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tiff" ContentType="image/tiff"/>
  <Default Extension="xlsx" ContentType="application/vnd.openxmlformats-officedocument.spreadsheetml.sheet"/>
  <Default Extension="jpg" ContentType="image/jpeg"/>
  <Default Extension="wmv" ContentType="video/x-ms-wmv"/>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0.xml" ContentType="application/vnd.openxmlformats-officedocument.presentationml.slide+xml"/>
  <Override PartName="/ppt/slides/slide461.xml" ContentType="application/vnd.openxmlformats-officedocument.presentationml.slide+xml"/>
  <Override PartName="/ppt/slides/slide462.xml" ContentType="application/vnd.openxmlformats-officedocument.presentationml.slide+xml"/>
  <Override PartName="/ppt/slides/slide463.xml" ContentType="application/vnd.openxmlformats-officedocument.presentationml.slide+xml"/>
  <Override PartName="/ppt/slides/slide464.xml" ContentType="application/vnd.openxmlformats-officedocument.presentationml.slide+xml"/>
  <Override PartName="/ppt/slides/slide465.xml" ContentType="application/vnd.openxmlformats-officedocument.presentationml.slide+xml"/>
  <Override PartName="/ppt/slides/slide466.xml" ContentType="application/vnd.openxmlformats-officedocument.presentationml.slide+xml"/>
  <Override PartName="/ppt/slides/slide467.xml" ContentType="application/vnd.openxmlformats-officedocument.presentationml.slide+xml"/>
  <Override PartName="/ppt/slides/slide468.xml" ContentType="application/vnd.openxmlformats-officedocument.presentationml.slide+xml"/>
  <Override PartName="/ppt/slides/slide469.xml" ContentType="application/vnd.openxmlformats-officedocument.presentationml.slide+xml"/>
  <Override PartName="/ppt/slides/slide470.xml" ContentType="application/vnd.openxmlformats-officedocument.presentationml.slide+xml"/>
  <Override PartName="/ppt/slides/slide471.xml" ContentType="application/vnd.openxmlformats-officedocument.presentationml.slide+xml"/>
  <Override PartName="/ppt/slides/slide472.xml" ContentType="application/vnd.openxmlformats-officedocument.presentationml.slide+xml"/>
  <Override PartName="/ppt/slides/slide473.xml" ContentType="application/vnd.openxmlformats-officedocument.presentationml.slide+xml"/>
  <Override PartName="/ppt/slides/slide474.xml" ContentType="application/vnd.openxmlformats-officedocument.presentationml.slide+xml"/>
  <Override PartName="/ppt/slides/slide475.xml" ContentType="application/vnd.openxmlformats-officedocument.presentationml.slide+xml"/>
  <Override PartName="/ppt/slides/slide476.xml" ContentType="application/vnd.openxmlformats-officedocument.presentationml.slide+xml"/>
  <Override PartName="/ppt/slides/slide477.xml" ContentType="application/vnd.openxmlformats-officedocument.presentationml.slide+xml"/>
  <Override PartName="/ppt/slides/slide478.xml" ContentType="application/vnd.openxmlformats-officedocument.presentationml.slide+xml"/>
  <Override PartName="/ppt/slides/slide479.xml" ContentType="application/vnd.openxmlformats-officedocument.presentationml.slide+xml"/>
  <Override PartName="/ppt/slides/slide480.xml" ContentType="application/vnd.openxmlformats-officedocument.presentationml.slide+xml"/>
  <Override PartName="/ppt/slides/slide481.xml" ContentType="application/vnd.openxmlformats-officedocument.presentationml.slide+xml"/>
  <Override PartName="/ppt/slides/slide482.xml" ContentType="application/vnd.openxmlformats-officedocument.presentationml.slide+xml"/>
  <Override PartName="/ppt/slides/slide483.xml" ContentType="application/vnd.openxmlformats-officedocument.presentationml.slide+xml"/>
  <Override PartName="/ppt/slides/slide484.xml" ContentType="application/vnd.openxmlformats-officedocument.presentationml.slide+xml"/>
  <Override PartName="/ppt/slides/slide485.xml" ContentType="application/vnd.openxmlformats-officedocument.presentationml.slide+xml"/>
  <Override PartName="/ppt/slides/slide486.xml" ContentType="application/vnd.openxmlformats-officedocument.presentationml.slide+xml"/>
  <Override PartName="/ppt/slides/slide487.xml" ContentType="application/vnd.openxmlformats-officedocument.presentationml.slide+xml"/>
  <Override PartName="/ppt/slides/slide488.xml" ContentType="application/vnd.openxmlformats-officedocument.presentationml.slide+xml"/>
  <Override PartName="/ppt/slides/slide489.xml" ContentType="application/vnd.openxmlformats-officedocument.presentationml.slide+xml"/>
  <Override PartName="/ppt/slides/slide490.xml" ContentType="application/vnd.openxmlformats-officedocument.presentationml.slide+xml"/>
  <Override PartName="/ppt/slides/slide491.xml" ContentType="application/vnd.openxmlformats-officedocument.presentationml.slide+xml"/>
  <Override PartName="/ppt/slides/slide492.xml" ContentType="application/vnd.openxmlformats-officedocument.presentationml.slide+xml"/>
  <Override PartName="/ppt/slides/slide493.xml" ContentType="application/vnd.openxmlformats-officedocument.presentationml.slide+xml"/>
  <Override PartName="/ppt/slides/slide494.xml" ContentType="application/vnd.openxmlformats-officedocument.presentationml.slide+xml"/>
  <Override PartName="/ppt/slides/slide495.xml" ContentType="application/vnd.openxmlformats-officedocument.presentationml.slide+xml"/>
  <Override PartName="/ppt/slides/slide496.xml" ContentType="application/vnd.openxmlformats-officedocument.presentationml.slide+xml"/>
  <Override PartName="/ppt/slides/slide497.xml" ContentType="application/vnd.openxmlformats-officedocument.presentationml.slide+xml"/>
  <Override PartName="/ppt/slides/slide498.xml" ContentType="application/vnd.openxmlformats-officedocument.presentationml.slide+xml"/>
  <Override PartName="/ppt/slides/slide499.xml" ContentType="application/vnd.openxmlformats-officedocument.presentationml.slide+xml"/>
  <Override PartName="/ppt/slides/slide500.xml" ContentType="application/vnd.openxmlformats-officedocument.presentationml.slide+xml"/>
  <Override PartName="/ppt/slides/slide501.xml" ContentType="application/vnd.openxmlformats-officedocument.presentationml.slide+xml"/>
  <Override PartName="/ppt/slides/slide502.xml" ContentType="application/vnd.openxmlformats-officedocument.presentationml.slide+xml"/>
  <Override PartName="/ppt/slides/slide503.xml" ContentType="application/vnd.openxmlformats-officedocument.presentationml.slide+xml"/>
  <Override PartName="/ppt/slides/slide504.xml" ContentType="application/vnd.openxmlformats-officedocument.presentationml.slide+xml"/>
  <Override PartName="/ppt/slides/slide505.xml" ContentType="application/vnd.openxmlformats-officedocument.presentationml.slide+xml"/>
  <Override PartName="/ppt/slides/slide506.xml" ContentType="application/vnd.openxmlformats-officedocument.presentationml.slide+xml"/>
  <Override PartName="/ppt/slides/slide50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3.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4.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5.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6.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7.xml" ContentType="application/vnd.openxmlformats-officedocument.theme+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8.xml" ContentType="application/vnd.openxmlformats-officedocument.theme+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7.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38.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comments/comment1.xml" ContentType="application/vnd.openxmlformats-officedocument.presentationml.comments+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tags/tag49.xml" ContentType="application/vnd.openxmlformats-officedocument.presentationml.tags+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62.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notesSlides/notesSlide67.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notesSlides/notesSlide68.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notesSlides/notesSlide69.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notesSlides/notesSlide70.xml" ContentType="application/vnd.openxmlformats-officedocument.presentationml.notesSlide+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notesSlides/notesSlide71.xml" ContentType="application/vnd.openxmlformats-officedocument.presentationml.notesSlide+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notesSlides/notesSlide72.xml" ContentType="application/vnd.openxmlformats-officedocument.presentationml.notesSlide+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notesSlides/notesSlide78.xml" ContentType="application/vnd.openxmlformats-officedocument.presentationml.notesSlide+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notesSlides/notesSlide79.xml" ContentType="application/vnd.openxmlformats-officedocument.presentationml.notesSlide+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notesSlides/notesSlide80.xml" ContentType="application/vnd.openxmlformats-officedocument.presentationml.notesSlid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notesSlides/notesSlide103.xml" ContentType="application/vnd.openxmlformats-officedocument.presentationml.notesSlide+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notesSlides/notesSlide104.xml" ContentType="application/vnd.openxmlformats-officedocument.presentationml.notesSlide+xml"/>
  <Override PartName="/ppt/tags/tag196.xml" ContentType="application/vnd.openxmlformats-officedocument.presentationml.tags+xml"/>
  <Override PartName="/ppt/notesSlides/notesSlide105.xml" ContentType="application/vnd.openxmlformats-officedocument.presentationml.notesSlide+xml"/>
  <Override PartName="/ppt/tags/tag197.xml" ContentType="application/vnd.openxmlformats-officedocument.presentationml.tags+xml"/>
  <Override PartName="/ppt/tags/tag198.xml" ContentType="application/vnd.openxmlformats-officedocument.presentationml.tags+xml"/>
  <Override PartName="/ppt/notesSlides/notesSlide106.xml" ContentType="application/vnd.openxmlformats-officedocument.presentationml.notesSlide+xml"/>
  <Override PartName="/ppt/tags/tag199.xml" ContentType="application/vnd.openxmlformats-officedocument.presentationml.tags+xml"/>
  <Override PartName="/ppt/tags/tag200.xml" ContentType="application/vnd.openxmlformats-officedocument.presentationml.tags+xml"/>
  <Override PartName="/ppt/notesSlides/notesSlide107.xml" ContentType="application/vnd.openxmlformats-officedocument.presentationml.notesSlide+xml"/>
  <Override PartName="/ppt/tags/tag201.xml" ContentType="application/vnd.openxmlformats-officedocument.presentationml.tags+xml"/>
  <Override PartName="/ppt/tags/tag202.xml" ContentType="application/vnd.openxmlformats-officedocument.presentationml.tags+xml"/>
  <Override PartName="/ppt/notesSlides/notesSlide108.xml" ContentType="application/vnd.openxmlformats-officedocument.presentationml.notesSlide+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notesSlides/notesSlide109.xml" ContentType="application/vnd.openxmlformats-officedocument.presentationml.notesSlide+xml"/>
  <Override PartName="/ppt/tags/tag206.xml" ContentType="application/vnd.openxmlformats-officedocument.presentationml.tags+xml"/>
  <Override PartName="/ppt/tags/tag207.xml" ContentType="application/vnd.openxmlformats-officedocument.presentationml.tags+xml"/>
  <Override PartName="/ppt/notesSlides/notesSlide110.xml" ContentType="application/vnd.openxmlformats-officedocument.presentationml.notesSlide+xml"/>
  <Override PartName="/ppt/tags/tag208.xml" ContentType="application/vnd.openxmlformats-officedocument.presentationml.tags+xml"/>
  <Override PartName="/ppt/tags/tag209.xml" ContentType="application/vnd.openxmlformats-officedocument.presentationml.tags+xml"/>
  <Override PartName="/ppt/notesSlides/notesSlide111.xml" ContentType="application/vnd.openxmlformats-officedocument.presentationml.notesSlide+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notesSlides/notesSlide112.xml" ContentType="application/vnd.openxmlformats-officedocument.presentationml.notesSlide+xml"/>
  <Override PartName="/ppt/tags/tag213.xml" ContentType="application/vnd.openxmlformats-officedocument.presentationml.tags+xml"/>
  <Override PartName="/ppt/tags/tag214.xml" ContentType="application/vnd.openxmlformats-officedocument.presentationml.tags+xml"/>
  <Override PartName="/ppt/notesSlides/notesSlide113.xml" ContentType="application/vnd.openxmlformats-officedocument.presentationml.notesSlide+xml"/>
  <Override PartName="/ppt/tags/tag215.xml" ContentType="application/vnd.openxmlformats-officedocument.presentationml.tags+xml"/>
  <Override PartName="/ppt/tags/tag216.xml" ContentType="application/vnd.openxmlformats-officedocument.presentationml.tags+xml"/>
  <Override PartName="/ppt/notesSlides/notesSlide114.xml" ContentType="application/vnd.openxmlformats-officedocument.presentationml.notesSlide+xml"/>
  <Override PartName="/ppt/tags/tag217.xml" ContentType="application/vnd.openxmlformats-officedocument.presentationml.tags+xml"/>
  <Override PartName="/ppt/tags/tag218.xml" ContentType="application/vnd.openxmlformats-officedocument.presentationml.tags+xml"/>
  <Override PartName="/ppt/notesSlides/notesSlide115.xml" ContentType="application/vnd.openxmlformats-officedocument.presentationml.notesSlide+xml"/>
  <Override PartName="/ppt/tags/tag219.xml" ContentType="application/vnd.openxmlformats-officedocument.presentationml.tags+xml"/>
  <Override PartName="/ppt/tags/tag220.xml" ContentType="application/vnd.openxmlformats-officedocument.presentationml.tags+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tags/tag221.xml" ContentType="application/vnd.openxmlformats-officedocument.presentationml.tags+xml"/>
  <Override PartName="/ppt/tags/tag222.xml" ContentType="application/vnd.openxmlformats-officedocument.presentationml.tags+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tags/tag223.xml" ContentType="application/vnd.openxmlformats-officedocument.presentationml.tags+xml"/>
  <Override PartName="/ppt/notesSlides/notesSlide12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224.xml" ContentType="application/vnd.openxmlformats-officedocument.presentationml.tags+xml"/>
  <Override PartName="/ppt/notesSlides/notesSlide121.xml" ContentType="application/vnd.openxmlformats-officedocument.presentationml.notesSlide+xml"/>
  <Override PartName="/ppt/tags/tag225.xml" ContentType="application/vnd.openxmlformats-officedocument.presentationml.tags+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tags/tag229.xml" ContentType="application/vnd.openxmlformats-officedocument.presentationml.tags+xml"/>
  <Override PartName="/ppt/tags/tag230.xml" ContentType="application/vnd.openxmlformats-officedocument.presentationml.tags+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tags/tag231.xml" ContentType="application/vnd.openxmlformats-officedocument.presentationml.tags+xml"/>
  <Override PartName="/ppt/tags/tag232.xml" ContentType="application/vnd.openxmlformats-officedocument.presentationml.tags+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tags/tag233.xml" ContentType="application/vnd.openxmlformats-officedocument.presentationml.tags+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notesSlides/notesSlide205.xml" ContentType="application/vnd.openxmlformats-officedocument.presentationml.notesSlide+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notesSlides/notesSlide214.xml" ContentType="application/vnd.openxmlformats-officedocument.presentationml.notesSlide+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notesSlides/notesSlide230.xml" ContentType="application/vnd.openxmlformats-officedocument.presentationml.notesSlide+xml"/>
  <Override PartName="/ppt/notesSlides/notesSlide231.xml" ContentType="application/vnd.openxmlformats-officedocument.presentationml.notesSlide+xml"/>
  <Override PartName="/ppt/notesSlides/notesSlide232.xml" ContentType="application/vnd.openxmlformats-officedocument.presentationml.notesSlide+xml"/>
  <Override PartName="/ppt/notesSlides/notesSlide233.xml" ContentType="application/vnd.openxmlformats-officedocument.presentationml.notesSlide+xml"/>
  <Override PartName="/ppt/notesSlides/notesSlide234.xml" ContentType="application/vnd.openxmlformats-officedocument.presentationml.notesSlide+xml"/>
  <Override PartName="/ppt/notesSlides/notesSlide235.xml" ContentType="application/vnd.openxmlformats-officedocument.presentationml.notesSlide+xml"/>
  <Override PartName="/ppt/charts/chart1.xml" ContentType="application/vnd.openxmlformats-officedocument.drawingml.chart+xml"/>
  <Override PartName="/ppt/notesSlides/notesSlide236.xml" ContentType="application/vnd.openxmlformats-officedocument.presentationml.notesSlide+xml"/>
  <Override PartName="/ppt/notesSlides/notesSlide237.xml" ContentType="application/vnd.openxmlformats-officedocument.presentationml.notesSlide+xml"/>
  <Override PartName="/ppt/charts/chart2.xml" ContentType="application/vnd.openxmlformats-officedocument.drawingml.chart+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notesSlides/notesSlide238.xml" ContentType="application/vnd.openxmlformats-officedocument.presentationml.notesSlide+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notesSlides/notesSlide239.xml" ContentType="application/vnd.openxmlformats-officedocument.presentationml.notesSlide+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notesSlides/notesSlide240.xml" ContentType="application/vnd.openxmlformats-officedocument.presentationml.notesSlide+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notesSlides/notesSlide241.xml" ContentType="application/vnd.openxmlformats-officedocument.presentationml.notesSlide+xml"/>
  <Override PartName="/ppt/notesSlides/notesSlide242.xml" ContentType="application/vnd.openxmlformats-officedocument.presentationml.notesSlide+xml"/>
  <Override PartName="/ppt/notesSlides/notesSlide243.xml" ContentType="application/vnd.openxmlformats-officedocument.presentationml.notesSlide+xml"/>
  <Override PartName="/ppt/notesSlides/notesSlide244.xml" ContentType="application/vnd.openxmlformats-officedocument.presentationml.notesSlide+xml"/>
  <Override PartName="/ppt/notesSlides/notesSlide245.xml" ContentType="application/vnd.openxmlformats-officedocument.presentationml.notesSlide+xml"/>
  <Override PartName="/ppt/notesSlides/notesSlide246.xml" ContentType="application/vnd.openxmlformats-officedocument.presentationml.notesSlide+xml"/>
  <Override PartName="/ppt/notesSlides/notesSlide247.xml" ContentType="application/vnd.openxmlformats-officedocument.presentationml.notesSlide+xml"/>
  <Override PartName="/ppt/notesSlides/notesSlide248.xml" ContentType="application/vnd.openxmlformats-officedocument.presentationml.notesSlide+xml"/>
  <Override PartName="/ppt/notesSlides/notesSlide249.xml" ContentType="application/vnd.openxmlformats-officedocument.presentationml.notesSlide+xml"/>
  <Override PartName="/ppt/notesSlides/notesSlide250.xml" ContentType="application/vnd.openxmlformats-officedocument.presentationml.notesSlide+xml"/>
  <Override PartName="/ppt/notesSlides/notesSlide251.xml" ContentType="application/vnd.openxmlformats-officedocument.presentationml.notesSlide+xml"/>
  <Override PartName="/ppt/notesSlides/notesSlide252.xml" ContentType="application/vnd.openxmlformats-officedocument.presentationml.notesSlide+xml"/>
  <Override PartName="/ppt/notesSlides/notesSlide253.xml" ContentType="application/vnd.openxmlformats-officedocument.presentationml.notesSlide+xml"/>
  <Override PartName="/ppt/notesSlides/notesSlide254.xml" ContentType="application/vnd.openxmlformats-officedocument.presentationml.notesSlide+xml"/>
  <Override PartName="/ppt/notesSlides/notesSlide255.xml" ContentType="application/vnd.openxmlformats-officedocument.presentationml.notesSlide+xml"/>
  <Override PartName="/ppt/notesSlides/notesSlide256.xml" ContentType="application/vnd.openxmlformats-officedocument.presentationml.notesSlide+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notesSlides/notesSlide257.xml" ContentType="application/vnd.openxmlformats-officedocument.presentationml.notesSlide+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notesSlides/notesSlide258.xml" ContentType="application/vnd.openxmlformats-officedocument.presentationml.notesSlide+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notesSlides/notesSlide259.xml" ContentType="application/vnd.openxmlformats-officedocument.presentationml.notesSlide+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notesSlides/notesSlide260.xml" ContentType="application/vnd.openxmlformats-officedocument.presentationml.notesSlide+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notesSlides/notesSlide261.xml" ContentType="application/vnd.openxmlformats-officedocument.presentationml.notesSlide+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notesSlides/notesSlide262.xml" ContentType="application/vnd.openxmlformats-officedocument.presentationml.notesSlide+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notesSlides/notesSlide263.xml" ContentType="application/vnd.openxmlformats-officedocument.presentationml.notesSlide+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notesSlides/notesSlide264.xml" ContentType="application/vnd.openxmlformats-officedocument.presentationml.notesSlide+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notesSlides/notesSlide265.xml" ContentType="application/vnd.openxmlformats-officedocument.presentationml.notesSlide+xml"/>
  <Override PartName="/ppt/notesSlides/notesSlide266.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267.xml" ContentType="application/vnd.openxmlformats-officedocument.presentationml.notesSlide+xml"/>
  <Override PartName="/ppt/notesSlides/notesSlide268.xml" ContentType="application/vnd.openxmlformats-officedocument.presentationml.notesSlide+xml"/>
  <Override PartName="/ppt/notesSlides/notesSlide269.xml" ContentType="application/vnd.openxmlformats-officedocument.presentationml.notesSlide+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notesSlides/notesSlide270.xml" ContentType="application/vnd.openxmlformats-officedocument.presentationml.notesSlide+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notesSlides/notesSlide271.xml" ContentType="application/vnd.openxmlformats-officedocument.presentationml.notesSlide+xml"/>
  <Override PartName="/ppt/notesSlides/notesSlide272.xml" ContentType="application/vnd.openxmlformats-officedocument.presentationml.notesSlide+xml"/>
  <Override PartName="/ppt/notesSlides/notesSlide273.xml" ContentType="application/vnd.openxmlformats-officedocument.presentationml.notesSlide+xml"/>
  <Override PartName="/ppt/notesSlides/notesSlide274.xml" ContentType="application/vnd.openxmlformats-officedocument.presentationml.notesSlide+xml"/>
  <Override PartName="/ppt/notesSlides/notesSlide275.xml" ContentType="application/vnd.openxmlformats-officedocument.presentationml.notesSlide+xml"/>
  <Override PartName="/ppt/notesSlides/notesSlide276.xml" ContentType="application/vnd.openxmlformats-officedocument.presentationml.notesSlide+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notesSlides/notesSlide277.xml" ContentType="application/vnd.openxmlformats-officedocument.presentationml.notesSlide+xml"/>
  <Override PartName="/ppt/notesSlides/notesSlide278.xml" ContentType="application/vnd.openxmlformats-officedocument.presentationml.notesSlide+xml"/>
  <Override PartName="/ppt/notesSlides/notesSlide279.xml" ContentType="application/vnd.openxmlformats-officedocument.presentationml.notesSlide+xml"/>
  <Override PartName="/ppt/notesSlides/notesSlide280.xml" ContentType="application/vnd.openxmlformats-officedocument.presentationml.notesSlide+xml"/>
  <Override PartName="/ppt/notesSlides/notesSlide281.xml" ContentType="application/vnd.openxmlformats-officedocument.presentationml.notesSlide+xml"/>
  <Override PartName="/ppt/notesSlides/notesSlide282.xml" ContentType="application/vnd.openxmlformats-officedocument.presentationml.notesSlide+xml"/>
  <Override PartName="/ppt/notesSlides/notesSlide283.xml" ContentType="application/vnd.openxmlformats-officedocument.presentationml.notesSlide+xml"/>
  <Override PartName="/ppt/charts/chart3.xml" ContentType="application/vnd.openxmlformats-officedocument.drawingml.chart+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notesSlides/notesSlide284.xml" ContentType="application/vnd.openxmlformats-officedocument.presentationml.notesSlide+xml"/>
  <Override PartName="/ppt/notesSlides/notesSlide285.xml" ContentType="application/vnd.openxmlformats-officedocument.presentationml.notesSlide+xml"/>
  <Override PartName="/ppt/notesSlides/notesSlide286.xml" ContentType="application/vnd.openxmlformats-officedocument.presentationml.notesSlide+xml"/>
  <Override PartName="/ppt/notesSlides/notesSlide287.xml" ContentType="application/vnd.openxmlformats-officedocument.presentationml.notesSlide+xml"/>
  <Override PartName="/ppt/notesSlides/notesSlide288.xml" ContentType="application/vnd.openxmlformats-officedocument.presentationml.notesSlide+xml"/>
  <Override PartName="/ppt/tags/tag531.xml" ContentType="application/vnd.openxmlformats-officedocument.presentationml.tags+xml"/>
  <Override PartName="/ppt/tags/tag532.xml" ContentType="application/vnd.openxmlformats-officedocument.presentationml.tags+xml"/>
  <Override PartName="/ppt/notesSlides/notesSlide289.xml" ContentType="application/vnd.openxmlformats-officedocument.presentationml.notesSlide+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notesSlides/notesSlide290.xml" ContentType="application/vnd.openxmlformats-officedocument.presentationml.notesSlide+xml"/>
  <Override PartName="/ppt/notesSlides/notesSlide291.xml" ContentType="application/vnd.openxmlformats-officedocument.presentationml.notesSlide+xml"/>
  <Override PartName="/ppt/notesSlides/notesSlide292.xml" ContentType="application/vnd.openxmlformats-officedocument.presentationml.notesSlide+xml"/>
  <Override PartName="/ppt/notesSlides/notesSlide293.xml" ContentType="application/vnd.openxmlformats-officedocument.presentationml.notesSlide+xml"/>
  <Override PartName="/ppt/notesSlides/notesSlide294.xml" ContentType="application/vnd.openxmlformats-officedocument.presentationml.notesSlide+xml"/>
  <Override PartName="/ppt/notesSlides/notesSlide295.xml" ContentType="application/vnd.openxmlformats-officedocument.presentationml.notesSlide+xml"/>
  <Override PartName="/ppt/notesSlides/notesSlide296.xml" ContentType="application/vnd.openxmlformats-officedocument.presentationml.notesSlide+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notesSlides/notesSlide297.xml" ContentType="application/vnd.openxmlformats-officedocument.presentationml.notesSlide+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notesSlides/notesSlide298.xml" ContentType="application/vnd.openxmlformats-officedocument.presentationml.notesSlide+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notesSlides/notesSlide299.xml" ContentType="application/vnd.openxmlformats-officedocument.presentationml.notesSlide+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notesSlides/notesSlide300.xml" ContentType="application/vnd.openxmlformats-officedocument.presentationml.notesSlide+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notesSlides/notesSlide301.xml" ContentType="application/vnd.openxmlformats-officedocument.presentationml.notesSlide+xml"/>
  <Override PartName="/ppt/notesSlides/notesSlide302.xml" ContentType="application/vnd.openxmlformats-officedocument.presentationml.notesSlide+xml"/>
  <Override PartName="/ppt/notesSlides/notesSlide303.xml" ContentType="application/vnd.openxmlformats-officedocument.presentationml.notesSlide+xml"/>
  <Override PartName="/ppt/notesSlides/notesSlide304.xml" ContentType="application/vnd.openxmlformats-officedocument.presentationml.notesSlide+xml"/>
  <Override PartName="/ppt/notesSlides/notesSlide305.xml" ContentType="application/vnd.openxmlformats-officedocument.presentationml.notesSlide+xml"/>
  <Override PartName="/ppt/notesSlides/notesSlide306.xml" ContentType="application/vnd.openxmlformats-officedocument.presentationml.notesSlide+xml"/>
  <Override PartName="/ppt/notesSlides/notesSlide307.xml" ContentType="application/vnd.openxmlformats-officedocument.presentationml.notesSlide+xml"/>
  <Override PartName="/ppt/notesSlides/notesSlide308.xml" ContentType="application/vnd.openxmlformats-officedocument.presentationml.notesSlide+xml"/>
  <Override PartName="/ppt/notesSlides/notesSlide309.xml" ContentType="application/vnd.openxmlformats-officedocument.presentationml.notesSlide+xml"/>
  <Override PartName="/ppt/notesSlides/notesSlide310.xml" ContentType="application/vnd.openxmlformats-officedocument.presentationml.notesSlide+xml"/>
  <Override PartName="/ppt/notesSlides/notesSlide311.xml" ContentType="application/vnd.openxmlformats-officedocument.presentationml.notesSlide+xml"/>
  <Override PartName="/ppt/notesSlides/notesSlide312.xml" ContentType="application/vnd.openxmlformats-officedocument.presentationml.notesSlide+xml"/>
  <Override PartName="/ppt/notesSlides/notesSlide313.xml" ContentType="application/vnd.openxmlformats-officedocument.presentationml.notesSlide+xml"/>
  <Override PartName="/ppt/notesSlides/notesSlide314.xml" ContentType="application/vnd.openxmlformats-officedocument.presentationml.notesSlide+xml"/>
  <Override PartName="/ppt/notesSlides/notesSlide315.xml" ContentType="application/vnd.openxmlformats-officedocument.presentationml.notesSlide+xml"/>
  <Override PartName="/ppt/notesSlides/notesSlide316.xml" ContentType="application/vnd.openxmlformats-officedocument.presentationml.notesSlide+xml"/>
  <Override PartName="/ppt/notesSlides/notesSlide317.xml" ContentType="application/vnd.openxmlformats-officedocument.presentationml.notesSlide+xml"/>
  <Override PartName="/ppt/notesSlides/notesSlide318.xml" ContentType="application/vnd.openxmlformats-officedocument.presentationml.notesSlide+xml"/>
  <Override PartName="/ppt/notesSlides/notesSlide319.xml" ContentType="application/vnd.openxmlformats-officedocument.presentationml.notesSlide+xml"/>
  <Override PartName="/ppt/notesSlides/notesSlide320.xml" ContentType="application/vnd.openxmlformats-officedocument.presentationml.notesSlide+xml"/>
  <Override PartName="/ppt/notesSlides/notesSlide321.xml" ContentType="application/vnd.openxmlformats-officedocument.presentationml.notesSlide+xml"/>
  <Override PartName="/ppt/notesSlides/notesSlide322.xml" ContentType="application/vnd.openxmlformats-officedocument.presentationml.notesSlide+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notesSlides/notesSlide3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3" r:id="rId4"/>
    <p:sldMasterId id="2147483718" r:id="rId5"/>
    <p:sldMasterId id="2147483740" r:id="rId6"/>
    <p:sldMasterId id="2147483758" r:id="rId7"/>
    <p:sldMasterId id="2147483779" r:id="rId8"/>
    <p:sldMasterId id="2147483807" r:id="rId9"/>
    <p:sldMasterId id="2147483835" r:id="rId10"/>
    <p:sldMasterId id="2147483853" r:id="rId11"/>
    <p:sldMasterId id="2147483894" r:id="rId12"/>
  </p:sldMasterIdLst>
  <p:notesMasterIdLst>
    <p:notesMasterId r:id="rId520"/>
  </p:notesMasterIdLst>
  <p:handoutMasterIdLst>
    <p:handoutMasterId r:id="rId521"/>
  </p:handoutMasterIdLst>
  <p:sldIdLst>
    <p:sldId id="257" r:id="rId13"/>
    <p:sldId id="258" r:id="rId14"/>
    <p:sldId id="259" r:id="rId15"/>
    <p:sldId id="260" r:id="rId16"/>
    <p:sldId id="261" r:id="rId17"/>
    <p:sldId id="262" r:id="rId18"/>
    <p:sldId id="263" r:id="rId19"/>
    <p:sldId id="265" r:id="rId20"/>
    <p:sldId id="266" r:id="rId21"/>
    <p:sldId id="267" r:id="rId22"/>
    <p:sldId id="268" r:id="rId23"/>
    <p:sldId id="269" r:id="rId24"/>
    <p:sldId id="270" r:id="rId25"/>
    <p:sldId id="271" r:id="rId26"/>
    <p:sldId id="285" r:id="rId27"/>
    <p:sldId id="286" r:id="rId28"/>
    <p:sldId id="287" r:id="rId29"/>
    <p:sldId id="288" r:id="rId30"/>
    <p:sldId id="289" r:id="rId31"/>
    <p:sldId id="290" r:id="rId32"/>
    <p:sldId id="291" r:id="rId33"/>
    <p:sldId id="292" r:id="rId34"/>
    <p:sldId id="293" r:id="rId35"/>
    <p:sldId id="294" r:id="rId36"/>
    <p:sldId id="295" r:id="rId37"/>
    <p:sldId id="296" r:id="rId38"/>
    <p:sldId id="297" r:id="rId39"/>
    <p:sldId id="298" r:id="rId40"/>
    <p:sldId id="299" r:id="rId41"/>
    <p:sldId id="300" r:id="rId42"/>
    <p:sldId id="301" r:id="rId43"/>
    <p:sldId id="302" r:id="rId44"/>
    <p:sldId id="303" r:id="rId45"/>
    <p:sldId id="304" r:id="rId46"/>
    <p:sldId id="305" r:id="rId47"/>
    <p:sldId id="306" r:id="rId48"/>
    <p:sldId id="307" r:id="rId49"/>
    <p:sldId id="308" r:id="rId50"/>
    <p:sldId id="309" r:id="rId51"/>
    <p:sldId id="310" r:id="rId52"/>
    <p:sldId id="311" r:id="rId53"/>
    <p:sldId id="312" r:id="rId54"/>
    <p:sldId id="316" r:id="rId55"/>
    <p:sldId id="317" r:id="rId56"/>
    <p:sldId id="318" r:id="rId57"/>
    <p:sldId id="319" r:id="rId58"/>
    <p:sldId id="320" r:id="rId59"/>
    <p:sldId id="321" r:id="rId60"/>
    <p:sldId id="322" r:id="rId61"/>
    <p:sldId id="323" r:id="rId62"/>
    <p:sldId id="324" r:id="rId63"/>
    <p:sldId id="325" r:id="rId64"/>
    <p:sldId id="326" r:id="rId65"/>
    <p:sldId id="327" r:id="rId66"/>
    <p:sldId id="328" r:id="rId67"/>
    <p:sldId id="329" r:id="rId68"/>
    <p:sldId id="330" r:id="rId69"/>
    <p:sldId id="339" r:id="rId70"/>
    <p:sldId id="340" r:id="rId71"/>
    <p:sldId id="341" r:id="rId72"/>
    <p:sldId id="342" r:id="rId73"/>
    <p:sldId id="343" r:id="rId74"/>
    <p:sldId id="702" r:id="rId75"/>
    <p:sldId id="704" r:id="rId76"/>
    <p:sldId id="705" r:id="rId77"/>
    <p:sldId id="331" r:id="rId78"/>
    <p:sldId id="332" r:id="rId79"/>
    <p:sldId id="333" r:id="rId80"/>
    <p:sldId id="334" r:id="rId81"/>
    <p:sldId id="335" r:id="rId82"/>
    <p:sldId id="336" r:id="rId83"/>
    <p:sldId id="337" r:id="rId84"/>
    <p:sldId id="338" r:id="rId85"/>
    <p:sldId id="344" r:id="rId86"/>
    <p:sldId id="345" r:id="rId87"/>
    <p:sldId id="346" r:id="rId88"/>
    <p:sldId id="347" r:id="rId89"/>
    <p:sldId id="349" r:id="rId90"/>
    <p:sldId id="350" r:id="rId91"/>
    <p:sldId id="351" r:id="rId92"/>
    <p:sldId id="352" r:id="rId93"/>
    <p:sldId id="353" r:id="rId94"/>
    <p:sldId id="356" r:id="rId95"/>
    <p:sldId id="357" r:id="rId96"/>
    <p:sldId id="358" r:id="rId97"/>
    <p:sldId id="359" r:id="rId98"/>
    <p:sldId id="360" r:id="rId99"/>
    <p:sldId id="361" r:id="rId100"/>
    <p:sldId id="362" r:id="rId101"/>
    <p:sldId id="363" r:id="rId102"/>
    <p:sldId id="364" r:id="rId103"/>
    <p:sldId id="365" r:id="rId104"/>
    <p:sldId id="366" r:id="rId105"/>
    <p:sldId id="367" r:id="rId106"/>
    <p:sldId id="368" r:id="rId107"/>
    <p:sldId id="369" r:id="rId108"/>
    <p:sldId id="370" r:id="rId109"/>
    <p:sldId id="371" r:id="rId110"/>
    <p:sldId id="372" r:id="rId111"/>
    <p:sldId id="373" r:id="rId112"/>
    <p:sldId id="374" r:id="rId113"/>
    <p:sldId id="375" r:id="rId114"/>
    <p:sldId id="376" r:id="rId115"/>
    <p:sldId id="377" r:id="rId116"/>
    <p:sldId id="380" r:id="rId117"/>
    <p:sldId id="381" r:id="rId118"/>
    <p:sldId id="384" r:id="rId119"/>
    <p:sldId id="385" r:id="rId120"/>
    <p:sldId id="386" r:id="rId121"/>
    <p:sldId id="387" r:id="rId122"/>
    <p:sldId id="727" r:id="rId123"/>
    <p:sldId id="728" r:id="rId124"/>
    <p:sldId id="382" r:id="rId125"/>
    <p:sldId id="383" r:id="rId126"/>
    <p:sldId id="388" r:id="rId127"/>
    <p:sldId id="389" r:id="rId128"/>
    <p:sldId id="390" r:id="rId129"/>
    <p:sldId id="391" r:id="rId130"/>
    <p:sldId id="392" r:id="rId131"/>
    <p:sldId id="393" r:id="rId132"/>
    <p:sldId id="394" r:id="rId133"/>
    <p:sldId id="395" r:id="rId134"/>
    <p:sldId id="396" r:id="rId135"/>
    <p:sldId id="397" r:id="rId136"/>
    <p:sldId id="398" r:id="rId137"/>
    <p:sldId id="399" r:id="rId138"/>
    <p:sldId id="400" r:id="rId139"/>
    <p:sldId id="401" r:id="rId140"/>
    <p:sldId id="402" r:id="rId141"/>
    <p:sldId id="403" r:id="rId142"/>
    <p:sldId id="404" r:id="rId143"/>
    <p:sldId id="405" r:id="rId144"/>
    <p:sldId id="406" r:id="rId145"/>
    <p:sldId id="407" r:id="rId146"/>
    <p:sldId id="408" r:id="rId147"/>
    <p:sldId id="409" r:id="rId148"/>
    <p:sldId id="410" r:id="rId149"/>
    <p:sldId id="439" r:id="rId150"/>
    <p:sldId id="440" r:id="rId151"/>
    <p:sldId id="445" r:id="rId152"/>
    <p:sldId id="446" r:id="rId153"/>
    <p:sldId id="447" r:id="rId154"/>
    <p:sldId id="452" r:id="rId155"/>
    <p:sldId id="453" r:id="rId156"/>
    <p:sldId id="454" r:id="rId157"/>
    <p:sldId id="455" r:id="rId158"/>
    <p:sldId id="456" r:id="rId159"/>
    <p:sldId id="457" r:id="rId160"/>
    <p:sldId id="458" r:id="rId161"/>
    <p:sldId id="459" r:id="rId162"/>
    <p:sldId id="460" r:id="rId163"/>
    <p:sldId id="448" r:id="rId164"/>
    <p:sldId id="449" r:id="rId165"/>
    <p:sldId id="450" r:id="rId166"/>
    <p:sldId id="451" r:id="rId167"/>
    <p:sldId id="461" r:id="rId168"/>
    <p:sldId id="462" r:id="rId169"/>
    <p:sldId id="463" r:id="rId170"/>
    <p:sldId id="464" r:id="rId171"/>
    <p:sldId id="465" r:id="rId172"/>
    <p:sldId id="466" r:id="rId173"/>
    <p:sldId id="467" r:id="rId174"/>
    <p:sldId id="468" r:id="rId175"/>
    <p:sldId id="469" r:id="rId176"/>
    <p:sldId id="470" r:id="rId177"/>
    <p:sldId id="471" r:id="rId178"/>
    <p:sldId id="472" r:id="rId179"/>
    <p:sldId id="473" r:id="rId180"/>
    <p:sldId id="474" r:id="rId181"/>
    <p:sldId id="475" r:id="rId182"/>
    <p:sldId id="483" r:id="rId183"/>
    <p:sldId id="484" r:id="rId184"/>
    <p:sldId id="485" r:id="rId185"/>
    <p:sldId id="486" r:id="rId186"/>
    <p:sldId id="487" r:id="rId187"/>
    <p:sldId id="488" r:id="rId188"/>
    <p:sldId id="489" r:id="rId189"/>
    <p:sldId id="490" r:id="rId190"/>
    <p:sldId id="491" r:id="rId191"/>
    <p:sldId id="492" r:id="rId192"/>
    <p:sldId id="493" r:id="rId193"/>
    <p:sldId id="494" r:id="rId194"/>
    <p:sldId id="495" r:id="rId195"/>
    <p:sldId id="496" r:id="rId196"/>
    <p:sldId id="497" r:id="rId197"/>
    <p:sldId id="503" r:id="rId198"/>
    <p:sldId id="504" r:id="rId199"/>
    <p:sldId id="505" r:id="rId200"/>
    <p:sldId id="506" r:id="rId201"/>
    <p:sldId id="507" r:id="rId202"/>
    <p:sldId id="478" r:id="rId203"/>
    <p:sldId id="479" r:id="rId204"/>
    <p:sldId id="480" r:id="rId205"/>
    <p:sldId id="481" r:id="rId206"/>
    <p:sldId id="482" r:id="rId207"/>
    <p:sldId id="476" r:id="rId208"/>
    <p:sldId id="477" r:id="rId209"/>
    <p:sldId id="378" r:id="rId210"/>
    <p:sldId id="379" r:id="rId211"/>
    <p:sldId id="354" r:id="rId212"/>
    <p:sldId id="355" r:id="rId213"/>
    <p:sldId id="348" r:id="rId214"/>
    <p:sldId id="272" r:id="rId215"/>
    <p:sldId id="273" r:id="rId216"/>
    <p:sldId id="274" r:id="rId217"/>
    <p:sldId id="275" r:id="rId218"/>
    <p:sldId id="276" r:id="rId219"/>
    <p:sldId id="277" r:id="rId220"/>
    <p:sldId id="278" r:id="rId221"/>
    <p:sldId id="279" r:id="rId222"/>
    <p:sldId id="280" r:id="rId223"/>
    <p:sldId id="281" r:id="rId224"/>
    <p:sldId id="282" r:id="rId225"/>
    <p:sldId id="283" r:id="rId226"/>
    <p:sldId id="284" r:id="rId227"/>
    <p:sldId id="313" r:id="rId228"/>
    <p:sldId id="314" r:id="rId229"/>
    <p:sldId id="315" r:id="rId230"/>
    <p:sldId id="498" r:id="rId231"/>
    <p:sldId id="499" r:id="rId232"/>
    <p:sldId id="500" r:id="rId233"/>
    <p:sldId id="501" r:id="rId234"/>
    <p:sldId id="411" r:id="rId235"/>
    <p:sldId id="412" r:id="rId236"/>
    <p:sldId id="413" r:id="rId237"/>
    <p:sldId id="414" r:id="rId238"/>
    <p:sldId id="415" r:id="rId239"/>
    <p:sldId id="416" r:id="rId240"/>
    <p:sldId id="417" r:id="rId241"/>
    <p:sldId id="418" r:id="rId242"/>
    <p:sldId id="419" r:id="rId243"/>
    <p:sldId id="420" r:id="rId244"/>
    <p:sldId id="434" r:id="rId245"/>
    <p:sldId id="435" r:id="rId246"/>
    <p:sldId id="436" r:id="rId247"/>
    <p:sldId id="437" r:id="rId248"/>
    <p:sldId id="438" r:id="rId249"/>
    <p:sldId id="421" r:id="rId250"/>
    <p:sldId id="422" r:id="rId251"/>
    <p:sldId id="423" r:id="rId252"/>
    <p:sldId id="424" r:id="rId253"/>
    <p:sldId id="425" r:id="rId254"/>
    <p:sldId id="426" r:id="rId255"/>
    <p:sldId id="427" r:id="rId256"/>
    <p:sldId id="441" r:id="rId257"/>
    <p:sldId id="442" r:id="rId258"/>
    <p:sldId id="443" r:id="rId259"/>
    <p:sldId id="444" r:id="rId260"/>
    <p:sldId id="508" r:id="rId261"/>
    <p:sldId id="509" r:id="rId262"/>
    <p:sldId id="510" r:id="rId263"/>
    <p:sldId id="511" r:id="rId264"/>
    <p:sldId id="512" r:id="rId265"/>
    <p:sldId id="513" r:id="rId266"/>
    <p:sldId id="514" r:id="rId267"/>
    <p:sldId id="515" r:id="rId268"/>
    <p:sldId id="516" r:id="rId269"/>
    <p:sldId id="517" r:id="rId270"/>
    <p:sldId id="518" r:id="rId271"/>
    <p:sldId id="519" r:id="rId272"/>
    <p:sldId id="520" r:id="rId273"/>
    <p:sldId id="521" r:id="rId274"/>
    <p:sldId id="522" r:id="rId275"/>
    <p:sldId id="523" r:id="rId276"/>
    <p:sldId id="524" r:id="rId277"/>
    <p:sldId id="525" r:id="rId278"/>
    <p:sldId id="526" r:id="rId279"/>
    <p:sldId id="527" r:id="rId280"/>
    <p:sldId id="528" r:id="rId281"/>
    <p:sldId id="529" r:id="rId282"/>
    <p:sldId id="530" r:id="rId283"/>
    <p:sldId id="531" r:id="rId284"/>
    <p:sldId id="532" r:id="rId285"/>
    <p:sldId id="533" r:id="rId286"/>
    <p:sldId id="534" r:id="rId287"/>
    <p:sldId id="535" r:id="rId288"/>
    <p:sldId id="536" r:id="rId289"/>
    <p:sldId id="537" r:id="rId290"/>
    <p:sldId id="538" r:id="rId291"/>
    <p:sldId id="539" r:id="rId292"/>
    <p:sldId id="540" r:id="rId293"/>
    <p:sldId id="541" r:id="rId294"/>
    <p:sldId id="542" r:id="rId295"/>
    <p:sldId id="543" r:id="rId296"/>
    <p:sldId id="544" r:id="rId297"/>
    <p:sldId id="545" r:id="rId298"/>
    <p:sldId id="546" r:id="rId299"/>
    <p:sldId id="547" r:id="rId300"/>
    <p:sldId id="548" r:id="rId301"/>
    <p:sldId id="549" r:id="rId302"/>
    <p:sldId id="550" r:id="rId303"/>
    <p:sldId id="551" r:id="rId304"/>
    <p:sldId id="552" r:id="rId305"/>
    <p:sldId id="553" r:id="rId306"/>
    <p:sldId id="554" r:id="rId307"/>
    <p:sldId id="555" r:id="rId308"/>
    <p:sldId id="556" r:id="rId309"/>
    <p:sldId id="557" r:id="rId310"/>
    <p:sldId id="558" r:id="rId311"/>
    <p:sldId id="559" r:id="rId312"/>
    <p:sldId id="560" r:id="rId313"/>
    <p:sldId id="561" r:id="rId314"/>
    <p:sldId id="562" r:id="rId315"/>
    <p:sldId id="563" r:id="rId316"/>
    <p:sldId id="564" r:id="rId317"/>
    <p:sldId id="565" r:id="rId318"/>
    <p:sldId id="566" r:id="rId319"/>
    <p:sldId id="567" r:id="rId320"/>
    <p:sldId id="568" r:id="rId321"/>
    <p:sldId id="569" r:id="rId322"/>
    <p:sldId id="570" r:id="rId323"/>
    <p:sldId id="571" r:id="rId324"/>
    <p:sldId id="572" r:id="rId325"/>
    <p:sldId id="573" r:id="rId326"/>
    <p:sldId id="574" r:id="rId327"/>
    <p:sldId id="575" r:id="rId328"/>
    <p:sldId id="576" r:id="rId329"/>
    <p:sldId id="577" r:id="rId330"/>
    <p:sldId id="579" r:id="rId331"/>
    <p:sldId id="580" r:id="rId332"/>
    <p:sldId id="581" r:id="rId333"/>
    <p:sldId id="582" r:id="rId334"/>
    <p:sldId id="583" r:id="rId335"/>
    <p:sldId id="584" r:id="rId336"/>
    <p:sldId id="585" r:id="rId337"/>
    <p:sldId id="586" r:id="rId338"/>
    <p:sldId id="587" r:id="rId339"/>
    <p:sldId id="588" r:id="rId340"/>
    <p:sldId id="589" r:id="rId341"/>
    <p:sldId id="590" r:id="rId342"/>
    <p:sldId id="591" r:id="rId343"/>
    <p:sldId id="592" r:id="rId344"/>
    <p:sldId id="593" r:id="rId345"/>
    <p:sldId id="594" r:id="rId346"/>
    <p:sldId id="595" r:id="rId347"/>
    <p:sldId id="596" r:id="rId348"/>
    <p:sldId id="597" r:id="rId349"/>
    <p:sldId id="598" r:id="rId350"/>
    <p:sldId id="599" r:id="rId351"/>
    <p:sldId id="601" r:id="rId352"/>
    <p:sldId id="602" r:id="rId353"/>
    <p:sldId id="603" r:id="rId354"/>
    <p:sldId id="604" r:id="rId355"/>
    <p:sldId id="605" r:id="rId356"/>
    <p:sldId id="606" r:id="rId357"/>
    <p:sldId id="607" r:id="rId358"/>
    <p:sldId id="608" r:id="rId359"/>
    <p:sldId id="609" r:id="rId360"/>
    <p:sldId id="610" r:id="rId361"/>
    <p:sldId id="611" r:id="rId362"/>
    <p:sldId id="612" r:id="rId363"/>
    <p:sldId id="613" r:id="rId364"/>
    <p:sldId id="614" r:id="rId365"/>
    <p:sldId id="615" r:id="rId366"/>
    <p:sldId id="616" r:id="rId367"/>
    <p:sldId id="617" r:id="rId368"/>
    <p:sldId id="618" r:id="rId369"/>
    <p:sldId id="619" r:id="rId370"/>
    <p:sldId id="620" r:id="rId371"/>
    <p:sldId id="621" r:id="rId372"/>
    <p:sldId id="622" r:id="rId373"/>
    <p:sldId id="623" r:id="rId374"/>
    <p:sldId id="624" r:id="rId375"/>
    <p:sldId id="625" r:id="rId376"/>
    <p:sldId id="626" r:id="rId377"/>
    <p:sldId id="627" r:id="rId378"/>
    <p:sldId id="628" r:id="rId379"/>
    <p:sldId id="752" r:id="rId380"/>
    <p:sldId id="754" r:id="rId381"/>
    <p:sldId id="756" r:id="rId382"/>
    <p:sldId id="629" r:id="rId383"/>
    <p:sldId id="630" r:id="rId384"/>
    <p:sldId id="631" r:id="rId385"/>
    <p:sldId id="632" r:id="rId386"/>
    <p:sldId id="633" r:id="rId387"/>
    <p:sldId id="634" r:id="rId388"/>
    <p:sldId id="635" r:id="rId389"/>
    <p:sldId id="636" r:id="rId390"/>
    <p:sldId id="637" r:id="rId391"/>
    <p:sldId id="638" r:id="rId392"/>
    <p:sldId id="639" r:id="rId393"/>
    <p:sldId id="640" r:id="rId394"/>
    <p:sldId id="641" r:id="rId395"/>
    <p:sldId id="642" r:id="rId396"/>
    <p:sldId id="643" r:id="rId397"/>
    <p:sldId id="644" r:id="rId398"/>
    <p:sldId id="645" r:id="rId399"/>
    <p:sldId id="646" r:id="rId400"/>
    <p:sldId id="647" r:id="rId401"/>
    <p:sldId id="648" r:id="rId402"/>
    <p:sldId id="649" r:id="rId403"/>
    <p:sldId id="650" r:id="rId404"/>
    <p:sldId id="651" r:id="rId405"/>
    <p:sldId id="652" r:id="rId406"/>
    <p:sldId id="653" r:id="rId407"/>
    <p:sldId id="654" r:id="rId408"/>
    <p:sldId id="655" r:id="rId409"/>
    <p:sldId id="656" r:id="rId410"/>
    <p:sldId id="657" r:id="rId411"/>
    <p:sldId id="658" r:id="rId412"/>
    <p:sldId id="659" r:id="rId413"/>
    <p:sldId id="660" r:id="rId414"/>
    <p:sldId id="661" r:id="rId415"/>
    <p:sldId id="662" r:id="rId416"/>
    <p:sldId id="663" r:id="rId417"/>
    <p:sldId id="664" r:id="rId418"/>
    <p:sldId id="665" r:id="rId419"/>
    <p:sldId id="666" r:id="rId420"/>
    <p:sldId id="667" r:id="rId421"/>
    <p:sldId id="668" r:id="rId422"/>
    <p:sldId id="669" r:id="rId423"/>
    <p:sldId id="670" r:id="rId424"/>
    <p:sldId id="671" r:id="rId425"/>
    <p:sldId id="672" r:id="rId426"/>
    <p:sldId id="673" r:id="rId427"/>
    <p:sldId id="674" r:id="rId428"/>
    <p:sldId id="675" r:id="rId429"/>
    <p:sldId id="676" r:id="rId430"/>
    <p:sldId id="677" r:id="rId431"/>
    <p:sldId id="678" r:id="rId432"/>
    <p:sldId id="679" r:id="rId433"/>
    <p:sldId id="680" r:id="rId434"/>
    <p:sldId id="681" r:id="rId435"/>
    <p:sldId id="682" r:id="rId436"/>
    <p:sldId id="683" r:id="rId437"/>
    <p:sldId id="684" r:id="rId438"/>
    <p:sldId id="685" r:id="rId439"/>
    <p:sldId id="686" r:id="rId440"/>
    <p:sldId id="687" r:id="rId441"/>
    <p:sldId id="688" r:id="rId442"/>
    <p:sldId id="689" r:id="rId443"/>
    <p:sldId id="690" r:id="rId444"/>
    <p:sldId id="691" r:id="rId445"/>
    <p:sldId id="692" r:id="rId446"/>
    <p:sldId id="693" r:id="rId447"/>
    <p:sldId id="694" r:id="rId448"/>
    <p:sldId id="695" r:id="rId449"/>
    <p:sldId id="696" r:id="rId450"/>
    <p:sldId id="697" r:id="rId451"/>
    <p:sldId id="698" r:id="rId452"/>
    <p:sldId id="699" r:id="rId453"/>
    <p:sldId id="700" r:id="rId454"/>
    <p:sldId id="701" r:id="rId455"/>
    <p:sldId id="706" r:id="rId456"/>
    <p:sldId id="707" r:id="rId457"/>
    <p:sldId id="708" r:id="rId458"/>
    <p:sldId id="709" r:id="rId459"/>
    <p:sldId id="710" r:id="rId460"/>
    <p:sldId id="711" r:id="rId461"/>
    <p:sldId id="712" r:id="rId462"/>
    <p:sldId id="713" r:id="rId463"/>
    <p:sldId id="714" r:id="rId464"/>
    <p:sldId id="715" r:id="rId465"/>
    <p:sldId id="716" r:id="rId466"/>
    <p:sldId id="717" r:id="rId467"/>
    <p:sldId id="718" r:id="rId468"/>
    <p:sldId id="719" r:id="rId469"/>
    <p:sldId id="720" r:id="rId470"/>
    <p:sldId id="721" r:id="rId471"/>
    <p:sldId id="722" r:id="rId472"/>
    <p:sldId id="723" r:id="rId473"/>
    <p:sldId id="724" r:id="rId474"/>
    <p:sldId id="729" r:id="rId475"/>
    <p:sldId id="730" r:id="rId476"/>
    <p:sldId id="731" r:id="rId477"/>
    <p:sldId id="732" r:id="rId478"/>
    <p:sldId id="733" r:id="rId479"/>
    <p:sldId id="734" r:id="rId480"/>
    <p:sldId id="735" r:id="rId481"/>
    <p:sldId id="736" r:id="rId482"/>
    <p:sldId id="737" r:id="rId483"/>
    <p:sldId id="738" r:id="rId484"/>
    <p:sldId id="739" r:id="rId485"/>
    <p:sldId id="740" r:id="rId486"/>
    <p:sldId id="741" r:id="rId487"/>
    <p:sldId id="742" r:id="rId488"/>
    <p:sldId id="743" r:id="rId489"/>
    <p:sldId id="744" r:id="rId490"/>
    <p:sldId id="745" r:id="rId491"/>
    <p:sldId id="746" r:id="rId492"/>
    <p:sldId id="747" r:id="rId493"/>
    <p:sldId id="748" r:id="rId494"/>
    <p:sldId id="749" r:id="rId495"/>
    <p:sldId id="750" r:id="rId496"/>
    <p:sldId id="751" r:id="rId497"/>
    <p:sldId id="757" r:id="rId498"/>
    <p:sldId id="758" r:id="rId499"/>
    <p:sldId id="759" r:id="rId500"/>
    <p:sldId id="760" r:id="rId501"/>
    <p:sldId id="761" r:id="rId502"/>
    <p:sldId id="762" r:id="rId503"/>
    <p:sldId id="763" r:id="rId504"/>
    <p:sldId id="764" r:id="rId505"/>
    <p:sldId id="765" r:id="rId506"/>
    <p:sldId id="766" r:id="rId507"/>
    <p:sldId id="767" r:id="rId508"/>
    <p:sldId id="768" r:id="rId509"/>
    <p:sldId id="769" r:id="rId510"/>
    <p:sldId id="770" r:id="rId511"/>
    <p:sldId id="771" r:id="rId512"/>
    <p:sldId id="772" r:id="rId513"/>
    <p:sldId id="773" r:id="rId514"/>
    <p:sldId id="774" r:id="rId515"/>
    <p:sldId id="775" r:id="rId516"/>
    <p:sldId id="776" r:id="rId517"/>
    <p:sldId id="777" r:id="rId518"/>
    <p:sldId id="600" r:id="rId519"/>
  </p:sldIdLst>
  <p:sldSz cx="9144000" cy="5143500" type="screen16x9"/>
  <p:notesSz cx="6858000" cy="9144000"/>
  <p:defaultTextStyle>
    <a:defPPr>
      <a:defRPr lang="en-US"/>
    </a:defPPr>
    <a:lvl1pPr marL="0" algn="l" defTabSz="685487" rtl="0" eaLnBrk="1" latinLnBrk="0" hangingPunct="1">
      <a:defRPr sz="1400" kern="1200">
        <a:solidFill>
          <a:schemeClr val="tx1"/>
        </a:solidFill>
        <a:latin typeface="+mn-lt"/>
        <a:ea typeface="+mn-ea"/>
        <a:cs typeface="+mn-cs"/>
      </a:defRPr>
    </a:lvl1pPr>
    <a:lvl2pPr marL="342739" algn="l" defTabSz="685487" rtl="0" eaLnBrk="1" latinLnBrk="0" hangingPunct="1">
      <a:defRPr sz="1400" kern="1200">
        <a:solidFill>
          <a:schemeClr val="tx1"/>
        </a:solidFill>
        <a:latin typeface="+mn-lt"/>
        <a:ea typeface="+mn-ea"/>
        <a:cs typeface="+mn-cs"/>
      </a:defRPr>
    </a:lvl2pPr>
    <a:lvl3pPr marL="685487" algn="l" defTabSz="685487" rtl="0" eaLnBrk="1" latinLnBrk="0" hangingPunct="1">
      <a:defRPr sz="1400" kern="1200">
        <a:solidFill>
          <a:schemeClr val="tx1"/>
        </a:solidFill>
        <a:latin typeface="+mn-lt"/>
        <a:ea typeface="+mn-ea"/>
        <a:cs typeface="+mn-cs"/>
      </a:defRPr>
    </a:lvl3pPr>
    <a:lvl4pPr marL="1028229" algn="l" defTabSz="685487" rtl="0" eaLnBrk="1" latinLnBrk="0" hangingPunct="1">
      <a:defRPr sz="1400" kern="1200">
        <a:solidFill>
          <a:schemeClr val="tx1"/>
        </a:solidFill>
        <a:latin typeface="+mn-lt"/>
        <a:ea typeface="+mn-ea"/>
        <a:cs typeface="+mn-cs"/>
      </a:defRPr>
    </a:lvl4pPr>
    <a:lvl5pPr marL="1370975" algn="l" defTabSz="685487" rtl="0" eaLnBrk="1" latinLnBrk="0" hangingPunct="1">
      <a:defRPr sz="1400" kern="1200">
        <a:solidFill>
          <a:schemeClr val="tx1"/>
        </a:solidFill>
        <a:latin typeface="+mn-lt"/>
        <a:ea typeface="+mn-ea"/>
        <a:cs typeface="+mn-cs"/>
      </a:defRPr>
    </a:lvl5pPr>
    <a:lvl6pPr marL="1713712" algn="l" defTabSz="685487" rtl="0" eaLnBrk="1" latinLnBrk="0" hangingPunct="1">
      <a:defRPr sz="1400" kern="1200">
        <a:solidFill>
          <a:schemeClr val="tx1"/>
        </a:solidFill>
        <a:latin typeface="+mn-lt"/>
        <a:ea typeface="+mn-ea"/>
        <a:cs typeface="+mn-cs"/>
      </a:defRPr>
    </a:lvl6pPr>
    <a:lvl7pPr marL="2056459" algn="l" defTabSz="685487" rtl="0" eaLnBrk="1" latinLnBrk="0" hangingPunct="1">
      <a:defRPr sz="1400" kern="1200">
        <a:solidFill>
          <a:schemeClr val="tx1"/>
        </a:solidFill>
        <a:latin typeface="+mn-lt"/>
        <a:ea typeface="+mn-ea"/>
        <a:cs typeface="+mn-cs"/>
      </a:defRPr>
    </a:lvl7pPr>
    <a:lvl8pPr marL="2399204" algn="l" defTabSz="685487" rtl="0" eaLnBrk="1" latinLnBrk="0" hangingPunct="1">
      <a:defRPr sz="1400" kern="1200">
        <a:solidFill>
          <a:schemeClr val="tx1"/>
        </a:solidFill>
        <a:latin typeface="+mn-lt"/>
        <a:ea typeface="+mn-ea"/>
        <a:cs typeface="+mn-cs"/>
      </a:defRPr>
    </a:lvl8pPr>
    <a:lvl9pPr marL="2741951" algn="l" defTabSz="685487" rtl="0" eaLnBrk="1" latinLnBrk="0" hangingPunct="1">
      <a:defRPr sz="14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108" userDrawn="1">
          <p15:clr>
            <a:srgbClr val="A4A3A4"/>
          </p15:clr>
        </p15:guide>
        <p15:guide id="2" orient="horz" pos="900" userDrawn="1">
          <p15:clr>
            <a:srgbClr val="A4A3A4"/>
          </p15:clr>
        </p15:guide>
        <p15:guide id="3" orient="horz" pos="2052" userDrawn="1">
          <p15:clr>
            <a:srgbClr val="A4A3A4"/>
          </p15:clr>
        </p15:guide>
        <p15:guide id="4" orient="horz" pos="3132" userDrawn="1">
          <p15:clr>
            <a:srgbClr val="A4A3A4"/>
          </p15:clr>
        </p15:guide>
        <p15:guide id="5" orient="horz" pos="1116" userDrawn="1">
          <p15:clr>
            <a:srgbClr val="A4A3A4"/>
          </p15:clr>
        </p15:guide>
        <p15:guide id="6" orient="horz" pos="684" userDrawn="1">
          <p15:clr>
            <a:srgbClr val="A4A3A4"/>
          </p15:clr>
        </p15:guide>
        <p15:guide id="7" pos="2880" userDrawn="1">
          <p15:clr>
            <a:srgbClr val="A4A3A4"/>
          </p15:clr>
        </p15:guide>
        <p15:guide id="8" pos="245" userDrawn="1">
          <p15:clr>
            <a:srgbClr val="A4A3A4"/>
          </p15:clr>
        </p15:guide>
        <p15:guide id="9" pos="893" userDrawn="1">
          <p15:clr>
            <a:srgbClr val="A4A3A4"/>
          </p15:clr>
        </p15:guide>
        <p15:guide id="10" pos="5514" userDrawn="1">
          <p15:clr>
            <a:srgbClr val="A4A3A4"/>
          </p15:clr>
        </p15:guide>
        <p15:guide id="11" pos="5299" userDrawn="1">
          <p15:clr>
            <a:srgbClr val="A4A3A4"/>
          </p15:clr>
        </p15:guide>
        <p15:guide id="12" pos="458" userDrawn="1">
          <p15:clr>
            <a:srgbClr val="A4A3A4"/>
          </p15:clr>
        </p15:guide>
      </p15:sldGuideLst>
    </p:ext>
    <p:ext uri="{2D200454-40CA-4A62-9FC3-DE9A4176ACB9}">
      <p15:notesGuideLst xmlns:p15="http://schemas.microsoft.com/office/powerpoint/2012/main" xmlns="">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uthor" initials="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6AE1E"/>
    <a:srgbClr val="FFFFFF"/>
    <a:srgbClr val="000000"/>
    <a:srgbClr val="429A16"/>
    <a:srgbClr val="F8F57B"/>
    <a:srgbClr val="59D01E"/>
    <a:srgbClr val="ACE58F"/>
    <a:srgbClr val="292929"/>
    <a:srgbClr val="333333"/>
    <a:srgbClr val="FF00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066" autoAdjust="0"/>
    <p:restoredTop sz="94633" autoAdjust="0"/>
  </p:normalViewPr>
  <p:slideViewPr>
    <p:cSldViewPr>
      <p:cViewPr varScale="1">
        <p:scale>
          <a:sx n="82" d="100"/>
          <a:sy n="82" d="100"/>
        </p:scale>
        <p:origin x="-1044" y="-84"/>
      </p:cViewPr>
      <p:guideLst>
        <p:guide orient="horz" pos="108"/>
        <p:guide orient="horz" pos="900"/>
        <p:guide orient="horz" pos="2052"/>
        <p:guide orient="horz" pos="3132"/>
        <p:guide orient="horz" pos="1116"/>
        <p:guide orient="horz" pos="684"/>
        <p:guide pos="2880"/>
        <p:guide pos="245"/>
        <p:guide pos="893"/>
        <p:guide pos="5514"/>
        <p:guide pos="5299"/>
        <p:guide pos="458"/>
      </p:guideLst>
    </p:cSldViewPr>
  </p:slideViewPr>
  <p:notesTextViewPr>
    <p:cViewPr>
      <p:scale>
        <a:sx n="100" d="100"/>
        <a:sy n="100" d="100"/>
      </p:scale>
      <p:origin x="0" y="0"/>
    </p:cViewPr>
  </p:notesTextViewPr>
  <p:sorterViewPr>
    <p:cViewPr>
      <p:scale>
        <a:sx n="54" d="100"/>
        <a:sy n="54" d="100"/>
      </p:scale>
      <p:origin x="0" y="0"/>
    </p:cViewPr>
  </p:sorterViewPr>
  <p:notesViewPr>
    <p:cSldViewPr showGuides="1">
      <p:cViewPr varScale="1">
        <p:scale>
          <a:sx n="81" d="100"/>
          <a:sy n="81" d="100"/>
        </p:scale>
        <p:origin x="-3156"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5.xml"/><Relationship Id="rId299" Type="http://schemas.openxmlformats.org/officeDocument/2006/relationships/slide" Target="slides/slide287.xml"/><Relationship Id="rId21" Type="http://schemas.openxmlformats.org/officeDocument/2006/relationships/slide" Target="slides/slide9.xml"/><Relationship Id="rId63" Type="http://schemas.openxmlformats.org/officeDocument/2006/relationships/slide" Target="slides/slide51.xml"/><Relationship Id="rId159" Type="http://schemas.openxmlformats.org/officeDocument/2006/relationships/slide" Target="slides/slide147.xml"/><Relationship Id="rId324" Type="http://schemas.openxmlformats.org/officeDocument/2006/relationships/slide" Target="slides/slide312.xml"/><Relationship Id="rId366" Type="http://schemas.openxmlformats.org/officeDocument/2006/relationships/slide" Target="slides/slide354.xml"/><Relationship Id="rId170" Type="http://schemas.openxmlformats.org/officeDocument/2006/relationships/slide" Target="slides/slide158.xml"/><Relationship Id="rId226" Type="http://schemas.openxmlformats.org/officeDocument/2006/relationships/slide" Target="slides/slide214.xml"/><Relationship Id="rId433" Type="http://schemas.openxmlformats.org/officeDocument/2006/relationships/slide" Target="slides/slide421.xml"/><Relationship Id="rId268" Type="http://schemas.openxmlformats.org/officeDocument/2006/relationships/slide" Target="slides/slide256.xml"/><Relationship Id="rId475" Type="http://schemas.openxmlformats.org/officeDocument/2006/relationships/slide" Target="slides/slide463.xml"/><Relationship Id="rId32" Type="http://schemas.openxmlformats.org/officeDocument/2006/relationships/slide" Target="slides/slide20.xml"/><Relationship Id="rId74" Type="http://schemas.openxmlformats.org/officeDocument/2006/relationships/slide" Target="slides/slide62.xml"/><Relationship Id="rId128" Type="http://schemas.openxmlformats.org/officeDocument/2006/relationships/slide" Target="slides/slide116.xml"/><Relationship Id="rId335" Type="http://schemas.openxmlformats.org/officeDocument/2006/relationships/slide" Target="slides/slide323.xml"/><Relationship Id="rId377" Type="http://schemas.openxmlformats.org/officeDocument/2006/relationships/slide" Target="slides/slide365.xml"/><Relationship Id="rId500" Type="http://schemas.openxmlformats.org/officeDocument/2006/relationships/slide" Target="slides/slide488.xml"/><Relationship Id="rId5" Type="http://schemas.openxmlformats.org/officeDocument/2006/relationships/slideMaster" Target="slideMasters/slideMaster2.xml"/><Relationship Id="rId181" Type="http://schemas.openxmlformats.org/officeDocument/2006/relationships/slide" Target="slides/slide169.xml"/><Relationship Id="rId237" Type="http://schemas.openxmlformats.org/officeDocument/2006/relationships/slide" Target="slides/slide225.xml"/><Relationship Id="rId402" Type="http://schemas.openxmlformats.org/officeDocument/2006/relationships/slide" Target="slides/slide390.xml"/><Relationship Id="rId279" Type="http://schemas.openxmlformats.org/officeDocument/2006/relationships/slide" Target="slides/slide267.xml"/><Relationship Id="rId444" Type="http://schemas.openxmlformats.org/officeDocument/2006/relationships/slide" Target="slides/slide432.xml"/><Relationship Id="rId486" Type="http://schemas.openxmlformats.org/officeDocument/2006/relationships/slide" Target="slides/slide474.xml"/><Relationship Id="rId43" Type="http://schemas.openxmlformats.org/officeDocument/2006/relationships/slide" Target="slides/slide31.xml"/><Relationship Id="rId139" Type="http://schemas.openxmlformats.org/officeDocument/2006/relationships/slide" Target="slides/slide127.xml"/><Relationship Id="rId290" Type="http://schemas.openxmlformats.org/officeDocument/2006/relationships/slide" Target="slides/slide278.xml"/><Relationship Id="rId304" Type="http://schemas.openxmlformats.org/officeDocument/2006/relationships/slide" Target="slides/slide292.xml"/><Relationship Id="rId346" Type="http://schemas.openxmlformats.org/officeDocument/2006/relationships/slide" Target="slides/slide334.xml"/><Relationship Id="rId388" Type="http://schemas.openxmlformats.org/officeDocument/2006/relationships/slide" Target="slides/slide376.xml"/><Relationship Id="rId511" Type="http://schemas.openxmlformats.org/officeDocument/2006/relationships/slide" Target="slides/slide499.xml"/><Relationship Id="rId85" Type="http://schemas.openxmlformats.org/officeDocument/2006/relationships/slide" Target="slides/slide73.xml"/><Relationship Id="rId150" Type="http://schemas.openxmlformats.org/officeDocument/2006/relationships/slide" Target="slides/slide138.xml"/><Relationship Id="rId192" Type="http://schemas.openxmlformats.org/officeDocument/2006/relationships/slide" Target="slides/slide180.xml"/><Relationship Id="rId206" Type="http://schemas.openxmlformats.org/officeDocument/2006/relationships/slide" Target="slides/slide194.xml"/><Relationship Id="rId413" Type="http://schemas.openxmlformats.org/officeDocument/2006/relationships/slide" Target="slides/slide401.xml"/><Relationship Id="rId248" Type="http://schemas.openxmlformats.org/officeDocument/2006/relationships/slide" Target="slides/slide236.xml"/><Relationship Id="rId455" Type="http://schemas.openxmlformats.org/officeDocument/2006/relationships/slide" Target="slides/slide443.xml"/><Relationship Id="rId497" Type="http://schemas.openxmlformats.org/officeDocument/2006/relationships/slide" Target="slides/slide485.xml"/><Relationship Id="rId12" Type="http://schemas.openxmlformats.org/officeDocument/2006/relationships/slideMaster" Target="slideMasters/slideMaster9.xml"/><Relationship Id="rId108" Type="http://schemas.openxmlformats.org/officeDocument/2006/relationships/slide" Target="slides/slide96.xml"/><Relationship Id="rId315" Type="http://schemas.openxmlformats.org/officeDocument/2006/relationships/slide" Target="slides/slide303.xml"/><Relationship Id="rId357" Type="http://schemas.openxmlformats.org/officeDocument/2006/relationships/slide" Target="slides/slide345.xml"/><Relationship Id="rId522" Type="http://schemas.openxmlformats.org/officeDocument/2006/relationships/commentAuthors" Target="commentAuthors.xml"/><Relationship Id="rId54" Type="http://schemas.openxmlformats.org/officeDocument/2006/relationships/slide" Target="slides/slide42.xml"/><Relationship Id="rId96" Type="http://schemas.openxmlformats.org/officeDocument/2006/relationships/slide" Target="slides/slide84.xml"/><Relationship Id="rId161" Type="http://schemas.openxmlformats.org/officeDocument/2006/relationships/slide" Target="slides/slide149.xml"/><Relationship Id="rId217" Type="http://schemas.openxmlformats.org/officeDocument/2006/relationships/slide" Target="slides/slide205.xml"/><Relationship Id="rId399" Type="http://schemas.openxmlformats.org/officeDocument/2006/relationships/slide" Target="slides/slide387.xml"/><Relationship Id="rId259" Type="http://schemas.openxmlformats.org/officeDocument/2006/relationships/slide" Target="slides/slide247.xml"/><Relationship Id="rId424" Type="http://schemas.openxmlformats.org/officeDocument/2006/relationships/slide" Target="slides/slide412.xml"/><Relationship Id="rId466" Type="http://schemas.openxmlformats.org/officeDocument/2006/relationships/slide" Target="slides/slide454.xml"/><Relationship Id="rId23" Type="http://schemas.openxmlformats.org/officeDocument/2006/relationships/slide" Target="slides/slide11.xml"/><Relationship Id="rId119" Type="http://schemas.openxmlformats.org/officeDocument/2006/relationships/slide" Target="slides/slide107.xml"/><Relationship Id="rId270" Type="http://schemas.openxmlformats.org/officeDocument/2006/relationships/slide" Target="slides/slide258.xml"/><Relationship Id="rId326" Type="http://schemas.openxmlformats.org/officeDocument/2006/relationships/slide" Target="slides/slide314.xml"/><Relationship Id="rId65" Type="http://schemas.openxmlformats.org/officeDocument/2006/relationships/slide" Target="slides/slide53.xml"/><Relationship Id="rId130" Type="http://schemas.openxmlformats.org/officeDocument/2006/relationships/slide" Target="slides/slide118.xml"/><Relationship Id="rId368" Type="http://schemas.openxmlformats.org/officeDocument/2006/relationships/slide" Target="slides/slide356.xml"/><Relationship Id="rId172" Type="http://schemas.openxmlformats.org/officeDocument/2006/relationships/slide" Target="slides/slide160.xml"/><Relationship Id="rId228" Type="http://schemas.openxmlformats.org/officeDocument/2006/relationships/slide" Target="slides/slide216.xml"/><Relationship Id="rId435" Type="http://schemas.openxmlformats.org/officeDocument/2006/relationships/slide" Target="slides/slide423.xml"/><Relationship Id="rId477" Type="http://schemas.openxmlformats.org/officeDocument/2006/relationships/slide" Target="slides/slide465.xml"/><Relationship Id="rId281" Type="http://schemas.openxmlformats.org/officeDocument/2006/relationships/slide" Target="slides/slide269.xml"/><Relationship Id="rId337" Type="http://schemas.openxmlformats.org/officeDocument/2006/relationships/slide" Target="slides/slide325.xml"/><Relationship Id="rId502" Type="http://schemas.openxmlformats.org/officeDocument/2006/relationships/slide" Target="slides/slide490.xml"/><Relationship Id="rId34" Type="http://schemas.openxmlformats.org/officeDocument/2006/relationships/slide" Target="slides/slide22.xml"/><Relationship Id="rId76" Type="http://schemas.openxmlformats.org/officeDocument/2006/relationships/slide" Target="slides/slide64.xml"/><Relationship Id="rId141" Type="http://schemas.openxmlformats.org/officeDocument/2006/relationships/slide" Target="slides/slide129.xml"/><Relationship Id="rId379" Type="http://schemas.openxmlformats.org/officeDocument/2006/relationships/slide" Target="slides/slide367.xml"/><Relationship Id="rId7" Type="http://schemas.openxmlformats.org/officeDocument/2006/relationships/slideMaster" Target="slideMasters/slideMaster4.xml"/><Relationship Id="rId183" Type="http://schemas.openxmlformats.org/officeDocument/2006/relationships/slide" Target="slides/slide171.xml"/><Relationship Id="rId239" Type="http://schemas.openxmlformats.org/officeDocument/2006/relationships/slide" Target="slides/slide227.xml"/><Relationship Id="rId390" Type="http://schemas.openxmlformats.org/officeDocument/2006/relationships/slide" Target="slides/slide378.xml"/><Relationship Id="rId404" Type="http://schemas.openxmlformats.org/officeDocument/2006/relationships/slide" Target="slides/slide392.xml"/><Relationship Id="rId446" Type="http://schemas.openxmlformats.org/officeDocument/2006/relationships/slide" Target="slides/slide434.xml"/><Relationship Id="rId250" Type="http://schemas.openxmlformats.org/officeDocument/2006/relationships/slide" Target="slides/slide238.xml"/><Relationship Id="rId292" Type="http://schemas.openxmlformats.org/officeDocument/2006/relationships/slide" Target="slides/slide280.xml"/><Relationship Id="rId306" Type="http://schemas.openxmlformats.org/officeDocument/2006/relationships/slide" Target="slides/slide294.xml"/><Relationship Id="rId488" Type="http://schemas.openxmlformats.org/officeDocument/2006/relationships/slide" Target="slides/slide476.xml"/><Relationship Id="rId45" Type="http://schemas.openxmlformats.org/officeDocument/2006/relationships/slide" Target="slides/slide33.xml"/><Relationship Id="rId87" Type="http://schemas.openxmlformats.org/officeDocument/2006/relationships/slide" Target="slides/slide75.xml"/><Relationship Id="rId110" Type="http://schemas.openxmlformats.org/officeDocument/2006/relationships/slide" Target="slides/slide98.xml"/><Relationship Id="rId348" Type="http://schemas.openxmlformats.org/officeDocument/2006/relationships/slide" Target="slides/slide336.xml"/><Relationship Id="rId513" Type="http://schemas.openxmlformats.org/officeDocument/2006/relationships/slide" Target="slides/slide501.xml"/><Relationship Id="rId152" Type="http://schemas.openxmlformats.org/officeDocument/2006/relationships/slide" Target="slides/slide140.xml"/><Relationship Id="rId194" Type="http://schemas.openxmlformats.org/officeDocument/2006/relationships/slide" Target="slides/slide182.xml"/><Relationship Id="rId208" Type="http://schemas.openxmlformats.org/officeDocument/2006/relationships/slide" Target="slides/slide196.xml"/><Relationship Id="rId415" Type="http://schemas.openxmlformats.org/officeDocument/2006/relationships/slide" Target="slides/slide403.xml"/><Relationship Id="rId457" Type="http://schemas.openxmlformats.org/officeDocument/2006/relationships/slide" Target="slides/slide445.xml"/><Relationship Id="rId261" Type="http://schemas.openxmlformats.org/officeDocument/2006/relationships/slide" Target="slides/slide249.xml"/><Relationship Id="rId499" Type="http://schemas.openxmlformats.org/officeDocument/2006/relationships/slide" Target="slides/slide487.xml"/><Relationship Id="rId14" Type="http://schemas.openxmlformats.org/officeDocument/2006/relationships/slide" Target="slides/slide2.xml"/><Relationship Id="rId56" Type="http://schemas.openxmlformats.org/officeDocument/2006/relationships/slide" Target="slides/slide44.xml"/><Relationship Id="rId317" Type="http://schemas.openxmlformats.org/officeDocument/2006/relationships/slide" Target="slides/slide305.xml"/><Relationship Id="rId359" Type="http://schemas.openxmlformats.org/officeDocument/2006/relationships/slide" Target="slides/slide347.xml"/><Relationship Id="rId524" Type="http://schemas.openxmlformats.org/officeDocument/2006/relationships/viewProps" Target="viewProps.xml"/><Relationship Id="rId8" Type="http://schemas.openxmlformats.org/officeDocument/2006/relationships/slideMaster" Target="slideMasters/slideMaster5.xml"/><Relationship Id="rId98" Type="http://schemas.openxmlformats.org/officeDocument/2006/relationships/slide" Target="slides/slide86.xml"/><Relationship Id="rId121" Type="http://schemas.openxmlformats.org/officeDocument/2006/relationships/slide" Target="slides/slide109.xml"/><Relationship Id="rId142" Type="http://schemas.openxmlformats.org/officeDocument/2006/relationships/slide" Target="slides/slide130.xml"/><Relationship Id="rId163" Type="http://schemas.openxmlformats.org/officeDocument/2006/relationships/slide" Target="slides/slide151.xml"/><Relationship Id="rId184" Type="http://schemas.openxmlformats.org/officeDocument/2006/relationships/slide" Target="slides/slide172.xml"/><Relationship Id="rId219" Type="http://schemas.openxmlformats.org/officeDocument/2006/relationships/slide" Target="slides/slide207.xml"/><Relationship Id="rId370" Type="http://schemas.openxmlformats.org/officeDocument/2006/relationships/slide" Target="slides/slide358.xml"/><Relationship Id="rId391" Type="http://schemas.openxmlformats.org/officeDocument/2006/relationships/slide" Target="slides/slide379.xml"/><Relationship Id="rId405" Type="http://schemas.openxmlformats.org/officeDocument/2006/relationships/slide" Target="slides/slide393.xml"/><Relationship Id="rId426" Type="http://schemas.openxmlformats.org/officeDocument/2006/relationships/slide" Target="slides/slide414.xml"/><Relationship Id="rId447" Type="http://schemas.openxmlformats.org/officeDocument/2006/relationships/slide" Target="slides/slide435.xml"/><Relationship Id="rId230" Type="http://schemas.openxmlformats.org/officeDocument/2006/relationships/slide" Target="slides/slide218.xml"/><Relationship Id="rId251" Type="http://schemas.openxmlformats.org/officeDocument/2006/relationships/slide" Target="slides/slide239.xml"/><Relationship Id="rId468" Type="http://schemas.openxmlformats.org/officeDocument/2006/relationships/slide" Target="slides/slide456.xml"/><Relationship Id="rId489" Type="http://schemas.openxmlformats.org/officeDocument/2006/relationships/slide" Target="slides/slide477.xml"/><Relationship Id="rId25" Type="http://schemas.openxmlformats.org/officeDocument/2006/relationships/slide" Target="slides/slide13.xml"/><Relationship Id="rId46" Type="http://schemas.openxmlformats.org/officeDocument/2006/relationships/slide" Target="slides/slide34.xml"/><Relationship Id="rId67" Type="http://schemas.openxmlformats.org/officeDocument/2006/relationships/slide" Target="slides/slide55.xml"/><Relationship Id="rId272" Type="http://schemas.openxmlformats.org/officeDocument/2006/relationships/slide" Target="slides/slide260.xml"/><Relationship Id="rId293" Type="http://schemas.openxmlformats.org/officeDocument/2006/relationships/slide" Target="slides/slide281.xml"/><Relationship Id="rId307" Type="http://schemas.openxmlformats.org/officeDocument/2006/relationships/slide" Target="slides/slide295.xml"/><Relationship Id="rId328" Type="http://schemas.openxmlformats.org/officeDocument/2006/relationships/slide" Target="slides/slide316.xml"/><Relationship Id="rId349" Type="http://schemas.openxmlformats.org/officeDocument/2006/relationships/slide" Target="slides/slide337.xml"/><Relationship Id="rId514" Type="http://schemas.openxmlformats.org/officeDocument/2006/relationships/slide" Target="slides/slide502.xml"/><Relationship Id="rId88" Type="http://schemas.openxmlformats.org/officeDocument/2006/relationships/slide" Target="slides/slide76.xml"/><Relationship Id="rId111" Type="http://schemas.openxmlformats.org/officeDocument/2006/relationships/slide" Target="slides/slide99.xml"/><Relationship Id="rId132" Type="http://schemas.openxmlformats.org/officeDocument/2006/relationships/slide" Target="slides/slide120.xml"/><Relationship Id="rId153" Type="http://schemas.openxmlformats.org/officeDocument/2006/relationships/slide" Target="slides/slide141.xml"/><Relationship Id="rId174" Type="http://schemas.openxmlformats.org/officeDocument/2006/relationships/slide" Target="slides/slide162.xml"/><Relationship Id="rId195" Type="http://schemas.openxmlformats.org/officeDocument/2006/relationships/slide" Target="slides/slide183.xml"/><Relationship Id="rId209" Type="http://schemas.openxmlformats.org/officeDocument/2006/relationships/slide" Target="slides/slide197.xml"/><Relationship Id="rId360" Type="http://schemas.openxmlformats.org/officeDocument/2006/relationships/slide" Target="slides/slide348.xml"/><Relationship Id="rId381" Type="http://schemas.openxmlformats.org/officeDocument/2006/relationships/slide" Target="slides/slide369.xml"/><Relationship Id="rId416" Type="http://schemas.openxmlformats.org/officeDocument/2006/relationships/slide" Target="slides/slide404.xml"/><Relationship Id="rId220" Type="http://schemas.openxmlformats.org/officeDocument/2006/relationships/slide" Target="slides/slide208.xml"/><Relationship Id="rId241" Type="http://schemas.openxmlformats.org/officeDocument/2006/relationships/slide" Target="slides/slide229.xml"/><Relationship Id="rId437" Type="http://schemas.openxmlformats.org/officeDocument/2006/relationships/slide" Target="slides/slide425.xml"/><Relationship Id="rId458" Type="http://schemas.openxmlformats.org/officeDocument/2006/relationships/slide" Target="slides/slide446.xml"/><Relationship Id="rId479" Type="http://schemas.openxmlformats.org/officeDocument/2006/relationships/slide" Target="slides/slide467.xml"/><Relationship Id="rId15" Type="http://schemas.openxmlformats.org/officeDocument/2006/relationships/slide" Target="slides/slide3.xml"/><Relationship Id="rId36" Type="http://schemas.openxmlformats.org/officeDocument/2006/relationships/slide" Target="slides/slide24.xml"/><Relationship Id="rId57" Type="http://schemas.openxmlformats.org/officeDocument/2006/relationships/slide" Target="slides/slide45.xml"/><Relationship Id="rId262" Type="http://schemas.openxmlformats.org/officeDocument/2006/relationships/slide" Target="slides/slide250.xml"/><Relationship Id="rId283" Type="http://schemas.openxmlformats.org/officeDocument/2006/relationships/slide" Target="slides/slide271.xml"/><Relationship Id="rId318" Type="http://schemas.openxmlformats.org/officeDocument/2006/relationships/slide" Target="slides/slide306.xml"/><Relationship Id="rId339" Type="http://schemas.openxmlformats.org/officeDocument/2006/relationships/slide" Target="slides/slide327.xml"/><Relationship Id="rId490" Type="http://schemas.openxmlformats.org/officeDocument/2006/relationships/slide" Target="slides/slide478.xml"/><Relationship Id="rId504" Type="http://schemas.openxmlformats.org/officeDocument/2006/relationships/slide" Target="slides/slide492.xml"/><Relationship Id="rId525" Type="http://schemas.openxmlformats.org/officeDocument/2006/relationships/theme" Target="theme/theme1.xml"/><Relationship Id="rId78" Type="http://schemas.openxmlformats.org/officeDocument/2006/relationships/slide" Target="slides/slide66.xml"/><Relationship Id="rId99" Type="http://schemas.openxmlformats.org/officeDocument/2006/relationships/slide" Target="slides/slide87.xml"/><Relationship Id="rId101" Type="http://schemas.openxmlformats.org/officeDocument/2006/relationships/slide" Target="slides/slide89.xml"/><Relationship Id="rId122" Type="http://schemas.openxmlformats.org/officeDocument/2006/relationships/slide" Target="slides/slide110.xml"/><Relationship Id="rId143" Type="http://schemas.openxmlformats.org/officeDocument/2006/relationships/slide" Target="slides/slide131.xml"/><Relationship Id="rId164" Type="http://schemas.openxmlformats.org/officeDocument/2006/relationships/slide" Target="slides/slide152.xml"/><Relationship Id="rId185" Type="http://schemas.openxmlformats.org/officeDocument/2006/relationships/slide" Target="slides/slide173.xml"/><Relationship Id="rId350" Type="http://schemas.openxmlformats.org/officeDocument/2006/relationships/slide" Target="slides/slide338.xml"/><Relationship Id="rId371" Type="http://schemas.openxmlformats.org/officeDocument/2006/relationships/slide" Target="slides/slide359.xml"/><Relationship Id="rId406" Type="http://schemas.openxmlformats.org/officeDocument/2006/relationships/slide" Target="slides/slide394.xml"/><Relationship Id="rId9" Type="http://schemas.openxmlformats.org/officeDocument/2006/relationships/slideMaster" Target="slideMasters/slideMaster6.xml"/><Relationship Id="rId210" Type="http://schemas.openxmlformats.org/officeDocument/2006/relationships/slide" Target="slides/slide198.xml"/><Relationship Id="rId392" Type="http://schemas.openxmlformats.org/officeDocument/2006/relationships/slide" Target="slides/slide380.xml"/><Relationship Id="rId427" Type="http://schemas.openxmlformats.org/officeDocument/2006/relationships/slide" Target="slides/slide415.xml"/><Relationship Id="rId448" Type="http://schemas.openxmlformats.org/officeDocument/2006/relationships/slide" Target="slides/slide436.xml"/><Relationship Id="rId469" Type="http://schemas.openxmlformats.org/officeDocument/2006/relationships/slide" Target="slides/slide457.xml"/><Relationship Id="rId26" Type="http://schemas.openxmlformats.org/officeDocument/2006/relationships/slide" Target="slides/slide14.xml"/><Relationship Id="rId231" Type="http://schemas.openxmlformats.org/officeDocument/2006/relationships/slide" Target="slides/slide219.xml"/><Relationship Id="rId252" Type="http://schemas.openxmlformats.org/officeDocument/2006/relationships/slide" Target="slides/slide240.xml"/><Relationship Id="rId273" Type="http://schemas.openxmlformats.org/officeDocument/2006/relationships/slide" Target="slides/slide261.xml"/><Relationship Id="rId294" Type="http://schemas.openxmlformats.org/officeDocument/2006/relationships/slide" Target="slides/slide282.xml"/><Relationship Id="rId308" Type="http://schemas.openxmlformats.org/officeDocument/2006/relationships/slide" Target="slides/slide296.xml"/><Relationship Id="rId329" Type="http://schemas.openxmlformats.org/officeDocument/2006/relationships/slide" Target="slides/slide317.xml"/><Relationship Id="rId480" Type="http://schemas.openxmlformats.org/officeDocument/2006/relationships/slide" Target="slides/slide468.xml"/><Relationship Id="rId515" Type="http://schemas.openxmlformats.org/officeDocument/2006/relationships/slide" Target="slides/slide503.xml"/><Relationship Id="rId47" Type="http://schemas.openxmlformats.org/officeDocument/2006/relationships/slide" Target="slides/slide35.xml"/><Relationship Id="rId68" Type="http://schemas.openxmlformats.org/officeDocument/2006/relationships/slide" Target="slides/slide56.xml"/><Relationship Id="rId89" Type="http://schemas.openxmlformats.org/officeDocument/2006/relationships/slide" Target="slides/slide77.xml"/><Relationship Id="rId112" Type="http://schemas.openxmlformats.org/officeDocument/2006/relationships/slide" Target="slides/slide100.xml"/><Relationship Id="rId133" Type="http://schemas.openxmlformats.org/officeDocument/2006/relationships/slide" Target="slides/slide121.xml"/><Relationship Id="rId154" Type="http://schemas.openxmlformats.org/officeDocument/2006/relationships/slide" Target="slides/slide142.xml"/><Relationship Id="rId175" Type="http://schemas.openxmlformats.org/officeDocument/2006/relationships/slide" Target="slides/slide163.xml"/><Relationship Id="rId340" Type="http://schemas.openxmlformats.org/officeDocument/2006/relationships/slide" Target="slides/slide328.xml"/><Relationship Id="rId361" Type="http://schemas.openxmlformats.org/officeDocument/2006/relationships/slide" Target="slides/slide349.xml"/><Relationship Id="rId196" Type="http://schemas.openxmlformats.org/officeDocument/2006/relationships/slide" Target="slides/slide184.xml"/><Relationship Id="rId200" Type="http://schemas.openxmlformats.org/officeDocument/2006/relationships/slide" Target="slides/slide188.xml"/><Relationship Id="rId382" Type="http://schemas.openxmlformats.org/officeDocument/2006/relationships/slide" Target="slides/slide370.xml"/><Relationship Id="rId417" Type="http://schemas.openxmlformats.org/officeDocument/2006/relationships/slide" Target="slides/slide405.xml"/><Relationship Id="rId438" Type="http://schemas.openxmlformats.org/officeDocument/2006/relationships/slide" Target="slides/slide426.xml"/><Relationship Id="rId459" Type="http://schemas.openxmlformats.org/officeDocument/2006/relationships/slide" Target="slides/slide447.xml"/><Relationship Id="rId16" Type="http://schemas.openxmlformats.org/officeDocument/2006/relationships/slide" Target="slides/slide4.xml"/><Relationship Id="rId221" Type="http://schemas.openxmlformats.org/officeDocument/2006/relationships/slide" Target="slides/slide209.xml"/><Relationship Id="rId242" Type="http://schemas.openxmlformats.org/officeDocument/2006/relationships/slide" Target="slides/slide230.xml"/><Relationship Id="rId263" Type="http://schemas.openxmlformats.org/officeDocument/2006/relationships/slide" Target="slides/slide251.xml"/><Relationship Id="rId284" Type="http://schemas.openxmlformats.org/officeDocument/2006/relationships/slide" Target="slides/slide272.xml"/><Relationship Id="rId319" Type="http://schemas.openxmlformats.org/officeDocument/2006/relationships/slide" Target="slides/slide307.xml"/><Relationship Id="rId470" Type="http://schemas.openxmlformats.org/officeDocument/2006/relationships/slide" Target="slides/slide458.xml"/><Relationship Id="rId491" Type="http://schemas.openxmlformats.org/officeDocument/2006/relationships/slide" Target="slides/slide479.xml"/><Relationship Id="rId505" Type="http://schemas.openxmlformats.org/officeDocument/2006/relationships/slide" Target="slides/slide493.xml"/><Relationship Id="rId526" Type="http://schemas.openxmlformats.org/officeDocument/2006/relationships/tableStyles" Target="tableStyles.xml"/><Relationship Id="rId37" Type="http://schemas.openxmlformats.org/officeDocument/2006/relationships/slide" Target="slides/slide25.xml"/><Relationship Id="rId58" Type="http://schemas.openxmlformats.org/officeDocument/2006/relationships/slide" Target="slides/slide46.xml"/><Relationship Id="rId79" Type="http://schemas.openxmlformats.org/officeDocument/2006/relationships/slide" Target="slides/slide67.xml"/><Relationship Id="rId102" Type="http://schemas.openxmlformats.org/officeDocument/2006/relationships/slide" Target="slides/slide90.xml"/><Relationship Id="rId123" Type="http://schemas.openxmlformats.org/officeDocument/2006/relationships/slide" Target="slides/slide111.xml"/><Relationship Id="rId144" Type="http://schemas.openxmlformats.org/officeDocument/2006/relationships/slide" Target="slides/slide132.xml"/><Relationship Id="rId330" Type="http://schemas.openxmlformats.org/officeDocument/2006/relationships/slide" Target="slides/slide318.xml"/><Relationship Id="rId90" Type="http://schemas.openxmlformats.org/officeDocument/2006/relationships/slide" Target="slides/slide78.xml"/><Relationship Id="rId165" Type="http://schemas.openxmlformats.org/officeDocument/2006/relationships/slide" Target="slides/slide153.xml"/><Relationship Id="rId186" Type="http://schemas.openxmlformats.org/officeDocument/2006/relationships/slide" Target="slides/slide174.xml"/><Relationship Id="rId351" Type="http://schemas.openxmlformats.org/officeDocument/2006/relationships/slide" Target="slides/slide339.xml"/><Relationship Id="rId372" Type="http://schemas.openxmlformats.org/officeDocument/2006/relationships/slide" Target="slides/slide360.xml"/><Relationship Id="rId393" Type="http://schemas.openxmlformats.org/officeDocument/2006/relationships/slide" Target="slides/slide381.xml"/><Relationship Id="rId407" Type="http://schemas.openxmlformats.org/officeDocument/2006/relationships/slide" Target="slides/slide395.xml"/><Relationship Id="rId428" Type="http://schemas.openxmlformats.org/officeDocument/2006/relationships/slide" Target="slides/slide416.xml"/><Relationship Id="rId449" Type="http://schemas.openxmlformats.org/officeDocument/2006/relationships/slide" Target="slides/slide437.xml"/><Relationship Id="rId211" Type="http://schemas.openxmlformats.org/officeDocument/2006/relationships/slide" Target="slides/slide199.xml"/><Relationship Id="rId232" Type="http://schemas.openxmlformats.org/officeDocument/2006/relationships/slide" Target="slides/slide220.xml"/><Relationship Id="rId253" Type="http://schemas.openxmlformats.org/officeDocument/2006/relationships/slide" Target="slides/slide241.xml"/><Relationship Id="rId274" Type="http://schemas.openxmlformats.org/officeDocument/2006/relationships/slide" Target="slides/slide262.xml"/><Relationship Id="rId295" Type="http://schemas.openxmlformats.org/officeDocument/2006/relationships/slide" Target="slides/slide283.xml"/><Relationship Id="rId309" Type="http://schemas.openxmlformats.org/officeDocument/2006/relationships/slide" Target="slides/slide297.xml"/><Relationship Id="rId460" Type="http://schemas.openxmlformats.org/officeDocument/2006/relationships/slide" Target="slides/slide448.xml"/><Relationship Id="rId481" Type="http://schemas.openxmlformats.org/officeDocument/2006/relationships/slide" Target="slides/slide469.xml"/><Relationship Id="rId516" Type="http://schemas.openxmlformats.org/officeDocument/2006/relationships/slide" Target="slides/slide504.xml"/><Relationship Id="rId27" Type="http://schemas.openxmlformats.org/officeDocument/2006/relationships/slide" Target="slides/slide15.xml"/><Relationship Id="rId48" Type="http://schemas.openxmlformats.org/officeDocument/2006/relationships/slide" Target="slides/slide36.xml"/><Relationship Id="rId69" Type="http://schemas.openxmlformats.org/officeDocument/2006/relationships/slide" Target="slides/slide57.xml"/><Relationship Id="rId113" Type="http://schemas.openxmlformats.org/officeDocument/2006/relationships/slide" Target="slides/slide101.xml"/><Relationship Id="rId134" Type="http://schemas.openxmlformats.org/officeDocument/2006/relationships/slide" Target="slides/slide122.xml"/><Relationship Id="rId320" Type="http://schemas.openxmlformats.org/officeDocument/2006/relationships/slide" Target="slides/slide308.xml"/><Relationship Id="rId80" Type="http://schemas.openxmlformats.org/officeDocument/2006/relationships/slide" Target="slides/slide68.xml"/><Relationship Id="rId155" Type="http://schemas.openxmlformats.org/officeDocument/2006/relationships/slide" Target="slides/slide143.xml"/><Relationship Id="rId176" Type="http://schemas.openxmlformats.org/officeDocument/2006/relationships/slide" Target="slides/slide164.xml"/><Relationship Id="rId197" Type="http://schemas.openxmlformats.org/officeDocument/2006/relationships/slide" Target="slides/slide185.xml"/><Relationship Id="rId341" Type="http://schemas.openxmlformats.org/officeDocument/2006/relationships/slide" Target="slides/slide329.xml"/><Relationship Id="rId362" Type="http://schemas.openxmlformats.org/officeDocument/2006/relationships/slide" Target="slides/slide350.xml"/><Relationship Id="rId383" Type="http://schemas.openxmlformats.org/officeDocument/2006/relationships/slide" Target="slides/slide371.xml"/><Relationship Id="rId418" Type="http://schemas.openxmlformats.org/officeDocument/2006/relationships/slide" Target="slides/slide406.xml"/><Relationship Id="rId439" Type="http://schemas.openxmlformats.org/officeDocument/2006/relationships/slide" Target="slides/slide427.xml"/><Relationship Id="rId201" Type="http://schemas.openxmlformats.org/officeDocument/2006/relationships/slide" Target="slides/slide189.xml"/><Relationship Id="rId222" Type="http://schemas.openxmlformats.org/officeDocument/2006/relationships/slide" Target="slides/slide210.xml"/><Relationship Id="rId243" Type="http://schemas.openxmlformats.org/officeDocument/2006/relationships/slide" Target="slides/slide231.xml"/><Relationship Id="rId264" Type="http://schemas.openxmlformats.org/officeDocument/2006/relationships/slide" Target="slides/slide252.xml"/><Relationship Id="rId285" Type="http://schemas.openxmlformats.org/officeDocument/2006/relationships/slide" Target="slides/slide273.xml"/><Relationship Id="rId450" Type="http://schemas.openxmlformats.org/officeDocument/2006/relationships/slide" Target="slides/slide438.xml"/><Relationship Id="rId471" Type="http://schemas.openxmlformats.org/officeDocument/2006/relationships/slide" Target="slides/slide459.xml"/><Relationship Id="rId506" Type="http://schemas.openxmlformats.org/officeDocument/2006/relationships/slide" Target="slides/slide494.xml"/><Relationship Id="rId17" Type="http://schemas.openxmlformats.org/officeDocument/2006/relationships/slide" Target="slides/slide5.xml"/><Relationship Id="rId38" Type="http://schemas.openxmlformats.org/officeDocument/2006/relationships/slide" Target="slides/slide26.xml"/><Relationship Id="rId59" Type="http://schemas.openxmlformats.org/officeDocument/2006/relationships/slide" Target="slides/slide47.xml"/><Relationship Id="rId103" Type="http://schemas.openxmlformats.org/officeDocument/2006/relationships/slide" Target="slides/slide91.xml"/><Relationship Id="rId124" Type="http://schemas.openxmlformats.org/officeDocument/2006/relationships/slide" Target="slides/slide112.xml"/><Relationship Id="rId310" Type="http://schemas.openxmlformats.org/officeDocument/2006/relationships/slide" Target="slides/slide298.xml"/><Relationship Id="rId492" Type="http://schemas.openxmlformats.org/officeDocument/2006/relationships/slide" Target="slides/slide480.xml"/><Relationship Id="rId70" Type="http://schemas.openxmlformats.org/officeDocument/2006/relationships/slide" Target="slides/slide58.xml"/><Relationship Id="rId91" Type="http://schemas.openxmlformats.org/officeDocument/2006/relationships/slide" Target="slides/slide79.xml"/><Relationship Id="rId145" Type="http://schemas.openxmlformats.org/officeDocument/2006/relationships/slide" Target="slides/slide133.xml"/><Relationship Id="rId166" Type="http://schemas.openxmlformats.org/officeDocument/2006/relationships/slide" Target="slides/slide154.xml"/><Relationship Id="rId187" Type="http://schemas.openxmlformats.org/officeDocument/2006/relationships/slide" Target="slides/slide175.xml"/><Relationship Id="rId331" Type="http://schemas.openxmlformats.org/officeDocument/2006/relationships/slide" Target="slides/slide319.xml"/><Relationship Id="rId352" Type="http://schemas.openxmlformats.org/officeDocument/2006/relationships/slide" Target="slides/slide340.xml"/><Relationship Id="rId373" Type="http://schemas.openxmlformats.org/officeDocument/2006/relationships/slide" Target="slides/slide361.xml"/><Relationship Id="rId394" Type="http://schemas.openxmlformats.org/officeDocument/2006/relationships/slide" Target="slides/slide382.xml"/><Relationship Id="rId408" Type="http://schemas.openxmlformats.org/officeDocument/2006/relationships/slide" Target="slides/slide396.xml"/><Relationship Id="rId429" Type="http://schemas.openxmlformats.org/officeDocument/2006/relationships/slide" Target="slides/slide417.xml"/><Relationship Id="rId1" Type="http://schemas.openxmlformats.org/officeDocument/2006/relationships/customXml" Target="../customXml/item1.xml"/><Relationship Id="rId212" Type="http://schemas.openxmlformats.org/officeDocument/2006/relationships/slide" Target="slides/slide200.xml"/><Relationship Id="rId233" Type="http://schemas.openxmlformats.org/officeDocument/2006/relationships/slide" Target="slides/slide221.xml"/><Relationship Id="rId254" Type="http://schemas.openxmlformats.org/officeDocument/2006/relationships/slide" Target="slides/slide242.xml"/><Relationship Id="rId440" Type="http://schemas.openxmlformats.org/officeDocument/2006/relationships/slide" Target="slides/slide428.xml"/><Relationship Id="rId28" Type="http://schemas.openxmlformats.org/officeDocument/2006/relationships/slide" Target="slides/slide16.xml"/><Relationship Id="rId49" Type="http://schemas.openxmlformats.org/officeDocument/2006/relationships/slide" Target="slides/slide37.xml"/><Relationship Id="rId114" Type="http://schemas.openxmlformats.org/officeDocument/2006/relationships/slide" Target="slides/slide102.xml"/><Relationship Id="rId275" Type="http://schemas.openxmlformats.org/officeDocument/2006/relationships/slide" Target="slides/slide263.xml"/><Relationship Id="rId296" Type="http://schemas.openxmlformats.org/officeDocument/2006/relationships/slide" Target="slides/slide284.xml"/><Relationship Id="rId300" Type="http://schemas.openxmlformats.org/officeDocument/2006/relationships/slide" Target="slides/slide288.xml"/><Relationship Id="rId461" Type="http://schemas.openxmlformats.org/officeDocument/2006/relationships/slide" Target="slides/slide449.xml"/><Relationship Id="rId482" Type="http://schemas.openxmlformats.org/officeDocument/2006/relationships/slide" Target="slides/slide470.xml"/><Relationship Id="rId517" Type="http://schemas.openxmlformats.org/officeDocument/2006/relationships/slide" Target="slides/slide505.xml"/><Relationship Id="rId60" Type="http://schemas.openxmlformats.org/officeDocument/2006/relationships/slide" Target="slides/slide48.xml"/><Relationship Id="rId81" Type="http://schemas.openxmlformats.org/officeDocument/2006/relationships/slide" Target="slides/slide69.xml"/><Relationship Id="rId135" Type="http://schemas.openxmlformats.org/officeDocument/2006/relationships/slide" Target="slides/slide123.xml"/><Relationship Id="rId156" Type="http://schemas.openxmlformats.org/officeDocument/2006/relationships/slide" Target="slides/slide144.xml"/><Relationship Id="rId177" Type="http://schemas.openxmlformats.org/officeDocument/2006/relationships/slide" Target="slides/slide165.xml"/><Relationship Id="rId198" Type="http://schemas.openxmlformats.org/officeDocument/2006/relationships/slide" Target="slides/slide186.xml"/><Relationship Id="rId321" Type="http://schemas.openxmlformats.org/officeDocument/2006/relationships/slide" Target="slides/slide309.xml"/><Relationship Id="rId342" Type="http://schemas.openxmlformats.org/officeDocument/2006/relationships/slide" Target="slides/slide330.xml"/><Relationship Id="rId363" Type="http://schemas.openxmlformats.org/officeDocument/2006/relationships/slide" Target="slides/slide351.xml"/><Relationship Id="rId384" Type="http://schemas.openxmlformats.org/officeDocument/2006/relationships/slide" Target="slides/slide372.xml"/><Relationship Id="rId419" Type="http://schemas.openxmlformats.org/officeDocument/2006/relationships/slide" Target="slides/slide407.xml"/><Relationship Id="rId202" Type="http://schemas.openxmlformats.org/officeDocument/2006/relationships/slide" Target="slides/slide190.xml"/><Relationship Id="rId223" Type="http://schemas.openxmlformats.org/officeDocument/2006/relationships/slide" Target="slides/slide211.xml"/><Relationship Id="rId244" Type="http://schemas.openxmlformats.org/officeDocument/2006/relationships/slide" Target="slides/slide232.xml"/><Relationship Id="rId430" Type="http://schemas.openxmlformats.org/officeDocument/2006/relationships/slide" Target="slides/slide418.xml"/><Relationship Id="rId18" Type="http://schemas.openxmlformats.org/officeDocument/2006/relationships/slide" Target="slides/slide6.xml"/><Relationship Id="rId39" Type="http://schemas.openxmlformats.org/officeDocument/2006/relationships/slide" Target="slides/slide27.xml"/><Relationship Id="rId265" Type="http://schemas.openxmlformats.org/officeDocument/2006/relationships/slide" Target="slides/slide253.xml"/><Relationship Id="rId286" Type="http://schemas.openxmlformats.org/officeDocument/2006/relationships/slide" Target="slides/slide274.xml"/><Relationship Id="rId451" Type="http://schemas.openxmlformats.org/officeDocument/2006/relationships/slide" Target="slides/slide439.xml"/><Relationship Id="rId472" Type="http://schemas.openxmlformats.org/officeDocument/2006/relationships/slide" Target="slides/slide460.xml"/><Relationship Id="rId493" Type="http://schemas.openxmlformats.org/officeDocument/2006/relationships/slide" Target="slides/slide481.xml"/><Relationship Id="rId507" Type="http://schemas.openxmlformats.org/officeDocument/2006/relationships/slide" Target="slides/slide495.xml"/><Relationship Id="rId50" Type="http://schemas.openxmlformats.org/officeDocument/2006/relationships/slide" Target="slides/slide38.xml"/><Relationship Id="rId104" Type="http://schemas.openxmlformats.org/officeDocument/2006/relationships/slide" Target="slides/slide92.xml"/><Relationship Id="rId125" Type="http://schemas.openxmlformats.org/officeDocument/2006/relationships/slide" Target="slides/slide113.xml"/><Relationship Id="rId146" Type="http://schemas.openxmlformats.org/officeDocument/2006/relationships/slide" Target="slides/slide134.xml"/><Relationship Id="rId167" Type="http://schemas.openxmlformats.org/officeDocument/2006/relationships/slide" Target="slides/slide155.xml"/><Relationship Id="rId188" Type="http://schemas.openxmlformats.org/officeDocument/2006/relationships/slide" Target="slides/slide176.xml"/><Relationship Id="rId311" Type="http://schemas.openxmlformats.org/officeDocument/2006/relationships/slide" Target="slides/slide299.xml"/><Relationship Id="rId332" Type="http://schemas.openxmlformats.org/officeDocument/2006/relationships/slide" Target="slides/slide320.xml"/><Relationship Id="rId353" Type="http://schemas.openxmlformats.org/officeDocument/2006/relationships/slide" Target="slides/slide341.xml"/><Relationship Id="rId374" Type="http://schemas.openxmlformats.org/officeDocument/2006/relationships/slide" Target="slides/slide362.xml"/><Relationship Id="rId395" Type="http://schemas.openxmlformats.org/officeDocument/2006/relationships/slide" Target="slides/slide383.xml"/><Relationship Id="rId409" Type="http://schemas.openxmlformats.org/officeDocument/2006/relationships/slide" Target="slides/slide397.xml"/><Relationship Id="rId71" Type="http://schemas.openxmlformats.org/officeDocument/2006/relationships/slide" Target="slides/slide59.xml"/><Relationship Id="rId92" Type="http://schemas.openxmlformats.org/officeDocument/2006/relationships/slide" Target="slides/slide80.xml"/><Relationship Id="rId213" Type="http://schemas.openxmlformats.org/officeDocument/2006/relationships/slide" Target="slides/slide201.xml"/><Relationship Id="rId234" Type="http://schemas.openxmlformats.org/officeDocument/2006/relationships/slide" Target="slides/slide222.xml"/><Relationship Id="rId420" Type="http://schemas.openxmlformats.org/officeDocument/2006/relationships/slide" Target="slides/slide408.xml"/><Relationship Id="rId2" Type="http://schemas.openxmlformats.org/officeDocument/2006/relationships/customXml" Target="../customXml/item2.xml"/><Relationship Id="rId29" Type="http://schemas.openxmlformats.org/officeDocument/2006/relationships/slide" Target="slides/slide17.xml"/><Relationship Id="rId255" Type="http://schemas.openxmlformats.org/officeDocument/2006/relationships/slide" Target="slides/slide243.xml"/><Relationship Id="rId276" Type="http://schemas.openxmlformats.org/officeDocument/2006/relationships/slide" Target="slides/slide264.xml"/><Relationship Id="rId297" Type="http://schemas.openxmlformats.org/officeDocument/2006/relationships/slide" Target="slides/slide285.xml"/><Relationship Id="rId441" Type="http://schemas.openxmlformats.org/officeDocument/2006/relationships/slide" Target="slides/slide429.xml"/><Relationship Id="rId462" Type="http://schemas.openxmlformats.org/officeDocument/2006/relationships/slide" Target="slides/slide450.xml"/><Relationship Id="rId483" Type="http://schemas.openxmlformats.org/officeDocument/2006/relationships/slide" Target="slides/slide471.xml"/><Relationship Id="rId518" Type="http://schemas.openxmlformats.org/officeDocument/2006/relationships/slide" Target="slides/slide506.xml"/><Relationship Id="rId40" Type="http://schemas.openxmlformats.org/officeDocument/2006/relationships/slide" Target="slides/slide28.xml"/><Relationship Id="rId115" Type="http://schemas.openxmlformats.org/officeDocument/2006/relationships/slide" Target="slides/slide103.xml"/><Relationship Id="rId136" Type="http://schemas.openxmlformats.org/officeDocument/2006/relationships/slide" Target="slides/slide124.xml"/><Relationship Id="rId157" Type="http://schemas.openxmlformats.org/officeDocument/2006/relationships/slide" Target="slides/slide145.xml"/><Relationship Id="rId178" Type="http://schemas.openxmlformats.org/officeDocument/2006/relationships/slide" Target="slides/slide166.xml"/><Relationship Id="rId301" Type="http://schemas.openxmlformats.org/officeDocument/2006/relationships/slide" Target="slides/slide289.xml"/><Relationship Id="rId322" Type="http://schemas.openxmlformats.org/officeDocument/2006/relationships/slide" Target="slides/slide310.xml"/><Relationship Id="rId343" Type="http://schemas.openxmlformats.org/officeDocument/2006/relationships/slide" Target="slides/slide331.xml"/><Relationship Id="rId364" Type="http://schemas.openxmlformats.org/officeDocument/2006/relationships/slide" Target="slides/slide352.xml"/><Relationship Id="rId61" Type="http://schemas.openxmlformats.org/officeDocument/2006/relationships/slide" Target="slides/slide49.xml"/><Relationship Id="rId82" Type="http://schemas.openxmlformats.org/officeDocument/2006/relationships/slide" Target="slides/slide70.xml"/><Relationship Id="rId199" Type="http://schemas.openxmlformats.org/officeDocument/2006/relationships/slide" Target="slides/slide187.xml"/><Relationship Id="rId203" Type="http://schemas.openxmlformats.org/officeDocument/2006/relationships/slide" Target="slides/slide191.xml"/><Relationship Id="rId385" Type="http://schemas.openxmlformats.org/officeDocument/2006/relationships/slide" Target="slides/slide373.xml"/><Relationship Id="rId19" Type="http://schemas.openxmlformats.org/officeDocument/2006/relationships/slide" Target="slides/slide7.xml"/><Relationship Id="rId224" Type="http://schemas.openxmlformats.org/officeDocument/2006/relationships/slide" Target="slides/slide212.xml"/><Relationship Id="rId245" Type="http://schemas.openxmlformats.org/officeDocument/2006/relationships/slide" Target="slides/slide233.xml"/><Relationship Id="rId266" Type="http://schemas.openxmlformats.org/officeDocument/2006/relationships/slide" Target="slides/slide254.xml"/><Relationship Id="rId287" Type="http://schemas.openxmlformats.org/officeDocument/2006/relationships/slide" Target="slides/slide275.xml"/><Relationship Id="rId410" Type="http://schemas.openxmlformats.org/officeDocument/2006/relationships/slide" Target="slides/slide398.xml"/><Relationship Id="rId431" Type="http://schemas.openxmlformats.org/officeDocument/2006/relationships/slide" Target="slides/slide419.xml"/><Relationship Id="rId452" Type="http://schemas.openxmlformats.org/officeDocument/2006/relationships/slide" Target="slides/slide440.xml"/><Relationship Id="rId473" Type="http://schemas.openxmlformats.org/officeDocument/2006/relationships/slide" Target="slides/slide461.xml"/><Relationship Id="rId494" Type="http://schemas.openxmlformats.org/officeDocument/2006/relationships/slide" Target="slides/slide482.xml"/><Relationship Id="rId508" Type="http://schemas.openxmlformats.org/officeDocument/2006/relationships/slide" Target="slides/slide496.xml"/><Relationship Id="rId30" Type="http://schemas.openxmlformats.org/officeDocument/2006/relationships/slide" Target="slides/slide18.xml"/><Relationship Id="rId105" Type="http://schemas.openxmlformats.org/officeDocument/2006/relationships/slide" Target="slides/slide93.xml"/><Relationship Id="rId126" Type="http://schemas.openxmlformats.org/officeDocument/2006/relationships/slide" Target="slides/slide114.xml"/><Relationship Id="rId147" Type="http://schemas.openxmlformats.org/officeDocument/2006/relationships/slide" Target="slides/slide135.xml"/><Relationship Id="rId168" Type="http://schemas.openxmlformats.org/officeDocument/2006/relationships/slide" Target="slides/slide156.xml"/><Relationship Id="rId312" Type="http://schemas.openxmlformats.org/officeDocument/2006/relationships/slide" Target="slides/slide300.xml"/><Relationship Id="rId333" Type="http://schemas.openxmlformats.org/officeDocument/2006/relationships/slide" Target="slides/slide321.xml"/><Relationship Id="rId354" Type="http://schemas.openxmlformats.org/officeDocument/2006/relationships/slide" Target="slides/slide342.xml"/><Relationship Id="rId51" Type="http://schemas.openxmlformats.org/officeDocument/2006/relationships/slide" Target="slides/slide39.xml"/><Relationship Id="rId72" Type="http://schemas.openxmlformats.org/officeDocument/2006/relationships/slide" Target="slides/slide60.xml"/><Relationship Id="rId93" Type="http://schemas.openxmlformats.org/officeDocument/2006/relationships/slide" Target="slides/slide81.xml"/><Relationship Id="rId189" Type="http://schemas.openxmlformats.org/officeDocument/2006/relationships/slide" Target="slides/slide177.xml"/><Relationship Id="rId375" Type="http://schemas.openxmlformats.org/officeDocument/2006/relationships/slide" Target="slides/slide363.xml"/><Relationship Id="rId396" Type="http://schemas.openxmlformats.org/officeDocument/2006/relationships/slide" Target="slides/slide384.xml"/><Relationship Id="rId3" Type="http://schemas.openxmlformats.org/officeDocument/2006/relationships/customXml" Target="../customXml/item3.xml"/><Relationship Id="rId214" Type="http://schemas.openxmlformats.org/officeDocument/2006/relationships/slide" Target="slides/slide202.xml"/><Relationship Id="rId235" Type="http://schemas.openxmlformats.org/officeDocument/2006/relationships/slide" Target="slides/slide223.xml"/><Relationship Id="rId256" Type="http://schemas.openxmlformats.org/officeDocument/2006/relationships/slide" Target="slides/slide244.xml"/><Relationship Id="rId277" Type="http://schemas.openxmlformats.org/officeDocument/2006/relationships/slide" Target="slides/slide265.xml"/><Relationship Id="rId298" Type="http://schemas.openxmlformats.org/officeDocument/2006/relationships/slide" Target="slides/slide286.xml"/><Relationship Id="rId400" Type="http://schemas.openxmlformats.org/officeDocument/2006/relationships/slide" Target="slides/slide388.xml"/><Relationship Id="rId421" Type="http://schemas.openxmlformats.org/officeDocument/2006/relationships/slide" Target="slides/slide409.xml"/><Relationship Id="rId442" Type="http://schemas.openxmlformats.org/officeDocument/2006/relationships/slide" Target="slides/slide430.xml"/><Relationship Id="rId463" Type="http://schemas.openxmlformats.org/officeDocument/2006/relationships/slide" Target="slides/slide451.xml"/><Relationship Id="rId484" Type="http://schemas.openxmlformats.org/officeDocument/2006/relationships/slide" Target="slides/slide472.xml"/><Relationship Id="rId519" Type="http://schemas.openxmlformats.org/officeDocument/2006/relationships/slide" Target="slides/slide507.xml"/><Relationship Id="rId116" Type="http://schemas.openxmlformats.org/officeDocument/2006/relationships/slide" Target="slides/slide104.xml"/><Relationship Id="rId137" Type="http://schemas.openxmlformats.org/officeDocument/2006/relationships/slide" Target="slides/slide125.xml"/><Relationship Id="rId158" Type="http://schemas.openxmlformats.org/officeDocument/2006/relationships/slide" Target="slides/slide146.xml"/><Relationship Id="rId302" Type="http://schemas.openxmlformats.org/officeDocument/2006/relationships/slide" Target="slides/slide290.xml"/><Relationship Id="rId323" Type="http://schemas.openxmlformats.org/officeDocument/2006/relationships/slide" Target="slides/slide311.xml"/><Relationship Id="rId344" Type="http://schemas.openxmlformats.org/officeDocument/2006/relationships/slide" Target="slides/slide332.xml"/><Relationship Id="rId20" Type="http://schemas.openxmlformats.org/officeDocument/2006/relationships/slide" Target="slides/slide8.xml"/><Relationship Id="rId41" Type="http://schemas.openxmlformats.org/officeDocument/2006/relationships/slide" Target="slides/slide29.xml"/><Relationship Id="rId62" Type="http://schemas.openxmlformats.org/officeDocument/2006/relationships/slide" Target="slides/slide50.xml"/><Relationship Id="rId83" Type="http://schemas.openxmlformats.org/officeDocument/2006/relationships/slide" Target="slides/slide71.xml"/><Relationship Id="rId179" Type="http://schemas.openxmlformats.org/officeDocument/2006/relationships/slide" Target="slides/slide167.xml"/><Relationship Id="rId365" Type="http://schemas.openxmlformats.org/officeDocument/2006/relationships/slide" Target="slides/slide353.xml"/><Relationship Id="rId386" Type="http://schemas.openxmlformats.org/officeDocument/2006/relationships/slide" Target="slides/slide374.xml"/><Relationship Id="rId190" Type="http://schemas.openxmlformats.org/officeDocument/2006/relationships/slide" Target="slides/slide178.xml"/><Relationship Id="rId204" Type="http://schemas.openxmlformats.org/officeDocument/2006/relationships/slide" Target="slides/slide192.xml"/><Relationship Id="rId225" Type="http://schemas.openxmlformats.org/officeDocument/2006/relationships/slide" Target="slides/slide213.xml"/><Relationship Id="rId246" Type="http://schemas.openxmlformats.org/officeDocument/2006/relationships/slide" Target="slides/slide234.xml"/><Relationship Id="rId267" Type="http://schemas.openxmlformats.org/officeDocument/2006/relationships/slide" Target="slides/slide255.xml"/><Relationship Id="rId288" Type="http://schemas.openxmlformats.org/officeDocument/2006/relationships/slide" Target="slides/slide276.xml"/><Relationship Id="rId411" Type="http://schemas.openxmlformats.org/officeDocument/2006/relationships/slide" Target="slides/slide399.xml"/><Relationship Id="rId432" Type="http://schemas.openxmlformats.org/officeDocument/2006/relationships/slide" Target="slides/slide420.xml"/><Relationship Id="rId453" Type="http://schemas.openxmlformats.org/officeDocument/2006/relationships/slide" Target="slides/slide441.xml"/><Relationship Id="rId474" Type="http://schemas.openxmlformats.org/officeDocument/2006/relationships/slide" Target="slides/slide462.xml"/><Relationship Id="rId509" Type="http://schemas.openxmlformats.org/officeDocument/2006/relationships/slide" Target="slides/slide497.xml"/><Relationship Id="rId106" Type="http://schemas.openxmlformats.org/officeDocument/2006/relationships/slide" Target="slides/slide94.xml"/><Relationship Id="rId127" Type="http://schemas.openxmlformats.org/officeDocument/2006/relationships/slide" Target="slides/slide115.xml"/><Relationship Id="rId313" Type="http://schemas.openxmlformats.org/officeDocument/2006/relationships/slide" Target="slides/slide301.xml"/><Relationship Id="rId495" Type="http://schemas.openxmlformats.org/officeDocument/2006/relationships/slide" Target="slides/slide483.xml"/><Relationship Id="rId10" Type="http://schemas.openxmlformats.org/officeDocument/2006/relationships/slideMaster" Target="slideMasters/slideMaster7.xml"/><Relationship Id="rId31" Type="http://schemas.openxmlformats.org/officeDocument/2006/relationships/slide" Target="slides/slide19.xml"/><Relationship Id="rId52" Type="http://schemas.openxmlformats.org/officeDocument/2006/relationships/slide" Target="slides/slide40.xml"/><Relationship Id="rId73" Type="http://schemas.openxmlformats.org/officeDocument/2006/relationships/slide" Target="slides/slide61.xml"/><Relationship Id="rId94" Type="http://schemas.openxmlformats.org/officeDocument/2006/relationships/slide" Target="slides/slide82.xml"/><Relationship Id="rId148" Type="http://schemas.openxmlformats.org/officeDocument/2006/relationships/slide" Target="slides/slide136.xml"/><Relationship Id="rId169" Type="http://schemas.openxmlformats.org/officeDocument/2006/relationships/slide" Target="slides/slide157.xml"/><Relationship Id="rId334" Type="http://schemas.openxmlformats.org/officeDocument/2006/relationships/slide" Target="slides/slide322.xml"/><Relationship Id="rId355" Type="http://schemas.openxmlformats.org/officeDocument/2006/relationships/slide" Target="slides/slide343.xml"/><Relationship Id="rId376" Type="http://schemas.openxmlformats.org/officeDocument/2006/relationships/slide" Target="slides/slide364.xml"/><Relationship Id="rId397" Type="http://schemas.openxmlformats.org/officeDocument/2006/relationships/slide" Target="slides/slide385.xml"/><Relationship Id="rId520" Type="http://schemas.openxmlformats.org/officeDocument/2006/relationships/notesMaster" Target="notesMasters/notesMaster1.xml"/><Relationship Id="rId4" Type="http://schemas.openxmlformats.org/officeDocument/2006/relationships/slideMaster" Target="slideMasters/slideMaster1.xml"/><Relationship Id="rId180" Type="http://schemas.openxmlformats.org/officeDocument/2006/relationships/slide" Target="slides/slide168.xml"/><Relationship Id="rId215" Type="http://schemas.openxmlformats.org/officeDocument/2006/relationships/slide" Target="slides/slide203.xml"/><Relationship Id="rId236" Type="http://schemas.openxmlformats.org/officeDocument/2006/relationships/slide" Target="slides/slide224.xml"/><Relationship Id="rId257" Type="http://schemas.openxmlformats.org/officeDocument/2006/relationships/slide" Target="slides/slide245.xml"/><Relationship Id="rId278" Type="http://schemas.openxmlformats.org/officeDocument/2006/relationships/slide" Target="slides/slide266.xml"/><Relationship Id="rId401" Type="http://schemas.openxmlformats.org/officeDocument/2006/relationships/slide" Target="slides/slide389.xml"/><Relationship Id="rId422" Type="http://schemas.openxmlformats.org/officeDocument/2006/relationships/slide" Target="slides/slide410.xml"/><Relationship Id="rId443" Type="http://schemas.openxmlformats.org/officeDocument/2006/relationships/slide" Target="slides/slide431.xml"/><Relationship Id="rId464" Type="http://schemas.openxmlformats.org/officeDocument/2006/relationships/slide" Target="slides/slide452.xml"/><Relationship Id="rId303" Type="http://schemas.openxmlformats.org/officeDocument/2006/relationships/slide" Target="slides/slide291.xml"/><Relationship Id="rId485" Type="http://schemas.openxmlformats.org/officeDocument/2006/relationships/slide" Target="slides/slide473.xml"/><Relationship Id="rId42" Type="http://schemas.openxmlformats.org/officeDocument/2006/relationships/slide" Target="slides/slide30.xml"/><Relationship Id="rId84" Type="http://schemas.openxmlformats.org/officeDocument/2006/relationships/slide" Target="slides/slide72.xml"/><Relationship Id="rId138" Type="http://schemas.openxmlformats.org/officeDocument/2006/relationships/slide" Target="slides/slide126.xml"/><Relationship Id="rId345" Type="http://schemas.openxmlformats.org/officeDocument/2006/relationships/slide" Target="slides/slide333.xml"/><Relationship Id="rId387" Type="http://schemas.openxmlformats.org/officeDocument/2006/relationships/slide" Target="slides/slide375.xml"/><Relationship Id="rId510" Type="http://schemas.openxmlformats.org/officeDocument/2006/relationships/slide" Target="slides/slide498.xml"/><Relationship Id="rId191" Type="http://schemas.openxmlformats.org/officeDocument/2006/relationships/slide" Target="slides/slide179.xml"/><Relationship Id="rId205" Type="http://schemas.openxmlformats.org/officeDocument/2006/relationships/slide" Target="slides/slide193.xml"/><Relationship Id="rId247" Type="http://schemas.openxmlformats.org/officeDocument/2006/relationships/slide" Target="slides/slide235.xml"/><Relationship Id="rId412" Type="http://schemas.openxmlformats.org/officeDocument/2006/relationships/slide" Target="slides/slide400.xml"/><Relationship Id="rId107" Type="http://schemas.openxmlformats.org/officeDocument/2006/relationships/slide" Target="slides/slide95.xml"/><Relationship Id="rId289" Type="http://schemas.openxmlformats.org/officeDocument/2006/relationships/slide" Target="slides/slide277.xml"/><Relationship Id="rId454" Type="http://schemas.openxmlformats.org/officeDocument/2006/relationships/slide" Target="slides/slide442.xml"/><Relationship Id="rId496" Type="http://schemas.openxmlformats.org/officeDocument/2006/relationships/slide" Target="slides/slide484.xml"/><Relationship Id="rId11" Type="http://schemas.openxmlformats.org/officeDocument/2006/relationships/slideMaster" Target="slideMasters/slideMaster8.xml"/><Relationship Id="rId53" Type="http://schemas.openxmlformats.org/officeDocument/2006/relationships/slide" Target="slides/slide41.xml"/><Relationship Id="rId149" Type="http://schemas.openxmlformats.org/officeDocument/2006/relationships/slide" Target="slides/slide137.xml"/><Relationship Id="rId314" Type="http://schemas.openxmlformats.org/officeDocument/2006/relationships/slide" Target="slides/slide302.xml"/><Relationship Id="rId356" Type="http://schemas.openxmlformats.org/officeDocument/2006/relationships/slide" Target="slides/slide344.xml"/><Relationship Id="rId398" Type="http://schemas.openxmlformats.org/officeDocument/2006/relationships/slide" Target="slides/slide386.xml"/><Relationship Id="rId521" Type="http://schemas.openxmlformats.org/officeDocument/2006/relationships/handoutMaster" Target="handoutMasters/handoutMaster1.xml"/><Relationship Id="rId95" Type="http://schemas.openxmlformats.org/officeDocument/2006/relationships/slide" Target="slides/slide83.xml"/><Relationship Id="rId160" Type="http://schemas.openxmlformats.org/officeDocument/2006/relationships/slide" Target="slides/slide148.xml"/><Relationship Id="rId216" Type="http://schemas.openxmlformats.org/officeDocument/2006/relationships/slide" Target="slides/slide204.xml"/><Relationship Id="rId423" Type="http://schemas.openxmlformats.org/officeDocument/2006/relationships/slide" Target="slides/slide411.xml"/><Relationship Id="rId258" Type="http://schemas.openxmlformats.org/officeDocument/2006/relationships/slide" Target="slides/slide246.xml"/><Relationship Id="rId465" Type="http://schemas.openxmlformats.org/officeDocument/2006/relationships/slide" Target="slides/slide453.xml"/><Relationship Id="rId22" Type="http://schemas.openxmlformats.org/officeDocument/2006/relationships/slide" Target="slides/slide10.xml"/><Relationship Id="rId64" Type="http://schemas.openxmlformats.org/officeDocument/2006/relationships/slide" Target="slides/slide52.xml"/><Relationship Id="rId118" Type="http://schemas.openxmlformats.org/officeDocument/2006/relationships/slide" Target="slides/slide106.xml"/><Relationship Id="rId325" Type="http://schemas.openxmlformats.org/officeDocument/2006/relationships/slide" Target="slides/slide313.xml"/><Relationship Id="rId367" Type="http://schemas.openxmlformats.org/officeDocument/2006/relationships/slide" Target="slides/slide355.xml"/><Relationship Id="rId171" Type="http://schemas.openxmlformats.org/officeDocument/2006/relationships/slide" Target="slides/slide159.xml"/><Relationship Id="rId227" Type="http://schemas.openxmlformats.org/officeDocument/2006/relationships/slide" Target="slides/slide215.xml"/><Relationship Id="rId269" Type="http://schemas.openxmlformats.org/officeDocument/2006/relationships/slide" Target="slides/slide257.xml"/><Relationship Id="rId434" Type="http://schemas.openxmlformats.org/officeDocument/2006/relationships/slide" Target="slides/slide422.xml"/><Relationship Id="rId476" Type="http://schemas.openxmlformats.org/officeDocument/2006/relationships/slide" Target="slides/slide464.xml"/><Relationship Id="rId33" Type="http://schemas.openxmlformats.org/officeDocument/2006/relationships/slide" Target="slides/slide21.xml"/><Relationship Id="rId129" Type="http://schemas.openxmlformats.org/officeDocument/2006/relationships/slide" Target="slides/slide117.xml"/><Relationship Id="rId280" Type="http://schemas.openxmlformats.org/officeDocument/2006/relationships/slide" Target="slides/slide268.xml"/><Relationship Id="rId336" Type="http://schemas.openxmlformats.org/officeDocument/2006/relationships/slide" Target="slides/slide324.xml"/><Relationship Id="rId501" Type="http://schemas.openxmlformats.org/officeDocument/2006/relationships/slide" Target="slides/slide489.xml"/><Relationship Id="rId75" Type="http://schemas.openxmlformats.org/officeDocument/2006/relationships/slide" Target="slides/slide63.xml"/><Relationship Id="rId140" Type="http://schemas.openxmlformats.org/officeDocument/2006/relationships/slide" Target="slides/slide128.xml"/><Relationship Id="rId182" Type="http://schemas.openxmlformats.org/officeDocument/2006/relationships/slide" Target="slides/slide170.xml"/><Relationship Id="rId378" Type="http://schemas.openxmlformats.org/officeDocument/2006/relationships/slide" Target="slides/slide366.xml"/><Relationship Id="rId403" Type="http://schemas.openxmlformats.org/officeDocument/2006/relationships/slide" Target="slides/slide391.xml"/><Relationship Id="rId6" Type="http://schemas.openxmlformats.org/officeDocument/2006/relationships/slideMaster" Target="slideMasters/slideMaster3.xml"/><Relationship Id="rId238" Type="http://schemas.openxmlformats.org/officeDocument/2006/relationships/slide" Target="slides/slide226.xml"/><Relationship Id="rId445" Type="http://schemas.openxmlformats.org/officeDocument/2006/relationships/slide" Target="slides/slide433.xml"/><Relationship Id="rId487" Type="http://schemas.openxmlformats.org/officeDocument/2006/relationships/slide" Target="slides/slide475.xml"/><Relationship Id="rId291" Type="http://schemas.openxmlformats.org/officeDocument/2006/relationships/slide" Target="slides/slide279.xml"/><Relationship Id="rId305" Type="http://schemas.openxmlformats.org/officeDocument/2006/relationships/slide" Target="slides/slide293.xml"/><Relationship Id="rId347" Type="http://schemas.openxmlformats.org/officeDocument/2006/relationships/slide" Target="slides/slide335.xml"/><Relationship Id="rId512" Type="http://schemas.openxmlformats.org/officeDocument/2006/relationships/slide" Target="slides/slide500.xml"/><Relationship Id="rId44" Type="http://schemas.openxmlformats.org/officeDocument/2006/relationships/slide" Target="slides/slide32.xml"/><Relationship Id="rId86" Type="http://schemas.openxmlformats.org/officeDocument/2006/relationships/slide" Target="slides/slide74.xml"/><Relationship Id="rId151" Type="http://schemas.openxmlformats.org/officeDocument/2006/relationships/slide" Target="slides/slide139.xml"/><Relationship Id="rId389" Type="http://schemas.openxmlformats.org/officeDocument/2006/relationships/slide" Target="slides/slide377.xml"/><Relationship Id="rId193" Type="http://schemas.openxmlformats.org/officeDocument/2006/relationships/slide" Target="slides/slide181.xml"/><Relationship Id="rId207" Type="http://schemas.openxmlformats.org/officeDocument/2006/relationships/slide" Target="slides/slide195.xml"/><Relationship Id="rId249" Type="http://schemas.openxmlformats.org/officeDocument/2006/relationships/slide" Target="slides/slide237.xml"/><Relationship Id="rId414" Type="http://schemas.openxmlformats.org/officeDocument/2006/relationships/slide" Target="slides/slide402.xml"/><Relationship Id="rId456" Type="http://schemas.openxmlformats.org/officeDocument/2006/relationships/slide" Target="slides/slide444.xml"/><Relationship Id="rId498" Type="http://schemas.openxmlformats.org/officeDocument/2006/relationships/slide" Target="slides/slide486.xml"/><Relationship Id="rId13" Type="http://schemas.openxmlformats.org/officeDocument/2006/relationships/slide" Target="slides/slide1.xml"/><Relationship Id="rId109" Type="http://schemas.openxmlformats.org/officeDocument/2006/relationships/slide" Target="slides/slide97.xml"/><Relationship Id="rId260" Type="http://schemas.openxmlformats.org/officeDocument/2006/relationships/slide" Target="slides/slide248.xml"/><Relationship Id="rId316" Type="http://schemas.openxmlformats.org/officeDocument/2006/relationships/slide" Target="slides/slide304.xml"/><Relationship Id="rId523" Type="http://schemas.openxmlformats.org/officeDocument/2006/relationships/presProps" Target="presProps.xml"/><Relationship Id="rId55" Type="http://schemas.openxmlformats.org/officeDocument/2006/relationships/slide" Target="slides/slide43.xml"/><Relationship Id="rId97" Type="http://schemas.openxmlformats.org/officeDocument/2006/relationships/slide" Target="slides/slide85.xml"/><Relationship Id="rId120" Type="http://schemas.openxmlformats.org/officeDocument/2006/relationships/slide" Target="slides/slide108.xml"/><Relationship Id="rId358" Type="http://schemas.openxmlformats.org/officeDocument/2006/relationships/slide" Target="slides/slide346.xml"/><Relationship Id="rId162" Type="http://schemas.openxmlformats.org/officeDocument/2006/relationships/slide" Target="slides/slide150.xml"/><Relationship Id="rId218" Type="http://schemas.openxmlformats.org/officeDocument/2006/relationships/slide" Target="slides/slide206.xml"/><Relationship Id="rId425" Type="http://schemas.openxmlformats.org/officeDocument/2006/relationships/slide" Target="slides/slide413.xml"/><Relationship Id="rId467" Type="http://schemas.openxmlformats.org/officeDocument/2006/relationships/slide" Target="slides/slide455.xml"/><Relationship Id="rId271" Type="http://schemas.openxmlformats.org/officeDocument/2006/relationships/slide" Target="slides/slide259.xml"/><Relationship Id="rId24" Type="http://schemas.openxmlformats.org/officeDocument/2006/relationships/slide" Target="slides/slide12.xml"/><Relationship Id="rId66" Type="http://schemas.openxmlformats.org/officeDocument/2006/relationships/slide" Target="slides/slide54.xml"/><Relationship Id="rId131" Type="http://schemas.openxmlformats.org/officeDocument/2006/relationships/slide" Target="slides/slide119.xml"/><Relationship Id="rId327" Type="http://schemas.openxmlformats.org/officeDocument/2006/relationships/slide" Target="slides/slide315.xml"/><Relationship Id="rId369" Type="http://schemas.openxmlformats.org/officeDocument/2006/relationships/slide" Target="slides/slide357.xml"/><Relationship Id="rId173" Type="http://schemas.openxmlformats.org/officeDocument/2006/relationships/slide" Target="slides/slide161.xml"/><Relationship Id="rId229" Type="http://schemas.openxmlformats.org/officeDocument/2006/relationships/slide" Target="slides/slide217.xml"/><Relationship Id="rId380" Type="http://schemas.openxmlformats.org/officeDocument/2006/relationships/slide" Target="slides/slide368.xml"/><Relationship Id="rId436" Type="http://schemas.openxmlformats.org/officeDocument/2006/relationships/slide" Target="slides/slide424.xml"/><Relationship Id="rId240" Type="http://schemas.openxmlformats.org/officeDocument/2006/relationships/slide" Target="slides/slide228.xml"/><Relationship Id="rId478" Type="http://schemas.openxmlformats.org/officeDocument/2006/relationships/slide" Target="slides/slide466.xml"/><Relationship Id="rId35" Type="http://schemas.openxmlformats.org/officeDocument/2006/relationships/slide" Target="slides/slide23.xml"/><Relationship Id="rId77" Type="http://schemas.openxmlformats.org/officeDocument/2006/relationships/slide" Target="slides/slide65.xml"/><Relationship Id="rId100" Type="http://schemas.openxmlformats.org/officeDocument/2006/relationships/slide" Target="slides/slide88.xml"/><Relationship Id="rId282" Type="http://schemas.openxmlformats.org/officeDocument/2006/relationships/slide" Target="slides/slide270.xml"/><Relationship Id="rId338" Type="http://schemas.openxmlformats.org/officeDocument/2006/relationships/slide" Target="slides/slide326.xml"/><Relationship Id="rId503" Type="http://schemas.openxmlformats.org/officeDocument/2006/relationships/slide" Target="slides/slide49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___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___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___3.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0"/>
    <c:plotArea>
      <c:layout/>
      <c:barChart>
        <c:barDir val="col"/>
        <c:grouping val="stacked"/>
        <c:varyColors val="0"/>
        <c:ser>
          <c:idx val="0"/>
          <c:order val="0"/>
          <c:tx>
            <c:strRef>
              <c:f>Sheet1!$B$1</c:f>
              <c:strCache>
                <c:ptCount val="1"/>
                <c:pt idx="0">
                  <c:v>IE5</c:v>
                </c:pt>
              </c:strCache>
            </c:strRef>
          </c:tx>
          <c:spPr>
            <a:solidFill>
              <a:schemeClr val="accent1"/>
            </a:solidFill>
            <a:ln>
              <a:noFill/>
            </a:ln>
            <a:effectLst/>
          </c:spPr>
          <c:invertIfNegative val="0"/>
          <c:cat>
            <c:numRef>
              <c:f>Sheet1!$A$2:$A$6</c:f>
              <c:numCache>
                <c:formatCode>General</c:formatCode>
                <c:ptCount val="5"/>
                <c:pt idx="0">
                  <c:v>2012</c:v>
                </c:pt>
                <c:pt idx="1">
                  <c:v>2013</c:v>
                </c:pt>
                <c:pt idx="2">
                  <c:v>2014</c:v>
                </c:pt>
                <c:pt idx="3">
                  <c:v>2015</c:v>
                </c:pt>
                <c:pt idx="4">
                  <c:v>2016</c:v>
                </c:pt>
              </c:numCache>
            </c:numRef>
          </c:cat>
          <c:val>
            <c:numRef>
              <c:f>Sheet1!$B$2:$B$6</c:f>
              <c:numCache>
                <c:formatCode>0%</c:formatCode>
                <c:ptCount val="5"/>
                <c:pt idx="0">
                  <c:v>0.7</c:v>
                </c:pt>
                <c:pt idx="1">
                  <c:v>0.5</c:v>
                </c:pt>
                <c:pt idx="2">
                  <c:v>0.3</c:v>
                </c:pt>
                <c:pt idx="3">
                  <c:v>0.1</c:v>
                </c:pt>
                <c:pt idx="4">
                  <c:v>0.02</c:v>
                </c:pt>
              </c:numCache>
            </c:numRef>
          </c:val>
        </c:ser>
        <c:ser>
          <c:idx val="1"/>
          <c:order val="1"/>
          <c:tx>
            <c:strRef>
              <c:f>Sheet1!$C$1</c:f>
              <c:strCache>
                <c:ptCount val="1"/>
                <c:pt idx="0">
                  <c:v>IE7</c:v>
                </c:pt>
              </c:strCache>
            </c:strRef>
          </c:tx>
          <c:spPr>
            <a:solidFill>
              <a:schemeClr val="accent2"/>
            </a:solidFill>
            <a:ln>
              <a:noFill/>
            </a:ln>
            <a:effectLst/>
          </c:spPr>
          <c:invertIfNegative val="0"/>
          <c:cat>
            <c:numRef>
              <c:f>Sheet1!$A$2:$A$6</c:f>
              <c:numCache>
                <c:formatCode>General</c:formatCode>
                <c:ptCount val="5"/>
                <c:pt idx="0">
                  <c:v>2012</c:v>
                </c:pt>
                <c:pt idx="1">
                  <c:v>2013</c:v>
                </c:pt>
                <c:pt idx="2">
                  <c:v>2014</c:v>
                </c:pt>
                <c:pt idx="3">
                  <c:v>2015</c:v>
                </c:pt>
                <c:pt idx="4">
                  <c:v>2016</c:v>
                </c:pt>
              </c:numCache>
            </c:numRef>
          </c:cat>
          <c:val>
            <c:numRef>
              <c:f>Sheet1!$C$2:$C$6</c:f>
              <c:numCache>
                <c:formatCode>0%</c:formatCode>
                <c:ptCount val="5"/>
                <c:pt idx="0">
                  <c:v>0.28999999999999998</c:v>
                </c:pt>
                <c:pt idx="1">
                  <c:v>0.2</c:v>
                </c:pt>
                <c:pt idx="2">
                  <c:v>0.12</c:v>
                </c:pt>
                <c:pt idx="3">
                  <c:v>7.0000000000000007E-2</c:v>
                </c:pt>
                <c:pt idx="4">
                  <c:v>0</c:v>
                </c:pt>
              </c:numCache>
            </c:numRef>
          </c:val>
        </c:ser>
        <c:ser>
          <c:idx val="2"/>
          <c:order val="2"/>
          <c:tx>
            <c:strRef>
              <c:f>Sheet1!$D$1</c:f>
              <c:strCache>
                <c:ptCount val="1"/>
                <c:pt idx="0">
                  <c:v>IE8</c:v>
                </c:pt>
              </c:strCache>
            </c:strRef>
          </c:tx>
          <c:spPr>
            <a:solidFill>
              <a:schemeClr val="accent3"/>
            </a:solidFill>
            <a:ln>
              <a:noFill/>
            </a:ln>
            <a:effectLst/>
          </c:spPr>
          <c:invertIfNegative val="0"/>
          <c:cat>
            <c:numRef>
              <c:f>Sheet1!$A$2:$A$6</c:f>
              <c:numCache>
                <c:formatCode>General</c:formatCode>
                <c:ptCount val="5"/>
                <c:pt idx="0">
                  <c:v>2012</c:v>
                </c:pt>
                <c:pt idx="1">
                  <c:v>2013</c:v>
                </c:pt>
                <c:pt idx="2">
                  <c:v>2014</c:v>
                </c:pt>
                <c:pt idx="3">
                  <c:v>2015</c:v>
                </c:pt>
                <c:pt idx="4">
                  <c:v>2016</c:v>
                </c:pt>
              </c:numCache>
            </c:numRef>
          </c:cat>
          <c:val>
            <c:numRef>
              <c:f>Sheet1!$D$2:$D$6</c:f>
              <c:numCache>
                <c:formatCode>0%</c:formatCode>
                <c:ptCount val="5"/>
                <c:pt idx="0">
                  <c:v>0.01</c:v>
                </c:pt>
                <c:pt idx="1">
                  <c:v>0.2</c:v>
                </c:pt>
                <c:pt idx="2">
                  <c:v>0.2</c:v>
                </c:pt>
                <c:pt idx="3">
                  <c:v>0.15</c:v>
                </c:pt>
                <c:pt idx="4">
                  <c:v>0.05</c:v>
                </c:pt>
              </c:numCache>
            </c:numRef>
          </c:val>
        </c:ser>
        <c:ser>
          <c:idx val="3"/>
          <c:order val="3"/>
          <c:tx>
            <c:strRef>
              <c:f>Sheet1!$E$1</c:f>
              <c:strCache>
                <c:ptCount val="1"/>
                <c:pt idx="0">
                  <c:v>IE9</c:v>
                </c:pt>
              </c:strCache>
            </c:strRef>
          </c:tx>
          <c:spPr>
            <a:solidFill>
              <a:schemeClr val="accent4"/>
            </a:solidFill>
            <a:ln>
              <a:noFill/>
            </a:ln>
            <a:effectLst/>
          </c:spPr>
          <c:invertIfNegative val="0"/>
          <c:cat>
            <c:numRef>
              <c:f>Sheet1!$A$2:$A$6</c:f>
              <c:numCache>
                <c:formatCode>General</c:formatCode>
                <c:ptCount val="5"/>
                <c:pt idx="0">
                  <c:v>2012</c:v>
                </c:pt>
                <c:pt idx="1">
                  <c:v>2013</c:v>
                </c:pt>
                <c:pt idx="2">
                  <c:v>2014</c:v>
                </c:pt>
                <c:pt idx="3">
                  <c:v>2015</c:v>
                </c:pt>
                <c:pt idx="4">
                  <c:v>2016</c:v>
                </c:pt>
              </c:numCache>
            </c:numRef>
          </c:cat>
          <c:val>
            <c:numRef>
              <c:f>Sheet1!$E$2:$E$6</c:f>
              <c:numCache>
                <c:formatCode>0%</c:formatCode>
                <c:ptCount val="5"/>
                <c:pt idx="0">
                  <c:v>0</c:v>
                </c:pt>
                <c:pt idx="1">
                  <c:v>0.08</c:v>
                </c:pt>
                <c:pt idx="2">
                  <c:v>0.3</c:v>
                </c:pt>
                <c:pt idx="3">
                  <c:v>0.23</c:v>
                </c:pt>
                <c:pt idx="4">
                  <c:v>0.23</c:v>
                </c:pt>
              </c:numCache>
            </c:numRef>
          </c:val>
        </c:ser>
        <c:ser>
          <c:idx val="4"/>
          <c:order val="4"/>
          <c:tx>
            <c:strRef>
              <c:f>Sheet1!$F$1</c:f>
              <c:strCache>
                <c:ptCount val="1"/>
                <c:pt idx="0">
                  <c:v>IE10</c:v>
                </c:pt>
              </c:strCache>
            </c:strRef>
          </c:tx>
          <c:spPr>
            <a:solidFill>
              <a:schemeClr val="accent5"/>
            </a:solidFill>
            <a:ln>
              <a:noFill/>
            </a:ln>
            <a:effectLst/>
          </c:spPr>
          <c:invertIfNegative val="0"/>
          <c:cat>
            <c:numRef>
              <c:f>Sheet1!$A$2:$A$6</c:f>
              <c:numCache>
                <c:formatCode>General</c:formatCode>
                <c:ptCount val="5"/>
                <c:pt idx="0">
                  <c:v>2012</c:v>
                </c:pt>
                <c:pt idx="1">
                  <c:v>2013</c:v>
                </c:pt>
                <c:pt idx="2">
                  <c:v>2014</c:v>
                </c:pt>
                <c:pt idx="3">
                  <c:v>2015</c:v>
                </c:pt>
                <c:pt idx="4">
                  <c:v>2016</c:v>
                </c:pt>
              </c:numCache>
            </c:numRef>
          </c:cat>
          <c:val>
            <c:numRef>
              <c:f>Sheet1!$F$2:$F$6</c:f>
              <c:numCache>
                <c:formatCode>0%</c:formatCode>
                <c:ptCount val="5"/>
                <c:pt idx="0">
                  <c:v>0</c:v>
                </c:pt>
                <c:pt idx="1">
                  <c:v>0.02</c:v>
                </c:pt>
                <c:pt idx="2">
                  <c:v>0.08</c:v>
                </c:pt>
                <c:pt idx="3">
                  <c:v>0.45</c:v>
                </c:pt>
                <c:pt idx="4">
                  <c:v>0.7</c:v>
                </c:pt>
              </c:numCache>
            </c:numRef>
          </c:val>
        </c:ser>
        <c:dLbls>
          <c:showLegendKey val="0"/>
          <c:showVal val="0"/>
          <c:showCatName val="0"/>
          <c:showSerName val="0"/>
          <c:showPercent val="0"/>
          <c:showBubbleSize val="0"/>
        </c:dLbls>
        <c:gapWidth val="25"/>
        <c:overlap val="100"/>
        <c:axId val="267980800"/>
        <c:axId val="267982336"/>
      </c:barChart>
      <c:catAx>
        <c:axId val="267980800"/>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800" kern="1200">
                <a:solidFill>
                  <a:schemeClr val="tx1">
                    <a:lumMod val="65000"/>
                    <a:lumOff val="35000"/>
                  </a:schemeClr>
                </a:solidFill>
                <a:latin typeface="+mn-lt"/>
                <a:ea typeface="+mn-ea"/>
                <a:cs typeface="+mn-cs"/>
              </a:defRPr>
            </a:pPr>
            <a:endParaRPr lang="zh-CN"/>
          </a:p>
        </c:txPr>
        <c:crossAx val="267982336"/>
        <c:crosses val="autoZero"/>
        <c:auto val="1"/>
        <c:lblAlgn val="ctr"/>
        <c:lblOffset val="100"/>
        <c:noMultiLvlLbl val="0"/>
      </c:catAx>
      <c:valAx>
        <c:axId val="267982336"/>
        <c:scaling>
          <c:orientation val="minMax"/>
          <c:max val="1"/>
        </c:scaling>
        <c:delete val="0"/>
        <c:axPos val="l"/>
        <c:numFmt formatCode="0%" sourceLinked="1"/>
        <c:majorTickMark val="none"/>
        <c:minorTickMark val="none"/>
        <c:tickLblPos val="none"/>
        <c:spPr>
          <a:noFill/>
          <a:ln>
            <a:noFill/>
          </a:ln>
          <a:effectLst/>
        </c:spPr>
        <c:txPr>
          <a:bodyPr rot="-60000000" spcFirstLastPara="1" vertOverflow="ellipsis" vert="horz" wrap="square" anchor="ctr" anchorCtr="1"/>
          <a:lstStyle/>
          <a:p>
            <a:pPr>
              <a:defRPr sz="1800" kern="1200">
                <a:solidFill>
                  <a:schemeClr val="tx1">
                    <a:lumMod val="65000"/>
                    <a:lumOff val="35000"/>
                  </a:schemeClr>
                </a:solidFill>
                <a:latin typeface="+mn-lt"/>
                <a:ea typeface="+mn-ea"/>
                <a:cs typeface="+mn-cs"/>
              </a:defRPr>
            </a:pPr>
            <a:endParaRPr lang="zh-CN"/>
          </a:p>
        </c:txPr>
        <c:crossAx val="267980800"/>
        <c:crosses val="autoZero"/>
        <c:crossBetween val="between"/>
        <c:majorUnit val="0.25"/>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800" kern="1200">
              <a:solidFill>
                <a:schemeClr val="tx1">
                  <a:lumMod val="65000"/>
                  <a:lumOff val="35000"/>
                </a:schemeClr>
              </a:solidFill>
              <a:latin typeface="+mn-lt"/>
              <a:ea typeface="+mn-ea"/>
              <a:cs typeface="+mn-cs"/>
            </a:defRPr>
          </a:pPr>
          <a:endParaRPr lang="zh-CN"/>
        </a:p>
      </c:txPr>
    </c:legend>
    <c:plotVisOnly val="1"/>
    <c:dispBlanksAs val="gap"/>
    <c:showDLblsOverMax val="0"/>
  </c:chart>
  <c:spPr>
    <a:noFill/>
    <a:ln>
      <a:noFill/>
    </a:ln>
    <a:effectLst/>
  </c:spPr>
  <c:txPr>
    <a:bodyPr/>
    <a:lstStyle/>
    <a:p>
      <a:pPr>
        <a:defRPr/>
      </a:pPr>
      <a:endParaRPr lang="zh-CN"/>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Rendering Engine</c:v>
                </c:pt>
              </c:strCache>
            </c:strRef>
          </c:tx>
          <c:spPr>
            <a:solidFill>
              <a:schemeClr val="accent6"/>
            </a:solidFill>
          </c:spPr>
          <c:invertIfNegative val="0"/>
          <c:dLbls>
            <c:dLblPos val="inEnd"/>
            <c:showLegendKey val="0"/>
            <c:showVal val="0"/>
            <c:showCatName val="1"/>
            <c:showSerName val="0"/>
            <c:showPercent val="0"/>
            <c:showBubbleSize val="0"/>
            <c:showLeaderLines val="0"/>
          </c:dLbls>
          <c:cat>
            <c:strRef>
              <c:f>Sheet1!$A$2:$A$5</c:f>
              <c:strCache>
                <c:ptCount val="4"/>
                <c:pt idx="0">
                  <c:v>IE5</c:v>
                </c:pt>
                <c:pt idx="1">
                  <c:v>IE7</c:v>
                </c:pt>
                <c:pt idx="2">
                  <c:v>IE8</c:v>
                </c:pt>
                <c:pt idx="3">
                  <c:v>IE9</c:v>
                </c:pt>
              </c:strCache>
            </c:strRef>
          </c:cat>
          <c:val>
            <c:numRef>
              <c:f>Sheet1!$B$2:$B$5</c:f>
              <c:numCache>
                <c:formatCode>General</c:formatCode>
                <c:ptCount val="4"/>
                <c:pt idx="0">
                  <c:v>70</c:v>
                </c:pt>
                <c:pt idx="1">
                  <c:v>28</c:v>
                </c:pt>
                <c:pt idx="2">
                  <c:v>2</c:v>
                </c:pt>
                <c:pt idx="3">
                  <c:v>0</c:v>
                </c:pt>
              </c:numCache>
            </c:numRef>
          </c:val>
        </c:ser>
        <c:dLbls>
          <c:showLegendKey val="0"/>
          <c:showVal val="1"/>
          <c:showCatName val="0"/>
          <c:showSerName val="0"/>
          <c:showPercent val="0"/>
          <c:showBubbleSize val="0"/>
        </c:dLbls>
        <c:gapWidth val="6"/>
        <c:axId val="271689984"/>
        <c:axId val="271741312"/>
      </c:barChart>
      <c:catAx>
        <c:axId val="271689984"/>
        <c:scaling>
          <c:orientation val="minMax"/>
        </c:scaling>
        <c:delete val="1"/>
        <c:axPos val="b"/>
        <c:majorTickMark val="out"/>
        <c:minorTickMark val="none"/>
        <c:tickLblPos val="nextTo"/>
        <c:crossAx val="271741312"/>
        <c:crosses val="autoZero"/>
        <c:auto val="1"/>
        <c:lblAlgn val="ctr"/>
        <c:lblOffset val="100"/>
        <c:noMultiLvlLbl val="0"/>
      </c:catAx>
      <c:valAx>
        <c:axId val="271741312"/>
        <c:scaling>
          <c:orientation val="minMax"/>
        </c:scaling>
        <c:delete val="1"/>
        <c:axPos val="l"/>
        <c:numFmt formatCode="General" sourceLinked="1"/>
        <c:majorTickMark val="out"/>
        <c:minorTickMark val="none"/>
        <c:tickLblPos val="nextTo"/>
        <c:crossAx val="271689984"/>
        <c:crosses val="autoZero"/>
        <c:crossBetween val="between"/>
      </c:valAx>
    </c:plotArea>
    <c:plotVisOnly val="1"/>
    <c:dispBlanksAs val="gap"/>
    <c:showDLblsOverMax val="0"/>
  </c:chart>
  <c:txPr>
    <a:bodyPr/>
    <a:lstStyle/>
    <a:p>
      <a:pPr>
        <a:defRPr sz="1800"/>
      </a:pPr>
      <a:endParaRPr lang="zh-CN"/>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stacked"/>
        <c:varyColors val="0"/>
        <c:ser>
          <c:idx val="0"/>
          <c:order val="0"/>
          <c:tx>
            <c:strRef>
              <c:f>Sheet1!$B$1</c:f>
              <c:strCache>
                <c:ptCount val="1"/>
                <c:pt idx="0">
                  <c:v>Below</c:v>
                </c:pt>
              </c:strCache>
            </c:strRef>
          </c:tx>
          <c:spPr>
            <a:solidFill>
              <a:schemeClr val="bg2">
                <a:lumMod val="75000"/>
              </a:schemeClr>
            </a:solidFill>
          </c:spPr>
          <c:invertIfNegative val="0"/>
          <c:dLbls>
            <c:delete val="1"/>
          </c:dLbls>
          <c:cat>
            <c:strRef>
              <c:f>Sheet1!$A$2:$A$7</c:f>
              <c:strCache>
                <c:ptCount val="6"/>
                <c:pt idx="0">
                  <c:v>EDW</c:v>
                </c:pt>
                <c:pt idx="1">
                  <c:v>Regulatory Monitoring</c:v>
                </c:pt>
                <c:pt idx="2">
                  <c:v>OA&amp;M</c:v>
                </c:pt>
                <c:pt idx="3">
                  <c:v>OLTP TX</c:v>
                </c:pt>
                <c:pt idx="4">
                  <c:v>SLA Monitoring</c:v>
                </c:pt>
                <c:pt idx="5">
                  <c:v>VAR</c:v>
                </c:pt>
              </c:strCache>
            </c:strRef>
          </c:cat>
          <c:val>
            <c:numRef>
              <c:f>Sheet1!$B$2:$B$7</c:f>
              <c:numCache>
                <c:formatCode>General</c:formatCode>
                <c:ptCount val="6"/>
                <c:pt idx="0">
                  <c:v>4</c:v>
                </c:pt>
                <c:pt idx="1">
                  <c:v>4</c:v>
                </c:pt>
                <c:pt idx="2">
                  <c:v>4.5</c:v>
                </c:pt>
                <c:pt idx="3">
                  <c:v>1</c:v>
                </c:pt>
                <c:pt idx="4">
                  <c:v>3</c:v>
                </c:pt>
                <c:pt idx="5">
                  <c:v>4</c:v>
                </c:pt>
              </c:numCache>
            </c:numRef>
          </c:val>
        </c:ser>
        <c:ser>
          <c:idx val="1"/>
          <c:order val="1"/>
          <c:tx>
            <c:strRef>
              <c:f>Sheet1!$C$1</c:f>
              <c:strCache>
                <c:ptCount val="1"/>
                <c:pt idx="0">
                  <c:v>During</c:v>
                </c:pt>
              </c:strCache>
            </c:strRef>
          </c:tx>
          <c:spPr>
            <a:solidFill>
              <a:schemeClr val="tx2"/>
            </a:solidFill>
          </c:spPr>
          <c:invertIfNegative val="0"/>
          <c:dLbls>
            <c:showLegendKey val="0"/>
            <c:showVal val="0"/>
            <c:showCatName val="1"/>
            <c:showSerName val="0"/>
            <c:showPercent val="0"/>
            <c:showBubbleSize val="0"/>
            <c:showLeaderLines val="0"/>
          </c:dLbls>
          <c:cat>
            <c:strRef>
              <c:f>Sheet1!$A$2:$A$7</c:f>
              <c:strCache>
                <c:ptCount val="6"/>
                <c:pt idx="0">
                  <c:v>EDW</c:v>
                </c:pt>
                <c:pt idx="1">
                  <c:v>Regulatory Monitoring</c:v>
                </c:pt>
                <c:pt idx="2">
                  <c:v>OA&amp;M</c:v>
                </c:pt>
                <c:pt idx="3">
                  <c:v>OLTP TX</c:v>
                </c:pt>
                <c:pt idx="4">
                  <c:v>SLA Monitoring</c:v>
                </c:pt>
                <c:pt idx="5">
                  <c:v>VAR</c:v>
                </c:pt>
              </c:strCache>
            </c:strRef>
          </c:cat>
          <c:val>
            <c:numRef>
              <c:f>Sheet1!$C$2:$C$7</c:f>
              <c:numCache>
                <c:formatCode>General</c:formatCode>
                <c:ptCount val="6"/>
                <c:pt idx="0">
                  <c:v>4</c:v>
                </c:pt>
                <c:pt idx="1">
                  <c:v>3</c:v>
                </c:pt>
                <c:pt idx="2">
                  <c:v>2</c:v>
                </c:pt>
                <c:pt idx="3">
                  <c:v>2</c:v>
                </c:pt>
                <c:pt idx="4">
                  <c:v>3</c:v>
                </c:pt>
                <c:pt idx="5">
                  <c:v>2</c:v>
                </c:pt>
              </c:numCache>
            </c:numRef>
          </c:val>
        </c:ser>
        <c:ser>
          <c:idx val="2"/>
          <c:order val="2"/>
          <c:tx>
            <c:strRef>
              <c:f>Sheet1!$D$1</c:f>
              <c:strCache>
                <c:ptCount val="1"/>
                <c:pt idx="0">
                  <c:v>Above</c:v>
                </c:pt>
              </c:strCache>
            </c:strRef>
          </c:tx>
          <c:spPr>
            <a:solidFill>
              <a:schemeClr val="bg2">
                <a:lumMod val="75000"/>
              </a:schemeClr>
            </a:solidFill>
          </c:spPr>
          <c:invertIfNegative val="0"/>
          <c:dLbls>
            <c:delete val="1"/>
          </c:dLbls>
          <c:cat>
            <c:strRef>
              <c:f>Sheet1!$A$2:$A$7</c:f>
              <c:strCache>
                <c:ptCount val="6"/>
                <c:pt idx="0">
                  <c:v>EDW</c:v>
                </c:pt>
                <c:pt idx="1">
                  <c:v>Regulatory Monitoring</c:v>
                </c:pt>
                <c:pt idx="2">
                  <c:v>OA&amp;M</c:v>
                </c:pt>
                <c:pt idx="3">
                  <c:v>OLTP TX</c:v>
                </c:pt>
                <c:pt idx="4">
                  <c:v>SLA Monitoring</c:v>
                </c:pt>
                <c:pt idx="5">
                  <c:v>VAR</c:v>
                </c:pt>
              </c:strCache>
            </c:strRef>
          </c:cat>
          <c:val>
            <c:numRef>
              <c:f>Sheet1!$D$2:$D$7</c:f>
              <c:numCache>
                <c:formatCode>General</c:formatCode>
                <c:ptCount val="6"/>
                <c:pt idx="0">
                  <c:v>0</c:v>
                </c:pt>
                <c:pt idx="1">
                  <c:v>1</c:v>
                </c:pt>
                <c:pt idx="2">
                  <c:v>1.5</c:v>
                </c:pt>
                <c:pt idx="3">
                  <c:v>5</c:v>
                </c:pt>
                <c:pt idx="4">
                  <c:v>2</c:v>
                </c:pt>
                <c:pt idx="5">
                  <c:v>2</c:v>
                </c:pt>
              </c:numCache>
            </c:numRef>
          </c:val>
        </c:ser>
        <c:dLbls>
          <c:showLegendKey val="0"/>
          <c:showVal val="1"/>
          <c:showCatName val="0"/>
          <c:showSerName val="0"/>
          <c:showPercent val="0"/>
          <c:showBubbleSize val="0"/>
        </c:dLbls>
        <c:gapWidth val="25"/>
        <c:overlap val="100"/>
        <c:axId val="34011776"/>
        <c:axId val="38433152"/>
      </c:barChart>
      <c:catAx>
        <c:axId val="34011776"/>
        <c:scaling>
          <c:orientation val="maxMin"/>
        </c:scaling>
        <c:delete val="0"/>
        <c:axPos val="l"/>
        <c:majorTickMark val="none"/>
        <c:minorTickMark val="none"/>
        <c:tickLblPos val="none"/>
        <c:spPr>
          <a:ln>
            <a:solidFill>
              <a:schemeClr val="tx2"/>
            </a:solidFill>
          </a:ln>
        </c:spPr>
        <c:crossAx val="38433152"/>
        <c:crosses val="autoZero"/>
        <c:auto val="1"/>
        <c:lblAlgn val="ctr"/>
        <c:lblOffset val="100"/>
        <c:noMultiLvlLbl val="0"/>
      </c:catAx>
      <c:valAx>
        <c:axId val="38433152"/>
        <c:scaling>
          <c:orientation val="minMax"/>
          <c:max val="8"/>
          <c:min val="0"/>
        </c:scaling>
        <c:delete val="0"/>
        <c:axPos val="b"/>
        <c:majorGridlines>
          <c:spPr>
            <a:ln>
              <a:solidFill>
                <a:schemeClr val="accent1"/>
              </a:solidFill>
            </a:ln>
          </c:spPr>
        </c:majorGridlines>
        <c:numFmt formatCode="General" sourceLinked="1"/>
        <c:majorTickMark val="none"/>
        <c:minorTickMark val="none"/>
        <c:tickLblPos val="none"/>
        <c:spPr>
          <a:ln>
            <a:noFill/>
          </a:ln>
        </c:spPr>
        <c:crossAx val="34011776"/>
        <c:crosses val="max"/>
        <c:crossBetween val="between"/>
        <c:majorUnit val="1"/>
      </c:valAx>
      <c:spPr>
        <a:noFill/>
        <a:ln>
          <a:solidFill>
            <a:schemeClr val="bg2"/>
          </a:solidFill>
        </a:ln>
      </c:spPr>
    </c:plotArea>
    <c:plotVisOnly val="1"/>
    <c:dispBlanksAs val="gap"/>
    <c:showDLblsOverMax val="0"/>
  </c:chart>
  <c:txPr>
    <a:bodyPr/>
    <a:lstStyle/>
    <a:p>
      <a:pPr>
        <a:defRPr sz="1800"/>
      </a:pPr>
      <a:endParaRPr lang="zh-CN"/>
    </a:p>
  </c:txPr>
  <c:externalData r:id="rId1">
    <c:autoUpdate val="0"/>
  </c:externalData>
</c:chartSpace>
</file>

<file path=ppt/comments/comment1.xml><?xml version="1.0" encoding="utf-8"?>
<p:cmLst xmlns:a="http://schemas.openxmlformats.org/drawingml/2006/main" xmlns:r="http://schemas.openxmlformats.org/officeDocument/2006/relationships" xmlns:p="http://schemas.openxmlformats.org/presentationml/2006/main">
  <p:cm authorId="0" dt="2012-06-07T17:25:53.417" idx="1">
    <p:pos x="-316" y="-48"/>
    <p:text>Needs an arrow on the bottom that shows the “PaaS Continuum” with the left being the least PaaS and the right being the most
The blue block under the Virtual Machines, Cloud Services, and Web Sites represents the services that are provided by the platform -&gt; this should be shown as a cloud ideally.
Add animation that builds out each part starting from on-premises ending with websites, last the cloud (from above) apears below.
</p:text>
  </p:cm>
</p:cmLst>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10">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6C46605-E7FB-43DA-8474-D6BD331A527B}" type="doc">
      <dgm:prSet loTypeId="urn:microsoft.com/office/officeart/2005/8/layout/default" loCatId="list" qsTypeId="urn:microsoft.com/office/officeart/2005/8/quickstyle/simple4" qsCatId="simple" csTypeId="urn:microsoft.com/office/officeart/2005/8/colors/colorful1" csCatId="colorful" phldr="1"/>
      <dgm:spPr/>
      <dgm:t>
        <a:bodyPr/>
        <a:lstStyle/>
        <a:p>
          <a:endParaRPr lang="en-US"/>
        </a:p>
      </dgm:t>
    </dgm:pt>
    <dgm:pt modelId="{37656260-AFB3-431C-B8B9-255AAEBC2B4B}">
      <dgm:prSet/>
      <dgm:spPr/>
      <dgm:t>
        <a:bodyPr/>
        <a:lstStyle/>
        <a:p>
          <a:pPr rtl="0"/>
          <a:r>
            <a:rPr lang="en-US" dirty="0" smtClean="0"/>
            <a:t>Virtualization</a:t>
          </a:r>
          <a:endParaRPr lang="en-US" dirty="0"/>
        </a:p>
      </dgm:t>
    </dgm:pt>
    <dgm:pt modelId="{72B6B5FD-AAAF-43B3-82D0-21A26712A3A9}" type="parTrans" cxnId="{D8394716-F6DA-44DD-846D-B872EDADEBFB}">
      <dgm:prSet/>
      <dgm:spPr/>
      <dgm:t>
        <a:bodyPr/>
        <a:lstStyle/>
        <a:p>
          <a:endParaRPr lang="en-US"/>
        </a:p>
      </dgm:t>
    </dgm:pt>
    <dgm:pt modelId="{CC18CBC5-9858-4E9C-AD22-0516178A9E12}" type="sibTrans" cxnId="{D8394716-F6DA-44DD-846D-B872EDADEBFB}">
      <dgm:prSet/>
      <dgm:spPr/>
      <dgm:t>
        <a:bodyPr/>
        <a:lstStyle/>
        <a:p>
          <a:endParaRPr lang="en-US"/>
        </a:p>
      </dgm:t>
    </dgm:pt>
    <dgm:pt modelId="{8B6FF5D1-DE9A-4AFF-A3FA-58311C5DDF84}">
      <dgm:prSet/>
      <dgm:spPr/>
      <dgm:t>
        <a:bodyPr/>
        <a:lstStyle/>
        <a:p>
          <a:pPr rtl="0"/>
          <a:r>
            <a:rPr lang="en-US" smtClean="0"/>
            <a:t>Homogenization</a:t>
          </a:r>
          <a:endParaRPr lang="en-US"/>
        </a:p>
      </dgm:t>
    </dgm:pt>
    <dgm:pt modelId="{AFA6AB89-8837-443D-B28A-AF2BFBF08A39}" type="parTrans" cxnId="{AFCE88D8-01FD-49D3-BB4D-70448B3A26D5}">
      <dgm:prSet/>
      <dgm:spPr/>
      <dgm:t>
        <a:bodyPr/>
        <a:lstStyle/>
        <a:p>
          <a:endParaRPr lang="en-US"/>
        </a:p>
      </dgm:t>
    </dgm:pt>
    <dgm:pt modelId="{19D3CD6A-AA45-455C-933F-B247AEE30BB6}" type="sibTrans" cxnId="{AFCE88D8-01FD-49D3-BB4D-70448B3A26D5}">
      <dgm:prSet/>
      <dgm:spPr/>
      <dgm:t>
        <a:bodyPr/>
        <a:lstStyle/>
        <a:p>
          <a:endParaRPr lang="en-US"/>
        </a:p>
      </dgm:t>
    </dgm:pt>
    <dgm:pt modelId="{5CFF78EF-DFA7-4BF3-B66C-D11C3AB9BA68}">
      <dgm:prSet/>
      <dgm:spPr/>
      <dgm:t>
        <a:bodyPr/>
        <a:lstStyle/>
        <a:p>
          <a:pPr rtl="0"/>
          <a:r>
            <a:rPr lang="en-US" smtClean="0"/>
            <a:t>Resiliency</a:t>
          </a:r>
          <a:endParaRPr lang="en-US"/>
        </a:p>
      </dgm:t>
    </dgm:pt>
    <dgm:pt modelId="{6DDAD43D-C9DF-4AF5-B9F9-4FF374A5D78B}" type="parTrans" cxnId="{E50B99E9-6AFD-4008-9729-B95325531880}">
      <dgm:prSet/>
      <dgm:spPr/>
      <dgm:t>
        <a:bodyPr/>
        <a:lstStyle/>
        <a:p>
          <a:endParaRPr lang="en-US"/>
        </a:p>
      </dgm:t>
    </dgm:pt>
    <dgm:pt modelId="{4D888E60-8AA3-4C07-9FCF-307DF18CFCA6}" type="sibTrans" cxnId="{E50B99E9-6AFD-4008-9729-B95325531880}">
      <dgm:prSet/>
      <dgm:spPr/>
      <dgm:t>
        <a:bodyPr/>
        <a:lstStyle/>
        <a:p>
          <a:endParaRPr lang="en-US"/>
        </a:p>
      </dgm:t>
    </dgm:pt>
    <dgm:pt modelId="{6820D89B-5E25-4BB6-8FAF-E46E35392047}">
      <dgm:prSet/>
      <dgm:spPr/>
      <dgm:t>
        <a:bodyPr/>
        <a:lstStyle/>
        <a:p>
          <a:pPr rtl="0"/>
          <a:r>
            <a:rPr lang="en-US" dirty="0" smtClean="0"/>
            <a:t>Elasticity</a:t>
          </a:r>
          <a:endParaRPr lang="en-US" dirty="0"/>
        </a:p>
      </dgm:t>
    </dgm:pt>
    <dgm:pt modelId="{DDA9A137-5617-4419-A41F-2CC2E7603682}" type="parTrans" cxnId="{8431B928-8B1A-4172-AB3A-9E1E372ADF77}">
      <dgm:prSet/>
      <dgm:spPr/>
      <dgm:t>
        <a:bodyPr/>
        <a:lstStyle/>
        <a:p>
          <a:endParaRPr lang="en-US"/>
        </a:p>
      </dgm:t>
    </dgm:pt>
    <dgm:pt modelId="{61CDE9C2-0F62-4462-9F83-C6BC184E0285}" type="sibTrans" cxnId="{8431B928-8B1A-4172-AB3A-9E1E372ADF77}">
      <dgm:prSet/>
      <dgm:spPr/>
      <dgm:t>
        <a:bodyPr/>
        <a:lstStyle/>
        <a:p>
          <a:endParaRPr lang="en-US"/>
        </a:p>
      </dgm:t>
    </dgm:pt>
    <dgm:pt modelId="{5712803C-2633-40F0-849E-7FA0F613E67D}">
      <dgm:prSet/>
      <dgm:spPr/>
      <dgm:t>
        <a:bodyPr/>
        <a:lstStyle/>
        <a:p>
          <a:pPr rtl="0"/>
          <a:r>
            <a:rPr lang="en-US" smtClean="0"/>
            <a:t>Real-time system health</a:t>
          </a:r>
          <a:endParaRPr lang="en-US"/>
        </a:p>
      </dgm:t>
    </dgm:pt>
    <dgm:pt modelId="{18EA8356-767C-4825-AC11-DC5276F8BB21}" type="parTrans" cxnId="{D9366998-3439-4E94-98C9-D9A4A9C7ED2B}">
      <dgm:prSet/>
      <dgm:spPr/>
      <dgm:t>
        <a:bodyPr/>
        <a:lstStyle/>
        <a:p>
          <a:endParaRPr lang="en-US"/>
        </a:p>
      </dgm:t>
    </dgm:pt>
    <dgm:pt modelId="{C1CDA3FD-58B0-486C-8981-2F9B7CD061E2}" type="sibTrans" cxnId="{D9366998-3439-4E94-98C9-D9A4A9C7ED2B}">
      <dgm:prSet/>
      <dgm:spPr/>
      <dgm:t>
        <a:bodyPr/>
        <a:lstStyle/>
        <a:p>
          <a:endParaRPr lang="en-US"/>
        </a:p>
      </dgm:t>
    </dgm:pt>
    <dgm:pt modelId="{19DDA2BB-17ED-47AE-A576-8C1DA16A3787}">
      <dgm:prSet/>
      <dgm:spPr/>
      <dgm:t>
        <a:bodyPr/>
        <a:lstStyle/>
        <a:p>
          <a:pPr rtl="0"/>
          <a:r>
            <a:rPr lang="en-US" smtClean="0"/>
            <a:t>Automation</a:t>
          </a:r>
          <a:endParaRPr lang="en-US"/>
        </a:p>
      </dgm:t>
    </dgm:pt>
    <dgm:pt modelId="{98189EAE-18F1-40EE-942F-80442360D84B}" type="parTrans" cxnId="{97E90386-1760-401B-8CA0-3744A6DBBA63}">
      <dgm:prSet/>
      <dgm:spPr/>
      <dgm:t>
        <a:bodyPr/>
        <a:lstStyle/>
        <a:p>
          <a:endParaRPr lang="en-US"/>
        </a:p>
      </dgm:t>
    </dgm:pt>
    <dgm:pt modelId="{1230A4AC-5E34-4E31-8755-A4A91EF1EA4F}" type="sibTrans" cxnId="{97E90386-1760-401B-8CA0-3744A6DBBA63}">
      <dgm:prSet/>
      <dgm:spPr/>
      <dgm:t>
        <a:bodyPr/>
        <a:lstStyle/>
        <a:p>
          <a:endParaRPr lang="en-US"/>
        </a:p>
      </dgm:t>
    </dgm:pt>
    <dgm:pt modelId="{A9204701-7547-480F-AB4E-8674472C71CD}" type="pres">
      <dgm:prSet presAssocID="{56C46605-E7FB-43DA-8474-D6BD331A527B}" presName="diagram" presStyleCnt="0">
        <dgm:presLayoutVars>
          <dgm:dir/>
          <dgm:resizeHandles val="exact"/>
        </dgm:presLayoutVars>
      </dgm:prSet>
      <dgm:spPr/>
      <dgm:t>
        <a:bodyPr/>
        <a:lstStyle/>
        <a:p>
          <a:endParaRPr lang="en-US"/>
        </a:p>
      </dgm:t>
    </dgm:pt>
    <dgm:pt modelId="{FD0AB591-DE91-4D62-AFAB-75E06653864D}" type="pres">
      <dgm:prSet presAssocID="{37656260-AFB3-431C-B8B9-255AAEBC2B4B}" presName="node" presStyleLbl="node1" presStyleIdx="0" presStyleCnt="6">
        <dgm:presLayoutVars>
          <dgm:bulletEnabled val="1"/>
        </dgm:presLayoutVars>
      </dgm:prSet>
      <dgm:spPr/>
      <dgm:t>
        <a:bodyPr/>
        <a:lstStyle/>
        <a:p>
          <a:endParaRPr lang="en-US"/>
        </a:p>
      </dgm:t>
    </dgm:pt>
    <dgm:pt modelId="{EB086661-21F2-491A-90E4-9E346CBC3556}" type="pres">
      <dgm:prSet presAssocID="{CC18CBC5-9858-4E9C-AD22-0516178A9E12}" presName="sibTrans" presStyleCnt="0"/>
      <dgm:spPr/>
      <dgm:t>
        <a:bodyPr/>
        <a:lstStyle/>
        <a:p>
          <a:endParaRPr lang="en-US"/>
        </a:p>
      </dgm:t>
    </dgm:pt>
    <dgm:pt modelId="{403C1B2F-E581-484C-8B16-D70135888CAA}" type="pres">
      <dgm:prSet presAssocID="{8B6FF5D1-DE9A-4AFF-A3FA-58311C5DDF84}" presName="node" presStyleLbl="node1" presStyleIdx="1" presStyleCnt="6">
        <dgm:presLayoutVars>
          <dgm:bulletEnabled val="1"/>
        </dgm:presLayoutVars>
      </dgm:prSet>
      <dgm:spPr/>
      <dgm:t>
        <a:bodyPr/>
        <a:lstStyle/>
        <a:p>
          <a:endParaRPr lang="en-US"/>
        </a:p>
      </dgm:t>
    </dgm:pt>
    <dgm:pt modelId="{57A73537-005B-4DE9-97E9-7B003E7EB9A4}" type="pres">
      <dgm:prSet presAssocID="{19D3CD6A-AA45-455C-933F-B247AEE30BB6}" presName="sibTrans" presStyleCnt="0"/>
      <dgm:spPr/>
      <dgm:t>
        <a:bodyPr/>
        <a:lstStyle/>
        <a:p>
          <a:endParaRPr lang="en-US"/>
        </a:p>
      </dgm:t>
    </dgm:pt>
    <dgm:pt modelId="{B9754AA1-9282-41CF-BFB8-C9092583952F}" type="pres">
      <dgm:prSet presAssocID="{5CFF78EF-DFA7-4BF3-B66C-D11C3AB9BA68}" presName="node" presStyleLbl="node1" presStyleIdx="2" presStyleCnt="6">
        <dgm:presLayoutVars>
          <dgm:bulletEnabled val="1"/>
        </dgm:presLayoutVars>
      </dgm:prSet>
      <dgm:spPr/>
      <dgm:t>
        <a:bodyPr/>
        <a:lstStyle/>
        <a:p>
          <a:endParaRPr lang="en-US"/>
        </a:p>
      </dgm:t>
    </dgm:pt>
    <dgm:pt modelId="{206F582B-C95A-4E4E-A8A3-C7D9C05CFE6C}" type="pres">
      <dgm:prSet presAssocID="{4D888E60-8AA3-4C07-9FCF-307DF18CFCA6}" presName="sibTrans" presStyleCnt="0"/>
      <dgm:spPr/>
      <dgm:t>
        <a:bodyPr/>
        <a:lstStyle/>
        <a:p>
          <a:endParaRPr lang="en-US"/>
        </a:p>
      </dgm:t>
    </dgm:pt>
    <dgm:pt modelId="{E85DFC76-7581-4E49-A5EC-B311DA8E590E}" type="pres">
      <dgm:prSet presAssocID="{6820D89B-5E25-4BB6-8FAF-E46E35392047}" presName="node" presStyleLbl="node1" presStyleIdx="3" presStyleCnt="6">
        <dgm:presLayoutVars>
          <dgm:bulletEnabled val="1"/>
        </dgm:presLayoutVars>
      </dgm:prSet>
      <dgm:spPr/>
      <dgm:t>
        <a:bodyPr/>
        <a:lstStyle/>
        <a:p>
          <a:endParaRPr lang="en-US"/>
        </a:p>
      </dgm:t>
    </dgm:pt>
    <dgm:pt modelId="{39562EBC-6C01-4AB3-B612-A950584AA9B4}" type="pres">
      <dgm:prSet presAssocID="{61CDE9C2-0F62-4462-9F83-C6BC184E0285}" presName="sibTrans" presStyleCnt="0"/>
      <dgm:spPr/>
      <dgm:t>
        <a:bodyPr/>
        <a:lstStyle/>
        <a:p>
          <a:endParaRPr lang="en-US"/>
        </a:p>
      </dgm:t>
    </dgm:pt>
    <dgm:pt modelId="{B1C8B4CC-A4F0-4E9C-AC4A-46048211E7B8}" type="pres">
      <dgm:prSet presAssocID="{5712803C-2633-40F0-849E-7FA0F613E67D}" presName="node" presStyleLbl="node1" presStyleIdx="4" presStyleCnt="6">
        <dgm:presLayoutVars>
          <dgm:bulletEnabled val="1"/>
        </dgm:presLayoutVars>
      </dgm:prSet>
      <dgm:spPr/>
      <dgm:t>
        <a:bodyPr/>
        <a:lstStyle/>
        <a:p>
          <a:endParaRPr lang="en-US"/>
        </a:p>
      </dgm:t>
    </dgm:pt>
    <dgm:pt modelId="{A4D4F81D-6754-4EB6-9969-965716E9F15F}" type="pres">
      <dgm:prSet presAssocID="{C1CDA3FD-58B0-486C-8981-2F9B7CD061E2}" presName="sibTrans" presStyleCnt="0"/>
      <dgm:spPr/>
      <dgm:t>
        <a:bodyPr/>
        <a:lstStyle/>
        <a:p>
          <a:endParaRPr lang="en-US"/>
        </a:p>
      </dgm:t>
    </dgm:pt>
    <dgm:pt modelId="{4EC0A400-8BA7-49AE-A3A5-012C0D546501}" type="pres">
      <dgm:prSet presAssocID="{19DDA2BB-17ED-47AE-A576-8C1DA16A3787}" presName="node" presStyleLbl="node1" presStyleIdx="5" presStyleCnt="6">
        <dgm:presLayoutVars>
          <dgm:bulletEnabled val="1"/>
        </dgm:presLayoutVars>
      </dgm:prSet>
      <dgm:spPr/>
      <dgm:t>
        <a:bodyPr/>
        <a:lstStyle/>
        <a:p>
          <a:endParaRPr lang="en-US"/>
        </a:p>
      </dgm:t>
    </dgm:pt>
  </dgm:ptLst>
  <dgm:cxnLst>
    <dgm:cxn modelId="{E22CA5C9-3A07-4E2A-9850-EFC6DD064425}" type="presOf" srcId="{19DDA2BB-17ED-47AE-A576-8C1DA16A3787}" destId="{4EC0A400-8BA7-49AE-A3A5-012C0D546501}" srcOrd="0" destOrd="0" presId="urn:microsoft.com/office/officeart/2005/8/layout/default"/>
    <dgm:cxn modelId="{7EE7EF5D-B121-4406-A93F-A69C46FDEFDC}" type="presOf" srcId="{6820D89B-5E25-4BB6-8FAF-E46E35392047}" destId="{E85DFC76-7581-4E49-A5EC-B311DA8E590E}" srcOrd="0" destOrd="0" presId="urn:microsoft.com/office/officeart/2005/8/layout/default"/>
    <dgm:cxn modelId="{AFCE88D8-01FD-49D3-BB4D-70448B3A26D5}" srcId="{56C46605-E7FB-43DA-8474-D6BD331A527B}" destId="{8B6FF5D1-DE9A-4AFF-A3FA-58311C5DDF84}" srcOrd="1" destOrd="0" parTransId="{AFA6AB89-8837-443D-B28A-AF2BFBF08A39}" sibTransId="{19D3CD6A-AA45-455C-933F-B247AEE30BB6}"/>
    <dgm:cxn modelId="{D9366998-3439-4E94-98C9-D9A4A9C7ED2B}" srcId="{56C46605-E7FB-43DA-8474-D6BD331A527B}" destId="{5712803C-2633-40F0-849E-7FA0F613E67D}" srcOrd="4" destOrd="0" parTransId="{18EA8356-767C-4825-AC11-DC5276F8BB21}" sibTransId="{C1CDA3FD-58B0-486C-8981-2F9B7CD061E2}"/>
    <dgm:cxn modelId="{D8394716-F6DA-44DD-846D-B872EDADEBFB}" srcId="{56C46605-E7FB-43DA-8474-D6BD331A527B}" destId="{37656260-AFB3-431C-B8B9-255AAEBC2B4B}" srcOrd="0" destOrd="0" parTransId="{72B6B5FD-AAAF-43B3-82D0-21A26712A3A9}" sibTransId="{CC18CBC5-9858-4E9C-AD22-0516178A9E12}"/>
    <dgm:cxn modelId="{8431B928-8B1A-4172-AB3A-9E1E372ADF77}" srcId="{56C46605-E7FB-43DA-8474-D6BD331A527B}" destId="{6820D89B-5E25-4BB6-8FAF-E46E35392047}" srcOrd="3" destOrd="0" parTransId="{DDA9A137-5617-4419-A41F-2CC2E7603682}" sibTransId="{61CDE9C2-0F62-4462-9F83-C6BC184E0285}"/>
    <dgm:cxn modelId="{D914DA81-7E15-44AF-B378-0637162B671C}" type="presOf" srcId="{5712803C-2633-40F0-849E-7FA0F613E67D}" destId="{B1C8B4CC-A4F0-4E9C-AC4A-46048211E7B8}" srcOrd="0" destOrd="0" presId="urn:microsoft.com/office/officeart/2005/8/layout/default"/>
    <dgm:cxn modelId="{497B2B9E-B670-47AD-8684-0D4328C6D013}" type="presOf" srcId="{37656260-AFB3-431C-B8B9-255AAEBC2B4B}" destId="{FD0AB591-DE91-4D62-AFAB-75E06653864D}" srcOrd="0" destOrd="0" presId="urn:microsoft.com/office/officeart/2005/8/layout/default"/>
    <dgm:cxn modelId="{97E90386-1760-401B-8CA0-3744A6DBBA63}" srcId="{56C46605-E7FB-43DA-8474-D6BD331A527B}" destId="{19DDA2BB-17ED-47AE-A576-8C1DA16A3787}" srcOrd="5" destOrd="0" parTransId="{98189EAE-18F1-40EE-942F-80442360D84B}" sibTransId="{1230A4AC-5E34-4E31-8755-A4A91EF1EA4F}"/>
    <dgm:cxn modelId="{6CF9BC8D-E88F-4A54-89B8-8068D5485BF4}" type="presOf" srcId="{5CFF78EF-DFA7-4BF3-B66C-D11C3AB9BA68}" destId="{B9754AA1-9282-41CF-BFB8-C9092583952F}" srcOrd="0" destOrd="0" presId="urn:microsoft.com/office/officeart/2005/8/layout/default"/>
    <dgm:cxn modelId="{229A513E-929E-4997-9F69-DC91FB36F99D}" type="presOf" srcId="{56C46605-E7FB-43DA-8474-D6BD331A527B}" destId="{A9204701-7547-480F-AB4E-8674472C71CD}" srcOrd="0" destOrd="0" presId="urn:microsoft.com/office/officeart/2005/8/layout/default"/>
    <dgm:cxn modelId="{E50B99E9-6AFD-4008-9729-B95325531880}" srcId="{56C46605-E7FB-43DA-8474-D6BD331A527B}" destId="{5CFF78EF-DFA7-4BF3-B66C-D11C3AB9BA68}" srcOrd="2" destOrd="0" parTransId="{6DDAD43D-C9DF-4AF5-B9F9-4FF374A5D78B}" sibTransId="{4D888E60-8AA3-4C07-9FCF-307DF18CFCA6}"/>
    <dgm:cxn modelId="{66905434-97B3-49C5-BBA4-FCCFC6DE26B6}" type="presOf" srcId="{8B6FF5D1-DE9A-4AFF-A3FA-58311C5DDF84}" destId="{403C1B2F-E581-484C-8B16-D70135888CAA}" srcOrd="0" destOrd="0" presId="urn:microsoft.com/office/officeart/2005/8/layout/default"/>
    <dgm:cxn modelId="{30CD3FB5-6304-4826-9531-CC97A8B0F820}" type="presParOf" srcId="{A9204701-7547-480F-AB4E-8674472C71CD}" destId="{FD0AB591-DE91-4D62-AFAB-75E06653864D}" srcOrd="0" destOrd="0" presId="urn:microsoft.com/office/officeart/2005/8/layout/default"/>
    <dgm:cxn modelId="{8B12A082-C3CE-46CD-AA25-507F776351DC}" type="presParOf" srcId="{A9204701-7547-480F-AB4E-8674472C71CD}" destId="{EB086661-21F2-491A-90E4-9E346CBC3556}" srcOrd="1" destOrd="0" presId="urn:microsoft.com/office/officeart/2005/8/layout/default"/>
    <dgm:cxn modelId="{E73DA9E2-9E2D-4FE0-9C38-1136D1899125}" type="presParOf" srcId="{A9204701-7547-480F-AB4E-8674472C71CD}" destId="{403C1B2F-E581-484C-8B16-D70135888CAA}" srcOrd="2" destOrd="0" presId="urn:microsoft.com/office/officeart/2005/8/layout/default"/>
    <dgm:cxn modelId="{AD85F213-185B-4570-9647-A8CCB2F51F2D}" type="presParOf" srcId="{A9204701-7547-480F-AB4E-8674472C71CD}" destId="{57A73537-005B-4DE9-97E9-7B003E7EB9A4}" srcOrd="3" destOrd="0" presId="urn:microsoft.com/office/officeart/2005/8/layout/default"/>
    <dgm:cxn modelId="{3F20DC51-0665-4450-8F5F-6B3D02001607}" type="presParOf" srcId="{A9204701-7547-480F-AB4E-8674472C71CD}" destId="{B9754AA1-9282-41CF-BFB8-C9092583952F}" srcOrd="4" destOrd="0" presId="urn:microsoft.com/office/officeart/2005/8/layout/default"/>
    <dgm:cxn modelId="{3263EF0A-DE77-4391-9E14-83AD9ADF57EA}" type="presParOf" srcId="{A9204701-7547-480F-AB4E-8674472C71CD}" destId="{206F582B-C95A-4E4E-A8A3-C7D9C05CFE6C}" srcOrd="5" destOrd="0" presId="urn:microsoft.com/office/officeart/2005/8/layout/default"/>
    <dgm:cxn modelId="{33BC3931-1F27-4FA4-B56B-5177021AD233}" type="presParOf" srcId="{A9204701-7547-480F-AB4E-8674472C71CD}" destId="{E85DFC76-7581-4E49-A5EC-B311DA8E590E}" srcOrd="6" destOrd="0" presId="urn:microsoft.com/office/officeart/2005/8/layout/default"/>
    <dgm:cxn modelId="{B2CB19DB-BBB3-4EE6-9275-C82CE68CA5C5}" type="presParOf" srcId="{A9204701-7547-480F-AB4E-8674472C71CD}" destId="{39562EBC-6C01-4AB3-B612-A950584AA9B4}" srcOrd="7" destOrd="0" presId="urn:microsoft.com/office/officeart/2005/8/layout/default"/>
    <dgm:cxn modelId="{E2935E99-2307-4AD8-B591-B27E36EFE28D}" type="presParOf" srcId="{A9204701-7547-480F-AB4E-8674472C71CD}" destId="{B1C8B4CC-A4F0-4E9C-AC4A-46048211E7B8}" srcOrd="8" destOrd="0" presId="urn:microsoft.com/office/officeart/2005/8/layout/default"/>
    <dgm:cxn modelId="{DE7452B0-A4C1-4FE7-8854-52AAF85A06BA}" type="presParOf" srcId="{A9204701-7547-480F-AB4E-8674472C71CD}" destId="{A4D4F81D-6754-4EB6-9969-965716E9F15F}" srcOrd="9" destOrd="0" presId="urn:microsoft.com/office/officeart/2005/8/layout/default"/>
    <dgm:cxn modelId="{D006AA81-E033-4C52-8562-D4F277B84EC0}" type="presParOf" srcId="{A9204701-7547-480F-AB4E-8674472C71CD}" destId="{4EC0A400-8BA7-49AE-A3A5-012C0D546501}"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6772D15-C2AE-4635-A230-D19459459E26}" type="doc">
      <dgm:prSet loTypeId="urn:microsoft.com/office/officeart/2011/layout/ConvergingText#1" loCatId="process" qsTypeId="urn:microsoft.com/office/officeart/2005/8/quickstyle/simple1" qsCatId="simple" csTypeId="urn:microsoft.com/office/officeart/2005/8/colors/colorful1" csCatId="colorful"/>
      <dgm:spPr/>
      <dgm:t>
        <a:bodyPr/>
        <a:lstStyle/>
        <a:p>
          <a:endParaRPr lang="en-US"/>
        </a:p>
      </dgm:t>
    </dgm:pt>
    <dgm:pt modelId="{17BE76A3-8A71-4C10-BC41-EF074E962E41}">
      <dgm:prSet/>
      <dgm:spPr/>
      <dgm:t>
        <a:bodyPr/>
        <a:lstStyle/>
        <a:p>
          <a:pPr rtl="0"/>
          <a:r>
            <a:rPr lang="en-US" smtClean="0"/>
            <a:t>Build game.</a:t>
          </a:r>
          <a:endParaRPr lang="en-US"/>
        </a:p>
      </dgm:t>
    </dgm:pt>
    <dgm:pt modelId="{818E0FAE-8485-4B4A-A770-910D9BE980E0}" type="parTrans" cxnId="{3380FDD5-ABAD-4019-8306-42430157EC47}">
      <dgm:prSet/>
      <dgm:spPr/>
      <dgm:t>
        <a:bodyPr/>
        <a:lstStyle/>
        <a:p>
          <a:endParaRPr lang="en-US"/>
        </a:p>
      </dgm:t>
    </dgm:pt>
    <dgm:pt modelId="{514BBD7C-8A5C-42CA-AD23-03F38407DFA0}" type="sibTrans" cxnId="{3380FDD5-ABAD-4019-8306-42430157EC47}">
      <dgm:prSet/>
      <dgm:spPr/>
      <dgm:t>
        <a:bodyPr/>
        <a:lstStyle/>
        <a:p>
          <a:endParaRPr lang="en-US"/>
        </a:p>
      </dgm:t>
    </dgm:pt>
    <dgm:pt modelId="{DA0D74A9-0BF7-4A9A-9D31-A681A381B9E9}">
      <dgm:prSet/>
      <dgm:spPr/>
      <dgm:t>
        <a:bodyPr/>
        <a:lstStyle/>
        <a:p>
          <a:pPr rtl="0"/>
          <a:r>
            <a:rPr lang="en-US" smtClean="0"/>
            <a:t>Magic happens here.</a:t>
          </a:r>
          <a:endParaRPr lang="en-US"/>
        </a:p>
      </dgm:t>
    </dgm:pt>
    <dgm:pt modelId="{5C85A9BC-5D7D-469F-BF3E-3E7DCA8010AA}" type="parTrans" cxnId="{F5768F84-EE86-4E14-A8BB-3074E655E9EB}">
      <dgm:prSet/>
      <dgm:spPr/>
      <dgm:t>
        <a:bodyPr/>
        <a:lstStyle/>
        <a:p>
          <a:endParaRPr lang="en-US"/>
        </a:p>
      </dgm:t>
    </dgm:pt>
    <dgm:pt modelId="{E5E34543-8D7A-44AF-BCEA-AD7FDF41BB80}" type="sibTrans" cxnId="{F5768F84-EE86-4E14-A8BB-3074E655E9EB}">
      <dgm:prSet/>
      <dgm:spPr/>
      <dgm:t>
        <a:bodyPr/>
        <a:lstStyle/>
        <a:p>
          <a:endParaRPr lang="en-US"/>
        </a:p>
      </dgm:t>
    </dgm:pt>
    <dgm:pt modelId="{10EFEAD5-BECD-4F33-BB2A-3DF11AC8544E}">
      <dgm:prSet/>
      <dgm:spPr/>
      <dgm:t>
        <a:bodyPr/>
        <a:lstStyle/>
        <a:p>
          <a:pPr rtl="0"/>
          <a:r>
            <a:rPr lang="en-US" smtClean="0"/>
            <a:t>Profit.</a:t>
          </a:r>
          <a:endParaRPr lang="en-US"/>
        </a:p>
      </dgm:t>
    </dgm:pt>
    <dgm:pt modelId="{CFB31C2C-CD0B-4534-AF61-D92E27D8D446}" type="parTrans" cxnId="{3A1459B8-8AC8-4194-9FE0-3EF95F3D5A9E}">
      <dgm:prSet/>
      <dgm:spPr/>
      <dgm:t>
        <a:bodyPr/>
        <a:lstStyle/>
        <a:p>
          <a:endParaRPr lang="en-US"/>
        </a:p>
      </dgm:t>
    </dgm:pt>
    <dgm:pt modelId="{09ABFEDE-2818-4273-832E-FC4CEBCB2BFB}" type="sibTrans" cxnId="{3A1459B8-8AC8-4194-9FE0-3EF95F3D5A9E}">
      <dgm:prSet/>
      <dgm:spPr/>
      <dgm:t>
        <a:bodyPr/>
        <a:lstStyle/>
        <a:p>
          <a:endParaRPr lang="en-US"/>
        </a:p>
      </dgm:t>
    </dgm:pt>
    <dgm:pt modelId="{241DF5DD-62DA-4419-ADA4-0B2278F8691C}" type="pres">
      <dgm:prSet presAssocID="{A6772D15-C2AE-4635-A230-D19459459E26}" presName="Name0" presStyleCnt="0">
        <dgm:presLayoutVars>
          <dgm:chMax/>
          <dgm:chPref val="1"/>
          <dgm:dir/>
          <dgm:animOne val="branch"/>
          <dgm:animLvl val="lvl"/>
          <dgm:resizeHandles/>
        </dgm:presLayoutVars>
      </dgm:prSet>
      <dgm:spPr/>
      <dgm:t>
        <a:bodyPr/>
        <a:lstStyle/>
        <a:p>
          <a:endParaRPr lang="en-US"/>
        </a:p>
      </dgm:t>
    </dgm:pt>
    <dgm:pt modelId="{176DA2AC-5BBF-436D-BF18-7CEDBCCE4D30}" type="pres">
      <dgm:prSet presAssocID="{17BE76A3-8A71-4C10-BC41-EF074E962E41}" presName="composite" presStyleCnt="0"/>
      <dgm:spPr/>
    </dgm:pt>
    <dgm:pt modelId="{ACCA073A-2A12-4926-855B-9B381112DA14}" type="pres">
      <dgm:prSet presAssocID="{17BE76A3-8A71-4C10-BC41-EF074E962E41}" presName="ParentAccent1" presStyleLbl="alignNode1" presStyleIdx="0" presStyleCnt="33"/>
      <dgm:spPr/>
    </dgm:pt>
    <dgm:pt modelId="{307466B9-79E6-48B3-9AB4-9A0BC598DE81}" type="pres">
      <dgm:prSet presAssocID="{17BE76A3-8A71-4C10-BC41-EF074E962E41}" presName="ParentAccent2" presStyleLbl="alignNode1" presStyleIdx="1" presStyleCnt="33"/>
      <dgm:spPr/>
    </dgm:pt>
    <dgm:pt modelId="{E7C8A4AA-1679-4B13-A26C-337E8FB9F7D8}" type="pres">
      <dgm:prSet presAssocID="{17BE76A3-8A71-4C10-BC41-EF074E962E41}" presName="ParentAccent3" presStyleLbl="alignNode1" presStyleIdx="2" presStyleCnt="33"/>
      <dgm:spPr/>
    </dgm:pt>
    <dgm:pt modelId="{CB34F1D9-ADD1-4D30-A496-AA57999537DE}" type="pres">
      <dgm:prSet presAssocID="{17BE76A3-8A71-4C10-BC41-EF074E962E41}" presName="ParentAccent4" presStyleLbl="alignNode1" presStyleIdx="3" presStyleCnt="33"/>
      <dgm:spPr/>
    </dgm:pt>
    <dgm:pt modelId="{010881F5-FBE4-41A4-953E-D91826691650}" type="pres">
      <dgm:prSet presAssocID="{17BE76A3-8A71-4C10-BC41-EF074E962E41}" presName="ParentAccent5" presStyleLbl="alignNode1" presStyleIdx="4" presStyleCnt="33"/>
      <dgm:spPr/>
    </dgm:pt>
    <dgm:pt modelId="{95484D72-A291-4EAF-950C-0FB5411ACA11}" type="pres">
      <dgm:prSet presAssocID="{17BE76A3-8A71-4C10-BC41-EF074E962E41}" presName="ParentAccent6" presStyleLbl="alignNode1" presStyleIdx="5" presStyleCnt="33"/>
      <dgm:spPr/>
    </dgm:pt>
    <dgm:pt modelId="{597017DE-5D89-4B57-A6F7-995DBEF716F7}" type="pres">
      <dgm:prSet presAssocID="{17BE76A3-8A71-4C10-BC41-EF074E962E41}" presName="ParentAccent7" presStyleLbl="alignNode1" presStyleIdx="6" presStyleCnt="33"/>
      <dgm:spPr/>
    </dgm:pt>
    <dgm:pt modelId="{F519A646-48D3-49DC-BDBD-06572FD22868}" type="pres">
      <dgm:prSet presAssocID="{17BE76A3-8A71-4C10-BC41-EF074E962E41}" presName="ParentAccent8" presStyleLbl="alignNode1" presStyleIdx="7" presStyleCnt="33"/>
      <dgm:spPr/>
    </dgm:pt>
    <dgm:pt modelId="{F635CF97-75F1-4681-917C-3A5CF281539C}" type="pres">
      <dgm:prSet presAssocID="{17BE76A3-8A71-4C10-BC41-EF074E962E41}" presName="ParentAccent9" presStyleLbl="alignNode1" presStyleIdx="8" presStyleCnt="33"/>
      <dgm:spPr/>
    </dgm:pt>
    <dgm:pt modelId="{76D6B5F8-D9C0-472D-9AE1-E2FD166CC0B3}" type="pres">
      <dgm:prSet presAssocID="{17BE76A3-8A71-4C10-BC41-EF074E962E41}" presName="ParentAccent10" presStyleLbl="alignNode1" presStyleIdx="9" presStyleCnt="33"/>
      <dgm:spPr/>
    </dgm:pt>
    <dgm:pt modelId="{CF0F19CE-8FF2-4E2B-BF7D-DA08549EF854}" type="pres">
      <dgm:prSet presAssocID="{17BE76A3-8A71-4C10-BC41-EF074E962E41}" presName="Parent" presStyleLbl="alignNode1" presStyleIdx="10" presStyleCnt="33">
        <dgm:presLayoutVars>
          <dgm:chMax val="5"/>
          <dgm:chPref val="3"/>
          <dgm:bulletEnabled val="1"/>
        </dgm:presLayoutVars>
      </dgm:prSet>
      <dgm:spPr/>
      <dgm:t>
        <a:bodyPr/>
        <a:lstStyle/>
        <a:p>
          <a:endParaRPr lang="en-US"/>
        </a:p>
      </dgm:t>
    </dgm:pt>
    <dgm:pt modelId="{E6366397-95E6-4542-B00B-004B099436C0}" type="pres">
      <dgm:prSet presAssocID="{514BBD7C-8A5C-42CA-AD23-03F38407DFA0}" presName="sibTrans" presStyleCnt="0"/>
      <dgm:spPr/>
    </dgm:pt>
    <dgm:pt modelId="{F78D466A-AC8B-44DB-A952-860C25849570}" type="pres">
      <dgm:prSet presAssocID="{DA0D74A9-0BF7-4A9A-9D31-A681A381B9E9}" presName="composite" presStyleCnt="0"/>
      <dgm:spPr/>
    </dgm:pt>
    <dgm:pt modelId="{9E3B18F1-653C-4403-B220-5FEE073A2B7F}" type="pres">
      <dgm:prSet presAssocID="{DA0D74A9-0BF7-4A9A-9D31-A681A381B9E9}" presName="ParentAccent1" presStyleLbl="alignNode1" presStyleIdx="11" presStyleCnt="33"/>
      <dgm:spPr/>
    </dgm:pt>
    <dgm:pt modelId="{CA020D55-58AF-4C7F-8239-C3FC9470C46E}" type="pres">
      <dgm:prSet presAssocID="{DA0D74A9-0BF7-4A9A-9D31-A681A381B9E9}" presName="ParentAccent2" presStyleLbl="alignNode1" presStyleIdx="12" presStyleCnt="33"/>
      <dgm:spPr/>
    </dgm:pt>
    <dgm:pt modelId="{0E760B04-2DA3-405C-97E0-7E4068BD5602}" type="pres">
      <dgm:prSet presAssocID="{DA0D74A9-0BF7-4A9A-9D31-A681A381B9E9}" presName="ParentAccent3" presStyleLbl="alignNode1" presStyleIdx="13" presStyleCnt="33"/>
      <dgm:spPr/>
    </dgm:pt>
    <dgm:pt modelId="{6348A0F2-0ED4-4A2C-8D98-8E8C9723B78D}" type="pres">
      <dgm:prSet presAssocID="{DA0D74A9-0BF7-4A9A-9D31-A681A381B9E9}" presName="ParentAccent4" presStyleLbl="alignNode1" presStyleIdx="14" presStyleCnt="33"/>
      <dgm:spPr/>
    </dgm:pt>
    <dgm:pt modelId="{25DDE775-0653-4605-95A1-1FE0F50D53CE}" type="pres">
      <dgm:prSet presAssocID="{DA0D74A9-0BF7-4A9A-9D31-A681A381B9E9}" presName="ParentAccent5" presStyleLbl="alignNode1" presStyleIdx="15" presStyleCnt="33"/>
      <dgm:spPr/>
    </dgm:pt>
    <dgm:pt modelId="{040CBE75-201F-4772-8767-24E0D5C79678}" type="pres">
      <dgm:prSet presAssocID="{DA0D74A9-0BF7-4A9A-9D31-A681A381B9E9}" presName="ParentAccent6" presStyleLbl="alignNode1" presStyleIdx="16" presStyleCnt="33"/>
      <dgm:spPr/>
    </dgm:pt>
    <dgm:pt modelId="{D547B462-A24B-41E5-8339-22B6869DB758}" type="pres">
      <dgm:prSet presAssocID="{DA0D74A9-0BF7-4A9A-9D31-A681A381B9E9}" presName="ParentAccent7" presStyleLbl="alignNode1" presStyleIdx="17" presStyleCnt="33"/>
      <dgm:spPr/>
    </dgm:pt>
    <dgm:pt modelId="{A74557CB-8D75-4A72-AA7E-AB89902DE29D}" type="pres">
      <dgm:prSet presAssocID="{DA0D74A9-0BF7-4A9A-9D31-A681A381B9E9}" presName="ParentAccent8" presStyleLbl="alignNode1" presStyleIdx="18" presStyleCnt="33"/>
      <dgm:spPr/>
    </dgm:pt>
    <dgm:pt modelId="{571CB195-C8A6-4786-B501-BB3D467EA4E0}" type="pres">
      <dgm:prSet presAssocID="{DA0D74A9-0BF7-4A9A-9D31-A681A381B9E9}" presName="ParentAccent9" presStyleLbl="alignNode1" presStyleIdx="19" presStyleCnt="33"/>
      <dgm:spPr/>
    </dgm:pt>
    <dgm:pt modelId="{556A0A92-4B8E-463D-87F3-B80E845F2C1E}" type="pres">
      <dgm:prSet presAssocID="{DA0D74A9-0BF7-4A9A-9D31-A681A381B9E9}" presName="ParentAccent10" presStyleLbl="alignNode1" presStyleIdx="20" presStyleCnt="33"/>
      <dgm:spPr/>
    </dgm:pt>
    <dgm:pt modelId="{AFB107FF-C659-4DB1-B9BE-8188A37D8DC8}" type="pres">
      <dgm:prSet presAssocID="{DA0D74A9-0BF7-4A9A-9D31-A681A381B9E9}" presName="Parent" presStyleLbl="alignNode1" presStyleIdx="21" presStyleCnt="33">
        <dgm:presLayoutVars>
          <dgm:chMax val="5"/>
          <dgm:chPref val="3"/>
          <dgm:bulletEnabled val="1"/>
        </dgm:presLayoutVars>
      </dgm:prSet>
      <dgm:spPr/>
      <dgm:t>
        <a:bodyPr/>
        <a:lstStyle/>
        <a:p>
          <a:endParaRPr lang="en-US"/>
        </a:p>
      </dgm:t>
    </dgm:pt>
    <dgm:pt modelId="{030529B2-447C-420F-9317-7F9C4951A463}" type="pres">
      <dgm:prSet presAssocID="{E5E34543-8D7A-44AF-BCEA-AD7FDF41BB80}" presName="sibTrans" presStyleCnt="0"/>
      <dgm:spPr/>
    </dgm:pt>
    <dgm:pt modelId="{2B78224E-7C4F-4F71-9F0E-14E993C44DA3}" type="pres">
      <dgm:prSet presAssocID="{10EFEAD5-BECD-4F33-BB2A-3DF11AC8544E}" presName="composite" presStyleCnt="0"/>
      <dgm:spPr/>
    </dgm:pt>
    <dgm:pt modelId="{E6E01311-2A35-4B4B-9F9A-4C78CF52097D}" type="pres">
      <dgm:prSet presAssocID="{10EFEAD5-BECD-4F33-BB2A-3DF11AC8544E}" presName="ParentAccent1" presStyleLbl="alignNode1" presStyleIdx="22" presStyleCnt="33"/>
      <dgm:spPr/>
    </dgm:pt>
    <dgm:pt modelId="{5FA82CC9-BA7D-402C-BE20-EE113DB59379}" type="pres">
      <dgm:prSet presAssocID="{10EFEAD5-BECD-4F33-BB2A-3DF11AC8544E}" presName="ParentAccent2" presStyleLbl="alignNode1" presStyleIdx="23" presStyleCnt="33"/>
      <dgm:spPr/>
    </dgm:pt>
    <dgm:pt modelId="{391FACF4-CD9B-4F28-B45D-C85FB2FF71C4}" type="pres">
      <dgm:prSet presAssocID="{10EFEAD5-BECD-4F33-BB2A-3DF11AC8544E}" presName="ParentAccent3" presStyleLbl="alignNode1" presStyleIdx="24" presStyleCnt="33"/>
      <dgm:spPr/>
    </dgm:pt>
    <dgm:pt modelId="{A18CA391-211E-4580-9030-F77EC3BA52D1}" type="pres">
      <dgm:prSet presAssocID="{10EFEAD5-BECD-4F33-BB2A-3DF11AC8544E}" presName="ParentAccent4" presStyleLbl="alignNode1" presStyleIdx="25" presStyleCnt="33"/>
      <dgm:spPr/>
    </dgm:pt>
    <dgm:pt modelId="{C0FD9EE2-4ABB-4B77-9206-1CC9D53685E5}" type="pres">
      <dgm:prSet presAssocID="{10EFEAD5-BECD-4F33-BB2A-3DF11AC8544E}" presName="ParentAccent5" presStyleLbl="alignNode1" presStyleIdx="26" presStyleCnt="33"/>
      <dgm:spPr/>
    </dgm:pt>
    <dgm:pt modelId="{192FA2CE-C451-4FDA-9819-6A2ACB23B580}" type="pres">
      <dgm:prSet presAssocID="{10EFEAD5-BECD-4F33-BB2A-3DF11AC8544E}" presName="ParentAccent6" presStyleLbl="alignNode1" presStyleIdx="27" presStyleCnt="33"/>
      <dgm:spPr/>
    </dgm:pt>
    <dgm:pt modelId="{8AF38A89-1BB1-4CAD-90F3-2C80BAA8E081}" type="pres">
      <dgm:prSet presAssocID="{10EFEAD5-BECD-4F33-BB2A-3DF11AC8544E}" presName="ParentAccent7" presStyleLbl="alignNode1" presStyleIdx="28" presStyleCnt="33"/>
      <dgm:spPr/>
    </dgm:pt>
    <dgm:pt modelId="{ECD38488-D128-4AAF-8585-4FFC9C1B27BE}" type="pres">
      <dgm:prSet presAssocID="{10EFEAD5-BECD-4F33-BB2A-3DF11AC8544E}" presName="ParentAccent8" presStyleLbl="alignNode1" presStyleIdx="29" presStyleCnt="33"/>
      <dgm:spPr/>
    </dgm:pt>
    <dgm:pt modelId="{E10A6F66-50DB-4D50-937C-C19FCCFA12F1}" type="pres">
      <dgm:prSet presAssocID="{10EFEAD5-BECD-4F33-BB2A-3DF11AC8544E}" presName="ParentAccent9" presStyleLbl="alignNode1" presStyleIdx="30" presStyleCnt="33"/>
      <dgm:spPr/>
    </dgm:pt>
    <dgm:pt modelId="{C9206137-918F-4CB5-8162-9BB1A4CD0392}" type="pres">
      <dgm:prSet presAssocID="{10EFEAD5-BECD-4F33-BB2A-3DF11AC8544E}" presName="ParentAccent10" presStyleLbl="alignNode1" presStyleIdx="31" presStyleCnt="33"/>
      <dgm:spPr/>
    </dgm:pt>
    <dgm:pt modelId="{DE138595-1446-4B0F-A621-B247549003D3}" type="pres">
      <dgm:prSet presAssocID="{10EFEAD5-BECD-4F33-BB2A-3DF11AC8544E}" presName="Parent" presStyleLbl="alignNode1" presStyleIdx="32" presStyleCnt="33">
        <dgm:presLayoutVars>
          <dgm:chMax val="5"/>
          <dgm:chPref val="3"/>
          <dgm:bulletEnabled val="1"/>
        </dgm:presLayoutVars>
      </dgm:prSet>
      <dgm:spPr/>
      <dgm:t>
        <a:bodyPr/>
        <a:lstStyle/>
        <a:p>
          <a:endParaRPr lang="en-US"/>
        </a:p>
      </dgm:t>
    </dgm:pt>
  </dgm:ptLst>
  <dgm:cxnLst>
    <dgm:cxn modelId="{1AAFB2FB-7857-46BA-8DBA-34381CCDECEB}" type="presOf" srcId="{DA0D74A9-0BF7-4A9A-9D31-A681A381B9E9}" destId="{AFB107FF-C659-4DB1-B9BE-8188A37D8DC8}" srcOrd="0" destOrd="0" presId="urn:microsoft.com/office/officeart/2011/layout/ConvergingText#1"/>
    <dgm:cxn modelId="{3380FDD5-ABAD-4019-8306-42430157EC47}" srcId="{A6772D15-C2AE-4635-A230-D19459459E26}" destId="{17BE76A3-8A71-4C10-BC41-EF074E962E41}" srcOrd="0" destOrd="0" parTransId="{818E0FAE-8485-4B4A-A770-910D9BE980E0}" sibTransId="{514BBD7C-8A5C-42CA-AD23-03F38407DFA0}"/>
    <dgm:cxn modelId="{A903C300-A30C-415F-8698-51EE4009DC5C}" type="presOf" srcId="{A6772D15-C2AE-4635-A230-D19459459E26}" destId="{241DF5DD-62DA-4419-ADA4-0B2278F8691C}" srcOrd="0" destOrd="0" presId="urn:microsoft.com/office/officeart/2011/layout/ConvergingText#1"/>
    <dgm:cxn modelId="{35BC9470-2E5F-457E-80B9-C48CED09E7A2}" type="presOf" srcId="{10EFEAD5-BECD-4F33-BB2A-3DF11AC8544E}" destId="{DE138595-1446-4B0F-A621-B247549003D3}" srcOrd="0" destOrd="0" presId="urn:microsoft.com/office/officeart/2011/layout/ConvergingText#1"/>
    <dgm:cxn modelId="{3A1459B8-8AC8-4194-9FE0-3EF95F3D5A9E}" srcId="{A6772D15-C2AE-4635-A230-D19459459E26}" destId="{10EFEAD5-BECD-4F33-BB2A-3DF11AC8544E}" srcOrd="2" destOrd="0" parTransId="{CFB31C2C-CD0B-4534-AF61-D92E27D8D446}" sibTransId="{09ABFEDE-2818-4273-832E-FC4CEBCB2BFB}"/>
    <dgm:cxn modelId="{F5768F84-EE86-4E14-A8BB-3074E655E9EB}" srcId="{A6772D15-C2AE-4635-A230-D19459459E26}" destId="{DA0D74A9-0BF7-4A9A-9D31-A681A381B9E9}" srcOrd="1" destOrd="0" parTransId="{5C85A9BC-5D7D-469F-BF3E-3E7DCA8010AA}" sibTransId="{E5E34543-8D7A-44AF-BCEA-AD7FDF41BB80}"/>
    <dgm:cxn modelId="{C11A05A8-F9BA-41F9-8531-30CE10F6880F}" type="presOf" srcId="{17BE76A3-8A71-4C10-BC41-EF074E962E41}" destId="{CF0F19CE-8FF2-4E2B-BF7D-DA08549EF854}" srcOrd="0" destOrd="0" presId="urn:microsoft.com/office/officeart/2011/layout/ConvergingText#1"/>
    <dgm:cxn modelId="{568DECFF-C329-4749-B8FA-D0C813F2EBC6}" type="presParOf" srcId="{241DF5DD-62DA-4419-ADA4-0B2278F8691C}" destId="{176DA2AC-5BBF-436D-BF18-7CEDBCCE4D30}" srcOrd="0" destOrd="0" presId="urn:microsoft.com/office/officeart/2011/layout/ConvergingText#1"/>
    <dgm:cxn modelId="{158B18D7-3021-4FEF-9E60-4F0D3FA9B4AE}" type="presParOf" srcId="{176DA2AC-5BBF-436D-BF18-7CEDBCCE4D30}" destId="{ACCA073A-2A12-4926-855B-9B381112DA14}" srcOrd="0" destOrd="0" presId="urn:microsoft.com/office/officeart/2011/layout/ConvergingText#1"/>
    <dgm:cxn modelId="{9AD43B4C-426F-4719-954A-8EBFAE8E28F8}" type="presParOf" srcId="{176DA2AC-5BBF-436D-BF18-7CEDBCCE4D30}" destId="{307466B9-79E6-48B3-9AB4-9A0BC598DE81}" srcOrd="1" destOrd="0" presId="urn:microsoft.com/office/officeart/2011/layout/ConvergingText#1"/>
    <dgm:cxn modelId="{EADEAD0A-9426-475A-B9B1-D0D969A04D94}" type="presParOf" srcId="{176DA2AC-5BBF-436D-BF18-7CEDBCCE4D30}" destId="{E7C8A4AA-1679-4B13-A26C-337E8FB9F7D8}" srcOrd="2" destOrd="0" presId="urn:microsoft.com/office/officeart/2011/layout/ConvergingText#1"/>
    <dgm:cxn modelId="{EC3AA6F4-DC48-4960-8589-673C0736B13A}" type="presParOf" srcId="{176DA2AC-5BBF-436D-BF18-7CEDBCCE4D30}" destId="{CB34F1D9-ADD1-4D30-A496-AA57999537DE}" srcOrd="3" destOrd="0" presId="urn:microsoft.com/office/officeart/2011/layout/ConvergingText#1"/>
    <dgm:cxn modelId="{A9A17736-8075-444A-ADAC-FE519E35E34D}" type="presParOf" srcId="{176DA2AC-5BBF-436D-BF18-7CEDBCCE4D30}" destId="{010881F5-FBE4-41A4-953E-D91826691650}" srcOrd="4" destOrd="0" presId="urn:microsoft.com/office/officeart/2011/layout/ConvergingText#1"/>
    <dgm:cxn modelId="{A2A27AB4-E2F3-4DB2-92EF-A9760D1BE905}" type="presParOf" srcId="{176DA2AC-5BBF-436D-BF18-7CEDBCCE4D30}" destId="{95484D72-A291-4EAF-950C-0FB5411ACA11}" srcOrd="5" destOrd="0" presId="urn:microsoft.com/office/officeart/2011/layout/ConvergingText#1"/>
    <dgm:cxn modelId="{DE64C08D-C3BC-4AF4-A1EF-B1653FDD2272}" type="presParOf" srcId="{176DA2AC-5BBF-436D-BF18-7CEDBCCE4D30}" destId="{597017DE-5D89-4B57-A6F7-995DBEF716F7}" srcOrd="6" destOrd="0" presId="urn:microsoft.com/office/officeart/2011/layout/ConvergingText#1"/>
    <dgm:cxn modelId="{E4AE1A43-2E96-48BB-9578-DD3CD34529F9}" type="presParOf" srcId="{176DA2AC-5BBF-436D-BF18-7CEDBCCE4D30}" destId="{F519A646-48D3-49DC-BDBD-06572FD22868}" srcOrd="7" destOrd="0" presId="urn:microsoft.com/office/officeart/2011/layout/ConvergingText#1"/>
    <dgm:cxn modelId="{8EC5B3B2-93DF-4808-BFD0-AF1C54AB8153}" type="presParOf" srcId="{176DA2AC-5BBF-436D-BF18-7CEDBCCE4D30}" destId="{F635CF97-75F1-4681-917C-3A5CF281539C}" srcOrd="8" destOrd="0" presId="urn:microsoft.com/office/officeart/2011/layout/ConvergingText#1"/>
    <dgm:cxn modelId="{7A9CA92D-994C-4D14-8AE5-C79494143525}" type="presParOf" srcId="{176DA2AC-5BBF-436D-BF18-7CEDBCCE4D30}" destId="{76D6B5F8-D9C0-472D-9AE1-E2FD166CC0B3}" srcOrd="9" destOrd="0" presId="urn:microsoft.com/office/officeart/2011/layout/ConvergingText#1"/>
    <dgm:cxn modelId="{0A6D2FE4-D9C1-4327-B0A7-667C9C58FFDC}" type="presParOf" srcId="{176DA2AC-5BBF-436D-BF18-7CEDBCCE4D30}" destId="{CF0F19CE-8FF2-4E2B-BF7D-DA08549EF854}" srcOrd="10" destOrd="0" presId="urn:microsoft.com/office/officeart/2011/layout/ConvergingText#1"/>
    <dgm:cxn modelId="{8CCC6881-8C28-40A5-A0FE-39DBAB9BF762}" type="presParOf" srcId="{241DF5DD-62DA-4419-ADA4-0B2278F8691C}" destId="{E6366397-95E6-4542-B00B-004B099436C0}" srcOrd="1" destOrd="0" presId="urn:microsoft.com/office/officeart/2011/layout/ConvergingText#1"/>
    <dgm:cxn modelId="{512F05AA-1FA7-4084-BC9E-8B5E58C7CD2C}" type="presParOf" srcId="{241DF5DD-62DA-4419-ADA4-0B2278F8691C}" destId="{F78D466A-AC8B-44DB-A952-860C25849570}" srcOrd="2" destOrd="0" presId="urn:microsoft.com/office/officeart/2011/layout/ConvergingText#1"/>
    <dgm:cxn modelId="{3659300F-6BBB-4466-B21E-EAE46E2F9091}" type="presParOf" srcId="{F78D466A-AC8B-44DB-A952-860C25849570}" destId="{9E3B18F1-653C-4403-B220-5FEE073A2B7F}" srcOrd="0" destOrd="0" presId="urn:microsoft.com/office/officeart/2011/layout/ConvergingText#1"/>
    <dgm:cxn modelId="{2D935DD1-DAD6-47D2-ABE1-81F1BDDCDDAB}" type="presParOf" srcId="{F78D466A-AC8B-44DB-A952-860C25849570}" destId="{CA020D55-58AF-4C7F-8239-C3FC9470C46E}" srcOrd="1" destOrd="0" presId="urn:microsoft.com/office/officeart/2011/layout/ConvergingText#1"/>
    <dgm:cxn modelId="{CB7B938F-6DBB-41DA-B9CB-1233B51C620D}" type="presParOf" srcId="{F78D466A-AC8B-44DB-A952-860C25849570}" destId="{0E760B04-2DA3-405C-97E0-7E4068BD5602}" srcOrd="2" destOrd="0" presId="urn:microsoft.com/office/officeart/2011/layout/ConvergingText#1"/>
    <dgm:cxn modelId="{7B7E1059-C214-429A-AEC5-7DB83B8E2F1D}" type="presParOf" srcId="{F78D466A-AC8B-44DB-A952-860C25849570}" destId="{6348A0F2-0ED4-4A2C-8D98-8E8C9723B78D}" srcOrd="3" destOrd="0" presId="urn:microsoft.com/office/officeart/2011/layout/ConvergingText#1"/>
    <dgm:cxn modelId="{965A3D05-BC6F-4C02-A2B7-B3D356F148C3}" type="presParOf" srcId="{F78D466A-AC8B-44DB-A952-860C25849570}" destId="{25DDE775-0653-4605-95A1-1FE0F50D53CE}" srcOrd="4" destOrd="0" presId="urn:microsoft.com/office/officeart/2011/layout/ConvergingText#1"/>
    <dgm:cxn modelId="{6F61FAED-DFDE-4A37-9FDC-009F5C826874}" type="presParOf" srcId="{F78D466A-AC8B-44DB-A952-860C25849570}" destId="{040CBE75-201F-4772-8767-24E0D5C79678}" srcOrd="5" destOrd="0" presId="urn:microsoft.com/office/officeart/2011/layout/ConvergingText#1"/>
    <dgm:cxn modelId="{D4E5A1A1-6D79-418A-9D3C-051D3D85083C}" type="presParOf" srcId="{F78D466A-AC8B-44DB-A952-860C25849570}" destId="{D547B462-A24B-41E5-8339-22B6869DB758}" srcOrd="6" destOrd="0" presId="urn:microsoft.com/office/officeart/2011/layout/ConvergingText#1"/>
    <dgm:cxn modelId="{51EDF6A0-984E-4B8A-8B8B-E07A1F7F4942}" type="presParOf" srcId="{F78D466A-AC8B-44DB-A952-860C25849570}" destId="{A74557CB-8D75-4A72-AA7E-AB89902DE29D}" srcOrd="7" destOrd="0" presId="urn:microsoft.com/office/officeart/2011/layout/ConvergingText#1"/>
    <dgm:cxn modelId="{2AA30E26-AE1C-41EB-AD47-769B10CAAF6F}" type="presParOf" srcId="{F78D466A-AC8B-44DB-A952-860C25849570}" destId="{571CB195-C8A6-4786-B501-BB3D467EA4E0}" srcOrd="8" destOrd="0" presId="urn:microsoft.com/office/officeart/2011/layout/ConvergingText#1"/>
    <dgm:cxn modelId="{6098F560-20A6-4B8C-B352-BD4A54A36021}" type="presParOf" srcId="{F78D466A-AC8B-44DB-A952-860C25849570}" destId="{556A0A92-4B8E-463D-87F3-B80E845F2C1E}" srcOrd="9" destOrd="0" presId="urn:microsoft.com/office/officeart/2011/layout/ConvergingText#1"/>
    <dgm:cxn modelId="{A8CC2FAD-4B29-438D-B2CF-CB9A76205B47}" type="presParOf" srcId="{F78D466A-AC8B-44DB-A952-860C25849570}" destId="{AFB107FF-C659-4DB1-B9BE-8188A37D8DC8}" srcOrd="10" destOrd="0" presId="urn:microsoft.com/office/officeart/2011/layout/ConvergingText#1"/>
    <dgm:cxn modelId="{0BDE57F9-04E3-4E31-AC9F-32684B6D707C}" type="presParOf" srcId="{241DF5DD-62DA-4419-ADA4-0B2278F8691C}" destId="{030529B2-447C-420F-9317-7F9C4951A463}" srcOrd="3" destOrd="0" presId="urn:microsoft.com/office/officeart/2011/layout/ConvergingText#1"/>
    <dgm:cxn modelId="{D14CE960-2E5E-4BB4-B404-AAC7187F70DA}" type="presParOf" srcId="{241DF5DD-62DA-4419-ADA4-0B2278F8691C}" destId="{2B78224E-7C4F-4F71-9F0E-14E993C44DA3}" srcOrd="4" destOrd="0" presId="urn:microsoft.com/office/officeart/2011/layout/ConvergingText#1"/>
    <dgm:cxn modelId="{1C173739-BC70-4DF8-AEFB-714D57F7D5BB}" type="presParOf" srcId="{2B78224E-7C4F-4F71-9F0E-14E993C44DA3}" destId="{E6E01311-2A35-4B4B-9F9A-4C78CF52097D}" srcOrd="0" destOrd="0" presId="urn:microsoft.com/office/officeart/2011/layout/ConvergingText#1"/>
    <dgm:cxn modelId="{E1724293-E986-4A64-80AF-BC581C8D11EB}" type="presParOf" srcId="{2B78224E-7C4F-4F71-9F0E-14E993C44DA3}" destId="{5FA82CC9-BA7D-402C-BE20-EE113DB59379}" srcOrd="1" destOrd="0" presId="urn:microsoft.com/office/officeart/2011/layout/ConvergingText#1"/>
    <dgm:cxn modelId="{80DB5B8B-D17B-4A1C-8C68-F7E38CBF3956}" type="presParOf" srcId="{2B78224E-7C4F-4F71-9F0E-14E993C44DA3}" destId="{391FACF4-CD9B-4F28-B45D-C85FB2FF71C4}" srcOrd="2" destOrd="0" presId="urn:microsoft.com/office/officeart/2011/layout/ConvergingText#1"/>
    <dgm:cxn modelId="{EC7019F7-1796-4698-A132-B734B8DC5E96}" type="presParOf" srcId="{2B78224E-7C4F-4F71-9F0E-14E993C44DA3}" destId="{A18CA391-211E-4580-9030-F77EC3BA52D1}" srcOrd="3" destOrd="0" presId="urn:microsoft.com/office/officeart/2011/layout/ConvergingText#1"/>
    <dgm:cxn modelId="{10F07CC6-FF8A-4520-B10A-FEBC5E022B22}" type="presParOf" srcId="{2B78224E-7C4F-4F71-9F0E-14E993C44DA3}" destId="{C0FD9EE2-4ABB-4B77-9206-1CC9D53685E5}" srcOrd="4" destOrd="0" presId="urn:microsoft.com/office/officeart/2011/layout/ConvergingText#1"/>
    <dgm:cxn modelId="{1D8E4693-04A2-462E-B85C-CE2A4461D766}" type="presParOf" srcId="{2B78224E-7C4F-4F71-9F0E-14E993C44DA3}" destId="{192FA2CE-C451-4FDA-9819-6A2ACB23B580}" srcOrd="5" destOrd="0" presId="urn:microsoft.com/office/officeart/2011/layout/ConvergingText#1"/>
    <dgm:cxn modelId="{3749EDC9-AA12-4152-A4D7-5F4A02F9083F}" type="presParOf" srcId="{2B78224E-7C4F-4F71-9F0E-14E993C44DA3}" destId="{8AF38A89-1BB1-4CAD-90F3-2C80BAA8E081}" srcOrd="6" destOrd="0" presId="urn:microsoft.com/office/officeart/2011/layout/ConvergingText#1"/>
    <dgm:cxn modelId="{0DB9F872-B3C9-4426-BE5B-C906D54FA067}" type="presParOf" srcId="{2B78224E-7C4F-4F71-9F0E-14E993C44DA3}" destId="{ECD38488-D128-4AAF-8585-4FFC9C1B27BE}" srcOrd="7" destOrd="0" presId="urn:microsoft.com/office/officeart/2011/layout/ConvergingText#1"/>
    <dgm:cxn modelId="{EA544D97-1F47-4D59-A2E4-7878959B3889}" type="presParOf" srcId="{2B78224E-7C4F-4F71-9F0E-14E993C44DA3}" destId="{E10A6F66-50DB-4D50-937C-C19FCCFA12F1}" srcOrd="8" destOrd="0" presId="urn:microsoft.com/office/officeart/2011/layout/ConvergingText#1"/>
    <dgm:cxn modelId="{F6750F75-0683-480A-9EA0-BEBB573CA660}" type="presParOf" srcId="{2B78224E-7C4F-4F71-9F0E-14E993C44DA3}" destId="{C9206137-918F-4CB5-8162-9BB1A4CD0392}" srcOrd="9" destOrd="0" presId="urn:microsoft.com/office/officeart/2011/layout/ConvergingText#1"/>
    <dgm:cxn modelId="{266C24E5-96FA-49F6-998C-0AC7294A2E61}" type="presParOf" srcId="{2B78224E-7C4F-4F71-9F0E-14E993C44DA3}" destId="{DE138595-1446-4B0F-A621-B247549003D3}" srcOrd="10" destOrd="0" presId="urn:microsoft.com/office/officeart/2011/layout/ConvergingTex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292D009-40D7-42CF-962D-C54CF80AC081}" type="doc">
      <dgm:prSet loTypeId="urn:microsoft.com/office/officeart/2005/8/layout/cycle2" loCatId="cycle" qsTypeId="urn:microsoft.com/office/officeart/2005/8/quickstyle/simple4" qsCatId="simple" csTypeId="urn:microsoft.com/office/officeart/2005/8/colors/colorful1#10" csCatId="colorful" phldr="1"/>
      <dgm:spPr/>
      <dgm:t>
        <a:bodyPr/>
        <a:lstStyle/>
        <a:p>
          <a:endParaRPr lang="en-US"/>
        </a:p>
      </dgm:t>
    </dgm:pt>
    <dgm:pt modelId="{80092749-AE99-4DED-9679-F468AECE6E91}">
      <dgm:prSet phldrT="[Text]" custT="1"/>
      <dgm:spPr>
        <a:solidFill>
          <a:schemeClr val="bg1">
            <a:lumMod val="85000"/>
            <a:lumOff val="15000"/>
          </a:schemeClr>
        </a:solidFill>
      </dgm:spPr>
      <dgm:t>
        <a:bodyPr/>
        <a:lstStyle/>
        <a:p>
          <a:pPr>
            <a:spcAft>
              <a:spcPts val="0"/>
            </a:spcAft>
          </a:pPr>
          <a:r>
            <a:rPr lang="en-US" sz="900" dirty="0" smtClean="0"/>
            <a:t>Create Template</a:t>
          </a:r>
          <a:endParaRPr lang="en-US" sz="900" dirty="0"/>
        </a:p>
      </dgm:t>
    </dgm:pt>
    <dgm:pt modelId="{26324C0A-D9E3-4246-B5AB-87113E892C1B}" type="parTrans" cxnId="{BCDD7EE1-ADE1-4370-8D9F-88F71970FAD5}">
      <dgm:prSet/>
      <dgm:spPr/>
      <dgm:t>
        <a:bodyPr/>
        <a:lstStyle/>
        <a:p>
          <a:endParaRPr lang="en-US"/>
        </a:p>
      </dgm:t>
    </dgm:pt>
    <dgm:pt modelId="{58EEA636-C656-4734-9CFE-D14BC80F10B3}" type="sibTrans" cxnId="{BCDD7EE1-ADE1-4370-8D9F-88F71970FAD5}">
      <dgm:prSet/>
      <dgm:spPr/>
      <dgm:t>
        <a:bodyPr/>
        <a:lstStyle/>
        <a:p>
          <a:endParaRPr lang="en-US"/>
        </a:p>
      </dgm:t>
    </dgm:pt>
    <dgm:pt modelId="{BDF70999-1CAD-45EA-8C1E-904EF7CF59F1}">
      <dgm:prSet phldrT="[Text]" custT="1"/>
      <dgm:spPr>
        <a:solidFill>
          <a:schemeClr val="accent5"/>
        </a:solidFill>
      </dgm:spPr>
      <dgm:t>
        <a:bodyPr/>
        <a:lstStyle/>
        <a:p>
          <a:pPr>
            <a:spcAft>
              <a:spcPts val="252"/>
            </a:spcAft>
          </a:pPr>
          <a:r>
            <a:rPr lang="en-US" sz="900" dirty="0" smtClean="0">
              <a:solidFill>
                <a:schemeClr val="tx1"/>
              </a:solidFill>
            </a:rPr>
            <a:t>Deploy</a:t>
          </a:r>
        </a:p>
        <a:p>
          <a:pPr>
            <a:spcAft>
              <a:spcPts val="0"/>
            </a:spcAft>
          </a:pPr>
          <a:r>
            <a:rPr lang="en-US" sz="900" dirty="0" smtClean="0">
              <a:solidFill>
                <a:schemeClr val="tx1"/>
              </a:solidFill>
            </a:rPr>
            <a:t>Service</a:t>
          </a:r>
          <a:endParaRPr lang="en-US" sz="900" dirty="0">
            <a:solidFill>
              <a:schemeClr val="tx1"/>
            </a:solidFill>
          </a:endParaRPr>
        </a:p>
      </dgm:t>
    </dgm:pt>
    <dgm:pt modelId="{B89C59A3-737F-4AEA-9BE0-4147CCA074F1}" type="parTrans" cxnId="{52687B5E-AF8C-4FFA-930E-190529775EB9}">
      <dgm:prSet/>
      <dgm:spPr/>
      <dgm:t>
        <a:bodyPr/>
        <a:lstStyle/>
        <a:p>
          <a:endParaRPr lang="en-US"/>
        </a:p>
      </dgm:t>
    </dgm:pt>
    <dgm:pt modelId="{03F8AFA0-277D-486E-9869-2E956DF34ED9}" type="sibTrans" cxnId="{52687B5E-AF8C-4FFA-930E-190529775EB9}">
      <dgm:prSet/>
      <dgm:spPr>
        <a:solidFill>
          <a:schemeClr val="accent4"/>
        </a:solidFill>
      </dgm:spPr>
      <dgm:t>
        <a:bodyPr/>
        <a:lstStyle/>
        <a:p>
          <a:endParaRPr lang="en-US"/>
        </a:p>
      </dgm:t>
    </dgm:pt>
    <dgm:pt modelId="{A08E6F93-1EDD-4485-9E00-C3A84A66FA52}">
      <dgm:prSet phldrT="[Text]" custT="1"/>
      <dgm:spPr>
        <a:solidFill>
          <a:schemeClr val="bg1">
            <a:lumMod val="85000"/>
            <a:lumOff val="15000"/>
          </a:schemeClr>
        </a:solidFill>
      </dgm:spPr>
      <dgm:t>
        <a:bodyPr/>
        <a:lstStyle/>
        <a:p>
          <a:pPr>
            <a:spcAft>
              <a:spcPts val="0"/>
            </a:spcAft>
          </a:pPr>
          <a:r>
            <a:rPr lang="en-US" sz="900" dirty="0" smtClean="0"/>
            <a:t>Update</a:t>
          </a:r>
        </a:p>
        <a:p>
          <a:pPr>
            <a:spcAft>
              <a:spcPts val="252"/>
            </a:spcAft>
          </a:pPr>
          <a:r>
            <a:rPr lang="en-US" sz="900" dirty="0" smtClean="0"/>
            <a:t>Service</a:t>
          </a:r>
          <a:endParaRPr lang="en-US" sz="900" dirty="0"/>
        </a:p>
      </dgm:t>
    </dgm:pt>
    <dgm:pt modelId="{EDE5A987-F452-4FFC-A2C9-0790B4FFCF52}" type="parTrans" cxnId="{0B2E7325-0C09-4384-A549-EBB6498B3C93}">
      <dgm:prSet/>
      <dgm:spPr/>
      <dgm:t>
        <a:bodyPr/>
        <a:lstStyle/>
        <a:p>
          <a:endParaRPr lang="en-US"/>
        </a:p>
      </dgm:t>
    </dgm:pt>
    <dgm:pt modelId="{1DDE8363-02AB-4368-8D05-E5A70930CFE8}" type="sibTrans" cxnId="{0B2E7325-0C09-4384-A549-EBB6498B3C93}">
      <dgm:prSet/>
      <dgm:spPr>
        <a:solidFill>
          <a:srgbClr val="429A16"/>
        </a:solidFill>
      </dgm:spPr>
      <dgm:t>
        <a:bodyPr/>
        <a:lstStyle/>
        <a:p>
          <a:endParaRPr lang="en-US"/>
        </a:p>
      </dgm:t>
    </dgm:pt>
    <dgm:pt modelId="{CBC3340F-ED87-41D3-B985-51365E8156C5}">
      <dgm:prSet phldrT="[Text]" custT="1"/>
      <dgm:spPr>
        <a:solidFill>
          <a:schemeClr val="bg1">
            <a:lumMod val="85000"/>
            <a:lumOff val="15000"/>
          </a:schemeClr>
        </a:solidFill>
      </dgm:spPr>
      <dgm:t>
        <a:bodyPr/>
        <a:lstStyle/>
        <a:p>
          <a:pPr>
            <a:spcAft>
              <a:spcPts val="0"/>
            </a:spcAft>
          </a:pPr>
          <a:r>
            <a:rPr lang="en-US" sz="700" dirty="0" smtClean="0"/>
            <a:t>Customize</a:t>
          </a:r>
        </a:p>
        <a:p>
          <a:pPr>
            <a:spcAft>
              <a:spcPts val="252"/>
            </a:spcAft>
          </a:pPr>
          <a:r>
            <a:rPr lang="en-US" sz="700" dirty="0" smtClean="0"/>
            <a:t>Deployment</a:t>
          </a:r>
          <a:endParaRPr lang="en-US" sz="700" dirty="0"/>
        </a:p>
      </dgm:t>
    </dgm:pt>
    <dgm:pt modelId="{B266CB51-EB24-4B27-B24A-FC793F819DD9}" type="parTrans" cxnId="{38FD99AE-723E-4144-9DD9-C195DB4D5182}">
      <dgm:prSet/>
      <dgm:spPr/>
      <dgm:t>
        <a:bodyPr/>
        <a:lstStyle/>
        <a:p>
          <a:endParaRPr lang="en-US"/>
        </a:p>
      </dgm:t>
    </dgm:pt>
    <dgm:pt modelId="{A3A0B647-569D-41E2-A3B2-1807D7335D90}" type="sibTrans" cxnId="{38FD99AE-723E-4144-9DD9-C195DB4D5182}">
      <dgm:prSet/>
      <dgm:spPr>
        <a:solidFill>
          <a:schemeClr val="bg2"/>
        </a:solidFill>
      </dgm:spPr>
      <dgm:t>
        <a:bodyPr/>
        <a:lstStyle/>
        <a:p>
          <a:endParaRPr lang="en-US"/>
        </a:p>
      </dgm:t>
    </dgm:pt>
    <dgm:pt modelId="{F2F6AF86-C803-4C82-A69A-F1176C125B3D}" type="pres">
      <dgm:prSet presAssocID="{1292D009-40D7-42CF-962D-C54CF80AC081}" presName="cycle" presStyleCnt="0">
        <dgm:presLayoutVars>
          <dgm:dir/>
          <dgm:resizeHandles val="exact"/>
        </dgm:presLayoutVars>
      </dgm:prSet>
      <dgm:spPr/>
      <dgm:t>
        <a:bodyPr/>
        <a:lstStyle/>
        <a:p>
          <a:endParaRPr lang="en-US"/>
        </a:p>
      </dgm:t>
    </dgm:pt>
    <dgm:pt modelId="{C900B44C-0665-487E-A1BD-91D01AD2D396}" type="pres">
      <dgm:prSet presAssocID="{80092749-AE99-4DED-9679-F468AECE6E91}" presName="node" presStyleLbl="node1" presStyleIdx="0" presStyleCnt="4">
        <dgm:presLayoutVars>
          <dgm:bulletEnabled val="1"/>
        </dgm:presLayoutVars>
      </dgm:prSet>
      <dgm:spPr/>
      <dgm:t>
        <a:bodyPr/>
        <a:lstStyle/>
        <a:p>
          <a:endParaRPr lang="en-US"/>
        </a:p>
      </dgm:t>
    </dgm:pt>
    <dgm:pt modelId="{5FC563DE-4FD5-4170-886F-B98D80D647C4}" type="pres">
      <dgm:prSet presAssocID="{58EEA636-C656-4734-9CFE-D14BC80F10B3}" presName="sibTrans" presStyleLbl="sibTrans2D1" presStyleIdx="0" presStyleCnt="4"/>
      <dgm:spPr/>
      <dgm:t>
        <a:bodyPr/>
        <a:lstStyle/>
        <a:p>
          <a:endParaRPr lang="en-US"/>
        </a:p>
      </dgm:t>
    </dgm:pt>
    <dgm:pt modelId="{5BD93B62-4836-4A9F-A372-EADC7FBCD58F}" type="pres">
      <dgm:prSet presAssocID="{58EEA636-C656-4734-9CFE-D14BC80F10B3}" presName="connectorText" presStyleLbl="sibTrans2D1" presStyleIdx="0" presStyleCnt="4"/>
      <dgm:spPr/>
      <dgm:t>
        <a:bodyPr/>
        <a:lstStyle/>
        <a:p>
          <a:endParaRPr lang="en-US"/>
        </a:p>
      </dgm:t>
    </dgm:pt>
    <dgm:pt modelId="{C4FB7B4C-4EBD-4877-AED2-FE59BF953BCF}" type="pres">
      <dgm:prSet presAssocID="{CBC3340F-ED87-41D3-B985-51365E8156C5}" presName="node" presStyleLbl="node1" presStyleIdx="1" presStyleCnt="4">
        <dgm:presLayoutVars>
          <dgm:bulletEnabled val="1"/>
        </dgm:presLayoutVars>
      </dgm:prSet>
      <dgm:spPr/>
      <dgm:t>
        <a:bodyPr/>
        <a:lstStyle/>
        <a:p>
          <a:endParaRPr lang="en-US"/>
        </a:p>
      </dgm:t>
    </dgm:pt>
    <dgm:pt modelId="{EF8F7655-CAB7-4AED-9904-1CD109C88109}" type="pres">
      <dgm:prSet presAssocID="{A3A0B647-569D-41E2-A3B2-1807D7335D90}" presName="sibTrans" presStyleLbl="sibTrans2D1" presStyleIdx="1" presStyleCnt="4"/>
      <dgm:spPr/>
      <dgm:t>
        <a:bodyPr/>
        <a:lstStyle/>
        <a:p>
          <a:endParaRPr lang="en-US"/>
        </a:p>
      </dgm:t>
    </dgm:pt>
    <dgm:pt modelId="{5F39EAC7-AFCA-4C87-8511-3E46660CA9C1}" type="pres">
      <dgm:prSet presAssocID="{A3A0B647-569D-41E2-A3B2-1807D7335D90}" presName="connectorText" presStyleLbl="sibTrans2D1" presStyleIdx="1" presStyleCnt="4"/>
      <dgm:spPr/>
      <dgm:t>
        <a:bodyPr/>
        <a:lstStyle/>
        <a:p>
          <a:endParaRPr lang="en-US"/>
        </a:p>
      </dgm:t>
    </dgm:pt>
    <dgm:pt modelId="{34B3C88A-837F-43E8-ABA9-9E4A18B983F4}" type="pres">
      <dgm:prSet presAssocID="{BDF70999-1CAD-45EA-8C1E-904EF7CF59F1}" presName="node" presStyleLbl="node1" presStyleIdx="2" presStyleCnt="4">
        <dgm:presLayoutVars>
          <dgm:bulletEnabled val="1"/>
        </dgm:presLayoutVars>
      </dgm:prSet>
      <dgm:spPr/>
      <dgm:t>
        <a:bodyPr/>
        <a:lstStyle/>
        <a:p>
          <a:endParaRPr lang="en-US"/>
        </a:p>
      </dgm:t>
    </dgm:pt>
    <dgm:pt modelId="{619582D5-655D-41AE-88FC-71B7E2499D7B}" type="pres">
      <dgm:prSet presAssocID="{03F8AFA0-277D-486E-9869-2E956DF34ED9}" presName="sibTrans" presStyleLbl="sibTrans2D1" presStyleIdx="2" presStyleCnt="4"/>
      <dgm:spPr/>
      <dgm:t>
        <a:bodyPr/>
        <a:lstStyle/>
        <a:p>
          <a:endParaRPr lang="en-US"/>
        </a:p>
      </dgm:t>
    </dgm:pt>
    <dgm:pt modelId="{DBD51664-66A8-45E5-AB8D-75B87EA02037}" type="pres">
      <dgm:prSet presAssocID="{03F8AFA0-277D-486E-9869-2E956DF34ED9}" presName="connectorText" presStyleLbl="sibTrans2D1" presStyleIdx="2" presStyleCnt="4"/>
      <dgm:spPr/>
      <dgm:t>
        <a:bodyPr/>
        <a:lstStyle/>
        <a:p>
          <a:endParaRPr lang="en-US"/>
        </a:p>
      </dgm:t>
    </dgm:pt>
    <dgm:pt modelId="{C34FD9D0-EBF7-4CDB-A300-2C7A6BC7CC04}" type="pres">
      <dgm:prSet presAssocID="{A08E6F93-1EDD-4485-9E00-C3A84A66FA52}" presName="node" presStyleLbl="node1" presStyleIdx="3" presStyleCnt="4">
        <dgm:presLayoutVars>
          <dgm:bulletEnabled val="1"/>
        </dgm:presLayoutVars>
      </dgm:prSet>
      <dgm:spPr/>
      <dgm:t>
        <a:bodyPr/>
        <a:lstStyle/>
        <a:p>
          <a:endParaRPr lang="en-US"/>
        </a:p>
      </dgm:t>
    </dgm:pt>
    <dgm:pt modelId="{C02A9D62-3E6F-4E32-9A53-E45211348E7A}" type="pres">
      <dgm:prSet presAssocID="{1DDE8363-02AB-4368-8D05-E5A70930CFE8}" presName="sibTrans" presStyleLbl="sibTrans2D1" presStyleIdx="3" presStyleCnt="4"/>
      <dgm:spPr/>
      <dgm:t>
        <a:bodyPr/>
        <a:lstStyle/>
        <a:p>
          <a:endParaRPr lang="en-US"/>
        </a:p>
      </dgm:t>
    </dgm:pt>
    <dgm:pt modelId="{935ADA4A-096D-45D3-AACB-2535F22DE28F}" type="pres">
      <dgm:prSet presAssocID="{1DDE8363-02AB-4368-8D05-E5A70930CFE8}" presName="connectorText" presStyleLbl="sibTrans2D1" presStyleIdx="3" presStyleCnt="4"/>
      <dgm:spPr/>
      <dgm:t>
        <a:bodyPr/>
        <a:lstStyle/>
        <a:p>
          <a:endParaRPr lang="en-US"/>
        </a:p>
      </dgm:t>
    </dgm:pt>
  </dgm:ptLst>
  <dgm:cxnLst>
    <dgm:cxn modelId="{464E837B-872E-4E64-BB66-F9DA210938B2}" type="presOf" srcId="{A08E6F93-1EDD-4485-9E00-C3A84A66FA52}" destId="{C34FD9D0-EBF7-4CDB-A300-2C7A6BC7CC04}" srcOrd="0" destOrd="0" presId="urn:microsoft.com/office/officeart/2005/8/layout/cycle2"/>
    <dgm:cxn modelId="{E37B0480-A3FA-4D34-A3C3-B4210D78CE9D}" type="presOf" srcId="{58EEA636-C656-4734-9CFE-D14BC80F10B3}" destId="{5FC563DE-4FD5-4170-886F-B98D80D647C4}" srcOrd="0" destOrd="0" presId="urn:microsoft.com/office/officeart/2005/8/layout/cycle2"/>
    <dgm:cxn modelId="{38FD99AE-723E-4144-9DD9-C195DB4D5182}" srcId="{1292D009-40D7-42CF-962D-C54CF80AC081}" destId="{CBC3340F-ED87-41D3-B985-51365E8156C5}" srcOrd="1" destOrd="0" parTransId="{B266CB51-EB24-4B27-B24A-FC793F819DD9}" sibTransId="{A3A0B647-569D-41E2-A3B2-1807D7335D90}"/>
    <dgm:cxn modelId="{96EFD018-3099-4E06-AED2-E5D2A66FBAE7}" type="presOf" srcId="{03F8AFA0-277D-486E-9869-2E956DF34ED9}" destId="{DBD51664-66A8-45E5-AB8D-75B87EA02037}" srcOrd="1" destOrd="0" presId="urn:microsoft.com/office/officeart/2005/8/layout/cycle2"/>
    <dgm:cxn modelId="{97702012-79BD-4017-BBA2-7BD24A4ECC0E}" type="presOf" srcId="{1DDE8363-02AB-4368-8D05-E5A70930CFE8}" destId="{935ADA4A-096D-45D3-AACB-2535F22DE28F}" srcOrd="1" destOrd="0" presId="urn:microsoft.com/office/officeart/2005/8/layout/cycle2"/>
    <dgm:cxn modelId="{FBEB5D96-B5FF-4FA3-AB35-2883D851383E}" type="presOf" srcId="{1292D009-40D7-42CF-962D-C54CF80AC081}" destId="{F2F6AF86-C803-4C82-A69A-F1176C125B3D}" srcOrd="0" destOrd="0" presId="urn:microsoft.com/office/officeart/2005/8/layout/cycle2"/>
    <dgm:cxn modelId="{B05A8A35-59A9-4801-A0D9-B0115342CDB4}" type="presOf" srcId="{03F8AFA0-277D-486E-9869-2E956DF34ED9}" destId="{619582D5-655D-41AE-88FC-71B7E2499D7B}" srcOrd="0" destOrd="0" presId="urn:microsoft.com/office/officeart/2005/8/layout/cycle2"/>
    <dgm:cxn modelId="{82D7BB13-7F27-44DC-8EF4-30C2883FC063}" type="presOf" srcId="{1DDE8363-02AB-4368-8D05-E5A70930CFE8}" destId="{C02A9D62-3E6F-4E32-9A53-E45211348E7A}" srcOrd="0" destOrd="0" presId="urn:microsoft.com/office/officeart/2005/8/layout/cycle2"/>
    <dgm:cxn modelId="{294EC2D7-F19F-4BA3-987E-469586D28378}" type="presOf" srcId="{80092749-AE99-4DED-9679-F468AECE6E91}" destId="{C900B44C-0665-487E-A1BD-91D01AD2D396}" srcOrd="0" destOrd="0" presId="urn:microsoft.com/office/officeart/2005/8/layout/cycle2"/>
    <dgm:cxn modelId="{4DC83B04-22C2-41CA-98C9-115870364EE8}" type="presOf" srcId="{CBC3340F-ED87-41D3-B985-51365E8156C5}" destId="{C4FB7B4C-4EBD-4877-AED2-FE59BF953BCF}" srcOrd="0" destOrd="0" presId="urn:microsoft.com/office/officeart/2005/8/layout/cycle2"/>
    <dgm:cxn modelId="{7782E668-613F-466C-8F6C-477A1CF33538}" type="presOf" srcId="{A3A0B647-569D-41E2-A3B2-1807D7335D90}" destId="{EF8F7655-CAB7-4AED-9904-1CD109C88109}" srcOrd="0" destOrd="0" presId="urn:microsoft.com/office/officeart/2005/8/layout/cycle2"/>
    <dgm:cxn modelId="{5C6F709E-9F39-4844-9654-77727F57F9C7}" type="presOf" srcId="{58EEA636-C656-4734-9CFE-D14BC80F10B3}" destId="{5BD93B62-4836-4A9F-A372-EADC7FBCD58F}" srcOrd="1" destOrd="0" presId="urn:microsoft.com/office/officeart/2005/8/layout/cycle2"/>
    <dgm:cxn modelId="{0B2E7325-0C09-4384-A549-EBB6498B3C93}" srcId="{1292D009-40D7-42CF-962D-C54CF80AC081}" destId="{A08E6F93-1EDD-4485-9E00-C3A84A66FA52}" srcOrd="3" destOrd="0" parTransId="{EDE5A987-F452-4FFC-A2C9-0790B4FFCF52}" sibTransId="{1DDE8363-02AB-4368-8D05-E5A70930CFE8}"/>
    <dgm:cxn modelId="{5E6DF619-FD42-4046-BF91-881DDB663CBC}" type="presOf" srcId="{BDF70999-1CAD-45EA-8C1E-904EF7CF59F1}" destId="{34B3C88A-837F-43E8-ABA9-9E4A18B983F4}" srcOrd="0" destOrd="0" presId="urn:microsoft.com/office/officeart/2005/8/layout/cycle2"/>
    <dgm:cxn modelId="{0757E39D-CC78-4D15-90E3-4009A1B43DD4}" type="presOf" srcId="{A3A0B647-569D-41E2-A3B2-1807D7335D90}" destId="{5F39EAC7-AFCA-4C87-8511-3E46660CA9C1}" srcOrd="1" destOrd="0" presId="urn:microsoft.com/office/officeart/2005/8/layout/cycle2"/>
    <dgm:cxn modelId="{52687B5E-AF8C-4FFA-930E-190529775EB9}" srcId="{1292D009-40D7-42CF-962D-C54CF80AC081}" destId="{BDF70999-1CAD-45EA-8C1E-904EF7CF59F1}" srcOrd="2" destOrd="0" parTransId="{B89C59A3-737F-4AEA-9BE0-4147CCA074F1}" sibTransId="{03F8AFA0-277D-486E-9869-2E956DF34ED9}"/>
    <dgm:cxn modelId="{BCDD7EE1-ADE1-4370-8D9F-88F71970FAD5}" srcId="{1292D009-40D7-42CF-962D-C54CF80AC081}" destId="{80092749-AE99-4DED-9679-F468AECE6E91}" srcOrd="0" destOrd="0" parTransId="{26324C0A-D9E3-4246-B5AB-87113E892C1B}" sibTransId="{58EEA636-C656-4734-9CFE-D14BC80F10B3}"/>
    <dgm:cxn modelId="{EA8650D4-7905-469D-B494-67F9D7C5FBCE}" type="presParOf" srcId="{F2F6AF86-C803-4C82-A69A-F1176C125B3D}" destId="{C900B44C-0665-487E-A1BD-91D01AD2D396}" srcOrd="0" destOrd="0" presId="urn:microsoft.com/office/officeart/2005/8/layout/cycle2"/>
    <dgm:cxn modelId="{AD7A238A-68DD-4E0E-A84D-1F6AABD60BA3}" type="presParOf" srcId="{F2F6AF86-C803-4C82-A69A-F1176C125B3D}" destId="{5FC563DE-4FD5-4170-886F-B98D80D647C4}" srcOrd="1" destOrd="0" presId="urn:microsoft.com/office/officeart/2005/8/layout/cycle2"/>
    <dgm:cxn modelId="{CD3565A5-9577-469E-8AED-2A86F7EBAD6A}" type="presParOf" srcId="{5FC563DE-4FD5-4170-886F-B98D80D647C4}" destId="{5BD93B62-4836-4A9F-A372-EADC7FBCD58F}" srcOrd="0" destOrd="0" presId="urn:microsoft.com/office/officeart/2005/8/layout/cycle2"/>
    <dgm:cxn modelId="{38D1BE56-5EFC-4963-8378-099D10C5602F}" type="presParOf" srcId="{F2F6AF86-C803-4C82-A69A-F1176C125B3D}" destId="{C4FB7B4C-4EBD-4877-AED2-FE59BF953BCF}" srcOrd="2" destOrd="0" presId="urn:microsoft.com/office/officeart/2005/8/layout/cycle2"/>
    <dgm:cxn modelId="{BEF976F1-39DC-45E5-8F3A-84E509DD0452}" type="presParOf" srcId="{F2F6AF86-C803-4C82-A69A-F1176C125B3D}" destId="{EF8F7655-CAB7-4AED-9904-1CD109C88109}" srcOrd="3" destOrd="0" presId="urn:microsoft.com/office/officeart/2005/8/layout/cycle2"/>
    <dgm:cxn modelId="{062E2F89-26FD-4FD9-B2F4-26350AF5607B}" type="presParOf" srcId="{EF8F7655-CAB7-4AED-9904-1CD109C88109}" destId="{5F39EAC7-AFCA-4C87-8511-3E46660CA9C1}" srcOrd="0" destOrd="0" presId="urn:microsoft.com/office/officeart/2005/8/layout/cycle2"/>
    <dgm:cxn modelId="{965A1624-5B79-4B5F-9A65-F52EF4A266E2}" type="presParOf" srcId="{F2F6AF86-C803-4C82-A69A-F1176C125B3D}" destId="{34B3C88A-837F-43E8-ABA9-9E4A18B983F4}" srcOrd="4" destOrd="0" presId="urn:microsoft.com/office/officeart/2005/8/layout/cycle2"/>
    <dgm:cxn modelId="{34352250-F658-4E9C-A76A-1CAD1EDA3CCD}" type="presParOf" srcId="{F2F6AF86-C803-4C82-A69A-F1176C125B3D}" destId="{619582D5-655D-41AE-88FC-71B7E2499D7B}" srcOrd="5" destOrd="0" presId="urn:microsoft.com/office/officeart/2005/8/layout/cycle2"/>
    <dgm:cxn modelId="{43542C5A-849E-441A-8F80-2892A55D36DE}" type="presParOf" srcId="{619582D5-655D-41AE-88FC-71B7E2499D7B}" destId="{DBD51664-66A8-45E5-AB8D-75B87EA02037}" srcOrd="0" destOrd="0" presId="urn:microsoft.com/office/officeart/2005/8/layout/cycle2"/>
    <dgm:cxn modelId="{1338E0F6-7EBB-44D3-9F9F-A74EE76DA49C}" type="presParOf" srcId="{F2F6AF86-C803-4C82-A69A-F1176C125B3D}" destId="{C34FD9D0-EBF7-4CDB-A300-2C7A6BC7CC04}" srcOrd="6" destOrd="0" presId="urn:microsoft.com/office/officeart/2005/8/layout/cycle2"/>
    <dgm:cxn modelId="{E0498976-2A85-44D7-B945-805CB9E0FD38}" type="presParOf" srcId="{F2F6AF86-C803-4C82-A69A-F1176C125B3D}" destId="{C02A9D62-3E6F-4E32-9A53-E45211348E7A}" srcOrd="7" destOrd="0" presId="urn:microsoft.com/office/officeart/2005/8/layout/cycle2"/>
    <dgm:cxn modelId="{F174951F-36DC-4EB6-B353-63F385407269}" type="presParOf" srcId="{C02A9D62-3E6F-4E32-9A53-E45211348E7A}" destId="{935ADA4A-096D-45D3-AACB-2535F22DE28F}" srcOrd="0" destOrd="0" presId="urn:microsoft.com/office/officeart/2005/8/layout/cycle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027549B-D892-48A3-953D-24B9967CA53B}"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94D1A9E6-1C74-400E-99C3-A91722A764EB}">
      <dgm:prSet phldrT="[Text]" custT="1"/>
      <dgm:spPr>
        <a:ln>
          <a:noFill/>
        </a:ln>
      </dgm:spPr>
      <dgm:t>
        <a:bodyPr anchor="b"/>
        <a:lstStyle/>
        <a:p>
          <a:pPr algn="l"/>
          <a:r>
            <a:rPr lang="en-US" sz="2800" dirty="0" smtClean="0"/>
            <a:t>Multi-tenancy</a:t>
          </a:r>
          <a:endParaRPr lang="en-US" sz="2800" dirty="0"/>
        </a:p>
      </dgm:t>
    </dgm:pt>
    <dgm:pt modelId="{B7C818F2-EF9C-41BA-A651-CDD5864C2D8E}" type="parTrans" cxnId="{F46DF176-8250-4EE1-BF87-4EF5D598D178}">
      <dgm:prSet/>
      <dgm:spPr/>
      <dgm:t>
        <a:bodyPr/>
        <a:lstStyle/>
        <a:p>
          <a:endParaRPr lang="en-US"/>
        </a:p>
      </dgm:t>
    </dgm:pt>
    <dgm:pt modelId="{6FCB137A-C1FA-4609-B2A3-DCDBC302D1F7}" type="sibTrans" cxnId="{F46DF176-8250-4EE1-BF87-4EF5D598D178}">
      <dgm:prSet/>
      <dgm:spPr/>
      <dgm:t>
        <a:bodyPr/>
        <a:lstStyle/>
        <a:p>
          <a:endParaRPr lang="en-US"/>
        </a:p>
      </dgm:t>
    </dgm:pt>
    <dgm:pt modelId="{D938E0FA-3C31-4336-8029-D93B551E15B3}">
      <dgm:prSet phldrT="[Text]" custT="1"/>
      <dgm:spPr>
        <a:ln>
          <a:noFill/>
        </a:ln>
      </dgm:spPr>
      <dgm:t>
        <a:bodyPr anchor="b"/>
        <a:lstStyle/>
        <a:p>
          <a:pPr algn="l"/>
          <a:r>
            <a:rPr lang="en-US" sz="2800" dirty="0" err="1" smtClean="0">
              <a:solidFill>
                <a:schemeClr val="tx1"/>
              </a:solidFill>
            </a:rPr>
            <a:t>Perf</a:t>
          </a:r>
          <a:r>
            <a:rPr lang="en-US" sz="2800" dirty="0" smtClean="0">
              <a:solidFill>
                <a:schemeClr val="tx1"/>
              </a:solidFill>
            </a:rPr>
            <a:t> and Scale</a:t>
          </a:r>
          <a:endParaRPr lang="en-US" sz="2800" dirty="0">
            <a:solidFill>
              <a:schemeClr val="tx1"/>
            </a:solidFill>
          </a:endParaRPr>
        </a:p>
      </dgm:t>
    </dgm:pt>
    <dgm:pt modelId="{287554FA-9A29-4AC3-9ACA-26D85B389309}" type="parTrans" cxnId="{F8446CCF-70C0-49BF-BD66-19778F924E2B}">
      <dgm:prSet/>
      <dgm:spPr/>
      <dgm:t>
        <a:bodyPr/>
        <a:lstStyle/>
        <a:p>
          <a:endParaRPr lang="en-US"/>
        </a:p>
      </dgm:t>
    </dgm:pt>
    <dgm:pt modelId="{A984CE27-10DE-4F9B-B946-F0183A86D4AD}" type="sibTrans" cxnId="{F8446CCF-70C0-49BF-BD66-19778F924E2B}">
      <dgm:prSet/>
      <dgm:spPr/>
      <dgm:t>
        <a:bodyPr/>
        <a:lstStyle/>
        <a:p>
          <a:endParaRPr lang="en-US"/>
        </a:p>
      </dgm:t>
    </dgm:pt>
    <dgm:pt modelId="{74057236-A843-4A7A-8B60-C9D8D618E639}">
      <dgm:prSet phldrT="[Text]" custT="1"/>
      <dgm:spPr>
        <a:ln>
          <a:noFill/>
        </a:ln>
      </dgm:spPr>
      <dgm:t>
        <a:bodyPr anchor="b"/>
        <a:lstStyle/>
        <a:p>
          <a:pPr algn="l"/>
          <a:r>
            <a:rPr lang="en-US" sz="2800" dirty="0" smtClean="0"/>
            <a:t>Partner Enablement</a:t>
          </a:r>
          <a:endParaRPr lang="en-US" sz="2800" dirty="0"/>
        </a:p>
      </dgm:t>
    </dgm:pt>
    <dgm:pt modelId="{8D834135-1AAC-48E6-A950-A8F0F00BC34D}" type="parTrans" cxnId="{4677B17A-521D-4404-BF66-79A22DAF508F}">
      <dgm:prSet/>
      <dgm:spPr/>
      <dgm:t>
        <a:bodyPr/>
        <a:lstStyle/>
        <a:p>
          <a:endParaRPr lang="en-US"/>
        </a:p>
      </dgm:t>
    </dgm:pt>
    <dgm:pt modelId="{69D33D9D-AD4E-4607-B7AD-662DF52D5931}" type="sibTrans" cxnId="{4677B17A-521D-4404-BF66-79A22DAF508F}">
      <dgm:prSet/>
      <dgm:spPr/>
      <dgm:t>
        <a:bodyPr/>
        <a:lstStyle/>
        <a:p>
          <a:endParaRPr lang="en-US"/>
        </a:p>
      </dgm:t>
    </dgm:pt>
    <dgm:pt modelId="{5F5D3162-2720-46FE-81C7-95C39ACE06C8}">
      <dgm:prSet phldrT="[Text]" custT="1"/>
      <dgm:spPr>
        <a:solidFill>
          <a:schemeClr val="accent4"/>
        </a:solidFill>
        <a:ln>
          <a:noFill/>
        </a:ln>
      </dgm:spPr>
      <dgm:t>
        <a:bodyPr anchor="b"/>
        <a:lstStyle/>
        <a:p>
          <a:pPr algn="l"/>
          <a:r>
            <a:rPr lang="en-US" sz="2800" dirty="0" smtClean="0"/>
            <a:t>Windows Server 2012</a:t>
          </a:r>
          <a:endParaRPr lang="en-US" sz="2800" dirty="0"/>
        </a:p>
      </dgm:t>
    </dgm:pt>
    <dgm:pt modelId="{43B21C02-F23B-473A-83E4-C31C01FEF561}" type="parTrans" cxnId="{B6BE7F35-9210-4C9F-941E-96CCA60332B4}">
      <dgm:prSet/>
      <dgm:spPr/>
      <dgm:t>
        <a:bodyPr/>
        <a:lstStyle/>
        <a:p>
          <a:endParaRPr lang="en-US"/>
        </a:p>
      </dgm:t>
    </dgm:pt>
    <dgm:pt modelId="{045FF58C-81CF-48D1-AC9D-F108877F9099}" type="sibTrans" cxnId="{B6BE7F35-9210-4C9F-941E-96CCA60332B4}">
      <dgm:prSet/>
      <dgm:spPr/>
      <dgm:t>
        <a:bodyPr/>
        <a:lstStyle/>
        <a:p>
          <a:endParaRPr lang="en-US"/>
        </a:p>
      </dgm:t>
    </dgm:pt>
    <dgm:pt modelId="{C30848AA-A1F6-4E2A-8EB3-2B717545A5D0}" type="pres">
      <dgm:prSet presAssocID="{F027549B-D892-48A3-953D-24B9967CA53B}" presName="diagram" presStyleCnt="0">
        <dgm:presLayoutVars>
          <dgm:dir/>
          <dgm:resizeHandles val="exact"/>
        </dgm:presLayoutVars>
      </dgm:prSet>
      <dgm:spPr/>
      <dgm:t>
        <a:bodyPr/>
        <a:lstStyle/>
        <a:p>
          <a:endParaRPr lang="en-US"/>
        </a:p>
      </dgm:t>
    </dgm:pt>
    <dgm:pt modelId="{EF8D9289-2FC2-4510-A9F3-D4A107711195}" type="pres">
      <dgm:prSet presAssocID="{94D1A9E6-1C74-400E-99C3-A91722A764EB}" presName="node" presStyleLbl="node1" presStyleIdx="0" presStyleCnt="4">
        <dgm:presLayoutVars>
          <dgm:bulletEnabled val="1"/>
        </dgm:presLayoutVars>
      </dgm:prSet>
      <dgm:spPr/>
      <dgm:t>
        <a:bodyPr/>
        <a:lstStyle/>
        <a:p>
          <a:endParaRPr lang="en-US"/>
        </a:p>
      </dgm:t>
    </dgm:pt>
    <dgm:pt modelId="{40907AA0-7584-4D89-B75B-E822F2DDC477}" type="pres">
      <dgm:prSet presAssocID="{6FCB137A-C1FA-4609-B2A3-DCDBC302D1F7}" presName="sibTrans" presStyleCnt="0"/>
      <dgm:spPr/>
    </dgm:pt>
    <dgm:pt modelId="{39A0B091-9605-46A8-98A0-A267458D1D53}" type="pres">
      <dgm:prSet presAssocID="{74057236-A843-4A7A-8B60-C9D8D618E639}" presName="node" presStyleLbl="node1" presStyleIdx="1" presStyleCnt="4">
        <dgm:presLayoutVars>
          <dgm:bulletEnabled val="1"/>
        </dgm:presLayoutVars>
      </dgm:prSet>
      <dgm:spPr/>
      <dgm:t>
        <a:bodyPr/>
        <a:lstStyle/>
        <a:p>
          <a:endParaRPr lang="en-US"/>
        </a:p>
      </dgm:t>
    </dgm:pt>
    <dgm:pt modelId="{DDE44777-9E89-4B3F-A897-085269A87615}" type="pres">
      <dgm:prSet presAssocID="{69D33D9D-AD4E-4607-B7AD-662DF52D5931}" presName="sibTrans" presStyleCnt="0"/>
      <dgm:spPr/>
    </dgm:pt>
    <dgm:pt modelId="{91FFD855-38B0-4E70-9697-11A770485479}" type="pres">
      <dgm:prSet presAssocID="{5F5D3162-2720-46FE-81C7-95C39ACE06C8}" presName="node" presStyleLbl="node1" presStyleIdx="2" presStyleCnt="4">
        <dgm:presLayoutVars>
          <dgm:bulletEnabled val="1"/>
        </dgm:presLayoutVars>
      </dgm:prSet>
      <dgm:spPr/>
      <dgm:t>
        <a:bodyPr/>
        <a:lstStyle/>
        <a:p>
          <a:endParaRPr lang="en-US"/>
        </a:p>
      </dgm:t>
    </dgm:pt>
    <dgm:pt modelId="{49CEB64E-9C2D-485E-996B-114FA66340E7}" type="pres">
      <dgm:prSet presAssocID="{045FF58C-81CF-48D1-AC9D-F108877F9099}" presName="sibTrans" presStyleCnt="0"/>
      <dgm:spPr/>
    </dgm:pt>
    <dgm:pt modelId="{77AB1C87-A516-4D82-A84D-4E92C7090C3A}" type="pres">
      <dgm:prSet presAssocID="{D938E0FA-3C31-4336-8029-D93B551E15B3}" presName="node" presStyleLbl="node1" presStyleIdx="3" presStyleCnt="4">
        <dgm:presLayoutVars>
          <dgm:bulletEnabled val="1"/>
        </dgm:presLayoutVars>
      </dgm:prSet>
      <dgm:spPr/>
      <dgm:t>
        <a:bodyPr/>
        <a:lstStyle/>
        <a:p>
          <a:endParaRPr lang="en-US"/>
        </a:p>
      </dgm:t>
    </dgm:pt>
  </dgm:ptLst>
  <dgm:cxnLst>
    <dgm:cxn modelId="{DF8487FC-FFCB-4D3C-9366-5BC04459D34B}" type="presOf" srcId="{5F5D3162-2720-46FE-81C7-95C39ACE06C8}" destId="{91FFD855-38B0-4E70-9697-11A770485479}" srcOrd="0" destOrd="0" presId="urn:microsoft.com/office/officeart/2005/8/layout/default"/>
    <dgm:cxn modelId="{3BFBC6D1-6CC7-4628-8F35-A5E93FE24BAF}" type="presOf" srcId="{F027549B-D892-48A3-953D-24B9967CA53B}" destId="{C30848AA-A1F6-4E2A-8EB3-2B717545A5D0}" srcOrd="0" destOrd="0" presId="urn:microsoft.com/office/officeart/2005/8/layout/default"/>
    <dgm:cxn modelId="{F8446CCF-70C0-49BF-BD66-19778F924E2B}" srcId="{F027549B-D892-48A3-953D-24B9967CA53B}" destId="{D938E0FA-3C31-4336-8029-D93B551E15B3}" srcOrd="3" destOrd="0" parTransId="{287554FA-9A29-4AC3-9ACA-26D85B389309}" sibTransId="{A984CE27-10DE-4F9B-B946-F0183A86D4AD}"/>
    <dgm:cxn modelId="{B6BE7F35-9210-4C9F-941E-96CCA60332B4}" srcId="{F027549B-D892-48A3-953D-24B9967CA53B}" destId="{5F5D3162-2720-46FE-81C7-95C39ACE06C8}" srcOrd="2" destOrd="0" parTransId="{43B21C02-F23B-473A-83E4-C31C01FEF561}" sibTransId="{045FF58C-81CF-48D1-AC9D-F108877F9099}"/>
    <dgm:cxn modelId="{4677B17A-521D-4404-BF66-79A22DAF508F}" srcId="{F027549B-D892-48A3-953D-24B9967CA53B}" destId="{74057236-A843-4A7A-8B60-C9D8D618E639}" srcOrd="1" destOrd="0" parTransId="{8D834135-1AAC-48E6-A950-A8F0F00BC34D}" sibTransId="{69D33D9D-AD4E-4607-B7AD-662DF52D5931}"/>
    <dgm:cxn modelId="{D7EFCF58-EB60-4CF8-9CDB-A3ADD1553932}" type="presOf" srcId="{94D1A9E6-1C74-400E-99C3-A91722A764EB}" destId="{EF8D9289-2FC2-4510-A9F3-D4A107711195}" srcOrd="0" destOrd="0" presId="urn:microsoft.com/office/officeart/2005/8/layout/default"/>
    <dgm:cxn modelId="{F46DF176-8250-4EE1-BF87-4EF5D598D178}" srcId="{F027549B-D892-48A3-953D-24B9967CA53B}" destId="{94D1A9E6-1C74-400E-99C3-A91722A764EB}" srcOrd="0" destOrd="0" parTransId="{B7C818F2-EF9C-41BA-A651-CDD5864C2D8E}" sibTransId="{6FCB137A-C1FA-4609-B2A3-DCDBC302D1F7}"/>
    <dgm:cxn modelId="{84D13656-DE31-4642-9A8F-A9EDA617BD35}" type="presOf" srcId="{D938E0FA-3C31-4336-8029-D93B551E15B3}" destId="{77AB1C87-A516-4D82-A84D-4E92C7090C3A}" srcOrd="0" destOrd="0" presId="urn:microsoft.com/office/officeart/2005/8/layout/default"/>
    <dgm:cxn modelId="{784C0151-8848-4A17-BA23-026B5AFE388F}" type="presOf" srcId="{74057236-A843-4A7A-8B60-C9D8D618E639}" destId="{39A0B091-9605-46A8-98A0-A267458D1D53}" srcOrd="0" destOrd="0" presId="urn:microsoft.com/office/officeart/2005/8/layout/default"/>
    <dgm:cxn modelId="{61C53D57-5F5F-432B-ADE5-9B260FDB5CDF}" type="presParOf" srcId="{C30848AA-A1F6-4E2A-8EB3-2B717545A5D0}" destId="{EF8D9289-2FC2-4510-A9F3-D4A107711195}" srcOrd="0" destOrd="0" presId="urn:microsoft.com/office/officeart/2005/8/layout/default"/>
    <dgm:cxn modelId="{5D5AD6EE-CEC0-4EA9-9B78-C33D775495B0}" type="presParOf" srcId="{C30848AA-A1F6-4E2A-8EB3-2B717545A5D0}" destId="{40907AA0-7584-4D89-B75B-E822F2DDC477}" srcOrd="1" destOrd="0" presId="urn:microsoft.com/office/officeart/2005/8/layout/default"/>
    <dgm:cxn modelId="{90168CF1-DE1C-4CF2-9029-DD4546691233}" type="presParOf" srcId="{C30848AA-A1F6-4E2A-8EB3-2B717545A5D0}" destId="{39A0B091-9605-46A8-98A0-A267458D1D53}" srcOrd="2" destOrd="0" presId="urn:microsoft.com/office/officeart/2005/8/layout/default"/>
    <dgm:cxn modelId="{A0549237-247C-45B4-A858-9397652F1272}" type="presParOf" srcId="{C30848AA-A1F6-4E2A-8EB3-2B717545A5D0}" destId="{DDE44777-9E89-4B3F-A897-085269A87615}" srcOrd="3" destOrd="0" presId="urn:microsoft.com/office/officeart/2005/8/layout/default"/>
    <dgm:cxn modelId="{57616F85-E16C-4738-B91E-D34D407C6CC7}" type="presParOf" srcId="{C30848AA-A1F6-4E2A-8EB3-2B717545A5D0}" destId="{91FFD855-38B0-4E70-9697-11A770485479}" srcOrd="4" destOrd="0" presId="urn:microsoft.com/office/officeart/2005/8/layout/default"/>
    <dgm:cxn modelId="{2F92C808-5481-4E3E-BCDC-BD63F5BF49F4}" type="presParOf" srcId="{C30848AA-A1F6-4E2A-8EB3-2B717545A5D0}" destId="{49CEB64E-9C2D-485E-996B-114FA66340E7}" srcOrd="5" destOrd="0" presId="urn:microsoft.com/office/officeart/2005/8/layout/default"/>
    <dgm:cxn modelId="{26C31CEA-054E-4C82-B5F8-ADA146D9647D}" type="presParOf" srcId="{C30848AA-A1F6-4E2A-8EB3-2B717545A5D0}" destId="{77AB1C87-A516-4D82-A84D-4E92C7090C3A}"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25609F3-02A6-44FE-807D-65B364F8661F}" type="doc">
      <dgm:prSet loTypeId="urn:microsoft.com/office/officeart/2005/8/layout/rings+Icon" loCatId="relationship" qsTypeId="urn:microsoft.com/office/officeart/2005/8/quickstyle/simple1" qsCatId="simple" csTypeId="urn:microsoft.com/office/officeart/2005/8/colors/accent1_2" csCatId="accent1" phldr="1"/>
      <dgm:spPr/>
      <dgm:t>
        <a:bodyPr/>
        <a:lstStyle/>
        <a:p>
          <a:endParaRPr lang="en-US"/>
        </a:p>
      </dgm:t>
    </dgm:pt>
    <dgm:pt modelId="{0D1BAE95-423A-4726-AAB1-171B52B7E1E9}">
      <dgm:prSet custT="1"/>
      <dgm:spPr/>
      <dgm:t>
        <a:bodyPr/>
        <a:lstStyle/>
        <a:p>
          <a:pPr rtl="0"/>
          <a:r>
            <a:rPr lang="en-US" sz="1050" i="1" dirty="0" smtClean="0"/>
            <a:t>Learn new capabilities</a:t>
          </a:r>
          <a:endParaRPr lang="en-US" sz="1050" i="1" dirty="0"/>
        </a:p>
      </dgm:t>
    </dgm:pt>
    <dgm:pt modelId="{4F0AAD20-BD70-4E31-8016-4A6F8E1C46B0}" type="parTrans" cxnId="{AE16E5AD-E234-478F-927F-EFB44B8969BB}">
      <dgm:prSet/>
      <dgm:spPr/>
      <dgm:t>
        <a:bodyPr/>
        <a:lstStyle/>
        <a:p>
          <a:endParaRPr lang="en-US"/>
        </a:p>
      </dgm:t>
    </dgm:pt>
    <dgm:pt modelId="{4DD3136D-B5C0-449D-8D5C-13AF99B97493}" type="sibTrans" cxnId="{AE16E5AD-E234-478F-927F-EFB44B8969BB}">
      <dgm:prSet/>
      <dgm:spPr/>
      <dgm:t>
        <a:bodyPr/>
        <a:lstStyle/>
        <a:p>
          <a:endParaRPr lang="en-US"/>
        </a:p>
      </dgm:t>
    </dgm:pt>
    <dgm:pt modelId="{6423B7BB-1CD7-4A35-83AF-30BA51B82D62}">
      <dgm:prSet custT="1"/>
      <dgm:spPr>
        <a:solidFill>
          <a:schemeClr val="accent3">
            <a:alpha val="0"/>
          </a:schemeClr>
        </a:solidFill>
      </dgm:spPr>
      <dgm:t>
        <a:bodyPr/>
        <a:lstStyle/>
        <a:p>
          <a:pPr rtl="0"/>
          <a:r>
            <a:rPr lang="en-US" sz="1050" i="1" dirty="0" smtClean="0"/>
            <a:t>Incorporate best practices</a:t>
          </a:r>
          <a:endParaRPr lang="en-US" sz="1050" i="1" dirty="0"/>
        </a:p>
      </dgm:t>
    </dgm:pt>
    <dgm:pt modelId="{EC5D2C41-66F3-4016-9878-388D3C315348}" type="parTrans" cxnId="{C8798CDE-7B23-4F37-8BD0-B8D5E357FC67}">
      <dgm:prSet/>
      <dgm:spPr/>
      <dgm:t>
        <a:bodyPr/>
        <a:lstStyle/>
        <a:p>
          <a:endParaRPr lang="en-US"/>
        </a:p>
      </dgm:t>
    </dgm:pt>
    <dgm:pt modelId="{E6D54FB0-E439-4A1A-AFEE-1A500E8B0DEF}" type="sibTrans" cxnId="{C8798CDE-7B23-4F37-8BD0-B8D5E357FC67}">
      <dgm:prSet/>
      <dgm:spPr/>
      <dgm:t>
        <a:bodyPr/>
        <a:lstStyle/>
        <a:p>
          <a:endParaRPr lang="en-US"/>
        </a:p>
      </dgm:t>
    </dgm:pt>
    <dgm:pt modelId="{C8E7043A-130C-44D7-AA43-03E7F25379EC}" type="pres">
      <dgm:prSet presAssocID="{625609F3-02A6-44FE-807D-65B364F8661F}" presName="Name0" presStyleCnt="0">
        <dgm:presLayoutVars>
          <dgm:chMax val="7"/>
          <dgm:dir/>
          <dgm:resizeHandles val="exact"/>
        </dgm:presLayoutVars>
      </dgm:prSet>
      <dgm:spPr/>
      <dgm:t>
        <a:bodyPr/>
        <a:lstStyle/>
        <a:p>
          <a:endParaRPr lang="en-US"/>
        </a:p>
      </dgm:t>
    </dgm:pt>
    <dgm:pt modelId="{4024B039-CEBF-4BCA-A82A-6641BF51F662}" type="pres">
      <dgm:prSet presAssocID="{625609F3-02A6-44FE-807D-65B364F8661F}" presName="ellipse1" presStyleLbl="vennNode1" presStyleIdx="0" presStyleCnt="2" custScaleX="205373" custLinFactNeighborX="-32985" custLinFactNeighborY="10555">
        <dgm:presLayoutVars>
          <dgm:bulletEnabled val="1"/>
        </dgm:presLayoutVars>
      </dgm:prSet>
      <dgm:spPr/>
      <dgm:t>
        <a:bodyPr/>
        <a:lstStyle/>
        <a:p>
          <a:endParaRPr lang="en-US"/>
        </a:p>
      </dgm:t>
    </dgm:pt>
    <dgm:pt modelId="{79DB6466-1E11-47C4-BEFE-D83B212B09BB}" type="pres">
      <dgm:prSet presAssocID="{625609F3-02A6-44FE-807D-65B364F8661F}" presName="ellipse2" presStyleLbl="vennNode1" presStyleIdx="1" presStyleCnt="2" custScaleX="228736" custScaleY="135230" custLinFactNeighborX="95143" custLinFactNeighborY="930">
        <dgm:presLayoutVars>
          <dgm:bulletEnabled val="1"/>
        </dgm:presLayoutVars>
      </dgm:prSet>
      <dgm:spPr/>
      <dgm:t>
        <a:bodyPr/>
        <a:lstStyle/>
        <a:p>
          <a:endParaRPr lang="en-US"/>
        </a:p>
      </dgm:t>
    </dgm:pt>
  </dgm:ptLst>
  <dgm:cxnLst>
    <dgm:cxn modelId="{E3C67A4C-7E2F-4687-9CCF-2D05F1830F48}" type="presOf" srcId="{625609F3-02A6-44FE-807D-65B364F8661F}" destId="{C8E7043A-130C-44D7-AA43-03E7F25379EC}" srcOrd="0" destOrd="0" presId="urn:microsoft.com/office/officeart/2005/8/layout/rings+Icon"/>
    <dgm:cxn modelId="{AE16E5AD-E234-478F-927F-EFB44B8969BB}" srcId="{625609F3-02A6-44FE-807D-65B364F8661F}" destId="{0D1BAE95-423A-4726-AAB1-171B52B7E1E9}" srcOrd="0" destOrd="0" parTransId="{4F0AAD20-BD70-4E31-8016-4A6F8E1C46B0}" sibTransId="{4DD3136D-B5C0-449D-8D5C-13AF99B97493}"/>
    <dgm:cxn modelId="{D51605B0-5D01-45FF-B906-91ED1C0220E6}" type="presOf" srcId="{0D1BAE95-423A-4726-AAB1-171B52B7E1E9}" destId="{4024B039-CEBF-4BCA-A82A-6641BF51F662}" srcOrd="0" destOrd="0" presId="urn:microsoft.com/office/officeart/2005/8/layout/rings+Icon"/>
    <dgm:cxn modelId="{C8798CDE-7B23-4F37-8BD0-B8D5E357FC67}" srcId="{625609F3-02A6-44FE-807D-65B364F8661F}" destId="{6423B7BB-1CD7-4A35-83AF-30BA51B82D62}" srcOrd="1" destOrd="0" parTransId="{EC5D2C41-66F3-4016-9878-388D3C315348}" sibTransId="{E6D54FB0-E439-4A1A-AFEE-1A500E8B0DEF}"/>
    <dgm:cxn modelId="{AA697A3E-923A-41BC-8C01-EE931090546D}" type="presOf" srcId="{6423B7BB-1CD7-4A35-83AF-30BA51B82D62}" destId="{79DB6466-1E11-47C4-BEFE-D83B212B09BB}" srcOrd="0" destOrd="0" presId="urn:microsoft.com/office/officeart/2005/8/layout/rings+Icon"/>
    <dgm:cxn modelId="{BF10A1CC-AF7D-4C6D-83F7-A453224CAE3D}" type="presParOf" srcId="{C8E7043A-130C-44D7-AA43-03E7F25379EC}" destId="{4024B039-CEBF-4BCA-A82A-6641BF51F662}" srcOrd="0" destOrd="0" presId="urn:microsoft.com/office/officeart/2005/8/layout/rings+Icon"/>
    <dgm:cxn modelId="{55D1A560-1AF4-4845-BE2E-F9BC5D7339AA}" type="presParOf" srcId="{C8E7043A-130C-44D7-AA43-03E7F25379EC}" destId="{79DB6466-1E11-47C4-BEFE-D83B212B09BB}" srcOrd="1" destOrd="0" presId="urn:microsoft.com/office/officeart/2005/8/layout/rings+Icon"/>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1923AE7C-2945-41DE-A028-230676DA5EB0}"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A38CD7E1-1EB0-4091-8A53-1A686F915BD2}">
      <dgm:prSet/>
      <dgm:spPr>
        <a:ln>
          <a:noFill/>
        </a:ln>
      </dgm:spPr>
      <dgm:t>
        <a:bodyPr/>
        <a:lstStyle/>
        <a:p>
          <a:pPr rtl="0"/>
          <a:r>
            <a:rPr lang="en-US" dirty="0" smtClean="0"/>
            <a:t>Outlook</a:t>
          </a:r>
          <a:endParaRPr lang="en-US" dirty="0"/>
        </a:p>
      </dgm:t>
    </dgm:pt>
    <dgm:pt modelId="{50FE0604-30B4-41C8-8693-608CA24F185D}" type="parTrans" cxnId="{410D31E8-1C6E-4B3A-93DA-FFAA98CC297B}">
      <dgm:prSet/>
      <dgm:spPr/>
      <dgm:t>
        <a:bodyPr/>
        <a:lstStyle/>
        <a:p>
          <a:endParaRPr lang="en-US"/>
        </a:p>
      </dgm:t>
    </dgm:pt>
    <dgm:pt modelId="{C90A119C-37E4-43A3-BEA2-742994F167A8}" type="sibTrans" cxnId="{410D31E8-1C6E-4B3A-93DA-FFAA98CC297B}">
      <dgm:prSet/>
      <dgm:spPr/>
      <dgm:t>
        <a:bodyPr/>
        <a:lstStyle/>
        <a:p>
          <a:endParaRPr lang="en-US"/>
        </a:p>
      </dgm:t>
    </dgm:pt>
    <dgm:pt modelId="{2C18D294-934D-493C-B00D-A4C81F353EED}">
      <dgm:prSet/>
      <dgm:spPr/>
      <dgm:t>
        <a:bodyPr/>
        <a:lstStyle/>
        <a:p>
          <a:pPr rtl="0"/>
          <a:r>
            <a:rPr lang="en-US" dirty="0" smtClean="0"/>
            <a:t>General Troubleshooting</a:t>
          </a:r>
          <a:endParaRPr lang="en-US" dirty="0"/>
        </a:p>
      </dgm:t>
    </dgm:pt>
    <dgm:pt modelId="{CF38D142-2EE7-4331-A723-1F2DDD69F0E7}" type="parTrans" cxnId="{6F690D56-D03E-4059-8C62-4B4B8874E500}">
      <dgm:prSet/>
      <dgm:spPr/>
      <dgm:t>
        <a:bodyPr/>
        <a:lstStyle/>
        <a:p>
          <a:endParaRPr lang="en-US"/>
        </a:p>
      </dgm:t>
    </dgm:pt>
    <dgm:pt modelId="{8065818A-9CF5-4A0B-8CB8-8924BAC08383}" type="sibTrans" cxnId="{6F690D56-D03E-4059-8C62-4B4B8874E500}">
      <dgm:prSet/>
      <dgm:spPr/>
      <dgm:t>
        <a:bodyPr/>
        <a:lstStyle/>
        <a:p>
          <a:endParaRPr lang="en-US"/>
        </a:p>
      </dgm:t>
    </dgm:pt>
    <dgm:pt modelId="{A638FE37-5665-4D42-A786-A452E8213569}">
      <dgm:prSet/>
      <dgm:spPr/>
      <dgm:t>
        <a:bodyPr/>
        <a:lstStyle/>
        <a:p>
          <a:pPr rtl="0"/>
          <a:r>
            <a:rPr lang="en-US" dirty="0" smtClean="0"/>
            <a:t>Calendar</a:t>
          </a:r>
          <a:endParaRPr lang="en-US" dirty="0"/>
        </a:p>
      </dgm:t>
    </dgm:pt>
    <dgm:pt modelId="{BF74AB16-4264-4180-AA33-63B8BA8EADF5}" type="parTrans" cxnId="{CBC5B37B-8B6E-489E-AC5E-A925876968BD}">
      <dgm:prSet/>
      <dgm:spPr/>
      <dgm:t>
        <a:bodyPr/>
        <a:lstStyle/>
        <a:p>
          <a:endParaRPr lang="en-US"/>
        </a:p>
      </dgm:t>
    </dgm:pt>
    <dgm:pt modelId="{F1C7AC6F-7797-4087-A68E-EBD66390E06F}" type="sibTrans" cxnId="{CBC5B37B-8B6E-489E-AC5E-A925876968BD}">
      <dgm:prSet/>
      <dgm:spPr/>
      <dgm:t>
        <a:bodyPr/>
        <a:lstStyle/>
        <a:p>
          <a:endParaRPr lang="en-US"/>
        </a:p>
      </dgm:t>
    </dgm:pt>
    <dgm:pt modelId="{D5FB5807-76BD-46EA-B4C5-6A460067FAA3}">
      <dgm:prSet/>
      <dgm:spPr/>
      <dgm:t>
        <a:bodyPr/>
        <a:lstStyle/>
        <a:p>
          <a:pPr rtl="0"/>
          <a:r>
            <a:rPr lang="en-US" dirty="0" smtClean="0"/>
            <a:t>Connectivity</a:t>
          </a:r>
          <a:endParaRPr lang="en-US" dirty="0"/>
        </a:p>
      </dgm:t>
    </dgm:pt>
    <dgm:pt modelId="{FD93C873-DB6E-4612-A0C9-A25789B7A6B6}" type="parTrans" cxnId="{EB994002-F371-4AB3-9D09-A1A8F6801EA6}">
      <dgm:prSet/>
      <dgm:spPr/>
      <dgm:t>
        <a:bodyPr/>
        <a:lstStyle/>
        <a:p>
          <a:endParaRPr lang="en-US"/>
        </a:p>
      </dgm:t>
    </dgm:pt>
    <dgm:pt modelId="{02F9BFA8-6888-4364-B857-72F09778480F}" type="sibTrans" cxnId="{EB994002-F371-4AB3-9D09-A1A8F6801EA6}">
      <dgm:prSet/>
      <dgm:spPr/>
      <dgm:t>
        <a:bodyPr/>
        <a:lstStyle/>
        <a:p>
          <a:endParaRPr lang="en-US"/>
        </a:p>
      </dgm:t>
    </dgm:pt>
    <dgm:pt modelId="{7821A99A-A565-40ED-966B-AD10378CCA29}">
      <dgm:prSet/>
      <dgm:spPr/>
      <dgm:t>
        <a:bodyPr/>
        <a:lstStyle/>
        <a:p>
          <a:pPr rtl="0"/>
          <a:r>
            <a:rPr lang="en-US" dirty="0" smtClean="0"/>
            <a:t>OCAT</a:t>
          </a:r>
          <a:endParaRPr lang="en-US" dirty="0"/>
        </a:p>
      </dgm:t>
    </dgm:pt>
    <dgm:pt modelId="{2D2CECC4-63EE-44A4-8047-0798DFCA2191}" type="parTrans" cxnId="{46BAABC4-4FEC-4AB9-A3D1-4A82741709E7}">
      <dgm:prSet/>
      <dgm:spPr/>
      <dgm:t>
        <a:bodyPr/>
        <a:lstStyle/>
        <a:p>
          <a:endParaRPr lang="en-US"/>
        </a:p>
      </dgm:t>
    </dgm:pt>
    <dgm:pt modelId="{5DD464F9-98CB-4693-9040-6131F2C8E848}" type="sibTrans" cxnId="{46BAABC4-4FEC-4AB9-A3D1-4A82741709E7}">
      <dgm:prSet/>
      <dgm:spPr/>
      <dgm:t>
        <a:bodyPr/>
        <a:lstStyle/>
        <a:p>
          <a:endParaRPr lang="en-US"/>
        </a:p>
      </dgm:t>
    </dgm:pt>
    <dgm:pt modelId="{C02C2B06-FBB9-4E1A-9881-500304EA2B1C}">
      <dgm:prSet/>
      <dgm:spPr>
        <a:ln>
          <a:noFill/>
        </a:ln>
      </dgm:spPr>
      <dgm:t>
        <a:bodyPr/>
        <a:lstStyle/>
        <a:p>
          <a:pPr rtl="0"/>
          <a:r>
            <a:rPr lang="en-US" dirty="0" smtClean="0"/>
            <a:t>Word</a:t>
          </a:r>
          <a:endParaRPr lang="en-US" dirty="0"/>
        </a:p>
      </dgm:t>
    </dgm:pt>
    <dgm:pt modelId="{58D9B37D-3F6D-4F12-B7F1-C8F874A88F20}" type="parTrans" cxnId="{CE4D1DF3-2647-40E1-8AFE-75C05F2AC29D}">
      <dgm:prSet/>
      <dgm:spPr/>
      <dgm:t>
        <a:bodyPr/>
        <a:lstStyle/>
        <a:p>
          <a:endParaRPr lang="en-US"/>
        </a:p>
      </dgm:t>
    </dgm:pt>
    <dgm:pt modelId="{AC688211-7984-44C5-8D6B-6507782B88B7}" type="sibTrans" cxnId="{CE4D1DF3-2647-40E1-8AFE-75C05F2AC29D}">
      <dgm:prSet/>
      <dgm:spPr/>
      <dgm:t>
        <a:bodyPr/>
        <a:lstStyle/>
        <a:p>
          <a:endParaRPr lang="en-US"/>
        </a:p>
      </dgm:t>
    </dgm:pt>
    <dgm:pt modelId="{4A8CD2EF-813A-4892-B8BE-2A618E70FB9E}">
      <dgm:prSet/>
      <dgm:spPr>
        <a:ln>
          <a:noFill/>
        </a:ln>
      </dgm:spPr>
      <dgm:t>
        <a:bodyPr/>
        <a:lstStyle/>
        <a:p>
          <a:pPr rtl="0"/>
          <a:r>
            <a:rPr lang="en-US" dirty="0" smtClean="0"/>
            <a:t>Excel</a:t>
          </a:r>
          <a:endParaRPr lang="en-US" dirty="0"/>
        </a:p>
      </dgm:t>
    </dgm:pt>
    <dgm:pt modelId="{05D02E7E-CC1C-4675-8B73-99A6B0E236E8}" type="parTrans" cxnId="{3A5E17BD-328A-40BB-9E7F-2A6205AFB666}">
      <dgm:prSet/>
      <dgm:spPr/>
      <dgm:t>
        <a:bodyPr/>
        <a:lstStyle/>
        <a:p>
          <a:endParaRPr lang="en-US"/>
        </a:p>
      </dgm:t>
    </dgm:pt>
    <dgm:pt modelId="{BFD0985B-14E9-4FE3-A579-A22C3814A7A9}" type="sibTrans" cxnId="{3A5E17BD-328A-40BB-9E7F-2A6205AFB666}">
      <dgm:prSet/>
      <dgm:spPr/>
      <dgm:t>
        <a:bodyPr/>
        <a:lstStyle/>
        <a:p>
          <a:endParaRPr lang="en-US"/>
        </a:p>
      </dgm:t>
    </dgm:pt>
    <dgm:pt modelId="{354FAE82-20FE-4FB6-95DC-12E75DD5F0DA}">
      <dgm:prSet/>
      <dgm:spPr>
        <a:ln>
          <a:noFill/>
        </a:ln>
      </dgm:spPr>
      <dgm:t>
        <a:bodyPr/>
        <a:lstStyle/>
        <a:p>
          <a:pPr rtl="0"/>
          <a:r>
            <a:rPr lang="en-US" dirty="0" smtClean="0"/>
            <a:t>PowerPoint</a:t>
          </a:r>
          <a:endParaRPr lang="en-US" dirty="0"/>
        </a:p>
      </dgm:t>
    </dgm:pt>
    <dgm:pt modelId="{54B86629-65B0-4844-97EC-CFA92B1C486C}" type="parTrans" cxnId="{7A8E3D2C-6025-40B6-8973-AE17A3CC4A62}">
      <dgm:prSet/>
      <dgm:spPr/>
      <dgm:t>
        <a:bodyPr/>
        <a:lstStyle/>
        <a:p>
          <a:endParaRPr lang="en-US"/>
        </a:p>
      </dgm:t>
    </dgm:pt>
    <dgm:pt modelId="{03997D71-E6E2-4A31-9FD5-561B236A239B}" type="sibTrans" cxnId="{7A8E3D2C-6025-40B6-8973-AE17A3CC4A62}">
      <dgm:prSet/>
      <dgm:spPr/>
      <dgm:t>
        <a:bodyPr/>
        <a:lstStyle/>
        <a:p>
          <a:endParaRPr lang="en-US"/>
        </a:p>
      </dgm:t>
    </dgm:pt>
    <dgm:pt modelId="{5C9D48E2-4D2C-4421-AB39-E28E7B62B5B6}">
      <dgm:prSet/>
      <dgm:spPr>
        <a:ln>
          <a:noFill/>
        </a:ln>
      </dgm:spPr>
      <dgm:t>
        <a:bodyPr/>
        <a:lstStyle/>
        <a:p>
          <a:pPr rtl="0"/>
          <a:r>
            <a:rPr lang="en-US" dirty="0" smtClean="0"/>
            <a:t>Q&amp;A</a:t>
          </a:r>
          <a:endParaRPr lang="en-US" dirty="0"/>
        </a:p>
      </dgm:t>
    </dgm:pt>
    <dgm:pt modelId="{89467281-A613-488D-9253-54D0F6AD5D23}" type="parTrans" cxnId="{6C2B10C9-6F9B-4BF2-AB5A-BBEA7C6C30BC}">
      <dgm:prSet/>
      <dgm:spPr/>
      <dgm:t>
        <a:bodyPr/>
        <a:lstStyle/>
        <a:p>
          <a:endParaRPr lang="en-US"/>
        </a:p>
      </dgm:t>
    </dgm:pt>
    <dgm:pt modelId="{C3B5E826-E52E-4BB3-BC9F-76212DC5D4D8}" type="sibTrans" cxnId="{6C2B10C9-6F9B-4BF2-AB5A-BBEA7C6C30BC}">
      <dgm:prSet/>
      <dgm:spPr/>
      <dgm:t>
        <a:bodyPr/>
        <a:lstStyle/>
        <a:p>
          <a:endParaRPr lang="en-US"/>
        </a:p>
      </dgm:t>
    </dgm:pt>
    <dgm:pt modelId="{EA45A371-7B30-4319-B8DD-4564A8BFD777}" type="pres">
      <dgm:prSet presAssocID="{1923AE7C-2945-41DE-A028-230676DA5EB0}" presName="linear" presStyleCnt="0">
        <dgm:presLayoutVars>
          <dgm:animLvl val="lvl"/>
          <dgm:resizeHandles val="exact"/>
        </dgm:presLayoutVars>
      </dgm:prSet>
      <dgm:spPr/>
      <dgm:t>
        <a:bodyPr/>
        <a:lstStyle/>
        <a:p>
          <a:endParaRPr lang="en-US"/>
        </a:p>
      </dgm:t>
    </dgm:pt>
    <dgm:pt modelId="{584BB390-7EBC-4B60-A10A-F100010DEC31}" type="pres">
      <dgm:prSet presAssocID="{A38CD7E1-1EB0-4091-8A53-1A686F915BD2}" presName="parentText" presStyleLbl="node1" presStyleIdx="0" presStyleCnt="5">
        <dgm:presLayoutVars>
          <dgm:chMax val="0"/>
          <dgm:bulletEnabled val="1"/>
        </dgm:presLayoutVars>
      </dgm:prSet>
      <dgm:spPr>
        <a:prstGeom prst="rect">
          <a:avLst/>
        </a:prstGeom>
      </dgm:spPr>
      <dgm:t>
        <a:bodyPr/>
        <a:lstStyle/>
        <a:p>
          <a:endParaRPr lang="en-US"/>
        </a:p>
      </dgm:t>
    </dgm:pt>
    <dgm:pt modelId="{A53216FF-F637-4E9A-BEFA-465DE4723971}" type="pres">
      <dgm:prSet presAssocID="{A38CD7E1-1EB0-4091-8A53-1A686F915BD2}" presName="childText" presStyleLbl="revTx" presStyleIdx="0" presStyleCnt="1">
        <dgm:presLayoutVars>
          <dgm:bulletEnabled val="1"/>
        </dgm:presLayoutVars>
      </dgm:prSet>
      <dgm:spPr/>
      <dgm:t>
        <a:bodyPr/>
        <a:lstStyle/>
        <a:p>
          <a:endParaRPr lang="en-US"/>
        </a:p>
      </dgm:t>
    </dgm:pt>
    <dgm:pt modelId="{013FC9F1-DDC2-453F-88BE-1E29CB18DF10}" type="pres">
      <dgm:prSet presAssocID="{C02C2B06-FBB9-4E1A-9881-500304EA2B1C}" presName="parentText" presStyleLbl="node1" presStyleIdx="1" presStyleCnt="5">
        <dgm:presLayoutVars>
          <dgm:chMax val="0"/>
          <dgm:bulletEnabled val="1"/>
        </dgm:presLayoutVars>
      </dgm:prSet>
      <dgm:spPr>
        <a:prstGeom prst="rect">
          <a:avLst/>
        </a:prstGeom>
      </dgm:spPr>
      <dgm:t>
        <a:bodyPr/>
        <a:lstStyle/>
        <a:p>
          <a:endParaRPr lang="en-US"/>
        </a:p>
      </dgm:t>
    </dgm:pt>
    <dgm:pt modelId="{5382540C-E64C-4228-BD50-311A6A7D2CF9}" type="pres">
      <dgm:prSet presAssocID="{AC688211-7984-44C5-8D6B-6507782B88B7}" presName="spacer" presStyleCnt="0"/>
      <dgm:spPr/>
    </dgm:pt>
    <dgm:pt modelId="{9B9DF69D-B157-4412-9207-7FD68CC341FB}" type="pres">
      <dgm:prSet presAssocID="{4A8CD2EF-813A-4892-B8BE-2A618E70FB9E}" presName="parentText" presStyleLbl="node1" presStyleIdx="2" presStyleCnt="5">
        <dgm:presLayoutVars>
          <dgm:chMax val="0"/>
          <dgm:bulletEnabled val="1"/>
        </dgm:presLayoutVars>
      </dgm:prSet>
      <dgm:spPr>
        <a:prstGeom prst="rect">
          <a:avLst/>
        </a:prstGeom>
      </dgm:spPr>
      <dgm:t>
        <a:bodyPr/>
        <a:lstStyle/>
        <a:p>
          <a:endParaRPr lang="en-US"/>
        </a:p>
      </dgm:t>
    </dgm:pt>
    <dgm:pt modelId="{8D083BDE-DE82-4A55-821B-C522496F6A48}" type="pres">
      <dgm:prSet presAssocID="{BFD0985B-14E9-4FE3-A579-A22C3814A7A9}" presName="spacer" presStyleCnt="0"/>
      <dgm:spPr/>
    </dgm:pt>
    <dgm:pt modelId="{74222B8B-39AA-4024-B387-760ED93D0805}" type="pres">
      <dgm:prSet presAssocID="{354FAE82-20FE-4FB6-95DC-12E75DD5F0DA}" presName="parentText" presStyleLbl="node1" presStyleIdx="3" presStyleCnt="5">
        <dgm:presLayoutVars>
          <dgm:chMax val="0"/>
          <dgm:bulletEnabled val="1"/>
        </dgm:presLayoutVars>
      </dgm:prSet>
      <dgm:spPr>
        <a:prstGeom prst="rect">
          <a:avLst/>
        </a:prstGeom>
      </dgm:spPr>
      <dgm:t>
        <a:bodyPr/>
        <a:lstStyle/>
        <a:p>
          <a:endParaRPr lang="en-US"/>
        </a:p>
      </dgm:t>
    </dgm:pt>
    <dgm:pt modelId="{59CEC0A4-94EC-4381-8CC7-72F5056C149A}" type="pres">
      <dgm:prSet presAssocID="{03997D71-E6E2-4A31-9FD5-561B236A239B}" presName="spacer" presStyleCnt="0"/>
      <dgm:spPr/>
    </dgm:pt>
    <dgm:pt modelId="{B6EDE3B8-36DC-406A-AB21-FE53918BC600}" type="pres">
      <dgm:prSet presAssocID="{5C9D48E2-4D2C-4421-AB39-E28E7B62B5B6}" presName="parentText" presStyleLbl="node1" presStyleIdx="4" presStyleCnt="5">
        <dgm:presLayoutVars>
          <dgm:chMax val="0"/>
          <dgm:bulletEnabled val="1"/>
        </dgm:presLayoutVars>
      </dgm:prSet>
      <dgm:spPr>
        <a:prstGeom prst="rect">
          <a:avLst/>
        </a:prstGeom>
      </dgm:spPr>
      <dgm:t>
        <a:bodyPr/>
        <a:lstStyle/>
        <a:p>
          <a:endParaRPr lang="en-US"/>
        </a:p>
      </dgm:t>
    </dgm:pt>
  </dgm:ptLst>
  <dgm:cxnLst>
    <dgm:cxn modelId="{DA779DA3-B6C5-4AE0-A4C7-D0DD2C8C5B4E}" type="presOf" srcId="{D5FB5807-76BD-46EA-B4C5-6A460067FAA3}" destId="{A53216FF-F637-4E9A-BEFA-465DE4723971}" srcOrd="0" destOrd="2" presId="urn:microsoft.com/office/officeart/2005/8/layout/vList2"/>
    <dgm:cxn modelId="{D9ECF0C5-E5AC-436F-9817-EC320A7CB1EA}" type="presOf" srcId="{A638FE37-5665-4D42-A786-A452E8213569}" destId="{A53216FF-F637-4E9A-BEFA-465DE4723971}" srcOrd="0" destOrd="1" presId="urn:microsoft.com/office/officeart/2005/8/layout/vList2"/>
    <dgm:cxn modelId="{017D2915-C844-4BD6-B621-4C09DED2AD73}" type="presOf" srcId="{A38CD7E1-1EB0-4091-8A53-1A686F915BD2}" destId="{584BB390-7EBC-4B60-A10A-F100010DEC31}" srcOrd="0" destOrd="0" presId="urn:microsoft.com/office/officeart/2005/8/layout/vList2"/>
    <dgm:cxn modelId="{AA6CA9EB-DF7A-4695-92A0-61BFE2B912FB}" type="presOf" srcId="{5C9D48E2-4D2C-4421-AB39-E28E7B62B5B6}" destId="{B6EDE3B8-36DC-406A-AB21-FE53918BC600}" srcOrd="0" destOrd="0" presId="urn:microsoft.com/office/officeart/2005/8/layout/vList2"/>
    <dgm:cxn modelId="{077625DC-87B2-4242-9901-80834F2AB32D}" type="presOf" srcId="{354FAE82-20FE-4FB6-95DC-12E75DD5F0DA}" destId="{74222B8B-39AA-4024-B387-760ED93D0805}" srcOrd="0" destOrd="0" presId="urn:microsoft.com/office/officeart/2005/8/layout/vList2"/>
    <dgm:cxn modelId="{CBC5B37B-8B6E-489E-AC5E-A925876968BD}" srcId="{A38CD7E1-1EB0-4091-8A53-1A686F915BD2}" destId="{A638FE37-5665-4D42-A786-A452E8213569}" srcOrd="1" destOrd="0" parTransId="{BF74AB16-4264-4180-AA33-63B8BA8EADF5}" sibTransId="{F1C7AC6F-7797-4087-A68E-EBD66390E06F}"/>
    <dgm:cxn modelId="{CE4D1DF3-2647-40E1-8AFE-75C05F2AC29D}" srcId="{1923AE7C-2945-41DE-A028-230676DA5EB0}" destId="{C02C2B06-FBB9-4E1A-9881-500304EA2B1C}" srcOrd="1" destOrd="0" parTransId="{58D9B37D-3F6D-4F12-B7F1-C8F874A88F20}" sibTransId="{AC688211-7984-44C5-8D6B-6507782B88B7}"/>
    <dgm:cxn modelId="{410D31E8-1C6E-4B3A-93DA-FFAA98CC297B}" srcId="{1923AE7C-2945-41DE-A028-230676DA5EB0}" destId="{A38CD7E1-1EB0-4091-8A53-1A686F915BD2}" srcOrd="0" destOrd="0" parTransId="{50FE0604-30B4-41C8-8693-608CA24F185D}" sibTransId="{C90A119C-37E4-43A3-BEA2-742994F167A8}"/>
    <dgm:cxn modelId="{6A572748-0302-47E5-8435-4F00AB2811AF}" type="presOf" srcId="{1923AE7C-2945-41DE-A028-230676DA5EB0}" destId="{EA45A371-7B30-4319-B8DD-4564A8BFD777}" srcOrd="0" destOrd="0" presId="urn:microsoft.com/office/officeart/2005/8/layout/vList2"/>
    <dgm:cxn modelId="{0D72DEBE-917A-4454-9FF9-8AE7FF9EAA5E}" type="presOf" srcId="{7821A99A-A565-40ED-966B-AD10378CCA29}" destId="{A53216FF-F637-4E9A-BEFA-465DE4723971}" srcOrd="0" destOrd="3" presId="urn:microsoft.com/office/officeart/2005/8/layout/vList2"/>
    <dgm:cxn modelId="{3A5E17BD-328A-40BB-9E7F-2A6205AFB666}" srcId="{1923AE7C-2945-41DE-A028-230676DA5EB0}" destId="{4A8CD2EF-813A-4892-B8BE-2A618E70FB9E}" srcOrd="2" destOrd="0" parTransId="{05D02E7E-CC1C-4675-8B73-99A6B0E236E8}" sibTransId="{BFD0985B-14E9-4FE3-A579-A22C3814A7A9}"/>
    <dgm:cxn modelId="{774E846B-088B-432B-B881-4A569E2091A7}" type="presOf" srcId="{C02C2B06-FBB9-4E1A-9881-500304EA2B1C}" destId="{013FC9F1-DDC2-453F-88BE-1E29CB18DF10}" srcOrd="0" destOrd="0" presId="urn:microsoft.com/office/officeart/2005/8/layout/vList2"/>
    <dgm:cxn modelId="{6F690D56-D03E-4059-8C62-4B4B8874E500}" srcId="{A38CD7E1-1EB0-4091-8A53-1A686F915BD2}" destId="{2C18D294-934D-493C-B00D-A4C81F353EED}" srcOrd="0" destOrd="0" parTransId="{CF38D142-2EE7-4331-A723-1F2DDD69F0E7}" sibTransId="{8065818A-9CF5-4A0B-8CB8-8924BAC08383}"/>
    <dgm:cxn modelId="{EB994002-F371-4AB3-9D09-A1A8F6801EA6}" srcId="{A38CD7E1-1EB0-4091-8A53-1A686F915BD2}" destId="{D5FB5807-76BD-46EA-B4C5-6A460067FAA3}" srcOrd="2" destOrd="0" parTransId="{FD93C873-DB6E-4612-A0C9-A25789B7A6B6}" sibTransId="{02F9BFA8-6888-4364-B857-72F09778480F}"/>
    <dgm:cxn modelId="{7A8E3D2C-6025-40B6-8973-AE17A3CC4A62}" srcId="{1923AE7C-2945-41DE-A028-230676DA5EB0}" destId="{354FAE82-20FE-4FB6-95DC-12E75DD5F0DA}" srcOrd="3" destOrd="0" parTransId="{54B86629-65B0-4844-97EC-CFA92B1C486C}" sibTransId="{03997D71-E6E2-4A31-9FD5-561B236A239B}"/>
    <dgm:cxn modelId="{344529A9-9243-4F21-89EA-B2048D76DDDD}" type="presOf" srcId="{2C18D294-934D-493C-B00D-A4C81F353EED}" destId="{A53216FF-F637-4E9A-BEFA-465DE4723971}" srcOrd="0" destOrd="0" presId="urn:microsoft.com/office/officeart/2005/8/layout/vList2"/>
    <dgm:cxn modelId="{D80BDD0B-D5B5-4054-A624-B9287D27C53D}" type="presOf" srcId="{4A8CD2EF-813A-4892-B8BE-2A618E70FB9E}" destId="{9B9DF69D-B157-4412-9207-7FD68CC341FB}" srcOrd="0" destOrd="0" presId="urn:microsoft.com/office/officeart/2005/8/layout/vList2"/>
    <dgm:cxn modelId="{6C2B10C9-6F9B-4BF2-AB5A-BBEA7C6C30BC}" srcId="{1923AE7C-2945-41DE-A028-230676DA5EB0}" destId="{5C9D48E2-4D2C-4421-AB39-E28E7B62B5B6}" srcOrd="4" destOrd="0" parTransId="{89467281-A613-488D-9253-54D0F6AD5D23}" sibTransId="{C3B5E826-E52E-4BB3-BC9F-76212DC5D4D8}"/>
    <dgm:cxn modelId="{46BAABC4-4FEC-4AB9-A3D1-4A82741709E7}" srcId="{A38CD7E1-1EB0-4091-8A53-1A686F915BD2}" destId="{7821A99A-A565-40ED-966B-AD10378CCA29}" srcOrd="3" destOrd="0" parTransId="{2D2CECC4-63EE-44A4-8047-0798DFCA2191}" sibTransId="{5DD464F9-98CB-4693-9040-6131F2C8E848}"/>
    <dgm:cxn modelId="{FA478A3C-AC57-4805-B677-FF54C7AA7B3C}" type="presParOf" srcId="{EA45A371-7B30-4319-B8DD-4564A8BFD777}" destId="{584BB390-7EBC-4B60-A10A-F100010DEC31}" srcOrd="0" destOrd="0" presId="urn:microsoft.com/office/officeart/2005/8/layout/vList2"/>
    <dgm:cxn modelId="{C1A902FF-5B30-479D-BD89-0F32E6D1D28F}" type="presParOf" srcId="{EA45A371-7B30-4319-B8DD-4564A8BFD777}" destId="{A53216FF-F637-4E9A-BEFA-465DE4723971}" srcOrd="1" destOrd="0" presId="urn:microsoft.com/office/officeart/2005/8/layout/vList2"/>
    <dgm:cxn modelId="{B052280E-CB9A-4866-ADC8-2028B32C928A}" type="presParOf" srcId="{EA45A371-7B30-4319-B8DD-4564A8BFD777}" destId="{013FC9F1-DDC2-453F-88BE-1E29CB18DF10}" srcOrd="2" destOrd="0" presId="urn:microsoft.com/office/officeart/2005/8/layout/vList2"/>
    <dgm:cxn modelId="{14A90859-2784-4AFF-8768-7E88E0E98489}" type="presParOf" srcId="{EA45A371-7B30-4319-B8DD-4564A8BFD777}" destId="{5382540C-E64C-4228-BD50-311A6A7D2CF9}" srcOrd="3" destOrd="0" presId="urn:microsoft.com/office/officeart/2005/8/layout/vList2"/>
    <dgm:cxn modelId="{367B4997-C0F9-46DC-AB0D-544B720C822C}" type="presParOf" srcId="{EA45A371-7B30-4319-B8DD-4564A8BFD777}" destId="{9B9DF69D-B157-4412-9207-7FD68CC341FB}" srcOrd="4" destOrd="0" presId="urn:microsoft.com/office/officeart/2005/8/layout/vList2"/>
    <dgm:cxn modelId="{124665B9-CC51-4BC1-B050-A2DD58510653}" type="presParOf" srcId="{EA45A371-7B30-4319-B8DD-4564A8BFD777}" destId="{8D083BDE-DE82-4A55-821B-C522496F6A48}" srcOrd="5" destOrd="0" presId="urn:microsoft.com/office/officeart/2005/8/layout/vList2"/>
    <dgm:cxn modelId="{D7FB803F-D5B8-4B32-948A-C6524869ACE0}" type="presParOf" srcId="{EA45A371-7B30-4319-B8DD-4564A8BFD777}" destId="{74222B8B-39AA-4024-B387-760ED93D0805}" srcOrd="6" destOrd="0" presId="urn:microsoft.com/office/officeart/2005/8/layout/vList2"/>
    <dgm:cxn modelId="{3A152FD9-DB5A-41DF-AB80-63372C40F002}" type="presParOf" srcId="{EA45A371-7B30-4319-B8DD-4564A8BFD777}" destId="{59CEC0A4-94EC-4381-8CC7-72F5056C149A}" srcOrd="7" destOrd="0" presId="urn:microsoft.com/office/officeart/2005/8/layout/vList2"/>
    <dgm:cxn modelId="{8AC28D48-3C60-4BF1-815D-56B164758067}" type="presParOf" srcId="{EA45A371-7B30-4319-B8DD-4564A8BFD777}" destId="{B6EDE3B8-36DC-406A-AB21-FE53918BC600}" srcOrd="8"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084B23CA-C9AC-4804-BE24-73308489F2EA}" type="doc">
      <dgm:prSet loTypeId="urn:microsoft.com/office/officeart/2009/layout/CircleArrowProcess" loCatId="cycle" qsTypeId="urn:microsoft.com/office/officeart/2005/8/quickstyle/simple1" qsCatId="simple" csTypeId="urn:microsoft.com/office/officeart/2005/8/colors/accent2_1" csCatId="accent2" phldr="1"/>
      <dgm:spPr/>
      <dgm:t>
        <a:bodyPr/>
        <a:lstStyle/>
        <a:p>
          <a:endParaRPr lang="en-US"/>
        </a:p>
      </dgm:t>
    </dgm:pt>
    <dgm:pt modelId="{8F13456C-8BF3-43BC-9D1E-9DED6892A203}">
      <dgm:prSet phldrT="[Text]"/>
      <dgm:spPr/>
      <dgm:t>
        <a:bodyPr/>
        <a:lstStyle/>
        <a:p>
          <a:r>
            <a:rPr lang="en-US" dirty="0" smtClean="0"/>
            <a:t>Protect and Manage Threats</a:t>
          </a:r>
          <a:endParaRPr lang="en-US" dirty="0"/>
        </a:p>
      </dgm:t>
    </dgm:pt>
    <dgm:pt modelId="{B8D2576C-E3EA-4E5C-93D6-F0F78845EB2A}" type="parTrans" cxnId="{0E1BAF21-CC59-4CCB-B5FA-CAD76E03009D}">
      <dgm:prSet/>
      <dgm:spPr/>
      <dgm:t>
        <a:bodyPr/>
        <a:lstStyle/>
        <a:p>
          <a:endParaRPr lang="en-US"/>
        </a:p>
      </dgm:t>
    </dgm:pt>
    <dgm:pt modelId="{E3EDC9AF-B5DB-4F99-B15F-8F8812920278}" type="sibTrans" cxnId="{0E1BAF21-CC59-4CCB-B5FA-CAD76E03009D}">
      <dgm:prSet/>
      <dgm:spPr/>
      <dgm:t>
        <a:bodyPr/>
        <a:lstStyle/>
        <a:p>
          <a:endParaRPr lang="en-US"/>
        </a:p>
      </dgm:t>
    </dgm:pt>
    <dgm:pt modelId="{B0059E3C-2052-48C6-B6DF-09927C64DEEF}">
      <dgm:prSet phldrT="[Text]"/>
      <dgm:spPr/>
      <dgm:t>
        <a:bodyPr/>
        <a:lstStyle/>
        <a:p>
          <a:r>
            <a:rPr lang="en-US" dirty="0" smtClean="0"/>
            <a:t>Protect Sensitive Data</a:t>
          </a:r>
          <a:endParaRPr lang="en-US" dirty="0"/>
        </a:p>
      </dgm:t>
    </dgm:pt>
    <dgm:pt modelId="{3DB835A0-027C-4E05-89B4-82BA773E6461}" type="parTrans" cxnId="{9B0A2B54-D800-4314-AD61-C68DC7A768B3}">
      <dgm:prSet/>
      <dgm:spPr/>
      <dgm:t>
        <a:bodyPr/>
        <a:lstStyle/>
        <a:p>
          <a:endParaRPr lang="en-US"/>
        </a:p>
      </dgm:t>
    </dgm:pt>
    <dgm:pt modelId="{7F6D62A3-3947-437F-AD02-8AB42164386B}" type="sibTrans" cxnId="{9B0A2B54-D800-4314-AD61-C68DC7A768B3}">
      <dgm:prSet/>
      <dgm:spPr/>
      <dgm:t>
        <a:bodyPr/>
        <a:lstStyle/>
        <a:p>
          <a:endParaRPr lang="en-US"/>
        </a:p>
      </dgm:t>
    </dgm:pt>
    <dgm:pt modelId="{35556BF2-4254-4703-9E4E-C551FE1113B0}">
      <dgm:prSet phldrT="[Text]"/>
      <dgm:spPr/>
      <dgm:t>
        <a:bodyPr/>
        <a:lstStyle/>
        <a:p>
          <a:r>
            <a:rPr lang="en-US" dirty="0" smtClean="0"/>
            <a:t>Protect Access to Resources</a:t>
          </a:r>
          <a:endParaRPr lang="en-US" dirty="0"/>
        </a:p>
      </dgm:t>
    </dgm:pt>
    <dgm:pt modelId="{41A2991C-B91D-4FE2-8164-848FA4B8D871}" type="parTrans" cxnId="{6130C7C7-E270-42DE-A811-B6C6535240B5}">
      <dgm:prSet/>
      <dgm:spPr/>
      <dgm:t>
        <a:bodyPr/>
        <a:lstStyle/>
        <a:p>
          <a:endParaRPr lang="en-US"/>
        </a:p>
      </dgm:t>
    </dgm:pt>
    <dgm:pt modelId="{438730AC-CCE4-48C4-9A01-64E51F19669A}" type="sibTrans" cxnId="{6130C7C7-E270-42DE-A811-B6C6535240B5}">
      <dgm:prSet/>
      <dgm:spPr/>
      <dgm:t>
        <a:bodyPr/>
        <a:lstStyle/>
        <a:p>
          <a:endParaRPr lang="en-US"/>
        </a:p>
      </dgm:t>
    </dgm:pt>
    <dgm:pt modelId="{E6E0C944-DE1F-4C7A-A8BA-D3BB78FE936C}" type="pres">
      <dgm:prSet presAssocID="{084B23CA-C9AC-4804-BE24-73308489F2EA}" presName="Name0" presStyleCnt="0">
        <dgm:presLayoutVars>
          <dgm:chMax val="7"/>
          <dgm:chPref val="7"/>
          <dgm:dir/>
          <dgm:animLvl val="lvl"/>
        </dgm:presLayoutVars>
      </dgm:prSet>
      <dgm:spPr/>
      <dgm:t>
        <a:bodyPr/>
        <a:lstStyle/>
        <a:p>
          <a:endParaRPr lang="en-US"/>
        </a:p>
      </dgm:t>
    </dgm:pt>
    <dgm:pt modelId="{BFD0762C-0046-4BBC-B838-5E430AF3E7AF}" type="pres">
      <dgm:prSet presAssocID="{8F13456C-8BF3-43BC-9D1E-9DED6892A203}" presName="Accent1" presStyleCnt="0"/>
      <dgm:spPr/>
      <dgm:t>
        <a:bodyPr/>
        <a:lstStyle/>
        <a:p>
          <a:endParaRPr lang="en-US"/>
        </a:p>
      </dgm:t>
    </dgm:pt>
    <dgm:pt modelId="{F860AC9F-97A3-4DC4-A2A8-C4F2AAE87A79}" type="pres">
      <dgm:prSet presAssocID="{8F13456C-8BF3-43BC-9D1E-9DED6892A203}" presName="Accent" presStyleLbl="node1" presStyleIdx="0" presStyleCnt="3"/>
      <dgm:spPr>
        <a:solidFill>
          <a:schemeClr val="accent5">
            <a:alpha val="87000"/>
          </a:schemeClr>
        </a:solidFill>
        <a:ln>
          <a:noFill/>
        </a:ln>
      </dgm:spPr>
      <dgm:t>
        <a:bodyPr/>
        <a:lstStyle/>
        <a:p>
          <a:endParaRPr lang="en-US"/>
        </a:p>
      </dgm:t>
    </dgm:pt>
    <dgm:pt modelId="{09273BE7-DE2C-4061-AA17-0A7BFA57CFB0}" type="pres">
      <dgm:prSet presAssocID="{8F13456C-8BF3-43BC-9D1E-9DED6892A203}" presName="Parent1" presStyleLbl="revTx" presStyleIdx="0" presStyleCnt="3">
        <dgm:presLayoutVars>
          <dgm:chMax val="1"/>
          <dgm:chPref val="1"/>
          <dgm:bulletEnabled val="1"/>
        </dgm:presLayoutVars>
      </dgm:prSet>
      <dgm:spPr/>
      <dgm:t>
        <a:bodyPr/>
        <a:lstStyle/>
        <a:p>
          <a:endParaRPr lang="en-US"/>
        </a:p>
      </dgm:t>
    </dgm:pt>
    <dgm:pt modelId="{90208E79-CE4A-4FC0-A99D-4FA1D03EA957}" type="pres">
      <dgm:prSet presAssocID="{B0059E3C-2052-48C6-B6DF-09927C64DEEF}" presName="Accent2" presStyleCnt="0"/>
      <dgm:spPr/>
      <dgm:t>
        <a:bodyPr/>
        <a:lstStyle/>
        <a:p>
          <a:endParaRPr lang="en-US"/>
        </a:p>
      </dgm:t>
    </dgm:pt>
    <dgm:pt modelId="{B26FD3CE-1CF3-41CF-B8EC-1A601E69492E}" type="pres">
      <dgm:prSet presAssocID="{B0059E3C-2052-48C6-B6DF-09927C64DEEF}" presName="Accent" presStyleLbl="node1" presStyleIdx="1" presStyleCnt="3"/>
      <dgm:spPr>
        <a:solidFill>
          <a:schemeClr val="accent5">
            <a:alpha val="87000"/>
          </a:schemeClr>
        </a:solidFill>
        <a:ln>
          <a:noFill/>
        </a:ln>
      </dgm:spPr>
      <dgm:t>
        <a:bodyPr/>
        <a:lstStyle/>
        <a:p>
          <a:endParaRPr lang="en-US"/>
        </a:p>
      </dgm:t>
    </dgm:pt>
    <dgm:pt modelId="{EDA3FFD0-8996-4842-85DC-BE79E94C23B4}" type="pres">
      <dgm:prSet presAssocID="{B0059E3C-2052-48C6-B6DF-09927C64DEEF}" presName="Parent2" presStyleLbl="revTx" presStyleIdx="1" presStyleCnt="3">
        <dgm:presLayoutVars>
          <dgm:chMax val="1"/>
          <dgm:chPref val="1"/>
          <dgm:bulletEnabled val="1"/>
        </dgm:presLayoutVars>
      </dgm:prSet>
      <dgm:spPr/>
      <dgm:t>
        <a:bodyPr/>
        <a:lstStyle/>
        <a:p>
          <a:endParaRPr lang="en-US"/>
        </a:p>
      </dgm:t>
    </dgm:pt>
    <dgm:pt modelId="{6171325F-930B-44D3-B472-2A9833BFFF36}" type="pres">
      <dgm:prSet presAssocID="{35556BF2-4254-4703-9E4E-C551FE1113B0}" presName="Accent3" presStyleCnt="0"/>
      <dgm:spPr/>
      <dgm:t>
        <a:bodyPr/>
        <a:lstStyle/>
        <a:p>
          <a:endParaRPr lang="en-US"/>
        </a:p>
      </dgm:t>
    </dgm:pt>
    <dgm:pt modelId="{0C74514F-B192-4726-8F5A-3050F80ADCD6}" type="pres">
      <dgm:prSet presAssocID="{35556BF2-4254-4703-9E4E-C551FE1113B0}" presName="Accent" presStyleLbl="node1" presStyleIdx="2" presStyleCnt="3"/>
      <dgm:spPr>
        <a:solidFill>
          <a:schemeClr val="accent5">
            <a:alpha val="87000"/>
          </a:schemeClr>
        </a:solidFill>
        <a:ln>
          <a:noFill/>
        </a:ln>
      </dgm:spPr>
      <dgm:t>
        <a:bodyPr/>
        <a:lstStyle/>
        <a:p>
          <a:endParaRPr lang="en-US"/>
        </a:p>
      </dgm:t>
    </dgm:pt>
    <dgm:pt modelId="{D448F732-7F5F-49D0-ABE9-D806C79498D3}" type="pres">
      <dgm:prSet presAssocID="{35556BF2-4254-4703-9E4E-C551FE1113B0}" presName="Parent3" presStyleLbl="revTx" presStyleIdx="2" presStyleCnt="3">
        <dgm:presLayoutVars>
          <dgm:chMax val="1"/>
          <dgm:chPref val="1"/>
          <dgm:bulletEnabled val="1"/>
        </dgm:presLayoutVars>
      </dgm:prSet>
      <dgm:spPr/>
      <dgm:t>
        <a:bodyPr/>
        <a:lstStyle/>
        <a:p>
          <a:endParaRPr lang="en-US"/>
        </a:p>
      </dgm:t>
    </dgm:pt>
  </dgm:ptLst>
  <dgm:cxnLst>
    <dgm:cxn modelId="{9B0B05D9-8394-4935-BE07-4F75AEE23525}" type="presOf" srcId="{8F13456C-8BF3-43BC-9D1E-9DED6892A203}" destId="{09273BE7-DE2C-4061-AA17-0A7BFA57CFB0}" srcOrd="0" destOrd="0" presId="urn:microsoft.com/office/officeart/2009/layout/CircleArrowProcess"/>
    <dgm:cxn modelId="{9B0A2B54-D800-4314-AD61-C68DC7A768B3}" srcId="{084B23CA-C9AC-4804-BE24-73308489F2EA}" destId="{B0059E3C-2052-48C6-B6DF-09927C64DEEF}" srcOrd="1" destOrd="0" parTransId="{3DB835A0-027C-4E05-89B4-82BA773E6461}" sibTransId="{7F6D62A3-3947-437F-AD02-8AB42164386B}"/>
    <dgm:cxn modelId="{0E1BAF21-CC59-4CCB-B5FA-CAD76E03009D}" srcId="{084B23CA-C9AC-4804-BE24-73308489F2EA}" destId="{8F13456C-8BF3-43BC-9D1E-9DED6892A203}" srcOrd="0" destOrd="0" parTransId="{B8D2576C-E3EA-4E5C-93D6-F0F78845EB2A}" sibTransId="{E3EDC9AF-B5DB-4F99-B15F-8F8812920278}"/>
    <dgm:cxn modelId="{10C985DC-7BFD-4490-BB29-571204BD33C2}" type="presOf" srcId="{35556BF2-4254-4703-9E4E-C551FE1113B0}" destId="{D448F732-7F5F-49D0-ABE9-D806C79498D3}" srcOrd="0" destOrd="0" presId="urn:microsoft.com/office/officeart/2009/layout/CircleArrowProcess"/>
    <dgm:cxn modelId="{051E23EB-59C7-41D8-A831-CA5FAA68E3CC}" type="presOf" srcId="{084B23CA-C9AC-4804-BE24-73308489F2EA}" destId="{E6E0C944-DE1F-4C7A-A8BA-D3BB78FE936C}" srcOrd="0" destOrd="0" presId="urn:microsoft.com/office/officeart/2009/layout/CircleArrowProcess"/>
    <dgm:cxn modelId="{6130C7C7-E270-42DE-A811-B6C6535240B5}" srcId="{084B23CA-C9AC-4804-BE24-73308489F2EA}" destId="{35556BF2-4254-4703-9E4E-C551FE1113B0}" srcOrd="2" destOrd="0" parTransId="{41A2991C-B91D-4FE2-8164-848FA4B8D871}" sibTransId="{438730AC-CCE4-48C4-9A01-64E51F19669A}"/>
    <dgm:cxn modelId="{F51B1423-794B-4685-ACC5-ECA63A10362D}" type="presOf" srcId="{B0059E3C-2052-48C6-B6DF-09927C64DEEF}" destId="{EDA3FFD0-8996-4842-85DC-BE79E94C23B4}" srcOrd="0" destOrd="0" presId="urn:microsoft.com/office/officeart/2009/layout/CircleArrowProcess"/>
    <dgm:cxn modelId="{831C7EE0-D183-4664-8443-9724CF5780B2}" type="presParOf" srcId="{E6E0C944-DE1F-4C7A-A8BA-D3BB78FE936C}" destId="{BFD0762C-0046-4BBC-B838-5E430AF3E7AF}" srcOrd="0" destOrd="0" presId="urn:microsoft.com/office/officeart/2009/layout/CircleArrowProcess"/>
    <dgm:cxn modelId="{770114C6-B9D3-48B9-B3C3-0BD93196F0D7}" type="presParOf" srcId="{BFD0762C-0046-4BBC-B838-5E430AF3E7AF}" destId="{F860AC9F-97A3-4DC4-A2A8-C4F2AAE87A79}" srcOrd="0" destOrd="0" presId="urn:microsoft.com/office/officeart/2009/layout/CircleArrowProcess"/>
    <dgm:cxn modelId="{9B29580A-E946-444B-BBA6-7A0F4CEA9A29}" type="presParOf" srcId="{E6E0C944-DE1F-4C7A-A8BA-D3BB78FE936C}" destId="{09273BE7-DE2C-4061-AA17-0A7BFA57CFB0}" srcOrd="1" destOrd="0" presId="urn:microsoft.com/office/officeart/2009/layout/CircleArrowProcess"/>
    <dgm:cxn modelId="{5347A370-573B-4175-8D5E-C5A7A6447A4C}" type="presParOf" srcId="{E6E0C944-DE1F-4C7A-A8BA-D3BB78FE936C}" destId="{90208E79-CE4A-4FC0-A99D-4FA1D03EA957}" srcOrd="2" destOrd="0" presId="urn:microsoft.com/office/officeart/2009/layout/CircleArrowProcess"/>
    <dgm:cxn modelId="{7E3FE4DD-90A9-4E9A-8266-989A74DB2871}" type="presParOf" srcId="{90208E79-CE4A-4FC0-A99D-4FA1D03EA957}" destId="{B26FD3CE-1CF3-41CF-B8EC-1A601E69492E}" srcOrd="0" destOrd="0" presId="urn:microsoft.com/office/officeart/2009/layout/CircleArrowProcess"/>
    <dgm:cxn modelId="{7D90B0C2-6D46-42B7-BEA6-56BAA896FFB8}" type="presParOf" srcId="{E6E0C944-DE1F-4C7A-A8BA-D3BB78FE936C}" destId="{EDA3FFD0-8996-4842-85DC-BE79E94C23B4}" srcOrd="3" destOrd="0" presId="urn:microsoft.com/office/officeart/2009/layout/CircleArrowProcess"/>
    <dgm:cxn modelId="{F3EA7DC3-14A2-4E55-A54D-F944308966C3}" type="presParOf" srcId="{E6E0C944-DE1F-4C7A-A8BA-D3BB78FE936C}" destId="{6171325F-930B-44D3-B472-2A9833BFFF36}" srcOrd="4" destOrd="0" presId="urn:microsoft.com/office/officeart/2009/layout/CircleArrowProcess"/>
    <dgm:cxn modelId="{FAB2A087-ACB4-4934-A4E2-C924E69BAA87}" type="presParOf" srcId="{6171325F-930B-44D3-B472-2A9833BFFF36}" destId="{0C74514F-B192-4726-8F5A-3050F80ADCD6}" srcOrd="0" destOrd="0" presId="urn:microsoft.com/office/officeart/2009/layout/CircleArrowProcess"/>
    <dgm:cxn modelId="{E1171A28-AC85-47BF-B7B5-CE55C5634015}" type="presParOf" srcId="{E6E0C944-DE1F-4C7A-A8BA-D3BB78FE936C}" destId="{D448F732-7F5F-49D0-ABE9-D806C79498D3}" srcOrd="5" destOrd="0" presId="urn:microsoft.com/office/officeart/2009/layout/CircleArrowProcess"/>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F54136BD-8541-445C-B335-E6FADB562E01}"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E3B29FF8-5667-4612-B6CC-AC1EE7EBB9D5}">
      <dgm:prSet phldrT="[Text]"/>
      <dgm:spPr/>
      <dgm:t>
        <a:bodyPr/>
        <a:lstStyle/>
        <a:p>
          <a:r>
            <a:rPr lang="en-US" b="1" dirty="0" smtClean="0"/>
            <a:t>Overview</a:t>
          </a:r>
          <a:endParaRPr lang="en-US" b="1" dirty="0"/>
        </a:p>
      </dgm:t>
    </dgm:pt>
    <dgm:pt modelId="{0AC8B561-E551-4B09-9914-7942EC3B6A1A}" type="parTrans" cxnId="{05CAAED9-5D87-4814-896E-29A10A7FE186}">
      <dgm:prSet/>
      <dgm:spPr/>
      <dgm:t>
        <a:bodyPr/>
        <a:lstStyle/>
        <a:p>
          <a:endParaRPr lang="en-US"/>
        </a:p>
      </dgm:t>
    </dgm:pt>
    <dgm:pt modelId="{0CE50DEB-1C02-4463-A05F-212A9D8D0D36}" type="sibTrans" cxnId="{05CAAED9-5D87-4814-896E-29A10A7FE186}">
      <dgm:prSet/>
      <dgm:spPr/>
      <dgm:t>
        <a:bodyPr/>
        <a:lstStyle/>
        <a:p>
          <a:endParaRPr lang="en-US"/>
        </a:p>
      </dgm:t>
    </dgm:pt>
    <dgm:pt modelId="{634577FA-53EC-456F-A7BC-0059B7373F0E}">
      <dgm:prSet phldrT="[Text]"/>
      <dgm:spPr/>
      <dgm:t>
        <a:bodyPr/>
        <a:lstStyle/>
        <a:p>
          <a:r>
            <a:rPr lang="en-US" b="1" dirty="0" smtClean="0"/>
            <a:t>Deployment</a:t>
          </a:r>
          <a:endParaRPr lang="en-US" b="1" dirty="0"/>
        </a:p>
      </dgm:t>
    </dgm:pt>
    <dgm:pt modelId="{4535C45A-3CEA-4CB4-B3E6-16676EA87BBD}" type="parTrans" cxnId="{8ED4BDCC-B7C2-4EA5-A092-02132D27747C}">
      <dgm:prSet/>
      <dgm:spPr/>
      <dgm:t>
        <a:bodyPr/>
        <a:lstStyle/>
        <a:p>
          <a:endParaRPr lang="en-US"/>
        </a:p>
      </dgm:t>
    </dgm:pt>
    <dgm:pt modelId="{086B078F-3B78-4192-AF23-F95BA2F08542}" type="sibTrans" cxnId="{8ED4BDCC-B7C2-4EA5-A092-02132D27747C}">
      <dgm:prSet/>
      <dgm:spPr/>
      <dgm:t>
        <a:bodyPr/>
        <a:lstStyle/>
        <a:p>
          <a:endParaRPr lang="en-US"/>
        </a:p>
      </dgm:t>
    </dgm:pt>
    <dgm:pt modelId="{A8B7631A-A477-4DC8-837C-5D33807431BF}">
      <dgm:prSet phldrT="[Text]"/>
      <dgm:spPr/>
      <dgm:t>
        <a:bodyPr/>
        <a:lstStyle/>
        <a:p>
          <a:r>
            <a:rPr lang="en-US" b="1" dirty="0" smtClean="0"/>
            <a:t>Operations</a:t>
          </a:r>
          <a:endParaRPr lang="en-US" b="1" dirty="0"/>
        </a:p>
      </dgm:t>
    </dgm:pt>
    <dgm:pt modelId="{7DB7B557-7BAF-4A0B-9BFA-DA76F83EF37B}" type="parTrans" cxnId="{9191AD61-3B22-4FA2-9979-1124116E63E5}">
      <dgm:prSet/>
      <dgm:spPr/>
      <dgm:t>
        <a:bodyPr/>
        <a:lstStyle/>
        <a:p>
          <a:endParaRPr lang="en-US"/>
        </a:p>
      </dgm:t>
    </dgm:pt>
    <dgm:pt modelId="{751204B6-7F4D-4164-A730-58521223F52C}" type="sibTrans" cxnId="{9191AD61-3B22-4FA2-9979-1124116E63E5}">
      <dgm:prSet/>
      <dgm:spPr/>
      <dgm:t>
        <a:bodyPr/>
        <a:lstStyle/>
        <a:p>
          <a:endParaRPr lang="en-US"/>
        </a:p>
      </dgm:t>
    </dgm:pt>
    <dgm:pt modelId="{BDAD4C89-03A4-43D8-BDF2-CFC26155ECF6}">
      <dgm:prSet phldrT="[Text]"/>
      <dgm:spPr/>
      <dgm:t>
        <a:bodyPr/>
        <a:lstStyle/>
        <a:p>
          <a:r>
            <a:rPr lang="en-US" b="1" dirty="0" smtClean="0"/>
            <a:t>New in DNS</a:t>
          </a:r>
          <a:endParaRPr lang="en-US" b="1" dirty="0"/>
        </a:p>
      </dgm:t>
    </dgm:pt>
    <dgm:pt modelId="{9C3BB93C-D72A-46EE-AF36-21C8D5527761}" type="parTrans" cxnId="{66571C9A-CEB3-4907-A1A2-A8858AABB5CC}">
      <dgm:prSet/>
      <dgm:spPr/>
      <dgm:t>
        <a:bodyPr/>
        <a:lstStyle/>
        <a:p>
          <a:endParaRPr lang="en-US"/>
        </a:p>
      </dgm:t>
    </dgm:pt>
    <dgm:pt modelId="{CFAF00CD-3DB5-482E-A6A9-E0779005F362}" type="sibTrans" cxnId="{66571C9A-CEB3-4907-A1A2-A8858AABB5CC}">
      <dgm:prSet/>
      <dgm:spPr/>
      <dgm:t>
        <a:bodyPr/>
        <a:lstStyle/>
        <a:p>
          <a:endParaRPr lang="en-US"/>
        </a:p>
      </dgm:t>
    </dgm:pt>
    <dgm:pt modelId="{6A0243CA-6571-4119-9FD5-25FE5AAD7FA1}" type="pres">
      <dgm:prSet presAssocID="{F54136BD-8541-445C-B335-E6FADB562E01}" presName="diagram" presStyleCnt="0">
        <dgm:presLayoutVars>
          <dgm:dir/>
          <dgm:resizeHandles val="exact"/>
        </dgm:presLayoutVars>
      </dgm:prSet>
      <dgm:spPr/>
      <dgm:t>
        <a:bodyPr/>
        <a:lstStyle/>
        <a:p>
          <a:endParaRPr lang="en-US"/>
        </a:p>
      </dgm:t>
    </dgm:pt>
    <dgm:pt modelId="{01255F57-122C-4849-B84D-DEFA5A48263E}" type="pres">
      <dgm:prSet presAssocID="{E3B29FF8-5667-4612-B6CC-AC1EE7EBB9D5}" presName="node" presStyleLbl="node1" presStyleIdx="0" presStyleCnt="4">
        <dgm:presLayoutVars>
          <dgm:bulletEnabled val="1"/>
        </dgm:presLayoutVars>
      </dgm:prSet>
      <dgm:spPr/>
      <dgm:t>
        <a:bodyPr/>
        <a:lstStyle/>
        <a:p>
          <a:endParaRPr lang="en-US"/>
        </a:p>
      </dgm:t>
    </dgm:pt>
    <dgm:pt modelId="{7F21DCC9-E42B-4954-B193-E3EEE395C036}" type="pres">
      <dgm:prSet presAssocID="{0CE50DEB-1C02-4463-A05F-212A9D8D0D36}" presName="sibTrans" presStyleCnt="0"/>
      <dgm:spPr/>
    </dgm:pt>
    <dgm:pt modelId="{5DE8FC5F-3FCD-4DDC-9181-BE983159620C}" type="pres">
      <dgm:prSet presAssocID="{634577FA-53EC-456F-A7BC-0059B7373F0E}" presName="node" presStyleLbl="node1" presStyleIdx="1" presStyleCnt="4">
        <dgm:presLayoutVars>
          <dgm:bulletEnabled val="1"/>
        </dgm:presLayoutVars>
      </dgm:prSet>
      <dgm:spPr/>
      <dgm:t>
        <a:bodyPr/>
        <a:lstStyle/>
        <a:p>
          <a:endParaRPr lang="en-US"/>
        </a:p>
      </dgm:t>
    </dgm:pt>
    <dgm:pt modelId="{C38C7297-1FB8-46B1-86AC-6E99B3EE32A3}" type="pres">
      <dgm:prSet presAssocID="{086B078F-3B78-4192-AF23-F95BA2F08542}" presName="sibTrans" presStyleCnt="0"/>
      <dgm:spPr/>
    </dgm:pt>
    <dgm:pt modelId="{FC2E6A7F-D110-419F-AE4B-22ADC74A2650}" type="pres">
      <dgm:prSet presAssocID="{A8B7631A-A477-4DC8-837C-5D33807431BF}" presName="node" presStyleLbl="node1" presStyleIdx="2" presStyleCnt="4">
        <dgm:presLayoutVars>
          <dgm:bulletEnabled val="1"/>
        </dgm:presLayoutVars>
      </dgm:prSet>
      <dgm:spPr/>
      <dgm:t>
        <a:bodyPr/>
        <a:lstStyle/>
        <a:p>
          <a:endParaRPr lang="en-US"/>
        </a:p>
      </dgm:t>
    </dgm:pt>
    <dgm:pt modelId="{DEC9E273-9CA7-4B33-BD69-037C23FFF2BC}" type="pres">
      <dgm:prSet presAssocID="{751204B6-7F4D-4164-A730-58521223F52C}" presName="sibTrans" presStyleCnt="0"/>
      <dgm:spPr/>
    </dgm:pt>
    <dgm:pt modelId="{7FCEA5F6-86E0-4BED-BB73-2A35B1F828C5}" type="pres">
      <dgm:prSet presAssocID="{BDAD4C89-03A4-43D8-BDF2-CFC26155ECF6}" presName="node" presStyleLbl="node1" presStyleIdx="3" presStyleCnt="4" custLinFactNeighborX="1506" custLinFactNeighborY="-588">
        <dgm:presLayoutVars>
          <dgm:bulletEnabled val="1"/>
        </dgm:presLayoutVars>
      </dgm:prSet>
      <dgm:spPr/>
      <dgm:t>
        <a:bodyPr/>
        <a:lstStyle/>
        <a:p>
          <a:endParaRPr lang="en-US"/>
        </a:p>
      </dgm:t>
    </dgm:pt>
  </dgm:ptLst>
  <dgm:cxnLst>
    <dgm:cxn modelId="{A7CC07B4-8B1A-4024-95A7-BA83F3276F79}" type="presOf" srcId="{634577FA-53EC-456F-A7BC-0059B7373F0E}" destId="{5DE8FC5F-3FCD-4DDC-9181-BE983159620C}" srcOrd="0" destOrd="0" presId="urn:microsoft.com/office/officeart/2005/8/layout/default"/>
    <dgm:cxn modelId="{05CAAED9-5D87-4814-896E-29A10A7FE186}" srcId="{F54136BD-8541-445C-B335-E6FADB562E01}" destId="{E3B29FF8-5667-4612-B6CC-AC1EE7EBB9D5}" srcOrd="0" destOrd="0" parTransId="{0AC8B561-E551-4B09-9914-7942EC3B6A1A}" sibTransId="{0CE50DEB-1C02-4463-A05F-212A9D8D0D36}"/>
    <dgm:cxn modelId="{8ED4BDCC-B7C2-4EA5-A092-02132D27747C}" srcId="{F54136BD-8541-445C-B335-E6FADB562E01}" destId="{634577FA-53EC-456F-A7BC-0059B7373F0E}" srcOrd="1" destOrd="0" parTransId="{4535C45A-3CEA-4CB4-B3E6-16676EA87BBD}" sibTransId="{086B078F-3B78-4192-AF23-F95BA2F08542}"/>
    <dgm:cxn modelId="{E28BE558-16DC-4716-81B1-AF941F48F271}" type="presOf" srcId="{F54136BD-8541-445C-B335-E6FADB562E01}" destId="{6A0243CA-6571-4119-9FD5-25FE5AAD7FA1}" srcOrd="0" destOrd="0" presId="urn:microsoft.com/office/officeart/2005/8/layout/default"/>
    <dgm:cxn modelId="{9191AD61-3B22-4FA2-9979-1124116E63E5}" srcId="{F54136BD-8541-445C-B335-E6FADB562E01}" destId="{A8B7631A-A477-4DC8-837C-5D33807431BF}" srcOrd="2" destOrd="0" parTransId="{7DB7B557-7BAF-4A0B-9BFA-DA76F83EF37B}" sibTransId="{751204B6-7F4D-4164-A730-58521223F52C}"/>
    <dgm:cxn modelId="{1259EEBC-671C-47DD-BC2A-B3F6668772FC}" type="presOf" srcId="{E3B29FF8-5667-4612-B6CC-AC1EE7EBB9D5}" destId="{01255F57-122C-4849-B84D-DEFA5A48263E}" srcOrd="0" destOrd="0" presId="urn:microsoft.com/office/officeart/2005/8/layout/default"/>
    <dgm:cxn modelId="{55125F53-841C-4307-BF98-AD34F27CB69E}" type="presOf" srcId="{BDAD4C89-03A4-43D8-BDF2-CFC26155ECF6}" destId="{7FCEA5F6-86E0-4BED-BB73-2A35B1F828C5}" srcOrd="0" destOrd="0" presId="urn:microsoft.com/office/officeart/2005/8/layout/default"/>
    <dgm:cxn modelId="{66571C9A-CEB3-4907-A1A2-A8858AABB5CC}" srcId="{F54136BD-8541-445C-B335-E6FADB562E01}" destId="{BDAD4C89-03A4-43D8-BDF2-CFC26155ECF6}" srcOrd="3" destOrd="0" parTransId="{9C3BB93C-D72A-46EE-AF36-21C8D5527761}" sibTransId="{CFAF00CD-3DB5-482E-A6A9-E0779005F362}"/>
    <dgm:cxn modelId="{A220723F-36B7-4FAC-874C-ED51FEA83F2D}" type="presOf" srcId="{A8B7631A-A477-4DC8-837C-5D33807431BF}" destId="{FC2E6A7F-D110-419F-AE4B-22ADC74A2650}" srcOrd="0" destOrd="0" presId="urn:microsoft.com/office/officeart/2005/8/layout/default"/>
    <dgm:cxn modelId="{53DB0EB1-DF7F-4270-AB58-AE9420C9845D}" type="presParOf" srcId="{6A0243CA-6571-4119-9FD5-25FE5AAD7FA1}" destId="{01255F57-122C-4849-B84D-DEFA5A48263E}" srcOrd="0" destOrd="0" presId="urn:microsoft.com/office/officeart/2005/8/layout/default"/>
    <dgm:cxn modelId="{C3E1BC56-6CC7-402E-9CFF-E10C6F01C61E}" type="presParOf" srcId="{6A0243CA-6571-4119-9FD5-25FE5AAD7FA1}" destId="{7F21DCC9-E42B-4954-B193-E3EEE395C036}" srcOrd="1" destOrd="0" presId="urn:microsoft.com/office/officeart/2005/8/layout/default"/>
    <dgm:cxn modelId="{DBD6569A-79FC-4355-A51D-A99CD48260C2}" type="presParOf" srcId="{6A0243CA-6571-4119-9FD5-25FE5AAD7FA1}" destId="{5DE8FC5F-3FCD-4DDC-9181-BE983159620C}" srcOrd="2" destOrd="0" presId="urn:microsoft.com/office/officeart/2005/8/layout/default"/>
    <dgm:cxn modelId="{EB5154A8-E8DE-4374-A2BE-D8E455FA5528}" type="presParOf" srcId="{6A0243CA-6571-4119-9FD5-25FE5AAD7FA1}" destId="{C38C7297-1FB8-46B1-86AC-6E99B3EE32A3}" srcOrd="3" destOrd="0" presId="urn:microsoft.com/office/officeart/2005/8/layout/default"/>
    <dgm:cxn modelId="{E670801D-BA3C-4730-9847-A00FA8298008}" type="presParOf" srcId="{6A0243CA-6571-4119-9FD5-25FE5AAD7FA1}" destId="{FC2E6A7F-D110-419F-AE4B-22ADC74A2650}" srcOrd="4" destOrd="0" presId="urn:microsoft.com/office/officeart/2005/8/layout/default"/>
    <dgm:cxn modelId="{7DA1B523-AFDE-4997-8BF3-31AC367322BA}" type="presParOf" srcId="{6A0243CA-6571-4119-9FD5-25FE5AAD7FA1}" destId="{DEC9E273-9CA7-4B33-BD69-037C23FFF2BC}" srcOrd="5" destOrd="0" presId="urn:microsoft.com/office/officeart/2005/8/layout/default"/>
    <dgm:cxn modelId="{91B9C955-2DCE-4C72-8707-C517F2EE5FDA}" type="presParOf" srcId="{6A0243CA-6571-4119-9FD5-25FE5AAD7FA1}" destId="{7FCEA5F6-86E0-4BED-BB73-2A35B1F828C5}" srcOrd="6"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D0AB591-DE91-4D62-AFAB-75E06653864D}">
      <dsp:nvSpPr>
        <dsp:cNvPr id="0" name=""/>
        <dsp:cNvSpPr/>
      </dsp:nvSpPr>
      <dsp:spPr>
        <a:xfrm>
          <a:off x="0" y="25598"/>
          <a:ext cx="2571749" cy="1543050"/>
        </a:xfrm>
        <a:prstGeom prst="rect">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rtl="0">
            <a:lnSpc>
              <a:spcPct val="90000"/>
            </a:lnSpc>
            <a:spcBef>
              <a:spcPct val="0"/>
            </a:spcBef>
            <a:spcAft>
              <a:spcPct val="35000"/>
            </a:spcAft>
          </a:pPr>
          <a:r>
            <a:rPr lang="en-US" sz="2500" kern="1200" dirty="0" smtClean="0"/>
            <a:t>Virtualization</a:t>
          </a:r>
          <a:endParaRPr lang="en-US" sz="2500" kern="1200" dirty="0"/>
        </a:p>
      </dsp:txBody>
      <dsp:txXfrm>
        <a:off x="0" y="25598"/>
        <a:ext cx="2571749" cy="1543050"/>
      </dsp:txXfrm>
    </dsp:sp>
    <dsp:sp modelId="{403C1B2F-E581-484C-8B16-D70135888CAA}">
      <dsp:nvSpPr>
        <dsp:cNvPr id="0" name=""/>
        <dsp:cNvSpPr/>
      </dsp:nvSpPr>
      <dsp:spPr>
        <a:xfrm>
          <a:off x="2828925" y="25598"/>
          <a:ext cx="2571749" cy="1543050"/>
        </a:xfrm>
        <a:prstGeom prst="rect">
          <a:avLst/>
        </a:prstGeom>
        <a:gradFill rotWithShape="0">
          <a:gsLst>
            <a:gs pos="0">
              <a:schemeClr val="accent3">
                <a:hueOff val="0"/>
                <a:satOff val="0"/>
                <a:lumOff val="0"/>
                <a:alphaOff val="0"/>
                <a:shade val="51000"/>
                <a:satMod val="130000"/>
              </a:schemeClr>
            </a:gs>
            <a:gs pos="80000">
              <a:schemeClr val="accent3">
                <a:hueOff val="0"/>
                <a:satOff val="0"/>
                <a:lumOff val="0"/>
                <a:alphaOff val="0"/>
                <a:shade val="93000"/>
                <a:satMod val="130000"/>
              </a:schemeClr>
            </a:gs>
            <a:gs pos="100000">
              <a:schemeClr val="accent3">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rtl="0">
            <a:lnSpc>
              <a:spcPct val="90000"/>
            </a:lnSpc>
            <a:spcBef>
              <a:spcPct val="0"/>
            </a:spcBef>
            <a:spcAft>
              <a:spcPct val="35000"/>
            </a:spcAft>
          </a:pPr>
          <a:r>
            <a:rPr lang="en-US" sz="2500" kern="1200" smtClean="0"/>
            <a:t>Homogenization</a:t>
          </a:r>
          <a:endParaRPr lang="en-US" sz="2500" kern="1200"/>
        </a:p>
      </dsp:txBody>
      <dsp:txXfrm>
        <a:off x="2828925" y="25598"/>
        <a:ext cx="2571749" cy="1543050"/>
      </dsp:txXfrm>
    </dsp:sp>
    <dsp:sp modelId="{B9754AA1-9282-41CF-BFB8-C9092583952F}">
      <dsp:nvSpPr>
        <dsp:cNvPr id="0" name=""/>
        <dsp:cNvSpPr/>
      </dsp:nvSpPr>
      <dsp:spPr>
        <a:xfrm>
          <a:off x="5657849" y="25598"/>
          <a:ext cx="2571749" cy="1543050"/>
        </a:xfrm>
        <a:prstGeom prst="rect">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rtl="0">
            <a:lnSpc>
              <a:spcPct val="90000"/>
            </a:lnSpc>
            <a:spcBef>
              <a:spcPct val="0"/>
            </a:spcBef>
            <a:spcAft>
              <a:spcPct val="35000"/>
            </a:spcAft>
          </a:pPr>
          <a:r>
            <a:rPr lang="en-US" sz="2500" kern="1200" smtClean="0"/>
            <a:t>Resiliency</a:t>
          </a:r>
          <a:endParaRPr lang="en-US" sz="2500" kern="1200"/>
        </a:p>
      </dsp:txBody>
      <dsp:txXfrm>
        <a:off x="5657849" y="25598"/>
        <a:ext cx="2571749" cy="1543050"/>
      </dsp:txXfrm>
    </dsp:sp>
    <dsp:sp modelId="{E85DFC76-7581-4E49-A5EC-B311DA8E590E}">
      <dsp:nvSpPr>
        <dsp:cNvPr id="0" name=""/>
        <dsp:cNvSpPr/>
      </dsp:nvSpPr>
      <dsp:spPr>
        <a:xfrm>
          <a:off x="0" y="1825823"/>
          <a:ext cx="2571749" cy="1543050"/>
        </a:xfrm>
        <a:prstGeom prst="rect">
          <a:avLst/>
        </a:prstGeom>
        <a:gradFill rotWithShape="0">
          <a:gsLst>
            <a:gs pos="0">
              <a:schemeClr val="accent5">
                <a:hueOff val="0"/>
                <a:satOff val="0"/>
                <a:lumOff val="0"/>
                <a:alphaOff val="0"/>
                <a:shade val="51000"/>
                <a:satMod val="130000"/>
              </a:schemeClr>
            </a:gs>
            <a:gs pos="80000">
              <a:schemeClr val="accent5">
                <a:hueOff val="0"/>
                <a:satOff val="0"/>
                <a:lumOff val="0"/>
                <a:alphaOff val="0"/>
                <a:shade val="93000"/>
                <a:satMod val="130000"/>
              </a:schemeClr>
            </a:gs>
            <a:gs pos="100000">
              <a:schemeClr val="accent5">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rtl="0">
            <a:lnSpc>
              <a:spcPct val="90000"/>
            </a:lnSpc>
            <a:spcBef>
              <a:spcPct val="0"/>
            </a:spcBef>
            <a:spcAft>
              <a:spcPct val="35000"/>
            </a:spcAft>
          </a:pPr>
          <a:r>
            <a:rPr lang="en-US" sz="2500" kern="1200" dirty="0" smtClean="0"/>
            <a:t>Elasticity</a:t>
          </a:r>
          <a:endParaRPr lang="en-US" sz="2500" kern="1200" dirty="0"/>
        </a:p>
      </dsp:txBody>
      <dsp:txXfrm>
        <a:off x="0" y="1825823"/>
        <a:ext cx="2571749" cy="1543050"/>
      </dsp:txXfrm>
    </dsp:sp>
    <dsp:sp modelId="{B1C8B4CC-A4F0-4E9C-AC4A-46048211E7B8}">
      <dsp:nvSpPr>
        <dsp:cNvPr id="0" name=""/>
        <dsp:cNvSpPr/>
      </dsp:nvSpPr>
      <dsp:spPr>
        <a:xfrm>
          <a:off x="2828925" y="1825823"/>
          <a:ext cx="2571749" cy="1543050"/>
        </a:xfrm>
        <a:prstGeom prst="rect">
          <a:avLst/>
        </a:prstGeom>
        <a:gradFill rotWithShape="0">
          <a:gsLst>
            <a:gs pos="0">
              <a:schemeClr val="accent6">
                <a:hueOff val="0"/>
                <a:satOff val="0"/>
                <a:lumOff val="0"/>
                <a:alphaOff val="0"/>
                <a:shade val="51000"/>
                <a:satMod val="130000"/>
              </a:schemeClr>
            </a:gs>
            <a:gs pos="80000">
              <a:schemeClr val="accent6">
                <a:hueOff val="0"/>
                <a:satOff val="0"/>
                <a:lumOff val="0"/>
                <a:alphaOff val="0"/>
                <a:shade val="93000"/>
                <a:satMod val="130000"/>
              </a:schemeClr>
            </a:gs>
            <a:gs pos="100000">
              <a:schemeClr val="accent6">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rtl="0">
            <a:lnSpc>
              <a:spcPct val="90000"/>
            </a:lnSpc>
            <a:spcBef>
              <a:spcPct val="0"/>
            </a:spcBef>
            <a:spcAft>
              <a:spcPct val="35000"/>
            </a:spcAft>
          </a:pPr>
          <a:r>
            <a:rPr lang="en-US" sz="2500" kern="1200" smtClean="0"/>
            <a:t>Real-time system health</a:t>
          </a:r>
          <a:endParaRPr lang="en-US" sz="2500" kern="1200"/>
        </a:p>
      </dsp:txBody>
      <dsp:txXfrm>
        <a:off x="2828925" y="1825823"/>
        <a:ext cx="2571749" cy="1543050"/>
      </dsp:txXfrm>
    </dsp:sp>
    <dsp:sp modelId="{4EC0A400-8BA7-49AE-A3A5-012C0D546501}">
      <dsp:nvSpPr>
        <dsp:cNvPr id="0" name=""/>
        <dsp:cNvSpPr/>
      </dsp:nvSpPr>
      <dsp:spPr>
        <a:xfrm>
          <a:off x="5657849" y="1825823"/>
          <a:ext cx="2571749" cy="1543050"/>
        </a:xfrm>
        <a:prstGeom prst="rect">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rtl="0">
            <a:lnSpc>
              <a:spcPct val="90000"/>
            </a:lnSpc>
            <a:spcBef>
              <a:spcPct val="0"/>
            </a:spcBef>
            <a:spcAft>
              <a:spcPct val="35000"/>
            </a:spcAft>
          </a:pPr>
          <a:r>
            <a:rPr lang="en-US" sz="2500" kern="1200" smtClean="0"/>
            <a:t>Automation</a:t>
          </a:r>
          <a:endParaRPr lang="en-US" sz="2500" kern="1200"/>
        </a:p>
      </dsp:txBody>
      <dsp:txXfrm>
        <a:off x="5657849" y="1825823"/>
        <a:ext cx="2571749" cy="154305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CCA073A-2A12-4926-855B-9B381112DA14}">
      <dsp:nvSpPr>
        <dsp:cNvPr id="0" name=""/>
        <dsp:cNvSpPr/>
      </dsp:nvSpPr>
      <dsp:spPr>
        <a:xfrm>
          <a:off x="2519761" y="1635335"/>
          <a:ext cx="123758" cy="123800"/>
        </a:xfrm>
        <a:prstGeom prst="ellipse">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07466B9-79E6-48B3-9AB4-9A0BC598DE81}">
      <dsp:nvSpPr>
        <dsp:cNvPr id="0" name=""/>
        <dsp:cNvSpPr/>
      </dsp:nvSpPr>
      <dsp:spPr>
        <a:xfrm>
          <a:off x="2309451" y="1635335"/>
          <a:ext cx="123758" cy="123800"/>
        </a:xfrm>
        <a:prstGeom prst="ellipse">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7C8A4AA-1679-4B13-A26C-337E8FB9F7D8}">
      <dsp:nvSpPr>
        <dsp:cNvPr id="0" name=""/>
        <dsp:cNvSpPr/>
      </dsp:nvSpPr>
      <dsp:spPr>
        <a:xfrm>
          <a:off x="2099141" y="1635335"/>
          <a:ext cx="123758" cy="123800"/>
        </a:xfrm>
        <a:prstGeom prst="ellipse">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B34F1D9-ADD1-4D30-A496-AA57999537DE}">
      <dsp:nvSpPr>
        <dsp:cNvPr id="0" name=""/>
        <dsp:cNvSpPr/>
      </dsp:nvSpPr>
      <dsp:spPr>
        <a:xfrm>
          <a:off x="1888831" y="1635335"/>
          <a:ext cx="123758" cy="123800"/>
        </a:xfrm>
        <a:prstGeom prst="ellipse">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10881F5-FBE4-41A4-953E-D91826691650}">
      <dsp:nvSpPr>
        <dsp:cNvPr id="0" name=""/>
        <dsp:cNvSpPr/>
      </dsp:nvSpPr>
      <dsp:spPr>
        <a:xfrm>
          <a:off x="1678521" y="1635335"/>
          <a:ext cx="123758" cy="123800"/>
        </a:xfrm>
        <a:prstGeom prst="ellipse">
          <a:avLst/>
        </a:prstGeom>
        <a:solidFill>
          <a:schemeClr val="accent6">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5484D72-A291-4EAF-950C-0FB5411ACA11}">
      <dsp:nvSpPr>
        <dsp:cNvPr id="0" name=""/>
        <dsp:cNvSpPr/>
      </dsp:nvSpPr>
      <dsp:spPr>
        <a:xfrm>
          <a:off x="1344188" y="1573435"/>
          <a:ext cx="247780" cy="247600"/>
        </a:xfrm>
        <a:prstGeom prst="ellipse">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97017DE-5D89-4B57-A6F7-995DBEF716F7}">
      <dsp:nvSpPr>
        <dsp:cNvPr id="0" name=""/>
        <dsp:cNvSpPr/>
      </dsp:nvSpPr>
      <dsp:spPr>
        <a:xfrm>
          <a:off x="2317895" y="1379590"/>
          <a:ext cx="123758" cy="123800"/>
        </a:xfrm>
        <a:prstGeom prst="ellipse">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519A646-48D3-49DC-BDBD-06572FD22868}">
      <dsp:nvSpPr>
        <dsp:cNvPr id="0" name=""/>
        <dsp:cNvSpPr/>
      </dsp:nvSpPr>
      <dsp:spPr>
        <a:xfrm>
          <a:off x="2317895" y="1892960"/>
          <a:ext cx="123758" cy="123800"/>
        </a:xfrm>
        <a:prstGeom prst="ellipse">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635CF97-75F1-4681-917C-3A5CF281539C}">
      <dsp:nvSpPr>
        <dsp:cNvPr id="0" name=""/>
        <dsp:cNvSpPr/>
      </dsp:nvSpPr>
      <dsp:spPr>
        <a:xfrm>
          <a:off x="2428460" y="1490860"/>
          <a:ext cx="123758" cy="123800"/>
        </a:xfrm>
        <a:prstGeom prst="ellipse">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6D6B5F8-D9C0-472D-9AE1-E2FD166CC0B3}">
      <dsp:nvSpPr>
        <dsp:cNvPr id="0" name=""/>
        <dsp:cNvSpPr/>
      </dsp:nvSpPr>
      <dsp:spPr>
        <a:xfrm>
          <a:off x="2435848" y="1782317"/>
          <a:ext cx="123758" cy="123800"/>
        </a:xfrm>
        <a:prstGeom prst="ellipse">
          <a:avLst/>
        </a:prstGeom>
        <a:solidFill>
          <a:schemeClr val="accent6">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F0F19CE-8FF2-4E2B-BF7D-DA08549EF854}">
      <dsp:nvSpPr>
        <dsp:cNvPr id="0" name=""/>
        <dsp:cNvSpPr/>
      </dsp:nvSpPr>
      <dsp:spPr>
        <a:xfrm>
          <a:off x="4748" y="1070717"/>
          <a:ext cx="1253152" cy="1253037"/>
        </a:xfrm>
        <a:prstGeom prst="ellipse">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lvl="0" algn="ctr" defTabSz="755650" rtl="0">
            <a:lnSpc>
              <a:spcPct val="90000"/>
            </a:lnSpc>
            <a:spcBef>
              <a:spcPct val="0"/>
            </a:spcBef>
            <a:spcAft>
              <a:spcPct val="35000"/>
            </a:spcAft>
          </a:pPr>
          <a:r>
            <a:rPr lang="en-US" sz="1700" kern="1200" smtClean="0"/>
            <a:t>Build game.</a:t>
          </a:r>
          <a:endParaRPr lang="en-US" sz="1700" kern="1200"/>
        </a:p>
      </dsp:txBody>
      <dsp:txXfrm>
        <a:off x="188268" y="1254220"/>
        <a:ext cx="886112" cy="886031"/>
      </dsp:txXfrm>
    </dsp:sp>
    <dsp:sp modelId="{9E3B18F1-653C-4403-B220-5FEE073A2B7F}">
      <dsp:nvSpPr>
        <dsp:cNvPr id="0" name=""/>
        <dsp:cNvSpPr/>
      </dsp:nvSpPr>
      <dsp:spPr>
        <a:xfrm>
          <a:off x="5310427" y="1635335"/>
          <a:ext cx="123758" cy="123800"/>
        </a:xfrm>
        <a:prstGeom prst="ellipse">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A020D55-58AF-4C7F-8239-C3FC9470C46E}">
      <dsp:nvSpPr>
        <dsp:cNvPr id="0" name=""/>
        <dsp:cNvSpPr/>
      </dsp:nvSpPr>
      <dsp:spPr>
        <a:xfrm>
          <a:off x="5100117" y="1635335"/>
          <a:ext cx="123758" cy="123800"/>
        </a:xfrm>
        <a:prstGeom prst="ellipse">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E760B04-2DA3-405C-97E0-7E4068BD5602}">
      <dsp:nvSpPr>
        <dsp:cNvPr id="0" name=""/>
        <dsp:cNvSpPr/>
      </dsp:nvSpPr>
      <dsp:spPr>
        <a:xfrm>
          <a:off x="4889807" y="1635335"/>
          <a:ext cx="123758" cy="123800"/>
        </a:xfrm>
        <a:prstGeom prst="ellipse">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348A0F2-0ED4-4A2C-8D98-8E8C9723B78D}">
      <dsp:nvSpPr>
        <dsp:cNvPr id="0" name=""/>
        <dsp:cNvSpPr/>
      </dsp:nvSpPr>
      <dsp:spPr>
        <a:xfrm>
          <a:off x="4679497" y="1635335"/>
          <a:ext cx="123758" cy="123800"/>
        </a:xfrm>
        <a:prstGeom prst="ellipse">
          <a:avLst/>
        </a:prstGeom>
        <a:solidFill>
          <a:schemeClr val="accent6">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5DDE775-0653-4605-95A1-1FE0F50D53CE}">
      <dsp:nvSpPr>
        <dsp:cNvPr id="0" name=""/>
        <dsp:cNvSpPr/>
      </dsp:nvSpPr>
      <dsp:spPr>
        <a:xfrm>
          <a:off x="4469187" y="1635335"/>
          <a:ext cx="123758" cy="123800"/>
        </a:xfrm>
        <a:prstGeom prst="ellipse">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40CBE75-201F-4772-8767-24E0D5C79678}">
      <dsp:nvSpPr>
        <dsp:cNvPr id="0" name=""/>
        <dsp:cNvSpPr/>
      </dsp:nvSpPr>
      <dsp:spPr>
        <a:xfrm>
          <a:off x="4134854" y="1573435"/>
          <a:ext cx="247780" cy="247600"/>
        </a:xfrm>
        <a:prstGeom prst="ellipse">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547B462-A24B-41E5-8339-22B6869DB758}">
      <dsp:nvSpPr>
        <dsp:cNvPr id="0" name=""/>
        <dsp:cNvSpPr/>
      </dsp:nvSpPr>
      <dsp:spPr>
        <a:xfrm>
          <a:off x="5108561" y="1379590"/>
          <a:ext cx="123758" cy="123800"/>
        </a:xfrm>
        <a:prstGeom prst="ellipse">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74557CB-8D75-4A72-AA7E-AB89902DE29D}">
      <dsp:nvSpPr>
        <dsp:cNvPr id="0" name=""/>
        <dsp:cNvSpPr/>
      </dsp:nvSpPr>
      <dsp:spPr>
        <a:xfrm>
          <a:off x="5108561" y="1892960"/>
          <a:ext cx="123758" cy="123800"/>
        </a:xfrm>
        <a:prstGeom prst="ellipse">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71CB195-C8A6-4786-B501-BB3D467EA4E0}">
      <dsp:nvSpPr>
        <dsp:cNvPr id="0" name=""/>
        <dsp:cNvSpPr/>
      </dsp:nvSpPr>
      <dsp:spPr>
        <a:xfrm>
          <a:off x="5219125" y="1490860"/>
          <a:ext cx="123758" cy="123800"/>
        </a:xfrm>
        <a:prstGeom prst="ellipse">
          <a:avLst/>
        </a:prstGeom>
        <a:solidFill>
          <a:schemeClr val="accent6">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56A0A92-4B8E-463D-87F3-B80E845F2C1E}">
      <dsp:nvSpPr>
        <dsp:cNvPr id="0" name=""/>
        <dsp:cNvSpPr/>
      </dsp:nvSpPr>
      <dsp:spPr>
        <a:xfrm>
          <a:off x="5226514" y="1782317"/>
          <a:ext cx="123758" cy="123800"/>
        </a:xfrm>
        <a:prstGeom prst="ellipse">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FB107FF-C659-4DB1-B9BE-8188A37D8DC8}">
      <dsp:nvSpPr>
        <dsp:cNvPr id="0" name=""/>
        <dsp:cNvSpPr/>
      </dsp:nvSpPr>
      <dsp:spPr>
        <a:xfrm>
          <a:off x="2795414" y="1070717"/>
          <a:ext cx="1253152" cy="1253037"/>
        </a:xfrm>
        <a:prstGeom prst="ellipse">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lvl="0" algn="ctr" defTabSz="755650" rtl="0">
            <a:lnSpc>
              <a:spcPct val="90000"/>
            </a:lnSpc>
            <a:spcBef>
              <a:spcPct val="0"/>
            </a:spcBef>
            <a:spcAft>
              <a:spcPct val="35000"/>
            </a:spcAft>
          </a:pPr>
          <a:r>
            <a:rPr lang="en-US" sz="1700" kern="1200" smtClean="0"/>
            <a:t>Magic happens here.</a:t>
          </a:r>
          <a:endParaRPr lang="en-US" sz="1700" kern="1200"/>
        </a:p>
      </dsp:txBody>
      <dsp:txXfrm>
        <a:off x="2978934" y="1254220"/>
        <a:ext cx="886112" cy="886031"/>
      </dsp:txXfrm>
    </dsp:sp>
    <dsp:sp modelId="{E6E01311-2A35-4B4B-9F9A-4C78CF52097D}">
      <dsp:nvSpPr>
        <dsp:cNvPr id="0" name=""/>
        <dsp:cNvSpPr/>
      </dsp:nvSpPr>
      <dsp:spPr>
        <a:xfrm>
          <a:off x="8101093" y="1635335"/>
          <a:ext cx="123758" cy="123800"/>
        </a:xfrm>
        <a:prstGeom prst="ellipse">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FA82CC9-BA7D-402C-BE20-EE113DB59379}">
      <dsp:nvSpPr>
        <dsp:cNvPr id="0" name=""/>
        <dsp:cNvSpPr/>
      </dsp:nvSpPr>
      <dsp:spPr>
        <a:xfrm>
          <a:off x="7890783" y="1635335"/>
          <a:ext cx="123758" cy="123800"/>
        </a:xfrm>
        <a:prstGeom prst="ellipse">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91FACF4-CD9B-4F28-B45D-C85FB2FF71C4}">
      <dsp:nvSpPr>
        <dsp:cNvPr id="0" name=""/>
        <dsp:cNvSpPr/>
      </dsp:nvSpPr>
      <dsp:spPr>
        <a:xfrm>
          <a:off x="7680472" y="1635335"/>
          <a:ext cx="123758" cy="123800"/>
        </a:xfrm>
        <a:prstGeom prst="ellipse">
          <a:avLst/>
        </a:prstGeom>
        <a:solidFill>
          <a:schemeClr val="accent6">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18CA391-211E-4580-9030-F77EC3BA52D1}">
      <dsp:nvSpPr>
        <dsp:cNvPr id="0" name=""/>
        <dsp:cNvSpPr/>
      </dsp:nvSpPr>
      <dsp:spPr>
        <a:xfrm>
          <a:off x="7470162" y="1635335"/>
          <a:ext cx="123758" cy="123800"/>
        </a:xfrm>
        <a:prstGeom prst="ellipse">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0FD9EE2-4ABB-4B77-9206-1CC9D53685E5}">
      <dsp:nvSpPr>
        <dsp:cNvPr id="0" name=""/>
        <dsp:cNvSpPr/>
      </dsp:nvSpPr>
      <dsp:spPr>
        <a:xfrm>
          <a:off x="7259852" y="1635335"/>
          <a:ext cx="123758" cy="123800"/>
        </a:xfrm>
        <a:prstGeom prst="ellipse">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92FA2CE-C451-4FDA-9819-6A2ACB23B580}">
      <dsp:nvSpPr>
        <dsp:cNvPr id="0" name=""/>
        <dsp:cNvSpPr/>
      </dsp:nvSpPr>
      <dsp:spPr>
        <a:xfrm>
          <a:off x="6925520" y="1573435"/>
          <a:ext cx="247780" cy="247600"/>
        </a:xfrm>
        <a:prstGeom prst="ellipse">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AF38A89-1BB1-4CAD-90F3-2C80BAA8E081}">
      <dsp:nvSpPr>
        <dsp:cNvPr id="0" name=""/>
        <dsp:cNvSpPr/>
      </dsp:nvSpPr>
      <dsp:spPr>
        <a:xfrm>
          <a:off x="7899227" y="1379590"/>
          <a:ext cx="123758" cy="123800"/>
        </a:xfrm>
        <a:prstGeom prst="ellipse">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CD38488-D128-4AAF-8585-4FFC9C1B27BE}">
      <dsp:nvSpPr>
        <dsp:cNvPr id="0" name=""/>
        <dsp:cNvSpPr/>
      </dsp:nvSpPr>
      <dsp:spPr>
        <a:xfrm>
          <a:off x="7899227" y="1892960"/>
          <a:ext cx="123758" cy="123800"/>
        </a:xfrm>
        <a:prstGeom prst="ellipse">
          <a:avLst/>
        </a:prstGeom>
        <a:solidFill>
          <a:schemeClr val="accent6">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10A6F66-50DB-4D50-937C-C19FCCFA12F1}">
      <dsp:nvSpPr>
        <dsp:cNvPr id="0" name=""/>
        <dsp:cNvSpPr/>
      </dsp:nvSpPr>
      <dsp:spPr>
        <a:xfrm>
          <a:off x="8009791" y="1490860"/>
          <a:ext cx="123758" cy="123800"/>
        </a:xfrm>
        <a:prstGeom prst="ellipse">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9206137-918F-4CB5-8162-9BB1A4CD0392}">
      <dsp:nvSpPr>
        <dsp:cNvPr id="0" name=""/>
        <dsp:cNvSpPr/>
      </dsp:nvSpPr>
      <dsp:spPr>
        <a:xfrm>
          <a:off x="8017180" y="1782317"/>
          <a:ext cx="123758" cy="123800"/>
        </a:xfrm>
        <a:prstGeom prst="ellipse">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E138595-1446-4B0F-A621-B247549003D3}">
      <dsp:nvSpPr>
        <dsp:cNvPr id="0" name=""/>
        <dsp:cNvSpPr/>
      </dsp:nvSpPr>
      <dsp:spPr>
        <a:xfrm>
          <a:off x="5586079" y="1070717"/>
          <a:ext cx="1253152" cy="1253037"/>
        </a:xfrm>
        <a:prstGeom prst="ellipse">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lvl="0" algn="ctr" defTabSz="755650" rtl="0">
            <a:lnSpc>
              <a:spcPct val="90000"/>
            </a:lnSpc>
            <a:spcBef>
              <a:spcPct val="0"/>
            </a:spcBef>
            <a:spcAft>
              <a:spcPct val="35000"/>
            </a:spcAft>
          </a:pPr>
          <a:r>
            <a:rPr lang="en-US" sz="1700" kern="1200" smtClean="0"/>
            <a:t>Profit.</a:t>
          </a:r>
          <a:endParaRPr lang="en-US" sz="1700" kern="1200"/>
        </a:p>
      </dsp:txBody>
      <dsp:txXfrm>
        <a:off x="5769599" y="1254220"/>
        <a:ext cx="886112" cy="88603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00B44C-0665-487E-A1BD-91D01AD2D396}">
      <dsp:nvSpPr>
        <dsp:cNvPr id="0" name=""/>
        <dsp:cNvSpPr/>
      </dsp:nvSpPr>
      <dsp:spPr>
        <a:xfrm>
          <a:off x="679390" y="385"/>
          <a:ext cx="555099" cy="555099"/>
        </a:xfrm>
        <a:prstGeom prst="ellipse">
          <a:avLst/>
        </a:prstGeom>
        <a:solidFill>
          <a:schemeClr val="bg1">
            <a:lumMod val="85000"/>
            <a:lumOff val="15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1430" tIns="11430" rIns="11430" bIns="11430" numCol="1" spcCol="1270" anchor="ctr" anchorCtr="0">
          <a:noAutofit/>
        </a:bodyPr>
        <a:lstStyle/>
        <a:p>
          <a:pPr lvl="0" algn="ctr" defTabSz="400050">
            <a:lnSpc>
              <a:spcPct val="90000"/>
            </a:lnSpc>
            <a:spcBef>
              <a:spcPct val="0"/>
            </a:spcBef>
            <a:spcAft>
              <a:spcPts val="0"/>
            </a:spcAft>
          </a:pPr>
          <a:r>
            <a:rPr lang="en-US" sz="900" kern="1200" dirty="0" smtClean="0"/>
            <a:t>Create Template</a:t>
          </a:r>
          <a:endParaRPr lang="en-US" sz="900" kern="1200" dirty="0"/>
        </a:p>
      </dsp:txBody>
      <dsp:txXfrm>
        <a:off x="760682" y="81677"/>
        <a:ext cx="392515" cy="392515"/>
      </dsp:txXfrm>
    </dsp:sp>
    <dsp:sp modelId="{5FC563DE-4FD5-4170-886F-B98D80D647C4}">
      <dsp:nvSpPr>
        <dsp:cNvPr id="0" name=""/>
        <dsp:cNvSpPr/>
      </dsp:nvSpPr>
      <dsp:spPr>
        <a:xfrm rot="2700000">
          <a:off x="1174922" y="476107"/>
          <a:ext cx="147722" cy="187346"/>
        </a:xfrm>
        <a:prstGeom prst="rightArrow">
          <a:avLst>
            <a:gd name="adj1" fmla="val 60000"/>
            <a:gd name="adj2" fmla="val 50000"/>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311150">
            <a:lnSpc>
              <a:spcPct val="90000"/>
            </a:lnSpc>
            <a:spcBef>
              <a:spcPct val="0"/>
            </a:spcBef>
            <a:spcAft>
              <a:spcPct val="35000"/>
            </a:spcAft>
          </a:pPr>
          <a:endParaRPr lang="en-US" sz="700" kern="1200"/>
        </a:p>
      </dsp:txBody>
      <dsp:txXfrm>
        <a:off x="1181412" y="497908"/>
        <a:ext cx="103405" cy="112408"/>
      </dsp:txXfrm>
    </dsp:sp>
    <dsp:sp modelId="{C4FB7B4C-4EBD-4877-AED2-FE59BF953BCF}">
      <dsp:nvSpPr>
        <dsp:cNvPr id="0" name=""/>
        <dsp:cNvSpPr/>
      </dsp:nvSpPr>
      <dsp:spPr>
        <a:xfrm>
          <a:off x="1268991" y="589987"/>
          <a:ext cx="555099" cy="555099"/>
        </a:xfrm>
        <a:prstGeom prst="ellipse">
          <a:avLst/>
        </a:prstGeom>
        <a:solidFill>
          <a:schemeClr val="bg1">
            <a:lumMod val="85000"/>
            <a:lumOff val="15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ts val="0"/>
            </a:spcAft>
          </a:pPr>
          <a:r>
            <a:rPr lang="en-US" sz="700" kern="1200" dirty="0" smtClean="0"/>
            <a:t>Customize</a:t>
          </a:r>
        </a:p>
        <a:p>
          <a:pPr lvl="0" algn="ctr" defTabSz="311150">
            <a:lnSpc>
              <a:spcPct val="90000"/>
            </a:lnSpc>
            <a:spcBef>
              <a:spcPct val="0"/>
            </a:spcBef>
            <a:spcAft>
              <a:spcPts val="252"/>
            </a:spcAft>
          </a:pPr>
          <a:r>
            <a:rPr lang="en-US" sz="700" kern="1200" dirty="0" smtClean="0"/>
            <a:t>Deployment</a:t>
          </a:r>
          <a:endParaRPr lang="en-US" sz="700" kern="1200" dirty="0"/>
        </a:p>
      </dsp:txBody>
      <dsp:txXfrm>
        <a:off x="1350283" y="671279"/>
        <a:ext cx="392515" cy="392515"/>
      </dsp:txXfrm>
    </dsp:sp>
    <dsp:sp modelId="{EF8F7655-CAB7-4AED-9904-1CD109C88109}">
      <dsp:nvSpPr>
        <dsp:cNvPr id="0" name=""/>
        <dsp:cNvSpPr/>
      </dsp:nvSpPr>
      <dsp:spPr>
        <a:xfrm rot="8100000">
          <a:off x="1180835" y="1065708"/>
          <a:ext cx="147722" cy="187346"/>
        </a:xfrm>
        <a:prstGeom prst="rightArrow">
          <a:avLst>
            <a:gd name="adj1" fmla="val 60000"/>
            <a:gd name="adj2" fmla="val 50000"/>
          </a:avLst>
        </a:prstGeom>
        <a:solidFill>
          <a:schemeClr val="bg2"/>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311150">
            <a:lnSpc>
              <a:spcPct val="90000"/>
            </a:lnSpc>
            <a:spcBef>
              <a:spcPct val="0"/>
            </a:spcBef>
            <a:spcAft>
              <a:spcPct val="35000"/>
            </a:spcAft>
          </a:pPr>
          <a:endParaRPr lang="en-US" sz="700" kern="1200"/>
        </a:p>
      </dsp:txBody>
      <dsp:txXfrm rot="10800000">
        <a:off x="1218662" y="1087509"/>
        <a:ext cx="103405" cy="112408"/>
      </dsp:txXfrm>
    </dsp:sp>
    <dsp:sp modelId="{34B3C88A-837F-43E8-ABA9-9E4A18B983F4}">
      <dsp:nvSpPr>
        <dsp:cNvPr id="0" name=""/>
        <dsp:cNvSpPr/>
      </dsp:nvSpPr>
      <dsp:spPr>
        <a:xfrm>
          <a:off x="679390" y="1179588"/>
          <a:ext cx="555099" cy="555099"/>
        </a:xfrm>
        <a:prstGeom prst="ellipse">
          <a:avLst/>
        </a:prstGeom>
        <a:solidFill>
          <a:schemeClr val="accent5"/>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1430" tIns="11430" rIns="11430" bIns="11430" numCol="1" spcCol="1270" anchor="ctr" anchorCtr="0">
          <a:noAutofit/>
        </a:bodyPr>
        <a:lstStyle/>
        <a:p>
          <a:pPr lvl="0" algn="ctr" defTabSz="400050">
            <a:lnSpc>
              <a:spcPct val="90000"/>
            </a:lnSpc>
            <a:spcBef>
              <a:spcPct val="0"/>
            </a:spcBef>
            <a:spcAft>
              <a:spcPts val="252"/>
            </a:spcAft>
          </a:pPr>
          <a:r>
            <a:rPr lang="en-US" sz="900" kern="1200" dirty="0" smtClean="0">
              <a:solidFill>
                <a:schemeClr val="tx1"/>
              </a:solidFill>
            </a:rPr>
            <a:t>Deploy</a:t>
          </a:r>
        </a:p>
        <a:p>
          <a:pPr lvl="0" algn="ctr" defTabSz="400050">
            <a:lnSpc>
              <a:spcPct val="90000"/>
            </a:lnSpc>
            <a:spcBef>
              <a:spcPct val="0"/>
            </a:spcBef>
            <a:spcAft>
              <a:spcPts val="0"/>
            </a:spcAft>
          </a:pPr>
          <a:r>
            <a:rPr lang="en-US" sz="900" kern="1200" dirty="0" smtClean="0">
              <a:solidFill>
                <a:schemeClr val="tx1"/>
              </a:solidFill>
            </a:rPr>
            <a:t>Service</a:t>
          </a:r>
          <a:endParaRPr lang="en-US" sz="900" kern="1200" dirty="0">
            <a:solidFill>
              <a:schemeClr val="tx1"/>
            </a:solidFill>
          </a:endParaRPr>
        </a:p>
      </dsp:txBody>
      <dsp:txXfrm>
        <a:off x="760682" y="1260880"/>
        <a:ext cx="392515" cy="392515"/>
      </dsp:txXfrm>
    </dsp:sp>
    <dsp:sp modelId="{619582D5-655D-41AE-88FC-71B7E2499D7B}">
      <dsp:nvSpPr>
        <dsp:cNvPr id="0" name=""/>
        <dsp:cNvSpPr/>
      </dsp:nvSpPr>
      <dsp:spPr>
        <a:xfrm rot="13500000">
          <a:off x="591234" y="1071620"/>
          <a:ext cx="147722" cy="187346"/>
        </a:xfrm>
        <a:prstGeom prst="rightArrow">
          <a:avLst>
            <a:gd name="adj1" fmla="val 60000"/>
            <a:gd name="adj2" fmla="val 50000"/>
          </a:avLst>
        </a:prstGeom>
        <a:solidFill>
          <a:schemeClr val="accent4"/>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311150">
            <a:lnSpc>
              <a:spcPct val="90000"/>
            </a:lnSpc>
            <a:spcBef>
              <a:spcPct val="0"/>
            </a:spcBef>
            <a:spcAft>
              <a:spcPct val="35000"/>
            </a:spcAft>
          </a:pPr>
          <a:endParaRPr lang="en-US" sz="700" kern="1200"/>
        </a:p>
      </dsp:txBody>
      <dsp:txXfrm rot="10800000">
        <a:off x="629061" y="1124757"/>
        <a:ext cx="103405" cy="112408"/>
      </dsp:txXfrm>
    </dsp:sp>
    <dsp:sp modelId="{C34FD9D0-EBF7-4CDB-A300-2C7A6BC7CC04}">
      <dsp:nvSpPr>
        <dsp:cNvPr id="0" name=""/>
        <dsp:cNvSpPr/>
      </dsp:nvSpPr>
      <dsp:spPr>
        <a:xfrm>
          <a:off x="89788" y="589987"/>
          <a:ext cx="555099" cy="555099"/>
        </a:xfrm>
        <a:prstGeom prst="ellipse">
          <a:avLst/>
        </a:prstGeom>
        <a:solidFill>
          <a:schemeClr val="bg1">
            <a:lumMod val="85000"/>
            <a:lumOff val="15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1430" tIns="11430" rIns="11430" bIns="11430" numCol="1" spcCol="1270" anchor="ctr" anchorCtr="0">
          <a:noAutofit/>
        </a:bodyPr>
        <a:lstStyle/>
        <a:p>
          <a:pPr lvl="0" algn="ctr" defTabSz="400050">
            <a:lnSpc>
              <a:spcPct val="90000"/>
            </a:lnSpc>
            <a:spcBef>
              <a:spcPct val="0"/>
            </a:spcBef>
            <a:spcAft>
              <a:spcPts val="0"/>
            </a:spcAft>
          </a:pPr>
          <a:r>
            <a:rPr lang="en-US" sz="900" kern="1200" dirty="0" smtClean="0"/>
            <a:t>Update</a:t>
          </a:r>
        </a:p>
        <a:p>
          <a:pPr lvl="0" algn="ctr" defTabSz="400050">
            <a:lnSpc>
              <a:spcPct val="90000"/>
            </a:lnSpc>
            <a:spcBef>
              <a:spcPct val="0"/>
            </a:spcBef>
            <a:spcAft>
              <a:spcPts val="252"/>
            </a:spcAft>
          </a:pPr>
          <a:r>
            <a:rPr lang="en-US" sz="900" kern="1200" dirty="0" smtClean="0"/>
            <a:t>Service</a:t>
          </a:r>
          <a:endParaRPr lang="en-US" sz="900" kern="1200" dirty="0"/>
        </a:p>
      </dsp:txBody>
      <dsp:txXfrm>
        <a:off x="171080" y="671279"/>
        <a:ext cx="392515" cy="392515"/>
      </dsp:txXfrm>
    </dsp:sp>
    <dsp:sp modelId="{C02A9D62-3E6F-4E32-9A53-E45211348E7A}">
      <dsp:nvSpPr>
        <dsp:cNvPr id="0" name=""/>
        <dsp:cNvSpPr/>
      </dsp:nvSpPr>
      <dsp:spPr>
        <a:xfrm rot="18900000">
          <a:off x="585321" y="482019"/>
          <a:ext cx="147722" cy="187346"/>
        </a:xfrm>
        <a:prstGeom prst="rightArrow">
          <a:avLst>
            <a:gd name="adj1" fmla="val 60000"/>
            <a:gd name="adj2" fmla="val 50000"/>
          </a:avLst>
        </a:prstGeom>
        <a:solidFill>
          <a:srgbClr val="429A16"/>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311150">
            <a:lnSpc>
              <a:spcPct val="90000"/>
            </a:lnSpc>
            <a:spcBef>
              <a:spcPct val="0"/>
            </a:spcBef>
            <a:spcAft>
              <a:spcPct val="35000"/>
            </a:spcAft>
          </a:pPr>
          <a:endParaRPr lang="en-US" sz="700" kern="1200"/>
        </a:p>
      </dsp:txBody>
      <dsp:txXfrm>
        <a:off x="591811" y="535156"/>
        <a:ext cx="103405" cy="11240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F8D9289-2FC2-4510-A9F3-D4A107711195}">
      <dsp:nvSpPr>
        <dsp:cNvPr id="0" name=""/>
        <dsp:cNvSpPr/>
      </dsp:nvSpPr>
      <dsp:spPr>
        <a:xfrm>
          <a:off x="711595" y="424"/>
          <a:ext cx="2724962" cy="1634977"/>
        </a:xfrm>
        <a:prstGeom prst="rect">
          <a:avLst/>
        </a:prstGeom>
        <a:solidFill>
          <a:schemeClr val="accent2">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b" anchorCtr="0">
          <a:noAutofit/>
        </a:bodyPr>
        <a:lstStyle/>
        <a:p>
          <a:pPr lvl="0" algn="l" defTabSz="1244600">
            <a:lnSpc>
              <a:spcPct val="90000"/>
            </a:lnSpc>
            <a:spcBef>
              <a:spcPct val="0"/>
            </a:spcBef>
            <a:spcAft>
              <a:spcPct val="35000"/>
            </a:spcAft>
          </a:pPr>
          <a:r>
            <a:rPr lang="en-US" sz="2800" kern="1200" dirty="0" smtClean="0"/>
            <a:t>Multi-tenancy</a:t>
          </a:r>
          <a:endParaRPr lang="en-US" sz="2800" kern="1200" dirty="0"/>
        </a:p>
      </dsp:txBody>
      <dsp:txXfrm>
        <a:off x="711595" y="424"/>
        <a:ext cx="2724962" cy="1634977"/>
      </dsp:txXfrm>
    </dsp:sp>
    <dsp:sp modelId="{39A0B091-9605-46A8-98A0-A267458D1D53}">
      <dsp:nvSpPr>
        <dsp:cNvPr id="0" name=""/>
        <dsp:cNvSpPr/>
      </dsp:nvSpPr>
      <dsp:spPr>
        <a:xfrm>
          <a:off x="3709053" y="424"/>
          <a:ext cx="2724962" cy="1634977"/>
        </a:xfrm>
        <a:prstGeom prst="rect">
          <a:avLst/>
        </a:prstGeom>
        <a:solidFill>
          <a:schemeClr val="accent3">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b" anchorCtr="0">
          <a:noAutofit/>
        </a:bodyPr>
        <a:lstStyle/>
        <a:p>
          <a:pPr lvl="0" algn="l" defTabSz="1244600">
            <a:lnSpc>
              <a:spcPct val="90000"/>
            </a:lnSpc>
            <a:spcBef>
              <a:spcPct val="0"/>
            </a:spcBef>
            <a:spcAft>
              <a:spcPct val="35000"/>
            </a:spcAft>
          </a:pPr>
          <a:r>
            <a:rPr lang="en-US" sz="2800" kern="1200" dirty="0" smtClean="0"/>
            <a:t>Partner Enablement</a:t>
          </a:r>
          <a:endParaRPr lang="en-US" sz="2800" kern="1200" dirty="0"/>
        </a:p>
      </dsp:txBody>
      <dsp:txXfrm>
        <a:off x="3709053" y="424"/>
        <a:ext cx="2724962" cy="1634977"/>
      </dsp:txXfrm>
    </dsp:sp>
    <dsp:sp modelId="{91FFD855-38B0-4E70-9697-11A770485479}">
      <dsp:nvSpPr>
        <dsp:cNvPr id="0" name=""/>
        <dsp:cNvSpPr/>
      </dsp:nvSpPr>
      <dsp:spPr>
        <a:xfrm>
          <a:off x="711595" y="1907898"/>
          <a:ext cx="2724962" cy="1634977"/>
        </a:xfrm>
        <a:prstGeom prst="rect">
          <a:avLst/>
        </a:prstGeom>
        <a:solidFill>
          <a:schemeClr val="accent4"/>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b" anchorCtr="0">
          <a:noAutofit/>
        </a:bodyPr>
        <a:lstStyle/>
        <a:p>
          <a:pPr lvl="0" algn="l" defTabSz="1244600">
            <a:lnSpc>
              <a:spcPct val="90000"/>
            </a:lnSpc>
            <a:spcBef>
              <a:spcPct val="0"/>
            </a:spcBef>
            <a:spcAft>
              <a:spcPct val="35000"/>
            </a:spcAft>
          </a:pPr>
          <a:r>
            <a:rPr lang="en-US" sz="2800" kern="1200" dirty="0" smtClean="0"/>
            <a:t>Windows Server 2012</a:t>
          </a:r>
          <a:endParaRPr lang="en-US" sz="2800" kern="1200" dirty="0"/>
        </a:p>
      </dsp:txBody>
      <dsp:txXfrm>
        <a:off x="711595" y="1907898"/>
        <a:ext cx="2724962" cy="1634977"/>
      </dsp:txXfrm>
    </dsp:sp>
    <dsp:sp modelId="{77AB1C87-A516-4D82-A84D-4E92C7090C3A}">
      <dsp:nvSpPr>
        <dsp:cNvPr id="0" name=""/>
        <dsp:cNvSpPr/>
      </dsp:nvSpPr>
      <dsp:spPr>
        <a:xfrm>
          <a:off x="3709053" y="1907898"/>
          <a:ext cx="2724962" cy="1634977"/>
        </a:xfrm>
        <a:prstGeom prst="rect">
          <a:avLst/>
        </a:prstGeom>
        <a:solidFill>
          <a:schemeClr val="accent5">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b" anchorCtr="0">
          <a:noAutofit/>
        </a:bodyPr>
        <a:lstStyle/>
        <a:p>
          <a:pPr lvl="0" algn="l" defTabSz="1244600">
            <a:lnSpc>
              <a:spcPct val="90000"/>
            </a:lnSpc>
            <a:spcBef>
              <a:spcPct val="0"/>
            </a:spcBef>
            <a:spcAft>
              <a:spcPct val="35000"/>
            </a:spcAft>
          </a:pPr>
          <a:r>
            <a:rPr lang="en-US" sz="2800" kern="1200" dirty="0" err="1" smtClean="0">
              <a:solidFill>
                <a:schemeClr val="tx1"/>
              </a:solidFill>
            </a:rPr>
            <a:t>Perf</a:t>
          </a:r>
          <a:r>
            <a:rPr lang="en-US" sz="2800" kern="1200" dirty="0" smtClean="0">
              <a:solidFill>
                <a:schemeClr val="tx1"/>
              </a:solidFill>
            </a:rPr>
            <a:t> and Scale</a:t>
          </a:r>
          <a:endParaRPr lang="en-US" sz="2800" kern="1200" dirty="0">
            <a:solidFill>
              <a:schemeClr val="tx1"/>
            </a:solidFill>
          </a:endParaRPr>
        </a:p>
      </dsp:txBody>
      <dsp:txXfrm>
        <a:off x="3709053" y="1907898"/>
        <a:ext cx="2724962" cy="163497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024B039-CEBF-4BCA-A82A-6641BF51F662}">
      <dsp:nvSpPr>
        <dsp:cNvPr id="0" name=""/>
        <dsp:cNvSpPr/>
      </dsp:nvSpPr>
      <dsp:spPr>
        <a:xfrm>
          <a:off x="340319" y="11228"/>
          <a:ext cx="1319490" cy="642530"/>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41910" tIns="41910" rIns="41910" bIns="41910" numCol="1" spcCol="1270" anchor="ctr" anchorCtr="0">
          <a:noAutofit/>
        </a:bodyPr>
        <a:lstStyle/>
        <a:p>
          <a:pPr lvl="0" algn="ctr" defTabSz="466725" rtl="0">
            <a:lnSpc>
              <a:spcPct val="90000"/>
            </a:lnSpc>
            <a:spcBef>
              <a:spcPct val="0"/>
            </a:spcBef>
            <a:spcAft>
              <a:spcPct val="35000"/>
            </a:spcAft>
          </a:pPr>
          <a:r>
            <a:rPr lang="en-US" sz="1050" i="1" kern="1200" dirty="0" smtClean="0"/>
            <a:t>Learn new capabilities</a:t>
          </a:r>
          <a:endParaRPr lang="en-US" sz="1050" i="1" kern="1200" dirty="0"/>
        </a:p>
      </dsp:txBody>
      <dsp:txXfrm>
        <a:off x="533554" y="105324"/>
        <a:ext cx="933020" cy="454338"/>
      </dsp:txXfrm>
    </dsp:sp>
    <dsp:sp modelId="{79DB6466-1E11-47C4-BEFE-D83B212B09BB}">
      <dsp:nvSpPr>
        <dsp:cNvPr id="0" name=""/>
        <dsp:cNvSpPr/>
      </dsp:nvSpPr>
      <dsp:spPr>
        <a:xfrm>
          <a:off x="1360115" y="258759"/>
          <a:ext cx="1469594" cy="868893"/>
        </a:xfrm>
        <a:prstGeom prst="ellipse">
          <a:avLst/>
        </a:prstGeom>
        <a:solidFill>
          <a:schemeClr val="accent3">
            <a:alpha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41910" tIns="41910" rIns="41910" bIns="41910" numCol="1" spcCol="1270" anchor="ctr" anchorCtr="0">
          <a:noAutofit/>
        </a:bodyPr>
        <a:lstStyle/>
        <a:p>
          <a:pPr lvl="0" algn="ctr" defTabSz="466725" rtl="0">
            <a:lnSpc>
              <a:spcPct val="90000"/>
            </a:lnSpc>
            <a:spcBef>
              <a:spcPct val="0"/>
            </a:spcBef>
            <a:spcAft>
              <a:spcPct val="35000"/>
            </a:spcAft>
          </a:pPr>
          <a:r>
            <a:rPr lang="en-US" sz="1050" i="1" kern="1200" dirty="0" smtClean="0"/>
            <a:t>Incorporate best practices</a:t>
          </a:r>
          <a:endParaRPr lang="en-US" sz="1050" i="1" kern="1200" dirty="0"/>
        </a:p>
      </dsp:txBody>
      <dsp:txXfrm>
        <a:off x="1575332" y="386005"/>
        <a:ext cx="1039160" cy="61440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84BB390-7EBC-4B60-A10A-F100010DEC31}">
      <dsp:nvSpPr>
        <dsp:cNvPr id="0" name=""/>
        <dsp:cNvSpPr/>
      </dsp:nvSpPr>
      <dsp:spPr>
        <a:xfrm>
          <a:off x="0" y="10734"/>
          <a:ext cx="8363938" cy="468000"/>
        </a:xfrm>
        <a:prstGeom prst="rect">
          <a:avLst/>
        </a:prstGeom>
        <a:solidFill>
          <a:schemeClr val="accent2">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rtl="0">
            <a:lnSpc>
              <a:spcPct val="90000"/>
            </a:lnSpc>
            <a:spcBef>
              <a:spcPct val="0"/>
            </a:spcBef>
            <a:spcAft>
              <a:spcPct val="35000"/>
            </a:spcAft>
          </a:pPr>
          <a:r>
            <a:rPr lang="en-US" sz="2000" kern="1200" dirty="0" smtClean="0"/>
            <a:t>Outlook</a:t>
          </a:r>
          <a:endParaRPr lang="en-US" sz="2000" kern="1200" dirty="0"/>
        </a:p>
      </dsp:txBody>
      <dsp:txXfrm>
        <a:off x="0" y="10734"/>
        <a:ext cx="8363938" cy="468000"/>
      </dsp:txXfrm>
    </dsp:sp>
    <dsp:sp modelId="{A53216FF-F637-4E9A-BEFA-465DE4723971}">
      <dsp:nvSpPr>
        <dsp:cNvPr id="0" name=""/>
        <dsp:cNvSpPr/>
      </dsp:nvSpPr>
      <dsp:spPr>
        <a:xfrm>
          <a:off x="0" y="478734"/>
          <a:ext cx="8363938" cy="12006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5555" tIns="25400" rIns="142240" bIns="25400" numCol="1" spcCol="1270" anchor="t" anchorCtr="0">
          <a:noAutofit/>
        </a:bodyPr>
        <a:lstStyle/>
        <a:p>
          <a:pPr marL="171450" lvl="1" indent="-171450" algn="l" defTabSz="711200" rtl="0">
            <a:lnSpc>
              <a:spcPct val="90000"/>
            </a:lnSpc>
            <a:spcBef>
              <a:spcPct val="0"/>
            </a:spcBef>
            <a:spcAft>
              <a:spcPct val="20000"/>
            </a:spcAft>
            <a:buChar char="••"/>
          </a:pPr>
          <a:r>
            <a:rPr lang="en-US" sz="1600" kern="1200" dirty="0" smtClean="0"/>
            <a:t>General Troubleshooting</a:t>
          </a:r>
          <a:endParaRPr lang="en-US" sz="1600" kern="1200" dirty="0"/>
        </a:p>
        <a:p>
          <a:pPr marL="171450" lvl="1" indent="-171450" algn="l" defTabSz="711200" rtl="0">
            <a:lnSpc>
              <a:spcPct val="90000"/>
            </a:lnSpc>
            <a:spcBef>
              <a:spcPct val="0"/>
            </a:spcBef>
            <a:spcAft>
              <a:spcPct val="20000"/>
            </a:spcAft>
            <a:buChar char="••"/>
          </a:pPr>
          <a:r>
            <a:rPr lang="en-US" sz="1600" kern="1200" dirty="0" smtClean="0"/>
            <a:t>Calendar</a:t>
          </a:r>
          <a:endParaRPr lang="en-US" sz="1600" kern="1200" dirty="0"/>
        </a:p>
        <a:p>
          <a:pPr marL="171450" lvl="1" indent="-171450" algn="l" defTabSz="711200" rtl="0">
            <a:lnSpc>
              <a:spcPct val="90000"/>
            </a:lnSpc>
            <a:spcBef>
              <a:spcPct val="0"/>
            </a:spcBef>
            <a:spcAft>
              <a:spcPct val="20000"/>
            </a:spcAft>
            <a:buChar char="••"/>
          </a:pPr>
          <a:r>
            <a:rPr lang="en-US" sz="1600" kern="1200" dirty="0" smtClean="0"/>
            <a:t>Connectivity</a:t>
          </a:r>
          <a:endParaRPr lang="en-US" sz="1600" kern="1200" dirty="0"/>
        </a:p>
        <a:p>
          <a:pPr marL="171450" lvl="1" indent="-171450" algn="l" defTabSz="711200" rtl="0">
            <a:lnSpc>
              <a:spcPct val="90000"/>
            </a:lnSpc>
            <a:spcBef>
              <a:spcPct val="0"/>
            </a:spcBef>
            <a:spcAft>
              <a:spcPct val="20000"/>
            </a:spcAft>
            <a:buChar char="••"/>
          </a:pPr>
          <a:r>
            <a:rPr lang="en-US" sz="1600" kern="1200" dirty="0" smtClean="0"/>
            <a:t>OCAT</a:t>
          </a:r>
          <a:endParaRPr lang="en-US" sz="1600" kern="1200" dirty="0"/>
        </a:p>
      </dsp:txBody>
      <dsp:txXfrm>
        <a:off x="0" y="478734"/>
        <a:ext cx="8363938" cy="1200600"/>
      </dsp:txXfrm>
    </dsp:sp>
    <dsp:sp modelId="{013FC9F1-DDC2-453F-88BE-1E29CB18DF10}">
      <dsp:nvSpPr>
        <dsp:cNvPr id="0" name=""/>
        <dsp:cNvSpPr/>
      </dsp:nvSpPr>
      <dsp:spPr>
        <a:xfrm>
          <a:off x="0" y="1679334"/>
          <a:ext cx="8363938" cy="468000"/>
        </a:xfrm>
        <a:prstGeom prst="rect">
          <a:avLst/>
        </a:prstGeom>
        <a:solidFill>
          <a:schemeClr val="accent3">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rtl="0">
            <a:lnSpc>
              <a:spcPct val="90000"/>
            </a:lnSpc>
            <a:spcBef>
              <a:spcPct val="0"/>
            </a:spcBef>
            <a:spcAft>
              <a:spcPct val="35000"/>
            </a:spcAft>
          </a:pPr>
          <a:r>
            <a:rPr lang="en-US" sz="2000" kern="1200" dirty="0" smtClean="0"/>
            <a:t>Word</a:t>
          </a:r>
          <a:endParaRPr lang="en-US" sz="2000" kern="1200" dirty="0"/>
        </a:p>
      </dsp:txBody>
      <dsp:txXfrm>
        <a:off x="0" y="1679334"/>
        <a:ext cx="8363938" cy="468000"/>
      </dsp:txXfrm>
    </dsp:sp>
    <dsp:sp modelId="{9B9DF69D-B157-4412-9207-7FD68CC341FB}">
      <dsp:nvSpPr>
        <dsp:cNvPr id="0" name=""/>
        <dsp:cNvSpPr/>
      </dsp:nvSpPr>
      <dsp:spPr>
        <a:xfrm>
          <a:off x="0" y="2204934"/>
          <a:ext cx="8363938" cy="468000"/>
        </a:xfrm>
        <a:prstGeom prst="rect">
          <a:avLst/>
        </a:prstGeom>
        <a:solidFill>
          <a:schemeClr val="accent4">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rtl="0">
            <a:lnSpc>
              <a:spcPct val="90000"/>
            </a:lnSpc>
            <a:spcBef>
              <a:spcPct val="0"/>
            </a:spcBef>
            <a:spcAft>
              <a:spcPct val="35000"/>
            </a:spcAft>
          </a:pPr>
          <a:r>
            <a:rPr lang="en-US" sz="2000" kern="1200" dirty="0" smtClean="0"/>
            <a:t>Excel</a:t>
          </a:r>
          <a:endParaRPr lang="en-US" sz="2000" kern="1200" dirty="0"/>
        </a:p>
      </dsp:txBody>
      <dsp:txXfrm>
        <a:off x="0" y="2204934"/>
        <a:ext cx="8363938" cy="468000"/>
      </dsp:txXfrm>
    </dsp:sp>
    <dsp:sp modelId="{74222B8B-39AA-4024-B387-760ED93D0805}">
      <dsp:nvSpPr>
        <dsp:cNvPr id="0" name=""/>
        <dsp:cNvSpPr/>
      </dsp:nvSpPr>
      <dsp:spPr>
        <a:xfrm>
          <a:off x="0" y="2730534"/>
          <a:ext cx="8363938" cy="468000"/>
        </a:xfrm>
        <a:prstGeom prst="rect">
          <a:avLst/>
        </a:prstGeom>
        <a:solidFill>
          <a:schemeClr val="accent5">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rtl="0">
            <a:lnSpc>
              <a:spcPct val="90000"/>
            </a:lnSpc>
            <a:spcBef>
              <a:spcPct val="0"/>
            </a:spcBef>
            <a:spcAft>
              <a:spcPct val="35000"/>
            </a:spcAft>
          </a:pPr>
          <a:r>
            <a:rPr lang="en-US" sz="2000" kern="1200" dirty="0" smtClean="0"/>
            <a:t>PowerPoint</a:t>
          </a:r>
          <a:endParaRPr lang="en-US" sz="2000" kern="1200" dirty="0"/>
        </a:p>
      </dsp:txBody>
      <dsp:txXfrm>
        <a:off x="0" y="2730534"/>
        <a:ext cx="8363938" cy="468000"/>
      </dsp:txXfrm>
    </dsp:sp>
    <dsp:sp modelId="{B6EDE3B8-36DC-406A-AB21-FE53918BC600}">
      <dsp:nvSpPr>
        <dsp:cNvPr id="0" name=""/>
        <dsp:cNvSpPr/>
      </dsp:nvSpPr>
      <dsp:spPr>
        <a:xfrm>
          <a:off x="0" y="3256134"/>
          <a:ext cx="8363938" cy="468000"/>
        </a:xfrm>
        <a:prstGeom prst="rect">
          <a:avLst/>
        </a:prstGeom>
        <a:solidFill>
          <a:schemeClr val="accent6">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rtl="0">
            <a:lnSpc>
              <a:spcPct val="90000"/>
            </a:lnSpc>
            <a:spcBef>
              <a:spcPct val="0"/>
            </a:spcBef>
            <a:spcAft>
              <a:spcPct val="35000"/>
            </a:spcAft>
          </a:pPr>
          <a:r>
            <a:rPr lang="en-US" sz="2000" kern="1200" dirty="0" smtClean="0"/>
            <a:t>Q&amp;A</a:t>
          </a:r>
          <a:endParaRPr lang="en-US" sz="2000" kern="1200" dirty="0"/>
        </a:p>
      </dsp:txBody>
      <dsp:txXfrm>
        <a:off x="0" y="3256134"/>
        <a:ext cx="8363938" cy="46800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860AC9F-97A3-4DC4-A2A8-C4F2AAE87A79}">
      <dsp:nvSpPr>
        <dsp:cNvPr id="0" name=""/>
        <dsp:cNvSpPr/>
      </dsp:nvSpPr>
      <dsp:spPr>
        <a:xfrm>
          <a:off x="2359255" y="0"/>
          <a:ext cx="1907209" cy="1907499"/>
        </a:xfrm>
        <a:prstGeom prst="circularArrow">
          <a:avLst>
            <a:gd name="adj1" fmla="val 10980"/>
            <a:gd name="adj2" fmla="val 1142322"/>
            <a:gd name="adj3" fmla="val 4500000"/>
            <a:gd name="adj4" fmla="val 10800000"/>
            <a:gd name="adj5" fmla="val 12500"/>
          </a:avLst>
        </a:prstGeom>
        <a:solidFill>
          <a:schemeClr val="accent5">
            <a:alpha val="87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9273BE7-DE2C-4061-AA17-0A7BFA57CFB0}">
      <dsp:nvSpPr>
        <dsp:cNvPr id="0" name=""/>
        <dsp:cNvSpPr/>
      </dsp:nvSpPr>
      <dsp:spPr>
        <a:xfrm>
          <a:off x="2780811" y="688665"/>
          <a:ext cx="1059799" cy="5297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kern="1200" dirty="0" smtClean="0"/>
            <a:t>Protect and Manage Threats</a:t>
          </a:r>
          <a:endParaRPr lang="en-US" sz="1100" kern="1200" dirty="0"/>
        </a:p>
      </dsp:txBody>
      <dsp:txXfrm>
        <a:off x="2780811" y="688665"/>
        <a:ext cx="1059799" cy="529772"/>
      </dsp:txXfrm>
    </dsp:sp>
    <dsp:sp modelId="{B26FD3CE-1CF3-41CF-B8EC-1A601E69492E}">
      <dsp:nvSpPr>
        <dsp:cNvPr id="0" name=""/>
        <dsp:cNvSpPr/>
      </dsp:nvSpPr>
      <dsp:spPr>
        <a:xfrm>
          <a:off x="1829535" y="1095999"/>
          <a:ext cx="1907209" cy="1907499"/>
        </a:xfrm>
        <a:prstGeom prst="leftCircularArrow">
          <a:avLst>
            <a:gd name="adj1" fmla="val 10980"/>
            <a:gd name="adj2" fmla="val 1142322"/>
            <a:gd name="adj3" fmla="val 6300000"/>
            <a:gd name="adj4" fmla="val 18900000"/>
            <a:gd name="adj5" fmla="val 12500"/>
          </a:avLst>
        </a:prstGeom>
        <a:solidFill>
          <a:schemeClr val="accent5">
            <a:alpha val="87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DA3FFD0-8996-4842-85DC-BE79E94C23B4}">
      <dsp:nvSpPr>
        <dsp:cNvPr id="0" name=""/>
        <dsp:cNvSpPr/>
      </dsp:nvSpPr>
      <dsp:spPr>
        <a:xfrm>
          <a:off x="2253239" y="1791004"/>
          <a:ext cx="1059799" cy="5297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kern="1200" dirty="0" smtClean="0"/>
            <a:t>Protect Sensitive Data</a:t>
          </a:r>
          <a:endParaRPr lang="en-US" sz="1100" kern="1200" dirty="0"/>
        </a:p>
      </dsp:txBody>
      <dsp:txXfrm>
        <a:off x="2253239" y="1791004"/>
        <a:ext cx="1059799" cy="529772"/>
      </dsp:txXfrm>
    </dsp:sp>
    <dsp:sp modelId="{0C74514F-B192-4726-8F5A-3050F80ADCD6}">
      <dsp:nvSpPr>
        <dsp:cNvPr id="0" name=""/>
        <dsp:cNvSpPr/>
      </dsp:nvSpPr>
      <dsp:spPr>
        <a:xfrm>
          <a:off x="2494998" y="2323155"/>
          <a:ext cx="1638588" cy="1639244"/>
        </a:xfrm>
        <a:prstGeom prst="blockArc">
          <a:avLst>
            <a:gd name="adj1" fmla="val 13500000"/>
            <a:gd name="adj2" fmla="val 10800000"/>
            <a:gd name="adj3" fmla="val 12740"/>
          </a:avLst>
        </a:prstGeom>
        <a:solidFill>
          <a:schemeClr val="accent5">
            <a:alpha val="87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D448F732-7F5F-49D0-ABE9-D806C79498D3}">
      <dsp:nvSpPr>
        <dsp:cNvPr id="0" name=""/>
        <dsp:cNvSpPr/>
      </dsp:nvSpPr>
      <dsp:spPr>
        <a:xfrm>
          <a:off x="2783318" y="2894929"/>
          <a:ext cx="1059799" cy="5297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kern="1200" dirty="0" smtClean="0"/>
            <a:t>Protect Access to Resources</a:t>
          </a:r>
          <a:endParaRPr lang="en-US" sz="1100" kern="1200" dirty="0"/>
        </a:p>
      </dsp:txBody>
      <dsp:txXfrm>
        <a:off x="2783318" y="2894929"/>
        <a:ext cx="1059799" cy="529772"/>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255F57-122C-4849-B84D-DEFA5A48263E}">
      <dsp:nvSpPr>
        <dsp:cNvPr id="0" name=""/>
        <dsp:cNvSpPr/>
      </dsp:nvSpPr>
      <dsp:spPr>
        <a:xfrm>
          <a:off x="788" y="29903"/>
          <a:ext cx="3075264" cy="1845158"/>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0970" tIns="140970" rIns="140970" bIns="140970" numCol="1" spcCol="1270" anchor="ctr" anchorCtr="0">
          <a:noAutofit/>
        </a:bodyPr>
        <a:lstStyle/>
        <a:p>
          <a:pPr lvl="0" algn="ctr" defTabSz="1644650">
            <a:lnSpc>
              <a:spcPct val="90000"/>
            </a:lnSpc>
            <a:spcBef>
              <a:spcPct val="0"/>
            </a:spcBef>
            <a:spcAft>
              <a:spcPct val="35000"/>
            </a:spcAft>
          </a:pPr>
          <a:r>
            <a:rPr lang="en-US" sz="3700" b="1" kern="1200" dirty="0" smtClean="0"/>
            <a:t>Overview</a:t>
          </a:r>
          <a:endParaRPr lang="en-US" sz="3700" b="1" kern="1200" dirty="0"/>
        </a:p>
      </dsp:txBody>
      <dsp:txXfrm>
        <a:off x="788" y="29903"/>
        <a:ext cx="3075264" cy="1845158"/>
      </dsp:txXfrm>
    </dsp:sp>
    <dsp:sp modelId="{5DE8FC5F-3FCD-4DDC-9181-BE983159620C}">
      <dsp:nvSpPr>
        <dsp:cNvPr id="0" name=""/>
        <dsp:cNvSpPr/>
      </dsp:nvSpPr>
      <dsp:spPr>
        <a:xfrm>
          <a:off x="3383579" y="29903"/>
          <a:ext cx="3075264" cy="1845158"/>
        </a:xfrm>
        <a:prstGeom prst="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0970" tIns="140970" rIns="140970" bIns="140970" numCol="1" spcCol="1270" anchor="ctr" anchorCtr="0">
          <a:noAutofit/>
        </a:bodyPr>
        <a:lstStyle/>
        <a:p>
          <a:pPr lvl="0" algn="ctr" defTabSz="1644650">
            <a:lnSpc>
              <a:spcPct val="90000"/>
            </a:lnSpc>
            <a:spcBef>
              <a:spcPct val="0"/>
            </a:spcBef>
            <a:spcAft>
              <a:spcPct val="35000"/>
            </a:spcAft>
          </a:pPr>
          <a:r>
            <a:rPr lang="en-US" sz="3700" b="1" kern="1200" dirty="0" smtClean="0"/>
            <a:t>Deployment</a:t>
          </a:r>
          <a:endParaRPr lang="en-US" sz="3700" b="1" kern="1200" dirty="0"/>
        </a:p>
      </dsp:txBody>
      <dsp:txXfrm>
        <a:off x="3383579" y="29903"/>
        <a:ext cx="3075264" cy="1845158"/>
      </dsp:txXfrm>
    </dsp:sp>
    <dsp:sp modelId="{FC2E6A7F-D110-419F-AE4B-22ADC74A2650}">
      <dsp:nvSpPr>
        <dsp:cNvPr id="0" name=""/>
        <dsp:cNvSpPr/>
      </dsp:nvSpPr>
      <dsp:spPr>
        <a:xfrm>
          <a:off x="788" y="2182588"/>
          <a:ext cx="3075264" cy="1845158"/>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0970" tIns="140970" rIns="140970" bIns="140970" numCol="1" spcCol="1270" anchor="ctr" anchorCtr="0">
          <a:noAutofit/>
        </a:bodyPr>
        <a:lstStyle/>
        <a:p>
          <a:pPr lvl="0" algn="ctr" defTabSz="1644650">
            <a:lnSpc>
              <a:spcPct val="90000"/>
            </a:lnSpc>
            <a:spcBef>
              <a:spcPct val="0"/>
            </a:spcBef>
            <a:spcAft>
              <a:spcPct val="35000"/>
            </a:spcAft>
          </a:pPr>
          <a:r>
            <a:rPr lang="en-US" sz="3700" b="1" kern="1200" dirty="0" smtClean="0"/>
            <a:t>Operations</a:t>
          </a:r>
          <a:endParaRPr lang="en-US" sz="3700" b="1" kern="1200" dirty="0"/>
        </a:p>
      </dsp:txBody>
      <dsp:txXfrm>
        <a:off x="788" y="2182588"/>
        <a:ext cx="3075264" cy="1845158"/>
      </dsp:txXfrm>
    </dsp:sp>
    <dsp:sp modelId="{7FCEA5F6-86E0-4BED-BB73-2A35B1F828C5}">
      <dsp:nvSpPr>
        <dsp:cNvPr id="0" name=""/>
        <dsp:cNvSpPr/>
      </dsp:nvSpPr>
      <dsp:spPr>
        <a:xfrm>
          <a:off x="3384367" y="2171738"/>
          <a:ext cx="3075264" cy="1845158"/>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0970" tIns="140970" rIns="140970" bIns="140970" numCol="1" spcCol="1270" anchor="ctr" anchorCtr="0">
          <a:noAutofit/>
        </a:bodyPr>
        <a:lstStyle/>
        <a:p>
          <a:pPr lvl="0" algn="ctr" defTabSz="1644650">
            <a:lnSpc>
              <a:spcPct val="90000"/>
            </a:lnSpc>
            <a:spcBef>
              <a:spcPct val="0"/>
            </a:spcBef>
            <a:spcAft>
              <a:spcPct val="35000"/>
            </a:spcAft>
          </a:pPr>
          <a:r>
            <a:rPr lang="en-US" sz="3700" b="1" kern="1200" dirty="0" smtClean="0"/>
            <a:t>New in DNS</a:t>
          </a:r>
          <a:endParaRPr lang="en-US" sz="3700" b="1" kern="1200" dirty="0"/>
        </a:p>
      </dsp:txBody>
      <dsp:txXfrm>
        <a:off x="3384367" y="2171738"/>
        <a:ext cx="3075264" cy="1845158"/>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1/layout/ConvergingText#1">
  <dgm:title val="Converging Text"/>
  <dgm:desc val="Use to show multiple steps or parts that merge into a whole. Works best with a small number of Level 1 shapes. Unused text does not appear, but remains available if you switch layouts."/>
  <dgm:catLst>
    <dgm:cat type="process" pri="6500"/>
    <dgm:cat type="officeonline" pri="5000"/>
  </dgm:catLst>
  <dgm:sampData>
    <dgm:dataModel>
      <dgm:ptLst>
        <dgm:pt modelId="0" type="doc"/>
        <dgm:pt modelId="10">
          <dgm:prSet phldr="1"/>
        </dgm:pt>
        <dgm:pt modelId="11">
          <dgm:prSet phldr="1"/>
        </dgm:pt>
        <dgm:pt modelId="12">
          <dgm:prSet phldr="1"/>
        </dgm:pt>
        <dgm:pt modelId="13">
          <dgm:prSet phldr="1"/>
        </dgm:pt>
      </dgm:ptLst>
      <dgm:cxnLst>
        <dgm:cxn modelId="1" srcId="0" destId="10" srcOrd="0" destOrd="0"/>
        <dgm:cxn modelId="2" srcId="10" destId="11" srcOrd="0" destOrd="0"/>
        <dgm:cxn modelId="3" srcId="10" destId="12" srcOrd="1" destOrd="0"/>
        <dgm:cxn modelId="4" srcId="10" destId="13" srcOrd="2"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1" srcId="0" destId="10" srcOrd="0" destOrd="0"/>
        <dgm:cxn modelId="2" srcId="10" destId="11" srcOrd="0" destOrd="0"/>
        <dgm:cxn modelId="3" srcId="10" destId="12" srcOrd="1" destOrd="0"/>
        <dgm:cxn modelId="4" srcId="10" destId="13" srcOrd="2" destOrd="0"/>
      </dgm:cxnLst>
      <dgm:bg/>
      <dgm:whole/>
    </dgm:dataModel>
  </dgm:styleData>
  <dgm:clrData>
    <dgm:dataModel>
      <dgm:ptLst>
        <dgm:pt modelId="0" type="doc"/>
        <dgm:pt modelId="10">
          <dgm:prSet phldr="1"/>
        </dgm:pt>
        <dgm:pt modelId="11">
          <dgm:prSet phldr="1"/>
        </dgm:pt>
        <dgm:pt modelId="12">
          <dgm:prSet phldr="1"/>
        </dgm:pt>
        <dgm:pt modelId="13">
          <dgm:prSet phldr="1"/>
        </dgm:pt>
      </dgm:ptLst>
      <dgm:cxnLst>
        <dgm:cxn modelId="1" srcId="0" destId="10" srcOrd="0" destOrd="0"/>
        <dgm:cxn modelId="2" srcId="10" destId="11" srcOrd="0" destOrd="0"/>
        <dgm:cxn modelId="3" srcId="10" destId="12" srcOrd="1" destOrd="0"/>
        <dgm:cxn modelId="4" srcId="10" destId="13" srcOrd="2" destOrd="0"/>
      </dgm:cxnLst>
      <dgm:bg/>
      <dgm:whole/>
    </dgm:dataModel>
  </dgm:clrData>
  <dgm:layoutNode name="Name0">
    <dgm:varLst>
      <dgm:chMax/>
      <dgm:chPref val="1"/>
      <dgm:dir/>
      <dgm:animOne val="branch"/>
      <dgm:animLvl val="lvl"/>
      <dgm:resizeHandles/>
    </dgm:varLst>
    <dgm:choose name="Name1">
      <dgm:if name="Name2" func="var" arg="dir" op="equ" val="norm">
        <dgm:alg type="lin">
          <dgm:param type="linDir" val="fromL"/>
          <dgm:param type="vertAlign" val="mid"/>
          <dgm:param type="nodeVertAlign" val="mid"/>
          <dgm:param type="horzAlign" val="ctr"/>
        </dgm:alg>
      </dgm:if>
      <dgm:else name="Name3">
        <dgm:alg type="lin">
          <dgm:param type="linDir" val="fromR"/>
          <dgm:param type="vertAlign" val="mid"/>
          <dgm:param type="nodeVertAlign" val="mid"/>
          <dgm:param type="horzAlign" val="ctr"/>
        </dgm:alg>
      </dgm:else>
    </dgm:choose>
    <dgm:shape xmlns:r="http://schemas.openxmlformats.org/officeDocument/2006/relationships" r:blip="">
      <dgm:adjLst/>
    </dgm:shape>
    <dgm:constrLst>
      <dgm:constr type="primFontSz" for="des" forName="Parent" op="equ" val="65"/>
      <dgm:constr type="primFontSz" for="des" forName="Child1" op="equ" val="65"/>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w" for="ch" forName="composite" refType="w"/>
      <dgm:constr type="h" for="ch" forName="composite" refType="h"/>
      <dgm:constr type="sp" refType="w" refFor="ch" refForName="composite" op="equ" fact="0.05"/>
      <dgm:constr type="w" for="ch" forName="sibTrans" refType="w" refFor="ch" refForName="composite" op="equ" fact="0.05"/>
      <dgm:constr type="h" for="ch" forName="sibTrans" refType="w" refFor="ch" refForName="sibTrans" op="equ"/>
    </dgm:constrLst>
    <dgm:forEach name="nodesForEach" axis="ch" ptType="node">
      <dgm:layoutNode name="composite">
        <dgm:choose name="Name4">
          <dgm:if name="Name5" func="var" arg="dir" op="equ" val="norm">
            <dgm:choose name="Name6">
              <dgm:if name="Name7" axis="ch" ptType="node" func="cnt" op="equ" val="0">
                <dgm:alg type="composite">
                  <dgm:param type="ar" val="2.1059"/>
                </dgm:alg>
                <dgm:constrLst>
                  <dgm:constr type="l" for="ch" forName="Parent" refType="w" fact="0"/>
                  <dgm:constr type="t" for="ch" forName="Parent" refType="h" fact="0"/>
                  <dgm:constr type="w" for="ch" forName="Parent" refType="w" fact="0.4749"/>
                  <dgm:constr type="h" for="ch" forName="Parent" refType="h"/>
                  <dgm:constr type="l" for="ch" forName="ParentAccent1" refType="w" fact="0.9531"/>
                  <dgm:constr type="t" for="ch" forName="ParentAccent1" refType="h" fact="0.4506"/>
                  <dgm:constr type="w" for="ch" forName="ParentAccent1" refType="w" fact="0.0469"/>
                  <dgm:constr type="h" for="ch" forName="ParentAccent1" refType="h" fact="0.0988"/>
                  <dgm:constr type="l" for="ch" forName="ParentAccent2" refType="w" fact="0.8734"/>
                  <dgm:constr type="t" for="ch" forName="ParentAccent2" refType="h" fact="0.4506"/>
                  <dgm:constr type="w" for="ch" forName="ParentAccent2" refType="w" fact="0.0469"/>
                  <dgm:constr type="h" for="ch" forName="ParentAccent2" refType="h" fact="0.0988"/>
                  <dgm:constr type="l" for="ch" forName="ParentAccent3" refType="w" fact="0.7937"/>
                  <dgm:constr type="t" for="ch" forName="ParentAccent3" refType="h" fact="0.4506"/>
                  <dgm:constr type="w" for="ch" forName="ParentAccent3" refType="w" fact="0.0469"/>
                  <dgm:constr type="h" for="ch" forName="ParentAccent3" refType="h" fact="0.0988"/>
                  <dgm:constr type="l" for="ch" forName="ParentAccent4" refType="w" fact="0.714"/>
                  <dgm:constr type="t" for="ch" forName="ParentAccent4" refType="h" fact="0.4506"/>
                  <dgm:constr type="w" for="ch" forName="ParentAccent4" refType="w" fact="0.0469"/>
                  <dgm:constr type="h" for="ch" forName="ParentAccent4" refType="h" fact="0.0988"/>
                  <dgm:constr type="l" for="ch" forName="ParentAccent5" refType="w" fact="0.6343"/>
                  <dgm:constr type="t" for="ch" forName="ParentAccent5" refType="h" fact="0.4506"/>
                  <dgm:constr type="w" for="ch" forName="ParentAccent5" refType="w" fact="0.0469"/>
                  <dgm:constr type="h" for="ch" forName="ParentAccent5" refType="h" fact="0.0988"/>
                  <dgm:constr type="l" for="ch" forName="ParentAccent6" refType="w" fact="0.5076"/>
                  <dgm:constr type="t" for="ch" forName="ParentAccent6" refType="h" fact="0.4012"/>
                  <dgm:constr type="w" for="ch" forName="ParentAccent6" refType="w" fact="0.0939"/>
                  <dgm:constr type="h" for="ch" forName="ParentAccent6" refType="h" fact="0.1976"/>
                  <dgm:constr type="l" for="ch" forName="ParentAccent7" refType="w" fact="0.8766"/>
                  <dgm:constr type="t" for="ch" forName="ParentAccent7" refType="h" fact="0.2465"/>
                  <dgm:constr type="w" for="ch" forName="ParentAccent7" refType="w" fact="0.0469"/>
                  <dgm:constr type="h" for="ch" forName="ParentAccent7" refType="h" fact="0.0988"/>
                  <dgm:constr type="l" for="ch" forName="ParentAccent8" refType="w" fact="0.8766"/>
                  <dgm:constr type="t" for="ch" forName="ParentAccent8" refType="h" fact="0.6562"/>
                  <dgm:constr type="w" for="ch" forName="ParentAccent8" refType="w" fact="0.0469"/>
                  <dgm:constr type="h" for="ch" forName="ParentAccent8" refType="h" fact="0.0988"/>
                  <dgm:constr type="l" for="ch" forName="ParentAccent9" refType="w" fact="0.9185"/>
                  <dgm:constr type="t" for="ch" forName="ParentAccent9" refType="h" fact="0.3353"/>
                  <dgm:constr type="w" for="ch" forName="ParentAccent9" refType="w" fact="0.0469"/>
                  <dgm:constr type="h" for="ch" forName="ParentAccent9" refType="h" fact="0.0988"/>
                  <dgm:constr type="l" for="ch" forName="ParentAccent10" refType="w" fact="0.9213"/>
                  <dgm:constr type="t" for="ch" forName="ParentAccent10" refType="h" fact="0.5679"/>
                  <dgm:constr type="w" for="ch" forName="ParentAccent10" refType="w" fact="0.0469"/>
                  <dgm:constr type="h" for="ch" forName="ParentAccent10" refType="h" fact="0.0988"/>
                </dgm:constrLst>
              </dgm:if>
              <dgm:if name="Name8" axis="ch" ptType="node" func="cnt" op="equ" val="1">
                <dgm:alg type="composite">
                  <dgm:param type="ar" val="3.4411"/>
                </dgm:alg>
                <dgm:constrLst>
                  <dgm:constr type="l" for="ch" forName="Child1Accent1" refType="w" fact="0.284"/>
                  <dgm:constr type="t" for="ch" forName="Child1Accent1" refType="h" fact="0.4012"/>
                  <dgm:constr type="w" for="ch" forName="Child1Accent1" refType="w" fact="0.0574"/>
                  <dgm:constr type="h" for="ch" forName="Child1Accent1" refType="h" fact="0.1976"/>
                  <dgm:constr type="l" for="ch" forName="Child1Accent2" refType="w" fact="0.2272"/>
                  <dgm:constr type="t" for="ch" forName="Child1Accent2" refType="h" fact="0.4506"/>
                  <dgm:constr type="w" for="ch" forName="Child1Accent2" refType="w" fact="0.0287"/>
                  <dgm:constr type="h" for="ch" forName="Child1Accent2" refType="h" fact="0.0988"/>
                  <dgm:constr type="l" for="ch" forName="Child1Accent3" refType="w" fact="0.1705"/>
                  <dgm:constr type="t" for="ch" forName="Child1Accent3" refType="h" fact="0.4506"/>
                  <dgm:constr type="w" for="ch" forName="Child1Accent3" refType="w" fact="0.0287"/>
                  <dgm:constr type="h" for="ch" forName="Child1Accent3" refType="h" fact="0.0988"/>
                  <dgm:constr type="l" for="ch" forName="Child1Accent4" refType="w" fact="0.1137"/>
                  <dgm:constr type="t" for="ch" forName="Child1Accent4" refType="h" fact="0.4506"/>
                  <dgm:constr type="w" for="ch" forName="Child1Accent4" refType="w" fact="0.0287"/>
                  <dgm:constr type="h" for="ch" forName="Child1Accent4" refType="h" fact="0.0988"/>
                  <dgm:constr type="l" for="ch" forName="Child1Accent5" refType="w" fact="0.057"/>
                  <dgm:constr type="t" for="ch" forName="Child1Accent5" refType="h" fact="0.4506"/>
                  <dgm:constr type="w" for="ch" forName="Child1Accent5" refType="w" fact="0.0287"/>
                  <dgm:constr type="h" for="ch" forName="Child1Accent5" refType="h" fact="0.0988"/>
                  <dgm:constr type="l" for="ch" forName="Child1Accent6" refType="w" fact="0.0002"/>
                  <dgm:constr type="t" for="ch" forName="Child1Accent6" refType="h" fact="0.4506"/>
                  <dgm:constr type="w" for="ch" forName="Child1Accent6" refType="w" fact="0.0287"/>
                  <dgm:constr type="h" for="ch" forName="Child1Accent6" refType="h" fact="0.0988"/>
                  <dgm:constr type="l" for="ch" forName="Child1Accent7" refType="w" fact="0"/>
                  <dgm:constr type="t" for="ch" forName="Child1Accent7" refType="h" fact="0"/>
                  <dgm:constr type="w" for="ch" forName="Child1Accent7" refType="w" fact="0"/>
                  <dgm:constr type="h" for="ch" forName="Child1Accent7" refType="h" fact="0"/>
                  <dgm:constr type="l" for="ch" forName="Child1Accent8" refType="w" fact="0"/>
                  <dgm:constr type="t" for="ch" forName="Child1Accent8" refType="h" fact="0"/>
                  <dgm:constr type="w" for="ch" forName="Child1Accent8" refType="w" fact="0"/>
                  <dgm:constr type="h" for="ch" forName="Child1Accent8" refType="h" fact="0"/>
                  <dgm:constr type="l" for="ch" forName="Child1Accent9" refType="w" fact="0"/>
                  <dgm:constr type="t" for="ch" forName="Child1Accent9" refType="h" fact="0"/>
                  <dgm:constr type="w" for="ch" forName="Child1Accent9" refType="w" fact="0"/>
                  <dgm:constr type="h" for="ch" forName="Child1Accent9" refType="h" fact="0"/>
                  <dgm:constr type="l" for="ch" forName="ParentAccent1" refType="w" fact="0.9713"/>
                  <dgm:constr type="t" for="ch" forName="ParentAccent1" refType="h" fact="0.4506"/>
                  <dgm:constr type="w" for="ch" forName="ParentAccent1" refType="w" fact="0.0287"/>
                  <dgm:constr type="h" for="ch" forName="ParentAccent1" refType="h" fact="0.0988"/>
                  <dgm:constr type="l" for="ch" forName="ParentAccent2" refType="w" fact="0.9187"/>
                  <dgm:constr type="t" for="ch" forName="ParentAccent2" refType="h" fact="0.4506"/>
                  <dgm:constr type="w" for="ch" forName="ParentAccent2" refType="w" fact="0.0287"/>
                  <dgm:constr type="h" for="ch" forName="ParentAccent2" refType="h" fact="0.0988"/>
                  <dgm:constr type="l" for="ch" forName="ParentAccent3" refType="w" fact="0.8661"/>
                  <dgm:constr type="t" for="ch" forName="ParentAccent3" refType="h" fact="0.4506"/>
                  <dgm:constr type="w" for="ch" forName="ParentAccent3" refType="w" fact="0.0287"/>
                  <dgm:constr type="h" for="ch" forName="ParentAccent3" refType="h" fact="0.0988"/>
                  <dgm:constr type="l" for="ch" forName="ParentAccent4" refType="w" fact="0.8136"/>
                  <dgm:constr type="t" for="ch" forName="ParentAccent4" refType="h" fact="0.4506"/>
                  <dgm:constr type="w" for="ch" forName="ParentAccent4" refType="w" fact="0.0287"/>
                  <dgm:constr type="h" for="ch" forName="ParentAccent4" refType="h" fact="0.0988"/>
                  <dgm:constr type="l" for="ch" forName="ParentAccent5" refType="w" fact="0.761"/>
                  <dgm:constr type="t" for="ch" forName="ParentAccent5" refType="h" fact="0.4506"/>
                  <dgm:constr type="w" for="ch" forName="ParentAccent5" refType="w" fact="0.0287"/>
                  <dgm:constr type="h" for="ch" forName="ParentAccent5" refType="h" fact="0.0988"/>
                  <dgm:constr type="l" for="ch" forName="ParentAccent6" refType="w" fact="0.6797"/>
                  <dgm:constr type="t" for="ch" forName="ParentAccent6" refType="h" fact="0.4012"/>
                  <dgm:constr type="w" for="ch" forName="ParentAccent6" refType="w" fact="0.0574"/>
                  <dgm:constr type="h" for="ch" forName="ParentAccent6" refType="h" fact="0.1976"/>
                  <dgm:constr type="l" for="ch" forName="ParentAccent7" refType="w" fact="0.9245"/>
                  <dgm:constr type="t" for="ch" forName="ParentAccent7" refType="h" fact="0.2465"/>
                  <dgm:constr type="w" for="ch" forName="ParentAccent7" refType="w" fact="0.0287"/>
                  <dgm:constr type="h" for="ch" forName="ParentAccent7" refType="h" fact="0.0988"/>
                  <dgm:constr type="l" for="ch" forName="ParentAccent8" refType="w" fact="0.9245"/>
                  <dgm:constr type="t" for="ch" forName="ParentAccent8" refType="h" fact="0.6562"/>
                  <dgm:constr type="w" for="ch" forName="ParentAccent8" refType="w" fact="0.0287"/>
                  <dgm:constr type="h" for="ch" forName="ParentAccent8" refType="h" fact="0.0988"/>
                  <dgm:constr type="l" for="ch" forName="ParentAccent9" refType="w" fact="0.9501"/>
                  <dgm:constr type="t" for="ch" forName="ParentAccent9" refType="h" fact="0.3353"/>
                  <dgm:constr type="w" for="ch" forName="ParentAccent9" refType="w" fact="0.0287"/>
                  <dgm:constr type="h" for="ch" forName="ParentAccent9" refType="h" fact="0.0988"/>
                  <dgm:constr type="l" for="ch" forName="ParentAccent10" refType="w" fact="0.9518"/>
                  <dgm:constr type="t" for="ch" forName="ParentAccent10" refType="h" fact="0.5679"/>
                  <dgm:constr type="w" for="ch" forName="ParentAccent10" refType="w" fact="0.0287"/>
                  <dgm:constr type="h" for="ch" forName="ParentAccent10" refType="h" fact="0.0988"/>
                  <dgm:constr type="l" for="ch" forName="Child1" refType="w" fact="0"/>
                  <dgm:constr type="t" for="ch" forName="Child1" refType="h" fact="0.1978"/>
                  <dgm:constr type="w" for="ch" forName="Child1" refType="w" fact="0.2544"/>
                  <dgm:constr type="h" for="ch" forName="Child1" refType="h" fact="0.2541"/>
                  <dgm:constr type="l" for="ch" forName="Parent" refType="w" fact="0.3653"/>
                  <dgm:constr type="t" for="ch" forName="Parent" refType="h" fact="0"/>
                  <dgm:constr type="w" for="ch" forName="Parent" refType="w" fact="0.2906"/>
                  <dgm:constr type="h" for="ch" forName="Parent" refType="h"/>
                </dgm:constrLst>
              </dgm:if>
              <dgm:if name="Name9" axis="ch" ptType="node" func="cnt" op="equ" val="2">
                <dgm:alg type="composite">
                  <dgm:param type="ar" val="2.1185"/>
                </dgm:alg>
                <dgm:constrLst>
                  <dgm:constr type="l" for="ch" forName="Child1Accent1" refType="w" fact="0.3436"/>
                  <dgm:constr type="t" for="ch" forName="Child1Accent1" refType="h" fact="0.2211"/>
                  <dgm:constr type="w" for="ch" forName="Child1Accent1" refType="w" fact="0.0574"/>
                  <dgm:constr type="h" for="ch" forName="Child1Accent1" refType="h" fact="0.1217"/>
                  <dgm:constr type="l" for="ch" forName="Child1Accent2" refType="w" fact="0.3068"/>
                  <dgm:constr type="t" for="ch" forName="Child1Accent2" refType="h" fact="0.1569"/>
                  <dgm:constr type="w" for="ch" forName="Child1Accent2" refType="w" fact="0.0287"/>
                  <dgm:constr type="h" for="ch" forName="Child1Accent2" refType="h" fact="0.0608"/>
                  <dgm:constr type="l" for="ch" forName="Child1Accent3" refType="w" fact="0.2455"/>
                  <dgm:constr type="t" for="ch" forName="Child1Accent3" refType="h" fact="0.1569"/>
                  <dgm:constr type="w" for="ch" forName="Child1Accent3" refType="w" fact="0.0287"/>
                  <dgm:constr type="h" for="ch" forName="Child1Accent3" refType="h" fact="0.0608"/>
                  <dgm:constr type="l" for="ch" forName="Child1Accent4" refType="w" fact="0.1842"/>
                  <dgm:constr type="t" for="ch" forName="Child1Accent4" refType="h" fact="0.1569"/>
                  <dgm:constr type="w" for="ch" forName="Child1Accent4" refType="w" fact="0.0287"/>
                  <dgm:constr type="h" for="ch" forName="Child1Accent4" refType="h" fact="0.0608"/>
                  <dgm:constr type="l" for="ch" forName="Child1Accent5" refType="w" fact="0.1229"/>
                  <dgm:constr type="t" for="ch" forName="Child1Accent5" refType="h" fact="0.1569"/>
                  <dgm:constr type="w" for="ch" forName="Child1Accent5" refType="w" fact="0.0287"/>
                  <dgm:constr type="h" for="ch" forName="Child1Accent5" refType="h" fact="0.0608"/>
                  <dgm:constr type="l" for="ch" forName="Child1Accent6" refType="w" fact="0.0615"/>
                  <dgm:constr type="t" for="ch" forName="Child1Accent6" refType="h" fact="0.1569"/>
                  <dgm:constr type="w" for="ch" forName="Child1Accent6" refType="w" fact="0.0287"/>
                  <dgm:constr type="h" for="ch" forName="Child1Accent6" refType="h" fact="0.0608"/>
                  <dgm:constr type="l" for="ch" forName="Child1Accent7" refType="w" fact="0.0002"/>
                  <dgm:constr type="t" for="ch" forName="Child1Accent7" refType="h" fact="0.1569"/>
                  <dgm:constr type="w" for="ch" forName="Child1Accent7" refType="w" fact="0.0287"/>
                  <dgm:constr type="h" for="ch" forName="Child1Accent7" refType="h" fact="0.0608"/>
                  <dgm:constr type="l" for="ch" forName="Child1Accent8" refType="w" fact="0"/>
                  <dgm:constr type="t" for="ch" forName="Child1Accent8" refType="h" fact="0"/>
                  <dgm:constr type="w" for="ch" forName="Child1Accent8" refType="w" fact="0"/>
                  <dgm:constr type="h" for="ch" forName="Child1Accent8" refType="h" fact="0"/>
                  <dgm:constr type="l" for="ch" forName="Child1Accent9" refType="w" fact="0"/>
                  <dgm:constr type="t" for="ch" forName="Child1Accent9" refType="h" fact="0"/>
                  <dgm:constr type="w" for="ch" forName="Child1Accent9" refType="w" fact="0"/>
                  <dgm:constr type="h" for="ch" forName="Child1Accent9" refType="h" fact="0"/>
                  <dgm:constr type="l" for="ch" forName="Child2Accent1" refType="w" fact="0.3436"/>
                  <dgm:constr type="t" for="ch" forName="Child2Accent1" refType="h" fact="0.8153"/>
                  <dgm:constr type="w" for="ch" forName="Child2Accent1" refType="w" fact="0.0574"/>
                  <dgm:constr type="h" for="ch" forName="Child2Accent1" refType="h" fact="0.1217"/>
                  <dgm:constr type="l" for="ch" forName="Child2Accent2" refType="w" fact="0.3068"/>
                  <dgm:constr type="t" for="ch" forName="Child2Accent2" refType="h" fact="0.9392"/>
                  <dgm:constr type="w" for="ch" forName="Child2Accent2" refType="w" fact="0.0287"/>
                  <dgm:constr type="h" for="ch" forName="Child2Accent2" refType="h" fact="0.0608"/>
                  <dgm:constr type="l" for="ch" forName="Child2Accent3" refType="w" fact="0.2455"/>
                  <dgm:constr type="t" for="ch" forName="Child2Accent3" refType="h" fact="0.9392"/>
                  <dgm:constr type="w" for="ch" forName="Child2Accent3" refType="w" fact="0.0287"/>
                  <dgm:constr type="h" for="ch" forName="Child2Accent3" refType="h" fact="0.0608"/>
                  <dgm:constr type="l" for="ch" forName="Child2Accent4" refType="w" fact="0.1842"/>
                  <dgm:constr type="t" for="ch" forName="Child2Accent4" refType="h" fact="0.9392"/>
                  <dgm:constr type="w" for="ch" forName="Child2Accent4" refType="w" fact="0.0287"/>
                  <dgm:constr type="h" for="ch" forName="Child2Accent4" refType="h" fact="0.0608"/>
                  <dgm:constr type="l" for="ch" forName="Child2Accent5" refType="w" fact="0.1229"/>
                  <dgm:constr type="t" for="ch" forName="Child2Accent5" refType="h" fact="0.9392"/>
                  <dgm:constr type="w" for="ch" forName="Child2Accent5" refType="w" fact="0.0287"/>
                  <dgm:constr type="h" for="ch" forName="Child2Accent5" refType="h" fact="0.0608"/>
                  <dgm:constr type="l" for="ch" forName="Child2Accent6" refType="w" fact="0.0615"/>
                  <dgm:constr type="t" for="ch" forName="Child2Accent6" refType="h" fact="0.9392"/>
                  <dgm:constr type="w" for="ch" forName="Child2Accent6" refType="w" fact="0.0287"/>
                  <dgm:constr type="h" for="ch" forName="Child2Accent6" refType="h" fact="0.0608"/>
                  <dgm:constr type="l" for="ch" forName="Child2Accent7" refType="w" fact="0.0002"/>
                  <dgm:constr type="t" for="ch" forName="Child2Accent7" refType="h" fact="0.9392"/>
                  <dgm:constr type="w" for="ch" forName="Child2Accent7" refType="w" fact="0.0287"/>
                  <dgm:constr type="h" for="ch" forName="Child2Accent7" refType="h" fact="0.0608"/>
                  <dgm:constr type="l" for="ch" forName="ParentAccent1" refType="w" fact="0.9713"/>
                  <dgm:constr type="t" for="ch" forName="ParentAccent1" refType="h" fact="0.5511"/>
                  <dgm:constr type="w" for="ch" forName="ParentAccent1" refType="w" fact="0.0287"/>
                  <dgm:constr type="h" for="ch" forName="ParentAccent1" refType="h" fact="0.0608"/>
                  <dgm:constr type="l" for="ch" forName="ParentAccent2" refType="w" fact="0.9187"/>
                  <dgm:constr type="t" for="ch" forName="ParentAccent2" refType="h" fact="0.5511"/>
                  <dgm:constr type="w" for="ch" forName="ParentAccent2" refType="w" fact="0.0287"/>
                  <dgm:constr type="h" for="ch" forName="ParentAccent2" refType="h" fact="0.0608"/>
                  <dgm:constr type="l" for="ch" forName="ParentAccent3" refType="w" fact="0.8661"/>
                  <dgm:constr type="t" for="ch" forName="ParentAccent3" refType="h" fact="0.5511"/>
                  <dgm:constr type="w" for="ch" forName="ParentAccent3" refType="w" fact="0.0287"/>
                  <dgm:constr type="h" for="ch" forName="ParentAccent3" refType="h" fact="0.0608"/>
                  <dgm:constr type="l" for="ch" forName="ParentAccent4" refType="w" fact="0.8136"/>
                  <dgm:constr type="t" for="ch" forName="ParentAccent4" refType="h" fact="0.5511"/>
                  <dgm:constr type="w" for="ch" forName="ParentAccent4" refType="w" fact="0.0287"/>
                  <dgm:constr type="h" for="ch" forName="ParentAccent4" refType="h" fact="0.0608"/>
                  <dgm:constr type="l" for="ch" forName="ParentAccent5" refType="w" fact="0.761"/>
                  <dgm:constr type="t" for="ch" forName="ParentAccent5" refType="h" fact="0.5511"/>
                  <dgm:constr type="w" for="ch" forName="ParentAccent5" refType="w" fact="0.0287"/>
                  <dgm:constr type="h" for="ch" forName="ParentAccent5" refType="h" fact="0.0608"/>
                  <dgm:constr type="l" for="ch" forName="ParentAccent6" refType="w" fact="0.6797"/>
                  <dgm:constr type="t" for="ch" forName="ParentAccent6" refType="h" fact="0.5207"/>
                  <dgm:constr type="w" for="ch" forName="ParentAccent6" refType="w" fact="0.0574"/>
                  <dgm:constr type="h" for="ch" forName="ParentAccent6" refType="h" fact="0.1217"/>
                  <dgm:constr type="l" for="ch" forName="ParentAccent7" refType="w" fact="0.9245"/>
                  <dgm:constr type="t" for="ch" forName="ParentAccent7" refType="h" fact="0.4255"/>
                  <dgm:constr type="w" for="ch" forName="ParentAccent7" refType="w" fact="0.0287"/>
                  <dgm:constr type="h" for="ch" forName="ParentAccent7" refType="h" fact="0.0608"/>
                  <dgm:constr type="l" for="ch" forName="ParentAccent8" refType="w" fact="0.9245"/>
                  <dgm:constr type="t" for="ch" forName="ParentAccent8" refType="h" fact="0.6776"/>
                  <dgm:constr type="w" for="ch" forName="ParentAccent8" refType="w" fact="0.0287"/>
                  <dgm:constr type="h" for="ch" forName="ParentAccent8" refType="h" fact="0.0608"/>
                  <dgm:constr type="l" for="ch" forName="ParentAccent9" refType="w" fact="0.9501"/>
                  <dgm:constr type="t" for="ch" forName="ParentAccent9" refType="h" fact="0.4801"/>
                  <dgm:constr type="w" for="ch" forName="ParentAccent9" refType="w" fact="0.0287"/>
                  <dgm:constr type="h" for="ch" forName="ParentAccent9" refType="h" fact="0.0608"/>
                  <dgm:constr type="l" for="ch" forName="ParentAccent10" refType="w" fact="0.9518"/>
                  <dgm:constr type="t" for="ch" forName="ParentAccent10" refType="h" fact="0.6233"/>
                  <dgm:constr type="w" for="ch" forName="ParentAccent10" refType="w" fact="0.0287"/>
                  <dgm:constr type="h" for="ch" forName="ParentAccent10" refType="h" fact="0.0608"/>
                  <dgm:constr type="l" for="ch" forName="Child2" refType="w" fact="0"/>
                  <dgm:constr type="t" for="ch" forName="Child2" refType="h" fact="0.7822"/>
                  <dgm:constr type="w" for="ch" forName="Child2" refType="w" fact="0.3364"/>
                  <dgm:constr type="h" for="ch" forName="Child2" refType="h" fact="0.1564"/>
                  <dgm:constr type="l" for="ch" forName="Child1" refType="w" fact="0"/>
                  <dgm:constr type="t" for="ch" forName="Child1" refType="h" fact="0"/>
                  <dgm:constr type="w" for="ch" forName="Child1" refType="w" fact="0.3364"/>
                  <dgm:constr type="h" for="ch" forName="Child1" refType="h" fact="0.1564"/>
                  <dgm:constr type="l" for="ch" forName="Parent" refType="w" fact="0.3653"/>
                  <dgm:constr type="t" for="ch" forName="Parent" refType="h" fact="0.2737"/>
                  <dgm:constr type="w" for="ch" forName="Parent" refType="w" fact="0.2906"/>
                  <dgm:constr type="h" for="ch" forName="Parent" refType="h" fact="0.6157"/>
                </dgm:constrLst>
              </dgm:if>
              <dgm:if name="Name10" axis="ch" ptType="node" func="cnt" op="equ" val="3">
                <dgm:alg type="composite">
                  <dgm:param type="ar" val="2.1185"/>
                </dgm:alg>
                <dgm:constrLst>
                  <dgm:constr type="l" for="ch" forName="Child1Accent1" refType="w" fact="0.3436"/>
                  <dgm:constr type="t" for="ch" forName="Child1Accent1" refType="h" fact="0.2211"/>
                  <dgm:constr type="w" for="ch" forName="Child1Accent1" refType="w" fact="0.0574"/>
                  <dgm:constr type="h" for="ch" forName="Child1Accent1" refType="h" fact="0.1217"/>
                  <dgm:constr type="l" for="ch" forName="Child1Accent2" refType="w" fact="0.3068"/>
                  <dgm:constr type="t" for="ch" forName="Child1Accent2" refType="h" fact="0.1569"/>
                  <dgm:constr type="w" for="ch" forName="Child1Accent2" refType="w" fact="0.0287"/>
                  <dgm:constr type="h" for="ch" forName="Child1Accent2" refType="h" fact="0.0608"/>
                  <dgm:constr type="l" for="ch" forName="Child1Accent3" refType="w" fact="0.2455"/>
                  <dgm:constr type="t" for="ch" forName="Child1Accent3" refType="h" fact="0.1569"/>
                  <dgm:constr type="w" for="ch" forName="Child1Accent3" refType="w" fact="0.0287"/>
                  <dgm:constr type="h" for="ch" forName="Child1Accent3" refType="h" fact="0.0608"/>
                  <dgm:constr type="l" for="ch" forName="Child1Accent4" refType="w" fact="0.1842"/>
                  <dgm:constr type="t" for="ch" forName="Child1Accent4" refType="h" fact="0.1569"/>
                  <dgm:constr type="w" for="ch" forName="Child1Accent4" refType="w" fact="0.0287"/>
                  <dgm:constr type="h" for="ch" forName="Child1Accent4" refType="h" fact="0.0608"/>
                  <dgm:constr type="l" for="ch" forName="Child1Accent5" refType="w" fact="0.1229"/>
                  <dgm:constr type="t" for="ch" forName="Child1Accent5" refType="h" fact="0.1569"/>
                  <dgm:constr type="w" for="ch" forName="Child1Accent5" refType="w" fact="0.0287"/>
                  <dgm:constr type="h" for="ch" forName="Child1Accent5" refType="h" fact="0.0608"/>
                  <dgm:constr type="l" for="ch" forName="Child2Accent1" refType="w" fact="0.284"/>
                  <dgm:constr type="t" for="ch" forName="Child2Accent1" refType="h" fact="0.5207"/>
                  <dgm:constr type="w" for="ch" forName="Child2Accent1" refType="w" fact="0.0574"/>
                  <dgm:constr type="h" for="ch" forName="Child2Accent1" refType="h" fact="0.1217"/>
                  <dgm:constr type="l" for="ch" forName="Child2Accent2" refType="w" fact="0.2272"/>
                  <dgm:constr type="t" for="ch" forName="Child2Accent2" refType="h" fact="0.5511"/>
                  <dgm:constr type="w" for="ch" forName="Child2Accent2" refType="w" fact="0.0287"/>
                  <dgm:constr type="h" for="ch" forName="Child2Accent2" refType="h" fact="0.0608"/>
                  <dgm:constr type="l" for="ch" forName="Child2Accent3" refType="w" fact="0.1705"/>
                  <dgm:constr type="t" for="ch" forName="Child2Accent3" refType="h" fact="0.5511"/>
                  <dgm:constr type="w" for="ch" forName="Child2Accent3" refType="w" fact="0.0287"/>
                  <dgm:constr type="h" for="ch" forName="Child2Accent3" refType="h" fact="0.0608"/>
                  <dgm:constr type="l" for="ch" forName="Child2Accent4" refType="w" fact="0.1137"/>
                  <dgm:constr type="t" for="ch" forName="Child2Accent4" refType="h" fact="0.5511"/>
                  <dgm:constr type="w" for="ch" forName="Child2Accent4" refType="w" fact="0.0287"/>
                  <dgm:constr type="h" for="ch" forName="Child2Accent4" refType="h" fact="0.0608"/>
                  <dgm:constr type="l" for="ch" forName="Child1Accent6" refType="w" fact="0.0615"/>
                  <dgm:constr type="t" for="ch" forName="Child1Accent6" refType="h" fact="0.1569"/>
                  <dgm:constr type="w" for="ch" forName="Child1Accent6" refType="w" fact="0.0287"/>
                  <dgm:constr type="h" for="ch" forName="Child1Accent6" refType="h" fact="0.0608"/>
                  <dgm:constr type="l" for="ch" forName="Child2Accent5" refType="w" fact="0.057"/>
                  <dgm:constr type="t" for="ch" forName="Child2Accent5" refType="h" fact="0.5511"/>
                  <dgm:constr type="w" for="ch" forName="Child2Accent5" refType="w" fact="0.0287"/>
                  <dgm:constr type="h" for="ch" forName="Child2Accent5" refType="h" fact="0.0608"/>
                  <dgm:constr type="l" for="ch" forName="Child1Accent7" refType="w" fact="0.0002"/>
                  <dgm:constr type="t" for="ch" forName="Child1Accent7" refType="h" fact="0.1569"/>
                  <dgm:constr type="w" for="ch" forName="Child1Accent7" refType="w" fact="0.0287"/>
                  <dgm:constr type="h" for="ch" forName="Child1Accent7" refType="h" fact="0.0608"/>
                  <dgm:constr type="l" for="ch" forName="Child1Accent8" refType="w" fact="0"/>
                  <dgm:constr type="t" for="ch" forName="Child1Accent8" refType="h" fact="0"/>
                  <dgm:constr type="w" for="ch" forName="Child1Accent8" refType="w" fact="0"/>
                  <dgm:constr type="h" for="ch" forName="Child1Accent8" refType="h" fact="0"/>
                  <dgm:constr type="l" for="ch" forName="Child1Accent9" refType="w" fact="0"/>
                  <dgm:constr type="t" for="ch" forName="Child1Accent9" refType="h" fact="0"/>
                  <dgm:constr type="w" for="ch" forName="Child1Accent9" refType="w" fact="0"/>
                  <dgm:constr type="h" for="ch" forName="Child1Accent9" refType="h" fact="0"/>
                  <dgm:constr type="l" for="ch" forName="Child2Accent6" refType="w" fact="0.0002"/>
                  <dgm:constr type="t" for="ch" forName="Child2Accent6" refType="h" fact="0.5511"/>
                  <dgm:constr type="w" for="ch" forName="Child2Accent6" refType="w" fact="0.0287"/>
                  <dgm:constr type="h" for="ch" forName="Child2Accent6" refType="h" fact="0.0608"/>
                  <dgm:constr type="l" for="ch" forName="Child2Accent7" refType="w" fact="0"/>
                  <dgm:constr type="t" for="ch" forName="Child2Accent7" refType="h" fact="0"/>
                  <dgm:constr type="w" for="ch" forName="Child2Accent7" refType="w" fact="0"/>
                  <dgm:constr type="h" for="ch" forName="Child2Accent7" refType="h" fact="0"/>
                  <dgm:constr type="l" for="ch" forName="Child3Accent1" refType="w" fact="0.3436"/>
                  <dgm:constr type="t" for="ch" forName="Child3Accent1" refType="h" fact="0.8153"/>
                  <dgm:constr type="w" for="ch" forName="Child3Accent1" refType="w" fact="0.0574"/>
                  <dgm:constr type="h" for="ch" forName="Child3Accent1" refType="h" fact="0.1217"/>
                  <dgm:constr type="l" for="ch" forName="Child3Accent2" refType="w" fact="0.3068"/>
                  <dgm:constr type="t" for="ch" forName="Child3Accent2" refType="h" fact="0.9392"/>
                  <dgm:constr type="w" for="ch" forName="Child3Accent2" refType="w" fact="0.0287"/>
                  <dgm:constr type="h" for="ch" forName="Child3Accent2" refType="h" fact="0.0608"/>
                  <dgm:constr type="l" for="ch" forName="Child3Accent3" refType="w" fact="0.2455"/>
                  <dgm:constr type="t" for="ch" forName="Child3Accent3" refType="h" fact="0.9392"/>
                  <dgm:constr type="w" for="ch" forName="Child3Accent3" refType="w" fact="0.0287"/>
                  <dgm:constr type="h" for="ch" forName="Child3Accent3" refType="h" fact="0.0608"/>
                  <dgm:constr type="l" for="ch" forName="Child3Accent4" refType="w" fact="0.1842"/>
                  <dgm:constr type="t" for="ch" forName="Child3Accent4" refType="h" fact="0.9392"/>
                  <dgm:constr type="w" for="ch" forName="Child3Accent4" refType="w" fact="0.0287"/>
                  <dgm:constr type="h" for="ch" forName="Child3Accent4" refType="h" fact="0.0608"/>
                  <dgm:constr type="l" for="ch" forName="Child3Accent5" refType="w" fact="0.1229"/>
                  <dgm:constr type="t" for="ch" forName="Child3Accent5" refType="h" fact="0.9392"/>
                  <dgm:constr type="w" for="ch" forName="Child3Accent5" refType="w" fact="0.0287"/>
                  <dgm:constr type="h" for="ch" forName="Child3Accent5" refType="h" fact="0.0608"/>
                  <dgm:constr type="l" for="ch" forName="Child3Accent6" refType="w" fact="0.0615"/>
                  <dgm:constr type="t" for="ch" forName="Child3Accent6" refType="h" fact="0.9392"/>
                  <dgm:constr type="w" for="ch" forName="Child3Accent6" refType="w" fact="0.0287"/>
                  <dgm:constr type="h" for="ch" forName="Child3Accent6" refType="h" fact="0.0608"/>
                  <dgm:constr type="l" for="ch" forName="Child3Accent7" refType="w" fact="0.0002"/>
                  <dgm:constr type="t" for="ch" forName="Child3Accent7" refType="h" fact="0.9392"/>
                  <dgm:constr type="w" for="ch" forName="Child3Accent7" refType="w" fact="0.0287"/>
                  <dgm:constr type="h" for="ch" forName="Child3Accent7" refType="h" fact="0.0608"/>
                  <dgm:constr type="l" for="ch" forName="ParentAccent1" refType="w" fact="0.9713"/>
                  <dgm:constr type="t" for="ch" forName="ParentAccent1" refType="h" fact="0.5511"/>
                  <dgm:constr type="w" for="ch" forName="ParentAccent1" refType="w" fact="0.0287"/>
                  <dgm:constr type="h" for="ch" forName="ParentAccent1" refType="h" fact="0.0608"/>
                  <dgm:constr type="l" for="ch" forName="ParentAccent2" refType="w" fact="0.9187"/>
                  <dgm:constr type="t" for="ch" forName="ParentAccent2" refType="h" fact="0.5511"/>
                  <dgm:constr type="w" for="ch" forName="ParentAccent2" refType="w" fact="0.0287"/>
                  <dgm:constr type="h" for="ch" forName="ParentAccent2" refType="h" fact="0.0608"/>
                  <dgm:constr type="l" for="ch" forName="ParentAccent3" refType="w" fact="0.8661"/>
                  <dgm:constr type="t" for="ch" forName="ParentAccent3" refType="h" fact="0.5511"/>
                  <dgm:constr type="w" for="ch" forName="ParentAccent3" refType="w" fact="0.0287"/>
                  <dgm:constr type="h" for="ch" forName="ParentAccent3" refType="h" fact="0.0608"/>
                  <dgm:constr type="l" for="ch" forName="ParentAccent4" refType="w" fact="0.8136"/>
                  <dgm:constr type="t" for="ch" forName="ParentAccent4" refType="h" fact="0.5511"/>
                  <dgm:constr type="w" for="ch" forName="ParentAccent4" refType="w" fact="0.0287"/>
                  <dgm:constr type="h" for="ch" forName="ParentAccent4" refType="h" fact="0.0608"/>
                  <dgm:constr type="l" for="ch" forName="ParentAccent5" refType="w" fact="0.761"/>
                  <dgm:constr type="t" for="ch" forName="ParentAccent5" refType="h" fact="0.5511"/>
                  <dgm:constr type="w" for="ch" forName="ParentAccent5" refType="w" fact="0.0287"/>
                  <dgm:constr type="h" for="ch" forName="ParentAccent5" refType="h" fact="0.0608"/>
                  <dgm:constr type="l" for="ch" forName="ParentAccent6" refType="w" fact="0.6797"/>
                  <dgm:constr type="t" for="ch" forName="ParentAccent6" refType="h" fact="0.5207"/>
                  <dgm:constr type="w" for="ch" forName="ParentAccent6" refType="w" fact="0.0574"/>
                  <dgm:constr type="h" for="ch" forName="ParentAccent6" refType="h" fact="0.1217"/>
                  <dgm:constr type="l" for="ch" forName="ParentAccent7" refType="w" fact="0.9245"/>
                  <dgm:constr type="t" for="ch" forName="ParentAccent7" refType="h" fact="0.4255"/>
                  <dgm:constr type="w" for="ch" forName="ParentAccent7" refType="w" fact="0.0287"/>
                  <dgm:constr type="h" for="ch" forName="ParentAccent7" refType="h" fact="0.0608"/>
                  <dgm:constr type="l" for="ch" forName="ParentAccent8" refType="w" fact="0.9245"/>
                  <dgm:constr type="t" for="ch" forName="ParentAccent8" refType="h" fact="0.6776"/>
                  <dgm:constr type="w" for="ch" forName="ParentAccent8" refType="w" fact="0.0287"/>
                  <dgm:constr type="h" for="ch" forName="ParentAccent8" refType="h" fact="0.0608"/>
                  <dgm:constr type="l" for="ch" forName="ParentAccent9" refType="w" fact="0.9501"/>
                  <dgm:constr type="t" for="ch" forName="ParentAccent9" refType="h" fact="0.4801"/>
                  <dgm:constr type="w" for="ch" forName="ParentAccent9" refType="w" fact="0.0287"/>
                  <dgm:constr type="h" for="ch" forName="ParentAccent9" refType="h" fact="0.0608"/>
                  <dgm:constr type="l" for="ch" forName="ParentAccent10" refType="w" fact="0.9518"/>
                  <dgm:constr type="t" for="ch" forName="ParentAccent10" refType="h" fact="0.6233"/>
                  <dgm:constr type="w" for="ch" forName="ParentAccent10" refType="w" fact="0.0287"/>
                  <dgm:constr type="h" for="ch" forName="ParentAccent10" refType="h" fact="0.0608"/>
                  <dgm:constr type="l" for="ch" forName="Child3" refType="w" fact="0"/>
                  <dgm:constr type="t" for="ch" forName="Child3" refType="h" fact="0.7822"/>
                  <dgm:constr type="w" for="ch" forName="Child3" refType="w" fact="0.3364"/>
                  <dgm:constr type="h" for="ch" forName="Child3" refType="h" fact="0.1564"/>
                  <dgm:constr type="l" for="ch" forName="Child2" refType="w" fact="0"/>
                  <dgm:constr type="t" for="ch" forName="Child2" refType="h" fact="0.3955"/>
                  <dgm:constr type="w" for="ch" forName="Child2" refType="w" fact="0.2544"/>
                  <dgm:constr type="h" for="ch" forName="Child2" refType="h" fact="0.1564"/>
                  <dgm:constr type="l" for="ch" forName="Child1" refType="w" fact="0"/>
                  <dgm:constr type="t" for="ch" forName="Child1" refType="h" fact="0"/>
                  <dgm:constr type="w" for="ch" forName="Child1" refType="w" fact="0.3364"/>
                  <dgm:constr type="h" for="ch" forName="Child1" refType="h" fact="0.1564"/>
                  <dgm:constr type="l" for="ch" forName="Parent" refType="w" fact="0.3653"/>
                  <dgm:constr type="t" for="ch" forName="Parent" refType="h" fact="0.2737"/>
                  <dgm:constr type="w" for="ch" forName="Parent" refType="w" fact="0.2906"/>
                  <dgm:constr type="h" for="ch" forName="Parent" refType="h" fact="0.6157"/>
                </dgm:constrLst>
              </dgm:if>
              <dgm:if name="Name11" axis="ch" ptType="node" func="cnt" op="equ" val="4">
                <dgm:alg type="composite">
                  <dgm:param type="ar" val="1.8304"/>
                </dgm:alg>
                <dgm:constrLst>
                  <dgm:constr type="l" for="ch" forName="Parent" refType="w" fact="0.3771"/>
                  <dgm:constr type="t" for="ch" forName="Parent" refType="h" fact="0.2946"/>
                  <dgm:constr type="w" for="ch" forName="Parent" refType="w" fact="0.2862"/>
                  <dgm:constr type="h" for="ch" forName="Parent" refType="h" fact="0.5239"/>
                  <dgm:constr type="l" for="ch" forName="Child1Accent1" refType="w" fact="0.3904"/>
                  <dgm:constr type="t" for="ch" forName="Child1Accent1" refType="h" fact="0.2104"/>
                  <dgm:constr type="w" for="ch" forName="Child1Accent1" refType="w" fact="0.0566"/>
                  <dgm:constr type="h" for="ch" forName="Child1Accent1" refType="h" fact="0.1035"/>
                  <dgm:constr type="l" for="ch" forName="Child1Accent3" refType="w" fact="0.3001"/>
                  <dgm:constr type="t" for="ch" forName="Child1Accent3" refType="h" fact="0.128"/>
                  <dgm:constr type="w" for="ch" forName="Child1Accent3" refType="w" fact="0.0283"/>
                  <dgm:constr type="h" for="ch" forName="Child1Accent3" refType="h" fact="0.0518"/>
                  <dgm:constr type="l" for="ch" forName="Child1Accent4" refType="w" fact="0.2418"/>
                  <dgm:constr type="t" for="ch" forName="Child1Accent4" refType="h" fact="0.128"/>
                  <dgm:constr type="w" for="ch" forName="Child1Accent4" refType="w" fact="0.0283"/>
                  <dgm:constr type="h" for="ch" forName="Child1Accent4" refType="h" fact="0.0518"/>
                  <dgm:constr type="l" for="ch" forName="Child1Accent5" refType="w" fact="0.1835"/>
                  <dgm:constr type="t" for="ch" forName="Child1Accent5" refType="h" fact="0.128"/>
                  <dgm:constr type="w" for="ch" forName="Child1Accent5" refType="w" fact="0.0283"/>
                  <dgm:constr type="h" for="ch" forName="Child1Accent5" refType="h" fact="0.0518"/>
                  <dgm:constr type="l" for="ch" forName="Child1Accent6" refType="w" fact="0.1252"/>
                  <dgm:constr type="t" for="ch" forName="Child1Accent6" refType="h" fact="0.128"/>
                  <dgm:constr type="w" for="ch" forName="Child1Accent6" refType="w" fact="0.0283"/>
                  <dgm:constr type="h" for="ch" forName="Child1Accent6" refType="h" fact="0.0518"/>
                  <dgm:constr type="l" for="ch" forName="Child3Accent1" refType="w" fact="0.3158"/>
                  <dgm:constr type="t" for="ch" forName="Child3Accent1" refType="h" fact="0.6212"/>
                  <dgm:constr type="w" for="ch" forName="Child3Accent1" refType="w" fact="0.0566"/>
                  <dgm:constr type="h" for="ch" forName="Child3Accent1" refType="h" fact="0.1035"/>
                  <dgm:constr type="l" for="ch" forName="Child3Accent2" refType="w" fact="0.2689"/>
                  <dgm:constr type="t" for="ch" forName="Child3Accent2" refType="h" fact="0.6828"/>
                  <dgm:constr type="w" for="ch" forName="Child3Accent2" refType="w" fact="0.0283"/>
                  <dgm:constr type="h" for="ch" forName="Child3Accent2" refType="h" fact="0.0518"/>
                  <dgm:constr type="l" for="ch" forName="Child3Accent4" refType="w" fact="0.1614"/>
                  <dgm:constr type="t" for="ch" forName="Child3Accent4" refType="h" fact="0.6828"/>
                  <dgm:constr type="w" for="ch" forName="Child3Accent4" refType="w" fact="0.0283"/>
                  <dgm:constr type="h" for="ch" forName="Child3Accent4" refType="h" fact="0.0518"/>
                  <dgm:constr type="l" for="ch" forName="Child3Accent5" refType="w" fact="0.1077"/>
                  <dgm:constr type="t" for="ch" forName="Child3Accent5" refType="h" fact="0.6828"/>
                  <dgm:constr type="w" for="ch" forName="Child3Accent5" refType="w" fact="0.0283"/>
                  <dgm:constr type="h" for="ch" forName="Child3Accent5" refType="h" fact="0.0518"/>
                  <dgm:constr type="l" for="ch" forName="Child1Accent7" refType="w" fact="0.0668"/>
                  <dgm:constr type="t" for="ch" forName="Child1Accent7" refType="h" fact="0.128"/>
                  <dgm:constr type="w" for="ch" forName="Child1Accent7" refType="w" fact="0.0283"/>
                  <dgm:constr type="h" for="ch" forName="Child1Accent7" refType="h" fact="0.0518"/>
                  <dgm:constr type="l" for="ch" forName="Child3Accent6" refType="w" fact="0.0539"/>
                  <dgm:constr type="t" for="ch" forName="Child3Accent6" refType="h" fact="0.6828"/>
                  <dgm:constr type="w" for="ch" forName="Child3Accent6" refType="w" fact="0.0283"/>
                  <dgm:constr type="h" for="ch" forName="Child3Accent6" refType="h" fact="0.0518"/>
                  <dgm:constr type="l" for="ch" forName="Child1Accent8" refType="w" fact="0.0085"/>
                  <dgm:constr type="t" for="ch" forName="Child1Accent8" refType="h" fact="0.128"/>
                  <dgm:constr type="w" for="ch" forName="Child1Accent8" refType="w" fact="0.0283"/>
                  <dgm:constr type="h" for="ch" forName="Child1Accent8" refType="h" fact="0.0518"/>
                  <dgm:constr type="l" for="ch" forName="Child1Accent9" refType="w" fact="0"/>
                  <dgm:constr type="t" for="ch" forName="Child1Accent9" refType="h" fact="0"/>
                  <dgm:constr type="w" for="ch" forName="Child1Accent9" refType="w" fact="0"/>
                  <dgm:constr type="h" for="ch" forName="Child1Accent9" refType="h" fact="0"/>
                  <dgm:constr type="l" for="ch" forName="Child3Accent7" refType="w" fact="0.0002"/>
                  <dgm:constr type="t" for="ch" forName="Child3Accent7" refType="h" fact="0.6828"/>
                  <dgm:constr type="w" for="ch" forName="Child3Accent7" refType="w" fact="0.0283"/>
                  <dgm:constr type="h" for="ch" forName="Child3Accent7" refType="h" fact="0.0518"/>
                  <dgm:constr type="l" for="ch" forName="Child4Accent1" refType="w" fact="0.3904"/>
                  <dgm:constr type="t" for="ch" forName="Child4Accent1" refType="h" fact="0.8"/>
                  <dgm:constr type="w" for="ch" forName="Child4Accent1" refType="w" fact="0.0566"/>
                  <dgm:constr type="h" for="ch" forName="Child4Accent1" refType="h" fact="0.1035"/>
                  <dgm:constr type="l" for="ch" forName="Child4Accent3" refType="w" fact="0.2998"/>
                  <dgm:constr type="t" for="ch" forName="Child4Accent3" refType="h" fact="0.9482"/>
                  <dgm:constr type="w" for="ch" forName="Child4Accent3" refType="w" fact="0.0283"/>
                  <dgm:constr type="h" for="ch" forName="Child4Accent3" refType="h" fact="0.0518"/>
                  <dgm:constr type="l" for="ch" forName="Child4Accent4" refType="w" fact="0.2415"/>
                  <dgm:constr type="t" for="ch" forName="Child4Accent4" refType="h" fact="0.9482"/>
                  <dgm:constr type="w" for="ch" forName="Child4Accent4" refType="w" fact="0.0283"/>
                  <dgm:constr type="h" for="ch" forName="Child4Accent4" refType="h" fact="0.0518"/>
                  <dgm:constr type="l" for="ch" forName="Child4Accent5" refType="w" fact="0.1833"/>
                  <dgm:constr type="t" for="ch" forName="Child4Accent5" refType="h" fact="0.9482"/>
                  <dgm:constr type="w" for="ch" forName="Child4Accent5" refType="w" fact="0.0283"/>
                  <dgm:constr type="h" for="ch" forName="Child4Accent5" refType="h" fact="0.0518"/>
                  <dgm:constr type="l" for="ch" forName="Child4Accent6" refType="w" fact="0.1251"/>
                  <dgm:constr type="t" for="ch" forName="Child4Accent6" refType="h" fact="0.9482"/>
                  <dgm:constr type="w" for="ch" forName="Child4Accent6" refType="w" fact="0.0283"/>
                  <dgm:constr type="h" for="ch" forName="Child4Accent6" refType="h" fact="0.0518"/>
                  <dgm:constr type="l" for="ch" forName="Child4Accent7" refType="w" fact="0.0668"/>
                  <dgm:constr type="t" for="ch" forName="Child4Accent7" refType="h" fact="0.9482"/>
                  <dgm:constr type="w" for="ch" forName="Child4Accent7" refType="w" fact="0.0283"/>
                  <dgm:constr type="h" for="ch" forName="Child4Accent7" refType="h" fact="0.0518"/>
                  <dgm:constr type="l" for="ch" forName="Child4Accent8" refType="w" fact="0.0086"/>
                  <dgm:constr type="t" for="ch" forName="Child4Accent8" refType="h" fact="0.9482"/>
                  <dgm:constr type="w" for="ch" forName="Child4Accent8" refType="w" fact="0.0283"/>
                  <dgm:constr type="h" for="ch" forName="Child4Accent8" refType="h" fact="0.0518"/>
                  <dgm:constr type="l" for="ch" forName="Child2Accent1" refType="w" fact="0.3158"/>
                  <dgm:constr type="t" for="ch" forName="Child2Accent1" refType="h" fact="0.3725"/>
                  <dgm:constr type="w" for="ch" forName="Child2Accent1" refType="w" fact="0.0566"/>
                  <dgm:constr type="h" for="ch" forName="Child2Accent1" refType="h" fact="0.1035"/>
                  <dgm:constr type="l" for="ch" forName="Child4Accent2" refType="w" fact="0.358"/>
                  <dgm:constr type="t" for="ch" forName="Child4Accent2" refType="h" fact="0.8993"/>
                  <dgm:constr type="w" for="ch" forName="Child4Accent2" refType="w" fact="0.0283"/>
                  <dgm:constr type="h" for="ch" forName="Child4Accent2" refType="h" fact="0.0518"/>
                  <dgm:constr type="l" for="ch" forName="Child1Accent2" refType="w" fact="0.3585"/>
                  <dgm:constr type="t" for="ch" forName="Child1Accent2" refType="h" fact="0.162"/>
                  <dgm:constr type="w" for="ch" forName="Child1Accent2" refType="w" fact="0.0283"/>
                  <dgm:constr type="h" for="ch" forName="Child1Accent2" refType="h" fact="0.0518"/>
                  <dgm:constr type="l" for="ch" forName="Child3Accent3" refType="w" fact="0.2151"/>
                  <dgm:constr type="t" for="ch" forName="Child3Accent3" refType="h" fact="0.6828"/>
                  <dgm:constr type="w" for="ch" forName="Child3Accent3" refType="w" fact="0.0283"/>
                  <dgm:constr type="h" for="ch" forName="Child3Accent3" refType="h" fact="0.0518"/>
                  <dgm:constr type="l" for="ch" forName="Child2Accent2" refType="w" fact="0.2689"/>
                  <dgm:constr type="t" for="ch" forName="Child2Accent2" refType="h" fact="0.3937"/>
                  <dgm:constr type="w" for="ch" forName="Child2Accent2" refType="w" fact="0.0283"/>
                  <dgm:constr type="h" for="ch" forName="Child2Accent2" refType="h" fact="0.0518"/>
                  <dgm:constr type="l" for="ch" forName="Child2Accent4" refType="w" fact="0.1614"/>
                  <dgm:constr type="t" for="ch" forName="Child2Accent4" refType="h" fact="0.3937"/>
                  <dgm:constr type="w" for="ch" forName="Child2Accent4" refType="w" fact="0.0283"/>
                  <dgm:constr type="h" for="ch" forName="Child2Accent4" refType="h" fact="0.0518"/>
                  <dgm:constr type="l" for="ch" forName="Child2Accent5" refType="w" fact="0.1077"/>
                  <dgm:constr type="t" for="ch" forName="Child2Accent5" refType="h" fact="0.3937"/>
                  <dgm:constr type="w" for="ch" forName="Child2Accent5" refType="w" fact="0.0283"/>
                  <dgm:constr type="h" for="ch" forName="Child2Accent5" refType="h" fact="0.0518"/>
                  <dgm:constr type="l" for="ch" forName="Child2Accent6" refType="w" fact="0.0539"/>
                  <dgm:constr type="t" for="ch" forName="Child2Accent6" refType="h" fact="0.3937"/>
                  <dgm:constr type="w" for="ch" forName="Child2Accent6" refType="w" fact="0.0283"/>
                  <dgm:constr type="h" for="ch" forName="Child2Accent6" refType="h" fact="0.0518"/>
                  <dgm:constr type="l" for="ch" forName="Child2Accent7" refType="w" fact="0.0002"/>
                  <dgm:constr type="t" for="ch" forName="Child2Accent7" refType="h" fact="0.3937"/>
                  <dgm:constr type="w" for="ch" forName="Child2Accent7" refType="w" fact="0.0283"/>
                  <dgm:constr type="h" for="ch" forName="Child2Accent7" refType="h" fact="0.0518"/>
                  <dgm:constr type="l" for="ch" forName="Child2Accent3" refType="w" fact="0.2151"/>
                  <dgm:constr type="t" for="ch" forName="Child2Accent3" refType="h" fact="0.3937"/>
                  <dgm:constr type="w" for="ch" forName="Child2Accent3" refType="w" fact="0.0283"/>
                  <dgm:constr type="h" for="ch" forName="Child2Accent3" refType="h" fact="0.0518"/>
                  <dgm:constr type="l" for="ch" forName="ParentAccent1" refType="w" fact="0.9717"/>
                  <dgm:constr type="t" for="ch" forName="ParentAccent1" refType="h" fact="0.5316"/>
                  <dgm:constr type="w" for="ch" forName="ParentAccent1" refType="w" fact="0.0283"/>
                  <dgm:constr type="h" for="ch" forName="ParentAccent1" refType="h" fact="0.0518"/>
                  <dgm:constr type="l" for="ch" forName="ParentAccent2" refType="w" fact="0.9199"/>
                  <dgm:constr type="t" for="ch" forName="ParentAccent2" refType="h" fact="0.5316"/>
                  <dgm:constr type="w" for="ch" forName="ParentAccent2" refType="w" fact="0.0283"/>
                  <dgm:constr type="h" for="ch" forName="ParentAccent2" refType="h" fact="0.0518"/>
                  <dgm:constr type="l" for="ch" forName="ParentAccent3" refType="w" fact="0.8682"/>
                  <dgm:constr type="t" for="ch" forName="ParentAccent3" refType="h" fact="0.5316"/>
                  <dgm:constr type="w" for="ch" forName="ParentAccent3" refType="w" fact="0.0283"/>
                  <dgm:constr type="h" for="ch" forName="ParentAccent3" refType="h" fact="0.0518"/>
                  <dgm:constr type="l" for="ch" forName="ParentAccent4" refType="w" fact="0.8164"/>
                  <dgm:constr type="t" for="ch" forName="ParentAccent4" refType="h" fact="0.5316"/>
                  <dgm:constr type="w" for="ch" forName="ParentAccent4" refType="w" fact="0.0283"/>
                  <dgm:constr type="h" for="ch" forName="ParentAccent4" refType="h" fact="0.0518"/>
                  <dgm:constr type="l" for="ch" forName="ParentAccent5" refType="w" fact="0.7646"/>
                  <dgm:constr type="t" for="ch" forName="ParentAccent5" refType="h" fact="0.5316"/>
                  <dgm:constr type="w" for="ch" forName="ParentAccent5" refType="w" fact="0.0283"/>
                  <dgm:constr type="h" for="ch" forName="ParentAccent5" refType="h" fact="0.0518"/>
                  <dgm:constr type="l" for="ch" forName="ParentAccent6" refType="w" fact="0.6846"/>
                  <dgm:constr type="t" for="ch" forName="ParentAccent6" refType="h" fact="0.5057"/>
                  <dgm:constr type="w" for="ch" forName="ParentAccent6" refType="w" fact="0.0566"/>
                  <dgm:constr type="h" for="ch" forName="ParentAccent6" refType="h" fact="0.1035"/>
                  <dgm:constr type="l" for="ch" forName="ParentAccent7" refType="w" fact="0.9256"/>
                  <dgm:constr type="t" for="ch" forName="ParentAccent7" refType="h" fact="0.4247"/>
                  <dgm:constr type="w" for="ch" forName="ParentAccent7" refType="w" fact="0.0283"/>
                  <dgm:constr type="h" for="ch" forName="ParentAccent7" refType="h" fact="0.0518"/>
                  <dgm:constr type="l" for="ch" forName="ParentAccent8" refType="w" fact="0.9256"/>
                  <dgm:constr type="t" for="ch" forName="ParentAccent8" refType="h" fact="0.6392"/>
                  <dgm:constr type="w" for="ch" forName="ParentAccent8" refType="w" fact="0.0283"/>
                  <dgm:constr type="h" for="ch" forName="ParentAccent8" refType="h" fact="0.0518"/>
                  <dgm:constr type="l" for="ch" forName="ParentAccent9" refType="w" fact="0.9509"/>
                  <dgm:constr type="t" for="ch" forName="ParentAccent9" refType="h" fact="0.4712"/>
                  <dgm:constr type="w" for="ch" forName="ParentAccent9" refType="w" fact="0.0283"/>
                  <dgm:constr type="h" for="ch" forName="ParentAccent9" refType="h" fact="0.0518"/>
                  <dgm:constr type="l" for="ch" forName="ParentAccent10" refType="w" fact="0.9525"/>
                  <dgm:constr type="t" for="ch" forName="ParentAccent10" refType="h" fact="0.593"/>
                  <dgm:constr type="w" for="ch" forName="ParentAccent10" refType="w" fact="0.0283"/>
                  <dgm:constr type="h" for="ch" forName="ParentAccent10" refType="h" fact="0.0518"/>
                  <dgm:constr type="l" for="ch" forName="Child4" refType="w" fact="0.0081"/>
                  <dgm:constr type="t" for="ch" forName="Child4" refType="h" fact="0.8184"/>
                  <dgm:constr type="w" for="ch" forName="Child4" refType="w" fact="0.3192"/>
                  <dgm:constr type="h" for="ch" forName="Child4" refType="h" fact="0.1294"/>
                  <dgm:constr type="l" for="ch" forName="Child3" refType="w" fact="0"/>
                  <dgm:constr type="t" for="ch" forName="Child3" refType="h" fact="0.5547"/>
                  <dgm:constr type="w" for="ch" forName="Child3" refType="w" fact="0.297"/>
                  <dgm:constr type="h" for="ch" forName="Child3" refType="h" fact="0.1294"/>
                  <dgm:constr type="l" for="ch" forName="Child2" refType="w" fact="0"/>
                  <dgm:constr type="t" for="ch" forName="Child2" refType="h" fact="0.2662"/>
                  <dgm:constr type="w" for="ch" forName="Child2" refType="w" fact="0.297"/>
                  <dgm:constr type="h" for="ch" forName="Child2" refType="h" fact="0.1294"/>
                  <dgm:constr type="l" for="ch" forName="Child1" refType="w" fact="0.0081"/>
                  <dgm:constr type="t" for="ch" forName="Child1" refType="h" fact="0"/>
                  <dgm:constr type="w" for="ch" forName="Child1" refType="w" fact="0.3192"/>
                  <dgm:constr type="h" for="ch" forName="Child1" refType="h" fact="0.1294"/>
                </dgm:constrLst>
              </dgm:if>
              <dgm:else name="Name12">
                <dgm:alg type="composite">
                  <dgm:param type="ar" val="1.3278"/>
                </dgm:alg>
                <dgm:constrLst>
                  <dgm:constr type="l" for="ch" forName="Child2Accent1" refType="w" fact="0.3436"/>
                  <dgm:constr type="t" for="ch" forName="Child2Accent1" refType="h" fact="0.3184"/>
                  <dgm:constr type="w" for="ch" forName="Child2Accent1" refType="w" fact="0.0574"/>
                  <dgm:constr type="h" for="ch" forName="Child2Accent1" refType="h" fact="0.0763"/>
                  <dgm:constr type="l" for="ch" forName="Child2Accent2" refType="w" fact="0.3068"/>
                  <dgm:constr type="t" for="ch" forName="Child2Accent2" refType="h" fact="0.2781"/>
                  <dgm:constr type="w" for="ch" forName="Child2Accent2" refType="w" fact="0.0287"/>
                  <dgm:constr type="h" for="ch" forName="Child2Accent2" refType="h" fact="0.0381"/>
                  <dgm:constr type="l" for="ch" forName="Child2Accent3" refType="w" fact="0.2455"/>
                  <dgm:constr type="t" for="ch" forName="Child2Accent3" refType="h" fact="0.2781"/>
                  <dgm:constr type="w" for="ch" forName="Child2Accent3" refType="w" fact="0.0287"/>
                  <dgm:constr type="h" for="ch" forName="Child2Accent3" refType="h" fact="0.0381"/>
                  <dgm:constr type="l" for="ch" forName="Child2Accent4" refType="w" fact="0.1842"/>
                  <dgm:constr type="t" for="ch" forName="Child2Accent4" refType="h" fact="0.2781"/>
                  <dgm:constr type="w" for="ch" forName="Child2Accent4" refType="w" fact="0.0287"/>
                  <dgm:constr type="h" for="ch" forName="Child2Accent4" refType="h" fact="0.0381"/>
                  <dgm:constr type="l" for="ch" forName="Child2Accent5" refType="w" fact="0.1229"/>
                  <dgm:constr type="t" for="ch" forName="Child2Accent5" refType="h" fact="0.2781"/>
                  <dgm:constr type="w" for="ch" forName="Child2Accent5" refType="w" fact="0.0287"/>
                  <dgm:constr type="h" for="ch" forName="Child2Accent5" refType="h" fact="0.0381"/>
                  <dgm:constr type="l" for="ch" forName="Child3Accent1" refType="w" fact="0.284"/>
                  <dgm:constr type="t" for="ch" forName="Child3Accent1" refType="h" fact="0.5061"/>
                  <dgm:constr type="w" for="ch" forName="Child3Accent1" refType="w" fact="0.0574"/>
                  <dgm:constr type="h" for="ch" forName="Child3Accent1" refType="h" fact="0.0763"/>
                  <dgm:constr type="l" for="ch" forName="Child3Accent2" refType="w" fact="0.2272"/>
                  <dgm:constr type="t" for="ch" forName="Child3Accent2" refType="h" fact="0.5252"/>
                  <dgm:constr type="w" for="ch" forName="Child3Accent2" refType="w" fact="0.0287"/>
                  <dgm:constr type="h" for="ch" forName="Child3Accent2" refType="h" fact="0.0381"/>
                  <dgm:constr type="l" for="ch" forName="Child3Accent3" refType="w" fact="0.1705"/>
                  <dgm:constr type="t" for="ch" forName="Child3Accent3" refType="h" fact="0.5252"/>
                  <dgm:constr type="w" for="ch" forName="Child3Accent3" refType="w" fact="0.0287"/>
                  <dgm:constr type="h" for="ch" forName="Child3Accent3" refType="h" fact="0.0381"/>
                  <dgm:constr type="l" for="ch" forName="Child3Accent4" refType="w" fact="0.1137"/>
                  <dgm:constr type="t" for="ch" forName="Child3Accent4" refType="h" fact="0.5252"/>
                  <dgm:constr type="w" for="ch" forName="Child3Accent4" refType="w" fact="0.0287"/>
                  <dgm:constr type="h" for="ch" forName="Child3Accent4" refType="h" fact="0.0381"/>
                  <dgm:constr type="l" for="ch" forName="Child2Accent6" refType="w" fact="0.0615"/>
                  <dgm:constr type="t" for="ch" forName="Child2Accent6" refType="h" fact="0.2781"/>
                  <dgm:constr type="w" for="ch" forName="Child2Accent6" refType="w" fact="0.0287"/>
                  <dgm:constr type="h" for="ch" forName="Child2Accent6" refType="h" fact="0.0381"/>
                  <dgm:constr type="l" for="ch" forName="Child3Accent5" refType="w" fact="0.057"/>
                  <dgm:constr type="t" for="ch" forName="Child3Accent5" refType="h" fact="0.5252"/>
                  <dgm:constr type="w" for="ch" forName="Child3Accent5" refType="w" fact="0.0287"/>
                  <dgm:constr type="h" for="ch" forName="Child3Accent5" refType="h" fact="0.0381"/>
                  <dgm:constr type="l" for="ch" forName="Child2Accent7" refType="w" fact="0.0002"/>
                  <dgm:constr type="t" for="ch" forName="Child2Accent7" refType="h" fact="0.2781"/>
                  <dgm:constr type="w" for="ch" forName="Child2Accent7" refType="w" fact="0.0287"/>
                  <dgm:constr type="h" for="ch" forName="Child2Accent7" refType="h" fact="0.0381"/>
                  <dgm:constr type="l" for="ch" forName="Child3Accent6" refType="w" fact="0.0002"/>
                  <dgm:constr type="t" for="ch" forName="Child3Accent6" refType="h" fact="0.5252"/>
                  <dgm:constr type="w" for="ch" forName="Child3Accent6" refType="w" fact="0.0287"/>
                  <dgm:constr type="h" for="ch" forName="Child3Accent6" refType="h" fact="0.0381"/>
                  <dgm:constr type="l" for="ch" forName="Child3Accent7" refType="w" fact="0"/>
                  <dgm:constr type="t" for="ch" forName="Child3Accent7" refType="h" fact="0"/>
                  <dgm:constr type="w" for="ch" forName="Child3Accent7" refType="w" fact="0"/>
                  <dgm:constr type="h" for="ch" forName="Child3Accent7" refType="h" fact="0"/>
                  <dgm:constr type="l" for="ch" forName="Child4Accent1" refType="w" fact="0.3436"/>
                  <dgm:constr type="t" for="ch" forName="Child4Accent1" refType="h" fact="0.6908"/>
                  <dgm:constr type="w" for="ch" forName="Child4Accent1" refType="w" fact="0.0574"/>
                  <dgm:constr type="h" for="ch" forName="Child4Accent1" refType="h" fact="0.0763"/>
                  <dgm:constr type="l" for="ch" forName="Child4Accent2" refType="w" fact="0.3068"/>
                  <dgm:constr type="t" for="ch" forName="Child4Accent2" refType="h" fact="0.7684"/>
                  <dgm:constr type="w" for="ch" forName="Child4Accent2" refType="w" fact="0.0287"/>
                  <dgm:constr type="h" for="ch" forName="Child4Accent2" refType="h" fact="0.0381"/>
                  <dgm:constr type="l" for="ch" forName="Child4Accent3" refType="w" fact="0.2455"/>
                  <dgm:constr type="t" for="ch" forName="Child4Accent3" refType="h" fact="0.7684"/>
                  <dgm:constr type="w" for="ch" forName="Child4Accent3" refType="w" fact="0.0287"/>
                  <dgm:constr type="h" for="ch" forName="Child4Accent3" refType="h" fact="0.0381"/>
                  <dgm:constr type="l" for="ch" forName="Child4Accent4" refType="w" fact="0.1842"/>
                  <dgm:constr type="t" for="ch" forName="Child4Accent4" refType="h" fact="0.7684"/>
                  <dgm:constr type="w" for="ch" forName="Child4Accent4" refType="w" fact="0.0287"/>
                  <dgm:constr type="h" for="ch" forName="Child4Accent4" refType="h" fact="0.0381"/>
                  <dgm:constr type="l" for="ch" forName="Child4Accent5" refType="w" fact="0.1229"/>
                  <dgm:constr type="t" for="ch" forName="Child4Accent5" refType="h" fact="0.7684"/>
                  <dgm:constr type="w" for="ch" forName="Child4Accent5" refType="w" fact="0.0287"/>
                  <dgm:constr type="h" for="ch" forName="Child4Accent5" refType="h" fact="0.0381"/>
                  <dgm:constr type="l" for="ch" forName="Child4Accent6" refType="w" fact="0.0615"/>
                  <dgm:constr type="t" for="ch" forName="Child4Accent6" refType="h" fact="0.7684"/>
                  <dgm:constr type="w" for="ch" forName="Child4Accent6" refType="w" fact="0.0287"/>
                  <dgm:constr type="h" for="ch" forName="Child4Accent6" refType="h" fact="0.0381"/>
                  <dgm:constr type="l" for="ch" forName="Child4Accent7" refType="w" fact="0.0002"/>
                  <dgm:constr type="t" for="ch" forName="Child4Accent7" refType="h" fact="0.7684"/>
                  <dgm:constr type="w" for="ch" forName="Child4Accent7" refType="w" fact="0.0287"/>
                  <dgm:constr type="h" for="ch" forName="Child4Accent7" refType="h" fact="0.0381"/>
                  <dgm:constr type="l" for="ch" forName="Child4Accent8" refType="w" fact="0"/>
                  <dgm:constr type="t" for="ch" forName="Child4Accent8" refType="h" fact="0"/>
                  <dgm:constr type="w" for="ch" forName="Child4Accent8" refType="w" fact="0"/>
                  <dgm:constr type="h" for="ch" forName="Child4Accent8" refType="h" fact="0"/>
                  <dgm:constr type="l" for="ch" forName="ParentAccent1" refType="w" fact="0.9713"/>
                  <dgm:constr type="t" for="ch" forName="ParentAccent1" refType="h" fact="0.5252"/>
                  <dgm:constr type="w" for="ch" forName="ParentAccent1" refType="w" fact="0.0287"/>
                  <dgm:constr type="h" for="ch" forName="ParentAccent1" refType="h" fact="0.0381"/>
                  <dgm:constr type="l" for="ch" forName="ParentAccent2" refType="w" fact="0.9187"/>
                  <dgm:constr type="t" for="ch" forName="ParentAccent2" refType="h" fact="0.5252"/>
                  <dgm:constr type="w" for="ch" forName="ParentAccent2" refType="w" fact="0.0287"/>
                  <dgm:constr type="h" for="ch" forName="ParentAccent2" refType="h" fact="0.0381"/>
                  <dgm:constr type="l" for="ch" forName="ParentAccent3" refType="w" fact="0.8661"/>
                  <dgm:constr type="t" for="ch" forName="ParentAccent3" refType="h" fact="0.5252"/>
                  <dgm:constr type="w" for="ch" forName="ParentAccent3" refType="w" fact="0.0287"/>
                  <dgm:constr type="h" for="ch" forName="ParentAccent3" refType="h" fact="0.0381"/>
                  <dgm:constr type="l" for="ch" forName="ParentAccent4" refType="w" fact="0.8136"/>
                  <dgm:constr type="t" for="ch" forName="ParentAccent4" refType="h" fact="0.5252"/>
                  <dgm:constr type="w" for="ch" forName="ParentAccent4" refType="w" fact="0.0287"/>
                  <dgm:constr type="h" for="ch" forName="ParentAccent4" refType="h" fact="0.0381"/>
                  <dgm:constr type="l" for="ch" forName="ParentAccent5" refType="w" fact="0.761"/>
                  <dgm:constr type="t" for="ch" forName="ParentAccent5" refType="h" fact="0.5252"/>
                  <dgm:constr type="w" for="ch" forName="ParentAccent5" refType="w" fact="0.0287"/>
                  <dgm:constr type="h" for="ch" forName="ParentAccent5" refType="h" fact="0.0381"/>
                  <dgm:constr type="l" for="ch" forName="ParentAccent6" refType="w" fact="0.6797"/>
                  <dgm:constr type="t" for="ch" forName="ParentAccent6" refType="h" fact="0.5061"/>
                  <dgm:constr type="w" for="ch" forName="ParentAccent6" refType="w" fact="0.0574"/>
                  <dgm:constr type="h" for="ch" forName="ParentAccent6" refType="h" fact="0.0763"/>
                  <dgm:constr type="l" for="ch" forName="ParentAccent7" refType="w" fact="0.9245"/>
                  <dgm:constr type="t" for="ch" forName="ParentAccent7" refType="h" fact="0.4464"/>
                  <dgm:constr type="w" for="ch" forName="ParentAccent7" refType="w" fact="0.0287"/>
                  <dgm:constr type="h" for="ch" forName="ParentAccent7" refType="h" fact="0.0381"/>
                  <dgm:constr type="l" for="ch" forName="ParentAccent8" refType="w" fact="0.9245"/>
                  <dgm:constr type="t" for="ch" forName="ParentAccent8" refType="h" fact="0.6045"/>
                  <dgm:constr type="w" for="ch" forName="ParentAccent8" refType="w" fact="0.0287"/>
                  <dgm:constr type="h" for="ch" forName="ParentAccent8" refType="h" fact="0.0381"/>
                  <dgm:constr type="l" for="ch" forName="ParentAccent9" refType="w" fact="0.9501"/>
                  <dgm:constr type="t" for="ch" forName="ParentAccent9" refType="h" fact="0.4807"/>
                  <dgm:constr type="w" for="ch" forName="ParentAccent9" refType="w" fact="0.0287"/>
                  <dgm:constr type="h" for="ch" forName="ParentAccent9" refType="h" fact="0.0381"/>
                  <dgm:constr type="l" for="ch" forName="ParentAccent10" refType="w" fact="0.9518"/>
                  <dgm:constr type="t" for="ch" forName="ParentAccent10" refType="h" fact="0.5705"/>
                  <dgm:constr type="w" for="ch" forName="ParentAccent10" refType="w" fact="0.0287"/>
                  <dgm:constr type="h" for="ch" forName="ParentAccent10" refType="h" fact="0.0381"/>
                  <dgm:constr type="l" for="ch" forName="Child1Accent1" refType="w" fact="0.4819"/>
                  <dgm:constr type="t" for="ch" forName="Child1Accent1" refType="h" fact="0.2457"/>
                  <dgm:constr type="w" for="ch" forName="Child1Accent1" refType="w" fact="0.0574"/>
                  <dgm:constr type="h" for="ch" forName="Child1Accent1" refType="h" fact="0.0763"/>
                  <dgm:constr type="l" for="ch" forName="Child1Accent4" refType="w" fact="0.3653"/>
                  <dgm:constr type="t" for="ch" forName="Child1Accent4" refType="h" fact="0.097"/>
                  <dgm:constr type="w" for="ch" forName="Child1Accent4" refType="w" fact="0.0287"/>
                  <dgm:constr type="h" for="ch" forName="Child1Accent4" refType="h" fact="0.0381"/>
                  <dgm:constr type="l" for="ch" forName="Child1Accent5" refType="w" fact="0.304"/>
                  <dgm:constr type="t" for="ch" forName="Child1Accent5" refType="h" fact="0.097"/>
                  <dgm:constr type="w" for="ch" forName="Child1Accent5" refType="w" fact="0.0287"/>
                  <dgm:constr type="h" for="ch" forName="Child1Accent5" refType="h" fact="0.0381"/>
                  <dgm:constr type="l" for="ch" forName="Child1Accent6" refType="w" fact="0.2426"/>
                  <dgm:constr type="t" for="ch" forName="Child1Accent6" refType="h" fact="0.097"/>
                  <dgm:constr type="w" for="ch" forName="Child1Accent6" refType="w" fact="0.0287"/>
                  <dgm:constr type="h" for="ch" forName="Child1Accent6" refType="h" fact="0.0381"/>
                  <dgm:constr type="l" for="ch" forName="Child1Accent7" refType="w" fact="0.1813"/>
                  <dgm:constr type="t" for="ch" forName="Child1Accent7" refType="h" fact="0.097"/>
                  <dgm:constr type="w" for="ch" forName="Child1Accent7" refType="w" fact="0.0287"/>
                  <dgm:constr type="h" for="ch" forName="Child1Accent7" refType="h" fact="0.0381"/>
                  <dgm:constr type="l" for="ch" forName="Child1Accent8" refType="w" fact="0.12"/>
                  <dgm:constr type="t" for="ch" forName="Child1Accent8" refType="h" fact="0.097"/>
                  <dgm:constr type="w" for="ch" forName="Child1Accent8" refType="w" fact="0.0287"/>
                  <dgm:constr type="h" for="ch" forName="Child1Accent8" refType="h" fact="0.0381"/>
                  <dgm:constr type="l" for="ch" forName="Child1Accent9" refType="w" fact="0.0587"/>
                  <dgm:constr type="t" for="ch" forName="Child1Accent9" refType="h" fact="0.097"/>
                  <dgm:constr type="w" for="ch" forName="Child1Accent9" refType="w" fact="0.0287"/>
                  <dgm:constr type="h" for="ch" forName="Child1Accent9" refType="h" fact="0.0381"/>
                  <dgm:constr type="l" for="ch" forName="Child5Accent1" refType="w" fact="0.4819"/>
                  <dgm:constr type="t" for="ch" forName="Child5Accent1" refType="h" fact="0.7601"/>
                  <dgm:constr type="w" for="ch" forName="Child5Accent1" refType="w" fact="0.0574"/>
                  <dgm:constr type="h" for="ch" forName="Child5Accent1" refType="h" fact="0.0763"/>
                  <dgm:constr type="l" for="ch" forName="Child5Accent4" refType="w" fact="0.3653"/>
                  <dgm:constr type="t" for="ch" forName="Child5Accent4" refType="h" fact="0.9619"/>
                  <dgm:constr type="w" for="ch" forName="Child5Accent4" refType="w" fact="0.0287"/>
                  <dgm:constr type="h" for="ch" forName="Child5Accent4" refType="h" fact="0.0381"/>
                  <dgm:constr type="l" for="ch" forName="Child5Accent5" refType="w" fact="0.304"/>
                  <dgm:constr type="t" for="ch" forName="Child5Accent5" refType="h" fact="0.9619"/>
                  <dgm:constr type="w" for="ch" forName="Child5Accent5" refType="w" fact="0.0287"/>
                  <dgm:constr type="h" for="ch" forName="Child5Accent5" refType="h" fact="0.0381"/>
                  <dgm:constr type="l" for="ch" forName="Child5Accent6" refType="w" fact="0.2426"/>
                  <dgm:constr type="t" for="ch" forName="Child5Accent6" refType="h" fact="0.9619"/>
                  <dgm:constr type="w" for="ch" forName="Child5Accent6" refType="w" fact="0.0287"/>
                  <dgm:constr type="h" for="ch" forName="Child5Accent6" refType="h" fact="0.0381"/>
                  <dgm:constr type="l" for="ch" forName="Child5Accent7" refType="w" fact="0.1813"/>
                  <dgm:constr type="t" for="ch" forName="Child5Accent7" refType="h" fact="0.9619"/>
                  <dgm:constr type="w" for="ch" forName="Child5Accent7" refType="w" fact="0.0287"/>
                  <dgm:constr type="h" for="ch" forName="Child5Accent7" refType="h" fact="0.0381"/>
                  <dgm:constr type="l" for="ch" forName="Child5Accent8" refType="w" fact="0.12"/>
                  <dgm:constr type="t" for="ch" forName="Child5Accent8" refType="h" fact="0.9619"/>
                  <dgm:constr type="w" for="ch" forName="Child5Accent8" refType="w" fact="0.0287"/>
                  <dgm:constr type="h" for="ch" forName="Child5Accent8" refType="h" fact="0.0381"/>
                  <dgm:constr type="l" for="ch" forName="Child5Accent9" refType="w" fact="0.0587"/>
                  <dgm:constr type="t" for="ch" forName="Child5Accent9" refType="h" fact="0.9619"/>
                  <dgm:constr type="w" for="ch" forName="Child5Accent9" refType="w" fact="0.0287"/>
                  <dgm:constr type="h" for="ch" forName="Child5Accent9" refType="h" fact="0.0381"/>
                  <dgm:constr type="l" for="ch" forName="Child5Accent2" refType="w" fact="0.453"/>
                  <dgm:constr type="t" for="ch" forName="Child5Accent2" refType="h" fact="0.8375"/>
                  <dgm:constr type="w" for="ch" forName="Child5Accent2" refType="w" fact="0.0287"/>
                  <dgm:constr type="h" for="ch" forName="Child5Accent2" refType="h" fact="0.0381"/>
                  <dgm:constr type="l" for="ch" forName="Child5Accent3" refType="w" fact="0.4118"/>
                  <dgm:constr type="t" for="ch" forName="Child5Accent3" refType="h" fact="0.8991"/>
                  <dgm:constr type="w" for="ch" forName="Child5Accent3" refType="w" fact="0.0287"/>
                  <dgm:constr type="h" for="ch" forName="Child5Accent3" refType="h" fact="0.0381"/>
                  <dgm:constr type="l" for="ch" forName="Child1Accent2" refType="w" fact="0.4458"/>
                  <dgm:constr type="t" for="ch" forName="Child1Accent2" refType="h" fact="0.2004"/>
                  <dgm:constr type="w" for="ch" forName="Child1Accent2" refType="w" fact="0.0287"/>
                  <dgm:constr type="h" for="ch" forName="Child1Accent2" refType="h" fact="0.0381"/>
                  <dgm:constr type="l" for="ch" forName="Child1Accent3" refType="w" fact="0.4054"/>
                  <dgm:constr type="t" for="ch" forName="Child1Accent3" refType="h" fact="0.1445"/>
                  <dgm:constr type="w" for="ch" forName="Child1Accent3" refType="w" fact="0.0287"/>
                  <dgm:constr type="h" for="ch" forName="Child1Accent3" refType="h" fact="0.0381"/>
                  <dgm:constr type="l" for="ch" forName="Child5" refType="w" fact="0.0581"/>
                  <dgm:constr type="t" for="ch" forName="Child5" refType="h" fact="0.8635"/>
                  <dgm:constr type="w" for="ch" forName="Child5" refType="w" fact="0.3364"/>
                  <dgm:constr type="h" for="ch" forName="Child5" refType="h" fact="0.0981"/>
                  <dgm:constr type="l" for="ch" forName="Child4" refType="w" fact="0"/>
                  <dgm:constr type="t" for="ch" forName="Child4" refType="h" fact="0.6701"/>
                  <dgm:constr type="w" for="ch" forName="Child4" refType="w" fact="0.3364"/>
                  <dgm:constr type="h" for="ch" forName="Child4" refType="h" fact="0.0981"/>
                  <dgm:constr type="l" for="ch" forName="Child3" refType="w" fact="0"/>
                  <dgm:constr type="t" for="ch" forName="Child3" refType="h" fact="0.4276"/>
                  <dgm:constr type="w" for="ch" forName="Child3" refType="w" fact="0.2544"/>
                  <dgm:constr type="h" for="ch" forName="Child3" refType="h" fact="0.0981"/>
                  <dgm:constr type="l" for="ch" forName="Child2" refType="w" fact="0"/>
                  <dgm:constr type="t" for="ch" forName="Child2" refType="h" fact="0.1798"/>
                  <dgm:constr type="w" for="ch" forName="Child2" refType="w" fact="0.3364"/>
                  <dgm:constr type="h" for="ch" forName="Child2" refType="h" fact="0.0981"/>
                  <dgm:constr type="l" for="ch" forName="Child1" refType="w" fact="0.0581"/>
                  <dgm:constr type="t" for="ch" forName="Child1" refType="h" fact="0"/>
                  <dgm:constr type="w" for="ch" forName="Child1" refType="w" fact="0.3364"/>
                  <dgm:constr type="h" for="ch" forName="Child1" refType="h" fact="0.0981"/>
                  <dgm:constr type="l" for="ch" forName="Parent" refType="w" fact="0.3653"/>
                  <dgm:constr type="t" for="ch" forName="Parent" refType="h" fact="0.3513"/>
                  <dgm:constr type="w" for="ch" forName="Parent" refType="w" fact="0.2906"/>
                  <dgm:constr type="h" for="ch" forName="Parent" refType="h" fact="0.3859"/>
                </dgm:constrLst>
              </dgm:else>
            </dgm:choose>
          </dgm:if>
          <dgm:else name="Name13">
            <dgm:choose name="Name14">
              <dgm:if name="Name15" axis="ch" ptType="node" func="cnt" op="equ" val="0">
                <dgm:alg type="composite">
                  <dgm:param type="ar" val="2.1059"/>
                </dgm:alg>
                <dgm:constrLst>
                  <dgm:constr type="r" for="ch" forName="Parent" refType="w"/>
                  <dgm:constr type="t" for="ch" forName="Parent" refType="h" fact="0"/>
                  <dgm:constr type="w" for="ch" forName="Parent" refType="w" fact="0.4749"/>
                  <dgm:constr type="h" for="ch" forName="Parent" refType="h"/>
                  <dgm:constr type="r" for="ch" forName="ParentAccent1" refType="w" fact="0.0469"/>
                  <dgm:constr type="t" for="ch" forName="ParentAccent1" refType="h" fact="0.4506"/>
                  <dgm:constr type="w" for="ch" forName="ParentAccent1" refType="w" fact="0.0469"/>
                  <dgm:constr type="h" for="ch" forName="ParentAccent1" refType="h" fact="0.0988"/>
                  <dgm:constr type="r" for="ch" forName="ParentAccent2" refType="w" fact="0.1266"/>
                  <dgm:constr type="t" for="ch" forName="ParentAccent2" refType="h" fact="0.4506"/>
                  <dgm:constr type="w" for="ch" forName="ParentAccent2" refType="w" fact="0.0469"/>
                  <dgm:constr type="h" for="ch" forName="ParentAccent2" refType="h" fact="0.0988"/>
                  <dgm:constr type="r" for="ch" forName="ParentAccent3" refType="w" fact="0.2063"/>
                  <dgm:constr type="t" for="ch" forName="ParentAccent3" refType="h" fact="0.4506"/>
                  <dgm:constr type="w" for="ch" forName="ParentAccent3" refType="w" fact="0.0469"/>
                  <dgm:constr type="h" for="ch" forName="ParentAccent3" refType="h" fact="0.0988"/>
                  <dgm:constr type="r" for="ch" forName="ParentAccent4" refType="w" fact="0.286"/>
                  <dgm:constr type="t" for="ch" forName="ParentAccent4" refType="h" fact="0.4506"/>
                  <dgm:constr type="w" for="ch" forName="ParentAccent4" refType="w" fact="0.0469"/>
                  <dgm:constr type="h" for="ch" forName="ParentAccent4" refType="h" fact="0.0988"/>
                  <dgm:constr type="r" for="ch" forName="ParentAccent5" refType="w" fact="0.3657"/>
                  <dgm:constr type="t" for="ch" forName="ParentAccent5" refType="h" fact="0.4506"/>
                  <dgm:constr type="w" for="ch" forName="ParentAccent5" refType="w" fact="0.0469"/>
                  <dgm:constr type="h" for="ch" forName="ParentAccent5" refType="h" fact="0.0988"/>
                  <dgm:constr type="r" for="ch" forName="ParentAccent6" refType="w" fact="0.4924"/>
                  <dgm:constr type="t" for="ch" forName="ParentAccent6" refType="h" fact="0.4012"/>
                  <dgm:constr type="w" for="ch" forName="ParentAccent6" refType="w" fact="0.0939"/>
                  <dgm:constr type="h" for="ch" forName="ParentAccent6" refType="h" fact="0.1976"/>
                  <dgm:constr type="r" for="ch" forName="ParentAccent7" refType="w" fact="0.1234"/>
                  <dgm:constr type="t" for="ch" forName="ParentAccent7" refType="h" fact="0.2465"/>
                  <dgm:constr type="w" for="ch" forName="ParentAccent7" refType="w" fact="0.0469"/>
                  <dgm:constr type="h" for="ch" forName="ParentAccent7" refType="h" fact="0.0988"/>
                  <dgm:constr type="r" for="ch" forName="ParentAccent8" refType="w" fact="0.1234"/>
                  <dgm:constr type="t" for="ch" forName="ParentAccent8" refType="h" fact="0.6562"/>
                  <dgm:constr type="w" for="ch" forName="ParentAccent8" refType="w" fact="0.0469"/>
                  <dgm:constr type="h" for="ch" forName="ParentAccent8" refType="h" fact="0.0988"/>
                  <dgm:constr type="r" for="ch" forName="ParentAccent9" refType="w" fact="0.0815"/>
                  <dgm:constr type="t" for="ch" forName="ParentAccent9" refType="h" fact="0.3353"/>
                  <dgm:constr type="w" for="ch" forName="ParentAccent9" refType="w" fact="0.0469"/>
                  <dgm:constr type="h" for="ch" forName="ParentAccent9" refType="h" fact="0.0988"/>
                  <dgm:constr type="r" for="ch" forName="ParentAccent10" refType="w" fact="0.0787"/>
                  <dgm:constr type="t" for="ch" forName="ParentAccent10" refType="h" fact="0.5679"/>
                  <dgm:constr type="w" for="ch" forName="ParentAccent10" refType="w" fact="0.0469"/>
                  <dgm:constr type="h" for="ch" forName="ParentAccent10" refType="h" fact="0.0988"/>
                </dgm:constrLst>
              </dgm:if>
              <dgm:if name="Name16" axis="ch" ptType="node" func="cnt" op="equ" val="1">
                <dgm:alg type="composite">
                  <dgm:param type="ar" val="3.4411"/>
                </dgm:alg>
                <dgm:constrLst>
                  <dgm:constr type="primFontSz" for="des" forName="Child1" val="65"/>
                  <dgm:constr type="primFontSz" for="des" forName="Child1" refType="primFontSz" refFor="des" refForName="Parent" op="lte"/>
                  <dgm:constr type="r" for="ch" forName="Child1Accent1" refType="w" fact="0.716"/>
                  <dgm:constr type="t" for="ch" forName="Child1Accent1" refType="h" fact="0.4012"/>
                  <dgm:constr type="w" for="ch" forName="Child1Accent1" refType="w" fact="0.0574"/>
                  <dgm:constr type="h" for="ch" forName="Child1Accent1" refType="h" fact="0.1976"/>
                  <dgm:constr type="r" for="ch" forName="Child1Accent2" refType="w" fact="0.7728"/>
                  <dgm:constr type="t" for="ch" forName="Child1Accent2" refType="h" fact="0.4506"/>
                  <dgm:constr type="w" for="ch" forName="Child1Accent2" refType="w" fact="0.0287"/>
                  <dgm:constr type="h" for="ch" forName="Child1Accent2" refType="h" fact="0.0988"/>
                  <dgm:constr type="r" for="ch" forName="Child1Accent3" refType="w" fact="0.8295"/>
                  <dgm:constr type="t" for="ch" forName="Child1Accent3" refType="h" fact="0.4506"/>
                  <dgm:constr type="w" for="ch" forName="Child1Accent3" refType="w" fact="0.0287"/>
                  <dgm:constr type="h" for="ch" forName="Child1Accent3" refType="h" fact="0.0988"/>
                  <dgm:constr type="r" for="ch" forName="Child1Accent4" refType="w" fact="0.8863"/>
                  <dgm:constr type="t" for="ch" forName="Child1Accent4" refType="h" fact="0.4506"/>
                  <dgm:constr type="w" for="ch" forName="Child1Accent4" refType="w" fact="0.0287"/>
                  <dgm:constr type="h" for="ch" forName="Child1Accent4" refType="h" fact="0.0988"/>
                  <dgm:constr type="r" for="ch" forName="Child1Accent5" refType="w" fact="0.943"/>
                  <dgm:constr type="t" for="ch" forName="Child1Accent5" refType="h" fact="0.4506"/>
                  <dgm:constr type="w" for="ch" forName="Child1Accent5" refType="w" fact="0.0287"/>
                  <dgm:constr type="h" for="ch" forName="Child1Accent5" refType="h" fact="0.0988"/>
                  <dgm:constr type="r" for="ch" forName="Child1Accent6" refType="w" fact="0.9998"/>
                  <dgm:constr type="t" for="ch" forName="Child1Accent6" refType="h" fact="0.4506"/>
                  <dgm:constr type="w" for="ch" forName="Child1Accent6" refType="w" fact="0.0287"/>
                  <dgm:constr type="h" for="ch" forName="Child1Accent6" refType="h" fact="0.0988"/>
                  <dgm:constr type="l" for="ch" forName="Child1Accent7" refType="w" fact="0"/>
                  <dgm:constr type="t" for="ch" forName="Child1Accent7" refType="h" fact="0"/>
                  <dgm:constr type="w" for="ch" forName="Child1Accent7" refType="w" fact="0"/>
                  <dgm:constr type="h" for="ch" forName="Child1Accent7" refType="h" fact="0"/>
                  <dgm:constr type="l" for="ch" forName="Child1Accent8" refType="w" fact="0"/>
                  <dgm:constr type="t" for="ch" forName="Child1Accent8" refType="h" fact="0"/>
                  <dgm:constr type="w" for="ch" forName="Child1Accent8" refType="w" fact="0"/>
                  <dgm:constr type="h" for="ch" forName="Child1Accent8" refType="h" fact="0"/>
                  <dgm:constr type="l" for="ch" forName="Child1Accent9" refType="w" fact="0"/>
                  <dgm:constr type="t" for="ch" forName="Child1Accent9" refType="h" fact="0"/>
                  <dgm:constr type="w" for="ch" forName="Child1Accent9" refType="w" fact="0"/>
                  <dgm:constr type="h" for="ch" forName="Child1Accent9" refType="h" fact="0"/>
                  <dgm:constr type="r" for="ch" forName="ParentAccent1" refType="w" fact="0.0287"/>
                  <dgm:constr type="t" for="ch" forName="ParentAccent1" refType="h" fact="0.4506"/>
                  <dgm:constr type="w" for="ch" forName="ParentAccent1" refType="w" fact="0.0287"/>
                  <dgm:constr type="h" for="ch" forName="ParentAccent1" refType="h" fact="0.0988"/>
                  <dgm:constr type="r" for="ch" forName="ParentAccent2" refType="w" fact="0.0813"/>
                  <dgm:constr type="t" for="ch" forName="ParentAccent2" refType="h" fact="0.4506"/>
                  <dgm:constr type="w" for="ch" forName="ParentAccent2" refType="w" fact="0.0287"/>
                  <dgm:constr type="h" for="ch" forName="ParentAccent2" refType="h" fact="0.0988"/>
                  <dgm:constr type="r" for="ch" forName="ParentAccent3" refType="w" fact="0.1339"/>
                  <dgm:constr type="t" for="ch" forName="ParentAccent3" refType="h" fact="0.4506"/>
                  <dgm:constr type="w" for="ch" forName="ParentAccent3" refType="w" fact="0.0287"/>
                  <dgm:constr type="h" for="ch" forName="ParentAccent3" refType="h" fact="0.0988"/>
                  <dgm:constr type="r" for="ch" forName="ParentAccent4" refType="w" fact="0.1864"/>
                  <dgm:constr type="t" for="ch" forName="ParentAccent4" refType="h" fact="0.4506"/>
                  <dgm:constr type="w" for="ch" forName="ParentAccent4" refType="w" fact="0.0287"/>
                  <dgm:constr type="h" for="ch" forName="ParentAccent4" refType="h" fact="0.0988"/>
                  <dgm:constr type="r" for="ch" forName="ParentAccent5" refType="w" fact="0.239"/>
                  <dgm:constr type="t" for="ch" forName="ParentAccent5" refType="h" fact="0.4506"/>
                  <dgm:constr type="w" for="ch" forName="ParentAccent5" refType="w" fact="0.0287"/>
                  <dgm:constr type="h" for="ch" forName="ParentAccent5" refType="h" fact="0.0988"/>
                  <dgm:constr type="r" for="ch" forName="ParentAccent6" refType="w" fact="0.3203"/>
                  <dgm:constr type="t" for="ch" forName="ParentAccent6" refType="h" fact="0.4012"/>
                  <dgm:constr type="w" for="ch" forName="ParentAccent6" refType="w" fact="0.0574"/>
                  <dgm:constr type="h" for="ch" forName="ParentAccent6" refType="h" fact="0.1976"/>
                  <dgm:constr type="r" for="ch" forName="ParentAccent7" refType="w" fact="0.0755"/>
                  <dgm:constr type="t" for="ch" forName="ParentAccent7" refType="h" fact="0.2465"/>
                  <dgm:constr type="w" for="ch" forName="ParentAccent7" refType="w" fact="0.0287"/>
                  <dgm:constr type="h" for="ch" forName="ParentAccent7" refType="h" fact="0.0988"/>
                  <dgm:constr type="r" for="ch" forName="ParentAccent8" refType="w" fact="0.0755"/>
                  <dgm:constr type="t" for="ch" forName="ParentAccent8" refType="h" fact="0.6562"/>
                  <dgm:constr type="w" for="ch" forName="ParentAccent8" refType="w" fact="0.0287"/>
                  <dgm:constr type="h" for="ch" forName="ParentAccent8" refType="h" fact="0.0988"/>
                  <dgm:constr type="r" for="ch" forName="ParentAccent9" refType="w" fact="0.0499"/>
                  <dgm:constr type="t" for="ch" forName="ParentAccent9" refType="h" fact="0.3353"/>
                  <dgm:constr type="w" for="ch" forName="ParentAccent9" refType="w" fact="0.0287"/>
                  <dgm:constr type="h" for="ch" forName="ParentAccent9" refType="h" fact="0.0988"/>
                  <dgm:constr type="r" for="ch" forName="ParentAccent10" refType="w" fact="0.0482"/>
                  <dgm:constr type="t" for="ch" forName="ParentAccent10" refType="h" fact="0.5679"/>
                  <dgm:constr type="w" for="ch" forName="ParentAccent10" refType="w" fact="0.0287"/>
                  <dgm:constr type="h" for="ch" forName="ParentAccent10" refType="h" fact="0.0988"/>
                  <dgm:constr type="r" for="ch" forName="Child1" refType="w"/>
                  <dgm:constr type="t" for="ch" forName="Child1" refType="h" fact="0.1978"/>
                  <dgm:constr type="w" for="ch" forName="Child1" refType="w" fact="0.2544"/>
                  <dgm:constr type="h" for="ch" forName="Child1" refType="h" fact="0.2541"/>
                  <dgm:constr type="r" for="ch" forName="Parent" refType="w" fact="0.6347"/>
                  <dgm:constr type="t" for="ch" forName="Parent" refType="h" fact="0"/>
                  <dgm:constr type="w" for="ch" forName="Parent" refType="w" fact="0.2906"/>
                  <dgm:constr type="h" for="ch" forName="Parent" refType="h"/>
                </dgm:constrLst>
              </dgm:if>
              <dgm:if name="Name17" axis="ch" ptType="node" func="cnt" op="equ" val="2">
                <dgm:alg type="composite">
                  <dgm:param type="ar" val="2.1185"/>
                </dgm:alg>
                <dgm:constrLst>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Child1Accent1" refType="w" fact="0.6564"/>
                  <dgm:constr type="t" for="ch" forName="Child1Accent1" refType="h" fact="0.2211"/>
                  <dgm:constr type="w" for="ch" forName="Child1Accent1" refType="w" fact="0.0574"/>
                  <dgm:constr type="h" for="ch" forName="Child1Accent1" refType="h" fact="0.1217"/>
                  <dgm:constr type="r" for="ch" forName="Child1Accent2" refType="w" fact="0.6932"/>
                  <dgm:constr type="t" for="ch" forName="Child1Accent2" refType="h" fact="0.1569"/>
                  <dgm:constr type="w" for="ch" forName="Child1Accent2" refType="w" fact="0.0287"/>
                  <dgm:constr type="h" for="ch" forName="Child1Accent2" refType="h" fact="0.0608"/>
                  <dgm:constr type="r" for="ch" forName="Child1Accent3" refType="w" fact="0.7545"/>
                  <dgm:constr type="t" for="ch" forName="Child1Accent3" refType="h" fact="0.1569"/>
                  <dgm:constr type="w" for="ch" forName="Child1Accent3" refType="w" fact="0.0287"/>
                  <dgm:constr type="h" for="ch" forName="Child1Accent3" refType="h" fact="0.0608"/>
                  <dgm:constr type="r" for="ch" forName="Child1Accent4" refType="w" fact="0.8158"/>
                  <dgm:constr type="t" for="ch" forName="Child1Accent4" refType="h" fact="0.1569"/>
                  <dgm:constr type="w" for="ch" forName="Child1Accent4" refType="w" fact="0.0287"/>
                  <dgm:constr type="h" for="ch" forName="Child1Accent4" refType="h" fact="0.0608"/>
                  <dgm:constr type="r" for="ch" forName="Child1Accent5" refType="w" fact="0.8771"/>
                  <dgm:constr type="t" for="ch" forName="Child1Accent5" refType="h" fact="0.1569"/>
                  <dgm:constr type="w" for="ch" forName="Child1Accent5" refType="w" fact="0.0287"/>
                  <dgm:constr type="h" for="ch" forName="Child1Accent5" refType="h" fact="0.0608"/>
                  <dgm:constr type="r" for="ch" forName="Child1Accent6" refType="w" fact="0.9385"/>
                  <dgm:constr type="t" for="ch" forName="Child1Accent6" refType="h" fact="0.1569"/>
                  <dgm:constr type="w" for="ch" forName="Child1Accent6" refType="w" fact="0.0287"/>
                  <dgm:constr type="h" for="ch" forName="Child1Accent6" refType="h" fact="0.0608"/>
                  <dgm:constr type="r" for="ch" forName="Child1Accent7" refType="w" fact="0.9998"/>
                  <dgm:constr type="t" for="ch" forName="Child1Accent7" refType="h" fact="0.1569"/>
                  <dgm:constr type="w" for="ch" forName="Child1Accent7" refType="w" fact="0.0287"/>
                  <dgm:constr type="h" for="ch" forName="Child1Accent7" refType="h" fact="0.0608"/>
                  <dgm:constr type="l" for="ch" forName="Child1Accent8" refType="w" fact="0"/>
                  <dgm:constr type="t" for="ch" forName="Child1Accent8" refType="h" fact="0"/>
                  <dgm:constr type="w" for="ch" forName="Child1Accent8" refType="w" fact="0"/>
                  <dgm:constr type="h" for="ch" forName="Child1Accent8" refType="h" fact="0"/>
                  <dgm:constr type="l" for="ch" forName="Child1Accent9" refType="w" fact="0"/>
                  <dgm:constr type="t" for="ch" forName="Child1Accent9" refType="h" fact="0"/>
                  <dgm:constr type="w" for="ch" forName="Child1Accent9" refType="w" fact="0"/>
                  <dgm:constr type="h" for="ch" forName="Child1Accent9" refType="h" fact="0"/>
                  <dgm:constr type="r" for="ch" forName="Child2Accent1" refType="w" fact="0.6564"/>
                  <dgm:constr type="t" for="ch" forName="Child2Accent1" refType="h" fact="0.8153"/>
                  <dgm:constr type="w" for="ch" forName="Child2Accent1" refType="w" fact="0.0574"/>
                  <dgm:constr type="h" for="ch" forName="Child2Accent1" refType="h" fact="0.1217"/>
                  <dgm:constr type="r" for="ch" forName="Child2Accent2" refType="w" fact="0.6932"/>
                  <dgm:constr type="t" for="ch" forName="Child2Accent2" refType="h" fact="0.9392"/>
                  <dgm:constr type="w" for="ch" forName="Child2Accent2" refType="w" fact="0.0287"/>
                  <dgm:constr type="h" for="ch" forName="Child2Accent2" refType="h" fact="0.0608"/>
                  <dgm:constr type="r" for="ch" forName="Child2Accent3" refType="w" fact="0.7545"/>
                  <dgm:constr type="t" for="ch" forName="Child2Accent3" refType="h" fact="0.9392"/>
                  <dgm:constr type="w" for="ch" forName="Child2Accent3" refType="w" fact="0.0287"/>
                  <dgm:constr type="h" for="ch" forName="Child2Accent3" refType="h" fact="0.0608"/>
                  <dgm:constr type="r" for="ch" forName="Child2Accent4" refType="w" fact="0.8158"/>
                  <dgm:constr type="t" for="ch" forName="Child2Accent4" refType="h" fact="0.9392"/>
                  <dgm:constr type="w" for="ch" forName="Child2Accent4" refType="w" fact="0.0287"/>
                  <dgm:constr type="h" for="ch" forName="Child2Accent4" refType="h" fact="0.0608"/>
                  <dgm:constr type="r" for="ch" forName="Child2Accent5" refType="w" fact="0.8771"/>
                  <dgm:constr type="t" for="ch" forName="Child2Accent5" refType="h" fact="0.9392"/>
                  <dgm:constr type="w" for="ch" forName="Child2Accent5" refType="w" fact="0.0287"/>
                  <dgm:constr type="h" for="ch" forName="Child2Accent5" refType="h" fact="0.0608"/>
                  <dgm:constr type="r" for="ch" forName="Child2Accent6" refType="w" fact="0.9385"/>
                  <dgm:constr type="t" for="ch" forName="Child2Accent6" refType="h" fact="0.9392"/>
                  <dgm:constr type="w" for="ch" forName="Child2Accent6" refType="w" fact="0.0287"/>
                  <dgm:constr type="h" for="ch" forName="Child2Accent6" refType="h" fact="0.0608"/>
                  <dgm:constr type="r" for="ch" forName="Child2Accent7" refType="w" fact="0.9998"/>
                  <dgm:constr type="t" for="ch" forName="Child2Accent7" refType="h" fact="0.9392"/>
                  <dgm:constr type="w" for="ch" forName="Child2Accent7" refType="w" fact="0.0287"/>
                  <dgm:constr type="h" for="ch" forName="Child2Accent7" refType="h" fact="0.0608"/>
                  <dgm:constr type="r" for="ch" forName="ParentAccent1" refType="w" fact="0.0287"/>
                  <dgm:constr type="t" for="ch" forName="ParentAccent1" refType="h" fact="0.5511"/>
                  <dgm:constr type="w" for="ch" forName="ParentAccent1" refType="w" fact="0.0287"/>
                  <dgm:constr type="h" for="ch" forName="ParentAccent1" refType="h" fact="0.0608"/>
                  <dgm:constr type="r" for="ch" forName="ParentAccent2" refType="w" fact="0.0813"/>
                  <dgm:constr type="t" for="ch" forName="ParentAccent2" refType="h" fact="0.5511"/>
                  <dgm:constr type="w" for="ch" forName="ParentAccent2" refType="w" fact="0.0287"/>
                  <dgm:constr type="h" for="ch" forName="ParentAccent2" refType="h" fact="0.0608"/>
                  <dgm:constr type="r" for="ch" forName="ParentAccent3" refType="w" fact="0.1339"/>
                  <dgm:constr type="t" for="ch" forName="ParentAccent3" refType="h" fact="0.5511"/>
                  <dgm:constr type="w" for="ch" forName="ParentAccent3" refType="w" fact="0.0287"/>
                  <dgm:constr type="h" for="ch" forName="ParentAccent3" refType="h" fact="0.0608"/>
                  <dgm:constr type="r" for="ch" forName="ParentAccent4" refType="w" fact="0.1864"/>
                  <dgm:constr type="t" for="ch" forName="ParentAccent4" refType="h" fact="0.5511"/>
                  <dgm:constr type="w" for="ch" forName="ParentAccent4" refType="w" fact="0.0287"/>
                  <dgm:constr type="h" for="ch" forName="ParentAccent4" refType="h" fact="0.0608"/>
                  <dgm:constr type="r" for="ch" forName="ParentAccent5" refType="w" fact="0.239"/>
                  <dgm:constr type="t" for="ch" forName="ParentAccent5" refType="h" fact="0.5511"/>
                  <dgm:constr type="w" for="ch" forName="ParentAccent5" refType="w" fact="0.0287"/>
                  <dgm:constr type="h" for="ch" forName="ParentAccent5" refType="h" fact="0.0608"/>
                  <dgm:constr type="r" for="ch" forName="ParentAccent6" refType="w" fact="0.3203"/>
                  <dgm:constr type="t" for="ch" forName="ParentAccent6" refType="h" fact="0.5207"/>
                  <dgm:constr type="w" for="ch" forName="ParentAccent6" refType="w" fact="0.0574"/>
                  <dgm:constr type="h" for="ch" forName="ParentAccent6" refType="h" fact="0.1217"/>
                  <dgm:constr type="r" for="ch" forName="ParentAccent7" refType="w" fact="0.0755"/>
                  <dgm:constr type="t" for="ch" forName="ParentAccent7" refType="h" fact="0.4255"/>
                  <dgm:constr type="w" for="ch" forName="ParentAccent7" refType="w" fact="0.0287"/>
                  <dgm:constr type="h" for="ch" forName="ParentAccent7" refType="h" fact="0.0608"/>
                  <dgm:constr type="r" for="ch" forName="ParentAccent8" refType="w" fact="0.0755"/>
                  <dgm:constr type="t" for="ch" forName="ParentAccent8" refType="h" fact="0.6776"/>
                  <dgm:constr type="w" for="ch" forName="ParentAccent8" refType="w" fact="0.0287"/>
                  <dgm:constr type="h" for="ch" forName="ParentAccent8" refType="h" fact="0.0608"/>
                  <dgm:constr type="r" for="ch" forName="ParentAccent9" refType="w" fact="0.0499"/>
                  <dgm:constr type="t" for="ch" forName="ParentAccent9" refType="h" fact="0.4801"/>
                  <dgm:constr type="w" for="ch" forName="ParentAccent9" refType="w" fact="0.0287"/>
                  <dgm:constr type="h" for="ch" forName="ParentAccent9" refType="h" fact="0.0608"/>
                  <dgm:constr type="r" for="ch" forName="ParentAccent10" refType="w" fact="0.0482"/>
                  <dgm:constr type="t" for="ch" forName="ParentAccent10" refType="h" fact="0.6233"/>
                  <dgm:constr type="w" for="ch" forName="ParentAccent10" refType="w" fact="0.0287"/>
                  <dgm:constr type="h" for="ch" forName="ParentAccent10" refType="h" fact="0.0608"/>
                  <dgm:constr type="r" for="ch" forName="Child2" refType="w"/>
                  <dgm:constr type="t" for="ch" forName="Child2" refType="h" fact="0.7822"/>
                  <dgm:constr type="w" for="ch" forName="Child2" refType="w" fact="0.3364"/>
                  <dgm:constr type="h" for="ch" forName="Child2" refType="h" fact="0.1564"/>
                  <dgm:constr type="r" for="ch" forName="Child1" refType="w"/>
                  <dgm:constr type="t" for="ch" forName="Child1" refType="h" fact="0"/>
                  <dgm:constr type="w" for="ch" forName="Child1" refType="w" fact="0.3364"/>
                  <dgm:constr type="h" for="ch" forName="Child1" refType="h" fact="0.1564"/>
                  <dgm:constr type="r" for="ch" forName="Parent" refType="w" fact="0.6347"/>
                  <dgm:constr type="t" for="ch" forName="Parent" refType="h" fact="0.2737"/>
                  <dgm:constr type="w" for="ch" forName="Parent" refType="w" fact="0.2906"/>
                  <dgm:constr type="h" for="ch" forName="Parent" refType="h" fact="0.6157"/>
                </dgm:constrLst>
              </dgm:if>
              <dgm:if name="Name18" axis="ch" ptType="node" func="cnt" op="equ" val="3">
                <dgm:alg type="composite">
                  <dgm:param type="ar" val="2.1185"/>
                </dgm:alg>
                <dgm:constrLst>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Child1Accent1" refType="w" fact="0.6564"/>
                  <dgm:constr type="t" for="ch" forName="Child1Accent1" refType="h" fact="0.2211"/>
                  <dgm:constr type="w" for="ch" forName="Child1Accent1" refType="w" fact="0.0574"/>
                  <dgm:constr type="h" for="ch" forName="Child1Accent1" refType="h" fact="0.1217"/>
                  <dgm:constr type="r" for="ch" forName="Child1Accent2" refType="w" fact="0.6932"/>
                  <dgm:constr type="t" for="ch" forName="Child1Accent2" refType="h" fact="0.1569"/>
                  <dgm:constr type="w" for="ch" forName="Child1Accent2" refType="w" fact="0.0287"/>
                  <dgm:constr type="h" for="ch" forName="Child1Accent2" refType="h" fact="0.0608"/>
                  <dgm:constr type="r" for="ch" forName="Child1Accent3" refType="w" fact="0.7545"/>
                  <dgm:constr type="t" for="ch" forName="Child1Accent3" refType="h" fact="0.1569"/>
                  <dgm:constr type="w" for="ch" forName="Child1Accent3" refType="w" fact="0.0287"/>
                  <dgm:constr type="h" for="ch" forName="Child1Accent3" refType="h" fact="0.0608"/>
                  <dgm:constr type="r" for="ch" forName="Child1Accent4" refType="w" fact="0.8158"/>
                  <dgm:constr type="t" for="ch" forName="Child1Accent4" refType="h" fact="0.1569"/>
                  <dgm:constr type="w" for="ch" forName="Child1Accent4" refType="w" fact="0.0287"/>
                  <dgm:constr type="h" for="ch" forName="Child1Accent4" refType="h" fact="0.0608"/>
                  <dgm:constr type="r" for="ch" forName="Child1Accent5" refType="w" fact="0.8771"/>
                  <dgm:constr type="t" for="ch" forName="Child1Accent5" refType="h" fact="0.1569"/>
                  <dgm:constr type="w" for="ch" forName="Child1Accent5" refType="w" fact="0.0287"/>
                  <dgm:constr type="h" for="ch" forName="Child1Accent5" refType="h" fact="0.0608"/>
                  <dgm:constr type="r" for="ch" forName="Child1Accent6" refType="w" fact="0.9385"/>
                  <dgm:constr type="t" for="ch" forName="Child1Accent6" refType="h" fact="0.1569"/>
                  <dgm:constr type="w" for="ch" forName="Child1Accent6" refType="w" fact="0.0287"/>
                  <dgm:constr type="h" for="ch" forName="Child1Accent6" refType="h" fact="0.0608"/>
                  <dgm:constr type="r" for="ch" forName="Child1Accent7" refType="w" fact="0.9998"/>
                  <dgm:constr type="t" for="ch" forName="Child1Accent7" refType="h" fact="0.1569"/>
                  <dgm:constr type="w" for="ch" forName="Child1Accent7" refType="w" fact="0.0287"/>
                  <dgm:constr type="h" for="ch" forName="Child1Accent7" refType="h" fact="0.0608"/>
                  <dgm:constr type="r" for="ch" forName="Child1Accent8" refType="w" fact="0"/>
                  <dgm:constr type="t" for="ch" forName="Child1Accent8" refType="h" fact="0"/>
                  <dgm:constr type="w" for="ch" forName="Child1Accent8" refType="w" fact="0"/>
                  <dgm:constr type="h" for="ch" forName="Child1Accent8" refType="h" fact="0"/>
                  <dgm:constr type="r" for="ch" forName="Child1Accent9" refType="w" fact="0"/>
                  <dgm:constr type="t" for="ch" forName="Child1Accent9" refType="h" fact="0"/>
                  <dgm:constr type="w" for="ch" forName="Child1Accent9" refType="w" fact="0"/>
                  <dgm:constr type="h" for="ch" forName="Child1Accent9" refType="h" fact="0"/>
                  <dgm:constr type="r" for="ch" forName="Child2Accent1" refType="w" fact="0.716"/>
                  <dgm:constr type="t" for="ch" forName="Child2Accent1" refType="h" fact="0.5207"/>
                  <dgm:constr type="w" for="ch" forName="Child2Accent1" refType="w" fact="0.0574"/>
                  <dgm:constr type="h" for="ch" forName="Child2Accent1" refType="h" fact="0.1217"/>
                  <dgm:constr type="r" for="ch" forName="Child2Accent2" refType="w" fact="0.7728"/>
                  <dgm:constr type="t" for="ch" forName="Child2Accent2" refType="h" fact="0.5511"/>
                  <dgm:constr type="w" for="ch" forName="Child2Accent2" refType="w" fact="0.0287"/>
                  <dgm:constr type="h" for="ch" forName="Child2Accent2" refType="h" fact="0.0608"/>
                  <dgm:constr type="r" for="ch" forName="Child2Accent3" refType="w" fact="0.8295"/>
                  <dgm:constr type="t" for="ch" forName="Child2Accent3" refType="h" fact="0.5511"/>
                  <dgm:constr type="w" for="ch" forName="Child2Accent3" refType="w" fact="0.0287"/>
                  <dgm:constr type="h" for="ch" forName="Child2Accent3" refType="h" fact="0.0608"/>
                  <dgm:constr type="r" for="ch" forName="Child2Accent4" refType="w" fact="0.8863"/>
                  <dgm:constr type="t" for="ch" forName="Child2Accent4" refType="h" fact="0.5511"/>
                  <dgm:constr type="w" for="ch" forName="Child2Accent4" refType="w" fact="0.0287"/>
                  <dgm:constr type="h" for="ch" forName="Child2Accent4" refType="h" fact="0.0608"/>
                  <dgm:constr type="r" for="ch" forName="Child2Accent5" refType="w" fact="0.943"/>
                  <dgm:constr type="t" for="ch" forName="Child2Accent5" refType="h" fact="0.5511"/>
                  <dgm:constr type="w" for="ch" forName="Child2Accent5" refType="w" fact="0.0287"/>
                  <dgm:constr type="h" for="ch" forName="Child2Accent5" refType="h" fact="0.0608"/>
                  <dgm:constr type="r" for="ch" forName="Child2Accent6" refType="w" fact="0.9998"/>
                  <dgm:constr type="t" for="ch" forName="Child2Accent6" refType="h" fact="0.5511"/>
                  <dgm:constr type="w" for="ch" forName="Child2Accent6" refType="w" fact="0.0287"/>
                  <dgm:constr type="h" for="ch" forName="Child2Accent6" refType="h" fact="0.0608"/>
                  <dgm:constr type="r" for="ch" forName="Child2Accent7" refType="w" fact="0"/>
                  <dgm:constr type="t" for="ch" forName="Child2Accent7" refType="h" fact="0"/>
                  <dgm:constr type="w" for="ch" forName="Child2Accent7" refType="w" fact="0"/>
                  <dgm:constr type="h" for="ch" forName="Child2Accent7" refType="h" fact="0"/>
                  <dgm:constr type="r" for="ch" forName="Child3Accent1" refType="w" fact="0.6564"/>
                  <dgm:constr type="t" for="ch" forName="Child3Accent1" refType="h" fact="0.8153"/>
                  <dgm:constr type="w" for="ch" forName="Child3Accent1" refType="w" fact="0.0574"/>
                  <dgm:constr type="h" for="ch" forName="Child3Accent1" refType="h" fact="0.1217"/>
                  <dgm:constr type="r" for="ch" forName="Child3Accent2" refType="w" fact="0.6932"/>
                  <dgm:constr type="t" for="ch" forName="Child3Accent2" refType="h" fact="0.9392"/>
                  <dgm:constr type="w" for="ch" forName="Child3Accent2" refType="w" fact="0.0287"/>
                  <dgm:constr type="h" for="ch" forName="Child3Accent2" refType="h" fact="0.0608"/>
                  <dgm:constr type="r" for="ch" forName="Child3Accent3" refType="w" fact="0.7545"/>
                  <dgm:constr type="t" for="ch" forName="Child3Accent3" refType="h" fact="0.9392"/>
                  <dgm:constr type="w" for="ch" forName="Child3Accent3" refType="w" fact="0.0287"/>
                  <dgm:constr type="h" for="ch" forName="Child3Accent3" refType="h" fact="0.0608"/>
                  <dgm:constr type="r" for="ch" forName="Child3Accent4" refType="w" fact="0.8158"/>
                  <dgm:constr type="t" for="ch" forName="Child3Accent4" refType="h" fact="0.9392"/>
                  <dgm:constr type="w" for="ch" forName="Child3Accent4" refType="w" fact="0.0287"/>
                  <dgm:constr type="h" for="ch" forName="Child3Accent4" refType="h" fact="0.0608"/>
                  <dgm:constr type="r" for="ch" forName="Child3Accent5" refType="w" fact="0.8771"/>
                  <dgm:constr type="t" for="ch" forName="Child3Accent5" refType="h" fact="0.9392"/>
                  <dgm:constr type="w" for="ch" forName="Child3Accent5" refType="w" fact="0.0287"/>
                  <dgm:constr type="h" for="ch" forName="Child3Accent5" refType="h" fact="0.0608"/>
                  <dgm:constr type="r" for="ch" forName="Child3Accent6" refType="w" fact="0.9385"/>
                  <dgm:constr type="t" for="ch" forName="Child3Accent6" refType="h" fact="0.9392"/>
                  <dgm:constr type="w" for="ch" forName="Child3Accent6" refType="w" fact="0.0287"/>
                  <dgm:constr type="h" for="ch" forName="Child3Accent6" refType="h" fact="0.0608"/>
                  <dgm:constr type="r" for="ch" forName="Child3Accent7" refType="w" fact="0.9998"/>
                  <dgm:constr type="t" for="ch" forName="Child3Accent7" refType="h" fact="0.9392"/>
                  <dgm:constr type="w" for="ch" forName="Child3Accent7" refType="w" fact="0.0287"/>
                  <dgm:constr type="h" for="ch" forName="Child3Accent7" refType="h" fact="0.0608"/>
                  <dgm:constr type="r" for="ch" forName="ParentAccent1" refType="w" fact="0.0287"/>
                  <dgm:constr type="t" for="ch" forName="ParentAccent1" refType="h" fact="0.5511"/>
                  <dgm:constr type="w" for="ch" forName="ParentAccent1" refType="w" fact="0.0287"/>
                  <dgm:constr type="h" for="ch" forName="ParentAccent1" refType="h" fact="0.0608"/>
                  <dgm:constr type="r" for="ch" forName="ParentAccent2" refType="w" fact="0.0813"/>
                  <dgm:constr type="t" for="ch" forName="ParentAccent2" refType="h" fact="0.5511"/>
                  <dgm:constr type="w" for="ch" forName="ParentAccent2" refType="w" fact="0.0287"/>
                  <dgm:constr type="h" for="ch" forName="ParentAccent2" refType="h" fact="0.0608"/>
                  <dgm:constr type="r" for="ch" forName="ParentAccent3" refType="w" fact="0.1339"/>
                  <dgm:constr type="t" for="ch" forName="ParentAccent3" refType="h" fact="0.5511"/>
                  <dgm:constr type="w" for="ch" forName="ParentAccent3" refType="w" fact="0.0287"/>
                  <dgm:constr type="h" for="ch" forName="ParentAccent3" refType="h" fact="0.0608"/>
                  <dgm:constr type="r" for="ch" forName="ParentAccent4" refType="w" fact="0.1864"/>
                  <dgm:constr type="t" for="ch" forName="ParentAccent4" refType="h" fact="0.5511"/>
                  <dgm:constr type="w" for="ch" forName="ParentAccent4" refType="w" fact="0.0287"/>
                  <dgm:constr type="h" for="ch" forName="ParentAccent4" refType="h" fact="0.0608"/>
                  <dgm:constr type="r" for="ch" forName="ParentAccent5" refType="w" fact="0.239"/>
                  <dgm:constr type="t" for="ch" forName="ParentAccent5" refType="h" fact="0.5511"/>
                  <dgm:constr type="w" for="ch" forName="ParentAccent5" refType="w" fact="0.0287"/>
                  <dgm:constr type="h" for="ch" forName="ParentAccent5" refType="h" fact="0.0608"/>
                  <dgm:constr type="r" for="ch" forName="ParentAccent6" refType="w" fact="0.3203"/>
                  <dgm:constr type="t" for="ch" forName="ParentAccent6" refType="h" fact="0.5207"/>
                  <dgm:constr type="w" for="ch" forName="ParentAccent6" refType="w" fact="0.0574"/>
                  <dgm:constr type="h" for="ch" forName="ParentAccent6" refType="h" fact="0.1217"/>
                  <dgm:constr type="r" for="ch" forName="ParentAccent7" refType="w" fact="0.0755"/>
                  <dgm:constr type="t" for="ch" forName="ParentAccent7" refType="h" fact="0.4255"/>
                  <dgm:constr type="w" for="ch" forName="ParentAccent7" refType="w" fact="0.0287"/>
                  <dgm:constr type="h" for="ch" forName="ParentAccent7" refType="h" fact="0.0608"/>
                  <dgm:constr type="r" for="ch" forName="ParentAccent8" refType="w" fact="0.0755"/>
                  <dgm:constr type="t" for="ch" forName="ParentAccent8" refType="h" fact="0.6776"/>
                  <dgm:constr type="w" for="ch" forName="ParentAccent8" refType="w" fact="0.0287"/>
                  <dgm:constr type="h" for="ch" forName="ParentAccent8" refType="h" fact="0.0608"/>
                  <dgm:constr type="r" for="ch" forName="ParentAccent9" refType="w" fact="0.0499"/>
                  <dgm:constr type="t" for="ch" forName="ParentAccent9" refType="h" fact="0.4801"/>
                  <dgm:constr type="w" for="ch" forName="ParentAccent9" refType="w" fact="0.0287"/>
                  <dgm:constr type="h" for="ch" forName="ParentAccent9" refType="h" fact="0.0608"/>
                  <dgm:constr type="r" for="ch" forName="ParentAccent10" refType="w" fact="0.0482"/>
                  <dgm:constr type="t" for="ch" forName="ParentAccent10" refType="h" fact="0.6233"/>
                  <dgm:constr type="w" for="ch" forName="ParentAccent10" refType="w" fact="0.0287"/>
                  <dgm:constr type="h" for="ch" forName="ParentAccent10" refType="h" fact="0.0608"/>
                  <dgm:constr type="r" for="ch" forName="Child3" refType="w"/>
                  <dgm:constr type="t" for="ch" forName="Child3" refType="h" fact="0.7822"/>
                  <dgm:constr type="w" for="ch" forName="Child3" refType="w" fact="0.3364"/>
                  <dgm:constr type="h" for="ch" forName="Child3" refType="h" fact="0.1564"/>
                  <dgm:constr type="r" for="ch" forName="Child2" refType="w"/>
                  <dgm:constr type="t" for="ch" forName="Child2" refType="h" fact="0.3955"/>
                  <dgm:constr type="w" for="ch" forName="Child2" refType="w" fact="0.2544"/>
                  <dgm:constr type="h" for="ch" forName="Child2" refType="h" fact="0.1564"/>
                  <dgm:constr type="r" for="ch" forName="Child1" refType="w"/>
                  <dgm:constr type="t" for="ch" forName="Child1" refType="h" fact="0"/>
                  <dgm:constr type="w" for="ch" forName="Child1" refType="w" fact="0.3364"/>
                  <dgm:constr type="h" for="ch" forName="Child1" refType="h" fact="0.1564"/>
                  <dgm:constr type="r" for="ch" forName="Parent" refType="w" fact="0.6347"/>
                  <dgm:constr type="t" for="ch" forName="Parent" refType="h" fact="0.2737"/>
                  <dgm:constr type="w" for="ch" forName="Parent" refType="w" fact="0.2906"/>
                  <dgm:constr type="h" for="ch" forName="Parent" refType="h" fact="0.6157"/>
                </dgm:constrLst>
              </dgm:if>
              <dgm:if name="Name19" axis="ch" ptType="node" func="cnt" op="equ" val="4">
                <dgm:alg type="composite">
                  <dgm:param type="ar" val="1.8304"/>
                </dgm:alg>
                <dgm:constrLst>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 refType="w" fact="0.6229"/>
                  <dgm:constr type="t" for="ch" forName="Parent" refType="h" fact="0.2946"/>
                  <dgm:constr type="w" for="ch" forName="Parent" refType="w" fact="0.2862"/>
                  <dgm:constr type="h" for="ch" forName="Parent" refType="h" fact="0.5239"/>
                  <dgm:constr type="r" for="ch" forName="Child1Accent1" refType="w" fact="0.6096"/>
                  <dgm:constr type="t" for="ch" forName="Child1Accent1" refType="h" fact="0.2104"/>
                  <dgm:constr type="w" for="ch" forName="Child1Accent1" refType="w" fact="0.0566"/>
                  <dgm:constr type="h" for="ch" forName="Child1Accent1" refType="h" fact="0.1035"/>
                  <dgm:constr type="r" for="ch" forName="Child1Accent3" refType="w" fact="0.6999"/>
                  <dgm:constr type="t" for="ch" forName="Child1Accent3" refType="h" fact="0.128"/>
                  <dgm:constr type="w" for="ch" forName="Child1Accent3" refType="w" fact="0.0283"/>
                  <dgm:constr type="h" for="ch" forName="Child1Accent3" refType="h" fact="0.0518"/>
                  <dgm:constr type="r" for="ch" forName="Child1Accent4" refType="w" fact="0.7582"/>
                  <dgm:constr type="t" for="ch" forName="Child1Accent4" refType="h" fact="0.128"/>
                  <dgm:constr type="w" for="ch" forName="Child1Accent4" refType="w" fact="0.0283"/>
                  <dgm:constr type="h" for="ch" forName="Child1Accent4" refType="h" fact="0.0518"/>
                  <dgm:constr type="r" for="ch" forName="Child1Accent5" refType="w" fact="0.8165"/>
                  <dgm:constr type="t" for="ch" forName="Child1Accent5" refType="h" fact="0.128"/>
                  <dgm:constr type="w" for="ch" forName="Child1Accent5" refType="w" fact="0.0283"/>
                  <dgm:constr type="h" for="ch" forName="Child1Accent5" refType="h" fact="0.0518"/>
                  <dgm:constr type="r" for="ch" forName="Child1Accent6" refType="w" fact="0.8748"/>
                  <dgm:constr type="t" for="ch" forName="Child1Accent6" refType="h" fact="0.128"/>
                  <dgm:constr type="w" for="ch" forName="Child1Accent6" refType="w" fact="0.0283"/>
                  <dgm:constr type="h" for="ch" forName="Child1Accent6" refType="h" fact="0.0518"/>
                  <dgm:constr type="r" for="ch" forName="Child3Accent1" refType="w" fact="0.6842"/>
                  <dgm:constr type="t" for="ch" forName="Child3Accent1" refType="h" fact="0.6212"/>
                  <dgm:constr type="w" for="ch" forName="Child3Accent1" refType="w" fact="0.0566"/>
                  <dgm:constr type="h" for="ch" forName="Child3Accent1" refType="h" fact="0.1035"/>
                  <dgm:constr type="r" for="ch" forName="Child3Accent2" refType="w" fact="0.7311"/>
                  <dgm:constr type="t" for="ch" forName="Child3Accent2" refType="h" fact="0.6828"/>
                  <dgm:constr type="w" for="ch" forName="Child3Accent2" refType="w" fact="0.0283"/>
                  <dgm:constr type="h" for="ch" forName="Child3Accent2" refType="h" fact="0.0518"/>
                  <dgm:constr type="r" for="ch" forName="Child3Accent4" refType="w" fact="0.8386"/>
                  <dgm:constr type="t" for="ch" forName="Child3Accent4" refType="h" fact="0.6828"/>
                  <dgm:constr type="w" for="ch" forName="Child3Accent4" refType="w" fact="0.0283"/>
                  <dgm:constr type="h" for="ch" forName="Child3Accent4" refType="h" fact="0.0518"/>
                  <dgm:constr type="r" for="ch" forName="Child3Accent5" refType="w" fact="0.8923"/>
                  <dgm:constr type="t" for="ch" forName="Child3Accent5" refType="h" fact="0.6828"/>
                  <dgm:constr type="w" for="ch" forName="Child3Accent5" refType="w" fact="0.0283"/>
                  <dgm:constr type="h" for="ch" forName="Child3Accent5" refType="h" fact="0.0518"/>
                  <dgm:constr type="r" for="ch" forName="Child1Accent7" refType="w" fact="0.9332"/>
                  <dgm:constr type="t" for="ch" forName="Child1Accent7" refType="h" fact="0.128"/>
                  <dgm:constr type="w" for="ch" forName="Child1Accent7" refType="w" fact="0.0283"/>
                  <dgm:constr type="h" for="ch" forName="Child1Accent7" refType="h" fact="0.0518"/>
                  <dgm:constr type="r" for="ch" forName="Child3Accent6" refType="w" fact="0.9461"/>
                  <dgm:constr type="t" for="ch" forName="Child3Accent6" refType="h" fact="0.6828"/>
                  <dgm:constr type="w" for="ch" forName="Child3Accent6" refType="w" fact="0.0283"/>
                  <dgm:constr type="h" for="ch" forName="Child3Accent6" refType="h" fact="0.0518"/>
                  <dgm:constr type="r" for="ch" forName="Child1Accent8" refType="w" fact="0.9915"/>
                  <dgm:constr type="t" for="ch" forName="Child1Accent8" refType="h" fact="0.128"/>
                  <dgm:constr type="w" for="ch" forName="Child1Accent8" refType="w" fact="0.0283"/>
                  <dgm:constr type="h" for="ch" forName="Child1Accent8" refType="h" fact="0.0518"/>
                  <dgm:constr type="r" for="ch" forName="Child1Accent9" refType="w" fact="0"/>
                  <dgm:constr type="t" for="ch" forName="Child1Accent9" refType="h" fact="0"/>
                  <dgm:constr type="w" for="ch" forName="Child1Accent9" refType="w" fact="0"/>
                  <dgm:constr type="h" for="ch" forName="Child1Accent9" refType="h" fact="0"/>
                  <dgm:constr type="r" for="ch" forName="Child3Accent7" refType="w" fact="0.9998"/>
                  <dgm:constr type="t" for="ch" forName="Child3Accent7" refType="h" fact="0.6828"/>
                  <dgm:constr type="w" for="ch" forName="Child3Accent7" refType="w" fact="0.0283"/>
                  <dgm:constr type="h" for="ch" forName="Child3Accent7" refType="h" fact="0.0518"/>
                  <dgm:constr type="r" for="ch" forName="Child4Accent1" refType="w" fact="0.6096"/>
                  <dgm:constr type="t" for="ch" forName="Child4Accent1" refType="h" fact="0.8"/>
                  <dgm:constr type="w" for="ch" forName="Child4Accent1" refType="w" fact="0.0566"/>
                  <dgm:constr type="h" for="ch" forName="Child4Accent1" refType="h" fact="0.1035"/>
                  <dgm:constr type="r" for="ch" forName="Child4Accent3" refType="w" fact="0.7002"/>
                  <dgm:constr type="t" for="ch" forName="Child4Accent3" refType="h" fact="0.9482"/>
                  <dgm:constr type="w" for="ch" forName="Child4Accent3" refType="w" fact="0.0283"/>
                  <dgm:constr type="h" for="ch" forName="Child4Accent3" refType="h" fact="0.0518"/>
                  <dgm:constr type="r" for="ch" forName="Child4Accent4" refType="w" fact="0.7585"/>
                  <dgm:constr type="t" for="ch" forName="Child4Accent4" refType="h" fact="0.9482"/>
                  <dgm:constr type="w" for="ch" forName="Child4Accent4" refType="w" fact="0.0283"/>
                  <dgm:constr type="h" for="ch" forName="Child4Accent4" refType="h" fact="0.0518"/>
                  <dgm:constr type="r" for="ch" forName="Child4Accent5" refType="w" fact="0.8167"/>
                  <dgm:constr type="t" for="ch" forName="Child4Accent5" refType="h" fact="0.9482"/>
                  <dgm:constr type="w" for="ch" forName="Child4Accent5" refType="w" fact="0.0283"/>
                  <dgm:constr type="h" for="ch" forName="Child4Accent5" refType="h" fact="0.0518"/>
                  <dgm:constr type="r" for="ch" forName="Child4Accent6" refType="w" fact="0.8749"/>
                  <dgm:constr type="t" for="ch" forName="Child4Accent6" refType="h" fact="0.9482"/>
                  <dgm:constr type="w" for="ch" forName="Child4Accent6" refType="w" fact="0.0283"/>
                  <dgm:constr type="h" for="ch" forName="Child4Accent6" refType="h" fact="0.0518"/>
                  <dgm:constr type="r" for="ch" forName="Child4Accent7" refType="w" fact="0.9332"/>
                  <dgm:constr type="t" for="ch" forName="Child4Accent7" refType="h" fact="0.9482"/>
                  <dgm:constr type="w" for="ch" forName="Child4Accent7" refType="w" fact="0.0283"/>
                  <dgm:constr type="h" for="ch" forName="Child4Accent7" refType="h" fact="0.0518"/>
                  <dgm:constr type="r" for="ch" forName="Child4Accent8" refType="w" fact="0.9914"/>
                  <dgm:constr type="t" for="ch" forName="Child4Accent8" refType="h" fact="0.9482"/>
                  <dgm:constr type="w" for="ch" forName="Child4Accent8" refType="w" fact="0.0283"/>
                  <dgm:constr type="h" for="ch" forName="Child4Accent8" refType="h" fact="0.0518"/>
                  <dgm:constr type="r" for="ch" forName="Child2Accent1" refType="w" fact="0.6842"/>
                  <dgm:constr type="t" for="ch" forName="Child2Accent1" refType="h" fact="0.3725"/>
                  <dgm:constr type="w" for="ch" forName="Child2Accent1" refType="w" fact="0.0566"/>
                  <dgm:constr type="h" for="ch" forName="Child2Accent1" refType="h" fact="0.1035"/>
                  <dgm:constr type="r" for="ch" forName="Child4Accent2" refType="w" fact="0.642"/>
                  <dgm:constr type="t" for="ch" forName="Child4Accent2" refType="h" fact="0.8993"/>
                  <dgm:constr type="w" for="ch" forName="Child4Accent2" refType="w" fact="0.0283"/>
                  <dgm:constr type="h" for="ch" forName="Child4Accent2" refType="h" fact="0.0518"/>
                  <dgm:constr type="r" for="ch" forName="Child1Accent2" refType="w" fact="0.6415"/>
                  <dgm:constr type="t" for="ch" forName="Child1Accent2" refType="h" fact="0.162"/>
                  <dgm:constr type="w" for="ch" forName="Child1Accent2" refType="w" fact="0.0283"/>
                  <dgm:constr type="h" for="ch" forName="Child1Accent2" refType="h" fact="0.0518"/>
                  <dgm:constr type="r" for="ch" forName="Child3Accent3" refType="w" fact="0.7849"/>
                  <dgm:constr type="t" for="ch" forName="Child3Accent3" refType="h" fact="0.6828"/>
                  <dgm:constr type="w" for="ch" forName="Child3Accent3" refType="w" fact="0.0283"/>
                  <dgm:constr type="h" for="ch" forName="Child3Accent3" refType="h" fact="0.0518"/>
                  <dgm:constr type="r" for="ch" forName="Child2Accent2" refType="w" fact="0.7311"/>
                  <dgm:constr type="t" for="ch" forName="Child2Accent2" refType="h" fact="0.3937"/>
                  <dgm:constr type="w" for="ch" forName="Child2Accent2" refType="w" fact="0.0283"/>
                  <dgm:constr type="h" for="ch" forName="Child2Accent2" refType="h" fact="0.0518"/>
                  <dgm:constr type="r" for="ch" forName="Child2Accent4" refType="w" fact="0.8386"/>
                  <dgm:constr type="t" for="ch" forName="Child2Accent4" refType="h" fact="0.3937"/>
                  <dgm:constr type="w" for="ch" forName="Child2Accent4" refType="w" fact="0.0283"/>
                  <dgm:constr type="h" for="ch" forName="Child2Accent4" refType="h" fact="0.0518"/>
                  <dgm:constr type="r" for="ch" forName="Child2Accent5" refType="w" fact="0.8923"/>
                  <dgm:constr type="t" for="ch" forName="Child2Accent5" refType="h" fact="0.3937"/>
                  <dgm:constr type="w" for="ch" forName="Child2Accent5" refType="w" fact="0.0283"/>
                  <dgm:constr type="h" for="ch" forName="Child2Accent5" refType="h" fact="0.0518"/>
                  <dgm:constr type="r" for="ch" forName="Child2Accent6" refType="w" fact="0.9461"/>
                  <dgm:constr type="t" for="ch" forName="Child2Accent6" refType="h" fact="0.3937"/>
                  <dgm:constr type="w" for="ch" forName="Child2Accent6" refType="w" fact="0.0283"/>
                  <dgm:constr type="h" for="ch" forName="Child2Accent6" refType="h" fact="0.0518"/>
                  <dgm:constr type="r" for="ch" forName="Child2Accent7" refType="w" fact="0.9998"/>
                  <dgm:constr type="t" for="ch" forName="Child2Accent7" refType="h" fact="0.3937"/>
                  <dgm:constr type="w" for="ch" forName="Child2Accent7" refType="w" fact="0.0283"/>
                  <dgm:constr type="h" for="ch" forName="Child2Accent7" refType="h" fact="0.0518"/>
                  <dgm:constr type="r" for="ch" forName="Child2Accent3" refType="w" fact="0.7849"/>
                  <dgm:constr type="t" for="ch" forName="Child2Accent3" refType="h" fact="0.3937"/>
                  <dgm:constr type="w" for="ch" forName="Child2Accent3" refType="w" fact="0.0283"/>
                  <dgm:constr type="h" for="ch" forName="Child2Accent3" refType="h" fact="0.0518"/>
                  <dgm:constr type="r" for="ch" forName="ParentAccent1" refType="w" fact="0.0283"/>
                  <dgm:constr type="t" for="ch" forName="ParentAccent1" refType="h" fact="0.5316"/>
                  <dgm:constr type="w" for="ch" forName="ParentAccent1" refType="w" fact="0.0283"/>
                  <dgm:constr type="h" for="ch" forName="ParentAccent1" refType="h" fact="0.0518"/>
                  <dgm:constr type="r" for="ch" forName="ParentAccent2" refType="w" fact="0.0801"/>
                  <dgm:constr type="t" for="ch" forName="ParentAccent2" refType="h" fact="0.5316"/>
                  <dgm:constr type="w" for="ch" forName="ParentAccent2" refType="w" fact="0.0283"/>
                  <dgm:constr type="h" for="ch" forName="ParentAccent2" refType="h" fact="0.0518"/>
                  <dgm:constr type="r" for="ch" forName="ParentAccent3" refType="w" fact="0.1318"/>
                  <dgm:constr type="t" for="ch" forName="ParentAccent3" refType="h" fact="0.5316"/>
                  <dgm:constr type="w" for="ch" forName="ParentAccent3" refType="w" fact="0.0283"/>
                  <dgm:constr type="h" for="ch" forName="ParentAccent3" refType="h" fact="0.0518"/>
                  <dgm:constr type="r" for="ch" forName="ParentAccent4" refType="w" fact="0.1836"/>
                  <dgm:constr type="t" for="ch" forName="ParentAccent4" refType="h" fact="0.5316"/>
                  <dgm:constr type="w" for="ch" forName="ParentAccent4" refType="w" fact="0.0283"/>
                  <dgm:constr type="h" for="ch" forName="ParentAccent4" refType="h" fact="0.0518"/>
                  <dgm:constr type="r" for="ch" forName="ParentAccent5" refType="w" fact="0.2354"/>
                  <dgm:constr type="t" for="ch" forName="ParentAccent5" refType="h" fact="0.5316"/>
                  <dgm:constr type="w" for="ch" forName="ParentAccent5" refType="w" fact="0.0283"/>
                  <dgm:constr type="h" for="ch" forName="ParentAccent5" refType="h" fact="0.0518"/>
                  <dgm:constr type="r" for="ch" forName="ParentAccent6" refType="w" fact="0.3154"/>
                  <dgm:constr type="t" for="ch" forName="ParentAccent6" refType="h" fact="0.5057"/>
                  <dgm:constr type="w" for="ch" forName="ParentAccent6" refType="w" fact="0.0566"/>
                  <dgm:constr type="h" for="ch" forName="ParentAccent6" refType="h" fact="0.1035"/>
                  <dgm:constr type="r" for="ch" forName="ParentAccent7" refType="w" fact="0.0744"/>
                  <dgm:constr type="t" for="ch" forName="ParentAccent7" refType="h" fact="0.4247"/>
                  <dgm:constr type="w" for="ch" forName="ParentAccent7" refType="w" fact="0.0283"/>
                  <dgm:constr type="h" for="ch" forName="ParentAccent7" refType="h" fact="0.0518"/>
                  <dgm:constr type="r" for="ch" forName="ParentAccent8" refType="w" fact="0.0744"/>
                  <dgm:constr type="t" for="ch" forName="ParentAccent8" refType="h" fact="0.6392"/>
                  <dgm:constr type="w" for="ch" forName="ParentAccent8" refType="w" fact="0.0283"/>
                  <dgm:constr type="h" for="ch" forName="ParentAccent8" refType="h" fact="0.0518"/>
                  <dgm:constr type="r" for="ch" forName="ParentAccent9" refType="w" fact="0.0491"/>
                  <dgm:constr type="t" for="ch" forName="ParentAccent9" refType="h" fact="0.4712"/>
                  <dgm:constr type="w" for="ch" forName="ParentAccent9" refType="w" fact="0.0283"/>
                  <dgm:constr type="h" for="ch" forName="ParentAccent9" refType="h" fact="0.0518"/>
                  <dgm:constr type="r" for="ch" forName="ParentAccent10" refType="w" fact="0.0475"/>
                  <dgm:constr type="t" for="ch" forName="ParentAccent10" refType="h" fact="0.593"/>
                  <dgm:constr type="w" for="ch" forName="ParentAccent10" refType="w" fact="0.0283"/>
                  <dgm:constr type="h" for="ch" forName="ParentAccent10" refType="h" fact="0.0518"/>
                  <dgm:constr type="r" for="ch" forName="Child4" refType="w" fact="0.9919"/>
                  <dgm:constr type="t" for="ch" forName="Child4" refType="h" fact="0.8184"/>
                  <dgm:constr type="w" for="ch" forName="Child4" refType="w" fact="0.3192"/>
                  <dgm:constr type="h" for="ch" forName="Child4" refType="h" fact="0.1294"/>
                  <dgm:constr type="r" for="ch" forName="Child3" refType="w"/>
                  <dgm:constr type="t" for="ch" forName="Child3" refType="h" fact="0.5547"/>
                  <dgm:constr type="w" for="ch" forName="Child3" refType="w" fact="0.297"/>
                  <dgm:constr type="h" for="ch" forName="Child3" refType="h" fact="0.1294"/>
                  <dgm:constr type="r" for="ch" forName="Child2" refType="w"/>
                  <dgm:constr type="t" for="ch" forName="Child2" refType="h" fact="0.2662"/>
                  <dgm:constr type="w" for="ch" forName="Child2" refType="w" fact="0.297"/>
                  <dgm:constr type="h" for="ch" forName="Child2" refType="h" fact="0.1294"/>
                  <dgm:constr type="r" for="ch" forName="Child1" refType="w" fact="0.9919"/>
                  <dgm:constr type="t" for="ch" forName="Child1" refType="h" fact="0"/>
                  <dgm:constr type="w" for="ch" forName="Child1" refType="w" fact="0.3192"/>
                  <dgm:constr type="h" for="ch" forName="Child1" refType="h" fact="0.1294"/>
                </dgm:constrLst>
              </dgm:if>
              <dgm:else name="Name20">
                <dgm:alg type="composite">
                  <dgm:param type="ar" val="1.3278"/>
                </dgm:alg>
                <dgm:constrLst>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Child2Accent1" refType="w" fact="0.6564"/>
                  <dgm:constr type="t" for="ch" forName="Child2Accent1" refType="h" fact="0.3184"/>
                  <dgm:constr type="w" for="ch" forName="Child2Accent1" refType="w" fact="0.0574"/>
                  <dgm:constr type="h" for="ch" forName="Child2Accent1" refType="h" fact="0.0763"/>
                  <dgm:constr type="r" for="ch" forName="Child2Accent2" refType="w" fact="0.6932"/>
                  <dgm:constr type="t" for="ch" forName="Child2Accent2" refType="h" fact="0.2781"/>
                  <dgm:constr type="w" for="ch" forName="Child2Accent2" refType="w" fact="0.0287"/>
                  <dgm:constr type="h" for="ch" forName="Child2Accent2" refType="h" fact="0.0381"/>
                  <dgm:constr type="r" for="ch" forName="Child2Accent3" refType="w" fact="0.7545"/>
                  <dgm:constr type="t" for="ch" forName="Child2Accent3" refType="h" fact="0.2781"/>
                  <dgm:constr type="w" for="ch" forName="Child2Accent3" refType="w" fact="0.0287"/>
                  <dgm:constr type="h" for="ch" forName="Child2Accent3" refType="h" fact="0.0381"/>
                  <dgm:constr type="r" for="ch" forName="Child2Accent4" refType="w" fact="0.8158"/>
                  <dgm:constr type="t" for="ch" forName="Child2Accent4" refType="h" fact="0.2781"/>
                  <dgm:constr type="w" for="ch" forName="Child2Accent4" refType="w" fact="0.0287"/>
                  <dgm:constr type="h" for="ch" forName="Child2Accent4" refType="h" fact="0.0381"/>
                  <dgm:constr type="r" for="ch" forName="Child2Accent5" refType="w" fact="0.8771"/>
                  <dgm:constr type="t" for="ch" forName="Child2Accent5" refType="h" fact="0.2781"/>
                  <dgm:constr type="w" for="ch" forName="Child2Accent5" refType="w" fact="0.0287"/>
                  <dgm:constr type="h" for="ch" forName="Child2Accent5" refType="h" fact="0.0381"/>
                  <dgm:constr type="r" for="ch" forName="Child2Accent6" refType="w" fact="0.9385"/>
                  <dgm:constr type="t" for="ch" forName="Child2Accent6" refType="h" fact="0.2781"/>
                  <dgm:constr type="w" for="ch" forName="Child2Accent6" refType="w" fact="0.0287"/>
                  <dgm:constr type="h" for="ch" forName="Child2Accent6" refType="h" fact="0.0381"/>
                  <dgm:constr type="r" for="ch" forName="Child2Accent7" refType="w" fact="0.9998"/>
                  <dgm:constr type="t" for="ch" forName="Child2Accent7" refType="h" fact="0.2781"/>
                  <dgm:constr type="w" for="ch" forName="Child2Accent7" refType="w" fact="0.0287"/>
                  <dgm:constr type="h" for="ch" forName="Child2Accent7" refType="h" fact="0.0381"/>
                  <dgm:constr type="r" for="ch" forName="Child3Accent1" refType="w" fact="0.716"/>
                  <dgm:constr type="t" for="ch" forName="Child3Accent1" refType="h" fact="0.5061"/>
                  <dgm:constr type="w" for="ch" forName="Child3Accent1" refType="w" fact="0.0574"/>
                  <dgm:constr type="h" for="ch" forName="Child3Accent1" refType="h" fact="0.0763"/>
                  <dgm:constr type="r" for="ch" forName="Child3Accent2" refType="w" fact="0.7728"/>
                  <dgm:constr type="t" for="ch" forName="Child3Accent2" refType="h" fact="0.5252"/>
                  <dgm:constr type="w" for="ch" forName="Child3Accent2" refType="w" fact="0.0287"/>
                  <dgm:constr type="h" for="ch" forName="Child3Accent2" refType="h" fact="0.0381"/>
                  <dgm:constr type="r" for="ch" forName="Child3Accent3" refType="w" fact="0.8295"/>
                  <dgm:constr type="t" for="ch" forName="Child3Accent3" refType="h" fact="0.5252"/>
                  <dgm:constr type="w" for="ch" forName="Child3Accent3" refType="w" fact="0.0287"/>
                  <dgm:constr type="h" for="ch" forName="Child3Accent3" refType="h" fact="0.0381"/>
                  <dgm:constr type="r" for="ch" forName="Child3Accent4" refType="w" fact="0.8863"/>
                  <dgm:constr type="t" for="ch" forName="Child3Accent4" refType="h" fact="0.5252"/>
                  <dgm:constr type="w" for="ch" forName="Child3Accent4" refType="w" fact="0.0287"/>
                  <dgm:constr type="h" for="ch" forName="Child3Accent4" refType="h" fact="0.0381"/>
                  <dgm:constr type="r" for="ch" forName="Child3Accent5" refType="w" fact="0.943"/>
                  <dgm:constr type="t" for="ch" forName="Child3Accent5" refType="h" fact="0.5252"/>
                  <dgm:constr type="w" for="ch" forName="Child3Accent5" refType="w" fact="0.0287"/>
                  <dgm:constr type="h" for="ch" forName="Child3Accent5" refType="h" fact="0.0381"/>
                  <dgm:constr type="r" for="ch" forName="Child3Accent6" refType="w" fact="0.9998"/>
                  <dgm:constr type="t" for="ch" forName="Child3Accent6" refType="h" fact="0.5252"/>
                  <dgm:constr type="w" for="ch" forName="Child3Accent6" refType="w" fact="0.0287"/>
                  <dgm:constr type="h" for="ch" forName="Child3Accent6" refType="h" fact="0.0381"/>
                  <dgm:constr type="r" for="ch" forName="Child3Accent7" refType="w" fact="0"/>
                  <dgm:constr type="t" for="ch" forName="Child3Accent7" refType="h" fact="0"/>
                  <dgm:constr type="w" for="ch" forName="Child3Accent7" refType="w" fact="0"/>
                  <dgm:constr type="h" for="ch" forName="Child3Accent7" refType="h" fact="0"/>
                  <dgm:constr type="r" for="ch" forName="Child4Accent1" refType="w" fact="0.6564"/>
                  <dgm:constr type="t" for="ch" forName="Child4Accent1" refType="h" fact="0.6908"/>
                  <dgm:constr type="w" for="ch" forName="Child4Accent1" refType="w" fact="0.0574"/>
                  <dgm:constr type="h" for="ch" forName="Child4Accent1" refType="h" fact="0.0763"/>
                  <dgm:constr type="r" for="ch" forName="Child4Accent2" refType="w" fact="0.6932"/>
                  <dgm:constr type="t" for="ch" forName="Child4Accent2" refType="h" fact="0.7684"/>
                  <dgm:constr type="w" for="ch" forName="Child4Accent2" refType="w" fact="0.0287"/>
                  <dgm:constr type="h" for="ch" forName="Child4Accent2" refType="h" fact="0.0381"/>
                  <dgm:constr type="r" for="ch" forName="Child4Accent3" refType="w" fact="0.7545"/>
                  <dgm:constr type="t" for="ch" forName="Child4Accent3" refType="h" fact="0.7684"/>
                  <dgm:constr type="w" for="ch" forName="Child4Accent3" refType="w" fact="0.0287"/>
                  <dgm:constr type="h" for="ch" forName="Child4Accent3" refType="h" fact="0.0381"/>
                  <dgm:constr type="r" for="ch" forName="Child4Accent4" refType="w" fact="0.8158"/>
                  <dgm:constr type="t" for="ch" forName="Child4Accent4" refType="h" fact="0.7684"/>
                  <dgm:constr type="w" for="ch" forName="Child4Accent4" refType="w" fact="0.0287"/>
                  <dgm:constr type="h" for="ch" forName="Child4Accent4" refType="h" fact="0.0381"/>
                  <dgm:constr type="r" for="ch" forName="Child4Accent5" refType="w" fact="0.8771"/>
                  <dgm:constr type="t" for="ch" forName="Child4Accent5" refType="h" fact="0.7684"/>
                  <dgm:constr type="w" for="ch" forName="Child4Accent5" refType="w" fact="0.0287"/>
                  <dgm:constr type="h" for="ch" forName="Child4Accent5" refType="h" fact="0.0381"/>
                  <dgm:constr type="r" for="ch" forName="Child4Accent6" refType="w" fact="0.9385"/>
                  <dgm:constr type="t" for="ch" forName="Child4Accent6" refType="h" fact="0.7684"/>
                  <dgm:constr type="w" for="ch" forName="Child4Accent6" refType="w" fact="0.0287"/>
                  <dgm:constr type="h" for="ch" forName="Child4Accent6" refType="h" fact="0.0381"/>
                  <dgm:constr type="r" for="ch" forName="Child4Accent7" refType="w" fact="0.9998"/>
                  <dgm:constr type="t" for="ch" forName="Child4Accent7" refType="h" fact="0.7684"/>
                  <dgm:constr type="w" for="ch" forName="Child4Accent7" refType="w" fact="0.0287"/>
                  <dgm:constr type="h" for="ch" forName="Child4Accent7" refType="h" fact="0.0381"/>
                  <dgm:constr type="r" for="ch" forName="Child4Accent8" refType="w" fact="0"/>
                  <dgm:constr type="t" for="ch" forName="Child4Accent8" refType="h" fact="0"/>
                  <dgm:constr type="w" for="ch" forName="Child4Accent8" refType="w" fact="0"/>
                  <dgm:constr type="h" for="ch" forName="Child4Accent8" refType="h" fact="0"/>
                  <dgm:constr type="r" for="ch" forName="ParentAccent1" refType="w" fact="0.0287"/>
                  <dgm:constr type="t" for="ch" forName="ParentAccent1" refType="h" fact="0.5252"/>
                  <dgm:constr type="w" for="ch" forName="ParentAccent1" refType="w" fact="0.0287"/>
                  <dgm:constr type="h" for="ch" forName="ParentAccent1" refType="h" fact="0.0381"/>
                  <dgm:constr type="r" for="ch" forName="ParentAccent2" refType="w" fact="0.0813"/>
                  <dgm:constr type="t" for="ch" forName="ParentAccent2" refType="h" fact="0.5252"/>
                  <dgm:constr type="w" for="ch" forName="ParentAccent2" refType="w" fact="0.0287"/>
                  <dgm:constr type="h" for="ch" forName="ParentAccent2" refType="h" fact="0.0381"/>
                  <dgm:constr type="r" for="ch" forName="ParentAccent3" refType="w" fact="0.1339"/>
                  <dgm:constr type="t" for="ch" forName="ParentAccent3" refType="h" fact="0.5252"/>
                  <dgm:constr type="w" for="ch" forName="ParentAccent3" refType="w" fact="0.0287"/>
                  <dgm:constr type="h" for="ch" forName="ParentAccent3" refType="h" fact="0.0381"/>
                  <dgm:constr type="r" for="ch" forName="ParentAccent4" refType="w" fact="0.1864"/>
                  <dgm:constr type="t" for="ch" forName="ParentAccent4" refType="h" fact="0.5252"/>
                  <dgm:constr type="w" for="ch" forName="ParentAccent4" refType="w" fact="0.0287"/>
                  <dgm:constr type="h" for="ch" forName="ParentAccent4" refType="h" fact="0.0381"/>
                  <dgm:constr type="r" for="ch" forName="ParentAccent5" refType="w" fact="0.239"/>
                  <dgm:constr type="t" for="ch" forName="ParentAccent5" refType="h" fact="0.5252"/>
                  <dgm:constr type="w" for="ch" forName="ParentAccent5" refType="w" fact="0.0287"/>
                  <dgm:constr type="h" for="ch" forName="ParentAccent5" refType="h" fact="0.0381"/>
                  <dgm:constr type="r" for="ch" forName="ParentAccent6" refType="w" fact="0.3203"/>
                  <dgm:constr type="t" for="ch" forName="ParentAccent6" refType="h" fact="0.5061"/>
                  <dgm:constr type="w" for="ch" forName="ParentAccent6" refType="w" fact="0.0574"/>
                  <dgm:constr type="h" for="ch" forName="ParentAccent6" refType="h" fact="0.0763"/>
                  <dgm:constr type="r" for="ch" forName="ParentAccent7" refType="w" fact="0.0755"/>
                  <dgm:constr type="t" for="ch" forName="ParentAccent7" refType="h" fact="0.4464"/>
                  <dgm:constr type="w" for="ch" forName="ParentAccent7" refType="w" fact="0.0287"/>
                  <dgm:constr type="h" for="ch" forName="ParentAccent7" refType="h" fact="0.0381"/>
                  <dgm:constr type="r" for="ch" forName="ParentAccent8" refType="w" fact="0.0755"/>
                  <dgm:constr type="t" for="ch" forName="ParentAccent8" refType="h" fact="0.6045"/>
                  <dgm:constr type="w" for="ch" forName="ParentAccent8" refType="w" fact="0.0287"/>
                  <dgm:constr type="h" for="ch" forName="ParentAccent8" refType="h" fact="0.0381"/>
                  <dgm:constr type="r" for="ch" forName="ParentAccent9" refType="w" fact="0.0499"/>
                  <dgm:constr type="t" for="ch" forName="ParentAccent9" refType="h" fact="0.4807"/>
                  <dgm:constr type="w" for="ch" forName="ParentAccent9" refType="w" fact="0.0287"/>
                  <dgm:constr type="h" for="ch" forName="ParentAccent9" refType="h" fact="0.0381"/>
                  <dgm:constr type="r" for="ch" forName="ParentAccent10" refType="w" fact="0.0482"/>
                  <dgm:constr type="t" for="ch" forName="ParentAccent10" refType="h" fact="0.5705"/>
                  <dgm:constr type="w" for="ch" forName="ParentAccent10" refType="w" fact="0.0287"/>
                  <dgm:constr type="h" for="ch" forName="ParentAccent10" refType="h" fact="0.0381"/>
                  <dgm:constr type="r" for="ch" forName="Child1Accent1" refType="w" fact="0.5181"/>
                  <dgm:constr type="t" for="ch" forName="Child1Accent1" refType="h" fact="0.2457"/>
                  <dgm:constr type="w" for="ch" forName="Child1Accent1" refType="w" fact="0.0574"/>
                  <dgm:constr type="h" for="ch" forName="Child1Accent1" refType="h" fact="0.0763"/>
                  <dgm:constr type="r" for="ch" forName="Child1Accent2" refType="w" fact="0.5542"/>
                  <dgm:constr type="t" for="ch" forName="Child1Accent2" refType="h" fact="0.2004"/>
                  <dgm:constr type="w" for="ch" forName="Child1Accent2" refType="w" fact="0.0287"/>
                  <dgm:constr type="h" for="ch" forName="Child1Accent2" refType="h" fact="0.0381"/>
                  <dgm:constr type="r" for="ch" forName="Child1Accent3" refType="w" fact="0.5946"/>
                  <dgm:constr type="t" for="ch" forName="Child1Accent3" refType="h" fact="0.1445"/>
                  <dgm:constr type="w" for="ch" forName="Child1Accent3" refType="w" fact="0.0287"/>
                  <dgm:constr type="h" for="ch" forName="Child1Accent3" refType="h" fact="0.0381"/>
                  <dgm:constr type="r" for="ch" forName="Child1Accent4" refType="w" fact="0.6347"/>
                  <dgm:constr type="t" for="ch" forName="Child1Accent4" refType="h" fact="0.097"/>
                  <dgm:constr type="w" for="ch" forName="Child1Accent4" refType="w" fact="0.0287"/>
                  <dgm:constr type="h" for="ch" forName="Child1Accent4" refType="h" fact="0.0381"/>
                  <dgm:constr type="r" for="ch" forName="Child1Accent5" refType="w" fact="0.696"/>
                  <dgm:constr type="t" for="ch" forName="Child1Accent5" refType="h" fact="0.097"/>
                  <dgm:constr type="w" for="ch" forName="Child1Accent5" refType="w" fact="0.0287"/>
                  <dgm:constr type="h" for="ch" forName="Child1Accent5" refType="h" fact="0.0381"/>
                  <dgm:constr type="r" for="ch" forName="Child1Accent6" refType="w" fact="0.7574"/>
                  <dgm:constr type="t" for="ch" forName="Child1Accent6" refType="h" fact="0.097"/>
                  <dgm:constr type="w" for="ch" forName="Child1Accent6" refType="w" fact="0.0287"/>
                  <dgm:constr type="h" for="ch" forName="Child1Accent6" refType="h" fact="0.0381"/>
                  <dgm:constr type="r" for="ch" forName="Child1Accent7" refType="w" fact="0.8187"/>
                  <dgm:constr type="t" for="ch" forName="Child1Accent7" refType="h" fact="0.097"/>
                  <dgm:constr type="w" for="ch" forName="Child1Accent7" refType="w" fact="0.0287"/>
                  <dgm:constr type="h" for="ch" forName="Child1Accent7" refType="h" fact="0.0381"/>
                  <dgm:constr type="r" for="ch" forName="Child1Accent8" refType="w" fact="0.88"/>
                  <dgm:constr type="t" for="ch" forName="Child1Accent8" refType="h" fact="0.097"/>
                  <dgm:constr type="w" for="ch" forName="Child1Accent8" refType="w" fact="0.0287"/>
                  <dgm:constr type="h" for="ch" forName="Child1Accent8" refType="h" fact="0.0381"/>
                  <dgm:constr type="r" for="ch" forName="Child1Accent9" refType="w" fact="0.9413"/>
                  <dgm:constr type="t" for="ch" forName="Child1Accent9" refType="h" fact="0.097"/>
                  <dgm:constr type="w" for="ch" forName="Child1Accent9" refType="w" fact="0.0287"/>
                  <dgm:constr type="h" for="ch" forName="Child1Accent9" refType="h" fact="0.0381"/>
                  <dgm:constr type="r" for="ch" forName="Child5Accent1" refType="w" fact="0.5181"/>
                  <dgm:constr type="t" for="ch" forName="Child5Accent1" refType="h" fact="0.7601"/>
                  <dgm:constr type="w" for="ch" forName="Child5Accent1" refType="w" fact="0.0574"/>
                  <dgm:constr type="h" for="ch" forName="Child5Accent1" refType="h" fact="0.0763"/>
                  <dgm:constr type="r" for="ch" forName="Child5Accent2" refType="w" fact="0.547"/>
                  <dgm:constr type="t" for="ch" forName="Child5Accent2" refType="h" fact="0.8375"/>
                  <dgm:constr type="w" for="ch" forName="Child5Accent2" refType="w" fact="0.0287"/>
                  <dgm:constr type="h" for="ch" forName="Child5Accent2" refType="h" fact="0.0381"/>
                  <dgm:constr type="r" for="ch" forName="Child5Accent3" refType="w" fact="0.5882"/>
                  <dgm:constr type="t" for="ch" forName="Child5Accent3" refType="h" fact="0.8991"/>
                  <dgm:constr type="w" for="ch" forName="Child5Accent3" refType="w" fact="0.0287"/>
                  <dgm:constr type="h" for="ch" forName="Child5Accent3" refType="h" fact="0.0381"/>
                  <dgm:constr type="r" for="ch" forName="Child5Accent4" refType="w" fact="0.6347"/>
                  <dgm:constr type="t" for="ch" forName="Child5Accent4" refType="h" fact="0.9619"/>
                  <dgm:constr type="w" for="ch" forName="Child5Accent4" refType="w" fact="0.0287"/>
                  <dgm:constr type="h" for="ch" forName="Child5Accent4" refType="h" fact="0.0381"/>
                  <dgm:constr type="r" for="ch" forName="Child5Accent5" refType="w" fact="0.696"/>
                  <dgm:constr type="t" for="ch" forName="Child5Accent5" refType="h" fact="0.9619"/>
                  <dgm:constr type="w" for="ch" forName="Child5Accent5" refType="w" fact="0.0287"/>
                  <dgm:constr type="h" for="ch" forName="Child5Accent5" refType="h" fact="0.0381"/>
                  <dgm:constr type="r" for="ch" forName="Child5Accent6" refType="w" fact="0.7574"/>
                  <dgm:constr type="t" for="ch" forName="Child5Accent6" refType="h" fact="0.9619"/>
                  <dgm:constr type="w" for="ch" forName="Child5Accent6" refType="w" fact="0.0287"/>
                  <dgm:constr type="h" for="ch" forName="Child5Accent6" refType="h" fact="0.0381"/>
                  <dgm:constr type="r" for="ch" forName="Child5Accent7" refType="w" fact="0.8187"/>
                  <dgm:constr type="t" for="ch" forName="Child5Accent7" refType="h" fact="0.9619"/>
                  <dgm:constr type="w" for="ch" forName="Child5Accent7" refType="w" fact="0.0287"/>
                  <dgm:constr type="h" for="ch" forName="Child5Accent7" refType="h" fact="0.0381"/>
                  <dgm:constr type="r" for="ch" forName="Child5Accent8" refType="w" fact="0.88"/>
                  <dgm:constr type="t" for="ch" forName="Child5Accent8" refType="h" fact="0.9619"/>
                  <dgm:constr type="w" for="ch" forName="Child5Accent8" refType="w" fact="0.0287"/>
                  <dgm:constr type="h" for="ch" forName="Child5Accent8" refType="h" fact="0.0381"/>
                  <dgm:constr type="r" for="ch" forName="Child5Accent9" refType="w" fact="0.9423"/>
                  <dgm:constr type="t" for="ch" forName="Child5Accent9" refType="h" fact="0.9619"/>
                  <dgm:constr type="w" for="ch" forName="Child5Accent9" refType="w" fact="0.0287"/>
                  <dgm:constr type="h" for="ch" forName="Child5Accent9" refType="h" fact="0.0381"/>
                  <dgm:constr type="r" for="ch" forName="Child5" refType="w" fact="0.9419"/>
                  <dgm:constr type="t" for="ch" forName="Child5" refType="h" fact="0.8635"/>
                  <dgm:constr type="w" for="ch" forName="Child5" refType="w" fact="0.3364"/>
                  <dgm:constr type="h" for="ch" forName="Child5" refType="h" fact="0.0981"/>
                  <dgm:constr type="r" for="ch" forName="Child4" refType="w"/>
                  <dgm:constr type="t" for="ch" forName="Child4" refType="h" fact="0.6701"/>
                  <dgm:constr type="w" for="ch" forName="Child4" refType="w" fact="0.3364"/>
                  <dgm:constr type="h" for="ch" forName="Child4" refType="h" fact="0.0981"/>
                  <dgm:constr type="r" for="ch" forName="Child3" refType="w"/>
                  <dgm:constr type="t" for="ch" forName="Child3" refType="h" fact="0.4276"/>
                  <dgm:constr type="w" for="ch" forName="Child3" refType="w" fact="0.2544"/>
                  <dgm:constr type="h" for="ch" forName="Child3" refType="h" fact="0.0981"/>
                  <dgm:constr type="r" for="ch" forName="Child2" refType="w"/>
                  <dgm:constr type="t" for="ch" forName="Child2" refType="h" fact="0.1798"/>
                  <dgm:constr type="w" for="ch" forName="Child2" refType="w" fact="0.3364"/>
                  <dgm:constr type="h" for="ch" forName="Child2" refType="h" fact="0.0981"/>
                  <dgm:constr type="r" for="ch" forName="Child1" refType="w" fact="0.9419"/>
                  <dgm:constr type="t" for="ch" forName="Child1" refType="h" fact="0"/>
                  <dgm:constr type="w" for="ch" forName="Child1" refType="w" fact="0.3364"/>
                  <dgm:constr type="h" for="ch" forName="Child1" refType="h" fact="0.0981"/>
                  <dgm:constr type="r" for="ch" forName="Parent" refType="w" fact="0.6347"/>
                  <dgm:constr type="t" for="ch" forName="Parent" refType="h" fact="0.3513"/>
                  <dgm:constr type="w" for="ch" forName="Parent" refType="w" fact="0.2906"/>
                  <dgm:constr type="h" for="ch" forName="Parent" refType="h" fact="0.3859"/>
                </dgm:constrLst>
              </dgm:else>
            </dgm:choose>
          </dgm:else>
        </dgm:choose>
        <dgm:layoutNode name="ParentAccent1" styleLbl="alignNode1">
          <dgm:alg type="sp"/>
          <dgm:shape xmlns:r="http://schemas.openxmlformats.org/officeDocument/2006/relationships" type="ellipse" r:blip="">
            <dgm:adjLst/>
          </dgm:shape>
          <dgm:presOf/>
        </dgm:layoutNode>
        <dgm:layoutNode name="ParentAccent2" styleLbl="alignNode1">
          <dgm:alg type="sp"/>
          <dgm:shape xmlns:r="http://schemas.openxmlformats.org/officeDocument/2006/relationships" type="ellipse" r:blip="">
            <dgm:adjLst/>
          </dgm:shape>
          <dgm:presOf/>
        </dgm:layoutNode>
        <dgm:layoutNode name="ParentAccent3" styleLbl="alignNode1">
          <dgm:alg type="sp"/>
          <dgm:shape xmlns:r="http://schemas.openxmlformats.org/officeDocument/2006/relationships" type="ellipse" r:blip="">
            <dgm:adjLst/>
          </dgm:shape>
          <dgm:presOf/>
        </dgm:layoutNode>
        <dgm:layoutNode name="ParentAccent4" styleLbl="alignNode1">
          <dgm:alg type="sp"/>
          <dgm:shape xmlns:r="http://schemas.openxmlformats.org/officeDocument/2006/relationships" type="ellipse" r:blip="">
            <dgm:adjLst/>
          </dgm:shape>
          <dgm:presOf/>
        </dgm:layoutNode>
        <dgm:layoutNode name="ParentAccent5" styleLbl="alignNode1">
          <dgm:alg type="sp"/>
          <dgm:shape xmlns:r="http://schemas.openxmlformats.org/officeDocument/2006/relationships" type="ellipse" r:blip="">
            <dgm:adjLst/>
          </dgm:shape>
          <dgm:presOf/>
        </dgm:layoutNode>
        <dgm:layoutNode name="ParentAccent6" styleLbl="alignNode1">
          <dgm:alg type="sp"/>
          <dgm:shape xmlns:r="http://schemas.openxmlformats.org/officeDocument/2006/relationships" type="ellipse" r:blip="">
            <dgm:adjLst/>
          </dgm:shape>
          <dgm:presOf/>
        </dgm:layoutNode>
        <dgm:layoutNode name="ParentAccent7" styleLbl="alignNode1">
          <dgm:alg type="sp"/>
          <dgm:shape xmlns:r="http://schemas.openxmlformats.org/officeDocument/2006/relationships" type="ellipse" r:blip="">
            <dgm:adjLst/>
          </dgm:shape>
          <dgm:presOf/>
        </dgm:layoutNode>
        <dgm:layoutNode name="ParentAccent8" styleLbl="alignNode1">
          <dgm:alg type="sp"/>
          <dgm:shape xmlns:r="http://schemas.openxmlformats.org/officeDocument/2006/relationships" type="ellipse" r:blip="">
            <dgm:adjLst/>
          </dgm:shape>
          <dgm:presOf/>
        </dgm:layoutNode>
        <dgm:layoutNode name="ParentAccent9" styleLbl="alignNode1">
          <dgm:alg type="sp"/>
          <dgm:shape xmlns:r="http://schemas.openxmlformats.org/officeDocument/2006/relationships" type="ellipse" r:blip="">
            <dgm:adjLst/>
          </dgm:shape>
          <dgm:presOf/>
        </dgm:layoutNode>
        <dgm:layoutNode name="ParentAccent10" styleLbl="alignNode1">
          <dgm:alg type="sp"/>
          <dgm:shape xmlns:r="http://schemas.openxmlformats.org/officeDocument/2006/relationships" type="ellipse" r:blip="">
            <dgm:adjLst/>
          </dgm:shape>
          <dgm:presOf/>
        </dgm:layoutNode>
        <dgm:layoutNode name="Parent" styleLbl="alignNode1">
          <dgm:varLst>
            <dgm:chMax val="5"/>
            <dgm:chPref val="3"/>
            <dgm:bulletEnabled val="1"/>
          </dgm:varLst>
          <dgm:alg type="tx"/>
          <dgm:shape xmlns:r="http://schemas.openxmlformats.org/officeDocument/2006/relationships" type="ellipse"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name="Name21" axis="ch" ptType="node" cnt="1">
          <dgm:layoutNode name="Child1Accent1" styleLbl="alignNode1">
            <dgm:alg type="sp"/>
            <dgm:shape xmlns:r="http://schemas.openxmlformats.org/officeDocument/2006/relationships" type="ellipse" r:blip="">
              <dgm:adjLst/>
            </dgm:shape>
            <dgm:presOf/>
          </dgm:layoutNode>
          <dgm:layoutNode name="Child1Accent2" styleLbl="alignNode1">
            <dgm:alg type="sp"/>
            <dgm:shape xmlns:r="http://schemas.openxmlformats.org/officeDocument/2006/relationships" type="ellipse" r:blip="">
              <dgm:adjLst/>
            </dgm:shape>
            <dgm:presOf/>
          </dgm:layoutNode>
          <dgm:layoutNode name="Child1Accent3" styleLbl="alignNode1">
            <dgm:alg type="sp"/>
            <dgm:shape xmlns:r="http://schemas.openxmlformats.org/officeDocument/2006/relationships" type="ellipse" r:blip="">
              <dgm:adjLst/>
            </dgm:shape>
            <dgm:presOf/>
          </dgm:layoutNode>
          <dgm:layoutNode name="Child1Accent4" styleLbl="alignNode1">
            <dgm:alg type="sp"/>
            <dgm:shape xmlns:r="http://schemas.openxmlformats.org/officeDocument/2006/relationships" type="ellipse" r:blip="">
              <dgm:adjLst/>
            </dgm:shape>
            <dgm:presOf/>
          </dgm:layoutNode>
          <dgm:layoutNode name="Child1Accent5" styleLbl="alignNode1">
            <dgm:alg type="sp"/>
            <dgm:shape xmlns:r="http://schemas.openxmlformats.org/officeDocument/2006/relationships" type="ellipse" r:blip="">
              <dgm:adjLst/>
            </dgm:shape>
            <dgm:presOf/>
          </dgm:layoutNode>
          <dgm:layoutNode name="Child1Accent6" styleLbl="alignNode1">
            <dgm:alg type="sp"/>
            <dgm:shape xmlns:r="http://schemas.openxmlformats.org/officeDocument/2006/relationships" type="ellipse" r:blip="">
              <dgm:adjLst/>
            </dgm:shape>
            <dgm:presOf/>
          </dgm:layoutNode>
          <dgm:layoutNode name="Child1Accent7" styleLbl="alignNode1">
            <dgm:alg type="sp"/>
            <dgm:shape xmlns:r="http://schemas.openxmlformats.org/officeDocument/2006/relationships" type="ellipse" r:blip="">
              <dgm:adjLst/>
            </dgm:shape>
            <dgm:presOf/>
          </dgm:layoutNode>
          <dgm:layoutNode name="Child1Accent8" styleLbl="alignNode1">
            <dgm:alg type="sp"/>
            <dgm:shape xmlns:r="http://schemas.openxmlformats.org/officeDocument/2006/relationships" type="ellipse" r:blip="">
              <dgm:adjLst/>
            </dgm:shape>
            <dgm:presOf/>
          </dgm:layoutNode>
          <dgm:layoutNode name="Child1Accent9" styleLbl="alignNode1">
            <dgm:alg type="sp"/>
            <dgm:shape xmlns:r="http://schemas.openxmlformats.org/officeDocument/2006/relationships" type="ellipse" r:blip="">
              <dgm:adjLst/>
            </dgm:shape>
            <dgm:presOf/>
          </dgm:layoutNode>
          <dgm:layoutNode name="Child1" styleLbl="revTx">
            <dgm:varLst>
              <dgm:chMax/>
              <dgm:chPref val="0"/>
              <dgm:bulletEnabled val="1"/>
            </dgm:varLst>
            <dgm:alg type="tx">
              <dgm:param type="parTxLTRAlign" val="l"/>
              <dgm:param type="txAnchorVert" val="b"/>
              <dgm:param type="txAnchorVertCh" val="b"/>
            </dgm:alg>
            <dgm:shape xmlns:r="http://schemas.openxmlformats.org/officeDocument/2006/relationships" type="rect" r:blip="">
              <dgm:adjLst/>
            </dgm:shape>
            <dgm:presOf axis="desOrSelf" ptType="node"/>
            <dgm:constrLst>
              <dgm:constr type="lMarg" refType="primFontSz" fact="0"/>
              <dgm:constr type="rMarg" refType="primFontSz" fact="0"/>
              <dgm:constr type="tMarg" refType="primFontSz" fact="0"/>
              <dgm:constr type="bMarg" refType="primFontSz" fact="0"/>
            </dgm:constrLst>
            <dgm:ruleLst>
              <dgm:rule type="primFontSz" val="5" fact="NaN" max="NaN"/>
            </dgm:ruleLst>
          </dgm:layoutNode>
        </dgm:forEach>
        <dgm:forEach name="Name22" axis="ch" ptType="node" st="2" cnt="1">
          <dgm:layoutNode name="Child2Accent1" styleLbl="alignNode1">
            <dgm:alg type="sp"/>
            <dgm:shape xmlns:r="http://schemas.openxmlformats.org/officeDocument/2006/relationships" type="ellipse" r:blip="">
              <dgm:adjLst/>
            </dgm:shape>
            <dgm:presOf/>
          </dgm:layoutNode>
          <dgm:layoutNode name="Child2Accent2" styleLbl="alignNode1">
            <dgm:alg type="sp"/>
            <dgm:shape xmlns:r="http://schemas.openxmlformats.org/officeDocument/2006/relationships" type="ellipse" r:blip="">
              <dgm:adjLst/>
            </dgm:shape>
            <dgm:presOf/>
          </dgm:layoutNode>
          <dgm:layoutNode name="Child2Accent3" styleLbl="alignNode1">
            <dgm:alg type="sp"/>
            <dgm:shape xmlns:r="http://schemas.openxmlformats.org/officeDocument/2006/relationships" type="ellipse" r:blip="">
              <dgm:adjLst/>
            </dgm:shape>
            <dgm:presOf/>
          </dgm:layoutNode>
          <dgm:layoutNode name="Child2Accent4" styleLbl="alignNode1">
            <dgm:alg type="sp"/>
            <dgm:shape xmlns:r="http://schemas.openxmlformats.org/officeDocument/2006/relationships" type="ellipse" r:blip="">
              <dgm:adjLst/>
            </dgm:shape>
            <dgm:presOf/>
          </dgm:layoutNode>
          <dgm:layoutNode name="Child2Accent5" styleLbl="alignNode1">
            <dgm:alg type="sp"/>
            <dgm:shape xmlns:r="http://schemas.openxmlformats.org/officeDocument/2006/relationships" type="ellipse" r:blip="">
              <dgm:adjLst/>
            </dgm:shape>
            <dgm:presOf/>
          </dgm:layoutNode>
          <dgm:layoutNode name="Child2Accent6" styleLbl="alignNode1">
            <dgm:alg type="sp"/>
            <dgm:shape xmlns:r="http://schemas.openxmlformats.org/officeDocument/2006/relationships" type="ellipse" r:blip="">
              <dgm:adjLst/>
            </dgm:shape>
            <dgm:presOf/>
          </dgm:layoutNode>
          <dgm:layoutNode name="Child2Accent7" styleLbl="alignNode1">
            <dgm:alg type="sp"/>
            <dgm:shape xmlns:r="http://schemas.openxmlformats.org/officeDocument/2006/relationships" type="ellipse" r:blip="">
              <dgm:adjLst/>
            </dgm:shape>
            <dgm:presOf/>
          </dgm:layoutNode>
          <dgm:layoutNode name="Child2" styleLbl="revTx">
            <dgm:varLst>
              <dgm:chMax/>
              <dgm:chPref val="0"/>
              <dgm:bulletEnabled val="1"/>
            </dgm:varLst>
            <dgm:alg type="tx">
              <dgm:param type="parTxLTRAlign" val="l"/>
              <dgm:param type="txAnchorVert" val="b"/>
              <dgm:param type="txAnchorVertCh" val="b"/>
            </dgm:alg>
            <dgm:shape xmlns:r="http://schemas.openxmlformats.org/officeDocument/2006/relationships" type="rect" r:blip="">
              <dgm:adjLst/>
            </dgm:shape>
            <dgm:presOf axis="desOrSelf" ptType="node"/>
            <dgm:constrLst>
              <dgm:constr type="lMarg" refType="primFontSz" fact="0"/>
              <dgm:constr type="rMarg" refType="primFontSz" fact="0"/>
              <dgm:constr type="tMarg" refType="primFontSz" fact="0"/>
              <dgm:constr type="bMarg" refType="primFontSz" fact="0"/>
            </dgm:constrLst>
            <dgm:ruleLst>
              <dgm:rule type="primFontSz" val="5" fact="NaN" max="NaN"/>
            </dgm:ruleLst>
          </dgm:layoutNode>
        </dgm:forEach>
        <dgm:forEach name="Name23" axis="ch" ptType="node" st="3" cnt="1">
          <dgm:layoutNode name="Child3Accent1" styleLbl="alignNode1">
            <dgm:alg type="sp"/>
            <dgm:shape xmlns:r="http://schemas.openxmlformats.org/officeDocument/2006/relationships" type="ellipse" r:blip="">
              <dgm:adjLst/>
            </dgm:shape>
            <dgm:presOf/>
          </dgm:layoutNode>
          <dgm:layoutNode name="Child3Accent2" styleLbl="alignNode1">
            <dgm:alg type="sp"/>
            <dgm:shape xmlns:r="http://schemas.openxmlformats.org/officeDocument/2006/relationships" type="ellipse" r:blip="">
              <dgm:adjLst/>
            </dgm:shape>
            <dgm:presOf/>
          </dgm:layoutNode>
          <dgm:layoutNode name="Child3Accent3" styleLbl="alignNode1">
            <dgm:alg type="sp"/>
            <dgm:shape xmlns:r="http://schemas.openxmlformats.org/officeDocument/2006/relationships" type="ellipse" r:blip="">
              <dgm:adjLst/>
            </dgm:shape>
            <dgm:presOf/>
          </dgm:layoutNode>
          <dgm:layoutNode name="Child3Accent4" styleLbl="alignNode1">
            <dgm:alg type="sp"/>
            <dgm:shape xmlns:r="http://schemas.openxmlformats.org/officeDocument/2006/relationships" type="ellipse" r:blip="">
              <dgm:adjLst/>
            </dgm:shape>
            <dgm:presOf/>
          </dgm:layoutNode>
          <dgm:layoutNode name="Child3Accent5" styleLbl="alignNode1">
            <dgm:alg type="sp"/>
            <dgm:shape xmlns:r="http://schemas.openxmlformats.org/officeDocument/2006/relationships" type="ellipse" r:blip="">
              <dgm:adjLst/>
            </dgm:shape>
            <dgm:presOf/>
          </dgm:layoutNode>
          <dgm:layoutNode name="Child3Accent6" styleLbl="alignNode1">
            <dgm:alg type="sp"/>
            <dgm:shape xmlns:r="http://schemas.openxmlformats.org/officeDocument/2006/relationships" type="ellipse" r:blip="">
              <dgm:adjLst/>
            </dgm:shape>
            <dgm:presOf/>
          </dgm:layoutNode>
          <dgm:layoutNode name="Child3Accent7" styleLbl="alignNode1">
            <dgm:alg type="sp"/>
            <dgm:shape xmlns:r="http://schemas.openxmlformats.org/officeDocument/2006/relationships" type="ellipse" r:blip="">
              <dgm:adjLst/>
            </dgm:shape>
            <dgm:presOf/>
          </dgm:layoutNode>
          <dgm:layoutNode name="Child3" styleLbl="revTx">
            <dgm:varLst>
              <dgm:chMax/>
              <dgm:chPref val="0"/>
              <dgm:bulletEnabled val="1"/>
            </dgm:varLst>
            <dgm:alg type="tx">
              <dgm:param type="parTxLTRAlign" val="l"/>
              <dgm:param type="txAnchorVert" val="b"/>
              <dgm:param type="txAnchorVertCh" val="b"/>
            </dgm:alg>
            <dgm:shape xmlns:r="http://schemas.openxmlformats.org/officeDocument/2006/relationships" type="rect" r:blip="">
              <dgm:adjLst/>
            </dgm:shape>
            <dgm:presOf axis="desOrSelf" ptType="node"/>
            <dgm:constrLst>
              <dgm:constr type="lMarg" refType="primFontSz" fact="0"/>
              <dgm:constr type="rMarg" refType="primFontSz" fact="0"/>
              <dgm:constr type="tMarg" refType="primFontSz" fact="0"/>
              <dgm:constr type="bMarg" refType="primFontSz" fact="0"/>
            </dgm:constrLst>
            <dgm:ruleLst>
              <dgm:rule type="primFontSz" val="5" fact="NaN" max="NaN"/>
            </dgm:ruleLst>
          </dgm:layoutNode>
        </dgm:forEach>
        <dgm:forEach name="Name24" axis="ch" ptType="node" st="4" cnt="1">
          <dgm:layoutNode name="Child4Accent1" styleLbl="alignNode1">
            <dgm:alg type="sp"/>
            <dgm:shape xmlns:r="http://schemas.openxmlformats.org/officeDocument/2006/relationships" type="ellipse" r:blip="">
              <dgm:adjLst/>
            </dgm:shape>
            <dgm:presOf/>
          </dgm:layoutNode>
          <dgm:layoutNode name="Child4Accent2" styleLbl="alignNode1">
            <dgm:alg type="sp"/>
            <dgm:shape xmlns:r="http://schemas.openxmlformats.org/officeDocument/2006/relationships" type="ellipse" r:blip="">
              <dgm:adjLst/>
            </dgm:shape>
            <dgm:presOf/>
          </dgm:layoutNode>
          <dgm:layoutNode name="Child4Accent3" styleLbl="alignNode1">
            <dgm:alg type="sp"/>
            <dgm:shape xmlns:r="http://schemas.openxmlformats.org/officeDocument/2006/relationships" type="ellipse" r:blip="">
              <dgm:adjLst/>
            </dgm:shape>
            <dgm:presOf/>
          </dgm:layoutNode>
          <dgm:layoutNode name="Child4Accent4" styleLbl="alignNode1">
            <dgm:alg type="sp"/>
            <dgm:shape xmlns:r="http://schemas.openxmlformats.org/officeDocument/2006/relationships" type="ellipse" r:blip="">
              <dgm:adjLst/>
            </dgm:shape>
            <dgm:presOf/>
          </dgm:layoutNode>
          <dgm:layoutNode name="Child4Accent5" styleLbl="alignNode1">
            <dgm:alg type="sp"/>
            <dgm:shape xmlns:r="http://schemas.openxmlformats.org/officeDocument/2006/relationships" type="ellipse" r:blip="">
              <dgm:adjLst/>
            </dgm:shape>
            <dgm:presOf/>
          </dgm:layoutNode>
          <dgm:layoutNode name="Child4Accent6" styleLbl="alignNode1">
            <dgm:alg type="sp"/>
            <dgm:shape xmlns:r="http://schemas.openxmlformats.org/officeDocument/2006/relationships" type="ellipse" r:blip="">
              <dgm:adjLst/>
            </dgm:shape>
            <dgm:presOf/>
          </dgm:layoutNode>
          <dgm:layoutNode name="Child4Accent7" styleLbl="alignNode1">
            <dgm:alg type="sp"/>
            <dgm:shape xmlns:r="http://schemas.openxmlformats.org/officeDocument/2006/relationships" type="ellipse" r:blip="">
              <dgm:adjLst/>
            </dgm:shape>
            <dgm:presOf/>
          </dgm:layoutNode>
          <dgm:layoutNode name="Child4Accent8" styleLbl="alignNode1">
            <dgm:alg type="sp"/>
            <dgm:shape xmlns:r="http://schemas.openxmlformats.org/officeDocument/2006/relationships" type="ellipse" r:blip="">
              <dgm:adjLst/>
            </dgm:shape>
            <dgm:presOf/>
          </dgm:layoutNode>
          <dgm:layoutNode name="Child4" styleLbl="revTx">
            <dgm:varLst>
              <dgm:chMax/>
              <dgm:chPref val="0"/>
              <dgm:bulletEnabled val="1"/>
            </dgm:varLst>
            <dgm:alg type="tx">
              <dgm:param type="parTxLTRAlign" val="l"/>
              <dgm:param type="txAnchorVert" val="b"/>
              <dgm:param type="txAnchorVertCh" val="b"/>
            </dgm:alg>
            <dgm:shape xmlns:r="http://schemas.openxmlformats.org/officeDocument/2006/relationships" type="rect" r:blip="">
              <dgm:adjLst/>
            </dgm:shape>
            <dgm:presOf axis="desOrSelf" ptType="node"/>
            <dgm:constrLst>
              <dgm:constr type="lMarg" refType="primFontSz" fact="0"/>
              <dgm:constr type="rMarg" refType="primFontSz" fact="0"/>
              <dgm:constr type="tMarg" refType="primFontSz" fact="0"/>
              <dgm:constr type="bMarg" refType="primFontSz" fact="0"/>
            </dgm:constrLst>
            <dgm:ruleLst>
              <dgm:rule type="primFontSz" val="5" fact="NaN" max="NaN"/>
            </dgm:ruleLst>
          </dgm:layoutNode>
        </dgm:forEach>
        <dgm:forEach name="Name25" axis="ch" ptType="node" st="5" cnt="1">
          <dgm:layoutNode name="Child5Accent1" styleLbl="alignNode1">
            <dgm:alg type="sp"/>
            <dgm:shape xmlns:r="http://schemas.openxmlformats.org/officeDocument/2006/relationships" type="ellipse" r:blip="">
              <dgm:adjLst/>
            </dgm:shape>
            <dgm:presOf/>
          </dgm:layoutNode>
          <dgm:layoutNode name="Child5Accent2" styleLbl="alignNode1">
            <dgm:alg type="sp"/>
            <dgm:shape xmlns:r="http://schemas.openxmlformats.org/officeDocument/2006/relationships" type="ellipse" r:blip="">
              <dgm:adjLst/>
            </dgm:shape>
            <dgm:presOf/>
          </dgm:layoutNode>
          <dgm:layoutNode name="Child5Accent3" styleLbl="alignNode1">
            <dgm:alg type="sp"/>
            <dgm:shape xmlns:r="http://schemas.openxmlformats.org/officeDocument/2006/relationships" type="ellipse" r:blip="">
              <dgm:adjLst/>
            </dgm:shape>
            <dgm:presOf/>
          </dgm:layoutNode>
          <dgm:layoutNode name="Child5Accent4" styleLbl="alignNode1">
            <dgm:alg type="sp"/>
            <dgm:shape xmlns:r="http://schemas.openxmlformats.org/officeDocument/2006/relationships" type="ellipse" r:blip="">
              <dgm:adjLst/>
            </dgm:shape>
            <dgm:presOf/>
          </dgm:layoutNode>
          <dgm:layoutNode name="Child5Accent5" styleLbl="alignNode1">
            <dgm:alg type="sp"/>
            <dgm:shape xmlns:r="http://schemas.openxmlformats.org/officeDocument/2006/relationships" type="ellipse" r:blip="">
              <dgm:adjLst/>
            </dgm:shape>
            <dgm:presOf/>
          </dgm:layoutNode>
          <dgm:layoutNode name="Child5Accent6" styleLbl="alignNode1">
            <dgm:alg type="sp"/>
            <dgm:shape xmlns:r="http://schemas.openxmlformats.org/officeDocument/2006/relationships" type="ellipse" r:blip="">
              <dgm:adjLst/>
            </dgm:shape>
            <dgm:presOf/>
          </dgm:layoutNode>
          <dgm:layoutNode name="Child5Accent7" styleLbl="alignNode1">
            <dgm:alg type="sp"/>
            <dgm:shape xmlns:r="http://schemas.openxmlformats.org/officeDocument/2006/relationships" type="ellipse" r:blip="">
              <dgm:adjLst/>
            </dgm:shape>
            <dgm:presOf/>
          </dgm:layoutNode>
          <dgm:layoutNode name="Child5Accent8" styleLbl="alignNode1">
            <dgm:alg type="sp"/>
            <dgm:shape xmlns:r="http://schemas.openxmlformats.org/officeDocument/2006/relationships" type="ellipse" r:blip="">
              <dgm:adjLst/>
            </dgm:shape>
            <dgm:presOf/>
          </dgm:layoutNode>
          <dgm:layoutNode name="Child5Accent9" styleLbl="alignNode1">
            <dgm:alg type="sp"/>
            <dgm:shape xmlns:r="http://schemas.openxmlformats.org/officeDocument/2006/relationships" type="ellipse" r:blip="">
              <dgm:adjLst/>
            </dgm:shape>
            <dgm:presOf/>
          </dgm:layoutNode>
          <dgm:layoutNode name="Child5" styleLbl="revTx">
            <dgm:varLst>
              <dgm:chMax/>
              <dgm:chPref val="0"/>
              <dgm:bulletEnabled val="1"/>
            </dgm:varLst>
            <dgm:alg type="tx">
              <dgm:param type="parTxLTRAlign" val="l"/>
              <dgm:param type="txAnchorVert" val="b"/>
              <dgm:param type="txAnchorVertCh" val="b"/>
            </dgm:alg>
            <dgm:shape xmlns:r="http://schemas.openxmlformats.org/officeDocument/2006/relationships" type="rect" r:blip="">
              <dgm:adjLst/>
            </dgm:shape>
            <dgm:presOf axis="desOrSelf" ptType="node"/>
            <dgm:constrLst>
              <dgm:constr type="lMarg" refType="primFontSz" fact="0"/>
              <dgm:constr type="rMarg" refType="primFontSz" fact="0"/>
              <dgm:constr type="tMarg" refType="primFontSz" fact="0"/>
              <dgm:constr type="bMarg" refType="primFontSz" fact="0"/>
            </dgm:constrLst>
            <dgm:ruleLst>
              <dgm:rule type="primFontSz" val="5" fact="NaN" max="NaN"/>
            </dgm:ruleLst>
          </dgm:layoutNode>
        </dgm:forEach>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rings+Icon">
  <dgm:title val="Interconnected Rings"/>
  <dgm:desc val="Use to show overlapping or interconnected ideas or concepts. The first seven lines of Level 1 text correspond with a circle. Unused text does not appear, but remains available if you switch layouts.  "/>
  <dgm:catLst>
    <dgm:cat type="relationship" pri="32000"/>
    <dgm:cat type="officeonline" pri="6000"/>
  </dgm:catLst>
  <dgm:sampData useDef="1">
    <dgm:dataModel>
      <dgm:ptLst/>
      <dgm:bg/>
      <dgm:whole/>
    </dgm:dataModel>
  </dgm:sampData>
  <dgm:styleData>
    <dgm:dataModel>
      <dgm:ptLst>
        <dgm:pt modelId="0" type="doc"/>
        <dgm:pt modelId="10"/>
        <dgm:pt modelId="20"/>
      </dgm:ptLst>
      <dgm:cxnLst>
        <dgm:cxn modelId="30" srcId="0" destId="10" srcOrd="0" destOrd="0"/>
        <dgm:cxn modelId="40" srcId="0" destId="20" srcOrd="1" destOrd="0"/>
      </dgm:cxnLst>
      <dgm:bg/>
      <dgm:whole/>
    </dgm:dataModel>
  </dgm:styleData>
  <dgm:clrData>
    <dgm:dataModel>
      <dgm:ptLst>
        <dgm:pt modelId="0" type="doc"/>
        <dgm:pt modelId="10"/>
        <dgm:pt modelId="20"/>
        <dgm:pt modelId="30"/>
        <dgm:pt modelId="40"/>
      </dgm:ptLst>
      <dgm:cxnLst>
        <dgm:cxn modelId="50" srcId="0" destId="10" srcOrd="0" destOrd="0"/>
        <dgm:cxn modelId="60" srcId="0" destId="20" srcOrd="1" destOrd="0"/>
        <dgm:cxn modelId="70" srcId="0" destId="30" srcOrd="2" destOrd="0"/>
        <dgm:cxn modelId="80" srcId="0" destId="40" srcOrd="2" destOrd="0"/>
      </dgm:cxnLst>
      <dgm:bg/>
      <dgm:whole/>
    </dgm:dataModel>
  </dgm:clrData>
  <dgm:layoutNode name="Name0">
    <dgm:varLst>
      <dgm:chMax val="7"/>
      <dgm:dir/>
      <dgm:resizeHandles val="exact"/>
    </dgm:varLst>
    <dgm:choose name="Name1">
      <dgm:if name="Name2" axis="ch" ptType="node" func="cnt" op="lt" val="1">
        <dgm:alg type="composite"/>
        <dgm:shape xmlns:r="http://schemas.openxmlformats.org/officeDocument/2006/relationships" r:blip="">
          <dgm:adjLst/>
        </dgm:shape>
        <dgm:presOf/>
        <dgm:constrLst/>
        <dgm:ruleLst/>
      </dgm:if>
      <dgm:if name="Name3" axis="ch" ptType="node" func="cnt" op="equ" val="1">
        <dgm:alg type="composite">
          <dgm:param type="ar" val="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dgm:constr type="h" for="ch" forName="ellipse1" refType="h"/>
        </dgm:constrLst>
      </dgm:if>
      <dgm:if name="Name4" axis="ch" ptType="node" func="cnt" op="equ" val="2">
        <dgm:alg type="composite">
          <dgm:param type="ar" val="0.908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6602"/>
          <dgm:constr type="h" for="ch" forName="ellipse1" refType="h" fact="0.5999"/>
          <dgm:constr type="l" for="ch" forName="ellipse2" refType="w" fact="0.3398"/>
          <dgm:constr type="t" for="ch" forName="ellipse2" refType="h" fact="0.4001"/>
          <dgm:constr type="w" for="ch" forName="ellipse2" refType="w" fact="0.6602"/>
          <dgm:constr type="h" for="ch" forName="ellipse2" refType="h" fact="0.5999"/>
        </dgm:constrLst>
      </dgm:if>
      <dgm:if name="Name5" axis="ch" ptType="node" func="cnt" op="equ" val="3">
        <dgm:alg type="composite">
          <dgm:param type="ar" val="1.217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4929"/>
          <dgm:constr type="h" for="ch" forName="ellipse1" refType="h" fact="0.5999"/>
          <dgm:constr type="l" for="ch" forName="ellipse2" refType="w" fact="0.2537"/>
          <dgm:constr type="t" for="ch" forName="ellipse2" refType="h" fact="0.4001"/>
          <dgm:constr type="w" for="ch" forName="ellipse2" refType="w" fact="0.4929"/>
          <dgm:constr type="h" for="ch" forName="ellipse2" refType="h" fact="0.5999"/>
          <dgm:constr type="l" for="ch" forName="ellipse3" refType="w" fact="0.5071"/>
          <dgm:constr type="t" for="ch" forName="ellipse3" refType="h" fact="0"/>
          <dgm:constr type="w" for="ch" forName="ellipse3" refType="w" fact="0.4929"/>
          <dgm:constr type="h" for="ch" forName="ellipse3" refType="h" fact="0.5999"/>
        </dgm:constrLst>
      </dgm:if>
      <dgm:if name="Name6" axis="ch" ptType="node" func="cnt" op="equ" val="4">
        <dgm:alg type="composite">
          <dgm:param type="ar" val="1.5255"/>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932"/>
          <dgm:constr type="h" for="ch" forName="ellipse1" refType="h" fact="0.5999"/>
          <dgm:constr type="l" for="ch" forName="ellipse2" refType="w" fact="0.2023"/>
          <dgm:constr type="t" for="ch" forName="ellipse2" refType="h" fact="0.4001"/>
          <dgm:constr type="w" for="ch" forName="ellipse2" refType="w" fact="0.3932"/>
          <dgm:constr type="h" for="ch" forName="ellipse2" refType="h" fact="0.5999"/>
          <dgm:constr type="l" for="ch" forName="ellipse3" refType="w" fact="0.4045"/>
          <dgm:constr type="t" for="ch" forName="ellipse3" refType="h" fact="0"/>
          <dgm:constr type="w" for="ch" forName="ellipse3" refType="w" fact="0.3932"/>
          <dgm:constr type="h" for="ch" forName="ellipse3" refType="h" fact="0.5999"/>
          <dgm:constr type="l" for="ch" forName="ellipse4" refType="w" fact="0.6068"/>
          <dgm:constr type="t" for="ch" forName="ellipse4" refType="h" fact="0.4001"/>
          <dgm:constr type="w" for="ch" forName="ellipse4" refType="w" fact="0.3932"/>
          <dgm:constr type="h" for="ch" forName="ellipse4" refType="h" fact="0.5999"/>
        </dgm:constrLst>
      </dgm:if>
      <dgm:if name="Name7" axis="ch" ptType="node" func="cnt" op="equ" val="5">
        <dgm:alg type="composite">
          <dgm:param type="ar" val="1.834"/>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271"/>
          <dgm:constr type="h" for="ch" forName="ellipse1" refType="h" fact="0.5999"/>
          <dgm:constr type="l" for="ch" forName="ellipse2" refType="w" fact="0.1682"/>
          <dgm:constr type="t" for="ch" forName="ellipse2" refType="h" fact="0.4001"/>
          <dgm:constr type="w" for="ch" forName="ellipse2" refType="w" fact="0.3271"/>
          <dgm:constr type="h" for="ch" forName="ellipse2" refType="h" fact="0.5999"/>
          <dgm:constr type="l" for="ch" forName="ellipse3" refType="w" fact="0.3365"/>
          <dgm:constr type="t" for="ch" forName="ellipse3" refType="h" fact="0"/>
          <dgm:constr type="w" for="ch" forName="ellipse3" refType="w" fact="0.3271"/>
          <dgm:constr type="h" for="ch" forName="ellipse3" refType="h" fact="0.5999"/>
          <dgm:constr type="l" for="ch" forName="ellipse4" refType="w" fact="0.5047"/>
          <dgm:constr type="t" for="ch" forName="ellipse4" refType="h" fact="0.4001"/>
          <dgm:constr type="w" for="ch" forName="ellipse4" refType="w" fact="0.3271"/>
          <dgm:constr type="h" for="ch" forName="ellipse4" refType="h" fact="0.5999"/>
          <dgm:constr type="l" for="ch" forName="ellipse5" refType="w" fact="0.6729"/>
          <dgm:constr type="t" for="ch" forName="ellipse5" refType="h" fact="0"/>
          <dgm:constr type="w" for="ch" forName="ellipse5" refType="w" fact="0.3271"/>
          <dgm:constr type="h" for="ch" forName="ellipse5" refType="h" fact="0.5999"/>
        </dgm:constrLst>
      </dgm:if>
      <dgm:if name="Name8" axis="ch" ptType="node" func="cnt" op="equ" val="6">
        <dgm:alg type="composite">
          <dgm:param type="ar" val="2.1873"/>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78"/>
          <dgm:constr type="h" for="ch" forName="ellipse1" refType="h" fact="0.6081"/>
          <dgm:constr type="l" for="ch" forName="ellipse2" refType="w" fact="0.1444"/>
          <dgm:constr type="t" for="ch" forName="ellipse2" refType="h" fact="0.3919"/>
          <dgm:constr type="w" for="ch" forName="ellipse2" refType="w" fact="0.278"/>
          <dgm:constr type="h" for="ch" forName="ellipse2" refType="h" fact="0.6081"/>
          <dgm:constr type="l" for="ch" forName="ellipse3" refType="w" fact="0.2888"/>
          <dgm:constr type="t" for="ch" forName="ellipse3" refType="h" fact="0"/>
          <dgm:constr type="w" for="ch" forName="ellipse3" refType="w" fact="0.278"/>
          <dgm:constr type="h" for="ch" forName="ellipse3" refType="h" fact="0.6081"/>
          <dgm:constr type="l" for="ch" forName="ellipse4" refType="w" fact="0.4332"/>
          <dgm:constr type="t" for="ch" forName="ellipse4" refType="h" fact="0.3919"/>
          <dgm:constr type="w" for="ch" forName="ellipse4" refType="w" fact="0.278"/>
          <dgm:constr type="h" for="ch" forName="ellipse4" refType="h" fact="0.6081"/>
          <dgm:constr type="l" for="ch" forName="ellipse5" refType="w" fact="0.5776"/>
          <dgm:constr type="t" for="ch" forName="ellipse5" refType="h" fact="0"/>
          <dgm:constr type="w" for="ch" forName="ellipse5" refType="w" fact="0.278"/>
          <dgm:constr type="h" for="ch" forName="ellipse5" refType="h" fact="0.6081"/>
          <dgm:constr type="l" for="ch" forName="ellipse6" refType="w" fact="0.722"/>
          <dgm:constr type="t" for="ch" forName="ellipse6" refType="h" fact="0.3919"/>
          <dgm:constr type="w" for="ch" forName="ellipse6" refType="w" fact="0.278"/>
          <dgm:constr type="h" for="ch" forName="ellipse6" refType="h" fact="0.6081"/>
        </dgm:constrLst>
      </dgm:if>
      <dgm:else name="Name9">
        <dgm:alg type="composite">
          <dgm:param type="ar" val="2.346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455"/>
          <dgm:constr type="h" for="ch" forName="ellipse1" refType="h" fact="0.5761"/>
          <dgm:constr type="l" for="ch" forName="ellipse2" refType="w" fact="0.1257"/>
          <dgm:constr type="t" for="ch" forName="ellipse2" refType="h" fact="0.4239"/>
          <dgm:constr type="w" for="ch" forName="ellipse2" refType="w" fact="0.2455"/>
          <dgm:constr type="h" for="ch" forName="ellipse2" refType="h" fact="0.5761"/>
          <dgm:constr type="l" for="ch" forName="ellipse3" refType="w" fact="0.2515"/>
          <dgm:constr type="t" for="ch" forName="ellipse3" refType="h" fact="0"/>
          <dgm:constr type="w" for="ch" forName="ellipse3" refType="w" fact="0.2455"/>
          <dgm:constr type="h" for="ch" forName="ellipse3" refType="h" fact="0.5761"/>
          <dgm:constr type="l" for="ch" forName="ellipse4" refType="w" fact="0.3772"/>
          <dgm:constr type="t" for="ch" forName="ellipse4" refType="h" fact="0.4239"/>
          <dgm:constr type="w" for="ch" forName="ellipse4" refType="w" fact="0.2455"/>
          <dgm:constr type="h" for="ch" forName="ellipse4" refType="h" fact="0.5761"/>
          <dgm:constr type="l" for="ch" forName="ellipse5" refType="w" fact="0.503"/>
          <dgm:constr type="t" for="ch" forName="ellipse5" refType="h" fact="0"/>
          <dgm:constr type="w" for="ch" forName="ellipse5" refType="w" fact="0.2455"/>
          <dgm:constr type="h" for="ch" forName="ellipse5" refType="h" fact="0.5761"/>
          <dgm:constr type="l" for="ch" forName="ellipse6" refType="w" fact="0.6287"/>
          <dgm:constr type="t" for="ch" forName="ellipse6" refType="h" fact="0.4239"/>
          <dgm:constr type="w" for="ch" forName="ellipse6" refType="w" fact="0.2455"/>
          <dgm:constr type="h" for="ch" forName="ellipse6" refType="h" fact="0.5761"/>
          <dgm:constr type="l" for="ch" forName="ellipse7" refType="w" fact="0.7545"/>
          <dgm:constr type="t" for="ch" forName="ellipse7" refType="h" fact="0"/>
          <dgm:constr type="w" for="ch" forName="ellipse7" refType="w" fact="0.2455"/>
          <dgm:constr type="h" for="ch" forName="ellipse7" refType="h" fact="0.5761"/>
        </dgm:constrLst>
      </dgm:else>
    </dgm:choose>
    <dgm:choose name="Name10">
      <dgm:if name="Name11" axis="ch" ptType="node" func="cnt" op="gte" val="1">
        <dgm:layoutNode name="ellipse1" styleLbl="vennNode1">
          <dgm:varLst>
            <dgm:bulletEnabled val="1"/>
          </dgm:varLst>
          <dgm:alg type="tx"/>
          <dgm:shape xmlns:r="http://schemas.openxmlformats.org/officeDocument/2006/relationships" type="ellipse" r:blip="">
            <dgm:adjLst/>
          </dgm:shape>
          <dgm:choose name="Name12">
            <dgm:if name="Name13" func="var" arg="dir" op="equ" val="norm">
              <dgm:presOf axis="ch desOrSelf" ptType="node node" st="1 1" cnt="1 0"/>
            </dgm:if>
            <dgm:else name="Name14">
              <dgm:choose name="Name15">
                <dgm:if name="Name16" axis="ch" ptType="node" func="cnt" op="equ" val="1">
                  <dgm:presOf axis="ch desOrSelf" ptType="node node" st="1 1" cnt="1 0"/>
                </dgm:if>
                <dgm:if name="Name17" axis="ch" ptType="node" func="cnt" op="equ" val="2">
                  <dgm:presOf axis="ch desOrSelf" ptType="node node" st="2 1" cnt="1 0"/>
                </dgm:if>
                <dgm:if name="Name18" axis="ch" ptType="node" func="cnt" op="equ" val="3">
                  <dgm:presOf axis="ch desOrSelf" ptType="node node" st="3 1" cnt="1 0"/>
                </dgm:if>
                <dgm:if name="Name19" axis="ch" ptType="node" func="cnt" op="equ" val="4">
                  <dgm:presOf axis="ch desOrSelf" ptType="node node" st="4 1" cnt="1 0"/>
                </dgm:if>
                <dgm:if name="Name20" axis="ch" ptType="node" func="cnt" op="equ" val="5">
                  <dgm:presOf axis="ch desOrSelf" ptType="node node" st="5 1" cnt="1 0"/>
                </dgm:if>
                <dgm:if name="Name21" axis="ch" ptType="node" func="cnt" op="equ" val="6">
                  <dgm:presOf axis="ch desOrSelf" ptType="node node" st="6 1" cnt="1 0"/>
                </dgm:if>
                <dgm:if name="Name22" axis="ch" ptType="node" func="cnt" op="gte" val="7">
                  <dgm:presOf axis="ch desOrSelf" ptType="node node" st="7 1" cnt="1 0"/>
                </dgm:if>
                <dgm:else name="Name2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4"/>
    </dgm:choose>
    <dgm:choose name="Name25">
      <dgm:if name="Name26" axis="ch" ptType="node" func="cnt" op="gte" val="2">
        <dgm:layoutNode name="ellipse2" styleLbl="vennNode1">
          <dgm:varLst>
            <dgm:bulletEnabled val="1"/>
          </dgm:varLst>
          <dgm:alg type="tx"/>
          <dgm:choose name="Name27">
            <dgm:if name="Name28" func="var" arg="dir" op="equ" val="norm">
              <dgm:shape xmlns:r="http://schemas.openxmlformats.org/officeDocument/2006/relationships" type="ellipse" r:blip="">
                <dgm:adjLst/>
              </dgm:shape>
              <dgm:presOf axis="ch desOrSelf" ptType="node node" st="2 1" cnt="1 0"/>
            </dgm:if>
            <dgm:else name="Name29">
              <dgm:shape xmlns:r="http://schemas.openxmlformats.org/officeDocument/2006/relationships" type="ellipse" r:blip="" zOrderOff="-2">
                <dgm:adjLst/>
              </dgm:shape>
              <dgm:choose name="Name30">
                <dgm:if name="Name31" axis="ch" ptType="node" func="cnt" op="equ" val="2">
                  <dgm:presOf axis="ch desOrSelf" ptType="node node" st="1 1" cnt="1 0"/>
                </dgm:if>
                <dgm:if name="Name32" axis="ch" ptType="node" func="cnt" op="equ" val="3">
                  <dgm:presOf axis="ch desOrSelf" ptType="node node" st="2 1" cnt="1 0"/>
                </dgm:if>
                <dgm:if name="Name33" axis="ch" ptType="node" func="cnt" op="equ" val="4">
                  <dgm:presOf axis="ch desOrSelf" ptType="node node" st="3 1" cnt="1 0"/>
                </dgm:if>
                <dgm:if name="Name34" axis="ch" ptType="node" func="cnt" op="equ" val="5">
                  <dgm:presOf axis="ch desOrSelf" ptType="node node" st="4 1" cnt="1 0"/>
                </dgm:if>
                <dgm:if name="Name35" axis="ch" ptType="node" func="cnt" op="equ" val="6">
                  <dgm:presOf axis="ch desOrSelf" ptType="node node" st="5 1" cnt="1 0"/>
                </dgm:if>
                <dgm:if name="Name36" axis="ch" ptType="node" func="cnt" op="gte" val="7">
                  <dgm:presOf axis="ch desOrSelf" ptType="node node" st="6 1" cnt="1 0"/>
                </dgm:if>
                <dgm:else name="Name37"/>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8"/>
    </dgm:choose>
    <dgm:choose name="Name39">
      <dgm:if name="Name40" axis="ch" ptType="node" func="cnt" op="gte" val="3">
        <dgm:layoutNode name="ellipse3" styleLbl="vennNode1">
          <dgm:varLst>
            <dgm:bulletEnabled val="1"/>
          </dgm:varLst>
          <dgm:alg type="tx"/>
          <dgm:shape xmlns:r="http://schemas.openxmlformats.org/officeDocument/2006/relationships" type="ellipse" r:blip="">
            <dgm:adjLst/>
          </dgm:shape>
          <dgm:choose name="Name41">
            <dgm:if name="Name42" func="var" arg="dir" op="equ" val="norm">
              <dgm:shape xmlns:r="http://schemas.openxmlformats.org/officeDocument/2006/relationships" type="ellipse" r:blip="">
                <dgm:adjLst/>
              </dgm:shape>
              <dgm:presOf axis="ch desOrSelf" ptType="node node" st="3 1" cnt="1 0"/>
            </dgm:if>
            <dgm:else name="Name43">
              <dgm:shape xmlns:r="http://schemas.openxmlformats.org/officeDocument/2006/relationships" type="ellipse" r:blip="" zOrderOff="-4">
                <dgm:adjLst/>
              </dgm:shape>
              <dgm:choose name="Name44">
                <dgm:if name="Name45" axis="ch" ptType="node" func="cnt" op="equ" val="3">
                  <dgm:presOf axis="ch desOrSelf" ptType="node node" st="1 1" cnt="1 0"/>
                </dgm:if>
                <dgm:if name="Name46" axis="ch" ptType="node" func="cnt" op="equ" val="4">
                  <dgm:presOf axis="ch desOrSelf" ptType="node node" st="2 1" cnt="1 0"/>
                </dgm:if>
                <dgm:if name="Name47" axis="ch" ptType="node" func="cnt" op="equ" val="5">
                  <dgm:presOf axis="ch desOrSelf" ptType="node node" st="3 1" cnt="1 0"/>
                </dgm:if>
                <dgm:if name="Name48" axis="ch" ptType="node" func="cnt" op="equ" val="6">
                  <dgm:presOf axis="ch desOrSelf" ptType="node node" st="4 1" cnt="1 0"/>
                </dgm:if>
                <dgm:if name="Name49" axis="ch" ptType="node" func="cnt" op="gte" val="7">
                  <dgm:presOf axis="ch desOrSelf" ptType="node node" st="5 1" cnt="1 0"/>
                </dgm:if>
                <dgm:else name="Name50"/>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1"/>
    </dgm:choose>
    <dgm:choose name="Name52">
      <dgm:if name="Name53" axis="ch" ptType="node" func="cnt" op="gte" val="4">
        <dgm:layoutNode name="ellipse4" styleLbl="vennNode1">
          <dgm:varLst>
            <dgm:bulletEnabled val="1"/>
          </dgm:varLst>
          <dgm:alg type="tx"/>
          <dgm:choose name="Name54">
            <dgm:if name="Name55" func="var" arg="dir" op="equ" val="norm">
              <dgm:shape xmlns:r="http://schemas.openxmlformats.org/officeDocument/2006/relationships" type="ellipse" r:blip="">
                <dgm:adjLst/>
              </dgm:shape>
              <dgm:presOf axis="ch desOrSelf" ptType="node node" st="4 1" cnt="1 0"/>
            </dgm:if>
            <dgm:else name="Name56">
              <dgm:shape xmlns:r="http://schemas.openxmlformats.org/officeDocument/2006/relationships" type="ellipse" r:blip="" zOrderOff="-6">
                <dgm:adjLst/>
              </dgm:shape>
              <dgm:choose name="Name57">
                <dgm:if name="Name58" axis="ch" ptType="node" func="cnt" op="equ" val="4">
                  <dgm:presOf axis="ch desOrSelf" ptType="node node" st="1 1" cnt="1 0"/>
                </dgm:if>
                <dgm:if name="Name59" axis="ch" ptType="node" func="cnt" op="equ" val="5">
                  <dgm:presOf axis="ch desOrSelf" ptType="node node" st="2 1" cnt="1 0"/>
                </dgm:if>
                <dgm:if name="Name60" axis="ch" ptType="node" func="cnt" op="equ" val="6">
                  <dgm:presOf axis="ch desOrSelf" ptType="node node" st="3 1" cnt="1 0"/>
                </dgm:if>
                <dgm:if name="Name61" axis="ch" ptType="node" func="cnt" op="gte" val="7">
                  <dgm:presOf axis="ch desOrSelf" ptType="node node" st="4 1" cnt="1 0"/>
                </dgm:if>
                <dgm:else name="Name62"/>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3"/>
    </dgm:choose>
    <dgm:choose name="Name64">
      <dgm:if name="Name65" axis="ch" ptType="node" func="cnt" op="gte" val="5">
        <dgm:layoutNode name="ellipse5" styleLbl="vennNode1">
          <dgm:varLst>
            <dgm:bulletEnabled val="1"/>
          </dgm:varLst>
          <dgm:alg type="tx"/>
          <dgm:choose name="Name66">
            <dgm:if name="Name67" func="var" arg="dir" op="equ" val="norm">
              <dgm:shape xmlns:r="http://schemas.openxmlformats.org/officeDocument/2006/relationships" type="ellipse" r:blip="">
                <dgm:adjLst/>
              </dgm:shape>
              <dgm:presOf axis="ch desOrSelf" ptType="node node" st="5 1" cnt="1 0"/>
            </dgm:if>
            <dgm:else name="Name68">
              <dgm:shape xmlns:r="http://schemas.openxmlformats.org/officeDocument/2006/relationships" type="ellipse" r:blip="" zOrderOff="-8">
                <dgm:adjLst/>
              </dgm:shape>
              <dgm:choose name="Name69">
                <dgm:if name="Name70" axis="ch" ptType="node" func="cnt" op="equ" val="5">
                  <dgm:presOf axis="ch desOrSelf" ptType="node node" st="1 1" cnt="1 0"/>
                </dgm:if>
                <dgm:if name="Name71" axis="ch" ptType="node" func="cnt" op="equ" val="6">
                  <dgm:presOf axis="ch desOrSelf" ptType="node node" st="2 1" cnt="1 0"/>
                </dgm:if>
                <dgm:if name="Name72" axis="ch" ptType="node" func="cnt" op="gte" val="7">
                  <dgm:presOf axis="ch desOrSelf" ptType="node node" st="3 1" cnt="1 0"/>
                </dgm:if>
                <dgm:else name="Name7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4"/>
    </dgm:choose>
    <dgm:choose name="Name75">
      <dgm:if name="Name76" axis="ch" ptType="node" func="cnt" op="gte" val="6">
        <dgm:layoutNode name="ellipse6" styleLbl="vennNode1">
          <dgm:varLst>
            <dgm:bulletEnabled val="1"/>
          </dgm:varLst>
          <dgm:alg type="tx"/>
          <dgm:choose name="Name77">
            <dgm:if name="Name78" func="var" arg="dir" op="equ" val="norm">
              <dgm:shape xmlns:r="http://schemas.openxmlformats.org/officeDocument/2006/relationships" type="ellipse" r:blip="">
                <dgm:adjLst/>
              </dgm:shape>
              <dgm:presOf axis="ch desOrSelf" ptType="node node" st="6 1" cnt="1 0"/>
            </dgm:if>
            <dgm:else name="Name79">
              <dgm:shape xmlns:r="http://schemas.openxmlformats.org/officeDocument/2006/relationships" type="ellipse" r:blip="" zOrderOff="-10">
                <dgm:adjLst/>
              </dgm:shape>
              <dgm:choose name="Name80">
                <dgm:if name="Name81" axis="ch" ptType="node" func="cnt" op="equ" val="6">
                  <dgm:presOf axis="ch desOrSelf" ptType="node node" st="1 1" cnt="1 0"/>
                </dgm:if>
                <dgm:if name="Name82" axis="ch" ptType="node" func="cnt" op="gte" val="7">
                  <dgm:presOf axis="ch desOrSelf" ptType="node node" st="2 1" cnt="1 0"/>
                </dgm:if>
                <dgm:else name="Name8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choose name="Name85">
      <dgm:if name="Name86" axis="ch" ptType="node" func="cnt" op="gte" val="7">
        <dgm:layoutNode name="ellipse7" styleLbl="vennNode1">
          <dgm:varLst>
            <dgm:bulletEnabled val="1"/>
          </dgm:varLst>
          <dgm:alg type="tx"/>
          <dgm:choose name="Name87">
            <dgm:if name="Name88" func="var" arg="dir" op="equ" val="norm">
              <dgm:shape xmlns:r="http://schemas.openxmlformats.org/officeDocument/2006/relationships" type="ellipse" r:blip="">
                <dgm:adjLst/>
              </dgm:shape>
              <dgm:presOf axis="ch desOrSelf" ptType="node node" st="7 1" cnt="1 0"/>
            </dgm:if>
            <dgm:else name="Name89">
              <dgm:shape xmlns:r="http://schemas.openxmlformats.org/officeDocument/2006/relationships" type="ellipse" r:blip="" zOrderOff="-12">
                <dgm:adjLst/>
              </dgm:shape>
              <dgm:presOf axis="ch desOrSelf" ptType="node node" st="1 1" cnt="1 0"/>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9/layout/CircleArrowProcess">
  <dgm:title val=""/>
  <dgm:desc val=""/>
  <dgm:catLst>
    <dgm:cat type="process" pri="16500"/>
    <dgm:cat type="cycle" pri="16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7"/>
      <dgm:chPref val="7"/>
      <dgm:dir/>
      <dgm:animLvl val="lvl"/>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5"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1144"/>
              <dgm:constr type="t" for="ch" forName="Accent1" refType="h" fact="0"/>
              <dgm:constr type="w" for="ch" forName="Accent1" refType="w" fact="0.5542"/>
              <dgm:constr type="h" for="ch" forName="Accent1" refType="h" fact="0.6665"/>
              <dgm:constr type="l" for="ch" forName="Parent1" refType="w" fact="0.2368"/>
              <dgm:constr type="t" for="ch" forName="Parent1" refType="h" fact="0.2413"/>
              <dgm:constr type="w" for="ch" forName="Parent1" refType="w" fact="0.3092"/>
              <dgm:constr type="h" for="ch" forName="Parent1" refType="h" fact="0.1859"/>
              <dgm:constr type="l" for="ch" forName="Parent2" refType="w" fact="0.0822"/>
              <dgm:constr type="t" for="ch" forName="Parent2" refType="h" fact="0.625"/>
              <dgm:constr type="w" for="ch" forName="Parent2" refType="w" fact="0.3092"/>
              <dgm:constr type="h" for="ch" forName="Parent2" refType="h" fact="0.1859"/>
              <dgm:constr type="l" for="ch" forName="Child1" refType="w" fact="0.6678"/>
              <dgm:constr type="t" for="ch" forName="Child1" refType="h" fact="0.1978"/>
              <dgm:constr type="w" for="ch" forName="Child1" refType="w" fact="0.3322"/>
              <dgm:constr type="h" for="ch" forName="Child1" refType="h" fact="0.265"/>
              <dgm:constr type="l" for="ch" forName="Child2" refType="w" fact="0.5164"/>
              <dgm:constr type="t" for="ch" forName="Child2" refType="h" fact="0.5855"/>
              <dgm:constr type="w" for="ch" forName="Child2" refType="w" fact="0.3322"/>
              <dgm:constr type="h" for="ch" forName="Child2" refType="h" fact="0.265"/>
              <dgm:constr type="l" for="ch" forName="Accent2" refType="w" fact="0"/>
              <dgm:constr type="t" for="ch" forName="Accent2" refType="h" fact="0.4272"/>
              <dgm:constr type="w" for="ch" forName="Accent2" refType="w" fact="0.4761"/>
              <dgm:constr type="h" for="ch" forName="Accent2" refType="h" fact="0.5728"/>
            </dgm:constrLst>
          </dgm:if>
          <dgm:if name="Name6"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1479"/>
              <dgm:constr type="t" for="ch" forName="Accent1" refType="h" fact="0"/>
              <dgm:constr type="w" for="ch" forName="Accent1" refType="w" fact="0.5325"/>
              <dgm:constr type="h" for="ch" forName="Accent1" refType="h" fact="0.4814"/>
              <dgm:constr type="l" for="ch" forName="Accent2" refType="w" fact="0"/>
              <dgm:constr type="t" for="ch" forName="Accent2" refType="h" fact="0.2766"/>
              <dgm:constr type="w" for="ch" forName="Accent2" refType="w" fact="0.5325"/>
              <dgm:constr type="h" for="ch" forName="Accent2" refType="h" fact="0.4814"/>
              <dgm:constr type="l" for="ch" forName="Parent1" refType="w" fact="0.2656"/>
              <dgm:constr type="t" for="ch" forName="Parent1" refType="h" fact="0.1738"/>
              <dgm:constr type="w" for="ch" forName="Parent1" refType="w" fact="0.2959"/>
              <dgm:constr type="h" for="ch" forName="Parent1" refType="h" fact="0.1337"/>
              <dgm:constr type="l" for="ch" forName="Accent3" refType="w" fact="0.1858"/>
              <dgm:constr type="t" for="ch" forName="Accent3" refType="h" fact="0.5863"/>
              <dgm:constr type="w" for="ch" forName="Accent3" refType="w" fact="0.4575"/>
              <dgm:constr type="h" for="ch" forName="Accent3" refType="h" fact="0.4137"/>
              <dgm:constr type="l" for="ch" forName="Parent2" refType="w" fact="0.1183"/>
              <dgm:constr type="t" for="ch" forName="Parent2" refType="h" fact="0.452"/>
              <dgm:constr type="w" for="ch" forName="Parent2" refType="w" fact="0.2959"/>
              <dgm:constr type="h" for="ch" forName="Parent2" refType="h" fact="0.1337"/>
              <dgm:constr type="l" for="ch" forName="Parent3" refType="w" fact="0.2663"/>
              <dgm:constr type="t" for="ch" forName="Parent3" refType="h" fact="0.7306"/>
              <dgm:constr type="w" for="ch" forName="Parent3" refType="w" fact="0.2959"/>
              <dgm:constr type="h" for="ch" forName="Parent3" refType="h" fact="0.1337"/>
              <dgm:constr type="l" for="ch" forName="Child2" refType="w" fact="0.5325"/>
              <dgm:constr type="t" for="ch" forName="Child2" refType="h" fact="0.4217"/>
              <dgm:constr type="w" for="ch" forName="Child2" refType="w" fact="0.3195"/>
              <dgm:constr type="h" for="ch" forName="Child2" refType="h" fact="0.1926"/>
              <dgm:constr type="l" for="ch" forName="Child1" refType="w" fact="0.6805"/>
              <dgm:constr type="t" for="ch" forName="Child1" refType="h" fact="0.1435"/>
              <dgm:constr type="w" for="ch" forName="Child1" refType="w" fact="0.3195"/>
              <dgm:constr type="h" for="ch" forName="Child1" refType="h" fact="0.1926"/>
              <dgm:constr type="l" for="ch" forName="Child3" refType="w" fact="0.6805"/>
              <dgm:constr type="t" for="ch" forName="Child3" refType="h" fact="0.6998"/>
              <dgm:constr type="w" for="ch" forName="Child3" refType="w" fact="0.3195"/>
              <dgm:constr type="h" for="ch" forName="Child3" refType="h" fact="0.1926"/>
            </dgm:constrLst>
          </dgm:if>
          <dgm:if name="Name7"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1481"/>
              <dgm:constr type="t" for="ch" forName="Accent1" refType="h" fact="0"/>
              <dgm:constr type="w" for="ch" forName="Accent1" refType="w" fact="0.5331"/>
              <dgm:constr type="h" for="ch" forName="Accent1" refType="h" fact="0.3771"/>
              <dgm:constr type="l" for="ch" forName="Accent2" refType="w" fact="0"/>
              <dgm:constr type="t" for="ch" forName="Accent2" refType="h" fact="0.2167"/>
              <dgm:constr type="w" for="ch" forName="Accent2" refType="w" fact="0.5331"/>
              <dgm:constr type="h" for="ch" forName="Accent2" refType="h" fact="0.3771"/>
              <dgm:constr type="l" for="ch" forName="Accent3" refType="w" fact="0.1481"/>
              <dgm:constr type="t" for="ch" forName="Accent3" refType="h" fact="0.4342"/>
              <dgm:constr type="w" for="ch" forName="Accent3" refType="w" fact="0.5331"/>
              <dgm:constr type="h" for="ch" forName="Accent3" refType="h" fact="0.3771"/>
              <dgm:constr type="l" for="ch" forName="Parent1" refType="w" fact="0.2658"/>
              <dgm:constr type="t" for="ch" forName="Parent1" refType="h" fact="0.1365"/>
              <dgm:constr type="w" for="ch" forName="Parent1" refType="w" fact="0.2975"/>
              <dgm:constr type="h" for="ch" forName="Parent1" refType="h" fact="0.1052"/>
              <dgm:constr type="l" for="ch" forName="Parent2" refType="w" fact="0.1171"/>
              <dgm:constr type="t" for="ch" forName="Parent2" refType="h" fact="0.3536"/>
              <dgm:constr type="w" for="ch" forName="Parent2" refType="w" fact="0.2975"/>
              <dgm:constr type="h" for="ch" forName="Parent2" refType="h" fact="0.1052"/>
              <dgm:constr type="l" for="ch" forName="Parent3" refType="w" fact="0.2658"/>
              <dgm:constr type="t" for="ch" forName="Parent3" refType="h" fact="0.5707"/>
              <dgm:constr type="w" for="ch" forName="Parent3" refType="w" fact="0.2975"/>
              <dgm:constr type="h" for="ch" forName="Parent3" refType="h" fact="0.1052"/>
              <dgm:constr type="l" for="ch" forName="Parent4" refType="w" fact="0.1171"/>
              <dgm:constr type="t" for="ch" forName="Parent4" refType="h" fact="0.7878"/>
              <dgm:constr type="w" for="ch" forName="Parent4" refType="w" fact="0.2975"/>
              <dgm:constr type="h" for="ch" forName="Parent4" refType="h" fact="0.1052"/>
              <dgm:constr type="l" for="ch" forName="Child1" refType="w" fact="0.6804"/>
              <dgm:constr type="t" for="ch" forName="Child1" refType="h" fact="0.1119"/>
              <dgm:constr type="w" for="ch" forName="Child1" refType="w" fact="0.3196"/>
              <dgm:constr type="h" for="ch" forName="Child1" refType="h" fact="0.15"/>
              <dgm:constr type="l" for="ch" forName="Child2" refType="w" fact="0.5348"/>
              <dgm:constr type="t" for="ch" forName="Child2" refType="h" fact="0.3312"/>
              <dgm:constr type="w" for="ch" forName="Child2" refType="w" fact="0.3196"/>
              <dgm:constr type="h" for="ch" forName="Child2" refType="h" fact="0.15"/>
              <dgm:constr type="l" for="ch" forName="Child3" refType="w" fact="0.6804"/>
              <dgm:constr type="t" for="ch" forName="Child3" refType="h" fact="0.5461"/>
              <dgm:constr type="w" for="ch" forName="Child3" refType="w" fact="0.3196"/>
              <dgm:constr type="h" for="ch" forName="Child3" refType="h" fact="0.15"/>
              <dgm:constr type="l" for="ch" forName="Child4" refType="w" fact="0.5348"/>
              <dgm:constr type="t" for="ch" forName="Child4" refType="h" fact="0.7632"/>
              <dgm:constr type="w" for="ch" forName="Child4" refType="w" fact="0.3196"/>
              <dgm:constr type="h" for="ch" forName="Child4" refType="h" fact="0.15"/>
              <dgm:constr type="l" for="ch" forName="Accent4" refType="w" fact="0.038"/>
              <dgm:constr type="t" for="ch" forName="Accent4" refType="h" fact="0.6759"/>
              <dgm:constr type="w" for="ch" forName="Accent4" refType="w" fact="0.458"/>
              <dgm:constr type="h" for="ch" forName="Accent4" refType="h" fact="0.3241"/>
            </dgm:constrLst>
          </dgm:if>
          <dgm:if name="Name8"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1481"/>
              <dgm:constr type="t" for="ch" forName="Accent1" refType="h" fact="0"/>
              <dgm:constr type="w" for="ch" forName="Accent1" refType="w" fact="0.5331"/>
              <dgm:constr type="h" for="ch" forName="Accent1" refType="h" fact="0.3098"/>
              <dgm:constr type="l" for="ch" forName="Accent2" refType="w" fact="0"/>
              <dgm:constr type="t" for="ch" forName="Accent2" refType="h" fact="0.178"/>
              <dgm:constr type="w" for="ch" forName="Accent2" refType="w" fact="0.5331"/>
              <dgm:constr type="h" for="ch" forName="Accent2" refType="h" fact="0.3098"/>
              <dgm:constr type="l" for="ch" forName="Accent3" refType="w" fact="0.1481"/>
              <dgm:constr type="t" for="ch" forName="Accent3" refType="h" fact="0.3568"/>
              <dgm:constr type="w" for="ch" forName="Accent3" refType="w" fact="0.5331"/>
              <dgm:constr type="h" for="ch" forName="Accent3" refType="h" fact="0.3098"/>
              <dgm:constr type="l" for="ch" forName="Accent4" refType="w" fact="0"/>
              <dgm:constr type="t" for="ch" forName="Accent4" refType="h" fact="0.5351"/>
              <dgm:constr type="w" for="ch" forName="Accent4" refType="w" fact="0.5331"/>
              <dgm:constr type="h" for="ch" forName="Accent4" refType="h" fact="0.3098"/>
              <dgm:constr type="l" for="ch" forName="Accent5" refType="w" fact="0.186"/>
              <dgm:constr type="t" for="ch" forName="Accent5" refType="h" fact="0.7337"/>
              <dgm:constr type="w" for="ch" forName="Accent5" refType="w" fact="0.458"/>
              <dgm:constr type="h" for="ch" forName="Accent5" refType="h" fact="0.2663"/>
              <dgm:constr type="l" for="ch" forName="Parent1" refType="w" fact="0.2658"/>
              <dgm:constr type="t" for="ch" forName="Parent1" refType="h" fact="0.1122"/>
              <dgm:constr type="w" for="ch" forName="Parent1" refType="w" fact="0.2975"/>
              <dgm:constr type="h" for="ch" forName="Parent1" refType="h" fact="0.0864"/>
              <dgm:constr type="l" for="ch" forName="Parent2" refType="w" fact="0.1171"/>
              <dgm:constr type="t" for="ch" forName="Parent2" refType="h" fact="0.2906"/>
              <dgm:constr type="w" for="ch" forName="Parent2" refType="w" fact="0.2975"/>
              <dgm:constr type="h" for="ch" forName="Parent2" refType="h" fact="0.0864"/>
              <dgm:constr type="l" for="ch" forName="Parent3" refType="w" fact="0.2658"/>
              <dgm:constr type="t" for="ch" forName="Parent3" refType="h" fact="0.4689"/>
              <dgm:constr type="w" for="ch" forName="Parent3" refType="w" fact="0.2975"/>
              <dgm:constr type="h" for="ch" forName="Parent3" refType="h" fact="0.0864"/>
              <dgm:constr type="l" for="ch" forName="Parent4" refType="w" fact="0.1171"/>
              <dgm:constr type="t" for="ch" forName="Parent4" refType="h" fact="0.6473"/>
              <dgm:constr type="w" for="ch" forName="Parent4" refType="w" fact="0.2975"/>
              <dgm:constr type="h" for="ch" forName="Parent4" refType="h" fact="0.0864"/>
              <dgm:constr type="l" for="ch" forName="Parent5" refType="w" fact="0.2658"/>
              <dgm:constr type="t" for="ch" forName="Parent5" refType="h" fact="0.8257"/>
              <dgm:constr type="w" for="ch" forName="Parent5" refType="w" fact="0.2975"/>
              <dgm:constr type="h" for="ch" forName="Parent5" refType="h" fact="0.0864"/>
              <dgm:constr type="l" for="ch" forName="Child1" refType="w" fact="0.6804"/>
              <dgm:constr type="t" for="ch" forName="Child1" refType="h" fact="0.0919"/>
              <dgm:constr type="w" for="ch" forName="Child1" refType="w" fact="0.3196"/>
              <dgm:constr type="h" for="ch" forName="Child1" refType="h" fact="0.1232"/>
              <dgm:constr type="l" for="ch" forName="Child2" refType="w" fact="0.5348"/>
              <dgm:constr type="t" for="ch" forName="Child2" refType="h" fact="0.2722"/>
              <dgm:constr type="w" for="ch" forName="Child2" refType="w" fact="0.3196"/>
              <dgm:constr type="h" for="ch" forName="Child2" refType="h" fact="0.1232"/>
              <dgm:constr type="l" for="ch" forName="Child3" refType="w" fact="0.6804"/>
              <dgm:constr type="t" for="ch" forName="Child3" refType="h" fact="0.4487"/>
              <dgm:constr type="w" for="ch" forName="Child3" refType="w" fact="0.3196"/>
              <dgm:constr type="h" for="ch" forName="Child3" refType="h" fact="0.1232"/>
              <dgm:constr type="l" for="ch" forName="Child4" refType="w" fact="0.5348"/>
              <dgm:constr type="t" for="ch" forName="Child4" refType="h" fact="0.6271"/>
              <dgm:constr type="w" for="ch" forName="Child4" refType="w" fact="0.3196"/>
              <dgm:constr type="h" for="ch" forName="Child4" refType="h" fact="0.1232"/>
              <dgm:constr type="l" for="ch" forName="Child5" refType="w" fact="0.6804"/>
              <dgm:constr type="t" for="ch" forName="Child5" refType="h" fact="0.8073"/>
              <dgm:constr type="w" for="ch" forName="Child5" refType="w" fact="0.3196"/>
              <dgm:constr type="h" for="ch" forName="Child5" refType="h" fact="0.1232"/>
            </dgm:constrLst>
          </dgm:if>
          <dgm:if name="Name9"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1481"/>
              <dgm:constr type="t" for="ch" forName="Accent1" refType="h" fact="0"/>
              <dgm:constr type="w" for="ch" forName="Accent1" refType="w" fact="0.5331"/>
              <dgm:constr type="h" for="ch" forName="Accent1" refType="h" fact="0.2629"/>
              <dgm:constr type="l" for="ch" forName="Accent2" refType="w" fact="0"/>
              <dgm:constr type="t" for="ch" forName="Accent2" refType="h" fact="0.1511"/>
              <dgm:constr type="w" for="ch" forName="Accent2" refType="w" fact="0.5331"/>
              <dgm:constr type="h" for="ch" forName="Accent2" refType="h" fact="0.2629"/>
              <dgm:constr type="l" for="ch" forName="Accent3" refType="w" fact="0.1481"/>
              <dgm:constr type="t" for="ch" forName="Accent3" refType="h" fact="0.3027"/>
              <dgm:constr type="w" for="ch" forName="Accent3" refType="w" fact="0.5331"/>
              <dgm:constr type="h" for="ch" forName="Accent3" refType="h" fact="0.2629"/>
              <dgm:constr type="l" for="ch" forName="Accent4" refType="w" fact="0"/>
              <dgm:constr type="t" for="ch" forName="Accent4" refType="h" fact="0.4541"/>
              <dgm:constr type="w" for="ch" forName="Accent4" refType="w" fact="0.5331"/>
              <dgm:constr type="h" for="ch" forName="Accent4" refType="h" fact="0.2629"/>
              <dgm:constr type="l" for="ch" forName="Parent1" refType="w" fact="0.2658"/>
              <dgm:constr type="t" for="ch" forName="Parent1" refType="h" fact="0.0952"/>
              <dgm:constr type="w" for="ch" forName="Parent1" refType="w" fact="0.2975"/>
              <dgm:constr type="h" for="ch" forName="Parent1" refType="h" fact="0.0733"/>
              <dgm:constr type="l" for="ch" forName="Parent2" refType="w" fact="0.1171"/>
              <dgm:constr type="t" for="ch" forName="Parent2" refType="h" fact="0.2466"/>
              <dgm:constr type="w" for="ch" forName="Parent2" refType="w" fact="0.2975"/>
              <dgm:constr type="h" for="ch" forName="Parent2" refType="h" fact="0.0733"/>
              <dgm:constr type="l" for="ch" forName="Parent3" refType="w" fact="0.2658"/>
              <dgm:constr type="t" for="ch" forName="Parent3" refType="h" fact="0.3979"/>
              <dgm:constr type="w" for="ch" forName="Parent3" refType="w" fact="0.2975"/>
              <dgm:constr type="h" for="ch" forName="Parent3" refType="h" fact="0.0733"/>
              <dgm:constr type="l" for="ch" forName="Parent4" refType="w" fact="0.1171"/>
              <dgm:constr type="t" for="ch" forName="Parent4" refType="h" fact="0.5493"/>
              <dgm:constr type="w" for="ch" forName="Parent4" refType="w" fact="0.2975"/>
              <dgm:constr type="h" for="ch" forName="Parent4" refType="h" fact="0.0733"/>
              <dgm:constr type="l" for="ch" forName="Child1" refType="w" fact="0.6804"/>
              <dgm:constr type="t" for="ch" forName="Child1" refType="h" fact="0.078"/>
              <dgm:constr type="w" for="ch" forName="Child1" refType="w" fact="0.3196"/>
              <dgm:constr type="h" for="ch" forName="Child1" refType="h" fact="0.1046"/>
              <dgm:constr type="l" for="ch" forName="Child2" refType="w" fact="0.5348"/>
              <dgm:constr type="t" for="ch" forName="Child2" refType="h" fact="0.231"/>
              <dgm:constr type="w" for="ch" forName="Child2" refType="w" fact="0.3196"/>
              <dgm:constr type="h" for="ch" forName="Child2" refType="h" fact="0.1046"/>
              <dgm:constr type="l" for="ch" forName="Child3" refType="w" fact="0.6804"/>
              <dgm:constr type="t" for="ch" forName="Child3" refType="h" fact="0.3808"/>
              <dgm:constr type="w" for="ch" forName="Child3" refType="w" fact="0.3196"/>
              <dgm:constr type="h" for="ch" forName="Child3" refType="h" fact="0.1046"/>
              <dgm:constr type="l" for="ch" forName="Child4" refType="w" fact="0.5348"/>
              <dgm:constr type="t" for="ch" forName="Child4" refType="h" fact="0.5322"/>
              <dgm:constr type="w" for="ch" forName="Child4" refType="w" fact="0.3196"/>
              <dgm:constr type="h" for="ch" forName="Child4" refType="h" fact="0.1046"/>
              <dgm:constr type="l" for="ch" forName="Accent5" refType="w" fact="0.1481"/>
              <dgm:constr type="t" for="ch" forName="Accent5" refType="h" fact="0.6053"/>
              <dgm:constr type="w" for="ch" forName="Accent5" refType="w" fact="0.5331"/>
              <dgm:constr type="h" for="ch" forName="Accent5" refType="h" fact="0.2629"/>
              <dgm:constr type="l" for="ch" forName="Accent6" refType="w" fact="0.038"/>
              <dgm:constr type="t" for="ch" forName="Accent6" refType="h" fact="0.774"/>
              <dgm:constr type="w" for="ch" forName="Accent6" refType="w" fact="0.458"/>
              <dgm:constr type="h" for="ch" forName="Accent6" refType="h" fact="0.226"/>
              <dgm:constr type="l" for="ch" forName="Parent5" refType="w" fact="0.2658"/>
              <dgm:constr type="t" for="ch" forName="Parent5" refType="h" fact="0.7005"/>
              <dgm:constr type="w" for="ch" forName="Parent5" refType="w" fact="0.2975"/>
              <dgm:constr type="h" for="ch" forName="Parent5" refType="h" fact="0.0733"/>
              <dgm:constr type="l" for="ch" forName="Parent6" refType="w" fact="0.1171"/>
              <dgm:constr type="t" for="ch" forName="Parent6" refType="h" fact="0.8519"/>
              <dgm:constr type="w" for="ch" forName="Parent6" refType="w" fact="0.2975"/>
              <dgm:constr type="h" for="ch" forName="Parent6" refType="h" fact="0.0733"/>
              <dgm:constr type="l" for="ch" forName="Child5" refType="w" fact="0.6804"/>
              <dgm:constr type="t" for="ch" forName="Child5" refType="h" fact="0.6833"/>
              <dgm:constr type="w" for="ch" forName="Child5" refType="w" fact="0.3196"/>
              <dgm:constr type="h" for="ch" forName="Child5" refType="h" fact="0.1046"/>
              <dgm:constr type="l" for="ch" forName="Child6" refType="w" fact="0.5348"/>
              <dgm:constr type="t" for="ch" forName="Child6" refType="h" fact="0.8347"/>
              <dgm:constr type="w" for="ch" forName="Child6" refType="w" fact="0.3196"/>
              <dgm:constr type="h" for="ch" forName="Child6" refType="h" fact="0.1046"/>
            </dgm:constrLst>
          </dgm:if>
          <dgm:else name="Name10">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1481"/>
              <dgm:constr type="t" for="ch" forName="Accent1" refType="h" fact="0"/>
              <dgm:constr type="w" for="ch" forName="Accent1" refType="w" fact="0.5331"/>
              <dgm:constr type="h" for="ch" forName="Accent1" refType="h" fact="0.2284"/>
              <dgm:constr type="l" for="ch" forName="Accent2" refType="w" fact="0"/>
              <dgm:constr type="t" for="ch" forName="Accent2" refType="h" fact="0.1312"/>
              <dgm:constr type="w" for="ch" forName="Accent2" refType="w" fact="0.5331"/>
              <dgm:constr type="h" for="ch" forName="Accent2" refType="h" fact="0.2284"/>
              <dgm:constr type="l" for="ch" forName="Accent3" refType="w" fact="0.1481"/>
              <dgm:constr type="t" for="ch" forName="Accent3" refType="h" fact="0.263"/>
              <dgm:constr type="w" for="ch" forName="Accent3" refType="w" fact="0.5331"/>
              <dgm:constr type="h" for="ch" forName="Accent3" refType="h" fact="0.2284"/>
              <dgm:constr type="l" for="ch" forName="Accent4" refType="w" fact="0"/>
              <dgm:constr type="t" for="ch" forName="Accent4" refType="h" fact="0.3945"/>
              <dgm:constr type="w" for="ch" forName="Accent4" refType="w" fact="0.5331"/>
              <dgm:constr type="h" for="ch" forName="Accent4" refType="h" fact="0.2284"/>
              <dgm:constr type="l" for="ch" forName="Parent1" refType="w" fact="0.2658"/>
              <dgm:constr type="t" for="ch" forName="Parent1" refType="h" fact="0.0827"/>
              <dgm:constr type="w" for="ch" forName="Parent1" refType="w" fact="0.2975"/>
              <dgm:constr type="h" for="ch" forName="Parent1" refType="h" fact="0.0637"/>
              <dgm:constr type="l" for="ch" forName="Parent2" refType="w" fact="0.1171"/>
              <dgm:constr type="t" for="ch" forName="Parent2" refType="h" fact="0.2142"/>
              <dgm:constr type="w" for="ch" forName="Parent2" refType="w" fact="0.2975"/>
              <dgm:constr type="h" for="ch" forName="Parent2" refType="h" fact="0.0637"/>
              <dgm:constr type="l" for="ch" forName="Parent3" refType="w" fact="0.2658"/>
              <dgm:constr type="t" for="ch" forName="Parent3" refType="h" fact="0.3457"/>
              <dgm:constr type="w" for="ch" forName="Parent3" refType="w" fact="0.2975"/>
              <dgm:constr type="h" for="ch" forName="Parent3" refType="h" fact="0.0637"/>
              <dgm:constr type="l" for="ch" forName="Parent4" refType="w" fact="0.1171"/>
              <dgm:constr type="t" for="ch" forName="Parent4" refType="h" fact="0.4772"/>
              <dgm:constr type="w" for="ch" forName="Parent4" refType="w" fact="0.2975"/>
              <dgm:constr type="h" for="ch" forName="Parent4" refType="h" fact="0.0637"/>
              <dgm:constr type="l" for="ch" forName="Child1" refType="w" fact="0.6804"/>
              <dgm:constr type="t" for="ch" forName="Child1" refType="h" fact="0.0678"/>
              <dgm:constr type="w" for="ch" forName="Child1" refType="w" fact="0.3196"/>
              <dgm:constr type="h" for="ch" forName="Child1" refType="h" fact="0.0908"/>
              <dgm:constr type="l" for="ch" forName="Child2" refType="w" fact="0.5348"/>
              <dgm:constr type="t" for="ch" forName="Child2" refType="h" fact="0.2006"/>
              <dgm:constr type="w" for="ch" forName="Child2" refType="w" fact="0.3196"/>
              <dgm:constr type="h" for="ch" forName="Child2" refType="h" fact="0.0908"/>
              <dgm:constr type="l" for="ch" forName="Child3" refType="w" fact="0.6804"/>
              <dgm:constr type="t" for="ch" forName="Child3" refType="h" fact="0.3308"/>
              <dgm:constr type="w" for="ch" forName="Child3" refType="w" fact="0.3196"/>
              <dgm:constr type="h" for="ch" forName="Child3" refType="h" fact="0.0908"/>
              <dgm:constr type="l" for="ch" forName="Child4" refType="w" fact="0.5348"/>
              <dgm:constr type="t" for="ch" forName="Child4" refType="h" fact="0.4623"/>
              <dgm:constr type="w" for="ch" forName="Child4" refType="w" fact="0.3196"/>
              <dgm:constr type="h" for="ch" forName="Child4" refType="h" fact="0.0908"/>
              <dgm:constr type="l" for="ch" forName="Accent5" refType="w" fact="0.1481"/>
              <dgm:constr type="t" for="ch" forName="Accent5" refType="h" fact="0.5258"/>
              <dgm:constr type="w" for="ch" forName="Accent5" refType="w" fact="0.5331"/>
              <dgm:constr type="h" for="ch" forName="Accent5" refType="h" fact="0.2284"/>
              <dgm:constr type="l" for="ch" forName="Accent6" refType="w" fact="0"/>
              <dgm:constr type="t" for="ch" forName="Accent6" refType="h" fact="0.6573"/>
              <dgm:constr type="w" for="ch" forName="Accent6" refType="w" fact="0.5331"/>
              <dgm:constr type="h" for="ch" forName="Accent6" refType="h" fact="0.2284"/>
              <dgm:constr type="l" for="ch" forName="Accent7" refType="w" fact="0.186"/>
              <dgm:constr type="t" for="ch" forName="Accent7" refType="h" fact="0.8037"/>
              <dgm:constr type="w" for="ch" forName="Accent7" refType="w" fact="0.458"/>
              <dgm:constr type="h" for="ch" forName="Accent7" refType="h" fact="0.1963"/>
              <dgm:constr type="l" for="ch" forName="Parent5" refType="w" fact="0.2658"/>
              <dgm:constr type="t" for="ch" forName="Parent5" refType="h" fact="0.6085"/>
              <dgm:constr type="w" for="ch" forName="Parent5" refType="w" fact="0.2975"/>
              <dgm:constr type="h" for="ch" forName="Parent5" refType="h" fact="0.0637"/>
              <dgm:constr type="l" for="ch" forName="Parent6" refType="w" fact="0.1171"/>
              <dgm:constr type="t" for="ch" forName="Parent6" refType="h" fact="0.74"/>
              <dgm:constr type="w" for="ch" forName="Parent6" refType="w" fact="0.2975"/>
              <dgm:constr type="h" for="ch" forName="Parent6" refType="h" fact="0.0637"/>
              <dgm:constr type="l" for="ch" forName="Parent7" refType="w" fact="0.2658"/>
              <dgm:constr type="t" for="ch" forName="Parent7" refType="h" fact="0.8715"/>
              <dgm:constr type="w" for="ch" forName="Parent7" refType="w" fact="0.2975"/>
              <dgm:constr type="h" for="ch" forName="Parent7" refType="h" fact="0.0637"/>
              <dgm:constr type="l" for="ch" forName="Child5" refType="w" fact="0.6804"/>
              <dgm:constr type="t" for="ch" forName="Child5" refType="h" fact="0.5936"/>
              <dgm:constr type="w" for="ch" forName="Child5" refType="w" fact="0.3196"/>
              <dgm:constr type="h" for="ch" forName="Child5" refType="h" fact="0.0908"/>
              <dgm:constr type="l" for="ch" forName="Child6" refType="w" fact="0.5348"/>
              <dgm:constr type="t" for="ch" forName="Child6" refType="h" fact="0.7251"/>
              <dgm:constr type="w" for="ch" forName="Child6" refType="w" fact="0.3196"/>
              <dgm:constr type="h" for="ch" forName="Child6" refType="h" fact="0.0908"/>
              <dgm:constr type="l" for="ch" forName="Child7" refType="w" fact="0.6804"/>
              <dgm:constr type="t" for="ch" forName="Child7" refType="h" fact="0.8579"/>
              <dgm:constr type="w" for="ch" forName="Child7" refType="w" fact="0.3196"/>
              <dgm:constr type="h" for="ch" forName="Child7" refType="h" fact="0.0908"/>
            </dgm:constrLst>
          </dgm:else>
        </dgm:choose>
      </dgm:if>
      <dgm:else name="Name11">
        <dgm:choose name="Name12">
          <dgm:if name="Name13"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14"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0407"/>
              <dgm:constr type="t" for="ch" forName="Accent1" refType="h" fact="0"/>
              <dgm:constr type="w" for="ch" forName="Accent1" refType="w" fact="0.5542"/>
              <dgm:constr type="h" for="ch" forName="Accent1" refType="h" fact="0.6665"/>
              <dgm:constr type="l" for="ch" forName="Accent2" refType="w" fact="0.1533"/>
              <dgm:constr type="t" for="ch" forName="Accent2" refType="h" fact="0.4272"/>
              <dgm:constr type="w" for="ch" forName="Accent2" refType="w" fact="0.4761"/>
              <dgm:constr type="h" for="ch" forName="Accent2" refType="h" fact="0.5728"/>
              <dgm:constr type="l" for="ch" forName="Parent1" refType="w" fact="0.0822"/>
              <dgm:constr type="t" for="ch" forName="Parent1" refType="h" fact="0.2413"/>
              <dgm:constr type="w" for="ch" forName="Parent1" refType="w" fact="0.3092"/>
              <dgm:constr type="h" for="ch" forName="Parent1" refType="h" fact="0.1859"/>
              <dgm:constr type="l" for="ch" forName="Parent2" refType="w" fact="0.2368"/>
              <dgm:constr type="t" for="ch" forName="Parent2" refType="h" fact="0.625"/>
              <dgm:constr type="w" for="ch" forName="Parent2" refType="w" fact="0.3092"/>
              <dgm:constr type="h" for="ch" forName="Parent2" refType="h" fact="0.1859"/>
              <dgm:constr type="l" for="ch" forName="Child1" refType="w" fact="0.5164"/>
              <dgm:constr type="t" for="ch" forName="Child1" refType="h" fact="0.1978"/>
              <dgm:constr type="w" for="ch" forName="Child1" refType="w" fact="0.3322"/>
              <dgm:constr type="h" for="ch" forName="Child1" refType="h" fact="0.265"/>
              <dgm:constr type="l" for="ch" forName="Child2" refType="w" fact="0.6678"/>
              <dgm:constr type="t" for="ch" forName="Child2" refType="h" fact="0.5855"/>
              <dgm:constr type="w" for="ch" forName="Child2" refType="w" fact="0.3322"/>
              <dgm:constr type="h" for="ch" forName="Child2" refType="h" fact="0.265"/>
            </dgm:constrLst>
          </dgm:if>
          <dgm:if name="Name15"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
              <dgm:constr type="t" for="ch" forName="Accent1" refType="h" fact="0"/>
              <dgm:constr type="w" for="ch" forName="Accent1" refType="w" fact="0.5325"/>
              <dgm:constr type="h" for="ch" forName="Accent1" refType="h" fact="0.4814"/>
              <dgm:constr type="l" for="ch" forName="Accent2" refType="w" fact="0.1479"/>
              <dgm:constr type="t" for="ch" forName="Accent2" refType="h" fact="0.2766"/>
              <dgm:constr type="w" for="ch" forName="Accent2" refType="w" fact="0.5325"/>
              <dgm:constr type="h" for="ch" forName="Accent2" refType="h" fact="0.4814"/>
              <dgm:constr type="l" for="ch" forName="Accent3" refType="w" fact="0.0378"/>
              <dgm:constr type="t" for="ch" forName="Accent3" refType="h" fact="0.5863"/>
              <dgm:constr type="w" for="ch" forName="Accent3" refType="w" fact="0.4575"/>
              <dgm:constr type="h" for="ch" forName="Accent3" refType="h" fact="0.4137"/>
              <dgm:constr type="l" for="ch" forName="Parent1" refType="w" fact="0.1183"/>
              <dgm:constr type="t" for="ch" forName="Parent1" refType="h" fact="0.1738"/>
              <dgm:constr type="w" for="ch" forName="Parent1" refType="w" fact="0.2959"/>
              <dgm:constr type="h" for="ch" forName="Parent1" refType="h" fact="0.1337"/>
              <dgm:constr type="l" for="ch" forName="Parent2" refType="w" fact="0.2656"/>
              <dgm:constr type="t" for="ch" forName="Parent2" refType="h" fact="0.452"/>
              <dgm:constr type="w" for="ch" forName="Parent2" refType="w" fact="0.2959"/>
              <dgm:constr type="h" for="ch" forName="Parent2" refType="h" fact="0.1337"/>
              <dgm:constr type="l" for="ch" forName="Parent3" refType="w" fact="0.1183"/>
              <dgm:constr type="t" for="ch" forName="Parent3" refType="h" fact="0.7306"/>
              <dgm:constr type="w" for="ch" forName="Parent3" refType="w" fact="0.2959"/>
              <dgm:constr type="h" for="ch" forName="Parent3" refType="h" fact="0.1337"/>
              <dgm:constr type="l" for="ch" forName="Child1" refType="w" fact="0.5325"/>
              <dgm:constr type="t" for="ch" forName="Child1" refType="h" fact="0.1435"/>
              <dgm:constr type="w" for="ch" forName="Child1" refType="w" fact="0.3195"/>
              <dgm:constr type="h" for="ch" forName="Child1" refType="h" fact="0.1926"/>
              <dgm:constr type="l" for="ch" forName="Child2" refType="w" fact="0.6805"/>
              <dgm:constr type="t" for="ch" forName="Child2" refType="h" fact="0.4217"/>
              <dgm:constr type="w" for="ch" forName="Child2" refType="w" fact="0.3195"/>
              <dgm:constr type="h" for="ch" forName="Child2" refType="h" fact="0.1926"/>
              <dgm:constr type="l" for="ch" forName="Child3" refType="w" fact="0.5325"/>
              <dgm:constr type="t" for="ch" forName="Child3" refType="h" fact="0.6998"/>
              <dgm:constr type="w" for="ch" forName="Child3" refType="w" fact="0.3195"/>
              <dgm:constr type="h" for="ch" forName="Child3" refType="h" fact="0.1926"/>
            </dgm:constrLst>
          </dgm:if>
          <dgm:if name="Name16"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
              <dgm:constr type="t" for="ch" forName="Accent1" refType="h" fact="0"/>
              <dgm:constr type="w" for="ch" forName="Accent1" refType="w" fact="0.5331"/>
              <dgm:constr type="h" for="ch" forName="Accent1" refType="h" fact="0.3771"/>
              <dgm:constr type="l" for="ch" forName="Accent2" refType="w" fact="0.1481"/>
              <dgm:constr type="t" for="ch" forName="Accent2" refType="h" fact="0.2167"/>
              <dgm:constr type="w" for="ch" forName="Accent2" refType="w" fact="0.5331"/>
              <dgm:constr type="h" for="ch" forName="Accent2" refType="h" fact="0.3771"/>
              <dgm:constr type="l" for="ch" forName="Accent3" refType="w" fact="0"/>
              <dgm:constr type="t" for="ch" forName="Accent3" refType="h" fact="0.4342"/>
              <dgm:constr type="w" for="ch" forName="Accent3" refType="w" fact="0.5331"/>
              <dgm:constr type="h" for="ch" forName="Accent3" refType="h" fact="0.3771"/>
              <dgm:constr type="l" for="ch" forName="Accent4" refType="w" fact="0.186"/>
              <dgm:constr type="t" for="ch" forName="Accent4" refType="h" fact="0.6759"/>
              <dgm:constr type="w" for="ch" forName="Accent4" refType="w" fact="0.458"/>
              <dgm:constr type="h" for="ch" forName="Accent4" refType="h" fact="0.3241"/>
              <dgm:constr type="l" for="ch" forName="Parent1" refType="w" fact="0.1171"/>
              <dgm:constr type="t" for="ch" forName="Parent1" refType="h" fact="0.1365"/>
              <dgm:constr type="w" for="ch" forName="Parent1" refType="w" fact="0.2975"/>
              <dgm:constr type="h" for="ch" forName="Parent1" refType="h" fact="0.1052"/>
              <dgm:constr type="l" for="ch" forName="Parent2" refType="w" fact="0.2658"/>
              <dgm:constr type="t" for="ch" forName="Parent2" refType="h" fact="0.3536"/>
              <dgm:constr type="w" for="ch" forName="Parent2" refType="w" fact="0.2975"/>
              <dgm:constr type="h" for="ch" forName="Parent2" refType="h" fact="0.1052"/>
              <dgm:constr type="l" for="ch" forName="Parent3" refType="w" fact="0.1171"/>
              <dgm:constr type="t" for="ch" forName="Parent3" refType="h" fact="0.5707"/>
              <dgm:constr type="w" for="ch" forName="Parent3" refType="w" fact="0.2975"/>
              <dgm:constr type="h" for="ch" forName="Parent3" refType="h" fact="0.1052"/>
              <dgm:constr type="l" for="ch" forName="Parent4" refType="w" fact="0.2658"/>
              <dgm:constr type="t" for="ch" forName="Parent4" refType="h" fact="0.7878"/>
              <dgm:constr type="w" for="ch" forName="Parent4" refType="w" fact="0.2975"/>
              <dgm:constr type="h" for="ch" forName="Parent4" refType="h" fact="0.1052"/>
              <dgm:constr type="l" for="ch" forName="Child1" refType="w" fact="0.5348"/>
              <dgm:constr type="t" for="ch" forName="Child1" refType="h" fact="0.1119"/>
              <dgm:constr type="w" for="ch" forName="Child1" refType="w" fact="0.3196"/>
              <dgm:constr type="h" for="ch" forName="Child1" refType="h" fact="0.15"/>
              <dgm:constr type="l" for="ch" forName="Child2" refType="w" fact="0.6804"/>
              <dgm:constr type="t" for="ch" forName="Child2" refType="h" fact="0.3312"/>
              <dgm:constr type="w" for="ch" forName="Child2" refType="w" fact="0.3196"/>
              <dgm:constr type="h" for="ch" forName="Child2" refType="h" fact="0.15"/>
              <dgm:constr type="l" for="ch" forName="Child3" refType="w" fact="0.5348"/>
              <dgm:constr type="t" for="ch" forName="Child3" refType="h" fact="0.5461"/>
              <dgm:constr type="w" for="ch" forName="Child3" refType="w" fact="0.3196"/>
              <dgm:constr type="h" for="ch" forName="Child3" refType="h" fact="0.15"/>
              <dgm:constr type="l" for="ch" forName="Child4" refType="w" fact="0.6804"/>
              <dgm:constr type="t" for="ch" forName="Child4" refType="h" fact="0.7632"/>
              <dgm:constr type="w" for="ch" forName="Child4" refType="w" fact="0.3196"/>
              <dgm:constr type="h" for="ch" forName="Child4" refType="h" fact="0.15"/>
            </dgm:constrLst>
          </dgm:if>
          <dgm:if name="Name17"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
              <dgm:constr type="t" for="ch" forName="Accent1" refType="h" fact="0"/>
              <dgm:constr type="w" for="ch" forName="Accent1" refType="w" fact="0.5331"/>
              <dgm:constr type="h" for="ch" forName="Accent1" refType="h" fact="0.3098"/>
              <dgm:constr type="l" for="ch" forName="Accent2" refType="w" fact="0.1481"/>
              <dgm:constr type="t" for="ch" forName="Accent2" refType="h" fact="0.178"/>
              <dgm:constr type="w" for="ch" forName="Accent2" refType="w" fact="0.5331"/>
              <dgm:constr type="h" for="ch" forName="Accent2" refType="h" fact="0.3098"/>
              <dgm:constr type="l" for="ch" forName="Accent3" refType="w" fact="0"/>
              <dgm:constr type="t" for="ch" forName="Accent3" refType="h" fact="0.3568"/>
              <dgm:constr type="w" for="ch" forName="Accent3" refType="w" fact="0.5331"/>
              <dgm:constr type="h" for="ch" forName="Accent3" refType="h" fact="0.3098"/>
              <dgm:constr type="l" for="ch" forName="Accent4" refType="w" fact="0.1481"/>
              <dgm:constr type="t" for="ch" forName="Accent4" refType="h" fact="0.5351"/>
              <dgm:constr type="w" for="ch" forName="Accent4" refType="w" fact="0.5331"/>
              <dgm:constr type="h" for="ch" forName="Accent4" refType="h" fact="0.3098"/>
              <dgm:constr type="l" for="ch" forName="Accent5" refType="w" fact="0.0378"/>
              <dgm:constr type="t" for="ch" forName="Accent5" refType="h" fact="0.7337"/>
              <dgm:constr type="w" for="ch" forName="Accent5" refType="w" fact="0.458"/>
              <dgm:constr type="h" for="ch" forName="Accent5" refType="h" fact="0.2663"/>
              <dgm:constr type="l" for="ch" forName="Parent1" refType="w" fact="0.1171"/>
              <dgm:constr type="t" for="ch" forName="Parent1" refType="h" fact="0.1122"/>
              <dgm:constr type="w" for="ch" forName="Parent1" refType="w" fact="0.2975"/>
              <dgm:constr type="h" for="ch" forName="Parent1" refType="h" fact="0.0864"/>
              <dgm:constr type="l" for="ch" forName="Parent2" refType="w" fact="0.2658"/>
              <dgm:constr type="t" for="ch" forName="Parent2" refType="h" fact="0.2906"/>
              <dgm:constr type="w" for="ch" forName="Parent2" refType="w" fact="0.2975"/>
              <dgm:constr type="h" for="ch" forName="Parent2" refType="h" fact="0.0864"/>
              <dgm:constr type="l" for="ch" forName="Parent3" refType="w" fact="0.1171"/>
              <dgm:constr type="t" for="ch" forName="Parent3" refType="h" fact="0.4689"/>
              <dgm:constr type="w" for="ch" forName="Parent3" refType="w" fact="0.2975"/>
              <dgm:constr type="h" for="ch" forName="Parent3" refType="h" fact="0.0864"/>
              <dgm:constr type="l" for="ch" forName="Parent4" refType="w" fact="0.2658"/>
              <dgm:constr type="t" for="ch" forName="Parent4" refType="h" fact="0.6473"/>
              <dgm:constr type="w" for="ch" forName="Parent4" refType="w" fact="0.2975"/>
              <dgm:constr type="h" for="ch" forName="Parent4" refType="h" fact="0.0864"/>
              <dgm:constr type="l" for="ch" forName="Parent5" refType="w" fact="0.1171"/>
              <dgm:constr type="t" for="ch" forName="Parent5" refType="h" fact="0.8257"/>
              <dgm:constr type="w" for="ch" forName="Parent5" refType="w" fact="0.2975"/>
              <dgm:constr type="h" for="ch" forName="Parent5" refType="h" fact="0.0864"/>
              <dgm:constr type="l" for="ch" forName="Child1" refType="w" fact="0.5348"/>
              <dgm:constr type="t" for="ch" forName="Child1" refType="h" fact="0.0919"/>
              <dgm:constr type="w" for="ch" forName="Child1" refType="w" fact="0.3196"/>
              <dgm:constr type="h" for="ch" forName="Child1" refType="h" fact="0.1232"/>
              <dgm:constr type="l" for="ch" forName="Child2" refType="w" fact="0.6804"/>
              <dgm:constr type="t" for="ch" forName="Child2" refType="h" fact="0.2722"/>
              <dgm:constr type="w" for="ch" forName="Child2" refType="w" fact="0.3196"/>
              <dgm:constr type="h" for="ch" forName="Child2" refType="h" fact="0.1232"/>
              <dgm:constr type="l" for="ch" forName="Child3" refType="w" fact="0.5348"/>
              <dgm:constr type="t" for="ch" forName="Child3" refType="h" fact="0.4487"/>
              <dgm:constr type="w" for="ch" forName="Child3" refType="w" fact="0.3196"/>
              <dgm:constr type="h" for="ch" forName="Child3" refType="h" fact="0.1232"/>
              <dgm:constr type="l" for="ch" forName="Child4" refType="w" fact="0.6804"/>
              <dgm:constr type="t" for="ch" forName="Child4" refType="h" fact="0.6271"/>
              <dgm:constr type="w" for="ch" forName="Child4" refType="w" fact="0.3196"/>
              <dgm:constr type="h" for="ch" forName="Child4" refType="h" fact="0.1232"/>
              <dgm:constr type="l" for="ch" forName="Child5" refType="w" fact="0.5348"/>
              <dgm:constr type="t" for="ch" forName="Child5" refType="h" fact="0.8073"/>
              <dgm:constr type="w" for="ch" forName="Child5" refType="w" fact="0.3196"/>
              <dgm:constr type="h" for="ch" forName="Child5" refType="h" fact="0.1232"/>
            </dgm:constrLst>
          </dgm:if>
          <dgm:if name="Name18"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
              <dgm:constr type="t" for="ch" forName="Accent1" refType="h" fact="0"/>
              <dgm:constr type="w" for="ch" forName="Accent1" refType="w" fact="0.5331"/>
              <dgm:constr type="h" for="ch" forName="Accent1" refType="h" fact="0.2629"/>
              <dgm:constr type="l" for="ch" forName="Accent2" refType="w" fact="0.1481"/>
              <dgm:constr type="t" for="ch" forName="Accent2" refType="h" fact="0.1511"/>
              <dgm:constr type="w" for="ch" forName="Accent2" refType="w" fact="0.5331"/>
              <dgm:constr type="h" for="ch" forName="Accent2" refType="h" fact="0.2629"/>
              <dgm:constr type="l" for="ch" forName="Accent3" refType="w" fact="0"/>
              <dgm:constr type="t" for="ch" forName="Accent3" refType="h" fact="0.3027"/>
              <dgm:constr type="w" for="ch" forName="Accent3" refType="w" fact="0.5331"/>
              <dgm:constr type="h" for="ch" forName="Accent3" refType="h" fact="0.2629"/>
              <dgm:constr type="l" for="ch" forName="Accent4" refType="w" fact="0.1481"/>
              <dgm:constr type="t" for="ch" forName="Accent4" refType="h" fact="0.4541"/>
              <dgm:constr type="w" for="ch" forName="Accent4" refType="w" fact="0.5331"/>
              <dgm:constr type="h" for="ch" forName="Accent4" refType="h" fact="0.2629"/>
              <dgm:constr type="l" for="ch" forName="Accent5" refType="w" fact="0"/>
              <dgm:constr type="t" for="ch" forName="Accent5" refType="h" fact="0.6053"/>
              <dgm:constr type="w" for="ch" forName="Accent5" refType="w" fact="0.5331"/>
              <dgm:constr type="h" for="ch" forName="Accent5" refType="h" fact="0.2629"/>
              <dgm:constr type="l" for="ch" forName="Accent6" refType="w" fact="0.186"/>
              <dgm:constr type="t" for="ch" forName="Accent6" refType="h" fact="0.774"/>
              <dgm:constr type="w" for="ch" forName="Accent6" refType="w" fact="0.458"/>
              <dgm:constr type="h" for="ch" forName="Accent6" refType="h" fact="0.226"/>
              <dgm:constr type="l" for="ch" forName="Parent1" refType="w" fact="0.1171"/>
              <dgm:constr type="t" for="ch" forName="Parent1" refType="h" fact="0.0952"/>
              <dgm:constr type="w" for="ch" forName="Parent1" refType="w" fact="0.2975"/>
              <dgm:constr type="h" for="ch" forName="Parent1" refType="h" fact="0.0733"/>
              <dgm:constr type="l" for="ch" forName="Parent2" refType="w" fact="0.2658"/>
              <dgm:constr type="t" for="ch" forName="Parent2" refType="h" fact="0.2466"/>
              <dgm:constr type="w" for="ch" forName="Parent2" refType="w" fact="0.2975"/>
              <dgm:constr type="h" for="ch" forName="Parent2" refType="h" fact="0.0733"/>
              <dgm:constr type="l" for="ch" forName="Parent3" refType="w" fact="0.1171"/>
              <dgm:constr type="t" for="ch" forName="Parent3" refType="h" fact="0.3979"/>
              <dgm:constr type="w" for="ch" forName="Parent3" refType="w" fact="0.2975"/>
              <dgm:constr type="h" for="ch" forName="Parent3" refType="h" fact="0.0733"/>
              <dgm:constr type="l" for="ch" forName="Parent4" refType="w" fact="0.2658"/>
              <dgm:constr type="t" for="ch" forName="Parent4" refType="h" fact="0.5493"/>
              <dgm:constr type="w" for="ch" forName="Parent4" refType="w" fact="0.2975"/>
              <dgm:constr type="h" for="ch" forName="Parent4" refType="h" fact="0.0733"/>
              <dgm:constr type="l" for="ch" forName="Parent5" refType="w" fact="0.1171"/>
              <dgm:constr type="t" for="ch" forName="Parent5" refType="h" fact="0.7005"/>
              <dgm:constr type="w" for="ch" forName="Parent5" refType="w" fact="0.2975"/>
              <dgm:constr type="h" for="ch" forName="Parent5" refType="h" fact="0.0733"/>
              <dgm:constr type="l" for="ch" forName="Parent6" refType="w" fact="0.2658"/>
              <dgm:constr type="t" for="ch" forName="Parent6" refType="h" fact="0.8519"/>
              <dgm:constr type="w" for="ch" forName="Parent6" refType="w" fact="0.2975"/>
              <dgm:constr type="h" for="ch" forName="Parent6" refType="h" fact="0.0733"/>
              <dgm:constr type="l" for="ch" forName="Child1" refType="w" fact="0.5348"/>
              <dgm:constr type="t" for="ch" forName="Child1" refType="h" fact="0.078"/>
              <dgm:constr type="w" for="ch" forName="Child1" refType="w" fact="0.3196"/>
              <dgm:constr type="h" for="ch" forName="Child1" refType="h" fact="0.1046"/>
              <dgm:constr type="l" for="ch" forName="Child2" refType="w" fact="0.6804"/>
              <dgm:constr type="t" for="ch" forName="Child2" refType="h" fact="0.231"/>
              <dgm:constr type="w" for="ch" forName="Child2" refType="w" fact="0.3196"/>
              <dgm:constr type="h" for="ch" forName="Child2" refType="h" fact="0.1046"/>
              <dgm:constr type="l" for="ch" forName="Child3" refType="w" fact="0.5348"/>
              <dgm:constr type="t" for="ch" forName="Child3" refType="h" fact="0.3808"/>
              <dgm:constr type="w" for="ch" forName="Child3" refType="w" fact="0.3196"/>
              <dgm:constr type="h" for="ch" forName="Child3" refType="h" fact="0.1046"/>
              <dgm:constr type="l" for="ch" forName="Child4" refType="w" fact="0.6804"/>
              <dgm:constr type="t" for="ch" forName="Child4" refType="h" fact="0.5322"/>
              <dgm:constr type="w" for="ch" forName="Child4" refType="w" fact="0.3196"/>
              <dgm:constr type="h" for="ch" forName="Child4" refType="h" fact="0.1046"/>
              <dgm:constr type="l" for="ch" forName="Child5" refType="w" fact="0.5348"/>
              <dgm:constr type="t" for="ch" forName="Child5" refType="h" fact="0.6833"/>
              <dgm:constr type="w" for="ch" forName="Child5" refType="w" fact="0.3196"/>
              <dgm:constr type="h" for="ch" forName="Child5" refType="h" fact="0.1046"/>
              <dgm:constr type="l" for="ch" forName="Child6" refType="w" fact="0.6804"/>
              <dgm:constr type="t" for="ch" forName="Child6" refType="h" fact="0.8347"/>
              <dgm:constr type="w" for="ch" forName="Child6" refType="w" fact="0.3196"/>
              <dgm:constr type="h" for="ch" forName="Child6" refType="h" fact="0.1046"/>
            </dgm:constrLst>
          </dgm:if>
          <dgm:else name="Name19">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
              <dgm:constr type="t" for="ch" forName="Accent1" refType="h" fact="0"/>
              <dgm:constr type="w" for="ch" forName="Accent1" refType="w" fact="0.5331"/>
              <dgm:constr type="h" for="ch" forName="Accent1" refType="h" fact="0.2284"/>
              <dgm:constr type="l" for="ch" forName="Accent2" refType="w" fact="0.1481"/>
              <dgm:constr type="t" for="ch" forName="Accent2" refType="h" fact="0.1312"/>
              <dgm:constr type="w" for="ch" forName="Accent2" refType="w" fact="0.5331"/>
              <dgm:constr type="h" for="ch" forName="Accent2" refType="h" fact="0.2284"/>
              <dgm:constr type="l" for="ch" forName="Accent3" refType="w" fact="0"/>
              <dgm:constr type="t" for="ch" forName="Accent3" refType="h" fact="0.263"/>
              <dgm:constr type="w" for="ch" forName="Accent3" refType="w" fact="0.5331"/>
              <dgm:constr type="h" for="ch" forName="Accent3" refType="h" fact="0.2284"/>
              <dgm:constr type="l" for="ch" forName="Accent4" refType="w" fact="0.1481"/>
              <dgm:constr type="t" for="ch" forName="Accent4" refType="h" fact="0.3945"/>
              <dgm:constr type="w" for="ch" forName="Accent4" refType="w" fact="0.5331"/>
              <dgm:constr type="h" for="ch" forName="Accent4" refType="h" fact="0.2284"/>
              <dgm:constr type="l" for="ch" forName="Accent5" refType="w" fact="0"/>
              <dgm:constr type="t" for="ch" forName="Accent5" refType="h" fact="0.5258"/>
              <dgm:constr type="w" for="ch" forName="Accent5" refType="w" fact="0.5331"/>
              <dgm:constr type="h" for="ch" forName="Accent5" refType="h" fact="0.2284"/>
              <dgm:constr type="l" for="ch" forName="Accent6" refType="w" fact="0.1481"/>
              <dgm:constr type="t" for="ch" forName="Accent6" refType="h" fact="0.6573"/>
              <dgm:constr type="w" for="ch" forName="Accent6" refType="w" fact="0.5331"/>
              <dgm:constr type="h" for="ch" forName="Accent6" refType="h" fact="0.2284"/>
              <dgm:constr type="l" for="ch" forName="Accent7" refType="w" fact="0.0378"/>
              <dgm:constr type="t" for="ch" forName="Accent7" refType="h" fact="0.8037"/>
              <dgm:constr type="w" for="ch" forName="Accent7" refType="w" fact="0.458"/>
              <dgm:constr type="h" for="ch" forName="Accent7" refType="h" fact="0.1963"/>
              <dgm:constr type="l" for="ch" forName="Parent1" refType="w" fact="0.1171"/>
              <dgm:constr type="t" for="ch" forName="Parent1" refType="h" fact="0.0827"/>
              <dgm:constr type="w" for="ch" forName="Parent1" refType="w" fact="0.2975"/>
              <dgm:constr type="h" for="ch" forName="Parent1" refType="h" fact="0.0637"/>
              <dgm:constr type="l" for="ch" forName="Parent2" refType="w" fact="0.2658"/>
              <dgm:constr type="t" for="ch" forName="Parent2" refType="h" fact="0.2142"/>
              <dgm:constr type="w" for="ch" forName="Parent2" refType="w" fact="0.2975"/>
              <dgm:constr type="h" for="ch" forName="Parent2" refType="h" fact="0.0637"/>
              <dgm:constr type="l" for="ch" forName="Parent3" refType="w" fact="0.1171"/>
              <dgm:constr type="t" for="ch" forName="Parent3" refType="h" fact="0.3457"/>
              <dgm:constr type="w" for="ch" forName="Parent3" refType="w" fact="0.2975"/>
              <dgm:constr type="h" for="ch" forName="Parent3" refType="h" fact="0.0637"/>
              <dgm:constr type="l" for="ch" forName="Parent4" refType="w" fact="0.2658"/>
              <dgm:constr type="t" for="ch" forName="Parent4" refType="h" fact="0.4772"/>
              <dgm:constr type="w" for="ch" forName="Parent4" refType="w" fact="0.2975"/>
              <dgm:constr type="h" for="ch" forName="Parent4" refType="h" fact="0.0637"/>
              <dgm:constr type="l" for="ch" forName="Parent5" refType="w" fact="0.1171"/>
              <dgm:constr type="t" for="ch" forName="Parent5" refType="h" fact="0.6085"/>
              <dgm:constr type="w" for="ch" forName="Parent5" refType="w" fact="0.2975"/>
              <dgm:constr type="h" for="ch" forName="Parent5" refType="h" fact="0.0637"/>
              <dgm:constr type="l" for="ch" forName="Parent6" refType="w" fact="0.2658"/>
              <dgm:constr type="t" for="ch" forName="Parent6" refType="h" fact="0.74"/>
              <dgm:constr type="w" for="ch" forName="Parent6" refType="w" fact="0.2975"/>
              <dgm:constr type="h" for="ch" forName="Parent6" refType="h" fact="0.0637"/>
              <dgm:constr type="l" for="ch" forName="Parent7" refType="w" fact="0.1171"/>
              <dgm:constr type="t" for="ch" forName="Parent7" refType="h" fact="0.8715"/>
              <dgm:constr type="w" for="ch" forName="Parent7" refType="w" fact="0.2975"/>
              <dgm:constr type="h" for="ch" forName="Parent7" refType="h" fact="0.0637"/>
              <dgm:constr type="l" for="ch" forName="Child1" refType="w" fact="0.5348"/>
              <dgm:constr type="t" for="ch" forName="Child1" refType="h" fact="0.0678"/>
              <dgm:constr type="w" for="ch" forName="Child1" refType="w" fact="0.3196"/>
              <dgm:constr type="h" for="ch" forName="Child1" refType="h" fact="0.0908"/>
              <dgm:constr type="l" for="ch" forName="Child2" refType="w" fact="0.6804"/>
              <dgm:constr type="t" for="ch" forName="Child2" refType="h" fact="0.2006"/>
              <dgm:constr type="w" for="ch" forName="Child2" refType="w" fact="0.3196"/>
              <dgm:constr type="h" for="ch" forName="Child2" refType="h" fact="0.0908"/>
              <dgm:constr type="l" for="ch" forName="Child3" refType="w" fact="0.5348"/>
              <dgm:constr type="t" for="ch" forName="Child3" refType="h" fact="0.3308"/>
              <dgm:constr type="w" for="ch" forName="Child3" refType="w" fact="0.3196"/>
              <dgm:constr type="h" for="ch" forName="Child3" refType="h" fact="0.0908"/>
              <dgm:constr type="l" for="ch" forName="Child4" refType="w" fact="0.6804"/>
              <dgm:constr type="t" for="ch" forName="Child4" refType="h" fact="0.4623"/>
              <dgm:constr type="w" for="ch" forName="Child4" refType="w" fact="0.3196"/>
              <dgm:constr type="h" for="ch" forName="Child4" refType="h" fact="0.0908"/>
              <dgm:constr type="l" for="ch" forName="Child5" refType="w" fact="0.5348"/>
              <dgm:constr type="t" for="ch" forName="Child5" refType="h" fact="0.5936"/>
              <dgm:constr type="w" for="ch" forName="Child5" refType="w" fact="0.3196"/>
              <dgm:constr type="h" for="ch" forName="Child5" refType="h" fact="0.0908"/>
              <dgm:constr type="l" for="ch" forName="Child6" refType="w" fact="0.6804"/>
              <dgm:constr type="t" for="ch" forName="Child6" refType="h" fact="0.7251"/>
              <dgm:constr type="w" for="ch" forName="Child6" refType="w" fact="0.3196"/>
              <dgm:constr type="h" for="ch" forName="Child6" refType="h" fact="0.0908"/>
              <dgm:constr type="l" for="ch" forName="Child7" refType="w" fact="0.5348"/>
              <dgm:constr type="t" for="ch" forName="Child7" refType="h" fact="0.8579"/>
              <dgm:constr type="w" for="ch" forName="Child7" refType="w" fact="0.3196"/>
              <dgm:constr type="h" for="ch" forName="Child7" refType="h" fact="0.0908"/>
            </dgm:constrLst>
          </dgm:else>
        </dgm:choose>
      </dgm:else>
    </dgm:choose>
    <dgm:forEach name="wrapper" axis="self" ptType="parTrans">
      <dgm:forEach name="accentRepeat" axis="self">
        <dgm:layoutNode name="Accent" styleLbl="node1">
          <dgm:alg type="sp"/>
          <dgm:choose name="Name20">
            <dgm:if name="Name21" func="var" arg="dir" op="equ" val="norm">
              <dgm:choose name="Name22">
                <dgm:if name="Name23" axis="precedSib" ptType="node" func="cnt" op="equ" val="0">
                  <dgm:choose name="Name24">
                    <dgm:if name="Name25" axis="followSib" ptType="node" func="cnt" op="equ" val="0">
                      <dgm:shape xmlns:r="http://schemas.openxmlformats.org/officeDocument/2006/relationships" type="circularArrow" r:blip="">
                        <dgm:adjLst>
                          <dgm:adj idx="1" val="0.1098"/>
                          <dgm:adj idx="2" val="19.0387"/>
                          <dgm:adj idx="3" val="150"/>
                          <dgm:adj idx="4" val="180"/>
                          <dgm:adj idx="5" val="0.125"/>
                        </dgm:adjLst>
                      </dgm:shape>
                    </dgm:if>
                    <dgm:else name="Name26">
                      <dgm:shape xmlns:r="http://schemas.openxmlformats.org/officeDocument/2006/relationships" type="circularArrow" r:blip="">
                        <dgm:adjLst>
                          <dgm:adj idx="1" val="0.1098"/>
                          <dgm:adj idx="2" val="19.0387"/>
                          <dgm:adj idx="3" val="75"/>
                          <dgm:adj idx="4" val="180"/>
                          <dgm:adj idx="5" val="0.125"/>
                        </dgm:adjLst>
                      </dgm:shape>
                    </dgm:else>
                  </dgm:choose>
                </dgm:if>
                <dgm:else name="Name27">
                  <dgm:choose name="Name28">
                    <dgm:if name="Name29" axis="followSib" ptType="node" func="cnt" op="equ" val="0">
                      <dgm:choose name="Name30">
                        <dgm:if name="Name31" axis="precedSib" ptType="node" func="cnt" op="equ" val="1">
                          <dgm:shape xmlns:r="http://schemas.openxmlformats.org/officeDocument/2006/relationships" type="blockArc" r:blip="">
                            <dgm:adjLst>
                              <dgm:adj idx="1" val="0"/>
                              <dgm:adj idx="2" val="-45"/>
                              <dgm:adj idx="3" val="0.1274"/>
                            </dgm:adjLst>
                          </dgm:shape>
                        </dgm:if>
                        <dgm:if name="Name32" axis="precedSib" ptType="node" func="cnt" op="equ" val="2">
                          <dgm:shape xmlns:r="http://schemas.openxmlformats.org/officeDocument/2006/relationships" type="blockArc" r:blip="">
                            <dgm:adjLst>
                              <dgm:adj idx="1" val="-135"/>
                              <dgm:adj idx="2" val="180"/>
                              <dgm:adj idx="3" val="0.1274"/>
                            </dgm:adjLst>
                          </dgm:shape>
                        </dgm:if>
                        <dgm:if name="Name33" axis="precedSib" ptType="node" func="cnt" op="equ" val="3">
                          <dgm:shape xmlns:r="http://schemas.openxmlformats.org/officeDocument/2006/relationships" type="blockArc" r:blip="">
                            <dgm:adjLst>
                              <dgm:adj idx="1" val="0"/>
                              <dgm:adj idx="2" val="-45"/>
                              <dgm:adj idx="3" val="0.1274"/>
                            </dgm:adjLst>
                          </dgm:shape>
                        </dgm:if>
                        <dgm:if name="Name34" axis="precedSib" ptType="node" func="cnt" op="equ" val="4">
                          <dgm:shape xmlns:r="http://schemas.openxmlformats.org/officeDocument/2006/relationships" type="blockArc" r:blip="">
                            <dgm:adjLst>
                              <dgm:adj idx="1" val="-135"/>
                              <dgm:adj idx="2" val="180"/>
                              <dgm:adj idx="3" val="0.1274"/>
                            </dgm:adjLst>
                          </dgm:shape>
                        </dgm:if>
                        <dgm:if name="Name35" axis="precedSib" ptType="node" func="cnt" op="equ" val="5">
                          <dgm:shape xmlns:r="http://schemas.openxmlformats.org/officeDocument/2006/relationships" type="blockArc" r:blip="">
                            <dgm:adjLst>
                              <dgm:adj idx="1" val="0"/>
                              <dgm:adj idx="2" val="-45"/>
                              <dgm:adj idx="3" val="0.1274"/>
                            </dgm:adjLst>
                          </dgm:shape>
                        </dgm:if>
                        <dgm:if name="Name36" axis="precedSib" ptType="node" func="cnt" op="equ" val="6">
                          <dgm:shape xmlns:r="http://schemas.openxmlformats.org/officeDocument/2006/relationships" type="blockArc" r:blip="">
                            <dgm:adjLst>
                              <dgm:adj idx="1" val="-135"/>
                              <dgm:adj idx="2" val="180"/>
                              <dgm:adj idx="3" val="0.1274"/>
                            </dgm:adjLst>
                          </dgm:shape>
                        </dgm:if>
                        <dgm:else name="Name37"/>
                      </dgm:choose>
                    </dgm:if>
                    <dgm:else name="Name38">
                      <dgm:choose name="Name39">
                        <dgm:if name="Name40" axis="precedSib" ptType="node" func="cnt" op="equ" val="0">
                          <dgm:shape xmlns:r="http://schemas.openxmlformats.org/officeDocument/2006/relationships" type="blockArc" r:blip="">
                            <dgm:adjLst>
                              <dgm:adj idx="1" val="-133.1632"/>
                              <dgm:adj idx="2" val="65"/>
                              <dgm:adj idx="3" val="0.13"/>
                            </dgm:adjLst>
                          </dgm:shape>
                        </dgm:if>
                        <dgm:if name="Name41" axis="precedSib" ptType="node" func="cnt" op="equ" val="1">
                          <dgm:shape xmlns:r="http://schemas.openxmlformats.org/officeDocument/2006/relationships" type="leftCircularArrow" r:blip="">
                            <dgm:adjLst>
                              <dgm:adj idx="1" val="0.1098"/>
                              <dgm:adj idx="2" val="19.0387"/>
                              <dgm:adj idx="3" val="105"/>
                              <dgm:adj idx="4" val="-45"/>
                              <dgm:adj idx="5" val="0.125"/>
                            </dgm:adjLst>
                          </dgm:shape>
                        </dgm:if>
                        <dgm:if name="Name42" axis="precedSib" ptType="node" func="cnt" op="equ" val="2">
                          <dgm:shape xmlns:r="http://schemas.openxmlformats.org/officeDocument/2006/relationships" type="circularArrow" r:blip="">
                            <dgm:adjLst>
                              <dgm:adj idx="1" val="0.1098"/>
                              <dgm:adj idx="2" val="19.0387"/>
                              <dgm:adj idx="3" val="75"/>
                              <dgm:adj idx="4" val="-135"/>
                              <dgm:adj idx="5" val="0.125"/>
                            </dgm:adjLst>
                          </dgm:shape>
                        </dgm:if>
                        <dgm:if name="Name43" axis="precedSib" ptType="node" func="cnt" op="equ" val="3">
                          <dgm:shape xmlns:r="http://schemas.openxmlformats.org/officeDocument/2006/relationships" type="leftCircularArrow" r:blip="">
                            <dgm:adjLst>
                              <dgm:adj idx="1" val="0.1098"/>
                              <dgm:adj idx="2" val="19.0387"/>
                              <dgm:adj idx="3" val="105"/>
                              <dgm:adj idx="4" val="-45"/>
                              <dgm:adj idx="5" val="0.125"/>
                            </dgm:adjLst>
                          </dgm:shape>
                        </dgm:if>
                        <dgm:if name="Name44" axis="precedSib" ptType="node" func="cnt" op="equ" val="4">
                          <dgm:shape xmlns:r="http://schemas.openxmlformats.org/officeDocument/2006/relationships" type="circularArrow" r:blip="">
                            <dgm:adjLst>
                              <dgm:adj idx="1" val="0.1098"/>
                              <dgm:adj idx="2" val="19.0387"/>
                              <dgm:adj idx="3" val="75"/>
                              <dgm:adj idx="4" val="-135"/>
                              <dgm:adj idx="5" val="0.125"/>
                            </dgm:adjLst>
                          </dgm:shape>
                        </dgm:if>
                        <dgm:if name="Name45" axis="precedSib" ptType="node" func="cnt" op="equ" val="5">
                          <dgm:shape xmlns:r="http://schemas.openxmlformats.org/officeDocument/2006/relationships" type="leftCircularArrow" r:blip="">
                            <dgm:adjLst>
                              <dgm:adj idx="1" val="0.1098"/>
                              <dgm:adj idx="2" val="19.0387"/>
                              <dgm:adj idx="3" val="105"/>
                              <dgm:adj idx="4" val="-45"/>
                              <dgm:adj idx="5" val="0.125"/>
                            </dgm:adjLst>
                          </dgm:shape>
                        </dgm:if>
                        <dgm:if name="Name46" axis="precedSib" ptType="node" func="cnt" op="equ" val="6">
                          <dgm:shape xmlns:r="http://schemas.openxmlformats.org/officeDocument/2006/relationships" type="blockArc" r:blip="">
                            <dgm:adjLst>
                              <dgm:adj idx="1" val="-135"/>
                              <dgm:adj idx="2" val="180"/>
                              <dgm:adj idx="3" val="0.1274"/>
                            </dgm:adjLst>
                          </dgm:shape>
                        </dgm:if>
                        <dgm:else name="Name47"/>
                      </dgm:choose>
                    </dgm:else>
                  </dgm:choose>
                </dgm:else>
              </dgm:choose>
            </dgm:if>
            <dgm:else name="Name48">
              <dgm:choose name="Name49">
                <dgm:if name="Name50" axis="precedSib" ptType="node" func="cnt" op="equ" val="0">
                  <dgm:choose name="Name51">
                    <dgm:if name="Name52" axis="followSib" ptType="node" func="cnt" op="equ" val="0">
                      <dgm:shape xmlns:r="http://schemas.openxmlformats.org/officeDocument/2006/relationships" type="leftCircularArrow" r:blip="">
                        <dgm:adjLst>
                          <dgm:adj idx="1" val="0.1098"/>
                          <dgm:adj idx="2" val="19.0387"/>
                          <dgm:adj idx="3" val="30"/>
                          <dgm:adj idx="4" val="0"/>
                          <dgm:adj idx="5" val="0.125"/>
                        </dgm:adjLst>
                      </dgm:shape>
                    </dgm:if>
                    <dgm:else name="Name53">
                      <dgm:shape xmlns:r="http://schemas.openxmlformats.org/officeDocument/2006/relationships" type="leftCircularArrow" r:blip="">
                        <dgm:adjLst>
                          <dgm:adj idx="1" val="0.1098"/>
                          <dgm:adj idx="2" val="19.0387"/>
                          <dgm:adj idx="3" val="105"/>
                          <dgm:adj idx="4" val="0"/>
                          <dgm:adj idx="5" val="0.125"/>
                        </dgm:adjLst>
                      </dgm:shape>
                    </dgm:else>
                  </dgm:choose>
                </dgm:if>
                <dgm:else name="Name54">
                  <dgm:choose name="Name55">
                    <dgm:if name="Name56" axis="followSib" ptType="node" func="cnt" op="equ" val="0">
                      <dgm:choose name="Name57">
                        <dgm:if name="Name58" axis="precedSib" ptType="node" func="cnt" op="equ" val="1">
                          <dgm:shape xmlns:r="http://schemas.openxmlformats.org/officeDocument/2006/relationships" type="blockArc" r:blip="">
                            <dgm:adjLst>
                              <dgm:adj idx="1" val="-135"/>
                              <dgm:adj idx="2" val="180"/>
                              <dgm:adj idx="3" val="0.1274"/>
                            </dgm:adjLst>
                          </dgm:shape>
                        </dgm:if>
                        <dgm:if name="Name59" axis="precedSib" ptType="node" func="cnt" op="equ" val="2">
                          <dgm:shape xmlns:r="http://schemas.openxmlformats.org/officeDocument/2006/relationships" type="blockArc" r:blip="">
                            <dgm:adjLst>
                              <dgm:adj idx="1" val="0"/>
                              <dgm:adj idx="2" val="-45"/>
                              <dgm:adj idx="3" val="0.1274"/>
                            </dgm:adjLst>
                          </dgm:shape>
                        </dgm:if>
                        <dgm:if name="Name60" axis="precedSib" ptType="node" func="cnt" op="equ" val="3">
                          <dgm:shape xmlns:r="http://schemas.openxmlformats.org/officeDocument/2006/relationships" type="blockArc" r:blip="">
                            <dgm:adjLst>
                              <dgm:adj idx="1" val="-135"/>
                              <dgm:adj idx="2" val="180"/>
                              <dgm:adj idx="3" val="0.1274"/>
                            </dgm:adjLst>
                          </dgm:shape>
                        </dgm:if>
                        <dgm:if name="Name61" axis="precedSib" ptType="node" func="cnt" op="equ" val="4">
                          <dgm:shape xmlns:r="http://schemas.openxmlformats.org/officeDocument/2006/relationships" type="blockArc" r:blip="">
                            <dgm:adjLst>
                              <dgm:adj idx="1" val="0"/>
                              <dgm:adj idx="2" val="-45"/>
                              <dgm:adj idx="3" val="0.1274"/>
                            </dgm:adjLst>
                          </dgm:shape>
                        </dgm:if>
                        <dgm:if name="Name62" axis="precedSib" ptType="node" func="cnt" op="equ" val="5">
                          <dgm:shape xmlns:r="http://schemas.openxmlformats.org/officeDocument/2006/relationships" type="blockArc" r:blip="">
                            <dgm:adjLst>
                              <dgm:adj idx="1" val="-135"/>
                              <dgm:adj idx="2" val="180"/>
                              <dgm:adj idx="3" val="0.1274"/>
                            </dgm:adjLst>
                          </dgm:shape>
                        </dgm:if>
                        <dgm:if name="Name63" axis="precedSib" ptType="node" func="cnt" op="equ" val="6">
                          <dgm:shape xmlns:r="http://schemas.openxmlformats.org/officeDocument/2006/relationships" type="blockArc" r:blip="">
                            <dgm:adjLst>
                              <dgm:adj idx="1" val="0"/>
                              <dgm:adj idx="2" val="-45"/>
                              <dgm:adj idx="3" val="0.1274"/>
                            </dgm:adjLst>
                          </dgm:shape>
                        </dgm:if>
                        <dgm:else name="Name64"/>
                      </dgm:choose>
                    </dgm:if>
                    <dgm:else name="Name65">
                      <dgm:choose name="Name66">
                        <dgm:if name="Name67" axis="precedSib" ptType="node" func="cnt" op="equ" val="0">
                          <dgm:shape xmlns:r="http://schemas.openxmlformats.org/officeDocument/2006/relationships" type="blockArc" r:blip="">
                            <dgm:adjLst>
                              <dgm:adj idx="1" val="-133.1632"/>
                              <dgm:adj idx="2" val="65"/>
                              <dgm:adj idx="3" val="0.13"/>
                            </dgm:adjLst>
                          </dgm:shape>
                        </dgm:if>
                        <dgm:if name="Name68" axis="precedSib" ptType="node" func="cnt" op="equ" val="1">
                          <dgm:shape xmlns:r="http://schemas.openxmlformats.org/officeDocument/2006/relationships" type="circularArrow" r:blip="">
                            <dgm:adjLst>
                              <dgm:adj idx="1" val="0.1098"/>
                              <dgm:adj idx="2" val="19.0387"/>
                              <dgm:adj idx="3" val="75"/>
                              <dgm:adj idx="4" val="-135"/>
                              <dgm:adj idx="5" val="0.125"/>
                            </dgm:adjLst>
                          </dgm:shape>
                        </dgm:if>
                        <dgm:if name="Name69" axis="precedSib" ptType="node" func="cnt" op="equ" val="2">
                          <dgm:shape xmlns:r="http://schemas.openxmlformats.org/officeDocument/2006/relationships" type="leftCircularArrow" r:blip="">
                            <dgm:adjLst>
                              <dgm:adj idx="1" val="0.1098"/>
                              <dgm:adj idx="2" val="19.0387"/>
                              <dgm:adj idx="3" val="105"/>
                              <dgm:adj idx="4" val="-45"/>
                              <dgm:adj idx="5" val="0.125"/>
                            </dgm:adjLst>
                          </dgm:shape>
                        </dgm:if>
                        <dgm:if name="Name70" axis="precedSib" ptType="node" func="cnt" op="equ" val="3">
                          <dgm:shape xmlns:r="http://schemas.openxmlformats.org/officeDocument/2006/relationships" type="circularArrow" r:blip="">
                            <dgm:adjLst>
                              <dgm:adj idx="1" val="0.1098"/>
                              <dgm:adj idx="2" val="19.0387"/>
                              <dgm:adj idx="3" val="75"/>
                              <dgm:adj idx="4" val="-135"/>
                              <dgm:adj idx="5" val="0.125"/>
                            </dgm:adjLst>
                          </dgm:shape>
                        </dgm:if>
                        <dgm:if name="Name71" axis="precedSib" ptType="node" func="cnt" op="equ" val="4">
                          <dgm:shape xmlns:r="http://schemas.openxmlformats.org/officeDocument/2006/relationships" type="leftCircularArrow" r:blip="">
                            <dgm:adjLst>
                              <dgm:adj idx="1" val="0.1098"/>
                              <dgm:adj idx="2" val="19.0387"/>
                              <dgm:adj idx="3" val="105"/>
                              <dgm:adj idx="4" val="-45"/>
                              <dgm:adj idx="5" val="0.125"/>
                            </dgm:adjLst>
                          </dgm:shape>
                        </dgm:if>
                        <dgm:if name="Name72" axis="precedSib" ptType="node" func="cnt" op="equ" val="5">
                          <dgm:shape xmlns:r="http://schemas.openxmlformats.org/officeDocument/2006/relationships" type="circularArrow" r:blip="">
                            <dgm:adjLst>
                              <dgm:adj idx="1" val="0.1098"/>
                              <dgm:adj idx="2" val="19.0387"/>
                              <dgm:adj idx="3" val="75"/>
                              <dgm:adj idx="4" val="-135"/>
                              <dgm:adj idx="5" val="0.125"/>
                            </dgm:adjLst>
                          </dgm:shape>
                        </dgm:if>
                        <dgm:if name="Name73" axis="precedSib" ptType="node" func="cnt" op="equ" val="6">
                          <dgm:shape xmlns:r="http://schemas.openxmlformats.org/officeDocument/2006/relationships" type="blockArc" r:blip="">
                            <dgm:adjLst>
                              <dgm:adj idx="1" val="0"/>
                              <dgm:adj idx="2" val="-45"/>
                              <dgm:adj idx="3" val="0.1274"/>
                            </dgm:adjLst>
                          </dgm:shape>
                        </dgm:if>
                        <dgm:else name="Name74"/>
                      </dgm:choose>
                    </dgm:else>
                  </dgm:choose>
                </dgm:else>
              </dgm:choose>
            </dgm:else>
          </dgm:choose>
          <dgm:presOf/>
        </dgm:layoutNode>
      </dgm:forEach>
    </dgm:forEach>
    <dgm:forEach name="Name75" axis="ch" ptType="node" cnt="1">
      <dgm:layoutNode name="Accent1">
        <dgm:alg type="sp"/>
        <dgm:shape xmlns:r="http://schemas.openxmlformats.org/officeDocument/2006/relationships" r:blip="">
          <dgm:adjLst/>
        </dgm:shape>
        <dgm:presOf/>
        <dgm:constrLst/>
        <dgm:forEach name="Name76" ref="accentRepeat"/>
      </dgm:layoutNode>
      <dgm:choose name="Name77">
        <dgm:if name="Name78" axis="ch" ptType="node" func="cnt" op="gte" val="1">
          <dgm:layoutNode name="Child1"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79"/>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0" axis="ch" ptType="node" st="2" cnt="1">
      <dgm:layoutNode name="Accent2">
        <dgm:alg type="sp"/>
        <dgm:shape xmlns:r="http://schemas.openxmlformats.org/officeDocument/2006/relationships" r:blip="">
          <dgm:adjLst/>
        </dgm:shape>
        <dgm:presOf/>
        <dgm:constrLst/>
        <dgm:forEach name="Name81" ref="accentRepeat"/>
      </dgm:layoutNode>
      <dgm:choose name="Name82">
        <dgm:if name="Name83" axis="ch" ptType="node" func="cnt" op="gte" val="1">
          <dgm:layoutNode name="Child2"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4"/>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choose name="Name87">
        <dgm:if name="Name88" axis="ch" ptType="node" func="cnt" op="gte" val="1">
          <dgm:layoutNode name="Child3"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9"/>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0" axis="ch" ptType="node" st="4" cnt="1">
      <dgm:layoutNode name="Accent4">
        <dgm:alg type="sp"/>
        <dgm:shape xmlns:r="http://schemas.openxmlformats.org/officeDocument/2006/relationships" r:blip="">
          <dgm:adjLst/>
        </dgm:shape>
        <dgm:presOf/>
        <dgm:constrLst/>
        <dgm:forEach name="Name91" ref="accentRepeat"/>
      </dgm:layoutNode>
      <dgm:choose name="Name92">
        <dgm:if name="Name93" axis="ch" ptType="node" func="cnt" op="gte" val="1">
          <dgm:layoutNode name="Child4"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5" axis="ch" ptType="node" st="5" cnt="1">
      <dgm:layoutNode name="Accent5">
        <dgm:alg type="sp"/>
        <dgm:shape xmlns:r="http://schemas.openxmlformats.org/officeDocument/2006/relationships" r:blip="">
          <dgm:adjLst/>
        </dgm:shape>
        <dgm:presOf/>
        <dgm:constrLst/>
        <dgm:forEach name="Name96" ref="accentRepeat"/>
      </dgm:layoutNode>
      <dgm:choose name="Name97">
        <dgm:if name="Name98" axis="ch" ptType="node" func="cnt" op="gte" val="1">
          <dgm:layoutNode name="Child5"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9"/>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0" axis="ch" ptType="node" st="6" cnt="1">
      <dgm:layoutNode name="Accent6">
        <dgm:alg type="sp"/>
        <dgm:shape xmlns:r="http://schemas.openxmlformats.org/officeDocument/2006/relationships" r:blip="">
          <dgm:adjLst/>
        </dgm:shape>
        <dgm:presOf/>
        <dgm:constrLst/>
        <dgm:forEach name="Name101" ref="accentRepeat"/>
      </dgm:layoutNode>
      <dgm:choose name="Name102">
        <dgm:if name="Name103" axis="ch" ptType="node" func="cnt" op="gte" val="1">
          <dgm:layoutNode name="Child6"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4"/>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5" axis="ch" ptType="node" st="7" cnt="1">
      <dgm:layoutNode name="Accent7">
        <dgm:alg type="sp"/>
        <dgm:shape xmlns:r="http://schemas.openxmlformats.org/officeDocument/2006/relationships" r:blip="">
          <dgm:adjLst/>
        </dgm:shape>
        <dgm:presOf/>
        <dgm:constrLst/>
        <dgm:forEach name="Name106" ref="accentRepeat"/>
      </dgm:layoutNode>
      <dgm:choose name="Name107">
        <dgm:if name="Name108" axis="ch" ptType="node" func="cnt" op="gte" val="1">
          <dgm:layoutNode name="Child7"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9"/>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layoutNode>
</dgm:layoutDef>
</file>

<file path=ppt/diagrams/layout8.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solidFill>
                  <a:schemeClr val="tx1">
                    <a:alpha val="99000"/>
                  </a:schemeClr>
                </a:solidFill>
                <a:latin typeface="Segoe UI" pitchFamily="34" charset="0"/>
              </a:rPr>
              <a:t>TechEd 2012</a:t>
            </a:r>
            <a:endParaRPr lang="en-US" dirty="0">
              <a:solidFill>
                <a:schemeClr val="tx1">
                  <a:alpha val="99000"/>
                </a:schemeClr>
              </a:solidFill>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solidFill>
                  <a:schemeClr val="tx1">
                    <a:alpha val="99000"/>
                  </a:schemeClr>
                </a:solidFill>
                <a:latin typeface="Segoe UI" pitchFamily="34" charset="0"/>
              </a:rPr>
              <a:pPr/>
              <a:t>9/19/2012</a:t>
            </a:fld>
            <a:endParaRPr lang="en-US" dirty="0">
              <a:solidFill>
                <a:schemeClr val="tx1">
                  <a:alpha val="99000"/>
                </a:schemeClr>
              </a:solidFill>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chemeClr val="tx1">
                    <a:alpha val="99000"/>
                  </a:schemeClr>
                </a:solidFill>
                <a:latin typeface="Segoe UI" pitchFamily="34" charset="0"/>
              </a:rPr>
              <a:t>© 2012 Microsoft Corporation. All rights reserved. Microsoft, Windows, Windows Vista and other product names are or may be registered trademarks and/or trademarks in the U.S. and/or other countries.</a:t>
            </a:r>
          </a:p>
          <a:p>
            <a:r>
              <a:rPr lang="en-US" sz="500" dirty="0" smtClean="0">
                <a:solidFill>
                  <a:schemeClr val="tx1">
                    <a:alpha val="99000"/>
                  </a:schemeClr>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chemeClr val="tx1">
                    <a:alpha val="99000"/>
                  </a:schemeClr>
                </a:solidFill>
                <a:latin typeface="Segoe UI" pitchFamily="34" charset="0"/>
              </a:rPr>
            </a:br>
            <a:r>
              <a:rPr lang="en-US" sz="500" dirty="0" smtClean="0">
                <a:solidFill>
                  <a:schemeClr val="tx1">
                    <a:alpha val="99000"/>
                  </a:schemeClr>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solidFill>
                  <a:schemeClr val="tx1">
                    <a:alpha val="99000"/>
                  </a:schemeClr>
                </a:solidFill>
                <a:latin typeface="Segoe UI" pitchFamily="34" charset="0"/>
              </a:rPr>
              <a:pPr/>
              <a:t>‹#›</a:t>
            </a:fld>
            <a:endParaRPr lang="en-US" dirty="0">
              <a:solidFill>
                <a:schemeClr val="tx1">
                  <a:alpha val="99000"/>
                </a:schemeClr>
              </a:solidFill>
              <a:latin typeface="Segoe UI" pitchFamily="34" charset="0"/>
            </a:endParaRPr>
          </a:p>
        </p:txBody>
      </p:sp>
    </p:spTree>
    <p:extLst>
      <p:ext uri="{BB962C8B-B14F-4D97-AF65-F5344CB8AC3E}">
        <p14:creationId xmlns:p14="http://schemas.microsoft.com/office/powerpoint/2010/main" val="12079664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solidFill>
                  <a:schemeClr val="tx1">
                    <a:alpha val="99000"/>
                  </a:schemeClr>
                </a:solidFill>
                <a:latin typeface="Segoe UI" pitchFamily="34" charset="0"/>
              </a:defRPr>
            </a:lvl1pPr>
          </a:lstStyle>
          <a:p>
            <a:r>
              <a:rPr lang="en-US" dirty="0" smtClean="0"/>
              <a:t>TechEd 2012</a:t>
            </a:r>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solidFill>
                  <a:schemeClr val="tx1">
                    <a:alpha val="99000"/>
                  </a:schemeClr>
                </a:solidFill>
                <a:latin typeface="Segoe UI" pitchFamily="34" charset="0"/>
              </a:defRPr>
            </a:lvl1pPr>
          </a:lstStyle>
          <a:p>
            <a:fld id="{7C3FBCD4-166E-446F-AF18-7D4A0CF9AEF6}" type="datetimeFigureOut">
              <a:rPr lang="en-US" smtClean="0"/>
              <a:pPr/>
              <a:t>9/19/2012</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solidFill>
                  <a:schemeClr val="tx1">
                    <a:alpha val="99000"/>
                  </a:schemeClr>
                </a:solidFill>
                <a:latin typeface="Segoe" pitchFamily="34" charset="0"/>
              </a:defRPr>
            </a:lvl1pPr>
          </a:lstStyle>
          <a:p>
            <a:r>
              <a:rPr lang="en-US" dirty="0" smtClean="0">
                <a:latin typeface="Segoe UI" pitchFamily="34" charset="0"/>
              </a:rPr>
              <a:t>© 2012 Microsoft Corporation. All rights reserved. Microsoft, Windows, Windows Vista and other product names are or may be registered trademarks and/or trademarks in the U.S. and/or other countries.</a:t>
            </a:r>
          </a:p>
          <a:p>
            <a:r>
              <a:rPr lang="en-US" dirty="0" smtClean="0">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latin typeface="Segoe UI" pitchFamily="34" charset="0"/>
              </a:rPr>
            </a:br>
            <a:r>
              <a:rPr lang="en-US" dirty="0" smtClean="0">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solidFill>
                  <a:schemeClr val="tx1">
                    <a:alpha val="99000"/>
                  </a:schemeClr>
                </a:solidFill>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2252895765"/>
      </p:ext>
    </p:extLst>
  </p:cSld>
  <p:clrMap bg1="lt1" tx1="dk1" bg2="lt2" tx2="dk2" accent1="accent1" accent2="accent2" accent3="accent3" accent4="accent4" accent5="accent5" accent6="accent6" hlink="hlink" folHlink="folHlink"/>
  <p:notesStyle>
    <a:lvl1pPr marL="0" algn="l" defTabSz="685487" rtl="0" eaLnBrk="1" latinLnBrk="0" hangingPunct="1">
      <a:lnSpc>
        <a:spcPct val="90000"/>
      </a:lnSpc>
      <a:spcAft>
        <a:spcPts val="250"/>
      </a:spcAft>
      <a:defRPr sz="700" kern="1200">
        <a:solidFill>
          <a:schemeClr val="tx1">
            <a:alpha val="99000"/>
          </a:schemeClr>
        </a:solidFill>
        <a:latin typeface="Segoe UI" pitchFamily="34" charset="0"/>
        <a:ea typeface="+mn-ea"/>
        <a:cs typeface="+mn-cs"/>
      </a:defRPr>
    </a:lvl1pPr>
    <a:lvl2pPr marL="159675" indent="-79342" algn="l" defTabSz="685487" rtl="0" eaLnBrk="1" latinLnBrk="0" hangingPunct="1">
      <a:lnSpc>
        <a:spcPct val="90000"/>
      </a:lnSpc>
      <a:spcAft>
        <a:spcPts val="250"/>
      </a:spcAft>
      <a:buFont typeface="Arial" pitchFamily="34" charset="0"/>
      <a:buChar char="•"/>
      <a:defRPr sz="700" kern="1200">
        <a:solidFill>
          <a:schemeClr val="tx1">
            <a:alpha val="99000"/>
          </a:schemeClr>
        </a:solidFill>
        <a:latin typeface="Segoe UI" pitchFamily="34" charset="0"/>
        <a:ea typeface="+mn-ea"/>
        <a:cs typeface="+mn-cs"/>
      </a:defRPr>
    </a:lvl2pPr>
    <a:lvl3pPr marL="245953" indent="-86288" algn="l" defTabSz="685487" rtl="0" eaLnBrk="1" latinLnBrk="0" hangingPunct="1">
      <a:lnSpc>
        <a:spcPct val="90000"/>
      </a:lnSpc>
      <a:spcAft>
        <a:spcPts val="250"/>
      </a:spcAft>
      <a:buFont typeface="Arial" pitchFamily="34" charset="0"/>
      <a:buChar char="•"/>
      <a:defRPr sz="700" kern="1200">
        <a:solidFill>
          <a:schemeClr val="tx1">
            <a:alpha val="99000"/>
          </a:schemeClr>
        </a:solidFill>
        <a:latin typeface="Segoe UI" pitchFamily="34" charset="0"/>
        <a:ea typeface="+mn-ea"/>
        <a:cs typeface="+mn-cs"/>
      </a:defRPr>
    </a:lvl3pPr>
    <a:lvl4pPr marL="361985" indent="-110083" algn="l" defTabSz="685487" rtl="0" eaLnBrk="1" latinLnBrk="0" hangingPunct="1">
      <a:lnSpc>
        <a:spcPct val="90000"/>
      </a:lnSpc>
      <a:spcAft>
        <a:spcPts val="250"/>
      </a:spcAft>
      <a:buFont typeface="Arial" pitchFamily="34" charset="0"/>
      <a:buChar char="•"/>
      <a:defRPr sz="700" kern="1200">
        <a:solidFill>
          <a:schemeClr val="tx1">
            <a:alpha val="99000"/>
          </a:schemeClr>
        </a:solidFill>
        <a:latin typeface="Segoe UI" pitchFamily="34" charset="0"/>
        <a:ea typeface="+mn-ea"/>
        <a:cs typeface="+mn-cs"/>
      </a:defRPr>
    </a:lvl4pPr>
    <a:lvl5pPr marL="461155" indent="-86288" algn="l" defTabSz="685487" rtl="0" eaLnBrk="1" latinLnBrk="0" hangingPunct="1">
      <a:lnSpc>
        <a:spcPct val="90000"/>
      </a:lnSpc>
      <a:spcAft>
        <a:spcPts val="250"/>
      </a:spcAft>
      <a:buFont typeface="Arial" pitchFamily="34" charset="0"/>
      <a:buChar char="•"/>
      <a:defRPr sz="700" kern="1200">
        <a:solidFill>
          <a:schemeClr val="tx1">
            <a:alpha val="99000"/>
          </a:schemeClr>
        </a:solidFill>
        <a:latin typeface="Segoe UI" pitchFamily="34" charset="0"/>
        <a:ea typeface="+mn-ea"/>
        <a:cs typeface="+mn-cs"/>
      </a:defRPr>
    </a:lvl5pPr>
    <a:lvl6pPr marL="1713712" algn="l" defTabSz="685487" rtl="0" eaLnBrk="1" latinLnBrk="0" hangingPunct="1">
      <a:defRPr sz="900" kern="1200">
        <a:solidFill>
          <a:schemeClr val="tx1"/>
        </a:solidFill>
        <a:latin typeface="+mn-lt"/>
        <a:ea typeface="+mn-ea"/>
        <a:cs typeface="+mn-cs"/>
      </a:defRPr>
    </a:lvl6pPr>
    <a:lvl7pPr marL="2056459" algn="l" defTabSz="685487" rtl="0" eaLnBrk="1" latinLnBrk="0" hangingPunct="1">
      <a:defRPr sz="900" kern="1200">
        <a:solidFill>
          <a:schemeClr val="tx1"/>
        </a:solidFill>
        <a:latin typeface="+mn-lt"/>
        <a:ea typeface="+mn-ea"/>
        <a:cs typeface="+mn-cs"/>
      </a:defRPr>
    </a:lvl7pPr>
    <a:lvl8pPr marL="2399204" algn="l" defTabSz="685487" rtl="0" eaLnBrk="1" latinLnBrk="0" hangingPunct="1">
      <a:defRPr sz="900" kern="1200">
        <a:solidFill>
          <a:schemeClr val="tx1"/>
        </a:solidFill>
        <a:latin typeface="+mn-lt"/>
        <a:ea typeface="+mn-ea"/>
        <a:cs typeface="+mn-cs"/>
      </a:defRPr>
    </a:lvl8pPr>
    <a:lvl9pPr marL="2741951" algn="l" defTabSz="685487"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256.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258.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265.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267.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268.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269.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270.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273.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274.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277.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278.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279.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280.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81.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83.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84.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8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3" Type="http://schemas.openxmlformats.org/officeDocument/2006/relationships/image" Target="../media/image729.png"/><Relationship Id="rId2" Type="http://schemas.openxmlformats.org/officeDocument/2006/relationships/slide" Target="../slides/slide286.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87.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88.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89.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90.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91.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93.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95.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98.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9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300.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302.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305.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306.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307.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308.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309.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310.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311.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31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313.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314.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315.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316.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2" Type="http://schemas.openxmlformats.org/officeDocument/2006/relationships/slide" Target="../slides/slide317.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318.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319.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2" Type="http://schemas.openxmlformats.org/officeDocument/2006/relationships/slide" Target="../slides/slide320.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2" Type="http://schemas.openxmlformats.org/officeDocument/2006/relationships/slide" Target="../slides/slide322.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2" Type="http://schemas.openxmlformats.org/officeDocument/2006/relationships/slide" Target="../slides/slide34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2" Type="http://schemas.openxmlformats.org/officeDocument/2006/relationships/slide" Target="../slides/slide341.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342.xml"/><Relationship Id="rId1" Type="http://schemas.openxmlformats.org/officeDocument/2006/relationships/notesMaster" Target="../notesMasters/notesMaster1.xml"/></Relationships>
</file>

<file path=ppt/notesSlides/_rels/notesSlide232.xml.rels><?xml version="1.0" encoding="UTF-8" standalone="yes"?>
<Relationships xmlns="http://schemas.openxmlformats.org/package/2006/relationships"><Relationship Id="rId2" Type="http://schemas.openxmlformats.org/officeDocument/2006/relationships/slide" Target="../slides/slide343.xml"/><Relationship Id="rId1" Type="http://schemas.openxmlformats.org/officeDocument/2006/relationships/notesMaster" Target="../notesMasters/notesMaster1.xml"/></Relationships>
</file>

<file path=ppt/notesSlides/_rels/notesSlide233.xml.rels><?xml version="1.0" encoding="UTF-8" standalone="yes"?>
<Relationships xmlns="http://schemas.openxmlformats.org/package/2006/relationships"><Relationship Id="rId2" Type="http://schemas.openxmlformats.org/officeDocument/2006/relationships/slide" Target="../slides/slide344.xml"/><Relationship Id="rId1" Type="http://schemas.openxmlformats.org/officeDocument/2006/relationships/notesMaster" Target="../notesMasters/notesMaster1.xml"/></Relationships>
</file>

<file path=ppt/notesSlides/_rels/notesSlide234.xml.rels><?xml version="1.0" encoding="UTF-8" standalone="yes"?>
<Relationships xmlns="http://schemas.openxmlformats.org/package/2006/relationships"><Relationship Id="rId2" Type="http://schemas.openxmlformats.org/officeDocument/2006/relationships/slide" Target="../slides/slide345.xml"/><Relationship Id="rId1" Type="http://schemas.openxmlformats.org/officeDocument/2006/relationships/notesMaster" Target="../notesMasters/notesMaster1.xml"/></Relationships>
</file>

<file path=ppt/notesSlides/_rels/notesSlide235.xml.rels><?xml version="1.0" encoding="UTF-8" standalone="yes"?>
<Relationships xmlns="http://schemas.openxmlformats.org/package/2006/relationships"><Relationship Id="rId2" Type="http://schemas.openxmlformats.org/officeDocument/2006/relationships/slide" Target="../slides/slide346.xml"/><Relationship Id="rId1" Type="http://schemas.openxmlformats.org/officeDocument/2006/relationships/notesMaster" Target="../notesMasters/notesMaster1.xml"/></Relationships>
</file>

<file path=ppt/notesSlides/_rels/notesSlide236.xml.rels><?xml version="1.0" encoding="UTF-8" standalone="yes"?>
<Relationships xmlns="http://schemas.openxmlformats.org/package/2006/relationships"><Relationship Id="rId2" Type="http://schemas.openxmlformats.org/officeDocument/2006/relationships/slide" Target="../slides/slide349.xml"/><Relationship Id="rId1" Type="http://schemas.openxmlformats.org/officeDocument/2006/relationships/notesMaster" Target="../notesMasters/notesMaster1.xml"/></Relationships>
</file>

<file path=ppt/notesSlides/_rels/notesSlide237.xml.rels><?xml version="1.0" encoding="UTF-8" standalone="yes"?>
<Relationships xmlns="http://schemas.openxmlformats.org/package/2006/relationships"><Relationship Id="rId2" Type="http://schemas.openxmlformats.org/officeDocument/2006/relationships/slide" Target="../slides/slide350.xml"/><Relationship Id="rId1" Type="http://schemas.openxmlformats.org/officeDocument/2006/relationships/notesMaster" Target="../notesMasters/notesMaster1.xml"/></Relationships>
</file>

<file path=ppt/notesSlides/_rels/notesSlide238.xml.rels><?xml version="1.0" encoding="UTF-8" standalone="yes"?>
<Relationships xmlns="http://schemas.openxmlformats.org/package/2006/relationships"><Relationship Id="rId2" Type="http://schemas.openxmlformats.org/officeDocument/2006/relationships/slide" Target="../slides/slide354.xml"/><Relationship Id="rId1" Type="http://schemas.openxmlformats.org/officeDocument/2006/relationships/notesMaster" Target="../notesMasters/notesMaster1.xml"/></Relationships>
</file>

<file path=ppt/notesSlides/_rels/notesSlide239.xml.rels><?xml version="1.0" encoding="UTF-8" standalone="yes"?>
<Relationships xmlns="http://schemas.openxmlformats.org/package/2006/relationships"><Relationship Id="rId2" Type="http://schemas.openxmlformats.org/officeDocument/2006/relationships/slide" Target="../slides/slide35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0.xml.rels><?xml version="1.0" encoding="UTF-8" standalone="yes"?>
<Relationships xmlns="http://schemas.openxmlformats.org/package/2006/relationships"><Relationship Id="rId2" Type="http://schemas.openxmlformats.org/officeDocument/2006/relationships/slide" Target="../slides/slide356.xml"/><Relationship Id="rId1" Type="http://schemas.openxmlformats.org/officeDocument/2006/relationships/notesMaster" Target="../notesMasters/notesMaster1.xml"/></Relationships>
</file>

<file path=ppt/notesSlides/_rels/notesSlide241.xml.rels><?xml version="1.0" encoding="UTF-8" standalone="yes"?>
<Relationships xmlns="http://schemas.openxmlformats.org/package/2006/relationships"><Relationship Id="rId2" Type="http://schemas.openxmlformats.org/officeDocument/2006/relationships/slide" Target="../slides/slide357.xml"/><Relationship Id="rId1" Type="http://schemas.openxmlformats.org/officeDocument/2006/relationships/notesMaster" Target="../notesMasters/notesMaster1.xml"/></Relationships>
</file>

<file path=ppt/notesSlides/_rels/notesSlide242.xml.rels><?xml version="1.0" encoding="UTF-8" standalone="yes"?>
<Relationships xmlns="http://schemas.openxmlformats.org/package/2006/relationships"><Relationship Id="rId2" Type="http://schemas.openxmlformats.org/officeDocument/2006/relationships/slide" Target="../slides/slide359.xml"/><Relationship Id="rId1" Type="http://schemas.openxmlformats.org/officeDocument/2006/relationships/notesMaster" Target="../notesMasters/notesMaster1.xml"/></Relationships>
</file>

<file path=ppt/notesSlides/_rels/notesSlide243.xml.rels><?xml version="1.0" encoding="UTF-8" standalone="yes"?>
<Relationships xmlns="http://schemas.openxmlformats.org/package/2006/relationships"><Relationship Id="rId2" Type="http://schemas.openxmlformats.org/officeDocument/2006/relationships/slide" Target="../slides/slide360.xml"/><Relationship Id="rId1" Type="http://schemas.openxmlformats.org/officeDocument/2006/relationships/notesMaster" Target="../notesMasters/notesMaster1.xml"/></Relationships>
</file>

<file path=ppt/notesSlides/_rels/notesSlide244.xml.rels><?xml version="1.0" encoding="UTF-8" standalone="yes"?>
<Relationships xmlns="http://schemas.openxmlformats.org/package/2006/relationships"><Relationship Id="rId2" Type="http://schemas.openxmlformats.org/officeDocument/2006/relationships/slide" Target="../slides/slide361.xml"/><Relationship Id="rId1" Type="http://schemas.openxmlformats.org/officeDocument/2006/relationships/notesMaster" Target="../notesMasters/notesMaster1.xml"/></Relationships>
</file>

<file path=ppt/notesSlides/_rels/notesSlide245.xml.rels><?xml version="1.0" encoding="UTF-8" standalone="yes"?>
<Relationships xmlns="http://schemas.openxmlformats.org/package/2006/relationships"><Relationship Id="rId2" Type="http://schemas.openxmlformats.org/officeDocument/2006/relationships/slide" Target="../slides/slide362.xml"/><Relationship Id="rId1" Type="http://schemas.openxmlformats.org/officeDocument/2006/relationships/notesMaster" Target="../notesMasters/notesMaster1.xml"/></Relationships>
</file>

<file path=ppt/notesSlides/_rels/notesSlide246.xml.rels><?xml version="1.0" encoding="UTF-8" standalone="yes"?>
<Relationships xmlns="http://schemas.openxmlformats.org/package/2006/relationships"><Relationship Id="rId2" Type="http://schemas.openxmlformats.org/officeDocument/2006/relationships/slide" Target="../slides/slide367.xml"/><Relationship Id="rId1" Type="http://schemas.openxmlformats.org/officeDocument/2006/relationships/notesMaster" Target="../notesMasters/notesMaster1.xml"/></Relationships>
</file>

<file path=ppt/notesSlides/_rels/notesSlide247.xml.rels><?xml version="1.0" encoding="UTF-8" standalone="yes"?>
<Relationships xmlns="http://schemas.openxmlformats.org/package/2006/relationships"><Relationship Id="rId2" Type="http://schemas.openxmlformats.org/officeDocument/2006/relationships/slide" Target="../slides/slide368.xml"/><Relationship Id="rId1" Type="http://schemas.openxmlformats.org/officeDocument/2006/relationships/notesMaster" Target="../notesMasters/notesMaster1.xml"/></Relationships>
</file>

<file path=ppt/notesSlides/_rels/notesSlide248.xml.rels><?xml version="1.0" encoding="UTF-8" standalone="yes"?>
<Relationships xmlns="http://schemas.openxmlformats.org/package/2006/relationships"><Relationship Id="rId2" Type="http://schemas.openxmlformats.org/officeDocument/2006/relationships/slide" Target="../slides/slide369.xml"/><Relationship Id="rId1" Type="http://schemas.openxmlformats.org/officeDocument/2006/relationships/notesMaster" Target="../notesMasters/notesMaster1.xml"/></Relationships>
</file>

<file path=ppt/notesSlides/_rels/notesSlide249.xml.rels><?xml version="1.0" encoding="UTF-8" standalone="yes"?>
<Relationships xmlns="http://schemas.openxmlformats.org/package/2006/relationships"><Relationship Id="rId2" Type="http://schemas.openxmlformats.org/officeDocument/2006/relationships/slide" Target="../slides/slide37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0.xml.rels><?xml version="1.0" encoding="UTF-8" standalone="yes"?>
<Relationships xmlns="http://schemas.openxmlformats.org/package/2006/relationships"><Relationship Id="rId2" Type="http://schemas.openxmlformats.org/officeDocument/2006/relationships/slide" Target="../slides/slide371.xml"/><Relationship Id="rId1" Type="http://schemas.openxmlformats.org/officeDocument/2006/relationships/notesMaster" Target="../notesMasters/notesMaster1.xml"/></Relationships>
</file>

<file path=ppt/notesSlides/_rels/notesSlide251.xml.rels><?xml version="1.0" encoding="UTF-8" standalone="yes"?>
<Relationships xmlns="http://schemas.openxmlformats.org/package/2006/relationships"><Relationship Id="rId2" Type="http://schemas.openxmlformats.org/officeDocument/2006/relationships/slide" Target="../slides/slide372.xml"/><Relationship Id="rId1" Type="http://schemas.openxmlformats.org/officeDocument/2006/relationships/notesMaster" Target="../notesMasters/notesMaster1.xml"/></Relationships>
</file>

<file path=ppt/notesSlides/_rels/notesSlide252.xml.rels><?xml version="1.0" encoding="UTF-8" standalone="yes"?>
<Relationships xmlns="http://schemas.openxmlformats.org/package/2006/relationships"><Relationship Id="rId2" Type="http://schemas.openxmlformats.org/officeDocument/2006/relationships/slide" Target="../slides/slide374.xml"/><Relationship Id="rId1" Type="http://schemas.openxmlformats.org/officeDocument/2006/relationships/notesMaster" Target="../notesMasters/notesMaster1.xml"/></Relationships>
</file>

<file path=ppt/notesSlides/_rels/notesSlide253.xml.rels><?xml version="1.0" encoding="UTF-8" standalone="yes"?>
<Relationships xmlns="http://schemas.openxmlformats.org/package/2006/relationships"><Relationship Id="rId2" Type="http://schemas.openxmlformats.org/officeDocument/2006/relationships/slide" Target="../slides/slide375.xml"/><Relationship Id="rId1" Type="http://schemas.openxmlformats.org/officeDocument/2006/relationships/notesMaster" Target="../notesMasters/notesMaster1.xml"/></Relationships>
</file>

<file path=ppt/notesSlides/_rels/notesSlide254.xml.rels><?xml version="1.0" encoding="UTF-8" standalone="yes"?>
<Relationships xmlns="http://schemas.openxmlformats.org/package/2006/relationships"><Relationship Id="rId2" Type="http://schemas.openxmlformats.org/officeDocument/2006/relationships/slide" Target="../slides/slide376.xml"/><Relationship Id="rId1" Type="http://schemas.openxmlformats.org/officeDocument/2006/relationships/notesMaster" Target="../notesMasters/notesMaster1.xml"/></Relationships>
</file>

<file path=ppt/notesSlides/_rels/notesSlide255.xml.rels><?xml version="1.0" encoding="UTF-8" standalone="yes"?>
<Relationships xmlns="http://schemas.openxmlformats.org/package/2006/relationships"><Relationship Id="rId2" Type="http://schemas.openxmlformats.org/officeDocument/2006/relationships/slide" Target="../slides/slide377.xml"/><Relationship Id="rId1" Type="http://schemas.openxmlformats.org/officeDocument/2006/relationships/notesMaster" Target="../notesMasters/notesMaster1.xml"/></Relationships>
</file>

<file path=ppt/notesSlides/_rels/notesSlide256.xml.rels><?xml version="1.0" encoding="UTF-8" standalone="yes"?>
<Relationships xmlns="http://schemas.openxmlformats.org/package/2006/relationships"><Relationship Id="rId2" Type="http://schemas.openxmlformats.org/officeDocument/2006/relationships/slide" Target="../slides/slide378.xml"/><Relationship Id="rId1" Type="http://schemas.openxmlformats.org/officeDocument/2006/relationships/notesMaster" Target="../notesMasters/notesMaster1.xml"/></Relationships>
</file>

<file path=ppt/notesSlides/_rels/notesSlide257.xml.rels><?xml version="1.0" encoding="UTF-8" standalone="yes"?>
<Relationships xmlns="http://schemas.openxmlformats.org/package/2006/relationships"><Relationship Id="rId2" Type="http://schemas.openxmlformats.org/officeDocument/2006/relationships/slide" Target="../slides/slide382.xml"/><Relationship Id="rId1" Type="http://schemas.openxmlformats.org/officeDocument/2006/relationships/notesMaster" Target="../notesMasters/notesMaster1.xml"/></Relationships>
</file>

<file path=ppt/notesSlides/_rels/notesSlide258.xml.rels><?xml version="1.0" encoding="UTF-8" standalone="yes"?>
<Relationships xmlns="http://schemas.openxmlformats.org/package/2006/relationships"><Relationship Id="rId2" Type="http://schemas.openxmlformats.org/officeDocument/2006/relationships/slide" Target="../slides/slide383.xml"/><Relationship Id="rId1" Type="http://schemas.openxmlformats.org/officeDocument/2006/relationships/notesMaster" Target="../notesMasters/notesMaster1.xml"/></Relationships>
</file>

<file path=ppt/notesSlides/_rels/notesSlide259.xml.rels><?xml version="1.0" encoding="UTF-8" standalone="yes"?>
<Relationships xmlns="http://schemas.openxmlformats.org/package/2006/relationships"><Relationship Id="rId2" Type="http://schemas.openxmlformats.org/officeDocument/2006/relationships/slide" Target="../slides/slide38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0.xml.rels><?xml version="1.0" encoding="UTF-8" standalone="yes"?>
<Relationships xmlns="http://schemas.openxmlformats.org/package/2006/relationships"><Relationship Id="rId2" Type="http://schemas.openxmlformats.org/officeDocument/2006/relationships/slide" Target="../slides/slide385.xml"/><Relationship Id="rId1" Type="http://schemas.openxmlformats.org/officeDocument/2006/relationships/notesMaster" Target="../notesMasters/notesMaster1.xml"/></Relationships>
</file>

<file path=ppt/notesSlides/_rels/notesSlide261.xml.rels><?xml version="1.0" encoding="UTF-8" standalone="yes"?>
<Relationships xmlns="http://schemas.openxmlformats.org/package/2006/relationships"><Relationship Id="rId2" Type="http://schemas.openxmlformats.org/officeDocument/2006/relationships/slide" Target="../slides/slide386.xml"/><Relationship Id="rId1" Type="http://schemas.openxmlformats.org/officeDocument/2006/relationships/notesMaster" Target="../notesMasters/notesMaster1.xml"/></Relationships>
</file>

<file path=ppt/notesSlides/_rels/notesSlide262.xml.rels><?xml version="1.0" encoding="UTF-8" standalone="yes"?>
<Relationships xmlns="http://schemas.openxmlformats.org/package/2006/relationships"><Relationship Id="rId2" Type="http://schemas.openxmlformats.org/officeDocument/2006/relationships/slide" Target="../slides/slide387.xml"/><Relationship Id="rId1" Type="http://schemas.openxmlformats.org/officeDocument/2006/relationships/notesMaster" Target="../notesMasters/notesMaster1.xml"/></Relationships>
</file>

<file path=ppt/notesSlides/_rels/notesSlide263.xml.rels><?xml version="1.0" encoding="UTF-8" standalone="yes"?>
<Relationships xmlns="http://schemas.openxmlformats.org/package/2006/relationships"><Relationship Id="rId2" Type="http://schemas.openxmlformats.org/officeDocument/2006/relationships/slide" Target="../slides/slide388.xml"/><Relationship Id="rId1" Type="http://schemas.openxmlformats.org/officeDocument/2006/relationships/notesMaster" Target="../notesMasters/notesMaster1.xml"/></Relationships>
</file>

<file path=ppt/notesSlides/_rels/notesSlide264.xml.rels><?xml version="1.0" encoding="UTF-8" standalone="yes"?>
<Relationships xmlns="http://schemas.openxmlformats.org/package/2006/relationships"><Relationship Id="rId2" Type="http://schemas.openxmlformats.org/officeDocument/2006/relationships/slide" Target="../slides/slide389.xml"/><Relationship Id="rId1" Type="http://schemas.openxmlformats.org/officeDocument/2006/relationships/notesMaster" Target="../notesMasters/notesMaster1.xml"/></Relationships>
</file>

<file path=ppt/notesSlides/_rels/notesSlide265.xml.rels><?xml version="1.0" encoding="UTF-8" standalone="yes"?>
<Relationships xmlns="http://schemas.openxmlformats.org/package/2006/relationships"><Relationship Id="rId2" Type="http://schemas.openxmlformats.org/officeDocument/2006/relationships/slide" Target="../slides/slide390.xml"/><Relationship Id="rId1" Type="http://schemas.openxmlformats.org/officeDocument/2006/relationships/notesMaster" Target="../notesMasters/notesMaster1.xml"/></Relationships>
</file>

<file path=ppt/notesSlides/_rels/notesSlide266.xml.rels><?xml version="1.0" encoding="UTF-8" standalone="yes"?>
<Relationships xmlns="http://schemas.openxmlformats.org/package/2006/relationships"><Relationship Id="rId2" Type="http://schemas.openxmlformats.org/officeDocument/2006/relationships/slide" Target="../slides/slide397.xml"/><Relationship Id="rId1" Type="http://schemas.openxmlformats.org/officeDocument/2006/relationships/notesMaster" Target="../notesMasters/notesMaster1.xml"/></Relationships>
</file>

<file path=ppt/notesSlides/_rels/notesSlide267.xml.rels><?xml version="1.0" encoding="UTF-8" standalone="yes"?>
<Relationships xmlns="http://schemas.openxmlformats.org/package/2006/relationships"><Relationship Id="rId2" Type="http://schemas.openxmlformats.org/officeDocument/2006/relationships/slide" Target="../slides/slide399.xml"/><Relationship Id="rId1" Type="http://schemas.openxmlformats.org/officeDocument/2006/relationships/notesMaster" Target="../notesMasters/notesMaster1.xml"/></Relationships>
</file>

<file path=ppt/notesSlides/_rels/notesSlide268.xml.rels><?xml version="1.0" encoding="UTF-8" standalone="yes"?>
<Relationships xmlns="http://schemas.openxmlformats.org/package/2006/relationships"><Relationship Id="rId2" Type="http://schemas.openxmlformats.org/officeDocument/2006/relationships/slide" Target="../slides/slide400.xml"/><Relationship Id="rId1" Type="http://schemas.openxmlformats.org/officeDocument/2006/relationships/notesMaster" Target="../notesMasters/notesMaster1.xml"/></Relationships>
</file>

<file path=ppt/notesSlides/_rels/notesSlide269.xml.rels><?xml version="1.0" encoding="UTF-8" standalone="yes"?>
<Relationships xmlns="http://schemas.openxmlformats.org/package/2006/relationships"><Relationship Id="rId2" Type="http://schemas.openxmlformats.org/officeDocument/2006/relationships/slide" Target="../slides/slide40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0.xml.rels><?xml version="1.0" encoding="UTF-8" standalone="yes"?>
<Relationships xmlns="http://schemas.openxmlformats.org/package/2006/relationships"><Relationship Id="rId2" Type="http://schemas.openxmlformats.org/officeDocument/2006/relationships/slide" Target="../slides/slide405.xml"/><Relationship Id="rId1" Type="http://schemas.openxmlformats.org/officeDocument/2006/relationships/notesMaster" Target="../notesMasters/notesMaster1.xml"/></Relationships>
</file>

<file path=ppt/notesSlides/_rels/notesSlide271.xml.rels><?xml version="1.0" encoding="UTF-8" standalone="yes"?>
<Relationships xmlns="http://schemas.openxmlformats.org/package/2006/relationships"><Relationship Id="rId2" Type="http://schemas.openxmlformats.org/officeDocument/2006/relationships/slide" Target="../slides/slide408.xml"/><Relationship Id="rId1" Type="http://schemas.openxmlformats.org/officeDocument/2006/relationships/notesMaster" Target="../notesMasters/notesMaster1.xml"/></Relationships>
</file>

<file path=ppt/notesSlides/_rels/notesSlide272.xml.rels><?xml version="1.0" encoding="UTF-8" standalone="yes"?>
<Relationships xmlns="http://schemas.openxmlformats.org/package/2006/relationships"><Relationship Id="rId2" Type="http://schemas.openxmlformats.org/officeDocument/2006/relationships/slide" Target="../slides/slide414.xml"/><Relationship Id="rId1" Type="http://schemas.openxmlformats.org/officeDocument/2006/relationships/notesMaster" Target="../notesMasters/notesMaster1.xml"/></Relationships>
</file>

<file path=ppt/notesSlides/_rels/notesSlide273.xml.rels><?xml version="1.0" encoding="UTF-8" standalone="yes"?>
<Relationships xmlns="http://schemas.openxmlformats.org/package/2006/relationships"><Relationship Id="rId2" Type="http://schemas.openxmlformats.org/officeDocument/2006/relationships/slide" Target="../slides/slide415.xml"/><Relationship Id="rId1" Type="http://schemas.openxmlformats.org/officeDocument/2006/relationships/notesMaster" Target="../notesMasters/notesMaster1.xml"/></Relationships>
</file>

<file path=ppt/notesSlides/_rels/notesSlide274.xml.rels><?xml version="1.0" encoding="UTF-8" standalone="yes"?>
<Relationships xmlns="http://schemas.openxmlformats.org/package/2006/relationships"><Relationship Id="rId2" Type="http://schemas.openxmlformats.org/officeDocument/2006/relationships/slide" Target="../slides/slide416.xml"/><Relationship Id="rId1" Type="http://schemas.openxmlformats.org/officeDocument/2006/relationships/notesMaster" Target="../notesMasters/notesMaster1.xml"/></Relationships>
</file>

<file path=ppt/notesSlides/_rels/notesSlide275.xml.rels><?xml version="1.0" encoding="UTF-8" standalone="yes"?>
<Relationships xmlns="http://schemas.openxmlformats.org/package/2006/relationships"><Relationship Id="rId2" Type="http://schemas.openxmlformats.org/officeDocument/2006/relationships/slide" Target="../slides/slide417.xml"/><Relationship Id="rId1" Type="http://schemas.openxmlformats.org/officeDocument/2006/relationships/notesMaster" Target="../notesMasters/notesMaster1.xml"/></Relationships>
</file>

<file path=ppt/notesSlides/_rels/notesSlide276.xml.rels><?xml version="1.0" encoding="UTF-8" standalone="yes"?>
<Relationships xmlns="http://schemas.openxmlformats.org/package/2006/relationships"><Relationship Id="rId2" Type="http://schemas.openxmlformats.org/officeDocument/2006/relationships/slide" Target="../slides/slide418.xml"/><Relationship Id="rId1" Type="http://schemas.openxmlformats.org/officeDocument/2006/relationships/notesMaster" Target="../notesMasters/notesMaster1.xml"/></Relationships>
</file>

<file path=ppt/notesSlides/_rels/notesSlide277.xml.rels><?xml version="1.0" encoding="UTF-8" standalone="yes"?>
<Relationships xmlns="http://schemas.openxmlformats.org/package/2006/relationships"><Relationship Id="rId2" Type="http://schemas.openxmlformats.org/officeDocument/2006/relationships/slide" Target="../slides/slide419.xml"/><Relationship Id="rId1" Type="http://schemas.openxmlformats.org/officeDocument/2006/relationships/notesMaster" Target="../notesMasters/notesMaster1.xml"/></Relationships>
</file>

<file path=ppt/notesSlides/_rels/notesSlide278.xml.rels><?xml version="1.0" encoding="UTF-8" standalone="yes"?>
<Relationships xmlns="http://schemas.openxmlformats.org/package/2006/relationships"><Relationship Id="rId2" Type="http://schemas.openxmlformats.org/officeDocument/2006/relationships/slide" Target="../slides/slide429.xml"/><Relationship Id="rId1" Type="http://schemas.openxmlformats.org/officeDocument/2006/relationships/notesMaster" Target="../notesMasters/notesMaster1.xml"/></Relationships>
</file>

<file path=ppt/notesSlides/_rels/notesSlide279.xml.rels><?xml version="1.0" encoding="UTF-8" standalone="yes"?>
<Relationships xmlns="http://schemas.openxmlformats.org/package/2006/relationships"><Relationship Id="rId2" Type="http://schemas.openxmlformats.org/officeDocument/2006/relationships/slide" Target="../slides/slide4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0.xml.rels><?xml version="1.0" encoding="UTF-8" standalone="yes"?>
<Relationships xmlns="http://schemas.openxmlformats.org/package/2006/relationships"><Relationship Id="rId2" Type="http://schemas.openxmlformats.org/officeDocument/2006/relationships/slide" Target="../slides/slide431.xml"/><Relationship Id="rId1" Type="http://schemas.openxmlformats.org/officeDocument/2006/relationships/notesMaster" Target="../notesMasters/notesMaster1.xml"/></Relationships>
</file>

<file path=ppt/notesSlides/_rels/notesSlide281.xml.rels><?xml version="1.0" encoding="UTF-8" standalone="yes"?>
<Relationships xmlns="http://schemas.openxmlformats.org/package/2006/relationships"><Relationship Id="rId2" Type="http://schemas.openxmlformats.org/officeDocument/2006/relationships/slide" Target="../slides/slide432.xml"/><Relationship Id="rId1" Type="http://schemas.openxmlformats.org/officeDocument/2006/relationships/notesMaster" Target="../notesMasters/notesMaster1.xml"/></Relationships>
</file>

<file path=ppt/notesSlides/_rels/notesSlide282.xml.rels><?xml version="1.0" encoding="UTF-8" standalone="yes"?>
<Relationships xmlns="http://schemas.openxmlformats.org/package/2006/relationships"><Relationship Id="rId2" Type="http://schemas.openxmlformats.org/officeDocument/2006/relationships/slide" Target="../slides/slide433.xml"/><Relationship Id="rId1" Type="http://schemas.openxmlformats.org/officeDocument/2006/relationships/notesMaster" Target="../notesMasters/notesMaster1.xml"/></Relationships>
</file>

<file path=ppt/notesSlides/_rels/notesSlide283.xml.rels><?xml version="1.0" encoding="UTF-8" standalone="yes"?>
<Relationships xmlns="http://schemas.openxmlformats.org/package/2006/relationships"><Relationship Id="rId2" Type="http://schemas.openxmlformats.org/officeDocument/2006/relationships/slide" Target="../slides/slide435.xml"/><Relationship Id="rId1" Type="http://schemas.openxmlformats.org/officeDocument/2006/relationships/notesMaster" Target="../notesMasters/notesMaster1.xml"/></Relationships>
</file>

<file path=ppt/notesSlides/_rels/notesSlide284.xml.rels><?xml version="1.0" encoding="UTF-8" standalone="yes"?>
<Relationships xmlns="http://schemas.openxmlformats.org/package/2006/relationships"><Relationship Id="rId2" Type="http://schemas.openxmlformats.org/officeDocument/2006/relationships/slide" Target="../slides/slide437.xml"/><Relationship Id="rId1" Type="http://schemas.openxmlformats.org/officeDocument/2006/relationships/notesMaster" Target="../notesMasters/notesMaster1.xml"/></Relationships>
</file>

<file path=ppt/notesSlides/_rels/notesSlide285.xml.rels><?xml version="1.0" encoding="UTF-8" standalone="yes"?>
<Relationships xmlns="http://schemas.openxmlformats.org/package/2006/relationships"><Relationship Id="rId2" Type="http://schemas.openxmlformats.org/officeDocument/2006/relationships/slide" Target="../slides/slide439.xml"/><Relationship Id="rId1" Type="http://schemas.openxmlformats.org/officeDocument/2006/relationships/notesMaster" Target="../notesMasters/notesMaster1.xml"/></Relationships>
</file>

<file path=ppt/notesSlides/_rels/notesSlide286.xml.rels><?xml version="1.0" encoding="UTF-8" standalone="yes"?>
<Relationships xmlns="http://schemas.openxmlformats.org/package/2006/relationships"><Relationship Id="rId2" Type="http://schemas.openxmlformats.org/officeDocument/2006/relationships/slide" Target="../slides/slide440.xml"/><Relationship Id="rId1" Type="http://schemas.openxmlformats.org/officeDocument/2006/relationships/notesMaster" Target="../notesMasters/notesMaster1.xml"/></Relationships>
</file>

<file path=ppt/notesSlides/_rels/notesSlide287.xml.rels><?xml version="1.0" encoding="UTF-8" standalone="yes"?>
<Relationships xmlns="http://schemas.openxmlformats.org/package/2006/relationships"><Relationship Id="rId2" Type="http://schemas.openxmlformats.org/officeDocument/2006/relationships/slide" Target="../slides/slide441.xml"/><Relationship Id="rId1" Type="http://schemas.openxmlformats.org/officeDocument/2006/relationships/notesMaster" Target="../notesMasters/notesMaster1.xml"/></Relationships>
</file>

<file path=ppt/notesSlides/_rels/notesSlide288.xml.rels><?xml version="1.0" encoding="UTF-8" standalone="yes"?>
<Relationships xmlns="http://schemas.openxmlformats.org/package/2006/relationships"><Relationship Id="rId2" Type="http://schemas.openxmlformats.org/officeDocument/2006/relationships/slide" Target="../slides/slide442.xml"/><Relationship Id="rId1" Type="http://schemas.openxmlformats.org/officeDocument/2006/relationships/notesMaster" Target="../notesMasters/notesMaster1.xml"/></Relationships>
</file>

<file path=ppt/notesSlides/_rels/notesSlide289.xml.rels><?xml version="1.0" encoding="UTF-8" standalone="yes"?>
<Relationships xmlns="http://schemas.openxmlformats.org/package/2006/relationships"><Relationship Id="rId2" Type="http://schemas.openxmlformats.org/officeDocument/2006/relationships/slide" Target="../slides/slide44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0.xml.rels><?xml version="1.0" encoding="UTF-8" standalone="yes"?>
<Relationships xmlns="http://schemas.openxmlformats.org/package/2006/relationships"><Relationship Id="rId2" Type="http://schemas.openxmlformats.org/officeDocument/2006/relationships/slide" Target="../slides/slide445.xml"/><Relationship Id="rId1" Type="http://schemas.openxmlformats.org/officeDocument/2006/relationships/notesMaster" Target="../notesMasters/notesMaster1.xml"/></Relationships>
</file>

<file path=ppt/notesSlides/_rels/notesSlide291.xml.rels><?xml version="1.0" encoding="UTF-8" standalone="yes"?>
<Relationships xmlns="http://schemas.openxmlformats.org/package/2006/relationships"><Relationship Id="rId2" Type="http://schemas.openxmlformats.org/officeDocument/2006/relationships/slide" Target="../slides/slide447.xml"/><Relationship Id="rId1" Type="http://schemas.openxmlformats.org/officeDocument/2006/relationships/notesMaster" Target="../notesMasters/notesMaster1.xml"/></Relationships>
</file>

<file path=ppt/notesSlides/_rels/notesSlide292.xml.rels><?xml version="1.0" encoding="UTF-8" standalone="yes"?>
<Relationships xmlns="http://schemas.openxmlformats.org/package/2006/relationships"><Relationship Id="rId2" Type="http://schemas.openxmlformats.org/officeDocument/2006/relationships/slide" Target="../slides/slide448.xml"/><Relationship Id="rId1" Type="http://schemas.openxmlformats.org/officeDocument/2006/relationships/notesMaster" Target="../notesMasters/notesMaster1.xml"/></Relationships>
</file>

<file path=ppt/notesSlides/_rels/notesSlide293.xml.rels><?xml version="1.0" encoding="UTF-8" standalone="yes"?>
<Relationships xmlns="http://schemas.openxmlformats.org/package/2006/relationships"><Relationship Id="rId2" Type="http://schemas.openxmlformats.org/officeDocument/2006/relationships/slide" Target="../slides/slide450.xml"/><Relationship Id="rId1" Type="http://schemas.openxmlformats.org/officeDocument/2006/relationships/notesMaster" Target="../notesMasters/notesMaster1.xml"/></Relationships>
</file>

<file path=ppt/notesSlides/_rels/notesSlide294.xml.rels><?xml version="1.0" encoding="UTF-8" standalone="yes"?>
<Relationships xmlns="http://schemas.openxmlformats.org/package/2006/relationships"><Relationship Id="rId2" Type="http://schemas.openxmlformats.org/officeDocument/2006/relationships/slide" Target="../slides/slide451.xml"/><Relationship Id="rId1" Type="http://schemas.openxmlformats.org/officeDocument/2006/relationships/notesMaster" Target="../notesMasters/notesMaster1.xml"/></Relationships>
</file>

<file path=ppt/notesSlides/_rels/notesSlide295.xml.rels><?xml version="1.0" encoding="UTF-8" standalone="yes"?>
<Relationships xmlns="http://schemas.openxmlformats.org/package/2006/relationships"><Relationship Id="rId2" Type="http://schemas.openxmlformats.org/officeDocument/2006/relationships/slide" Target="../slides/slide453.xml"/><Relationship Id="rId1" Type="http://schemas.openxmlformats.org/officeDocument/2006/relationships/notesMaster" Target="../notesMasters/notesMaster1.xml"/></Relationships>
</file>

<file path=ppt/notesSlides/_rels/notesSlide296.xml.rels><?xml version="1.0" encoding="UTF-8" standalone="yes"?>
<Relationships xmlns="http://schemas.openxmlformats.org/package/2006/relationships"><Relationship Id="rId2" Type="http://schemas.openxmlformats.org/officeDocument/2006/relationships/slide" Target="../slides/slide454.xml"/><Relationship Id="rId1" Type="http://schemas.openxmlformats.org/officeDocument/2006/relationships/notesMaster" Target="../notesMasters/notesMaster1.xml"/></Relationships>
</file>

<file path=ppt/notesSlides/_rels/notesSlide297.xml.rels><?xml version="1.0" encoding="UTF-8" standalone="yes"?>
<Relationships xmlns="http://schemas.openxmlformats.org/package/2006/relationships"><Relationship Id="rId2" Type="http://schemas.openxmlformats.org/officeDocument/2006/relationships/slide" Target="../slides/slide455.xml"/><Relationship Id="rId1" Type="http://schemas.openxmlformats.org/officeDocument/2006/relationships/notesMaster" Target="../notesMasters/notesMaster1.xml"/></Relationships>
</file>

<file path=ppt/notesSlides/_rels/notesSlide298.xml.rels><?xml version="1.0" encoding="UTF-8" standalone="yes"?>
<Relationships xmlns="http://schemas.openxmlformats.org/package/2006/relationships"><Relationship Id="rId2" Type="http://schemas.openxmlformats.org/officeDocument/2006/relationships/slide" Target="../slides/slide459.xml"/><Relationship Id="rId1" Type="http://schemas.openxmlformats.org/officeDocument/2006/relationships/notesMaster" Target="../notesMasters/notesMaster1.xml"/></Relationships>
</file>

<file path=ppt/notesSlides/_rels/notesSlide299.xml.rels><?xml version="1.0" encoding="UTF-8" standalone="yes"?>
<Relationships xmlns="http://schemas.openxmlformats.org/package/2006/relationships"><Relationship Id="rId2" Type="http://schemas.openxmlformats.org/officeDocument/2006/relationships/slide" Target="../slides/slide46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00.xml.rels><?xml version="1.0" encoding="UTF-8" standalone="yes"?>
<Relationships xmlns="http://schemas.openxmlformats.org/package/2006/relationships"><Relationship Id="rId2" Type="http://schemas.openxmlformats.org/officeDocument/2006/relationships/slide" Target="../slides/slide461.xml"/><Relationship Id="rId1" Type="http://schemas.openxmlformats.org/officeDocument/2006/relationships/notesMaster" Target="../notesMasters/notesMaster1.xml"/></Relationships>
</file>

<file path=ppt/notesSlides/_rels/notesSlide301.xml.rels><?xml version="1.0" encoding="UTF-8" standalone="yes"?>
<Relationships xmlns="http://schemas.openxmlformats.org/package/2006/relationships"><Relationship Id="rId2" Type="http://schemas.openxmlformats.org/officeDocument/2006/relationships/slide" Target="../slides/slide462.xml"/><Relationship Id="rId1" Type="http://schemas.openxmlformats.org/officeDocument/2006/relationships/notesMaster" Target="../notesMasters/notesMaster1.xml"/></Relationships>
</file>

<file path=ppt/notesSlides/_rels/notesSlide302.xml.rels><?xml version="1.0" encoding="UTF-8" standalone="yes"?>
<Relationships xmlns="http://schemas.openxmlformats.org/package/2006/relationships"><Relationship Id="rId2" Type="http://schemas.openxmlformats.org/officeDocument/2006/relationships/slide" Target="../slides/slide464.xml"/><Relationship Id="rId1" Type="http://schemas.openxmlformats.org/officeDocument/2006/relationships/notesMaster" Target="../notesMasters/notesMaster1.xml"/></Relationships>
</file>

<file path=ppt/notesSlides/_rels/notesSlide303.xml.rels><?xml version="1.0" encoding="UTF-8" standalone="yes"?>
<Relationships xmlns="http://schemas.openxmlformats.org/package/2006/relationships"><Relationship Id="rId2" Type="http://schemas.openxmlformats.org/officeDocument/2006/relationships/slide" Target="../slides/slide468.xml"/><Relationship Id="rId1" Type="http://schemas.openxmlformats.org/officeDocument/2006/relationships/notesMaster" Target="../notesMasters/notesMaster1.xml"/></Relationships>
</file>

<file path=ppt/notesSlides/_rels/notesSlide304.xml.rels><?xml version="1.0" encoding="UTF-8" standalone="yes"?>
<Relationships xmlns="http://schemas.openxmlformats.org/package/2006/relationships"><Relationship Id="rId2" Type="http://schemas.openxmlformats.org/officeDocument/2006/relationships/slide" Target="../slides/slide469.xml"/><Relationship Id="rId1" Type="http://schemas.openxmlformats.org/officeDocument/2006/relationships/notesMaster" Target="../notesMasters/notesMaster1.xml"/></Relationships>
</file>

<file path=ppt/notesSlides/_rels/notesSlide305.xml.rels><?xml version="1.0" encoding="UTF-8" standalone="yes"?>
<Relationships xmlns="http://schemas.openxmlformats.org/package/2006/relationships"><Relationship Id="rId2" Type="http://schemas.openxmlformats.org/officeDocument/2006/relationships/slide" Target="../slides/slide470.xml"/><Relationship Id="rId1" Type="http://schemas.openxmlformats.org/officeDocument/2006/relationships/notesMaster" Target="../notesMasters/notesMaster1.xml"/></Relationships>
</file>

<file path=ppt/notesSlides/_rels/notesSlide306.xml.rels><?xml version="1.0" encoding="UTF-8" standalone="yes"?>
<Relationships xmlns="http://schemas.openxmlformats.org/package/2006/relationships"><Relationship Id="rId2" Type="http://schemas.openxmlformats.org/officeDocument/2006/relationships/slide" Target="../slides/slide471.xml"/><Relationship Id="rId1" Type="http://schemas.openxmlformats.org/officeDocument/2006/relationships/notesMaster" Target="../notesMasters/notesMaster1.xml"/></Relationships>
</file>

<file path=ppt/notesSlides/_rels/notesSlide307.xml.rels><?xml version="1.0" encoding="UTF-8" standalone="yes"?>
<Relationships xmlns="http://schemas.openxmlformats.org/package/2006/relationships"><Relationship Id="rId2" Type="http://schemas.openxmlformats.org/officeDocument/2006/relationships/slide" Target="../slides/slide472.xml"/><Relationship Id="rId1" Type="http://schemas.openxmlformats.org/officeDocument/2006/relationships/notesMaster" Target="../notesMasters/notesMaster1.xml"/></Relationships>
</file>

<file path=ppt/notesSlides/_rels/notesSlide308.xml.rels><?xml version="1.0" encoding="UTF-8" standalone="yes"?>
<Relationships xmlns="http://schemas.openxmlformats.org/package/2006/relationships"><Relationship Id="rId2" Type="http://schemas.openxmlformats.org/officeDocument/2006/relationships/slide" Target="../slides/slide473.xml"/><Relationship Id="rId1" Type="http://schemas.openxmlformats.org/officeDocument/2006/relationships/notesMaster" Target="../notesMasters/notesMaster1.xml"/></Relationships>
</file>

<file path=ppt/notesSlides/_rels/notesSlide309.xml.rels><?xml version="1.0" encoding="UTF-8" standalone="yes"?>
<Relationships xmlns="http://schemas.openxmlformats.org/package/2006/relationships"><Relationship Id="rId2" Type="http://schemas.openxmlformats.org/officeDocument/2006/relationships/slide" Target="../slides/slide47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0.xml.rels><?xml version="1.0" encoding="UTF-8" standalone="yes"?>
<Relationships xmlns="http://schemas.openxmlformats.org/package/2006/relationships"><Relationship Id="rId2" Type="http://schemas.openxmlformats.org/officeDocument/2006/relationships/slide" Target="../slides/slide475.xml"/><Relationship Id="rId1" Type="http://schemas.openxmlformats.org/officeDocument/2006/relationships/notesMaster" Target="../notesMasters/notesMaster1.xml"/></Relationships>
</file>

<file path=ppt/notesSlides/_rels/notesSlide311.xml.rels><?xml version="1.0" encoding="UTF-8" standalone="yes"?>
<Relationships xmlns="http://schemas.openxmlformats.org/package/2006/relationships"><Relationship Id="rId2" Type="http://schemas.openxmlformats.org/officeDocument/2006/relationships/slide" Target="../slides/slide476.xml"/><Relationship Id="rId1" Type="http://schemas.openxmlformats.org/officeDocument/2006/relationships/notesMaster" Target="../notesMasters/notesMaster1.xml"/></Relationships>
</file>

<file path=ppt/notesSlides/_rels/notesSlide312.xml.rels><?xml version="1.0" encoding="UTF-8" standalone="yes"?>
<Relationships xmlns="http://schemas.openxmlformats.org/package/2006/relationships"><Relationship Id="rId2" Type="http://schemas.openxmlformats.org/officeDocument/2006/relationships/slide" Target="../slides/slide477.xml"/><Relationship Id="rId1" Type="http://schemas.openxmlformats.org/officeDocument/2006/relationships/notesMaster" Target="../notesMasters/notesMaster1.xml"/></Relationships>
</file>

<file path=ppt/notesSlides/_rels/notesSlide313.xml.rels><?xml version="1.0" encoding="UTF-8" standalone="yes"?>
<Relationships xmlns="http://schemas.openxmlformats.org/package/2006/relationships"><Relationship Id="rId2" Type="http://schemas.openxmlformats.org/officeDocument/2006/relationships/slide" Target="../slides/slide478.xml"/><Relationship Id="rId1" Type="http://schemas.openxmlformats.org/officeDocument/2006/relationships/notesMaster" Target="../notesMasters/notesMaster1.xml"/></Relationships>
</file>

<file path=ppt/notesSlides/_rels/notesSlide314.xml.rels><?xml version="1.0" encoding="UTF-8" standalone="yes"?>
<Relationships xmlns="http://schemas.openxmlformats.org/package/2006/relationships"><Relationship Id="rId2" Type="http://schemas.openxmlformats.org/officeDocument/2006/relationships/slide" Target="../slides/slide479.xml"/><Relationship Id="rId1" Type="http://schemas.openxmlformats.org/officeDocument/2006/relationships/notesMaster" Target="../notesMasters/notesMaster1.xml"/></Relationships>
</file>

<file path=ppt/notesSlides/_rels/notesSlide315.xml.rels><?xml version="1.0" encoding="UTF-8" standalone="yes"?>
<Relationships xmlns="http://schemas.openxmlformats.org/package/2006/relationships"><Relationship Id="rId2" Type="http://schemas.openxmlformats.org/officeDocument/2006/relationships/slide" Target="../slides/slide480.xml"/><Relationship Id="rId1" Type="http://schemas.openxmlformats.org/officeDocument/2006/relationships/notesMaster" Target="../notesMasters/notesMaster1.xml"/></Relationships>
</file>

<file path=ppt/notesSlides/_rels/notesSlide316.xml.rels><?xml version="1.0" encoding="UTF-8" standalone="yes"?>
<Relationships xmlns="http://schemas.openxmlformats.org/package/2006/relationships"><Relationship Id="rId2" Type="http://schemas.openxmlformats.org/officeDocument/2006/relationships/slide" Target="../slides/slide481.xml"/><Relationship Id="rId1" Type="http://schemas.openxmlformats.org/officeDocument/2006/relationships/notesMaster" Target="../notesMasters/notesMaster1.xml"/></Relationships>
</file>

<file path=ppt/notesSlides/_rels/notesSlide317.xml.rels><?xml version="1.0" encoding="UTF-8" standalone="yes"?>
<Relationships xmlns="http://schemas.openxmlformats.org/package/2006/relationships"><Relationship Id="rId2" Type="http://schemas.openxmlformats.org/officeDocument/2006/relationships/slide" Target="../slides/slide482.xml"/><Relationship Id="rId1" Type="http://schemas.openxmlformats.org/officeDocument/2006/relationships/notesMaster" Target="../notesMasters/notesMaster1.xml"/></Relationships>
</file>

<file path=ppt/notesSlides/_rels/notesSlide318.xml.rels><?xml version="1.0" encoding="UTF-8" standalone="yes"?>
<Relationships xmlns="http://schemas.openxmlformats.org/package/2006/relationships"><Relationship Id="rId2" Type="http://schemas.openxmlformats.org/officeDocument/2006/relationships/slide" Target="../slides/slide485.xml"/><Relationship Id="rId1" Type="http://schemas.openxmlformats.org/officeDocument/2006/relationships/notesMaster" Target="../notesMasters/notesMaster1.xml"/></Relationships>
</file>

<file path=ppt/notesSlides/_rels/notesSlide319.xml.rels><?xml version="1.0" encoding="UTF-8" standalone="yes"?>
<Relationships xmlns="http://schemas.openxmlformats.org/package/2006/relationships"><Relationship Id="rId2" Type="http://schemas.openxmlformats.org/officeDocument/2006/relationships/slide" Target="../slides/slide48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0.xml.rels><?xml version="1.0" encoding="UTF-8" standalone="yes"?>
<Relationships xmlns="http://schemas.openxmlformats.org/package/2006/relationships"><Relationship Id="rId2" Type="http://schemas.openxmlformats.org/officeDocument/2006/relationships/slide" Target="../slides/slide487.xml"/><Relationship Id="rId1" Type="http://schemas.openxmlformats.org/officeDocument/2006/relationships/notesMaster" Target="../notesMasters/notesMaster1.xml"/></Relationships>
</file>

<file path=ppt/notesSlides/_rels/notesSlide321.xml.rels><?xml version="1.0" encoding="UTF-8" standalone="yes"?>
<Relationships xmlns="http://schemas.openxmlformats.org/package/2006/relationships"><Relationship Id="rId2" Type="http://schemas.openxmlformats.org/officeDocument/2006/relationships/slide" Target="../slides/slide488.xml"/><Relationship Id="rId1" Type="http://schemas.openxmlformats.org/officeDocument/2006/relationships/notesMaster" Target="../notesMasters/notesMaster1.xml"/></Relationships>
</file>

<file path=ppt/notesSlides/_rels/notesSlide322.xml.rels><?xml version="1.0" encoding="UTF-8" standalone="yes"?>
<Relationships xmlns="http://schemas.openxmlformats.org/package/2006/relationships"><Relationship Id="rId2" Type="http://schemas.openxmlformats.org/officeDocument/2006/relationships/slide" Target="../slides/slide489.xml"/><Relationship Id="rId1" Type="http://schemas.openxmlformats.org/officeDocument/2006/relationships/notesMaster" Target="../notesMasters/notesMaster1.xml"/></Relationships>
</file>

<file path=ppt/notesSlides/_rels/notesSlide323.xml.rels><?xml version="1.0" encoding="UTF-8" standalone="yes"?>
<Relationships xmlns="http://schemas.openxmlformats.org/package/2006/relationships"><Relationship Id="rId2" Type="http://schemas.openxmlformats.org/officeDocument/2006/relationships/slide" Target="../slides/slide50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9/20/2012 12:29 AM</a:t>
            </a:fld>
            <a:endParaRPr lang="en-US" dirty="0"/>
          </a:p>
        </p:txBody>
      </p:sp>
      <p:sp>
        <p:nvSpPr>
          <p:cNvPr id="6" name="Footer Placeholder 5"/>
          <p:cNvSpPr>
            <a:spLocks noGrp="1"/>
          </p:cNvSpPr>
          <p:nvPr>
            <p:ph type="ftr" sz="quarter" idx="12"/>
          </p:nvPr>
        </p:nvSpPr>
        <p:spPr>
          <a:xfrm>
            <a:off x="0" y="8685213"/>
            <a:ext cx="6172200" cy="457200"/>
          </a:xfrm>
        </p:spPr>
        <p:txBody>
          <a:bodyPr/>
          <a:lstStyle/>
          <a:p>
            <a:r>
              <a:rPr lang="en-US" sz="500"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a:p>
            <a:endParaRPr lang="en-US" sz="500" dirty="0">
              <a:latin typeface="Segoe UI" pitchFamily="34" charset="0"/>
            </a:endParaRPr>
          </a:p>
        </p:txBody>
      </p:sp>
      <p:sp>
        <p:nvSpPr>
          <p:cNvPr id="7" name="Slide Number Placeholder 6"/>
          <p:cNvSpPr>
            <a:spLocks noGrp="1"/>
          </p:cNvSpPr>
          <p:nvPr>
            <p:ph type="sldNum" sz="quarter" idx="13"/>
          </p:nvPr>
        </p:nvSpPr>
        <p:spPr>
          <a:xfrm>
            <a:off x="6172199" y="8685213"/>
            <a:ext cx="684213" cy="457200"/>
          </a:xfrm>
        </p:spPr>
        <p:txBody>
          <a:bodyPr/>
          <a:lstStyle/>
          <a:p>
            <a:fld id="{EC87E0CF-87F6-4B58-B8B8-DCAB2DAAF3CA}" type="slidenum">
              <a:rPr lang="en-US" smtClean="0"/>
              <a:pPr/>
              <a:t>1</a:t>
            </a:fld>
            <a:endParaRPr lang="en-US" dirty="0"/>
          </a:p>
        </p:txBody>
      </p:sp>
    </p:spTree>
    <p:extLst>
      <p:ext uri="{BB962C8B-B14F-4D97-AF65-F5344CB8AC3E}">
        <p14:creationId xmlns:p14="http://schemas.microsoft.com/office/powerpoint/2010/main" val="11316603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0</a:t>
            </a:fld>
            <a:endParaRPr lang="en-US" dirty="0"/>
          </a:p>
        </p:txBody>
      </p:sp>
    </p:spTree>
    <p:extLst>
      <p:ext uri="{BB962C8B-B14F-4D97-AF65-F5344CB8AC3E}">
        <p14:creationId xmlns:p14="http://schemas.microsoft.com/office/powerpoint/2010/main" val="3251787428"/>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2AE9589-9E56-4609-B319-5FBAC663B498}" type="slidenum">
              <a:rPr lang="en-US" smtClean="0">
                <a:solidFill>
                  <a:prstClr val="black"/>
                </a:solidFill>
              </a:rPr>
              <a:pPr/>
              <a:t>135</a:t>
            </a:fld>
            <a:endParaRPr lang="en-US">
              <a:solidFill>
                <a:prstClr val="black"/>
              </a:solidFill>
            </a:endParaRPr>
          </a:p>
        </p:txBody>
      </p:sp>
    </p:spTree>
    <p:extLst>
      <p:ext uri="{BB962C8B-B14F-4D97-AF65-F5344CB8AC3E}">
        <p14:creationId xmlns:p14="http://schemas.microsoft.com/office/powerpoint/2010/main" val="2206504672"/>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Ready13</a:t>
            </a:r>
          </a:p>
        </p:txBody>
      </p:sp>
      <p:sp>
        <p:nvSpPr>
          <p:cNvPr id="5" name="Date Placeholder 4"/>
          <p:cNvSpPr>
            <a:spLocks noGrp="1"/>
          </p:cNvSpPr>
          <p:nvPr>
            <p:ph type="dt" idx="11"/>
          </p:nvPr>
        </p:nvSpPr>
        <p:spPr/>
        <p:txBody>
          <a:bodyPr/>
          <a:lstStyle/>
          <a:p>
            <a:fld id="{B5D07093-162A-4008-B98C-B4027ABEF8DA}" type="datetime1">
              <a:rPr lang="en-US" smtClean="0">
                <a:solidFill>
                  <a:prstClr val="black"/>
                </a:solidFill>
              </a:rPr>
              <a:pPr/>
              <a:t>9/20/2012</a:t>
            </a:fld>
            <a:endParaRPr lang="en-US" dirty="0">
              <a:solidFill>
                <a:prstClr val="black"/>
              </a:solidFill>
            </a:endParaRPr>
          </a:p>
        </p:txBody>
      </p:sp>
      <p:sp>
        <p:nvSpPr>
          <p:cNvPr id="6" name="Footer Placeholder 5"/>
          <p:cNvSpPr>
            <a:spLocks noGrp="1"/>
          </p:cNvSpPr>
          <p:nvPr>
            <p:ph type="ftr" sz="quarter" idx="12"/>
          </p:nvPr>
        </p:nvSpPr>
        <p:spPr/>
        <p:txBody>
          <a:bodyPr/>
          <a:lstStyle/>
          <a:p>
            <a:r>
              <a:rPr lang="en-US"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srgbClr val="000000"/>
                </a:solidFill>
                <a:latin typeface="Segoe UI" pitchFamily="34" charset="0"/>
              </a:rPr>
            </a:br>
            <a:r>
              <a:rPr lang="en-US" smtClean="0">
                <a:solidFill>
                  <a:srgbClr val="000000"/>
                </a:solidFill>
                <a:latin typeface="Segoe UI" pitchFamily="34" charset="0"/>
              </a:rPr>
              <a:t>MICROSOFT MAKES NO WARRANTIES, EXPRESS, IMPLIED OR STATUTORY, AS TO THE INFORMATION IN THIS PRESENTATION.</a:t>
            </a:r>
            <a:endParaRPr lang="en-US" dirty="0" smtClean="0">
              <a:solidFill>
                <a:srgbClr val="000000"/>
              </a:solidFill>
              <a:latin typeface="Segoe UI" pitchFamily="34" charset="0"/>
            </a:endParaRPr>
          </a:p>
        </p:txBody>
      </p:sp>
      <p:sp>
        <p:nvSpPr>
          <p:cNvPr id="7" name="Slide Number Placeholder 6"/>
          <p:cNvSpPr>
            <a:spLocks noGrp="1"/>
          </p:cNvSpPr>
          <p:nvPr>
            <p:ph type="sldNum" sz="quarter" idx="13"/>
          </p:nvPr>
        </p:nvSpPr>
        <p:spPr/>
        <p:txBody>
          <a:bodyPr/>
          <a:lstStyle/>
          <a:p>
            <a:fld id="{8B263312-38AA-4E1E-B2B5-0F8F122B24FE}" type="slidenum">
              <a:rPr lang="en-US" smtClean="0">
                <a:solidFill>
                  <a:prstClr val="black"/>
                </a:solidFill>
              </a:rPr>
              <a:pPr/>
              <a:t>136</a:t>
            </a:fld>
            <a:endParaRPr lang="en-US" dirty="0">
              <a:solidFill>
                <a:prstClr val="black"/>
              </a:solidFill>
            </a:endParaRPr>
          </a:p>
        </p:txBody>
      </p:sp>
    </p:spTree>
    <p:extLst>
      <p:ext uri="{BB962C8B-B14F-4D97-AF65-F5344CB8AC3E}">
        <p14:creationId xmlns:p14="http://schemas.microsoft.com/office/powerpoint/2010/main" val="1483763568"/>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37</a:t>
            </a:fld>
            <a:endParaRPr lang="en-US" dirty="0">
              <a:solidFill>
                <a:prstClr val="black"/>
              </a:solidFill>
            </a:endParaRPr>
          </a:p>
        </p:txBody>
      </p:sp>
    </p:spTree>
    <p:extLst>
      <p:ext uri="{BB962C8B-B14F-4D97-AF65-F5344CB8AC3E}">
        <p14:creationId xmlns:p14="http://schemas.microsoft.com/office/powerpoint/2010/main" val="130926195"/>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pPr lvl="0" rtl="0"/>
            <a:endParaRPr lang="en-US" dirty="0"/>
          </a:p>
        </p:txBody>
      </p:sp>
      <p:sp>
        <p:nvSpPr>
          <p:cNvPr id="4" name="Slide Number Placeholder 3"/>
          <p:cNvSpPr>
            <a:spLocks noGrp="1"/>
          </p:cNvSpPr>
          <p:nvPr>
            <p:ph type="sldNum" sz="quarter" idx="10"/>
          </p:nvPr>
        </p:nvSpPr>
        <p:spPr/>
        <p:txBody>
          <a:bodyPr/>
          <a:lstStyle/>
          <a:p>
            <a:fld id="{545F19C1-17C6-431C-8675-CD514DBFC6FC}" type="slidenum">
              <a:rPr lang="en-US" smtClean="0">
                <a:solidFill>
                  <a:prstClr val="black"/>
                </a:solidFill>
              </a:rPr>
              <a:pPr/>
              <a:t>138</a:t>
            </a:fld>
            <a:endParaRPr lang="en-US">
              <a:solidFill>
                <a:prstClr val="black"/>
              </a:solidFill>
            </a:endParaRPr>
          </a:p>
        </p:txBody>
      </p:sp>
    </p:spTree>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39</a:t>
            </a:fld>
            <a:endParaRPr lang="en-US" dirty="0">
              <a:solidFill>
                <a:prstClr val="black"/>
              </a:solidFill>
            </a:endParaRPr>
          </a:p>
        </p:txBody>
      </p:sp>
    </p:spTree>
    <p:extLst>
      <p:ext uri="{BB962C8B-B14F-4D97-AF65-F5344CB8AC3E}">
        <p14:creationId xmlns:p14="http://schemas.microsoft.com/office/powerpoint/2010/main" val="1112296435"/>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a:noFill/>
          <a:ln w="12700">
            <a:solidFill>
              <a:prstClr val="black"/>
            </a:solidFill>
          </a:ln>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40</a:t>
            </a:fld>
            <a:endParaRPr lang="en-US" dirty="0"/>
          </a:p>
        </p:txBody>
      </p:sp>
    </p:spTree>
    <p:extLst>
      <p:ext uri="{BB962C8B-B14F-4D97-AF65-F5344CB8AC3E}">
        <p14:creationId xmlns:p14="http://schemas.microsoft.com/office/powerpoint/2010/main" val="639799711"/>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5" name="Date Placeholder 4"/>
          <p:cNvSpPr>
            <a:spLocks noGrp="1"/>
          </p:cNvSpPr>
          <p:nvPr>
            <p:ph type="dt" idx="10"/>
          </p:nvPr>
        </p:nvSpPr>
        <p:spPr/>
        <p:txBody>
          <a:bodyPr/>
          <a:lstStyle/>
          <a:p>
            <a:fld id="{3122E26E-D36C-46C9-A3BA-7B605FE94A07}" type="datetime1">
              <a:rPr lang="en-US" smtClean="0">
                <a:solidFill>
                  <a:prstClr val="black"/>
                </a:solidFill>
              </a:rPr>
              <a:pPr/>
              <a:t>9/20/2012</a:t>
            </a:fld>
            <a:endParaRPr lang="en-CA" dirty="0">
              <a:solidFill>
                <a:prstClr val="black"/>
              </a:solidFill>
            </a:endParaRPr>
          </a:p>
        </p:txBody>
      </p:sp>
      <p:sp>
        <p:nvSpPr>
          <p:cNvPr id="6" name="Footer Placeholder 5"/>
          <p:cNvSpPr>
            <a:spLocks noGrp="1"/>
          </p:cNvSpPr>
          <p:nvPr>
            <p:ph type="ftr" sz="quarter" idx="11"/>
          </p:nvPr>
        </p:nvSpPr>
        <p:spPr/>
        <p:txBody>
          <a:body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fld id="{38A147FA-3FD6-4031-95DE-04146A18DB50}" type="slidenum">
              <a:rPr lang="en-CA" smtClean="0">
                <a:solidFill>
                  <a:prstClr val="black"/>
                </a:solidFill>
              </a:rPr>
              <a:pPr/>
              <a:t>141</a:t>
            </a:fld>
            <a:endParaRPr lang="en-CA" dirty="0">
              <a:solidFill>
                <a:prstClr val="black"/>
              </a:solidFill>
            </a:endParaRPr>
          </a:p>
        </p:txBody>
      </p:sp>
      <p:sp>
        <p:nvSpPr>
          <p:cNvPr id="8" name="Header Placeholder 7"/>
          <p:cNvSpPr>
            <a:spLocks noGrp="1"/>
          </p:cNvSpPr>
          <p:nvPr>
            <p:ph type="hdr" sz="quarter" idx="13"/>
          </p:nvPr>
        </p:nvSpPr>
        <p:spPr/>
        <p:txBody>
          <a:bodyPr/>
          <a:lstStyle/>
          <a:p>
            <a:r>
              <a:rPr lang="en-CA" dirty="0" smtClean="0">
                <a:solidFill>
                  <a:prstClr val="black"/>
                </a:solidFill>
              </a:rPr>
              <a:t>PASS Summit 2011</a:t>
            </a:r>
            <a:endParaRPr lang="en-CA" dirty="0">
              <a:solidFill>
                <a:prstClr val="black"/>
              </a:solidFill>
            </a:endParaRPr>
          </a:p>
        </p:txBody>
      </p:sp>
    </p:spTree>
    <p:extLst>
      <p:ext uri="{BB962C8B-B14F-4D97-AF65-F5344CB8AC3E}">
        <p14:creationId xmlns:p14="http://schemas.microsoft.com/office/powerpoint/2010/main" val="1321151417"/>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5" name="Date Placeholder 4"/>
          <p:cNvSpPr>
            <a:spLocks noGrp="1"/>
          </p:cNvSpPr>
          <p:nvPr>
            <p:ph type="dt" idx="10"/>
          </p:nvPr>
        </p:nvSpPr>
        <p:spPr/>
        <p:txBody>
          <a:bodyPr/>
          <a:lstStyle/>
          <a:p>
            <a:fld id="{47075EAF-EE9E-4774-88EB-C79ED2D8261C}" type="datetime1">
              <a:rPr lang="en-US" smtClean="0"/>
              <a:t>9/20/2012</a:t>
            </a:fld>
            <a:endParaRPr lang="en-CA" dirty="0"/>
          </a:p>
        </p:txBody>
      </p:sp>
      <p:sp>
        <p:nvSpPr>
          <p:cNvPr id="6" name="Footer Placeholder 5"/>
          <p:cNvSpPr>
            <a:spLocks noGrp="1"/>
          </p:cNvSpPr>
          <p:nvPr>
            <p:ph type="ftr" sz="quarter" idx="11"/>
          </p:nvPr>
        </p:nvSpPr>
        <p:spPr/>
        <p:txBody>
          <a:body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fld id="{38A147FA-3FD6-4031-95DE-04146A18DB50}" type="slidenum">
              <a:rPr lang="en-CA" smtClean="0"/>
              <a:pPr/>
              <a:t>142</a:t>
            </a:fld>
            <a:endParaRPr lang="en-CA" dirty="0"/>
          </a:p>
        </p:txBody>
      </p:sp>
      <p:sp>
        <p:nvSpPr>
          <p:cNvPr id="8" name="Header Placeholder 7"/>
          <p:cNvSpPr>
            <a:spLocks noGrp="1"/>
          </p:cNvSpPr>
          <p:nvPr>
            <p:ph type="hdr" sz="quarter" idx="13"/>
          </p:nvPr>
        </p:nvSpPr>
        <p:spPr/>
        <p:txBody>
          <a:bodyPr/>
          <a:lstStyle/>
          <a:p>
            <a:r>
              <a:rPr lang="en-CA" dirty="0" smtClean="0"/>
              <a:t>PASS Summit 2011</a:t>
            </a:r>
            <a:endParaRPr lang="en-CA" dirty="0"/>
          </a:p>
        </p:txBody>
      </p:sp>
    </p:spTree>
    <p:extLst>
      <p:ext uri="{BB962C8B-B14F-4D97-AF65-F5344CB8AC3E}">
        <p14:creationId xmlns:p14="http://schemas.microsoft.com/office/powerpoint/2010/main" val="1321151417"/>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5" name="Date Placeholder 4"/>
          <p:cNvSpPr>
            <a:spLocks noGrp="1"/>
          </p:cNvSpPr>
          <p:nvPr>
            <p:ph type="dt" idx="10"/>
          </p:nvPr>
        </p:nvSpPr>
        <p:spPr/>
        <p:txBody>
          <a:bodyPr/>
          <a:lstStyle/>
          <a:p>
            <a:fld id="{95356FC4-3C86-4787-9B30-100153B75150}" type="datetime1">
              <a:rPr lang="en-US" smtClean="0"/>
              <a:t>9/20/2012</a:t>
            </a:fld>
            <a:endParaRPr lang="en-CA" dirty="0"/>
          </a:p>
        </p:txBody>
      </p:sp>
      <p:sp>
        <p:nvSpPr>
          <p:cNvPr id="6" name="Footer Placeholder 5"/>
          <p:cNvSpPr>
            <a:spLocks noGrp="1"/>
          </p:cNvSpPr>
          <p:nvPr>
            <p:ph type="ftr" sz="quarter" idx="11"/>
          </p:nvPr>
        </p:nvSpPr>
        <p:spPr/>
        <p:txBody>
          <a:body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fld id="{38A147FA-3FD6-4031-95DE-04146A18DB50}" type="slidenum">
              <a:rPr lang="en-CA" smtClean="0"/>
              <a:pPr/>
              <a:t>143</a:t>
            </a:fld>
            <a:endParaRPr lang="en-CA" dirty="0"/>
          </a:p>
        </p:txBody>
      </p:sp>
      <p:sp>
        <p:nvSpPr>
          <p:cNvPr id="8" name="Header Placeholder 7"/>
          <p:cNvSpPr>
            <a:spLocks noGrp="1"/>
          </p:cNvSpPr>
          <p:nvPr>
            <p:ph type="hdr" sz="quarter" idx="13"/>
          </p:nvPr>
        </p:nvSpPr>
        <p:spPr/>
        <p:txBody>
          <a:bodyPr/>
          <a:lstStyle/>
          <a:p>
            <a:r>
              <a:rPr lang="en-CA" dirty="0" smtClean="0"/>
              <a:t>PASS Summit 2011</a:t>
            </a:r>
            <a:endParaRPr lang="en-CA" dirty="0"/>
          </a:p>
        </p:txBody>
      </p:sp>
    </p:spTree>
    <p:extLst>
      <p:ext uri="{BB962C8B-B14F-4D97-AF65-F5344CB8AC3E}">
        <p14:creationId xmlns:p14="http://schemas.microsoft.com/office/powerpoint/2010/main" val="1321151417"/>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5" name="Date Placeholder 4"/>
          <p:cNvSpPr>
            <a:spLocks noGrp="1"/>
          </p:cNvSpPr>
          <p:nvPr>
            <p:ph type="dt" idx="10"/>
          </p:nvPr>
        </p:nvSpPr>
        <p:spPr/>
        <p:txBody>
          <a:bodyPr/>
          <a:lstStyle/>
          <a:p>
            <a:fld id="{95356FC4-3C86-4787-9B30-100153B75150}" type="datetime1">
              <a:rPr lang="en-US" smtClean="0"/>
              <a:t>9/20/2012</a:t>
            </a:fld>
            <a:endParaRPr lang="en-CA" dirty="0"/>
          </a:p>
        </p:txBody>
      </p:sp>
      <p:sp>
        <p:nvSpPr>
          <p:cNvPr id="6" name="Footer Placeholder 5"/>
          <p:cNvSpPr>
            <a:spLocks noGrp="1"/>
          </p:cNvSpPr>
          <p:nvPr>
            <p:ph type="ftr" sz="quarter" idx="11"/>
          </p:nvPr>
        </p:nvSpPr>
        <p:spPr/>
        <p:txBody>
          <a:body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fld id="{38A147FA-3FD6-4031-95DE-04146A18DB50}" type="slidenum">
              <a:rPr lang="en-CA" smtClean="0"/>
              <a:pPr/>
              <a:t>144</a:t>
            </a:fld>
            <a:endParaRPr lang="en-CA" dirty="0"/>
          </a:p>
        </p:txBody>
      </p:sp>
      <p:sp>
        <p:nvSpPr>
          <p:cNvPr id="8" name="Header Placeholder 7"/>
          <p:cNvSpPr>
            <a:spLocks noGrp="1"/>
          </p:cNvSpPr>
          <p:nvPr>
            <p:ph type="hdr" sz="quarter" idx="13"/>
          </p:nvPr>
        </p:nvSpPr>
        <p:spPr/>
        <p:txBody>
          <a:bodyPr/>
          <a:lstStyle/>
          <a:p>
            <a:r>
              <a:rPr lang="en-CA" dirty="0" smtClean="0"/>
              <a:t>PASS Summit 2011</a:t>
            </a:r>
            <a:endParaRPr lang="en-CA" dirty="0"/>
          </a:p>
        </p:txBody>
      </p:sp>
    </p:spTree>
    <p:extLst>
      <p:ext uri="{BB962C8B-B14F-4D97-AF65-F5344CB8AC3E}">
        <p14:creationId xmlns:p14="http://schemas.microsoft.com/office/powerpoint/2010/main" val="13211514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9/20/2012 12:36 A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11</a:t>
            </a:fld>
            <a:endParaRPr lang="en-US" dirty="0"/>
          </a:p>
        </p:txBody>
      </p:sp>
    </p:spTree>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5" name="Date Placeholder 4"/>
          <p:cNvSpPr>
            <a:spLocks noGrp="1"/>
          </p:cNvSpPr>
          <p:nvPr>
            <p:ph type="dt" idx="10"/>
          </p:nvPr>
        </p:nvSpPr>
        <p:spPr/>
        <p:txBody>
          <a:bodyPr/>
          <a:lstStyle/>
          <a:p>
            <a:fld id="{95356FC4-3C86-4787-9B30-100153B75150}" type="datetime1">
              <a:rPr lang="en-US" smtClean="0"/>
              <a:t>9/20/2012</a:t>
            </a:fld>
            <a:endParaRPr lang="en-CA" dirty="0"/>
          </a:p>
        </p:txBody>
      </p:sp>
      <p:sp>
        <p:nvSpPr>
          <p:cNvPr id="6" name="Footer Placeholder 5"/>
          <p:cNvSpPr>
            <a:spLocks noGrp="1"/>
          </p:cNvSpPr>
          <p:nvPr>
            <p:ph type="ftr" sz="quarter" idx="11"/>
          </p:nvPr>
        </p:nvSpPr>
        <p:spPr/>
        <p:txBody>
          <a:body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fld id="{38A147FA-3FD6-4031-95DE-04146A18DB50}" type="slidenum">
              <a:rPr lang="en-CA" smtClean="0"/>
              <a:pPr/>
              <a:t>145</a:t>
            </a:fld>
            <a:endParaRPr lang="en-CA" dirty="0"/>
          </a:p>
        </p:txBody>
      </p:sp>
      <p:sp>
        <p:nvSpPr>
          <p:cNvPr id="8" name="Header Placeholder 7"/>
          <p:cNvSpPr>
            <a:spLocks noGrp="1"/>
          </p:cNvSpPr>
          <p:nvPr>
            <p:ph type="hdr" sz="quarter" idx="13"/>
          </p:nvPr>
        </p:nvSpPr>
        <p:spPr/>
        <p:txBody>
          <a:bodyPr/>
          <a:lstStyle/>
          <a:p>
            <a:r>
              <a:rPr lang="en-CA" dirty="0" smtClean="0"/>
              <a:t>PASS Summit 2011</a:t>
            </a:r>
            <a:endParaRPr lang="en-CA" dirty="0"/>
          </a:p>
        </p:txBody>
      </p:sp>
    </p:spTree>
    <p:extLst>
      <p:ext uri="{BB962C8B-B14F-4D97-AF65-F5344CB8AC3E}">
        <p14:creationId xmlns:p14="http://schemas.microsoft.com/office/powerpoint/2010/main" val="1321151417"/>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5" name="Date Placeholder 4"/>
          <p:cNvSpPr>
            <a:spLocks noGrp="1"/>
          </p:cNvSpPr>
          <p:nvPr>
            <p:ph type="dt" idx="10"/>
          </p:nvPr>
        </p:nvSpPr>
        <p:spPr/>
        <p:txBody>
          <a:bodyPr/>
          <a:lstStyle/>
          <a:p>
            <a:fld id="{95356FC4-3C86-4787-9B30-100153B75150}" type="datetime1">
              <a:rPr lang="en-US" smtClean="0"/>
              <a:t>9/20/2012</a:t>
            </a:fld>
            <a:endParaRPr lang="en-CA" dirty="0"/>
          </a:p>
        </p:txBody>
      </p:sp>
      <p:sp>
        <p:nvSpPr>
          <p:cNvPr id="6" name="Footer Placeholder 5"/>
          <p:cNvSpPr>
            <a:spLocks noGrp="1"/>
          </p:cNvSpPr>
          <p:nvPr>
            <p:ph type="ftr" sz="quarter" idx="11"/>
          </p:nvPr>
        </p:nvSpPr>
        <p:spPr/>
        <p:txBody>
          <a:body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fld id="{38A147FA-3FD6-4031-95DE-04146A18DB50}" type="slidenum">
              <a:rPr lang="en-CA" smtClean="0"/>
              <a:pPr/>
              <a:t>146</a:t>
            </a:fld>
            <a:endParaRPr lang="en-CA" dirty="0"/>
          </a:p>
        </p:txBody>
      </p:sp>
      <p:sp>
        <p:nvSpPr>
          <p:cNvPr id="8" name="Header Placeholder 7"/>
          <p:cNvSpPr>
            <a:spLocks noGrp="1"/>
          </p:cNvSpPr>
          <p:nvPr>
            <p:ph type="hdr" sz="quarter" idx="13"/>
          </p:nvPr>
        </p:nvSpPr>
        <p:spPr/>
        <p:txBody>
          <a:bodyPr/>
          <a:lstStyle/>
          <a:p>
            <a:r>
              <a:rPr lang="en-CA" dirty="0" smtClean="0"/>
              <a:t>PASS Summit 2011</a:t>
            </a:r>
            <a:endParaRPr lang="en-CA" dirty="0"/>
          </a:p>
        </p:txBody>
      </p:sp>
    </p:spTree>
    <p:extLst>
      <p:ext uri="{BB962C8B-B14F-4D97-AF65-F5344CB8AC3E}">
        <p14:creationId xmlns:p14="http://schemas.microsoft.com/office/powerpoint/2010/main" val="1321151417"/>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5" name="Date Placeholder 4"/>
          <p:cNvSpPr>
            <a:spLocks noGrp="1"/>
          </p:cNvSpPr>
          <p:nvPr>
            <p:ph type="dt" idx="10"/>
          </p:nvPr>
        </p:nvSpPr>
        <p:spPr/>
        <p:txBody>
          <a:bodyPr/>
          <a:lstStyle/>
          <a:p>
            <a:fld id="{463EC082-F11D-4253-99B2-F3EF22022AF6}" type="datetime1">
              <a:rPr lang="en-US" smtClean="0"/>
              <a:t>9/20/2012</a:t>
            </a:fld>
            <a:endParaRPr lang="en-CA" dirty="0"/>
          </a:p>
        </p:txBody>
      </p:sp>
      <p:sp>
        <p:nvSpPr>
          <p:cNvPr id="6" name="Footer Placeholder 5"/>
          <p:cNvSpPr>
            <a:spLocks noGrp="1"/>
          </p:cNvSpPr>
          <p:nvPr>
            <p:ph type="ftr" sz="quarter" idx="11"/>
          </p:nvPr>
        </p:nvSpPr>
        <p:spPr/>
        <p:txBody>
          <a:body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fld id="{38A147FA-3FD6-4031-95DE-04146A18DB50}" type="slidenum">
              <a:rPr lang="en-CA" smtClean="0"/>
              <a:pPr/>
              <a:t>147</a:t>
            </a:fld>
            <a:endParaRPr lang="en-CA" dirty="0"/>
          </a:p>
        </p:txBody>
      </p:sp>
      <p:sp>
        <p:nvSpPr>
          <p:cNvPr id="8" name="Header Placeholder 7"/>
          <p:cNvSpPr>
            <a:spLocks noGrp="1"/>
          </p:cNvSpPr>
          <p:nvPr>
            <p:ph type="hdr" sz="quarter" idx="13"/>
          </p:nvPr>
        </p:nvSpPr>
        <p:spPr/>
        <p:txBody>
          <a:bodyPr/>
          <a:lstStyle/>
          <a:p>
            <a:r>
              <a:rPr lang="en-CA" dirty="0" smtClean="0"/>
              <a:t>PASS Summit 2011</a:t>
            </a:r>
            <a:endParaRPr lang="en-CA" dirty="0"/>
          </a:p>
        </p:txBody>
      </p:sp>
    </p:spTree>
    <p:extLst>
      <p:ext uri="{BB962C8B-B14F-4D97-AF65-F5344CB8AC3E}">
        <p14:creationId xmlns:p14="http://schemas.microsoft.com/office/powerpoint/2010/main" val="1321151417"/>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5" name="Date Placeholder 4"/>
          <p:cNvSpPr>
            <a:spLocks noGrp="1"/>
          </p:cNvSpPr>
          <p:nvPr>
            <p:ph type="dt" idx="10"/>
          </p:nvPr>
        </p:nvSpPr>
        <p:spPr/>
        <p:txBody>
          <a:bodyPr/>
          <a:lstStyle/>
          <a:p>
            <a:fld id="{85B70506-C60C-46FD-86E1-BE0B1CF1F309}" type="datetime1">
              <a:rPr lang="en-US" smtClean="0"/>
              <a:t>9/20/2012</a:t>
            </a:fld>
            <a:endParaRPr lang="en-CA" dirty="0"/>
          </a:p>
        </p:txBody>
      </p:sp>
      <p:sp>
        <p:nvSpPr>
          <p:cNvPr id="6" name="Footer Placeholder 5"/>
          <p:cNvSpPr>
            <a:spLocks noGrp="1"/>
          </p:cNvSpPr>
          <p:nvPr>
            <p:ph type="ftr" sz="quarter" idx="11"/>
          </p:nvPr>
        </p:nvSpPr>
        <p:spPr/>
        <p:txBody>
          <a:body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fld id="{38A147FA-3FD6-4031-95DE-04146A18DB50}" type="slidenum">
              <a:rPr lang="en-CA" smtClean="0"/>
              <a:pPr/>
              <a:t>148</a:t>
            </a:fld>
            <a:endParaRPr lang="en-CA" dirty="0"/>
          </a:p>
        </p:txBody>
      </p:sp>
      <p:sp>
        <p:nvSpPr>
          <p:cNvPr id="8" name="Header Placeholder 7"/>
          <p:cNvSpPr>
            <a:spLocks noGrp="1"/>
          </p:cNvSpPr>
          <p:nvPr>
            <p:ph type="hdr" sz="quarter" idx="13"/>
          </p:nvPr>
        </p:nvSpPr>
        <p:spPr/>
        <p:txBody>
          <a:bodyPr/>
          <a:lstStyle/>
          <a:p>
            <a:r>
              <a:rPr lang="en-CA" dirty="0" smtClean="0"/>
              <a:t>PASS Summit 2011</a:t>
            </a:r>
            <a:endParaRPr lang="en-CA" dirty="0"/>
          </a:p>
        </p:txBody>
      </p:sp>
    </p:spTree>
    <p:extLst>
      <p:ext uri="{BB962C8B-B14F-4D97-AF65-F5344CB8AC3E}">
        <p14:creationId xmlns:p14="http://schemas.microsoft.com/office/powerpoint/2010/main" val="1321151417"/>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5" name="Date Placeholder 4"/>
          <p:cNvSpPr>
            <a:spLocks noGrp="1"/>
          </p:cNvSpPr>
          <p:nvPr>
            <p:ph type="dt" idx="10"/>
          </p:nvPr>
        </p:nvSpPr>
        <p:spPr/>
        <p:txBody>
          <a:bodyPr/>
          <a:lstStyle/>
          <a:p>
            <a:fld id="{A218ACB8-0E3C-4E32-AB0F-8C0A05CBA1A5}" type="datetime1">
              <a:rPr lang="en-US" smtClean="0"/>
              <a:t>9/20/2012</a:t>
            </a:fld>
            <a:endParaRPr lang="en-CA" dirty="0"/>
          </a:p>
        </p:txBody>
      </p:sp>
      <p:sp>
        <p:nvSpPr>
          <p:cNvPr id="6" name="Footer Placeholder 5"/>
          <p:cNvSpPr>
            <a:spLocks noGrp="1"/>
          </p:cNvSpPr>
          <p:nvPr>
            <p:ph type="ftr" sz="quarter" idx="11"/>
          </p:nvPr>
        </p:nvSpPr>
        <p:spPr/>
        <p:txBody>
          <a:body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fld id="{38A147FA-3FD6-4031-95DE-04146A18DB50}" type="slidenum">
              <a:rPr lang="en-CA" smtClean="0"/>
              <a:pPr/>
              <a:t>149</a:t>
            </a:fld>
            <a:endParaRPr lang="en-CA" dirty="0"/>
          </a:p>
        </p:txBody>
      </p:sp>
      <p:sp>
        <p:nvSpPr>
          <p:cNvPr id="8" name="Header Placeholder 7"/>
          <p:cNvSpPr>
            <a:spLocks noGrp="1"/>
          </p:cNvSpPr>
          <p:nvPr>
            <p:ph type="hdr" sz="quarter" idx="13"/>
          </p:nvPr>
        </p:nvSpPr>
        <p:spPr/>
        <p:txBody>
          <a:bodyPr/>
          <a:lstStyle/>
          <a:p>
            <a:r>
              <a:rPr lang="en-CA" dirty="0" smtClean="0"/>
              <a:t>PASS Summit 2011</a:t>
            </a:r>
            <a:endParaRPr lang="en-CA" dirty="0"/>
          </a:p>
        </p:txBody>
      </p:sp>
    </p:spTree>
    <p:extLst>
      <p:ext uri="{BB962C8B-B14F-4D97-AF65-F5344CB8AC3E}">
        <p14:creationId xmlns:p14="http://schemas.microsoft.com/office/powerpoint/2010/main" val="1321151417"/>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5" name="Date Placeholder 4"/>
          <p:cNvSpPr>
            <a:spLocks noGrp="1"/>
          </p:cNvSpPr>
          <p:nvPr>
            <p:ph type="dt" idx="10"/>
          </p:nvPr>
        </p:nvSpPr>
        <p:spPr/>
        <p:txBody>
          <a:bodyPr/>
          <a:lstStyle/>
          <a:p>
            <a:fld id="{87FD23EA-29F3-4505-980B-907AEB8C353D}" type="datetime1">
              <a:rPr lang="en-US" smtClean="0"/>
              <a:t>9/20/2012</a:t>
            </a:fld>
            <a:endParaRPr lang="en-CA" dirty="0"/>
          </a:p>
        </p:txBody>
      </p:sp>
      <p:sp>
        <p:nvSpPr>
          <p:cNvPr id="6" name="Footer Placeholder 5"/>
          <p:cNvSpPr>
            <a:spLocks noGrp="1"/>
          </p:cNvSpPr>
          <p:nvPr>
            <p:ph type="ftr" sz="quarter" idx="11"/>
          </p:nvPr>
        </p:nvSpPr>
        <p:spPr/>
        <p:txBody>
          <a:body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fld id="{38A147FA-3FD6-4031-95DE-04146A18DB50}" type="slidenum">
              <a:rPr lang="en-CA" smtClean="0"/>
              <a:pPr/>
              <a:t>150</a:t>
            </a:fld>
            <a:endParaRPr lang="en-CA" dirty="0"/>
          </a:p>
        </p:txBody>
      </p:sp>
      <p:sp>
        <p:nvSpPr>
          <p:cNvPr id="8" name="Header Placeholder 7"/>
          <p:cNvSpPr>
            <a:spLocks noGrp="1"/>
          </p:cNvSpPr>
          <p:nvPr>
            <p:ph type="hdr" sz="quarter" idx="13"/>
          </p:nvPr>
        </p:nvSpPr>
        <p:spPr/>
        <p:txBody>
          <a:bodyPr/>
          <a:lstStyle/>
          <a:p>
            <a:r>
              <a:rPr lang="en-CA" dirty="0" smtClean="0"/>
              <a:t>PASS Summit 2011</a:t>
            </a:r>
            <a:endParaRPr lang="en-CA" dirty="0"/>
          </a:p>
        </p:txBody>
      </p:sp>
    </p:spTree>
    <p:extLst>
      <p:ext uri="{BB962C8B-B14F-4D97-AF65-F5344CB8AC3E}">
        <p14:creationId xmlns:p14="http://schemas.microsoft.com/office/powerpoint/2010/main" val="1321151417"/>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5" name="Date Placeholder 4"/>
          <p:cNvSpPr>
            <a:spLocks noGrp="1"/>
          </p:cNvSpPr>
          <p:nvPr>
            <p:ph type="dt" idx="10"/>
          </p:nvPr>
        </p:nvSpPr>
        <p:spPr/>
        <p:txBody>
          <a:bodyPr/>
          <a:lstStyle/>
          <a:p>
            <a:fld id="{392F94EB-3B15-4792-ACE0-D6569C714BBA}" type="datetime1">
              <a:rPr lang="en-US" smtClean="0"/>
              <a:t>9/20/2012</a:t>
            </a:fld>
            <a:endParaRPr lang="en-CA" dirty="0"/>
          </a:p>
        </p:txBody>
      </p:sp>
      <p:sp>
        <p:nvSpPr>
          <p:cNvPr id="6" name="Footer Placeholder 5"/>
          <p:cNvSpPr>
            <a:spLocks noGrp="1"/>
          </p:cNvSpPr>
          <p:nvPr>
            <p:ph type="ftr" sz="quarter" idx="11"/>
          </p:nvPr>
        </p:nvSpPr>
        <p:spPr/>
        <p:txBody>
          <a:body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fld id="{38A147FA-3FD6-4031-95DE-04146A18DB50}" type="slidenum">
              <a:rPr lang="en-CA" smtClean="0"/>
              <a:pPr/>
              <a:t>151</a:t>
            </a:fld>
            <a:endParaRPr lang="en-CA" dirty="0"/>
          </a:p>
        </p:txBody>
      </p:sp>
      <p:sp>
        <p:nvSpPr>
          <p:cNvPr id="8" name="Header Placeholder 7"/>
          <p:cNvSpPr>
            <a:spLocks noGrp="1"/>
          </p:cNvSpPr>
          <p:nvPr>
            <p:ph type="hdr" sz="quarter" idx="13"/>
          </p:nvPr>
        </p:nvSpPr>
        <p:spPr/>
        <p:txBody>
          <a:bodyPr/>
          <a:lstStyle/>
          <a:p>
            <a:r>
              <a:rPr lang="en-CA" dirty="0" smtClean="0"/>
              <a:t>PASS Summit 2011</a:t>
            </a:r>
            <a:endParaRPr lang="en-CA" dirty="0"/>
          </a:p>
        </p:txBody>
      </p:sp>
    </p:spTree>
    <p:extLst>
      <p:ext uri="{BB962C8B-B14F-4D97-AF65-F5344CB8AC3E}">
        <p14:creationId xmlns:p14="http://schemas.microsoft.com/office/powerpoint/2010/main" val="1321151417"/>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a:noFill/>
          <a:ln w="12700">
            <a:solidFill>
              <a:prstClr val="black"/>
            </a:solidFill>
          </a:ln>
        </p:spPr>
      </p:sp>
      <p:sp>
        <p:nvSpPr>
          <p:cNvPr id="3" name="Notes Placeholder 2"/>
          <p:cNvSpPr>
            <a:spLocks noGrp="1"/>
          </p:cNvSpPr>
          <p:nvPr>
            <p:ph type="body" idx="1"/>
          </p:nvPr>
        </p:nvSpPr>
        <p:spPr/>
        <p:txBody>
          <a:bodyPr/>
          <a:lstStyle/>
          <a:p>
            <a:pPr marL="328070" marR="0" lvl="2" indent="-11509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2000" i="1" dirty="0" smtClean="0"/>
              <a:t>“I do not have any storage automation”</a:t>
            </a:r>
            <a:endParaRPr lang="en-US" sz="2000" dirty="0" smtClean="0"/>
          </a:p>
          <a:p>
            <a:pPr lvl="2"/>
            <a:r>
              <a:rPr lang="en-US" sz="2000" dirty="0" smtClean="0"/>
              <a:t>86% no scripting/automation</a:t>
            </a:r>
          </a:p>
          <a:p>
            <a:pPr lvl="3"/>
            <a:r>
              <a:rPr lang="en-US" dirty="0" smtClean="0"/>
              <a:t>50% don’t have the expertise</a:t>
            </a:r>
          </a:p>
          <a:p>
            <a:pPr lvl="3"/>
            <a:r>
              <a:rPr lang="en-US" dirty="0" smtClean="0"/>
              <a:t>50% have to many APIs to deal with</a:t>
            </a:r>
          </a:p>
          <a:p>
            <a:pPr lvl="2"/>
            <a:r>
              <a:rPr lang="en-US" sz="2000" dirty="0" smtClean="0"/>
              <a:t>14% some scripting/automation</a:t>
            </a:r>
          </a:p>
          <a:p>
            <a:pPr lvl="3"/>
            <a:r>
              <a:rPr lang="en-US" dirty="0" smtClean="0"/>
              <a:t>Primarily to eliminate human error</a:t>
            </a:r>
          </a:p>
          <a:p>
            <a:endParaRPr lang="en-US" i="1" dirty="0" smtClean="0"/>
          </a:p>
          <a:p>
            <a:endParaRPr lang="en-US" i="1" dirty="0" smtClean="0"/>
          </a:p>
          <a:p>
            <a:r>
              <a:rPr lang="en-US" b="1" i="0" dirty="0" smtClean="0"/>
              <a:t>Original – problem here</a:t>
            </a:r>
            <a:r>
              <a:rPr lang="en-US" b="1" i="0" baseline="0" dirty="0" smtClean="0"/>
              <a:t> is this is written as OUR customers, not in the partner voice. So slightly different take. Switched above…</a:t>
            </a:r>
            <a:endParaRPr lang="en-US" b="1" i="0" dirty="0" smtClean="0"/>
          </a:p>
          <a:p>
            <a:r>
              <a:rPr lang="en-US" i="1" dirty="0" smtClean="0"/>
              <a:t>I have no visibility into storage. I do not know how my VMs and Hyper-V hosts relate to the underlying storage environment</a:t>
            </a:r>
          </a:p>
          <a:p>
            <a:endParaRPr lang="en-US" i="1" dirty="0" smtClean="0"/>
          </a:p>
          <a:p>
            <a:r>
              <a:rPr lang="en-US" i="1" dirty="0" smtClean="0"/>
              <a:t>I want to adopt the private cloud model in my datacenter. I need storage on-demand. Today when I need storage, the request can take days or weeks and sometimes is done incorrectly</a:t>
            </a:r>
          </a:p>
          <a:p>
            <a:endParaRPr lang="en-US" i="1" dirty="0" smtClean="0"/>
          </a:p>
          <a:p>
            <a:r>
              <a:rPr lang="en-US" i="1" dirty="0" smtClean="0"/>
              <a:t>I want to automate more storage tasks but I simply don’t have the time or expertise to do this.</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52</a:t>
            </a:fld>
            <a:endParaRPr lang="en-US" dirty="0"/>
          </a:p>
        </p:txBody>
      </p:sp>
    </p:spTree>
    <p:extLst>
      <p:ext uri="{BB962C8B-B14F-4D97-AF65-F5344CB8AC3E}">
        <p14:creationId xmlns:p14="http://schemas.microsoft.com/office/powerpoint/2010/main" val="2442695604"/>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5" name="Date Placeholder 4"/>
          <p:cNvSpPr>
            <a:spLocks noGrp="1"/>
          </p:cNvSpPr>
          <p:nvPr>
            <p:ph type="dt" idx="10"/>
          </p:nvPr>
        </p:nvSpPr>
        <p:spPr/>
        <p:txBody>
          <a:bodyPr/>
          <a:lstStyle/>
          <a:p>
            <a:fld id="{3122E26E-D36C-46C9-A3BA-7B605FE94A07}" type="datetime1">
              <a:rPr lang="en-US" smtClean="0"/>
              <a:t>9/20/2012</a:t>
            </a:fld>
            <a:endParaRPr lang="en-CA" dirty="0"/>
          </a:p>
        </p:txBody>
      </p:sp>
      <p:sp>
        <p:nvSpPr>
          <p:cNvPr id="6" name="Footer Placeholder 5"/>
          <p:cNvSpPr>
            <a:spLocks noGrp="1"/>
          </p:cNvSpPr>
          <p:nvPr>
            <p:ph type="ftr" sz="quarter" idx="11"/>
          </p:nvPr>
        </p:nvSpPr>
        <p:spPr/>
        <p:txBody>
          <a:body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fld id="{38A147FA-3FD6-4031-95DE-04146A18DB50}" type="slidenum">
              <a:rPr lang="en-CA" smtClean="0"/>
              <a:pPr/>
              <a:t>155</a:t>
            </a:fld>
            <a:endParaRPr lang="en-CA" dirty="0"/>
          </a:p>
        </p:txBody>
      </p:sp>
      <p:sp>
        <p:nvSpPr>
          <p:cNvPr id="8" name="Header Placeholder 7"/>
          <p:cNvSpPr>
            <a:spLocks noGrp="1"/>
          </p:cNvSpPr>
          <p:nvPr>
            <p:ph type="hdr" sz="quarter" idx="13"/>
          </p:nvPr>
        </p:nvSpPr>
        <p:spPr/>
        <p:txBody>
          <a:bodyPr/>
          <a:lstStyle/>
          <a:p>
            <a:r>
              <a:rPr lang="en-CA" dirty="0" smtClean="0"/>
              <a:t>PASS Summit 2011</a:t>
            </a:r>
            <a:endParaRPr lang="en-CA" dirty="0"/>
          </a:p>
        </p:txBody>
      </p:sp>
    </p:spTree>
    <p:extLst>
      <p:ext uri="{BB962C8B-B14F-4D97-AF65-F5344CB8AC3E}">
        <p14:creationId xmlns:p14="http://schemas.microsoft.com/office/powerpoint/2010/main" val="1321151417"/>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56</a:t>
            </a:fld>
            <a:endParaRPr lang="en-US" dirty="0"/>
          </a:p>
        </p:txBody>
      </p:sp>
    </p:spTree>
    <p:extLst>
      <p:ext uri="{BB962C8B-B14F-4D97-AF65-F5344CB8AC3E}">
        <p14:creationId xmlns:p14="http://schemas.microsoft.com/office/powerpoint/2010/main" val="42012464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9/20/2012 12:36 A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12</a:t>
            </a:fld>
            <a:endParaRPr lang="en-US" dirty="0"/>
          </a:p>
        </p:txBody>
      </p:sp>
    </p:spTree>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r>
              <a:rPr lang="en-US" smtClean="0"/>
              <a:t>TechReady12</a:t>
            </a:r>
            <a:endParaRPr lang="en-US" dirty="0"/>
          </a:p>
        </p:txBody>
      </p:sp>
      <p:sp>
        <p:nvSpPr>
          <p:cNvPr id="5" name="Date Placeholder 4"/>
          <p:cNvSpPr>
            <a:spLocks noGrp="1"/>
          </p:cNvSpPr>
          <p:nvPr>
            <p:ph type="dt" idx="11"/>
          </p:nvPr>
        </p:nvSpPr>
        <p:spPr/>
        <p:txBody>
          <a:bodyPr/>
          <a:lstStyle/>
          <a:p>
            <a:fld id="{E86899D6-FA71-4884-9CB7-45E02663FE79}" type="datetime1">
              <a:rPr lang="en-US" smtClean="0"/>
              <a:pPr/>
              <a:t>9/20/2012</a:t>
            </a:fld>
            <a:endParaRPr lang="en-US" dirty="0"/>
          </a:p>
        </p:txBody>
      </p:sp>
      <p:sp>
        <p:nvSpPr>
          <p:cNvPr id="6" name="Footer Placeholder 5"/>
          <p:cNvSpPr>
            <a:spLocks noGrp="1"/>
          </p:cNvSpPr>
          <p:nvPr>
            <p:ph type="ftr" sz="quarter" idx="12"/>
          </p:nvPr>
        </p:nvSpPr>
        <p:spPr/>
        <p:txBody>
          <a:bodyPr/>
          <a:lstStyle/>
          <a:p>
            <a:r>
              <a:rPr lang="en-US"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srgbClr val="000000"/>
                </a:solidFill>
                <a:latin typeface="Segoe UI" pitchFamily="34" charset="0"/>
              </a:rPr>
            </a:br>
            <a:r>
              <a:rPr lang="en-US" smtClean="0">
                <a:solidFill>
                  <a:srgbClr val="000000"/>
                </a:solidFill>
                <a:latin typeface="Segoe UI" pitchFamily="34" charset="0"/>
              </a:rPr>
              <a:t>MICROSOFT MAKES NO WARRANTIES, EXPRESS, IMPLIED OR STATUTORY, AS TO THE INFORMATION IN THIS PRESENTATION.</a:t>
            </a:r>
            <a:endParaRPr lang="en-US" dirty="0" smtClean="0">
              <a:solidFill>
                <a:srgbClr val="000000"/>
              </a:solidFill>
              <a:latin typeface="Segoe UI" pitchFamily="34" charset="0"/>
            </a:endParaRPr>
          </a:p>
        </p:txBody>
      </p:sp>
      <p:sp>
        <p:nvSpPr>
          <p:cNvPr id="7" name="Slide Number Placeholder 6"/>
          <p:cNvSpPr>
            <a:spLocks noGrp="1"/>
          </p:cNvSpPr>
          <p:nvPr>
            <p:ph type="sldNum" sz="quarter" idx="13"/>
          </p:nvPr>
        </p:nvSpPr>
        <p:spPr/>
        <p:txBody>
          <a:bodyPr/>
          <a:lstStyle/>
          <a:p>
            <a:fld id="{8B263312-38AA-4E1E-B2B5-0F8F122B24FE}" type="slidenum">
              <a:rPr lang="en-US" smtClean="0"/>
              <a:pPr/>
              <a:t>157</a:t>
            </a:fld>
            <a:endParaRPr lang="en-US" dirty="0"/>
          </a:p>
        </p:txBody>
      </p:sp>
    </p:spTree>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r>
              <a:rPr lang="en-US" smtClean="0"/>
              <a:t>TechReady12</a:t>
            </a:r>
            <a:endParaRPr lang="en-US" dirty="0"/>
          </a:p>
        </p:txBody>
      </p:sp>
      <p:sp>
        <p:nvSpPr>
          <p:cNvPr id="5" name="Date Placeholder 4"/>
          <p:cNvSpPr>
            <a:spLocks noGrp="1"/>
          </p:cNvSpPr>
          <p:nvPr>
            <p:ph type="dt" idx="11"/>
          </p:nvPr>
        </p:nvSpPr>
        <p:spPr/>
        <p:txBody>
          <a:bodyPr/>
          <a:lstStyle/>
          <a:p>
            <a:fld id="{678B6EC6-ADE1-415E-A194-CA39F1CF2424}" type="datetime1">
              <a:rPr lang="en-US" smtClean="0"/>
              <a:pPr/>
              <a:t>9/20/2012</a:t>
            </a:fld>
            <a:endParaRPr lang="en-US" dirty="0"/>
          </a:p>
        </p:txBody>
      </p:sp>
      <p:sp>
        <p:nvSpPr>
          <p:cNvPr id="6" name="Footer Placeholder 5"/>
          <p:cNvSpPr>
            <a:spLocks noGrp="1"/>
          </p:cNvSpPr>
          <p:nvPr>
            <p:ph type="ftr" sz="quarter" idx="12"/>
          </p:nvPr>
        </p:nvSpPr>
        <p:spPr/>
        <p:txBody>
          <a:bodyPr/>
          <a:lstStyle/>
          <a:p>
            <a:r>
              <a:rPr lang="en-US"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srgbClr val="000000"/>
                </a:solidFill>
                <a:latin typeface="Segoe UI" pitchFamily="34" charset="0"/>
              </a:rPr>
            </a:br>
            <a:r>
              <a:rPr lang="en-US" smtClean="0">
                <a:solidFill>
                  <a:srgbClr val="000000"/>
                </a:solidFill>
                <a:latin typeface="Segoe UI" pitchFamily="34" charset="0"/>
              </a:rPr>
              <a:t>MICROSOFT MAKES NO WARRANTIES, EXPRESS, IMPLIED OR STATUTORY, AS TO THE INFORMATION IN THIS PRESENTATION.</a:t>
            </a:r>
            <a:endParaRPr lang="en-US" dirty="0" smtClean="0">
              <a:solidFill>
                <a:srgbClr val="000000"/>
              </a:solidFill>
              <a:latin typeface="Segoe UI" pitchFamily="34" charset="0"/>
            </a:endParaRPr>
          </a:p>
        </p:txBody>
      </p:sp>
      <p:sp>
        <p:nvSpPr>
          <p:cNvPr id="7" name="Slide Number Placeholder 6"/>
          <p:cNvSpPr>
            <a:spLocks noGrp="1"/>
          </p:cNvSpPr>
          <p:nvPr>
            <p:ph type="sldNum" sz="quarter" idx="13"/>
          </p:nvPr>
        </p:nvSpPr>
        <p:spPr/>
        <p:txBody>
          <a:bodyPr/>
          <a:lstStyle/>
          <a:p>
            <a:fld id="{8B263312-38AA-4E1E-B2B5-0F8F122B24FE}" type="slidenum">
              <a:rPr lang="en-US" smtClean="0"/>
              <a:pPr/>
              <a:t>158</a:t>
            </a:fld>
            <a:endParaRPr lang="en-US" dirty="0"/>
          </a:p>
        </p:txBody>
      </p:sp>
    </p:spTree>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r>
              <a:rPr lang="en-US" smtClean="0"/>
              <a:t>TechReady12</a:t>
            </a:r>
            <a:endParaRPr lang="en-US" dirty="0"/>
          </a:p>
        </p:txBody>
      </p:sp>
      <p:sp>
        <p:nvSpPr>
          <p:cNvPr id="5" name="Date Placeholder 4"/>
          <p:cNvSpPr>
            <a:spLocks noGrp="1"/>
          </p:cNvSpPr>
          <p:nvPr>
            <p:ph type="dt" idx="11"/>
          </p:nvPr>
        </p:nvSpPr>
        <p:spPr/>
        <p:txBody>
          <a:bodyPr/>
          <a:lstStyle/>
          <a:p>
            <a:fld id="{44C757D9-7A49-4641-AEE3-12642A0F6C3A}" type="datetime1">
              <a:rPr lang="en-US" smtClean="0"/>
              <a:pPr/>
              <a:t>9/20/2012</a:t>
            </a:fld>
            <a:endParaRPr lang="en-US" dirty="0"/>
          </a:p>
        </p:txBody>
      </p:sp>
      <p:sp>
        <p:nvSpPr>
          <p:cNvPr id="6" name="Footer Placeholder 5"/>
          <p:cNvSpPr>
            <a:spLocks noGrp="1"/>
          </p:cNvSpPr>
          <p:nvPr>
            <p:ph type="ftr" sz="quarter" idx="12"/>
          </p:nvPr>
        </p:nvSpPr>
        <p:spPr/>
        <p:txBody>
          <a:bodyPr/>
          <a:lstStyle/>
          <a:p>
            <a:r>
              <a:rPr lang="en-US"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srgbClr val="000000"/>
                </a:solidFill>
                <a:latin typeface="Segoe UI" pitchFamily="34" charset="0"/>
              </a:rPr>
            </a:br>
            <a:r>
              <a:rPr lang="en-US" smtClean="0">
                <a:solidFill>
                  <a:srgbClr val="000000"/>
                </a:solidFill>
                <a:latin typeface="Segoe UI" pitchFamily="34" charset="0"/>
              </a:rPr>
              <a:t>MICROSOFT MAKES NO WARRANTIES, EXPRESS, IMPLIED OR STATUTORY, AS TO THE INFORMATION IN THIS PRESENTATION.</a:t>
            </a:r>
            <a:endParaRPr lang="en-US" dirty="0" smtClean="0">
              <a:solidFill>
                <a:srgbClr val="000000"/>
              </a:solidFill>
              <a:latin typeface="Segoe UI" pitchFamily="34" charset="0"/>
            </a:endParaRPr>
          </a:p>
        </p:txBody>
      </p:sp>
      <p:sp>
        <p:nvSpPr>
          <p:cNvPr id="7" name="Slide Number Placeholder 6"/>
          <p:cNvSpPr>
            <a:spLocks noGrp="1"/>
          </p:cNvSpPr>
          <p:nvPr>
            <p:ph type="sldNum" sz="quarter" idx="13"/>
          </p:nvPr>
        </p:nvSpPr>
        <p:spPr/>
        <p:txBody>
          <a:bodyPr/>
          <a:lstStyle/>
          <a:p>
            <a:fld id="{8B263312-38AA-4E1E-B2B5-0F8F122B24FE}" type="slidenum">
              <a:rPr lang="en-US" smtClean="0"/>
              <a:pPr/>
              <a:t>159</a:t>
            </a:fld>
            <a:endParaRPr lang="en-US" dirty="0"/>
          </a:p>
        </p:txBody>
      </p:sp>
    </p:spTree>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43401"/>
            <a:ext cx="5486400" cy="4114800"/>
          </a:xfrm>
          <a:prstGeom prst="rect">
            <a:avLst/>
          </a:prstGeom>
        </p:spPr>
        <p:txBody>
          <a:bodyPr lIns="90564" tIns="45283" rIns="90564" bIns="45283">
            <a:normAutofit/>
          </a:bodyPr>
          <a:lstStyle/>
          <a:p>
            <a:pPr lvl="0"/>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60</a:t>
            </a:fld>
            <a:endParaRPr lang="en-US" dirty="0"/>
          </a:p>
        </p:txBody>
      </p:sp>
    </p:spTree>
    <p:extLst>
      <p:ext uri="{BB962C8B-B14F-4D97-AF65-F5344CB8AC3E}">
        <p14:creationId xmlns:p14="http://schemas.microsoft.com/office/powerpoint/2010/main" val="3164951122"/>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lide Image Placeholder 1"/>
          <p:cNvSpPr>
            <a:spLocks noGrp="1" noRot="1" noChangeAspect="1" noTextEdit="1"/>
          </p:cNvSpPr>
          <p:nvPr>
            <p:ph type="sldImg"/>
          </p:nvPr>
        </p:nvSpPr>
        <p:spPr bwMode="auto">
          <a:noFill/>
          <a:ln>
            <a:solidFill>
              <a:srgbClr val="000000"/>
            </a:solidFill>
            <a:miter lim="800000"/>
            <a:headEnd/>
            <a:tailEnd/>
          </a:ln>
        </p:spPr>
      </p:sp>
      <p:sp>
        <p:nvSpPr>
          <p:cNvPr id="3" name="Notes Placeholder 2"/>
          <p:cNvSpPr>
            <a:spLocks noGrp="1"/>
          </p:cNvSpPr>
          <p:nvPr>
            <p:ph type="body" idx="1"/>
          </p:nvPr>
        </p:nvSpPr>
        <p:spPr bwMode="auto">
          <a:xfrm>
            <a:off x="686731" y="4344336"/>
            <a:ext cx="5484539" cy="4113553"/>
          </a:xfrm>
        </p:spPr>
        <p:txBody>
          <a:bodyPr wrap="square" numCol="1" anchor="t" anchorCtr="0" compatLnSpc="1">
            <a:prstTxWarp prst="textNoShape">
              <a:avLst/>
            </a:prstTxWarp>
          </a:bodyPr>
          <a:lstStyle/>
          <a:p>
            <a:pPr marL="223608" indent="-223608">
              <a:buFont typeface="+mj-lt"/>
              <a:buAutoNum type="arabicPeriod"/>
              <a:defRPr/>
            </a:pPr>
            <a:endParaRPr lang="en-US" dirty="0"/>
          </a:p>
        </p:txBody>
      </p:sp>
      <p:sp>
        <p:nvSpPr>
          <p:cNvPr id="68612" name="Slide Number Placeholder 3"/>
          <p:cNvSpPr txBox="1">
            <a:spLocks noGrp="1"/>
          </p:cNvSpPr>
          <p:nvPr/>
        </p:nvSpPr>
        <p:spPr bwMode="auto">
          <a:xfrm>
            <a:off x="3884754" y="8685553"/>
            <a:ext cx="2971697" cy="456888"/>
          </a:xfrm>
          <a:prstGeom prst="rect">
            <a:avLst/>
          </a:prstGeom>
          <a:noFill/>
          <a:ln w="9525">
            <a:noFill/>
            <a:miter lim="800000"/>
            <a:headEnd/>
            <a:tailEnd/>
          </a:ln>
        </p:spPr>
        <p:txBody>
          <a:bodyPr lIns="91424" tIns="45711" rIns="91424" bIns="45711" anchor="b"/>
          <a:lstStyle/>
          <a:p>
            <a:pPr algn="r" defTabSz="897420"/>
            <a:fld id="{EF426E15-FCA3-417B-924D-08DC59A9E254}" type="slidenum">
              <a:rPr lang="en-US" sz="1200">
                <a:solidFill>
                  <a:srgbClr val="000000"/>
                </a:solidFill>
                <a:latin typeface="Calibri" pitchFamily="34" charset="0"/>
              </a:rPr>
              <a:pPr algn="r" defTabSz="897420"/>
              <a:t>164</a:t>
            </a:fld>
            <a:endParaRPr lang="en-US" sz="1200">
              <a:solidFill>
                <a:srgbClr val="000000"/>
              </a:solidFill>
              <a:latin typeface="Calibri" pitchFamily="34" charset="0"/>
            </a:endParaRPr>
          </a:p>
        </p:txBody>
      </p:sp>
    </p:spTree>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a:noFill/>
          <a:ln w="12700">
            <a:solidFill>
              <a:prstClr val="black"/>
            </a:solidFill>
          </a:ln>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65</a:t>
            </a:fld>
            <a:endParaRPr lang="en-US" dirty="0"/>
          </a:p>
        </p:txBody>
      </p:sp>
    </p:spTree>
    <p:extLst>
      <p:ext uri="{BB962C8B-B14F-4D97-AF65-F5344CB8AC3E}">
        <p14:creationId xmlns:p14="http://schemas.microsoft.com/office/powerpoint/2010/main" val="639799711"/>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a:noFill/>
          <a:ln w="12700">
            <a:solidFill>
              <a:prstClr val="black"/>
            </a:solidFill>
          </a:ln>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66</a:t>
            </a:fld>
            <a:endParaRPr lang="en-US" dirty="0"/>
          </a:p>
        </p:txBody>
      </p:sp>
    </p:spTree>
    <p:extLst>
      <p:ext uri="{BB962C8B-B14F-4D97-AF65-F5344CB8AC3E}">
        <p14:creationId xmlns:p14="http://schemas.microsoft.com/office/powerpoint/2010/main" val="639799711"/>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Slide Image Placeholder 1"/>
          <p:cNvSpPr>
            <a:spLocks noGrp="1" noRot="1" noChangeAspect="1" noTextEdit="1"/>
          </p:cNvSpPr>
          <p:nvPr>
            <p:ph type="sldImg"/>
          </p:nvPr>
        </p:nvSpPr>
        <p:spPr bwMode="auto">
          <a:noFill/>
          <a:ln>
            <a:solidFill>
              <a:srgbClr val="000000"/>
            </a:solidFill>
            <a:miter lim="800000"/>
            <a:headEnd/>
            <a:tailEnd/>
          </a:ln>
        </p:spPr>
      </p:sp>
      <p:sp>
        <p:nvSpPr>
          <p:cNvPr id="3" name="Notes Placeholder 2"/>
          <p:cNvSpPr>
            <a:spLocks noGrp="1"/>
          </p:cNvSpPr>
          <p:nvPr>
            <p:ph type="body" idx="1"/>
          </p:nvPr>
        </p:nvSpPr>
        <p:spPr/>
        <p:txBody>
          <a:bodyPr/>
          <a:lstStyle/>
          <a:p>
            <a:pPr defTabSz="912785">
              <a:lnSpc>
                <a:spcPct val="80000"/>
              </a:lnSpc>
              <a:spcBef>
                <a:spcPct val="0"/>
              </a:spcBef>
              <a:spcAft>
                <a:spcPts val="343"/>
              </a:spcAft>
              <a:defRPr/>
            </a:pPr>
            <a:endParaRPr lang="en-US" dirty="0"/>
          </a:p>
        </p:txBody>
      </p:sp>
      <p:sp>
        <p:nvSpPr>
          <p:cNvPr id="4" name="Slide Number Placeholder 3"/>
          <p:cNvSpPr txBox="1">
            <a:spLocks noGrp="1"/>
          </p:cNvSpPr>
          <p:nvPr/>
        </p:nvSpPr>
        <p:spPr>
          <a:xfrm>
            <a:off x="3884027" y="8684926"/>
            <a:ext cx="2972421" cy="457513"/>
          </a:xfrm>
          <a:prstGeom prst="rect">
            <a:avLst/>
          </a:prstGeom>
          <a:noFill/>
        </p:spPr>
        <p:txBody>
          <a:bodyPr lIns="91433" tIns="45716" rIns="91433" bIns="45716" anchor="b"/>
          <a:lstStyle/>
          <a:p>
            <a:pPr algn="r">
              <a:defRPr/>
            </a:pPr>
            <a:fld id="{74D1630B-2DF9-461E-9509-8B3431C41A96}" type="slidenum">
              <a:rPr lang="en-US" sz="1200">
                <a:solidFill>
                  <a:prstClr val="black"/>
                </a:solidFill>
              </a:rPr>
              <a:pPr algn="r">
                <a:defRPr/>
              </a:pPr>
              <a:t>167</a:t>
            </a:fld>
            <a:endParaRPr lang="en-US" sz="1200">
              <a:solidFill>
                <a:prstClr val="black"/>
              </a:solidFill>
            </a:endParaRPr>
          </a:p>
        </p:txBody>
      </p:sp>
    </p:spTree>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68</a:t>
            </a:fld>
            <a:endParaRPr lang="en-US" dirty="0"/>
          </a:p>
        </p:txBody>
      </p:sp>
    </p:spTree>
    <p:extLst>
      <p:ext uri="{BB962C8B-B14F-4D97-AF65-F5344CB8AC3E}">
        <p14:creationId xmlns:p14="http://schemas.microsoft.com/office/powerpoint/2010/main" val="239257127"/>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Slide Image Placeholder 1"/>
          <p:cNvSpPr>
            <a:spLocks noGrp="1" noRot="1" noChangeAspect="1" noTextEdit="1"/>
          </p:cNvSpPr>
          <p:nvPr>
            <p:ph type="sldImg"/>
          </p:nvPr>
        </p:nvSpPr>
        <p:spPr bwMode="auto">
          <a:noFill/>
          <a:ln>
            <a:solidFill>
              <a:srgbClr val="000000"/>
            </a:solidFill>
            <a:miter lim="800000"/>
            <a:headEnd/>
            <a:tailEnd/>
          </a:ln>
        </p:spPr>
      </p:sp>
      <p:sp>
        <p:nvSpPr>
          <p:cNvPr id="82947"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dirty="0"/>
          </a:p>
        </p:txBody>
      </p:sp>
      <p:sp>
        <p:nvSpPr>
          <p:cNvPr id="90116" name="Slide Number Placeholder 3"/>
          <p:cNvSpPr txBox="1">
            <a:spLocks noGrp="1"/>
          </p:cNvSpPr>
          <p:nvPr/>
        </p:nvSpPr>
        <p:spPr bwMode="auto">
          <a:xfrm>
            <a:off x="3884027" y="8684926"/>
            <a:ext cx="2972421" cy="457513"/>
          </a:xfrm>
          <a:prstGeom prst="rect">
            <a:avLst/>
          </a:prstGeom>
          <a:noFill/>
          <a:ln>
            <a:miter lim="800000"/>
            <a:headEnd/>
            <a:tailEnd/>
          </a:ln>
        </p:spPr>
        <p:txBody>
          <a:bodyPr lIns="91433" tIns="45716" rIns="91433" bIns="45716" anchor="b"/>
          <a:lstStyle/>
          <a:p>
            <a:pPr algn="r">
              <a:defRPr/>
            </a:pPr>
            <a:fld id="{B5F92980-FA14-437D-BCF2-885823D2ACC2}" type="slidenum">
              <a:rPr lang="en-US" sz="1200"/>
              <a:pPr algn="r">
                <a:defRPr/>
              </a:pPr>
              <a:t>169</a:t>
            </a:fld>
            <a:endParaRPr lang="en-US" sz="1200"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9/20/2012 12:36 A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13</a:t>
            </a:fld>
            <a:endParaRPr lang="en-US" dirty="0"/>
          </a:p>
        </p:txBody>
      </p:sp>
    </p:spTree>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a:noFill/>
          <a:ln w="12700">
            <a:solidFill>
              <a:prstClr val="black"/>
            </a:solidFill>
          </a:ln>
        </p:spPr>
      </p:sp>
      <p:sp>
        <p:nvSpPr>
          <p:cNvPr id="3" name="Notes Placeholder 2"/>
          <p:cNvSpPr>
            <a:spLocks noGrp="1"/>
          </p:cNvSpPr>
          <p:nvPr>
            <p:ph type="body" idx="1"/>
          </p:nvPr>
        </p:nvSpPr>
        <p:spPr/>
        <p:txBody>
          <a:bodyPr>
            <a:normAutofit fontScale="25000" lnSpcReduction="20000"/>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70</a:t>
            </a:fld>
            <a:endParaRPr lang="en-US" dirty="0"/>
          </a:p>
        </p:txBody>
      </p:sp>
    </p:spTree>
    <p:extLst>
      <p:ext uri="{BB962C8B-B14F-4D97-AF65-F5344CB8AC3E}">
        <p14:creationId xmlns:p14="http://schemas.microsoft.com/office/powerpoint/2010/main" val="2678175413"/>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71</a:t>
            </a:fld>
            <a:endParaRPr lang="en-US" dirty="0"/>
          </a:p>
        </p:txBody>
      </p:sp>
    </p:spTree>
    <p:extLst>
      <p:ext uri="{BB962C8B-B14F-4D97-AF65-F5344CB8AC3E}">
        <p14:creationId xmlns:p14="http://schemas.microsoft.com/office/powerpoint/2010/main" val="4079122344"/>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72</a:t>
            </a:fld>
            <a:endParaRPr lang="en-US" dirty="0"/>
          </a:p>
        </p:txBody>
      </p:sp>
    </p:spTree>
    <p:extLst>
      <p:ext uri="{BB962C8B-B14F-4D97-AF65-F5344CB8AC3E}">
        <p14:creationId xmlns:p14="http://schemas.microsoft.com/office/powerpoint/2010/main" val="2849382866"/>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73</a:t>
            </a:fld>
            <a:endParaRPr lang="en-US" dirty="0"/>
          </a:p>
        </p:txBody>
      </p:sp>
    </p:spTree>
    <p:extLst>
      <p:ext uri="{BB962C8B-B14F-4D97-AF65-F5344CB8AC3E}">
        <p14:creationId xmlns:p14="http://schemas.microsoft.com/office/powerpoint/2010/main" val="195773913"/>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74</a:t>
            </a:fld>
            <a:endParaRPr lang="en-US" dirty="0"/>
          </a:p>
        </p:txBody>
      </p:sp>
    </p:spTree>
    <p:extLst>
      <p:ext uri="{BB962C8B-B14F-4D97-AF65-F5344CB8AC3E}">
        <p14:creationId xmlns:p14="http://schemas.microsoft.com/office/powerpoint/2010/main" val="2833937073"/>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8038" indent="-168038">
              <a:buFontTx/>
              <a:buChar char="-"/>
            </a:pPr>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75</a:t>
            </a:fld>
            <a:endParaRPr lang="en-US" dirty="0"/>
          </a:p>
        </p:txBody>
      </p:sp>
    </p:spTree>
    <p:extLst>
      <p:ext uri="{BB962C8B-B14F-4D97-AF65-F5344CB8AC3E}">
        <p14:creationId xmlns:p14="http://schemas.microsoft.com/office/powerpoint/2010/main" val="2568236480"/>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p:cNvSpPr>
            <a:spLocks noGrp="1" noRot="1" noChangeAspect="1" noTextEdit="1"/>
          </p:cNvSpPr>
          <p:nvPr>
            <p:ph type="sldImg"/>
          </p:nvPr>
        </p:nvSpPr>
        <p:spPr bwMode="auto">
          <a:noFill/>
          <a:ln>
            <a:solidFill>
              <a:srgbClr val="000000"/>
            </a:solidFill>
            <a:miter lim="800000"/>
            <a:headEnd/>
            <a:tailEnd/>
          </a:ln>
        </p:spPr>
      </p:sp>
      <p:sp>
        <p:nvSpPr>
          <p:cNvPr id="59395" name="Notes Placeholder 2"/>
          <p:cNvSpPr>
            <a:spLocks noGrp="1"/>
          </p:cNvSpPr>
          <p:nvPr>
            <p:ph type="body" idx="1"/>
          </p:nvPr>
        </p:nvSpPr>
        <p:spPr bwMode="auto">
          <a:xfrm>
            <a:off x="686731" y="4344338"/>
            <a:ext cx="5484540" cy="4113553"/>
          </a:xfrm>
          <a:noFill/>
        </p:spPr>
        <p:txBody>
          <a:bodyPr wrap="square" numCol="1" anchor="t" anchorCtr="0" compatLnSpc="1">
            <a:prstTxWarp prst="textNoShape">
              <a:avLst/>
            </a:prstTxWarp>
            <a:normAutofit/>
          </a:bodyPr>
          <a:lstStyle/>
          <a:p>
            <a:pPr>
              <a:buFont typeface="Calibri" pitchFamily="34" charset="0"/>
              <a:buNone/>
            </a:pPr>
            <a:endParaRPr lang="en-US" sz="1000" u="sng" dirty="0"/>
          </a:p>
        </p:txBody>
      </p:sp>
      <p:sp>
        <p:nvSpPr>
          <p:cNvPr id="59396" name="Slide Number Placeholder 3"/>
          <p:cNvSpPr txBox="1">
            <a:spLocks noGrp="1"/>
          </p:cNvSpPr>
          <p:nvPr/>
        </p:nvSpPr>
        <p:spPr bwMode="auto">
          <a:xfrm>
            <a:off x="3884754" y="8685552"/>
            <a:ext cx="2971697" cy="456889"/>
          </a:xfrm>
          <a:prstGeom prst="rect">
            <a:avLst/>
          </a:prstGeom>
          <a:noFill/>
          <a:ln w="9525">
            <a:noFill/>
            <a:miter lim="800000"/>
            <a:headEnd/>
            <a:tailEnd/>
          </a:ln>
        </p:spPr>
        <p:txBody>
          <a:bodyPr lIns="91403" tIns="45700" rIns="91403" bIns="45700" anchor="b"/>
          <a:lstStyle/>
          <a:p>
            <a:pPr algn="r"/>
            <a:fld id="{2EF1E0FA-0CD9-4E39-A225-ABC5F97E1A87}" type="slidenum">
              <a:rPr lang="en-US" sz="1200">
                <a:solidFill>
                  <a:srgbClr val="000000"/>
                </a:solidFill>
                <a:latin typeface="Calibri" pitchFamily="34" charset="0"/>
              </a:rPr>
              <a:pPr algn="r"/>
              <a:t>176</a:t>
            </a:fld>
            <a:endParaRPr lang="en-US" sz="1200">
              <a:solidFill>
                <a:srgbClr val="000000"/>
              </a:solidFill>
              <a:latin typeface="Calibri" pitchFamily="34" charset="0"/>
            </a:endParaRPr>
          </a:p>
        </p:txBody>
      </p:sp>
    </p:spTree>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77</a:t>
            </a:fld>
            <a:endParaRPr lang="en-US" dirty="0"/>
          </a:p>
        </p:txBody>
      </p:sp>
    </p:spTree>
    <p:extLst>
      <p:ext uri="{BB962C8B-B14F-4D97-AF65-F5344CB8AC3E}">
        <p14:creationId xmlns:p14="http://schemas.microsoft.com/office/powerpoint/2010/main" val="1840347193"/>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p:cNvSpPr>
            <a:spLocks noGrp="1" noRot="1" noChangeAspect="1" noTextEdit="1"/>
          </p:cNvSpPr>
          <p:nvPr>
            <p:ph type="sldImg"/>
          </p:nvPr>
        </p:nvSpPr>
        <p:spPr bwMode="auto">
          <a:noFill/>
          <a:ln>
            <a:solidFill>
              <a:srgbClr val="000000"/>
            </a:solidFill>
            <a:miter lim="800000"/>
            <a:headEnd/>
            <a:tailEnd/>
          </a:ln>
        </p:spPr>
      </p:sp>
      <p:sp>
        <p:nvSpPr>
          <p:cNvPr id="3" name="Notes Placeholder 2"/>
          <p:cNvSpPr>
            <a:spLocks noGrp="1"/>
          </p:cNvSpPr>
          <p:nvPr>
            <p:ph type="body" idx="1"/>
          </p:nvPr>
        </p:nvSpPr>
        <p:spPr/>
        <p:txBody>
          <a:bodyPr/>
          <a:lstStyle/>
          <a:p>
            <a:pPr defTabSz="912664">
              <a:lnSpc>
                <a:spcPct val="80000"/>
              </a:lnSpc>
              <a:spcBef>
                <a:spcPct val="0"/>
              </a:spcBef>
              <a:spcAft>
                <a:spcPts val="344"/>
              </a:spcAft>
              <a:defRPr/>
            </a:pPr>
            <a:endParaRPr lang="en-US" sz="300" dirty="0"/>
          </a:p>
        </p:txBody>
      </p:sp>
      <p:sp>
        <p:nvSpPr>
          <p:cNvPr id="4" name="Slide Number Placeholder 3"/>
          <p:cNvSpPr>
            <a:spLocks noGrp="1"/>
          </p:cNvSpPr>
          <p:nvPr>
            <p:ph type="sldNum" sz="quarter" idx="5"/>
          </p:nvPr>
        </p:nvSpPr>
        <p:spPr/>
        <p:txBody>
          <a:bodyPr/>
          <a:lstStyle/>
          <a:p>
            <a:pPr>
              <a:defRPr/>
            </a:pPr>
            <a:fld id="{24BD244A-B3A6-498F-9EA0-CF01ECDD242F}" type="slidenum">
              <a:rPr lang="en-US" smtClean="0">
                <a:solidFill>
                  <a:prstClr val="black"/>
                </a:solidFill>
              </a:rPr>
              <a:pPr>
                <a:defRPr/>
              </a:pPr>
              <a:t>178</a:t>
            </a:fld>
            <a:endParaRPr lang="en-US">
              <a:solidFill>
                <a:prstClr val="black"/>
              </a:solidFill>
            </a:endParaRPr>
          </a:p>
        </p:txBody>
      </p:sp>
    </p:spTree>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Slide Image Placeholder 1"/>
          <p:cNvSpPr>
            <a:spLocks noGrp="1" noRot="1" noChangeAspect="1" noTextEdit="1"/>
          </p:cNvSpPr>
          <p:nvPr>
            <p:ph type="sldImg"/>
          </p:nvPr>
        </p:nvSpPr>
        <p:spPr bwMode="auto">
          <a:noFill/>
          <a:ln>
            <a:solidFill>
              <a:srgbClr val="000000"/>
            </a:solidFill>
            <a:miter lim="800000"/>
            <a:headEnd/>
            <a:tailEnd/>
          </a:ln>
        </p:spPr>
      </p:sp>
      <p:sp>
        <p:nvSpPr>
          <p:cNvPr id="48131" name="Notes Placeholder 2"/>
          <p:cNvSpPr>
            <a:spLocks noGrp="1"/>
          </p:cNvSpPr>
          <p:nvPr>
            <p:ph type="body" idx="1"/>
          </p:nvPr>
        </p:nvSpPr>
        <p:spPr bwMode="auto">
          <a:noFill/>
        </p:spPr>
        <p:txBody>
          <a:bodyPr wrap="square" numCol="1" anchor="t" anchorCtr="0" compatLnSpc="1">
            <a:prstTxWarp prst="textNoShape">
              <a:avLst/>
            </a:prstTxWarp>
            <a:noAutofit/>
          </a:bodyPr>
          <a:lstStyle/>
          <a:p>
            <a:endParaRPr lang="en-US" dirty="0" smtClean="0"/>
          </a:p>
        </p:txBody>
      </p:sp>
      <p:sp>
        <p:nvSpPr>
          <p:cNvPr id="50180"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FCFC5969-01C0-4CCE-9F08-80B76889ED13}" type="slidenum">
              <a:rPr lang="en-US" smtClean="0">
                <a:solidFill>
                  <a:prstClr val="black"/>
                </a:solidFill>
              </a:rPr>
              <a:pPr>
                <a:defRPr/>
              </a:pPr>
              <a:t>179</a:t>
            </a:fld>
            <a:endParaRPr lang="en-US" dirty="0" smtClean="0">
              <a:solidFill>
                <a:prstClr val="black"/>
              </a:solidFill>
            </a:endParaRPr>
          </a:p>
        </p:txBody>
      </p:sp>
      <p:sp>
        <p:nvSpPr>
          <p:cNvPr id="5" name="Header Placeholder 1"/>
          <p:cNvSpPr>
            <a:spLocks noGrp="1"/>
          </p:cNvSpPr>
          <p:nvPr>
            <p:ph type="hdr" sz="quarter"/>
          </p:nvPr>
        </p:nvSpPr>
        <p:spPr>
          <a:xfrm>
            <a:off x="0" y="0"/>
            <a:ext cx="2971800" cy="457200"/>
          </a:xfrm>
          <a:prstGeom prst="rect">
            <a:avLst/>
          </a:prstGeom>
        </p:spPr>
        <p:txBody>
          <a:bodyPr vert="horz" lIns="91431" tIns="45716" rIns="91431" bIns="45716" rtlCol="0"/>
          <a:lstStyle>
            <a:lvl1pPr algn="l">
              <a:defRPr sz="900">
                <a:latin typeface="Segoe UI" pitchFamily="34" charset="0"/>
                <a:ea typeface="Segoe UI" pitchFamily="34" charset="0"/>
                <a:cs typeface="Segoe UI" pitchFamily="34" charset="0"/>
              </a:defRPr>
            </a:lvl1pPr>
          </a:lstStyle>
          <a:p>
            <a:r>
              <a:rPr lang="en-US" dirty="0" smtClean="0"/>
              <a:t>Private Cloud Immersion</a:t>
            </a:r>
            <a:endParaRPr lang="en-US" dirty="0"/>
          </a:p>
        </p:txBody>
      </p:sp>
      <p:sp>
        <p:nvSpPr>
          <p:cNvPr id="6" name="Date Placeholder 2"/>
          <p:cNvSpPr>
            <a:spLocks noGrp="1"/>
          </p:cNvSpPr>
          <p:nvPr>
            <p:ph type="dt" idx="1"/>
          </p:nvPr>
        </p:nvSpPr>
        <p:spPr>
          <a:xfrm>
            <a:off x="3884613" y="0"/>
            <a:ext cx="2971800" cy="457200"/>
          </a:xfrm>
          <a:prstGeom prst="rect">
            <a:avLst/>
          </a:prstGeom>
        </p:spPr>
        <p:txBody>
          <a:bodyPr vert="horz" lIns="91431" tIns="45716" rIns="91431" bIns="45716" rtlCol="0"/>
          <a:lstStyle>
            <a:lvl1pPr algn="r">
              <a:defRPr sz="900">
                <a:latin typeface="Segoe UI" pitchFamily="34" charset="0"/>
                <a:ea typeface="Segoe UI" pitchFamily="34" charset="0"/>
                <a:cs typeface="Segoe UI" pitchFamily="34" charset="0"/>
              </a:defRPr>
            </a:lvl1pPr>
          </a:lstStyle>
          <a:p>
            <a:fld id="{A697FD29-47C1-47FA-A884-59C9DEE39B84}" type="datetimeFigureOut">
              <a:rPr lang="en-US" smtClean="0"/>
              <a:pPr/>
              <a:t>9/20/2012</a:t>
            </a:fld>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9/20/2012 12:36 A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14</a:t>
            </a:fld>
            <a:endParaRPr lang="en-US" dirty="0"/>
          </a:p>
        </p:txBody>
      </p:sp>
    </p:spTree>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Slide Image Placeholder 1"/>
          <p:cNvSpPr>
            <a:spLocks noGrp="1" noRot="1" noChangeAspect="1" noTextEdit="1"/>
          </p:cNvSpPr>
          <p:nvPr>
            <p:ph type="sldImg"/>
          </p:nvPr>
        </p:nvSpPr>
        <p:spPr bwMode="auto">
          <a:noFill/>
          <a:ln>
            <a:solidFill>
              <a:srgbClr val="000000"/>
            </a:solidFill>
            <a:miter lim="800000"/>
            <a:headEnd/>
            <a:tailEnd/>
          </a:ln>
        </p:spPr>
      </p:sp>
      <p:sp>
        <p:nvSpPr>
          <p:cNvPr id="77827"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baseline="0" dirty="0" smtClean="0">
              <a:solidFill>
                <a:schemeClr val="bg1"/>
              </a:solidFill>
            </a:endParaRPr>
          </a:p>
        </p:txBody>
      </p:sp>
      <p:sp>
        <p:nvSpPr>
          <p:cNvPr id="4" name="Slide Number Placeholder 3"/>
          <p:cNvSpPr>
            <a:spLocks noGrp="1"/>
          </p:cNvSpPr>
          <p:nvPr>
            <p:ph type="sldNum" sz="quarter" idx="5"/>
          </p:nvPr>
        </p:nvSpPr>
        <p:spPr/>
        <p:txBody>
          <a:bodyPr/>
          <a:lstStyle/>
          <a:p>
            <a:pPr>
              <a:defRPr/>
            </a:pPr>
            <a:fld id="{38EF4E05-F176-4C1D-A6F9-D5ACB04C7B7A}" type="slidenum">
              <a:rPr lang="en-US" smtClean="0"/>
              <a:pPr>
                <a:defRPr/>
              </a:pPr>
              <a:t>180</a:t>
            </a:fld>
            <a:endParaRPr lang="en-US" dirty="0"/>
          </a:p>
        </p:txBody>
      </p:sp>
      <p:sp>
        <p:nvSpPr>
          <p:cNvPr id="5" name="Header Placeholder 1"/>
          <p:cNvSpPr>
            <a:spLocks noGrp="1"/>
          </p:cNvSpPr>
          <p:nvPr>
            <p:ph type="hdr" sz="quarter"/>
          </p:nvPr>
        </p:nvSpPr>
        <p:spPr>
          <a:xfrm>
            <a:off x="0" y="0"/>
            <a:ext cx="2971800" cy="457200"/>
          </a:xfrm>
          <a:prstGeom prst="rect">
            <a:avLst/>
          </a:prstGeom>
        </p:spPr>
        <p:txBody>
          <a:bodyPr vert="horz" lIns="91431" tIns="45716" rIns="91431" bIns="45716" rtlCol="0"/>
          <a:lstStyle>
            <a:lvl1pPr algn="l">
              <a:defRPr sz="900">
                <a:latin typeface="Segoe UI" pitchFamily="34" charset="0"/>
                <a:ea typeface="Segoe UI" pitchFamily="34" charset="0"/>
                <a:cs typeface="Segoe UI" pitchFamily="34" charset="0"/>
              </a:defRPr>
            </a:lvl1pPr>
          </a:lstStyle>
          <a:p>
            <a:r>
              <a:rPr lang="en-US" dirty="0" smtClean="0"/>
              <a:t>Private Cloud Immersion</a:t>
            </a:r>
            <a:endParaRPr lang="en-US" dirty="0"/>
          </a:p>
        </p:txBody>
      </p:sp>
      <p:sp>
        <p:nvSpPr>
          <p:cNvPr id="6" name="Date Placeholder 2"/>
          <p:cNvSpPr>
            <a:spLocks noGrp="1"/>
          </p:cNvSpPr>
          <p:nvPr>
            <p:ph type="dt" idx="1"/>
          </p:nvPr>
        </p:nvSpPr>
        <p:spPr>
          <a:xfrm>
            <a:off x="3884613" y="0"/>
            <a:ext cx="2971800" cy="457200"/>
          </a:xfrm>
          <a:prstGeom prst="rect">
            <a:avLst/>
          </a:prstGeom>
        </p:spPr>
        <p:txBody>
          <a:bodyPr vert="horz" lIns="91431" tIns="45716" rIns="91431" bIns="45716" rtlCol="0"/>
          <a:lstStyle>
            <a:lvl1pPr algn="r">
              <a:defRPr sz="900">
                <a:latin typeface="Segoe UI" pitchFamily="34" charset="0"/>
                <a:ea typeface="Segoe UI" pitchFamily="34" charset="0"/>
                <a:cs typeface="Segoe UI" pitchFamily="34" charset="0"/>
              </a:defRPr>
            </a:lvl1pPr>
          </a:lstStyle>
          <a:p>
            <a:fld id="{A697FD29-47C1-47FA-A884-59C9DEE39B84}" type="datetimeFigureOut">
              <a:rPr lang="en-US" smtClean="0"/>
              <a:pPr/>
              <a:t>9/20/2012</a:t>
            </a:fld>
            <a:endParaRPr lang="en-US" dirty="0"/>
          </a:p>
        </p:txBody>
      </p:sp>
    </p:spTree>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96167">
              <a:spcAft>
                <a:spcPts val="326"/>
              </a:spcAft>
              <a:defRPr/>
            </a:pPr>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81</a:t>
            </a:fld>
            <a:endParaRPr lang="en-US" dirty="0"/>
          </a:p>
        </p:txBody>
      </p:sp>
    </p:spTree>
    <p:extLst>
      <p:ext uri="{BB962C8B-B14F-4D97-AF65-F5344CB8AC3E}">
        <p14:creationId xmlns:p14="http://schemas.microsoft.com/office/powerpoint/2010/main" val="1840347193"/>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82</a:t>
            </a:fld>
            <a:endParaRPr lang="en-US" dirty="0"/>
          </a:p>
        </p:txBody>
      </p:sp>
    </p:spTree>
    <p:extLst>
      <p:ext uri="{BB962C8B-B14F-4D97-AF65-F5344CB8AC3E}">
        <p14:creationId xmlns:p14="http://schemas.microsoft.com/office/powerpoint/2010/main" val="3627670742"/>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p:cNvSpPr>
            <a:spLocks noGrp="1" noRot="1" noChangeAspect="1" noTextEdit="1"/>
          </p:cNvSpPr>
          <p:nvPr>
            <p:ph type="sldImg"/>
          </p:nvPr>
        </p:nvSpPr>
        <p:spPr bwMode="auto">
          <a:noFill/>
          <a:ln>
            <a:solidFill>
              <a:srgbClr val="000000"/>
            </a:solidFill>
            <a:miter lim="800000"/>
            <a:headEnd/>
            <a:tailEnd/>
          </a:ln>
        </p:spPr>
      </p:sp>
      <p:sp>
        <p:nvSpPr>
          <p:cNvPr id="59395" name="Notes Placeholder 2"/>
          <p:cNvSpPr>
            <a:spLocks noGrp="1"/>
          </p:cNvSpPr>
          <p:nvPr>
            <p:ph type="body" idx="1"/>
          </p:nvPr>
        </p:nvSpPr>
        <p:spPr bwMode="auto">
          <a:noFill/>
        </p:spPr>
        <p:txBody>
          <a:bodyPr wrap="square" numCol="1" anchor="t" anchorCtr="0" compatLnSpc="1">
            <a:prstTxWarp prst="textNoShape">
              <a:avLst/>
            </a:prstTxWarp>
            <a:noAutofit/>
          </a:bodyPr>
          <a:lstStyle/>
          <a:p>
            <a:pPr defTabSz="897209" fontAlgn="base">
              <a:spcBef>
                <a:spcPct val="0"/>
              </a:spcBef>
              <a:spcAft>
                <a:spcPct val="0"/>
              </a:spcAft>
              <a:defRPr/>
            </a:pPr>
            <a:endParaRPr lang="en-US" baseline="0" dirty="0" smtClean="0"/>
          </a:p>
        </p:txBody>
      </p:sp>
      <p:sp>
        <p:nvSpPr>
          <p:cNvPr id="115716" name="Slide Number Placeholder 3"/>
          <p:cNvSpPr txBox="1">
            <a:spLocks noGrp="1"/>
          </p:cNvSpPr>
          <p:nvPr/>
        </p:nvSpPr>
        <p:spPr bwMode="auto">
          <a:xfrm>
            <a:off x="3884029" y="8684929"/>
            <a:ext cx="2972421" cy="457513"/>
          </a:xfrm>
          <a:prstGeom prst="rect">
            <a:avLst/>
          </a:prstGeom>
          <a:noFill/>
          <a:ln>
            <a:miter lim="800000"/>
            <a:headEnd/>
            <a:tailEnd/>
          </a:ln>
        </p:spPr>
        <p:txBody>
          <a:bodyPr lIns="91424" tIns="45711" rIns="91424" bIns="45711" anchor="b"/>
          <a:lstStyle/>
          <a:p>
            <a:pPr algn="r" defTabSz="457153" fontAlgn="base">
              <a:spcBef>
                <a:spcPct val="0"/>
              </a:spcBef>
              <a:spcAft>
                <a:spcPct val="0"/>
              </a:spcAft>
              <a:defRPr/>
            </a:pPr>
            <a:fld id="{CBA44638-B5E7-45E9-B1ED-4FA0093D7347}" type="slidenum">
              <a:rPr lang="en-US" sz="900">
                <a:solidFill>
                  <a:prstClr val="black"/>
                </a:solidFill>
                <a:latin typeface="Segoe UI" pitchFamily="34" charset="0"/>
                <a:ea typeface="Segoe UI" pitchFamily="34" charset="0"/>
                <a:cs typeface="Segoe UI" pitchFamily="34" charset="0"/>
              </a:rPr>
              <a:pPr algn="r" defTabSz="457153" fontAlgn="base">
                <a:spcBef>
                  <a:spcPct val="0"/>
                </a:spcBef>
                <a:spcAft>
                  <a:spcPct val="0"/>
                </a:spcAft>
                <a:defRPr/>
              </a:pPr>
              <a:t>183</a:t>
            </a:fld>
            <a:endParaRPr lang="en-US" sz="900" dirty="0">
              <a:solidFill>
                <a:prstClr val="black"/>
              </a:solidFill>
              <a:latin typeface="Segoe UI" pitchFamily="34" charset="0"/>
              <a:ea typeface="Segoe UI" pitchFamily="34" charset="0"/>
              <a:cs typeface="Segoe UI" pitchFamily="34" charset="0"/>
            </a:endParaRPr>
          </a:p>
        </p:txBody>
      </p:sp>
      <p:sp>
        <p:nvSpPr>
          <p:cNvPr id="5" name="Header Placeholder 1"/>
          <p:cNvSpPr>
            <a:spLocks noGrp="1"/>
          </p:cNvSpPr>
          <p:nvPr>
            <p:ph type="hdr" sz="quarter"/>
          </p:nvPr>
        </p:nvSpPr>
        <p:spPr>
          <a:xfrm>
            <a:off x="0" y="0"/>
            <a:ext cx="2971800" cy="457200"/>
          </a:xfrm>
          <a:prstGeom prst="rect">
            <a:avLst/>
          </a:prstGeom>
        </p:spPr>
        <p:txBody>
          <a:bodyPr vert="horz" lIns="91431" tIns="45716" rIns="91431" bIns="45716" rtlCol="0"/>
          <a:lstStyle>
            <a:lvl1pPr algn="l">
              <a:defRPr sz="900">
                <a:latin typeface="Segoe UI" pitchFamily="34" charset="0"/>
                <a:ea typeface="Segoe UI" pitchFamily="34" charset="0"/>
                <a:cs typeface="Segoe UI" pitchFamily="34" charset="0"/>
              </a:defRPr>
            </a:lvl1pPr>
          </a:lstStyle>
          <a:p>
            <a:r>
              <a:rPr lang="en-US" dirty="0" smtClean="0"/>
              <a:t>Private Cloud Immersion</a:t>
            </a:r>
            <a:endParaRPr lang="en-US" dirty="0"/>
          </a:p>
        </p:txBody>
      </p:sp>
      <p:sp>
        <p:nvSpPr>
          <p:cNvPr id="6" name="Date Placeholder 2"/>
          <p:cNvSpPr>
            <a:spLocks noGrp="1"/>
          </p:cNvSpPr>
          <p:nvPr>
            <p:ph type="dt" idx="1"/>
          </p:nvPr>
        </p:nvSpPr>
        <p:spPr>
          <a:xfrm>
            <a:off x="3884613" y="0"/>
            <a:ext cx="2971800" cy="457200"/>
          </a:xfrm>
          <a:prstGeom prst="rect">
            <a:avLst/>
          </a:prstGeom>
        </p:spPr>
        <p:txBody>
          <a:bodyPr vert="horz" lIns="91431" tIns="45716" rIns="91431" bIns="45716" rtlCol="0"/>
          <a:lstStyle>
            <a:lvl1pPr algn="r">
              <a:defRPr sz="900">
                <a:latin typeface="Segoe UI" pitchFamily="34" charset="0"/>
                <a:ea typeface="Segoe UI" pitchFamily="34" charset="0"/>
                <a:cs typeface="Segoe UI" pitchFamily="34" charset="0"/>
              </a:defRPr>
            </a:lvl1pPr>
          </a:lstStyle>
          <a:p>
            <a:fld id="{A697FD29-47C1-47FA-A884-59C9DEE39B84}" type="datetimeFigureOut">
              <a:rPr lang="en-US" smtClean="0"/>
              <a:pPr/>
              <a:t>9/20/2012</a:t>
            </a:fld>
            <a:endParaRPr lang="en-US" dirty="0"/>
          </a:p>
        </p:txBody>
      </p:sp>
    </p:spTree>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lide Image Placeholder 1"/>
          <p:cNvSpPr>
            <a:spLocks noGrp="1" noRot="1" noChangeAspect="1" noTextEdit="1"/>
          </p:cNvSpPr>
          <p:nvPr>
            <p:ph type="sldImg"/>
          </p:nvPr>
        </p:nvSpPr>
        <p:spPr bwMode="auto">
          <a:noFill/>
          <a:ln>
            <a:solidFill>
              <a:srgbClr val="000000"/>
            </a:solidFill>
            <a:miter lim="800000"/>
            <a:headEnd/>
            <a:tailEnd/>
          </a:ln>
        </p:spPr>
      </p:sp>
      <p:sp>
        <p:nvSpPr>
          <p:cNvPr id="3" name="Notes Placeholder 2"/>
          <p:cNvSpPr>
            <a:spLocks noGrp="1"/>
          </p:cNvSpPr>
          <p:nvPr>
            <p:ph type="body" idx="1"/>
          </p:nvPr>
        </p:nvSpPr>
        <p:spPr bwMode="auto">
          <a:xfrm>
            <a:off x="686732" y="4344337"/>
            <a:ext cx="5484540" cy="4113553"/>
          </a:xfrm>
        </p:spPr>
        <p:txBody>
          <a:bodyPr wrap="square" numCol="1" anchor="t" anchorCtr="0" compatLnSpc="1">
            <a:prstTxWarp prst="textNoShape">
              <a:avLst/>
            </a:prstTxWarp>
          </a:bodyPr>
          <a:lstStyle/>
          <a:p>
            <a:pPr marL="223578" indent="-223578">
              <a:buFont typeface="+mj-lt"/>
              <a:buAutoNum type="arabicPeriod"/>
              <a:defRPr/>
            </a:pPr>
            <a:endParaRPr lang="en-US" dirty="0"/>
          </a:p>
        </p:txBody>
      </p:sp>
      <p:sp>
        <p:nvSpPr>
          <p:cNvPr id="68612" name="Slide Number Placeholder 3"/>
          <p:cNvSpPr txBox="1">
            <a:spLocks noGrp="1"/>
          </p:cNvSpPr>
          <p:nvPr/>
        </p:nvSpPr>
        <p:spPr bwMode="auto">
          <a:xfrm>
            <a:off x="3884754" y="8685553"/>
            <a:ext cx="2971697" cy="456889"/>
          </a:xfrm>
          <a:prstGeom prst="rect">
            <a:avLst/>
          </a:prstGeom>
          <a:noFill/>
          <a:ln w="9525">
            <a:noFill/>
            <a:miter lim="800000"/>
            <a:headEnd/>
            <a:tailEnd/>
          </a:ln>
        </p:spPr>
        <p:txBody>
          <a:bodyPr lIns="91412" tIns="45705" rIns="91412" bIns="45705" anchor="b"/>
          <a:lstStyle/>
          <a:p>
            <a:pPr algn="r" defTabSz="897301"/>
            <a:fld id="{EF426E15-FCA3-417B-924D-08DC59A9E254}" type="slidenum">
              <a:rPr lang="en-US" sz="1200">
                <a:solidFill>
                  <a:srgbClr val="000000"/>
                </a:solidFill>
                <a:latin typeface="Calibri" pitchFamily="34" charset="0"/>
              </a:rPr>
              <a:pPr algn="r" defTabSz="897301"/>
              <a:t>184</a:t>
            </a:fld>
            <a:endParaRPr lang="en-US" sz="1200">
              <a:solidFill>
                <a:srgbClr val="000000"/>
              </a:solidFill>
              <a:latin typeface="Calibri" pitchFamily="34" charset="0"/>
            </a:endParaRPr>
          </a:p>
        </p:txBody>
      </p:sp>
    </p:spTree>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Slide Image Placeholder 1"/>
          <p:cNvSpPr>
            <a:spLocks noGrp="1" noRot="1" noChangeAspect="1"/>
          </p:cNvSpPr>
          <p:nvPr>
            <p:ph type="sldImg"/>
          </p:nvPr>
        </p:nvSpPr>
        <p:spPr bwMode="auto">
          <a:xfrm>
            <a:off x="382588" y="687388"/>
            <a:ext cx="6092825" cy="3427412"/>
          </a:xfrm>
          <a:noFill/>
          <a:ln>
            <a:solidFill>
              <a:srgbClr val="000000"/>
            </a:solidFill>
            <a:miter lim="800000"/>
            <a:headEnd/>
            <a:tailEnd/>
          </a:ln>
        </p:spPr>
      </p:sp>
      <p:sp>
        <p:nvSpPr>
          <p:cNvPr id="25602"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dirty="0"/>
          </a:p>
        </p:txBody>
      </p:sp>
      <p:sp>
        <p:nvSpPr>
          <p:cNvPr id="25603"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FF0C1D46-3CF2-422B-BF09-4A21DFCCAB61}" type="slidenum">
              <a:rPr lang="en-US">
                <a:solidFill>
                  <a:prstClr val="black"/>
                </a:solidFill>
                <a:cs typeface="Arial" charset="0"/>
              </a:rPr>
              <a:pPr fontAlgn="base">
                <a:spcBef>
                  <a:spcPct val="0"/>
                </a:spcBef>
                <a:spcAft>
                  <a:spcPct val="0"/>
                </a:spcAft>
              </a:pPr>
              <a:t>185</a:t>
            </a:fld>
            <a:endParaRPr lang="en-US">
              <a:solidFill>
                <a:prstClr val="black"/>
              </a:solidFill>
              <a:cs typeface="Arial" charset="0"/>
            </a:endParaRPr>
          </a:p>
        </p:txBody>
      </p:sp>
    </p:spTree>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5622BA7-171F-4A38-87E6-DC24830D7657}" type="slidenum">
              <a:rPr lang="en-US" smtClean="0"/>
              <a:t>198</a:t>
            </a:fld>
            <a:endParaRPr lang="en-US"/>
          </a:p>
        </p:txBody>
      </p:sp>
    </p:spTree>
    <p:extLst>
      <p:ext uri="{BB962C8B-B14F-4D97-AF65-F5344CB8AC3E}">
        <p14:creationId xmlns:p14="http://schemas.microsoft.com/office/powerpoint/2010/main" val="1585416445"/>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5622BA7-171F-4A38-87E6-DC24830D7657}" type="slidenum">
              <a:rPr lang="en-US" smtClean="0"/>
              <a:t>199</a:t>
            </a:fld>
            <a:endParaRPr lang="en-US"/>
          </a:p>
        </p:txBody>
      </p:sp>
    </p:spTree>
    <p:extLst>
      <p:ext uri="{BB962C8B-B14F-4D97-AF65-F5344CB8AC3E}">
        <p14:creationId xmlns:p14="http://schemas.microsoft.com/office/powerpoint/2010/main" val="1267894907"/>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02</a:t>
            </a:fld>
            <a:endParaRPr lang="en-US" dirty="0"/>
          </a:p>
        </p:txBody>
      </p:sp>
    </p:spTree>
    <p:extLst>
      <p:ext uri="{BB962C8B-B14F-4D97-AF65-F5344CB8AC3E}">
        <p14:creationId xmlns:p14="http://schemas.microsoft.com/office/powerpoint/2010/main" val="2522618765"/>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03</a:t>
            </a:fld>
            <a:endParaRPr lang="en-US" dirty="0"/>
          </a:p>
        </p:txBody>
      </p:sp>
    </p:spTree>
    <p:extLst>
      <p:ext uri="{BB962C8B-B14F-4D97-AF65-F5344CB8AC3E}">
        <p14:creationId xmlns:p14="http://schemas.microsoft.com/office/powerpoint/2010/main" val="24330651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099"/>
            <a:endParaRPr lang="en-US" dirty="0"/>
          </a:p>
        </p:txBody>
      </p:sp>
      <p:sp>
        <p:nvSpPr>
          <p:cNvPr id="4" name="Slide Number Placeholder 3"/>
          <p:cNvSpPr>
            <a:spLocks noGrp="1"/>
          </p:cNvSpPr>
          <p:nvPr>
            <p:ph type="sldNum" sz="quarter" idx="10"/>
          </p:nvPr>
        </p:nvSpPr>
        <p:spPr/>
        <p:txBody>
          <a:bodyPr/>
          <a:lstStyle/>
          <a:p>
            <a:fld id="{D8DD3ECE-9656-4D09-B0F5-9BCEC48590A3}"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755246485"/>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04</a:t>
            </a:fld>
            <a:endParaRPr lang="en-US" dirty="0"/>
          </a:p>
        </p:txBody>
      </p:sp>
    </p:spTree>
    <p:extLst>
      <p:ext uri="{BB962C8B-B14F-4D97-AF65-F5344CB8AC3E}">
        <p14:creationId xmlns:p14="http://schemas.microsoft.com/office/powerpoint/2010/main" val="2566233600"/>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05</a:t>
            </a:fld>
            <a:endParaRPr lang="en-US" dirty="0"/>
          </a:p>
        </p:txBody>
      </p:sp>
    </p:spTree>
    <p:extLst>
      <p:ext uri="{BB962C8B-B14F-4D97-AF65-F5344CB8AC3E}">
        <p14:creationId xmlns:p14="http://schemas.microsoft.com/office/powerpoint/2010/main" val="2601117974"/>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06</a:t>
            </a:fld>
            <a:endParaRPr lang="en-US" dirty="0"/>
          </a:p>
        </p:txBody>
      </p:sp>
    </p:spTree>
    <p:extLst>
      <p:ext uri="{BB962C8B-B14F-4D97-AF65-F5344CB8AC3E}">
        <p14:creationId xmlns:p14="http://schemas.microsoft.com/office/powerpoint/2010/main" val="614590910"/>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07</a:t>
            </a:fld>
            <a:endParaRPr lang="en-US" dirty="0"/>
          </a:p>
        </p:txBody>
      </p:sp>
    </p:spTree>
    <p:extLst>
      <p:ext uri="{BB962C8B-B14F-4D97-AF65-F5344CB8AC3E}">
        <p14:creationId xmlns:p14="http://schemas.microsoft.com/office/powerpoint/2010/main" val="1899617450"/>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08</a:t>
            </a:fld>
            <a:endParaRPr lang="en-US" dirty="0"/>
          </a:p>
        </p:txBody>
      </p:sp>
    </p:spTree>
    <p:extLst>
      <p:ext uri="{BB962C8B-B14F-4D97-AF65-F5344CB8AC3E}">
        <p14:creationId xmlns:p14="http://schemas.microsoft.com/office/powerpoint/2010/main" val="505809902"/>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10</a:t>
            </a:fld>
            <a:endParaRPr lang="en-US" dirty="0"/>
          </a:p>
        </p:txBody>
      </p:sp>
    </p:spTree>
    <p:extLst>
      <p:ext uri="{BB962C8B-B14F-4D97-AF65-F5344CB8AC3E}">
        <p14:creationId xmlns:p14="http://schemas.microsoft.com/office/powerpoint/2010/main" val="686879009"/>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11</a:t>
            </a:fld>
            <a:endParaRPr lang="en-US" dirty="0"/>
          </a:p>
        </p:txBody>
      </p:sp>
    </p:spTree>
    <p:extLst>
      <p:ext uri="{BB962C8B-B14F-4D97-AF65-F5344CB8AC3E}">
        <p14:creationId xmlns:p14="http://schemas.microsoft.com/office/powerpoint/2010/main" val="1213629019"/>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12</a:t>
            </a:fld>
            <a:endParaRPr lang="en-US" dirty="0"/>
          </a:p>
        </p:txBody>
      </p:sp>
    </p:spTree>
    <p:extLst>
      <p:ext uri="{BB962C8B-B14F-4D97-AF65-F5344CB8AC3E}">
        <p14:creationId xmlns:p14="http://schemas.microsoft.com/office/powerpoint/2010/main" val="2839283974"/>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14</a:t>
            </a:fld>
            <a:endParaRPr lang="en-US" dirty="0"/>
          </a:p>
        </p:txBody>
      </p:sp>
    </p:spTree>
    <p:extLst>
      <p:ext uri="{BB962C8B-B14F-4D97-AF65-F5344CB8AC3E}">
        <p14:creationId xmlns:p14="http://schemas.microsoft.com/office/powerpoint/2010/main" val="505809902"/>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15</a:t>
            </a:fld>
            <a:endParaRPr lang="en-US" dirty="0"/>
          </a:p>
        </p:txBody>
      </p:sp>
    </p:spTree>
    <p:extLst>
      <p:ext uri="{BB962C8B-B14F-4D97-AF65-F5344CB8AC3E}">
        <p14:creationId xmlns:p14="http://schemas.microsoft.com/office/powerpoint/2010/main" val="22029627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2505539977"/>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r>
              <a:rPr lang="en-US" dirty="0" err="1" smtClean="0"/>
              <a:t>TechEd</a:t>
            </a:r>
            <a:r>
              <a:rPr lang="en-US" dirty="0" smtClean="0"/>
              <a:t> 2012</a:t>
            </a:r>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9/20/2012 12:37 AM</a:t>
            </a:fld>
            <a:endParaRPr lang="en-US"/>
          </a:p>
        </p:txBody>
      </p:sp>
      <p:sp>
        <p:nvSpPr>
          <p:cNvPr id="6" name="Footer Placeholder 5"/>
          <p:cNvSpPr>
            <a:spLocks noGrp="1"/>
          </p:cNvSpPr>
          <p:nvPr>
            <p:ph type="ftr" sz="quarter" idx="12"/>
          </p:nvPr>
        </p:nvSpPr>
        <p:spPr/>
        <p:txBody>
          <a:bodyPr/>
          <a:lstStyle/>
          <a:p>
            <a:r>
              <a:rPr lang="en-US" dirty="0" smtClean="0">
                <a:latin typeface="Segoe UI" pitchFamily="34" charset="0"/>
              </a:rPr>
              <a:t>© 2012 Microsoft Corporation. All rights reserved. Microsoft, Windows, Windows Vista and other product names are or may be registered trademarks and/or trademarks in the U.S. and/or other countries.</a:t>
            </a:r>
          </a:p>
          <a:p>
            <a:r>
              <a:rPr lang="en-US" dirty="0" smtClean="0">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latin typeface="Segoe UI" pitchFamily="34" charset="0"/>
              </a:rPr>
            </a:br>
            <a:r>
              <a:rPr lang="en-US" dirty="0" smtClean="0">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216</a:t>
            </a:fld>
            <a:endParaRPr lang="en-US" dirty="0"/>
          </a:p>
        </p:txBody>
      </p:sp>
    </p:spTree>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r>
              <a:rPr lang="en-US" dirty="0" err="1" smtClean="0"/>
              <a:t>TechEd</a:t>
            </a:r>
            <a:r>
              <a:rPr lang="en-US" dirty="0" smtClean="0"/>
              <a:t> 2012</a:t>
            </a:r>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9/20/2012 12:37 AM</a:t>
            </a:fld>
            <a:endParaRPr lang="en-US"/>
          </a:p>
        </p:txBody>
      </p:sp>
      <p:sp>
        <p:nvSpPr>
          <p:cNvPr id="6" name="Footer Placeholder 5"/>
          <p:cNvSpPr>
            <a:spLocks noGrp="1"/>
          </p:cNvSpPr>
          <p:nvPr>
            <p:ph type="ftr" sz="quarter" idx="12"/>
          </p:nvPr>
        </p:nvSpPr>
        <p:spPr/>
        <p:txBody>
          <a:bodyPr/>
          <a:lstStyle/>
          <a:p>
            <a:r>
              <a:rPr lang="en-US" dirty="0" smtClean="0">
                <a:latin typeface="Segoe UI" pitchFamily="34" charset="0"/>
              </a:rPr>
              <a:t>© 2012 Microsoft Corporation. All rights reserved. Microsoft, Windows, Windows Vista and other product names are or may be registered trademarks and/or trademarks in the U.S. and/or other countries.</a:t>
            </a:r>
          </a:p>
          <a:p>
            <a:r>
              <a:rPr lang="en-US" dirty="0" smtClean="0">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latin typeface="Segoe UI" pitchFamily="34" charset="0"/>
              </a:rPr>
            </a:br>
            <a:r>
              <a:rPr lang="en-US" dirty="0" smtClean="0">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217</a:t>
            </a:fld>
            <a:endParaRPr lang="en-US" dirty="0"/>
          </a:p>
        </p:txBody>
      </p:sp>
    </p:spTree>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r>
              <a:rPr lang="en-US" dirty="0" err="1" smtClean="0"/>
              <a:t>TechEd</a:t>
            </a:r>
            <a:r>
              <a:rPr lang="en-US" dirty="0" smtClean="0"/>
              <a:t> 2012</a:t>
            </a:r>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9/20/2012 12:37 AM</a:t>
            </a:fld>
            <a:endParaRPr lang="en-US"/>
          </a:p>
        </p:txBody>
      </p:sp>
      <p:sp>
        <p:nvSpPr>
          <p:cNvPr id="6" name="Footer Placeholder 5"/>
          <p:cNvSpPr>
            <a:spLocks noGrp="1"/>
          </p:cNvSpPr>
          <p:nvPr>
            <p:ph type="ftr" sz="quarter" idx="12"/>
          </p:nvPr>
        </p:nvSpPr>
        <p:spPr/>
        <p:txBody>
          <a:bodyPr/>
          <a:lstStyle/>
          <a:p>
            <a:r>
              <a:rPr lang="en-US" dirty="0" smtClean="0">
                <a:latin typeface="Segoe UI" pitchFamily="34" charset="0"/>
              </a:rPr>
              <a:t>© 2012 Microsoft Corporation. All rights reserved. Microsoft, Windows, Windows Vista and other product names are or may be registered trademarks and/or trademarks in the U.S. and/or other countries.</a:t>
            </a:r>
          </a:p>
          <a:p>
            <a:r>
              <a:rPr lang="en-US" dirty="0" smtClean="0">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latin typeface="Segoe UI" pitchFamily="34" charset="0"/>
              </a:rPr>
            </a:br>
            <a:r>
              <a:rPr lang="en-US" dirty="0" smtClean="0">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218</a:t>
            </a:fld>
            <a:endParaRPr lang="en-US" dirty="0"/>
          </a:p>
        </p:txBody>
      </p:sp>
    </p:spTree>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p:spPr>
      </p:sp>
      <p:sp>
        <p:nvSpPr>
          <p:cNvPr id="47107" name="Notes Placeholder 2"/>
          <p:cNvSpPr>
            <a:spLocks noGrp="1"/>
          </p:cNvSpPr>
          <p:nvPr>
            <p:ph type="body" idx="1"/>
          </p:nvPr>
        </p:nvSpPr>
        <p:spPr bwMode="auto">
          <a:noFill/>
        </p:spPr>
        <p:txBody>
          <a:bodyPr wrap="square" numCol="1" anchor="t" anchorCtr="0" compatLnSpc="1">
            <a:prstTxWarp prst="textNoShape">
              <a:avLst/>
            </a:prstTxWarp>
          </a:bodyPr>
          <a:lstStyle/>
          <a:p>
            <a:pPr defTabSz="912879">
              <a:spcBef>
                <a:spcPct val="0"/>
              </a:spcBef>
              <a:spcAft>
                <a:spcPts val="343"/>
              </a:spcAft>
            </a:pPr>
            <a:endParaRPr lang="en-US" sz="1000" b="1" dirty="0"/>
          </a:p>
        </p:txBody>
      </p:sp>
      <p:sp>
        <p:nvSpPr>
          <p:cNvPr id="105476"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C8E05905-172D-429E-9F15-81DA37E0DD1E}" type="slidenum">
              <a:rPr lang="en-US">
                <a:solidFill>
                  <a:prstClr val="black"/>
                </a:solidFill>
              </a:rPr>
              <a:pPr>
                <a:defRPr/>
              </a:pPr>
              <a:t>233</a:t>
            </a:fld>
            <a:endParaRPr lang="en-US">
              <a:solidFill>
                <a:prstClr val="black"/>
              </a:solidFill>
            </a:endParaRPr>
          </a:p>
        </p:txBody>
      </p:sp>
    </p:spTree>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Slide Image Placeholder 1"/>
          <p:cNvSpPr>
            <a:spLocks noGrp="1" noRot="1" noChangeAspect="1" noTextEdit="1"/>
          </p:cNvSpPr>
          <p:nvPr>
            <p:ph type="sldImg"/>
          </p:nvPr>
        </p:nvSpPr>
        <p:spPr bwMode="auto">
          <a:noFill/>
          <a:ln>
            <a:solidFill>
              <a:srgbClr val="000000"/>
            </a:solidFill>
            <a:miter lim="800000"/>
            <a:headEnd/>
            <a:tailEnd/>
          </a:ln>
        </p:spPr>
      </p:sp>
      <p:sp>
        <p:nvSpPr>
          <p:cNvPr id="82947"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smtClean="0"/>
          </a:p>
        </p:txBody>
      </p:sp>
      <p:sp>
        <p:nvSpPr>
          <p:cNvPr id="90116" name="Slide Number Placeholder 3"/>
          <p:cNvSpPr txBox="1">
            <a:spLocks noGrp="1"/>
          </p:cNvSpPr>
          <p:nvPr/>
        </p:nvSpPr>
        <p:spPr bwMode="auto">
          <a:xfrm>
            <a:off x="3884027" y="8684926"/>
            <a:ext cx="2972421" cy="457513"/>
          </a:xfrm>
          <a:prstGeom prst="rect">
            <a:avLst/>
          </a:prstGeom>
          <a:noFill/>
          <a:ln>
            <a:miter lim="800000"/>
            <a:headEnd/>
            <a:tailEnd/>
          </a:ln>
        </p:spPr>
        <p:txBody>
          <a:bodyPr lIns="91433" tIns="45716" rIns="91433" bIns="45716" anchor="b"/>
          <a:lstStyle/>
          <a:p>
            <a:pPr algn="r">
              <a:defRPr/>
            </a:pPr>
            <a:fld id="{856811C4-7346-49F5-8118-92BC5EDE9429}" type="slidenum">
              <a:rPr lang="en-US" sz="1200"/>
              <a:pPr algn="r">
                <a:defRPr/>
              </a:pPr>
              <a:t>234</a:t>
            </a:fld>
            <a:endParaRPr lang="en-US" sz="1200"/>
          </a:p>
        </p:txBody>
      </p:sp>
    </p:spTree>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CA072EB7-1B69-4A12-8DA6-D407AE545D44}" type="slidenum">
              <a:rPr lang="en-US" smtClean="0"/>
              <a:pPr>
                <a:defRPr/>
              </a:pPr>
              <a:t>235</a:t>
            </a:fld>
            <a:endParaRPr lang="en-US"/>
          </a:p>
        </p:txBody>
      </p:sp>
    </p:spTree>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p:cNvSpPr>
            <a:spLocks noGrp="1" noRot="1" noChangeAspect="1" noTextEdit="1"/>
          </p:cNvSpPr>
          <p:nvPr>
            <p:ph type="sldImg"/>
          </p:nvPr>
        </p:nvSpPr>
        <p:spPr bwMode="auto">
          <a:noFill/>
          <a:ln>
            <a:solidFill>
              <a:srgbClr val="000000"/>
            </a:solidFill>
            <a:miter lim="800000"/>
            <a:headEnd/>
            <a:tailEnd/>
          </a:ln>
        </p:spPr>
      </p:sp>
      <p:sp>
        <p:nvSpPr>
          <p:cNvPr id="3" name="Notes Placeholder 2"/>
          <p:cNvSpPr>
            <a:spLocks noGrp="1"/>
          </p:cNvSpPr>
          <p:nvPr>
            <p:ph type="body" idx="1"/>
          </p:nvPr>
        </p:nvSpPr>
        <p:spPr/>
        <p:txBody>
          <a:bodyPr/>
          <a:lstStyle/>
          <a:p>
            <a:pPr>
              <a:defRPr/>
            </a:pPr>
            <a:endParaRPr lang="en-US" dirty="0"/>
          </a:p>
        </p:txBody>
      </p:sp>
      <p:sp>
        <p:nvSpPr>
          <p:cNvPr id="4" name="Slide Number Placeholder 3"/>
          <p:cNvSpPr>
            <a:spLocks noGrp="1"/>
          </p:cNvSpPr>
          <p:nvPr>
            <p:ph type="sldNum" sz="quarter" idx="5"/>
          </p:nvPr>
        </p:nvSpPr>
        <p:spPr/>
        <p:txBody>
          <a:bodyPr/>
          <a:lstStyle/>
          <a:p>
            <a:pPr>
              <a:defRPr/>
            </a:pPr>
            <a:fld id="{82272373-A3F0-4D59-98DD-CCE270B586C4}" type="slidenum">
              <a:rPr lang="en-US" smtClean="0">
                <a:solidFill>
                  <a:prstClr val="black"/>
                </a:solidFill>
              </a:rPr>
              <a:pPr>
                <a:defRPr/>
              </a:pPr>
              <a:t>236</a:t>
            </a:fld>
            <a:endParaRPr lang="en-US" dirty="0">
              <a:solidFill>
                <a:prstClr val="black"/>
              </a:solidFill>
            </a:endParaRPr>
          </a:p>
        </p:txBody>
      </p:sp>
    </p:spTree>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7950" indent="-167950" defTabSz="912597">
              <a:spcBef>
                <a:spcPct val="0"/>
              </a:spcBef>
              <a:spcAft>
                <a:spcPts val="338"/>
              </a:spcAft>
              <a:buFont typeface="Arial" pitchFamily="34" charset="0"/>
              <a:buChar cha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37</a:t>
            </a:fld>
            <a:endParaRPr lang="en-US" dirty="0">
              <a:solidFill>
                <a:prstClr val="black"/>
              </a:solidFill>
            </a:endParaRPr>
          </a:p>
        </p:txBody>
      </p:sp>
    </p:spTree>
    <p:extLst>
      <p:ext uri="{BB962C8B-B14F-4D97-AF65-F5344CB8AC3E}">
        <p14:creationId xmlns:p14="http://schemas.microsoft.com/office/powerpoint/2010/main" val="2939114220"/>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Slide Image Placeholder 1"/>
          <p:cNvSpPr>
            <a:spLocks noGrp="1" noRot="1" noChangeAspect="1"/>
          </p:cNvSpPr>
          <p:nvPr>
            <p:ph type="sldImg"/>
          </p:nvPr>
        </p:nvSpPr>
        <p:spPr bwMode="auto">
          <a:noFill/>
          <a:ln>
            <a:solidFill>
              <a:srgbClr val="000000"/>
            </a:solidFill>
            <a:miter lim="800000"/>
            <a:headEnd/>
            <a:tailEnd/>
          </a:ln>
        </p:spPr>
      </p:sp>
      <p:sp>
        <p:nvSpPr>
          <p:cNvPr id="33794" name="Notes Placeholder 2"/>
          <p:cNvSpPr>
            <a:spLocks noGrp="1"/>
          </p:cNvSpPr>
          <p:nvPr>
            <p:ph type="body" idx="1"/>
          </p:nvPr>
        </p:nvSpPr>
        <p:spPr bwMode="auto">
          <a:noFill/>
        </p:spPr>
        <p:txBody>
          <a:bodyPr wrap="square" numCol="1" anchor="t" anchorCtr="0" compatLnSpc="1">
            <a:prstTxWarp prst="textNoShape">
              <a:avLst/>
            </a:prstTxWarp>
          </a:bodyPr>
          <a:lstStyle/>
          <a:p>
            <a:pPr defTabSz="888651">
              <a:spcBef>
                <a:spcPct val="0"/>
              </a:spcBef>
              <a:spcAft>
                <a:spcPts val="0"/>
              </a:spcAft>
              <a:defRPr/>
            </a:pPr>
            <a:endParaRPr lang="en-US" baseline="0" dirty="0" smtClean="0"/>
          </a:p>
        </p:txBody>
      </p:sp>
      <p:sp>
        <p:nvSpPr>
          <p:cNvPr id="33795"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8162EF4C-69EA-493E-9EC5-726499C64871}" type="slidenum">
              <a:rPr lang="en-US">
                <a:solidFill>
                  <a:srgbClr val="000000"/>
                </a:solidFill>
                <a:cs typeface="Arial" charset="0"/>
              </a:rPr>
              <a:pPr fontAlgn="base">
                <a:spcBef>
                  <a:spcPct val="0"/>
                </a:spcBef>
                <a:spcAft>
                  <a:spcPct val="0"/>
                </a:spcAft>
              </a:pPr>
              <a:t>240</a:t>
            </a:fld>
            <a:endParaRPr lang="en-US">
              <a:solidFill>
                <a:srgbClr val="000000"/>
              </a:solidFill>
              <a:cs typeface="Arial" charset="0"/>
            </a:endParaRPr>
          </a:p>
        </p:txBody>
      </p:sp>
    </p:spTree>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8938" y="685800"/>
            <a:ext cx="4322762" cy="2432050"/>
          </a:xfrm>
        </p:spPr>
      </p:sp>
      <p:sp>
        <p:nvSpPr>
          <p:cNvPr id="3" name="Notes Placeholder 2"/>
          <p:cNvSpPr>
            <a:spLocks noGrp="1"/>
          </p:cNvSpPr>
          <p:nvPr>
            <p:ph type="body" idx="1"/>
          </p:nvPr>
        </p:nvSpPr>
        <p:spPr>
          <a:xfrm>
            <a:off x="407989" y="3305051"/>
            <a:ext cx="6042024" cy="4798414"/>
          </a:xfrm>
        </p:spPr>
        <p:txBody>
          <a:bodyPr/>
          <a:lstStyle/>
          <a:p>
            <a:endParaRPr lang="en-US" baseline="0" dirty="0" smtClean="0">
              <a:solidFill>
                <a:srgbClr val="262626"/>
              </a:solidFill>
              <a:ea typeface="Calibri"/>
              <a:cs typeface="Calibri"/>
            </a:endParaRPr>
          </a:p>
        </p:txBody>
      </p:sp>
      <p:sp>
        <p:nvSpPr>
          <p:cNvPr id="4" name="Slide Number Placeholder 3"/>
          <p:cNvSpPr>
            <a:spLocks noGrp="1"/>
          </p:cNvSpPr>
          <p:nvPr>
            <p:ph type="sldNum" sz="quarter" idx="10"/>
          </p:nvPr>
        </p:nvSpPr>
        <p:spPr/>
        <p:txBody>
          <a:bodyPr/>
          <a:lstStyle/>
          <a:p>
            <a:fld id="{67741927-6463-459E-A476-6AA29362DB91}" type="slidenum">
              <a:rPr lang="en-US" smtClean="0">
                <a:solidFill>
                  <a:prstClr val="black"/>
                </a:solidFill>
              </a:rPr>
              <a:pPr/>
              <a:t>241</a:t>
            </a:fld>
            <a:endParaRPr lang="en-US" dirty="0">
              <a:solidFill>
                <a:prstClr val="black"/>
              </a:solidFill>
            </a:endParaRPr>
          </a:p>
        </p:txBody>
      </p:sp>
    </p:spTree>
    <p:extLst>
      <p:ext uri="{BB962C8B-B14F-4D97-AF65-F5344CB8AC3E}">
        <p14:creationId xmlns:p14="http://schemas.microsoft.com/office/powerpoint/2010/main" val="27651976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7</a:t>
            </a:fld>
            <a:endParaRPr lang="en-US" dirty="0"/>
          </a:p>
        </p:txBody>
      </p:sp>
    </p:spTree>
    <p:extLst>
      <p:ext uri="{BB962C8B-B14F-4D97-AF65-F5344CB8AC3E}">
        <p14:creationId xmlns:p14="http://schemas.microsoft.com/office/powerpoint/2010/main" val="810453001"/>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43401"/>
            <a:ext cx="5486400" cy="4114800"/>
          </a:xfrm>
          <a:prstGeom prst="rect">
            <a:avLst/>
          </a:prstGeom>
        </p:spPr>
        <p:txBody>
          <a:bodyPr lIns="90564" tIns="45283" rIns="90564" bIns="45283">
            <a:normAutofit/>
          </a:bodyPr>
          <a:lstStyle/>
          <a:p>
            <a:pPr lvl="0"/>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42</a:t>
            </a:fld>
            <a:endParaRPr lang="en-US" dirty="0">
              <a:solidFill>
                <a:prstClr val="black"/>
              </a:solidFill>
            </a:endParaRPr>
          </a:p>
        </p:txBody>
      </p:sp>
    </p:spTree>
    <p:extLst>
      <p:ext uri="{BB962C8B-B14F-4D97-AF65-F5344CB8AC3E}">
        <p14:creationId xmlns:p14="http://schemas.microsoft.com/office/powerpoint/2010/main" val="3164951122"/>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7741927-6463-459E-A476-6AA29362DB91}" type="slidenum">
              <a:rPr lang="en-US" smtClean="0">
                <a:solidFill>
                  <a:prstClr val="black"/>
                </a:solidFill>
              </a:rPr>
              <a:pPr/>
              <a:t>243</a:t>
            </a:fld>
            <a:endParaRPr lang="en-US">
              <a:solidFill>
                <a:prstClr val="black"/>
              </a:solidFill>
            </a:endParaRPr>
          </a:p>
        </p:txBody>
      </p:sp>
    </p:spTree>
    <p:extLst>
      <p:ext uri="{BB962C8B-B14F-4D97-AF65-F5344CB8AC3E}">
        <p14:creationId xmlns:p14="http://schemas.microsoft.com/office/powerpoint/2010/main" val="2777367190"/>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44</a:t>
            </a:fld>
            <a:endParaRPr lang="en-US" dirty="0">
              <a:solidFill>
                <a:prstClr val="black"/>
              </a:solidFill>
            </a:endParaRPr>
          </a:p>
        </p:txBody>
      </p:sp>
    </p:spTree>
    <p:extLst>
      <p:ext uri="{BB962C8B-B14F-4D97-AF65-F5344CB8AC3E}">
        <p14:creationId xmlns:p14="http://schemas.microsoft.com/office/powerpoint/2010/main" val="2438428306"/>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58DCFA46-ADEB-4648-9A53-7812A87392A0}" type="slidenum">
              <a:rPr lang="en-US" smtClean="0">
                <a:solidFill>
                  <a:prstClr val="black"/>
                </a:solidFill>
              </a:rPr>
              <a:pPr>
                <a:defRPr/>
              </a:pPr>
              <a:t>245</a:t>
            </a:fld>
            <a:endParaRPr lang="en-US" dirty="0">
              <a:solidFill>
                <a:prstClr val="black"/>
              </a:solidFill>
            </a:endParaRPr>
          </a:p>
        </p:txBody>
      </p:sp>
    </p:spTree>
    <p:extLst>
      <p:ext uri="{BB962C8B-B14F-4D97-AF65-F5344CB8AC3E}">
        <p14:creationId xmlns:p14="http://schemas.microsoft.com/office/powerpoint/2010/main" val="4182625469"/>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58DCFA46-ADEB-4648-9A53-7812A87392A0}" type="slidenum">
              <a:rPr lang="en-US" smtClean="0">
                <a:solidFill>
                  <a:prstClr val="black"/>
                </a:solidFill>
              </a:rPr>
              <a:pPr>
                <a:defRPr/>
              </a:pPr>
              <a:t>246</a:t>
            </a:fld>
            <a:endParaRPr lang="en-US" dirty="0">
              <a:solidFill>
                <a:prstClr val="black"/>
              </a:solidFill>
            </a:endParaRPr>
          </a:p>
        </p:txBody>
      </p:sp>
    </p:spTree>
    <p:extLst>
      <p:ext uri="{BB962C8B-B14F-4D97-AF65-F5344CB8AC3E}">
        <p14:creationId xmlns:p14="http://schemas.microsoft.com/office/powerpoint/2010/main" val="488244776"/>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95801">
              <a:spcAft>
                <a:spcPts val="326"/>
              </a:spcAft>
              <a:defRPr/>
            </a:pPr>
            <a:endParaRPr lang="en-US" dirty="0"/>
          </a:p>
        </p:txBody>
      </p:sp>
      <p:sp>
        <p:nvSpPr>
          <p:cNvPr id="4" name="Slide Number Placeholder 3"/>
          <p:cNvSpPr>
            <a:spLocks noGrp="1"/>
          </p:cNvSpPr>
          <p:nvPr>
            <p:ph type="sldNum" sz="quarter" idx="10"/>
          </p:nvPr>
        </p:nvSpPr>
        <p:spPr/>
        <p:txBody>
          <a:bodyPr/>
          <a:lstStyle/>
          <a:p>
            <a:pPr>
              <a:defRPr/>
            </a:pPr>
            <a:fld id="{58DCFA46-ADEB-4648-9A53-7812A87392A0}" type="slidenum">
              <a:rPr lang="en-US" smtClean="0">
                <a:solidFill>
                  <a:prstClr val="black"/>
                </a:solidFill>
              </a:rPr>
              <a:pPr>
                <a:defRPr/>
              </a:pPr>
              <a:t>247</a:t>
            </a:fld>
            <a:endParaRPr lang="en-US" dirty="0">
              <a:solidFill>
                <a:prstClr val="black"/>
              </a:solidFill>
            </a:endParaRPr>
          </a:p>
        </p:txBody>
      </p:sp>
    </p:spTree>
    <p:extLst>
      <p:ext uri="{BB962C8B-B14F-4D97-AF65-F5344CB8AC3E}">
        <p14:creationId xmlns:p14="http://schemas.microsoft.com/office/powerpoint/2010/main" val="3285034680"/>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D12675F0-B1E5-446A-9F86-8AEC9B13B278}" type="datetime1">
              <a:rPr lang="en-US" smtClean="0"/>
              <a:pPr/>
              <a:t>9/20/2012</a:t>
            </a:fld>
            <a:endParaRPr lang="en-US" dirty="0"/>
          </a:p>
        </p:txBody>
      </p:sp>
      <p:sp>
        <p:nvSpPr>
          <p:cNvPr id="6" name="Footer Placeholder 5"/>
          <p:cNvSpPr>
            <a:spLocks noGrp="1"/>
          </p:cNvSpPr>
          <p:nvPr>
            <p:ph type="ftr" sz="quarter" idx="12"/>
          </p:nvPr>
        </p:nvSpPr>
        <p:spPr/>
        <p:txBody>
          <a:bodyPr/>
          <a:lstStyle/>
          <a:p>
            <a:endParaRPr lang="en-US" dirty="0"/>
          </a:p>
        </p:txBody>
      </p:sp>
      <p:sp>
        <p:nvSpPr>
          <p:cNvPr id="7" name="Slide Number Placeholder 6"/>
          <p:cNvSpPr>
            <a:spLocks noGrp="1"/>
          </p:cNvSpPr>
          <p:nvPr>
            <p:ph type="sldNum" sz="quarter" idx="13"/>
          </p:nvPr>
        </p:nvSpPr>
        <p:spPr/>
        <p:txBody>
          <a:bodyPr/>
          <a:lstStyle/>
          <a:p>
            <a:fld id="{E4ED4314-266A-4E1A-A14B-80BE5EF4B635}" type="slidenum">
              <a:rPr lang="en-US" smtClean="0"/>
              <a:pPr/>
              <a:t>249</a:t>
            </a:fld>
            <a:endParaRPr lang="en-US" dirty="0"/>
          </a:p>
        </p:txBody>
      </p:sp>
    </p:spTree>
    <p:extLst>
      <p:ext uri="{BB962C8B-B14F-4D97-AF65-F5344CB8AC3E}">
        <p14:creationId xmlns:p14="http://schemas.microsoft.com/office/powerpoint/2010/main" val="4126895863"/>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D12675F0-B1E5-446A-9F86-8AEC9B13B278}" type="datetime1">
              <a:rPr lang="en-US" smtClean="0"/>
              <a:pPr/>
              <a:t>9/20/2012</a:t>
            </a:fld>
            <a:endParaRPr lang="en-US" dirty="0"/>
          </a:p>
        </p:txBody>
      </p:sp>
      <p:sp>
        <p:nvSpPr>
          <p:cNvPr id="6" name="Footer Placeholder 5"/>
          <p:cNvSpPr>
            <a:spLocks noGrp="1"/>
          </p:cNvSpPr>
          <p:nvPr>
            <p:ph type="ftr" sz="quarter" idx="12"/>
          </p:nvPr>
        </p:nvSpPr>
        <p:spPr/>
        <p:txBody>
          <a:bodyPr/>
          <a:lstStyle/>
          <a:p>
            <a:endParaRPr lang="en-US" dirty="0"/>
          </a:p>
        </p:txBody>
      </p:sp>
      <p:sp>
        <p:nvSpPr>
          <p:cNvPr id="7" name="Slide Number Placeholder 6"/>
          <p:cNvSpPr>
            <a:spLocks noGrp="1"/>
          </p:cNvSpPr>
          <p:nvPr>
            <p:ph type="sldNum" sz="quarter" idx="13"/>
          </p:nvPr>
        </p:nvSpPr>
        <p:spPr/>
        <p:txBody>
          <a:bodyPr/>
          <a:lstStyle/>
          <a:p>
            <a:fld id="{E4ED4314-266A-4E1A-A14B-80BE5EF4B635}" type="slidenum">
              <a:rPr lang="en-US" smtClean="0"/>
              <a:pPr/>
              <a:t>250</a:t>
            </a:fld>
            <a:endParaRPr lang="en-US" dirty="0"/>
          </a:p>
        </p:txBody>
      </p:sp>
    </p:spTree>
    <p:extLst>
      <p:ext uri="{BB962C8B-B14F-4D97-AF65-F5344CB8AC3E}">
        <p14:creationId xmlns:p14="http://schemas.microsoft.com/office/powerpoint/2010/main" val="4126895863"/>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72F0EF5-4770-4EDF-BDEA-504E8036E44D}" type="slidenum">
              <a:rPr lang="en-US" smtClean="0"/>
              <a:t>251</a:t>
            </a:fld>
            <a:endParaRPr lang="en-US" dirty="0"/>
          </a:p>
        </p:txBody>
      </p:sp>
    </p:spTree>
    <p:extLst>
      <p:ext uri="{BB962C8B-B14F-4D97-AF65-F5344CB8AC3E}">
        <p14:creationId xmlns:p14="http://schemas.microsoft.com/office/powerpoint/2010/main" val="970192446"/>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FDD1B44F-303A-4521-9CFC-E76339E1D91E}" type="datetime1">
              <a:rPr lang="en-US" smtClean="0">
                <a:solidFill>
                  <a:prstClr val="black"/>
                </a:solidFill>
              </a:rPr>
              <a:pPr/>
              <a:t>9/20/2012</a:t>
            </a:fld>
            <a:endParaRPr lang="en-US" dirty="0">
              <a:solidFill>
                <a:prstClr val="black"/>
              </a:solidFill>
            </a:endParaRPr>
          </a:p>
        </p:txBody>
      </p:sp>
      <p:sp>
        <p:nvSpPr>
          <p:cNvPr id="6" name="Footer Placeholder 5"/>
          <p:cNvSpPr>
            <a:spLocks noGrp="1"/>
          </p:cNvSpPr>
          <p:nvPr>
            <p:ph type="ftr" sz="quarter" idx="12"/>
          </p:nvPr>
        </p:nvSpPr>
        <p:spPr/>
        <p:txBody>
          <a:bodyPr/>
          <a:lstStyle/>
          <a:p>
            <a:endParaRPr lang="en-US" dirty="0">
              <a:solidFill>
                <a:prstClr val="black"/>
              </a:solidFill>
            </a:endParaRPr>
          </a:p>
        </p:txBody>
      </p:sp>
      <p:sp>
        <p:nvSpPr>
          <p:cNvPr id="7" name="Slide Number Placeholder 6"/>
          <p:cNvSpPr>
            <a:spLocks noGrp="1"/>
          </p:cNvSpPr>
          <p:nvPr>
            <p:ph type="sldNum" sz="quarter" idx="13"/>
          </p:nvPr>
        </p:nvSpPr>
        <p:spPr/>
        <p:txBody>
          <a:bodyPr/>
          <a:lstStyle/>
          <a:p>
            <a:fld id="{E4ED4314-266A-4E1A-A14B-80BE5EF4B635}" type="slidenum">
              <a:rPr lang="en-US" smtClean="0">
                <a:solidFill>
                  <a:prstClr val="black"/>
                </a:solidFill>
              </a:rPr>
              <a:pPr/>
              <a:t>252</a:t>
            </a:fld>
            <a:endParaRPr lang="en-US" dirty="0">
              <a:solidFill>
                <a:prstClr val="black"/>
              </a:solidFill>
            </a:endParaRPr>
          </a:p>
        </p:txBody>
      </p:sp>
    </p:spTree>
    <p:extLst>
      <p:ext uri="{BB962C8B-B14F-4D97-AF65-F5344CB8AC3E}">
        <p14:creationId xmlns:p14="http://schemas.microsoft.com/office/powerpoint/2010/main" val="341179354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dirty="0"/>
          </a:p>
        </p:txBody>
      </p:sp>
    </p:spTree>
    <p:extLst>
      <p:ext uri="{BB962C8B-B14F-4D97-AF65-F5344CB8AC3E}">
        <p14:creationId xmlns:p14="http://schemas.microsoft.com/office/powerpoint/2010/main" val="308407513"/>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56</a:t>
            </a:fld>
            <a:endParaRPr lang="en-US" dirty="0">
              <a:solidFill>
                <a:prstClr val="black"/>
              </a:solidFill>
            </a:endParaRPr>
          </a:p>
        </p:txBody>
      </p:sp>
    </p:spTree>
    <p:extLst>
      <p:ext uri="{BB962C8B-B14F-4D97-AF65-F5344CB8AC3E}">
        <p14:creationId xmlns:p14="http://schemas.microsoft.com/office/powerpoint/2010/main" val="1383217235"/>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58</a:t>
            </a:fld>
            <a:endParaRPr lang="en-US" dirty="0">
              <a:solidFill>
                <a:prstClr val="black"/>
              </a:solidFill>
            </a:endParaRPr>
          </a:p>
        </p:txBody>
      </p:sp>
    </p:spTree>
    <p:extLst>
      <p:ext uri="{BB962C8B-B14F-4D97-AF65-F5344CB8AC3E}">
        <p14:creationId xmlns:p14="http://schemas.microsoft.com/office/powerpoint/2010/main" val="2512959052"/>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59</a:t>
            </a:fld>
            <a:endParaRPr lang="en-US" dirty="0">
              <a:solidFill>
                <a:prstClr val="black"/>
              </a:solidFill>
            </a:endParaRPr>
          </a:p>
        </p:txBody>
      </p:sp>
    </p:spTree>
    <p:extLst>
      <p:ext uri="{BB962C8B-B14F-4D97-AF65-F5344CB8AC3E}">
        <p14:creationId xmlns:p14="http://schemas.microsoft.com/office/powerpoint/2010/main" val="1383217235"/>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64</a:t>
            </a:fld>
            <a:endParaRPr lang="en-US" dirty="0"/>
          </a:p>
        </p:txBody>
      </p:sp>
    </p:spTree>
    <p:extLst>
      <p:ext uri="{BB962C8B-B14F-4D97-AF65-F5344CB8AC3E}">
        <p14:creationId xmlns:p14="http://schemas.microsoft.com/office/powerpoint/2010/main" val="1256356251"/>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84431" lvl="1" indent="-171450">
              <a:buFontTx/>
              <a:buChar cha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65</a:t>
            </a:fld>
            <a:endParaRPr lang="en-US" dirty="0"/>
          </a:p>
        </p:txBody>
      </p:sp>
    </p:spTree>
    <p:extLst>
      <p:ext uri="{BB962C8B-B14F-4D97-AF65-F5344CB8AC3E}">
        <p14:creationId xmlns:p14="http://schemas.microsoft.com/office/powerpoint/2010/main" val="803443983"/>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67</a:t>
            </a:fld>
            <a:endParaRPr lang="en-US" dirty="0">
              <a:solidFill>
                <a:prstClr val="black"/>
              </a:solidFill>
            </a:endParaRPr>
          </a:p>
        </p:txBody>
      </p:sp>
    </p:spTree>
    <p:extLst>
      <p:ext uri="{BB962C8B-B14F-4D97-AF65-F5344CB8AC3E}">
        <p14:creationId xmlns:p14="http://schemas.microsoft.com/office/powerpoint/2010/main" val="1939956094"/>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68</a:t>
            </a:fld>
            <a:endParaRPr lang="en-US" dirty="0">
              <a:solidFill>
                <a:prstClr val="black"/>
              </a:solidFill>
            </a:endParaRPr>
          </a:p>
        </p:txBody>
      </p:sp>
    </p:spTree>
    <p:extLst>
      <p:ext uri="{BB962C8B-B14F-4D97-AF65-F5344CB8AC3E}">
        <p14:creationId xmlns:p14="http://schemas.microsoft.com/office/powerpoint/2010/main" val="740110606"/>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69</a:t>
            </a:fld>
            <a:endParaRPr lang="en-US" dirty="0">
              <a:solidFill>
                <a:prstClr val="black"/>
              </a:solidFill>
            </a:endParaRPr>
          </a:p>
        </p:txBody>
      </p:sp>
    </p:spTree>
    <p:extLst>
      <p:ext uri="{BB962C8B-B14F-4D97-AF65-F5344CB8AC3E}">
        <p14:creationId xmlns:p14="http://schemas.microsoft.com/office/powerpoint/2010/main" val="3538419293"/>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70</a:t>
            </a:fld>
            <a:endParaRPr lang="en-US" dirty="0">
              <a:solidFill>
                <a:prstClr val="black"/>
              </a:solidFill>
            </a:endParaRPr>
          </a:p>
        </p:txBody>
      </p:sp>
    </p:spTree>
    <p:extLst>
      <p:ext uri="{BB962C8B-B14F-4D97-AF65-F5344CB8AC3E}">
        <p14:creationId xmlns:p14="http://schemas.microsoft.com/office/powerpoint/2010/main" val="646262720"/>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71</a:t>
            </a:fld>
            <a:endParaRPr lang="en-US" dirty="0">
              <a:solidFill>
                <a:prstClr val="black"/>
              </a:solidFill>
            </a:endParaRPr>
          </a:p>
        </p:txBody>
      </p:sp>
    </p:spTree>
    <p:extLst>
      <p:ext uri="{BB962C8B-B14F-4D97-AF65-F5344CB8AC3E}">
        <p14:creationId xmlns:p14="http://schemas.microsoft.com/office/powerpoint/2010/main" val="37632059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9/20/2012 12:36 A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19</a:t>
            </a:fld>
            <a:endParaRPr lang="en-US" dirty="0"/>
          </a:p>
        </p:txBody>
      </p:sp>
    </p:spTree>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r>
              <a:rPr lang="en-US" dirty="0" err="1" smtClean="0"/>
              <a:t>TechReady</a:t>
            </a:r>
            <a:r>
              <a:rPr lang="en-US" dirty="0" smtClean="0"/>
              <a:t> 14</a:t>
            </a:r>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9/20/2012 12:37 AM</a:t>
            </a:fld>
            <a:endParaRPr lang="en-US"/>
          </a:p>
        </p:txBody>
      </p:sp>
      <p:sp>
        <p:nvSpPr>
          <p:cNvPr id="7" name="Slide Number Placeholder 6"/>
          <p:cNvSpPr>
            <a:spLocks noGrp="1"/>
          </p:cNvSpPr>
          <p:nvPr>
            <p:ph type="sldNum" sz="quarter" idx="13"/>
          </p:nvPr>
        </p:nvSpPr>
        <p:spPr/>
        <p:txBody>
          <a:bodyPr/>
          <a:lstStyle/>
          <a:p>
            <a:fld id="{EC87E0CF-87F6-4B58-B8B8-DCAB2DAAF3CA}" type="slidenum">
              <a:rPr lang="en-US" smtClean="0"/>
              <a:pPr/>
              <a:t>273</a:t>
            </a:fld>
            <a:endParaRPr lang="en-US" dirty="0"/>
          </a:p>
        </p:txBody>
      </p:sp>
      <p:sp>
        <p:nvSpPr>
          <p:cNvPr id="8" name="Footer Placeholder 3"/>
          <p:cNvSpPr>
            <a:spLocks noGrp="1"/>
          </p:cNvSpPr>
          <p:nvPr>
            <p:ph type="ftr" sz="quarter" idx="4"/>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pitchFamily="34" charset="0"/>
              </a:rPr>
              <a:t>© 2012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pitchFamily="34" charset="0"/>
              </a:rPr>
            </a:br>
            <a:r>
              <a:rPr lang="en-US" sz="500" dirty="0" smtClean="0">
                <a:solidFill>
                  <a:srgbClr val="000000"/>
                </a:solidFill>
                <a:latin typeface="Segoe" pitchFamily="34" charset="0"/>
              </a:rPr>
              <a:t>MICROSOFT MAKES NO WARRANTIES, EXPRESS, IMPLIED OR STATUTORY, AS TO THE INFORMATION IN THIS PRESENTATION.</a:t>
            </a:r>
          </a:p>
        </p:txBody>
      </p:sp>
    </p:spTree>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31AA34AB-0407-4AF2-8983-A8054D74959F}" type="slidenum">
              <a:rPr lang="en-US" smtClean="0"/>
              <a:pPr/>
              <a:t>274</a:t>
            </a:fld>
            <a:endParaRPr lang="en-US" dirty="0"/>
          </a:p>
        </p:txBody>
      </p:sp>
    </p:spTree>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p:cNvSpPr>
            <a:spLocks noGrp="1"/>
          </p:cNvSpPr>
          <p:nvPr>
            <p:ph type="ftr" sz="quarter" idx="12"/>
          </p:nvPr>
        </p:nvSpPr>
        <p:spPr>
          <a:xfrm>
            <a:off x="0" y="8685213"/>
            <a:ext cx="2971800" cy="457200"/>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3"/>
          </p:nvPr>
        </p:nvSpPr>
        <p:spPr/>
        <p:txBody>
          <a:bodyPr/>
          <a:lstStyle/>
          <a:p>
            <a:fld id="{26921066-999A-4F94-8750-23B55137A9B0}" type="slidenum">
              <a:rPr lang="en-US" smtClean="0">
                <a:solidFill>
                  <a:prstClr val="black"/>
                </a:solidFill>
              </a:rPr>
              <a:pPr/>
              <a:t>277</a:t>
            </a:fld>
            <a:endParaRPr lang="en-US">
              <a:solidFill>
                <a:prstClr val="black"/>
              </a:solidFill>
            </a:endParaRPr>
          </a:p>
        </p:txBody>
      </p:sp>
      <p:sp>
        <p:nvSpPr>
          <p:cNvPr id="12" name="Slide Image Placeholder 11"/>
          <p:cNvSpPr>
            <a:spLocks noGrp="1" noRot="1" noChangeAspect="1"/>
          </p:cNvSpPr>
          <p:nvPr>
            <p:ph type="sldImg"/>
          </p:nvPr>
        </p:nvSpPr>
        <p:spPr>
          <a:xfrm>
            <a:off x="381000" y="685800"/>
            <a:ext cx="6096000" cy="3429000"/>
          </a:xfrm>
        </p:spPr>
      </p:sp>
      <p:sp>
        <p:nvSpPr>
          <p:cNvPr id="13" name="Notes Placeholder 12"/>
          <p:cNvSpPr>
            <a:spLocks noGrp="1"/>
          </p:cNvSpPr>
          <p:nvPr>
            <p:ph type="body" idx="1"/>
          </p:nvPr>
        </p:nvSpPr>
        <p:spPr/>
        <p:txBody>
          <a:bodyPr/>
          <a:lstStyle/>
          <a:p>
            <a:endParaRPr lang="en-US" dirty="0"/>
          </a:p>
        </p:txBody>
      </p:sp>
      <p:sp>
        <p:nvSpPr>
          <p:cNvPr id="10" name="TextBox 9"/>
          <p:cNvSpPr txBox="1"/>
          <p:nvPr/>
        </p:nvSpPr>
        <p:spPr>
          <a:xfrm>
            <a:off x="4495800" y="152400"/>
            <a:ext cx="1821332" cy="253916"/>
          </a:xfrm>
          <a:prstGeom prst="rect">
            <a:avLst/>
          </a:prstGeom>
          <a:noFill/>
        </p:spPr>
        <p:txBody>
          <a:bodyPr wrap="none" rtlCol="0">
            <a:spAutoFit/>
          </a:bodyPr>
          <a:lstStyle/>
          <a:p>
            <a:pPr defTabSz="685835"/>
            <a:r>
              <a:rPr lang="en-US" sz="1050" dirty="0" smtClean="0">
                <a:solidFill>
                  <a:prstClr val="black"/>
                </a:solidFill>
              </a:rPr>
              <a:t>NDA   - Microsoft Confidential</a:t>
            </a:r>
            <a:endParaRPr lang="en-US" sz="1050" dirty="0">
              <a:solidFill>
                <a:prstClr val="black"/>
              </a:solidFill>
            </a:endParaRPr>
          </a:p>
        </p:txBody>
      </p:sp>
      <p:sp>
        <p:nvSpPr>
          <p:cNvPr id="11" name="TextBox 10"/>
          <p:cNvSpPr txBox="1"/>
          <p:nvPr/>
        </p:nvSpPr>
        <p:spPr>
          <a:xfrm>
            <a:off x="304800" y="152400"/>
            <a:ext cx="2127505" cy="253916"/>
          </a:xfrm>
          <a:prstGeom prst="rect">
            <a:avLst/>
          </a:prstGeom>
          <a:noFill/>
        </p:spPr>
        <p:txBody>
          <a:bodyPr wrap="none" rtlCol="0">
            <a:spAutoFit/>
          </a:bodyPr>
          <a:lstStyle/>
          <a:p>
            <a:pPr defTabSz="685835"/>
            <a:r>
              <a:rPr lang="en-US" sz="1050" dirty="0" smtClean="0">
                <a:solidFill>
                  <a:prstClr val="black"/>
                </a:solidFill>
              </a:rPr>
              <a:t>Microsoft Security Strategy Briefing</a:t>
            </a:r>
            <a:endParaRPr lang="en-US" sz="1050" dirty="0">
              <a:solidFill>
                <a:prstClr val="black"/>
              </a:solidFill>
            </a:endParaRPr>
          </a:p>
        </p:txBody>
      </p:sp>
    </p:spTree>
    <p:extLst>
      <p:ext uri="{BB962C8B-B14F-4D97-AF65-F5344CB8AC3E}">
        <p14:creationId xmlns:p14="http://schemas.microsoft.com/office/powerpoint/2010/main" val="4016300340"/>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78</a:t>
            </a:fld>
            <a:endParaRPr lang="en-US" dirty="0">
              <a:solidFill>
                <a:prstClr val="black"/>
              </a:solidFill>
            </a:endParaRPr>
          </a:p>
        </p:txBody>
      </p:sp>
    </p:spTree>
    <p:extLst>
      <p:ext uri="{BB962C8B-B14F-4D97-AF65-F5344CB8AC3E}">
        <p14:creationId xmlns:p14="http://schemas.microsoft.com/office/powerpoint/2010/main" val="4125289805"/>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79</a:t>
            </a:fld>
            <a:endParaRPr lang="en-US" dirty="0">
              <a:solidFill>
                <a:prstClr val="black"/>
              </a:solidFill>
            </a:endParaRPr>
          </a:p>
        </p:txBody>
      </p:sp>
    </p:spTree>
    <p:extLst>
      <p:ext uri="{BB962C8B-B14F-4D97-AF65-F5344CB8AC3E}">
        <p14:creationId xmlns:p14="http://schemas.microsoft.com/office/powerpoint/2010/main" val="3216866758"/>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fld id="{65A4CE49-C578-495A-AF9E-65EC6ABC25C7}" type="datetime1">
              <a:rPr lang="en-US" smtClean="0">
                <a:solidFill>
                  <a:prstClr val="black"/>
                </a:solidFill>
              </a:rPr>
              <a:pPr/>
              <a:t>9/20/2012</a:t>
            </a:fld>
            <a:endParaRPr lang="en-US" dirty="0">
              <a:solidFill>
                <a:prstClr val="black"/>
              </a:solidFill>
            </a:endParaRPr>
          </a:p>
        </p:txBody>
      </p:sp>
      <p:sp>
        <p:nvSpPr>
          <p:cNvPr id="5" name="Slide Number Placeholder 4"/>
          <p:cNvSpPr>
            <a:spLocks noGrp="1"/>
          </p:cNvSpPr>
          <p:nvPr>
            <p:ph type="sldNum" sz="quarter" idx="11"/>
          </p:nvPr>
        </p:nvSpPr>
        <p:spPr/>
        <p:txBody>
          <a:bodyPr/>
          <a:lstStyle/>
          <a:p>
            <a:fld id="{8B263312-38AA-4E1E-B2B5-0F8F122B24FE}" type="slidenum">
              <a:rPr lang="en-US" smtClean="0">
                <a:solidFill>
                  <a:prstClr val="black"/>
                </a:solidFill>
              </a:rPr>
              <a:pPr/>
              <a:t>280</a:t>
            </a:fld>
            <a:endParaRPr lang="en-US" dirty="0">
              <a:solidFill>
                <a:prstClr val="black"/>
              </a:solidFill>
            </a:endParaRPr>
          </a:p>
        </p:txBody>
      </p:sp>
      <p:sp>
        <p:nvSpPr>
          <p:cNvPr id="6" name="Header Placeholder 5"/>
          <p:cNvSpPr>
            <a:spLocks noGrp="1"/>
          </p:cNvSpPr>
          <p:nvPr>
            <p:ph type="hdr" sz="quarter" idx="12"/>
          </p:nvPr>
        </p:nvSpPr>
        <p:spPr/>
        <p:txBody>
          <a:bodyPr/>
          <a:lstStyle/>
          <a:p>
            <a:endParaRPr lang="en-US" dirty="0">
              <a:solidFill>
                <a:prstClr val="black"/>
              </a:solidFill>
              <a:latin typeface="Segoe UI" pitchFamily="34" charset="0"/>
            </a:endParaRPr>
          </a:p>
        </p:txBody>
      </p:sp>
      <p:sp>
        <p:nvSpPr>
          <p:cNvPr id="7" name="Footer Placeholder 6"/>
          <p:cNvSpPr>
            <a:spLocks noGrp="1"/>
          </p:cNvSpPr>
          <p:nvPr>
            <p:ph type="ftr" sz="quarter" idx="13"/>
          </p:nvPr>
        </p:nvSpPr>
        <p:spPr/>
        <p:txBody>
          <a:bodyPr/>
          <a:lstStyle/>
          <a:p>
            <a:r>
              <a:rPr lang="en-US" sz="500" smtClean="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sz="50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smtClean="0">
                <a:solidFill>
                  <a:srgbClr val="000000"/>
                </a:solidFill>
                <a:latin typeface="Segoe UI" pitchFamily="34" charset="0"/>
              </a:rPr>
            </a:br>
            <a:r>
              <a:rPr lang="en-US" sz="500" smtClean="0">
                <a:solidFill>
                  <a:srgbClr val="000000"/>
                </a:solidFill>
                <a:latin typeface="Segoe UI" pitchFamily="34" charset="0"/>
              </a:rPr>
              <a:t>MICROSOFT MAKES NO WARRANTIES, EXPRESS, IMPLIED OR STATUTORY, AS TO THE INFORMATION IN THIS PRESENTATION.</a:t>
            </a:r>
            <a:endParaRPr lang="en-US" sz="500" dirty="0">
              <a:solidFill>
                <a:srgbClr val="000000"/>
              </a:solidFill>
              <a:latin typeface="Segoe UI" pitchFamily="34" charset="0"/>
            </a:endParaRPr>
          </a:p>
        </p:txBody>
      </p:sp>
    </p:spTree>
    <p:extLst>
      <p:ext uri="{BB962C8B-B14F-4D97-AF65-F5344CB8AC3E}">
        <p14:creationId xmlns:p14="http://schemas.microsoft.com/office/powerpoint/2010/main" val="1389965157"/>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lvl="1">
              <a:lnSpc>
                <a:spcPct val="100000"/>
              </a:lnSpc>
              <a:spcBef>
                <a:spcPts val="1200"/>
              </a:spcBef>
              <a:buFont typeface="Arial" pitchFamily="34" charset="0"/>
              <a:buChar char="•"/>
            </a:pPr>
            <a:endParaRPr lang="en-US" dirty="0"/>
          </a:p>
        </p:txBody>
      </p:sp>
      <p:sp>
        <p:nvSpPr>
          <p:cNvPr id="4" name="Date Placeholder 3"/>
          <p:cNvSpPr>
            <a:spLocks noGrp="1"/>
          </p:cNvSpPr>
          <p:nvPr>
            <p:ph type="dt" idx="10"/>
          </p:nvPr>
        </p:nvSpPr>
        <p:spPr/>
        <p:txBody>
          <a:bodyPr/>
          <a:lstStyle/>
          <a:p>
            <a:fld id="{A83C558F-2E03-470C-B86D-36B8430D49EF}" type="datetime1">
              <a:rPr lang="en-US" smtClean="0">
                <a:solidFill>
                  <a:prstClr val="black"/>
                </a:solidFill>
              </a:rPr>
              <a:pPr/>
              <a:t>9/20/2012</a:t>
            </a:fld>
            <a:endParaRPr lang="en-US" dirty="0">
              <a:solidFill>
                <a:prstClr val="black"/>
              </a:solidFill>
            </a:endParaRPr>
          </a:p>
        </p:txBody>
      </p:sp>
      <p:sp>
        <p:nvSpPr>
          <p:cNvPr id="5" name="Slide Number Placeholder 4"/>
          <p:cNvSpPr>
            <a:spLocks noGrp="1"/>
          </p:cNvSpPr>
          <p:nvPr>
            <p:ph type="sldNum" sz="quarter" idx="11"/>
          </p:nvPr>
        </p:nvSpPr>
        <p:spPr/>
        <p:txBody>
          <a:bodyPr/>
          <a:lstStyle/>
          <a:p>
            <a:fld id="{8B263312-38AA-4E1E-B2B5-0F8F122B24FE}" type="slidenum">
              <a:rPr lang="en-US" smtClean="0">
                <a:solidFill>
                  <a:prstClr val="black"/>
                </a:solidFill>
              </a:rPr>
              <a:pPr/>
              <a:t>281</a:t>
            </a:fld>
            <a:endParaRPr lang="en-US" dirty="0">
              <a:solidFill>
                <a:prstClr val="black"/>
              </a:solidFill>
            </a:endParaRPr>
          </a:p>
        </p:txBody>
      </p:sp>
      <p:sp>
        <p:nvSpPr>
          <p:cNvPr id="6" name="Header Placeholder 5"/>
          <p:cNvSpPr>
            <a:spLocks noGrp="1"/>
          </p:cNvSpPr>
          <p:nvPr>
            <p:ph type="hdr" sz="quarter" idx="12"/>
          </p:nvPr>
        </p:nvSpPr>
        <p:spPr/>
        <p:txBody>
          <a:bodyPr/>
          <a:lstStyle/>
          <a:p>
            <a:endParaRPr lang="en-US" dirty="0">
              <a:solidFill>
                <a:prstClr val="black"/>
              </a:solidFill>
              <a:latin typeface="Segoe UI" pitchFamily="34" charset="0"/>
            </a:endParaRPr>
          </a:p>
        </p:txBody>
      </p:sp>
      <p:sp>
        <p:nvSpPr>
          <p:cNvPr id="7" name="Footer Placeholder 6"/>
          <p:cNvSpPr>
            <a:spLocks noGrp="1"/>
          </p:cNvSpPr>
          <p:nvPr>
            <p:ph type="ftr" sz="quarter" idx="13"/>
          </p:nvPr>
        </p:nvSpPr>
        <p:spPr/>
        <p:txBody>
          <a:bodyPr/>
          <a:lstStyle/>
          <a:p>
            <a:r>
              <a:rPr lang="en-US" sz="500" smtClean="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sz="50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smtClean="0">
                <a:solidFill>
                  <a:srgbClr val="000000"/>
                </a:solidFill>
                <a:latin typeface="Segoe UI" pitchFamily="34" charset="0"/>
              </a:rPr>
            </a:br>
            <a:r>
              <a:rPr lang="en-US" sz="500" smtClean="0">
                <a:solidFill>
                  <a:srgbClr val="000000"/>
                </a:solidFill>
                <a:latin typeface="Segoe UI" pitchFamily="34" charset="0"/>
              </a:rPr>
              <a:t>MICROSOFT MAKES NO WARRANTIES, EXPRESS, IMPLIED OR STATUTORY, AS TO THE INFORMATION IN THIS PRESENTATION.</a:t>
            </a:r>
            <a:endParaRPr lang="en-US" sz="500" dirty="0">
              <a:solidFill>
                <a:srgbClr val="000000"/>
              </a:solidFill>
              <a:latin typeface="Segoe UI" pitchFamily="34" charset="0"/>
            </a:endParaRPr>
          </a:p>
        </p:txBody>
      </p:sp>
    </p:spTree>
    <p:extLst>
      <p:ext uri="{BB962C8B-B14F-4D97-AF65-F5344CB8AC3E}">
        <p14:creationId xmlns:p14="http://schemas.microsoft.com/office/powerpoint/2010/main" val="2772355008"/>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83</a:t>
            </a:fld>
            <a:endParaRPr lang="en-US" dirty="0">
              <a:solidFill>
                <a:prstClr val="black"/>
              </a:solidFill>
            </a:endParaRPr>
          </a:p>
        </p:txBody>
      </p:sp>
    </p:spTree>
    <p:extLst>
      <p:ext uri="{BB962C8B-B14F-4D97-AF65-F5344CB8AC3E}">
        <p14:creationId xmlns:p14="http://schemas.microsoft.com/office/powerpoint/2010/main" val="2150557379"/>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p:cNvSpPr>
            <a:spLocks noGrp="1"/>
          </p:cNvSpPr>
          <p:nvPr>
            <p:ph type="ftr" sz="quarter" idx="12"/>
          </p:nvPr>
        </p:nvSpPr>
        <p:spPr>
          <a:xfrm>
            <a:off x="0" y="8685213"/>
            <a:ext cx="2971800" cy="457200"/>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3"/>
          </p:nvPr>
        </p:nvSpPr>
        <p:spPr/>
        <p:txBody>
          <a:bodyPr/>
          <a:lstStyle/>
          <a:p>
            <a:fld id="{26921066-999A-4F94-8750-23B55137A9B0}" type="slidenum">
              <a:rPr lang="en-US" smtClean="0">
                <a:solidFill>
                  <a:prstClr val="black"/>
                </a:solidFill>
              </a:rPr>
              <a:pPr/>
              <a:t>284</a:t>
            </a:fld>
            <a:endParaRPr lang="en-US">
              <a:solidFill>
                <a:prstClr val="black"/>
              </a:solidFill>
            </a:endParaRPr>
          </a:p>
        </p:txBody>
      </p:sp>
      <p:sp>
        <p:nvSpPr>
          <p:cNvPr id="12" name="Slide Image Placeholder 11"/>
          <p:cNvSpPr>
            <a:spLocks noGrp="1" noRot="1" noChangeAspect="1"/>
          </p:cNvSpPr>
          <p:nvPr>
            <p:ph type="sldImg"/>
          </p:nvPr>
        </p:nvSpPr>
        <p:spPr>
          <a:xfrm>
            <a:off x="381000" y="685800"/>
            <a:ext cx="6096000" cy="3429000"/>
          </a:xfrm>
        </p:spPr>
      </p:sp>
      <p:sp>
        <p:nvSpPr>
          <p:cNvPr id="13" name="Notes Placeholder 12"/>
          <p:cNvSpPr>
            <a:spLocks noGrp="1"/>
          </p:cNvSpPr>
          <p:nvPr>
            <p:ph type="body" idx="1"/>
          </p:nvPr>
        </p:nvSpPr>
        <p:spPr/>
        <p:txBody>
          <a:bodyPr/>
          <a:lstStyle/>
          <a:p>
            <a:endParaRPr lang="en-US" dirty="0"/>
          </a:p>
        </p:txBody>
      </p:sp>
      <p:sp>
        <p:nvSpPr>
          <p:cNvPr id="10" name="TextBox 9"/>
          <p:cNvSpPr txBox="1"/>
          <p:nvPr/>
        </p:nvSpPr>
        <p:spPr>
          <a:xfrm>
            <a:off x="4495800" y="152399"/>
            <a:ext cx="1895050" cy="261600"/>
          </a:xfrm>
          <a:prstGeom prst="rect">
            <a:avLst/>
          </a:prstGeom>
          <a:noFill/>
        </p:spPr>
        <p:txBody>
          <a:bodyPr wrap="none" lIns="91430" tIns="45715" rIns="91430" bIns="45715" rtlCol="0">
            <a:spAutoFit/>
          </a:bodyPr>
          <a:lstStyle/>
          <a:p>
            <a:pPr defTabSz="685835"/>
            <a:r>
              <a:rPr lang="en-US" sz="1100" dirty="0">
                <a:solidFill>
                  <a:prstClr val="black"/>
                </a:solidFill>
              </a:rPr>
              <a:t>NDA   - Microsoft Confidential</a:t>
            </a:r>
          </a:p>
        </p:txBody>
      </p:sp>
      <p:sp>
        <p:nvSpPr>
          <p:cNvPr id="11" name="TextBox 10"/>
          <p:cNvSpPr txBox="1"/>
          <p:nvPr/>
        </p:nvSpPr>
        <p:spPr>
          <a:xfrm>
            <a:off x="304800" y="152399"/>
            <a:ext cx="2212445" cy="261600"/>
          </a:xfrm>
          <a:prstGeom prst="rect">
            <a:avLst/>
          </a:prstGeom>
          <a:noFill/>
        </p:spPr>
        <p:txBody>
          <a:bodyPr wrap="none" lIns="91430" tIns="45715" rIns="91430" bIns="45715" rtlCol="0">
            <a:spAutoFit/>
          </a:bodyPr>
          <a:lstStyle/>
          <a:p>
            <a:pPr defTabSz="685835"/>
            <a:r>
              <a:rPr lang="en-US" sz="1100" dirty="0">
                <a:solidFill>
                  <a:prstClr val="black"/>
                </a:solidFill>
              </a:rPr>
              <a:t>Microsoft Security Strategy Briefing</a:t>
            </a:r>
          </a:p>
        </p:txBody>
      </p:sp>
    </p:spTree>
    <p:extLst>
      <p:ext uri="{BB962C8B-B14F-4D97-AF65-F5344CB8AC3E}">
        <p14:creationId xmlns:p14="http://schemas.microsoft.com/office/powerpoint/2010/main" val="2869302759"/>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a:xfrm>
            <a:off x="685180" y="4342777"/>
            <a:ext cx="5487640" cy="4115112"/>
          </a:xfrm>
          <a:prstGeom prst="rect">
            <a:avLst/>
          </a:prstGeom>
        </p:spPr>
        <p:txBody>
          <a:bodyPr>
            <a:normAutofit fontScale="47500" lnSpcReduction="20000"/>
          </a:bodyPr>
          <a:lstStyle/>
          <a:p>
            <a:endParaRPr lang="en-US" dirty="0"/>
          </a:p>
        </p:txBody>
      </p:sp>
      <p:sp>
        <p:nvSpPr>
          <p:cNvPr id="4" name="Slide Number Placeholder 3"/>
          <p:cNvSpPr>
            <a:spLocks noGrp="1"/>
          </p:cNvSpPr>
          <p:nvPr>
            <p:ph type="sldNum" sz="quarter" idx="10"/>
          </p:nvPr>
        </p:nvSpPr>
        <p:spPr/>
        <p:txBody>
          <a:bodyPr/>
          <a:lstStyle/>
          <a:p>
            <a:fld id="{8980CB99-47E3-46F4-AAEB-3919FBEFC014}" type="slidenum">
              <a:rPr lang="en-US" smtClean="0">
                <a:solidFill>
                  <a:prstClr val="black"/>
                </a:solidFill>
                <a:latin typeface="Segoe" pitchFamily="34" charset="0"/>
              </a:rPr>
              <a:pPr/>
              <a:t>285</a:t>
            </a:fld>
            <a:endParaRPr lang="en-US" dirty="0">
              <a:solidFill>
                <a:prstClr val="black"/>
              </a:solidFill>
              <a:latin typeface="Segoe"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a:t>
            </a:fld>
            <a:endParaRPr lang="en-US" dirty="0"/>
          </a:p>
        </p:txBody>
      </p:sp>
    </p:spTree>
    <p:extLst>
      <p:ext uri="{BB962C8B-B14F-4D97-AF65-F5344CB8AC3E}">
        <p14:creationId xmlns:p14="http://schemas.microsoft.com/office/powerpoint/2010/main" val="404523684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1</a:t>
            </a:fld>
            <a:endParaRPr lang="en-US" dirty="0"/>
          </a:p>
        </p:txBody>
      </p:sp>
    </p:spTree>
    <p:extLst>
      <p:ext uri="{BB962C8B-B14F-4D97-AF65-F5344CB8AC3E}">
        <p14:creationId xmlns:p14="http://schemas.microsoft.com/office/powerpoint/2010/main" val="1398906266"/>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pitchFamily="34" charset="0"/>
              <a:buChar char="•"/>
            </a:pPr>
            <a:endParaRPr lang="en-US" dirty="0"/>
          </a:p>
        </p:txBody>
      </p:sp>
      <p:sp>
        <p:nvSpPr>
          <p:cNvPr id="4" name="Slide Number Placeholder 3"/>
          <p:cNvSpPr>
            <a:spLocks noGrp="1"/>
          </p:cNvSpPr>
          <p:nvPr>
            <p:ph type="sldNum" sz="quarter" idx="10"/>
          </p:nvPr>
        </p:nvSpPr>
        <p:spPr/>
        <p:txBody>
          <a:bodyPr/>
          <a:lstStyle/>
          <a:p>
            <a:fld id="{0287B097-C514-4728-9B07-57166CD2BB33}" type="slidenum">
              <a:rPr lang="en-US" smtClean="0">
                <a:solidFill>
                  <a:prstClr val="black"/>
                </a:solidFill>
              </a:rPr>
              <a:pPr/>
              <a:t>286</a:t>
            </a:fld>
            <a:endParaRPr lang="en-US">
              <a:solidFill>
                <a:prstClr val="black"/>
              </a:solidFill>
            </a:endParaRPr>
          </a:p>
        </p:txBody>
      </p:sp>
      <p:sp>
        <p:nvSpPr>
          <p:cNvPr id="7" name="TextBox 6"/>
          <p:cNvSpPr txBox="1"/>
          <p:nvPr/>
        </p:nvSpPr>
        <p:spPr>
          <a:xfrm>
            <a:off x="4495800" y="152400"/>
            <a:ext cx="1821332" cy="253916"/>
          </a:xfrm>
          <a:prstGeom prst="rect">
            <a:avLst/>
          </a:prstGeom>
          <a:noFill/>
        </p:spPr>
        <p:txBody>
          <a:bodyPr wrap="none" rtlCol="0">
            <a:spAutoFit/>
          </a:bodyPr>
          <a:lstStyle/>
          <a:p>
            <a:pPr defTabSz="685835"/>
            <a:r>
              <a:rPr lang="en-US" sz="1050" dirty="0" smtClean="0">
                <a:solidFill>
                  <a:prstClr val="black"/>
                </a:solidFill>
              </a:rPr>
              <a:t>NDA   - Microsoft Confidential</a:t>
            </a:r>
            <a:endParaRPr lang="en-US" sz="1050" dirty="0">
              <a:solidFill>
                <a:prstClr val="black"/>
              </a:solidFill>
            </a:endParaRPr>
          </a:p>
        </p:txBody>
      </p:sp>
      <p:sp>
        <p:nvSpPr>
          <p:cNvPr id="8" name="TextBox 7"/>
          <p:cNvSpPr txBox="1"/>
          <p:nvPr/>
        </p:nvSpPr>
        <p:spPr>
          <a:xfrm>
            <a:off x="304800" y="152400"/>
            <a:ext cx="2127505" cy="253916"/>
          </a:xfrm>
          <a:prstGeom prst="rect">
            <a:avLst/>
          </a:prstGeom>
          <a:noFill/>
        </p:spPr>
        <p:txBody>
          <a:bodyPr wrap="none" rtlCol="0">
            <a:spAutoFit/>
          </a:bodyPr>
          <a:lstStyle/>
          <a:p>
            <a:pPr defTabSz="685835"/>
            <a:r>
              <a:rPr lang="en-US" sz="1050" dirty="0" smtClean="0">
                <a:solidFill>
                  <a:prstClr val="black"/>
                </a:solidFill>
              </a:rPr>
              <a:t>Microsoft Security Strategy Briefing</a:t>
            </a:r>
            <a:endParaRPr lang="en-US" sz="1050" dirty="0">
              <a:solidFill>
                <a:prstClr val="black"/>
              </a:solidFill>
            </a:endParaRPr>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4337" y="18033547"/>
            <a:ext cx="4410075" cy="1743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71300264"/>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p:cNvSpPr>
            <a:spLocks noGrp="1"/>
          </p:cNvSpPr>
          <p:nvPr>
            <p:ph type="ftr" sz="quarter" idx="12"/>
          </p:nvPr>
        </p:nvSpPr>
        <p:spPr>
          <a:xfrm>
            <a:off x="0" y="8685213"/>
            <a:ext cx="2971800" cy="457200"/>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3"/>
          </p:nvPr>
        </p:nvSpPr>
        <p:spPr/>
        <p:txBody>
          <a:bodyPr/>
          <a:lstStyle/>
          <a:p>
            <a:fld id="{26921066-999A-4F94-8750-23B55137A9B0}" type="slidenum">
              <a:rPr lang="en-US" smtClean="0">
                <a:solidFill>
                  <a:prstClr val="black"/>
                </a:solidFill>
              </a:rPr>
              <a:pPr/>
              <a:t>287</a:t>
            </a:fld>
            <a:endParaRPr lang="en-US">
              <a:solidFill>
                <a:prstClr val="black"/>
              </a:solidFill>
            </a:endParaRPr>
          </a:p>
        </p:txBody>
      </p:sp>
      <p:sp>
        <p:nvSpPr>
          <p:cNvPr id="12" name="Slide Image Placeholder 11"/>
          <p:cNvSpPr>
            <a:spLocks noGrp="1" noRot="1" noChangeAspect="1"/>
          </p:cNvSpPr>
          <p:nvPr>
            <p:ph type="sldImg"/>
          </p:nvPr>
        </p:nvSpPr>
        <p:spPr>
          <a:xfrm>
            <a:off x="381000" y="685800"/>
            <a:ext cx="6096000" cy="3429000"/>
          </a:xfrm>
        </p:spPr>
      </p:sp>
      <p:sp>
        <p:nvSpPr>
          <p:cNvPr id="13" name="Notes Placeholder 12"/>
          <p:cNvSpPr>
            <a:spLocks noGrp="1"/>
          </p:cNvSpPr>
          <p:nvPr>
            <p:ph type="body" idx="1"/>
          </p:nvPr>
        </p:nvSpPr>
        <p:spPr/>
        <p:txBody>
          <a:bodyPr/>
          <a:lstStyle/>
          <a:p>
            <a:endParaRPr lang="en-US" dirty="0"/>
          </a:p>
        </p:txBody>
      </p:sp>
      <p:sp>
        <p:nvSpPr>
          <p:cNvPr id="10" name="TextBox 9"/>
          <p:cNvSpPr txBox="1"/>
          <p:nvPr/>
        </p:nvSpPr>
        <p:spPr>
          <a:xfrm>
            <a:off x="4495800" y="152400"/>
            <a:ext cx="1821332" cy="253916"/>
          </a:xfrm>
          <a:prstGeom prst="rect">
            <a:avLst/>
          </a:prstGeom>
          <a:noFill/>
        </p:spPr>
        <p:txBody>
          <a:bodyPr wrap="none" rtlCol="0">
            <a:spAutoFit/>
          </a:bodyPr>
          <a:lstStyle/>
          <a:p>
            <a:pPr defTabSz="685835"/>
            <a:r>
              <a:rPr lang="en-US" sz="1050" dirty="0" smtClean="0">
                <a:solidFill>
                  <a:prstClr val="black"/>
                </a:solidFill>
              </a:rPr>
              <a:t>NDA   - Microsoft Confidential</a:t>
            </a:r>
            <a:endParaRPr lang="en-US" sz="1050" dirty="0">
              <a:solidFill>
                <a:prstClr val="black"/>
              </a:solidFill>
            </a:endParaRPr>
          </a:p>
        </p:txBody>
      </p:sp>
      <p:sp>
        <p:nvSpPr>
          <p:cNvPr id="11" name="TextBox 10"/>
          <p:cNvSpPr txBox="1"/>
          <p:nvPr/>
        </p:nvSpPr>
        <p:spPr>
          <a:xfrm>
            <a:off x="304800" y="152400"/>
            <a:ext cx="2127505" cy="253916"/>
          </a:xfrm>
          <a:prstGeom prst="rect">
            <a:avLst/>
          </a:prstGeom>
          <a:noFill/>
        </p:spPr>
        <p:txBody>
          <a:bodyPr wrap="none" rtlCol="0">
            <a:spAutoFit/>
          </a:bodyPr>
          <a:lstStyle/>
          <a:p>
            <a:pPr defTabSz="685835"/>
            <a:r>
              <a:rPr lang="en-US" sz="1050" dirty="0" smtClean="0">
                <a:solidFill>
                  <a:prstClr val="black"/>
                </a:solidFill>
              </a:rPr>
              <a:t>Microsoft Security Strategy Briefing</a:t>
            </a:r>
            <a:endParaRPr lang="en-US" sz="1050" dirty="0">
              <a:solidFill>
                <a:prstClr val="black"/>
              </a:solidFill>
            </a:endParaRPr>
          </a:p>
        </p:txBody>
      </p:sp>
    </p:spTree>
    <p:extLst>
      <p:ext uri="{BB962C8B-B14F-4D97-AF65-F5344CB8AC3E}">
        <p14:creationId xmlns:p14="http://schemas.microsoft.com/office/powerpoint/2010/main" val="2869302759"/>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fld id="{CFD14781-EA1C-4B2D-9A58-F27340B41F3B}" type="datetime1">
              <a:rPr lang="en-US" smtClean="0">
                <a:solidFill>
                  <a:prstClr val="black"/>
                </a:solidFill>
              </a:rPr>
              <a:pPr/>
              <a:t>9/20/2012</a:t>
            </a:fld>
            <a:endParaRPr lang="en-US" dirty="0">
              <a:solidFill>
                <a:prstClr val="black"/>
              </a:solidFill>
            </a:endParaRPr>
          </a:p>
        </p:txBody>
      </p:sp>
      <p:sp>
        <p:nvSpPr>
          <p:cNvPr id="5" name="Slide Number Placeholder 4"/>
          <p:cNvSpPr>
            <a:spLocks noGrp="1"/>
          </p:cNvSpPr>
          <p:nvPr>
            <p:ph type="sldNum" sz="quarter" idx="11"/>
          </p:nvPr>
        </p:nvSpPr>
        <p:spPr/>
        <p:txBody>
          <a:bodyPr/>
          <a:lstStyle/>
          <a:p>
            <a:fld id="{8B263312-38AA-4E1E-B2B5-0F8F122B24FE}" type="slidenum">
              <a:rPr lang="en-US" smtClean="0">
                <a:solidFill>
                  <a:prstClr val="black"/>
                </a:solidFill>
              </a:rPr>
              <a:pPr/>
              <a:t>288</a:t>
            </a:fld>
            <a:endParaRPr lang="en-US" dirty="0">
              <a:solidFill>
                <a:prstClr val="black"/>
              </a:solidFill>
            </a:endParaRPr>
          </a:p>
        </p:txBody>
      </p:sp>
      <p:sp>
        <p:nvSpPr>
          <p:cNvPr id="6" name="Header Placeholder 5"/>
          <p:cNvSpPr>
            <a:spLocks noGrp="1"/>
          </p:cNvSpPr>
          <p:nvPr>
            <p:ph type="hdr" sz="quarter" idx="12"/>
          </p:nvPr>
        </p:nvSpPr>
        <p:spPr/>
        <p:txBody>
          <a:bodyPr/>
          <a:lstStyle/>
          <a:p>
            <a:endParaRPr lang="en-US" dirty="0">
              <a:solidFill>
                <a:prstClr val="black"/>
              </a:solidFill>
              <a:latin typeface="Segoe UI" pitchFamily="34" charset="0"/>
            </a:endParaRPr>
          </a:p>
        </p:txBody>
      </p:sp>
      <p:sp>
        <p:nvSpPr>
          <p:cNvPr id="7" name="Footer Placeholder 6"/>
          <p:cNvSpPr>
            <a:spLocks noGrp="1"/>
          </p:cNvSpPr>
          <p:nvPr>
            <p:ph type="ftr" sz="quarter" idx="13"/>
          </p:nvPr>
        </p:nvSpPr>
        <p:spPr/>
        <p:txBody>
          <a:bodyPr/>
          <a:lstStyle/>
          <a:p>
            <a:r>
              <a:rPr lang="en-US" sz="500" smtClean="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sz="50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smtClean="0">
                <a:solidFill>
                  <a:srgbClr val="000000"/>
                </a:solidFill>
                <a:latin typeface="Segoe UI" pitchFamily="34" charset="0"/>
              </a:rPr>
            </a:br>
            <a:r>
              <a:rPr lang="en-US" sz="500" smtClean="0">
                <a:solidFill>
                  <a:srgbClr val="000000"/>
                </a:solidFill>
                <a:latin typeface="Segoe UI" pitchFamily="34" charset="0"/>
              </a:rPr>
              <a:t>MICROSOFT MAKES NO WARRANTIES, EXPRESS, IMPLIED OR STATUTORY, AS TO THE INFORMATION IN THIS PRESENTATION.</a:t>
            </a:r>
            <a:endParaRPr lang="en-US" sz="500" dirty="0">
              <a:solidFill>
                <a:srgbClr val="000000"/>
              </a:solidFill>
              <a:latin typeface="Segoe UI" pitchFamily="34" charset="0"/>
            </a:endParaRPr>
          </a:p>
        </p:txBody>
      </p:sp>
    </p:spTree>
    <p:extLst>
      <p:ext uri="{BB962C8B-B14F-4D97-AF65-F5344CB8AC3E}">
        <p14:creationId xmlns:p14="http://schemas.microsoft.com/office/powerpoint/2010/main" val="1985521299"/>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pitchFamily="34" charset="0"/>
              <a:buChar cha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89</a:t>
            </a:fld>
            <a:endParaRPr lang="en-US" dirty="0">
              <a:solidFill>
                <a:prstClr val="black"/>
              </a:solidFill>
            </a:endParaRPr>
          </a:p>
        </p:txBody>
      </p:sp>
    </p:spTree>
    <p:extLst>
      <p:ext uri="{BB962C8B-B14F-4D97-AF65-F5344CB8AC3E}">
        <p14:creationId xmlns:p14="http://schemas.microsoft.com/office/powerpoint/2010/main" val="785776615"/>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fld id="{E9C9311F-08E1-466D-B764-AAAB6A8F63FD}" type="datetime1">
              <a:rPr lang="en-US" smtClean="0">
                <a:solidFill>
                  <a:prstClr val="black"/>
                </a:solidFill>
              </a:rPr>
              <a:pPr/>
              <a:t>9/20/2012</a:t>
            </a:fld>
            <a:endParaRPr lang="en-US" dirty="0">
              <a:solidFill>
                <a:prstClr val="black"/>
              </a:solidFill>
            </a:endParaRPr>
          </a:p>
        </p:txBody>
      </p:sp>
      <p:sp>
        <p:nvSpPr>
          <p:cNvPr id="5" name="Slide Number Placeholder 4"/>
          <p:cNvSpPr>
            <a:spLocks noGrp="1"/>
          </p:cNvSpPr>
          <p:nvPr>
            <p:ph type="sldNum" sz="quarter" idx="11"/>
          </p:nvPr>
        </p:nvSpPr>
        <p:spPr/>
        <p:txBody>
          <a:bodyPr/>
          <a:lstStyle/>
          <a:p>
            <a:fld id="{8B263312-38AA-4E1E-B2B5-0F8F122B24FE}" type="slidenum">
              <a:rPr lang="en-US" smtClean="0">
                <a:solidFill>
                  <a:prstClr val="black"/>
                </a:solidFill>
              </a:rPr>
              <a:pPr/>
              <a:t>290</a:t>
            </a:fld>
            <a:endParaRPr lang="en-US" dirty="0">
              <a:solidFill>
                <a:prstClr val="black"/>
              </a:solidFill>
            </a:endParaRPr>
          </a:p>
        </p:txBody>
      </p:sp>
      <p:sp>
        <p:nvSpPr>
          <p:cNvPr id="6" name="Header Placeholder 5"/>
          <p:cNvSpPr>
            <a:spLocks noGrp="1"/>
          </p:cNvSpPr>
          <p:nvPr>
            <p:ph type="hdr" sz="quarter" idx="12"/>
          </p:nvPr>
        </p:nvSpPr>
        <p:spPr/>
        <p:txBody>
          <a:bodyPr/>
          <a:lstStyle/>
          <a:p>
            <a:endParaRPr lang="en-US" dirty="0">
              <a:solidFill>
                <a:prstClr val="black"/>
              </a:solidFill>
              <a:latin typeface="Segoe UI" pitchFamily="34" charset="0"/>
            </a:endParaRPr>
          </a:p>
        </p:txBody>
      </p:sp>
      <p:sp>
        <p:nvSpPr>
          <p:cNvPr id="7" name="Footer Placeholder 6"/>
          <p:cNvSpPr>
            <a:spLocks noGrp="1"/>
          </p:cNvSpPr>
          <p:nvPr>
            <p:ph type="ftr" sz="quarter" idx="13"/>
          </p:nvPr>
        </p:nvSpPr>
        <p:spPr/>
        <p:txBody>
          <a:bodyPr/>
          <a:lstStyle/>
          <a:p>
            <a:r>
              <a:rPr lang="en-US" sz="500" smtClean="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sz="50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smtClean="0">
                <a:solidFill>
                  <a:srgbClr val="000000"/>
                </a:solidFill>
                <a:latin typeface="Segoe UI" pitchFamily="34" charset="0"/>
              </a:rPr>
            </a:br>
            <a:r>
              <a:rPr lang="en-US" sz="500" smtClean="0">
                <a:solidFill>
                  <a:srgbClr val="000000"/>
                </a:solidFill>
                <a:latin typeface="Segoe UI" pitchFamily="34" charset="0"/>
              </a:rPr>
              <a:t>MICROSOFT MAKES NO WARRANTIES, EXPRESS, IMPLIED OR STATUTORY, AS TO THE INFORMATION IN THIS PRESENTATION.</a:t>
            </a:r>
            <a:endParaRPr lang="en-US" sz="500" dirty="0">
              <a:solidFill>
                <a:srgbClr val="000000"/>
              </a:solidFill>
              <a:latin typeface="Segoe UI" pitchFamily="34" charset="0"/>
            </a:endParaRPr>
          </a:p>
        </p:txBody>
      </p:sp>
    </p:spTree>
    <p:extLst>
      <p:ext uri="{BB962C8B-B14F-4D97-AF65-F5344CB8AC3E}">
        <p14:creationId xmlns:p14="http://schemas.microsoft.com/office/powerpoint/2010/main" val="1250412120"/>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charset="0"/>
              <a:buChar cha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91</a:t>
            </a:fld>
            <a:endParaRPr lang="en-US" dirty="0"/>
          </a:p>
        </p:txBody>
      </p:sp>
    </p:spTree>
    <p:extLst>
      <p:ext uri="{BB962C8B-B14F-4D97-AF65-F5344CB8AC3E}">
        <p14:creationId xmlns:p14="http://schemas.microsoft.com/office/powerpoint/2010/main" val="3166455164"/>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93</a:t>
            </a:fld>
            <a:endParaRPr lang="en-US" dirty="0"/>
          </a:p>
        </p:txBody>
      </p:sp>
    </p:spTree>
    <p:extLst>
      <p:ext uri="{BB962C8B-B14F-4D97-AF65-F5344CB8AC3E}">
        <p14:creationId xmlns:p14="http://schemas.microsoft.com/office/powerpoint/2010/main" val="665946358"/>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p:cNvSpPr>
            <a:spLocks noGrp="1" noRot="1" noChangeAspect="1" noChangeArrowheads="1" noTextEdit="1"/>
          </p:cNvSpPr>
          <p:nvPr>
            <p:ph type="sldImg"/>
          </p:nvPr>
        </p:nvSpPr>
        <p:spPr>
          <a:xfrm>
            <a:off x="381000" y="685800"/>
            <a:ext cx="6096000" cy="3429000"/>
          </a:xfrm>
          <a:ln/>
        </p:spPr>
      </p:sp>
      <p:sp>
        <p:nvSpPr>
          <p:cNvPr id="97283" name="Rectangle 3"/>
          <p:cNvSpPr>
            <a:spLocks noGrp="1" noChangeArrowheads="1"/>
          </p:cNvSpPr>
          <p:nvPr>
            <p:ph type="body" idx="1"/>
          </p:nvPr>
        </p:nvSpPr>
        <p:spPr>
          <a:noFill/>
          <a:ln/>
        </p:spPr>
        <p:txBody>
          <a:bodyPr/>
          <a:lstStyle/>
          <a:p>
            <a:endParaRPr lang="en-US" dirty="0"/>
          </a:p>
        </p:txBody>
      </p:sp>
    </p:spTree>
    <p:extLst>
      <p:ext uri="{BB962C8B-B14F-4D97-AF65-F5344CB8AC3E}">
        <p14:creationId xmlns:p14="http://schemas.microsoft.com/office/powerpoint/2010/main" val="1765159581"/>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fontScale="92500"/>
          </a:bodyPr>
          <a:lstStyle/>
          <a:p>
            <a:pPr>
              <a:buFont typeface="Arial" pitchFamily="34" charset="0"/>
              <a:buChar char="•"/>
            </a:pPr>
            <a:endParaRPr lang="en-US" dirty="0"/>
          </a:p>
        </p:txBody>
      </p:sp>
      <p:sp>
        <p:nvSpPr>
          <p:cNvPr id="4" name="Slide Number Placeholder 3"/>
          <p:cNvSpPr>
            <a:spLocks noGrp="1"/>
          </p:cNvSpPr>
          <p:nvPr>
            <p:ph type="sldNum" sz="quarter" idx="10"/>
          </p:nvPr>
        </p:nvSpPr>
        <p:spPr/>
        <p:txBody>
          <a:bodyPr/>
          <a:lstStyle/>
          <a:p>
            <a:fld id="{5F0DEBDF-2430-4840-8C96-286DCD253073}" type="slidenum">
              <a:rPr lang="en-US" smtClean="0">
                <a:solidFill>
                  <a:prstClr val="black"/>
                </a:solidFill>
              </a:rPr>
              <a:pPr/>
              <a:t>298</a:t>
            </a:fld>
            <a:endParaRPr lang="en-US" dirty="0">
              <a:solidFill>
                <a:prstClr val="black"/>
              </a:solidFill>
            </a:endParaRPr>
          </a:p>
        </p:txBody>
      </p:sp>
    </p:spTree>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7EA4ABD-046D-4B62-9F3A-DA4F74D4CE05}" type="slidenum">
              <a:rPr lang="en-US" smtClean="0"/>
              <a:pPr/>
              <a:t>299</a:t>
            </a:fld>
            <a:endParaRPr lang="en-US" dirty="0"/>
          </a:p>
        </p:txBody>
      </p:sp>
    </p:spTree>
    <p:extLst>
      <p:ext uri="{BB962C8B-B14F-4D97-AF65-F5344CB8AC3E}">
        <p14:creationId xmlns:p14="http://schemas.microsoft.com/office/powerpoint/2010/main" val="15381333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5</a:t>
            </a:fld>
            <a:endParaRPr lang="en-US" dirty="0"/>
          </a:p>
        </p:txBody>
      </p:sp>
    </p:spTree>
    <p:extLst>
      <p:ext uri="{BB962C8B-B14F-4D97-AF65-F5344CB8AC3E}">
        <p14:creationId xmlns:p14="http://schemas.microsoft.com/office/powerpoint/2010/main" val="2985932776"/>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00</a:t>
            </a:fld>
            <a:endParaRPr lang="en-US" dirty="0"/>
          </a:p>
        </p:txBody>
      </p:sp>
    </p:spTree>
    <p:extLst>
      <p:ext uri="{BB962C8B-B14F-4D97-AF65-F5344CB8AC3E}">
        <p14:creationId xmlns:p14="http://schemas.microsoft.com/office/powerpoint/2010/main" val="665946358"/>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p:cNvSpPr>
            <a:spLocks noGrp="1" noRot="1" noChangeAspect="1" noChangeArrowheads="1" noTextEdit="1"/>
          </p:cNvSpPr>
          <p:nvPr>
            <p:ph type="sldImg"/>
          </p:nvPr>
        </p:nvSpPr>
        <p:spPr>
          <a:xfrm>
            <a:off x="381000" y="685800"/>
            <a:ext cx="6096000" cy="3429000"/>
          </a:xfrm>
          <a:ln/>
        </p:spPr>
      </p:sp>
      <p:sp>
        <p:nvSpPr>
          <p:cNvPr id="97283" name="Rectangle 3"/>
          <p:cNvSpPr>
            <a:spLocks noGrp="1" noChangeArrowheads="1"/>
          </p:cNvSpPr>
          <p:nvPr>
            <p:ph type="body" idx="1"/>
          </p:nvPr>
        </p:nvSpPr>
        <p:spPr>
          <a:noFill/>
          <a:ln/>
        </p:spPr>
        <p:txBody>
          <a:bodyPr/>
          <a:lstStyle/>
          <a:p>
            <a:endParaRPr lang="en-US" dirty="0"/>
          </a:p>
        </p:txBody>
      </p:sp>
    </p:spTree>
    <p:extLst>
      <p:ext uri="{BB962C8B-B14F-4D97-AF65-F5344CB8AC3E}">
        <p14:creationId xmlns:p14="http://schemas.microsoft.com/office/powerpoint/2010/main" val="1765159581"/>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fontScale="92500"/>
          </a:bodyPr>
          <a:lstStyle/>
          <a:p>
            <a:pPr>
              <a:buFont typeface="Arial" pitchFamily="34" charset="0"/>
              <a:buChar char="•"/>
            </a:pPr>
            <a:endParaRPr lang="en-US" dirty="0"/>
          </a:p>
        </p:txBody>
      </p:sp>
      <p:sp>
        <p:nvSpPr>
          <p:cNvPr id="4" name="Slide Number Placeholder 3"/>
          <p:cNvSpPr>
            <a:spLocks noGrp="1"/>
          </p:cNvSpPr>
          <p:nvPr>
            <p:ph type="sldNum" sz="quarter" idx="10"/>
          </p:nvPr>
        </p:nvSpPr>
        <p:spPr/>
        <p:txBody>
          <a:bodyPr/>
          <a:lstStyle/>
          <a:p>
            <a:fld id="{5F0DEBDF-2430-4840-8C96-286DCD253073}" type="slidenum">
              <a:rPr lang="en-US" smtClean="0">
                <a:solidFill>
                  <a:prstClr val="black"/>
                </a:solidFill>
              </a:rPr>
              <a:pPr/>
              <a:t>305</a:t>
            </a:fld>
            <a:endParaRPr lang="en-US" dirty="0">
              <a:solidFill>
                <a:prstClr val="black"/>
              </a:solidFill>
            </a:endParaRPr>
          </a:p>
        </p:txBody>
      </p:sp>
    </p:spTree>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7EA4ABD-046D-4B62-9F3A-DA4F74D4CE05}" type="slidenum">
              <a:rPr lang="en-US" smtClean="0"/>
              <a:pPr/>
              <a:t>306</a:t>
            </a:fld>
            <a:endParaRPr lang="en-US" dirty="0"/>
          </a:p>
        </p:txBody>
      </p:sp>
    </p:spTree>
    <p:extLst>
      <p:ext uri="{BB962C8B-B14F-4D97-AF65-F5344CB8AC3E}">
        <p14:creationId xmlns:p14="http://schemas.microsoft.com/office/powerpoint/2010/main" val="1538133380"/>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76A0B823-0CED-4185-8601-DE81D651172B}" type="slidenum">
              <a:rPr lang="en-GB" smtClean="0"/>
              <a:pPr>
                <a:defRPr/>
              </a:pPr>
              <a:t>307</a:t>
            </a:fld>
            <a:endParaRPr lang="en-US" dirty="0"/>
          </a:p>
        </p:txBody>
      </p:sp>
    </p:spTree>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08</a:t>
            </a:fld>
            <a:endParaRPr lang="en-US" dirty="0"/>
          </a:p>
        </p:txBody>
      </p:sp>
    </p:spTree>
    <p:extLst>
      <p:ext uri="{BB962C8B-B14F-4D97-AF65-F5344CB8AC3E}">
        <p14:creationId xmlns:p14="http://schemas.microsoft.com/office/powerpoint/2010/main" val="1479858267"/>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09</a:t>
            </a:fld>
            <a:endParaRPr lang="en-US" dirty="0"/>
          </a:p>
        </p:txBody>
      </p:sp>
    </p:spTree>
    <p:extLst>
      <p:ext uri="{BB962C8B-B14F-4D97-AF65-F5344CB8AC3E}">
        <p14:creationId xmlns:p14="http://schemas.microsoft.com/office/powerpoint/2010/main" val="1908411800"/>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55000" lnSpcReduction="20000"/>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10</a:t>
            </a:fld>
            <a:endParaRPr lang="en-US" dirty="0"/>
          </a:p>
        </p:txBody>
      </p:sp>
    </p:spTree>
    <p:extLst>
      <p:ext uri="{BB962C8B-B14F-4D97-AF65-F5344CB8AC3E}">
        <p14:creationId xmlns:p14="http://schemas.microsoft.com/office/powerpoint/2010/main" val="3164951122"/>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pPr>
              <a:defRPr/>
            </a:pPr>
            <a:r>
              <a:rPr lang="en-US" smtClean="0"/>
              <a:t>TechReady7 Breakout Chalktalk Template</a:t>
            </a:r>
            <a:endParaRPr lang="en-US"/>
          </a:p>
        </p:txBody>
      </p:sp>
      <p:sp>
        <p:nvSpPr>
          <p:cNvPr id="5" name="Date Placeholder 4"/>
          <p:cNvSpPr>
            <a:spLocks noGrp="1"/>
          </p:cNvSpPr>
          <p:nvPr>
            <p:ph type="dt" idx="11"/>
          </p:nvPr>
        </p:nvSpPr>
        <p:spPr/>
        <p:txBody>
          <a:bodyPr/>
          <a:lstStyle/>
          <a:p>
            <a:pPr>
              <a:defRPr/>
            </a:pPr>
            <a:fld id="{F3EB46D6-F704-4176-BB57-EA59B3C01B3F}" type="datetime1">
              <a:rPr lang="en-US" smtClean="0"/>
              <a:pPr>
                <a:defRPr/>
              </a:pPr>
              <a:t>9/20/2012</a:t>
            </a:fld>
            <a:endParaRPr lang="en-US"/>
          </a:p>
        </p:txBody>
      </p:sp>
      <p:sp>
        <p:nvSpPr>
          <p:cNvPr id="6" name="Footer Placeholder 5"/>
          <p:cNvSpPr>
            <a:spLocks noGrp="1"/>
          </p:cNvSpPr>
          <p:nvPr>
            <p:ph type="ftr" sz="quarter" idx="12"/>
          </p:nvPr>
        </p:nvSpPr>
        <p:spPr/>
        <p:txBody>
          <a:bodyPr/>
          <a:lstStyle/>
          <a:p>
            <a:pPr>
              <a:defRPr/>
            </a:pPr>
            <a:r>
              <a:rPr lang="en-US" dirty="0" smtClean="0">
                <a:latin typeface="Segoe UI"/>
              </a:rPr>
              <a:t>© 2008 Microsoft Corporation. All rights reserved. Microsoft, Windows, Windows Vista and other product names are or may be registered trademarks and/or trademarks in the U.S. and/or other countries.</a:t>
            </a:r>
          </a:p>
          <a:p>
            <a:pPr>
              <a:defRPr/>
            </a:pPr>
            <a:r>
              <a:rPr lang="en-US" dirty="0" smtClean="0">
                <a:latin typeface="Segoe UI"/>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latin typeface="Segoe UI"/>
              </a:rPr>
            </a:br>
            <a:r>
              <a:rPr lang="en-US" dirty="0" smtClean="0">
                <a:latin typeface="Segoe UI"/>
              </a:rPr>
              <a:t>MICROSOFT MAKES NO WARRANTIES, EXPRESS, IMPLIED OR STATUTORY, AS TO THE INFORMATION IN THIS PRESENTATION.</a:t>
            </a:r>
            <a:endParaRPr lang="en-US" dirty="0">
              <a:latin typeface="Segoe UI"/>
            </a:endParaRPr>
          </a:p>
        </p:txBody>
      </p:sp>
      <p:sp>
        <p:nvSpPr>
          <p:cNvPr id="7" name="Slide Number Placeholder 6"/>
          <p:cNvSpPr>
            <a:spLocks noGrp="1"/>
          </p:cNvSpPr>
          <p:nvPr>
            <p:ph type="sldNum" sz="quarter" idx="13"/>
          </p:nvPr>
        </p:nvSpPr>
        <p:spPr/>
        <p:txBody>
          <a:bodyPr/>
          <a:lstStyle/>
          <a:p>
            <a:pPr>
              <a:defRPr/>
            </a:pPr>
            <a:fld id="{0B428B36-6815-4683-8EF4-AD499A39A4B0}" type="slidenum">
              <a:rPr lang="en-US" smtClean="0"/>
              <a:pPr>
                <a:defRPr/>
              </a:pPr>
              <a:t>311</a:t>
            </a:fld>
            <a:endParaRPr lang="en-US" dirty="0"/>
          </a:p>
        </p:txBody>
      </p:sp>
    </p:spTree>
    <p:extLst>
      <p:ext uri="{BB962C8B-B14F-4D97-AF65-F5344CB8AC3E}">
        <p14:creationId xmlns:p14="http://schemas.microsoft.com/office/powerpoint/2010/main" val="3178506908"/>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30766" indent="-281064" eaLnBrk="0" hangingPunct="0">
              <a:defRPr>
                <a:solidFill>
                  <a:schemeClr val="tx1"/>
                </a:solidFill>
                <a:latin typeface="Arial" pitchFamily="34" charset="0"/>
                <a:cs typeface="Arial" pitchFamily="34" charset="0"/>
              </a:defRPr>
            </a:lvl2pPr>
            <a:lvl3pPr marL="1124255" indent="-224851" eaLnBrk="0" hangingPunct="0">
              <a:defRPr>
                <a:solidFill>
                  <a:schemeClr val="tx1"/>
                </a:solidFill>
                <a:latin typeface="Arial" pitchFamily="34" charset="0"/>
                <a:cs typeface="Arial" pitchFamily="34" charset="0"/>
              </a:defRPr>
            </a:lvl3pPr>
            <a:lvl4pPr marL="1573957" indent="-224851" eaLnBrk="0" hangingPunct="0">
              <a:defRPr>
                <a:solidFill>
                  <a:schemeClr val="tx1"/>
                </a:solidFill>
                <a:latin typeface="Arial" pitchFamily="34" charset="0"/>
                <a:cs typeface="Arial" pitchFamily="34" charset="0"/>
              </a:defRPr>
            </a:lvl4pPr>
            <a:lvl5pPr marL="2023659" indent="-224851" eaLnBrk="0" hangingPunct="0">
              <a:defRPr>
                <a:solidFill>
                  <a:schemeClr val="tx1"/>
                </a:solidFill>
                <a:latin typeface="Arial" pitchFamily="34" charset="0"/>
                <a:cs typeface="Arial" pitchFamily="34" charset="0"/>
              </a:defRPr>
            </a:lvl5pPr>
            <a:lvl6pPr marL="2473361" indent="-224851" eaLnBrk="0" fontAlgn="base" hangingPunct="0">
              <a:spcBef>
                <a:spcPct val="0"/>
              </a:spcBef>
              <a:spcAft>
                <a:spcPct val="0"/>
              </a:spcAft>
              <a:defRPr>
                <a:solidFill>
                  <a:schemeClr val="tx1"/>
                </a:solidFill>
                <a:latin typeface="Arial" pitchFamily="34" charset="0"/>
                <a:cs typeface="Arial" pitchFamily="34" charset="0"/>
              </a:defRPr>
            </a:lvl6pPr>
            <a:lvl7pPr marL="2923062" indent="-224851" eaLnBrk="0" fontAlgn="base" hangingPunct="0">
              <a:spcBef>
                <a:spcPct val="0"/>
              </a:spcBef>
              <a:spcAft>
                <a:spcPct val="0"/>
              </a:spcAft>
              <a:defRPr>
                <a:solidFill>
                  <a:schemeClr val="tx1"/>
                </a:solidFill>
                <a:latin typeface="Arial" pitchFamily="34" charset="0"/>
                <a:cs typeface="Arial" pitchFamily="34" charset="0"/>
              </a:defRPr>
            </a:lvl7pPr>
            <a:lvl8pPr marL="3372764" indent="-224851" eaLnBrk="0" fontAlgn="base" hangingPunct="0">
              <a:spcBef>
                <a:spcPct val="0"/>
              </a:spcBef>
              <a:spcAft>
                <a:spcPct val="0"/>
              </a:spcAft>
              <a:defRPr>
                <a:solidFill>
                  <a:schemeClr val="tx1"/>
                </a:solidFill>
                <a:latin typeface="Arial" pitchFamily="34" charset="0"/>
                <a:cs typeface="Arial" pitchFamily="34" charset="0"/>
              </a:defRPr>
            </a:lvl8pPr>
            <a:lvl9pPr marL="3822466" indent="-224851"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fld id="{540FBF9E-C360-4D8C-8C22-C3E6FE61EF43}" type="slidenum">
              <a:rPr lang="en-AU">
                <a:latin typeface="Calibri" pitchFamily="34" charset="0"/>
              </a:rPr>
              <a:pPr eaLnBrk="1" hangingPunct="1"/>
              <a:t>312</a:t>
            </a:fld>
            <a:endParaRPr lang="en-AU">
              <a:latin typeface="Calibri" pitchFamily="34" charset="0"/>
            </a:endParaRPr>
          </a:p>
        </p:txBody>
      </p:sp>
      <p:sp>
        <p:nvSpPr>
          <p:cNvPr id="74755"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4756"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smtClean="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6</a:t>
            </a:fld>
            <a:endParaRPr lang="en-US" dirty="0"/>
          </a:p>
        </p:txBody>
      </p:sp>
    </p:spTree>
    <p:extLst>
      <p:ext uri="{BB962C8B-B14F-4D97-AF65-F5344CB8AC3E}">
        <p14:creationId xmlns:p14="http://schemas.microsoft.com/office/powerpoint/2010/main" val="2985932776"/>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30766" indent="-281064" eaLnBrk="0" hangingPunct="0">
              <a:defRPr>
                <a:solidFill>
                  <a:schemeClr val="tx1"/>
                </a:solidFill>
                <a:latin typeface="Arial" pitchFamily="34" charset="0"/>
                <a:cs typeface="Arial" pitchFamily="34" charset="0"/>
              </a:defRPr>
            </a:lvl2pPr>
            <a:lvl3pPr marL="1124255" indent="-224851" eaLnBrk="0" hangingPunct="0">
              <a:defRPr>
                <a:solidFill>
                  <a:schemeClr val="tx1"/>
                </a:solidFill>
                <a:latin typeface="Arial" pitchFamily="34" charset="0"/>
                <a:cs typeface="Arial" pitchFamily="34" charset="0"/>
              </a:defRPr>
            </a:lvl3pPr>
            <a:lvl4pPr marL="1573957" indent="-224851" eaLnBrk="0" hangingPunct="0">
              <a:defRPr>
                <a:solidFill>
                  <a:schemeClr val="tx1"/>
                </a:solidFill>
                <a:latin typeface="Arial" pitchFamily="34" charset="0"/>
                <a:cs typeface="Arial" pitchFamily="34" charset="0"/>
              </a:defRPr>
            </a:lvl4pPr>
            <a:lvl5pPr marL="2023659" indent="-224851" eaLnBrk="0" hangingPunct="0">
              <a:defRPr>
                <a:solidFill>
                  <a:schemeClr val="tx1"/>
                </a:solidFill>
                <a:latin typeface="Arial" pitchFamily="34" charset="0"/>
                <a:cs typeface="Arial" pitchFamily="34" charset="0"/>
              </a:defRPr>
            </a:lvl5pPr>
            <a:lvl6pPr marL="2473361" indent="-224851" eaLnBrk="0" fontAlgn="base" hangingPunct="0">
              <a:spcBef>
                <a:spcPct val="0"/>
              </a:spcBef>
              <a:spcAft>
                <a:spcPct val="0"/>
              </a:spcAft>
              <a:defRPr>
                <a:solidFill>
                  <a:schemeClr val="tx1"/>
                </a:solidFill>
                <a:latin typeface="Arial" pitchFamily="34" charset="0"/>
                <a:cs typeface="Arial" pitchFamily="34" charset="0"/>
              </a:defRPr>
            </a:lvl6pPr>
            <a:lvl7pPr marL="2923062" indent="-224851" eaLnBrk="0" fontAlgn="base" hangingPunct="0">
              <a:spcBef>
                <a:spcPct val="0"/>
              </a:spcBef>
              <a:spcAft>
                <a:spcPct val="0"/>
              </a:spcAft>
              <a:defRPr>
                <a:solidFill>
                  <a:schemeClr val="tx1"/>
                </a:solidFill>
                <a:latin typeface="Arial" pitchFamily="34" charset="0"/>
                <a:cs typeface="Arial" pitchFamily="34" charset="0"/>
              </a:defRPr>
            </a:lvl7pPr>
            <a:lvl8pPr marL="3372764" indent="-224851" eaLnBrk="0" fontAlgn="base" hangingPunct="0">
              <a:spcBef>
                <a:spcPct val="0"/>
              </a:spcBef>
              <a:spcAft>
                <a:spcPct val="0"/>
              </a:spcAft>
              <a:defRPr>
                <a:solidFill>
                  <a:schemeClr val="tx1"/>
                </a:solidFill>
                <a:latin typeface="Arial" pitchFamily="34" charset="0"/>
                <a:cs typeface="Arial" pitchFamily="34" charset="0"/>
              </a:defRPr>
            </a:lvl8pPr>
            <a:lvl9pPr marL="3822466" indent="-224851"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fld id="{540FBF9E-C360-4D8C-8C22-C3E6FE61EF43}" type="slidenum">
              <a:rPr lang="en-AU">
                <a:latin typeface="Calibri" pitchFamily="34" charset="0"/>
              </a:rPr>
              <a:pPr eaLnBrk="1" hangingPunct="1"/>
              <a:t>313</a:t>
            </a:fld>
            <a:endParaRPr lang="en-AU">
              <a:latin typeface="Calibri" pitchFamily="34" charset="0"/>
            </a:endParaRPr>
          </a:p>
        </p:txBody>
      </p:sp>
      <p:sp>
        <p:nvSpPr>
          <p:cNvPr id="74755"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4756"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smtClean="0"/>
          </a:p>
        </p:txBody>
      </p:sp>
    </p:spTree>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30766" indent="-281064" eaLnBrk="0" hangingPunct="0">
              <a:defRPr>
                <a:solidFill>
                  <a:schemeClr val="tx1"/>
                </a:solidFill>
                <a:latin typeface="Arial" pitchFamily="34" charset="0"/>
                <a:cs typeface="Arial" pitchFamily="34" charset="0"/>
              </a:defRPr>
            </a:lvl2pPr>
            <a:lvl3pPr marL="1124255" indent="-224851" eaLnBrk="0" hangingPunct="0">
              <a:defRPr>
                <a:solidFill>
                  <a:schemeClr val="tx1"/>
                </a:solidFill>
                <a:latin typeface="Arial" pitchFamily="34" charset="0"/>
                <a:cs typeface="Arial" pitchFamily="34" charset="0"/>
              </a:defRPr>
            </a:lvl3pPr>
            <a:lvl4pPr marL="1573957" indent="-224851" eaLnBrk="0" hangingPunct="0">
              <a:defRPr>
                <a:solidFill>
                  <a:schemeClr val="tx1"/>
                </a:solidFill>
                <a:latin typeface="Arial" pitchFamily="34" charset="0"/>
                <a:cs typeface="Arial" pitchFamily="34" charset="0"/>
              </a:defRPr>
            </a:lvl4pPr>
            <a:lvl5pPr marL="2023659" indent="-224851" eaLnBrk="0" hangingPunct="0">
              <a:defRPr>
                <a:solidFill>
                  <a:schemeClr val="tx1"/>
                </a:solidFill>
                <a:latin typeface="Arial" pitchFamily="34" charset="0"/>
                <a:cs typeface="Arial" pitchFamily="34" charset="0"/>
              </a:defRPr>
            </a:lvl5pPr>
            <a:lvl6pPr marL="2473361" indent="-224851" eaLnBrk="0" fontAlgn="base" hangingPunct="0">
              <a:spcBef>
                <a:spcPct val="0"/>
              </a:spcBef>
              <a:spcAft>
                <a:spcPct val="0"/>
              </a:spcAft>
              <a:defRPr>
                <a:solidFill>
                  <a:schemeClr val="tx1"/>
                </a:solidFill>
                <a:latin typeface="Arial" pitchFamily="34" charset="0"/>
                <a:cs typeface="Arial" pitchFamily="34" charset="0"/>
              </a:defRPr>
            </a:lvl6pPr>
            <a:lvl7pPr marL="2923062" indent="-224851" eaLnBrk="0" fontAlgn="base" hangingPunct="0">
              <a:spcBef>
                <a:spcPct val="0"/>
              </a:spcBef>
              <a:spcAft>
                <a:spcPct val="0"/>
              </a:spcAft>
              <a:defRPr>
                <a:solidFill>
                  <a:schemeClr val="tx1"/>
                </a:solidFill>
                <a:latin typeface="Arial" pitchFamily="34" charset="0"/>
                <a:cs typeface="Arial" pitchFamily="34" charset="0"/>
              </a:defRPr>
            </a:lvl7pPr>
            <a:lvl8pPr marL="3372764" indent="-224851" eaLnBrk="0" fontAlgn="base" hangingPunct="0">
              <a:spcBef>
                <a:spcPct val="0"/>
              </a:spcBef>
              <a:spcAft>
                <a:spcPct val="0"/>
              </a:spcAft>
              <a:defRPr>
                <a:solidFill>
                  <a:schemeClr val="tx1"/>
                </a:solidFill>
                <a:latin typeface="Arial" pitchFamily="34" charset="0"/>
                <a:cs typeface="Arial" pitchFamily="34" charset="0"/>
              </a:defRPr>
            </a:lvl8pPr>
            <a:lvl9pPr marL="3822466" indent="-224851"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fld id="{540FBF9E-C360-4D8C-8C22-C3E6FE61EF43}" type="slidenum">
              <a:rPr lang="en-AU">
                <a:latin typeface="Calibri" pitchFamily="34" charset="0"/>
              </a:rPr>
              <a:pPr eaLnBrk="1" hangingPunct="1"/>
              <a:t>314</a:t>
            </a:fld>
            <a:endParaRPr lang="en-AU">
              <a:latin typeface="Calibri" pitchFamily="34" charset="0"/>
            </a:endParaRPr>
          </a:p>
        </p:txBody>
      </p:sp>
      <p:sp>
        <p:nvSpPr>
          <p:cNvPr id="74755"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4756"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smtClean="0"/>
          </a:p>
        </p:txBody>
      </p:sp>
    </p:spTree>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30766" indent="-281064" eaLnBrk="0" hangingPunct="0">
              <a:defRPr>
                <a:solidFill>
                  <a:schemeClr val="tx1"/>
                </a:solidFill>
                <a:latin typeface="Arial" pitchFamily="34" charset="0"/>
                <a:cs typeface="Arial" pitchFamily="34" charset="0"/>
              </a:defRPr>
            </a:lvl2pPr>
            <a:lvl3pPr marL="1124255" indent="-224851" eaLnBrk="0" hangingPunct="0">
              <a:defRPr>
                <a:solidFill>
                  <a:schemeClr val="tx1"/>
                </a:solidFill>
                <a:latin typeface="Arial" pitchFamily="34" charset="0"/>
                <a:cs typeface="Arial" pitchFamily="34" charset="0"/>
              </a:defRPr>
            </a:lvl3pPr>
            <a:lvl4pPr marL="1573957" indent="-224851" eaLnBrk="0" hangingPunct="0">
              <a:defRPr>
                <a:solidFill>
                  <a:schemeClr val="tx1"/>
                </a:solidFill>
                <a:latin typeface="Arial" pitchFamily="34" charset="0"/>
                <a:cs typeface="Arial" pitchFamily="34" charset="0"/>
              </a:defRPr>
            </a:lvl4pPr>
            <a:lvl5pPr marL="2023659" indent="-224851" eaLnBrk="0" hangingPunct="0">
              <a:defRPr>
                <a:solidFill>
                  <a:schemeClr val="tx1"/>
                </a:solidFill>
                <a:latin typeface="Arial" pitchFamily="34" charset="0"/>
                <a:cs typeface="Arial" pitchFamily="34" charset="0"/>
              </a:defRPr>
            </a:lvl5pPr>
            <a:lvl6pPr marL="2473361" indent="-224851" eaLnBrk="0" fontAlgn="base" hangingPunct="0">
              <a:spcBef>
                <a:spcPct val="0"/>
              </a:spcBef>
              <a:spcAft>
                <a:spcPct val="0"/>
              </a:spcAft>
              <a:defRPr>
                <a:solidFill>
                  <a:schemeClr val="tx1"/>
                </a:solidFill>
                <a:latin typeface="Arial" pitchFamily="34" charset="0"/>
                <a:cs typeface="Arial" pitchFamily="34" charset="0"/>
              </a:defRPr>
            </a:lvl6pPr>
            <a:lvl7pPr marL="2923062" indent="-224851" eaLnBrk="0" fontAlgn="base" hangingPunct="0">
              <a:spcBef>
                <a:spcPct val="0"/>
              </a:spcBef>
              <a:spcAft>
                <a:spcPct val="0"/>
              </a:spcAft>
              <a:defRPr>
                <a:solidFill>
                  <a:schemeClr val="tx1"/>
                </a:solidFill>
                <a:latin typeface="Arial" pitchFamily="34" charset="0"/>
                <a:cs typeface="Arial" pitchFamily="34" charset="0"/>
              </a:defRPr>
            </a:lvl7pPr>
            <a:lvl8pPr marL="3372764" indent="-224851" eaLnBrk="0" fontAlgn="base" hangingPunct="0">
              <a:spcBef>
                <a:spcPct val="0"/>
              </a:spcBef>
              <a:spcAft>
                <a:spcPct val="0"/>
              </a:spcAft>
              <a:defRPr>
                <a:solidFill>
                  <a:schemeClr val="tx1"/>
                </a:solidFill>
                <a:latin typeface="Arial" pitchFamily="34" charset="0"/>
                <a:cs typeface="Arial" pitchFamily="34" charset="0"/>
              </a:defRPr>
            </a:lvl8pPr>
            <a:lvl9pPr marL="3822466" indent="-224851"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fld id="{540FBF9E-C360-4D8C-8C22-C3E6FE61EF43}" type="slidenum">
              <a:rPr lang="en-AU">
                <a:latin typeface="Calibri" pitchFamily="34" charset="0"/>
              </a:rPr>
              <a:pPr eaLnBrk="1" hangingPunct="1"/>
              <a:t>315</a:t>
            </a:fld>
            <a:endParaRPr lang="en-AU">
              <a:latin typeface="Calibri" pitchFamily="34" charset="0"/>
            </a:endParaRPr>
          </a:p>
        </p:txBody>
      </p:sp>
      <p:sp>
        <p:nvSpPr>
          <p:cNvPr id="74755"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4756"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smtClean="0"/>
          </a:p>
        </p:txBody>
      </p:sp>
    </p:spTree>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30766" indent="-281064" eaLnBrk="0" hangingPunct="0">
              <a:defRPr>
                <a:solidFill>
                  <a:schemeClr val="tx1"/>
                </a:solidFill>
                <a:latin typeface="Arial" pitchFamily="34" charset="0"/>
                <a:cs typeface="Arial" pitchFamily="34" charset="0"/>
              </a:defRPr>
            </a:lvl2pPr>
            <a:lvl3pPr marL="1124255" indent="-224851" eaLnBrk="0" hangingPunct="0">
              <a:defRPr>
                <a:solidFill>
                  <a:schemeClr val="tx1"/>
                </a:solidFill>
                <a:latin typeface="Arial" pitchFamily="34" charset="0"/>
                <a:cs typeface="Arial" pitchFamily="34" charset="0"/>
              </a:defRPr>
            </a:lvl3pPr>
            <a:lvl4pPr marL="1573957" indent="-224851" eaLnBrk="0" hangingPunct="0">
              <a:defRPr>
                <a:solidFill>
                  <a:schemeClr val="tx1"/>
                </a:solidFill>
                <a:latin typeface="Arial" pitchFamily="34" charset="0"/>
                <a:cs typeface="Arial" pitchFamily="34" charset="0"/>
              </a:defRPr>
            </a:lvl4pPr>
            <a:lvl5pPr marL="2023659" indent="-224851" eaLnBrk="0" hangingPunct="0">
              <a:defRPr>
                <a:solidFill>
                  <a:schemeClr val="tx1"/>
                </a:solidFill>
                <a:latin typeface="Arial" pitchFamily="34" charset="0"/>
                <a:cs typeface="Arial" pitchFamily="34" charset="0"/>
              </a:defRPr>
            </a:lvl5pPr>
            <a:lvl6pPr marL="2473361" indent="-224851" eaLnBrk="0" fontAlgn="base" hangingPunct="0">
              <a:spcBef>
                <a:spcPct val="0"/>
              </a:spcBef>
              <a:spcAft>
                <a:spcPct val="0"/>
              </a:spcAft>
              <a:defRPr>
                <a:solidFill>
                  <a:schemeClr val="tx1"/>
                </a:solidFill>
                <a:latin typeface="Arial" pitchFamily="34" charset="0"/>
                <a:cs typeface="Arial" pitchFamily="34" charset="0"/>
              </a:defRPr>
            </a:lvl6pPr>
            <a:lvl7pPr marL="2923062" indent="-224851" eaLnBrk="0" fontAlgn="base" hangingPunct="0">
              <a:spcBef>
                <a:spcPct val="0"/>
              </a:spcBef>
              <a:spcAft>
                <a:spcPct val="0"/>
              </a:spcAft>
              <a:defRPr>
                <a:solidFill>
                  <a:schemeClr val="tx1"/>
                </a:solidFill>
                <a:latin typeface="Arial" pitchFamily="34" charset="0"/>
                <a:cs typeface="Arial" pitchFamily="34" charset="0"/>
              </a:defRPr>
            </a:lvl7pPr>
            <a:lvl8pPr marL="3372764" indent="-224851" eaLnBrk="0" fontAlgn="base" hangingPunct="0">
              <a:spcBef>
                <a:spcPct val="0"/>
              </a:spcBef>
              <a:spcAft>
                <a:spcPct val="0"/>
              </a:spcAft>
              <a:defRPr>
                <a:solidFill>
                  <a:schemeClr val="tx1"/>
                </a:solidFill>
                <a:latin typeface="Arial" pitchFamily="34" charset="0"/>
                <a:cs typeface="Arial" pitchFamily="34" charset="0"/>
              </a:defRPr>
            </a:lvl8pPr>
            <a:lvl9pPr marL="3822466" indent="-224851"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fld id="{540FBF9E-C360-4D8C-8C22-C3E6FE61EF43}" type="slidenum">
              <a:rPr lang="en-AU">
                <a:latin typeface="Calibri" pitchFamily="34" charset="0"/>
              </a:rPr>
              <a:pPr eaLnBrk="1" hangingPunct="1"/>
              <a:t>316</a:t>
            </a:fld>
            <a:endParaRPr lang="en-AU">
              <a:latin typeface="Calibri" pitchFamily="34" charset="0"/>
            </a:endParaRPr>
          </a:p>
        </p:txBody>
      </p:sp>
      <p:sp>
        <p:nvSpPr>
          <p:cNvPr id="74755"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4756"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smtClean="0"/>
          </a:p>
        </p:txBody>
      </p:sp>
    </p:spTree>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30766" indent="-281064" eaLnBrk="0" hangingPunct="0">
              <a:defRPr>
                <a:solidFill>
                  <a:schemeClr val="tx1"/>
                </a:solidFill>
                <a:latin typeface="Arial" pitchFamily="34" charset="0"/>
                <a:cs typeface="Arial" pitchFamily="34" charset="0"/>
              </a:defRPr>
            </a:lvl2pPr>
            <a:lvl3pPr marL="1124255" indent="-224851" eaLnBrk="0" hangingPunct="0">
              <a:defRPr>
                <a:solidFill>
                  <a:schemeClr val="tx1"/>
                </a:solidFill>
                <a:latin typeface="Arial" pitchFamily="34" charset="0"/>
                <a:cs typeface="Arial" pitchFamily="34" charset="0"/>
              </a:defRPr>
            </a:lvl3pPr>
            <a:lvl4pPr marL="1573957" indent="-224851" eaLnBrk="0" hangingPunct="0">
              <a:defRPr>
                <a:solidFill>
                  <a:schemeClr val="tx1"/>
                </a:solidFill>
                <a:latin typeface="Arial" pitchFamily="34" charset="0"/>
                <a:cs typeface="Arial" pitchFamily="34" charset="0"/>
              </a:defRPr>
            </a:lvl4pPr>
            <a:lvl5pPr marL="2023659" indent="-224851" eaLnBrk="0" hangingPunct="0">
              <a:defRPr>
                <a:solidFill>
                  <a:schemeClr val="tx1"/>
                </a:solidFill>
                <a:latin typeface="Arial" pitchFamily="34" charset="0"/>
                <a:cs typeface="Arial" pitchFamily="34" charset="0"/>
              </a:defRPr>
            </a:lvl5pPr>
            <a:lvl6pPr marL="2473361" indent="-224851" eaLnBrk="0" fontAlgn="base" hangingPunct="0">
              <a:spcBef>
                <a:spcPct val="0"/>
              </a:spcBef>
              <a:spcAft>
                <a:spcPct val="0"/>
              </a:spcAft>
              <a:defRPr>
                <a:solidFill>
                  <a:schemeClr val="tx1"/>
                </a:solidFill>
                <a:latin typeface="Arial" pitchFamily="34" charset="0"/>
                <a:cs typeface="Arial" pitchFamily="34" charset="0"/>
              </a:defRPr>
            </a:lvl6pPr>
            <a:lvl7pPr marL="2923062" indent="-224851" eaLnBrk="0" fontAlgn="base" hangingPunct="0">
              <a:spcBef>
                <a:spcPct val="0"/>
              </a:spcBef>
              <a:spcAft>
                <a:spcPct val="0"/>
              </a:spcAft>
              <a:defRPr>
                <a:solidFill>
                  <a:schemeClr val="tx1"/>
                </a:solidFill>
                <a:latin typeface="Arial" pitchFamily="34" charset="0"/>
                <a:cs typeface="Arial" pitchFamily="34" charset="0"/>
              </a:defRPr>
            </a:lvl7pPr>
            <a:lvl8pPr marL="3372764" indent="-224851" eaLnBrk="0" fontAlgn="base" hangingPunct="0">
              <a:spcBef>
                <a:spcPct val="0"/>
              </a:spcBef>
              <a:spcAft>
                <a:spcPct val="0"/>
              </a:spcAft>
              <a:defRPr>
                <a:solidFill>
                  <a:schemeClr val="tx1"/>
                </a:solidFill>
                <a:latin typeface="Arial" pitchFamily="34" charset="0"/>
                <a:cs typeface="Arial" pitchFamily="34" charset="0"/>
              </a:defRPr>
            </a:lvl8pPr>
            <a:lvl9pPr marL="3822466" indent="-224851"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fld id="{540FBF9E-C360-4D8C-8C22-C3E6FE61EF43}" type="slidenum">
              <a:rPr lang="en-AU">
                <a:latin typeface="Calibri" pitchFamily="34" charset="0"/>
              </a:rPr>
              <a:pPr eaLnBrk="1" hangingPunct="1"/>
              <a:t>317</a:t>
            </a:fld>
            <a:endParaRPr lang="en-AU">
              <a:latin typeface="Calibri" pitchFamily="34" charset="0"/>
            </a:endParaRPr>
          </a:p>
        </p:txBody>
      </p:sp>
      <p:sp>
        <p:nvSpPr>
          <p:cNvPr id="74755"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4756"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smtClean="0"/>
          </a:p>
        </p:txBody>
      </p:sp>
    </p:spTree>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p:cNvSpPr>
            <a:spLocks noGrp="1" noRot="1" noChangeAspect="1" noTextEdit="1"/>
          </p:cNvSpPr>
          <p:nvPr>
            <p:ph type="sldImg"/>
          </p:nvPr>
        </p:nvSpPr>
        <p:spPr bwMode="auto">
          <a:noFill/>
          <a:ln>
            <a:solidFill>
              <a:srgbClr val="000000"/>
            </a:solidFill>
            <a:miter lim="800000"/>
            <a:headEnd/>
            <a:tailEnd/>
          </a:ln>
        </p:spPr>
      </p:sp>
      <p:sp>
        <p:nvSpPr>
          <p:cNvPr id="5837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a:p>
        </p:txBody>
      </p:sp>
      <p:sp>
        <p:nvSpPr>
          <p:cNvPr id="60420" name="Header Placeholder 3"/>
          <p:cNvSpPr>
            <a:spLocks noGrp="1"/>
          </p:cNvSpPr>
          <p:nvPr>
            <p:ph type="hdr" sz="quarter"/>
          </p:nvPr>
        </p:nvSpPr>
        <p:spPr bwMode="auto">
          <a:ln>
            <a:miter lim="800000"/>
            <a:headEnd/>
            <a:tailEnd/>
          </a:ln>
        </p:spPr>
        <p:txBody>
          <a:bodyPr wrap="square" numCol="1" anchor="t" anchorCtr="0" compatLnSpc="1">
            <a:prstTxWarp prst="textNoShape">
              <a:avLst/>
            </a:prstTxWarp>
          </a:bodyPr>
          <a:lstStyle/>
          <a:p>
            <a:pPr defTabSz="912813" fontAlgn="base">
              <a:spcBef>
                <a:spcPct val="0"/>
              </a:spcBef>
              <a:spcAft>
                <a:spcPct val="0"/>
              </a:spcAft>
              <a:defRPr/>
            </a:pPr>
            <a:r>
              <a:rPr lang="en-US">
                <a:solidFill>
                  <a:srgbClr val="000000"/>
                </a:solidFill>
              </a:rPr>
              <a:t>Windows Server Management Marketing</a:t>
            </a:r>
          </a:p>
        </p:txBody>
      </p:sp>
      <p:sp>
        <p:nvSpPr>
          <p:cNvPr id="5" name="Footer Placeholder 4"/>
          <p:cNvSpPr>
            <a:spLocks noGrp="1"/>
          </p:cNvSpPr>
          <p:nvPr>
            <p:ph type="ftr" sz="quarter" idx="4"/>
          </p:nvPr>
        </p:nvSpPr>
        <p:spPr>
          <a:xfrm>
            <a:off x="0" y="8686800"/>
            <a:ext cx="5920740" cy="355964"/>
          </a:xfrm>
        </p:spPr>
        <p:txBody>
          <a:bodyPr/>
          <a:lstStyle/>
          <a:p>
            <a:pPr>
              <a:defRPr/>
            </a:pPr>
            <a:r>
              <a:rPr lang="en-US"/>
              <a:t>© 2012 Microsoft Corporation. All rights reserved. Microsoft, Windows, and other product names are or may be registered trademarks and/or trademarks in the U.S. and/or other countries.</a:t>
            </a:r>
          </a:p>
          <a:p>
            <a:pPr>
              <a:defRPr/>
            </a:pPr>
            <a:r>
              <a:rPr lang="en-US"/>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8374" name="Date Placeholder 5"/>
          <p:cNvSpPr>
            <a:spLocks noGrp="1"/>
          </p:cNvSpPr>
          <p:nvPr>
            <p:ph type="dt" sz="quarter" idx="1"/>
          </p:nvPr>
        </p:nvSpPr>
        <p:spPr bwMode="auto">
          <a:noFill/>
          <a:ln>
            <a:miter lim="800000"/>
            <a:headEnd/>
            <a:tailEnd/>
          </a:ln>
        </p:spPr>
        <p:txBody>
          <a:bodyPr wrap="square" numCol="1" anchor="t" anchorCtr="0" compatLnSpc="1">
            <a:prstTxWarp prst="textNoShape">
              <a:avLst/>
            </a:prstTxWarp>
          </a:bodyPr>
          <a:lstStyle/>
          <a:p>
            <a:pPr defTabSz="912813" fontAlgn="base">
              <a:spcBef>
                <a:spcPct val="0"/>
              </a:spcBef>
              <a:spcAft>
                <a:spcPct val="0"/>
              </a:spcAft>
            </a:pPr>
            <a:fld id="{73C81D92-29A6-4428-B84F-25A364AC63C0}" type="datetime1">
              <a:rPr lang="en-US" smtClean="0">
                <a:solidFill>
                  <a:srgbClr val="000000"/>
                </a:solidFill>
              </a:rPr>
              <a:pPr defTabSz="912813" fontAlgn="base">
                <a:spcBef>
                  <a:spcPct val="0"/>
                </a:spcBef>
                <a:spcAft>
                  <a:spcPct val="0"/>
                </a:spcAft>
              </a:pPr>
              <a:t>9/20/2012</a:t>
            </a:fld>
            <a:endParaRPr lang="en-US" smtClean="0">
              <a:solidFill>
                <a:srgbClr val="000000"/>
              </a:solidFill>
            </a:endParaRPr>
          </a:p>
        </p:txBody>
      </p:sp>
      <p:sp>
        <p:nvSpPr>
          <p:cNvPr id="58375" name="Slide Number Placeholder 6"/>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12813" fontAlgn="base">
              <a:spcBef>
                <a:spcPct val="0"/>
              </a:spcBef>
              <a:spcAft>
                <a:spcPct val="0"/>
              </a:spcAft>
            </a:pPr>
            <a:fld id="{A1D6AD3D-8BB3-45A9-83E8-E2FFA407AE91}" type="slidenum">
              <a:rPr lang="en-US" smtClean="0">
                <a:solidFill>
                  <a:srgbClr val="000000"/>
                </a:solidFill>
              </a:rPr>
              <a:pPr defTabSz="912813" fontAlgn="base">
                <a:spcBef>
                  <a:spcPct val="0"/>
                </a:spcBef>
                <a:spcAft>
                  <a:spcPct val="0"/>
                </a:spcAft>
              </a:pPr>
              <a:t>318</a:t>
            </a:fld>
            <a:endParaRPr lang="en-US" smtClean="0">
              <a:solidFill>
                <a:srgbClr val="000000"/>
              </a:solidFill>
            </a:endParaRPr>
          </a:p>
        </p:txBody>
      </p:sp>
    </p:spTree>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388AF88-5F87-48CC-A564-BC7DCC1006EE}" type="slidenum">
              <a:rPr lang="en-US" smtClean="0"/>
              <a:t>319</a:t>
            </a:fld>
            <a:endParaRPr lang="en-US"/>
          </a:p>
        </p:txBody>
      </p:sp>
    </p:spTree>
    <p:extLst>
      <p:ext uri="{BB962C8B-B14F-4D97-AF65-F5344CB8AC3E}">
        <p14:creationId xmlns:p14="http://schemas.microsoft.com/office/powerpoint/2010/main" val="491168899"/>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20</a:t>
            </a:fld>
            <a:endParaRPr lang="en-US" dirty="0">
              <a:solidFill>
                <a:prstClr val="black"/>
              </a:solidFill>
            </a:endParaRPr>
          </a:p>
        </p:txBody>
      </p:sp>
    </p:spTree>
    <p:extLst>
      <p:ext uri="{BB962C8B-B14F-4D97-AF65-F5344CB8AC3E}">
        <p14:creationId xmlns:p14="http://schemas.microsoft.com/office/powerpoint/2010/main" val="343203433"/>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22</a:t>
            </a:fld>
            <a:endParaRPr lang="en-US" dirty="0"/>
          </a:p>
        </p:txBody>
      </p:sp>
    </p:spTree>
    <p:extLst>
      <p:ext uri="{BB962C8B-B14F-4D97-AF65-F5344CB8AC3E}">
        <p14:creationId xmlns:p14="http://schemas.microsoft.com/office/powerpoint/2010/main" val="577519940"/>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684213"/>
            <a:ext cx="4848225" cy="2727325"/>
          </a:xfrm>
        </p:spPr>
      </p:sp>
      <p:sp>
        <p:nvSpPr>
          <p:cNvPr id="3" name="Notes Placeholder 2"/>
          <p:cNvSpPr>
            <a:spLocks noGrp="1"/>
          </p:cNvSpPr>
          <p:nvPr>
            <p:ph type="body" idx="1"/>
          </p:nvPr>
        </p:nvSpPr>
        <p:spPr>
          <a:xfrm>
            <a:off x="457200" y="3615194"/>
            <a:ext cx="5817476" cy="4500172"/>
          </a:xfrm>
        </p:spPr>
        <p:txBody>
          <a:bodyPr/>
          <a:lstStyle/>
          <a:p>
            <a:pPr marL="0" lvl="1" indent="0" defTabSz="-11559064" eaLnBrk="0" hangingPunct="0">
              <a:lnSpc>
                <a:spcPct val="90000"/>
              </a:lnSpc>
              <a:spcBef>
                <a:spcPts val="500"/>
              </a:spcBef>
              <a:buSzPct val="95000"/>
              <a:buFont typeface="Wingdings" pitchFamily="2" charset="2"/>
              <a:buNone/>
              <a:defRPr/>
            </a:pPr>
            <a:endParaRPr lang="en-US" dirty="0"/>
          </a:p>
        </p:txBody>
      </p:sp>
      <p:sp>
        <p:nvSpPr>
          <p:cNvPr id="4" name="Slide Number Placeholder 3"/>
          <p:cNvSpPr>
            <a:spLocks noGrp="1"/>
          </p:cNvSpPr>
          <p:nvPr>
            <p:ph type="sldNum" sz="quarter" idx="10"/>
          </p:nvPr>
        </p:nvSpPr>
        <p:spPr/>
        <p:txBody>
          <a:bodyPr/>
          <a:lstStyle/>
          <a:p>
            <a:fld id="{67741927-6463-459E-A476-6AA29362DB91}" type="slidenum">
              <a:rPr lang="en-US" smtClean="0"/>
              <a:pPr/>
              <a:t>340</a:t>
            </a:fld>
            <a:endParaRPr lang="en-US"/>
          </a:p>
        </p:txBody>
      </p:sp>
    </p:spTree>
    <p:extLst>
      <p:ext uri="{BB962C8B-B14F-4D97-AF65-F5344CB8AC3E}">
        <p14:creationId xmlns:p14="http://schemas.microsoft.com/office/powerpoint/2010/main" val="223979608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latin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27</a:t>
            </a:fld>
            <a:endParaRPr lang="en-US" dirty="0"/>
          </a:p>
        </p:txBody>
      </p:sp>
    </p:spTree>
    <p:extLst>
      <p:ext uri="{BB962C8B-B14F-4D97-AF65-F5344CB8AC3E}">
        <p14:creationId xmlns:p14="http://schemas.microsoft.com/office/powerpoint/2010/main" val="2522618765"/>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41</a:t>
            </a:fld>
            <a:endParaRPr lang="en-US" dirty="0"/>
          </a:p>
        </p:txBody>
      </p:sp>
    </p:spTree>
    <p:extLst>
      <p:ext uri="{BB962C8B-B14F-4D97-AF65-F5344CB8AC3E}">
        <p14:creationId xmlns:p14="http://schemas.microsoft.com/office/powerpoint/2010/main" val="3239972740"/>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4213"/>
            <a:ext cx="6096000" cy="3430587"/>
          </a:xfrm>
        </p:spPr>
      </p:sp>
      <p:sp>
        <p:nvSpPr>
          <p:cNvPr id="3" name="Notes Placeholder 2"/>
          <p:cNvSpPr>
            <a:spLocks noGrp="1"/>
          </p:cNvSpPr>
          <p:nvPr>
            <p:ph type="body" idx="1"/>
          </p:nvPr>
        </p:nvSpPr>
        <p:spPr/>
        <p:txBody>
          <a:bodyPr/>
          <a:lstStyle/>
          <a:p>
            <a:pPr marL="0" indent="0">
              <a:buFont typeface="Arial" pitchFamily="34" charset="0"/>
              <a:buNone/>
            </a:pPr>
            <a:endParaRPr lang="en-US" dirty="0"/>
          </a:p>
        </p:txBody>
      </p:sp>
      <p:sp>
        <p:nvSpPr>
          <p:cNvPr id="4" name="Slide Number Placeholder 3"/>
          <p:cNvSpPr>
            <a:spLocks noGrp="1"/>
          </p:cNvSpPr>
          <p:nvPr>
            <p:ph type="sldNum" sz="quarter" idx="10"/>
          </p:nvPr>
        </p:nvSpPr>
        <p:spPr/>
        <p:txBody>
          <a:bodyPr/>
          <a:lstStyle/>
          <a:p>
            <a:fld id="{67741927-6463-459E-A476-6AA29362DB91}" type="slidenum">
              <a:rPr lang="en-US" smtClean="0">
                <a:solidFill>
                  <a:prstClr val="black"/>
                </a:solidFill>
              </a:rPr>
              <a:pPr/>
              <a:t>342</a:t>
            </a:fld>
            <a:endParaRPr lang="en-US">
              <a:solidFill>
                <a:prstClr val="black"/>
              </a:solidFill>
            </a:endParaRPr>
          </a:p>
        </p:txBody>
      </p:sp>
    </p:spTree>
    <p:extLst>
      <p:ext uri="{BB962C8B-B14F-4D97-AF65-F5344CB8AC3E}">
        <p14:creationId xmlns:p14="http://schemas.microsoft.com/office/powerpoint/2010/main" val="1231270765"/>
      </p:ext>
    </p:extLst>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684213"/>
            <a:ext cx="4848225" cy="2727325"/>
          </a:xfrm>
        </p:spPr>
      </p:sp>
      <p:sp>
        <p:nvSpPr>
          <p:cNvPr id="3" name="Notes Placeholder 2"/>
          <p:cNvSpPr>
            <a:spLocks noGrp="1"/>
          </p:cNvSpPr>
          <p:nvPr>
            <p:ph type="body" idx="1"/>
          </p:nvPr>
        </p:nvSpPr>
        <p:spPr>
          <a:xfrm>
            <a:off x="457200" y="3615194"/>
            <a:ext cx="5817476" cy="4500172"/>
          </a:xfrm>
        </p:spPr>
        <p:txBody>
          <a:bodyPr>
            <a:normAutofit fontScale="40000" lnSpcReduction="20000"/>
          </a:bodyPr>
          <a:lstStyle/>
          <a:p>
            <a:pPr marL="742893" lvl="2" indent="-285750" defTabSz="-11559064" eaLnBrk="0" hangingPunct="0">
              <a:lnSpc>
                <a:spcPct val="90000"/>
              </a:lnSpc>
              <a:spcBef>
                <a:spcPts val="500"/>
              </a:spcBef>
              <a:buSzPct val="95000"/>
              <a:buFont typeface="Arial" pitchFamily="34" charset="0"/>
              <a:buChar char="•"/>
              <a:defRPr/>
            </a:pPr>
            <a:endParaRPr lang="en-US" dirty="0"/>
          </a:p>
        </p:txBody>
      </p:sp>
      <p:sp>
        <p:nvSpPr>
          <p:cNvPr id="4" name="Slide Number Placeholder 3"/>
          <p:cNvSpPr>
            <a:spLocks noGrp="1"/>
          </p:cNvSpPr>
          <p:nvPr>
            <p:ph type="sldNum" sz="quarter" idx="10"/>
          </p:nvPr>
        </p:nvSpPr>
        <p:spPr/>
        <p:txBody>
          <a:bodyPr/>
          <a:lstStyle/>
          <a:p>
            <a:fld id="{67741927-6463-459E-A476-6AA29362DB91}" type="slidenum">
              <a:rPr lang="en-US" smtClean="0"/>
              <a:pPr/>
              <a:t>343</a:t>
            </a:fld>
            <a:endParaRPr lang="en-US"/>
          </a:p>
        </p:txBody>
      </p:sp>
    </p:spTree>
    <p:extLst>
      <p:ext uri="{BB962C8B-B14F-4D97-AF65-F5344CB8AC3E}">
        <p14:creationId xmlns:p14="http://schemas.microsoft.com/office/powerpoint/2010/main" val="2239796088"/>
      </p:ext>
    </p:extLst>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684213"/>
            <a:ext cx="4848225" cy="2727325"/>
          </a:xfrm>
        </p:spPr>
      </p:sp>
      <p:sp>
        <p:nvSpPr>
          <p:cNvPr id="3" name="Notes Placeholder 2"/>
          <p:cNvSpPr>
            <a:spLocks noGrp="1"/>
          </p:cNvSpPr>
          <p:nvPr>
            <p:ph type="body" idx="1"/>
          </p:nvPr>
        </p:nvSpPr>
        <p:spPr>
          <a:xfrm>
            <a:off x="457200" y="3615194"/>
            <a:ext cx="5817476" cy="4500172"/>
          </a:xfrm>
        </p:spPr>
        <p:txBody>
          <a:bodyPr>
            <a:normAutofit fontScale="40000" lnSpcReduction="20000"/>
          </a:bodyPr>
          <a:lstStyle/>
          <a:p>
            <a:pPr marL="0" lvl="1" indent="0" defTabSz="-11559064" eaLnBrk="0" hangingPunct="0">
              <a:lnSpc>
                <a:spcPct val="90000"/>
              </a:lnSpc>
              <a:spcBef>
                <a:spcPts val="500"/>
              </a:spcBef>
              <a:buSzPct val="95000"/>
              <a:buFont typeface="Wingdings" pitchFamily="2" charset="2"/>
              <a:buNone/>
              <a:defRPr/>
            </a:pPr>
            <a:endParaRPr lang="en-US" dirty="0"/>
          </a:p>
        </p:txBody>
      </p:sp>
      <p:sp>
        <p:nvSpPr>
          <p:cNvPr id="4" name="Slide Number Placeholder 3"/>
          <p:cNvSpPr>
            <a:spLocks noGrp="1"/>
          </p:cNvSpPr>
          <p:nvPr>
            <p:ph type="sldNum" sz="quarter" idx="10"/>
          </p:nvPr>
        </p:nvSpPr>
        <p:spPr/>
        <p:txBody>
          <a:bodyPr/>
          <a:lstStyle/>
          <a:p>
            <a:fld id="{67741927-6463-459E-A476-6AA29362DB91}" type="slidenum">
              <a:rPr lang="en-US" smtClean="0"/>
              <a:pPr/>
              <a:t>344</a:t>
            </a:fld>
            <a:endParaRPr lang="en-US"/>
          </a:p>
        </p:txBody>
      </p:sp>
    </p:spTree>
    <p:extLst>
      <p:ext uri="{BB962C8B-B14F-4D97-AF65-F5344CB8AC3E}">
        <p14:creationId xmlns:p14="http://schemas.microsoft.com/office/powerpoint/2010/main" val="2239796088"/>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7741927-6463-459E-A476-6AA29362DB91}" type="slidenum">
              <a:rPr lang="en-US" smtClean="0"/>
              <a:pPr/>
              <a:t>345</a:t>
            </a:fld>
            <a:endParaRPr lang="en-US"/>
          </a:p>
        </p:txBody>
      </p:sp>
    </p:spTree>
    <p:extLst>
      <p:ext uri="{BB962C8B-B14F-4D97-AF65-F5344CB8AC3E}">
        <p14:creationId xmlns:p14="http://schemas.microsoft.com/office/powerpoint/2010/main" val="3922763639"/>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46</a:t>
            </a:fld>
            <a:endParaRPr lang="en-US" dirty="0"/>
          </a:p>
        </p:txBody>
      </p:sp>
    </p:spTree>
    <p:extLst>
      <p:ext uri="{BB962C8B-B14F-4D97-AF65-F5344CB8AC3E}">
        <p14:creationId xmlns:p14="http://schemas.microsoft.com/office/powerpoint/2010/main" val="1211837031"/>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dirty="0"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Thursday, September 20, 2012</a:t>
            </a:fld>
            <a:endParaRPr lang="en-US"/>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349</a:t>
            </a:fld>
            <a:endParaRPr lang="en-US"/>
          </a:p>
        </p:txBody>
      </p:sp>
    </p:spTree>
    <p:extLst>
      <p:ext uri="{BB962C8B-B14F-4D97-AF65-F5344CB8AC3E}">
        <p14:creationId xmlns:p14="http://schemas.microsoft.com/office/powerpoint/2010/main" val="1105114501"/>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Slide Image Placeholder 1"/>
          <p:cNvSpPr>
            <a:spLocks noGrp="1" noRot="1" noChangeAspect="1"/>
          </p:cNvSpPr>
          <p:nvPr>
            <p:ph type="sldImg"/>
          </p:nvPr>
        </p:nvSpPr>
        <p:spPr bwMode="auto">
          <a:noFill/>
          <a:ln>
            <a:solidFill>
              <a:srgbClr val="000000"/>
            </a:solidFill>
            <a:miter lim="800000"/>
            <a:headEnd/>
            <a:tailEnd/>
          </a:ln>
        </p:spPr>
      </p:sp>
      <p:sp>
        <p:nvSpPr>
          <p:cNvPr id="48131" name="Notes Placeholder 2"/>
          <p:cNvSpPr>
            <a:spLocks noGrp="1"/>
          </p:cNvSpPr>
          <p:nvPr>
            <p:ph type="body" idx="1"/>
          </p:nvPr>
        </p:nvSpPr>
        <p:spPr bwMode="auto">
          <a:noFill/>
        </p:spPr>
        <p:txBody>
          <a:bodyPr/>
          <a:lstStyle/>
          <a:p>
            <a:endParaRPr lang="en-US" dirty="0"/>
          </a:p>
        </p:txBody>
      </p:sp>
      <p:sp>
        <p:nvSpPr>
          <p:cNvPr id="50180" name="Slide Number Placeholder 3"/>
          <p:cNvSpPr>
            <a:spLocks noGrp="1"/>
          </p:cNvSpPr>
          <p:nvPr>
            <p:ph type="sldNum" sz="quarter" idx="5"/>
          </p:nvPr>
        </p:nvSpPr>
        <p:spPr bwMode="auto">
          <a:extLst/>
        </p:spPr>
        <p:txBody>
          <a:bodyPr/>
          <a:lstStyle/>
          <a:p>
            <a:fld id="{2B370AFF-060D-45CC-9CDC-F9D13B94DC37}" type="slidenum">
              <a:rPr lang="en-US">
                <a:solidFill>
                  <a:prstClr val="black"/>
                </a:solidFill>
              </a:rPr>
              <a:pPr/>
              <a:t>350</a:t>
            </a:fld>
            <a:endParaRPr lang="en-US">
              <a:solidFill>
                <a:prstClr val="black"/>
              </a:solidFill>
            </a:endParaRPr>
          </a:p>
        </p:txBody>
      </p:sp>
    </p:spTree>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54</a:t>
            </a:fld>
            <a:endParaRPr lang="en-US" dirty="0"/>
          </a:p>
        </p:txBody>
      </p:sp>
    </p:spTree>
    <p:extLst>
      <p:ext uri="{BB962C8B-B14F-4D97-AF65-F5344CB8AC3E}">
        <p14:creationId xmlns:p14="http://schemas.microsoft.com/office/powerpoint/2010/main" val="3186148362"/>
      </p:ext>
    </p:extLst>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55</a:t>
            </a:fld>
            <a:endParaRPr lang="en-US" dirty="0"/>
          </a:p>
        </p:txBody>
      </p:sp>
    </p:spTree>
    <p:extLst>
      <p:ext uri="{BB962C8B-B14F-4D97-AF65-F5344CB8AC3E}">
        <p14:creationId xmlns:p14="http://schemas.microsoft.com/office/powerpoint/2010/main" val="318614836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latin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56</a:t>
            </a:fld>
            <a:endParaRPr lang="en-US" dirty="0"/>
          </a:p>
        </p:txBody>
      </p:sp>
    </p:spTree>
    <p:extLst>
      <p:ext uri="{BB962C8B-B14F-4D97-AF65-F5344CB8AC3E}">
        <p14:creationId xmlns:p14="http://schemas.microsoft.com/office/powerpoint/2010/main" val="3186148362"/>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57</a:t>
            </a:fld>
            <a:endParaRPr lang="en-US" dirty="0"/>
          </a:p>
        </p:txBody>
      </p:sp>
    </p:spTree>
    <p:extLst>
      <p:ext uri="{BB962C8B-B14F-4D97-AF65-F5344CB8AC3E}">
        <p14:creationId xmlns:p14="http://schemas.microsoft.com/office/powerpoint/2010/main" val="3186148362"/>
      </p:ext>
    </p:extLst>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5622BA7-171F-4A38-87E6-DC24830D7657}" type="slidenum">
              <a:rPr lang="en-US" smtClean="0">
                <a:solidFill>
                  <a:prstClr val="black"/>
                </a:solidFill>
              </a:rPr>
              <a:pPr/>
              <a:t>359</a:t>
            </a:fld>
            <a:endParaRPr lang="en-US">
              <a:solidFill>
                <a:prstClr val="black"/>
              </a:solidFill>
            </a:endParaRPr>
          </a:p>
        </p:txBody>
      </p:sp>
    </p:spTree>
    <p:extLst>
      <p:ext uri="{BB962C8B-B14F-4D97-AF65-F5344CB8AC3E}">
        <p14:creationId xmlns:p14="http://schemas.microsoft.com/office/powerpoint/2010/main" val="2735120676"/>
      </p:ext>
    </p:extLst>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60</a:t>
            </a:fld>
            <a:endParaRPr lang="en-US" dirty="0">
              <a:solidFill>
                <a:prstClr val="black"/>
              </a:solidFill>
            </a:endParaRPr>
          </a:p>
        </p:txBody>
      </p:sp>
    </p:spTree>
    <p:extLst>
      <p:ext uri="{BB962C8B-B14F-4D97-AF65-F5344CB8AC3E}">
        <p14:creationId xmlns:p14="http://schemas.microsoft.com/office/powerpoint/2010/main" val="2616768591"/>
      </p:ext>
    </p:extLst>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5622BA7-171F-4A38-87E6-DC24830D7657}" type="slidenum">
              <a:rPr lang="en-US" smtClean="0">
                <a:solidFill>
                  <a:prstClr val="black"/>
                </a:solidFill>
              </a:rPr>
              <a:pPr/>
              <a:t>361</a:t>
            </a:fld>
            <a:endParaRPr lang="en-US">
              <a:solidFill>
                <a:prstClr val="black"/>
              </a:solidFill>
            </a:endParaRPr>
          </a:p>
        </p:txBody>
      </p:sp>
    </p:spTree>
    <p:extLst>
      <p:ext uri="{BB962C8B-B14F-4D97-AF65-F5344CB8AC3E}">
        <p14:creationId xmlns:p14="http://schemas.microsoft.com/office/powerpoint/2010/main" val="1823320971"/>
      </p:ext>
    </p:extLst>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62</a:t>
            </a:fld>
            <a:endParaRPr lang="en-US" dirty="0">
              <a:solidFill>
                <a:prstClr val="black"/>
              </a:solidFill>
            </a:endParaRPr>
          </a:p>
        </p:txBody>
      </p:sp>
    </p:spTree>
    <p:extLst>
      <p:ext uri="{BB962C8B-B14F-4D97-AF65-F5344CB8AC3E}">
        <p14:creationId xmlns:p14="http://schemas.microsoft.com/office/powerpoint/2010/main" val="1069720651"/>
      </p:ext>
    </p:extLst>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a:xfrm>
            <a:off x="685800" y="4206179"/>
            <a:ext cx="5486400" cy="4114800"/>
          </a:xfrm>
        </p:spPr>
        <p:txBody>
          <a:bodyPr>
            <a:normAutofit fontScale="92500" lnSpcReduction="10000"/>
          </a:bodyPr>
          <a:lstStyle/>
          <a:p>
            <a:endParaRPr lang="en-US" b="1" baseline="0" dirty="0" smtClean="0"/>
          </a:p>
        </p:txBody>
      </p:sp>
      <p:sp>
        <p:nvSpPr>
          <p:cNvPr id="4" name="Slide Number Placeholder 3"/>
          <p:cNvSpPr>
            <a:spLocks noGrp="1"/>
          </p:cNvSpPr>
          <p:nvPr>
            <p:ph type="sldNum" sz="quarter" idx="10"/>
          </p:nvPr>
        </p:nvSpPr>
        <p:spPr/>
        <p:txBody>
          <a:bodyPr/>
          <a:lstStyle/>
          <a:p>
            <a:fld id="{C8574E92-81B2-434E-A2B1-FF9884FD7456}" type="slidenum">
              <a:rPr lang="en-US" smtClean="0">
                <a:solidFill>
                  <a:prstClr val="black"/>
                </a:solidFill>
              </a:rPr>
              <a:pPr/>
              <a:t>367</a:t>
            </a:fld>
            <a:endParaRPr lang="en-US" dirty="0">
              <a:solidFill>
                <a:prstClr val="black"/>
              </a:solidFill>
            </a:endParaRPr>
          </a:p>
        </p:txBody>
      </p:sp>
    </p:spTree>
    <p:extLst>
      <p:ext uri="{BB962C8B-B14F-4D97-AF65-F5344CB8AC3E}">
        <p14:creationId xmlns:p14="http://schemas.microsoft.com/office/powerpoint/2010/main" val="2761263631"/>
      </p:ext>
    </p:extLst>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a:xfrm>
            <a:off x="685800" y="4206179"/>
            <a:ext cx="5486400" cy="4114800"/>
          </a:xfrm>
        </p:spPr>
        <p:txBody>
          <a:bodyPr>
            <a:normAutofit fontScale="92500" lnSpcReduction="10000"/>
          </a:bodyPr>
          <a:lstStyle/>
          <a:p>
            <a:endParaRPr lang="en-US" b="1" baseline="0" dirty="0" smtClean="0"/>
          </a:p>
        </p:txBody>
      </p:sp>
      <p:sp>
        <p:nvSpPr>
          <p:cNvPr id="4" name="Slide Number Placeholder 3"/>
          <p:cNvSpPr>
            <a:spLocks noGrp="1"/>
          </p:cNvSpPr>
          <p:nvPr>
            <p:ph type="sldNum" sz="quarter" idx="10"/>
          </p:nvPr>
        </p:nvSpPr>
        <p:spPr/>
        <p:txBody>
          <a:bodyPr/>
          <a:lstStyle/>
          <a:p>
            <a:fld id="{C8574E92-81B2-434E-A2B1-FF9884FD7456}" type="slidenum">
              <a:rPr lang="en-US" smtClean="0">
                <a:solidFill>
                  <a:prstClr val="black"/>
                </a:solidFill>
              </a:rPr>
              <a:pPr/>
              <a:t>368</a:t>
            </a:fld>
            <a:endParaRPr lang="en-US" dirty="0">
              <a:solidFill>
                <a:prstClr val="black"/>
              </a:solidFill>
            </a:endParaRPr>
          </a:p>
        </p:txBody>
      </p:sp>
    </p:spTree>
    <p:extLst>
      <p:ext uri="{BB962C8B-B14F-4D97-AF65-F5344CB8AC3E}">
        <p14:creationId xmlns:p14="http://schemas.microsoft.com/office/powerpoint/2010/main" val="2761263631"/>
      </p:ext>
    </p:extLst>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a:xfrm>
            <a:off x="685800" y="4206179"/>
            <a:ext cx="5486400" cy="4114800"/>
          </a:xfrm>
        </p:spPr>
        <p:txBody>
          <a:bodyPr>
            <a:normAutofit fontScale="92500" lnSpcReduction="10000"/>
          </a:bodyPr>
          <a:lstStyle/>
          <a:p>
            <a:endParaRPr lang="en-US" b="1" baseline="0" dirty="0" smtClean="0"/>
          </a:p>
        </p:txBody>
      </p:sp>
      <p:sp>
        <p:nvSpPr>
          <p:cNvPr id="4" name="Slide Number Placeholder 3"/>
          <p:cNvSpPr>
            <a:spLocks noGrp="1"/>
          </p:cNvSpPr>
          <p:nvPr>
            <p:ph type="sldNum" sz="quarter" idx="10"/>
          </p:nvPr>
        </p:nvSpPr>
        <p:spPr/>
        <p:txBody>
          <a:bodyPr/>
          <a:lstStyle/>
          <a:p>
            <a:fld id="{C8574E92-81B2-434E-A2B1-FF9884FD7456}" type="slidenum">
              <a:rPr lang="en-US" smtClean="0">
                <a:solidFill>
                  <a:prstClr val="black"/>
                </a:solidFill>
              </a:rPr>
              <a:pPr/>
              <a:t>369</a:t>
            </a:fld>
            <a:endParaRPr lang="en-US" dirty="0">
              <a:solidFill>
                <a:prstClr val="black"/>
              </a:solidFill>
            </a:endParaRPr>
          </a:p>
        </p:txBody>
      </p:sp>
    </p:spTree>
    <p:extLst>
      <p:ext uri="{BB962C8B-B14F-4D97-AF65-F5344CB8AC3E}">
        <p14:creationId xmlns:p14="http://schemas.microsoft.com/office/powerpoint/2010/main" val="2761263631"/>
      </p:ext>
    </p:extLst>
  </p:cSld>
  <p:clrMapOvr>
    <a:masterClrMapping/>
  </p:clrMapOvr>
</p:notes>
</file>

<file path=ppt/notesSlides/notesSlide2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a:xfrm>
            <a:off x="685800" y="4206179"/>
            <a:ext cx="5486400" cy="4114800"/>
          </a:xfrm>
        </p:spPr>
        <p:txBody>
          <a:bodyPr>
            <a:normAutofit fontScale="92500" lnSpcReduction="10000"/>
          </a:bodyPr>
          <a:lstStyle/>
          <a:p>
            <a:endParaRPr lang="en-US" b="1" baseline="0" dirty="0" smtClean="0"/>
          </a:p>
        </p:txBody>
      </p:sp>
      <p:sp>
        <p:nvSpPr>
          <p:cNvPr id="4" name="Slide Number Placeholder 3"/>
          <p:cNvSpPr>
            <a:spLocks noGrp="1"/>
          </p:cNvSpPr>
          <p:nvPr>
            <p:ph type="sldNum" sz="quarter" idx="10"/>
          </p:nvPr>
        </p:nvSpPr>
        <p:spPr/>
        <p:txBody>
          <a:bodyPr/>
          <a:lstStyle/>
          <a:p>
            <a:fld id="{C8574E92-81B2-434E-A2B1-FF9884FD7456}" type="slidenum">
              <a:rPr lang="en-US" smtClean="0">
                <a:solidFill>
                  <a:prstClr val="black"/>
                </a:solidFill>
              </a:rPr>
              <a:pPr/>
              <a:t>370</a:t>
            </a:fld>
            <a:endParaRPr lang="en-US" dirty="0">
              <a:solidFill>
                <a:prstClr val="black"/>
              </a:solidFill>
            </a:endParaRPr>
          </a:p>
        </p:txBody>
      </p:sp>
    </p:spTree>
    <p:extLst>
      <p:ext uri="{BB962C8B-B14F-4D97-AF65-F5344CB8AC3E}">
        <p14:creationId xmlns:p14="http://schemas.microsoft.com/office/powerpoint/2010/main" val="276126363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fontScale="77500" lnSpcReduction="20000"/>
          </a:bodyPr>
          <a:lstStyle/>
          <a:p>
            <a:endParaRPr lang="en-US" dirty="0"/>
          </a:p>
        </p:txBody>
      </p:sp>
      <p:sp>
        <p:nvSpPr>
          <p:cNvPr id="4" name="Slide Number Placeholder 3"/>
          <p:cNvSpPr>
            <a:spLocks noGrp="1"/>
          </p:cNvSpPr>
          <p:nvPr>
            <p:ph type="sldNum" sz="quarter" idx="10"/>
          </p:nvPr>
        </p:nvSpPr>
        <p:spPr/>
        <p:txBody>
          <a:bodyPr/>
          <a:lstStyle/>
          <a:p>
            <a:fld id="{805CAB2E-B3AF-4E0A-8642-4B89CD52DE20}" type="slidenum">
              <a:rPr lang="en-US" smtClean="0">
                <a:solidFill>
                  <a:prstClr val="black"/>
                </a:solidFill>
              </a:rPr>
              <a:pPr/>
              <a:t>29</a:t>
            </a:fld>
            <a:endParaRPr lang="en-US" dirty="0">
              <a:solidFill>
                <a:prstClr val="black"/>
              </a:solidFill>
            </a:endParaRPr>
          </a:p>
        </p:txBody>
      </p:sp>
      <p:sp>
        <p:nvSpPr>
          <p:cNvPr id="5" name="Footer Placeholder 4"/>
          <p:cNvSpPr>
            <a:spLocks noGrp="1"/>
          </p:cNvSpPr>
          <p:nvPr>
            <p:ph type="ftr" sz="quarter" idx="11"/>
          </p:nvPr>
        </p:nvSpPr>
        <p:spPr/>
        <p:txBody>
          <a:bodyPr/>
          <a:lstStyle/>
          <a:p>
            <a:r>
              <a:rPr lang="en-US" dirty="0" smtClean="0">
                <a:solidFill>
                  <a:prstClr val="black"/>
                </a:solidFill>
              </a:rPr>
              <a:t>Microsoft © 2010</a:t>
            </a:r>
            <a:endParaRPr lang="en-US" dirty="0">
              <a:solidFill>
                <a:prstClr val="black"/>
              </a:solidFill>
            </a:endParaRPr>
          </a:p>
        </p:txBody>
      </p:sp>
    </p:spTree>
  </p:cSld>
  <p:clrMapOvr>
    <a:masterClrMapping/>
  </p:clrMapOvr>
</p:notes>
</file>

<file path=ppt/notesSlides/notesSlide2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a:xfrm>
            <a:off x="685800" y="4206179"/>
            <a:ext cx="5486400" cy="4114800"/>
          </a:xfrm>
        </p:spPr>
        <p:txBody>
          <a:bodyPr>
            <a:normAutofit fontScale="92500" lnSpcReduction="10000"/>
          </a:bodyPr>
          <a:lstStyle/>
          <a:p>
            <a:endParaRPr lang="en-US" b="1" baseline="0" dirty="0" smtClean="0"/>
          </a:p>
        </p:txBody>
      </p:sp>
      <p:sp>
        <p:nvSpPr>
          <p:cNvPr id="4" name="Slide Number Placeholder 3"/>
          <p:cNvSpPr>
            <a:spLocks noGrp="1"/>
          </p:cNvSpPr>
          <p:nvPr>
            <p:ph type="sldNum" sz="quarter" idx="10"/>
          </p:nvPr>
        </p:nvSpPr>
        <p:spPr/>
        <p:txBody>
          <a:bodyPr/>
          <a:lstStyle/>
          <a:p>
            <a:fld id="{C8574E92-81B2-434E-A2B1-FF9884FD7456}" type="slidenum">
              <a:rPr lang="en-US" smtClean="0">
                <a:solidFill>
                  <a:prstClr val="black"/>
                </a:solidFill>
              </a:rPr>
              <a:pPr/>
              <a:t>371</a:t>
            </a:fld>
            <a:endParaRPr lang="en-US" dirty="0">
              <a:solidFill>
                <a:prstClr val="black"/>
              </a:solidFill>
            </a:endParaRPr>
          </a:p>
        </p:txBody>
      </p:sp>
    </p:spTree>
    <p:extLst>
      <p:ext uri="{BB962C8B-B14F-4D97-AF65-F5344CB8AC3E}">
        <p14:creationId xmlns:p14="http://schemas.microsoft.com/office/powerpoint/2010/main" val="2761263631"/>
      </p:ext>
    </p:extLst>
  </p:cSld>
  <p:clrMapOvr>
    <a:masterClrMapping/>
  </p:clrMapOvr>
</p:notes>
</file>

<file path=ppt/notesSlides/notesSlide2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lstStyle/>
          <a:p>
            <a:pPr eaLnBrk="1" hangingPunct="1">
              <a:defRPr/>
            </a:pPr>
            <a:endParaRPr lang="en-US" dirty="0"/>
          </a:p>
        </p:txBody>
      </p:sp>
      <p:sp>
        <p:nvSpPr>
          <p:cNvPr id="71684" name="Slide Number Placeholder 3"/>
          <p:cNvSpPr>
            <a:spLocks noGrp="1"/>
          </p:cNvSpPr>
          <p:nvPr>
            <p:ph type="sldNum" sz="quarter" idx="5"/>
          </p:nvPr>
        </p:nvSpPr>
        <p:spPr>
          <a:noFill/>
        </p:spPr>
        <p:txBody>
          <a:bodyPr/>
          <a:lstStyle/>
          <a:p>
            <a:fld id="{FB3F81A3-58BB-4414-AF4F-A8AC318A0AD3}" type="slidenum">
              <a:rPr lang="en-US" smtClean="0"/>
              <a:pPr/>
              <a:t>372</a:t>
            </a:fld>
            <a:endParaRPr lang="en-US" dirty="0" smtClean="0"/>
          </a:p>
        </p:txBody>
      </p:sp>
    </p:spTree>
  </p:cSld>
  <p:clrMapOvr>
    <a:masterClrMapping/>
  </p:clrMapOvr>
</p:notes>
</file>

<file path=ppt/notesSlides/notesSlide2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endParaRPr lang="en-US" dirty="0"/>
          </a:p>
        </p:txBody>
      </p:sp>
      <p:sp>
        <p:nvSpPr>
          <p:cNvPr id="4" name="Header Placeholder 3"/>
          <p:cNvSpPr>
            <a:spLocks noGrp="1"/>
          </p:cNvSpPr>
          <p:nvPr>
            <p:ph type="hdr" sz="quarter" idx="10"/>
          </p:nvPr>
        </p:nvSpPr>
        <p:spPr/>
        <p:txBody>
          <a:bodyPr/>
          <a:lstStyle/>
          <a:p>
            <a:r>
              <a:rPr lang="en-US" dirty="0" smtClean="0"/>
              <a:t>U.S. CIO Enterprise Summit</a:t>
            </a:r>
            <a:endParaRPr lang="en-US" dirty="0"/>
          </a:p>
        </p:txBody>
      </p:sp>
      <p:sp>
        <p:nvSpPr>
          <p:cNvPr id="5" name="Date Placeholder 4"/>
          <p:cNvSpPr>
            <a:spLocks noGrp="1"/>
          </p:cNvSpPr>
          <p:nvPr>
            <p:ph type="dt" idx="11"/>
          </p:nvPr>
        </p:nvSpPr>
        <p:spPr/>
        <p:txBody>
          <a:bodyPr/>
          <a:lstStyle/>
          <a:p>
            <a:fld id="{C04EB878-CCD0-4352-931D-5D399F93BEAD}" type="datetime1">
              <a:rPr lang="en-US" smtClean="0"/>
              <a:t>9/20/2012</a:t>
            </a:fld>
            <a:endParaRPr lang="en-US" dirty="0"/>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12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3"/>
          </p:nvPr>
        </p:nvSpPr>
        <p:spPr/>
        <p:txBody>
          <a:bodyPr/>
          <a:lstStyle/>
          <a:p>
            <a:fld id="{8B263312-38AA-4E1E-B2B5-0F8F122B24FE}" type="slidenum">
              <a:rPr lang="en-US" smtClean="0"/>
              <a:pPr/>
              <a:t>374</a:t>
            </a:fld>
            <a:endParaRPr lang="en-US" dirty="0"/>
          </a:p>
        </p:txBody>
      </p:sp>
    </p:spTree>
    <p:extLst>
      <p:ext uri="{BB962C8B-B14F-4D97-AF65-F5344CB8AC3E}">
        <p14:creationId xmlns:p14="http://schemas.microsoft.com/office/powerpoint/2010/main" val="3058779166"/>
      </p:ext>
    </p:extLst>
  </p:cSld>
  <p:clrMapOvr>
    <a:masterClrMapping/>
  </p:clrMapOvr>
</p:notes>
</file>

<file path=ppt/notesSlides/notesSlide2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96B6BF2-871F-4FC7-9167-FAA88198D657}" type="slidenum">
              <a:rPr lang="en-US" smtClean="0"/>
              <a:t>375</a:t>
            </a:fld>
            <a:endParaRPr lang="en-US"/>
          </a:p>
        </p:txBody>
      </p:sp>
    </p:spTree>
    <p:extLst>
      <p:ext uri="{BB962C8B-B14F-4D97-AF65-F5344CB8AC3E}">
        <p14:creationId xmlns:p14="http://schemas.microsoft.com/office/powerpoint/2010/main" val="1415520991"/>
      </p:ext>
    </p:extLst>
  </p:cSld>
  <p:clrMapOvr>
    <a:masterClrMapping/>
  </p:clrMapOvr>
</p:notes>
</file>

<file path=ppt/notesSlides/notesSlide2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76</a:t>
            </a:fld>
            <a:endParaRPr lang="en-US" dirty="0"/>
          </a:p>
        </p:txBody>
      </p:sp>
    </p:spTree>
    <p:extLst>
      <p:ext uri="{BB962C8B-B14F-4D97-AF65-F5344CB8AC3E}">
        <p14:creationId xmlns:p14="http://schemas.microsoft.com/office/powerpoint/2010/main" val="56183664"/>
      </p:ext>
    </p:extLst>
  </p:cSld>
  <p:clrMapOvr>
    <a:masterClrMapping/>
  </p:clrMapOvr>
</p:notes>
</file>

<file path=ppt/notesSlides/notesSlide2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r>
              <a:rPr lang="en-US" dirty="0" err="1" smtClean="0">
                <a:solidFill>
                  <a:prstClr val="black"/>
                </a:solidFill>
              </a:rPr>
              <a:t>TechReady</a:t>
            </a:r>
            <a:r>
              <a:rPr lang="en-US" dirty="0" smtClean="0">
                <a:solidFill>
                  <a:prstClr val="black"/>
                </a:solidFill>
              </a:rPr>
              <a:t> 14</a:t>
            </a:r>
            <a:endParaRPr lang="en-US" dirty="0">
              <a:solidFill>
                <a:prstClr val="black"/>
              </a:solidFill>
            </a:endParaRPr>
          </a:p>
        </p:txBody>
      </p:sp>
      <p:sp>
        <p:nvSpPr>
          <p:cNvPr id="5" name="Date Placeholder 4"/>
          <p:cNvSpPr>
            <a:spLocks noGrp="1"/>
          </p:cNvSpPr>
          <p:nvPr>
            <p:ph type="dt" idx="11"/>
          </p:nvPr>
        </p:nvSpPr>
        <p:spPr/>
        <p:txBody>
          <a:bodyPr/>
          <a:lstStyle/>
          <a:p>
            <a:fld id="{81331B57-0BE5-4F82-AA58-76F53EFF3ADA}" type="datetime8">
              <a:rPr lang="en-US" smtClean="0">
                <a:solidFill>
                  <a:prstClr val="black"/>
                </a:solidFill>
              </a:rPr>
              <a:pPr/>
              <a:t>9/20/2012 12:38 AM</a:t>
            </a:fld>
            <a:endParaRPr lang="en-US">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377</a:t>
            </a:fld>
            <a:endParaRPr lang="en-US" dirty="0">
              <a:solidFill>
                <a:prstClr val="black"/>
              </a:solidFill>
            </a:endParaRPr>
          </a:p>
        </p:txBody>
      </p:sp>
      <p:sp>
        <p:nvSpPr>
          <p:cNvPr id="8" name="Footer Placeholder 3"/>
          <p:cNvSpPr>
            <a:spLocks noGrp="1"/>
          </p:cNvSpPr>
          <p:nvPr>
            <p:ph type="ftr" sz="quarter" idx="4"/>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pitchFamily="34" charset="0"/>
              </a:rPr>
              <a:t>© 2012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pitchFamily="34" charset="0"/>
              </a:rPr>
            </a:br>
            <a:r>
              <a:rPr lang="en-US" sz="500" dirty="0" smtClean="0">
                <a:solidFill>
                  <a:srgbClr val="000000"/>
                </a:solidFill>
                <a:latin typeface="Segoe" pitchFamily="34" charset="0"/>
              </a:rPr>
              <a:t>MICROSOFT MAKES NO WARRANTIES, EXPRESS, IMPLIED OR STATUTORY, AS TO THE INFORMATION IN THIS PRESENTATION.</a:t>
            </a:r>
          </a:p>
        </p:txBody>
      </p:sp>
    </p:spTree>
  </p:cSld>
  <p:clrMapOvr>
    <a:masterClrMapping/>
  </p:clrMapOvr>
</p:notes>
</file>

<file path=ppt/notesSlides/notesSlide2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defTabSz="914292">
              <a:defRPr/>
            </a:pPr>
            <a:endParaRPr lang="en-US" sz="1000" dirty="0"/>
          </a:p>
        </p:txBody>
      </p:sp>
      <p:sp>
        <p:nvSpPr>
          <p:cNvPr id="4" name="Slide Number Placeholder 3"/>
          <p:cNvSpPr>
            <a:spLocks noGrp="1"/>
          </p:cNvSpPr>
          <p:nvPr>
            <p:ph type="sldNum" sz="quarter" idx="10"/>
          </p:nvPr>
        </p:nvSpPr>
        <p:spPr/>
        <p:txBody>
          <a:bodyPr/>
          <a:lstStyle/>
          <a:p>
            <a:fld id="{67741927-6463-459E-A476-6AA29362DB91}" type="slidenum">
              <a:rPr lang="en-US" smtClean="0">
                <a:solidFill>
                  <a:prstClr val="black"/>
                </a:solidFill>
              </a:rPr>
              <a:pPr/>
              <a:t>378</a:t>
            </a:fld>
            <a:endParaRPr lang="en-US">
              <a:solidFill>
                <a:prstClr val="black"/>
              </a:solidFill>
            </a:endParaRPr>
          </a:p>
        </p:txBody>
      </p:sp>
    </p:spTree>
    <p:extLst>
      <p:ext uri="{BB962C8B-B14F-4D97-AF65-F5344CB8AC3E}">
        <p14:creationId xmlns:p14="http://schemas.microsoft.com/office/powerpoint/2010/main" val="1231270765"/>
      </p:ext>
    </p:extLst>
  </p:cSld>
  <p:clrMapOvr>
    <a:masterClrMapping/>
  </p:clrMapOvr>
</p:notes>
</file>

<file path=ppt/notesSlides/notesSlide2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9/20/2012 12:38 AM</a:t>
            </a:fld>
            <a:endParaRPr lang="en-US"/>
          </a:p>
        </p:txBody>
      </p:sp>
      <p:sp>
        <p:nvSpPr>
          <p:cNvPr id="7" name="Slide Number Placeholder 6"/>
          <p:cNvSpPr>
            <a:spLocks noGrp="1"/>
          </p:cNvSpPr>
          <p:nvPr>
            <p:ph type="sldNum" sz="quarter" idx="13"/>
          </p:nvPr>
        </p:nvSpPr>
        <p:spPr/>
        <p:txBody>
          <a:bodyPr/>
          <a:lstStyle/>
          <a:p>
            <a:fld id="{EC87E0CF-87F6-4B58-B8B8-DCAB2DAAF3CA}" type="slidenum">
              <a:rPr lang="en-US" smtClean="0"/>
              <a:pPr/>
              <a:t>382</a:t>
            </a:fld>
            <a:endParaRPr lang="en-US" dirty="0"/>
          </a:p>
        </p:txBody>
      </p:sp>
      <p:sp>
        <p:nvSpPr>
          <p:cNvPr id="8" name="Footer Placeholder 3"/>
          <p:cNvSpPr>
            <a:spLocks noGrp="1"/>
          </p:cNvSpPr>
          <p:nvPr>
            <p:ph type="ftr" sz="quarter" idx="4"/>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Tree>
    <p:extLst>
      <p:ext uri="{BB962C8B-B14F-4D97-AF65-F5344CB8AC3E}">
        <p14:creationId xmlns:p14="http://schemas.microsoft.com/office/powerpoint/2010/main" val="73274958"/>
      </p:ext>
    </p:extLst>
  </p:cSld>
  <p:clrMapOvr>
    <a:masterClrMapping/>
  </p:clrMapOvr>
</p:notes>
</file>

<file path=ppt/notesSlides/notesSlide2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83</a:t>
            </a:fld>
            <a:endParaRPr lang="en-US" dirty="0"/>
          </a:p>
        </p:txBody>
      </p:sp>
    </p:spTree>
    <p:extLst>
      <p:ext uri="{BB962C8B-B14F-4D97-AF65-F5344CB8AC3E}">
        <p14:creationId xmlns:p14="http://schemas.microsoft.com/office/powerpoint/2010/main" val="1474372427"/>
      </p:ext>
    </p:extLst>
  </p:cSld>
  <p:clrMapOvr>
    <a:masterClrMapping/>
  </p:clrMapOvr>
</p:notes>
</file>

<file path=ppt/notesSlides/notesSlide2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84</a:t>
            </a:fld>
            <a:endParaRPr lang="en-US" dirty="0"/>
          </a:p>
        </p:txBody>
      </p:sp>
    </p:spTree>
    <p:extLst>
      <p:ext uri="{BB962C8B-B14F-4D97-AF65-F5344CB8AC3E}">
        <p14:creationId xmlns:p14="http://schemas.microsoft.com/office/powerpoint/2010/main" val="163606989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0</a:t>
            </a:fld>
            <a:endParaRPr lang="en-US" dirty="0"/>
          </a:p>
        </p:txBody>
      </p:sp>
    </p:spTree>
  </p:cSld>
  <p:clrMapOvr>
    <a:masterClrMapping/>
  </p:clrMapOvr>
</p:notes>
</file>

<file path=ppt/notesSlides/notesSlide2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5F1113C-4562-491F-9C66-EB585D508009}" type="slidenum">
              <a:rPr lang="en-US" smtClean="0">
                <a:solidFill>
                  <a:prstClr val="black"/>
                </a:solidFill>
              </a:rPr>
              <a:pPr/>
              <a:t>385</a:t>
            </a:fld>
            <a:endParaRPr lang="en-US">
              <a:solidFill>
                <a:prstClr val="black"/>
              </a:solidFill>
            </a:endParaRPr>
          </a:p>
        </p:txBody>
      </p:sp>
    </p:spTree>
    <p:extLst>
      <p:ext uri="{BB962C8B-B14F-4D97-AF65-F5344CB8AC3E}">
        <p14:creationId xmlns:p14="http://schemas.microsoft.com/office/powerpoint/2010/main" val="2671463052"/>
      </p:ext>
    </p:extLst>
  </p:cSld>
  <p:clrMapOvr>
    <a:masterClrMapping/>
  </p:clrMapOvr>
</p:notes>
</file>

<file path=ppt/notesSlides/notesSlide2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5F1113C-4562-491F-9C66-EB585D508009}" type="slidenum">
              <a:rPr lang="en-US" smtClean="0">
                <a:solidFill>
                  <a:prstClr val="black"/>
                </a:solidFill>
              </a:rPr>
              <a:pPr/>
              <a:t>386</a:t>
            </a:fld>
            <a:endParaRPr lang="en-US">
              <a:solidFill>
                <a:prstClr val="black"/>
              </a:solidFill>
            </a:endParaRPr>
          </a:p>
        </p:txBody>
      </p:sp>
    </p:spTree>
    <p:extLst>
      <p:ext uri="{BB962C8B-B14F-4D97-AF65-F5344CB8AC3E}">
        <p14:creationId xmlns:p14="http://schemas.microsoft.com/office/powerpoint/2010/main" val="2671463052"/>
      </p:ext>
    </p:extLst>
  </p:cSld>
  <p:clrMapOvr>
    <a:masterClrMapping/>
  </p:clrMapOvr>
</p:notes>
</file>

<file path=ppt/notesSlides/notesSlide2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87</a:t>
            </a:fld>
            <a:endParaRPr lang="en-US" dirty="0"/>
          </a:p>
        </p:txBody>
      </p:sp>
    </p:spTree>
    <p:extLst>
      <p:ext uri="{BB962C8B-B14F-4D97-AF65-F5344CB8AC3E}">
        <p14:creationId xmlns:p14="http://schemas.microsoft.com/office/powerpoint/2010/main" val="278356617"/>
      </p:ext>
    </p:extLst>
  </p:cSld>
  <p:clrMapOvr>
    <a:masterClrMapping/>
  </p:clrMapOvr>
</p:notes>
</file>

<file path=ppt/notesSlides/notesSlide2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388</a:t>
            </a:fld>
            <a:endParaRPr lang="en-US" dirty="0"/>
          </a:p>
        </p:txBody>
      </p:sp>
    </p:spTree>
    <p:extLst>
      <p:ext uri="{BB962C8B-B14F-4D97-AF65-F5344CB8AC3E}">
        <p14:creationId xmlns:p14="http://schemas.microsoft.com/office/powerpoint/2010/main" val="2229685279"/>
      </p:ext>
    </p:extLst>
  </p:cSld>
  <p:clrMapOvr>
    <a:masterClrMapping/>
  </p:clrMapOvr>
</p:notes>
</file>

<file path=ppt/notesSlides/notesSlide2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7EA4ABD-046D-4B62-9F3A-DA4F74D4CE05}" type="slidenum">
              <a:rPr lang="en-US" smtClean="0"/>
              <a:pPr/>
              <a:t>389</a:t>
            </a:fld>
            <a:endParaRPr lang="en-US" dirty="0"/>
          </a:p>
        </p:txBody>
      </p:sp>
    </p:spTree>
    <p:extLst>
      <p:ext uri="{BB962C8B-B14F-4D97-AF65-F5344CB8AC3E}">
        <p14:creationId xmlns:p14="http://schemas.microsoft.com/office/powerpoint/2010/main" val="249728905"/>
      </p:ext>
    </p:extLst>
  </p:cSld>
  <p:clrMapOvr>
    <a:masterClrMapping/>
  </p:clrMapOvr>
</p:notes>
</file>

<file path=ppt/notesSlides/notesSlide2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390</a:t>
            </a:fld>
            <a:endParaRPr lang="en-US" dirty="0"/>
          </a:p>
        </p:txBody>
      </p:sp>
    </p:spTree>
    <p:extLst>
      <p:ext uri="{BB962C8B-B14F-4D97-AF65-F5344CB8AC3E}">
        <p14:creationId xmlns:p14="http://schemas.microsoft.com/office/powerpoint/2010/main" val="3223357407"/>
      </p:ext>
    </p:extLst>
  </p:cSld>
  <p:clrMapOvr>
    <a:masterClrMapping/>
  </p:clrMapOvr>
</p:notes>
</file>

<file path=ppt/notesSlides/notesSlide2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r>
              <a:rPr lang="en-US" dirty="0" err="1" smtClean="0">
                <a:solidFill>
                  <a:prstClr val="black"/>
                </a:solidFill>
              </a:rPr>
              <a:t>TechEd</a:t>
            </a:r>
            <a:r>
              <a:rPr lang="en-US" dirty="0" smtClean="0">
                <a:solidFill>
                  <a:prstClr val="black"/>
                </a:solidFill>
              </a:rPr>
              <a:t> 2012</a:t>
            </a:r>
            <a:endParaRPr lang="en-US" dirty="0">
              <a:solidFill>
                <a:prstClr val="black"/>
              </a:solidFill>
            </a:endParaRPr>
          </a:p>
        </p:txBody>
      </p:sp>
      <p:sp>
        <p:nvSpPr>
          <p:cNvPr id="5" name="Date Placeholder 4"/>
          <p:cNvSpPr>
            <a:spLocks noGrp="1"/>
          </p:cNvSpPr>
          <p:nvPr>
            <p:ph type="dt" idx="11"/>
          </p:nvPr>
        </p:nvSpPr>
        <p:spPr/>
        <p:txBody>
          <a:bodyPr/>
          <a:lstStyle/>
          <a:p>
            <a:fld id="{81331B57-0BE5-4F82-AA58-76F53EFF3ADA}" type="datetime8">
              <a:rPr lang="en-US" smtClean="0">
                <a:solidFill>
                  <a:prstClr val="black"/>
                </a:solidFill>
              </a:rPr>
              <a:pPr/>
              <a:t>9/20/2012 12:38 AM</a:t>
            </a:fld>
            <a:endParaRPr lang="en-US">
              <a:solidFill>
                <a:prstClr val="black"/>
              </a:solidFill>
            </a:endParaRPr>
          </a:p>
        </p:txBody>
      </p:sp>
      <p:sp>
        <p:nvSpPr>
          <p:cNvPr id="6" name="Footer Placeholder 5"/>
          <p:cNvSpPr>
            <a:spLocks noGrp="1"/>
          </p:cNvSpPr>
          <p:nvPr>
            <p:ph type="ftr" sz="quarter" idx="12"/>
          </p:nvPr>
        </p:nvSpPr>
        <p:spPr/>
        <p:txBody>
          <a:bodyPr/>
          <a:lstStyle/>
          <a:p>
            <a:r>
              <a:rPr lang="en-US" dirty="0" smtClean="0">
                <a:solidFill>
                  <a:prstClr val="black"/>
                </a:solidFill>
                <a:latin typeface="Segoe UI" pitchFamily="34" charset="0"/>
              </a:rPr>
              <a:t>© 2012 Microsoft Corporation. All rights reserved. Microsoft, Windows, Windows Vista and other product names are or may be registered trademarks and/or trademarks in the U.S. and/or other countries.</a:t>
            </a:r>
          </a:p>
          <a:p>
            <a:r>
              <a:rPr lang="en-US" dirty="0" smtClean="0">
                <a:solidFill>
                  <a:prstClr val="black"/>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prstClr val="black"/>
                </a:solidFill>
                <a:latin typeface="Segoe UI" pitchFamily="34" charset="0"/>
              </a:rPr>
            </a:br>
            <a:r>
              <a:rPr lang="en-US" dirty="0" smtClean="0">
                <a:solidFill>
                  <a:prstClr val="black"/>
                </a:solidFill>
                <a:latin typeface="Segoe UI" pitchFamily="34" charset="0"/>
              </a:rPr>
              <a:t>MICROSOFT MAKES NO WARRANTIES, EXPRESS, IMPLIED OR STATUTORY, AS TO THE INFORMATION IN THIS PRESENTATION.</a:t>
            </a:r>
          </a:p>
          <a:p>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397</a:t>
            </a:fld>
            <a:endParaRPr lang="en-US" dirty="0">
              <a:solidFill>
                <a:prstClr val="black"/>
              </a:solidFill>
            </a:endParaRPr>
          </a:p>
        </p:txBody>
      </p:sp>
    </p:spTree>
  </p:cSld>
  <p:clrMapOvr>
    <a:masterClrMapping/>
  </p:clrMapOvr>
</p:notes>
</file>

<file path=ppt/notesSlides/notesSlide2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99</a:t>
            </a:fld>
            <a:endParaRPr lang="en-US" dirty="0"/>
          </a:p>
        </p:txBody>
      </p:sp>
    </p:spTree>
    <p:extLst>
      <p:ext uri="{BB962C8B-B14F-4D97-AF65-F5344CB8AC3E}">
        <p14:creationId xmlns:p14="http://schemas.microsoft.com/office/powerpoint/2010/main" val="2007520575"/>
      </p:ext>
    </p:extLst>
  </p:cSld>
  <p:clrMapOvr>
    <a:masterClrMapping/>
  </p:clrMapOvr>
</p:notes>
</file>

<file path=ppt/notesSlides/notesSlide2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C70BA7-54A9-4C9D-A4D9-4CF62DB81B3C}" type="slidenum">
              <a:rPr lang="en-US" smtClean="0"/>
              <a:pPr/>
              <a:t>400</a:t>
            </a:fld>
            <a:endParaRPr lang="en-US"/>
          </a:p>
        </p:txBody>
      </p:sp>
    </p:spTree>
    <p:extLst>
      <p:ext uri="{BB962C8B-B14F-4D97-AF65-F5344CB8AC3E}">
        <p14:creationId xmlns:p14="http://schemas.microsoft.com/office/powerpoint/2010/main" val="4129723483"/>
      </p:ext>
    </p:extLst>
  </p:cSld>
  <p:clrMapOvr>
    <a:masterClrMapping/>
  </p:clrMapOvr>
</p:notes>
</file>

<file path=ppt/notesSlides/notesSlide2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C70BA7-54A9-4C9D-A4D9-4CF62DB81B3C}" type="slidenum">
              <a:rPr lang="en-US" smtClean="0"/>
              <a:pPr/>
              <a:t>401</a:t>
            </a:fld>
            <a:endParaRPr lang="en-US"/>
          </a:p>
        </p:txBody>
      </p:sp>
    </p:spTree>
    <p:extLst>
      <p:ext uri="{BB962C8B-B14F-4D97-AF65-F5344CB8AC3E}">
        <p14:creationId xmlns:p14="http://schemas.microsoft.com/office/powerpoint/2010/main" val="412972348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1786449137"/>
      </p:ext>
    </p:extLst>
  </p:cSld>
  <p:clrMapOvr>
    <a:masterClrMapping/>
  </p:clrMapOvr>
</p:notes>
</file>

<file path=ppt/notesSlides/notesSlide2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405</a:t>
            </a:fld>
            <a:endParaRPr lang="en-US" dirty="0"/>
          </a:p>
        </p:txBody>
      </p:sp>
    </p:spTree>
    <p:extLst>
      <p:ext uri="{BB962C8B-B14F-4D97-AF65-F5344CB8AC3E}">
        <p14:creationId xmlns:p14="http://schemas.microsoft.com/office/powerpoint/2010/main" val="1771751072"/>
      </p:ext>
    </p:extLst>
  </p:cSld>
  <p:clrMapOvr>
    <a:masterClrMapping/>
  </p:clrMapOvr>
</p:notes>
</file>

<file path=ppt/notesSlides/notesSlide2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08</a:t>
            </a:fld>
            <a:endParaRPr lang="en-US" dirty="0">
              <a:solidFill>
                <a:prstClr val="black"/>
              </a:solidFill>
            </a:endParaRPr>
          </a:p>
        </p:txBody>
      </p:sp>
    </p:spTree>
    <p:extLst>
      <p:ext uri="{BB962C8B-B14F-4D97-AF65-F5344CB8AC3E}">
        <p14:creationId xmlns:p14="http://schemas.microsoft.com/office/powerpoint/2010/main" val="2296685713"/>
      </p:ext>
    </p:extLst>
  </p:cSld>
  <p:clrMapOvr>
    <a:masterClrMapping/>
  </p:clrMapOvr>
</p:notes>
</file>

<file path=ppt/notesSlides/notesSlide2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9/20/2012 12:38 A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414</a:t>
            </a:fld>
            <a:endParaRPr lang="en-US" dirty="0"/>
          </a:p>
        </p:txBody>
      </p:sp>
    </p:spTree>
  </p:cSld>
  <p:clrMapOvr>
    <a:masterClrMapping/>
  </p:clrMapOvr>
</p:notes>
</file>

<file path=ppt/notesSlides/notesSlide2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3" name="Slide Image Placeholder 1"/>
          <p:cNvSpPr>
            <a:spLocks noGrp="1" noRot="1" noChangeAspect="1"/>
          </p:cNvSpPr>
          <p:nvPr>
            <p:ph type="sldImg"/>
          </p:nvPr>
        </p:nvSpPr>
        <p:spPr bwMode="auto">
          <a:xfrm>
            <a:off x="381000" y="685800"/>
            <a:ext cx="6096000" cy="3429000"/>
          </a:xfrm>
          <a:noFill/>
          <a:ln>
            <a:solidFill>
              <a:srgbClr val="000000"/>
            </a:solidFill>
            <a:miter lim="800000"/>
            <a:headEnd/>
            <a:tailEnd/>
          </a:ln>
        </p:spPr>
      </p:sp>
      <p:sp>
        <p:nvSpPr>
          <p:cNvPr id="110595" name="Header Placeholder 3"/>
          <p:cNvSpPr>
            <a:spLocks noGrp="1"/>
          </p:cNvSpPr>
          <p:nvPr>
            <p:ph type="hdr" sz="quarter"/>
          </p:nvPr>
        </p:nvSpPr>
        <p:spPr bwMode="auto">
          <a:noFill/>
          <a:ln>
            <a:miter lim="800000"/>
            <a:headEnd/>
            <a:tailEnd/>
          </a:ln>
        </p:spPr>
        <p:txBody>
          <a:bodyPr wrap="square" numCol="1" anchor="t" anchorCtr="0" compatLnSpc="1">
            <a:prstTxWarp prst="textNoShape">
              <a:avLst/>
            </a:prstTxWarp>
          </a:bodyPr>
          <a:lstStyle/>
          <a:p>
            <a:pPr fontAlgn="base">
              <a:spcBef>
                <a:spcPct val="0"/>
              </a:spcBef>
              <a:spcAft>
                <a:spcPct val="0"/>
              </a:spcAft>
            </a:pPr>
            <a:endParaRPr lang="de-DE" smtClean="0"/>
          </a:p>
        </p:txBody>
      </p:sp>
      <p:sp>
        <p:nvSpPr>
          <p:cNvPr id="110596" name="Date Placeholder 4"/>
          <p:cNvSpPr>
            <a:spLocks noGrp="1"/>
          </p:cNvSpPr>
          <p:nvPr>
            <p:ph type="dt" sz="quarter" idx="1"/>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3EBF7C51-59B5-4C3D-9527-46DC06E5DEE9}" type="datetime3">
              <a:rPr lang="en-US" smtClean="0"/>
              <a:pPr fontAlgn="base">
                <a:spcBef>
                  <a:spcPct val="0"/>
                </a:spcBef>
                <a:spcAft>
                  <a:spcPct val="0"/>
                </a:spcAft>
              </a:pPr>
              <a:t>20 September 2012</a:t>
            </a:fld>
            <a:endParaRPr dirty="0" smtClean="0"/>
          </a:p>
        </p:txBody>
      </p:sp>
      <p:sp>
        <p:nvSpPr>
          <p:cNvPr id="110597" name="Footer Placeholder 5"/>
          <p:cNvSpPr>
            <a:spLocks noGrp="1"/>
          </p:cNvSpPr>
          <p:nvPr>
            <p:ph type="ftr" sz="quarter" idx="4"/>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dirty="0" smtClean="0"/>
              <a:t>HP Confidential</a:t>
            </a:r>
          </a:p>
        </p:txBody>
      </p:sp>
      <p:sp>
        <p:nvSpPr>
          <p:cNvPr id="110598" name="Slide Number Placeholder 6"/>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BC522B0F-E967-4D43-A52D-3FD0B78B6D03}" type="slidenum">
              <a:rPr smtClean="0"/>
              <a:pPr fontAlgn="base">
                <a:spcBef>
                  <a:spcPct val="0"/>
                </a:spcBef>
                <a:spcAft>
                  <a:spcPct val="0"/>
                </a:spcAft>
              </a:pPr>
              <a:t>415</a:t>
            </a:fld>
            <a:endParaRPr dirty="0" smtClean="0"/>
          </a:p>
        </p:txBody>
      </p:sp>
      <p:sp>
        <p:nvSpPr>
          <p:cNvPr id="8" name="Notes Placeholder 7"/>
          <p:cNvSpPr>
            <a:spLocks noGrp="1"/>
          </p:cNvSpPr>
          <p:nvPr>
            <p:ph type="body" sz="quarter" idx="10"/>
          </p:nvPr>
        </p:nvSpPr>
        <p:spPr/>
        <p:txBody>
          <a:bodyPr>
            <a:normAutofit/>
          </a:bodyPr>
          <a:lstStyle/>
          <a:p>
            <a:endParaRPr lang="en-US" dirty="0"/>
          </a:p>
        </p:txBody>
      </p:sp>
    </p:spTree>
  </p:cSld>
  <p:clrMapOvr>
    <a:masterClrMapping/>
  </p:clrMapOvr>
</p:notes>
</file>

<file path=ppt/notesSlides/notesSlide2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pPr algn="l" rtl="0"/>
            <a:endParaRPr lang="en-US" dirty="0">
              <a:solidFill>
                <a:prstClr val="black"/>
              </a:solidFill>
              <a:latin typeface="Calibri"/>
            </a:endParaRPr>
          </a:p>
        </p:txBody>
      </p:sp>
      <p:sp>
        <p:nvSpPr>
          <p:cNvPr id="5" name="Date Placeholder 4"/>
          <p:cNvSpPr>
            <a:spLocks noGrp="1"/>
          </p:cNvSpPr>
          <p:nvPr>
            <p:ph type="dt" idx="11"/>
          </p:nvPr>
        </p:nvSpPr>
        <p:spPr/>
        <p:txBody>
          <a:bodyPr/>
          <a:lstStyle/>
          <a:p>
            <a:pPr algn="r" rtl="0"/>
            <a:fld id="{E831FD69-BB7F-48A9-AD3C-0905D51AD404}" type="datetime3">
              <a:rPr lang="en-US">
                <a:solidFill>
                  <a:prstClr val="black"/>
                </a:solidFill>
                <a:latin typeface="Calibri"/>
              </a:rPr>
              <a:pPr algn="r" rtl="0"/>
              <a:t>20 September 2012</a:t>
            </a:fld>
            <a:endParaRPr lang="en-US" dirty="0">
              <a:solidFill>
                <a:prstClr val="black"/>
              </a:solidFill>
              <a:latin typeface="Calibri"/>
            </a:endParaRPr>
          </a:p>
        </p:txBody>
      </p:sp>
      <p:sp>
        <p:nvSpPr>
          <p:cNvPr id="6" name="Footer Placeholder 5"/>
          <p:cNvSpPr>
            <a:spLocks noGrp="1"/>
          </p:cNvSpPr>
          <p:nvPr>
            <p:ph type="ftr" sz="quarter" idx="12"/>
          </p:nvPr>
        </p:nvSpPr>
        <p:spPr/>
        <p:txBody>
          <a:bodyPr/>
          <a:lstStyle/>
          <a:p>
            <a:pPr algn="l" rtl="0"/>
            <a:r>
              <a:rPr lang="en-US" dirty="0">
                <a:solidFill>
                  <a:prstClr val="black"/>
                </a:solidFill>
                <a:latin typeface="Calibri"/>
              </a:rPr>
              <a:t>HP Confidential</a:t>
            </a:r>
          </a:p>
        </p:txBody>
      </p:sp>
      <p:sp>
        <p:nvSpPr>
          <p:cNvPr id="7" name="Slide Number Placeholder 6"/>
          <p:cNvSpPr>
            <a:spLocks noGrp="1"/>
          </p:cNvSpPr>
          <p:nvPr>
            <p:ph type="sldNum" sz="quarter" idx="13"/>
          </p:nvPr>
        </p:nvSpPr>
        <p:spPr/>
        <p:txBody>
          <a:bodyPr/>
          <a:lstStyle/>
          <a:p>
            <a:pPr algn="r" rtl="0"/>
            <a:fld id="{84B04522-5E79-4620-978F-683F5015A639}" type="slidenum">
              <a:rPr lang="en-US">
                <a:solidFill>
                  <a:prstClr val="black"/>
                </a:solidFill>
                <a:latin typeface="Calibri"/>
              </a:rPr>
              <a:pPr algn="r" rtl="0"/>
              <a:t>416</a:t>
            </a:fld>
            <a:endParaRPr lang="en-US" dirty="0">
              <a:solidFill>
                <a:prstClr val="black"/>
              </a:solidFill>
              <a:latin typeface="Calibri"/>
            </a:endParaRPr>
          </a:p>
        </p:txBody>
      </p:sp>
    </p:spTree>
  </p:cSld>
  <p:clrMapOvr>
    <a:masterClrMapping/>
  </p:clrMapOvr>
</p:notes>
</file>

<file path=ppt/notesSlides/notesSlide2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E831FD69-BB7F-48A9-AD3C-0905D51AD404}" type="datetime3">
              <a:rPr lang="en-US" smtClean="0"/>
              <a:pPr/>
              <a:t>20 September 2012</a:t>
            </a:fld>
            <a:endParaRPr lang="en-US" dirty="0"/>
          </a:p>
        </p:txBody>
      </p:sp>
      <p:sp>
        <p:nvSpPr>
          <p:cNvPr id="6" name="Footer Placeholder 5"/>
          <p:cNvSpPr>
            <a:spLocks noGrp="1"/>
          </p:cNvSpPr>
          <p:nvPr>
            <p:ph type="ftr" sz="quarter" idx="12"/>
          </p:nvPr>
        </p:nvSpPr>
        <p:spPr/>
        <p:txBody>
          <a:bodyPr/>
          <a:lstStyle/>
          <a:p>
            <a:r>
              <a:rPr lang="en-US" dirty="0" smtClean="0"/>
              <a:t>HP Confidential</a:t>
            </a:r>
            <a:endParaRPr lang="en-US" dirty="0"/>
          </a:p>
        </p:txBody>
      </p:sp>
      <p:sp>
        <p:nvSpPr>
          <p:cNvPr id="7" name="Slide Number Placeholder 6"/>
          <p:cNvSpPr>
            <a:spLocks noGrp="1"/>
          </p:cNvSpPr>
          <p:nvPr>
            <p:ph type="sldNum" sz="quarter" idx="13"/>
          </p:nvPr>
        </p:nvSpPr>
        <p:spPr/>
        <p:txBody>
          <a:bodyPr/>
          <a:lstStyle/>
          <a:p>
            <a:fld id="{84B04522-5E79-4620-978F-683F5015A639}" type="slidenum">
              <a:rPr lang="en-US" smtClean="0"/>
              <a:pPr/>
              <a:t>417</a:t>
            </a:fld>
            <a:endParaRPr lang="en-US" dirty="0"/>
          </a:p>
        </p:txBody>
      </p:sp>
    </p:spTree>
  </p:cSld>
  <p:clrMapOvr>
    <a:masterClrMapping/>
  </p:clrMapOvr>
</p:notes>
</file>

<file path=ppt/notesSlides/notesSlide2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lIns="91415" tIns="45708" rIns="91415" bIns="45708"/>
          <a:lstStyle/>
          <a:p>
            <a:endParaRPr lang="en-US" dirty="0">
              <a:solidFill>
                <a:prstClr val="black"/>
              </a:solidFill>
            </a:endParaRPr>
          </a:p>
        </p:txBody>
      </p:sp>
      <p:sp>
        <p:nvSpPr>
          <p:cNvPr id="5" name="Date Placeholder 4"/>
          <p:cNvSpPr>
            <a:spLocks noGrp="1"/>
          </p:cNvSpPr>
          <p:nvPr>
            <p:ph type="dt" idx="11"/>
          </p:nvPr>
        </p:nvSpPr>
        <p:spPr>
          <a:xfrm>
            <a:off x="3884614" y="0"/>
            <a:ext cx="2971800" cy="457200"/>
          </a:xfrm>
          <a:prstGeom prst="rect">
            <a:avLst/>
          </a:prstGeom>
        </p:spPr>
        <p:txBody>
          <a:bodyPr lIns="91415" tIns="45708" rIns="91415" bIns="45708"/>
          <a:lstStyle/>
          <a:p>
            <a:fld id="{E831FD69-BB7F-48A9-AD3C-0905D51AD404}" type="datetime3">
              <a:rPr lang="en-US" smtClean="0">
                <a:solidFill>
                  <a:prstClr val="black"/>
                </a:solidFill>
              </a:rPr>
              <a:pPr/>
              <a:t>20 September 2012</a:t>
            </a:fld>
            <a:endParaRPr lang="en-US" dirty="0">
              <a:solidFill>
                <a:prstClr val="black"/>
              </a:solidFill>
            </a:endParaRPr>
          </a:p>
        </p:txBody>
      </p:sp>
      <p:sp>
        <p:nvSpPr>
          <p:cNvPr id="6" name="Footer Placeholder 5"/>
          <p:cNvSpPr>
            <a:spLocks noGrp="1"/>
          </p:cNvSpPr>
          <p:nvPr>
            <p:ph type="ftr" sz="quarter" idx="12"/>
          </p:nvPr>
        </p:nvSpPr>
        <p:spPr>
          <a:xfrm>
            <a:off x="0" y="8685213"/>
            <a:ext cx="2971800" cy="457200"/>
          </a:xfrm>
          <a:prstGeom prst="rect">
            <a:avLst/>
          </a:prstGeom>
        </p:spPr>
        <p:txBody>
          <a:bodyPr lIns="91415" tIns="45708" rIns="91415" bIns="45708"/>
          <a:lstStyle/>
          <a:p>
            <a:r>
              <a:rPr lang="en-US" dirty="0" smtClean="0">
                <a:solidFill>
                  <a:prstClr val="black"/>
                </a:solidFill>
              </a:rPr>
              <a:t>HP Confidential</a:t>
            </a:r>
            <a:endParaRPr lang="en-US" dirty="0">
              <a:solidFill>
                <a:prstClr val="black"/>
              </a:solidFill>
            </a:endParaRPr>
          </a:p>
        </p:txBody>
      </p:sp>
      <p:sp>
        <p:nvSpPr>
          <p:cNvPr id="7" name="Slide Number Placeholder 6"/>
          <p:cNvSpPr>
            <a:spLocks noGrp="1"/>
          </p:cNvSpPr>
          <p:nvPr>
            <p:ph type="sldNum" sz="quarter" idx="13"/>
          </p:nvPr>
        </p:nvSpPr>
        <p:spPr/>
        <p:txBody>
          <a:bodyPr/>
          <a:lstStyle/>
          <a:p>
            <a:fld id="{84B04522-5E79-4620-978F-683F5015A639}" type="slidenum">
              <a:rPr lang="en-US" smtClean="0">
                <a:solidFill>
                  <a:prstClr val="black"/>
                </a:solidFill>
              </a:rPr>
              <a:pPr/>
              <a:t>418</a:t>
            </a:fld>
            <a:endParaRPr lang="en-US" dirty="0">
              <a:solidFill>
                <a:prstClr val="black"/>
              </a:solidFill>
            </a:endParaRPr>
          </a:p>
        </p:txBody>
      </p:sp>
    </p:spTree>
  </p:cSld>
  <p:clrMapOvr>
    <a:masterClrMapping/>
  </p:clrMapOvr>
</p:notes>
</file>

<file path=ppt/notesSlides/notesSlide2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spcAft>
                <a:spcPts val="0"/>
              </a:spcAft>
            </a:pPr>
            <a:endParaRPr lang="en-US" dirty="0"/>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rPr>
              <a:pPr/>
              <a:t>419</a:t>
            </a:fld>
            <a:endParaRPr lang="en-US" dirty="0">
              <a:solidFill>
                <a:prstClr val="black"/>
              </a:solidFill>
            </a:endParaRPr>
          </a:p>
        </p:txBody>
      </p:sp>
    </p:spTree>
    <p:extLst>
      <p:ext uri="{BB962C8B-B14F-4D97-AF65-F5344CB8AC3E}">
        <p14:creationId xmlns:p14="http://schemas.microsoft.com/office/powerpoint/2010/main" val="3412517415"/>
      </p:ext>
    </p:extLst>
  </p:cSld>
  <p:clrMapOvr>
    <a:masterClrMapping/>
  </p:clrMapOvr>
</p:notes>
</file>

<file path=ppt/notesSlides/notesSlide2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29</a:t>
            </a:fld>
            <a:endParaRPr lang="en-US" dirty="0"/>
          </a:p>
        </p:txBody>
      </p:sp>
    </p:spTree>
    <p:extLst>
      <p:ext uri="{BB962C8B-B14F-4D97-AF65-F5344CB8AC3E}">
        <p14:creationId xmlns:p14="http://schemas.microsoft.com/office/powerpoint/2010/main" val="2433065107"/>
      </p:ext>
    </p:extLst>
  </p:cSld>
  <p:clrMapOvr>
    <a:masterClrMapping/>
  </p:clrMapOvr>
</p:notes>
</file>

<file path=ppt/notesSlides/notesSlide2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30</a:t>
            </a:fld>
            <a:endParaRPr lang="en-US" dirty="0"/>
          </a:p>
        </p:txBody>
      </p:sp>
    </p:spTree>
    <p:extLst>
      <p:ext uri="{BB962C8B-B14F-4D97-AF65-F5344CB8AC3E}">
        <p14:creationId xmlns:p14="http://schemas.microsoft.com/office/powerpoint/2010/main" val="256623360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E0D2DB3-2A95-4F7F-A368-5F49938ED724}"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3461130001"/>
      </p:ext>
    </p:extLst>
  </p:cSld>
  <p:clrMapOvr>
    <a:masterClrMapping/>
  </p:clrMapOvr>
</p:notes>
</file>

<file path=ppt/notesSlides/notesSlide2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31</a:t>
            </a:fld>
            <a:endParaRPr lang="en-US" dirty="0"/>
          </a:p>
        </p:txBody>
      </p:sp>
    </p:spTree>
    <p:extLst>
      <p:ext uri="{BB962C8B-B14F-4D97-AF65-F5344CB8AC3E}">
        <p14:creationId xmlns:p14="http://schemas.microsoft.com/office/powerpoint/2010/main" val="2601117974"/>
      </p:ext>
    </p:extLst>
  </p:cSld>
  <p:clrMapOvr>
    <a:masterClrMapping/>
  </p:clrMapOvr>
</p:notes>
</file>

<file path=ppt/notesSlides/notesSlide2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32</a:t>
            </a:fld>
            <a:endParaRPr lang="en-US" dirty="0"/>
          </a:p>
        </p:txBody>
      </p:sp>
    </p:spTree>
    <p:extLst>
      <p:ext uri="{BB962C8B-B14F-4D97-AF65-F5344CB8AC3E}">
        <p14:creationId xmlns:p14="http://schemas.microsoft.com/office/powerpoint/2010/main" val="614590910"/>
      </p:ext>
    </p:extLst>
  </p:cSld>
  <p:clrMapOvr>
    <a:masterClrMapping/>
  </p:clrMapOvr>
</p:notes>
</file>

<file path=ppt/notesSlides/notesSlide2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33</a:t>
            </a:fld>
            <a:endParaRPr lang="en-US" dirty="0"/>
          </a:p>
        </p:txBody>
      </p:sp>
    </p:spTree>
    <p:extLst>
      <p:ext uri="{BB962C8B-B14F-4D97-AF65-F5344CB8AC3E}">
        <p14:creationId xmlns:p14="http://schemas.microsoft.com/office/powerpoint/2010/main" val="1899617450"/>
      </p:ext>
    </p:extLst>
  </p:cSld>
  <p:clrMapOvr>
    <a:masterClrMapping/>
  </p:clrMapOvr>
</p:notes>
</file>

<file path=ppt/notesSlides/notesSlide2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35</a:t>
            </a:fld>
            <a:endParaRPr lang="en-US" dirty="0"/>
          </a:p>
        </p:txBody>
      </p:sp>
    </p:spTree>
    <p:extLst>
      <p:ext uri="{BB962C8B-B14F-4D97-AF65-F5344CB8AC3E}">
        <p14:creationId xmlns:p14="http://schemas.microsoft.com/office/powerpoint/2010/main" val="779499654"/>
      </p:ext>
    </p:extLst>
  </p:cSld>
  <p:clrMapOvr>
    <a:masterClrMapping/>
  </p:clrMapOvr>
</p:notes>
</file>

<file path=ppt/notesSlides/notesSlide2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099"/>
            <a:endParaRPr lang="en-US" dirty="0"/>
          </a:p>
        </p:txBody>
      </p:sp>
      <p:sp>
        <p:nvSpPr>
          <p:cNvPr id="4" name="Slide Number Placeholder 3"/>
          <p:cNvSpPr>
            <a:spLocks noGrp="1"/>
          </p:cNvSpPr>
          <p:nvPr>
            <p:ph type="sldNum" sz="quarter" idx="10"/>
          </p:nvPr>
        </p:nvSpPr>
        <p:spPr/>
        <p:txBody>
          <a:bodyPr/>
          <a:lstStyle/>
          <a:p>
            <a:fld id="{D8DD3ECE-9656-4D09-B0F5-9BCEC48590A3}" type="slidenum">
              <a:rPr lang="en-US" smtClean="0">
                <a:solidFill>
                  <a:prstClr val="black"/>
                </a:solidFill>
              </a:rPr>
              <a:pPr/>
              <a:t>437</a:t>
            </a:fld>
            <a:endParaRPr lang="en-US" dirty="0">
              <a:solidFill>
                <a:prstClr val="black"/>
              </a:solidFill>
            </a:endParaRPr>
          </a:p>
        </p:txBody>
      </p:sp>
    </p:spTree>
    <p:extLst>
      <p:ext uri="{BB962C8B-B14F-4D97-AF65-F5344CB8AC3E}">
        <p14:creationId xmlns:p14="http://schemas.microsoft.com/office/powerpoint/2010/main" val="755246485"/>
      </p:ext>
    </p:extLst>
  </p:cSld>
  <p:clrMapOvr>
    <a:masterClrMapping/>
  </p:clrMapOvr>
</p:notes>
</file>

<file path=ppt/notesSlides/notesSlide2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39</a:t>
            </a:fld>
            <a:endParaRPr lang="en-US" dirty="0"/>
          </a:p>
        </p:txBody>
      </p:sp>
    </p:spTree>
    <p:extLst>
      <p:ext uri="{BB962C8B-B14F-4D97-AF65-F5344CB8AC3E}">
        <p14:creationId xmlns:p14="http://schemas.microsoft.com/office/powerpoint/2010/main" val="4186089059"/>
      </p:ext>
    </p:extLst>
  </p:cSld>
  <p:clrMapOvr>
    <a:masterClrMapping/>
  </p:clrMapOvr>
</p:notes>
</file>

<file path=ppt/notesSlides/notesSlide2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40</a:t>
            </a:fld>
            <a:endParaRPr lang="en-US" dirty="0"/>
          </a:p>
        </p:txBody>
      </p:sp>
    </p:spTree>
    <p:extLst>
      <p:ext uri="{BB962C8B-B14F-4D97-AF65-F5344CB8AC3E}">
        <p14:creationId xmlns:p14="http://schemas.microsoft.com/office/powerpoint/2010/main" val="4186089059"/>
      </p:ext>
    </p:extLst>
  </p:cSld>
  <p:clrMapOvr>
    <a:masterClrMapping/>
  </p:clrMapOvr>
</p:notes>
</file>

<file path=ppt/notesSlides/notesSlide2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41</a:t>
            </a:fld>
            <a:endParaRPr lang="en-US" dirty="0"/>
          </a:p>
        </p:txBody>
      </p:sp>
    </p:spTree>
    <p:extLst>
      <p:ext uri="{BB962C8B-B14F-4D97-AF65-F5344CB8AC3E}">
        <p14:creationId xmlns:p14="http://schemas.microsoft.com/office/powerpoint/2010/main" val="1235285581"/>
      </p:ext>
    </p:extLst>
  </p:cSld>
  <p:clrMapOvr>
    <a:masterClrMapping/>
  </p:clrMapOvr>
</p:notes>
</file>

<file path=ppt/notesSlides/notesSlide2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42</a:t>
            </a:fld>
            <a:endParaRPr lang="en-US" dirty="0"/>
          </a:p>
        </p:txBody>
      </p:sp>
    </p:spTree>
    <p:extLst>
      <p:ext uri="{BB962C8B-B14F-4D97-AF65-F5344CB8AC3E}">
        <p14:creationId xmlns:p14="http://schemas.microsoft.com/office/powerpoint/2010/main" val="2205707856"/>
      </p:ext>
    </p:extLst>
  </p:cSld>
  <p:clrMapOvr>
    <a:masterClrMapping/>
  </p:clrMapOvr>
</p:notes>
</file>

<file path=ppt/notesSlides/notesSlide2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444</a:t>
            </a:fld>
            <a:endParaRPr lang="en-US"/>
          </a:p>
        </p:txBody>
      </p:sp>
    </p:spTree>
    <p:extLst>
      <p:ext uri="{BB962C8B-B14F-4D97-AF65-F5344CB8AC3E}">
        <p14:creationId xmlns:p14="http://schemas.microsoft.com/office/powerpoint/2010/main" val="375815989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p:txBody>
          <a:bodyPr/>
          <a:lstStyle/>
          <a:p>
            <a:fld id="{08CDE2E5-8E7E-4730-8210-6504D0711F35}" type="datetime1">
              <a:rPr lang="en-US" smtClean="0">
                <a:solidFill>
                  <a:prstClr val="black"/>
                </a:solidFill>
              </a:rPr>
              <a:pPr/>
              <a:t>9/20/2012</a:t>
            </a:fld>
            <a:endParaRPr lang="en-US" dirty="0">
              <a:solidFill>
                <a:prstClr val="black"/>
              </a:solidFill>
            </a:endParaRPr>
          </a:p>
        </p:txBody>
      </p:sp>
      <p:sp>
        <p:nvSpPr>
          <p:cNvPr id="5" name="Slide Number Placeholder 4"/>
          <p:cNvSpPr>
            <a:spLocks noGrp="1"/>
          </p:cNvSpPr>
          <p:nvPr>
            <p:ph type="sldNum" sz="quarter" idx="11"/>
          </p:nvPr>
        </p:nvSpPr>
        <p:spPr/>
        <p:txBody>
          <a:bodyPr/>
          <a:lstStyle/>
          <a:p>
            <a:fld id="{8B263312-38AA-4E1E-B2B5-0F8F122B24FE}" type="slidenum">
              <a:rPr lang="en-US" smtClean="0">
                <a:solidFill>
                  <a:prstClr val="black"/>
                </a:solidFill>
              </a:rPr>
              <a:pPr/>
              <a:t>37</a:t>
            </a:fld>
            <a:endParaRPr lang="en-US" dirty="0">
              <a:solidFill>
                <a:prstClr val="black"/>
              </a:solidFill>
            </a:endParaRPr>
          </a:p>
        </p:txBody>
      </p:sp>
      <p:sp>
        <p:nvSpPr>
          <p:cNvPr id="6" name="Header Placeholder 5"/>
          <p:cNvSpPr>
            <a:spLocks noGrp="1"/>
          </p:cNvSpPr>
          <p:nvPr>
            <p:ph type="hdr" sz="quarter" idx="12"/>
          </p:nvPr>
        </p:nvSpPr>
        <p:spPr/>
        <p:txBody>
          <a:bodyPr/>
          <a:lstStyle/>
          <a:p>
            <a:endParaRPr lang="en-US" dirty="0">
              <a:solidFill>
                <a:prstClr val="black"/>
              </a:solidFill>
              <a:latin typeface="Segoe UI" pitchFamily="34" charset="0"/>
            </a:endParaRPr>
          </a:p>
        </p:txBody>
      </p:sp>
      <p:sp>
        <p:nvSpPr>
          <p:cNvPr id="7" name="Footer Placeholder 6"/>
          <p:cNvSpPr>
            <a:spLocks noGrp="1"/>
          </p:cNvSpPr>
          <p:nvPr>
            <p:ph type="ftr" sz="quarter" idx="13"/>
          </p:nvPr>
        </p:nvSpPr>
        <p:spPr/>
        <p:txBody>
          <a:bodyPr/>
          <a:lstStyle/>
          <a:p>
            <a:r>
              <a:rPr lang="en-US" dirty="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dirty="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a:solidFill>
                  <a:srgbClr val="000000"/>
                </a:solidFill>
                <a:latin typeface="Segoe UI" pitchFamily="34" charset="0"/>
              </a:rPr>
            </a:br>
            <a:r>
              <a:rPr lang="en-US" dirty="0">
                <a:solidFill>
                  <a:srgbClr val="000000"/>
                </a:solidFill>
                <a:latin typeface="Segoe UI" pitchFamily="34" charset="0"/>
              </a:rPr>
              <a:t>MICROSOFT MAKES NO WARRANTIES, EXPRESS, IMPLIED OR STATUTORY, AS TO THE INFORMATION IN THIS PRESENTATION.</a:t>
            </a:r>
          </a:p>
        </p:txBody>
      </p:sp>
    </p:spTree>
    <p:extLst>
      <p:ext uri="{BB962C8B-B14F-4D97-AF65-F5344CB8AC3E}">
        <p14:creationId xmlns:p14="http://schemas.microsoft.com/office/powerpoint/2010/main" val="1097665822"/>
      </p:ext>
    </p:extLst>
  </p:cSld>
  <p:clrMapOvr>
    <a:masterClrMapping/>
  </p:clrMapOvr>
</p:notes>
</file>

<file path=ppt/notesSlides/notesSlide2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45</a:t>
            </a:fld>
            <a:endParaRPr lang="en-US" dirty="0"/>
          </a:p>
        </p:txBody>
      </p:sp>
    </p:spTree>
    <p:extLst>
      <p:ext uri="{BB962C8B-B14F-4D97-AF65-F5344CB8AC3E}">
        <p14:creationId xmlns:p14="http://schemas.microsoft.com/office/powerpoint/2010/main" val="39932158"/>
      </p:ext>
    </p:extLst>
  </p:cSld>
  <p:clrMapOvr>
    <a:masterClrMapping/>
  </p:clrMapOvr>
</p:notes>
</file>

<file path=ppt/notesSlides/notesSlide2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47</a:t>
            </a:fld>
            <a:endParaRPr lang="en-US" dirty="0"/>
          </a:p>
        </p:txBody>
      </p:sp>
    </p:spTree>
    <p:extLst>
      <p:ext uri="{BB962C8B-B14F-4D97-AF65-F5344CB8AC3E}">
        <p14:creationId xmlns:p14="http://schemas.microsoft.com/office/powerpoint/2010/main" val="2522618765"/>
      </p:ext>
    </p:extLst>
  </p:cSld>
  <p:clrMapOvr>
    <a:masterClrMapping/>
  </p:clrMapOvr>
</p:notes>
</file>

<file path=ppt/notesSlides/notesSlide2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48</a:t>
            </a:fld>
            <a:endParaRPr lang="en-US" dirty="0"/>
          </a:p>
        </p:txBody>
      </p:sp>
    </p:spTree>
    <p:extLst>
      <p:ext uri="{BB962C8B-B14F-4D97-AF65-F5344CB8AC3E}">
        <p14:creationId xmlns:p14="http://schemas.microsoft.com/office/powerpoint/2010/main" val="4147868341"/>
      </p:ext>
    </p:extLst>
  </p:cSld>
  <p:clrMapOvr>
    <a:masterClrMapping/>
  </p:clrMapOvr>
</p:notes>
</file>

<file path=ppt/notesSlides/notesSlide2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50</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2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200" y="696913"/>
            <a:ext cx="6197600" cy="3486150"/>
          </a:xfrm>
        </p:spPr>
      </p:sp>
      <p:sp>
        <p:nvSpPr>
          <p:cNvPr id="3" name="Notes Placeholder 2"/>
          <p:cNvSpPr>
            <a:spLocks noGrp="1"/>
          </p:cNvSpPr>
          <p:nvPr>
            <p:ph type="body" idx="1"/>
          </p:nvPr>
        </p:nvSpPr>
        <p:spPr/>
        <p:txBody>
          <a:bodyPr>
            <a:normAutofit fontScale="92500" lnSpcReduction="20000"/>
          </a:bodyPr>
          <a:lstStyle/>
          <a:p>
            <a:pPr marL="212981" lvl="1" indent="0">
              <a:buFont typeface="Arial" pitchFamily="34" charset="0"/>
              <a:buNone/>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51</a:t>
            </a:fld>
            <a:endParaRPr lang="en-US" dirty="0">
              <a:solidFill>
                <a:prstClr val="black"/>
              </a:solidFill>
            </a:endParaRPr>
          </a:p>
        </p:txBody>
      </p:sp>
    </p:spTree>
    <p:extLst>
      <p:ext uri="{BB962C8B-B14F-4D97-AF65-F5344CB8AC3E}">
        <p14:creationId xmlns:p14="http://schemas.microsoft.com/office/powerpoint/2010/main" val="2278229836"/>
      </p:ext>
    </p:extLst>
  </p:cSld>
  <p:clrMapOvr>
    <a:masterClrMapping/>
  </p:clrMapOvr>
</p:notes>
</file>

<file path=ppt/notesSlides/notesSlide2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r>
              <a:rPr lang="en-US" dirty="0" err="1" smtClean="0"/>
              <a:t>TechEd</a:t>
            </a:r>
            <a:r>
              <a:rPr lang="en-US" dirty="0" smtClean="0"/>
              <a:t> 2012</a:t>
            </a:r>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9/20/2012 12:39 AM</a:t>
            </a:fld>
            <a:endParaRPr lang="en-US"/>
          </a:p>
        </p:txBody>
      </p:sp>
      <p:sp>
        <p:nvSpPr>
          <p:cNvPr id="6" name="Footer Placeholder 5"/>
          <p:cNvSpPr>
            <a:spLocks noGrp="1"/>
          </p:cNvSpPr>
          <p:nvPr>
            <p:ph type="ftr" sz="quarter" idx="12"/>
          </p:nvPr>
        </p:nvSpPr>
        <p:spPr/>
        <p:txBody>
          <a:bodyPr/>
          <a:lstStyle/>
          <a:p>
            <a:r>
              <a:rPr lang="en-US" dirty="0" smtClean="0">
                <a:latin typeface="Segoe UI" pitchFamily="34" charset="0"/>
              </a:rPr>
              <a:t>© 2012 Microsoft Corporation. All rights reserved. Microsoft, Windows, Windows Vista and other product names are or may be registered trademarks and/or trademarks in the U.S. and/or other countries.</a:t>
            </a:r>
          </a:p>
          <a:p>
            <a:r>
              <a:rPr lang="en-US" dirty="0" smtClean="0">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latin typeface="Segoe UI" pitchFamily="34" charset="0"/>
              </a:rPr>
            </a:br>
            <a:r>
              <a:rPr lang="en-US" dirty="0" smtClean="0">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453</a:t>
            </a:fld>
            <a:endParaRPr lang="en-US" dirty="0"/>
          </a:p>
        </p:txBody>
      </p:sp>
    </p:spTree>
    <p:extLst>
      <p:ext uri="{BB962C8B-B14F-4D97-AF65-F5344CB8AC3E}">
        <p14:creationId xmlns:p14="http://schemas.microsoft.com/office/powerpoint/2010/main" val="1880498788"/>
      </p:ext>
    </p:extLst>
  </p:cSld>
  <p:clrMapOvr>
    <a:masterClrMapping/>
  </p:clrMapOvr>
</p:notes>
</file>

<file path=ppt/notesSlides/notesSlide2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r>
              <a:rPr lang="en-US" dirty="0" err="1" smtClean="0"/>
              <a:t>TechEd</a:t>
            </a:r>
            <a:r>
              <a:rPr lang="en-US" dirty="0" smtClean="0"/>
              <a:t> 2012</a:t>
            </a:r>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9/20/2012 12:39 AM</a:t>
            </a:fld>
            <a:endParaRPr lang="en-US"/>
          </a:p>
        </p:txBody>
      </p:sp>
      <p:sp>
        <p:nvSpPr>
          <p:cNvPr id="6" name="Footer Placeholder 5"/>
          <p:cNvSpPr>
            <a:spLocks noGrp="1"/>
          </p:cNvSpPr>
          <p:nvPr>
            <p:ph type="ftr" sz="quarter" idx="12"/>
          </p:nvPr>
        </p:nvSpPr>
        <p:spPr/>
        <p:txBody>
          <a:bodyPr/>
          <a:lstStyle/>
          <a:p>
            <a:r>
              <a:rPr lang="en-US" dirty="0" smtClean="0">
                <a:latin typeface="Segoe UI" pitchFamily="34" charset="0"/>
              </a:rPr>
              <a:t>© 2012 Microsoft Corporation. All rights reserved. Microsoft, Windows, Windows Vista and other product names are or may be registered trademarks and/or trademarks in the U.S. and/or other countries.</a:t>
            </a:r>
          </a:p>
          <a:p>
            <a:r>
              <a:rPr lang="en-US" dirty="0" smtClean="0">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latin typeface="Segoe UI" pitchFamily="34" charset="0"/>
              </a:rPr>
            </a:br>
            <a:r>
              <a:rPr lang="en-US" dirty="0" smtClean="0">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454</a:t>
            </a:fld>
            <a:endParaRPr lang="en-US" dirty="0"/>
          </a:p>
        </p:txBody>
      </p:sp>
    </p:spTree>
    <p:extLst>
      <p:ext uri="{BB962C8B-B14F-4D97-AF65-F5344CB8AC3E}">
        <p14:creationId xmlns:p14="http://schemas.microsoft.com/office/powerpoint/2010/main" val="3812477407"/>
      </p:ext>
    </p:extLst>
  </p:cSld>
  <p:clrMapOvr>
    <a:masterClrMapping/>
  </p:clrMapOvr>
</p:notes>
</file>

<file path=ppt/notesSlides/notesSlide2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3"/>
          <p:cNvSpPr>
            <a:spLocks noGrp="1" noChangeArrowheads="1"/>
          </p:cNvSpPr>
          <p:nvPr>
            <p:ph type="dt" sz="quarter" idx="1"/>
          </p:nvPr>
        </p:nvSpPr>
        <p:spPr>
          <a:noFill/>
        </p:spPr>
        <p:txBody>
          <a:bodyPr/>
          <a:lstStyle/>
          <a:p>
            <a:fld id="{D981B906-E48D-43F8-8760-B0BFEB02150A}" type="datetime8">
              <a:rPr lang="en-US" smtClean="0">
                <a:solidFill>
                  <a:prstClr val="black"/>
                </a:solidFill>
                <a:cs typeface="Arial" charset="0"/>
              </a:rPr>
              <a:pPr/>
              <a:t>9/20/2012 12:39 AM</a:t>
            </a:fld>
            <a:endParaRPr lang="en-US" dirty="0" smtClean="0">
              <a:solidFill>
                <a:prstClr val="black"/>
              </a:solidFill>
              <a:cs typeface="Arial" charset="0"/>
            </a:endParaRPr>
          </a:p>
        </p:txBody>
      </p:sp>
      <p:sp>
        <p:nvSpPr>
          <p:cNvPr id="36867" name="Rectangle 6"/>
          <p:cNvSpPr>
            <a:spLocks noGrp="1" noChangeArrowheads="1"/>
          </p:cNvSpPr>
          <p:nvPr>
            <p:ph type="ftr" sz="quarter" idx="4"/>
          </p:nvPr>
        </p:nvSpPr>
        <p:spPr>
          <a:noFill/>
        </p:spPr>
        <p:txBody>
          <a:bodyPr/>
          <a:lstStyle/>
          <a:p>
            <a:r>
              <a:rPr lang="en-US" dirty="0" smtClean="0">
                <a:solidFill>
                  <a:prstClr val="black"/>
                </a:solidFill>
                <a:cs typeface="Arial" charset="0"/>
              </a:rPr>
              <a:t>© 2006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36868" name="Rectangle 7"/>
          <p:cNvSpPr>
            <a:spLocks noGrp="1" noChangeArrowheads="1"/>
          </p:cNvSpPr>
          <p:nvPr>
            <p:ph type="sldNum" sz="quarter" idx="5"/>
          </p:nvPr>
        </p:nvSpPr>
        <p:spPr>
          <a:noFill/>
        </p:spPr>
        <p:txBody>
          <a:bodyPr/>
          <a:lstStyle/>
          <a:p>
            <a:fld id="{D5E25F9C-944B-4311-8DA3-48595C6087DB}" type="slidenum">
              <a:rPr lang="en-US" smtClean="0">
                <a:solidFill>
                  <a:prstClr val="black"/>
                </a:solidFill>
                <a:cs typeface="Arial" charset="0"/>
              </a:rPr>
              <a:pPr/>
              <a:t>455</a:t>
            </a:fld>
            <a:endParaRPr lang="en-US" dirty="0" smtClean="0">
              <a:solidFill>
                <a:prstClr val="black"/>
              </a:solidFill>
              <a:cs typeface="Arial" charset="0"/>
            </a:endParaRPr>
          </a:p>
        </p:txBody>
      </p:sp>
      <p:sp>
        <p:nvSpPr>
          <p:cNvPr id="36869" name="Rectangle 2"/>
          <p:cNvSpPr>
            <a:spLocks noGrp="1" noRot="1" noChangeAspect="1" noChangeArrowheads="1" noTextEdit="1"/>
          </p:cNvSpPr>
          <p:nvPr>
            <p:ph type="sldImg"/>
          </p:nvPr>
        </p:nvSpPr>
        <p:spPr>
          <a:xfrm>
            <a:off x="381000" y="685800"/>
            <a:ext cx="6096000" cy="3429000"/>
          </a:xfrm>
          <a:ln/>
        </p:spPr>
      </p:sp>
      <p:sp>
        <p:nvSpPr>
          <p:cNvPr id="36870" name="Rectangle 3"/>
          <p:cNvSpPr>
            <a:spLocks noGrp="1" noChangeArrowheads="1"/>
          </p:cNvSpPr>
          <p:nvPr>
            <p:ph type="body" idx="1"/>
          </p:nvPr>
        </p:nvSpPr>
        <p:spPr>
          <a:xfrm>
            <a:off x="685800" y="4343401"/>
            <a:ext cx="5486400" cy="4114800"/>
          </a:xfrm>
          <a:prstGeom prst="rect">
            <a:avLst/>
          </a:prstGeom>
          <a:noFill/>
          <a:ln/>
        </p:spPr>
        <p:txBody>
          <a:bodyPr lIns="89584" tIns="44792" rIns="89584" bIns="44792"/>
          <a:lstStyle/>
          <a:p>
            <a:pPr defTabSz="897195" eaLnBrk="0" hangingPunct="0">
              <a:defRPr/>
            </a:pPr>
            <a:endParaRPr lang="en-US" dirty="0"/>
          </a:p>
        </p:txBody>
      </p:sp>
    </p:spTree>
  </p:cSld>
  <p:clrMapOvr>
    <a:masterClrMapping/>
  </p:clrMapOvr>
</p:notes>
</file>

<file path=ppt/notesSlides/notesSlide2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D5A5AB-9D22-4354-8089-2AE811D4E282}" type="slidenum">
              <a:rPr lang="en-US" smtClean="0"/>
              <a:t>459</a:t>
            </a:fld>
            <a:endParaRPr lang="en-US"/>
          </a:p>
        </p:txBody>
      </p:sp>
    </p:spTree>
    <p:extLst>
      <p:ext uri="{BB962C8B-B14F-4D97-AF65-F5344CB8AC3E}">
        <p14:creationId xmlns:p14="http://schemas.microsoft.com/office/powerpoint/2010/main" val="3016498834"/>
      </p:ext>
    </p:extLst>
  </p:cSld>
  <p:clrMapOvr>
    <a:masterClrMapping/>
  </p:clrMapOvr>
</p:notes>
</file>

<file path=ppt/notesSlides/notesSlide2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endParaRPr lang="en-US" dirty="0"/>
          </a:p>
        </p:txBody>
      </p:sp>
      <p:sp>
        <p:nvSpPr>
          <p:cNvPr id="4" name="Slide Number Placeholder 3"/>
          <p:cNvSpPr>
            <a:spLocks noGrp="1"/>
          </p:cNvSpPr>
          <p:nvPr>
            <p:ph type="sldNum" sz="quarter" idx="10"/>
          </p:nvPr>
        </p:nvSpPr>
        <p:spPr/>
        <p:txBody>
          <a:bodyPr/>
          <a:lstStyle/>
          <a:p>
            <a:fld id="{89D5A5AB-9D22-4354-8089-2AE811D4E282}" type="slidenum">
              <a:rPr lang="en-US" smtClean="0"/>
              <a:t>460</a:t>
            </a:fld>
            <a:endParaRPr lang="en-US"/>
          </a:p>
        </p:txBody>
      </p:sp>
    </p:spTree>
    <p:extLst>
      <p:ext uri="{BB962C8B-B14F-4D97-AF65-F5344CB8AC3E}">
        <p14:creationId xmlns:p14="http://schemas.microsoft.com/office/powerpoint/2010/main" val="21967237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charset="0"/>
              <a:buChar char="•"/>
            </a:pPr>
            <a:endParaRPr lang="en-US" dirty="0"/>
          </a:p>
        </p:txBody>
      </p:sp>
      <p:sp>
        <p:nvSpPr>
          <p:cNvPr id="4" name="Slide Number Placeholder 3"/>
          <p:cNvSpPr>
            <a:spLocks noGrp="1"/>
          </p:cNvSpPr>
          <p:nvPr>
            <p:ph type="sldNum" sz="quarter" idx="10"/>
          </p:nvPr>
        </p:nvSpPr>
        <p:spPr/>
        <p:txBody>
          <a:bodyPr/>
          <a:lstStyle/>
          <a:p>
            <a:fld id="{F744E311-AAFE-4A79-A686-16FCA71EAEE2}" type="slidenum">
              <a:rPr lang="en-US" smtClean="0"/>
              <a:t>3</a:t>
            </a:fld>
            <a:endParaRPr lang="en-US" dirty="0"/>
          </a:p>
        </p:txBody>
      </p:sp>
    </p:spTree>
    <p:extLst>
      <p:ext uri="{BB962C8B-B14F-4D97-AF65-F5344CB8AC3E}">
        <p14:creationId xmlns:p14="http://schemas.microsoft.com/office/powerpoint/2010/main" val="267413055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3752387745"/>
      </p:ext>
    </p:extLst>
  </p:cSld>
  <p:clrMapOvr>
    <a:masterClrMapping/>
  </p:clrMapOvr>
</p:notes>
</file>

<file path=ppt/notesSlides/notesSlide3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D5A5AB-9D22-4354-8089-2AE811D4E282}" type="slidenum">
              <a:rPr lang="en-US" smtClean="0"/>
              <a:t>461</a:t>
            </a:fld>
            <a:endParaRPr lang="en-US"/>
          </a:p>
        </p:txBody>
      </p:sp>
    </p:spTree>
    <p:extLst>
      <p:ext uri="{BB962C8B-B14F-4D97-AF65-F5344CB8AC3E}">
        <p14:creationId xmlns:p14="http://schemas.microsoft.com/office/powerpoint/2010/main" val="1484516883"/>
      </p:ext>
    </p:extLst>
  </p:cSld>
  <p:clrMapOvr>
    <a:masterClrMapping/>
  </p:clrMapOvr>
</p:notes>
</file>

<file path=ppt/notesSlides/notesSlide3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a:xfrm>
            <a:off x="685801" y="4343404"/>
            <a:ext cx="5486400" cy="4114801"/>
          </a:xfrm>
          <a:prstGeom prst="rect">
            <a:avLst/>
          </a:prstGeom>
        </p:spPr>
        <p:txBody>
          <a:bodyPr lIns="91380" tIns="45689" rIns="91380" bIns="45689"/>
          <a:lstStyle/>
          <a:p>
            <a:endParaRPr lang="en-US" dirty="0"/>
          </a:p>
        </p:txBody>
      </p:sp>
      <p:sp>
        <p:nvSpPr>
          <p:cNvPr id="4" name="Slide Number Placeholder 3"/>
          <p:cNvSpPr>
            <a:spLocks noGrp="1"/>
          </p:cNvSpPr>
          <p:nvPr>
            <p:ph type="sldNum" sz="quarter" idx="10"/>
          </p:nvPr>
        </p:nvSpPr>
        <p:spPr/>
        <p:txBody>
          <a:bodyPr/>
          <a:lstStyle/>
          <a:p>
            <a:fld id="{8980CB99-47E3-46F4-AAEB-3919FBEFC014}" type="slidenum">
              <a:rPr lang="en-US" smtClean="0">
                <a:solidFill>
                  <a:prstClr val="black"/>
                </a:solidFill>
                <a:latin typeface="Segoe" pitchFamily="34" charset="0"/>
              </a:rPr>
              <a:pPr/>
              <a:t>462</a:t>
            </a:fld>
            <a:endParaRPr lang="en-US" dirty="0">
              <a:solidFill>
                <a:prstClr val="black"/>
              </a:solidFill>
              <a:latin typeface="Segoe" pitchFamily="34" charset="0"/>
            </a:endParaRPr>
          </a:p>
        </p:txBody>
      </p:sp>
    </p:spTree>
    <p:extLst>
      <p:ext uri="{BB962C8B-B14F-4D97-AF65-F5344CB8AC3E}">
        <p14:creationId xmlns:p14="http://schemas.microsoft.com/office/powerpoint/2010/main" val="315989357"/>
      </p:ext>
    </p:extLst>
  </p:cSld>
  <p:clrMapOvr>
    <a:masterClrMapping/>
  </p:clrMapOvr>
</p:notes>
</file>

<file path=ppt/notesSlides/notesSlide3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64</a:t>
            </a:fld>
            <a:endParaRPr lang="en-US" dirty="0"/>
          </a:p>
        </p:txBody>
      </p:sp>
    </p:spTree>
    <p:extLst>
      <p:ext uri="{BB962C8B-B14F-4D97-AF65-F5344CB8AC3E}">
        <p14:creationId xmlns:p14="http://schemas.microsoft.com/office/powerpoint/2010/main" val="1121747154"/>
      </p:ext>
    </p:extLst>
  </p:cSld>
  <p:clrMapOvr>
    <a:masterClrMapping/>
  </p:clrMapOvr>
</p:notes>
</file>

<file path=ppt/notesSlides/notesSlide3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68</a:t>
            </a:fld>
            <a:endParaRPr lang="en-US" dirty="0"/>
          </a:p>
        </p:txBody>
      </p:sp>
    </p:spTree>
    <p:extLst>
      <p:ext uri="{BB962C8B-B14F-4D97-AF65-F5344CB8AC3E}">
        <p14:creationId xmlns:p14="http://schemas.microsoft.com/office/powerpoint/2010/main" val="1948608743"/>
      </p:ext>
    </p:extLst>
  </p:cSld>
  <p:clrMapOvr>
    <a:masterClrMapping/>
  </p:clrMapOvr>
</p:notes>
</file>

<file path=ppt/notesSlides/notesSlide3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59DFEC3-DDF1-47FC-A429-F37F4C396648}" type="slidenum">
              <a:rPr lang="en-US" smtClean="0"/>
              <a:t>469</a:t>
            </a:fld>
            <a:endParaRPr lang="en-US" dirty="0"/>
          </a:p>
        </p:txBody>
      </p:sp>
    </p:spTree>
    <p:extLst>
      <p:ext uri="{BB962C8B-B14F-4D97-AF65-F5344CB8AC3E}">
        <p14:creationId xmlns:p14="http://schemas.microsoft.com/office/powerpoint/2010/main" val="321906075"/>
      </p:ext>
    </p:extLst>
  </p:cSld>
  <p:clrMapOvr>
    <a:masterClrMapping/>
  </p:clrMapOvr>
</p:notes>
</file>

<file path=ppt/notesSlides/notesSlide3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70</a:t>
            </a:fld>
            <a:endParaRPr lang="en-US" dirty="0">
              <a:solidFill>
                <a:prstClr val="black"/>
              </a:solidFill>
            </a:endParaRPr>
          </a:p>
        </p:txBody>
      </p:sp>
    </p:spTree>
    <p:extLst>
      <p:ext uri="{BB962C8B-B14F-4D97-AF65-F5344CB8AC3E}">
        <p14:creationId xmlns:p14="http://schemas.microsoft.com/office/powerpoint/2010/main" val="2975735741"/>
      </p:ext>
    </p:extLst>
  </p:cSld>
  <p:clrMapOvr>
    <a:masterClrMapping/>
  </p:clrMapOvr>
</p:notes>
</file>

<file path=ppt/notesSlides/notesSlide3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59DFEC3-DDF1-47FC-A429-F37F4C396648}" type="slidenum">
              <a:rPr lang="en-US" smtClean="0"/>
              <a:pPr/>
              <a:t>471</a:t>
            </a:fld>
            <a:endParaRPr lang="en-US" dirty="0"/>
          </a:p>
        </p:txBody>
      </p:sp>
    </p:spTree>
    <p:extLst>
      <p:ext uri="{BB962C8B-B14F-4D97-AF65-F5344CB8AC3E}">
        <p14:creationId xmlns:p14="http://schemas.microsoft.com/office/powerpoint/2010/main" val="1352843459"/>
      </p:ext>
    </p:extLst>
  </p:cSld>
  <p:clrMapOvr>
    <a:masterClrMapping/>
  </p:clrMapOvr>
</p:notes>
</file>

<file path=ppt/notesSlides/notesSlide3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Windows Phone Summit_2012</a:t>
            </a:r>
            <a:endParaRPr lang="en-US" dirty="0" smtClean="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D6E25C6-3D1F-49B2-8928-781A14BD9E3F}" type="datetime1">
              <a:rPr lang="en-US" smtClean="0"/>
              <a:t>9/20/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472</a:t>
            </a:fld>
            <a:endParaRPr lang="en-US" dirty="0"/>
          </a:p>
        </p:txBody>
      </p:sp>
    </p:spTree>
    <p:extLst>
      <p:ext uri="{BB962C8B-B14F-4D97-AF65-F5344CB8AC3E}">
        <p14:creationId xmlns:p14="http://schemas.microsoft.com/office/powerpoint/2010/main" val="606590440"/>
      </p:ext>
    </p:extLst>
  </p:cSld>
  <p:clrMapOvr>
    <a:masterClrMapping/>
  </p:clrMapOvr>
</p:notes>
</file>

<file path=ppt/notesSlides/notesSlide3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Windows Phone Summit_2012</a:t>
            </a:r>
            <a:endParaRPr lang="en-US" dirty="0" smtClean="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0A16ABB-B120-4F96-A13D-B381A3A3EBB4}" type="datetime1">
              <a:rPr lang="en-US" smtClean="0"/>
              <a:t>9/20/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473</a:t>
            </a:fld>
            <a:endParaRPr lang="en-US" dirty="0"/>
          </a:p>
        </p:txBody>
      </p:sp>
    </p:spTree>
    <p:extLst>
      <p:ext uri="{BB962C8B-B14F-4D97-AF65-F5344CB8AC3E}">
        <p14:creationId xmlns:p14="http://schemas.microsoft.com/office/powerpoint/2010/main" val="4271294951"/>
      </p:ext>
    </p:extLst>
  </p:cSld>
  <p:clrMapOvr>
    <a:masterClrMapping/>
  </p:clrMapOvr>
</p:notes>
</file>

<file path=ppt/notesSlides/notesSlide3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45">
              <a:defRPr/>
            </a:pPr>
            <a:endParaRPr lang="en-US" dirty="0"/>
          </a:p>
        </p:txBody>
      </p:sp>
      <p:sp>
        <p:nvSpPr>
          <p:cNvPr id="4" name="Header Placeholder 3"/>
          <p:cNvSpPr>
            <a:spLocks noGrp="1"/>
          </p:cNvSpPr>
          <p:nvPr>
            <p:ph type="hdr" sz="quarter" idx="10"/>
          </p:nvPr>
        </p:nvSpPr>
        <p:spPr/>
        <p:txBody>
          <a:bodyPr/>
          <a:lstStyle/>
          <a:p>
            <a:r>
              <a:rPr lang="en-US" smtClean="0"/>
              <a:t>Windows Phone Summit_2012</a:t>
            </a:r>
            <a:endParaRPr lang="en-US" dirty="0" smtClean="0"/>
          </a:p>
        </p:txBody>
      </p:sp>
      <p:sp>
        <p:nvSpPr>
          <p:cNvPr id="5" name="Footer Placeholder 4"/>
          <p:cNvSpPr>
            <a:spLocks noGrp="1"/>
          </p:cNvSpPr>
          <p:nvPr>
            <p:ph type="ftr" sz="quarter" idx="11"/>
          </p:nvPr>
        </p:nvSpPr>
        <p:spPr/>
        <p:txBody>
          <a:bodyPr/>
          <a:lstStyle/>
          <a:p>
            <a:pPr defTabSz="91408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8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4C87E050-BFAB-4FDC-B75B-811501285E56}" type="datetime1">
              <a:rPr lang="en-US" smtClean="0"/>
              <a:t>9/20/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474</a:t>
            </a:fld>
            <a:endParaRPr lang="en-US" dirty="0"/>
          </a:p>
        </p:txBody>
      </p:sp>
    </p:spTree>
    <p:extLst>
      <p:ext uri="{BB962C8B-B14F-4D97-AF65-F5344CB8AC3E}">
        <p14:creationId xmlns:p14="http://schemas.microsoft.com/office/powerpoint/2010/main" val="73683945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rPr>
              <a:pPr/>
              <a:t>39</a:t>
            </a:fld>
            <a:endParaRPr lang="en-US" dirty="0">
              <a:solidFill>
                <a:prstClr val="black"/>
              </a:solidFill>
            </a:endParaRPr>
          </a:p>
        </p:txBody>
      </p:sp>
    </p:spTree>
    <p:extLst>
      <p:ext uri="{BB962C8B-B14F-4D97-AF65-F5344CB8AC3E}">
        <p14:creationId xmlns:p14="http://schemas.microsoft.com/office/powerpoint/2010/main" val="4007548363"/>
      </p:ext>
    </p:extLst>
  </p:cSld>
  <p:clrMapOvr>
    <a:masterClrMapping/>
  </p:clrMapOvr>
</p:notes>
</file>

<file path=ppt/notesSlides/notesSlide3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45">
              <a:defRPr/>
            </a:pPr>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Windows Phone Summit_2012</a:t>
            </a:r>
            <a:endParaRPr lang="en-US" dirty="0" smtClean="0">
              <a:solidFill>
                <a:prstClr val="black"/>
              </a:solidFill>
            </a:endParaRPr>
          </a:p>
        </p:txBody>
      </p:sp>
      <p:sp>
        <p:nvSpPr>
          <p:cNvPr id="5" name="Footer Placeholder 4"/>
          <p:cNvSpPr>
            <a:spLocks noGrp="1"/>
          </p:cNvSpPr>
          <p:nvPr>
            <p:ph type="ftr" sz="quarter" idx="11"/>
          </p:nvPr>
        </p:nvSpPr>
        <p:spPr/>
        <p:txBody>
          <a:bodyPr/>
          <a:lstStyle/>
          <a:p>
            <a:pPr defTabSz="91408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8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DA2AED6-D633-4F9A-B1B1-F051AA81F4A9}" type="datetime1">
              <a:rPr lang="en-US" smtClean="0">
                <a:solidFill>
                  <a:prstClr val="black"/>
                </a:solidFill>
              </a:rPr>
              <a:pPr/>
              <a:t>9/20/2012</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75</a:t>
            </a:fld>
            <a:endParaRPr lang="en-US" dirty="0">
              <a:solidFill>
                <a:prstClr val="black"/>
              </a:solidFill>
            </a:endParaRPr>
          </a:p>
        </p:txBody>
      </p:sp>
    </p:spTree>
    <p:extLst>
      <p:ext uri="{BB962C8B-B14F-4D97-AF65-F5344CB8AC3E}">
        <p14:creationId xmlns:p14="http://schemas.microsoft.com/office/powerpoint/2010/main" val="2906443518"/>
      </p:ext>
    </p:extLst>
  </p:cSld>
  <p:clrMapOvr>
    <a:masterClrMapping/>
  </p:clrMapOvr>
</p:notes>
</file>

<file path=ppt/notesSlides/notesSlide3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Windows Phone Summit_2012</a:t>
            </a:r>
            <a:endParaRPr lang="en-US" dirty="0" smtClean="0"/>
          </a:p>
        </p:txBody>
      </p:sp>
      <p:sp>
        <p:nvSpPr>
          <p:cNvPr id="5" name="Footer Placeholder 4"/>
          <p:cNvSpPr>
            <a:spLocks noGrp="1"/>
          </p:cNvSpPr>
          <p:nvPr>
            <p:ph type="ftr" sz="quarter" idx="11"/>
          </p:nvPr>
        </p:nvSpPr>
        <p:spPr/>
        <p:txBody>
          <a:bodyPr/>
          <a:lstStyle/>
          <a:p>
            <a:pPr defTabSz="91408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8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838B3D5-F464-42E1-8C63-667B0FC34CB6}" type="datetime1">
              <a:rPr lang="en-US" smtClean="0"/>
              <a:t>9/20/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476</a:t>
            </a:fld>
            <a:endParaRPr lang="en-US" dirty="0"/>
          </a:p>
        </p:txBody>
      </p:sp>
    </p:spTree>
    <p:extLst>
      <p:ext uri="{BB962C8B-B14F-4D97-AF65-F5344CB8AC3E}">
        <p14:creationId xmlns:p14="http://schemas.microsoft.com/office/powerpoint/2010/main" val="92656639"/>
      </p:ext>
    </p:extLst>
  </p:cSld>
  <p:clrMapOvr>
    <a:masterClrMapping/>
  </p:clrMapOvr>
</p:notes>
</file>

<file path=ppt/notesSlides/notesSlide3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59DFEC3-DDF1-47FC-A429-F37F4C396648}" type="slidenum">
              <a:rPr lang="en-US" smtClean="0"/>
              <a:t>477</a:t>
            </a:fld>
            <a:endParaRPr lang="en-US" dirty="0"/>
          </a:p>
        </p:txBody>
      </p:sp>
    </p:spTree>
    <p:extLst>
      <p:ext uri="{BB962C8B-B14F-4D97-AF65-F5344CB8AC3E}">
        <p14:creationId xmlns:p14="http://schemas.microsoft.com/office/powerpoint/2010/main" val="2119087590"/>
      </p:ext>
    </p:extLst>
  </p:cSld>
  <p:clrMapOvr>
    <a:masterClrMapping/>
  </p:clrMapOvr>
</p:notes>
</file>

<file path=ppt/notesSlides/notesSlide3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lnSpcReduction="10000"/>
          </a:bodyPr>
          <a:lstStyle/>
          <a:p>
            <a:pPr marL="167950" indent="-167950">
              <a:buFont typeface="Arial" pitchFamily="34" charset="0"/>
              <a:buChar char="•"/>
            </a:pPr>
            <a:endParaRPr lang="en-US" dirty="0"/>
          </a:p>
        </p:txBody>
      </p:sp>
      <p:sp>
        <p:nvSpPr>
          <p:cNvPr id="8" name="Date Placeholder 7"/>
          <p:cNvSpPr>
            <a:spLocks noGrp="1"/>
          </p:cNvSpPr>
          <p:nvPr>
            <p:ph type="dt" idx="10"/>
          </p:nvPr>
        </p:nvSpPr>
        <p:spPr/>
        <p:txBody>
          <a:bodyPr/>
          <a:lstStyle/>
          <a:p>
            <a:fld id="{13284388-5F37-4818-A0CF-18642B368BB9}" type="datetime1">
              <a:rPr lang="en-US" smtClean="0"/>
              <a:pPr/>
              <a:t>9/20/2012</a:t>
            </a:fld>
            <a:endParaRPr lang="en-US" dirty="0"/>
          </a:p>
        </p:txBody>
      </p:sp>
      <p:sp>
        <p:nvSpPr>
          <p:cNvPr id="9" name="Slide Number Placeholder 8"/>
          <p:cNvSpPr>
            <a:spLocks noGrp="1"/>
          </p:cNvSpPr>
          <p:nvPr>
            <p:ph type="sldNum" sz="quarter" idx="11"/>
          </p:nvPr>
        </p:nvSpPr>
        <p:spPr/>
        <p:txBody>
          <a:bodyPr/>
          <a:lstStyle/>
          <a:p>
            <a:fld id="{8B263312-38AA-4E1E-B2B5-0F8F122B24FE}" type="slidenum">
              <a:rPr lang="en-US" smtClean="0"/>
              <a:pPr/>
              <a:t>478</a:t>
            </a:fld>
            <a:endParaRPr lang="en-US" dirty="0"/>
          </a:p>
        </p:txBody>
      </p:sp>
      <p:sp>
        <p:nvSpPr>
          <p:cNvPr id="10" name="Footer Placeholder 9"/>
          <p:cNvSpPr>
            <a:spLocks noGrp="1"/>
          </p:cNvSpPr>
          <p:nvPr>
            <p:ph type="ftr" sz="quarter" idx="12"/>
          </p:nvPr>
        </p:nvSpPr>
        <p:spPr/>
        <p:txBody>
          <a:bodyPr/>
          <a:lstStyle/>
          <a:p>
            <a:r>
              <a:rPr lang="en-US" dirty="0" smtClean="0">
                <a:solidFill>
                  <a:srgbClr val="000000"/>
                </a:solidFill>
                <a:latin typeface="Arial" pitchFamily="34" charset="0"/>
              </a:rPr>
              <a:t>© 2010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Arial"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Arial" pitchFamily="34" charset="0"/>
              </a:rPr>
            </a:br>
            <a:r>
              <a:rPr lang="en-US" dirty="0" smtClean="0">
                <a:solidFill>
                  <a:srgbClr val="000000"/>
                </a:solidFill>
                <a:latin typeface="Arial" pitchFamily="34" charset="0"/>
              </a:rPr>
              <a:t>MICROSOFT MAKES NO WARRANTIES, EXPRESS, IMPLIED OR STATUTORY, AS TO THE INFORMATION IN THIS PRESENTATION.</a:t>
            </a:r>
          </a:p>
        </p:txBody>
      </p:sp>
      <p:sp>
        <p:nvSpPr>
          <p:cNvPr id="11" name="Header Placeholder 10"/>
          <p:cNvSpPr>
            <a:spLocks noGrp="1"/>
          </p:cNvSpPr>
          <p:nvPr>
            <p:ph type="hdr" sz="quarter" idx="13"/>
          </p:nvPr>
        </p:nvSpPr>
        <p:spPr/>
        <p:txBody>
          <a:bodyPr/>
          <a:lstStyle/>
          <a:p>
            <a:r>
              <a:rPr lang="en-US" dirty="0" smtClean="0">
                <a:latin typeface="Arial" pitchFamily="34" charset="0"/>
              </a:rPr>
              <a:t>MGX FY11</a:t>
            </a:r>
            <a:endParaRPr lang="en-US" dirty="0">
              <a:latin typeface="Arial" pitchFamily="34" charset="0"/>
            </a:endParaRPr>
          </a:p>
        </p:txBody>
      </p:sp>
    </p:spTree>
  </p:cSld>
  <p:clrMapOvr>
    <a:masterClrMapping/>
  </p:clrMapOvr>
</p:notes>
</file>

<file path=ppt/notesSlides/notesSlide3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79</a:t>
            </a:fld>
            <a:endParaRPr lang="en-US" dirty="0"/>
          </a:p>
        </p:txBody>
      </p:sp>
    </p:spTree>
    <p:extLst>
      <p:ext uri="{BB962C8B-B14F-4D97-AF65-F5344CB8AC3E}">
        <p14:creationId xmlns:p14="http://schemas.microsoft.com/office/powerpoint/2010/main" val="11131703"/>
      </p:ext>
    </p:extLst>
  </p:cSld>
  <p:clrMapOvr>
    <a:masterClrMapping/>
  </p:clrMapOvr>
</p:notes>
</file>

<file path=ppt/notesSlides/notesSlide3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B59DFEC3-DDF1-47FC-A429-F37F4C396648}" type="slidenum">
              <a:rPr lang="en-US" smtClean="0">
                <a:solidFill>
                  <a:prstClr val="black"/>
                </a:solidFill>
              </a:rPr>
              <a:pPr/>
              <a:t>480</a:t>
            </a:fld>
            <a:endParaRPr lang="en-US" dirty="0">
              <a:solidFill>
                <a:prstClr val="black"/>
              </a:solidFill>
            </a:endParaRPr>
          </a:p>
        </p:txBody>
      </p:sp>
    </p:spTree>
    <p:extLst>
      <p:ext uri="{BB962C8B-B14F-4D97-AF65-F5344CB8AC3E}">
        <p14:creationId xmlns:p14="http://schemas.microsoft.com/office/powerpoint/2010/main" val="1003103683"/>
      </p:ext>
    </p:extLst>
  </p:cSld>
  <p:clrMapOvr>
    <a:masterClrMapping/>
  </p:clrMapOvr>
</p:notes>
</file>

<file path=ppt/notesSlides/notesSlide3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59DFEC3-DDF1-47FC-A429-F37F4C396648}" type="slidenum">
              <a:rPr lang="en-US" smtClean="0">
                <a:solidFill>
                  <a:prstClr val="black"/>
                </a:solidFill>
              </a:rPr>
              <a:pPr/>
              <a:t>481</a:t>
            </a:fld>
            <a:endParaRPr lang="en-US" dirty="0">
              <a:solidFill>
                <a:prstClr val="black"/>
              </a:solidFill>
            </a:endParaRPr>
          </a:p>
        </p:txBody>
      </p:sp>
    </p:spTree>
    <p:extLst>
      <p:ext uri="{BB962C8B-B14F-4D97-AF65-F5344CB8AC3E}">
        <p14:creationId xmlns:p14="http://schemas.microsoft.com/office/powerpoint/2010/main" val="1003103683"/>
      </p:ext>
    </p:extLst>
  </p:cSld>
  <p:clrMapOvr>
    <a:masterClrMapping/>
  </p:clrMapOvr>
</p:notes>
</file>

<file path=ppt/notesSlides/notesSlide3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59DFEC3-DDF1-47FC-A429-F37F4C396648}" type="slidenum">
              <a:rPr lang="en-US" smtClean="0">
                <a:solidFill>
                  <a:prstClr val="black"/>
                </a:solidFill>
              </a:rPr>
              <a:pPr/>
              <a:t>482</a:t>
            </a:fld>
            <a:endParaRPr lang="en-US" dirty="0">
              <a:solidFill>
                <a:prstClr val="black"/>
              </a:solidFill>
            </a:endParaRPr>
          </a:p>
        </p:txBody>
      </p:sp>
    </p:spTree>
    <p:extLst>
      <p:ext uri="{BB962C8B-B14F-4D97-AF65-F5344CB8AC3E}">
        <p14:creationId xmlns:p14="http://schemas.microsoft.com/office/powerpoint/2010/main" val="1003103683"/>
      </p:ext>
    </p:extLst>
  </p:cSld>
  <p:clrMapOvr>
    <a:masterClrMapping/>
  </p:clrMapOvr>
</p:notes>
</file>

<file path=ppt/notesSlides/notesSlide3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17179288"/>
      </p:ext>
    </p:extLst>
  </p:cSld>
  <p:clrMapOvr>
    <a:masterClrMapping/>
  </p:clrMapOvr>
</p:notes>
</file>

<file path=ppt/notesSlides/notesSlide3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89" name="Slide Image Placeholder 1"/>
          <p:cNvSpPr>
            <a:spLocks noGrp="1" noRot="1" noChangeAspect="1"/>
          </p:cNvSpPr>
          <p:nvPr>
            <p:ph type="sldImg"/>
          </p:nvPr>
        </p:nvSpPr>
        <p:spPr bwMode="auto">
          <a:xfrm>
            <a:off x="381000" y="685800"/>
            <a:ext cx="6096000" cy="3429000"/>
          </a:xfrm>
          <a:noFill/>
          <a:ln>
            <a:solidFill>
              <a:srgbClr val="000000"/>
            </a:solidFill>
            <a:miter lim="800000"/>
            <a:headEnd/>
            <a:tailEnd/>
          </a:ln>
        </p:spPr>
      </p:sp>
      <p:sp>
        <p:nvSpPr>
          <p:cNvPr id="3" name="Notes Placeholder 2"/>
          <p:cNvSpPr>
            <a:spLocks noGrp="1"/>
          </p:cNvSpPr>
          <p:nvPr>
            <p:ph type="body" idx="1"/>
          </p:nvPr>
        </p:nvSpPr>
        <p:spPr/>
        <p:txBody>
          <a:bodyPr lIns="91408" tIns="45706" rIns="91408" bIns="45706">
            <a:normAutofit fontScale="32500" lnSpcReduction="20000"/>
          </a:bodyPr>
          <a:lstStyle/>
          <a:p>
            <a:endParaRPr lang="en-US" dirty="0"/>
          </a:p>
        </p:txBody>
      </p:sp>
      <p:sp>
        <p:nvSpPr>
          <p:cNvPr id="63491"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4E7DD999-5513-4F8D-9988-334D6B5D1FC0}" type="slidenum">
              <a:rPr lang="en-US">
                <a:solidFill>
                  <a:srgbClr val="000000"/>
                </a:solidFill>
              </a:rPr>
              <a:pPr/>
              <a:t>486</a:t>
            </a:fld>
            <a:endParaRPr lang="en-US" dirty="0">
              <a:solidFill>
                <a:srgbClr val="000000"/>
              </a:solidFill>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3679948787"/>
      </p:ext>
    </p:extLst>
  </p:cSld>
  <p:clrMapOvr>
    <a:masterClrMapping/>
  </p:clrMapOvr>
</p:notes>
</file>

<file path=ppt/notesSlides/notesSlide3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87</a:t>
            </a:fld>
            <a:endParaRPr lang="en-US" dirty="0"/>
          </a:p>
        </p:txBody>
      </p:sp>
    </p:spTree>
    <p:extLst>
      <p:ext uri="{BB962C8B-B14F-4D97-AF65-F5344CB8AC3E}">
        <p14:creationId xmlns:p14="http://schemas.microsoft.com/office/powerpoint/2010/main" val="56183664"/>
      </p:ext>
    </p:extLst>
  </p:cSld>
  <p:clrMapOvr>
    <a:masterClrMapping/>
  </p:clrMapOvr>
</p:notes>
</file>

<file path=ppt/notesSlides/notesSlide3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endParaRPr lang="en-IE"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88</a:t>
            </a:fld>
            <a:endParaRPr lang="en-US" dirty="0"/>
          </a:p>
        </p:txBody>
      </p:sp>
    </p:spTree>
    <p:extLst>
      <p:ext uri="{BB962C8B-B14F-4D97-AF65-F5344CB8AC3E}">
        <p14:creationId xmlns:p14="http://schemas.microsoft.com/office/powerpoint/2010/main" val="3179807484"/>
      </p:ext>
    </p:extLst>
  </p:cSld>
  <p:clrMapOvr>
    <a:masterClrMapping/>
  </p:clrMapOvr>
</p:notes>
</file>

<file path=ppt/notesSlides/notesSlide3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1466850"/>
            <a:ext cx="6096000" cy="3429000"/>
          </a:xfrm>
        </p:spPr>
      </p:sp>
      <p:sp>
        <p:nvSpPr>
          <p:cNvPr id="3" name="Notes Placeholder 2"/>
          <p:cNvSpPr>
            <a:spLocks noGrp="1"/>
          </p:cNvSpPr>
          <p:nvPr>
            <p:ph type="body" idx="1"/>
          </p:nvPr>
        </p:nvSpPr>
        <p:spPr/>
        <p:txBody>
          <a:bodyPr/>
          <a:lstStyle/>
          <a:p>
            <a:pPr>
              <a:lnSpc>
                <a:spcPct val="105000"/>
              </a:lnSpc>
              <a:spcAft>
                <a:spcPts val="600"/>
              </a:spcAft>
            </a:pPr>
            <a:endParaRPr lang="en-US" sz="1400" dirty="0" smtClean="0">
              <a:latin typeface="Segoe" pitchFamily="34" charset="0"/>
            </a:endParaRPr>
          </a:p>
        </p:txBody>
      </p:sp>
      <p:sp>
        <p:nvSpPr>
          <p:cNvPr id="4" name="Slide Number Placeholder 3"/>
          <p:cNvSpPr>
            <a:spLocks noGrp="1"/>
          </p:cNvSpPr>
          <p:nvPr>
            <p:ph type="sldNum" sz="quarter" idx="10"/>
          </p:nvPr>
        </p:nvSpPr>
        <p:spPr/>
        <p:txBody>
          <a:bodyPr/>
          <a:lstStyle/>
          <a:p>
            <a:fld id="{BB62B9DE-6D13-4871-991A-1CC0A621929E}" type="slidenum">
              <a:rPr lang="en-US" smtClean="0">
                <a:solidFill>
                  <a:prstClr val="black"/>
                </a:solidFill>
              </a:rPr>
              <a:pPr/>
              <a:t>489</a:t>
            </a:fld>
            <a:endParaRPr lang="en-US" dirty="0">
              <a:solidFill>
                <a:prstClr val="black"/>
              </a:solidFill>
            </a:endParaRPr>
          </a:p>
        </p:txBody>
      </p:sp>
    </p:spTree>
    <p:extLst>
      <p:ext uri="{BB962C8B-B14F-4D97-AF65-F5344CB8AC3E}">
        <p14:creationId xmlns:p14="http://schemas.microsoft.com/office/powerpoint/2010/main" val="3767039366"/>
      </p:ext>
    </p:extLst>
  </p:cSld>
  <p:clrMapOvr>
    <a:masterClrMapping/>
  </p:clrMapOvr>
</p:notes>
</file>

<file path=ppt/notesSlides/notesSlide3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9/20/2012 12:39 AM</a:t>
            </a:fld>
            <a:endParaRPr lang="en-US" dirty="0"/>
          </a:p>
        </p:txBody>
      </p:sp>
      <p:sp>
        <p:nvSpPr>
          <p:cNvPr id="6" name="Footer Placeholder 5"/>
          <p:cNvSpPr>
            <a:spLocks noGrp="1"/>
          </p:cNvSpPr>
          <p:nvPr>
            <p:ph type="ftr" sz="quarter" idx="12"/>
          </p:nvPr>
        </p:nvSpPr>
        <p:spPr>
          <a:xfrm>
            <a:off x="0" y="8685213"/>
            <a:ext cx="6172200" cy="457200"/>
          </a:xfrm>
        </p:spPr>
        <p:txBody>
          <a:bodyPr/>
          <a:lstStyle/>
          <a:p>
            <a:r>
              <a:rPr lang="en-US" sz="500" dirty="0" smtClean="0">
                <a:solidFill>
                  <a:srgbClr val="000000"/>
                </a:solidFill>
                <a:latin typeface="Segoe UI" pitchFamily="34" charset="0"/>
              </a:rPr>
              <a:t>© 2009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a:p>
            <a:endParaRPr lang="en-US" sz="500" dirty="0">
              <a:latin typeface="Segoe UI" pitchFamily="34" charset="0"/>
            </a:endParaRPr>
          </a:p>
        </p:txBody>
      </p:sp>
      <p:sp>
        <p:nvSpPr>
          <p:cNvPr id="7" name="Slide Number Placeholder 6"/>
          <p:cNvSpPr>
            <a:spLocks noGrp="1"/>
          </p:cNvSpPr>
          <p:nvPr>
            <p:ph type="sldNum" sz="quarter" idx="13"/>
          </p:nvPr>
        </p:nvSpPr>
        <p:spPr>
          <a:xfrm>
            <a:off x="6172199" y="8685213"/>
            <a:ext cx="684213" cy="457200"/>
          </a:xfrm>
        </p:spPr>
        <p:txBody>
          <a:bodyPr/>
          <a:lstStyle/>
          <a:p>
            <a:fld id="{EC87E0CF-87F6-4B58-B8B8-DCAB2DAAF3CA}" type="slidenum">
              <a:rPr lang="en-US" smtClean="0"/>
              <a:pPr/>
              <a:t>507</a:t>
            </a:fld>
            <a:endParaRPr lang="en-US" dirty="0"/>
          </a:p>
        </p:txBody>
      </p:sp>
    </p:spTree>
    <p:extLst>
      <p:ext uri="{BB962C8B-B14F-4D97-AF65-F5344CB8AC3E}">
        <p14:creationId xmlns:p14="http://schemas.microsoft.com/office/powerpoint/2010/main" val="67732368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370369093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val="220570785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latin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44</a:t>
            </a:fld>
            <a:endParaRPr lang="en-US" dirty="0"/>
          </a:p>
        </p:txBody>
      </p:sp>
    </p:spTree>
    <p:extLst>
      <p:ext uri="{BB962C8B-B14F-4D97-AF65-F5344CB8AC3E}">
        <p14:creationId xmlns:p14="http://schemas.microsoft.com/office/powerpoint/2010/main" val="252261876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US" b="1" dirty="0" smtClean="0"/>
              <a:t>Slide Objectives:</a:t>
            </a:r>
          </a:p>
          <a:p>
            <a:pPr marL="171450" indent="-171450">
              <a:buFont typeface="Arial" pitchFamily="34" charset="0"/>
              <a:buChar char="•"/>
            </a:pPr>
            <a:r>
              <a:rPr lang="en-US" dirty="0" smtClean="0"/>
              <a:t>Define and</a:t>
            </a:r>
            <a:r>
              <a:rPr lang="en-US" baseline="0" dirty="0" smtClean="0"/>
              <a:t> explain the characteristics of “Big Data”</a:t>
            </a:r>
          </a:p>
          <a:p>
            <a:pPr marL="0" indent="0">
              <a:buFont typeface="Arial" pitchFamily="34" charset="0"/>
              <a:buNone/>
            </a:pPr>
            <a:endParaRPr lang="en-US" baseline="0" dirty="0" smtClean="0"/>
          </a:p>
          <a:p>
            <a:pPr marL="0" indent="0">
              <a:buFont typeface="Arial" pitchFamily="34" charset="0"/>
              <a:buNone/>
            </a:pPr>
            <a:r>
              <a:rPr lang="en-US" b="1" baseline="0" dirty="0" smtClean="0"/>
              <a:t>Speaking Points:</a:t>
            </a:r>
          </a:p>
          <a:p>
            <a:pPr marL="0" indent="0">
              <a:buFont typeface="Arial" pitchFamily="34" charset="0"/>
              <a:buNone/>
            </a:pPr>
            <a:endParaRPr lang="en-US" baseline="0" dirty="0" smtClean="0"/>
          </a:p>
          <a:p>
            <a:pPr marL="0" indent="0">
              <a:buFont typeface="Arial" pitchFamily="34" charset="0"/>
              <a:buNone/>
            </a:pPr>
            <a:endParaRPr lang="en-US" baseline="0" dirty="0" smtClean="0"/>
          </a:p>
          <a:p>
            <a:pPr marL="0" indent="0">
              <a:buFont typeface="Arial" pitchFamily="34" charset="0"/>
              <a:buNone/>
            </a:pPr>
            <a:r>
              <a:rPr lang="en-US" b="1" baseline="0" dirty="0" smtClean="0"/>
              <a:t>Notes:</a:t>
            </a:r>
          </a:p>
        </p:txBody>
      </p:sp>
      <p:sp>
        <p:nvSpPr>
          <p:cNvPr id="4" name="Slide Number Placeholder 3"/>
          <p:cNvSpPr>
            <a:spLocks noGrp="1"/>
          </p:cNvSpPr>
          <p:nvPr>
            <p:ph type="sldNum" sz="quarter" idx="10"/>
          </p:nvPr>
        </p:nvSpPr>
        <p:spPr/>
        <p:txBody>
          <a:bodyPr/>
          <a:lstStyle/>
          <a:p>
            <a:fld id="{82AABF77-E2E4-44CA-BA5C-65E132CF08D8}" type="slidenum">
              <a:rPr lang="en-US" smtClean="0"/>
              <a:pPr/>
              <a:t>45</a:t>
            </a:fld>
            <a:endParaRPr lang="en-US" dirty="0"/>
          </a:p>
        </p:txBody>
      </p:sp>
    </p:spTree>
    <p:extLst>
      <p:ext uri="{BB962C8B-B14F-4D97-AF65-F5344CB8AC3E}">
        <p14:creationId xmlns:p14="http://schemas.microsoft.com/office/powerpoint/2010/main" val="351082395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US" sz="900" b="1" dirty="0" smtClean="0"/>
              <a:t>Slide Objectives:</a:t>
            </a:r>
          </a:p>
          <a:p>
            <a:pPr marL="171450" indent="-171450">
              <a:buFont typeface="Arial" pitchFamily="34" charset="0"/>
              <a:buChar char="•"/>
            </a:pPr>
            <a:r>
              <a:rPr lang="en-US" sz="900" baseline="0" dirty="0" smtClean="0"/>
              <a:t>Explain the offerings that Microsoft is providing in Azure for storing, querying, and managing data.  </a:t>
            </a:r>
          </a:p>
          <a:p>
            <a:pPr marL="0" indent="0">
              <a:buFont typeface="Arial" pitchFamily="34" charset="0"/>
              <a:buNone/>
            </a:pPr>
            <a:endParaRPr lang="en-US" sz="900" baseline="0" dirty="0" smtClean="0"/>
          </a:p>
          <a:p>
            <a:pPr marL="0" indent="0">
              <a:buFont typeface="Arial" pitchFamily="34" charset="0"/>
              <a:buNone/>
            </a:pPr>
            <a:r>
              <a:rPr lang="en-US" sz="900" b="1" baseline="0" dirty="0" smtClean="0"/>
              <a:t>Speaking Points:</a:t>
            </a:r>
          </a:p>
          <a:p>
            <a:pPr marL="0" indent="0">
              <a:buFont typeface="Arial" pitchFamily="34" charset="0"/>
              <a:buNone/>
            </a:pPr>
            <a:endParaRPr lang="en-US" sz="900" baseline="0" dirty="0" smtClean="0"/>
          </a:p>
          <a:p>
            <a:pPr marL="0" indent="0">
              <a:buFont typeface="Arial" pitchFamily="34" charset="0"/>
              <a:buNone/>
            </a:pPr>
            <a:r>
              <a:rPr lang="en-US" sz="900" b="1" baseline="0" dirty="0" smtClean="0"/>
              <a:t>Notes:</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007794C-6283-4C70-8975-84D1BBDFE070}" type="datetime1">
              <a:rPr lang="en-US" smtClean="0"/>
              <a:t>9/20/2012</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t>46</a:t>
            </a:fld>
            <a:endParaRPr lang="en-US" dirty="0"/>
          </a:p>
        </p:txBody>
      </p:sp>
    </p:spTree>
    <p:extLst>
      <p:ext uri="{BB962C8B-B14F-4D97-AF65-F5344CB8AC3E}">
        <p14:creationId xmlns:p14="http://schemas.microsoft.com/office/powerpoint/2010/main" val="421119812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US" sz="900" b="1" dirty="0" smtClean="0"/>
              <a:t>Slide Objectives:</a:t>
            </a:r>
          </a:p>
          <a:p>
            <a:pPr marL="171450" indent="-171450">
              <a:buFont typeface="Arial" pitchFamily="34" charset="0"/>
              <a:buChar char="•"/>
            </a:pPr>
            <a:r>
              <a:rPr lang="en-US" sz="900" baseline="0" dirty="0" smtClean="0"/>
              <a:t>Explain the benefits of Virtual Machines + SQL Server</a:t>
            </a:r>
          </a:p>
          <a:p>
            <a:pPr marL="0" indent="0">
              <a:buFont typeface="Arial" pitchFamily="34" charset="0"/>
              <a:buNone/>
            </a:pPr>
            <a:endParaRPr lang="en-US" sz="900" baseline="0" dirty="0" smtClean="0"/>
          </a:p>
          <a:p>
            <a:pPr marL="0" indent="0">
              <a:buFont typeface="Arial" pitchFamily="34" charset="0"/>
              <a:buNone/>
            </a:pPr>
            <a:r>
              <a:rPr lang="en-US" sz="900" b="1" baseline="0" dirty="0" smtClean="0"/>
              <a:t>Speaking Points:</a:t>
            </a:r>
          </a:p>
          <a:p>
            <a:pPr marL="171450" indent="-171450">
              <a:buFont typeface="Arial" pitchFamily="34" charset="0"/>
              <a:buChar char="•"/>
            </a:pPr>
            <a:r>
              <a:rPr lang="en-US" dirty="0" smtClean="0"/>
              <a:t>Full SQL Server Capability</a:t>
            </a:r>
          </a:p>
          <a:p>
            <a:pPr marL="384431" lvl="1" indent="-171450">
              <a:buFont typeface="Arial" pitchFamily="34" charset="0"/>
              <a:buChar char="•"/>
            </a:pPr>
            <a:r>
              <a:rPr lang="en-US" sz="900" dirty="0" smtClean="0">
                <a:solidFill>
                  <a:srgbClr val="FFFFFF">
                    <a:alpha val="99000"/>
                  </a:srgbClr>
                </a:solidFill>
                <a:cs typeface="Segoe UI" pitchFamily="34" charset="0"/>
              </a:rPr>
              <a:t>High Availability of Database with AlwaysOn Availability Groups</a:t>
            </a:r>
            <a:endParaRPr lang="en-US" dirty="0" smtClean="0"/>
          </a:p>
          <a:p>
            <a:pPr marL="384431" lvl="1" indent="-171450">
              <a:buFont typeface="Arial" pitchFamily="34" charset="0"/>
              <a:buChar char="•"/>
            </a:pPr>
            <a:r>
              <a:rPr lang="en-US" sz="900" dirty="0" smtClean="0">
                <a:solidFill>
                  <a:srgbClr val="FFFFFF">
                    <a:alpha val="99000"/>
                  </a:srgbClr>
                </a:solidFill>
                <a:cs typeface="Segoe UI" pitchFamily="34" charset="0"/>
              </a:rPr>
              <a:t>Advanced Security (Transparent data encryption &amp; auditing)</a:t>
            </a:r>
            <a:endParaRPr lang="en-US" dirty="0" smtClean="0"/>
          </a:p>
          <a:p>
            <a:pPr marL="384431" lvl="1" indent="-171450">
              <a:buFont typeface="Arial" pitchFamily="34" charset="0"/>
              <a:buChar char="•"/>
            </a:pPr>
            <a:r>
              <a:rPr lang="en-US" sz="900" dirty="0" smtClean="0">
                <a:solidFill>
                  <a:srgbClr val="FFFFFF">
                    <a:alpha val="99000"/>
                  </a:srgbClr>
                </a:solidFill>
                <a:cs typeface="Segoe UI" pitchFamily="34" charset="0"/>
              </a:rPr>
              <a:t>Full Business Intelligence Functionality</a:t>
            </a:r>
            <a:endParaRPr lang="en-US" dirty="0" smtClean="0"/>
          </a:p>
          <a:p>
            <a:pPr marL="171450" indent="-171450">
              <a:buFont typeface="Arial" pitchFamily="34" charset="0"/>
              <a:buChar char="•"/>
            </a:pPr>
            <a:r>
              <a:rPr lang="en-US" dirty="0" smtClean="0"/>
              <a:t>Low TCO for Existing Apps</a:t>
            </a:r>
          </a:p>
          <a:p>
            <a:pPr marL="384431" lvl="1" indent="-171450">
              <a:buFont typeface="Arial" pitchFamily="34" charset="0"/>
              <a:buChar char="•"/>
            </a:pPr>
            <a:r>
              <a:rPr lang="en-US" sz="900" dirty="0" smtClean="0">
                <a:solidFill>
                  <a:srgbClr val="FFFFFF">
                    <a:alpha val="99000"/>
                  </a:srgbClr>
                </a:solidFill>
                <a:cs typeface="Segoe UI" pitchFamily="34" charset="0"/>
              </a:rPr>
              <a:t>No App Changes Required</a:t>
            </a:r>
            <a:endParaRPr lang="en-US" dirty="0" smtClean="0"/>
          </a:p>
          <a:p>
            <a:pPr marL="384431" lvl="1" indent="-171450">
              <a:buFont typeface="Arial" pitchFamily="34" charset="0"/>
              <a:buChar char="•"/>
            </a:pPr>
            <a:r>
              <a:rPr lang="en-US" sz="900" dirty="0" smtClean="0">
                <a:solidFill>
                  <a:srgbClr val="FFFFFF">
                    <a:alpha val="99000"/>
                  </a:srgbClr>
                </a:solidFill>
                <a:cs typeface="Segoe UI" pitchFamily="34" charset="0"/>
              </a:rPr>
              <a:t>Familiar Development tools</a:t>
            </a:r>
            <a:endParaRPr lang="en-US" dirty="0" smtClean="0"/>
          </a:p>
          <a:p>
            <a:pPr marL="384431" lvl="1" indent="-171450">
              <a:buFont typeface="Arial" pitchFamily="34" charset="0"/>
              <a:buChar char="•"/>
            </a:pPr>
            <a:r>
              <a:rPr lang="en-US" sz="900" dirty="0" smtClean="0">
                <a:solidFill>
                  <a:srgbClr val="FFFFFF">
                    <a:alpha val="99000"/>
                  </a:srgbClr>
                </a:solidFill>
                <a:cs typeface="Segoe UI" pitchFamily="34" charset="0"/>
              </a:rPr>
              <a:t>Library of VM Templates</a:t>
            </a:r>
            <a:endParaRPr lang="en-US" dirty="0" smtClean="0"/>
          </a:p>
          <a:p>
            <a:pPr marL="171450" indent="-171450">
              <a:buFont typeface="Arial" pitchFamily="34" charset="0"/>
              <a:buChar char="•"/>
            </a:pPr>
            <a:r>
              <a:rPr lang="en-US" dirty="0" smtClean="0"/>
              <a:t>Flexibilit</a:t>
            </a:r>
            <a:r>
              <a:rPr lang="en-US" baseline="0" dirty="0" smtClean="0"/>
              <a:t>y and Control</a:t>
            </a:r>
          </a:p>
          <a:p>
            <a:pPr marL="384431" lvl="1" indent="-171450">
              <a:buFont typeface="Arial" pitchFamily="34" charset="0"/>
              <a:buChar char="•"/>
            </a:pPr>
            <a:r>
              <a:rPr lang="en-US" sz="900" dirty="0" smtClean="0">
                <a:solidFill>
                  <a:srgbClr val="FFFFFF">
                    <a:alpha val="99000"/>
                  </a:srgbClr>
                </a:solidFill>
                <a:cs typeface="Segoe UI" pitchFamily="34" charset="0"/>
              </a:rPr>
              <a:t>Full Control of Virtual Machine</a:t>
            </a:r>
            <a:endParaRPr lang="en-US" baseline="0" dirty="0" smtClean="0"/>
          </a:p>
          <a:p>
            <a:pPr marL="384431" lvl="1" indent="-171450">
              <a:buFont typeface="Arial" pitchFamily="34" charset="0"/>
              <a:buChar char="•"/>
            </a:pPr>
            <a:r>
              <a:rPr lang="en-US" sz="900" dirty="0" smtClean="0">
                <a:solidFill>
                  <a:srgbClr val="FFFFFF">
                    <a:alpha val="99000"/>
                  </a:srgbClr>
                </a:solidFill>
                <a:cs typeface="Segoe UI" pitchFamily="34" charset="0"/>
              </a:rPr>
              <a:t>Common Identity (Active Directory Integration)</a:t>
            </a:r>
            <a:endParaRPr lang="en-US" baseline="0" dirty="0" smtClean="0"/>
          </a:p>
          <a:p>
            <a:pPr marL="171450" indent="-171450">
              <a:buFont typeface="Arial" pitchFamily="34" charset="0"/>
              <a:buChar char="•"/>
            </a:pPr>
            <a:r>
              <a:rPr lang="en-US" baseline="0" dirty="0" smtClean="0"/>
              <a:t>Managed Infrastructure</a:t>
            </a:r>
          </a:p>
          <a:p>
            <a:pPr marL="384431" lvl="1" indent="-171450">
              <a:buFont typeface="Arial" pitchFamily="34" charset="0"/>
              <a:buChar char="•"/>
            </a:pPr>
            <a:r>
              <a:rPr lang="en-US" sz="900" dirty="0" smtClean="0">
                <a:solidFill>
                  <a:srgbClr val="FFFFFF">
                    <a:alpha val="99000"/>
                  </a:srgbClr>
                </a:solidFill>
                <a:cs typeface="Segoe UI" pitchFamily="34" charset="0"/>
              </a:rPr>
              <a:t>Fully Managed Infrastructure</a:t>
            </a:r>
            <a:endParaRPr lang="en-US" baseline="0" dirty="0" smtClean="0"/>
          </a:p>
          <a:p>
            <a:pPr marL="384431" lvl="1" indent="-171450">
              <a:buFont typeface="Arial" pitchFamily="34" charset="0"/>
              <a:buChar char="•"/>
            </a:pPr>
            <a:r>
              <a:rPr lang="en-US" sz="900" dirty="0" smtClean="0">
                <a:solidFill>
                  <a:srgbClr val="FFFFFF">
                    <a:alpha val="99000"/>
                  </a:srgbClr>
                </a:solidFill>
                <a:cs typeface="Segoe UI" pitchFamily="34" charset="0"/>
              </a:rPr>
              <a:t>99.9% SLA for Virtual Machine</a:t>
            </a:r>
            <a:endParaRPr lang="en-US" baseline="0" dirty="0" smtClean="0"/>
          </a:p>
          <a:p>
            <a:pPr marL="384431" lvl="1" indent="-171450">
              <a:buFont typeface="Arial" pitchFamily="34" charset="0"/>
              <a:buChar char="•"/>
            </a:pPr>
            <a:r>
              <a:rPr lang="en-US" sz="900" dirty="0" smtClean="0">
                <a:solidFill>
                  <a:srgbClr val="FFFFFF">
                    <a:alpha val="99000"/>
                  </a:srgbClr>
                </a:solidFill>
                <a:cs typeface="Segoe UI" pitchFamily="34" charset="0"/>
              </a:rPr>
              <a:t>Single Pane of Glass to Manage with System Center 2012</a:t>
            </a:r>
            <a:endParaRPr lang="en-US" dirty="0" smtClean="0"/>
          </a:p>
          <a:p>
            <a:pPr marL="0" indent="0">
              <a:buFont typeface="Arial" pitchFamily="34" charset="0"/>
              <a:buNone/>
            </a:pPr>
            <a:endParaRPr lang="en-US" sz="900" baseline="0" dirty="0" smtClean="0"/>
          </a:p>
          <a:p>
            <a:pPr marL="0" indent="0">
              <a:buFont typeface="Arial" pitchFamily="34" charset="0"/>
              <a:buNone/>
            </a:pPr>
            <a:r>
              <a:rPr lang="en-US" sz="900" b="1" baseline="0" dirty="0" smtClean="0"/>
              <a:t>Notes:</a:t>
            </a:r>
          </a:p>
          <a:p>
            <a:endParaRPr lang="en-US" dirty="0">
              <a:latin typeface="Segoe UI"/>
            </a:endParaRPr>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latin typeface="Segoe UI"/>
              </a:rPr>
              <a:pPr/>
              <a:t>47</a:t>
            </a:fld>
            <a:endParaRPr lang="en-US" dirty="0">
              <a:solidFill>
                <a:prstClr val="black"/>
              </a:solidFill>
              <a:latin typeface="Segoe UI"/>
            </a:endParaRPr>
          </a:p>
        </p:txBody>
      </p:sp>
    </p:spTree>
    <p:extLst>
      <p:ext uri="{BB962C8B-B14F-4D97-AF65-F5344CB8AC3E}">
        <p14:creationId xmlns:p14="http://schemas.microsoft.com/office/powerpoint/2010/main" val="3545239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US" sz="900" b="1" dirty="0" smtClean="0"/>
              <a:t>Slide Objectives:</a:t>
            </a:r>
          </a:p>
          <a:p>
            <a:pPr marL="171450" indent="-171450">
              <a:buFont typeface="Arial" pitchFamily="34" charset="0"/>
              <a:buChar char="•"/>
            </a:pPr>
            <a:r>
              <a:rPr lang="en-US" sz="900" baseline="0" dirty="0" smtClean="0"/>
              <a:t>Explain the benefits of Virtual Machines + SQL Server</a:t>
            </a:r>
          </a:p>
          <a:p>
            <a:pPr marL="0" indent="0">
              <a:buFont typeface="Arial" pitchFamily="34" charset="0"/>
              <a:buNone/>
            </a:pPr>
            <a:endParaRPr lang="en-US" sz="900" baseline="0" dirty="0" smtClean="0"/>
          </a:p>
          <a:p>
            <a:pPr marL="0" indent="0">
              <a:buFont typeface="Arial" pitchFamily="34" charset="0"/>
              <a:buNone/>
            </a:pPr>
            <a:r>
              <a:rPr lang="en-US" sz="900" b="1" baseline="0" dirty="0" smtClean="0"/>
              <a:t>Speaking Points:</a:t>
            </a:r>
          </a:p>
          <a:p>
            <a:pPr marL="0" indent="0">
              <a:buFont typeface="Arial" pitchFamily="34" charset="0"/>
              <a:buNone/>
            </a:pPr>
            <a:endParaRPr lang="en-US" sz="900" baseline="0" dirty="0" smtClean="0"/>
          </a:p>
          <a:p>
            <a:pPr marL="0" indent="0">
              <a:buFont typeface="Arial" pitchFamily="34" charset="0"/>
              <a:buNone/>
            </a:pPr>
            <a:r>
              <a:rPr lang="en-US" sz="900" b="1" baseline="0" dirty="0" smtClean="0"/>
              <a:t>Notes:</a:t>
            </a:r>
          </a:p>
          <a:p>
            <a:endParaRPr lang="en-US" dirty="0" smtClean="0"/>
          </a:p>
          <a:p>
            <a:endParaRPr lang="en-US" dirty="0">
              <a:latin typeface="Segoe UI"/>
            </a:endParaRPr>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latin typeface="Segoe UI"/>
              </a:rPr>
              <a:pPr/>
              <a:t>48</a:t>
            </a:fld>
            <a:endParaRPr lang="en-US" dirty="0">
              <a:solidFill>
                <a:prstClr val="black"/>
              </a:solidFill>
              <a:latin typeface="Segoe UI"/>
            </a:endParaRPr>
          </a:p>
        </p:txBody>
      </p:sp>
    </p:spTree>
    <p:extLst>
      <p:ext uri="{BB962C8B-B14F-4D97-AF65-F5344CB8AC3E}">
        <p14:creationId xmlns:p14="http://schemas.microsoft.com/office/powerpoint/2010/main" val="354523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389516833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US" sz="900" b="1" dirty="0" smtClean="0"/>
              <a:t>Slide Objectives:</a:t>
            </a:r>
          </a:p>
          <a:p>
            <a:pPr marL="171450" indent="-171450">
              <a:buFont typeface="Arial" pitchFamily="34" charset="0"/>
              <a:buChar char="•"/>
            </a:pPr>
            <a:r>
              <a:rPr lang="en-US" sz="900" baseline="0" dirty="0" smtClean="0"/>
              <a:t>Introduce the demoer and setup the first segment of the expense reporting demo.  </a:t>
            </a:r>
          </a:p>
          <a:p>
            <a:pPr marL="171450" indent="-171450">
              <a:buFont typeface="Arial" pitchFamily="34" charset="0"/>
              <a:buChar char="•"/>
            </a:pPr>
            <a:endParaRPr lang="en-US" sz="900" baseline="0" dirty="0" smtClean="0"/>
          </a:p>
          <a:p>
            <a:pPr marL="0" indent="0">
              <a:buFont typeface="Arial" pitchFamily="34" charset="0"/>
              <a:buNone/>
            </a:pPr>
            <a:r>
              <a:rPr lang="en-US" sz="900" b="1" baseline="0" dirty="0" smtClean="0"/>
              <a:t>Demo Flow:</a:t>
            </a:r>
          </a:p>
          <a:p>
            <a:pPr marL="171450" lvl="0" indent="-171450">
              <a:buFont typeface="Arial" pitchFamily="34" charset="0"/>
              <a:buChar char="•"/>
            </a:pPr>
            <a:r>
              <a:rPr lang="en-US" sz="900" baseline="0" dirty="0" smtClean="0"/>
              <a:t>Introduce the expense reporting application scenario</a:t>
            </a:r>
          </a:p>
          <a:p>
            <a:pPr marL="171450" lvl="0" indent="-171450">
              <a:buFont typeface="Arial" pitchFamily="34" charset="0"/>
              <a:buChar char="•"/>
            </a:pPr>
            <a:r>
              <a:rPr lang="en-US" sz="900" baseline="0" dirty="0" smtClean="0"/>
              <a:t>Create a Virtual Machine with SQL Server in the Windows Azure management portal</a:t>
            </a:r>
          </a:p>
          <a:p>
            <a:pPr marL="171450" lvl="0" indent="-171450">
              <a:buFont typeface="Arial" pitchFamily="34" charset="0"/>
              <a:buChar char="•"/>
            </a:pPr>
            <a:r>
              <a:rPr lang="en-US" sz="900" baseline="0" dirty="0" smtClean="0"/>
              <a:t>Connect to the VM using SSMS and import a BACPAC from our on-premises database</a:t>
            </a:r>
          </a:p>
          <a:p>
            <a:pPr marL="171450" lvl="0" indent="-171450">
              <a:buFont typeface="Arial" pitchFamily="34" charset="0"/>
              <a:buChar char="•"/>
            </a:pPr>
            <a:r>
              <a:rPr lang="en-US" sz="900" baseline="0" dirty="0" smtClean="0"/>
              <a:t>Change our app configuration and deploy it to Windows Azure Web Sites</a:t>
            </a:r>
          </a:p>
          <a:p>
            <a:pPr marL="171450" lvl="0" indent="-171450">
              <a:buFont typeface="Arial" pitchFamily="34" charset="0"/>
              <a:buChar char="•"/>
            </a:pPr>
            <a:r>
              <a:rPr lang="en-US" sz="900" baseline="0" dirty="0" smtClean="0"/>
              <a:t>Show our app completely running in Windows Azure with a Web Site and a VM</a:t>
            </a:r>
          </a:p>
          <a:p>
            <a:pPr marL="0" indent="0">
              <a:buFont typeface="Arial" pitchFamily="34" charset="0"/>
              <a:buNone/>
            </a:pPr>
            <a:endParaRPr lang="en-US" sz="900" baseline="0" dirty="0" smtClean="0"/>
          </a:p>
          <a:p>
            <a:pPr marL="0" indent="0">
              <a:buFont typeface="Arial" pitchFamily="34" charset="0"/>
              <a:buNone/>
            </a:pPr>
            <a:r>
              <a:rPr lang="en-US" sz="900" b="1" baseline="0" dirty="0" smtClean="0"/>
              <a:t>Speaking Points:</a:t>
            </a:r>
          </a:p>
          <a:p>
            <a:pPr marL="0" indent="0">
              <a:buFont typeface="Arial" pitchFamily="34" charset="0"/>
              <a:buNone/>
            </a:pPr>
            <a:endParaRPr lang="en-US" sz="900" baseline="0" dirty="0" smtClean="0"/>
          </a:p>
          <a:p>
            <a:pPr marL="0" indent="0">
              <a:buFont typeface="Arial" pitchFamily="34" charset="0"/>
              <a:buNone/>
            </a:pPr>
            <a:r>
              <a:rPr lang="en-US" sz="900" b="1" baseline="0" dirty="0" smtClean="0"/>
              <a:t>Notes:</a:t>
            </a:r>
          </a:p>
          <a:p>
            <a:endParaRPr lang="en-US" dirty="0" smtClean="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34A4F94-DAB2-42E7-A25A-C06804AD4A0F}" type="datetime1">
              <a:rPr lang="en-US" smtClean="0"/>
              <a:t>9/20/2012</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t>49</a:t>
            </a:fld>
            <a:endParaRPr lang="en-US" dirty="0"/>
          </a:p>
        </p:txBody>
      </p:sp>
    </p:spTree>
    <p:extLst>
      <p:ext uri="{BB962C8B-B14F-4D97-AF65-F5344CB8AC3E}">
        <p14:creationId xmlns:p14="http://schemas.microsoft.com/office/powerpoint/2010/main" val="116948046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US" sz="900" b="1" dirty="0" smtClean="0"/>
              <a:t>Slide Objectives:</a:t>
            </a:r>
          </a:p>
          <a:p>
            <a:pPr marL="171450" indent="-171450">
              <a:buFont typeface="Arial" pitchFamily="34" charset="0"/>
              <a:buChar char="•"/>
            </a:pPr>
            <a:r>
              <a:rPr lang="en-US" sz="900" baseline="0" dirty="0" smtClean="0"/>
              <a:t>Explain how databases are provisioned and managed by the WA SQL Database service.  </a:t>
            </a:r>
          </a:p>
          <a:p>
            <a:pPr marL="171450" indent="-171450">
              <a:buFont typeface="Arial" pitchFamily="34" charset="0"/>
              <a:buChar char="•"/>
            </a:pPr>
            <a:r>
              <a:rPr lang="en-US" sz="900" baseline="0" dirty="0" smtClean="0"/>
              <a:t>Emphasize that we are able to automate several aspects of the database for you including high availability by maintaining three replicas of data</a:t>
            </a:r>
          </a:p>
          <a:p>
            <a:pPr marL="0" indent="0">
              <a:buFont typeface="Arial" pitchFamily="34" charset="0"/>
              <a:buNone/>
            </a:pPr>
            <a:endParaRPr lang="en-US" sz="900" baseline="0" dirty="0" smtClean="0"/>
          </a:p>
          <a:p>
            <a:pPr marL="0" indent="0">
              <a:buFont typeface="Arial" pitchFamily="34" charset="0"/>
              <a:buNone/>
            </a:pPr>
            <a:r>
              <a:rPr lang="en-US" sz="900" b="1" baseline="0" dirty="0" smtClean="0"/>
              <a:t>Speaking Points:</a:t>
            </a:r>
          </a:p>
          <a:p>
            <a:pPr marL="0" indent="0">
              <a:buFont typeface="Arial" pitchFamily="34" charset="0"/>
              <a:buNone/>
            </a:pPr>
            <a:endParaRPr lang="en-US" sz="900" b="1" baseline="0" dirty="0" smtClean="0"/>
          </a:p>
          <a:p>
            <a:pPr marL="0" indent="0">
              <a:buFont typeface="Arial" pitchFamily="34" charset="0"/>
              <a:buNone/>
            </a:pPr>
            <a:endParaRPr lang="en-US" sz="900" baseline="0" dirty="0" smtClean="0"/>
          </a:p>
          <a:p>
            <a:pPr marL="0" indent="0">
              <a:buFont typeface="Arial" pitchFamily="34" charset="0"/>
              <a:buNone/>
            </a:pPr>
            <a:r>
              <a:rPr lang="en-US" sz="900" b="1" baseline="0" dirty="0" smtClean="0"/>
              <a:t>Notes:</a:t>
            </a:r>
          </a:p>
          <a:p>
            <a:r>
              <a:rPr lang="en-US" sz="900" kern="1200" dirty="0" smtClean="0">
                <a:solidFill>
                  <a:schemeClr val="tx1"/>
                </a:solidFill>
                <a:effectLst/>
                <a:latin typeface="Segoe UI Light" pitchFamily="34" charset="0"/>
                <a:ea typeface="+mn-ea"/>
                <a:cs typeface="+mn-cs"/>
              </a:rPr>
              <a:t>A request for a new database comes in. The TDS Gateway interrogates the request and looks at the protocol and handles the request accordingly. </a:t>
            </a:r>
          </a:p>
          <a:p>
            <a:r>
              <a:rPr lang="en-US" sz="900" kern="1200" dirty="0" smtClean="0">
                <a:solidFill>
                  <a:schemeClr val="tx1"/>
                </a:solidFill>
                <a:effectLst/>
                <a:latin typeface="Segoe UI Light" pitchFamily="34" charset="0"/>
                <a:ea typeface="+mn-ea"/>
                <a:cs typeface="+mn-cs"/>
              </a:rPr>
              <a:t>The request is then sent to the master cluster which contains information regarding all backend nodes (load, etc.). </a:t>
            </a:r>
          </a:p>
          <a:p>
            <a:endParaRPr lang="en-US" sz="900" kern="1200" dirty="0" smtClean="0">
              <a:solidFill>
                <a:schemeClr val="tx1"/>
              </a:solidFill>
              <a:effectLst/>
              <a:latin typeface="Segoe UI Light" pitchFamily="34" charset="0"/>
              <a:ea typeface="+mn-ea"/>
              <a:cs typeface="+mn-cs"/>
            </a:endParaRPr>
          </a:p>
          <a:p>
            <a:r>
              <a:rPr lang="en-US" sz="900" b="1" i="1" kern="1200" dirty="0" smtClean="0">
                <a:solidFill>
                  <a:schemeClr val="tx1"/>
                </a:solidFill>
                <a:effectLst/>
                <a:latin typeface="Segoe UI Light" pitchFamily="34" charset="0"/>
                <a:ea typeface="+mn-ea"/>
                <a:cs typeface="+mn-cs"/>
              </a:rPr>
              <a:t>[Jeff Currier] We keep a pool of buffered databases around for db create requests.  When a user goes to make a request to create a database we simply go to the master cluster (GPM) to find where the current primary replica is for partition containing the list of these buffer databases.  We then connect to that partition and take out one of the databases for our use.  We then connect directly to that database stamping it with the new database name, server information.</a:t>
            </a:r>
            <a:endParaRPr lang="en-US" sz="900" b="0" baseline="0" dirty="0" smtClean="0"/>
          </a:p>
        </p:txBody>
      </p:sp>
      <p:sp>
        <p:nvSpPr>
          <p:cNvPr id="4" name="Slide Number Placeholder 3"/>
          <p:cNvSpPr>
            <a:spLocks noGrp="1"/>
          </p:cNvSpPr>
          <p:nvPr>
            <p:ph type="sldNum" sz="quarter" idx="10"/>
          </p:nvPr>
        </p:nvSpPr>
        <p:spPr/>
        <p:txBody>
          <a:bodyPr/>
          <a:lstStyle/>
          <a:p>
            <a:fld id="{586D370E-4634-40DB-85D7-CA74113F25F7}" type="slidenum">
              <a:rPr lang="en-US" smtClean="0"/>
              <a:pPr/>
              <a:t>50</a:t>
            </a:fld>
            <a:endParaRPr lang="en-US" dirty="0"/>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lvl="1"/>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1</a:t>
            </a:fld>
            <a:endParaRPr lang="en-US" dirty="0">
              <a:solidFill>
                <a:prstClr val="black"/>
              </a:solidFill>
            </a:endParaRPr>
          </a:p>
        </p:txBody>
      </p:sp>
    </p:spTree>
    <p:extLst>
      <p:ext uri="{BB962C8B-B14F-4D97-AF65-F5344CB8AC3E}">
        <p14:creationId xmlns:p14="http://schemas.microsoft.com/office/powerpoint/2010/main" val="234224513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3</a:t>
            </a:fld>
            <a:endParaRPr lang="en-US" dirty="0">
              <a:solidFill>
                <a:prstClr val="black"/>
              </a:solidFill>
            </a:endParaRPr>
          </a:p>
        </p:txBody>
      </p:sp>
    </p:spTree>
    <p:extLst>
      <p:ext uri="{BB962C8B-B14F-4D97-AF65-F5344CB8AC3E}">
        <p14:creationId xmlns:p14="http://schemas.microsoft.com/office/powerpoint/2010/main" val="38204567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4</a:t>
            </a:fld>
            <a:endParaRPr lang="en-US" dirty="0">
              <a:solidFill>
                <a:prstClr val="black"/>
              </a:solidFill>
            </a:endParaRPr>
          </a:p>
        </p:txBody>
      </p:sp>
    </p:spTree>
    <p:extLst>
      <p:ext uri="{BB962C8B-B14F-4D97-AF65-F5344CB8AC3E}">
        <p14:creationId xmlns:p14="http://schemas.microsoft.com/office/powerpoint/2010/main" val="47057886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5</a:t>
            </a:fld>
            <a:endParaRPr lang="en-US" dirty="0">
              <a:solidFill>
                <a:prstClr val="black"/>
              </a:solidFill>
            </a:endParaRPr>
          </a:p>
        </p:txBody>
      </p:sp>
    </p:spTree>
    <p:extLst>
      <p:ext uri="{BB962C8B-B14F-4D97-AF65-F5344CB8AC3E}">
        <p14:creationId xmlns:p14="http://schemas.microsoft.com/office/powerpoint/2010/main" val="313298256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6</a:t>
            </a:fld>
            <a:endParaRPr lang="en-US" dirty="0">
              <a:solidFill>
                <a:prstClr val="black"/>
              </a:solidFill>
            </a:endParaRPr>
          </a:p>
        </p:txBody>
      </p:sp>
    </p:spTree>
    <p:extLst>
      <p:ext uri="{BB962C8B-B14F-4D97-AF65-F5344CB8AC3E}">
        <p14:creationId xmlns:p14="http://schemas.microsoft.com/office/powerpoint/2010/main" val="276283094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7</a:t>
            </a:fld>
            <a:endParaRPr lang="en-US" dirty="0">
              <a:solidFill>
                <a:prstClr val="black"/>
              </a:solidFill>
            </a:endParaRPr>
          </a:p>
        </p:txBody>
      </p:sp>
    </p:spTree>
    <p:extLst>
      <p:ext uri="{BB962C8B-B14F-4D97-AF65-F5344CB8AC3E}">
        <p14:creationId xmlns:p14="http://schemas.microsoft.com/office/powerpoint/2010/main" val="106339384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5A502A9-73CC-44CC-A635-419454C555A5}" type="slidenum">
              <a:rPr lang="en-US" smtClean="0">
                <a:solidFill>
                  <a:prstClr val="black"/>
                </a:solidFill>
              </a:rPr>
              <a:pPr/>
              <a:t>60</a:t>
            </a:fld>
            <a:endParaRPr lang="en-US">
              <a:solidFill>
                <a:prstClr val="black"/>
              </a:solidFill>
            </a:endParaRPr>
          </a:p>
        </p:txBody>
      </p:sp>
    </p:spTree>
    <p:extLst>
      <p:ext uri="{BB962C8B-B14F-4D97-AF65-F5344CB8AC3E}">
        <p14:creationId xmlns:p14="http://schemas.microsoft.com/office/powerpoint/2010/main" val="357709443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200" y="696913"/>
            <a:ext cx="6197600" cy="3486150"/>
          </a:xfrm>
        </p:spPr>
      </p:sp>
      <p:sp>
        <p:nvSpPr>
          <p:cNvPr id="3" name="Notes Placeholder 2"/>
          <p:cNvSpPr>
            <a:spLocks noGrp="1"/>
          </p:cNvSpPr>
          <p:nvPr>
            <p:ph type="body" idx="1"/>
          </p:nvPr>
        </p:nvSpPr>
        <p:spPr/>
        <p:txBody>
          <a:bodyPr>
            <a:normAutofit fontScale="92500" lnSpcReduction="20000"/>
          </a:bodyPr>
          <a:lstStyle/>
          <a:p>
            <a:pPr marL="212981" lvl="1" indent="0">
              <a:buFont typeface="Arial" pitchFamily="34" charset="0"/>
              <a:buNone/>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63</a:t>
            </a:fld>
            <a:endParaRPr lang="en-US" dirty="0">
              <a:solidFill>
                <a:prstClr val="black"/>
              </a:solidFill>
            </a:endParaRPr>
          </a:p>
        </p:txBody>
      </p:sp>
    </p:spTree>
    <p:extLst>
      <p:ext uri="{BB962C8B-B14F-4D97-AF65-F5344CB8AC3E}">
        <p14:creationId xmlns:p14="http://schemas.microsoft.com/office/powerpoint/2010/main" val="22782298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389516833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64</a:t>
            </a:fld>
            <a:endParaRPr lang="en-US" dirty="0">
              <a:solidFill>
                <a:prstClr val="black"/>
              </a:solidFill>
            </a:endParaRPr>
          </a:p>
        </p:txBody>
      </p:sp>
    </p:spTree>
    <p:extLst>
      <p:ext uri="{BB962C8B-B14F-4D97-AF65-F5344CB8AC3E}">
        <p14:creationId xmlns:p14="http://schemas.microsoft.com/office/powerpoint/2010/main" val="34626546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65</a:t>
            </a:fld>
            <a:endParaRPr lang="en-US" dirty="0"/>
          </a:p>
        </p:txBody>
      </p:sp>
    </p:spTree>
    <p:extLst>
      <p:ext uri="{BB962C8B-B14F-4D97-AF65-F5344CB8AC3E}">
        <p14:creationId xmlns:p14="http://schemas.microsoft.com/office/powerpoint/2010/main" val="252261876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66</a:t>
            </a:fld>
            <a:endParaRPr lang="en-US" dirty="0">
              <a:solidFill>
                <a:prstClr val="black"/>
              </a:solidFill>
            </a:endParaRPr>
          </a:p>
        </p:txBody>
      </p:sp>
    </p:spTree>
    <p:extLst>
      <p:ext uri="{BB962C8B-B14F-4D97-AF65-F5344CB8AC3E}">
        <p14:creationId xmlns:p14="http://schemas.microsoft.com/office/powerpoint/2010/main" val="341654323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67</a:t>
            </a:fld>
            <a:endParaRPr lang="en-US" dirty="0">
              <a:solidFill>
                <a:prstClr val="black"/>
              </a:solidFill>
            </a:endParaRPr>
          </a:p>
        </p:txBody>
      </p:sp>
    </p:spTree>
    <p:extLst>
      <p:ext uri="{BB962C8B-B14F-4D97-AF65-F5344CB8AC3E}">
        <p14:creationId xmlns:p14="http://schemas.microsoft.com/office/powerpoint/2010/main" val="187349658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68</a:t>
            </a:fld>
            <a:endParaRPr lang="en-US" dirty="0">
              <a:solidFill>
                <a:prstClr val="black"/>
              </a:solidFill>
            </a:endParaRPr>
          </a:p>
        </p:txBody>
      </p:sp>
    </p:spTree>
    <p:extLst>
      <p:ext uri="{BB962C8B-B14F-4D97-AF65-F5344CB8AC3E}">
        <p14:creationId xmlns:p14="http://schemas.microsoft.com/office/powerpoint/2010/main" val="420124644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69</a:t>
            </a:fld>
            <a:endParaRPr lang="en-US" dirty="0">
              <a:solidFill>
                <a:prstClr val="black"/>
              </a:solidFill>
            </a:endParaRPr>
          </a:p>
        </p:txBody>
      </p:sp>
    </p:spTree>
    <p:extLst>
      <p:ext uri="{BB962C8B-B14F-4D97-AF65-F5344CB8AC3E}">
        <p14:creationId xmlns:p14="http://schemas.microsoft.com/office/powerpoint/2010/main" val="420124644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73</a:t>
            </a:fld>
            <a:endParaRPr lang="en-US" dirty="0"/>
          </a:p>
        </p:txBody>
      </p:sp>
    </p:spTree>
    <p:extLst>
      <p:ext uri="{BB962C8B-B14F-4D97-AF65-F5344CB8AC3E}">
        <p14:creationId xmlns:p14="http://schemas.microsoft.com/office/powerpoint/2010/main" val="3993215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75</a:t>
            </a:fld>
            <a:endParaRPr lang="en-US" dirty="0"/>
          </a:p>
        </p:txBody>
      </p:sp>
    </p:spTree>
    <p:extLst>
      <p:ext uri="{BB962C8B-B14F-4D97-AF65-F5344CB8AC3E}">
        <p14:creationId xmlns:p14="http://schemas.microsoft.com/office/powerpoint/2010/main" val="220570785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76</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7517B8B-8D1F-41F2-BD57-2A0741228529}" type="slidenum">
              <a:rPr lang="en-US" smtClean="0"/>
              <a:t>78</a:t>
            </a:fld>
            <a:endParaRPr lang="en-US"/>
          </a:p>
        </p:txBody>
      </p:sp>
    </p:spTree>
    <p:extLst>
      <p:ext uri="{BB962C8B-B14F-4D97-AF65-F5344CB8AC3E}">
        <p14:creationId xmlns:p14="http://schemas.microsoft.com/office/powerpoint/2010/main" val="34509877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154746901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79</a:t>
            </a:fld>
            <a:endParaRPr lang="en-US" dirty="0"/>
          </a:p>
        </p:txBody>
      </p:sp>
    </p:spTree>
    <p:extLst>
      <p:ext uri="{BB962C8B-B14F-4D97-AF65-F5344CB8AC3E}">
        <p14:creationId xmlns:p14="http://schemas.microsoft.com/office/powerpoint/2010/main" val="351082395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80</a:t>
            </a:fld>
            <a:endParaRPr lang="en-US" dirty="0"/>
          </a:p>
        </p:txBody>
      </p:sp>
    </p:spTree>
    <p:extLst>
      <p:ext uri="{BB962C8B-B14F-4D97-AF65-F5344CB8AC3E}">
        <p14:creationId xmlns:p14="http://schemas.microsoft.com/office/powerpoint/2010/main" val="414786834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3"/>
          <p:cNvSpPr>
            <a:spLocks noGrp="1" noChangeArrowheads="1"/>
          </p:cNvSpPr>
          <p:nvPr>
            <p:ph type="dt" sz="quarter" idx="1"/>
          </p:nvPr>
        </p:nvSpPr>
        <p:spPr>
          <a:noFill/>
        </p:spPr>
        <p:txBody>
          <a:bodyPr/>
          <a:lstStyle/>
          <a:p>
            <a:fld id="{D981B906-E48D-43F8-8760-B0BFEB02150A}" type="datetime8">
              <a:rPr lang="en-US" smtClean="0">
                <a:solidFill>
                  <a:prstClr val="black"/>
                </a:solidFill>
                <a:cs typeface="Arial" charset="0"/>
              </a:rPr>
              <a:pPr/>
              <a:t>9/20/2012 12:36 AM</a:t>
            </a:fld>
            <a:endParaRPr lang="en-US" dirty="0" smtClean="0">
              <a:solidFill>
                <a:prstClr val="black"/>
              </a:solidFill>
              <a:cs typeface="Arial" charset="0"/>
            </a:endParaRPr>
          </a:p>
        </p:txBody>
      </p:sp>
      <p:sp>
        <p:nvSpPr>
          <p:cNvPr id="36867" name="Rectangle 6"/>
          <p:cNvSpPr>
            <a:spLocks noGrp="1" noChangeArrowheads="1"/>
          </p:cNvSpPr>
          <p:nvPr>
            <p:ph type="ftr" sz="quarter" idx="4"/>
          </p:nvPr>
        </p:nvSpPr>
        <p:spPr>
          <a:noFill/>
        </p:spPr>
        <p:txBody>
          <a:bodyPr/>
          <a:lstStyle/>
          <a:p>
            <a:r>
              <a:rPr lang="en-US" dirty="0" smtClean="0">
                <a:solidFill>
                  <a:prstClr val="black"/>
                </a:solidFill>
                <a:cs typeface="Arial" charset="0"/>
              </a:rPr>
              <a:t>© 2006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36868" name="Rectangle 7"/>
          <p:cNvSpPr>
            <a:spLocks noGrp="1" noChangeArrowheads="1"/>
          </p:cNvSpPr>
          <p:nvPr>
            <p:ph type="sldNum" sz="quarter" idx="5"/>
          </p:nvPr>
        </p:nvSpPr>
        <p:spPr>
          <a:noFill/>
        </p:spPr>
        <p:txBody>
          <a:bodyPr/>
          <a:lstStyle/>
          <a:p>
            <a:fld id="{D5E25F9C-944B-4311-8DA3-48595C6087DB}" type="slidenum">
              <a:rPr lang="en-US" smtClean="0">
                <a:solidFill>
                  <a:prstClr val="black"/>
                </a:solidFill>
                <a:cs typeface="Arial" charset="0"/>
              </a:rPr>
              <a:pPr/>
              <a:t>81</a:t>
            </a:fld>
            <a:endParaRPr lang="en-US" dirty="0" smtClean="0">
              <a:solidFill>
                <a:prstClr val="black"/>
              </a:solidFill>
              <a:cs typeface="Arial" charset="0"/>
            </a:endParaRPr>
          </a:p>
        </p:txBody>
      </p:sp>
      <p:sp>
        <p:nvSpPr>
          <p:cNvPr id="36869" name="Rectangle 2"/>
          <p:cNvSpPr>
            <a:spLocks noGrp="1" noRot="1" noChangeAspect="1" noChangeArrowheads="1" noTextEdit="1"/>
          </p:cNvSpPr>
          <p:nvPr>
            <p:ph type="sldImg"/>
          </p:nvPr>
        </p:nvSpPr>
        <p:spPr>
          <a:xfrm>
            <a:off x="381000" y="685800"/>
            <a:ext cx="6096000" cy="3429000"/>
          </a:xfrm>
          <a:ln/>
        </p:spPr>
      </p:sp>
      <p:sp>
        <p:nvSpPr>
          <p:cNvPr id="36870" name="Rectangle 3"/>
          <p:cNvSpPr>
            <a:spLocks noGrp="1" noChangeArrowheads="1"/>
          </p:cNvSpPr>
          <p:nvPr>
            <p:ph type="body" idx="1"/>
          </p:nvPr>
        </p:nvSpPr>
        <p:spPr>
          <a:xfrm>
            <a:off x="685800" y="4343401"/>
            <a:ext cx="5486400" cy="4114800"/>
          </a:xfrm>
          <a:prstGeom prst="rect">
            <a:avLst/>
          </a:prstGeom>
          <a:noFill/>
          <a:ln/>
        </p:spPr>
        <p:txBody>
          <a:bodyPr lIns="89584" tIns="44792" rIns="89584" bIns="44792"/>
          <a:lstStyle/>
          <a:p>
            <a:pPr defTabSz="897195" eaLnBrk="0" hangingPunct="0">
              <a:defRPr/>
            </a:pPr>
            <a:endParaRPr lang="en-US" dirty="0"/>
          </a:p>
        </p:txBody>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BAE8F12-E55F-48B5-8533-E1BCC28B2BE6}" type="slidenum">
              <a:rPr lang="en-US" smtClean="0">
                <a:solidFill>
                  <a:prstClr val="black"/>
                </a:solidFill>
              </a:rPr>
              <a:pPr/>
              <a:t>82</a:t>
            </a:fld>
            <a:endParaRPr lang="en-US">
              <a:solidFill>
                <a:prstClr val="black"/>
              </a:solidFill>
            </a:endParaRPr>
          </a:p>
        </p:txBody>
      </p:sp>
    </p:spTree>
    <p:extLst>
      <p:ext uri="{BB962C8B-B14F-4D97-AF65-F5344CB8AC3E}">
        <p14:creationId xmlns:p14="http://schemas.microsoft.com/office/powerpoint/2010/main" val="148320801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r>
              <a:rPr lang="en-US" dirty="0" err="1" smtClean="0"/>
              <a:t>TechEd</a:t>
            </a:r>
            <a:r>
              <a:rPr lang="en-US" dirty="0" smtClean="0"/>
              <a:t> 2012</a:t>
            </a:r>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9/20/2012 12:36 AM</a:t>
            </a:fld>
            <a:endParaRPr lang="en-US"/>
          </a:p>
        </p:txBody>
      </p:sp>
      <p:sp>
        <p:nvSpPr>
          <p:cNvPr id="6" name="Footer Placeholder 5"/>
          <p:cNvSpPr>
            <a:spLocks noGrp="1"/>
          </p:cNvSpPr>
          <p:nvPr>
            <p:ph type="ftr" sz="quarter" idx="12"/>
          </p:nvPr>
        </p:nvSpPr>
        <p:spPr/>
        <p:txBody>
          <a:bodyPr/>
          <a:lstStyle/>
          <a:p>
            <a:r>
              <a:rPr lang="en-US" dirty="0" smtClean="0">
                <a:latin typeface="Segoe UI" pitchFamily="34" charset="0"/>
              </a:rPr>
              <a:t>© 2012 Microsoft Corporation. All rights reserved. Microsoft, Windows, Windows Vista and other product names are or may be registered trademarks and/or trademarks in the U.S. and/or other countries.</a:t>
            </a:r>
          </a:p>
          <a:p>
            <a:r>
              <a:rPr lang="en-US" dirty="0" smtClean="0">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latin typeface="Segoe UI" pitchFamily="34" charset="0"/>
              </a:rPr>
            </a:br>
            <a:r>
              <a:rPr lang="en-US" dirty="0" smtClean="0">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83</a:t>
            </a:fld>
            <a:endParaRPr lang="en-US" dirty="0"/>
          </a:p>
        </p:txBody>
      </p:sp>
    </p:spTree>
    <p:extLst>
      <p:ext uri="{BB962C8B-B14F-4D97-AF65-F5344CB8AC3E}">
        <p14:creationId xmlns:p14="http://schemas.microsoft.com/office/powerpoint/2010/main" val="188049878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r>
              <a:rPr lang="en-US" dirty="0" err="1" smtClean="0"/>
              <a:t>TechEd</a:t>
            </a:r>
            <a:r>
              <a:rPr lang="en-US" dirty="0" smtClean="0"/>
              <a:t> 2012</a:t>
            </a:r>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9/20/2012 12:36 AM</a:t>
            </a:fld>
            <a:endParaRPr lang="en-US"/>
          </a:p>
        </p:txBody>
      </p:sp>
      <p:sp>
        <p:nvSpPr>
          <p:cNvPr id="6" name="Footer Placeholder 5"/>
          <p:cNvSpPr>
            <a:spLocks noGrp="1"/>
          </p:cNvSpPr>
          <p:nvPr>
            <p:ph type="ftr" sz="quarter" idx="12"/>
          </p:nvPr>
        </p:nvSpPr>
        <p:spPr/>
        <p:txBody>
          <a:bodyPr/>
          <a:lstStyle/>
          <a:p>
            <a:r>
              <a:rPr lang="en-US" dirty="0" smtClean="0">
                <a:latin typeface="Segoe UI" pitchFamily="34" charset="0"/>
              </a:rPr>
              <a:t>© 2012 Microsoft Corporation. All rights reserved. Microsoft, Windows, Windows Vista and other product names are or may be registered trademarks and/or trademarks in the U.S. and/or other countries.</a:t>
            </a:r>
          </a:p>
          <a:p>
            <a:r>
              <a:rPr lang="en-US" dirty="0" smtClean="0">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latin typeface="Segoe UI" pitchFamily="34" charset="0"/>
              </a:rPr>
            </a:br>
            <a:r>
              <a:rPr lang="en-US" dirty="0" smtClean="0">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84</a:t>
            </a:fld>
            <a:endParaRPr lang="en-US" dirty="0"/>
          </a:p>
        </p:txBody>
      </p:sp>
    </p:spTree>
    <p:extLst>
      <p:ext uri="{BB962C8B-B14F-4D97-AF65-F5344CB8AC3E}">
        <p14:creationId xmlns:p14="http://schemas.microsoft.com/office/powerpoint/2010/main" val="381247740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4213"/>
            <a:ext cx="6096000" cy="3430587"/>
          </a:xfrm>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10"/>
          </p:nvPr>
        </p:nvSpPr>
        <p:spPr/>
        <p:txBody>
          <a:bodyPr/>
          <a:lstStyle/>
          <a:p>
            <a:fld id="{89D5A5AB-9D22-4354-8089-2AE811D4E282}" type="slidenum">
              <a:rPr lang="en-US" smtClean="0"/>
              <a:t>85</a:t>
            </a:fld>
            <a:endParaRPr lang="en-US" dirty="0"/>
          </a:p>
        </p:txBody>
      </p:sp>
    </p:spTree>
    <p:extLst>
      <p:ext uri="{BB962C8B-B14F-4D97-AF65-F5344CB8AC3E}">
        <p14:creationId xmlns:p14="http://schemas.microsoft.com/office/powerpoint/2010/main" val="375615712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spcAft>
                <a:spcPts val="0"/>
              </a:spcAft>
              <a:buFontTx/>
              <a:buChar char="-"/>
            </a:pPr>
            <a:endParaRPr lang="en-US" dirty="0"/>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rPr>
              <a:pPr/>
              <a:t>86</a:t>
            </a:fld>
            <a:endParaRPr lang="en-US" dirty="0">
              <a:solidFill>
                <a:prstClr val="black"/>
              </a:solidFill>
            </a:endParaRPr>
          </a:p>
        </p:txBody>
      </p:sp>
    </p:spTree>
    <p:extLst>
      <p:ext uri="{BB962C8B-B14F-4D97-AF65-F5344CB8AC3E}">
        <p14:creationId xmlns:p14="http://schemas.microsoft.com/office/powerpoint/2010/main" val="341251741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87</a:t>
            </a:fld>
            <a:endParaRPr lang="en-US" dirty="0"/>
          </a:p>
        </p:txBody>
      </p:sp>
    </p:spTree>
    <p:extLst>
      <p:ext uri="{BB962C8B-B14F-4D97-AF65-F5344CB8AC3E}">
        <p14:creationId xmlns:p14="http://schemas.microsoft.com/office/powerpoint/2010/main" val="31394827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indent="0">
              <a:buFontTx/>
              <a:buNone/>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88</a:t>
            </a:fld>
            <a:endParaRPr lang="en-US" dirty="0"/>
          </a:p>
        </p:txBody>
      </p:sp>
    </p:spTree>
    <p:extLst>
      <p:ext uri="{BB962C8B-B14F-4D97-AF65-F5344CB8AC3E}">
        <p14:creationId xmlns:p14="http://schemas.microsoft.com/office/powerpoint/2010/main" val="11205344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329953564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89</a:t>
            </a:fld>
            <a:endParaRPr lang="en-US" dirty="0"/>
          </a:p>
        </p:txBody>
      </p:sp>
    </p:spTree>
    <p:extLst>
      <p:ext uri="{BB962C8B-B14F-4D97-AF65-F5344CB8AC3E}">
        <p14:creationId xmlns:p14="http://schemas.microsoft.com/office/powerpoint/2010/main" val="643365943"/>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fontScale="92500" lnSpcReduction="20000"/>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90</a:t>
            </a:fld>
            <a:endParaRPr lang="en-US" dirty="0"/>
          </a:p>
        </p:txBody>
      </p:sp>
    </p:spTree>
    <p:extLst>
      <p:ext uri="{BB962C8B-B14F-4D97-AF65-F5344CB8AC3E}">
        <p14:creationId xmlns:p14="http://schemas.microsoft.com/office/powerpoint/2010/main" val="82974140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spcAft>
                <a:spcPts val="0"/>
              </a:spcAft>
            </a:pPr>
            <a:endParaRPr lang="en-US" sz="1200" dirty="0">
              <a:latin typeface="+mn-lt"/>
              <a:ea typeface="Calibri"/>
            </a:endParaRPr>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rPr>
              <a:pPr/>
              <a:t>91</a:t>
            </a:fld>
            <a:endParaRPr lang="en-US" dirty="0">
              <a:solidFill>
                <a:prstClr val="black"/>
              </a:solidFill>
            </a:endParaRPr>
          </a:p>
        </p:txBody>
      </p:sp>
    </p:spTree>
    <p:extLst>
      <p:ext uri="{BB962C8B-B14F-4D97-AF65-F5344CB8AC3E}">
        <p14:creationId xmlns:p14="http://schemas.microsoft.com/office/powerpoint/2010/main" val="341251741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D5A5AB-9D22-4354-8089-2AE811D4E282}" type="slidenum">
              <a:rPr lang="en-US" smtClean="0"/>
              <a:t>92</a:t>
            </a:fld>
            <a:endParaRPr lang="en-US" dirty="0"/>
          </a:p>
        </p:txBody>
      </p:sp>
    </p:spTree>
    <p:extLst>
      <p:ext uri="{BB962C8B-B14F-4D97-AF65-F5344CB8AC3E}">
        <p14:creationId xmlns:p14="http://schemas.microsoft.com/office/powerpoint/2010/main" val="376868774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D5A5AB-9D22-4354-8089-2AE811D4E282}" type="slidenum">
              <a:rPr lang="en-US" smtClean="0"/>
              <a:t>93</a:t>
            </a:fld>
            <a:endParaRPr lang="en-US" dirty="0"/>
          </a:p>
        </p:txBody>
      </p:sp>
    </p:spTree>
    <p:extLst>
      <p:ext uri="{BB962C8B-B14F-4D97-AF65-F5344CB8AC3E}">
        <p14:creationId xmlns:p14="http://schemas.microsoft.com/office/powerpoint/2010/main" val="2759122903"/>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smtClean="0"/>
          </a:p>
        </p:txBody>
      </p:sp>
      <p:sp>
        <p:nvSpPr>
          <p:cNvPr id="4" name="Slide Number Placeholder 3"/>
          <p:cNvSpPr>
            <a:spLocks noGrp="1"/>
          </p:cNvSpPr>
          <p:nvPr>
            <p:ph type="sldNum" sz="quarter" idx="10"/>
          </p:nvPr>
        </p:nvSpPr>
        <p:spPr/>
        <p:txBody>
          <a:bodyPr/>
          <a:lstStyle/>
          <a:p>
            <a:pPr>
              <a:defRPr/>
            </a:pPr>
            <a:fld id="{CD75B0E5-5D68-451A-A53F-D5C39AD66427}" type="slidenum">
              <a:rPr lang="en-US" smtClean="0"/>
              <a:pPr>
                <a:defRPr/>
              </a:pPr>
              <a:t>95</a:t>
            </a:fld>
            <a:endParaRPr lang="en-US" dirty="0"/>
          </a:p>
        </p:txBody>
      </p:sp>
    </p:spTree>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solidFill>
                <a:schemeClr val="tx1"/>
              </a:solidFill>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99</a:t>
            </a:fld>
            <a:endParaRPr lang="en-US" dirty="0"/>
          </a:p>
        </p:txBody>
      </p:sp>
    </p:spTree>
    <p:extLst>
      <p:ext uri="{BB962C8B-B14F-4D97-AF65-F5344CB8AC3E}">
        <p14:creationId xmlns:p14="http://schemas.microsoft.com/office/powerpoint/2010/main" val="163416829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4213"/>
            <a:ext cx="6096000" cy="3430587"/>
          </a:xfrm>
        </p:spPr>
      </p:sp>
      <p:sp>
        <p:nvSpPr>
          <p:cNvPr id="3" name="Notes Placeholder 2"/>
          <p:cNvSpPr>
            <a:spLocks noGrp="1"/>
          </p:cNvSpPr>
          <p:nvPr>
            <p:ph type="body" idx="1"/>
          </p:nvPr>
        </p:nvSpPr>
        <p:spPr/>
        <p:txBody>
          <a:bodyPr/>
          <a:lstStyle/>
          <a:p>
            <a:pPr marL="285750" indent="-285750">
              <a:buFont typeface="Arial" pitchFamily="34" charset="0"/>
              <a:buChar char="•"/>
            </a:pPr>
            <a:endParaRPr lang="en-US" dirty="0"/>
          </a:p>
        </p:txBody>
      </p:sp>
      <p:sp>
        <p:nvSpPr>
          <p:cNvPr id="4" name="Slide Number Placeholder 3"/>
          <p:cNvSpPr>
            <a:spLocks noGrp="1"/>
          </p:cNvSpPr>
          <p:nvPr>
            <p:ph type="sldNum" sz="quarter" idx="10"/>
          </p:nvPr>
        </p:nvSpPr>
        <p:spPr/>
        <p:txBody>
          <a:bodyPr/>
          <a:lstStyle/>
          <a:p>
            <a:fld id="{89D5A5AB-9D22-4354-8089-2AE811D4E282}" type="slidenum">
              <a:rPr lang="en-US" smtClean="0"/>
              <a:t>100</a:t>
            </a:fld>
            <a:endParaRPr lang="en-US"/>
          </a:p>
        </p:txBody>
      </p:sp>
    </p:spTree>
    <p:extLst>
      <p:ext uri="{BB962C8B-B14F-4D97-AF65-F5344CB8AC3E}">
        <p14:creationId xmlns:p14="http://schemas.microsoft.com/office/powerpoint/2010/main" val="213970083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D5A5AB-9D22-4354-8089-2AE811D4E282}" type="slidenum">
              <a:rPr lang="en-US" smtClean="0"/>
              <a:t>101</a:t>
            </a:fld>
            <a:endParaRPr lang="en-US"/>
          </a:p>
        </p:txBody>
      </p:sp>
    </p:spTree>
    <p:extLst>
      <p:ext uri="{BB962C8B-B14F-4D97-AF65-F5344CB8AC3E}">
        <p14:creationId xmlns:p14="http://schemas.microsoft.com/office/powerpoint/2010/main" val="3016498834"/>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endParaRPr lang="en-US" dirty="0"/>
          </a:p>
        </p:txBody>
      </p:sp>
      <p:sp>
        <p:nvSpPr>
          <p:cNvPr id="4" name="Slide Number Placeholder 3"/>
          <p:cNvSpPr>
            <a:spLocks noGrp="1"/>
          </p:cNvSpPr>
          <p:nvPr>
            <p:ph type="sldNum" sz="quarter" idx="10"/>
          </p:nvPr>
        </p:nvSpPr>
        <p:spPr/>
        <p:txBody>
          <a:bodyPr/>
          <a:lstStyle/>
          <a:p>
            <a:fld id="{89D5A5AB-9D22-4354-8089-2AE811D4E282}" type="slidenum">
              <a:rPr lang="en-US" smtClean="0"/>
              <a:t>102</a:t>
            </a:fld>
            <a:endParaRPr lang="en-US"/>
          </a:p>
        </p:txBody>
      </p:sp>
    </p:spTree>
    <p:extLst>
      <p:ext uri="{BB962C8B-B14F-4D97-AF65-F5344CB8AC3E}">
        <p14:creationId xmlns:p14="http://schemas.microsoft.com/office/powerpoint/2010/main" val="21967237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9/20/2012 12:36 A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8</a:t>
            </a:fld>
            <a:endParaRPr lang="en-US" dirty="0"/>
          </a:p>
        </p:txBody>
      </p:sp>
    </p:spTree>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D5A5AB-9D22-4354-8089-2AE811D4E282}" type="slidenum">
              <a:rPr lang="en-US" smtClean="0"/>
              <a:t>103</a:t>
            </a:fld>
            <a:endParaRPr lang="en-US"/>
          </a:p>
        </p:txBody>
      </p:sp>
    </p:spTree>
    <p:extLst>
      <p:ext uri="{BB962C8B-B14F-4D97-AF65-F5344CB8AC3E}">
        <p14:creationId xmlns:p14="http://schemas.microsoft.com/office/powerpoint/2010/main" val="1484516883"/>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a:xfrm>
            <a:off x="685801" y="4343404"/>
            <a:ext cx="5486400" cy="4114801"/>
          </a:xfrm>
          <a:prstGeom prst="rect">
            <a:avLst/>
          </a:prstGeom>
        </p:spPr>
        <p:txBody>
          <a:bodyPr lIns="91380" tIns="45689" rIns="91380" bIns="45689"/>
          <a:lstStyle/>
          <a:p>
            <a:endParaRPr lang="en-US" dirty="0"/>
          </a:p>
        </p:txBody>
      </p:sp>
      <p:sp>
        <p:nvSpPr>
          <p:cNvPr id="4" name="Slide Number Placeholder 3"/>
          <p:cNvSpPr>
            <a:spLocks noGrp="1"/>
          </p:cNvSpPr>
          <p:nvPr>
            <p:ph type="sldNum" sz="quarter" idx="10"/>
          </p:nvPr>
        </p:nvSpPr>
        <p:spPr/>
        <p:txBody>
          <a:bodyPr/>
          <a:lstStyle/>
          <a:p>
            <a:fld id="{8980CB99-47E3-46F4-AAEB-3919FBEFC014}" type="slidenum">
              <a:rPr lang="en-US" smtClean="0">
                <a:solidFill>
                  <a:prstClr val="black"/>
                </a:solidFill>
                <a:latin typeface="Segoe" pitchFamily="34" charset="0"/>
              </a:rPr>
              <a:pPr/>
              <a:t>104</a:t>
            </a:fld>
            <a:endParaRPr lang="en-US" dirty="0">
              <a:solidFill>
                <a:prstClr val="black"/>
              </a:solidFill>
              <a:latin typeface="Segoe" pitchFamily="34" charset="0"/>
            </a:endParaRPr>
          </a:p>
        </p:txBody>
      </p:sp>
    </p:spTree>
    <p:extLst>
      <p:ext uri="{BB962C8B-B14F-4D97-AF65-F5344CB8AC3E}">
        <p14:creationId xmlns:p14="http://schemas.microsoft.com/office/powerpoint/2010/main" val="315989357"/>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05</a:t>
            </a:fld>
            <a:endParaRPr lang="en-US" dirty="0"/>
          </a:p>
        </p:txBody>
      </p:sp>
    </p:spTree>
    <p:extLst>
      <p:ext uri="{BB962C8B-B14F-4D97-AF65-F5344CB8AC3E}">
        <p14:creationId xmlns:p14="http://schemas.microsoft.com/office/powerpoint/2010/main" val="2044648478"/>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r>
              <a:rPr lang="en-US" dirty="0" err="1" smtClean="0"/>
              <a:t>TechEd</a:t>
            </a:r>
            <a:r>
              <a:rPr lang="en-US" dirty="0" smtClean="0"/>
              <a:t> 2012</a:t>
            </a:r>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9/20/2012 12:36 AM</a:t>
            </a:fld>
            <a:endParaRPr lang="en-US"/>
          </a:p>
        </p:txBody>
      </p:sp>
      <p:sp>
        <p:nvSpPr>
          <p:cNvPr id="6" name="Footer Placeholder 5"/>
          <p:cNvSpPr>
            <a:spLocks noGrp="1"/>
          </p:cNvSpPr>
          <p:nvPr>
            <p:ph type="ftr" sz="quarter" idx="12"/>
          </p:nvPr>
        </p:nvSpPr>
        <p:spPr/>
        <p:txBody>
          <a:bodyPr/>
          <a:lstStyle/>
          <a:p>
            <a:r>
              <a:rPr lang="en-US" dirty="0" smtClean="0">
                <a:latin typeface="Segoe UI" pitchFamily="34" charset="0"/>
              </a:rPr>
              <a:t>© 2012 Microsoft Corporation. All rights reserved. Microsoft, Windows, Windows Vista and other product names are or may be registered trademarks and/or trademarks in the U.S. and/or other countries.</a:t>
            </a:r>
          </a:p>
          <a:p>
            <a:r>
              <a:rPr lang="en-US" dirty="0" smtClean="0">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latin typeface="Segoe UI" pitchFamily="34" charset="0"/>
              </a:rPr>
            </a:br>
            <a:r>
              <a:rPr lang="en-US" dirty="0" smtClean="0">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106</a:t>
            </a:fld>
            <a:endParaRPr lang="en-US" dirty="0"/>
          </a:p>
        </p:txBody>
      </p:sp>
    </p:spTree>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08</a:t>
            </a:fld>
            <a:endParaRPr lang="en-US" dirty="0">
              <a:solidFill>
                <a:prstClr val="black"/>
              </a:solidFill>
            </a:endParaRPr>
          </a:p>
        </p:txBody>
      </p:sp>
    </p:spTree>
    <p:extLst>
      <p:ext uri="{BB962C8B-B14F-4D97-AF65-F5344CB8AC3E}">
        <p14:creationId xmlns:p14="http://schemas.microsoft.com/office/powerpoint/2010/main" val="4151792420"/>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r>
              <a:rPr lang="en-US" dirty="0" err="1" smtClean="0"/>
              <a:t>TechEd</a:t>
            </a:r>
            <a:r>
              <a:rPr lang="en-US" dirty="0" smtClean="0"/>
              <a:t> 2012</a:t>
            </a:r>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9/20/2012 12:36 AM</a:t>
            </a:fld>
            <a:endParaRPr lang="en-US"/>
          </a:p>
        </p:txBody>
      </p:sp>
      <p:sp>
        <p:nvSpPr>
          <p:cNvPr id="6" name="Footer Placeholder 5"/>
          <p:cNvSpPr>
            <a:spLocks noGrp="1"/>
          </p:cNvSpPr>
          <p:nvPr>
            <p:ph type="ftr" sz="quarter" idx="12"/>
          </p:nvPr>
        </p:nvSpPr>
        <p:spPr/>
        <p:txBody>
          <a:bodyPr/>
          <a:lstStyle/>
          <a:p>
            <a:r>
              <a:rPr lang="en-US" dirty="0" smtClean="0">
                <a:latin typeface="Segoe UI" pitchFamily="34" charset="0"/>
              </a:rPr>
              <a:t>© 2012 Microsoft Corporation. All rights reserved. Microsoft, Windows, Windows Vista and other product names are or may be registered trademarks and/or trademarks in the U.S. and/or other countries.</a:t>
            </a:r>
          </a:p>
          <a:p>
            <a:r>
              <a:rPr lang="en-US" dirty="0" smtClean="0">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latin typeface="Segoe UI" pitchFamily="34" charset="0"/>
              </a:rPr>
            </a:br>
            <a:r>
              <a:rPr lang="en-US" dirty="0" smtClean="0">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113</a:t>
            </a:fld>
            <a:endParaRPr lang="en-US" dirty="0"/>
          </a:p>
        </p:txBody>
      </p:sp>
    </p:spTree>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r>
              <a:rPr lang="en-US" dirty="0" err="1" smtClean="0"/>
              <a:t>TechEd</a:t>
            </a:r>
            <a:r>
              <a:rPr lang="en-US" dirty="0" smtClean="0"/>
              <a:t> 2012</a:t>
            </a:r>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9/20/2012 12:36 AM</a:t>
            </a:fld>
            <a:endParaRPr lang="en-US"/>
          </a:p>
        </p:txBody>
      </p:sp>
      <p:sp>
        <p:nvSpPr>
          <p:cNvPr id="6" name="Footer Placeholder 5"/>
          <p:cNvSpPr>
            <a:spLocks noGrp="1"/>
          </p:cNvSpPr>
          <p:nvPr>
            <p:ph type="ftr" sz="quarter" idx="12"/>
          </p:nvPr>
        </p:nvSpPr>
        <p:spPr/>
        <p:txBody>
          <a:bodyPr/>
          <a:lstStyle/>
          <a:p>
            <a:r>
              <a:rPr lang="en-US" dirty="0" smtClean="0">
                <a:latin typeface="Segoe UI" pitchFamily="34" charset="0"/>
              </a:rPr>
              <a:t>© 2012 Microsoft Corporation. All rights reserved. Microsoft, Windows, Windows Vista and other product names are or may be registered trademarks and/or trademarks in the U.S. and/or other countries.</a:t>
            </a:r>
          </a:p>
          <a:p>
            <a:r>
              <a:rPr lang="en-US" dirty="0" smtClean="0">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latin typeface="Segoe UI" pitchFamily="34" charset="0"/>
              </a:rPr>
            </a:br>
            <a:r>
              <a:rPr lang="en-US" dirty="0" smtClean="0">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114</a:t>
            </a:fld>
            <a:endParaRPr lang="en-US" dirty="0"/>
          </a:p>
        </p:txBody>
      </p:sp>
    </p:spTree>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17</a:t>
            </a:fld>
            <a:endParaRPr lang="en-US" dirty="0"/>
          </a:p>
        </p:txBody>
      </p:sp>
    </p:spTree>
    <p:extLst>
      <p:ext uri="{BB962C8B-B14F-4D97-AF65-F5344CB8AC3E}">
        <p14:creationId xmlns:p14="http://schemas.microsoft.com/office/powerpoint/2010/main" val="4189536337"/>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18</a:t>
            </a:fld>
            <a:endParaRPr lang="en-US" dirty="0"/>
          </a:p>
        </p:txBody>
      </p:sp>
    </p:spTree>
    <p:extLst>
      <p:ext uri="{BB962C8B-B14F-4D97-AF65-F5344CB8AC3E}">
        <p14:creationId xmlns:p14="http://schemas.microsoft.com/office/powerpoint/2010/main" val="2377921763"/>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r>
              <a:rPr lang="en-US" dirty="0" err="1" smtClean="0"/>
              <a:t>TechEd</a:t>
            </a:r>
            <a:r>
              <a:rPr lang="en-US" dirty="0" smtClean="0"/>
              <a:t> 2012</a:t>
            </a:r>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9/20/2012 12:37 AM</a:t>
            </a:fld>
            <a:endParaRPr lang="en-US"/>
          </a:p>
        </p:txBody>
      </p:sp>
      <p:sp>
        <p:nvSpPr>
          <p:cNvPr id="6" name="Footer Placeholder 5"/>
          <p:cNvSpPr>
            <a:spLocks noGrp="1"/>
          </p:cNvSpPr>
          <p:nvPr>
            <p:ph type="ftr" sz="quarter" idx="12"/>
          </p:nvPr>
        </p:nvSpPr>
        <p:spPr/>
        <p:txBody>
          <a:bodyPr/>
          <a:lstStyle/>
          <a:p>
            <a:r>
              <a:rPr lang="en-US" dirty="0" smtClean="0">
                <a:latin typeface="Segoe UI" pitchFamily="34" charset="0"/>
              </a:rPr>
              <a:t>© 2012 Microsoft Corporation. All rights reserved. Microsoft, Windows, Windows Vista and other product names are or may be registered trademarks and/or trademarks in the U.S. and/or other countries.</a:t>
            </a:r>
          </a:p>
          <a:p>
            <a:r>
              <a:rPr lang="en-US" dirty="0" smtClean="0">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latin typeface="Segoe UI" pitchFamily="34" charset="0"/>
              </a:rPr>
            </a:br>
            <a:r>
              <a:rPr lang="en-US" dirty="0" smtClean="0">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124</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3251787428"/>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5513" y="206375"/>
            <a:ext cx="4979987" cy="2801938"/>
          </a:xfrm>
        </p:spPr>
      </p:sp>
      <p:sp>
        <p:nvSpPr>
          <p:cNvPr id="3" name="Notes Placeholder 2"/>
          <p:cNvSpPr>
            <a:spLocks noGrp="1"/>
          </p:cNvSpPr>
          <p:nvPr>
            <p:ph type="body" idx="1"/>
          </p:nvPr>
        </p:nvSpPr>
        <p:spPr>
          <a:xfrm>
            <a:off x="685800" y="3042749"/>
            <a:ext cx="5486400" cy="5425832"/>
          </a:xfrm>
        </p:spPr>
        <p:txBody>
          <a:bodyPr>
            <a:noAutofit/>
          </a:bodyPr>
          <a:lstStyle/>
          <a:p>
            <a:pPr>
              <a:spcBef>
                <a:spcPts val="594"/>
              </a:spcBef>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25</a:t>
            </a:fld>
            <a:endParaRPr lang="en-US" dirty="0">
              <a:solidFill>
                <a:prstClr val="black"/>
              </a:solidFill>
            </a:endParaRPr>
          </a:p>
        </p:txBody>
      </p:sp>
    </p:spTree>
    <p:extLst>
      <p:ext uri="{BB962C8B-B14F-4D97-AF65-F5344CB8AC3E}">
        <p14:creationId xmlns:p14="http://schemas.microsoft.com/office/powerpoint/2010/main" val="1564444703"/>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fontScale="70000" lnSpcReduction="20000"/>
          </a:bodyPr>
          <a:lstStyle/>
          <a:p>
            <a:endParaRPr lang="en-US" dirty="0"/>
          </a:p>
        </p:txBody>
      </p:sp>
      <p:sp>
        <p:nvSpPr>
          <p:cNvPr id="4" name="Slide Number Placeholder 3"/>
          <p:cNvSpPr>
            <a:spLocks noGrp="1"/>
          </p:cNvSpPr>
          <p:nvPr>
            <p:ph type="sldNum" sz="quarter" idx="10"/>
          </p:nvPr>
        </p:nvSpPr>
        <p:spPr/>
        <p:txBody>
          <a:bodyPr/>
          <a:lstStyle/>
          <a:p>
            <a:fld id="{B7E0614F-C456-4093-A2B3-3B9DE60834AC}" type="slidenum">
              <a:rPr lang="en-US" smtClean="0">
                <a:solidFill>
                  <a:prstClr val="black"/>
                </a:solidFill>
              </a:rPr>
              <a:pPr/>
              <a:t>126</a:t>
            </a:fld>
            <a:endParaRPr lang="en-US" dirty="0">
              <a:solidFill>
                <a:prstClr val="black"/>
              </a:solidFill>
            </a:endParaRPr>
          </a:p>
        </p:txBody>
      </p:sp>
    </p:spTree>
    <p:extLst>
      <p:ext uri="{BB962C8B-B14F-4D97-AF65-F5344CB8AC3E}">
        <p14:creationId xmlns:p14="http://schemas.microsoft.com/office/powerpoint/2010/main" val="1902709092"/>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38300" y="230188"/>
            <a:ext cx="3581400" cy="2014537"/>
          </a:xfrm>
        </p:spPr>
      </p:sp>
      <p:sp>
        <p:nvSpPr>
          <p:cNvPr id="3" name="Notes Placeholder 2"/>
          <p:cNvSpPr>
            <a:spLocks noGrp="1"/>
          </p:cNvSpPr>
          <p:nvPr>
            <p:ph type="body" idx="1"/>
          </p:nvPr>
        </p:nvSpPr>
        <p:spPr>
          <a:xfrm>
            <a:off x="228601" y="2362200"/>
            <a:ext cx="6400800" cy="6324599"/>
          </a:xfrm>
        </p:spPr>
        <p:txBody>
          <a:bodyPr>
            <a:noAutofit/>
          </a:bodyPr>
          <a:lstStyle/>
          <a:p>
            <a:endParaRPr lang="en-US" sz="800" b="1"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27</a:t>
            </a:fld>
            <a:endParaRPr lang="en-US" dirty="0">
              <a:solidFill>
                <a:prstClr val="black"/>
              </a:solidFill>
            </a:endParaRPr>
          </a:p>
        </p:txBody>
      </p:sp>
    </p:spTree>
    <p:extLst>
      <p:ext uri="{BB962C8B-B14F-4D97-AF65-F5344CB8AC3E}">
        <p14:creationId xmlns:p14="http://schemas.microsoft.com/office/powerpoint/2010/main" val="39310193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25000" lnSpcReduction="20000"/>
          </a:bodyPr>
          <a:lstStyle/>
          <a:p>
            <a:endParaRPr lang="en-US" dirty="0"/>
          </a:p>
        </p:txBody>
      </p:sp>
    </p:spTree>
    <p:extLst>
      <p:ext uri="{BB962C8B-B14F-4D97-AF65-F5344CB8AC3E}">
        <p14:creationId xmlns:p14="http://schemas.microsoft.com/office/powerpoint/2010/main" val="1839088047"/>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76087670"/>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55000" lnSpcReduction="20000"/>
          </a:bodyPr>
          <a:lstStyle/>
          <a:p>
            <a:endParaRPr lang="en-US" dirty="0"/>
          </a:p>
        </p:txBody>
      </p:sp>
    </p:spTree>
    <p:extLst>
      <p:ext uri="{BB962C8B-B14F-4D97-AF65-F5344CB8AC3E}">
        <p14:creationId xmlns:p14="http://schemas.microsoft.com/office/powerpoint/2010/main" val="3551582695"/>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09088136"/>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25000" lnSpcReduction="20000"/>
          </a:bodyPr>
          <a:lstStyle/>
          <a:p>
            <a:endParaRPr lang="en-US" dirty="0"/>
          </a:p>
        </p:txBody>
      </p:sp>
    </p:spTree>
    <p:extLst>
      <p:ext uri="{BB962C8B-B14F-4D97-AF65-F5344CB8AC3E}">
        <p14:creationId xmlns:p14="http://schemas.microsoft.com/office/powerpoint/2010/main" val="1839088047"/>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70555931"/>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0240357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8.png"/><Relationship Id="rId7" Type="http://schemas.openxmlformats.org/officeDocument/2006/relationships/image" Target="../media/image24.png"/><Relationship Id="rId2" Type="http://schemas.openxmlformats.org/officeDocument/2006/relationships/image" Target="../media/image6.jpg"/><Relationship Id="rId1" Type="http://schemas.openxmlformats.org/officeDocument/2006/relationships/slideMaster" Target="../slideMasters/slideMaster6.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02.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24.png"/><Relationship Id="rId7" Type="http://schemas.openxmlformats.org/officeDocument/2006/relationships/image" Target="../media/image26.png"/><Relationship Id="rId2" Type="http://schemas.openxmlformats.org/officeDocument/2006/relationships/image" Target="../media/image6.jpg"/><Relationship Id="rId1" Type="http://schemas.openxmlformats.org/officeDocument/2006/relationships/slideMaster" Target="../slideMasters/slideMaster6.xml"/><Relationship Id="rId6" Type="http://schemas.openxmlformats.org/officeDocument/2006/relationships/image" Target="../media/image25.png"/><Relationship Id="rId5" Type="http://schemas.openxmlformats.org/officeDocument/2006/relationships/image" Target="../media/image8.png"/><Relationship Id="rId4" Type="http://schemas.microsoft.com/office/2007/relationships/hdphoto" Target="../media/hdphoto1.wdp"/></Relationships>
</file>

<file path=ppt/slideLayouts/_rels/slideLayout103.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image" Target="../media/image6.jpg"/><Relationship Id="rId1" Type="http://schemas.openxmlformats.org/officeDocument/2006/relationships/slideMaster" Target="../slideMasters/slideMaster6.xml"/><Relationship Id="rId6" Type="http://schemas.openxmlformats.org/officeDocument/2006/relationships/image" Target="../media/image25.png"/><Relationship Id="rId5" Type="http://schemas.openxmlformats.org/officeDocument/2006/relationships/image" Target="../media/image27.png"/><Relationship Id="rId4" Type="http://schemas.microsoft.com/office/2007/relationships/hdphoto" Target="../media/hdphoto1.wdp"/></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26.png"/><Relationship Id="rId2" Type="http://schemas.openxmlformats.org/officeDocument/2006/relationships/image" Target="../media/image6.jpg"/><Relationship Id="rId1" Type="http://schemas.openxmlformats.org/officeDocument/2006/relationships/slideMaster" Target="../slideMasters/slideMaster6.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8.png"/></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6.xml"/><Relationship Id="rId4" Type="http://schemas.openxmlformats.org/officeDocument/2006/relationships/image" Target="../media/image8.pn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6.xml"/><Relationship Id="rId4" Type="http://schemas.openxmlformats.org/officeDocument/2006/relationships/image" Target="../media/image29.png"/></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6.xml"/><Relationship Id="rId4" Type="http://schemas.openxmlformats.org/officeDocument/2006/relationships/image" Target="../media/image25.png"/></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6.xml"/><Relationship Id="rId4" Type="http://schemas.openxmlformats.org/officeDocument/2006/relationships/image" Target="../media/image22.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6.xml"/><Relationship Id="rId4" Type="http://schemas.openxmlformats.org/officeDocument/2006/relationships/image" Target="../media/image26.png"/></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8" Type="http://schemas.openxmlformats.org/officeDocument/2006/relationships/image" Target="../media/image22.png"/><Relationship Id="rId13" Type="http://schemas.microsoft.com/office/2007/relationships/hdphoto" Target="../media/hdphoto3.wdp"/><Relationship Id="rId3" Type="http://schemas.openxmlformats.org/officeDocument/2006/relationships/image" Target="../media/image24.png"/><Relationship Id="rId7" Type="http://schemas.openxmlformats.org/officeDocument/2006/relationships/image" Target="../media/image26.png"/><Relationship Id="rId12" Type="http://schemas.openxmlformats.org/officeDocument/2006/relationships/image" Target="../media/image34.png"/><Relationship Id="rId2" Type="http://schemas.openxmlformats.org/officeDocument/2006/relationships/image" Target="../media/image30.jpg"/><Relationship Id="rId1" Type="http://schemas.openxmlformats.org/officeDocument/2006/relationships/slideMaster" Target="../slideMasters/slideMaster6.xml"/><Relationship Id="rId6" Type="http://schemas.openxmlformats.org/officeDocument/2006/relationships/image" Target="../media/image21.png"/><Relationship Id="rId11" Type="http://schemas.openxmlformats.org/officeDocument/2006/relationships/image" Target="../media/image33.png"/><Relationship Id="rId5" Type="http://schemas.openxmlformats.org/officeDocument/2006/relationships/image" Target="../media/image31.png"/><Relationship Id="rId10" Type="http://schemas.openxmlformats.org/officeDocument/2006/relationships/image" Target="../media/image28.png"/><Relationship Id="rId4" Type="http://schemas.microsoft.com/office/2007/relationships/hdphoto" Target="../media/hdphoto2.wdp"/><Relationship Id="rId9" Type="http://schemas.openxmlformats.org/officeDocument/2006/relationships/image" Target="../media/image32.png"/><Relationship Id="rId14" Type="http://schemas.openxmlformats.org/officeDocument/2006/relationships/image" Target="../media/image35.png"/></Relationships>
</file>

<file path=ppt/slideLayouts/_rels/slideLayout121.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21.png"/><Relationship Id="rId3" Type="http://schemas.openxmlformats.org/officeDocument/2006/relationships/image" Target="../media/image24.png"/><Relationship Id="rId7" Type="http://schemas.openxmlformats.org/officeDocument/2006/relationships/image" Target="../media/image28.png"/><Relationship Id="rId12" Type="http://schemas.openxmlformats.org/officeDocument/2006/relationships/image" Target="../media/image31.png"/><Relationship Id="rId2" Type="http://schemas.openxmlformats.org/officeDocument/2006/relationships/image" Target="../media/image36.jpg"/><Relationship Id="rId1" Type="http://schemas.openxmlformats.org/officeDocument/2006/relationships/slideMaster" Target="../slideMasters/slideMaster6.xml"/><Relationship Id="rId6" Type="http://schemas.openxmlformats.org/officeDocument/2006/relationships/image" Target="../media/image22.png"/><Relationship Id="rId11" Type="http://schemas.openxmlformats.org/officeDocument/2006/relationships/image" Target="../media/image37.png"/><Relationship Id="rId5" Type="http://schemas.openxmlformats.org/officeDocument/2006/relationships/image" Target="../media/image26.png"/><Relationship Id="rId10" Type="http://schemas.microsoft.com/office/2007/relationships/hdphoto" Target="../media/hdphoto3.wdp"/><Relationship Id="rId4" Type="http://schemas.microsoft.com/office/2007/relationships/hdphoto" Target="../media/hdphoto2.wdp"/><Relationship Id="rId9" Type="http://schemas.openxmlformats.org/officeDocument/2006/relationships/image" Target="../media/image34.png"/><Relationship Id="rId14" Type="http://schemas.openxmlformats.org/officeDocument/2006/relationships/image" Target="../media/image32.png"/></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g"/><Relationship Id="rId1" Type="http://schemas.openxmlformats.org/officeDocument/2006/relationships/slideMaster" Target="../slideMasters/slideMaster8.xml"/><Relationship Id="rId4" Type="http://schemas.microsoft.com/office/2007/relationships/hdphoto" Target="../media/hdphoto4.wdp"/></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38.png"/><Relationship Id="rId1" Type="http://schemas.openxmlformats.org/officeDocument/2006/relationships/slideMaster" Target="../slideMasters/slideMaster8.xml"/><Relationship Id="rId4" Type="http://schemas.microsoft.com/office/2007/relationships/hdphoto" Target="../media/hdphoto5.wdp"/></Relationships>
</file>

<file path=ppt/slideLayouts/_rels/slideLayout14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2.png"/><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2.png"/><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2.png"/><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2.pn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2.png"/><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g"/><Relationship Id="rId1" Type="http://schemas.openxmlformats.org/officeDocument/2006/relationships/slideMaster" Target="../slideMasters/slideMaster8.xml"/><Relationship Id="rId4" Type="http://schemas.microsoft.com/office/2007/relationships/hdphoto" Target="../media/hdphoto4.wdp"/></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jpg"/><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jpg"/><Relationship Id="rId1" Type="http://schemas.openxmlformats.org/officeDocument/2006/relationships/slideMaster" Target="../slideMasters/slideMaster8.xml"/><Relationship Id="rId6" Type="http://schemas.microsoft.com/office/2007/relationships/hdphoto" Target="../media/hdphoto4.wdp"/><Relationship Id="rId5" Type="http://schemas.openxmlformats.org/officeDocument/2006/relationships/image" Target="../media/image41.png"/><Relationship Id="rId4" Type="http://schemas.microsoft.com/office/2007/relationships/hdphoto" Target="../media/hdphoto6.wdp"/></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g"/><Relationship Id="rId1" Type="http://schemas.openxmlformats.org/officeDocument/2006/relationships/slideMaster" Target="../slideMasters/slideMaster9.xml"/><Relationship Id="rId4" Type="http://schemas.microsoft.com/office/2007/relationships/hdphoto" Target="../media/hdphoto4.wdp"/></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38.png"/><Relationship Id="rId1" Type="http://schemas.openxmlformats.org/officeDocument/2006/relationships/slideMaster" Target="../slideMasters/slideMaster9.xml"/><Relationship Id="rId4" Type="http://schemas.microsoft.com/office/2007/relationships/hdphoto" Target="../media/hdphoto5.wdp"/></Relationships>
</file>

<file path=ppt/slideLayouts/_rels/slideLayout171.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2.png"/><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2.png"/><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2.png"/><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2.png"/><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2.png"/><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g"/><Relationship Id="rId1" Type="http://schemas.openxmlformats.org/officeDocument/2006/relationships/slideMaster" Target="../slideMasters/slideMaster9.xml"/><Relationship Id="rId4" Type="http://schemas.microsoft.com/office/2007/relationships/hdphoto" Target="../media/hdphoto4.wdp"/></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jpg"/><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jpg"/><Relationship Id="rId1" Type="http://schemas.openxmlformats.org/officeDocument/2006/relationships/slideMaster" Target="../slideMasters/slideMaster9.xml"/><Relationship Id="rId6" Type="http://schemas.microsoft.com/office/2007/relationships/hdphoto" Target="../media/hdphoto4.wdp"/><Relationship Id="rId5" Type="http://schemas.openxmlformats.org/officeDocument/2006/relationships/image" Target="../media/image41.png"/><Relationship Id="rId4" Type="http://schemas.microsoft.com/office/2007/relationships/hdphoto" Target="../media/hdphoto6.wdp"/></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jpeg"/><Relationship Id="rId7" Type="http://schemas.openxmlformats.org/officeDocument/2006/relationships/image" Target="../media/image14.png"/><Relationship Id="rId2" Type="http://schemas.openxmlformats.org/officeDocument/2006/relationships/image" Target="../media/image9.jpeg"/><Relationship Id="rId1" Type="http://schemas.openxmlformats.org/officeDocument/2006/relationships/slideMaster" Target="../slideMasters/slideMaster1.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18.jpe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17.jpeg"/><Relationship Id="rId5" Type="http://schemas.openxmlformats.org/officeDocument/2006/relationships/image" Target="../media/image16.jpeg"/><Relationship Id="rId4" Type="http://schemas.openxmlformats.org/officeDocument/2006/relationships/image" Target="../media/image15.jpe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19.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slideMaster" Target="../slideMasters/slideMaster1.xml"/><Relationship Id="rId5" Type="http://schemas.openxmlformats.org/officeDocument/2006/relationships/tags" Target="../tags/tag4.xml"/><Relationship Id="rId4" Type="http://schemas.openxmlformats.org/officeDocument/2006/relationships/tags" Target="../tags/tag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8.png"/><Relationship Id="rId7" Type="http://schemas.openxmlformats.org/officeDocument/2006/relationships/image" Target="../media/image24.png"/><Relationship Id="rId2" Type="http://schemas.openxmlformats.org/officeDocument/2006/relationships/image" Target="../media/image6.jpg"/><Relationship Id="rId1" Type="http://schemas.openxmlformats.org/officeDocument/2006/relationships/slideMaster" Target="../slideMasters/slideMaster5.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24.png"/><Relationship Id="rId7" Type="http://schemas.openxmlformats.org/officeDocument/2006/relationships/image" Target="../media/image26.png"/><Relationship Id="rId2" Type="http://schemas.openxmlformats.org/officeDocument/2006/relationships/image" Target="../media/image6.jpg"/><Relationship Id="rId1" Type="http://schemas.openxmlformats.org/officeDocument/2006/relationships/slideMaster" Target="../slideMasters/slideMaster5.xml"/><Relationship Id="rId6" Type="http://schemas.openxmlformats.org/officeDocument/2006/relationships/image" Target="../media/image25.png"/><Relationship Id="rId5" Type="http://schemas.openxmlformats.org/officeDocument/2006/relationships/image" Target="../media/image8.png"/><Relationship Id="rId4" Type="http://schemas.microsoft.com/office/2007/relationships/hdphoto" Target="../media/hdphoto1.wdp"/></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image" Target="../media/image6.jpg"/><Relationship Id="rId1" Type="http://schemas.openxmlformats.org/officeDocument/2006/relationships/slideMaster" Target="../slideMasters/slideMaster5.xml"/><Relationship Id="rId6" Type="http://schemas.openxmlformats.org/officeDocument/2006/relationships/image" Target="../media/image25.png"/><Relationship Id="rId5" Type="http://schemas.openxmlformats.org/officeDocument/2006/relationships/image" Target="../media/image27.png"/><Relationship Id="rId4" Type="http://schemas.microsoft.com/office/2007/relationships/hdphoto" Target="../media/hdphoto1.wdp"/></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26.png"/><Relationship Id="rId2" Type="http://schemas.openxmlformats.org/officeDocument/2006/relationships/image" Target="../media/image6.jpg"/><Relationship Id="rId1" Type="http://schemas.openxmlformats.org/officeDocument/2006/relationships/slideMaster" Target="../slideMasters/slideMaster5.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8.pn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5.xml"/><Relationship Id="rId4" Type="http://schemas.openxmlformats.org/officeDocument/2006/relationships/image" Target="../media/image8.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5.xml"/><Relationship Id="rId4" Type="http://schemas.openxmlformats.org/officeDocument/2006/relationships/image" Target="../media/image29.pn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5.xml"/><Relationship Id="rId4" Type="http://schemas.openxmlformats.org/officeDocument/2006/relationships/image" Target="../media/image25.pn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5.xml"/><Relationship Id="rId4" Type="http://schemas.openxmlformats.org/officeDocument/2006/relationships/image" Target="../media/image22.pn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5.xml"/><Relationship Id="rId4" Type="http://schemas.openxmlformats.org/officeDocument/2006/relationships/image" Target="../media/image26.pn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8" Type="http://schemas.openxmlformats.org/officeDocument/2006/relationships/image" Target="../media/image22.png"/><Relationship Id="rId13" Type="http://schemas.microsoft.com/office/2007/relationships/hdphoto" Target="../media/hdphoto3.wdp"/><Relationship Id="rId3" Type="http://schemas.openxmlformats.org/officeDocument/2006/relationships/image" Target="../media/image24.png"/><Relationship Id="rId7" Type="http://schemas.openxmlformats.org/officeDocument/2006/relationships/image" Target="../media/image26.png"/><Relationship Id="rId12" Type="http://schemas.openxmlformats.org/officeDocument/2006/relationships/image" Target="../media/image34.png"/><Relationship Id="rId2" Type="http://schemas.openxmlformats.org/officeDocument/2006/relationships/image" Target="../media/image30.jpg"/><Relationship Id="rId1" Type="http://schemas.openxmlformats.org/officeDocument/2006/relationships/slideMaster" Target="../slideMasters/slideMaster5.xml"/><Relationship Id="rId6" Type="http://schemas.openxmlformats.org/officeDocument/2006/relationships/image" Target="../media/image21.png"/><Relationship Id="rId11" Type="http://schemas.openxmlformats.org/officeDocument/2006/relationships/image" Target="../media/image33.png"/><Relationship Id="rId5" Type="http://schemas.openxmlformats.org/officeDocument/2006/relationships/image" Target="../media/image31.png"/><Relationship Id="rId10" Type="http://schemas.openxmlformats.org/officeDocument/2006/relationships/image" Target="../media/image28.png"/><Relationship Id="rId4" Type="http://schemas.microsoft.com/office/2007/relationships/hdphoto" Target="../media/hdphoto2.wdp"/><Relationship Id="rId9" Type="http://schemas.openxmlformats.org/officeDocument/2006/relationships/image" Target="../media/image32.png"/><Relationship Id="rId14" Type="http://schemas.openxmlformats.org/officeDocument/2006/relationships/image" Target="../media/image35.png"/></Relationships>
</file>

<file path=ppt/slideLayouts/_rels/slideLayout94.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21.png"/><Relationship Id="rId3" Type="http://schemas.openxmlformats.org/officeDocument/2006/relationships/image" Target="../media/image24.png"/><Relationship Id="rId7" Type="http://schemas.openxmlformats.org/officeDocument/2006/relationships/image" Target="../media/image28.png"/><Relationship Id="rId12" Type="http://schemas.openxmlformats.org/officeDocument/2006/relationships/image" Target="../media/image31.png"/><Relationship Id="rId2" Type="http://schemas.openxmlformats.org/officeDocument/2006/relationships/image" Target="../media/image36.jpg"/><Relationship Id="rId1" Type="http://schemas.openxmlformats.org/officeDocument/2006/relationships/slideMaster" Target="../slideMasters/slideMaster5.xml"/><Relationship Id="rId6" Type="http://schemas.openxmlformats.org/officeDocument/2006/relationships/image" Target="../media/image22.png"/><Relationship Id="rId11" Type="http://schemas.openxmlformats.org/officeDocument/2006/relationships/image" Target="../media/image37.png"/><Relationship Id="rId5" Type="http://schemas.openxmlformats.org/officeDocument/2006/relationships/image" Target="../media/image26.png"/><Relationship Id="rId10" Type="http://schemas.microsoft.com/office/2007/relationships/hdphoto" Target="../media/hdphoto3.wdp"/><Relationship Id="rId4" Type="http://schemas.microsoft.com/office/2007/relationships/hdphoto" Target="../media/hdphoto2.wdp"/><Relationship Id="rId9" Type="http://schemas.openxmlformats.org/officeDocument/2006/relationships/image" Target="../media/image34.png"/><Relationship Id="rId14" Type="http://schemas.openxmlformats.org/officeDocument/2006/relationships/image" Target="../media/image32.png"/></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userDrawn="1"/>
        </p:nvSpPr>
        <p:spPr bwMode="auto">
          <a:xfrm>
            <a:off x="3008303" y="2390353"/>
            <a:ext cx="5373500"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6" name="Arrow Bar"/>
          <p:cNvSpPr/>
          <p:nvPr userDrawn="1"/>
        </p:nvSpPr>
        <p:spPr bwMode="auto">
          <a:xfrm>
            <a:off x="3008303" y="1135856"/>
            <a:ext cx="5373500"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27" name="Left Mask"/>
          <p:cNvSpPr/>
          <p:nvPr userDrawn="1"/>
        </p:nvSpPr>
        <p:spPr bwMode="auto">
          <a:xfrm>
            <a:off x="-1" y="1135857"/>
            <a:ext cx="3008303"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8" name="Circle Arrow"/>
          <p:cNvSpPr>
            <a:spLocks noEditPoints="1"/>
          </p:cNvSpPr>
          <p:nvPr userDrawn="1"/>
        </p:nvSpPr>
        <p:spPr bwMode="auto">
          <a:xfrm rot="5400000">
            <a:off x="746320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50" tIns="34276" rIns="68550" bIns="34276" numCol="1" anchor="t" anchorCtr="0" compatLnSpc="1">
            <a:prstTxWarp prst="textNoShape">
              <a:avLst/>
            </a:prstTxWarp>
          </a:bodyPr>
          <a:lstStyle/>
          <a:p>
            <a:endParaRPr lang="en-US" sz="1400" dirty="0"/>
          </a:p>
        </p:txBody>
      </p:sp>
      <p:sp>
        <p:nvSpPr>
          <p:cNvPr id="29"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Fuschia Tile"/>
          <p:cNvGrpSpPr/>
          <p:nvPr userDrawn="1"/>
        </p:nvGrpSpPr>
        <p:grpSpPr>
          <a:xfrm>
            <a:off x="762580" y="2388950"/>
            <a:ext cx="994669" cy="994410"/>
            <a:chOff x="1071620" y="3044261"/>
            <a:chExt cx="1325880" cy="1325880"/>
          </a:xfrm>
        </p:grpSpPr>
        <p:sp>
          <p:nvSpPr>
            <p:cNvPr id="32" name="Rectangle 31"/>
            <p:cNvSpPr/>
            <p:nvPr/>
          </p:nvSpPr>
          <p:spPr bwMode="auto">
            <a:xfrm>
              <a:off x="1071620" y="3044261"/>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3"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grpSp>
        <p:nvGrpSpPr>
          <p:cNvPr id="34" name="Orange Tile"/>
          <p:cNvGrpSpPr/>
          <p:nvPr userDrawn="1"/>
        </p:nvGrpSpPr>
        <p:grpSpPr>
          <a:xfrm>
            <a:off x="1886044" y="2388950"/>
            <a:ext cx="994669" cy="994410"/>
            <a:chOff x="2487267" y="3044261"/>
            <a:chExt cx="1325880" cy="1325880"/>
          </a:xfrm>
        </p:grpSpPr>
        <p:sp>
          <p:nvSpPr>
            <p:cNvPr id="35" name="Rectangle 34"/>
            <p:cNvSpPr/>
            <p:nvPr/>
          </p:nvSpPr>
          <p:spPr bwMode="auto">
            <a:xfrm>
              <a:off x="2487267" y="3044261"/>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6" name="Freeform 30"/>
            <p:cNvSpPr>
              <a:spLocks noEditPoints="1"/>
            </p:cNvSpPr>
            <p:nvPr/>
          </p:nvSpPr>
          <p:spPr bwMode="auto">
            <a:xfrm>
              <a:off x="2774763" y="3284926"/>
              <a:ext cx="750888" cy="844550"/>
            </a:xfrm>
            <a:custGeom>
              <a:avLst/>
              <a:gdLst>
                <a:gd name="T0" fmla="*/ 15 w 200"/>
                <a:gd name="T1" fmla="*/ 0 h 225"/>
                <a:gd name="T2" fmla="*/ 11 w 200"/>
                <a:gd name="T3" fmla="*/ 17 h 225"/>
                <a:gd name="T4" fmla="*/ 11 w 200"/>
                <a:gd name="T5" fmla="*/ 35 h 225"/>
                <a:gd name="T6" fmla="*/ 0 w 200"/>
                <a:gd name="T7" fmla="*/ 55 h 225"/>
                <a:gd name="T8" fmla="*/ 11 w 200"/>
                <a:gd name="T9" fmla="*/ 75 h 225"/>
                <a:gd name="T10" fmla="*/ 11 w 200"/>
                <a:gd name="T11" fmla="*/ 94 h 225"/>
                <a:gd name="T12" fmla="*/ 0 w 200"/>
                <a:gd name="T13" fmla="*/ 114 h 225"/>
                <a:gd name="T14" fmla="*/ 11 w 200"/>
                <a:gd name="T15" fmla="*/ 134 h 225"/>
                <a:gd name="T16" fmla="*/ 11 w 200"/>
                <a:gd name="T17" fmla="*/ 153 h 225"/>
                <a:gd name="T18" fmla="*/ 0 w 200"/>
                <a:gd name="T19" fmla="*/ 173 h 225"/>
                <a:gd name="T20" fmla="*/ 11 w 200"/>
                <a:gd name="T21" fmla="*/ 193 h 225"/>
                <a:gd name="T22" fmla="*/ 11 w 200"/>
                <a:gd name="T23" fmla="*/ 211 h 225"/>
                <a:gd name="T24" fmla="*/ 15 w 200"/>
                <a:gd name="T25" fmla="*/ 225 h 225"/>
                <a:gd name="T26" fmla="*/ 200 w 200"/>
                <a:gd name="T27" fmla="*/ 185 h 225"/>
                <a:gd name="T28" fmla="*/ 160 w 200"/>
                <a:gd name="T29" fmla="*/ 0 h 225"/>
                <a:gd name="T30" fmla="*/ 11 w 200"/>
                <a:gd name="T31" fmla="*/ 25 h 225"/>
                <a:gd name="T32" fmla="*/ 8 w 200"/>
                <a:gd name="T33" fmla="*/ 26 h 225"/>
                <a:gd name="T34" fmla="*/ 11 w 200"/>
                <a:gd name="T35" fmla="*/ 54 h 225"/>
                <a:gd name="T36" fmla="*/ 8 w 200"/>
                <a:gd name="T37" fmla="*/ 55 h 225"/>
                <a:gd name="T38" fmla="*/ 11 w 200"/>
                <a:gd name="T39" fmla="*/ 83 h 225"/>
                <a:gd name="T40" fmla="*/ 8 w 200"/>
                <a:gd name="T41" fmla="*/ 85 h 225"/>
                <a:gd name="T42" fmla="*/ 11 w 200"/>
                <a:gd name="T43" fmla="*/ 113 h 225"/>
                <a:gd name="T44" fmla="*/ 8 w 200"/>
                <a:gd name="T45" fmla="*/ 114 h 225"/>
                <a:gd name="T46" fmla="*/ 11 w 200"/>
                <a:gd name="T47" fmla="*/ 142 h 225"/>
                <a:gd name="T48" fmla="*/ 8 w 200"/>
                <a:gd name="T49" fmla="*/ 143 h 225"/>
                <a:gd name="T50" fmla="*/ 11 w 200"/>
                <a:gd name="T51" fmla="*/ 171 h 225"/>
                <a:gd name="T52" fmla="*/ 8 w 200"/>
                <a:gd name="T53" fmla="*/ 173 h 225"/>
                <a:gd name="T54" fmla="*/ 11 w 200"/>
                <a:gd name="T55" fmla="*/ 201 h 225"/>
                <a:gd name="T56" fmla="*/ 8 w 200"/>
                <a:gd name="T57" fmla="*/ 202 h 225"/>
                <a:gd name="T58" fmla="*/ 160 w 200"/>
                <a:gd name="T59" fmla="*/ 217 h 225"/>
                <a:gd name="T60" fmla="*/ 19 w 200"/>
                <a:gd name="T61" fmla="*/ 201 h 225"/>
                <a:gd name="T62" fmla="*/ 21 w 200"/>
                <a:gd name="T63" fmla="*/ 205 h 225"/>
                <a:gd name="T64" fmla="*/ 27 w 200"/>
                <a:gd name="T65" fmla="*/ 198 h 225"/>
                <a:gd name="T66" fmla="*/ 19 w 200"/>
                <a:gd name="T67" fmla="*/ 172 h 225"/>
                <a:gd name="T68" fmla="*/ 21 w 200"/>
                <a:gd name="T69" fmla="*/ 175 h 225"/>
                <a:gd name="T70" fmla="*/ 27 w 200"/>
                <a:gd name="T71" fmla="*/ 168 h 225"/>
                <a:gd name="T72" fmla="*/ 19 w 200"/>
                <a:gd name="T73" fmla="*/ 142 h 225"/>
                <a:gd name="T74" fmla="*/ 21 w 200"/>
                <a:gd name="T75" fmla="*/ 146 h 225"/>
                <a:gd name="T76" fmla="*/ 27 w 200"/>
                <a:gd name="T77" fmla="*/ 139 h 225"/>
                <a:gd name="T78" fmla="*/ 19 w 200"/>
                <a:gd name="T79" fmla="*/ 113 h 225"/>
                <a:gd name="T80" fmla="*/ 21 w 200"/>
                <a:gd name="T81" fmla="*/ 117 h 225"/>
                <a:gd name="T82" fmla="*/ 27 w 200"/>
                <a:gd name="T83" fmla="*/ 110 h 225"/>
                <a:gd name="T84" fmla="*/ 19 w 200"/>
                <a:gd name="T85" fmla="*/ 83 h 225"/>
                <a:gd name="T86" fmla="*/ 21 w 200"/>
                <a:gd name="T87" fmla="*/ 87 h 225"/>
                <a:gd name="T88" fmla="*/ 27 w 200"/>
                <a:gd name="T89" fmla="*/ 80 h 225"/>
                <a:gd name="T90" fmla="*/ 19 w 200"/>
                <a:gd name="T91" fmla="*/ 54 h 225"/>
                <a:gd name="T92" fmla="*/ 21 w 200"/>
                <a:gd name="T93" fmla="*/ 58 h 225"/>
                <a:gd name="T94" fmla="*/ 27 w 200"/>
                <a:gd name="T95" fmla="*/ 51 h 225"/>
                <a:gd name="T96" fmla="*/ 19 w 200"/>
                <a:gd name="T97" fmla="*/ 25 h 225"/>
                <a:gd name="T98" fmla="*/ 21 w 200"/>
                <a:gd name="T99" fmla="*/ 29 h 225"/>
                <a:gd name="T100" fmla="*/ 27 w 200"/>
                <a:gd name="T101" fmla="*/ 22 h 225"/>
                <a:gd name="T102" fmla="*/ 19 w 200"/>
                <a:gd name="T103" fmla="*/ 8 h 225"/>
                <a:gd name="T104" fmla="*/ 192 w 200"/>
                <a:gd name="T105" fmla="*/ 4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 h="225">
                  <a:moveTo>
                    <a:pt x="160" y="0"/>
                  </a:moveTo>
                  <a:cubicBezTo>
                    <a:pt x="15" y="0"/>
                    <a:pt x="15" y="0"/>
                    <a:pt x="15" y="0"/>
                  </a:cubicBezTo>
                  <a:cubicBezTo>
                    <a:pt x="12" y="0"/>
                    <a:pt x="11" y="2"/>
                    <a:pt x="11" y="4"/>
                  </a:cubicBezTo>
                  <a:cubicBezTo>
                    <a:pt x="11" y="17"/>
                    <a:pt x="11" y="17"/>
                    <a:pt x="11" y="17"/>
                  </a:cubicBezTo>
                  <a:cubicBezTo>
                    <a:pt x="4" y="18"/>
                    <a:pt x="0" y="21"/>
                    <a:pt x="0" y="26"/>
                  </a:cubicBezTo>
                  <a:cubicBezTo>
                    <a:pt x="0" y="30"/>
                    <a:pt x="4" y="34"/>
                    <a:pt x="11" y="35"/>
                  </a:cubicBezTo>
                  <a:cubicBezTo>
                    <a:pt x="11" y="46"/>
                    <a:pt x="11" y="46"/>
                    <a:pt x="11" y="46"/>
                  </a:cubicBezTo>
                  <a:cubicBezTo>
                    <a:pt x="4" y="47"/>
                    <a:pt x="0" y="51"/>
                    <a:pt x="0" y="55"/>
                  </a:cubicBezTo>
                  <a:cubicBezTo>
                    <a:pt x="0" y="60"/>
                    <a:pt x="4" y="63"/>
                    <a:pt x="11" y="65"/>
                  </a:cubicBezTo>
                  <a:cubicBezTo>
                    <a:pt x="11" y="75"/>
                    <a:pt x="11" y="75"/>
                    <a:pt x="11" y="75"/>
                  </a:cubicBezTo>
                  <a:cubicBezTo>
                    <a:pt x="4" y="76"/>
                    <a:pt x="0" y="80"/>
                    <a:pt x="0" y="85"/>
                  </a:cubicBezTo>
                  <a:cubicBezTo>
                    <a:pt x="0" y="89"/>
                    <a:pt x="4" y="93"/>
                    <a:pt x="11" y="94"/>
                  </a:cubicBezTo>
                  <a:cubicBezTo>
                    <a:pt x="11" y="105"/>
                    <a:pt x="11" y="105"/>
                    <a:pt x="11" y="105"/>
                  </a:cubicBezTo>
                  <a:cubicBezTo>
                    <a:pt x="4" y="106"/>
                    <a:pt x="0" y="109"/>
                    <a:pt x="0" y="114"/>
                  </a:cubicBezTo>
                  <a:cubicBezTo>
                    <a:pt x="0" y="119"/>
                    <a:pt x="4" y="122"/>
                    <a:pt x="11" y="123"/>
                  </a:cubicBezTo>
                  <a:cubicBezTo>
                    <a:pt x="11" y="134"/>
                    <a:pt x="11" y="134"/>
                    <a:pt x="11" y="134"/>
                  </a:cubicBezTo>
                  <a:cubicBezTo>
                    <a:pt x="4" y="135"/>
                    <a:pt x="0" y="139"/>
                    <a:pt x="0" y="143"/>
                  </a:cubicBezTo>
                  <a:cubicBezTo>
                    <a:pt x="0" y="148"/>
                    <a:pt x="4" y="152"/>
                    <a:pt x="11" y="153"/>
                  </a:cubicBezTo>
                  <a:cubicBezTo>
                    <a:pt x="11" y="163"/>
                    <a:pt x="11" y="163"/>
                    <a:pt x="11" y="163"/>
                  </a:cubicBezTo>
                  <a:cubicBezTo>
                    <a:pt x="4" y="164"/>
                    <a:pt x="0" y="168"/>
                    <a:pt x="0" y="173"/>
                  </a:cubicBezTo>
                  <a:cubicBezTo>
                    <a:pt x="0" y="177"/>
                    <a:pt x="4" y="181"/>
                    <a:pt x="11" y="182"/>
                  </a:cubicBezTo>
                  <a:cubicBezTo>
                    <a:pt x="11" y="193"/>
                    <a:pt x="11" y="193"/>
                    <a:pt x="11" y="193"/>
                  </a:cubicBezTo>
                  <a:cubicBezTo>
                    <a:pt x="4" y="194"/>
                    <a:pt x="0" y="197"/>
                    <a:pt x="0" y="202"/>
                  </a:cubicBezTo>
                  <a:cubicBezTo>
                    <a:pt x="0" y="207"/>
                    <a:pt x="4" y="210"/>
                    <a:pt x="11" y="211"/>
                  </a:cubicBezTo>
                  <a:cubicBezTo>
                    <a:pt x="11" y="221"/>
                    <a:pt x="11" y="221"/>
                    <a:pt x="11" y="221"/>
                  </a:cubicBezTo>
                  <a:cubicBezTo>
                    <a:pt x="11" y="223"/>
                    <a:pt x="12" y="225"/>
                    <a:pt x="15" y="225"/>
                  </a:cubicBezTo>
                  <a:cubicBezTo>
                    <a:pt x="160" y="225"/>
                    <a:pt x="160" y="225"/>
                    <a:pt x="160" y="225"/>
                  </a:cubicBezTo>
                  <a:cubicBezTo>
                    <a:pt x="182" y="225"/>
                    <a:pt x="200" y="207"/>
                    <a:pt x="200" y="185"/>
                  </a:cubicBezTo>
                  <a:cubicBezTo>
                    <a:pt x="200" y="40"/>
                    <a:pt x="200" y="40"/>
                    <a:pt x="200" y="40"/>
                  </a:cubicBezTo>
                  <a:cubicBezTo>
                    <a:pt x="200" y="18"/>
                    <a:pt x="182" y="0"/>
                    <a:pt x="160" y="0"/>
                  </a:cubicBezTo>
                  <a:close/>
                  <a:moveTo>
                    <a:pt x="8" y="26"/>
                  </a:moveTo>
                  <a:cubicBezTo>
                    <a:pt x="9" y="26"/>
                    <a:pt x="9" y="25"/>
                    <a:pt x="11" y="25"/>
                  </a:cubicBezTo>
                  <a:cubicBezTo>
                    <a:pt x="11" y="27"/>
                    <a:pt x="11" y="27"/>
                    <a:pt x="11" y="27"/>
                  </a:cubicBezTo>
                  <a:cubicBezTo>
                    <a:pt x="9" y="27"/>
                    <a:pt x="9" y="26"/>
                    <a:pt x="8" y="26"/>
                  </a:cubicBezTo>
                  <a:close/>
                  <a:moveTo>
                    <a:pt x="8" y="55"/>
                  </a:moveTo>
                  <a:cubicBezTo>
                    <a:pt x="9" y="55"/>
                    <a:pt x="9" y="54"/>
                    <a:pt x="11" y="54"/>
                  </a:cubicBezTo>
                  <a:cubicBezTo>
                    <a:pt x="11" y="56"/>
                    <a:pt x="11" y="56"/>
                    <a:pt x="11" y="56"/>
                  </a:cubicBezTo>
                  <a:cubicBezTo>
                    <a:pt x="9" y="56"/>
                    <a:pt x="9" y="56"/>
                    <a:pt x="8" y="55"/>
                  </a:cubicBezTo>
                  <a:close/>
                  <a:moveTo>
                    <a:pt x="8" y="85"/>
                  </a:moveTo>
                  <a:cubicBezTo>
                    <a:pt x="9" y="84"/>
                    <a:pt x="9" y="84"/>
                    <a:pt x="11" y="83"/>
                  </a:cubicBezTo>
                  <a:cubicBezTo>
                    <a:pt x="11" y="86"/>
                    <a:pt x="11" y="86"/>
                    <a:pt x="11" y="86"/>
                  </a:cubicBezTo>
                  <a:cubicBezTo>
                    <a:pt x="9" y="85"/>
                    <a:pt x="9" y="85"/>
                    <a:pt x="8" y="85"/>
                  </a:cubicBezTo>
                  <a:close/>
                  <a:moveTo>
                    <a:pt x="8" y="114"/>
                  </a:moveTo>
                  <a:cubicBezTo>
                    <a:pt x="9" y="114"/>
                    <a:pt x="9" y="113"/>
                    <a:pt x="11" y="113"/>
                  </a:cubicBezTo>
                  <a:cubicBezTo>
                    <a:pt x="11" y="115"/>
                    <a:pt x="11" y="115"/>
                    <a:pt x="11" y="115"/>
                  </a:cubicBezTo>
                  <a:cubicBezTo>
                    <a:pt x="9" y="115"/>
                    <a:pt x="9" y="114"/>
                    <a:pt x="8" y="114"/>
                  </a:cubicBezTo>
                  <a:close/>
                  <a:moveTo>
                    <a:pt x="8" y="143"/>
                  </a:moveTo>
                  <a:cubicBezTo>
                    <a:pt x="9" y="143"/>
                    <a:pt x="9" y="142"/>
                    <a:pt x="11" y="142"/>
                  </a:cubicBezTo>
                  <a:cubicBezTo>
                    <a:pt x="11" y="144"/>
                    <a:pt x="11" y="144"/>
                    <a:pt x="11" y="144"/>
                  </a:cubicBezTo>
                  <a:cubicBezTo>
                    <a:pt x="9" y="144"/>
                    <a:pt x="9" y="144"/>
                    <a:pt x="8" y="143"/>
                  </a:cubicBezTo>
                  <a:close/>
                  <a:moveTo>
                    <a:pt x="8" y="173"/>
                  </a:moveTo>
                  <a:cubicBezTo>
                    <a:pt x="9" y="172"/>
                    <a:pt x="9" y="172"/>
                    <a:pt x="11" y="171"/>
                  </a:cubicBezTo>
                  <a:cubicBezTo>
                    <a:pt x="11" y="174"/>
                    <a:pt x="11" y="174"/>
                    <a:pt x="11" y="174"/>
                  </a:cubicBezTo>
                  <a:cubicBezTo>
                    <a:pt x="9" y="173"/>
                    <a:pt x="9" y="173"/>
                    <a:pt x="8" y="173"/>
                  </a:cubicBezTo>
                  <a:close/>
                  <a:moveTo>
                    <a:pt x="8" y="202"/>
                  </a:moveTo>
                  <a:cubicBezTo>
                    <a:pt x="9" y="202"/>
                    <a:pt x="9" y="201"/>
                    <a:pt x="11" y="201"/>
                  </a:cubicBezTo>
                  <a:cubicBezTo>
                    <a:pt x="11" y="203"/>
                    <a:pt x="11" y="203"/>
                    <a:pt x="11" y="203"/>
                  </a:cubicBezTo>
                  <a:cubicBezTo>
                    <a:pt x="9" y="203"/>
                    <a:pt x="9" y="202"/>
                    <a:pt x="8" y="202"/>
                  </a:cubicBezTo>
                  <a:close/>
                  <a:moveTo>
                    <a:pt x="192" y="185"/>
                  </a:moveTo>
                  <a:cubicBezTo>
                    <a:pt x="192" y="202"/>
                    <a:pt x="177" y="217"/>
                    <a:pt x="160" y="217"/>
                  </a:cubicBezTo>
                  <a:cubicBezTo>
                    <a:pt x="19" y="217"/>
                    <a:pt x="19" y="217"/>
                    <a:pt x="19" y="217"/>
                  </a:cubicBezTo>
                  <a:cubicBezTo>
                    <a:pt x="19" y="201"/>
                    <a:pt x="19" y="201"/>
                    <a:pt x="19" y="201"/>
                  </a:cubicBezTo>
                  <a:cubicBezTo>
                    <a:pt x="20" y="201"/>
                    <a:pt x="20" y="202"/>
                    <a:pt x="21" y="202"/>
                  </a:cubicBezTo>
                  <a:cubicBezTo>
                    <a:pt x="21" y="203"/>
                    <a:pt x="22" y="203"/>
                    <a:pt x="21" y="205"/>
                  </a:cubicBezTo>
                  <a:cubicBezTo>
                    <a:pt x="29" y="207"/>
                    <a:pt x="29" y="207"/>
                    <a:pt x="29" y="207"/>
                  </a:cubicBezTo>
                  <a:cubicBezTo>
                    <a:pt x="30" y="203"/>
                    <a:pt x="29" y="200"/>
                    <a:pt x="27" y="198"/>
                  </a:cubicBezTo>
                  <a:cubicBezTo>
                    <a:pt x="26" y="195"/>
                    <a:pt x="22" y="193"/>
                    <a:pt x="19" y="193"/>
                  </a:cubicBezTo>
                  <a:cubicBezTo>
                    <a:pt x="19" y="172"/>
                    <a:pt x="19" y="172"/>
                    <a:pt x="19" y="172"/>
                  </a:cubicBezTo>
                  <a:cubicBezTo>
                    <a:pt x="20" y="172"/>
                    <a:pt x="20" y="172"/>
                    <a:pt x="21" y="173"/>
                  </a:cubicBezTo>
                  <a:cubicBezTo>
                    <a:pt x="21" y="173"/>
                    <a:pt x="22" y="174"/>
                    <a:pt x="21" y="175"/>
                  </a:cubicBezTo>
                  <a:cubicBezTo>
                    <a:pt x="29" y="178"/>
                    <a:pt x="29" y="178"/>
                    <a:pt x="29" y="178"/>
                  </a:cubicBezTo>
                  <a:cubicBezTo>
                    <a:pt x="30" y="173"/>
                    <a:pt x="29" y="170"/>
                    <a:pt x="27" y="168"/>
                  </a:cubicBezTo>
                  <a:cubicBezTo>
                    <a:pt x="26" y="166"/>
                    <a:pt x="22" y="164"/>
                    <a:pt x="19" y="163"/>
                  </a:cubicBezTo>
                  <a:cubicBezTo>
                    <a:pt x="19" y="142"/>
                    <a:pt x="19" y="142"/>
                    <a:pt x="19" y="142"/>
                  </a:cubicBezTo>
                  <a:cubicBezTo>
                    <a:pt x="20" y="143"/>
                    <a:pt x="20" y="143"/>
                    <a:pt x="21" y="144"/>
                  </a:cubicBezTo>
                  <a:cubicBezTo>
                    <a:pt x="21" y="144"/>
                    <a:pt x="22" y="145"/>
                    <a:pt x="21" y="146"/>
                  </a:cubicBezTo>
                  <a:cubicBezTo>
                    <a:pt x="29" y="148"/>
                    <a:pt x="29" y="148"/>
                    <a:pt x="29" y="148"/>
                  </a:cubicBezTo>
                  <a:cubicBezTo>
                    <a:pt x="30" y="144"/>
                    <a:pt x="29" y="141"/>
                    <a:pt x="27" y="139"/>
                  </a:cubicBezTo>
                  <a:cubicBezTo>
                    <a:pt x="26" y="136"/>
                    <a:pt x="22" y="135"/>
                    <a:pt x="19" y="134"/>
                  </a:cubicBezTo>
                  <a:cubicBezTo>
                    <a:pt x="19" y="113"/>
                    <a:pt x="19" y="113"/>
                    <a:pt x="19" y="113"/>
                  </a:cubicBezTo>
                  <a:cubicBezTo>
                    <a:pt x="20" y="113"/>
                    <a:pt x="20" y="114"/>
                    <a:pt x="21" y="114"/>
                  </a:cubicBezTo>
                  <a:cubicBezTo>
                    <a:pt x="21" y="115"/>
                    <a:pt x="22" y="115"/>
                    <a:pt x="21" y="117"/>
                  </a:cubicBezTo>
                  <a:cubicBezTo>
                    <a:pt x="29" y="119"/>
                    <a:pt x="29" y="119"/>
                    <a:pt x="29" y="119"/>
                  </a:cubicBezTo>
                  <a:cubicBezTo>
                    <a:pt x="30" y="115"/>
                    <a:pt x="29" y="111"/>
                    <a:pt x="27" y="110"/>
                  </a:cubicBezTo>
                  <a:cubicBezTo>
                    <a:pt x="26" y="107"/>
                    <a:pt x="22" y="105"/>
                    <a:pt x="19" y="105"/>
                  </a:cubicBezTo>
                  <a:cubicBezTo>
                    <a:pt x="19" y="83"/>
                    <a:pt x="19" y="83"/>
                    <a:pt x="19" y="83"/>
                  </a:cubicBezTo>
                  <a:cubicBezTo>
                    <a:pt x="20" y="84"/>
                    <a:pt x="20" y="84"/>
                    <a:pt x="21" y="85"/>
                  </a:cubicBezTo>
                  <a:cubicBezTo>
                    <a:pt x="21" y="85"/>
                    <a:pt x="22" y="86"/>
                    <a:pt x="21" y="87"/>
                  </a:cubicBezTo>
                  <a:cubicBezTo>
                    <a:pt x="29" y="90"/>
                    <a:pt x="29" y="90"/>
                    <a:pt x="29" y="90"/>
                  </a:cubicBezTo>
                  <a:cubicBezTo>
                    <a:pt x="30" y="85"/>
                    <a:pt x="29" y="82"/>
                    <a:pt x="27" y="80"/>
                  </a:cubicBezTo>
                  <a:cubicBezTo>
                    <a:pt x="26" y="78"/>
                    <a:pt x="22" y="76"/>
                    <a:pt x="19" y="75"/>
                  </a:cubicBezTo>
                  <a:cubicBezTo>
                    <a:pt x="19" y="54"/>
                    <a:pt x="19" y="54"/>
                    <a:pt x="19" y="54"/>
                  </a:cubicBezTo>
                  <a:cubicBezTo>
                    <a:pt x="20" y="54"/>
                    <a:pt x="20" y="55"/>
                    <a:pt x="21" y="56"/>
                  </a:cubicBezTo>
                  <a:cubicBezTo>
                    <a:pt x="21" y="56"/>
                    <a:pt x="22" y="56"/>
                    <a:pt x="21" y="58"/>
                  </a:cubicBezTo>
                  <a:cubicBezTo>
                    <a:pt x="29" y="60"/>
                    <a:pt x="29" y="60"/>
                    <a:pt x="29" y="60"/>
                  </a:cubicBezTo>
                  <a:cubicBezTo>
                    <a:pt x="30" y="56"/>
                    <a:pt x="29" y="53"/>
                    <a:pt x="27" y="51"/>
                  </a:cubicBezTo>
                  <a:cubicBezTo>
                    <a:pt x="26" y="48"/>
                    <a:pt x="22" y="47"/>
                    <a:pt x="19" y="46"/>
                  </a:cubicBezTo>
                  <a:cubicBezTo>
                    <a:pt x="19" y="25"/>
                    <a:pt x="19" y="25"/>
                    <a:pt x="19" y="25"/>
                  </a:cubicBezTo>
                  <a:cubicBezTo>
                    <a:pt x="20" y="25"/>
                    <a:pt x="20" y="26"/>
                    <a:pt x="21" y="26"/>
                  </a:cubicBezTo>
                  <a:cubicBezTo>
                    <a:pt x="21" y="26"/>
                    <a:pt x="22" y="27"/>
                    <a:pt x="21" y="29"/>
                  </a:cubicBezTo>
                  <a:cubicBezTo>
                    <a:pt x="29" y="31"/>
                    <a:pt x="29" y="31"/>
                    <a:pt x="29" y="31"/>
                  </a:cubicBezTo>
                  <a:cubicBezTo>
                    <a:pt x="30" y="27"/>
                    <a:pt x="29" y="23"/>
                    <a:pt x="27" y="22"/>
                  </a:cubicBezTo>
                  <a:cubicBezTo>
                    <a:pt x="26" y="19"/>
                    <a:pt x="22" y="17"/>
                    <a:pt x="19" y="16"/>
                  </a:cubicBezTo>
                  <a:cubicBezTo>
                    <a:pt x="19" y="8"/>
                    <a:pt x="19" y="8"/>
                    <a:pt x="19" y="8"/>
                  </a:cubicBezTo>
                  <a:cubicBezTo>
                    <a:pt x="160" y="8"/>
                    <a:pt x="160" y="8"/>
                    <a:pt x="160" y="8"/>
                  </a:cubicBezTo>
                  <a:cubicBezTo>
                    <a:pt x="177" y="8"/>
                    <a:pt x="192" y="22"/>
                    <a:pt x="192" y="40"/>
                  </a:cubicBezTo>
                  <a:lnTo>
                    <a:pt x="192" y="1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grpSp>
        <p:nvGrpSpPr>
          <p:cNvPr id="37" name="Teal Tile"/>
          <p:cNvGrpSpPr/>
          <p:nvPr userDrawn="1"/>
        </p:nvGrpSpPr>
        <p:grpSpPr>
          <a:xfrm>
            <a:off x="762580" y="3512121"/>
            <a:ext cx="994669" cy="994410"/>
            <a:chOff x="1020317" y="4686638"/>
            <a:chExt cx="1325880" cy="1325880"/>
          </a:xfrm>
        </p:grpSpPr>
        <p:sp>
          <p:nvSpPr>
            <p:cNvPr id="38" name="Rectangle 37"/>
            <p:cNvSpPr/>
            <p:nvPr/>
          </p:nvSpPr>
          <p:spPr bwMode="auto">
            <a:xfrm>
              <a:off x="1020317" y="468663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9" name="Freeform 13"/>
            <p:cNvSpPr>
              <a:spLocks noEditPoints="1"/>
            </p:cNvSpPr>
            <p:nvPr/>
          </p:nvSpPr>
          <p:spPr bwMode="auto">
            <a:xfrm>
              <a:off x="1455948" y="4930478"/>
              <a:ext cx="454618" cy="838200"/>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400" dirty="0"/>
            </a:p>
          </p:txBody>
        </p:sp>
      </p:grpSp>
      <p:grpSp>
        <p:nvGrpSpPr>
          <p:cNvPr id="5" name="Green Tile"/>
          <p:cNvGrpSpPr/>
          <p:nvPr userDrawn="1"/>
        </p:nvGrpSpPr>
        <p:grpSpPr>
          <a:xfrm>
            <a:off x="1886044" y="3512121"/>
            <a:ext cx="994669" cy="994410"/>
            <a:chOff x="2514069" y="4682828"/>
            <a:chExt cx="1325880" cy="1325880"/>
          </a:xfrm>
        </p:grpSpPr>
        <p:sp>
          <p:nvSpPr>
            <p:cNvPr id="41" name="Rectangle 40"/>
            <p:cNvSpPr/>
            <p:nvPr/>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46" name="Freeform 73"/>
            <p:cNvSpPr>
              <a:spLocks noEditPoints="1"/>
            </p:cNvSpPr>
            <p:nvPr userDrawn="1"/>
          </p:nvSpPr>
          <p:spPr bwMode="auto">
            <a:xfrm>
              <a:off x="2757463" y="5062311"/>
              <a:ext cx="839092" cy="702557"/>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400" dirty="0"/>
            </a:p>
          </p:txBody>
        </p:sp>
      </p:grpSp>
      <p:sp useBgFill="1">
        <p:nvSpPr>
          <p:cNvPr id="43" name="Top Mask"/>
          <p:cNvSpPr/>
          <p:nvPr userDrawn="1"/>
        </p:nvSpPr>
        <p:spPr bwMode="auto">
          <a:xfrm>
            <a:off x="1"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44" name="Right Mask"/>
          <p:cNvSpPr/>
          <p:nvPr userDrawn="1"/>
        </p:nvSpPr>
        <p:spPr bwMode="auto">
          <a:xfrm>
            <a:off x="8381812" y="1223114"/>
            <a:ext cx="762199"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3136907" y="2423981"/>
            <a:ext cx="5040038" cy="924348"/>
          </a:xfrm>
        </p:spPr>
        <p:txBody>
          <a:bodyPr anchor="ctr">
            <a:noAutofit/>
          </a:bodyPr>
          <a:lstStyle>
            <a:lvl1pPr algn="l" defTabSz="685487"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3136907" y="3771911"/>
            <a:ext cx="5154369" cy="347441"/>
          </a:xfrm>
        </p:spPr>
        <p:txBody>
          <a:bodyPr>
            <a:noAutofit/>
          </a:bodyPr>
          <a:lstStyle>
            <a:lvl1pPr marL="0" indent="0" algn="l" defTabSz="68548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39" indent="0" algn="ctr">
              <a:buNone/>
              <a:defRPr>
                <a:solidFill>
                  <a:schemeClr val="tx1">
                    <a:tint val="75000"/>
                  </a:schemeClr>
                </a:solidFill>
              </a:defRPr>
            </a:lvl2pPr>
            <a:lvl3pPr marL="685487" indent="0" algn="ctr">
              <a:buNone/>
              <a:defRPr>
                <a:solidFill>
                  <a:schemeClr val="tx1">
                    <a:tint val="75000"/>
                  </a:schemeClr>
                </a:solidFill>
              </a:defRPr>
            </a:lvl3pPr>
            <a:lvl4pPr marL="1028229" indent="0" algn="ctr">
              <a:buNone/>
              <a:defRPr>
                <a:solidFill>
                  <a:schemeClr val="tx1">
                    <a:tint val="75000"/>
                  </a:schemeClr>
                </a:solidFill>
              </a:defRPr>
            </a:lvl4pPr>
            <a:lvl5pPr marL="1370975" indent="0" algn="ctr">
              <a:buNone/>
              <a:defRPr>
                <a:solidFill>
                  <a:schemeClr val="tx1">
                    <a:tint val="75000"/>
                  </a:schemeClr>
                </a:solidFill>
              </a:defRPr>
            </a:lvl5pPr>
            <a:lvl6pPr marL="1713712" indent="0" algn="ctr">
              <a:buNone/>
              <a:defRPr>
                <a:solidFill>
                  <a:schemeClr val="tx1">
                    <a:tint val="75000"/>
                  </a:schemeClr>
                </a:solidFill>
              </a:defRPr>
            </a:lvl6pPr>
            <a:lvl7pPr marL="2056459" indent="0" algn="ctr">
              <a:buNone/>
              <a:defRPr>
                <a:solidFill>
                  <a:schemeClr val="tx1">
                    <a:tint val="75000"/>
                  </a:schemeClr>
                </a:solidFill>
              </a:defRPr>
            </a:lvl7pPr>
            <a:lvl8pPr marL="2399204" indent="0" algn="ctr">
              <a:buNone/>
              <a:defRPr>
                <a:solidFill>
                  <a:schemeClr val="tx1">
                    <a:tint val="75000"/>
                  </a:schemeClr>
                </a:solidFill>
              </a:defRPr>
            </a:lvl8pPr>
            <a:lvl9pPr marL="2741951" indent="0" algn="ctr">
              <a:buNone/>
              <a:defRPr>
                <a:solidFill>
                  <a:schemeClr val="tx1">
                    <a:tint val="75000"/>
                  </a:schemeClr>
                </a:solidFill>
              </a:defRPr>
            </a:lvl9pPr>
          </a:lstStyle>
          <a:p>
            <a:r>
              <a:rPr lang="en-US" smtClean="0"/>
              <a:t>Click to edit Master subtitle style</a:t>
            </a:r>
            <a:endParaRPr lang="en-US" dirty="0"/>
          </a:p>
        </p:txBody>
      </p:sp>
      <p:sp useBgFill="1">
        <p:nvSpPr>
          <p:cNvPr id="45" name="Bottom Mask"/>
          <p:cNvSpPr/>
          <p:nvPr userDrawn="1"/>
        </p:nvSpPr>
        <p:spPr bwMode="auto">
          <a:xfrm>
            <a:off x="1" y="4507707"/>
            <a:ext cx="9144001"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Tree>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8"/>
            <a:ext cx="4115872" cy="1323439"/>
          </a:xfrm>
        </p:spPr>
        <p:txBody>
          <a:bodyPr/>
          <a:lstStyle>
            <a:lvl1pPr marL="254877" indent="-254877">
              <a:lnSpc>
                <a:spcPct val="90000"/>
              </a:lnSpc>
              <a:defRPr sz="2100"/>
            </a:lvl1pPr>
            <a:lvl2pPr marL="504794" indent="-243968">
              <a:lnSpc>
                <a:spcPct val="90000"/>
              </a:lnSpc>
              <a:defRPr sz="1800"/>
            </a:lvl2pPr>
            <a:lvl3pPr marL="715039" indent="-216198">
              <a:lnSpc>
                <a:spcPct val="90000"/>
              </a:lnSpc>
              <a:defRPr sz="1500"/>
            </a:lvl3pPr>
            <a:lvl4pPr marL="920325" indent="-205285">
              <a:lnSpc>
                <a:spcPct val="90000"/>
              </a:lnSpc>
              <a:defRPr sz="1400"/>
            </a:lvl4pPr>
            <a:lvl5pPr marL="1136522" indent="-210246">
              <a:lnSpc>
                <a:spcPct val="90000"/>
              </a:lnSpc>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085858"/>
            <a:ext cx="4115872" cy="1323439"/>
          </a:xfrm>
        </p:spPr>
        <p:txBody>
          <a:bodyPr/>
          <a:lstStyle>
            <a:lvl1pPr marL="260826" indent="-260826">
              <a:lnSpc>
                <a:spcPct val="90000"/>
              </a:lnSpc>
              <a:defRPr sz="2100"/>
            </a:lvl1pPr>
            <a:lvl2pPr marL="504794" indent="-254877">
              <a:lnSpc>
                <a:spcPct val="90000"/>
              </a:lnSpc>
              <a:defRPr sz="1800"/>
            </a:lvl2pPr>
            <a:lvl3pPr marL="720992" indent="-227112">
              <a:lnSpc>
                <a:spcPct val="90000"/>
              </a:lnSpc>
              <a:defRPr sz="1500"/>
            </a:lvl3pPr>
            <a:lvl4pPr marL="920325" indent="-199332">
              <a:lnSpc>
                <a:spcPct val="90000"/>
              </a:lnSpc>
              <a:defRPr sz="1400"/>
            </a:lvl4pPr>
            <a:lvl5pPr marL="1136522" indent="-205285">
              <a:lnSpc>
                <a:spcPct val="90000"/>
              </a:lnSpc>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871367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Option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userDrawn="1"/>
        </p:nvSpPr>
        <p:spPr bwMode="auto">
          <a:xfrm>
            <a:off x="3008305" y="2387410"/>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7463197"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7" tIns="34289" rIns="68577" bIns="34289" numCol="1" anchor="t" anchorCtr="0" compatLnSpc="1">
            <a:prstTxWarp prst="textNoShape">
              <a:avLst/>
            </a:prstTxWarp>
          </a:bodyPr>
          <a:lstStyle/>
          <a:p>
            <a:pPr defTabSz="685750"/>
            <a:endParaRPr lang="en-US">
              <a:solidFill>
                <a:srgbClr val="FFFFFF"/>
              </a:solidFill>
            </a:endParaRPr>
          </a:p>
        </p:txBody>
      </p:sp>
      <p:sp>
        <p:nvSpPr>
          <p:cNvPr id="29"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35" name="Rectangle 34"/>
          <p:cNvSpPr/>
          <p:nvPr/>
        </p:nvSpPr>
        <p:spPr bwMode="auto">
          <a:xfrm>
            <a:off x="1886044" y="2388950"/>
            <a:ext cx="994669" cy="99441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38" name="Rectangle 37"/>
          <p:cNvSpPr/>
          <p:nvPr/>
        </p:nvSpPr>
        <p:spPr bwMode="auto">
          <a:xfrm>
            <a:off x="762580" y="3512121"/>
            <a:ext cx="994669" cy="99441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41" name="Rectangle 40"/>
          <p:cNvSpPr/>
          <p:nvPr/>
        </p:nvSpPr>
        <p:spPr bwMode="auto">
          <a:xfrm>
            <a:off x="1886044" y="3512121"/>
            <a:ext cx="994669" cy="99441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32" name="Rectangle 31"/>
          <p:cNvSpPr/>
          <p:nvPr/>
        </p:nvSpPr>
        <p:spPr bwMode="auto">
          <a:xfrm>
            <a:off x="762580" y="2388950"/>
            <a:ext cx="994669" cy="99441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title" hasCustomPrompt="1"/>
          </p:nvPr>
        </p:nvSpPr>
        <p:spPr>
          <a:xfrm>
            <a:off x="3124985" y="2552978"/>
            <a:ext cx="5154397" cy="415499"/>
          </a:xfrm>
        </p:spPr>
        <p:txBody>
          <a:bodyPr anchor="b" anchorCtr="0"/>
          <a:lstStyle>
            <a:lvl1pPr>
              <a:defRPr sz="3000" b="1" spc="-113" baseline="0">
                <a:solidFill>
                  <a:schemeClr val="accent1">
                    <a:alpha val="99000"/>
                  </a:schemeClr>
                </a:solidFill>
                <a:latin typeface="+mn-lt"/>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3144044" y="3492945"/>
            <a:ext cx="5106759" cy="373949"/>
          </a:xfrm>
        </p:spPr>
        <p:txBody>
          <a:bodyPr>
            <a:noAutofit/>
          </a:bodyPr>
          <a:lstStyle>
            <a:lvl1pPr marL="0" indent="0">
              <a:spcBef>
                <a:spcPts val="0"/>
              </a:spcBef>
              <a:buNone/>
              <a:defRPr sz="1200" spc="-53" baseline="0">
                <a:gradFill>
                  <a:gsLst>
                    <a:gs pos="0">
                      <a:schemeClr val="tx2"/>
                    </a:gs>
                    <a:gs pos="100000">
                      <a:schemeClr val="tx2"/>
                    </a:gs>
                  </a:gsLst>
                  <a:lin ang="5400000" scaled="0"/>
                </a:gradFill>
                <a:latin typeface="+mn-lt"/>
              </a:defRPr>
            </a:lvl1pPr>
          </a:lstStyle>
          <a:p>
            <a:pPr lvl="0"/>
            <a:r>
              <a:rPr lang="en-US" dirty="0" smtClean="0"/>
              <a:t>Speaker Title</a:t>
            </a:r>
            <a:endParaRPr lang="en-US" dirty="0"/>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8928" y="3665427"/>
            <a:ext cx="717556" cy="704326"/>
          </a:xfrm>
          <a:prstGeom prst="rect">
            <a:avLst/>
          </a:prstGeom>
        </p:spPr>
      </p:pic>
      <p:pic>
        <p:nvPicPr>
          <p:cNvPr id="4" name="Picture 3"/>
          <p:cNvPicPr>
            <a:picLocks noChangeAspect="1"/>
          </p:cNvPicPr>
          <p:nvPr userDrawn="1"/>
        </p:nvPicPr>
        <p:blipFill rotWithShape="1">
          <a:blip r:embed="rId4">
            <a:extLst>
              <a:ext uri="{28A0092B-C50C-407E-A947-70E740481C1C}">
                <a14:useLocalDpi xmlns:a14="http://schemas.microsoft.com/office/drawing/2010/main" val="0"/>
              </a:ext>
            </a:extLst>
          </a:blip>
          <a:srcRect l="28411" t="5974" r="30263" b="6304"/>
          <a:stretch/>
        </p:blipFill>
        <p:spPr bwMode="black">
          <a:xfrm>
            <a:off x="2053519" y="2469493"/>
            <a:ext cx="667437" cy="849848"/>
          </a:xfrm>
          <a:prstGeom prst="rect">
            <a:avLst/>
          </a:prstGeom>
        </p:spPr>
      </p:pic>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3279" y="2461232"/>
            <a:ext cx="872537" cy="856449"/>
          </a:xfrm>
          <a:prstGeom prst="rect">
            <a:avLst/>
          </a:prstGeom>
        </p:spPr>
      </p:pic>
      <p:sp>
        <p:nvSpPr>
          <p:cNvPr id="17" name="Arrow Bar"/>
          <p:cNvSpPr/>
          <p:nvPr userDrawn="1"/>
        </p:nvSpPr>
        <p:spPr bwMode="auto">
          <a:xfrm>
            <a:off x="8514210" y="2387410"/>
            <a:ext cx="376615" cy="2117354"/>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28455" y="1366692"/>
            <a:ext cx="1786611" cy="686436"/>
          </a:xfrm>
          <a:prstGeom prst="rect">
            <a:avLst/>
          </a:prstGeom>
        </p:spPr>
      </p:pic>
      <p:pic>
        <p:nvPicPr>
          <p:cNvPr id="21" name="TechEd Logo"/>
          <p:cNvPicPr>
            <a:picLocks noChangeAspect="1" noChangeArrowheads="1"/>
          </p:cNvPicPr>
          <p:nvPr userDrawn="1"/>
        </p:nvPicPr>
        <p:blipFill rotWithShape="1">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1999577" y="3841690"/>
            <a:ext cx="775329" cy="391343"/>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p:cNvSpPr txBox="1"/>
          <p:nvPr userDrawn="1"/>
        </p:nvSpPr>
        <p:spPr>
          <a:xfrm rot="5400000">
            <a:off x="7636127" y="3339328"/>
            <a:ext cx="2115152" cy="215444"/>
          </a:xfrm>
          <a:prstGeom prst="rect">
            <a:avLst/>
          </a:prstGeom>
          <a:noFill/>
        </p:spPr>
        <p:txBody>
          <a:bodyPr wrap="square" lIns="0" tIns="0" rIns="0" bIns="0" rtlCol="0">
            <a:spAutoFit/>
          </a:bodyPr>
          <a:lstStyle/>
          <a:p>
            <a:pPr algn="ctr" defTabSz="685750"/>
            <a:r>
              <a:rPr lang="en-US" b="1" spc="-53" dirty="0" smtClean="0">
                <a:gradFill>
                  <a:gsLst>
                    <a:gs pos="2917">
                      <a:srgbClr val="FFFFFF"/>
                    </a:gs>
                    <a:gs pos="30000">
                      <a:srgbClr val="FFFFFF"/>
                    </a:gs>
                  </a:gsLst>
                  <a:lin ang="5400000" scaled="0"/>
                </a:gradFill>
              </a:rPr>
              <a:t>LEARN</a:t>
            </a:r>
            <a:r>
              <a:rPr lang="en-US" spc="-53" dirty="0" smtClean="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20208977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lide Option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8" name="Title Tile"/>
          <p:cNvSpPr/>
          <p:nvPr userDrawn="1"/>
        </p:nvSpPr>
        <p:spPr bwMode="auto">
          <a:xfrm>
            <a:off x="3008305" y="2387410"/>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7463197"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7" tIns="34289" rIns="68577" bIns="34289" numCol="1" anchor="t" anchorCtr="0" compatLnSpc="1">
            <a:prstTxWarp prst="textNoShape">
              <a:avLst/>
            </a:prstTxWarp>
          </a:bodyPr>
          <a:lstStyle/>
          <a:p>
            <a:pPr defTabSz="685750"/>
            <a:endParaRPr lang="en-US">
              <a:solidFill>
                <a:srgbClr val="FFFFFF"/>
              </a:solidFill>
            </a:endParaRPr>
          </a:p>
        </p:txBody>
      </p:sp>
      <p:sp>
        <p:nvSpPr>
          <p:cNvPr id="29"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35" name="Rectangle 34"/>
          <p:cNvSpPr/>
          <p:nvPr/>
        </p:nvSpPr>
        <p:spPr bwMode="auto">
          <a:xfrm>
            <a:off x="1886044" y="2388950"/>
            <a:ext cx="994669" cy="99441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38" name="Rectangle 37"/>
          <p:cNvSpPr/>
          <p:nvPr/>
        </p:nvSpPr>
        <p:spPr bwMode="auto">
          <a:xfrm>
            <a:off x="762580" y="3512121"/>
            <a:ext cx="994669" cy="99441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41" name="Rectangle 40"/>
          <p:cNvSpPr/>
          <p:nvPr/>
        </p:nvSpPr>
        <p:spPr bwMode="auto">
          <a:xfrm>
            <a:off x="1886044" y="3512121"/>
            <a:ext cx="994669" cy="99441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32" name="Rectangle 31"/>
          <p:cNvSpPr/>
          <p:nvPr/>
        </p:nvSpPr>
        <p:spPr bwMode="auto">
          <a:xfrm>
            <a:off x="762580" y="2388950"/>
            <a:ext cx="994669" cy="99441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1999577" y="3841690"/>
            <a:ext cx="775329" cy="39134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hasCustomPrompt="1"/>
          </p:nvPr>
        </p:nvSpPr>
        <p:spPr>
          <a:xfrm>
            <a:off x="3124985" y="2552978"/>
            <a:ext cx="5154397" cy="415499"/>
          </a:xfrm>
        </p:spPr>
        <p:txBody>
          <a:bodyPr anchor="b" anchorCtr="0"/>
          <a:lstStyle>
            <a:lvl1pPr>
              <a:defRPr sz="3000" b="1" spc="-113" baseline="0">
                <a:solidFill>
                  <a:schemeClr val="accent1">
                    <a:alpha val="99000"/>
                  </a:schemeClr>
                </a:solidFill>
                <a:latin typeface="+mn-lt"/>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3144044" y="3492945"/>
            <a:ext cx="5106759" cy="373949"/>
          </a:xfrm>
        </p:spPr>
        <p:txBody>
          <a:bodyPr>
            <a:noAutofit/>
          </a:bodyPr>
          <a:lstStyle>
            <a:lvl1pPr marL="0" indent="0">
              <a:spcBef>
                <a:spcPts val="0"/>
              </a:spcBef>
              <a:buNone/>
              <a:defRPr sz="1200" spc="-53" baseline="0">
                <a:gradFill>
                  <a:gsLst>
                    <a:gs pos="0">
                      <a:schemeClr val="tx2"/>
                    </a:gs>
                    <a:gs pos="100000">
                      <a:schemeClr val="tx2"/>
                    </a:gs>
                  </a:gsLst>
                  <a:lin ang="5400000" scaled="0"/>
                </a:gradFill>
                <a:latin typeface="+mn-lt"/>
              </a:defRPr>
            </a:lvl1pPr>
          </a:lstStyle>
          <a:p>
            <a:pPr lvl="0"/>
            <a:r>
              <a:rPr lang="en-US" dirty="0" smtClean="0"/>
              <a:t>Speaker Title</a:t>
            </a:r>
            <a:endParaRPr lang="en-US" dirty="0"/>
          </a:p>
        </p:txBody>
      </p:sp>
      <p:pic>
        <p:nvPicPr>
          <p:cNvPr id="45" name="Picture 4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67289" y="2485877"/>
            <a:ext cx="791695" cy="777099"/>
          </a:xfrm>
          <a:prstGeom prst="rect">
            <a:avLst/>
          </a:prstGeom>
        </p:spPr>
      </p:pic>
      <p:pic>
        <p:nvPicPr>
          <p:cNvPr id="3" name="Picture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60842" y="3645644"/>
            <a:ext cx="798142" cy="783426"/>
          </a:xfrm>
          <a:prstGeom prst="rect">
            <a:avLst/>
          </a:prstGeom>
        </p:spPr>
      </p:pic>
      <p:pic>
        <p:nvPicPr>
          <p:cNvPr id="4" name="Picture 3"/>
          <p:cNvPicPr>
            <a:picLocks noChangeAspect="1"/>
          </p:cNvPicPr>
          <p:nvPr userDrawn="1"/>
        </p:nvPicPr>
        <p:blipFill rotWithShape="1">
          <a:blip r:embed="rId7">
            <a:extLst>
              <a:ext uri="{28A0092B-C50C-407E-A947-70E740481C1C}">
                <a14:useLocalDpi xmlns:a14="http://schemas.microsoft.com/office/drawing/2010/main" val="0"/>
              </a:ext>
            </a:extLst>
          </a:blip>
          <a:srcRect l="21790" r="25133"/>
          <a:stretch/>
        </p:blipFill>
        <p:spPr bwMode="black">
          <a:xfrm>
            <a:off x="2064171" y="2484549"/>
            <a:ext cx="710732" cy="803219"/>
          </a:xfrm>
          <a:prstGeom prst="rect">
            <a:avLst/>
          </a:prstGeom>
        </p:spPr>
      </p:pic>
      <p:sp>
        <p:nvSpPr>
          <p:cNvPr id="17" name="Arrow Bar"/>
          <p:cNvSpPr/>
          <p:nvPr userDrawn="1"/>
        </p:nvSpPr>
        <p:spPr bwMode="auto">
          <a:xfrm>
            <a:off x="8514210" y="2387410"/>
            <a:ext cx="376615" cy="2117354"/>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pic>
        <p:nvPicPr>
          <p:cNvPr id="20" name="Picture 19"/>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28455" y="1366692"/>
            <a:ext cx="1786611" cy="686436"/>
          </a:xfrm>
          <a:prstGeom prst="rect">
            <a:avLst/>
          </a:prstGeom>
        </p:spPr>
      </p:pic>
      <p:sp>
        <p:nvSpPr>
          <p:cNvPr id="21" name="TextBox 20"/>
          <p:cNvSpPr txBox="1"/>
          <p:nvPr userDrawn="1"/>
        </p:nvSpPr>
        <p:spPr>
          <a:xfrm rot="5400000">
            <a:off x="7636127" y="3339328"/>
            <a:ext cx="2115152" cy="215444"/>
          </a:xfrm>
          <a:prstGeom prst="rect">
            <a:avLst/>
          </a:prstGeom>
          <a:noFill/>
        </p:spPr>
        <p:txBody>
          <a:bodyPr wrap="square" lIns="0" tIns="0" rIns="0" bIns="0" rtlCol="0">
            <a:spAutoFit/>
          </a:bodyPr>
          <a:lstStyle/>
          <a:p>
            <a:pPr algn="ctr" defTabSz="685750"/>
            <a:r>
              <a:rPr lang="en-US" b="1" spc="-53" dirty="0" smtClean="0">
                <a:gradFill>
                  <a:gsLst>
                    <a:gs pos="2917">
                      <a:srgbClr val="FFFFFF"/>
                    </a:gs>
                    <a:gs pos="30000">
                      <a:srgbClr val="FFFFFF"/>
                    </a:gs>
                  </a:gsLst>
                  <a:lin ang="5400000" scaled="0"/>
                </a:gradFill>
              </a:rPr>
              <a:t>LEARN</a:t>
            </a:r>
            <a:r>
              <a:rPr lang="en-US" spc="-53" dirty="0" smtClean="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36648967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lide Option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Title Tile"/>
          <p:cNvSpPr/>
          <p:nvPr userDrawn="1"/>
        </p:nvSpPr>
        <p:spPr bwMode="auto">
          <a:xfrm>
            <a:off x="3008305" y="2387410"/>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7463197"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7" tIns="34289" rIns="68577" bIns="34289" numCol="1" anchor="t" anchorCtr="0" compatLnSpc="1">
            <a:prstTxWarp prst="textNoShape">
              <a:avLst/>
            </a:prstTxWarp>
          </a:bodyPr>
          <a:lstStyle/>
          <a:p>
            <a:pPr defTabSz="685750"/>
            <a:endParaRPr lang="en-US">
              <a:solidFill>
                <a:srgbClr val="FFFFFF"/>
              </a:solidFill>
            </a:endParaRPr>
          </a:p>
        </p:txBody>
      </p:sp>
      <p:sp>
        <p:nvSpPr>
          <p:cNvPr id="29"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35" name="Rectangle 34"/>
          <p:cNvSpPr/>
          <p:nvPr/>
        </p:nvSpPr>
        <p:spPr bwMode="auto">
          <a:xfrm>
            <a:off x="1886044" y="2388950"/>
            <a:ext cx="994669" cy="99441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38" name="Rectangle 37"/>
          <p:cNvSpPr/>
          <p:nvPr/>
        </p:nvSpPr>
        <p:spPr bwMode="auto">
          <a:xfrm>
            <a:off x="762580" y="3512121"/>
            <a:ext cx="994669" cy="99441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41" name="Rectangle 40"/>
          <p:cNvSpPr/>
          <p:nvPr/>
        </p:nvSpPr>
        <p:spPr bwMode="auto">
          <a:xfrm>
            <a:off x="1886044" y="3512121"/>
            <a:ext cx="994669" cy="99441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32" name="Rectangle 31"/>
          <p:cNvSpPr/>
          <p:nvPr/>
        </p:nvSpPr>
        <p:spPr bwMode="auto">
          <a:xfrm>
            <a:off x="762580" y="2388950"/>
            <a:ext cx="994669" cy="99441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1999577" y="3841690"/>
            <a:ext cx="775329" cy="39134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hasCustomPrompt="1"/>
          </p:nvPr>
        </p:nvSpPr>
        <p:spPr>
          <a:xfrm>
            <a:off x="3124985" y="2552978"/>
            <a:ext cx="5154397" cy="415499"/>
          </a:xfrm>
        </p:spPr>
        <p:txBody>
          <a:bodyPr anchor="b" anchorCtr="0"/>
          <a:lstStyle>
            <a:lvl1pPr>
              <a:defRPr sz="3000" b="1" spc="-113" baseline="0">
                <a:solidFill>
                  <a:schemeClr val="accent1">
                    <a:alpha val="99000"/>
                  </a:schemeClr>
                </a:solidFill>
                <a:latin typeface="+mn-lt"/>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3144044" y="3492945"/>
            <a:ext cx="5106759" cy="373949"/>
          </a:xfrm>
        </p:spPr>
        <p:txBody>
          <a:bodyPr>
            <a:noAutofit/>
          </a:bodyPr>
          <a:lstStyle>
            <a:lvl1pPr marL="0" indent="0">
              <a:spcBef>
                <a:spcPts val="0"/>
              </a:spcBef>
              <a:buNone/>
              <a:defRPr sz="1200" spc="-53" baseline="0">
                <a:gradFill>
                  <a:gsLst>
                    <a:gs pos="0">
                      <a:schemeClr val="tx2"/>
                    </a:gs>
                    <a:gs pos="100000">
                      <a:schemeClr val="tx2"/>
                    </a:gs>
                  </a:gsLst>
                  <a:lin ang="5400000" scaled="0"/>
                </a:gradFill>
                <a:latin typeface="+mn-lt"/>
              </a:defRPr>
            </a:lvl1pPr>
          </a:lstStyle>
          <a:p>
            <a:pPr lvl="0"/>
            <a:r>
              <a:rPr lang="en-US" dirty="0" smtClean="0"/>
              <a:t>Speaker Title</a:t>
            </a:r>
            <a:endParaRPr lang="en-US" dirty="0"/>
          </a:p>
        </p:txBody>
      </p:sp>
      <p:pic>
        <p:nvPicPr>
          <p:cNvPr id="45" name="Picture 4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black">
          <a:xfrm>
            <a:off x="885192" y="2651469"/>
            <a:ext cx="782503" cy="469379"/>
          </a:xfrm>
          <a:prstGeom prst="rect">
            <a:avLst/>
          </a:prstGeom>
        </p:spPr>
      </p:pic>
      <p:pic>
        <p:nvPicPr>
          <p:cNvPr id="3" name="Picture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60842" y="3645644"/>
            <a:ext cx="798142" cy="783426"/>
          </a:xfrm>
          <a:prstGeom prst="rect">
            <a:avLst/>
          </a:prstGeom>
        </p:spPr>
      </p:pic>
      <p:pic>
        <p:nvPicPr>
          <p:cNvPr id="18" name="Picture 2" descr="C:\Users\Justin\Desktop\_Work_in_Progress\_MS\1530\toolbox.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019253" y="2577670"/>
            <a:ext cx="728251" cy="61697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28455" y="1366692"/>
            <a:ext cx="1786611" cy="686436"/>
          </a:xfrm>
          <a:prstGeom prst="rect">
            <a:avLst/>
          </a:prstGeom>
        </p:spPr>
      </p:pic>
      <p:sp>
        <p:nvSpPr>
          <p:cNvPr id="21" name="Arrow Bar"/>
          <p:cNvSpPr/>
          <p:nvPr userDrawn="1"/>
        </p:nvSpPr>
        <p:spPr bwMode="auto">
          <a:xfrm>
            <a:off x="8514210" y="2387410"/>
            <a:ext cx="376615" cy="2117354"/>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22" name="TextBox 21"/>
          <p:cNvSpPr txBox="1"/>
          <p:nvPr userDrawn="1"/>
        </p:nvSpPr>
        <p:spPr>
          <a:xfrm rot="5400000">
            <a:off x="7636127" y="3339328"/>
            <a:ext cx="2115152" cy="215444"/>
          </a:xfrm>
          <a:prstGeom prst="rect">
            <a:avLst/>
          </a:prstGeom>
          <a:noFill/>
        </p:spPr>
        <p:txBody>
          <a:bodyPr wrap="square" lIns="0" tIns="0" rIns="0" bIns="0" rtlCol="0">
            <a:spAutoFit/>
          </a:bodyPr>
          <a:lstStyle/>
          <a:p>
            <a:pPr algn="ctr" defTabSz="685750"/>
            <a:r>
              <a:rPr lang="en-US" b="1" spc="-53" dirty="0" smtClean="0">
                <a:gradFill>
                  <a:gsLst>
                    <a:gs pos="2917">
                      <a:srgbClr val="FFFFFF"/>
                    </a:gs>
                    <a:gs pos="30000">
                      <a:srgbClr val="FFFFFF"/>
                    </a:gs>
                  </a:gsLst>
                  <a:lin ang="5400000" scaled="0"/>
                </a:gradFill>
              </a:rPr>
              <a:t>LEARN</a:t>
            </a:r>
            <a:r>
              <a:rPr lang="en-US" spc="-53" dirty="0" smtClean="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10557143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Title Slide Option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23"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24"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74" tIns="34288" rIns="68574" bIns="34288" numCol="1" spcCol="0" rtlCol="0" fromWordArt="0" anchor="ctr" anchorCtr="0" forceAA="0" compatLnSpc="1">
            <a:prstTxWarp prst="textNoShape">
              <a:avLst/>
            </a:prstTxWarp>
            <a:noAutofit/>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25" name="Circle Arrow"/>
          <p:cNvSpPr>
            <a:spLocks noEditPoints="1"/>
          </p:cNvSpPr>
          <p:nvPr userDrawn="1"/>
        </p:nvSpPr>
        <p:spPr bwMode="auto">
          <a:xfrm rot="5400000">
            <a:off x="7463197"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7" tIns="34289" rIns="68577" bIns="34289" numCol="1" anchor="t" anchorCtr="0" compatLnSpc="1">
            <a:prstTxWarp prst="textNoShape">
              <a:avLst/>
            </a:prstTxWarp>
          </a:bodyPr>
          <a:lstStyle/>
          <a:p>
            <a:pPr defTabSz="685750"/>
            <a:endParaRPr lang="en-US">
              <a:solidFill>
                <a:srgbClr val="FFFFFF"/>
              </a:solidFill>
            </a:endParaRPr>
          </a:p>
        </p:txBody>
      </p:sp>
      <p:sp>
        <p:nvSpPr>
          <p:cNvPr id="27"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pic>
        <p:nvPicPr>
          <p:cNvPr id="31"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49" name="Right Mask"/>
          <p:cNvSpPr/>
          <p:nvPr userDrawn="1"/>
        </p:nvSpPr>
        <p:spPr bwMode="auto">
          <a:xfrm>
            <a:off x="8381803" y="1223108"/>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74" tIns="34288" rIns="68574" bIns="34288" numCol="1" spcCol="0" rtlCol="0" fromWordArt="0" anchor="ctr" anchorCtr="0" forceAA="0" compatLnSpc="1">
            <a:prstTxWarp prst="textNoShape">
              <a:avLst/>
            </a:prstTxWarp>
            <a:noAutofit/>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50" name="Title 1"/>
          <p:cNvSpPr>
            <a:spLocks noGrp="1"/>
          </p:cNvSpPr>
          <p:nvPr>
            <p:ph type="ctrTitle"/>
          </p:nvPr>
        </p:nvSpPr>
        <p:spPr>
          <a:xfrm>
            <a:off x="3136906" y="2423981"/>
            <a:ext cx="5040038" cy="924348"/>
          </a:xfrm>
        </p:spPr>
        <p:txBody>
          <a:bodyPr anchor="ctr">
            <a:noAutofit/>
          </a:bodyPr>
          <a:lstStyle>
            <a:lvl1pPr algn="l" defTabSz="685750"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51" name="Subtitle 2"/>
          <p:cNvSpPr>
            <a:spLocks noGrp="1"/>
          </p:cNvSpPr>
          <p:nvPr>
            <p:ph type="subTitle" idx="1"/>
          </p:nvPr>
        </p:nvSpPr>
        <p:spPr>
          <a:xfrm>
            <a:off x="3136907" y="3771905"/>
            <a:ext cx="5154369" cy="347441"/>
          </a:xfrm>
        </p:spPr>
        <p:txBody>
          <a:bodyPr>
            <a:noAutofit/>
          </a:bodyPr>
          <a:lstStyle>
            <a:lvl1pPr marL="0" indent="0" algn="l" defTabSz="685750"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useBgFill="1">
        <p:nvSpPr>
          <p:cNvPr id="52" name="Bottom Mask"/>
          <p:cNvSpPr/>
          <p:nvPr userDrawn="1"/>
        </p:nvSpPr>
        <p:spPr bwMode="auto">
          <a:xfrm>
            <a:off x="1" y="4507707"/>
            <a:ext cx="9144001"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74" tIns="34288" rIns="68574" bIns="34288" numCol="1" spcCol="0" rtlCol="0" fromWordArt="0" anchor="ctr" anchorCtr="0" forceAA="0" compatLnSpc="1">
            <a:prstTxWarp prst="textNoShape">
              <a:avLst/>
            </a:prstTxWarp>
            <a:noAutofit/>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57" name="Rectangle 56"/>
          <p:cNvSpPr/>
          <p:nvPr userDrawn="1"/>
        </p:nvSpPr>
        <p:spPr bwMode="auto">
          <a:xfrm>
            <a:off x="1886044" y="2388950"/>
            <a:ext cx="994669" cy="99441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58" name="Rectangle 57"/>
          <p:cNvSpPr/>
          <p:nvPr userDrawn="1"/>
        </p:nvSpPr>
        <p:spPr bwMode="auto">
          <a:xfrm>
            <a:off x="762580" y="3512121"/>
            <a:ext cx="994669" cy="99441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60" name="Rectangle 59"/>
          <p:cNvSpPr/>
          <p:nvPr userDrawn="1"/>
        </p:nvSpPr>
        <p:spPr bwMode="auto">
          <a:xfrm>
            <a:off x="762580" y="2388950"/>
            <a:ext cx="994669" cy="99441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pic>
        <p:nvPicPr>
          <p:cNvPr id="61" name="Picture 6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8928" y="3665427"/>
            <a:ext cx="717556" cy="704326"/>
          </a:xfrm>
          <a:prstGeom prst="rect">
            <a:avLst/>
          </a:prstGeom>
        </p:spPr>
      </p:pic>
      <p:pic>
        <p:nvPicPr>
          <p:cNvPr id="62" name="Picture 61"/>
          <p:cNvPicPr>
            <a:picLocks noChangeAspect="1"/>
          </p:cNvPicPr>
          <p:nvPr userDrawn="1"/>
        </p:nvPicPr>
        <p:blipFill rotWithShape="1">
          <a:blip r:embed="rId5">
            <a:extLst>
              <a:ext uri="{28A0092B-C50C-407E-A947-70E740481C1C}">
                <a14:useLocalDpi xmlns:a14="http://schemas.microsoft.com/office/drawing/2010/main" val="0"/>
              </a:ext>
            </a:extLst>
          </a:blip>
          <a:srcRect l="28411" t="5974" r="30263" b="6304"/>
          <a:stretch/>
        </p:blipFill>
        <p:spPr bwMode="black">
          <a:xfrm>
            <a:off x="2053519" y="2469493"/>
            <a:ext cx="667437" cy="849848"/>
          </a:xfrm>
          <a:prstGeom prst="rect">
            <a:avLst/>
          </a:prstGeom>
        </p:spPr>
      </p:pic>
      <p:pic>
        <p:nvPicPr>
          <p:cNvPr id="63" name="Picture 6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13279" y="2461232"/>
            <a:ext cx="872537" cy="856449"/>
          </a:xfrm>
          <a:prstGeom prst="rect">
            <a:avLst/>
          </a:prstGeom>
        </p:spPr>
      </p:pic>
      <p:sp>
        <p:nvSpPr>
          <p:cNvPr id="65" name="Rectangle 64"/>
          <p:cNvSpPr/>
          <p:nvPr userDrawn="1"/>
        </p:nvSpPr>
        <p:spPr bwMode="auto">
          <a:xfrm>
            <a:off x="1886044" y="3520383"/>
            <a:ext cx="994669" cy="99441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pic>
        <p:nvPicPr>
          <p:cNvPr id="66" name="Picture 65"/>
          <p:cNvPicPr>
            <a:picLocks noChangeAspect="1"/>
          </p:cNvPicPr>
          <p:nvPr userDrawn="1"/>
        </p:nvPicPr>
        <p:blipFill rotWithShape="1">
          <a:blip r:embed="rId7">
            <a:extLst>
              <a:ext uri="{28A0092B-C50C-407E-A947-70E740481C1C}">
                <a14:useLocalDpi xmlns:a14="http://schemas.microsoft.com/office/drawing/2010/main" val="0"/>
              </a:ext>
            </a:extLst>
          </a:blip>
          <a:srcRect l="21790" r="25133"/>
          <a:stretch/>
        </p:blipFill>
        <p:spPr bwMode="black">
          <a:xfrm>
            <a:off x="2064171" y="3615982"/>
            <a:ext cx="710732" cy="803219"/>
          </a:xfrm>
          <a:prstGeom prst="rect">
            <a:avLst/>
          </a:prstGeom>
        </p:spPr>
      </p:pic>
      <p:sp>
        <p:nvSpPr>
          <p:cNvPr id="68" name="Arrow Bar"/>
          <p:cNvSpPr/>
          <p:nvPr userDrawn="1"/>
        </p:nvSpPr>
        <p:spPr bwMode="auto">
          <a:xfrm>
            <a:off x="8514210" y="2387410"/>
            <a:ext cx="376615" cy="2117354"/>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69" name="TextBox 68"/>
          <p:cNvSpPr txBox="1"/>
          <p:nvPr userDrawn="1"/>
        </p:nvSpPr>
        <p:spPr>
          <a:xfrm rot="5400000">
            <a:off x="7636127" y="3339328"/>
            <a:ext cx="2115152" cy="215444"/>
          </a:xfrm>
          <a:prstGeom prst="rect">
            <a:avLst/>
          </a:prstGeom>
          <a:noFill/>
        </p:spPr>
        <p:txBody>
          <a:bodyPr wrap="square" lIns="0" tIns="0" rIns="0" bIns="0" rtlCol="0">
            <a:spAutoFit/>
          </a:bodyPr>
          <a:lstStyle/>
          <a:p>
            <a:pPr algn="ctr" defTabSz="685750"/>
            <a:r>
              <a:rPr lang="en-US" b="1" spc="-53" dirty="0" smtClean="0">
                <a:gradFill>
                  <a:gsLst>
                    <a:gs pos="2917">
                      <a:srgbClr val="FFFFFF"/>
                    </a:gs>
                    <a:gs pos="30000">
                      <a:srgbClr val="FFFFFF"/>
                    </a:gs>
                  </a:gsLst>
                  <a:lin ang="5400000" scaled="0"/>
                </a:gradFill>
              </a:rPr>
              <a:t>LEARN</a:t>
            </a:r>
            <a:r>
              <a:rPr lang="en-US" spc="-53" dirty="0" smtClean="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18510157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6" y="2114704"/>
            <a:ext cx="8363938" cy="914096"/>
          </a:xfrm>
        </p:spPr>
        <p:txBody>
          <a:bodyPr anchor="b" anchorCtr="0"/>
          <a:lstStyle>
            <a:lvl1pPr>
              <a:defRPr sz="6600" spc="-225" baseline="0">
                <a:solidFill>
                  <a:schemeClr val="tx1">
                    <a:alpha val="99000"/>
                  </a:schemeClr>
                </a:solidFill>
              </a:defRPr>
            </a:lvl1pPr>
          </a:lstStyle>
          <a:p>
            <a:r>
              <a:rPr lang="en-US" dirty="0" smtClean="0"/>
              <a:t>Click to edit title style</a:t>
            </a:r>
            <a:endParaRPr lang="en-US" dirty="0"/>
          </a:p>
        </p:txBody>
      </p:sp>
    </p:spTree>
    <p:extLst>
      <p:ext uri="{BB962C8B-B14F-4D97-AF65-F5344CB8AC3E}">
        <p14:creationId xmlns:p14="http://schemas.microsoft.com/office/powerpoint/2010/main" val="393463165"/>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3008302" y="1135856"/>
            <a:ext cx="5373499" cy="112471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7463197"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7" tIns="34289" rIns="68577" bIns="34289" numCol="1" anchor="t" anchorCtr="0" compatLnSpc="1">
            <a:prstTxWarp prst="textNoShape">
              <a:avLst/>
            </a:prstTxWarp>
          </a:bodyPr>
          <a:lstStyle/>
          <a:p>
            <a:pPr defTabSz="685750"/>
            <a:endParaRPr lang="en-US">
              <a:solidFill>
                <a:srgbClr val="FFFFFF"/>
              </a:solidFill>
            </a:endParaRPr>
          </a:p>
        </p:txBody>
      </p:sp>
      <p:sp>
        <p:nvSpPr>
          <p:cNvPr id="10"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11" name="Rectangle 10"/>
          <p:cNvSpPr/>
          <p:nvPr userDrawn="1"/>
        </p:nvSpPr>
        <p:spPr bwMode="auto">
          <a:xfrm>
            <a:off x="1886044" y="2388950"/>
            <a:ext cx="994669" cy="99441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12" name="Rectangle 11"/>
          <p:cNvSpPr/>
          <p:nvPr userDrawn="1"/>
        </p:nvSpPr>
        <p:spPr bwMode="auto">
          <a:xfrm>
            <a:off x="762580" y="3512121"/>
            <a:ext cx="994669" cy="99441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13" name="Rectangle 12"/>
          <p:cNvSpPr/>
          <p:nvPr userDrawn="1"/>
        </p:nvSpPr>
        <p:spPr bwMode="auto">
          <a:xfrm>
            <a:off x="1886044" y="3512121"/>
            <a:ext cx="994669" cy="99441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762580" y="2388949"/>
            <a:ext cx="2118133" cy="211758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3" y="1226585"/>
            <a:ext cx="5191598"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4100" b="1" kern="1200" cap="none" spc="-75" baseline="0" dirty="0" smtClean="0">
                <a:ln w="3175">
                  <a:noFill/>
                </a:ln>
                <a:solidFill>
                  <a:schemeClr val="tx1">
                    <a:alpha val="99000"/>
                  </a:schemeClr>
                </a:solidFill>
                <a:effectLst/>
                <a:latin typeface="+mn-lt"/>
                <a:ea typeface="+mn-ea"/>
                <a:cs typeface="Arial" charset="0"/>
              </a:defRPr>
            </a:lvl1pPr>
          </a:lstStyle>
          <a:p>
            <a:pPr lvl="0"/>
            <a:r>
              <a:rPr lang="en-US" dirty="0" smtClean="0"/>
              <a:t>Demo</a:t>
            </a:r>
          </a:p>
        </p:txBody>
      </p:sp>
      <p:sp>
        <p:nvSpPr>
          <p:cNvPr id="3" name="Subtitle 2"/>
          <p:cNvSpPr>
            <a:spLocks noGrp="1"/>
          </p:cNvSpPr>
          <p:nvPr>
            <p:ph type="subTitle" idx="1"/>
          </p:nvPr>
        </p:nvSpPr>
        <p:spPr>
          <a:xfrm>
            <a:off x="3072828" y="3663082"/>
            <a:ext cx="5189183" cy="346249"/>
          </a:xfrm>
        </p:spPr>
        <p:txBody>
          <a:bodyPr>
            <a:noAutofit/>
          </a:bodyPr>
          <a:lstStyle>
            <a:lvl1pPr marL="0" indent="0" algn="l">
              <a:lnSpc>
                <a:spcPct val="90000"/>
              </a:lnSpc>
              <a:spcBef>
                <a:spcPts val="0"/>
              </a:spcBef>
              <a:buNone/>
              <a:defRPr lang="en-US" sz="1200" kern="1200" spc="0" baseline="0" dirty="0">
                <a:solidFill>
                  <a:schemeClr val="tx2">
                    <a:alpha val="99000"/>
                  </a:schemeClr>
                </a:solidFill>
                <a:latin typeface="+mj-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pPr marL="0" marR="0" lvl="0" indent="0" algn="l" defTabSz="685750"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3072824" y="2543369"/>
            <a:ext cx="5189184" cy="685572"/>
          </a:xfrm>
        </p:spPr>
        <p:txBody>
          <a:bodyPr wrap="square" anchor="ctr">
            <a:noAutofit/>
          </a:bodyPr>
          <a:lstStyle>
            <a:lvl1pPr marL="0" indent="0">
              <a:buNone/>
              <a:defRPr sz="3000" b="1" spc="-75" baseline="0">
                <a:solidFill>
                  <a:schemeClr val="accent2">
                    <a:alpha val="99000"/>
                  </a:schemeClr>
                </a:solidFill>
                <a:latin typeface="+mn-lt"/>
              </a:defRPr>
            </a:lvl1pPr>
          </a:lstStyle>
          <a:p>
            <a:pPr lvl="0"/>
            <a:r>
              <a:rPr lang="en-US" smtClean="0"/>
              <a:t>Click to edit Master text styles</a:t>
            </a:r>
          </a:p>
        </p:txBody>
      </p:sp>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8077" y="1312474"/>
            <a:ext cx="1979351" cy="815666"/>
          </a:xfrm>
          <a:prstGeom prst="rect">
            <a:avLst/>
          </a:prstGeom>
        </p:spPr>
      </p:pic>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33588" y="2639645"/>
            <a:ext cx="1624155" cy="1594209"/>
          </a:xfrm>
          <a:prstGeom prst="rect">
            <a:avLst/>
          </a:prstGeom>
        </p:spPr>
      </p:pic>
    </p:spTree>
    <p:extLst>
      <p:ext uri="{BB962C8B-B14F-4D97-AF65-F5344CB8AC3E}">
        <p14:creationId xmlns:p14="http://schemas.microsoft.com/office/powerpoint/2010/main" val="1384604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Vide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3008302" y="1135856"/>
            <a:ext cx="5373499" cy="112471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7463197"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7" tIns="34289" rIns="68577" bIns="34289" numCol="1" anchor="t" anchorCtr="0" compatLnSpc="1">
            <a:prstTxWarp prst="textNoShape">
              <a:avLst/>
            </a:prstTxWarp>
          </a:bodyPr>
          <a:lstStyle/>
          <a:p>
            <a:pPr defTabSz="685750"/>
            <a:endParaRPr lang="en-US">
              <a:solidFill>
                <a:srgbClr val="FFFFFF"/>
              </a:solidFill>
            </a:endParaRPr>
          </a:p>
        </p:txBody>
      </p:sp>
      <p:sp>
        <p:nvSpPr>
          <p:cNvPr id="10"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762580" y="2388949"/>
            <a:ext cx="2118133" cy="211758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4" y="1226585"/>
            <a:ext cx="5181506"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4100" b="1" kern="1200" cap="none" spc="-75" baseline="0" dirty="0" smtClean="0">
                <a:ln w="3175">
                  <a:noFill/>
                </a:ln>
                <a:solidFill>
                  <a:schemeClr val="tx1">
                    <a:alpha val="99000"/>
                  </a:schemeClr>
                </a:solidFill>
                <a:effectLst/>
                <a:latin typeface="+mn-lt"/>
                <a:ea typeface="+mn-ea"/>
                <a:cs typeface="Arial" charset="0"/>
              </a:defRPr>
            </a:lvl1pPr>
          </a:lstStyle>
          <a:p>
            <a:pPr lvl="0"/>
            <a:r>
              <a:rPr lang="en-US" dirty="0" smtClean="0"/>
              <a:t>Video</a:t>
            </a:r>
          </a:p>
        </p:txBody>
      </p:sp>
      <p:sp>
        <p:nvSpPr>
          <p:cNvPr id="3" name="Subtitle 2"/>
          <p:cNvSpPr>
            <a:spLocks noGrp="1"/>
          </p:cNvSpPr>
          <p:nvPr>
            <p:ph type="subTitle" idx="1"/>
          </p:nvPr>
        </p:nvSpPr>
        <p:spPr>
          <a:xfrm>
            <a:off x="3072824" y="3663082"/>
            <a:ext cx="5179095" cy="346249"/>
          </a:xfrm>
        </p:spPr>
        <p:txBody>
          <a:bodyPr>
            <a:noAutofit/>
          </a:bodyPr>
          <a:lstStyle>
            <a:lvl1pPr marL="0" indent="0" algn="l">
              <a:lnSpc>
                <a:spcPct val="90000"/>
              </a:lnSpc>
              <a:spcBef>
                <a:spcPts val="0"/>
              </a:spcBef>
              <a:buNone/>
              <a:defRPr lang="en-US" sz="1200" kern="1200" spc="0" baseline="0" dirty="0">
                <a:solidFill>
                  <a:schemeClr val="tx2">
                    <a:alpha val="99000"/>
                  </a:schemeClr>
                </a:solidFill>
                <a:latin typeface="+mj-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pPr marL="0" marR="0" lvl="0" indent="0" algn="l" defTabSz="685750"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3072825" y="2543369"/>
            <a:ext cx="5179096" cy="685572"/>
          </a:xfrm>
        </p:spPr>
        <p:txBody>
          <a:bodyPr wrap="square" anchor="ctr">
            <a:noAutofit/>
          </a:bodyPr>
          <a:lstStyle>
            <a:lvl1pPr marL="0" indent="0">
              <a:buNone/>
              <a:defRPr sz="3000" b="1" spc="-75" baseline="0">
                <a:solidFill>
                  <a:schemeClr val="accent3">
                    <a:alpha val="99000"/>
                  </a:schemeClr>
                </a:solidFill>
                <a:latin typeface="+mn-lt"/>
              </a:defRPr>
            </a:lvl1pPr>
          </a:lstStyle>
          <a:p>
            <a:pPr lvl="0"/>
            <a:r>
              <a:rPr lang="en-US" smtClean="0"/>
              <a:t>Click to edit Master text styles</a:t>
            </a:r>
          </a:p>
        </p:txBody>
      </p:sp>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8077" y="1312474"/>
            <a:ext cx="1979351" cy="815666"/>
          </a:xfrm>
          <a:prstGeom prst="rect">
            <a:avLst/>
          </a:prstGeom>
        </p:spPr>
      </p:pic>
      <p:pic>
        <p:nvPicPr>
          <p:cNvPr id="2" name="Picture 1"/>
          <p:cNvPicPr>
            <a:picLocks noChangeAspect="1"/>
          </p:cNvPicPr>
          <p:nvPr userDrawn="1"/>
        </p:nvPicPr>
        <p:blipFill rotWithShape="1">
          <a:blip r:embed="rId4">
            <a:extLst>
              <a:ext uri="{28A0092B-C50C-407E-A947-70E740481C1C}">
                <a14:useLocalDpi xmlns:a14="http://schemas.microsoft.com/office/drawing/2010/main" val="0"/>
              </a:ext>
            </a:extLst>
          </a:blip>
          <a:srcRect l="26707" t="18131" r="23736" b="9074"/>
          <a:stretch/>
        </p:blipFill>
        <p:spPr bwMode="black">
          <a:xfrm>
            <a:off x="918002" y="2652436"/>
            <a:ext cx="1785562" cy="1573307"/>
          </a:xfrm>
          <a:prstGeom prst="rect">
            <a:avLst/>
          </a:prstGeom>
        </p:spPr>
      </p:pic>
    </p:spTree>
    <p:extLst>
      <p:ext uri="{BB962C8B-B14F-4D97-AF65-F5344CB8AC3E}">
        <p14:creationId xmlns:p14="http://schemas.microsoft.com/office/powerpoint/2010/main" val="1547910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_Partn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7463197"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7" tIns="34289" rIns="68577" bIns="34289" numCol="1" anchor="t" anchorCtr="0" compatLnSpc="1">
            <a:prstTxWarp prst="textNoShape">
              <a:avLst/>
            </a:prstTxWarp>
          </a:bodyPr>
          <a:lstStyle/>
          <a:p>
            <a:pPr defTabSz="685750"/>
            <a:endParaRPr lang="en-US">
              <a:solidFill>
                <a:srgbClr val="FFFFFF"/>
              </a:solidFill>
            </a:endParaRPr>
          </a:p>
        </p:txBody>
      </p:sp>
      <p:sp>
        <p:nvSpPr>
          <p:cNvPr id="10"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762580" y="2388949"/>
            <a:ext cx="2118133" cy="211758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4" y="1226585"/>
            <a:ext cx="5181506"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4100" b="1" kern="1200" cap="none" spc="-75" baseline="0" dirty="0" smtClean="0">
                <a:ln w="3175">
                  <a:noFill/>
                </a:ln>
                <a:solidFill>
                  <a:schemeClr val="tx1">
                    <a:alpha val="99000"/>
                  </a:schemeClr>
                </a:solidFill>
                <a:effectLst/>
                <a:latin typeface="+mn-lt"/>
                <a:ea typeface="+mn-ea"/>
                <a:cs typeface="Arial" charset="0"/>
              </a:defRPr>
            </a:lvl1pPr>
          </a:lstStyle>
          <a:p>
            <a:pPr lvl="0"/>
            <a:r>
              <a:rPr lang="en-US" dirty="0" smtClean="0"/>
              <a:t>Partner</a:t>
            </a:r>
          </a:p>
        </p:txBody>
      </p:sp>
      <p:sp>
        <p:nvSpPr>
          <p:cNvPr id="3" name="Subtitle 2"/>
          <p:cNvSpPr>
            <a:spLocks noGrp="1"/>
          </p:cNvSpPr>
          <p:nvPr>
            <p:ph type="subTitle" idx="1"/>
          </p:nvPr>
        </p:nvSpPr>
        <p:spPr>
          <a:xfrm>
            <a:off x="3072824" y="3663082"/>
            <a:ext cx="5179095" cy="346249"/>
          </a:xfrm>
        </p:spPr>
        <p:txBody>
          <a:bodyPr>
            <a:noAutofit/>
          </a:bodyPr>
          <a:lstStyle>
            <a:lvl1pPr marL="0" indent="0" algn="l">
              <a:lnSpc>
                <a:spcPct val="90000"/>
              </a:lnSpc>
              <a:spcBef>
                <a:spcPts val="0"/>
              </a:spcBef>
              <a:buNone/>
              <a:defRPr lang="en-US" sz="1200" kern="1200" spc="0" baseline="0" dirty="0">
                <a:solidFill>
                  <a:schemeClr val="tx2">
                    <a:alpha val="99000"/>
                  </a:schemeClr>
                </a:solidFill>
                <a:latin typeface="+mj-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pPr marL="0" marR="0" lvl="0" indent="0" algn="l" defTabSz="685750"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3072825" y="2543369"/>
            <a:ext cx="5179096" cy="685572"/>
          </a:xfrm>
        </p:spPr>
        <p:txBody>
          <a:bodyPr wrap="square" anchor="ctr">
            <a:noAutofit/>
          </a:bodyPr>
          <a:lstStyle>
            <a:lvl1pPr marL="0" indent="0">
              <a:buNone/>
              <a:defRPr sz="3000" b="1" spc="-75" baseline="0">
                <a:solidFill>
                  <a:schemeClr val="accent1">
                    <a:alpha val="99000"/>
                  </a:schemeClr>
                </a:solidFill>
                <a:latin typeface="+mn-lt"/>
              </a:defRPr>
            </a:lvl1pPr>
          </a:lstStyle>
          <a:p>
            <a:pPr lvl="0"/>
            <a:r>
              <a:rPr lang="en-US" smtClean="0"/>
              <a:t>Click to edit Master text styles</a:t>
            </a:r>
          </a:p>
        </p:txBody>
      </p:sp>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8077" y="1312474"/>
            <a:ext cx="1979351" cy="815666"/>
          </a:xfrm>
          <a:prstGeom prst="rect">
            <a:avLst/>
          </a:prstGeom>
        </p:spPr>
      </p:pic>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68396" y="2637279"/>
            <a:ext cx="1718713" cy="1687024"/>
          </a:xfrm>
          <a:prstGeom prst="rect">
            <a:avLst/>
          </a:prstGeom>
        </p:spPr>
      </p:pic>
    </p:spTree>
    <p:extLst>
      <p:ext uri="{BB962C8B-B14F-4D97-AF65-F5344CB8AC3E}">
        <p14:creationId xmlns:p14="http://schemas.microsoft.com/office/powerpoint/2010/main" val="13290663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4_Custom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3008302" y="1135856"/>
            <a:ext cx="5373499" cy="112471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7463197"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7" tIns="34289" rIns="68577" bIns="34289" numCol="1" anchor="t" anchorCtr="0" compatLnSpc="1">
            <a:prstTxWarp prst="textNoShape">
              <a:avLst/>
            </a:prstTxWarp>
          </a:bodyPr>
          <a:lstStyle/>
          <a:p>
            <a:pPr defTabSz="685750"/>
            <a:endParaRPr lang="en-US">
              <a:solidFill>
                <a:srgbClr val="FFFFFF"/>
              </a:solidFill>
            </a:endParaRPr>
          </a:p>
        </p:txBody>
      </p:sp>
      <p:sp>
        <p:nvSpPr>
          <p:cNvPr id="10"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762580" y="2388949"/>
            <a:ext cx="2118133" cy="211758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4" y="1226585"/>
            <a:ext cx="5181506"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4100" b="1" kern="1200" cap="none" spc="-75" baseline="0" dirty="0" smtClean="0">
                <a:ln w="3175">
                  <a:noFill/>
                </a:ln>
                <a:solidFill>
                  <a:schemeClr val="tx1">
                    <a:alpha val="99000"/>
                  </a:schemeClr>
                </a:solidFill>
                <a:effectLst/>
                <a:latin typeface="+mn-lt"/>
                <a:ea typeface="+mn-ea"/>
                <a:cs typeface="Arial" charset="0"/>
              </a:defRPr>
            </a:lvl1pPr>
          </a:lstStyle>
          <a:p>
            <a:pPr lvl="0"/>
            <a:r>
              <a:rPr lang="en-US" dirty="0" smtClean="0"/>
              <a:t>Customer</a:t>
            </a:r>
          </a:p>
        </p:txBody>
      </p:sp>
      <p:sp>
        <p:nvSpPr>
          <p:cNvPr id="3" name="Subtitle 2"/>
          <p:cNvSpPr>
            <a:spLocks noGrp="1"/>
          </p:cNvSpPr>
          <p:nvPr>
            <p:ph type="subTitle" idx="1"/>
          </p:nvPr>
        </p:nvSpPr>
        <p:spPr>
          <a:xfrm>
            <a:off x="3072824" y="3663082"/>
            <a:ext cx="5179095" cy="346249"/>
          </a:xfrm>
        </p:spPr>
        <p:txBody>
          <a:bodyPr>
            <a:noAutofit/>
          </a:bodyPr>
          <a:lstStyle>
            <a:lvl1pPr marL="0" indent="0" algn="l">
              <a:lnSpc>
                <a:spcPct val="90000"/>
              </a:lnSpc>
              <a:spcBef>
                <a:spcPts val="0"/>
              </a:spcBef>
              <a:buNone/>
              <a:defRPr lang="en-US" sz="1200" kern="1200" spc="0" baseline="0" dirty="0">
                <a:solidFill>
                  <a:schemeClr val="tx2">
                    <a:alpha val="99000"/>
                  </a:schemeClr>
                </a:solidFill>
                <a:latin typeface="+mj-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pPr marL="0" marR="0" lvl="0" indent="0" algn="l" defTabSz="685750"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3072825" y="2543369"/>
            <a:ext cx="5179096" cy="685572"/>
          </a:xfrm>
        </p:spPr>
        <p:txBody>
          <a:bodyPr wrap="square" anchor="ctr">
            <a:noAutofit/>
          </a:bodyPr>
          <a:lstStyle>
            <a:lvl1pPr marL="0" indent="0">
              <a:buNone/>
              <a:defRPr sz="3000" b="1" spc="-75" baseline="0">
                <a:solidFill>
                  <a:schemeClr val="accent4">
                    <a:alpha val="99000"/>
                  </a:schemeClr>
                </a:solidFill>
                <a:latin typeface="+mn-lt"/>
              </a:defRPr>
            </a:lvl1pPr>
          </a:lstStyle>
          <a:p>
            <a:pPr lvl="0"/>
            <a:r>
              <a:rPr lang="en-US" smtClean="0"/>
              <a:t>Click to edit Master text styles</a:t>
            </a:r>
          </a:p>
        </p:txBody>
      </p:sp>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8077" y="1312474"/>
            <a:ext cx="1979351" cy="815666"/>
          </a:xfrm>
          <a:prstGeom prst="rect">
            <a:avLst/>
          </a:prstGeom>
        </p:spPr>
      </p:pic>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62681" y="2553162"/>
            <a:ext cx="1917928" cy="1882567"/>
          </a:xfrm>
          <a:prstGeom prst="rect">
            <a:avLst/>
          </a:prstGeom>
        </p:spPr>
      </p:pic>
    </p:spTree>
    <p:extLst>
      <p:ext uri="{BB962C8B-B14F-4D97-AF65-F5344CB8AC3E}">
        <p14:creationId xmlns:p14="http://schemas.microsoft.com/office/powerpoint/2010/main" val="18070095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389436" y="1055213"/>
            <a:ext cx="4115872" cy="263149"/>
          </a:xfrm>
        </p:spPr>
        <p:txBody>
          <a:bodyPr anchor="b"/>
          <a:lstStyle>
            <a:lvl1pPr marL="0" indent="0">
              <a:lnSpc>
                <a:spcPct val="90000"/>
              </a:lnSpc>
              <a:spcBef>
                <a:spcPts val="0"/>
              </a:spcBef>
              <a:buNone/>
              <a:defRPr sz="1900" b="1"/>
            </a:lvl1pPr>
            <a:lvl2pPr marL="342739" indent="0">
              <a:buNone/>
              <a:defRPr sz="1500" b="1"/>
            </a:lvl2pPr>
            <a:lvl3pPr marL="685487" indent="0">
              <a:buNone/>
              <a:defRPr sz="1400" b="1"/>
            </a:lvl3pPr>
            <a:lvl4pPr marL="1028229" indent="0">
              <a:buNone/>
              <a:defRPr sz="1200" b="1"/>
            </a:lvl4pPr>
            <a:lvl5pPr marL="1370975" indent="0">
              <a:buNone/>
              <a:defRPr sz="1200" b="1"/>
            </a:lvl5pPr>
            <a:lvl6pPr marL="1713712" indent="0">
              <a:buNone/>
              <a:defRPr sz="1200" b="1"/>
            </a:lvl6pPr>
            <a:lvl7pPr marL="2056459" indent="0">
              <a:buNone/>
              <a:defRPr sz="1200" b="1"/>
            </a:lvl7pPr>
            <a:lvl8pPr marL="2399204" indent="0">
              <a:buNone/>
              <a:defRPr sz="1200" b="1"/>
            </a:lvl8pPr>
            <a:lvl9pPr marL="274195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600209"/>
            <a:ext cx="4114800" cy="1166473"/>
          </a:xfrm>
        </p:spPr>
        <p:txBody>
          <a:bodyPr/>
          <a:lstStyle>
            <a:lvl1pPr marL="211238" indent="-211238">
              <a:defRPr sz="1700"/>
            </a:lvl1pPr>
            <a:lvl2pPr marL="421484" indent="-199332">
              <a:defRPr sz="1500"/>
            </a:lvl2pPr>
            <a:lvl3pPr marL="609917" indent="-182479">
              <a:defRPr sz="1400"/>
            </a:lvl3pPr>
            <a:lvl4pPr marL="787436" indent="-171572">
              <a:defRPr sz="1300"/>
            </a:lvl4pPr>
            <a:lvl5pPr marL="959008" indent="-154715">
              <a:defRPr sz="13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055213"/>
            <a:ext cx="4115872" cy="263149"/>
          </a:xfrm>
        </p:spPr>
        <p:txBody>
          <a:bodyPr anchor="b"/>
          <a:lstStyle>
            <a:lvl1pPr marL="0" indent="0">
              <a:lnSpc>
                <a:spcPct val="90000"/>
              </a:lnSpc>
              <a:spcBef>
                <a:spcPts val="0"/>
              </a:spcBef>
              <a:buNone/>
              <a:defRPr sz="1900" b="1"/>
            </a:lvl1pPr>
            <a:lvl2pPr marL="342739" indent="0">
              <a:buNone/>
              <a:defRPr sz="1500" b="1"/>
            </a:lvl2pPr>
            <a:lvl3pPr marL="685487" indent="0">
              <a:buNone/>
              <a:defRPr sz="1400" b="1"/>
            </a:lvl3pPr>
            <a:lvl4pPr marL="1028229" indent="0">
              <a:buNone/>
              <a:defRPr sz="1200" b="1"/>
            </a:lvl4pPr>
            <a:lvl5pPr marL="1370975" indent="0">
              <a:buNone/>
              <a:defRPr sz="1200" b="1"/>
            </a:lvl5pPr>
            <a:lvl6pPr marL="1713712" indent="0">
              <a:buNone/>
              <a:defRPr sz="1200" b="1"/>
            </a:lvl6pPr>
            <a:lvl7pPr marL="2056459" indent="0">
              <a:buNone/>
              <a:defRPr sz="1200" b="1"/>
            </a:lvl7pPr>
            <a:lvl8pPr marL="2399204" indent="0">
              <a:buNone/>
              <a:defRPr sz="1200" b="1"/>
            </a:lvl8pPr>
            <a:lvl9pPr marL="274195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1600201"/>
            <a:ext cx="4115872" cy="1183964"/>
          </a:xfrm>
        </p:spPr>
        <p:txBody>
          <a:bodyPr/>
          <a:lstStyle>
            <a:lvl1pPr marL="222150" indent="-222150">
              <a:defRPr sz="1700"/>
            </a:lvl1pPr>
            <a:lvl2pPr marL="427436" indent="-205285">
              <a:defRPr sz="1500"/>
            </a:lvl2pPr>
            <a:lvl3pPr marL="615868" indent="-183472">
              <a:defRPr sz="1400"/>
            </a:lvl3pPr>
            <a:lvl4pPr marL="787436" indent="-177521">
              <a:defRPr sz="1300"/>
            </a:lvl4pPr>
            <a:lvl5pPr marL="959008" indent="-165619">
              <a:defRPr sz="13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_Announcement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3008302" y="1135856"/>
            <a:ext cx="5373499" cy="112471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7463197"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7" tIns="34289" rIns="68577" bIns="34289" numCol="1" anchor="t" anchorCtr="0" compatLnSpc="1">
            <a:prstTxWarp prst="textNoShape">
              <a:avLst/>
            </a:prstTxWarp>
          </a:bodyPr>
          <a:lstStyle/>
          <a:p>
            <a:pPr defTabSz="685750"/>
            <a:endParaRPr lang="en-US">
              <a:solidFill>
                <a:srgbClr val="FFFFFF"/>
              </a:solidFill>
            </a:endParaRPr>
          </a:p>
        </p:txBody>
      </p:sp>
      <p:sp>
        <p:nvSpPr>
          <p:cNvPr id="10"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762580" y="2388949"/>
            <a:ext cx="2118133" cy="211758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4" y="1226585"/>
            <a:ext cx="5181506"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4100" b="1" kern="1200" cap="none" spc="-75" baseline="0" dirty="0" smtClean="0">
                <a:ln w="3175">
                  <a:noFill/>
                </a:ln>
                <a:solidFill>
                  <a:schemeClr val="tx1">
                    <a:alpha val="99000"/>
                  </a:schemeClr>
                </a:solidFill>
                <a:effectLst/>
                <a:latin typeface="+mn-lt"/>
                <a:ea typeface="+mn-ea"/>
                <a:cs typeface="Arial" charset="0"/>
              </a:defRPr>
            </a:lvl1pPr>
          </a:lstStyle>
          <a:p>
            <a:pPr lvl="0"/>
            <a:r>
              <a:rPr lang="en-US" dirty="0" smtClean="0"/>
              <a:t>Announcement</a:t>
            </a:r>
          </a:p>
        </p:txBody>
      </p:sp>
      <p:sp>
        <p:nvSpPr>
          <p:cNvPr id="3" name="Subtitle 2"/>
          <p:cNvSpPr>
            <a:spLocks noGrp="1"/>
          </p:cNvSpPr>
          <p:nvPr>
            <p:ph type="subTitle" idx="1"/>
          </p:nvPr>
        </p:nvSpPr>
        <p:spPr>
          <a:xfrm>
            <a:off x="3072824" y="3663082"/>
            <a:ext cx="5179095" cy="346249"/>
          </a:xfrm>
        </p:spPr>
        <p:txBody>
          <a:bodyPr>
            <a:noAutofit/>
          </a:bodyPr>
          <a:lstStyle>
            <a:lvl1pPr marL="0" indent="0" algn="l">
              <a:lnSpc>
                <a:spcPct val="90000"/>
              </a:lnSpc>
              <a:spcBef>
                <a:spcPts val="0"/>
              </a:spcBef>
              <a:buNone/>
              <a:defRPr lang="en-US" sz="1200" kern="1200" spc="0" baseline="0" dirty="0">
                <a:solidFill>
                  <a:schemeClr val="tx2">
                    <a:alpha val="99000"/>
                  </a:schemeClr>
                </a:solidFill>
                <a:latin typeface="+mj-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pPr marL="0" marR="0" lvl="0" indent="0" algn="l" defTabSz="685750"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3072825" y="2543369"/>
            <a:ext cx="5179096" cy="685572"/>
          </a:xfrm>
        </p:spPr>
        <p:txBody>
          <a:bodyPr wrap="square" anchor="ctr">
            <a:noAutofit/>
          </a:bodyPr>
          <a:lstStyle>
            <a:lvl1pPr marL="0" indent="0">
              <a:buNone/>
              <a:defRPr sz="3000" b="1" spc="-75" baseline="0">
                <a:solidFill>
                  <a:schemeClr val="accent6">
                    <a:alpha val="99000"/>
                  </a:schemeClr>
                </a:solidFill>
                <a:latin typeface="+mn-lt"/>
              </a:defRPr>
            </a:lvl1pPr>
          </a:lstStyle>
          <a:p>
            <a:pPr lvl="0"/>
            <a:r>
              <a:rPr lang="en-US" smtClean="0"/>
              <a:t>Click to edit Master text styles</a:t>
            </a:r>
          </a:p>
        </p:txBody>
      </p:sp>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8077" y="1312474"/>
            <a:ext cx="1979351" cy="815666"/>
          </a:xfrm>
          <a:prstGeom prst="rect">
            <a:avLst/>
          </a:prstGeom>
        </p:spPr>
      </p:pic>
      <p:pic>
        <p:nvPicPr>
          <p:cNvPr id="12" name="Picture 1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black">
          <a:xfrm>
            <a:off x="299431" y="2591921"/>
            <a:ext cx="3076819" cy="1845609"/>
          </a:xfrm>
          <a:prstGeom prst="rect">
            <a:avLst/>
          </a:prstGeom>
        </p:spPr>
      </p:pic>
    </p:spTree>
    <p:extLst>
      <p:ext uri="{BB962C8B-B14F-4D97-AF65-F5344CB8AC3E}">
        <p14:creationId xmlns:p14="http://schemas.microsoft.com/office/powerpoint/2010/main" val="24544531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32727"/>
          </a:xfrm>
          <a:prstGeom prst="rect">
            <a:avLst/>
          </a:prstGeom>
        </p:spPr>
        <p:txBody>
          <a:bodyPr/>
          <a:lstStyle>
            <a:lvl1pPr marL="213115" indent="-213115">
              <a:buFont typeface="Wingdings" pitchFamily="2" charset="2"/>
              <a:buChar char=""/>
              <a:defRPr sz="3000"/>
            </a:lvl1pPr>
            <a:lvl2pPr marL="388131" indent="-175016">
              <a:buFont typeface="Wingdings" pitchFamily="2" charset="2"/>
              <a:buChar char=""/>
              <a:defRPr>
                <a:latin typeface="+mn-lt"/>
              </a:defRPr>
            </a:lvl2pPr>
            <a:lvl3pPr marL="556004" indent="-167873">
              <a:buFont typeface="Wingdings" pitchFamily="2" charset="2"/>
              <a:buChar char=""/>
              <a:tabLst/>
              <a:defRPr>
                <a:latin typeface="+mn-lt"/>
              </a:defRPr>
            </a:lvl3pPr>
            <a:lvl4pPr marL="685777" indent="-129773">
              <a:buFont typeface="Wingdings" pitchFamily="2" charset="2"/>
              <a:buChar char=""/>
              <a:defRPr>
                <a:latin typeface="+mn-lt"/>
              </a:defRPr>
            </a:lvl4pPr>
            <a:lvl5pPr marL="815551" indent="-129773">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47579683"/>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085853"/>
            <a:ext cx="8363938" cy="1481945"/>
          </a:xfrm>
          <a:prstGeom prst="rect">
            <a:avLst/>
          </a:prstGeom>
        </p:spPr>
        <p:txBody>
          <a:bodyPr/>
          <a:lstStyle>
            <a:lvl1pPr marL="0" indent="0">
              <a:spcBef>
                <a:spcPts val="1800"/>
              </a:spcBef>
              <a:buNone/>
              <a:defRPr sz="3000">
                <a:gradFill>
                  <a:gsLst>
                    <a:gs pos="100000">
                      <a:schemeClr val="tx2"/>
                    </a:gs>
                    <a:gs pos="0">
                      <a:schemeClr val="tx2"/>
                    </a:gs>
                  </a:gsLst>
                  <a:lin ang="5400000" scaled="0"/>
                </a:gradFill>
                <a:latin typeface="+mj-lt"/>
              </a:defRPr>
            </a:lvl1pPr>
            <a:lvl2pPr marL="0" indent="0">
              <a:buNone/>
              <a:defRPr sz="1500">
                <a:gradFill>
                  <a:gsLst>
                    <a:gs pos="100000">
                      <a:schemeClr val="tx1"/>
                    </a:gs>
                    <a:gs pos="6000">
                      <a:schemeClr val="tx1"/>
                    </a:gs>
                  </a:gsLst>
                  <a:lin ang="5400000" scaled="0"/>
                </a:gradFill>
              </a:defRPr>
            </a:lvl2pPr>
            <a:lvl3pPr marL="173824" indent="0">
              <a:buNone/>
              <a:defRPr sz="1500">
                <a:gradFill>
                  <a:gsLst>
                    <a:gs pos="100000">
                      <a:schemeClr val="tx1"/>
                    </a:gs>
                    <a:gs pos="6000">
                      <a:schemeClr val="tx1"/>
                    </a:gs>
                  </a:gsLst>
                  <a:lin ang="5400000" scaled="0"/>
                </a:gradFill>
              </a:defRPr>
            </a:lvl3pPr>
            <a:lvl4pPr marL="342886" indent="0">
              <a:buNone/>
              <a:defRPr sz="1500">
                <a:gradFill>
                  <a:gsLst>
                    <a:gs pos="100000">
                      <a:schemeClr val="tx1"/>
                    </a:gs>
                    <a:gs pos="6000">
                      <a:schemeClr val="tx1"/>
                    </a:gs>
                  </a:gsLst>
                  <a:lin ang="5400000" scaled="0"/>
                </a:gradFill>
              </a:defRPr>
            </a:lvl4pPr>
            <a:lvl5pPr marL="520287" indent="0">
              <a:buNone/>
              <a:defRPr sz="1500">
                <a:gradFill>
                  <a:gsLst>
                    <a:gs pos="100000">
                      <a:schemeClr val="tx1"/>
                    </a:gs>
                    <a:gs pos="6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18637854"/>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085853"/>
            <a:ext cx="8363938" cy="1481945"/>
          </a:xfrm>
          <a:prstGeom prst="rect">
            <a:avLst/>
          </a:prstGeom>
        </p:spPr>
        <p:txBody>
          <a:bodyPr/>
          <a:lstStyle>
            <a:lvl1pPr marL="0" indent="0">
              <a:spcBef>
                <a:spcPts val="1800"/>
              </a:spcBef>
              <a:buNone/>
              <a:defRPr sz="3000">
                <a:gradFill>
                  <a:gsLst>
                    <a:gs pos="100000">
                      <a:schemeClr val="tx1"/>
                    </a:gs>
                    <a:gs pos="0">
                      <a:schemeClr val="tx1"/>
                    </a:gs>
                  </a:gsLst>
                  <a:lin ang="5400000" scaled="0"/>
                </a:gradFill>
                <a:latin typeface="+mj-lt"/>
              </a:defRPr>
            </a:lvl1pPr>
            <a:lvl2pPr marL="0" indent="0">
              <a:buNone/>
              <a:defRPr sz="1500">
                <a:gradFill>
                  <a:gsLst>
                    <a:gs pos="100000">
                      <a:schemeClr val="tx1"/>
                    </a:gs>
                    <a:gs pos="0">
                      <a:schemeClr val="tx1"/>
                    </a:gs>
                  </a:gsLst>
                  <a:lin ang="5400000" scaled="0"/>
                </a:gradFill>
              </a:defRPr>
            </a:lvl2pPr>
            <a:lvl3pPr marL="173824" indent="0">
              <a:buNone/>
              <a:defRPr sz="1500">
                <a:gradFill>
                  <a:gsLst>
                    <a:gs pos="100000">
                      <a:schemeClr val="tx1"/>
                    </a:gs>
                    <a:gs pos="0">
                      <a:schemeClr val="tx1"/>
                    </a:gs>
                  </a:gsLst>
                  <a:lin ang="5400000" scaled="0"/>
                </a:gradFill>
              </a:defRPr>
            </a:lvl3pPr>
            <a:lvl4pPr marL="342886" indent="0">
              <a:buNone/>
              <a:defRPr sz="1500">
                <a:gradFill>
                  <a:gsLst>
                    <a:gs pos="100000">
                      <a:schemeClr val="tx1"/>
                    </a:gs>
                    <a:gs pos="0">
                      <a:schemeClr val="tx1"/>
                    </a:gs>
                  </a:gsLst>
                  <a:lin ang="5400000" scaled="0"/>
                </a:gradFill>
              </a:defRPr>
            </a:lvl4pPr>
            <a:lvl5pPr marL="520287" indent="0">
              <a:buNone/>
              <a:defRPr sz="1500">
                <a:gradFill>
                  <a:gsLst>
                    <a:gs pos="100000">
                      <a:schemeClr val="tx1"/>
                    </a:gs>
                    <a:gs pos="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80898942"/>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390627" y="1085850"/>
            <a:ext cx="4047274" cy="1763560"/>
          </a:xfrm>
        </p:spPr>
        <p:txBody>
          <a:bodyPr>
            <a:spAutoFit/>
          </a:bodyPr>
          <a:lstStyle>
            <a:lvl1pPr marL="219068" indent="-219068">
              <a:spcBef>
                <a:spcPts val="900"/>
              </a:spcBef>
              <a:buClr>
                <a:schemeClr val="tx1"/>
              </a:buClr>
              <a:buFont typeface="Wingdings" pitchFamily="2" charset="2"/>
              <a:buChar char=""/>
              <a:defRPr/>
            </a:lvl1pPr>
            <a:lvl2pPr marL="390513" indent="-171445">
              <a:defRPr sz="1500"/>
            </a:lvl2pPr>
            <a:lvl3pPr marL="514335" indent="-123822">
              <a:tabLst/>
              <a:defRPr sz="1500"/>
            </a:lvl3pPr>
            <a:lvl4pPr marL="647678" indent="-133345">
              <a:defRPr/>
            </a:lvl4pPr>
            <a:lvl5pPr marL="771500" indent="-12382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4709672" y="1085850"/>
            <a:ext cx="4047274" cy="1763560"/>
          </a:xfrm>
        </p:spPr>
        <p:txBody>
          <a:bodyPr>
            <a:spAutoFit/>
          </a:bodyPr>
          <a:lstStyle>
            <a:lvl1pPr marL="254786" indent="-254786">
              <a:spcBef>
                <a:spcPts val="900"/>
              </a:spcBef>
              <a:buFont typeface="Wingdings" pitchFamily="2" charset="2"/>
              <a:buChar char=""/>
              <a:defRPr lang="en-US" sz="2700" kern="1200" spc="-53" baseline="0" dirty="0" smtClean="0">
                <a:gradFill>
                  <a:gsLst>
                    <a:gs pos="1250">
                      <a:schemeClr val="tx1"/>
                    </a:gs>
                    <a:gs pos="100000">
                      <a:schemeClr val="tx1"/>
                    </a:gs>
                  </a:gsLst>
                  <a:lin ang="5400000" scaled="0"/>
                </a:gradFill>
                <a:latin typeface="+mj-lt"/>
                <a:ea typeface="+mn-ea"/>
                <a:cs typeface="+mn-cs"/>
              </a:defRPr>
            </a:lvl1pPr>
            <a:lvl2pPr marL="476234" indent="-257167">
              <a:defRPr lang="en-US" sz="1500" kern="1200" spc="0" baseline="0" dirty="0" smtClean="0">
                <a:gradFill>
                  <a:gsLst>
                    <a:gs pos="1250">
                      <a:schemeClr val="tx1"/>
                    </a:gs>
                    <a:gs pos="100000">
                      <a:schemeClr val="tx1"/>
                    </a:gs>
                  </a:gsLst>
                  <a:lin ang="5400000" scaled="0"/>
                </a:gradFill>
                <a:latin typeface="+mn-lt"/>
                <a:ea typeface="+mn-ea"/>
                <a:cs typeface="+mn-cs"/>
              </a:defRPr>
            </a:lvl2pPr>
            <a:lvl3pPr marL="647678" indent="-257167">
              <a:defRPr lang="en-US" sz="1500" kern="1200" spc="0" baseline="0" dirty="0" smtClean="0">
                <a:gradFill>
                  <a:gsLst>
                    <a:gs pos="1250">
                      <a:schemeClr val="tx1"/>
                    </a:gs>
                    <a:gs pos="100000">
                      <a:schemeClr val="tx1"/>
                    </a:gs>
                  </a:gsLst>
                  <a:lin ang="5400000" scaled="0"/>
                </a:gradFill>
                <a:latin typeface="+mn-lt"/>
                <a:ea typeface="+mn-ea"/>
                <a:cs typeface="+mn-cs"/>
              </a:defRPr>
            </a:lvl3pPr>
            <a:lvl4pPr marL="771500" indent="-257167">
              <a:defRPr lang="en-US" sz="1500" kern="1200" spc="0" baseline="0" dirty="0" smtClean="0">
                <a:gradFill>
                  <a:gsLst>
                    <a:gs pos="1250">
                      <a:schemeClr val="tx1"/>
                    </a:gs>
                    <a:gs pos="100000">
                      <a:schemeClr val="tx1"/>
                    </a:gs>
                  </a:gsLst>
                  <a:lin ang="5400000" scaled="0"/>
                </a:gradFill>
                <a:latin typeface="+mn-lt"/>
                <a:ea typeface="+mn-ea"/>
                <a:cs typeface="+mn-cs"/>
              </a:defRPr>
            </a:lvl4pPr>
            <a:lvl5pPr marL="904846" indent="-257167">
              <a:defRPr lang="en-US" sz="1500" kern="1200" spc="0" baseline="0" dirty="0">
                <a:gradFill>
                  <a:gsLst>
                    <a:gs pos="1250">
                      <a:schemeClr val="tx1"/>
                    </a:gs>
                    <a:gs pos="100000">
                      <a:schemeClr val="tx1"/>
                    </a:gs>
                  </a:gsLst>
                  <a:lin ang="5400000" scaled="0"/>
                </a:gradFill>
                <a:latin typeface="+mn-lt"/>
                <a:ea typeface="+mn-ea"/>
                <a:cs typeface="+mn-cs"/>
              </a:defRPr>
            </a:lvl5pPr>
          </a:lstStyle>
          <a:p>
            <a:pPr marL="219068" marR="0" lvl="0" indent="-219068" algn="l" defTabSz="685750"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19068" marR="0" lvl="1" indent="-219068" algn="l" defTabSz="685750"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19068" marR="0" lvl="2" indent="-219068" algn="l" defTabSz="685750"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19068" marR="0" lvl="3" indent="-219068" algn="l" defTabSz="685750"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19068" marR="0" lvl="4" indent="-219068" algn="l" defTabSz="685750"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529654041"/>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085850"/>
            <a:ext cx="4047274" cy="1846660"/>
          </a:xfrm>
        </p:spPr>
        <p:txBody>
          <a:bodyPr/>
          <a:lstStyle>
            <a:lvl1pPr marL="0" indent="0">
              <a:spcBef>
                <a:spcPts val="900"/>
              </a:spcBef>
              <a:buNone/>
              <a:defRPr sz="3000">
                <a:gradFill>
                  <a:gsLst>
                    <a:gs pos="100000">
                      <a:schemeClr val="tx2"/>
                    </a:gs>
                    <a:gs pos="0">
                      <a:schemeClr val="tx2"/>
                    </a:gs>
                  </a:gsLst>
                  <a:lin ang="5400000" scaled="0"/>
                </a:gradFill>
                <a:latin typeface="+mj-lt"/>
              </a:defRPr>
            </a:lvl1pPr>
            <a:lvl2pPr marL="0" indent="0">
              <a:buNone/>
              <a:defRPr sz="1500"/>
            </a:lvl2pPr>
            <a:lvl3pPr marL="175016" indent="0">
              <a:buNone/>
              <a:defRPr sz="1500"/>
            </a:lvl3pPr>
            <a:lvl4pPr marL="342886" indent="0">
              <a:buNone/>
              <a:defRPr sz="1500"/>
            </a:lvl4pPr>
            <a:lvl5pPr marL="520287" indent="0">
              <a:buNone/>
              <a:defRPr sz="15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4709672" y="1085850"/>
            <a:ext cx="4047274" cy="1846660"/>
          </a:xfrm>
        </p:spPr>
        <p:txBody>
          <a:bodyPr/>
          <a:lstStyle>
            <a:lvl1pPr marL="0" indent="0">
              <a:spcBef>
                <a:spcPts val="900"/>
              </a:spcBef>
              <a:buNone/>
              <a:defRPr lang="en-US" sz="3000" kern="1200" spc="-53" baseline="0" dirty="0" smtClean="0">
                <a:gradFill>
                  <a:gsLst>
                    <a:gs pos="100000">
                      <a:schemeClr val="tx2"/>
                    </a:gs>
                    <a:gs pos="0">
                      <a:schemeClr val="tx2"/>
                    </a:gs>
                  </a:gsLst>
                  <a:lin ang="5400000" scaled="0"/>
                </a:gradFill>
                <a:latin typeface="+mj-lt"/>
                <a:ea typeface="+mn-ea"/>
                <a:cs typeface="+mn-cs"/>
              </a:defRPr>
            </a:lvl1pPr>
            <a:lvl2pPr marL="2382" marR="0" indent="0" algn="l" defTabSz="685750"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2pPr>
            <a:lvl3pPr marL="175016" marR="0" indent="0" algn="l" defTabSz="685750"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3pPr>
            <a:lvl4pPr marL="345267" marR="0" indent="0" algn="l" defTabSz="685750"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4pPr>
            <a:lvl5pPr marL="515526" marR="0" indent="0" algn="l" defTabSz="685750"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a:gradFill>
                  <a:gsLst>
                    <a:gs pos="1250">
                      <a:schemeClr val="tx1"/>
                    </a:gs>
                    <a:gs pos="100000">
                      <a:schemeClr val="tx1"/>
                    </a:gs>
                  </a:gsLst>
                  <a:lin ang="5400000" scaled="0"/>
                </a:gradFill>
                <a:latin typeface="+mn-lt"/>
                <a:ea typeface="+mn-ea"/>
                <a:cs typeface="+mn-cs"/>
              </a:defRPr>
            </a:lvl5pPr>
          </a:lstStyle>
          <a:p>
            <a:pPr marL="0" marR="0" lvl="0" indent="0" algn="l" defTabSz="685750"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685750"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685750"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685750"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685750"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3547128060"/>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085850"/>
            <a:ext cx="4047274" cy="1846660"/>
          </a:xfrm>
        </p:spPr>
        <p:txBody>
          <a:bodyPr/>
          <a:lstStyle>
            <a:lvl1pPr marL="0" indent="0">
              <a:spcBef>
                <a:spcPts val="900"/>
              </a:spcBef>
              <a:buNone/>
              <a:defRPr sz="3000">
                <a:gradFill>
                  <a:gsLst>
                    <a:gs pos="1000">
                      <a:schemeClr val="tx1"/>
                    </a:gs>
                    <a:gs pos="98000">
                      <a:schemeClr val="tx1"/>
                    </a:gs>
                  </a:gsLst>
                  <a:lin ang="5400000" scaled="0"/>
                </a:gradFill>
                <a:latin typeface="+mj-lt"/>
              </a:defRPr>
            </a:lvl1pPr>
            <a:lvl2pPr marL="0" indent="0">
              <a:buNone/>
              <a:defRPr sz="1500"/>
            </a:lvl2pPr>
            <a:lvl3pPr marL="175016" indent="0">
              <a:buNone/>
              <a:defRPr sz="1500"/>
            </a:lvl3pPr>
            <a:lvl4pPr marL="342886" indent="0">
              <a:buNone/>
              <a:defRPr sz="1500"/>
            </a:lvl4pPr>
            <a:lvl5pPr marL="520287" indent="0">
              <a:buNone/>
              <a:defRPr sz="15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4709672" y="1085850"/>
            <a:ext cx="4047274" cy="1846660"/>
          </a:xfrm>
        </p:spPr>
        <p:txBody>
          <a:bodyPr/>
          <a:lstStyle>
            <a:lvl1pPr marL="0" indent="0">
              <a:spcBef>
                <a:spcPts val="900"/>
              </a:spcBef>
              <a:buNone/>
              <a:defRPr lang="en-US" sz="3000" kern="1200" spc="-53" baseline="0" dirty="0" smtClean="0">
                <a:gradFill>
                  <a:gsLst>
                    <a:gs pos="1000">
                      <a:schemeClr val="tx1"/>
                    </a:gs>
                    <a:gs pos="98000">
                      <a:schemeClr val="tx1"/>
                    </a:gs>
                  </a:gsLst>
                  <a:lin ang="5400000" scaled="0"/>
                </a:gradFill>
                <a:latin typeface="+mj-lt"/>
                <a:ea typeface="+mn-ea"/>
                <a:cs typeface="+mn-cs"/>
              </a:defRPr>
            </a:lvl1pPr>
            <a:lvl2pPr marL="2382" marR="0" indent="0" algn="l" defTabSz="685750"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2pPr>
            <a:lvl3pPr marL="175016" marR="0" indent="0" algn="l" defTabSz="685750"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3pPr>
            <a:lvl4pPr marL="345267" marR="0" indent="0" algn="l" defTabSz="685750"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4pPr>
            <a:lvl5pPr marL="515526" marR="0" indent="0" algn="l" defTabSz="685750"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a:gradFill>
                  <a:gsLst>
                    <a:gs pos="1250">
                      <a:schemeClr val="tx1"/>
                    </a:gs>
                    <a:gs pos="100000">
                      <a:schemeClr val="tx1"/>
                    </a:gs>
                  </a:gsLst>
                  <a:lin ang="5400000" scaled="0"/>
                </a:gradFill>
                <a:latin typeface="+mn-lt"/>
                <a:ea typeface="+mn-ea"/>
                <a:cs typeface="+mn-cs"/>
              </a:defRPr>
            </a:lvl5pPr>
          </a:lstStyle>
          <a:p>
            <a:pPr marL="0" marR="0" lvl="0" indent="0" algn="l" defTabSz="685750"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685750"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685750"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685750"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685750"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290115672"/>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046318471"/>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1678669"/>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3" name="Rectangle 2"/>
          <p:cNvSpPr/>
          <p:nvPr userDrawn="1"/>
        </p:nvSpPr>
        <p:spPr bwMode="hidden">
          <a:xfrm>
            <a:off x="0" y="866956"/>
            <a:ext cx="9144000" cy="427654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9" tIns="34289" rIns="34289" bIns="34289" numCol="1" spcCol="0" rtlCol="0" fromWordArt="0" anchor="ctr" anchorCtr="0" forceAA="0" compatLnSpc="1">
            <a:prstTxWarp prst="textNoShape">
              <a:avLst/>
            </a:prstTxWarp>
            <a:noAutofit/>
          </a:bodyPr>
          <a:lstStyle/>
          <a:p>
            <a:pPr algn="ctr" defTabSz="685552"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388840" y="1085850"/>
            <a:ext cx="8366320" cy="1491178"/>
          </a:xfrm>
        </p:spPr>
        <p:txBody>
          <a:bodyPr/>
          <a:lstStyle>
            <a:lvl1pPr marL="0" indent="0">
              <a:buNone/>
              <a:defRPr sz="2400">
                <a:gradFill>
                  <a:gsLst>
                    <a:gs pos="1250">
                      <a:srgbClr val="000000"/>
                    </a:gs>
                    <a:gs pos="100000">
                      <a:srgbClr val="000000"/>
                    </a:gs>
                  </a:gsLst>
                  <a:lin ang="5400000" scaled="0"/>
                </a:gradFill>
                <a:latin typeface="Consolas" pitchFamily="49" charset="0"/>
                <a:cs typeface="Consolas" pitchFamily="49" charset="0"/>
              </a:defRPr>
            </a:lvl1pPr>
            <a:lvl2pPr marL="254786" indent="0">
              <a:buNone/>
              <a:defRPr>
                <a:gradFill>
                  <a:gsLst>
                    <a:gs pos="1250">
                      <a:srgbClr val="000000"/>
                    </a:gs>
                    <a:gs pos="100000">
                      <a:srgbClr val="000000"/>
                    </a:gs>
                  </a:gsLst>
                  <a:lin ang="5400000" scaled="0"/>
                </a:gradFill>
                <a:latin typeface="Consolas" pitchFamily="49" charset="0"/>
                <a:cs typeface="Consolas" pitchFamily="49" charset="0"/>
              </a:defRPr>
            </a:lvl2pPr>
            <a:lvl3pPr marL="429801" indent="0">
              <a:buNone/>
              <a:defRPr>
                <a:gradFill>
                  <a:gsLst>
                    <a:gs pos="1250">
                      <a:srgbClr val="000000"/>
                    </a:gs>
                    <a:gs pos="100000">
                      <a:srgbClr val="000000"/>
                    </a:gs>
                  </a:gsLst>
                  <a:lin ang="5400000" scaled="0"/>
                </a:gradFill>
                <a:latin typeface="Consolas" pitchFamily="49" charset="0"/>
                <a:cs typeface="Consolas" pitchFamily="49" charset="0"/>
              </a:defRPr>
            </a:lvl3pPr>
            <a:lvl4pPr marL="598865" indent="0">
              <a:buNone/>
              <a:defRPr>
                <a:gradFill>
                  <a:gsLst>
                    <a:gs pos="1250">
                      <a:srgbClr val="000000"/>
                    </a:gs>
                    <a:gs pos="100000">
                      <a:srgbClr val="000000"/>
                    </a:gs>
                  </a:gsLst>
                  <a:lin ang="5400000" scaled="0"/>
                </a:gradFill>
                <a:latin typeface="Consolas" pitchFamily="49" charset="0"/>
                <a:cs typeface="Consolas" pitchFamily="49" charset="0"/>
              </a:defRPr>
            </a:lvl4pPr>
            <a:lvl5pPr marL="772691"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5663470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WALKIN - EUROPE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6849698" y="4018552"/>
            <a:ext cx="480978" cy="24277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251714" y="4599306"/>
            <a:ext cx="1108831" cy="544194"/>
          </a:xfrm>
          <a:prstGeom prst="rect">
            <a:avLst/>
          </a:prstGeom>
        </p:spPr>
      </p:pic>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6418" r="24915" b="4055"/>
          <a:stretch/>
        </p:blipFill>
        <p:spPr>
          <a:xfrm>
            <a:off x="3170423" y="3347285"/>
            <a:ext cx="835699" cy="988271"/>
          </a:xfrm>
          <a:prstGeom prst="rect">
            <a:avLst/>
          </a:prstGeom>
        </p:spPr>
      </p:pic>
      <p:pic>
        <p:nvPicPr>
          <p:cNvPr id="14" name="Picture 13"/>
          <p:cNvPicPr>
            <a:picLocks noChangeAspect="1"/>
          </p:cNvPicPr>
          <p:nvPr userDrawn="1"/>
        </p:nvPicPr>
        <p:blipFill rotWithShape="1">
          <a:blip r:embed="rId7">
            <a:extLst>
              <a:ext uri="{28A0092B-C50C-407E-A947-70E740481C1C}">
                <a14:useLocalDpi xmlns:a14="http://schemas.microsoft.com/office/drawing/2010/main" val="0"/>
              </a:ext>
            </a:extLst>
          </a:blip>
          <a:srcRect l="25426" r="27183" b="38978"/>
          <a:stretch/>
        </p:blipFill>
        <p:spPr>
          <a:xfrm>
            <a:off x="4464209" y="4572376"/>
            <a:ext cx="739442" cy="571129"/>
          </a:xfrm>
          <a:prstGeom prst="rect">
            <a:avLst/>
          </a:prstGeom>
        </p:spPr>
      </p:pic>
      <p:pic>
        <p:nvPicPr>
          <p:cNvPr id="2" name="Picture 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4374700" y="2230294"/>
            <a:ext cx="2070691" cy="2032514"/>
          </a:xfrm>
          <a:prstGeom prst="rect">
            <a:avLst/>
          </a:prstGeom>
        </p:spPr>
      </p:pic>
      <p:pic>
        <p:nvPicPr>
          <p:cNvPr id="12" name="Picture 11"/>
          <p:cNvPicPr>
            <a:picLocks noChangeAspect="1"/>
          </p:cNvPicPr>
          <p:nvPr userDrawn="1"/>
        </p:nvPicPr>
        <p:blipFill rotWithShape="1">
          <a:blip r:embed="rId9">
            <a:extLst>
              <a:ext uri="{28A0092B-C50C-407E-A947-70E740481C1C}">
                <a14:useLocalDpi xmlns:a14="http://schemas.microsoft.com/office/drawing/2010/main" val="0"/>
              </a:ext>
            </a:extLst>
          </a:blip>
          <a:srcRect l="24061" t="4833" r="26116"/>
          <a:stretch/>
        </p:blipFill>
        <p:spPr>
          <a:xfrm>
            <a:off x="8186525" y="2146712"/>
            <a:ext cx="789307" cy="904359"/>
          </a:xfrm>
          <a:prstGeom prst="rect">
            <a:avLst/>
          </a:prstGeom>
        </p:spPr>
      </p:pic>
      <p:pic>
        <p:nvPicPr>
          <p:cNvPr id="9" name="Picture 2" descr="C:\Users\Justin\Desktop\_Work_in_Progress\_MS\1530\toolbox.png"/>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1955626" y="3499987"/>
            <a:ext cx="728251" cy="61697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794094" y="1062478"/>
            <a:ext cx="2692964" cy="1034666"/>
          </a:xfrm>
          <a:prstGeom prst="rect">
            <a:avLst/>
          </a:prstGeom>
        </p:spPr>
      </p:pic>
      <p:pic>
        <p:nvPicPr>
          <p:cNvPr id="11" name="Picture 10"/>
          <p:cNvPicPr>
            <a:picLocks noChangeAspect="1"/>
          </p:cNvPicPr>
          <p:nvPr userDrawn="1"/>
        </p:nvPicPr>
        <p:blipFill>
          <a:blip r:embed="rId12">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205375" y="4683822"/>
            <a:ext cx="1467261" cy="348235"/>
          </a:xfrm>
          <a:prstGeom prst="rect">
            <a:avLst/>
          </a:prstGeom>
        </p:spPr>
      </p:pic>
      <p:pic>
        <p:nvPicPr>
          <p:cNvPr id="5" name="Picture 4"/>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6974117" y="3414340"/>
            <a:ext cx="2004218" cy="827933"/>
          </a:xfrm>
          <a:prstGeom prst="rect">
            <a:avLst/>
          </a:prstGeom>
        </p:spPr>
      </p:pic>
      <p:sp>
        <p:nvSpPr>
          <p:cNvPr id="13" name="TextBox 12"/>
          <p:cNvSpPr txBox="1"/>
          <p:nvPr userDrawn="1"/>
        </p:nvSpPr>
        <p:spPr>
          <a:xfrm>
            <a:off x="1841312" y="4736971"/>
            <a:ext cx="2209573" cy="230833"/>
          </a:xfrm>
          <a:prstGeom prst="rect">
            <a:avLst/>
          </a:prstGeom>
          <a:noFill/>
        </p:spPr>
        <p:txBody>
          <a:bodyPr wrap="square" lIns="0" tIns="0" rIns="0" bIns="0" rtlCol="0">
            <a:spAutoFit/>
          </a:bodyPr>
          <a:lstStyle/>
          <a:p>
            <a:pPr algn="ctr" defTabSz="685750"/>
            <a:r>
              <a:rPr lang="en-US" sz="1500" b="1" spc="-53" dirty="0" smtClean="0">
                <a:gradFill>
                  <a:gsLst>
                    <a:gs pos="2917">
                      <a:srgbClr val="FFFFFF"/>
                    </a:gs>
                    <a:gs pos="30000">
                      <a:srgbClr val="FFFFFF"/>
                    </a:gs>
                  </a:gsLst>
                  <a:lin ang="5400000" scaled="0"/>
                </a:gradFill>
              </a:rPr>
              <a:t>LEARN</a:t>
            </a:r>
            <a:r>
              <a:rPr lang="en-US" sz="1500" spc="-53" dirty="0" smtClean="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4004554812"/>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6849698" y="4018552"/>
            <a:ext cx="480978" cy="24277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a:extLst>
              <a:ext uri="{28A0092B-C50C-407E-A947-70E740481C1C}">
                <a14:useLocalDpi xmlns:a14="http://schemas.microsoft.com/office/drawing/2010/main" val="0"/>
              </a:ext>
            </a:extLst>
          </a:blip>
          <a:srcRect l="25426" r="27183" b="38978"/>
          <a:stretch/>
        </p:blipFill>
        <p:spPr>
          <a:xfrm>
            <a:off x="4464209" y="4572376"/>
            <a:ext cx="739442" cy="571129"/>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74700" y="2230294"/>
            <a:ext cx="2070691" cy="2032514"/>
          </a:xfrm>
          <a:prstGeom prst="rect">
            <a:avLst/>
          </a:prstGeom>
        </p:spPr>
      </p:pic>
      <p:pic>
        <p:nvPicPr>
          <p:cNvPr id="10" name="Picture 2" descr="C:\Users\Justin\Desktop\_Work_in_Progress\_MS\1530\toolbox.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955626" y="3499987"/>
            <a:ext cx="728251" cy="61697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794094" y="1062478"/>
            <a:ext cx="2692964" cy="1034666"/>
          </a:xfrm>
          <a:prstGeom prst="rect">
            <a:avLst/>
          </a:prstGeom>
        </p:spPr>
      </p:pic>
      <p:pic>
        <p:nvPicPr>
          <p:cNvPr id="3" name="Picture 2"/>
          <p:cNvPicPr>
            <a:picLocks noChangeAspect="1"/>
          </p:cNvPicPr>
          <p:nvPr userDrawn="1"/>
        </p:nvPicPr>
        <p:blipFill>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205375" y="4683822"/>
            <a:ext cx="1467261" cy="348235"/>
          </a:xfrm>
          <a:prstGeom prst="rect">
            <a:avLst/>
          </a:prstGeom>
        </p:spPr>
      </p:pic>
      <p:pic>
        <p:nvPicPr>
          <p:cNvPr id="16" name="Picture 15"/>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6974117" y="3414339"/>
            <a:ext cx="2004218" cy="827933"/>
          </a:xfrm>
          <a:prstGeom prst="rect">
            <a:avLst/>
          </a:prstGeom>
        </p:spPr>
      </p:pic>
      <p:sp>
        <p:nvSpPr>
          <p:cNvPr id="17" name="TextBox 16"/>
          <p:cNvSpPr txBox="1"/>
          <p:nvPr userDrawn="1"/>
        </p:nvSpPr>
        <p:spPr>
          <a:xfrm>
            <a:off x="1841312" y="4736971"/>
            <a:ext cx="2209573" cy="230833"/>
          </a:xfrm>
          <a:prstGeom prst="rect">
            <a:avLst/>
          </a:prstGeom>
          <a:noFill/>
        </p:spPr>
        <p:txBody>
          <a:bodyPr wrap="square" lIns="0" tIns="0" rIns="0" bIns="0" rtlCol="0">
            <a:spAutoFit/>
          </a:bodyPr>
          <a:lstStyle/>
          <a:p>
            <a:pPr algn="ctr" defTabSz="685750"/>
            <a:r>
              <a:rPr lang="en-US" sz="1500" b="1" spc="-53" dirty="0" smtClean="0">
                <a:gradFill>
                  <a:gsLst>
                    <a:gs pos="2917">
                      <a:srgbClr val="FFFFFF"/>
                    </a:gs>
                    <a:gs pos="30000">
                      <a:srgbClr val="FFFFFF"/>
                    </a:gs>
                  </a:gsLst>
                  <a:lin ang="5400000" scaled="0"/>
                </a:gradFill>
              </a:rPr>
              <a:t>LEARN</a:t>
            </a:r>
            <a:r>
              <a:rPr lang="en-US" sz="1500" spc="-53"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a:extLst>
              <a:ext uri="{28A0092B-C50C-407E-A947-70E740481C1C}">
                <a14:useLocalDpi xmlns:a14="http://schemas.microsoft.com/office/drawing/2010/main" val="0"/>
              </a:ext>
            </a:extLst>
          </a:blip>
          <a:srcRect/>
          <a:stretch/>
        </p:blipFill>
        <p:spPr>
          <a:xfrm>
            <a:off x="251714" y="4599306"/>
            <a:ext cx="1108831" cy="544194"/>
          </a:xfrm>
          <a:prstGeom prst="rect">
            <a:avLst/>
          </a:prstGeom>
        </p:spPr>
      </p:pic>
      <p:pic>
        <p:nvPicPr>
          <p:cNvPr id="19" name="Picture 18"/>
          <p:cNvPicPr>
            <a:picLocks noChangeAspect="1"/>
          </p:cNvPicPr>
          <p:nvPr userDrawn="1"/>
        </p:nvPicPr>
        <p:blipFill rotWithShape="1">
          <a:blip r:embed="rId13">
            <a:extLst>
              <a:ext uri="{28A0092B-C50C-407E-A947-70E740481C1C}">
                <a14:useLocalDpi xmlns:a14="http://schemas.microsoft.com/office/drawing/2010/main" val="0"/>
              </a:ext>
            </a:extLst>
          </a:blip>
          <a:srcRect l="26418" r="24915" b="4055"/>
          <a:stretch/>
        </p:blipFill>
        <p:spPr>
          <a:xfrm>
            <a:off x="3170423" y="3347285"/>
            <a:ext cx="835699" cy="988271"/>
          </a:xfrm>
          <a:prstGeom prst="rect">
            <a:avLst/>
          </a:prstGeom>
        </p:spPr>
      </p:pic>
      <p:pic>
        <p:nvPicPr>
          <p:cNvPr id="20" name="Picture 19"/>
          <p:cNvPicPr>
            <a:picLocks noChangeAspect="1"/>
          </p:cNvPicPr>
          <p:nvPr userDrawn="1"/>
        </p:nvPicPr>
        <p:blipFill rotWithShape="1">
          <a:blip r:embed="rId14">
            <a:extLst>
              <a:ext uri="{28A0092B-C50C-407E-A947-70E740481C1C}">
                <a14:useLocalDpi xmlns:a14="http://schemas.microsoft.com/office/drawing/2010/main" val="0"/>
              </a:ext>
            </a:extLst>
          </a:blip>
          <a:srcRect l="24061" t="4833" r="26116"/>
          <a:stretch/>
        </p:blipFill>
        <p:spPr>
          <a:xfrm>
            <a:off x="8186525" y="2146712"/>
            <a:ext cx="789307" cy="904359"/>
          </a:xfrm>
          <a:prstGeom prst="rect">
            <a:avLst/>
          </a:prstGeom>
        </p:spPr>
      </p:pic>
    </p:spTree>
    <p:extLst>
      <p:ext uri="{BB962C8B-B14F-4D97-AF65-F5344CB8AC3E}">
        <p14:creationId xmlns:p14="http://schemas.microsoft.com/office/powerpoint/2010/main" val="1559185496"/>
      </p:ext>
    </p:extLst>
  </p:cSld>
  <p:clrMapOvr>
    <a:masterClrMapping/>
  </p:clrMapOvr>
  <p:transition>
    <p:fade/>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7" y="171450"/>
            <a:ext cx="8366320" cy="498598"/>
          </a:xfrm>
        </p:spPr>
        <p:txBody>
          <a:bodyPr/>
          <a:lstStyle>
            <a:lvl1pPr>
              <a:defRPr sz="36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389436" y="1085849"/>
            <a:ext cx="8363938" cy="1532727"/>
          </a:xfrm>
          <a:prstGeom prst="rect">
            <a:avLst/>
          </a:prstGeom>
        </p:spPr>
        <p:txBody>
          <a:bodyPr/>
          <a:lstStyle>
            <a:lvl1pPr marL="257167" indent="-257167">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472" indent="-21430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777" indent="-21430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7220" indent="-17144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665" indent="-17144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14291" tIns="57143" rIns="114291" bIns="57143" anchor="b" anchorCtr="0">
            <a:noAutofit/>
          </a:bodyPr>
          <a:lstStyle>
            <a:lvl1pPr algn="r">
              <a:buFont typeface="Arial" pitchFamily="34" charset="0"/>
              <a:buNone/>
              <a:defRPr sz="27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2920808458"/>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type="blank">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53301086"/>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10" name="Rectangle 9"/>
          <p:cNvSpPr/>
          <p:nvPr/>
        </p:nvSpPr>
        <p:spPr bwMode="auto">
          <a:xfrm>
            <a:off x="0" y="4930823"/>
            <a:ext cx="9144000" cy="2126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endParaRPr lang="en-US" sz="1700" dirty="0" smtClean="0">
              <a:gradFill>
                <a:gsLst>
                  <a:gs pos="0">
                    <a:srgbClr val="FFFFFF"/>
                  </a:gs>
                  <a:gs pos="100000">
                    <a:srgbClr val="FFFFFF"/>
                  </a:gs>
                </a:gsLst>
                <a:lin ang="5400000" scaled="0"/>
              </a:gradFill>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7968535" y="84917"/>
            <a:ext cx="1108605" cy="555265"/>
          </a:xfrm>
          <a:prstGeom prst="rect">
            <a:avLst/>
          </a:prstGeom>
        </p:spPr>
      </p:pic>
      <p:sp>
        <p:nvSpPr>
          <p:cNvPr id="13" name="Rectangle 12"/>
          <p:cNvSpPr/>
          <p:nvPr userDrawn="1"/>
        </p:nvSpPr>
        <p:spPr bwMode="auto">
          <a:xfrm>
            <a:off x="0" y="5"/>
            <a:ext cx="9144000" cy="3428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endParaRPr lang="en-US" sz="17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812012798"/>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5"/>
            <a:ext cx="4115872" cy="1323439"/>
          </a:xfrm>
        </p:spPr>
        <p:txBody>
          <a:bodyPr/>
          <a:lstStyle>
            <a:lvl1pPr marL="254963" indent="-254963">
              <a:lnSpc>
                <a:spcPct val="90000"/>
              </a:lnSpc>
              <a:defRPr sz="2100"/>
            </a:lvl1pPr>
            <a:lvl2pPr marL="504966" indent="-244051">
              <a:lnSpc>
                <a:spcPct val="90000"/>
              </a:lnSpc>
              <a:defRPr sz="1800"/>
            </a:lvl2pPr>
            <a:lvl3pPr marL="715284" indent="-216272">
              <a:lnSpc>
                <a:spcPct val="90000"/>
              </a:lnSpc>
              <a:defRPr sz="1500"/>
            </a:lvl3pPr>
            <a:lvl4pPr marL="920642" indent="-205357">
              <a:lnSpc>
                <a:spcPct val="90000"/>
              </a:lnSpc>
              <a:defRPr sz="1400"/>
            </a:lvl4pPr>
            <a:lvl5pPr marL="1136915" indent="-210318">
              <a:lnSpc>
                <a:spcPct val="90000"/>
              </a:lnSpc>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5"/>
            <a:ext cx="4115872" cy="1323439"/>
          </a:xfrm>
        </p:spPr>
        <p:txBody>
          <a:bodyPr/>
          <a:lstStyle>
            <a:lvl1pPr marL="260915" indent="-260915">
              <a:lnSpc>
                <a:spcPct val="90000"/>
              </a:lnSpc>
              <a:defRPr sz="2100"/>
            </a:lvl1pPr>
            <a:lvl2pPr marL="504966" indent="-254963">
              <a:lnSpc>
                <a:spcPct val="90000"/>
              </a:lnSpc>
              <a:defRPr sz="1800"/>
            </a:lvl2pPr>
            <a:lvl3pPr marL="721238" indent="-227187">
              <a:lnSpc>
                <a:spcPct val="90000"/>
              </a:lnSpc>
              <a:defRPr sz="1500"/>
            </a:lvl3pPr>
            <a:lvl4pPr marL="920642" indent="-199404">
              <a:lnSpc>
                <a:spcPct val="90000"/>
              </a:lnSpc>
              <a:defRPr sz="1400"/>
            </a:lvl4pPr>
            <a:lvl5pPr marL="1136915" indent="-205357">
              <a:lnSpc>
                <a:spcPct val="90000"/>
              </a:lnSpc>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37361867"/>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884228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userDrawn="1"/>
        </p:nvSpPr>
        <p:spPr bwMode="auto">
          <a:xfrm>
            <a:off x="3008304"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27"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746319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86" tIns="34294" rIns="68586" bIns="34294" numCol="1" anchor="t" anchorCtr="0" compatLnSpc="1">
            <a:prstTxWarp prst="textNoShape">
              <a:avLst/>
            </a:prstTxWarp>
          </a:bodyPr>
          <a:lstStyle/>
          <a:p>
            <a:pPr defTabSz="685835"/>
            <a:endParaRPr lang="en-US">
              <a:solidFill>
                <a:srgbClr val="FFFFFF"/>
              </a:solidFill>
            </a:endParaRPr>
          </a:p>
        </p:txBody>
      </p:sp>
      <p:sp>
        <p:nvSpPr>
          <p:cNvPr id="29"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Fuschia Tile"/>
          <p:cNvGrpSpPr/>
          <p:nvPr userDrawn="1"/>
        </p:nvGrpSpPr>
        <p:grpSpPr>
          <a:xfrm>
            <a:off x="762580" y="2388950"/>
            <a:ext cx="994669" cy="994410"/>
            <a:chOff x="1071620" y="3044261"/>
            <a:chExt cx="1325880" cy="1325880"/>
          </a:xfrm>
        </p:grpSpPr>
        <p:sp>
          <p:nvSpPr>
            <p:cNvPr id="32" name="Rectangle 31"/>
            <p:cNvSpPr/>
            <p:nvPr/>
          </p:nvSpPr>
          <p:spPr bwMode="auto">
            <a:xfrm>
              <a:off x="1071620" y="3044261"/>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33"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35"/>
              <a:endParaRPr lang="en-US">
                <a:solidFill>
                  <a:srgbClr val="FFFFFF"/>
                </a:solidFill>
              </a:endParaRPr>
            </a:p>
          </p:txBody>
        </p:sp>
      </p:grpSp>
      <p:grpSp>
        <p:nvGrpSpPr>
          <p:cNvPr id="34" name="Orange Tile"/>
          <p:cNvGrpSpPr/>
          <p:nvPr userDrawn="1"/>
        </p:nvGrpSpPr>
        <p:grpSpPr>
          <a:xfrm>
            <a:off x="1886044" y="2388950"/>
            <a:ext cx="994669" cy="994410"/>
            <a:chOff x="2487267" y="3044261"/>
            <a:chExt cx="1325880" cy="1325880"/>
          </a:xfrm>
        </p:grpSpPr>
        <p:sp>
          <p:nvSpPr>
            <p:cNvPr id="35" name="Rectangle 34"/>
            <p:cNvSpPr/>
            <p:nvPr/>
          </p:nvSpPr>
          <p:spPr bwMode="auto">
            <a:xfrm>
              <a:off x="2487267" y="3044261"/>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36" name="Freeform 30"/>
            <p:cNvSpPr>
              <a:spLocks noEditPoints="1"/>
            </p:cNvSpPr>
            <p:nvPr/>
          </p:nvSpPr>
          <p:spPr bwMode="auto">
            <a:xfrm>
              <a:off x="2774763" y="3284926"/>
              <a:ext cx="750888" cy="844550"/>
            </a:xfrm>
            <a:custGeom>
              <a:avLst/>
              <a:gdLst>
                <a:gd name="T0" fmla="*/ 15 w 200"/>
                <a:gd name="T1" fmla="*/ 0 h 225"/>
                <a:gd name="T2" fmla="*/ 11 w 200"/>
                <a:gd name="T3" fmla="*/ 17 h 225"/>
                <a:gd name="T4" fmla="*/ 11 w 200"/>
                <a:gd name="T5" fmla="*/ 35 h 225"/>
                <a:gd name="T6" fmla="*/ 0 w 200"/>
                <a:gd name="T7" fmla="*/ 55 h 225"/>
                <a:gd name="T8" fmla="*/ 11 w 200"/>
                <a:gd name="T9" fmla="*/ 75 h 225"/>
                <a:gd name="T10" fmla="*/ 11 w 200"/>
                <a:gd name="T11" fmla="*/ 94 h 225"/>
                <a:gd name="T12" fmla="*/ 0 w 200"/>
                <a:gd name="T13" fmla="*/ 114 h 225"/>
                <a:gd name="T14" fmla="*/ 11 w 200"/>
                <a:gd name="T15" fmla="*/ 134 h 225"/>
                <a:gd name="T16" fmla="*/ 11 w 200"/>
                <a:gd name="T17" fmla="*/ 153 h 225"/>
                <a:gd name="T18" fmla="*/ 0 w 200"/>
                <a:gd name="T19" fmla="*/ 173 h 225"/>
                <a:gd name="T20" fmla="*/ 11 w 200"/>
                <a:gd name="T21" fmla="*/ 193 h 225"/>
                <a:gd name="T22" fmla="*/ 11 w 200"/>
                <a:gd name="T23" fmla="*/ 211 h 225"/>
                <a:gd name="T24" fmla="*/ 15 w 200"/>
                <a:gd name="T25" fmla="*/ 225 h 225"/>
                <a:gd name="T26" fmla="*/ 200 w 200"/>
                <a:gd name="T27" fmla="*/ 185 h 225"/>
                <a:gd name="T28" fmla="*/ 160 w 200"/>
                <a:gd name="T29" fmla="*/ 0 h 225"/>
                <a:gd name="T30" fmla="*/ 11 w 200"/>
                <a:gd name="T31" fmla="*/ 25 h 225"/>
                <a:gd name="T32" fmla="*/ 8 w 200"/>
                <a:gd name="T33" fmla="*/ 26 h 225"/>
                <a:gd name="T34" fmla="*/ 11 w 200"/>
                <a:gd name="T35" fmla="*/ 54 h 225"/>
                <a:gd name="T36" fmla="*/ 8 w 200"/>
                <a:gd name="T37" fmla="*/ 55 h 225"/>
                <a:gd name="T38" fmla="*/ 11 w 200"/>
                <a:gd name="T39" fmla="*/ 83 h 225"/>
                <a:gd name="T40" fmla="*/ 8 w 200"/>
                <a:gd name="T41" fmla="*/ 85 h 225"/>
                <a:gd name="T42" fmla="*/ 11 w 200"/>
                <a:gd name="T43" fmla="*/ 113 h 225"/>
                <a:gd name="T44" fmla="*/ 8 w 200"/>
                <a:gd name="T45" fmla="*/ 114 h 225"/>
                <a:gd name="T46" fmla="*/ 11 w 200"/>
                <a:gd name="T47" fmla="*/ 142 h 225"/>
                <a:gd name="T48" fmla="*/ 8 w 200"/>
                <a:gd name="T49" fmla="*/ 143 h 225"/>
                <a:gd name="T50" fmla="*/ 11 w 200"/>
                <a:gd name="T51" fmla="*/ 171 h 225"/>
                <a:gd name="T52" fmla="*/ 8 w 200"/>
                <a:gd name="T53" fmla="*/ 173 h 225"/>
                <a:gd name="T54" fmla="*/ 11 w 200"/>
                <a:gd name="T55" fmla="*/ 201 h 225"/>
                <a:gd name="T56" fmla="*/ 8 w 200"/>
                <a:gd name="T57" fmla="*/ 202 h 225"/>
                <a:gd name="T58" fmla="*/ 160 w 200"/>
                <a:gd name="T59" fmla="*/ 217 h 225"/>
                <a:gd name="T60" fmla="*/ 19 w 200"/>
                <a:gd name="T61" fmla="*/ 201 h 225"/>
                <a:gd name="T62" fmla="*/ 21 w 200"/>
                <a:gd name="T63" fmla="*/ 205 h 225"/>
                <a:gd name="T64" fmla="*/ 27 w 200"/>
                <a:gd name="T65" fmla="*/ 198 h 225"/>
                <a:gd name="T66" fmla="*/ 19 w 200"/>
                <a:gd name="T67" fmla="*/ 172 h 225"/>
                <a:gd name="T68" fmla="*/ 21 w 200"/>
                <a:gd name="T69" fmla="*/ 175 h 225"/>
                <a:gd name="T70" fmla="*/ 27 w 200"/>
                <a:gd name="T71" fmla="*/ 168 h 225"/>
                <a:gd name="T72" fmla="*/ 19 w 200"/>
                <a:gd name="T73" fmla="*/ 142 h 225"/>
                <a:gd name="T74" fmla="*/ 21 w 200"/>
                <a:gd name="T75" fmla="*/ 146 h 225"/>
                <a:gd name="T76" fmla="*/ 27 w 200"/>
                <a:gd name="T77" fmla="*/ 139 h 225"/>
                <a:gd name="T78" fmla="*/ 19 w 200"/>
                <a:gd name="T79" fmla="*/ 113 h 225"/>
                <a:gd name="T80" fmla="*/ 21 w 200"/>
                <a:gd name="T81" fmla="*/ 117 h 225"/>
                <a:gd name="T82" fmla="*/ 27 w 200"/>
                <a:gd name="T83" fmla="*/ 110 h 225"/>
                <a:gd name="T84" fmla="*/ 19 w 200"/>
                <a:gd name="T85" fmla="*/ 83 h 225"/>
                <a:gd name="T86" fmla="*/ 21 w 200"/>
                <a:gd name="T87" fmla="*/ 87 h 225"/>
                <a:gd name="T88" fmla="*/ 27 w 200"/>
                <a:gd name="T89" fmla="*/ 80 h 225"/>
                <a:gd name="T90" fmla="*/ 19 w 200"/>
                <a:gd name="T91" fmla="*/ 54 h 225"/>
                <a:gd name="T92" fmla="*/ 21 w 200"/>
                <a:gd name="T93" fmla="*/ 58 h 225"/>
                <a:gd name="T94" fmla="*/ 27 w 200"/>
                <a:gd name="T95" fmla="*/ 51 h 225"/>
                <a:gd name="T96" fmla="*/ 19 w 200"/>
                <a:gd name="T97" fmla="*/ 25 h 225"/>
                <a:gd name="T98" fmla="*/ 21 w 200"/>
                <a:gd name="T99" fmla="*/ 29 h 225"/>
                <a:gd name="T100" fmla="*/ 27 w 200"/>
                <a:gd name="T101" fmla="*/ 22 h 225"/>
                <a:gd name="T102" fmla="*/ 19 w 200"/>
                <a:gd name="T103" fmla="*/ 8 h 225"/>
                <a:gd name="T104" fmla="*/ 192 w 200"/>
                <a:gd name="T105" fmla="*/ 4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 h="225">
                  <a:moveTo>
                    <a:pt x="160" y="0"/>
                  </a:moveTo>
                  <a:cubicBezTo>
                    <a:pt x="15" y="0"/>
                    <a:pt x="15" y="0"/>
                    <a:pt x="15" y="0"/>
                  </a:cubicBezTo>
                  <a:cubicBezTo>
                    <a:pt x="12" y="0"/>
                    <a:pt x="11" y="2"/>
                    <a:pt x="11" y="4"/>
                  </a:cubicBezTo>
                  <a:cubicBezTo>
                    <a:pt x="11" y="17"/>
                    <a:pt x="11" y="17"/>
                    <a:pt x="11" y="17"/>
                  </a:cubicBezTo>
                  <a:cubicBezTo>
                    <a:pt x="4" y="18"/>
                    <a:pt x="0" y="21"/>
                    <a:pt x="0" y="26"/>
                  </a:cubicBezTo>
                  <a:cubicBezTo>
                    <a:pt x="0" y="30"/>
                    <a:pt x="4" y="34"/>
                    <a:pt x="11" y="35"/>
                  </a:cubicBezTo>
                  <a:cubicBezTo>
                    <a:pt x="11" y="46"/>
                    <a:pt x="11" y="46"/>
                    <a:pt x="11" y="46"/>
                  </a:cubicBezTo>
                  <a:cubicBezTo>
                    <a:pt x="4" y="47"/>
                    <a:pt x="0" y="51"/>
                    <a:pt x="0" y="55"/>
                  </a:cubicBezTo>
                  <a:cubicBezTo>
                    <a:pt x="0" y="60"/>
                    <a:pt x="4" y="63"/>
                    <a:pt x="11" y="65"/>
                  </a:cubicBezTo>
                  <a:cubicBezTo>
                    <a:pt x="11" y="75"/>
                    <a:pt x="11" y="75"/>
                    <a:pt x="11" y="75"/>
                  </a:cubicBezTo>
                  <a:cubicBezTo>
                    <a:pt x="4" y="76"/>
                    <a:pt x="0" y="80"/>
                    <a:pt x="0" y="85"/>
                  </a:cubicBezTo>
                  <a:cubicBezTo>
                    <a:pt x="0" y="89"/>
                    <a:pt x="4" y="93"/>
                    <a:pt x="11" y="94"/>
                  </a:cubicBezTo>
                  <a:cubicBezTo>
                    <a:pt x="11" y="105"/>
                    <a:pt x="11" y="105"/>
                    <a:pt x="11" y="105"/>
                  </a:cubicBezTo>
                  <a:cubicBezTo>
                    <a:pt x="4" y="106"/>
                    <a:pt x="0" y="109"/>
                    <a:pt x="0" y="114"/>
                  </a:cubicBezTo>
                  <a:cubicBezTo>
                    <a:pt x="0" y="119"/>
                    <a:pt x="4" y="122"/>
                    <a:pt x="11" y="123"/>
                  </a:cubicBezTo>
                  <a:cubicBezTo>
                    <a:pt x="11" y="134"/>
                    <a:pt x="11" y="134"/>
                    <a:pt x="11" y="134"/>
                  </a:cubicBezTo>
                  <a:cubicBezTo>
                    <a:pt x="4" y="135"/>
                    <a:pt x="0" y="139"/>
                    <a:pt x="0" y="143"/>
                  </a:cubicBezTo>
                  <a:cubicBezTo>
                    <a:pt x="0" y="148"/>
                    <a:pt x="4" y="152"/>
                    <a:pt x="11" y="153"/>
                  </a:cubicBezTo>
                  <a:cubicBezTo>
                    <a:pt x="11" y="163"/>
                    <a:pt x="11" y="163"/>
                    <a:pt x="11" y="163"/>
                  </a:cubicBezTo>
                  <a:cubicBezTo>
                    <a:pt x="4" y="164"/>
                    <a:pt x="0" y="168"/>
                    <a:pt x="0" y="173"/>
                  </a:cubicBezTo>
                  <a:cubicBezTo>
                    <a:pt x="0" y="177"/>
                    <a:pt x="4" y="181"/>
                    <a:pt x="11" y="182"/>
                  </a:cubicBezTo>
                  <a:cubicBezTo>
                    <a:pt x="11" y="193"/>
                    <a:pt x="11" y="193"/>
                    <a:pt x="11" y="193"/>
                  </a:cubicBezTo>
                  <a:cubicBezTo>
                    <a:pt x="4" y="194"/>
                    <a:pt x="0" y="197"/>
                    <a:pt x="0" y="202"/>
                  </a:cubicBezTo>
                  <a:cubicBezTo>
                    <a:pt x="0" y="207"/>
                    <a:pt x="4" y="210"/>
                    <a:pt x="11" y="211"/>
                  </a:cubicBezTo>
                  <a:cubicBezTo>
                    <a:pt x="11" y="221"/>
                    <a:pt x="11" y="221"/>
                    <a:pt x="11" y="221"/>
                  </a:cubicBezTo>
                  <a:cubicBezTo>
                    <a:pt x="11" y="223"/>
                    <a:pt x="12" y="225"/>
                    <a:pt x="15" y="225"/>
                  </a:cubicBezTo>
                  <a:cubicBezTo>
                    <a:pt x="160" y="225"/>
                    <a:pt x="160" y="225"/>
                    <a:pt x="160" y="225"/>
                  </a:cubicBezTo>
                  <a:cubicBezTo>
                    <a:pt x="182" y="225"/>
                    <a:pt x="200" y="207"/>
                    <a:pt x="200" y="185"/>
                  </a:cubicBezTo>
                  <a:cubicBezTo>
                    <a:pt x="200" y="40"/>
                    <a:pt x="200" y="40"/>
                    <a:pt x="200" y="40"/>
                  </a:cubicBezTo>
                  <a:cubicBezTo>
                    <a:pt x="200" y="18"/>
                    <a:pt x="182" y="0"/>
                    <a:pt x="160" y="0"/>
                  </a:cubicBezTo>
                  <a:close/>
                  <a:moveTo>
                    <a:pt x="8" y="26"/>
                  </a:moveTo>
                  <a:cubicBezTo>
                    <a:pt x="9" y="26"/>
                    <a:pt x="9" y="25"/>
                    <a:pt x="11" y="25"/>
                  </a:cubicBezTo>
                  <a:cubicBezTo>
                    <a:pt x="11" y="27"/>
                    <a:pt x="11" y="27"/>
                    <a:pt x="11" y="27"/>
                  </a:cubicBezTo>
                  <a:cubicBezTo>
                    <a:pt x="9" y="27"/>
                    <a:pt x="9" y="26"/>
                    <a:pt x="8" y="26"/>
                  </a:cubicBezTo>
                  <a:close/>
                  <a:moveTo>
                    <a:pt x="8" y="55"/>
                  </a:moveTo>
                  <a:cubicBezTo>
                    <a:pt x="9" y="55"/>
                    <a:pt x="9" y="54"/>
                    <a:pt x="11" y="54"/>
                  </a:cubicBezTo>
                  <a:cubicBezTo>
                    <a:pt x="11" y="56"/>
                    <a:pt x="11" y="56"/>
                    <a:pt x="11" y="56"/>
                  </a:cubicBezTo>
                  <a:cubicBezTo>
                    <a:pt x="9" y="56"/>
                    <a:pt x="9" y="56"/>
                    <a:pt x="8" y="55"/>
                  </a:cubicBezTo>
                  <a:close/>
                  <a:moveTo>
                    <a:pt x="8" y="85"/>
                  </a:moveTo>
                  <a:cubicBezTo>
                    <a:pt x="9" y="84"/>
                    <a:pt x="9" y="84"/>
                    <a:pt x="11" y="83"/>
                  </a:cubicBezTo>
                  <a:cubicBezTo>
                    <a:pt x="11" y="86"/>
                    <a:pt x="11" y="86"/>
                    <a:pt x="11" y="86"/>
                  </a:cubicBezTo>
                  <a:cubicBezTo>
                    <a:pt x="9" y="85"/>
                    <a:pt x="9" y="85"/>
                    <a:pt x="8" y="85"/>
                  </a:cubicBezTo>
                  <a:close/>
                  <a:moveTo>
                    <a:pt x="8" y="114"/>
                  </a:moveTo>
                  <a:cubicBezTo>
                    <a:pt x="9" y="114"/>
                    <a:pt x="9" y="113"/>
                    <a:pt x="11" y="113"/>
                  </a:cubicBezTo>
                  <a:cubicBezTo>
                    <a:pt x="11" y="115"/>
                    <a:pt x="11" y="115"/>
                    <a:pt x="11" y="115"/>
                  </a:cubicBezTo>
                  <a:cubicBezTo>
                    <a:pt x="9" y="115"/>
                    <a:pt x="9" y="114"/>
                    <a:pt x="8" y="114"/>
                  </a:cubicBezTo>
                  <a:close/>
                  <a:moveTo>
                    <a:pt x="8" y="143"/>
                  </a:moveTo>
                  <a:cubicBezTo>
                    <a:pt x="9" y="143"/>
                    <a:pt x="9" y="142"/>
                    <a:pt x="11" y="142"/>
                  </a:cubicBezTo>
                  <a:cubicBezTo>
                    <a:pt x="11" y="144"/>
                    <a:pt x="11" y="144"/>
                    <a:pt x="11" y="144"/>
                  </a:cubicBezTo>
                  <a:cubicBezTo>
                    <a:pt x="9" y="144"/>
                    <a:pt x="9" y="144"/>
                    <a:pt x="8" y="143"/>
                  </a:cubicBezTo>
                  <a:close/>
                  <a:moveTo>
                    <a:pt x="8" y="173"/>
                  </a:moveTo>
                  <a:cubicBezTo>
                    <a:pt x="9" y="172"/>
                    <a:pt x="9" y="172"/>
                    <a:pt x="11" y="171"/>
                  </a:cubicBezTo>
                  <a:cubicBezTo>
                    <a:pt x="11" y="174"/>
                    <a:pt x="11" y="174"/>
                    <a:pt x="11" y="174"/>
                  </a:cubicBezTo>
                  <a:cubicBezTo>
                    <a:pt x="9" y="173"/>
                    <a:pt x="9" y="173"/>
                    <a:pt x="8" y="173"/>
                  </a:cubicBezTo>
                  <a:close/>
                  <a:moveTo>
                    <a:pt x="8" y="202"/>
                  </a:moveTo>
                  <a:cubicBezTo>
                    <a:pt x="9" y="202"/>
                    <a:pt x="9" y="201"/>
                    <a:pt x="11" y="201"/>
                  </a:cubicBezTo>
                  <a:cubicBezTo>
                    <a:pt x="11" y="203"/>
                    <a:pt x="11" y="203"/>
                    <a:pt x="11" y="203"/>
                  </a:cubicBezTo>
                  <a:cubicBezTo>
                    <a:pt x="9" y="203"/>
                    <a:pt x="9" y="202"/>
                    <a:pt x="8" y="202"/>
                  </a:cubicBezTo>
                  <a:close/>
                  <a:moveTo>
                    <a:pt x="192" y="185"/>
                  </a:moveTo>
                  <a:cubicBezTo>
                    <a:pt x="192" y="202"/>
                    <a:pt x="177" y="217"/>
                    <a:pt x="160" y="217"/>
                  </a:cubicBezTo>
                  <a:cubicBezTo>
                    <a:pt x="19" y="217"/>
                    <a:pt x="19" y="217"/>
                    <a:pt x="19" y="217"/>
                  </a:cubicBezTo>
                  <a:cubicBezTo>
                    <a:pt x="19" y="201"/>
                    <a:pt x="19" y="201"/>
                    <a:pt x="19" y="201"/>
                  </a:cubicBezTo>
                  <a:cubicBezTo>
                    <a:pt x="20" y="201"/>
                    <a:pt x="20" y="202"/>
                    <a:pt x="21" y="202"/>
                  </a:cubicBezTo>
                  <a:cubicBezTo>
                    <a:pt x="21" y="203"/>
                    <a:pt x="22" y="203"/>
                    <a:pt x="21" y="205"/>
                  </a:cubicBezTo>
                  <a:cubicBezTo>
                    <a:pt x="29" y="207"/>
                    <a:pt x="29" y="207"/>
                    <a:pt x="29" y="207"/>
                  </a:cubicBezTo>
                  <a:cubicBezTo>
                    <a:pt x="30" y="203"/>
                    <a:pt x="29" y="200"/>
                    <a:pt x="27" y="198"/>
                  </a:cubicBezTo>
                  <a:cubicBezTo>
                    <a:pt x="26" y="195"/>
                    <a:pt x="22" y="193"/>
                    <a:pt x="19" y="193"/>
                  </a:cubicBezTo>
                  <a:cubicBezTo>
                    <a:pt x="19" y="172"/>
                    <a:pt x="19" y="172"/>
                    <a:pt x="19" y="172"/>
                  </a:cubicBezTo>
                  <a:cubicBezTo>
                    <a:pt x="20" y="172"/>
                    <a:pt x="20" y="172"/>
                    <a:pt x="21" y="173"/>
                  </a:cubicBezTo>
                  <a:cubicBezTo>
                    <a:pt x="21" y="173"/>
                    <a:pt x="22" y="174"/>
                    <a:pt x="21" y="175"/>
                  </a:cubicBezTo>
                  <a:cubicBezTo>
                    <a:pt x="29" y="178"/>
                    <a:pt x="29" y="178"/>
                    <a:pt x="29" y="178"/>
                  </a:cubicBezTo>
                  <a:cubicBezTo>
                    <a:pt x="30" y="173"/>
                    <a:pt x="29" y="170"/>
                    <a:pt x="27" y="168"/>
                  </a:cubicBezTo>
                  <a:cubicBezTo>
                    <a:pt x="26" y="166"/>
                    <a:pt x="22" y="164"/>
                    <a:pt x="19" y="163"/>
                  </a:cubicBezTo>
                  <a:cubicBezTo>
                    <a:pt x="19" y="142"/>
                    <a:pt x="19" y="142"/>
                    <a:pt x="19" y="142"/>
                  </a:cubicBezTo>
                  <a:cubicBezTo>
                    <a:pt x="20" y="143"/>
                    <a:pt x="20" y="143"/>
                    <a:pt x="21" y="144"/>
                  </a:cubicBezTo>
                  <a:cubicBezTo>
                    <a:pt x="21" y="144"/>
                    <a:pt x="22" y="145"/>
                    <a:pt x="21" y="146"/>
                  </a:cubicBezTo>
                  <a:cubicBezTo>
                    <a:pt x="29" y="148"/>
                    <a:pt x="29" y="148"/>
                    <a:pt x="29" y="148"/>
                  </a:cubicBezTo>
                  <a:cubicBezTo>
                    <a:pt x="30" y="144"/>
                    <a:pt x="29" y="141"/>
                    <a:pt x="27" y="139"/>
                  </a:cubicBezTo>
                  <a:cubicBezTo>
                    <a:pt x="26" y="136"/>
                    <a:pt x="22" y="135"/>
                    <a:pt x="19" y="134"/>
                  </a:cubicBezTo>
                  <a:cubicBezTo>
                    <a:pt x="19" y="113"/>
                    <a:pt x="19" y="113"/>
                    <a:pt x="19" y="113"/>
                  </a:cubicBezTo>
                  <a:cubicBezTo>
                    <a:pt x="20" y="113"/>
                    <a:pt x="20" y="114"/>
                    <a:pt x="21" y="114"/>
                  </a:cubicBezTo>
                  <a:cubicBezTo>
                    <a:pt x="21" y="115"/>
                    <a:pt x="22" y="115"/>
                    <a:pt x="21" y="117"/>
                  </a:cubicBezTo>
                  <a:cubicBezTo>
                    <a:pt x="29" y="119"/>
                    <a:pt x="29" y="119"/>
                    <a:pt x="29" y="119"/>
                  </a:cubicBezTo>
                  <a:cubicBezTo>
                    <a:pt x="30" y="115"/>
                    <a:pt x="29" y="111"/>
                    <a:pt x="27" y="110"/>
                  </a:cubicBezTo>
                  <a:cubicBezTo>
                    <a:pt x="26" y="107"/>
                    <a:pt x="22" y="105"/>
                    <a:pt x="19" y="105"/>
                  </a:cubicBezTo>
                  <a:cubicBezTo>
                    <a:pt x="19" y="83"/>
                    <a:pt x="19" y="83"/>
                    <a:pt x="19" y="83"/>
                  </a:cubicBezTo>
                  <a:cubicBezTo>
                    <a:pt x="20" y="84"/>
                    <a:pt x="20" y="84"/>
                    <a:pt x="21" y="85"/>
                  </a:cubicBezTo>
                  <a:cubicBezTo>
                    <a:pt x="21" y="85"/>
                    <a:pt x="22" y="86"/>
                    <a:pt x="21" y="87"/>
                  </a:cubicBezTo>
                  <a:cubicBezTo>
                    <a:pt x="29" y="90"/>
                    <a:pt x="29" y="90"/>
                    <a:pt x="29" y="90"/>
                  </a:cubicBezTo>
                  <a:cubicBezTo>
                    <a:pt x="30" y="85"/>
                    <a:pt x="29" y="82"/>
                    <a:pt x="27" y="80"/>
                  </a:cubicBezTo>
                  <a:cubicBezTo>
                    <a:pt x="26" y="78"/>
                    <a:pt x="22" y="76"/>
                    <a:pt x="19" y="75"/>
                  </a:cubicBezTo>
                  <a:cubicBezTo>
                    <a:pt x="19" y="54"/>
                    <a:pt x="19" y="54"/>
                    <a:pt x="19" y="54"/>
                  </a:cubicBezTo>
                  <a:cubicBezTo>
                    <a:pt x="20" y="54"/>
                    <a:pt x="20" y="55"/>
                    <a:pt x="21" y="56"/>
                  </a:cubicBezTo>
                  <a:cubicBezTo>
                    <a:pt x="21" y="56"/>
                    <a:pt x="22" y="56"/>
                    <a:pt x="21" y="58"/>
                  </a:cubicBezTo>
                  <a:cubicBezTo>
                    <a:pt x="29" y="60"/>
                    <a:pt x="29" y="60"/>
                    <a:pt x="29" y="60"/>
                  </a:cubicBezTo>
                  <a:cubicBezTo>
                    <a:pt x="30" y="56"/>
                    <a:pt x="29" y="53"/>
                    <a:pt x="27" y="51"/>
                  </a:cubicBezTo>
                  <a:cubicBezTo>
                    <a:pt x="26" y="48"/>
                    <a:pt x="22" y="47"/>
                    <a:pt x="19" y="46"/>
                  </a:cubicBezTo>
                  <a:cubicBezTo>
                    <a:pt x="19" y="25"/>
                    <a:pt x="19" y="25"/>
                    <a:pt x="19" y="25"/>
                  </a:cubicBezTo>
                  <a:cubicBezTo>
                    <a:pt x="20" y="25"/>
                    <a:pt x="20" y="26"/>
                    <a:pt x="21" y="26"/>
                  </a:cubicBezTo>
                  <a:cubicBezTo>
                    <a:pt x="21" y="26"/>
                    <a:pt x="22" y="27"/>
                    <a:pt x="21" y="29"/>
                  </a:cubicBezTo>
                  <a:cubicBezTo>
                    <a:pt x="29" y="31"/>
                    <a:pt x="29" y="31"/>
                    <a:pt x="29" y="31"/>
                  </a:cubicBezTo>
                  <a:cubicBezTo>
                    <a:pt x="30" y="27"/>
                    <a:pt x="29" y="23"/>
                    <a:pt x="27" y="22"/>
                  </a:cubicBezTo>
                  <a:cubicBezTo>
                    <a:pt x="26" y="19"/>
                    <a:pt x="22" y="17"/>
                    <a:pt x="19" y="16"/>
                  </a:cubicBezTo>
                  <a:cubicBezTo>
                    <a:pt x="19" y="8"/>
                    <a:pt x="19" y="8"/>
                    <a:pt x="19" y="8"/>
                  </a:cubicBezTo>
                  <a:cubicBezTo>
                    <a:pt x="160" y="8"/>
                    <a:pt x="160" y="8"/>
                    <a:pt x="160" y="8"/>
                  </a:cubicBezTo>
                  <a:cubicBezTo>
                    <a:pt x="177" y="8"/>
                    <a:pt x="192" y="22"/>
                    <a:pt x="192" y="40"/>
                  </a:cubicBezTo>
                  <a:lnTo>
                    <a:pt x="192" y="1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35"/>
              <a:endParaRPr lang="en-US">
                <a:solidFill>
                  <a:srgbClr val="FFFFFF"/>
                </a:solidFill>
              </a:endParaRPr>
            </a:p>
          </p:txBody>
        </p:sp>
      </p:grpSp>
      <p:grpSp>
        <p:nvGrpSpPr>
          <p:cNvPr id="37" name="Teal Tile"/>
          <p:cNvGrpSpPr/>
          <p:nvPr userDrawn="1"/>
        </p:nvGrpSpPr>
        <p:grpSpPr>
          <a:xfrm>
            <a:off x="762580" y="3512121"/>
            <a:ext cx="994669" cy="994410"/>
            <a:chOff x="1020317" y="4686638"/>
            <a:chExt cx="1325880" cy="1325880"/>
          </a:xfrm>
        </p:grpSpPr>
        <p:sp>
          <p:nvSpPr>
            <p:cNvPr id="38" name="Rectangle 37"/>
            <p:cNvSpPr/>
            <p:nvPr/>
          </p:nvSpPr>
          <p:spPr bwMode="auto">
            <a:xfrm>
              <a:off x="1020317" y="468663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39" name="Freeform 13"/>
            <p:cNvSpPr>
              <a:spLocks noEditPoints="1"/>
            </p:cNvSpPr>
            <p:nvPr/>
          </p:nvSpPr>
          <p:spPr bwMode="auto">
            <a:xfrm>
              <a:off x="1455948" y="4930478"/>
              <a:ext cx="454618" cy="838200"/>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685835"/>
              <a:endParaRPr lang="en-US">
                <a:solidFill>
                  <a:srgbClr val="FFFFFF"/>
                </a:solidFill>
              </a:endParaRPr>
            </a:p>
          </p:txBody>
        </p:sp>
      </p:grpSp>
      <p:grpSp>
        <p:nvGrpSpPr>
          <p:cNvPr id="5" name="Green Tile"/>
          <p:cNvGrpSpPr/>
          <p:nvPr userDrawn="1"/>
        </p:nvGrpSpPr>
        <p:grpSpPr>
          <a:xfrm>
            <a:off x="1886044" y="3512121"/>
            <a:ext cx="994669" cy="994410"/>
            <a:chOff x="2514069" y="4682828"/>
            <a:chExt cx="1325880" cy="1325880"/>
          </a:xfrm>
        </p:grpSpPr>
        <p:sp>
          <p:nvSpPr>
            <p:cNvPr id="41" name="Rectangle 40"/>
            <p:cNvSpPr/>
            <p:nvPr/>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46" name="Freeform 73"/>
            <p:cNvSpPr>
              <a:spLocks noEditPoints="1"/>
            </p:cNvSpPr>
            <p:nvPr userDrawn="1"/>
          </p:nvSpPr>
          <p:spPr bwMode="auto">
            <a:xfrm>
              <a:off x="2757463" y="5062311"/>
              <a:ext cx="839092" cy="702557"/>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685835"/>
              <a:endParaRPr lang="en-US">
                <a:solidFill>
                  <a:srgbClr val="FFFFFF"/>
                </a:solidFill>
              </a:endParaRPr>
            </a:p>
          </p:txBody>
        </p:sp>
      </p:grpSp>
      <p:sp useBgFill="1">
        <p:nvSpPr>
          <p:cNvPr id="4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44" name="Right Mask"/>
          <p:cNvSpPr/>
          <p:nvPr userDrawn="1"/>
        </p:nvSpPr>
        <p:spPr bwMode="auto">
          <a:xfrm>
            <a:off x="8381803" y="1223105"/>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6906" y="2423981"/>
            <a:ext cx="5040038" cy="924348"/>
          </a:xfrm>
        </p:spPr>
        <p:txBody>
          <a:bodyPr anchor="ctr">
            <a:noAutofit/>
          </a:bodyPr>
          <a:lstStyle>
            <a:lvl1pPr algn="l" defTabSz="685835"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3136907" y="3771902"/>
            <a:ext cx="5154369" cy="347441"/>
          </a:xfrm>
        </p:spPr>
        <p:txBody>
          <a:bodyPr>
            <a:noAutofit/>
          </a:bodyPr>
          <a:lstStyle>
            <a:lvl1pPr marL="0" indent="0" algn="l" defTabSz="685835"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useBgFill="1">
        <p:nvSpPr>
          <p:cNvPr id="45" name="Bottom Mask"/>
          <p:cNvSpPr/>
          <p:nvPr userDrawn="1"/>
        </p:nvSpPr>
        <p:spPr bwMode="auto">
          <a:xfrm>
            <a:off x="1" y="4507707"/>
            <a:ext cx="9144001"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Tree>
    <p:extLst>
      <p:ext uri="{BB962C8B-B14F-4D97-AF65-F5344CB8AC3E}">
        <p14:creationId xmlns:p14="http://schemas.microsoft.com/office/powerpoint/2010/main" val="1762643260"/>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4"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835"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Demo</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1"/>
            <a:ext cx="4959201" cy="346249"/>
          </a:xfrm>
        </p:spPr>
        <p:txBody>
          <a:bodyPr>
            <a:noAutofit/>
          </a:bodyPr>
          <a:lstStyle>
            <a:lvl1pPr marL="0" indent="0" algn="l" defTabSz="685835"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19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86" tIns="34294" rIns="68586" bIns="34294" numCol="1" anchor="t" anchorCtr="0" compatLnSpc="1">
            <a:prstTxWarp prst="textNoShape">
              <a:avLst/>
            </a:prstTxWarp>
          </a:bodyPr>
          <a:lstStyle/>
          <a:p>
            <a:pPr defTabSz="685835"/>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5"/>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grpSp>
        <p:nvGrpSpPr>
          <p:cNvPr id="16" name="Demo Tile"/>
          <p:cNvGrpSpPr/>
          <p:nvPr userDrawn="1"/>
        </p:nvGrpSpPr>
        <p:grpSpPr>
          <a:xfrm>
            <a:off x="763409" y="2390914"/>
            <a:ext cx="2120991" cy="2120439"/>
            <a:chOff x="1022073" y="-1135906"/>
            <a:chExt cx="2827252" cy="2827252"/>
          </a:xfrm>
        </p:grpSpPr>
        <p:sp>
          <p:nvSpPr>
            <p:cNvPr id="17" name="Rectangle 16"/>
            <p:cNvSpPr/>
            <p:nvPr/>
          </p:nvSpPr>
          <p:spPr bwMode="auto">
            <a:xfrm>
              <a:off x="1022073" y="-1135906"/>
              <a:ext cx="2827252" cy="282725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18" name="Light bulb Icon"/>
            <p:cNvSpPr>
              <a:spLocks noEditPoints="1"/>
            </p:cNvSpPr>
            <p:nvPr/>
          </p:nvSpPr>
          <p:spPr bwMode="auto">
            <a:xfrm>
              <a:off x="1945077" y="-620805"/>
              <a:ext cx="979488" cy="1797050"/>
            </a:xfrm>
            <a:custGeom>
              <a:avLst/>
              <a:gdLst>
                <a:gd name="T0" fmla="*/ 18 w 122"/>
                <a:gd name="T1" fmla="*/ 137 h 224"/>
                <a:gd name="T2" fmla="*/ 105 w 122"/>
                <a:gd name="T3" fmla="*/ 22 h 224"/>
                <a:gd name="T4" fmla="*/ 119 w 122"/>
                <a:gd name="T5" fmla="*/ 29 h 224"/>
                <a:gd name="T6" fmla="*/ 119 w 122"/>
                <a:gd name="T7" fmla="*/ 41 h 224"/>
                <a:gd name="T8" fmla="*/ 17 w 122"/>
                <a:gd name="T9" fmla="*/ 75 h 224"/>
                <a:gd name="T10" fmla="*/ 14 w 122"/>
                <a:gd name="T11" fmla="*/ 76 h 224"/>
                <a:gd name="T12" fmla="*/ 2 w 122"/>
                <a:gd name="T13" fmla="*/ 64 h 224"/>
                <a:gd name="T14" fmla="*/ 10 w 122"/>
                <a:gd name="T15" fmla="*/ 50 h 224"/>
                <a:gd name="T16" fmla="*/ 8 w 122"/>
                <a:gd name="T17" fmla="*/ 58 h 224"/>
                <a:gd name="T18" fmla="*/ 9 w 122"/>
                <a:gd name="T19" fmla="*/ 66 h 224"/>
                <a:gd name="T20" fmla="*/ 14 w 122"/>
                <a:gd name="T21" fmla="*/ 70 h 224"/>
                <a:gd name="T22" fmla="*/ 111 w 122"/>
                <a:gd name="T23" fmla="*/ 41 h 224"/>
                <a:gd name="T24" fmla="*/ 115 w 122"/>
                <a:gd name="T25" fmla="*/ 35 h 224"/>
                <a:gd name="T26" fmla="*/ 108 w 122"/>
                <a:gd name="T27" fmla="*/ 27 h 224"/>
                <a:gd name="T28" fmla="*/ 12 w 122"/>
                <a:gd name="T29" fmla="*/ 56 h 224"/>
                <a:gd name="T30" fmla="*/ 10 w 122"/>
                <a:gd name="T31" fmla="*/ 16 h 224"/>
                <a:gd name="T32" fmla="*/ 73 w 122"/>
                <a:gd name="T33" fmla="*/ 9 h 224"/>
                <a:gd name="T34" fmla="*/ 67 w 122"/>
                <a:gd name="T35" fmla="*/ 27 h 224"/>
                <a:gd name="T36" fmla="*/ 14 w 122"/>
                <a:gd name="T37" fmla="*/ 42 h 224"/>
                <a:gd name="T38" fmla="*/ 2 w 122"/>
                <a:gd name="T39" fmla="*/ 31 h 224"/>
                <a:gd name="T40" fmla="*/ 9 w 122"/>
                <a:gd name="T41" fmla="*/ 32 h 224"/>
                <a:gd name="T42" fmla="*/ 16 w 122"/>
                <a:gd name="T43" fmla="*/ 36 h 224"/>
                <a:gd name="T44" fmla="*/ 69 w 122"/>
                <a:gd name="T45" fmla="*/ 14 h 224"/>
                <a:gd name="T46" fmla="*/ 63 w 122"/>
                <a:gd name="T47" fmla="*/ 7 h 224"/>
                <a:gd name="T48" fmla="*/ 12 w 122"/>
                <a:gd name="T49" fmla="*/ 22 h 224"/>
                <a:gd name="T50" fmla="*/ 113 w 122"/>
                <a:gd name="T51" fmla="*/ 114 h 224"/>
                <a:gd name="T52" fmla="*/ 99 w 122"/>
                <a:gd name="T53" fmla="*/ 124 h 224"/>
                <a:gd name="T54" fmla="*/ 110 w 122"/>
                <a:gd name="T55" fmla="*/ 137 h 224"/>
                <a:gd name="T56" fmla="*/ 87 w 122"/>
                <a:gd name="T57" fmla="*/ 208 h 224"/>
                <a:gd name="T58" fmla="*/ 74 w 122"/>
                <a:gd name="T59" fmla="*/ 224 h 224"/>
                <a:gd name="T60" fmla="*/ 41 w 122"/>
                <a:gd name="T61" fmla="*/ 213 h 224"/>
                <a:gd name="T62" fmla="*/ 18 w 122"/>
                <a:gd name="T63" fmla="*/ 187 h 224"/>
                <a:gd name="T64" fmla="*/ 29 w 122"/>
                <a:gd name="T65" fmla="*/ 137 h 224"/>
                <a:gd name="T66" fmla="*/ 23 w 122"/>
                <a:gd name="T67" fmla="*/ 113 h 224"/>
                <a:gd name="T68" fmla="*/ 10 w 122"/>
                <a:gd name="T69" fmla="*/ 109 h 224"/>
                <a:gd name="T70" fmla="*/ 2 w 122"/>
                <a:gd name="T71" fmla="*/ 98 h 224"/>
                <a:gd name="T72" fmla="*/ 3 w 122"/>
                <a:gd name="T73" fmla="*/ 89 h 224"/>
                <a:gd name="T74" fmla="*/ 105 w 122"/>
                <a:gd name="T75" fmla="*/ 55 h 224"/>
                <a:gd name="T76" fmla="*/ 120 w 122"/>
                <a:gd name="T77" fmla="*/ 66 h 224"/>
                <a:gd name="T78" fmla="*/ 113 w 122"/>
                <a:gd name="T79" fmla="*/ 81 h 224"/>
                <a:gd name="T80" fmla="*/ 56 w 122"/>
                <a:gd name="T81" fmla="*/ 105 h 224"/>
                <a:gd name="T82" fmla="*/ 72 w 122"/>
                <a:gd name="T83" fmla="*/ 137 h 224"/>
                <a:gd name="T84" fmla="*/ 82 w 122"/>
                <a:gd name="T85" fmla="*/ 95 h 224"/>
                <a:gd name="T86" fmla="*/ 119 w 122"/>
                <a:gd name="T87" fmla="*/ 96 h 224"/>
                <a:gd name="T88" fmla="*/ 113 w 122"/>
                <a:gd name="T89" fmla="*/ 114 h 224"/>
                <a:gd name="T90" fmla="*/ 111 w 122"/>
                <a:gd name="T91" fmla="*/ 75 h 224"/>
                <a:gd name="T92" fmla="*/ 115 w 122"/>
                <a:gd name="T93" fmla="*/ 68 h 224"/>
                <a:gd name="T94" fmla="*/ 108 w 122"/>
                <a:gd name="T95" fmla="*/ 61 h 224"/>
                <a:gd name="T96" fmla="*/ 25 w 122"/>
                <a:gd name="T97" fmla="*/ 86 h 224"/>
                <a:gd name="T98" fmla="*/ 12 w 122"/>
                <a:gd name="T99" fmla="*/ 89 h 224"/>
                <a:gd name="T100" fmla="*/ 8 w 122"/>
                <a:gd name="T101" fmla="*/ 92 h 224"/>
                <a:gd name="T102" fmla="*/ 8 w 122"/>
                <a:gd name="T103" fmla="*/ 96 h 224"/>
                <a:gd name="T104" fmla="*/ 12 w 122"/>
                <a:gd name="T105" fmla="*/ 103 h 224"/>
                <a:gd name="T106" fmla="*/ 25 w 122"/>
                <a:gd name="T107" fmla="*/ 107 h 224"/>
                <a:gd name="T108" fmla="*/ 35 w 122"/>
                <a:gd name="T109" fmla="*/ 120 h 224"/>
                <a:gd name="T110" fmla="*/ 50 w 122"/>
                <a:gd name="T111" fmla="*/ 137 h 224"/>
                <a:gd name="T112" fmla="*/ 48 w 122"/>
                <a:gd name="T113" fmla="*/ 100 h 224"/>
                <a:gd name="T114" fmla="*/ 49 w 122"/>
                <a:gd name="T115" fmla="*/ 93 h 224"/>
                <a:gd name="T116" fmla="*/ 113 w 122"/>
                <a:gd name="T117" fmla="*/ 98 h 224"/>
                <a:gd name="T118" fmla="*/ 84 w 122"/>
                <a:gd name="T119" fmla="*/ 101 h 224"/>
                <a:gd name="T120" fmla="*/ 78 w 122"/>
                <a:gd name="T121" fmla="*/ 137 h 224"/>
                <a:gd name="T122" fmla="*/ 93 w 122"/>
                <a:gd name="T123" fmla="*/ 124 h 224"/>
                <a:gd name="T124" fmla="*/ 111 w 122"/>
                <a:gd name="T125" fmla="*/ 10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2" h="224">
                  <a:moveTo>
                    <a:pt x="18" y="137"/>
                  </a:moveTo>
                  <a:cubicBezTo>
                    <a:pt x="18" y="137"/>
                    <a:pt x="18" y="137"/>
                    <a:pt x="18" y="137"/>
                  </a:cubicBezTo>
                  <a:moveTo>
                    <a:pt x="10" y="50"/>
                  </a:moveTo>
                  <a:cubicBezTo>
                    <a:pt x="105" y="22"/>
                    <a:pt x="105" y="22"/>
                    <a:pt x="105" y="22"/>
                  </a:cubicBezTo>
                  <a:cubicBezTo>
                    <a:pt x="106" y="21"/>
                    <a:pt x="107" y="21"/>
                    <a:pt x="108" y="21"/>
                  </a:cubicBezTo>
                  <a:cubicBezTo>
                    <a:pt x="113" y="21"/>
                    <a:pt x="118" y="24"/>
                    <a:pt x="119" y="29"/>
                  </a:cubicBezTo>
                  <a:cubicBezTo>
                    <a:pt x="120" y="33"/>
                    <a:pt x="120" y="33"/>
                    <a:pt x="120" y="33"/>
                  </a:cubicBezTo>
                  <a:cubicBezTo>
                    <a:pt x="121" y="36"/>
                    <a:pt x="121" y="39"/>
                    <a:pt x="119" y="41"/>
                  </a:cubicBezTo>
                  <a:cubicBezTo>
                    <a:pt x="118" y="44"/>
                    <a:pt x="116" y="46"/>
                    <a:pt x="113" y="47"/>
                  </a:cubicBezTo>
                  <a:cubicBezTo>
                    <a:pt x="17" y="75"/>
                    <a:pt x="17" y="75"/>
                    <a:pt x="17" y="75"/>
                  </a:cubicBezTo>
                  <a:cubicBezTo>
                    <a:pt x="16" y="76"/>
                    <a:pt x="15" y="76"/>
                    <a:pt x="14" y="76"/>
                  </a:cubicBezTo>
                  <a:cubicBezTo>
                    <a:pt x="14" y="76"/>
                    <a:pt x="14" y="76"/>
                    <a:pt x="14" y="76"/>
                  </a:cubicBezTo>
                  <a:cubicBezTo>
                    <a:pt x="9" y="76"/>
                    <a:pt x="5" y="73"/>
                    <a:pt x="3" y="68"/>
                  </a:cubicBezTo>
                  <a:cubicBezTo>
                    <a:pt x="2" y="64"/>
                    <a:pt x="2" y="64"/>
                    <a:pt x="2" y="64"/>
                  </a:cubicBezTo>
                  <a:cubicBezTo>
                    <a:pt x="1" y="61"/>
                    <a:pt x="2" y="58"/>
                    <a:pt x="3" y="56"/>
                  </a:cubicBezTo>
                  <a:cubicBezTo>
                    <a:pt x="5" y="53"/>
                    <a:pt x="7" y="51"/>
                    <a:pt x="10" y="50"/>
                  </a:cubicBezTo>
                  <a:close/>
                  <a:moveTo>
                    <a:pt x="12" y="56"/>
                  </a:moveTo>
                  <a:cubicBezTo>
                    <a:pt x="10" y="56"/>
                    <a:pt x="9" y="57"/>
                    <a:pt x="8" y="58"/>
                  </a:cubicBezTo>
                  <a:cubicBezTo>
                    <a:pt x="8" y="60"/>
                    <a:pt x="8" y="61"/>
                    <a:pt x="8" y="62"/>
                  </a:cubicBezTo>
                  <a:cubicBezTo>
                    <a:pt x="9" y="66"/>
                    <a:pt x="9" y="66"/>
                    <a:pt x="9" y="66"/>
                  </a:cubicBezTo>
                  <a:cubicBezTo>
                    <a:pt x="10" y="68"/>
                    <a:pt x="12" y="70"/>
                    <a:pt x="14" y="70"/>
                  </a:cubicBezTo>
                  <a:cubicBezTo>
                    <a:pt x="14" y="70"/>
                    <a:pt x="14" y="70"/>
                    <a:pt x="14" y="70"/>
                  </a:cubicBezTo>
                  <a:cubicBezTo>
                    <a:pt x="15" y="70"/>
                    <a:pt x="15" y="70"/>
                    <a:pt x="16" y="70"/>
                  </a:cubicBezTo>
                  <a:cubicBezTo>
                    <a:pt x="111" y="41"/>
                    <a:pt x="111" y="41"/>
                    <a:pt x="111" y="41"/>
                  </a:cubicBezTo>
                  <a:cubicBezTo>
                    <a:pt x="112" y="41"/>
                    <a:pt x="113" y="40"/>
                    <a:pt x="114" y="39"/>
                  </a:cubicBezTo>
                  <a:cubicBezTo>
                    <a:pt x="115" y="37"/>
                    <a:pt x="115" y="36"/>
                    <a:pt x="115" y="35"/>
                  </a:cubicBezTo>
                  <a:cubicBezTo>
                    <a:pt x="113" y="31"/>
                    <a:pt x="113" y="31"/>
                    <a:pt x="113" y="31"/>
                  </a:cubicBezTo>
                  <a:cubicBezTo>
                    <a:pt x="113" y="29"/>
                    <a:pt x="111" y="27"/>
                    <a:pt x="108" y="27"/>
                  </a:cubicBezTo>
                  <a:cubicBezTo>
                    <a:pt x="108" y="27"/>
                    <a:pt x="107" y="27"/>
                    <a:pt x="107" y="27"/>
                  </a:cubicBezTo>
                  <a:lnTo>
                    <a:pt x="12" y="56"/>
                  </a:lnTo>
                  <a:close/>
                  <a:moveTo>
                    <a:pt x="2" y="31"/>
                  </a:moveTo>
                  <a:cubicBezTo>
                    <a:pt x="0" y="25"/>
                    <a:pt x="4" y="18"/>
                    <a:pt x="10" y="16"/>
                  </a:cubicBezTo>
                  <a:cubicBezTo>
                    <a:pt x="59" y="1"/>
                    <a:pt x="59" y="1"/>
                    <a:pt x="59" y="1"/>
                  </a:cubicBezTo>
                  <a:cubicBezTo>
                    <a:pt x="65" y="0"/>
                    <a:pt x="72" y="3"/>
                    <a:pt x="73" y="9"/>
                  </a:cubicBezTo>
                  <a:cubicBezTo>
                    <a:pt x="75" y="12"/>
                    <a:pt x="75" y="12"/>
                    <a:pt x="75" y="12"/>
                  </a:cubicBezTo>
                  <a:cubicBezTo>
                    <a:pt x="76" y="18"/>
                    <a:pt x="73" y="25"/>
                    <a:pt x="67" y="27"/>
                  </a:cubicBezTo>
                  <a:cubicBezTo>
                    <a:pt x="18" y="42"/>
                    <a:pt x="18" y="42"/>
                    <a:pt x="18" y="42"/>
                  </a:cubicBezTo>
                  <a:cubicBezTo>
                    <a:pt x="16" y="42"/>
                    <a:pt x="15" y="42"/>
                    <a:pt x="14" y="42"/>
                  </a:cubicBezTo>
                  <a:cubicBezTo>
                    <a:pt x="9" y="42"/>
                    <a:pt x="5" y="39"/>
                    <a:pt x="3" y="34"/>
                  </a:cubicBezTo>
                  <a:lnTo>
                    <a:pt x="2" y="31"/>
                  </a:lnTo>
                  <a:close/>
                  <a:moveTo>
                    <a:pt x="8" y="29"/>
                  </a:moveTo>
                  <a:cubicBezTo>
                    <a:pt x="9" y="32"/>
                    <a:pt x="9" y="32"/>
                    <a:pt x="9" y="32"/>
                  </a:cubicBezTo>
                  <a:cubicBezTo>
                    <a:pt x="10" y="35"/>
                    <a:pt x="12" y="36"/>
                    <a:pt x="14" y="36"/>
                  </a:cubicBezTo>
                  <a:cubicBezTo>
                    <a:pt x="15" y="36"/>
                    <a:pt x="15" y="36"/>
                    <a:pt x="16" y="36"/>
                  </a:cubicBezTo>
                  <a:cubicBezTo>
                    <a:pt x="65" y="21"/>
                    <a:pt x="65" y="21"/>
                    <a:pt x="65" y="21"/>
                  </a:cubicBezTo>
                  <a:cubicBezTo>
                    <a:pt x="68" y="20"/>
                    <a:pt x="70" y="17"/>
                    <a:pt x="69" y="14"/>
                  </a:cubicBezTo>
                  <a:cubicBezTo>
                    <a:pt x="68" y="11"/>
                    <a:pt x="68" y="11"/>
                    <a:pt x="68" y="11"/>
                  </a:cubicBezTo>
                  <a:cubicBezTo>
                    <a:pt x="67" y="8"/>
                    <a:pt x="65" y="7"/>
                    <a:pt x="63" y="7"/>
                  </a:cubicBezTo>
                  <a:cubicBezTo>
                    <a:pt x="62" y="7"/>
                    <a:pt x="62" y="7"/>
                    <a:pt x="61" y="7"/>
                  </a:cubicBezTo>
                  <a:cubicBezTo>
                    <a:pt x="12" y="22"/>
                    <a:pt x="12" y="22"/>
                    <a:pt x="12" y="22"/>
                  </a:cubicBezTo>
                  <a:cubicBezTo>
                    <a:pt x="9" y="23"/>
                    <a:pt x="7" y="26"/>
                    <a:pt x="8" y="29"/>
                  </a:cubicBezTo>
                  <a:close/>
                  <a:moveTo>
                    <a:pt x="113" y="114"/>
                  </a:moveTo>
                  <a:cubicBezTo>
                    <a:pt x="105" y="116"/>
                    <a:pt x="105" y="116"/>
                    <a:pt x="105" y="116"/>
                  </a:cubicBezTo>
                  <a:cubicBezTo>
                    <a:pt x="102" y="117"/>
                    <a:pt x="99" y="121"/>
                    <a:pt x="99" y="124"/>
                  </a:cubicBezTo>
                  <a:cubicBezTo>
                    <a:pt x="99" y="137"/>
                    <a:pt x="99" y="137"/>
                    <a:pt x="99" y="137"/>
                  </a:cubicBezTo>
                  <a:cubicBezTo>
                    <a:pt x="110" y="137"/>
                    <a:pt x="110" y="137"/>
                    <a:pt x="110" y="137"/>
                  </a:cubicBezTo>
                  <a:cubicBezTo>
                    <a:pt x="110" y="187"/>
                    <a:pt x="110" y="187"/>
                    <a:pt x="110" y="187"/>
                  </a:cubicBezTo>
                  <a:cubicBezTo>
                    <a:pt x="110" y="198"/>
                    <a:pt x="100" y="207"/>
                    <a:pt x="87" y="208"/>
                  </a:cubicBezTo>
                  <a:cubicBezTo>
                    <a:pt x="87" y="213"/>
                    <a:pt x="87" y="213"/>
                    <a:pt x="87" y="213"/>
                  </a:cubicBezTo>
                  <a:cubicBezTo>
                    <a:pt x="87" y="219"/>
                    <a:pt x="81" y="224"/>
                    <a:pt x="74" y="224"/>
                  </a:cubicBezTo>
                  <a:cubicBezTo>
                    <a:pt x="54" y="224"/>
                    <a:pt x="54" y="224"/>
                    <a:pt x="54" y="224"/>
                  </a:cubicBezTo>
                  <a:cubicBezTo>
                    <a:pt x="47" y="224"/>
                    <a:pt x="41" y="219"/>
                    <a:pt x="41" y="213"/>
                  </a:cubicBezTo>
                  <a:cubicBezTo>
                    <a:pt x="41" y="208"/>
                    <a:pt x="41" y="208"/>
                    <a:pt x="41" y="208"/>
                  </a:cubicBezTo>
                  <a:cubicBezTo>
                    <a:pt x="28" y="207"/>
                    <a:pt x="18" y="198"/>
                    <a:pt x="18" y="187"/>
                  </a:cubicBezTo>
                  <a:cubicBezTo>
                    <a:pt x="18" y="137"/>
                    <a:pt x="18" y="137"/>
                    <a:pt x="18" y="137"/>
                  </a:cubicBezTo>
                  <a:cubicBezTo>
                    <a:pt x="29" y="137"/>
                    <a:pt x="29" y="137"/>
                    <a:pt x="29" y="137"/>
                  </a:cubicBezTo>
                  <a:cubicBezTo>
                    <a:pt x="29" y="120"/>
                    <a:pt x="29" y="120"/>
                    <a:pt x="29" y="120"/>
                  </a:cubicBezTo>
                  <a:cubicBezTo>
                    <a:pt x="29" y="117"/>
                    <a:pt x="26" y="113"/>
                    <a:pt x="23" y="113"/>
                  </a:cubicBezTo>
                  <a:cubicBezTo>
                    <a:pt x="12" y="109"/>
                    <a:pt x="12" y="109"/>
                    <a:pt x="12" y="109"/>
                  </a:cubicBezTo>
                  <a:cubicBezTo>
                    <a:pt x="10" y="109"/>
                    <a:pt x="10" y="109"/>
                    <a:pt x="10" y="109"/>
                  </a:cubicBezTo>
                  <a:cubicBezTo>
                    <a:pt x="7" y="108"/>
                    <a:pt x="4" y="105"/>
                    <a:pt x="3" y="102"/>
                  </a:cubicBezTo>
                  <a:cubicBezTo>
                    <a:pt x="2" y="98"/>
                    <a:pt x="2" y="98"/>
                    <a:pt x="2" y="98"/>
                  </a:cubicBezTo>
                  <a:cubicBezTo>
                    <a:pt x="2" y="97"/>
                    <a:pt x="2" y="97"/>
                    <a:pt x="2" y="96"/>
                  </a:cubicBezTo>
                  <a:cubicBezTo>
                    <a:pt x="2" y="94"/>
                    <a:pt x="2" y="91"/>
                    <a:pt x="3" y="89"/>
                  </a:cubicBezTo>
                  <a:cubicBezTo>
                    <a:pt x="5" y="87"/>
                    <a:pt x="7" y="85"/>
                    <a:pt x="10" y="84"/>
                  </a:cubicBezTo>
                  <a:cubicBezTo>
                    <a:pt x="105" y="55"/>
                    <a:pt x="105" y="55"/>
                    <a:pt x="105" y="55"/>
                  </a:cubicBezTo>
                  <a:cubicBezTo>
                    <a:pt x="111" y="54"/>
                    <a:pt x="118" y="57"/>
                    <a:pt x="119" y="63"/>
                  </a:cubicBezTo>
                  <a:cubicBezTo>
                    <a:pt x="120" y="66"/>
                    <a:pt x="120" y="66"/>
                    <a:pt x="120" y="66"/>
                  </a:cubicBezTo>
                  <a:cubicBezTo>
                    <a:pt x="121" y="69"/>
                    <a:pt x="121" y="72"/>
                    <a:pt x="119" y="75"/>
                  </a:cubicBezTo>
                  <a:cubicBezTo>
                    <a:pt x="118" y="78"/>
                    <a:pt x="116" y="80"/>
                    <a:pt x="113" y="81"/>
                  </a:cubicBezTo>
                  <a:cubicBezTo>
                    <a:pt x="54" y="98"/>
                    <a:pt x="54" y="98"/>
                    <a:pt x="54" y="98"/>
                  </a:cubicBezTo>
                  <a:cubicBezTo>
                    <a:pt x="55" y="100"/>
                    <a:pt x="56" y="103"/>
                    <a:pt x="56" y="105"/>
                  </a:cubicBezTo>
                  <a:cubicBezTo>
                    <a:pt x="56" y="137"/>
                    <a:pt x="56" y="137"/>
                    <a:pt x="56" y="137"/>
                  </a:cubicBezTo>
                  <a:cubicBezTo>
                    <a:pt x="72" y="137"/>
                    <a:pt x="72" y="137"/>
                    <a:pt x="72" y="137"/>
                  </a:cubicBezTo>
                  <a:cubicBezTo>
                    <a:pt x="72" y="109"/>
                    <a:pt x="72" y="109"/>
                    <a:pt x="72" y="109"/>
                  </a:cubicBezTo>
                  <a:cubicBezTo>
                    <a:pt x="72" y="103"/>
                    <a:pt x="77" y="97"/>
                    <a:pt x="82" y="95"/>
                  </a:cubicBezTo>
                  <a:cubicBezTo>
                    <a:pt x="105" y="89"/>
                    <a:pt x="105" y="89"/>
                    <a:pt x="105" y="89"/>
                  </a:cubicBezTo>
                  <a:cubicBezTo>
                    <a:pt x="111" y="87"/>
                    <a:pt x="118" y="91"/>
                    <a:pt x="119" y="96"/>
                  </a:cubicBezTo>
                  <a:cubicBezTo>
                    <a:pt x="120" y="100"/>
                    <a:pt x="120" y="100"/>
                    <a:pt x="120" y="100"/>
                  </a:cubicBezTo>
                  <a:cubicBezTo>
                    <a:pt x="122" y="106"/>
                    <a:pt x="119" y="112"/>
                    <a:pt x="113" y="114"/>
                  </a:cubicBezTo>
                  <a:close/>
                  <a:moveTo>
                    <a:pt x="49" y="93"/>
                  </a:moveTo>
                  <a:cubicBezTo>
                    <a:pt x="111" y="75"/>
                    <a:pt x="111" y="75"/>
                    <a:pt x="111" y="75"/>
                  </a:cubicBezTo>
                  <a:cubicBezTo>
                    <a:pt x="112" y="74"/>
                    <a:pt x="113" y="74"/>
                    <a:pt x="114" y="72"/>
                  </a:cubicBezTo>
                  <a:cubicBezTo>
                    <a:pt x="115" y="71"/>
                    <a:pt x="115" y="70"/>
                    <a:pt x="115" y="68"/>
                  </a:cubicBezTo>
                  <a:cubicBezTo>
                    <a:pt x="113" y="65"/>
                    <a:pt x="113" y="65"/>
                    <a:pt x="113" y="65"/>
                  </a:cubicBezTo>
                  <a:cubicBezTo>
                    <a:pt x="113" y="62"/>
                    <a:pt x="111" y="61"/>
                    <a:pt x="108" y="61"/>
                  </a:cubicBezTo>
                  <a:cubicBezTo>
                    <a:pt x="108" y="61"/>
                    <a:pt x="107" y="61"/>
                    <a:pt x="107" y="61"/>
                  </a:cubicBezTo>
                  <a:cubicBezTo>
                    <a:pt x="25" y="86"/>
                    <a:pt x="25" y="86"/>
                    <a:pt x="25" y="86"/>
                  </a:cubicBezTo>
                  <a:cubicBezTo>
                    <a:pt x="13" y="89"/>
                    <a:pt x="13" y="89"/>
                    <a:pt x="13" y="89"/>
                  </a:cubicBezTo>
                  <a:cubicBezTo>
                    <a:pt x="12" y="89"/>
                    <a:pt x="12" y="89"/>
                    <a:pt x="12" y="89"/>
                  </a:cubicBezTo>
                  <a:cubicBezTo>
                    <a:pt x="12" y="90"/>
                    <a:pt x="12" y="90"/>
                    <a:pt x="12" y="90"/>
                  </a:cubicBezTo>
                  <a:cubicBezTo>
                    <a:pt x="10" y="90"/>
                    <a:pt x="9" y="91"/>
                    <a:pt x="8" y="92"/>
                  </a:cubicBezTo>
                  <a:cubicBezTo>
                    <a:pt x="8" y="93"/>
                    <a:pt x="8" y="95"/>
                    <a:pt x="8" y="96"/>
                  </a:cubicBezTo>
                  <a:cubicBezTo>
                    <a:pt x="8" y="96"/>
                    <a:pt x="8" y="96"/>
                    <a:pt x="8" y="96"/>
                  </a:cubicBezTo>
                  <a:cubicBezTo>
                    <a:pt x="9" y="100"/>
                    <a:pt x="9" y="100"/>
                    <a:pt x="9" y="100"/>
                  </a:cubicBezTo>
                  <a:cubicBezTo>
                    <a:pt x="10" y="101"/>
                    <a:pt x="11" y="103"/>
                    <a:pt x="12" y="103"/>
                  </a:cubicBezTo>
                  <a:cubicBezTo>
                    <a:pt x="13" y="103"/>
                    <a:pt x="13" y="103"/>
                    <a:pt x="13" y="103"/>
                  </a:cubicBezTo>
                  <a:cubicBezTo>
                    <a:pt x="25" y="107"/>
                    <a:pt x="25" y="107"/>
                    <a:pt x="25" y="107"/>
                  </a:cubicBezTo>
                  <a:cubicBezTo>
                    <a:pt x="25" y="107"/>
                    <a:pt x="25" y="107"/>
                    <a:pt x="25" y="107"/>
                  </a:cubicBezTo>
                  <a:cubicBezTo>
                    <a:pt x="31" y="109"/>
                    <a:pt x="35" y="115"/>
                    <a:pt x="35" y="120"/>
                  </a:cubicBezTo>
                  <a:cubicBezTo>
                    <a:pt x="35" y="137"/>
                    <a:pt x="35" y="137"/>
                    <a:pt x="35" y="137"/>
                  </a:cubicBezTo>
                  <a:cubicBezTo>
                    <a:pt x="50" y="137"/>
                    <a:pt x="50" y="137"/>
                    <a:pt x="50" y="137"/>
                  </a:cubicBezTo>
                  <a:cubicBezTo>
                    <a:pt x="50" y="105"/>
                    <a:pt x="50" y="105"/>
                    <a:pt x="50" y="105"/>
                  </a:cubicBezTo>
                  <a:cubicBezTo>
                    <a:pt x="50" y="104"/>
                    <a:pt x="49" y="102"/>
                    <a:pt x="48" y="100"/>
                  </a:cubicBezTo>
                  <a:cubicBezTo>
                    <a:pt x="47" y="99"/>
                    <a:pt x="45" y="98"/>
                    <a:pt x="44" y="97"/>
                  </a:cubicBezTo>
                  <a:cubicBezTo>
                    <a:pt x="44" y="97"/>
                    <a:pt x="40" y="96"/>
                    <a:pt x="49" y="93"/>
                  </a:cubicBezTo>
                  <a:close/>
                  <a:moveTo>
                    <a:pt x="115" y="102"/>
                  </a:moveTo>
                  <a:cubicBezTo>
                    <a:pt x="113" y="98"/>
                    <a:pt x="113" y="98"/>
                    <a:pt x="113" y="98"/>
                  </a:cubicBezTo>
                  <a:cubicBezTo>
                    <a:pt x="113" y="95"/>
                    <a:pt x="110" y="94"/>
                    <a:pt x="107" y="95"/>
                  </a:cubicBezTo>
                  <a:cubicBezTo>
                    <a:pt x="84" y="101"/>
                    <a:pt x="84" y="101"/>
                    <a:pt x="84" y="101"/>
                  </a:cubicBezTo>
                  <a:cubicBezTo>
                    <a:pt x="81" y="102"/>
                    <a:pt x="78" y="106"/>
                    <a:pt x="78" y="109"/>
                  </a:cubicBezTo>
                  <a:cubicBezTo>
                    <a:pt x="78" y="137"/>
                    <a:pt x="78" y="137"/>
                    <a:pt x="78" y="137"/>
                  </a:cubicBezTo>
                  <a:cubicBezTo>
                    <a:pt x="93" y="137"/>
                    <a:pt x="93" y="137"/>
                    <a:pt x="93" y="137"/>
                  </a:cubicBezTo>
                  <a:cubicBezTo>
                    <a:pt x="93" y="124"/>
                    <a:pt x="93" y="124"/>
                    <a:pt x="93" y="124"/>
                  </a:cubicBezTo>
                  <a:cubicBezTo>
                    <a:pt x="93" y="118"/>
                    <a:pt x="97" y="112"/>
                    <a:pt x="103" y="111"/>
                  </a:cubicBezTo>
                  <a:cubicBezTo>
                    <a:pt x="111" y="108"/>
                    <a:pt x="111" y="108"/>
                    <a:pt x="111" y="108"/>
                  </a:cubicBezTo>
                  <a:cubicBezTo>
                    <a:pt x="114" y="108"/>
                    <a:pt x="115" y="105"/>
                    <a:pt x="115" y="10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35"/>
              <a:endParaRPr lang="en-US">
                <a:solidFill>
                  <a:srgbClr val="FFFFFF"/>
                </a:solidFill>
              </a:endParaRPr>
            </a:p>
          </p:txBody>
        </p:sp>
      </p:grpSp>
      <p:sp>
        <p:nvSpPr>
          <p:cNvPr id="2" name="Title 1"/>
          <p:cNvSpPr>
            <a:spLocks noGrp="1"/>
          </p:cNvSpPr>
          <p:nvPr>
            <p:ph type="ctrTitle"/>
          </p:nvPr>
        </p:nvSpPr>
        <p:spPr>
          <a:xfrm>
            <a:off x="3135105" y="2390353"/>
            <a:ext cx="4959201" cy="1142621"/>
          </a:xfrm>
        </p:spPr>
        <p:txBody>
          <a:bodyPr anchor="ctr" anchorCtr="0">
            <a:noAutofit/>
          </a:bodyPr>
          <a:lstStyle>
            <a:lvl1pPr algn="l" defTabSz="685835" rtl="0" eaLnBrk="1" latinLnBrk="0" hangingPunct="1">
              <a:lnSpc>
                <a:spcPct val="90000"/>
              </a:lnSpc>
              <a:spcBef>
                <a:spcPct val="0"/>
              </a:spcBef>
              <a:buNone/>
              <a:defRPr lang="en-US" sz="3000" b="1" kern="1200" cap="none" spc="-75" baseline="0" dirty="0">
                <a:ln w="3175">
                  <a:noFill/>
                </a:ln>
                <a:solidFill>
                  <a:schemeClr val="accent6">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0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Tree>
    <p:extLst>
      <p:ext uri="{BB962C8B-B14F-4D97-AF65-F5344CB8AC3E}">
        <p14:creationId xmlns:p14="http://schemas.microsoft.com/office/powerpoint/2010/main" val="3493222953"/>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Vide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4"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835"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Video</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1"/>
            <a:ext cx="4959201" cy="346249"/>
          </a:xfrm>
        </p:spPr>
        <p:txBody>
          <a:bodyPr>
            <a:noAutofit/>
          </a:bodyPr>
          <a:lstStyle>
            <a:lvl1pPr marL="0" indent="0" algn="l" defTabSz="685835"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19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86" tIns="34294" rIns="68586" bIns="34294" numCol="1" anchor="t" anchorCtr="0" compatLnSpc="1">
            <a:prstTxWarp prst="textNoShape">
              <a:avLst/>
            </a:prstTxWarp>
          </a:bodyPr>
          <a:lstStyle/>
          <a:p>
            <a:pPr defTabSz="685835"/>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5"/>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3"/>
            <a:ext cx="4959201" cy="1142621"/>
          </a:xfrm>
        </p:spPr>
        <p:txBody>
          <a:bodyPr anchor="ctr" anchorCtr="0">
            <a:noAutofit/>
          </a:bodyPr>
          <a:lstStyle>
            <a:lvl1pPr algn="l" defTabSz="685835" rtl="0" eaLnBrk="1" latinLnBrk="0" hangingPunct="1">
              <a:lnSpc>
                <a:spcPct val="90000"/>
              </a:lnSpc>
              <a:spcBef>
                <a:spcPct val="0"/>
              </a:spcBef>
              <a:buNone/>
              <a:defRPr lang="en-US" sz="3000" b="1" kern="1200" cap="none" spc="-75" baseline="0" dirty="0">
                <a:ln w="3175">
                  <a:noFill/>
                </a:ln>
                <a:solidFill>
                  <a:schemeClr val="accent5">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0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grpSp>
        <p:nvGrpSpPr>
          <p:cNvPr id="19" name="Green Tile"/>
          <p:cNvGrpSpPr/>
          <p:nvPr userDrawn="1"/>
        </p:nvGrpSpPr>
        <p:grpSpPr>
          <a:xfrm>
            <a:off x="762091" y="2390353"/>
            <a:ext cx="2120991" cy="2120439"/>
            <a:chOff x="-2619354" y="-790581"/>
            <a:chExt cx="2827252" cy="2827252"/>
          </a:xfrm>
        </p:grpSpPr>
        <p:sp>
          <p:nvSpPr>
            <p:cNvPr id="20" name="Rectangle 19"/>
            <p:cNvSpPr/>
            <p:nvPr/>
          </p:nvSpPr>
          <p:spPr bwMode="auto">
            <a:xfrm>
              <a:off x="-2619354" y="-790581"/>
              <a:ext cx="2827252" cy="282725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1" name="Play Icon"/>
            <p:cNvSpPr>
              <a:spLocks noEditPoints="1"/>
            </p:cNvSpPr>
            <p:nvPr/>
          </p:nvSpPr>
          <p:spPr bwMode="auto">
            <a:xfrm>
              <a:off x="-2097903" y="-269875"/>
              <a:ext cx="1784350" cy="1784350"/>
            </a:xfrm>
            <a:custGeom>
              <a:avLst/>
              <a:gdLst>
                <a:gd name="T0" fmla="*/ 168 w 224"/>
                <a:gd name="T1" fmla="*/ 112 h 224"/>
                <a:gd name="T2" fmla="*/ 86 w 224"/>
                <a:gd name="T3" fmla="*/ 173 h 224"/>
                <a:gd name="T4" fmla="*/ 86 w 224"/>
                <a:gd name="T5" fmla="*/ 50 h 224"/>
                <a:gd name="T6" fmla="*/ 168 w 224"/>
                <a:gd name="T7" fmla="*/ 112 h 224"/>
                <a:gd name="T8" fmla="*/ 168 w 224"/>
                <a:gd name="T9" fmla="*/ 112 h 224"/>
                <a:gd name="T10" fmla="*/ 112 w 224"/>
                <a:gd name="T11" fmla="*/ 0 h 224"/>
                <a:gd name="T12" fmla="*/ 224 w 224"/>
                <a:gd name="T13" fmla="*/ 112 h 224"/>
                <a:gd name="T14" fmla="*/ 112 w 224"/>
                <a:gd name="T15" fmla="*/ 224 h 224"/>
                <a:gd name="T16" fmla="*/ 0 w 224"/>
                <a:gd name="T17" fmla="*/ 112 h 224"/>
                <a:gd name="T18" fmla="*/ 112 w 224"/>
                <a:gd name="T19" fmla="*/ 0 h 224"/>
                <a:gd name="T20" fmla="*/ 112 w 224"/>
                <a:gd name="T21" fmla="*/ 216 h 224"/>
                <a:gd name="T22" fmla="*/ 216 w 224"/>
                <a:gd name="T23" fmla="*/ 112 h 224"/>
                <a:gd name="T24" fmla="*/ 112 w 224"/>
                <a:gd name="T25" fmla="*/ 8 h 224"/>
                <a:gd name="T26" fmla="*/ 8 w 224"/>
                <a:gd name="T27" fmla="*/ 112 h 224"/>
                <a:gd name="T28" fmla="*/ 112 w 224"/>
                <a:gd name="T29" fmla="*/ 21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4" h="224">
                  <a:moveTo>
                    <a:pt x="168" y="112"/>
                  </a:moveTo>
                  <a:cubicBezTo>
                    <a:pt x="86" y="173"/>
                    <a:pt x="86" y="173"/>
                    <a:pt x="86" y="173"/>
                  </a:cubicBezTo>
                  <a:cubicBezTo>
                    <a:pt x="86" y="50"/>
                    <a:pt x="86" y="50"/>
                    <a:pt x="86" y="50"/>
                  </a:cubicBezTo>
                  <a:cubicBezTo>
                    <a:pt x="168" y="112"/>
                    <a:pt x="168" y="112"/>
                    <a:pt x="168" y="112"/>
                  </a:cubicBezTo>
                  <a:cubicBezTo>
                    <a:pt x="168" y="112"/>
                    <a:pt x="168" y="112"/>
                    <a:pt x="168" y="112"/>
                  </a:cubicBezTo>
                  <a:close/>
                  <a:moveTo>
                    <a:pt x="112" y="0"/>
                  </a:moveTo>
                  <a:cubicBezTo>
                    <a:pt x="174" y="0"/>
                    <a:pt x="224" y="50"/>
                    <a:pt x="224" y="112"/>
                  </a:cubicBezTo>
                  <a:cubicBezTo>
                    <a:pt x="224" y="174"/>
                    <a:pt x="174" y="224"/>
                    <a:pt x="112" y="224"/>
                  </a:cubicBezTo>
                  <a:cubicBezTo>
                    <a:pt x="51" y="224"/>
                    <a:pt x="0" y="174"/>
                    <a:pt x="0" y="112"/>
                  </a:cubicBezTo>
                  <a:cubicBezTo>
                    <a:pt x="0" y="50"/>
                    <a:pt x="51" y="0"/>
                    <a:pt x="112" y="0"/>
                  </a:cubicBezTo>
                  <a:moveTo>
                    <a:pt x="112" y="216"/>
                  </a:moveTo>
                  <a:cubicBezTo>
                    <a:pt x="170" y="216"/>
                    <a:pt x="216" y="169"/>
                    <a:pt x="216" y="112"/>
                  </a:cubicBezTo>
                  <a:cubicBezTo>
                    <a:pt x="216" y="54"/>
                    <a:pt x="170" y="8"/>
                    <a:pt x="112" y="8"/>
                  </a:cubicBezTo>
                  <a:cubicBezTo>
                    <a:pt x="55" y="8"/>
                    <a:pt x="8" y="54"/>
                    <a:pt x="8" y="112"/>
                  </a:cubicBezTo>
                  <a:cubicBezTo>
                    <a:pt x="8" y="169"/>
                    <a:pt x="55" y="216"/>
                    <a:pt x="112" y="21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35"/>
              <a:endParaRPr lang="en-US">
                <a:solidFill>
                  <a:srgbClr val="FFFFFF"/>
                </a:solidFill>
              </a:endParaRPr>
            </a:p>
          </p:txBody>
        </p:sp>
      </p:grpSp>
    </p:spTree>
    <p:extLst>
      <p:ext uri="{BB962C8B-B14F-4D97-AF65-F5344CB8AC3E}">
        <p14:creationId xmlns:p14="http://schemas.microsoft.com/office/powerpoint/2010/main" val="400572296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Partn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4"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835"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Partner</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1"/>
            <a:ext cx="4959201" cy="346249"/>
          </a:xfrm>
        </p:spPr>
        <p:txBody>
          <a:bodyPr>
            <a:noAutofit/>
          </a:bodyPr>
          <a:lstStyle>
            <a:lvl1pPr marL="0" indent="0" algn="l" defTabSz="685835"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19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86" tIns="34294" rIns="68586" bIns="34294" numCol="1" anchor="t" anchorCtr="0" compatLnSpc="1">
            <a:prstTxWarp prst="textNoShape">
              <a:avLst/>
            </a:prstTxWarp>
          </a:bodyPr>
          <a:lstStyle/>
          <a:p>
            <a:pPr defTabSz="685835"/>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5"/>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3"/>
            <a:ext cx="4959201" cy="1142621"/>
          </a:xfrm>
        </p:spPr>
        <p:txBody>
          <a:bodyPr anchor="ctr" anchorCtr="0">
            <a:noAutofit/>
          </a:bodyPr>
          <a:lstStyle>
            <a:lvl1pPr algn="l" defTabSz="685835"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0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grpSp>
        <p:nvGrpSpPr>
          <p:cNvPr id="17" name="Blue Tile"/>
          <p:cNvGrpSpPr/>
          <p:nvPr userDrawn="1"/>
        </p:nvGrpSpPr>
        <p:grpSpPr>
          <a:xfrm>
            <a:off x="762091" y="2392295"/>
            <a:ext cx="2120991" cy="2120439"/>
            <a:chOff x="1071620" y="3044261"/>
            <a:chExt cx="1325880" cy="1325880"/>
          </a:xfrm>
        </p:grpSpPr>
        <p:sp>
          <p:nvSpPr>
            <p:cNvPr id="18" name="Rectangle 17"/>
            <p:cNvSpPr/>
            <p:nvPr/>
          </p:nvSpPr>
          <p:spPr bwMode="auto">
            <a:xfrm>
              <a:off x="1071620" y="3044261"/>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2"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35"/>
              <a:endParaRPr lang="en-US">
                <a:solidFill>
                  <a:srgbClr val="FFFFFF"/>
                </a:solidFill>
              </a:endParaRPr>
            </a:p>
          </p:txBody>
        </p:sp>
      </p:grpSp>
    </p:spTree>
    <p:extLst>
      <p:ext uri="{BB962C8B-B14F-4D97-AF65-F5344CB8AC3E}">
        <p14:creationId xmlns:p14="http://schemas.microsoft.com/office/powerpoint/2010/main" val="780572739"/>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Custom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4"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835"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Customer</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1"/>
            <a:ext cx="4959201" cy="346249"/>
          </a:xfrm>
        </p:spPr>
        <p:txBody>
          <a:bodyPr>
            <a:noAutofit/>
          </a:bodyPr>
          <a:lstStyle>
            <a:lvl1pPr marL="0" indent="0" algn="l" defTabSz="685835"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19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86" tIns="34294" rIns="68586" bIns="34294" numCol="1" anchor="t" anchorCtr="0" compatLnSpc="1">
            <a:prstTxWarp prst="textNoShape">
              <a:avLst/>
            </a:prstTxWarp>
          </a:bodyPr>
          <a:lstStyle/>
          <a:p>
            <a:pPr defTabSz="685835"/>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5"/>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3"/>
            <a:ext cx="4959201" cy="1142621"/>
          </a:xfrm>
        </p:spPr>
        <p:txBody>
          <a:bodyPr anchor="ctr" anchorCtr="0">
            <a:noAutofit/>
          </a:bodyPr>
          <a:lstStyle>
            <a:lvl1pPr algn="l" defTabSz="685835" rtl="0" eaLnBrk="1" latinLnBrk="0" hangingPunct="1">
              <a:lnSpc>
                <a:spcPct val="90000"/>
              </a:lnSpc>
              <a:spcBef>
                <a:spcPct val="0"/>
              </a:spcBef>
              <a:buNone/>
              <a:defRPr lang="en-US" sz="3000" b="1" kern="1200" cap="none" spc="-75" baseline="0" dirty="0">
                <a:ln w="3175">
                  <a:noFill/>
                </a:ln>
                <a:solidFill>
                  <a:schemeClr val="accent2">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0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grpSp>
        <p:nvGrpSpPr>
          <p:cNvPr id="19" name="Purple Tile"/>
          <p:cNvGrpSpPr/>
          <p:nvPr userDrawn="1"/>
        </p:nvGrpSpPr>
        <p:grpSpPr>
          <a:xfrm>
            <a:off x="763409" y="2390353"/>
            <a:ext cx="2120991" cy="2120439"/>
            <a:chOff x="1022073" y="-1624298"/>
            <a:chExt cx="2827252" cy="2827252"/>
          </a:xfrm>
        </p:grpSpPr>
        <p:sp>
          <p:nvSpPr>
            <p:cNvPr id="20" name="Rectangle 19"/>
            <p:cNvSpPr/>
            <p:nvPr/>
          </p:nvSpPr>
          <p:spPr bwMode="auto">
            <a:xfrm>
              <a:off x="1022073" y="-1624298"/>
              <a:ext cx="2827252" cy="282725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1" name="Freeform 8"/>
            <p:cNvSpPr>
              <a:spLocks noEditPoints="1"/>
            </p:cNvSpPr>
            <p:nvPr/>
          </p:nvSpPr>
          <p:spPr bwMode="auto">
            <a:xfrm>
              <a:off x="1537798" y="-867430"/>
              <a:ext cx="1792288" cy="1501775"/>
            </a:xfrm>
            <a:custGeom>
              <a:avLst/>
              <a:gdLst>
                <a:gd name="T0" fmla="*/ 184 w 223"/>
                <a:gd name="T1" fmla="*/ 187 h 187"/>
                <a:gd name="T2" fmla="*/ 181 w 223"/>
                <a:gd name="T3" fmla="*/ 186 h 187"/>
                <a:gd name="T4" fmla="*/ 146 w 223"/>
                <a:gd name="T5" fmla="*/ 151 h 187"/>
                <a:gd name="T6" fmla="*/ 40 w 223"/>
                <a:gd name="T7" fmla="*/ 151 h 187"/>
                <a:gd name="T8" fmla="*/ 0 w 223"/>
                <a:gd name="T9" fmla="*/ 111 h 187"/>
                <a:gd name="T10" fmla="*/ 0 w 223"/>
                <a:gd name="T11" fmla="*/ 40 h 187"/>
                <a:gd name="T12" fmla="*/ 40 w 223"/>
                <a:gd name="T13" fmla="*/ 0 h 187"/>
                <a:gd name="T14" fmla="*/ 183 w 223"/>
                <a:gd name="T15" fmla="*/ 0 h 187"/>
                <a:gd name="T16" fmla="*/ 223 w 223"/>
                <a:gd name="T17" fmla="*/ 40 h 187"/>
                <a:gd name="T18" fmla="*/ 223 w 223"/>
                <a:gd name="T19" fmla="*/ 111 h 187"/>
                <a:gd name="T20" fmla="*/ 188 w 223"/>
                <a:gd name="T21" fmla="*/ 150 h 187"/>
                <a:gd name="T22" fmla="*/ 188 w 223"/>
                <a:gd name="T23" fmla="*/ 183 h 187"/>
                <a:gd name="T24" fmla="*/ 185 w 223"/>
                <a:gd name="T25" fmla="*/ 187 h 187"/>
                <a:gd name="T26" fmla="*/ 184 w 223"/>
                <a:gd name="T27" fmla="*/ 187 h 187"/>
                <a:gd name="T28" fmla="*/ 40 w 223"/>
                <a:gd name="T29" fmla="*/ 8 h 187"/>
                <a:gd name="T30" fmla="*/ 8 w 223"/>
                <a:gd name="T31" fmla="*/ 40 h 187"/>
                <a:gd name="T32" fmla="*/ 8 w 223"/>
                <a:gd name="T33" fmla="*/ 111 h 187"/>
                <a:gd name="T34" fmla="*/ 40 w 223"/>
                <a:gd name="T35" fmla="*/ 143 h 187"/>
                <a:gd name="T36" fmla="*/ 148 w 223"/>
                <a:gd name="T37" fmla="*/ 143 h 187"/>
                <a:gd name="T38" fmla="*/ 151 w 223"/>
                <a:gd name="T39" fmla="*/ 144 h 187"/>
                <a:gd name="T40" fmla="*/ 180 w 223"/>
                <a:gd name="T41" fmla="*/ 173 h 187"/>
                <a:gd name="T42" fmla="*/ 180 w 223"/>
                <a:gd name="T43" fmla="*/ 147 h 187"/>
                <a:gd name="T44" fmla="*/ 184 w 223"/>
                <a:gd name="T45" fmla="*/ 143 h 187"/>
                <a:gd name="T46" fmla="*/ 215 w 223"/>
                <a:gd name="T47" fmla="*/ 111 h 187"/>
                <a:gd name="T48" fmla="*/ 215 w 223"/>
                <a:gd name="T49" fmla="*/ 40 h 187"/>
                <a:gd name="T50" fmla="*/ 183 w 223"/>
                <a:gd name="T51" fmla="*/ 8 h 187"/>
                <a:gd name="T52" fmla="*/ 40 w 223"/>
                <a:gd name="T53" fmla="*/ 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3" h="187">
                  <a:moveTo>
                    <a:pt x="184" y="187"/>
                  </a:moveTo>
                  <a:cubicBezTo>
                    <a:pt x="183" y="187"/>
                    <a:pt x="182" y="187"/>
                    <a:pt x="181" y="186"/>
                  </a:cubicBezTo>
                  <a:cubicBezTo>
                    <a:pt x="146" y="151"/>
                    <a:pt x="146" y="151"/>
                    <a:pt x="146" y="151"/>
                  </a:cubicBezTo>
                  <a:cubicBezTo>
                    <a:pt x="40" y="151"/>
                    <a:pt x="40" y="151"/>
                    <a:pt x="40" y="151"/>
                  </a:cubicBezTo>
                  <a:cubicBezTo>
                    <a:pt x="18" y="151"/>
                    <a:pt x="0" y="133"/>
                    <a:pt x="0" y="111"/>
                  </a:cubicBezTo>
                  <a:cubicBezTo>
                    <a:pt x="0" y="40"/>
                    <a:pt x="0" y="40"/>
                    <a:pt x="0" y="40"/>
                  </a:cubicBezTo>
                  <a:cubicBezTo>
                    <a:pt x="0" y="18"/>
                    <a:pt x="18" y="0"/>
                    <a:pt x="40" y="0"/>
                  </a:cubicBezTo>
                  <a:cubicBezTo>
                    <a:pt x="183" y="0"/>
                    <a:pt x="183" y="0"/>
                    <a:pt x="183" y="0"/>
                  </a:cubicBezTo>
                  <a:cubicBezTo>
                    <a:pt x="205" y="0"/>
                    <a:pt x="223" y="18"/>
                    <a:pt x="223" y="40"/>
                  </a:cubicBezTo>
                  <a:cubicBezTo>
                    <a:pt x="223" y="111"/>
                    <a:pt x="223" y="111"/>
                    <a:pt x="223" y="111"/>
                  </a:cubicBezTo>
                  <a:cubicBezTo>
                    <a:pt x="223" y="132"/>
                    <a:pt x="208" y="148"/>
                    <a:pt x="188" y="150"/>
                  </a:cubicBezTo>
                  <a:cubicBezTo>
                    <a:pt x="188" y="183"/>
                    <a:pt x="188" y="183"/>
                    <a:pt x="188" y="183"/>
                  </a:cubicBezTo>
                  <a:cubicBezTo>
                    <a:pt x="188" y="185"/>
                    <a:pt x="187" y="186"/>
                    <a:pt x="185" y="187"/>
                  </a:cubicBezTo>
                  <a:cubicBezTo>
                    <a:pt x="185" y="187"/>
                    <a:pt x="184" y="187"/>
                    <a:pt x="184" y="187"/>
                  </a:cubicBezTo>
                  <a:moveTo>
                    <a:pt x="40" y="8"/>
                  </a:moveTo>
                  <a:cubicBezTo>
                    <a:pt x="22" y="8"/>
                    <a:pt x="8" y="23"/>
                    <a:pt x="8" y="40"/>
                  </a:cubicBezTo>
                  <a:cubicBezTo>
                    <a:pt x="8" y="111"/>
                    <a:pt x="8" y="111"/>
                    <a:pt x="8" y="111"/>
                  </a:cubicBezTo>
                  <a:cubicBezTo>
                    <a:pt x="8" y="128"/>
                    <a:pt x="22" y="143"/>
                    <a:pt x="40" y="143"/>
                  </a:cubicBezTo>
                  <a:cubicBezTo>
                    <a:pt x="148" y="143"/>
                    <a:pt x="148" y="143"/>
                    <a:pt x="148" y="143"/>
                  </a:cubicBezTo>
                  <a:cubicBezTo>
                    <a:pt x="149" y="143"/>
                    <a:pt x="150" y="143"/>
                    <a:pt x="151" y="144"/>
                  </a:cubicBezTo>
                  <a:cubicBezTo>
                    <a:pt x="180" y="173"/>
                    <a:pt x="180" y="173"/>
                    <a:pt x="180" y="173"/>
                  </a:cubicBezTo>
                  <a:cubicBezTo>
                    <a:pt x="180" y="147"/>
                    <a:pt x="180" y="147"/>
                    <a:pt x="180" y="147"/>
                  </a:cubicBezTo>
                  <a:cubicBezTo>
                    <a:pt x="180" y="144"/>
                    <a:pt x="182" y="143"/>
                    <a:pt x="184" y="143"/>
                  </a:cubicBezTo>
                  <a:cubicBezTo>
                    <a:pt x="201" y="143"/>
                    <a:pt x="215" y="129"/>
                    <a:pt x="215" y="111"/>
                  </a:cubicBezTo>
                  <a:cubicBezTo>
                    <a:pt x="215" y="40"/>
                    <a:pt x="215" y="40"/>
                    <a:pt x="215" y="40"/>
                  </a:cubicBezTo>
                  <a:cubicBezTo>
                    <a:pt x="215" y="23"/>
                    <a:pt x="200" y="8"/>
                    <a:pt x="183" y="8"/>
                  </a:cubicBezTo>
                  <a:lnTo>
                    <a:pt x="4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35"/>
              <a:endParaRPr lang="en-US">
                <a:solidFill>
                  <a:srgbClr val="FFFFFF"/>
                </a:solidFill>
              </a:endParaRPr>
            </a:p>
          </p:txBody>
        </p:sp>
      </p:grpSp>
    </p:spTree>
    <p:extLst>
      <p:ext uri="{BB962C8B-B14F-4D97-AF65-F5344CB8AC3E}">
        <p14:creationId xmlns:p14="http://schemas.microsoft.com/office/powerpoint/2010/main" val="1892426397"/>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Announcement,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4"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835"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Announcement</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1"/>
            <a:ext cx="4959201" cy="346249"/>
          </a:xfrm>
        </p:spPr>
        <p:txBody>
          <a:bodyPr>
            <a:noAutofit/>
          </a:bodyPr>
          <a:lstStyle>
            <a:lvl1pPr marL="0" indent="0" algn="l" defTabSz="685835"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19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86" tIns="34294" rIns="68586" bIns="34294" numCol="1" anchor="t" anchorCtr="0" compatLnSpc="1">
            <a:prstTxWarp prst="textNoShape">
              <a:avLst/>
            </a:prstTxWarp>
          </a:bodyPr>
          <a:lstStyle/>
          <a:p>
            <a:pPr defTabSz="685835"/>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5"/>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3"/>
            <a:ext cx="4959201" cy="1142621"/>
          </a:xfrm>
        </p:spPr>
        <p:txBody>
          <a:bodyPr anchor="ctr" anchorCtr="0">
            <a:noAutofit/>
          </a:bodyPr>
          <a:lstStyle>
            <a:lvl1pPr algn="l" defTabSz="685835" rtl="0" eaLnBrk="1" latinLnBrk="0" hangingPunct="1">
              <a:lnSpc>
                <a:spcPct val="90000"/>
              </a:lnSpc>
              <a:spcBef>
                <a:spcPct val="0"/>
              </a:spcBef>
              <a:buNone/>
              <a:defRPr lang="en-US" sz="3000" b="1" kern="1200" cap="none" spc="-75" baseline="0" dirty="0">
                <a:ln w="3175">
                  <a:noFill/>
                </a:ln>
                <a:solidFill>
                  <a:schemeClr val="accent3">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0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grpSp>
        <p:nvGrpSpPr>
          <p:cNvPr id="17" name="Orange Tile"/>
          <p:cNvGrpSpPr/>
          <p:nvPr userDrawn="1"/>
        </p:nvGrpSpPr>
        <p:grpSpPr>
          <a:xfrm>
            <a:off x="762091" y="2390612"/>
            <a:ext cx="2120991" cy="2120439"/>
            <a:chOff x="1351800" y="-1084759"/>
            <a:chExt cx="2827252" cy="2827252"/>
          </a:xfrm>
        </p:grpSpPr>
        <p:sp>
          <p:nvSpPr>
            <p:cNvPr id="18" name="Rectangle 17"/>
            <p:cNvSpPr/>
            <p:nvPr/>
          </p:nvSpPr>
          <p:spPr bwMode="auto">
            <a:xfrm>
              <a:off x="1351800" y="-1084759"/>
              <a:ext cx="2827252" cy="282725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2" name="Freeform 21"/>
            <p:cNvSpPr>
              <a:spLocks noEditPoints="1"/>
            </p:cNvSpPr>
            <p:nvPr/>
          </p:nvSpPr>
          <p:spPr bwMode="auto">
            <a:xfrm>
              <a:off x="2005011" y="-436308"/>
              <a:ext cx="1522413" cy="1530350"/>
            </a:xfrm>
            <a:custGeom>
              <a:avLst/>
              <a:gdLst>
                <a:gd name="T0" fmla="*/ 6 w 187"/>
                <a:gd name="T1" fmla="*/ 188 h 188"/>
                <a:gd name="T2" fmla="*/ 129 w 187"/>
                <a:gd name="T3" fmla="*/ 64 h 188"/>
                <a:gd name="T4" fmla="*/ 180 w 187"/>
                <a:gd name="T5" fmla="*/ 115 h 188"/>
                <a:gd name="T6" fmla="*/ 185 w 187"/>
                <a:gd name="T7" fmla="*/ 116 h 188"/>
                <a:gd name="T8" fmla="*/ 187 w 187"/>
                <a:gd name="T9" fmla="*/ 112 h 188"/>
                <a:gd name="T10" fmla="*/ 187 w 187"/>
                <a:gd name="T11" fmla="*/ 4 h 188"/>
                <a:gd name="T12" fmla="*/ 183 w 187"/>
                <a:gd name="T13" fmla="*/ 0 h 188"/>
                <a:gd name="T14" fmla="*/ 75 w 187"/>
                <a:gd name="T15" fmla="*/ 0 h 188"/>
                <a:gd name="T16" fmla="*/ 71 w 187"/>
                <a:gd name="T17" fmla="*/ 3 h 188"/>
                <a:gd name="T18" fmla="*/ 71 w 187"/>
                <a:gd name="T19" fmla="*/ 4 h 188"/>
                <a:gd name="T20" fmla="*/ 72 w 187"/>
                <a:gd name="T21" fmla="*/ 7 h 188"/>
                <a:gd name="T22" fmla="*/ 123 w 187"/>
                <a:gd name="T23" fmla="*/ 58 h 188"/>
                <a:gd name="T24" fmla="*/ 0 w 187"/>
                <a:gd name="T25" fmla="*/ 182 h 188"/>
                <a:gd name="T26" fmla="*/ 6 w 187"/>
                <a:gd name="T27" fmla="*/ 188 h 188"/>
                <a:gd name="T28" fmla="*/ 179 w 187"/>
                <a:gd name="T29" fmla="*/ 8 h 188"/>
                <a:gd name="T30" fmla="*/ 179 w 187"/>
                <a:gd name="T31" fmla="*/ 103 h 188"/>
                <a:gd name="T32" fmla="*/ 85 w 187"/>
                <a:gd name="T33" fmla="*/ 8 h 188"/>
                <a:gd name="T34" fmla="*/ 179 w 187"/>
                <a:gd name="T35" fmla="*/ 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7" h="188">
                  <a:moveTo>
                    <a:pt x="6" y="188"/>
                  </a:moveTo>
                  <a:cubicBezTo>
                    <a:pt x="129" y="64"/>
                    <a:pt x="129" y="64"/>
                    <a:pt x="129" y="64"/>
                  </a:cubicBezTo>
                  <a:cubicBezTo>
                    <a:pt x="180" y="115"/>
                    <a:pt x="180" y="115"/>
                    <a:pt x="180" y="115"/>
                  </a:cubicBezTo>
                  <a:cubicBezTo>
                    <a:pt x="181" y="116"/>
                    <a:pt x="183" y="117"/>
                    <a:pt x="185" y="116"/>
                  </a:cubicBezTo>
                  <a:cubicBezTo>
                    <a:pt x="186" y="116"/>
                    <a:pt x="187" y="114"/>
                    <a:pt x="187" y="112"/>
                  </a:cubicBezTo>
                  <a:cubicBezTo>
                    <a:pt x="187" y="4"/>
                    <a:pt x="187" y="4"/>
                    <a:pt x="187" y="4"/>
                  </a:cubicBezTo>
                  <a:cubicBezTo>
                    <a:pt x="187" y="2"/>
                    <a:pt x="185" y="0"/>
                    <a:pt x="183" y="0"/>
                  </a:cubicBezTo>
                  <a:cubicBezTo>
                    <a:pt x="75" y="0"/>
                    <a:pt x="75" y="0"/>
                    <a:pt x="75" y="0"/>
                  </a:cubicBezTo>
                  <a:cubicBezTo>
                    <a:pt x="73" y="0"/>
                    <a:pt x="72" y="1"/>
                    <a:pt x="71" y="3"/>
                  </a:cubicBezTo>
                  <a:cubicBezTo>
                    <a:pt x="71" y="3"/>
                    <a:pt x="71" y="4"/>
                    <a:pt x="71" y="4"/>
                  </a:cubicBezTo>
                  <a:cubicBezTo>
                    <a:pt x="71" y="6"/>
                    <a:pt x="71" y="7"/>
                    <a:pt x="72" y="7"/>
                  </a:cubicBezTo>
                  <a:cubicBezTo>
                    <a:pt x="123" y="58"/>
                    <a:pt x="123" y="58"/>
                    <a:pt x="123" y="58"/>
                  </a:cubicBezTo>
                  <a:cubicBezTo>
                    <a:pt x="0" y="182"/>
                    <a:pt x="0" y="182"/>
                    <a:pt x="0" y="182"/>
                  </a:cubicBezTo>
                  <a:lnTo>
                    <a:pt x="6" y="188"/>
                  </a:lnTo>
                  <a:close/>
                  <a:moveTo>
                    <a:pt x="179" y="8"/>
                  </a:moveTo>
                  <a:cubicBezTo>
                    <a:pt x="179" y="103"/>
                    <a:pt x="179" y="103"/>
                    <a:pt x="179" y="103"/>
                  </a:cubicBezTo>
                  <a:cubicBezTo>
                    <a:pt x="85" y="8"/>
                    <a:pt x="85" y="8"/>
                    <a:pt x="85" y="8"/>
                  </a:cubicBezTo>
                  <a:lnTo>
                    <a:pt x="179" y="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685835"/>
              <a:endParaRPr lang="en-US">
                <a:solidFill>
                  <a:srgbClr val="FFFFFF"/>
                </a:solidFill>
              </a:endParaRPr>
            </a:p>
          </p:txBody>
        </p:sp>
      </p:grpSp>
    </p:spTree>
    <p:extLst>
      <p:ext uri="{BB962C8B-B14F-4D97-AF65-F5344CB8AC3E}">
        <p14:creationId xmlns:p14="http://schemas.microsoft.com/office/powerpoint/2010/main" val="1886046710"/>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4"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835"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Title</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1"/>
            <a:ext cx="4959201" cy="346249"/>
          </a:xfrm>
        </p:spPr>
        <p:txBody>
          <a:bodyPr>
            <a:noAutofit/>
          </a:bodyPr>
          <a:lstStyle>
            <a:lvl1pPr marL="0" indent="0" algn="l" defTabSz="685835"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19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86" tIns="34294" rIns="68586" bIns="34294" numCol="1" anchor="t" anchorCtr="0" compatLnSpc="1">
            <a:prstTxWarp prst="textNoShape">
              <a:avLst/>
            </a:prstTxWarp>
          </a:bodyPr>
          <a:lstStyle/>
          <a:p>
            <a:pPr defTabSz="685835"/>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5"/>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3"/>
            <a:ext cx="4959201" cy="1142621"/>
          </a:xfrm>
        </p:spPr>
        <p:txBody>
          <a:bodyPr anchor="ctr" anchorCtr="0">
            <a:noAutofit/>
          </a:bodyPr>
          <a:lstStyle>
            <a:lvl1pPr algn="l" defTabSz="685835" rtl="0" eaLnBrk="1" latinLnBrk="0" hangingPunct="1">
              <a:lnSpc>
                <a:spcPct val="90000"/>
              </a:lnSpc>
              <a:spcBef>
                <a:spcPct val="0"/>
              </a:spcBef>
              <a:buNone/>
              <a:defRPr lang="en-US" sz="3000" b="1" kern="1200" cap="none" spc="-75" baseline="0" dirty="0">
                <a:ln w="3175">
                  <a:noFill/>
                </a:ln>
                <a:solidFill>
                  <a:schemeClr val="accent4">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0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grpSp>
        <p:nvGrpSpPr>
          <p:cNvPr id="19" name="Teal Tile"/>
          <p:cNvGrpSpPr/>
          <p:nvPr userDrawn="1"/>
        </p:nvGrpSpPr>
        <p:grpSpPr>
          <a:xfrm>
            <a:off x="762091" y="2390353"/>
            <a:ext cx="2120991" cy="2120439"/>
            <a:chOff x="823093" y="-1413626"/>
            <a:chExt cx="2827252" cy="2827252"/>
          </a:xfrm>
        </p:grpSpPr>
        <p:sp>
          <p:nvSpPr>
            <p:cNvPr id="20" name="Rectangle 19"/>
            <p:cNvSpPr/>
            <p:nvPr/>
          </p:nvSpPr>
          <p:spPr bwMode="auto">
            <a:xfrm>
              <a:off x="823093" y="-1413626"/>
              <a:ext cx="2827252" cy="282725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1" name="Freeform 20"/>
            <p:cNvSpPr>
              <a:spLocks noEditPoints="1"/>
            </p:cNvSpPr>
            <p:nvPr/>
          </p:nvSpPr>
          <p:spPr bwMode="auto">
            <a:xfrm>
              <a:off x="1397725" y="-232569"/>
              <a:ext cx="1677988" cy="465138"/>
            </a:xfrm>
            <a:custGeom>
              <a:avLst/>
              <a:gdLst>
                <a:gd name="T0" fmla="*/ 0 w 209"/>
                <a:gd name="T1" fmla="*/ 25 h 58"/>
                <a:gd name="T2" fmla="*/ 20 w 209"/>
                <a:gd name="T3" fmla="*/ 25 h 58"/>
                <a:gd name="T4" fmla="*/ 20 w 209"/>
                <a:gd name="T5" fmla="*/ 33 h 58"/>
                <a:gd name="T6" fmla="*/ 0 w 209"/>
                <a:gd name="T7" fmla="*/ 33 h 58"/>
                <a:gd name="T8" fmla="*/ 0 w 209"/>
                <a:gd name="T9" fmla="*/ 25 h 58"/>
                <a:gd name="T10" fmla="*/ 40 w 209"/>
                <a:gd name="T11" fmla="*/ 33 h 58"/>
                <a:gd name="T12" fmla="*/ 60 w 209"/>
                <a:gd name="T13" fmla="*/ 33 h 58"/>
                <a:gd name="T14" fmla="*/ 60 w 209"/>
                <a:gd name="T15" fmla="*/ 25 h 58"/>
                <a:gd name="T16" fmla="*/ 40 w 209"/>
                <a:gd name="T17" fmla="*/ 25 h 58"/>
                <a:gd name="T18" fmla="*/ 40 w 209"/>
                <a:gd name="T19" fmla="*/ 33 h 58"/>
                <a:gd name="T20" fmla="*/ 120 w 209"/>
                <a:gd name="T21" fmla="*/ 33 h 58"/>
                <a:gd name="T22" fmla="*/ 140 w 209"/>
                <a:gd name="T23" fmla="*/ 33 h 58"/>
                <a:gd name="T24" fmla="*/ 140 w 209"/>
                <a:gd name="T25" fmla="*/ 25 h 58"/>
                <a:gd name="T26" fmla="*/ 120 w 209"/>
                <a:gd name="T27" fmla="*/ 25 h 58"/>
                <a:gd name="T28" fmla="*/ 120 w 209"/>
                <a:gd name="T29" fmla="*/ 33 h 58"/>
                <a:gd name="T30" fmla="*/ 80 w 209"/>
                <a:gd name="T31" fmla="*/ 33 h 58"/>
                <a:gd name="T32" fmla="*/ 100 w 209"/>
                <a:gd name="T33" fmla="*/ 33 h 58"/>
                <a:gd name="T34" fmla="*/ 100 w 209"/>
                <a:gd name="T35" fmla="*/ 25 h 58"/>
                <a:gd name="T36" fmla="*/ 80 w 209"/>
                <a:gd name="T37" fmla="*/ 25 h 58"/>
                <a:gd name="T38" fmla="*/ 80 w 209"/>
                <a:gd name="T39" fmla="*/ 33 h 58"/>
                <a:gd name="T40" fmla="*/ 207 w 209"/>
                <a:gd name="T41" fmla="*/ 26 h 58"/>
                <a:gd name="T42" fmla="*/ 181 w 209"/>
                <a:gd name="T43" fmla="*/ 0 h 58"/>
                <a:gd name="T44" fmla="*/ 175 w 209"/>
                <a:gd name="T45" fmla="*/ 6 h 58"/>
                <a:gd name="T46" fmla="*/ 195 w 209"/>
                <a:gd name="T47" fmla="*/ 25 h 58"/>
                <a:gd name="T48" fmla="*/ 160 w 209"/>
                <a:gd name="T49" fmla="*/ 25 h 58"/>
                <a:gd name="T50" fmla="*/ 160 w 209"/>
                <a:gd name="T51" fmla="*/ 33 h 58"/>
                <a:gd name="T52" fmla="*/ 195 w 209"/>
                <a:gd name="T53" fmla="*/ 33 h 58"/>
                <a:gd name="T54" fmla="*/ 175 w 209"/>
                <a:gd name="T55" fmla="*/ 52 h 58"/>
                <a:gd name="T56" fmla="*/ 181 w 209"/>
                <a:gd name="T57" fmla="*/ 58 h 58"/>
                <a:gd name="T58" fmla="*/ 207 w 209"/>
                <a:gd name="T59" fmla="*/ 32 h 58"/>
                <a:gd name="T60" fmla="*/ 207 w 209"/>
                <a:gd name="T61" fmla="*/ 2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9" h="58">
                  <a:moveTo>
                    <a:pt x="0" y="25"/>
                  </a:moveTo>
                  <a:cubicBezTo>
                    <a:pt x="20" y="25"/>
                    <a:pt x="20" y="25"/>
                    <a:pt x="20" y="25"/>
                  </a:cubicBezTo>
                  <a:cubicBezTo>
                    <a:pt x="20" y="33"/>
                    <a:pt x="20" y="33"/>
                    <a:pt x="20" y="33"/>
                  </a:cubicBezTo>
                  <a:cubicBezTo>
                    <a:pt x="0" y="33"/>
                    <a:pt x="0" y="33"/>
                    <a:pt x="0" y="33"/>
                  </a:cubicBezTo>
                  <a:lnTo>
                    <a:pt x="0" y="25"/>
                  </a:lnTo>
                  <a:close/>
                  <a:moveTo>
                    <a:pt x="40" y="33"/>
                  </a:moveTo>
                  <a:cubicBezTo>
                    <a:pt x="60" y="33"/>
                    <a:pt x="60" y="33"/>
                    <a:pt x="60" y="33"/>
                  </a:cubicBezTo>
                  <a:cubicBezTo>
                    <a:pt x="60" y="25"/>
                    <a:pt x="60" y="25"/>
                    <a:pt x="60" y="25"/>
                  </a:cubicBezTo>
                  <a:cubicBezTo>
                    <a:pt x="40" y="25"/>
                    <a:pt x="40" y="25"/>
                    <a:pt x="40" y="25"/>
                  </a:cubicBezTo>
                  <a:lnTo>
                    <a:pt x="40" y="33"/>
                  </a:lnTo>
                  <a:close/>
                  <a:moveTo>
                    <a:pt x="120" y="33"/>
                  </a:moveTo>
                  <a:cubicBezTo>
                    <a:pt x="140" y="33"/>
                    <a:pt x="140" y="33"/>
                    <a:pt x="140" y="33"/>
                  </a:cubicBezTo>
                  <a:cubicBezTo>
                    <a:pt x="140" y="25"/>
                    <a:pt x="140" y="25"/>
                    <a:pt x="140" y="25"/>
                  </a:cubicBezTo>
                  <a:cubicBezTo>
                    <a:pt x="120" y="25"/>
                    <a:pt x="120" y="25"/>
                    <a:pt x="120" y="25"/>
                  </a:cubicBezTo>
                  <a:lnTo>
                    <a:pt x="120" y="33"/>
                  </a:lnTo>
                  <a:close/>
                  <a:moveTo>
                    <a:pt x="80" y="33"/>
                  </a:moveTo>
                  <a:cubicBezTo>
                    <a:pt x="100" y="33"/>
                    <a:pt x="100" y="33"/>
                    <a:pt x="100" y="33"/>
                  </a:cubicBezTo>
                  <a:cubicBezTo>
                    <a:pt x="100" y="25"/>
                    <a:pt x="100" y="25"/>
                    <a:pt x="100" y="25"/>
                  </a:cubicBezTo>
                  <a:cubicBezTo>
                    <a:pt x="80" y="25"/>
                    <a:pt x="80" y="25"/>
                    <a:pt x="80" y="25"/>
                  </a:cubicBezTo>
                  <a:lnTo>
                    <a:pt x="80" y="33"/>
                  </a:lnTo>
                  <a:close/>
                  <a:moveTo>
                    <a:pt x="207" y="26"/>
                  </a:moveTo>
                  <a:cubicBezTo>
                    <a:pt x="181" y="0"/>
                    <a:pt x="181" y="0"/>
                    <a:pt x="181" y="0"/>
                  </a:cubicBezTo>
                  <a:cubicBezTo>
                    <a:pt x="175" y="6"/>
                    <a:pt x="175" y="6"/>
                    <a:pt x="175" y="6"/>
                  </a:cubicBezTo>
                  <a:cubicBezTo>
                    <a:pt x="195" y="25"/>
                    <a:pt x="195" y="25"/>
                    <a:pt x="195" y="25"/>
                  </a:cubicBezTo>
                  <a:cubicBezTo>
                    <a:pt x="160" y="25"/>
                    <a:pt x="160" y="25"/>
                    <a:pt x="160" y="25"/>
                  </a:cubicBezTo>
                  <a:cubicBezTo>
                    <a:pt x="160" y="33"/>
                    <a:pt x="160" y="33"/>
                    <a:pt x="160" y="33"/>
                  </a:cubicBezTo>
                  <a:cubicBezTo>
                    <a:pt x="195" y="33"/>
                    <a:pt x="195" y="33"/>
                    <a:pt x="195" y="33"/>
                  </a:cubicBezTo>
                  <a:cubicBezTo>
                    <a:pt x="175" y="52"/>
                    <a:pt x="175" y="52"/>
                    <a:pt x="175" y="52"/>
                  </a:cubicBezTo>
                  <a:cubicBezTo>
                    <a:pt x="181" y="58"/>
                    <a:pt x="181" y="58"/>
                    <a:pt x="181" y="58"/>
                  </a:cubicBezTo>
                  <a:cubicBezTo>
                    <a:pt x="207" y="32"/>
                    <a:pt x="207" y="32"/>
                    <a:pt x="207" y="32"/>
                  </a:cubicBezTo>
                  <a:cubicBezTo>
                    <a:pt x="209" y="30"/>
                    <a:pt x="209" y="28"/>
                    <a:pt x="207"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35"/>
              <a:endParaRPr lang="en-US">
                <a:solidFill>
                  <a:srgbClr val="FFFFFF"/>
                </a:solidFill>
              </a:endParaRPr>
            </a:p>
          </p:txBody>
        </p:sp>
      </p:grpSp>
    </p:spTree>
    <p:extLst>
      <p:ext uri="{BB962C8B-B14F-4D97-AF65-F5344CB8AC3E}">
        <p14:creationId xmlns:p14="http://schemas.microsoft.com/office/powerpoint/2010/main" val="3653290359"/>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457049"/>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1"/>
            <a:ext cx="8363938" cy="150041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99136034"/>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89436" y="1085851"/>
            <a:ext cx="8363938" cy="150041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95584469"/>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1"/>
            <a:ext cx="4115872" cy="1323439"/>
          </a:xfrm>
        </p:spPr>
        <p:txBody>
          <a:bodyPr/>
          <a:lstStyle>
            <a:lvl1pPr marL="255005" indent="-255005">
              <a:lnSpc>
                <a:spcPct val="90000"/>
              </a:lnSpc>
              <a:defRPr sz="2100"/>
            </a:lvl1pPr>
            <a:lvl2pPr marL="505050" indent="-244091">
              <a:lnSpc>
                <a:spcPct val="90000"/>
              </a:lnSpc>
              <a:defRPr sz="1800"/>
            </a:lvl2pPr>
            <a:lvl3pPr marL="715404" indent="-216308">
              <a:lnSpc>
                <a:spcPct val="90000"/>
              </a:lnSpc>
              <a:defRPr sz="1500"/>
            </a:lvl3pPr>
            <a:lvl4pPr marL="920797" indent="-205393">
              <a:lnSpc>
                <a:spcPct val="90000"/>
              </a:lnSpc>
              <a:defRPr sz="1400"/>
            </a:lvl4pPr>
            <a:lvl5pPr marL="1137106" indent="-210354">
              <a:lnSpc>
                <a:spcPct val="90000"/>
              </a:lnSpc>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1"/>
            <a:ext cx="4115872" cy="1323439"/>
          </a:xfrm>
        </p:spPr>
        <p:txBody>
          <a:bodyPr/>
          <a:lstStyle>
            <a:lvl1pPr marL="260959" indent="-260959">
              <a:lnSpc>
                <a:spcPct val="90000"/>
              </a:lnSpc>
              <a:defRPr sz="2100"/>
            </a:lvl1pPr>
            <a:lvl2pPr marL="505050" indent="-255005">
              <a:lnSpc>
                <a:spcPct val="90000"/>
              </a:lnSpc>
              <a:defRPr sz="1800"/>
            </a:lvl2pPr>
            <a:lvl3pPr marL="721358" indent="-227223">
              <a:lnSpc>
                <a:spcPct val="90000"/>
              </a:lnSpc>
              <a:defRPr sz="1500"/>
            </a:lvl3pPr>
            <a:lvl4pPr marL="920797" indent="-199440">
              <a:lnSpc>
                <a:spcPct val="90000"/>
              </a:lnSpc>
              <a:defRPr sz="1400"/>
            </a:lvl4pPr>
            <a:lvl5pPr marL="1137106" indent="-205393">
              <a:lnSpc>
                <a:spcPct val="90000"/>
              </a:lnSpc>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88612285"/>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389436" y="1055204"/>
            <a:ext cx="4115872" cy="263149"/>
          </a:xfrm>
        </p:spPr>
        <p:txBody>
          <a:bodyPr anchor="b"/>
          <a:lstStyle>
            <a:lvl1pPr marL="0" indent="0">
              <a:lnSpc>
                <a:spcPct val="90000"/>
              </a:lnSpc>
              <a:spcBef>
                <a:spcPts val="0"/>
              </a:spcBef>
              <a:buNone/>
              <a:defRPr sz="1900" b="1"/>
            </a:lvl1pPr>
            <a:lvl2pPr marL="342918" indent="0">
              <a:buNone/>
              <a:defRPr sz="1500" b="1"/>
            </a:lvl2pPr>
            <a:lvl3pPr marL="685835" indent="0">
              <a:buNone/>
              <a:defRPr sz="1400" b="1"/>
            </a:lvl3pPr>
            <a:lvl4pPr marL="1028753" indent="0">
              <a:buNone/>
              <a:defRPr sz="1200" b="1"/>
            </a:lvl4pPr>
            <a:lvl5pPr marL="1371671" indent="0">
              <a:buNone/>
              <a:defRPr sz="1200" b="1"/>
            </a:lvl5pPr>
            <a:lvl6pPr marL="1714588" indent="0">
              <a:buNone/>
              <a:defRPr sz="1200" b="1"/>
            </a:lvl6pPr>
            <a:lvl7pPr marL="2057506" indent="0">
              <a:buNone/>
              <a:defRPr sz="1200" b="1"/>
            </a:lvl7pPr>
            <a:lvl8pPr marL="2400424" indent="0">
              <a:buNone/>
              <a:defRPr sz="1200" b="1"/>
            </a:lvl8pPr>
            <a:lvl9pPr marL="274334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600201"/>
            <a:ext cx="4114800" cy="1166473"/>
          </a:xfrm>
        </p:spPr>
        <p:txBody>
          <a:bodyPr/>
          <a:lstStyle>
            <a:lvl1pPr marL="211347" indent="-211347">
              <a:defRPr sz="1700"/>
            </a:lvl1pPr>
            <a:lvl2pPr marL="421702" indent="-199440">
              <a:defRPr sz="1500"/>
            </a:lvl2pPr>
            <a:lvl3pPr marL="610227" indent="-182572">
              <a:defRPr sz="1400"/>
            </a:lvl3pPr>
            <a:lvl4pPr marL="787838" indent="-171658">
              <a:defRPr sz="1300"/>
            </a:lvl4pPr>
            <a:lvl5pPr marL="959495" indent="-154790">
              <a:defRPr sz="13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55204"/>
            <a:ext cx="4115872" cy="263149"/>
          </a:xfrm>
        </p:spPr>
        <p:txBody>
          <a:bodyPr anchor="b"/>
          <a:lstStyle>
            <a:lvl1pPr marL="0" indent="0">
              <a:lnSpc>
                <a:spcPct val="90000"/>
              </a:lnSpc>
              <a:spcBef>
                <a:spcPts val="0"/>
              </a:spcBef>
              <a:buNone/>
              <a:defRPr sz="1900" b="1"/>
            </a:lvl1pPr>
            <a:lvl2pPr marL="342918" indent="0">
              <a:buNone/>
              <a:defRPr sz="1500" b="1"/>
            </a:lvl2pPr>
            <a:lvl3pPr marL="685835" indent="0">
              <a:buNone/>
              <a:defRPr sz="1400" b="1"/>
            </a:lvl3pPr>
            <a:lvl4pPr marL="1028753" indent="0">
              <a:buNone/>
              <a:defRPr sz="1200" b="1"/>
            </a:lvl4pPr>
            <a:lvl5pPr marL="1371671" indent="0">
              <a:buNone/>
              <a:defRPr sz="1200" b="1"/>
            </a:lvl5pPr>
            <a:lvl6pPr marL="1714588" indent="0">
              <a:buNone/>
              <a:defRPr sz="1200" b="1"/>
            </a:lvl6pPr>
            <a:lvl7pPr marL="2057506" indent="0">
              <a:buNone/>
              <a:defRPr sz="1200" b="1"/>
            </a:lvl7pPr>
            <a:lvl8pPr marL="2400424" indent="0">
              <a:buNone/>
              <a:defRPr sz="1200" b="1"/>
            </a:lvl8pPr>
            <a:lvl9pPr marL="274334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600201"/>
            <a:ext cx="4115872" cy="1183964"/>
          </a:xfrm>
        </p:spPr>
        <p:txBody>
          <a:bodyPr/>
          <a:lstStyle>
            <a:lvl1pPr marL="222261" indent="-222261">
              <a:defRPr sz="1700"/>
            </a:lvl1pPr>
            <a:lvl2pPr marL="427655" indent="-205393">
              <a:defRPr sz="1500"/>
            </a:lvl2pPr>
            <a:lvl3pPr marL="616180" indent="-183564">
              <a:defRPr sz="1400"/>
            </a:lvl3pPr>
            <a:lvl4pPr marL="787838" indent="-177611">
              <a:defRPr sz="1300"/>
            </a:lvl4pPr>
            <a:lvl5pPr marL="959495" indent="-165704">
              <a:defRPr sz="13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14788177"/>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3768497889"/>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444402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reserve="1">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type="blank" preserve="1">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7731365"/>
      </p:ext>
    </p:extLst>
  </p:cSld>
  <p:clrMapOvr>
    <a:masterClrMapping/>
  </p:clrMapOvr>
  <p:transition>
    <p:fade/>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type="blank" preserve="1">
  <p:cSld name="MS_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3105308"/>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51"/>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38603654"/>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51"/>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306" tIns="57152" rIns="114306" bIns="57152"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718464284"/>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2"/>
            <a:ext cx="8363938" cy="457048"/>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0" indent="0">
              <a:spcBef>
                <a:spcPts val="0"/>
              </a:spcBef>
              <a:spcAft>
                <a:spcPts val="675"/>
              </a:spcAft>
              <a:buNone/>
              <a:defRPr sz="3000" spc="-75" baseline="0">
                <a:latin typeface="Segoe UI Light" pitchFamily="34" charset="0"/>
              </a:defRPr>
            </a:lvl1pPr>
            <a:lvl2pPr marL="0" indent="0">
              <a:spcBef>
                <a:spcPts val="0"/>
              </a:spcBef>
              <a:spcAft>
                <a:spcPts val="300"/>
              </a:spcAft>
              <a:buNone/>
              <a:defRPr sz="1500" spc="-38" baseline="0"/>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87878106"/>
      </p:ext>
    </p:extLst>
  </p:cSld>
  <p:clrMapOvr>
    <a:masterClrMapping/>
  </p:clrMapOvr>
  <p:transition spd="slow">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7" name="Title Placeholder 1"/>
          <p:cNvSpPr>
            <a:spLocks noGrp="1"/>
          </p:cNvSpPr>
          <p:nvPr>
            <p:ph type="title"/>
          </p:nvPr>
        </p:nvSpPr>
        <p:spPr bwMode="auto">
          <a:xfrm>
            <a:off x="326461" y="157278"/>
            <a:ext cx="8525904" cy="45704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itle style</a:t>
            </a:r>
          </a:p>
        </p:txBody>
      </p:sp>
    </p:spTree>
    <p:extLst>
      <p:ext uri="{BB962C8B-B14F-4D97-AF65-F5344CB8AC3E}">
        <p14:creationId xmlns:p14="http://schemas.microsoft.com/office/powerpoint/2010/main" val="523996818"/>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8" y="3459257"/>
            <a:ext cx="4091815" cy="858697"/>
          </a:xfrm>
        </p:spPr>
        <p:txBody>
          <a:bodyPr/>
          <a:lstStyle>
            <a:lvl1pPr marL="0" indent="0">
              <a:buFont typeface="Arial" pitchFamily="34" charset="0"/>
              <a:buNone/>
              <a:defRPr sz="1800">
                <a:solidFill>
                  <a:schemeClr val="bg1">
                    <a:alpha val="98000"/>
                  </a:schemeClr>
                </a:solidFill>
                <a:latin typeface="+mj-lt"/>
              </a:defRPr>
            </a:lvl1pPr>
            <a:lvl2pPr marL="345312" indent="0">
              <a:buFont typeface="Arial" pitchFamily="34" charset="0"/>
              <a:buNone/>
              <a:defRPr/>
            </a:lvl2pPr>
            <a:lvl3pPr marL="641807" indent="0">
              <a:buFont typeface="Arial" pitchFamily="34" charset="0"/>
              <a:buNone/>
              <a:defRPr/>
            </a:lvl3pPr>
            <a:lvl4pPr marL="944253" indent="0">
              <a:buFont typeface="Arial" pitchFamily="34" charset="0"/>
              <a:buNone/>
              <a:defRPr/>
            </a:lvl4pPr>
            <a:lvl5pPr marL="120383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494632410"/>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253" indent="-3024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832" indent="-25958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268" indent="-2524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4779411"/>
            <a:ext cx="1261769" cy="146626"/>
          </a:xfrm>
          <a:prstGeom prst="rect">
            <a:avLst/>
          </a:prstGeom>
        </p:spPr>
      </p:pic>
    </p:spTree>
    <p:extLst>
      <p:ext uri="{BB962C8B-B14F-4D97-AF65-F5344CB8AC3E}">
        <p14:creationId xmlns:p14="http://schemas.microsoft.com/office/powerpoint/2010/main" val="716058453"/>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835"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78" indent="-257198">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98" indent="-257198">
              <a:spcBef>
                <a:spcPts val="0"/>
              </a:spcBef>
              <a:spcAft>
                <a:spcPts val="300"/>
              </a:spcAft>
              <a:buFont typeface="Arial" pitchFamily="34" charset="0"/>
              <a:buChar char="•"/>
              <a:defRPr/>
            </a:lvl5pPr>
            <a:lvl6pPr marL="775168" indent="-257198">
              <a:buFont typeface="Arial" pitchFamily="34" charset="0"/>
              <a:buChar char="•"/>
              <a:defRPr sz="1800">
                <a:gradFill>
                  <a:gsLst>
                    <a:gs pos="0">
                      <a:srgbClr val="595959"/>
                    </a:gs>
                    <a:gs pos="86000">
                      <a:srgbClr val="595959"/>
                    </a:gs>
                  </a:gsLst>
                  <a:lin ang="5400000" scaled="0"/>
                </a:gradFill>
              </a:defRPr>
            </a:lvl6pPr>
            <a:lvl7pPr marL="941871" indent="-169084">
              <a:defRPr>
                <a:gradFill>
                  <a:gsLst>
                    <a:gs pos="0">
                      <a:srgbClr val="595959"/>
                    </a:gs>
                    <a:gs pos="86000">
                      <a:srgbClr val="595959"/>
                    </a:gs>
                  </a:gsLst>
                  <a:lin ang="5400000" scaled="0"/>
                </a:gradFill>
              </a:defRPr>
            </a:lvl7pPr>
            <a:lvl8pPr marL="1115718" indent="-173847">
              <a:defRPr>
                <a:gradFill>
                  <a:gsLst>
                    <a:gs pos="0">
                      <a:srgbClr val="595959"/>
                    </a:gs>
                    <a:gs pos="86000">
                      <a:srgbClr val="595959"/>
                    </a:gs>
                  </a:gsLst>
                  <a:lin ang="5400000" scaled="0"/>
                </a:gradFill>
              </a:defRPr>
            </a:lvl8pPr>
          </a:lstStyle>
          <a:p>
            <a:pPr marL="259580" lvl="0" indent="-259580" algn="l" defTabSz="685835" rtl="0" eaLnBrk="1" latinLnBrk="0" hangingPunct="1">
              <a:lnSpc>
                <a:spcPct val="90000"/>
              </a:lnSpc>
              <a:spcBef>
                <a:spcPct val="20000"/>
              </a:spcBef>
              <a:buSzPct val="90000"/>
              <a:buFont typeface="Arial" pitchFamily="34" charset="0"/>
              <a:buChar char="•"/>
            </a:pPr>
            <a:r>
              <a:rPr lang="en-US" smtClean="0"/>
              <a:t>Click to edit Master text styles</a:t>
            </a:r>
          </a:p>
          <a:p>
            <a:pPr marL="259580" lvl="1" indent="-259580" algn="l" defTabSz="685835" rtl="0" eaLnBrk="1" latinLnBrk="0" hangingPunct="1">
              <a:lnSpc>
                <a:spcPct val="90000"/>
              </a:lnSpc>
              <a:spcBef>
                <a:spcPct val="20000"/>
              </a:spcBef>
              <a:buSzPct val="90000"/>
              <a:buFont typeface="Arial" pitchFamily="34" charset="0"/>
              <a:buChar char="•"/>
            </a:pPr>
            <a:r>
              <a:rPr lang="en-US" smtClean="0"/>
              <a:t>Second level</a:t>
            </a:r>
          </a:p>
          <a:p>
            <a:pPr marL="259580" lvl="2" indent="-259580" algn="l" defTabSz="685835" rtl="0" eaLnBrk="1" latinLnBrk="0" hangingPunct="1">
              <a:lnSpc>
                <a:spcPct val="90000"/>
              </a:lnSpc>
              <a:spcBef>
                <a:spcPct val="20000"/>
              </a:spcBef>
              <a:buSzPct val="90000"/>
              <a:buFont typeface="Arial" pitchFamily="34" charset="0"/>
              <a:buChar char="•"/>
            </a:pPr>
            <a:r>
              <a:rPr lang="en-US" smtClean="0"/>
              <a:t>Third level</a:t>
            </a:r>
          </a:p>
          <a:p>
            <a:pPr marL="259580" lvl="3" indent="-259580" algn="l" defTabSz="685835" rtl="0" eaLnBrk="1" latinLnBrk="0" hangingPunct="1">
              <a:lnSpc>
                <a:spcPct val="90000"/>
              </a:lnSpc>
              <a:spcBef>
                <a:spcPct val="20000"/>
              </a:spcBef>
              <a:buSzPct val="90000"/>
              <a:buFont typeface="Arial" pitchFamily="34" charset="0"/>
              <a:buChar char="•"/>
            </a:pPr>
            <a:r>
              <a:rPr lang="en-US" smtClean="0"/>
              <a:t>Fourth level</a:t>
            </a:r>
          </a:p>
          <a:p>
            <a:pPr marL="259580" lvl="4" indent="-259580" algn="l" defTabSz="685835"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4779411"/>
            <a:ext cx="1261769" cy="146626"/>
          </a:xfrm>
          <a:prstGeom prst="rect">
            <a:avLst/>
          </a:prstGeom>
        </p:spPr>
      </p:pic>
    </p:spTree>
    <p:extLst>
      <p:ext uri="{BB962C8B-B14F-4D97-AF65-F5344CB8AC3E}">
        <p14:creationId xmlns:p14="http://schemas.microsoft.com/office/powerpoint/2010/main" val="1114001878"/>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6008" indent="-256008">
              <a:lnSpc>
                <a:spcPct val="90000"/>
              </a:lnSpc>
              <a:buSzPct val="80000"/>
              <a:buFont typeface="Arial" pitchFamily="34" charset="0"/>
              <a:buChar char="•"/>
              <a:defRPr sz="2400"/>
            </a:lvl1pPr>
            <a:lvl2pPr marL="470340" indent="-214332">
              <a:lnSpc>
                <a:spcPct val="90000"/>
              </a:lnSpc>
              <a:buSzPct val="80000"/>
              <a:buFont typeface="Arial" pitchFamily="34" charset="0"/>
              <a:buChar char="•"/>
              <a:defRPr sz="2100"/>
            </a:lvl2pPr>
            <a:lvl3pPr marL="685862" indent="-215523">
              <a:lnSpc>
                <a:spcPct val="90000"/>
              </a:lnSpc>
              <a:buSzPct val="80000"/>
              <a:buFont typeface="Arial" pitchFamily="34" charset="0"/>
              <a:buChar char="•"/>
              <a:defRPr sz="1800"/>
            </a:lvl3pPr>
            <a:lvl4pPr marL="1284803" indent="-169084">
              <a:lnSpc>
                <a:spcPct val="90000"/>
              </a:lnSpc>
              <a:buSzPct val="80000"/>
              <a:buFont typeface="Arial" pitchFamily="34" charset="0"/>
              <a:buChar char="•"/>
              <a:defRPr sz="1500"/>
            </a:lvl4pPr>
            <a:lvl5pPr marL="1458649" indent="-173847">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931" indent="-342931">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940" indent="-342931">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538" indent="-257198">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917" indent="-257198">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2001" indent="-257198">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6008" lvl="0" indent="-256008" algn="l" defTabSz="685835" rtl="0" eaLnBrk="1" latinLnBrk="0" hangingPunct="1">
              <a:lnSpc>
                <a:spcPct val="90000"/>
              </a:lnSpc>
              <a:spcBef>
                <a:spcPct val="20000"/>
              </a:spcBef>
              <a:buSzPct val="80000"/>
              <a:buFont typeface="Arial" pitchFamily="34" charset="0"/>
              <a:buChar char="•"/>
            </a:pPr>
            <a:r>
              <a:rPr lang="en-US" smtClean="0"/>
              <a:t>Click to edit Master text styles</a:t>
            </a:r>
          </a:p>
          <a:p>
            <a:pPr marL="256008" lvl="1" indent="-256008" algn="l" defTabSz="685835" rtl="0" eaLnBrk="1" latinLnBrk="0" hangingPunct="1">
              <a:lnSpc>
                <a:spcPct val="90000"/>
              </a:lnSpc>
              <a:spcBef>
                <a:spcPct val="20000"/>
              </a:spcBef>
              <a:buSzPct val="80000"/>
              <a:buFont typeface="Arial" pitchFamily="34" charset="0"/>
              <a:buChar char="•"/>
            </a:pPr>
            <a:r>
              <a:rPr lang="en-US" smtClean="0"/>
              <a:t>Second level</a:t>
            </a:r>
          </a:p>
          <a:p>
            <a:pPr marL="256008" lvl="2" indent="-256008" algn="l" defTabSz="685835" rtl="0" eaLnBrk="1" latinLnBrk="0" hangingPunct="1">
              <a:lnSpc>
                <a:spcPct val="90000"/>
              </a:lnSpc>
              <a:spcBef>
                <a:spcPct val="20000"/>
              </a:spcBef>
              <a:buSzPct val="80000"/>
              <a:buFont typeface="Arial" pitchFamily="34" charset="0"/>
              <a:buChar char="•"/>
            </a:pPr>
            <a:r>
              <a:rPr lang="en-US" smtClean="0"/>
              <a:t>Third level</a:t>
            </a:r>
          </a:p>
          <a:p>
            <a:pPr marL="256008" lvl="3" indent="-256008" algn="l" defTabSz="685835" rtl="0" eaLnBrk="1" latinLnBrk="0" hangingPunct="1">
              <a:lnSpc>
                <a:spcPct val="90000"/>
              </a:lnSpc>
              <a:spcBef>
                <a:spcPct val="20000"/>
              </a:spcBef>
              <a:buSzPct val="80000"/>
              <a:buFont typeface="Arial" pitchFamily="34" charset="0"/>
              <a:buChar char="•"/>
            </a:pPr>
            <a:r>
              <a:rPr lang="en-US" smtClean="0"/>
              <a:t>Fourth level</a:t>
            </a:r>
          </a:p>
          <a:p>
            <a:pPr marL="256008" lvl="4" indent="-256008" algn="l" defTabSz="685835"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4779411"/>
            <a:ext cx="1261769" cy="146626"/>
          </a:xfrm>
          <a:prstGeom prst="rect">
            <a:avLst/>
          </a:prstGeom>
        </p:spPr>
      </p:pic>
    </p:spTree>
    <p:extLst>
      <p:ext uri="{BB962C8B-B14F-4D97-AF65-F5344CB8AC3E}">
        <p14:creationId xmlns:p14="http://schemas.microsoft.com/office/powerpoint/2010/main" val="411104811"/>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blank" preserve="1">
  <p:cSld name="MS_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0726943"/>
      </p:ext>
    </p:extLst>
  </p:cSld>
  <p:clrMapOvr>
    <a:masterClrMapping/>
  </p:clrMapOvr>
  <p:transition>
    <p:fade/>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1"/>
            <a:ext cx="4115872" cy="332399"/>
          </a:xfrm>
        </p:spPr>
        <p:txBody>
          <a:bodyPr anchor="b"/>
          <a:lstStyle>
            <a:lvl1pPr marL="0" indent="0">
              <a:lnSpc>
                <a:spcPct val="90000"/>
              </a:lnSpc>
              <a:spcBef>
                <a:spcPts val="0"/>
              </a:spcBef>
              <a:buNone/>
              <a:defRPr sz="2400" b="0">
                <a:latin typeface="Segoe UI Light" pitchFamily="34" charset="0"/>
              </a:defRPr>
            </a:lvl1pPr>
            <a:lvl2pPr marL="342918" indent="0">
              <a:buNone/>
              <a:defRPr sz="1500" b="1"/>
            </a:lvl2pPr>
            <a:lvl3pPr marL="685835" indent="0">
              <a:buNone/>
              <a:defRPr sz="1400" b="1"/>
            </a:lvl3pPr>
            <a:lvl4pPr marL="1028753" indent="0">
              <a:buNone/>
              <a:defRPr sz="1200" b="1"/>
            </a:lvl4pPr>
            <a:lvl5pPr marL="1371671" indent="0">
              <a:buNone/>
              <a:defRPr sz="1200" b="1"/>
            </a:lvl5pPr>
            <a:lvl6pPr marL="1714588" indent="0">
              <a:buNone/>
              <a:defRPr sz="1200" b="1"/>
            </a:lvl6pPr>
            <a:lvl7pPr marL="2057506" indent="0">
              <a:buNone/>
              <a:defRPr sz="1200" b="1"/>
            </a:lvl7pPr>
            <a:lvl8pPr marL="2400424" indent="0">
              <a:buNone/>
              <a:defRPr sz="1200" b="1"/>
            </a:lvl8pPr>
            <a:lvl9pPr marL="274334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8"/>
            <a:ext cx="4114800" cy="1458861"/>
          </a:xfrm>
        </p:spPr>
        <p:txBody>
          <a:bodyPr/>
          <a:lstStyle>
            <a:lvl1pPr marL="302446" indent="-302446">
              <a:buSzPct val="80000"/>
              <a:buFont typeface="Arial" pitchFamily="34" charset="0"/>
              <a:buChar char="•"/>
              <a:defRPr sz="2100"/>
            </a:lvl1pPr>
            <a:lvl2pPr marL="558455" indent="-241719">
              <a:buSzPct val="80000"/>
              <a:buFont typeface="Arial" pitchFamily="34" charset="0"/>
              <a:buChar char="•"/>
              <a:defRPr sz="2100"/>
            </a:lvl2pPr>
            <a:lvl3pPr marL="770405" indent="-211951" defTabSz="772787">
              <a:buSzPct val="80000"/>
              <a:buFont typeface="Arial" pitchFamily="34" charset="0"/>
              <a:buChar char="•"/>
              <a:defRPr sz="1800"/>
            </a:lvl3pPr>
            <a:lvl4pPr marL="988310" indent="-215523">
              <a:buSzPct val="80000"/>
              <a:buFont typeface="Arial" pitchFamily="34" charset="0"/>
              <a:buChar char="•"/>
              <a:defRPr sz="1500"/>
            </a:lvl4pPr>
            <a:lvl5pPr marL="1156203" indent="-167894">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1"/>
            <a:ext cx="4115872" cy="332399"/>
          </a:xfrm>
        </p:spPr>
        <p:txBody>
          <a:bodyPr anchor="b"/>
          <a:lstStyle>
            <a:lvl1pPr marL="0" indent="0">
              <a:lnSpc>
                <a:spcPct val="90000"/>
              </a:lnSpc>
              <a:spcBef>
                <a:spcPts val="0"/>
              </a:spcBef>
              <a:buNone/>
              <a:defRPr sz="2400" b="0">
                <a:latin typeface="Segoe UI Light" pitchFamily="34" charset="0"/>
              </a:defRPr>
            </a:lvl1pPr>
            <a:lvl2pPr marL="342918" indent="0">
              <a:buNone/>
              <a:defRPr sz="1500" b="1"/>
            </a:lvl2pPr>
            <a:lvl3pPr marL="685835" indent="0">
              <a:buNone/>
              <a:defRPr sz="1400" b="1"/>
            </a:lvl3pPr>
            <a:lvl4pPr marL="1028753" indent="0">
              <a:buNone/>
              <a:defRPr sz="1200" b="1"/>
            </a:lvl4pPr>
            <a:lvl5pPr marL="1371671" indent="0">
              <a:buNone/>
              <a:defRPr sz="1200" b="1"/>
            </a:lvl5pPr>
            <a:lvl6pPr marL="1714588" indent="0">
              <a:buNone/>
              <a:defRPr sz="1200" b="1"/>
            </a:lvl6pPr>
            <a:lvl7pPr marL="2057506" indent="0">
              <a:buNone/>
              <a:defRPr sz="1200" b="1"/>
            </a:lvl7pPr>
            <a:lvl8pPr marL="2400424" indent="0">
              <a:buNone/>
              <a:defRPr sz="1200" b="1"/>
            </a:lvl8pPr>
            <a:lvl9pPr marL="274334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8"/>
            <a:ext cx="4115872" cy="1458861"/>
          </a:xfrm>
        </p:spPr>
        <p:txBody>
          <a:bodyPr/>
          <a:lstStyle>
            <a:lvl1pPr marL="222261" indent="-22226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31" indent="-34293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934" indent="-257198">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985" indent="-257198">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653" indent="-257198">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985" indent="-257198">
              <a:defRPr sz="1200"/>
            </a:lvl6pPr>
            <a:lvl7pPr marL="1202642" indent="-214332">
              <a:defRPr sz="1200"/>
            </a:lvl7pPr>
            <a:lvl8pPr>
              <a:defRPr sz="1200"/>
            </a:lvl8pPr>
            <a:lvl9pPr>
              <a:defRPr sz="1200"/>
            </a:lvl9pPr>
          </a:lstStyle>
          <a:p>
            <a:pPr marL="302446" lvl="0" indent="-302446" algn="l" defTabSz="685835" rtl="0" eaLnBrk="1" latinLnBrk="0" hangingPunct="1">
              <a:lnSpc>
                <a:spcPct val="90000"/>
              </a:lnSpc>
              <a:spcBef>
                <a:spcPct val="20000"/>
              </a:spcBef>
              <a:buSzPct val="80000"/>
            </a:pPr>
            <a:r>
              <a:rPr lang="en-US" smtClean="0"/>
              <a:t>Click to edit Master text styles</a:t>
            </a:r>
          </a:p>
          <a:p>
            <a:pPr marL="302446" lvl="1" indent="-302446" algn="l" defTabSz="685835" rtl="0" eaLnBrk="1" latinLnBrk="0" hangingPunct="1">
              <a:lnSpc>
                <a:spcPct val="90000"/>
              </a:lnSpc>
              <a:spcBef>
                <a:spcPct val="20000"/>
              </a:spcBef>
              <a:buSzPct val="80000"/>
            </a:pPr>
            <a:r>
              <a:rPr lang="en-US" smtClean="0"/>
              <a:t>Second level</a:t>
            </a:r>
          </a:p>
          <a:p>
            <a:pPr marL="302446" lvl="2" indent="-302446" algn="l" defTabSz="685835" rtl="0" eaLnBrk="1" latinLnBrk="0" hangingPunct="1">
              <a:lnSpc>
                <a:spcPct val="90000"/>
              </a:lnSpc>
              <a:spcBef>
                <a:spcPct val="20000"/>
              </a:spcBef>
              <a:buSzPct val="80000"/>
            </a:pPr>
            <a:r>
              <a:rPr lang="en-US" smtClean="0"/>
              <a:t>Third level</a:t>
            </a:r>
          </a:p>
          <a:p>
            <a:pPr marL="302446" lvl="3" indent="-302446" algn="l" defTabSz="685835" rtl="0" eaLnBrk="1" latinLnBrk="0" hangingPunct="1">
              <a:lnSpc>
                <a:spcPct val="90000"/>
              </a:lnSpc>
              <a:spcBef>
                <a:spcPct val="20000"/>
              </a:spcBef>
              <a:buSzPct val="80000"/>
            </a:pPr>
            <a:r>
              <a:rPr lang="en-US" smtClean="0"/>
              <a:t>Fourth level</a:t>
            </a:r>
          </a:p>
          <a:p>
            <a:pPr marL="302446" lvl="4" indent="-302446" algn="l" defTabSz="685835"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4779411"/>
            <a:ext cx="1261769" cy="146626"/>
          </a:xfrm>
          <a:prstGeom prst="rect">
            <a:avLst/>
          </a:prstGeom>
        </p:spPr>
      </p:pic>
    </p:spTree>
    <p:extLst>
      <p:ext uri="{BB962C8B-B14F-4D97-AF65-F5344CB8AC3E}">
        <p14:creationId xmlns:p14="http://schemas.microsoft.com/office/powerpoint/2010/main" val="244487166"/>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4779411"/>
            <a:ext cx="1261769" cy="146626"/>
          </a:xfrm>
          <a:prstGeom prst="rect">
            <a:avLst/>
          </a:prstGeom>
        </p:spPr>
      </p:pic>
    </p:spTree>
    <p:extLst>
      <p:ext uri="{BB962C8B-B14F-4D97-AF65-F5344CB8AC3E}">
        <p14:creationId xmlns:p14="http://schemas.microsoft.com/office/powerpoint/2010/main" val="3227361627"/>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4779411"/>
            <a:ext cx="1261769" cy="146626"/>
          </a:xfrm>
          <a:prstGeom prst="rect">
            <a:avLst/>
          </a:prstGeom>
        </p:spPr>
      </p:pic>
    </p:spTree>
    <p:extLst>
      <p:ext uri="{BB962C8B-B14F-4D97-AF65-F5344CB8AC3E}">
        <p14:creationId xmlns:p14="http://schemas.microsoft.com/office/powerpoint/2010/main" val="219606077"/>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80" rIns="68559" bIns="34280" numCol="1" spcCol="0" rtlCol="0" anchor="ctr" anchorCtr="0" compatLnSpc="1">
            <a:prstTxWarp prst="textNoShape">
              <a:avLst/>
            </a:prstTxWarp>
          </a:bodyPr>
          <a:lstStyle/>
          <a:p>
            <a:pPr algn="ctr" defTabSz="685403"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835"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47"/>
            <a:ext cx="5210341" cy="931409"/>
          </a:xfrm>
        </p:spPr>
        <p:txBody>
          <a:bodyPr lIns="137172" tIns="137172" anchor="ctr" anchorCtr="0"/>
          <a:lstStyle>
            <a:lvl1pPr marL="431046" indent="-428664">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835" rtl="0" eaLnBrk="1" latinLnBrk="0" hangingPunct="1">
              <a:lnSpc>
                <a:spcPct val="90000"/>
              </a:lnSpc>
              <a:spcBef>
                <a:spcPts val="0"/>
              </a:spcBef>
              <a:spcAft>
                <a:spcPts val="675"/>
              </a:spcAft>
              <a:buSzPct val="80000"/>
            </a:pPr>
            <a:r>
              <a:rPr lang="en-US" smtClean="0"/>
              <a:t>Click to edit Master text styles</a:t>
            </a:r>
          </a:p>
          <a:p>
            <a:pPr marL="2382" lvl="1" indent="0" algn="l" defTabSz="685835"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35" tIns="30867" rIns="61735" bIns="30867" numCol="1" anchor="t" anchorCtr="0" compatLnSpc="1">
            <a:prstTxWarp prst="textNoShape">
              <a:avLst/>
            </a:prstTxWarp>
          </a:bodyPr>
          <a:lstStyle/>
          <a:p>
            <a:pPr defTabSz="914324"/>
            <a:endParaRPr lang="en-US" sz="1200">
              <a:solidFill>
                <a:srgbClr val="292929"/>
              </a:solidFill>
            </a:endParaRPr>
          </a:p>
        </p:txBody>
      </p:sp>
    </p:spTree>
    <p:extLst>
      <p:ext uri="{BB962C8B-B14F-4D97-AF65-F5344CB8AC3E}">
        <p14:creationId xmlns:p14="http://schemas.microsoft.com/office/powerpoint/2010/main" val="3727182834"/>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1"/>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5"/>
            <a:ext cx="3154788" cy="346249"/>
          </a:xfrm>
        </p:spPr>
        <p:txBody>
          <a:bodyPr>
            <a:noAutofit/>
          </a:bodyPr>
          <a:lstStyle>
            <a:lvl1pPr marL="0" indent="0" algn="l" defTabSz="68583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6"/>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24"/>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24"/>
              <a:endParaRPr lang="en-US" sz="1800">
                <a:solidFill>
                  <a:srgbClr val="292929"/>
                </a:solidFill>
              </a:endParaRPr>
            </a:p>
          </p:txBody>
        </p:sp>
      </p:grpSp>
    </p:spTree>
    <p:extLst>
      <p:ext uri="{BB962C8B-B14F-4D97-AF65-F5344CB8AC3E}">
        <p14:creationId xmlns:p14="http://schemas.microsoft.com/office/powerpoint/2010/main" val="175670950"/>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1"/>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5"/>
            <a:ext cx="3154788" cy="346249"/>
          </a:xfrm>
        </p:spPr>
        <p:txBody>
          <a:bodyPr>
            <a:noAutofit/>
          </a:bodyPr>
          <a:lstStyle>
            <a:lvl1pPr marL="0" indent="0" algn="l" defTabSz="68583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86"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6" tIns="34294" rIns="68586" bIns="34294" numCol="1" anchor="t" anchorCtr="0" compatLnSpc="1">
            <a:prstTxWarp prst="textNoShape">
              <a:avLst/>
            </a:prstTxWarp>
          </a:bodyPr>
          <a:lstStyle/>
          <a:p>
            <a:pPr defTabSz="914324"/>
            <a:endParaRPr lang="en-US" sz="1800">
              <a:solidFill>
                <a:srgbClr val="292929"/>
              </a:solidFill>
            </a:endParaRPr>
          </a:p>
        </p:txBody>
      </p:sp>
    </p:spTree>
    <p:extLst>
      <p:ext uri="{BB962C8B-B14F-4D97-AF65-F5344CB8AC3E}">
        <p14:creationId xmlns:p14="http://schemas.microsoft.com/office/powerpoint/2010/main" val="1233478746"/>
      </p:ext>
    </p:extLst>
  </p:cSld>
  <p:clrMapOvr>
    <a:masterClrMapping/>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1"/>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5"/>
            <a:ext cx="3154788" cy="346249"/>
          </a:xfrm>
        </p:spPr>
        <p:txBody>
          <a:bodyPr>
            <a:noAutofit/>
          </a:bodyPr>
          <a:lstStyle>
            <a:lvl1pPr marL="0" indent="0" algn="l" defTabSz="68583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199"/>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24"/>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24"/>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24"/>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24"/>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24"/>
              <a:endParaRPr lang="en-US" sz="1200">
                <a:solidFill>
                  <a:srgbClr val="292929"/>
                </a:solidFill>
              </a:endParaRPr>
            </a:p>
          </p:txBody>
        </p:sp>
      </p:grpSp>
    </p:spTree>
    <p:extLst>
      <p:ext uri="{BB962C8B-B14F-4D97-AF65-F5344CB8AC3E}">
        <p14:creationId xmlns:p14="http://schemas.microsoft.com/office/powerpoint/2010/main" val="3335479815"/>
      </p:ext>
    </p:extLst>
  </p:cSld>
  <p:clrMapOvr>
    <a:masterClrMapping/>
  </p:clrMapOvr>
  <p:transition>
    <p:fade/>
  </p:transition>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9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1"/>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5"/>
            <a:ext cx="3154788" cy="346249"/>
          </a:xfrm>
        </p:spPr>
        <p:txBody>
          <a:bodyPr>
            <a:noAutofit/>
          </a:bodyPr>
          <a:lstStyle>
            <a:lvl1pPr marL="0" indent="0" algn="l" defTabSz="68583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11" name="Freeform 18"/>
          <p:cNvSpPr>
            <a:spLocks noEditPoints="1"/>
          </p:cNvSpPr>
          <p:nvPr userDrawn="1"/>
        </p:nvSpPr>
        <p:spPr bwMode="black">
          <a:xfrm>
            <a:off x="6360832" y="1213828"/>
            <a:ext cx="1833797" cy="2236633"/>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FFFFFF"/>
          </a:solidFill>
          <a:ln>
            <a:noFill/>
          </a:ln>
        </p:spPr>
        <p:txBody>
          <a:bodyPr vert="horz" wrap="square" lIns="61735" tIns="30867" rIns="61735" bIns="30867" numCol="1" anchor="t" anchorCtr="0" compatLnSpc="1">
            <a:prstTxWarp prst="textNoShape">
              <a:avLst/>
            </a:prstTxWarp>
          </a:bodyPr>
          <a:lstStyle/>
          <a:p>
            <a:pPr defTabSz="914324"/>
            <a:endParaRPr lang="en-US" sz="1200">
              <a:solidFill>
                <a:srgbClr val="292929"/>
              </a:solidFill>
            </a:endParaRPr>
          </a:p>
        </p:txBody>
      </p:sp>
    </p:spTree>
    <p:extLst>
      <p:ext uri="{BB962C8B-B14F-4D97-AF65-F5344CB8AC3E}">
        <p14:creationId xmlns:p14="http://schemas.microsoft.com/office/powerpoint/2010/main" val="3660474872"/>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8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1"/>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5"/>
            <a:ext cx="3154788" cy="346249"/>
          </a:xfrm>
        </p:spPr>
        <p:txBody>
          <a:bodyPr>
            <a:noAutofit/>
          </a:bodyPr>
          <a:lstStyle>
            <a:lvl1pPr marL="0" indent="0" algn="l" defTabSz="68583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11" name="Group 10"/>
          <p:cNvGrpSpPr/>
          <p:nvPr userDrawn="1"/>
        </p:nvGrpSpPr>
        <p:grpSpPr bwMode="black">
          <a:xfrm>
            <a:off x="6179539" y="1526890"/>
            <a:ext cx="1945482" cy="1504269"/>
            <a:chOff x="813584" y="4312262"/>
            <a:chExt cx="478309" cy="370027"/>
          </a:xfrm>
        </p:grpSpPr>
        <p:sp>
          <p:nvSpPr>
            <p:cNvPr id="13" name="Freeform 79"/>
            <p:cNvSpPr>
              <a:spLocks/>
            </p:cNvSpPr>
            <p:nvPr/>
          </p:nvSpPr>
          <p:spPr bwMode="black">
            <a:xfrm>
              <a:off x="813584" y="4503897"/>
              <a:ext cx="478309" cy="178392"/>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24"/>
              <a:endParaRPr lang="en-US" sz="1200">
                <a:solidFill>
                  <a:srgbClr val="292929"/>
                </a:solidFill>
              </a:endParaRPr>
            </a:p>
          </p:txBody>
        </p:sp>
        <p:sp>
          <p:nvSpPr>
            <p:cNvPr id="17" name="Freeform 80"/>
            <p:cNvSpPr>
              <a:spLocks noEditPoints="1"/>
            </p:cNvSpPr>
            <p:nvPr/>
          </p:nvSpPr>
          <p:spPr bwMode="black">
            <a:xfrm>
              <a:off x="813584" y="4312262"/>
              <a:ext cx="478309" cy="176834"/>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24"/>
              <a:endParaRPr lang="en-US" sz="1200">
                <a:solidFill>
                  <a:srgbClr val="292929"/>
                </a:solidFill>
              </a:endParaRPr>
            </a:p>
          </p:txBody>
        </p:sp>
      </p:grpSp>
    </p:spTree>
    <p:extLst>
      <p:ext uri="{BB962C8B-B14F-4D97-AF65-F5344CB8AC3E}">
        <p14:creationId xmlns:p14="http://schemas.microsoft.com/office/powerpoint/2010/main" val="638239927"/>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6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1"/>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5"/>
            <a:ext cx="3154788" cy="346249"/>
          </a:xfrm>
        </p:spPr>
        <p:txBody>
          <a:bodyPr>
            <a:noAutofit/>
          </a:bodyPr>
          <a:lstStyle>
            <a:lvl1pPr marL="0" indent="0" algn="l" defTabSz="68583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11" name="Freeform 6"/>
          <p:cNvSpPr>
            <a:spLocks noEditPoints="1"/>
          </p:cNvSpPr>
          <p:nvPr userDrawn="1"/>
        </p:nvSpPr>
        <p:spPr bwMode="auto">
          <a:xfrm>
            <a:off x="6220586"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6" tIns="34294" rIns="68586" bIns="34294" numCol="1" anchor="t" anchorCtr="0" compatLnSpc="1">
            <a:prstTxWarp prst="textNoShape">
              <a:avLst/>
            </a:prstTxWarp>
          </a:bodyPr>
          <a:lstStyle/>
          <a:p>
            <a:pPr defTabSz="914324"/>
            <a:endParaRPr lang="en-US" sz="1800">
              <a:solidFill>
                <a:srgbClr val="292929"/>
              </a:solidFill>
            </a:endParaRPr>
          </a:p>
        </p:txBody>
      </p:sp>
    </p:spTree>
    <p:extLst>
      <p:ext uri="{BB962C8B-B14F-4D97-AF65-F5344CB8AC3E}">
        <p14:creationId xmlns:p14="http://schemas.microsoft.com/office/powerpoint/2010/main" val="774013500"/>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52"/>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1"/>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5"/>
            <a:ext cx="3154788" cy="346249"/>
          </a:xfrm>
        </p:spPr>
        <p:txBody>
          <a:bodyPr>
            <a:noAutofit/>
          </a:bodyPr>
          <a:lstStyle>
            <a:lvl1pPr marL="0" indent="0" algn="l" defTabSz="68583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35" tIns="30867" rIns="61735" bIns="30867" numCol="1" anchor="t" anchorCtr="0" compatLnSpc="1">
            <a:prstTxWarp prst="textNoShape">
              <a:avLst/>
            </a:prstTxWarp>
          </a:bodyPr>
          <a:lstStyle/>
          <a:p>
            <a:pPr defTabSz="914324"/>
            <a:endParaRPr lang="en-US" sz="1200">
              <a:solidFill>
                <a:srgbClr val="292929"/>
              </a:solidFill>
            </a:endParaRPr>
          </a:p>
        </p:txBody>
      </p:sp>
    </p:spTree>
    <p:extLst>
      <p:ext uri="{BB962C8B-B14F-4D97-AF65-F5344CB8AC3E}">
        <p14:creationId xmlns:p14="http://schemas.microsoft.com/office/powerpoint/2010/main" val="2808329881"/>
      </p:ext>
    </p:extLst>
  </p:cSld>
  <p:clrMapOvr>
    <a:masterClrMapping/>
  </p:clrMapOvr>
  <p:transition>
    <p:fade/>
  </p:transition>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1"/>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5"/>
            <a:ext cx="3154788" cy="346249"/>
          </a:xfrm>
        </p:spPr>
        <p:txBody>
          <a:bodyPr>
            <a:noAutofit/>
          </a:bodyPr>
          <a:lstStyle>
            <a:lvl1pPr marL="0" indent="0" algn="l" defTabSz="68583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05"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24"/>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24"/>
              <a:endParaRPr lang="en-US" sz="1800">
                <a:solidFill>
                  <a:srgbClr val="292929"/>
                </a:solidFill>
              </a:endParaRPr>
            </a:p>
          </p:txBody>
        </p:sp>
      </p:grpSp>
    </p:spTree>
    <p:extLst>
      <p:ext uri="{BB962C8B-B14F-4D97-AF65-F5344CB8AC3E}">
        <p14:creationId xmlns:p14="http://schemas.microsoft.com/office/powerpoint/2010/main" val="2261404955"/>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7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1"/>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5"/>
            <a:ext cx="3154788" cy="346249"/>
          </a:xfrm>
        </p:spPr>
        <p:txBody>
          <a:bodyPr>
            <a:noAutofit/>
          </a:bodyPr>
          <a:lstStyle>
            <a:lvl1pPr marL="0" indent="0" algn="l" defTabSz="68583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4" name="Group 3"/>
          <p:cNvGrpSpPr/>
          <p:nvPr userDrawn="1"/>
        </p:nvGrpSpPr>
        <p:grpSpPr>
          <a:xfrm>
            <a:off x="6328853" y="1645496"/>
            <a:ext cx="799008" cy="2029122"/>
            <a:chOff x="8882758" y="1905000"/>
            <a:chExt cx="1277596" cy="3245368"/>
          </a:xfrm>
        </p:grpSpPr>
        <p:sp>
          <p:nvSpPr>
            <p:cNvPr id="12" name="Oval 6"/>
            <p:cNvSpPr>
              <a:spLocks noChangeArrowheads="1"/>
            </p:cNvSpPr>
            <p:nvPr userDrawn="1"/>
          </p:nvSpPr>
          <p:spPr bwMode="auto">
            <a:xfrm>
              <a:off x="9255454" y="1905000"/>
              <a:ext cx="529136" cy="539872"/>
            </a:xfrm>
            <a:prstGeom prst="ellipse">
              <a:avLst/>
            </a:pr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24"/>
              <a:endParaRPr lang="en-US" sz="1800">
                <a:solidFill>
                  <a:srgbClr val="292929"/>
                </a:solidFill>
              </a:endParaRPr>
            </a:p>
          </p:txBody>
        </p:sp>
        <p:sp>
          <p:nvSpPr>
            <p:cNvPr id="13" name="Freeform 12"/>
            <p:cNvSpPr>
              <a:spLocks/>
            </p:cNvSpPr>
            <p:nvPr userDrawn="1"/>
          </p:nvSpPr>
          <p:spPr bwMode="auto">
            <a:xfrm>
              <a:off x="8882758" y="2506221"/>
              <a:ext cx="1277596" cy="2644147"/>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24"/>
              <a:endParaRPr lang="en-US" sz="1800">
                <a:solidFill>
                  <a:srgbClr val="292929"/>
                </a:solidFill>
              </a:endParaRPr>
            </a:p>
          </p:txBody>
        </p:sp>
      </p:grpSp>
      <p:grpSp>
        <p:nvGrpSpPr>
          <p:cNvPr id="15" name="Group 14"/>
          <p:cNvGrpSpPr/>
          <p:nvPr userDrawn="1"/>
        </p:nvGrpSpPr>
        <p:grpSpPr>
          <a:xfrm>
            <a:off x="7423397" y="1645496"/>
            <a:ext cx="799008" cy="2029122"/>
            <a:chOff x="8882758" y="1905000"/>
            <a:chExt cx="1277596" cy="3245368"/>
          </a:xfrm>
        </p:grpSpPr>
        <p:sp>
          <p:nvSpPr>
            <p:cNvPr id="16" name="Oval 6"/>
            <p:cNvSpPr>
              <a:spLocks noChangeArrowheads="1"/>
            </p:cNvSpPr>
            <p:nvPr userDrawn="1"/>
          </p:nvSpPr>
          <p:spPr bwMode="auto">
            <a:xfrm>
              <a:off x="9255454" y="1905000"/>
              <a:ext cx="529136" cy="539872"/>
            </a:xfrm>
            <a:prstGeom prst="ellipse">
              <a:avLst/>
            </a:pr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24"/>
              <a:endParaRPr lang="en-US" sz="1800">
                <a:solidFill>
                  <a:srgbClr val="292929"/>
                </a:solidFill>
              </a:endParaRPr>
            </a:p>
          </p:txBody>
        </p:sp>
        <p:sp>
          <p:nvSpPr>
            <p:cNvPr id="17" name="Freeform 16"/>
            <p:cNvSpPr>
              <a:spLocks/>
            </p:cNvSpPr>
            <p:nvPr userDrawn="1"/>
          </p:nvSpPr>
          <p:spPr bwMode="auto">
            <a:xfrm>
              <a:off x="8882758" y="2506221"/>
              <a:ext cx="1277596" cy="2644147"/>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24"/>
              <a:endParaRPr lang="en-US" sz="1800">
                <a:solidFill>
                  <a:srgbClr val="292929"/>
                </a:solidFill>
              </a:endParaRPr>
            </a:p>
          </p:txBody>
        </p:sp>
      </p:grpSp>
      <p:grpSp>
        <p:nvGrpSpPr>
          <p:cNvPr id="18" name="Group 17"/>
          <p:cNvGrpSpPr/>
          <p:nvPr userDrawn="1"/>
        </p:nvGrpSpPr>
        <p:grpSpPr>
          <a:xfrm>
            <a:off x="6796406" y="1360335"/>
            <a:ext cx="958447" cy="2434026"/>
            <a:chOff x="8882758" y="1905000"/>
            <a:chExt cx="1277596" cy="3245368"/>
          </a:xfrm>
        </p:grpSpPr>
        <p:sp>
          <p:nvSpPr>
            <p:cNvPr id="19" name="Oval 6"/>
            <p:cNvSpPr>
              <a:spLocks noChangeArrowheads="1"/>
            </p:cNvSpPr>
            <p:nvPr userDrawn="1"/>
          </p:nvSpPr>
          <p:spPr bwMode="auto">
            <a:xfrm>
              <a:off x="9255454" y="1905000"/>
              <a:ext cx="529136" cy="539872"/>
            </a:xfrm>
            <a:prstGeom prst="ellipse">
              <a:avLst/>
            </a:pr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24"/>
              <a:endParaRPr lang="en-US" sz="1800">
                <a:solidFill>
                  <a:srgbClr val="292929"/>
                </a:solidFill>
              </a:endParaRPr>
            </a:p>
          </p:txBody>
        </p:sp>
        <p:sp>
          <p:nvSpPr>
            <p:cNvPr id="20" name="Freeform 19"/>
            <p:cNvSpPr>
              <a:spLocks/>
            </p:cNvSpPr>
            <p:nvPr userDrawn="1"/>
          </p:nvSpPr>
          <p:spPr bwMode="auto">
            <a:xfrm>
              <a:off x="8882758" y="2506221"/>
              <a:ext cx="1277596" cy="2644147"/>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24"/>
              <a:endParaRPr lang="en-US" sz="1800">
                <a:solidFill>
                  <a:srgbClr val="292929"/>
                </a:solidFill>
              </a:endParaRPr>
            </a:p>
          </p:txBody>
        </p:sp>
      </p:grpSp>
    </p:spTree>
    <p:extLst>
      <p:ext uri="{BB962C8B-B14F-4D97-AF65-F5344CB8AC3E}">
        <p14:creationId xmlns:p14="http://schemas.microsoft.com/office/powerpoint/2010/main" val="3669199484"/>
      </p:ext>
    </p:extLst>
  </p:cSld>
  <p:clrMapOvr>
    <a:masterClrMapping/>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2600758"/>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37"/>
            <a:ext cx="1880410" cy="218515"/>
          </a:xfrm>
          <a:prstGeom prst="rect">
            <a:avLst/>
          </a:prstGeom>
        </p:spPr>
      </p:pic>
    </p:spTree>
    <p:extLst>
      <p:ext uri="{BB962C8B-B14F-4D97-AF65-F5344CB8AC3E}">
        <p14:creationId xmlns:p14="http://schemas.microsoft.com/office/powerpoint/2010/main" val="1406277901"/>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75" tIns="34288" rIns="68575" bIns="34288" numCol="1" anchor="t" anchorCtr="0" compatLnSpc="1">
            <a:prstTxWarp prst="textNoShape">
              <a:avLst/>
            </a:prstTxWarp>
            <a:spAutoFit/>
          </a:bodyPr>
          <a:lstStyle/>
          <a:p>
            <a:pPr algn="ctr" defTabSz="685637"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637"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652475638"/>
      </p:ext>
    </p:extLst>
  </p:cSld>
  <p:clrMapOvr>
    <a:masterClrMapping/>
  </p:clrMapOvr>
  <p:transition>
    <p:fade/>
  </p:transition>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4"/>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83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83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89"/>
            <a:ext cx="1197051" cy="201275"/>
          </a:xfrm>
          <a:prstGeom prst="rect">
            <a:avLst/>
          </a:prstGeom>
          <a:noFill/>
          <a:ln>
            <a:noFill/>
          </a:ln>
        </p:spPr>
      </p:pic>
      <p:pic>
        <p:nvPicPr>
          <p:cNvPr id="7" name="Picture 6"/>
          <p:cNvPicPr>
            <a:picLocks noChangeAspect="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2172876264"/>
      </p:ext>
    </p:extLst>
  </p:cSld>
  <p:clrMapOvr>
    <a:masterClrMapping/>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12" indent="-345312">
              <a:buClr>
                <a:srgbClr val="FFFFFF"/>
              </a:buClr>
              <a:buSzPct val="70000"/>
              <a:buFontTx/>
              <a:buBlip>
                <a:blip r:embed="rId2"/>
              </a:buBlip>
              <a:defRPr>
                <a:gradFill>
                  <a:gsLst>
                    <a:gs pos="0">
                      <a:srgbClr val="FFFFFF"/>
                    </a:gs>
                    <a:gs pos="86000">
                      <a:srgbClr val="FFFFFF"/>
                    </a:gs>
                  </a:gsLst>
                  <a:lin ang="5400000" scaled="0"/>
                </a:gradFill>
              </a:defRPr>
            </a:lvl1pPr>
            <a:lvl2pPr marL="641807" indent="-296494">
              <a:buClr>
                <a:srgbClr val="FFFFFF"/>
              </a:buClr>
              <a:buSzPct val="70000"/>
              <a:buFontTx/>
              <a:buBlip>
                <a:blip r:embed="rId2"/>
              </a:buBlip>
              <a:defRPr>
                <a:gradFill>
                  <a:gsLst>
                    <a:gs pos="0">
                      <a:srgbClr val="FFFFFF"/>
                    </a:gs>
                    <a:gs pos="86000">
                      <a:srgbClr val="FFFFFF"/>
                    </a:gs>
                  </a:gsLst>
                  <a:lin ang="5400000" scaled="0"/>
                </a:gradFill>
              </a:defRPr>
            </a:lvl2pPr>
            <a:lvl3pPr marL="944253" indent="-302446">
              <a:buClr>
                <a:srgbClr val="FFFFFF"/>
              </a:buClr>
              <a:buSzPct val="70000"/>
              <a:buFontTx/>
              <a:buBlip>
                <a:blip r:embed="rId2"/>
              </a:buBlip>
              <a:defRPr>
                <a:gradFill>
                  <a:gsLst>
                    <a:gs pos="0">
                      <a:srgbClr val="FFFFFF"/>
                    </a:gs>
                    <a:gs pos="86000">
                      <a:srgbClr val="FFFFFF"/>
                    </a:gs>
                  </a:gsLst>
                  <a:lin ang="5400000" scaled="0"/>
                </a:gradFill>
              </a:defRPr>
            </a:lvl3pPr>
            <a:lvl4pPr marL="1203832" indent="-259580">
              <a:buClr>
                <a:srgbClr val="FFFFFF"/>
              </a:buClr>
              <a:buSzPct val="70000"/>
              <a:buFontTx/>
              <a:buBlip>
                <a:blip r:embed="rId2"/>
              </a:buBlip>
              <a:defRPr>
                <a:gradFill>
                  <a:gsLst>
                    <a:gs pos="0">
                      <a:srgbClr val="FFFFFF"/>
                    </a:gs>
                    <a:gs pos="86000">
                      <a:srgbClr val="FFFFFF"/>
                    </a:gs>
                  </a:gsLst>
                  <a:lin ang="5400000" scaled="0"/>
                </a:gradFill>
              </a:defRPr>
            </a:lvl4pPr>
            <a:lvl5pPr marL="1456268" indent="-25243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36653650"/>
      </p:ext>
    </p:extLst>
  </p:cSld>
  <p:clrMapOvr>
    <a:masterClrMapping/>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12" indent="-345312">
              <a:buClr>
                <a:srgbClr val="FFFFFF"/>
              </a:buClr>
              <a:buSzPct val="70000"/>
              <a:buFontTx/>
              <a:buBlip>
                <a:blip r:embed="rId2"/>
              </a:buBlip>
              <a:defRPr>
                <a:gradFill>
                  <a:gsLst>
                    <a:gs pos="0">
                      <a:srgbClr val="FFFFFF"/>
                    </a:gs>
                    <a:gs pos="86000">
                      <a:srgbClr val="FFFFFF"/>
                    </a:gs>
                  </a:gsLst>
                  <a:lin ang="5400000" scaled="0"/>
                </a:gradFill>
              </a:defRPr>
            </a:lvl1pPr>
            <a:lvl2pPr marL="641807" indent="-296494">
              <a:buClr>
                <a:srgbClr val="FFFFFF"/>
              </a:buClr>
              <a:buSzPct val="70000"/>
              <a:buFontTx/>
              <a:buBlip>
                <a:blip r:embed="rId2"/>
              </a:buBlip>
              <a:defRPr>
                <a:gradFill>
                  <a:gsLst>
                    <a:gs pos="0">
                      <a:srgbClr val="FFFFFF"/>
                    </a:gs>
                    <a:gs pos="86000">
                      <a:srgbClr val="FFFFFF"/>
                    </a:gs>
                  </a:gsLst>
                  <a:lin ang="5400000" scaled="0"/>
                </a:gradFill>
              </a:defRPr>
            </a:lvl2pPr>
            <a:lvl3pPr marL="944253" indent="-302446">
              <a:buClr>
                <a:srgbClr val="FFFFFF"/>
              </a:buClr>
              <a:buSzPct val="70000"/>
              <a:buFontTx/>
              <a:buBlip>
                <a:blip r:embed="rId2"/>
              </a:buBlip>
              <a:defRPr>
                <a:gradFill>
                  <a:gsLst>
                    <a:gs pos="0">
                      <a:srgbClr val="FFFFFF"/>
                    </a:gs>
                    <a:gs pos="86000">
                      <a:srgbClr val="FFFFFF"/>
                    </a:gs>
                  </a:gsLst>
                  <a:lin ang="5400000" scaled="0"/>
                </a:gradFill>
              </a:defRPr>
            </a:lvl3pPr>
            <a:lvl4pPr marL="1203832" indent="-259580">
              <a:buClr>
                <a:srgbClr val="FFFFFF"/>
              </a:buClr>
              <a:buSzPct val="70000"/>
              <a:buFontTx/>
              <a:buBlip>
                <a:blip r:embed="rId2"/>
              </a:buBlip>
              <a:defRPr>
                <a:gradFill>
                  <a:gsLst>
                    <a:gs pos="0">
                      <a:srgbClr val="FFFFFF"/>
                    </a:gs>
                    <a:gs pos="86000">
                      <a:srgbClr val="FFFFFF"/>
                    </a:gs>
                  </a:gsLst>
                  <a:lin ang="5400000" scaled="0"/>
                </a:gradFill>
              </a:defRPr>
            </a:lvl4pPr>
            <a:lvl5pPr marL="1456268" indent="-25243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306" tIns="57152" rIns="114306" bIns="57152"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319135381"/>
      </p:ext>
    </p:extLst>
  </p:cSld>
  <p:clrMapOvr>
    <a:masterClrMapping/>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4212" y="1582157"/>
            <a:ext cx="7680340" cy="747897"/>
          </a:xfrm>
        </p:spPr>
        <p:txBody>
          <a:bodyPr anchor="b" anchorCtr="0"/>
          <a:lstStyle>
            <a:lvl1pPr>
              <a:defRPr sz="5400" spc="-113"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734212" y="2569370"/>
            <a:ext cx="7680340" cy="373949"/>
          </a:xfrm>
        </p:spPr>
        <p:txBody>
          <a:bodyPr>
            <a:noAutofit/>
          </a:bodyPr>
          <a:lstStyle>
            <a:lvl1pPr marL="0" indent="0">
              <a:spcBef>
                <a:spcPts val="0"/>
              </a:spcBef>
              <a:buNone/>
              <a:defRPr spc="-53"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40721149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6"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3459256"/>
            <a:ext cx="4091815" cy="858697"/>
          </a:xfrm>
        </p:spPr>
        <p:txBody>
          <a:bodyPr/>
          <a:lstStyle>
            <a:lvl1pPr marL="0" indent="0">
              <a:buFont typeface="Arial" pitchFamily="34" charset="0"/>
              <a:buNone/>
              <a:defRPr sz="1800">
                <a:solidFill>
                  <a:schemeClr val="bg1">
                    <a:alpha val="98000"/>
                  </a:schemeClr>
                </a:solidFill>
                <a:latin typeface="+mj-lt"/>
              </a:defRPr>
            </a:lvl1pPr>
            <a:lvl2pPr marL="345327" indent="0">
              <a:buFont typeface="Arial" pitchFamily="34" charset="0"/>
              <a:buNone/>
              <a:defRPr/>
            </a:lvl2pPr>
            <a:lvl3pPr marL="641833" indent="0">
              <a:buFont typeface="Arial" pitchFamily="34" charset="0"/>
              <a:buNone/>
              <a:defRPr/>
            </a:lvl3pPr>
            <a:lvl4pPr marL="944292" indent="0">
              <a:buFont typeface="Arial" pitchFamily="34" charset="0"/>
              <a:buNone/>
              <a:defRPr/>
            </a:lvl4pPr>
            <a:lvl5pPr marL="120388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1171276695"/>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52"/>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60"/>
            <a:ext cx="9144001" cy="464344"/>
          </a:xfrm>
          <a:solidFill>
            <a:srgbClr val="FFFF99"/>
          </a:solidFill>
        </p:spPr>
        <p:txBody>
          <a:bodyPr wrap="square" lIns="152333" tIns="76167" rIns="152333" bIns="7616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292" indent="-30245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883" indent="-25959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329" indent="-2524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1243429670"/>
      </p:ext>
    </p:extLst>
  </p:cSld>
  <p:clrMapOvr>
    <a:masterClrMapping/>
  </p:clrMapOvr>
  <p:transition>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800" indent="-257209">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209" indent="-257209">
              <a:spcBef>
                <a:spcPts val="0"/>
              </a:spcBef>
              <a:spcAft>
                <a:spcPts val="300"/>
              </a:spcAft>
              <a:buFont typeface="Arial" pitchFamily="34" charset="0"/>
              <a:buChar char="•"/>
              <a:defRPr/>
            </a:lvl5pPr>
            <a:lvl6pPr marL="775200" indent="-257209">
              <a:buFont typeface="Arial" pitchFamily="34" charset="0"/>
              <a:buChar char="•"/>
              <a:defRPr sz="1800">
                <a:gradFill>
                  <a:gsLst>
                    <a:gs pos="0">
                      <a:srgbClr val="595959"/>
                    </a:gs>
                    <a:gs pos="86000">
                      <a:srgbClr val="595959"/>
                    </a:gs>
                  </a:gsLst>
                  <a:lin ang="5400000" scaled="0"/>
                </a:gradFill>
              </a:defRPr>
            </a:lvl6pPr>
            <a:lvl7pPr marL="941910" indent="-169091">
              <a:defRPr>
                <a:gradFill>
                  <a:gsLst>
                    <a:gs pos="0">
                      <a:srgbClr val="595959"/>
                    </a:gs>
                    <a:gs pos="86000">
                      <a:srgbClr val="595959"/>
                    </a:gs>
                  </a:gsLst>
                  <a:lin ang="5400000" scaled="0"/>
                </a:gradFill>
              </a:defRPr>
            </a:lvl7pPr>
            <a:lvl8pPr marL="1115765" indent="-173854">
              <a:defRPr>
                <a:gradFill>
                  <a:gsLst>
                    <a:gs pos="0">
                      <a:srgbClr val="595959"/>
                    </a:gs>
                    <a:gs pos="86000">
                      <a:srgbClr val="595959"/>
                    </a:gs>
                  </a:gsLst>
                  <a:lin ang="5400000" scaled="0"/>
                </a:gradFill>
              </a:defRPr>
            </a:lvl8pPr>
          </a:lstStyle>
          <a:p>
            <a:pPr marL="259591" lvl="0" indent="-259591" algn="l" defTabSz="685864" rtl="0" eaLnBrk="1" latinLnBrk="0" hangingPunct="1">
              <a:lnSpc>
                <a:spcPct val="90000"/>
              </a:lnSpc>
              <a:spcBef>
                <a:spcPct val="20000"/>
              </a:spcBef>
              <a:buSzPct val="90000"/>
              <a:buFont typeface="Arial" pitchFamily="34" charset="0"/>
              <a:buChar char="•"/>
            </a:pPr>
            <a:r>
              <a:rPr lang="en-US" smtClean="0"/>
              <a:t>Click to edit Master text styles</a:t>
            </a:r>
          </a:p>
          <a:p>
            <a:pPr marL="259591" lvl="1" indent="-259591" algn="l" defTabSz="685864" rtl="0" eaLnBrk="1" latinLnBrk="0" hangingPunct="1">
              <a:lnSpc>
                <a:spcPct val="90000"/>
              </a:lnSpc>
              <a:spcBef>
                <a:spcPct val="20000"/>
              </a:spcBef>
              <a:buSzPct val="90000"/>
              <a:buFont typeface="Arial" pitchFamily="34" charset="0"/>
              <a:buChar char="•"/>
            </a:pPr>
            <a:r>
              <a:rPr lang="en-US" smtClean="0"/>
              <a:t>Second level</a:t>
            </a:r>
          </a:p>
          <a:p>
            <a:pPr marL="259591" lvl="2" indent="-259591" algn="l" defTabSz="685864" rtl="0" eaLnBrk="1" latinLnBrk="0" hangingPunct="1">
              <a:lnSpc>
                <a:spcPct val="90000"/>
              </a:lnSpc>
              <a:spcBef>
                <a:spcPct val="20000"/>
              </a:spcBef>
              <a:buSzPct val="90000"/>
              <a:buFont typeface="Arial" pitchFamily="34" charset="0"/>
              <a:buChar char="•"/>
            </a:pPr>
            <a:r>
              <a:rPr lang="en-US" smtClean="0"/>
              <a:t>Third level</a:t>
            </a:r>
          </a:p>
          <a:p>
            <a:pPr marL="259591" lvl="3" indent="-259591" algn="l" defTabSz="685864" rtl="0" eaLnBrk="1" latinLnBrk="0" hangingPunct="1">
              <a:lnSpc>
                <a:spcPct val="90000"/>
              </a:lnSpc>
              <a:spcBef>
                <a:spcPct val="20000"/>
              </a:spcBef>
              <a:buSzPct val="90000"/>
              <a:buFont typeface="Arial" pitchFamily="34" charset="0"/>
              <a:buChar char="•"/>
            </a:pPr>
            <a:r>
              <a:rPr lang="en-US" smtClean="0"/>
              <a:t>Fourth level</a:t>
            </a:r>
          </a:p>
          <a:p>
            <a:pPr marL="259591" lvl="4" indent="-259591" algn="l" defTabSz="685864"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4289881092"/>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6019" indent="-256019">
              <a:lnSpc>
                <a:spcPct val="90000"/>
              </a:lnSpc>
              <a:buSzPct val="80000"/>
              <a:buFont typeface="Arial" pitchFamily="34" charset="0"/>
              <a:buChar char="•"/>
              <a:defRPr sz="2400"/>
            </a:lvl1pPr>
            <a:lvl2pPr marL="470360" indent="-214341">
              <a:lnSpc>
                <a:spcPct val="90000"/>
              </a:lnSpc>
              <a:buSzPct val="80000"/>
              <a:buFont typeface="Arial" pitchFamily="34" charset="0"/>
              <a:buChar char="•"/>
              <a:defRPr sz="2100"/>
            </a:lvl2pPr>
            <a:lvl3pPr marL="685891" indent="-215532">
              <a:lnSpc>
                <a:spcPct val="90000"/>
              </a:lnSpc>
              <a:buSzPct val="80000"/>
              <a:buFont typeface="Arial" pitchFamily="34" charset="0"/>
              <a:buChar char="•"/>
              <a:defRPr sz="1800"/>
            </a:lvl3pPr>
            <a:lvl4pPr marL="1284856" indent="-169091">
              <a:lnSpc>
                <a:spcPct val="90000"/>
              </a:lnSpc>
              <a:buSzPct val="80000"/>
              <a:buFont typeface="Arial" pitchFamily="34" charset="0"/>
              <a:buChar char="•"/>
              <a:defRPr sz="1500"/>
            </a:lvl4pPr>
            <a:lvl5pPr marL="1458710" indent="-173854">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946" indent="-34294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965" indent="-34294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568" indent="-257209">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974" indent="-257209">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2065" indent="-257209">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6019" lvl="0" indent="-256019" algn="l" defTabSz="685864" rtl="0" eaLnBrk="1" latinLnBrk="0" hangingPunct="1">
              <a:lnSpc>
                <a:spcPct val="90000"/>
              </a:lnSpc>
              <a:spcBef>
                <a:spcPct val="20000"/>
              </a:spcBef>
              <a:buSzPct val="80000"/>
              <a:buFont typeface="Arial" pitchFamily="34" charset="0"/>
              <a:buChar char="•"/>
            </a:pPr>
            <a:r>
              <a:rPr lang="en-US" smtClean="0"/>
              <a:t>Click to edit Master text styles</a:t>
            </a:r>
          </a:p>
          <a:p>
            <a:pPr marL="256019" lvl="1" indent="-256019" algn="l" defTabSz="685864" rtl="0" eaLnBrk="1" latinLnBrk="0" hangingPunct="1">
              <a:lnSpc>
                <a:spcPct val="90000"/>
              </a:lnSpc>
              <a:spcBef>
                <a:spcPct val="20000"/>
              </a:spcBef>
              <a:buSzPct val="80000"/>
              <a:buFont typeface="Arial" pitchFamily="34" charset="0"/>
              <a:buChar char="•"/>
            </a:pPr>
            <a:r>
              <a:rPr lang="en-US" smtClean="0"/>
              <a:t>Second level</a:t>
            </a:r>
          </a:p>
          <a:p>
            <a:pPr marL="256019" lvl="2" indent="-256019" algn="l" defTabSz="685864" rtl="0" eaLnBrk="1" latinLnBrk="0" hangingPunct="1">
              <a:lnSpc>
                <a:spcPct val="90000"/>
              </a:lnSpc>
              <a:spcBef>
                <a:spcPct val="20000"/>
              </a:spcBef>
              <a:buSzPct val="80000"/>
              <a:buFont typeface="Arial" pitchFamily="34" charset="0"/>
              <a:buChar char="•"/>
            </a:pPr>
            <a:r>
              <a:rPr lang="en-US" smtClean="0"/>
              <a:t>Third level</a:t>
            </a:r>
          </a:p>
          <a:p>
            <a:pPr marL="256019" lvl="3" indent="-256019" algn="l" defTabSz="685864" rtl="0" eaLnBrk="1" latinLnBrk="0" hangingPunct="1">
              <a:lnSpc>
                <a:spcPct val="90000"/>
              </a:lnSpc>
              <a:spcBef>
                <a:spcPct val="20000"/>
              </a:spcBef>
              <a:buSzPct val="80000"/>
              <a:buFont typeface="Arial" pitchFamily="34" charset="0"/>
              <a:buChar char="•"/>
            </a:pPr>
            <a:r>
              <a:rPr lang="en-US" smtClean="0"/>
              <a:t>Fourth level</a:t>
            </a:r>
          </a:p>
          <a:p>
            <a:pPr marL="256019" lvl="4" indent="-256019" algn="l" defTabSz="685864"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4114007076"/>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1700097"/>
            <a:ext cx="4114800" cy="1458861"/>
          </a:xfrm>
        </p:spPr>
        <p:txBody>
          <a:bodyPr/>
          <a:lstStyle>
            <a:lvl1pPr marL="302459" indent="-302459">
              <a:buSzPct val="80000"/>
              <a:buFont typeface="Arial" pitchFamily="34" charset="0"/>
              <a:buChar char="•"/>
              <a:defRPr sz="2100"/>
            </a:lvl1pPr>
            <a:lvl2pPr marL="558478" indent="-241729">
              <a:buSzPct val="80000"/>
              <a:buFont typeface="Arial" pitchFamily="34" charset="0"/>
              <a:buChar char="•"/>
              <a:defRPr sz="2100"/>
            </a:lvl2pPr>
            <a:lvl3pPr marL="770437" indent="-211960" defTabSz="772819">
              <a:buSzPct val="80000"/>
              <a:buFont typeface="Arial" pitchFamily="34" charset="0"/>
              <a:buChar char="•"/>
              <a:defRPr sz="1800"/>
            </a:lvl3pPr>
            <a:lvl4pPr marL="988351" indent="-215532">
              <a:buSzPct val="80000"/>
              <a:buFont typeface="Arial" pitchFamily="34" charset="0"/>
              <a:buChar char="•"/>
              <a:defRPr sz="1500"/>
            </a:lvl4pPr>
            <a:lvl5pPr marL="1156251" indent="-167901">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7"/>
            <a:ext cx="4115872" cy="1458861"/>
          </a:xfrm>
        </p:spPr>
        <p:txBody>
          <a:bodyPr/>
          <a:lstStyle>
            <a:lvl1pPr marL="222270" indent="-22227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46" indent="-34294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958" indent="-257209">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30028" indent="-257209">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687" indent="-257209">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30028" indent="-257209">
              <a:defRPr sz="1200"/>
            </a:lvl6pPr>
            <a:lvl7pPr marL="1202692" indent="-214341">
              <a:defRPr sz="1200"/>
            </a:lvl7pPr>
            <a:lvl8pPr>
              <a:defRPr sz="1200"/>
            </a:lvl8pPr>
            <a:lvl9pPr>
              <a:defRPr sz="1200"/>
            </a:lvl9pPr>
          </a:lstStyle>
          <a:p>
            <a:pPr marL="302459" lvl="0" indent="-302459" algn="l" defTabSz="685864" rtl="0" eaLnBrk="1" latinLnBrk="0" hangingPunct="1">
              <a:lnSpc>
                <a:spcPct val="90000"/>
              </a:lnSpc>
              <a:spcBef>
                <a:spcPct val="20000"/>
              </a:spcBef>
              <a:buSzPct val="80000"/>
            </a:pPr>
            <a:r>
              <a:rPr lang="en-US" smtClean="0"/>
              <a:t>Click to edit Master text styles</a:t>
            </a:r>
          </a:p>
          <a:p>
            <a:pPr marL="302459" lvl="1" indent="-302459" algn="l" defTabSz="685864" rtl="0" eaLnBrk="1" latinLnBrk="0" hangingPunct="1">
              <a:lnSpc>
                <a:spcPct val="90000"/>
              </a:lnSpc>
              <a:spcBef>
                <a:spcPct val="20000"/>
              </a:spcBef>
              <a:buSzPct val="80000"/>
            </a:pPr>
            <a:r>
              <a:rPr lang="en-US" smtClean="0"/>
              <a:t>Second level</a:t>
            </a:r>
          </a:p>
          <a:p>
            <a:pPr marL="302459" lvl="2" indent="-302459" algn="l" defTabSz="685864" rtl="0" eaLnBrk="1" latinLnBrk="0" hangingPunct="1">
              <a:lnSpc>
                <a:spcPct val="90000"/>
              </a:lnSpc>
              <a:spcBef>
                <a:spcPct val="20000"/>
              </a:spcBef>
              <a:buSzPct val="80000"/>
            </a:pPr>
            <a:r>
              <a:rPr lang="en-US" smtClean="0"/>
              <a:t>Third level</a:t>
            </a:r>
          </a:p>
          <a:p>
            <a:pPr marL="302459" lvl="3" indent="-302459" algn="l" defTabSz="685864" rtl="0" eaLnBrk="1" latinLnBrk="0" hangingPunct="1">
              <a:lnSpc>
                <a:spcPct val="90000"/>
              </a:lnSpc>
              <a:spcBef>
                <a:spcPct val="20000"/>
              </a:spcBef>
              <a:buSzPct val="80000"/>
            </a:pPr>
            <a:r>
              <a:rPr lang="en-US" smtClean="0"/>
              <a:t>Fourth level</a:t>
            </a:r>
          </a:p>
          <a:p>
            <a:pPr marL="302459" lvl="4" indent="-302459" algn="l" defTabSz="685864"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1787566359"/>
      </p:ext>
    </p:extLst>
  </p:cSld>
  <p:clrMapOvr>
    <a:masterClrMapping/>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1891805692"/>
      </p:ext>
    </p:extLst>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3614165003"/>
      </p:ext>
    </p:extLst>
  </p:cSld>
  <p:clrMapOvr>
    <a:masterClrMapping/>
  </p:clrMapOvr>
  <p:transition>
    <p:fade/>
  </p:transition>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2" tIns="34282" rIns="68562" bIns="34282" numCol="1" spcCol="0" rtlCol="0" anchor="ctr" anchorCtr="0" compatLnSpc="1">
            <a:prstTxWarp prst="textNoShape">
              <a:avLst/>
            </a:prstTxWarp>
          </a:bodyPr>
          <a:lstStyle/>
          <a:p>
            <a:pPr algn="ctr" defTabSz="685432"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46"/>
            <a:ext cx="5210341" cy="931409"/>
          </a:xfrm>
        </p:spPr>
        <p:txBody>
          <a:bodyPr lIns="137178" tIns="137178" anchor="ctr" anchorCtr="0"/>
          <a:lstStyle>
            <a:lvl1pPr marL="431064" indent="-428682">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864" rtl="0" eaLnBrk="1" latinLnBrk="0" hangingPunct="1">
              <a:lnSpc>
                <a:spcPct val="90000"/>
              </a:lnSpc>
              <a:spcBef>
                <a:spcPts val="0"/>
              </a:spcBef>
              <a:spcAft>
                <a:spcPts val="675"/>
              </a:spcAft>
              <a:buSzPct val="80000"/>
            </a:pPr>
            <a:r>
              <a:rPr lang="en-US" smtClean="0"/>
              <a:t>Click to edit Master text styles</a:t>
            </a:r>
          </a:p>
          <a:p>
            <a:pPr marL="2382" lvl="1" indent="0" algn="l" defTabSz="685864"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37" tIns="30869" rIns="61737" bIns="30869" numCol="1" anchor="t" anchorCtr="0" compatLnSpc="1">
            <a:prstTxWarp prst="textNoShape">
              <a:avLst/>
            </a:prstTxWarp>
          </a:bodyPr>
          <a:lstStyle/>
          <a:p>
            <a:pPr defTabSz="914362"/>
            <a:endParaRPr lang="en-US" sz="1200">
              <a:solidFill>
                <a:srgbClr val="292929"/>
              </a:solidFill>
            </a:endParaRPr>
          </a:p>
        </p:txBody>
      </p:sp>
    </p:spTree>
    <p:extLst>
      <p:ext uri="{BB962C8B-B14F-4D97-AF65-F5344CB8AC3E}">
        <p14:creationId xmlns:p14="http://schemas.microsoft.com/office/powerpoint/2010/main" val="4023715328"/>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5"/>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2"/>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2"/>
              <a:endParaRPr lang="en-US" sz="1800">
                <a:solidFill>
                  <a:srgbClr val="292929"/>
                </a:solidFill>
              </a:endParaRPr>
            </a:p>
          </p:txBody>
        </p:sp>
      </p:grpSp>
    </p:spTree>
    <p:extLst>
      <p:ext uri="{BB962C8B-B14F-4D97-AF65-F5344CB8AC3E}">
        <p14:creationId xmlns:p14="http://schemas.microsoft.com/office/powerpoint/2010/main" val="1093778874"/>
      </p:ext>
    </p:extLst>
  </p:cSld>
  <p:clrMapOvr>
    <a:masterClrMapping/>
  </p:clrMapOvr>
  <p:transition>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85"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5" rIns="68589" bIns="34295" numCol="1" anchor="t" anchorCtr="0" compatLnSpc="1">
            <a:prstTxWarp prst="textNoShape">
              <a:avLst/>
            </a:prstTxWarp>
          </a:bodyPr>
          <a:lstStyle/>
          <a:p>
            <a:pPr defTabSz="914362"/>
            <a:endParaRPr lang="en-US" sz="1800">
              <a:solidFill>
                <a:srgbClr val="292929"/>
              </a:solidFill>
            </a:endParaRPr>
          </a:p>
        </p:txBody>
      </p:sp>
    </p:spTree>
    <p:extLst>
      <p:ext uri="{BB962C8B-B14F-4D97-AF65-F5344CB8AC3E}">
        <p14:creationId xmlns:p14="http://schemas.microsoft.com/office/powerpoint/2010/main" val="1919626708"/>
      </p:ext>
    </p:extLst>
  </p:cSld>
  <p:clrMapOvr>
    <a:masterClrMapping/>
  </p:clrMapOvr>
  <p:transition>
    <p:fade/>
  </p:transition>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198"/>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grpSp>
    </p:spTree>
    <p:extLst>
      <p:ext uri="{BB962C8B-B14F-4D97-AF65-F5344CB8AC3E}">
        <p14:creationId xmlns:p14="http://schemas.microsoft.com/office/powerpoint/2010/main" val="2996648185"/>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1_Custom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93"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Customer</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3135106" y="3886206"/>
            <a:ext cx="4959201" cy="346249"/>
          </a:xfrm>
        </p:spPr>
        <p:txBody>
          <a:bodyPr>
            <a:noAutofit/>
          </a:bodyPr>
          <a:lstStyle>
            <a:lvl1pPr marL="0" indent="0" algn="l" defTabSz="685693"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endParaRPr lang="en-US"/>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8381803" y="1223110"/>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3135105" y="2390358"/>
            <a:ext cx="4959201" cy="1142621"/>
          </a:xfrm>
        </p:spPr>
        <p:txBody>
          <a:bodyPr anchor="ctr" anchorCtr="0">
            <a:noAutofit/>
          </a:bodyPr>
          <a:lstStyle>
            <a:lvl1pPr algn="l" defTabSz="685693" rtl="0" eaLnBrk="1" latinLnBrk="0" hangingPunct="1">
              <a:lnSpc>
                <a:spcPct val="90000"/>
              </a:lnSpc>
              <a:spcBef>
                <a:spcPct val="0"/>
              </a:spcBef>
              <a:buNone/>
              <a:defRPr lang="en-US" sz="3000" b="1" kern="1200" cap="none" spc="-75" baseline="0" dirty="0">
                <a:ln w="3175">
                  <a:noFill/>
                </a:ln>
                <a:solidFill>
                  <a:schemeClr val="accent2">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09"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0" name="Rectangle 19"/>
          <p:cNvSpPr/>
          <p:nvPr/>
        </p:nvSpPr>
        <p:spPr bwMode="auto">
          <a:xfrm>
            <a:off x="763409" y="2390354"/>
            <a:ext cx="2120991" cy="2120439"/>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233025703"/>
      </p:ext>
    </p:extLst>
  </p:cSld>
  <p:clrMapOvr>
    <a:masterClrMapping/>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9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11" name="Freeform 18"/>
          <p:cNvSpPr>
            <a:spLocks noEditPoints="1"/>
          </p:cNvSpPr>
          <p:nvPr userDrawn="1"/>
        </p:nvSpPr>
        <p:spPr bwMode="black">
          <a:xfrm>
            <a:off x="6360832" y="1213827"/>
            <a:ext cx="1833797" cy="2236633"/>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FFFFFF"/>
          </a:solidFill>
          <a:ln>
            <a:noFill/>
          </a:ln>
        </p:spPr>
        <p:txBody>
          <a:bodyPr vert="horz" wrap="square" lIns="61737" tIns="30869" rIns="61737" bIns="30869" numCol="1" anchor="t" anchorCtr="0" compatLnSpc="1">
            <a:prstTxWarp prst="textNoShape">
              <a:avLst/>
            </a:prstTxWarp>
          </a:bodyPr>
          <a:lstStyle/>
          <a:p>
            <a:pPr defTabSz="914362"/>
            <a:endParaRPr lang="en-US" sz="1200">
              <a:solidFill>
                <a:srgbClr val="292929"/>
              </a:solidFill>
            </a:endParaRPr>
          </a:p>
        </p:txBody>
      </p:sp>
    </p:spTree>
    <p:extLst>
      <p:ext uri="{BB962C8B-B14F-4D97-AF65-F5344CB8AC3E}">
        <p14:creationId xmlns:p14="http://schemas.microsoft.com/office/powerpoint/2010/main" val="1955001586"/>
      </p:ext>
    </p:extLst>
  </p:cSld>
  <p:clrMapOvr>
    <a:masterClrMapping/>
  </p:clrMapOvr>
  <p:transition>
    <p:fade/>
  </p:transition>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8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11" name="Group 10"/>
          <p:cNvGrpSpPr/>
          <p:nvPr userDrawn="1"/>
        </p:nvGrpSpPr>
        <p:grpSpPr bwMode="black">
          <a:xfrm>
            <a:off x="6179539" y="1526889"/>
            <a:ext cx="1945482" cy="1504269"/>
            <a:chOff x="813584" y="4312262"/>
            <a:chExt cx="478309" cy="370027"/>
          </a:xfrm>
        </p:grpSpPr>
        <p:sp>
          <p:nvSpPr>
            <p:cNvPr id="13" name="Freeform 79"/>
            <p:cNvSpPr>
              <a:spLocks/>
            </p:cNvSpPr>
            <p:nvPr/>
          </p:nvSpPr>
          <p:spPr bwMode="black">
            <a:xfrm>
              <a:off x="813584" y="4503897"/>
              <a:ext cx="478309" cy="178392"/>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7" name="Freeform 80"/>
            <p:cNvSpPr>
              <a:spLocks noEditPoints="1"/>
            </p:cNvSpPr>
            <p:nvPr/>
          </p:nvSpPr>
          <p:spPr bwMode="black">
            <a:xfrm>
              <a:off x="813584" y="4312262"/>
              <a:ext cx="478309" cy="176834"/>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grpSp>
    </p:spTree>
    <p:extLst>
      <p:ext uri="{BB962C8B-B14F-4D97-AF65-F5344CB8AC3E}">
        <p14:creationId xmlns:p14="http://schemas.microsoft.com/office/powerpoint/2010/main" val="3258320026"/>
      </p:ext>
    </p:extLst>
  </p:cSld>
  <p:clrMapOvr>
    <a:masterClrMapping/>
  </p:clrMapOvr>
  <p:transition>
    <p:fade/>
  </p:transition>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6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11" name="Freeform 6"/>
          <p:cNvSpPr>
            <a:spLocks noEditPoints="1"/>
          </p:cNvSpPr>
          <p:nvPr userDrawn="1"/>
        </p:nvSpPr>
        <p:spPr bwMode="auto">
          <a:xfrm>
            <a:off x="6220585"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5" rIns="68589" bIns="34295" numCol="1" anchor="t" anchorCtr="0" compatLnSpc="1">
            <a:prstTxWarp prst="textNoShape">
              <a:avLst/>
            </a:prstTxWarp>
          </a:bodyPr>
          <a:lstStyle/>
          <a:p>
            <a:pPr defTabSz="914362"/>
            <a:endParaRPr lang="en-US" sz="1800">
              <a:solidFill>
                <a:srgbClr val="292929"/>
              </a:solidFill>
            </a:endParaRPr>
          </a:p>
        </p:txBody>
      </p:sp>
    </p:spTree>
    <p:extLst>
      <p:ext uri="{BB962C8B-B14F-4D97-AF65-F5344CB8AC3E}">
        <p14:creationId xmlns:p14="http://schemas.microsoft.com/office/powerpoint/2010/main" val="2563444167"/>
      </p:ext>
    </p:extLst>
  </p:cSld>
  <p:clrMapOvr>
    <a:masterClrMapping/>
  </p:clrMapOvr>
  <p:transition>
    <p:fade/>
  </p:transition>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3"/>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37" tIns="30869" rIns="61737" bIns="30869" numCol="1" anchor="t" anchorCtr="0" compatLnSpc="1">
            <a:prstTxWarp prst="textNoShape">
              <a:avLst/>
            </a:prstTxWarp>
          </a:bodyPr>
          <a:lstStyle/>
          <a:p>
            <a:pPr defTabSz="914362"/>
            <a:endParaRPr lang="en-US" sz="1200">
              <a:solidFill>
                <a:srgbClr val="292929"/>
              </a:solidFill>
            </a:endParaRPr>
          </a:p>
        </p:txBody>
      </p:sp>
    </p:spTree>
    <p:extLst>
      <p:ext uri="{BB962C8B-B14F-4D97-AF65-F5344CB8AC3E}">
        <p14:creationId xmlns:p14="http://schemas.microsoft.com/office/powerpoint/2010/main" val="1374534744"/>
      </p:ext>
    </p:extLst>
  </p:cSld>
  <p:clrMapOvr>
    <a:masterClrMapping/>
  </p:clrMapOvr>
  <p:transition>
    <p:fade/>
  </p:transition>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04"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2"/>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2"/>
              <a:endParaRPr lang="en-US" sz="1800">
                <a:solidFill>
                  <a:srgbClr val="292929"/>
                </a:solidFill>
              </a:endParaRPr>
            </a:p>
          </p:txBody>
        </p:sp>
      </p:grpSp>
    </p:spTree>
    <p:extLst>
      <p:ext uri="{BB962C8B-B14F-4D97-AF65-F5344CB8AC3E}">
        <p14:creationId xmlns:p14="http://schemas.microsoft.com/office/powerpoint/2010/main" val="2593120113"/>
      </p:ext>
    </p:extLst>
  </p:cSld>
  <p:clrMapOvr>
    <a:masterClrMapping/>
  </p:clrMapOvr>
  <p:transition>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7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4" name="Group 3"/>
          <p:cNvGrpSpPr/>
          <p:nvPr userDrawn="1"/>
        </p:nvGrpSpPr>
        <p:grpSpPr>
          <a:xfrm>
            <a:off x="6328853" y="1645496"/>
            <a:ext cx="799008" cy="2029122"/>
            <a:chOff x="8882758" y="1905000"/>
            <a:chExt cx="1277596" cy="3245368"/>
          </a:xfrm>
        </p:grpSpPr>
        <p:sp>
          <p:nvSpPr>
            <p:cNvPr id="12" name="Oval 6"/>
            <p:cNvSpPr>
              <a:spLocks noChangeArrowheads="1"/>
            </p:cNvSpPr>
            <p:nvPr userDrawn="1"/>
          </p:nvSpPr>
          <p:spPr bwMode="auto">
            <a:xfrm>
              <a:off x="9255454" y="1905000"/>
              <a:ext cx="529136" cy="539872"/>
            </a:xfrm>
            <a:prstGeom prst="ellipse">
              <a:avLst/>
            </a:pr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62"/>
              <a:endParaRPr lang="en-US" sz="1800">
                <a:solidFill>
                  <a:srgbClr val="292929"/>
                </a:solidFill>
              </a:endParaRPr>
            </a:p>
          </p:txBody>
        </p:sp>
        <p:sp>
          <p:nvSpPr>
            <p:cNvPr id="13" name="Freeform 12"/>
            <p:cNvSpPr>
              <a:spLocks/>
            </p:cNvSpPr>
            <p:nvPr userDrawn="1"/>
          </p:nvSpPr>
          <p:spPr bwMode="auto">
            <a:xfrm>
              <a:off x="8882758" y="2506221"/>
              <a:ext cx="1277596" cy="2644147"/>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62"/>
              <a:endParaRPr lang="en-US" sz="1800">
                <a:solidFill>
                  <a:srgbClr val="292929"/>
                </a:solidFill>
              </a:endParaRPr>
            </a:p>
          </p:txBody>
        </p:sp>
      </p:grpSp>
      <p:grpSp>
        <p:nvGrpSpPr>
          <p:cNvPr id="15" name="Group 14"/>
          <p:cNvGrpSpPr/>
          <p:nvPr userDrawn="1"/>
        </p:nvGrpSpPr>
        <p:grpSpPr>
          <a:xfrm>
            <a:off x="7423397" y="1645496"/>
            <a:ext cx="799008" cy="2029122"/>
            <a:chOff x="8882758" y="1905000"/>
            <a:chExt cx="1277596" cy="3245368"/>
          </a:xfrm>
        </p:grpSpPr>
        <p:sp>
          <p:nvSpPr>
            <p:cNvPr id="16" name="Oval 6"/>
            <p:cNvSpPr>
              <a:spLocks noChangeArrowheads="1"/>
            </p:cNvSpPr>
            <p:nvPr userDrawn="1"/>
          </p:nvSpPr>
          <p:spPr bwMode="auto">
            <a:xfrm>
              <a:off x="9255454" y="1905000"/>
              <a:ext cx="529136" cy="539872"/>
            </a:xfrm>
            <a:prstGeom prst="ellipse">
              <a:avLst/>
            </a:pr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62"/>
              <a:endParaRPr lang="en-US" sz="1800">
                <a:solidFill>
                  <a:srgbClr val="292929"/>
                </a:solidFill>
              </a:endParaRPr>
            </a:p>
          </p:txBody>
        </p:sp>
        <p:sp>
          <p:nvSpPr>
            <p:cNvPr id="17" name="Freeform 16"/>
            <p:cNvSpPr>
              <a:spLocks/>
            </p:cNvSpPr>
            <p:nvPr userDrawn="1"/>
          </p:nvSpPr>
          <p:spPr bwMode="auto">
            <a:xfrm>
              <a:off x="8882758" y="2506221"/>
              <a:ext cx="1277596" cy="2644147"/>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62"/>
              <a:endParaRPr lang="en-US" sz="1800">
                <a:solidFill>
                  <a:srgbClr val="292929"/>
                </a:solidFill>
              </a:endParaRPr>
            </a:p>
          </p:txBody>
        </p:sp>
      </p:grpSp>
      <p:grpSp>
        <p:nvGrpSpPr>
          <p:cNvPr id="18" name="Group 17"/>
          <p:cNvGrpSpPr/>
          <p:nvPr userDrawn="1"/>
        </p:nvGrpSpPr>
        <p:grpSpPr>
          <a:xfrm>
            <a:off x="6796405" y="1360335"/>
            <a:ext cx="958447" cy="2434026"/>
            <a:chOff x="8882758" y="1905000"/>
            <a:chExt cx="1277596" cy="3245368"/>
          </a:xfrm>
        </p:grpSpPr>
        <p:sp>
          <p:nvSpPr>
            <p:cNvPr id="19" name="Oval 6"/>
            <p:cNvSpPr>
              <a:spLocks noChangeArrowheads="1"/>
            </p:cNvSpPr>
            <p:nvPr userDrawn="1"/>
          </p:nvSpPr>
          <p:spPr bwMode="auto">
            <a:xfrm>
              <a:off x="9255454" y="1905000"/>
              <a:ext cx="529136" cy="539872"/>
            </a:xfrm>
            <a:prstGeom prst="ellipse">
              <a:avLst/>
            </a:pr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62"/>
              <a:endParaRPr lang="en-US" sz="1800">
                <a:solidFill>
                  <a:srgbClr val="292929"/>
                </a:solidFill>
              </a:endParaRPr>
            </a:p>
          </p:txBody>
        </p:sp>
        <p:sp>
          <p:nvSpPr>
            <p:cNvPr id="20" name="Freeform 19"/>
            <p:cNvSpPr>
              <a:spLocks/>
            </p:cNvSpPr>
            <p:nvPr userDrawn="1"/>
          </p:nvSpPr>
          <p:spPr bwMode="auto">
            <a:xfrm>
              <a:off x="8882758" y="2506221"/>
              <a:ext cx="1277596" cy="2644147"/>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62"/>
              <a:endParaRPr lang="en-US" sz="1800">
                <a:solidFill>
                  <a:srgbClr val="292929"/>
                </a:solidFill>
              </a:endParaRPr>
            </a:p>
          </p:txBody>
        </p:sp>
      </p:grpSp>
    </p:spTree>
    <p:extLst>
      <p:ext uri="{BB962C8B-B14F-4D97-AF65-F5344CB8AC3E}">
        <p14:creationId xmlns:p14="http://schemas.microsoft.com/office/powerpoint/2010/main" val="575290101"/>
      </p:ext>
    </p:extLst>
  </p:cSld>
  <p:clrMapOvr>
    <a:masterClrMapping/>
  </p:clrMapOvr>
  <p:transition>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2600757"/>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36"/>
            <a:ext cx="1880410" cy="218515"/>
          </a:xfrm>
          <a:prstGeom prst="rect">
            <a:avLst/>
          </a:prstGeom>
        </p:spPr>
      </p:pic>
    </p:spTree>
    <p:extLst>
      <p:ext uri="{BB962C8B-B14F-4D97-AF65-F5344CB8AC3E}">
        <p14:creationId xmlns:p14="http://schemas.microsoft.com/office/powerpoint/2010/main" val="3728713546"/>
      </p:ext>
    </p:extLst>
  </p:cSld>
  <p:clrMapOvr>
    <a:masterClrMapping/>
  </p:clrMapOvr>
  <p:transition>
    <p:fade/>
  </p:transition>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0"/>
            <a:ext cx="8382000" cy="311613"/>
          </a:xfrm>
          <a:prstGeom prst="rect">
            <a:avLst/>
          </a:prstGeom>
          <a:noFill/>
          <a:ln w="12700">
            <a:noFill/>
            <a:miter lim="800000"/>
            <a:headEnd type="none" w="sm" len="sm"/>
            <a:tailEnd type="none" w="sm" len="sm"/>
          </a:ln>
          <a:effectLst/>
        </p:spPr>
        <p:txBody>
          <a:bodyPr vert="horz" wrap="square" lIns="68578" tIns="34289" rIns="68578" bIns="34289" numCol="1" anchor="t" anchorCtr="0" compatLnSpc="1">
            <a:prstTxWarp prst="textNoShape">
              <a:avLst/>
            </a:prstTxWarp>
            <a:spAutoFit/>
          </a:bodyPr>
          <a:lstStyle/>
          <a:p>
            <a:pPr algn="ctr" defTabSz="685666"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666"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976204432"/>
      </p:ext>
    </p:extLst>
  </p:cSld>
  <p:clrMapOvr>
    <a:masterClrMapping/>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3"/>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0"/>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88"/>
            <a:ext cx="1197051" cy="201275"/>
          </a:xfrm>
          <a:prstGeom prst="rect">
            <a:avLst/>
          </a:prstGeom>
          <a:noFill/>
          <a:ln>
            <a:noFill/>
          </a:ln>
        </p:spPr>
      </p:pic>
      <p:pic>
        <p:nvPicPr>
          <p:cNvPr id="7" name="Picture 6"/>
          <p:cNvPicPr>
            <a:picLocks noChangeAspect="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2593580100"/>
      </p:ext>
    </p:extLst>
  </p:cSld>
  <p:clrMapOvr>
    <a:masterClrMapping/>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5210405"/>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48" y="171457"/>
            <a:ext cx="8363938" cy="457049"/>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48" y="1085850"/>
            <a:ext cx="8363938" cy="709810"/>
          </a:xfrm>
        </p:spPr>
        <p:txBody>
          <a:bodyPr/>
          <a:lstStyle>
            <a:lvl1pPr marL="0" indent="0">
              <a:spcBef>
                <a:spcPts val="0"/>
              </a:spcBef>
              <a:spcAft>
                <a:spcPts val="675"/>
              </a:spcAft>
              <a:buNone/>
              <a:defRPr sz="3000" spc="-75" baseline="0">
                <a:latin typeface="Segoe UI Light" pitchFamily="34" charset="0"/>
              </a:defRPr>
            </a:lvl1pPr>
            <a:lvl2pPr marL="0" indent="0">
              <a:spcBef>
                <a:spcPts val="0"/>
              </a:spcBef>
              <a:spcAft>
                <a:spcPts val="300"/>
              </a:spcAft>
              <a:buNone/>
              <a:defRPr sz="1500" spc="-38" baseline="0">
                <a:gradFill flip="none" rotWithShape="1">
                  <a:gsLst>
                    <a:gs pos="0">
                      <a:schemeClr val="tx1">
                        <a:lumMod val="75000"/>
                      </a:schemeClr>
                    </a:gs>
                    <a:gs pos="86000">
                      <a:schemeClr val="tx1">
                        <a:lumMod val="75000"/>
                      </a:schemeClr>
                    </a:gs>
                  </a:gsLst>
                  <a:path path="circle">
                    <a:fillToRect r="100000" b="100000"/>
                  </a:path>
                  <a:tileRect l="-100000" t="-100000"/>
                </a:gradFill>
              </a:defRPr>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3722785729"/>
      </p:ext>
    </p:extLst>
  </p:cSld>
  <p:clrMapOvr>
    <a:masterClrMapping/>
  </p:clrMapOvr>
  <p:transition>
    <p:wipe dir="r"/>
  </p:transition>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311" tIns="57155" rIns="114311" bIns="57155"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581506352"/>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3" y="2390353"/>
            <a:ext cx="5373500"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3008303" y="1135856"/>
            <a:ext cx="5373500" cy="112471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5" y="1189940"/>
            <a:ext cx="4163390" cy="1033983"/>
          </a:xfrm>
        </p:spPr>
        <p:txBody>
          <a:bodyPr anchor="ctr" anchorCtr="0">
            <a:noAutofit/>
            <a:scene3d>
              <a:camera prst="orthographicFront"/>
              <a:lightRig rig="flat" dir="t"/>
            </a:scene3d>
            <a:sp3d>
              <a:contourClr>
                <a:schemeClr val="tx2"/>
              </a:contourClr>
            </a:sp3d>
          </a:bodyPr>
          <a:lstStyle>
            <a:lvl1pPr marL="0" indent="0" algn="l" defTabSz="68548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Demo</a:t>
            </a:r>
          </a:p>
        </p:txBody>
      </p:sp>
      <p:sp useBgFill="1">
        <p:nvSpPr>
          <p:cNvPr id="9" name="Left Mask"/>
          <p:cNvSpPr/>
          <p:nvPr userDrawn="1"/>
        </p:nvSpPr>
        <p:spPr bwMode="auto">
          <a:xfrm>
            <a:off x="-1" y="1135857"/>
            <a:ext cx="3008303"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3135108" y="3886211"/>
            <a:ext cx="4959201" cy="346249"/>
          </a:xfrm>
        </p:spPr>
        <p:txBody>
          <a:bodyPr>
            <a:noAutofit/>
          </a:bodyPr>
          <a:lstStyle>
            <a:lvl1pPr marL="0" indent="0" algn="l" defTabSz="68548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39" indent="0" algn="ctr">
              <a:buNone/>
              <a:defRPr>
                <a:solidFill>
                  <a:schemeClr val="tx1">
                    <a:tint val="75000"/>
                  </a:schemeClr>
                </a:solidFill>
              </a:defRPr>
            </a:lvl2pPr>
            <a:lvl3pPr marL="685487" indent="0" algn="ctr">
              <a:buNone/>
              <a:defRPr>
                <a:solidFill>
                  <a:schemeClr val="tx1">
                    <a:tint val="75000"/>
                  </a:schemeClr>
                </a:solidFill>
              </a:defRPr>
            </a:lvl3pPr>
            <a:lvl4pPr marL="1028229" indent="0" algn="ctr">
              <a:buNone/>
              <a:defRPr>
                <a:solidFill>
                  <a:schemeClr val="tx1">
                    <a:tint val="75000"/>
                  </a:schemeClr>
                </a:solidFill>
              </a:defRPr>
            </a:lvl4pPr>
            <a:lvl5pPr marL="1370975" indent="0" algn="ctr">
              <a:buNone/>
              <a:defRPr>
                <a:solidFill>
                  <a:schemeClr val="tx1">
                    <a:tint val="75000"/>
                  </a:schemeClr>
                </a:solidFill>
              </a:defRPr>
            </a:lvl5pPr>
            <a:lvl6pPr marL="1713712" indent="0" algn="ctr">
              <a:buNone/>
              <a:defRPr>
                <a:solidFill>
                  <a:schemeClr val="tx1">
                    <a:tint val="75000"/>
                  </a:schemeClr>
                </a:solidFill>
              </a:defRPr>
            </a:lvl6pPr>
            <a:lvl7pPr marL="2056459" indent="0" algn="ctr">
              <a:buNone/>
              <a:defRPr>
                <a:solidFill>
                  <a:schemeClr val="tx1">
                    <a:tint val="75000"/>
                  </a:schemeClr>
                </a:solidFill>
              </a:defRPr>
            </a:lvl7pPr>
            <a:lvl8pPr marL="2399204" indent="0" algn="ctr">
              <a:buNone/>
              <a:defRPr>
                <a:solidFill>
                  <a:schemeClr val="tx1">
                    <a:tint val="75000"/>
                  </a:schemeClr>
                </a:solidFill>
              </a:defRPr>
            </a:lvl8pPr>
            <a:lvl9pPr marL="274195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20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50" tIns="34276" rIns="68550" bIns="34276" numCol="1" anchor="t" anchorCtr="0" compatLnSpc="1">
            <a:prstTxWarp prst="textNoShape">
              <a:avLst/>
            </a:prstTxWarp>
          </a:bodyPr>
          <a:lstStyle/>
          <a:p>
            <a:endParaRPr lang="en-US" sz="1400" dirty="0"/>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1"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8381812" y="1223114"/>
            <a:ext cx="762199"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6" name="Demo Tile"/>
          <p:cNvGrpSpPr/>
          <p:nvPr userDrawn="1"/>
        </p:nvGrpSpPr>
        <p:grpSpPr>
          <a:xfrm>
            <a:off x="763409" y="2390915"/>
            <a:ext cx="2120991" cy="2120439"/>
            <a:chOff x="1022073" y="-1135906"/>
            <a:chExt cx="2827252" cy="2827252"/>
          </a:xfrm>
        </p:grpSpPr>
        <p:sp>
          <p:nvSpPr>
            <p:cNvPr id="17" name="Rectangle 16"/>
            <p:cNvSpPr/>
            <p:nvPr/>
          </p:nvSpPr>
          <p:spPr bwMode="auto">
            <a:xfrm>
              <a:off x="1022073" y="-1135906"/>
              <a:ext cx="2827252" cy="282725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8" name="Light bulb Icon"/>
            <p:cNvSpPr>
              <a:spLocks noEditPoints="1"/>
            </p:cNvSpPr>
            <p:nvPr/>
          </p:nvSpPr>
          <p:spPr bwMode="auto">
            <a:xfrm>
              <a:off x="1945077" y="-620805"/>
              <a:ext cx="979488" cy="1797050"/>
            </a:xfrm>
            <a:custGeom>
              <a:avLst/>
              <a:gdLst>
                <a:gd name="T0" fmla="*/ 18 w 122"/>
                <a:gd name="T1" fmla="*/ 137 h 224"/>
                <a:gd name="T2" fmla="*/ 105 w 122"/>
                <a:gd name="T3" fmla="*/ 22 h 224"/>
                <a:gd name="T4" fmla="*/ 119 w 122"/>
                <a:gd name="T5" fmla="*/ 29 h 224"/>
                <a:gd name="T6" fmla="*/ 119 w 122"/>
                <a:gd name="T7" fmla="*/ 41 h 224"/>
                <a:gd name="T8" fmla="*/ 17 w 122"/>
                <a:gd name="T9" fmla="*/ 75 h 224"/>
                <a:gd name="T10" fmla="*/ 14 w 122"/>
                <a:gd name="T11" fmla="*/ 76 h 224"/>
                <a:gd name="T12" fmla="*/ 2 w 122"/>
                <a:gd name="T13" fmla="*/ 64 h 224"/>
                <a:gd name="T14" fmla="*/ 10 w 122"/>
                <a:gd name="T15" fmla="*/ 50 h 224"/>
                <a:gd name="T16" fmla="*/ 8 w 122"/>
                <a:gd name="T17" fmla="*/ 58 h 224"/>
                <a:gd name="T18" fmla="*/ 9 w 122"/>
                <a:gd name="T19" fmla="*/ 66 h 224"/>
                <a:gd name="T20" fmla="*/ 14 w 122"/>
                <a:gd name="T21" fmla="*/ 70 h 224"/>
                <a:gd name="T22" fmla="*/ 111 w 122"/>
                <a:gd name="T23" fmla="*/ 41 h 224"/>
                <a:gd name="T24" fmla="*/ 115 w 122"/>
                <a:gd name="T25" fmla="*/ 35 h 224"/>
                <a:gd name="T26" fmla="*/ 108 w 122"/>
                <a:gd name="T27" fmla="*/ 27 h 224"/>
                <a:gd name="T28" fmla="*/ 12 w 122"/>
                <a:gd name="T29" fmla="*/ 56 h 224"/>
                <a:gd name="T30" fmla="*/ 10 w 122"/>
                <a:gd name="T31" fmla="*/ 16 h 224"/>
                <a:gd name="T32" fmla="*/ 73 w 122"/>
                <a:gd name="T33" fmla="*/ 9 h 224"/>
                <a:gd name="T34" fmla="*/ 67 w 122"/>
                <a:gd name="T35" fmla="*/ 27 h 224"/>
                <a:gd name="T36" fmla="*/ 14 w 122"/>
                <a:gd name="T37" fmla="*/ 42 h 224"/>
                <a:gd name="T38" fmla="*/ 2 w 122"/>
                <a:gd name="T39" fmla="*/ 31 h 224"/>
                <a:gd name="T40" fmla="*/ 9 w 122"/>
                <a:gd name="T41" fmla="*/ 32 h 224"/>
                <a:gd name="T42" fmla="*/ 16 w 122"/>
                <a:gd name="T43" fmla="*/ 36 h 224"/>
                <a:gd name="T44" fmla="*/ 69 w 122"/>
                <a:gd name="T45" fmla="*/ 14 h 224"/>
                <a:gd name="T46" fmla="*/ 63 w 122"/>
                <a:gd name="T47" fmla="*/ 7 h 224"/>
                <a:gd name="T48" fmla="*/ 12 w 122"/>
                <a:gd name="T49" fmla="*/ 22 h 224"/>
                <a:gd name="T50" fmla="*/ 113 w 122"/>
                <a:gd name="T51" fmla="*/ 114 h 224"/>
                <a:gd name="T52" fmla="*/ 99 w 122"/>
                <a:gd name="T53" fmla="*/ 124 h 224"/>
                <a:gd name="T54" fmla="*/ 110 w 122"/>
                <a:gd name="T55" fmla="*/ 137 h 224"/>
                <a:gd name="T56" fmla="*/ 87 w 122"/>
                <a:gd name="T57" fmla="*/ 208 h 224"/>
                <a:gd name="T58" fmla="*/ 74 w 122"/>
                <a:gd name="T59" fmla="*/ 224 h 224"/>
                <a:gd name="T60" fmla="*/ 41 w 122"/>
                <a:gd name="T61" fmla="*/ 213 h 224"/>
                <a:gd name="T62" fmla="*/ 18 w 122"/>
                <a:gd name="T63" fmla="*/ 187 h 224"/>
                <a:gd name="T64" fmla="*/ 29 w 122"/>
                <a:gd name="T65" fmla="*/ 137 h 224"/>
                <a:gd name="T66" fmla="*/ 23 w 122"/>
                <a:gd name="T67" fmla="*/ 113 h 224"/>
                <a:gd name="T68" fmla="*/ 10 w 122"/>
                <a:gd name="T69" fmla="*/ 109 h 224"/>
                <a:gd name="T70" fmla="*/ 2 w 122"/>
                <a:gd name="T71" fmla="*/ 98 h 224"/>
                <a:gd name="T72" fmla="*/ 3 w 122"/>
                <a:gd name="T73" fmla="*/ 89 h 224"/>
                <a:gd name="T74" fmla="*/ 105 w 122"/>
                <a:gd name="T75" fmla="*/ 55 h 224"/>
                <a:gd name="T76" fmla="*/ 120 w 122"/>
                <a:gd name="T77" fmla="*/ 66 h 224"/>
                <a:gd name="T78" fmla="*/ 113 w 122"/>
                <a:gd name="T79" fmla="*/ 81 h 224"/>
                <a:gd name="T80" fmla="*/ 56 w 122"/>
                <a:gd name="T81" fmla="*/ 105 h 224"/>
                <a:gd name="T82" fmla="*/ 72 w 122"/>
                <a:gd name="T83" fmla="*/ 137 h 224"/>
                <a:gd name="T84" fmla="*/ 82 w 122"/>
                <a:gd name="T85" fmla="*/ 95 h 224"/>
                <a:gd name="T86" fmla="*/ 119 w 122"/>
                <a:gd name="T87" fmla="*/ 96 h 224"/>
                <a:gd name="T88" fmla="*/ 113 w 122"/>
                <a:gd name="T89" fmla="*/ 114 h 224"/>
                <a:gd name="T90" fmla="*/ 111 w 122"/>
                <a:gd name="T91" fmla="*/ 75 h 224"/>
                <a:gd name="T92" fmla="*/ 115 w 122"/>
                <a:gd name="T93" fmla="*/ 68 h 224"/>
                <a:gd name="T94" fmla="*/ 108 w 122"/>
                <a:gd name="T95" fmla="*/ 61 h 224"/>
                <a:gd name="T96" fmla="*/ 25 w 122"/>
                <a:gd name="T97" fmla="*/ 86 h 224"/>
                <a:gd name="T98" fmla="*/ 12 w 122"/>
                <a:gd name="T99" fmla="*/ 89 h 224"/>
                <a:gd name="T100" fmla="*/ 8 w 122"/>
                <a:gd name="T101" fmla="*/ 92 h 224"/>
                <a:gd name="T102" fmla="*/ 8 w 122"/>
                <a:gd name="T103" fmla="*/ 96 h 224"/>
                <a:gd name="T104" fmla="*/ 12 w 122"/>
                <a:gd name="T105" fmla="*/ 103 h 224"/>
                <a:gd name="T106" fmla="*/ 25 w 122"/>
                <a:gd name="T107" fmla="*/ 107 h 224"/>
                <a:gd name="T108" fmla="*/ 35 w 122"/>
                <a:gd name="T109" fmla="*/ 120 h 224"/>
                <a:gd name="T110" fmla="*/ 50 w 122"/>
                <a:gd name="T111" fmla="*/ 137 h 224"/>
                <a:gd name="T112" fmla="*/ 48 w 122"/>
                <a:gd name="T113" fmla="*/ 100 h 224"/>
                <a:gd name="T114" fmla="*/ 49 w 122"/>
                <a:gd name="T115" fmla="*/ 93 h 224"/>
                <a:gd name="T116" fmla="*/ 113 w 122"/>
                <a:gd name="T117" fmla="*/ 98 h 224"/>
                <a:gd name="T118" fmla="*/ 84 w 122"/>
                <a:gd name="T119" fmla="*/ 101 h 224"/>
                <a:gd name="T120" fmla="*/ 78 w 122"/>
                <a:gd name="T121" fmla="*/ 137 h 224"/>
                <a:gd name="T122" fmla="*/ 93 w 122"/>
                <a:gd name="T123" fmla="*/ 124 h 224"/>
                <a:gd name="T124" fmla="*/ 111 w 122"/>
                <a:gd name="T125" fmla="*/ 10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2" h="224">
                  <a:moveTo>
                    <a:pt x="18" y="137"/>
                  </a:moveTo>
                  <a:cubicBezTo>
                    <a:pt x="18" y="137"/>
                    <a:pt x="18" y="137"/>
                    <a:pt x="18" y="137"/>
                  </a:cubicBezTo>
                  <a:moveTo>
                    <a:pt x="10" y="50"/>
                  </a:moveTo>
                  <a:cubicBezTo>
                    <a:pt x="105" y="22"/>
                    <a:pt x="105" y="22"/>
                    <a:pt x="105" y="22"/>
                  </a:cubicBezTo>
                  <a:cubicBezTo>
                    <a:pt x="106" y="21"/>
                    <a:pt x="107" y="21"/>
                    <a:pt x="108" y="21"/>
                  </a:cubicBezTo>
                  <a:cubicBezTo>
                    <a:pt x="113" y="21"/>
                    <a:pt x="118" y="24"/>
                    <a:pt x="119" y="29"/>
                  </a:cubicBezTo>
                  <a:cubicBezTo>
                    <a:pt x="120" y="33"/>
                    <a:pt x="120" y="33"/>
                    <a:pt x="120" y="33"/>
                  </a:cubicBezTo>
                  <a:cubicBezTo>
                    <a:pt x="121" y="36"/>
                    <a:pt x="121" y="39"/>
                    <a:pt x="119" y="41"/>
                  </a:cubicBezTo>
                  <a:cubicBezTo>
                    <a:pt x="118" y="44"/>
                    <a:pt x="116" y="46"/>
                    <a:pt x="113" y="47"/>
                  </a:cubicBezTo>
                  <a:cubicBezTo>
                    <a:pt x="17" y="75"/>
                    <a:pt x="17" y="75"/>
                    <a:pt x="17" y="75"/>
                  </a:cubicBezTo>
                  <a:cubicBezTo>
                    <a:pt x="16" y="76"/>
                    <a:pt x="15" y="76"/>
                    <a:pt x="14" y="76"/>
                  </a:cubicBezTo>
                  <a:cubicBezTo>
                    <a:pt x="14" y="76"/>
                    <a:pt x="14" y="76"/>
                    <a:pt x="14" y="76"/>
                  </a:cubicBezTo>
                  <a:cubicBezTo>
                    <a:pt x="9" y="76"/>
                    <a:pt x="5" y="73"/>
                    <a:pt x="3" y="68"/>
                  </a:cubicBezTo>
                  <a:cubicBezTo>
                    <a:pt x="2" y="64"/>
                    <a:pt x="2" y="64"/>
                    <a:pt x="2" y="64"/>
                  </a:cubicBezTo>
                  <a:cubicBezTo>
                    <a:pt x="1" y="61"/>
                    <a:pt x="2" y="58"/>
                    <a:pt x="3" y="56"/>
                  </a:cubicBezTo>
                  <a:cubicBezTo>
                    <a:pt x="5" y="53"/>
                    <a:pt x="7" y="51"/>
                    <a:pt x="10" y="50"/>
                  </a:cubicBezTo>
                  <a:close/>
                  <a:moveTo>
                    <a:pt x="12" y="56"/>
                  </a:moveTo>
                  <a:cubicBezTo>
                    <a:pt x="10" y="56"/>
                    <a:pt x="9" y="57"/>
                    <a:pt x="8" y="58"/>
                  </a:cubicBezTo>
                  <a:cubicBezTo>
                    <a:pt x="8" y="60"/>
                    <a:pt x="8" y="61"/>
                    <a:pt x="8" y="62"/>
                  </a:cubicBezTo>
                  <a:cubicBezTo>
                    <a:pt x="9" y="66"/>
                    <a:pt x="9" y="66"/>
                    <a:pt x="9" y="66"/>
                  </a:cubicBezTo>
                  <a:cubicBezTo>
                    <a:pt x="10" y="68"/>
                    <a:pt x="12" y="70"/>
                    <a:pt x="14" y="70"/>
                  </a:cubicBezTo>
                  <a:cubicBezTo>
                    <a:pt x="14" y="70"/>
                    <a:pt x="14" y="70"/>
                    <a:pt x="14" y="70"/>
                  </a:cubicBezTo>
                  <a:cubicBezTo>
                    <a:pt x="15" y="70"/>
                    <a:pt x="15" y="70"/>
                    <a:pt x="16" y="70"/>
                  </a:cubicBezTo>
                  <a:cubicBezTo>
                    <a:pt x="111" y="41"/>
                    <a:pt x="111" y="41"/>
                    <a:pt x="111" y="41"/>
                  </a:cubicBezTo>
                  <a:cubicBezTo>
                    <a:pt x="112" y="41"/>
                    <a:pt x="113" y="40"/>
                    <a:pt x="114" y="39"/>
                  </a:cubicBezTo>
                  <a:cubicBezTo>
                    <a:pt x="115" y="37"/>
                    <a:pt x="115" y="36"/>
                    <a:pt x="115" y="35"/>
                  </a:cubicBezTo>
                  <a:cubicBezTo>
                    <a:pt x="113" y="31"/>
                    <a:pt x="113" y="31"/>
                    <a:pt x="113" y="31"/>
                  </a:cubicBezTo>
                  <a:cubicBezTo>
                    <a:pt x="113" y="29"/>
                    <a:pt x="111" y="27"/>
                    <a:pt x="108" y="27"/>
                  </a:cubicBezTo>
                  <a:cubicBezTo>
                    <a:pt x="108" y="27"/>
                    <a:pt x="107" y="27"/>
                    <a:pt x="107" y="27"/>
                  </a:cubicBezTo>
                  <a:lnTo>
                    <a:pt x="12" y="56"/>
                  </a:lnTo>
                  <a:close/>
                  <a:moveTo>
                    <a:pt x="2" y="31"/>
                  </a:moveTo>
                  <a:cubicBezTo>
                    <a:pt x="0" y="25"/>
                    <a:pt x="4" y="18"/>
                    <a:pt x="10" y="16"/>
                  </a:cubicBezTo>
                  <a:cubicBezTo>
                    <a:pt x="59" y="1"/>
                    <a:pt x="59" y="1"/>
                    <a:pt x="59" y="1"/>
                  </a:cubicBezTo>
                  <a:cubicBezTo>
                    <a:pt x="65" y="0"/>
                    <a:pt x="72" y="3"/>
                    <a:pt x="73" y="9"/>
                  </a:cubicBezTo>
                  <a:cubicBezTo>
                    <a:pt x="75" y="12"/>
                    <a:pt x="75" y="12"/>
                    <a:pt x="75" y="12"/>
                  </a:cubicBezTo>
                  <a:cubicBezTo>
                    <a:pt x="76" y="18"/>
                    <a:pt x="73" y="25"/>
                    <a:pt x="67" y="27"/>
                  </a:cubicBezTo>
                  <a:cubicBezTo>
                    <a:pt x="18" y="42"/>
                    <a:pt x="18" y="42"/>
                    <a:pt x="18" y="42"/>
                  </a:cubicBezTo>
                  <a:cubicBezTo>
                    <a:pt x="16" y="42"/>
                    <a:pt x="15" y="42"/>
                    <a:pt x="14" y="42"/>
                  </a:cubicBezTo>
                  <a:cubicBezTo>
                    <a:pt x="9" y="42"/>
                    <a:pt x="5" y="39"/>
                    <a:pt x="3" y="34"/>
                  </a:cubicBezTo>
                  <a:lnTo>
                    <a:pt x="2" y="31"/>
                  </a:lnTo>
                  <a:close/>
                  <a:moveTo>
                    <a:pt x="8" y="29"/>
                  </a:moveTo>
                  <a:cubicBezTo>
                    <a:pt x="9" y="32"/>
                    <a:pt x="9" y="32"/>
                    <a:pt x="9" y="32"/>
                  </a:cubicBezTo>
                  <a:cubicBezTo>
                    <a:pt x="10" y="35"/>
                    <a:pt x="12" y="36"/>
                    <a:pt x="14" y="36"/>
                  </a:cubicBezTo>
                  <a:cubicBezTo>
                    <a:pt x="15" y="36"/>
                    <a:pt x="15" y="36"/>
                    <a:pt x="16" y="36"/>
                  </a:cubicBezTo>
                  <a:cubicBezTo>
                    <a:pt x="65" y="21"/>
                    <a:pt x="65" y="21"/>
                    <a:pt x="65" y="21"/>
                  </a:cubicBezTo>
                  <a:cubicBezTo>
                    <a:pt x="68" y="20"/>
                    <a:pt x="70" y="17"/>
                    <a:pt x="69" y="14"/>
                  </a:cubicBezTo>
                  <a:cubicBezTo>
                    <a:pt x="68" y="11"/>
                    <a:pt x="68" y="11"/>
                    <a:pt x="68" y="11"/>
                  </a:cubicBezTo>
                  <a:cubicBezTo>
                    <a:pt x="67" y="8"/>
                    <a:pt x="65" y="7"/>
                    <a:pt x="63" y="7"/>
                  </a:cubicBezTo>
                  <a:cubicBezTo>
                    <a:pt x="62" y="7"/>
                    <a:pt x="62" y="7"/>
                    <a:pt x="61" y="7"/>
                  </a:cubicBezTo>
                  <a:cubicBezTo>
                    <a:pt x="12" y="22"/>
                    <a:pt x="12" y="22"/>
                    <a:pt x="12" y="22"/>
                  </a:cubicBezTo>
                  <a:cubicBezTo>
                    <a:pt x="9" y="23"/>
                    <a:pt x="7" y="26"/>
                    <a:pt x="8" y="29"/>
                  </a:cubicBezTo>
                  <a:close/>
                  <a:moveTo>
                    <a:pt x="113" y="114"/>
                  </a:moveTo>
                  <a:cubicBezTo>
                    <a:pt x="105" y="116"/>
                    <a:pt x="105" y="116"/>
                    <a:pt x="105" y="116"/>
                  </a:cubicBezTo>
                  <a:cubicBezTo>
                    <a:pt x="102" y="117"/>
                    <a:pt x="99" y="121"/>
                    <a:pt x="99" y="124"/>
                  </a:cubicBezTo>
                  <a:cubicBezTo>
                    <a:pt x="99" y="137"/>
                    <a:pt x="99" y="137"/>
                    <a:pt x="99" y="137"/>
                  </a:cubicBezTo>
                  <a:cubicBezTo>
                    <a:pt x="110" y="137"/>
                    <a:pt x="110" y="137"/>
                    <a:pt x="110" y="137"/>
                  </a:cubicBezTo>
                  <a:cubicBezTo>
                    <a:pt x="110" y="187"/>
                    <a:pt x="110" y="187"/>
                    <a:pt x="110" y="187"/>
                  </a:cubicBezTo>
                  <a:cubicBezTo>
                    <a:pt x="110" y="198"/>
                    <a:pt x="100" y="207"/>
                    <a:pt x="87" y="208"/>
                  </a:cubicBezTo>
                  <a:cubicBezTo>
                    <a:pt x="87" y="213"/>
                    <a:pt x="87" y="213"/>
                    <a:pt x="87" y="213"/>
                  </a:cubicBezTo>
                  <a:cubicBezTo>
                    <a:pt x="87" y="219"/>
                    <a:pt x="81" y="224"/>
                    <a:pt x="74" y="224"/>
                  </a:cubicBezTo>
                  <a:cubicBezTo>
                    <a:pt x="54" y="224"/>
                    <a:pt x="54" y="224"/>
                    <a:pt x="54" y="224"/>
                  </a:cubicBezTo>
                  <a:cubicBezTo>
                    <a:pt x="47" y="224"/>
                    <a:pt x="41" y="219"/>
                    <a:pt x="41" y="213"/>
                  </a:cubicBezTo>
                  <a:cubicBezTo>
                    <a:pt x="41" y="208"/>
                    <a:pt x="41" y="208"/>
                    <a:pt x="41" y="208"/>
                  </a:cubicBezTo>
                  <a:cubicBezTo>
                    <a:pt x="28" y="207"/>
                    <a:pt x="18" y="198"/>
                    <a:pt x="18" y="187"/>
                  </a:cubicBezTo>
                  <a:cubicBezTo>
                    <a:pt x="18" y="137"/>
                    <a:pt x="18" y="137"/>
                    <a:pt x="18" y="137"/>
                  </a:cubicBezTo>
                  <a:cubicBezTo>
                    <a:pt x="29" y="137"/>
                    <a:pt x="29" y="137"/>
                    <a:pt x="29" y="137"/>
                  </a:cubicBezTo>
                  <a:cubicBezTo>
                    <a:pt x="29" y="120"/>
                    <a:pt x="29" y="120"/>
                    <a:pt x="29" y="120"/>
                  </a:cubicBezTo>
                  <a:cubicBezTo>
                    <a:pt x="29" y="117"/>
                    <a:pt x="26" y="113"/>
                    <a:pt x="23" y="113"/>
                  </a:cubicBezTo>
                  <a:cubicBezTo>
                    <a:pt x="12" y="109"/>
                    <a:pt x="12" y="109"/>
                    <a:pt x="12" y="109"/>
                  </a:cubicBezTo>
                  <a:cubicBezTo>
                    <a:pt x="10" y="109"/>
                    <a:pt x="10" y="109"/>
                    <a:pt x="10" y="109"/>
                  </a:cubicBezTo>
                  <a:cubicBezTo>
                    <a:pt x="7" y="108"/>
                    <a:pt x="4" y="105"/>
                    <a:pt x="3" y="102"/>
                  </a:cubicBezTo>
                  <a:cubicBezTo>
                    <a:pt x="2" y="98"/>
                    <a:pt x="2" y="98"/>
                    <a:pt x="2" y="98"/>
                  </a:cubicBezTo>
                  <a:cubicBezTo>
                    <a:pt x="2" y="97"/>
                    <a:pt x="2" y="97"/>
                    <a:pt x="2" y="96"/>
                  </a:cubicBezTo>
                  <a:cubicBezTo>
                    <a:pt x="2" y="94"/>
                    <a:pt x="2" y="91"/>
                    <a:pt x="3" y="89"/>
                  </a:cubicBezTo>
                  <a:cubicBezTo>
                    <a:pt x="5" y="87"/>
                    <a:pt x="7" y="85"/>
                    <a:pt x="10" y="84"/>
                  </a:cubicBezTo>
                  <a:cubicBezTo>
                    <a:pt x="105" y="55"/>
                    <a:pt x="105" y="55"/>
                    <a:pt x="105" y="55"/>
                  </a:cubicBezTo>
                  <a:cubicBezTo>
                    <a:pt x="111" y="54"/>
                    <a:pt x="118" y="57"/>
                    <a:pt x="119" y="63"/>
                  </a:cubicBezTo>
                  <a:cubicBezTo>
                    <a:pt x="120" y="66"/>
                    <a:pt x="120" y="66"/>
                    <a:pt x="120" y="66"/>
                  </a:cubicBezTo>
                  <a:cubicBezTo>
                    <a:pt x="121" y="69"/>
                    <a:pt x="121" y="72"/>
                    <a:pt x="119" y="75"/>
                  </a:cubicBezTo>
                  <a:cubicBezTo>
                    <a:pt x="118" y="78"/>
                    <a:pt x="116" y="80"/>
                    <a:pt x="113" y="81"/>
                  </a:cubicBezTo>
                  <a:cubicBezTo>
                    <a:pt x="54" y="98"/>
                    <a:pt x="54" y="98"/>
                    <a:pt x="54" y="98"/>
                  </a:cubicBezTo>
                  <a:cubicBezTo>
                    <a:pt x="55" y="100"/>
                    <a:pt x="56" y="103"/>
                    <a:pt x="56" y="105"/>
                  </a:cubicBezTo>
                  <a:cubicBezTo>
                    <a:pt x="56" y="137"/>
                    <a:pt x="56" y="137"/>
                    <a:pt x="56" y="137"/>
                  </a:cubicBezTo>
                  <a:cubicBezTo>
                    <a:pt x="72" y="137"/>
                    <a:pt x="72" y="137"/>
                    <a:pt x="72" y="137"/>
                  </a:cubicBezTo>
                  <a:cubicBezTo>
                    <a:pt x="72" y="109"/>
                    <a:pt x="72" y="109"/>
                    <a:pt x="72" y="109"/>
                  </a:cubicBezTo>
                  <a:cubicBezTo>
                    <a:pt x="72" y="103"/>
                    <a:pt x="77" y="97"/>
                    <a:pt x="82" y="95"/>
                  </a:cubicBezTo>
                  <a:cubicBezTo>
                    <a:pt x="105" y="89"/>
                    <a:pt x="105" y="89"/>
                    <a:pt x="105" y="89"/>
                  </a:cubicBezTo>
                  <a:cubicBezTo>
                    <a:pt x="111" y="87"/>
                    <a:pt x="118" y="91"/>
                    <a:pt x="119" y="96"/>
                  </a:cubicBezTo>
                  <a:cubicBezTo>
                    <a:pt x="120" y="100"/>
                    <a:pt x="120" y="100"/>
                    <a:pt x="120" y="100"/>
                  </a:cubicBezTo>
                  <a:cubicBezTo>
                    <a:pt x="122" y="106"/>
                    <a:pt x="119" y="112"/>
                    <a:pt x="113" y="114"/>
                  </a:cubicBezTo>
                  <a:close/>
                  <a:moveTo>
                    <a:pt x="49" y="93"/>
                  </a:moveTo>
                  <a:cubicBezTo>
                    <a:pt x="111" y="75"/>
                    <a:pt x="111" y="75"/>
                    <a:pt x="111" y="75"/>
                  </a:cubicBezTo>
                  <a:cubicBezTo>
                    <a:pt x="112" y="74"/>
                    <a:pt x="113" y="74"/>
                    <a:pt x="114" y="72"/>
                  </a:cubicBezTo>
                  <a:cubicBezTo>
                    <a:pt x="115" y="71"/>
                    <a:pt x="115" y="70"/>
                    <a:pt x="115" y="68"/>
                  </a:cubicBezTo>
                  <a:cubicBezTo>
                    <a:pt x="113" y="65"/>
                    <a:pt x="113" y="65"/>
                    <a:pt x="113" y="65"/>
                  </a:cubicBezTo>
                  <a:cubicBezTo>
                    <a:pt x="113" y="62"/>
                    <a:pt x="111" y="61"/>
                    <a:pt x="108" y="61"/>
                  </a:cubicBezTo>
                  <a:cubicBezTo>
                    <a:pt x="108" y="61"/>
                    <a:pt x="107" y="61"/>
                    <a:pt x="107" y="61"/>
                  </a:cubicBezTo>
                  <a:cubicBezTo>
                    <a:pt x="25" y="86"/>
                    <a:pt x="25" y="86"/>
                    <a:pt x="25" y="86"/>
                  </a:cubicBezTo>
                  <a:cubicBezTo>
                    <a:pt x="13" y="89"/>
                    <a:pt x="13" y="89"/>
                    <a:pt x="13" y="89"/>
                  </a:cubicBezTo>
                  <a:cubicBezTo>
                    <a:pt x="12" y="89"/>
                    <a:pt x="12" y="89"/>
                    <a:pt x="12" y="89"/>
                  </a:cubicBezTo>
                  <a:cubicBezTo>
                    <a:pt x="12" y="90"/>
                    <a:pt x="12" y="90"/>
                    <a:pt x="12" y="90"/>
                  </a:cubicBezTo>
                  <a:cubicBezTo>
                    <a:pt x="10" y="90"/>
                    <a:pt x="9" y="91"/>
                    <a:pt x="8" y="92"/>
                  </a:cubicBezTo>
                  <a:cubicBezTo>
                    <a:pt x="8" y="93"/>
                    <a:pt x="8" y="95"/>
                    <a:pt x="8" y="96"/>
                  </a:cubicBezTo>
                  <a:cubicBezTo>
                    <a:pt x="8" y="96"/>
                    <a:pt x="8" y="96"/>
                    <a:pt x="8" y="96"/>
                  </a:cubicBezTo>
                  <a:cubicBezTo>
                    <a:pt x="9" y="100"/>
                    <a:pt x="9" y="100"/>
                    <a:pt x="9" y="100"/>
                  </a:cubicBezTo>
                  <a:cubicBezTo>
                    <a:pt x="10" y="101"/>
                    <a:pt x="11" y="103"/>
                    <a:pt x="12" y="103"/>
                  </a:cubicBezTo>
                  <a:cubicBezTo>
                    <a:pt x="13" y="103"/>
                    <a:pt x="13" y="103"/>
                    <a:pt x="13" y="103"/>
                  </a:cubicBezTo>
                  <a:cubicBezTo>
                    <a:pt x="25" y="107"/>
                    <a:pt x="25" y="107"/>
                    <a:pt x="25" y="107"/>
                  </a:cubicBezTo>
                  <a:cubicBezTo>
                    <a:pt x="25" y="107"/>
                    <a:pt x="25" y="107"/>
                    <a:pt x="25" y="107"/>
                  </a:cubicBezTo>
                  <a:cubicBezTo>
                    <a:pt x="31" y="109"/>
                    <a:pt x="35" y="115"/>
                    <a:pt x="35" y="120"/>
                  </a:cubicBezTo>
                  <a:cubicBezTo>
                    <a:pt x="35" y="137"/>
                    <a:pt x="35" y="137"/>
                    <a:pt x="35" y="137"/>
                  </a:cubicBezTo>
                  <a:cubicBezTo>
                    <a:pt x="50" y="137"/>
                    <a:pt x="50" y="137"/>
                    <a:pt x="50" y="137"/>
                  </a:cubicBezTo>
                  <a:cubicBezTo>
                    <a:pt x="50" y="105"/>
                    <a:pt x="50" y="105"/>
                    <a:pt x="50" y="105"/>
                  </a:cubicBezTo>
                  <a:cubicBezTo>
                    <a:pt x="50" y="104"/>
                    <a:pt x="49" y="102"/>
                    <a:pt x="48" y="100"/>
                  </a:cubicBezTo>
                  <a:cubicBezTo>
                    <a:pt x="47" y="99"/>
                    <a:pt x="45" y="98"/>
                    <a:pt x="44" y="97"/>
                  </a:cubicBezTo>
                  <a:cubicBezTo>
                    <a:pt x="44" y="97"/>
                    <a:pt x="40" y="96"/>
                    <a:pt x="49" y="93"/>
                  </a:cubicBezTo>
                  <a:close/>
                  <a:moveTo>
                    <a:pt x="115" y="102"/>
                  </a:moveTo>
                  <a:cubicBezTo>
                    <a:pt x="113" y="98"/>
                    <a:pt x="113" y="98"/>
                    <a:pt x="113" y="98"/>
                  </a:cubicBezTo>
                  <a:cubicBezTo>
                    <a:pt x="113" y="95"/>
                    <a:pt x="110" y="94"/>
                    <a:pt x="107" y="95"/>
                  </a:cubicBezTo>
                  <a:cubicBezTo>
                    <a:pt x="84" y="101"/>
                    <a:pt x="84" y="101"/>
                    <a:pt x="84" y="101"/>
                  </a:cubicBezTo>
                  <a:cubicBezTo>
                    <a:pt x="81" y="102"/>
                    <a:pt x="78" y="106"/>
                    <a:pt x="78" y="109"/>
                  </a:cubicBezTo>
                  <a:cubicBezTo>
                    <a:pt x="78" y="137"/>
                    <a:pt x="78" y="137"/>
                    <a:pt x="78" y="137"/>
                  </a:cubicBezTo>
                  <a:cubicBezTo>
                    <a:pt x="93" y="137"/>
                    <a:pt x="93" y="137"/>
                    <a:pt x="93" y="137"/>
                  </a:cubicBezTo>
                  <a:cubicBezTo>
                    <a:pt x="93" y="124"/>
                    <a:pt x="93" y="124"/>
                    <a:pt x="93" y="124"/>
                  </a:cubicBezTo>
                  <a:cubicBezTo>
                    <a:pt x="93" y="118"/>
                    <a:pt x="97" y="112"/>
                    <a:pt x="103" y="111"/>
                  </a:cubicBezTo>
                  <a:cubicBezTo>
                    <a:pt x="111" y="108"/>
                    <a:pt x="111" y="108"/>
                    <a:pt x="111" y="108"/>
                  </a:cubicBezTo>
                  <a:cubicBezTo>
                    <a:pt x="114" y="108"/>
                    <a:pt x="115" y="105"/>
                    <a:pt x="115" y="10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sp>
        <p:nvSpPr>
          <p:cNvPr id="2" name="Title 1"/>
          <p:cNvSpPr>
            <a:spLocks noGrp="1"/>
          </p:cNvSpPr>
          <p:nvPr>
            <p:ph type="ctrTitle"/>
          </p:nvPr>
        </p:nvSpPr>
        <p:spPr>
          <a:xfrm>
            <a:off x="3135106" y="2390362"/>
            <a:ext cx="4959201" cy="1142621"/>
          </a:xfrm>
        </p:spPr>
        <p:txBody>
          <a:bodyPr anchor="ctr" anchorCtr="0">
            <a:noAutofit/>
          </a:bodyPr>
          <a:lstStyle>
            <a:lvl1pPr algn="l" defTabSz="685487" rtl="0" eaLnBrk="1" latinLnBrk="0" hangingPunct="1">
              <a:lnSpc>
                <a:spcPct val="90000"/>
              </a:lnSpc>
              <a:spcBef>
                <a:spcPct val="0"/>
              </a:spcBef>
              <a:buNone/>
              <a:defRPr lang="en-US" sz="3000" b="1" kern="1200" cap="none" spc="-75" baseline="0" dirty="0">
                <a:ln w="3175">
                  <a:noFill/>
                </a:ln>
                <a:solidFill>
                  <a:schemeClr val="accent6">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1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8" name="Arrow Bar"/>
          <p:cNvSpPr/>
          <p:nvPr userDrawn="1"/>
        </p:nvSpPr>
        <p:spPr bwMode="auto">
          <a:xfrm>
            <a:off x="3008302" y="1135856"/>
            <a:ext cx="5373499" cy="112471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9"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10"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1" name="Rectangle 10"/>
          <p:cNvSpPr/>
          <p:nvPr userDrawn="1"/>
        </p:nvSpPr>
        <p:spPr bwMode="auto">
          <a:xfrm>
            <a:off x="1886044" y="2388950"/>
            <a:ext cx="994669" cy="99441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2" name="Rectangle 11"/>
          <p:cNvSpPr/>
          <p:nvPr userDrawn="1"/>
        </p:nvSpPr>
        <p:spPr bwMode="auto">
          <a:xfrm>
            <a:off x="762580" y="3512121"/>
            <a:ext cx="994669" cy="99441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3" name="Rectangle 12"/>
          <p:cNvSpPr/>
          <p:nvPr userDrawn="1"/>
        </p:nvSpPr>
        <p:spPr bwMode="auto">
          <a:xfrm>
            <a:off x="1886044" y="3512121"/>
            <a:ext cx="994669" cy="99441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5" name="Rectangle 14"/>
          <p:cNvSpPr/>
          <p:nvPr userDrawn="1"/>
        </p:nvSpPr>
        <p:spPr bwMode="auto">
          <a:xfrm>
            <a:off x="762580" y="2388949"/>
            <a:ext cx="2118133" cy="211758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3" y="1226585"/>
            <a:ext cx="5191598"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4100" b="1" kern="1200" cap="none" spc="-75" baseline="0" dirty="0" smtClean="0">
                <a:ln w="3175">
                  <a:noFill/>
                </a:ln>
                <a:solidFill>
                  <a:schemeClr val="tx1">
                    <a:alpha val="99000"/>
                  </a:schemeClr>
                </a:solidFill>
                <a:effectLst/>
                <a:latin typeface="+mn-lt"/>
                <a:ea typeface="+mn-ea"/>
                <a:cs typeface="Arial" charset="0"/>
              </a:defRPr>
            </a:lvl1pPr>
          </a:lstStyle>
          <a:p>
            <a:pPr lvl="0"/>
            <a:r>
              <a:rPr lang="en-US" dirty="0" smtClean="0"/>
              <a:t>Demo</a:t>
            </a:r>
          </a:p>
        </p:txBody>
      </p:sp>
      <p:sp>
        <p:nvSpPr>
          <p:cNvPr id="3" name="Subtitle 2"/>
          <p:cNvSpPr>
            <a:spLocks noGrp="1"/>
          </p:cNvSpPr>
          <p:nvPr>
            <p:ph type="subTitle" idx="1"/>
          </p:nvPr>
        </p:nvSpPr>
        <p:spPr>
          <a:xfrm>
            <a:off x="3072830" y="3663084"/>
            <a:ext cx="5189183" cy="346249"/>
          </a:xfrm>
        </p:spPr>
        <p:txBody>
          <a:bodyPr>
            <a:noAutofit/>
          </a:bodyPr>
          <a:lstStyle>
            <a:lvl1pPr marL="0" indent="0" algn="l">
              <a:lnSpc>
                <a:spcPct val="90000"/>
              </a:lnSpc>
              <a:spcBef>
                <a:spcPts val="0"/>
              </a:spcBef>
              <a:buNone/>
              <a:defRPr lang="en-US" sz="1200" kern="1200" spc="0" baseline="0" dirty="0">
                <a:solidFill>
                  <a:schemeClr val="tx2">
                    <a:alpha val="99000"/>
                  </a:schemeClr>
                </a:solidFill>
                <a:latin typeface="+mj-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pPr marL="0" marR="0" lvl="0" indent="0" algn="l" defTabSz="68569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3072824" y="2543369"/>
            <a:ext cx="5189184" cy="685572"/>
          </a:xfrm>
        </p:spPr>
        <p:txBody>
          <a:bodyPr wrap="square" anchor="ctr">
            <a:noAutofit/>
          </a:bodyPr>
          <a:lstStyle>
            <a:lvl1pPr marL="0" indent="0">
              <a:buNone/>
              <a:defRPr sz="3000" b="1" spc="-75" baseline="0">
                <a:solidFill>
                  <a:schemeClr val="accent2">
                    <a:alpha val="99000"/>
                  </a:schemeClr>
                </a:solidFill>
                <a:latin typeface="+mn-lt"/>
              </a:defRPr>
            </a:lvl1pPr>
          </a:lstStyle>
          <a:p>
            <a:pPr lvl="0"/>
            <a:r>
              <a:rPr lang="en-US" smtClean="0"/>
              <a:t>Click to edit Master text styles</a:t>
            </a:r>
          </a:p>
        </p:txBody>
      </p:sp>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8079" y="1312474"/>
            <a:ext cx="1979351" cy="815666"/>
          </a:xfrm>
          <a:prstGeom prst="rect">
            <a:avLst/>
          </a:prstGeom>
        </p:spPr>
      </p:pic>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33588" y="2639645"/>
            <a:ext cx="1624155" cy="1594209"/>
          </a:xfrm>
          <a:prstGeom prst="rect">
            <a:avLst/>
          </a:prstGeom>
        </p:spPr>
      </p:pic>
    </p:spTree>
    <p:extLst>
      <p:ext uri="{BB962C8B-B14F-4D97-AF65-F5344CB8AC3E}">
        <p14:creationId xmlns:p14="http://schemas.microsoft.com/office/powerpoint/2010/main" val="15761083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41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16789" y="898924"/>
            <a:ext cx="8550914" cy="1218282"/>
          </a:xfrm>
        </p:spPr>
        <p:txBody>
          <a:bodyPr/>
          <a:lstStyle>
            <a:lvl1pPr marL="0" indent="0" algn="l">
              <a:lnSpc>
                <a:spcPts val="1874"/>
              </a:lnSpc>
              <a:spcBef>
                <a:spcPts val="0"/>
              </a:spcBef>
              <a:buNone/>
              <a:defRPr>
                <a:solidFill>
                  <a:schemeClr val="tx2"/>
                </a:solidFill>
              </a:defRPr>
            </a:lvl1pPr>
            <a:lvl2pPr marL="0" indent="0" algn="l">
              <a:lnSpc>
                <a:spcPts val="1874"/>
              </a:lnSpc>
              <a:spcBef>
                <a:spcPts val="0"/>
              </a:spcBef>
              <a:buNone/>
              <a:defRPr>
                <a:solidFill>
                  <a:schemeClr val="tx2"/>
                </a:solidFill>
              </a:defRPr>
            </a:lvl2pPr>
            <a:lvl3pPr marL="0" indent="0" algn="l">
              <a:lnSpc>
                <a:spcPts val="1874"/>
              </a:lnSpc>
              <a:spcBef>
                <a:spcPts val="0"/>
              </a:spcBef>
              <a:buNone/>
              <a:defRPr>
                <a:solidFill>
                  <a:schemeClr val="tx2"/>
                </a:solidFill>
              </a:defRPr>
            </a:lvl3pPr>
            <a:lvl4pPr marL="0" indent="0" algn="l">
              <a:lnSpc>
                <a:spcPts val="1874"/>
              </a:lnSpc>
              <a:spcBef>
                <a:spcPts val="0"/>
              </a:spcBef>
              <a:buNone/>
              <a:defRPr>
                <a:solidFill>
                  <a:schemeClr val="tx2"/>
                </a:solidFill>
              </a:defRPr>
            </a:lvl4pPr>
            <a:lvl5pPr marL="0" indent="0" algn="l">
              <a:lnSpc>
                <a:spcPts val="1874"/>
              </a:lnSpc>
              <a:spcBef>
                <a:spcPts val="0"/>
              </a:spcBef>
              <a:buNone/>
              <a:defRPr>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1"/>
          <p:cNvSpPr>
            <a:spLocks noGrp="1"/>
          </p:cNvSpPr>
          <p:nvPr>
            <p:ph type="title"/>
          </p:nvPr>
        </p:nvSpPr>
        <p:spPr>
          <a:xfrm>
            <a:off x="316789" y="327314"/>
            <a:ext cx="8550915" cy="363561"/>
          </a:xfrm>
        </p:spPr>
        <p:txBody>
          <a:bodyPr/>
          <a:lstStyle>
            <a:lvl1pPr algn="l" defTabSz="685757" rtl="0" eaLnBrk="1" latinLnBrk="0" hangingPunct="1">
              <a:lnSpc>
                <a:spcPct val="90000"/>
              </a:lnSpc>
              <a:spcBef>
                <a:spcPct val="0"/>
              </a:spcBef>
              <a:buNone/>
              <a:defRPr lang="en-US" sz="2600" b="0" kern="1200" cap="none" spc="0" baseline="0" dirty="0">
                <a:ln w="3175">
                  <a:noFill/>
                </a:ln>
                <a:solidFill>
                  <a:schemeClr val="tx2">
                    <a:alpha val="99000"/>
                  </a:schemeClr>
                </a:solidFill>
                <a:effectLst/>
                <a:latin typeface="Segoe UI Light" pitchFamily="34" charset="0"/>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312778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43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16789" y="898924"/>
            <a:ext cx="8550914" cy="1218282"/>
          </a:xfrm>
        </p:spPr>
        <p:txBody>
          <a:bodyPr/>
          <a:lstStyle>
            <a:lvl1pPr marL="0" indent="0" algn="l">
              <a:lnSpc>
                <a:spcPts val="1874"/>
              </a:lnSpc>
              <a:spcBef>
                <a:spcPts val="0"/>
              </a:spcBef>
              <a:buNone/>
              <a:defRPr>
                <a:solidFill>
                  <a:schemeClr val="tx2"/>
                </a:solidFill>
              </a:defRPr>
            </a:lvl1pPr>
            <a:lvl2pPr marL="0" indent="0" algn="l">
              <a:lnSpc>
                <a:spcPts val="1874"/>
              </a:lnSpc>
              <a:spcBef>
                <a:spcPts val="0"/>
              </a:spcBef>
              <a:buNone/>
              <a:defRPr>
                <a:solidFill>
                  <a:schemeClr val="tx2"/>
                </a:solidFill>
              </a:defRPr>
            </a:lvl2pPr>
            <a:lvl3pPr marL="0" indent="0" algn="l">
              <a:lnSpc>
                <a:spcPts val="1874"/>
              </a:lnSpc>
              <a:spcBef>
                <a:spcPts val="0"/>
              </a:spcBef>
              <a:buNone/>
              <a:defRPr>
                <a:solidFill>
                  <a:schemeClr val="tx2"/>
                </a:solidFill>
              </a:defRPr>
            </a:lvl3pPr>
            <a:lvl4pPr marL="0" indent="0" algn="l">
              <a:lnSpc>
                <a:spcPts val="1874"/>
              </a:lnSpc>
              <a:spcBef>
                <a:spcPts val="0"/>
              </a:spcBef>
              <a:buNone/>
              <a:defRPr>
                <a:solidFill>
                  <a:schemeClr val="tx2"/>
                </a:solidFill>
              </a:defRPr>
            </a:lvl4pPr>
            <a:lvl5pPr marL="0" indent="0" algn="l">
              <a:lnSpc>
                <a:spcPts val="1874"/>
              </a:lnSpc>
              <a:spcBef>
                <a:spcPts val="0"/>
              </a:spcBef>
              <a:buNone/>
              <a:defRPr>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1"/>
          <p:cNvSpPr>
            <a:spLocks noGrp="1"/>
          </p:cNvSpPr>
          <p:nvPr>
            <p:ph type="title"/>
          </p:nvPr>
        </p:nvSpPr>
        <p:spPr>
          <a:xfrm>
            <a:off x="316789" y="327314"/>
            <a:ext cx="8550915" cy="363561"/>
          </a:xfrm>
        </p:spPr>
        <p:txBody>
          <a:bodyPr/>
          <a:lstStyle>
            <a:lvl1pPr algn="l" defTabSz="685757" rtl="0" eaLnBrk="1" latinLnBrk="0" hangingPunct="1">
              <a:lnSpc>
                <a:spcPct val="90000"/>
              </a:lnSpc>
              <a:spcBef>
                <a:spcPct val="0"/>
              </a:spcBef>
              <a:buNone/>
              <a:defRPr lang="en-US" sz="2600" b="0" kern="1200" cap="none" spc="0" baseline="0" dirty="0">
                <a:ln w="3175">
                  <a:noFill/>
                </a:ln>
                <a:solidFill>
                  <a:schemeClr val="tx2">
                    <a:alpha val="99000"/>
                  </a:schemeClr>
                </a:solidFill>
                <a:effectLst/>
                <a:latin typeface="Segoe UI Light" pitchFamily="34" charset="0"/>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785440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44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16789" y="898924"/>
            <a:ext cx="8550914" cy="1218282"/>
          </a:xfrm>
        </p:spPr>
        <p:txBody>
          <a:bodyPr/>
          <a:lstStyle>
            <a:lvl1pPr marL="0" indent="0" algn="l">
              <a:lnSpc>
                <a:spcPts val="1874"/>
              </a:lnSpc>
              <a:spcBef>
                <a:spcPts val="0"/>
              </a:spcBef>
              <a:buNone/>
              <a:defRPr>
                <a:solidFill>
                  <a:schemeClr val="tx2"/>
                </a:solidFill>
              </a:defRPr>
            </a:lvl1pPr>
            <a:lvl2pPr marL="0" indent="0" algn="l">
              <a:lnSpc>
                <a:spcPts val="1874"/>
              </a:lnSpc>
              <a:spcBef>
                <a:spcPts val="0"/>
              </a:spcBef>
              <a:buNone/>
              <a:defRPr>
                <a:solidFill>
                  <a:schemeClr val="tx2"/>
                </a:solidFill>
              </a:defRPr>
            </a:lvl2pPr>
            <a:lvl3pPr marL="0" indent="0" algn="l">
              <a:lnSpc>
                <a:spcPts val="1874"/>
              </a:lnSpc>
              <a:spcBef>
                <a:spcPts val="0"/>
              </a:spcBef>
              <a:buNone/>
              <a:defRPr>
                <a:solidFill>
                  <a:schemeClr val="tx2"/>
                </a:solidFill>
              </a:defRPr>
            </a:lvl3pPr>
            <a:lvl4pPr marL="0" indent="0" algn="l">
              <a:lnSpc>
                <a:spcPts val="1874"/>
              </a:lnSpc>
              <a:spcBef>
                <a:spcPts val="0"/>
              </a:spcBef>
              <a:buNone/>
              <a:defRPr>
                <a:solidFill>
                  <a:schemeClr val="tx2"/>
                </a:solidFill>
              </a:defRPr>
            </a:lvl4pPr>
            <a:lvl5pPr marL="0" indent="0" algn="l">
              <a:lnSpc>
                <a:spcPts val="1874"/>
              </a:lnSpc>
              <a:spcBef>
                <a:spcPts val="0"/>
              </a:spcBef>
              <a:buNone/>
              <a:defRPr>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1"/>
          <p:cNvSpPr>
            <a:spLocks noGrp="1"/>
          </p:cNvSpPr>
          <p:nvPr>
            <p:ph type="title"/>
          </p:nvPr>
        </p:nvSpPr>
        <p:spPr>
          <a:xfrm>
            <a:off x="316789" y="327314"/>
            <a:ext cx="8550915" cy="363561"/>
          </a:xfrm>
        </p:spPr>
        <p:txBody>
          <a:bodyPr/>
          <a:lstStyle>
            <a:lvl1pPr algn="l" defTabSz="685757" rtl="0" eaLnBrk="1" latinLnBrk="0" hangingPunct="1">
              <a:lnSpc>
                <a:spcPct val="90000"/>
              </a:lnSpc>
              <a:spcBef>
                <a:spcPct val="0"/>
              </a:spcBef>
              <a:buNone/>
              <a:defRPr lang="en-US" sz="2600" b="0" kern="1200" cap="none" spc="0" baseline="0" dirty="0">
                <a:ln w="3175">
                  <a:noFill/>
                </a:ln>
                <a:solidFill>
                  <a:schemeClr val="tx2">
                    <a:alpha val="99000"/>
                  </a:schemeClr>
                </a:solidFill>
                <a:effectLst/>
                <a:latin typeface="Segoe UI Light" pitchFamily="34" charset="0"/>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904894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45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16789" y="898924"/>
            <a:ext cx="8550914" cy="1218282"/>
          </a:xfrm>
        </p:spPr>
        <p:txBody>
          <a:bodyPr/>
          <a:lstStyle>
            <a:lvl1pPr marL="0" indent="0" algn="l">
              <a:lnSpc>
                <a:spcPts val="1874"/>
              </a:lnSpc>
              <a:spcBef>
                <a:spcPts val="0"/>
              </a:spcBef>
              <a:buNone/>
              <a:defRPr>
                <a:solidFill>
                  <a:schemeClr val="tx2"/>
                </a:solidFill>
              </a:defRPr>
            </a:lvl1pPr>
            <a:lvl2pPr marL="0" indent="0" algn="l">
              <a:lnSpc>
                <a:spcPts val="1874"/>
              </a:lnSpc>
              <a:spcBef>
                <a:spcPts val="0"/>
              </a:spcBef>
              <a:buNone/>
              <a:defRPr>
                <a:solidFill>
                  <a:schemeClr val="tx2"/>
                </a:solidFill>
              </a:defRPr>
            </a:lvl2pPr>
            <a:lvl3pPr marL="0" indent="0" algn="l">
              <a:lnSpc>
                <a:spcPts val="1874"/>
              </a:lnSpc>
              <a:spcBef>
                <a:spcPts val="0"/>
              </a:spcBef>
              <a:buNone/>
              <a:defRPr>
                <a:solidFill>
                  <a:schemeClr val="tx2"/>
                </a:solidFill>
              </a:defRPr>
            </a:lvl3pPr>
            <a:lvl4pPr marL="0" indent="0" algn="l">
              <a:lnSpc>
                <a:spcPts val="1874"/>
              </a:lnSpc>
              <a:spcBef>
                <a:spcPts val="0"/>
              </a:spcBef>
              <a:buNone/>
              <a:defRPr>
                <a:solidFill>
                  <a:schemeClr val="tx2"/>
                </a:solidFill>
              </a:defRPr>
            </a:lvl4pPr>
            <a:lvl5pPr marL="0" indent="0" algn="l">
              <a:lnSpc>
                <a:spcPts val="1874"/>
              </a:lnSpc>
              <a:spcBef>
                <a:spcPts val="0"/>
              </a:spcBef>
              <a:buNone/>
              <a:defRPr>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1"/>
          <p:cNvSpPr>
            <a:spLocks noGrp="1"/>
          </p:cNvSpPr>
          <p:nvPr>
            <p:ph type="title"/>
          </p:nvPr>
        </p:nvSpPr>
        <p:spPr>
          <a:xfrm>
            <a:off x="316789" y="327314"/>
            <a:ext cx="8550915" cy="363561"/>
          </a:xfrm>
        </p:spPr>
        <p:txBody>
          <a:bodyPr/>
          <a:lstStyle>
            <a:lvl1pPr algn="l" defTabSz="685757" rtl="0" eaLnBrk="1" latinLnBrk="0" hangingPunct="1">
              <a:lnSpc>
                <a:spcPct val="90000"/>
              </a:lnSpc>
              <a:spcBef>
                <a:spcPct val="0"/>
              </a:spcBef>
              <a:buNone/>
              <a:defRPr lang="en-US" sz="2600" b="0" kern="1200" cap="none" spc="0" baseline="0" dirty="0">
                <a:ln w="3175">
                  <a:noFill/>
                </a:ln>
                <a:solidFill>
                  <a:schemeClr val="tx2">
                    <a:alpha val="99000"/>
                  </a:schemeClr>
                </a:solidFill>
                <a:effectLst/>
                <a:latin typeface="Segoe UI Light" pitchFamily="34" charset="0"/>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491644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46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16789" y="898924"/>
            <a:ext cx="8550914" cy="1218282"/>
          </a:xfrm>
        </p:spPr>
        <p:txBody>
          <a:bodyPr/>
          <a:lstStyle>
            <a:lvl1pPr marL="0" indent="0" algn="l">
              <a:lnSpc>
                <a:spcPts val="1874"/>
              </a:lnSpc>
              <a:spcBef>
                <a:spcPts val="0"/>
              </a:spcBef>
              <a:buNone/>
              <a:defRPr>
                <a:solidFill>
                  <a:schemeClr val="tx2"/>
                </a:solidFill>
              </a:defRPr>
            </a:lvl1pPr>
            <a:lvl2pPr marL="0" indent="0" algn="l">
              <a:lnSpc>
                <a:spcPts val="1874"/>
              </a:lnSpc>
              <a:spcBef>
                <a:spcPts val="0"/>
              </a:spcBef>
              <a:buNone/>
              <a:defRPr>
                <a:solidFill>
                  <a:schemeClr val="tx2"/>
                </a:solidFill>
              </a:defRPr>
            </a:lvl2pPr>
            <a:lvl3pPr marL="0" indent="0" algn="l">
              <a:lnSpc>
                <a:spcPts val="1874"/>
              </a:lnSpc>
              <a:spcBef>
                <a:spcPts val="0"/>
              </a:spcBef>
              <a:buNone/>
              <a:defRPr>
                <a:solidFill>
                  <a:schemeClr val="tx2"/>
                </a:solidFill>
              </a:defRPr>
            </a:lvl3pPr>
            <a:lvl4pPr marL="0" indent="0" algn="l">
              <a:lnSpc>
                <a:spcPts val="1874"/>
              </a:lnSpc>
              <a:spcBef>
                <a:spcPts val="0"/>
              </a:spcBef>
              <a:buNone/>
              <a:defRPr>
                <a:solidFill>
                  <a:schemeClr val="tx2"/>
                </a:solidFill>
              </a:defRPr>
            </a:lvl4pPr>
            <a:lvl5pPr marL="0" indent="0" algn="l">
              <a:lnSpc>
                <a:spcPts val="1874"/>
              </a:lnSpc>
              <a:spcBef>
                <a:spcPts val="0"/>
              </a:spcBef>
              <a:buNone/>
              <a:defRPr>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1"/>
          <p:cNvSpPr>
            <a:spLocks noGrp="1"/>
          </p:cNvSpPr>
          <p:nvPr>
            <p:ph type="title"/>
          </p:nvPr>
        </p:nvSpPr>
        <p:spPr>
          <a:xfrm>
            <a:off x="316789" y="327314"/>
            <a:ext cx="8550915" cy="363561"/>
          </a:xfrm>
        </p:spPr>
        <p:txBody>
          <a:bodyPr/>
          <a:lstStyle>
            <a:lvl1pPr algn="l" defTabSz="685757" rtl="0" eaLnBrk="1" latinLnBrk="0" hangingPunct="1">
              <a:lnSpc>
                <a:spcPct val="90000"/>
              </a:lnSpc>
              <a:spcBef>
                <a:spcPct val="0"/>
              </a:spcBef>
              <a:buNone/>
              <a:defRPr lang="en-US" sz="2600" b="0" kern="1200" cap="none" spc="0" baseline="0" dirty="0">
                <a:ln w="3175">
                  <a:noFill/>
                </a:ln>
                <a:solidFill>
                  <a:schemeClr val="tx2">
                    <a:alpha val="99000"/>
                  </a:schemeClr>
                </a:solidFill>
                <a:effectLst/>
                <a:latin typeface="Segoe UI Light" pitchFamily="34" charset="0"/>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968217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47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16789" y="898924"/>
            <a:ext cx="8550914" cy="1218282"/>
          </a:xfrm>
        </p:spPr>
        <p:txBody>
          <a:bodyPr/>
          <a:lstStyle>
            <a:lvl1pPr marL="0" indent="0" algn="l">
              <a:lnSpc>
                <a:spcPts val="1874"/>
              </a:lnSpc>
              <a:spcBef>
                <a:spcPts val="0"/>
              </a:spcBef>
              <a:buNone/>
              <a:defRPr>
                <a:solidFill>
                  <a:schemeClr val="tx2"/>
                </a:solidFill>
              </a:defRPr>
            </a:lvl1pPr>
            <a:lvl2pPr marL="0" indent="0" algn="l">
              <a:lnSpc>
                <a:spcPts val="1874"/>
              </a:lnSpc>
              <a:spcBef>
                <a:spcPts val="0"/>
              </a:spcBef>
              <a:buNone/>
              <a:defRPr>
                <a:solidFill>
                  <a:schemeClr val="tx2"/>
                </a:solidFill>
              </a:defRPr>
            </a:lvl2pPr>
            <a:lvl3pPr marL="0" indent="0" algn="l">
              <a:lnSpc>
                <a:spcPts val="1874"/>
              </a:lnSpc>
              <a:spcBef>
                <a:spcPts val="0"/>
              </a:spcBef>
              <a:buNone/>
              <a:defRPr>
                <a:solidFill>
                  <a:schemeClr val="tx2"/>
                </a:solidFill>
              </a:defRPr>
            </a:lvl3pPr>
            <a:lvl4pPr marL="0" indent="0" algn="l">
              <a:lnSpc>
                <a:spcPts val="1874"/>
              </a:lnSpc>
              <a:spcBef>
                <a:spcPts val="0"/>
              </a:spcBef>
              <a:buNone/>
              <a:defRPr>
                <a:solidFill>
                  <a:schemeClr val="tx2"/>
                </a:solidFill>
              </a:defRPr>
            </a:lvl4pPr>
            <a:lvl5pPr marL="0" indent="0" algn="l">
              <a:lnSpc>
                <a:spcPts val="1874"/>
              </a:lnSpc>
              <a:spcBef>
                <a:spcPts val="0"/>
              </a:spcBef>
              <a:buNone/>
              <a:defRPr>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1"/>
          <p:cNvSpPr>
            <a:spLocks noGrp="1"/>
          </p:cNvSpPr>
          <p:nvPr>
            <p:ph type="title"/>
          </p:nvPr>
        </p:nvSpPr>
        <p:spPr>
          <a:xfrm>
            <a:off x="316789" y="327314"/>
            <a:ext cx="8550915" cy="363561"/>
          </a:xfrm>
        </p:spPr>
        <p:txBody>
          <a:bodyPr/>
          <a:lstStyle>
            <a:lvl1pPr algn="l" defTabSz="685757" rtl="0" eaLnBrk="1" latinLnBrk="0" hangingPunct="1">
              <a:lnSpc>
                <a:spcPct val="90000"/>
              </a:lnSpc>
              <a:spcBef>
                <a:spcPct val="0"/>
              </a:spcBef>
              <a:buNone/>
              <a:defRPr lang="en-US" sz="2600" b="0" kern="1200" cap="none" spc="0" baseline="0" dirty="0">
                <a:ln w="3175">
                  <a:noFill/>
                </a:ln>
                <a:solidFill>
                  <a:schemeClr val="tx2">
                    <a:alpha val="99000"/>
                  </a:schemeClr>
                </a:solidFill>
                <a:effectLst/>
                <a:latin typeface="Segoe UI Light" pitchFamily="34" charset="0"/>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19075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Question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Arrow Bar"/>
          <p:cNvSpPr/>
          <p:nvPr userDrawn="1"/>
        </p:nvSpPr>
        <p:spPr bwMode="auto">
          <a:xfrm>
            <a:off x="766755" y="1135856"/>
            <a:ext cx="5373499" cy="337185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970613" y="1292938"/>
            <a:ext cx="4973345" cy="3037778"/>
          </a:xfrm>
        </p:spPr>
        <p:txBody>
          <a:bodyPr anchor="ctr" anchorCtr="0">
            <a:normAutofit/>
            <a:scene3d>
              <a:camera prst="orthographicFront"/>
              <a:lightRig rig="flat" dir="t"/>
            </a:scene3d>
            <a:sp3d>
              <a:contourClr>
                <a:schemeClr val="tx2"/>
              </a:contourClr>
            </a:sp3d>
          </a:bodyPr>
          <a:lstStyle>
            <a:lvl1pPr marL="0" indent="0" algn="l" defTabSz="685835"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Question</a:t>
            </a:r>
          </a:p>
        </p:txBody>
      </p:sp>
      <p:sp>
        <p:nvSpPr>
          <p:cNvPr id="20" name="Rectangle 19"/>
          <p:cNvSpPr/>
          <p:nvPr/>
        </p:nvSpPr>
        <p:spPr bwMode="auto">
          <a:xfrm>
            <a:off x="6255795" y="1135857"/>
            <a:ext cx="2120991" cy="2235994"/>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8" name="Rectangle 17"/>
          <p:cNvSpPr/>
          <p:nvPr userDrawn="1"/>
        </p:nvSpPr>
        <p:spPr bwMode="grayWhite">
          <a:xfrm>
            <a:off x="6637497" y="887054"/>
            <a:ext cx="1357589" cy="2827697"/>
          </a:xfrm>
          <a:prstGeom prst="rect">
            <a:avLst/>
          </a:prstGeom>
          <a:noFill/>
        </p:spPr>
        <p:txBody>
          <a:bodyPr wrap="square" lIns="68586" tIns="34294" rIns="68586" bIns="34294">
            <a:spAutoFit/>
          </a:bodyPr>
          <a:lstStyle/>
          <a:p>
            <a:pPr lvl="0" algn="ctr"/>
            <a:r>
              <a:rPr lang="en-US" sz="17900" b="1" cap="none" spc="0" noProof="0" dirty="0" smtClean="0">
                <a:ln w="57150">
                  <a:solidFill>
                    <a:srgbClr val="FFFFFF"/>
                  </a:solidFill>
                  <a:prstDash val="solid"/>
                </a:ln>
                <a:noFill/>
                <a:effectLst/>
                <a:latin typeface="Arial Black" pitchFamily="34" charset="0"/>
              </a:rPr>
              <a:t>?</a:t>
            </a:r>
            <a:endParaRPr lang="en-US" sz="17900" b="1" cap="none" spc="0" noProof="0" dirty="0">
              <a:ln w="57150">
                <a:solidFill>
                  <a:srgbClr val="FFFFFF"/>
                </a:solidFill>
                <a:prstDash val="solid"/>
              </a:ln>
              <a:noFill/>
              <a:effectLst/>
              <a:latin typeface="Arial Black" pitchFamily="34" charset="0"/>
            </a:endParaRPr>
          </a:p>
        </p:txBody>
      </p:sp>
      <p:sp>
        <p:nvSpPr>
          <p:cNvPr id="28" name="Rectangle 27"/>
          <p:cNvSpPr/>
          <p:nvPr userDrawn="1"/>
        </p:nvSpPr>
        <p:spPr bwMode="auto">
          <a:xfrm>
            <a:off x="6255795" y="3486151"/>
            <a:ext cx="2120991" cy="1021556"/>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984249398"/>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Quot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Arrow Bar"/>
          <p:cNvSpPr/>
          <p:nvPr userDrawn="1"/>
        </p:nvSpPr>
        <p:spPr bwMode="auto">
          <a:xfrm>
            <a:off x="1999580" y="1135857"/>
            <a:ext cx="5144840" cy="337549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1" name="TechEd Tile"/>
          <p:cNvSpPr/>
          <p:nvPr userDrawn="1"/>
        </p:nvSpPr>
        <p:spPr bwMode="auto">
          <a:xfrm>
            <a:off x="766755" y="1135856"/>
            <a:ext cx="1121144" cy="112471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7" name="Rectangle 16"/>
          <p:cNvSpPr/>
          <p:nvPr/>
        </p:nvSpPr>
        <p:spPr bwMode="auto">
          <a:xfrm>
            <a:off x="763409" y="2390914"/>
            <a:ext cx="1121841" cy="2120439"/>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9" name="TechEd Tile"/>
          <p:cNvSpPr/>
          <p:nvPr userDrawn="1"/>
        </p:nvSpPr>
        <p:spPr bwMode="auto">
          <a:xfrm>
            <a:off x="7251924" y="3387334"/>
            <a:ext cx="1121144" cy="112471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0" name="Rectangle 19"/>
          <p:cNvSpPr/>
          <p:nvPr userDrawn="1"/>
        </p:nvSpPr>
        <p:spPr bwMode="auto">
          <a:xfrm>
            <a:off x="7248579" y="1135856"/>
            <a:ext cx="1121841" cy="2120439"/>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8" name="Text Placeholder 7"/>
          <p:cNvSpPr>
            <a:spLocks noGrp="1"/>
          </p:cNvSpPr>
          <p:nvPr>
            <p:ph type="body" sz="quarter" idx="10"/>
          </p:nvPr>
        </p:nvSpPr>
        <p:spPr>
          <a:xfrm>
            <a:off x="2171076" y="1371600"/>
            <a:ext cx="4761714" cy="2971800"/>
          </a:xfrm>
        </p:spPr>
        <p:txBody>
          <a:bodyPr anchor="ctr" anchorCtr="0">
            <a:normAutofit/>
          </a:bodyPr>
          <a:lstStyle>
            <a:lvl1pPr marL="0" indent="0">
              <a:buFont typeface="Arial" pitchFamily="34" charset="0"/>
              <a:buNone/>
              <a:defRPr sz="3000" b="1"/>
            </a:lvl1pPr>
          </a:lstStyle>
          <a:p>
            <a:pPr lvl="0"/>
            <a:endParaRPr lang="en-US" dirty="0"/>
          </a:p>
        </p:txBody>
      </p:sp>
      <p:sp>
        <p:nvSpPr>
          <p:cNvPr id="21" name="Rectangle 20"/>
          <p:cNvSpPr/>
          <p:nvPr userDrawn="1"/>
        </p:nvSpPr>
        <p:spPr bwMode="grayWhite">
          <a:xfrm>
            <a:off x="741952" y="872342"/>
            <a:ext cx="937039" cy="1985159"/>
          </a:xfrm>
          <a:prstGeom prst="rect">
            <a:avLst/>
          </a:prstGeom>
          <a:noFill/>
        </p:spPr>
        <p:txBody>
          <a:bodyPr wrap="none" lIns="68586" tIns="34294" rIns="68586" bIns="34294">
            <a:spAutoFit/>
          </a:bodyPr>
          <a:lstStyle/>
          <a:p>
            <a:pPr algn="ctr"/>
            <a:r>
              <a:rPr lang="en-US" sz="12500" b="1" cap="none" spc="0" dirty="0" smtClean="0">
                <a:ln w="38100">
                  <a:solidFill>
                    <a:schemeClr val="tx1"/>
                  </a:solidFill>
                  <a:prstDash val="solid"/>
                </a:ln>
                <a:noFill/>
                <a:effectLst/>
                <a:latin typeface="Arial Black" pitchFamily="34" charset="0"/>
              </a:rPr>
              <a:t>“</a:t>
            </a:r>
            <a:endParaRPr lang="en-US" sz="12500" b="1" cap="none" spc="0" dirty="0">
              <a:ln w="38100">
                <a:solidFill>
                  <a:schemeClr val="tx1"/>
                </a:solidFill>
                <a:prstDash val="solid"/>
              </a:ln>
              <a:noFill/>
              <a:effectLst/>
              <a:latin typeface="Arial Black" pitchFamily="34" charset="0"/>
            </a:endParaRPr>
          </a:p>
        </p:txBody>
      </p:sp>
      <p:sp>
        <p:nvSpPr>
          <p:cNvPr id="22" name="Rectangle 21"/>
          <p:cNvSpPr/>
          <p:nvPr userDrawn="1"/>
        </p:nvSpPr>
        <p:spPr bwMode="grayWhite">
          <a:xfrm>
            <a:off x="7433381" y="3143251"/>
            <a:ext cx="937039" cy="1985159"/>
          </a:xfrm>
          <a:prstGeom prst="rect">
            <a:avLst/>
          </a:prstGeom>
          <a:noFill/>
        </p:spPr>
        <p:txBody>
          <a:bodyPr wrap="none" lIns="68586" tIns="34294" rIns="68586" bIns="34294">
            <a:spAutoFit/>
          </a:bodyPr>
          <a:lstStyle/>
          <a:p>
            <a:pPr algn="ctr"/>
            <a:r>
              <a:rPr lang="en-US" sz="12500" b="1" cap="none" spc="0" dirty="0" smtClean="0">
                <a:ln w="38100">
                  <a:solidFill>
                    <a:schemeClr val="tx1"/>
                  </a:solidFill>
                  <a:prstDash val="solid"/>
                </a:ln>
                <a:noFill/>
                <a:effectLst/>
                <a:latin typeface="Arial Black" pitchFamily="34" charset="0"/>
              </a:rPr>
              <a:t>”</a:t>
            </a:r>
            <a:endParaRPr lang="en-US" sz="12500" b="1" cap="none" spc="0" dirty="0">
              <a:ln w="38100">
                <a:solidFill>
                  <a:schemeClr val="tx1"/>
                </a:solidFill>
                <a:prstDash val="solid"/>
              </a:ln>
              <a:noFill/>
              <a:effectLst/>
              <a:latin typeface="Arial Black" pitchFamily="34" charset="0"/>
            </a:endParaRPr>
          </a:p>
        </p:txBody>
      </p:sp>
    </p:spTree>
    <p:extLst>
      <p:ext uri="{BB962C8B-B14F-4D97-AF65-F5344CB8AC3E}">
        <p14:creationId xmlns:p14="http://schemas.microsoft.com/office/powerpoint/2010/main" val="1203094814"/>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Takeaway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Arrow Bar"/>
          <p:cNvSpPr/>
          <p:nvPr userDrawn="1"/>
        </p:nvSpPr>
        <p:spPr bwMode="auto">
          <a:xfrm>
            <a:off x="2399735" y="1135857"/>
            <a:ext cx="6002313" cy="337549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1" name="TechEd Tile"/>
          <p:cNvSpPr/>
          <p:nvPr userDrawn="1"/>
        </p:nvSpPr>
        <p:spPr bwMode="auto">
          <a:xfrm>
            <a:off x="766754" y="2275359"/>
            <a:ext cx="1521050" cy="2235994"/>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7" name="Rectangle 16"/>
          <p:cNvSpPr/>
          <p:nvPr/>
        </p:nvSpPr>
        <p:spPr bwMode="auto">
          <a:xfrm>
            <a:off x="763409" y="1135856"/>
            <a:ext cx="1521996" cy="102520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8" name="Text Placeholder 7"/>
          <p:cNvSpPr>
            <a:spLocks noGrp="1"/>
          </p:cNvSpPr>
          <p:nvPr>
            <p:ph type="body" sz="quarter" idx="10"/>
          </p:nvPr>
        </p:nvSpPr>
        <p:spPr>
          <a:xfrm>
            <a:off x="2628394" y="1371600"/>
            <a:ext cx="5468369" cy="2914650"/>
          </a:xfrm>
        </p:spPr>
        <p:txBody>
          <a:bodyPr vert="horz" wrap="square" lIns="0" tIns="0" rIns="0" bIns="0" rtlCol="0" anchor="ctr" anchorCtr="0">
            <a:normAutofit/>
          </a:bodyPr>
          <a:lstStyle>
            <a:lvl1pPr>
              <a:defRPr lang="en-US" sz="2700" dirty="0"/>
            </a:lvl1pPr>
          </a:lstStyle>
          <a:p>
            <a:pPr lvl="0"/>
            <a:endParaRPr lang="en-US" dirty="0"/>
          </a:p>
        </p:txBody>
      </p:sp>
      <p:sp>
        <p:nvSpPr>
          <p:cNvPr id="10" name="Freeform 88"/>
          <p:cNvSpPr>
            <a:spLocks noEditPoints="1"/>
          </p:cNvSpPr>
          <p:nvPr userDrawn="1"/>
        </p:nvSpPr>
        <p:spPr bwMode="auto">
          <a:xfrm>
            <a:off x="1169308" y="1290579"/>
            <a:ext cx="715943" cy="715757"/>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12" name="Freeform 13"/>
          <p:cNvSpPr>
            <a:spLocks noEditPoints="1"/>
          </p:cNvSpPr>
          <p:nvPr userDrawn="1"/>
        </p:nvSpPr>
        <p:spPr bwMode="auto">
          <a:xfrm>
            <a:off x="1076773" y="2568254"/>
            <a:ext cx="895265" cy="1650203"/>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7084731"/>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Vide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3" y="2390353"/>
            <a:ext cx="5373500"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3008303" y="1135856"/>
            <a:ext cx="5373500" cy="112471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5" y="1189940"/>
            <a:ext cx="4163390" cy="1033983"/>
          </a:xfrm>
        </p:spPr>
        <p:txBody>
          <a:bodyPr anchor="ctr" anchorCtr="0">
            <a:noAutofit/>
            <a:scene3d>
              <a:camera prst="orthographicFront"/>
              <a:lightRig rig="flat" dir="t"/>
            </a:scene3d>
            <a:sp3d>
              <a:contourClr>
                <a:schemeClr val="tx2"/>
              </a:contourClr>
            </a:sp3d>
          </a:bodyPr>
          <a:lstStyle>
            <a:lvl1pPr marL="0" indent="0" algn="l" defTabSz="68548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Video</a:t>
            </a:r>
          </a:p>
        </p:txBody>
      </p:sp>
      <p:sp useBgFill="1">
        <p:nvSpPr>
          <p:cNvPr id="9" name="Left Mask"/>
          <p:cNvSpPr/>
          <p:nvPr userDrawn="1"/>
        </p:nvSpPr>
        <p:spPr bwMode="auto">
          <a:xfrm>
            <a:off x="-1" y="1135857"/>
            <a:ext cx="3008303"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3135108" y="3886211"/>
            <a:ext cx="4959201" cy="346249"/>
          </a:xfrm>
        </p:spPr>
        <p:txBody>
          <a:bodyPr>
            <a:noAutofit/>
          </a:bodyPr>
          <a:lstStyle>
            <a:lvl1pPr marL="0" indent="0" algn="l" defTabSz="68548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39" indent="0" algn="ctr">
              <a:buNone/>
              <a:defRPr>
                <a:solidFill>
                  <a:schemeClr val="tx1">
                    <a:tint val="75000"/>
                  </a:schemeClr>
                </a:solidFill>
              </a:defRPr>
            </a:lvl2pPr>
            <a:lvl3pPr marL="685487" indent="0" algn="ctr">
              <a:buNone/>
              <a:defRPr>
                <a:solidFill>
                  <a:schemeClr val="tx1">
                    <a:tint val="75000"/>
                  </a:schemeClr>
                </a:solidFill>
              </a:defRPr>
            </a:lvl3pPr>
            <a:lvl4pPr marL="1028229" indent="0" algn="ctr">
              <a:buNone/>
              <a:defRPr>
                <a:solidFill>
                  <a:schemeClr val="tx1">
                    <a:tint val="75000"/>
                  </a:schemeClr>
                </a:solidFill>
              </a:defRPr>
            </a:lvl4pPr>
            <a:lvl5pPr marL="1370975" indent="0" algn="ctr">
              <a:buNone/>
              <a:defRPr>
                <a:solidFill>
                  <a:schemeClr val="tx1">
                    <a:tint val="75000"/>
                  </a:schemeClr>
                </a:solidFill>
              </a:defRPr>
            </a:lvl5pPr>
            <a:lvl6pPr marL="1713712" indent="0" algn="ctr">
              <a:buNone/>
              <a:defRPr>
                <a:solidFill>
                  <a:schemeClr val="tx1">
                    <a:tint val="75000"/>
                  </a:schemeClr>
                </a:solidFill>
              </a:defRPr>
            </a:lvl6pPr>
            <a:lvl7pPr marL="2056459" indent="0" algn="ctr">
              <a:buNone/>
              <a:defRPr>
                <a:solidFill>
                  <a:schemeClr val="tx1">
                    <a:tint val="75000"/>
                  </a:schemeClr>
                </a:solidFill>
              </a:defRPr>
            </a:lvl7pPr>
            <a:lvl8pPr marL="2399204" indent="0" algn="ctr">
              <a:buNone/>
              <a:defRPr>
                <a:solidFill>
                  <a:schemeClr val="tx1">
                    <a:tint val="75000"/>
                  </a:schemeClr>
                </a:solidFill>
              </a:defRPr>
            </a:lvl8pPr>
            <a:lvl9pPr marL="274195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20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50" tIns="34276" rIns="68550" bIns="34276" numCol="1" anchor="t" anchorCtr="0" compatLnSpc="1">
            <a:prstTxWarp prst="textNoShape">
              <a:avLst/>
            </a:prstTxWarp>
          </a:bodyPr>
          <a:lstStyle/>
          <a:p>
            <a:endParaRPr lang="en-US" sz="1400" dirty="0"/>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1"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8381812" y="1223114"/>
            <a:ext cx="762199"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3135106" y="2390362"/>
            <a:ext cx="4959201" cy="1142621"/>
          </a:xfrm>
        </p:spPr>
        <p:txBody>
          <a:bodyPr anchor="ctr" anchorCtr="0">
            <a:noAutofit/>
          </a:bodyPr>
          <a:lstStyle>
            <a:lvl1pPr algn="l" defTabSz="685487" rtl="0" eaLnBrk="1" latinLnBrk="0" hangingPunct="1">
              <a:lnSpc>
                <a:spcPct val="90000"/>
              </a:lnSpc>
              <a:spcBef>
                <a:spcPct val="0"/>
              </a:spcBef>
              <a:buNone/>
              <a:defRPr lang="en-US" sz="3000" b="1" kern="1200" cap="none" spc="-75" baseline="0" dirty="0">
                <a:ln w="3175">
                  <a:noFill/>
                </a:ln>
                <a:solidFill>
                  <a:schemeClr val="accent5">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1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9" name="Green Tile"/>
          <p:cNvGrpSpPr/>
          <p:nvPr userDrawn="1"/>
        </p:nvGrpSpPr>
        <p:grpSpPr>
          <a:xfrm>
            <a:off x="762091" y="2390354"/>
            <a:ext cx="2120991" cy="2120439"/>
            <a:chOff x="-2619354" y="-790581"/>
            <a:chExt cx="2827252" cy="2827252"/>
          </a:xfrm>
        </p:grpSpPr>
        <p:sp>
          <p:nvSpPr>
            <p:cNvPr id="20" name="Rectangle 19"/>
            <p:cNvSpPr/>
            <p:nvPr/>
          </p:nvSpPr>
          <p:spPr bwMode="auto">
            <a:xfrm>
              <a:off x="-2619354" y="-790581"/>
              <a:ext cx="2827252" cy="282725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1" name="Play Icon"/>
            <p:cNvSpPr>
              <a:spLocks noEditPoints="1"/>
            </p:cNvSpPr>
            <p:nvPr/>
          </p:nvSpPr>
          <p:spPr bwMode="auto">
            <a:xfrm>
              <a:off x="-2097903" y="-269875"/>
              <a:ext cx="1784350" cy="1784350"/>
            </a:xfrm>
            <a:custGeom>
              <a:avLst/>
              <a:gdLst>
                <a:gd name="T0" fmla="*/ 168 w 224"/>
                <a:gd name="T1" fmla="*/ 112 h 224"/>
                <a:gd name="T2" fmla="*/ 86 w 224"/>
                <a:gd name="T3" fmla="*/ 173 h 224"/>
                <a:gd name="T4" fmla="*/ 86 w 224"/>
                <a:gd name="T5" fmla="*/ 50 h 224"/>
                <a:gd name="T6" fmla="*/ 168 w 224"/>
                <a:gd name="T7" fmla="*/ 112 h 224"/>
                <a:gd name="T8" fmla="*/ 168 w 224"/>
                <a:gd name="T9" fmla="*/ 112 h 224"/>
                <a:gd name="T10" fmla="*/ 112 w 224"/>
                <a:gd name="T11" fmla="*/ 0 h 224"/>
                <a:gd name="T12" fmla="*/ 224 w 224"/>
                <a:gd name="T13" fmla="*/ 112 h 224"/>
                <a:gd name="T14" fmla="*/ 112 w 224"/>
                <a:gd name="T15" fmla="*/ 224 h 224"/>
                <a:gd name="T16" fmla="*/ 0 w 224"/>
                <a:gd name="T17" fmla="*/ 112 h 224"/>
                <a:gd name="T18" fmla="*/ 112 w 224"/>
                <a:gd name="T19" fmla="*/ 0 h 224"/>
                <a:gd name="T20" fmla="*/ 112 w 224"/>
                <a:gd name="T21" fmla="*/ 216 h 224"/>
                <a:gd name="T22" fmla="*/ 216 w 224"/>
                <a:gd name="T23" fmla="*/ 112 h 224"/>
                <a:gd name="T24" fmla="*/ 112 w 224"/>
                <a:gd name="T25" fmla="*/ 8 h 224"/>
                <a:gd name="T26" fmla="*/ 8 w 224"/>
                <a:gd name="T27" fmla="*/ 112 h 224"/>
                <a:gd name="T28" fmla="*/ 112 w 224"/>
                <a:gd name="T29" fmla="*/ 21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4" h="224">
                  <a:moveTo>
                    <a:pt x="168" y="112"/>
                  </a:moveTo>
                  <a:cubicBezTo>
                    <a:pt x="86" y="173"/>
                    <a:pt x="86" y="173"/>
                    <a:pt x="86" y="173"/>
                  </a:cubicBezTo>
                  <a:cubicBezTo>
                    <a:pt x="86" y="50"/>
                    <a:pt x="86" y="50"/>
                    <a:pt x="86" y="50"/>
                  </a:cubicBezTo>
                  <a:cubicBezTo>
                    <a:pt x="168" y="112"/>
                    <a:pt x="168" y="112"/>
                    <a:pt x="168" y="112"/>
                  </a:cubicBezTo>
                  <a:cubicBezTo>
                    <a:pt x="168" y="112"/>
                    <a:pt x="168" y="112"/>
                    <a:pt x="168" y="112"/>
                  </a:cubicBezTo>
                  <a:close/>
                  <a:moveTo>
                    <a:pt x="112" y="0"/>
                  </a:moveTo>
                  <a:cubicBezTo>
                    <a:pt x="174" y="0"/>
                    <a:pt x="224" y="50"/>
                    <a:pt x="224" y="112"/>
                  </a:cubicBezTo>
                  <a:cubicBezTo>
                    <a:pt x="224" y="174"/>
                    <a:pt x="174" y="224"/>
                    <a:pt x="112" y="224"/>
                  </a:cubicBezTo>
                  <a:cubicBezTo>
                    <a:pt x="51" y="224"/>
                    <a:pt x="0" y="174"/>
                    <a:pt x="0" y="112"/>
                  </a:cubicBezTo>
                  <a:cubicBezTo>
                    <a:pt x="0" y="50"/>
                    <a:pt x="51" y="0"/>
                    <a:pt x="112" y="0"/>
                  </a:cubicBezTo>
                  <a:moveTo>
                    <a:pt x="112" y="216"/>
                  </a:moveTo>
                  <a:cubicBezTo>
                    <a:pt x="170" y="216"/>
                    <a:pt x="216" y="169"/>
                    <a:pt x="216" y="112"/>
                  </a:cubicBezTo>
                  <a:cubicBezTo>
                    <a:pt x="216" y="54"/>
                    <a:pt x="170" y="8"/>
                    <a:pt x="112" y="8"/>
                  </a:cubicBezTo>
                  <a:cubicBezTo>
                    <a:pt x="55" y="8"/>
                    <a:pt x="8" y="54"/>
                    <a:pt x="8" y="112"/>
                  </a:cubicBezTo>
                  <a:cubicBezTo>
                    <a:pt x="8" y="169"/>
                    <a:pt x="55" y="216"/>
                    <a:pt x="112" y="21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spTree>
    <p:extLst>
      <p:ext uri="{BB962C8B-B14F-4D97-AF65-F5344CB8AC3E}">
        <p14:creationId xmlns:p14="http://schemas.microsoft.com/office/powerpoint/2010/main" val="3888345443"/>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Metro Specia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 name="Picture 2" descr="G:\DVD_Art_08-10-2010\Artwork_Imagery\Brand Photos\Microsoft HealthVault - exp Nov20-2013\1010031_01_03_167.jpg"/>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3968071" y="744188"/>
            <a:ext cx="1508229" cy="2544318"/>
          </a:xfrm>
          <a:prstGeom prst="rect">
            <a:avLst/>
          </a:prstGeom>
          <a:noFill/>
          <a:ln>
            <a:noFill/>
          </a:ln>
          <a:effectLst>
            <a:outerShdw blurRad="558800" dir="5400000" sx="90000" sy="-19000" rotWithShape="0">
              <a:prstClr val="black">
                <a:alpha val="20000"/>
              </a:prstClr>
            </a:outerShdw>
          </a:effectLst>
          <a:extLst>
            <a:ext uri="{909E8E84-426E-40DD-AFC4-6F175D3DCCD1}">
              <a14:hiddenFill xmlns:a14="http://schemas.microsoft.com/office/drawing/2010/main">
                <a:solidFill>
                  <a:srgbClr val="FFFFFF"/>
                </a:solidFill>
              </a14:hiddenFill>
            </a:ext>
          </a:extLst>
        </p:spPr>
      </p:pic>
      <p:sp>
        <p:nvSpPr>
          <p:cNvPr id="21" name="Freeform 20"/>
          <p:cNvSpPr>
            <a:spLocks/>
          </p:cNvSpPr>
          <p:nvPr userDrawn="1"/>
        </p:nvSpPr>
        <p:spPr bwMode="gray">
          <a:xfrm>
            <a:off x="5585828" y="742951"/>
            <a:ext cx="3558174" cy="2545556"/>
          </a:xfrm>
          <a:custGeom>
            <a:avLst/>
            <a:gdLst>
              <a:gd name="T0" fmla="*/ 0 w 2135"/>
              <a:gd name="T1" fmla="*/ 0 h 2138"/>
              <a:gd name="T2" fmla="*/ 2135 w 2135"/>
              <a:gd name="T3" fmla="*/ 0 h 2138"/>
              <a:gd name="T4" fmla="*/ 2135 w 2135"/>
              <a:gd name="T5" fmla="*/ 2138 h 2138"/>
              <a:gd name="T6" fmla="*/ 0 w 2135"/>
              <a:gd name="T7" fmla="*/ 2138 h 2138"/>
              <a:gd name="T8" fmla="*/ 0 w 2135"/>
              <a:gd name="T9" fmla="*/ 0 h 2138"/>
              <a:gd name="T10" fmla="*/ 0 w 2135"/>
              <a:gd name="T11" fmla="*/ 0 h 2138"/>
            </a:gdLst>
            <a:ahLst/>
            <a:cxnLst>
              <a:cxn ang="0">
                <a:pos x="T0" y="T1"/>
              </a:cxn>
              <a:cxn ang="0">
                <a:pos x="T2" y="T3"/>
              </a:cxn>
              <a:cxn ang="0">
                <a:pos x="T4" y="T5"/>
              </a:cxn>
              <a:cxn ang="0">
                <a:pos x="T6" y="T7"/>
              </a:cxn>
              <a:cxn ang="0">
                <a:pos x="T8" y="T9"/>
              </a:cxn>
              <a:cxn ang="0">
                <a:pos x="T10" y="T11"/>
              </a:cxn>
            </a:cxnLst>
            <a:rect l="0" t="0" r="r" b="b"/>
            <a:pathLst>
              <a:path w="2135" h="2138">
                <a:moveTo>
                  <a:pt x="0" y="0"/>
                </a:moveTo>
                <a:lnTo>
                  <a:pt x="2135" y="0"/>
                </a:lnTo>
                <a:lnTo>
                  <a:pt x="2135" y="2138"/>
                </a:lnTo>
                <a:lnTo>
                  <a:pt x="0" y="2138"/>
                </a:lnTo>
                <a:lnTo>
                  <a:pt x="0" y="0"/>
                </a:lnTo>
                <a:lnTo>
                  <a:pt x="0" y="0"/>
                </a:lnTo>
                <a:close/>
              </a:path>
            </a:pathLst>
          </a:custGeom>
          <a:solidFill>
            <a:srgbClr val="64BE46"/>
          </a:solidFill>
          <a:ln>
            <a:noFill/>
          </a:ln>
          <a:effectLst>
            <a:outerShdw blurRad="558800" dir="5400000" sx="90000" sy="-19000" rotWithShape="0">
              <a:prstClr val="black">
                <a:alpha val="20000"/>
              </a:prstClr>
            </a:outerShdw>
          </a:effectLst>
        </p:spPr>
        <p:txBody>
          <a:bodyPr vert="horz" wrap="square" lIns="68586" tIns="34294" rIns="68586" bIns="34294" numCol="1" anchor="t" anchorCtr="0" compatLnSpc="1">
            <a:prstTxWarp prst="textNoShape">
              <a:avLst/>
            </a:prstTxWarp>
          </a:bodyPr>
          <a:lstStyle/>
          <a:p>
            <a:pPr marL="0" marR="0" lvl="0" indent="0" defTabSz="685862"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endParaRPr>
          </a:p>
        </p:txBody>
      </p:sp>
      <p:grpSp>
        <p:nvGrpSpPr>
          <p:cNvPr id="23" name="Group 22"/>
          <p:cNvGrpSpPr/>
          <p:nvPr userDrawn="1"/>
        </p:nvGrpSpPr>
        <p:grpSpPr bwMode="gray">
          <a:xfrm>
            <a:off x="1" y="742951"/>
            <a:ext cx="740857" cy="2576513"/>
            <a:chOff x="0" y="1249363"/>
            <a:chExt cx="1041400" cy="3435350"/>
          </a:xfrm>
          <a:effectLst>
            <a:outerShdw blurRad="508000" dist="431800" dir="5400000" algn="ctr" rotWithShape="0">
              <a:srgbClr val="292929">
                <a:alpha val="20000"/>
              </a:srgbClr>
            </a:outerShdw>
          </a:effectLst>
        </p:grpSpPr>
        <p:sp>
          <p:nvSpPr>
            <p:cNvPr id="24" name="Freeform 6"/>
            <p:cNvSpPr>
              <a:spLocks/>
            </p:cNvSpPr>
            <p:nvPr/>
          </p:nvSpPr>
          <p:spPr bwMode="gray">
            <a:xfrm>
              <a:off x="0" y="1249363"/>
              <a:ext cx="1041400" cy="3394075"/>
            </a:xfrm>
            <a:custGeom>
              <a:avLst/>
              <a:gdLst>
                <a:gd name="T0" fmla="*/ 656 w 656"/>
                <a:gd name="T1" fmla="*/ 1738 h 2138"/>
                <a:gd name="T2" fmla="*/ 0 w 656"/>
                <a:gd name="T3" fmla="*/ 2138 h 2138"/>
                <a:gd name="T4" fmla="*/ 0 w 656"/>
                <a:gd name="T5" fmla="*/ 0 h 2138"/>
                <a:gd name="T6" fmla="*/ 656 w 656"/>
                <a:gd name="T7" fmla="*/ 240 h 2138"/>
                <a:gd name="T8" fmla="*/ 656 w 656"/>
                <a:gd name="T9" fmla="*/ 1738 h 2138"/>
                <a:gd name="T10" fmla="*/ 656 w 656"/>
                <a:gd name="T11" fmla="*/ 1738 h 2138"/>
                <a:gd name="T12" fmla="*/ 656 w 656"/>
                <a:gd name="T13" fmla="*/ 1738 h 2138"/>
              </a:gdLst>
              <a:ahLst/>
              <a:cxnLst>
                <a:cxn ang="0">
                  <a:pos x="T0" y="T1"/>
                </a:cxn>
                <a:cxn ang="0">
                  <a:pos x="T2" y="T3"/>
                </a:cxn>
                <a:cxn ang="0">
                  <a:pos x="T4" y="T5"/>
                </a:cxn>
                <a:cxn ang="0">
                  <a:pos x="T6" y="T7"/>
                </a:cxn>
                <a:cxn ang="0">
                  <a:pos x="T8" y="T9"/>
                </a:cxn>
                <a:cxn ang="0">
                  <a:pos x="T10" y="T11"/>
                </a:cxn>
                <a:cxn ang="0">
                  <a:pos x="T12" y="T13"/>
                </a:cxn>
              </a:cxnLst>
              <a:rect l="0" t="0" r="r" b="b"/>
              <a:pathLst>
                <a:path w="656" h="2138">
                  <a:moveTo>
                    <a:pt x="656" y="1738"/>
                  </a:moveTo>
                  <a:lnTo>
                    <a:pt x="0" y="2138"/>
                  </a:lnTo>
                  <a:lnTo>
                    <a:pt x="0" y="0"/>
                  </a:lnTo>
                  <a:lnTo>
                    <a:pt x="656" y="240"/>
                  </a:lnTo>
                  <a:lnTo>
                    <a:pt x="656" y="1738"/>
                  </a:lnTo>
                  <a:lnTo>
                    <a:pt x="656" y="1738"/>
                  </a:lnTo>
                  <a:lnTo>
                    <a:pt x="656" y="1738"/>
                  </a:lnTo>
                  <a:close/>
                </a:path>
              </a:pathLst>
            </a:custGeom>
            <a:gradFill flip="none" rotWithShape="1">
              <a:gsLst>
                <a:gs pos="82000">
                  <a:srgbClr val="F3722C"/>
                </a:gs>
                <a:gs pos="0">
                  <a:srgbClr val="F47836"/>
                </a:gs>
                <a:gs pos="100000">
                  <a:srgbClr val="ED5D0D"/>
                </a:gs>
              </a:gsLst>
              <a:lin ang="0" scaled="1"/>
              <a:tileRect/>
            </a:gradFill>
            <a:ln>
              <a:noFill/>
            </a:ln>
          </p:spPr>
          <p:txBody>
            <a:bodyPr vert="horz" wrap="square" lIns="91440" tIns="45720" rIns="91440" bIns="45720" numCol="1" anchor="t" anchorCtr="0" compatLnSpc="1">
              <a:prstTxWarp prst="textNoShape">
                <a:avLst/>
              </a:prstTxWarp>
            </a:bodyPr>
            <a:lstStyle/>
            <a:p>
              <a:pPr marL="0" marR="0" lvl="0" indent="0" defTabSz="685862"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endParaRPr>
            </a:p>
          </p:txBody>
        </p:sp>
        <p:pic>
          <p:nvPicPr>
            <p:cNvPr id="25" name="Picture 24"/>
            <p:cNvPicPr>
              <a:picLocks noChangeAspect="1"/>
            </p:cNvPicPr>
            <p:nvPr/>
          </p:nvPicPr>
          <p:blipFill rotWithShape="1">
            <a:blip r:embed="rId4">
              <a:extLst>
                <a:ext uri="{28A0092B-C50C-407E-A947-70E740481C1C}">
                  <a14:useLocalDpi xmlns:a14="http://schemas.microsoft.com/office/drawing/2010/main" val="0"/>
                </a:ext>
              </a:extLst>
            </a:blip>
            <a:srcRect t="18217" r="91456" b="31691"/>
            <a:stretch/>
          </p:blipFill>
          <p:spPr bwMode="gray">
            <a:xfrm>
              <a:off x="0" y="1249363"/>
              <a:ext cx="1041400" cy="3435350"/>
            </a:xfrm>
            <a:prstGeom prst="rect">
              <a:avLst/>
            </a:prstGeom>
            <a:effectLst>
              <a:outerShdw blurRad="508000" dist="431800" dir="5400000" rotWithShape="0">
                <a:prstClr val="black">
                  <a:alpha val="20000"/>
                </a:prstClr>
              </a:outerShdw>
            </a:effectLst>
          </p:spPr>
        </p:pic>
      </p:grpSp>
      <p:grpSp>
        <p:nvGrpSpPr>
          <p:cNvPr id="26" name="Group 25"/>
          <p:cNvGrpSpPr/>
          <p:nvPr userDrawn="1"/>
        </p:nvGrpSpPr>
        <p:grpSpPr bwMode="gray">
          <a:xfrm>
            <a:off x="778449" y="742951"/>
            <a:ext cx="802595" cy="2545556"/>
            <a:chOff x="1095375" y="1249363"/>
            <a:chExt cx="1114426" cy="3394075"/>
          </a:xfrm>
          <a:effectLst>
            <a:outerShdw blurRad="508000" dist="431800" dir="5400000" algn="ctr" rotWithShape="0">
              <a:srgbClr val="292929">
                <a:alpha val="20000"/>
              </a:srgbClr>
            </a:outerShdw>
          </a:effectLst>
        </p:grpSpPr>
        <p:sp>
          <p:nvSpPr>
            <p:cNvPr id="27" name="Freeform 7"/>
            <p:cNvSpPr>
              <a:spLocks/>
            </p:cNvSpPr>
            <p:nvPr/>
          </p:nvSpPr>
          <p:spPr bwMode="gray">
            <a:xfrm>
              <a:off x="1095375" y="1249363"/>
              <a:ext cx="1114425" cy="3394075"/>
            </a:xfrm>
            <a:custGeom>
              <a:avLst/>
              <a:gdLst>
                <a:gd name="T0" fmla="*/ 702 w 702"/>
                <a:gd name="T1" fmla="*/ 1738 h 2138"/>
                <a:gd name="T2" fmla="*/ 0 w 702"/>
                <a:gd name="T3" fmla="*/ 2138 h 2138"/>
                <a:gd name="T4" fmla="*/ 0 w 702"/>
                <a:gd name="T5" fmla="*/ 0 h 2138"/>
                <a:gd name="T6" fmla="*/ 702 w 702"/>
                <a:gd name="T7" fmla="*/ 240 h 2138"/>
                <a:gd name="T8" fmla="*/ 702 w 702"/>
                <a:gd name="T9" fmla="*/ 1738 h 2138"/>
                <a:gd name="T10" fmla="*/ 702 w 702"/>
                <a:gd name="T11" fmla="*/ 1738 h 2138"/>
                <a:gd name="T12" fmla="*/ 702 w 702"/>
                <a:gd name="T13" fmla="*/ 1738 h 2138"/>
              </a:gdLst>
              <a:ahLst/>
              <a:cxnLst>
                <a:cxn ang="0">
                  <a:pos x="T0" y="T1"/>
                </a:cxn>
                <a:cxn ang="0">
                  <a:pos x="T2" y="T3"/>
                </a:cxn>
                <a:cxn ang="0">
                  <a:pos x="T4" y="T5"/>
                </a:cxn>
                <a:cxn ang="0">
                  <a:pos x="T6" y="T7"/>
                </a:cxn>
                <a:cxn ang="0">
                  <a:pos x="T8" y="T9"/>
                </a:cxn>
                <a:cxn ang="0">
                  <a:pos x="T10" y="T11"/>
                </a:cxn>
                <a:cxn ang="0">
                  <a:pos x="T12" y="T13"/>
                </a:cxn>
              </a:cxnLst>
              <a:rect l="0" t="0" r="r" b="b"/>
              <a:pathLst>
                <a:path w="702" h="2138">
                  <a:moveTo>
                    <a:pt x="702" y="1738"/>
                  </a:moveTo>
                  <a:lnTo>
                    <a:pt x="0" y="2138"/>
                  </a:lnTo>
                  <a:lnTo>
                    <a:pt x="0" y="0"/>
                  </a:lnTo>
                  <a:lnTo>
                    <a:pt x="702" y="240"/>
                  </a:lnTo>
                  <a:lnTo>
                    <a:pt x="702" y="1738"/>
                  </a:lnTo>
                  <a:lnTo>
                    <a:pt x="702" y="1738"/>
                  </a:lnTo>
                  <a:lnTo>
                    <a:pt x="702" y="1738"/>
                  </a:lnTo>
                  <a:close/>
                </a:path>
              </a:pathLst>
            </a:custGeom>
            <a:gradFill>
              <a:gsLst>
                <a:gs pos="85000">
                  <a:srgbClr val="FCBC07"/>
                </a:gs>
                <a:gs pos="0">
                  <a:srgbClr val="FFBE0A"/>
                </a:gs>
                <a:gs pos="100000">
                  <a:srgbClr val="EAAD00"/>
                </a:gs>
              </a:gsLst>
              <a:lin ang="0" scaled="1"/>
            </a:gradFill>
            <a:ln>
              <a:noFill/>
            </a:ln>
          </p:spPr>
          <p:txBody>
            <a:bodyPr vert="horz" wrap="square" lIns="91440" tIns="45720" rIns="91440" bIns="45720" numCol="1" anchor="t" anchorCtr="0" compatLnSpc="1">
              <a:prstTxWarp prst="textNoShape">
                <a:avLst/>
              </a:prstTxWarp>
            </a:bodyPr>
            <a:lstStyle/>
            <a:p>
              <a:pPr marL="0" marR="0" lvl="0" indent="0" defTabSz="685862"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endParaRPr>
            </a:p>
          </p:txBody>
        </p:sp>
        <p:pic>
          <p:nvPicPr>
            <p:cNvPr id="28" name="Picture 27"/>
            <p:cNvPicPr>
              <a:picLocks noChangeAspect="1"/>
            </p:cNvPicPr>
            <p:nvPr/>
          </p:nvPicPr>
          <p:blipFill rotWithShape="1">
            <a:blip r:embed="rId5">
              <a:extLst>
                <a:ext uri="{28A0092B-C50C-407E-A947-70E740481C1C}">
                  <a14:useLocalDpi xmlns:a14="http://schemas.microsoft.com/office/drawing/2010/main" val="0"/>
                </a:ext>
              </a:extLst>
            </a:blip>
            <a:srcRect l="8987" t="18217" r="81870" b="32293"/>
            <a:stretch/>
          </p:blipFill>
          <p:spPr bwMode="gray">
            <a:xfrm>
              <a:off x="1095375" y="1249363"/>
              <a:ext cx="1114426" cy="3394075"/>
            </a:xfrm>
            <a:prstGeom prst="rect">
              <a:avLst/>
            </a:prstGeom>
          </p:spPr>
        </p:pic>
      </p:grpSp>
      <p:grpSp>
        <p:nvGrpSpPr>
          <p:cNvPr id="29" name="Group 28"/>
          <p:cNvGrpSpPr/>
          <p:nvPr userDrawn="1"/>
        </p:nvGrpSpPr>
        <p:grpSpPr bwMode="gray">
          <a:xfrm>
            <a:off x="1618636" y="742951"/>
            <a:ext cx="967230" cy="2545556"/>
            <a:chOff x="2260600" y="1249363"/>
            <a:chExt cx="1324168" cy="3394075"/>
          </a:xfrm>
          <a:effectLst>
            <a:outerShdw blurRad="508000" dist="431800" dir="5400000" algn="ctr" rotWithShape="0">
              <a:srgbClr val="292929">
                <a:alpha val="20000"/>
              </a:srgbClr>
            </a:outerShdw>
          </a:effectLst>
        </p:grpSpPr>
        <p:sp>
          <p:nvSpPr>
            <p:cNvPr id="30" name="Freeform 8"/>
            <p:cNvSpPr>
              <a:spLocks/>
            </p:cNvSpPr>
            <p:nvPr/>
          </p:nvSpPr>
          <p:spPr bwMode="gray">
            <a:xfrm>
              <a:off x="2260600" y="1249363"/>
              <a:ext cx="1322388" cy="3394075"/>
            </a:xfrm>
            <a:custGeom>
              <a:avLst/>
              <a:gdLst>
                <a:gd name="T0" fmla="*/ 833 w 833"/>
                <a:gd name="T1" fmla="*/ 1738 h 2138"/>
                <a:gd name="T2" fmla="*/ 0 w 833"/>
                <a:gd name="T3" fmla="*/ 2138 h 2138"/>
                <a:gd name="T4" fmla="*/ 0 w 833"/>
                <a:gd name="T5" fmla="*/ 0 h 2138"/>
                <a:gd name="T6" fmla="*/ 833 w 833"/>
                <a:gd name="T7" fmla="*/ 240 h 2138"/>
                <a:gd name="T8" fmla="*/ 833 w 833"/>
                <a:gd name="T9" fmla="*/ 1738 h 2138"/>
                <a:gd name="T10" fmla="*/ 833 w 833"/>
                <a:gd name="T11" fmla="*/ 1738 h 2138"/>
                <a:gd name="T12" fmla="*/ 833 w 833"/>
                <a:gd name="T13" fmla="*/ 1738 h 2138"/>
              </a:gdLst>
              <a:ahLst/>
              <a:cxnLst>
                <a:cxn ang="0">
                  <a:pos x="T0" y="T1"/>
                </a:cxn>
                <a:cxn ang="0">
                  <a:pos x="T2" y="T3"/>
                </a:cxn>
                <a:cxn ang="0">
                  <a:pos x="T4" y="T5"/>
                </a:cxn>
                <a:cxn ang="0">
                  <a:pos x="T6" y="T7"/>
                </a:cxn>
                <a:cxn ang="0">
                  <a:pos x="T8" y="T9"/>
                </a:cxn>
                <a:cxn ang="0">
                  <a:pos x="T10" y="T11"/>
                </a:cxn>
                <a:cxn ang="0">
                  <a:pos x="T12" y="T13"/>
                </a:cxn>
              </a:cxnLst>
              <a:rect l="0" t="0" r="r" b="b"/>
              <a:pathLst>
                <a:path w="833" h="2138">
                  <a:moveTo>
                    <a:pt x="833" y="1738"/>
                  </a:moveTo>
                  <a:lnTo>
                    <a:pt x="0" y="2138"/>
                  </a:lnTo>
                  <a:lnTo>
                    <a:pt x="0" y="0"/>
                  </a:lnTo>
                  <a:lnTo>
                    <a:pt x="833" y="240"/>
                  </a:lnTo>
                  <a:lnTo>
                    <a:pt x="833" y="1738"/>
                  </a:lnTo>
                  <a:lnTo>
                    <a:pt x="833" y="1738"/>
                  </a:lnTo>
                  <a:lnTo>
                    <a:pt x="833" y="1738"/>
                  </a:lnTo>
                  <a:close/>
                </a:path>
              </a:pathLst>
            </a:custGeom>
            <a:gradFill>
              <a:gsLst>
                <a:gs pos="82000">
                  <a:srgbClr val="61B943"/>
                </a:gs>
                <a:gs pos="0">
                  <a:srgbClr val="64BE46"/>
                </a:gs>
                <a:gs pos="100000">
                  <a:srgbClr val="58AD3D"/>
                </a:gs>
              </a:gsLst>
              <a:lin ang="0" scaled="1"/>
            </a:gradFill>
            <a:ln>
              <a:noFill/>
            </a:ln>
          </p:spPr>
          <p:txBody>
            <a:bodyPr vert="horz" wrap="square" lIns="91440" tIns="45720" rIns="91440" bIns="45720" numCol="1" anchor="t" anchorCtr="0" compatLnSpc="1">
              <a:prstTxWarp prst="textNoShape">
                <a:avLst/>
              </a:prstTxWarp>
            </a:bodyPr>
            <a:lstStyle/>
            <a:p>
              <a:pPr marL="0" marR="0" lvl="0" indent="0" defTabSz="685862"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endParaRPr>
            </a:p>
          </p:txBody>
        </p:sp>
        <p:pic>
          <p:nvPicPr>
            <p:cNvPr id="31" name="Picture 30"/>
            <p:cNvPicPr>
              <a:picLocks noChangeAspect="1"/>
            </p:cNvPicPr>
            <p:nvPr/>
          </p:nvPicPr>
          <p:blipFill rotWithShape="1">
            <a:blip r:embed="rId6">
              <a:extLst>
                <a:ext uri="{28A0092B-C50C-407E-A947-70E740481C1C}">
                  <a14:useLocalDpi xmlns:a14="http://schemas.microsoft.com/office/drawing/2010/main" val="0"/>
                </a:ext>
              </a:extLst>
            </a:blip>
            <a:srcRect l="18554" t="18217" r="70590" b="32293"/>
            <a:stretch/>
          </p:blipFill>
          <p:spPr bwMode="gray">
            <a:xfrm>
              <a:off x="2261460" y="1249363"/>
              <a:ext cx="1323308" cy="3394075"/>
            </a:xfrm>
            <a:prstGeom prst="rect">
              <a:avLst/>
            </a:prstGeom>
          </p:spPr>
        </p:pic>
      </p:grpSp>
      <p:grpSp>
        <p:nvGrpSpPr>
          <p:cNvPr id="32" name="Group 31"/>
          <p:cNvGrpSpPr/>
          <p:nvPr userDrawn="1"/>
        </p:nvGrpSpPr>
        <p:grpSpPr bwMode="gray">
          <a:xfrm>
            <a:off x="2623458" y="742951"/>
            <a:ext cx="1257628" cy="2545556"/>
            <a:chOff x="3633788" y="1249363"/>
            <a:chExt cx="1676400" cy="3394075"/>
          </a:xfrm>
          <a:effectLst>
            <a:outerShdw blurRad="508000" dist="431800" dir="5400000" algn="ctr" rotWithShape="0">
              <a:srgbClr val="292929">
                <a:alpha val="20000"/>
              </a:srgbClr>
            </a:outerShdw>
          </a:effectLst>
        </p:grpSpPr>
        <p:sp>
          <p:nvSpPr>
            <p:cNvPr id="33" name="Freeform 9"/>
            <p:cNvSpPr>
              <a:spLocks/>
            </p:cNvSpPr>
            <p:nvPr/>
          </p:nvSpPr>
          <p:spPr bwMode="gray">
            <a:xfrm>
              <a:off x="3633788" y="1249363"/>
              <a:ext cx="1676400" cy="3394075"/>
            </a:xfrm>
            <a:custGeom>
              <a:avLst/>
              <a:gdLst>
                <a:gd name="T0" fmla="*/ 1056 w 1056"/>
                <a:gd name="T1" fmla="*/ 1738 h 2138"/>
                <a:gd name="T2" fmla="*/ 0 w 1056"/>
                <a:gd name="T3" fmla="*/ 2138 h 2138"/>
                <a:gd name="T4" fmla="*/ 0 w 1056"/>
                <a:gd name="T5" fmla="*/ 0 h 2138"/>
                <a:gd name="T6" fmla="*/ 1056 w 1056"/>
                <a:gd name="T7" fmla="*/ 240 h 2138"/>
                <a:gd name="T8" fmla="*/ 1056 w 1056"/>
                <a:gd name="T9" fmla="*/ 1738 h 2138"/>
                <a:gd name="T10" fmla="*/ 1056 w 1056"/>
                <a:gd name="T11" fmla="*/ 1738 h 2138"/>
                <a:gd name="T12" fmla="*/ 1056 w 1056"/>
                <a:gd name="T13" fmla="*/ 1738 h 2138"/>
              </a:gdLst>
              <a:ahLst/>
              <a:cxnLst>
                <a:cxn ang="0">
                  <a:pos x="T0" y="T1"/>
                </a:cxn>
                <a:cxn ang="0">
                  <a:pos x="T2" y="T3"/>
                </a:cxn>
                <a:cxn ang="0">
                  <a:pos x="T4" y="T5"/>
                </a:cxn>
                <a:cxn ang="0">
                  <a:pos x="T6" y="T7"/>
                </a:cxn>
                <a:cxn ang="0">
                  <a:pos x="T8" y="T9"/>
                </a:cxn>
                <a:cxn ang="0">
                  <a:pos x="T10" y="T11"/>
                </a:cxn>
                <a:cxn ang="0">
                  <a:pos x="T12" y="T13"/>
                </a:cxn>
              </a:cxnLst>
              <a:rect l="0" t="0" r="r" b="b"/>
              <a:pathLst>
                <a:path w="1056" h="2138">
                  <a:moveTo>
                    <a:pt x="1056" y="1738"/>
                  </a:moveTo>
                  <a:lnTo>
                    <a:pt x="0" y="2138"/>
                  </a:lnTo>
                  <a:lnTo>
                    <a:pt x="0" y="0"/>
                  </a:lnTo>
                  <a:lnTo>
                    <a:pt x="1056" y="240"/>
                  </a:lnTo>
                  <a:lnTo>
                    <a:pt x="1056" y="1738"/>
                  </a:lnTo>
                  <a:lnTo>
                    <a:pt x="1056" y="1738"/>
                  </a:lnTo>
                  <a:lnTo>
                    <a:pt x="1056" y="1738"/>
                  </a:lnTo>
                  <a:close/>
                </a:path>
              </a:pathLst>
            </a:custGeom>
            <a:gradFill>
              <a:gsLst>
                <a:gs pos="83000">
                  <a:srgbClr val="308A9F"/>
                </a:gs>
                <a:gs pos="0">
                  <a:srgbClr val="3497AE"/>
                </a:gs>
                <a:gs pos="100000">
                  <a:srgbClr val="297587"/>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62"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endParaRPr>
            </a:p>
          </p:txBody>
        </p:sp>
        <p:pic>
          <p:nvPicPr>
            <p:cNvPr id="34" name="Picture 33"/>
            <p:cNvPicPr>
              <a:picLocks noChangeAspect="1"/>
            </p:cNvPicPr>
            <p:nvPr/>
          </p:nvPicPr>
          <p:blipFill rotWithShape="1">
            <a:blip r:embed="rId7">
              <a:extLst>
                <a:ext uri="{28A0092B-C50C-407E-A947-70E740481C1C}">
                  <a14:useLocalDpi xmlns:a14="http://schemas.microsoft.com/office/drawing/2010/main" val="0"/>
                </a:ext>
              </a:extLst>
            </a:blip>
            <a:srcRect l="30425" t="18217" r="55821" b="32293"/>
            <a:stretch/>
          </p:blipFill>
          <p:spPr bwMode="gray">
            <a:xfrm>
              <a:off x="3633788" y="1249363"/>
              <a:ext cx="1676400" cy="3394075"/>
            </a:xfrm>
            <a:prstGeom prst="rect">
              <a:avLst/>
            </a:prstGeom>
          </p:spPr>
        </p:pic>
      </p:grpSp>
      <p:sp>
        <p:nvSpPr>
          <p:cNvPr id="35" name="Freeform 12"/>
          <p:cNvSpPr>
            <a:spLocks/>
          </p:cNvSpPr>
          <p:nvPr userDrawn="1"/>
        </p:nvSpPr>
        <p:spPr bwMode="gray">
          <a:xfrm>
            <a:off x="2" y="3377858"/>
            <a:ext cx="1090751" cy="632313"/>
          </a:xfrm>
          <a:custGeom>
            <a:avLst/>
            <a:gdLst>
              <a:gd name="T0" fmla="*/ 0 w 910"/>
              <a:gd name="T1" fmla="*/ 0 h 578"/>
              <a:gd name="T2" fmla="*/ 910 w 910"/>
              <a:gd name="T3" fmla="*/ 0 h 578"/>
              <a:gd name="T4" fmla="*/ 910 w 910"/>
              <a:gd name="T5" fmla="*/ 578 h 578"/>
              <a:gd name="T6" fmla="*/ 0 w 910"/>
              <a:gd name="T7" fmla="*/ 578 h 578"/>
              <a:gd name="T8" fmla="*/ 0 w 910"/>
              <a:gd name="T9" fmla="*/ 0 h 578"/>
              <a:gd name="T10" fmla="*/ 0 w 910"/>
              <a:gd name="T11" fmla="*/ 0 h 578"/>
            </a:gdLst>
            <a:ahLst/>
            <a:cxnLst>
              <a:cxn ang="0">
                <a:pos x="T0" y="T1"/>
              </a:cxn>
              <a:cxn ang="0">
                <a:pos x="T2" y="T3"/>
              </a:cxn>
              <a:cxn ang="0">
                <a:pos x="T4" y="T5"/>
              </a:cxn>
              <a:cxn ang="0">
                <a:pos x="T6" y="T7"/>
              </a:cxn>
              <a:cxn ang="0">
                <a:pos x="T8" y="T9"/>
              </a:cxn>
              <a:cxn ang="0">
                <a:pos x="T10" y="T11"/>
              </a:cxn>
            </a:cxnLst>
            <a:rect l="0" t="0" r="r" b="b"/>
            <a:pathLst>
              <a:path w="910" h="578">
                <a:moveTo>
                  <a:pt x="0" y="0"/>
                </a:moveTo>
                <a:lnTo>
                  <a:pt x="910" y="0"/>
                </a:lnTo>
                <a:lnTo>
                  <a:pt x="910" y="578"/>
                </a:lnTo>
                <a:lnTo>
                  <a:pt x="0" y="578"/>
                </a:lnTo>
                <a:lnTo>
                  <a:pt x="0" y="0"/>
                </a:lnTo>
                <a:lnTo>
                  <a:pt x="0" y="0"/>
                </a:lnTo>
                <a:close/>
              </a:path>
            </a:pathLst>
          </a:custGeom>
          <a:solidFill>
            <a:srgbClr val="5F5F5F">
              <a:lumMod val="75000"/>
            </a:srgbClr>
          </a:solidFill>
          <a:ln>
            <a:noFill/>
          </a:ln>
        </p:spPr>
        <p:txBody>
          <a:bodyPr vert="horz" wrap="square" lIns="68586" tIns="34294" rIns="68586" bIns="34294" numCol="1" anchor="t" anchorCtr="0" compatLnSpc="1">
            <a:prstTxWarp prst="textNoShape">
              <a:avLst/>
            </a:prstTxWarp>
          </a:bodyPr>
          <a:lstStyle/>
          <a:p>
            <a:pPr marL="0" marR="0" lvl="0" indent="0" defTabSz="685862"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endParaRPr>
          </a:p>
        </p:txBody>
      </p:sp>
      <p:sp>
        <p:nvSpPr>
          <p:cNvPr id="36" name="Freeform 13"/>
          <p:cNvSpPr>
            <a:spLocks/>
          </p:cNvSpPr>
          <p:nvPr userDrawn="1"/>
        </p:nvSpPr>
        <p:spPr bwMode="gray">
          <a:xfrm>
            <a:off x="1126627" y="3377858"/>
            <a:ext cx="8014993" cy="632313"/>
          </a:xfrm>
          <a:custGeom>
            <a:avLst/>
            <a:gdLst>
              <a:gd name="T0" fmla="*/ 0 w 6730"/>
              <a:gd name="T1" fmla="*/ 0 h 578"/>
              <a:gd name="T2" fmla="*/ 6730 w 6730"/>
              <a:gd name="T3" fmla="*/ 0 h 578"/>
              <a:gd name="T4" fmla="*/ 6730 w 6730"/>
              <a:gd name="T5" fmla="*/ 578 h 578"/>
              <a:gd name="T6" fmla="*/ 0 w 6730"/>
              <a:gd name="T7" fmla="*/ 578 h 578"/>
              <a:gd name="T8" fmla="*/ 0 w 6730"/>
              <a:gd name="T9" fmla="*/ 0 h 578"/>
              <a:gd name="T10" fmla="*/ 0 w 6730"/>
              <a:gd name="T11" fmla="*/ 0 h 578"/>
            </a:gdLst>
            <a:ahLst/>
            <a:cxnLst>
              <a:cxn ang="0">
                <a:pos x="T0" y="T1"/>
              </a:cxn>
              <a:cxn ang="0">
                <a:pos x="T2" y="T3"/>
              </a:cxn>
              <a:cxn ang="0">
                <a:pos x="T4" y="T5"/>
              </a:cxn>
              <a:cxn ang="0">
                <a:pos x="T6" y="T7"/>
              </a:cxn>
              <a:cxn ang="0">
                <a:pos x="T8" y="T9"/>
              </a:cxn>
              <a:cxn ang="0">
                <a:pos x="T10" y="T11"/>
              </a:cxn>
            </a:cxnLst>
            <a:rect l="0" t="0" r="r" b="b"/>
            <a:pathLst>
              <a:path w="6730" h="578">
                <a:moveTo>
                  <a:pt x="0" y="0"/>
                </a:moveTo>
                <a:lnTo>
                  <a:pt x="6730" y="0"/>
                </a:lnTo>
                <a:lnTo>
                  <a:pt x="6730" y="578"/>
                </a:lnTo>
                <a:lnTo>
                  <a:pt x="0" y="578"/>
                </a:lnTo>
                <a:lnTo>
                  <a:pt x="0" y="0"/>
                </a:lnTo>
                <a:lnTo>
                  <a:pt x="0" y="0"/>
                </a:lnTo>
                <a:close/>
              </a:path>
            </a:pathLst>
          </a:custGeom>
          <a:solidFill>
            <a:srgbClr val="5F5F5F">
              <a:lumMod val="75000"/>
            </a:srgbClr>
          </a:solidFill>
          <a:ln>
            <a:noFill/>
          </a:ln>
        </p:spPr>
        <p:txBody>
          <a:bodyPr vert="horz" wrap="square" lIns="205758" tIns="34294" rIns="68586" bIns="34294" numCol="1" anchor="ctr" anchorCtr="0" compatLnSpc="1">
            <a:prstTxWarp prst="textNoShape">
              <a:avLst/>
            </a:prstTxWarp>
          </a:bodyPr>
          <a:lstStyle/>
          <a:p>
            <a:pPr marL="0" marR="0" lvl="0" indent="0" defTabSz="685862" eaLnBrk="1" fontAlgn="auto" latinLnBrk="0" hangingPunct="1">
              <a:lnSpc>
                <a:spcPct val="100000"/>
              </a:lnSpc>
              <a:spcBef>
                <a:spcPts val="0"/>
              </a:spcBef>
              <a:spcAft>
                <a:spcPts val="0"/>
              </a:spcAft>
              <a:buClrTx/>
              <a:buSzTx/>
              <a:buFontTx/>
              <a:buNone/>
              <a:tabLst/>
              <a:defRPr/>
            </a:pPr>
            <a:endParaRPr kumimoji="0" lang="en-US" sz="2700" b="0" i="0" u="none" strike="noStrike" kern="0" cap="none" spc="0" normalizeH="0" baseline="0" noProof="0" dirty="0">
              <a:ln>
                <a:noFill/>
              </a:ln>
              <a:gradFill>
                <a:gsLst>
                  <a:gs pos="0">
                    <a:srgbClr val="FFFFFF"/>
                  </a:gs>
                  <a:gs pos="86000">
                    <a:srgbClr val="FFFFFF"/>
                  </a:gs>
                </a:gsLst>
                <a:lin ang="10800000" scaled="1"/>
              </a:gradFill>
              <a:effectLst/>
              <a:uLnTx/>
              <a:uFillTx/>
            </a:endParaRPr>
          </a:p>
        </p:txBody>
      </p:sp>
      <p:sp>
        <p:nvSpPr>
          <p:cNvPr id="39" name="Content Placeholder 37"/>
          <p:cNvSpPr>
            <a:spLocks noGrp="1"/>
          </p:cNvSpPr>
          <p:nvPr>
            <p:ph sz="quarter" idx="10" hasCustomPrompt="1"/>
          </p:nvPr>
        </p:nvSpPr>
        <p:spPr>
          <a:xfrm>
            <a:off x="1275491" y="3340896"/>
            <a:ext cx="7755370" cy="692497"/>
          </a:xfrm>
        </p:spPr>
        <p:txBody>
          <a:bodyPr anchor="ctr"/>
          <a:lstStyle>
            <a:lvl1pPr marL="0" indent="0">
              <a:buFont typeface="Arial" pitchFamily="34" charset="0"/>
              <a:buNone/>
              <a:defRPr kumimoji="0" lang="en-US" sz="4500" b="0" i="0" u="none" strike="noStrike" kern="0" cap="none" spc="0" normalizeH="0" baseline="0" dirty="0">
                <a:ln>
                  <a:noFill/>
                </a:ln>
                <a:gradFill>
                  <a:gsLst>
                    <a:gs pos="0">
                      <a:srgbClr val="FFFFFF"/>
                    </a:gs>
                    <a:gs pos="86000">
                      <a:srgbClr val="FFFFFF"/>
                    </a:gs>
                  </a:gsLst>
                  <a:lin ang="10800000" scaled="1"/>
                </a:gradFill>
                <a:effectLst/>
                <a:uLnTx/>
                <a:uFillTx/>
                <a:latin typeface="+mn-lt"/>
                <a:ea typeface="+mn-ea"/>
                <a:cs typeface="+mn-cs"/>
              </a:defRPr>
            </a:lvl1pPr>
          </a:lstStyle>
          <a:p>
            <a:pPr marL="0" marR="0" lvl="0" indent="0" algn="l" defTabSz="685862" rtl="0" eaLnBrk="1" fontAlgn="auto" latinLnBrk="0" hangingPunct="1">
              <a:lnSpc>
                <a:spcPct val="100000"/>
              </a:lnSpc>
              <a:spcBef>
                <a:spcPts val="0"/>
              </a:spcBef>
              <a:spcAft>
                <a:spcPts val="0"/>
              </a:spcAft>
              <a:buClrTx/>
              <a:buSzTx/>
              <a:buFontTx/>
              <a:buNone/>
              <a:tabLst/>
              <a:defRPr/>
            </a:pPr>
            <a:r>
              <a:rPr lang="en-US" smtClean="0"/>
              <a:t>Click to…</a:t>
            </a:r>
            <a:endParaRPr lang="en-US" dirty="0"/>
          </a:p>
        </p:txBody>
      </p:sp>
      <p:sp>
        <p:nvSpPr>
          <p:cNvPr id="41" name="Content Placeholder 40"/>
          <p:cNvSpPr>
            <a:spLocks noGrp="1"/>
          </p:cNvSpPr>
          <p:nvPr>
            <p:ph sz="quarter" idx="11" hasCustomPrompt="1"/>
          </p:nvPr>
        </p:nvSpPr>
        <p:spPr>
          <a:xfrm>
            <a:off x="5715299" y="1844233"/>
            <a:ext cx="3315563" cy="373949"/>
          </a:xfrm>
        </p:spPr>
        <p:txBody>
          <a:bodyPr anchor="b"/>
          <a:lstStyle>
            <a:lvl1pPr marL="0" indent="0">
              <a:buFont typeface="Arial" pitchFamily="34" charset="0"/>
              <a:buNone/>
              <a:defRPr sz="2700" baseline="0"/>
            </a:lvl1pPr>
          </a:lstStyle>
          <a:p>
            <a:pPr lvl="0"/>
            <a:r>
              <a:rPr lang="en-US" dirty="0" smtClean="0"/>
              <a:t>Click to edit text</a:t>
            </a:r>
            <a:endParaRPr lang="en-US" dirty="0"/>
          </a:p>
        </p:txBody>
      </p:sp>
      <p:sp>
        <p:nvSpPr>
          <p:cNvPr id="22" name="TextBox 21"/>
          <p:cNvSpPr txBox="1"/>
          <p:nvPr userDrawn="1"/>
        </p:nvSpPr>
        <p:spPr>
          <a:xfrm>
            <a:off x="3095227" y="4933704"/>
            <a:ext cx="2953549" cy="126958"/>
          </a:xfrm>
          <a:prstGeom prst="rect">
            <a:avLst/>
          </a:prstGeom>
          <a:noFill/>
        </p:spPr>
        <p:txBody>
          <a:bodyPr wrap="none" lIns="0" tIns="0" rIns="0" bIns="0" rtlCol="0" anchor="ctr">
            <a:spAutoFit/>
          </a:bodyPr>
          <a:lstStyle/>
          <a:p>
            <a:pPr algn="ctr"/>
            <a:r>
              <a:rPr lang="en-US" sz="800" b="0" spc="113" baseline="0" dirty="0" smtClean="0">
                <a:gradFill>
                  <a:gsLst>
                    <a:gs pos="0">
                      <a:srgbClr val="292929">
                        <a:alpha val="50000"/>
                      </a:srgbClr>
                    </a:gs>
                    <a:gs pos="86000">
                      <a:srgbClr val="292929">
                        <a:alpha val="50000"/>
                      </a:srgbClr>
                    </a:gs>
                  </a:gsLst>
                  <a:lin ang="5400000" scaled="0"/>
                </a:gradFill>
                <a:latin typeface="Segoe Semibold" pitchFamily="34" charset="0"/>
              </a:rPr>
              <a:t>MICROSOFT CONFIDENTIAL – INTERNAL ONLY</a:t>
            </a:r>
          </a:p>
        </p:txBody>
      </p:sp>
      <p:sp>
        <p:nvSpPr>
          <p:cNvPr id="37" name="Content Placeholder 40"/>
          <p:cNvSpPr>
            <a:spLocks noGrp="1"/>
          </p:cNvSpPr>
          <p:nvPr>
            <p:ph sz="quarter" idx="12" hasCustomPrompt="1"/>
          </p:nvPr>
        </p:nvSpPr>
        <p:spPr>
          <a:xfrm>
            <a:off x="5715299" y="2883451"/>
            <a:ext cx="3315563" cy="290849"/>
          </a:xfrm>
        </p:spPr>
        <p:txBody>
          <a:bodyPr anchor="b"/>
          <a:lstStyle>
            <a:lvl1pPr marL="0" indent="0">
              <a:buFont typeface="Arial" pitchFamily="34" charset="0"/>
              <a:buNone/>
              <a:defRPr sz="2100" baseline="0"/>
            </a:lvl1pPr>
          </a:lstStyle>
          <a:p>
            <a:pPr lvl="0"/>
            <a:r>
              <a:rPr lang="en-US" dirty="0" smtClean="0"/>
              <a:t>Click to edit text</a:t>
            </a:r>
            <a:endParaRPr lang="en-US" dirty="0"/>
          </a:p>
        </p:txBody>
      </p:sp>
    </p:spTree>
    <p:extLst>
      <p:ext uri="{BB962C8B-B14F-4D97-AF65-F5344CB8AC3E}">
        <p14:creationId xmlns:p14="http://schemas.microsoft.com/office/powerpoint/2010/main" val="4164365159"/>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2_Title and Content_Blue">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458510" y="1087044"/>
            <a:ext cx="8231744" cy="1440394"/>
          </a:xfrm>
        </p:spPr>
        <p:txBody>
          <a:bodyPr>
            <a:spAutoFit/>
          </a:bodyPr>
          <a:lstStyle>
            <a:lvl1pPr marL="0" indent="0">
              <a:buNone/>
              <a:defRPr sz="2700" spc="-75" baseline="0">
                <a:gradFill>
                  <a:gsLst>
                    <a:gs pos="86250">
                      <a:srgbClr val="0071BC"/>
                    </a:gs>
                    <a:gs pos="72500">
                      <a:srgbClr val="0071BC"/>
                    </a:gs>
                  </a:gsLst>
                  <a:lin ang="5400000" scaled="0"/>
                </a:gradFill>
                <a:latin typeface="Segoe UI Light" pitchFamily="34" charset="0"/>
              </a:defRPr>
            </a:lvl1pPr>
            <a:lvl2pPr marL="2382" indent="0">
              <a:buNone/>
              <a:defRPr sz="1500" spc="-75" baseline="0">
                <a:latin typeface="+mn-lt"/>
              </a:defRPr>
            </a:lvl2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370429251"/>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2_Announcement,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4"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835"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Announcement</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1"/>
            <a:ext cx="4959201" cy="346249"/>
          </a:xfrm>
        </p:spPr>
        <p:txBody>
          <a:bodyPr>
            <a:noAutofit/>
          </a:bodyPr>
          <a:lstStyle>
            <a:lvl1pPr marL="0" indent="0" algn="l" defTabSz="685835"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dirty="0" smtClean="0"/>
              <a:t>Click to edit Master subtitle style</a:t>
            </a:r>
            <a:endParaRPr lang="en-US" dirty="0"/>
          </a:p>
        </p:txBody>
      </p:sp>
      <p:sp>
        <p:nvSpPr>
          <p:cNvPr id="10" name="Circle Arrow"/>
          <p:cNvSpPr>
            <a:spLocks noEditPoints="1"/>
          </p:cNvSpPr>
          <p:nvPr userDrawn="1"/>
        </p:nvSpPr>
        <p:spPr bwMode="auto">
          <a:xfrm rot="5400000">
            <a:off x="746319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86" tIns="34294" rIns="68586" bIns="34294" numCol="1" anchor="t" anchorCtr="0" compatLnSpc="1">
            <a:prstTxWarp prst="textNoShape">
              <a:avLst/>
            </a:prstTxWarp>
          </a:bodyPr>
          <a:lstStyle/>
          <a:p>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5"/>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3"/>
            <a:ext cx="4959201" cy="1142621"/>
          </a:xfrm>
        </p:spPr>
        <p:txBody>
          <a:bodyPr anchor="ctr" anchorCtr="0">
            <a:noAutofit/>
          </a:bodyPr>
          <a:lstStyle>
            <a:lvl1pPr algn="l" defTabSz="685835" rtl="0" eaLnBrk="1" latinLnBrk="0" hangingPunct="1">
              <a:lnSpc>
                <a:spcPct val="90000"/>
              </a:lnSpc>
              <a:spcBef>
                <a:spcPct val="0"/>
              </a:spcBef>
              <a:buNone/>
              <a:defRPr lang="en-US" sz="3000" b="1" kern="1200" cap="none" spc="-75" baseline="0" dirty="0">
                <a:ln w="3175">
                  <a:noFill/>
                </a:ln>
                <a:solidFill>
                  <a:schemeClr val="accent3">
                    <a:alpha val="99000"/>
                  </a:schemeClr>
                </a:solidFill>
                <a:effectLst/>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 useBgFill="1">
        <p:nvSpPr>
          <p:cNvPr id="15" name="Bottom Mask"/>
          <p:cNvSpPr/>
          <p:nvPr userDrawn="1"/>
        </p:nvSpPr>
        <p:spPr bwMode="auto">
          <a:xfrm>
            <a:off x="300830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18" name="Rectangle 17"/>
          <p:cNvSpPr/>
          <p:nvPr userDrawn="1"/>
        </p:nvSpPr>
        <p:spPr bwMode="auto">
          <a:xfrm>
            <a:off x="762091" y="2390612"/>
            <a:ext cx="2120991" cy="2120439"/>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t="7301" b="29324"/>
          <a:stretch/>
        </p:blipFill>
        <p:spPr>
          <a:xfrm>
            <a:off x="745055" y="3449030"/>
            <a:ext cx="1077533" cy="1062023"/>
          </a:xfrm>
          <a:prstGeom prst="rect">
            <a:avLst/>
          </a:prstGeom>
        </p:spPr>
      </p:pic>
      <p:pic>
        <p:nvPicPr>
          <p:cNvPr id="19" name="Picture 18"/>
          <p:cNvPicPr>
            <a:picLocks noChangeAspect="1"/>
          </p:cNvPicPr>
          <p:nvPr userDrawn="1"/>
        </p:nvPicPr>
        <p:blipFill rotWithShape="1">
          <a:blip r:embed="rId5" cstate="print">
            <a:extLst>
              <a:ext uri="{28A0092B-C50C-407E-A947-70E740481C1C}">
                <a14:useLocalDpi xmlns:a14="http://schemas.microsoft.com/office/drawing/2010/main" val="0"/>
              </a:ext>
            </a:extLst>
          </a:blip>
          <a:srcRect t="10954" b="6561"/>
          <a:stretch/>
        </p:blipFill>
        <p:spPr>
          <a:xfrm>
            <a:off x="745055" y="2390352"/>
            <a:ext cx="1081536" cy="1060480"/>
          </a:xfrm>
          <a:prstGeom prst="rect">
            <a:avLst/>
          </a:prstGeom>
        </p:spPr>
      </p:pic>
      <p:pic>
        <p:nvPicPr>
          <p:cNvPr id="20" name="Picture 19"/>
          <p:cNvPicPr>
            <a:picLocks noChangeAspect="1"/>
          </p:cNvPicPr>
          <p:nvPr userDrawn="1"/>
        </p:nvPicPr>
        <p:blipFill rotWithShape="1">
          <a:blip r:embed="rId6" cstate="print">
            <a:extLst>
              <a:ext uri="{28A0092B-C50C-407E-A947-70E740481C1C}">
                <a14:useLocalDpi xmlns:a14="http://schemas.microsoft.com/office/drawing/2010/main" val="0"/>
              </a:ext>
            </a:extLst>
          </a:blip>
          <a:srcRect t="4202" r="27745"/>
          <a:stretch/>
        </p:blipFill>
        <p:spPr>
          <a:xfrm>
            <a:off x="1822588" y="3450832"/>
            <a:ext cx="1058125" cy="1060220"/>
          </a:xfrm>
          <a:prstGeom prst="rect">
            <a:avLst/>
          </a:prstGeom>
        </p:spPr>
      </p:pic>
      <p:pic>
        <p:nvPicPr>
          <p:cNvPr id="21" name="Picture 20"/>
          <p:cNvPicPr>
            <a:picLocks noChangeAspect="1"/>
          </p:cNvPicPr>
          <p:nvPr userDrawn="1"/>
        </p:nvPicPr>
        <p:blipFill rotWithShape="1">
          <a:blip r:embed="rId7" cstate="print">
            <a:extLst>
              <a:ext uri="{28A0092B-C50C-407E-A947-70E740481C1C}">
                <a14:useLocalDpi xmlns:a14="http://schemas.microsoft.com/office/drawing/2010/main" val="0"/>
              </a:ext>
            </a:extLst>
          </a:blip>
          <a:srcRect l="1191" t="8653" r="-1" b="9844"/>
          <a:stretch/>
        </p:blipFill>
        <p:spPr>
          <a:xfrm>
            <a:off x="1822587" y="2390353"/>
            <a:ext cx="1058126" cy="1058677"/>
          </a:xfrm>
          <a:prstGeom prst="rect">
            <a:avLst/>
          </a:prstGeom>
        </p:spPr>
      </p:pic>
    </p:spTree>
    <p:extLst>
      <p:ext uri="{BB962C8B-B14F-4D97-AF65-F5344CB8AC3E}">
        <p14:creationId xmlns:p14="http://schemas.microsoft.com/office/powerpoint/2010/main" val="72483954"/>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Dark - Title Onl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89436" y="171451"/>
            <a:ext cx="8363938" cy="457049"/>
          </a:xfrm>
        </p:spPr>
        <p:txBody>
          <a:bodyPr/>
          <a:lstStyle>
            <a:lvl1pPr>
              <a:defRPr baseline="0">
                <a:solidFill>
                  <a:schemeClr val="tx1"/>
                </a:solidFill>
              </a:defRPr>
            </a:lvl1pPr>
          </a:lstStyle>
          <a:p>
            <a:r>
              <a:rPr lang="en-US" dirty="0" smtClean="0"/>
              <a:t>Content Slide Title</a:t>
            </a:r>
            <a:endParaRPr lang="en-US" dirty="0"/>
          </a:p>
        </p:txBody>
      </p:sp>
    </p:spTree>
    <p:extLst>
      <p:ext uri="{BB962C8B-B14F-4D97-AF65-F5344CB8AC3E}">
        <p14:creationId xmlns:p14="http://schemas.microsoft.com/office/powerpoint/2010/main" val="419549185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12025474"/>
              </p:ext>
            </p:extLst>
          </p:nvPr>
        </p:nvGraphicFramePr>
        <p:xfrm>
          <a:off x="1191" y="1192"/>
          <a:ext cx="1191" cy="1190"/>
        </p:xfrm>
        <a:graphic>
          <a:graphicData uri="http://schemas.openxmlformats.org/presentationml/2006/ole">
            <mc:AlternateContent xmlns:mc="http://schemas.openxmlformats.org/markup-compatibility/2006">
              <mc:Choice xmlns:v="urn:schemas-microsoft-com:vml" Requires="v">
                <p:oleObj spid="_x0000_s1536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191" y="1192"/>
                        <a:ext cx="1191" cy="1190"/>
                      </a:xfrm>
                      <a:prstGeom prst="rect">
                        <a:avLst/>
                      </a:prstGeom>
                    </p:spPr>
                  </p:pic>
                </p:oleObj>
              </mc:Fallback>
            </mc:AlternateContent>
          </a:graphicData>
        </a:graphic>
      </p:graphicFrame>
      <p:sp>
        <p:nvSpPr>
          <p:cNvPr id="15" name="Content Placeholder 14"/>
          <p:cNvSpPr>
            <a:spLocks noGrp="1"/>
          </p:cNvSpPr>
          <p:nvPr>
            <p:ph sz="quarter" idx="18"/>
            <p:custDataLst>
              <p:tags r:id="rId3"/>
            </p:custDataLst>
          </p:nvPr>
        </p:nvSpPr>
        <p:spPr>
          <a:xfrm>
            <a:off x="460721" y="1064525"/>
            <a:ext cx="8076603" cy="1500411"/>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12"/>
          <p:cNvSpPr>
            <a:spLocks noGrp="1"/>
          </p:cNvSpPr>
          <p:nvPr>
            <p:ph type="body" sz="quarter" idx="13" hasCustomPrompt="1"/>
            <p:custDataLst>
              <p:tags r:id="rId4"/>
            </p:custDataLst>
          </p:nvPr>
        </p:nvSpPr>
        <p:spPr>
          <a:xfrm>
            <a:off x="457201" y="711387"/>
            <a:ext cx="8239208" cy="228601"/>
          </a:xfrm>
        </p:spPr>
        <p:txBody>
          <a:bodyPr lIns="0" anchor="b" anchorCtr="0">
            <a:noAutofit/>
          </a:bodyPr>
          <a:lstStyle>
            <a:lvl1pPr marL="0" indent="0" algn="l">
              <a:buFont typeface="Arial" pitchFamily="34" charset="0"/>
              <a:buNone/>
              <a:defRPr sz="1200" b="1" cap="all" spc="0" baseline="0">
                <a:solidFill>
                  <a:schemeClr val="tx1">
                    <a:lumMod val="75000"/>
                    <a:lumOff val="25000"/>
                  </a:schemeClr>
                </a:solidFill>
              </a:defRPr>
            </a:lvl1pPr>
          </a:lstStyle>
          <a:p>
            <a:r>
              <a:rPr lang="en-US" dirty="0" smtClean="0"/>
              <a:t>CLICK TO EDIT SUBTITLE</a:t>
            </a:r>
            <a:endParaRPr lang="en-US" dirty="0"/>
          </a:p>
        </p:txBody>
      </p:sp>
      <p:sp>
        <p:nvSpPr>
          <p:cNvPr id="14" name="Title 1"/>
          <p:cNvSpPr>
            <a:spLocks noGrp="1"/>
          </p:cNvSpPr>
          <p:nvPr>
            <p:ph type="title"/>
            <p:custDataLst>
              <p:tags r:id="rId5"/>
            </p:custDataLst>
          </p:nvPr>
        </p:nvSpPr>
        <p:spPr>
          <a:xfrm>
            <a:off x="420535" y="186929"/>
            <a:ext cx="8275875" cy="457049"/>
          </a:xfrm>
        </p:spPr>
        <p:txBody>
          <a:bodyPr lIns="0" anchor="t" anchorCtr="0"/>
          <a:lstStyle>
            <a:lvl1pPr algn="l">
              <a:defRPr b="1"/>
            </a:lvl1pPr>
          </a:lstStyle>
          <a:p>
            <a:r>
              <a:rPr lang="en-US" dirty="0" smtClean="0"/>
              <a:t>Click to edit Master title style</a:t>
            </a:r>
            <a:endParaRPr lang="en-US" dirty="0"/>
          </a:p>
        </p:txBody>
      </p:sp>
    </p:spTree>
    <p:extLst>
      <p:ext uri="{BB962C8B-B14F-4D97-AF65-F5344CB8AC3E}">
        <p14:creationId xmlns:p14="http://schemas.microsoft.com/office/powerpoint/2010/main" val="893615124"/>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_Only_With_Grid_Backgroun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useBgFill="1">
        <p:nvSpPr>
          <p:cNvPr id="27"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4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44" name="Right Mask"/>
          <p:cNvSpPr/>
          <p:nvPr userDrawn="1"/>
        </p:nvSpPr>
        <p:spPr bwMode="auto">
          <a:xfrm>
            <a:off x="8381803" y="1223105"/>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45" name="Bottom Mask"/>
          <p:cNvSpPr/>
          <p:nvPr userDrawn="1"/>
        </p:nvSpPr>
        <p:spPr bwMode="auto">
          <a:xfrm>
            <a:off x="1" y="4507707"/>
            <a:ext cx="9144001"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40" name="Title 1"/>
          <p:cNvSpPr>
            <a:spLocks noGrp="1"/>
          </p:cNvSpPr>
          <p:nvPr>
            <p:ph type="title"/>
          </p:nvPr>
        </p:nvSpPr>
        <p:spPr>
          <a:xfrm>
            <a:off x="389436" y="171451"/>
            <a:ext cx="8363938" cy="457049"/>
          </a:xfrm>
        </p:spPr>
        <p:txBody>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1648199355"/>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085849"/>
            <a:ext cx="8363938" cy="1481945"/>
          </a:xfrm>
          <a:prstGeom prst="rect">
            <a:avLst/>
          </a:prstGeom>
        </p:spPr>
        <p:txBody>
          <a:bodyPr/>
          <a:lstStyle>
            <a:lvl1pPr marL="0" indent="0">
              <a:spcBef>
                <a:spcPts val="1800"/>
              </a:spcBef>
              <a:buNone/>
              <a:defRPr sz="3000">
                <a:gradFill>
                  <a:gsLst>
                    <a:gs pos="100000">
                      <a:schemeClr val="tx2"/>
                    </a:gs>
                    <a:gs pos="0">
                      <a:schemeClr val="tx2"/>
                    </a:gs>
                  </a:gsLst>
                  <a:lin ang="5400000" scaled="0"/>
                </a:gradFill>
                <a:latin typeface="+mj-lt"/>
              </a:defRPr>
            </a:lvl1pPr>
            <a:lvl2pPr marL="0" indent="0">
              <a:buNone/>
              <a:defRPr sz="1500">
                <a:gradFill>
                  <a:gsLst>
                    <a:gs pos="100000">
                      <a:schemeClr val="accent4"/>
                    </a:gs>
                    <a:gs pos="2000">
                      <a:schemeClr val="accent4"/>
                    </a:gs>
                  </a:gsLst>
                  <a:lin ang="5400000" scaled="0"/>
                </a:gradFill>
              </a:defRPr>
            </a:lvl2pPr>
            <a:lvl3pPr marL="173854" indent="0">
              <a:buNone/>
              <a:defRPr sz="1500">
                <a:gradFill>
                  <a:gsLst>
                    <a:gs pos="100000">
                      <a:schemeClr val="accent4"/>
                    </a:gs>
                    <a:gs pos="2000">
                      <a:schemeClr val="accent4"/>
                    </a:gs>
                  </a:gsLst>
                  <a:lin ang="5400000" scaled="0"/>
                </a:gradFill>
              </a:defRPr>
            </a:lvl3pPr>
            <a:lvl4pPr marL="342946" indent="0">
              <a:buNone/>
              <a:defRPr sz="1500">
                <a:gradFill>
                  <a:gsLst>
                    <a:gs pos="100000">
                      <a:schemeClr val="accent4"/>
                    </a:gs>
                    <a:gs pos="2000">
                      <a:schemeClr val="accent4"/>
                    </a:gs>
                  </a:gsLst>
                  <a:lin ang="5400000" scaled="0"/>
                </a:gradFill>
              </a:defRPr>
            </a:lvl4pPr>
            <a:lvl5pPr marL="520373" indent="0">
              <a:buNone/>
              <a:defRPr sz="1500">
                <a:gradFill>
                  <a:gsLst>
                    <a:gs pos="100000">
                      <a:schemeClr val="accent4"/>
                    </a:gs>
                    <a:gs pos="2000">
                      <a:schemeClr val="accent4"/>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555903829"/>
      </p:ext>
    </p:extLst>
  </p:cSld>
  <p:clrMapOvr>
    <a:masterClrMapping/>
  </p:clrMapOvr>
  <p:transition spd="slow">
    <p:push/>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Picture with Caption">
    <p:spTree>
      <p:nvGrpSpPr>
        <p:cNvPr id="1" name=""/>
        <p:cNvGrpSpPr/>
        <p:nvPr/>
      </p:nvGrpSpPr>
      <p:grpSpPr>
        <a:xfrm>
          <a:off x="0" y="0"/>
          <a:ext cx="0" cy="0"/>
          <a:chOff x="0" y="0"/>
          <a:chExt cx="0" cy="0"/>
        </a:xfrm>
      </p:grpSpPr>
      <p:sp>
        <p:nvSpPr>
          <p:cNvPr id="8" name="Picture Placeholder 7"/>
          <p:cNvSpPr>
            <a:spLocks noGrp="1"/>
          </p:cNvSpPr>
          <p:nvPr>
            <p:ph type="pic" sz="quarter" idx="13" hasCustomPrompt="1"/>
          </p:nvPr>
        </p:nvSpPr>
        <p:spPr>
          <a:xfrm>
            <a:off x="0" y="2405550"/>
            <a:ext cx="9144000" cy="332399"/>
          </a:xfrm>
          <a:solidFill>
            <a:schemeClr val="tx1"/>
          </a:solidFill>
        </p:spPr>
        <p:txBody>
          <a:bodyPr anchor="ctr" anchorCtr="0"/>
          <a:lstStyle>
            <a:lvl1pPr marL="0" indent="0" algn="ctr">
              <a:buNone/>
              <a:defRPr/>
            </a:lvl1pPr>
          </a:lstStyle>
          <a:p>
            <a:r>
              <a:rPr lang="en-US" dirty="0" smtClean="0"/>
              <a:t>Click to add picture</a:t>
            </a:r>
            <a:endParaRPr lang="en-US" dirty="0"/>
          </a:p>
        </p:txBody>
      </p:sp>
      <p:sp>
        <p:nvSpPr>
          <p:cNvPr id="2" name="Title 1"/>
          <p:cNvSpPr>
            <a:spLocks noGrp="1"/>
          </p:cNvSpPr>
          <p:nvPr>
            <p:ph type="title" hasCustomPrompt="1"/>
          </p:nvPr>
        </p:nvSpPr>
        <p:spPr>
          <a:xfrm>
            <a:off x="381002" y="1962973"/>
            <a:ext cx="2627445" cy="2631652"/>
          </a:xfrm>
          <a:solidFill>
            <a:schemeClr val="accent1"/>
          </a:solidFill>
        </p:spPr>
        <p:txBody>
          <a:bodyPr anchor="ctr" anchorCtr="0">
            <a:noAutofit/>
          </a:bodyPr>
          <a:lstStyle>
            <a:lvl1pPr algn="l">
              <a:defRPr sz="4100">
                <a:solidFill>
                  <a:srgbClr val="FFFFFF"/>
                </a:solidFill>
              </a:defRPr>
            </a:lvl1pPr>
          </a:lstStyle>
          <a:p>
            <a:r>
              <a:rPr lang="en-US" dirty="0" smtClean="0"/>
              <a:t>Click to edit caption</a:t>
            </a:r>
            <a:endParaRPr lang="en-US" dirty="0"/>
          </a:p>
        </p:txBody>
      </p:sp>
      <p:sp>
        <p:nvSpPr>
          <p:cNvPr id="3" name="Date Placeholder 2"/>
          <p:cNvSpPr>
            <a:spLocks noGrp="1"/>
          </p:cNvSpPr>
          <p:nvPr>
            <p:ph type="dt" sz="half" idx="10"/>
          </p:nvPr>
        </p:nvSpPr>
        <p:spPr>
          <a:xfrm>
            <a:off x="2865742" y="4822870"/>
            <a:ext cx="1098755" cy="182012"/>
          </a:xfrm>
          <a:prstGeom prst="rect">
            <a:avLst/>
          </a:prstGeom>
        </p:spPr>
        <p:txBody>
          <a:bodyPr lIns="68589" tIns="34295" rIns="68589" bIns="34295"/>
          <a:lstStyle/>
          <a:p>
            <a:fld id="{99440AFB-B92A-4788-9C9A-88FA1E3858F6}" type="datetime1">
              <a:rPr lang="en-US" smtClean="0"/>
              <a:t>9/20/2012</a:t>
            </a:fld>
            <a:endParaRPr lang="en-US"/>
          </a:p>
        </p:txBody>
      </p:sp>
      <p:sp>
        <p:nvSpPr>
          <p:cNvPr id="4" name="Footer Placeholder 3"/>
          <p:cNvSpPr>
            <a:spLocks noGrp="1"/>
          </p:cNvSpPr>
          <p:nvPr>
            <p:ph type="ftr" sz="quarter" idx="11"/>
          </p:nvPr>
        </p:nvSpPr>
        <p:spPr>
          <a:xfrm>
            <a:off x="3964493" y="4822870"/>
            <a:ext cx="2895600" cy="182012"/>
          </a:xfrm>
          <a:prstGeom prst="rect">
            <a:avLst/>
          </a:prstGeom>
        </p:spPr>
        <p:txBody>
          <a:bodyPr lIns="48012" tIns="24006" rIns="48012" bIns="24006"/>
          <a:lstStyle/>
          <a:p>
            <a:r>
              <a:rPr lang="en-US" smtClean="0"/>
              <a:t>‹#›</a:t>
            </a:r>
            <a:endParaRPr lang="en-US" dirty="0"/>
          </a:p>
        </p:txBody>
      </p:sp>
    </p:spTree>
    <p:extLst>
      <p:ext uri="{BB962C8B-B14F-4D97-AF65-F5344CB8AC3E}">
        <p14:creationId xmlns:p14="http://schemas.microsoft.com/office/powerpoint/2010/main" val="2342280496"/>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8640542"/>
      </p:ext>
    </p:extLst>
  </p:cSld>
  <p:clrMapOvr>
    <a:masterClrMapping/>
  </p:clrMapOvr>
  <p:transition spd="med">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389438" y="1428753"/>
            <a:ext cx="8363937" cy="1581202"/>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Partn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3" y="2390353"/>
            <a:ext cx="5373500"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3008303" y="1135856"/>
            <a:ext cx="5373500"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5" y="1189940"/>
            <a:ext cx="4163390" cy="1033983"/>
          </a:xfrm>
        </p:spPr>
        <p:txBody>
          <a:bodyPr anchor="ctr" anchorCtr="0">
            <a:noAutofit/>
            <a:scene3d>
              <a:camera prst="orthographicFront"/>
              <a:lightRig rig="flat" dir="t"/>
            </a:scene3d>
            <a:sp3d>
              <a:contourClr>
                <a:schemeClr val="tx2"/>
              </a:contourClr>
            </a:sp3d>
          </a:bodyPr>
          <a:lstStyle>
            <a:lvl1pPr marL="0" indent="0" algn="l" defTabSz="68548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Partner</a:t>
            </a:r>
          </a:p>
        </p:txBody>
      </p:sp>
      <p:sp useBgFill="1">
        <p:nvSpPr>
          <p:cNvPr id="9" name="Left Mask"/>
          <p:cNvSpPr/>
          <p:nvPr userDrawn="1"/>
        </p:nvSpPr>
        <p:spPr bwMode="auto">
          <a:xfrm>
            <a:off x="-1" y="1135857"/>
            <a:ext cx="3008303"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3135108" y="3886211"/>
            <a:ext cx="4959201" cy="346249"/>
          </a:xfrm>
        </p:spPr>
        <p:txBody>
          <a:bodyPr>
            <a:noAutofit/>
          </a:bodyPr>
          <a:lstStyle>
            <a:lvl1pPr marL="0" indent="0" algn="l" defTabSz="68548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39" indent="0" algn="ctr">
              <a:buNone/>
              <a:defRPr>
                <a:solidFill>
                  <a:schemeClr val="tx1">
                    <a:tint val="75000"/>
                  </a:schemeClr>
                </a:solidFill>
              </a:defRPr>
            </a:lvl2pPr>
            <a:lvl3pPr marL="685487" indent="0" algn="ctr">
              <a:buNone/>
              <a:defRPr>
                <a:solidFill>
                  <a:schemeClr val="tx1">
                    <a:tint val="75000"/>
                  </a:schemeClr>
                </a:solidFill>
              </a:defRPr>
            </a:lvl3pPr>
            <a:lvl4pPr marL="1028229" indent="0" algn="ctr">
              <a:buNone/>
              <a:defRPr>
                <a:solidFill>
                  <a:schemeClr val="tx1">
                    <a:tint val="75000"/>
                  </a:schemeClr>
                </a:solidFill>
              </a:defRPr>
            </a:lvl4pPr>
            <a:lvl5pPr marL="1370975" indent="0" algn="ctr">
              <a:buNone/>
              <a:defRPr>
                <a:solidFill>
                  <a:schemeClr val="tx1">
                    <a:tint val="75000"/>
                  </a:schemeClr>
                </a:solidFill>
              </a:defRPr>
            </a:lvl5pPr>
            <a:lvl6pPr marL="1713712" indent="0" algn="ctr">
              <a:buNone/>
              <a:defRPr>
                <a:solidFill>
                  <a:schemeClr val="tx1">
                    <a:tint val="75000"/>
                  </a:schemeClr>
                </a:solidFill>
              </a:defRPr>
            </a:lvl6pPr>
            <a:lvl7pPr marL="2056459" indent="0" algn="ctr">
              <a:buNone/>
              <a:defRPr>
                <a:solidFill>
                  <a:schemeClr val="tx1">
                    <a:tint val="75000"/>
                  </a:schemeClr>
                </a:solidFill>
              </a:defRPr>
            </a:lvl7pPr>
            <a:lvl8pPr marL="2399204" indent="0" algn="ctr">
              <a:buNone/>
              <a:defRPr>
                <a:solidFill>
                  <a:schemeClr val="tx1">
                    <a:tint val="75000"/>
                  </a:schemeClr>
                </a:solidFill>
              </a:defRPr>
            </a:lvl8pPr>
            <a:lvl9pPr marL="274195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20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50" tIns="34276" rIns="68550" bIns="34276" numCol="1" anchor="t" anchorCtr="0" compatLnSpc="1">
            <a:prstTxWarp prst="textNoShape">
              <a:avLst/>
            </a:prstTxWarp>
          </a:bodyPr>
          <a:lstStyle/>
          <a:p>
            <a:endParaRPr lang="en-US" sz="1400" dirty="0"/>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1"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8381812" y="1223114"/>
            <a:ext cx="762199"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3135106" y="2390362"/>
            <a:ext cx="4959201" cy="1142621"/>
          </a:xfrm>
        </p:spPr>
        <p:txBody>
          <a:bodyPr anchor="ctr" anchorCtr="0">
            <a:noAutofit/>
          </a:bodyPr>
          <a:lstStyle>
            <a:lvl1pPr algn="l" defTabSz="685487"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1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7" name="Blue Tile"/>
          <p:cNvGrpSpPr/>
          <p:nvPr userDrawn="1"/>
        </p:nvGrpSpPr>
        <p:grpSpPr>
          <a:xfrm>
            <a:off x="762092" y="2392295"/>
            <a:ext cx="2120991" cy="2120439"/>
            <a:chOff x="1071620" y="3044261"/>
            <a:chExt cx="1325880" cy="1325880"/>
          </a:xfrm>
        </p:grpSpPr>
        <p:sp>
          <p:nvSpPr>
            <p:cNvPr id="18" name="Rectangle 17"/>
            <p:cNvSpPr/>
            <p:nvPr/>
          </p:nvSpPr>
          <p:spPr bwMode="auto">
            <a:xfrm>
              <a:off x="1071620" y="3044261"/>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spTree>
    <p:extLst>
      <p:ext uri="{BB962C8B-B14F-4D97-AF65-F5344CB8AC3E}">
        <p14:creationId xmlns:p14="http://schemas.microsoft.com/office/powerpoint/2010/main" val="404241828"/>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27"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7463202"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62" tIns="34282" rIns="68562" bIns="34282" numCol="1" anchor="t" anchorCtr="0" compatLnSpc="1">
            <a:prstTxWarp prst="textNoShape">
              <a:avLst/>
            </a:prstTxWarp>
          </a:bodyPr>
          <a:lstStyle/>
          <a:p>
            <a:pPr defTabSz="685607"/>
            <a:endParaRPr lang="en-US" dirty="0">
              <a:solidFill>
                <a:srgbClr val="FFFFFF"/>
              </a:solidFill>
            </a:endParaRPr>
          </a:p>
        </p:txBody>
      </p:sp>
      <p:sp>
        <p:nvSpPr>
          <p:cNvPr id="29"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Fuschia Tile"/>
          <p:cNvGrpSpPr/>
          <p:nvPr userDrawn="1"/>
        </p:nvGrpSpPr>
        <p:grpSpPr>
          <a:xfrm>
            <a:off x="762580" y="2388950"/>
            <a:ext cx="994669" cy="994410"/>
            <a:chOff x="1071620" y="3044261"/>
            <a:chExt cx="1325880" cy="1325880"/>
          </a:xfrm>
        </p:grpSpPr>
        <p:sp>
          <p:nvSpPr>
            <p:cNvPr id="32" name="Rectangle 31"/>
            <p:cNvSpPr/>
            <p:nvPr/>
          </p:nvSpPr>
          <p:spPr bwMode="auto">
            <a:xfrm>
              <a:off x="1071620" y="3044261"/>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33"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07"/>
              <a:endParaRPr lang="en-US" dirty="0">
                <a:solidFill>
                  <a:srgbClr val="FFFFFF"/>
                </a:solidFill>
              </a:endParaRPr>
            </a:p>
          </p:txBody>
        </p:sp>
      </p:grpSp>
      <p:grpSp>
        <p:nvGrpSpPr>
          <p:cNvPr id="34" name="Orange Tile"/>
          <p:cNvGrpSpPr/>
          <p:nvPr userDrawn="1"/>
        </p:nvGrpSpPr>
        <p:grpSpPr>
          <a:xfrm>
            <a:off x="1886044" y="2388950"/>
            <a:ext cx="994669" cy="994410"/>
            <a:chOff x="2487267" y="3044261"/>
            <a:chExt cx="1325880" cy="1325880"/>
          </a:xfrm>
        </p:grpSpPr>
        <p:sp>
          <p:nvSpPr>
            <p:cNvPr id="35" name="Rectangle 34"/>
            <p:cNvSpPr/>
            <p:nvPr/>
          </p:nvSpPr>
          <p:spPr bwMode="auto">
            <a:xfrm>
              <a:off x="2487267" y="3044261"/>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36" name="Freeform 30"/>
            <p:cNvSpPr>
              <a:spLocks noEditPoints="1"/>
            </p:cNvSpPr>
            <p:nvPr/>
          </p:nvSpPr>
          <p:spPr bwMode="auto">
            <a:xfrm>
              <a:off x="2774763" y="3284926"/>
              <a:ext cx="750888" cy="844550"/>
            </a:xfrm>
            <a:custGeom>
              <a:avLst/>
              <a:gdLst>
                <a:gd name="T0" fmla="*/ 15 w 200"/>
                <a:gd name="T1" fmla="*/ 0 h 225"/>
                <a:gd name="T2" fmla="*/ 11 w 200"/>
                <a:gd name="T3" fmla="*/ 17 h 225"/>
                <a:gd name="T4" fmla="*/ 11 w 200"/>
                <a:gd name="T5" fmla="*/ 35 h 225"/>
                <a:gd name="T6" fmla="*/ 0 w 200"/>
                <a:gd name="T7" fmla="*/ 55 h 225"/>
                <a:gd name="T8" fmla="*/ 11 w 200"/>
                <a:gd name="T9" fmla="*/ 75 h 225"/>
                <a:gd name="T10" fmla="*/ 11 w 200"/>
                <a:gd name="T11" fmla="*/ 94 h 225"/>
                <a:gd name="T12" fmla="*/ 0 w 200"/>
                <a:gd name="T13" fmla="*/ 114 h 225"/>
                <a:gd name="T14" fmla="*/ 11 w 200"/>
                <a:gd name="T15" fmla="*/ 134 h 225"/>
                <a:gd name="T16" fmla="*/ 11 w 200"/>
                <a:gd name="T17" fmla="*/ 153 h 225"/>
                <a:gd name="T18" fmla="*/ 0 w 200"/>
                <a:gd name="T19" fmla="*/ 173 h 225"/>
                <a:gd name="T20" fmla="*/ 11 w 200"/>
                <a:gd name="T21" fmla="*/ 193 h 225"/>
                <a:gd name="T22" fmla="*/ 11 w 200"/>
                <a:gd name="T23" fmla="*/ 211 h 225"/>
                <a:gd name="T24" fmla="*/ 15 w 200"/>
                <a:gd name="T25" fmla="*/ 225 h 225"/>
                <a:gd name="T26" fmla="*/ 200 w 200"/>
                <a:gd name="T27" fmla="*/ 185 h 225"/>
                <a:gd name="T28" fmla="*/ 160 w 200"/>
                <a:gd name="T29" fmla="*/ 0 h 225"/>
                <a:gd name="T30" fmla="*/ 11 w 200"/>
                <a:gd name="T31" fmla="*/ 25 h 225"/>
                <a:gd name="T32" fmla="*/ 8 w 200"/>
                <a:gd name="T33" fmla="*/ 26 h 225"/>
                <a:gd name="T34" fmla="*/ 11 w 200"/>
                <a:gd name="T35" fmla="*/ 54 h 225"/>
                <a:gd name="T36" fmla="*/ 8 w 200"/>
                <a:gd name="T37" fmla="*/ 55 h 225"/>
                <a:gd name="T38" fmla="*/ 11 w 200"/>
                <a:gd name="T39" fmla="*/ 83 h 225"/>
                <a:gd name="T40" fmla="*/ 8 w 200"/>
                <a:gd name="T41" fmla="*/ 85 h 225"/>
                <a:gd name="T42" fmla="*/ 11 w 200"/>
                <a:gd name="T43" fmla="*/ 113 h 225"/>
                <a:gd name="T44" fmla="*/ 8 w 200"/>
                <a:gd name="T45" fmla="*/ 114 h 225"/>
                <a:gd name="T46" fmla="*/ 11 w 200"/>
                <a:gd name="T47" fmla="*/ 142 h 225"/>
                <a:gd name="T48" fmla="*/ 8 w 200"/>
                <a:gd name="T49" fmla="*/ 143 h 225"/>
                <a:gd name="T50" fmla="*/ 11 w 200"/>
                <a:gd name="T51" fmla="*/ 171 h 225"/>
                <a:gd name="T52" fmla="*/ 8 w 200"/>
                <a:gd name="T53" fmla="*/ 173 h 225"/>
                <a:gd name="T54" fmla="*/ 11 w 200"/>
                <a:gd name="T55" fmla="*/ 201 h 225"/>
                <a:gd name="T56" fmla="*/ 8 w 200"/>
                <a:gd name="T57" fmla="*/ 202 h 225"/>
                <a:gd name="T58" fmla="*/ 160 w 200"/>
                <a:gd name="T59" fmla="*/ 217 h 225"/>
                <a:gd name="T60" fmla="*/ 19 w 200"/>
                <a:gd name="T61" fmla="*/ 201 h 225"/>
                <a:gd name="T62" fmla="*/ 21 w 200"/>
                <a:gd name="T63" fmla="*/ 205 h 225"/>
                <a:gd name="T64" fmla="*/ 27 w 200"/>
                <a:gd name="T65" fmla="*/ 198 h 225"/>
                <a:gd name="T66" fmla="*/ 19 w 200"/>
                <a:gd name="T67" fmla="*/ 172 h 225"/>
                <a:gd name="T68" fmla="*/ 21 w 200"/>
                <a:gd name="T69" fmla="*/ 175 h 225"/>
                <a:gd name="T70" fmla="*/ 27 w 200"/>
                <a:gd name="T71" fmla="*/ 168 h 225"/>
                <a:gd name="T72" fmla="*/ 19 w 200"/>
                <a:gd name="T73" fmla="*/ 142 h 225"/>
                <a:gd name="T74" fmla="*/ 21 w 200"/>
                <a:gd name="T75" fmla="*/ 146 h 225"/>
                <a:gd name="T76" fmla="*/ 27 w 200"/>
                <a:gd name="T77" fmla="*/ 139 h 225"/>
                <a:gd name="T78" fmla="*/ 19 w 200"/>
                <a:gd name="T79" fmla="*/ 113 h 225"/>
                <a:gd name="T80" fmla="*/ 21 w 200"/>
                <a:gd name="T81" fmla="*/ 117 h 225"/>
                <a:gd name="T82" fmla="*/ 27 w 200"/>
                <a:gd name="T83" fmla="*/ 110 h 225"/>
                <a:gd name="T84" fmla="*/ 19 w 200"/>
                <a:gd name="T85" fmla="*/ 83 h 225"/>
                <a:gd name="T86" fmla="*/ 21 w 200"/>
                <a:gd name="T87" fmla="*/ 87 h 225"/>
                <a:gd name="T88" fmla="*/ 27 w 200"/>
                <a:gd name="T89" fmla="*/ 80 h 225"/>
                <a:gd name="T90" fmla="*/ 19 w 200"/>
                <a:gd name="T91" fmla="*/ 54 h 225"/>
                <a:gd name="T92" fmla="*/ 21 w 200"/>
                <a:gd name="T93" fmla="*/ 58 h 225"/>
                <a:gd name="T94" fmla="*/ 27 w 200"/>
                <a:gd name="T95" fmla="*/ 51 h 225"/>
                <a:gd name="T96" fmla="*/ 19 w 200"/>
                <a:gd name="T97" fmla="*/ 25 h 225"/>
                <a:gd name="T98" fmla="*/ 21 w 200"/>
                <a:gd name="T99" fmla="*/ 29 h 225"/>
                <a:gd name="T100" fmla="*/ 27 w 200"/>
                <a:gd name="T101" fmla="*/ 22 h 225"/>
                <a:gd name="T102" fmla="*/ 19 w 200"/>
                <a:gd name="T103" fmla="*/ 8 h 225"/>
                <a:gd name="T104" fmla="*/ 192 w 200"/>
                <a:gd name="T105" fmla="*/ 4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 h="225">
                  <a:moveTo>
                    <a:pt x="160" y="0"/>
                  </a:moveTo>
                  <a:cubicBezTo>
                    <a:pt x="15" y="0"/>
                    <a:pt x="15" y="0"/>
                    <a:pt x="15" y="0"/>
                  </a:cubicBezTo>
                  <a:cubicBezTo>
                    <a:pt x="12" y="0"/>
                    <a:pt x="11" y="2"/>
                    <a:pt x="11" y="4"/>
                  </a:cubicBezTo>
                  <a:cubicBezTo>
                    <a:pt x="11" y="17"/>
                    <a:pt x="11" y="17"/>
                    <a:pt x="11" y="17"/>
                  </a:cubicBezTo>
                  <a:cubicBezTo>
                    <a:pt x="4" y="18"/>
                    <a:pt x="0" y="21"/>
                    <a:pt x="0" y="26"/>
                  </a:cubicBezTo>
                  <a:cubicBezTo>
                    <a:pt x="0" y="30"/>
                    <a:pt x="4" y="34"/>
                    <a:pt x="11" y="35"/>
                  </a:cubicBezTo>
                  <a:cubicBezTo>
                    <a:pt x="11" y="46"/>
                    <a:pt x="11" y="46"/>
                    <a:pt x="11" y="46"/>
                  </a:cubicBezTo>
                  <a:cubicBezTo>
                    <a:pt x="4" y="47"/>
                    <a:pt x="0" y="51"/>
                    <a:pt x="0" y="55"/>
                  </a:cubicBezTo>
                  <a:cubicBezTo>
                    <a:pt x="0" y="60"/>
                    <a:pt x="4" y="63"/>
                    <a:pt x="11" y="65"/>
                  </a:cubicBezTo>
                  <a:cubicBezTo>
                    <a:pt x="11" y="75"/>
                    <a:pt x="11" y="75"/>
                    <a:pt x="11" y="75"/>
                  </a:cubicBezTo>
                  <a:cubicBezTo>
                    <a:pt x="4" y="76"/>
                    <a:pt x="0" y="80"/>
                    <a:pt x="0" y="85"/>
                  </a:cubicBezTo>
                  <a:cubicBezTo>
                    <a:pt x="0" y="89"/>
                    <a:pt x="4" y="93"/>
                    <a:pt x="11" y="94"/>
                  </a:cubicBezTo>
                  <a:cubicBezTo>
                    <a:pt x="11" y="105"/>
                    <a:pt x="11" y="105"/>
                    <a:pt x="11" y="105"/>
                  </a:cubicBezTo>
                  <a:cubicBezTo>
                    <a:pt x="4" y="106"/>
                    <a:pt x="0" y="109"/>
                    <a:pt x="0" y="114"/>
                  </a:cubicBezTo>
                  <a:cubicBezTo>
                    <a:pt x="0" y="119"/>
                    <a:pt x="4" y="122"/>
                    <a:pt x="11" y="123"/>
                  </a:cubicBezTo>
                  <a:cubicBezTo>
                    <a:pt x="11" y="134"/>
                    <a:pt x="11" y="134"/>
                    <a:pt x="11" y="134"/>
                  </a:cubicBezTo>
                  <a:cubicBezTo>
                    <a:pt x="4" y="135"/>
                    <a:pt x="0" y="139"/>
                    <a:pt x="0" y="143"/>
                  </a:cubicBezTo>
                  <a:cubicBezTo>
                    <a:pt x="0" y="148"/>
                    <a:pt x="4" y="152"/>
                    <a:pt x="11" y="153"/>
                  </a:cubicBezTo>
                  <a:cubicBezTo>
                    <a:pt x="11" y="163"/>
                    <a:pt x="11" y="163"/>
                    <a:pt x="11" y="163"/>
                  </a:cubicBezTo>
                  <a:cubicBezTo>
                    <a:pt x="4" y="164"/>
                    <a:pt x="0" y="168"/>
                    <a:pt x="0" y="173"/>
                  </a:cubicBezTo>
                  <a:cubicBezTo>
                    <a:pt x="0" y="177"/>
                    <a:pt x="4" y="181"/>
                    <a:pt x="11" y="182"/>
                  </a:cubicBezTo>
                  <a:cubicBezTo>
                    <a:pt x="11" y="193"/>
                    <a:pt x="11" y="193"/>
                    <a:pt x="11" y="193"/>
                  </a:cubicBezTo>
                  <a:cubicBezTo>
                    <a:pt x="4" y="194"/>
                    <a:pt x="0" y="197"/>
                    <a:pt x="0" y="202"/>
                  </a:cubicBezTo>
                  <a:cubicBezTo>
                    <a:pt x="0" y="207"/>
                    <a:pt x="4" y="210"/>
                    <a:pt x="11" y="211"/>
                  </a:cubicBezTo>
                  <a:cubicBezTo>
                    <a:pt x="11" y="221"/>
                    <a:pt x="11" y="221"/>
                    <a:pt x="11" y="221"/>
                  </a:cubicBezTo>
                  <a:cubicBezTo>
                    <a:pt x="11" y="223"/>
                    <a:pt x="12" y="225"/>
                    <a:pt x="15" y="225"/>
                  </a:cubicBezTo>
                  <a:cubicBezTo>
                    <a:pt x="160" y="225"/>
                    <a:pt x="160" y="225"/>
                    <a:pt x="160" y="225"/>
                  </a:cubicBezTo>
                  <a:cubicBezTo>
                    <a:pt x="182" y="225"/>
                    <a:pt x="200" y="207"/>
                    <a:pt x="200" y="185"/>
                  </a:cubicBezTo>
                  <a:cubicBezTo>
                    <a:pt x="200" y="40"/>
                    <a:pt x="200" y="40"/>
                    <a:pt x="200" y="40"/>
                  </a:cubicBezTo>
                  <a:cubicBezTo>
                    <a:pt x="200" y="18"/>
                    <a:pt x="182" y="0"/>
                    <a:pt x="160" y="0"/>
                  </a:cubicBezTo>
                  <a:close/>
                  <a:moveTo>
                    <a:pt x="8" y="26"/>
                  </a:moveTo>
                  <a:cubicBezTo>
                    <a:pt x="9" y="26"/>
                    <a:pt x="9" y="25"/>
                    <a:pt x="11" y="25"/>
                  </a:cubicBezTo>
                  <a:cubicBezTo>
                    <a:pt x="11" y="27"/>
                    <a:pt x="11" y="27"/>
                    <a:pt x="11" y="27"/>
                  </a:cubicBezTo>
                  <a:cubicBezTo>
                    <a:pt x="9" y="27"/>
                    <a:pt x="9" y="26"/>
                    <a:pt x="8" y="26"/>
                  </a:cubicBezTo>
                  <a:close/>
                  <a:moveTo>
                    <a:pt x="8" y="55"/>
                  </a:moveTo>
                  <a:cubicBezTo>
                    <a:pt x="9" y="55"/>
                    <a:pt x="9" y="54"/>
                    <a:pt x="11" y="54"/>
                  </a:cubicBezTo>
                  <a:cubicBezTo>
                    <a:pt x="11" y="56"/>
                    <a:pt x="11" y="56"/>
                    <a:pt x="11" y="56"/>
                  </a:cubicBezTo>
                  <a:cubicBezTo>
                    <a:pt x="9" y="56"/>
                    <a:pt x="9" y="56"/>
                    <a:pt x="8" y="55"/>
                  </a:cubicBezTo>
                  <a:close/>
                  <a:moveTo>
                    <a:pt x="8" y="85"/>
                  </a:moveTo>
                  <a:cubicBezTo>
                    <a:pt x="9" y="84"/>
                    <a:pt x="9" y="84"/>
                    <a:pt x="11" y="83"/>
                  </a:cubicBezTo>
                  <a:cubicBezTo>
                    <a:pt x="11" y="86"/>
                    <a:pt x="11" y="86"/>
                    <a:pt x="11" y="86"/>
                  </a:cubicBezTo>
                  <a:cubicBezTo>
                    <a:pt x="9" y="85"/>
                    <a:pt x="9" y="85"/>
                    <a:pt x="8" y="85"/>
                  </a:cubicBezTo>
                  <a:close/>
                  <a:moveTo>
                    <a:pt x="8" y="114"/>
                  </a:moveTo>
                  <a:cubicBezTo>
                    <a:pt x="9" y="114"/>
                    <a:pt x="9" y="113"/>
                    <a:pt x="11" y="113"/>
                  </a:cubicBezTo>
                  <a:cubicBezTo>
                    <a:pt x="11" y="115"/>
                    <a:pt x="11" y="115"/>
                    <a:pt x="11" y="115"/>
                  </a:cubicBezTo>
                  <a:cubicBezTo>
                    <a:pt x="9" y="115"/>
                    <a:pt x="9" y="114"/>
                    <a:pt x="8" y="114"/>
                  </a:cubicBezTo>
                  <a:close/>
                  <a:moveTo>
                    <a:pt x="8" y="143"/>
                  </a:moveTo>
                  <a:cubicBezTo>
                    <a:pt x="9" y="143"/>
                    <a:pt x="9" y="142"/>
                    <a:pt x="11" y="142"/>
                  </a:cubicBezTo>
                  <a:cubicBezTo>
                    <a:pt x="11" y="144"/>
                    <a:pt x="11" y="144"/>
                    <a:pt x="11" y="144"/>
                  </a:cubicBezTo>
                  <a:cubicBezTo>
                    <a:pt x="9" y="144"/>
                    <a:pt x="9" y="144"/>
                    <a:pt x="8" y="143"/>
                  </a:cubicBezTo>
                  <a:close/>
                  <a:moveTo>
                    <a:pt x="8" y="173"/>
                  </a:moveTo>
                  <a:cubicBezTo>
                    <a:pt x="9" y="172"/>
                    <a:pt x="9" y="172"/>
                    <a:pt x="11" y="171"/>
                  </a:cubicBezTo>
                  <a:cubicBezTo>
                    <a:pt x="11" y="174"/>
                    <a:pt x="11" y="174"/>
                    <a:pt x="11" y="174"/>
                  </a:cubicBezTo>
                  <a:cubicBezTo>
                    <a:pt x="9" y="173"/>
                    <a:pt x="9" y="173"/>
                    <a:pt x="8" y="173"/>
                  </a:cubicBezTo>
                  <a:close/>
                  <a:moveTo>
                    <a:pt x="8" y="202"/>
                  </a:moveTo>
                  <a:cubicBezTo>
                    <a:pt x="9" y="202"/>
                    <a:pt x="9" y="201"/>
                    <a:pt x="11" y="201"/>
                  </a:cubicBezTo>
                  <a:cubicBezTo>
                    <a:pt x="11" y="203"/>
                    <a:pt x="11" y="203"/>
                    <a:pt x="11" y="203"/>
                  </a:cubicBezTo>
                  <a:cubicBezTo>
                    <a:pt x="9" y="203"/>
                    <a:pt x="9" y="202"/>
                    <a:pt x="8" y="202"/>
                  </a:cubicBezTo>
                  <a:close/>
                  <a:moveTo>
                    <a:pt x="192" y="185"/>
                  </a:moveTo>
                  <a:cubicBezTo>
                    <a:pt x="192" y="202"/>
                    <a:pt x="177" y="217"/>
                    <a:pt x="160" y="217"/>
                  </a:cubicBezTo>
                  <a:cubicBezTo>
                    <a:pt x="19" y="217"/>
                    <a:pt x="19" y="217"/>
                    <a:pt x="19" y="217"/>
                  </a:cubicBezTo>
                  <a:cubicBezTo>
                    <a:pt x="19" y="201"/>
                    <a:pt x="19" y="201"/>
                    <a:pt x="19" y="201"/>
                  </a:cubicBezTo>
                  <a:cubicBezTo>
                    <a:pt x="20" y="201"/>
                    <a:pt x="20" y="202"/>
                    <a:pt x="21" y="202"/>
                  </a:cubicBezTo>
                  <a:cubicBezTo>
                    <a:pt x="21" y="203"/>
                    <a:pt x="22" y="203"/>
                    <a:pt x="21" y="205"/>
                  </a:cubicBezTo>
                  <a:cubicBezTo>
                    <a:pt x="29" y="207"/>
                    <a:pt x="29" y="207"/>
                    <a:pt x="29" y="207"/>
                  </a:cubicBezTo>
                  <a:cubicBezTo>
                    <a:pt x="30" y="203"/>
                    <a:pt x="29" y="200"/>
                    <a:pt x="27" y="198"/>
                  </a:cubicBezTo>
                  <a:cubicBezTo>
                    <a:pt x="26" y="195"/>
                    <a:pt x="22" y="193"/>
                    <a:pt x="19" y="193"/>
                  </a:cubicBezTo>
                  <a:cubicBezTo>
                    <a:pt x="19" y="172"/>
                    <a:pt x="19" y="172"/>
                    <a:pt x="19" y="172"/>
                  </a:cubicBezTo>
                  <a:cubicBezTo>
                    <a:pt x="20" y="172"/>
                    <a:pt x="20" y="172"/>
                    <a:pt x="21" y="173"/>
                  </a:cubicBezTo>
                  <a:cubicBezTo>
                    <a:pt x="21" y="173"/>
                    <a:pt x="22" y="174"/>
                    <a:pt x="21" y="175"/>
                  </a:cubicBezTo>
                  <a:cubicBezTo>
                    <a:pt x="29" y="178"/>
                    <a:pt x="29" y="178"/>
                    <a:pt x="29" y="178"/>
                  </a:cubicBezTo>
                  <a:cubicBezTo>
                    <a:pt x="30" y="173"/>
                    <a:pt x="29" y="170"/>
                    <a:pt x="27" y="168"/>
                  </a:cubicBezTo>
                  <a:cubicBezTo>
                    <a:pt x="26" y="166"/>
                    <a:pt x="22" y="164"/>
                    <a:pt x="19" y="163"/>
                  </a:cubicBezTo>
                  <a:cubicBezTo>
                    <a:pt x="19" y="142"/>
                    <a:pt x="19" y="142"/>
                    <a:pt x="19" y="142"/>
                  </a:cubicBezTo>
                  <a:cubicBezTo>
                    <a:pt x="20" y="143"/>
                    <a:pt x="20" y="143"/>
                    <a:pt x="21" y="144"/>
                  </a:cubicBezTo>
                  <a:cubicBezTo>
                    <a:pt x="21" y="144"/>
                    <a:pt x="22" y="145"/>
                    <a:pt x="21" y="146"/>
                  </a:cubicBezTo>
                  <a:cubicBezTo>
                    <a:pt x="29" y="148"/>
                    <a:pt x="29" y="148"/>
                    <a:pt x="29" y="148"/>
                  </a:cubicBezTo>
                  <a:cubicBezTo>
                    <a:pt x="30" y="144"/>
                    <a:pt x="29" y="141"/>
                    <a:pt x="27" y="139"/>
                  </a:cubicBezTo>
                  <a:cubicBezTo>
                    <a:pt x="26" y="136"/>
                    <a:pt x="22" y="135"/>
                    <a:pt x="19" y="134"/>
                  </a:cubicBezTo>
                  <a:cubicBezTo>
                    <a:pt x="19" y="113"/>
                    <a:pt x="19" y="113"/>
                    <a:pt x="19" y="113"/>
                  </a:cubicBezTo>
                  <a:cubicBezTo>
                    <a:pt x="20" y="113"/>
                    <a:pt x="20" y="114"/>
                    <a:pt x="21" y="114"/>
                  </a:cubicBezTo>
                  <a:cubicBezTo>
                    <a:pt x="21" y="115"/>
                    <a:pt x="22" y="115"/>
                    <a:pt x="21" y="117"/>
                  </a:cubicBezTo>
                  <a:cubicBezTo>
                    <a:pt x="29" y="119"/>
                    <a:pt x="29" y="119"/>
                    <a:pt x="29" y="119"/>
                  </a:cubicBezTo>
                  <a:cubicBezTo>
                    <a:pt x="30" y="115"/>
                    <a:pt x="29" y="111"/>
                    <a:pt x="27" y="110"/>
                  </a:cubicBezTo>
                  <a:cubicBezTo>
                    <a:pt x="26" y="107"/>
                    <a:pt x="22" y="105"/>
                    <a:pt x="19" y="105"/>
                  </a:cubicBezTo>
                  <a:cubicBezTo>
                    <a:pt x="19" y="83"/>
                    <a:pt x="19" y="83"/>
                    <a:pt x="19" y="83"/>
                  </a:cubicBezTo>
                  <a:cubicBezTo>
                    <a:pt x="20" y="84"/>
                    <a:pt x="20" y="84"/>
                    <a:pt x="21" y="85"/>
                  </a:cubicBezTo>
                  <a:cubicBezTo>
                    <a:pt x="21" y="85"/>
                    <a:pt x="22" y="86"/>
                    <a:pt x="21" y="87"/>
                  </a:cubicBezTo>
                  <a:cubicBezTo>
                    <a:pt x="29" y="90"/>
                    <a:pt x="29" y="90"/>
                    <a:pt x="29" y="90"/>
                  </a:cubicBezTo>
                  <a:cubicBezTo>
                    <a:pt x="30" y="85"/>
                    <a:pt x="29" y="82"/>
                    <a:pt x="27" y="80"/>
                  </a:cubicBezTo>
                  <a:cubicBezTo>
                    <a:pt x="26" y="78"/>
                    <a:pt x="22" y="76"/>
                    <a:pt x="19" y="75"/>
                  </a:cubicBezTo>
                  <a:cubicBezTo>
                    <a:pt x="19" y="54"/>
                    <a:pt x="19" y="54"/>
                    <a:pt x="19" y="54"/>
                  </a:cubicBezTo>
                  <a:cubicBezTo>
                    <a:pt x="20" y="54"/>
                    <a:pt x="20" y="55"/>
                    <a:pt x="21" y="56"/>
                  </a:cubicBezTo>
                  <a:cubicBezTo>
                    <a:pt x="21" y="56"/>
                    <a:pt x="22" y="56"/>
                    <a:pt x="21" y="58"/>
                  </a:cubicBezTo>
                  <a:cubicBezTo>
                    <a:pt x="29" y="60"/>
                    <a:pt x="29" y="60"/>
                    <a:pt x="29" y="60"/>
                  </a:cubicBezTo>
                  <a:cubicBezTo>
                    <a:pt x="30" y="56"/>
                    <a:pt x="29" y="53"/>
                    <a:pt x="27" y="51"/>
                  </a:cubicBezTo>
                  <a:cubicBezTo>
                    <a:pt x="26" y="48"/>
                    <a:pt x="22" y="47"/>
                    <a:pt x="19" y="46"/>
                  </a:cubicBezTo>
                  <a:cubicBezTo>
                    <a:pt x="19" y="25"/>
                    <a:pt x="19" y="25"/>
                    <a:pt x="19" y="25"/>
                  </a:cubicBezTo>
                  <a:cubicBezTo>
                    <a:pt x="20" y="25"/>
                    <a:pt x="20" y="26"/>
                    <a:pt x="21" y="26"/>
                  </a:cubicBezTo>
                  <a:cubicBezTo>
                    <a:pt x="21" y="26"/>
                    <a:pt x="22" y="27"/>
                    <a:pt x="21" y="29"/>
                  </a:cubicBezTo>
                  <a:cubicBezTo>
                    <a:pt x="29" y="31"/>
                    <a:pt x="29" y="31"/>
                    <a:pt x="29" y="31"/>
                  </a:cubicBezTo>
                  <a:cubicBezTo>
                    <a:pt x="30" y="27"/>
                    <a:pt x="29" y="23"/>
                    <a:pt x="27" y="22"/>
                  </a:cubicBezTo>
                  <a:cubicBezTo>
                    <a:pt x="26" y="19"/>
                    <a:pt x="22" y="17"/>
                    <a:pt x="19" y="16"/>
                  </a:cubicBezTo>
                  <a:cubicBezTo>
                    <a:pt x="19" y="8"/>
                    <a:pt x="19" y="8"/>
                    <a:pt x="19" y="8"/>
                  </a:cubicBezTo>
                  <a:cubicBezTo>
                    <a:pt x="160" y="8"/>
                    <a:pt x="160" y="8"/>
                    <a:pt x="160" y="8"/>
                  </a:cubicBezTo>
                  <a:cubicBezTo>
                    <a:pt x="177" y="8"/>
                    <a:pt x="192" y="22"/>
                    <a:pt x="192" y="40"/>
                  </a:cubicBezTo>
                  <a:lnTo>
                    <a:pt x="192" y="1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07"/>
              <a:endParaRPr lang="en-US" dirty="0">
                <a:solidFill>
                  <a:srgbClr val="FFFFFF"/>
                </a:solidFill>
              </a:endParaRPr>
            </a:p>
          </p:txBody>
        </p:sp>
      </p:grpSp>
      <p:grpSp>
        <p:nvGrpSpPr>
          <p:cNvPr id="37" name="Teal Tile"/>
          <p:cNvGrpSpPr/>
          <p:nvPr userDrawn="1"/>
        </p:nvGrpSpPr>
        <p:grpSpPr>
          <a:xfrm>
            <a:off x="762580" y="3512121"/>
            <a:ext cx="994669" cy="994410"/>
            <a:chOff x="1020317" y="4686638"/>
            <a:chExt cx="1325880" cy="1325880"/>
          </a:xfrm>
        </p:grpSpPr>
        <p:sp>
          <p:nvSpPr>
            <p:cNvPr id="38" name="Rectangle 37"/>
            <p:cNvSpPr/>
            <p:nvPr/>
          </p:nvSpPr>
          <p:spPr bwMode="auto">
            <a:xfrm>
              <a:off x="1020317" y="468663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39" name="Freeform 13"/>
            <p:cNvSpPr>
              <a:spLocks noEditPoints="1"/>
            </p:cNvSpPr>
            <p:nvPr/>
          </p:nvSpPr>
          <p:spPr bwMode="auto">
            <a:xfrm>
              <a:off x="1455948" y="4930478"/>
              <a:ext cx="454618" cy="838200"/>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685607"/>
              <a:endParaRPr lang="en-US" dirty="0">
                <a:solidFill>
                  <a:srgbClr val="FFFFFF"/>
                </a:solidFill>
              </a:endParaRPr>
            </a:p>
          </p:txBody>
        </p:sp>
      </p:grpSp>
      <p:grpSp>
        <p:nvGrpSpPr>
          <p:cNvPr id="5" name="Green Tile"/>
          <p:cNvGrpSpPr/>
          <p:nvPr userDrawn="1"/>
        </p:nvGrpSpPr>
        <p:grpSpPr>
          <a:xfrm>
            <a:off x="1886044" y="3512121"/>
            <a:ext cx="994669" cy="994410"/>
            <a:chOff x="2514069" y="4682828"/>
            <a:chExt cx="1325880" cy="1325880"/>
          </a:xfrm>
        </p:grpSpPr>
        <p:sp>
          <p:nvSpPr>
            <p:cNvPr id="41" name="Rectangle 40"/>
            <p:cNvSpPr/>
            <p:nvPr/>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46" name="Freeform 73"/>
            <p:cNvSpPr>
              <a:spLocks noEditPoints="1"/>
            </p:cNvSpPr>
            <p:nvPr userDrawn="1"/>
          </p:nvSpPr>
          <p:spPr bwMode="auto">
            <a:xfrm>
              <a:off x="2757463" y="5062311"/>
              <a:ext cx="839092" cy="702557"/>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685607"/>
              <a:endParaRPr lang="en-US" dirty="0">
                <a:solidFill>
                  <a:srgbClr val="FFFFFF"/>
                </a:solidFill>
              </a:endParaRPr>
            </a:p>
          </p:txBody>
        </p:sp>
      </p:grpSp>
      <p:sp useBgFill="1">
        <p:nvSpPr>
          <p:cNvPr id="4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44" name="Right Mask"/>
          <p:cNvSpPr/>
          <p:nvPr userDrawn="1"/>
        </p:nvSpPr>
        <p:spPr bwMode="auto">
          <a:xfrm>
            <a:off x="8381803" y="1223113"/>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6906" y="2423981"/>
            <a:ext cx="5040038" cy="924348"/>
          </a:xfrm>
        </p:spPr>
        <p:txBody>
          <a:bodyPr anchor="ctr">
            <a:noAutofit/>
          </a:bodyPr>
          <a:lstStyle>
            <a:lvl1pPr algn="l" defTabSz="685607"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3136907" y="3771910"/>
            <a:ext cx="5154369" cy="347441"/>
          </a:xfrm>
        </p:spPr>
        <p:txBody>
          <a:bodyPr>
            <a:noAutofit/>
          </a:bodyPr>
          <a:lstStyle>
            <a:lvl1pPr marL="0" indent="0" algn="l" defTabSz="68560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99" indent="0" algn="ctr">
              <a:buNone/>
              <a:defRPr>
                <a:solidFill>
                  <a:schemeClr val="tx1">
                    <a:tint val="75000"/>
                  </a:schemeClr>
                </a:solidFill>
              </a:defRPr>
            </a:lvl2pPr>
            <a:lvl3pPr marL="685607" indent="0" algn="ctr">
              <a:buNone/>
              <a:defRPr>
                <a:solidFill>
                  <a:schemeClr val="tx1">
                    <a:tint val="75000"/>
                  </a:schemeClr>
                </a:solidFill>
              </a:defRPr>
            </a:lvl3pPr>
            <a:lvl4pPr marL="1028409" indent="0" algn="ctr">
              <a:buNone/>
              <a:defRPr>
                <a:solidFill>
                  <a:schemeClr val="tx1">
                    <a:tint val="75000"/>
                  </a:schemeClr>
                </a:solidFill>
              </a:defRPr>
            </a:lvl4pPr>
            <a:lvl5pPr marL="1371215" indent="0" algn="ctr">
              <a:buNone/>
              <a:defRPr>
                <a:solidFill>
                  <a:schemeClr val="tx1">
                    <a:tint val="75000"/>
                  </a:schemeClr>
                </a:solidFill>
              </a:defRPr>
            </a:lvl5pPr>
            <a:lvl6pPr marL="1714012" indent="0" algn="ctr">
              <a:buNone/>
              <a:defRPr>
                <a:solidFill>
                  <a:schemeClr val="tx1">
                    <a:tint val="75000"/>
                  </a:schemeClr>
                </a:solidFill>
              </a:defRPr>
            </a:lvl6pPr>
            <a:lvl7pPr marL="2056820" indent="0" algn="ctr">
              <a:buNone/>
              <a:defRPr>
                <a:solidFill>
                  <a:schemeClr val="tx1">
                    <a:tint val="75000"/>
                  </a:schemeClr>
                </a:solidFill>
              </a:defRPr>
            </a:lvl7pPr>
            <a:lvl8pPr marL="2399624" indent="0" algn="ctr">
              <a:buNone/>
              <a:defRPr>
                <a:solidFill>
                  <a:schemeClr val="tx1">
                    <a:tint val="75000"/>
                  </a:schemeClr>
                </a:solidFill>
              </a:defRPr>
            </a:lvl8pPr>
            <a:lvl9pPr marL="2742429" indent="0" algn="ctr">
              <a:buNone/>
              <a:defRPr>
                <a:solidFill>
                  <a:schemeClr val="tx1">
                    <a:tint val="75000"/>
                  </a:schemeClr>
                </a:solidFill>
              </a:defRPr>
            </a:lvl9pPr>
          </a:lstStyle>
          <a:p>
            <a:r>
              <a:rPr lang="en-US" smtClean="0"/>
              <a:t>Click to edit Master subtitle style</a:t>
            </a:r>
            <a:endParaRPr lang="en-US" dirty="0"/>
          </a:p>
        </p:txBody>
      </p:sp>
      <p:sp useBgFill="1">
        <p:nvSpPr>
          <p:cNvPr id="45" name="Bottom Mask"/>
          <p:cNvSpPr/>
          <p:nvPr userDrawn="1"/>
        </p:nvSpPr>
        <p:spPr bwMode="auto">
          <a:xfrm>
            <a:off x="1" y="4507707"/>
            <a:ext cx="9144001"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Tree>
    <p:extLst>
      <p:ext uri="{BB962C8B-B14F-4D97-AF65-F5344CB8AC3E}">
        <p14:creationId xmlns:p14="http://schemas.microsoft.com/office/powerpoint/2010/main" val="3092161096"/>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0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Demo</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9"/>
            <a:ext cx="4959201" cy="346249"/>
          </a:xfrm>
        </p:spPr>
        <p:txBody>
          <a:bodyPr>
            <a:noAutofit/>
          </a:bodyPr>
          <a:lstStyle>
            <a:lvl1pPr marL="0" indent="0" algn="l" defTabSz="68560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99" indent="0" algn="ctr">
              <a:buNone/>
              <a:defRPr>
                <a:solidFill>
                  <a:schemeClr val="tx1">
                    <a:tint val="75000"/>
                  </a:schemeClr>
                </a:solidFill>
              </a:defRPr>
            </a:lvl2pPr>
            <a:lvl3pPr marL="685607" indent="0" algn="ctr">
              <a:buNone/>
              <a:defRPr>
                <a:solidFill>
                  <a:schemeClr val="tx1">
                    <a:tint val="75000"/>
                  </a:schemeClr>
                </a:solidFill>
              </a:defRPr>
            </a:lvl3pPr>
            <a:lvl4pPr marL="1028409" indent="0" algn="ctr">
              <a:buNone/>
              <a:defRPr>
                <a:solidFill>
                  <a:schemeClr val="tx1">
                    <a:tint val="75000"/>
                  </a:schemeClr>
                </a:solidFill>
              </a:defRPr>
            </a:lvl4pPr>
            <a:lvl5pPr marL="1371215" indent="0" algn="ctr">
              <a:buNone/>
              <a:defRPr>
                <a:solidFill>
                  <a:schemeClr val="tx1">
                    <a:tint val="75000"/>
                  </a:schemeClr>
                </a:solidFill>
              </a:defRPr>
            </a:lvl5pPr>
            <a:lvl6pPr marL="1714012" indent="0" algn="ctr">
              <a:buNone/>
              <a:defRPr>
                <a:solidFill>
                  <a:schemeClr val="tx1">
                    <a:tint val="75000"/>
                  </a:schemeClr>
                </a:solidFill>
              </a:defRPr>
            </a:lvl6pPr>
            <a:lvl7pPr marL="2056820" indent="0" algn="ctr">
              <a:buNone/>
              <a:defRPr>
                <a:solidFill>
                  <a:schemeClr val="tx1">
                    <a:tint val="75000"/>
                  </a:schemeClr>
                </a:solidFill>
              </a:defRPr>
            </a:lvl7pPr>
            <a:lvl8pPr marL="2399624" indent="0" algn="ctr">
              <a:buNone/>
              <a:defRPr>
                <a:solidFill>
                  <a:schemeClr val="tx1">
                    <a:tint val="75000"/>
                  </a:schemeClr>
                </a:solidFill>
              </a:defRPr>
            </a:lvl8pPr>
            <a:lvl9pPr marL="2742429"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202"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62" tIns="34282" rIns="68562" bIns="34282" numCol="1" anchor="t" anchorCtr="0" compatLnSpc="1">
            <a:prstTxWarp prst="textNoShape">
              <a:avLst/>
            </a:prstTxWarp>
          </a:bodyPr>
          <a:lstStyle/>
          <a:p>
            <a:pPr defTabSz="685607"/>
            <a:endParaRPr lang="en-US" dirty="0">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13"/>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grpSp>
        <p:nvGrpSpPr>
          <p:cNvPr id="16" name="Demo Tile"/>
          <p:cNvGrpSpPr/>
          <p:nvPr userDrawn="1"/>
        </p:nvGrpSpPr>
        <p:grpSpPr>
          <a:xfrm>
            <a:off x="763409" y="2390915"/>
            <a:ext cx="2120991" cy="2120439"/>
            <a:chOff x="1022073" y="-1135906"/>
            <a:chExt cx="2827252" cy="2827252"/>
          </a:xfrm>
        </p:grpSpPr>
        <p:sp>
          <p:nvSpPr>
            <p:cNvPr id="17" name="Rectangle 16"/>
            <p:cNvSpPr/>
            <p:nvPr/>
          </p:nvSpPr>
          <p:spPr bwMode="auto">
            <a:xfrm>
              <a:off x="1022073" y="-1135906"/>
              <a:ext cx="2827252" cy="282725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18" name="Light bulb Icon"/>
            <p:cNvSpPr>
              <a:spLocks noEditPoints="1"/>
            </p:cNvSpPr>
            <p:nvPr/>
          </p:nvSpPr>
          <p:spPr bwMode="auto">
            <a:xfrm>
              <a:off x="1945077" y="-620805"/>
              <a:ext cx="979488" cy="1797050"/>
            </a:xfrm>
            <a:custGeom>
              <a:avLst/>
              <a:gdLst>
                <a:gd name="T0" fmla="*/ 18 w 122"/>
                <a:gd name="T1" fmla="*/ 137 h 224"/>
                <a:gd name="T2" fmla="*/ 105 w 122"/>
                <a:gd name="T3" fmla="*/ 22 h 224"/>
                <a:gd name="T4" fmla="*/ 119 w 122"/>
                <a:gd name="T5" fmla="*/ 29 h 224"/>
                <a:gd name="T6" fmla="*/ 119 w 122"/>
                <a:gd name="T7" fmla="*/ 41 h 224"/>
                <a:gd name="T8" fmla="*/ 17 w 122"/>
                <a:gd name="T9" fmla="*/ 75 h 224"/>
                <a:gd name="T10" fmla="*/ 14 w 122"/>
                <a:gd name="T11" fmla="*/ 76 h 224"/>
                <a:gd name="T12" fmla="*/ 2 w 122"/>
                <a:gd name="T13" fmla="*/ 64 h 224"/>
                <a:gd name="T14" fmla="*/ 10 w 122"/>
                <a:gd name="T15" fmla="*/ 50 h 224"/>
                <a:gd name="T16" fmla="*/ 8 w 122"/>
                <a:gd name="T17" fmla="*/ 58 h 224"/>
                <a:gd name="T18" fmla="*/ 9 w 122"/>
                <a:gd name="T19" fmla="*/ 66 h 224"/>
                <a:gd name="T20" fmla="*/ 14 w 122"/>
                <a:gd name="T21" fmla="*/ 70 h 224"/>
                <a:gd name="T22" fmla="*/ 111 w 122"/>
                <a:gd name="T23" fmla="*/ 41 h 224"/>
                <a:gd name="T24" fmla="*/ 115 w 122"/>
                <a:gd name="T25" fmla="*/ 35 h 224"/>
                <a:gd name="T26" fmla="*/ 108 w 122"/>
                <a:gd name="T27" fmla="*/ 27 h 224"/>
                <a:gd name="T28" fmla="*/ 12 w 122"/>
                <a:gd name="T29" fmla="*/ 56 h 224"/>
                <a:gd name="T30" fmla="*/ 10 w 122"/>
                <a:gd name="T31" fmla="*/ 16 h 224"/>
                <a:gd name="T32" fmla="*/ 73 w 122"/>
                <a:gd name="T33" fmla="*/ 9 h 224"/>
                <a:gd name="T34" fmla="*/ 67 w 122"/>
                <a:gd name="T35" fmla="*/ 27 h 224"/>
                <a:gd name="T36" fmla="*/ 14 w 122"/>
                <a:gd name="T37" fmla="*/ 42 h 224"/>
                <a:gd name="T38" fmla="*/ 2 w 122"/>
                <a:gd name="T39" fmla="*/ 31 h 224"/>
                <a:gd name="T40" fmla="*/ 9 w 122"/>
                <a:gd name="T41" fmla="*/ 32 h 224"/>
                <a:gd name="T42" fmla="*/ 16 w 122"/>
                <a:gd name="T43" fmla="*/ 36 h 224"/>
                <a:gd name="T44" fmla="*/ 69 w 122"/>
                <a:gd name="T45" fmla="*/ 14 h 224"/>
                <a:gd name="T46" fmla="*/ 63 w 122"/>
                <a:gd name="T47" fmla="*/ 7 h 224"/>
                <a:gd name="T48" fmla="*/ 12 w 122"/>
                <a:gd name="T49" fmla="*/ 22 h 224"/>
                <a:gd name="T50" fmla="*/ 113 w 122"/>
                <a:gd name="T51" fmla="*/ 114 h 224"/>
                <a:gd name="T52" fmla="*/ 99 w 122"/>
                <a:gd name="T53" fmla="*/ 124 h 224"/>
                <a:gd name="T54" fmla="*/ 110 w 122"/>
                <a:gd name="T55" fmla="*/ 137 h 224"/>
                <a:gd name="T56" fmla="*/ 87 w 122"/>
                <a:gd name="T57" fmla="*/ 208 h 224"/>
                <a:gd name="T58" fmla="*/ 74 w 122"/>
                <a:gd name="T59" fmla="*/ 224 h 224"/>
                <a:gd name="T60" fmla="*/ 41 w 122"/>
                <a:gd name="T61" fmla="*/ 213 h 224"/>
                <a:gd name="T62" fmla="*/ 18 w 122"/>
                <a:gd name="T63" fmla="*/ 187 h 224"/>
                <a:gd name="T64" fmla="*/ 29 w 122"/>
                <a:gd name="T65" fmla="*/ 137 h 224"/>
                <a:gd name="T66" fmla="*/ 23 w 122"/>
                <a:gd name="T67" fmla="*/ 113 h 224"/>
                <a:gd name="T68" fmla="*/ 10 w 122"/>
                <a:gd name="T69" fmla="*/ 109 h 224"/>
                <a:gd name="T70" fmla="*/ 2 w 122"/>
                <a:gd name="T71" fmla="*/ 98 h 224"/>
                <a:gd name="T72" fmla="*/ 3 w 122"/>
                <a:gd name="T73" fmla="*/ 89 h 224"/>
                <a:gd name="T74" fmla="*/ 105 w 122"/>
                <a:gd name="T75" fmla="*/ 55 h 224"/>
                <a:gd name="T76" fmla="*/ 120 w 122"/>
                <a:gd name="T77" fmla="*/ 66 h 224"/>
                <a:gd name="T78" fmla="*/ 113 w 122"/>
                <a:gd name="T79" fmla="*/ 81 h 224"/>
                <a:gd name="T80" fmla="*/ 56 w 122"/>
                <a:gd name="T81" fmla="*/ 105 h 224"/>
                <a:gd name="T82" fmla="*/ 72 w 122"/>
                <a:gd name="T83" fmla="*/ 137 h 224"/>
                <a:gd name="T84" fmla="*/ 82 w 122"/>
                <a:gd name="T85" fmla="*/ 95 h 224"/>
                <a:gd name="T86" fmla="*/ 119 w 122"/>
                <a:gd name="T87" fmla="*/ 96 h 224"/>
                <a:gd name="T88" fmla="*/ 113 w 122"/>
                <a:gd name="T89" fmla="*/ 114 h 224"/>
                <a:gd name="T90" fmla="*/ 111 w 122"/>
                <a:gd name="T91" fmla="*/ 75 h 224"/>
                <a:gd name="T92" fmla="*/ 115 w 122"/>
                <a:gd name="T93" fmla="*/ 68 h 224"/>
                <a:gd name="T94" fmla="*/ 108 w 122"/>
                <a:gd name="T95" fmla="*/ 61 h 224"/>
                <a:gd name="T96" fmla="*/ 25 w 122"/>
                <a:gd name="T97" fmla="*/ 86 h 224"/>
                <a:gd name="T98" fmla="*/ 12 w 122"/>
                <a:gd name="T99" fmla="*/ 89 h 224"/>
                <a:gd name="T100" fmla="*/ 8 w 122"/>
                <a:gd name="T101" fmla="*/ 92 h 224"/>
                <a:gd name="T102" fmla="*/ 8 w 122"/>
                <a:gd name="T103" fmla="*/ 96 h 224"/>
                <a:gd name="T104" fmla="*/ 12 w 122"/>
                <a:gd name="T105" fmla="*/ 103 h 224"/>
                <a:gd name="T106" fmla="*/ 25 w 122"/>
                <a:gd name="T107" fmla="*/ 107 h 224"/>
                <a:gd name="T108" fmla="*/ 35 w 122"/>
                <a:gd name="T109" fmla="*/ 120 h 224"/>
                <a:gd name="T110" fmla="*/ 50 w 122"/>
                <a:gd name="T111" fmla="*/ 137 h 224"/>
                <a:gd name="T112" fmla="*/ 48 w 122"/>
                <a:gd name="T113" fmla="*/ 100 h 224"/>
                <a:gd name="T114" fmla="*/ 49 w 122"/>
                <a:gd name="T115" fmla="*/ 93 h 224"/>
                <a:gd name="T116" fmla="*/ 113 w 122"/>
                <a:gd name="T117" fmla="*/ 98 h 224"/>
                <a:gd name="T118" fmla="*/ 84 w 122"/>
                <a:gd name="T119" fmla="*/ 101 h 224"/>
                <a:gd name="T120" fmla="*/ 78 w 122"/>
                <a:gd name="T121" fmla="*/ 137 h 224"/>
                <a:gd name="T122" fmla="*/ 93 w 122"/>
                <a:gd name="T123" fmla="*/ 124 h 224"/>
                <a:gd name="T124" fmla="*/ 111 w 122"/>
                <a:gd name="T125" fmla="*/ 10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2" h="224">
                  <a:moveTo>
                    <a:pt x="18" y="137"/>
                  </a:moveTo>
                  <a:cubicBezTo>
                    <a:pt x="18" y="137"/>
                    <a:pt x="18" y="137"/>
                    <a:pt x="18" y="137"/>
                  </a:cubicBezTo>
                  <a:moveTo>
                    <a:pt x="10" y="50"/>
                  </a:moveTo>
                  <a:cubicBezTo>
                    <a:pt x="105" y="22"/>
                    <a:pt x="105" y="22"/>
                    <a:pt x="105" y="22"/>
                  </a:cubicBezTo>
                  <a:cubicBezTo>
                    <a:pt x="106" y="21"/>
                    <a:pt x="107" y="21"/>
                    <a:pt x="108" y="21"/>
                  </a:cubicBezTo>
                  <a:cubicBezTo>
                    <a:pt x="113" y="21"/>
                    <a:pt x="118" y="24"/>
                    <a:pt x="119" y="29"/>
                  </a:cubicBezTo>
                  <a:cubicBezTo>
                    <a:pt x="120" y="33"/>
                    <a:pt x="120" y="33"/>
                    <a:pt x="120" y="33"/>
                  </a:cubicBezTo>
                  <a:cubicBezTo>
                    <a:pt x="121" y="36"/>
                    <a:pt x="121" y="39"/>
                    <a:pt x="119" y="41"/>
                  </a:cubicBezTo>
                  <a:cubicBezTo>
                    <a:pt x="118" y="44"/>
                    <a:pt x="116" y="46"/>
                    <a:pt x="113" y="47"/>
                  </a:cubicBezTo>
                  <a:cubicBezTo>
                    <a:pt x="17" y="75"/>
                    <a:pt x="17" y="75"/>
                    <a:pt x="17" y="75"/>
                  </a:cubicBezTo>
                  <a:cubicBezTo>
                    <a:pt x="16" y="76"/>
                    <a:pt x="15" y="76"/>
                    <a:pt x="14" y="76"/>
                  </a:cubicBezTo>
                  <a:cubicBezTo>
                    <a:pt x="14" y="76"/>
                    <a:pt x="14" y="76"/>
                    <a:pt x="14" y="76"/>
                  </a:cubicBezTo>
                  <a:cubicBezTo>
                    <a:pt x="9" y="76"/>
                    <a:pt x="5" y="73"/>
                    <a:pt x="3" y="68"/>
                  </a:cubicBezTo>
                  <a:cubicBezTo>
                    <a:pt x="2" y="64"/>
                    <a:pt x="2" y="64"/>
                    <a:pt x="2" y="64"/>
                  </a:cubicBezTo>
                  <a:cubicBezTo>
                    <a:pt x="1" y="61"/>
                    <a:pt x="2" y="58"/>
                    <a:pt x="3" y="56"/>
                  </a:cubicBezTo>
                  <a:cubicBezTo>
                    <a:pt x="5" y="53"/>
                    <a:pt x="7" y="51"/>
                    <a:pt x="10" y="50"/>
                  </a:cubicBezTo>
                  <a:close/>
                  <a:moveTo>
                    <a:pt x="12" y="56"/>
                  </a:moveTo>
                  <a:cubicBezTo>
                    <a:pt x="10" y="56"/>
                    <a:pt x="9" y="57"/>
                    <a:pt x="8" y="58"/>
                  </a:cubicBezTo>
                  <a:cubicBezTo>
                    <a:pt x="8" y="60"/>
                    <a:pt x="8" y="61"/>
                    <a:pt x="8" y="62"/>
                  </a:cubicBezTo>
                  <a:cubicBezTo>
                    <a:pt x="9" y="66"/>
                    <a:pt x="9" y="66"/>
                    <a:pt x="9" y="66"/>
                  </a:cubicBezTo>
                  <a:cubicBezTo>
                    <a:pt x="10" y="68"/>
                    <a:pt x="12" y="70"/>
                    <a:pt x="14" y="70"/>
                  </a:cubicBezTo>
                  <a:cubicBezTo>
                    <a:pt x="14" y="70"/>
                    <a:pt x="14" y="70"/>
                    <a:pt x="14" y="70"/>
                  </a:cubicBezTo>
                  <a:cubicBezTo>
                    <a:pt x="15" y="70"/>
                    <a:pt x="15" y="70"/>
                    <a:pt x="16" y="70"/>
                  </a:cubicBezTo>
                  <a:cubicBezTo>
                    <a:pt x="111" y="41"/>
                    <a:pt x="111" y="41"/>
                    <a:pt x="111" y="41"/>
                  </a:cubicBezTo>
                  <a:cubicBezTo>
                    <a:pt x="112" y="41"/>
                    <a:pt x="113" y="40"/>
                    <a:pt x="114" y="39"/>
                  </a:cubicBezTo>
                  <a:cubicBezTo>
                    <a:pt x="115" y="37"/>
                    <a:pt x="115" y="36"/>
                    <a:pt x="115" y="35"/>
                  </a:cubicBezTo>
                  <a:cubicBezTo>
                    <a:pt x="113" y="31"/>
                    <a:pt x="113" y="31"/>
                    <a:pt x="113" y="31"/>
                  </a:cubicBezTo>
                  <a:cubicBezTo>
                    <a:pt x="113" y="29"/>
                    <a:pt x="111" y="27"/>
                    <a:pt x="108" y="27"/>
                  </a:cubicBezTo>
                  <a:cubicBezTo>
                    <a:pt x="108" y="27"/>
                    <a:pt x="107" y="27"/>
                    <a:pt x="107" y="27"/>
                  </a:cubicBezTo>
                  <a:lnTo>
                    <a:pt x="12" y="56"/>
                  </a:lnTo>
                  <a:close/>
                  <a:moveTo>
                    <a:pt x="2" y="31"/>
                  </a:moveTo>
                  <a:cubicBezTo>
                    <a:pt x="0" y="25"/>
                    <a:pt x="4" y="18"/>
                    <a:pt x="10" y="16"/>
                  </a:cubicBezTo>
                  <a:cubicBezTo>
                    <a:pt x="59" y="1"/>
                    <a:pt x="59" y="1"/>
                    <a:pt x="59" y="1"/>
                  </a:cubicBezTo>
                  <a:cubicBezTo>
                    <a:pt x="65" y="0"/>
                    <a:pt x="72" y="3"/>
                    <a:pt x="73" y="9"/>
                  </a:cubicBezTo>
                  <a:cubicBezTo>
                    <a:pt x="75" y="12"/>
                    <a:pt x="75" y="12"/>
                    <a:pt x="75" y="12"/>
                  </a:cubicBezTo>
                  <a:cubicBezTo>
                    <a:pt x="76" y="18"/>
                    <a:pt x="73" y="25"/>
                    <a:pt x="67" y="27"/>
                  </a:cubicBezTo>
                  <a:cubicBezTo>
                    <a:pt x="18" y="42"/>
                    <a:pt x="18" y="42"/>
                    <a:pt x="18" y="42"/>
                  </a:cubicBezTo>
                  <a:cubicBezTo>
                    <a:pt x="16" y="42"/>
                    <a:pt x="15" y="42"/>
                    <a:pt x="14" y="42"/>
                  </a:cubicBezTo>
                  <a:cubicBezTo>
                    <a:pt x="9" y="42"/>
                    <a:pt x="5" y="39"/>
                    <a:pt x="3" y="34"/>
                  </a:cubicBezTo>
                  <a:lnTo>
                    <a:pt x="2" y="31"/>
                  </a:lnTo>
                  <a:close/>
                  <a:moveTo>
                    <a:pt x="8" y="29"/>
                  </a:moveTo>
                  <a:cubicBezTo>
                    <a:pt x="9" y="32"/>
                    <a:pt x="9" y="32"/>
                    <a:pt x="9" y="32"/>
                  </a:cubicBezTo>
                  <a:cubicBezTo>
                    <a:pt x="10" y="35"/>
                    <a:pt x="12" y="36"/>
                    <a:pt x="14" y="36"/>
                  </a:cubicBezTo>
                  <a:cubicBezTo>
                    <a:pt x="15" y="36"/>
                    <a:pt x="15" y="36"/>
                    <a:pt x="16" y="36"/>
                  </a:cubicBezTo>
                  <a:cubicBezTo>
                    <a:pt x="65" y="21"/>
                    <a:pt x="65" y="21"/>
                    <a:pt x="65" y="21"/>
                  </a:cubicBezTo>
                  <a:cubicBezTo>
                    <a:pt x="68" y="20"/>
                    <a:pt x="70" y="17"/>
                    <a:pt x="69" y="14"/>
                  </a:cubicBezTo>
                  <a:cubicBezTo>
                    <a:pt x="68" y="11"/>
                    <a:pt x="68" y="11"/>
                    <a:pt x="68" y="11"/>
                  </a:cubicBezTo>
                  <a:cubicBezTo>
                    <a:pt x="67" y="8"/>
                    <a:pt x="65" y="7"/>
                    <a:pt x="63" y="7"/>
                  </a:cubicBezTo>
                  <a:cubicBezTo>
                    <a:pt x="62" y="7"/>
                    <a:pt x="62" y="7"/>
                    <a:pt x="61" y="7"/>
                  </a:cubicBezTo>
                  <a:cubicBezTo>
                    <a:pt x="12" y="22"/>
                    <a:pt x="12" y="22"/>
                    <a:pt x="12" y="22"/>
                  </a:cubicBezTo>
                  <a:cubicBezTo>
                    <a:pt x="9" y="23"/>
                    <a:pt x="7" y="26"/>
                    <a:pt x="8" y="29"/>
                  </a:cubicBezTo>
                  <a:close/>
                  <a:moveTo>
                    <a:pt x="113" y="114"/>
                  </a:moveTo>
                  <a:cubicBezTo>
                    <a:pt x="105" y="116"/>
                    <a:pt x="105" y="116"/>
                    <a:pt x="105" y="116"/>
                  </a:cubicBezTo>
                  <a:cubicBezTo>
                    <a:pt x="102" y="117"/>
                    <a:pt x="99" y="121"/>
                    <a:pt x="99" y="124"/>
                  </a:cubicBezTo>
                  <a:cubicBezTo>
                    <a:pt x="99" y="137"/>
                    <a:pt x="99" y="137"/>
                    <a:pt x="99" y="137"/>
                  </a:cubicBezTo>
                  <a:cubicBezTo>
                    <a:pt x="110" y="137"/>
                    <a:pt x="110" y="137"/>
                    <a:pt x="110" y="137"/>
                  </a:cubicBezTo>
                  <a:cubicBezTo>
                    <a:pt x="110" y="187"/>
                    <a:pt x="110" y="187"/>
                    <a:pt x="110" y="187"/>
                  </a:cubicBezTo>
                  <a:cubicBezTo>
                    <a:pt x="110" y="198"/>
                    <a:pt x="100" y="207"/>
                    <a:pt x="87" y="208"/>
                  </a:cubicBezTo>
                  <a:cubicBezTo>
                    <a:pt x="87" y="213"/>
                    <a:pt x="87" y="213"/>
                    <a:pt x="87" y="213"/>
                  </a:cubicBezTo>
                  <a:cubicBezTo>
                    <a:pt x="87" y="219"/>
                    <a:pt x="81" y="224"/>
                    <a:pt x="74" y="224"/>
                  </a:cubicBezTo>
                  <a:cubicBezTo>
                    <a:pt x="54" y="224"/>
                    <a:pt x="54" y="224"/>
                    <a:pt x="54" y="224"/>
                  </a:cubicBezTo>
                  <a:cubicBezTo>
                    <a:pt x="47" y="224"/>
                    <a:pt x="41" y="219"/>
                    <a:pt x="41" y="213"/>
                  </a:cubicBezTo>
                  <a:cubicBezTo>
                    <a:pt x="41" y="208"/>
                    <a:pt x="41" y="208"/>
                    <a:pt x="41" y="208"/>
                  </a:cubicBezTo>
                  <a:cubicBezTo>
                    <a:pt x="28" y="207"/>
                    <a:pt x="18" y="198"/>
                    <a:pt x="18" y="187"/>
                  </a:cubicBezTo>
                  <a:cubicBezTo>
                    <a:pt x="18" y="137"/>
                    <a:pt x="18" y="137"/>
                    <a:pt x="18" y="137"/>
                  </a:cubicBezTo>
                  <a:cubicBezTo>
                    <a:pt x="29" y="137"/>
                    <a:pt x="29" y="137"/>
                    <a:pt x="29" y="137"/>
                  </a:cubicBezTo>
                  <a:cubicBezTo>
                    <a:pt x="29" y="120"/>
                    <a:pt x="29" y="120"/>
                    <a:pt x="29" y="120"/>
                  </a:cubicBezTo>
                  <a:cubicBezTo>
                    <a:pt x="29" y="117"/>
                    <a:pt x="26" y="113"/>
                    <a:pt x="23" y="113"/>
                  </a:cubicBezTo>
                  <a:cubicBezTo>
                    <a:pt x="12" y="109"/>
                    <a:pt x="12" y="109"/>
                    <a:pt x="12" y="109"/>
                  </a:cubicBezTo>
                  <a:cubicBezTo>
                    <a:pt x="10" y="109"/>
                    <a:pt x="10" y="109"/>
                    <a:pt x="10" y="109"/>
                  </a:cubicBezTo>
                  <a:cubicBezTo>
                    <a:pt x="7" y="108"/>
                    <a:pt x="4" y="105"/>
                    <a:pt x="3" y="102"/>
                  </a:cubicBezTo>
                  <a:cubicBezTo>
                    <a:pt x="2" y="98"/>
                    <a:pt x="2" y="98"/>
                    <a:pt x="2" y="98"/>
                  </a:cubicBezTo>
                  <a:cubicBezTo>
                    <a:pt x="2" y="97"/>
                    <a:pt x="2" y="97"/>
                    <a:pt x="2" y="96"/>
                  </a:cubicBezTo>
                  <a:cubicBezTo>
                    <a:pt x="2" y="94"/>
                    <a:pt x="2" y="91"/>
                    <a:pt x="3" y="89"/>
                  </a:cubicBezTo>
                  <a:cubicBezTo>
                    <a:pt x="5" y="87"/>
                    <a:pt x="7" y="85"/>
                    <a:pt x="10" y="84"/>
                  </a:cubicBezTo>
                  <a:cubicBezTo>
                    <a:pt x="105" y="55"/>
                    <a:pt x="105" y="55"/>
                    <a:pt x="105" y="55"/>
                  </a:cubicBezTo>
                  <a:cubicBezTo>
                    <a:pt x="111" y="54"/>
                    <a:pt x="118" y="57"/>
                    <a:pt x="119" y="63"/>
                  </a:cubicBezTo>
                  <a:cubicBezTo>
                    <a:pt x="120" y="66"/>
                    <a:pt x="120" y="66"/>
                    <a:pt x="120" y="66"/>
                  </a:cubicBezTo>
                  <a:cubicBezTo>
                    <a:pt x="121" y="69"/>
                    <a:pt x="121" y="72"/>
                    <a:pt x="119" y="75"/>
                  </a:cubicBezTo>
                  <a:cubicBezTo>
                    <a:pt x="118" y="78"/>
                    <a:pt x="116" y="80"/>
                    <a:pt x="113" y="81"/>
                  </a:cubicBezTo>
                  <a:cubicBezTo>
                    <a:pt x="54" y="98"/>
                    <a:pt x="54" y="98"/>
                    <a:pt x="54" y="98"/>
                  </a:cubicBezTo>
                  <a:cubicBezTo>
                    <a:pt x="55" y="100"/>
                    <a:pt x="56" y="103"/>
                    <a:pt x="56" y="105"/>
                  </a:cubicBezTo>
                  <a:cubicBezTo>
                    <a:pt x="56" y="137"/>
                    <a:pt x="56" y="137"/>
                    <a:pt x="56" y="137"/>
                  </a:cubicBezTo>
                  <a:cubicBezTo>
                    <a:pt x="72" y="137"/>
                    <a:pt x="72" y="137"/>
                    <a:pt x="72" y="137"/>
                  </a:cubicBezTo>
                  <a:cubicBezTo>
                    <a:pt x="72" y="109"/>
                    <a:pt x="72" y="109"/>
                    <a:pt x="72" y="109"/>
                  </a:cubicBezTo>
                  <a:cubicBezTo>
                    <a:pt x="72" y="103"/>
                    <a:pt x="77" y="97"/>
                    <a:pt x="82" y="95"/>
                  </a:cubicBezTo>
                  <a:cubicBezTo>
                    <a:pt x="105" y="89"/>
                    <a:pt x="105" y="89"/>
                    <a:pt x="105" y="89"/>
                  </a:cubicBezTo>
                  <a:cubicBezTo>
                    <a:pt x="111" y="87"/>
                    <a:pt x="118" y="91"/>
                    <a:pt x="119" y="96"/>
                  </a:cubicBezTo>
                  <a:cubicBezTo>
                    <a:pt x="120" y="100"/>
                    <a:pt x="120" y="100"/>
                    <a:pt x="120" y="100"/>
                  </a:cubicBezTo>
                  <a:cubicBezTo>
                    <a:pt x="122" y="106"/>
                    <a:pt x="119" y="112"/>
                    <a:pt x="113" y="114"/>
                  </a:cubicBezTo>
                  <a:close/>
                  <a:moveTo>
                    <a:pt x="49" y="93"/>
                  </a:moveTo>
                  <a:cubicBezTo>
                    <a:pt x="111" y="75"/>
                    <a:pt x="111" y="75"/>
                    <a:pt x="111" y="75"/>
                  </a:cubicBezTo>
                  <a:cubicBezTo>
                    <a:pt x="112" y="74"/>
                    <a:pt x="113" y="74"/>
                    <a:pt x="114" y="72"/>
                  </a:cubicBezTo>
                  <a:cubicBezTo>
                    <a:pt x="115" y="71"/>
                    <a:pt x="115" y="70"/>
                    <a:pt x="115" y="68"/>
                  </a:cubicBezTo>
                  <a:cubicBezTo>
                    <a:pt x="113" y="65"/>
                    <a:pt x="113" y="65"/>
                    <a:pt x="113" y="65"/>
                  </a:cubicBezTo>
                  <a:cubicBezTo>
                    <a:pt x="113" y="62"/>
                    <a:pt x="111" y="61"/>
                    <a:pt x="108" y="61"/>
                  </a:cubicBezTo>
                  <a:cubicBezTo>
                    <a:pt x="108" y="61"/>
                    <a:pt x="107" y="61"/>
                    <a:pt x="107" y="61"/>
                  </a:cubicBezTo>
                  <a:cubicBezTo>
                    <a:pt x="25" y="86"/>
                    <a:pt x="25" y="86"/>
                    <a:pt x="25" y="86"/>
                  </a:cubicBezTo>
                  <a:cubicBezTo>
                    <a:pt x="13" y="89"/>
                    <a:pt x="13" y="89"/>
                    <a:pt x="13" y="89"/>
                  </a:cubicBezTo>
                  <a:cubicBezTo>
                    <a:pt x="12" y="89"/>
                    <a:pt x="12" y="89"/>
                    <a:pt x="12" y="89"/>
                  </a:cubicBezTo>
                  <a:cubicBezTo>
                    <a:pt x="12" y="90"/>
                    <a:pt x="12" y="90"/>
                    <a:pt x="12" y="90"/>
                  </a:cubicBezTo>
                  <a:cubicBezTo>
                    <a:pt x="10" y="90"/>
                    <a:pt x="9" y="91"/>
                    <a:pt x="8" y="92"/>
                  </a:cubicBezTo>
                  <a:cubicBezTo>
                    <a:pt x="8" y="93"/>
                    <a:pt x="8" y="95"/>
                    <a:pt x="8" y="96"/>
                  </a:cubicBezTo>
                  <a:cubicBezTo>
                    <a:pt x="8" y="96"/>
                    <a:pt x="8" y="96"/>
                    <a:pt x="8" y="96"/>
                  </a:cubicBezTo>
                  <a:cubicBezTo>
                    <a:pt x="9" y="100"/>
                    <a:pt x="9" y="100"/>
                    <a:pt x="9" y="100"/>
                  </a:cubicBezTo>
                  <a:cubicBezTo>
                    <a:pt x="10" y="101"/>
                    <a:pt x="11" y="103"/>
                    <a:pt x="12" y="103"/>
                  </a:cubicBezTo>
                  <a:cubicBezTo>
                    <a:pt x="13" y="103"/>
                    <a:pt x="13" y="103"/>
                    <a:pt x="13" y="103"/>
                  </a:cubicBezTo>
                  <a:cubicBezTo>
                    <a:pt x="25" y="107"/>
                    <a:pt x="25" y="107"/>
                    <a:pt x="25" y="107"/>
                  </a:cubicBezTo>
                  <a:cubicBezTo>
                    <a:pt x="25" y="107"/>
                    <a:pt x="25" y="107"/>
                    <a:pt x="25" y="107"/>
                  </a:cubicBezTo>
                  <a:cubicBezTo>
                    <a:pt x="31" y="109"/>
                    <a:pt x="35" y="115"/>
                    <a:pt x="35" y="120"/>
                  </a:cubicBezTo>
                  <a:cubicBezTo>
                    <a:pt x="35" y="137"/>
                    <a:pt x="35" y="137"/>
                    <a:pt x="35" y="137"/>
                  </a:cubicBezTo>
                  <a:cubicBezTo>
                    <a:pt x="50" y="137"/>
                    <a:pt x="50" y="137"/>
                    <a:pt x="50" y="137"/>
                  </a:cubicBezTo>
                  <a:cubicBezTo>
                    <a:pt x="50" y="105"/>
                    <a:pt x="50" y="105"/>
                    <a:pt x="50" y="105"/>
                  </a:cubicBezTo>
                  <a:cubicBezTo>
                    <a:pt x="50" y="104"/>
                    <a:pt x="49" y="102"/>
                    <a:pt x="48" y="100"/>
                  </a:cubicBezTo>
                  <a:cubicBezTo>
                    <a:pt x="47" y="99"/>
                    <a:pt x="45" y="98"/>
                    <a:pt x="44" y="97"/>
                  </a:cubicBezTo>
                  <a:cubicBezTo>
                    <a:pt x="44" y="97"/>
                    <a:pt x="40" y="96"/>
                    <a:pt x="49" y="93"/>
                  </a:cubicBezTo>
                  <a:close/>
                  <a:moveTo>
                    <a:pt x="115" y="102"/>
                  </a:moveTo>
                  <a:cubicBezTo>
                    <a:pt x="113" y="98"/>
                    <a:pt x="113" y="98"/>
                    <a:pt x="113" y="98"/>
                  </a:cubicBezTo>
                  <a:cubicBezTo>
                    <a:pt x="113" y="95"/>
                    <a:pt x="110" y="94"/>
                    <a:pt x="107" y="95"/>
                  </a:cubicBezTo>
                  <a:cubicBezTo>
                    <a:pt x="84" y="101"/>
                    <a:pt x="84" y="101"/>
                    <a:pt x="84" y="101"/>
                  </a:cubicBezTo>
                  <a:cubicBezTo>
                    <a:pt x="81" y="102"/>
                    <a:pt x="78" y="106"/>
                    <a:pt x="78" y="109"/>
                  </a:cubicBezTo>
                  <a:cubicBezTo>
                    <a:pt x="78" y="137"/>
                    <a:pt x="78" y="137"/>
                    <a:pt x="78" y="137"/>
                  </a:cubicBezTo>
                  <a:cubicBezTo>
                    <a:pt x="93" y="137"/>
                    <a:pt x="93" y="137"/>
                    <a:pt x="93" y="137"/>
                  </a:cubicBezTo>
                  <a:cubicBezTo>
                    <a:pt x="93" y="124"/>
                    <a:pt x="93" y="124"/>
                    <a:pt x="93" y="124"/>
                  </a:cubicBezTo>
                  <a:cubicBezTo>
                    <a:pt x="93" y="118"/>
                    <a:pt x="97" y="112"/>
                    <a:pt x="103" y="111"/>
                  </a:cubicBezTo>
                  <a:cubicBezTo>
                    <a:pt x="111" y="108"/>
                    <a:pt x="111" y="108"/>
                    <a:pt x="111" y="108"/>
                  </a:cubicBezTo>
                  <a:cubicBezTo>
                    <a:pt x="114" y="108"/>
                    <a:pt x="115" y="105"/>
                    <a:pt x="115" y="10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07"/>
              <a:endParaRPr lang="en-US" dirty="0">
                <a:solidFill>
                  <a:srgbClr val="FFFFFF"/>
                </a:solidFill>
              </a:endParaRPr>
            </a:p>
          </p:txBody>
        </p:sp>
      </p:grpSp>
      <p:sp>
        <p:nvSpPr>
          <p:cNvPr id="2" name="Title 1"/>
          <p:cNvSpPr>
            <a:spLocks noGrp="1"/>
          </p:cNvSpPr>
          <p:nvPr>
            <p:ph type="ctrTitle"/>
          </p:nvPr>
        </p:nvSpPr>
        <p:spPr>
          <a:xfrm>
            <a:off x="3135105" y="2390361"/>
            <a:ext cx="4959201" cy="1142621"/>
          </a:xfrm>
        </p:spPr>
        <p:txBody>
          <a:bodyPr anchor="ctr" anchorCtr="0">
            <a:noAutofit/>
          </a:bodyPr>
          <a:lstStyle>
            <a:lvl1pPr algn="l" defTabSz="685607" rtl="0" eaLnBrk="1" latinLnBrk="0" hangingPunct="1">
              <a:lnSpc>
                <a:spcPct val="90000"/>
              </a:lnSpc>
              <a:spcBef>
                <a:spcPct val="0"/>
              </a:spcBef>
              <a:buNone/>
              <a:defRPr lang="en-US" sz="3000" b="1" kern="1200" cap="none" spc="-75" baseline="0" dirty="0">
                <a:ln w="3175">
                  <a:noFill/>
                </a:ln>
                <a:solidFill>
                  <a:schemeClr val="accent6">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12"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Tree>
    <p:extLst>
      <p:ext uri="{BB962C8B-B14F-4D97-AF65-F5344CB8AC3E}">
        <p14:creationId xmlns:p14="http://schemas.microsoft.com/office/powerpoint/2010/main" val="1563236818"/>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Vide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0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Video</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9"/>
            <a:ext cx="4959201" cy="346249"/>
          </a:xfrm>
        </p:spPr>
        <p:txBody>
          <a:bodyPr>
            <a:noAutofit/>
          </a:bodyPr>
          <a:lstStyle>
            <a:lvl1pPr marL="0" indent="0" algn="l" defTabSz="68560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99" indent="0" algn="ctr">
              <a:buNone/>
              <a:defRPr>
                <a:solidFill>
                  <a:schemeClr val="tx1">
                    <a:tint val="75000"/>
                  </a:schemeClr>
                </a:solidFill>
              </a:defRPr>
            </a:lvl2pPr>
            <a:lvl3pPr marL="685607" indent="0" algn="ctr">
              <a:buNone/>
              <a:defRPr>
                <a:solidFill>
                  <a:schemeClr val="tx1">
                    <a:tint val="75000"/>
                  </a:schemeClr>
                </a:solidFill>
              </a:defRPr>
            </a:lvl3pPr>
            <a:lvl4pPr marL="1028409" indent="0" algn="ctr">
              <a:buNone/>
              <a:defRPr>
                <a:solidFill>
                  <a:schemeClr val="tx1">
                    <a:tint val="75000"/>
                  </a:schemeClr>
                </a:solidFill>
              </a:defRPr>
            </a:lvl4pPr>
            <a:lvl5pPr marL="1371215" indent="0" algn="ctr">
              <a:buNone/>
              <a:defRPr>
                <a:solidFill>
                  <a:schemeClr val="tx1">
                    <a:tint val="75000"/>
                  </a:schemeClr>
                </a:solidFill>
              </a:defRPr>
            </a:lvl5pPr>
            <a:lvl6pPr marL="1714012" indent="0" algn="ctr">
              <a:buNone/>
              <a:defRPr>
                <a:solidFill>
                  <a:schemeClr val="tx1">
                    <a:tint val="75000"/>
                  </a:schemeClr>
                </a:solidFill>
              </a:defRPr>
            </a:lvl6pPr>
            <a:lvl7pPr marL="2056820" indent="0" algn="ctr">
              <a:buNone/>
              <a:defRPr>
                <a:solidFill>
                  <a:schemeClr val="tx1">
                    <a:tint val="75000"/>
                  </a:schemeClr>
                </a:solidFill>
              </a:defRPr>
            </a:lvl7pPr>
            <a:lvl8pPr marL="2399624" indent="0" algn="ctr">
              <a:buNone/>
              <a:defRPr>
                <a:solidFill>
                  <a:schemeClr val="tx1">
                    <a:tint val="75000"/>
                  </a:schemeClr>
                </a:solidFill>
              </a:defRPr>
            </a:lvl8pPr>
            <a:lvl9pPr marL="2742429"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202"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62" tIns="34282" rIns="68562" bIns="34282" numCol="1" anchor="t" anchorCtr="0" compatLnSpc="1">
            <a:prstTxWarp prst="textNoShape">
              <a:avLst/>
            </a:prstTxWarp>
          </a:bodyPr>
          <a:lstStyle/>
          <a:p>
            <a:pPr defTabSz="685607"/>
            <a:endParaRPr lang="en-US" dirty="0">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13"/>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61"/>
            <a:ext cx="4959201" cy="1142621"/>
          </a:xfrm>
        </p:spPr>
        <p:txBody>
          <a:bodyPr anchor="ctr" anchorCtr="0">
            <a:noAutofit/>
          </a:bodyPr>
          <a:lstStyle>
            <a:lvl1pPr algn="l" defTabSz="685607" rtl="0" eaLnBrk="1" latinLnBrk="0" hangingPunct="1">
              <a:lnSpc>
                <a:spcPct val="90000"/>
              </a:lnSpc>
              <a:spcBef>
                <a:spcPct val="0"/>
              </a:spcBef>
              <a:buNone/>
              <a:defRPr lang="en-US" sz="3000" b="1" kern="1200" cap="none" spc="-75" baseline="0" dirty="0">
                <a:ln w="3175">
                  <a:noFill/>
                </a:ln>
                <a:solidFill>
                  <a:schemeClr val="accent5">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12"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grpSp>
        <p:nvGrpSpPr>
          <p:cNvPr id="19" name="Green Tile"/>
          <p:cNvGrpSpPr/>
          <p:nvPr userDrawn="1"/>
        </p:nvGrpSpPr>
        <p:grpSpPr>
          <a:xfrm>
            <a:off x="762091" y="2390354"/>
            <a:ext cx="2120991" cy="2120439"/>
            <a:chOff x="-2619354" y="-790581"/>
            <a:chExt cx="2827252" cy="2827252"/>
          </a:xfrm>
        </p:grpSpPr>
        <p:sp>
          <p:nvSpPr>
            <p:cNvPr id="20" name="Rectangle 19"/>
            <p:cNvSpPr/>
            <p:nvPr/>
          </p:nvSpPr>
          <p:spPr bwMode="auto">
            <a:xfrm>
              <a:off x="-2619354" y="-790581"/>
              <a:ext cx="2827252" cy="282725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1" name="Play Icon"/>
            <p:cNvSpPr>
              <a:spLocks noEditPoints="1"/>
            </p:cNvSpPr>
            <p:nvPr/>
          </p:nvSpPr>
          <p:spPr bwMode="auto">
            <a:xfrm>
              <a:off x="-2097903" y="-269875"/>
              <a:ext cx="1784350" cy="1784350"/>
            </a:xfrm>
            <a:custGeom>
              <a:avLst/>
              <a:gdLst>
                <a:gd name="T0" fmla="*/ 168 w 224"/>
                <a:gd name="T1" fmla="*/ 112 h 224"/>
                <a:gd name="T2" fmla="*/ 86 w 224"/>
                <a:gd name="T3" fmla="*/ 173 h 224"/>
                <a:gd name="T4" fmla="*/ 86 w 224"/>
                <a:gd name="T5" fmla="*/ 50 h 224"/>
                <a:gd name="T6" fmla="*/ 168 w 224"/>
                <a:gd name="T7" fmla="*/ 112 h 224"/>
                <a:gd name="T8" fmla="*/ 168 w 224"/>
                <a:gd name="T9" fmla="*/ 112 h 224"/>
                <a:gd name="T10" fmla="*/ 112 w 224"/>
                <a:gd name="T11" fmla="*/ 0 h 224"/>
                <a:gd name="T12" fmla="*/ 224 w 224"/>
                <a:gd name="T13" fmla="*/ 112 h 224"/>
                <a:gd name="T14" fmla="*/ 112 w 224"/>
                <a:gd name="T15" fmla="*/ 224 h 224"/>
                <a:gd name="T16" fmla="*/ 0 w 224"/>
                <a:gd name="T17" fmla="*/ 112 h 224"/>
                <a:gd name="T18" fmla="*/ 112 w 224"/>
                <a:gd name="T19" fmla="*/ 0 h 224"/>
                <a:gd name="T20" fmla="*/ 112 w 224"/>
                <a:gd name="T21" fmla="*/ 216 h 224"/>
                <a:gd name="T22" fmla="*/ 216 w 224"/>
                <a:gd name="T23" fmla="*/ 112 h 224"/>
                <a:gd name="T24" fmla="*/ 112 w 224"/>
                <a:gd name="T25" fmla="*/ 8 h 224"/>
                <a:gd name="T26" fmla="*/ 8 w 224"/>
                <a:gd name="T27" fmla="*/ 112 h 224"/>
                <a:gd name="T28" fmla="*/ 112 w 224"/>
                <a:gd name="T29" fmla="*/ 21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4" h="224">
                  <a:moveTo>
                    <a:pt x="168" y="112"/>
                  </a:moveTo>
                  <a:cubicBezTo>
                    <a:pt x="86" y="173"/>
                    <a:pt x="86" y="173"/>
                    <a:pt x="86" y="173"/>
                  </a:cubicBezTo>
                  <a:cubicBezTo>
                    <a:pt x="86" y="50"/>
                    <a:pt x="86" y="50"/>
                    <a:pt x="86" y="50"/>
                  </a:cubicBezTo>
                  <a:cubicBezTo>
                    <a:pt x="168" y="112"/>
                    <a:pt x="168" y="112"/>
                    <a:pt x="168" y="112"/>
                  </a:cubicBezTo>
                  <a:cubicBezTo>
                    <a:pt x="168" y="112"/>
                    <a:pt x="168" y="112"/>
                    <a:pt x="168" y="112"/>
                  </a:cubicBezTo>
                  <a:close/>
                  <a:moveTo>
                    <a:pt x="112" y="0"/>
                  </a:moveTo>
                  <a:cubicBezTo>
                    <a:pt x="174" y="0"/>
                    <a:pt x="224" y="50"/>
                    <a:pt x="224" y="112"/>
                  </a:cubicBezTo>
                  <a:cubicBezTo>
                    <a:pt x="224" y="174"/>
                    <a:pt x="174" y="224"/>
                    <a:pt x="112" y="224"/>
                  </a:cubicBezTo>
                  <a:cubicBezTo>
                    <a:pt x="51" y="224"/>
                    <a:pt x="0" y="174"/>
                    <a:pt x="0" y="112"/>
                  </a:cubicBezTo>
                  <a:cubicBezTo>
                    <a:pt x="0" y="50"/>
                    <a:pt x="51" y="0"/>
                    <a:pt x="112" y="0"/>
                  </a:cubicBezTo>
                  <a:moveTo>
                    <a:pt x="112" y="216"/>
                  </a:moveTo>
                  <a:cubicBezTo>
                    <a:pt x="170" y="216"/>
                    <a:pt x="216" y="169"/>
                    <a:pt x="216" y="112"/>
                  </a:cubicBezTo>
                  <a:cubicBezTo>
                    <a:pt x="216" y="54"/>
                    <a:pt x="170" y="8"/>
                    <a:pt x="112" y="8"/>
                  </a:cubicBezTo>
                  <a:cubicBezTo>
                    <a:pt x="55" y="8"/>
                    <a:pt x="8" y="54"/>
                    <a:pt x="8" y="112"/>
                  </a:cubicBezTo>
                  <a:cubicBezTo>
                    <a:pt x="8" y="169"/>
                    <a:pt x="55" y="216"/>
                    <a:pt x="112" y="21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07"/>
              <a:endParaRPr lang="en-US" dirty="0">
                <a:solidFill>
                  <a:srgbClr val="FFFFFF"/>
                </a:solidFill>
              </a:endParaRPr>
            </a:p>
          </p:txBody>
        </p:sp>
      </p:grpSp>
    </p:spTree>
    <p:extLst>
      <p:ext uri="{BB962C8B-B14F-4D97-AF65-F5344CB8AC3E}">
        <p14:creationId xmlns:p14="http://schemas.microsoft.com/office/powerpoint/2010/main" val="1391413992"/>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Partn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0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Partner</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9"/>
            <a:ext cx="4959201" cy="346249"/>
          </a:xfrm>
        </p:spPr>
        <p:txBody>
          <a:bodyPr>
            <a:noAutofit/>
          </a:bodyPr>
          <a:lstStyle>
            <a:lvl1pPr marL="0" indent="0" algn="l" defTabSz="68560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99" indent="0" algn="ctr">
              <a:buNone/>
              <a:defRPr>
                <a:solidFill>
                  <a:schemeClr val="tx1">
                    <a:tint val="75000"/>
                  </a:schemeClr>
                </a:solidFill>
              </a:defRPr>
            </a:lvl2pPr>
            <a:lvl3pPr marL="685607" indent="0" algn="ctr">
              <a:buNone/>
              <a:defRPr>
                <a:solidFill>
                  <a:schemeClr val="tx1">
                    <a:tint val="75000"/>
                  </a:schemeClr>
                </a:solidFill>
              </a:defRPr>
            </a:lvl3pPr>
            <a:lvl4pPr marL="1028409" indent="0" algn="ctr">
              <a:buNone/>
              <a:defRPr>
                <a:solidFill>
                  <a:schemeClr val="tx1">
                    <a:tint val="75000"/>
                  </a:schemeClr>
                </a:solidFill>
              </a:defRPr>
            </a:lvl4pPr>
            <a:lvl5pPr marL="1371215" indent="0" algn="ctr">
              <a:buNone/>
              <a:defRPr>
                <a:solidFill>
                  <a:schemeClr val="tx1">
                    <a:tint val="75000"/>
                  </a:schemeClr>
                </a:solidFill>
              </a:defRPr>
            </a:lvl5pPr>
            <a:lvl6pPr marL="1714012" indent="0" algn="ctr">
              <a:buNone/>
              <a:defRPr>
                <a:solidFill>
                  <a:schemeClr val="tx1">
                    <a:tint val="75000"/>
                  </a:schemeClr>
                </a:solidFill>
              </a:defRPr>
            </a:lvl6pPr>
            <a:lvl7pPr marL="2056820" indent="0" algn="ctr">
              <a:buNone/>
              <a:defRPr>
                <a:solidFill>
                  <a:schemeClr val="tx1">
                    <a:tint val="75000"/>
                  </a:schemeClr>
                </a:solidFill>
              </a:defRPr>
            </a:lvl7pPr>
            <a:lvl8pPr marL="2399624" indent="0" algn="ctr">
              <a:buNone/>
              <a:defRPr>
                <a:solidFill>
                  <a:schemeClr val="tx1">
                    <a:tint val="75000"/>
                  </a:schemeClr>
                </a:solidFill>
              </a:defRPr>
            </a:lvl8pPr>
            <a:lvl9pPr marL="2742429"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202"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62" tIns="34282" rIns="68562" bIns="34282" numCol="1" anchor="t" anchorCtr="0" compatLnSpc="1">
            <a:prstTxWarp prst="textNoShape">
              <a:avLst/>
            </a:prstTxWarp>
          </a:bodyPr>
          <a:lstStyle/>
          <a:p>
            <a:pPr defTabSz="685607"/>
            <a:endParaRPr lang="en-US" dirty="0">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13"/>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61"/>
            <a:ext cx="4959201" cy="1142621"/>
          </a:xfrm>
        </p:spPr>
        <p:txBody>
          <a:bodyPr anchor="ctr" anchorCtr="0">
            <a:noAutofit/>
          </a:bodyPr>
          <a:lstStyle>
            <a:lvl1pPr algn="l" defTabSz="685607"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12"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grpSp>
        <p:nvGrpSpPr>
          <p:cNvPr id="17" name="Blue Tile"/>
          <p:cNvGrpSpPr/>
          <p:nvPr userDrawn="1"/>
        </p:nvGrpSpPr>
        <p:grpSpPr>
          <a:xfrm>
            <a:off x="762091" y="2392295"/>
            <a:ext cx="2120991" cy="2120439"/>
            <a:chOff x="1071620" y="3044261"/>
            <a:chExt cx="1325880" cy="1325880"/>
          </a:xfrm>
        </p:grpSpPr>
        <p:sp>
          <p:nvSpPr>
            <p:cNvPr id="18" name="Rectangle 17"/>
            <p:cNvSpPr/>
            <p:nvPr/>
          </p:nvSpPr>
          <p:spPr bwMode="auto">
            <a:xfrm>
              <a:off x="1071620" y="3044261"/>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2"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07"/>
              <a:endParaRPr lang="en-US" dirty="0">
                <a:solidFill>
                  <a:srgbClr val="FFFFFF"/>
                </a:solidFill>
              </a:endParaRPr>
            </a:p>
          </p:txBody>
        </p:sp>
      </p:grpSp>
    </p:spTree>
    <p:extLst>
      <p:ext uri="{BB962C8B-B14F-4D97-AF65-F5344CB8AC3E}">
        <p14:creationId xmlns:p14="http://schemas.microsoft.com/office/powerpoint/2010/main" val="120079287"/>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ustom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0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Customer</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9"/>
            <a:ext cx="4959201" cy="346249"/>
          </a:xfrm>
        </p:spPr>
        <p:txBody>
          <a:bodyPr>
            <a:noAutofit/>
          </a:bodyPr>
          <a:lstStyle>
            <a:lvl1pPr marL="0" indent="0" algn="l" defTabSz="68560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99" indent="0" algn="ctr">
              <a:buNone/>
              <a:defRPr>
                <a:solidFill>
                  <a:schemeClr val="tx1">
                    <a:tint val="75000"/>
                  </a:schemeClr>
                </a:solidFill>
              </a:defRPr>
            </a:lvl2pPr>
            <a:lvl3pPr marL="685607" indent="0" algn="ctr">
              <a:buNone/>
              <a:defRPr>
                <a:solidFill>
                  <a:schemeClr val="tx1">
                    <a:tint val="75000"/>
                  </a:schemeClr>
                </a:solidFill>
              </a:defRPr>
            </a:lvl3pPr>
            <a:lvl4pPr marL="1028409" indent="0" algn="ctr">
              <a:buNone/>
              <a:defRPr>
                <a:solidFill>
                  <a:schemeClr val="tx1">
                    <a:tint val="75000"/>
                  </a:schemeClr>
                </a:solidFill>
              </a:defRPr>
            </a:lvl4pPr>
            <a:lvl5pPr marL="1371215" indent="0" algn="ctr">
              <a:buNone/>
              <a:defRPr>
                <a:solidFill>
                  <a:schemeClr val="tx1">
                    <a:tint val="75000"/>
                  </a:schemeClr>
                </a:solidFill>
              </a:defRPr>
            </a:lvl5pPr>
            <a:lvl6pPr marL="1714012" indent="0" algn="ctr">
              <a:buNone/>
              <a:defRPr>
                <a:solidFill>
                  <a:schemeClr val="tx1">
                    <a:tint val="75000"/>
                  </a:schemeClr>
                </a:solidFill>
              </a:defRPr>
            </a:lvl6pPr>
            <a:lvl7pPr marL="2056820" indent="0" algn="ctr">
              <a:buNone/>
              <a:defRPr>
                <a:solidFill>
                  <a:schemeClr val="tx1">
                    <a:tint val="75000"/>
                  </a:schemeClr>
                </a:solidFill>
              </a:defRPr>
            </a:lvl7pPr>
            <a:lvl8pPr marL="2399624" indent="0" algn="ctr">
              <a:buNone/>
              <a:defRPr>
                <a:solidFill>
                  <a:schemeClr val="tx1">
                    <a:tint val="75000"/>
                  </a:schemeClr>
                </a:solidFill>
              </a:defRPr>
            </a:lvl8pPr>
            <a:lvl9pPr marL="2742429"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202"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62" tIns="34282" rIns="68562" bIns="34282" numCol="1" anchor="t" anchorCtr="0" compatLnSpc="1">
            <a:prstTxWarp prst="textNoShape">
              <a:avLst/>
            </a:prstTxWarp>
          </a:bodyPr>
          <a:lstStyle/>
          <a:p>
            <a:pPr defTabSz="685607"/>
            <a:endParaRPr lang="en-US" dirty="0">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13"/>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61"/>
            <a:ext cx="4959201" cy="1142621"/>
          </a:xfrm>
        </p:spPr>
        <p:txBody>
          <a:bodyPr anchor="ctr" anchorCtr="0">
            <a:noAutofit/>
          </a:bodyPr>
          <a:lstStyle>
            <a:lvl1pPr algn="l" defTabSz="685607" rtl="0" eaLnBrk="1" latinLnBrk="0" hangingPunct="1">
              <a:lnSpc>
                <a:spcPct val="90000"/>
              </a:lnSpc>
              <a:spcBef>
                <a:spcPct val="0"/>
              </a:spcBef>
              <a:buNone/>
              <a:defRPr lang="en-US" sz="3000" b="1" kern="1200" cap="none" spc="-75" baseline="0" dirty="0">
                <a:ln w="3175">
                  <a:noFill/>
                </a:ln>
                <a:solidFill>
                  <a:schemeClr val="accent2">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12"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grpSp>
        <p:nvGrpSpPr>
          <p:cNvPr id="19" name="Purple Tile"/>
          <p:cNvGrpSpPr/>
          <p:nvPr userDrawn="1"/>
        </p:nvGrpSpPr>
        <p:grpSpPr>
          <a:xfrm>
            <a:off x="763409" y="2390354"/>
            <a:ext cx="2120991" cy="2120439"/>
            <a:chOff x="1022073" y="-1624298"/>
            <a:chExt cx="2827252" cy="2827252"/>
          </a:xfrm>
        </p:grpSpPr>
        <p:sp>
          <p:nvSpPr>
            <p:cNvPr id="20" name="Rectangle 19"/>
            <p:cNvSpPr/>
            <p:nvPr/>
          </p:nvSpPr>
          <p:spPr bwMode="auto">
            <a:xfrm>
              <a:off x="1022073" y="-1624298"/>
              <a:ext cx="2827252" cy="282725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1" name="Freeform 8"/>
            <p:cNvSpPr>
              <a:spLocks noEditPoints="1"/>
            </p:cNvSpPr>
            <p:nvPr/>
          </p:nvSpPr>
          <p:spPr bwMode="auto">
            <a:xfrm>
              <a:off x="1537798" y="-867430"/>
              <a:ext cx="1792288" cy="1501775"/>
            </a:xfrm>
            <a:custGeom>
              <a:avLst/>
              <a:gdLst>
                <a:gd name="T0" fmla="*/ 184 w 223"/>
                <a:gd name="T1" fmla="*/ 187 h 187"/>
                <a:gd name="T2" fmla="*/ 181 w 223"/>
                <a:gd name="T3" fmla="*/ 186 h 187"/>
                <a:gd name="T4" fmla="*/ 146 w 223"/>
                <a:gd name="T5" fmla="*/ 151 h 187"/>
                <a:gd name="T6" fmla="*/ 40 w 223"/>
                <a:gd name="T7" fmla="*/ 151 h 187"/>
                <a:gd name="T8" fmla="*/ 0 w 223"/>
                <a:gd name="T9" fmla="*/ 111 h 187"/>
                <a:gd name="T10" fmla="*/ 0 w 223"/>
                <a:gd name="T11" fmla="*/ 40 h 187"/>
                <a:gd name="T12" fmla="*/ 40 w 223"/>
                <a:gd name="T13" fmla="*/ 0 h 187"/>
                <a:gd name="T14" fmla="*/ 183 w 223"/>
                <a:gd name="T15" fmla="*/ 0 h 187"/>
                <a:gd name="T16" fmla="*/ 223 w 223"/>
                <a:gd name="T17" fmla="*/ 40 h 187"/>
                <a:gd name="T18" fmla="*/ 223 w 223"/>
                <a:gd name="T19" fmla="*/ 111 h 187"/>
                <a:gd name="T20" fmla="*/ 188 w 223"/>
                <a:gd name="T21" fmla="*/ 150 h 187"/>
                <a:gd name="T22" fmla="*/ 188 w 223"/>
                <a:gd name="T23" fmla="*/ 183 h 187"/>
                <a:gd name="T24" fmla="*/ 185 w 223"/>
                <a:gd name="T25" fmla="*/ 187 h 187"/>
                <a:gd name="T26" fmla="*/ 184 w 223"/>
                <a:gd name="T27" fmla="*/ 187 h 187"/>
                <a:gd name="T28" fmla="*/ 40 w 223"/>
                <a:gd name="T29" fmla="*/ 8 h 187"/>
                <a:gd name="T30" fmla="*/ 8 w 223"/>
                <a:gd name="T31" fmla="*/ 40 h 187"/>
                <a:gd name="T32" fmla="*/ 8 w 223"/>
                <a:gd name="T33" fmla="*/ 111 h 187"/>
                <a:gd name="T34" fmla="*/ 40 w 223"/>
                <a:gd name="T35" fmla="*/ 143 h 187"/>
                <a:gd name="T36" fmla="*/ 148 w 223"/>
                <a:gd name="T37" fmla="*/ 143 h 187"/>
                <a:gd name="T38" fmla="*/ 151 w 223"/>
                <a:gd name="T39" fmla="*/ 144 h 187"/>
                <a:gd name="T40" fmla="*/ 180 w 223"/>
                <a:gd name="T41" fmla="*/ 173 h 187"/>
                <a:gd name="T42" fmla="*/ 180 w 223"/>
                <a:gd name="T43" fmla="*/ 147 h 187"/>
                <a:gd name="T44" fmla="*/ 184 w 223"/>
                <a:gd name="T45" fmla="*/ 143 h 187"/>
                <a:gd name="T46" fmla="*/ 215 w 223"/>
                <a:gd name="T47" fmla="*/ 111 h 187"/>
                <a:gd name="T48" fmla="*/ 215 w 223"/>
                <a:gd name="T49" fmla="*/ 40 h 187"/>
                <a:gd name="T50" fmla="*/ 183 w 223"/>
                <a:gd name="T51" fmla="*/ 8 h 187"/>
                <a:gd name="T52" fmla="*/ 40 w 223"/>
                <a:gd name="T53" fmla="*/ 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3" h="187">
                  <a:moveTo>
                    <a:pt x="184" y="187"/>
                  </a:moveTo>
                  <a:cubicBezTo>
                    <a:pt x="183" y="187"/>
                    <a:pt x="182" y="187"/>
                    <a:pt x="181" y="186"/>
                  </a:cubicBezTo>
                  <a:cubicBezTo>
                    <a:pt x="146" y="151"/>
                    <a:pt x="146" y="151"/>
                    <a:pt x="146" y="151"/>
                  </a:cubicBezTo>
                  <a:cubicBezTo>
                    <a:pt x="40" y="151"/>
                    <a:pt x="40" y="151"/>
                    <a:pt x="40" y="151"/>
                  </a:cubicBezTo>
                  <a:cubicBezTo>
                    <a:pt x="18" y="151"/>
                    <a:pt x="0" y="133"/>
                    <a:pt x="0" y="111"/>
                  </a:cubicBezTo>
                  <a:cubicBezTo>
                    <a:pt x="0" y="40"/>
                    <a:pt x="0" y="40"/>
                    <a:pt x="0" y="40"/>
                  </a:cubicBezTo>
                  <a:cubicBezTo>
                    <a:pt x="0" y="18"/>
                    <a:pt x="18" y="0"/>
                    <a:pt x="40" y="0"/>
                  </a:cubicBezTo>
                  <a:cubicBezTo>
                    <a:pt x="183" y="0"/>
                    <a:pt x="183" y="0"/>
                    <a:pt x="183" y="0"/>
                  </a:cubicBezTo>
                  <a:cubicBezTo>
                    <a:pt x="205" y="0"/>
                    <a:pt x="223" y="18"/>
                    <a:pt x="223" y="40"/>
                  </a:cubicBezTo>
                  <a:cubicBezTo>
                    <a:pt x="223" y="111"/>
                    <a:pt x="223" y="111"/>
                    <a:pt x="223" y="111"/>
                  </a:cubicBezTo>
                  <a:cubicBezTo>
                    <a:pt x="223" y="132"/>
                    <a:pt x="208" y="148"/>
                    <a:pt x="188" y="150"/>
                  </a:cubicBezTo>
                  <a:cubicBezTo>
                    <a:pt x="188" y="183"/>
                    <a:pt x="188" y="183"/>
                    <a:pt x="188" y="183"/>
                  </a:cubicBezTo>
                  <a:cubicBezTo>
                    <a:pt x="188" y="185"/>
                    <a:pt x="187" y="186"/>
                    <a:pt x="185" y="187"/>
                  </a:cubicBezTo>
                  <a:cubicBezTo>
                    <a:pt x="185" y="187"/>
                    <a:pt x="184" y="187"/>
                    <a:pt x="184" y="187"/>
                  </a:cubicBezTo>
                  <a:moveTo>
                    <a:pt x="40" y="8"/>
                  </a:moveTo>
                  <a:cubicBezTo>
                    <a:pt x="22" y="8"/>
                    <a:pt x="8" y="23"/>
                    <a:pt x="8" y="40"/>
                  </a:cubicBezTo>
                  <a:cubicBezTo>
                    <a:pt x="8" y="111"/>
                    <a:pt x="8" y="111"/>
                    <a:pt x="8" y="111"/>
                  </a:cubicBezTo>
                  <a:cubicBezTo>
                    <a:pt x="8" y="128"/>
                    <a:pt x="22" y="143"/>
                    <a:pt x="40" y="143"/>
                  </a:cubicBezTo>
                  <a:cubicBezTo>
                    <a:pt x="148" y="143"/>
                    <a:pt x="148" y="143"/>
                    <a:pt x="148" y="143"/>
                  </a:cubicBezTo>
                  <a:cubicBezTo>
                    <a:pt x="149" y="143"/>
                    <a:pt x="150" y="143"/>
                    <a:pt x="151" y="144"/>
                  </a:cubicBezTo>
                  <a:cubicBezTo>
                    <a:pt x="180" y="173"/>
                    <a:pt x="180" y="173"/>
                    <a:pt x="180" y="173"/>
                  </a:cubicBezTo>
                  <a:cubicBezTo>
                    <a:pt x="180" y="147"/>
                    <a:pt x="180" y="147"/>
                    <a:pt x="180" y="147"/>
                  </a:cubicBezTo>
                  <a:cubicBezTo>
                    <a:pt x="180" y="144"/>
                    <a:pt x="182" y="143"/>
                    <a:pt x="184" y="143"/>
                  </a:cubicBezTo>
                  <a:cubicBezTo>
                    <a:pt x="201" y="143"/>
                    <a:pt x="215" y="129"/>
                    <a:pt x="215" y="111"/>
                  </a:cubicBezTo>
                  <a:cubicBezTo>
                    <a:pt x="215" y="40"/>
                    <a:pt x="215" y="40"/>
                    <a:pt x="215" y="40"/>
                  </a:cubicBezTo>
                  <a:cubicBezTo>
                    <a:pt x="215" y="23"/>
                    <a:pt x="200" y="8"/>
                    <a:pt x="183" y="8"/>
                  </a:cubicBezTo>
                  <a:lnTo>
                    <a:pt x="4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07"/>
              <a:endParaRPr lang="en-US" dirty="0">
                <a:solidFill>
                  <a:srgbClr val="FFFFFF"/>
                </a:solidFill>
              </a:endParaRPr>
            </a:p>
          </p:txBody>
        </p:sp>
      </p:grpSp>
    </p:spTree>
    <p:extLst>
      <p:ext uri="{BB962C8B-B14F-4D97-AF65-F5344CB8AC3E}">
        <p14:creationId xmlns:p14="http://schemas.microsoft.com/office/powerpoint/2010/main" val="3932211980"/>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Announcement,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0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Announcement</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9"/>
            <a:ext cx="4959201" cy="346249"/>
          </a:xfrm>
        </p:spPr>
        <p:txBody>
          <a:bodyPr>
            <a:noAutofit/>
          </a:bodyPr>
          <a:lstStyle>
            <a:lvl1pPr marL="0" indent="0" algn="l" defTabSz="68560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99" indent="0" algn="ctr">
              <a:buNone/>
              <a:defRPr>
                <a:solidFill>
                  <a:schemeClr val="tx1">
                    <a:tint val="75000"/>
                  </a:schemeClr>
                </a:solidFill>
              </a:defRPr>
            </a:lvl2pPr>
            <a:lvl3pPr marL="685607" indent="0" algn="ctr">
              <a:buNone/>
              <a:defRPr>
                <a:solidFill>
                  <a:schemeClr val="tx1">
                    <a:tint val="75000"/>
                  </a:schemeClr>
                </a:solidFill>
              </a:defRPr>
            </a:lvl3pPr>
            <a:lvl4pPr marL="1028409" indent="0" algn="ctr">
              <a:buNone/>
              <a:defRPr>
                <a:solidFill>
                  <a:schemeClr val="tx1">
                    <a:tint val="75000"/>
                  </a:schemeClr>
                </a:solidFill>
              </a:defRPr>
            </a:lvl4pPr>
            <a:lvl5pPr marL="1371215" indent="0" algn="ctr">
              <a:buNone/>
              <a:defRPr>
                <a:solidFill>
                  <a:schemeClr val="tx1">
                    <a:tint val="75000"/>
                  </a:schemeClr>
                </a:solidFill>
              </a:defRPr>
            </a:lvl5pPr>
            <a:lvl6pPr marL="1714012" indent="0" algn="ctr">
              <a:buNone/>
              <a:defRPr>
                <a:solidFill>
                  <a:schemeClr val="tx1">
                    <a:tint val="75000"/>
                  </a:schemeClr>
                </a:solidFill>
              </a:defRPr>
            </a:lvl6pPr>
            <a:lvl7pPr marL="2056820" indent="0" algn="ctr">
              <a:buNone/>
              <a:defRPr>
                <a:solidFill>
                  <a:schemeClr val="tx1">
                    <a:tint val="75000"/>
                  </a:schemeClr>
                </a:solidFill>
              </a:defRPr>
            </a:lvl7pPr>
            <a:lvl8pPr marL="2399624" indent="0" algn="ctr">
              <a:buNone/>
              <a:defRPr>
                <a:solidFill>
                  <a:schemeClr val="tx1">
                    <a:tint val="75000"/>
                  </a:schemeClr>
                </a:solidFill>
              </a:defRPr>
            </a:lvl8pPr>
            <a:lvl9pPr marL="2742429"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202"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62" tIns="34282" rIns="68562" bIns="34282" numCol="1" anchor="t" anchorCtr="0" compatLnSpc="1">
            <a:prstTxWarp prst="textNoShape">
              <a:avLst/>
            </a:prstTxWarp>
          </a:bodyPr>
          <a:lstStyle/>
          <a:p>
            <a:pPr defTabSz="685607"/>
            <a:endParaRPr lang="en-US" dirty="0">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13"/>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61"/>
            <a:ext cx="4959201" cy="1142621"/>
          </a:xfrm>
        </p:spPr>
        <p:txBody>
          <a:bodyPr anchor="ctr" anchorCtr="0">
            <a:noAutofit/>
          </a:bodyPr>
          <a:lstStyle>
            <a:lvl1pPr algn="l" defTabSz="685607" rtl="0" eaLnBrk="1" latinLnBrk="0" hangingPunct="1">
              <a:lnSpc>
                <a:spcPct val="90000"/>
              </a:lnSpc>
              <a:spcBef>
                <a:spcPct val="0"/>
              </a:spcBef>
              <a:buNone/>
              <a:defRPr lang="en-US" sz="3000" b="1" kern="1200" cap="none" spc="-75" baseline="0" dirty="0">
                <a:ln w="3175">
                  <a:noFill/>
                </a:ln>
                <a:solidFill>
                  <a:schemeClr val="accent3">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12"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grpSp>
        <p:nvGrpSpPr>
          <p:cNvPr id="17" name="Orange Tile"/>
          <p:cNvGrpSpPr/>
          <p:nvPr userDrawn="1"/>
        </p:nvGrpSpPr>
        <p:grpSpPr>
          <a:xfrm>
            <a:off x="762091" y="2390612"/>
            <a:ext cx="2120991" cy="2120439"/>
            <a:chOff x="1351800" y="-1084759"/>
            <a:chExt cx="2827252" cy="2827252"/>
          </a:xfrm>
        </p:grpSpPr>
        <p:sp>
          <p:nvSpPr>
            <p:cNvPr id="18" name="Rectangle 17"/>
            <p:cNvSpPr/>
            <p:nvPr/>
          </p:nvSpPr>
          <p:spPr bwMode="auto">
            <a:xfrm>
              <a:off x="1351800" y="-1084759"/>
              <a:ext cx="2827252" cy="282725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2" name="Freeform 21"/>
            <p:cNvSpPr>
              <a:spLocks noEditPoints="1"/>
            </p:cNvSpPr>
            <p:nvPr/>
          </p:nvSpPr>
          <p:spPr bwMode="auto">
            <a:xfrm>
              <a:off x="2005011" y="-436308"/>
              <a:ext cx="1522413" cy="1530350"/>
            </a:xfrm>
            <a:custGeom>
              <a:avLst/>
              <a:gdLst>
                <a:gd name="T0" fmla="*/ 6 w 187"/>
                <a:gd name="T1" fmla="*/ 188 h 188"/>
                <a:gd name="T2" fmla="*/ 129 w 187"/>
                <a:gd name="T3" fmla="*/ 64 h 188"/>
                <a:gd name="T4" fmla="*/ 180 w 187"/>
                <a:gd name="T5" fmla="*/ 115 h 188"/>
                <a:gd name="T6" fmla="*/ 185 w 187"/>
                <a:gd name="T7" fmla="*/ 116 h 188"/>
                <a:gd name="T8" fmla="*/ 187 w 187"/>
                <a:gd name="T9" fmla="*/ 112 h 188"/>
                <a:gd name="T10" fmla="*/ 187 w 187"/>
                <a:gd name="T11" fmla="*/ 4 h 188"/>
                <a:gd name="T12" fmla="*/ 183 w 187"/>
                <a:gd name="T13" fmla="*/ 0 h 188"/>
                <a:gd name="T14" fmla="*/ 75 w 187"/>
                <a:gd name="T15" fmla="*/ 0 h 188"/>
                <a:gd name="T16" fmla="*/ 71 w 187"/>
                <a:gd name="T17" fmla="*/ 3 h 188"/>
                <a:gd name="T18" fmla="*/ 71 w 187"/>
                <a:gd name="T19" fmla="*/ 4 h 188"/>
                <a:gd name="T20" fmla="*/ 72 w 187"/>
                <a:gd name="T21" fmla="*/ 7 h 188"/>
                <a:gd name="T22" fmla="*/ 123 w 187"/>
                <a:gd name="T23" fmla="*/ 58 h 188"/>
                <a:gd name="T24" fmla="*/ 0 w 187"/>
                <a:gd name="T25" fmla="*/ 182 h 188"/>
                <a:gd name="T26" fmla="*/ 6 w 187"/>
                <a:gd name="T27" fmla="*/ 188 h 188"/>
                <a:gd name="T28" fmla="*/ 179 w 187"/>
                <a:gd name="T29" fmla="*/ 8 h 188"/>
                <a:gd name="T30" fmla="*/ 179 w 187"/>
                <a:gd name="T31" fmla="*/ 103 h 188"/>
                <a:gd name="T32" fmla="*/ 85 w 187"/>
                <a:gd name="T33" fmla="*/ 8 h 188"/>
                <a:gd name="T34" fmla="*/ 179 w 187"/>
                <a:gd name="T35" fmla="*/ 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7" h="188">
                  <a:moveTo>
                    <a:pt x="6" y="188"/>
                  </a:moveTo>
                  <a:cubicBezTo>
                    <a:pt x="129" y="64"/>
                    <a:pt x="129" y="64"/>
                    <a:pt x="129" y="64"/>
                  </a:cubicBezTo>
                  <a:cubicBezTo>
                    <a:pt x="180" y="115"/>
                    <a:pt x="180" y="115"/>
                    <a:pt x="180" y="115"/>
                  </a:cubicBezTo>
                  <a:cubicBezTo>
                    <a:pt x="181" y="116"/>
                    <a:pt x="183" y="117"/>
                    <a:pt x="185" y="116"/>
                  </a:cubicBezTo>
                  <a:cubicBezTo>
                    <a:pt x="186" y="116"/>
                    <a:pt x="187" y="114"/>
                    <a:pt x="187" y="112"/>
                  </a:cubicBezTo>
                  <a:cubicBezTo>
                    <a:pt x="187" y="4"/>
                    <a:pt x="187" y="4"/>
                    <a:pt x="187" y="4"/>
                  </a:cubicBezTo>
                  <a:cubicBezTo>
                    <a:pt x="187" y="2"/>
                    <a:pt x="185" y="0"/>
                    <a:pt x="183" y="0"/>
                  </a:cubicBezTo>
                  <a:cubicBezTo>
                    <a:pt x="75" y="0"/>
                    <a:pt x="75" y="0"/>
                    <a:pt x="75" y="0"/>
                  </a:cubicBezTo>
                  <a:cubicBezTo>
                    <a:pt x="73" y="0"/>
                    <a:pt x="72" y="1"/>
                    <a:pt x="71" y="3"/>
                  </a:cubicBezTo>
                  <a:cubicBezTo>
                    <a:pt x="71" y="3"/>
                    <a:pt x="71" y="4"/>
                    <a:pt x="71" y="4"/>
                  </a:cubicBezTo>
                  <a:cubicBezTo>
                    <a:pt x="71" y="6"/>
                    <a:pt x="71" y="7"/>
                    <a:pt x="72" y="7"/>
                  </a:cubicBezTo>
                  <a:cubicBezTo>
                    <a:pt x="123" y="58"/>
                    <a:pt x="123" y="58"/>
                    <a:pt x="123" y="58"/>
                  </a:cubicBezTo>
                  <a:cubicBezTo>
                    <a:pt x="0" y="182"/>
                    <a:pt x="0" y="182"/>
                    <a:pt x="0" y="182"/>
                  </a:cubicBezTo>
                  <a:lnTo>
                    <a:pt x="6" y="188"/>
                  </a:lnTo>
                  <a:close/>
                  <a:moveTo>
                    <a:pt x="179" y="8"/>
                  </a:moveTo>
                  <a:cubicBezTo>
                    <a:pt x="179" y="103"/>
                    <a:pt x="179" y="103"/>
                    <a:pt x="179" y="103"/>
                  </a:cubicBezTo>
                  <a:cubicBezTo>
                    <a:pt x="85" y="8"/>
                    <a:pt x="85" y="8"/>
                    <a:pt x="85" y="8"/>
                  </a:cubicBezTo>
                  <a:lnTo>
                    <a:pt x="179" y="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685607"/>
              <a:endParaRPr lang="en-US" dirty="0">
                <a:solidFill>
                  <a:srgbClr val="FFFFFF"/>
                </a:solidFill>
              </a:endParaRPr>
            </a:p>
          </p:txBody>
        </p:sp>
      </p:grpSp>
    </p:spTree>
    <p:extLst>
      <p:ext uri="{BB962C8B-B14F-4D97-AF65-F5344CB8AC3E}">
        <p14:creationId xmlns:p14="http://schemas.microsoft.com/office/powerpoint/2010/main" val="1133085449"/>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0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Title</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9"/>
            <a:ext cx="4959201" cy="346249"/>
          </a:xfrm>
        </p:spPr>
        <p:txBody>
          <a:bodyPr>
            <a:noAutofit/>
          </a:bodyPr>
          <a:lstStyle>
            <a:lvl1pPr marL="0" indent="0" algn="l" defTabSz="68560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99" indent="0" algn="ctr">
              <a:buNone/>
              <a:defRPr>
                <a:solidFill>
                  <a:schemeClr val="tx1">
                    <a:tint val="75000"/>
                  </a:schemeClr>
                </a:solidFill>
              </a:defRPr>
            </a:lvl2pPr>
            <a:lvl3pPr marL="685607" indent="0" algn="ctr">
              <a:buNone/>
              <a:defRPr>
                <a:solidFill>
                  <a:schemeClr val="tx1">
                    <a:tint val="75000"/>
                  </a:schemeClr>
                </a:solidFill>
              </a:defRPr>
            </a:lvl3pPr>
            <a:lvl4pPr marL="1028409" indent="0" algn="ctr">
              <a:buNone/>
              <a:defRPr>
                <a:solidFill>
                  <a:schemeClr val="tx1">
                    <a:tint val="75000"/>
                  </a:schemeClr>
                </a:solidFill>
              </a:defRPr>
            </a:lvl4pPr>
            <a:lvl5pPr marL="1371215" indent="0" algn="ctr">
              <a:buNone/>
              <a:defRPr>
                <a:solidFill>
                  <a:schemeClr val="tx1">
                    <a:tint val="75000"/>
                  </a:schemeClr>
                </a:solidFill>
              </a:defRPr>
            </a:lvl5pPr>
            <a:lvl6pPr marL="1714012" indent="0" algn="ctr">
              <a:buNone/>
              <a:defRPr>
                <a:solidFill>
                  <a:schemeClr val="tx1">
                    <a:tint val="75000"/>
                  </a:schemeClr>
                </a:solidFill>
              </a:defRPr>
            </a:lvl6pPr>
            <a:lvl7pPr marL="2056820" indent="0" algn="ctr">
              <a:buNone/>
              <a:defRPr>
                <a:solidFill>
                  <a:schemeClr val="tx1">
                    <a:tint val="75000"/>
                  </a:schemeClr>
                </a:solidFill>
              </a:defRPr>
            </a:lvl7pPr>
            <a:lvl8pPr marL="2399624" indent="0" algn="ctr">
              <a:buNone/>
              <a:defRPr>
                <a:solidFill>
                  <a:schemeClr val="tx1">
                    <a:tint val="75000"/>
                  </a:schemeClr>
                </a:solidFill>
              </a:defRPr>
            </a:lvl8pPr>
            <a:lvl9pPr marL="2742429"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202"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62" tIns="34282" rIns="68562" bIns="34282" numCol="1" anchor="t" anchorCtr="0" compatLnSpc="1">
            <a:prstTxWarp prst="textNoShape">
              <a:avLst/>
            </a:prstTxWarp>
          </a:bodyPr>
          <a:lstStyle/>
          <a:p>
            <a:pPr defTabSz="685607"/>
            <a:endParaRPr lang="en-US" dirty="0">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13"/>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61"/>
            <a:ext cx="4959201" cy="1142621"/>
          </a:xfrm>
        </p:spPr>
        <p:txBody>
          <a:bodyPr anchor="ctr" anchorCtr="0">
            <a:noAutofit/>
          </a:bodyPr>
          <a:lstStyle>
            <a:lvl1pPr algn="l" defTabSz="685607" rtl="0" eaLnBrk="1" latinLnBrk="0" hangingPunct="1">
              <a:lnSpc>
                <a:spcPct val="90000"/>
              </a:lnSpc>
              <a:spcBef>
                <a:spcPct val="0"/>
              </a:spcBef>
              <a:buNone/>
              <a:defRPr lang="en-US" sz="3000" b="1" kern="1200" cap="none" spc="-75" baseline="0" dirty="0">
                <a:ln w="3175">
                  <a:noFill/>
                </a:ln>
                <a:solidFill>
                  <a:schemeClr val="accent4">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12"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grpSp>
        <p:nvGrpSpPr>
          <p:cNvPr id="19" name="Teal Tile"/>
          <p:cNvGrpSpPr/>
          <p:nvPr userDrawn="1"/>
        </p:nvGrpSpPr>
        <p:grpSpPr>
          <a:xfrm>
            <a:off x="762091" y="2390354"/>
            <a:ext cx="2120991" cy="2120439"/>
            <a:chOff x="823093" y="-1413626"/>
            <a:chExt cx="2827252" cy="2827252"/>
          </a:xfrm>
        </p:grpSpPr>
        <p:sp>
          <p:nvSpPr>
            <p:cNvPr id="20" name="Rectangle 19"/>
            <p:cNvSpPr/>
            <p:nvPr/>
          </p:nvSpPr>
          <p:spPr bwMode="auto">
            <a:xfrm>
              <a:off x="823093" y="-1413626"/>
              <a:ext cx="2827252" cy="282725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1" name="Freeform 20"/>
            <p:cNvSpPr>
              <a:spLocks noEditPoints="1"/>
            </p:cNvSpPr>
            <p:nvPr/>
          </p:nvSpPr>
          <p:spPr bwMode="auto">
            <a:xfrm>
              <a:off x="1397725" y="-232569"/>
              <a:ext cx="1677988" cy="465138"/>
            </a:xfrm>
            <a:custGeom>
              <a:avLst/>
              <a:gdLst>
                <a:gd name="T0" fmla="*/ 0 w 209"/>
                <a:gd name="T1" fmla="*/ 25 h 58"/>
                <a:gd name="T2" fmla="*/ 20 w 209"/>
                <a:gd name="T3" fmla="*/ 25 h 58"/>
                <a:gd name="T4" fmla="*/ 20 w 209"/>
                <a:gd name="T5" fmla="*/ 33 h 58"/>
                <a:gd name="T6" fmla="*/ 0 w 209"/>
                <a:gd name="T7" fmla="*/ 33 h 58"/>
                <a:gd name="T8" fmla="*/ 0 w 209"/>
                <a:gd name="T9" fmla="*/ 25 h 58"/>
                <a:gd name="T10" fmla="*/ 40 w 209"/>
                <a:gd name="T11" fmla="*/ 33 h 58"/>
                <a:gd name="T12" fmla="*/ 60 w 209"/>
                <a:gd name="T13" fmla="*/ 33 h 58"/>
                <a:gd name="T14" fmla="*/ 60 w 209"/>
                <a:gd name="T15" fmla="*/ 25 h 58"/>
                <a:gd name="T16" fmla="*/ 40 w 209"/>
                <a:gd name="T17" fmla="*/ 25 h 58"/>
                <a:gd name="T18" fmla="*/ 40 w 209"/>
                <a:gd name="T19" fmla="*/ 33 h 58"/>
                <a:gd name="T20" fmla="*/ 120 w 209"/>
                <a:gd name="T21" fmla="*/ 33 h 58"/>
                <a:gd name="T22" fmla="*/ 140 w 209"/>
                <a:gd name="T23" fmla="*/ 33 h 58"/>
                <a:gd name="T24" fmla="*/ 140 w 209"/>
                <a:gd name="T25" fmla="*/ 25 h 58"/>
                <a:gd name="T26" fmla="*/ 120 w 209"/>
                <a:gd name="T27" fmla="*/ 25 h 58"/>
                <a:gd name="T28" fmla="*/ 120 w 209"/>
                <a:gd name="T29" fmla="*/ 33 h 58"/>
                <a:gd name="T30" fmla="*/ 80 w 209"/>
                <a:gd name="T31" fmla="*/ 33 h 58"/>
                <a:gd name="T32" fmla="*/ 100 w 209"/>
                <a:gd name="T33" fmla="*/ 33 h 58"/>
                <a:gd name="T34" fmla="*/ 100 w 209"/>
                <a:gd name="T35" fmla="*/ 25 h 58"/>
                <a:gd name="T36" fmla="*/ 80 w 209"/>
                <a:gd name="T37" fmla="*/ 25 h 58"/>
                <a:gd name="T38" fmla="*/ 80 w 209"/>
                <a:gd name="T39" fmla="*/ 33 h 58"/>
                <a:gd name="T40" fmla="*/ 207 w 209"/>
                <a:gd name="T41" fmla="*/ 26 h 58"/>
                <a:gd name="T42" fmla="*/ 181 w 209"/>
                <a:gd name="T43" fmla="*/ 0 h 58"/>
                <a:gd name="T44" fmla="*/ 175 w 209"/>
                <a:gd name="T45" fmla="*/ 6 h 58"/>
                <a:gd name="T46" fmla="*/ 195 w 209"/>
                <a:gd name="T47" fmla="*/ 25 h 58"/>
                <a:gd name="T48" fmla="*/ 160 w 209"/>
                <a:gd name="T49" fmla="*/ 25 h 58"/>
                <a:gd name="T50" fmla="*/ 160 w 209"/>
                <a:gd name="T51" fmla="*/ 33 h 58"/>
                <a:gd name="T52" fmla="*/ 195 w 209"/>
                <a:gd name="T53" fmla="*/ 33 h 58"/>
                <a:gd name="T54" fmla="*/ 175 w 209"/>
                <a:gd name="T55" fmla="*/ 52 h 58"/>
                <a:gd name="T56" fmla="*/ 181 w 209"/>
                <a:gd name="T57" fmla="*/ 58 h 58"/>
                <a:gd name="T58" fmla="*/ 207 w 209"/>
                <a:gd name="T59" fmla="*/ 32 h 58"/>
                <a:gd name="T60" fmla="*/ 207 w 209"/>
                <a:gd name="T61" fmla="*/ 2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9" h="58">
                  <a:moveTo>
                    <a:pt x="0" y="25"/>
                  </a:moveTo>
                  <a:cubicBezTo>
                    <a:pt x="20" y="25"/>
                    <a:pt x="20" y="25"/>
                    <a:pt x="20" y="25"/>
                  </a:cubicBezTo>
                  <a:cubicBezTo>
                    <a:pt x="20" y="33"/>
                    <a:pt x="20" y="33"/>
                    <a:pt x="20" y="33"/>
                  </a:cubicBezTo>
                  <a:cubicBezTo>
                    <a:pt x="0" y="33"/>
                    <a:pt x="0" y="33"/>
                    <a:pt x="0" y="33"/>
                  </a:cubicBezTo>
                  <a:lnTo>
                    <a:pt x="0" y="25"/>
                  </a:lnTo>
                  <a:close/>
                  <a:moveTo>
                    <a:pt x="40" y="33"/>
                  </a:moveTo>
                  <a:cubicBezTo>
                    <a:pt x="60" y="33"/>
                    <a:pt x="60" y="33"/>
                    <a:pt x="60" y="33"/>
                  </a:cubicBezTo>
                  <a:cubicBezTo>
                    <a:pt x="60" y="25"/>
                    <a:pt x="60" y="25"/>
                    <a:pt x="60" y="25"/>
                  </a:cubicBezTo>
                  <a:cubicBezTo>
                    <a:pt x="40" y="25"/>
                    <a:pt x="40" y="25"/>
                    <a:pt x="40" y="25"/>
                  </a:cubicBezTo>
                  <a:lnTo>
                    <a:pt x="40" y="33"/>
                  </a:lnTo>
                  <a:close/>
                  <a:moveTo>
                    <a:pt x="120" y="33"/>
                  </a:moveTo>
                  <a:cubicBezTo>
                    <a:pt x="140" y="33"/>
                    <a:pt x="140" y="33"/>
                    <a:pt x="140" y="33"/>
                  </a:cubicBezTo>
                  <a:cubicBezTo>
                    <a:pt x="140" y="25"/>
                    <a:pt x="140" y="25"/>
                    <a:pt x="140" y="25"/>
                  </a:cubicBezTo>
                  <a:cubicBezTo>
                    <a:pt x="120" y="25"/>
                    <a:pt x="120" y="25"/>
                    <a:pt x="120" y="25"/>
                  </a:cubicBezTo>
                  <a:lnTo>
                    <a:pt x="120" y="33"/>
                  </a:lnTo>
                  <a:close/>
                  <a:moveTo>
                    <a:pt x="80" y="33"/>
                  </a:moveTo>
                  <a:cubicBezTo>
                    <a:pt x="100" y="33"/>
                    <a:pt x="100" y="33"/>
                    <a:pt x="100" y="33"/>
                  </a:cubicBezTo>
                  <a:cubicBezTo>
                    <a:pt x="100" y="25"/>
                    <a:pt x="100" y="25"/>
                    <a:pt x="100" y="25"/>
                  </a:cubicBezTo>
                  <a:cubicBezTo>
                    <a:pt x="80" y="25"/>
                    <a:pt x="80" y="25"/>
                    <a:pt x="80" y="25"/>
                  </a:cubicBezTo>
                  <a:lnTo>
                    <a:pt x="80" y="33"/>
                  </a:lnTo>
                  <a:close/>
                  <a:moveTo>
                    <a:pt x="207" y="26"/>
                  </a:moveTo>
                  <a:cubicBezTo>
                    <a:pt x="181" y="0"/>
                    <a:pt x="181" y="0"/>
                    <a:pt x="181" y="0"/>
                  </a:cubicBezTo>
                  <a:cubicBezTo>
                    <a:pt x="175" y="6"/>
                    <a:pt x="175" y="6"/>
                    <a:pt x="175" y="6"/>
                  </a:cubicBezTo>
                  <a:cubicBezTo>
                    <a:pt x="195" y="25"/>
                    <a:pt x="195" y="25"/>
                    <a:pt x="195" y="25"/>
                  </a:cubicBezTo>
                  <a:cubicBezTo>
                    <a:pt x="160" y="25"/>
                    <a:pt x="160" y="25"/>
                    <a:pt x="160" y="25"/>
                  </a:cubicBezTo>
                  <a:cubicBezTo>
                    <a:pt x="160" y="33"/>
                    <a:pt x="160" y="33"/>
                    <a:pt x="160" y="33"/>
                  </a:cubicBezTo>
                  <a:cubicBezTo>
                    <a:pt x="195" y="33"/>
                    <a:pt x="195" y="33"/>
                    <a:pt x="195" y="33"/>
                  </a:cubicBezTo>
                  <a:cubicBezTo>
                    <a:pt x="175" y="52"/>
                    <a:pt x="175" y="52"/>
                    <a:pt x="175" y="52"/>
                  </a:cubicBezTo>
                  <a:cubicBezTo>
                    <a:pt x="181" y="58"/>
                    <a:pt x="181" y="58"/>
                    <a:pt x="181" y="58"/>
                  </a:cubicBezTo>
                  <a:cubicBezTo>
                    <a:pt x="207" y="32"/>
                    <a:pt x="207" y="32"/>
                    <a:pt x="207" y="32"/>
                  </a:cubicBezTo>
                  <a:cubicBezTo>
                    <a:pt x="209" y="30"/>
                    <a:pt x="209" y="28"/>
                    <a:pt x="207"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07"/>
              <a:endParaRPr lang="en-US" dirty="0">
                <a:solidFill>
                  <a:srgbClr val="FFFFFF"/>
                </a:solidFill>
              </a:endParaRPr>
            </a:p>
          </p:txBody>
        </p:sp>
      </p:grpSp>
    </p:spTree>
    <p:extLst>
      <p:ext uri="{BB962C8B-B14F-4D97-AF65-F5344CB8AC3E}">
        <p14:creationId xmlns:p14="http://schemas.microsoft.com/office/powerpoint/2010/main" val="413690465"/>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9"/>
            <a:ext cx="8363938" cy="457049"/>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2"/>
            <a:ext cx="8363938" cy="150041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82987810"/>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89436" y="1085852"/>
            <a:ext cx="8363938" cy="150041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18642850"/>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8"/>
            <a:ext cx="4115872" cy="1323439"/>
          </a:xfrm>
        </p:spPr>
        <p:txBody>
          <a:bodyPr/>
          <a:lstStyle>
            <a:lvl1pPr marL="254921" indent="-254921">
              <a:lnSpc>
                <a:spcPct val="90000"/>
              </a:lnSpc>
              <a:defRPr sz="2100"/>
            </a:lvl1pPr>
            <a:lvl2pPr marL="504882" indent="-244011">
              <a:lnSpc>
                <a:spcPct val="90000"/>
              </a:lnSpc>
              <a:defRPr sz="1800"/>
            </a:lvl2pPr>
            <a:lvl3pPr marL="715164" indent="-216236">
              <a:lnSpc>
                <a:spcPct val="90000"/>
              </a:lnSpc>
              <a:defRPr sz="1500"/>
            </a:lvl3pPr>
            <a:lvl4pPr marL="920487" indent="-205321">
              <a:lnSpc>
                <a:spcPct val="90000"/>
              </a:lnSpc>
              <a:defRPr sz="1400"/>
            </a:lvl4pPr>
            <a:lvl5pPr marL="1136723" indent="-210282">
              <a:lnSpc>
                <a:spcPct val="90000"/>
              </a:lnSpc>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8"/>
            <a:ext cx="4115872" cy="1323439"/>
          </a:xfrm>
        </p:spPr>
        <p:txBody>
          <a:bodyPr/>
          <a:lstStyle>
            <a:lvl1pPr marL="260871" indent="-260871">
              <a:lnSpc>
                <a:spcPct val="90000"/>
              </a:lnSpc>
              <a:defRPr sz="2100"/>
            </a:lvl1pPr>
            <a:lvl2pPr marL="504882" indent="-254921">
              <a:lnSpc>
                <a:spcPct val="90000"/>
              </a:lnSpc>
              <a:defRPr sz="1800"/>
            </a:lvl2pPr>
            <a:lvl3pPr marL="721118" indent="-227151">
              <a:lnSpc>
                <a:spcPct val="90000"/>
              </a:lnSpc>
              <a:defRPr sz="1500"/>
            </a:lvl3pPr>
            <a:lvl4pPr marL="920487" indent="-199368">
              <a:lnSpc>
                <a:spcPct val="90000"/>
              </a:lnSpc>
              <a:defRPr sz="1400"/>
            </a:lvl4pPr>
            <a:lvl5pPr marL="1136723" indent="-205321">
              <a:lnSpc>
                <a:spcPct val="90000"/>
              </a:lnSpc>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7904894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ustom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3" y="2390353"/>
            <a:ext cx="5373500"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3008303" y="1135856"/>
            <a:ext cx="5373500" cy="112471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5" y="1189940"/>
            <a:ext cx="4163390" cy="1033983"/>
          </a:xfrm>
        </p:spPr>
        <p:txBody>
          <a:bodyPr anchor="ctr" anchorCtr="0">
            <a:noAutofit/>
            <a:scene3d>
              <a:camera prst="orthographicFront"/>
              <a:lightRig rig="flat" dir="t"/>
            </a:scene3d>
            <a:sp3d>
              <a:contourClr>
                <a:schemeClr val="tx2"/>
              </a:contourClr>
            </a:sp3d>
          </a:bodyPr>
          <a:lstStyle>
            <a:lvl1pPr marL="0" indent="0" algn="l" defTabSz="68548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Customer</a:t>
            </a:r>
          </a:p>
        </p:txBody>
      </p:sp>
      <p:sp useBgFill="1">
        <p:nvSpPr>
          <p:cNvPr id="9" name="Left Mask"/>
          <p:cNvSpPr/>
          <p:nvPr userDrawn="1"/>
        </p:nvSpPr>
        <p:spPr bwMode="auto">
          <a:xfrm>
            <a:off x="-1" y="1135857"/>
            <a:ext cx="3008303"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3135108" y="3886211"/>
            <a:ext cx="4959201" cy="346249"/>
          </a:xfrm>
        </p:spPr>
        <p:txBody>
          <a:bodyPr>
            <a:noAutofit/>
          </a:bodyPr>
          <a:lstStyle>
            <a:lvl1pPr marL="0" indent="0" algn="l" defTabSz="68548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39" indent="0" algn="ctr">
              <a:buNone/>
              <a:defRPr>
                <a:solidFill>
                  <a:schemeClr val="tx1">
                    <a:tint val="75000"/>
                  </a:schemeClr>
                </a:solidFill>
              </a:defRPr>
            </a:lvl2pPr>
            <a:lvl3pPr marL="685487" indent="0" algn="ctr">
              <a:buNone/>
              <a:defRPr>
                <a:solidFill>
                  <a:schemeClr val="tx1">
                    <a:tint val="75000"/>
                  </a:schemeClr>
                </a:solidFill>
              </a:defRPr>
            </a:lvl3pPr>
            <a:lvl4pPr marL="1028229" indent="0" algn="ctr">
              <a:buNone/>
              <a:defRPr>
                <a:solidFill>
                  <a:schemeClr val="tx1">
                    <a:tint val="75000"/>
                  </a:schemeClr>
                </a:solidFill>
              </a:defRPr>
            </a:lvl4pPr>
            <a:lvl5pPr marL="1370975" indent="0" algn="ctr">
              <a:buNone/>
              <a:defRPr>
                <a:solidFill>
                  <a:schemeClr val="tx1">
                    <a:tint val="75000"/>
                  </a:schemeClr>
                </a:solidFill>
              </a:defRPr>
            </a:lvl5pPr>
            <a:lvl6pPr marL="1713712" indent="0" algn="ctr">
              <a:buNone/>
              <a:defRPr>
                <a:solidFill>
                  <a:schemeClr val="tx1">
                    <a:tint val="75000"/>
                  </a:schemeClr>
                </a:solidFill>
              </a:defRPr>
            </a:lvl6pPr>
            <a:lvl7pPr marL="2056459" indent="0" algn="ctr">
              <a:buNone/>
              <a:defRPr>
                <a:solidFill>
                  <a:schemeClr val="tx1">
                    <a:tint val="75000"/>
                  </a:schemeClr>
                </a:solidFill>
              </a:defRPr>
            </a:lvl7pPr>
            <a:lvl8pPr marL="2399204" indent="0" algn="ctr">
              <a:buNone/>
              <a:defRPr>
                <a:solidFill>
                  <a:schemeClr val="tx1">
                    <a:tint val="75000"/>
                  </a:schemeClr>
                </a:solidFill>
              </a:defRPr>
            </a:lvl8pPr>
            <a:lvl9pPr marL="274195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20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50" tIns="34276" rIns="68550" bIns="34276" numCol="1" anchor="t" anchorCtr="0" compatLnSpc="1">
            <a:prstTxWarp prst="textNoShape">
              <a:avLst/>
            </a:prstTxWarp>
          </a:bodyPr>
          <a:lstStyle/>
          <a:p>
            <a:endParaRPr lang="en-US" sz="1400" dirty="0"/>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1"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8381812" y="1223114"/>
            <a:ext cx="762199"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3135106" y="2390362"/>
            <a:ext cx="4959201" cy="1142621"/>
          </a:xfrm>
        </p:spPr>
        <p:txBody>
          <a:bodyPr anchor="ctr" anchorCtr="0">
            <a:noAutofit/>
          </a:bodyPr>
          <a:lstStyle>
            <a:lvl1pPr algn="l" defTabSz="685487" rtl="0" eaLnBrk="1" latinLnBrk="0" hangingPunct="1">
              <a:lnSpc>
                <a:spcPct val="90000"/>
              </a:lnSpc>
              <a:spcBef>
                <a:spcPct val="0"/>
              </a:spcBef>
              <a:buNone/>
              <a:defRPr lang="en-US" sz="3000" b="1" kern="1200" cap="none" spc="-75" baseline="0" dirty="0">
                <a:ln w="3175">
                  <a:noFill/>
                </a:ln>
                <a:solidFill>
                  <a:schemeClr val="accent2">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1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9" name="Purple Tile"/>
          <p:cNvGrpSpPr/>
          <p:nvPr userDrawn="1"/>
        </p:nvGrpSpPr>
        <p:grpSpPr>
          <a:xfrm>
            <a:off x="763409" y="2390354"/>
            <a:ext cx="2120991" cy="2120439"/>
            <a:chOff x="1022073" y="-1624298"/>
            <a:chExt cx="2827252" cy="2827252"/>
          </a:xfrm>
        </p:grpSpPr>
        <p:sp>
          <p:nvSpPr>
            <p:cNvPr id="20" name="Rectangle 19"/>
            <p:cNvSpPr/>
            <p:nvPr/>
          </p:nvSpPr>
          <p:spPr bwMode="auto">
            <a:xfrm>
              <a:off x="1022073" y="-1624298"/>
              <a:ext cx="2827252" cy="282725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1" name="Freeform 8"/>
            <p:cNvSpPr>
              <a:spLocks noEditPoints="1"/>
            </p:cNvSpPr>
            <p:nvPr/>
          </p:nvSpPr>
          <p:spPr bwMode="auto">
            <a:xfrm>
              <a:off x="1537798" y="-867430"/>
              <a:ext cx="1792288" cy="1501775"/>
            </a:xfrm>
            <a:custGeom>
              <a:avLst/>
              <a:gdLst>
                <a:gd name="T0" fmla="*/ 184 w 223"/>
                <a:gd name="T1" fmla="*/ 187 h 187"/>
                <a:gd name="T2" fmla="*/ 181 w 223"/>
                <a:gd name="T3" fmla="*/ 186 h 187"/>
                <a:gd name="T4" fmla="*/ 146 w 223"/>
                <a:gd name="T5" fmla="*/ 151 h 187"/>
                <a:gd name="T6" fmla="*/ 40 w 223"/>
                <a:gd name="T7" fmla="*/ 151 h 187"/>
                <a:gd name="T8" fmla="*/ 0 w 223"/>
                <a:gd name="T9" fmla="*/ 111 h 187"/>
                <a:gd name="T10" fmla="*/ 0 w 223"/>
                <a:gd name="T11" fmla="*/ 40 h 187"/>
                <a:gd name="T12" fmla="*/ 40 w 223"/>
                <a:gd name="T13" fmla="*/ 0 h 187"/>
                <a:gd name="T14" fmla="*/ 183 w 223"/>
                <a:gd name="T15" fmla="*/ 0 h 187"/>
                <a:gd name="T16" fmla="*/ 223 w 223"/>
                <a:gd name="T17" fmla="*/ 40 h 187"/>
                <a:gd name="T18" fmla="*/ 223 w 223"/>
                <a:gd name="T19" fmla="*/ 111 h 187"/>
                <a:gd name="T20" fmla="*/ 188 w 223"/>
                <a:gd name="T21" fmla="*/ 150 h 187"/>
                <a:gd name="T22" fmla="*/ 188 w 223"/>
                <a:gd name="T23" fmla="*/ 183 h 187"/>
                <a:gd name="T24" fmla="*/ 185 w 223"/>
                <a:gd name="T25" fmla="*/ 187 h 187"/>
                <a:gd name="T26" fmla="*/ 184 w 223"/>
                <a:gd name="T27" fmla="*/ 187 h 187"/>
                <a:gd name="T28" fmla="*/ 40 w 223"/>
                <a:gd name="T29" fmla="*/ 8 h 187"/>
                <a:gd name="T30" fmla="*/ 8 w 223"/>
                <a:gd name="T31" fmla="*/ 40 h 187"/>
                <a:gd name="T32" fmla="*/ 8 w 223"/>
                <a:gd name="T33" fmla="*/ 111 h 187"/>
                <a:gd name="T34" fmla="*/ 40 w 223"/>
                <a:gd name="T35" fmla="*/ 143 h 187"/>
                <a:gd name="T36" fmla="*/ 148 w 223"/>
                <a:gd name="T37" fmla="*/ 143 h 187"/>
                <a:gd name="T38" fmla="*/ 151 w 223"/>
                <a:gd name="T39" fmla="*/ 144 h 187"/>
                <a:gd name="T40" fmla="*/ 180 w 223"/>
                <a:gd name="T41" fmla="*/ 173 h 187"/>
                <a:gd name="T42" fmla="*/ 180 w 223"/>
                <a:gd name="T43" fmla="*/ 147 h 187"/>
                <a:gd name="T44" fmla="*/ 184 w 223"/>
                <a:gd name="T45" fmla="*/ 143 h 187"/>
                <a:gd name="T46" fmla="*/ 215 w 223"/>
                <a:gd name="T47" fmla="*/ 111 h 187"/>
                <a:gd name="T48" fmla="*/ 215 w 223"/>
                <a:gd name="T49" fmla="*/ 40 h 187"/>
                <a:gd name="T50" fmla="*/ 183 w 223"/>
                <a:gd name="T51" fmla="*/ 8 h 187"/>
                <a:gd name="T52" fmla="*/ 40 w 223"/>
                <a:gd name="T53" fmla="*/ 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3" h="187">
                  <a:moveTo>
                    <a:pt x="184" y="187"/>
                  </a:moveTo>
                  <a:cubicBezTo>
                    <a:pt x="183" y="187"/>
                    <a:pt x="182" y="187"/>
                    <a:pt x="181" y="186"/>
                  </a:cubicBezTo>
                  <a:cubicBezTo>
                    <a:pt x="146" y="151"/>
                    <a:pt x="146" y="151"/>
                    <a:pt x="146" y="151"/>
                  </a:cubicBezTo>
                  <a:cubicBezTo>
                    <a:pt x="40" y="151"/>
                    <a:pt x="40" y="151"/>
                    <a:pt x="40" y="151"/>
                  </a:cubicBezTo>
                  <a:cubicBezTo>
                    <a:pt x="18" y="151"/>
                    <a:pt x="0" y="133"/>
                    <a:pt x="0" y="111"/>
                  </a:cubicBezTo>
                  <a:cubicBezTo>
                    <a:pt x="0" y="40"/>
                    <a:pt x="0" y="40"/>
                    <a:pt x="0" y="40"/>
                  </a:cubicBezTo>
                  <a:cubicBezTo>
                    <a:pt x="0" y="18"/>
                    <a:pt x="18" y="0"/>
                    <a:pt x="40" y="0"/>
                  </a:cubicBezTo>
                  <a:cubicBezTo>
                    <a:pt x="183" y="0"/>
                    <a:pt x="183" y="0"/>
                    <a:pt x="183" y="0"/>
                  </a:cubicBezTo>
                  <a:cubicBezTo>
                    <a:pt x="205" y="0"/>
                    <a:pt x="223" y="18"/>
                    <a:pt x="223" y="40"/>
                  </a:cubicBezTo>
                  <a:cubicBezTo>
                    <a:pt x="223" y="111"/>
                    <a:pt x="223" y="111"/>
                    <a:pt x="223" y="111"/>
                  </a:cubicBezTo>
                  <a:cubicBezTo>
                    <a:pt x="223" y="132"/>
                    <a:pt x="208" y="148"/>
                    <a:pt x="188" y="150"/>
                  </a:cubicBezTo>
                  <a:cubicBezTo>
                    <a:pt x="188" y="183"/>
                    <a:pt x="188" y="183"/>
                    <a:pt x="188" y="183"/>
                  </a:cubicBezTo>
                  <a:cubicBezTo>
                    <a:pt x="188" y="185"/>
                    <a:pt x="187" y="186"/>
                    <a:pt x="185" y="187"/>
                  </a:cubicBezTo>
                  <a:cubicBezTo>
                    <a:pt x="185" y="187"/>
                    <a:pt x="184" y="187"/>
                    <a:pt x="184" y="187"/>
                  </a:cubicBezTo>
                  <a:moveTo>
                    <a:pt x="40" y="8"/>
                  </a:moveTo>
                  <a:cubicBezTo>
                    <a:pt x="22" y="8"/>
                    <a:pt x="8" y="23"/>
                    <a:pt x="8" y="40"/>
                  </a:cubicBezTo>
                  <a:cubicBezTo>
                    <a:pt x="8" y="111"/>
                    <a:pt x="8" y="111"/>
                    <a:pt x="8" y="111"/>
                  </a:cubicBezTo>
                  <a:cubicBezTo>
                    <a:pt x="8" y="128"/>
                    <a:pt x="22" y="143"/>
                    <a:pt x="40" y="143"/>
                  </a:cubicBezTo>
                  <a:cubicBezTo>
                    <a:pt x="148" y="143"/>
                    <a:pt x="148" y="143"/>
                    <a:pt x="148" y="143"/>
                  </a:cubicBezTo>
                  <a:cubicBezTo>
                    <a:pt x="149" y="143"/>
                    <a:pt x="150" y="143"/>
                    <a:pt x="151" y="144"/>
                  </a:cubicBezTo>
                  <a:cubicBezTo>
                    <a:pt x="180" y="173"/>
                    <a:pt x="180" y="173"/>
                    <a:pt x="180" y="173"/>
                  </a:cubicBezTo>
                  <a:cubicBezTo>
                    <a:pt x="180" y="147"/>
                    <a:pt x="180" y="147"/>
                    <a:pt x="180" y="147"/>
                  </a:cubicBezTo>
                  <a:cubicBezTo>
                    <a:pt x="180" y="144"/>
                    <a:pt x="182" y="143"/>
                    <a:pt x="184" y="143"/>
                  </a:cubicBezTo>
                  <a:cubicBezTo>
                    <a:pt x="201" y="143"/>
                    <a:pt x="215" y="129"/>
                    <a:pt x="215" y="111"/>
                  </a:cubicBezTo>
                  <a:cubicBezTo>
                    <a:pt x="215" y="40"/>
                    <a:pt x="215" y="40"/>
                    <a:pt x="215" y="40"/>
                  </a:cubicBezTo>
                  <a:cubicBezTo>
                    <a:pt x="215" y="23"/>
                    <a:pt x="200" y="8"/>
                    <a:pt x="183" y="8"/>
                  </a:cubicBezTo>
                  <a:lnTo>
                    <a:pt x="4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spTree>
    <p:extLst>
      <p:ext uri="{BB962C8B-B14F-4D97-AF65-F5344CB8AC3E}">
        <p14:creationId xmlns:p14="http://schemas.microsoft.com/office/powerpoint/2010/main" val="2457423112"/>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389436" y="1055212"/>
            <a:ext cx="4115872" cy="263149"/>
          </a:xfrm>
        </p:spPr>
        <p:txBody>
          <a:bodyPr anchor="b"/>
          <a:lstStyle>
            <a:lvl1pPr marL="0" indent="0">
              <a:lnSpc>
                <a:spcPct val="90000"/>
              </a:lnSpc>
              <a:spcBef>
                <a:spcPts val="0"/>
              </a:spcBef>
              <a:buNone/>
              <a:defRPr sz="1900" b="1"/>
            </a:lvl1pPr>
            <a:lvl2pPr marL="342799" indent="0">
              <a:buNone/>
              <a:defRPr sz="1500" b="1"/>
            </a:lvl2pPr>
            <a:lvl3pPr marL="685607" indent="0">
              <a:buNone/>
              <a:defRPr sz="1400" b="1"/>
            </a:lvl3pPr>
            <a:lvl4pPr marL="1028409" indent="0">
              <a:buNone/>
              <a:defRPr sz="1200" b="1"/>
            </a:lvl4pPr>
            <a:lvl5pPr marL="1371215" indent="0">
              <a:buNone/>
              <a:defRPr sz="1200" b="1"/>
            </a:lvl5pPr>
            <a:lvl6pPr marL="1714012" indent="0">
              <a:buNone/>
              <a:defRPr sz="1200" b="1"/>
            </a:lvl6pPr>
            <a:lvl7pPr marL="2056820" indent="0">
              <a:buNone/>
              <a:defRPr sz="1200" b="1"/>
            </a:lvl7pPr>
            <a:lvl8pPr marL="2399624" indent="0">
              <a:buNone/>
              <a:defRPr sz="1200" b="1"/>
            </a:lvl8pPr>
            <a:lvl9pPr marL="2742429"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600209"/>
            <a:ext cx="4114800" cy="1166473"/>
          </a:xfrm>
        </p:spPr>
        <p:txBody>
          <a:bodyPr/>
          <a:lstStyle>
            <a:lvl1pPr marL="211275" indent="-211275">
              <a:defRPr sz="1700"/>
            </a:lvl1pPr>
            <a:lvl2pPr marL="421558" indent="-199368">
              <a:defRPr sz="1500"/>
            </a:lvl2pPr>
            <a:lvl3pPr marL="610023" indent="-182512">
              <a:defRPr sz="1400"/>
            </a:lvl3pPr>
            <a:lvl4pPr marL="787574" indent="-171602">
              <a:defRPr sz="1300"/>
            </a:lvl4pPr>
            <a:lvl5pPr marL="959175" indent="-154742">
              <a:defRPr sz="13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55212"/>
            <a:ext cx="4115872" cy="263149"/>
          </a:xfrm>
        </p:spPr>
        <p:txBody>
          <a:bodyPr anchor="b"/>
          <a:lstStyle>
            <a:lvl1pPr marL="0" indent="0">
              <a:lnSpc>
                <a:spcPct val="90000"/>
              </a:lnSpc>
              <a:spcBef>
                <a:spcPts val="0"/>
              </a:spcBef>
              <a:buNone/>
              <a:defRPr sz="1900" b="1"/>
            </a:lvl1pPr>
            <a:lvl2pPr marL="342799" indent="0">
              <a:buNone/>
              <a:defRPr sz="1500" b="1"/>
            </a:lvl2pPr>
            <a:lvl3pPr marL="685607" indent="0">
              <a:buNone/>
              <a:defRPr sz="1400" b="1"/>
            </a:lvl3pPr>
            <a:lvl4pPr marL="1028409" indent="0">
              <a:buNone/>
              <a:defRPr sz="1200" b="1"/>
            </a:lvl4pPr>
            <a:lvl5pPr marL="1371215" indent="0">
              <a:buNone/>
              <a:defRPr sz="1200" b="1"/>
            </a:lvl5pPr>
            <a:lvl6pPr marL="1714012" indent="0">
              <a:buNone/>
              <a:defRPr sz="1200" b="1"/>
            </a:lvl6pPr>
            <a:lvl7pPr marL="2056820" indent="0">
              <a:buNone/>
              <a:defRPr sz="1200" b="1"/>
            </a:lvl7pPr>
            <a:lvl8pPr marL="2399624" indent="0">
              <a:buNone/>
              <a:defRPr sz="1200" b="1"/>
            </a:lvl8pPr>
            <a:lvl9pPr marL="2742429"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600201"/>
            <a:ext cx="4115872" cy="1183964"/>
          </a:xfrm>
        </p:spPr>
        <p:txBody>
          <a:bodyPr/>
          <a:lstStyle>
            <a:lvl1pPr marL="222189" indent="-222189">
              <a:defRPr sz="1700"/>
            </a:lvl1pPr>
            <a:lvl2pPr marL="427511" indent="-205321">
              <a:defRPr sz="1500"/>
            </a:lvl2pPr>
            <a:lvl3pPr marL="615976" indent="-183504">
              <a:defRPr sz="1400"/>
            </a:lvl3pPr>
            <a:lvl4pPr marL="787574" indent="-177551">
              <a:defRPr sz="1300"/>
            </a:lvl4pPr>
            <a:lvl5pPr marL="959175" indent="-165648">
              <a:defRPr sz="13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69213779"/>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620097607"/>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14516993"/>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blank" preserve="1">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5386150"/>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blank" preserve="1">
  <p:cSld name="MS_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2356707"/>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52"/>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73213310"/>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52"/>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66" tIns="57128" rIns="114266" bIns="57128"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10983404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27"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29"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Fuschia Tile"/>
          <p:cNvGrpSpPr/>
          <p:nvPr userDrawn="1"/>
        </p:nvGrpSpPr>
        <p:grpSpPr>
          <a:xfrm>
            <a:off x="762580" y="2388950"/>
            <a:ext cx="994669" cy="994410"/>
            <a:chOff x="1071620" y="3044261"/>
            <a:chExt cx="1325880" cy="1325880"/>
          </a:xfrm>
        </p:grpSpPr>
        <p:sp>
          <p:nvSpPr>
            <p:cNvPr id="32" name="Rectangle 31"/>
            <p:cNvSpPr/>
            <p:nvPr/>
          </p:nvSpPr>
          <p:spPr bwMode="auto">
            <a:xfrm>
              <a:off x="1071620" y="3044261"/>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3"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93"/>
              <a:endParaRPr lang="en-US">
                <a:solidFill>
                  <a:srgbClr val="FFFFFF"/>
                </a:solidFill>
              </a:endParaRPr>
            </a:p>
          </p:txBody>
        </p:sp>
      </p:grpSp>
      <p:grpSp>
        <p:nvGrpSpPr>
          <p:cNvPr id="34" name="Orange Tile"/>
          <p:cNvGrpSpPr/>
          <p:nvPr userDrawn="1"/>
        </p:nvGrpSpPr>
        <p:grpSpPr>
          <a:xfrm>
            <a:off x="1886044" y="2388950"/>
            <a:ext cx="994669" cy="994410"/>
            <a:chOff x="2487267" y="3044261"/>
            <a:chExt cx="1325880" cy="1325880"/>
          </a:xfrm>
        </p:grpSpPr>
        <p:sp>
          <p:nvSpPr>
            <p:cNvPr id="35" name="Rectangle 34"/>
            <p:cNvSpPr/>
            <p:nvPr/>
          </p:nvSpPr>
          <p:spPr bwMode="auto">
            <a:xfrm>
              <a:off x="2487267" y="3044261"/>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6" name="Freeform 30"/>
            <p:cNvSpPr>
              <a:spLocks noEditPoints="1"/>
            </p:cNvSpPr>
            <p:nvPr/>
          </p:nvSpPr>
          <p:spPr bwMode="auto">
            <a:xfrm>
              <a:off x="2774763" y="3284926"/>
              <a:ext cx="750888" cy="844550"/>
            </a:xfrm>
            <a:custGeom>
              <a:avLst/>
              <a:gdLst>
                <a:gd name="T0" fmla="*/ 15 w 200"/>
                <a:gd name="T1" fmla="*/ 0 h 225"/>
                <a:gd name="T2" fmla="*/ 11 w 200"/>
                <a:gd name="T3" fmla="*/ 17 h 225"/>
                <a:gd name="T4" fmla="*/ 11 w 200"/>
                <a:gd name="T5" fmla="*/ 35 h 225"/>
                <a:gd name="T6" fmla="*/ 0 w 200"/>
                <a:gd name="T7" fmla="*/ 55 h 225"/>
                <a:gd name="T8" fmla="*/ 11 w 200"/>
                <a:gd name="T9" fmla="*/ 75 h 225"/>
                <a:gd name="T10" fmla="*/ 11 w 200"/>
                <a:gd name="T11" fmla="*/ 94 h 225"/>
                <a:gd name="T12" fmla="*/ 0 w 200"/>
                <a:gd name="T13" fmla="*/ 114 h 225"/>
                <a:gd name="T14" fmla="*/ 11 w 200"/>
                <a:gd name="T15" fmla="*/ 134 h 225"/>
                <a:gd name="T16" fmla="*/ 11 w 200"/>
                <a:gd name="T17" fmla="*/ 153 h 225"/>
                <a:gd name="T18" fmla="*/ 0 w 200"/>
                <a:gd name="T19" fmla="*/ 173 h 225"/>
                <a:gd name="T20" fmla="*/ 11 w 200"/>
                <a:gd name="T21" fmla="*/ 193 h 225"/>
                <a:gd name="T22" fmla="*/ 11 w 200"/>
                <a:gd name="T23" fmla="*/ 211 h 225"/>
                <a:gd name="T24" fmla="*/ 15 w 200"/>
                <a:gd name="T25" fmla="*/ 225 h 225"/>
                <a:gd name="T26" fmla="*/ 200 w 200"/>
                <a:gd name="T27" fmla="*/ 185 h 225"/>
                <a:gd name="T28" fmla="*/ 160 w 200"/>
                <a:gd name="T29" fmla="*/ 0 h 225"/>
                <a:gd name="T30" fmla="*/ 11 w 200"/>
                <a:gd name="T31" fmla="*/ 25 h 225"/>
                <a:gd name="T32" fmla="*/ 8 w 200"/>
                <a:gd name="T33" fmla="*/ 26 h 225"/>
                <a:gd name="T34" fmla="*/ 11 w 200"/>
                <a:gd name="T35" fmla="*/ 54 h 225"/>
                <a:gd name="T36" fmla="*/ 8 w 200"/>
                <a:gd name="T37" fmla="*/ 55 h 225"/>
                <a:gd name="T38" fmla="*/ 11 w 200"/>
                <a:gd name="T39" fmla="*/ 83 h 225"/>
                <a:gd name="T40" fmla="*/ 8 w 200"/>
                <a:gd name="T41" fmla="*/ 85 h 225"/>
                <a:gd name="T42" fmla="*/ 11 w 200"/>
                <a:gd name="T43" fmla="*/ 113 h 225"/>
                <a:gd name="T44" fmla="*/ 8 w 200"/>
                <a:gd name="T45" fmla="*/ 114 h 225"/>
                <a:gd name="T46" fmla="*/ 11 w 200"/>
                <a:gd name="T47" fmla="*/ 142 h 225"/>
                <a:gd name="T48" fmla="*/ 8 w 200"/>
                <a:gd name="T49" fmla="*/ 143 h 225"/>
                <a:gd name="T50" fmla="*/ 11 w 200"/>
                <a:gd name="T51" fmla="*/ 171 h 225"/>
                <a:gd name="T52" fmla="*/ 8 w 200"/>
                <a:gd name="T53" fmla="*/ 173 h 225"/>
                <a:gd name="T54" fmla="*/ 11 w 200"/>
                <a:gd name="T55" fmla="*/ 201 h 225"/>
                <a:gd name="T56" fmla="*/ 8 w 200"/>
                <a:gd name="T57" fmla="*/ 202 h 225"/>
                <a:gd name="T58" fmla="*/ 160 w 200"/>
                <a:gd name="T59" fmla="*/ 217 h 225"/>
                <a:gd name="T60" fmla="*/ 19 w 200"/>
                <a:gd name="T61" fmla="*/ 201 h 225"/>
                <a:gd name="T62" fmla="*/ 21 w 200"/>
                <a:gd name="T63" fmla="*/ 205 h 225"/>
                <a:gd name="T64" fmla="*/ 27 w 200"/>
                <a:gd name="T65" fmla="*/ 198 h 225"/>
                <a:gd name="T66" fmla="*/ 19 w 200"/>
                <a:gd name="T67" fmla="*/ 172 h 225"/>
                <a:gd name="T68" fmla="*/ 21 w 200"/>
                <a:gd name="T69" fmla="*/ 175 h 225"/>
                <a:gd name="T70" fmla="*/ 27 w 200"/>
                <a:gd name="T71" fmla="*/ 168 h 225"/>
                <a:gd name="T72" fmla="*/ 19 w 200"/>
                <a:gd name="T73" fmla="*/ 142 h 225"/>
                <a:gd name="T74" fmla="*/ 21 w 200"/>
                <a:gd name="T75" fmla="*/ 146 h 225"/>
                <a:gd name="T76" fmla="*/ 27 w 200"/>
                <a:gd name="T77" fmla="*/ 139 h 225"/>
                <a:gd name="T78" fmla="*/ 19 w 200"/>
                <a:gd name="T79" fmla="*/ 113 h 225"/>
                <a:gd name="T80" fmla="*/ 21 w 200"/>
                <a:gd name="T81" fmla="*/ 117 h 225"/>
                <a:gd name="T82" fmla="*/ 27 w 200"/>
                <a:gd name="T83" fmla="*/ 110 h 225"/>
                <a:gd name="T84" fmla="*/ 19 w 200"/>
                <a:gd name="T85" fmla="*/ 83 h 225"/>
                <a:gd name="T86" fmla="*/ 21 w 200"/>
                <a:gd name="T87" fmla="*/ 87 h 225"/>
                <a:gd name="T88" fmla="*/ 27 w 200"/>
                <a:gd name="T89" fmla="*/ 80 h 225"/>
                <a:gd name="T90" fmla="*/ 19 w 200"/>
                <a:gd name="T91" fmla="*/ 54 h 225"/>
                <a:gd name="T92" fmla="*/ 21 w 200"/>
                <a:gd name="T93" fmla="*/ 58 h 225"/>
                <a:gd name="T94" fmla="*/ 27 w 200"/>
                <a:gd name="T95" fmla="*/ 51 h 225"/>
                <a:gd name="T96" fmla="*/ 19 w 200"/>
                <a:gd name="T97" fmla="*/ 25 h 225"/>
                <a:gd name="T98" fmla="*/ 21 w 200"/>
                <a:gd name="T99" fmla="*/ 29 h 225"/>
                <a:gd name="T100" fmla="*/ 27 w 200"/>
                <a:gd name="T101" fmla="*/ 22 h 225"/>
                <a:gd name="T102" fmla="*/ 19 w 200"/>
                <a:gd name="T103" fmla="*/ 8 h 225"/>
                <a:gd name="T104" fmla="*/ 192 w 200"/>
                <a:gd name="T105" fmla="*/ 4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 h="225">
                  <a:moveTo>
                    <a:pt x="160" y="0"/>
                  </a:moveTo>
                  <a:cubicBezTo>
                    <a:pt x="15" y="0"/>
                    <a:pt x="15" y="0"/>
                    <a:pt x="15" y="0"/>
                  </a:cubicBezTo>
                  <a:cubicBezTo>
                    <a:pt x="12" y="0"/>
                    <a:pt x="11" y="2"/>
                    <a:pt x="11" y="4"/>
                  </a:cubicBezTo>
                  <a:cubicBezTo>
                    <a:pt x="11" y="17"/>
                    <a:pt x="11" y="17"/>
                    <a:pt x="11" y="17"/>
                  </a:cubicBezTo>
                  <a:cubicBezTo>
                    <a:pt x="4" y="18"/>
                    <a:pt x="0" y="21"/>
                    <a:pt x="0" y="26"/>
                  </a:cubicBezTo>
                  <a:cubicBezTo>
                    <a:pt x="0" y="30"/>
                    <a:pt x="4" y="34"/>
                    <a:pt x="11" y="35"/>
                  </a:cubicBezTo>
                  <a:cubicBezTo>
                    <a:pt x="11" y="46"/>
                    <a:pt x="11" y="46"/>
                    <a:pt x="11" y="46"/>
                  </a:cubicBezTo>
                  <a:cubicBezTo>
                    <a:pt x="4" y="47"/>
                    <a:pt x="0" y="51"/>
                    <a:pt x="0" y="55"/>
                  </a:cubicBezTo>
                  <a:cubicBezTo>
                    <a:pt x="0" y="60"/>
                    <a:pt x="4" y="63"/>
                    <a:pt x="11" y="65"/>
                  </a:cubicBezTo>
                  <a:cubicBezTo>
                    <a:pt x="11" y="75"/>
                    <a:pt x="11" y="75"/>
                    <a:pt x="11" y="75"/>
                  </a:cubicBezTo>
                  <a:cubicBezTo>
                    <a:pt x="4" y="76"/>
                    <a:pt x="0" y="80"/>
                    <a:pt x="0" y="85"/>
                  </a:cubicBezTo>
                  <a:cubicBezTo>
                    <a:pt x="0" y="89"/>
                    <a:pt x="4" y="93"/>
                    <a:pt x="11" y="94"/>
                  </a:cubicBezTo>
                  <a:cubicBezTo>
                    <a:pt x="11" y="105"/>
                    <a:pt x="11" y="105"/>
                    <a:pt x="11" y="105"/>
                  </a:cubicBezTo>
                  <a:cubicBezTo>
                    <a:pt x="4" y="106"/>
                    <a:pt x="0" y="109"/>
                    <a:pt x="0" y="114"/>
                  </a:cubicBezTo>
                  <a:cubicBezTo>
                    <a:pt x="0" y="119"/>
                    <a:pt x="4" y="122"/>
                    <a:pt x="11" y="123"/>
                  </a:cubicBezTo>
                  <a:cubicBezTo>
                    <a:pt x="11" y="134"/>
                    <a:pt x="11" y="134"/>
                    <a:pt x="11" y="134"/>
                  </a:cubicBezTo>
                  <a:cubicBezTo>
                    <a:pt x="4" y="135"/>
                    <a:pt x="0" y="139"/>
                    <a:pt x="0" y="143"/>
                  </a:cubicBezTo>
                  <a:cubicBezTo>
                    <a:pt x="0" y="148"/>
                    <a:pt x="4" y="152"/>
                    <a:pt x="11" y="153"/>
                  </a:cubicBezTo>
                  <a:cubicBezTo>
                    <a:pt x="11" y="163"/>
                    <a:pt x="11" y="163"/>
                    <a:pt x="11" y="163"/>
                  </a:cubicBezTo>
                  <a:cubicBezTo>
                    <a:pt x="4" y="164"/>
                    <a:pt x="0" y="168"/>
                    <a:pt x="0" y="173"/>
                  </a:cubicBezTo>
                  <a:cubicBezTo>
                    <a:pt x="0" y="177"/>
                    <a:pt x="4" y="181"/>
                    <a:pt x="11" y="182"/>
                  </a:cubicBezTo>
                  <a:cubicBezTo>
                    <a:pt x="11" y="193"/>
                    <a:pt x="11" y="193"/>
                    <a:pt x="11" y="193"/>
                  </a:cubicBezTo>
                  <a:cubicBezTo>
                    <a:pt x="4" y="194"/>
                    <a:pt x="0" y="197"/>
                    <a:pt x="0" y="202"/>
                  </a:cubicBezTo>
                  <a:cubicBezTo>
                    <a:pt x="0" y="207"/>
                    <a:pt x="4" y="210"/>
                    <a:pt x="11" y="211"/>
                  </a:cubicBezTo>
                  <a:cubicBezTo>
                    <a:pt x="11" y="221"/>
                    <a:pt x="11" y="221"/>
                    <a:pt x="11" y="221"/>
                  </a:cubicBezTo>
                  <a:cubicBezTo>
                    <a:pt x="11" y="223"/>
                    <a:pt x="12" y="225"/>
                    <a:pt x="15" y="225"/>
                  </a:cubicBezTo>
                  <a:cubicBezTo>
                    <a:pt x="160" y="225"/>
                    <a:pt x="160" y="225"/>
                    <a:pt x="160" y="225"/>
                  </a:cubicBezTo>
                  <a:cubicBezTo>
                    <a:pt x="182" y="225"/>
                    <a:pt x="200" y="207"/>
                    <a:pt x="200" y="185"/>
                  </a:cubicBezTo>
                  <a:cubicBezTo>
                    <a:pt x="200" y="40"/>
                    <a:pt x="200" y="40"/>
                    <a:pt x="200" y="40"/>
                  </a:cubicBezTo>
                  <a:cubicBezTo>
                    <a:pt x="200" y="18"/>
                    <a:pt x="182" y="0"/>
                    <a:pt x="160" y="0"/>
                  </a:cubicBezTo>
                  <a:close/>
                  <a:moveTo>
                    <a:pt x="8" y="26"/>
                  </a:moveTo>
                  <a:cubicBezTo>
                    <a:pt x="9" y="26"/>
                    <a:pt x="9" y="25"/>
                    <a:pt x="11" y="25"/>
                  </a:cubicBezTo>
                  <a:cubicBezTo>
                    <a:pt x="11" y="27"/>
                    <a:pt x="11" y="27"/>
                    <a:pt x="11" y="27"/>
                  </a:cubicBezTo>
                  <a:cubicBezTo>
                    <a:pt x="9" y="27"/>
                    <a:pt x="9" y="26"/>
                    <a:pt x="8" y="26"/>
                  </a:cubicBezTo>
                  <a:close/>
                  <a:moveTo>
                    <a:pt x="8" y="55"/>
                  </a:moveTo>
                  <a:cubicBezTo>
                    <a:pt x="9" y="55"/>
                    <a:pt x="9" y="54"/>
                    <a:pt x="11" y="54"/>
                  </a:cubicBezTo>
                  <a:cubicBezTo>
                    <a:pt x="11" y="56"/>
                    <a:pt x="11" y="56"/>
                    <a:pt x="11" y="56"/>
                  </a:cubicBezTo>
                  <a:cubicBezTo>
                    <a:pt x="9" y="56"/>
                    <a:pt x="9" y="56"/>
                    <a:pt x="8" y="55"/>
                  </a:cubicBezTo>
                  <a:close/>
                  <a:moveTo>
                    <a:pt x="8" y="85"/>
                  </a:moveTo>
                  <a:cubicBezTo>
                    <a:pt x="9" y="84"/>
                    <a:pt x="9" y="84"/>
                    <a:pt x="11" y="83"/>
                  </a:cubicBezTo>
                  <a:cubicBezTo>
                    <a:pt x="11" y="86"/>
                    <a:pt x="11" y="86"/>
                    <a:pt x="11" y="86"/>
                  </a:cubicBezTo>
                  <a:cubicBezTo>
                    <a:pt x="9" y="85"/>
                    <a:pt x="9" y="85"/>
                    <a:pt x="8" y="85"/>
                  </a:cubicBezTo>
                  <a:close/>
                  <a:moveTo>
                    <a:pt x="8" y="114"/>
                  </a:moveTo>
                  <a:cubicBezTo>
                    <a:pt x="9" y="114"/>
                    <a:pt x="9" y="113"/>
                    <a:pt x="11" y="113"/>
                  </a:cubicBezTo>
                  <a:cubicBezTo>
                    <a:pt x="11" y="115"/>
                    <a:pt x="11" y="115"/>
                    <a:pt x="11" y="115"/>
                  </a:cubicBezTo>
                  <a:cubicBezTo>
                    <a:pt x="9" y="115"/>
                    <a:pt x="9" y="114"/>
                    <a:pt x="8" y="114"/>
                  </a:cubicBezTo>
                  <a:close/>
                  <a:moveTo>
                    <a:pt x="8" y="143"/>
                  </a:moveTo>
                  <a:cubicBezTo>
                    <a:pt x="9" y="143"/>
                    <a:pt x="9" y="142"/>
                    <a:pt x="11" y="142"/>
                  </a:cubicBezTo>
                  <a:cubicBezTo>
                    <a:pt x="11" y="144"/>
                    <a:pt x="11" y="144"/>
                    <a:pt x="11" y="144"/>
                  </a:cubicBezTo>
                  <a:cubicBezTo>
                    <a:pt x="9" y="144"/>
                    <a:pt x="9" y="144"/>
                    <a:pt x="8" y="143"/>
                  </a:cubicBezTo>
                  <a:close/>
                  <a:moveTo>
                    <a:pt x="8" y="173"/>
                  </a:moveTo>
                  <a:cubicBezTo>
                    <a:pt x="9" y="172"/>
                    <a:pt x="9" y="172"/>
                    <a:pt x="11" y="171"/>
                  </a:cubicBezTo>
                  <a:cubicBezTo>
                    <a:pt x="11" y="174"/>
                    <a:pt x="11" y="174"/>
                    <a:pt x="11" y="174"/>
                  </a:cubicBezTo>
                  <a:cubicBezTo>
                    <a:pt x="9" y="173"/>
                    <a:pt x="9" y="173"/>
                    <a:pt x="8" y="173"/>
                  </a:cubicBezTo>
                  <a:close/>
                  <a:moveTo>
                    <a:pt x="8" y="202"/>
                  </a:moveTo>
                  <a:cubicBezTo>
                    <a:pt x="9" y="202"/>
                    <a:pt x="9" y="201"/>
                    <a:pt x="11" y="201"/>
                  </a:cubicBezTo>
                  <a:cubicBezTo>
                    <a:pt x="11" y="203"/>
                    <a:pt x="11" y="203"/>
                    <a:pt x="11" y="203"/>
                  </a:cubicBezTo>
                  <a:cubicBezTo>
                    <a:pt x="9" y="203"/>
                    <a:pt x="9" y="202"/>
                    <a:pt x="8" y="202"/>
                  </a:cubicBezTo>
                  <a:close/>
                  <a:moveTo>
                    <a:pt x="192" y="185"/>
                  </a:moveTo>
                  <a:cubicBezTo>
                    <a:pt x="192" y="202"/>
                    <a:pt x="177" y="217"/>
                    <a:pt x="160" y="217"/>
                  </a:cubicBezTo>
                  <a:cubicBezTo>
                    <a:pt x="19" y="217"/>
                    <a:pt x="19" y="217"/>
                    <a:pt x="19" y="217"/>
                  </a:cubicBezTo>
                  <a:cubicBezTo>
                    <a:pt x="19" y="201"/>
                    <a:pt x="19" y="201"/>
                    <a:pt x="19" y="201"/>
                  </a:cubicBezTo>
                  <a:cubicBezTo>
                    <a:pt x="20" y="201"/>
                    <a:pt x="20" y="202"/>
                    <a:pt x="21" y="202"/>
                  </a:cubicBezTo>
                  <a:cubicBezTo>
                    <a:pt x="21" y="203"/>
                    <a:pt x="22" y="203"/>
                    <a:pt x="21" y="205"/>
                  </a:cubicBezTo>
                  <a:cubicBezTo>
                    <a:pt x="29" y="207"/>
                    <a:pt x="29" y="207"/>
                    <a:pt x="29" y="207"/>
                  </a:cubicBezTo>
                  <a:cubicBezTo>
                    <a:pt x="30" y="203"/>
                    <a:pt x="29" y="200"/>
                    <a:pt x="27" y="198"/>
                  </a:cubicBezTo>
                  <a:cubicBezTo>
                    <a:pt x="26" y="195"/>
                    <a:pt x="22" y="193"/>
                    <a:pt x="19" y="193"/>
                  </a:cubicBezTo>
                  <a:cubicBezTo>
                    <a:pt x="19" y="172"/>
                    <a:pt x="19" y="172"/>
                    <a:pt x="19" y="172"/>
                  </a:cubicBezTo>
                  <a:cubicBezTo>
                    <a:pt x="20" y="172"/>
                    <a:pt x="20" y="172"/>
                    <a:pt x="21" y="173"/>
                  </a:cubicBezTo>
                  <a:cubicBezTo>
                    <a:pt x="21" y="173"/>
                    <a:pt x="22" y="174"/>
                    <a:pt x="21" y="175"/>
                  </a:cubicBezTo>
                  <a:cubicBezTo>
                    <a:pt x="29" y="178"/>
                    <a:pt x="29" y="178"/>
                    <a:pt x="29" y="178"/>
                  </a:cubicBezTo>
                  <a:cubicBezTo>
                    <a:pt x="30" y="173"/>
                    <a:pt x="29" y="170"/>
                    <a:pt x="27" y="168"/>
                  </a:cubicBezTo>
                  <a:cubicBezTo>
                    <a:pt x="26" y="166"/>
                    <a:pt x="22" y="164"/>
                    <a:pt x="19" y="163"/>
                  </a:cubicBezTo>
                  <a:cubicBezTo>
                    <a:pt x="19" y="142"/>
                    <a:pt x="19" y="142"/>
                    <a:pt x="19" y="142"/>
                  </a:cubicBezTo>
                  <a:cubicBezTo>
                    <a:pt x="20" y="143"/>
                    <a:pt x="20" y="143"/>
                    <a:pt x="21" y="144"/>
                  </a:cubicBezTo>
                  <a:cubicBezTo>
                    <a:pt x="21" y="144"/>
                    <a:pt x="22" y="145"/>
                    <a:pt x="21" y="146"/>
                  </a:cubicBezTo>
                  <a:cubicBezTo>
                    <a:pt x="29" y="148"/>
                    <a:pt x="29" y="148"/>
                    <a:pt x="29" y="148"/>
                  </a:cubicBezTo>
                  <a:cubicBezTo>
                    <a:pt x="30" y="144"/>
                    <a:pt x="29" y="141"/>
                    <a:pt x="27" y="139"/>
                  </a:cubicBezTo>
                  <a:cubicBezTo>
                    <a:pt x="26" y="136"/>
                    <a:pt x="22" y="135"/>
                    <a:pt x="19" y="134"/>
                  </a:cubicBezTo>
                  <a:cubicBezTo>
                    <a:pt x="19" y="113"/>
                    <a:pt x="19" y="113"/>
                    <a:pt x="19" y="113"/>
                  </a:cubicBezTo>
                  <a:cubicBezTo>
                    <a:pt x="20" y="113"/>
                    <a:pt x="20" y="114"/>
                    <a:pt x="21" y="114"/>
                  </a:cubicBezTo>
                  <a:cubicBezTo>
                    <a:pt x="21" y="115"/>
                    <a:pt x="22" y="115"/>
                    <a:pt x="21" y="117"/>
                  </a:cubicBezTo>
                  <a:cubicBezTo>
                    <a:pt x="29" y="119"/>
                    <a:pt x="29" y="119"/>
                    <a:pt x="29" y="119"/>
                  </a:cubicBezTo>
                  <a:cubicBezTo>
                    <a:pt x="30" y="115"/>
                    <a:pt x="29" y="111"/>
                    <a:pt x="27" y="110"/>
                  </a:cubicBezTo>
                  <a:cubicBezTo>
                    <a:pt x="26" y="107"/>
                    <a:pt x="22" y="105"/>
                    <a:pt x="19" y="105"/>
                  </a:cubicBezTo>
                  <a:cubicBezTo>
                    <a:pt x="19" y="83"/>
                    <a:pt x="19" y="83"/>
                    <a:pt x="19" y="83"/>
                  </a:cubicBezTo>
                  <a:cubicBezTo>
                    <a:pt x="20" y="84"/>
                    <a:pt x="20" y="84"/>
                    <a:pt x="21" y="85"/>
                  </a:cubicBezTo>
                  <a:cubicBezTo>
                    <a:pt x="21" y="85"/>
                    <a:pt x="22" y="86"/>
                    <a:pt x="21" y="87"/>
                  </a:cubicBezTo>
                  <a:cubicBezTo>
                    <a:pt x="29" y="90"/>
                    <a:pt x="29" y="90"/>
                    <a:pt x="29" y="90"/>
                  </a:cubicBezTo>
                  <a:cubicBezTo>
                    <a:pt x="30" y="85"/>
                    <a:pt x="29" y="82"/>
                    <a:pt x="27" y="80"/>
                  </a:cubicBezTo>
                  <a:cubicBezTo>
                    <a:pt x="26" y="78"/>
                    <a:pt x="22" y="76"/>
                    <a:pt x="19" y="75"/>
                  </a:cubicBezTo>
                  <a:cubicBezTo>
                    <a:pt x="19" y="54"/>
                    <a:pt x="19" y="54"/>
                    <a:pt x="19" y="54"/>
                  </a:cubicBezTo>
                  <a:cubicBezTo>
                    <a:pt x="20" y="54"/>
                    <a:pt x="20" y="55"/>
                    <a:pt x="21" y="56"/>
                  </a:cubicBezTo>
                  <a:cubicBezTo>
                    <a:pt x="21" y="56"/>
                    <a:pt x="22" y="56"/>
                    <a:pt x="21" y="58"/>
                  </a:cubicBezTo>
                  <a:cubicBezTo>
                    <a:pt x="29" y="60"/>
                    <a:pt x="29" y="60"/>
                    <a:pt x="29" y="60"/>
                  </a:cubicBezTo>
                  <a:cubicBezTo>
                    <a:pt x="30" y="56"/>
                    <a:pt x="29" y="53"/>
                    <a:pt x="27" y="51"/>
                  </a:cubicBezTo>
                  <a:cubicBezTo>
                    <a:pt x="26" y="48"/>
                    <a:pt x="22" y="47"/>
                    <a:pt x="19" y="46"/>
                  </a:cubicBezTo>
                  <a:cubicBezTo>
                    <a:pt x="19" y="25"/>
                    <a:pt x="19" y="25"/>
                    <a:pt x="19" y="25"/>
                  </a:cubicBezTo>
                  <a:cubicBezTo>
                    <a:pt x="20" y="25"/>
                    <a:pt x="20" y="26"/>
                    <a:pt x="21" y="26"/>
                  </a:cubicBezTo>
                  <a:cubicBezTo>
                    <a:pt x="21" y="26"/>
                    <a:pt x="22" y="27"/>
                    <a:pt x="21" y="29"/>
                  </a:cubicBezTo>
                  <a:cubicBezTo>
                    <a:pt x="29" y="31"/>
                    <a:pt x="29" y="31"/>
                    <a:pt x="29" y="31"/>
                  </a:cubicBezTo>
                  <a:cubicBezTo>
                    <a:pt x="30" y="27"/>
                    <a:pt x="29" y="23"/>
                    <a:pt x="27" y="22"/>
                  </a:cubicBezTo>
                  <a:cubicBezTo>
                    <a:pt x="26" y="19"/>
                    <a:pt x="22" y="17"/>
                    <a:pt x="19" y="16"/>
                  </a:cubicBezTo>
                  <a:cubicBezTo>
                    <a:pt x="19" y="8"/>
                    <a:pt x="19" y="8"/>
                    <a:pt x="19" y="8"/>
                  </a:cubicBezTo>
                  <a:cubicBezTo>
                    <a:pt x="160" y="8"/>
                    <a:pt x="160" y="8"/>
                    <a:pt x="160" y="8"/>
                  </a:cubicBezTo>
                  <a:cubicBezTo>
                    <a:pt x="177" y="8"/>
                    <a:pt x="192" y="22"/>
                    <a:pt x="192" y="40"/>
                  </a:cubicBezTo>
                  <a:lnTo>
                    <a:pt x="192" y="1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93"/>
              <a:endParaRPr lang="en-US">
                <a:solidFill>
                  <a:srgbClr val="FFFFFF"/>
                </a:solidFill>
              </a:endParaRPr>
            </a:p>
          </p:txBody>
        </p:sp>
      </p:grpSp>
      <p:grpSp>
        <p:nvGrpSpPr>
          <p:cNvPr id="37" name="Teal Tile"/>
          <p:cNvGrpSpPr/>
          <p:nvPr userDrawn="1"/>
        </p:nvGrpSpPr>
        <p:grpSpPr>
          <a:xfrm>
            <a:off x="762580" y="3512121"/>
            <a:ext cx="994669" cy="994410"/>
            <a:chOff x="1020317" y="4686638"/>
            <a:chExt cx="1325880" cy="1325880"/>
          </a:xfrm>
        </p:grpSpPr>
        <p:sp>
          <p:nvSpPr>
            <p:cNvPr id="38" name="Rectangle 37"/>
            <p:cNvSpPr/>
            <p:nvPr/>
          </p:nvSpPr>
          <p:spPr bwMode="auto">
            <a:xfrm>
              <a:off x="1020317" y="468663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9" name="Freeform 13"/>
            <p:cNvSpPr>
              <a:spLocks noEditPoints="1"/>
            </p:cNvSpPr>
            <p:nvPr/>
          </p:nvSpPr>
          <p:spPr bwMode="auto">
            <a:xfrm>
              <a:off x="1455948" y="4930478"/>
              <a:ext cx="454618" cy="838200"/>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685693"/>
              <a:endParaRPr lang="en-US">
                <a:solidFill>
                  <a:srgbClr val="FFFFFF"/>
                </a:solidFill>
              </a:endParaRPr>
            </a:p>
          </p:txBody>
        </p:sp>
      </p:grpSp>
      <p:grpSp>
        <p:nvGrpSpPr>
          <p:cNvPr id="5" name="Green Tile"/>
          <p:cNvGrpSpPr/>
          <p:nvPr userDrawn="1"/>
        </p:nvGrpSpPr>
        <p:grpSpPr>
          <a:xfrm>
            <a:off x="1886044" y="3512121"/>
            <a:ext cx="994669" cy="994410"/>
            <a:chOff x="2514069" y="4682828"/>
            <a:chExt cx="1325880" cy="1325880"/>
          </a:xfrm>
        </p:grpSpPr>
        <p:sp>
          <p:nvSpPr>
            <p:cNvPr id="41" name="Rectangle 40"/>
            <p:cNvSpPr/>
            <p:nvPr/>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46" name="Freeform 73"/>
            <p:cNvSpPr>
              <a:spLocks noEditPoints="1"/>
            </p:cNvSpPr>
            <p:nvPr userDrawn="1"/>
          </p:nvSpPr>
          <p:spPr bwMode="auto">
            <a:xfrm>
              <a:off x="2757463" y="5062311"/>
              <a:ext cx="839092" cy="702557"/>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685693"/>
              <a:endParaRPr lang="en-US">
                <a:solidFill>
                  <a:srgbClr val="FFFFFF"/>
                </a:solidFill>
              </a:endParaRPr>
            </a:p>
          </p:txBody>
        </p:sp>
      </p:grpSp>
      <p:sp useBgFill="1">
        <p:nvSpPr>
          <p:cNvPr id="4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44" name="Right Mask"/>
          <p:cNvSpPr/>
          <p:nvPr userDrawn="1"/>
        </p:nvSpPr>
        <p:spPr bwMode="auto">
          <a:xfrm>
            <a:off x="8381803" y="1223109"/>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6906" y="2423981"/>
            <a:ext cx="5040038" cy="924348"/>
          </a:xfrm>
        </p:spPr>
        <p:txBody>
          <a:bodyPr anchor="ctr">
            <a:noAutofit/>
          </a:bodyPr>
          <a:lstStyle>
            <a:lvl1pPr algn="l" defTabSz="685693"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3136907" y="3771907"/>
            <a:ext cx="5154369" cy="347441"/>
          </a:xfrm>
        </p:spPr>
        <p:txBody>
          <a:bodyPr>
            <a:noAutofit/>
          </a:bodyPr>
          <a:lstStyle>
            <a:lvl1pPr marL="0" indent="0" algn="l" defTabSz="685693"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useBgFill="1">
        <p:nvSpPr>
          <p:cNvPr id="45" name="Bottom Mask"/>
          <p:cNvSpPr/>
          <p:nvPr userDrawn="1"/>
        </p:nvSpPr>
        <p:spPr bwMode="auto">
          <a:xfrm>
            <a:off x="1" y="4507707"/>
            <a:ext cx="9144001"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6" name="Content Placeholder 5"/>
          <p:cNvSpPr>
            <a:spLocks noGrp="1"/>
          </p:cNvSpPr>
          <p:nvPr>
            <p:ph sz="quarter" idx="10" hasCustomPrompt="1"/>
          </p:nvPr>
        </p:nvSpPr>
        <p:spPr>
          <a:xfrm>
            <a:off x="388745" y="171453"/>
            <a:ext cx="1114714" cy="197362"/>
          </a:xfrm>
        </p:spPr>
        <p:txBody>
          <a:bodyPr/>
          <a:lstStyle>
            <a:lvl1pPr marL="0" indent="0">
              <a:buNone/>
              <a:defRPr sz="1400" baseline="0"/>
            </a:lvl1pPr>
          </a:lstStyle>
          <a:p>
            <a:pPr lvl="0"/>
            <a:r>
              <a:rPr lang="en-US" dirty="0" smtClean="0"/>
              <a:t>Session Code</a:t>
            </a:r>
            <a:endParaRPr lang="en-US" dirty="0"/>
          </a:p>
        </p:txBody>
      </p:sp>
    </p:spTree>
    <p:extLst>
      <p:ext uri="{BB962C8B-B14F-4D97-AF65-F5344CB8AC3E}">
        <p14:creationId xmlns:p14="http://schemas.microsoft.com/office/powerpoint/2010/main" val="1612734037"/>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93"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Demo</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6"/>
            <a:ext cx="4959201" cy="346249"/>
          </a:xfrm>
        </p:spPr>
        <p:txBody>
          <a:bodyPr>
            <a:noAutofit/>
          </a:bodyPr>
          <a:lstStyle>
            <a:lvl1pPr marL="0" indent="0" algn="l" defTabSz="685693"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9"/>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grpSp>
        <p:nvGrpSpPr>
          <p:cNvPr id="16" name="Demo Tile"/>
          <p:cNvGrpSpPr/>
          <p:nvPr userDrawn="1"/>
        </p:nvGrpSpPr>
        <p:grpSpPr>
          <a:xfrm>
            <a:off x="763409" y="2390915"/>
            <a:ext cx="2120991" cy="2120439"/>
            <a:chOff x="1022073" y="-1135906"/>
            <a:chExt cx="2827252" cy="2827252"/>
          </a:xfrm>
        </p:grpSpPr>
        <p:sp>
          <p:nvSpPr>
            <p:cNvPr id="17" name="Rectangle 16"/>
            <p:cNvSpPr/>
            <p:nvPr/>
          </p:nvSpPr>
          <p:spPr bwMode="auto">
            <a:xfrm>
              <a:off x="1022073" y="-1135906"/>
              <a:ext cx="2827252" cy="282725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18" name="Light bulb Icon"/>
            <p:cNvSpPr>
              <a:spLocks noEditPoints="1"/>
            </p:cNvSpPr>
            <p:nvPr/>
          </p:nvSpPr>
          <p:spPr bwMode="auto">
            <a:xfrm>
              <a:off x="1945077" y="-620805"/>
              <a:ext cx="979488" cy="1797050"/>
            </a:xfrm>
            <a:custGeom>
              <a:avLst/>
              <a:gdLst>
                <a:gd name="T0" fmla="*/ 18 w 122"/>
                <a:gd name="T1" fmla="*/ 137 h 224"/>
                <a:gd name="T2" fmla="*/ 105 w 122"/>
                <a:gd name="T3" fmla="*/ 22 h 224"/>
                <a:gd name="T4" fmla="*/ 119 w 122"/>
                <a:gd name="T5" fmla="*/ 29 h 224"/>
                <a:gd name="T6" fmla="*/ 119 w 122"/>
                <a:gd name="T7" fmla="*/ 41 h 224"/>
                <a:gd name="T8" fmla="*/ 17 w 122"/>
                <a:gd name="T9" fmla="*/ 75 h 224"/>
                <a:gd name="T10" fmla="*/ 14 w 122"/>
                <a:gd name="T11" fmla="*/ 76 h 224"/>
                <a:gd name="T12" fmla="*/ 2 w 122"/>
                <a:gd name="T13" fmla="*/ 64 h 224"/>
                <a:gd name="T14" fmla="*/ 10 w 122"/>
                <a:gd name="T15" fmla="*/ 50 h 224"/>
                <a:gd name="T16" fmla="*/ 8 w 122"/>
                <a:gd name="T17" fmla="*/ 58 h 224"/>
                <a:gd name="T18" fmla="*/ 9 w 122"/>
                <a:gd name="T19" fmla="*/ 66 h 224"/>
                <a:gd name="T20" fmla="*/ 14 w 122"/>
                <a:gd name="T21" fmla="*/ 70 h 224"/>
                <a:gd name="T22" fmla="*/ 111 w 122"/>
                <a:gd name="T23" fmla="*/ 41 h 224"/>
                <a:gd name="T24" fmla="*/ 115 w 122"/>
                <a:gd name="T25" fmla="*/ 35 h 224"/>
                <a:gd name="T26" fmla="*/ 108 w 122"/>
                <a:gd name="T27" fmla="*/ 27 h 224"/>
                <a:gd name="T28" fmla="*/ 12 w 122"/>
                <a:gd name="T29" fmla="*/ 56 h 224"/>
                <a:gd name="T30" fmla="*/ 10 w 122"/>
                <a:gd name="T31" fmla="*/ 16 h 224"/>
                <a:gd name="T32" fmla="*/ 73 w 122"/>
                <a:gd name="T33" fmla="*/ 9 h 224"/>
                <a:gd name="T34" fmla="*/ 67 w 122"/>
                <a:gd name="T35" fmla="*/ 27 h 224"/>
                <a:gd name="T36" fmla="*/ 14 w 122"/>
                <a:gd name="T37" fmla="*/ 42 h 224"/>
                <a:gd name="T38" fmla="*/ 2 w 122"/>
                <a:gd name="T39" fmla="*/ 31 h 224"/>
                <a:gd name="T40" fmla="*/ 9 w 122"/>
                <a:gd name="T41" fmla="*/ 32 h 224"/>
                <a:gd name="T42" fmla="*/ 16 w 122"/>
                <a:gd name="T43" fmla="*/ 36 h 224"/>
                <a:gd name="T44" fmla="*/ 69 w 122"/>
                <a:gd name="T45" fmla="*/ 14 h 224"/>
                <a:gd name="T46" fmla="*/ 63 w 122"/>
                <a:gd name="T47" fmla="*/ 7 h 224"/>
                <a:gd name="T48" fmla="*/ 12 w 122"/>
                <a:gd name="T49" fmla="*/ 22 h 224"/>
                <a:gd name="T50" fmla="*/ 113 w 122"/>
                <a:gd name="T51" fmla="*/ 114 h 224"/>
                <a:gd name="T52" fmla="*/ 99 w 122"/>
                <a:gd name="T53" fmla="*/ 124 h 224"/>
                <a:gd name="T54" fmla="*/ 110 w 122"/>
                <a:gd name="T55" fmla="*/ 137 h 224"/>
                <a:gd name="T56" fmla="*/ 87 w 122"/>
                <a:gd name="T57" fmla="*/ 208 h 224"/>
                <a:gd name="T58" fmla="*/ 74 w 122"/>
                <a:gd name="T59" fmla="*/ 224 h 224"/>
                <a:gd name="T60" fmla="*/ 41 w 122"/>
                <a:gd name="T61" fmla="*/ 213 h 224"/>
                <a:gd name="T62" fmla="*/ 18 w 122"/>
                <a:gd name="T63" fmla="*/ 187 h 224"/>
                <a:gd name="T64" fmla="*/ 29 w 122"/>
                <a:gd name="T65" fmla="*/ 137 h 224"/>
                <a:gd name="T66" fmla="*/ 23 w 122"/>
                <a:gd name="T67" fmla="*/ 113 h 224"/>
                <a:gd name="T68" fmla="*/ 10 w 122"/>
                <a:gd name="T69" fmla="*/ 109 h 224"/>
                <a:gd name="T70" fmla="*/ 2 w 122"/>
                <a:gd name="T71" fmla="*/ 98 h 224"/>
                <a:gd name="T72" fmla="*/ 3 w 122"/>
                <a:gd name="T73" fmla="*/ 89 h 224"/>
                <a:gd name="T74" fmla="*/ 105 w 122"/>
                <a:gd name="T75" fmla="*/ 55 h 224"/>
                <a:gd name="T76" fmla="*/ 120 w 122"/>
                <a:gd name="T77" fmla="*/ 66 h 224"/>
                <a:gd name="T78" fmla="*/ 113 w 122"/>
                <a:gd name="T79" fmla="*/ 81 h 224"/>
                <a:gd name="T80" fmla="*/ 56 w 122"/>
                <a:gd name="T81" fmla="*/ 105 h 224"/>
                <a:gd name="T82" fmla="*/ 72 w 122"/>
                <a:gd name="T83" fmla="*/ 137 h 224"/>
                <a:gd name="T84" fmla="*/ 82 w 122"/>
                <a:gd name="T85" fmla="*/ 95 h 224"/>
                <a:gd name="T86" fmla="*/ 119 w 122"/>
                <a:gd name="T87" fmla="*/ 96 h 224"/>
                <a:gd name="T88" fmla="*/ 113 w 122"/>
                <a:gd name="T89" fmla="*/ 114 h 224"/>
                <a:gd name="T90" fmla="*/ 111 w 122"/>
                <a:gd name="T91" fmla="*/ 75 h 224"/>
                <a:gd name="T92" fmla="*/ 115 w 122"/>
                <a:gd name="T93" fmla="*/ 68 h 224"/>
                <a:gd name="T94" fmla="*/ 108 w 122"/>
                <a:gd name="T95" fmla="*/ 61 h 224"/>
                <a:gd name="T96" fmla="*/ 25 w 122"/>
                <a:gd name="T97" fmla="*/ 86 h 224"/>
                <a:gd name="T98" fmla="*/ 12 w 122"/>
                <a:gd name="T99" fmla="*/ 89 h 224"/>
                <a:gd name="T100" fmla="*/ 8 w 122"/>
                <a:gd name="T101" fmla="*/ 92 h 224"/>
                <a:gd name="T102" fmla="*/ 8 w 122"/>
                <a:gd name="T103" fmla="*/ 96 h 224"/>
                <a:gd name="T104" fmla="*/ 12 w 122"/>
                <a:gd name="T105" fmla="*/ 103 h 224"/>
                <a:gd name="T106" fmla="*/ 25 w 122"/>
                <a:gd name="T107" fmla="*/ 107 h 224"/>
                <a:gd name="T108" fmla="*/ 35 w 122"/>
                <a:gd name="T109" fmla="*/ 120 h 224"/>
                <a:gd name="T110" fmla="*/ 50 w 122"/>
                <a:gd name="T111" fmla="*/ 137 h 224"/>
                <a:gd name="T112" fmla="*/ 48 w 122"/>
                <a:gd name="T113" fmla="*/ 100 h 224"/>
                <a:gd name="T114" fmla="*/ 49 w 122"/>
                <a:gd name="T115" fmla="*/ 93 h 224"/>
                <a:gd name="T116" fmla="*/ 113 w 122"/>
                <a:gd name="T117" fmla="*/ 98 h 224"/>
                <a:gd name="T118" fmla="*/ 84 w 122"/>
                <a:gd name="T119" fmla="*/ 101 h 224"/>
                <a:gd name="T120" fmla="*/ 78 w 122"/>
                <a:gd name="T121" fmla="*/ 137 h 224"/>
                <a:gd name="T122" fmla="*/ 93 w 122"/>
                <a:gd name="T123" fmla="*/ 124 h 224"/>
                <a:gd name="T124" fmla="*/ 111 w 122"/>
                <a:gd name="T125" fmla="*/ 10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2" h="224">
                  <a:moveTo>
                    <a:pt x="18" y="137"/>
                  </a:moveTo>
                  <a:cubicBezTo>
                    <a:pt x="18" y="137"/>
                    <a:pt x="18" y="137"/>
                    <a:pt x="18" y="137"/>
                  </a:cubicBezTo>
                  <a:moveTo>
                    <a:pt x="10" y="50"/>
                  </a:moveTo>
                  <a:cubicBezTo>
                    <a:pt x="105" y="22"/>
                    <a:pt x="105" y="22"/>
                    <a:pt x="105" y="22"/>
                  </a:cubicBezTo>
                  <a:cubicBezTo>
                    <a:pt x="106" y="21"/>
                    <a:pt x="107" y="21"/>
                    <a:pt x="108" y="21"/>
                  </a:cubicBezTo>
                  <a:cubicBezTo>
                    <a:pt x="113" y="21"/>
                    <a:pt x="118" y="24"/>
                    <a:pt x="119" y="29"/>
                  </a:cubicBezTo>
                  <a:cubicBezTo>
                    <a:pt x="120" y="33"/>
                    <a:pt x="120" y="33"/>
                    <a:pt x="120" y="33"/>
                  </a:cubicBezTo>
                  <a:cubicBezTo>
                    <a:pt x="121" y="36"/>
                    <a:pt x="121" y="39"/>
                    <a:pt x="119" y="41"/>
                  </a:cubicBezTo>
                  <a:cubicBezTo>
                    <a:pt x="118" y="44"/>
                    <a:pt x="116" y="46"/>
                    <a:pt x="113" y="47"/>
                  </a:cubicBezTo>
                  <a:cubicBezTo>
                    <a:pt x="17" y="75"/>
                    <a:pt x="17" y="75"/>
                    <a:pt x="17" y="75"/>
                  </a:cubicBezTo>
                  <a:cubicBezTo>
                    <a:pt x="16" y="76"/>
                    <a:pt x="15" y="76"/>
                    <a:pt x="14" y="76"/>
                  </a:cubicBezTo>
                  <a:cubicBezTo>
                    <a:pt x="14" y="76"/>
                    <a:pt x="14" y="76"/>
                    <a:pt x="14" y="76"/>
                  </a:cubicBezTo>
                  <a:cubicBezTo>
                    <a:pt x="9" y="76"/>
                    <a:pt x="5" y="73"/>
                    <a:pt x="3" y="68"/>
                  </a:cubicBezTo>
                  <a:cubicBezTo>
                    <a:pt x="2" y="64"/>
                    <a:pt x="2" y="64"/>
                    <a:pt x="2" y="64"/>
                  </a:cubicBezTo>
                  <a:cubicBezTo>
                    <a:pt x="1" y="61"/>
                    <a:pt x="2" y="58"/>
                    <a:pt x="3" y="56"/>
                  </a:cubicBezTo>
                  <a:cubicBezTo>
                    <a:pt x="5" y="53"/>
                    <a:pt x="7" y="51"/>
                    <a:pt x="10" y="50"/>
                  </a:cubicBezTo>
                  <a:close/>
                  <a:moveTo>
                    <a:pt x="12" y="56"/>
                  </a:moveTo>
                  <a:cubicBezTo>
                    <a:pt x="10" y="56"/>
                    <a:pt x="9" y="57"/>
                    <a:pt x="8" y="58"/>
                  </a:cubicBezTo>
                  <a:cubicBezTo>
                    <a:pt x="8" y="60"/>
                    <a:pt x="8" y="61"/>
                    <a:pt x="8" y="62"/>
                  </a:cubicBezTo>
                  <a:cubicBezTo>
                    <a:pt x="9" y="66"/>
                    <a:pt x="9" y="66"/>
                    <a:pt x="9" y="66"/>
                  </a:cubicBezTo>
                  <a:cubicBezTo>
                    <a:pt x="10" y="68"/>
                    <a:pt x="12" y="70"/>
                    <a:pt x="14" y="70"/>
                  </a:cubicBezTo>
                  <a:cubicBezTo>
                    <a:pt x="14" y="70"/>
                    <a:pt x="14" y="70"/>
                    <a:pt x="14" y="70"/>
                  </a:cubicBezTo>
                  <a:cubicBezTo>
                    <a:pt x="15" y="70"/>
                    <a:pt x="15" y="70"/>
                    <a:pt x="16" y="70"/>
                  </a:cubicBezTo>
                  <a:cubicBezTo>
                    <a:pt x="111" y="41"/>
                    <a:pt x="111" y="41"/>
                    <a:pt x="111" y="41"/>
                  </a:cubicBezTo>
                  <a:cubicBezTo>
                    <a:pt x="112" y="41"/>
                    <a:pt x="113" y="40"/>
                    <a:pt x="114" y="39"/>
                  </a:cubicBezTo>
                  <a:cubicBezTo>
                    <a:pt x="115" y="37"/>
                    <a:pt x="115" y="36"/>
                    <a:pt x="115" y="35"/>
                  </a:cubicBezTo>
                  <a:cubicBezTo>
                    <a:pt x="113" y="31"/>
                    <a:pt x="113" y="31"/>
                    <a:pt x="113" y="31"/>
                  </a:cubicBezTo>
                  <a:cubicBezTo>
                    <a:pt x="113" y="29"/>
                    <a:pt x="111" y="27"/>
                    <a:pt x="108" y="27"/>
                  </a:cubicBezTo>
                  <a:cubicBezTo>
                    <a:pt x="108" y="27"/>
                    <a:pt x="107" y="27"/>
                    <a:pt x="107" y="27"/>
                  </a:cubicBezTo>
                  <a:lnTo>
                    <a:pt x="12" y="56"/>
                  </a:lnTo>
                  <a:close/>
                  <a:moveTo>
                    <a:pt x="2" y="31"/>
                  </a:moveTo>
                  <a:cubicBezTo>
                    <a:pt x="0" y="25"/>
                    <a:pt x="4" y="18"/>
                    <a:pt x="10" y="16"/>
                  </a:cubicBezTo>
                  <a:cubicBezTo>
                    <a:pt x="59" y="1"/>
                    <a:pt x="59" y="1"/>
                    <a:pt x="59" y="1"/>
                  </a:cubicBezTo>
                  <a:cubicBezTo>
                    <a:pt x="65" y="0"/>
                    <a:pt x="72" y="3"/>
                    <a:pt x="73" y="9"/>
                  </a:cubicBezTo>
                  <a:cubicBezTo>
                    <a:pt x="75" y="12"/>
                    <a:pt x="75" y="12"/>
                    <a:pt x="75" y="12"/>
                  </a:cubicBezTo>
                  <a:cubicBezTo>
                    <a:pt x="76" y="18"/>
                    <a:pt x="73" y="25"/>
                    <a:pt x="67" y="27"/>
                  </a:cubicBezTo>
                  <a:cubicBezTo>
                    <a:pt x="18" y="42"/>
                    <a:pt x="18" y="42"/>
                    <a:pt x="18" y="42"/>
                  </a:cubicBezTo>
                  <a:cubicBezTo>
                    <a:pt x="16" y="42"/>
                    <a:pt x="15" y="42"/>
                    <a:pt x="14" y="42"/>
                  </a:cubicBezTo>
                  <a:cubicBezTo>
                    <a:pt x="9" y="42"/>
                    <a:pt x="5" y="39"/>
                    <a:pt x="3" y="34"/>
                  </a:cubicBezTo>
                  <a:lnTo>
                    <a:pt x="2" y="31"/>
                  </a:lnTo>
                  <a:close/>
                  <a:moveTo>
                    <a:pt x="8" y="29"/>
                  </a:moveTo>
                  <a:cubicBezTo>
                    <a:pt x="9" y="32"/>
                    <a:pt x="9" y="32"/>
                    <a:pt x="9" y="32"/>
                  </a:cubicBezTo>
                  <a:cubicBezTo>
                    <a:pt x="10" y="35"/>
                    <a:pt x="12" y="36"/>
                    <a:pt x="14" y="36"/>
                  </a:cubicBezTo>
                  <a:cubicBezTo>
                    <a:pt x="15" y="36"/>
                    <a:pt x="15" y="36"/>
                    <a:pt x="16" y="36"/>
                  </a:cubicBezTo>
                  <a:cubicBezTo>
                    <a:pt x="65" y="21"/>
                    <a:pt x="65" y="21"/>
                    <a:pt x="65" y="21"/>
                  </a:cubicBezTo>
                  <a:cubicBezTo>
                    <a:pt x="68" y="20"/>
                    <a:pt x="70" y="17"/>
                    <a:pt x="69" y="14"/>
                  </a:cubicBezTo>
                  <a:cubicBezTo>
                    <a:pt x="68" y="11"/>
                    <a:pt x="68" y="11"/>
                    <a:pt x="68" y="11"/>
                  </a:cubicBezTo>
                  <a:cubicBezTo>
                    <a:pt x="67" y="8"/>
                    <a:pt x="65" y="7"/>
                    <a:pt x="63" y="7"/>
                  </a:cubicBezTo>
                  <a:cubicBezTo>
                    <a:pt x="62" y="7"/>
                    <a:pt x="62" y="7"/>
                    <a:pt x="61" y="7"/>
                  </a:cubicBezTo>
                  <a:cubicBezTo>
                    <a:pt x="12" y="22"/>
                    <a:pt x="12" y="22"/>
                    <a:pt x="12" y="22"/>
                  </a:cubicBezTo>
                  <a:cubicBezTo>
                    <a:pt x="9" y="23"/>
                    <a:pt x="7" y="26"/>
                    <a:pt x="8" y="29"/>
                  </a:cubicBezTo>
                  <a:close/>
                  <a:moveTo>
                    <a:pt x="113" y="114"/>
                  </a:moveTo>
                  <a:cubicBezTo>
                    <a:pt x="105" y="116"/>
                    <a:pt x="105" y="116"/>
                    <a:pt x="105" y="116"/>
                  </a:cubicBezTo>
                  <a:cubicBezTo>
                    <a:pt x="102" y="117"/>
                    <a:pt x="99" y="121"/>
                    <a:pt x="99" y="124"/>
                  </a:cubicBezTo>
                  <a:cubicBezTo>
                    <a:pt x="99" y="137"/>
                    <a:pt x="99" y="137"/>
                    <a:pt x="99" y="137"/>
                  </a:cubicBezTo>
                  <a:cubicBezTo>
                    <a:pt x="110" y="137"/>
                    <a:pt x="110" y="137"/>
                    <a:pt x="110" y="137"/>
                  </a:cubicBezTo>
                  <a:cubicBezTo>
                    <a:pt x="110" y="187"/>
                    <a:pt x="110" y="187"/>
                    <a:pt x="110" y="187"/>
                  </a:cubicBezTo>
                  <a:cubicBezTo>
                    <a:pt x="110" y="198"/>
                    <a:pt x="100" y="207"/>
                    <a:pt x="87" y="208"/>
                  </a:cubicBezTo>
                  <a:cubicBezTo>
                    <a:pt x="87" y="213"/>
                    <a:pt x="87" y="213"/>
                    <a:pt x="87" y="213"/>
                  </a:cubicBezTo>
                  <a:cubicBezTo>
                    <a:pt x="87" y="219"/>
                    <a:pt x="81" y="224"/>
                    <a:pt x="74" y="224"/>
                  </a:cubicBezTo>
                  <a:cubicBezTo>
                    <a:pt x="54" y="224"/>
                    <a:pt x="54" y="224"/>
                    <a:pt x="54" y="224"/>
                  </a:cubicBezTo>
                  <a:cubicBezTo>
                    <a:pt x="47" y="224"/>
                    <a:pt x="41" y="219"/>
                    <a:pt x="41" y="213"/>
                  </a:cubicBezTo>
                  <a:cubicBezTo>
                    <a:pt x="41" y="208"/>
                    <a:pt x="41" y="208"/>
                    <a:pt x="41" y="208"/>
                  </a:cubicBezTo>
                  <a:cubicBezTo>
                    <a:pt x="28" y="207"/>
                    <a:pt x="18" y="198"/>
                    <a:pt x="18" y="187"/>
                  </a:cubicBezTo>
                  <a:cubicBezTo>
                    <a:pt x="18" y="137"/>
                    <a:pt x="18" y="137"/>
                    <a:pt x="18" y="137"/>
                  </a:cubicBezTo>
                  <a:cubicBezTo>
                    <a:pt x="29" y="137"/>
                    <a:pt x="29" y="137"/>
                    <a:pt x="29" y="137"/>
                  </a:cubicBezTo>
                  <a:cubicBezTo>
                    <a:pt x="29" y="120"/>
                    <a:pt x="29" y="120"/>
                    <a:pt x="29" y="120"/>
                  </a:cubicBezTo>
                  <a:cubicBezTo>
                    <a:pt x="29" y="117"/>
                    <a:pt x="26" y="113"/>
                    <a:pt x="23" y="113"/>
                  </a:cubicBezTo>
                  <a:cubicBezTo>
                    <a:pt x="12" y="109"/>
                    <a:pt x="12" y="109"/>
                    <a:pt x="12" y="109"/>
                  </a:cubicBezTo>
                  <a:cubicBezTo>
                    <a:pt x="10" y="109"/>
                    <a:pt x="10" y="109"/>
                    <a:pt x="10" y="109"/>
                  </a:cubicBezTo>
                  <a:cubicBezTo>
                    <a:pt x="7" y="108"/>
                    <a:pt x="4" y="105"/>
                    <a:pt x="3" y="102"/>
                  </a:cubicBezTo>
                  <a:cubicBezTo>
                    <a:pt x="2" y="98"/>
                    <a:pt x="2" y="98"/>
                    <a:pt x="2" y="98"/>
                  </a:cubicBezTo>
                  <a:cubicBezTo>
                    <a:pt x="2" y="97"/>
                    <a:pt x="2" y="97"/>
                    <a:pt x="2" y="96"/>
                  </a:cubicBezTo>
                  <a:cubicBezTo>
                    <a:pt x="2" y="94"/>
                    <a:pt x="2" y="91"/>
                    <a:pt x="3" y="89"/>
                  </a:cubicBezTo>
                  <a:cubicBezTo>
                    <a:pt x="5" y="87"/>
                    <a:pt x="7" y="85"/>
                    <a:pt x="10" y="84"/>
                  </a:cubicBezTo>
                  <a:cubicBezTo>
                    <a:pt x="105" y="55"/>
                    <a:pt x="105" y="55"/>
                    <a:pt x="105" y="55"/>
                  </a:cubicBezTo>
                  <a:cubicBezTo>
                    <a:pt x="111" y="54"/>
                    <a:pt x="118" y="57"/>
                    <a:pt x="119" y="63"/>
                  </a:cubicBezTo>
                  <a:cubicBezTo>
                    <a:pt x="120" y="66"/>
                    <a:pt x="120" y="66"/>
                    <a:pt x="120" y="66"/>
                  </a:cubicBezTo>
                  <a:cubicBezTo>
                    <a:pt x="121" y="69"/>
                    <a:pt x="121" y="72"/>
                    <a:pt x="119" y="75"/>
                  </a:cubicBezTo>
                  <a:cubicBezTo>
                    <a:pt x="118" y="78"/>
                    <a:pt x="116" y="80"/>
                    <a:pt x="113" y="81"/>
                  </a:cubicBezTo>
                  <a:cubicBezTo>
                    <a:pt x="54" y="98"/>
                    <a:pt x="54" y="98"/>
                    <a:pt x="54" y="98"/>
                  </a:cubicBezTo>
                  <a:cubicBezTo>
                    <a:pt x="55" y="100"/>
                    <a:pt x="56" y="103"/>
                    <a:pt x="56" y="105"/>
                  </a:cubicBezTo>
                  <a:cubicBezTo>
                    <a:pt x="56" y="137"/>
                    <a:pt x="56" y="137"/>
                    <a:pt x="56" y="137"/>
                  </a:cubicBezTo>
                  <a:cubicBezTo>
                    <a:pt x="72" y="137"/>
                    <a:pt x="72" y="137"/>
                    <a:pt x="72" y="137"/>
                  </a:cubicBezTo>
                  <a:cubicBezTo>
                    <a:pt x="72" y="109"/>
                    <a:pt x="72" y="109"/>
                    <a:pt x="72" y="109"/>
                  </a:cubicBezTo>
                  <a:cubicBezTo>
                    <a:pt x="72" y="103"/>
                    <a:pt x="77" y="97"/>
                    <a:pt x="82" y="95"/>
                  </a:cubicBezTo>
                  <a:cubicBezTo>
                    <a:pt x="105" y="89"/>
                    <a:pt x="105" y="89"/>
                    <a:pt x="105" y="89"/>
                  </a:cubicBezTo>
                  <a:cubicBezTo>
                    <a:pt x="111" y="87"/>
                    <a:pt x="118" y="91"/>
                    <a:pt x="119" y="96"/>
                  </a:cubicBezTo>
                  <a:cubicBezTo>
                    <a:pt x="120" y="100"/>
                    <a:pt x="120" y="100"/>
                    <a:pt x="120" y="100"/>
                  </a:cubicBezTo>
                  <a:cubicBezTo>
                    <a:pt x="122" y="106"/>
                    <a:pt x="119" y="112"/>
                    <a:pt x="113" y="114"/>
                  </a:cubicBezTo>
                  <a:close/>
                  <a:moveTo>
                    <a:pt x="49" y="93"/>
                  </a:moveTo>
                  <a:cubicBezTo>
                    <a:pt x="111" y="75"/>
                    <a:pt x="111" y="75"/>
                    <a:pt x="111" y="75"/>
                  </a:cubicBezTo>
                  <a:cubicBezTo>
                    <a:pt x="112" y="74"/>
                    <a:pt x="113" y="74"/>
                    <a:pt x="114" y="72"/>
                  </a:cubicBezTo>
                  <a:cubicBezTo>
                    <a:pt x="115" y="71"/>
                    <a:pt x="115" y="70"/>
                    <a:pt x="115" y="68"/>
                  </a:cubicBezTo>
                  <a:cubicBezTo>
                    <a:pt x="113" y="65"/>
                    <a:pt x="113" y="65"/>
                    <a:pt x="113" y="65"/>
                  </a:cubicBezTo>
                  <a:cubicBezTo>
                    <a:pt x="113" y="62"/>
                    <a:pt x="111" y="61"/>
                    <a:pt x="108" y="61"/>
                  </a:cubicBezTo>
                  <a:cubicBezTo>
                    <a:pt x="108" y="61"/>
                    <a:pt x="107" y="61"/>
                    <a:pt x="107" y="61"/>
                  </a:cubicBezTo>
                  <a:cubicBezTo>
                    <a:pt x="25" y="86"/>
                    <a:pt x="25" y="86"/>
                    <a:pt x="25" y="86"/>
                  </a:cubicBezTo>
                  <a:cubicBezTo>
                    <a:pt x="13" y="89"/>
                    <a:pt x="13" y="89"/>
                    <a:pt x="13" y="89"/>
                  </a:cubicBezTo>
                  <a:cubicBezTo>
                    <a:pt x="12" y="89"/>
                    <a:pt x="12" y="89"/>
                    <a:pt x="12" y="89"/>
                  </a:cubicBezTo>
                  <a:cubicBezTo>
                    <a:pt x="12" y="90"/>
                    <a:pt x="12" y="90"/>
                    <a:pt x="12" y="90"/>
                  </a:cubicBezTo>
                  <a:cubicBezTo>
                    <a:pt x="10" y="90"/>
                    <a:pt x="9" y="91"/>
                    <a:pt x="8" y="92"/>
                  </a:cubicBezTo>
                  <a:cubicBezTo>
                    <a:pt x="8" y="93"/>
                    <a:pt x="8" y="95"/>
                    <a:pt x="8" y="96"/>
                  </a:cubicBezTo>
                  <a:cubicBezTo>
                    <a:pt x="8" y="96"/>
                    <a:pt x="8" y="96"/>
                    <a:pt x="8" y="96"/>
                  </a:cubicBezTo>
                  <a:cubicBezTo>
                    <a:pt x="9" y="100"/>
                    <a:pt x="9" y="100"/>
                    <a:pt x="9" y="100"/>
                  </a:cubicBezTo>
                  <a:cubicBezTo>
                    <a:pt x="10" y="101"/>
                    <a:pt x="11" y="103"/>
                    <a:pt x="12" y="103"/>
                  </a:cubicBezTo>
                  <a:cubicBezTo>
                    <a:pt x="13" y="103"/>
                    <a:pt x="13" y="103"/>
                    <a:pt x="13" y="103"/>
                  </a:cubicBezTo>
                  <a:cubicBezTo>
                    <a:pt x="25" y="107"/>
                    <a:pt x="25" y="107"/>
                    <a:pt x="25" y="107"/>
                  </a:cubicBezTo>
                  <a:cubicBezTo>
                    <a:pt x="25" y="107"/>
                    <a:pt x="25" y="107"/>
                    <a:pt x="25" y="107"/>
                  </a:cubicBezTo>
                  <a:cubicBezTo>
                    <a:pt x="31" y="109"/>
                    <a:pt x="35" y="115"/>
                    <a:pt x="35" y="120"/>
                  </a:cubicBezTo>
                  <a:cubicBezTo>
                    <a:pt x="35" y="137"/>
                    <a:pt x="35" y="137"/>
                    <a:pt x="35" y="137"/>
                  </a:cubicBezTo>
                  <a:cubicBezTo>
                    <a:pt x="50" y="137"/>
                    <a:pt x="50" y="137"/>
                    <a:pt x="50" y="137"/>
                  </a:cubicBezTo>
                  <a:cubicBezTo>
                    <a:pt x="50" y="105"/>
                    <a:pt x="50" y="105"/>
                    <a:pt x="50" y="105"/>
                  </a:cubicBezTo>
                  <a:cubicBezTo>
                    <a:pt x="50" y="104"/>
                    <a:pt x="49" y="102"/>
                    <a:pt x="48" y="100"/>
                  </a:cubicBezTo>
                  <a:cubicBezTo>
                    <a:pt x="47" y="99"/>
                    <a:pt x="45" y="98"/>
                    <a:pt x="44" y="97"/>
                  </a:cubicBezTo>
                  <a:cubicBezTo>
                    <a:pt x="44" y="97"/>
                    <a:pt x="40" y="96"/>
                    <a:pt x="49" y="93"/>
                  </a:cubicBezTo>
                  <a:close/>
                  <a:moveTo>
                    <a:pt x="115" y="102"/>
                  </a:moveTo>
                  <a:cubicBezTo>
                    <a:pt x="113" y="98"/>
                    <a:pt x="113" y="98"/>
                    <a:pt x="113" y="98"/>
                  </a:cubicBezTo>
                  <a:cubicBezTo>
                    <a:pt x="113" y="95"/>
                    <a:pt x="110" y="94"/>
                    <a:pt x="107" y="95"/>
                  </a:cubicBezTo>
                  <a:cubicBezTo>
                    <a:pt x="84" y="101"/>
                    <a:pt x="84" y="101"/>
                    <a:pt x="84" y="101"/>
                  </a:cubicBezTo>
                  <a:cubicBezTo>
                    <a:pt x="81" y="102"/>
                    <a:pt x="78" y="106"/>
                    <a:pt x="78" y="109"/>
                  </a:cubicBezTo>
                  <a:cubicBezTo>
                    <a:pt x="78" y="137"/>
                    <a:pt x="78" y="137"/>
                    <a:pt x="78" y="137"/>
                  </a:cubicBezTo>
                  <a:cubicBezTo>
                    <a:pt x="93" y="137"/>
                    <a:pt x="93" y="137"/>
                    <a:pt x="93" y="137"/>
                  </a:cubicBezTo>
                  <a:cubicBezTo>
                    <a:pt x="93" y="124"/>
                    <a:pt x="93" y="124"/>
                    <a:pt x="93" y="124"/>
                  </a:cubicBezTo>
                  <a:cubicBezTo>
                    <a:pt x="93" y="118"/>
                    <a:pt x="97" y="112"/>
                    <a:pt x="103" y="111"/>
                  </a:cubicBezTo>
                  <a:cubicBezTo>
                    <a:pt x="111" y="108"/>
                    <a:pt x="111" y="108"/>
                    <a:pt x="111" y="108"/>
                  </a:cubicBezTo>
                  <a:cubicBezTo>
                    <a:pt x="114" y="108"/>
                    <a:pt x="115" y="105"/>
                    <a:pt x="115" y="10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93"/>
              <a:endParaRPr lang="en-US">
                <a:solidFill>
                  <a:srgbClr val="FFFFFF"/>
                </a:solidFill>
              </a:endParaRPr>
            </a:p>
          </p:txBody>
        </p:sp>
      </p:grpSp>
      <p:sp>
        <p:nvSpPr>
          <p:cNvPr id="2" name="Title 1"/>
          <p:cNvSpPr>
            <a:spLocks noGrp="1"/>
          </p:cNvSpPr>
          <p:nvPr>
            <p:ph type="ctrTitle"/>
          </p:nvPr>
        </p:nvSpPr>
        <p:spPr>
          <a:xfrm>
            <a:off x="3135105" y="2390358"/>
            <a:ext cx="4959201" cy="1142621"/>
          </a:xfrm>
        </p:spPr>
        <p:txBody>
          <a:bodyPr anchor="ctr" anchorCtr="0">
            <a:noAutofit/>
          </a:bodyPr>
          <a:lstStyle>
            <a:lvl1pPr algn="l" defTabSz="685693" rtl="0" eaLnBrk="1" latinLnBrk="0" hangingPunct="1">
              <a:lnSpc>
                <a:spcPct val="90000"/>
              </a:lnSpc>
              <a:spcBef>
                <a:spcPct val="0"/>
              </a:spcBef>
              <a:buNone/>
              <a:defRPr lang="en-US" sz="3000" b="1" kern="1200" cap="none" spc="-75" baseline="0" dirty="0">
                <a:ln w="3175">
                  <a:noFill/>
                </a:ln>
                <a:solidFill>
                  <a:schemeClr val="accent6">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09"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Tree>
    <p:extLst>
      <p:ext uri="{BB962C8B-B14F-4D97-AF65-F5344CB8AC3E}">
        <p14:creationId xmlns:p14="http://schemas.microsoft.com/office/powerpoint/2010/main" val="1420041613"/>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Vide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93"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Video</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6"/>
            <a:ext cx="4959201" cy="346249"/>
          </a:xfrm>
        </p:spPr>
        <p:txBody>
          <a:bodyPr>
            <a:noAutofit/>
          </a:bodyPr>
          <a:lstStyle>
            <a:lvl1pPr marL="0" indent="0" algn="l" defTabSz="685693"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9"/>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8"/>
            <a:ext cx="4959201" cy="1142621"/>
          </a:xfrm>
        </p:spPr>
        <p:txBody>
          <a:bodyPr anchor="ctr" anchorCtr="0">
            <a:noAutofit/>
          </a:bodyPr>
          <a:lstStyle>
            <a:lvl1pPr algn="l" defTabSz="685693" rtl="0" eaLnBrk="1" latinLnBrk="0" hangingPunct="1">
              <a:lnSpc>
                <a:spcPct val="90000"/>
              </a:lnSpc>
              <a:spcBef>
                <a:spcPct val="0"/>
              </a:spcBef>
              <a:buNone/>
              <a:defRPr lang="en-US" sz="3000" b="1" kern="1200" cap="none" spc="-75" baseline="0" dirty="0">
                <a:ln w="3175">
                  <a:noFill/>
                </a:ln>
                <a:solidFill>
                  <a:schemeClr val="accent5">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09"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grpSp>
        <p:nvGrpSpPr>
          <p:cNvPr id="19" name="Green Tile"/>
          <p:cNvGrpSpPr/>
          <p:nvPr userDrawn="1"/>
        </p:nvGrpSpPr>
        <p:grpSpPr>
          <a:xfrm>
            <a:off x="762091" y="2390354"/>
            <a:ext cx="2120991" cy="2120439"/>
            <a:chOff x="-2619354" y="-790581"/>
            <a:chExt cx="2827252" cy="2827252"/>
          </a:xfrm>
        </p:grpSpPr>
        <p:sp>
          <p:nvSpPr>
            <p:cNvPr id="20" name="Rectangle 19"/>
            <p:cNvSpPr/>
            <p:nvPr/>
          </p:nvSpPr>
          <p:spPr bwMode="auto">
            <a:xfrm>
              <a:off x="-2619354" y="-790581"/>
              <a:ext cx="2827252" cy="282725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1" name="Play Icon"/>
            <p:cNvSpPr>
              <a:spLocks noEditPoints="1"/>
            </p:cNvSpPr>
            <p:nvPr/>
          </p:nvSpPr>
          <p:spPr bwMode="auto">
            <a:xfrm>
              <a:off x="-2097903" y="-269875"/>
              <a:ext cx="1784350" cy="1784350"/>
            </a:xfrm>
            <a:custGeom>
              <a:avLst/>
              <a:gdLst>
                <a:gd name="T0" fmla="*/ 168 w 224"/>
                <a:gd name="T1" fmla="*/ 112 h 224"/>
                <a:gd name="T2" fmla="*/ 86 w 224"/>
                <a:gd name="T3" fmla="*/ 173 h 224"/>
                <a:gd name="T4" fmla="*/ 86 w 224"/>
                <a:gd name="T5" fmla="*/ 50 h 224"/>
                <a:gd name="T6" fmla="*/ 168 w 224"/>
                <a:gd name="T7" fmla="*/ 112 h 224"/>
                <a:gd name="T8" fmla="*/ 168 w 224"/>
                <a:gd name="T9" fmla="*/ 112 h 224"/>
                <a:gd name="T10" fmla="*/ 112 w 224"/>
                <a:gd name="T11" fmla="*/ 0 h 224"/>
                <a:gd name="T12" fmla="*/ 224 w 224"/>
                <a:gd name="T13" fmla="*/ 112 h 224"/>
                <a:gd name="T14" fmla="*/ 112 w 224"/>
                <a:gd name="T15" fmla="*/ 224 h 224"/>
                <a:gd name="T16" fmla="*/ 0 w 224"/>
                <a:gd name="T17" fmla="*/ 112 h 224"/>
                <a:gd name="T18" fmla="*/ 112 w 224"/>
                <a:gd name="T19" fmla="*/ 0 h 224"/>
                <a:gd name="T20" fmla="*/ 112 w 224"/>
                <a:gd name="T21" fmla="*/ 216 h 224"/>
                <a:gd name="T22" fmla="*/ 216 w 224"/>
                <a:gd name="T23" fmla="*/ 112 h 224"/>
                <a:gd name="T24" fmla="*/ 112 w 224"/>
                <a:gd name="T25" fmla="*/ 8 h 224"/>
                <a:gd name="T26" fmla="*/ 8 w 224"/>
                <a:gd name="T27" fmla="*/ 112 h 224"/>
                <a:gd name="T28" fmla="*/ 112 w 224"/>
                <a:gd name="T29" fmla="*/ 21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4" h="224">
                  <a:moveTo>
                    <a:pt x="168" y="112"/>
                  </a:moveTo>
                  <a:cubicBezTo>
                    <a:pt x="86" y="173"/>
                    <a:pt x="86" y="173"/>
                    <a:pt x="86" y="173"/>
                  </a:cubicBezTo>
                  <a:cubicBezTo>
                    <a:pt x="86" y="50"/>
                    <a:pt x="86" y="50"/>
                    <a:pt x="86" y="50"/>
                  </a:cubicBezTo>
                  <a:cubicBezTo>
                    <a:pt x="168" y="112"/>
                    <a:pt x="168" y="112"/>
                    <a:pt x="168" y="112"/>
                  </a:cubicBezTo>
                  <a:cubicBezTo>
                    <a:pt x="168" y="112"/>
                    <a:pt x="168" y="112"/>
                    <a:pt x="168" y="112"/>
                  </a:cubicBezTo>
                  <a:close/>
                  <a:moveTo>
                    <a:pt x="112" y="0"/>
                  </a:moveTo>
                  <a:cubicBezTo>
                    <a:pt x="174" y="0"/>
                    <a:pt x="224" y="50"/>
                    <a:pt x="224" y="112"/>
                  </a:cubicBezTo>
                  <a:cubicBezTo>
                    <a:pt x="224" y="174"/>
                    <a:pt x="174" y="224"/>
                    <a:pt x="112" y="224"/>
                  </a:cubicBezTo>
                  <a:cubicBezTo>
                    <a:pt x="51" y="224"/>
                    <a:pt x="0" y="174"/>
                    <a:pt x="0" y="112"/>
                  </a:cubicBezTo>
                  <a:cubicBezTo>
                    <a:pt x="0" y="50"/>
                    <a:pt x="51" y="0"/>
                    <a:pt x="112" y="0"/>
                  </a:cubicBezTo>
                  <a:moveTo>
                    <a:pt x="112" y="216"/>
                  </a:moveTo>
                  <a:cubicBezTo>
                    <a:pt x="170" y="216"/>
                    <a:pt x="216" y="169"/>
                    <a:pt x="216" y="112"/>
                  </a:cubicBezTo>
                  <a:cubicBezTo>
                    <a:pt x="216" y="54"/>
                    <a:pt x="170" y="8"/>
                    <a:pt x="112" y="8"/>
                  </a:cubicBezTo>
                  <a:cubicBezTo>
                    <a:pt x="55" y="8"/>
                    <a:pt x="8" y="54"/>
                    <a:pt x="8" y="112"/>
                  </a:cubicBezTo>
                  <a:cubicBezTo>
                    <a:pt x="8" y="169"/>
                    <a:pt x="55" y="216"/>
                    <a:pt x="112" y="21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93"/>
              <a:endParaRPr lang="en-US">
                <a:solidFill>
                  <a:srgbClr val="FFFFFF"/>
                </a:solidFill>
              </a:endParaRPr>
            </a:p>
          </p:txBody>
        </p:sp>
      </p:grpSp>
    </p:spTree>
    <p:extLst>
      <p:ext uri="{BB962C8B-B14F-4D97-AF65-F5344CB8AC3E}">
        <p14:creationId xmlns:p14="http://schemas.microsoft.com/office/powerpoint/2010/main" val="56409725"/>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Announcement,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3" y="2390353"/>
            <a:ext cx="5373500"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3008303" y="1135856"/>
            <a:ext cx="5373500" cy="112471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5" y="1189940"/>
            <a:ext cx="4163390" cy="1033983"/>
          </a:xfrm>
        </p:spPr>
        <p:txBody>
          <a:bodyPr anchor="ctr" anchorCtr="0">
            <a:noAutofit/>
            <a:scene3d>
              <a:camera prst="orthographicFront"/>
              <a:lightRig rig="flat" dir="t"/>
            </a:scene3d>
            <a:sp3d>
              <a:contourClr>
                <a:schemeClr val="tx2"/>
              </a:contourClr>
            </a:sp3d>
          </a:bodyPr>
          <a:lstStyle>
            <a:lvl1pPr marL="0" indent="0" algn="l" defTabSz="68548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Announcement</a:t>
            </a:r>
          </a:p>
        </p:txBody>
      </p:sp>
      <p:sp useBgFill="1">
        <p:nvSpPr>
          <p:cNvPr id="9" name="Left Mask"/>
          <p:cNvSpPr/>
          <p:nvPr userDrawn="1"/>
        </p:nvSpPr>
        <p:spPr bwMode="auto">
          <a:xfrm>
            <a:off x="-1" y="1135857"/>
            <a:ext cx="3008303"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3135108" y="3886211"/>
            <a:ext cx="4959201" cy="346249"/>
          </a:xfrm>
        </p:spPr>
        <p:txBody>
          <a:bodyPr>
            <a:noAutofit/>
          </a:bodyPr>
          <a:lstStyle>
            <a:lvl1pPr marL="0" indent="0" algn="l" defTabSz="68548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39" indent="0" algn="ctr">
              <a:buNone/>
              <a:defRPr>
                <a:solidFill>
                  <a:schemeClr val="tx1">
                    <a:tint val="75000"/>
                  </a:schemeClr>
                </a:solidFill>
              </a:defRPr>
            </a:lvl2pPr>
            <a:lvl3pPr marL="685487" indent="0" algn="ctr">
              <a:buNone/>
              <a:defRPr>
                <a:solidFill>
                  <a:schemeClr val="tx1">
                    <a:tint val="75000"/>
                  </a:schemeClr>
                </a:solidFill>
              </a:defRPr>
            </a:lvl3pPr>
            <a:lvl4pPr marL="1028229" indent="0" algn="ctr">
              <a:buNone/>
              <a:defRPr>
                <a:solidFill>
                  <a:schemeClr val="tx1">
                    <a:tint val="75000"/>
                  </a:schemeClr>
                </a:solidFill>
              </a:defRPr>
            </a:lvl4pPr>
            <a:lvl5pPr marL="1370975" indent="0" algn="ctr">
              <a:buNone/>
              <a:defRPr>
                <a:solidFill>
                  <a:schemeClr val="tx1">
                    <a:tint val="75000"/>
                  </a:schemeClr>
                </a:solidFill>
              </a:defRPr>
            </a:lvl5pPr>
            <a:lvl6pPr marL="1713712" indent="0" algn="ctr">
              <a:buNone/>
              <a:defRPr>
                <a:solidFill>
                  <a:schemeClr val="tx1">
                    <a:tint val="75000"/>
                  </a:schemeClr>
                </a:solidFill>
              </a:defRPr>
            </a:lvl6pPr>
            <a:lvl7pPr marL="2056459" indent="0" algn="ctr">
              <a:buNone/>
              <a:defRPr>
                <a:solidFill>
                  <a:schemeClr val="tx1">
                    <a:tint val="75000"/>
                  </a:schemeClr>
                </a:solidFill>
              </a:defRPr>
            </a:lvl7pPr>
            <a:lvl8pPr marL="2399204" indent="0" algn="ctr">
              <a:buNone/>
              <a:defRPr>
                <a:solidFill>
                  <a:schemeClr val="tx1">
                    <a:tint val="75000"/>
                  </a:schemeClr>
                </a:solidFill>
              </a:defRPr>
            </a:lvl8pPr>
            <a:lvl9pPr marL="274195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20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50" tIns="34276" rIns="68550" bIns="34276" numCol="1" anchor="t" anchorCtr="0" compatLnSpc="1">
            <a:prstTxWarp prst="textNoShape">
              <a:avLst/>
            </a:prstTxWarp>
          </a:bodyPr>
          <a:lstStyle/>
          <a:p>
            <a:endParaRPr lang="en-US" sz="1400" dirty="0"/>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1"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8381812" y="1223114"/>
            <a:ext cx="762199"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3135106" y="2390362"/>
            <a:ext cx="4959201" cy="1142621"/>
          </a:xfrm>
        </p:spPr>
        <p:txBody>
          <a:bodyPr anchor="ctr" anchorCtr="0">
            <a:noAutofit/>
          </a:bodyPr>
          <a:lstStyle>
            <a:lvl1pPr algn="l" defTabSz="685487" rtl="0" eaLnBrk="1" latinLnBrk="0" hangingPunct="1">
              <a:lnSpc>
                <a:spcPct val="90000"/>
              </a:lnSpc>
              <a:spcBef>
                <a:spcPct val="0"/>
              </a:spcBef>
              <a:buNone/>
              <a:defRPr lang="en-US" sz="3000" b="1" kern="1200" cap="none" spc="-75" baseline="0" dirty="0">
                <a:ln w="3175">
                  <a:noFill/>
                </a:ln>
                <a:solidFill>
                  <a:schemeClr val="accent3">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1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7" name="Orange Tile"/>
          <p:cNvGrpSpPr/>
          <p:nvPr userDrawn="1"/>
        </p:nvGrpSpPr>
        <p:grpSpPr>
          <a:xfrm>
            <a:off x="762092" y="2390612"/>
            <a:ext cx="2120991" cy="2120439"/>
            <a:chOff x="1351800" y="-1084759"/>
            <a:chExt cx="2827252" cy="2827252"/>
          </a:xfrm>
        </p:grpSpPr>
        <p:sp>
          <p:nvSpPr>
            <p:cNvPr id="18" name="Rectangle 17"/>
            <p:cNvSpPr/>
            <p:nvPr/>
          </p:nvSpPr>
          <p:spPr bwMode="auto">
            <a:xfrm>
              <a:off x="1351800" y="-1084759"/>
              <a:ext cx="2827252" cy="282725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Freeform 21"/>
            <p:cNvSpPr>
              <a:spLocks noEditPoints="1"/>
            </p:cNvSpPr>
            <p:nvPr/>
          </p:nvSpPr>
          <p:spPr bwMode="auto">
            <a:xfrm>
              <a:off x="2005011" y="-436308"/>
              <a:ext cx="1522413" cy="1530350"/>
            </a:xfrm>
            <a:custGeom>
              <a:avLst/>
              <a:gdLst>
                <a:gd name="T0" fmla="*/ 6 w 187"/>
                <a:gd name="T1" fmla="*/ 188 h 188"/>
                <a:gd name="T2" fmla="*/ 129 w 187"/>
                <a:gd name="T3" fmla="*/ 64 h 188"/>
                <a:gd name="T4" fmla="*/ 180 w 187"/>
                <a:gd name="T5" fmla="*/ 115 h 188"/>
                <a:gd name="T6" fmla="*/ 185 w 187"/>
                <a:gd name="T7" fmla="*/ 116 h 188"/>
                <a:gd name="T8" fmla="*/ 187 w 187"/>
                <a:gd name="T9" fmla="*/ 112 h 188"/>
                <a:gd name="T10" fmla="*/ 187 w 187"/>
                <a:gd name="T11" fmla="*/ 4 h 188"/>
                <a:gd name="T12" fmla="*/ 183 w 187"/>
                <a:gd name="T13" fmla="*/ 0 h 188"/>
                <a:gd name="T14" fmla="*/ 75 w 187"/>
                <a:gd name="T15" fmla="*/ 0 h 188"/>
                <a:gd name="T16" fmla="*/ 71 w 187"/>
                <a:gd name="T17" fmla="*/ 3 h 188"/>
                <a:gd name="T18" fmla="*/ 71 w 187"/>
                <a:gd name="T19" fmla="*/ 4 h 188"/>
                <a:gd name="T20" fmla="*/ 72 w 187"/>
                <a:gd name="T21" fmla="*/ 7 h 188"/>
                <a:gd name="T22" fmla="*/ 123 w 187"/>
                <a:gd name="T23" fmla="*/ 58 h 188"/>
                <a:gd name="T24" fmla="*/ 0 w 187"/>
                <a:gd name="T25" fmla="*/ 182 h 188"/>
                <a:gd name="T26" fmla="*/ 6 w 187"/>
                <a:gd name="T27" fmla="*/ 188 h 188"/>
                <a:gd name="T28" fmla="*/ 179 w 187"/>
                <a:gd name="T29" fmla="*/ 8 h 188"/>
                <a:gd name="T30" fmla="*/ 179 w 187"/>
                <a:gd name="T31" fmla="*/ 103 h 188"/>
                <a:gd name="T32" fmla="*/ 85 w 187"/>
                <a:gd name="T33" fmla="*/ 8 h 188"/>
                <a:gd name="T34" fmla="*/ 179 w 187"/>
                <a:gd name="T35" fmla="*/ 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7" h="188">
                  <a:moveTo>
                    <a:pt x="6" y="188"/>
                  </a:moveTo>
                  <a:cubicBezTo>
                    <a:pt x="129" y="64"/>
                    <a:pt x="129" y="64"/>
                    <a:pt x="129" y="64"/>
                  </a:cubicBezTo>
                  <a:cubicBezTo>
                    <a:pt x="180" y="115"/>
                    <a:pt x="180" y="115"/>
                    <a:pt x="180" y="115"/>
                  </a:cubicBezTo>
                  <a:cubicBezTo>
                    <a:pt x="181" y="116"/>
                    <a:pt x="183" y="117"/>
                    <a:pt x="185" y="116"/>
                  </a:cubicBezTo>
                  <a:cubicBezTo>
                    <a:pt x="186" y="116"/>
                    <a:pt x="187" y="114"/>
                    <a:pt x="187" y="112"/>
                  </a:cubicBezTo>
                  <a:cubicBezTo>
                    <a:pt x="187" y="4"/>
                    <a:pt x="187" y="4"/>
                    <a:pt x="187" y="4"/>
                  </a:cubicBezTo>
                  <a:cubicBezTo>
                    <a:pt x="187" y="2"/>
                    <a:pt x="185" y="0"/>
                    <a:pt x="183" y="0"/>
                  </a:cubicBezTo>
                  <a:cubicBezTo>
                    <a:pt x="75" y="0"/>
                    <a:pt x="75" y="0"/>
                    <a:pt x="75" y="0"/>
                  </a:cubicBezTo>
                  <a:cubicBezTo>
                    <a:pt x="73" y="0"/>
                    <a:pt x="72" y="1"/>
                    <a:pt x="71" y="3"/>
                  </a:cubicBezTo>
                  <a:cubicBezTo>
                    <a:pt x="71" y="3"/>
                    <a:pt x="71" y="4"/>
                    <a:pt x="71" y="4"/>
                  </a:cubicBezTo>
                  <a:cubicBezTo>
                    <a:pt x="71" y="6"/>
                    <a:pt x="71" y="7"/>
                    <a:pt x="72" y="7"/>
                  </a:cubicBezTo>
                  <a:cubicBezTo>
                    <a:pt x="123" y="58"/>
                    <a:pt x="123" y="58"/>
                    <a:pt x="123" y="58"/>
                  </a:cubicBezTo>
                  <a:cubicBezTo>
                    <a:pt x="0" y="182"/>
                    <a:pt x="0" y="182"/>
                    <a:pt x="0" y="182"/>
                  </a:cubicBezTo>
                  <a:lnTo>
                    <a:pt x="6" y="188"/>
                  </a:lnTo>
                  <a:close/>
                  <a:moveTo>
                    <a:pt x="179" y="8"/>
                  </a:moveTo>
                  <a:cubicBezTo>
                    <a:pt x="179" y="103"/>
                    <a:pt x="179" y="103"/>
                    <a:pt x="179" y="103"/>
                  </a:cubicBezTo>
                  <a:cubicBezTo>
                    <a:pt x="85" y="8"/>
                    <a:pt x="85" y="8"/>
                    <a:pt x="85" y="8"/>
                  </a:cubicBezTo>
                  <a:lnTo>
                    <a:pt x="179" y="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400" dirty="0"/>
            </a:p>
          </p:txBody>
        </p:sp>
      </p:grpSp>
    </p:spTree>
    <p:extLst>
      <p:ext uri="{BB962C8B-B14F-4D97-AF65-F5344CB8AC3E}">
        <p14:creationId xmlns:p14="http://schemas.microsoft.com/office/powerpoint/2010/main" val="3463407968"/>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Partn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93"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Partner</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6"/>
            <a:ext cx="4959201" cy="346249"/>
          </a:xfrm>
        </p:spPr>
        <p:txBody>
          <a:bodyPr>
            <a:noAutofit/>
          </a:bodyPr>
          <a:lstStyle>
            <a:lvl1pPr marL="0" indent="0" algn="l" defTabSz="685693"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9"/>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8"/>
            <a:ext cx="4959201" cy="1142621"/>
          </a:xfrm>
        </p:spPr>
        <p:txBody>
          <a:bodyPr anchor="ctr" anchorCtr="0">
            <a:noAutofit/>
          </a:bodyPr>
          <a:lstStyle>
            <a:lvl1pPr algn="l" defTabSz="685693"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09"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grpSp>
        <p:nvGrpSpPr>
          <p:cNvPr id="17" name="Blue Tile"/>
          <p:cNvGrpSpPr/>
          <p:nvPr userDrawn="1"/>
        </p:nvGrpSpPr>
        <p:grpSpPr>
          <a:xfrm>
            <a:off x="762091" y="2392295"/>
            <a:ext cx="2120991" cy="2120439"/>
            <a:chOff x="1071620" y="3044261"/>
            <a:chExt cx="1325880" cy="1325880"/>
          </a:xfrm>
        </p:grpSpPr>
        <p:sp>
          <p:nvSpPr>
            <p:cNvPr id="18" name="Rectangle 17"/>
            <p:cNvSpPr/>
            <p:nvPr/>
          </p:nvSpPr>
          <p:spPr bwMode="auto">
            <a:xfrm>
              <a:off x="1071620" y="3044261"/>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2"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93"/>
              <a:endParaRPr lang="en-US">
                <a:solidFill>
                  <a:srgbClr val="FFFFFF"/>
                </a:solidFill>
              </a:endParaRPr>
            </a:p>
          </p:txBody>
        </p:sp>
      </p:grpSp>
    </p:spTree>
    <p:extLst>
      <p:ext uri="{BB962C8B-B14F-4D97-AF65-F5344CB8AC3E}">
        <p14:creationId xmlns:p14="http://schemas.microsoft.com/office/powerpoint/2010/main" val="2456302851"/>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Custom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93"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Customer</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6"/>
            <a:ext cx="4959201" cy="346249"/>
          </a:xfrm>
        </p:spPr>
        <p:txBody>
          <a:bodyPr>
            <a:noAutofit/>
          </a:bodyPr>
          <a:lstStyle>
            <a:lvl1pPr marL="0" indent="0" algn="l" defTabSz="685693"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9"/>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8"/>
            <a:ext cx="4959201" cy="1142621"/>
          </a:xfrm>
        </p:spPr>
        <p:txBody>
          <a:bodyPr anchor="ctr" anchorCtr="0">
            <a:noAutofit/>
          </a:bodyPr>
          <a:lstStyle>
            <a:lvl1pPr algn="l" defTabSz="685693" rtl="0" eaLnBrk="1" latinLnBrk="0" hangingPunct="1">
              <a:lnSpc>
                <a:spcPct val="90000"/>
              </a:lnSpc>
              <a:spcBef>
                <a:spcPct val="0"/>
              </a:spcBef>
              <a:buNone/>
              <a:defRPr lang="en-US" sz="3000" b="1" kern="1200" cap="none" spc="-75" baseline="0" dirty="0">
                <a:ln w="3175">
                  <a:noFill/>
                </a:ln>
                <a:solidFill>
                  <a:schemeClr val="accent2">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09"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grpSp>
        <p:nvGrpSpPr>
          <p:cNvPr id="19" name="Purple Tile"/>
          <p:cNvGrpSpPr/>
          <p:nvPr userDrawn="1"/>
        </p:nvGrpSpPr>
        <p:grpSpPr>
          <a:xfrm>
            <a:off x="763409" y="2390354"/>
            <a:ext cx="2120991" cy="2120439"/>
            <a:chOff x="1022073" y="-1624298"/>
            <a:chExt cx="2827252" cy="2827252"/>
          </a:xfrm>
        </p:grpSpPr>
        <p:sp>
          <p:nvSpPr>
            <p:cNvPr id="20" name="Rectangle 19"/>
            <p:cNvSpPr/>
            <p:nvPr/>
          </p:nvSpPr>
          <p:spPr bwMode="auto">
            <a:xfrm>
              <a:off x="1022073" y="-1624298"/>
              <a:ext cx="2827252" cy="282725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1" name="Freeform 8"/>
            <p:cNvSpPr>
              <a:spLocks noEditPoints="1"/>
            </p:cNvSpPr>
            <p:nvPr/>
          </p:nvSpPr>
          <p:spPr bwMode="auto">
            <a:xfrm>
              <a:off x="1537798" y="-867430"/>
              <a:ext cx="1792288" cy="1501775"/>
            </a:xfrm>
            <a:custGeom>
              <a:avLst/>
              <a:gdLst>
                <a:gd name="T0" fmla="*/ 184 w 223"/>
                <a:gd name="T1" fmla="*/ 187 h 187"/>
                <a:gd name="T2" fmla="*/ 181 w 223"/>
                <a:gd name="T3" fmla="*/ 186 h 187"/>
                <a:gd name="T4" fmla="*/ 146 w 223"/>
                <a:gd name="T5" fmla="*/ 151 h 187"/>
                <a:gd name="T6" fmla="*/ 40 w 223"/>
                <a:gd name="T7" fmla="*/ 151 h 187"/>
                <a:gd name="T8" fmla="*/ 0 w 223"/>
                <a:gd name="T9" fmla="*/ 111 h 187"/>
                <a:gd name="T10" fmla="*/ 0 w 223"/>
                <a:gd name="T11" fmla="*/ 40 h 187"/>
                <a:gd name="T12" fmla="*/ 40 w 223"/>
                <a:gd name="T13" fmla="*/ 0 h 187"/>
                <a:gd name="T14" fmla="*/ 183 w 223"/>
                <a:gd name="T15" fmla="*/ 0 h 187"/>
                <a:gd name="T16" fmla="*/ 223 w 223"/>
                <a:gd name="T17" fmla="*/ 40 h 187"/>
                <a:gd name="T18" fmla="*/ 223 w 223"/>
                <a:gd name="T19" fmla="*/ 111 h 187"/>
                <a:gd name="T20" fmla="*/ 188 w 223"/>
                <a:gd name="T21" fmla="*/ 150 h 187"/>
                <a:gd name="T22" fmla="*/ 188 w 223"/>
                <a:gd name="T23" fmla="*/ 183 h 187"/>
                <a:gd name="T24" fmla="*/ 185 w 223"/>
                <a:gd name="T25" fmla="*/ 187 h 187"/>
                <a:gd name="T26" fmla="*/ 184 w 223"/>
                <a:gd name="T27" fmla="*/ 187 h 187"/>
                <a:gd name="T28" fmla="*/ 40 w 223"/>
                <a:gd name="T29" fmla="*/ 8 h 187"/>
                <a:gd name="T30" fmla="*/ 8 w 223"/>
                <a:gd name="T31" fmla="*/ 40 h 187"/>
                <a:gd name="T32" fmla="*/ 8 w 223"/>
                <a:gd name="T33" fmla="*/ 111 h 187"/>
                <a:gd name="T34" fmla="*/ 40 w 223"/>
                <a:gd name="T35" fmla="*/ 143 h 187"/>
                <a:gd name="T36" fmla="*/ 148 w 223"/>
                <a:gd name="T37" fmla="*/ 143 h 187"/>
                <a:gd name="T38" fmla="*/ 151 w 223"/>
                <a:gd name="T39" fmla="*/ 144 h 187"/>
                <a:gd name="T40" fmla="*/ 180 w 223"/>
                <a:gd name="T41" fmla="*/ 173 h 187"/>
                <a:gd name="T42" fmla="*/ 180 w 223"/>
                <a:gd name="T43" fmla="*/ 147 h 187"/>
                <a:gd name="T44" fmla="*/ 184 w 223"/>
                <a:gd name="T45" fmla="*/ 143 h 187"/>
                <a:gd name="T46" fmla="*/ 215 w 223"/>
                <a:gd name="T47" fmla="*/ 111 h 187"/>
                <a:gd name="T48" fmla="*/ 215 w 223"/>
                <a:gd name="T49" fmla="*/ 40 h 187"/>
                <a:gd name="T50" fmla="*/ 183 w 223"/>
                <a:gd name="T51" fmla="*/ 8 h 187"/>
                <a:gd name="T52" fmla="*/ 40 w 223"/>
                <a:gd name="T53" fmla="*/ 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3" h="187">
                  <a:moveTo>
                    <a:pt x="184" y="187"/>
                  </a:moveTo>
                  <a:cubicBezTo>
                    <a:pt x="183" y="187"/>
                    <a:pt x="182" y="187"/>
                    <a:pt x="181" y="186"/>
                  </a:cubicBezTo>
                  <a:cubicBezTo>
                    <a:pt x="146" y="151"/>
                    <a:pt x="146" y="151"/>
                    <a:pt x="146" y="151"/>
                  </a:cubicBezTo>
                  <a:cubicBezTo>
                    <a:pt x="40" y="151"/>
                    <a:pt x="40" y="151"/>
                    <a:pt x="40" y="151"/>
                  </a:cubicBezTo>
                  <a:cubicBezTo>
                    <a:pt x="18" y="151"/>
                    <a:pt x="0" y="133"/>
                    <a:pt x="0" y="111"/>
                  </a:cubicBezTo>
                  <a:cubicBezTo>
                    <a:pt x="0" y="40"/>
                    <a:pt x="0" y="40"/>
                    <a:pt x="0" y="40"/>
                  </a:cubicBezTo>
                  <a:cubicBezTo>
                    <a:pt x="0" y="18"/>
                    <a:pt x="18" y="0"/>
                    <a:pt x="40" y="0"/>
                  </a:cubicBezTo>
                  <a:cubicBezTo>
                    <a:pt x="183" y="0"/>
                    <a:pt x="183" y="0"/>
                    <a:pt x="183" y="0"/>
                  </a:cubicBezTo>
                  <a:cubicBezTo>
                    <a:pt x="205" y="0"/>
                    <a:pt x="223" y="18"/>
                    <a:pt x="223" y="40"/>
                  </a:cubicBezTo>
                  <a:cubicBezTo>
                    <a:pt x="223" y="111"/>
                    <a:pt x="223" y="111"/>
                    <a:pt x="223" y="111"/>
                  </a:cubicBezTo>
                  <a:cubicBezTo>
                    <a:pt x="223" y="132"/>
                    <a:pt x="208" y="148"/>
                    <a:pt x="188" y="150"/>
                  </a:cubicBezTo>
                  <a:cubicBezTo>
                    <a:pt x="188" y="183"/>
                    <a:pt x="188" y="183"/>
                    <a:pt x="188" y="183"/>
                  </a:cubicBezTo>
                  <a:cubicBezTo>
                    <a:pt x="188" y="185"/>
                    <a:pt x="187" y="186"/>
                    <a:pt x="185" y="187"/>
                  </a:cubicBezTo>
                  <a:cubicBezTo>
                    <a:pt x="185" y="187"/>
                    <a:pt x="184" y="187"/>
                    <a:pt x="184" y="187"/>
                  </a:cubicBezTo>
                  <a:moveTo>
                    <a:pt x="40" y="8"/>
                  </a:moveTo>
                  <a:cubicBezTo>
                    <a:pt x="22" y="8"/>
                    <a:pt x="8" y="23"/>
                    <a:pt x="8" y="40"/>
                  </a:cubicBezTo>
                  <a:cubicBezTo>
                    <a:pt x="8" y="111"/>
                    <a:pt x="8" y="111"/>
                    <a:pt x="8" y="111"/>
                  </a:cubicBezTo>
                  <a:cubicBezTo>
                    <a:pt x="8" y="128"/>
                    <a:pt x="22" y="143"/>
                    <a:pt x="40" y="143"/>
                  </a:cubicBezTo>
                  <a:cubicBezTo>
                    <a:pt x="148" y="143"/>
                    <a:pt x="148" y="143"/>
                    <a:pt x="148" y="143"/>
                  </a:cubicBezTo>
                  <a:cubicBezTo>
                    <a:pt x="149" y="143"/>
                    <a:pt x="150" y="143"/>
                    <a:pt x="151" y="144"/>
                  </a:cubicBezTo>
                  <a:cubicBezTo>
                    <a:pt x="180" y="173"/>
                    <a:pt x="180" y="173"/>
                    <a:pt x="180" y="173"/>
                  </a:cubicBezTo>
                  <a:cubicBezTo>
                    <a:pt x="180" y="147"/>
                    <a:pt x="180" y="147"/>
                    <a:pt x="180" y="147"/>
                  </a:cubicBezTo>
                  <a:cubicBezTo>
                    <a:pt x="180" y="144"/>
                    <a:pt x="182" y="143"/>
                    <a:pt x="184" y="143"/>
                  </a:cubicBezTo>
                  <a:cubicBezTo>
                    <a:pt x="201" y="143"/>
                    <a:pt x="215" y="129"/>
                    <a:pt x="215" y="111"/>
                  </a:cubicBezTo>
                  <a:cubicBezTo>
                    <a:pt x="215" y="40"/>
                    <a:pt x="215" y="40"/>
                    <a:pt x="215" y="40"/>
                  </a:cubicBezTo>
                  <a:cubicBezTo>
                    <a:pt x="215" y="23"/>
                    <a:pt x="200" y="8"/>
                    <a:pt x="183" y="8"/>
                  </a:cubicBezTo>
                  <a:lnTo>
                    <a:pt x="4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93"/>
              <a:endParaRPr lang="en-US">
                <a:solidFill>
                  <a:srgbClr val="FFFFFF"/>
                </a:solidFill>
              </a:endParaRPr>
            </a:p>
          </p:txBody>
        </p:sp>
      </p:grpSp>
    </p:spTree>
    <p:extLst>
      <p:ext uri="{BB962C8B-B14F-4D97-AF65-F5344CB8AC3E}">
        <p14:creationId xmlns:p14="http://schemas.microsoft.com/office/powerpoint/2010/main" val="2694685450"/>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nnouncement,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93"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Announcement</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6"/>
            <a:ext cx="4959201" cy="346249"/>
          </a:xfrm>
        </p:spPr>
        <p:txBody>
          <a:bodyPr>
            <a:noAutofit/>
          </a:bodyPr>
          <a:lstStyle>
            <a:lvl1pPr marL="0" indent="0" algn="l" defTabSz="685693"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9"/>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8"/>
            <a:ext cx="4959201" cy="1142621"/>
          </a:xfrm>
        </p:spPr>
        <p:txBody>
          <a:bodyPr anchor="ctr" anchorCtr="0">
            <a:noAutofit/>
          </a:bodyPr>
          <a:lstStyle>
            <a:lvl1pPr algn="l" defTabSz="685693" rtl="0" eaLnBrk="1" latinLnBrk="0" hangingPunct="1">
              <a:lnSpc>
                <a:spcPct val="90000"/>
              </a:lnSpc>
              <a:spcBef>
                <a:spcPct val="0"/>
              </a:spcBef>
              <a:buNone/>
              <a:defRPr lang="en-US" sz="3000" b="1" kern="1200" cap="none" spc="-75" baseline="0" dirty="0">
                <a:ln w="3175">
                  <a:noFill/>
                </a:ln>
                <a:solidFill>
                  <a:schemeClr val="accent3">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09"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grpSp>
        <p:nvGrpSpPr>
          <p:cNvPr id="17" name="Orange Tile"/>
          <p:cNvGrpSpPr/>
          <p:nvPr userDrawn="1"/>
        </p:nvGrpSpPr>
        <p:grpSpPr>
          <a:xfrm>
            <a:off x="762091" y="2390612"/>
            <a:ext cx="2120991" cy="2120439"/>
            <a:chOff x="1351800" y="-1084759"/>
            <a:chExt cx="2827252" cy="2827252"/>
          </a:xfrm>
        </p:grpSpPr>
        <p:sp>
          <p:nvSpPr>
            <p:cNvPr id="18" name="Rectangle 17"/>
            <p:cNvSpPr/>
            <p:nvPr/>
          </p:nvSpPr>
          <p:spPr bwMode="auto">
            <a:xfrm>
              <a:off x="1351800" y="-1084759"/>
              <a:ext cx="2827252" cy="282725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2" name="Freeform 21"/>
            <p:cNvSpPr>
              <a:spLocks noEditPoints="1"/>
            </p:cNvSpPr>
            <p:nvPr/>
          </p:nvSpPr>
          <p:spPr bwMode="auto">
            <a:xfrm>
              <a:off x="2005011" y="-436308"/>
              <a:ext cx="1522413" cy="1530350"/>
            </a:xfrm>
            <a:custGeom>
              <a:avLst/>
              <a:gdLst>
                <a:gd name="T0" fmla="*/ 6 w 187"/>
                <a:gd name="T1" fmla="*/ 188 h 188"/>
                <a:gd name="T2" fmla="*/ 129 w 187"/>
                <a:gd name="T3" fmla="*/ 64 h 188"/>
                <a:gd name="T4" fmla="*/ 180 w 187"/>
                <a:gd name="T5" fmla="*/ 115 h 188"/>
                <a:gd name="T6" fmla="*/ 185 w 187"/>
                <a:gd name="T7" fmla="*/ 116 h 188"/>
                <a:gd name="T8" fmla="*/ 187 w 187"/>
                <a:gd name="T9" fmla="*/ 112 h 188"/>
                <a:gd name="T10" fmla="*/ 187 w 187"/>
                <a:gd name="T11" fmla="*/ 4 h 188"/>
                <a:gd name="T12" fmla="*/ 183 w 187"/>
                <a:gd name="T13" fmla="*/ 0 h 188"/>
                <a:gd name="T14" fmla="*/ 75 w 187"/>
                <a:gd name="T15" fmla="*/ 0 h 188"/>
                <a:gd name="T16" fmla="*/ 71 w 187"/>
                <a:gd name="T17" fmla="*/ 3 h 188"/>
                <a:gd name="T18" fmla="*/ 71 w 187"/>
                <a:gd name="T19" fmla="*/ 4 h 188"/>
                <a:gd name="T20" fmla="*/ 72 w 187"/>
                <a:gd name="T21" fmla="*/ 7 h 188"/>
                <a:gd name="T22" fmla="*/ 123 w 187"/>
                <a:gd name="T23" fmla="*/ 58 h 188"/>
                <a:gd name="T24" fmla="*/ 0 w 187"/>
                <a:gd name="T25" fmla="*/ 182 h 188"/>
                <a:gd name="T26" fmla="*/ 6 w 187"/>
                <a:gd name="T27" fmla="*/ 188 h 188"/>
                <a:gd name="T28" fmla="*/ 179 w 187"/>
                <a:gd name="T29" fmla="*/ 8 h 188"/>
                <a:gd name="T30" fmla="*/ 179 w 187"/>
                <a:gd name="T31" fmla="*/ 103 h 188"/>
                <a:gd name="T32" fmla="*/ 85 w 187"/>
                <a:gd name="T33" fmla="*/ 8 h 188"/>
                <a:gd name="T34" fmla="*/ 179 w 187"/>
                <a:gd name="T35" fmla="*/ 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7" h="188">
                  <a:moveTo>
                    <a:pt x="6" y="188"/>
                  </a:moveTo>
                  <a:cubicBezTo>
                    <a:pt x="129" y="64"/>
                    <a:pt x="129" y="64"/>
                    <a:pt x="129" y="64"/>
                  </a:cubicBezTo>
                  <a:cubicBezTo>
                    <a:pt x="180" y="115"/>
                    <a:pt x="180" y="115"/>
                    <a:pt x="180" y="115"/>
                  </a:cubicBezTo>
                  <a:cubicBezTo>
                    <a:pt x="181" y="116"/>
                    <a:pt x="183" y="117"/>
                    <a:pt x="185" y="116"/>
                  </a:cubicBezTo>
                  <a:cubicBezTo>
                    <a:pt x="186" y="116"/>
                    <a:pt x="187" y="114"/>
                    <a:pt x="187" y="112"/>
                  </a:cubicBezTo>
                  <a:cubicBezTo>
                    <a:pt x="187" y="4"/>
                    <a:pt x="187" y="4"/>
                    <a:pt x="187" y="4"/>
                  </a:cubicBezTo>
                  <a:cubicBezTo>
                    <a:pt x="187" y="2"/>
                    <a:pt x="185" y="0"/>
                    <a:pt x="183" y="0"/>
                  </a:cubicBezTo>
                  <a:cubicBezTo>
                    <a:pt x="75" y="0"/>
                    <a:pt x="75" y="0"/>
                    <a:pt x="75" y="0"/>
                  </a:cubicBezTo>
                  <a:cubicBezTo>
                    <a:pt x="73" y="0"/>
                    <a:pt x="72" y="1"/>
                    <a:pt x="71" y="3"/>
                  </a:cubicBezTo>
                  <a:cubicBezTo>
                    <a:pt x="71" y="3"/>
                    <a:pt x="71" y="4"/>
                    <a:pt x="71" y="4"/>
                  </a:cubicBezTo>
                  <a:cubicBezTo>
                    <a:pt x="71" y="6"/>
                    <a:pt x="71" y="7"/>
                    <a:pt x="72" y="7"/>
                  </a:cubicBezTo>
                  <a:cubicBezTo>
                    <a:pt x="123" y="58"/>
                    <a:pt x="123" y="58"/>
                    <a:pt x="123" y="58"/>
                  </a:cubicBezTo>
                  <a:cubicBezTo>
                    <a:pt x="0" y="182"/>
                    <a:pt x="0" y="182"/>
                    <a:pt x="0" y="182"/>
                  </a:cubicBezTo>
                  <a:lnTo>
                    <a:pt x="6" y="188"/>
                  </a:lnTo>
                  <a:close/>
                  <a:moveTo>
                    <a:pt x="179" y="8"/>
                  </a:moveTo>
                  <a:cubicBezTo>
                    <a:pt x="179" y="103"/>
                    <a:pt x="179" y="103"/>
                    <a:pt x="179" y="103"/>
                  </a:cubicBezTo>
                  <a:cubicBezTo>
                    <a:pt x="85" y="8"/>
                    <a:pt x="85" y="8"/>
                    <a:pt x="85" y="8"/>
                  </a:cubicBezTo>
                  <a:lnTo>
                    <a:pt x="179" y="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685693"/>
              <a:endParaRPr lang="en-US">
                <a:solidFill>
                  <a:srgbClr val="FFFFFF"/>
                </a:solidFill>
              </a:endParaRPr>
            </a:p>
          </p:txBody>
        </p:sp>
      </p:grpSp>
    </p:spTree>
    <p:extLst>
      <p:ext uri="{BB962C8B-B14F-4D97-AF65-F5344CB8AC3E}">
        <p14:creationId xmlns:p14="http://schemas.microsoft.com/office/powerpoint/2010/main" val="218280100"/>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93"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Title</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6"/>
            <a:ext cx="4959201" cy="346249"/>
          </a:xfrm>
        </p:spPr>
        <p:txBody>
          <a:bodyPr>
            <a:noAutofit/>
          </a:bodyPr>
          <a:lstStyle>
            <a:lvl1pPr marL="0" indent="0" algn="l" defTabSz="685693"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9"/>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8"/>
            <a:ext cx="4959201" cy="1142621"/>
          </a:xfrm>
        </p:spPr>
        <p:txBody>
          <a:bodyPr anchor="ctr" anchorCtr="0">
            <a:noAutofit/>
          </a:bodyPr>
          <a:lstStyle>
            <a:lvl1pPr algn="l" defTabSz="685693" rtl="0" eaLnBrk="1" latinLnBrk="0" hangingPunct="1">
              <a:lnSpc>
                <a:spcPct val="90000"/>
              </a:lnSpc>
              <a:spcBef>
                <a:spcPct val="0"/>
              </a:spcBef>
              <a:buNone/>
              <a:defRPr lang="en-US" sz="3000" b="1" kern="1200" cap="none" spc="-75" baseline="0" dirty="0">
                <a:ln w="3175">
                  <a:noFill/>
                </a:ln>
                <a:solidFill>
                  <a:schemeClr val="accent4">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09"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grpSp>
        <p:nvGrpSpPr>
          <p:cNvPr id="19" name="Teal Tile"/>
          <p:cNvGrpSpPr/>
          <p:nvPr userDrawn="1"/>
        </p:nvGrpSpPr>
        <p:grpSpPr>
          <a:xfrm>
            <a:off x="762091" y="2390354"/>
            <a:ext cx="2120991" cy="2120439"/>
            <a:chOff x="823093" y="-1413626"/>
            <a:chExt cx="2827252" cy="2827252"/>
          </a:xfrm>
        </p:grpSpPr>
        <p:sp>
          <p:nvSpPr>
            <p:cNvPr id="20" name="Rectangle 19"/>
            <p:cNvSpPr/>
            <p:nvPr/>
          </p:nvSpPr>
          <p:spPr bwMode="auto">
            <a:xfrm>
              <a:off x="823093" y="-1413626"/>
              <a:ext cx="2827252" cy="282725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1" name="Freeform 20"/>
            <p:cNvSpPr>
              <a:spLocks noEditPoints="1"/>
            </p:cNvSpPr>
            <p:nvPr/>
          </p:nvSpPr>
          <p:spPr bwMode="auto">
            <a:xfrm>
              <a:off x="1397725" y="-232569"/>
              <a:ext cx="1677988" cy="465138"/>
            </a:xfrm>
            <a:custGeom>
              <a:avLst/>
              <a:gdLst>
                <a:gd name="T0" fmla="*/ 0 w 209"/>
                <a:gd name="T1" fmla="*/ 25 h 58"/>
                <a:gd name="T2" fmla="*/ 20 w 209"/>
                <a:gd name="T3" fmla="*/ 25 h 58"/>
                <a:gd name="T4" fmla="*/ 20 w 209"/>
                <a:gd name="T5" fmla="*/ 33 h 58"/>
                <a:gd name="T6" fmla="*/ 0 w 209"/>
                <a:gd name="T7" fmla="*/ 33 h 58"/>
                <a:gd name="T8" fmla="*/ 0 w 209"/>
                <a:gd name="T9" fmla="*/ 25 h 58"/>
                <a:gd name="T10" fmla="*/ 40 w 209"/>
                <a:gd name="T11" fmla="*/ 33 h 58"/>
                <a:gd name="T12" fmla="*/ 60 w 209"/>
                <a:gd name="T13" fmla="*/ 33 h 58"/>
                <a:gd name="T14" fmla="*/ 60 w 209"/>
                <a:gd name="T15" fmla="*/ 25 h 58"/>
                <a:gd name="T16" fmla="*/ 40 w 209"/>
                <a:gd name="T17" fmla="*/ 25 h 58"/>
                <a:gd name="T18" fmla="*/ 40 w 209"/>
                <a:gd name="T19" fmla="*/ 33 h 58"/>
                <a:gd name="T20" fmla="*/ 120 w 209"/>
                <a:gd name="T21" fmla="*/ 33 h 58"/>
                <a:gd name="T22" fmla="*/ 140 w 209"/>
                <a:gd name="T23" fmla="*/ 33 h 58"/>
                <a:gd name="T24" fmla="*/ 140 w 209"/>
                <a:gd name="T25" fmla="*/ 25 h 58"/>
                <a:gd name="T26" fmla="*/ 120 w 209"/>
                <a:gd name="T27" fmla="*/ 25 h 58"/>
                <a:gd name="T28" fmla="*/ 120 w 209"/>
                <a:gd name="T29" fmla="*/ 33 h 58"/>
                <a:gd name="T30" fmla="*/ 80 w 209"/>
                <a:gd name="T31" fmla="*/ 33 h 58"/>
                <a:gd name="T32" fmla="*/ 100 w 209"/>
                <a:gd name="T33" fmla="*/ 33 h 58"/>
                <a:gd name="T34" fmla="*/ 100 w 209"/>
                <a:gd name="T35" fmla="*/ 25 h 58"/>
                <a:gd name="T36" fmla="*/ 80 w 209"/>
                <a:gd name="T37" fmla="*/ 25 h 58"/>
                <a:gd name="T38" fmla="*/ 80 w 209"/>
                <a:gd name="T39" fmla="*/ 33 h 58"/>
                <a:gd name="T40" fmla="*/ 207 w 209"/>
                <a:gd name="T41" fmla="*/ 26 h 58"/>
                <a:gd name="T42" fmla="*/ 181 w 209"/>
                <a:gd name="T43" fmla="*/ 0 h 58"/>
                <a:gd name="T44" fmla="*/ 175 w 209"/>
                <a:gd name="T45" fmla="*/ 6 h 58"/>
                <a:gd name="T46" fmla="*/ 195 w 209"/>
                <a:gd name="T47" fmla="*/ 25 h 58"/>
                <a:gd name="T48" fmla="*/ 160 w 209"/>
                <a:gd name="T49" fmla="*/ 25 h 58"/>
                <a:gd name="T50" fmla="*/ 160 w 209"/>
                <a:gd name="T51" fmla="*/ 33 h 58"/>
                <a:gd name="T52" fmla="*/ 195 w 209"/>
                <a:gd name="T53" fmla="*/ 33 h 58"/>
                <a:gd name="T54" fmla="*/ 175 w 209"/>
                <a:gd name="T55" fmla="*/ 52 h 58"/>
                <a:gd name="T56" fmla="*/ 181 w 209"/>
                <a:gd name="T57" fmla="*/ 58 h 58"/>
                <a:gd name="T58" fmla="*/ 207 w 209"/>
                <a:gd name="T59" fmla="*/ 32 h 58"/>
                <a:gd name="T60" fmla="*/ 207 w 209"/>
                <a:gd name="T61" fmla="*/ 2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9" h="58">
                  <a:moveTo>
                    <a:pt x="0" y="25"/>
                  </a:moveTo>
                  <a:cubicBezTo>
                    <a:pt x="20" y="25"/>
                    <a:pt x="20" y="25"/>
                    <a:pt x="20" y="25"/>
                  </a:cubicBezTo>
                  <a:cubicBezTo>
                    <a:pt x="20" y="33"/>
                    <a:pt x="20" y="33"/>
                    <a:pt x="20" y="33"/>
                  </a:cubicBezTo>
                  <a:cubicBezTo>
                    <a:pt x="0" y="33"/>
                    <a:pt x="0" y="33"/>
                    <a:pt x="0" y="33"/>
                  </a:cubicBezTo>
                  <a:lnTo>
                    <a:pt x="0" y="25"/>
                  </a:lnTo>
                  <a:close/>
                  <a:moveTo>
                    <a:pt x="40" y="33"/>
                  </a:moveTo>
                  <a:cubicBezTo>
                    <a:pt x="60" y="33"/>
                    <a:pt x="60" y="33"/>
                    <a:pt x="60" y="33"/>
                  </a:cubicBezTo>
                  <a:cubicBezTo>
                    <a:pt x="60" y="25"/>
                    <a:pt x="60" y="25"/>
                    <a:pt x="60" y="25"/>
                  </a:cubicBezTo>
                  <a:cubicBezTo>
                    <a:pt x="40" y="25"/>
                    <a:pt x="40" y="25"/>
                    <a:pt x="40" y="25"/>
                  </a:cubicBezTo>
                  <a:lnTo>
                    <a:pt x="40" y="33"/>
                  </a:lnTo>
                  <a:close/>
                  <a:moveTo>
                    <a:pt x="120" y="33"/>
                  </a:moveTo>
                  <a:cubicBezTo>
                    <a:pt x="140" y="33"/>
                    <a:pt x="140" y="33"/>
                    <a:pt x="140" y="33"/>
                  </a:cubicBezTo>
                  <a:cubicBezTo>
                    <a:pt x="140" y="25"/>
                    <a:pt x="140" y="25"/>
                    <a:pt x="140" y="25"/>
                  </a:cubicBezTo>
                  <a:cubicBezTo>
                    <a:pt x="120" y="25"/>
                    <a:pt x="120" y="25"/>
                    <a:pt x="120" y="25"/>
                  </a:cubicBezTo>
                  <a:lnTo>
                    <a:pt x="120" y="33"/>
                  </a:lnTo>
                  <a:close/>
                  <a:moveTo>
                    <a:pt x="80" y="33"/>
                  </a:moveTo>
                  <a:cubicBezTo>
                    <a:pt x="100" y="33"/>
                    <a:pt x="100" y="33"/>
                    <a:pt x="100" y="33"/>
                  </a:cubicBezTo>
                  <a:cubicBezTo>
                    <a:pt x="100" y="25"/>
                    <a:pt x="100" y="25"/>
                    <a:pt x="100" y="25"/>
                  </a:cubicBezTo>
                  <a:cubicBezTo>
                    <a:pt x="80" y="25"/>
                    <a:pt x="80" y="25"/>
                    <a:pt x="80" y="25"/>
                  </a:cubicBezTo>
                  <a:lnTo>
                    <a:pt x="80" y="33"/>
                  </a:lnTo>
                  <a:close/>
                  <a:moveTo>
                    <a:pt x="207" y="26"/>
                  </a:moveTo>
                  <a:cubicBezTo>
                    <a:pt x="181" y="0"/>
                    <a:pt x="181" y="0"/>
                    <a:pt x="181" y="0"/>
                  </a:cubicBezTo>
                  <a:cubicBezTo>
                    <a:pt x="175" y="6"/>
                    <a:pt x="175" y="6"/>
                    <a:pt x="175" y="6"/>
                  </a:cubicBezTo>
                  <a:cubicBezTo>
                    <a:pt x="195" y="25"/>
                    <a:pt x="195" y="25"/>
                    <a:pt x="195" y="25"/>
                  </a:cubicBezTo>
                  <a:cubicBezTo>
                    <a:pt x="160" y="25"/>
                    <a:pt x="160" y="25"/>
                    <a:pt x="160" y="25"/>
                  </a:cubicBezTo>
                  <a:cubicBezTo>
                    <a:pt x="160" y="33"/>
                    <a:pt x="160" y="33"/>
                    <a:pt x="160" y="33"/>
                  </a:cubicBezTo>
                  <a:cubicBezTo>
                    <a:pt x="195" y="33"/>
                    <a:pt x="195" y="33"/>
                    <a:pt x="195" y="33"/>
                  </a:cubicBezTo>
                  <a:cubicBezTo>
                    <a:pt x="175" y="52"/>
                    <a:pt x="175" y="52"/>
                    <a:pt x="175" y="52"/>
                  </a:cubicBezTo>
                  <a:cubicBezTo>
                    <a:pt x="181" y="58"/>
                    <a:pt x="181" y="58"/>
                    <a:pt x="181" y="58"/>
                  </a:cubicBezTo>
                  <a:cubicBezTo>
                    <a:pt x="207" y="32"/>
                    <a:pt x="207" y="32"/>
                    <a:pt x="207" y="32"/>
                  </a:cubicBezTo>
                  <a:cubicBezTo>
                    <a:pt x="209" y="30"/>
                    <a:pt x="209" y="28"/>
                    <a:pt x="207"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93"/>
              <a:endParaRPr lang="en-US">
                <a:solidFill>
                  <a:srgbClr val="FFFFFF"/>
                </a:solidFill>
              </a:endParaRPr>
            </a:p>
          </p:txBody>
        </p:sp>
      </p:grpSp>
    </p:spTree>
    <p:extLst>
      <p:ext uri="{BB962C8B-B14F-4D97-AF65-F5344CB8AC3E}">
        <p14:creationId xmlns:p14="http://schemas.microsoft.com/office/powerpoint/2010/main" val="4017440570"/>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6"/>
            <a:ext cx="8363938" cy="457049"/>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2"/>
            <a:ext cx="8363938" cy="150041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69017180"/>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89436" y="1085852"/>
            <a:ext cx="8363938" cy="150041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19369313"/>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6"/>
            <a:ext cx="4115872" cy="1323439"/>
          </a:xfrm>
        </p:spPr>
        <p:txBody>
          <a:bodyPr/>
          <a:lstStyle>
            <a:lvl1pPr marL="254952" indent="-254952">
              <a:lnSpc>
                <a:spcPct val="90000"/>
              </a:lnSpc>
              <a:defRPr sz="2100"/>
            </a:lvl1pPr>
            <a:lvl2pPr marL="504945" indent="-244041">
              <a:lnSpc>
                <a:spcPct val="90000"/>
              </a:lnSpc>
              <a:defRPr sz="1800"/>
            </a:lvl2pPr>
            <a:lvl3pPr marL="715254" indent="-216263">
              <a:lnSpc>
                <a:spcPct val="90000"/>
              </a:lnSpc>
              <a:defRPr sz="1500"/>
            </a:lvl3pPr>
            <a:lvl4pPr marL="920604" indent="-205348">
              <a:lnSpc>
                <a:spcPct val="90000"/>
              </a:lnSpc>
              <a:defRPr sz="1400"/>
            </a:lvl4pPr>
            <a:lvl5pPr marL="1136867" indent="-210309">
              <a:lnSpc>
                <a:spcPct val="90000"/>
              </a:lnSpc>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6"/>
            <a:ext cx="4115872" cy="1323439"/>
          </a:xfrm>
        </p:spPr>
        <p:txBody>
          <a:bodyPr/>
          <a:lstStyle>
            <a:lvl1pPr marL="260904" indent="-260904">
              <a:lnSpc>
                <a:spcPct val="90000"/>
              </a:lnSpc>
              <a:defRPr sz="2100"/>
            </a:lvl1pPr>
            <a:lvl2pPr marL="504945" indent="-254952">
              <a:lnSpc>
                <a:spcPct val="90000"/>
              </a:lnSpc>
              <a:defRPr sz="1800"/>
            </a:lvl2pPr>
            <a:lvl3pPr marL="721208" indent="-227178">
              <a:lnSpc>
                <a:spcPct val="90000"/>
              </a:lnSpc>
              <a:defRPr sz="1500"/>
            </a:lvl3pPr>
            <a:lvl4pPr marL="920604" indent="-199395">
              <a:lnSpc>
                <a:spcPct val="90000"/>
              </a:lnSpc>
              <a:defRPr sz="1400"/>
            </a:lvl4pPr>
            <a:lvl5pPr marL="1136867" indent="-205348">
              <a:lnSpc>
                <a:spcPct val="90000"/>
              </a:lnSpc>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76479794"/>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389436" y="1055209"/>
            <a:ext cx="4115872" cy="263149"/>
          </a:xfrm>
        </p:spPr>
        <p:txBody>
          <a:bodyPr anchor="b"/>
          <a:lstStyle>
            <a:lvl1pPr marL="0" indent="0">
              <a:lnSpc>
                <a:spcPct val="90000"/>
              </a:lnSpc>
              <a:spcBef>
                <a:spcPts val="0"/>
              </a:spcBef>
              <a:buNone/>
              <a:defRPr sz="1900" b="1"/>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600206"/>
            <a:ext cx="4114800" cy="1166473"/>
          </a:xfrm>
        </p:spPr>
        <p:txBody>
          <a:bodyPr/>
          <a:lstStyle>
            <a:lvl1pPr marL="211302" indent="-211302">
              <a:defRPr sz="1700"/>
            </a:lvl1pPr>
            <a:lvl2pPr marL="421612" indent="-199395">
              <a:defRPr sz="1500"/>
            </a:lvl2pPr>
            <a:lvl3pPr marL="610100" indent="-182535">
              <a:defRPr sz="1400"/>
            </a:lvl3pPr>
            <a:lvl4pPr marL="787673" indent="-171623">
              <a:defRPr sz="1300"/>
            </a:lvl4pPr>
            <a:lvl5pPr marL="959295" indent="-154760">
              <a:defRPr sz="13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55209"/>
            <a:ext cx="4115872" cy="263149"/>
          </a:xfrm>
        </p:spPr>
        <p:txBody>
          <a:bodyPr anchor="b"/>
          <a:lstStyle>
            <a:lvl1pPr marL="0" indent="0">
              <a:lnSpc>
                <a:spcPct val="90000"/>
              </a:lnSpc>
              <a:spcBef>
                <a:spcPts val="0"/>
              </a:spcBef>
              <a:buNone/>
              <a:defRPr sz="1900" b="1"/>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600201"/>
            <a:ext cx="4115872" cy="1183964"/>
          </a:xfrm>
        </p:spPr>
        <p:txBody>
          <a:bodyPr/>
          <a:lstStyle>
            <a:lvl1pPr marL="222216" indent="-222216">
              <a:defRPr sz="1700"/>
            </a:lvl1pPr>
            <a:lvl2pPr marL="427565" indent="-205348">
              <a:defRPr sz="1500"/>
            </a:lvl2pPr>
            <a:lvl3pPr marL="616053" indent="-183526">
              <a:defRPr sz="1400"/>
            </a:lvl3pPr>
            <a:lvl4pPr marL="787673" indent="-177573">
              <a:defRPr sz="1300"/>
            </a:lvl4pPr>
            <a:lvl5pPr marL="959295" indent="-165669">
              <a:defRPr sz="13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87561676"/>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811403410"/>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7204191"/>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3" y="2390353"/>
            <a:ext cx="5373500"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3008303" y="1135856"/>
            <a:ext cx="5373500" cy="112471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5" y="1189940"/>
            <a:ext cx="4163390" cy="1033983"/>
          </a:xfrm>
        </p:spPr>
        <p:txBody>
          <a:bodyPr anchor="ctr" anchorCtr="0">
            <a:noAutofit/>
            <a:scene3d>
              <a:camera prst="orthographicFront"/>
              <a:lightRig rig="flat" dir="t"/>
            </a:scene3d>
            <a:sp3d>
              <a:contourClr>
                <a:schemeClr val="tx2"/>
              </a:contourClr>
            </a:sp3d>
          </a:bodyPr>
          <a:lstStyle>
            <a:lvl1pPr marL="0" indent="0" algn="l" defTabSz="68548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Title</a:t>
            </a:r>
          </a:p>
        </p:txBody>
      </p:sp>
      <p:sp useBgFill="1">
        <p:nvSpPr>
          <p:cNvPr id="9" name="Left Mask"/>
          <p:cNvSpPr/>
          <p:nvPr userDrawn="1"/>
        </p:nvSpPr>
        <p:spPr bwMode="auto">
          <a:xfrm>
            <a:off x="-1" y="1135857"/>
            <a:ext cx="3008303"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3135108" y="3886211"/>
            <a:ext cx="4959201" cy="346249"/>
          </a:xfrm>
        </p:spPr>
        <p:txBody>
          <a:bodyPr>
            <a:noAutofit/>
          </a:bodyPr>
          <a:lstStyle>
            <a:lvl1pPr marL="0" indent="0" algn="l" defTabSz="68548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39" indent="0" algn="ctr">
              <a:buNone/>
              <a:defRPr>
                <a:solidFill>
                  <a:schemeClr val="tx1">
                    <a:tint val="75000"/>
                  </a:schemeClr>
                </a:solidFill>
              </a:defRPr>
            </a:lvl2pPr>
            <a:lvl3pPr marL="685487" indent="0" algn="ctr">
              <a:buNone/>
              <a:defRPr>
                <a:solidFill>
                  <a:schemeClr val="tx1">
                    <a:tint val="75000"/>
                  </a:schemeClr>
                </a:solidFill>
              </a:defRPr>
            </a:lvl3pPr>
            <a:lvl4pPr marL="1028229" indent="0" algn="ctr">
              <a:buNone/>
              <a:defRPr>
                <a:solidFill>
                  <a:schemeClr val="tx1">
                    <a:tint val="75000"/>
                  </a:schemeClr>
                </a:solidFill>
              </a:defRPr>
            </a:lvl4pPr>
            <a:lvl5pPr marL="1370975" indent="0" algn="ctr">
              <a:buNone/>
              <a:defRPr>
                <a:solidFill>
                  <a:schemeClr val="tx1">
                    <a:tint val="75000"/>
                  </a:schemeClr>
                </a:solidFill>
              </a:defRPr>
            </a:lvl5pPr>
            <a:lvl6pPr marL="1713712" indent="0" algn="ctr">
              <a:buNone/>
              <a:defRPr>
                <a:solidFill>
                  <a:schemeClr val="tx1">
                    <a:tint val="75000"/>
                  </a:schemeClr>
                </a:solidFill>
              </a:defRPr>
            </a:lvl6pPr>
            <a:lvl7pPr marL="2056459" indent="0" algn="ctr">
              <a:buNone/>
              <a:defRPr>
                <a:solidFill>
                  <a:schemeClr val="tx1">
                    <a:tint val="75000"/>
                  </a:schemeClr>
                </a:solidFill>
              </a:defRPr>
            </a:lvl7pPr>
            <a:lvl8pPr marL="2399204" indent="0" algn="ctr">
              <a:buNone/>
              <a:defRPr>
                <a:solidFill>
                  <a:schemeClr val="tx1">
                    <a:tint val="75000"/>
                  </a:schemeClr>
                </a:solidFill>
              </a:defRPr>
            </a:lvl8pPr>
            <a:lvl9pPr marL="274195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20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50" tIns="34276" rIns="68550" bIns="34276" numCol="1" anchor="t" anchorCtr="0" compatLnSpc="1">
            <a:prstTxWarp prst="textNoShape">
              <a:avLst/>
            </a:prstTxWarp>
          </a:bodyPr>
          <a:lstStyle/>
          <a:p>
            <a:endParaRPr lang="en-US" sz="1400" dirty="0"/>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1"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8381812" y="1223114"/>
            <a:ext cx="762199"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3135106" y="2390362"/>
            <a:ext cx="4959201" cy="1142621"/>
          </a:xfrm>
        </p:spPr>
        <p:txBody>
          <a:bodyPr anchor="ctr" anchorCtr="0">
            <a:noAutofit/>
          </a:bodyPr>
          <a:lstStyle>
            <a:lvl1pPr algn="l" defTabSz="685487" rtl="0" eaLnBrk="1" latinLnBrk="0" hangingPunct="1">
              <a:lnSpc>
                <a:spcPct val="90000"/>
              </a:lnSpc>
              <a:spcBef>
                <a:spcPct val="0"/>
              </a:spcBef>
              <a:buNone/>
              <a:defRPr lang="en-US" sz="3000" b="1" kern="1200" cap="none" spc="-75" baseline="0" dirty="0">
                <a:ln w="3175">
                  <a:noFill/>
                </a:ln>
                <a:solidFill>
                  <a:schemeClr val="accent4">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1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9" name="Teal Tile"/>
          <p:cNvGrpSpPr/>
          <p:nvPr userDrawn="1"/>
        </p:nvGrpSpPr>
        <p:grpSpPr>
          <a:xfrm>
            <a:off x="762091" y="2390354"/>
            <a:ext cx="2120991" cy="2120439"/>
            <a:chOff x="823093" y="-1413626"/>
            <a:chExt cx="2827252" cy="2827252"/>
          </a:xfrm>
        </p:grpSpPr>
        <p:sp>
          <p:nvSpPr>
            <p:cNvPr id="20" name="Rectangle 19"/>
            <p:cNvSpPr/>
            <p:nvPr/>
          </p:nvSpPr>
          <p:spPr bwMode="auto">
            <a:xfrm>
              <a:off x="823093" y="-1413626"/>
              <a:ext cx="2827252" cy="282725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1" name="Freeform 20"/>
            <p:cNvSpPr>
              <a:spLocks noEditPoints="1"/>
            </p:cNvSpPr>
            <p:nvPr/>
          </p:nvSpPr>
          <p:spPr bwMode="auto">
            <a:xfrm>
              <a:off x="1397725" y="-232569"/>
              <a:ext cx="1677988" cy="465138"/>
            </a:xfrm>
            <a:custGeom>
              <a:avLst/>
              <a:gdLst>
                <a:gd name="T0" fmla="*/ 0 w 209"/>
                <a:gd name="T1" fmla="*/ 25 h 58"/>
                <a:gd name="T2" fmla="*/ 20 w 209"/>
                <a:gd name="T3" fmla="*/ 25 h 58"/>
                <a:gd name="T4" fmla="*/ 20 w 209"/>
                <a:gd name="T5" fmla="*/ 33 h 58"/>
                <a:gd name="T6" fmla="*/ 0 w 209"/>
                <a:gd name="T7" fmla="*/ 33 h 58"/>
                <a:gd name="T8" fmla="*/ 0 w 209"/>
                <a:gd name="T9" fmla="*/ 25 h 58"/>
                <a:gd name="T10" fmla="*/ 40 w 209"/>
                <a:gd name="T11" fmla="*/ 33 h 58"/>
                <a:gd name="T12" fmla="*/ 60 w 209"/>
                <a:gd name="T13" fmla="*/ 33 h 58"/>
                <a:gd name="T14" fmla="*/ 60 w 209"/>
                <a:gd name="T15" fmla="*/ 25 h 58"/>
                <a:gd name="T16" fmla="*/ 40 w 209"/>
                <a:gd name="T17" fmla="*/ 25 h 58"/>
                <a:gd name="T18" fmla="*/ 40 w 209"/>
                <a:gd name="T19" fmla="*/ 33 h 58"/>
                <a:gd name="T20" fmla="*/ 120 w 209"/>
                <a:gd name="T21" fmla="*/ 33 h 58"/>
                <a:gd name="T22" fmla="*/ 140 w 209"/>
                <a:gd name="T23" fmla="*/ 33 h 58"/>
                <a:gd name="T24" fmla="*/ 140 w 209"/>
                <a:gd name="T25" fmla="*/ 25 h 58"/>
                <a:gd name="T26" fmla="*/ 120 w 209"/>
                <a:gd name="T27" fmla="*/ 25 h 58"/>
                <a:gd name="T28" fmla="*/ 120 w 209"/>
                <a:gd name="T29" fmla="*/ 33 h 58"/>
                <a:gd name="T30" fmla="*/ 80 w 209"/>
                <a:gd name="T31" fmla="*/ 33 h 58"/>
                <a:gd name="T32" fmla="*/ 100 w 209"/>
                <a:gd name="T33" fmla="*/ 33 h 58"/>
                <a:gd name="T34" fmla="*/ 100 w 209"/>
                <a:gd name="T35" fmla="*/ 25 h 58"/>
                <a:gd name="T36" fmla="*/ 80 w 209"/>
                <a:gd name="T37" fmla="*/ 25 h 58"/>
                <a:gd name="T38" fmla="*/ 80 w 209"/>
                <a:gd name="T39" fmla="*/ 33 h 58"/>
                <a:gd name="T40" fmla="*/ 207 w 209"/>
                <a:gd name="T41" fmla="*/ 26 h 58"/>
                <a:gd name="T42" fmla="*/ 181 w 209"/>
                <a:gd name="T43" fmla="*/ 0 h 58"/>
                <a:gd name="T44" fmla="*/ 175 w 209"/>
                <a:gd name="T45" fmla="*/ 6 h 58"/>
                <a:gd name="T46" fmla="*/ 195 w 209"/>
                <a:gd name="T47" fmla="*/ 25 h 58"/>
                <a:gd name="T48" fmla="*/ 160 w 209"/>
                <a:gd name="T49" fmla="*/ 25 h 58"/>
                <a:gd name="T50" fmla="*/ 160 w 209"/>
                <a:gd name="T51" fmla="*/ 33 h 58"/>
                <a:gd name="T52" fmla="*/ 195 w 209"/>
                <a:gd name="T53" fmla="*/ 33 h 58"/>
                <a:gd name="T54" fmla="*/ 175 w 209"/>
                <a:gd name="T55" fmla="*/ 52 h 58"/>
                <a:gd name="T56" fmla="*/ 181 w 209"/>
                <a:gd name="T57" fmla="*/ 58 h 58"/>
                <a:gd name="T58" fmla="*/ 207 w 209"/>
                <a:gd name="T59" fmla="*/ 32 h 58"/>
                <a:gd name="T60" fmla="*/ 207 w 209"/>
                <a:gd name="T61" fmla="*/ 2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9" h="58">
                  <a:moveTo>
                    <a:pt x="0" y="25"/>
                  </a:moveTo>
                  <a:cubicBezTo>
                    <a:pt x="20" y="25"/>
                    <a:pt x="20" y="25"/>
                    <a:pt x="20" y="25"/>
                  </a:cubicBezTo>
                  <a:cubicBezTo>
                    <a:pt x="20" y="33"/>
                    <a:pt x="20" y="33"/>
                    <a:pt x="20" y="33"/>
                  </a:cubicBezTo>
                  <a:cubicBezTo>
                    <a:pt x="0" y="33"/>
                    <a:pt x="0" y="33"/>
                    <a:pt x="0" y="33"/>
                  </a:cubicBezTo>
                  <a:lnTo>
                    <a:pt x="0" y="25"/>
                  </a:lnTo>
                  <a:close/>
                  <a:moveTo>
                    <a:pt x="40" y="33"/>
                  </a:moveTo>
                  <a:cubicBezTo>
                    <a:pt x="60" y="33"/>
                    <a:pt x="60" y="33"/>
                    <a:pt x="60" y="33"/>
                  </a:cubicBezTo>
                  <a:cubicBezTo>
                    <a:pt x="60" y="25"/>
                    <a:pt x="60" y="25"/>
                    <a:pt x="60" y="25"/>
                  </a:cubicBezTo>
                  <a:cubicBezTo>
                    <a:pt x="40" y="25"/>
                    <a:pt x="40" y="25"/>
                    <a:pt x="40" y="25"/>
                  </a:cubicBezTo>
                  <a:lnTo>
                    <a:pt x="40" y="33"/>
                  </a:lnTo>
                  <a:close/>
                  <a:moveTo>
                    <a:pt x="120" y="33"/>
                  </a:moveTo>
                  <a:cubicBezTo>
                    <a:pt x="140" y="33"/>
                    <a:pt x="140" y="33"/>
                    <a:pt x="140" y="33"/>
                  </a:cubicBezTo>
                  <a:cubicBezTo>
                    <a:pt x="140" y="25"/>
                    <a:pt x="140" y="25"/>
                    <a:pt x="140" y="25"/>
                  </a:cubicBezTo>
                  <a:cubicBezTo>
                    <a:pt x="120" y="25"/>
                    <a:pt x="120" y="25"/>
                    <a:pt x="120" y="25"/>
                  </a:cubicBezTo>
                  <a:lnTo>
                    <a:pt x="120" y="33"/>
                  </a:lnTo>
                  <a:close/>
                  <a:moveTo>
                    <a:pt x="80" y="33"/>
                  </a:moveTo>
                  <a:cubicBezTo>
                    <a:pt x="100" y="33"/>
                    <a:pt x="100" y="33"/>
                    <a:pt x="100" y="33"/>
                  </a:cubicBezTo>
                  <a:cubicBezTo>
                    <a:pt x="100" y="25"/>
                    <a:pt x="100" y="25"/>
                    <a:pt x="100" y="25"/>
                  </a:cubicBezTo>
                  <a:cubicBezTo>
                    <a:pt x="80" y="25"/>
                    <a:pt x="80" y="25"/>
                    <a:pt x="80" y="25"/>
                  </a:cubicBezTo>
                  <a:lnTo>
                    <a:pt x="80" y="33"/>
                  </a:lnTo>
                  <a:close/>
                  <a:moveTo>
                    <a:pt x="207" y="26"/>
                  </a:moveTo>
                  <a:cubicBezTo>
                    <a:pt x="181" y="0"/>
                    <a:pt x="181" y="0"/>
                    <a:pt x="181" y="0"/>
                  </a:cubicBezTo>
                  <a:cubicBezTo>
                    <a:pt x="175" y="6"/>
                    <a:pt x="175" y="6"/>
                    <a:pt x="175" y="6"/>
                  </a:cubicBezTo>
                  <a:cubicBezTo>
                    <a:pt x="195" y="25"/>
                    <a:pt x="195" y="25"/>
                    <a:pt x="195" y="25"/>
                  </a:cubicBezTo>
                  <a:cubicBezTo>
                    <a:pt x="160" y="25"/>
                    <a:pt x="160" y="25"/>
                    <a:pt x="160" y="25"/>
                  </a:cubicBezTo>
                  <a:cubicBezTo>
                    <a:pt x="160" y="33"/>
                    <a:pt x="160" y="33"/>
                    <a:pt x="160" y="33"/>
                  </a:cubicBezTo>
                  <a:cubicBezTo>
                    <a:pt x="195" y="33"/>
                    <a:pt x="195" y="33"/>
                    <a:pt x="195" y="33"/>
                  </a:cubicBezTo>
                  <a:cubicBezTo>
                    <a:pt x="175" y="52"/>
                    <a:pt x="175" y="52"/>
                    <a:pt x="175" y="52"/>
                  </a:cubicBezTo>
                  <a:cubicBezTo>
                    <a:pt x="181" y="58"/>
                    <a:pt x="181" y="58"/>
                    <a:pt x="181" y="58"/>
                  </a:cubicBezTo>
                  <a:cubicBezTo>
                    <a:pt x="207" y="32"/>
                    <a:pt x="207" y="32"/>
                    <a:pt x="207" y="32"/>
                  </a:cubicBezTo>
                  <a:cubicBezTo>
                    <a:pt x="209" y="30"/>
                    <a:pt x="209" y="28"/>
                    <a:pt x="207"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spTree>
    <p:extLst>
      <p:ext uri="{BB962C8B-B14F-4D97-AF65-F5344CB8AC3E}">
        <p14:creationId xmlns:p14="http://schemas.microsoft.com/office/powerpoint/2010/main" val="2864039411"/>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blank" preserve="1">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7733580"/>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blank" preserve="1">
  <p:cSld name="MS_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3369404"/>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52"/>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57411567"/>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52"/>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81" tIns="57137" rIns="114281" bIns="5713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435455384"/>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Option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userDrawn="1"/>
        </p:nvSpPr>
        <p:spPr bwMode="auto">
          <a:xfrm>
            <a:off x="3008305" y="2387410"/>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29"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5" name="Rectangle 34"/>
          <p:cNvSpPr/>
          <p:nvPr/>
        </p:nvSpPr>
        <p:spPr bwMode="auto">
          <a:xfrm>
            <a:off x="1886044" y="2388950"/>
            <a:ext cx="994669" cy="99441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8" name="Rectangle 37"/>
          <p:cNvSpPr/>
          <p:nvPr/>
        </p:nvSpPr>
        <p:spPr bwMode="auto">
          <a:xfrm>
            <a:off x="762580" y="3512121"/>
            <a:ext cx="994669" cy="99441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41" name="Rectangle 40"/>
          <p:cNvSpPr/>
          <p:nvPr/>
        </p:nvSpPr>
        <p:spPr bwMode="auto">
          <a:xfrm>
            <a:off x="1886044" y="3512121"/>
            <a:ext cx="994669" cy="99441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2" name="Rectangle 31"/>
          <p:cNvSpPr/>
          <p:nvPr/>
        </p:nvSpPr>
        <p:spPr bwMode="auto">
          <a:xfrm>
            <a:off x="762580" y="2388950"/>
            <a:ext cx="994669" cy="99441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title" hasCustomPrompt="1"/>
          </p:nvPr>
        </p:nvSpPr>
        <p:spPr>
          <a:xfrm>
            <a:off x="3124985" y="2552979"/>
            <a:ext cx="5154397" cy="415499"/>
          </a:xfrm>
        </p:spPr>
        <p:txBody>
          <a:bodyPr anchor="b" anchorCtr="0"/>
          <a:lstStyle>
            <a:lvl1pPr>
              <a:defRPr sz="3000" b="1" spc="-113" baseline="0">
                <a:solidFill>
                  <a:schemeClr val="accent1">
                    <a:alpha val="99000"/>
                  </a:schemeClr>
                </a:solidFill>
                <a:latin typeface="+mn-lt"/>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3144046" y="3492947"/>
            <a:ext cx="5106759" cy="373949"/>
          </a:xfrm>
        </p:spPr>
        <p:txBody>
          <a:bodyPr>
            <a:noAutofit/>
          </a:bodyPr>
          <a:lstStyle>
            <a:lvl1pPr marL="0" indent="0">
              <a:spcBef>
                <a:spcPts val="0"/>
              </a:spcBef>
              <a:buNone/>
              <a:defRPr sz="1200" spc="-53" baseline="0">
                <a:gradFill>
                  <a:gsLst>
                    <a:gs pos="0">
                      <a:schemeClr val="tx2"/>
                    </a:gs>
                    <a:gs pos="100000">
                      <a:schemeClr val="tx2"/>
                    </a:gs>
                  </a:gsLst>
                  <a:lin ang="5400000" scaled="0"/>
                </a:gradFill>
                <a:latin typeface="+mn-lt"/>
              </a:defRPr>
            </a:lvl1pPr>
          </a:lstStyle>
          <a:p>
            <a:pPr lvl="0"/>
            <a:r>
              <a:rPr lang="en-US" dirty="0" smtClean="0"/>
              <a:t>Speaker Title</a:t>
            </a:r>
            <a:endParaRPr lang="en-US" dirty="0"/>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8928" y="3665427"/>
            <a:ext cx="717556" cy="704326"/>
          </a:xfrm>
          <a:prstGeom prst="rect">
            <a:avLst/>
          </a:prstGeom>
        </p:spPr>
      </p:pic>
      <p:pic>
        <p:nvPicPr>
          <p:cNvPr id="4" name="Picture 3"/>
          <p:cNvPicPr>
            <a:picLocks noChangeAspect="1"/>
          </p:cNvPicPr>
          <p:nvPr userDrawn="1"/>
        </p:nvPicPr>
        <p:blipFill rotWithShape="1">
          <a:blip r:embed="rId4">
            <a:extLst>
              <a:ext uri="{28A0092B-C50C-407E-A947-70E740481C1C}">
                <a14:useLocalDpi xmlns:a14="http://schemas.microsoft.com/office/drawing/2010/main" val="0"/>
              </a:ext>
            </a:extLst>
          </a:blip>
          <a:srcRect l="28411" t="5974" r="30263" b="6304"/>
          <a:stretch/>
        </p:blipFill>
        <p:spPr bwMode="black">
          <a:xfrm>
            <a:off x="2053519" y="2469493"/>
            <a:ext cx="667437" cy="849848"/>
          </a:xfrm>
          <a:prstGeom prst="rect">
            <a:avLst/>
          </a:prstGeom>
        </p:spPr>
      </p:pic>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3279" y="2461232"/>
            <a:ext cx="872537" cy="856449"/>
          </a:xfrm>
          <a:prstGeom prst="rect">
            <a:avLst/>
          </a:prstGeom>
        </p:spPr>
      </p:pic>
      <p:sp>
        <p:nvSpPr>
          <p:cNvPr id="17" name="Arrow Bar"/>
          <p:cNvSpPr/>
          <p:nvPr userDrawn="1"/>
        </p:nvSpPr>
        <p:spPr bwMode="auto">
          <a:xfrm>
            <a:off x="8514212" y="2387410"/>
            <a:ext cx="376615" cy="2117354"/>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28455" y="1366692"/>
            <a:ext cx="1786611" cy="686436"/>
          </a:xfrm>
          <a:prstGeom prst="rect">
            <a:avLst/>
          </a:prstGeom>
        </p:spPr>
      </p:pic>
      <p:pic>
        <p:nvPicPr>
          <p:cNvPr id="21" name="TechEd Logo"/>
          <p:cNvPicPr>
            <a:picLocks noChangeAspect="1" noChangeArrowheads="1"/>
          </p:cNvPicPr>
          <p:nvPr userDrawn="1"/>
        </p:nvPicPr>
        <p:blipFill rotWithShape="1">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1999579" y="3841692"/>
            <a:ext cx="775329" cy="391343"/>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p:cNvSpPr txBox="1"/>
          <p:nvPr userDrawn="1"/>
        </p:nvSpPr>
        <p:spPr>
          <a:xfrm rot="5400000">
            <a:off x="7636127" y="3339328"/>
            <a:ext cx="2115152" cy="215444"/>
          </a:xfrm>
          <a:prstGeom prst="rect">
            <a:avLst/>
          </a:prstGeom>
          <a:noFill/>
        </p:spPr>
        <p:txBody>
          <a:bodyPr wrap="square" lIns="0" tIns="0" rIns="0" bIns="0" rtlCol="0">
            <a:spAutoFit/>
          </a:bodyPr>
          <a:lstStyle/>
          <a:p>
            <a:pPr algn="ctr" defTabSz="685693"/>
            <a:r>
              <a:rPr lang="en-US" b="1" spc="-53" dirty="0" smtClean="0">
                <a:gradFill>
                  <a:gsLst>
                    <a:gs pos="2917">
                      <a:srgbClr val="FFFFFF"/>
                    </a:gs>
                    <a:gs pos="30000">
                      <a:srgbClr val="FFFFFF"/>
                    </a:gs>
                  </a:gsLst>
                  <a:lin ang="5400000" scaled="0"/>
                </a:gradFill>
              </a:rPr>
              <a:t>LEARN</a:t>
            </a:r>
            <a:r>
              <a:rPr lang="en-US" spc="-53" dirty="0" smtClean="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2406845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Option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8" name="Title Tile"/>
          <p:cNvSpPr/>
          <p:nvPr userDrawn="1"/>
        </p:nvSpPr>
        <p:spPr bwMode="auto">
          <a:xfrm>
            <a:off x="3008305" y="2387410"/>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29"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5" name="Rectangle 34"/>
          <p:cNvSpPr/>
          <p:nvPr/>
        </p:nvSpPr>
        <p:spPr bwMode="auto">
          <a:xfrm>
            <a:off x="1886044" y="2388950"/>
            <a:ext cx="994669" cy="99441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8" name="Rectangle 37"/>
          <p:cNvSpPr/>
          <p:nvPr/>
        </p:nvSpPr>
        <p:spPr bwMode="auto">
          <a:xfrm>
            <a:off x="762580" y="3512121"/>
            <a:ext cx="994669" cy="99441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41" name="Rectangle 40"/>
          <p:cNvSpPr/>
          <p:nvPr/>
        </p:nvSpPr>
        <p:spPr bwMode="auto">
          <a:xfrm>
            <a:off x="1886044" y="3512121"/>
            <a:ext cx="994669" cy="99441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2" name="Rectangle 31"/>
          <p:cNvSpPr/>
          <p:nvPr/>
        </p:nvSpPr>
        <p:spPr bwMode="auto">
          <a:xfrm>
            <a:off x="762580" y="2388950"/>
            <a:ext cx="994669" cy="99441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1999579" y="3841692"/>
            <a:ext cx="775329" cy="39134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hasCustomPrompt="1"/>
          </p:nvPr>
        </p:nvSpPr>
        <p:spPr>
          <a:xfrm>
            <a:off x="3124985" y="2552979"/>
            <a:ext cx="5154397" cy="415499"/>
          </a:xfrm>
        </p:spPr>
        <p:txBody>
          <a:bodyPr anchor="b" anchorCtr="0"/>
          <a:lstStyle>
            <a:lvl1pPr>
              <a:defRPr sz="3000" b="1" spc="-113" baseline="0">
                <a:solidFill>
                  <a:schemeClr val="accent1">
                    <a:alpha val="99000"/>
                  </a:schemeClr>
                </a:solidFill>
                <a:latin typeface="+mn-lt"/>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3144046" y="3492947"/>
            <a:ext cx="5106759" cy="373949"/>
          </a:xfrm>
        </p:spPr>
        <p:txBody>
          <a:bodyPr>
            <a:noAutofit/>
          </a:bodyPr>
          <a:lstStyle>
            <a:lvl1pPr marL="0" indent="0">
              <a:spcBef>
                <a:spcPts val="0"/>
              </a:spcBef>
              <a:buNone/>
              <a:defRPr sz="1200" spc="-53" baseline="0">
                <a:gradFill>
                  <a:gsLst>
                    <a:gs pos="0">
                      <a:schemeClr val="tx2"/>
                    </a:gs>
                    <a:gs pos="100000">
                      <a:schemeClr val="tx2"/>
                    </a:gs>
                  </a:gsLst>
                  <a:lin ang="5400000" scaled="0"/>
                </a:gradFill>
                <a:latin typeface="+mn-lt"/>
              </a:defRPr>
            </a:lvl1pPr>
          </a:lstStyle>
          <a:p>
            <a:pPr lvl="0"/>
            <a:r>
              <a:rPr lang="en-US" dirty="0" smtClean="0"/>
              <a:t>Speaker Title</a:t>
            </a:r>
            <a:endParaRPr lang="en-US" dirty="0"/>
          </a:p>
        </p:txBody>
      </p:sp>
      <p:pic>
        <p:nvPicPr>
          <p:cNvPr id="45" name="Picture 4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67289" y="2485877"/>
            <a:ext cx="791695" cy="777099"/>
          </a:xfrm>
          <a:prstGeom prst="rect">
            <a:avLst/>
          </a:prstGeom>
        </p:spPr>
      </p:pic>
      <p:pic>
        <p:nvPicPr>
          <p:cNvPr id="3" name="Picture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60842" y="3645644"/>
            <a:ext cx="798142" cy="783426"/>
          </a:xfrm>
          <a:prstGeom prst="rect">
            <a:avLst/>
          </a:prstGeom>
        </p:spPr>
      </p:pic>
      <p:pic>
        <p:nvPicPr>
          <p:cNvPr id="4" name="Picture 3"/>
          <p:cNvPicPr>
            <a:picLocks noChangeAspect="1"/>
          </p:cNvPicPr>
          <p:nvPr userDrawn="1"/>
        </p:nvPicPr>
        <p:blipFill rotWithShape="1">
          <a:blip r:embed="rId7">
            <a:extLst>
              <a:ext uri="{28A0092B-C50C-407E-A947-70E740481C1C}">
                <a14:useLocalDpi xmlns:a14="http://schemas.microsoft.com/office/drawing/2010/main" val="0"/>
              </a:ext>
            </a:extLst>
          </a:blip>
          <a:srcRect l="21790" r="25133"/>
          <a:stretch/>
        </p:blipFill>
        <p:spPr bwMode="black">
          <a:xfrm>
            <a:off x="2064171" y="2484551"/>
            <a:ext cx="710732" cy="803219"/>
          </a:xfrm>
          <a:prstGeom prst="rect">
            <a:avLst/>
          </a:prstGeom>
        </p:spPr>
      </p:pic>
      <p:sp>
        <p:nvSpPr>
          <p:cNvPr id="17" name="Arrow Bar"/>
          <p:cNvSpPr/>
          <p:nvPr userDrawn="1"/>
        </p:nvSpPr>
        <p:spPr bwMode="auto">
          <a:xfrm>
            <a:off x="8514212" y="2387410"/>
            <a:ext cx="376615" cy="2117354"/>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20" name="Picture 19"/>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28455" y="1366692"/>
            <a:ext cx="1786611" cy="686436"/>
          </a:xfrm>
          <a:prstGeom prst="rect">
            <a:avLst/>
          </a:prstGeom>
        </p:spPr>
      </p:pic>
      <p:sp>
        <p:nvSpPr>
          <p:cNvPr id="21" name="TextBox 20"/>
          <p:cNvSpPr txBox="1"/>
          <p:nvPr userDrawn="1"/>
        </p:nvSpPr>
        <p:spPr>
          <a:xfrm rot="5400000">
            <a:off x="7636127" y="3339328"/>
            <a:ext cx="2115152" cy="215444"/>
          </a:xfrm>
          <a:prstGeom prst="rect">
            <a:avLst/>
          </a:prstGeom>
          <a:noFill/>
        </p:spPr>
        <p:txBody>
          <a:bodyPr wrap="square" lIns="0" tIns="0" rIns="0" bIns="0" rtlCol="0">
            <a:spAutoFit/>
          </a:bodyPr>
          <a:lstStyle/>
          <a:p>
            <a:pPr algn="ctr" defTabSz="685693"/>
            <a:r>
              <a:rPr lang="en-US" b="1" spc="-53" dirty="0" smtClean="0">
                <a:gradFill>
                  <a:gsLst>
                    <a:gs pos="2917">
                      <a:srgbClr val="FFFFFF"/>
                    </a:gs>
                    <a:gs pos="30000">
                      <a:srgbClr val="FFFFFF"/>
                    </a:gs>
                  </a:gsLst>
                  <a:lin ang="5400000" scaled="0"/>
                </a:gradFill>
              </a:rPr>
              <a:t>LEARN</a:t>
            </a:r>
            <a:r>
              <a:rPr lang="en-US" spc="-53" dirty="0" smtClean="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8542405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Option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Title Tile"/>
          <p:cNvSpPr/>
          <p:nvPr userDrawn="1"/>
        </p:nvSpPr>
        <p:spPr bwMode="auto">
          <a:xfrm>
            <a:off x="3008305" y="2387410"/>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29"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5" name="Rectangle 34"/>
          <p:cNvSpPr/>
          <p:nvPr/>
        </p:nvSpPr>
        <p:spPr bwMode="auto">
          <a:xfrm>
            <a:off x="1886044" y="2388950"/>
            <a:ext cx="994669" cy="99441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8" name="Rectangle 37"/>
          <p:cNvSpPr/>
          <p:nvPr/>
        </p:nvSpPr>
        <p:spPr bwMode="auto">
          <a:xfrm>
            <a:off x="762580" y="3512121"/>
            <a:ext cx="994669" cy="99441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41" name="Rectangle 40"/>
          <p:cNvSpPr/>
          <p:nvPr/>
        </p:nvSpPr>
        <p:spPr bwMode="auto">
          <a:xfrm>
            <a:off x="1886044" y="3512121"/>
            <a:ext cx="994669" cy="99441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2" name="Rectangle 31"/>
          <p:cNvSpPr/>
          <p:nvPr/>
        </p:nvSpPr>
        <p:spPr bwMode="auto">
          <a:xfrm>
            <a:off x="762580" y="2388950"/>
            <a:ext cx="994669" cy="99441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1999579" y="3841692"/>
            <a:ext cx="775329" cy="39134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hasCustomPrompt="1"/>
          </p:nvPr>
        </p:nvSpPr>
        <p:spPr>
          <a:xfrm>
            <a:off x="3124985" y="2552979"/>
            <a:ext cx="5154397" cy="415499"/>
          </a:xfrm>
        </p:spPr>
        <p:txBody>
          <a:bodyPr anchor="b" anchorCtr="0"/>
          <a:lstStyle>
            <a:lvl1pPr>
              <a:defRPr sz="3000" b="1" spc="-113" baseline="0">
                <a:solidFill>
                  <a:schemeClr val="accent1">
                    <a:alpha val="99000"/>
                  </a:schemeClr>
                </a:solidFill>
                <a:latin typeface="+mn-lt"/>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3144046" y="3492947"/>
            <a:ext cx="5106759" cy="373949"/>
          </a:xfrm>
        </p:spPr>
        <p:txBody>
          <a:bodyPr>
            <a:noAutofit/>
          </a:bodyPr>
          <a:lstStyle>
            <a:lvl1pPr marL="0" indent="0">
              <a:spcBef>
                <a:spcPts val="0"/>
              </a:spcBef>
              <a:buNone/>
              <a:defRPr sz="1200" spc="-53" baseline="0">
                <a:gradFill>
                  <a:gsLst>
                    <a:gs pos="0">
                      <a:schemeClr val="tx2"/>
                    </a:gs>
                    <a:gs pos="100000">
                      <a:schemeClr val="tx2"/>
                    </a:gs>
                  </a:gsLst>
                  <a:lin ang="5400000" scaled="0"/>
                </a:gradFill>
                <a:latin typeface="+mn-lt"/>
              </a:defRPr>
            </a:lvl1pPr>
          </a:lstStyle>
          <a:p>
            <a:pPr lvl="0"/>
            <a:r>
              <a:rPr lang="en-US" dirty="0" smtClean="0"/>
              <a:t>Speaker Title</a:t>
            </a:r>
            <a:endParaRPr lang="en-US" dirty="0"/>
          </a:p>
        </p:txBody>
      </p:sp>
      <p:pic>
        <p:nvPicPr>
          <p:cNvPr id="45" name="Picture 4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black">
          <a:xfrm>
            <a:off x="885192" y="2651471"/>
            <a:ext cx="782503" cy="469379"/>
          </a:xfrm>
          <a:prstGeom prst="rect">
            <a:avLst/>
          </a:prstGeom>
        </p:spPr>
      </p:pic>
      <p:pic>
        <p:nvPicPr>
          <p:cNvPr id="3" name="Picture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60842" y="3645644"/>
            <a:ext cx="798142" cy="783426"/>
          </a:xfrm>
          <a:prstGeom prst="rect">
            <a:avLst/>
          </a:prstGeom>
        </p:spPr>
      </p:pic>
      <p:pic>
        <p:nvPicPr>
          <p:cNvPr id="18" name="Picture 2" descr="C:\Users\Justin\Desktop\_Work_in_Progress\_MS\1530\toolbox.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019253" y="2577670"/>
            <a:ext cx="728251" cy="61697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28455" y="1366692"/>
            <a:ext cx="1786611" cy="686436"/>
          </a:xfrm>
          <a:prstGeom prst="rect">
            <a:avLst/>
          </a:prstGeom>
        </p:spPr>
      </p:pic>
      <p:sp>
        <p:nvSpPr>
          <p:cNvPr id="21" name="Arrow Bar"/>
          <p:cNvSpPr/>
          <p:nvPr userDrawn="1"/>
        </p:nvSpPr>
        <p:spPr bwMode="auto">
          <a:xfrm>
            <a:off x="8514212" y="2387410"/>
            <a:ext cx="376615" cy="2117354"/>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2" name="TextBox 21"/>
          <p:cNvSpPr txBox="1"/>
          <p:nvPr userDrawn="1"/>
        </p:nvSpPr>
        <p:spPr>
          <a:xfrm rot="5400000">
            <a:off x="7636127" y="3339328"/>
            <a:ext cx="2115152" cy="215444"/>
          </a:xfrm>
          <a:prstGeom prst="rect">
            <a:avLst/>
          </a:prstGeom>
          <a:noFill/>
        </p:spPr>
        <p:txBody>
          <a:bodyPr wrap="square" lIns="0" tIns="0" rIns="0" bIns="0" rtlCol="0">
            <a:spAutoFit/>
          </a:bodyPr>
          <a:lstStyle/>
          <a:p>
            <a:pPr algn="ctr" defTabSz="685693"/>
            <a:r>
              <a:rPr lang="en-US" b="1" spc="-53" dirty="0" smtClean="0">
                <a:gradFill>
                  <a:gsLst>
                    <a:gs pos="2917">
                      <a:srgbClr val="FFFFFF"/>
                    </a:gs>
                    <a:gs pos="30000">
                      <a:srgbClr val="FFFFFF"/>
                    </a:gs>
                  </a:gsLst>
                  <a:lin ang="5400000" scaled="0"/>
                </a:gradFill>
              </a:rPr>
              <a:t>LEARN</a:t>
            </a:r>
            <a:r>
              <a:rPr lang="en-US" spc="-53" dirty="0" smtClean="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32358854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Slide Option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3"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24"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5"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27"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31"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49" name="Right Mask"/>
          <p:cNvSpPr/>
          <p:nvPr userDrawn="1"/>
        </p:nvSpPr>
        <p:spPr bwMode="auto">
          <a:xfrm>
            <a:off x="8381803" y="1223110"/>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50" name="Title 1"/>
          <p:cNvSpPr>
            <a:spLocks noGrp="1"/>
          </p:cNvSpPr>
          <p:nvPr>
            <p:ph type="ctrTitle"/>
          </p:nvPr>
        </p:nvSpPr>
        <p:spPr>
          <a:xfrm>
            <a:off x="3136906" y="2423981"/>
            <a:ext cx="5040038" cy="924348"/>
          </a:xfrm>
        </p:spPr>
        <p:txBody>
          <a:bodyPr anchor="ctr">
            <a:noAutofit/>
          </a:bodyPr>
          <a:lstStyle>
            <a:lvl1pPr algn="l" defTabSz="685693"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51" name="Subtitle 2"/>
          <p:cNvSpPr>
            <a:spLocks noGrp="1"/>
          </p:cNvSpPr>
          <p:nvPr>
            <p:ph type="subTitle" idx="1"/>
          </p:nvPr>
        </p:nvSpPr>
        <p:spPr>
          <a:xfrm>
            <a:off x="3136907" y="3771907"/>
            <a:ext cx="5154369" cy="347441"/>
          </a:xfrm>
        </p:spPr>
        <p:txBody>
          <a:bodyPr>
            <a:noAutofit/>
          </a:bodyPr>
          <a:lstStyle>
            <a:lvl1pPr marL="0" indent="0" algn="l" defTabSz="685693"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useBgFill="1">
        <p:nvSpPr>
          <p:cNvPr id="52" name="Bottom Mask"/>
          <p:cNvSpPr/>
          <p:nvPr userDrawn="1"/>
        </p:nvSpPr>
        <p:spPr bwMode="auto">
          <a:xfrm>
            <a:off x="1" y="4507707"/>
            <a:ext cx="9144001"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57" name="Rectangle 56"/>
          <p:cNvSpPr/>
          <p:nvPr userDrawn="1"/>
        </p:nvSpPr>
        <p:spPr bwMode="auto">
          <a:xfrm>
            <a:off x="1886044" y="2388950"/>
            <a:ext cx="994669" cy="99441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58" name="Rectangle 57"/>
          <p:cNvSpPr/>
          <p:nvPr userDrawn="1"/>
        </p:nvSpPr>
        <p:spPr bwMode="auto">
          <a:xfrm>
            <a:off x="762580" y="3512121"/>
            <a:ext cx="994669" cy="99441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60" name="Rectangle 59"/>
          <p:cNvSpPr/>
          <p:nvPr userDrawn="1"/>
        </p:nvSpPr>
        <p:spPr bwMode="auto">
          <a:xfrm>
            <a:off x="762580" y="2388950"/>
            <a:ext cx="994669" cy="99441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61" name="Picture 6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8928" y="3665427"/>
            <a:ext cx="717556" cy="704326"/>
          </a:xfrm>
          <a:prstGeom prst="rect">
            <a:avLst/>
          </a:prstGeom>
        </p:spPr>
      </p:pic>
      <p:pic>
        <p:nvPicPr>
          <p:cNvPr id="62" name="Picture 61"/>
          <p:cNvPicPr>
            <a:picLocks noChangeAspect="1"/>
          </p:cNvPicPr>
          <p:nvPr userDrawn="1"/>
        </p:nvPicPr>
        <p:blipFill rotWithShape="1">
          <a:blip r:embed="rId5">
            <a:extLst>
              <a:ext uri="{28A0092B-C50C-407E-A947-70E740481C1C}">
                <a14:useLocalDpi xmlns:a14="http://schemas.microsoft.com/office/drawing/2010/main" val="0"/>
              </a:ext>
            </a:extLst>
          </a:blip>
          <a:srcRect l="28411" t="5974" r="30263" b="6304"/>
          <a:stretch/>
        </p:blipFill>
        <p:spPr bwMode="black">
          <a:xfrm>
            <a:off x="2053519" y="2469493"/>
            <a:ext cx="667437" cy="849848"/>
          </a:xfrm>
          <a:prstGeom prst="rect">
            <a:avLst/>
          </a:prstGeom>
        </p:spPr>
      </p:pic>
      <p:pic>
        <p:nvPicPr>
          <p:cNvPr id="63" name="Picture 6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13279" y="2461232"/>
            <a:ext cx="872537" cy="856449"/>
          </a:xfrm>
          <a:prstGeom prst="rect">
            <a:avLst/>
          </a:prstGeom>
        </p:spPr>
      </p:pic>
      <p:sp>
        <p:nvSpPr>
          <p:cNvPr id="65" name="Rectangle 64"/>
          <p:cNvSpPr/>
          <p:nvPr userDrawn="1"/>
        </p:nvSpPr>
        <p:spPr bwMode="auto">
          <a:xfrm>
            <a:off x="1886044" y="3520383"/>
            <a:ext cx="994669" cy="99441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66" name="Picture 65"/>
          <p:cNvPicPr>
            <a:picLocks noChangeAspect="1"/>
          </p:cNvPicPr>
          <p:nvPr userDrawn="1"/>
        </p:nvPicPr>
        <p:blipFill rotWithShape="1">
          <a:blip r:embed="rId7">
            <a:extLst>
              <a:ext uri="{28A0092B-C50C-407E-A947-70E740481C1C}">
                <a14:useLocalDpi xmlns:a14="http://schemas.microsoft.com/office/drawing/2010/main" val="0"/>
              </a:ext>
            </a:extLst>
          </a:blip>
          <a:srcRect l="21790" r="25133"/>
          <a:stretch/>
        </p:blipFill>
        <p:spPr bwMode="black">
          <a:xfrm>
            <a:off x="2064171" y="3615984"/>
            <a:ext cx="710732" cy="803219"/>
          </a:xfrm>
          <a:prstGeom prst="rect">
            <a:avLst/>
          </a:prstGeom>
        </p:spPr>
      </p:pic>
      <p:sp>
        <p:nvSpPr>
          <p:cNvPr id="68" name="Arrow Bar"/>
          <p:cNvSpPr/>
          <p:nvPr userDrawn="1"/>
        </p:nvSpPr>
        <p:spPr bwMode="auto">
          <a:xfrm>
            <a:off x="8514212" y="2387410"/>
            <a:ext cx="376615" cy="2117354"/>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69" name="TextBox 68"/>
          <p:cNvSpPr txBox="1"/>
          <p:nvPr userDrawn="1"/>
        </p:nvSpPr>
        <p:spPr>
          <a:xfrm rot="5400000">
            <a:off x="7636127" y="3339328"/>
            <a:ext cx="2115152" cy="215444"/>
          </a:xfrm>
          <a:prstGeom prst="rect">
            <a:avLst/>
          </a:prstGeom>
          <a:noFill/>
        </p:spPr>
        <p:txBody>
          <a:bodyPr wrap="square" lIns="0" tIns="0" rIns="0" bIns="0" rtlCol="0">
            <a:spAutoFit/>
          </a:bodyPr>
          <a:lstStyle/>
          <a:p>
            <a:pPr algn="ctr" defTabSz="685693"/>
            <a:r>
              <a:rPr lang="en-US" b="1" spc="-53" dirty="0" smtClean="0">
                <a:gradFill>
                  <a:gsLst>
                    <a:gs pos="2917">
                      <a:srgbClr val="FFFFFF"/>
                    </a:gs>
                    <a:gs pos="30000">
                      <a:srgbClr val="FFFFFF"/>
                    </a:gs>
                  </a:gsLst>
                  <a:lin ang="5400000" scaled="0"/>
                </a:gradFill>
              </a:rPr>
              <a:t>LEARN</a:t>
            </a:r>
            <a:r>
              <a:rPr lang="en-US" spc="-53" dirty="0" smtClean="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24302341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6" y="2114704"/>
            <a:ext cx="8363938" cy="914096"/>
          </a:xfrm>
        </p:spPr>
        <p:txBody>
          <a:bodyPr anchor="b" anchorCtr="0"/>
          <a:lstStyle>
            <a:lvl1pPr>
              <a:defRPr sz="6600" spc="-225" baseline="0">
                <a:solidFill>
                  <a:schemeClr val="tx1">
                    <a:alpha val="99000"/>
                  </a:schemeClr>
                </a:solidFill>
              </a:defRPr>
            </a:lvl1pPr>
          </a:lstStyle>
          <a:p>
            <a:r>
              <a:rPr lang="en-US" dirty="0" smtClean="0"/>
              <a:t>Click to edit title style</a:t>
            </a:r>
            <a:endParaRPr lang="en-US" dirty="0"/>
          </a:p>
        </p:txBody>
      </p:sp>
    </p:spTree>
    <p:extLst>
      <p:ext uri="{BB962C8B-B14F-4D97-AF65-F5344CB8AC3E}">
        <p14:creationId xmlns:p14="http://schemas.microsoft.com/office/powerpoint/2010/main" val="3971414631"/>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3008302" y="1135856"/>
            <a:ext cx="5373499" cy="112471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0"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11" name="Rectangle 10"/>
          <p:cNvSpPr/>
          <p:nvPr userDrawn="1"/>
        </p:nvSpPr>
        <p:spPr bwMode="auto">
          <a:xfrm>
            <a:off x="1886044" y="2388950"/>
            <a:ext cx="994669" cy="99441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12" name="Rectangle 11"/>
          <p:cNvSpPr/>
          <p:nvPr userDrawn="1"/>
        </p:nvSpPr>
        <p:spPr bwMode="auto">
          <a:xfrm>
            <a:off x="762580" y="3512121"/>
            <a:ext cx="994669" cy="99441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13" name="Rectangle 12"/>
          <p:cNvSpPr/>
          <p:nvPr userDrawn="1"/>
        </p:nvSpPr>
        <p:spPr bwMode="auto">
          <a:xfrm>
            <a:off x="1886044" y="3512121"/>
            <a:ext cx="994669" cy="99441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762580" y="2388949"/>
            <a:ext cx="2118133" cy="211758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3" y="1226585"/>
            <a:ext cx="5191598"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4100" b="1" kern="1200" cap="none" spc="-75" baseline="0" dirty="0" smtClean="0">
                <a:ln w="3175">
                  <a:noFill/>
                </a:ln>
                <a:solidFill>
                  <a:schemeClr val="tx1">
                    <a:alpha val="99000"/>
                  </a:schemeClr>
                </a:solidFill>
                <a:effectLst/>
                <a:latin typeface="+mn-lt"/>
                <a:ea typeface="+mn-ea"/>
                <a:cs typeface="Arial" charset="0"/>
              </a:defRPr>
            </a:lvl1pPr>
          </a:lstStyle>
          <a:p>
            <a:pPr lvl="0"/>
            <a:r>
              <a:rPr lang="en-US" dirty="0" smtClean="0"/>
              <a:t>Demo</a:t>
            </a:r>
          </a:p>
        </p:txBody>
      </p:sp>
      <p:sp>
        <p:nvSpPr>
          <p:cNvPr id="3" name="Subtitle 2"/>
          <p:cNvSpPr>
            <a:spLocks noGrp="1"/>
          </p:cNvSpPr>
          <p:nvPr>
            <p:ph type="subTitle" idx="1"/>
          </p:nvPr>
        </p:nvSpPr>
        <p:spPr>
          <a:xfrm>
            <a:off x="3072830" y="3663084"/>
            <a:ext cx="5189183" cy="346249"/>
          </a:xfrm>
        </p:spPr>
        <p:txBody>
          <a:bodyPr>
            <a:noAutofit/>
          </a:bodyPr>
          <a:lstStyle>
            <a:lvl1pPr marL="0" indent="0" algn="l">
              <a:lnSpc>
                <a:spcPct val="90000"/>
              </a:lnSpc>
              <a:spcBef>
                <a:spcPts val="0"/>
              </a:spcBef>
              <a:buNone/>
              <a:defRPr lang="en-US" sz="1200" kern="1200" spc="0" baseline="0" dirty="0">
                <a:solidFill>
                  <a:schemeClr val="tx2">
                    <a:alpha val="99000"/>
                  </a:schemeClr>
                </a:solidFill>
                <a:latin typeface="+mj-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pPr marL="0" marR="0" lvl="0" indent="0" algn="l" defTabSz="68569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3072824" y="2543369"/>
            <a:ext cx="5189184" cy="685572"/>
          </a:xfrm>
        </p:spPr>
        <p:txBody>
          <a:bodyPr wrap="square" anchor="ctr">
            <a:noAutofit/>
          </a:bodyPr>
          <a:lstStyle>
            <a:lvl1pPr marL="0" indent="0">
              <a:buNone/>
              <a:defRPr sz="3000" b="1" spc="-75" baseline="0">
                <a:solidFill>
                  <a:schemeClr val="accent2">
                    <a:alpha val="99000"/>
                  </a:schemeClr>
                </a:solidFill>
                <a:latin typeface="+mn-lt"/>
              </a:defRPr>
            </a:lvl1pPr>
          </a:lstStyle>
          <a:p>
            <a:pPr lvl="0"/>
            <a:r>
              <a:rPr lang="en-US" smtClean="0"/>
              <a:t>Click to edit Master text styles</a:t>
            </a:r>
          </a:p>
        </p:txBody>
      </p:sp>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8079" y="1312474"/>
            <a:ext cx="1979351" cy="815666"/>
          </a:xfrm>
          <a:prstGeom prst="rect">
            <a:avLst/>
          </a:prstGeom>
        </p:spPr>
      </p:pic>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33588" y="2639645"/>
            <a:ext cx="1624155" cy="1594209"/>
          </a:xfrm>
          <a:prstGeom prst="rect">
            <a:avLst/>
          </a:prstGeom>
        </p:spPr>
      </p:pic>
    </p:spTree>
    <p:extLst>
      <p:ext uri="{BB962C8B-B14F-4D97-AF65-F5344CB8AC3E}">
        <p14:creationId xmlns:p14="http://schemas.microsoft.com/office/powerpoint/2010/main" val="39278225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60"/>
            <a:ext cx="8363938" cy="457049"/>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2"/>
            <a:ext cx="8363938" cy="150041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Vide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3008302" y="1135856"/>
            <a:ext cx="5373499" cy="112471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0"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762580" y="2388949"/>
            <a:ext cx="2118133" cy="211758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4" y="1226585"/>
            <a:ext cx="5181506"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4100" b="1" kern="1200" cap="none" spc="-75" baseline="0" dirty="0" smtClean="0">
                <a:ln w="3175">
                  <a:noFill/>
                </a:ln>
                <a:solidFill>
                  <a:schemeClr val="tx1">
                    <a:alpha val="99000"/>
                  </a:schemeClr>
                </a:solidFill>
                <a:effectLst/>
                <a:latin typeface="+mn-lt"/>
                <a:ea typeface="+mn-ea"/>
                <a:cs typeface="Arial" charset="0"/>
              </a:defRPr>
            </a:lvl1pPr>
          </a:lstStyle>
          <a:p>
            <a:pPr lvl="0"/>
            <a:r>
              <a:rPr lang="en-US" dirty="0" smtClean="0"/>
              <a:t>Video</a:t>
            </a:r>
          </a:p>
        </p:txBody>
      </p:sp>
      <p:sp>
        <p:nvSpPr>
          <p:cNvPr id="3" name="Subtitle 2"/>
          <p:cNvSpPr>
            <a:spLocks noGrp="1"/>
          </p:cNvSpPr>
          <p:nvPr>
            <p:ph type="subTitle" idx="1"/>
          </p:nvPr>
        </p:nvSpPr>
        <p:spPr>
          <a:xfrm>
            <a:off x="3072824" y="3663084"/>
            <a:ext cx="5179095" cy="346249"/>
          </a:xfrm>
        </p:spPr>
        <p:txBody>
          <a:bodyPr>
            <a:noAutofit/>
          </a:bodyPr>
          <a:lstStyle>
            <a:lvl1pPr marL="0" indent="0" algn="l">
              <a:lnSpc>
                <a:spcPct val="90000"/>
              </a:lnSpc>
              <a:spcBef>
                <a:spcPts val="0"/>
              </a:spcBef>
              <a:buNone/>
              <a:defRPr lang="en-US" sz="1200" kern="1200" spc="0" baseline="0" dirty="0">
                <a:solidFill>
                  <a:schemeClr val="tx2">
                    <a:alpha val="99000"/>
                  </a:schemeClr>
                </a:solidFill>
                <a:latin typeface="+mj-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pPr marL="0" marR="0" lvl="0" indent="0" algn="l" defTabSz="68569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3072825" y="2543369"/>
            <a:ext cx="5179096" cy="685572"/>
          </a:xfrm>
        </p:spPr>
        <p:txBody>
          <a:bodyPr wrap="square" anchor="ctr">
            <a:noAutofit/>
          </a:bodyPr>
          <a:lstStyle>
            <a:lvl1pPr marL="0" indent="0">
              <a:buNone/>
              <a:defRPr sz="3000" b="1" spc="-75" baseline="0">
                <a:solidFill>
                  <a:schemeClr val="accent3">
                    <a:alpha val="99000"/>
                  </a:schemeClr>
                </a:solidFill>
                <a:latin typeface="+mn-lt"/>
              </a:defRPr>
            </a:lvl1pPr>
          </a:lstStyle>
          <a:p>
            <a:pPr lvl="0"/>
            <a:r>
              <a:rPr lang="en-US" smtClean="0"/>
              <a:t>Click to edit Master text styles</a:t>
            </a:r>
          </a:p>
        </p:txBody>
      </p:sp>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8079" y="1312474"/>
            <a:ext cx="1979351" cy="815666"/>
          </a:xfrm>
          <a:prstGeom prst="rect">
            <a:avLst/>
          </a:prstGeom>
        </p:spPr>
      </p:pic>
      <p:pic>
        <p:nvPicPr>
          <p:cNvPr id="2" name="Picture 1"/>
          <p:cNvPicPr>
            <a:picLocks noChangeAspect="1"/>
          </p:cNvPicPr>
          <p:nvPr userDrawn="1"/>
        </p:nvPicPr>
        <p:blipFill rotWithShape="1">
          <a:blip r:embed="rId4">
            <a:extLst>
              <a:ext uri="{28A0092B-C50C-407E-A947-70E740481C1C}">
                <a14:useLocalDpi xmlns:a14="http://schemas.microsoft.com/office/drawing/2010/main" val="0"/>
              </a:ext>
            </a:extLst>
          </a:blip>
          <a:srcRect l="26707" t="18131" r="23736" b="9074"/>
          <a:stretch/>
        </p:blipFill>
        <p:spPr bwMode="black">
          <a:xfrm>
            <a:off x="918002" y="2652438"/>
            <a:ext cx="1785562" cy="1573307"/>
          </a:xfrm>
          <a:prstGeom prst="rect">
            <a:avLst/>
          </a:prstGeom>
        </p:spPr>
      </p:pic>
    </p:spTree>
    <p:extLst>
      <p:ext uri="{BB962C8B-B14F-4D97-AF65-F5344CB8AC3E}">
        <p14:creationId xmlns:p14="http://schemas.microsoft.com/office/powerpoint/2010/main" val="25825429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Partn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0"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762580" y="2388949"/>
            <a:ext cx="2118133" cy="211758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4" y="1226585"/>
            <a:ext cx="5181506"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4100" b="1" kern="1200" cap="none" spc="-75" baseline="0" dirty="0" smtClean="0">
                <a:ln w="3175">
                  <a:noFill/>
                </a:ln>
                <a:solidFill>
                  <a:schemeClr val="tx1">
                    <a:alpha val="99000"/>
                  </a:schemeClr>
                </a:solidFill>
                <a:effectLst/>
                <a:latin typeface="+mn-lt"/>
                <a:ea typeface="+mn-ea"/>
                <a:cs typeface="Arial" charset="0"/>
              </a:defRPr>
            </a:lvl1pPr>
          </a:lstStyle>
          <a:p>
            <a:pPr lvl="0"/>
            <a:r>
              <a:rPr lang="en-US" dirty="0" smtClean="0"/>
              <a:t>Partner</a:t>
            </a:r>
          </a:p>
        </p:txBody>
      </p:sp>
      <p:sp>
        <p:nvSpPr>
          <p:cNvPr id="3" name="Subtitle 2"/>
          <p:cNvSpPr>
            <a:spLocks noGrp="1"/>
          </p:cNvSpPr>
          <p:nvPr>
            <p:ph type="subTitle" idx="1"/>
          </p:nvPr>
        </p:nvSpPr>
        <p:spPr>
          <a:xfrm>
            <a:off x="3072824" y="3663084"/>
            <a:ext cx="5179095" cy="346249"/>
          </a:xfrm>
        </p:spPr>
        <p:txBody>
          <a:bodyPr>
            <a:noAutofit/>
          </a:bodyPr>
          <a:lstStyle>
            <a:lvl1pPr marL="0" indent="0" algn="l">
              <a:lnSpc>
                <a:spcPct val="90000"/>
              </a:lnSpc>
              <a:spcBef>
                <a:spcPts val="0"/>
              </a:spcBef>
              <a:buNone/>
              <a:defRPr lang="en-US" sz="1200" kern="1200" spc="0" baseline="0" dirty="0">
                <a:solidFill>
                  <a:schemeClr val="tx2">
                    <a:alpha val="99000"/>
                  </a:schemeClr>
                </a:solidFill>
                <a:latin typeface="+mj-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pPr marL="0" marR="0" lvl="0" indent="0" algn="l" defTabSz="68569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3072825" y="2543369"/>
            <a:ext cx="5179096" cy="685572"/>
          </a:xfrm>
        </p:spPr>
        <p:txBody>
          <a:bodyPr wrap="square" anchor="ctr">
            <a:noAutofit/>
          </a:bodyPr>
          <a:lstStyle>
            <a:lvl1pPr marL="0" indent="0">
              <a:buNone/>
              <a:defRPr sz="3000" b="1" spc="-75" baseline="0">
                <a:solidFill>
                  <a:schemeClr val="accent1">
                    <a:alpha val="99000"/>
                  </a:schemeClr>
                </a:solidFill>
                <a:latin typeface="+mn-lt"/>
              </a:defRPr>
            </a:lvl1pPr>
          </a:lstStyle>
          <a:p>
            <a:pPr lvl="0"/>
            <a:r>
              <a:rPr lang="en-US" smtClean="0"/>
              <a:t>Click to edit Master text styles</a:t>
            </a:r>
          </a:p>
        </p:txBody>
      </p:sp>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8079" y="1312474"/>
            <a:ext cx="1979351" cy="815666"/>
          </a:xfrm>
          <a:prstGeom prst="rect">
            <a:avLst/>
          </a:prstGeom>
        </p:spPr>
      </p:pic>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68398" y="2637279"/>
            <a:ext cx="1718713" cy="1687024"/>
          </a:xfrm>
          <a:prstGeom prst="rect">
            <a:avLst/>
          </a:prstGeom>
        </p:spPr>
      </p:pic>
    </p:spTree>
    <p:extLst>
      <p:ext uri="{BB962C8B-B14F-4D97-AF65-F5344CB8AC3E}">
        <p14:creationId xmlns:p14="http://schemas.microsoft.com/office/powerpoint/2010/main" val="25503608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4_Custom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3008302" y="1135856"/>
            <a:ext cx="5373499" cy="112471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0"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762580" y="2388949"/>
            <a:ext cx="2118133" cy="211758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4" y="1226585"/>
            <a:ext cx="5181506"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4100" b="1" kern="1200" cap="none" spc="-75" baseline="0" dirty="0" smtClean="0">
                <a:ln w="3175">
                  <a:noFill/>
                </a:ln>
                <a:solidFill>
                  <a:schemeClr val="tx1">
                    <a:alpha val="99000"/>
                  </a:schemeClr>
                </a:solidFill>
                <a:effectLst/>
                <a:latin typeface="+mn-lt"/>
                <a:ea typeface="+mn-ea"/>
                <a:cs typeface="Arial" charset="0"/>
              </a:defRPr>
            </a:lvl1pPr>
          </a:lstStyle>
          <a:p>
            <a:pPr lvl="0"/>
            <a:r>
              <a:rPr lang="en-US" dirty="0" smtClean="0"/>
              <a:t>Customer</a:t>
            </a:r>
          </a:p>
        </p:txBody>
      </p:sp>
      <p:sp>
        <p:nvSpPr>
          <p:cNvPr id="3" name="Subtitle 2"/>
          <p:cNvSpPr>
            <a:spLocks noGrp="1"/>
          </p:cNvSpPr>
          <p:nvPr>
            <p:ph type="subTitle" idx="1"/>
          </p:nvPr>
        </p:nvSpPr>
        <p:spPr>
          <a:xfrm>
            <a:off x="3072824" y="3663084"/>
            <a:ext cx="5179095" cy="346249"/>
          </a:xfrm>
        </p:spPr>
        <p:txBody>
          <a:bodyPr>
            <a:noAutofit/>
          </a:bodyPr>
          <a:lstStyle>
            <a:lvl1pPr marL="0" indent="0" algn="l">
              <a:lnSpc>
                <a:spcPct val="90000"/>
              </a:lnSpc>
              <a:spcBef>
                <a:spcPts val="0"/>
              </a:spcBef>
              <a:buNone/>
              <a:defRPr lang="en-US" sz="1200" kern="1200" spc="0" baseline="0" dirty="0">
                <a:solidFill>
                  <a:schemeClr val="tx2">
                    <a:alpha val="99000"/>
                  </a:schemeClr>
                </a:solidFill>
                <a:latin typeface="+mj-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pPr marL="0" marR="0" lvl="0" indent="0" algn="l" defTabSz="68569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3072825" y="2543369"/>
            <a:ext cx="5179096" cy="685572"/>
          </a:xfrm>
        </p:spPr>
        <p:txBody>
          <a:bodyPr wrap="square" anchor="ctr">
            <a:noAutofit/>
          </a:bodyPr>
          <a:lstStyle>
            <a:lvl1pPr marL="0" indent="0">
              <a:buNone/>
              <a:defRPr sz="3000" b="1" spc="-75" baseline="0">
                <a:solidFill>
                  <a:schemeClr val="accent4">
                    <a:alpha val="99000"/>
                  </a:schemeClr>
                </a:solidFill>
                <a:latin typeface="+mn-lt"/>
              </a:defRPr>
            </a:lvl1pPr>
          </a:lstStyle>
          <a:p>
            <a:pPr lvl="0"/>
            <a:r>
              <a:rPr lang="en-US" smtClean="0"/>
              <a:t>Click to edit Master text styles</a:t>
            </a:r>
          </a:p>
        </p:txBody>
      </p:sp>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8079" y="1312474"/>
            <a:ext cx="1979351" cy="815666"/>
          </a:xfrm>
          <a:prstGeom prst="rect">
            <a:avLst/>
          </a:prstGeom>
        </p:spPr>
      </p:pic>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62681" y="2553164"/>
            <a:ext cx="1917928" cy="1882567"/>
          </a:xfrm>
          <a:prstGeom prst="rect">
            <a:avLst/>
          </a:prstGeom>
        </p:spPr>
      </p:pic>
    </p:spTree>
    <p:extLst>
      <p:ext uri="{BB962C8B-B14F-4D97-AF65-F5344CB8AC3E}">
        <p14:creationId xmlns:p14="http://schemas.microsoft.com/office/powerpoint/2010/main" val="14449934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_Announcement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3008302" y="1135856"/>
            <a:ext cx="5373499" cy="112471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0"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762580" y="2388949"/>
            <a:ext cx="2118133" cy="211758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4" y="1226585"/>
            <a:ext cx="5181506"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4100" b="1" kern="1200" cap="none" spc="-75" baseline="0" dirty="0" smtClean="0">
                <a:ln w="3175">
                  <a:noFill/>
                </a:ln>
                <a:solidFill>
                  <a:schemeClr val="tx1">
                    <a:alpha val="99000"/>
                  </a:schemeClr>
                </a:solidFill>
                <a:effectLst/>
                <a:latin typeface="+mn-lt"/>
                <a:ea typeface="+mn-ea"/>
                <a:cs typeface="Arial" charset="0"/>
              </a:defRPr>
            </a:lvl1pPr>
          </a:lstStyle>
          <a:p>
            <a:pPr lvl="0"/>
            <a:r>
              <a:rPr lang="en-US" dirty="0" smtClean="0"/>
              <a:t>Announcement</a:t>
            </a:r>
          </a:p>
        </p:txBody>
      </p:sp>
      <p:sp>
        <p:nvSpPr>
          <p:cNvPr id="3" name="Subtitle 2"/>
          <p:cNvSpPr>
            <a:spLocks noGrp="1"/>
          </p:cNvSpPr>
          <p:nvPr>
            <p:ph type="subTitle" idx="1"/>
          </p:nvPr>
        </p:nvSpPr>
        <p:spPr>
          <a:xfrm>
            <a:off x="3072824" y="3663084"/>
            <a:ext cx="5179095" cy="346249"/>
          </a:xfrm>
        </p:spPr>
        <p:txBody>
          <a:bodyPr>
            <a:noAutofit/>
          </a:bodyPr>
          <a:lstStyle>
            <a:lvl1pPr marL="0" indent="0" algn="l">
              <a:lnSpc>
                <a:spcPct val="90000"/>
              </a:lnSpc>
              <a:spcBef>
                <a:spcPts val="0"/>
              </a:spcBef>
              <a:buNone/>
              <a:defRPr lang="en-US" sz="1200" kern="1200" spc="0" baseline="0" dirty="0">
                <a:solidFill>
                  <a:schemeClr val="tx2">
                    <a:alpha val="99000"/>
                  </a:schemeClr>
                </a:solidFill>
                <a:latin typeface="+mj-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pPr marL="0" marR="0" lvl="0" indent="0" algn="l" defTabSz="68569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3072825" y="2543369"/>
            <a:ext cx="5179096" cy="685572"/>
          </a:xfrm>
        </p:spPr>
        <p:txBody>
          <a:bodyPr wrap="square" anchor="ctr">
            <a:noAutofit/>
          </a:bodyPr>
          <a:lstStyle>
            <a:lvl1pPr marL="0" indent="0">
              <a:buNone/>
              <a:defRPr sz="3000" b="1" spc="-75" baseline="0">
                <a:solidFill>
                  <a:schemeClr val="accent6">
                    <a:alpha val="99000"/>
                  </a:schemeClr>
                </a:solidFill>
                <a:latin typeface="+mn-lt"/>
              </a:defRPr>
            </a:lvl1pPr>
          </a:lstStyle>
          <a:p>
            <a:pPr lvl="0"/>
            <a:r>
              <a:rPr lang="en-US" smtClean="0"/>
              <a:t>Click to edit Master text styles</a:t>
            </a:r>
          </a:p>
        </p:txBody>
      </p:sp>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8079" y="1312474"/>
            <a:ext cx="1979351" cy="815666"/>
          </a:xfrm>
          <a:prstGeom prst="rect">
            <a:avLst/>
          </a:prstGeom>
        </p:spPr>
      </p:pic>
      <p:pic>
        <p:nvPicPr>
          <p:cNvPr id="12" name="Picture 1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black">
          <a:xfrm>
            <a:off x="299433" y="2591921"/>
            <a:ext cx="3076819" cy="1845609"/>
          </a:xfrm>
          <a:prstGeom prst="rect">
            <a:avLst/>
          </a:prstGeom>
        </p:spPr>
      </p:pic>
    </p:spTree>
    <p:extLst>
      <p:ext uri="{BB962C8B-B14F-4D97-AF65-F5344CB8AC3E}">
        <p14:creationId xmlns:p14="http://schemas.microsoft.com/office/powerpoint/2010/main" val="12193682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32727"/>
          </a:xfrm>
          <a:prstGeom prst="rect">
            <a:avLst/>
          </a:prstGeom>
        </p:spPr>
        <p:txBody>
          <a:bodyPr/>
          <a:lstStyle>
            <a:lvl1pPr marL="213097" indent="-213097">
              <a:buFont typeface="Wingdings" pitchFamily="2" charset="2"/>
              <a:buChar char=""/>
              <a:defRPr sz="3000"/>
            </a:lvl1pPr>
            <a:lvl2pPr marL="388098" indent="-175001">
              <a:buFont typeface="Wingdings" pitchFamily="2" charset="2"/>
              <a:buChar char=""/>
              <a:defRPr>
                <a:latin typeface="+mn-lt"/>
              </a:defRPr>
            </a:lvl2pPr>
            <a:lvl3pPr marL="555958" indent="-167859">
              <a:buFont typeface="Wingdings" pitchFamily="2" charset="2"/>
              <a:buChar char=""/>
              <a:tabLst/>
              <a:defRPr>
                <a:latin typeface="+mn-lt"/>
              </a:defRPr>
            </a:lvl3pPr>
            <a:lvl4pPr marL="685720" indent="-129761">
              <a:buFont typeface="Wingdings" pitchFamily="2" charset="2"/>
              <a:buChar char=""/>
              <a:defRPr>
                <a:latin typeface="+mn-lt"/>
              </a:defRPr>
            </a:lvl4pPr>
            <a:lvl5pPr marL="815483" indent="-129761">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95859149"/>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085855"/>
            <a:ext cx="8363938" cy="1481945"/>
          </a:xfrm>
          <a:prstGeom prst="rect">
            <a:avLst/>
          </a:prstGeom>
        </p:spPr>
        <p:txBody>
          <a:bodyPr/>
          <a:lstStyle>
            <a:lvl1pPr marL="0" indent="0">
              <a:spcBef>
                <a:spcPts val="1800"/>
              </a:spcBef>
              <a:buNone/>
              <a:defRPr sz="3000">
                <a:gradFill>
                  <a:gsLst>
                    <a:gs pos="100000">
                      <a:schemeClr val="tx2"/>
                    </a:gs>
                    <a:gs pos="0">
                      <a:schemeClr val="tx2"/>
                    </a:gs>
                  </a:gsLst>
                  <a:lin ang="5400000" scaled="0"/>
                </a:gradFill>
                <a:latin typeface="+mj-lt"/>
              </a:defRPr>
            </a:lvl1pPr>
            <a:lvl2pPr marL="0" indent="0">
              <a:buNone/>
              <a:defRPr sz="1500">
                <a:gradFill>
                  <a:gsLst>
                    <a:gs pos="100000">
                      <a:schemeClr val="tx1"/>
                    </a:gs>
                    <a:gs pos="6000">
                      <a:schemeClr val="tx1"/>
                    </a:gs>
                  </a:gsLst>
                  <a:lin ang="5400000" scaled="0"/>
                </a:gradFill>
              </a:defRPr>
            </a:lvl2pPr>
            <a:lvl3pPr marL="173809" indent="0">
              <a:buNone/>
              <a:defRPr sz="1500">
                <a:gradFill>
                  <a:gsLst>
                    <a:gs pos="100000">
                      <a:schemeClr val="tx1"/>
                    </a:gs>
                    <a:gs pos="6000">
                      <a:schemeClr val="tx1"/>
                    </a:gs>
                  </a:gsLst>
                  <a:lin ang="5400000" scaled="0"/>
                </a:gradFill>
              </a:defRPr>
            </a:lvl3pPr>
            <a:lvl4pPr marL="342856" indent="0">
              <a:buNone/>
              <a:defRPr sz="1500">
                <a:gradFill>
                  <a:gsLst>
                    <a:gs pos="100000">
                      <a:schemeClr val="tx1"/>
                    </a:gs>
                    <a:gs pos="6000">
                      <a:schemeClr val="tx1"/>
                    </a:gs>
                  </a:gsLst>
                  <a:lin ang="5400000" scaled="0"/>
                </a:gradFill>
              </a:defRPr>
            </a:lvl4pPr>
            <a:lvl5pPr marL="520245" indent="0">
              <a:buNone/>
              <a:defRPr sz="1500">
                <a:gradFill>
                  <a:gsLst>
                    <a:gs pos="100000">
                      <a:schemeClr val="tx1"/>
                    </a:gs>
                    <a:gs pos="6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26329060"/>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085855"/>
            <a:ext cx="8363938" cy="1481945"/>
          </a:xfrm>
          <a:prstGeom prst="rect">
            <a:avLst/>
          </a:prstGeom>
        </p:spPr>
        <p:txBody>
          <a:bodyPr/>
          <a:lstStyle>
            <a:lvl1pPr marL="0" indent="0">
              <a:spcBef>
                <a:spcPts val="1800"/>
              </a:spcBef>
              <a:buNone/>
              <a:defRPr sz="3000">
                <a:gradFill>
                  <a:gsLst>
                    <a:gs pos="100000">
                      <a:schemeClr val="tx1"/>
                    </a:gs>
                    <a:gs pos="0">
                      <a:schemeClr val="tx1"/>
                    </a:gs>
                  </a:gsLst>
                  <a:lin ang="5400000" scaled="0"/>
                </a:gradFill>
                <a:latin typeface="+mj-lt"/>
              </a:defRPr>
            </a:lvl1pPr>
            <a:lvl2pPr marL="0" indent="0">
              <a:buNone/>
              <a:defRPr sz="1500">
                <a:gradFill>
                  <a:gsLst>
                    <a:gs pos="100000">
                      <a:schemeClr val="tx1"/>
                    </a:gs>
                    <a:gs pos="0">
                      <a:schemeClr val="tx1"/>
                    </a:gs>
                  </a:gsLst>
                  <a:lin ang="5400000" scaled="0"/>
                </a:gradFill>
              </a:defRPr>
            </a:lvl2pPr>
            <a:lvl3pPr marL="173809" indent="0">
              <a:buNone/>
              <a:defRPr sz="1500">
                <a:gradFill>
                  <a:gsLst>
                    <a:gs pos="100000">
                      <a:schemeClr val="tx1"/>
                    </a:gs>
                    <a:gs pos="0">
                      <a:schemeClr val="tx1"/>
                    </a:gs>
                  </a:gsLst>
                  <a:lin ang="5400000" scaled="0"/>
                </a:gradFill>
              </a:defRPr>
            </a:lvl3pPr>
            <a:lvl4pPr marL="342856" indent="0">
              <a:buNone/>
              <a:defRPr sz="1500">
                <a:gradFill>
                  <a:gsLst>
                    <a:gs pos="100000">
                      <a:schemeClr val="tx1"/>
                    </a:gs>
                    <a:gs pos="0">
                      <a:schemeClr val="tx1"/>
                    </a:gs>
                  </a:gsLst>
                  <a:lin ang="5400000" scaled="0"/>
                </a:gradFill>
              </a:defRPr>
            </a:lvl4pPr>
            <a:lvl5pPr marL="520245" indent="0">
              <a:buNone/>
              <a:defRPr sz="1500">
                <a:gradFill>
                  <a:gsLst>
                    <a:gs pos="100000">
                      <a:schemeClr val="tx1"/>
                    </a:gs>
                    <a:gs pos="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43898537"/>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390627" y="1085850"/>
            <a:ext cx="4047274" cy="1763560"/>
          </a:xfrm>
        </p:spPr>
        <p:txBody>
          <a:bodyPr>
            <a:spAutoFit/>
          </a:bodyPr>
          <a:lstStyle>
            <a:lvl1pPr marL="219050" indent="-219050">
              <a:spcBef>
                <a:spcPts val="900"/>
              </a:spcBef>
              <a:buClr>
                <a:schemeClr val="tx1"/>
              </a:buClr>
              <a:buFont typeface="Wingdings" pitchFamily="2" charset="2"/>
              <a:buChar char=""/>
              <a:defRPr/>
            </a:lvl1pPr>
            <a:lvl2pPr marL="390481" indent="-171431">
              <a:defRPr sz="1500"/>
            </a:lvl2pPr>
            <a:lvl3pPr marL="514293" indent="-123812">
              <a:tabLst/>
              <a:defRPr sz="1500"/>
            </a:lvl3pPr>
            <a:lvl4pPr marL="647624" indent="-133333">
              <a:defRPr/>
            </a:lvl4pPr>
            <a:lvl5pPr marL="771436" indent="-12381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4709672" y="1085850"/>
            <a:ext cx="4047274" cy="1763560"/>
          </a:xfrm>
        </p:spPr>
        <p:txBody>
          <a:bodyPr>
            <a:spAutoFit/>
          </a:bodyPr>
          <a:lstStyle>
            <a:lvl1pPr marL="254765" indent="-254765">
              <a:spcBef>
                <a:spcPts val="900"/>
              </a:spcBef>
              <a:buFont typeface="Wingdings" pitchFamily="2" charset="2"/>
              <a:buChar char=""/>
              <a:defRPr lang="en-US" sz="2700" kern="1200" spc="-53" baseline="0" dirty="0" smtClean="0">
                <a:gradFill>
                  <a:gsLst>
                    <a:gs pos="1250">
                      <a:schemeClr val="tx1"/>
                    </a:gs>
                    <a:gs pos="100000">
                      <a:schemeClr val="tx1"/>
                    </a:gs>
                  </a:gsLst>
                  <a:lin ang="5400000" scaled="0"/>
                </a:gradFill>
                <a:latin typeface="+mj-lt"/>
                <a:ea typeface="+mn-ea"/>
                <a:cs typeface="+mn-cs"/>
              </a:defRPr>
            </a:lvl1pPr>
            <a:lvl2pPr marL="476194" indent="-257146">
              <a:defRPr lang="en-US" sz="1500" kern="1200" spc="0" baseline="0" dirty="0" smtClean="0">
                <a:gradFill>
                  <a:gsLst>
                    <a:gs pos="1250">
                      <a:schemeClr val="tx1"/>
                    </a:gs>
                    <a:gs pos="100000">
                      <a:schemeClr val="tx1"/>
                    </a:gs>
                  </a:gsLst>
                  <a:lin ang="5400000" scaled="0"/>
                </a:gradFill>
                <a:latin typeface="+mn-lt"/>
                <a:ea typeface="+mn-ea"/>
                <a:cs typeface="+mn-cs"/>
              </a:defRPr>
            </a:lvl2pPr>
            <a:lvl3pPr marL="647624" indent="-257146">
              <a:defRPr lang="en-US" sz="1500" kern="1200" spc="0" baseline="0" dirty="0" smtClean="0">
                <a:gradFill>
                  <a:gsLst>
                    <a:gs pos="1250">
                      <a:schemeClr val="tx1"/>
                    </a:gs>
                    <a:gs pos="100000">
                      <a:schemeClr val="tx1"/>
                    </a:gs>
                  </a:gsLst>
                  <a:lin ang="5400000" scaled="0"/>
                </a:gradFill>
                <a:latin typeface="+mn-lt"/>
                <a:ea typeface="+mn-ea"/>
                <a:cs typeface="+mn-cs"/>
              </a:defRPr>
            </a:lvl3pPr>
            <a:lvl4pPr marL="771436" indent="-257146">
              <a:defRPr lang="en-US" sz="1500" kern="1200" spc="0" baseline="0" dirty="0" smtClean="0">
                <a:gradFill>
                  <a:gsLst>
                    <a:gs pos="1250">
                      <a:schemeClr val="tx1"/>
                    </a:gs>
                    <a:gs pos="100000">
                      <a:schemeClr val="tx1"/>
                    </a:gs>
                  </a:gsLst>
                  <a:lin ang="5400000" scaled="0"/>
                </a:gradFill>
                <a:latin typeface="+mn-lt"/>
                <a:ea typeface="+mn-ea"/>
                <a:cs typeface="+mn-cs"/>
              </a:defRPr>
            </a:lvl4pPr>
            <a:lvl5pPr marL="904771" indent="-257146">
              <a:defRPr lang="en-US" sz="1500" kern="1200" spc="0" baseline="0" dirty="0">
                <a:gradFill>
                  <a:gsLst>
                    <a:gs pos="1250">
                      <a:schemeClr val="tx1"/>
                    </a:gs>
                    <a:gs pos="100000">
                      <a:schemeClr val="tx1"/>
                    </a:gs>
                  </a:gsLst>
                  <a:lin ang="5400000" scaled="0"/>
                </a:gradFill>
                <a:latin typeface="+mn-lt"/>
                <a:ea typeface="+mn-ea"/>
                <a:cs typeface="+mn-cs"/>
              </a:defRPr>
            </a:lvl5pPr>
          </a:lstStyle>
          <a:p>
            <a:pPr marL="219050" marR="0" lvl="0" indent="-219050" algn="l" defTabSz="68569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19050" marR="0" lvl="1" indent="-219050" algn="l" defTabSz="68569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19050" marR="0" lvl="2" indent="-219050" algn="l" defTabSz="68569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19050" marR="0" lvl="3" indent="-219050" algn="l" defTabSz="68569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19050" marR="0" lvl="4" indent="-219050" algn="l" defTabSz="68569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87177808"/>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085850"/>
            <a:ext cx="4047274" cy="1846660"/>
          </a:xfrm>
        </p:spPr>
        <p:txBody>
          <a:bodyPr/>
          <a:lstStyle>
            <a:lvl1pPr marL="0" indent="0">
              <a:spcBef>
                <a:spcPts val="900"/>
              </a:spcBef>
              <a:buNone/>
              <a:defRPr sz="3000">
                <a:gradFill>
                  <a:gsLst>
                    <a:gs pos="100000">
                      <a:schemeClr val="tx2"/>
                    </a:gs>
                    <a:gs pos="0">
                      <a:schemeClr val="tx2"/>
                    </a:gs>
                  </a:gsLst>
                  <a:lin ang="5400000" scaled="0"/>
                </a:gradFill>
                <a:latin typeface="+mj-lt"/>
              </a:defRPr>
            </a:lvl1pPr>
            <a:lvl2pPr marL="0" indent="0">
              <a:buNone/>
              <a:defRPr sz="1500"/>
            </a:lvl2pPr>
            <a:lvl3pPr marL="175001" indent="0">
              <a:buNone/>
              <a:defRPr sz="1500"/>
            </a:lvl3pPr>
            <a:lvl4pPr marL="342856" indent="0">
              <a:buNone/>
              <a:defRPr sz="1500"/>
            </a:lvl4pPr>
            <a:lvl5pPr marL="520245" indent="0">
              <a:buNone/>
              <a:defRPr sz="15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4709672" y="1085850"/>
            <a:ext cx="4047274" cy="1846660"/>
          </a:xfrm>
        </p:spPr>
        <p:txBody>
          <a:bodyPr/>
          <a:lstStyle>
            <a:lvl1pPr marL="0" indent="0">
              <a:spcBef>
                <a:spcPts val="900"/>
              </a:spcBef>
              <a:buNone/>
              <a:defRPr lang="en-US" sz="3000" kern="1200" spc="-53" baseline="0" dirty="0" smtClean="0">
                <a:gradFill>
                  <a:gsLst>
                    <a:gs pos="100000">
                      <a:schemeClr val="tx2"/>
                    </a:gs>
                    <a:gs pos="0">
                      <a:schemeClr val="tx2"/>
                    </a:gs>
                  </a:gsLst>
                  <a:lin ang="5400000" scaled="0"/>
                </a:gradFill>
                <a:latin typeface="+mj-lt"/>
                <a:ea typeface="+mn-ea"/>
                <a:cs typeface="+mn-cs"/>
              </a:defRPr>
            </a:lvl1pPr>
            <a:lvl2pPr marL="2382" marR="0" indent="0" algn="l" defTabSz="685693"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2pPr>
            <a:lvl3pPr marL="175001" marR="0" indent="0" algn="l" defTabSz="685693"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3pPr>
            <a:lvl4pPr marL="345237" marR="0" indent="0" algn="l" defTabSz="685693"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4pPr>
            <a:lvl5pPr marL="515484" marR="0" indent="0" algn="l" defTabSz="685693"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a:gradFill>
                  <a:gsLst>
                    <a:gs pos="1250">
                      <a:schemeClr val="tx1"/>
                    </a:gs>
                    <a:gs pos="100000">
                      <a:schemeClr val="tx1"/>
                    </a:gs>
                  </a:gsLst>
                  <a:lin ang="5400000" scaled="0"/>
                </a:gradFill>
                <a:latin typeface="+mn-lt"/>
                <a:ea typeface="+mn-ea"/>
                <a:cs typeface="+mn-cs"/>
              </a:defRPr>
            </a:lvl5pPr>
          </a:lstStyle>
          <a:p>
            <a:pPr marL="0" marR="0" lvl="0" indent="0" algn="l" defTabSz="68569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68569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68569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68569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68569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3834520597"/>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085850"/>
            <a:ext cx="4047274" cy="1846660"/>
          </a:xfrm>
        </p:spPr>
        <p:txBody>
          <a:bodyPr/>
          <a:lstStyle>
            <a:lvl1pPr marL="0" indent="0">
              <a:spcBef>
                <a:spcPts val="900"/>
              </a:spcBef>
              <a:buNone/>
              <a:defRPr sz="3000">
                <a:gradFill>
                  <a:gsLst>
                    <a:gs pos="1000">
                      <a:schemeClr val="tx1"/>
                    </a:gs>
                    <a:gs pos="98000">
                      <a:schemeClr val="tx1"/>
                    </a:gs>
                  </a:gsLst>
                  <a:lin ang="5400000" scaled="0"/>
                </a:gradFill>
                <a:latin typeface="+mj-lt"/>
              </a:defRPr>
            </a:lvl1pPr>
            <a:lvl2pPr marL="0" indent="0">
              <a:buNone/>
              <a:defRPr sz="1500"/>
            </a:lvl2pPr>
            <a:lvl3pPr marL="175001" indent="0">
              <a:buNone/>
              <a:defRPr sz="1500"/>
            </a:lvl3pPr>
            <a:lvl4pPr marL="342856" indent="0">
              <a:buNone/>
              <a:defRPr sz="1500"/>
            </a:lvl4pPr>
            <a:lvl5pPr marL="520245" indent="0">
              <a:buNone/>
              <a:defRPr sz="15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4709672" y="1085850"/>
            <a:ext cx="4047274" cy="1846660"/>
          </a:xfrm>
        </p:spPr>
        <p:txBody>
          <a:bodyPr/>
          <a:lstStyle>
            <a:lvl1pPr marL="0" indent="0">
              <a:spcBef>
                <a:spcPts val="900"/>
              </a:spcBef>
              <a:buNone/>
              <a:defRPr lang="en-US" sz="3000" kern="1200" spc="-53" baseline="0" dirty="0" smtClean="0">
                <a:gradFill>
                  <a:gsLst>
                    <a:gs pos="1000">
                      <a:schemeClr val="tx1"/>
                    </a:gs>
                    <a:gs pos="98000">
                      <a:schemeClr val="tx1"/>
                    </a:gs>
                  </a:gsLst>
                  <a:lin ang="5400000" scaled="0"/>
                </a:gradFill>
                <a:latin typeface="+mj-lt"/>
                <a:ea typeface="+mn-ea"/>
                <a:cs typeface="+mn-cs"/>
              </a:defRPr>
            </a:lvl1pPr>
            <a:lvl2pPr marL="2382" marR="0" indent="0" algn="l" defTabSz="685693"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2pPr>
            <a:lvl3pPr marL="175001" marR="0" indent="0" algn="l" defTabSz="685693"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3pPr>
            <a:lvl4pPr marL="345237" marR="0" indent="0" algn="l" defTabSz="685693"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4pPr>
            <a:lvl5pPr marL="515484" marR="0" indent="0" algn="l" defTabSz="685693"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a:gradFill>
                  <a:gsLst>
                    <a:gs pos="1250">
                      <a:schemeClr val="tx1"/>
                    </a:gs>
                    <a:gs pos="100000">
                      <a:schemeClr val="tx1"/>
                    </a:gs>
                  </a:gsLst>
                  <a:lin ang="5400000" scaled="0"/>
                </a:gradFill>
                <a:latin typeface="+mn-lt"/>
                <a:ea typeface="+mn-ea"/>
                <a:cs typeface="+mn-cs"/>
              </a:defRPr>
            </a:lvl5pPr>
          </a:lstStyle>
          <a:p>
            <a:pPr marL="0" marR="0" lvl="0" indent="0" algn="l" defTabSz="68569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68569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68569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68569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68569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77149962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89436" y="1085852"/>
            <a:ext cx="8363938" cy="150041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0779421"/>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6810129"/>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3" name="Rectangle 2"/>
          <p:cNvSpPr/>
          <p:nvPr userDrawn="1"/>
        </p:nvSpPr>
        <p:spPr bwMode="hidden">
          <a:xfrm>
            <a:off x="0" y="866956"/>
            <a:ext cx="9144000" cy="427654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6" tIns="34286" rIns="34286" bIns="34286" numCol="1" spcCol="0" rtlCol="0" fromWordArt="0" anchor="ctr" anchorCtr="0" forceAA="0" compatLnSpc="1">
            <a:prstTxWarp prst="textNoShape">
              <a:avLst/>
            </a:prstTxWarp>
            <a:noAutofit/>
          </a:bodyPr>
          <a:lstStyle/>
          <a:p>
            <a:pPr algn="ctr" defTabSz="68549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388840" y="1085850"/>
            <a:ext cx="8366320" cy="1491178"/>
          </a:xfrm>
        </p:spPr>
        <p:txBody>
          <a:bodyPr/>
          <a:lstStyle>
            <a:lvl1pPr marL="0" indent="0">
              <a:buNone/>
              <a:defRPr sz="2400">
                <a:gradFill>
                  <a:gsLst>
                    <a:gs pos="1250">
                      <a:srgbClr val="000000"/>
                    </a:gs>
                    <a:gs pos="100000">
                      <a:srgbClr val="000000"/>
                    </a:gs>
                  </a:gsLst>
                  <a:lin ang="5400000" scaled="0"/>
                </a:gradFill>
                <a:latin typeface="Consolas" pitchFamily="49" charset="0"/>
                <a:cs typeface="Consolas" pitchFamily="49" charset="0"/>
              </a:defRPr>
            </a:lvl1pPr>
            <a:lvl2pPr marL="254765" indent="0">
              <a:buNone/>
              <a:defRPr>
                <a:gradFill>
                  <a:gsLst>
                    <a:gs pos="1250">
                      <a:srgbClr val="000000"/>
                    </a:gs>
                    <a:gs pos="100000">
                      <a:srgbClr val="000000"/>
                    </a:gs>
                  </a:gsLst>
                  <a:lin ang="5400000" scaled="0"/>
                </a:gradFill>
                <a:latin typeface="Consolas" pitchFamily="49" charset="0"/>
                <a:cs typeface="Consolas" pitchFamily="49" charset="0"/>
              </a:defRPr>
            </a:lvl2pPr>
            <a:lvl3pPr marL="429765" indent="0">
              <a:buNone/>
              <a:defRPr>
                <a:gradFill>
                  <a:gsLst>
                    <a:gs pos="1250">
                      <a:srgbClr val="000000"/>
                    </a:gs>
                    <a:gs pos="100000">
                      <a:srgbClr val="000000"/>
                    </a:gs>
                  </a:gsLst>
                  <a:lin ang="5400000" scaled="0"/>
                </a:gradFill>
                <a:latin typeface="Consolas" pitchFamily="49" charset="0"/>
                <a:cs typeface="Consolas" pitchFamily="49" charset="0"/>
              </a:defRPr>
            </a:lvl3pPr>
            <a:lvl4pPr marL="598815" indent="0">
              <a:buNone/>
              <a:defRPr>
                <a:gradFill>
                  <a:gsLst>
                    <a:gs pos="1250">
                      <a:srgbClr val="000000"/>
                    </a:gs>
                    <a:gs pos="100000">
                      <a:srgbClr val="000000"/>
                    </a:gs>
                  </a:gsLst>
                  <a:lin ang="5400000" scaled="0"/>
                </a:gradFill>
                <a:latin typeface="Consolas" pitchFamily="49" charset="0"/>
                <a:cs typeface="Consolas" pitchFamily="49" charset="0"/>
              </a:defRPr>
            </a:lvl4pPr>
            <a:lvl5pPr marL="772627"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20725631"/>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WALKIN - EUROPE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6849698" y="4018554"/>
            <a:ext cx="480978" cy="24277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251714" y="4599306"/>
            <a:ext cx="1108831" cy="544194"/>
          </a:xfrm>
          <a:prstGeom prst="rect">
            <a:avLst/>
          </a:prstGeom>
        </p:spPr>
      </p:pic>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6418" r="24915" b="4055"/>
          <a:stretch/>
        </p:blipFill>
        <p:spPr>
          <a:xfrm>
            <a:off x="3170425" y="3347287"/>
            <a:ext cx="835699" cy="988271"/>
          </a:xfrm>
          <a:prstGeom prst="rect">
            <a:avLst/>
          </a:prstGeom>
        </p:spPr>
      </p:pic>
      <p:pic>
        <p:nvPicPr>
          <p:cNvPr id="14" name="Picture 13"/>
          <p:cNvPicPr>
            <a:picLocks noChangeAspect="1"/>
          </p:cNvPicPr>
          <p:nvPr userDrawn="1"/>
        </p:nvPicPr>
        <p:blipFill rotWithShape="1">
          <a:blip r:embed="rId7">
            <a:extLst>
              <a:ext uri="{28A0092B-C50C-407E-A947-70E740481C1C}">
                <a14:useLocalDpi xmlns:a14="http://schemas.microsoft.com/office/drawing/2010/main" val="0"/>
              </a:ext>
            </a:extLst>
          </a:blip>
          <a:srcRect l="25426" r="27183" b="38978"/>
          <a:stretch/>
        </p:blipFill>
        <p:spPr>
          <a:xfrm>
            <a:off x="4464209" y="4572378"/>
            <a:ext cx="739442" cy="571129"/>
          </a:xfrm>
          <a:prstGeom prst="rect">
            <a:avLst/>
          </a:prstGeom>
        </p:spPr>
      </p:pic>
      <p:pic>
        <p:nvPicPr>
          <p:cNvPr id="2" name="Picture 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4374700" y="2230294"/>
            <a:ext cx="2070691" cy="2032514"/>
          </a:xfrm>
          <a:prstGeom prst="rect">
            <a:avLst/>
          </a:prstGeom>
        </p:spPr>
      </p:pic>
      <p:pic>
        <p:nvPicPr>
          <p:cNvPr id="12" name="Picture 11"/>
          <p:cNvPicPr>
            <a:picLocks noChangeAspect="1"/>
          </p:cNvPicPr>
          <p:nvPr userDrawn="1"/>
        </p:nvPicPr>
        <p:blipFill rotWithShape="1">
          <a:blip r:embed="rId9">
            <a:extLst>
              <a:ext uri="{28A0092B-C50C-407E-A947-70E740481C1C}">
                <a14:useLocalDpi xmlns:a14="http://schemas.microsoft.com/office/drawing/2010/main" val="0"/>
              </a:ext>
            </a:extLst>
          </a:blip>
          <a:srcRect l="24061" t="4833" r="26116"/>
          <a:stretch/>
        </p:blipFill>
        <p:spPr>
          <a:xfrm>
            <a:off x="8186527" y="2146712"/>
            <a:ext cx="789307" cy="904359"/>
          </a:xfrm>
          <a:prstGeom prst="rect">
            <a:avLst/>
          </a:prstGeom>
        </p:spPr>
      </p:pic>
      <p:pic>
        <p:nvPicPr>
          <p:cNvPr id="9" name="Picture 2" descr="C:\Users\Justin\Desktop\_Work_in_Progress\_MS\1530\toolbox.png"/>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1955626" y="3499987"/>
            <a:ext cx="728251" cy="61697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794094" y="1062478"/>
            <a:ext cx="2692964" cy="1034666"/>
          </a:xfrm>
          <a:prstGeom prst="rect">
            <a:avLst/>
          </a:prstGeom>
        </p:spPr>
      </p:pic>
      <p:pic>
        <p:nvPicPr>
          <p:cNvPr id="11" name="Picture 10"/>
          <p:cNvPicPr>
            <a:picLocks noChangeAspect="1"/>
          </p:cNvPicPr>
          <p:nvPr userDrawn="1"/>
        </p:nvPicPr>
        <p:blipFill>
          <a:blip r:embed="rId12">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205377" y="4683824"/>
            <a:ext cx="1467261" cy="348235"/>
          </a:xfrm>
          <a:prstGeom prst="rect">
            <a:avLst/>
          </a:prstGeom>
        </p:spPr>
      </p:pic>
      <p:pic>
        <p:nvPicPr>
          <p:cNvPr id="5" name="Picture 4"/>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6974117" y="3414342"/>
            <a:ext cx="2004218" cy="827933"/>
          </a:xfrm>
          <a:prstGeom prst="rect">
            <a:avLst/>
          </a:prstGeom>
        </p:spPr>
      </p:pic>
      <p:sp>
        <p:nvSpPr>
          <p:cNvPr id="13" name="TextBox 12"/>
          <p:cNvSpPr txBox="1"/>
          <p:nvPr userDrawn="1"/>
        </p:nvSpPr>
        <p:spPr>
          <a:xfrm>
            <a:off x="1841312" y="4736973"/>
            <a:ext cx="2209573" cy="230833"/>
          </a:xfrm>
          <a:prstGeom prst="rect">
            <a:avLst/>
          </a:prstGeom>
          <a:noFill/>
        </p:spPr>
        <p:txBody>
          <a:bodyPr wrap="square" lIns="0" tIns="0" rIns="0" bIns="0" rtlCol="0">
            <a:spAutoFit/>
          </a:bodyPr>
          <a:lstStyle/>
          <a:p>
            <a:pPr algn="ctr" defTabSz="685693"/>
            <a:r>
              <a:rPr lang="en-US" sz="1500" b="1" spc="-53" dirty="0" smtClean="0">
                <a:gradFill>
                  <a:gsLst>
                    <a:gs pos="2917">
                      <a:srgbClr val="FFFFFF"/>
                    </a:gs>
                    <a:gs pos="30000">
                      <a:srgbClr val="FFFFFF"/>
                    </a:gs>
                  </a:gsLst>
                  <a:lin ang="5400000" scaled="0"/>
                </a:gradFill>
              </a:rPr>
              <a:t>LEARN</a:t>
            </a:r>
            <a:r>
              <a:rPr lang="en-US" sz="1500" spc="-53" dirty="0" smtClean="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149153577"/>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6849698" y="4018554"/>
            <a:ext cx="480978" cy="24277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a:extLst>
              <a:ext uri="{28A0092B-C50C-407E-A947-70E740481C1C}">
                <a14:useLocalDpi xmlns:a14="http://schemas.microsoft.com/office/drawing/2010/main" val="0"/>
              </a:ext>
            </a:extLst>
          </a:blip>
          <a:srcRect l="25426" r="27183" b="38978"/>
          <a:stretch/>
        </p:blipFill>
        <p:spPr>
          <a:xfrm>
            <a:off x="4464209" y="4572378"/>
            <a:ext cx="739442" cy="571129"/>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74700" y="2230294"/>
            <a:ext cx="2070691" cy="2032514"/>
          </a:xfrm>
          <a:prstGeom prst="rect">
            <a:avLst/>
          </a:prstGeom>
        </p:spPr>
      </p:pic>
      <p:pic>
        <p:nvPicPr>
          <p:cNvPr id="10" name="Picture 2" descr="C:\Users\Justin\Desktop\_Work_in_Progress\_MS\1530\toolbox.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955626" y="3499987"/>
            <a:ext cx="728251" cy="61697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794094" y="1062478"/>
            <a:ext cx="2692964" cy="1034666"/>
          </a:xfrm>
          <a:prstGeom prst="rect">
            <a:avLst/>
          </a:prstGeom>
        </p:spPr>
      </p:pic>
      <p:pic>
        <p:nvPicPr>
          <p:cNvPr id="3" name="Picture 2"/>
          <p:cNvPicPr>
            <a:picLocks noChangeAspect="1"/>
          </p:cNvPicPr>
          <p:nvPr userDrawn="1"/>
        </p:nvPicPr>
        <p:blipFill>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205377" y="4683824"/>
            <a:ext cx="1467261" cy="348235"/>
          </a:xfrm>
          <a:prstGeom prst="rect">
            <a:avLst/>
          </a:prstGeom>
        </p:spPr>
      </p:pic>
      <p:pic>
        <p:nvPicPr>
          <p:cNvPr id="16" name="Picture 15"/>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6974117" y="3414341"/>
            <a:ext cx="2004218" cy="827933"/>
          </a:xfrm>
          <a:prstGeom prst="rect">
            <a:avLst/>
          </a:prstGeom>
        </p:spPr>
      </p:pic>
      <p:sp>
        <p:nvSpPr>
          <p:cNvPr id="17" name="TextBox 16"/>
          <p:cNvSpPr txBox="1"/>
          <p:nvPr userDrawn="1"/>
        </p:nvSpPr>
        <p:spPr>
          <a:xfrm>
            <a:off x="1841312" y="4736973"/>
            <a:ext cx="2209573" cy="230833"/>
          </a:xfrm>
          <a:prstGeom prst="rect">
            <a:avLst/>
          </a:prstGeom>
          <a:noFill/>
        </p:spPr>
        <p:txBody>
          <a:bodyPr wrap="square" lIns="0" tIns="0" rIns="0" bIns="0" rtlCol="0">
            <a:spAutoFit/>
          </a:bodyPr>
          <a:lstStyle/>
          <a:p>
            <a:pPr algn="ctr" defTabSz="685693"/>
            <a:r>
              <a:rPr lang="en-US" sz="1500" b="1" spc="-53" dirty="0" smtClean="0">
                <a:gradFill>
                  <a:gsLst>
                    <a:gs pos="2917">
                      <a:srgbClr val="FFFFFF"/>
                    </a:gs>
                    <a:gs pos="30000">
                      <a:srgbClr val="FFFFFF"/>
                    </a:gs>
                  </a:gsLst>
                  <a:lin ang="5400000" scaled="0"/>
                </a:gradFill>
              </a:rPr>
              <a:t>LEARN</a:t>
            </a:r>
            <a:r>
              <a:rPr lang="en-US" sz="1500" spc="-53"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a:extLst>
              <a:ext uri="{28A0092B-C50C-407E-A947-70E740481C1C}">
                <a14:useLocalDpi xmlns:a14="http://schemas.microsoft.com/office/drawing/2010/main" val="0"/>
              </a:ext>
            </a:extLst>
          </a:blip>
          <a:srcRect/>
          <a:stretch/>
        </p:blipFill>
        <p:spPr>
          <a:xfrm>
            <a:off x="251714" y="4599306"/>
            <a:ext cx="1108831" cy="544194"/>
          </a:xfrm>
          <a:prstGeom prst="rect">
            <a:avLst/>
          </a:prstGeom>
        </p:spPr>
      </p:pic>
      <p:pic>
        <p:nvPicPr>
          <p:cNvPr id="19" name="Picture 18"/>
          <p:cNvPicPr>
            <a:picLocks noChangeAspect="1"/>
          </p:cNvPicPr>
          <p:nvPr userDrawn="1"/>
        </p:nvPicPr>
        <p:blipFill rotWithShape="1">
          <a:blip r:embed="rId13">
            <a:extLst>
              <a:ext uri="{28A0092B-C50C-407E-A947-70E740481C1C}">
                <a14:useLocalDpi xmlns:a14="http://schemas.microsoft.com/office/drawing/2010/main" val="0"/>
              </a:ext>
            </a:extLst>
          </a:blip>
          <a:srcRect l="26418" r="24915" b="4055"/>
          <a:stretch/>
        </p:blipFill>
        <p:spPr>
          <a:xfrm>
            <a:off x="3170425" y="3347287"/>
            <a:ext cx="835699" cy="988271"/>
          </a:xfrm>
          <a:prstGeom prst="rect">
            <a:avLst/>
          </a:prstGeom>
        </p:spPr>
      </p:pic>
      <p:pic>
        <p:nvPicPr>
          <p:cNvPr id="20" name="Picture 19"/>
          <p:cNvPicPr>
            <a:picLocks noChangeAspect="1"/>
          </p:cNvPicPr>
          <p:nvPr userDrawn="1"/>
        </p:nvPicPr>
        <p:blipFill rotWithShape="1">
          <a:blip r:embed="rId14">
            <a:extLst>
              <a:ext uri="{28A0092B-C50C-407E-A947-70E740481C1C}">
                <a14:useLocalDpi xmlns:a14="http://schemas.microsoft.com/office/drawing/2010/main" val="0"/>
              </a:ext>
            </a:extLst>
          </a:blip>
          <a:srcRect l="24061" t="4833" r="26116"/>
          <a:stretch/>
        </p:blipFill>
        <p:spPr>
          <a:xfrm>
            <a:off x="8186527" y="2146712"/>
            <a:ext cx="789307" cy="904359"/>
          </a:xfrm>
          <a:prstGeom prst="rect">
            <a:avLst/>
          </a:prstGeom>
        </p:spPr>
      </p:pic>
    </p:spTree>
    <p:extLst>
      <p:ext uri="{BB962C8B-B14F-4D97-AF65-F5344CB8AC3E}">
        <p14:creationId xmlns:p14="http://schemas.microsoft.com/office/powerpoint/2010/main" val="3921808974"/>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7" y="171450"/>
            <a:ext cx="8366320" cy="498598"/>
          </a:xfrm>
        </p:spPr>
        <p:txBody>
          <a:bodyPr/>
          <a:lstStyle>
            <a:lvl1pPr>
              <a:defRPr sz="36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389436" y="1085849"/>
            <a:ext cx="8363938" cy="1532727"/>
          </a:xfrm>
          <a:prstGeom prst="rect">
            <a:avLst/>
          </a:prstGeom>
        </p:spPr>
        <p:txBody>
          <a:bodyPr/>
          <a:lstStyle>
            <a:lvl1pPr marL="257146" indent="-25714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433" indent="-214287">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720" indent="-214287">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7148" indent="-17143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579" indent="-17143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14281" tIns="57137" rIns="114281" bIns="57137" anchor="b" anchorCtr="0">
            <a:noAutofit/>
          </a:bodyPr>
          <a:lstStyle>
            <a:lvl1pPr algn="r">
              <a:buFont typeface="Arial" pitchFamily="34" charset="0"/>
              <a:buNone/>
              <a:defRPr sz="27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4040241744"/>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type="blank">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9438106"/>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058" indent="-30238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577" indent="-2595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967" indent="-25238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57769523"/>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10" name="Rectangle 9"/>
          <p:cNvSpPr/>
          <p:nvPr/>
        </p:nvSpPr>
        <p:spPr bwMode="auto">
          <a:xfrm>
            <a:off x="0" y="4930823"/>
            <a:ext cx="9144000" cy="2126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smtClean="0">
              <a:gradFill>
                <a:gsLst>
                  <a:gs pos="0">
                    <a:srgbClr val="FFFFFF"/>
                  </a:gs>
                  <a:gs pos="100000">
                    <a:srgbClr val="FFFFFF"/>
                  </a:gs>
                </a:gsLst>
                <a:lin ang="5400000" scaled="0"/>
              </a:gradFill>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7968537" y="84919"/>
            <a:ext cx="1108605" cy="555265"/>
          </a:xfrm>
          <a:prstGeom prst="rect">
            <a:avLst/>
          </a:prstGeom>
        </p:spPr>
      </p:pic>
      <p:sp>
        <p:nvSpPr>
          <p:cNvPr id="13" name="Rectangle 12"/>
          <p:cNvSpPr/>
          <p:nvPr userDrawn="1"/>
        </p:nvSpPr>
        <p:spPr bwMode="auto">
          <a:xfrm>
            <a:off x="0" y="7"/>
            <a:ext cx="9144000" cy="3428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785808577"/>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7"/>
            <a:ext cx="4115872" cy="1323439"/>
          </a:xfrm>
        </p:spPr>
        <p:txBody>
          <a:bodyPr/>
          <a:lstStyle>
            <a:lvl1pPr marL="254942" indent="-254942">
              <a:lnSpc>
                <a:spcPct val="90000"/>
              </a:lnSpc>
              <a:defRPr sz="2100"/>
            </a:lvl1pPr>
            <a:lvl2pPr marL="504924" indent="-244031">
              <a:lnSpc>
                <a:spcPct val="90000"/>
              </a:lnSpc>
              <a:defRPr sz="1800"/>
            </a:lvl2pPr>
            <a:lvl3pPr marL="715224" indent="-216254">
              <a:lnSpc>
                <a:spcPct val="90000"/>
              </a:lnSpc>
              <a:defRPr sz="1500"/>
            </a:lvl3pPr>
            <a:lvl4pPr marL="920565" indent="-205339">
              <a:lnSpc>
                <a:spcPct val="90000"/>
              </a:lnSpc>
              <a:defRPr sz="1400"/>
            </a:lvl4pPr>
            <a:lvl5pPr marL="1136819" indent="-210300">
              <a:lnSpc>
                <a:spcPct val="90000"/>
              </a:lnSpc>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7"/>
            <a:ext cx="4115872" cy="1323439"/>
          </a:xfrm>
        </p:spPr>
        <p:txBody>
          <a:bodyPr/>
          <a:lstStyle>
            <a:lvl1pPr marL="260893" indent="-260893">
              <a:lnSpc>
                <a:spcPct val="90000"/>
              </a:lnSpc>
              <a:defRPr sz="2100"/>
            </a:lvl1pPr>
            <a:lvl2pPr marL="504924" indent="-254942">
              <a:lnSpc>
                <a:spcPct val="90000"/>
              </a:lnSpc>
              <a:defRPr sz="1800"/>
            </a:lvl2pPr>
            <a:lvl3pPr marL="721178" indent="-227169">
              <a:lnSpc>
                <a:spcPct val="90000"/>
              </a:lnSpc>
              <a:defRPr sz="1500"/>
            </a:lvl3pPr>
            <a:lvl4pPr marL="920565" indent="-199386">
              <a:lnSpc>
                <a:spcPct val="90000"/>
              </a:lnSpc>
              <a:defRPr sz="1400"/>
            </a:lvl4pPr>
            <a:lvl5pPr marL="1136819" indent="-205339">
              <a:lnSpc>
                <a:spcPct val="90000"/>
              </a:lnSpc>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3199662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theme" Target="../theme/theme2.xml"/><Relationship Id="rId1" Type="http://schemas.openxmlformats.org/officeDocument/2006/relationships/slideLayout" Target="../slideLayouts/slideLayout3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theme" Target="../theme/theme3.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10" Type="http://schemas.openxmlformats.org/officeDocument/2006/relationships/slideLayout" Target="../slideLayouts/slideLayout49.xml"/><Relationship Id="rId19" Type="http://schemas.openxmlformats.org/officeDocument/2006/relationships/image" Target="../media/image1.png"/><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theme" Target="../theme/theme4.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10" Type="http://schemas.openxmlformats.org/officeDocument/2006/relationships/slideLayout" Target="../slideLayouts/slideLayout66.xml"/><Relationship Id="rId19" Type="http://schemas.openxmlformats.org/officeDocument/2006/relationships/image" Target="../media/image1.png"/><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18" Type="http://schemas.openxmlformats.org/officeDocument/2006/relationships/slideLayout" Target="../slideLayouts/slideLayout91.xml"/><Relationship Id="rId26" Type="http://schemas.openxmlformats.org/officeDocument/2006/relationships/slideLayout" Target="../slideLayouts/slideLayout99.xml"/><Relationship Id="rId3" Type="http://schemas.openxmlformats.org/officeDocument/2006/relationships/slideLayout" Target="../slideLayouts/slideLayout76.xml"/><Relationship Id="rId21" Type="http://schemas.openxmlformats.org/officeDocument/2006/relationships/slideLayout" Target="../slideLayouts/slideLayout94.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5" Type="http://schemas.openxmlformats.org/officeDocument/2006/relationships/slideLayout" Target="../slideLayouts/slideLayout98.xml"/><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slideLayout" Target="../slideLayouts/slideLayout93.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24" Type="http://schemas.openxmlformats.org/officeDocument/2006/relationships/slideLayout" Target="../slideLayouts/slideLayout97.xml"/><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slideLayout" Target="../slideLayouts/slideLayout96.xml"/><Relationship Id="rId28" Type="http://schemas.openxmlformats.org/officeDocument/2006/relationships/theme" Target="../theme/theme5.xml"/><Relationship Id="rId10" Type="http://schemas.openxmlformats.org/officeDocument/2006/relationships/slideLayout" Target="../slideLayouts/slideLayout83.xml"/><Relationship Id="rId19" Type="http://schemas.openxmlformats.org/officeDocument/2006/relationships/slideLayout" Target="../slideLayouts/slideLayout92.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slideLayout" Target="../slideLayouts/slideLayout95.xml"/><Relationship Id="rId27" Type="http://schemas.openxmlformats.org/officeDocument/2006/relationships/slideLayout" Target="../slideLayouts/slideLayout10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26" Type="http://schemas.openxmlformats.org/officeDocument/2006/relationships/slideLayout" Target="../slideLayouts/slideLayout126.xml"/><Relationship Id="rId3" Type="http://schemas.openxmlformats.org/officeDocument/2006/relationships/slideLayout" Target="../slideLayouts/slideLayout103.xml"/><Relationship Id="rId21" Type="http://schemas.openxmlformats.org/officeDocument/2006/relationships/slideLayout" Target="../slideLayouts/slideLayout121.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5" Type="http://schemas.openxmlformats.org/officeDocument/2006/relationships/slideLayout" Target="../slideLayouts/slideLayout125.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0" Type="http://schemas.openxmlformats.org/officeDocument/2006/relationships/slideLayout" Target="../slideLayouts/slideLayout120.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24" Type="http://schemas.openxmlformats.org/officeDocument/2006/relationships/slideLayout" Target="../slideLayouts/slideLayout124.x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23" Type="http://schemas.openxmlformats.org/officeDocument/2006/relationships/slideLayout" Target="../slideLayouts/slideLayout123.xml"/><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 Id="rId22" Type="http://schemas.openxmlformats.org/officeDocument/2006/relationships/slideLayout" Target="../slideLayouts/slideLayout122.xml"/><Relationship Id="rId27"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slideLayout" Target="../slideLayouts/slideLayout139.xml"/><Relationship Id="rId18" Type="http://schemas.openxmlformats.org/officeDocument/2006/relationships/slideLayout" Target="../slideLayouts/slideLayout144.xml"/><Relationship Id="rId3" Type="http://schemas.openxmlformats.org/officeDocument/2006/relationships/slideLayout" Target="../slideLayouts/slideLayout129.xml"/><Relationship Id="rId21" Type="http://schemas.openxmlformats.org/officeDocument/2006/relationships/image" Target="../media/image1.png"/><Relationship Id="rId7" Type="http://schemas.openxmlformats.org/officeDocument/2006/relationships/slideLayout" Target="../slideLayouts/slideLayout133.xml"/><Relationship Id="rId12" Type="http://schemas.openxmlformats.org/officeDocument/2006/relationships/slideLayout" Target="../slideLayouts/slideLayout138.xml"/><Relationship Id="rId17" Type="http://schemas.openxmlformats.org/officeDocument/2006/relationships/slideLayout" Target="../slideLayouts/slideLayout143.xml"/><Relationship Id="rId2" Type="http://schemas.openxmlformats.org/officeDocument/2006/relationships/slideLayout" Target="../slideLayouts/slideLayout128.xml"/><Relationship Id="rId16" Type="http://schemas.openxmlformats.org/officeDocument/2006/relationships/slideLayout" Target="../slideLayouts/slideLayout142.xml"/><Relationship Id="rId20" Type="http://schemas.openxmlformats.org/officeDocument/2006/relationships/theme" Target="../theme/theme7.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5" Type="http://schemas.openxmlformats.org/officeDocument/2006/relationships/slideLayout" Target="../slideLayouts/slideLayout131.xml"/><Relationship Id="rId15" Type="http://schemas.openxmlformats.org/officeDocument/2006/relationships/slideLayout" Target="../slideLayouts/slideLayout141.xml"/><Relationship Id="rId10" Type="http://schemas.openxmlformats.org/officeDocument/2006/relationships/slideLayout" Target="../slideLayouts/slideLayout136.xml"/><Relationship Id="rId19" Type="http://schemas.openxmlformats.org/officeDocument/2006/relationships/slideLayout" Target="../slideLayouts/slideLayout145.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3.xml"/><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3" Type="http://schemas.openxmlformats.org/officeDocument/2006/relationships/slideLayout" Target="../slideLayouts/slideLayout148.xml"/><Relationship Id="rId21" Type="http://schemas.openxmlformats.org/officeDocument/2006/relationships/slideLayout" Target="../slideLayouts/slideLayout166.xml"/><Relationship Id="rId7" Type="http://schemas.openxmlformats.org/officeDocument/2006/relationships/slideLayout" Target="../slideLayouts/slideLayout152.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0" Type="http://schemas.openxmlformats.org/officeDocument/2006/relationships/slideLayout" Target="../slideLayouts/slideLayout165.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24" Type="http://schemas.openxmlformats.org/officeDocument/2006/relationships/theme" Target="../theme/theme8.xml"/><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slideLayout" Target="../slideLayouts/slideLayout16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76.xml"/><Relationship Id="rId13" Type="http://schemas.openxmlformats.org/officeDocument/2006/relationships/slideLayout" Target="../slideLayouts/slideLayout181.xml"/><Relationship Id="rId18" Type="http://schemas.openxmlformats.org/officeDocument/2006/relationships/slideLayout" Target="../slideLayouts/slideLayout186.xml"/><Relationship Id="rId3" Type="http://schemas.openxmlformats.org/officeDocument/2006/relationships/slideLayout" Target="../slideLayouts/slideLayout171.xml"/><Relationship Id="rId21" Type="http://schemas.openxmlformats.org/officeDocument/2006/relationships/slideLayout" Target="../slideLayouts/slideLayout189.xml"/><Relationship Id="rId7" Type="http://schemas.openxmlformats.org/officeDocument/2006/relationships/slideLayout" Target="../slideLayouts/slideLayout175.xml"/><Relationship Id="rId12" Type="http://schemas.openxmlformats.org/officeDocument/2006/relationships/slideLayout" Target="../slideLayouts/slideLayout180.xml"/><Relationship Id="rId17" Type="http://schemas.openxmlformats.org/officeDocument/2006/relationships/slideLayout" Target="../slideLayouts/slideLayout185.xml"/><Relationship Id="rId2" Type="http://schemas.openxmlformats.org/officeDocument/2006/relationships/slideLayout" Target="../slideLayouts/slideLayout170.xml"/><Relationship Id="rId16" Type="http://schemas.openxmlformats.org/officeDocument/2006/relationships/slideLayout" Target="../slideLayouts/slideLayout184.xml"/><Relationship Id="rId20" Type="http://schemas.openxmlformats.org/officeDocument/2006/relationships/slideLayout" Target="../slideLayouts/slideLayout188.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slideLayout" Target="../slideLayouts/slideLayout179.xml"/><Relationship Id="rId5" Type="http://schemas.openxmlformats.org/officeDocument/2006/relationships/slideLayout" Target="../slideLayouts/slideLayout173.xml"/><Relationship Id="rId15" Type="http://schemas.openxmlformats.org/officeDocument/2006/relationships/slideLayout" Target="../slideLayouts/slideLayout183.xml"/><Relationship Id="rId23" Type="http://schemas.openxmlformats.org/officeDocument/2006/relationships/theme" Target="../theme/theme9.xml"/><Relationship Id="rId10" Type="http://schemas.openxmlformats.org/officeDocument/2006/relationships/slideLayout" Target="../slideLayouts/slideLayout178.xml"/><Relationship Id="rId19" Type="http://schemas.openxmlformats.org/officeDocument/2006/relationships/slideLayout" Target="../slideLayouts/slideLayout187.xml"/><Relationship Id="rId4" Type="http://schemas.openxmlformats.org/officeDocument/2006/relationships/slideLayout" Target="../slideLayouts/slideLayout172.xml"/><Relationship Id="rId9" Type="http://schemas.openxmlformats.org/officeDocument/2006/relationships/slideLayout" Target="../slideLayouts/slideLayout177.xml"/><Relationship Id="rId14" Type="http://schemas.openxmlformats.org/officeDocument/2006/relationships/slideLayout" Target="../slideLayouts/slideLayout182.xml"/><Relationship Id="rId22" Type="http://schemas.openxmlformats.org/officeDocument/2006/relationships/slideLayout" Target="../slideLayouts/slideLayout19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60"/>
            <a:ext cx="8363938" cy="457049"/>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dk1" tx1="lt1" bg2="dk2" tx2="lt2" accent1="accent1" accent2="accent2" accent3="accent3" accent4="accent4" accent5="accent5" accent6="accent6" hlink="hlink" folHlink="folHlink"/>
  <p:sldLayoutIdLst>
    <p:sldLayoutId id="2147483694" r:id="rId1"/>
    <p:sldLayoutId id="2147483695" r:id="rId2"/>
    <p:sldLayoutId id="2147483723" r:id="rId3"/>
    <p:sldLayoutId id="2147483724" r:id="rId4"/>
    <p:sldLayoutId id="2147483725" r:id="rId5"/>
    <p:sldLayoutId id="2147483726" r:id="rId6"/>
    <p:sldLayoutId id="2147483727" r:id="rId7"/>
    <p:sldLayoutId id="2147483696" r:id="rId8"/>
    <p:sldLayoutId id="2147483697" r:id="rId9"/>
    <p:sldLayoutId id="2147483698" r:id="rId10"/>
    <p:sldLayoutId id="2147483699" r:id="rId11"/>
    <p:sldLayoutId id="2147483700" r:id="rId12"/>
    <p:sldLayoutId id="2147483701" r:id="rId13"/>
    <p:sldLayoutId id="2147483702" r:id="rId14"/>
    <p:sldLayoutId id="2147483722" r:id="rId15"/>
    <p:sldLayoutId id="2147483703" r:id="rId16"/>
    <p:sldLayoutId id="2147483704" r:id="rId17"/>
    <p:sldLayoutId id="2147483776" r:id="rId18"/>
    <p:sldLayoutId id="2147483777" r:id="rId19"/>
    <p:sldLayoutId id="2147483778" r:id="rId20"/>
    <p:sldLayoutId id="2147483878" r:id="rId21"/>
    <p:sldLayoutId id="2147483879" r:id="rId22"/>
    <p:sldLayoutId id="2147483880" r:id="rId23"/>
    <p:sldLayoutId id="2147483881" r:id="rId24"/>
    <p:sldLayoutId id="2147483882" r:id="rId25"/>
    <p:sldLayoutId id="2147483883" r:id="rId26"/>
    <p:sldLayoutId id="2147483884" r:id="rId27"/>
    <p:sldLayoutId id="2147483885" r:id="rId28"/>
    <p:sldLayoutId id="2147483886" r:id="rId29"/>
    <p:sldLayoutId id="2147483887" r:id="rId30"/>
    <p:sldLayoutId id="2147483888" r:id="rId31"/>
    <p:sldLayoutId id="2147483889" r:id="rId32"/>
    <p:sldLayoutId id="2147483890" r:id="rId33"/>
    <p:sldLayoutId id="2147483891" r:id="rId34"/>
    <p:sldLayoutId id="2147483892" r:id="rId35"/>
    <p:sldLayoutId id="2147483917" r:id="rId36"/>
    <p:sldLayoutId id="2147483918" r:id="rId37"/>
    <p:sldLayoutId id="2147483919" r:id="rId38"/>
  </p:sldLayoutIdLst>
  <p:transition>
    <p:fade/>
  </p:transition>
  <p:timing>
    <p:tnLst>
      <p:par>
        <p:cTn id="1" dur="indefinite" restart="never" nodeType="tmRoot"/>
      </p:par>
    </p:tnLst>
  </p:timing>
  <p:txStyles>
    <p:titleStyle>
      <a:lvl1pPr algn="l" defTabSz="685487" rtl="0" eaLnBrk="1" latinLnBrk="0" hangingPunct="1">
        <a:lnSpc>
          <a:spcPct val="90000"/>
        </a:lnSpc>
        <a:spcBef>
          <a:spcPct val="0"/>
        </a:spcBef>
        <a:buNone/>
        <a:defRPr lang="en-US" sz="3300" b="0" kern="1200" cap="none" spc="-75"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345132" indent="-345132" algn="l" defTabSz="685487" rtl="0" eaLnBrk="1" latinLnBrk="0" hangingPunct="1">
        <a:lnSpc>
          <a:spcPct val="90000"/>
        </a:lnSpc>
        <a:spcBef>
          <a:spcPct val="20000"/>
        </a:spcBef>
        <a:buSzPct val="90000"/>
        <a:buFontTx/>
        <a:buBlip>
          <a:blip r:embed="rId40"/>
        </a:buBlip>
        <a:defRPr sz="2400" kern="1200">
          <a:gradFill>
            <a:gsLst>
              <a:gs pos="0">
                <a:schemeClr val="tx1"/>
              </a:gs>
              <a:gs pos="86000">
                <a:schemeClr val="tx1"/>
              </a:gs>
            </a:gsLst>
            <a:lin ang="5400000" scaled="0"/>
          </a:gradFill>
          <a:latin typeface="+mn-lt"/>
          <a:ea typeface="+mn-ea"/>
          <a:cs typeface="+mn-cs"/>
        </a:defRPr>
      </a:lvl1pPr>
      <a:lvl2pPr marL="641477" indent="-296346" algn="l" defTabSz="685487" rtl="0" eaLnBrk="1" latinLnBrk="0" hangingPunct="1">
        <a:lnSpc>
          <a:spcPct val="90000"/>
        </a:lnSpc>
        <a:spcBef>
          <a:spcPct val="20000"/>
        </a:spcBef>
        <a:buSzPct val="90000"/>
        <a:buFontTx/>
        <a:buBlip>
          <a:blip r:embed="rId40"/>
        </a:buBlip>
        <a:defRPr sz="2100" kern="1200">
          <a:gradFill>
            <a:gsLst>
              <a:gs pos="0">
                <a:schemeClr val="tx1"/>
              </a:gs>
              <a:gs pos="86000">
                <a:schemeClr val="tx1"/>
              </a:gs>
            </a:gsLst>
            <a:lin ang="5400000" scaled="0"/>
          </a:gradFill>
          <a:latin typeface="+mn-lt"/>
          <a:ea typeface="+mn-ea"/>
          <a:cs typeface="+mn-cs"/>
        </a:defRPr>
      </a:lvl2pPr>
      <a:lvl3pPr marL="943776" indent="-302299" algn="l" defTabSz="685487" rtl="0" eaLnBrk="1" latinLnBrk="0" hangingPunct="1">
        <a:lnSpc>
          <a:spcPct val="90000"/>
        </a:lnSpc>
        <a:spcBef>
          <a:spcPct val="20000"/>
        </a:spcBef>
        <a:buSzPct val="90000"/>
        <a:buFontTx/>
        <a:buBlip>
          <a:blip r:embed="rId40"/>
        </a:buBlip>
        <a:defRPr sz="1800" kern="1200">
          <a:gradFill>
            <a:gsLst>
              <a:gs pos="0">
                <a:schemeClr val="tx1"/>
              </a:gs>
              <a:gs pos="86000">
                <a:schemeClr val="tx1"/>
              </a:gs>
            </a:gsLst>
            <a:lin ang="5400000" scaled="0"/>
          </a:gradFill>
          <a:latin typeface="+mn-lt"/>
          <a:ea typeface="+mn-ea"/>
          <a:cs typeface="+mn-cs"/>
        </a:defRPr>
      </a:lvl3pPr>
      <a:lvl4pPr marL="1203221" indent="-259446" algn="l" defTabSz="685487" rtl="0" eaLnBrk="1" latinLnBrk="0" hangingPunct="1">
        <a:lnSpc>
          <a:spcPct val="90000"/>
        </a:lnSpc>
        <a:spcBef>
          <a:spcPct val="20000"/>
        </a:spcBef>
        <a:buSzPct val="90000"/>
        <a:buFontTx/>
        <a:buBlip>
          <a:blip r:embed="rId40"/>
        </a:buBlip>
        <a:defRPr sz="1500" kern="1200">
          <a:gradFill>
            <a:gsLst>
              <a:gs pos="0">
                <a:schemeClr val="tx1"/>
              </a:gs>
              <a:gs pos="86000">
                <a:schemeClr val="tx1"/>
              </a:gs>
            </a:gsLst>
            <a:lin ang="5400000" scaled="0"/>
          </a:gradFill>
          <a:latin typeface="+mn-lt"/>
          <a:ea typeface="+mn-ea"/>
          <a:cs typeface="+mn-cs"/>
        </a:defRPr>
      </a:lvl4pPr>
      <a:lvl5pPr marL="1455535" indent="-252308" algn="l" defTabSz="685487" rtl="0" eaLnBrk="1" latinLnBrk="0" hangingPunct="1">
        <a:lnSpc>
          <a:spcPct val="90000"/>
        </a:lnSpc>
        <a:spcBef>
          <a:spcPct val="20000"/>
        </a:spcBef>
        <a:buSzPct val="90000"/>
        <a:buFontTx/>
        <a:buBlip>
          <a:blip r:embed="rId40"/>
        </a:buBlip>
        <a:defRPr sz="1500" kern="1200">
          <a:gradFill>
            <a:gsLst>
              <a:gs pos="0">
                <a:schemeClr val="tx1"/>
              </a:gs>
              <a:gs pos="86000">
                <a:schemeClr val="tx1"/>
              </a:gs>
            </a:gsLst>
            <a:lin ang="5400000" scaled="0"/>
          </a:gradFill>
          <a:latin typeface="+mn-lt"/>
          <a:ea typeface="+mn-ea"/>
          <a:cs typeface="+mn-cs"/>
        </a:defRPr>
      </a:lvl5pPr>
      <a:lvl6pPr marL="1885094"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831"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576"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319"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487" rtl="0" eaLnBrk="1" latinLnBrk="0" hangingPunct="1">
        <a:defRPr sz="1400" kern="1200">
          <a:solidFill>
            <a:schemeClr val="tx1"/>
          </a:solidFill>
          <a:latin typeface="+mn-lt"/>
          <a:ea typeface="+mn-ea"/>
          <a:cs typeface="+mn-cs"/>
        </a:defRPr>
      </a:lvl1pPr>
      <a:lvl2pPr marL="342739" algn="l" defTabSz="685487" rtl="0" eaLnBrk="1" latinLnBrk="0" hangingPunct="1">
        <a:defRPr sz="1400" kern="1200">
          <a:solidFill>
            <a:schemeClr val="tx1"/>
          </a:solidFill>
          <a:latin typeface="+mn-lt"/>
          <a:ea typeface="+mn-ea"/>
          <a:cs typeface="+mn-cs"/>
        </a:defRPr>
      </a:lvl2pPr>
      <a:lvl3pPr marL="685487" algn="l" defTabSz="685487" rtl="0" eaLnBrk="1" latinLnBrk="0" hangingPunct="1">
        <a:defRPr sz="1400" kern="1200">
          <a:solidFill>
            <a:schemeClr val="tx1"/>
          </a:solidFill>
          <a:latin typeface="+mn-lt"/>
          <a:ea typeface="+mn-ea"/>
          <a:cs typeface="+mn-cs"/>
        </a:defRPr>
      </a:lvl3pPr>
      <a:lvl4pPr marL="1028229" algn="l" defTabSz="685487" rtl="0" eaLnBrk="1" latinLnBrk="0" hangingPunct="1">
        <a:defRPr sz="1400" kern="1200">
          <a:solidFill>
            <a:schemeClr val="tx1"/>
          </a:solidFill>
          <a:latin typeface="+mn-lt"/>
          <a:ea typeface="+mn-ea"/>
          <a:cs typeface="+mn-cs"/>
        </a:defRPr>
      </a:lvl4pPr>
      <a:lvl5pPr marL="1370975" algn="l" defTabSz="685487" rtl="0" eaLnBrk="1" latinLnBrk="0" hangingPunct="1">
        <a:defRPr sz="1400" kern="1200">
          <a:solidFill>
            <a:schemeClr val="tx1"/>
          </a:solidFill>
          <a:latin typeface="+mn-lt"/>
          <a:ea typeface="+mn-ea"/>
          <a:cs typeface="+mn-cs"/>
        </a:defRPr>
      </a:lvl5pPr>
      <a:lvl6pPr marL="1713712" algn="l" defTabSz="685487" rtl="0" eaLnBrk="1" latinLnBrk="0" hangingPunct="1">
        <a:defRPr sz="1400" kern="1200">
          <a:solidFill>
            <a:schemeClr val="tx1"/>
          </a:solidFill>
          <a:latin typeface="+mn-lt"/>
          <a:ea typeface="+mn-ea"/>
          <a:cs typeface="+mn-cs"/>
        </a:defRPr>
      </a:lvl6pPr>
      <a:lvl7pPr marL="2056459" algn="l" defTabSz="685487" rtl="0" eaLnBrk="1" latinLnBrk="0" hangingPunct="1">
        <a:defRPr sz="1400" kern="1200">
          <a:solidFill>
            <a:schemeClr val="tx1"/>
          </a:solidFill>
          <a:latin typeface="+mn-lt"/>
          <a:ea typeface="+mn-ea"/>
          <a:cs typeface="+mn-cs"/>
        </a:defRPr>
      </a:lvl7pPr>
      <a:lvl8pPr marL="2399204" algn="l" defTabSz="685487" rtl="0" eaLnBrk="1" latinLnBrk="0" hangingPunct="1">
        <a:defRPr sz="1400" kern="1200">
          <a:solidFill>
            <a:schemeClr val="tx1"/>
          </a:solidFill>
          <a:latin typeface="+mn-lt"/>
          <a:ea typeface="+mn-ea"/>
          <a:cs typeface="+mn-cs"/>
        </a:defRPr>
      </a:lvl8pPr>
      <a:lvl9pPr marL="2741951" algn="l" defTabSz="685487"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61"/>
            <a:ext cx="8363938" cy="457049"/>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9438" y="1428753"/>
            <a:ext cx="8363936" cy="1581202"/>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21" r:id="rId1"/>
  </p:sldLayoutIdLst>
  <p:transition>
    <p:fade/>
  </p:transition>
  <p:timing>
    <p:tnLst>
      <p:par>
        <p:cTn id="1" dur="indefinite" restart="never" nodeType="tmRoot"/>
      </p:par>
    </p:tnLst>
  </p:timing>
  <p:txStyles>
    <p:titleStyle>
      <a:lvl1pPr algn="l" defTabSz="685487" rtl="0" eaLnBrk="1" latinLnBrk="0" hangingPunct="1">
        <a:lnSpc>
          <a:spcPct val="90000"/>
        </a:lnSpc>
        <a:spcBef>
          <a:spcPct val="0"/>
        </a:spcBef>
        <a:buNone/>
        <a:defRPr lang="en-US" sz="3300" b="0" kern="1200" cap="none" spc="-75" baseline="0" dirty="0">
          <a:ln w="3175">
            <a:noFill/>
          </a:ln>
          <a:solidFill>
            <a:schemeClr val="tx1">
              <a:alpha val="99000"/>
            </a:schemeClr>
          </a:solidFill>
          <a:effectLst/>
          <a:latin typeface="+mj-lt"/>
          <a:ea typeface="+mn-ea"/>
          <a:cs typeface="Arial" charset="0"/>
        </a:defRPr>
      </a:lvl1pPr>
    </p:titleStyle>
    <p:bodyStyle>
      <a:lvl1pPr marL="0" indent="0" algn="l" defTabSz="685487" rtl="0" eaLnBrk="1" latinLnBrk="0" hangingPunct="1">
        <a:lnSpc>
          <a:spcPct val="90000"/>
        </a:lnSpc>
        <a:spcBef>
          <a:spcPct val="20000"/>
        </a:spcBef>
        <a:buFont typeface="Arial" pitchFamily="34" charset="0"/>
        <a:buNone/>
        <a:defRPr sz="2300" b="0" kern="1200">
          <a:solidFill>
            <a:schemeClr val="tx1">
              <a:alpha val="99000"/>
            </a:schemeClr>
          </a:solidFill>
          <a:latin typeface="Consolas" pitchFamily="49" charset="0"/>
          <a:ea typeface="+mn-ea"/>
          <a:cs typeface="Consolas" pitchFamily="49" charset="0"/>
        </a:defRPr>
      </a:lvl1pPr>
      <a:lvl2pPr marL="288596" indent="-5953" algn="l" defTabSz="685487" rtl="0" eaLnBrk="1" latinLnBrk="0" hangingPunct="1">
        <a:lnSpc>
          <a:spcPct val="90000"/>
        </a:lnSpc>
        <a:spcBef>
          <a:spcPct val="20000"/>
        </a:spcBef>
        <a:buFont typeface="Arial" pitchFamily="34" charset="0"/>
        <a:buNone/>
        <a:defRPr sz="2100" b="0" kern="1200">
          <a:solidFill>
            <a:schemeClr val="tx1">
              <a:alpha val="99000"/>
            </a:schemeClr>
          </a:solidFill>
          <a:latin typeface="Consolas" pitchFamily="49" charset="0"/>
          <a:ea typeface="+mn-ea"/>
          <a:cs typeface="Consolas" pitchFamily="49" charset="0"/>
        </a:defRPr>
      </a:lvl2pPr>
      <a:lvl3pPr marL="571238" indent="-5953" algn="l" defTabSz="685487" rtl="0" eaLnBrk="1" latinLnBrk="0" hangingPunct="1">
        <a:lnSpc>
          <a:spcPct val="90000"/>
        </a:lnSpc>
        <a:spcBef>
          <a:spcPct val="20000"/>
        </a:spcBef>
        <a:buFont typeface="Arial" pitchFamily="34" charset="0"/>
        <a:buNone/>
        <a:defRPr sz="1800" b="0" kern="1200">
          <a:solidFill>
            <a:schemeClr val="tx1">
              <a:alpha val="99000"/>
            </a:schemeClr>
          </a:solidFill>
          <a:latin typeface="Consolas" pitchFamily="49" charset="0"/>
          <a:ea typeface="+mn-ea"/>
          <a:cs typeface="Consolas" pitchFamily="49" charset="0"/>
        </a:defRPr>
      </a:lvl3pPr>
      <a:lvl4pPr marL="820167" indent="5953" algn="l" defTabSz="685487" rtl="0" eaLnBrk="1" latinLnBrk="0" hangingPunct="1">
        <a:lnSpc>
          <a:spcPct val="90000"/>
        </a:lnSpc>
        <a:spcBef>
          <a:spcPct val="20000"/>
        </a:spcBef>
        <a:buFont typeface="Arial" pitchFamily="34" charset="0"/>
        <a:buNone/>
        <a:defRPr sz="1800" b="0" kern="1200">
          <a:solidFill>
            <a:schemeClr val="tx1">
              <a:alpha val="99000"/>
            </a:schemeClr>
          </a:solidFill>
          <a:latin typeface="Consolas" pitchFamily="49" charset="0"/>
          <a:ea typeface="+mn-ea"/>
          <a:cs typeface="Consolas" pitchFamily="49" charset="0"/>
        </a:defRPr>
      </a:lvl4pPr>
      <a:lvl5pPr marL="1069085" indent="0" algn="l" defTabSz="685487" rtl="0" eaLnBrk="1" latinLnBrk="0" hangingPunct="1">
        <a:lnSpc>
          <a:spcPct val="90000"/>
        </a:lnSpc>
        <a:spcBef>
          <a:spcPct val="20000"/>
        </a:spcBef>
        <a:buFont typeface="Arial" pitchFamily="34" charset="0"/>
        <a:buNone/>
        <a:defRPr sz="1800" b="0" kern="1200">
          <a:solidFill>
            <a:schemeClr val="tx1">
              <a:alpha val="99000"/>
            </a:schemeClr>
          </a:solidFill>
          <a:latin typeface="Consolas" pitchFamily="49" charset="0"/>
          <a:ea typeface="+mn-ea"/>
          <a:cs typeface="Consolas" pitchFamily="49" charset="0"/>
        </a:defRPr>
      </a:lvl5pPr>
      <a:lvl6pPr marL="1885094"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831"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576"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319"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487" rtl="0" eaLnBrk="1" latinLnBrk="0" hangingPunct="1">
        <a:defRPr sz="1400" kern="1200">
          <a:solidFill>
            <a:schemeClr val="tx1"/>
          </a:solidFill>
          <a:latin typeface="+mn-lt"/>
          <a:ea typeface="+mn-ea"/>
          <a:cs typeface="+mn-cs"/>
        </a:defRPr>
      </a:lvl1pPr>
      <a:lvl2pPr marL="342739" algn="l" defTabSz="685487" rtl="0" eaLnBrk="1" latinLnBrk="0" hangingPunct="1">
        <a:defRPr sz="1400" kern="1200">
          <a:solidFill>
            <a:schemeClr val="tx1"/>
          </a:solidFill>
          <a:latin typeface="+mn-lt"/>
          <a:ea typeface="+mn-ea"/>
          <a:cs typeface="+mn-cs"/>
        </a:defRPr>
      </a:lvl2pPr>
      <a:lvl3pPr marL="685487" algn="l" defTabSz="685487" rtl="0" eaLnBrk="1" latinLnBrk="0" hangingPunct="1">
        <a:defRPr sz="1400" kern="1200">
          <a:solidFill>
            <a:schemeClr val="tx1"/>
          </a:solidFill>
          <a:latin typeface="+mn-lt"/>
          <a:ea typeface="+mn-ea"/>
          <a:cs typeface="+mn-cs"/>
        </a:defRPr>
      </a:lvl3pPr>
      <a:lvl4pPr marL="1028229" algn="l" defTabSz="685487" rtl="0" eaLnBrk="1" latinLnBrk="0" hangingPunct="1">
        <a:defRPr sz="1400" kern="1200">
          <a:solidFill>
            <a:schemeClr val="tx1"/>
          </a:solidFill>
          <a:latin typeface="+mn-lt"/>
          <a:ea typeface="+mn-ea"/>
          <a:cs typeface="+mn-cs"/>
        </a:defRPr>
      </a:lvl4pPr>
      <a:lvl5pPr marL="1370975" algn="l" defTabSz="685487" rtl="0" eaLnBrk="1" latinLnBrk="0" hangingPunct="1">
        <a:defRPr sz="1400" kern="1200">
          <a:solidFill>
            <a:schemeClr val="tx1"/>
          </a:solidFill>
          <a:latin typeface="+mn-lt"/>
          <a:ea typeface="+mn-ea"/>
          <a:cs typeface="+mn-cs"/>
        </a:defRPr>
      </a:lvl5pPr>
      <a:lvl6pPr marL="1713712" algn="l" defTabSz="685487" rtl="0" eaLnBrk="1" latinLnBrk="0" hangingPunct="1">
        <a:defRPr sz="1400" kern="1200">
          <a:solidFill>
            <a:schemeClr val="tx1"/>
          </a:solidFill>
          <a:latin typeface="+mn-lt"/>
          <a:ea typeface="+mn-ea"/>
          <a:cs typeface="+mn-cs"/>
        </a:defRPr>
      </a:lvl6pPr>
      <a:lvl7pPr marL="2056459" algn="l" defTabSz="685487" rtl="0" eaLnBrk="1" latinLnBrk="0" hangingPunct="1">
        <a:defRPr sz="1400" kern="1200">
          <a:solidFill>
            <a:schemeClr val="tx1"/>
          </a:solidFill>
          <a:latin typeface="+mn-lt"/>
          <a:ea typeface="+mn-ea"/>
          <a:cs typeface="+mn-cs"/>
        </a:defRPr>
      </a:lvl7pPr>
      <a:lvl8pPr marL="2399204" algn="l" defTabSz="685487" rtl="0" eaLnBrk="1" latinLnBrk="0" hangingPunct="1">
        <a:defRPr sz="1400" kern="1200">
          <a:solidFill>
            <a:schemeClr val="tx1"/>
          </a:solidFill>
          <a:latin typeface="+mn-lt"/>
          <a:ea typeface="+mn-ea"/>
          <a:cs typeface="+mn-cs"/>
        </a:defRPr>
      </a:lvl8pPr>
      <a:lvl9pPr marL="2741951" algn="l" defTabSz="685487"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9"/>
            <a:ext cx="8363938" cy="457049"/>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14912117"/>
      </p:ext>
    </p:extLst>
  </p:cSld>
  <p:clrMap bg1="dk1" tx1="lt1" bg2="dk2" tx2="lt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 id="2147483751" r:id="rId11"/>
    <p:sldLayoutId id="2147483752" r:id="rId12"/>
    <p:sldLayoutId id="2147483753" r:id="rId13"/>
    <p:sldLayoutId id="2147483754" r:id="rId14"/>
    <p:sldLayoutId id="2147483755" r:id="rId15"/>
    <p:sldLayoutId id="2147483756" r:id="rId16"/>
    <p:sldLayoutId id="2147483757" r:id="rId17"/>
  </p:sldLayoutIdLst>
  <p:transition>
    <p:fade/>
  </p:transition>
  <p:timing>
    <p:tnLst>
      <p:par>
        <p:cTn id="1" dur="indefinite" restart="never" nodeType="tmRoot"/>
      </p:par>
    </p:tnLst>
  </p:timing>
  <p:txStyles>
    <p:titleStyle>
      <a:lvl1pPr algn="l" defTabSz="685607" rtl="0" eaLnBrk="1" latinLnBrk="0" hangingPunct="1">
        <a:lnSpc>
          <a:spcPct val="90000"/>
        </a:lnSpc>
        <a:spcBef>
          <a:spcPct val="0"/>
        </a:spcBef>
        <a:buNone/>
        <a:defRPr lang="en-US" sz="3300" b="0" kern="1200" cap="none" spc="-75"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345192" indent="-345192" algn="l" defTabSz="685607" rtl="0" eaLnBrk="1" latinLnBrk="0" hangingPunct="1">
        <a:lnSpc>
          <a:spcPct val="90000"/>
        </a:lnSpc>
        <a:spcBef>
          <a:spcPct val="20000"/>
        </a:spcBef>
        <a:buSzPct val="90000"/>
        <a:buFontTx/>
        <a:buBlip>
          <a:blip r:embed="rId19"/>
        </a:buBlip>
        <a:defRPr sz="2400" kern="1200">
          <a:gradFill>
            <a:gsLst>
              <a:gs pos="0">
                <a:schemeClr val="tx1"/>
              </a:gs>
              <a:gs pos="86000">
                <a:schemeClr val="tx1"/>
              </a:gs>
            </a:gsLst>
            <a:lin ang="5400000" scaled="0"/>
          </a:gradFill>
          <a:latin typeface="+mn-lt"/>
          <a:ea typeface="+mn-ea"/>
          <a:cs typeface="+mn-cs"/>
        </a:defRPr>
      </a:lvl1pPr>
      <a:lvl2pPr marL="641591" indent="-296398" algn="l" defTabSz="685607" rtl="0" eaLnBrk="1" latinLnBrk="0" hangingPunct="1">
        <a:lnSpc>
          <a:spcPct val="90000"/>
        </a:lnSpc>
        <a:spcBef>
          <a:spcPct val="20000"/>
        </a:spcBef>
        <a:buSzPct val="90000"/>
        <a:buFontTx/>
        <a:buBlip>
          <a:blip r:embed="rId19"/>
        </a:buBlip>
        <a:defRPr sz="2100" kern="1200">
          <a:gradFill>
            <a:gsLst>
              <a:gs pos="0">
                <a:schemeClr val="tx1"/>
              </a:gs>
              <a:gs pos="86000">
                <a:schemeClr val="tx1"/>
              </a:gs>
            </a:gsLst>
            <a:lin ang="5400000" scaled="0"/>
          </a:gradFill>
          <a:latin typeface="+mn-lt"/>
          <a:ea typeface="+mn-ea"/>
          <a:cs typeface="+mn-cs"/>
        </a:defRPr>
      </a:lvl2pPr>
      <a:lvl3pPr marL="943941" indent="-302350" algn="l" defTabSz="685607" rtl="0" eaLnBrk="1" latinLnBrk="0" hangingPunct="1">
        <a:lnSpc>
          <a:spcPct val="90000"/>
        </a:lnSpc>
        <a:spcBef>
          <a:spcPct val="20000"/>
        </a:spcBef>
        <a:buSzPct val="90000"/>
        <a:buFontTx/>
        <a:buBlip>
          <a:blip r:embed="rId19"/>
        </a:buBlip>
        <a:defRPr sz="1800" kern="1200">
          <a:gradFill>
            <a:gsLst>
              <a:gs pos="0">
                <a:schemeClr val="tx1"/>
              </a:gs>
              <a:gs pos="86000">
                <a:schemeClr val="tx1"/>
              </a:gs>
            </a:gsLst>
            <a:lin ang="5400000" scaled="0"/>
          </a:gradFill>
          <a:latin typeface="+mn-lt"/>
          <a:ea typeface="+mn-ea"/>
          <a:cs typeface="+mn-cs"/>
        </a:defRPr>
      </a:lvl3pPr>
      <a:lvl4pPr marL="1203426" indent="-259492" algn="l" defTabSz="685607" rtl="0" eaLnBrk="1" latinLnBrk="0" hangingPunct="1">
        <a:lnSpc>
          <a:spcPct val="90000"/>
        </a:lnSpc>
        <a:spcBef>
          <a:spcPct val="20000"/>
        </a:spcBef>
        <a:buSzPct val="90000"/>
        <a:buFontTx/>
        <a:buBlip>
          <a:blip r:embed="rId19"/>
        </a:buBlip>
        <a:defRPr sz="1500" kern="1200">
          <a:gradFill>
            <a:gsLst>
              <a:gs pos="0">
                <a:schemeClr val="tx1"/>
              </a:gs>
              <a:gs pos="86000">
                <a:schemeClr val="tx1"/>
              </a:gs>
            </a:gsLst>
            <a:lin ang="5400000" scaled="0"/>
          </a:gradFill>
          <a:latin typeface="+mn-lt"/>
          <a:ea typeface="+mn-ea"/>
          <a:cs typeface="+mn-cs"/>
        </a:defRPr>
      </a:lvl4pPr>
      <a:lvl5pPr marL="1455787" indent="-252352" algn="l" defTabSz="685607" rtl="0" eaLnBrk="1" latinLnBrk="0" hangingPunct="1">
        <a:lnSpc>
          <a:spcPct val="90000"/>
        </a:lnSpc>
        <a:spcBef>
          <a:spcPct val="20000"/>
        </a:spcBef>
        <a:buSzPct val="90000"/>
        <a:buFontTx/>
        <a:buBlip>
          <a:blip r:embed="rId19"/>
        </a:buBlip>
        <a:defRPr sz="1500" kern="1200">
          <a:gradFill>
            <a:gsLst>
              <a:gs pos="0">
                <a:schemeClr val="tx1"/>
              </a:gs>
              <a:gs pos="86000">
                <a:schemeClr val="tx1"/>
              </a:gs>
            </a:gsLst>
            <a:lin ang="5400000" scaled="0"/>
          </a:gradFill>
          <a:latin typeface="+mn-lt"/>
          <a:ea typeface="+mn-ea"/>
          <a:cs typeface="+mn-cs"/>
        </a:defRPr>
      </a:lvl5pPr>
      <a:lvl6pPr marL="1885424" indent="-171403" algn="l" defTabSz="68560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221" indent="-171403" algn="l" defTabSz="68560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027" indent="-171403" algn="l" defTabSz="68560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829" indent="-171403" algn="l" defTabSz="68560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07" rtl="0" eaLnBrk="1" latinLnBrk="0" hangingPunct="1">
        <a:defRPr sz="1400" kern="1200">
          <a:solidFill>
            <a:schemeClr val="tx1"/>
          </a:solidFill>
          <a:latin typeface="+mn-lt"/>
          <a:ea typeface="+mn-ea"/>
          <a:cs typeface="+mn-cs"/>
        </a:defRPr>
      </a:lvl1pPr>
      <a:lvl2pPr marL="342799" algn="l" defTabSz="685607" rtl="0" eaLnBrk="1" latinLnBrk="0" hangingPunct="1">
        <a:defRPr sz="1400" kern="1200">
          <a:solidFill>
            <a:schemeClr val="tx1"/>
          </a:solidFill>
          <a:latin typeface="+mn-lt"/>
          <a:ea typeface="+mn-ea"/>
          <a:cs typeface="+mn-cs"/>
        </a:defRPr>
      </a:lvl2pPr>
      <a:lvl3pPr marL="685607" algn="l" defTabSz="685607" rtl="0" eaLnBrk="1" latinLnBrk="0" hangingPunct="1">
        <a:defRPr sz="1400" kern="1200">
          <a:solidFill>
            <a:schemeClr val="tx1"/>
          </a:solidFill>
          <a:latin typeface="+mn-lt"/>
          <a:ea typeface="+mn-ea"/>
          <a:cs typeface="+mn-cs"/>
        </a:defRPr>
      </a:lvl3pPr>
      <a:lvl4pPr marL="1028409" algn="l" defTabSz="685607" rtl="0" eaLnBrk="1" latinLnBrk="0" hangingPunct="1">
        <a:defRPr sz="1400" kern="1200">
          <a:solidFill>
            <a:schemeClr val="tx1"/>
          </a:solidFill>
          <a:latin typeface="+mn-lt"/>
          <a:ea typeface="+mn-ea"/>
          <a:cs typeface="+mn-cs"/>
        </a:defRPr>
      </a:lvl4pPr>
      <a:lvl5pPr marL="1371215" algn="l" defTabSz="685607" rtl="0" eaLnBrk="1" latinLnBrk="0" hangingPunct="1">
        <a:defRPr sz="1400" kern="1200">
          <a:solidFill>
            <a:schemeClr val="tx1"/>
          </a:solidFill>
          <a:latin typeface="+mn-lt"/>
          <a:ea typeface="+mn-ea"/>
          <a:cs typeface="+mn-cs"/>
        </a:defRPr>
      </a:lvl5pPr>
      <a:lvl6pPr marL="1714012" algn="l" defTabSz="685607" rtl="0" eaLnBrk="1" latinLnBrk="0" hangingPunct="1">
        <a:defRPr sz="1400" kern="1200">
          <a:solidFill>
            <a:schemeClr val="tx1"/>
          </a:solidFill>
          <a:latin typeface="+mn-lt"/>
          <a:ea typeface="+mn-ea"/>
          <a:cs typeface="+mn-cs"/>
        </a:defRPr>
      </a:lvl6pPr>
      <a:lvl7pPr marL="2056820" algn="l" defTabSz="685607" rtl="0" eaLnBrk="1" latinLnBrk="0" hangingPunct="1">
        <a:defRPr sz="1400" kern="1200">
          <a:solidFill>
            <a:schemeClr val="tx1"/>
          </a:solidFill>
          <a:latin typeface="+mn-lt"/>
          <a:ea typeface="+mn-ea"/>
          <a:cs typeface="+mn-cs"/>
        </a:defRPr>
      </a:lvl7pPr>
      <a:lvl8pPr marL="2399624" algn="l" defTabSz="685607" rtl="0" eaLnBrk="1" latinLnBrk="0" hangingPunct="1">
        <a:defRPr sz="1400" kern="1200">
          <a:solidFill>
            <a:schemeClr val="tx1"/>
          </a:solidFill>
          <a:latin typeface="+mn-lt"/>
          <a:ea typeface="+mn-ea"/>
          <a:cs typeface="+mn-cs"/>
        </a:defRPr>
      </a:lvl8pPr>
      <a:lvl9pPr marL="2742429" algn="l" defTabSz="685607"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6"/>
            <a:ext cx="8363938" cy="457049"/>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56008834"/>
      </p:ext>
    </p:extLst>
  </p:cSld>
  <p:clrMap bg1="dk1" tx1="lt1" bg2="dk2" tx2="lt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Lst>
  <p:transition>
    <p:fade/>
  </p:transition>
  <p:timing>
    <p:tnLst>
      <p:par>
        <p:cTn id="1" dur="indefinite" restart="never" nodeType="tmRoot"/>
      </p:par>
    </p:tnLst>
  </p:timing>
  <p:txStyles>
    <p:titleStyle>
      <a:lvl1pPr algn="l" defTabSz="685693" rtl="0" eaLnBrk="1" latinLnBrk="0" hangingPunct="1">
        <a:lnSpc>
          <a:spcPct val="90000"/>
        </a:lnSpc>
        <a:spcBef>
          <a:spcPct val="0"/>
        </a:spcBef>
        <a:buNone/>
        <a:defRPr lang="en-US" sz="3300" b="0" kern="1200" cap="none" spc="-75"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345237" indent="-345237" algn="l" defTabSz="685693" rtl="0" eaLnBrk="1" latinLnBrk="0" hangingPunct="1">
        <a:lnSpc>
          <a:spcPct val="90000"/>
        </a:lnSpc>
        <a:spcBef>
          <a:spcPct val="20000"/>
        </a:spcBef>
        <a:buSzPct val="90000"/>
        <a:buFontTx/>
        <a:buBlip>
          <a:blip r:embed="rId19"/>
        </a:buBlip>
        <a:defRPr sz="2400" kern="1200">
          <a:gradFill>
            <a:gsLst>
              <a:gs pos="0">
                <a:schemeClr val="tx1"/>
              </a:gs>
              <a:gs pos="86000">
                <a:schemeClr val="tx1"/>
              </a:gs>
            </a:gsLst>
            <a:lin ang="5400000" scaled="0"/>
          </a:gradFill>
          <a:latin typeface="+mn-lt"/>
          <a:ea typeface="+mn-ea"/>
          <a:cs typeface="+mn-cs"/>
        </a:defRPr>
      </a:lvl1pPr>
      <a:lvl2pPr marL="641672" indent="-296434" algn="l" defTabSz="685693" rtl="0" eaLnBrk="1" latinLnBrk="0" hangingPunct="1">
        <a:lnSpc>
          <a:spcPct val="90000"/>
        </a:lnSpc>
        <a:spcBef>
          <a:spcPct val="20000"/>
        </a:spcBef>
        <a:buSzPct val="90000"/>
        <a:buFontTx/>
        <a:buBlip>
          <a:blip r:embed="rId19"/>
        </a:buBlip>
        <a:defRPr sz="2100" kern="1200">
          <a:gradFill>
            <a:gsLst>
              <a:gs pos="0">
                <a:schemeClr val="tx1"/>
              </a:gs>
              <a:gs pos="86000">
                <a:schemeClr val="tx1"/>
              </a:gs>
            </a:gsLst>
            <a:lin ang="5400000" scaled="0"/>
          </a:gradFill>
          <a:latin typeface="+mn-lt"/>
          <a:ea typeface="+mn-ea"/>
          <a:cs typeface="+mn-cs"/>
        </a:defRPr>
      </a:lvl2pPr>
      <a:lvl3pPr marL="944058" indent="-302386" algn="l" defTabSz="685693" rtl="0" eaLnBrk="1" latinLnBrk="0" hangingPunct="1">
        <a:lnSpc>
          <a:spcPct val="90000"/>
        </a:lnSpc>
        <a:spcBef>
          <a:spcPct val="20000"/>
        </a:spcBef>
        <a:buSzPct val="90000"/>
        <a:buFontTx/>
        <a:buBlip>
          <a:blip r:embed="rId19"/>
        </a:buBlip>
        <a:defRPr sz="1800" kern="1200">
          <a:gradFill>
            <a:gsLst>
              <a:gs pos="0">
                <a:schemeClr val="tx1"/>
              </a:gs>
              <a:gs pos="86000">
                <a:schemeClr val="tx1"/>
              </a:gs>
            </a:gsLst>
            <a:lin ang="5400000" scaled="0"/>
          </a:gradFill>
          <a:latin typeface="+mn-lt"/>
          <a:ea typeface="+mn-ea"/>
          <a:cs typeface="+mn-cs"/>
        </a:defRPr>
      </a:lvl3pPr>
      <a:lvl4pPr marL="1203577" indent="-259525" algn="l" defTabSz="685693" rtl="0" eaLnBrk="1" latinLnBrk="0" hangingPunct="1">
        <a:lnSpc>
          <a:spcPct val="90000"/>
        </a:lnSpc>
        <a:spcBef>
          <a:spcPct val="20000"/>
        </a:spcBef>
        <a:buSzPct val="90000"/>
        <a:buFontTx/>
        <a:buBlip>
          <a:blip r:embed="rId19"/>
        </a:buBlip>
        <a:defRPr sz="1500" kern="1200">
          <a:gradFill>
            <a:gsLst>
              <a:gs pos="0">
                <a:schemeClr val="tx1"/>
              </a:gs>
              <a:gs pos="86000">
                <a:schemeClr val="tx1"/>
              </a:gs>
            </a:gsLst>
            <a:lin ang="5400000" scaled="0"/>
          </a:gradFill>
          <a:latin typeface="+mn-lt"/>
          <a:ea typeface="+mn-ea"/>
          <a:cs typeface="+mn-cs"/>
        </a:defRPr>
      </a:lvl4pPr>
      <a:lvl5pPr marL="1455967" indent="-252383" algn="l" defTabSz="685693" rtl="0" eaLnBrk="1" latinLnBrk="0" hangingPunct="1">
        <a:lnSpc>
          <a:spcPct val="90000"/>
        </a:lnSpc>
        <a:spcBef>
          <a:spcPct val="20000"/>
        </a:spcBef>
        <a:buSzPct val="90000"/>
        <a:buFontTx/>
        <a:buBlip>
          <a:blip r:embed="rId19"/>
        </a:buBlip>
        <a:defRPr sz="1500" kern="1200">
          <a:gradFill>
            <a:gsLst>
              <a:gs pos="0">
                <a:schemeClr val="tx1"/>
              </a:gs>
              <a:gs pos="86000">
                <a:schemeClr val="tx1"/>
              </a:gs>
            </a:gsLst>
            <a:lin ang="5400000" scaled="0"/>
          </a:gradFill>
          <a:latin typeface="+mn-lt"/>
          <a:ea typeface="+mn-ea"/>
          <a:cs typeface="+mn-cs"/>
        </a:defRPr>
      </a:lvl5pPr>
      <a:lvl6pPr marL="188565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500"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34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193"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93" rtl="0" eaLnBrk="1" latinLnBrk="0" hangingPunct="1">
        <a:defRPr sz="1400" kern="1200">
          <a:solidFill>
            <a:schemeClr val="tx1"/>
          </a:solidFill>
          <a:latin typeface="+mn-lt"/>
          <a:ea typeface="+mn-ea"/>
          <a:cs typeface="+mn-cs"/>
        </a:defRPr>
      </a:lvl1pPr>
      <a:lvl2pPr marL="342844" algn="l" defTabSz="685693" rtl="0" eaLnBrk="1" latinLnBrk="0" hangingPunct="1">
        <a:defRPr sz="1400" kern="1200">
          <a:solidFill>
            <a:schemeClr val="tx1"/>
          </a:solidFill>
          <a:latin typeface="+mn-lt"/>
          <a:ea typeface="+mn-ea"/>
          <a:cs typeface="+mn-cs"/>
        </a:defRPr>
      </a:lvl2pPr>
      <a:lvl3pPr marL="685693" algn="l" defTabSz="685693" rtl="0" eaLnBrk="1" latinLnBrk="0" hangingPunct="1">
        <a:defRPr sz="1400" kern="1200">
          <a:solidFill>
            <a:schemeClr val="tx1"/>
          </a:solidFill>
          <a:latin typeface="+mn-lt"/>
          <a:ea typeface="+mn-ea"/>
          <a:cs typeface="+mn-cs"/>
        </a:defRPr>
      </a:lvl3pPr>
      <a:lvl4pPr marL="1028538" algn="l" defTabSz="685693" rtl="0" eaLnBrk="1" latinLnBrk="0" hangingPunct="1">
        <a:defRPr sz="1400" kern="1200">
          <a:solidFill>
            <a:schemeClr val="tx1"/>
          </a:solidFill>
          <a:latin typeface="+mn-lt"/>
          <a:ea typeface="+mn-ea"/>
          <a:cs typeface="+mn-cs"/>
        </a:defRPr>
      </a:lvl4pPr>
      <a:lvl5pPr marL="1371386" algn="l" defTabSz="685693" rtl="0" eaLnBrk="1" latinLnBrk="0" hangingPunct="1">
        <a:defRPr sz="1400" kern="1200">
          <a:solidFill>
            <a:schemeClr val="tx1"/>
          </a:solidFill>
          <a:latin typeface="+mn-lt"/>
          <a:ea typeface="+mn-ea"/>
          <a:cs typeface="+mn-cs"/>
        </a:defRPr>
      </a:lvl5pPr>
      <a:lvl6pPr marL="1714228" algn="l" defTabSz="685693" rtl="0" eaLnBrk="1" latinLnBrk="0" hangingPunct="1">
        <a:defRPr sz="1400" kern="1200">
          <a:solidFill>
            <a:schemeClr val="tx1"/>
          </a:solidFill>
          <a:latin typeface="+mn-lt"/>
          <a:ea typeface="+mn-ea"/>
          <a:cs typeface="+mn-cs"/>
        </a:defRPr>
      </a:lvl6pPr>
      <a:lvl7pPr marL="2057078" algn="l" defTabSz="685693" rtl="0" eaLnBrk="1" latinLnBrk="0" hangingPunct="1">
        <a:defRPr sz="1400" kern="1200">
          <a:solidFill>
            <a:schemeClr val="tx1"/>
          </a:solidFill>
          <a:latin typeface="+mn-lt"/>
          <a:ea typeface="+mn-ea"/>
          <a:cs typeface="+mn-cs"/>
        </a:defRPr>
      </a:lvl7pPr>
      <a:lvl8pPr marL="2399924" algn="l" defTabSz="685693" rtl="0" eaLnBrk="1" latinLnBrk="0" hangingPunct="1">
        <a:defRPr sz="1400" kern="1200">
          <a:solidFill>
            <a:schemeClr val="tx1"/>
          </a:solidFill>
          <a:latin typeface="+mn-lt"/>
          <a:ea typeface="+mn-ea"/>
          <a:cs typeface="+mn-cs"/>
        </a:defRPr>
      </a:lvl8pPr>
      <a:lvl9pPr marL="2742771" algn="l" defTabSz="685693" rtl="0" eaLnBrk="1" latinLnBrk="0" hangingPunct="1">
        <a:defRPr sz="1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390627" y="1085851"/>
            <a:ext cx="8366320" cy="1541960"/>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49923622"/>
      </p:ext>
    </p:extLst>
  </p:cSld>
  <p:clrMap bg1="dk1" tx1="lt1" bg2="dk2" tx2="lt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 id="2147483790" r:id="rId11"/>
    <p:sldLayoutId id="2147483791" r:id="rId12"/>
    <p:sldLayoutId id="2147483792" r:id="rId13"/>
    <p:sldLayoutId id="2147483793" r:id="rId14"/>
    <p:sldLayoutId id="2147483794" r:id="rId15"/>
    <p:sldLayoutId id="2147483795" r:id="rId16"/>
    <p:sldLayoutId id="2147483796" r:id="rId17"/>
    <p:sldLayoutId id="2147483797" r:id="rId18"/>
    <p:sldLayoutId id="2147483798" r:id="rId19"/>
    <p:sldLayoutId id="2147483799" r:id="rId20"/>
    <p:sldLayoutId id="2147483800" r:id="rId21"/>
    <p:sldLayoutId id="2147483801" r:id="rId22"/>
    <p:sldLayoutId id="2147483802" r:id="rId23"/>
    <p:sldLayoutId id="2147483803" r:id="rId24"/>
    <p:sldLayoutId id="2147483804" r:id="rId25"/>
    <p:sldLayoutId id="2147483805" r:id="rId26"/>
    <p:sldLayoutId id="2147483806" r:id="rId27"/>
  </p:sldLayoutIdLst>
  <p:transition>
    <p:fade/>
  </p:transition>
  <p:timing>
    <p:tnLst>
      <p:par>
        <p:cTn id="1" dur="indefinite" restart="never" nodeType="tmRoot"/>
      </p:par>
    </p:tnLst>
  </p:timing>
  <p:txStyles>
    <p:titleStyle>
      <a:lvl1pPr algn="l" defTabSz="685693" rtl="0" eaLnBrk="1" latinLnBrk="0" hangingPunct="1">
        <a:lnSpc>
          <a:spcPct val="90000"/>
        </a:lnSpc>
        <a:spcBef>
          <a:spcPct val="0"/>
        </a:spcBef>
        <a:buNone/>
        <a:defRPr lang="en-US" sz="4100" b="0" kern="1200" cap="none" spc="-75"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254765" marR="0" indent="-254765" algn="l" defTabSz="685693"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gradFill>
            <a:gsLst>
              <a:gs pos="1250">
                <a:schemeClr val="tx1"/>
              </a:gs>
              <a:gs pos="100000">
                <a:schemeClr val="tx1"/>
              </a:gs>
            </a:gsLst>
            <a:lin ang="5400000" scaled="0"/>
          </a:gradFill>
          <a:latin typeface="+mj-lt"/>
          <a:ea typeface="+mn-ea"/>
          <a:cs typeface="+mn-cs"/>
        </a:defRPr>
      </a:lvl1pPr>
      <a:lvl2pPr marL="429765" marR="0" indent="-175001" algn="l" defTabSz="685693"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gradFill>
            <a:gsLst>
              <a:gs pos="1250">
                <a:schemeClr val="tx1"/>
              </a:gs>
              <a:gs pos="100000">
                <a:schemeClr val="tx1"/>
              </a:gs>
            </a:gsLst>
            <a:lin ang="5400000" scaled="0"/>
          </a:gradFill>
          <a:latin typeface="+mn-lt"/>
          <a:ea typeface="+mn-ea"/>
          <a:cs typeface="+mn-cs"/>
        </a:defRPr>
      </a:lvl2pPr>
      <a:lvl3pPr marL="598815" marR="0" indent="-169049" algn="l" defTabSz="685693" rtl="0" eaLnBrk="1" fontAlgn="auto" latinLnBrk="0" hangingPunct="1">
        <a:lnSpc>
          <a:spcPct val="90000"/>
        </a:lnSpc>
        <a:spcBef>
          <a:spcPct val="20000"/>
        </a:spcBef>
        <a:spcAft>
          <a:spcPts val="0"/>
        </a:spcAft>
        <a:buClrTx/>
        <a:buSzPct val="90000"/>
        <a:buFont typeface="Wingdings" pitchFamily="2" charset="2"/>
        <a:buChar char=""/>
        <a:tabLst>
          <a:tab pos="598815" algn="l"/>
        </a:tabLst>
        <a:defRPr sz="1800" kern="1200" spc="0" baseline="0">
          <a:gradFill>
            <a:gsLst>
              <a:gs pos="1250">
                <a:schemeClr val="tx1"/>
              </a:gs>
              <a:gs pos="100000">
                <a:schemeClr val="tx1"/>
              </a:gs>
            </a:gsLst>
            <a:lin ang="5400000" scaled="0"/>
          </a:gradFill>
          <a:latin typeface="+mn-lt"/>
          <a:ea typeface="+mn-ea"/>
          <a:cs typeface="+mn-cs"/>
        </a:defRPr>
      </a:lvl3pPr>
      <a:lvl4pPr marL="772627" marR="0" indent="-173809" algn="l" defTabSz="685693"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gradFill>
            <a:gsLst>
              <a:gs pos="1250">
                <a:schemeClr val="tx1"/>
              </a:gs>
              <a:gs pos="100000">
                <a:schemeClr val="tx1"/>
              </a:gs>
            </a:gsLst>
            <a:lin ang="5400000" scaled="0"/>
          </a:gradFill>
          <a:latin typeface="+mn-lt"/>
          <a:ea typeface="+mn-ea"/>
          <a:cs typeface="+mn-cs"/>
        </a:defRPr>
      </a:lvl4pPr>
      <a:lvl5pPr marL="941676" marR="0" indent="-169049" algn="l" defTabSz="685693" rtl="0" eaLnBrk="1" fontAlgn="auto" latinLnBrk="0" hangingPunct="1">
        <a:lnSpc>
          <a:spcPct val="90000"/>
        </a:lnSpc>
        <a:spcBef>
          <a:spcPct val="20000"/>
        </a:spcBef>
        <a:spcAft>
          <a:spcPts val="0"/>
        </a:spcAft>
        <a:buClrTx/>
        <a:buSzPct val="90000"/>
        <a:buFont typeface="Wingdings" pitchFamily="2" charset="2"/>
        <a:buChar char=""/>
        <a:tabLst>
          <a:tab pos="941676" algn="l"/>
        </a:tabLst>
        <a:defRPr sz="1500" kern="1200" spc="0" baseline="0">
          <a:gradFill>
            <a:gsLst>
              <a:gs pos="1250">
                <a:schemeClr val="tx1"/>
              </a:gs>
              <a:gs pos="100000">
                <a:schemeClr val="tx1"/>
              </a:gs>
            </a:gsLst>
            <a:lin ang="5400000" scaled="0"/>
          </a:gradFill>
          <a:latin typeface="+mn-lt"/>
          <a:ea typeface="+mn-ea"/>
          <a:cs typeface="+mn-cs"/>
        </a:defRPr>
      </a:lvl5pPr>
      <a:lvl6pPr marL="188565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500"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34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193"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93" rtl="0" eaLnBrk="1" latinLnBrk="0" hangingPunct="1">
        <a:defRPr sz="1400" kern="1200">
          <a:solidFill>
            <a:schemeClr val="tx1"/>
          </a:solidFill>
          <a:latin typeface="+mn-lt"/>
          <a:ea typeface="+mn-ea"/>
          <a:cs typeface="+mn-cs"/>
        </a:defRPr>
      </a:lvl1pPr>
      <a:lvl2pPr marL="342844" algn="l" defTabSz="685693" rtl="0" eaLnBrk="1" latinLnBrk="0" hangingPunct="1">
        <a:defRPr sz="1400" kern="1200">
          <a:solidFill>
            <a:schemeClr val="tx1"/>
          </a:solidFill>
          <a:latin typeface="+mn-lt"/>
          <a:ea typeface="+mn-ea"/>
          <a:cs typeface="+mn-cs"/>
        </a:defRPr>
      </a:lvl2pPr>
      <a:lvl3pPr marL="685693" algn="l" defTabSz="685693" rtl="0" eaLnBrk="1" latinLnBrk="0" hangingPunct="1">
        <a:defRPr sz="1400" kern="1200">
          <a:solidFill>
            <a:schemeClr val="tx1"/>
          </a:solidFill>
          <a:latin typeface="+mn-lt"/>
          <a:ea typeface="+mn-ea"/>
          <a:cs typeface="+mn-cs"/>
        </a:defRPr>
      </a:lvl3pPr>
      <a:lvl4pPr marL="1028538" algn="l" defTabSz="685693" rtl="0" eaLnBrk="1" latinLnBrk="0" hangingPunct="1">
        <a:defRPr sz="1400" kern="1200">
          <a:solidFill>
            <a:schemeClr val="tx1"/>
          </a:solidFill>
          <a:latin typeface="+mn-lt"/>
          <a:ea typeface="+mn-ea"/>
          <a:cs typeface="+mn-cs"/>
        </a:defRPr>
      </a:lvl4pPr>
      <a:lvl5pPr marL="1371386" algn="l" defTabSz="685693" rtl="0" eaLnBrk="1" latinLnBrk="0" hangingPunct="1">
        <a:defRPr sz="1400" kern="1200">
          <a:solidFill>
            <a:schemeClr val="tx1"/>
          </a:solidFill>
          <a:latin typeface="+mn-lt"/>
          <a:ea typeface="+mn-ea"/>
          <a:cs typeface="+mn-cs"/>
        </a:defRPr>
      </a:lvl5pPr>
      <a:lvl6pPr marL="1714228" algn="l" defTabSz="685693" rtl="0" eaLnBrk="1" latinLnBrk="0" hangingPunct="1">
        <a:defRPr sz="1400" kern="1200">
          <a:solidFill>
            <a:schemeClr val="tx1"/>
          </a:solidFill>
          <a:latin typeface="+mn-lt"/>
          <a:ea typeface="+mn-ea"/>
          <a:cs typeface="+mn-cs"/>
        </a:defRPr>
      </a:lvl6pPr>
      <a:lvl7pPr marL="2057078" algn="l" defTabSz="685693" rtl="0" eaLnBrk="1" latinLnBrk="0" hangingPunct="1">
        <a:defRPr sz="1400" kern="1200">
          <a:solidFill>
            <a:schemeClr val="tx1"/>
          </a:solidFill>
          <a:latin typeface="+mn-lt"/>
          <a:ea typeface="+mn-ea"/>
          <a:cs typeface="+mn-cs"/>
        </a:defRPr>
      </a:lvl7pPr>
      <a:lvl8pPr marL="2399924" algn="l" defTabSz="685693" rtl="0" eaLnBrk="1" latinLnBrk="0" hangingPunct="1">
        <a:defRPr sz="1400" kern="1200">
          <a:solidFill>
            <a:schemeClr val="tx1"/>
          </a:solidFill>
          <a:latin typeface="+mn-lt"/>
          <a:ea typeface="+mn-ea"/>
          <a:cs typeface="+mn-cs"/>
        </a:defRPr>
      </a:lvl8pPr>
      <a:lvl9pPr marL="2742771" algn="l" defTabSz="685693" rtl="0" eaLnBrk="1" latinLnBrk="0" hangingPunct="1">
        <a:defRPr sz="1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390627" y="1085851"/>
            <a:ext cx="8366320" cy="1541960"/>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29946104"/>
      </p:ext>
    </p:extLst>
  </p:cSld>
  <p:clrMap bg1="dk1" tx1="lt1" bg2="dk2" tx2="lt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 id="2147483818" r:id="rId11"/>
    <p:sldLayoutId id="2147483819" r:id="rId12"/>
    <p:sldLayoutId id="2147483820" r:id="rId13"/>
    <p:sldLayoutId id="2147483821" r:id="rId14"/>
    <p:sldLayoutId id="2147483822" r:id="rId15"/>
    <p:sldLayoutId id="2147483823" r:id="rId16"/>
    <p:sldLayoutId id="2147483824" r:id="rId17"/>
    <p:sldLayoutId id="2147483825" r:id="rId18"/>
    <p:sldLayoutId id="2147483826" r:id="rId19"/>
    <p:sldLayoutId id="2147483827" r:id="rId20"/>
    <p:sldLayoutId id="2147483828" r:id="rId21"/>
    <p:sldLayoutId id="2147483829" r:id="rId22"/>
    <p:sldLayoutId id="2147483830" r:id="rId23"/>
    <p:sldLayoutId id="2147483832" r:id="rId24"/>
    <p:sldLayoutId id="2147483833" r:id="rId25"/>
    <p:sldLayoutId id="2147483834" r:id="rId26"/>
  </p:sldLayoutIdLst>
  <p:transition>
    <p:fade/>
  </p:transition>
  <p:timing>
    <p:tnLst>
      <p:par>
        <p:cTn id="1" dur="indefinite" restart="never" nodeType="tmRoot"/>
      </p:par>
    </p:tnLst>
  </p:timing>
  <p:txStyles>
    <p:titleStyle>
      <a:lvl1pPr algn="l" defTabSz="685750" rtl="0" eaLnBrk="1" latinLnBrk="0" hangingPunct="1">
        <a:lnSpc>
          <a:spcPct val="90000"/>
        </a:lnSpc>
        <a:spcBef>
          <a:spcPct val="0"/>
        </a:spcBef>
        <a:buNone/>
        <a:defRPr lang="en-US" sz="4100" b="0" kern="1200" cap="none" spc="-75"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254786" marR="0" indent="-254786" algn="l" defTabSz="685750"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gradFill>
            <a:gsLst>
              <a:gs pos="1250">
                <a:schemeClr val="tx1"/>
              </a:gs>
              <a:gs pos="100000">
                <a:schemeClr val="tx1"/>
              </a:gs>
            </a:gsLst>
            <a:lin ang="5400000" scaled="0"/>
          </a:gradFill>
          <a:latin typeface="+mj-lt"/>
          <a:ea typeface="+mn-ea"/>
          <a:cs typeface="+mn-cs"/>
        </a:defRPr>
      </a:lvl1pPr>
      <a:lvl2pPr marL="429801" marR="0" indent="-175016" algn="l" defTabSz="685750"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gradFill>
            <a:gsLst>
              <a:gs pos="1250">
                <a:schemeClr val="tx1"/>
              </a:gs>
              <a:gs pos="100000">
                <a:schemeClr val="tx1"/>
              </a:gs>
            </a:gsLst>
            <a:lin ang="5400000" scaled="0"/>
          </a:gradFill>
          <a:latin typeface="+mn-lt"/>
          <a:ea typeface="+mn-ea"/>
          <a:cs typeface="+mn-cs"/>
        </a:defRPr>
      </a:lvl2pPr>
      <a:lvl3pPr marL="598865" marR="0" indent="-169063" algn="l" defTabSz="685750" rtl="0" eaLnBrk="1" fontAlgn="auto" latinLnBrk="0" hangingPunct="1">
        <a:lnSpc>
          <a:spcPct val="90000"/>
        </a:lnSpc>
        <a:spcBef>
          <a:spcPct val="20000"/>
        </a:spcBef>
        <a:spcAft>
          <a:spcPts val="0"/>
        </a:spcAft>
        <a:buClrTx/>
        <a:buSzPct val="90000"/>
        <a:buFont typeface="Wingdings" pitchFamily="2" charset="2"/>
        <a:buChar char=""/>
        <a:tabLst>
          <a:tab pos="598865" algn="l"/>
        </a:tabLst>
        <a:defRPr sz="1800" kern="1200" spc="0" baseline="0">
          <a:gradFill>
            <a:gsLst>
              <a:gs pos="1250">
                <a:schemeClr val="tx1"/>
              </a:gs>
              <a:gs pos="100000">
                <a:schemeClr val="tx1"/>
              </a:gs>
            </a:gsLst>
            <a:lin ang="5400000" scaled="0"/>
          </a:gradFill>
          <a:latin typeface="+mn-lt"/>
          <a:ea typeface="+mn-ea"/>
          <a:cs typeface="+mn-cs"/>
        </a:defRPr>
      </a:lvl3pPr>
      <a:lvl4pPr marL="772691" marR="0" indent="-173824" algn="l" defTabSz="685750"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gradFill>
            <a:gsLst>
              <a:gs pos="1250">
                <a:schemeClr val="tx1"/>
              </a:gs>
              <a:gs pos="100000">
                <a:schemeClr val="tx1"/>
              </a:gs>
            </a:gsLst>
            <a:lin ang="5400000" scaled="0"/>
          </a:gradFill>
          <a:latin typeface="+mn-lt"/>
          <a:ea typeface="+mn-ea"/>
          <a:cs typeface="+mn-cs"/>
        </a:defRPr>
      </a:lvl4pPr>
      <a:lvl5pPr marL="941754" marR="0" indent="-169063" algn="l" defTabSz="685750" rtl="0" eaLnBrk="1" fontAlgn="auto" latinLnBrk="0" hangingPunct="1">
        <a:lnSpc>
          <a:spcPct val="90000"/>
        </a:lnSpc>
        <a:spcBef>
          <a:spcPct val="20000"/>
        </a:spcBef>
        <a:spcAft>
          <a:spcPts val="0"/>
        </a:spcAft>
        <a:buClrTx/>
        <a:buSzPct val="90000"/>
        <a:buFont typeface="Wingdings" pitchFamily="2" charset="2"/>
        <a:buChar char=""/>
        <a:tabLst>
          <a:tab pos="941754" algn="l"/>
        </a:tabLst>
        <a:defRPr sz="1500" kern="1200" spc="0" baseline="0">
          <a:gradFill>
            <a:gsLst>
              <a:gs pos="1250">
                <a:schemeClr val="tx1"/>
              </a:gs>
              <a:gs pos="100000">
                <a:schemeClr val="tx1"/>
              </a:gs>
            </a:gsLst>
            <a:lin ang="5400000" scaled="0"/>
          </a:gradFill>
          <a:latin typeface="+mn-lt"/>
          <a:ea typeface="+mn-ea"/>
          <a:cs typeface="+mn-cs"/>
        </a:defRPr>
      </a:lvl5pPr>
      <a:lvl6pPr marL="1885814"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86"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62"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36"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50" rtl="0" eaLnBrk="1" latinLnBrk="0" hangingPunct="1">
        <a:defRPr sz="1400" kern="1200">
          <a:solidFill>
            <a:schemeClr val="tx1"/>
          </a:solidFill>
          <a:latin typeface="+mn-lt"/>
          <a:ea typeface="+mn-ea"/>
          <a:cs typeface="+mn-cs"/>
        </a:defRPr>
      </a:lvl1pPr>
      <a:lvl2pPr marL="342874" algn="l" defTabSz="685750" rtl="0" eaLnBrk="1" latinLnBrk="0" hangingPunct="1">
        <a:defRPr sz="1400" kern="1200">
          <a:solidFill>
            <a:schemeClr val="tx1"/>
          </a:solidFill>
          <a:latin typeface="+mn-lt"/>
          <a:ea typeface="+mn-ea"/>
          <a:cs typeface="+mn-cs"/>
        </a:defRPr>
      </a:lvl2pPr>
      <a:lvl3pPr marL="685750" algn="l" defTabSz="685750" rtl="0" eaLnBrk="1" latinLnBrk="0" hangingPunct="1">
        <a:defRPr sz="1400" kern="1200">
          <a:solidFill>
            <a:schemeClr val="tx1"/>
          </a:solidFill>
          <a:latin typeface="+mn-lt"/>
          <a:ea typeface="+mn-ea"/>
          <a:cs typeface="+mn-cs"/>
        </a:defRPr>
      </a:lvl3pPr>
      <a:lvl4pPr marL="1028624" algn="l" defTabSz="685750" rtl="0" eaLnBrk="1" latinLnBrk="0" hangingPunct="1">
        <a:defRPr sz="1400" kern="1200">
          <a:solidFill>
            <a:schemeClr val="tx1"/>
          </a:solidFill>
          <a:latin typeface="+mn-lt"/>
          <a:ea typeface="+mn-ea"/>
          <a:cs typeface="+mn-cs"/>
        </a:defRPr>
      </a:lvl4pPr>
      <a:lvl5pPr marL="1371500" algn="l" defTabSz="685750" rtl="0" eaLnBrk="1" latinLnBrk="0" hangingPunct="1">
        <a:defRPr sz="1400" kern="1200">
          <a:solidFill>
            <a:schemeClr val="tx1"/>
          </a:solidFill>
          <a:latin typeface="+mn-lt"/>
          <a:ea typeface="+mn-ea"/>
          <a:cs typeface="+mn-cs"/>
        </a:defRPr>
      </a:lvl5pPr>
      <a:lvl6pPr marL="1714372" algn="l" defTabSz="685750" rtl="0" eaLnBrk="1" latinLnBrk="0" hangingPunct="1">
        <a:defRPr sz="1400" kern="1200">
          <a:solidFill>
            <a:schemeClr val="tx1"/>
          </a:solidFill>
          <a:latin typeface="+mn-lt"/>
          <a:ea typeface="+mn-ea"/>
          <a:cs typeface="+mn-cs"/>
        </a:defRPr>
      </a:lvl6pPr>
      <a:lvl7pPr marL="2057249" algn="l" defTabSz="685750" rtl="0" eaLnBrk="1" latinLnBrk="0" hangingPunct="1">
        <a:defRPr sz="1400" kern="1200">
          <a:solidFill>
            <a:schemeClr val="tx1"/>
          </a:solidFill>
          <a:latin typeface="+mn-lt"/>
          <a:ea typeface="+mn-ea"/>
          <a:cs typeface="+mn-cs"/>
        </a:defRPr>
      </a:lvl7pPr>
      <a:lvl8pPr marL="2400124" algn="l" defTabSz="685750" rtl="0" eaLnBrk="1" latinLnBrk="0" hangingPunct="1">
        <a:defRPr sz="1400" kern="1200">
          <a:solidFill>
            <a:schemeClr val="tx1"/>
          </a:solidFill>
          <a:latin typeface="+mn-lt"/>
          <a:ea typeface="+mn-ea"/>
          <a:cs typeface="+mn-cs"/>
        </a:defRPr>
      </a:lvl8pPr>
      <a:lvl9pPr marL="2742999" algn="l" defTabSz="685750" rtl="0" eaLnBrk="1" latinLnBrk="0" hangingPunct="1">
        <a:defRPr sz="1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457049"/>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1"/>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90871335"/>
      </p:ext>
    </p:extLst>
  </p:cSld>
  <p:clrMap bg1="dk1" tx1="lt1" bg2="dk2" tx2="lt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 id="2147483840" r:id="rId5"/>
    <p:sldLayoutId id="2147483841" r:id="rId6"/>
    <p:sldLayoutId id="2147483842" r:id="rId7"/>
    <p:sldLayoutId id="2147483843" r:id="rId8"/>
    <p:sldLayoutId id="2147483844" r:id="rId9"/>
    <p:sldLayoutId id="2147483845" r:id="rId10"/>
    <p:sldLayoutId id="2147483846" r:id="rId11"/>
    <p:sldLayoutId id="2147483847" r:id="rId12"/>
    <p:sldLayoutId id="2147483848" r:id="rId13"/>
    <p:sldLayoutId id="2147483849" r:id="rId14"/>
    <p:sldLayoutId id="2147483850" r:id="rId15"/>
    <p:sldLayoutId id="2147483851" r:id="rId16"/>
    <p:sldLayoutId id="2147483852" r:id="rId17"/>
    <p:sldLayoutId id="2147483876" r:id="rId18"/>
    <p:sldLayoutId id="2147483877" r:id="rId19"/>
  </p:sldLayoutIdLst>
  <p:transition>
    <p:fade/>
  </p:transition>
  <p:timing>
    <p:tnLst>
      <p:par>
        <p:cTn id="1" dur="indefinite" restart="never" nodeType="tmRoot"/>
      </p:par>
    </p:tnLst>
  </p:timing>
  <p:txStyles>
    <p:titleStyle>
      <a:lvl1pPr algn="l" defTabSz="685835" rtl="0" eaLnBrk="1" latinLnBrk="0" hangingPunct="1">
        <a:lnSpc>
          <a:spcPct val="90000"/>
        </a:lnSpc>
        <a:spcBef>
          <a:spcPct val="0"/>
        </a:spcBef>
        <a:buNone/>
        <a:defRPr lang="en-US" sz="3300" b="0" kern="1200" cap="none" spc="-75"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345312" indent="-345312" algn="l" defTabSz="685835" rtl="0" eaLnBrk="1" latinLnBrk="0" hangingPunct="1">
        <a:lnSpc>
          <a:spcPct val="90000"/>
        </a:lnSpc>
        <a:spcBef>
          <a:spcPct val="20000"/>
        </a:spcBef>
        <a:buSzPct val="90000"/>
        <a:buFontTx/>
        <a:buBlip>
          <a:blip r:embed="rId21"/>
        </a:buBlip>
        <a:defRPr sz="2400" kern="1200">
          <a:gradFill>
            <a:gsLst>
              <a:gs pos="0">
                <a:schemeClr val="tx1"/>
              </a:gs>
              <a:gs pos="86000">
                <a:schemeClr val="tx1"/>
              </a:gs>
            </a:gsLst>
            <a:lin ang="5400000" scaled="0"/>
          </a:gradFill>
          <a:latin typeface="+mn-lt"/>
          <a:ea typeface="+mn-ea"/>
          <a:cs typeface="+mn-cs"/>
        </a:defRPr>
      </a:lvl1pPr>
      <a:lvl2pPr marL="641807" indent="-296494" algn="l" defTabSz="685835" rtl="0" eaLnBrk="1" latinLnBrk="0" hangingPunct="1">
        <a:lnSpc>
          <a:spcPct val="90000"/>
        </a:lnSpc>
        <a:spcBef>
          <a:spcPct val="20000"/>
        </a:spcBef>
        <a:buSzPct val="90000"/>
        <a:buFontTx/>
        <a:buBlip>
          <a:blip r:embed="rId21"/>
        </a:buBlip>
        <a:defRPr sz="2100" kern="1200">
          <a:gradFill>
            <a:gsLst>
              <a:gs pos="0">
                <a:schemeClr val="tx1"/>
              </a:gs>
              <a:gs pos="86000">
                <a:schemeClr val="tx1"/>
              </a:gs>
            </a:gsLst>
            <a:lin ang="5400000" scaled="0"/>
          </a:gradFill>
          <a:latin typeface="+mn-lt"/>
          <a:ea typeface="+mn-ea"/>
          <a:cs typeface="+mn-cs"/>
        </a:defRPr>
      </a:lvl2pPr>
      <a:lvl3pPr marL="944253" indent="-302446" algn="l" defTabSz="685835" rtl="0" eaLnBrk="1" latinLnBrk="0" hangingPunct="1">
        <a:lnSpc>
          <a:spcPct val="90000"/>
        </a:lnSpc>
        <a:spcBef>
          <a:spcPct val="20000"/>
        </a:spcBef>
        <a:buSzPct val="90000"/>
        <a:buFontTx/>
        <a:buBlip>
          <a:blip r:embed="rId21"/>
        </a:buBlip>
        <a:defRPr sz="1800" kern="1200">
          <a:gradFill>
            <a:gsLst>
              <a:gs pos="0">
                <a:schemeClr val="tx1"/>
              </a:gs>
              <a:gs pos="86000">
                <a:schemeClr val="tx1"/>
              </a:gs>
            </a:gsLst>
            <a:lin ang="5400000" scaled="0"/>
          </a:gradFill>
          <a:latin typeface="+mn-lt"/>
          <a:ea typeface="+mn-ea"/>
          <a:cs typeface="+mn-cs"/>
        </a:defRPr>
      </a:lvl3pPr>
      <a:lvl4pPr marL="1203832" indent="-259580" algn="l" defTabSz="685835" rtl="0" eaLnBrk="1" latinLnBrk="0" hangingPunct="1">
        <a:lnSpc>
          <a:spcPct val="90000"/>
        </a:lnSpc>
        <a:spcBef>
          <a:spcPct val="20000"/>
        </a:spcBef>
        <a:buSzPct val="90000"/>
        <a:buFontTx/>
        <a:buBlip>
          <a:blip r:embed="rId21"/>
        </a:buBlip>
        <a:defRPr sz="1500" kern="1200">
          <a:gradFill>
            <a:gsLst>
              <a:gs pos="0">
                <a:schemeClr val="tx1"/>
              </a:gs>
              <a:gs pos="86000">
                <a:schemeClr val="tx1"/>
              </a:gs>
            </a:gsLst>
            <a:lin ang="5400000" scaled="0"/>
          </a:gradFill>
          <a:latin typeface="+mn-lt"/>
          <a:ea typeface="+mn-ea"/>
          <a:cs typeface="+mn-cs"/>
        </a:defRPr>
      </a:lvl4pPr>
      <a:lvl5pPr marL="1456268" indent="-252436" algn="l" defTabSz="685835" rtl="0" eaLnBrk="1" latinLnBrk="0" hangingPunct="1">
        <a:lnSpc>
          <a:spcPct val="90000"/>
        </a:lnSpc>
        <a:spcBef>
          <a:spcPct val="20000"/>
        </a:spcBef>
        <a:buSzPct val="90000"/>
        <a:buFontTx/>
        <a:buBlip>
          <a:blip r:embed="rId21"/>
        </a:buBlip>
        <a:defRPr sz="1500" kern="1200">
          <a:gradFill>
            <a:gsLst>
              <a:gs pos="0">
                <a:schemeClr val="tx1"/>
              </a:gs>
              <a:gs pos="86000">
                <a:schemeClr val="tx1"/>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35" rtl="0" eaLnBrk="1" latinLnBrk="0" hangingPunct="1">
        <a:defRPr sz="1400" kern="1200">
          <a:solidFill>
            <a:schemeClr val="tx1"/>
          </a:solidFill>
          <a:latin typeface="+mn-lt"/>
          <a:ea typeface="+mn-ea"/>
          <a:cs typeface="+mn-cs"/>
        </a:defRPr>
      </a:lvl1pPr>
      <a:lvl2pPr marL="342918" algn="l" defTabSz="685835" rtl="0" eaLnBrk="1" latinLnBrk="0" hangingPunct="1">
        <a:defRPr sz="1400" kern="1200">
          <a:solidFill>
            <a:schemeClr val="tx1"/>
          </a:solidFill>
          <a:latin typeface="+mn-lt"/>
          <a:ea typeface="+mn-ea"/>
          <a:cs typeface="+mn-cs"/>
        </a:defRPr>
      </a:lvl2pPr>
      <a:lvl3pPr marL="685835" algn="l" defTabSz="685835" rtl="0" eaLnBrk="1" latinLnBrk="0" hangingPunct="1">
        <a:defRPr sz="1400" kern="1200">
          <a:solidFill>
            <a:schemeClr val="tx1"/>
          </a:solidFill>
          <a:latin typeface="+mn-lt"/>
          <a:ea typeface="+mn-ea"/>
          <a:cs typeface="+mn-cs"/>
        </a:defRPr>
      </a:lvl3pPr>
      <a:lvl4pPr marL="1028753" algn="l" defTabSz="685835" rtl="0" eaLnBrk="1" latinLnBrk="0" hangingPunct="1">
        <a:defRPr sz="1400" kern="1200">
          <a:solidFill>
            <a:schemeClr val="tx1"/>
          </a:solidFill>
          <a:latin typeface="+mn-lt"/>
          <a:ea typeface="+mn-ea"/>
          <a:cs typeface="+mn-cs"/>
        </a:defRPr>
      </a:lvl4pPr>
      <a:lvl5pPr marL="1371671" algn="l" defTabSz="685835" rtl="0" eaLnBrk="1" latinLnBrk="0" hangingPunct="1">
        <a:defRPr sz="1400" kern="1200">
          <a:solidFill>
            <a:schemeClr val="tx1"/>
          </a:solidFill>
          <a:latin typeface="+mn-lt"/>
          <a:ea typeface="+mn-ea"/>
          <a:cs typeface="+mn-cs"/>
        </a:defRPr>
      </a:lvl5pPr>
      <a:lvl6pPr marL="1714588" algn="l" defTabSz="685835" rtl="0" eaLnBrk="1" latinLnBrk="0" hangingPunct="1">
        <a:defRPr sz="1400" kern="1200">
          <a:solidFill>
            <a:schemeClr val="tx1"/>
          </a:solidFill>
          <a:latin typeface="+mn-lt"/>
          <a:ea typeface="+mn-ea"/>
          <a:cs typeface="+mn-cs"/>
        </a:defRPr>
      </a:lvl6pPr>
      <a:lvl7pPr marL="2057506" algn="l" defTabSz="685835" rtl="0" eaLnBrk="1" latinLnBrk="0" hangingPunct="1">
        <a:defRPr sz="1400" kern="1200">
          <a:solidFill>
            <a:schemeClr val="tx1"/>
          </a:solidFill>
          <a:latin typeface="+mn-lt"/>
          <a:ea typeface="+mn-ea"/>
          <a:cs typeface="+mn-cs"/>
        </a:defRPr>
      </a:lvl7pPr>
      <a:lvl8pPr marL="2400424" algn="l" defTabSz="685835" rtl="0" eaLnBrk="1" latinLnBrk="0" hangingPunct="1">
        <a:defRPr sz="1400" kern="1200">
          <a:solidFill>
            <a:schemeClr val="tx1"/>
          </a:solidFill>
          <a:latin typeface="+mn-lt"/>
          <a:ea typeface="+mn-ea"/>
          <a:cs typeface="+mn-cs"/>
        </a:defRPr>
      </a:lvl8pPr>
      <a:lvl9pPr marL="2743341" algn="l" defTabSz="685835" rtl="0" eaLnBrk="1" latinLnBrk="0" hangingPunct="1">
        <a:defRPr sz="1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1"/>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63575655"/>
      </p:ext>
    </p:extLst>
  </p:cSld>
  <p:clrMap bg1="lt1" tx1="dk1" bg2="lt2" tx2="dk2" accent1="accent1" accent2="accent2" accent3="accent3" accent4="accent4" accent5="accent5" accent6="accent6" hlink="hlink" folHlink="folHlink"/>
  <p:sldLayoutIdLst>
    <p:sldLayoutId id="2147483854" r:id="rId1"/>
    <p:sldLayoutId id="2147483855" r:id="rId2"/>
    <p:sldLayoutId id="2147483856" r:id="rId3"/>
    <p:sldLayoutId id="2147483857" r:id="rId4"/>
    <p:sldLayoutId id="2147483858" r:id="rId5"/>
    <p:sldLayoutId id="2147483859" r:id="rId6"/>
    <p:sldLayoutId id="2147483860" r:id="rId7"/>
    <p:sldLayoutId id="2147483861" r:id="rId8"/>
    <p:sldLayoutId id="2147483862" r:id="rId9"/>
    <p:sldLayoutId id="2147483863" r:id="rId10"/>
    <p:sldLayoutId id="2147483864" r:id="rId11"/>
    <p:sldLayoutId id="2147483865" r:id="rId12"/>
    <p:sldLayoutId id="2147483866" r:id="rId13"/>
    <p:sldLayoutId id="2147483867" r:id="rId14"/>
    <p:sldLayoutId id="2147483868" r:id="rId15"/>
    <p:sldLayoutId id="2147483869" r:id="rId16"/>
    <p:sldLayoutId id="2147483870" r:id="rId17"/>
    <p:sldLayoutId id="2147483871" r:id="rId18"/>
    <p:sldLayoutId id="2147483872" r:id="rId19"/>
    <p:sldLayoutId id="2147483873" r:id="rId20"/>
    <p:sldLayoutId id="2147483874" r:id="rId21"/>
    <p:sldLayoutId id="2147483875" r:id="rId22"/>
    <p:sldLayoutId id="2147483893" r:id="rId23"/>
  </p:sldLayoutIdLst>
  <p:transition>
    <p:fade/>
  </p:transition>
  <p:timing>
    <p:tnLst>
      <p:par>
        <p:cTn id="1" dur="indefinite" restart="never" nodeType="tmRoot"/>
      </p:par>
    </p:tnLst>
  </p:timing>
  <p:txStyles>
    <p:titleStyle>
      <a:lvl1pPr algn="l" defTabSz="685835"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312" indent="-345312" algn="l" defTabSz="685835"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807" indent="-296494" algn="l" defTabSz="685835"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253" indent="-302446" algn="l" defTabSz="685835"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832" indent="-259580" algn="l" defTabSz="685835"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268" indent="-252436" algn="l" defTabSz="685835"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35" rtl="0" eaLnBrk="1" latinLnBrk="0" hangingPunct="1">
        <a:defRPr sz="1400" kern="1200">
          <a:solidFill>
            <a:schemeClr val="tx1"/>
          </a:solidFill>
          <a:latin typeface="+mn-lt"/>
          <a:ea typeface="+mn-ea"/>
          <a:cs typeface="+mn-cs"/>
        </a:defRPr>
      </a:lvl1pPr>
      <a:lvl2pPr marL="342918" algn="l" defTabSz="685835" rtl="0" eaLnBrk="1" latinLnBrk="0" hangingPunct="1">
        <a:defRPr sz="1400" kern="1200">
          <a:solidFill>
            <a:schemeClr val="tx1"/>
          </a:solidFill>
          <a:latin typeface="+mn-lt"/>
          <a:ea typeface="+mn-ea"/>
          <a:cs typeface="+mn-cs"/>
        </a:defRPr>
      </a:lvl2pPr>
      <a:lvl3pPr marL="685835" algn="l" defTabSz="685835" rtl="0" eaLnBrk="1" latinLnBrk="0" hangingPunct="1">
        <a:defRPr sz="1400" kern="1200">
          <a:solidFill>
            <a:schemeClr val="tx1"/>
          </a:solidFill>
          <a:latin typeface="+mn-lt"/>
          <a:ea typeface="+mn-ea"/>
          <a:cs typeface="+mn-cs"/>
        </a:defRPr>
      </a:lvl3pPr>
      <a:lvl4pPr marL="1028753" algn="l" defTabSz="685835" rtl="0" eaLnBrk="1" latinLnBrk="0" hangingPunct="1">
        <a:defRPr sz="1400" kern="1200">
          <a:solidFill>
            <a:schemeClr val="tx1"/>
          </a:solidFill>
          <a:latin typeface="+mn-lt"/>
          <a:ea typeface="+mn-ea"/>
          <a:cs typeface="+mn-cs"/>
        </a:defRPr>
      </a:lvl4pPr>
      <a:lvl5pPr marL="1371671" algn="l" defTabSz="685835" rtl="0" eaLnBrk="1" latinLnBrk="0" hangingPunct="1">
        <a:defRPr sz="1400" kern="1200">
          <a:solidFill>
            <a:schemeClr val="tx1"/>
          </a:solidFill>
          <a:latin typeface="+mn-lt"/>
          <a:ea typeface="+mn-ea"/>
          <a:cs typeface="+mn-cs"/>
        </a:defRPr>
      </a:lvl5pPr>
      <a:lvl6pPr marL="1714588" algn="l" defTabSz="685835" rtl="0" eaLnBrk="1" latinLnBrk="0" hangingPunct="1">
        <a:defRPr sz="1400" kern="1200">
          <a:solidFill>
            <a:schemeClr val="tx1"/>
          </a:solidFill>
          <a:latin typeface="+mn-lt"/>
          <a:ea typeface="+mn-ea"/>
          <a:cs typeface="+mn-cs"/>
        </a:defRPr>
      </a:lvl6pPr>
      <a:lvl7pPr marL="2057506" algn="l" defTabSz="685835" rtl="0" eaLnBrk="1" latinLnBrk="0" hangingPunct="1">
        <a:defRPr sz="1400" kern="1200">
          <a:solidFill>
            <a:schemeClr val="tx1"/>
          </a:solidFill>
          <a:latin typeface="+mn-lt"/>
          <a:ea typeface="+mn-ea"/>
          <a:cs typeface="+mn-cs"/>
        </a:defRPr>
      </a:lvl7pPr>
      <a:lvl8pPr marL="2400424" algn="l" defTabSz="685835" rtl="0" eaLnBrk="1" latinLnBrk="0" hangingPunct="1">
        <a:defRPr sz="1400" kern="1200">
          <a:solidFill>
            <a:schemeClr val="tx1"/>
          </a:solidFill>
          <a:latin typeface="+mn-lt"/>
          <a:ea typeface="+mn-ea"/>
          <a:cs typeface="+mn-cs"/>
        </a:defRPr>
      </a:lvl8pPr>
      <a:lvl9pPr marL="2743341" algn="l" defTabSz="685835" rtl="0" eaLnBrk="1" latinLnBrk="0" hangingPunct="1">
        <a:defRPr sz="1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0"/>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49187994"/>
      </p:ext>
    </p:extLst>
  </p:cSld>
  <p:clrMap bg1="lt1" tx1="dk1" bg2="lt2" tx2="dk2" accent1="accent1" accent2="accent2" accent3="accent3" accent4="accent4" accent5="accent5" accent6="accent6" hlink="hlink" folHlink="folHlink"/>
  <p:sldLayoutIdLst>
    <p:sldLayoutId id="2147483895" r:id="rId1"/>
    <p:sldLayoutId id="2147483896" r:id="rId2"/>
    <p:sldLayoutId id="2147483897" r:id="rId3"/>
    <p:sldLayoutId id="2147483898" r:id="rId4"/>
    <p:sldLayoutId id="2147483899" r:id="rId5"/>
    <p:sldLayoutId id="2147483900" r:id="rId6"/>
    <p:sldLayoutId id="2147483901" r:id="rId7"/>
    <p:sldLayoutId id="2147483902" r:id="rId8"/>
    <p:sldLayoutId id="2147483903" r:id="rId9"/>
    <p:sldLayoutId id="2147483904" r:id="rId10"/>
    <p:sldLayoutId id="2147483905" r:id="rId11"/>
    <p:sldLayoutId id="2147483906" r:id="rId12"/>
    <p:sldLayoutId id="2147483907" r:id="rId13"/>
    <p:sldLayoutId id="2147483908" r:id="rId14"/>
    <p:sldLayoutId id="2147483909" r:id="rId15"/>
    <p:sldLayoutId id="2147483910" r:id="rId16"/>
    <p:sldLayoutId id="2147483911" r:id="rId17"/>
    <p:sldLayoutId id="2147483912" r:id="rId18"/>
    <p:sldLayoutId id="2147483913" r:id="rId19"/>
    <p:sldLayoutId id="2147483914" r:id="rId20"/>
    <p:sldLayoutId id="2147483915" r:id="rId21"/>
    <p:sldLayoutId id="2147483916" r:id="rId22"/>
  </p:sldLayoutIdLst>
  <p:transition>
    <p:fade/>
  </p:transition>
  <p:timing>
    <p:tnLst>
      <p:par>
        <p:cTn id="1" dur="indefinite" restart="never" nodeType="tmRoot"/>
      </p:par>
    </p:tnLst>
  </p:timing>
  <p:txStyles>
    <p:titleStyle>
      <a:lvl1pPr algn="l" defTabSz="685864"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327" indent="-345327" algn="l" defTabSz="685864"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833" indent="-296506" algn="l" defTabSz="685864"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292" indent="-302459" algn="l" defTabSz="685864"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883" indent="-259591"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329" indent="-252446"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6126"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058"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990"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922"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64" rtl="0" eaLnBrk="1" latinLnBrk="0" hangingPunct="1">
        <a:defRPr sz="1400" kern="1200">
          <a:solidFill>
            <a:schemeClr val="tx1"/>
          </a:solidFill>
          <a:latin typeface="+mn-lt"/>
          <a:ea typeface="+mn-ea"/>
          <a:cs typeface="+mn-cs"/>
        </a:defRPr>
      </a:lvl1pPr>
      <a:lvl2pPr marL="342932" algn="l" defTabSz="685864" rtl="0" eaLnBrk="1" latinLnBrk="0" hangingPunct="1">
        <a:defRPr sz="1400" kern="1200">
          <a:solidFill>
            <a:schemeClr val="tx1"/>
          </a:solidFill>
          <a:latin typeface="+mn-lt"/>
          <a:ea typeface="+mn-ea"/>
          <a:cs typeface="+mn-cs"/>
        </a:defRPr>
      </a:lvl2pPr>
      <a:lvl3pPr marL="685864" algn="l" defTabSz="685864" rtl="0" eaLnBrk="1" latinLnBrk="0" hangingPunct="1">
        <a:defRPr sz="1400" kern="1200">
          <a:solidFill>
            <a:schemeClr val="tx1"/>
          </a:solidFill>
          <a:latin typeface="+mn-lt"/>
          <a:ea typeface="+mn-ea"/>
          <a:cs typeface="+mn-cs"/>
        </a:defRPr>
      </a:lvl3pPr>
      <a:lvl4pPr marL="1028796" algn="l" defTabSz="685864" rtl="0" eaLnBrk="1" latinLnBrk="0" hangingPunct="1">
        <a:defRPr sz="1400" kern="1200">
          <a:solidFill>
            <a:schemeClr val="tx1"/>
          </a:solidFill>
          <a:latin typeface="+mn-lt"/>
          <a:ea typeface="+mn-ea"/>
          <a:cs typeface="+mn-cs"/>
        </a:defRPr>
      </a:lvl4pPr>
      <a:lvl5pPr marL="1371728" algn="l" defTabSz="685864" rtl="0" eaLnBrk="1" latinLnBrk="0" hangingPunct="1">
        <a:defRPr sz="1400" kern="1200">
          <a:solidFill>
            <a:schemeClr val="tx1"/>
          </a:solidFill>
          <a:latin typeface="+mn-lt"/>
          <a:ea typeface="+mn-ea"/>
          <a:cs typeface="+mn-cs"/>
        </a:defRPr>
      </a:lvl5pPr>
      <a:lvl6pPr marL="1714660" algn="l" defTabSz="685864" rtl="0" eaLnBrk="1" latinLnBrk="0" hangingPunct="1">
        <a:defRPr sz="1400" kern="1200">
          <a:solidFill>
            <a:schemeClr val="tx1"/>
          </a:solidFill>
          <a:latin typeface="+mn-lt"/>
          <a:ea typeface="+mn-ea"/>
          <a:cs typeface="+mn-cs"/>
        </a:defRPr>
      </a:lvl6pPr>
      <a:lvl7pPr marL="2057592" algn="l" defTabSz="685864" rtl="0" eaLnBrk="1" latinLnBrk="0" hangingPunct="1">
        <a:defRPr sz="1400" kern="1200">
          <a:solidFill>
            <a:schemeClr val="tx1"/>
          </a:solidFill>
          <a:latin typeface="+mn-lt"/>
          <a:ea typeface="+mn-ea"/>
          <a:cs typeface="+mn-cs"/>
        </a:defRPr>
      </a:lvl7pPr>
      <a:lvl8pPr marL="2400524" algn="l" defTabSz="685864" rtl="0" eaLnBrk="1" latinLnBrk="0" hangingPunct="1">
        <a:defRPr sz="1400" kern="1200">
          <a:solidFill>
            <a:schemeClr val="tx1"/>
          </a:solidFill>
          <a:latin typeface="+mn-lt"/>
          <a:ea typeface="+mn-ea"/>
          <a:cs typeface="+mn-cs"/>
        </a:defRPr>
      </a:lvl8pPr>
      <a:lvl9pPr marL="2743456" algn="l" defTabSz="685864"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7.emf"/></Relationships>
</file>

<file path=ppt/slides/_rels/slide10.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notesSlide" Target="../notesSlides/notesSlide10.xml"/><Relationship Id="rId1" Type="http://schemas.openxmlformats.org/officeDocument/2006/relationships/slideLayout" Target="../slideLayouts/slideLayout12.xml"/><Relationship Id="rId4" Type="http://schemas.openxmlformats.org/officeDocument/2006/relationships/image" Target="../media/image47.emf"/></Relationships>
</file>

<file path=ppt/slides/_rels/slide100.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notesSlide" Target="../notesSlides/notesSlide77.xml"/><Relationship Id="rId1" Type="http://schemas.openxmlformats.org/officeDocument/2006/relationships/slideLayout" Target="../slideLayouts/slideLayout135.xml"/><Relationship Id="rId4" Type="http://schemas.openxmlformats.org/officeDocument/2006/relationships/image" Target="../media/image47.emf"/></Relationships>
</file>

<file path=ppt/slides/_rels/slide101.xml.rels><?xml version="1.0" encoding="UTF-8" standalone="yes"?>
<Relationships xmlns="http://schemas.openxmlformats.org/package/2006/relationships"><Relationship Id="rId8" Type="http://schemas.openxmlformats.org/officeDocument/2006/relationships/hyperlink" Target="http://www.rapidbbs.cn/" TargetMode="External"/><Relationship Id="rId3" Type="http://schemas.openxmlformats.org/officeDocument/2006/relationships/tags" Target="../tags/tag135.xml"/><Relationship Id="rId7" Type="http://schemas.openxmlformats.org/officeDocument/2006/relationships/image" Target="../media/image228.png"/><Relationship Id="rId2" Type="http://schemas.openxmlformats.org/officeDocument/2006/relationships/tags" Target="../tags/tag134.xml"/><Relationship Id="rId1" Type="http://schemas.openxmlformats.org/officeDocument/2006/relationships/tags" Target="../tags/tag133.xml"/><Relationship Id="rId6" Type="http://schemas.openxmlformats.org/officeDocument/2006/relationships/notesSlide" Target="../notesSlides/notesSlide78.xml"/><Relationship Id="rId5" Type="http://schemas.openxmlformats.org/officeDocument/2006/relationships/slideLayout" Target="../slideLayouts/slideLayout138.xml"/><Relationship Id="rId4" Type="http://schemas.openxmlformats.org/officeDocument/2006/relationships/tags" Target="../tags/tag136.xml"/><Relationship Id="rId9" Type="http://schemas.openxmlformats.org/officeDocument/2006/relationships/image" Target="../media/image47.emf"/></Relationships>
</file>

<file path=ppt/slides/_rels/slide102.xml.rels><?xml version="1.0" encoding="UTF-8" standalone="yes"?>
<Relationships xmlns="http://schemas.openxmlformats.org/package/2006/relationships"><Relationship Id="rId8" Type="http://schemas.openxmlformats.org/officeDocument/2006/relationships/image" Target="../media/image47.emf"/><Relationship Id="rId3" Type="http://schemas.openxmlformats.org/officeDocument/2006/relationships/tags" Target="../tags/tag139.xml"/><Relationship Id="rId7" Type="http://schemas.openxmlformats.org/officeDocument/2006/relationships/hyperlink" Target="http://www.rapidbbs.cn/" TargetMode="External"/><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notesSlide" Target="../notesSlides/notesSlide79.xml"/><Relationship Id="rId5" Type="http://schemas.openxmlformats.org/officeDocument/2006/relationships/slideLayout" Target="../slideLayouts/slideLayout138.xml"/><Relationship Id="rId4" Type="http://schemas.openxmlformats.org/officeDocument/2006/relationships/tags" Target="../tags/tag140.xml"/></Relationships>
</file>

<file path=ppt/slides/_rels/slide103.xml.rels><?xml version="1.0" encoding="UTF-8" standalone="yes"?>
<Relationships xmlns="http://schemas.openxmlformats.org/package/2006/relationships"><Relationship Id="rId3" Type="http://schemas.openxmlformats.org/officeDocument/2006/relationships/tags" Target="../tags/tag143.xml"/><Relationship Id="rId7" Type="http://schemas.openxmlformats.org/officeDocument/2006/relationships/hyperlink" Target="http://www.rapidbbs.cn/" TargetMode="External"/><Relationship Id="rId2" Type="http://schemas.openxmlformats.org/officeDocument/2006/relationships/tags" Target="../tags/tag142.xml"/><Relationship Id="rId1" Type="http://schemas.openxmlformats.org/officeDocument/2006/relationships/tags" Target="../tags/tag141.xml"/><Relationship Id="rId6" Type="http://schemas.openxmlformats.org/officeDocument/2006/relationships/notesSlide" Target="../notesSlides/notesSlide80.xml"/><Relationship Id="rId5" Type="http://schemas.openxmlformats.org/officeDocument/2006/relationships/slideLayout" Target="../slideLayouts/slideLayout138.xml"/><Relationship Id="rId4" Type="http://schemas.openxmlformats.org/officeDocument/2006/relationships/tags" Target="../tags/tag144.xml"/></Relationships>
</file>

<file path=ppt/slides/_rels/slide104.xml.rels><?xml version="1.0" encoding="UTF-8" standalone="yes"?>
<Relationships xmlns="http://schemas.openxmlformats.org/package/2006/relationships"><Relationship Id="rId8" Type="http://schemas.openxmlformats.org/officeDocument/2006/relationships/tags" Target="../tags/tag152.xml"/><Relationship Id="rId13" Type="http://schemas.openxmlformats.org/officeDocument/2006/relationships/slideLayout" Target="../slideLayouts/slideLayout138.xml"/><Relationship Id="rId3" Type="http://schemas.openxmlformats.org/officeDocument/2006/relationships/tags" Target="../tags/tag147.xml"/><Relationship Id="rId7" Type="http://schemas.openxmlformats.org/officeDocument/2006/relationships/tags" Target="../tags/tag151.xml"/><Relationship Id="rId12" Type="http://schemas.openxmlformats.org/officeDocument/2006/relationships/tags" Target="../tags/tag156.xml"/><Relationship Id="rId17" Type="http://schemas.openxmlformats.org/officeDocument/2006/relationships/image" Target="../media/image47.emf"/><Relationship Id="rId2" Type="http://schemas.openxmlformats.org/officeDocument/2006/relationships/tags" Target="../tags/tag146.xml"/><Relationship Id="rId16" Type="http://schemas.openxmlformats.org/officeDocument/2006/relationships/hyperlink" Target="http://www.rapidbbs.cn/" TargetMode="External"/><Relationship Id="rId1" Type="http://schemas.openxmlformats.org/officeDocument/2006/relationships/tags" Target="../tags/tag145.xml"/><Relationship Id="rId6" Type="http://schemas.openxmlformats.org/officeDocument/2006/relationships/tags" Target="../tags/tag150.xml"/><Relationship Id="rId11" Type="http://schemas.openxmlformats.org/officeDocument/2006/relationships/tags" Target="../tags/tag155.xml"/><Relationship Id="rId5" Type="http://schemas.openxmlformats.org/officeDocument/2006/relationships/tags" Target="../tags/tag149.xml"/><Relationship Id="rId15" Type="http://schemas.openxmlformats.org/officeDocument/2006/relationships/image" Target="../media/image228.png"/><Relationship Id="rId10" Type="http://schemas.openxmlformats.org/officeDocument/2006/relationships/tags" Target="../tags/tag154.xml"/><Relationship Id="rId4" Type="http://schemas.openxmlformats.org/officeDocument/2006/relationships/tags" Target="../tags/tag148.xml"/><Relationship Id="rId9" Type="http://schemas.openxmlformats.org/officeDocument/2006/relationships/tags" Target="../tags/tag153.xml"/><Relationship Id="rId14" Type="http://schemas.openxmlformats.org/officeDocument/2006/relationships/notesSlide" Target="../notesSlides/notesSlide81.xml"/></Relationships>
</file>

<file path=ppt/slides/_rels/slide105.xml.rels><?xml version="1.0" encoding="UTF-8" standalone="yes"?>
<Relationships xmlns="http://schemas.openxmlformats.org/package/2006/relationships"><Relationship Id="rId3" Type="http://schemas.openxmlformats.org/officeDocument/2006/relationships/image" Target="../media/image229.png"/><Relationship Id="rId2" Type="http://schemas.openxmlformats.org/officeDocument/2006/relationships/notesSlide" Target="../notesSlides/notesSlide82.xml"/><Relationship Id="rId1" Type="http://schemas.openxmlformats.org/officeDocument/2006/relationships/slideLayout" Target="../slideLayouts/slideLayout138.xml"/><Relationship Id="rId6" Type="http://schemas.openxmlformats.org/officeDocument/2006/relationships/image" Target="../media/image47.emf"/><Relationship Id="rId5" Type="http://schemas.openxmlformats.org/officeDocument/2006/relationships/hyperlink" Target="http://www.rapidbbs.cn/" TargetMode="External"/><Relationship Id="rId4" Type="http://schemas.openxmlformats.org/officeDocument/2006/relationships/image" Target="../media/image230.png"/></Relationships>
</file>

<file path=ppt/slides/_rels/slide106.xml.rels><?xml version="1.0" encoding="UTF-8" standalone="yes"?>
<Relationships xmlns="http://schemas.openxmlformats.org/package/2006/relationships"><Relationship Id="rId8" Type="http://schemas.openxmlformats.org/officeDocument/2006/relationships/image" Target="../media/image235.png"/><Relationship Id="rId13" Type="http://schemas.openxmlformats.org/officeDocument/2006/relationships/image" Target="../media/image240.emf"/><Relationship Id="rId18" Type="http://schemas.openxmlformats.org/officeDocument/2006/relationships/image" Target="../media/image244.png"/><Relationship Id="rId3" Type="http://schemas.openxmlformats.org/officeDocument/2006/relationships/image" Target="../media/image181.png"/><Relationship Id="rId21" Type="http://schemas.openxmlformats.org/officeDocument/2006/relationships/image" Target="../media/image47.emf"/><Relationship Id="rId7" Type="http://schemas.openxmlformats.org/officeDocument/2006/relationships/image" Target="../media/image234.png"/><Relationship Id="rId12" Type="http://schemas.openxmlformats.org/officeDocument/2006/relationships/image" Target="../media/image239.emf"/><Relationship Id="rId17" Type="http://schemas.openxmlformats.org/officeDocument/2006/relationships/image" Target="../media/image243.png"/><Relationship Id="rId2" Type="http://schemas.openxmlformats.org/officeDocument/2006/relationships/notesSlide" Target="../notesSlides/notesSlide83.xml"/><Relationship Id="rId16" Type="http://schemas.openxmlformats.org/officeDocument/2006/relationships/image" Target="../media/image242.png"/><Relationship Id="rId20" Type="http://schemas.openxmlformats.org/officeDocument/2006/relationships/hyperlink" Target="http://www.rapidbbs.cn/" TargetMode="External"/><Relationship Id="rId1" Type="http://schemas.openxmlformats.org/officeDocument/2006/relationships/slideLayout" Target="../slideLayouts/slideLayout134.xml"/><Relationship Id="rId6" Type="http://schemas.openxmlformats.org/officeDocument/2006/relationships/image" Target="../media/image233.png"/><Relationship Id="rId11" Type="http://schemas.openxmlformats.org/officeDocument/2006/relationships/image" Target="../media/image238.png"/><Relationship Id="rId5" Type="http://schemas.openxmlformats.org/officeDocument/2006/relationships/image" Target="../media/image232.png"/><Relationship Id="rId15" Type="http://schemas.microsoft.com/office/2007/relationships/hdphoto" Target="../media/hdphoto30.wdp"/><Relationship Id="rId10" Type="http://schemas.openxmlformats.org/officeDocument/2006/relationships/image" Target="../media/image237.png"/><Relationship Id="rId19" Type="http://schemas.openxmlformats.org/officeDocument/2006/relationships/image" Target="../media/image245.png"/><Relationship Id="rId4" Type="http://schemas.openxmlformats.org/officeDocument/2006/relationships/image" Target="../media/image231.png"/><Relationship Id="rId9" Type="http://schemas.openxmlformats.org/officeDocument/2006/relationships/image" Target="../media/image236.png"/><Relationship Id="rId14" Type="http://schemas.openxmlformats.org/officeDocument/2006/relationships/image" Target="../media/image241.png"/></Relationships>
</file>

<file path=ppt/slides/_rels/slide107.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hyperlink" Target="http://www.rapidbbs.cn/" TargetMode="External"/><Relationship Id="rId1" Type="http://schemas.openxmlformats.org/officeDocument/2006/relationships/slideLayout" Target="../slideLayouts/slideLayout138.xml"/></Relationships>
</file>

<file path=ppt/slides/_rels/slide108.xml.rels><?xml version="1.0" encoding="UTF-8" standalone="yes"?>
<Relationships xmlns="http://schemas.openxmlformats.org/package/2006/relationships"><Relationship Id="rId3" Type="http://schemas.openxmlformats.org/officeDocument/2006/relationships/image" Target="../media/image246.png"/><Relationship Id="rId2" Type="http://schemas.openxmlformats.org/officeDocument/2006/relationships/notesSlide" Target="../notesSlides/notesSlide84.xml"/><Relationship Id="rId1" Type="http://schemas.openxmlformats.org/officeDocument/2006/relationships/slideLayout" Target="../slideLayouts/slideLayout138.xml"/><Relationship Id="rId5" Type="http://schemas.openxmlformats.org/officeDocument/2006/relationships/image" Target="../media/image47.emf"/><Relationship Id="rId4" Type="http://schemas.openxmlformats.org/officeDocument/2006/relationships/hyperlink" Target="http://www.rapidbbs.cn/" TargetMode="External"/></Relationships>
</file>

<file path=ppt/slides/_rels/slide109.xml.rels><?xml version="1.0" encoding="UTF-8" standalone="yes"?>
<Relationships xmlns="http://schemas.openxmlformats.org/package/2006/relationships"><Relationship Id="rId3" Type="http://schemas.microsoft.com/office/2007/relationships/hdphoto" Target="../media/hdphoto23.wdp"/><Relationship Id="rId2" Type="http://schemas.openxmlformats.org/officeDocument/2006/relationships/image" Target="../media/image178.png"/><Relationship Id="rId1" Type="http://schemas.openxmlformats.org/officeDocument/2006/relationships/slideLayout" Target="../slideLayouts/slideLayout138.xml"/><Relationship Id="rId5" Type="http://schemas.openxmlformats.org/officeDocument/2006/relationships/image" Target="../media/image47.emf"/><Relationship Id="rId4" Type="http://schemas.openxmlformats.org/officeDocument/2006/relationships/hyperlink" Target="http://www.rapidbbs.cn/"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notesSlide" Target="../notesSlides/notesSlide11.xml"/><Relationship Id="rId1" Type="http://schemas.openxmlformats.org/officeDocument/2006/relationships/slideLayout" Target="../slideLayouts/slideLayout4.xml"/><Relationship Id="rId4" Type="http://schemas.openxmlformats.org/officeDocument/2006/relationships/image" Target="../media/image47.emf"/></Relationships>
</file>

<file path=ppt/slides/_rels/slide110.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hyperlink" Target="http://www.rapidbbs.cn/" TargetMode="External"/><Relationship Id="rId1" Type="http://schemas.openxmlformats.org/officeDocument/2006/relationships/slideLayout" Target="../slideLayouts/slideLayout138.xml"/></Relationships>
</file>

<file path=ppt/slides/_rels/slide111.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hyperlink" Target="http://www.rapidbbs.cn/" TargetMode="External"/><Relationship Id="rId1" Type="http://schemas.openxmlformats.org/officeDocument/2006/relationships/slideLayout" Target="../slideLayouts/slideLayout138.xml"/></Relationships>
</file>

<file path=ppt/slides/_rels/slide112.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hyperlink" Target="http://www.rapidbbs.cn/" TargetMode="External"/><Relationship Id="rId1" Type="http://schemas.openxmlformats.org/officeDocument/2006/relationships/slideLayout" Target="../slideLayouts/slideLayout138.xml"/></Relationships>
</file>

<file path=ppt/slides/_rels/slide113.xml.rels><?xml version="1.0" encoding="UTF-8" standalone="yes"?>
<Relationships xmlns="http://schemas.openxmlformats.org/package/2006/relationships"><Relationship Id="rId8" Type="http://schemas.openxmlformats.org/officeDocument/2006/relationships/image" Target="../media/image251.png"/><Relationship Id="rId3" Type="http://schemas.openxmlformats.org/officeDocument/2006/relationships/image" Target="../media/image181.png"/><Relationship Id="rId7" Type="http://schemas.openxmlformats.org/officeDocument/2006/relationships/image" Target="../media/image250.png"/><Relationship Id="rId2" Type="http://schemas.openxmlformats.org/officeDocument/2006/relationships/notesSlide" Target="../notesSlides/notesSlide85.xml"/><Relationship Id="rId1" Type="http://schemas.openxmlformats.org/officeDocument/2006/relationships/slideLayout" Target="../slideLayouts/slideLayout134.xml"/><Relationship Id="rId6" Type="http://schemas.openxmlformats.org/officeDocument/2006/relationships/image" Target="../media/image249.png"/><Relationship Id="rId5" Type="http://schemas.openxmlformats.org/officeDocument/2006/relationships/image" Target="../media/image248.png"/><Relationship Id="rId10" Type="http://schemas.openxmlformats.org/officeDocument/2006/relationships/image" Target="../media/image47.emf"/><Relationship Id="rId4" Type="http://schemas.openxmlformats.org/officeDocument/2006/relationships/image" Target="../media/image247.png"/><Relationship Id="rId9" Type="http://schemas.openxmlformats.org/officeDocument/2006/relationships/hyperlink" Target="http://www.rapidbbs.cn/" TargetMode="External"/></Relationships>
</file>

<file path=ppt/slides/_rels/slide114.xml.rels><?xml version="1.0" encoding="UTF-8" standalone="yes"?>
<Relationships xmlns="http://schemas.openxmlformats.org/package/2006/relationships"><Relationship Id="rId8" Type="http://schemas.openxmlformats.org/officeDocument/2006/relationships/hyperlink" Target="http://www.rapidbbs.cn/" TargetMode="External"/><Relationship Id="rId3" Type="http://schemas.openxmlformats.org/officeDocument/2006/relationships/image" Target="../media/image252.png"/><Relationship Id="rId7" Type="http://schemas.openxmlformats.org/officeDocument/2006/relationships/image" Target="../media/image253.png"/><Relationship Id="rId2" Type="http://schemas.openxmlformats.org/officeDocument/2006/relationships/notesSlide" Target="../notesSlides/notesSlide86.xml"/><Relationship Id="rId1" Type="http://schemas.openxmlformats.org/officeDocument/2006/relationships/slideLayout" Target="../slideLayouts/slideLayout134.xml"/><Relationship Id="rId6" Type="http://schemas.openxmlformats.org/officeDocument/2006/relationships/image" Target="../media/image240.emf"/><Relationship Id="rId5" Type="http://schemas.openxmlformats.org/officeDocument/2006/relationships/image" Target="../media/image239.emf"/><Relationship Id="rId4" Type="http://schemas.openxmlformats.org/officeDocument/2006/relationships/image" Target="../media/image181.png"/><Relationship Id="rId9" Type="http://schemas.openxmlformats.org/officeDocument/2006/relationships/image" Target="../media/image47.emf"/></Relationships>
</file>

<file path=ppt/slides/_rels/slide115.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hyperlink" Target="http://www.rapidbbs.cn/" TargetMode="External"/><Relationship Id="rId1" Type="http://schemas.openxmlformats.org/officeDocument/2006/relationships/slideLayout" Target="../slideLayouts/slideLayout138.xml"/></Relationships>
</file>

<file path=ppt/slides/_rels/slide116.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hyperlink" Target="http://www.rapidbbs.cn/" TargetMode="External"/><Relationship Id="rId1" Type="http://schemas.openxmlformats.org/officeDocument/2006/relationships/slideLayout" Target="../slideLayouts/slideLayout138.xml"/></Relationships>
</file>

<file path=ppt/slides/_rels/slide117.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notesSlide" Target="../notesSlides/notesSlide87.xml"/><Relationship Id="rId1" Type="http://schemas.openxmlformats.org/officeDocument/2006/relationships/slideLayout" Target="../slideLayouts/slideLayout138.xml"/><Relationship Id="rId4" Type="http://schemas.openxmlformats.org/officeDocument/2006/relationships/image" Target="../media/image47.emf"/></Relationships>
</file>

<file path=ppt/slides/_rels/slide1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88.xml"/><Relationship Id="rId1" Type="http://schemas.openxmlformats.org/officeDocument/2006/relationships/slideLayout" Target="../slideLayouts/slideLayout134.xml"/><Relationship Id="rId5" Type="http://schemas.openxmlformats.org/officeDocument/2006/relationships/image" Target="../media/image47.emf"/><Relationship Id="rId4" Type="http://schemas.openxmlformats.org/officeDocument/2006/relationships/hyperlink" Target="http://www.rapidbbs.cn/" TargetMode="External"/></Relationships>
</file>

<file path=ppt/slides/_rels/slide119.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image" Target="../media/image254.jpeg"/><Relationship Id="rId1" Type="http://schemas.openxmlformats.org/officeDocument/2006/relationships/slideLayout" Target="../slideLayouts/slideLayout138.xml"/><Relationship Id="rId4" Type="http://schemas.openxmlformats.org/officeDocument/2006/relationships/image" Target="../media/image47.emf"/></Relationships>
</file>

<file path=ppt/slides/_rels/slide12.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notesSlide" Target="../notesSlides/notesSlide12.xml"/><Relationship Id="rId1" Type="http://schemas.openxmlformats.org/officeDocument/2006/relationships/slideLayout" Target="../slideLayouts/slideLayout5.xml"/><Relationship Id="rId4" Type="http://schemas.openxmlformats.org/officeDocument/2006/relationships/image" Target="../media/image47.emf"/></Relationships>
</file>

<file path=ppt/slides/_rels/slide120.xml.rels><?xml version="1.0" encoding="UTF-8" standalone="yes"?>
<Relationships xmlns="http://schemas.openxmlformats.org/package/2006/relationships"><Relationship Id="rId8" Type="http://schemas.openxmlformats.org/officeDocument/2006/relationships/image" Target="../media/image261.jpeg"/><Relationship Id="rId13" Type="http://schemas.openxmlformats.org/officeDocument/2006/relationships/image" Target="../media/image266.jpeg"/><Relationship Id="rId3" Type="http://schemas.openxmlformats.org/officeDocument/2006/relationships/image" Target="../media/image256.jpeg"/><Relationship Id="rId7" Type="http://schemas.openxmlformats.org/officeDocument/2006/relationships/image" Target="../media/image260.jpeg"/><Relationship Id="rId12" Type="http://schemas.openxmlformats.org/officeDocument/2006/relationships/image" Target="../media/image265.png"/><Relationship Id="rId2" Type="http://schemas.openxmlformats.org/officeDocument/2006/relationships/image" Target="../media/image255.jpeg"/><Relationship Id="rId16" Type="http://schemas.openxmlformats.org/officeDocument/2006/relationships/image" Target="../media/image47.emf"/><Relationship Id="rId1" Type="http://schemas.openxmlformats.org/officeDocument/2006/relationships/slideLayout" Target="../slideLayouts/slideLayout138.xml"/><Relationship Id="rId6" Type="http://schemas.openxmlformats.org/officeDocument/2006/relationships/image" Target="../media/image259.jpeg"/><Relationship Id="rId11" Type="http://schemas.openxmlformats.org/officeDocument/2006/relationships/image" Target="../media/image264.png"/><Relationship Id="rId5" Type="http://schemas.openxmlformats.org/officeDocument/2006/relationships/image" Target="../media/image258.jpeg"/><Relationship Id="rId15" Type="http://schemas.openxmlformats.org/officeDocument/2006/relationships/hyperlink" Target="http://www.rapidbbs.cn/" TargetMode="External"/><Relationship Id="rId10" Type="http://schemas.openxmlformats.org/officeDocument/2006/relationships/image" Target="../media/image263.jpeg"/><Relationship Id="rId4" Type="http://schemas.openxmlformats.org/officeDocument/2006/relationships/image" Target="../media/image257.png"/><Relationship Id="rId9" Type="http://schemas.openxmlformats.org/officeDocument/2006/relationships/image" Target="../media/image262.jpeg"/><Relationship Id="rId14" Type="http://schemas.openxmlformats.org/officeDocument/2006/relationships/image" Target="../media/image267.jpeg"/></Relationships>
</file>

<file path=ppt/slides/_rels/slide121.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hyperlink" Target="http://www.rapidbbs.cn/" TargetMode="External"/><Relationship Id="rId1" Type="http://schemas.openxmlformats.org/officeDocument/2006/relationships/slideLayout" Target="../slideLayouts/slideLayout138.xml"/></Relationships>
</file>

<file path=ppt/slides/_rels/slide122.xml.rels><?xml version="1.0" encoding="UTF-8" standalone="yes"?>
<Relationships xmlns="http://schemas.openxmlformats.org/package/2006/relationships"><Relationship Id="rId3" Type="http://schemas.openxmlformats.org/officeDocument/2006/relationships/image" Target="../media/image269.png"/><Relationship Id="rId2" Type="http://schemas.openxmlformats.org/officeDocument/2006/relationships/image" Target="../media/image268.png"/><Relationship Id="rId1" Type="http://schemas.openxmlformats.org/officeDocument/2006/relationships/slideLayout" Target="../slideLayouts/slideLayout138.xml"/><Relationship Id="rId6" Type="http://schemas.openxmlformats.org/officeDocument/2006/relationships/image" Target="../media/image47.emf"/><Relationship Id="rId5" Type="http://schemas.openxmlformats.org/officeDocument/2006/relationships/hyperlink" Target="http://www.rapidbbs.cn/" TargetMode="External"/><Relationship Id="rId4" Type="http://schemas.openxmlformats.org/officeDocument/2006/relationships/image" Target="../media/image270.png"/></Relationships>
</file>

<file path=ppt/slides/_rels/slide123.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image" Target="../media/image271.png"/><Relationship Id="rId1" Type="http://schemas.openxmlformats.org/officeDocument/2006/relationships/slideLayout" Target="../slideLayouts/slideLayout134.xml"/><Relationship Id="rId4" Type="http://schemas.openxmlformats.org/officeDocument/2006/relationships/image" Target="../media/image47.emf"/></Relationships>
</file>

<file path=ppt/slides/_rels/slide124.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89.xml"/><Relationship Id="rId1" Type="http://schemas.openxmlformats.org/officeDocument/2006/relationships/slideLayout" Target="../slideLayouts/slideLayout134.xml"/><Relationship Id="rId5" Type="http://schemas.openxmlformats.org/officeDocument/2006/relationships/image" Target="../media/image47.emf"/><Relationship Id="rId4" Type="http://schemas.openxmlformats.org/officeDocument/2006/relationships/hyperlink" Target="http://www.rapidbbs.cn/" TargetMode="External"/></Relationships>
</file>

<file path=ppt/slides/_rels/slide125.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notesSlide" Target="../notesSlides/notesSlide90.xml"/><Relationship Id="rId1" Type="http://schemas.openxmlformats.org/officeDocument/2006/relationships/slideLayout" Target="../slideLayouts/slideLayout138.xml"/><Relationship Id="rId4" Type="http://schemas.openxmlformats.org/officeDocument/2006/relationships/image" Target="../media/image47.emf"/></Relationships>
</file>

<file path=ppt/slides/_rels/slide126.xml.rels><?xml version="1.0" encoding="UTF-8" standalone="yes"?>
<Relationships xmlns="http://schemas.openxmlformats.org/package/2006/relationships"><Relationship Id="rId8" Type="http://schemas.openxmlformats.org/officeDocument/2006/relationships/image" Target="../media/image47.emf"/><Relationship Id="rId3" Type="http://schemas.openxmlformats.org/officeDocument/2006/relationships/image" Target="../media/image136.png"/><Relationship Id="rId7" Type="http://schemas.openxmlformats.org/officeDocument/2006/relationships/hyperlink" Target="http://www.rapidbbs.cn/" TargetMode="External"/><Relationship Id="rId2" Type="http://schemas.openxmlformats.org/officeDocument/2006/relationships/notesSlide" Target="../notesSlides/notesSlide91.xml"/><Relationship Id="rId1" Type="http://schemas.openxmlformats.org/officeDocument/2006/relationships/slideLayout" Target="../slideLayouts/slideLayout135.xml"/><Relationship Id="rId6" Type="http://schemas.openxmlformats.org/officeDocument/2006/relationships/image" Target="../media/image122.png"/><Relationship Id="rId5" Type="http://schemas.openxmlformats.org/officeDocument/2006/relationships/image" Target="../media/image121.png"/><Relationship Id="rId4" Type="http://schemas.openxmlformats.org/officeDocument/2006/relationships/image" Target="../media/image114.png"/></Relationships>
</file>

<file path=ppt/slides/_rels/slide127.xml.rels><?xml version="1.0" encoding="UTF-8" standalone="yes"?>
<Relationships xmlns="http://schemas.openxmlformats.org/package/2006/relationships"><Relationship Id="rId8" Type="http://schemas.openxmlformats.org/officeDocument/2006/relationships/image" Target="../media/image275.png"/><Relationship Id="rId13" Type="http://schemas.microsoft.com/office/2007/relationships/hdphoto" Target="../media/hdphoto34.wdp"/><Relationship Id="rId18" Type="http://schemas.openxmlformats.org/officeDocument/2006/relationships/image" Target="../media/image281.png"/><Relationship Id="rId3" Type="http://schemas.openxmlformats.org/officeDocument/2006/relationships/image" Target="../media/image272.png"/><Relationship Id="rId21" Type="http://schemas.microsoft.com/office/2007/relationships/hdphoto" Target="../media/hdphoto38.wdp"/><Relationship Id="rId7" Type="http://schemas.microsoft.com/office/2007/relationships/hdphoto" Target="../media/hdphoto32.wdp"/><Relationship Id="rId12" Type="http://schemas.openxmlformats.org/officeDocument/2006/relationships/image" Target="../media/image278.png"/><Relationship Id="rId17" Type="http://schemas.microsoft.com/office/2007/relationships/hdphoto" Target="../media/hdphoto36.wdp"/><Relationship Id="rId25" Type="http://schemas.openxmlformats.org/officeDocument/2006/relationships/image" Target="../media/image47.emf"/><Relationship Id="rId2" Type="http://schemas.openxmlformats.org/officeDocument/2006/relationships/notesSlide" Target="../notesSlides/notesSlide92.xml"/><Relationship Id="rId16" Type="http://schemas.openxmlformats.org/officeDocument/2006/relationships/image" Target="../media/image280.png"/><Relationship Id="rId20" Type="http://schemas.openxmlformats.org/officeDocument/2006/relationships/image" Target="../media/image282.png"/><Relationship Id="rId1" Type="http://schemas.openxmlformats.org/officeDocument/2006/relationships/slideLayout" Target="../slideLayouts/slideLayout138.xml"/><Relationship Id="rId6" Type="http://schemas.openxmlformats.org/officeDocument/2006/relationships/image" Target="../media/image274.png"/><Relationship Id="rId11" Type="http://schemas.openxmlformats.org/officeDocument/2006/relationships/image" Target="../media/image277.png"/><Relationship Id="rId24" Type="http://schemas.openxmlformats.org/officeDocument/2006/relationships/hyperlink" Target="http://www.rapidbbs.cn/" TargetMode="External"/><Relationship Id="rId5" Type="http://schemas.microsoft.com/office/2007/relationships/hdphoto" Target="../media/hdphoto31.wdp"/><Relationship Id="rId15" Type="http://schemas.microsoft.com/office/2007/relationships/hdphoto" Target="../media/hdphoto35.wdp"/><Relationship Id="rId23" Type="http://schemas.microsoft.com/office/2007/relationships/hdphoto" Target="../media/hdphoto39.wdp"/><Relationship Id="rId10" Type="http://schemas.openxmlformats.org/officeDocument/2006/relationships/image" Target="../media/image276.png"/><Relationship Id="rId19" Type="http://schemas.microsoft.com/office/2007/relationships/hdphoto" Target="../media/hdphoto37.wdp"/><Relationship Id="rId4" Type="http://schemas.openxmlformats.org/officeDocument/2006/relationships/image" Target="../media/image273.png"/><Relationship Id="rId9" Type="http://schemas.microsoft.com/office/2007/relationships/hdphoto" Target="../media/hdphoto33.wdp"/><Relationship Id="rId14" Type="http://schemas.openxmlformats.org/officeDocument/2006/relationships/image" Target="../media/image279.png"/><Relationship Id="rId22" Type="http://schemas.openxmlformats.org/officeDocument/2006/relationships/image" Target="../media/image283.png"/></Relationships>
</file>

<file path=ppt/slides/_rels/slide128.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notesSlide" Target="../notesSlides/notesSlide93.xml"/><Relationship Id="rId1" Type="http://schemas.openxmlformats.org/officeDocument/2006/relationships/slideLayout" Target="../slideLayouts/slideLayout138.xml"/><Relationship Id="rId4" Type="http://schemas.openxmlformats.org/officeDocument/2006/relationships/image" Target="../media/image47.emf"/></Relationships>
</file>

<file path=ppt/slides/_rels/slide129.xml.rels><?xml version="1.0" encoding="UTF-8" standalone="yes"?>
<Relationships xmlns="http://schemas.openxmlformats.org/package/2006/relationships"><Relationship Id="rId8" Type="http://schemas.openxmlformats.org/officeDocument/2006/relationships/hyperlink" Target="http://www.rapidbbs.cn/" TargetMode="External"/><Relationship Id="rId3" Type="http://schemas.openxmlformats.org/officeDocument/2006/relationships/image" Target="../media/image284.png"/><Relationship Id="rId7" Type="http://schemas.openxmlformats.org/officeDocument/2006/relationships/image" Target="../media/image287.png"/><Relationship Id="rId2" Type="http://schemas.openxmlformats.org/officeDocument/2006/relationships/notesSlide" Target="../notesSlides/notesSlide94.xml"/><Relationship Id="rId1" Type="http://schemas.openxmlformats.org/officeDocument/2006/relationships/slideLayout" Target="../slideLayouts/slideLayout138.xml"/><Relationship Id="rId6" Type="http://schemas.openxmlformats.org/officeDocument/2006/relationships/image" Target="../media/image286.emf"/><Relationship Id="rId5" Type="http://schemas.openxmlformats.org/officeDocument/2006/relationships/image" Target="../media/image285.emf"/><Relationship Id="rId4" Type="http://schemas.openxmlformats.org/officeDocument/2006/relationships/image" Target="../media/image108.png"/><Relationship Id="rId9" Type="http://schemas.openxmlformats.org/officeDocument/2006/relationships/image" Target="../media/image47.emf"/></Relationships>
</file>

<file path=ppt/slides/_rels/slide13.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notesSlide" Target="../notesSlides/notesSlide13.xml"/><Relationship Id="rId1" Type="http://schemas.openxmlformats.org/officeDocument/2006/relationships/slideLayout" Target="../slideLayouts/slideLayout6.xml"/><Relationship Id="rId4" Type="http://schemas.openxmlformats.org/officeDocument/2006/relationships/image" Target="../media/image47.emf"/></Relationships>
</file>

<file path=ppt/slides/_rels/slide130.xml.rels><?xml version="1.0" encoding="UTF-8" standalone="yes"?>
<Relationships xmlns="http://schemas.openxmlformats.org/package/2006/relationships"><Relationship Id="rId8" Type="http://schemas.openxmlformats.org/officeDocument/2006/relationships/image" Target="../media/image293.png"/><Relationship Id="rId13" Type="http://schemas.openxmlformats.org/officeDocument/2006/relationships/image" Target="../media/image298.png"/><Relationship Id="rId18" Type="http://schemas.openxmlformats.org/officeDocument/2006/relationships/image" Target="../media/image302.png"/><Relationship Id="rId3" Type="http://schemas.openxmlformats.org/officeDocument/2006/relationships/image" Target="../media/image288.png"/><Relationship Id="rId21" Type="http://schemas.openxmlformats.org/officeDocument/2006/relationships/image" Target="../media/image305.png"/><Relationship Id="rId7" Type="http://schemas.openxmlformats.org/officeDocument/2006/relationships/image" Target="../media/image292.png"/><Relationship Id="rId12" Type="http://schemas.openxmlformats.org/officeDocument/2006/relationships/image" Target="../media/image297.png"/><Relationship Id="rId17" Type="http://schemas.openxmlformats.org/officeDocument/2006/relationships/image" Target="../media/image301.png"/><Relationship Id="rId2" Type="http://schemas.openxmlformats.org/officeDocument/2006/relationships/notesSlide" Target="../notesSlides/notesSlide95.xml"/><Relationship Id="rId16" Type="http://schemas.openxmlformats.org/officeDocument/2006/relationships/image" Target="../media/image1.png"/><Relationship Id="rId20" Type="http://schemas.openxmlformats.org/officeDocument/2006/relationships/image" Target="../media/image304.png"/><Relationship Id="rId1" Type="http://schemas.openxmlformats.org/officeDocument/2006/relationships/slideLayout" Target="../slideLayouts/slideLayout138.xml"/><Relationship Id="rId6" Type="http://schemas.openxmlformats.org/officeDocument/2006/relationships/image" Target="../media/image291.png"/><Relationship Id="rId11" Type="http://schemas.openxmlformats.org/officeDocument/2006/relationships/image" Target="../media/image296.png"/><Relationship Id="rId24" Type="http://schemas.openxmlformats.org/officeDocument/2006/relationships/image" Target="../media/image47.emf"/><Relationship Id="rId5" Type="http://schemas.openxmlformats.org/officeDocument/2006/relationships/image" Target="../media/image290.png"/><Relationship Id="rId15" Type="http://schemas.openxmlformats.org/officeDocument/2006/relationships/image" Target="../media/image300.png"/><Relationship Id="rId23" Type="http://schemas.openxmlformats.org/officeDocument/2006/relationships/hyperlink" Target="http://www.rapidbbs.cn/" TargetMode="External"/><Relationship Id="rId10" Type="http://schemas.openxmlformats.org/officeDocument/2006/relationships/image" Target="../media/image295.png"/><Relationship Id="rId19" Type="http://schemas.openxmlformats.org/officeDocument/2006/relationships/image" Target="../media/image303.png"/><Relationship Id="rId4" Type="http://schemas.openxmlformats.org/officeDocument/2006/relationships/image" Target="../media/image289.png"/><Relationship Id="rId9" Type="http://schemas.openxmlformats.org/officeDocument/2006/relationships/image" Target="../media/image294.png"/><Relationship Id="rId14" Type="http://schemas.openxmlformats.org/officeDocument/2006/relationships/image" Target="../media/image299.png"/><Relationship Id="rId22" Type="http://schemas.openxmlformats.org/officeDocument/2006/relationships/image" Target="../media/image306.png"/></Relationships>
</file>

<file path=ppt/slides/_rels/slide131.xml.rels><?xml version="1.0" encoding="UTF-8" standalone="yes"?>
<Relationships xmlns="http://schemas.openxmlformats.org/package/2006/relationships"><Relationship Id="rId3" Type="http://schemas.openxmlformats.org/officeDocument/2006/relationships/image" Target="../media/image307.png"/><Relationship Id="rId7" Type="http://schemas.openxmlformats.org/officeDocument/2006/relationships/image" Target="../media/image47.emf"/><Relationship Id="rId2" Type="http://schemas.openxmlformats.org/officeDocument/2006/relationships/notesSlide" Target="../notesSlides/notesSlide96.xml"/><Relationship Id="rId1" Type="http://schemas.openxmlformats.org/officeDocument/2006/relationships/slideLayout" Target="../slideLayouts/slideLayout138.xml"/><Relationship Id="rId6" Type="http://schemas.openxmlformats.org/officeDocument/2006/relationships/hyperlink" Target="http://www.rapidbbs.cn/" TargetMode="External"/><Relationship Id="rId5" Type="http://schemas.openxmlformats.org/officeDocument/2006/relationships/image" Target="../media/image308.jpeg"/><Relationship Id="rId4" Type="http://schemas.openxmlformats.org/officeDocument/2006/relationships/image" Target="../media/image1.png"/></Relationships>
</file>

<file path=ppt/slides/_rels/slide132.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notesSlide" Target="../notesSlides/notesSlide97.xml"/><Relationship Id="rId1" Type="http://schemas.openxmlformats.org/officeDocument/2006/relationships/slideLayout" Target="../slideLayouts/slideLayout138.xml"/><Relationship Id="rId4" Type="http://schemas.openxmlformats.org/officeDocument/2006/relationships/image" Target="../media/image47.emf"/></Relationships>
</file>

<file path=ppt/slides/_rels/slide133.xml.rels><?xml version="1.0" encoding="UTF-8" standalone="yes"?>
<Relationships xmlns="http://schemas.openxmlformats.org/package/2006/relationships"><Relationship Id="rId8" Type="http://schemas.openxmlformats.org/officeDocument/2006/relationships/hyperlink" Target="http://www.rapidbbs.cn/" TargetMode="External"/><Relationship Id="rId3" Type="http://schemas.openxmlformats.org/officeDocument/2006/relationships/image" Target="../media/image309.emf"/><Relationship Id="rId7" Type="http://schemas.openxmlformats.org/officeDocument/2006/relationships/image" Target="../media/image313.png"/><Relationship Id="rId2" Type="http://schemas.openxmlformats.org/officeDocument/2006/relationships/notesSlide" Target="../notesSlides/notesSlide98.xml"/><Relationship Id="rId1" Type="http://schemas.openxmlformats.org/officeDocument/2006/relationships/slideLayout" Target="../slideLayouts/slideLayout138.xml"/><Relationship Id="rId6" Type="http://schemas.openxmlformats.org/officeDocument/2006/relationships/image" Target="../media/image312.emf"/><Relationship Id="rId5" Type="http://schemas.openxmlformats.org/officeDocument/2006/relationships/image" Target="../media/image311.emf"/><Relationship Id="rId4" Type="http://schemas.openxmlformats.org/officeDocument/2006/relationships/image" Target="../media/image310.emf"/><Relationship Id="rId9" Type="http://schemas.openxmlformats.org/officeDocument/2006/relationships/image" Target="../media/image47.emf"/></Relationships>
</file>

<file path=ppt/slides/_rels/slide134.xml.rels><?xml version="1.0" encoding="UTF-8" standalone="yes"?>
<Relationships xmlns="http://schemas.openxmlformats.org/package/2006/relationships"><Relationship Id="rId3" Type="http://schemas.openxmlformats.org/officeDocument/2006/relationships/image" Target="../media/image314.jpeg"/><Relationship Id="rId2" Type="http://schemas.openxmlformats.org/officeDocument/2006/relationships/notesSlide" Target="../notesSlides/notesSlide99.xml"/><Relationship Id="rId1" Type="http://schemas.openxmlformats.org/officeDocument/2006/relationships/slideLayout" Target="../slideLayouts/slideLayout138.xml"/><Relationship Id="rId5" Type="http://schemas.openxmlformats.org/officeDocument/2006/relationships/image" Target="../media/image47.emf"/><Relationship Id="rId4" Type="http://schemas.openxmlformats.org/officeDocument/2006/relationships/hyperlink" Target="http://www.rapidbbs.cn/" TargetMode="External"/></Relationships>
</file>

<file path=ppt/slides/_rels/slide135.xml.rels><?xml version="1.0" encoding="UTF-8" standalone="yes"?>
<Relationships xmlns="http://schemas.openxmlformats.org/package/2006/relationships"><Relationship Id="rId8" Type="http://schemas.openxmlformats.org/officeDocument/2006/relationships/hyperlink" Target="http://www.rapidbbs.cn/" TargetMode="External"/><Relationship Id="rId3" Type="http://schemas.openxmlformats.org/officeDocument/2006/relationships/image" Target="../media/image315.png"/><Relationship Id="rId7" Type="http://schemas.openxmlformats.org/officeDocument/2006/relationships/image" Target="../media/image118.png"/><Relationship Id="rId2" Type="http://schemas.openxmlformats.org/officeDocument/2006/relationships/notesSlide" Target="../notesSlides/notesSlide100.xml"/><Relationship Id="rId1" Type="http://schemas.openxmlformats.org/officeDocument/2006/relationships/slideLayout" Target="../slideLayouts/slideLayout138.xml"/><Relationship Id="rId6" Type="http://schemas.openxmlformats.org/officeDocument/2006/relationships/image" Target="../media/image122.png"/><Relationship Id="rId5" Type="http://schemas.openxmlformats.org/officeDocument/2006/relationships/image" Target="../media/image317.png"/><Relationship Id="rId4" Type="http://schemas.openxmlformats.org/officeDocument/2006/relationships/image" Target="../media/image316.png"/><Relationship Id="rId9" Type="http://schemas.openxmlformats.org/officeDocument/2006/relationships/image" Target="../media/image47.emf"/></Relationships>
</file>

<file path=ppt/slides/_rels/slide136.xml.rels><?xml version="1.0" encoding="UTF-8" standalone="yes"?>
<Relationships xmlns="http://schemas.openxmlformats.org/package/2006/relationships"><Relationship Id="rId3" Type="http://schemas.openxmlformats.org/officeDocument/2006/relationships/image" Target="../media/image318.png"/><Relationship Id="rId2" Type="http://schemas.openxmlformats.org/officeDocument/2006/relationships/notesSlide" Target="../notesSlides/notesSlide101.xml"/><Relationship Id="rId1" Type="http://schemas.openxmlformats.org/officeDocument/2006/relationships/slideLayout" Target="../slideLayouts/slideLayout138.xml"/><Relationship Id="rId6" Type="http://schemas.openxmlformats.org/officeDocument/2006/relationships/image" Target="../media/image47.emf"/><Relationship Id="rId5" Type="http://schemas.openxmlformats.org/officeDocument/2006/relationships/hyperlink" Target="http://www.rapidbbs.cn/" TargetMode="External"/><Relationship Id="rId4" Type="http://schemas.openxmlformats.org/officeDocument/2006/relationships/image" Target="../media/image319.png"/></Relationships>
</file>

<file path=ppt/slides/_rels/slide137.xml.rels><?xml version="1.0" encoding="UTF-8" standalone="yes"?>
<Relationships xmlns="http://schemas.openxmlformats.org/package/2006/relationships"><Relationship Id="rId8" Type="http://schemas.openxmlformats.org/officeDocument/2006/relationships/hyperlink" Target="http://www.rapidbbs.cn/" TargetMode="External"/><Relationship Id="rId3" Type="http://schemas.openxmlformats.org/officeDocument/2006/relationships/image" Target="../media/image320.png"/><Relationship Id="rId7" Type="http://schemas.openxmlformats.org/officeDocument/2006/relationships/image" Target="../media/image323.png"/><Relationship Id="rId2" Type="http://schemas.openxmlformats.org/officeDocument/2006/relationships/notesSlide" Target="../notesSlides/notesSlide102.xml"/><Relationship Id="rId1" Type="http://schemas.openxmlformats.org/officeDocument/2006/relationships/slideLayout" Target="../slideLayouts/slideLayout144.xml"/><Relationship Id="rId6" Type="http://schemas.openxmlformats.org/officeDocument/2006/relationships/image" Target="../media/image119.png"/><Relationship Id="rId5" Type="http://schemas.openxmlformats.org/officeDocument/2006/relationships/image" Target="../media/image322.png"/><Relationship Id="rId4" Type="http://schemas.openxmlformats.org/officeDocument/2006/relationships/image" Target="../media/image321.png"/><Relationship Id="rId9" Type="http://schemas.openxmlformats.org/officeDocument/2006/relationships/image" Target="../media/image47.emf"/></Relationships>
</file>

<file path=ppt/slides/_rels/slide138.xml.rels><?xml version="1.0" encoding="UTF-8" standalone="yes"?>
<Relationships xmlns="http://schemas.openxmlformats.org/package/2006/relationships"><Relationship Id="rId8" Type="http://schemas.openxmlformats.org/officeDocument/2006/relationships/tags" Target="../tags/tag163.xml"/><Relationship Id="rId13" Type="http://schemas.openxmlformats.org/officeDocument/2006/relationships/tags" Target="../tags/tag168.xml"/><Relationship Id="rId18" Type="http://schemas.openxmlformats.org/officeDocument/2006/relationships/tags" Target="../tags/tag173.xml"/><Relationship Id="rId26" Type="http://schemas.openxmlformats.org/officeDocument/2006/relationships/image" Target="../media/image322.png"/><Relationship Id="rId3" Type="http://schemas.openxmlformats.org/officeDocument/2006/relationships/tags" Target="../tags/tag158.xml"/><Relationship Id="rId21" Type="http://schemas.openxmlformats.org/officeDocument/2006/relationships/slideLayout" Target="../slideLayouts/slideLayout134.xml"/><Relationship Id="rId34" Type="http://schemas.openxmlformats.org/officeDocument/2006/relationships/hyperlink" Target="http://www.rapidbbs.cn/" TargetMode="External"/><Relationship Id="rId7" Type="http://schemas.openxmlformats.org/officeDocument/2006/relationships/tags" Target="../tags/tag162.xml"/><Relationship Id="rId12" Type="http://schemas.openxmlformats.org/officeDocument/2006/relationships/tags" Target="../tags/tag167.xml"/><Relationship Id="rId17" Type="http://schemas.openxmlformats.org/officeDocument/2006/relationships/tags" Target="../tags/tag172.xml"/><Relationship Id="rId25" Type="http://schemas.openxmlformats.org/officeDocument/2006/relationships/image" Target="../media/image324.png"/><Relationship Id="rId33" Type="http://schemas.microsoft.com/office/2007/relationships/hdphoto" Target="../media/hdphoto41.wdp"/><Relationship Id="rId2" Type="http://schemas.openxmlformats.org/officeDocument/2006/relationships/tags" Target="../tags/tag157.xml"/><Relationship Id="rId16" Type="http://schemas.openxmlformats.org/officeDocument/2006/relationships/tags" Target="../tags/tag171.xml"/><Relationship Id="rId20" Type="http://schemas.openxmlformats.org/officeDocument/2006/relationships/tags" Target="../tags/tag175.xml"/><Relationship Id="rId29" Type="http://schemas.openxmlformats.org/officeDocument/2006/relationships/image" Target="../media/image179.png"/><Relationship Id="rId1" Type="http://schemas.openxmlformats.org/officeDocument/2006/relationships/vmlDrawing" Target="../drawings/vmlDrawing8.vml"/><Relationship Id="rId6" Type="http://schemas.openxmlformats.org/officeDocument/2006/relationships/tags" Target="../tags/tag161.xml"/><Relationship Id="rId11" Type="http://schemas.openxmlformats.org/officeDocument/2006/relationships/tags" Target="../tags/tag166.xml"/><Relationship Id="rId24" Type="http://schemas.openxmlformats.org/officeDocument/2006/relationships/image" Target="../media/image19.emf"/><Relationship Id="rId32" Type="http://schemas.openxmlformats.org/officeDocument/2006/relationships/image" Target="../media/image327.png"/><Relationship Id="rId5" Type="http://schemas.openxmlformats.org/officeDocument/2006/relationships/tags" Target="../tags/tag160.xml"/><Relationship Id="rId15" Type="http://schemas.openxmlformats.org/officeDocument/2006/relationships/tags" Target="../tags/tag170.xml"/><Relationship Id="rId23" Type="http://schemas.openxmlformats.org/officeDocument/2006/relationships/oleObject" Target="../embeddings/oleObject8.bin"/><Relationship Id="rId28" Type="http://schemas.microsoft.com/office/2007/relationships/hdphoto" Target="../media/hdphoto40.wdp"/><Relationship Id="rId10" Type="http://schemas.openxmlformats.org/officeDocument/2006/relationships/tags" Target="../tags/tag165.xml"/><Relationship Id="rId19" Type="http://schemas.openxmlformats.org/officeDocument/2006/relationships/tags" Target="../tags/tag174.xml"/><Relationship Id="rId31" Type="http://schemas.openxmlformats.org/officeDocument/2006/relationships/image" Target="../media/image326.png"/><Relationship Id="rId4" Type="http://schemas.openxmlformats.org/officeDocument/2006/relationships/tags" Target="../tags/tag159.xml"/><Relationship Id="rId9" Type="http://schemas.openxmlformats.org/officeDocument/2006/relationships/tags" Target="../tags/tag164.xml"/><Relationship Id="rId14" Type="http://schemas.openxmlformats.org/officeDocument/2006/relationships/tags" Target="../tags/tag169.xml"/><Relationship Id="rId22" Type="http://schemas.openxmlformats.org/officeDocument/2006/relationships/notesSlide" Target="../notesSlides/notesSlide103.xml"/><Relationship Id="rId27" Type="http://schemas.openxmlformats.org/officeDocument/2006/relationships/image" Target="../media/image325.png"/><Relationship Id="rId30" Type="http://schemas.microsoft.com/office/2007/relationships/hdphoto" Target="../media/hdphoto24.wdp"/><Relationship Id="rId35" Type="http://schemas.openxmlformats.org/officeDocument/2006/relationships/image" Target="../media/image47.emf"/></Relationships>
</file>

<file path=ppt/slides/_rels/slide139.xml.rels><?xml version="1.0" encoding="UTF-8" standalone="yes"?>
<Relationships xmlns="http://schemas.openxmlformats.org/package/2006/relationships"><Relationship Id="rId8" Type="http://schemas.openxmlformats.org/officeDocument/2006/relationships/tags" Target="../tags/tag182.xml"/><Relationship Id="rId13" Type="http://schemas.openxmlformats.org/officeDocument/2006/relationships/tags" Target="../tags/tag187.xml"/><Relationship Id="rId18" Type="http://schemas.openxmlformats.org/officeDocument/2006/relationships/tags" Target="../tags/tag192.xml"/><Relationship Id="rId26" Type="http://schemas.openxmlformats.org/officeDocument/2006/relationships/image" Target="../media/image124.png"/><Relationship Id="rId3" Type="http://schemas.openxmlformats.org/officeDocument/2006/relationships/tags" Target="../tags/tag177.xml"/><Relationship Id="rId21" Type="http://schemas.openxmlformats.org/officeDocument/2006/relationships/tags" Target="../tags/tag195.xml"/><Relationship Id="rId34" Type="http://schemas.openxmlformats.org/officeDocument/2006/relationships/image" Target="../media/image47.emf"/><Relationship Id="rId7" Type="http://schemas.openxmlformats.org/officeDocument/2006/relationships/tags" Target="../tags/tag181.xml"/><Relationship Id="rId12" Type="http://schemas.openxmlformats.org/officeDocument/2006/relationships/tags" Target="../tags/tag186.xml"/><Relationship Id="rId17" Type="http://schemas.openxmlformats.org/officeDocument/2006/relationships/tags" Target="../tags/tag191.xml"/><Relationship Id="rId25" Type="http://schemas.openxmlformats.org/officeDocument/2006/relationships/image" Target="../media/image19.emf"/><Relationship Id="rId33" Type="http://schemas.openxmlformats.org/officeDocument/2006/relationships/hyperlink" Target="http://www.rapidbbs.cn/" TargetMode="External"/><Relationship Id="rId2" Type="http://schemas.openxmlformats.org/officeDocument/2006/relationships/tags" Target="../tags/tag176.xml"/><Relationship Id="rId16" Type="http://schemas.openxmlformats.org/officeDocument/2006/relationships/tags" Target="../tags/tag190.xml"/><Relationship Id="rId20" Type="http://schemas.openxmlformats.org/officeDocument/2006/relationships/tags" Target="../tags/tag194.xml"/><Relationship Id="rId29" Type="http://schemas.openxmlformats.org/officeDocument/2006/relationships/image" Target="../media/image329.png"/><Relationship Id="rId1" Type="http://schemas.openxmlformats.org/officeDocument/2006/relationships/vmlDrawing" Target="../drawings/vmlDrawing9.vml"/><Relationship Id="rId6" Type="http://schemas.openxmlformats.org/officeDocument/2006/relationships/tags" Target="../tags/tag180.xml"/><Relationship Id="rId11" Type="http://schemas.openxmlformats.org/officeDocument/2006/relationships/tags" Target="../tags/tag185.xml"/><Relationship Id="rId24" Type="http://schemas.openxmlformats.org/officeDocument/2006/relationships/oleObject" Target="../embeddings/oleObject9.bin"/><Relationship Id="rId32" Type="http://schemas.openxmlformats.org/officeDocument/2006/relationships/image" Target="../media/image1.png"/><Relationship Id="rId5" Type="http://schemas.openxmlformats.org/officeDocument/2006/relationships/tags" Target="../tags/tag179.xml"/><Relationship Id="rId15" Type="http://schemas.openxmlformats.org/officeDocument/2006/relationships/tags" Target="../tags/tag189.xml"/><Relationship Id="rId23" Type="http://schemas.openxmlformats.org/officeDocument/2006/relationships/notesSlide" Target="../notesSlides/notesSlide104.xml"/><Relationship Id="rId28" Type="http://schemas.openxmlformats.org/officeDocument/2006/relationships/image" Target="../media/image119.png"/><Relationship Id="rId10" Type="http://schemas.openxmlformats.org/officeDocument/2006/relationships/tags" Target="../tags/tag184.xml"/><Relationship Id="rId19" Type="http://schemas.openxmlformats.org/officeDocument/2006/relationships/tags" Target="../tags/tag193.xml"/><Relationship Id="rId31" Type="http://schemas.openxmlformats.org/officeDocument/2006/relationships/image" Target="../media/image330.png"/><Relationship Id="rId4" Type="http://schemas.openxmlformats.org/officeDocument/2006/relationships/tags" Target="../tags/tag178.xml"/><Relationship Id="rId9" Type="http://schemas.openxmlformats.org/officeDocument/2006/relationships/tags" Target="../tags/tag183.xml"/><Relationship Id="rId14" Type="http://schemas.openxmlformats.org/officeDocument/2006/relationships/tags" Target="../tags/tag188.xml"/><Relationship Id="rId22" Type="http://schemas.openxmlformats.org/officeDocument/2006/relationships/slideLayout" Target="../slideLayouts/slideLayout138.xml"/><Relationship Id="rId27" Type="http://schemas.openxmlformats.org/officeDocument/2006/relationships/image" Target="../media/image328.png"/><Relationship Id="rId30" Type="http://schemas.openxmlformats.org/officeDocument/2006/relationships/image" Target="../media/image203.png"/></Relationships>
</file>

<file path=ppt/slides/_rels/slide14.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openxmlformats.org/officeDocument/2006/relationships/image" Target="../media/image47.emf"/></Relationships>
</file>

<file path=ppt/slides/_rels/slide140.xml.rels><?xml version="1.0" encoding="UTF-8" standalone="yes"?>
<Relationships xmlns="http://schemas.openxmlformats.org/package/2006/relationships"><Relationship Id="rId8" Type="http://schemas.openxmlformats.org/officeDocument/2006/relationships/image" Target="../media/image47.emf"/><Relationship Id="rId3" Type="http://schemas.openxmlformats.org/officeDocument/2006/relationships/notesSlide" Target="../notesSlides/notesSlide105.xml"/><Relationship Id="rId7" Type="http://schemas.openxmlformats.org/officeDocument/2006/relationships/hyperlink" Target="http://www.rapidbbs.cn/" TargetMode="External"/><Relationship Id="rId2" Type="http://schemas.openxmlformats.org/officeDocument/2006/relationships/slideLayout" Target="../slideLayouts/slideLayout135.xml"/><Relationship Id="rId1" Type="http://schemas.openxmlformats.org/officeDocument/2006/relationships/tags" Target="../tags/tag196.xml"/><Relationship Id="rId6" Type="http://schemas.openxmlformats.org/officeDocument/2006/relationships/image" Target="../media/image332.png"/><Relationship Id="rId5" Type="http://schemas.microsoft.com/office/2007/relationships/hdphoto" Target="../media/hdphoto42.wdp"/><Relationship Id="rId4" Type="http://schemas.openxmlformats.org/officeDocument/2006/relationships/image" Target="../media/image331.png"/></Relationships>
</file>

<file path=ppt/slides/_rels/slide141.xml.rels><?xml version="1.0" encoding="UTF-8" standalone="yes"?>
<Relationships xmlns="http://schemas.openxmlformats.org/package/2006/relationships"><Relationship Id="rId8" Type="http://schemas.openxmlformats.org/officeDocument/2006/relationships/image" Target="../media/image336.png"/><Relationship Id="rId13" Type="http://schemas.openxmlformats.org/officeDocument/2006/relationships/image" Target="../media/image209.png"/><Relationship Id="rId18" Type="http://schemas.openxmlformats.org/officeDocument/2006/relationships/hyperlink" Target="http://www.rapidbbs.cn/" TargetMode="External"/><Relationship Id="rId3" Type="http://schemas.openxmlformats.org/officeDocument/2006/relationships/slideLayout" Target="../slideLayouts/slideLayout138.xml"/><Relationship Id="rId7" Type="http://schemas.openxmlformats.org/officeDocument/2006/relationships/image" Target="../media/image335.png"/><Relationship Id="rId12" Type="http://schemas.openxmlformats.org/officeDocument/2006/relationships/image" Target="../media/image339.png"/><Relationship Id="rId17" Type="http://schemas.openxmlformats.org/officeDocument/2006/relationships/image" Target="../media/image343.png"/><Relationship Id="rId2" Type="http://schemas.openxmlformats.org/officeDocument/2006/relationships/tags" Target="../tags/tag198.xml"/><Relationship Id="rId16" Type="http://schemas.openxmlformats.org/officeDocument/2006/relationships/image" Target="../media/image342.png"/><Relationship Id="rId1" Type="http://schemas.openxmlformats.org/officeDocument/2006/relationships/tags" Target="../tags/tag197.xml"/><Relationship Id="rId6" Type="http://schemas.openxmlformats.org/officeDocument/2006/relationships/image" Target="../media/image334.png"/><Relationship Id="rId11" Type="http://schemas.microsoft.com/office/2007/relationships/hdphoto" Target="../media/hdphoto43.wdp"/><Relationship Id="rId5" Type="http://schemas.openxmlformats.org/officeDocument/2006/relationships/image" Target="../media/image333.png"/><Relationship Id="rId15" Type="http://schemas.openxmlformats.org/officeDocument/2006/relationships/image" Target="../media/image341.png"/><Relationship Id="rId10" Type="http://schemas.openxmlformats.org/officeDocument/2006/relationships/image" Target="../media/image338.png"/><Relationship Id="rId19" Type="http://schemas.openxmlformats.org/officeDocument/2006/relationships/image" Target="../media/image47.emf"/><Relationship Id="rId4" Type="http://schemas.openxmlformats.org/officeDocument/2006/relationships/notesSlide" Target="../notesSlides/notesSlide106.xml"/><Relationship Id="rId9" Type="http://schemas.openxmlformats.org/officeDocument/2006/relationships/image" Target="../media/image337.png"/><Relationship Id="rId14" Type="http://schemas.openxmlformats.org/officeDocument/2006/relationships/image" Target="../media/image340.png"/></Relationships>
</file>

<file path=ppt/slides/_rels/slide142.xml.rels><?xml version="1.0" encoding="UTF-8" standalone="yes"?>
<Relationships xmlns="http://schemas.openxmlformats.org/package/2006/relationships"><Relationship Id="rId8" Type="http://schemas.openxmlformats.org/officeDocument/2006/relationships/image" Target="../media/image339.png"/><Relationship Id="rId13" Type="http://schemas.openxmlformats.org/officeDocument/2006/relationships/image" Target="../media/image335.png"/><Relationship Id="rId18" Type="http://schemas.openxmlformats.org/officeDocument/2006/relationships/hyperlink" Target="http://www.rapidbbs.cn/" TargetMode="External"/><Relationship Id="rId3" Type="http://schemas.openxmlformats.org/officeDocument/2006/relationships/slideLayout" Target="../slideLayouts/slideLayout138.xml"/><Relationship Id="rId7" Type="http://schemas.microsoft.com/office/2007/relationships/hdphoto" Target="../media/hdphoto43.wdp"/><Relationship Id="rId12" Type="http://schemas.openxmlformats.org/officeDocument/2006/relationships/image" Target="../media/image342.png"/><Relationship Id="rId17" Type="http://schemas.openxmlformats.org/officeDocument/2006/relationships/image" Target="../media/image340.png"/><Relationship Id="rId2" Type="http://schemas.openxmlformats.org/officeDocument/2006/relationships/tags" Target="../tags/tag200.xml"/><Relationship Id="rId16" Type="http://schemas.openxmlformats.org/officeDocument/2006/relationships/image" Target="../media/image209.png"/><Relationship Id="rId1" Type="http://schemas.openxmlformats.org/officeDocument/2006/relationships/tags" Target="../tags/tag199.xml"/><Relationship Id="rId6" Type="http://schemas.openxmlformats.org/officeDocument/2006/relationships/image" Target="../media/image338.png"/><Relationship Id="rId11" Type="http://schemas.openxmlformats.org/officeDocument/2006/relationships/image" Target="../media/image341.png"/><Relationship Id="rId5" Type="http://schemas.openxmlformats.org/officeDocument/2006/relationships/image" Target="../media/image337.png"/><Relationship Id="rId15" Type="http://schemas.openxmlformats.org/officeDocument/2006/relationships/image" Target="../media/image343.png"/><Relationship Id="rId10" Type="http://schemas.openxmlformats.org/officeDocument/2006/relationships/image" Target="../media/image344.png"/><Relationship Id="rId19" Type="http://schemas.openxmlformats.org/officeDocument/2006/relationships/image" Target="../media/image47.emf"/><Relationship Id="rId4" Type="http://schemas.openxmlformats.org/officeDocument/2006/relationships/notesSlide" Target="../notesSlides/notesSlide107.xml"/><Relationship Id="rId9" Type="http://schemas.openxmlformats.org/officeDocument/2006/relationships/image" Target="../media/image333.png"/><Relationship Id="rId14" Type="http://schemas.openxmlformats.org/officeDocument/2006/relationships/image" Target="../media/image345.png"/></Relationships>
</file>

<file path=ppt/slides/_rels/slide143.xml.rels><?xml version="1.0" encoding="UTF-8" standalone="yes"?>
<Relationships xmlns="http://schemas.openxmlformats.org/package/2006/relationships"><Relationship Id="rId8" Type="http://schemas.microsoft.com/office/2007/relationships/hdphoto" Target="../media/hdphoto43.wdp"/><Relationship Id="rId13" Type="http://schemas.openxmlformats.org/officeDocument/2006/relationships/image" Target="../media/image342.png"/><Relationship Id="rId18" Type="http://schemas.openxmlformats.org/officeDocument/2006/relationships/image" Target="../media/image340.png"/><Relationship Id="rId3" Type="http://schemas.openxmlformats.org/officeDocument/2006/relationships/slideLayout" Target="../slideLayouts/slideLayout138.xml"/><Relationship Id="rId7" Type="http://schemas.openxmlformats.org/officeDocument/2006/relationships/image" Target="../media/image338.png"/><Relationship Id="rId12" Type="http://schemas.openxmlformats.org/officeDocument/2006/relationships/image" Target="../media/image341.png"/><Relationship Id="rId17" Type="http://schemas.openxmlformats.org/officeDocument/2006/relationships/image" Target="../media/image209.png"/><Relationship Id="rId2" Type="http://schemas.openxmlformats.org/officeDocument/2006/relationships/tags" Target="../tags/tag202.xml"/><Relationship Id="rId16" Type="http://schemas.openxmlformats.org/officeDocument/2006/relationships/image" Target="../media/image343.png"/><Relationship Id="rId20" Type="http://schemas.openxmlformats.org/officeDocument/2006/relationships/image" Target="../media/image47.emf"/><Relationship Id="rId1" Type="http://schemas.openxmlformats.org/officeDocument/2006/relationships/tags" Target="../tags/tag201.xml"/><Relationship Id="rId6" Type="http://schemas.openxmlformats.org/officeDocument/2006/relationships/image" Target="../media/image337.png"/><Relationship Id="rId11" Type="http://schemas.openxmlformats.org/officeDocument/2006/relationships/image" Target="../media/image344.png"/><Relationship Id="rId5" Type="http://schemas.openxmlformats.org/officeDocument/2006/relationships/image" Target="../media/image346.png"/><Relationship Id="rId15" Type="http://schemas.openxmlformats.org/officeDocument/2006/relationships/image" Target="../media/image345.png"/><Relationship Id="rId10" Type="http://schemas.openxmlformats.org/officeDocument/2006/relationships/image" Target="../media/image333.png"/><Relationship Id="rId19" Type="http://schemas.openxmlformats.org/officeDocument/2006/relationships/hyperlink" Target="http://www.rapidbbs.cn/" TargetMode="External"/><Relationship Id="rId4" Type="http://schemas.openxmlformats.org/officeDocument/2006/relationships/notesSlide" Target="../notesSlides/notesSlide108.xml"/><Relationship Id="rId9" Type="http://schemas.openxmlformats.org/officeDocument/2006/relationships/image" Target="../media/image339.png"/><Relationship Id="rId14" Type="http://schemas.openxmlformats.org/officeDocument/2006/relationships/image" Target="../media/image335.png"/></Relationships>
</file>

<file path=ppt/slides/_rels/slide144.xml.rels><?xml version="1.0" encoding="UTF-8" standalone="yes"?>
<Relationships xmlns="http://schemas.openxmlformats.org/package/2006/relationships"><Relationship Id="rId8" Type="http://schemas.openxmlformats.org/officeDocument/2006/relationships/image" Target="../media/image338.png"/><Relationship Id="rId13" Type="http://schemas.openxmlformats.org/officeDocument/2006/relationships/image" Target="../media/image341.png"/><Relationship Id="rId18" Type="http://schemas.openxmlformats.org/officeDocument/2006/relationships/image" Target="../media/image209.png"/><Relationship Id="rId3" Type="http://schemas.openxmlformats.org/officeDocument/2006/relationships/tags" Target="../tags/tag205.xml"/><Relationship Id="rId21" Type="http://schemas.openxmlformats.org/officeDocument/2006/relationships/image" Target="../media/image47.emf"/><Relationship Id="rId7" Type="http://schemas.openxmlformats.org/officeDocument/2006/relationships/image" Target="../media/image337.png"/><Relationship Id="rId12" Type="http://schemas.openxmlformats.org/officeDocument/2006/relationships/image" Target="../media/image344.png"/><Relationship Id="rId17" Type="http://schemas.openxmlformats.org/officeDocument/2006/relationships/image" Target="../media/image343.png"/><Relationship Id="rId2" Type="http://schemas.openxmlformats.org/officeDocument/2006/relationships/tags" Target="../tags/tag204.xml"/><Relationship Id="rId16" Type="http://schemas.openxmlformats.org/officeDocument/2006/relationships/image" Target="../media/image345.png"/><Relationship Id="rId20" Type="http://schemas.openxmlformats.org/officeDocument/2006/relationships/hyperlink" Target="http://www.rapidbbs.cn/" TargetMode="External"/><Relationship Id="rId1" Type="http://schemas.openxmlformats.org/officeDocument/2006/relationships/tags" Target="../tags/tag203.xml"/><Relationship Id="rId6" Type="http://schemas.openxmlformats.org/officeDocument/2006/relationships/image" Target="../media/image346.png"/><Relationship Id="rId11" Type="http://schemas.openxmlformats.org/officeDocument/2006/relationships/image" Target="../media/image333.png"/><Relationship Id="rId5" Type="http://schemas.openxmlformats.org/officeDocument/2006/relationships/notesSlide" Target="../notesSlides/notesSlide109.xml"/><Relationship Id="rId15" Type="http://schemas.openxmlformats.org/officeDocument/2006/relationships/image" Target="../media/image335.png"/><Relationship Id="rId10" Type="http://schemas.openxmlformats.org/officeDocument/2006/relationships/image" Target="../media/image339.png"/><Relationship Id="rId19" Type="http://schemas.openxmlformats.org/officeDocument/2006/relationships/image" Target="../media/image340.png"/><Relationship Id="rId4" Type="http://schemas.openxmlformats.org/officeDocument/2006/relationships/slideLayout" Target="../slideLayouts/slideLayout138.xml"/><Relationship Id="rId9" Type="http://schemas.microsoft.com/office/2007/relationships/hdphoto" Target="../media/hdphoto43.wdp"/><Relationship Id="rId14" Type="http://schemas.openxmlformats.org/officeDocument/2006/relationships/image" Target="../media/image342.png"/></Relationships>
</file>

<file path=ppt/slides/_rels/slide145.xml.rels><?xml version="1.0" encoding="UTF-8" standalone="yes"?>
<Relationships xmlns="http://schemas.openxmlformats.org/package/2006/relationships"><Relationship Id="rId8" Type="http://schemas.microsoft.com/office/2007/relationships/hdphoto" Target="../media/hdphoto43.wdp"/><Relationship Id="rId13" Type="http://schemas.openxmlformats.org/officeDocument/2006/relationships/image" Target="../media/image342.png"/><Relationship Id="rId18" Type="http://schemas.openxmlformats.org/officeDocument/2006/relationships/image" Target="../media/image340.png"/><Relationship Id="rId3" Type="http://schemas.openxmlformats.org/officeDocument/2006/relationships/slideLayout" Target="../slideLayouts/slideLayout138.xml"/><Relationship Id="rId7" Type="http://schemas.openxmlformats.org/officeDocument/2006/relationships/image" Target="../media/image338.png"/><Relationship Id="rId12" Type="http://schemas.openxmlformats.org/officeDocument/2006/relationships/image" Target="../media/image341.png"/><Relationship Id="rId17" Type="http://schemas.openxmlformats.org/officeDocument/2006/relationships/image" Target="../media/image209.png"/><Relationship Id="rId2" Type="http://schemas.openxmlformats.org/officeDocument/2006/relationships/tags" Target="../tags/tag207.xml"/><Relationship Id="rId16" Type="http://schemas.openxmlformats.org/officeDocument/2006/relationships/image" Target="../media/image343.png"/><Relationship Id="rId20" Type="http://schemas.openxmlformats.org/officeDocument/2006/relationships/image" Target="../media/image47.emf"/><Relationship Id="rId1" Type="http://schemas.openxmlformats.org/officeDocument/2006/relationships/tags" Target="../tags/tag206.xml"/><Relationship Id="rId6" Type="http://schemas.openxmlformats.org/officeDocument/2006/relationships/image" Target="../media/image337.png"/><Relationship Id="rId11" Type="http://schemas.openxmlformats.org/officeDocument/2006/relationships/image" Target="../media/image344.png"/><Relationship Id="rId5" Type="http://schemas.openxmlformats.org/officeDocument/2006/relationships/image" Target="../media/image346.png"/><Relationship Id="rId15" Type="http://schemas.openxmlformats.org/officeDocument/2006/relationships/image" Target="../media/image345.png"/><Relationship Id="rId10" Type="http://schemas.openxmlformats.org/officeDocument/2006/relationships/image" Target="../media/image333.png"/><Relationship Id="rId19" Type="http://schemas.openxmlformats.org/officeDocument/2006/relationships/hyperlink" Target="http://www.rapidbbs.cn/" TargetMode="External"/><Relationship Id="rId4" Type="http://schemas.openxmlformats.org/officeDocument/2006/relationships/notesSlide" Target="../notesSlides/notesSlide110.xml"/><Relationship Id="rId9" Type="http://schemas.openxmlformats.org/officeDocument/2006/relationships/image" Target="../media/image339.png"/><Relationship Id="rId14" Type="http://schemas.openxmlformats.org/officeDocument/2006/relationships/image" Target="../media/image335.png"/></Relationships>
</file>

<file path=ppt/slides/_rels/slide146.xml.rels><?xml version="1.0" encoding="UTF-8" standalone="yes"?>
<Relationships xmlns="http://schemas.openxmlformats.org/package/2006/relationships"><Relationship Id="rId8" Type="http://schemas.microsoft.com/office/2007/relationships/hdphoto" Target="../media/hdphoto43.wdp"/><Relationship Id="rId13" Type="http://schemas.openxmlformats.org/officeDocument/2006/relationships/image" Target="../media/image342.png"/><Relationship Id="rId18" Type="http://schemas.openxmlformats.org/officeDocument/2006/relationships/image" Target="../media/image340.png"/><Relationship Id="rId3" Type="http://schemas.openxmlformats.org/officeDocument/2006/relationships/slideLayout" Target="../slideLayouts/slideLayout138.xml"/><Relationship Id="rId7" Type="http://schemas.openxmlformats.org/officeDocument/2006/relationships/image" Target="../media/image338.png"/><Relationship Id="rId12" Type="http://schemas.openxmlformats.org/officeDocument/2006/relationships/image" Target="../media/image341.png"/><Relationship Id="rId17" Type="http://schemas.openxmlformats.org/officeDocument/2006/relationships/image" Target="../media/image209.png"/><Relationship Id="rId2" Type="http://schemas.openxmlformats.org/officeDocument/2006/relationships/tags" Target="../tags/tag209.xml"/><Relationship Id="rId16" Type="http://schemas.openxmlformats.org/officeDocument/2006/relationships/image" Target="../media/image343.png"/><Relationship Id="rId20" Type="http://schemas.openxmlformats.org/officeDocument/2006/relationships/image" Target="../media/image47.emf"/><Relationship Id="rId1" Type="http://schemas.openxmlformats.org/officeDocument/2006/relationships/tags" Target="../tags/tag208.xml"/><Relationship Id="rId6" Type="http://schemas.openxmlformats.org/officeDocument/2006/relationships/image" Target="../media/image337.png"/><Relationship Id="rId11" Type="http://schemas.openxmlformats.org/officeDocument/2006/relationships/image" Target="../media/image344.png"/><Relationship Id="rId5" Type="http://schemas.openxmlformats.org/officeDocument/2006/relationships/image" Target="../media/image346.png"/><Relationship Id="rId15" Type="http://schemas.openxmlformats.org/officeDocument/2006/relationships/image" Target="../media/image345.png"/><Relationship Id="rId10" Type="http://schemas.openxmlformats.org/officeDocument/2006/relationships/image" Target="../media/image333.png"/><Relationship Id="rId19" Type="http://schemas.openxmlformats.org/officeDocument/2006/relationships/hyperlink" Target="http://www.rapidbbs.cn/" TargetMode="External"/><Relationship Id="rId4" Type="http://schemas.openxmlformats.org/officeDocument/2006/relationships/notesSlide" Target="../notesSlides/notesSlide111.xml"/><Relationship Id="rId9" Type="http://schemas.openxmlformats.org/officeDocument/2006/relationships/image" Target="../media/image339.png"/><Relationship Id="rId14" Type="http://schemas.openxmlformats.org/officeDocument/2006/relationships/image" Target="../media/image335.png"/></Relationships>
</file>

<file path=ppt/slides/_rels/slide147.xml.rels><?xml version="1.0" encoding="UTF-8" standalone="yes"?>
<Relationships xmlns="http://schemas.openxmlformats.org/package/2006/relationships"><Relationship Id="rId8" Type="http://schemas.openxmlformats.org/officeDocument/2006/relationships/image" Target="../media/image338.png"/><Relationship Id="rId13" Type="http://schemas.openxmlformats.org/officeDocument/2006/relationships/image" Target="../media/image341.png"/><Relationship Id="rId18" Type="http://schemas.openxmlformats.org/officeDocument/2006/relationships/image" Target="../media/image209.png"/><Relationship Id="rId3" Type="http://schemas.openxmlformats.org/officeDocument/2006/relationships/tags" Target="../tags/tag212.xml"/><Relationship Id="rId21" Type="http://schemas.openxmlformats.org/officeDocument/2006/relationships/image" Target="../media/image47.emf"/><Relationship Id="rId7" Type="http://schemas.openxmlformats.org/officeDocument/2006/relationships/image" Target="../media/image337.png"/><Relationship Id="rId12" Type="http://schemas.openxmlformats.org/officeDocument/2006/relationships/image" Target="../media/image344.png"/><Relationship Id="rId17" Type="http://schemas.openxmlformats.org/officeDocument/2006/relationships/image" Target="../media/image343.png"/><Relationship Id="rId2" Type="http://schemas.openxmlformats.org/officeDocument/2006/relationships/tags" Target="../tags/tag211.xml"/><Relationship Id="rId16" Type="http://schemas.openxmlformats.org/officeDocument/2006/relationships/image" Target="../media/image345.png"/><Relationship Id="rId20" Type="http://schemas.openxmlformats.org/officeDocument/2006/relationships/hyperlink" Target="http://www.rapidbbs.cn/" TargetMode="External"/><Relationship Id="rId1" Type="http://schemas.openxmlformats.org/officeDocument/2006/relationships/tags" Target="../tags/tag210.xml"/><Relationship Id="rId6" Type="http://schemas.openxmlformats.org/officeDocument/2006/relationships/image" Target="../media/image346.png"/><Relationship Id="rId11" Type="http://schemas.openxmlformats.org/officeDocument/2006/relationships/image" Target="../media/image333.png"/><Relationship Id="rId5" Type="http://schemas.openxmlformats.org/officeDocument/2006/relationships/notesSlide" Target="../notesSlides/notesSlide112.xml"/><Relationship Id="rId15" Type="http://schemas.openxmlformats.org/officeDocument/2006/relationships/image" Target="../media/image335.png"/><Relationship Id="rId10" Type="http://schemas.openxmlformats.org/officeDocument/2006/relationships/image" Target="../media/image339.png"/><Relationship Id="rId19" Type="http://schemas.openxmlformats.org/officeDocument/2006/relationships/image" Target="../media/image340.png"/><Relationship Id="rId4" Type="http://schemas.openxmlformats.org/officeDocument/2006/relationships/slideLayout" Target="../slideLayouts/slideLayout138.xml"/><Relationship Id="rId9" Type="http://schemas.microsoft.com/office/2007/relationships/hdphoto" Target="../media/hdphoto43.wdp"/><Relationship Id="rId14" Type="http://schemas.openxmlformats.org/officeDocument/2006/relationships/image" Target="../media/image342.png"/></Relationships>
</file>

<file path=ppt/slides/_rels/slide148.xml.rels><?xml version="1.0" encoding="UTF-8" standalone="yes"?>
<Relationships xmlns="http://schemas.openxmlformats.org/package/2006/relationships"><Relationship Id="rId8" Type="http://schemas.microsoft.com/office/2007/relationships/hdphoto" Target="../media/hdphoto43.wdp"/><Relationship Id="rId13" Type="http://schemas.openxmlformats.org/officeDocument/2006/relationships/image" Target="../media/image342.png"/><Relationship Id="rId18" Type="http://schemas.openxmlformats.org/officeDocument/2006/relationships/image" Target="../media/image340.png"/><Relationship Id="rId3" Type="http://schemas.openxmlformats.org/officeDocument/2006/relationships/slideLayout" Target="../slideLayouts/slideLayout138.xml"/><Relationship Id="rId7" Type="http://schemas.openxmlformats.org/officeDocument/2006/relationships/image" Target="../media/image338.png"/><Relationship Id="rId12" Type="http://schemas.openxmlformats.org/officeDocument/2006/relationships/image" Target="../media/image341.png"/><Relationship Id="rId17" Type="http://schemas.openxmlformats.org/officeDocument/2006/relationships/image" Target="../media/image209.png"/><Relationship Id="rId2" Type="http://schemas.openxmlformats.org/officeDocument/2006/relationships/tags" Target="../tags/tag214.xml"/><Relationship Id="rId16" Type="http://schemas.openxmlformats.org/officeDocument/2006/relationships/image" Target="../media/image343.png"/><Relationship Id="rId20" Type="http://schemas.openxmlformats.org/officeDocument/2006/relationships/image" Target="../media/image47.emf"/><Relationship Id="rId1" Type="http://schemas.openxmlformats.org/officeDocument/2006/relationships/tags" Target="../tags/tag213.xml"/><Relationship Id="rId6" Type="http://schemas.openxmlformats.org/officeDocument/2006/relationships/image" Target="../media/image337.png"/><Relationship Id="rId11" Type="http://schemas.openxmlformats.org/officeDocument/2006/relationships/image" Target="../media/image344.png"/><Relationship Id="rId5" Type="http://schemas.openxmlformats.org/officeDocument/2006/relationships/image" Target="../media/image346.png"/><Relationship Id="rId15" Type="http://schemas.openxmlformats.org/officeDocument/2006/relationships/image" Target="../media/image345.png"/><Relationship Id="rId10" Type="http://schemas.openxmlformats.org/officeDocument/2006/relationships/image" Target="../media/image333.png"/><Relationship Id="rId19" Type="http://schemas.openxmlformats.org/officeDocument/2006/relationships/hyperlink" Target="http://www.rapidbbs.cn/" TargetMode="External"/><Relationship Id="rId4" Type="http://schemas.openxmlformats.org/officeDocument/2006/relationships/notesSlide" Target="../notesSlides/notesSlide113.xml"/><Relationship Id="rId9" Type="http://schemas.openxmlformats.org/officeDocument/2006/relationships/image" Target="../media/image339.png"/><Relationship Id="rId14" Type="http://schemas.openxmlformats.org/officeDocument/2006/relationships/image" Target="../media/image335.png"/></Relationships>
</file>

<file path=ppt/slides/_rels/slide149.xml.rels><?xml version="1.0" encoding="UTF-8" standalone="yes"?>
<Relationships xmlns="http://schemas.openxmlformats.org/package/2006/relationships"><Relationship Id="rId8" Type="http://schemas.openxmlformats.org/officeDocument/2006/relationships/image" Target="../media/image339.png"/><Relationship Id="rId13" Type="http://schemas.openxmlformats.org/officeDocument/2006/relationships/image" Target="../media/image335.png"/><Relationship Id="rId18" Type="http://schemas.openxmlformats.org/officeDocument/2006/relationships/hyperlink" Target="http://www.rapidbbs.cn/" TargetMode="External"/><Relationship Id="rId3" Type="http://schemas.openxmlformats.org/officeDocument/2006/relationships/slideLayout" Target="../slideLayouts/slideLayout138.xml"/><Relationship Id="rId7" Type="http://schemas.openxmlformats.org/officeDocument/2006/relationships/image" Target="../media/image337.png"/><Relationship Id="rId12" Type="http://schemas.openxmlformats.org/officeDocument/2006/relationships/image" Target="../media/image342.png"/><Relationship Id="rId17" Type="http://schemas.openxmlformats.org/officeDocument/2006/relationships/image" Target="../media/image340.png"/><Relationship Id="rId2" Type="http://schemas.openxmlformats.org/officeDocument/2006/relationships/tags" Target="../tags/tag216.xml"/><Relationship Id="rId16" Type="http://schemas.openxmlformats.org/officeDocument/2006/relationships/image" Target="../media/image209.png"/><Relationship Id="rId1" Type="http://schemas.openxmlformats.org/officeDocument/2006/relationships/tags" Target="../tags/tag215.xml"/><Relationship Id="rId6" Type="http://schemas.microsoft.com/office/2007/relationships/hdphoto" Target="../media/hdphoto43.wdp"/><Relationship Id="rId11" Type="http://schemas.openxmlformats.org/officeDocument/2006/relationships/image" Target="../media/image341.png"/><Relationship Id="rId5" Type="http://schemas.openxmlformats.org/officeDocument/2006/relationships/image" Target="../media/image338.png"/><Relationship Id="rId15" Type="http://schemas.openxmlformats.org/officeDocument/2006/relationships/image" Target="../media/image343.png"/><Relationship Id="rId10" Type="http://schemas.openxmlformats.org/officeDocument/2006/relationships/image" Target="../media/image344.png"/><Relationship Id="rId19" Type="http://schemas.openxmlformats.org/officeDocument/2006/relationships/image" Target="../media/image47.emf"/><Relationship Id="rId4" Type="http://schemas.openxmlformats.org/officeDocument/2006/relationships/notesSlide" Target="../notesSlides/notesSlide114.xml"/><Relationship Id="rId9" Type="http://schemas.openxmlformats.org/officeDocument/2006/relationships/image" Target="../media/image333.png"/><Relationship Id="rId14" Type="http://schemas.openxmlformats.org/officeDocument/2006/relationships/image" Target="../media/image345.png"/></Relationships>
</file>

<file path=ppt/slides/_rels/slide15.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image" Target="../media/image58.wmf"/><Relationship Id="rId18" Type="http://schemas.openxmlformats.org/officeDocument/2006/relationships/image" Target="../media/image63.wmf"/><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image" Target="../media/image57.wmf"/><Relationship Id="rId17" Type="http://schemas.openxmlformats.org/officeDocument/2006/relationships/image" Target="../media/image62.wmf"/><Relationship Id="rId2" Type="http://schemas.openxmlformats.org/officeDocument/2006/relationships/tags" Target="../tags/tag6.xml"/><Relationship Id="rId16" Type="http://schemas.openxmlformats.org/officeDocument/2006/relationships/image" Target="../media/image61.wmf"/><Relationship Id="rId20" Type="http://schemas.openxmlformats.org/officeDocument/2006/relationships/image" Target="../media/image47.emf"/><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image" Target="../media/image56.wmf"/><Relationship Id="rId5" Type="http://schemas.openxmlformats.org/officeDocument/2006/relationships/tags" Target="../tags/tag9.xml"/><Relationship Id="rId15" Type="http://schemas.openxmlformats.org/officeDocument/2006/relationships/image" Target="../media/image60.wmf"/><Relationship Id="rId10" Type="http://schemas.openxmlformats.org/officeDocument/2006/relationships/notesSlide" Target="../notesSlides/notesSlide15.xml"/><Relationship Id="rId19" Type="http://schemas.openxmlformats.org/officeDocument/2006/relationships/hyperlink" Target="http://www.rapidbbs.cn/" TargetMode="External"/><Relationship Id="rId4" Type="http://schemas.openxmlformats.org/officeDocument/2006/relationships/tags" Target="../tags/tag8.xml"/><Relationship Id="rId9" Type="http://schemas.openxmlformats.org/officeDocument/2006/relationships/slideLayout" Target="../slideLayouts/slideLayout12.xml"/><Relationship Id="rId14" Type="http://schemas.openxmlformats.org/officeDocument/2006/relationships/image" Target="../media/image59.wmf"/></Relationships>
</file>

<file path=ppt/slides/_rels/slide150.xml.rels><?xml version="1.0" encoding="UTF-8" standalone="yes"?>
<Relationships xmlns="http://schemas.openxmlformats.org/package/2006/relationships"><Relationship Id="rId8" Type="http://schemas.openxmlformats.org/officeDocument/2006/relationships/image" Target="../media/image339.png"/><Relationship Id="rId13" Type="http://schemas.openxmlformats.org/officeDocument/2006/relationships/image" Target="../media/image335.png"/><Relationship Id="rId18" Type="http://schemas.openxmlformats.org/officeDocument/2006/relationships/hyperlink" Target="http://www.rapidbbs.cn/" TargetMode="External"/><Relationship Id="rId3" Type="http://schemas.openxmlformats.org/officeDocument/2006/relationships/slideLayout" Target="../slideLayouts/slideLayout138.xml"/><Relationship Id="rId7" Type="http://schemas.microsoft.com/office/2007/relationships/hdphoto" Target="../media/hdphoto43.wdp"/><Relationship Id="rId12" Type="http://schemas.openxmlformats.org/officeDocument/2006/relationships/image" Target="../media/image342.png"/><Relationship Id="rId17" Type="http://schemas.openxmlformats.org/officeDocument/2006/relationships/image" Target="../media/image340.png"/><Relationship Id="rId2" Type="http://schemas.openxmlformats.org/officeDocument/2006/relationships/tags" Target="../tags/tag218.xml"/><Relationship Id="rId16" Type="http://schemas.openxmlformats.org/officeDocument/2006/relationships/image" Target="../media/image209.png"/><Relationship Id="rId1" Type="http://schemas.openxmlformats.org/officeDocument/2006/relationships/tags" Target="../tags/tag217.xml"/><Relationship Id="rId6" Type="http://schemas.openxmlformats.org/officeDocument/2006/relationships/image" Target="../media/image338.png"/><Relationship Id="rId11" Type="http://schemas.openxmlformats.org/officeDocument/2006/relationships/image" Target="../media/image341.png"/><Relationship Id="rId5" Type="http://schemas.openxmlformats.org/officeDocument/2006/relationships/image" Target="../media/image337.png"/><Relationship Id="rId15" Type="http://schemas.openxmlformats.org/officeDocument/2006/relationships/image" Target="../media/image343.png"/><Relationship Id="rId10" Type="http://schemas.openxmlformats.org/officeDocument/2006/relationships/image" Target="../media/image334.png"/><Relationship Id="rId19" Type="http://schemas.openxmlformats.org/officeDocument/2006/relationships/image" Target="../media/image47.emf"/><Relationship Id="rId4" Type="http://schemas.openxmlformats.org/officeDocument/2006/relationships/notesSlide" Target="../notesSlides/notesSlide115.xml"/><Relationship Id="rId9" Type="http://schemas.openxmlformats.org/officeDocument/2006/relationships/image" Target="../media/image333.png"/><Relationship Id="rId14" Type="http://schemas.openxmlformats.org/officeDocument/2006/relationships/image" Target="../media/image336.png"/></Relationships>
</file>

<file path=ppt/slides/_rels/slide151.xml.rels><?xml version="1.0" encoding="UTF-8" standalone="yes"?>
<Relationships xmlns="http://schemas.openxmlformats.org/package/2006/relationships"><Relationship Id="rId8" Type="http://schemas.openxmlformats.org/officeDocument/2006/relationships/image" Target="../media/image339.png"/><Relationship Id="rId13" Type="http://schemas.openxmlformats.org/officeDocument/2006/relationships/image" Target="../media/image335.png"/><Relationship Id="rId18" Type="http://schemas.openxmlformats.org/officeDocument/2006/relationships/hyperlink" Target="http://www.rapidbbs.cn/" TargetMode="External"/><Relationship Id="rId3" Type="http://schemas.openxmlformats.org/officeDocument/2006/relationships/slideLayout" Target="../slideLayouts/slideLayout138.xml"/><Relationship Id="rId7" Type="http://schemas.microsoft.com/office/2007/relationships/hdphoto" Target="../media/hdphoto43.wdp"/><Relationship Id="rId12" Type="http://schemas.openxmlformats.org/officeDocument/2006/relationships/image" Target="../media/image342.png"/><Relationship Id="rId17" Type="http://schemas.openxmlformats.org/officeDocument/2006/relationships/image" Target="../media/image340.png"/><Relationship Id="rId2" Type="http://schemas.openxmlformats.org/officeDocument/2006/relationships/tags" Target="../tags/tag220.xml"/><Relationship Id="rId16" Type="http://schemas.openxmlformats.org/officeDocument/2006/relationships/image" Target="../media/image209.png"/><Relationship Id="rId1" Type="http://schemas.openxmlformats.org/officeDocument/2006/relationships/tags" Target="../tags/tag219.xml"/><Relationship Id="rId6" Type="http://schemas.openxmlformats.org/officeDocument/2006/relationships/image" Target="../media/image338.png"/><Relationship Id="rId11" Type="http://schemas.openxmlformats.org/officeDocument/2006/relationships/image" Target="../media/image341.png"/><Relationship Id="rId5" Type="http://schemas.openxmlformats.org/officeDocument/2006/relationships/image" Target="../media/image337.png"/><Relationship Id="rId15" Type="http://schemas.openxmlformats.org/officeDocument/2006/relationships/image" Target="../media/image343.png"/><Relationship Id="rId10" Type="http://schemas.openxmlformats.org/officeDocument/2006/relationships/image" Target="../media/image334.png"/><Relationship Id="rId19" Type="http://schemas.openxmlformats.org/officeDocument/2006/relationships/image" Target="../media/image47.emf"/><Relationship Id="rId4" Type="http://schemas.openxmlformats.org/officeDocument/2006/relationships/notesSlide" Target="../notesSlides/notesSlide116.xml"/><Relationship Id="rId9" Type="http://schemas.openxmlformats.org/officeDocument/2006/relationships/image" Target="../media/image333.png"/><Relationship Id="rId14" Type="http://schemas.openxmlformats.org/officeDocument/2006/relationships/image" Target="../media/image336.png"/></Relationships>
</file>

<file path=ppt/slides/_rels/slide152.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notesSlide" Target="../notesSlides/notesSlide117.xml"/><Relationship Id="rId1" Type="http://schemas.openxmlformats.org/officeDocument/2006/relationships/slideLayout" Target="../slideLayouts/slideLayout138.xml"/><Relationship Id="rId4" Type="http://schemas.openxmlformats.org/officeDocument/2006/relationships/image" Target="../media/image47.emf"/></Relationships>
</file>

<file path=ppt/slides/_rels/slide153.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hyperlink" Target="http://www.rapidbbs.cn/" TargetMode="External"/><Relationship Id="rId1" Type="http://schemas.openxmlformats.org/officeDocument/2006/relationships/slideLayout" Target="../slideLayouts/slideLayout138.xml"/></Relationships>
</file>

<file path=ppt/slides/_rels/slide154.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hyperlink" Target="http://www.rapidbbs.cn/" TargetMode="External"/><Relationship Id="rId1" Type="http://schemas.openxmlformats.org/officeDocument/2006/relationships/slideLayout" Target="../slideLayouts/slideLayout138.xml"/></Relationships>
</file>

<file path=ppt/slides/_rels/slide155.xml.rels><?xml version="1.0" encoding="UTF-8" standalone="yes"?>
<Relationships xmlns="http://schemas.openxmlformats.org/package/2006/relationships"><Relationship Id="rId8" Type="http://schemas.openxmlformats.org/officeDocument/2006/relationships/image" Target="../media/image339.png"/><Relationship Id="rId13" Type="http://schemas.openxmlformats.org/officeDocument/2006/relationships/image" Target="../media/image341.png"/><Relationship Id="rId18" Type="http://schemas.openxmlformats.org/officeDocument/2006/relationships/hyperlink" Target="http://www.rapidbbs.cn/" TargetMode="External"/><Relationship Id="rId3" Type="http://schemas.openxmlformats.org/officeDocument/2006/relationships/slideLayout" Target="../slideLayouts/slideLayout138.xml"/><Relationship Id="rId7" Type="http://schemas.microsoft.com/office/2007/relationships/hdphoto" Target="../media/hdphoto43.wdp"/><Relationship Id="rId12" Type="http://schemas.openxmlformats.org/officeDocument/2006/relationships/image" Target="../media/image345.png"/><Relationship Id="rId17" Type="http://schemas.openxmlformats.org/officeDocument/2006/relationships/image" Target="../media/image340.png"/><Relationship Id="rId2" Type="http://schemas.openxmlformats.org/officeDocument/2006/relationships/tags" Target="../tags/tag222.xml"/><Relationship Id="rId16" Type="http://schemas.openxmlformats.org/officeDocument/2006/relationships/image" Target="../media/image209.png"/><Relationship Id="rId1" Type="http://schemas.openxmlformats.org/officeDocument/2006/relationships/tags" Target="../tags/tag221.xml"/><Relationship Id="rId6" Type="http://schemas.openxmlformats.org/officeDocument/2006/relationships/image" Target="../media/image338.png"/><Relationship Id="rId11" Type="http://schemas.openxmlformats.org/officeDocument/2006/relationships/image" Target="../media/image335.png"/><Relationship Id="rId5" Type="http://schemas.openxmlformats.org/officeDocument/2006/relationships/image" Target="../media/image337.png"/><Relationship Id="rId15" Type="http://schemas.openxmlformats.org/officeDocument/2006/relationships/image" Target="../media/image343.png"/><Relationship Id="rId10" Type="http://schemas.openxmlformats.org/officeDocument/2006/relationships/image" Target="../media/image344.png"/><Relationship Id="rId19" Type="http://schemas.openxmlformats.org/officeDocument/2006/relationships/image" Target="../media/image47.emf"/><Relationship Id="rId4" Type="http://schemas.openxmlformats.org/officeDocument/2006/relationships/notesSlide" Target="../notesSlides/notesSlide118.xml"/><Relationship Id="rId9" Type="http://schemas.openxmlformats.org/officeDocument/2006/relationships/image" Target="../media/image333.png"/><Relationship Id="rId14" Type="http://schemas.openxmlformats.org/officeDocument/2006/relationships/image" Target="../media/image342.png"/></Relationships>
</file>

<file path=ppt/slides/_rels/slide15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19.xml"/><Relationship Id="rId1" Type="http://schemas.openxmlformats.org/officeDocument/2006/relationships/slideLayout" Target="../slideLayouts/slideLayout138.xml"/><Relationship Id="rId6" Type="http://schemas.openxmlformats.org/officeDocument/2006/relationships/image" Target="../media/image47.emf"/><Relationship Id="rId5" Type="http://schemas.openxmlformats.org/officeDocument/2006/relationships/hyperlink" Target="http://www.rapidbbs.cn/" TargetMode="External"/><Relationship Id="rId4" Type="http://schemas.openxmlformats.org/officeDocument/2006/relationships/image" Target="../media/image181.png"/></Relationships>
</file>

<file path=ppt/slides/_rels/slide157.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notesSlide" Target="../notesSlides/notesSlide120.xml"/><Relationship Id="rId7" Type="http://schemas.openxmlformats.org/officeDocument/2006/relationships/diagramColors" Target="../diagrams/colors3.xml"/><Relationship Id="rId2" Type="http://schemas.openxmlformats.org/officeDocument/2006/relationships/slideLayout" Target="../slideLayouts/slideLayout139.xml"/><Relationship Id="rId1" Type="http://schemas.openxmlformats.org/officeDocument/2006/relationships/tags" Target="../tags/tag223.xml"/><Relationship Id="rId6" Type="http://schemas.openxmlformats.org/officeDocument/2006/relationships/diagramQuickStyle" Target="../diagrams/quickStyle3.xml"/><Relationship Id="rId5" Type="http://schemas.openxmlformats.org/officeDocument/2006/relationships/diagramLayout" Target="../diagrams/layout3.xml"/><Relationship Id="rId10" Type="http://schemas.openxmlformats.org/officeDocument/2006/relationships/image" Target="../media/image47.emf"/><Relationship Id="rId4" Type="http://schemas.openxmlformats.org/officeDocument/2006/relationships/diagramData" Target="../diagrams/data3.xml"/><Relationship Id="rId9" Type="http://schemas.openxmlformats.org/officeDocument/2006/relationships/hyperlink" Target="http://www.rapidbbs.cn/" TargetMode="External"/></Relationships>
</file>

<file path=ppt/slides/_rels/slide158.xml.rels><?xml version="1.0" encoding="UTF-8" standalone="yes"?>
<Relationships xmlns="http://schemas.openxmlformats.org/package/2006/relationships"><Relationship Id="rId3" Type="http://schemas.openxmlformats.org/officeDocument/2006/relationships/notesSlide" Target="../notesSlides/notesSlide121.xml"/><Relationship Id="rId2" Type="http://schemas.openxmlformats.org/officeDocument/2006/relationships/slideLayout" Target="../slideLayouts/slideLayout139.xml"/><Relationship Id="rId1" Type="http://schemas.openxmlformats.org/officeDocument/2006/relationships/tags" Target="../tags/tag224.xml"/><Relationship Id="rId5" Type="http://schemas.openxmlformats.org/officeDocument/2006/relationships/image" Target="../media/image47.emf"/><Relationship Id="rId4" Type="http://schemas.openxmlformats.org/officeDocument/2006/relationships/hyperlink" Target="http://www.rapidbbs.cn/" TargetMode="External"/></Relationships>
</file>

<file path=ppt/slides/_rels/slide159.xml.rels><?xml version="1.0" encoding="UTF-8" standalone="yes"?>
<Relationships xmlns="http://schemas.openxmlformats.org/package/2006/relationships"><Relationship Id="rId3" Type="http://schemas.openxmlformats.org/officeDocument/2006/relationships/notesSlide" Target="../notesSlides/notesSlide122.xml"/><Relationship Id="rId2" Type="http://schemas.openxmlformats.org/officeDocument/2006/relationships/slideLayout" Target="../slideLayouts/slideLayout139.xml"/><Relationship Id="rId1" Type="http://schemas.openxmlformats.org/officeDocument/2006/relationships/tags" Target="../tags/tag225.xml"/><Relationship Id="rId5" Type="http://schemas.openxmlformats.org/officeDocument/2006/relationships/image" Target="../media/image47.emf"/><Relationship Id="rId4" Type="http://schemas.openxmlformats.org/officeDocument/2006/relationships/hyperlink" Target="http://www.rapidbbs.cn/" TargetMode="External"/></Relationships>
</file>

<file path=ppt/slides/_rels/slide16.xml.rels><?xml version="1.0" encoding="UTF-8" standalone="yes"?>
<Relationships xmlns="http://schemas.openxmlformats.org/package/2006/relationships"><Relationship Id="rId8" Type="http://schemas.openxmlformats.org/officeDocument/2006/relationships/hyperlink" Target="http://www.rapidbbs.cn/" TargetMode="External"/><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6.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47.emf"/></Relationships>
</file>

<file path=ppt/slides/_rels/slide160.xml.rels><?xml version="1.0" encoding="UTF-8" standalone="yes"?>
<Relationships xmlns="http://schemas.openxmlformats.org/package/2006/relationships"><Relationship Id="rId8" Type="http://schemas.openxmlformats.org/officeDocument/2006/relationships/hyperlink" Target="http://www.rapidbbs.cn/" TargetMode="External"/><Relationship Id="rId3" Type="http://schemas.openxmlformats.org/officeDocument/2006/relationships/image" Target="../media/image83.png"/><Relationship Id="rId7" Type="http://schemas.openxmlformats.org/officeDocument/2006/relationships/image" Target="../media/image350.emf"/><Relationship Id="rId2" Type="http://schemas.openxmlformats.org/officeDocument/2006/relationships/notesSlide" Target="../notesSlides/notesSlide123.xml"/><Relationship Id="rId1" Type="http://schemas.openxmlformats.org/officeDocument/2006/relationships/slideLayout" Target="../slideLayouts/slideLayout138.xml"/><Relationship Id="rId6" Type="http://schemas.openxmlformats.org/officeDocument/2006/relationships/image" Target="../media/image349.png"/><Relationship Id="rId5" Type="http://schemas.openxmlformats.org/officeDocument/2006/relationships/image" Target="../media/image348.png"/><Relationship Id="rId4" Type="http://schemas.openxmlformats.org/officeDocument/2006/relationships/image" Target="../media/image347.png"/><Relationship Id="rId9" Type="http://schemas.openxmlformats.org/officeDocument/2006/relationships/image" Target="../media/image47.emf"/></Relationships>
</file>

<file path=ppt/slides/_rels/slide161.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hyperlink" Target="http://www.rapidbbs.cn/" TargetMode="External"/><Relationship Id="rId1" Type="http://schemas.openxmlformats.org/officeDocument/2006/relationships/slideLayout" Target="../slideLayouts/slideLayout145.xml"/></Relationships>
</file>

<file path=ppt/slides/_rels/slide162.xml.rels><?xml version="1.0" encoding="UTF-8" standalone="yes"?>
<Relationships xmlns="http://schemas.openxmlformats.org/package/2006/relationships"><Relationship Id="rId3" Type="http://schemas.openxmlformats.org/officeDocument/2006/relationships/image" Target="../media/image352.png"/><Relationship Id="rId7" Type="http://schemas.openxmlformats.org/officeDocument/2006/relationships/image" Target="../media/image47.emf"/><Relationship Id="rId2" Type="http://schemas.openxmlformats.org/officeDocument/2006/relationships/image" Target="../media/image351.png"/><Relationship Id="rId1" Type="http://schemas.openxmlformats.org/officeDocument/2006/relationships/slideLayout" Target="../slideLayouts/slideLayout145.xml"/><Relationship Id="rId6" Type="http://schemas.openxmlformats.org/officeDocument/2006/relationships/hyperlink" Target="http://www.rapidbbs.cn/" TargetMode="External"/><Relationship Id="rId5" Type="http://schemas.openxmlformats.org/officeDocument/2006/relationships/image" Target="../media/image354.png"/><Relationship Id="rId4" Type="http://schemas.openxmlformats.org/officeDocument/2006/relationships/image" Target="../media/image353.tmp"/></Relationships>
</file>

<file path=ppt/slides/_rels/slide163.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hyperlink" Target="http://www.rapidbbs.cn/" TargetMode="External"/><Relationship Id="rId1" Type="http://schemas.openxmlformats.org/officeDocument/2006/relationships/slideLayout" Target="../slideLayouts/slideLayout145.xml"/></Relationships>
</file>

<file path=ppt/slides/_rels/slide164.xml.rels><?xml version="1.0" encoding="UTF-8" standalone="yes"?>
<Relationships xmlns="http://schemas.openxmlformats.org/package/2006/relationships"><Relationship Id="rId8" Type="http://schemas.openxmlformats.org/officeDocument/2006/relationships/image" Target="../media/image360.png"/><Relationship Id="rId13" Type="http://schemas.openxmlformats.org/officeDocument/2006/relationships/image" Target="../media/image365.png"/><Relationship Id="rId3" Type="http://schemas.openxmlformats.org/officeDocument/2006/relationships/image" Target="../media/image355.png"/><Relationship Id="rId7" Type="http://schemas.openxmlformats.org/officeDocument/2006/relationships/image" Target="../media/image359.png"/><Relationship Id="rId12" Type="http://schemas.openxmlformats.org/officeDocument/2006/relationships/image" Target="../media/image364.png"/><Relationship Id="rId17" Type="http://schemas.openxmlformats.org/officeDocument/2006/relationships/image" Target="../media/image47.emf"/><Relationship Id="rId2" Type="http://schemas.openxmlformats.org/officeDocument/2006/relationships/notesSlide" Target="../notesSlides/notesSlide124.xml"/><Relationship Id="rId16" Type="http://schemas.openxmlformats.org/officeDocument/2006/relationships/hyperlink" Target="http://www.rapidbbs.cn/" TargetMode="External"/><Relationship Id="rId1" Type="http://schemas.openxmlformats.org/officeDocument/2006/relationships/slideLayout" Target="../slideLayouts/slideLayout138.xml"/><Relationship Id="rId6" Type="http://schemas.openxmlformats.org/officeDocument/2006/relationships/image" Target="../media/image358.png"/><Relationship Id="rId11" Type="http://schemas.openxmlformats.org/officeDocument/2006/relationships/image" Target="../media/image363.png"/><Relationship Id="rId5" Type="http://schemas.openxmlformats.org/officeDocument/2006/relationships/image" Target="../media/image357.png"/><Relationship Id="rId15" Type="http://schemas.openxmlformats.org/officeDocument/2006/relationships/image" Target="../media/image367.png"/><Relationship Id="rId10" Type="http://schemas.openxmlformats.org/officeDocument/2006/relationships/image" Target="../media/image362.png"/><Relationship Id="rId4" Type="http://schemas.openxmlformats.org/officeDocument/2006/relationships/image" Target="../media/image356.png"/><Relationship Id="rId9" Type="http://schemas.openxmlformats.org/officeDocument/2006/relationships/image" Target="../media/image361.png"/><Relationship Id="rId14" Type="http://schemas.openxmlformats.org/officeDocument/2006/relationships/image" Target="../media/image366.png"/></Relationships>
</file>

<file path=ppt/slides/_rels/slide165.xml.rels><?xml version="1.0" encoding="UTF-8" standalone="yes"?>
<Relationships xmlns="http://schemas.openxmlformats.org/package/2006/relationships"><Relationship Id="rId3" Type="http://schemas.openxmlformats.org/officeDocument/2006/relationships/image" Target="../media/image331.png"/><Relationship Id="rId7" Type="http://schemas.openxmlformats.org/officeDocument/2006/relationships/image" Target="../media/image47.emf"/><Relationship Id="rId2" Type="http://schemas.openxmlformats.org/officeDocument/2006/relationships/notesSlide" Target="../notesSlides/notesSlide125.xml"/><Relationship Id="rId1" Type="http://schemas.openxmlformats.org/officeDocument/2006/relationships/slideLayout" Target="../slideLayouts/slideLayout135.xml"/><Relationship Id="rId6" Type="http://schemas.openxmlformats.org/officeDocument/2006/relationships/hyperlink" Target="http://www.rapidbbs.cn/" TargetMode="External"/><Relationship Id="rId5" Type="http://schemas.openxmlformats.org/officeDocument/2006/relationships/image" Target="../media/image332.png"/><Relationship Id="rId4" Type="http://schemas.microsoft.com/office/2007/relationships/hdphoto" Target="../media/hdphoto42.wdp"/></Relationships>
</file>

<file path=ppt/slides/_rels/slide166.xml.rels><?xml version="1.0" encoding="UTF-8" standalone="yes"?>
<Relationships xmlns="http://schemas.openxmlformats.org/package/2006/relationships"><Relationship Id="rId8" Type="http://schemas.openxmlformats.org/officeDocument/2006/relationships/image" Target="../media/image368.png"/><Relationship Id="rId13" Type="http://schemas.openxmlformats.org/officeDocument/2006/relationships/hyperlink" Target="http://www.rapidbbs.cn/" TargetMode="External"/><Relationship Id="rId3" Type="http://schemas.openxmlformats.org/officeDocument/2006/relationships/diagramData" Target="../diagrams/data4.xml"/><Relationship Id="rId7" Type="http://schemas.microsoft.com/office/2007/relationships/diagramDrawing" Target="../diagrams/drawing4.xml"/><Relationship Id="rId12" Type="http://schemas.openxmlformats.org/officeDocument/2006/relationships/image" Target="../media/image1.png"/><Relationship Id="rId2" Type="http://schemas.openxmlformats.org/officeDocument/2006/relationships/notesSlide" Target="../notesSlides/notesSlide126.xml"/><Relationship Id="rId1" Type="http://schemas.openxmlformats.org/officeDocument/2006/relationships/slideLayout" Target="../slideLayouts/slideLayout135.xml"/><Relationship Id="rId6" Type="http://schemas.openxmlformats.org/officeDocument/2006/relationships/diagramColors" Target="../diagrams/colors4.xml"/><Relationship Id="rId11" Type="http://schemas.microsoft.com/office/2007/relationships/hdphoto" Target="../media/hdphoto44.wdp"/><Relationship Id="rId5" Type="http://schemas.openxmlformats.org/officeDocument/2006/relationships/diagramQuickStyle" Target="../diagrams/quickStyle4.xml"/><Relationship Id="rId10" Type="http://schemas.openxmlformats.org/officeDocument/2006/relationships/image" Target="../media/image370.png"/><Relationship Id="rId4" Type="http://schemas.openxmlformats.org/officeDocument/2006/relationships/diagramLayout" Target="../diagrams/layout4.xml"/><Relationship Id="rId9" Type="http://schemas.openxmlformats.org/officeDocument/2006/relationships/image" Target="../media/image369.png"/><Relationship Id="rId14" Type="http://schemas.openxmlformats.org/officeDocument/2006/relationships/image" Target="../media/image47.emf"/></Relationships>
</file>

<file path=ppt/slides/_rels/slide167.xml.rels><?xml version="1.0" encoding="UTF-8" standalone="yes"?>
<Relationships xmlns="http://schemas.openxmlformats.org/package/2006/relationships"><Relationship Id="rId8" Type="http://schemas.openxmlformats.org/officeDocument/2006/relationships/image" Target="../media/image375.png"/><Relationship Id="rId13" Type="http://schemas.openxmlformats.org/officeDocument/2006/relationships/image" Target="../media/image363.png"/><Relationship Id="rId3" Type="http://schemas.openxmlformats.org/officeDocument/2006/relationships/image" Target="../media/image357.png"/><Relationship Id="rId7" Type="http://schemas.openxmlformats.org/officeDocument/2006/relationships/image" Target="../media/image374.png"/><Relationship Id="rId12" Type="http://schemas.openxmlformats.org/officeDocument/2006/relationships/image" Target="../media/image377.png"/><Relationship Id="rId17" Type="http://schemas.openxmlformats.org/officeDocument/2006/relationships/image" Target="../media/image47.emf"/><Relationship Id="rId2" Type="http://schemas.openxmlformats.org/officeDocument/2006/relationships/notesSlide" Target="../notesSlides/notesSlide127.xml"/><Relationship Id="rId16" Type="http://schemas.openxmlformats.org/officeDocument/2006/relationships/hyperlink" Target="http://www.rapidbbs.cn/" TargetMode="External"/><Relationship Id="rId1" Type="http://schemas.openxmlformats.org/officeDocument/2006/relationships/slideLayout" Target="../slideLayouts/slideLayout138.xml"/><Relationship Id="rId6" Type="http://schemas.openxmlformats.org/officeDocument/2006/relationships/image" Target="../media/image373.png"/><Relationship Id="rId11" Type="http://schemas.openxmlformats.org/officeDocument/2006/relationships/image" Target="../media/image355.png"/><Relationship Id="rId5" Type="http://schemas.openxmlformats.org/officeDocument/2006/relationships/image" Target="../media/image372.png"/><Relationship Id="rId15" Type="http://schemas.openxmlformats.org/officeDocument/2006/relationships/image" Target="../media/image1.png"/><Relationship Id="rId10" Type="http://schemas.openxmlformats.org/officeDocument/2006/relationships/image" Target="../media/image356.png"/><Relationship Id="rId4" Type="http://schemas.openxmlformats.org/officeDocument/2006/relationships/image" Target="../media/image371.png"/><Relationship Id="rId9" Type="http://schemas.openxmlformats.org/officeDocument/2006/relationships/image" Target="../media/image376.png"/><Relationship Id="rId14" Type="http://schemas.openxmlformats.org/officeDocument/2006/relationships/image" Target="../media/image364.png"/></Relationships>
</file>

<file path=ppt/slides/_rels/slide168.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notesSlide" Target="../notesSlides/notesSlide128.xml"/><Relationship Id="rId1" Type="http://schemas.openxmlformats.org/officeDocument/2006/relationships/slideLayout" Target="../slideLayouts/slideLayout138.xml"/><Relationship Id="rId4" Type="http://schemas.openxmlformats.org/officeDocument/2006/relationships/image" Target="../media/image47.emf"/></Relationships>
</file>

<file path=ppt/slides/_rels/slide169.xml.rels><?xml version="1.0" encoding="UTF-8" standalone="yes"?>
<Relationships xmlns="http://schemas.openxmlformats.org/package/2006/relationships"><Relationship Id="rId8" Type="http://schemas.openxmlformats.org/officeDocument/2006/relationships/image" Target="../media/image383.png"/><Relationship Id="rId3" Type="http://schemas.openxmlformats.org/officeDocument/2006/relationships/image" Target="../media/image378.png"/><Relationship Id="rId7" Type="http://schemas.openxmlformats.org/officeDocument/2006/relationships/image" Target="../media/image382.png"/><Relationship Id="rId2" Type="http://schemas.openxmlformats.org/officeDocument/2006/relationships/notesSlide" Target="../notesSlides/notesSlide129.xml"/><Relationship Id="rId1" Type="http://schemas.openxmlformats.org/officeDocument/2006/relationships/slideLayout" Target="../slideLayouts/slideLayout138.xml"/><Relationship Id="rId6" Type="http://schemas.openxmlformats.org/officeDocument/2006/relationships/image" Target="../media/image381.png"/><Relationship Id="rId11" Type="http://schemas.openxmlformats.org/officeDocument/2006/relationships/image" Target="../media/image47.emf"/><Relationship Id="rId5" Type="http://schemas.openxmlformats.org/officeDocument/2006/relationships/image" Target="../media/image380.png"/><Relationship Id="rId10" Type="http://schemas.openxmlformats.org/officeDocument/2006/relationships/hyperlink" Target="http://www.rapidbbs.cn/" TargetMode="External"/><Relationship Id="rId4" Type="http://schemas.openxmlformats.org/officeDocument/2006/relationships/image" Target="../media/image379.png"/><Relationship Id="rId9" Type="http://schemas.openxmlformats.org/officeDocument/2006/relationships/image" Target="../media/image384.png"/></Relationships>
</file>

<file path=ppt/slides/_rels/slide17.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1.png"/><Relationship Id="rId7" Type="http://schemas.openxmlformats.org/officeDocument/2006/relationships/image" Target="../media/image67.png"/><Relationship Id="rId2" Type="http://schemas.openxmlformats.org/officeDocument/2006/relationships/notesSlide" Target="../notesSlides/notesSlide17.xml"/><Relationship Id="rId1" Type="http://schemas.openxmlformats.org/officeDocument/2006/relationships/slideLayout" Target="../slideLayouts/slideLayout13.xml"/><Relationship Id="rId6" Type="http://schemas.openxmlformats.org/officeDocument/2006/relationships/image" Target="../media/image66.png"/><Relationship Id="rId5" Type="http://schemas.openxmlformats.org/officeDocument/2006/relationships/image" Target="../media/image65.png"/><Relationship Id="rId10" Type="http://schemas.openxmlformats.org/officeDocument/2006/relationships/image" Target="../media/image47.emf"/><Relationship Id="rId4" Type="http://schemas.openxmlformats.org/officeDocument/2006/relationships/image" Target="../media/image64.png"/><Relationship Id="rId9" Type="http://schemas.openxmlformats.org/officeDocument/2006/relationships/hyperlink" Target="http://www.rapidbbs.cn/" TargetMode="External"/></Relationships>
</file>

<file path=ppt/slides/_rels/slide170.xml.rels><?xml version="1.0" encoding="UTF-8" standalone="yes"?>
<Relationships xmlns="http://schemas.openxmlformats.org/package/2006/relationships"><Relationship Id="rId8" Type="http://schemas.openxmlformats.org/officeDocument/2006/relationships/diagramQuickStyle" Target="../diagrams/quickStyle5.xml"/><Relationship Id="rId3" Type="http://schemas.openxmlformats.org/officeDocument/2006/relationships/image" Target="../media/image385.png"/><Relationship Id="rId7" Type="http://schemas.openxmlformats.org/officeDocument/2006/relationships/diagramLayout" Target="../diagrams/layout5.xml"/><Relationship Id="rId12" Type="http://schemas.openxmlformats.org/officeDocument/2006/relationships/image" Target="../media/image47.emf"/><Relationship Id="rId2" Type="http://schemas.openxmlformats.org/officeDocument/2006/relationships/notesSlide" Target="../notesSlides/notesSlide130.xml"/><Relationship Id="rId1" Type="http://schemas.openxmlformats.org/officeDocument/2006/relationships/slideLayout" Target="../slideLayouts/slideLayout138.xml"/><Relationship Id="rId6" Type="http://schemas.openxmlformats.org/officeDocument/2006/relationships/diagramData" Target="../diagrams/data5.xml"/><Relationship Id="rId11" Type="http://schemas.openxmlformats.org/officeDocument/2006/relationships/hyperlink" Target="http://www.rapidbbs.cn/" TargetMode="External"/><Relationship Id="rId5" Type="http://schemas.openxmlformats.org/officeDocument/2006/relationships/image" Target="../media/image386.png"/><Relationship Id="rId10" Type="http://schemas.microsoft.com/office/2007/relationships/diagramDrawing" Target="../diagrams/drawing5.xml"/><Relationship Id="rId4" Type="http://schemas.microsoft.com/office/2007/relationships/hdphoto" Target="../media/hdphoto45.wdp"/><Relationship Id="rId9" Type="http://schemas.openxmlformats.org/officeDocument/2006/relationships/diagramColors" Target="../diagrams/colors5.xml"/></Relationships>
</file>

<file path=ppt/slides/_rels/slide171.xml.rels><?xml version="1.0" encoding="UTF-8" standalone="yes"?>
<Relationships xmlns="http://schemas.openxmlformats.org/package/2006/relationships"><Relationship Id="rId8" Type="http://schemas.openxmlformats.org/officeDocument/2006/relationships/image" Target="../media/image47.emf"/><Relationship Id="rId3" Type="http://schemas.openxmlformats.org/officeDocument/2006/relationships/image" Target="../media/image387.png"/><Relationship Id="rId7" Type="http://schemas.openxmlformats.org/officeDocument/2006/relationships/hyperlink" Target="http://www.rapidbbs.cn/" TargetMode="External"/><Relationship Id="rId2" Type="http://schemas.openxmlformats.org/officeDocument/2006/relationships/notesSlide" Target="../notesSlides/notesSlide131.xml"/><Relationship Id="rId1" Type="http://schemas.openxmlformats.org/officeDocument/2006/relationships/slideLayout" Target="../slideLayouts/slideLayout138.xml"/><Relationship Id="rId6" Type="http://schemas.openxmlformats.org/officeDocument/2006/relationships/image" Target="../media/image390.png"/><Relationship Id="rId5" Type="http://schemas.openxmlformats.org/officeDocument/2006/relationships/image" Target="../media/image389.png"/><Relationship Id="rId4" Type="http://schemas.openxmlformats.org/officeDocument/2006/relationships/image" Target="../media/image388.png"/></Relationships>
</file>

<file path=ppt/slides/_rels/slide172.xml.rels><?xml version="1.0" encoding="UTF-8" standalone="yes"?>
<Relationships xmlns="http://schemas.openxmlformats.org/package/2006/relationships"><Relationship Id="rId3" Type="http://schemas.openxmlformats.org/officeDocument/2006/relationships/image" Target="../media/image391.png"/><Relationship Id="rId7" Type="http://schemas.openxmlformats.org/officeDocument/2006/relationships/image" Target="../media/image47.emf"/><Relationship Id="rId2" Type="http://schemas.openxmlformats.org/officeDocument/2006/relationships/notesSlide" Target="../notesSlides/notesSlide132.xml"/><Relationship Id="rId1" Type="http://schemas.openxmlformats.org/officeDocument/2006/relationships/slideLayout" Target="../slideLayouts/slideLayout139.xml"/><Relationship Id="rId6" Type="http://schemas.openxmlformats.org/officeDocument/2006/relationships/hyperlink" Target="http://www.rapidbbs.cn/" TargetMode="External"/><Relationship Id="rId5" Type="http://schemas.openxmlformats.org/officeDocument/2006/relationships/image" Target="../media/image393.png"/><Relationship Id="rId4" Type="http://schemas.openxmlformats.org/officeDocument/2006/relationships/image" Target="../media/image392.png"/></Relationships>
</file>

<file path=ppt/slides/_rels/slide173.xml.rels><?xml version="1.0" encoding="UTF-8" standalone="yes"?>
<Relationships xmlns="http://schemas.openxmlformats.org/package/2006/relationships"><Relationship Id="rId8" Type="http://schemas.openxmlformats.org/officeDocument/2006/relationships/image" Target="../media/image47.emf"/><Relationship Id="rId3" Type="http://schemas.openxmlformats.org/officeDocument/2006/relationships/image" Target="../media/image387.png"/><Relationship Id="rId7" Type="http://schemas.openxmlformats.org/officeDocument/2006/relationships/hyperlink" Target="http://www.rapidbbs.cn/" TargetMode="External"/><Relationship Id="rId2" Type="http://schemas.openxmlformats.org/officeDocument/2006/relationships/notesSlide" Target="../notesSlides/notesSlide133.xml"/><Relationship Id="rId1" Type="http://schemas.openxmlformats.org/officeDocument/2006/relationships/slideLayout" Target="../slideLayouts/slideLayout139.xml"/><Relationship Id="rId6" Type="http://schemas.openxmlformats.org/officeDocument/2006/relationships/image" Target="../media/image393.png"/><Relationship Id="rId5" Type="http://schemas.openxmlformats.org/officeDocument/2006/relationships/image" Target="../media/image392.png"/><Relationship Id="rId4" Type="http://schemas.openxmlformats.org/officeDocument/2006/relationships/image" Target="../media/image388.png"/></Relationships>
</file>

<file path=ppt/slides/_rels/slide174.xml.rels><?xml version="1.0" encoding="UTF-8" standalone="yes"?>
<Relationships xmlns="http://schemas.openxmlformats.org/package/2006/relationships"><Relationship Id="rId8" Type="http://schemas.openxmlformats.org/officeDocument/2006/relationships/image" Target="../media/image204.png"/><Relationship Id="rId3" Type="http://schemas.openxmlformats.org/officeDocument/2006/relationships/image" Target="../media/image394.png"/><Relationship Id="rId7" Type="http://schemas.openxmlformats.org/officeDocument/2006/relationships/image" Target="../media/image198.png"/><Relationship Id="rId2" Type="http://schemas.openxmlformats.org/officeDocument/2006/relationships/notesSlide" Target="../notesSlides/notesSlide134.xml"/><Relationship Id="rId1" Type="http://schemas.openxmlformats.org/officeDocument/2006/relationships/slideLayout" Target="../slideLayouts/slideLayout134.xml"/><Relationship Id="rId6" Type="http://schemas.openxmlformats.org/officeDocument/2006/relationships/image" Target="../media/image396.png"/><Relationship Id="rId11" Type="http://schemas.openxmlformats.org/officeDocument/2006/relationships/image" Target="../media/image47.emf"/><Relationship Id="rId5" Type="http://schemas.openxmlformats.org/officeDocument/2006/relationships/image" Target="../media/image395.png"/><Relationship Id="rId10" Type="http://schemas.openxmlformats.org/officeDocument/2006/relationships/hyperlink" Target="http://www.rapidbbs.cn/" TargetMode="External"/><Relationship Id="rId4" Type="http://schemas.openxmlformats.org/officeDocument/2006/relationships/image" Target="../media/image1.png"/><Relationship Id="rId9" Type="http://schemas.openxmlformats.org/officeDocument/2006/relationships/image" Target="../media/image79.png"/></Relationships>
</file>

<file path=ppt/slides/_rels/slide175.xml.rels><?xml version="1.0" encoding="UTF-8" standalone="yes"?>
<Relationships xmlns="http://schemas.openxmlformats.org/package/2006/relationships"><Relationship Id="rId8" Type="http://schemas.openxmlformats.org/officeDocument/2006/relationships/image" Target="../media/image401.png"/><Relationship Id="rId13" Type="http://schemas.openxmlformats.org/officeDocument/2006/relationships/image" Target="../media/image403.png"/><Relationship Id="rId3" Type="http://schemas.openxmlformats.org/officeDocument/2006/relationships/image" Target="../media/image397.png"/><Relationship Id="rId7" Type="http://schemas.openxmlformats.org/officeDocument/2006/relationships/image" Target="../media/image400.png"/><Relationship Id="rId12" Type="http://schemas.openxmlformats.org/officeDocument/2006/relationships/image" Target="../media/image389.png"/><Relationship Id="rId17" Type="http://schemas.openxmlformats.org/officeDocument/2006/relationships/image" Target="../media/image47.emf"/><Relationship Id="rId2" Type="http://schemas.openxmlformats.org/officeDocument/2006/relationships/notesSlide" Target="../notesSlides/notesSlide135.xml"/><Relationship Id="rId16" Type="http://schemas.openxmlformats.org/officeDocument/2006/relationships/hyperlink" Target="http://www.rapidbbs.cn/" TargetMode="External"/><Relationship Id="rId1" Type="http://schemas.openxmlformats.org/officeDocument/2006/relationships/slideLayout" Target="../slideLayouts/slideLayout134.xml"/><Relationship Id="rId6" Type="http://schemas.openxmlformats.org/officeDocument/2006/relationships/image" Target="../media/image399.png"/><Relationship Id="rId11" Type="http://schemas.openxmlformats.org/officeDocument/2006/relationships/image" Target="../media/image188.png"/><Relationship Id="rId5" Type="http://schemas.openxmlformats.org/officeDocument/2006/relationships/image" Target="../media/image398.png"/><Relationship Id="rId15" Type="http://schemas.openxmlformats.org/officeDocument/2006/relationships/image" Target="../media/image396.png"/><Relationship Id="rId10" Type="http://schemas.openxmlformats.org/officeDocument/2006/relationships/image" Target="../media/image402.png"/><Relationship Id="rId4" Type="http://schemas.microsoft.com/office/2007/relationships/hdphoto" Target="../media/hdphoto46.wdp"/><Relationship Id="rId9" Type="http://schemas.openxmlformats.org/officeDocument/2006/relationships/image" Target="../media/image203.png"/><Relationship Id="rId14" Type="http://schemas.openxmlformats.org/officeDocument/2006/relationships/image" Target="../media/image395.png"/></Relationships>
</file>

<file path=ppt/slides/_rels/slide176.xml.rels><?xml version="1.0" encoding="UTF-8" standalone="yes"?>
<Relationships xmlns="http://schemas.openxmlformats.org/package/2006/relationships"><Relationship Id="rId8" Type="http://schemas.microsoft.com/office/2007/relationships/hdphoto" Target="../media/hdphoto48.wdp"/><Relationship Id="rId13" Type="http://schemas.openxmlformats.org/officeDocument/2006/relationships/image" Target="../media/image408.png"/><Relationship Id="rId18" Type="http://schemas.openxmlformats.org/officeDocument/2006/relationships/image" Target="../media/image390.png"/><Relationship Id="rId3" Type="http://schemas.openxmlformats.org/officeDocument/2006/relationships/image" Target="../media/image387.png"/><Relationship Id="rId7" Type="http://schemas.openxmlformats.org/officeDocument/2006/relationships/image" Target="../media/image405.png"/><Relationship Id="rId12" Type="http://schemas.microsoft.com/office/2007/relationships/hdphoto" Target="../media/hdphoto50.wdp"/><Relationship Id="rId17" Type="http://schemas.openxmlformats.org/officeDocument/2006/relationships/image" Target="../media/image389.png"/><Relationship Id="rId2" Type="http://schemas.openxmlformats.org/officeDocument/2006/relationships/notesSlide" Target="../notesSlides/notesSlide136.xml"/><Relationship Id="rId16" Type="http://schemas.microsoft.com/office/2007/relationships/hdphoto" Target="../media/hdphoto52.wdp"/><Relationship Id="rId20" Type="http://schemas.openxmlformats.org/officeDocument/2006/relationships/image" Target="../media/image47.emf"/><Relationship Id="rId1" Type="http://schemas.openxmlformats.org/officeDocument/2006/relationships/slideLayout" Target="../slideLayouts/slideLayout138.xml"/><Relationship Id="rId6" Type="http://schemas.microsoft.com/office/2007/relationships/hdphoto" Target="../media/hdphoto47.wdp"/><Relationship Id="rId11" Type="http://schemas.openxmlformats.org/officeDocument/2006/relationships/image" Target="../media/image407.png"/><Relationship Id="rId5" Type="http://schemas.openxmlformats.org/officeDocument/2006/relationships/image" Target="../media/image404.png"/><Relationship Id="rId15" Type="http://schemas.openxmlformats.org/officeDocument/2006/relationships/image" Target="../media/image409.png"/><Relationship Id="rId10" Type="http://schemas.microsoft.com/office/2007/relationships/hdphoto" Target="../media/hdphoto49.wdp"/><Relationship Id="rId19" Type="http://schemas.openxmlformats.org/officeDocument/2006/relationships/hyperlink" Target="http://www.rapidbbs.cn/" TargetMode="External"/><Relationship Id="rId4" Type="http://schemas.openxmlformats.org/officeDocument/2006/relationships/image" Target="../media/image388.png"/><Relationship Id="rId9" Type="http://schemas.openxmlformats.org/officeDocument/2006/relationships/image" Target="../media/image406.png"/><Relationship Id="rId14" Type="http://schemas.microsoft.com/office/2007/relationships/hdphoto" Target="../media/hdphoto51.wdp"/></Relationships>
</file>

<file path=ppt/slides/_rels/slide177.xml.rels><?xml version="1.0" encoding="UTF-8" standalone="yes"?>
<Relationships xmlns="http://schemas.openxmlformats.org/package/2006/relationships"><Relationship Id="rId8" Type="http://schemas.openxmlformats.org/officeDocument/2006/relationships/image" Target="../media/image412.png"/><Relationship Id="rId13" Type="http://schemas.openxmlformats.org/officeDocument/2006/relationships/image" Target="../media/image388.png"/><Relationship Id="rId3" Type="http://schemas.openxmlformats.org/officeDocument/2006/relationships/image" Target="../media/image323.png"/><Relationship Id="rId7" Type="http://schemas.microsoft.com/office/2007/relationships/hdphoto" Target="../media/hdphoto54.wdp"/><Relationship Id="rId12" Type="http://schemas.openxmlformats.org/officeDocument/2006/relationships/image" Target="../media/image387.png"/><Relationship Id="rId2" Type="http://schemas.openxmlformats.org/officeDocument/2006/relationships/notesSlide" Target="../notesSlides/notesSlide137.xml"/><Relationship Id="rId1" Type="http://schemas.openxmlformats.org/officeDocument/2006/relationships/slideLayout" Target="../slideLayouts/slideLayout134.xml"/><Relationship Id="rId6" Type="http://schemas.openxmlformats.org/officeDocument/2006/relationships/image" Target="../media/image411.png"/><Relationship Id="rId11" Type="http://schemas.openxmlformats.org/officeDocument/2006/relationships/image" Target="../media/image414.png"/><Relationship Id="rId5" Type="http://schemas.microsoft.com/office/2007/relationships/hdphoto" Target="../media/hdphoto53.wdp"/><Relationship Id="rId15" Type="http://schemas.openxmlformats.org/officeDocument/2006/relationships/image" Target="../media/image47.emf"/><Relationship Id="rId10" Type="http://schemas.openxmlformats.org/officeDocument/2006/relationships/image" Target="../media/image400.png"/><Relationship Id="rId4" Type="http://schemas.openxmlformats.org/officeDocument/2006/relationships/image" Target="../media/image410.png"/><Relationship Id="rId9" Type="http://schemas.openxmlformats.org/officeDocument/2006/relationships/image" Target="../media/image413.png"/><Relationship Id="rId14" Type="http://schemas.openxmlformats.org/officeDocument/2006/relationships/hyperlink" Target="http://www.rapidbbs.cn/" TargetMode="External"/></Relationships>
</file>

<file path=ppt/slides/_rels/slide178.xml.rels><?xml version="1.0" encoding="UTF-8" standalone="yes"?>
<Relationships xmlns="http://schemas.openxmlformats.org/package/2006/relationships"><Relationship Id="rId8" Type="http://schemas.openxmlformats.org/officeDocument/2006/relationships/image" Target="../media/image417.png"/><Relationship Id="rId13" Type="http://schemas.openxmlformats.org/officeDocument/2006/relationships/image" Target="../media/image420.png"/><Relationship Id="rId18" Type="http://schemas.microsoft.com/office/2007/relationships/hdphoto" Target="../media/hdphoto59.wdp"/><Relationship Id="rId3" Type="http://schemas.openxmlformats.org/officeDocument/2006/relationships/image" Target="../media/image411.png"/><Relationship Id="rId21" Type="http://schemas.openxmlformats.org/officeDocument/2006/relationships/hyperlink" Target="http://www.rapidbbs.cn/" TargetMode="External"/><Relationship Id="rId7" Type="http://schemas.microsoft.com/office/2007/relationships/hdphoto" Target="../media/hdphoto55.wdp"/><Relationship Id="rId12" Type="http://schemas.microsoft.com/office/2007/relationships/hdphoto" Target="../media/hdphoto57.wdp"/><Relationship Id="rId17" Type="http://schemas.openxmlformats.org/officeDocument/2006/relationships/image" Target="../media/image421.png"/><Relationship Id="rId2" Type="http://schemas.openxmlformats.org/officeDocument/2006/relationships/notesSlide" Target="../notesSlides/notesSlide138.xml"/><Relationship Id="rId16" Type="http://schemas.microsoft.com/office/2007/relationships/hdphoto" Target="../media/hdphoto53.wdp"/><Relationship Id="rId20" Type="http://schemas.openxmlformats.org/officeDocument/2006/relationships/image" Target="../media/image388.png"/><Relationship Id="rId1" Type="http://schemas.openxmlformats.org/officeDocument/2006/relationships/slideLayout" Target="../slideLayouts/slideLayout139.xml"/><Relationship Id="rId6" Type="http://schemas.openxmlformats.org/officeDocument/2006/relationships/image" Target="../media/image416.png"/><Relationship Id="rId11" Type="http://schemas.openxmlformats.org/officeDocument/2006/relationships/image" Target="../media/image419.png"/><Relationship Id="rId5" Type="http://schemas.openxmlformats.org/officeDocument/2006/relationships/image" Target="../media/image415.png"/><Relationship Id="rId15" Type="http://schemas.openxmlformats.org/officeDocument/2006/relationships/image" Target="../media/image410.png"/><Relationship Id="rId10" Type="http://schemas.microsoft.com/office/2007/relationships/hdphoto" Target="../media/hdphoto56.wdp"/><Relationship Id="rId19" Type="http://schemas.openxmlformats.org/officeDocument/2006/relationships/image" Target="../media/image387.png"/><Relationship Id="rId4" Type="http://schemas.microsoft.com/office/2007/relationships/hdphoto" Target="../media/hdphoto54.wdp"/><Relationship Id="rId9" Type="http://schemas.openxmlformats.org/officeDocument/2006/relationships/image" Target="../media/image418.png"/><Relationship Id="rId14" Type="http://schemas.microsoft.com/office/2007/relationships/hdphoto" Target="../media/hdphoto58.wdp"/><Relationship Id="rId22" Type="http://schemas.openxmlformats.org/officeDocument/2006/relationships/image" Target="../media/image47.emf"/></Relationships>
</file>

<file path=ppt/slides/_rels/slide179.xml.rels><?xml version="1.0" encoding="UTF-8" standalone="yes"?>
<Relationships xmlns="http://schemas.openxmlformats.org/package/2006/relationships"><Relationship Id="rId8" Type="http://schemas.openxmlformats.org/officeDocument/2006/relationships/image" Target="../media/image426.png"/><Relationship Id="rId13" Type="http://schemas.openxmlformats.org/officeDocument/2006/relationships/image" Target="../media/image387.png"/><Relationship Id="rId3" Type="http://schemas.openxmlformats.org/officeDocument/2006/relationships/image" Target="../media/image422.png"/><Relationship Id="rId7" Type="http://schemas.openxmlformats.org/officeDocument/2006/relationships/image" Target="../media/image425.png"/><Relationship Id="rId12" Type="http://schemas.openxmlformats.org/officeDocument/2006/relationships/image" Target="../media/image430.png"/><Relationship Id="rId2" Type="http://schemas.openxmlformats.org/officeDocument/2006/relationships/notesSlide" Target="../notesSlides/notesSlide139.xml"/><Relationship Id="rId16" Type="http://schemas.openxmlformats.org/officeDocument/2006/relationships/image" Target="../media/image47.emf"/><Relationship Id="rId1" Type="http://schemas.openxmlformats.org/officeDocument/2006/relationships/slideLayout" Target="../slideLayouts/slideLayout139.xml"/><Relationship Id="rId6" Type="http://schemas.openxmlformats.org/officeDocument/2006/relationships/image" Target="../media/image424.png"/><Relationship Id="rId11" Type="http://schemas.openxmlformats.org/officeDocument/2006/relationships/image" Target="../media/image429.png"/><Relationship Id="rId5" Type="http://schemas.microsoft.com/office/2007/relationships/hdphoto" Target="../media/hdphoto60.wdp"/><Relationship Id="rId15" Type="http://schemas.openxmlformats.org/officeDocument/2006/relationships/hyperlink" Target="http://www.rapidbbs.cn/" TargetMode="External"/><Relationship Id="rId10" Type="http://schemas.openxmlformats.org/officeDocument/2006/relationships/image" Target="../media/image428.png"/><Relationship Id="rId4" Type="http://schemas.openxmlformats.org/officeDocument/2006/relationships/image" Target="../media/image423.png"/><Relationship Id="rId9" Type="http://schemas.openxmlformats.org/officeDocument/2006/relationships/image" Target="../media/image427.png"/><Relationship Id="rId14" Type="http://schemas.openxmlformats.org/officeDocument/2006/relationships/image" Target="../media/image388.png"/></Relationships>
</file>

<file path=ppt/slides/_rels/slide18.xml.rels><?xml version="1.0" encoding="UTF-8" standalone="yes"?>
<Relationships xmlns="http://schemas.openxmlformats.org/package/2006/relationships"><Relationship Id="rId8" Type="http://schemas.openxmlformats.org/officeDocument/2006/relationships/notesSlide" Target="../notesSlides/notesSlide18.xml"/><Relationship Id="rId3" Type="http://schemas.openxmlformats.org/officeDocument/2006/relationships/tags" Target="../tags/tag15.xml"/><Relationship Id="rId7" Type="http://schemas.openxmlformats.org/officeDocument/2006/relationships/slideLayout" Target="../slideLayouts/slideLayout12.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tags" Target="../tags/tag18.xml"/><Relationship Id="rId5" Type="http://schemas.openxmlformats.org/officeDocument/2006/relationships/tags" Target="../tags/tag17.xml"/><Relationship Id="rId10" Type="http://schemas.openxmlformats.org/officeDocument/2006/relationships/image" Target="../media/image47.emf"/><Relationship Id="rId4" Type="http://schemas.openxmlformats.org/officeDocument/2006/relationships/tags" Target="../tags/tag16.xml"/><Relationship Id="rId9" Type="http://schemas.openxmlformats.org/officeDocument/2006/relationships/hyperlink" Target="http://www.rapidbbs.cn/" TargetMode="External"/></Relationships>
</file>

<file path=ppt/slides/_rels/slide180.xml.rels><?xml version="1.0" encoding="UTF-8" standalone="yes"?>
<Relationships xmlns="http://schemas.openxmlformats.org/package/2006/relationships"><Relationship Id="rId8" Type="http://schemas.openxmlformats.org/officeDocument/2006/relationships/image" Target="../media/image435.png"/><Relationship Id="rId3" Type="http://schemas.openxmlformats.org/officeDocument/2006/relationships/image" Target="../media/image431.png"/><Relationship Id="rId7" Type="http://schemas.openxmlformats.org/officeDocument/2006/relationships/image" Target="../media/image434.png"/><Relationship Id="rId12" Type="http://schemas.openxmlformats.org/officeDocument/2006/relationships/image" Target="../media/image47.emf"/><Relationship Id="rId2" Type="http://schemas.openxmlformats.org/officeDocument/2006/relationships/notesSlide" Target="../notesSlides/notesSlide140.xml"/><Relationship Id="rId1" Type="http://schemas.openxmlformats.org/officeDocument/2006/relationships/slideLayout" Target="../slideLayouts/slideLayout139.xml"/><Relationship Id="rId6" Type="http://schemas.openxmlformats.org/officeDocument/2006/relationships/image" Target="../media/image433.png"/><Relationship Id="rId11" Type="http://schemas.openxmlformats.org/officeDocument/2006/relationships/hyperlink" Target="http://www.rapidbbs.cn/" TargetMode="External"/><Relationship Id="rId5" Type="http://schemas.openxmlformats.org/officeDocument/2006/relationships/image" Target="../media/image432.png"/><Relationship Id="rId10" Type="http://schemas.openxmlformats.org/officeDocument/2006/relationships/image" Target="../media/image388.png"/><Relationship Id="rId4" Type="http://schemas.openxmlformats.org/officeDocument/2006/relationships/image" Target="../media/image383.png"/><Relationship Id="rId9" Type="http://schemas.openxmlformats.org/officeDocument/2006/relationships/image" Target="../media/image387.png"/></Relationships>
</file>

<file path=ppt/slides/_rels/slide181.xml.rels><?xml version="1.0" encoding="UTF-8" standalone="yes"?>
<Relationships xmlns="http://schemas.openxmlformats.org/package/2006/relationships"><Relationship Id="rId8" Type="http://schemas.openxmlformats.org/officeDocument/2006/relationships/image" Target="../media/image411.png"/><Relationship Id="rId13" Type="http://schemas.openxmlformats.org/officeDocument/2006/relationships/image" Target="../media/image437.png"/><Relationship Id="rId3" Type="http://schemas.openxmlformats.org/officeDocument/2006/relationships/image" Target="../media/image323.png"/><Relationship Id="rId7" Type="http://schemas.microsoft.com/office/2007/relationships/hdphoto" Target="../media/hdphoto53.wdp"/><Relationship Id="rId12" Type="http://schemas.openxmlformats.org/officeDocument/2006/relationships/image" Target="../media/image436.png"/><Relationship Id="rId2" Type="http://schemas.openxmlformats.org/officeDocument/2006/relationships/notesSlide" Target="../notesSlides/notesSlide141.xml"/><Relationship Id="rId16" Type="http://schemas.openxmlformats.org/officeDocument/2006/relationships/image" Target="../media/image47.emf"/><Relationship Id="rId1" Type="http://schemas.openxmlformats.org/officeDocument/2006/relationships/slideLayout" Target="../slideLayouts/slideLayout134.xml"/><Relationship Id="rId6" Type="http://schemas.openxmlformats.org/officeDocument/2006/relationships/image" Target="../media/image410.png"/><Relationship Id="rId11" Type="http://schemas.openxmlformats.org/officeDocument/2006/relationships/image" Target="../media/image413.png"/><Relationship Id="rId5" Type="http://schemas.openxmlformats.org/officeDocument/2006/relationships/image" Target="../media/image388.png"/><Relationship Id="rId15" Type="http://schemas.openxmlformats.org/officeDocument/2006/relationships/hyperlink" Target="http://www.rapidbbs.cn/" TargetMode="External"/><Relationship Id="rId10" Type="http://schemas.openxmlformats.org/officeDocument/2006/relationships/image" Target="../media/image412.png"/><Relationship Id="rId4" Type="http://schemas.openxmlformats.org/officeDocument/2006/relationships/image" Target="../media/image387.png"/><Relationship Id="rId9" Type="http://schemas.microsoft.com/office/2007/relationships/hdphoto" Target="../media/hdphoto54.wdp"/><Relationship Id="rId14" Type="http://schemas.microsoft.com/office/2007/relationships/hdphoto" Target="../media/hdphoto12.wdp"/></Relationships>
</file>

<file path=ppt/slides/_rels/slide182.xml.rels><?xml version="1.0" encoding="UTF-8" standalone="yes"?>
<Relationships xmlns="http://schemas.openxmlformats.org/package/2006/relationships"><Relationship Id="rId8" Type="http://schemas.openxmlformats.org/officeDocument/2006/relationships/image" Target="../media/image188.png"/><Relationship Id="rId13" Type="http://schemas.openxmlformats.org/officeDocument/2006/relationships/image" Target="../media/image47.emf"/><Relationship Id="rId3" Type="http://schemas.openxmlformats.org/officeDocument/2006/relationships/image" Target="../media/image79.png"/><Relationship Id="rId7" Type="http://schemas.openxmlformats.org/officeDocument/2006/relationships/image" Target="../media/image440.png"/><Relationship Id="rId12" Type="http://schemas.openxmlformats.org/officeDocument/2006/relationships/hyperlink" Target="http://www.rapidbbs.cn/" TargetMode="External"/><Relationship Id="rId2" Type="http://schemas.openxmlformats.org/officeDocument/2006/relationships/notesSlide" Target="../notesSlides/notesSlide142.xml"/><Relationship Id="rId1" Type="http://schemas.openxmlformats.org/officeDocument/2006/relationships/slideLayout" Target="../slideLayouts/slideLayout134.xml"/><Relationship Id="rId6" Type="http://schemas.openxmlformats.org/officeDocument/2006/relationships/image" Target="../media/image439.png"/><Relationship Id="rId11" Type="http://schemas.openxmlformats.org/officeDocument/2006/relationships/image" Target="../media/image442.png"/><Relationship Id="rId5" Type="http://schemas.openxmlformats.org/officeDocument/2006/relationships/image" Target="../media/image228.png"/><Relationship Id="rId10" Type="http://schemas.openxmlformats.org/officeDocument/2006/relationships/image" Target="../media/image441.png"/><Relationship Id="rId4" Type="http://schemas.openxmlformats.org/officeDocument/2006/relationships/image" Target="../media/image438.png"/><Relationship Id="rId9" Type="http://schemas.openxmlformats.org/officeDocument/2006/relationships/image" Target="../media/image203.png"/></Relationships>
</file>

<file path=ppt/slides/_rels/slide183.xml.rels><?xml version="1.0" encoding="UTF-8" standalone="yes"?>
<Relationships xmlns="http://schemas.openxmlformats.org/package/2006/relationships"><Relationship Id="rId8" Type="http://schemas.openxmlformats.org/officeDocument/2006/relationships/image" Target="../media/image448.png"/><Relationship Id="rId3" Type="http://schemas.openxmlformats.org/officeDocument/2006/relationships/image" Target="../media/image443.png"/><Relationship Id="rId7" Type="http://schemas.openxmlformats.org/officeDocument/2006/relationships/image" Target="../media/image447.png"/><Relationship Id="rId2" Type="http://schemas.openxmlformats.org/officeDocument/2006/relationships/notesSlide" Target="../notesSlides/notesSlide143.xml"/><Relationship Id="rId1" Type="http://schemas.openxmlformats.org/officeDocument/2006/relationships/slideLayout" Target="../slideLayouts/slideLayout139.xml"/><Relationship Id="rId6" Type="http://schemas.openxmlformats.org/officeDocument/2006/relationships/image" Target="../media/image446.png"/><Relationship Id="rId11" Type="http://schemas.openxmlformats.org/officeDocument/2006/relationships/image" Target="../media/image47.emf"/><Relationship Id="rId5" Type="http://schemas.openxmlformats.org/officeDocument/2006/relationships/image" Target="../media/image445.png"/><Relationship Id="rId10" Type="http://schemas.openxmlformats.org/officeDocument/2006/relationships/hyperlink" Target="http://www.rapidbbs.cn/" TargetMode="External"/><Relationship Id="rId4" Type="http://schemas.openxmlformats.org/officeDocument/2006/relationships/image" Target="../media/image444.png"/><Relationship Id="rId9" Type="http://schemas.openxmlformats.org/officeDocument/2006/relationships/image" Target="../media/image388.png"/></Relationships>
</file>

<file path=ppt/slides/_rels/slide184.xml.rels><?xml version="1.0" encoding="UTF-8" standalone="yes"?>
<Relationships xmlns="http://schemas.openxmlformats.org/package/2006/relationships"><Relationship Id="rId8" Type="http://schemas.openxmlformats.org/officeDocument/2006/relationships/image" Target="../media/image360.png"/><Relationship Id="rId13" Type="http://schemas.openxmlformats.org/officeDocument/2006/relationships/image" Target="../media/image365.png"/><Relationship Id="rId3" Type="http://schemas.openxmlformats.org/officeDocument/2006/relationships/image" Target="../media/image355.png"/><Relationship Id="rId7" Type="http://schemas.openxmlformats.org/officeDocument/2006/relationships/image" Target="../media/image359.png"/><Relationship Id="rId12" Type="http://schemas.openxmlformats.org/officeDocument/2006/relationships/image" Target="../media/image364.png"/><Relationship Id="rId17" Type="http://schemas.openxmlformats.org/officeDocument/2006/relationships/image" Target="../media/image47.emf"/><Relationship Id="rId2" Type="http://schemas.openxmlformats.org/officeDocument/2006/relationships/notesSlide" Target="../notesSlides/notesSlide144.xml"/><Relationship Id="rId16" Type="http://schemas.openxmlformats.org/officeDocument/2006/relationships/hyperlink" Target="http://www.rapidbbs.cn/" TargetMode="External"/><Relationship Id="rId1" Type="http://schemas.openxmlformats.org/officeDocument/2006/relationships/slideLayout" Target="../slideLayouts/slideLayout138.xml"/><Relationship Id="rId6" Type="http://schemas.openxmlformats.org/officeDocument/2006/relationships/image" Target="../media/image358.png"/><Relationship Id="rId11" Type="http://schemas.openxmlformats.org/officeDocument/2006/relationships/image" Target="../media/image363.png"/><Relationship Id="rId5" Type="http://schemas.openxmlformats.org/officeDocument/2006/relationships/image" Target="../media/image357.png"/><Relationship Id="rId15" Type="http://schemas.openxmlformats.org/officeDocument/2006/relationships/image" Target="../media/image367.png"/><Relationship Id="rId10" Type="http://schemas.openxmlformats.org/officeDocument/2006/relationships/image" Target="../media/image362.png"/><Relationship Id="rId4" Type="http://schemas.openxmlformats.org/officeDocument/2006/relationships/image" Target="../media/image356.png"/><Relationship Id="rId9" Type="http://schemas.openxmlformats.org/officeDocument/2006/relationships/image" Target="../media/image361.png"/><Relationship Id="rId14" Type="http://schemas.openxmlformats.org/officeDocument/2006/relationships/image" Target="../media/image366.png"/></Relationships>
</file>

<file path=ppt/slides/_rels/slide185.xml.rels><?xml version="1.0" encoding="UTF-8" standalone="yes"?>
<Relationships xmlns="http://schemas.openxmlformats.org/package/2006/relationships"><Relationship Id="rId3" Type="http://schemas.openxmlformats.org/officeDocument/2006/relationships/image" Target="../media/image449.png"/><Relationship Id="rId7" Type="http://schemas.openxmlformats.org/officeDocument/2006/relationships/image" Target="../media/image47.emf"/><Relationship Id="rId2" Type="http://schemas.openxmlformats.org/officeDocument/2006/relationships/notesSlide" Target="../notesSlides/notesSlide145.xml"/><Relationship Id="rId1" Type="http://schemas.openxmlformats.org/officeDocument/2006/relationships/slideLayout" Target="../slideLayouts/slideLayout138.xml"/><Relationship Id="rId6" Type="http://schemas.openxmlformats.org/officeDocument/2006/relationships/hyperlink" Target="http://www.rapidbbs.cn/" TargetMode="External"/><Relationship Id="rId5" Type="http://schemas.openxmlformats.org/officeDocument/2006/relationships/image" Target="../media/image451.png"/><Relationship Id="rId4" Type="http://schemas.openxmlformats.org/officeDocument/2006/relationships/image" Target="../media/image450.png"/></Relationships>
</file>

<file path=ppt/slides/_rels/slide186.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hyperlink" Target="http://www.rapidbbs.cn/" TargetMode="External"/><Relationship Id="rId1" Type="http://schemas.openxmlformats.org/officeDocument/2006/relationships/slideLayout" Target="../slideLayouts/slideLayout134.xml"/></Relationships>
</file>

<file path=ppt/slides/_rels/slide187.xml.rels><?xml version="1.0" encoding="UTF-8" standalone="yes"?>
<Relationships xmlns="http://schemas.openxmlformats.org/package/2006/relationships"><Relationship Id="rId3" Type="http://schemas.openxmlformats.org/officeDocument/2006/relationships/image" Target="../media/image453.png"/><Relationship Id="rId2" Type="http://schemas.openxmlformats.org/officeDocument/2006/relationships/image" Target="../media/image452.jpg"/><Relationship Id="rId1" Type="http://schemas.openxmlformats.org/officeDocument/2006/relationships/slideLayout" Target="../slideLayouts/slideLayout134.xml"/><Relationship Id="rId6" Type="http://schemas.openxmlformats.org/officeDocument/2006/relationships/image" Target="../media/image47.emf"/><Relationship Id="rId5" Type="http://schemas.openxmlformats.org/officeDocument/2006/relationships/hyperlink" Target="http://www.rapidbbs.cn/" TargetMode="External"/><Relationship Id="rId4" Type="http://schemas.openxmlformats.org/officeDocument/2006/relationships/image" Target="../media/image454.png"/></Relationships>
</file>

<file path=ppt/slides/_rels/slide188.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hyperlink" Target="http://www.rapidbbs.cn/" TargetMode="External"/><Relationship Id="rId1" Type="http://schemas.openxmlformats.org/officeDocument/2006/relationships/slideLayout" Target="../slideLayouts/slideLayout134.xml"/></Relationships>
</file>

<file path=ppt/slides/_rels/slide189.xml.rels><?xml version="1.0" encoding="UTF-8" standalone="yes"?>
<Relationships xmlns="http://schemas.openxmlformats.org/package/2006/relationships"><Relationship Id="rId8" Type="http://schemas.openxmlformats.org/officeDocument/2006/relationships/image" Target="../media/image461.png"/><Relationship Id="rId13" Type="http://schemas.openxmlformats.org/officeDocument/2006/relationships/image" Target="../media/image466.png"/><Relationship Id="rId18" Type="http://schemas.openxmlformats.org/officeDocument/2006/relationships/image" Target="../media/image225.png"/><Relationship Id="rId3" Type="http://schemas.openxmlformats.org/officeDocument/2006/relationships/image" Target="../media/image456.png"/><Relationship Id="rId21" Type="http://schemas.openxmlformats.org/officeDocument/2006/relationships/hyperlink" Target="http://www.rapidbbs.cn/" TargetMode="External"/><Relationship Id="rId7" Type="http://schemas.openxmlformats.org/officeDocument/2006/relationships/image" Target="../media/image460.png"/><Relationship Id="rId12" Type="http://schemas.openxmlformats.org/officeDocument/2006/relationships/image" Target="../media/image465.png"/><Relationship Id="rId17" Type="http://schemas.openxmlformats.org/officeDocument/2006/relationships/image" Target="../media/image469.png"/><Relationship Id="rId2" Type="http://schemas.openxmlformats.org/officeDocument/2006/relationships/image" Target="../media/image455.png"/><Relationship Id="rId16" Type="http://schemas.openxmlformats.org/officeDocument/2006/relationships/image" Target="../media/image468.png"/><Relationship Id="rId20" Type="http://schemas.openxmlformats.org/officeDocument/2006/relationships/image" Target="../media/image227.png"/><Relationship Id="rId1" Type="http://schemas.openxmlformats.org/officeDocument/2006/relationships/slideLayout" Target="../slideLayouts/slideLayout134.xml"/><Relationship Id="rId6" Type="http://schemas.openxmlformats.org/officeDocument/2006/relationships/image" Target="../media/image459.png"/><Relationship Id="rId11" Type="http://schemas.openxmlformats.org/officeDocument/2006/relationships/image" Target="../media/image464.png"/><Relationship Id="rId5" Type="http://schemas.openxmlformats.org/officeDocument/2006/relationships/image" Target="../media/image458.png"/><Relationship Id="rId15" Type="http://schemas.microsoft.com/office/2007/relationships/hdphoto" Target="../media/hdphoto61.wdp"/><Relationship Id="rId10" Type="http://schemas.openxmlformats.org/officeDocument/2006/relationships/image" Target="../media/image463.emf"/><Relationship Id="rId19" Type="http://schemas.openxmlformats.org/officeDocument/2006/relationships/image" Target="../media/image470.png"/><Relationship Id="rId4" Type="http://schemas.openxmlformats.org/officeDocument/2006/relationships/image" Target="../media/image457.png"/><Relationship Id="rId9" Type="http://schemas.openxmlformats.org/officeDocument/2006/relationships/image" Target="../media/image462.png"/><Relationship Id="rId14" Type="http://schemas.openxmlformats.org/officeDocument/2006/relationships/image" Target="../media/image467.png"/><Relationship Id="rId22" Type="http://schemas.openxmlformats.org/officeDocument/2006/relationships/image" Target="../media/image47.emf"/></Relationships>
</file>

<file path=ppt/slides/_rels/slide19.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notesSlide" Target="../notesSlides/notesSlide19.xml"/><Relationship Id="rId1" Type="http://schemas.openxmlformats.org/officeDocument/2006/relationships/slideLayout" Target="../slideLayouts/slideLayout6.xml"/><Relationship Id="rId4" Type="http://schemas.openxmlformats.org/officeDocument/2006/relationships/image" Target="../media/image47.emf"/></Relationships>
</file>

<file path=ppt/slides/_rels/slide190.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hyperlink" Target="http://www.rapidbbs.cn/" TargetMode="External"/><Relationship Id="rId1" Type="http://schemas.openxmlformats.org/officeDocument/2006/relationships/slideLayout" Target="../slideLayouts/slideLayout134.xml"/></Relationships>
</file>

<file path=ppt/slides/_rels/slide191.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hyperlink" Target="http://www.rapidbbs.cn/" TargetMode="External"/><Relationship Id="rId1" Type="http://schemas.openxmlformats.org/officeDocument/2006/relationships/slideLayout" Target="../slideLayouts/slideLayout139.xml"/></Relationships>
</file>

<file path=ppt/slides/_rels/slide192.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hyperlink" Target="http://www.rapidbbs.cn/" TargetMode="External"/><Relationship Id="rId1" Type="http://schemas.openxmlformats.org/officeDocument/2006/relationships/slideLayout" Target="../slideLayouts/slideLayout139.xml"/></Relationships>
</file>

<file path=ppt/slides/_rels/slide193.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image" Target="../media/image112.png"/><Relationship Id="rId1" Type="http://schemas.openxmlformats.org/officeDocument/2006/relationships/slideLayout" Target="../slideLayouts/slideLayout139.xml"/><Relationship Id="rId4" Type="http://schemas.openxmlformats.org/officeDocument/2006/relationships/image" Target="../media/image47.emf"/></Relationships>
</file>

<file path=ppt/slides/_rels/slide194.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image" Target="../media/image471.png"/><Relationship Id="rId1" Type="http://schemas.openxmlformats.org/officeDocument/2006/relationships/slideLayout" Target="../slideLayouts/slideLayout139.xml"/><Relationship Id="rId4" Type="http://schemas.openxmlformats.org/officeDocument/2006/relationships/image" Target="../media/image47.emf"/></Relationships>
</file>

<file path=ppt/slides/_rels/slide195.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hyperlink" Target="http://www.rapidbbs.cn/" TargetMode="External"/><Relationship Id="rId1" Type="http://schemas.openxmlformats.org/officeDocument/2006/relationships/slideLayout" Target="../slideLayouts/slideLayout139.xml"/></Relationships>
</file>

<file path=ppt/slides/_rels/slide196.xml.rels><?xml version="1.0" encoding="UTF-8" standalone="yes"?>
<Relationships xmlns="http://schemas.openxmlformats.org/package/2006/relationships"><Relationship Id="rId3" Type="http://schemas.openxmlformats.org/officeDocument/2006/relationships/image" Target="../media/image473.png"/><Relationship Id="rId7" Type="http://schemas.openxmlformats.org/officeDocument/2006/relationships/image" Target="../media/image47.emf"/><Relationship Id="rId2" Type="http://schemas.openxmlformats.org/officeDocument/2006/relationships/image" Target="../media/image472.png"/><Relationship Id="rId1" Type="http://schemas.openxmlformats.org/officeDocument/2006/relationships/slideLayout" Target="../slideLayouts/slideLayout134.xml"/><Relationship Id="rId6" Type="http://schemas.openxmlformats.org/officeDocument/2006/relationships/hyperlink" Target="http://www.rapidbbs.cn/" TargetMode="External"/><Relationship Id="rId5" Type="http://schemas.openxmlformats.org/officeDocument/2006/relationships/image" Target="../media/image475.png"/><Relationship Id="rId4" Type="http://schemas.openxmlformats.org/officeDocument/2006/relationships/image" Target="../media/image474.png"/></Relationships>
</file>

<file path=ppt/slides/_rels/slide197.xml.rels><?xml version="1.0" encoding="UTF-8" standalone="yes"?>
<Relationships xmlns="http://schemas.openxmlformats.org/package/2006/relationships"><Relationship Id="rId8" Type="http://schemas.openxmlformats.org/officeDocument/2006/relationships/hyperlink" Target="http://www.rapidbbs.cn/" TargetMode="External"/><Relationship Id="rId3" Type="http://schemas.openxmlformats.org/officeDocument/2006/relationships/image" Target="../media/image477.png"/><Relationship Id="rId7" Type="http://schemas.openxmlformats.org/officeDocument/2006/relationships/image" Target="../media/image481.png"/><Relationship Id="rId2" Type="http://schemas.openxmlformats.org/officeDocument/2006/relationships/image" Target="../media/image476.png"/><Relationship Id="rId1" Type="http://schemas.openxmlformats.org/officeDocument/2006/relationships/slideLayout" Target="../slideLayouts/slideLayout138.xml"/><Relationship Id="rId6" Type="http://schemas.openxmlformats.org/officeDocument/2006/relationships/image" Target="../media/image480.png"/><Relationship Id="rId5" Type="http://schemas.openxmlformats.org/officeDocument/2006/relationships/image" Target="../media/image479.png"/><Relationship Id="rId4" Type="http://schemas.openxmlformats.org/officeDocument/2006/relationships/image" Target="../media/image478.png"/><Relationship Id="rId9" Type="http://schemas.openxmlformats.org/officeDocument/2006/relationships/image" Target="../media/image47.emf"/></Relationships>
</file>

<file path=ppt/slides/_rels/slide198.xml.rels><?xml version="1.0" encoding="UTF-8" standalone="yes"?>
<Relationships xmlns="http://schemas.openxmlformats.org/package/2006/relationships"><Relationship Id="rId8" Type="http://schemas.openxmlformats.org/officeDocument/2006/relationships/image" Target="../media/image484.png"/><Relationship Id="rId3" Type="http://schemas.openxmlformats.org/officeDocument/2006/relationships/image" Target="../media/image482.jpg"/><Relationship Id="rId7" Type="http://schemas.microsoft.com/office/2007/relationships/hdphoto" Target="../media/hdphoto27.wdp"/><Relationship Id="rId2" Type="http://schemas.openxmlformats.org/officeDocument/2006/relationships/notesSlide" Target="../notesSlides/notesSlide146.xml"/><Relationship Id="rId1" Type="http://schemas.openxmlformats.org/officeDocument/2006/relationships/slideLayout" Target="../slideLayouts/slideLayout135.xml"/><Relationship Id="rId6" Type="http://schemas.openxmlformats.org/officeDocument/2006/relationships/image" Target="../media/image483.png"/><Relationship Id="rId11" Type="http://schemas.openxmlformats.org/officeDocument/2006/relationships/image" Target="../media/image47.emf"/><Relationship Id="rId5" Type="http://schemas.microsoft.com/office/2007/relationships/hdphoto" Target="../media/hdphoto26.wdp"/><Relationship Id="rId10" Type="http://schemas.openxmlformats.org/officeDocument/2006/relationships/hyperlink" Target="http://www.rapidbbs.cn/" TargetMode="External"/><Relationship Id="rId4" Type="http://schemas.openxmlformats.org/officeDocument/2006/relationships/image" Target="../media/image191.png"/><Relationship Id="rId9" Type="http://schemas.microsoft.com/office/2007/relationships/hdphoto" Target="../media/hdphoto28.wdp"/></Relationships>
</file>

<file path=ppt/slides/_rels/slide199.xml.rels><?xml version="1.0" encoding="UTF-8" standalone="yes"?>
<Relationships xmlns="http://schemas.openxmlformats.org/package/2006/relationships"><Relationship Id="rId3" Type="http://schemas.openxmlformats.org/officeDocument/2006/relationships/image" Target="../media/image485.jpeg"/><Relationship Id="rId2" Type="http://schemas.openxmlformats.org/officeDocument/2006/relationships/notesSlide" Target="../notesSlides/notesSlide147.xml"/><Relationship Id="rId1" Type="http://schemas.openxmlformats.org/officeDocument/2006/relationships/slideLayout" Target="../slideLayouts/slideLayout134.xml"/><Relationship Id="rId6" Type="http://schemas.openxmlformats.org/officeDocument/2006/relationships/image" Target="../media/image47.emf"/><Relationship Id="rId5" Type="http://schemas.openxmlformats.org/officeDocument/2006/relationships/hyperlink" Target="http://www.rapidbbs.cn/" TargetMode="External"/><Relationship Id="rId4" Type="http://schemas.openxmlformats.org/officeDocument/2006/relationships/image" Target="../media/image486.png"/></Relationships>
</file>

<file path=ppt/slides/_rels/slide2.xml.rels><?xml version="1.0" encoding="UTF-8" standalone="yes"?>
<Relationships xmlns="http://schemas.openxmlformats.org/package/2006/relationships"><Relationship Id="rId3" Type="http://schemas.openxmlformats.org/officeDocument/2006/relationships/image" Target="../media/image48.gif"/><Relationship Id="rId2" Type="http://schemas.openxmlformats.org/officeDocument/2006/relationships/notesSlide" Target="../notesSlides/notesSlide2.xml"/><Relationship Id="rId1" Type="http://schemas.openxmlformats.org/officeDocument/2006/relationships/slideLayout" Target="../slideLayouts/slideLayout8.xml"/><Relationship Id="rId5" Type="http://schemas.openxmlformats.org/officeDocument/2006/relationships/image" Target="../media/image47.emf"/><Relationship Id="rId4" Type="http://schemas.openxmlformats.org/officeDocument/2006/relationships/hyperlink" Target="http://www.rapidbbs.cn/"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hyperlink" Target="http://www.rapidbbs.cn/" TargetMode="External"/><Relationship Id="rId1" Type="http://schemas.openxmlformats.org/officeDocument/2006/relationships/slideLayout" Target="../slideLayouts/slideLayout18.xml"/></Relationships>
</file>

<file path=ppt/slides/_rels/slide200.xml.rels><?xml version="1.0" encoding="UTF-8" standalone="yes"?>
<Relationships xmlns="http://schemas.openxmlformats.org/package/2006/relationships"><Relationship Id="rId8" Type="http://schemas.openxmlformats.org/officeDocument/2006/relationships/image" Target="../media/image337.png"/><Relationship Id="rId13" Type="http://schemas.openxmlformats.org/officeDocument/2006/relationships/image" Target="../media/image342.png"/><Relationship Id="rId18" Type="http://schemas.openxmlformats.org/officeDocument/2006/relationships/image" Target="../media/image333.png"/><Relationship Id="rId3" Type="http://schemas.openxmlformats.org/officeDocument/2006/relationships/tags" Target="../tags/tag228.xml"/><Relationship Id="rId21" Type="http://schemas.openxmlformats.org/officeDocument/2006/relationships/image" Target="../media/image47.emf"/><Relationship Id="rId7" Type="http://schemas.openxmlformats.org/officeDocument/2006/relationships/image" Target="../media/image336.png"/><Relationship Id="rId12" Type="http://schemas.microsoft.com/office/2007/relationships/hdphoto" Target="../media/hdphoto43.wdp"/><Relationship Id="rId17" Type="http://schemas.microsoft.com/office/2007/relationships/hdphoto" Target="../media/hdphoto63.wdp"/><Relationship Id="rId2" Type="http://schemas.openxmlformats.org/officeDocument/2006/relationships/tags" Target="../tags/tag227.xml"/><Relationship Id="rId16" Type="http://schemas.openxmlformats.org/officeDocument/2006/relationships/image" Target="../media/image488.png"/><Relationship Id="rId20" Type="http://schemas.openxmlformats.org/officeDocument/2006/relationships/hyperlink" Target="http://www.rapidbbs.cn/" TargetMode="External"/><Relationship Id="rId1" Type="http://schemas.openxmlformats.org/officeDocument/2006/relationships/tags" Target="../tags/tag226.xml"/><Relationship Id="rId6" Type="http://schemas.openxmlformats.org/officeDocument/2006/relationships/image" Target="../media/image334.png"/><Relationship Id="rId11" Type="http://schemas.openxmlformats.org/officeDocument/2006/relationships/image" Target="../media/image338.png"/><Relationship Id="rId5" Type="http://schemas.openxmlformats.org/officeDocument/2006/relationships/image" Target="../media/image343.png"/><Relationship Id="rId15" Type="http://schemas.microsoft.com/office/2007/relationships/hdphoto" Target="../media/hdphoto62.wdp"/><Relationship Id="rId10" Type="http://schemas.openxmlformats.org/officeDocument/2006/relationships/image" Target="../media/image209.png"/><Relationship Id="rId19" Type="http://schemas.openxmlformats.org/officeDocument/2006/relationships/image" Target="../media/image230.png"/><Relationship Id="rId4" Type="http://schemas.openxmlformats.org/officeDocument/2006/relationships/slideLayout" Target="../slideLayouts/slideLayout134.xml"/><Relationship Id="rId9" Type="http://schemas.openxmlformats.org/officeDocument/2006/relationships/image" Target="../media/image341.png"/><Relationship Id="rId14" Type="http://schemas.openxmlformats.org/officeDocument/2006/relationships/image" Target="../media/image487.png"/></Relationships>
</file>

<file path=ppt/slides/_rels/slide201.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hyperlink" Target="http://www.rapidbbs.cn/" TargetMode="External"/><Relationship Id="rId1" Type="http://schemas.openxmlformats.org/officeDocument/2006/relationships/slideLayout" Target="../slideLayouts/slideLayout134.xml"/></Relationships>
</file>

<file path=ppt/slides/_rels/slide202.xml.rels><?xml version="1.0" encoding="UTF-8" standalone="yes"?>
<Relationships xmlns="http://schemas.openxmlformats.org/package/2006/relationships"><Relationship Id="rId8" Type="http://schemas.openxmlformats.org/officeDocument/2006/relationships/image" Target="../media/image96.png"/><Relationship Id="rId13" Type="http://schemas.openxmlformats.org/officeDocument/2006/relationships/image" Target="../media/image489.png"/><Relationship Id="rId3" Type="http://schemas.openxmlformats.org/officeDocument/2006/relationships/image" Target="../media/image91.png"/><Relationship Id="rId7" Type="http://schemas.openxmlformats.org/officeDocument/2006/relationships/image" Target="../media/image95.png"/><Relationship Id="rId12" Type="http://schemas.openxmlformats.org/officeDocument/2006/relationships/image" Target="../media/image100.png"/><Relationship Id="rId2" Type="http://schemas.openxmlformats.org/officeDocument/2006/relationships/notesSlide" Target="../notesSlides/notesSlide148.xml"/><Relationship Id="rId16" Type="http://schemas.openxmlformats.org/officeDocument/2006/relationships/image" Target="../media/image47.emf"/><Relationship Id="rId1" Type="http://schemas.openxmlformats.org/officeDocument/2006/relationships/slideLayout" Target="../slideLayouts/slideLayout134.xml"/><Relationship Id="rId6" Type="http://schemas.openxmlformats.org/officeDocument/2006/relationships/image" Target="../media/image94.png"/><Relationship Id="rId11" Type="http://schemas.openxmlformats.org/officeDocument/2006/relationships/image" Target="../media/image99.png"/><Relationship Id="rId5" Type="http://schemas.openxmlformats.org/officeDocument/2006/relationships/image" Target="../media/image93.png"/><Relationship Id="rId15" Type="http://schemas.openxmlformats.org/officeDocument/2006/relationships/hyperlink" Target="http://www.rapidbbs.cn/" TargetMode="External"/><Relationship Id="rId10" Type="http://schemas.openxmlformats.org/officeDocument/2006/relationships/image" Target="../media/image98.png"/><Relationship Id="rId4" Type="http://schemas.openxmlformats.org/officeDocument/2006/relationships/image" Target="../media/image92.png"/><Relationship Id="rId9" Type="http://schemas.openxmlformats.org/officeDocument/2006/relationships/image" Target="../media/image97.png"/><Relationship Id="rId14" Type="http://schemas.openxmlformats.org/officeDocument/2006/relationships/image" Target="../media/image490.png"/></Relationships>
</file>

<file path=ppt/slides/_rels/slide203.xml.rels><?xml version="1.0" encoding="UTF-8" standalone="yes"?>
<Relationships xmlns="http://schemas.openxmlformats.org/package/2006/relationships"><Relationship Id="rId3" Type="http://schemas.openxmlformats.org/officeDocument/2006/relationships/image" Target="../media/image491.png"/><Relationship Id="rId7" Type="http://schemas.openxmlformats.org/officeDocument/2006/relationships/image" Target="../media/image47.emf"/><Relationship Id="rId2" Type="http://schemas.openxmlformats.org/officeDocument/2006/relationships/notesSlide" Target="../notesSlides/notesSlide149.xml"/><Relationship Id="rId1" Type="http://schemas.openxmlformats.org/officeDocument/2006/relationships/slideLayout" Target="../slideLayouts/slideLayout8.xml"/><Relationship Id="rId6" Type="http://schemas.openxmlformats.org/officeDocument/2006/relationships/hyperlink" Target="http://www.rapidbbs.cn/" TargetMode="External"/><Relationship Id="rId5" Type="http://schemas.openxmlformats.org/officeDocument/2006/relationships/image" Target="../media/image492.png"/><Relationship Id="rId4" Type="http://schemas.microsoft.com/office/2007/relationships/hdphoto" Target="../media/hdphoto64.wdp"/></Relationships>
</file>

<file path=ppt/slides/_rels/slide204.xml.rels><?xml version="1.0" encoding="UTF-8" standalone="yes"?>
<Relationships xmlns="http://schemas.openxmlformats.org/package/2006/relationships"><Relationship Id="rId8" Type="http://schemas.openxmlformats.org/officeDocument/2006/relationships/image" Target="../media/image47.emf"/><Relationship Id="rId3" Type="http://schemas.openxmlformats.org/officeDocument/2006/relationships/image" Target="../media/image493.png"/><Relationship Id="rId7" Type="http://schemas.openxmlformats.org/officeDocument/2006/relationships/hyperlink" Target="http://www.rapidbbs.cn/" TargetMode="External"/><Relationship Id="rId2" Type="http://schemas.openxmlformats.org/officeDocument/2006/relationships/notesSlide" Target="../notesSlides/notesSlide150.xml"/><Relationship Id="rId1" Type="http://schemas.openxmlformats.org/officeDocument/2006/relationships/slideLayout" Target="../slideLayouts/slideLayout8.xml"/><Relationship Id="rId6" Type="http://schemas.openxmlformats.org/officeDocument/2006/relationships/image" Target="../media/image494.png"/><Relationship Id="rId5" Type="http://schemas.openxmlformats.org/officeDocument/2006/relationships/image" Target="../media/image492.png"/><Relationship Id="rId4" Type="http://schemas.microsoft.com/office/2007/relationships/hdphoto" Target="../media/hdphoto65.wdp"/></Relationships>
</file>

<file path=ppt/slides/_rels/slide205.xml.rels><?xml version="1.0" encoding="UTF-8" standalone="yes"?>
<Relationships xmlns="http://schemas.openxmlformats.org/package/2006/relationships"><Relationship Id="rId8" Type="http://schemas.openxmlformats.org/officeDocument/2006/relationships/image" Target="../media/image47.emf"/><Relationship Id="rId3" Type="http://schemas.openxmlformats.org/officeDocument/2006/relationships/image" Target="../media/image83.png"/><Relationship Id="rId7" Type="http://schemas.openxmlformats.org/officeDocument/2006/relationships/hyperlink" Target="http://www.rapidbbs.cn/" TargetMode="External"/><Relationship Id="rId2" Type="http://schemas.openxmlformats.org/officeDocument/2006/relationships/notesSlide" Target="../notesSlides/notesSlide151.xml"/><Relationship Id="rId1" Type="http://schemas.openxmlformats.org/officeDocument/2006/relationships/slideLayout" Target="../slideLayouts/slideLayout8.xml"/><Relationship Id="rId6" Type="http://schemas.microsoft.com/office/2007/relationships/hdphoto" Target="../media/hdphoto65.wdp"/><Relationship Id="rId5" Type="http://schemas.openxmlformats.org/officeDocument/2006/relationships/image" Target="../media/image493.png"/><Relationship Id="rId4" Type="http://schemas.openxmlformats.org/officeDocument/2006/relationships/image" Target="../media/image119.png"/></Relationships>
</file>

<file path=ppt/slides/_rels/slide206.xml.rels><?xml version="1.0" encoding="UTF-8" standalone="yes"?>
<Relationships xmlns="http://schemas.openxmlformats.org/package/2006/relationships"><Relationship Id="rId3" Type="http://schemas.openxmlformats.org/officeDocument/2006/relationships/image" Target="../media/image495.png"/><Relationship Id="rId2" Type="http://schemas.openxmlformats.org/officeDocument/2006/relationships/notesSlide" Target="../notesSlides/notesSlide152.xml"/><Relationship Id="rId1" Type="http://schemas.openxmlformats.org/officeDocument/2006/relationships/slideLayout" Target="../slideLayouts/slideLayout8.xml"/><Relationship Id="rId5" Type="http://schemas.openxmlformats.org/officeDocument/2006/relationships/image" Target="../media/image47.emf"/><Relationship Id="rId4" Type="http://schemas.openxmlformats.org/officeDocument/2006/relationships/hyperlink" Target="http://www.rapidbbs.cn/" TargetMode="External"/></Relationships>
</file>

<file path=ppt/slides/_rels/slide207.xml.rels><?xml version="1.0" encoding="UTF-8" standalone="yes"?>
<Relationships xmlns="http://schemas.openxmlformats.org/package/2006/relationships"><Relationship Id="rId8" Type="http://schemas.openxmlformats.org/officeDocument/2006/relationships/image" Target="../media/image47.emf"/><Relationship Id="rId3" Type="http://schemas.openxmlformats.org/officeDocument/2006/relationships/image" Target="../media/image496.png"/><Relationship Id="rId7" Type="http://schemas.openxmlformats.org/officeDocument/2006/relationships/hyperlink" Target="http://www.rapidbbs.cn/" TargetMode="External"/><Relationship Id="rId2" Type="http://schemas.openxmlformats.org/officeDocument/2006/relationships/notesSlide" Target="../notesSlides/notesSlide153.xml"/><Relationship Id="rId1" Type="http://schemas.openxmlformats.org/officeDocument/2006/relationships/slideLayout" Target="../slideLayouts/slideLayout8.xml"/><Relationship Id="rId6" Type="http://schemas.microsoft.com/office/2007/relationships/hdphoto" Target="../media/hdphoto65.wdp"/><Relationship Id="rId5" Type="http://schemas.openxmlformats.org/officeDocument/2006/relationships/image" Target="../media/image493.png"/><Relationship Id="rId4" Type="http://schemas.microsoft.com/office/2007/relationships/hdphoto" Target="../media/hdphoto66.wdp"/></Relationships>
</file>

<file path=ppt/slides/_rels/slide208.xml.rels><?xml version="1.0" encoding="UTF-8" standalone="yes"?>
<Relationships xmlns="http://schemas.openxmlformats.org/package/2006/relationships"><Relationship Id="rId8" Type="http://schemas.microsoft.com/office/2007/relationships/hdphoto" Target="../media/hdphoto67.wdp"/><Relationship Id="rId13" Type="http://schemas.openxmlformats.org/officeDocument/2006/relationships/hyperlink" Target="http://www.rapidbbs.cn/" TargetMode="External"/><Relationship Id="rId3" Type="http://schemas.openxmlformats.org/officeDocument/2006/relationships/slideLayout" Target="../slideLayouts/slideLayout8.xml"/><Relationship Id="rId7" Type="http://schemas.openxmlformats.org/officeDocument/2006/relationships/image" Target="../media/image498.png"/><Relationship Id="rId12" Type="http://schemas.microsoft.com/office/2007/relationships/hdphoto" Target="../media/hdphoto24.wdp"/><Relationship Id="rId2" Type="http://schemas.openxmlformats.org/officeDocument/2006/relationships/tags" Target="../tags/tag230.xml"/><Relationship Id="rId1" Type="http://schemas.openxmlformats.org/officeDocument/2006/relationships/tags" Target="../tags/tag229.xml"/><Relationship Id="rId6" Type="http://schemas.openxmlformats.org/officeDocument/2006/relationships/image" Target="../media/image497.png"/><Relationship Id="rId11" Type="http://schemas.openxmlformats.org/officeDocument/2006/relationships/image" Target="../media/image179.png"/><Relationship Id="rId5" Type="http://schemas.openxmlformats.org/officeDocument/2006/relationships/image" Target="../media/image492.png"/><Relationship Id="rId10" Type="http://schemas.microsoft.com/office/2007/relationships/hdphoto" Target="../media/hdphoto23.wdp"/><Relationship Id="rId4" Type="http://schemas.openxmlformats.org/officeDocument/2006/relationships/notesSlide" Target="../notesSlides/notesSlide154.xml"/><Relationship Id="rId9" Type="http://schemas.openxmlformats.org/officeDocument/2006/relationships/image" Target="../media/image178.png"/><Relationship Id="rId14" Type="http://schemas.openxmlformats.org/officeDocument/2006/relationships/image" Target="../media/image47.emf"/></Relationships>
</file>

<file path=ppt/slides/_rels/slide209.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hyperlink" Target="http://www.rapidbbs.cn/" TargetMode="Externa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image" Target="../media/image69.jpeg"/><Relationship Id="rId7" Type="http://schemas.openxmlformats.org/officeDocument/2006/relationships/image" Target="../media/image73.png"/><Relationship Id="rId2" Type="http://schemas.openxmlformats.org/officeDocument/2006/relationships/notesSlide" Target="../notesSlides/notesSlide20.xml"/><Relationship Id="rId1" Type="http://schemas.openxmlformats.org/officeDocument/2006/relationships/slideLayout" Target="../slideLayouts/slideLayout13.xml"/><Relationship Id="rId6" Type="http://schemas.openxmlformats.org/officeDocument/2006/relationships/image" Target="../media/image72.png"/><Relationship Id="rId5" Type="http://schemas.openxmlformats.org/officeDocument/2006/relationships/image" Target="../media/image71.png"/><Relationship Id="rId10" Type="http://schemas.openxmlformats.org/officeDocument/2006/relationships/image" Target="../media/image47.emf"/><Relationship Id="rId4" Type="http://schemas.openxmlformats.org/officeDocument/2006/relationships/image" Target="../media/image70.png"/><Relationship Id="rId9" Type="http://schemas.openxmlformats.org/officeDocument/2006/relationships/hyperlink" Target="http://www.rapidbbs.cn/" TargetMode="External"/></Relationships>
</file>

<file path=ppt/slides/_rels/slide210.xml.rels><?xml version="1.0" encoding="UTF-8" standalone="yes"?>
<Relationships xmlns="http://schemas.openxmlformats.org/package/2006/relationships"><Relationship Id="rId3" Type="http://schemas.openxmlformats.org/officeDocument/2006/relationships/image" Target="../media/image113.emf"/><Relationship Id="rId2" Type="http://schemas.openxmlformats.org/officeDocument/2006/relationships/notesSlide" Target="../notesSlides/notesSlide155.xml"/><Relationship Id="rId1" Type="http://schemas.openxmlformats.org/officeDocument/2006/relationships/slideLayout" Target="../slideLayouts/slideLayout8.xml"/><Relationship Id="rId6" Type="http://schemas.openxmlformats.org/officeDocument/2006/relationships/image" Target="../media/image47.emf"/><Relationship Id="rId5" Type="http://schemas.openxmlformats.org/officeDocument/2006/relationships/hyperlink" Target="http://www.rapidbbs.cn/" TargetMode="External"/><Relationship Id="rId4" Type="http://schemas.openxmlformats.org/officeDocument/2006/relationships/image" Target="../media/image1.png"/></Relationships>
</file>

<file path=ppt/slides/_rels/slide211.xml.rels><?xml version="1.0" encoding="UTF-8" standalone="yes"?>
<Relationships xmlns="http://schemas.openxmlformats.org/package/2006/relationships"><Relationship Id="rId3" Type="http://schemas.openxmlformats.org/officeDocument/2006/relationships/image" Target="../media/image499.png"/><Relationship Id="rId2" Type="http://schemas.openxmlformats.org/officeDocument/2006/relationships/notesSlide" Target="../notesSlides/notesSlide156.xml"/><Relationship Id="rId1" Type="http://schemas.openxmlformats.org/officeDocument/2006/relationships/slideLayout" Target="../slideLayouts/slideLayout8.xml"/><Relationship Id="rId6" Type="http://schemas.openxmlformats.org/officeDocument/2006/relationships/image" Target="../media/image47.emf"/><Relationship Id="rId5" Type="http://schemas.openxmlformats.org/officeDocument/2006/relationships/hyperlink" Target="http://www.rapidbbs.cn/" TargetMode="External"/><Relationship Id="rId4" Type="http://schemas.openxmlformats.org/officeDocument/2006/relationships/image" Target="../media/image1.png"/></Relationships>
</file>

<file path=ppt/slides/_rels/slide2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57.xml"/><Relationship Id="rId1" Type="http://schemas.openxmlformats.org/officeDocument/2006/relationships/slideLayout" Target="../slideLayouts/slideLayout8.xml"/><Relationship Id="rId5" Type="http://schemas.openxmlformats.org/officeDocument/2006/relationships/image" Target="../media/image47.emf"/><Relationship Id="rId4" Type="http://schemas.openxmlformats.org/officeDocument/2006/relationships/hyperlink" Target="http://www.rapidbbs.cn/" TargetMode="External"/></Relationships>
</file>

<file path=ppt/slides/_rels/slide213.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image" Target="../media/image1.png"/><Relationship Id="rId1" Type="http://schemas.openxmlformats.org/officeDocument/2006/relationships/slideLayout" Target="../slideLayouts/slideLayout8.xml"/><Relationship Id="rId4" Type="http://schemas.openxmlformats.org/officeDocument/2006/relationships/image" Target="../media/image47.emf"/></Relationships>
</file>

<file path=ppt/slides/_rels/slide214.xml.rels><?xml version="1.0" encoding="UTF-8" standalone="yes"?>
<Relationships xmlns="http://schemas.openxmlformats.org/package/2006/relationships"><Relationship Id="rId8" Type="http://schemas.microsoft.com/office/2007/relationships/hdphoto" Target="../media/hdphoto67.wdp"/><Relationship Id="rId13" Type="http://schemas.openxmlformats.org/officeDocument/2006/relationships/hyperlink" Target="http://www.rapidbbs.cn/" TargetMode="External"/><Relationship Id="rId3" Type="http://schemas.openxmlformats.org/officeDocument/2006/relationships/slideLayout" Target="../slideLayouts/slideLayout8.xml"/><Relationship Id="rId7" Type="http://schemas.openxmlformats.org/officeDocument/2006/relationships/image" Target="../media/image498.png"/><Relationship Id="rId12" Type="http://schemas.microsoft.com/office/2007/relationships/hdphoto" Target="../media/hdphoto24.wdp"/><Relationship Id="rId2" Type="http://schemas.openxmlformats.org/officeDocument/2006/relationships/tags" Target="../tags/tag232.xml"/><Relationship Id="rId1" Type="http://schemas.openxmlformats.org/officeDocument/2006/relationships/tags" Target="../tags/tag231.xml"/><Relationship Id="rId6" Type="http://schemas.openxmlformats.org/officeDocument/2006/relationships/image" Target="../media/image497.png"/><Relationship Id="rId11" Type="http://schemas.openxmlformats.org/officeDocument/2006/relationships/image" Target="../media/image179.png"/><Relationship Id="rId5" Type="http://schemas.openxmlformats.org/officeDocument/2006/relationships/image" Target="../media/image492.png"/><Relationship Id="rId10" Type="http://schemas.microsoft.com/office/2007/relationships/hdphoto" Target="../media/hdphoto23.wdp"/><Relationship Id="rId4" Type="http://schemas.openxmlformats.org/officeDocument/2006/relationships/notesSlide" Target="../notesSlides/notesSlide158.xml"/><Relationship Id="rId9" Type="http://schemas.openxmlformats.org/officeDocument/2006/relationships/image" Target="../media/image178.png"/><Relationship Id="rId14" Type="http://schemas.openxmlformats.org/officeDocument/2006/relationships/image" Target="../media/image47.emf"/></Relationships>
</file>

<file path=ppt/slides/_rels/slide215.xml.rels><?xml version="1.0" encoding="UTF-8" standalone="yes"?>
<Relationships xmlns="http://schemas.openxmlformats.org/package/2006/relationships"><Relationship Id="rId3" Type="http://schemas.openxmlformats.org/officeDocument/2006/relationships/image" Target="../media/image500.png"/><Relationship Id="rId2" Type="http://schemas.openxmlformats.org/officeDocument/2006/relationships/notesSlide" Target="../notesSlides/notesSlide159.xml"/><Relationship Id="rId1" Type="http://schemas.openxmlformats.org/officeDocument/2006/relationships/slideLayout" Target="../slideLayouts/slideLayout8.xml"/><Relationship Id="rId6" Type="http://schemas.openxmlformats.org/officeDocument/2006/relationships/image" Target="../media/image47.emf"/><Relationship Id="rId5" Type="http://schemas.openxmlformats.org/officeDocument/2006/relationships/hyperlink" Target="http://www.rapidbbs.cn/" TargetMode="External"/><Relationship Id="rId4" Type="http://schemas.openxmlformats.org/officeDocument/2006/relationships/image" Target="../media/image1.png"/></Relationships>
</file>

<file path=ppt/slides/_rels/slide216.xml.rels><?xml version="1.0" encoding="UTF-8" standalone="yes"?>
<Relationships xmlns="http://schemas.openxmlformats.org/package/2006/relationships"><Relationship Id="rId8" Type="http://schemas.openxmlformats.org/officeDocument/2006/relationships/image" Target="../media/image503.png"/><Relationship Id="rId13" Type="http://schemas.openxmlformats.org/officeDocument/2006/relationships/hyperlink" Target="http://www.rapidbbs.cn/" TargetMode="External"/><Relationship Id="rId3" Type="http://schemas.openxmlformats.org/officeDocument/2006/relationships/image" Target="../media/image181.png"/><Relationship Id="rId7" Type="http://schemas.microsoft.com/office/2007/relationships/hdphoto" Target="../media/hdphoto69.wdp"/><Relationship Id="rId12" Type="http://schemas.openxmlformats.org/officeDocument/2006/relationships/hyperlink" Target="mailto:vishal.joshi@microsoft.com" TargetMode="External"/><Relationship Id="rId2" Type="http://schemas.openxmlformats.org/officeDocument/2006/relationships/notesSlide" Target="../notesSlides/notesSlide160.xml"/><Relationship Id="rId1" Type="http://schemas.openxmlformats.org/officeDocument/2006/relationships/slideLayout" Target="../slideLayouts/slideLayout8.xml"/><Relationship Id="rId6" Type="http://schemas.openxmlformats.org/officeDocument/2006/relationships/image" Target="../media/image502.png"/><Relationship Id="rId11" Type="http://schemas.openxmlformats.org/officeDocument/2006/relationships/hyperlink" Target="http://twitter.com/vishalrjoshi" TargetMode="External"/><Relationship Id="rId5" Type="http://schemas.microsoft.com/office/2007/relationships/hdphoto" Target="../media/hdphoto68.wdp"/><Relationship Id="rId10" Type="http://schemas.openxmlformats.org/officeDocument/2006/relationships/hyperlink" Target="http://vishalrjoshi.com/" TargetMode="External"/><Relationship Id="rId4" Type="http://schemas.openxmlformats.org/officeDocument/2006/relationships/image" Target="../media/image501.png"/><Relationship Id="rId9" Type="http://schemas.microsoft.com/office/2007/relationships/hdphoto" Target="../media/hdphoto70.wdp"/><Relationship Id="rId14" Type="http://schemas.openxmlformats.org/officeDocument/2006/relationships/image" Target="../media/image47.emf"/></Relationships>
</file>

<file path=ppt/slides/_rels/slide217.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161.xml"/><Relationship Id="rId1" Type="http://schemas.openxmlformats.org/officeDocument/2006/relationships/slideLayout" Target="../slideLayouts/slideLayout8.xml"/><Relationship Id="rId5" Type="http://schemas.openxmlformats.org/officeDocument/2006/relationships/image" Target="../media/image47.emf"/><Relationship Id="rId4" Type="http://schemas.openxmlformats.org/officeDocument/2006/relationships/hyperlink" Target="http://www.rapidbbs.cn/" TargetMode="External"/></Relationships>
</file>

<file path=ppt/slides/_rels/slide218.xml.rels><?xml version="1.0" encoding="UTF-8" standalone="yes"?>
<Relationships xmlns="http://schemas.openxmlformats.org/package/2006/relationships"><Relationship Id="rId8" Type="http://schemas.openxmlformats.org/officeDocument/2006/relationships/hyperlink" Target="http://www.rapidbbs.cn/" TargetMode="External"/><Relationship Id="rId3" Type="http://schemas.openxmlformats.org/officeDocument/2006/relationships/image" Target="../media/image181.png"/><Relationship Id="rId7" Type="http://schemas.microsoft.com/office/2007/relationships/hdphoto" Target="../media/hdphoto68.wdp"/><Relationship Id="rId2" Type="http://schemas.openxmlformats.org/officeDocument/2006/relationships/notesSlide" Target="../notesSlides/notesSlide162.xml"/><Relationship Id="rId1" Type="http://schemas.openxmlformats.org/officeDocument/2006/relationships/slideLayout" Target="../slideLayouts/slideLayout8.xml"/><Relationship Id="rId6" Type="http://schemas.openxmlformats.org/officeDocument/2006/relationships/image" Target="../media/image501.png"/><Relationship Id="rId5" Type="http://schemas.microsoft.com/office/2007/relationships/hdphoto" Target="../media/hdphoto69.wdp"/><Relationship Id="rId4" Type="http://schemas.openxmlformats.org/officeDocument/2006/relationships/image" Target="../media/image502.png"/><Relationship Id="rId9" Type="http://schemas.openxmlformats.org/officeDocument/2006/relationships/image" Target="../media/image47.emf"/></Relationships>
</file>

<file path=ppt/slides/_rels/slide219.xml.rels><?xml version="1.0" encoding="UTF-8" standalone="yes"?>
<Relationships xmlns="http://schemas.openxmlformats.org/package/2006/relationships"><Relationship Id="rId8" Type="http://schemas.openxmlformats.org/officeDocument/2006/relationships/image" Target="../media/image507.png"/><Relationship Id="rId3" Type="http://schemas.microsoft.com/office/2007/relationships/hdphoto" Target="../media/hdphoto71.wdp"/><Relationship Id="rId7" Type="http://schemas.microsoft.com/office/2007/relationships/hdphoto" Target="../media/hdphoto73.wdp"/><Relationship Id="rId12" Type="http://schemas.openxmlformats.org/officeDocument/2006/relationships/image" Target="../media/image47.emf"/><Relationship Id="rId2" Type="http://schemas.openxmlformats.org/officeDocument/2006/relationships/image" Target="../media/image504.png"/><Relationship Id="rId1" Type="http://schemas.openxmlformats.org/officeDocument/2006/relationships/slideLayout" Target="../slideLayouts/slideLayout8.xml"/><Relationship Id="rId6" Type="http://schemas.openxmlformats.org/officeDocument/2006/relationships/image" Target="../media/image506.png"/><Relationship Id="rId11" Type="http://schemas.openxmlformats.org/officeDocument/2006/relationships/hyperlink" Target="http://www.rapidbbs.cn/" TargetMode="External"/><Relationship Id="rId5" Type="http://schemas.microsoft.com/office/2007/relationships/hdphoto" Target="../media/hdphoto72.wdp"/><Relationship Id="rId10" Type="http://schemas.microsoft.com/office/2007/relationships/hdphoto" Target="../media/hdphoto74.wdp"/><Relationship Id="rId4" Type="http://schemas.openxmlformats.org/officeDocument/2006/relationships/image" Target="../media/image505.png"/><Relationship Id="rId9" Type="http://schemas.openxmlformats.org/officeDocument/2006/relationships/image" Target="../media/image508.png"/></Relationships>
</file>

<file path=ppt/slides/_rels/slide22.xml.rels><?xml version="1.0" encoding="UTF-8" standalone="yes"?>
<Relationships xmlns="http://schemas.openxmlformats.org/package/2006/relationships"><Relationship Id="rId8" Type="http://schemas.openxmlformats.org/officeDocument/2006/relationships/image" Target="../media/image78.png"/><Relationship Id="rId3" Type="http://schemas.microsoft.com/office/2007/relationships/hdphoto" Target="../media/hdphoto7.wdp"/><Relationship Id="rId7" Type="http://schemas.microsoft.com/office/2007/relationships/hdphoto" Target="../media/hdphoto9.wdp"/><Relationship Id="rId2" Type="http://schemas.openxmlformats.org/officeDocument/2006/relationships/image" Target="../media/image75.png"/><Relationship Id="rId1" Type="http://schemas.openxmlformats.org/officeDocument/2006/relationships/slideLayout" Target="../slideLayouts/slideLayout8.xml"/><Relationship Id="rId6" Type="http://schemas.openxmlformats.org/officeDocument/2006/relationships/image" Target="../media/image77.png"/><Relationship Id="rId11" Type="http://schemas.openxmlformats.org/officeDocument/2006/relationships/image" Target="../media/image47.emf"/><Relationship Id="rId5" Type="http://schemas.microsoft.com/office/2007/relationships/hdphoto" Target="../media/hdphoto8.wdp"/><Relationship Id="rId10" Type="http://schemas.openxmlformats.org/officeDocument/2006/relationships/hyperlink" Target="http://www.rapidbbs.cn/" TargetMode="External"/><Relationship Id="rId4" Type="http://schemas.openxmlformats.org/officeDocument/2006/relationships/image" Target="../media/image76.png"/><Relationship Id="rId9" Type="http://schemas.microsoft.com/office/2007/relationships/hdphoto" Target="../media/hdphoto10.wdp"/></Relationships>
</file>

<file path=ppt/slides/_rels/slide220.xml.rels><?xml version="1.0" encoding="UTF-8" standalone="yes"?>
<Relationships xmlns="http://schemas.openxmlformats.org/package/2006/relationships"><Relationship Id="rId3" Type="http://schemas.openxmlformats.org/officeDocument/2006/relationships/image" Target="../media/image510.png"/><Relationship Id="rId7" Type="http://schemas.openxmlformats.org/officeDocument/2006/relationships/image" Target="../media/image47.emf"/><Relationship Id="rId2" Type="http://schemas.openxmlformats.org/officeDocument/2006/relationships/image" Target="../media/image509.png"/><Relationship Id="rId1" Type="http://schemas.openxmlformats.org/officeDocument/2006/relationships/slideLayout" Target="../slideLayouts/slideLayout8.xml"/><Relationship Id="rId6" Type="http://schemas.openxmlformats.org/officeDocument/2006/relationships/hyperlink" Target="http://www.rapidbbs.cn/" TargetMode="External"/><Relationship Id="rId5" Type="http://schemas.openxmlformats.org/officeDocument/2006/relationships/image" Target="../media/image512.png"/><Relationship Id="rId4" Type="http://schemas.openxmlformats.org/officeDocument/2006/relationships/image" Target="../media/image511.png"/></Relationships>
</file>

<file path=ppt/slides/_rels/slide221.xml.rels><?xml version="1.0" encoding="UTF-8" standalone="yes"?>
<Relationships xmlns="http://schemas.openxmlformats.org/package/2006/relationships"><Relationship Id="rId8" Type="http://schemas.openxmlformats.org/officeDocument/2006/relationships/image" Target="../media/image519.png"/><Relationship Id="rId13" Type="http://schemas.openxmlformats.org/officeDocument/2006/relationships/image" Target="../media/image523.png"/><Relationship Id="rId18" Type="http://schemas.microsoft.com/office/2007/relationships/hdphoto" Target="../media/hdphoto78.wdp"/><Relationship Id="rId26" Type="http://schemas.openxmlformats.org/officeDocument/2006/relationships/image" Target="../media/image131.png"/><Relationship Id="rId3" Type="http://schemas.openxmlformats.org/officeDocument/2006/relationships/image" Target="../media/image514.png"/><Relationship Id="rId21" Type="http://schemas.openxmlformats.org/officeDocument/2006/relationships/image" Target="../media/image528.png"/><Relationship Id="rId7" Type="http://schemas.openxmlformats.org/officeDocument/2006/relationships/image" Target="../media/image518.png"/><Relationship Id="rId12" Type="http://schemas.openxmlformats.org/officeDocument/2006/relationships/image" Target="../media/image522.png"/><Relationship Id="rId17" Type="http://schemas.openxmlformats.org/officeDocument/2006/relationships/image" Target="../media/image525.png"/><Relationship Id="rId25" Type="http://schemas.openxmlformats.org/officeDocument/2006/relationships/image" Target="../media/image130.png"/><Relationship Id="rId2" Type="http://schemas.openxmlformats.org/officeDocument/2006/relationships/image" Target="../media/image513.png"/><Relationship Id="rId16" Type="http://schemas.microsoft.com/office/2007/relationships/hdphoto" Target="../media/hdphoto77.wdp"/><Relationship Id="rId20" Type="http://schemas.openxmlformats.org/officeDocument/2006/relationships/image" Target="../media/image527.png"/><Relationship Id="rId29" Type="http://schemas.openxmlformats.org/officeDocument/2006/relationships/image" Target="../media/image47.emf"/><Relationship Id="rId1" Type="http://schemas.openxmlformats.org/officeDocument/2006/relationships/slideLayout" Target="../slideLayouts/slideLayout8.xml"/><Relationship Id="rId6" Type="http://schemas.openxmlformats.org/officeDocument/2006/relationships/image" Target="../media/image517.png"/><Relationship Id="rId11" Type="http://schemas.microsoft.com/office/2007/relationships/hdphoto" Target="../media/hdphoto75.wdp"/><Relationship Id="rId24" Type="http://schemas.openxmlformats.org/officeDocument/2006/relationships/image" Target="../media/image132.png"/><Relationship Id="rId5" Type="http://schemas.openxmlformats.org/officeDocument/2006/relationships/image" Target="../media/image516.png"/><Relationship Id="rId15" Type="http://schemas.openxmlformats.org/officeDocument/2006/relationships/image" Target="../media/image524.png"/><Relationship Id="rId23" Type="http://schemas.openxmlformats.org/officeDocument/2006/relationships/image" Target="../media/image530.png"/><Relationship Id="rId28" Type="http://schemas.openxmlformats.org/officeDocument/2006/relationships/hyperlink" Target="http://www.rapidbbs.cn/" TargetMode="External"/><Relationship Id="rId10" Type="http://schemas.openxmlformats.org/officeDocument/2006/relationships/image" Target="../media/image521.png"/><Relationship Id="rId19" Type="http://schemas.openxmlformats.org/officeDocument/2006/relationships/image" Target="../media/image526.png"/><Relationship Id="rId4" Type="http://schemas.openxmlformats.org/officeDocument/2006/relationships/image" Target="../media/image515.png"/><Relationship Id="rId9" Type="http://schemas.openxmlformats.org/officeDocument/2006/relationships/image" Target="../media/image520.png"/><Relationship Id="rId14" Type="http://schemas.microsoft.com/office/2007/relationships/hdphoto" Target="../media/hdphoto76.wdp"/><Relationship Id="rId22" Type="http://schemas.openxmlformats.org/officeDocument/2006/relationships/image" Target="../media/image529.png"/><Relationship Id="rId27" Type="http://schemas.openxmlformats.org/officeDocument/2006/relationships/image" Target="../media/image531.png"/></Relationships>
</file>

<file path=ppt/slides/_rels/slide222.xml.rels><?xml version="1.0" encoding="UTF-8" standalone="yes"?>
<Relationships xmlns="http://schemas.openxmlformats.org/package/2006/relationships"><Relationship Id="rId3" Type="http://schemas.openxmlformats.org/officeDocument/2006/relationships/image" Target="../media/image533.emf"/><Relationship Id="rId2" Type="http://schemas.openxmlformats.org/officeDocument/2006/relationships/image" Target="../media/image532.emf"/><Relationship Id="rId1" Type="http://schemas.openxmlformats.org/officeDocument/2006/relationships/slideLayout" Target="../slideLayouts/slideLayout8.xml"/><Relationship Id="rId5" Type="http://schemas.openxmlformats.org/officeDocument/2006/relationships/image" Target="../media/image47.emf"/><Relationship Id="rId4" Type="http://schemas.openxmlformats.org/officeDocument/2006/relationships/hyperlink" Target="http://www.rapidbbs.cn/" TargetMode="External"/></Relationships>
</file>

<file path=ppt/slides/_rels/slide223.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image" Target="../media/image534.jpeg"/><Relationship Id="rId1" Type="http://schemas.openxmlformats.org/officeDocument/2006/relationships/slideLayout" Target="../slideLayouts/slideLayout13.xml"/><Relationship Id="rId4" Type="http://schemas.openxmlformats.org/officeDocument/2006/relationships/image" Target="../media/image47.emf"/></Relationships>
</file>

<file path=ppt/slides/_rels/slide224.xml.rels><?xml version="1.0" encoding="UTF-8" standalone="yes"?>
<Relationships xmlns="http://schemas.openxmlformats.org/package/2006/relationships"><Relationship Id="rId8" Type="http://schemas.openxmlformats.org/officeDocument/2006/relationships/image" Target="../media/image47.emf"/><Relationship Id="rId3" Type="http://schemas.openxmlformats.org/officeDocument/2006/relationships/image" Target="../media/image536.png"/><Relationship Id="rId7" Type="http://schemas.openxmlformats.org/officeDocument/2006/relationships/hyperlink" Target="http://www.rapidbbs.cn/" TargetMode="External"/><Relationship Id="rId2" Type="http://schemas.openxmlformats.org/officeDocument/2006/relationships/image" Target="../media/image535.png"/><Relationship Id="rId1" Type="http://schemas.openxmlformats.org/officeDocument/2006/relationships/slideLayout" Target="../slideLayouts/slideLayout13.xml"/><Relationship Id="rId6" Type="http://schemas.openxmlformats.org/officeDocument/2006/relationships/image" Target="../media/image539.png"/><Relationship Id="rId5" Type="http://schemas.openxmlformats.org/officeDocument/2006/relationships/image" Target="../media/image538.png"/><Relationship Id="rId4" Type="http://schemas.openxmlformats.org/officeDocument/2006/relationships/image" Target="../media/image537.png"/></Relationships>
</file>

<file path=ppt/slides/_rels/slide225.xml.rels><?xml version="1.0" encoding="UTF-8" standalone="yes"?>
<Relationships xmlns="http://schemas.openxmlformats.org/package/2006/relationships"><Relationship Id="rId8" Type="http://schemas.openxmlformats.org/officeDocument/2006/relationships/image" Target="../media/image360.png"/><Relationship Id="rId13" Type="http://schemas.openxmlformats.org/officeDocument/2006/relationships/image" Target="../media/image365.png"/><Relationship Id="rId3" Type="http://schemas.openxmlformats.org/officeDocument/2006/relationships/image" Target="../media/image355.png"/><Relationship Id="rId7" Type="http://schemas.openxmlformats.org/officeDocument/2006/relationships/image" Target="../media/image359.png"/><Relationship Id="rId12" Type="http://schemas.openxmlformats.org/officeDocument/2006/relationships/image" Target="../media/image364.png"/><Relationship Id="rId17" Type="http://schemas.openxmlformats.org/officeDocument/2006/relationships/image" Target="../media/image47.emf"/><Relationship Id="rId2" Type="http://schemas.openxmlformats.org/officeDocument/2006/relationships/image" Target="../media/image540.png"/><Relationship Id="rId16" Type="http://schemas.openxmlformats.org/officeDocument/2006/relationships/hyperlink" Target="http://www.rapidbbs.cn/" TargetMode="External"/><Relationship Id="rId1" Type="http://schemas.openxmlformats.org/officeDocument/2006/relationships/slideLayout" Target="../slideLayouts/slideLayout13.xml"/><Relationship Id="rId6" Type="http://schemas.openxmlformats.org/officeDocument/2006/relationships/image" Target="../media/image358.png"/><Relationship Id="rId11" Type="http://schemas.openxmlformats.org/officeDocument/2006/relationships/image" Target="../media/image363.png"/><Relationship Id="rId5" Type="http://schemas.openxmlformats.org/officeDocument/2006/relationships/image" Target="../media/image357.png"/><Relationship Id="rId15" Type="http://schemas.openxmlformats.org/officeDocument/2006/relationships/image" Target="../media/image367.png"/><Relationship Id="rId10" Type="http://schemas.openxmlformats.org/officeDocument/2006/relationships/image" Target="../media/image362.png"/><Relationship Id="rId4" Type="http://schemas.openxmlformats.org/officeDocument/2006/relationships/image" Target="../media/image356.png"/><Relationship Id="rId9" Type="http://schemas.openxmlformats.org/officeDocument/2006/relationships/image" Target="../media/image361.png"/><Relationship Id="rId14" Type="http://schemas.openxmlformats.org/officeDocument/2006/relationships/image" Target="../media/image366.png"/></Relationships>
</file>

<file path=ppt/slides/_rels/slide226.xml.rels><?xml version="1.0" encoding="UTF-8" standalone="yes"?>
<Relationships xmlns="http://schemas.openxmlformats.org/package/2006/relationships"><Relationship Id="rId3" Type="http://schemas.openxmlformats.org/officeDocument/2006/relationships/image" Target="../media/image542.png"/><Relationship Id="rId7" Type="http://schemas.openxmlformats.org/officeDocument/2006/relationships/image" Target="../media/image47.emf"/><Relationship Id="rId2" Type="http://schemas.openxmlformats.org/officeDocument/2006/relationships/image" Target="../media/image541.png"/><Relationship Id="rId1" Type="http://schemas.openxmlformats.org/officeDocument/2006/relationships/slideLayout" Target="../slideLayouts/slideLayout13.xml"/><Relationship Id="rId6" Type="http://schemas.openxmlformats.org/officeDocument/2006/relationships/hyperlink" Target="http://www.rapidbbs.cn/" TargetMode="External"/><Relationship Id="rId5" Type="http://schemas.openxmlformats.org/officeDocument/2006/relationships/image" Target="../media/image544.png"/><Relationship Id="rId4" Type="http://schemas.openxmlformats.org/officeDocument/2006/relationships/image" Target="../media/image543.png"/></Relationships>
</file>

<file path=ppt/slides/_rels/slide227.xml.rels><?xml version="1.0" encoding="UTF-8" standalone="yes"?>
<Relationships xmlns="http://schemas.openxmlformats.org/package/2006/relationships"><Relationship Id="rId8" Type="http://schemas.openxmlformats.org/officeDocument/2006/relationships/image" Target="../media/image549.png"/><Relationship Id="rId3" Type="http://schemas.openxmlformats.org/officeDocument/2006/relationships/image" Target="../media/image546.png"/><Relationship Id="rId7" Type="http://schemas.openxmlformats.org/officeDocument/2006/relationships/image" Target="../media/image373.png"/><Relationship Id="rId12" Type="http://schemas.openxmlformats.org/officeDocument/2006/relationships/image" Target="../media/image47.emf"/><Relationship Id="rId2" Type="http://schemas.openxmlformats.org/officeDocument/2006/relationships/image" Target="../media/image545.png"/><Relationship Id="rId1" Type="http://schemas.openxmlformats.org/officeDocument/2006/relationships/slideLayout" Target="../slideLayouts/slideLayout13.xml"/><Relationship Id="rId6" Type="http://schemas.openxmlformats.org/officeDocument/2006/relationships/image" Target="../media/image548.png"/><Relationship Id="rId11" Type="http://schemas.openxmlformats.org/officeDocument/2006/relationships/hyperlink" Target="http://www.rapidbbs.cn/" TargetMode="External"/><Relationship Id="rId5" Type="http://schemas.openxmlformats.org/officeDocument/2006/relationships/image" Target="../media/image480.png"/><Relationship Id="rId10" Type="http://schemas.openxmlformats.org/officeDocument/2006/relationships/image" Target="../media/image551.png"/><Relationship Id="rId4" Type="http://schemas.openxmlformats.org/officeDocument/2006/relationships/image" Target="../media/image547.png"/><Relationship Id="rId9" Type="http://schemas.openxmlformats.org/officeDocument/2006/relationships/image" Target="../media/image550.png"/></Relationships>
</file>

<file path=ppt/slides/_rels/slide228.xml.rels><?xml version="1.0" encoding="UTF-8" standalone="yes"?>
<Relationships xmlns="http://schemas.openxmlformats.org/package/2006/relationships"><Relationship Id="rId8" Type="http://schemas.openxmlformats.org/officeDocument/2006/relationships/image" Target="../media/image383.png"/><Relationship Id="rId3" Type="http://schemas.openxmlformats.org/officeDocument/2006/relationships/image" Target="../media/image553.png"/><Relationship Id="rId7" Type="http://schemas.openxmlformats.org/officeDocument/2006/relationships/image" Target="../media/image555.png"/><Relationship Id="rId2" Type="http://schemas.openxmlformats.org/officeDocument/2006/relationships/image" Target="../media/image552.png"/><Relationship Id="rId1" Type="http://schemas.openxmlformats.org/officeDocument/2006/relationships/slideLayout" Target="../slideLayouts/slideLayout13.xml"/><Relationship Id="rId6" Type="http://schemas.openxmlformats.org/officeDocument/2006/relationships/image" Target="../media/image554.png"/><Relationship Id="rId5" Type="http://schemas.openxmlformats.org/officeDocument/2006/relationships/image" Target="../media/image435.png"/><Relationship Id="rId10" Type="http://schemas.openxmlformats.org/officeDocument/2006/relationships/image" Target="../media/image47.emf"/><Relationship Id="rId4" Type="http://schemas.openxmlformats.org/officeDocument/2006/relationships/image" Target="../media/image433.png"/><Relationship Id="rId9" Type="http://schemas.openxmlformats.org/officeDocument/2006/relationships/hyperlink" Target="http://www.rapidbbs.cn/" TargetMode="External"/></Relationships>
</file>

<file path=ppt/slides/_rels/slide229.xml.rels><?xml version="1.0" encoding="UTF-8" standalone="yes"?>
<Relationships xmlns="http://schemas.openxmlformats.org/package/2006/relationships"><Relationship Id="rId8" Type="http://schemas.openxmlformats.org/officeDocument/2006/relationships/hyperlink" Target="http://www.rapidbbs.cn/" TargetMode="External"/><Relationship Id="rId3" Type="http://schemas.openxmlformats.org/officeDocument/2006/relationships/image" Target="../media/image432.png"/><Relationship Id="rId7" Type="http://schemas.microsoft.com/office/2007/relationships/hdphoto" Target="../media/hdphoto79.wdp"/><Relationship Id="rId2" Type="http://schemas.openxmlformats.org/officeDocument/2006/relationships/image" Target="../media/image383.png"/><Relationship Id="rId1" Type="http://schemas.openxmlformats.org/officeDocument/2006/relationships/slideLayout" Target="../slideLayouts/slideLayout13.xml"/><Relationship Id="rId6" Type="http://schemas.openxmlformats.org/officeDocument/2006/relationships/image" Target="../media/image556.png"/><Relationship Id="rId5" Type="http://schemas.openxmlformats.org/officeDocument/2006/relationships/image" Target="../media/image554.png"/><Relationship Id="rId4" Type="http://schemas.openxmlformats.org/officeDocument/2006/relationships/image" Target="../media/image433.png"/><Relationship Id="rId9" Type="http://schemas.openxmlformats.org/officeDocument/2006/relationships/image" Target="../media/image47.emf"/></Relationships>
</file>

<file path=ppt/slides/_rels/slide23.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hyperlink" Target="http://www.rapidbbs.cn/" TargetMode="External"/><Relationship Id="rId1" Type="http://schemas.openxmlformats.org/officeDocument/2006/relationships/slideLayout" Target="../slideLayouts/slideLayout8.xml"/></Relationships>
</file>

<file path=ppt/slides/_rels/slide230.xml.rels><?xml version="1.0" encoding="UTF-8" standalone="yes"?>
<Relationships xmlns="http://schemas.openxmlformats.org/package/2006/relationships"><Relationship Id="rId8" Type="http://schemas.openxmlformats.org/officeDocument/2006/relationships/image" Target="../media/image47.emf"/><Relationship Id="rId3" Type="http://schemas.openxmlformats.org/officeDocument/2006/relationships/image" Target="../media/image551.png"/><Relationship Id="rId7" Type="http://schemas.openxmlformats.org/officeDocument/2006/relationships/hyperlink" Target="http://www.rapidbbs.cn/" TargetMode="External"/><Relationship Id="rId2" Type="http://schemas.openxmlformats.org/officeDocument/2006/relationships/image" Target="../media/image550.png"/><Relationship Id="rId1" Type="http://schemas.openxmlformats.org/officeDocument/2006/relationships/slideLayout" Target="../slideLayouts/slideLayout13.xml"/><Relationship Id="rId6" Type="http://schemas.openxmlformats.org/officeDocument/2006/relationships/image" Target="../media/image558.png"/><Relationship Id="rId5" Type="http://schemas.openxmlformats.org/officeDocument/2006/relationships/image" Target="../media/image535.png"/><Relationship Id="rId4" Type="http://schemas.openxmlformats.org/officeDocument/2006/relationships/image" Target="../media/image557.png"/></Relationships>
</file>

<file path=ppt/slides/_rels/slide231.xml.rels><?xml version="1.0" encoding="UTF-8" standalone="yes"?>
<Relationships xmlns="http://schemas.openxmlformats.org/package/2006/relationships"><Relationship Id="rId3" Type="http://schemas.openxmlformats.org/officeDocument/2006/relationships/image" Target="../media/image545.png"/><Relationship Id="rId7" Type="http://schemas.openxmlformats.org/officeDocument/2006/relationships/image" Target="../media/image47.emf"/><Relationship Id="rId2" Type="http://schemas.openxmlformats.org/officeDocument/2006/relationships/image" Target="../media/image553.png"/><Relationship Id="rId1" Type="http://schemas.openxmlformats.org/officeDocument/2006/relationships/slideLayout" Target="../slideLayouts/slideLayout13.xml"/><Relationship Id="rId6" Type="http://schemas.openxmlformats.org/officeDocument/2006/relationships/hyperlink" Target="http://www.rapidbbs.cn/" TargetMode="External"/><Relationship Id="rId5" Type="http://schemas.openxmlformats.org/officeDocument/2006/relationships/image" Target="../media/image383.png"/><Relationship Id="rId4" Type="http://schemas.openxmlformats.org/officeDocument/2006/relationships/image" Target="../media/image546.png"/></Relationships>
</file>

<file path=ppt/slides/_rels/slide232.xml.rels><?xml version="1.0" encoding="UTF-8" standalone="yes"?>
<Relationships xmlns="http://schemas.openxmlformats.org/package/2006/relationships"><Relationship Id="rId8" Type="http://schemas.openxmlformats.org/officeDocument/2006/relationships/image" Target="../media/image562.png"/><Relationship Id="rId3" Type="http://schemas.openxmlformats.org/officeDocument/2006/relationships/image" Target="../media/image559.png"/><Relationship Id="rId7" Type="http://schemas.openxmlformats.org/officeDocument/2006/relationships/image" Target="../media/image382.png"/><Relationship Id="rId12" Type="http://schemas.openxmlformats.org/officeDocument/2006/relationships/image" Target="../media/image47.emf"/><Relationship Id="rId2" Type="http://schemas.openxmlformats.org/officeDocument/2006/relationships/image" Target="../media/image481.png"/><Relationship Id="rId1" Type="http://schemas.openxmlformats.org/officeDocument/2006/relationships/slideLayout" Target="../slideLayouts/slideLayout13.xml"/><Relationship Id="rId6" Type="http://schemas.openxmlformats.org/officeDocument/2006/relationships/image" Target="../media/image561.png"/><Relationship Id="rId11" Type="http://schemas.openxmlformats.org/officeDocument/2006/relationships/hyperlink" Target="http://www.rapidbbs.cn/" TargetMode="External"/><Relationship Id="rId5" Type="http://schemas.openxmlformats.org/officeDocument/2006/relationships/image" Target="../media/image560.png"/><Relationship Id="rId10" Type="http://schemas.openxmlformats.org/officeDocument/2006/relationships/image" Target="../media/image564.png"/><Relationship Id="rId4" Type="http://schemas.openxmlformats.org/officeDocument/2006/relationships/image" Target="../media/image557.png"/><Relationship Id="rId9" Type="http://schemas.openxmlformats.org/officeDocument/2006/relationships/image" Target="../media/image563.png"/></Relationships>
</file>

<file path=ppt/slides/_rels/slide233.xml.rels><?xml version="1.0" encoding="UTF-8" standalone="yes"?>
<Relationships xmlns="http://schemas.openxmlformats.org/package/2006/relationships"><Relationship Id="rId8" Type="http://schemas.openxmlformats.org/officeDocument/2006/relationships/image" Target="../media/image412.png"/><Relationship Id="rId13" Type="http://schemas.openxmlformats.org/officeDocument/2006/relationships/image" Target="../media/image571.png"/><Relationship Id="rId3" Type="http://schemas.openxmlformats.org/officeDocument/2006/relationships/image" Target="../media/image479.png"/><Relationship Id="rId7" Type="http://schemas.openxmlformats.org/officeDocument/2006/relationships/image" Target="../media/image566.png"/><Relationship Id="rId12" Type="http://schemas.openxmlformats.org/officeDocument/2006/relationships/image" Target="../media/image570.png"/><Relationship Id="rId17" Type="http://schemas.openxmlformats.org/officeDocument/2006/relationships/image" Target="../media/image47.emf"/><Relationship Id="rId2" Type="http://schemas.openxmlformats.org/officeDocument/2006/relationships/notesSlide" Target="../notesSlides/notesSlide163.xml"/><Relationship Id="rId16" Type="http://schemas.openxmlformats.org/officeDocument/2006/relationships/hyperlink" Target="http://www.rapidbbs.cn/" TargetMode="External"/><Relationship Id="rId1" Type="http://schemas.openxmlformats.org/officeDocument/2006/relationships/slideLayout" Target="../slideLayouts/slideLayout12.xml"/><Relationship Id="rId6" Type="http://schemas.openxmlformats.org/officeDocument/2006/relationships/image" Target="../media/image384.png"/><Relationship Id="rId11" Type="http://schemas.openxmlformats.org/officeDocument/2006/relationships/image" Target="../media/image569.png"/><Relationship Id="rId5" Type="http://schemas.openxmlformats.org/officeDocument/2006/relationships/image" Target="../media/image565.png"/><Relationship Id="rId15" Type="http://schemas.openxmlformats.org/officeDocument/2006/relationships/image" Target="../media/image573.png"/><Relationship Id="rId10" Type="http://schemas.openxmlformats.org/officeDocument/2006/relationships/image" Target="../media/image568.png"/><Relationship Id="rId4" Type="http://schemas.openxmlformats.org/officeDocument/2006/relationships/image" Target="../media/image478.png"/><Relationship Id="rId9" Type="http://schemas.openxmlformats.org/officeDocument/2006/relationships/image" Target="../media/image567.png"/><Relationship Id="rId14" Type="http://schemas.openxmlformats.org/officeDocument/2006/relationships/image" Target="../media/image572.png"/></Relationships>
</file>

<file path=ppt/slides/_rels/slide234.xml.rels><?xml version="1.0" encoding="UTF-8" standalone="yes"?>
<Relationships xmlns="http://schemas.openxmlformats.org/package/2006/relationships"><Relationship Id="rId8" Type="http://schemas.openxmlformats.org/officeDocument/2006/relationships/image" Target="../media/image47.emf"/><Relationship Id="rId3" Type="http://schemas.openxmlformats.org/officeDocument/2006/relationships/image" Target="../media/image574.png"/><Relationship Id="rId7" Type="http://schemas.openxmlformats.org/officeDocument/2006/relationships/hyperlink" Target="http://www.rapidbbs.cn/" TargetMode="External"/><Relationship Id="rId2" Type="http://schemas.openxmlformats.org/officeDocument/2006/relationships/notesSlide" Target="../notesSlides/notesSlide164.xml"/><Relationship Id="rId1" Type="http://schemas.openxmlformats.org/officeDocument/2006/relationships/slideLayout" Target="../slideLayouts/slideLayout13.xml"/><Relationship Id="rId6" Type="http://schemas.openxmlformats.org/officeDocument/2006/relationships/image" Target="../media/image577.png"/><Relationship Id="rId5" Type="http://schemas.openxmlformats.org/officeDocument/2006/relationships/image" Target="../media/image576.png"/><Relationship Id="rId4" Type="http://schemas.openxmlformats.org/officeDocument/2006/relationships/image" Target="../media/image575.png"/></Relationships>
</file>

<file path=ppt/slides/_rels/slide235.xml.rels><?xml version="1.0" encoding="UTF-8" standalone="yes"?>
<Relationships xmlns="http://schemas.openxmlformats.org/package/2006/relationships"><Relationship Id="rId8" Type="http://schemas.openxmlformats.org/officeDocument/2006/relationships/image" Target="../media/image579.png"/><Relationship Id="rId3" Type="http://schemas.openxmlformats.org/officeDocument/2006/relationships/image" Target="../media/image554.png"/><Relationship Id="rId7" Type="http://schemas.openxmlformats.org/officeDocument/2006/relationships/image" Target="../media/image578.png"/><Relationship Id="rId12" Type="http://schemas.openxmlformats.org/officeDocument/2006/relationships/image" Target="../media/image47.emf"/><Relationship Id="rId2" Type="http://schemas.openxmlformats.org/officeDocument/2006/relationships/notesSlide" Target="../notesSlides/notesSlide165.xml"/><Relationship Id="rId1" Type="http://schemas.openxmlformats.org/officeDocument/2006/relationships/slideLayout" Target="../slideLayouts/slideLayout13.xml"/><Relationship Id="rId6" Type="http://schemas.openxmlformats.org/officeDocument/2006/relationships/image" Target="../media/image545.png"/><Relationship Id="rId11" Type="http://schemas.openxmlformats.org/officeDocument/2006/relationships/hyperlink" Target="http://www.rapidbbs.cn/" TargetMode="External"/><Relationship Id="rId5" Type="http://schemas.openxmlformats.org/officeDocument/2006/relationships/image" Target="../media/image356.png"/><Relationship Id="rId10" Type="http://schemas.openxmlformats.org/officeDocument/2006/relationships/image" Target="../media/image540.png"/><Relationship Id="rId4" Type="http://schemas.openxmlformats.org/officeDocument/2006/relationships/image" Target="../media/image357.png"/><Relationship Id="rId9" Type="http://schemas.openxmlformats.org/officeDocument/2006/relationships/image" Target="../media/image580.png"/></Relationships>
</file>

<file path=ppt/slides/_rels/slide236.xml.rels><?xml version="1.0" encoding="UTF-8" standalone="yes"?>
<Relationships xmlns="http://schemas.openxmlformats.org/package/2006/relationships"><Relationship Id="rId8" Type="http://schemas.openxmlformats.org/officeDocument/2006/relationships/image" Target="../media/image586.png"/><Relationship Id="rId13" Type="http://schemas.openxmlformats.org/officeDocument/2006/relationships/image" Target="../media/image589.png"/><Relationship Id="rId18" Type="http://schemas.openxmlformats.org/officeDocument/2006/relationships/hyperlink" Target="http://www.rapidbbs.cn/" TargetMode="External"/><Relationship Id="rId3" Type="http://schemas.openxmlformats.org/officeDocument/2006/relationships/image" Target="../media/image581.png"/><Relationship Id="rId7" Type="http://schemas.openxmlformats.org/officeDocument/2006/relationships/image" Target="../media/image585.png"/><Relationship Id="rId12" Type="http://schemas.openxmlformats.org/officeDocument/2006/relationships/image" Target="../media/image588.png"/><Relationship Id="rId17" Type="http://schemas.openxmlformats.org/officeDocument/2006/relationships/image" Target="../media/image593.png"/><Relationship Id="rId2" Type="http://schemas.openxmlformats.org/officeDocument/2006/relationships/notesSlide" Target="../notesSlides/notesSlide166.xml"/><Relationship Id="rId16" Type="http://schemas.openxmlformats.org/officeDocument/2006/relationships/image" Target="../media/image592.png"/><Relationship Id="rId1" Type="http://schemas.openxmlformats.org/officeDocument/2006/relationships/slideLayout" Target="../slideLayouts/slideLayout12.xml"/><Relationship Id="rId6" Type="http://schemas.openxmlformats.org/officeDocument/2006/relationships/image" Target="../media/image584.png"/><Relationship Id="rId11" Type="http://schemas.openxmlformats.org/officeDocument/2006/relationships/image" Target="../media/image413.png"/><Relationship Id="rId5" Type="http://schemas.openxmlformats.org/officeDocument/2006/relationships/image" Target="../media/image583.png"/><Relationship Id="rId15" Type="http://schemas.openxmlformats.org/officeDocument/2006/relationships/image" Target="../media/image591.png"/><Relationship Id="rId10" Type="http://schemas.openxmlformats.org/officeDocument/2006/relationships/image" Target="../media/image546.png"/><Relationship Id="rId19" Type="http://schemas.openxmlformats.org/officeDocument/2006/relationships/image" Target="../media/image47.emf"/><Relationship Id="rId4" Type="http://schemas.openxmlformats.org/officeDocument/2006/relationships/image" Target="../media/image582.png"/><Relationship Id="rId9" Type="http://schemas.openxmlformats.org/officeDocument/2006/relationships/image" Target="../media/image587.png"/><Relationship Id="rId14" Type="http://schemas.openxmlformats.org/officeDocument/2006/relationships/image" Target="../media/image590.png"/></Relationships>
</file>

<file path=ppt/slides/_rels/slide237.xml.rels><?xml version="1.0" encoding="UTF-8" standalone="yes"?>
<Relationships xmlns="http://schemas.openxmlformats.org/package/2006/relationships"><Relationship Id="rId8" Type="http://schemas.openxmlformats.org/officeDocument/2006/relationships/image" Target="../media/image599.png"/><Relationship Id="rId13" Type="http://schemas.openxmlformats.org/officeDocument/2006/relationships/image" Target="../media/image604.png"/><Relationship Id="rId18" Type="http://schemas.openxmlformats.org/officeDocument/2006/relationships/image" Target="../media/image47.emf"/><Relationship Id="rId3" Type="http://schemas.openxmlformats.org/officeDocument/2006/relationships/image" Target="../media/image594.png"/><Relationship Id="rId7" Type="http://schemas.openxmlformats.org/officeDocument/2006/relationships/image" Target="../media/image598.png"/><Relationship Id="rId12" Type="http://schemas.openxmlformats.org/officeDocument/2006/relationships/image" Target="../media/image603.png"/><Relationship Id="rId17" Type="http://schemas.openxmlformats.org/officeDocument/2006/relationships/hyperlink" Target="http://www.rapidbbs.cn/" TargetMode="External"/><Relationship Id="rId2" Type="http://schemas.openxmlformats.org/officeDocument/2006/relationships/notesSlide" Target="../notesSlides/notesSlide167.xml"/><Relationship Id="rId16" Type="http://schemas.openxmlformats.org/officeDocument/2006/relationships/image" Target="../media/image607.png"/><Relationship Id="rId1" Type="http://schemas.openxmlformats.org/officeDocument/2006/relationships/slideLayout" Target="../slideLayouts/slideLayout12.xml"/><Relationship Id="rId6" Type="http://schemas.openxmlformats.org/officeDocument/2006/relationships/image" Target="../media/image597.png"/><Relationship Id="rId11" Type="http://schemas.openxmlformats.org/officeDocument/2006/relationships/image" Target="../media/image602.png"/><Relationship Id="rId5" Type="http://schemas.openxmlformats.org/officeDocument/2006/relationships/image" Target="../media/image596.png"/><Relationship Id="rId15" Type="http://schemas.openxmlformats.org/officeDocument/2006/relationships/image" Target="../media/image606.png"/><Relationship Id="rId10" Type="http://schemas.openxmlformats.org/officeDocument/2006/relationships/image" Target="../media/image601.png"/><Relationship Id="rId4" Type="http://schemas.openxmlformats.org/officeDocument/2006/relationships/image" Target="../media/image595.png"/><Relationship Id="rId9" Type="http://schemas.openxmlformats.org/officeDocument/2006/relationships/image" Target="../media/image600.png"/><Relationship Id="rId14" Type="http://schemas.openxmlformats.org/officeDocument/2006/relationships/image" Target="../media/image605.png"/></Relationships>
</file>

<file path=ppt/slides/_rels/slide238.xml.rels><?xml version="1.0" encoding="UTF-8" standalone="yes"?>
<Relationships xmlns="http://schemas.openxmlformats.org/package/2006/relationships"><Relationship Id="rId8" Type="http://schemas.openxmlformats.org/officeDocument/2006/relationships/image" Target="../media/image434.png"/><Relationship Id="rId13" Type="http://schemas.openxmlformats.org/officeDocument/2006/relationships/hyperlink" Target="http://www.rapidbbs.cn/" TargetMode="External"/><Relationship Id="rId3" Type="http://schemas.openxmlformats.org/officeDocument/2006/relationships/image" Target="../media/image559.png"/><Relationship Id="rId7" Type="http://schemas.openxmlformats.org/officeDocument/2006/relationships/image" Target="../media/image546.png"/><Relationship Id="rId12" Type="http://schemas.openxmlformats.org/officeDocument/2006/relationships/image" Target="../media/image610.png"/><Relationship Id="rId2" Type="http://schemas.openxmlformats.org/officeDocument/2006/relationships/image" Target="../media/image481.png"/><Relationship Id="rId1" Type="http://schemas.openxmlformats.org/officeDocument/2006/relationships/slideLayout" Target="../slideLayouts/slideLayout8.xml"/><Relationship Id="rId6" Type="http://schemas.openxmlformats.org/officeDocument/2006/relationships/image" Target="../media/image561.png"/><Relationship Id="rId11" Type="http://schemas.openxmlformats.org/officeDocument/2006/relationships/image" Target="../media/image609.png"/><Relationship Id="rId5" Type="http://schemas.openxmlformats.org/officeDocument/2006/relationships/image" Target="../media/image560.png"/><Relationship Id="rId10" Type="http://schemas.openxmlformats.org/officeDocument/2006/relationships/image" Target="../media/image608.png"/><Relationship Id="rId4" Type="http://schemas.openxmlformats.org/officeDocument/2006/relationships/image" Target="../media/image557.png"/><Relationship Id="rId9" Type="http://schemas.openxmlformats.org/officeDocument/2006/relationships/image" Target="../media/image553.png"/><Relationship Id="rId14" Type="http://schemas.openxmlformats.org/officeDocument/2006/relationships/image" Target="../media/image47.emf"/></Relationships>
</file>

<file path=ppt/slides/_rels/slide239.xml.rels><?xml version="1.0" encoding="UTF-8" standalone="yes"?>
<Relationships xmlns="http://schemas.openxmlformats.org/package/2006/relationships"><Relationship Id="rId8" Type="http://schemas.openxmlformats.org/officeDocument/2006/relationships/image" Target="../media/image549.png"/><Relationship Id="rId3" Type="http://schemas.openxmlformats.org/officeDocument/2006/relationships/image" Target="../media/image546.png"/><Relationship Id="rId7" Type="http://schemas.openxmlformats.org/officeDocument/2006/relationships/image" Target="../media/image373.png"/><Relationship Id="rId12" Type="http://schemas.openxmlformats.org/officeDocument/2006/relationships/image" Target="../media/image47.emf"/><Relationship Id="rId2" Type="http://schemas.openxmlformats.org/officeDocument/2006/relationships/image" Target="../media/image545.png"/><Relationship Id="rId1" Type="http://schemas.openxmlformats.org/officeDocument/2006/relationships/slideLayout" Target="../slideLayouts/slideLayout8.xml"/><Relationship Id="rId6" Type="http://schemas.openxmlformats.org/officeDocument/2006/relationships/image" Target="../media/image548.png"/><Relationship Id="rId11" Type="http://schemas.openxmlformats.org/officeDocument/2006/relationships/hyperlink" Target="http://www.rapidbbs.cn/" TargetMode="External"/><Relationship Id="rId5" Type="http://schemas.openxmlformats.org/officeDocument/2006/relationships/image" Target="../media/image480.png"/><Relationship Id="rId10" Type="http://schemas.openxmlformats.org/officeDocument/2006/relationships/image" Target="../media/image551.png"/><Relationship Id="rId4" Type="http://schemas.openxmlformats.org/officeDocument/2006/relationships/image" Target="../media/image547.png"/><Relationship Id="rId9" Type="http://schemas.openxmlformats.org/officeDocument/2006/relationships/image" Target="../media/image550.png"/></Relationships>
</file>

<file path=ppt/slides/_rels/slide24.xml.rels><?xml version="1.0" encoding="UTF-8" standalone="yes"?>
<Relationships xmlns="http://schemas.openxmlformats.org/package/2006/relationships"><Relationship Id="rId8" Type="http://schemas.openxmlformats.org/officeDocument/2006/relationships/image" Target="../media/image47.emf"/><Relationship Id="rId3" Type="http://schemas.openxmlformats.org/officeDocument/2006/relationships/image" Target="../media/image80.png"/><Relationship Id="rId7" Type="http://schemas.openxmlformats.org/officeDocument/2006/relationships/hyperlink" Target="http://www.rapidbbs.cn/" TargetMode="External"/><Relationship Id="rId2" Type="http://schemas.openxmlformats.org/officeDocument/2006/relationships/image" Target="../media/image79.png"/><Relationship Id="rId1" Type="http://schemas.openxmlformats.org/officeDocument/2006/relationships/slideLayout" Target="../slideLayouts/slideLayout9.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s>
</file>

<file path=ppt/slides/_rels/slide240.xml.rels><?xml version="1.0" encoding="UTF-8" standalone="yes"?>
<Relationships xmlns="http://schemas.openxmlformats.org/package/2006/relationships"><Relationship Id="rId8" Type="http://schemas.openxmlformats.org/officeDocument/2006/relationships/image" Target="../media/image616.png"/><Relationship Id="rId3" Type="http://schemas.openxmlformats.org/officeDocument/2006/relationships/image" Target="../media/image611.png"/><Relationship Id="rId7" Type="http://schemas.openxmlformats.org/officeDocument/2006/relationships/image" Target="../media/image615.png"/><Relationship Id="rId2" Type="http://schemas.openxmlformats.org/officeDocument/2006/relationships/notesSlide" Target="../notesSlides/notesSlide168.xml"/><Relationship Id="rId1" Type="http://schemas.openxmlformats.org/officeDocument/2006/relationships/slideLayout" Target="../slideLayouts/slideLayout12.xml"/><Relationship Id="rId6" Type="http://schemas.openxmlformats.org/officeDocument/2006/relationships/image" Target="../media/image614.png"/><Relationship Id="rId11" Type="http://schemas.openxmlformats.org/officeDocument/2006/relationships/image" Target="../media/image47.emf"/><Relationship Id="rId5" Type="http://schemas.openxmlformats.org/officeDocument/2006/relationships/image" Target="../media/image613.png"/><Relationship Id="rId10" Type="http://schemas.openxmlformats.org/officeDocument/2006/relationships/hyperlink" Target="http://www.rapidbbs.cn/" TargetMode="External"/><Relationship Id="rId4" Type="http://schemas.openxmlformats.org/officeDocument/2006/relationships/image" Target="../media/image612.png"/><Relationship Id="rId9" Type="http://schemas.openxmlformats.org/officeDocument/2006/relationships/image" Target="../media/image617.png"/></Relationships>
</file>

<file path=ppt/slides/_rels/slide241.xml.rels><?xml version="1.0" encoding="UTF-8" standalone="yes"?>
<Relationships xmlns="http://schemas.openxmlformats.org/package/2006/relationships"><Relationship Id="rId3" Type="http://schemas.openxmlformats.org/officeDocument/2006/relationships/image" Target="../media/image618.jpeg"/><Relationship Id="rId2" Type="http://schemas.openxmlformats.org/officeDocument/2006/relationships/notesSlide" Target="../notesSlides/notesSlide169.xml"/><Relationship Id="rId1" Type="http://schemas.openxmlformats.org/officeDocument/2006/relationships/slideLayout" Target="../slideLayouts/slideLayout12.xml"/><Relationship Id="rId6" Type="http://schemas.openxmlformats.org/officeDocument/2006/relationships/image" Target="../media/image47.emf"/><Relationship Id="rId5" Type="http://schemas.openxmlformats.org/officeDocument/2006/relationships/hyperlink" Target="http://www.rapidbbs.cn/" TargetMode="External"/><Relationship Id="rId4" Type="http://schemas.openxmlformats.org/officeDocument/2006/relationships/image" Target="../media/image619.jpeg"/></Relationships>
</file>

<file path=ppt/slides/_rels/slide242.xml.rels><?xml version="1.0" encoding="UTF-8" standalone="yes"?>
<Relationships xmlns="http://schemas.openxmlformats.org/package/2006/relationships"><Relationship Id="rId8" Type="http://schemas.openxmlformats.org/officeDocument/2006/relationships/hyperlink" Target="http://www.rapidbbs.cn/" TargetMode="External"/><Relationship Id="rId3" Type="http://schemas.openxmlformats.org/officeDocument/2006/relationships/image" Target="../media/image83.png"/><Relationship Id="rId7" Type="http://schemas.openxmlformats.org/officeDocument/2006/relationships/image" Target="../media/image350.emf"/><Relationship Id="rId2" Type="http://schemas.openxmlformats.org/officeDocument/2006/relationships/notesSlide" Target="../notesSlides/notesSlide170.xml"/><Relationship Id="rId1" Type="http://schemas.openxmlformats.org/officeDocument/2006/relationships/slideLayout" Target="../slideLayouts/slideLayout12.xml"/><Relationship Id="rId6" Type="http://schemas.openxmlformats.org/officeDocument/2006/relationships/image" Target="../media/image349.png"/><Relationship Id="rId5" Type="http://schemas.openxmlformats.org/officeDocument/2006/relationships/image" Target="../media/image348.png"/><Relationship Id="rId4" Type="http://schemas.openxmlformats.org/officeDocument/2006/relationships/image" Target="../media/image347.png"/><Relationship Id="rId9" Type="http://schemas.openxmlformats.org/officeDocument/2006/relationships/image" Target="../media/image47.emf"/></Relationships>
</file>

<file path=ppt/slides/_rels/slide243.xml.rels><?xml version="1.0" encoding="UTF-8" standalone="yes"?>
<Relationships xmlns="http://schemas.openxmlformats.org/package/2006/relationships"><Relationship Id="rId8" Type="http://schemas.openxmlformats.org/officeDocument/2006/relationships/image" Target="../media/image623.png"/><Relationship Id="rId13" Type="http://schemas.openxmlformats.org/officeDocument/2006/relationships/image" Target="../media/image47.emf"/><Relationship Id="rId3" Type="http://schemas.openxmlformats.org/officeDocument/2006/relationships/image" Target="../media/image620.png"/><Relationship Id="rId7" Type="http://schemas.microsoft.com/office/2007/relationships/hdphoto" Target="../media/hdphoto81.wdp"/><Relationship Id="rId12" Type="http://schemas.openxmlformats.org/officeDocument/2006/relationships/hyperlink" Target="http://www.rapidbbs.cn/" TargetMode="External"/><Relationship Id="rId2" Type="http://schemas.openxmlformats.org/officeDocument/2006/relationships/notesSlide" Target="../notesSlides/notesSlide171.xml"/><Relationship Id="rId1" Type="http://schemas.openxmlformats.org/officeDocument/2006/relationships/slideLayout" Target="../slideLayouts/slideLayout12.xml"/><Relationship Id="rId6" Type="http://schemas.openxmlformats.org/officeDocument/2006/relationships/image" Target="../media/image622.png"/><Relationship Id="rId11" Type="http://schemas.microsoft.com/office/2007/relationships/hdphoto" Target="../media/hdphoto82.wdp"/><Relationship Id="rId5" Type="http://schemas.openxmlformats.org/officeDocument/2006/relationships/image" Target="../media/image621.png"/><Relationship Id="rId10" Type="http://schemas.openxmlformats.org/officeDocument/2006/relationships/image" Target="../media/image625.png"/><Relationship Id="rId4" Type="http://schemas.microsoft.com/office/2007/relationships/hdphoto" Target="../media/hdphoto80.wdp"/><Relationship Id="rId9" Type="http://schemas.openxmlformats.org/officeDocument/2006/relationships/image" Target="../media/image624.png"/></Relationships>
</file>

<file path=ppt/slides/_rels/slide244.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172.xml"/><Relationship Id="rId1" Type="http://schemas.openxmlformats.org/officeDocument/2006/relationships/slideLayout" Target="../slideLayouts/slideLayout9.xml"/><Relationship Id="rId6" Type="http://schemas.openxmlformats.org/officeDocument/2006/relationships/image" Target="../media/image47.emf"/><Relationship Id="rId5" Type="http://schemas.openxmlformats.org/officeDocument/2006/relationships/hyperlink" Target="http://www.rapidbbs.cn/" TargetMode="External"/><Relationship Id="rId4" Type="http://schemas.openxmlformats.org/officeDocument/2006/relationships/image" Target="../media/image350.emf"/></Relationships>
</file>

<file path=ppt/slides/_rels/slide245.xml.rels><?xml version="1.0" encoding="UTF-8" standalone="yes"?>
<Relationships xmlns="http://schemas.openxmlformats.org/package/2006/relationships"><Relationship Id="rId3" Type="http://schemas.openxmlformats.org/officeDocument/2006/relationships/image" Target="../media/image626.png"/><Relationship Id="rId2" Type="http://schemas.openxmlformats.org/officeDocument/2006/relationships/notesSlide" Target="../notesSlides/notesSlide173.xml"/><Relationship Id="rId1" Type="http://schemas.openxmlformats.org/officeDocument/2006/relationships/slideLayout" Target="../slideLayouts/slideLayout12.xml"/><Relationship Id="rId5" Type="http://schemas.openxmlformats.org/officeDocument/2006/relationships/image" Target="../media/image47.emf"/><Relationship Id="rId4" Type="http://schemas.openxmlformats.org/officeDocument/2006/relationships/hyperlink" Target="http://www.rapidbbs.cn/" TargetMode="External"/></Relationships>
</file>

<file path=ppt/slides/_rels/slide246.xml.rels><?xml version="1.0" encoding="UTF-8" standalone="yes"?>
<Relationships xmlns="http://schemas.openxmlformats.org/package/2006/relationships"><Relationship Id="rId3" Type="http://schemas.openxmlformats.org/officeDocument/2006/relationships/image" Target="../media/image626.png"/><Relationship Id="rId7" Type="http://schemas.openxmlformats.org/officeDocument/2006/relationships/image" Target="../media/image47.emf"/><Relationship Id="rId2" Type="http://schemas.openxmlformats.org/officeDocument/2006/relationships/notesSlide" Target="../notesSlides/notesSlide174.xml"/><Relationship Id="rId1" Type="http://schemas.openxmlformats.org/officeDocument/2006/relationships/slideLayout" Target="../slideLayouts/slideLayout12.xml"/><Relationship Id="rId6" Type="http://schemas.openxmlformats.org/officeDocument/2006/relationships/hyperlink" Target="http://www.rapidbbs.cn/" TargetMode="External"/><Relationship Id="rId5" Type="http://schemas.openxmlformats.org/officeDocument/2006/relationships/image" Target="../media/image350.emf"/><Relationship Id="rId4" Type="http://schemas.openxmlformats.org/officeDocument/2006/relationships/hyperlink" Target="http://blogs.technet.com/b/clientsecurity/archive/2011/02/22/microsoft-spynet.aspx" TargetMode="External"/></Relationships>
</file>

<file path=ppt/slides/_rels/slide247.xml.rels><?xml version="1.0" encoding="UTF-8" standalone="yes"?>
<Relationships xmlns="http://schemas.openxmlformats.org/package/2006/relationships"><Relationship Id="rId3" Type="http://schemas.openxmlformats.org/officeDocument/2006/relationships/image" Target="../media/image627.png"/><Relationship Id="rId2" Type="http://schemas.openxmlformats.org/officeDocument/2006/relationships/notesSlide" Target="../notesSlides/notesSlide175.xml"/><Relationship Id="rId1" Type="http://schemas.openxmlformats.org/officeDocument/2006/relationships/slideLayout" Target="../slideLayouts/slideLayout12.xml"/><Relationship Id="rId6" Type="http://schemas.openxmlformats.org/officeDocument/2006/relationships/image" Target="../media/image47.emf"/><Relationship Id="rId5" Type="http://schemas.openxmlformats.org/officeDocument/2006/relationships/hyperlink" Target="http://www.rapidbbs.cn/" TargetMode="External"/><Relationship Id="rId4" Type="http://schemas.microsoft.com/office/2007/relationships/hdphoto" Target="../media/hdphoto83.wdp"/></Relationships>
</file>

<file path=ppt/slides/_rels/slide248.xml.rels><?xml version="1.0" encoding="UTF-8" standalone="yes"?>
<Relationships xmlns="http://schemas.openxmlformats.org/package/2006/relationships"><Relationship Id="rId3" Type="http://schemas.openxmlformats.org/officeDocument/2006/relationships/image" Target="../media/image350.emf"/><Relationship Id="rId2" Type="http://schemas.openxmlformats.org/officeDocument/2006/relationships/image" Target="../media/image628.png"/><Relationship Id="rId1" Type="http://schemas.openxmlformats.org/officeDocument/2006/relationships/slideLayout" Target="../slideLayouts/slideLayout12.xml"/><Relationship Id="rId5" Type="http://schemas.openxmlformats.org/officeDocument/2006/relationships/image" Target="../media/image47.emf"/><Relationship Id="rId4" Type="http://schemas.openxmlformats.org/officeDocument/2006/relationships/hyperlink" Target="http://www.rapidbbs.cn/" TargetMode="External"/></Relationships>
</file>

<file path=ppt/slides/_rels/slide249.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notesSlide" Target="../notesSlides/notesSlide176.xml"/><Relationship Id="rId1" Type="http://schemas.openxmlformats.org/officeDocument/2006/relationships/slideLayout" Target="../slideLayouts/slideLayout13.xml"/><Relationship Id="rId4" Type="http://schemas.openxmlformats.org/officeDocument/2006/relationships/image" Target="../media/image47.emf"/></Relationships>
</file>

<file path=ppt/slides/_rels/slide25.xml.rels><?xml version="1.0" encoding="UTF-8" standalone="yes"?>
<Relationships xmlns="http://schemas.openxmlformats.org/package/2006/relationships"><Relationship Id="rId8" Type="http://schemas.openxmlformats.org/officeDocument/2006/relationships/hyperlink" Target="http://www.rapidbbs.cn/" TargetMode="External"/><Relationship Id="rId3" Type="http://schemas.openxmlformats.org/officeDocument/2006/relationships/image" Target="../media/image84.png"/><Relationship Id="rId7" Type="http://schemas.openxmlformats.org/officeDocument/2006/relationships/image" Target="../media/image87.png"/><Relationship Id="rId2" Type="http://schemas.openxmlformats.org/officeDocument/2006/relationships/notesSlide" Target="../notesSlides/notesSlide21.xml"/><Relationship Id="rId1" Type="http://schemas.openxmlformats.org/officeDocument/2006/relationships/slideLayout" Target="../slideLayouts/slideLayout13.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39.png"/><Relationship Id="rId9" Type="http://schemas.openxmlformats.org/officeDocument/2006/relationships/image" Target="../media/image47.emf"/></Relationships>
</file>

<file path=ppt/slides/_rels/slide250.xml.rels><?xml version="1.0" encoding="UTF-8" standalone="yes"?>
<Relationships xmlns="http://schemas.openxmlformats.org/package/2006/relationships"><Relationship Id="rId8" Type="http://schemas.openxmlformats.org/officeDocument/2006/relationships/hyperlink" Target="http://www.rapidbbs.cn/" TargetMode="External"/><Relationship Id="rId3" Type="http://schemas.openxmlformats.org/officeDocument/2006/relationships/image" Target="../media/image629.png"/><Relationship Id="rId7" Type="http://schemas.openxmlformats.org/officeDocument/2006/relationships/image" Target="../media/image632.png"/><Relationship Id="rId2" Type="http://schemas.openxmlformats.org/officeDocument/2006/relationships/notesSlide" Target="../notesSlides/notesSlide177.xml"/><Relationship Id="rId1" Type="http://schemas.openxmlformats.org/officeDocument/2006/relationships/slideLayout" Target="../slideLayouts/slideLayout21.xml"/><Relationship Id="rId6" Type="http://schemas.openxmlformats.org/officeDocument/2006/relationships/image" Target="../media/image631.png"/><Relationship Id="rId5" Type="http://schemas.openxmlformats.org/officeDocument/2006/relationships/image" Target="../media/image630.png"/><Relationship Id="rId4" Type="http://schemas.microsoft.com/office/2007/relationships/hdphoto" Target="../media/hdphoto84.wdp"/><Relationship Id="rId9" Type="http://schemas.openxmlformats.org/officeDocument/2006/relationships/image" Target="../media/image47.emf"/></Relationships>
</file>

<file path=ppt/slides/_rels/slide251.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notesSlide" Target="../notesSlides/notesSlide178.xml"/><Relationship Id="rId1" Type="http://schemas.openxmlformats.org/officeDocument/2006/relationships/slideLayout" Target="../slideLayouts/slideLayout12.xml"/><Relationship Id="rId4" Type="http://schemas.openxmlformats.org/officeDocument/2006/relationships/image" Target="../media/image47.emf"/></Relationships>
</file>

<file path=ppt/slides/_rels/slide252.xml.rels><?xml version="1.0" encoding="UTF-8" standalone="yes"?>
<Relationships xmlns="http://schemas.openxmlformats.org/package/2006/relationships"><Relationship Id="rId8" Type="http://schemas.openxmlformats.org/officeDocument/2006/relationships/image" Target="../media/image47.emf"/><Relationship Id="rId3" Type="http://schemas.openxmlformats.org/officeDocument/2006/relationships/image" Target="../media/image633.png"/><Relationship Id="rId7" Type="http://schemas.openxmlformats.org/officeDocument/2006/relationships/hyperlink" Target="http://www.rapidbbs.cn/" TargetMode="External"/><Relationship Id="rId2" Type="http://schemas.openxmlformats.org/officeDocument/2006/relationships/notesSlide" Target="../notesSlides/notesSlide179.xml"/><Relationship Id="rId1" Type="http://schemas.openxmlformats.org/officeDocument/2006/relationships/slideLayout" Target="../slideLayouts/slideLayout22.xml"/><Relationship Id="rId6" Type="http://schemas.openxmlformats.org/officeDocument/2006/relationships/image" Target="../media/image118.png"/><Relationship Id="rId5" Type="http://schemas.openxmlformats.org/officeDocument/2006/relationships/image" Target="../media/image635.png"/><Relationship Id="rId4" Type="http://schemas.openxmlformats.org/officeDocument/2006/relationships/image" Target="../media/image634.png"/></Relationships>
</file>

<file path=ppt/slides/_rels/slide253.xml.rels><?xml version="1.0" encoding="UTF-8" standalone="yes"?>
<Relationships xmlns="http://schemas.openxmlformats.org/package/2006/relationships"><Relationship Id="rId3" Type="http://schemas.openxmlformats.org/officeDocument/2006/relationships/image" Target="../media/image636.png"/><Relationship Id="rId2" Type="http://schemas.openxmlformats.org/officeDocument/2006/relationships/image" Target="../media/image276.png"/><Relationship Id="rId1" Type="http://schemas.openxmlformats.org/officeDocument/2006/relationships/slideLayout" Target="../slideLayouts/slideLayout23.xml"/><Relationship Id="rId6" Type="http://schemas.openxmlformats.org/officeDocument/2006/relationships/image" Target="../media/image47.emf"/><Relationship Id="rId5" Type="http://schemas.openxmlformats.org/officeDocument/2006/relationships/hyperlink" Target="http://www.rapidbbs.cn/" TargetMode="External"/><Relationship Id="rId4" Type="http://schemas.openxmlformats.org/officeDocument/2006/relationships/image" Target="../media/image174.png"/></Relationships>
</file>

<file path=ppt/slides/_rels/slide254.xml.rels><?xml version="1.0" encoding="UTF-8" standalone="yes"?>
<Relationships xmlns="http://schemas.openxmlformats.org/package/2006/relationships"><Relationship Id="rId8" Type="http://schemas.microsoft.com/office/2007/relationships/hdphoto" Target="../media/hdphoto86.wdp"/><Relationship Id="rId3" Type="http://schemas.openxmlformats.org/officeDocument/2006/relationships/image" Target="../media/image638.png"/><Relationship Id="rId7" Type="http://schemas.openxmlformats.org/officeDocument/2006/relationships/image" Target="../media/image641.png"/><Relationship Id="rId2" Type="http://schemas.openxmlformats.org/officeDocument/2006/relationships/image" Target="../media/image637.png"/><Relationship Id="rId1" Type="http://schemas.openxmlformats.org/officeDocument/2006/relationships/slideLayout" Target="../slideLayouts/slideLayout24.xml"/><Relationship Id="rId6" Type="http://schemas.microsoft.com/office/2007/relationships/hdphoto" Target="../media/hdphoto85.wdp"/><Relationship Id="rId5" Type="http://schemas.openxmlformats.org/officeDocument/2006/relationships/image" Target="../media/image640.png"/><Relationship Id="rId10" Type="http://schemas.openxmlformats.org/officeDocument/2006/relationships/image" Target="../media/image47.emf"/><Relationship Id="rId4" Type="http://schemas.openxmlformats.org/officeDocument/2006/relationships/image" Target="../media/image639.png"/><Relationship Id="rId9" Type="http://schemas.openxmlformats.org/officeDocument/2006/relationships/hyperlink" Target="http://www.rapidbbs.cn/" TargetMode="External"/></Relationships>
</file>

<file path=ppt/slides/_rels/slide255.xml.rels><?xml version="1.0" encoding="UTF-8" standalone="yes"?>
<Relationships xmlns="http://schemas.openxmlformats.org/package/2006/relationships"><Relationship Id="rId3" Type="http://schemas.openxmlformats.org/officeDocument/2006/relationships/image" Target="../media/image642.png"/><Relationship Id="rId2" Type="http://schemas.openxmlformats.org/officeDocument/2006/relationships/image" Target="../media/image215.png"/><Relationship Id="rId1" Type="http://schemas.openxmlformats.org/officeDocument/2006/relationships/slideLayout" Target="../slideLayouts/slideLayout25.xml"/><Relationship Id="rId6" Type="http://schemas.openxmlformats.org/officeDocument/2006/relationships/image" Target="../media/image47.emf"/><Relationship Id="rId5" Type="http://schemas.openxmlformats.org/officeDocument/2006/relationships/hyperlink" Target="http://www.rapidbbs.cn/" TargetMode="External"/><Relationship Id="rId4" Type="http://schemas.openxmlformats.org/officeDocument/2006/relationships/image" Target="../media/image643.png"/></Relationships>
</file>

<file path=ppt/slides/_rels/slide256.xml.rels><?xml version="1.0" encoding="UTF-8" standalone="yes"?>
<Relationships xmlns="http://schemas.openxmlformats.org/package/2006/relationships"><Relationship Id="rId3" Type="http://schemas.openxmlformats.org/officeDocument/2006/relationships/image" Target="../media/image644.png"/><Relationship Id="rId2" Type="http://schemas.openxmlformats.org/officeDocument/2006/relationships/notesSlide" Target="../notesSlides/notesSlide180.xml"/><Relationship Id="rId1" Type="http://schemas.openxmlformats.org/officeDocument/2006/relationships/slideLayout" Target="../slideLayouts/slideLayout26.xml"/><Relationship Id="rId6" Type="http://schemas.openxmlformats.org/officeDocument/2006/relationships/image" Target="../media/image47.emf"/><Relationship Id="rId5" Type="http://schemas.openxmlformats.org/officeDocument/2006/relationships/hyperlink" Target="http://www.rapidbbs.cn/" TargetMode="External"/><Relationship Id="rId4" Type="http://schemas.openxmlformats.org/officeDocument/2006/relationships/image" Target="../media/image645.png"/></Relationships>
</file>

<file path=ppt/slides/_rels/slide257.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hyperlink" Target="http://www.rapidbbs.cn/" TargetMode="External"/><Relationship Id="rId1" Type="http://schemas.openxmlformats.org/officeDocument/2006/relationships/slideLayout" Target="../slideLayouts/slideLayout13.xml"/></Relationships>
</file>

<file path=ppt/slides/_rels/slide258.xml.rels><?xml version="1.0" encoding="UTF-8" standalone="yes"?>
<Relationships xmlns="http://schemas.openxmlformats.org/package/2006/relationships"><Relationship Id="rId3" Type="http://schemas.openxmlformats.org/officeDocument/2006/relationships/image" Target="../media/image646.png"/><Relationship Id="rId2" Type="http://schemas.openxmlformats.org/officeDocument/2006/relationships/notesSlide" Target="../notesSlides/notesSlide181.xml"/><Relationship Id="rId1" Type="http://schemas.openxmlformats.org/officeDocument/2006/relationships/slideLayout" Target="../slideLayouts/slideLayout12.xml"/><Relationship Id="rId6" Type="http://schemas.openxmlformats.org/officeDocument/2006/relationships/image" Target="../media/image47.emf"/><Relationship Id="rId5" Type="http://schemas.openxmlformats.org/officeDocument/2006/relationships/hyperlink" Target="http://www.rapidbbs.cn/" TargetMode="External"/><Relationship Id="rId4" Type="http://schemas.openxmlformats.org/officeDocument/2006/relationships/image" Target="../media/image647.png"/></Relationships>
</file>

<file path=ppt/slides/_rels/slide259.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notesSlide" Target="../notesSlides/notesSlide182.xml"/><Relationship Id="rId1" Type="http://schemas.openxmlformats.org/officeDocument/2006/relationships/slideLayout" Target="../slideLayouts/slideLayout26.xml"/><Relationship Id="rId6" Type="http://schemas.openxmlformats.org/officeDocument/2006/relationships/image" Target="../media/image47.emf"/><Relationship Id="rId5" Type="http://schemas.openxmlformats.org/officeDocument/2006/relationships/hyperlink" Target="http://www.rapidbbs.cn/" TargetMode="External"/><Relationship Id="rId4" Type="http://schemas.openxmlformats.org/officeDocument/2006/relationships/image" Target="../media/image83.png"/></Relationships>
</file>

<file path=ppt/slides/_rels/slide26.xml.rels><?xml version="1.0" encoding="UTF-8" standalone="yes"?>
<Relationships xmlns="http://schemas.openxmlformats.org/package/2006/relationships"><Relationship Id="rId8" Type="http://schemas.openxmlformats.org/officeDocument/2006/relationships/hyperlink" Target="http://www.rapidbbs.cn/" TargetMode="External"/><Relationship Id="rId3" Type="http://schemas.openxmlformats.org/officeDocument/2006/relationships/image" Target="../media/image84.png"/><Relationship Id="rId7" Type="http://schemas.openxmlformats.org/officeDocument/2006/relationships/image" Target="../media/image90.png"/><Relationship Id="rId2" Type="http://schemas.openxmlformats.org/officeDocument/2006/relationships/notesSlide" Target="../notesSlides/notesSlide22.xml"/><Relationship Id="rId1" Type="http://schemas.openxmlformats.org/officeDocument/2006/relationships/slideLayout" Target="../slideLayouts/slideLayout13.xml"/><Relationship Id="rId6" Type="http://schemas.openxmlformats.org/officeDocument/2006/relationships/image" Target="../media/image89.png"/><Relationship Id="rId5" Type="http://schemas.openxmlformats.org/officeDocument/2006/relationships/image" Target="../media/image88.png"/><Relationship Id="rId4" Type="http://schemas.openxmlformats.org/officeDocument/2006/relationships/image" Target="../media/image39.png"/><Relationship Id="rId9" Type="http://schemas.openxmlformats.org/officeDocument/2006/relationships/image" Target="../media/image47.emf"/></Relationships>
</file>

<file path=ppt/slides/_rels/slide260.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hyperlink" Target="http://www.rapidbbs.cn/" TargetMode="External"/><Relationship Id="rId1" Type="http://schemas.openxmlformats.org/officeDocument/2006/relationships/slideLayout" Target="../slideLayouts/slideLayout27.xml"/></Relationships>
</file>

<file path=ppt/slides/_rels/slide261.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hyperlink" Target="http://www.rapidbbs.cn/" TargetMode="External"/><Relationship Id="rId1" Type="http://schemas.openxmlformats.org/officeDocument/2006/relationships/slideLayout" Target="../slideLayouts/slideLayout28.xml"/></Relationships>
</file>

<file path=ppt/slides/_rels/slide262.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hyperlink" Target="http://www.rapidbbs.cn/" TargetMode="External"/><Relationship Id="rId1" Type="http://schemas.openxmlformats.org/officeDocument/2006/relationships/slideLayout" Target="../slideLayouts/slideLayout29.xml"/></Relationships>
</file>

<file path=ppt/slides/_rels/slide263.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hyperlink" Target="http://www.rapidbbs.cn/" TargetMode="External"/><Relationship Id="rId1" Type="http://schemas.openxmlformats.org/officeDocument/2006/relationships/slideLayout" Target="../slideLayouts/slideLayout29.xml"/></Relationships>
</file>

<file path=ppt/slides/_rels/slide264.xml.rels><?xml version="1.0" encoding="UTF-8" standalone="yes"?>
<Relationships xmlns="http://schemas.openxmlformats.org/package/2006/relationships"><Relationship Id="rId8" Type="http://schemas.openxmlformats.org/officeDocument/2006/relationships/image" Target="../media/image653.png"/><Relationship Id="rId3" Type="http://schemas.openxmlformats.org/officeDocument/2006/relationships/image" Target="../media/image648.png"/><Relationship Id="rId7" Type="http://schemas.openxmlformats.org/officeDocument/2006/relationships/image" Target="../media/image652.png"/><Relationship Id="rId2" Type="http://schemas.openxmlformats.org/officeDocument/2006/relationships/notesSlide" Target="../notesSlides/notesSlide183.xml"/><Relationship Id="rId1" Type="http://schemas.openxmlformats.org/officeDocument/2006/relationships/slideLayout" Target="../slideLayouts/slideLayout8.xml"/><Relationship Id="rId6" Type="http://schemas.openxmlformats.org/officeDocument/2006/relationships/image" Target="../media/image651.png"/><Relationship Id="rId11" Type="http://schemas.openxmlformats.org/officeDocument/2006/relationships/image" Target="../media/image47.emf"/><Relationship Id="rId5" Type="http://schemas.openxmlformats.org/officeDocument/2006/relationships/image" Target="../media/image650.png"/><Relationship Id="rId10" Type="http://schemas.openxmlformats.org/officeDocument/2006/relationships/hyperlink" Target="http://www.rapidbbs.cn/" TargetMode="External"/><Relationship Id="rId4" Type="http://schemas.openxmlformats.org/officeDocument/2006/relationships/image" Target="../media/image649.png"/><Relationship Id="rId9" Type="http://schemas.openxmlformats.org/officeDocument/2006/relationships/image" Target="../media/image654.png"/></Relationships>
</file>

<file path=ppt/slides/_rels/slide265.xml.rels><?xml version="1.0" encoding="UTF-8" standalone="yes"?>
<Relationships xmlns="http://schemas.openxmlformats.org/package/2006/relationships"><Relationship Id="rId8" Type="http://schemas.openxmlformats.org/officeDocument/2006/relationships/image" Target="../media/image660.png"/><Relationship Id="rId13" Type="http://schemas.openxmlformats.org/officeDocument/2006/relationships/image" Target="../media/image665.png"/><Relationship Id="rId3" Type="http://schemas.openxmlformats.org/officeDocument/2006/relationships/image" Target="../media/image655.png"/><Relationship Id="rId7" Type="http://schemas.openxmlformats.org/officeDocument/2006/relationships/image" Target="../media/image659.png"/><Relationship Id="rId12" Type="http://schemas.openxmlformats.org/officeDocument/2006/relationships/image" Target="../media/image664.png"/><Relationship Id="rId2" Type="http://schemas.openxmlformats.org/officeDocument/2006/relationships/notesSlide" Target="../notesSlides/notesSlide184.xml"/><Relationship Id="rId1" Type="http://schemas.openxmlformats.org/officeDocument/2006/relationships/slideLayout" Target="../slideLayouts/slideLayout8.xml"/><Relationship Id="rId6" Type="http://schemas.openxmlformats.org/officeDocument/2006/relationships/image" Target="../media/image658.png"/><Relationship Id="rId11" Type="http://schemas.openxmlformats.org/officeDocument/2006/relationships/image" Target="../media/image663.png"/><Relationship Id="rId5" Type="http://schemas.openxmlformats.org/officeDocument/2006/relationships/image" Target="../media/image657.png"/><Relationship Id="rId15" Type="http://schemas.openxmlformats.org/officeDocument/2006/relationships/image" Target="../media/image47.emf"/><Relationship Id="rId10" Type="http://schemas.openxmlformats.org/officeDocument/2006/relationships/image" Target="../media/image662.png"/><Relationship Id="rId4" Type="http://schemas.openxmlformats.org/officeDocument/2006/relationships/image" Target="../media/image656.png"/><Relationship Id="rId9" Type="http://schemas.openxmlformats.org/officeDocument/2006/relationships/image" Target="../media/image661.png"/><Relationship Id="rId14" Type="http://schemas.openxmlformats.org/officeDocument/2006/relationships/hyperlink" Target="http://www.rapidbbs.cn/" TargetMode="External"/></Relationships>
</file>

<file path=ppt/slides/_rels/slide266.xml.rels><?xml version="1.0" encoding="UTF-8" standalone="yes"?>
<Relationships xmlns="http://schemas.openxmlformats.org/package/2006/relationships"><Relationship Id="rId8" Type="http://schemas.openxmlformats.org/officeDocument/2006/relationships/image" Target="../media/image47.emf"/><Relationship Id="rId3" Type="http://schemas.openxmlformats.org/officeDocument/2006/relationships/diagramLayout" Target="../diagrams/layout6.xml"/><Relationship Id="rId7" Type="http://schemas.openxmlformats.org/officeDocument/2006/relationships/hyperlink" Target="http://www.rapidbbs.cn/" TargetMode="External"/><Relationship Id="rId2" Type="http://schemas.openxmlformats.org/officeDocument/2006/relationships/diagramData" Target="../diagrams/data6.xml"/><Relationship Id="rId1" Type="http://schemas.openxmlformats.org/officeDocument/2006/relationships/slideLayout" Target="../slideLayouts/slideLayout9.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267.xml.rels><?xml version="1.0" encoding="UTF-8" standalone="yes"?>
<Relationships xmlns="http://schemas.openxmlformats.org/package/2006/relationships"><Relationship Id="rId3" Type="http://schemas.openxmlformats.org/officeDocument/2006/relationships/image" Target="../media/image666.png"/><Relationship Id="rId7" Type="http://schemas.openxmlformats.org/officeDocument/2006/relationships/image" Target="../media/image47.emf"/><Relationship Id="rId2" Type="http://schemas.openxmlformats.org/officeDocument/2006/relationships/notesSlide" Target="../notesSlides/notesSlide185.xml"/><Relationship Id="rId1" Type="http://schemas.openxmlformats.org/officeDocument/2006/relationships/slideLayout" Target="../slideLayouts/slideLayout8.xml"/><Relationship Id="rId6" Type="http://schemas.openxmlformats.org/officeDocument/2006/relationships/hyperlink" Target="http://www.rapidbbs.cn/" TargetMode="External"/><Relationship Id="rId5" Type="http://schemas.openxmlformats.org/officeDocument/2006/relationships/image" Target="../media/image181.png"/><Relationship Id="rId4" Type="http://schemas.microsoft.com/office/2007/relationships/hdphoto" Target="../media/hdphoto87.wdp"/></Relationships>
</file>

<file path=ppt/slides/_rels/slide268.xml.rels><?xml version="1.0" encoding="UTF-8" standalone="yes"?>
<Relationships xmlns="http://schemas.openxmlformats.org/package/2006/relationships"><Relationship Id="rId8" Type="http://schemas.openxmlformats.org/officeDocument/2006/relationships/image" Target="../media/image47.emf"/><Relationship Id="rId3" Type="http://schemas.openxmlformats.org/officeDocument/2006/relationships/image" Target="../media/image667.png"/><Relationship Id="rId7" Type="http://schemas.openxmlformats.org/officeDocument/2006/relationships/hyperlink" Target="http://www.rapidbbs.cn/" TargetMode="External"/><Relationship Id="rId2" Type="http://schemas.openxmlformats.org/officeDocument/2006/relationships/notesSlide" Target="../notesSlides/notesSlide186.xml"/><Relationship Id="rId1" Type="http://schemas.openxmlformats.org/officeDocument/2006/relationships/slideLayout" Target="../slideLayouts/slideLayout8.xml"/><Relationship Id="rId6" Type="http://schemas.openxmlformats.org/officeDocument/2006/relationships/image" Target="../media/image181.png"/><Relationship Id="rId5" Type="http://schemas.microsoft.com/office/2007/relationships/hdphoto" Target="../media/hdphoto88.wdp"/><Relationship Id="rId4" Type="http://schemas.openxmlformats.org/officeDocument/2006/relationships/image" Target="../media/image668.png"/></Relationships>
</file>

<file path=ppt/slides/_rels/slide269.xml.rels><?xml version="1.0" encoding="UTF-8" standalone="yes"?>
<Relationships xmlns="http://schemas.openxmlformats.org/package/2006/relationships"><Relationship Id="rId3" Type="http://schemas.openxmlformats.org/officeDocument/2006/relationships/image" Target="../media/image669.png"/><Relationship Id="rId7" Type="http://schemas.openxmlformats.org/officeDocument/2006/relationships/image" Target="../media/image47.emf"/><Relationship Id="rId2" Type="http://schemas.openxmlformats.org/officeDocument/2006/relationships/notesSlide" Target="../notesSlides/notesSlide187.xml"/><Relationship Id="rId1" Type="http://schemas.openxmlformats.org/officeDocument/2006/relationships/slideLayout" Target="../slideLayouts/slideLayout8.xml"/><Relationship Id="rId6" Type="http://schemas.openxmlformats.org/officeDocument/2006/relationships/hyperlink" Target="http://www.rapidbbs.cn/" TargetMode="External"/><Relationship Id="rId5" Type="http://schemas.openxmlformats.org/officeDocument/2006/relationships/image" Target="../media/image181.png"/><Relationship Id="rId4" Type="http://schemas.microsoft.com/office/2007/relationships/hdphoto" Target="../media/hdphoto89.wdp"/></Relationships>
</file>

<file path=ppt/slides/_rels/slide27.xml.rels><?xml version="1.0" encoding="UTF-8" standalone="yes"?>
<Relationships xmlns="http://schemas.openxmlformats.org/package/2006/relationships"><Relationship Id="rId8" Type="http://schemas.openxmlformats.org/officeDocument/2006/relationships/image" Target="../media/image96.png"/><Relationship Id="rId13" Type="http://schemas.openxmlformats.org/officeDocument/2006/relationships/hyperlink" Target="http://www.rapidbbs.cn/" TargetMode="External"/><Relationship Id="rId3" Type="http://schemas.openxmlformats.org/officeDocument/2006/relationships/image" Target="../media/image91.png"/><Relationship Id="rId7" Type="http://schemas.openxmlformats.org/officeDocument/2006/relationships/image" Target="../media/image95.png"/><Relationship Id="rId12" Type="http://schemas.openxmlformats.org/officeDocument/2006/relationships/image" Target="../media/image100.png"/><Relationship Id="rId2" Type="http://schemas.openxmlformats.org/officeDocument/2006/relationships/notesSlide" Target="../notesSlides/notesSlide23.xml"/><Relationship Id="rId1" Type="http://schemas.openxmlformats.org/officeDocument/2006/relationships/slideLayout" Target="../slideLayouts/slideLayout8.xml"/><Relationship Id="rId6" Type="http://schemas.openxmlformats.org/officeDocument/2006/relationships/image" Target="../media/image94.png"/><Relationship Id="rId11" Type="http://schemas.openxmlformats.org/officeDocument/2006/relationships/image" Target="../media/image99.png"/><Relationship Id="rId5" Type="http://schemas.openxmlformats.org/officeDocument/2006/relationships/image" Target="../media/image93.png"/><Relationship Id="rId10" Type="http://schemas.openxmlformats.org/officeDocument/2006/relationships/image" Target="../media/image98.png"/><Relationship Id="rId4" Type="http://schemas.openxmlformats.org/officeDocument/2006/relationships/image" Target="../media/image92.png"/><Relationship Id="rId9" Type="http://schemas.openxmlformats.org/officeDocument/2006/relationships/image" Target="../media/image97.png"/><Relationship Id="rId14" Type="http://schemas.openxmlformats.org/officeDocument/2006/relationships/image" Target="../media/image47.emf"/></Relationships>
</file>

<file path=ppt/slides/_rels/slide270.xml.rels><?xml version="1.0" encoding="UTF-8" standalone="yes"?>
<Relationships xmlns="http://schemas.openxmlformats.org/package/2006/relationships"><Relationship Id="rId8" Type="http://schemas.openxmlformats.org/officeDocument/2006/relationships/hyperlink" Target="http://www.rapidbbs.cn/" TargetMode="External"/><Relationship Id="rId3" Type="http://schemas.openxmlformats.org/officeDocument/2006/relationships/image" Target="../media/image666.png"/><Relationship Id="rId7" Type="http://schemas.openxmlformats.org/officeDocument/2006/relationships/image" Target="../media/image181.png"/><Relationship Id="rId2" Type="http://schemas.openxmlformats.org/officeDocument/2006/relationships/notesSlide" Target="../notesSlides/notesSlide188.xml"/><Relationship Id="rId1" Type="http://schemas.openxmlformats.org/officeDocument/2006/relationships/slideLayout" Target="../slideLayouts/slideLayout8.xml"/><Relationship Id="rId6" Type="http://schemas.openxmlformats.org/officeDocument/2006/relationships/image" Target="../media/image671.png"/><Relationship Id="rId5" Type="http://schemas.openxmlformats.org/officeDocument/2006/relationships/image" Target="../media/image670.png"/><Relationship Id="rId4" Type="http://schemas.microsoft.com/office/2007/relationships/hdphoto" Target="../media/hdphoto87.wdp"/><Relationship Id="rId9" Type="http://schemas.openxmlformats.org/officeDocument/2006/relationships/image" Target="../media/image47.emf"/></Relationships>
</file>

<file path=ppt/slides/_rels/slide271.xml.rels><?xml version="1.0" encoding="UTF-8" standalone="yes"?>
<Relationships xmlns="http://schemas.openxmlformats.org/package/2006/relationships"><Relationship Id="rId3" Type="http://schemas.openxmlformats.org/officeDocument/2006/relationships/image" Target="../media/image672.png"/><Relationship Id="rId2" Type="http://schemas.openxmlformats.org/officeDocument/2006/relationships/notesSlide" Target="../notesSlides/notesSlide189.xml"/><Relationship Id="rId1" Type="http://schemas.openxmlformats.org/officeDocument/2006/relationships/slideLayout" Target="../slideLayouts/slideLayout8.xml"/><Relationship Id="rId6" Type="http://schemas.openxmlformats.org/officeDocument/2006/relationships/image" Target="../media/image47.emf"/><Relationship Id="rId5" Type="http://schemas.openxmlformats.org/officeDocument/2006/relationships/hyperlink" Target="http://www.rapidbbs.cn/" TargetMode="External"/><Relationship Id="rId4" Type="http://schemas.openxmlformats.org/officeDocument/2006/relationships/image" Target="../media/image673.png"/></Relationships>
</file>

<file path=ppt/slides/_rels/slide272.xml.rels><?xml version="1.0" encoding="UTF-8" standalone="yes"?>
<Relationships xmlns="http://schemas.openxmlformats.org/package/2006/relationships"><Relationship Id="rId8" Type="http://schemas.openxmlformats.org/officeDocument/2006/relationships/image" Target="../media/image47.emf"/><Relationship Id="rId3" Type="http://schemas.microsoft.com/office/2007/relationships/hdphoto" Target="../media/hdphoto90.wdp"/><Relationship Id="rId7" Type="http://schemas.openxmlformats.org/officeDocument/2006/relationships/hyperlink" Target="http://www.rapidbbs.cn/" TargetMode="External"/><Relationship Id="rId2" Type="http://schemas.openxmlformats.org/officeDocument/2006/relationships/image" Target="../media/image674.png"/><Relationship Id="rId1" Type="http://schemas.openxmlformats.org/officeDocument/2006/relationships/slideLayout" Target="../slideLayouts/slideLayout8.xml"/><Relationship Id="rId6" Type="http://schemas.openxmlformats.org/officeDocument/2006/relationships/image" Target="../media/image181.png"/><Relationship Id="rId5" Type="http://schemas.openxmlformats.org/officeDocument/2006/relationships/image" Target="../media/image676.png"/><Relationship Id="rId4" Type="http://schemas.openxmlformats.org/officeDocument/2006/relationships/image" Target="../media/image675.png"/></Relationships>
</file>

<file path=ppt/slides/_rels/slide273.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notesSlide" Target="../notesSlides/notesSlide190.xml"/><Relationship Id="rId1" Type="http://schemas.openxmlformats.org/officeDocument/2006/relationships/slideLayout" Target="../slideLayouts/slideLayout30.xml"/><Relationship Id="rId4" Type="http://schemas.openxmlformats.org/officeDocument/2006/relationships/image" Target="../media/image47.emf"/></Relationships>
</file>

<file path=ppt/slides/_rels/slide274.xml.rels><?xml version="1.0" encoding="UTF-8" standalone="yes"?>
<Relationships xmlns="http://schemas.openxmlformats.org/package/2006/relationships"><Relationship Id="rId8" Type="http://schemas.openxmlformats.org/officeDocument/2006/relationships/image" Target="../media/image681.png"/><Relationship Id="rId3" Type="http://schemas.openxmlformats.org/officeDocument/2006/relationships/notesSlide" Target="../notesSlides/notesSlide191.xml"/><Relationship Id="rId7" Type="http://schemas.openxmlformats.org/officeDocument/2006/relationships/image" Target="../media/image680.png"/><Relationship Id="rId2" Type="http://schemas.openxmlformats.org/officeDocument/2006/relationships/slideLayout" Target="../slideLayouts/slideLayout12.xml"/><Relationship Id="rId1" Type="http://schemas.openxmlformats.org/officeDocument/2006/relationships/tags" Target="../tags/tag233.xml"/><Relationship Id="rId6" Type="http://schemas.openxmlformats.org/officeDocument/2006/relationships/image" Target="../media/image679.png"/><Relationship Id="rId5" Type="http://schemas.openxmlformats.org/officeDocument/2006/relationships/image" Target="../media/image678.png"/><Relationship Id="rId10" Type="http://schemas.openxmlformats.org/officeDocument/2006/relationships/image" Target="../media/image47.emf"/><Relationship Id="rId4" Type="http://schemas.openxmlformats.org/officeDocument/2006/relationships/image" Target="../media/image677.png"/><Relationship Id="rId9" Type="http://schemas.openxmlformats.org/officeDocument/2006/relationships/hyperlink" Target="http://www.rapidbbs.cn/" TargetMode="External"/></Relationships>
</file>

<file path=ppt/slides/_rels/slide275.xml.rels><?xml version="1.0" encoding="UTF-8" standalone="yes"?>
<Relationships xmlns="http://schemas.openxmlformats.org/package/2006/relationships"><Relationship Id="rId3" Type="http://schemas.openxmlformats.org/officeDocument/2006/relationships/image" Target="../media/image683.emf"/><Relationship Id="rId2" Type="http://schemas.openxmlformats.org/officeDocument/2006/relationships/image" Target="../media/image682.emf"/><Relationship Id="rId1" Type="http://schemas.openxmlformats.org/officeDocument/2006/relationships/slideLayout" Target="../slideLayouts/slideLayout12.xml"/><Relationship Id="rId5" Type="http://schemas.openxmlformats.org/officeDocument/2006/relationships/image" Target="../media/image47.emf"/><Relationship Id="rId4" Type="http://schemas.openxmlformats.org/officeDocument/2006/relationships/hyperlink" Target="http://www.rapidbbs.cn/" TargetMode="External"/></Relationships>
</file>

<file path=ppt/slides/_rels/slide276.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hyperlink" Target="http://www.rapidbbs.cn/" TargetMode="External"/><Relationship Id="rId1" Type="http://schemas.openxmlformats.org/officeDocument/2006/relationships/slideLayout" Target="../slideLayouts/slideLayout12.xml"/></Relationships>
</file>

<file path=ppt/slides/_rels/slide277.xml.rels><?xml version="1.0" encoding="UTF-8" standalone="yes"?>
<Relationships xmlns="http://schemas.openxmlformats.org/package/2006/relationships"><Relationship Id="rId8" Type="http://schemas.openxmlformats.org/officeDocument/2006/relationships/image" Target="../media/image47.emf"/><Relationship Id="rId3" Type="http://schemas.openxmlformats.org/officeDocument/2006/relationships/image" Target="../media/image684.png"/><Relationship Id="rId7" Type="http://schemas.openxmlformats.org/officeDocument/2006/relationships/hyperlink" Target="http://www.rapidbbs.cn/" TargetMode="External"/><Relationship Id="rId2" Type="http://schemas.openxmlformats.org/officeDocument/2006/relationships/notesSlide" Target="../notesSlides/notesSlide192.xml"/><Relationship Id="rId1" Type="http://schemas.openxmlformats.org/officeDocument/2006/relationships/slideLayout" Target="../slideLayouts/slideLayout12.xml"/><Relationship Id="rId6" Type="http://schemas.microsoft.com/office/2007/relationships/hdphoto" Target="../media/hdphoto92.wdp"/><Relationship Id="rId5" Type="http://schemas.openxmlformats.org/officeDocument/2006/relationships/image" Target="../media/image685.png"/><Relationship Id="rId4" Type="http://schemas.microsoft.com/office/2007/relationships/hdphoto" Target="../media/hdphoto91.wdp"/></Relationships>
</file>

<file path=ppt/slides/_rels/slide278.xml.rels><?xml version="1.0" encoding="UTF-8" standalone="yes"?>
<Relationships xmlns="http://schemas.openxmlformats.org/package/2006/relationships"><Relationship Id="rId8" Type="http://schemas.openxmlformats.org/officeDocument/2006/relationships/image" Target="../media/image691.png"/><Relationship Id="rId13" Type="http://schemas.openxmlformats.org/officeDocument/2006/relationships/hyperlink" Target="http://www.rapidbbs.cn/" TargetMode="External"/><Relationship Id="rId3" Type="http://schemas.openxmlformats.org/officeDocument/2006/relationships/image" Target="../media/image686.jpeg"/><Relationship Id="rId7" Type="http://schemas.openxmlformats.org/officeDocument/2006/relationships/image" Target="../media/image690.png"/><Relationship Id="rId12" Type="http://schemas.openxmlformats.org/officeDocument/2006/relationships/image" Target="../media/image695.png"/><Relationship Id="rId2" Type="http://schemas.openxmlformats.org/officeDocument/2006/relationships/notesSlide" Target="../notesSlides/notesSlide193.xml"/><Relationship Id="rId1" Type="http://schemas.openxmlformats.org/officeDocument/2006/relationships/slideLayout" Target="../slideLayouts/slideLayout12.xml"/><Relationship Id="rId6" Type="http://schemas.openxmlformats.org/officeDocument/2006/relationships/image" Target="../media/image689.png"/><Relationship Id="rId11" Type="http://schemas.openxmlformats.org/officeDocument/2006/relationships/image" Target="../media/image694.png"/><Relationship Id="rId5" Type="http://schemas.openxmlformats.org/officeDocument/2006/relationships/image" Target="../media/image688.png"/><Relationship Id="rId10" Type="http://schemas.openxmlformats.org/officeDocument/2006/relationships/image" Target="../media/image693.png"/><Relationship Id="rId4" Type="http://schemas.openxmlformats.org/officeDocument/2006/relationships/image" Target="../media/image687.emf"/><Relationship Id="rId9" Type="http://schemas.openxmlformats.org/officeDocument/2006/relationships/image" Target="../media/image692.png"/><Relationship Id="rId14" Type="http://schemas.openxmlformats.org/officeDocument/2006/relationships/image" Target="../media/image47.emf"/></Relationships>
</file>

<file path=ppt/slides/_rels/slide279.xml.rels><?xml version="1.0" encoding="UTF-8" standalone="yes"?>
<Relationships xmlns="http://schemas.openxmlformats.org/package/2006/relationships"><Relationship Id="rId8" Type="http://schemas.openxmlformats.org/officeDocument/2006/relationships/image" Target="../media/image699.png"/><Relationship Id="rId13" Type="http://schemas.openxmlformats.org/officeDocument/2006/relationships/image" Target="../media/image704.png"/><Relationship Id="rId18" Type="http://schemas.openxmlformats.org/officeDocument/2006/relationships/image" Target="../media/image709.png"/><Relationship Id="rId3" Type="http://schemas.openxmlformats.org/officeDocument/2006/relationships/image" Target="../media/image693.png"/><Relationship Id="rId21" Type="http://schemas.openxmlformats.org/officeDocument/2006/relationships/image" Target="../media/image712.png"/><Relationship Id="rId7" Type="http://schemas.openxmlformats.org/officeDocument/2006/relationships/image" Target="../media/image698.png"/><Relationship Id="rId12" Type="http://schemas.openxmlformats.org/officeDocument/2006/relationships/image" Target="../media/image703.png"/><Relationship Id="rId17" Type="http://schemas.openxmlformats.org/officeDocument/2006/relationships/image" Target="../media/image708.png"/><Relationship Id="rId2" Type="http://schemas.openxmlformats.org/officeDocument/2006/relationships/notesSlide" Target="../notesSlides/notesSlide194.xml"/><Relationship Id="rId16" Type="http://schemas.openxmlformats.org/officeDocument/2006/relationships/image" Target="../media/image707.png"/><Relationship Id="rId20" Type="http://schemas.openxmlformats.org/officeDocument/2006/relationships/image" Target="../media/image711.png"/><Relationship Id="rId1" Type="http://schemas.openxmlformats.org/officeDocument/2006/relationships/slideLayout" Target="../slideLayouts/slideLayout12.xml"/><Relationship Id="rId6" Type="http://schemas.openxmlformats.org/officeDocument/2006/relationships/image" Target="../media/image697.png"/><Relationship Id="rId11" Type="http://schemas.openxmlformats.org/officeDocument/2006/relationships/image" Target="../media/image702.jpeg"/><Relationship Id="rId5" Type="http://schemas.openxmlformats.org/officeDocument/2006/relationships/image" Target="../media/image696.png"/><Relationship Id="rId15" Type="http://schemas.openxmlformats.org/officeDocument/2006/relationships/image" Target="../media/image706.png"/><Relationship Id="rId23" Type="http://schemas.openxmlformats.org/officeDocument/2006/relationships/image" Target="../media/image47.emf"/><Relationship Id="rId10" Type="http://schemas.openxmlformats.org/officeDocument/2006/relationships/image" Target="../media/image701.png"/><Relationship Id="rId19" Type="http://schemas.openxmlformats.org/officeDocument/2006/relationships/image" Target="../media/image710.png"/><Relationship Id="rId4" Type="http://schemas.openxmlformats.org/officeDocument/2006/relationships/image" Target="../media/image694.png"/><Relationship Id="rId9" Type="http://schemas.openxmlformats.org/officeDocument/2006/relationships/image" Target="../media/image700.png"/><Relationship Id="rId14" Type="http://schemas.openxmlformats.org/officeDocument/2006/relationships/image" Target="../media/image705.emf"/><Relationship Id="rId22" Type="http://schemas.openxmlformats.org/officeDocument/2006/relationships/hyperlink" Target="http://www.rapidbbs.cn/"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24.xml"/><Relationship Id="rId1" Type="http://schemas.openxmlformats.org/officeDocument/2006/relationships/slideLayout" Target="../slideLayouts/slideLayout8.xml"/><Relationship Id="rId6" Type="http://schemas.openxmlformats.org/officeDocument/2006/relationships/image" Target="../media/image47.emf"/><Relationship Id="rId5" Type="http://schemas.openxmlformats.org/officeDocument/2006/relationships/hyperlink" Target="http://www.rapidbbs.cn/" TargetMode="External"/><Relationship Id="rId4" Type="http://schemas.openxmlformats.org/officeDocument/2006/relationships/image" Target="../media/image102.png"/></Relationships>
</file>

<file path=ppt/slides/_rels/slide280.xml.rels><?xml version="1.0" encoding="UTF-8" standalone="yes"?>
<Relationships xmlns="http://schemas.openxmlformats.org/package/2006/relationships"><Relationship Id="rId3" Type="http://schemas.openxmlformats.org/officeDocument/2006/relationships/image" Target="../media/image713.png"/><Relationship Id="rId2" Type="http://schemas.openxmlformats.org/officeDocument/2006/relationships/notesSlide" Target="../notesSlides/notesSlide195.xml"/><Relationship Id="rId1" Type="http://schemas.openxmlformats.org/officeDocument/2006/relationships/slideLayout" Target="../slideLayouts/slideLayout12.xml"/><Relationship Id="rId6" Type="http://schemas.openxmlformats.org/officeDocument/2006/relationships/image" Target="../media/image47.emf"/><Relationship Id="rId5" Type="http://schemas.openxmlformats.org/officeDocument/2006/relationships/hyperlink" Target="http://www.rapidbbs.cn/" TargetMode="External"/><Relationship Id="rId4" Type="http://schemas.microsoft.com/office/2007/relationships/hdphoto" Target="../media/hdphoto93.wdp"/></Relationships>
</file>

<file path=ppt/slides/_rels/slide281.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notesSlide" Target="../notesSlides/notesSlide196.xml"/><Relationship Id="rId1" Type="http://schemas.openxmlformats.org/officeDocument/2006/relationships/slideLayout" Target="../slideLayouts/slideLayout12.xml"/><Relationship Id="rId4" Type="http://schemas.openxmlformats.org/officeDocument/2006/relationships/image" Target="../media/image47.emf"/></Relationships>
</file>

<file path=ppt/slides/_rels/slide282.xml.rels><?xml version="1.0" encoding="UTF-8" standalone="yes"?>
<Relationships xmlns="http://schemas.openxmlformats.org/package/2006/relationships"><Relationship Id="rId8" Type="http://schemas.openxmlformats.org/officeDocument/2006/relationships/image" Target="../media/image47.emf"/><Relationship Id="rId3" Type="http://schemas.openxmlformats.org/officeDocument/2006/relationships/image" Target="../media/image715.jpeg"/><Relationship Id="rId7" Type="http://schemas.openxmlformats.org/officeDocument/2006/relationships/hyperlink" Target="http://www.rapidbbs.cn/" TargetMode="External"/><Relationship Id="rId2" Type="http://schemas.openxmlformats.org/officeDocument/2006/relationships/image" Target="../media/image714.jpeg"/><Relationship Id="rId1" Type="http://schemas.openxmlformats.org/officeDocument/2006/relationships/slideLayout" Target="../slideLayouts/slideLayout12.xml"/><Relationship Id="rId6" Type="http://schemas.microsoft.com/office/2007/relationships/hdphoto" Target="../media/hdphoto94.wdp"/><Relationship Id="rId5" Type="http://schemas.openxmlformats.org/officeDocument/2006/relationships/image" Target="../media/image717.png"/><Relationship Id="rId4" Type="http://schemas.openxmlformats.org/officeDocument/2006/relationships/image" Target="../media/image716.jpeg"/></Relationships>
</file>

<file path=ppt/slides/_rels/slide283.xml.rels><?xml version="1.0" encoding="UTF-8" standalone="yes"?>
<Relationships xmlns="http://schemas.openxmlformats.org/package/2006/relationships"><Relationship Id="rId8" Type="http://schemas.microsoft.com/office/2007/relationships/hdphoto" Target="../media/hdphoto97.wdp"/><Relationship Id="rId3" Type="http://schemas.openxmlformats.org/officeDocument/2006/relationships/image" Target="../media/image718.png"/><Relationship Id="rId7" Type="http://schemas.openxmlformats.org/officeDocument/2006/relationships/image" Target="../media/image720.png"/><Relationship Id="rId2" Type="http://schemas.openxmlformats.org/officeDocument/2006/relationships/notesSlide" Target="../notesSlides/notesSlide197.xml"/><Relationship Id="rId1" Type="http://schemas.openxmlformats.org/officeDocument/2006/relationships/slideLayout" Target="../slideLayouts/slideLayout12.xml"/><Relationship Id="rId6" Type="http://schemas.microsoft.com/office/2007/relationships/hdphoto" Target="../media/hdphoto96.wdp"/><Relationship Id="rId11" Type="http://schemas.openxmlformats.org/officeDocument/2006/relationships/image" Target="../media/image47.emf"/><Relationship Id="rId5" Type="http://schemas.openxmlformats.org/officeDocument/2006/relationships/image" Target="../media/image719.png"/><Relationship Id="rId10" Type="http://schemas.openxmlformats.org/officeDocument/2006/relationships/hyperlink" Target="http://www.rapidbbs.cn/" TargetMode="External"/><Relationship Id="rId4" Type="http://schemas.microsoft.com/office/2007/relationships/hdphoto" Target="../media/hdphoto95.wdp"/><Relationship Id="rId9" Type="http://schemas.openxmlformats.org/officeDocument/2006/relationships/image" Target="../media/image350.emf"/></Relationships>
</file>

<file path=ppt/slides/_rels/slide284.xml.rels><?xml version="1.0" encoding="UTF-8" standalone="yes"?>
<Relationships xmlns="http://schemas.openxmlformats.org/package/2006/relationships"><Relationship Id="rId8" Type="http://schemas.openxmlformats.org/officeDocument/2006/relationships/image" Target="../media/image726.jpg"/><Relationship Id="rId3" Type="http://schemas.openxmlformats.org/officeDocument/2006/relationships/image" Target="../media/image721.jpg"/><Relationship Id="rId7" Type="http://schemas.openxmlformats.org/officeDocument/2006/relationships/image" Target="../media/image725.jpg"/><Relationship Id="rId2" Type="http://schemas.openxmlformats.org/officeDocument/2006/relationships/notesSlide" Target="../notesSlides/notesSlide198.xml"/><Relationship Id="rId1" Type="http://schemas.openxmlformats.org/officeDocument/2006/relationships/slideLayout" Target="../slideLayouts/slideLayout9.xml"/><Relationship Id="rId6" Type="http://schemas.openxmlformats.org/officeDocument/2006/relationships/image" Target="../media/image724.jpg"/><Relationship Id="rId5" Type="http://schemas.openxmlformats.org/officeDocument/2006/relationships/image" Target="../media/image723.jpg"/><Relationship Id="rId10" Type="http://schemas.openxmlformats.org/officeDocument/2006/relationships/image" Target="../media/image47.emf"/><Relationship Id="rId4" Type="http://schemas.openxmlformats.org/officeDocument/2006/relationships/image" Target="../media/image722.jpg"/><Relationship Id="rId9" Type="http://schemas.openxmlformats.org/officeDocument/2006/relationships/hyperlink" Target="http://www.rapidbbs.cn/" TargetMode="External"/></Relationships>
</file>

<file path=ppt/slides/_rels/slide285.xml.rels><?xml version="1.0" encoding="UTF-8" standalone="yes"?>
<Relationships xmlns="http://schemas.openxmlformats.org/package/2006/relationships"><Relationship Id="rId3" Type="http://schemas.openxmlformats.org/officeDocument/2006/relationships/image" Target="../media/image626.png"/><Relationship Id="rId2" Type="http://schemas.openxmlformats.org/officeDocument/2006/relationships/notesSlide" Target="../notesSlides/notesSlide199.xml"/><Relationship Id="rId1" Type="http://schemas.openxmlformats.org/officeDocument/2006/relationships/slideLayout" Target="../slideLayouts/slideLayout12.xml"/><Relationship Id="rId6" Type="http://schemas.openxmlformats.org/officeDocument/2006/relationships/image" Target="../media/image47.emf"/><Relationship Id="rId5" Type="http://schemas.openxmlformats.org/officeDocument/2006/relationships/hyperlink" Target="http://www.rapidbbs.cn/" TargetMode="External"/><Relationship Id="rId4" Type="http://schemas.openxmlformats.org/officeDocument/2006/relationships/image" Target="../media/image727.png"/></Relationships>
</file>

<file path=ppt/slides/_rels/slide286.xml.rels><?xml version="1.0" encoding="UTF-8" standalone="yes"?>
<Relationships xmlns="http://schemas.openxmlformats.org/package/2006/relationships"><Relationship Id="rId3" Type="http://schemas.openxmlformats.org/officeDocument/2006/relationships/image" Target="../media/image728.emf"/><Relationship Id="rId2" Type="http://schemas.openxmlformats.org/officeDocument/2006/relationships/notesSlide" Target="../notesSlides/notesSlide200.xml"/><Relationship Id="rId1" Type="http://schemas.openxmlformats.org/officeDocument/2006/relationships/slideLayout" Target="../slideLayouts/slideLayout9.xml"/><Relationship Id="rId5" Type="http://schemas.openxmlformats.org/officeDocument/2006/relationships/image" Target="../media/image47.emf"/><Relationship Id="rId4" Type="http://schemas.openxmlformats.org/officeDocument/2006/relationships/hyperlink" Target="http://www.rapidbbs.cn/" TargetMode="External"/></Relationships>
</file>

<file path=ppt/slides/_rels/slide287.xml.rels><?xml version="1.0" encoding="UTF-8" standalone="yes"?>
<Relationships xmlns="http://schemas.openxmlformats.org/package/2006/relationships"><Relationship Id="rId8" Type="http://schemas.openxmlformats.org/officeDocument/2006/relationships/image" Target="../media/image47.emf"/><Relationship Id="rId3" Type="http://schemas.openxmlformats.org/officeDocument/2006/relationships/image" Target="../media/image730.jpeg"/><Relationship Id="rId7" Type="http://schemas.openxmlformats.org/officeDocument/2006/relationships/hyperlink" Target="http://www.rapidbbs.cn/" TargetMode="External"/><Relationship Id="rId2" Type="http://schemas.openxmlformats.org/officeDocument/2006/relationships/notesSlide" Target="../notesSlides/notesSlide201.xml"/><Relationship Id="rId1" Type="http://schemas.openxmlformats.org/officeDocument/2006/relationships/slideLayout" Target="../slideLayouts/slideLayout9.xml"/><Relationship Id="rId6" Type="http://schemas.openxmlformats.org/officeDocument/2006/relationships/image" Target="../media/image733.jpeg"/><Relationship Id="rId5" Type="http://schemas.openxmlformats.org/officeDocument/2006/relationships/image" Target="../media/image732.jpeg"/><Relationship Id="rId4" Type="http://schemas.openxmlformats.org/officeDocument/2006/relationships/image" Target="../media/image731.jpeg"/></Relationships>
</file>

<file path=ppt/slides/_rels/slide288.xml.rels><?xml version="1.0" encoding="UTF-8" standalone="yes"?>
<Relationships xmlns="http://schemas.openxmlformats.org/package/2006/relationships"><Relationship Id="rId3" Type="http://schemas.openxmlformats.org/officeDocument/2006/relationships/image" Target="../media/image734.jpeg"/><Relationship Id="rId2" Type="http://schemas.openxmlformats.org/officeDocument/2006/relationships/notesSlide" Target="../notesSlides/notesSlide202.xml"/><Relationship Id="rId1" Type="http://schemas.openxmlformats.org/officeDocument/2006/relationships/slideLayout" Target="../slideLayouts/slideLayout31.xml"/><Relationship Id="rId6" Type="http://schemas.openxmlformats.org/officeDocument/2006/relationships/image" Target="../media/image47.emf"/><Relationship Id="rId5" Type="http://schemas.openxmlformats.org/officeDocument/2006/relationships/hyperlink" Target="http://www.rapidbbs.cn/" TargetMode="External"/><Relationship Id="rId4" Type="http://schemas.openxmlformats.org/officeDocument/2006/relationships/image" Target="../media/image735.tiff"/></Relationships>
</file>

<file path=ppt/slides/_rels/slide289.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notesSlide" Target="../notesSlides/notesSlide203.xml"/><Relationship Id="rId1" Type="http://schemas.openxmlformats.org/officeDocument/2006/relationships/slideLayout" Target="../slideLayouts/slideLayout12.xml"/><Relationship Id="rId4" Type="http://schemas.openxmlformats.org/officeDocument/2006/relationships/image" Target="../media/image47.emf"/></Relationships>
</file>

<file path=ppt/slides/_rels/slide29.xml.rels><?xml version="1.0" encoding="UTF-8" standalone="yes"?>
<Relationships xmlns="http://schemas.openxmlformats.org/package/2006/relationships"><Relationship Id="rId8" Type="http://schemas.openxmlformats.org/officeDocument/2006/relationships/image" Target="../media/image47.emf"/><Relationship Id="rId3" Type="http://schemas.openxmlformats.org/officeDocument/2006/relationships/image" Target="../media/image103.jpeg"/><Relationship Id="rId7" Type="http://schemas.openxmlformats.org/officeDocument/2006/relationships/hyperlink" Target="http://www.rapidbbs.cn/" TargetMode="External"/><Relationship Id="rId2" Type="http://schemas.openxmlformats.org/officeDocument/2006/relationships/notesSlide" Target="../notesSlides/notesSlide25.xml"/><Relationship Id="rId1" Type="http://schemas.openxmlformats.org/officeDocument/2006/relationships/slideLayout" Target="../slideLayouts/slideLayout19.xml"/><Relationship Id="rId6" Type="http://schemas.openxmlformats.org/officeDocument/2006/relationships/image" Target="../media/image106.jpeg"/><Relationship Id="rId5" Type="http://schemas.openxmlformats.org/officeDocument/2006/relationships/image" Target="../media/image105.jpeg"/><Relationship Id="rId4" Type="http://schemas.openxmlformats.org/officeDocument/2006/relationships/image" Target="../media/image104.jpeg"/></Relationships>
</file>

<file path=ppt/slides/_rels/slide290.xml.rels><?xml version="1.0" encoding="UTF-8" standalone="yes"?>
<Relationships xmlns="http://schemas.openxmlformats.org/package/2006/relationships"><Relationship Id="rId3" Type="http://schemas.openxmlformats.org/officeDocument/2006/relationships/image" Target="../media/image736.jpeg"/><Relationship Id="rId2" Type="http://schemas.openxmlformats.org/officeDocument/2006/relationships/notesSlide" Target="../notesSlides/notesSlide204.xml"/><Relationship Id="rId1" Type="http://schemas.openxmlformats.org/officeDocument/2006/relationships/slideLayout" Target="../slideLayouts/slideLayout12.xml"/><Relationship Id="rId6" Type="http://schemas.openxmlformats.org/officeDocument/2006/relationships/image" Target="../media/image47.emf"/><Relationship Id="rId5" Type="http://schemas.openxmlformats.org/officeDocument/2006/relationships/hyperlink" Target="http://www.rapidbbs.cn/" TargetMode="External"/><Relationship Id="rId4" Type="http://schemas.openxmlformats.org/officeDocument/2006/relationships/hyperlink" Target="http://www.cloudsecurityalliance.org/" TargetMode="External"/></Relationships>
</file>

<file path=ppt/slides/_rels/slide291.xml.rels><?xml version="1.0" encoding="UTF-8" standalone="yes"?>
<Relationships xmlns="http://schemas.openxmlformats.org/package/2006/relationships"><Relationship Id="rId8" Type="http://schemas.openxmlformats.org/officeDocument/2006/relationships/hyperlink" Target="http://www.rapidbbs.cn/" TargetMode="External"/><Relationship Id="rId3" Type="http://schemas.openxmlformats.org/officeDocument/2006/relationships/tags" Target="../tags/tag236.xml"/><Relationship Id="rId7" Type="http://schemas.openxmlformats.org/officeDocument/2006/relationships/image" Target="../media/image1.png"/><Relationship Id="rId2" Type="http://schemas.openxmlformats.org/officeDocument/2006/relationships/tags" Target="../tags/tag235.xml"/><Relationship Id="rId1" Type="http://schemas.openxmlformats.org/officeDocument/2006/relationships/tags" Target="../tags/tag234.xml"/><Relationship Id="rId6" Type="http://schemas.openxmlformats.org/officeDocument/2006/relationships/notesSlide" Target="../notesSlides/notesSlide205.xml"/><Relationship Id="rId5" Type="http://schemas.openxmlformats.org/officeDocument/2006/relationships/slideLayout" Target="../slideLayouts/slideLayout8.xml"/><Relationship Id="rId4" Type="http://schemas.openxmlformats.org/officeDocument/2006/relationships/tags" Target="../tags/tag237.xml"/><Relationship Id="rId9" Type="http://schemas.openxmlformats.org/officeDocument/2006/relationships/image" Target="../media/image47.emf"/></Relationships>
</file>

<file path=ppt/slides/_rels/slide292.xml.rels><?xml version="1.0" encoding="UTF-8" standalone="yes"?>
<Relationships xmlns="http://schemas.openxmlformats.org/package/2006/relationships"><Relationship Id="rId8" Type="http://schemas.openxmlformats.org/officeDocument/2006/relationships/image" Target="../media/image47.emf"/><Relationship Id="rId3" Type="http://schemas.openxmlformats.org/officeDocument/2006/relationships/tags" Target="../tags/tag240.xml"/><Relationship Id="rId7" Type="http://schemas.openxmlformats.org/officeDocument/2006/relationships/hyperlink" Target="http://www.rapidbbs.cn/" TargetMode="External"/><Relationship Id="rId2" Type="http://schemas.openxmlformats.org/officeDocument/2006/relationships/tags" Target="../tags/tag239.xml"/><Relationship Id="rId1" Type="http://schemas.openxmlformats.org/officeDocument/2006/relationships/tags" Target="../tags/tag238.xml"/><Relationship Id="rId6" Type="http://schemas.openxmlformats.org/officeDocument/2006/relationships/image" Target="../media/image1.png"/><Relationship Id="rId5" Type="http://schemas.openxmlformats.org/officeDocument/2006/relationships/slideLayout" Target="../slideLayouts/slideLayout8.xml"/><Relationship Id="rId4" Type="http://schemas.openxmlformats.org/officeDocument/2006/relationships/tags" Target="../tags/tag241.xml"/></Relationships>
</file>

<file path=ppt/slides/_rels/slide293.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notesSlide" Target="../notesSlides/notesSlide206.xml"/><Relationship Id="rId1" Type="http://schemas.openxmlformats.org/officeDocument/2006/relationships/slideLayout" Target="../slideLayouts/slideLayout8.xml"/><Relationship Id="rId4" Type="http://schemas.openxmlformats.org/officeDocument/2006/relationships/image" Target="../media/image47.emf"/></Relationships>
</file>

<file path=ppt/slides/_rels/slide294.xml.rels><?xml version="1.0" encoding="UTF-8" standalone="yes"?>
<Relationships xmlns="http://schemas.openxmlformats.org/package/2006/relationships"><Relationship Id="rId8" Type="http://schemas.openxmlformats.org/officeDocument/2006/relationships/hyperlink" Target="http://www.rapidbbs.cn/" TargetMode="External"/><Relationship Id="rId3" Type="http://schemas.openxmlformats.org/officeDocument/2006/relationships/image" Target="../media/image738.png"/><Relationship Id="rId7" Type="http://schemas.openxmlformats.org/officeDocument/2006/relationships/image" Target="../media/image742.png"/><Relationship Id="rId2" Type="http://schemas.openxmlformats.org/officeDocument/2006/relationships/image" Target="../media/image737.png"/><Relationship Id="rId1" Type="http://schemas.openxmlformats.org/officeDocument/2006/relationships/slideLayout" Target="../slideLayouts/slideLayout12.xml"/><Relationship Id="rId6" Type="http://schemas.openxmlformats.org/officeDocument/2006/relationships/image" Target="../media/image741.png"/><Relationship Id="rId5" Type="http://schemas.openxmlformats.org/officeDocument/2006/relationships/image" Target="../media/image740.png"/><Relationship Id="rId4" Type="http://schemas.openxmlformats.org/officeDocument/2006/relationships/image" Target="../media/image739.png"/><Relationship Id="rId9" Type="http://schemas.openxmlformats.org/officeDocument/2006/relationships/image" Target="../media/image47.emf"/></Relationships>
</file>

<file path=ppt/slides/_rels/slide295.xml.rels><?xml version="1.0" encoding="UTF-8" standalone="yes"?>
<Relationships xmlns="http://schemas.openxmlformats.org/package/2006/relationships"><Relationship Id="rId3" Type="http://schemas.openxmlformats.org/officeDocument/2006/relationships/image" Target="../media/image743.emf"/><Relationship Id="rId7" Type="http://schemas.openxmlformats.org/officeDocument/2006/relationships/image" Target="../media/image47.emf"/><Relationship Id="rId2" Type="http://schemas.openxmlformats.org/officeDocument/2006/relationships/notesSlide" Target="../notesSlides/notesSlide207.xml"/><Relationship Id="rId1" Type="http://schemas.openxmlformats.org/officeDocument/2006/relationships/slideLayout" Target="../slideLayouts/slideLayout9.xml"/><Relationship Id="rId6" Type="http://schemas.openxmlformats.org/officeDocument/2006/relationships/hyperlink" Target="http://www.rapidbbs.cn/" TargetMode="External"/><Relationship Id="rId5" Type="http://schemas.openxmlformats.org/officeDocument/2006/relationships/image" Target="../media/image745.emf"/><Relationship Id="rId4" Type="http://schemas.openxmlformats.org/officeDocument/2006/relationships/image" Target="../media/image744.emf"/></Relationships>
</file>

<file path=ppt/slides/_rels/slide296.xml.rels><?xml version="1.0" encoding="UTF-8" standalone="yes"?>
<Relationships xmlns="http://schemas.openxmlformats.org/package/2006/relationships"><Relationship Id="rId3" Type="http://schemas.openxmlformats.org/officeDocument/2006/relationships/image" Target="../media/image746.emf"/><Relationship Id="rId7" Type="http://schemas.openxmlformats.org/officeDocument/2006/relationships/image" Target="../media/image47.emf"/><Relationship Id="rId2" Type="http://schemas.openxmlformats.org/officeDocument/2006/relationships/image" Target="../media/image744.emf"/><Relationship Id="rId1" Type="http://schemas.openxmlformats.org/officeDocument/2006/relationships/slideLayout" Target="../slideLayouts/slideLayout8.xml"/><Relationship Id="rId6" Type="http://schemas.openxmlformats.org/officeDocument/2006/relationships/hyperlink" Target="http://www.rapidbbs.cn/" TargetMode="External"/><Relationship Id="rId5" Type="http://schemas.openxmlformats.org/officeDocument/2006/relationships/image" Target="../media/image743.emf"/><Relationship Id="rId4" Type="http://schemas.openxmlformats.org/officeDocument/2006/relationships/image" Target="../media/image747.emf"/></Relationships>
</file>

<file path=ppt/slides/_rels/slide297.xml.rels><?xml version="1.0" encoding="UTF-8" standalone="yes"?>
<Relationships xmlns="http://schemas.openxmlformats.org/package/2006/relationships"><Relationship Id="rId8" Type="http://schemas.openxmlformats.org/officeDocument/2006/relationships/image" Target="../media/image754.emf"/><Relationship Id="rId3" Type="http://schemas.openxmlformats.org/officeDocument/2006/relationships/image" Target="../media/image749.emf"/><Relationship Id="rId7" Type="http://schemas.openxmlformats.org/officeDocument/2006/relationships/image" Target="../media/image753.emf"/><Relationship Id="rId2" Type="http://schemas.openxmlformats.org/officeDocument/2006/relationships/image" Target="../media/image748.emf"/><Relationship Id="rId1" Type="http://schemas.openxmlformats.org/officeDocument/2006/relationships/slideLayout" Target="../slideLayouts/slideLayout12.xml"/><Relationship Id="rId6" Type="http://schemas.openxmlformats.org/officeDocument/2006/relationships/image" Target="../media/image752.emf"/><Relationship Id="rId5" Type="http://schemas.openxmlformats.org/officeDocument/2006/relationships/image" Target="../media/image751.emf"/><Relationship Id="rId10" Type="http://schemas.openxmlformats.org/officeDocument/2006/relationships/image" Target="../media/image47.emf"/><Relationship Id="rId4" Type="http://schemas.openxmlformats.org/officeDocument/2006/relationships/image" Target="../media/image750.emf"/><Relationship Id="rId9" Type="http://schemas.openxmlformats.org/officeDocument/2006/relationships/hyperlink" Target="http://www.rapidbbs.cn/" TargetMode="External"/></Relationships>
</file>

<file path=ppt/slides/_rels/slide298.xml.rels><?xml version="1.0" encoding="UTF-8" standalone="yes"?>
<Relationships xmlns="http://schemas.openxmlformats.org/package/2006/relationships"><Relationship Id="rId8" Type="http://schemas.openxmlformats.org/officeDocument/2006/relationships/hyperlink" Target="http://www.rapidbbs.cn/" TargetMode="External"/><Relationship Id="rId3" Type="http://schemas.openxmlformats.org/officeDocument/2006/relationships/image" Target="../media/image753.emf"/><Relationship Id="rId7" Type="http://schemas.openxmlformats.org/officeDocument/2006/relationships/image" Target="../media/image756.emf"/><Relationship Id="rId2" Type="http://schemas.openxmlformats.org/officeDocument/2006/relationships/notesSlide" Target="../notesSlides/notesSlide208.xml"/><Relationship Id="rId1" Type="http://schemas.openxmlformats.org/officeDocument/2006/relationships/slideLayout" Target="../slideLayouts/slideLayout12.xml"/><Relationship Id="rId6" Type="http://schemas.openxmlformats.org/officeDocument/2006/relationships/image" Target="../media/image755.emf"/><Relationship Id="rId5" Type="http://schemas.openxmlformats.org/officeDocument/2006/relationships/image" Target="../media/image749.emf"/><Relationship Id="rId4" Type="http://schemas.openxmlformats.org/officeDocument/2006/relationships/image" Target="../media/image748.emf"/><Relationship Id="rId9" Type="http://schemas.openxmlformats.org/officeDocument/2006/relationships/image" Target="../media/image47.emf"/></Relationships>
</file>

<file path=ppt/slides/_rels/slide299.xml.rels><?xml version="1.0" encoding="UTF-8" standalone="yes"?>
<Relationships xmlns="http://schemas.openxmlformats.org/package/2006/relationships"><Relationship Id="rId8" Type="http://schemas.openxmlformats.org/officeDocument/2006/relationships/image" Target="../media/image47.emf"/><Relationship Id="rId3" Type="http://schemas.openxmlformats.org/officeDocument/2006/relationships/image" Target="../media/image744.emf"/><Relationship Id="rId7" Type="http://schemas.openxmlformats.org/officeDocument/2006/relationships/hyperlink" Target="http://www.rapidbbs.cn/" TargetMode="External"/><Relationship Id="rId2" Type="http://schemas.openxmlformats.org/officeDocument/2006/relationships/notesSlide" Target="../notesSlides/notesSlide209.xml"/><Relationship Id="rId1" Type="http://schemas.openxmlformats.org/officeDocument/2006/relationships/slideLayout" Target="../slideLayouts/slideLayout12.xml"/><Relationship Id="rId6" Type="http://schemas.openxmlformats.org/officeDocument/2006/relationships/image" Target="../media/image743.emf"/><Relationship Id="rId5" Type="http://schemas.openxmlformats.org/officeDocument/2006/relationships/image" Target="../media/image747.emf"/><Relationship Id="rId4" Type="http://schemas.openxmlformats.org/officeDocument/2006/relationships/image" Target="../media/image746.emf"/></Relationships>
</file>

<file path=ppt/slides/_rels/slide3.xml.rels><?xml version="1.0" encoding="UTF-8" standalone="yes"?>
<Relationships xmlns="http://schemas.openxmlformats.org/package/2006/relationships"><Relationship Id="rId8" Type="http://schemas.openxmlformats.org/officeDocument/2006/relationships/hyperlink" Target="http://www.rapidbbs.cn/" TargetMode="External"/><Relationship Id="rId3" Type="http://schemas.openxmlformats.org/officeDocument/2006/relationships/image" Target="../media/image49.jpeg"/><Relationship Id="rId7" Type="http://schemas.openxmlformats.org/officeDocument/2006/relationships/image" Target="../media/image53.jpeg"/><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image" Target="../media/image52.jpeg"/><Relationship Id="rId5" Type="http://schemas.openxmlformats.org/officeDocument/2006/relationships/image" Target="../media/image51.jpeg"/><Relationship Id="rId4" Type="http://schemas.openxmlformats.org/officeDocument/2006/relationships/image" Target="../media/image50.jpeg"/><Relationship Id="rId9" Type="http://schemas.openxmlformats.org/officeDocument/2006/relationships/image" Target="../media/image47.emf"/></Relationships>
</file>

<file path=ppt/slides/_rels/slide30.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26.xml"/><Relationship Id="rId1" Type="http://schemas.openxmlformats.org/officeDocument/2006/relationships/slideLayout" Target="../slideLayouts/slideLayout9.xml"/><Relationship Id="rId6" Type="http://schemas.openxmlformats.org/officeDocument/2006/relationships/image" Target="../media/image47.emf"/><Relationship Id="rId5" Type="http://schemas.openxmlformats.org/officeDocument/2006/relationships/hyperlink" Target="http://www.rapidbbs.cn/" TargetMode="External"/><Relationship Id="rId4" Type="http://schemas.openxmlformats.org/officeDocument/2006/relationships/image" Target="../media/image108.png"/></Relationships>
</file>

<file path=ppt/slides/_rels/slide300.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notesSlide" Target="../notesSlides/notesSlide210.xml"/><Relationship Id="rId1" Type="http://schemas.openxmlformats.org/officeDocument/2006/relationships/slideLayout" Target="../slideLayouts/slideLayout8.xml"/><Relationship Id="rId4" Type="http://schemas.openxmlformats.org/officeDocument/2006/relationships/image" Target="../media/image47.emf"/></Relationships>
</file>

<file path=ppt/slides/_rels/slide301.xml.rels><?xml version="1.0" encoding="UTF-8" standalone="yes"?>
<Relationships xmlns="http://schemas.openxmlformats.org/package/2006/relationships"><Relationship Id="rId8" Type="http://schemas.openxmlformats.org/officeDocument/2006/relationships/hyperlink" Target="http://www.rapidbbs.cn/" TargetMode="External"/><Relationship Id="rId3" Type="http://schemas.openxmlformats.org/officeDocument/2006/relationships/image" Target="../media/image738.png"/><Relationship Id="rId7" Type="http://schemas.openxmlformats.org/officeDocument/2006/relationships/image" Target="../media/image742.png"/><Relationship Id="rId2" Type="http://schemas.openxmlformats.org/officeDocument/2006/relationships/image" Target="../media/image737.png"/><Relationship Id="rId1" Type="http://schemas.openxmlformats.org/officeDocument/2006/relationships/slideLayout" Target="../slideLayouts/slideLayout12.xml"/><Relationship Id="rId6" Type="http://schemas.openxmlformats.org/officeDocument/2006/relationships/image" Target="../media/image741.png"/><Relationship Id="rId5" Type="http://schemas.openxmlformats.org/officeDocument/2006/relationships/image" Target="../media/image740.png"/><Relationship Id="rId4" Type="http://schemas.openxmlformats.org/officeDocument/2006/relationships/image" Target="../media/image739.png"/><Relationship Id="rId9" Type="http://schemas.openxmlformats.org/officeDocument/2006/relationships/image" Target="../media/image47.emf"/></Relationships>
</file>

<file path=ppt/slides/_rels/slide302.xml.rels><?xml version="1.0" encoding="UTF-8" standalone="yes"?>
<Relationships xmlns="http://schemas.openxmlformats.org/package/2006/relationships"><Relationship Id="rId3" Type="http://schemas.openxmlformats.org/officeDocument/2006/relationships/image" Target="../media/image743.emf"/><Relationship Id="rId7" Type="http://schemas.openxmlformats.org/officeDocument/2006/relationships/image" Target="../media/image47.emf"/><Relationship Id="rId2" Type="http://schemas.openxmlformats.org/officeDocument/2006/relationships/notesSlide" Target="../notesSlides/notesSlide211.xml"/><Relationship Id="rId1" Type="http://schemas.openxmlformats.org/officeDocument/2006/relationships/slideLayout" Target="../slideLayouts/slideLayout9.xml"/><Relationship Id="rId6" Type="http://schemas.openxmlformats.org/officeDocument/2006/relationships/hyperlink" Target="http://www.rapidbbs.cn/" TargetMode="External"/><Relationship Id="rId5" Type="http://schemas.openxmlformats.org/officeDocument/2006/relationships/image" Target="../media/image745.emf"/><Relationship Id="rId4" Type="http://schemas.openxmlformats.org/officeDocument/2006/relationships/image" Target="../media/image744.emf"/></Relationships>
</file>

<file path=ppt/slides/_rels/slide303.xml.rels><?xml version="1.0" encoding="UTF-8" standalone="yes"?>
<Relationships xmlns="http://schemas.openxmlformats.org/package/2006/relationships"><Relationship Id="rId3" Type="http://schemas.openxmlformats.org/officeDocument/2006/relationships/image" Target="../media/image746.emf"/><Relationship Id="rId7" Type="http://schemas.openxmlformats.org/officeDocument/2006/relationships/image" Target="../media/image47.emf"/><Relationship Id="rId2" Type="http://schemas.openxmlformats.org/officeDocument/2006/relationships/image" Target="../media/image744.emf"/><Relationship Id="rId1" Type="http://schemas.openxmlformats.org/officeDocument/2006/relationships/slideLayout" Target="../slideLayouts/slideLayout8.xml"/><Relationship Id="rId6" Type="http://schemas.openxmlformats.org/officeDocument/2006/relationships/hyperlink" Target="http://www.rapidbbs.cn/" TargetMode="External"/><Relationship Id="rId5" Type="http://schemas.openxmlformats.org/officeDocument/2006/relationships/image" Target="../media/image743.emf"/><Relationship Id="rId4" Type="http://schemas.openxmlformats.org/officeDocument/2006/relationships/image" Target="../media/image747.emf"/></Relationships>
</file>

<file path=ppt/slides/_rels/slide304.xml.rels><?xml version="1.0" encoding="UTF-8" standalone="yes"?>
<Relationships xmlns="http://schemas.openxmlformats.org/package/2006/relationships"><Relationship Id="rId8" Type="http://schemas.openxmlformats.org/officeDocument/2006/relationships/image" Target="../media/image754.emf"/><Relationship Id="rId3" Type="http://schemas.openxmlformats.org/officeDocument/2006/relationships/image" Target="../media/image749.emf"/><Relationship Id="rId7" Type="http://schemas.openxmlformats.org/officeDocument/2006/relationships/image" Target="../media/image753.emf"/><Relationship Id="rId2" Type="http://schemas.openxmlformats.org/officeDocument/2006/relationships/image" Target="../media/image748.emf"/><Relationship Id="rId1" Type="http://schemas.openxmlformats.org/officeDocument/2006/relationships/slideLayout" Target="../slideLayouts/slideLayout12.xml"/><Relationship Id="rId6" Type="http://schemas.openxmlformats.org/officeDocument/2006/relationships/image" Target="../media/image752.emf"/><Relationship Id="rId5" Type="http://schemas.openxmlformats.org/officeDocument/2006/relationships/image" Target="../media/image751.emf"/><Relationship Id="rId10" Type="http://schemas.openxmlformats.org/officeDocument/2006/relationships/image" Target="../media/image47.emf"/><Relationship Id="rId4" Type="http://schemas.openxmlformats.org/officeDocument/2006/relationships/image" Target="../media/image750.emf"/><Relationship Id="rId9" Type="http://schemas.openxmlformats.org/officeDocument/2006/relationships/hyperlink" Target="http://www.rapidbbs.cn/" TargetMode="External"/></Relationships>
</file>

<file path=ppt/slides/_rels/slide305.xml.rels><?xml version="1.0" encoding="UTF-8" standalone="yes"?>
<Relationships xmlns="http://schemas.openxmlformats.org/package/2006/relationships"><Relationship Id="rId8" Type="http://schemas.openxmlformats.org/officeDocument/2006/relationships/hyperlink" Target="http://www.rapidbbs.cn/" TargetMode="External"/><Relationship Id="rId3" Type="http://schemas.openxmlformats.org/officeDocument/2006/relationships/image" Target="../media/image753.emf"/><Relationship Id="rId7" Type="http://schemas.openxmlformats.org/officeDocument/2006/relationships/image" Target="../media/image756.emf"/><Relationship Id="rId2" Type="http://schemas.openxmlformats.org/officeDocument/2006/relationships/notesSlide" Target="../notesSlides/notesSlide212.xml"/><Relationship Id="rId1" Type="http://schemas.openxmlformats.org/officeDocument/2006/relationships/slideLayout" Target="../slideLayouts/slideLayout12.xml"/><Relationship Id="rId6" Type="http://schemas.openxmlformats.org/officeDocument/2006/relationships/image" Target="../media/image755.emf"/><Relationship Id="rId5" Type="http://schemas.openxmlformats.org/officeDocument/2006/relationships/image" Target="../media/image749.emf"/><Relationship Id="rId4" Type="http://schemas.openxmlformats.org/officeDocument/2006/relationships/image" Target="../media/image748.emf"/><Relationship Id="rId9" Type="http://schemas.openxmlformats.org/officeDocument/2006/relationships/image" Target="../media/image47.emf"/></Relationships>
</file>

<file path=ppt/slides/_rels/slide306.xml.rels><?xml version="1.0" encoding="UTF-8" standalone="yes"?>
<Relationships xmlns="http://schemas.openxmlformats.org/package/2006/relationships"><Relationship Id="rId8" Type="http://schemas.openxmlformats.org/officeDocument/2006/relationships/image" Target="../media/image47.emf"/><Relationship Id="rId3" Type="http://schemas.openxmlformats.org/officeDocument/2006/relationships/image" Target="../media/image744.emf"/><Relationship Id="rId7" Type="http://schemas.openxmlformats.org/officeDocument/2006/relationships/hyperlink" Target="http://www.rapidbbs.cn/" TargetMode="External"/><Relationship Id="rId2" Type="http://schemas.openxmlformats.org/officeDocument/2006/relationships/notesSlide" Target="../notesSlides/notesSlide213.xml"/><Relationship Id="rId1" Type="http://schemas.openxmlformats.org/officeDocument/2006/relationships/slideLayout" Target="../slideLayouts/slideLayout12.xml"/><Relationship Id="rId6" Type="http://schemas.openxmlformats.org/officeDocument/2006/relationships/image" Target="../media/image743.emf"/><Relationship Id="rId5" Type="http://schemas.openxmlformats.org/officeDocument/2006/relationships/image" Target="../media/image747.emf"/><Relationship Id="rId4" Type="http://schemas.openxmlformats.org/officeDocument/2006/relationships/image" Target="../media/image746.emf"/></Relationships>
</file>

<file path=ppt/slides/_rels/slide307.xml.rels><?xml version="1.0" encoding="UTF-8" standalone="yes"?>
<Relationships xmlns="http://schemas.openxmlformats.org/package/2006/relationships"><Relationship Id="rId8" Type="http://schemas.openxmlformats.org/officeDocument/2006/relationships/tags" Target="../tags/tag249.xml"/><Relationship Id="rId13" Type="http://schemas.openxmlformats.org/officeDocument/2006/relationships/tags" Target="../tags/tag254.xml"/><Relationship Id="rId18" Type="http://schemas.openxmlformats.org/officeDocument/2006/relationships/tags" Target="../tags/tag259.xml"/><Relationship Id="rId3" Type="http://schemas.openxmlformats.org/officeDocument/2006/relationships/tags" Target="../tags/tag244.xml"/><Relationship Id="rId21" Type="http://schemas.openxmlformats.org/officeDocument/2006/relationships/tags" Target="../tags/tag262.xml"/><Relationship Id="rId7" Type="http://schemas.openxmlformats.org/officeDocument/2006/relationships/tags" Target="../tags/tag248.xml"/><Relationship Id="rId12" Type="http://schemas.openxmlformats.org/officeDocument/2006/relationships/tags" Target="../tags/tag253.xml"/><Relationship Id="rId17" Type="http://schemas.openxmlformats.org/officeDocument/2006/relationships/tags" Target="../tags/tag258.xml"/><Relationship Id="rId25" Type="http://schemas.openxmlformats.org/officeDocument/2006/relationships/image" Target="../media/image47.emf"/><Relationship Id="rId2" Type="http://schemas.openxmlformats.org/officeDocument/2006/relationships/tags" Target="../tags/tag243.xml"/><Relationship Id="rId16" Type="http://schemas.openxmlformats.org/officeDocument/2006/relationships/tags" Target="../tags/tag257.xml"/><Relationship Id="rId20" Type="http://schemas.openxmlformats.org/officeDocument/2006/relationships/tags" Target="../tags/tag261.xml"/><Relationship Id="rId1" Type="http://schemas.openxmlformats.org/officeDocument/2006/relationships/tags" Target="../tags/tag242.xml"/><Relationship Id="rId6" Type="http://schemas.openxmlformats.org/officeDocument/2006/relationships/tags" Target="../tags/tag247.xml"/><Relationship Id="rId11" Type="http://schemas.openxmlformats.org/officeDocument/2006/relationships/tags" Target="../tags/tag252.xml"/><Relationship Id="rId24" Type="http://schemas.openxmlformats.org/officeDocument/2006/relationships/hyperlink" Target="http://www.rapidbbs.cn/" TargetMode="External"/><Relationship Id="rId5" Type="http://schemas.openxmlformats.org/officeDocument/2006/relationships/tags" Target="../tags/tag246.xml"/><Relationship Id="rId15" Type="http://schemas.openxmlformats.org/officeDocument/2006/relationships/tags" Target="../tags/tag256.xml"/><Relationship Id="rId23" Type="http://schemas.openxmlformats.org/officeDocument/2006/relationships/notesSlide" Target="../notesSlides/notesSlide214.xml"/><Relationship Id="rId10" Type="http://schemas.openxmlformats.org/officeDocument/2006/relationships/tags" Target="../tags/tag251.xml"/><Relationship Id="rId19" Type="http://schemas.openxmlformats.org/officeDocument/2006/relationships/tags" Target="../tags/tag260.xml"/><Relationship Id="rId4" Type="http://schemas.openxmlformats.org/officeDocument/2006/relationships/tags" Target="../tags/tag245.xml"/><Relationship Id="rId9" Type="http://schemas.openxmlformats.org/officeDocument/2006/relationships/tags" Target="../tags/tag250.xml"/><Relationship Id="rId14" Type="http://schemas.openxmlformats.org/officeDocument/2006/relationships/tags" Target="../tags/tag255.xml"/><Relationship Id="rId22" Type="http://schemas.openxmlformats.org/officeDocument/2006/relationships/slideLayout" Target="../slideLayouts/slideLayout12.xml"/></Relationships>
</file>

<file path=ppt/slides/_rels/slide308.xml.rels><?xml version="1.0" encoding="UTF-8" standalone="yes"?>
<Relationships xmlns="http://schemas.openxmlformats.org/package/2006/relationships"><Relationship Id="rId8" Type="http://schemas.openxmlformats.org/officeDocument/2006/relationships/tags" Target="../tags/tag270.xml"/><Relationship Id="rId13" Type="http://schemas.openxmlformats.org/officeDocument/2006/relationships/image" Target="../media/image47.emf"/><Relationship Id="rId3" Type="http://schemas.openxmlformats.org/officeDocument/2006/relationships/tags" Target="../tags/tag265.xml"/><Relationship Id="rId7" Type="http://schemas.openxmlformats.org/officeDocument/2006/relationships/tags" Target="../tags/tag269.xml"/><Relationship Id="rId12" Type="http://schemas.openxmlformats.org/officeDocument/2006/relationships/hyperlink" Target="http://www.rapidbbs.cn/" TargetMode="External"/><Relationship Id="rId2" Type="http://schemas.openxmlformats.org/officeDocument/2006/relationships/tags" Target="../tags/tag264.xml"/><Relationship Id="rId1" Type="http://schemas.openxmlformats.org/officeDocument/2006/relationships/tags" Target="../tags/tag263.xml"/><Relationship Id="rId6" Type="http://schemas.openxmlformats.org/officeDocument/2006/relationships/tags" Target="../tags/tag268.xml"/><Relationship Id="rId11" Type="http://schemas.openxmlformats.org/officeDocument/2006/relationships/image" Target="../media/image1.png"/><Relationship Id="rId5" Type="http://schemas.openxmlformats.org/officeDocument/2006/relationships/tags" Target="../tags/tag267.xml"/><Relationship Id="rId10" Type="http://schemas.openxmlformats.org/officeDocument/2006/relationships/notesSlide" Target="../notesSlides/notesSlide215.xml"/><Relationship Id="rId4" Type="http://schemas.openxmlformats.org/officeDocument/2006/relationships/tags" Target="../tags/tag266.xml"/><Relationship Id="rId9" Type="http://schemas.openxmlformats.org/officeDocument/2006/relationships/slideLayout" Target="../slideLayouts/slideLayout8.xml"/></Relationships>
</file>

<file path=ppt/slides/_rels/slide309.xml.rels><?xml version="1.0" encoding="UTF-8" standalone="yes"?>
<Relationships xmlns="http://schemas.openxmlformats.org/package/2006/relationships"><Relationship Id="rId3" Type="http://schemas.openxmlformats.org/officeDocument/2006/relationships/image" Target="../media/image757.png"/><Relationship Id="rId2" Type="http://schemas.openxmlformats.org/officeDocument/2006/relationships/notesSlide" Target="../notesSlides/notesSlide216.xml"/><Relationship Id="rId1" Type="http://schemas.openxmlformats.org/officeDocument/2006/relationships/slideLayout" Target="../slideLayouts/slideLayout9.xml"/><Relationship Id="rId6" Type="http://schemas.openxmlformats.org/officeDocument/2006/relationships/image" Target="../media/image47.emf"/><Relationship Id="rId5" Type="http://schemas.openxmlformats.org/officeDocument/2006/relationships/hyperlink" Target="http://www.rapidbbs.cn/" TargetMode="External"/><Relationship Id="rId4" Type="http://schemas.openxmlformats.org/officeDocument/2006/relationships/image" Target="../media/image1.png"/></Relationships>
</file>

<file path=ppt/slides/_rels/slide31.xml.rels><?xml version="1.0" encoding="UTF-8" standalone="yes"?>
<Relationships xmlns="http://schemas.openxmlformats.org/package/2006/relationships"><Relationship Id="rId3" Type="http://schemas.openxmlformats.org/officeDocument/2006/relationships/image" Target="../media/image110.png"/><Relationship Id="rId7" Type="http://schemas.openxmlformats.org/officeDocument/2006/relationships/image" Target="../media/image47.emf"/><Relationship Id="rId2" Type="http://schemas.openxmlformats.org/officeDocument/2006/relationships/image" Target="../media/image109.png"/><Relationship Id="rId1" Type="http://schemas.openxmlformats.org/officeDocument/2006/relationships/slideLayout" Target="../slideLayouts/slideLayout9.xml"/><Relationship Id="rId6" Type="http://schemas.openxmlformats.org/officeDocument/2006/relationships/hyperlink" Target="http://www.rapidbbs.cn/" TargetMode="External"/><Relationship Id="rId5" Type="http://schemas.openxmlformats.org/officeDocument/2006/relationships/image" Target="../media/image111.png"/><Relationship Id="rId4" Type="http://schemas.microsoft.com/office/2007/relationships/hdphoto" Target="../media/hdphoto11.wdp"/></Relationships>
</file>

<file path=ppt/slides/_rels/slide310.xml.rels><?xml version="1.0" encoding="UTF-8" standalone="yes"?>
<Relationships xmlns="http://schemas.openxmlformats.org/package/2006/relationships"><Relationship Id="rId8" Type="http://schemas.openxmlformats.org/officeDocument/2006/relationships/image" Target="../media/image763.png"/><Relationship Id="rId13" Type="http://schemas.openxmlformats.org/officeDocument/2006/relationships/image" Target="../media/image768.png"/><Relationship Id="rId18" Type="http://schemas.openxmlformats.org/officeDocument/2006/relationships/diagramData" Target="../diagrams/data7.xml"/><Relationship Id="rId3" Type="http://schemas.openxmlformats.org/officeDocument/2006/relationships/image" Target="../media/image758.png"/><Relationship Id="rId21" Type="http://schemas.openxmlformats.org/officeDocument/2006/relationships/diagramColors" Target="../diagrams/colors7.xml"/><Relationship Id="rId7" Type="http://schemas.openxmlformats.org/officeDocument/2006/relationships/image" Target="../media/image762.png"/><Relationship Id="rId12" Type="http://schemas.openxmlformats.org/officeDocument/2006/relationships/image" Target="../media/image767.png"/><Relationship Id="rId17" Type="http://schemas.openxmlformats.org/officeDocument/2006/relationships/image" Target="../media/image772.png"/><Relationship Id="rId2" Type="http://schemas.openxmlformats.org/officeDocument/2006/relationships/notesSlide" Target="../notesSlides/notesSlide217.xml"/><Relationship Id="rId16" Type="http://schemas.openxmlformats.org/officeDocument/2006/relationships/image" Target="../media/image771.png"/><Relationship Id="rId20" Type="http://schemas.openxmlformats.org/officeDocument/2006/relationships/diagramQuickStyle" Target="../diagrams/quickStyle7.xml"/><Relationship Id="rId1" Type="http://schemas.openxmlformats.org/officeDocument/2006/relationships/slideLayout" Target="../slideLayouts/slideLayout12.xml"/><Relationship Id="rId6" Type="http://schemas.openxmlformats.org/officeDocument/2006/relationships/image" Target="../media/image761.png"/><Relationship Id="rId11" Type="http://schemas.openxmlformats.org/officeDocument/2006/relationships/image" Target="../media/image766.png"/><Relationship Id="rId24" Type="http://schemas.openxmlformats.org/officeDocument/2006/relationships/image" Target="../media/image47.emf"/><Relationship Id="rId5" Type="http://schemas.openxmlformats.org/officeDocument/2006/relationships/image" Target="../media/image760.png"/><Relationship Id="rId15" Type="http://schemas.openxmlformats.org/officeDocument/2006/relationships/image" Target="../media/image770.png"/><Relationship Id="rId23" Type="http://schemas.openxmlformats.org/officeDocument/2006/relationships/hyperlink" Target="http://www.rapidbbs.cn/" TargetMode="External"/><Relationship Id="rId10" Type="http://schemas.openxmlformats.org/officeDocument/2006/relationships/image" Target="../media/image765.png"/><Relationship Id="rId19" Type="http://schemas.openxmlformats.org/officeDocument/2006/relationships/diagramLayout" Target="../diagrams/layout7.xml"/><Relationship Id="rId4" Type="http://schemas.openxmlformats.org/officeDocument/2006/relationships/image" Target="../media/image759.png"/><Relationship Id="rId9" Type="http://schemas.openxmlformats.org/officeDocument/2006/relationships/image" Target="../media/image764.png"/><Relationship Id="rId14" Type="http://schemas.openxmlformats.org/officeDocument/2006/relationships/image" Target="../media/image769.png"/><Relationship Id="rId22" Type="http://schemas.microsoft.com/office/2007/relationships/diagramDrawing" Target="../diagrams/drawing7.xml"/></Relationships>
</file>

<file path=ppt/slides/_rels/slide311.xml.rels><?xml version="1.0" encoding="UTF-8" standalone="yes"?>
<Relationships xmlns="http://schemas.openxmlformats.org/package/2006/relationships"><Relationship Id="rId13" Type="http://schemas.openxmlformats.org/officeDocument/2006/relationships/tags" Target="../tags/tag282.xml"/><Relationship Id="rId18" Type="http://schemas.openxmlformats.org/officeDocument/2006/relationships/tags" Target="../tags/tag287.xml"/><Relationship Id="rId26" Type="http://schemas.openxmlformats.org/officeDocument/2006/relationships/tags" Target="../tags/tag295.xml"/><Relationship Id="rId39" Type="http://schemas.openxmlformats.org/officeDocument/2006/relationships/tags" Target="../tags/tag308.xml"/><Relationship Id="rId21" Type="http://schemas.openxmlformats.org/officeDocument/2006/relationships/tags" Target="../tags/tag290.xml"/><Relationship Id="rId34" Type="http://schemas.openxmlformats.org/officeDocument/2006/relationships/tags" Target="../tags/tag303.xml"/><Relationship Id="rId42" Type="http://schemas.openxmlformats.org/officeDocument/2006/relationships/tags" Target="../tags/tag311.xml"/><Relationship Id="rId47" Type="http://schemas.openxmlformats.org/officeDocument/2006/relationships/tags" Target="../tags/tag316.xml"/><Relationship Id="rId50" Type="http://schemas.openxmlformats.org/officeDocument/2006/relationships/tags" Target="../tags/tag319.xml"/><Relationship Id="rId55" Type="http://schemas.openxmlformats.org/officeDocument/2006/relationships/oleObject" Target="../embeddings/oleObject10.bin"/><Relationship Id="rId63" Type="http://schemas.openxmlformats.org/officeDocument/2006/relationships/image" Target="../media/image777.png"/><Relationship Id="rId7" Type="http://schemas.openxmlformats.org/officeDocument/2006/relationships/tags" Target="../tags/tag276.xml"/><Relationship Id="rId2" Type="http://schemas.openxmlformats.org/officeDocument/2006/relationships/tags" Target="../tags/tag271.xml"/><Relationship Id="rId16" Type="http://schemas.openxmlformats.org/officeDocument/2006/relationships/tags" Target="../tags/tag285.xml"/><Relationship Id="rId20" Type="http://schemas.openxmlformats.org/officeDocument/2006/relationships/tags" Target="../tags/tag289.xml"/><Relationship Id="rId29" Type="http://schemas.openxmlformats.org/officeDocument/2006/relationships/tags" Target="../tags/tag298.xml"/><Relationship Id="rId41" Type="http://schemas.openxmlformats.org/officeDocument/2006/relationships/tags" Target="../tags/tag310.xml"/><Relationship Id="rId54" Type="http://schemas.openxmlformats.org/officeDocument/2006/relationships/notesSlide" Target="../notesSlides/notesSlide218.xml"/><Relationship Id="rId62" Type="http://schemas.microsoft.com/office/2007/relationships/hdphoto" Target="../media/hdphoto99.wdp"/><Relationship Id="rId1" Type="http://schemas.openxmlformats.org/officeDocument/2006/relationships/vmlDrawing" Target="../drawings/vmlDrawing10.vml"/><Relationship Id="rId6" Type="http://schemas.openxmlformats.org/officeDocument/2006/relationships/tags" Target="../tags/tag275.xml"/><Relationship Id="rId11" Type="http://schemas.openxmlformats.org/officeDocument/2006/relationships/tags" Target="../tags/tag280.xml"/><Relationship Id="rId24" Type="http://schemas.openxmlformats.org/officeDocument/2006/relationships/tags" Target="../tags/tag293.xml"/><Relationship Id="rId32" Type="http://schemas.openxmlformats.org/officeDocument/2006/relationships/tags" Target="../tags/tag301.xml"/><Relationship Id="rId37" Type="http://schemas.openxmlformats.org/officeDocument/2006/relationships/tags" Target="../tags/tag306.xml"/><Relationship Id="rId40" Type="http://schemas.openxmlformats.org/officeDocument/2006/relationships/tags" Target="../tags/tag309.xml"/><Relationship Id="rId45" Type="http://schemas.openxmlformats.org/officeDocument/2006/relationships/tags" Target="../tags/tag314.xml"/><Relationship Id="rId53" Type="http://schemas.openxmlformats.org/officeDocument/2006/relationships/slideLayout" Target="../slideLayouts/slideLayout12.xml"/><Relationship Id="rId58" Type="http://schemas.openxmlformats.org/officeDocument/2006/relationships/image" Target="../media/image774.png"/><Relationship Id="rId66" Type="http://schemas.openxmlformats.org/officeDocument/2006/relationships/image" Target="../media/image47.emf"/><Relationship Id="rId5" Type="http://schemas.openxmlformats.org/officeDocument/2006/relationships/tags" Target="../tags/tag274.xml"/><Relationship Id="rId15" Type="http://schemas.openxmlformats.org/officeDocument/2006/relationships/tags" Target="../tags/tag284.xml"/><Relationship Id="rId23" Type="http://schemas.openxmlformats.org/officeDocument/2006/relationships/tags" Target="../tags/tag292.xml"/><Relationship Id="rId28" Type="http://schemas.openxmlformats.org/officeDocument/2006/relationships/tags" Target="../tags/tag297.xml"/><Relationship Id="rId36" Type="http://schemas.openxmlformats.org/officeDocument/2006/relationships/tags" Target="../tags/tag305.xml"/><Relationship Id="rId49" Type="http://schemas.openxmlformats.org/officeDocument/2006/relationships/tags" Target="../tags/tag318.xml"/><Relationship Id="rId57" Type="http://schemas.openxmlformats.org/officeDocument/2006/relationships/image" Target="../media/image773.png"/><Relationship Id="rId61" Type="http://schemas.openxmlformats.org/officeDocument/2006/relationships/image" Target="../media/image776.png"/><Relationship Id="rId10" Type="http://schemas.openxmlformats.org/officeDocument/2006/relationships/tags" Target="../tags/tag279.xml"/><Relationship Id="rId19" Type="http://schemas.openxmlformats.org/officeDocument/2006/relationships/tags" Target="../tags/tag288.xml"/><Relationship Id="rId31" Type="http://schemas.openxmlformats.org/officeDocument/2006/relationships/tags" Target="../tags/tag300.xml"/><Relationship Id="rId44" Type="http://schemas.openxmlformats.org/officeDocument/2006/relationships/tags" Target="../tags/tag313.xml"/><Relationship Id="rId52" Type="http://schemas.openxmlformats.org/officeDocument/2006/relationships/tags" Target="../tags/tag321.xml"/><Relationship Id="rId60" Type="http://schemas.microsoft.com/office/2007/relationships/hdphoto" Target="../media/hdphoto98.wdp"/><Relationship Id="rId65" Type="http://schemas.openxmlformats.org/officeDocument/2006/relationships/hyperlink" Target="http://www.rapidbbs.cn/" TargetMode="External"/><Relationship Id="rId4" Type="http://schemas.openxmlformats.org/officeDocument/2006/relationships/tags" Target="../tags/tag273.xml"/><Relationship Id="rId9" Type="http://schemas.openxmlformats.org/officeDocument/2006/relationships/tags" Target="../tags/tag278.xml"/><Relationship Id="rId14" Type="http://schemas.openxmlformats.org/officeDocument/2006/relationships/tags" Target="../tags/tag283.xml"/><Relationship Id="rId22" Type="http://schemas.openxmlformats.org/officeDocument/2006/relationships/tags" Target="../tags/tag291.xml"/><Relationship Id="rId27" Type="http://schemas.openxmlformats.org/officeDocument/2006/relationships/tags" Target="../tags/tag296.xml"/><Relationship Id="rId30" Type="http://schemas.openxmlformats.org/officeDocument/2006/relationships/tags" Target="../tags/tag299.xml"/><Relationship Id="rId35" Type="http://schemas.openxmlformats.org/officeDocument/2006/relationships/tags" Target="../tags/tag304.xml"/><Relationship Id="rId43" Type="http://schemas.openxmlformats.org/officeDocument/2006/relationships/tags" Target="../tags/tag312.xml"/><Relationship Id="rId48" Type="http://schemas.openxmlformats.org/officeDocument/2006/relationships/tags" Target="../tags/tag317.xml"/><Relationship Id="rId56" Type="http://schemas.openxmlformats.org/officeDocument/2006/relationships/image" Target="../media/image19.emf"/><Relationship Id="rId64" Type="http://schemas.microsoft.com/office/2007/relationships/hdphoto" Target="../media/hdphoto100.wdp"/><Relationship Id="rId8" Type="http://schemas.openxmlformats.org/officeDocument/2006/relationships/tags" Target="../tags/tag277.xml"/><Relationship Id="rId51" Type="http://schemas.openxmlformats.org/officeDocument/2006/relationships/tags" Target="../tags/tag320.xml"/><Relationship Id="rId3" Type="http://schemas.openxmlformats.org/officeDocument/2006/relationships/tags" Target="../tags/tag272.xml"/><Relationship Id="rId12" Type="http://schemas.openxmlformats.org/officeDocument/2006/relationships/tags" Target="../tags/tag281.xml"/><Relationship Id="rId17" Type="http://schemas.openxmlformats.org/officeDocument/2006/relationships/tags" Target="../tags/tag286.xml"/><Relationship Id="rId25" Type="http://schemas.openxmlformats.org/officeDocument/2006/relationships/tags" Target="../tags/tag294.xml"/><Relationship Id="rId33" Type="http://schemas.openxmlformats.org/officeDocument/2006/relationships/tags" Target="../tags/tag302.xml"/><Relationship Id="rId38" Type="http://schemas.openxmlformats.org/officeDocument/2006/relationships/tags" Target="../tags/tag307.xml"/><Relationship Id="rId46" Type="http://schemas.openxmlformats.org/officeDocument/2006/relationships/tags" Target="../tags/tag315.xml"/><Relationship Id="rId59" Type="http://schemas.openxmlformats.org/officeDocument/2006/relationships/image" Target="../media/image775.png"/></Relationships>
</file>

<file path=ppt/slides/_rels/slide312.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219.xml"/><Relationship Id="rId1" Type="http://schemas.openxmlformats.org/officeDocument/2006/relationships/slideLayout" Target="../slideLayouts/slideLayout9.xml"/><Relationship Id="rId5" Type="http://schemas.openxmlformats.org/officeDocument/2006/relationships/image" Target="../media/image47.emf"/><Relationship Id="rId4" Type="http://schemas.openxmlformats.org/officeDocument/2006/relationships/hyperlink" Target="http://www.rapidbbs.cn/" TargetMode="External"/></Relationships>
</file>

<file path=ppt/slides/_rels/slide313.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220.xml"/><Relationship Id="rId1" Type="http://schemas.openxmlformats.org/officeDocument/2006/relationships/slideLayout" Target="../slideLayouts/slideLayout9.xml"/><Relationship Id="rId5" Type="http://schemas.openxmlformats.org/officeDocument/2006/relationships/image" Target="../media/image47.emf"/><Relationship Id="rId4" Type="http://schemas.openxmlformats.org/officeDocument/2006/relationships/hyperlink" Target="http://www.rapidbbs.cn/" TargetMode="External"/></Relationships>
</file>

<file path=ppt/slides/_rels/slide314.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221.xml"/><Relationship Id="rId1" Type="http://schemas.openxmlformats.org/officeDocument/2006/relationships/slideLayout" Target="../slideLayouts/slideLayout9.xml"/><Relationship Id="rId5" Type="http://schemas.openxmlformats.org/officeDocument/2006/relationships/image" Target="../media/image47.emf"/><Relationship Id="rId4" Type="http://schemas.openxmlformats.org/officeDocument/2006/relationships/hyperlink" Target="http://www.rapidbbs.cn/" TargetMode="External"/></Relationships>
</file>

<file path=ppt/slides/_rels/slide315.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222.xml"/><Relationship Id="rId1" Type="http://schemas.openxmlformats.org/officeDocument/2006/relationships/slideLayout" Target="../slideLayouts/slideLayout9.xml"/><Relationship Id="rId5" Type="http://schemas.openxmlformats.org/officeDocument/2006/relationships/image" Target="../media/image47.emf"/><Relationship Id="rId4" Type="http://schemas.openxmlformats.org/officeDocument/2006/relationships/hyperlink" Target="http://www.rapidbbs.cn/" TargetMode="External"/></Relationships>
</file>

<file path=ppt/slides/_rels/slide316.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223.xml"/><Relationship Id="rId1" Type="http://schemas.openxmlformats.org/officeDocument/2006/relationships/slideLayout" Target="../slideLayouts/slideLayout9.xml"/><Relationship Id="rId5" Type="http://schemas.openxmlformats.org/officeDocument/2006/relationships/image" Target="../media/image47.emf"/><Relationship Id="rId4" Type="http://schemas.openxmlformats.org/officeDocument/2006/relationships/hyperlink" Target="http://www.rapidbbs.cn/" TargetMode="External"/></Relationships>
</file>

<file path=ppt/slides/_rels/slide317.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224.xml"/><Relationship Id="rId1" Type="http://schemas.openxmlformats.org/officeDocument/2006/relationships/slideLayout" Target="../slideLayouts/slideLayout9.xml"/><Relationship Id="rId5" Type="http://schemas.openxmlformats.org/officeDocument/2006/relationships/image" Target="../media/image47.emf"/><Relationship Id="rId4" Type="http://schemas.openxmlformats.org/officeDocument/2006/relationships/hyperlink" Target="http://www.rapidbbs.cn/" TargetMode="External"/></Relationships>
</file>

<file path=ppt/slides/_rels/slide318.xml.rels><?xml version="1.0" encoding="UTF-8" standalone="yes"?>
<Relationships xmlns="http://schemas.openxmlformats.org/package/2006/relationships"><Relationship Id="rId3" Type="http://schemas.openxmlformats.org/officeDocument/2006/relationships/image" Target="../media/image778.jpeg"/><Relationship Id="rId7" Type="http://schemas.openxmlformats.org/officeDocument/2006/relationships/image" Target="../media/image47.emf"/><Relationship Id="rId2" Type="http://schemas.openxmlformats.org/officeDocument/2006/relationships/notesSlide" Target="../notesSlides/notesSlide225.xml"/><Relationship Id="rId1" Type="http://schemas.openxmlformats.org/officeDocument/2006/relationships/slideLayout" Target="../slideLayouts/slideLayout12.xml"/><Relationship Id="rId6" Type="http://schemas.openxmlformats.org/officeDocument/2006/relationships/hyperlink" Target="http://www.rapidbbs.cn/" TargetMode="External"/><Relationship Id="rId5" Type="http://schemas.openxmlformats.org/officeDocument/2006/relationships/image" Target="../media/image780.jpeg"/><Relationship Id="rId4" Type="http://schemas.openxmlformats.org/officeDocument/2006/relationships/image" Target="../media/image779.jpeg"/></Relationships>
</file>

<file path=ppt/slides/_rels/slide319.xml.rels><?xml version="1.0" encoding="UTF-8" standalone="yes"?>
<Relationships xmlns="http://schemas.openxmlformats.org/package/2006/relationships"><Relationship Id="rId8" Type="http://schemas.openxmlformats.org/officeDocument/2006/relationships/image" Target="../media/image47.emf"/><Relationship Id="rId3" Type="http://schemas.openxmlformats.org/officeDocument/2006/relationships/image" Target="../media/image781.png"/><Relationship Id="rId7" Type="http://schemas.openxmlformats.org/officeDocument/2006/relationships/hyperlink" Target="http://www.rapidbbs.cn/" TargetMode="External"/><Relationship Id="rId2" Type="http://schemas.openxmlformats.org/officeDocument/2006/relationships/notesSlide" Target="../notesSlides/notesSlide226.xml"/><Relationship Id="rId1" Type="http://schemas.openxmlformats.org/officeDocument/2006/relationships/slideLayout" Target="../slideLayouts/slideLayout12.xml"/><Relationship Id="rId6" Type="http://schemas.openxmlformats.org/officeDocument/2006/relationships/image" Target="../media/image784.png"/><Relationship Id="rId5" Type="http://schemas.openxmlformats.org/officeDocument/2006/relationships/image" Target="../media/image783.png"/><Relationship Id="rId4" Type="http://schemas.openxmlformats.org/officeDocument/2006/relationships/image" Target="../media/image782.png"/></Relationships>
</file>

<file path=ppt/slides/_rels/slide32.xml.rels><?xml version="1.0" encoding="UTF-8" standalone="yes"?>
<Relationships xmlns="http://schemas.openxmlformats.org/package/2006/relationships"><Relationship Id="rId3" Type="http://schemas.openxmlformats.org/officeDocument/2006/relationships/image" Target="../media/image113.emf"/><Relationship Id="rId2" Type="http://schemas.openxmlformats.org/officeDocument/2006/relationships/image" Target="../media/image112.png"/><Relationship Id="rId1" Type="http://schemas.openxmlformats.org/officeDocument/2006/relationships/slideLayout" Target="../slideLayouts/slideLayout19.xml"/><Relationship Id="rId5" Type="http://schemas.openxmlformats.org/officeDocument/2006/relationships/image" Target="../media/image47.emf"/><Relationship Id="rId4" Type="http://schemas.openxmlformats.org/officeDocument/2006/relationships/hyperlink" Target="http://www.rapidbbs.cn/" TargetMode="External"/></Relationships>
</file>

<file path=ppt/slides/_rels/slide320.xml.rels><?xml version="1.0" encoding="UTF-8" standalone="yes"?>
<Relationships xmlns="http://schemas.openxmlformats.org/package/2006/relationships"><Relationship Id="rId8" Type="http://schemas.openxmlformats.org/officeDocument/2006/relationships/image" Target="../media/image47.emf"/><Relationship Id="rId3" Type="http://schemas.openxmlformats.org/officeDocument/2006/relationships/image" Target="../media/image785.png"/><Relationship Id="rId7" Type="http://schemas.openxmlformats.org/officeDocument/2006/relationships/hyperlink" Target="http://www.rapidbbs.cn/" TargetMode="External"/><Relationship Id="rId2" Type="http://schemas.openxmlformats.org/officeDocument/2006/relationships/notesSlide" Target="../notesSlides/notesSlide227.xml"/><Relationship Id="rId1" Type="http://schemas.openxmlformats.org/officeDocument/2006/relationships/slideLayout" Target="../slideLayouts/slideLayout9.xml"/><Relationship Id="rId6" Type="http://schemas.openxmlformats.org/officeDocument/2006/relationships/image" Target="../media/image787.png"/><Relationship Id="rId5" Type="http://schemas.openxmlformats.org/officeDocument/2006/relationships/image" Target="../media/image228.png"/><Relationship Id="rId4" Type="http://schemas.openxmlformats.org/officeDocument/2006/relationships/image" Target="../media/image786.png"/></Relationships>
</file>

<file path=ppt/slides/_rels/slide321.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hyperlink" Target="http://www.rapidbbs.cn/" TargetMode="External"/><Relationship Id="rId1" Type="http://schemas.openxmlformats.org/officeDocument/2006/relationships/slideLayout" Target="../slideLayouts/slideLayout8.xml"/></Relationships>
</file>

<file path=ppt/slides/_rels/slide322.xml.rels><?xml version="1.0" encoding="UTF-8" standalone="yes"?>
<Relationships xmlns="http://schemas.openxmlformats.org/package/2006/relationships"><Relationship Id="rId8" Type="http://schemas.openxmlformats.org/officeDocument/2006/relationships/hyperlink" Target="http://www.rapidbbs.cn/" TargetMode="External"/><Relationship Id="rId3" Type="http://schemas.openxmlformats.org/officeDocument/2006/relationships/image" Target="../media/image522.png"/><Relationship Id="rId7" Type="http://schemas.microsoft.com/office/2007/relationships/hdphoto" Target="../media/hdphoto76.wdp"/><Relationship Id="rId2" Type="http://schemas.openxmlformats.org/officeDocument/2006/relationships/notesSlide" Target="../notesSlides/notesSlide228.xml"/><Relationship Id="rId1" Type="http://schemas.openxmlformats.org/officeDocument/2006/relationships/slideLayout" Target="../slideLayouts/slideLayout8.xml"/><Relationship Id="rId6" Type="http://schemas.openxmlformats.org/officeDocument/2006/relationships/image" Target="../media/image523.png"/><Relationship Id="rId5" Type="http://schemas.microsoft.com/office/2007/relationships/hdphoto" Target="../media/hdphoto77.wdp"/><Relationship Id="rId4" Type="http://schemas.openxmlformats.org/officeDocument/2006/relationships/image" Target="../media/image524.png"/><Relationship Id="rId9" Type="http://schemas.openxmlformats.org/officeDocument/2006/relationships/image" Target="../media/image47.emf"/></Relationships>
</file>

<file path=ppt/slides/_rels/slide323.xml.rels><?xml version="1.0" encoding="UTF-8" standalone="yes"?>
<Relationships xmlns="http://schemas.openxmlformats.org/package/2006/relationships"><Relationship Id="rId3" Type="http://schemas.openxmlformats.org/officeDocument/2006/relationships/image" Target="../media/image789.emf"/><Relationship Id="rId2" Type="http://schemas.openxmlformats.org/officeDocument/2006/relationships/image" Target="../media/image788.emf"/><Relationship Id="rId1" Type="http://schemas.openxmlformats.org/officeDocument/2006/relationships/slideLayout" Target="../slideLayouts/slideLayout8.xml"/><Relationship Id="rId6" Type="http://schemas.openxmlformats.org/officeDocument/2006/relationships/image" Target="../media/image47.emf"/><Relationship Id="rId5" Type="http://schemas.openxmlformats.org/officeDocument/2006/relationships/hyperlink" Target="http://www.rapidbbs.cn/" TargetMode="External"/><Relationship Id="rId4" Type="http://schemas.openxmlformats.org/officeDocument/2006/relationships/image" Target="../media/image790.emf"/></Relationships>
</file>

<file path=ppt/slides/_rels/slide324.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image" Target="../media/image791.png"/><Relationship Id="rId1" Type="http://schemas.openxmlformats.org/officeDocument/2006/relationships/slideLayout" Target="../slideLayouts/slideLayout8.xml"/><Relationship Id="rId4" Type="http://schemas.openxmlformats.org/officeDocument/2006/relationships/image" Target="../media/image47.emf"/></Relationships>
</file>

<file path=ppt/slides/_rels/slide325.xml.rels><?xml version="1.0" encoding="UTF-8" standalone="yes"?>
<Relationships xmlns="http://schemas.openxmlformats.org/package/2006/relationships"><Relationship Id="rId3" Type="http://schemas.openxmlformats.org/officeDocument/2006/relationships/image" Target="../media/image793.emf"/><Relationship Id="rId2" Type="http://schemas.openxmlformats.org/officeDocument/2006/relationships/image" Target="../media/image792.emf"/><Relationship Id="rId1" Type="http://schemas.openxmlformats.org/officeDocument/2006/relationships/slideLayout" Target="../slideLayouts/slideLayout8.xml"/><Relationship Id="rId5" Type="http://schemas.openxmlformats.org/officeDocument/2006/relationships/image" Target="../media/image47.emf"/><Relationship Id="rId4" Type="http://schemas.openxmlformats.org/officeDocument/2006/relationships/hyperlink" Target="http://www.rapidbbs.cn/" TargetMode="External"/></Relationships>
</file>

<file path=ppt/slides/_rels/slide326.xml.rels><?xml version="1.0" encoding="UTF-8" standalone="yes"?>
<Relationships xmlns="http://schemas.openxmlformats.org/package/2006/relationships"><Relationship Id="rId3" Type="http://schemas.openxmlformats.org/officeDocument/2006/relationships/image" Target="../media/image532.emf"/><Relationship Id="rId2" Type="http://schemas.openxmlformats.org/officeDocument/2006/relationships/image" Target="../media/image794.emf"/><Relationship Id="rId1" Type="http://schemas.openxmlformats.org/officeDocument/2006/relationships/slideLayout" Target="../slideLayouts/slideLayout8.xml"/><Relationship Id="rId5" Type="http://schemas.openxmlformats.org/officeDocument/2006/relationships/image" Target="../media/image47.emf"/><Relationship Id="rId4" Type="http://schemas.openxmlformats.org/officeDocument/2006/relationships/hyperlink" Target="http://www.rapidbbs.cn/" TargetMode="External"/></Relationships>
</file>

<file path=ppt/slides/_rels/slide327.xml.rels><?xml version="1.0" encoding="UTF-8" standalone="yes"?>
<Relationships xmlns="http://schemas.openxmlformats.org/package/2006/relationships"><Relationship Id="rId3" Type="http://schemas.openxmlformats.org/officeDocument/2006/relationships/image" Target="../media/image743.emf"/><Relationship Id="rId2" Type="http://schemas.openxmlformats.org/officeDocument/2006/relationships/image" Target="../media/image795.emf"/><Relationship Id="rId1" Type="http://schemas.openxmlformats.org/officeDocument/2006/relationships/slideLayout" Target="../slideLayouts/slideLayout8.xml"/><Relationship Id="rId5" Type="http://schemas.openxmlformats.org/officeDocument/2006/relationships/image" Target="../media/image47.emf"/><Relationship Id="rId4" Type="http://schemas.openxmlformats.org/officeDocument/2006/relationships/hyperlink" Target="http://www.rapidbbs.cn/" TargetMode="External"/></Relationships>
</file>

<file path=ppt/slides/_rels/slide328.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image" Target="../media/image796.emf"/><Relationship Id="rId1" Type="http://schemas.openxmlformats.org/officeDocument/2006/relationships/slideLayout" Target="../slideLayouts/slideLayout8.xml"/><Relationship Id="rId4" Type="http://schemas.openxmlformats.org/officeDocument/2006/relationships/image" Target="../media/image47.emf"/></Relationships>
</file>

<file path=ppt/slides/_rels/slide329.xml.rels><?xml version="1.0" encoding="UTF-8" standalone="yes"?>
<Relationships xmlns="http://schemas.openxmlformats.org/package/2006/relationships"><Relationship Id="rId3" Type="http://schemas.openxmlformats.org/officeDocument/2006/relationships/image" Target="../media/image789.emf"/><Relationship Id="rId2" Type="http://schemas.openxmlformats.org/officeDocument/2006/relationships/image" Target="../media/image797.emf"/><Relationship Id="rId1" Type="http://schemas.openxmlformats.org/officeDocument/2006/relationships/slideLayout" Target="../slideLayouts/slideLayout8.xml"/><Relationship Id="rId5" Type="http://schemas.openxmlformats.org/officeDocument/2006/relationships/image" Target="../media/image47.emf"/><Relationship Id="rId4" Type="http://schemas.openxmlformats.org/officeDocument/2006/relationships/hyperlink" Target="http://www.rapidbbs.cn/"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27.xml"/><Relationship Id="rId1" Type="http://schemas.openxmlformats.org/officeDocument/2006/relationships/slideLayout" Target="../slideLayouts/slideLayout9.xml"/><Relationship Id="rId6" Type="http://schemas.openxmlformats.org/officeDocument/2006/relationships/image" Target="../media/image47.emf"/><Relationship Id="rId5" Type="http://schemas.openxmlformats.org/officeDocument/2006/relationships/hyperlink" Target="http://www.rapidbbs.cn/" TargetMode="External"/><Relationship Id="rId4" Type="http://schemas.openxmlformats.org/officeDocument/2006/relationships/image" Target="../media/image111.png"/></Relationships>
</file>

<file path=ppt/slides/_rels/slide330.xml.rels><?xml version="1.0" encoding="UTF-8" standalone="yes"?>
<Relationships xmlns="http://schemas.openxmlformats.org/package/2006/relationships"><Relationship Id="rId3" Type="http://schemas.openxmlformats.org/officeDocument/2006/relationships/image" Target="../media/image799.emf"/><Relationship Id="rId2" Type="http://schemas.openxmlformats.org/officeDocument/2006/relationships/image" Target="../media/image798.emf"/><Relationship Id="rId1" Type="http://schemas.openxmlformats.org/officeDocument/2006/relationships/slideLayout" Target="../slideLayouts/slideLayout8.xml"/><Relationship Id="rId6" Type="http://schemas.openxmlformats.org/officeDocument/2006/relationships/image" Target="../media/image47.emf"/><Relationship Id="rId5" Type="http://schemas.openxmlformats.org/officeDocument/2006/relationships/hyperlink" Target="http://www.rapidbbs.cn/" TargetMode="External"/><Relationship Id="rId4" Type="http://schemas.openxmlformats.org/officeDocument/2006/relationships/image" Target="../media/image800.emf"/></Relationships>
</file>

<file path=ppt/slides/_rels/slide331.xml.rels><?xml version="1.0" encoding="UTF-8" standalone="yes"?>
<Relationships xmlns="http://schemas.openxmlformats.org/package/2006/relationships"><Relationship Id="rId3" Type="http://schemas.openxmlformats.org/officeDocument/2006/relationships/image" Target="../media/image793.emf"/><Relationship Id="rId2" Type="http://schemas.openxmlformats.org/officeDocument/2006/relationships/image" Target="../media/image801.emf"/><Relationship Id="rId1" Type="http://schemas.openxmlformats.org/officeDocument/2006/relationships/slideLayout" Target="../slideLayouts/slideLayout8.xml"/><Relationship Id="rId5" Type="http://schemas.openxmlformats.org/officeDocument/2006/relationships/image" Target="../media/image47.emf"/><Relationship Id="rId4" Type="http://schemas.openxmlformats.org/officeDocument/2006/relationships/hyperlink" Target="http://www.rapidbbs.cn/" TargetMode="External"/></Relationships>
</file>

<file path=ppt/slides/_rels/slide332.xml.rels><?xml version="1.0" encoding="UTF-8" standalone="yes"?>
<Relationships xmlns="http://schemas.openxmlformats.org/package/2006/relationships"><Relationship Id="rId3" Type="http://schemas.openxmlformats.org/officeDocument/2006/relationships/image" Target="../media/image802.emf"/><Relationship Id="rId7" Type="http://schemas.openxmlformats.org/officeDocument/2006/relationships/image" Target="../media/image47.emf"/><Relationship Id="rId2" Type="http://schemas.openxmlformats.org/officeDocument/2006/relationships/image" Target="../media/image744.emf"/><Relationship Id="rId1" Type="http://schemas.openxmlformats.org/officeDocument/2006/relationships/slideLayout" Target="../slideLayouts/slideLayout8.xml"/><Relationship Id="rId6" Type="http://schemas.openxmlformats.org/officeDocument/2006/relationships/hyperlink" Target="http://www.rapidbbs.cn/" TargetMode="External"/><Relationship Id="rId5" Type="http://schemas.openxmlformats.org/officeDocument/2006/relationships/image" Target="../media/image792.emf"/><Relationship Id="rId4" Type="http://schemas.openxmlformats.org/officeDocument/2006/relationships/image" Target="../media/image796.emf"/></Relationships>
</file>

<file path=ppt/slides/_rels/slide333.xml.rels><?xml version="1.0" encoding="UTF-8" standalone="yes"?>
<Relationships xmlns="http://schemas.openxmlformats.org/package/2006/relationships"><Relationship Id="rId3" Type="http://schemas.openxmlformats.org/officeDocument/2006/relationships/image" Target="../media/image799.emf"/><Relationship Id="rId7" Type="http://schemas.openxmlformats.org/officeDocument/2006/relationships/image" Target="../media/image47.emf"/><Relationship Id="rId2" Type="http://schemas.openxmlformats.org/officeDocument/2006/relationships/image" Target="../media/image803.emf"/><Relationship Id="rId1" Type="http://schemas.openxmlformats.org/officeDocument/2006/relationships/slideLayout" Target="../slideLayouts/slideLayout8.xml"/><Relationship Id="rId6" Type="http://schemas.openxmlformats.org/officeDocument/2006/relationships/hyperlink" Target="http://www.rapidbbs.cn/" TargetMode="External"/><Relationship Id="rId5" Type="http://schemas.openxmlformats.org/officeDocument/2006/relationships/image" Target="../media/image794.emf"/><Relationship Id="rId4" Type="http://schemas.openxmlformats.org/officeDocument/2006/relationships/image" Target="../media/image804.emf"/></Relationships>
</file>

<file path=ppt/slides/_rels/slide334.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image" Target="../media/image791.png"/><Relationship Id="rId1" Type="http://schemas.openxmlformats.org/officeDocument/2006/relationships/slideLayout" Target="../slideLayouts/slideLayout8.xml"/><Relationship Id="rId4" Type="http://schemas.openxmlformats.org/officeDocument/2006/relationships/image" Target="../media/image47.emf"/></Relationships>
</file>

<file path=ppt/slides/_rels/slide335.xml.rels><?xml version="1.0" encoding="UTF-8" standalone="yes"?>
<Relationships xmlns="http://schemas.openxmlformats.org/package/2006/relationships"><Relationship Id="rId3" Type="http://schemas.microsoft.com/office/2007/relationships/hdphoto" Target="../media/hdphoto77.wdp"/><Relationship Id="rId2" Type="http://schemas.openxmlformats.org/officeDocument/2006/relationships/image" Target="../media/image524.png"/><Relationship Id="rId1" Type="http://schemas.openxmlformats.org/officeDocument/2006/relationships/slideLayout" Target="../slideLayouts/slideLayout8.xml"/><Relationship Id="rId6" Type="http://schemas.openxmlformats.org/officeDocument/2006/relationships/image" Target="../media/image47.emf"/><Relationship Id="rId5" Type="http://schemas.openxmlformats.org/officeDocument/2006/relationships/hyperlink" Target="http://www.rapidbbs.cn/" TargetMode="External"/><Relationship Id="rId4" Type="http://schemas.openxmlformats.org/officeDocument/2006/relationships/image" Target="../media/image522.png"/></Relationships>
</file>

<file path=ppt/slides/_rels/slide336.xml.rels><?xml version="1.0" encoding="UTF-8" standalone="yes"?>
<Relationships xmlns="http://schemas.openxmlformats.org/package/2006/relationships"><Relationship Id="rId3" Type="http://schemas.microsoft.com/office/2007/relationships/hdphoto" Target="../media/hdphoto77.wdp"/><Relationship Id="rId2" Type="http://schemas.openxmlformats.org/officeDocument/2006/relationships/image" Target="../media/image524.png"/><Relationship Id="rId1" Type="http://schemas.openxmlformats.org/officeDocument/2006/relationships/slideLayout" Target="../slideLayouts/slideLayout8.xml"/><Relationship Id="rId6" Type="http://schemas.openxmlformats.org/officeDocument/2006/relationships/image" Target="../media/image47.emf"/><Relationship Id="rId5" Type="http://schemas.openxmlformats.org/officeDocument/2006/relationships/hyperlink" Target="http://www.rapidbbs.cn/" TargetMode="External"/><Relationship Id="rId4" Type="http://schemas.openxmlformats.org/officeDocument/2006/relationships/image" Target="../media/image522.png"/></Relationships>
</file>

<file path=ppt/slides/_rels/slide337.xml.rels><?xml version="1.0" encoding="UTF-8" standalone="yes"?>
<Relationships xmlns="http://schemas.openxmlformats.org/package/2006/relationships"><Relationship Id="rId3" Type="http://schemas.openxmlformats.org/officeDocument/2006/relationships/image" Target="../media/image510.png"/><Relationship Id="rId7" Type="http://schemas.openxmlformats.org/officeDocument/2006/relationships/image" Target="../media/image47.emf"/><Relationship Id="rId2" Type="http://schemas.openxmlformats.org/officeDocument/2006/relationships/image" Target="../media/image509.png"/><Relationship Id="rId1" Type="http://schemas.openxmlformats.org/officeDocument/2006/relationships/slideLayout" Target="../slideLayouts/slideLayout8.xml"/><Relationship Id="rId6" Type="http://schemas.openxmlformats.org/officeDocument/2006/relationships/hyperlink" Target="http://www.rapidbbs.cn/" TargetMode="External"/><Relationship Id="rId5" Type="http://schemas.openxmlformats.org/officeDocument/2006/relationships/image" Target="../media/image512.png"/><Relationship Id="rId4" Type="http://schemas.openxmlformats.org/officeDocument/2006/relationships/image" Target="../media/image511.png"/></Relationships>
</file>

<file path=ppt/slides/_rels/slide338.xml.rels><?xml version="1.0" encoding="UTF-8" standalone="yes"?>
<Relationships xmlns="http://schemas.openxmlformats.org/package/2006/relationships"><Relationship Id="rId3" Type="http://schemas.openxmlformats.org/officeDocument/2006/relationships/image" Target="../media/image743.emf"/><Relationship Id="rId2" Type="http://schemas.openxmlformats.org/officeDocument/2006/relationships/image" Target="../media/image795.emf"/><Relationship Id="rId1" Type="http://schemas.openxmlformats.org/officeDocument/2006/relationships/slideLayout" Target="../slideLayouts/slideLayout8.xml"/><Relationship Id="rId5" Type="http://schemas.openxmlformats.org/officeDocument/2006/relationships/image" Target="../media/image47.emf"/><Relationship Id="rId4" Type="http://schemas.openxmlformats.org/officeDocument/2006/relationships/hyperlink" Target="http://www.rapidbbs.cn/" TargetMode="External"/></Relationships>
</file>

<file path=ppt/slides/_rels/slide339.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image" Target="../media/image805.emf"/><Relationship Id="rId1" Type="http://schemas.openxmlformats.org/officeDocument/2006/relationships/slideLayout" Target="../slideLayouts/slideLayout8.xml"/><Relationship Id="rId4" Type="http://schemas.openxmlformats.org/officeDocument/2006/relationships/image" Target="../media/image47.emf"/></Relationships>
</file>

<file path=ppt/slides/_rels/slide34.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image" Target="../media/image114.png"/><Relationship Id="rId1" Type="http://schemas.openxmlformats.org/officeDocument/2006/relationships/slideLayout" Target="../slideLayouts/slideLayout9.xml"/><Relationship Id="rId4" Type="http://schemas.openxmlformats.org/officeDocument/2006/relationships/image" Target="../media/image47.emf"/></Relationships>
</file>

<file path=ppt/slides/_rels/slide340.xml.rels><?xml version="1.0" encoding="UTF-8" standalone="yes"?>
<Relationships xmlns="http://schemas.openxmlformats.org/package/2006/relationships"><Relationship Id="rId8" Type="http://schemas.openxmlformats.org/officeDocument/2006/relationships/image" Target="../media/image811.png"/><Relationship Id="rId3" Type="http://schemas.openxmlformats.org/officeDocument/2006/relationships/image" Target="../media/image806.png"/><Relationship Id="rId7" Type="http://schemas.openxmlformats.org/officeDocument/2006/relationships/image" Target="../media/image810.png"/><Relationship Id="rId2" Type="http://schemas.openxmlformats.org/officeDocument/2006/relationships/notesSlide" Target="../notesSlides/notesSlide229.xml"/><Relationship Id="rId1" Type="http://schemas.openxmlformats.org/officeDocument/2006/relationships/slideLayout" Target="../slideLayouts/slideLayout12.xml"/><Relationship Id="rId6" Type="http://schemas.openxmlformats.org/officeDocument/2006/relationships/image" Target="../media/image809.png"/><Relationship Id="rId5" Type="http://schemas.openxmlformats.org/officeDocument/2006/relationships/image" Target="../media/image808.png"/><Relationship Id="rId10" Type="http://schemas.openxmlformats.org/officeDocument/2006/relationships/image" Target="../media/image47.emf"/><Relationship Id="rId4" Type="http://schemas.openxmlformats.org/officeDocument/2006/relationships/image" Target="../media/image807.png"/><Relationship Id="rId9" Type="http://schemas.openxmlformats.org/officeDocument/2006/relationships/hyperlink" Target="http://www.rapidbbs.cn/" TargetMode="External"/></Relationships>
</file>

<file path=ppt/slides/_rels/slide341.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notesSlide" Target="../notesSlides/notesSlide230.xml"/><Relationship Id="rId1" Type="http://schemas.openxmlformats.org/officeDocument/2006/relationships/slideLayout" Target="../slideLayouts/slideLayout12.xml"/><Relationship Id="rId4" Type="http://schemas.openxmlformats.org/officeDocument/2006/relationships/image" Target="../media/image47.emf"/></Relationships>
</file>

<file path=ppt/slides/_rels/slide342.xml.rels><?xml version="1.0" encoding="UTF-8" standalone="yes"?>
<Relationships xmlns="http://schemas.openxmlformats.org/package/2006/relationships"><Relationship Id="rId8" Type="http://schemas.openxmlformats.org/officeDocument/2006/relationships/image" Target="../media/image813.jpeg"/><Relationship Id="rId3" Type="http://schemas.openxmlformats.org/officeDocument/2006/relationships/image" Target="../media/image15.jpeg"/><Relationship Id="rId7" Type="http://schemas.openxmlformats.org/officeDocument/2006/relationships/image" Target="../media/image812.png"/><Relationship Id="rId12" Type="http://schemas.openxmlformats.org/officeDocument/2006/relationships/image" Target="../media/image47.emf"/><Relationship Id="rId2" Type="http://schemas.openxmlformats.org/officeDocument/2006/relationships/notesSlide" Target="../notesSlides/notesSlide231.xml"/><Relationship Id="rId1" Type="http://schemas.openxmlformats.org/officeDocument/2006/relationships/slideLayout" Target="../slideLayouts/slideLayout13.xml"/><Relationship Id="rId6" Type="http://schemas.openxmlformats.org/officeDocument/2006/relationships/image" Target="../media/image17.jpeg"/><Relationship Id="rId11" Type="http://schemas.openxmlformats.org/officeDocument/2006/relationships/hyperlink" Target="http://www.rapidbbs.cn/" TargetMode="External"/><Relationship Id="rId5" Type="http://schemas.openxmlformats.org/officeDocument/2006/relationships/image" Target="../media/image16.jpeg"/><Relationship Id="rId10" Type="http://schemas.openxmlformats.org/officeDocument/2006/relationships/image" Target="../media/image815.jpeg"/><Relationship Id="rId4" Type="http://schemas.openxmlformats.org/officeDocument/2006/relationships/image" Target="../media/image18.jpeg"/><Relationship Id="rId9" Type="http://schemas.openxmlformats.org/officeDocument/2006/relationships/image" Target="../media/image814.jpeg"/></Relationships>
</file>

<file path=ppt/slides/_rels/slide343.xml.rels><?xml version="1.0" encoding="UTF-8" standalone="yes"?>
<Relationships xmlns="http://schemas.openxmlformats.org/package/2006/relationships"><Relationship Id="rId8" Type="http://schemas.openxmlformats.org/officeDocument/2006/relationships/hyperlink" Target="http://www.rapidbbs.cn/" TargetMode="External"/><Relationship Id="rId3" Type="http://schemas.openxmlformats.org/officeDocument/2006/relationships/image" Target="../media/image816.png"/><Relationship Id="rId7" Type="http://schemas.openxmlformats.org/officeDocument/2006/relationships/image" Target="../media/image820.png"/><Relationship Id="rId2" Type="http://schemas.openxmlformats.org/officeDocument/2006/relationships/notesSlide" Target="../notesSlides/notesSlide232.xml"/><Relationship Id="rId1" Type="http://schemas.openxmlformats.org/officeDocument/2006/relationships/slideLayout" Target="../slideLayouts/slideLayout12.xml"/><Relationship Id="rId6" Type="http://schemas.openxmlformats.org/officeDocument/2006/relationships/image" Target="../media/image819.png"/><Relationship Id="rId5" Type="http://schemas.openxmlformats.org/officeDocument/2006/relationships/image" Target="../media/image818.png"/><Relationship Id="rId4" Type="http://schemas.openxmlformats.org/officeDocument/2006/relationships/image" Target="../media/image817.png"/><Relationship Id="rId9" Type="http://schemas.openxmlformats.org/officeDocument/2006/relationships/image" Target="../media/image47.emf"/></Relationships>
</file>

<file path=ppt/slides/_rels/slide344.xml.rels><?xml version="1.0" encoding="UTF-8" standalone="yes"?>
<Relationships xmlns="http://schemas.openxmlformats.org/package/2006/relationships"><Relationship Id="rId8" Type="http://schemas.openxmlformats.org/officeDocument/2006/relationships/hyperlink" Target="http://www.rapidbbs.cn/" TargetMode="External"/><Relationship Id="rId3" Type="http://schemas.openxmlformats.org/officeDocument/2006/relationships/image" Target="../media/image350.emf"/><Relationship Id="rId7" Type="http://schemas.openxmlformats.org/officeDocument/2006/relationships/image" Target="../media/image824.png"/><Relationship Id="rId2" Type="http://schemas.openxmlformats.org/officeDocument/2006/relationships/notesSlide" Target="../notesSlides/notesSlide233.xml"/><Relationship Id="rId1" Type="http://schemas.openxmlformats.org/officeDocument/2006/relationships/slideLayout" Target="../slideLayouts/slideLayout12.xml"/><Relationship Id="rId6" Type="http://schemas.openxmlformats.org/officeDocument/2006/relationships/image" Target="../media/image823.png"/><Relationship Id="rId5" Type="http://schemas.openxmlformats.org/officeDocument/2006/relationships/image" Target="../media/image822.png"/><Relationship Id="rId4" Type="http://schemas.openxmlformats.org/officeDocument/2006/relationships/image" Target="../media/image821.png"/><Relationship Id="rId9" Type="http://schemas.openxmlformats.org/officeDocument/2006/relationships/image" Target="../media/image47.emf"/></Relationships>
</file>

<file path=ppt/slides/_rels/slide345.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notesSlide" Target="../notesSlides/notesSlide234.xml"/><Relationship Id="rId1" Type="http://schemas.openxmlformats.org/officeDocument/2006/relationships/slideLayout" Target="../slideLayouts/slideLayout12.xml"/><Relationship Id="rId4" Type="http://schemas.openxmlformats.org/officeDocument/2006/relationships/image" Target="../media/image47.emf"/></Relationships>
</file>

<file path=ppt/slides/_rels/slide346.xml.rels><?xml version="1.0" encoding="UTF-8" standalone="yes"?>
<Relationships xmlns="http://schemas.openxmlformats.org/package/2006/relationships"><Relationship Id="rId8" Type="http://schemas.openxmlformats.org/officeDocument/2006/relationships/image" Target="../media/image47.emf"/><Relationship Id="rId3" Type="http://schemas.openxmlformats.org/officeDocument/2006/relationships/image" Target="../media/image825.jpeg"/><Relationship Id="rId7" Type="http://schemas.openxmlformats.org/officeDocument/2006/relationships/hyperlink" Target="http://www.rapidbbs.cn/" TargetMode="External"/><Relationship Id="rId2" Type="http://schemas.openxmlformats.org/officeDocument/2006/relationships/notesSlide" Target="../notesSlides/notesSlide235.xml"/><Relationship Id="rId1" Type="http://schemas.openxmlformats.org/officeDocument/2006/relationships/slideLayout" Target="../slideLayouts/slideLayout12.xml"/><Relationship Id="rId6" Type="http://schemas.openxmlformats.org/officeDocument/2006/relationships/image" Target="../media/image828.jpeg"/><Relationship Id="rId5" Type="http://schemas.openxmlformats.org/officeDocument/2006/relationships/image" Target="../media/image827.jpeg"/><Relationship Id="rId4" Type="http://schemas.openxmlformats.org/officeDocument/2006/relationships/image" Target="../media/image826.jpeg"/></Relationships>
</file>

<file path=ppt/slides/_rels/slide347.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image" Target="../media/image829.jpeg"/><Relationship Id="rId1" Type="http://schemas.openxmlformats.org/officeDocument/2006/relationships/slideLayout" Target="../slideLayouts/slideLayout12.xml"/><Relationship Id="rId4" Type="http://schemas.openxmlformats.org/officeDocument/2006/relationships/image" Target="../media/image47.emf"/></Relationships>
</file>

<file path=ppt/slides/_rels/slide348.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chart" Target="../charts/chart1.xml"/><Relationship Id="rId1" Type="http://schemas.openxmlformats.org/officeDocument/2006/relationships/slideLayout" Target="../slideLayouts/slideLayout13.xml"/><Relationship Id="rId4" Type="http://schemas.openxmlformats.org/officeDocument/2006/relationships/image" Target="../media/image47.emf"/></Relationships>
</file>

<file path=ppt/slides/_rels/slide349.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notesSlide" Target="../notesSlides/notesSlide236.xml"/><Relationship Id="rId1" Type="http://schemas.openxmlformats.org/officeDocument/2006/relationships/slideLayout" Target="../slideLayouts/slideLayout13.xml"/><Relationship Id="rId4" Type="http://schemas.openxmlformats.org/officeDocument/2006/relationships/image" Target="../media/image47.emf"/></Relationships>
</file>

<file path=ppt/slides/_rels/slide35.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hyperlink" Target="http://www.rapidbbs.cn/" TargetMode="External"/><Relationship Id="rId1" Type="http://schemas.openxmlformats.org/officeDocument/2006/relationships/slideLayout" Target="../slideLayouts/slideLayout9.xml"/></Relationships>
</file>

<file path=ppt/slides/_rels/slide350.xml.rels><?xml version="1.0" encoding="UTF-8" standalone="yes"?>
<Relationships xmlns="http://schemas.openxmlformats.org/package/2006/relationships"><Relationship Id="rId8" Type="http://schemas.openxmlformats.org/officeDocument/2006/relationships/image" Target="../media/image835.png"/><Relationship Id="rId3" Type="http://schemas.openxmlformats.org/officeDocument/2006/relationships/image" Target="../media/image830.png"/><Relationship Id="rId7" Type="http://schemas.openxmlformats.org/officeDocument/2006/relationships/image" Target="../media/image834.png"/><Relationship Id="rId12" Type="http://schemas.openxmlformats.org/officeDocument/2006/relationships/image" Target="../media/image47.emf"/><Relationship Id="rId2" Type="http://schemas.openxmlformats.org/officeDocument/2006/relationships/notesSlide" Target="../notesSlides/notesSlide237.xml"/><Relationship Id="rId1" Type="http://schemas.openxmlformats.org/officeDocument/2006/relationships/slideLayout" Target="../slideLayouts/slideLayout12.xml"/><Relationship Id="rId6" Type="http://schemas.openxmlformats.org/officeDocument/2006/relationships/image" Target="../media/image833.png"/><Relationship Id="rId11" Type="http://schemas.openxmlformats.org/officeDocument/2006/relationships/hyperlink" Target="http://www.rapidbbs.cn/" TargetMode="External"/><Relationship Id="rId5" Type="http://schemas.openxmlformats.org/officeDocument/2006/relationships/image" Target="../media/image832.png"/><Relationship Id="rId10" Type="http://schemas.openxmlformats.org/officeDocument/2006/relationships/image" Target="../media/image837.png"/><Relationship Id="rId4" Type="http://schemas.openxmlformats.org/officeDocument/2006/relationships/image" Target="../media/image831.png"/><Relationship Id="rId9" Type="http://schemas.openxmlformats.org/officeDocument/2006/relationships/image" Target="../media/image836.png"/></Relationships>
</file>

<file path=ppt/slides/_rels/slide351.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chart" Target="../charts/chart2.xml"/><Relationship Id="rId1" Type="http://schemas.openxmlformats.org/officeDocument/2006/relationships/slideLayout" Target="../slideLayouts/slideLayout12.xml"/><Relationship Id="rId4" Type="http://schemas.openxmlformats.org/officeDocument/2006/relationships/image" Target="../media/image47.emf"/></Relationships>
</file>

<file path=ppt/slides/_rels/slide352.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hyperlink" Target="http://www.rapidbbs.cn/" TargetMode="External"/><Relationship Id="rId1" Type="http://schemas.openxmlformats.org/officeDocument/2006/relationships/slideLayout" Target="../slideLayouts/slideLayout12.xml"/></Relationships>
</file>

<file path=ppt/slides/_rels/slide353.xml.rels><?xml version="1.0" encoding="UTF-8" standalone="yes"?>
<Relationships xmlns="http://schemas.openxmlformats.org/package/2006/relationships"><Relationship Id="rId8" Type="http://schemas.openxmlformats.org/officeDocument/2006/relationships/tags" Target="../tags/tag328.xml"/><Relationship Id="rId13" Type="http://schemas.openxmlformats.org/officeDocument/2006/relationships/oleObject" Target="../embeddings/oleObject11.bin"/><Relationship Id="rId18" Type="http://schemas.microsoft.com/office/2007/relationships/hdphoto" Target="../media/hdphoto102.wdp"/><Relationship Id="rId3" Type="http://schemas.openxmlformats.org/officeDocument/2006/relationships/tags" Target="../tags/tag323.xml"/><Relationship Id="rId21" Type="http://schemas.openxmlformats.org/officeDocument/2006/relationships/hyperlink" Target="http://www.rapidbbs.cn/" TargetMode="External"/><Relationship Id="rId7" Type="http://schemas.openxmlformats.org/officeDocument/2006/relationships/tags" Target="../tags/tag327.xml"/><Relationship Id="rId12" Type="http://schemas.openxmlformats.org/officeDocument/2006/relationships/slideLayout" Target="../slideLayouts/slideLayout12.xml"/><Relationship Id="rId17" Type="http://schemas.openxmlformats.org/officeDocument/2006/relationships/image" Target="../media/image839.png"/><Relationship Id="rId2" Type="http://schemas.openxmlformats.org/officeDocument/2006/relationships/tags" Target="../tags/tag322.xml"/><Relationship Id="rId16" Type="http://schemas.microsoft.com/office/2007/relationships/hdphoto" Target="../media/hdphoto101.wdp"/><Relationship Id="rId20" Type="http://schemas.microsoft.com/office/2007/relationships/hdphoto" Target="../media/hdphoto9.wdp"/><Relationship Id="rId1" Type="http://schemas.openxmlformats.org/officeDocument/2006/relationships/vmlDrawing" Target="../drawings/vmlDrawing11.vml"/><Relationship Id="rId6" Type="http://schemas.openxmlformats.org/officeDocument/2006/relationships/tags" Target="../tags/tag326.xml"/><Relationship Id="rId11" Type="http://schemas.openxmlformats.org/officeDocument/2006/relationships/tags" Target="../tags/tag331.xml"/><Relationship Id="rId5" Type="http://schemas.openxmlformats.org/officeDocument/2006/relationships/tags" Target="../tags/tag325.xml"/><Relationship Id="rId15" Type="http://schemas.openxmlformats.org/officeDocument/2006/relationships/image" Target="../media/image838.png"/><Relationship Id="rId10" Type="http://schemas.openxmlformats.org/officeDocument/2006/relationships/tags" Target="../tags/tag330.xml"/><Relationship Id="rId19" Type="http://schemas.openxmlformats.org/officeDocument/2006/relationships/image" Target="../media/image840.png"/><Relationship Id="rId4" Type="http://schemas.openxmlformats.org/officeDocument/2006/relationships/tags" Target="../tags/tag324.xml"/><Relationship Id="rId9" Type="http://schemas.openxmlformats.org/officeDocument/2006/relationships/tags" Target="../tags/tag329.xml"/><Relationship Id="rId14" Type="http://schemas.openxmlformats.org/officeDocument/2006/relationships/image" Target="../media/image19.emf"/><Relationship Id="rId22" Type="http://schemas.openxmlformats.org/officeDocument/2006/relationships/image" Target="../media/image47.emf"/></Relationships>
</file>

<file path=ppt/slides/_rels/slide354.xml.rels><?xml version="1.0" encoding="UTF-8" standalone="yes"?>
<Relationships xmlns="http://schemas.openxmlformats.org/package/2006/relationships"><Relationship Id="rId8" Type="http://schemas.openxmlformats.org/officeDocument/2006/relationships/tags" Target="../tags/tag338.xml"/><Relationship Id="rId13" Type="http://schemas.openxmlformats.org/officeDocument/2006/relationships/tags" Target="../tags/tag343.xml"/><Relationship Id="rId18" Type="http://schemas.openxmlformats.org/officeDocument/2006/relationships/notesSlide" Target="../notesSlides/notesSlide238.xml"/><Relationship Id="rId3" Type="http://schemas.openxmlformats.org/officeDocument/2006/relationships/tags" Target="../tags/tag333.xml"/><Relationship Id="rId21" Type="http://schemas.openxmlformats.org/officeDocument/2006/relationships/image" Target="../media/image840.png"/><Relationship Id="rId7" Type="http://schemas.openxmlformats.org/officeDocument/2006/relationships/tags" Target="../tags/tag337.xml"/><Relationship Id="rId12" Type="http://schemas.openxmlformats.org/officeDocument/2006/relationships/tags" Target="../tags/tag342.xml"/><Relationship Id="rId17" Type="http://schemas.openxmlformats.org/officeDocument/2006/relationships/slideLayout" Target="../slideLayouts/slideLayout13.xml"/><Relationship Id="rId2" Type="http://schemas.openxmlformats.org/officeDocument/2006/relationships/tags" Target="../tags/tag332.xml"/><Relationship Id="rId16" Type="http://schemas.openxmlformats.org/officeDocument/2006/relationships/tags" Target="../tags/tag346.xml"/><Relationship Id="rId20" Type="http://schemas.openxmlformats.org/officeDocument/2006/relationships/image" Target="../media/image19.emf"/><Relationship Id="rId1" Type="http://schemas.openxmlformats.org/officeDocument/2006/relationships/vmlDrawing" Target="../drawings/vmlDrawing12.vml"/><Relationship Id="rId6" Type="http://schemas.openxmlformats.org/officeDocument/2006/relationships/tags" Target="../tags/tag336.xml"/><Relationship Id="rId11" Type="http://schemas.openxmlformats.org/officeDocument/2006/relationships/tags" Target="../tags/tag341.xml"/><Relationship Id="rId24" Type="http://schemas.openxmlformats.org/officeDocument/2006/relationships/image" Target="../media/image47.emf"/><Relationship Id="rId5" Type="http://schemas.openxmlformats.org/officeDocument/2006/relationships/tags" Target="../tags/tag335.xml"/><Relationship Id="rId15" Type="http://schemas.openxmlformats.org/officeDocument/2006/relationships/tags" Target="../tags/tag345.xml"/><Relationship Id="rId23" Type="http://schemas.openxmlformats.org/officeDocument/2006/relationships/hyperlink" Target="http://www.rapidbbs.cn/" TargetMode="External"/><Relationship Id="rId10" Type="http://schemas.openxmlformats.org/officeDocument/2006/relationships/tags" Target="../tags/tag340.xml"/><Relationship Id="rId19" Type="http://schemas.openxmlformats.org/officeDocument/2006/relationships/oleObject" Target="../embeddings/oleObject12.bin"/><Relationship Id="rId4" Type="http://schemas.openxmlformats.org/officeDocument/2006/relationships/tags" Target="../tags/tag334.xml"/><Relationship Id="rId9" Type="http://schemas.openxmlformats.org/officeDocument/2006/relationships/tags" Target="../tags/tag339.xml"/><Relationship Id="rId14" Type="http://schemas.openxmlformats.org/officeDocument/2006/relationships/tags" Target="../tags/tag344.xml"/><Relationship Id="rId22" Type="http://schemas.microsoft.com/office/2007/relationships/hdphoto" Target="../media/hdphoto9.wdp"/></Relationships>
</file>

<file path=ppt/slides/_rels/slide355.xml.rels><?xml version="1.0" encoding="UTF-8" standalone="yes"?>
<Relationships xmlns="http://schemas.openxmlformats.org/package/2006/relationships"><Relationship Id="rId8" Type="http://schemas.openxmlformats.org/officeDocument/2006/relationships/tags" Target="../tags/tag353.xml"/><Relationship Id="rId13" Type="http://schemas.openxmlformats.org/officeDocument/2006/relationships/tags" Target="../tags/tag358.xml"/><Relationship Id="rId18" Type="http://schemas.openxmlformats.org/officeDocument/2006/relationships/oleObject" Target="../embeddings/oleObject13.bin"/><Relationship Id="rId3" Type="http://schemas.openxmlformats.org/officeDocument/2006/relationships/tags" Target="../tags/tag348.xml"/><Relationship Id="rId21" Type="http://schemas.microsoft.com/office/2007/relationships/hdphoto" Target="../media/hdphoto101.wdp"/><Relationship Id="rId7" Type="http://schemas.openxmlformats.org/officeDocument/2006/relationships/tags" Target="../tags/tag352.xml"/><Relationship Id="rId12" Type="http://schemas.openxmlformats.org/officeDocument/2006/relationships/tags" Target="../tags/tag357.xml"/><Relationship Id="rId17" Type="http://schemas.openxmlformats.org/officeDocument/2006/relationships/notesSlide" Target="../notesSlides/notesSlide239.xml"/><Relationship Id="rId2" Type="http://schemas.openxmlformats.org/officeDocument/2006/relationships/tags" Target="../tags/tag347.xml"/><Relationship Id="rId16" Type="http://schemas.openxmlformats.org/officeDocument/2006/relationships/slideLayout" Target="../slideLayouts/slideLayout13.xml"/><Relationship Id="rId20" Type="http://schemas.openxmlformats.org/officeDocument/2006/relationships/image" Target="../media/image838.png"/><Relationship Id="rId1" Type="http://schemas.openxmlformats.org/officeDocument/2006/relationships/vmlDrawing" Target="../drawings/vmlDrawing13.vml"/><Relationship Id="rId6" Type="http://schemas.openxmlformats.org/officeDocument/2006/relationships/tags" Target="../tags/tag351.xml"/><Relationship Id="rId11" Type="http://schemas.openxmlformats.org/officeDocument/2006/relationships/tags" Target="../tags/tag356.xml"/><Relationship Id="rId5" Type="http://schemas.openxmlformats.org/officeDocument/2006/relationships/tags" Target="../tags/tag350.xml"/><Relationship Id="rId15" Type="http://schemas.openxmlformats.org/officeDocument/2006/relationships/tags" Target="../tags/tag360.xml"/><Relationship Id="rId23" Type="http://schemas.openxmlformats.org/officeDocument/2006/relationships/image" Target="../media/image47.emf"/><Relationship Id="rId10" Type="http://schemas.openxmlformats.org/officeDocument/2006/relationships/tags" Target="../tags/tag355.xml"/><Relationship Id="rId19" Type="http://schemas.openxmlformats.org/officeDocument/2006/relationships/image" Target="../media/image19.emf"/><Relationship Id="rId4" Type="http://schemas.openxmlformats.org/officeDocument/2006/relationships/tags" Target="../tags/tag349.xml"/><Relationship Id="rId9" Type="http://schemas.openxmlformats.org/officeDocument/2006/relationships/tags" Target="../tags/tag354.xml"/><Relationship Id="rId14" Type="http://schemas.openxmlformats.org/officeDocument/2006/relationships/tags" Target="../tags/tag359.xml"/><Relationship Id="rId22" Type="http://schemas.openxmlformats.org/officeDocument/2006/relationships/hyperlink" Target="http://www.rapidbbs.cn/" TargetMode="External"/></Relationships>
</file>

<file path=ppt/slides/_rels/slide356.xml.rels><?xml version="1.0" encoding="UTF-8" standalone="yes"?>
<Relationships xmlns="http://schemas.openxmlformats.org/package/2006/relationships"><Relationship Id="rId8" Type="http://schemas.openxmlformats.org/officeDocument/2006/relationships/tags" Target="../tags/tag367.xml"/><Relationship Id="rId13" Type="http://schemas.openxmlformats.org/officeDocument/2006/relationships/tags" Target="../tags/tag372.xml"/><Relationship Id="rId18" Type="http://schemas.openxmlformats.org/officeDocument/2006/relationships/slideLayout" Target="../slideLayouts/slideLayout13.xml"/><Relationship Id="rId3" Type="http://schemas.openxmlformats.org/officeDocument/2006/relationships/tags" Target="../tags/tag362.xml"/><Relationship Id="rId21" Type="http://schemas.openxmlformats.org/officeDocument/2006/relationships/image" Target="../media/image19.emf"/><Relationship Id="rId7" Type="http://schemas.openxmlformats.org/officeDocument/2006/relationships/tags" Target="../tags/tag366.xml"/><Relationship Id="rId12" Type="http://schemas.openxmlformats.org/officeDocument/2006/relationships/tags" Target="../tags/tag371.xml"/><Relationship Id="rId17" Type="http://schemas.openxmlformats.org/officeDocument/2006/relationships/tags" Target="../tags/tag376.xml"/><Relationship Id="rId2" Type="http://schemas.openxmlformats.org/officeDocument/2006/relationships/tags" Target="../tags/tag361.xml"/><Relationship Id="rId16" Type="http://schemas.openxmlformats.org/officeDocument/2006/relationships/tags" Target="../tags/tag375.xml"/><Relationship Id="rId20" Type="http://schemas.openxmlformats.org/officeDocument/2006/relationships/oleObject" Target="../embeddings/oleObject14.bin"/><Relationship Id="rId1" Type="http://schemas.openxmlformats.org/officeDocument/2006/relationships/vmlDrawing" Target="../drawings/vmlDrawing14.vml"/><Relationship Id="rId6" Type="http://schemas.openxmlformats.org/officeDocument/2006/relationships/tags" Target="../tags/tag365.xml"/><Relationship Id="rId11" Type="http://schemas.openxmlformats.org/officeDocument/2006/relationships/tags" Target="../tags/tag370.xml"/><Relationship Id="rId5" Type="http://schemas.openxmlformats.org/officeDocument/2006/relationships/tags" Target="../tags/tag364.xml"/><Relationship Id="rId15" Type="http://schemas.openxmlformats.org/officeDocument/2006/relationships/tags" Target="../tags/tag374.xml"/><Relationship Id="rId23" Type="http://schemas.openxmlformats.org/officeDocument/2006/relationships/image" Target="../media/image47.emf"/><Relationship Id="rId10" Type="http://schemas.openxmlformats.org/officeDocument/2006/relationships/tags" Target="../tags/tag369.xml"/><Relationship Id="rId19" Type="http://schemas.openxmlformats.org/officeDocument/2006/relationships/notesSlide" Target="../notesSlides/notesSlide240.xml"/><Relationship Id="rId4" Type="http://schemas.openxmlformats.org/officeDocument/2006/relationships/tags" Target="../tags/tag363.xml"/><Relationship Id="rId9" Type="http://schemas.openxmlformats.org/officeDocument/2006/relationships/tags" Target="../tags/tag368.xml"/><Relationship Id="rId14" Type="http://schemas.openxmlformats.org/officeDocument/2006/relationships/tags" Target="../tags/tag373.xml"/><Relationship Id="rId22" Type="http://schemas.openxmlformats.org/officeDocument/2006/relationships/hyperlink" Target="http://www.rapidbbs.cn/" TargetMode="External"/></Relationships>
</file>

<file path=ppt/slides/_rels/slide357.xml.rels><?xml version="1.0" encoding="UTF-8" standalone="yes"?>
<Relationships xmlns="http://schemas.openxmlformats.org/package/2006/relationships"><Relationship Id="rId8" Type="http://schemas.openxmlformats.org/officeDocument/2006/relationships/tags" Target="../tags/tag383.xml"/><Relationship Id="rId13" Type="http://schemas.openxmlformats.org/officeDocument/2006/relationships/tags" Target="../tags/tag388.xml"/><Relationship Id="rId18" Type="http://schemas.openxmlformats.org/officeDocument/2006/relationships/notesSlide" Target="../notesSlides/notesSlide241.xml"/><Relationship Id="rId3" Type="http://schemas.openxmlformats.org/officeDocument/2006/relationships/tags" Target="../tags/tag378.xml"/><Relationship Id="rId21" Type="http://schemas.openxmlformats.org/officeDocument/2006/relationships/image" Target="../media/image839.png"/><Relationship Id="rId7" Type="http://schemas.openxmlformats.org/officeDocument/2006/relationships/tags" Target="../tags/tag382.xml"/><Relationship Id="rId12" Type="http://schemas.openxmlformats.org/officeDocument/2006/relationships/tags" Target="../tags/tag387.xml"/><Relationship Id="rId17" Type="http://schemas.openxmlformats.org/officeDocument/2006/relationships/slideLayout" Target="../slideLayouts/slideLayout13.xml"/><Relationship Id="rId2" Type="http://schemas.openxmlformats.org/officeDocument/2006/relationships/tags" Target="../tags/tag377.xml"/><Relationship Id="rId16" Type="http://schemas.openxmlformats.org/officeDocument/2006/relationships/tags" Target="../tags/tag391.xml"/><Relationship Id="rId20" Type="http://schemas.openxmlformats.org/officeDocument/2006/relationships/image" Target="../media/image19.emf"/><Relationship Id="rId1" Type="http://schemas.openxmlformats.org/officeDocument/2006/relationships/vmlDrawing" Target="../drawings/vmlDrawing15.vml"/><Relationship Id="rId6" Type="http://schemas.openxmlformats.org/officeDocument/2006/relationships/tags" Target="../tags/tag381.xml"/><Relationship Id="rId11" Type="http://schemas.openxmlformats.org/officeDocument/2006/relationships/tags" Target="../tags/tag386.xml"/><Relationship Id="rId24" Type="http://schemas.openxmlformats.org/officeDocument/2006/relationships/image" Target="../media/image47.emf"/><Relationship Id="rId5" Type="http://schemas.openxmlformats.org/officeDocument/2006/relationships/tags" Target="../tags/tag380.xml"/><Relationship Id="rId15" Type="http://schemas.openxmlformats.org/officeDocument/2006/relationships/tags" Target="../tags/tag390.xml"/><Relationship Id="rId23" Type="http://schemas.openxmlformats.org/officeDocument/2006/relationships/hyperlink" Target="http://www.rapidbbs.cn/" TargetMode="External"/><Relationship Id="rId10" Type="http://schemas.openxmlformats.org/officeDocument/2006/relationships/tags" Target="../tags/tag385.xml"/><Relationship Id="rId19" Type="http://schemas.openxmlformats.org/officeDocument/2006/relationships/oleObject" Target="../embeddings/oleObject15.bin"/><Relationship Id="rId4" Type="http://schemas.openxmlformats.org/officeDocument/2006/relationships/tags" Target="../tags/tag379.xml"/><Relationship Id="rId9" Type="http://schemas.openxmlformats.org/officeDocument/2006/relationships/tags" Target="../tags/tag384.xml"/><Relationship Id="rId14" Type="http://schemas.openxmlformats.org/officeDocument/2006/relationships/tags" Target="../tags/tag389.xml"/><Relationship Id="rId22" Type="http://schemas.microsoft.com/office/2007/relationships/hdphoto" Target="../media/hdphoto102.wdp"/></Relationships>
</file>

<file path=ppt/slides/_rels/slide358.xml.rels><?xml version="1.0" encoding="UTF-8" standalone="yes"?>
<Relationships xmlns="http://schemas.openxmlformats.org/package/2006/relationships"><Relationship Id="rId3" Type="http://schemas.microsoft.com/office/2007/relationships/hdphoto" Target="../media/hdphoto103.wdp"/><Relationship Id="rId2" Type="http://schemas.openxmlformats.org/officeDocument/2006/relationships/image" Target="../media/image841.png"/><Relationship Id="rId1" Type="http://schemas.openxmlformats.org/officeDocument/2006/relationships/slideLayout" Target="../slideLayouts/slideLayout9.xml"/><Relationship Id="rId5" Type="http://schemas.openxmlformats.org/officeDocument/2006/relationships/image" Target="../media/image47.emf"/><Relationship Id="rId4" Type="http://schemas.openxmlformats.org/officeDocument/2006/relationships/hyperlink" Target="http://www.rapidbbs.cn/" TargetMode="External"/></Relationships>
</file>

<file path=ppt/slides/_rels/slide359.xml.rels><?xml version="1.0" encoding="UTF-8" standalone="yes"?>
<Relationships xmlns="http://schemas.openxmlformats.org/package/2006/relationships"><Relationship Id="rId3" Type="http://schemas.openxmlformats.org/officeDocument/2006/relationships/image" Target="../media/image842.jpeg"/><Relationship Id="rId2" Type="http://schemas.openxmlformats.org/officeDocument/2006/relationships/notesSlide" Target="../notesSlides/notesSlide242.xml"/><Relationship Id="rId1" Type="http://schemas.openxmlformats.org/officeDocument/2006/relationships/slideLayout" Target="../slideLayouts/slideLayout13.xml"/><Relationship Id="rId6" Type="http://schemas.openxmlformats.org/officeDocument/2006/relationships/image" Target="../media/image47.emf"/><Relationship Id="rId5" Type="http://schemas.openxmlformats.org/officeDocument/2006/relationships/hyperlink" Target="http://www.rapidbbs.cn/" TargetMode="External"/><Relationship Id="rId4" Type="http://schemas.openxmlformats.org/officeDocument/2006/relationships/image" Target="../media/image843.jpeg"/></Relationships>
</file>

<file path=ppt/slides/_rels/slide36.xml.rels><?xml version="1.0" encoding="UTF-8" standalone="yes"?>
<Relationships xmlns="http://schemas.openxmlformats.org/package/2006/relationships"><Relationship Id="rId8" Type="http://schemas.openxmlformats.org/officeDocument/2006/relationships/image" Target="../media/image108.png"/><Relationship Id="rId3" Type="http://schemas.openxmlformats.org/officeDocument/2006/relationships/image" Target="../media/image115.png"/><Relationship Id="rId7" Type="http://schemas.microsoft.com/office/2007/relationships/hdphoto" Target="../media/hdphoto4.wdp"/><Relationship Id="rId2" Type="http://schemas.openxmlformats.org/officeDocument/2006/relationships/notesSlide" Target="../notesSlides/notesSlide28.xml"/><Relationship Id="rId1" Type="http://schemas.openxmlformats.org/officeDocument/2006/relationships/slideLayout" Target="../slideLayouts/slideLayout19.xml"/><Relationship Id="rId6" Type="http://schemas.openxmlformats.org/officeDocument/2006/relationships/image" Target="../media/image41.png"/><Relationship Id="rId5" Type="http://schemas.openxmlformats.org/officeDocument/2006/relationships/image" Target="../media/image117.png"/><Relationship Id="rId10" Type="http://schemas.openxmlformats.org/officeDocument/2006/relationships/image" Target="../media/image47.emf"/><Relationship Id="rId4" Type="http://schemas.openxmlformats.org/officeDocument/2006/relationships/image" Target="../media/image116.png"/><Relationship Id="rId9" Type="http://schemas.openxmlformats.org/officeDocument/2006/relationships/hyperlink" Target="http://www.rapidbbs.cn/" TargetMode="External"/></Relationships>
</file>

<file path=ppt/slides/_rels/slide360.xml.rels><?xml version="1.0" encoding="UTF-8" standalone="yes"?>
<Relationships xmlns="http://schemas.openxmlformats.org/package/2006/relationships"><Relationship Id="rId8" Type="http://schemas.openxmlformats.org/officeDocument/2006/relationships/image" Target="../media/image179.png"/><Relationship Id="rId3" Type="http://schemas.openxmlformats.org/officeDocument/2006/relationships/hyperlink" Target="http://www.gettyimages.com/detail/photo/designer-using-tablet-computer-royalty-free-image/134429246" TargetMode="External"/><Relationship Id="rId7" Type="http://schemas.openxmlformats.org/officeDocument/2006/relationships/image" Target="../media/image847.jpeg"/><Relationship Id="rId2" Type="http://schemas.openxmlformats.org/officeDocument/2006/relationships/notesSlide" Target="../notesSlides/notesSlide243.xml"/><Relationship Id="rId1" Type="http://schemas.openxmlformats.org/officeDocument/2006/relationships/slideLayout" Target="../slideLayouts/slideLayout12.xml"/><Relationship Id="rId6" Type="http://schemas.openxmlformats.org/officeDocument/2006/relationships/image" Target="../media/image846.jpeg"/><Relationship Id="rId11" Type="http://schemas.openxmlformats.org/officeDocument/2006/relationships/image" Target="../media/image47.emf"/><Relationship Id="rId5" Type="http://schemas.openxmlformats.org/officeDocument/2006/relationships/image" Target="../media/image845.jpeg"/><Relationship Id="rId10" Type="http://schemas.openxmlformats.org/officeDocument/2006/relationships/hyperlink" Target="http://www.rapidbbs.cn/" TargetMode="External"/><Relationship Id="rId4" Type="http://schemas.openxmlformats.org/officeDocument/2006/relationships/image" Target="../media/image844.jpeg"/><Relationship Id="rId9" Type="http://schemas.microsoft.com/office/2007/relationships/hdphoto" Target="../media/hdphoto104.wdp"/></Relationships>
</file>

<file path=ppt/slides/_rels/slide361.xml.rels><?xml version="1.0" encoding="UTF-8" standalone="yes"?>
<Relationships xmlns="http://schemas.openxmlformats.org/package/2006/relationships"><Relationship Id="rId8" Type="http://schemas.microsoft.com/office/2007/relationships/hdphoto" Target="../media/hdphoto107.wdp"/><Relationship Id="rId13" Type="http://schemas.openxmlformats.org/officeDocument/2006/relationships/image" Target="../media/image853.png"/><Relationship Id="rId3" Type="http://schemas.openxmlformats.org/officeDocument/2006/relationships/image" Target="../media/image848.png"/><Relationship Id="rId7" Type="http://schemas.openxmlformats.org/officeDocument/2006/relationships/image" Target="../media/image850.png"/><Relationship Id="rId12" Type="http://schemas.microsoft.com/office/2007/relationships/hdphoto" Target="../media/hdphoto109.wdp"/><Relationship Id="rId2" Type="http://schemas.openxmlformats.org/officeDocument/2006/relationships/notesSlide" Target="../notesSlides/notesSlide244.xml"/><Relationship Id="rId16" Type="http://schemas.openxmlformats.org/officeDocument/2006/relationships/image" Target="../media/image47.emf"/><Relationship Id="rId1" Type="http://schemas.openxmlformats.org/officeDocument/2006/relationships/slideLayout" Target="../slideLayouts/slideLayout13.xml"/><Relationship Id="rId6" Type="http://schemas.microsoft.com/office/2007/relationships/hdphoto" Target="../media/hdphoto106.wdp"/><Relationship Id="rId11" Type="http://schemas.openxmlformats.org/officeDocument/2006/relationships/image" Target="../media/image852.png"/><Relationship Id="rId5" Type="http://schemas.openxmlformats.org/officeDocument/2006/relationships/image" Target="../media/image849.png"/><Relationship Id="rId15" Type="http://schemas.openxmlformats.org/officeDocument/2006/relationships/hyperlink" Target="http://www.rapidbbs.cn/" TargetMode="External"/><Relationship Id="rId10" Type="http://schemas.microsoft.com/office/2007/relationships/hdphoto" Target="../media/hdphoto108.wdp"/><Relationship Id="rId4" Type="http://schemas.microsoft.com/office/2007/relationships/hdphoto" Target="../media/hdphoto105.wdp"/><Relationship Id="rId9" Type="http://schemas.openxmlformats.org/officeDocument/2006/relationships/image" Target="../media/image851.png"/><Relationship Id="rId14" Type="http://schemas.microsoft.com/office/2007/relationships/hdphoto" Target="../media/hdphoto110.wdp"/></Relationships>
</file>

<file path=ppt/slides/_rels/slide362.xml.rels><?xml version="1.0" encoding="UTF-8" standalone="yes"?>
<Relationships xmlns="http://schemas.openxmlformats.org/package/2006/relationships"><Relationship Id="rId8" Type="http://schemas.openxmlformats.org/officeDocument/2006/relationships/image" Target="../media/image47.emf"/><Relationship Id="rId3" Type="http://schemas.openxmlformats.org/officeDocument/2006/relationships/image" Target="../media/image854.png"/><Relationship Id="rId7" Type="http://schemas.openxmlformats.org/officeDocument/2006/relationships/hyperlink" Target="http://www.rapidbbs.cn/" TargetMode="External"/><Relationship Id="rId2" Type="http://schemas.openxmlformats.org/officeDocument/2006/relationships/notesSlide" Target="../notesSlides/notesSlide245.xml"/><Relationship Id="rId1" Type="http://schemas.openxmlformats.org/officeDocument/2006/relationships/slideLayout" Target="../slideLayouts/slideLayout12.xml"/><Relationship Id="rId6" Type="http://schemas.openxmlformats.org/officeDocument/2006/relationships/image" Target="../media/image857.png"/><Relationship Id="rId5" Type="http://schemas.openxmlformats.org/officeDocument/2006/relationships/image" Target="../media/image856.png"/><Relationship Id="rId4" Type="http://schemas.openxmlformats.org/officeDocument/2006/relationships/image" Target="../media/image855.png"/></Relationships>
</file>

<file path=ppt/slides/_rels/slide363.xml.rels><?xml version="1.0" encoding="UTF-8" standalone="yes"?>
<Relationships xmlns="http://schemas.openxmlformats.org/package/2006/relationships"><Relationship Id="rId8" Type="http://schemas.openxmlformats.org/officeDocument/2006/relationships/hyperlink" Target="http://www.rapidbbs.cn/" TargetMode="External"/><Relationship Id="rId3" Type="http://schemas.openxmlformats.org/officeDocument/2006/relationships/image" Target="../media/image859.png"/><Relationship Id="rId7" Type="http://schemas.openxmlformats.org/officeDocument/2006/relationships/image" Target="../media/image863.png"/><Relationship Id="rId2" Type="http://schemas.openxmlformats.org/officeDocument/2006/relationships/image" Target="../media/image858.png"/><Relationship Id="rId1" Type="http://schemas.openxmlformats.org/officeDocument/2006/relationships/slideLayout" Target="../slideLayouts/slideLayout12.xml"/><Relationship Id="rId6" Type="http://schemas.openxmlformats.org/officeDocument/2006/relationships/image" Target="../media/image862.png"/><Relationship Id="rId5" Type="http://schemas.openxmlformats.org/officeDocument/2006/relationships/image" Target="../media/image861.png"/><Relationship Id="rId4" Type="http://schemas.openxmlformats.org/officeDocument/2006/relationships/image" Target="../media/image860.png"/><Relationship Id="rId9" Type="http://schemas.openxmlformats.org/officeDocument/2006/relationships/image" Target="../media/image47.emf"/></Relationships>
</file>

<file path=ppt/slides/_rels/slide364.xml.rels><?xml version="1.0" encoding="UTF-8" standalone="yes"?>
<Relationships xmlns="http://schemas.openxmlformats.org/package/2006/relationships"><Relationship Id="rId8" Type="http://schemas.openxmlformats.org/officeDocument/2006/relationships/image" Target="../media/image859.png"/><Relationship Id="rId3" Type="http://schemas.openxmlformats.org/officeDocument/2006/relationships/image" Target="../media/image862.png"/><Relationship Id="rId7" Type="http://schemas.openxmlformats.org/officeDocument/2006/relationships/image" Target="../media/image858.png"/><Relationship Id="rId2" Type="http://schemas.openxmlformats.org/officeDocument/2006/relationships/image" Target="../media/image861.png"/><Relationship Id="rId1" Type="http://schemas.openxmlformats.org/officeDocument/2006/relationships/slideLayout" Target="../slideLayouts/slideLayout12.xml"/><Relationship Id="rId6" Type="http://schemas.openxmlformats.org/officeDocument/2006/relationships/image" Target="../media/image864.png"/><Relationship Id="rId11" Type="http://schemas.openxmlformats.org/officeDocument/2006/relationships/image" Target="../media/image47.emf"/><Relationship Id="rId5" Type="http://schemas.openxmlformats.org/officeDocument/2006/relationships/image" Target="../media/image860.png"/><Relationship Id="rId10" Type="http://schemas.openxmlformats.org/officeDocument/2006/relationships/hyperlink" Target="http://www.rapidbbs.cn/" TargetMode="External"/><Relationship Id="rId4" Type="http://schemas.openxmlformats.org/officeDocument/2006/relationships/image" Target="../media/image863.png"/><Relationship Id="rId9" Type="http://schemas.openxmlformats.org/officeDocument/2006/relationships/image" Target="../media/image865.png"/></Relationships>
</file>

<file path=ppt/slides/_rels/slide365.xml.rels><?xml version="1.0" encoding="UTF-8" standalone="yes"?>
<Relationships xmlns="http://schemas.openxmlformats.org/package/2006/relationships"><Relationship Id="rId8" Type="http://schemas.openxmlformats.org/officeDocument/2006/relationships/image" Target="../media/image872.png"/><Relationship Id="rId13" Type="http://schemas.openxmlformats.org/officeDocument/2006/relationships/image" Target="../media/image862.png"/><Relationship Id="rId18" Type="http://schemas.openxmlformats.org/officeDocument/2006/relationships/image" Target="../media/image861.png"/><Relationship Id="rId26" Type="http://schemas.openxmlformats.org/officeDocument/2006/relationships/hyperlink" Target="http://www.rapidbbs.cn/" TargetMode="External"/><Relationship Id="rId3" Type="http://schemas.openxmlformats.org/officeDocument/2006/relationships/image" Target="../media/image867.png"/><Relationship Id="rId21" Type="http://schemas.openxmlformats.org/officeDocument/2006/relationships/image" Target="../media/image879.png"/><Relationship Id="rId7" Type="http://schemas.openxmlformats.org/officeDocument/2006/relationships/image" Target="../media/image871.png"/><Relationship Id="rId12" Type="http://schemas.openxmlformats.org/officeDocument/2006/relationships/image" Target="../media/image860.png"/><Relationship Id="rId17" Type="http://schemas.openxmlformats.org/officeDocument/2006/relationships/image" Target="../media/image877.png"/><Relationship Id="rId25" Type="http://schemas.openxmlformats.org/officeDocument/2006/relationships/image" Target="../media/image865.png"/><Relationship Id="rId2" Type="http://schemas.openxmlformats.org/officeDocument/2006/relationships/image" Target="../media/image866.png"/><Relationship Id="rId16" Type="http://schemas.openxmlformats.org/officeDocument/2006/relationships/image" Target="../media/image876.png"/><Relationship Id="rId20" Type="http://schemas.openxmlformats.org/officeDocument/2006/relationships/image" Target="../media/image878.png"/><Relationship Id="rId1" Type="http://schemas.openxmlformats.org/officeDocument/2006/relationships/slideLayout" Target="../slideLayouts/slideLayout12.xml"/><Relationship Id="rId6" Type="http://schemas.openxmlformats.org/officeDocument/2006/relationships/image" Target="../media/image870.png"/><Relationship Id="rId11" Type="http://schemas.openxmlformats.org/officeDocument/2006/relationships/image" Target="../media/image772.png"/><Relationship Id="rId24" Type="http://schemas.openxmlformats.org/officeDocument/2006/relationships/image" Target="../media/image880.png"/><Relationship Id="rId5" Type="http://schemas.openxmlformats.org/officeDocument/2006/relationships/image" Target="../media/image869.png"/><Relationship Id="rId15" Type="http://schemas.openxmlformats.org/officeDocument/2006/relationships/image" Target="../media/image875.png"/><Relationship Id="rId23" Type="http://schemas.openxmlformats.org/officeDocument/2006/relationships/image" Target="../media/image859.png"/><Relationship Id="rId10" Type="http://schemas.openxmlformats.org/officeDocument/2006/relationships/image" Target="../media/image874.png"/><Relationship Id="rId19" Type="http://schemas.openxmlformats.org/officeDocument/2006/relationships/image" Target="../media/image864.png"/><Relationship Id="rId4" Type="http://schemas.openxmlformats.org/officeDocument/2006/relationships/image" Target="../media/image868.png"/><Relationship Id="rId9" Type="http://schemas.openxmlformats.org/officeDocument/2006/relationships/image" Target="../media/image873.png"/><Relationship Id="rId14" Type="http://schemas.openxmlformats.org/officeDocument/2006/relationships/image" Target="../media/image863.png"/><Relationship Id="rId22" Type="http://schemas.openxmlformats.org/officeDocument/2006/relationships/image" Target="../media/image858.png"/><Relationship Id="rId27" Type="http://schemas.openxmlformats.org/officeDocument/2006/relationships/image" Target="../media/image47.emf"/></Relationships>
</file>

<file path=ppt/slides/_rels/slide366.xml.rels><?xml version="1.0" encoding="UTF-8" standalone="yes"?>
<Relationships xmlns="http://schemas.openxmlformats.org/package/2006/relationships"><Relationship Id="rId3" Type="http://schemas.openxmlformats.org/officeDocument/2006/relationships/image" Target="../media/image215.png"/><Relationship Id="rId2" Type="http://schemas.openxmlformats.org/officeDocument/2006/relationships/image" Target="../media/image187.png"/><Relationship Id="rId1" Type="http://schemas.openxmlformats.org/officeDocument/2006/relationships/slideLayout" Target="../slideLayouts/slideLayout12.xml"/><Relationship Id="rId5" Type="http://schemas.openxmlformats.org/officeDocument/2006/relationships/image" Target="../media/image47.emf"/><Relationship Id="rId4" Type="http://schemas.openxmlformats.org/officeDocument/2006/relationships/hyperlink" Target="http://www.rapidbbs.cn/" TargetMode="External"/></Relationships>
</file>

<file path=ppt/slides/_rels/slide367.xml.rels><?xml version="1.0" encoding="UTF-8" standalone="yes"?>
<Relationships xmlns="http://schemas.openxmlformats.org/package/2006/relationships"><Relationship Id="rId3" Type="http://schemas.openxmlformats.org/officeDocument/2006/relationships/image" Target="../media/image228.png"/><Relationship Id="rId2" Type="http://schemas.openxmlformats.org/officeDocument/2006/relationships/notesSlide" Target="../notesSlides/notesSlide246.xml"/><Relationship Id="rId1" Type="http://schemas.openxmlformats.org/officeDocument/2006/relationships/slideLayout" Target="../slideLayouts/slideLayout12.xml"/><Relationship Id="rId5" Type="http://schemas.openxmlformats.org/officeDocument/2006/relationships/image" Target="../media/image47.emf"/><Relationship Id="rId4" Type="http://schemas.openxmlformats.org/officeDocument/2006/relationships/hyperlink" Target="http://www.rapidbbs.cn/" TargetMode="External"/></Relationships>
</file>

<file path=ppt/slides/_rels/slide368.xml.rels><?xml version="1.0" encoding="UTF-8" standalone="yes"?>
<Relationships xmlns="http://schemas.openxmlformats.org/package/2006/relationships"><Relationship Id="rId3" Type="http://schemas.openxmlformats.org/officeDocument/2006/relationships/image" Target="../media/image881.png"/><Relationship Id="rId2" Type="http://schemas.openxmlformats.org/officeDocument/2006/relationships/notesSlide" Target="../notesSlides/notesSlide247.xml"/><Relationship Id="rId1" Type="http://schemas.openxmlformats.org/officeDocument/2006/relationships/slideLayout" Target="../slideLayouts/slideLayout12.xml"/><Relationship Id="rId5" Type="http://schemas.openxmlformats.org/officeDocument/2006/relationships/image" Target="../media/image47.emf"/><Relationship Id="rId4" Type="http://schemas.openxmlformats.org/officeDocument/2006/relationships/hyperlink" Target="http://www.rapidbbs.cn/" TargetMode="External"/></Relationships>
</file>

<file path=ppt/slides/_rels/slide369.xml.rels><?xml version="1.0" encoding="UTF-8" standalone="yes"?>
<Relationships xmlns="http://schemas.openxmlformats.org/package/2006/relationships"><Relationship Id="rId3" Type="http://schemas.openxmlformats.org/officeDocument/2006/relationships/image" Target="../media/image882.png"/><Relationship Id="rId2" Type="http://schemas.openxmlformats.org/officeDocument/2006/relationships/notesSlide" Target="../notesSlides/notesSlide248.xml"/><Relationship Id="rId1" Type="http://schemas.openxmlformats.org/officeDocument/2006/relationships/slideLayout" Target="../slideLayouts/slideLayout12.xml"/><Relationship Id="rId5" Type="http://schemas.openxmlformats.org/officeDocument/2006/relationships/image" Target="../media/image47.emf"/><Relationship Id="rId4" Type="http://schemas.openxmlformats.org/officeDocument/2006/relationships/hyperlink" Target="http://www.rapidbbs.cn/" TargetMode="External"/></Relationships>
</file>

<file path=ppt/slides/_rels/slide37.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notesSlide" Target="../notesSlides/notesSlide29.xml"/><Relationship Id="rId1" Type="http://schemas.openxmlformats.org/officeDocument/2006/relationships/slideLayout" Target="../slideLayouts/slideLayout12.xml"/><Relationship Id="rId4" Type="http://schemas.openxmlformats.org/officeDocument/2006/relationships/image" Target="../media/image47.emf"/></Relationships>
</file>

<file path=ppt/slides/_rels/slide370.xml.rels><?xml version="1.0" encoding="UTF-8" standalone="yes"?>
<Relationships xmlns="http://schemas.openxmlformats.org/package/2006/relationships"><Relationship Id="rId3" Type="http://schemas.openxmlformats.org/officeDocument/2006/relationships/image" Target="../media/image883.png"/><Relationship Id="rId7" Type="http://schemas.openxmlformats.org/officeDocument/2006/relationships/image" Target="../media/image47.emf"/><Relationship Id="rId2" Type="http://schemas.openxmlformats.org/officeDocument/2006/relationships/notesSlide" Target="../notesSlides/notesSlide249.xml"/><Relationship Id="rId1" Type="http://schemas.openxmlformats.org/officeDocument/2006/relationships/slideLayout" Target="../slideLayouts/slideLayout12.xml"/><Relationship Id="rId6" Type="http://schemas.openxmlformats.org/officeDocument/2006/relationships/hyperlink" Target="http://www.rapidbbs.cn/" TargetMode="External"/><Relationship Id="rId5" Type="http://schemas.openxmlformats.org/officeDocument/2006/relationships/image" Target="../media/image885.png"/><Relationship Id="rId4" Type="http://schemas.openxmlformats.org/officeDocument/2006/relationships/image" Target="../media/image884.png"/></Relationships>
</file>

<file path=ppt/slides/_rels/slide371.xml.rels><?xml version="1.0" encoding="UTF-8" standalone="yes"?>
<Relationships xmlns="http://schemas.openxmlformats.org/package/2006/relationships"><Relationship Id="rId3" Type="http://schemas.openxmlformats.org/officeDocument/2006/relationships/image" Target="../media/image883.png"/><Relationship Id="rId7" Type="http://schemas.openxmlformats.org/officeDocument/2006/relationships/image" Target="../media/image47.emf"/><Relationship Id="rId2" Type="http://schemas.openxmlformats.org/officeDocument/2006/relationships/notesSlide" Target="../notesSlides/notesSlide250.xml"/><Relationship Id="rId1" Type="http://schemas.openxmlformats.org/officeDocument/2006/relationships/slideLayout" Target="../slideLayouts/slideLayout12.xml"/><Relationship Id="rId6" Type="http://schemas.openxmlformats.org/officeDocument/2006/relationships/hyperlink" Target="http://www.rapidbbs.cn/" TargetMode="External"/><Relationship Id="rId5" Type="http://schemas.openxmlformats.org/officeDocument/2006/relationships/image" Target="../media/image885.png"/><Relationship Id="rId4" Type="http://schemas.openxmlformats.org/officeDocument/2006/relationships/image" Target="../media/image884.png"/></Relationships>
</file>

<file path=ppt/slides/_rels/slide372.xml.rels><?xml version="1.0" encoding="UTF-8" standalone="yes"?>
<Relationships xmlns="http://schemas.openxmlformats.org/package/2006/relationships"><Relationship Id="rId8" Type="http://schemas.openxmlformats.org/officeDocument/2006/relationships/image" Target="../media/image891.png"/><Relationship Id="rId3" Type="http://schemas.openxmlformats.org/officeDocument/2006/relationships/image" Target="../media/image886.png"/><Relationship Id="rId7" Type="http://schemas.openxmlformats.org/officeDocument/2006/relationships/image" Target="../media/image890.png"/><Relationship Id="rId2" Type="http://schemas.openxmlformats.org/officeDocument/2006/relationships/notesSlide" Target="../notesSlides/notesSlide251.xml"/><Relationship Id="rId1" Type="http://schemas.openxmlformats.org/officeDocument/2006/relationships/slideLayout" Target="../slideLayouts/slideLayout12.xml"/><Relationship Id="rId6" Type="http://schemas.openxmlformats.org/officeDocument/2006/relationships/image" Target="../media/image889.png"/><Relationship Id="rId5" Type="http://schemas.openxmlformats.org/officeDocument/2006/relationships/image" Target="../media/image888.png"/><Relationship Id="rId10" Type="http://schemas.openxmlformats.org/officeDocument/2006/relationships/image" Target="../media/image47.emf"/><Relationship Id="rId4" Type="http://schemas.openxmlformats.org/officeDocument/2006/relationships/image" Target="../media/image887.png"/><Relationship Id="rId9" Type="http://schemas.openxmlformats.org/officeDocument/2006/relationships/hyperlink" Target="http://www.rapidbbs.cn/" TargetMode="External"/></Relationships>
</file>

<file path=ppt/slides/_rels/slide373.xml.rels><?xml version="1.0" encoding="UTF-8" standalone="yes"?>
<Relationships xmlns="http://schemas.openxmlformats.org/package/2006/relationships"><Relationship Id="rId8" Type="http://schemas.openxmlformats.org/officeDocument/2006/relationships/image" Target="../media/image898.jpeg"/><Relationship Id="rId13" Type="http://schemas.openxmlformats.org/officeDocument/2006/relationships/image" Target="../media/image903.png"/><Relationship Id="rId18" Type="http://schemas.openxmlformats.org/officeDocument/2006/relationships/image" Target="../media/image47.emf"/><Relationship Id="rId3" Type="http://schemas.openxmlformats.org/officeDocument/2006/relationships/image" Target="../media/image893.png"/><Relationship Id="rId7" Type="http://schemas.openxmlformats.org/officeDocument/2006/relationships/image" Target="../media/image897.jpeg"/><Relationship Id="rId12" Type="http://schemas.openxmlformats.org/officeDocument/2006/relationships/image" Target="../media/image902.png"/><Relationship Id="rId17" Type="http://schemas.openxmlformats.org/officeDocument/2006/relationships/hyperlink" Target="http://www.rapidbbs.cn/" TargetMode="External"/><Relationship Id="rId2" Type="http://schemas.openxmlformats.org/officeDocument/2006/relationships/image" Target="../media/image892.gif"/><Relationship Id="rId16" Type="http://schemas.openxmlformats.org/officeDocument/2006/relationships/image" Target="../media/image906.jpeg"/><Relationship Id="rId1" Type="http://schemas.openxmlformats.org/officeDocument/2006/relationships/slideLayout" Target="../slideLayouts/slideLayout9.xml"/><Relationship Id="rId6" Type="http://schemas.openxmlformats.org/officeDocument/2006/relationships/image" Target="../media/image896.png"/><Relationship Id="rId11" Type="http://schemas.openxmlformats.org/officeDocument/2006/relationships/image" Target="../media/image901.jpeg"/><Relationship Id="rId5" Type="http://schemas.openxmlformats.org/officeDocument/2006/relationships/image" Target="../media/image895.png"/><Relationship Id="rId15" Type="http://schemas.openxmlformats.org/officeDocument/2006/relationships/image" Target="../media/image905.png"/><Relationship Id="rId10" Type="http://schemas.openxmlformats.org/officeDocument/2006/relationships/image" Target="../media/image900.jpeg"/><Relationship Id="rId4" Type="http://schemas.openxmlformats.org/officeDocument/2006/relationships/image" Target="../media/image894.gif"/><Relationship Id="rId9" Type="http://schemas.openxmlformats.org/officeDocument/2006/relationships/image" Target="../media/image899.png"/><Relationship Id="rId14" Type="http://schemas.openxmlformats.org/officeDocument/2006/relationships/image" Target="../media/image904.png"/></Relationships>
</file>

<file path=ppt/slides/_rels/slide374.xml.rels><?xml version="1.0" encoding="UTF-8" standalone="yes"?>
<Relationships xmlns="http://schemas.openxmlformats.org/package/2006/relationships"><Relationship Id="rId3" Type="http://schemas.openxmlformats.org/officeDocument/2006/relationships/image" Target="../media/image907.png"/><Relationship Id="rId2" Type="http://schemas.openxmlformats.org/officeDocument/2006/relationships/notesSlide" Target="../notesSlides/notesSlide252.xml"/><Relationship Id="rId1" Type="http://schemas.openxmlformats.org/officeDocument/2006/relationships/slideLayout" Target="../slideLayouts/slideLayout12.xml"/><Relationship Id="rId6" Type="http://schemas.openxmlformats.org/officeDocument/2006/relationships/image" Target="../media/image47.emf"/><Relationship Id="rId5" Type="http://schemas.openxmlformats.org/officeDocument/2006/relationships/hyperlink" Target="http://www.rapidbbs.cn/" TargetMode="External"/><Relationship Id="rId4" Type="http://schemas.openxmlformats.org/officeDocument/2006/relationships/image" Target="../media/image118.png"/></Relationships>
</file>

<file path=ppt/slides/_rels/slide375.xml.rels><?xml version="1.0" encoding="UTF-8" standalone="yes"?>
<Relationships xmlns="http://schemas.openxmlformats.org/package/2006/relationships"><Relationship Id="rId8" Type="http://schemas.openxmlformats.org/officeDocument/2006/relationships/image" Target="../media/image913.png"/><Relationship Id="rId13" Type="http://schemas.openxmlformats.org/officeDocument/2006/relationships/image" Target="../media/image917.png"/><Relationship Id="rId3" Type="http://schemas.openxmlformats.org/officeDocument/2006/relationships/image" Target="../media/image908.png"/><Relationship Id="rId7" Type="http://schemas.openxmlformats.org/officeDocument/2006/relationships/image" Target="../media/image912.png"/><Relationship Id="rId12" Type="http://schemas.openxmlformats.org/officeDocument/2006/relationships/image" Target="../media/image357.png"/><Relationship Id="rId2" Type="http://schemas.openxmlformats.org/officeDocument/2006/relationships/notesSlide" Target="../notesSlides/notesSlide253.xml"/><Relationship Id="rId1" Type="http://schemas.openxmlformats.org/officeDocument/2006/relationships/slideLayout" Target="../slideLayouts/slideLayout9.xml"/><Relationship Id="rId6" Type="http://schemas.openxmlformats.org/officeDocument/2006/relationships/image" Target="../media/image911.png"/><Relationship Id="rId11" Type="http://schemas.openxmlformats.org/officeDocument/2006/relationships/image" Target="../media/image916.png"/><Relationship Id="rId5" Type="http://schemas.openxmlformats.org/officeDocument/2006/relationships/image" Target="../media/image910.png"/><Relationship Id="rId15" Type="http://schemas.openxmlformats.org/officeDocument/2006/relationships/image" Target="../media/image47.emf"/><Relationship Id="rId10" Type="http://schemas.openxmlformats.org/officeDocument/2006/relationships/image" Target="../media/image915.png"/><Relationship Id="rId4" Type="http://schemas.openxmlformats.org/officeDocument/2006/relationships/image" Target="../media/image909.png"/><Relationship Id="rId9" Type="http://schemas.openxmlformats.org/officeDocument/2006/relationships/image" Target="../media/image914.png"/><Relationship Id="rId14" Type="http://schemas.openxmlformats.org/officeDocument/2006/relationships/hyperlink" Target="http://www.rapidbbs.cn/" TargetMode="External"/></Relationships>
</file>

<file path=ppt/slides/_rels/slide376.xml.rels><?xml version="1.0" encoding="UTF-8" standalone="yes"?>
<Relationships xmlns="http://schemas.openxmlformats.org/package/2006/relationships"><Relationship Id="rId8" Type="http://schemas.openxmlformats.org/officeDocument/2006/relationships/hyperlink" Target="http://www.rapidbbs.cn/" TargetMode="External"/><Relationship Id="rId3" Type="http://schemas.openxmlformats.org/officeDocument/2006/relationships/image" Target="../media/image317.png"/><Relationship Id="rId7" Type="http://schemas.openxmlformats.org/officeDocument/2006/relationships/image" Target="../media/image223.png"/><Relationship Id="rId2" Type="http://schemas.openxmlformats.org/officeDocument/2006/relationships/notesSlide" Target="../notesSlides/notesSlide254.xml"/><Relationship Id="rId1" Type="http://schemas.openxmlformats.org/officeDocument/2006/relationships/slideLayout" Target="../slideLayouts/slideLayout12.xml"/><Relationship Id="rId6" Type="http://schemas.openxmlformats.org/officeDocument/2006/relationships/image" Target="../media/image326.png"/><Relationship Id="rId5" Type="http://schemas.openxmlformats.org/officeDocument/2006/relationships/image" Target="../media/image122.png"/><Relationship Id="rId4" Type="http://schemas.openxmlformats.org/officeDocument/2006/relationships/image" Target="../media/image136.png"/><Relationship Id="rId9" Type="http://schemas.openxmlformats.org/officeDocument/2006/relationships/image" Target="../media/image47.emf"/></Relationships>
</file>

<file path=ppt/slides/_rels/slide377.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notesSlide" Target="../notesSlides/notesSlide255.xml"/><Relationship Id="rId1" Type="http://schemas.openxmlformats.org/officeDocument/2006/relationships/slideLayout" Target="../slideLayouts/slideLayout32.xml"/><Relationship Id="rId4" Type="http://schemas.openxmlformats.org/officeDocument/2006/relationships/image" Target="../media/image47.emf"/></Relationships>
</file>

<file path=ppt/slides/_rels/slide378.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256.xml"/><Relationship Id="rId1" Type="http://schemas.openxmlformats.org/officeDocument/2006/relationships/slideLayout" Target="../slideLayouts/slideLayout13.xml"/><Relationship Id="rId6" Type="http://schemas.openxmlformats.org/officeDocument/2006/relationships/image" Target="../media/image47.emf"/><Relationship Id="rId5" Type="http://schemas.openxmlformats.org/officeDocument/2006/relationships/hyperlink" Target="http://www.rapidbbs.cn/" TargetMode="External"/><Relationship Id="rId4" Type="http://schemas.openxmlformats.org/officeDocument/2006/relationships/image" Target="../media/image18.jpeg"/></Relationships>
</file>

<file path=ppt/slides/_rels/slide379.xml.rels><?xml version="1.0" encoding="UTF-8" standalone="yes"?>
<Relationships xmlns="http://schemas.openxmlformats.org/package/2006/relationships"><Relationship Id="rId3" Type="http://schemas.openxmlformats.org/officeDocument/2006/relationships/image" Target="../media/image919.emf"/><Relationship Id="rId7" Type="http://schemas.openxmlformats.org/officeDocument/2006/relationships/image" Target="../media/image47.emf"/><Relationship Id="rId2" Type="http://schemas.openxmlformats.org/officeDocument/2006/relationships/image" Target="../media/image918.emf"/><Relationship Id="rId1" Type="http://schemas.openxmlformats.org/officeDocument/2006/relationships/slideLayout" Target="../slideLayouts/slideLayout33.xml"/><Relationship Id="rId6" Type="http://schemas.openxmlformats.org/officeDocument/2006/relationships/hyperlink" Target="http://www.rapidbbs.cn/" TargetMode="External"/><Relationship Id="rId5" Type="http://schemas.openxmlformats.org/officeDocument/2006/relationships/image" Target="../media/image921.emf"/><Relationship Id="rId4" Type="http://schemas.openxmlformats.org/officeDocument/2006/relationships/image" Target="../media/image920.emf"/></Relationships>
</file>

<file path=ppt/slides/_rels/slide38.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notesSlide" Target="../notesSlides/notesSlide30.xml"/><Relationship Id="rId1" Type="http://schemas.openxmlformats.org/officeDocument/2006/relationships/slideLayout" Target="../slideLayouts/slideLayout19.xml"/></Relationships>
</file>

<file path=ppt/slides/_rels/slide380.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tags" Target="../tags/tag393.xml"/><Relationship Id="rId1" Type="http://schemas.openxmlformats.org/officeDocument/2006/relationships/tags" Target="../tags/tag392.xml"/><Relationship Id="rId6" Type="http://schemas.openxmlformats.org/officeDocument/2006/relationships/image" Target="../media/image47.emf"/><Relationship Id="rId5" Type="http://schemas.openxmlformats.org/officeDocument/2006/relationships/hyperlink" Target="http://www.rapidbbs.cn/" TargetMode="External"/><Relationship Id="rId4" Type="http://schemas.openxmlformats.org/officeDocument/2006/relationships/image" Target="../media/image1.png"/></Relationships>
</file>

<file path=ppt/slides/_rels/slide381.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hyperlink" Target="http://www.rapidbbs.cn/" TargetMode="External"/><Relationship Id="rId1" Type="http://schemas.openxmlformats.org/officeDocument/2006/relationships/slideLayout" Target="../slideLayouts/slideLayout9.xml"/></Relationships>
</file>

<file path=ppt/slides/_rels/slide382.xml.rels><?xml version="1.0" encoding="UTF-8" standalone="yes"?>
<Relationships xmlns="http://schemas.openxmlformats.org/package/2006/relationships"><Relationship Id="rId8" Type="http://schemas.openxmlformats.org/officeDocument/2006/relationships/tags" Target="../tags/tag400.xml"/><Relationship Id="rId13" Type="http://schemas.openxmlformats.org/officeDocument/2006/relationships/tags" Target="../tags/tag405.xml"/><Relationship Id="rId18" Type="http://schemas.openxmlformats.org/officeDocument/2006/relationships/tags" Target="../tags/tag410.xml"/><Relationship Id="rId26" Type="http://schemas.openxmlformats.org/officeDocument/2006/relationships/image" Target="../media/image922.png"/><Relationship Id="rId3" Type="http://schemas.openxmlformats.org/officeDocument/2006/relationships/tags" Target="../tags/tag395.xml"/><Relationship Id="rId21" Type="http://schemas.openxmlformats.org/officeDocument/2006/relationships/tags" Target="../tags/tag413.xml"/><Relationship Id="rId7" Type="http://schemas.openxmlformats.org/officeDocument/2006/relationships/tags" Target="../tags/tag399.xml"/><Relationship Id="rId12" Type="http://schemas.openxmlformats.org/officeDocument/2006/relationships/tags" Target="../tags/tag404.xml"/><Relationship Id="rId17" Type="http://schemas.openxmlformats.org/officeDocument/2006/relationships/tags" Target="../tags/tag409.xml"/><Relationship Id="rId25" Type="http://schemas.openxmlformats.org/officeDocument/2006/relationships/image" Target="../media/image19.emf"/><Relationship Id="rId2" Type="http://schemas.openxmlformats.org/officeDocument/2006/relationships/tags" Target="../tags/tag394.xml"/><Relationship Id="rId16" Type="http://schemas.openxmlformats.org/officeDocument/2006/relationships/tags" Target="../tags/tag408.xml"/><Relationship Id="rId20" Type="http://schemas.openxmlformats.org/officeDocument/2006/relationships/tags" Target="../tags/tag412.xml"/><Relationship Id="rId29" Type="http://schemas.microsoft.com/office/2007/relationships/hdphoto" Target="../media/hdphoto112.wdp"/><Relationship Id="rId1" Type="http://schemas.openxmlformats.org/officeDocument/2006/relationships/vmlDrawing" Target="../drawings/vmlDrawing16.vml"/><Relationship Id="rId6" Type="http://schemas.openxmlformats.org/officeDocument/2006/relationships/tags" Target="../tags/tag398.xml"/><Relationship Id="rId11" Type="http://schemas.openxmlformats.org/officeDocument/2006/relationships/tags" Target="../tags/tag403.xml"/><Relationship Id="rId24" Type="http://schemas.openxmlformats.org/officeDocument/2006/relationships/oleObject" Target="../embeddings/oleObject16.bin"/><Relationship Id="rId32" Type="http://schemas.openxmlformats.org/officeDocument/2006/relationships/image" Target="../media/image47.emf"/><Relationship Id="rId5" Type="http://schemas.openxmlformats.org/officeDocument/2006/relationships/tags" Target="../tags/tag397.xml"/><Relationship Id="rId15" Type="http://schemas.openxmlformats.org/officeDocument/2006/relationships/tags" Target="../tags/tag407.xml"/><Relationship Id="rId23" Type="http://schemas.openxmlformats.org/officeDocument/2006/relationships/notesSlide" Target="../notesSlides/notesSlide257.xml"/><Relationship Id="rId28" Type="http://schemas.openxmlformats.org/officeDocument/2006/relationships/image" Target="../media/image923.png"/><Relationship Id="rId10" Type="http://schemas.openxmlformats.org/officeDocument/2006/relationships/tags" Target="../tags/tag402.xml"/><Relationship Id="rId19" Type="http://schemas.openxmlformats.org/officeDocument/2006/relationships/tags" Target="../tags/tag411.xml"/><Relationship Id="rId31" Type="http://schemas.openxmlformats.org/officeDocument/2006/relationships/hyperlink" Target="http://www.rapidbbs.cn/" TargetMode="External"/><Relationship Id="rId4" Type="http://schemas.openxmlformats.org/officeDocument/2006/relationships/tags" Target="../tags/tag396.xml"/><Relationship Id="rId9" Type="http://schemas.openxmlformats.org/officeDocument/2006/relationships/tags" Target="../tags/tag401.xml"/><Relationship Id="rId14" Type="http://schemas.openxmlformats.org/officeDocument/2006/relationships/tags" Target="../tags/tag406.xml"/><Relationship Id="rId22" Type="http://schemas.openxmlformats.org/officeDocument/2006/relationships/slideLayout" Target="../slideLayouts/slideLayout12.xml"/><Relationship Id="rId27" Type="http://schemas.microsoft.com/office/2007/relationships/hdphoto" Target="../media/hdphoto111.wdp"/><Relationship Id="rId30" Type="http://schemas.openxmlformats.org/officeDocument/2006/relationships/image" Target="../media/image924.png"/></Relationships>
</file>

<file path=ppt/slides/_rels/slide383.xml.rels><?xml version="1.0" encoding="UTF-8" standalone="yes"?>
<Relationships xmlns="http://schemas.openxmlformats.org/package/2006/relationships"><Relationship Id="rId8" Type="http://schemas.openxmlformats.org/officeDocument/2006/relationships/notesSlide" Target="../notesSlides/notesSlide258.xml"/><Relationship Id="rId3" Type="http://schemas.openxmlformats.org/officeDocument/2006/relationships/tags" Target="../tags/tag415.xml"/><Relationship Id="rId7" Type="http://schemas.openxmlformats.org/officeDocument/2006/relationships/slideLayout" Target="../slideLayouts/slideLayout13.xml"/><Relationship Id="rId12" Type="http://schemas.openxmlformats.org/officeDocument/2006/relationships/image" Target="../media/image47.emf"/><Relationship Id="rId2" Type="http://schemas.openxmlformats.org/officeDocument/2006/relationships/tags" Target="../tags/tag414.xml"/><Relationship Id="rId1" Type="http://schemas.openxmlformats.org/officeDocument/2006/relationships/vmlDrawing" Target="../drawings/vmlDrawing17.vml"/><Relationship Id="rId6" Type="http://schemas.openxmlformats.org/officeDocument/2006/relationships/tags" Target="../tags/tag418.xml"/><Relationship Id="rId11" Type="http://schemas.openxmlformats.org/officeDocument/2006/relationships/hyperlink" Target="http://www.rapidbbs.cn/" TargetMode="External"/><Relationship Id="rId5" Type="http://schemas.openxmlformats.org/officeDocument/2006/relationships/tags" Target="../tags/tag417.xml"/><Relationship Id="rId10" Type="http://schemas.openxmlformats.org/officeDocument/2006/relationships/image" Target="../media/image19.emf"/><Relationship Id="rId4" Type="http://schemas.openxmlformats.org/officeDocument/2006/relationships/tags" Target="../tags/tag416.xml"/><Relationship Id="rId9" Type="http://schemas.openxmlformats.org/officeDocument/2006/relationships/oleObject" Target="../embeddings/oleObject17.bin"/></Relationships>
</file>

<file path=ppt/slides/_rels/slide384.xml.rels><?xml version="1.0" encoding="UTF-8" standalone="yes"?>
<Relationships xmlns="http://schemas.openxmlformats.org/package/2006/relationships"><Relationship Id="rId8" Type="http://schemas.openxmlformats.org/officeDocument/2006/relationships/notesSlide" Target="../notesSlides/notesSlide259.xml"/><Relationship Id="rId3" Type="http://schemas.openxmlformats.org/officeDocument/2006/relationships/tags" Target="../tags/tag420.xml"/><Relationship Id="rId7" Type="http://schemas.openxmlformats.org/officeDocument/2006/relationships/slideLayout" Target="../slideLayouts/slideLayout13.xml"/><Relationship Id="rId12" Type="http://schemas.openxmlformats.org/officeDocument/2006/relationships/image" Target="../media/image47.emf"/><Relationship Id="rId2" Type="http://schemas.openxmlformats.org/officeDocument/2006/relationships/tags" Target="../tags/tag419.xml"/><Relationship Id="rId1" Type="http://schemas.openxmlformats.org/officeDocument/2006/relationships/vmlDrawing" Target="../drawings/vmlDrawing18.vml"/><Relationship Id="rId6" Type="http://schemas.openxmlformats.org/officeDocument/2006/relationships/tags" Target="../tags/tag423.xml"/><Relationship Id="rId11" Type="http://schemas.openxmlformats.org/officeDocument/2006/relationships/hyperlink" Target="http://www.rapidbbs.cn/" TargetMode="External"/><Relationship Id="rId5" Type="http://schemas.openxmlformats.org/officeDocument/2006/relationships/tags" Target="../tags/tag422.xml"/><Relationship Id="rId10" Type="http://schemas.openxmlformats.org/officeDocument/2006/relationships/image" Target="../media/image19.emf"/><Relationship Id="rId4" Type="http://schemas.openxmlformats.org/officeDocument/2006/relationships/tags" Target="../tags/tag421.xml"/><Relationship Id="rId9" Type="http://schemas.openxmlformats.org/officeDocument/2006/relationships/oleObject" Target="../embeddings/oleObject18.bin"/></Relationships>
</file>

<file path=ppt/slides/_rels/slide385.xml.rels><?xml version="1.0" encoding="UTF-8" standalone="yes"?>
<Relationships xmlns="http://schemas.openxmlformats.org/package/2006/relationships"><Relationship Id="rId8" Type="http://schemas.openxmlformats.org/officeDocument/2006/relationships/tags" Target="../tags/tag430.xml"/><Relationship Id="rId13" Type="http://schemas.openxmlformats.org/officeDocument/2006/relationships/tags" Target="../tags/tag435.xml"/><Relationship Id="rId18" Type="http://schemas.openxmlformats.org/officeDocument/2006/relationships/image" Target="../media/image19.emf"/><Relationship Id="rId3" Type="http://schemas.openxmlformats.org/officeDocument/2006/relationships/tags" Target="../tags/tag425.xml"/><Relationship Id="rId7" Type="http://schemas.openxmlformats.org/officeDocument/2006/relationships/tags" Target="../tags/tag429.xml"/><Relationship Id="rId12" Type="http://schemas.openxmlformats.org/officeDocument/2006/relationships/tags" Target="../tags/tag434.xml"/><Relationship Id="rId17" Type="http://schemas.openxmlformats.org/officeDocument/2006/relationships/oleObject" Target="../embeddings/oleObject19.bin"/><Relationship Id="rId2" Type="http://schemas.openxmlformats.org/officeDocument/2006/relationships/tags" Target="../tags/tag424.xml"/><Relationship Id="rId16" Type="http://schemas.openxmlformats.org/officeDocument/2006/relationships/notesSlide" Target="../notesSlides/notesSlide260.xml"/><Relationship Id="rId20" Type="http://schemas.openxmlformats.org/officeDocument/2006/relationships/image" Target="../media/image47.emf"/><Relationship Id="rId1" Type="http://schemas.openxmlformats.org/officeDocument/2006/relationships/vmlDrawing" Target="../drawings/vmlDrawing19.vml"/><Relationship Id="rId6" Type="http://schemas.openxmlformats.org/officeDocument/2006/relationships/tags" Target="../tags/tag428.xml"/><Relationship Id="rId11" Type="http://schemas.openxmlformats.org/officeDocument/2006/relationships/tags" Target="../tags/tag433.xml"/><Relationship Id="rId5" Type="http://schemas.openxmlformats.org/officeDocument/2006/relationships/tags" Target="../tags/tag427.xml"/><Relationship Id="rId15" Type="http://schemas.openxmlformats.org/officeDocument/2006/relationships/slideLayout" Target="../slideLayouts/slideLayout34.xml"/><Relationship Id="rId10" Type="http://schemas.openxmlformats.org/officeDocument/2006/relationships/tags" Target="../tags/tag432.xml"/><Relationship Id="rId19" Type="http://schemas.openxmlformats.org/officeDocument/2006/relationships/hyperlink" Target="http://www.rapidbbs.cn/" TargetMode="External"/><Relationship Id="rId4" Type="http://schemas.openxmlformats.org/officeDocument/2006/relationships/tags" Target="../tags/tag426.xml"/><Relationship Id="rId9" Type="http://schemas.openxmlformats.org/officeDocument/2006/relationships/tags" Target="../tags/tag431.xml"/><Relationship Id="rId14" Type="http://schemas.openxmlformats.org/officeDocument/2006/relationships/tags" Target="../tags/tag436.xml"/></Relationships>
</file>

<file path=ppt/slides/_rels/slide386.xml.rels><?xml version="1.0" encoding="UTF-8" standalone="yes"?>
<Relationships xmlns="http://schemas.openxmlformats.org/package/2006/relationships"><Relationship Id="rId8" Type="http://schemas.openxmlformats.org/officeDocument/2006/relationships/tags" Target="../tags/tag443.xml"/><Relationship Id="rId13" Type="http://schemas.openxmlformats.org/officeDocument/2006/relationships/tags" Target="../tags/tag448.xml"/><Relationship Id="rId18" Type="http://schemas.openxmlformats.org/officeDocument/2006/relationships/image" Target="../media/image19.emf"/><Relationship Id="rId3" Type="http://schemas.openxmlformats.org/officeDocument/2006/relationships/tags" Target="../tags/tag438.xml"/><Relationship Id="rId7" Type="http://schemas.openxmlformats.org/officeDocument/2006/relationships/tags" Target="../tags/tag442.xml"/><Relationship Id="rId12" Type="http://schemas.openxmlformats.org/officeDocument/2006/relationships/tags" Target="../tags/tag447.xml"/><Relationship Id="rId17" Type="http://schemas.openxmlformats.org/officeDocument/2006/relationships/oleObject" Target="../embeddings/oleObject20.bin"/><Relationship Id="rId2" Type="http://schemas.openxmlformats.org/officeDocument/2006/relationships/tags" Target="../tags/tag437.xml"/><Relationship Id="rId16" Type="http://schemas.openxmlformats.org/officeDocument/2006/relationships/notesSlide" Target="../notesSlides/notesSlide261.xml"/><Relationship Id="rId20" Type="http://schemas.openxmlformats.org/officeDocument/2006/relationships/image" Target="../media/image47.emf"/><Relationship Id="rId1" Type="http://schemas.openxmlformats.org/officeDocument/2006/relationships/vmlDrawing" Target="../drawings/vmlDrawing20.vml"/><Relationship Id="rId6" Type="http://schemas.openxmlformats.org/officeDocument/2006/relationships/tags" Target="../tags/tag441.xml"/><Relationship Id="rId11" Type="http://schemas.openxmlformats.org/officeDocument/2006/relationships/tags" Target="../tags/tag446.xml"/><Relationship Id="rId5" Type="http://schemas.openxmlformats.org/officeDocument/2006/relationships/tags" Target="../tags/tag440.xml"/><Relationship Id="rId15" Type="http://schemas.openxmlformats.org/officeDocument/2006/relationships/slideLayout" Target="../slideLayouts/slideLayout34.xml"/><Relationship Id="rId10" Type="http://schemas.openxmlformats.org/officeDocument/2006/relationships/tags" Target="../tags/tag445.xml"/><Relationship Id="rId19" Type="http://schemas.openxmlformats.org/officeDocument/2006/relationships/hyperlink" Target="http://www.rapidbbs.cn/" TargetMode="External"/><Relationship Id="rId4" Type="http://schemas.openxmlformats.org/officeDocument/2006/relationships/tags" Target="../tags/tag439.xml"/><Relationship Id="rId9" Type="http://schemas.openxmlformats.org/officeDocument/2006/relationships/tags" Target="../tags/tag444.xml"/><Relationship Id="rId14" Type="http://schemas.openxmlformats.org/officeDocument/2006/relationships/tags" Target="../tags/tag449.xml"/></Relationships>
</file>

<file path=ppt/slides/_rels/slide387.xml.rels><?xml version="1.0" encoding="UTF-8" standalone="yes"?>
<Relationships xmlns="http://schemas.openxmlformats.org/package/2006/relationships"><Relationship Id="rId8" Type="http://schemas.openxmlformats.org/officeDocument/2006/relationships/notesSlide" Target="../notesSlides/notesSlide262.xml"/><Relationship Id="rId3" Type="http://schemas.openxmlformats.org/officeDocument/2006/relationships/tags" Target="../tags/tag451.xml"/><Relationship Id="rId7" Type="http://schemas.openxmlformats.org/officeDocument/2006/relationships/slideLayout" Target="../slideLayouts/slideLayout13.xml"/><Relationship Id="rId12" Type="http://schemas.openxmlformats.org/officeDocument/2006/relationships/image" Target="../media/image47.emf"/><Relationship Id="rId2" Type="http://schemas.openxmlformats.org/officeDocument/2006/relationships/tags" Target="../tags/tag450.xml"/><Relationship Id="rId1" Type="http://schemas.openxmlformats.org/officeDocument/2006/relationships/vmlDrawing" Target="../drawings/vmlDrawing21.vml"/><Relationship Id="rId6" Type="http://schemas.openxmlformats.org/officeDocument/2006/relationships/tags" Target="../tags/tag454.xml"/><Relationship Id="rId11" Type="http://schemas.openxmlformats.org/officeDocument/2006/relationships/hyperlink" Target="http://www.rapidbbs.cn/" TargetMode="External"/><Relationship Id="rId5" Type="http://schemas.openxmlformats.org/officeDocument/2006/relationships/tags" Target="../tags/tag453.xml"/><Relationship Id="rId10" Type="http://schemas.openxmlformats.org/officeDocument/2006/relationships/image" Target="../media/image19.emf"/><Relationship Id="rId4" Type="http://schemas.openxmlformats.org/officeDocument/2006/relationships/tags" Target="../tags/tag452.xml"/><Relationship Id="rId9" Type="http://schemas.openxmlformats.org/officeDocument/2006/relationships/oleObject" Target="../embeddings/oleObject21.bin"/></Relationships>
</file>

<file path=ppt/slides/_rels/slide388.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image" Target="../media/image47.emf"/><Relationship Id="rId3" Type="http://schemas.openxmlformats.org/officeDocument/2006/relationships/tags" Target="../tags/tag456.xml"/><Relationship Id="rId7" Type="http://schemas.openxmlformats.org/officeDocument/2006/relationships/tags" Target="../tags/tag460.xml"/><Relationship Id="rId12" Type="http://schemas.openxmlformats.org/officeDocument/2006/relationships/hyperlink" Target="http://www.rapidbbs.cn/" TargetMode="External"/><Relationship Id="rId2" Type="http://schemas.openxmlformats.org/officeDocument/2006/relationships/tags" Target="../tags/tag455.xml"/><Relationship Id="rId1" Type="http://schemas.openxmlformats.org/officeDocument/2006/relationships/vmlDrawing" Target="../drawings/vmlDrawing22.vml"/><Relationship Id="rId6" Type="http://schemas.openxmlformats.org/officeDocument/2006/relationships/tags" Target="../tags/tag459.xml"/><Relationship Id="rId11" Type="http://schemas.openxmlformats.org/officeDocument/2006/relationships/image" Target="../media/image19.emf"/><Relationship Id="rId5" Type="http://schemas.openxmlformats.org/officeDocument/2006/relationships/tags" Target="../tags/tag458.xml"/><Relationship Id="rId10" Type="http://schemas.openxmlformats.org/officeDocument/2006/relationships/oleObject" Target="../embeddings/oleObject22.bin"/><Relationship Id="rId4" Type="http://schemas.openxmlformats.org/officeDocument/2006/relationships/tags" Target="../tags/tag457.xml"/><Relationship Id="rId9" Type="http://schemas.openxmlformats.org/officeDocument/2006/relationships/notesSlide" Target="../notesSlides/notesSlide263.xml"/></Relationships>
</file>

<file path=ppt/slides/_rels/slide389.xml.rels><?xml version="1.0" encoding="UTF-8" standalone="yes"?>
<Relationships xmlns="http://schemas.openxmlformats.org/package/2006/relationships"><Relationship Id="rId8" Type="http://schemas.openxmlformats.org/officeDocument/2006/relationships/notesSlide" Target="../notesSlides/notesSlide264.xml"/><Relationship Id="rId3" Type="http://schemas.openxmlformats.org/officeDocument/2006/relationships/tags" Target="../tags/tag462.xml"/><Relationship Id="rId7" Type="http://schemas.openxmlformats.org/officeDocument/2006/relationships/slideLayout" Target="../slideLayouts/slideLayout13.xml"/><Relationship Id="rId12" Type="http://schemas.openxmlformats.org/officeDocument/2006/relationships/image" Target="../media/image47.emf"/><Relationship Id="rId2" Type="http://schemas.openxmlformats.org/officeDocument/2006/relationships/tags" Target="../tags/tag461.xml"/><Relationship Id="rId1" Type="http://schemas.openxmlformats.org/officeDocument/2006/relationships/vmlDrawing" Target="../drawings/vmlDrawing23.vml"/><Relationship Id="rId6" Type="http://schemas.openxmlformats.org/officeDocument/2006/relationships/tags" Target="../tags/tag465.xml"/><Relationship Id="rId11" Type="http://schemas.openxmlformats.org/officeDocument/2006/relationships/hyperlink" Target="http://www.rapidbbs.cn/" TargetMode="External"/><Relationship Id="rId5" Type="http://schemas.openxmlformats.org/officeDocument/2006/relationships/tags" Target="../tags/tag464.xml"/><Relationship Id="rId10" Type="http://schemas.openxmlformats.org/officeDocument/2006/relationships/image" Target="../media/image19.emf"/><Relationship Id="rId4" Type="http://schemas.openxmlformats.org/officeDocument/2006/relationships/tags" Target="../tags/tag463.xml"/><Relationship Id="rId9" Type="http://schemas.openxmlformats.org/officeDocument/2006/relationships/oleObject" Target="../embeddings/oleObject23.bin"/></Relationships>
</file>

<file path=ppt/slides/_rels/slide39.xml.rels><?xml version="1.0" encoding="UTF-8" standalone="yes"?>
<Relationships xmlns="http://schemas.openxmlformats.org/package/2006/relationships"><Relationship Id="rId3" Type="http://schemas.openxmlformats.org/officeDocument/2006/relationships/image" Target="../media/image114.png"/><Relationship Id="rId7" Type="http://schemas.openxmlformats.org/officeDocument/2006/relationships/image" Target="../media/image47.emf"/><Relationship Id="rId2" Type="http://schemas.openxmlformats.org/officeDocument/2006/relationships/notesSlide" Target="../notesSlides/notesSlide31.xml"/><Relationship Id="rId1" Type="http://schemas.openxmlformats.org/officeDocument/2006/relationships/slideLayout" Target="../slideLayouts/slideLayout12.xml"/><Relationship Id="rId6" Type="http://schemas.openxmlformats.org/officeDocument/2006/relationships/hyperlink" Target="http://www.rapidbbs.cn/" TargetMode="External"/><Relationship Id="rId5" Type="http://schemas.openxmlformats.org/officeDocument/2006/relationships/image" Target="../media/image118.png"/><Relationship Id="rId4" Type="http://schemas.openxmlformats.org/officeDocument/2006/relationships/image" Target="../media/image108.png"/></Relationships>
</file>

<file path=ppt/slides/_rels/slide390.xml.rels><?xml version="1.0" encoding="UTF-8" standalone="yes"?>
<Relationships xmlns="http://schemas.openxmlformats.org/package/2006/relationships"><Relationship Id="rId8" Type="http://schemas.openxmlformats.org/officeDocument/2006/relationships/notesSlide" Target="../notesSlides/notesSlide265.xml"/><Relationship Id="rId3" Type="http://schemas.openxmlformats.org/officeDocument/2006/relationships/tags" Target="../tags/tag467.xml"/><Relationship Id="rId7" Type="http://schemas.openxmlformats.org/officeDocument/2006/relationships/slideLayout" Target="../slideLayouts/slideLayout13.xml"/><Relationship Id="rId12" Type="http://schemas.openxmlformats.org/officeDocument/2006/relationships/image" Target="../media/image47.emf"/><Relationship Id="rId2" Type="http://schemas.openxmlformats.org/officeDocument/2006/relationships/tags" Target="../tags/tag466.xml"/><Relationship Id="rId1" Type="http://schemas.openxmlformats.org/officeDocument/2006/relationships/vmlDrawing" Target="../drawings/vmlDrawing24.vml"/><Relationship Id="rId6" Type="http://schemas.openxmlformats.org/officeDocument/2006/relationships/tags" Target="../tags/tag470.xml"/><Relationship Id="rId11" Type="http://schemas.openxmlformats.org/officeDocument/2006/relationships/hyperlink" Target="http://www.rapidbbs.cn/" TargetMode="External"/><Relationship Id="rId5" Type="http://schemas.openxmlformats.org/officeDocument/2006/relationships/tags" Target="../tags/tag469.xml"/><Relationship Id="rId10" Type="http://schemas.openxmlformats.org/officeDocument/2006/relationships/image" Target="../media/image19.emf"/><Relationship Id="rId4" Type="http://schemas.openxmlformats.org/officeDocument/2006/relationships/tags" Target="../tags/tag468.xml"/><Relationship Id="rId9" Type="http://schemas.openxmlformats.org/officeDocument/2006/relationships/oleObject" Target="../embeddings/oleObject24.bin"/></Relationships>
</file>

<file path=ppt/slides/_rels/slide391.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hyperlink" Target="http://www.rapidbbs.cn/" TargetMode="External"/><Relationship Id="rId1" Type="http://schemas.openxmlformats.org/officeDocument/2006/relationships/slideLayout" Target="../slideLayouts/slideLayout9.xml"/></Relationships>
</file>

<file path=ppt/slides/_rels/slide392.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hyperlink" Target="http://www.rapidbbs.cn/" TargetMode="External"/><Relationship Id="rId1" Type="http://schemas.openxmlformats.org/officeDocument/2006/relationships/slideLayout" Target="../slideLayouts/slideLayout9.xml"/></Relationships>
</file>

<file path=ppt/slides/_rels/slide393.xml.rels><?xml version="1.0" encoding="UTF-8" standalone="yes"?>
<Relationships xmlns="http://schemas.openxmlformats.org/package/2006/relationships"><Relationship Id="rId8" Type="http://schemas.openxmlformats.org/officeDocument/2006/relationships/image" Target="../media/image925.png"/><Relationship Id="rId3" Type="http://schemas.microsoft.com/office/2007/relationships/hdphoto" Target="../media/hdphoto27.wdp"/><Relationship Id="rId7" Type="http://schemas.microsoft.com/office/2007/relationships/hdphoto" Target="../media/hdphoto26.wdp"/><Relationship Id="rId2" Type="http://schemas.openxmlformats.org/officeDocument/2006/relationships/image" Target="../media/image483.png"/><Relationship Id="rId1" Type="http://schemas.openxmlformats.org/officeDocument/2006/relationships/slideLayout" Target="../slideLayouts/slideLayout13.xml"/><Relationship Id="rId6" Type="http://schemas.openxmlformats.org/officeDocument/2006/relationships/image" Target="../media/image191.png"/><Relationship Id="rId11" Type="http://schemas.openxmlformats.org/officeDocument/2006/relationships/image" Target="../media/image47.emf"/><Relationship Id="rId5" Type="http://schemas.microsoft.com/office/2007/relationships/hdphoto" Target="../media/hdphoto28.wdp"/><Relationship Id="rId10" Type="http://schemas.openxmlformats.org/officeDocument/2006/relationships/hyperlink" Target="http://www.rapidbbs.cn/" TargetMode="External"/><Relationship Id="rId4" Type="http://schemas.openxmlformats.org/officeDocument/2006/relationships/image" Target="../media/image484.png"/><Relationship Id="rId9" Type="http://schemas.openxmlformats.org/officeDocument/2006/relationships/image" Target="../media/image926.png"/></Relationships>
</file>

<file path=ppt/slides/_rels/slide394.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hyperlink" Target="http://www.rapidbbs.cn/" TargetMode="External"/><Relationship Id="rId1" Type="http://schemas.openxmlformats.org/officeDocument/2006/relationships/slideLayout" Target="../slideLayouts/slideLayout13.xml"/></Relationships>
</file>

<file path=ppt/slides/_rels/slide395.xml.rels><?xml version="1.0" encoding="UTF-8" standalone="yes"?>
<Relationships xmlns="http://schemas.openxmlformats.org/package/2006/relationships"><Relationship Id="rId8" Type="http://schemas.openxmlformats.org/officeDocument/2006/relationships/image" Target="../media/image932.png"/><Relationship Id="rId3" Type="http://schemas.microsoft.com/office/2007/relationships/hdphoto" Target="../media/hdphoto113.wdp"/><Relationship Id="rId7" Type="http://schemas.openxmlformats.org/officeDocument/2006/relationships/image" Target="../media/image931.png"/><Relationship Id="rId2" Type="http://schemas.openxmlformats.org/officeDocument/2006/relationships/image" Target="../media/image927.png"/><Relationship Id="rId1" Type="http://schemas.openxmlformats.org/officeDocument/2006/relationships/slideLayout" Target="../slideLayouts/slideLayout12.xml"/><Relationship Id="rId6" Type="http://schemas.openxmlformats.org/officeDocument/2006/relationships/image" Target="../media/image930.png"/><Relationship Id="rId11" Type="http://schemas.openxmlformats.org/officeDocument/2006/relationships/image" Target="../media/image47.emf"/><Relationship Id="rId5" Type="http://schemas.openxmlformats.org/officeDocument/2006/relationships/image" Target="../media/image929.png"/><Relationship Id="rId10" Type="http://schemas.openxmlformats.org/officeDocument/2006/relationships/hyperlink" Target="http://www.rapidbbs.cn/" TargetMode="External"/><Relationship Id="rId4" Type="http://schemas.openxmlformats.org/officeDocument/2006/relationships/image" Target="../media/image928.png"/><Relationship Id="rId9" Type="http://schemas.openxmlformats.org/officeDocument/2006/relationships/image" Target="../media/image933.png"/></Relationships>
</file>

<file path=ppt/slides/_rels/slide396.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image" Target="../media/image934.png"/><Relationship Id="rId1" Type="http://schemas.openxmlformats.org/officeDocument/2006/relationships/slideLayout" Target="../slideLayouts/slideLayout12.xml"/><Relationship Id="rId4" Type="http://schemas.openxmlformats.org/officeDocument/2006/relationships/image" Target="../media/image47.emf"/></Relationships>
</file>

<file path=ppt/slides/_rels/slide397.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266.xml"/><Relationship Id="rId1" Type="http://schemas.openxmlformats.org/officeDocument/2006/relationships/slideLayout" Target="../slideLayouts/slideLayout8.xml"/><Relationship Id="rId6" Type="http://schemas.openxmlformats.org/officeDocument/2006/relationships/image" Target="../media/image47.emf"/><Relationship Id="rId5" Type="http://schemas.openxmlformats.org/officeDocument/2006/relationships/hyperlink" Target="http://www.rapidbbs.cn/" TargetMode="External"/><Relationship Id="rId4" Type="http://schemas.openxmlformats.org/officeDocument/2006/relationships/image" Target="../media/image1.png"/></Relationships>
</file>

<file path=ppt/slides/_rels/slide398.xml.rels><?xml version="1.0" encoding="UTF-8" standalone="yes"?>
<Relationships xmlns="http://schemas.openxmlformats.org/package/2006/relationships"><Relationship Id="rId8" Type="http://schemas.openxmlformats.org/officeDocument/2006/relationships/image" Target="../media/image47.emf"/><Relationship Id="rId3" Type="http://schemas.openxmlformats.org/officeDocument/2006/relationships/diagramLayout" Target="../diagrams/layout8.xml"/><Relationship Id="rId7" Type="http://schemas.openxmlformats.org/officeDocument/2006/relationships/hyperlink" Target="http://www.rapidbbs.cn/" TargetMode="External"/><Relationship Id="rId2" Type="http://schemas.openxmlformats.org/officeDocument/2006/relationships/diagramData" Target="../diagrams/data8.xml"/><Relationship Id="rId1" Type="http://schemas.openxmlformats.org/officeDocument/2006/relationships/slideLayout" Target="../slideLayouts/slideLayout8.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399.xml.rels><?xml version="1.0" encoding="UTF-8" standalone="yes"?>
<Relationships xmlns="http://schemas.openxmlformats.org/package/2006/relationships"><Relationship Id="rId3" Type="http://schemas.openxmlformats.org/officeDocument/2006/relationships/image" Target="../media/image935.jpeg"/><Relationship Id="rId2" Type="http://schemas.openxmlformats.org/officeDocument/2006/relationships/notesSlide" Target="../notesSlides/notesSlide267.xml"/><Relationship Id="rId1" Type="http://schemas.openxmlformats.org/officeDocument/2006/relationships/slideLayout" Target="../slideLayouts/slideLayout12.xml"/><Relationship Id="rId5" Type="http://schemas.openxmlformats.org/officeDocument/2006/relationships/image" Target="../media/image47.emf"/><Relationship Id="rId4" Type="http://schemas.openxmlformats.org/officeDocument/2006/relationships/hyperlink" Target="http://www.rapidbbs.cn/"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4.xml"/><Relationship Id="rId1" Type="http://schemas.openxmlformats.org/officeDocument/2006/relationships/slideLayout" Target="../slideLayouts/slideLayout10.xml"/><Relationship Id="rId6" Type="http://schemas.openxmlformats.org/officeDocument/2006/relationships/image" Target="../media/image47.emf"/><Relationship Id="rId5" Type="http://schemas.openxmlformats.org/officeDocument/2006/relationships/hyperlink" Target="http://www.rapidbbs.cn/" TargetMode="External"/><Relationship Id="rId4" Type="http://schemas.openxmlformats.org/officeDocument/2006/relationships/image" Target="../media/image1.png"/></Relationships>
</file>

<file path=ppt/slides/_rels/slide40.xml.rels><?xml version="1.0" encoding="UTF-8" standalone="yes"?>
<Relationships xmlns="http://schemas.openxmlformats.org/package/2006/relationships"><Relationship Id="rId3" Type="http://schemas.openxmlformats.org/officeDocument/2006/relationships/image" Target="../media/image114.png"/><Relationship Id="rId7" Type="http://schemas.openxmlformats.org/officeDocument/2006/relationships/image" Target="../media/image47.emf"/><Relationship Id="rId2" Type="http://schemas.openxmlformats.org/officeDocument/2006/relationships/notesSlide" Target="../notesSlides/notesSlide32.xml"/><Relationship Id="rId1" Type="http://schemas.openxmlformats.org/officeDocument/2006/relationships/slideLayout" Target="../slideLayouts/slideLayout12.xml"/><Relationship Id="rId6" Type="http://schemas.openxmlformats.org/officeDocument/2006/relationships/hyperlink" Target="http://www.rapidbbs.cn/" TargetMode="External"/><Relationship Id="rId5" Type="http://schemas.openxmlformats.org/officeDocument/2006/relationships/image" Target="../media/image118.png"/><Relationship Id="rId4" Type="http://schemas.openxmlformats.org/officeDocument/2006/relationships/image" Target="../media/image108.png"/></Relationships>
</file>

<file path=ppt/slides/_rels/slide400.xml.rels><?xml version="1.0" encoding="UTF-8" standalone="yes"?>
<Relationships xmlns="http://schemas.openxmlformats.org/package/2006/relationships"><Relationship Id="rId8" Type="http://schemas.openxmlformats.org/officeDocument/2006/relationships/image" Target="../media/image47.emf"/><Relationship Id="rId3" Type="http://schemas.openxmlformats.org/officeDocument/2006/relationships/image" Target="../media/image1.png"/><Relationship Id="rId7" Type="http://schemas.openxmlformats.org/officeDocument/2006/relationships/hyperlink" Target="http://www.rapidbbs.cn/" TargetMode="External"/><Relationship Id="rId2" Type="http://schemas.openxmlformats.org/officeDocument/2006/relationships/notesSlide" Target="../notesSlides/notesSlide268.xml"/><Relationship Id="rId1" Type="http://schemas.openxmlformats.org/officeDocument/2006/relationships/slideLayout" Target="../slideLayouts/slideLayout12.xml"/><Relationship Id="rId6" Type="http://schemas.openxmlformats.org/officeDocument/2006/relationships/image" Target="../media/image209.png"/><Relationship Id="rId5" Type="http://schemas.openxmlformats.org/officeDocument/2006/relationships/image" Target="../media/image412.png"/><Relationship Id="rId4" Type="http://schemas.openxmlformats.org/officeDocument/2006/relationships/image" Target="../media/image479.png"/></Relationships>
</file>

<file path=ppt/slides/_rels/slide401.xml.rels><?xml version="1.0" encoding="UTF-8" standalone="yes"?>
<Relationships xmlns="http://schemas.openxmlformats.org/package/2006/relationships"><Relationship Id="rId8" Type="http://schemas.openxmlformats.org/officeDocument/2006/relationships/image" Target="../media/image47.emf"/><Relationship Id="rId3" Type="http://schemas.openxmlformats.org/officeDocument/2006/relationships/image" Target="../media/image1.png"/><Relationship Id="rId7" Type="http://schemas.openxmlformats.org/officeDocument/2006/relationships/hyperlink" Target="http://www.rapidbbs.cn/" TargetMode="External"/><Relationship Id="rId2" Type="http://schemas.openxmlformats.org/officeDocument/2006/relationships/notesSlide" Target="../notesSlides/notesSlide269.xml"/><Relationship Id="rId1" Type="http://schemas.openxmlformats.org/officeDocument/2006/relationships/slideLayout" Target="../slideLayouts/slideLayout12.xml"/><Relationship Id="rId6" Type="http://schemas.openxmlformats.org/officeDocument/2006/relationships/image" Target="../media/image209.png"/><Relationship Id="rId5" Type="http://schemas.openxmlformats.org/officeDocument/2006/relationships/image" Target="../media/image412.png"/><Relationship Id="rId4" Type="http://schemas.openxmlformats.org/officeDocument/2006/relationships/image" Target="../media/image479.png"/></Relationships>
</file>

<file path=ppt/slides/_rels/slide402.xml.rels><?xml version="1.0" encoding="UTF-8" standalone="yes"?>
<Relationships xmlns="http://schemas.openxmlformats.org/package/2006/relationships"><Relationship Id="rId3" Type="http://schemas.openxmlformats.org/officeDocument/2006/relationships/image" Target="../media/image797.emf"/><Relationship Id="rId7" Type="http://schemas.openxmlformats.org/officeDocument/2006/relationships/image" Target="../media/image47.emf"/><Relationship Id="rId2" Type="http://schemas.openxmlformats.org/officeDocument/2006/relationships/image" Target="../media/image749.emf"/><Relationship Id="rId1" Type="http://schemas.openxmlformats.org/officeDocument/2006/relationships/slideLayout" Target="../slideLayouts/slideLayout8.xml"/><Relationship Id="rId6" Type="http://schemas.openxmlformats.org/officeDocument/2006/relationships/hyperlink" Target="http://www.rapidbbs.cn/" TargetMode="External"/><Relationship Id="rId5" Type="http://schemas.openxmlformats.org/officeDocument/2006/relationships/image" Target="../media/image937.emf"/><Relationship Id="rId4" Type="http://schemas.openxmlformats.org/officeDocument/2006/relationships/image" Target="../media/image936.emf"/></Relationships>
</file>

<file path=ppt/slides/_rels/slide403.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hyperlink" Target="http://www.rapidbbs.cn/" TargetMode="External"/><Relationship Id="rId1" Type="http://schemas.openxmlformats.org/officeDocument/2006/relationships/slideLayout" Target="../slideLayouts/slideLayout12.xml"/></Relationships>
</file>

<file path=ppt/slides/_rels/slide404.xml.rels><?xml version="1.0" encoding="UTF-8" standalone="yes"?>
<Relationships xmlns="http://schemas.openxmlformats.org/package/2006/relationships"><Relationship Id="rId3" Type="http://schemas.openxmlformats.org/officeDocument/2006/relationships/image" Target="../media/image939.png"/><Relationship Id="rId2" Type="http://schemas.openxmlformats.org/officeDocument/2006/relationships/image" Target="../media/image938.png"/><Relationship Id="rId1" Type="http://schemas.openxmlformats.org/officeDocument/2006/relationships/slideLayout" Target="../slideLayouts/slideLayout12.xml"/><Relationship Id="rId4" Type="http://schemas.openxmlformats.org/officeDocument/2006/relationships/hyperlink" Target="http://www.rapidbbs.cn/" TargetMode="External"/></Relationships>
</file>

<file path=ppt/slides/_rels/slide405.xml.rels><?xml version="1.0" encoding="UTF-8" standalone="yes"?>
<Relationships xmlns="http://schemas.openxmlformats.org/package/2006/relationships"><Relationship Id="rId8" Type="http://schemas.openxmlformats.org/officeDocument/2006/relationships/tags" Target="../tags/tag477.xml"/><Relationship Id="rId13" Type="http://schemas.openxmlformats.org/officeDocument/2006/relationships/tags" Target="../tags/tag482.xml"/><Relationship Id="rId18" Type="http://schemas.openxmlformats.org/officeDocument/2006/relationships/oleObject" Target="../embeddings/oleObject25.bin"/><Relationship Id="rId3" Type="http://schemas.openxmlformats.org/officeDocument/2006/relationships/tags" Target="../tags/tag472.xml"/><Relationship Id="rId21" Type="http://schemas.openxmlformats.org/officeDocument/2006/relationships/image" Target="../media/image47.emf"/><Relationship Id="rId7" Type="http://schemas.openxmlformats.org/officeDocument/2006/relationships/tags" Target="../tags/tag476.xml"/><Relationship Id="rId12" Type="http://schemas.openxmlformats.org/officeDocument/2006/relationships/tags" Target="../tags/tag481.xml"/><Relationship Id="rId17" Type="http://schemas.openxmlformats.org/officeDocument/2006/relationships/notesSlide" Target="../notesSlides/notesSlide270.xml"/><Relationship Id="rId2" Type="http://schemas.openxmlformats.org/officeDocument/2006/relationships/tags" Target="../tags/tag471.xml"/><Relationship Id="rId16" Type="http://schemas.openxmlformats.org/officeDocument/2006/relationships/slideLayout" Target="../slideLayouts/slideLayout12.xml"/><Relationship Id="rId20" Type="http://schemas.openxmlformats.org/officeDocument/2006/relationships/hyperlink" Target="http://www.rapidbbs.cn/" TargetMode="External"/><Relationship Id="rId1" Type="http://schemas.openxmlformats.org/officeDocument/2006/relationships/vmlDrawing" Target="../drawings/vmlDrawing25.vml"/><Relationship Id="rId6" Type="http://schemas.openxmlformats.org/officeDocument/2006/relationships/tags" Target="../tags/tag475.xml"/><Relationship Id="rId11" Type="http://schemas.openxmlformats.org/officeDocument/2006/relationships/tags" Target="../tags/tag480.xml"/><Relationship Id="rId5" Type="http://schemas.openxmlformats.org/officeDocument/2006/relationships/tags" Target="../tags/tag474.xml"/><Relationship Id="rId15" Type="http://schemas.openxmlformats.org/officeDocument/2006/relationships/tags" Target="../tags/tag484.xml"/><Relationship Id="rId10" Type="http://schemas.openxmlformats.org/officeDocument/2006/relationships/tags" Target="../tags/tag479.xml"/><Relationship Id="rId19" Type="http://schemas.openxmlformats.org/officeDocument/2006/relationships/image" Target="../media/image19.emf"/><Relationship Id="rId4" Type="http://schemas.openxmlformats.org/officeDocument/2006/relationships/tags" Target="../tags/tag473.xml"/><Relationship Id="rId9" Type="http://schemas.openxmlformats.org/officeDocument/2006/relationships/tags" Target="../tags/tag478.xml"/><Relationship Id="rId14" Type="http://schemas.openxmlformats.org/officeDocument/2006/relationships/tags" Target="../tags/tag483.xml"/></Relationships>
</file>

<file path=ppt/slides/_rels/slide406.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hyperlink" Target="http://www.rapidbbs.cn/" TargetMode="External"/><Relationship Id="rId1" Type="http://schemas.openxmlformats.org/officeDocument/2006/relationships/slideLayout" Target="../slideLayouts/slideLayout12.xml"/></Relationships>
</file>

<file path=ppt/slides/_rels/slide407.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image" Target="../media/image940.emf"/><Relationship Id="rId1" Type="http://schemas.openxmlformats.org/officeDocument/2006/relationships/slideLayout" Target="../slideLayouts/slideLayout9.xml"/><Relationship Id="rId4" Type="http://schemas.openxmlformats.org/officeDocument/2006/relationships/image" Target="../media/image47.emf"/></Relationships>
</file>

<file path=ppt/slides/_rels/slide408.xml.rels><?xml version="1.0" encoding="UTF-8" standalone="yes"?>
<Relationships xmlns="http://schemas.openxmlformats.org/package/2006/relationships"><Relationship Id="rId8" Type="http://schemas.openxmlformats.org/officeDocument/2006/relationships/tags" Target="../tags/tag491.xml"/><Relationship Id="rId13" Type="http://schemas.openxmlformats.org/officeDocument/2006/relationships/tags" Target="../tags/tag496.xml"/><Relationship Id="rId18" Type="http://schemas.openxmlformats.org/officeDocument/2006/relationships/tags" Target="../tags/tag501.xml"/><Relationship Id="rId26" Type="http://schemas.openxmlformats.org/officeDocument/2006/relationships/tags" Target="../tags/tag509.xml"/><Relationship Id="rId39" Type="http://schemas.openxmlformats.org/officeDocument/2006/relationships/image" Target="../media/image357.png"/><Relationship Id="rId3" Type="http://schemas.openxmlformats.org/officeDocument/2006/relationships/tags" Target="../tags/tag486.xml"/><Relationship Id="rId21" Type="http://schemas.openxmlformats.org/officeDocument/2006/relationships/tags" Target="../tags/tag504.xml"/><Relationship Id="rId34" Type="http://schemas.openxmlformats.org/officeDocument/2006/relationships/slideLayout" Target="../slideLayouts/slideLayout12.xml"/><Relationship Id="rId42" Type="http://schemas.microsoft.com/office/2007/relationships/hdphoto" Target="../media/hdphoto114.wdp"/><Relationship Id="rId7" Type="http://schemas.openxmlformats.org/officeDocument/2006/relationships/tags" Target="../tags/tag490.xml"/><Relationship Id="rId12" Type="http://schemas.openxmlformats.org/officeDocument/2006/relationships/tags" Target="../tags/tag495.xml"/><Relationship Id="rId17" Type="http://schemas.openxmlformats.org/officeDocument/2006/relationships/tags" Target="../tags/tag500.xml"/><Relationship Id="rId25" Type="http://schemas.openxmlformats.org/officeDocument/2006/relationships/tags" Target="../tags/tag508.xml"/><Relationship Id="rId33" Type="http://schemas.openxmlformats.org/officeDocument/2006/relationships/tags" Target="../tags/tag516.xml"/><Relationship Id="rId38" Type="http://schemas.openxmlformats.org/officeDocument/2006/relationships/image" Target="../media/image1.png"/><Relationship Id="rId46" Type="http://schemas.openxmlformats.org/officeDocument/2006/relationships/hyperlink" Target="http://www.rapidbbs.cn/" TargetMode="External"/><Relationship Id="rId2" Type="http://schemas.openxmlformats.org/officeDocument/2006/relationships/tags" Target="../tags/tag485.xml"/><Relationship Id="rId16" Type="http://schemas.openxmlformats.org/officeDocument/2006/relationships/tags" Target="../tags/tag499.xml"/><Relationship Id="rId20" Type="http://schemas.openxmlformats.org/officeDocument/2006/relationships/tags" Target="../tags/tag503.xml"/><Relationship Id="rId29" Type="http://schemas.openxmlformats.org/officeDocument/2006/relationships/tags" Target="../tags/tag512.xml"/><Relationship Id="rId41" Type="http://schemas.openxmlformats.org/officeDocument/2006/relationships/image" Target="../media/image942.png"/><Relationship Id="rId1" Type="http://schemas.openxmlformats.org/officeDocument/2006/relationships/vmlDrawing" Target="../drawings/vmlDrawing26.vml"/><Relationship Id="rId6" Type="http://schemas.openxmlformats.org/officeDocument/2006/relationships/tags" Target="../tags/tag489.xml"/><Relationship Id="rId11" Type="http://schemas.openxmlformats.org/officeDocument/2006/relationships/tags" Target="../tags/tag494.xml"/><Relationship Id="rId24" Type="http://schemas.openxmlformats.org/officeDocument/2006/relationships/tags" Target="../tags/tag507.xml"/><Relationship Id="rId32" Type="http://schemas.openxmlformats.org/officeDocument/2006/relationships/tags" Target="../tags/tag515.xml"/><Relationship Id="rId37" Type="http://schemas.openxmlformats.org/officeDocument/2006/relationships/image" Target="../media/image19.emf"/><Relationship Id="rId40" Type="http://schemas.openxmlformats.org/officeDocument/2006/relationships/image" Target="../media/image941.png"/><Relationship Id="rId45" Type="http://schemas.openxmlformats.org/officeDocument/2006/relationships/image" Target="../media/image184.png"/><Relationship Id="rId5" Type="http://schemas.openxmlformats.org/officeDocument/2006/relationships/tags" Target="../tags/tag488.xml"/><Relationship Id="rId15" Type="http://schemas.openxmlformats.org/officeDocument/2006/relationships/tags" Target="../tags/tag498.xml"/><Relationship Id="rId23" Type="http://schemas.openxmlformats.org/officeDocument/2006/relationships/tags" Target="../tags/tag506.xml"/><Relationship Id="rId28" Type="http://schemas.openxmlformats.org/officeDocument/2006/relationships/tags" Target="../tags/tag511.xml"/><Relationship Id="rId36" Type="http://schemas.openxmlformats.org/officeDocument/2006/relationships/oleObject" Target="../embeddings/oleObject26.bin"/><Relationship Id="rId10" Type="http://schemas.openxmlformats.org/officeDocument/2006/relationships/tags" Target="../tags/tag493.xml"/><Relationship Id="rId19" Type="http://schemas.openxmlformats.org/officeDocument/2006/relationships/tags" Target="../tags/tag502.xml"/><Relationship Id="rId31" Type="http://schemas.openxmlformats.org/officeDocument/2006/relationships/tags" Target="../tags/tag514.xml"/><Relationship Id="rId44" Type="http://schemas.microsoft.com/office/2007/relationships/hdphoto" Target="../media/hdphoto63.wdp"/><Relationship Id="rId4" Type="http://schemas.openxmlformats.org/officeDocument/2006/relationships/tags" Target="../tags/tag487.xml"/><Relationship Id="rId9" Type="http://schemas.openxmlformats.org/officeDocument/2006/relationships/tags" Target="../tags/tag492.xml"/><Relationship Id="rId14" Type="http://schemas.openxmlformats.org/officeDocument/2006/relationships/tags" Target="../tags/tag497.xml"/><Relationship Id="rId22" Type="http://schemas.openxmlformats.org/officeDocument/2006/relationships/tags" Target="../tags/tag505.xml"/><Relationship Id="rId27" Type="http://schemas.openxmlformats.org/officeDocument/2006/relationships/tags" Target="../tags/tag510.xml"/><Relationship Id="rId30" Type="http://schemas.openxmlformats.org/officeDocument/2006/relationships/tags" Target="../tags/tag513.xml"/><Relationship Id="rId35" Type="http://schemas.openxmlformats.org/officeDocument/2006/relationships/notesSlide" Target="../notesSlides/notesSlide271.xml"/><Relationship Id="rId43" Type="http://schemas.openxmlformats.org/officeDocument/2006/relationships/image" Target="../media/image943.png"/></Relationships>
</file>

<file path=ppt/slides/_rels/slide409.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image" Target="../media/image944.jpg"/><Relationship Id="rId1" Type="http://schemas.openxmlformats.org/officeDocument/2006/relationships/slideLayout" Target="../slideLayouts/slideLayout13.xml"/><Relationship Id="rId4" Type="http://schemas.openxmlformats.org/officeDocument/2006/relationships/image" Target="../media/image47.emf"/></Relationships>
</file>

<file path=ppt/slides/_rels/slide41.xml.rels><?xml version="1.0" encoding="UTF-8" standalone="yes"?>
<Relationships xmlns="http://schemas.openxmlformats.org/package/2006/relationships"><Relationship Id="rId8" Type="http://schemas.microsoft.com/office/2007/relationships/hdphoto" Target="../media/hdphoto12.wdp"/><Relationship Id="rId13" Type="http://schemas.openxmlformats.org/officeDocument/2006/relationships/image" Target="../media/image128.png"/><Relationship Id="rId18" Type="http://schemas.openxmlformats.org/officeDocument/2006/relationships/image" Target="../media/image133.png"/><Relationship Id="rId3" Type="http://schemas.openxmlformats.org/officeDocument/2006/relationships/image" Target="../media/image119.png"/><Relationship Id="rId21" Type="http://schemas.openxmlformats.org/officeDocument/2006/relationships/image" Target="../media/image47.emf"/><Relationship Id="rId7" Type="http://schemas.openxmlformats.org/officeDocument/2006/relationships/image" Target="../media/image123.png"/><Relationship Id="rId12" Type="http://schemas.openxmlformats.org/officeDocument/2006/relationships/image" Target="../media/image127.png"/><Relationship Id="rId17" Type="http://schemas.openxmlformats.org/officeDocument/2006/relationships/image" Target="../media/image132.png"/><Relationship Id="rId2" Type="http://schemas.openxmlformats.org/officeDocument/2006/relationships/notesSlide" Target="../notesSlides/notesSlide33.xml"/><Relationship Id="rId16" Type="http://schemas.openxmlformats.org/officeDocument/2006/relationships/image" Target="../media/image131.png"/><Relationship Id="rId20" Type="http://schemas.openxmlformats.org/officeDocument/2006/relationships/hyperlink" Target="http://www.rapidbbs.cn/" TargetMode="External"/><Relationship Id="rId1" Type="http://schemas.openxmlformats.org/officeDocument/2006/relationships/slideLayout" Target="../slideLayouts/slideLayout9.xml"/><Relationship Id="rId6" Type="http://schemas.openxmlformats.org/officeDocument/2006/relationships/image" Target="../media/image122.png"/><Relationship Id="rId11" Type="http://schemas.openxmlformats.org/officeDocument/2006/relationships/image" Target="../media/image126.png"/><Relationship Id="rId5" Type="http://schemas.openxmlformats.org/officeDocument/2006/relationships/image" Target="../media/image121.png"/><Relationship Id="rId15" Type="http://schemas.openxmlformats.org/officeDocument/2006/relationships/image" Target="../media/image130.png"/><Relationship Id="rId10" Type="http://schemas.openxmlformats.org/officeDocument/2006/relationships/image" Target="../media/image125.png"/><Relationship Id="rId19" Type="http://schemas.openxmlformats.org/officeDocument/2006/relationships/image" Target="../media/image134.png"/><Relationship Id="rId4" Type="http://schemas.openxmlformats.org/officeDocument/2006/relationships/image" Target="../media/image120.png"/><Relationship Id="rId9" Type="http://schemas.openxmlformats.org/officeDocument/2006/relationships/image" Target="../media/image124.png"/><Relationship Id="rId14" Type="http://schemas.openxmlformats.org/officeDocument/2006/relationships/image" Target="../media/image129.png"/></Relationships>
</file>

<file path=ppt/slides/_rels/slide410.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image" Target="../media/image945.jpg"/><Relationship Id="rId1" Type="http://schemas.openxmlformats.org/officeDocument/2006/relationships/slideLayout" Target="../slideLayouts/slideLayout13.xml"/><Relationship Id="rId4" Type="http://schemas.openxmlformats.org/officeDocument/2006/relationships/image" Target="../media/image47.emf"/></Relationships>
</file>

<file path=ppt/slides/_rels/slide411.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image" Target="../media/image946.png"/><Relationship Id="rId1" Type="http://schemas.openxmlformats.org/officeDocument/2006/relationships/slideLayout" Target="../slideLayouts/slideLayout13.xml"/><Relationship Id="rId4" Type="http://schemas.openxmlformats.org/officeDocument/2006/relationships/image" Target="../media/image47.emf"/></Relationships>
</file>

<file path=ppt/slides/_rels/slide412.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hyperlink" Target="http://www.rapidbbs.cn/" TargetMode="External"/><Relationship Id="rId1" Type="http://schemas.openxmlformats.org/officeDocument/2006/relationships/slideLayout" Target="../slideLayouts/slideLayout13.xml"/></Relationships>
</file>

<file path=ppt/slides/_rels/slide413.xml.rels><?xml version="1.0" encoding="UTF-8" standalone="yes"?>
<Relationships xmlns="http://schemas.openxmlformats.org/package/2006/relationships"><Relationship Id="rId2" Type="http://schemas.openxmlformats.org/officeDocument/2006/relationships/hyperlink" Target="http://www.rapidbbs.cn/" TargetMode="External"/><Relationship Id="rId1" Type="http://schemas.openxmlformats.org/officeDocument/2006/relationships/slideLayout" Target="../slideLayouts/slideLayout13.xml"/></Relationships>
</file>

<file path=ppt/slides/_rels/slide414.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notesSlide" Target="../notesSlides/notesSlide272.xml"/><Relationship Id="rId1" Type="http://schemas.openxmlformats.org/officeDocument/2006/relationships/slideLayout" Target="../slideLayouts/slideLayout5.xml"/><Relationship Id="rId4" Type="http://schemas.openxmlformats.org/officeDocument/2006/relationships/image" Target="../media/image47.emf"/></Relationships>
</file>

<file path=ppt/slides/_rels/slide415.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273.xml"/><Relationship Id="rId1" Type="http://schemas.openxmlformats.org/officeDocument/2006/relationships/slideLayout" Target="../slideLayouts/slideLayout12.xml"/><Relationship Id="rId5" Type="http://schemas.openxmlformats.org/officeDocument/2006/relationships/image" Target="../media/image47.emf"/><Relationship Id="rId4" Type="http://schemas.openxmlformats.org/officeDocument/2006/relationships/hyperlink" Target="http://www.rapidbbs.cn/" TargetMode="External"/></Relationships>
</file>

<file path=ppt/slides/_rels/slide416.xml.rels><?xml version="1.0" encoding="UTF-8" standalone="yes"?>
<Relationships xmlns="http://schemas.openxmlformats.org/package/2006/relationships"><Relationship Id="rId8" Type="http://schemas.openxmlformats.org/officeDocument/2006/relationships/image" Target="../media/image952.png"/><Relationship Id="rId13" Type="http://schemas.openxmlformats.org/officeDocument/2006/relationships/image" Target="../media/image957.png"/><Relationship Id="rId3" Type="http://schemas.openxmlformats.org/officeDocument/2006/relationships/image" Target="../media/image947.png"/><Relationship Id="rId7" Type="http://schemas.openxmlformats.org/officeDocument/2006/relationships/image" Target="../media/image951.png"/><Relationship Id="rId12" Type="http://schemas.openxmlformats.org/officeDocument/2006/relationships/image" Target="../media/image956.png"/><Relationship Id="rId2" Type="http://schemas.openxmlformats.org/officeDocument/2006/relationships/notesSlide" Target="../notesSlides/notesSlide274.xml"/><Relationship Id="rId1" Type="http://schemas.openxmlformats.org/officeDocument/2006/relationships/slideLayout" Target="../slideLayouts/slideLayout8.xml"/><Relationship Id="rId6" Type="http://schemas.openxmlformats.org/officeDocument/2006/relationships/image" Target="../media/image950.png"/><Relationship Id="rId11" Type="http://schemas.openxmlformats.org/officeDocument/2006/relationships/image" Target="../media/image955.png"/><Relationship Id="rId5" Type="http://schemas.openxmlformats.org/officeDocument/2006/relationships/image" Target="../media/image949.png"/><Relationship Id="rId15" Type="http://schemas.openxmlformats.org/officeDocument/2006/relationships/hyperlink" Target="http://www.rapidbbs.cn/" TargetMode="External"/><Relationship Id="rId10" Type="http://schemas.openxmlformats.org/officeDocument/2006/relationships/image" Target="../media/image954.png"/><Relationship Id="rId4" Type="http://schemas.openxmlformats.org/officeDocument/2006/relationships/image" Target="../media/image948.png"/><Relationship Id="rId9" Type="http://schemas.openxmlformats.org/officeDocument/2006/relationships/image" Target="../media/image953.png"/><Relationship Id="rId14" Type="http://schemas.openxmlformats.org/officeDocument/2006/relationships/image" Target="../media/image181.png"/></Relationships>
</file>

<file path=ppt/slides/_rels/slide417.xml.rels><?xml version="1.0" encoding="UTF-8" standalone="yes"?>
<Relationships xmlns="http://schemas.openxmlformats.org/package/2006/relationships"><Relationship Id="rId8" Type="http://schemas.openxmlformats.org/officeDocument/2006/relationships/image" Target="../media/image963.png"/><Relationship Id="rId13" Type="http://schemas.openxmlformats.org/officeDocument/2006/relationships/image" Target="../media/image181.png"/><Relationship Id="rId3" Type="http://schemas.openxmlformats.org/officeDocument/2006/relationships/image" Target="../media/image958.jpeg"/><Relationship Id="rId7" Type="http://schemas.openxmlformats.org/officeDocument/2006/relationships/image" Target="../media/image962.png"/><Relationship Id="rId12" Type="http://schemas.openxmlformats.org/officeDocument/2006/relationships/image" Target="../media/image967.png"/><Relationship Id="rId2" Type="http://schemas.openxmlformats.org/officeDocument/2006/relationships/notesSlide" Target="../notesSlides/notesSlide275.xml"/><Relationship Id="rId1" Type="http://schemas.openxmlformats.org/officeDocument/2006/relationships/slideLayout" Target="../slideLayouts/slideLayout12.xml"/><Relationship Id="rId6" Type="http://schemas.openxmlformats.org/officeDocument/2006/relationships/image" Target="../media/image961.png"/><Relationship Id="rId11" Type="http://schemas.openxmlformats.org/officeDocument/2006/relationships/image" Target="../media/image966.png"/><Relationship Id="rId5" Type="http://schemas.openxmlformats.org/officeDocument/2006/relationships/image" Target="../media/image960.jpeg"/><Relationship Id="rId15" Type="http://schemas.openxmlformats.org/officeDocument/2006/relationships/image" Target="../media/image47.emf"/><Relationship Id="rId10" Type="http://schemas.openxmlformats.org/officeDocument/2006/relationships/image" Target="../media/image965.png"/><Relationship Id="rId4" Type="http://schemas.openxmlformats.org/officeDocument/2006/relationships/image" Target="../media/image959.jpeg"/><Relationship Id="rId9" Type="http://schemas.openxmlformats.org/officeDocument/2006/relationships/image" Target="../media/image964.jpeg"/><Relationship Id="rId14" Type="http://schemas.openxmlformats.org/officeDocument/2006/relationships/hyperlink" Target="http://www.rapidbbs.cn/" TargetMode="External"/></Relationships>
</file>

<file path=ppt/slides/_rels/slide418.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276.xml"/><Relationship Id="rId1" Type="http://schemas.openxmlformats.org/officeDocument/2006/relationships/slideLayout" Target="../slideLayouts/slideLayout8.xml"/><Relationship Id="rId5" Type="http://schemas.openxmlformats.org/officeDocument/2006/relationships/image" Target="../media/image47.emf"/><Relationship Id="rId4" Type="http://schemas.openxmlformats.org/officeDocument/2006/relationships/hyperlink" Target="http://www.rapidbbs.cn/" TargetMode="External"/></Relationships>
</file>

<file path=ppt/slides/_rels/slide419.xml.rels><?xml version="1.0" encoding="UTF-8" standalone="yes"?>
<Relationships xmlns="http://schemas.openxmlformats.org/package/2006/relationships"><Relationship Id="rId8" Type="http://schemas.openxmlformats.org/officeDocument/2006/relationships/tags" Target="../tags/tag524.xml"/><Relationship Id="rId13" Type="http://schemas.openxmlformats.org/officeDocument/2006/relationships/image" Target="../media/image207.png"/><Relationship Id="rId18" Type="http://schemas.openxmlformats.org/officeDocument/2006/relationships/image" Target="../media/image181.png"/><Relationship Id="rId3" Type="http://schemas.openxmlformats.org/officeDocument/2006/relationships/tags" Target="../tags/tag519.xml"/><Relationship Id="rId7" Type="http://schemas.openxmlformats.org/officeDocument/2006/relationships/tags" Target="../tags/tag523.xml"/><Relationship Id="rId12" Type="http://schemas.openxmlformats.org/officeDocument/2006/relationships/image" Target="../media/image202.png"/><Relationship Id="rId17" Type="http://schemas.openxmlformats.org/officeDocument/2006/relationships/image" Target="../media/image210.png"/><Relationship Id="rId2" Type="http://schemas.openxmlformats.org/officeDocument/2006/relationships/tags" Target="../tags/tag518.xml"/><Relationship Id="rId16" Type="http://schemas.openxmlformats.org/officeDocument/2006/relationships/image" Target="../media/image209.png"/><Relationship Id="rId20" Type="http://schemas.openxmlformats.org/officeDocument/2006/relationships/image" Target="../media/image47.emf"/><Relationship Id="rId1" Type="http://schemas.openxmlformats.org/officeDocument/2006/relationships/tags" Target="../tags/tag517.xml"/><Relationship Id="rId6" Type="http://schemas.openxmlformats.org/officeDocument/2006/relationships/tags" Target="../tags/tag522.xml"/><Relationship Id="rId11" Type="http://schemas.openxmlformats.org/officeDocument/2006/relationships/image" Target="../media/image204.png"/><Relationship Id="rId5" Type="http://schemas.openxmlformats.org/officeDocument/2006/relationships/tags" Target="../tags/tag521.xml"/><Relationship Id="rId15" Type="http://schemas.openxmlformats.org/officeDocument/2006/relationships/image" Target="../media/image108.png"/><Relationship Id="rId10" Type="http://schemas.openxmlformats.org/officeDocument/2006/relationships/notesSlide" Target="../notesSlides/notesSlide277.xml"/><Relationship Id="rId19" Type="http://schemas.openxmlformats.org/officeDocument/2006/relationships/hyperlink" Target="http://www.rapidbbs.cn/" TargetMode="External"/><Relationship Id="rId4" Type="http://schemas.openxmlformats.org/officeDocument/2006/relationships/tags" Target="../tags/tag520.xml"/><Relationship Id="rId9" Type="http://schemas.openxmlformats.org/officeDocument/2006/relationships/slideLayout" Target="../slideLayouts/slideLayout9.xml"/><Relationship Id="rId14" Type="http://schemas.openxmlformats.org/officeDocument/2006/relationships/image" Target="../media/image208.png"/></Relationships>
</file>

<file path=ppt/slides/_rels/slide42.xml.rels><?xml version="1.0" encoding="UTF-8" standalone="yes"?>
<Relationships xmlns="http://schemas.openxmlformats.org/package/2006/relationships"><Relationship Id="rId8" Type="http://schemas.openxmlformats.org/officeDocument/2006/relationships/hyperlink" Target="http://www.rapidbbs.cn/" TargetMode="External"/><Relationship Id="rId3" Type="http://schemas.openxmlformats.org/officeDocument/2006/relationships/image" Target="../media/image135.png"/><Relationship Id="rId7" Type="http://schemas.openxmlformats.org/officeDocument/2006/relationships/image" Target="../media/image122.png"/><Relationship Id="rId2" Type="http://schemas.openxmlformats.org/officeDocument/2006/relationships/notesSlide" Target="../notesSlides/notesSlide34.xml"/><Relationship Id="rId1" Type="http://schemas.openxmlformats.org/officeDocument/2006/relationships/slideLayout" Target="../slideLayouts/slideLayout9.xml"/><Relationship Id="rId6" Type="http://schemas.openxmlformats.org/officeDocument/2006/relationships/image" Target="../media/image136.png"/><Relationship Id="rId5" Type="http://schemas.openxmlformats.org/officeDocument/2006/relationships/image" Target="../media/image108.png"/><Relationship Id="rId4" Type="http://schemas.openxmlformats.org/officeDocument/2006/relationships/image" Target="../media/image111.png"/><Relationship Id="rId9" Type="http://schemas.openxmlformats.org/officeDocument/2006/relationships/image" Target="../media/image47.emf"/></Relationships>
</file>

<file path=ppt/slides/_rels/slide420.xml.rels><?xml version="1.0" encoding="UTF-8" standalone="yes"?>
<Relationships xmlns="http://schemas.openxmlformats.org/package/2006/relationships"><Relationship Id="rId3" Type="http://schemas.microsoft.com/office/2007/relationships/hdphoto" Target="../media/hdphoto115.wdp"/><Relationship Id="rId2" Type="http://schemas.openxmlformats.org/officeDocument/2006/relationships/image" Target="../media/image968.png"/><Relationship Id="rId1" Type="http://schemas.openxmlformats.org/officeDocument/2006/relationships/slideLayout" Target="../slideLayouts/slideLayout35.xml"/><Relationship Id="rId5" Type="http://schemas.openxmlformats.org/officeDocument/2006/relationships/image" Target="../media/image47.emf"/><Relationship Id="rId4" Type="http://schemas.openxmlformats.org/officeDocument/2006/relationships/hyperlink" Target="http://www.rapidbbs.cn/" TargetMode="External"/></Relationships>
</file>

<file path=ppt/slides/_rels/slide421.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image" Target="../media/image1.png"/><Relationship Id="rId1" Type="http://schemas.openxmlformats.org/officeDocument/2006/relationships/slideLayout" Target="../slideLayouts/slideLayout8.xml"/><Relationship Id="rId4" Type="http://schemas.openxmlformats.org/officeDocument/2006/relationships/image" Target="../media/image47.emf"/></Relationships>
</file>

<file path=ppt/slides/_rels/slide422.xml.rels><?xml version="1.0" encoding="UTF-8" standalone="yes"?>
<Relationships xmlns="http://schemas.openxmlformats.org/package/2006/relationships"><Relationship Id="rId3" Type="http://schemas.microsoft.com/office/2007/relationships/hdphoto" Target="../media/hdphoto115.wdp"/><Relationship Id="rId2" Type="http://schemas.openxmlformats.org/officeDocument/2006/relationships/image" Target="../media/image968.png"/><Relationship Id="rId1" Type="http://schemas.openxmlformats.org/officeDocument/2006/relationships/slideLayout" Target="../slideLayouts/slideLayout35.xml"/><Relationship Id="rId5" Type="http://schemas.openxmlformats.org/officeDocument/2006/relationships/image" Target="../media/image47.emf"/><Relationship Id="rId4" Type="http://schemas.openxmlformats.org/officeDocument/2006/relationships/hyperlink" Target="http://www.rapidbbs.cn/" TargetMode="External"/></Relationships>
</file>

<file path=ppt/slides/_rels/slide423.xml.rels><?xml version="1.0" encoding="UTF-8" standalone="yes"?>
<Relationships xmlns="http://schemas.openxmlformats.org/package/2006/relationships"><Relationship Id="rId3" Type="http://schemas.microsoft.com/office/2007/relationships/hdphoto" Target="../media/hdphoto115.wdp"/><Relationship Id="rId2" Type="http://schemas.openxmlformats.org/officeDocument/2006/relationships/image" Target="../media/image968.png"/><Relationship Id="rId1" Type="http://schemas.openxmlformats.org/officeDocument/2006/relationships/slideLayout" Target="../slideLayouts/slideLayout35.xml"/><Relationship Id="rId5" Type="http://schemas.openxmlformats.org/officeDocument/2006/relationships/image" Target="../media/image47.emf"/><Relationship Id="rId4" Type="http://schemas.openxmlformats.org/officeDocument/2006/relationships/hyperlink" Target="http://www.rapidbbs.cn/" TargetMode="External"/></Relationships>
</file>

<file path=ppt/slides/_rels/slide424.xml.rels><?xml version="1.0" encoding="UTF-8" standalone="yes"?>
<Relationships xmlns="http://schemas.openxmlformats.org/package/2006/relationships"><Relationship Id="rId3" Type="http://schemas.microsoft.com/office/2007/relationships/hdphoto" Target="../media/hdphoto115.wdp"/><Relationship Id="rId2" Type="http://schemas.openxmlformats.org/officeDocument/2006/relationships/image" Target="../media/image968.png"/><Relationship Id="rId1" Type="http://schemas.openxmlformats.org/officeDocument/2006/relationships/slideLayout" Target="../slideLayouts/slideLayout35.xml"/><Relationship Id="rId4" Type="http://schemas.openxmlformats.org/officeDocument/2006/relationships/hyperlink" Target="http://www.rapidbbs.cn/" TargetMode="External"/></Relationships>
</file>

<file path=ppt/slides/_rels/slide425.xml.rels><?xml version="1.0" encoding="UTF-8" standalone="yes"?>
<Relationships xmlns="http://schemas.openxmlformats.org/package/2006/relationships"><Relationship Id="rId3" Type="http://schemas.microsoft.com/office/2007/relationships/hdphoto" Target="../media/hdphoto115.wdp"/><Relationship Id="rId2" Type="http://schemas.openxmlformats.org/officeDocument/2006/relationships/image" Target="../media/image968.png"/><Relationship Id="rId1" Type="http://schemas.openxmlformats.org/officeDocument/2006/relationships/slideLayout" Target="../slideLayouts/slideLayout35.xml"/><Relationship Id="rId5" Type="http://schemas.openxmlformats.org/officeDocument/2006/relationships/image" Target="../media/image47.emf"/><Relationship Id="rId4" Type="http://schemas.openxmlformats.org/officeDocument/2006/relationships/hyperlink" Target="http://www.rapidbbs.cn/" TargetMode="External"/></Relationships>
</file>

<file path=ppt/slides/_rels/slide426.xml.rels><?xml version="1.0" encoding="UTF-8" standalone="yes"?>
<Relationships xmlns="http://schemas.openxmlformats.org/package/2006/relationships"><Relationship Id="rId3" Type="http://schemas.microsoft.com/office/2007/relationships/hdphoto" Target="../media/hdphoto115.wdp"/><Relationship Id="rId2" Type="http://schemas.openxmlformats.org/officeDocument/2006/relationships/image" Target="../media/image968.png"/><Relationship Id="rId1" Type="http://schemas.openxmlformats.org/officeDocument/2006/relationships/slideLayout" Target="../slideLayouts/slideLayout35.xml"/><Relationship Id="rId5" Type="http://schemas.openxmlformats.org/officeDocument/2006/relationships/image" Target="../media/image47.emf"/><Relationship Id="rId4" Type="http://schemas.openxmlformats.org/officeDocument/2006/relationships/hyperlink" Target="http://www.rapidbbs.cn/" TargetMode="External"/></Relationships>
</file>

<file path=ppt/slides/_rels/slide427.xml.rels><?xml version="1.0" encoding="UTF-8" standalone="yes"?>
<Relationships xmlns="http://schemas.openxmlformats.org/package/2006/relationships"><Relationship Id="rId3" Type="http://schemas.microsoft.com/office/2007/relationships/hdphoto" Target="../media/hdphoto115.wdp"/><Relationship Id="rId2" Type="http://schemas.openxmlformats.org/officeDocument/2006/relationships/image" Target="../media/image968.png"/><Relationship Id="rId1" Type="http://schemas.openxmlformats.org/officeDocument/2006/relationships/slideLayout" Target="../slideLayouts/slideLayout35.xml"/><Relationship Id="rId5" Type="http://schemas.openxmlformats.org/officeDocument/2006/relationships/image" Target="../media/image47.emf"/><Relationship Id="rId4" Type="http://schemas.openxmlformats.org/officeDocument/2006/relationships/hyperlink" Target="http://www.rapidbbs.cn/" TargetMode="External"/></Relationships>
</file>

<file path=ppt/slides/_rels/slide428.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hyperlink" Target="http://www.rapidbbs.cn/" TargetMode="External"/><Relationship Id="rId1" Type="http://schemas.openxmlformats.org/officeDocument/2006/relationships/slideLayout" Target="../slideLayouts/slideLayout12.xml"/></Relationships>
</file>

<file path=ppt/slides/_rels/slide429.xml.rels><?xml version="1.0" encoding="UTF-8" standalone="yes"?>
<Relationships xmlns="http://schemas.openxmlformats.org/package/2006/relationships"><Relationship Id="rId3" Type="http://schemas.openxmlformats.org/officeDocument/2006/relationships/image" Target="../media/image491.png"/><Relationship Id="rId7" Type="http://schemas.openxmlformats.org/officeDocument/2006/relationships/image" Target="../media/image47.emf"/><Relationship Id="rId2" Type="http://schemas.openxmlformats.org/officeDocument/2006/relationships/notesSlide" Target="../notesSlides/notesSlide278.xml"/><Relationship Id="rId1" Type="http://schemas.openxmlformats.org/officeDocument/2006/relationships/slideLayout" Target="../slideLayouts/slideLayout8.xml"/><Relationship Id="rId6" Type="http://schemas.openxmlformats.org/officeDocument/2006/relationships/hyperlink" Target="http://www.rapidbbs.cn/" TargetMode="External"/><Relationship Id="rId5" Type="http://schemas.openxmlformats.org/officeDocument/2006/relationships/image" Target="../media/image492.png"/><Relationship Id="rId4" Type="http://schemas.microsoft.com/office/2007/relationships/hdphoto" Target="../media/hdphoto64.wdp"/></Relationships>
</file>

<file path=ppt/slides/_rels/slide43.xml.rels><?xml version="1.0" encoding="UTF-8" standalone="yes"?>
<Relationships xmlns="http://schemas.openxmlformats.org/package/2006/relationships"><Relationship Id="rId8" Type="http://schemas.openxmlformats.org/officeDocument/2006/relationships/image" Target="../media/image47.emf"/><Relationship Id="rId3" Type="http://schemas.openxmlformats.org/officeDocument/2006/relationships/diagramLayout" Target="../diagrams/layout2.xml"/><Relationship Id="rId7" Type="http://schemas.openxmlformats.org/officeDocument/2006/relationships/hyperlink" Target="http://www.rapidbbs.cn/" TargetMode="External"/><Relationship Id="rId2" Type="http://schemas.openxmlformats.org/officeDocument/2006/relationships/diagramData" Target="../diagrams/data2.xml"/><Relationship Id="rId1" Type="http://schemas.openxmlformats.org/officeDocument/2006/relationships/slideLayout" Target="../slideLayouts/slideLayout9.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30.xml.rels><?xml version="1.0" encoding="UTF-8" standalone="yes"?>
<Relationships xmlns="http://schemas.openxmlformats.org/package/2006/relationships"><Relationship Id="rId8" Type="http://schemas.openxmlformats.org/officeDocument/2006/relationships/image" Target="../media/image47.emf"/><Relationship Id="rId3" Type="http://schemas.openxmlformats.org/officeDocument/2006/relationships/image" Target="../media/image493.png"/><Relationship Id="rId7" Type="http://schemas.openxmlformats.org/officeDocument/2006/relationships/hyperlink" Target="http://www.rapidbbs.cn/" TargetMode="External"/><Relationship Id="rId2" Type="http://schemas.openxmlformats.org/officeDocument/2006/relationships/notesSlide" Target="../notesSlides/notesSlide279.xml"/><Relationship Id="rId1" Type="http://schemas.openxmlformats.org/officeDocument/2006/relationships/slideLayout" Target="../slideLayouts/slideLayout8.xml"/><Relationship Id="rId6" Type="http://schemas.openxmlformats.org/officeDocument/2006/relationships/image" Target="../media/image494.png"/><Relationship Id="rId5" Type="http://schemas.openxmlformats.org/officeDocument/2006/relationships/image" Target="../media/image492.png"/><Relationship Id="rId4" Type="http://schemas.microsoft.com/office/2007/relationships/hdphoto" Target="../media/hdphoto65.wdp"/></Relationships>
</file>

<file path=ppt/slides/_rels/slide431.xml.rels><?xml version="1.0" encoding="UTF-8" standalone="yes"?>
<Relationships xmlns="http://schemas.openxmlformats.org/package/2006/relationships"><Relationship Id="rId8" Type="http://schemas.openxmlformats.org/officeDocument/2006/relationships/image" Target="../media/image47.emf"/><Relationship Id="rId3" Type="http://schemas.openxmlformats.org/officeDocument/2006/relationships/image" Target="../media/image83.png"/><Relationship Id="rId7" Type="http://schemas.openxmlformats.org/officeDocument/2006/relationships/hyperlink" Target="http://www.rapidbbs.cn/" TargetMode="External"/><Relationship Id="rId2" Type="http://schemas.openxmlformats.org/officeDocument/2006/relationships/notesSlide" Target="../notesSlides/notesSlide280.xml"/><Relationship Id="rId1" Type="http://schemas.openxmlformats.org/officeDocument/2006/relationships/slideLayout" Target="../slideLayouts/slideLayout8.xml"/><Relationship Id="rId6" Type="http://schemas.microsoft.com/office/2007/relationships/hdphoto" Target="../media/hdphoto65.wdp"/><Relationship Id="rId5" Type="http://schemas.openxmlformats.org/officeDocument/2006/relationships/image" Target="../media/image493.png"/><Relationship Id="rId4" Type="http://schemas.openxmlformats.org/officeDocument/2006/relationships/image" Target="../media/image119.png"/></Relationships>
</file>

<file path=ppt/slides/_rels/slide432.xml.rels><?xml version="1.0" encoding="UTF-8" standalone="yes"?>
<Relationships xmlns="http://schemas.openxmlformats.org/package/2006/relationships"><Relationship Id="rId3" Type="http://schemas.openxmlformats.org/officeDocument/2006/relationships/image" Target="../media/image495.png"/><Relationship Id="rId2" Type="http://schemas.openxmlformats.org/officeDocument/2006/relationships/notesSlide" Target="../notesSlides/notesSlide281.xml"/><Relationship Id="rId1" Type="http://schemas.openxmlformats.org/officeDocument/2006/relationships/slideLayout" Target="../slideLayouts/slideLayout8.xml"/><Relationship Id="rId5" Type="http://schemas.openxmlformats.org/officeDocument/2006/relationships/image" Target="../media/image47.emf"/><Relationship Id="rId4" Type="http://schemas.openxmlformats.org/officeDocument/2006/relationships/hyperlink" Target="http://www.rapidbbs.cn/" TargetMode="External"/></Relationships>
</file>

<file path=ppt/slides/_rels/slide433.xml.rels><?xml version="1.0" encoding="UTF-8" standalone="yes"?>
<Relationships xmlns="http://schemas.openxmlformats.org/package/2006/relationships"><Relationship Id="rId8" Type="http://schemas.openxmlformats.org/officeDocument/2006/relationships/image" Target="../media/image47.emf"/><Relationship Id="rId3" Type="http://schemas.openxmlformats.org/officeDocument/2006/relationships/image" Target="../media/image496.png"/><Relationship Id="rId7" Type="http://schemas.openxmlformats.org/officeDocument/2006/relationships/hyperlink" Target="http://www.rapidbbs.cn/" TargetMode="External"/><Relationship Id="rId2" Type="http://schemas.openxmlformats.org/officeDocument/2006/relationships/notesSlide" Target="../notesSlides/notesSlide282.xml"/><Relationship Id="rId1" Type="http://schemas.openxmlformats.org/officeDocument/2006/relationships/slideLayout" Target="../slideLayouts/slideLayout8.xml"/><Relationship Id="rId6" Type="http://schemas.microsoft.com/office/2007/relationships/hdphoto" Target="../media/hdphoto65.wdp"/><Relationship Id="rId5" Type="http://schemas.openxmlformats.org/officeDocument/2006/relationships/image" Target="../media/image493.png"/><Relationship Id="rId4" Type="http://schemas.microsoft.com/office/2007/relationships/hdphoto" Target="../media/hdphoto66.wdp"/></Relationships>
</file>

<file path=ppt/slides/_rels/slide434.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hyperlink" Target="http://www.rapidbbs.cn/" TargetMode="External"/><Relationship Id="rId1" Type="http://schemas.openxmlformats.org/officeDocument/2006/relationships/slideLayout" Target="../slideLayouts/slideLayout8.xml"/></Relationships>
</file>

<file path=ppt/slides/_rels/slide435.xml.rels><?xml version="1.0" encoding="UTF-8" standalone="yes"?>
<Relationships xmlns="http://schemas.openxmlformats.org/package/2006/relationships"><Relationship Id="rId8" Type="http://schemas.openxmlformats.org/officeDocument/2006/relationships/image" Target="../media/image112.png"/><Relationship Id="rId3" Type="http://schemas.openxmlformats.org/officeDocument/2006/relationships/image" Target="../media/image969.png"/><Relationship Id="rId7" Type="http://schemas.microsoft.com/office/2007/relationships/hdphoto" Target="../media/hdphoto24.wdp"/><Relationship Id="rId2" Type="http://schemas.openxmlformats.org/officeDocument/2006/relationships/notesSlide" Target="../notesSlides/notesSlide283.xml"/><Relationship Id="rId1" Type="http://schemas.openxmlformats.org/officeDocument/2006/relationships/slideLayout" Target="../slideLayouts/slideLayout12.xml"/><Relationship Id="rId6" Type="http://schemas.openxmlformats.org/officeDocument/2006/relationships/image" Target="../media/image179.png"/><Relationship Id="rId5" Type="http://schemas.microsoft.com/office/2007/relationships/hdphoto" Target="../media/hdphoto23.wdp"/><Relationship Id="rId10" Type="http://schemas.openxmlformats.org/officeDocument/2006/relationships/image" Target="../media/image47.emf"/><Relationship Id="rId4" Type="http://schemas.openxmlformats.org/officeDocument/2006/relationships/image" Target="../media/image178.png"/><Relationship Id="rId9" Type="http://schemas.openxmlformats.org/officeDocument/2006/relationships/hyperlink" Target="http://www.rapidbbs.cn/" TargetMode="External"/></Relationships>
</file>

<file path=ppt/slides/_rels/slide436.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chart" Target="../charts/chart3.xml"/><Relationship Id="rId1" Type="http://schemas.openxmlformats.org/officeDocument/2006/relationships/slideLayout" Target="../slideLayouts/slideLayout9.xml"/><Relationship Id="rId4" Type="http://schemas.openxmlformats.org/officeDocument/2006/relationships/image" Target="../media/image47.emf"/></Relationships>
</file>

<file path=ppt/slides/_rels/slide437.xml.rels><?xml version="1.0" encoding="UTF-8" standalone="yes"?>
<Relationships xmlns="http://schemas.openxmlformats.org/package/2006/relationships"><Relationship Id="rId8" Type="http://schemas.openxmlformats.org/officeDocument/2006/relationships/notesSlide" Target="../notesSlides/notesSlide284.xml"/><Relationship Id="rId13" Type="http://schemas.microsoft.com/office/2007/relationships/hdphoto" Target="../media/hdphoto23.wdp"/><Relationship Id="rId18" Type="http://schemas.openxmlformats.org/officeDocument/2006/relationships/hyperlink" Target="http://www.rapidbbs.cn/" TargetMode="External"/><Relationship Id="rId3" Type="http://schemas.openxmlformats.org/officeDocument/2006/relationships/tags" Target="../tags/tag527.xml"/><Relationship Id="rId7" Type="http://schemas.openxmlformats.org/officeDocument/2006/relationships/slideLayout" Target="../slideLayouts/slideLayout12.xml"/><Relationship Id="rId12" Type="http://schemas.openxmlformats.org/officeDocument/2006/relationships/image" Target="../media/image178.png"/><Relationship Id="rId17" Type="http://schemas.microsoft.com/office/2007/relationships/hdphoto" Target="../media/hdphoto93.wdp"/><Relationship Id="rId2" Type="http://schemas.openxmlformats.org/officeDocument/2006/relationships/tags" Target="../tags/tag526.xml"/><Relationship Id="rId16" Type="http://schemas.openxmlformats.org/officeDocument/2006/relationships/image" Target="../media/image713.png"/><Relationship Id="rId1" Type="http://schemas.openxmlformats.org/officeDocument/2006/relationships/tags" Target="../tags/tag525.xml"/><Relationship Id="rId6" Type="http://schemas.openxmlformats.org/officeDocument/2006/relationships/tags" Target="../tags/tag530.xml"/><Relationship Id="rId11" Type="http://schemas.microsoft.com/office/2007/relationships/hdphoto" Target="../media/hdphoto24.wdp"/><Relationship Id="rId5" Type="http://schemas.openxmlformats.org/officeDocument/2006/relationships/tags" Target="../tags/tag529.xml"/><Relationship Id="rId15" Type="http://schemas.microsoft.com/office/2007/relationships/hdphoto" Target="../media/hdphoto42.wdp"/><Relationship Id="rId10" Type="http://schemas.openxmlformats.org/officeDocument/2006/relationships/image" Target="../media/image179.png"/><Relationship Id="rId19" Type="http://schemas.openxmlformats.org/officeDocument/2006/relationships/image" Target="../media/image47.emf"/><Relationship Id="rId4" Type="http://schemas.openxmlformats.org/officeDocument/2006/relationships/tags" Target="../tags/tag528.xml"/><Relationship Id="rId9" Type="http://schemas.openxmlformats.org/officeDocument/2006/relationships/image" Target="../media/image61.wmf"/><Relationship Id="rId14" Type="http://schemas.openxmlformats.org/officeDocument/2006/relationships/image" Target="../media/image331.png"/></Relationships>
</file>

<file path=ppt/slides/_rels/slide438.xml.rels><?xml version="1.0" encoding="UTF-8" standalone="yes"?>
<Relationships xmlns="http://schemas.openxmlformats.org/package/2006/relationships"><Relationship Id="rId3" Type="http://schemas.microsoft.com/office/2007/relationships/hdphoto" Target="../media/hdphoto23.wdp"/><Relationship Id="rId2" Type="http://schemas.openxmlformats.org/officeDocument/2006/relationships/image" Target="../media/image178.png"/><Relationship Id="rId1" Type="http://schemas.openxmlformats.org/officeDocument/2006/relationships/slideLayout" Target="../slideLayouts/slideLayout12.xml"/><Relationship Id="rId6" Type="http://schemas.openxmlformats.org/officeDocument/2006/relationships/hyperlink" Target="http://www.rapidbbs.cn/" TargetMode="External"/><Relationship Id="rId5" Type="http://schemas.microsoft.com/office/2007/relationships/hdphoto" Target="../media/hdphoto24.wdp"/><Relationship Id="rId4" Type="http://schemas.openxmlformats.org/officeDocument/2006/relationships/image" Target="../media/image179.png"/></Relationships>
</file>

<file path=ppt/slides/_rels/slide439.xml.rels><?xml version="1.0" encoding="UTF-8" standalone="yes"?>
<Relationships xmlns="http://schemas.openxmlformats.org/package/2006/relationships"><Relationship Id="rId3" Type="http://schemas.openxmlformats.org/officeDocument/2006/relationships/image" Target="../media/image970.jpeg"/><Relationship Id="rId2" Type="http://schemas.openxmlformats.org/officeDocument/2006/relationships/notesSlide" Target="../notesSlides/notesSlide285.xml"/><Relationship Id="rId1" Type="http://schemas.openxmlformats.org/officeDocument/2006/relationships/slideLayout" Target="../slideLayouts/slideLayout12.xml"/><Relationship Id="rId5" Type="http://schemas.openxmlformats.org/officeDocument/2006/relationships/image" Target="../media/image47.emf"/><Relationship Id="rId4" Type="http://schemas.openxmlformats.org/officeDocument/2006/relationships/hyperlink" Target="http://www.rapidbbs.cn/" TargetMode="External"/></Relationships>
</file>

<file path=ppt/slides/_rels/slide44.xml.rels><?xml version="1.0" encoding="UTF-8" standalone="yes"?>
<Relationships xmlns="http://schemas.openxmlformats.org/package/2006/relationships"><Relationship Id="rId8" Type="http://schemas.openxmlformats.org/officeDocument/2006/relationships/image" Target="../media/image96.png"/><Relationship Id="rId13" Type="http://schemas.openxmlformats.org/officeDocument/2006/relationships/hyperlink" Target="http://www.rapidbbs.cn/" TargetMode="External"/><Relationship Id="rId3" Type="http://schemas.openxmlformats.org/officeDocument/2006/relationships/image" Target="../media/image91.png"/><Relationship Id="rId7" Type="http://schemas.openxmlformats.org/officeDocument/2006/relationships/image" Target="../media/image95.png"/><Relationship Id="rId12" Type="http://schemas.openxmlformats.org/officeDocument/2006/relationships/image" Target="../media/image100.png"/><Relationship Id="rId2" Type="http://schemas.openxmlformats.org/officeDocument/2006/relationships/notesSlide" Target="../notesSlides/notesSlide35.xml"/><Relationship Id="rId1" Type="http://schemas.openxmlformats.org/officeDocument/2006/relationships/slideLayout" Target="../slideLayouts/slideLayout8.xml"/><Relationship Id="rId6" Type="http://schemas.openxmlformats.org/officeDocument/2006/relationships/image" Target="../media/image94.png"/><Relationship Id="rId11" Type="http://schemas.openxmlformats.org/officeDocument/2006/relationships/image" Target="../media/image99.png"/><Relationship Id="rId5" Type="http://schemas.openxmlformats.org/officeDocument/2006/relationships/image" Target="../media/image93.png"/><Relationship Id="rId10" Type="http://schemas.openxmlformats.org/officeDocument/2006/relationships/image" Target="../media/image98.png"/><Relationship Id="rId4" Type="http://schemas.openxmlformats.org/officeDocument/2006/relationships/image" Target="../media/image92.png"/><Relationship Id="rId9" Type="http://schemas.openxmlformats.org/officeDocument/2006/relationships/image" Target="../media/image97.png"/><Relationship Id="rId14" Type="http://schemas.openxmlformats.org/officeDocument/2006/relationships/image" Target="../media/image47.emf"/></Relationships>
</file>

<file path=ppt/slides/_rels/slide440.xml.rels><?xml version="1.0" encoding="UTF-8" standalone="yes"?>
<Relationships xmlns="http://schemas.openxmlformats.org/package/2006/relationships"><Relationship Id="rId8" Type="http://schemas.openxmlformats.org/officeDocument/2006/relationships/hyperlink" Target="http://www.rapidbbs.cn/" TargetMode="External"/><Relationship Id="rId3" Type="http://schemas.openxmlformats.org/officeDocument/2006/relationships/image" Target="../media/image179.png"/><Relationship Id="rId7" Type="http://schemas.openxmlformats.org/officeDocument/2006/relationships/image" Target="../media/image973.png"/><Relationship Id="rId2" Type="http://schemas.openxmlformats.org/officeDocument/2006/relationships/notesSlide" Target="../notesSlides/notesSlide286.xml"/><Relationship Id="rId1" Type="http://schemas.openxmlformats.org/officeDocument/2006/relationships/slideLayout" Target="../slideLayouts/slideLayout12.xml"/><Relationship Id="rId6" Type="http://schemas.openxmlformats.org/officeDocument/2006/relationships/image" Target="../media/image972.png"/><Relationship Id="rId5" Type="http://schemas.openxmlformats.org/officeDocument/2006/relationships/image" Target="../media/image971.png"/><Relationship Id="rId4" Type="http://schemas.microsoft.com/office/2007/relationships/hdphoto" Target="../media/hdphoto24.wdp"/><Relationship Id="rId9" Type="http://schemas.openxmlformats.org/officeDocument/2006/relationships/image" Target="../media/image47.emf"/></Relationships>
</file>

<file path=ppt/slides/_rels/slide4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87.xml"/><Relationship Id="rId1" Type="http://schemas.openxmlformats.org/officeDocument/2006/relationships/slideLayout" Target="../slideLayouts/slideLayout8.xml"/><Relationship Id="rId5" Type="http://schemas.openxmlformats.org/officeDocument/2006/relationships/image" Target="../media/image47.emf"/><Relationship Id="rId4" Type="http://schemas.openxmlformats.org/officeDocument/2006/relationships/hyperlink" Target="http://www.rapidbbs.cn/" TargetMode="External"/></Relationships>
</file>

<file path=ppt/slides/_rels/slide442.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notesSlide" Target="../notesSlides/notesSlide288.xml"/><Relationship Id="rId1" Type="http://schemas.openxmlformats.org/officeDocument/2006/relationships/slideLayout" Target="../slideLayouts/slideLayout12.xml"/><Relationship Id="rId4" Type="http://schemas.openxmlformats.org/officeDocument/2006/relationships/image" Target="../media/image47.emf"/></Relationships>
</file>

<file path=ppt/slides/_rels/slide443.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image" Target="../media/image1.png"/><Relationship Id="rId1" Type="http://schemas.openxmlformats.org/officeDocument/2006/relationships/slideLayout" Target="../slideLayouts/slideLayout12.xml"/><Relationship Id="rId4" Type="http://schemas.openxmlformats.org/officeDocument/2006/relationships/image" Target="../media/image47.emf"/></Relationships>
</file>

<file path=ppt/slides/_rels/slide444.xml.rels><?xml version="1.0" encoding="UTF-8" standalone="yes"?>
<Relationships xmlns="http://schemas.openxmlformats.org/package/2006/relationships"><Relationship Id="rId8" Type="http://schemas.openxmlformats.org/officeDocument/2006/relationships/image" Target="../media/image977.png"/><Relationship Id="rId3" Type="http://schemas.openxmlformats.org/officeDocument/2006/relationships/slideLayout" Target="../slideLayouts/slideLayout12.xml"/><Relationship Id="rId7" Type="http://schemas.openxmlformats.org/officeDocument/2006/relationships/image" Target="../media/image976.jpeg"/><Relationship Id="rId12" Type="http://schemas.openxmlformats.org/officeDocument/2006/relationships/image" Target="../media/image47.emf"/><Relationship Id="rId2" Type="http://schemas.openxmlformats.org/officeDocument/2006/relationships/tags" Target="../tags/tag532.xml"/><Relationship Id="rId1" Type="http://schemas.openxmlformats.org/officeDocument/2006/relationships/tags" Target="../tags/tag531.xml"/><Relationship Id="rId6" Type="http://schemas.openxmlformats.org/officeDocument/2006/relationships/image" Target="../media/image975.png"/><Relationship Id="rId11" Type="http://schemas.openxmlformats.org/officeDocument/2006/relationships/hyperlink" Target="http://www.rapidbbs.cn/" TargetMode="External"/><Relationship Id="rId5" Type="http://schemas.openxmlformats.org/officeDocument/2006/relationships/image" Target="../media/image974.png"/><Relationship Id="rId10" Type="http://schemas.openxmlformats.org/officeDocument/2006/relationships/image" Target="../media/image979.png"/><Relationship Id="rId4" Type="http://schemas.openxmlformats.org/officeDocument/2006/relationships/notesSlide" Target="../notesSlides/notesSlide289.xml"/><Relationship Id="rId9" Type="http://schemas.openxmlformats.org/officeDocument/2006/relationships/image" Target="../media/image978.jpeg"/></Relationships>
</file>

<file path=ppt/slides/_rels/slide445.xml.rels><?xml version="1.0" encoding="UTF-8" standalone="yes"?>
<Relationships xmlns="http://schemas.openxmlformats.org/package/2006/relationships"><Relationship Id="rId8" Type="http://schemas.openxmlformats.org/officeDocument/2006/relationships/tags" Target="../tags/tag539.xml"/><Relationship Id="rId13" Type="http://schemas.openxmlformats.org/officeDocument/2006/relationships/tags" Target="../tags/tag544.xml"/><Relationship Id="rId18" Type="http://schemas.openxmlformats.org/officeDocument/2006/relationships/image" Target="../media/image161.png"/><Relationship Id="rId3" Type="http://schemas.openxmlformats.org/officeDocument/2006/relationships/tags" Target="../tags/tag534.xml"/><Relationship Id="rId7" Type="http://schemas.openxmlformats.org/officeDocument/2006/relationships/tags" Target="../tags/tag538.xml"/><Relationship Id="rId12" Type="http://schemas.openxmlformats.org/officeDocument/2006/relationships/tags" Target="../tags/tag543.xml"/><Relationship Id="rId17" Type="http://schemas.openxmlformats.org/officeDocument/2006/relationships/image" Target="../media/image19.emf"/><Relationship Id="rId2" Type="http://schemas.openxmlformats.org/officeDocument/2006/relationships/tags" Target="../tags/tag533.xml"/><Relationship Id="rId16" Type="http://schemas.openxmlformats.org/officeDocument/2006/relationships/oleObject" Target="../embeddings/oleObject27.bin"/><Relationship Id="rId1" Type="http://schemas.openxmlformats.org/officeDocument/2006/relationships/vmlDrawing" Target="../drawings/vmlDrawing27.vml"/><Relationship Id="rId6" Type="http://schemas.openxmlformats.org/officeDocument/2006/relationships/tags" Target="../tags/tag537.xml"/><Relationship Id="rId11" Type="http://schemas.openxmlformats.org/officeDocument/2006/relationships/tags" Target="../tags/tag542.xml"/><Relationship Id="rId5" Type="http://schemas.openxmlformats.org/officeDocument/2006/relationships/tags" Target="../tags/tag536.xml"/><Relationship Id="rId15" Type="http://schemas.openxmlformats.org/officeDocument/2006/relationships/notesSlide" Target="../notesSlides/notesSlide290.xml"/><Relationship Id="rId10" Type="http://schemas.openxmlformats.org/officeDocument/2006/relationships/tags" Target="../tags/tag541.xml"/><Relationship Id="rId19" Type="http://schemas.openxmlformats.org/officeDocument/2006/relationships/hyperlink" Target="http://www.rapidbbs.cn/" TargetMode="External"/><Relationship Id="rId4" Type="http://schemas.openxmlformats.org/officeDocument/2006/relationships/tags" Target="../tags/tag535.xml"/><Relationship Id="rId9" Type="http://schemas.openxmlformats.org/officeDocument/2006/relationships/tags" Target="../tags/tag540.xml"/><Relationship Id="rId14" Type="http://schemas.openxmlformats.org/officeDocument/2006/relationships/slideLayout" Target="../slideLayouts/slideLayout12.xml"/></Relationships>
</file>

<file path=ppt/slides/_rels/slide446.xml.rels><?xml version="1.0" encoding="UTF-8" standalone="yes"?>
<Relationships xmlns="http://schemas.openxmlformats.org/package/2006/relationships"><Relationship Id="rId3" Type="http://schemas.microsoft.com/office/2007/relationships/hdphoto" Target="../media/hdphoto23.wdp"/><Relationship Id="rId2" Type="http://schemas.openxmlformats.org/officeDocument/2006/relationships/image" Target="../media/image178.png"/><Relationship Id="rId1" Type="http://schemas.openxmlformats.org/officeDocument/2006/relationships/slideLayout" Target="../slideLayouts/slideLayout170.xml"/><Relationship Id="rId5" Type="http://schemas.openxmlformats.org/officeDocument/2006/relationships/image" Target="../media/image47.emf"/><Relationship Id="rId4" Type="http://schemas.openxmlformats.org/officeDocument/2006/relationships/hyperlink" Target="http://www.rapidbbs.cn/" TargetMode="External"/></Relationships>
</file>

<file path=ppt/slides/_rels/slide447.xml.rels><?xml version="1.0" encoding="UTF-8" standalone="yes"?>
<Relationships xmlns="http://schemas.openxmlformats.org/package/2006/relationships"><Relationship Id="rId8" Type="http://schemas.openxmlformats.org/officeDocument/2006/relationships/image" Target="../media/image96.png"/><Relationship Id="rId13" Type="http://schemas.openxmlformats.org/officeDocument/2006/relationships/image" Target="../media/image489.png"/><Relationship Id="rId3" Type="http://schemas.openxmlformats.org/officeDocument/2006/relationships/image" Target="../media/image91.png"/><Relationship Id="rId7" Type="http://schemas.openxmlformats.org/officeDocument/2006/relationships/image" Target="../media/image95.png"/><Relationship Id="rId12" Type="http://schemas.openxmlformats.org/officeDocument/2006/relationships/image" Target="../media/image100.png"/><Relationship Id="rId2" Type="http://schemas.openxmlformats.org/officeDocument/2006/relationships/notesSlide" Target="../notesSlides/notesSlide291.xml"/><Relationship Id="rId16" Type="http://schemas.openxmlformats.org/officeDocument/2006/relationships/image" Target="../media/image47.emf"/><Relationship Id="rId1" Type="http://schemas.openxmlformats.org/officeDocument/2006/relationships/slideLayout" Target="../slideLayouts/slideLayout8.xml"/><Relationship Id="rId6" Type="http://schemas.openxmlformats.org/officeDocument/2006/relationships/image" Target="../media/image94.png"/><Relationship Id="rId11" Type="http://schemas.openxmlformats.org/officeDocument/2006/relationships/image" Target="../media/image99.png"/><Relationship Id="rId5" Type="http://schemas.openxmlformats.org/officeDocument/2006/relationships/image" Target="../media/image93.png"/><Relationship Id="rId15" Type="http://schemas.openxmlformats.org/officeDocument/2006/relationships/hyperlink" Target="http://www.rapidbbs.cn/" TargetMode="External"/><Relationship Id="rId10" Type="http://schemas.openxmlformats.org/officeDocument/2006/relationships/image" Target="../media/image98.png"/><Relationship Id="rId4" Type="http://schemas.openxmlformats.org/officeDocument/2006/relationships/image" Target="../media/image92.png"/><Relationship Id="rId9" Type="http://schemas.openxmlformats.org/officeDocument/2006/relationships/image" Target="../media/image97.png"/><Relationship Id="rId14" Type="http://schemas.openxmlformats.org/officeDocument/2006/relationships/image" Target="../media/image490.png"/></Relationships>
</file>

<file path=ppt/slides/_rels/slide448.xml.rels><?xml version="1.0" encoding="UTF-8" standalone="yes"?>
<Relationships xmlns="http://schemas.openxmlformats.org/package/2006/relationships"><Relationship Id="rId8" Type="http://schemas.openxmlformats.org/officeDocument/2006/relationships/image" Target="../media/image172.png"/><Relationship Id="rId13" Type="http://schemas.openxmlformats.org/officeDocument/2006/relationships/image" Target="../media/image175.wmf"/><Relationship Id="rId18" Type="http://schemas.openxmlformats.org/officeDocument/2006/relationships/image" Target="../media/image179.png"/><Relationship Id="rId3" Type="http://schemas.openxmlformats.org/officeDocument/2006/relationships/image" Target="../media/image167.png"/><Relationship Id="rId21" Type="http://schemas.microsoft.com/office/2007/relationships/hdphoto" Target="../media/hdphoto25.wdp"/><Relationship Id="rId7" Type="http://schemas.openxmlformats.org/officeDocument/2006/relationships/image" Target="../media/image171.wmf"/><Relationship Id="rId12" Type="http://schemas.openxmlformats.org/officeDocument/2006/relationships/image" Target="../media/image174.png"/><Relationship Id="rId17" Type="http://schemas.microsoft.com/office/2007/relationships/hdphoto" Target="../media/hdphoto23.wdp"/><Relationship Id="rId2" Type="http://schemas.openxmlformats.org/officeDocument/2006/relationships/notesSlide" Target="../notesSlides/notesSlide292.xml"/><Relationship Id="rId16" Type="http://schemas.openxmlformats.org/officeDocument/2006/relationships/image" Target="../media/image178.png"/><Relationship Id="rId20" Type="http://schemas.openxmlformats.org/officeDocument/2006/relationships/image" Target="../media/image180.png"/><Relationship Id="rId1" Type="http://schemas.openxmlformats.org/officeDocument/2006/relationships/slideLayout" Target="../slideLayouts/slideLayout12.xml"/><Relationship Id="rId6" Type="http://schemas.openxmlformats.org/officeDocument/2006/relationships/image" Target="../media/image170.png"/><Relationship Id="rId11" Type="http://schemas.microsoft.com/office/2007/relationships/hdphoto" Target="../media/hdphoto22.wdp"/><Relationship Id="rId5" Type="http://schemas.openxmlformats.org/officeDocument/2006/relationships/image" Target="../media/image169.wmf"/><Relationship Id="rId15" Type="http://schemas.openxmlformats.org/officeDocument/2006/relationships/image" Target="../media/image177.jpeg"/><Relationship Id="rId23" Type="http://schemas.openxmlformats.org/officeDocument/2006/relationships/image" Target="../media/image47.emf"/><Relationship Id="rId10" Type="http://schemas.openxmlformats.org/officeDocument/2006/relationships/image" Target="../media/image173.jpeg"/><Relationship Id="rId19" Type="http://schemas.microsoft.com/office/2007/relationships/hdphoto" Target="../media/hdphoto24.wdp"/><Relationship Id="rId4" Type="http://schemas.openxmlformats.org/officeDocument/2006/relationships/image" Target="../media/image168.wmf"/><Relationship Id="rId9" Type="http://schemas.microsoft.com/office/2007/relationships/hdphoto" Target="../media/hdphoto21.wdp"/><Relationship Id="rId14" Type="http://schemas.openxmlformats.org/officeDocument/2006/relationships/image" Target="../media/image176.wmf"/><Relationship Id="rId22" Type="http://schemas.openxmlformats.org/officeDocument/2006/relationships/hyperlink" Target="http://www.rapidbbs.cn/" TargetMode="External"/></Relationships>
</file>

<file path=ppt/slides/_rels/slide449.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12.xml"/><Relationship Id="rId6" Type="http://schemas.openxmlformats.org/officeDocument/2006/relationships/image" Target="../media/image47.emf"/><Relationship Id="rId5" Type="http://schemas.openxmlformats.org/officeDocument/2006/relationships/hyperlink" Target="http://www.rapidbbs.cn/" TargetMode="External"/><Relationship Id="rId4" Type="http://schemas.openxmlformats.org/officeDocument/2006/relationships/image" Target="../media/image87.png"/></Relationships>
</file>

<file path=ppt/slides/_rels/slide45.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36.xml"/><Relationship Id="rId1" Type="http://schemas.openxmlformats.org/officeDocument/2006/relationships/slideLayout" Target="../slideLayouts/slideLayout12.xml"/><Relationship Id="rId6" Type="http://schemas.openxmlformats.org/officeDocument/2006/relationships/image" Target="../media/image47.emf"/><Relationship Id="rId5" Type="http://schemas.openxmlformats.org/officeDocument/2006/relationships/hyperlink" Target="http://www.rapidbbs.cn/" TargetMode="External"/><Relationship Id="rId4" Type="http://schemas.microsoft.com/office/2007/relationships/hdphoto" Target="../media/hdphoto13.wdp"/></Relationships>
</file>

<file path=ppt/slides/_rels/slide450.xml.rels><?xml version="1.0" encoding="UTF-8" standalone="yes"?>
<Relationships xmlns="http://schemas.openxmlformats.org/package/2006/relationships"><Relationship Id="rId3" Type="http://schemas.openxmlformats.org/officeDocument/2006/relationships/image" Target="../media/image980.png"/><Relationship Id="rId2" Type="http://schemas.openxmlformats.org/officeDocument/2006/relationships/notesSlide" Target="../notesSlides/notesSlide293.xml"/><Relationship Id="rId1" Type="http://schemas.openxmlformats.org/officeDocument/2006/relationships/slideLayout" Target="../slideLayouts/slideLayout8.xml"/><Relationship Id="rId5" Type="http://schemas.openxmlformats.org/officeDocument/2006/relationships/image" Target="../media/image47.emf"/><Relationship Id="rId4" Type="http://schemas.openxmlformats.org/officeDocument/2006/relationships/hyperlink" Target="http://www.rapidbbs.cn/" TargetMode="External"/></Relationships>
</file>

<file path=ppt/slides/_rels/slide451.xml.rels><?xml version="1.0" encoding="UTF-8" standalone="yes"?>
<Relationships xmlns="http://schemas.openxmlformats.org/package/2006/relationships"><Relationship Id="rId8" Type="http://schemas.openxmlformats.org/officeDocument/2006/relationships/image" Target="../media/image47.emf"/><Relationship Id="rId3" Type="http://schemas.openxmlformats.org/officeDocument/2006/relationships/image" Target="../media/image981.png"/><Relationship Id="rId7" Type="http://schemas.openxmlformats.org/officeDocument/2006/relationships/hyperlink" Target="http://www.rapidbbs.cn/" TargetMode="External"/><Relationship Id="rId2" Type="http://schemas.openxmlformats.org/officeDocument/2006/relationships/notesSlide" Target="../notesSlides/notesSlide294.xml"/><Relationship Id="rId1" Type="http://schemas.openxmlformats.org/officeDocument/2006/relationships/slideLayout" Target="../slideLayouts/slideLayout12.xml"/><Relationship Id="rId6" Type="http://schemas.microsoft.com/office/2007/relationships/hdphoto" Target="../media/hdphoto117.wdp"/><Relationship Id="rId5" Type="http://schemas.openxmlformats.org/officeDocument/2006/relationships/image" Target="../media/image982.png"/><Relationship Id="rId4" Type="http://schemas.microsoft.com/office/2007/relationships/hdphoto" Target="../media/hdphoto116.wdp"/></Relationships>
</file>

<file path=ppt/slides/_rels/slide452.xml.rels><?xml version="1.0" encoding="UTF-8" standalone="yes"?>
<Relationships xmlns="http://schemas.openxmlformats.org/package/2006/relationships"><Relationship Id="rId3" Type="http://schemas.openxmlformats.org/officeDocument/2006/relationships/image" Target="../media/image984.png"/><Relationship Id="rId7" Type="http://schemas.openxmlformats.org/officeDocument/2006/relationships/image" Target="../media/image47.emf"/><Relationship Id="rId2" Type="http://schemas.openxmlformats.org/officeDocument/2006/relationships/image" Target="../media/image983.png"/><Relationship Id="rId1" Type="http://schemas.openxmlformats.org/officeDocument/2006/relationships/slideLayout" Target="../slideLayouts/slideLayout12.xml"/><Relationship Id="rId6" Type="http://schemas.openxmlformats.org/officeDocument/2006/relationships/hyperlink" Target="http://www.rapidbbs.cn/" TargetMode="External"/><Relationship Id="rId5" Type="http://schemas.openxmlformats.org/officeDocument/2006/relationships/image" Target="../media/image986.gif"/><Relationship Id="rId4" Type="http://schemas.openxmlformats.org/officeDocument/2006/relationships/image" Target="../media/image985.png"/></Relationships>
</file>

<file path=ppt/slides/_rels/slide453.xml.rels><?xml version="1.0" encoding="UTF-8" standalone="yes"?>
<Relationships xmlns="http://schemas.openxmlformats.org/package/2006/relationships"><Relationship Id="rId8" Type="http://schemas.openxmlformats.org/officeDocument/2006/relationships/hyperlink" Target="http://www.rapidbbs.cn/" TargetMode="External"/><Relationship Id="rId3" Type="http://schemas.openxmlformats.org/officeDocument/2006/relationships/image" Target="../media/image181.png"/><Relationship Id="rId7" Type="http://schemas.openxmlformats.org/officeDocument/2006/relationships/image" Target="../media/image184.png"/><Relationship Id="rId2" Type="http://schemas.openxmlformats.org/officeDocument/2006/relationships/notesSlide" Target="../notesSlides/notesSlide295.xml"/><Relationship Id="rId1" Type="http://schemas.openxmlformats.org/officeDocument/2006/relationships/slideLayout" Target="../slideLayouts/slideLayout8.xml"/><Relationship Id="rId6" Type="http://schemas.openxmlformats.org/officeDocument/2006/relationships/image" Target="../media/image183.png"/><Relationship Id="rId5" Type="http://schemas.openxmlformats.org/officeDocument/2006/relationships/image" Target="../media/image124.png"/><Relationship Id="rId4" Type="http://schemas.openxmlformats.org/officeDocument/2006/relationships/image" Target="../media/image182.png"/><Relationship Id="rId9" Type="http://schemas.openxmlformats.org/officeDocument/2006/relationships/image" Target="../media/image47.emf"/></Relationships>
</file>

<file path=ppt/slides/_rels/slide454.xml.rels><?xml version="1.0" encoding="UTF-8" standalone="yes"?>
<Relationships xmlns="http://schemas.openxmlformats.org/package/2006/relationships"><Relationship Id="rId8" Type="http://schemas.openxmlformats.org/officeDocument/2006/relationships/hyperlink" Target="http://www.rapidbbs.cn/" TargetMode="External"/><Relationship Id="rId3" Type="http://schemas.openxmlformats.org/officeDocument/2006/relationships/image" Target="../media/image181.png"/><Relationship Id="rId7" Type="http://schemas.openxmlformats.org/officeDocument/2006/relationships/image" Target="../media/image187.png"/><Relationship Id="rId2" Type="http://schemas.openxmlformats.org/officeDocument/2006/relationships/notesSlide" Target="../notesSlides/notesSlide296.xml"/><Relationship Id="rId1" Type="http://schemas.openxmlformats.org/officeDocument/2006/relationships/slideLayout" Target="../slideLayouts/slideLayout8.xml"/><Relationship Id="rId6" Type="http://schemas.openxmlformats.org/officeDocument/2006/relationships/image" Target="../media/image186.png"/><Relationship Id="rId5" Type="http://schemas.openxmlformats.org/officeDocument/2006/relationships/image" Target="../media/image183.png"/><Relationship Id="rId4" Type="http://schemas.openxmlformats.org/officeDocument/2006/relationships/image" Target="../media/image185.png"/><Relationship Id="rId9" Type="http://schemas.openxmlformats.org/officeDocument/2006/relationships/image" Target="../media/image47.emf"/></Relationships>
</file>

<file path=ppt/slides/_rels/slide455.xml.rels><?xml version="1.0" encoding="UTF-8" standalone="yes"?>
<Relationships xmlns="http://schemas.openxmlformats.org/package/2006/relationships"><Relationship Id="rId8" Type="http://schemas.openxmlformats.org/officeDocument/2006/relationships/tags" Target="../tags/tag551.xml"/><Relationship Id="rId13" Type="http://schemas.openxmlformats.org/officeDocument/2006/relationships/tags" Target="../tags/tag556.xml"/><Relationship Id="rId18" Type="http://schemas.openxmlformats.org/officeDocument/2006/relationships/tags" Target="../tags/tag561.xml"/><Relationship Id="rId3" Type="http://schemas.openxmlformats.org/officeDocument/2006/relationships/tags" Target="../tags/tag546.xml"/><Relationship Id="rId21" Type="http://schemas.openxmlformats.org/officeDocument/2006/relationships/oleObject" Target="../embeddings/oleObject28.bin"/><Relationship Id="rId7" Type="http://schemas.openxmlformats.org/officeDocument/2006/relationships/tags" Target="../tags/tag550.xml"/><Relationship Id="rId12" Type="http://schemas.openxmlformats.org/officeDocument/2006/relationships/tags" Target="../tags/tag555.xml"/><Relationship Id="rId17" Type="http://schemas.openxmlformats.org/officeDocument/2006/relationships/tags" Target="../tags/tag560.xml"/><Relationship Id="rId2" Type="http://schemas.openxmlformats.org/officeDocument/2006/relationships/tags" Target="../tags/tag545.xml"/><Relationship Id="rId16" Type="http://schemas.openxmlformats.org/officeDocument/2006/relationships/tags" Target="../tags/tag559.xml"/><Relationship Id="rId20" Type="http://schemas.openxmlformats.org/officeDocument/2006/relationships/notesSlide" Target="../notesSlides/notesSlide297.xml"/><Relationship Id="rId1" Type="http://schemas.openxmlformats.org/officeDocument/2006/relationships/vmlDrawing" Target="../drawings/vmlDrawing28.vml"/><Relationship Id="rId6" Type="http://schemas.openxmlformats.org/officeDocument/2006/relationships/tags" Target="../tags/tag549.xml"/><Relationship Id="rId11" Type="http://schemas.openxmlformats.org/officeDocument/2006/relationships/tags" Target="../tags/tag554.xml"/><Relationship Id="rId24" Type="http://schemas.openxmlformats.org/officeDocument/2006/relationships/image" Target="../media/image47.emf"/><Relationship Id="rId5" Type="http://schemas.openxmlformats.org/officeDocument/2006/relationships/tags" Target="../tags/tag548.xml"/><Relationship Id="rId15" Type="http://schemas.openxmlformats.org/officeDocument/2006/relationships/tags" Target="../tags/tag558.xml"/><Relationship Id="rId23" Type="http://schemas.openxmlformats.org/officeDocument/2006/relationships/hyperlink" Target="http://www.rapidbbs.cn/" TargetMode="External"/><Relationship Id="rId10" Type="http://schemas.openxmlformats.org/officeDocument/2006/relationships/tags" Target="../tags/tag553.xml"/><Relationship Id="rId19" Type="http://schemas.openxmlformats.org/officeDocument/2006/relationships/slideLayout" Target="../slideLayouts/slideLayout12.xml"/><Relationship Id="rId4" Type="http://schemas.openxmlformats.org/officeDocument/2006/relationships/tags" Target="../tags/tag547.xml"/><Relationship Id="rId9" Type="http://schemas.openxmlformats.org/officeDocument/2006/relationships/tags" Target="../tags/tag552.xml"/><Relationship Id="rId14" Type="http://schemas.openxmlformats.org/officeDocument/2006/relationships/tags" Target="../tags/tag557.xml"/><Relationship Id="rId22" Type="http://schemas.openxmlformats.org/officeDocument/2006/relationships/image" Target="../media/image19.emf"/></Relationships>
</file>

<file path=ppt/slides/_rels/slide456.xml.rels><?xml version="1.0" encoding="UTF-8" standalone="yes"?>
<Relationships xmlns="http://schemas.openxmlformats.org/package/2006/relationships"><Relationship Id="rId8" Type="http://schemas.openxmlformats.org/officeDocument/2006/relationships/tags" Target="../tags/tag568.xml"/><Relationship Id="rId13" Type="http://schemas.openxmlformats.org/officeDocument/2006/relationships/tags" Target="../tags/tag573.xml"/><Relationship Id="rId18" Type="http://schemas.openxmlformats.org/officeDocument/2006/relationships/tags" Target="../tags/tag578.xml"/><Relationship Id="rId26" Type="http://schemas.openxmlformats.org/officeDocument/2006/relationships/slideLayout" Target="../slideLayouts/slideLayout12.xml"/><Relationship Id="rId3" Type="http://schemas.openxmlformats.org/officeDocument/2006/relationships/tags" Target="../tags/tag563.xml"/><Relationship Id="rId21" Type="http://schemas.openxmlformats.org/officeDocument/2006/relationships/tags" Target="../tags/tag581.xml"/><Relationship Id="rId34" Type="http://schemas.microsoft.com/office/2007/relationships/hdphoto" Target="../media/hdphoto120.wdp"/><Relationship Id="rId7" Type="http://schemas.openxmlformats.org/officeDocument/2006/relationships/tags" Target="../tags/tag567.xml"/><Relationship Id="rId12" Type="http://schemas.openxmlformats.org/officeDocument/2006/relationships/tags" Target="../tags/tag572.xml"/><Relationship Id="rId17" Type="http://schemas.openxmlformats.org/officeDocument/2006/relationships/tags" Target="../tags/tag577.xml"/><Relationship Id="rId25" Type="http://schemas.openxmlformats.org/officeDocument/2006/relationships/tags" Target="../tags/tag585.xml"/><Relationship Id="rId33" Type="http://schemas.openxmlformats.org/officeDocument/2006/relationships/image" Target="../media/image989.png"/><Relationship Id="rId2" Type="http://schemas.openxmlformats.org/officeDocument/2006/relationships/tags" Target="../tags/tag562.xml"/><Relationship Id="rId16" Type="http://schemas.openxmlformats.org/officeDocument/2006/relationships/tags" Target="../tags/tag576.xml"/><Relationship Id="rId20" Type="http://schemas.openxmlformats.org/officeDocument/2006/relationships/tags" Target="../tags/tag580.xml"/><Relationship Id="rId29" Type="http://schemas.openxmlformats.org/officeDocument/2006/relationships/image" Target="../media/image987.png"/><Relationship Id="rId1" Type="http://schemas.openxmlformats.org/officeDocument/2006/relationships/vmlDrawing" Target="../drawings/vmlDrawing29.vml"/><Relationship Id="rId6" Type="http://schemas.openxmlformats.org/officeDocument/2006/relationships/tags" Target="../tags/tag566.xml"/><Relationship Id="rId11" Type="http://schemas.openxmlformats.org/officeDocument/2006/relationships/tags" Target="../tags/tag571.xml"/><Relationship Id="rId24" Type="http://schemas.openxmlformats.org/officeDocument/2006/relationships/tags" Target="../tags/tag584.xml"/><Relationship Id="rId32" Type="http://schemas.microsoft.com/office/2007/relationships/hdphoto" Target="../media/hdphoto119.wdp"/><Relationship Id="rId37" Type="http://schemas.openxmlformats.org/officeDocument/2006/relationships/image" Target="../media/image47.emf"/><Relationship Id="rId5" Type="http://schemas.openxmlformats.org/officeDocument/2006/relationships/tags" Target="../tags/tag565.xml"/><Relationship Id="rId15" Type="http://schemas.openxmlformats.org/officeDocument/2006/relationships/tags" Target="../tags/tag575.xml"/><Relationship Id="rId23" Type="http://schemas.openxmlformats.org/officeDocument/2006/relationships/tags" Target="../tags/tag583.xml"/><Relationship Id="rId28" Type="http://schemas.openxmlformats.org/officeDocument/2006/relationships/image" Target="../media/image19.emf"/><Relationship Id="rId36" Type="http://schemas.openxmlformats.org/officeDocument/2006/relationships/hyperlink" Target="http://www.rapidbbs.cn/" TargetMode="External"/><Relationship Id="rId10" Type="http://schemas.openxmlformats.org/officeDocument/2006/relationships/tags" Target="../tags/tag570.xml"/><Relationship Id="rId19" Type="http://schemas.openxmlformats.org/officeDocument/2006/relationships/tags" Target="../tags/tag579.xml"/><Relationship Id="rId31" Type="http://schemas.openxmlformats.org/officeDocument/2006/relationships/image" Target="../media/image988.png"/><Relationship Id="rId4" Type="http://schemas.openxmlformats.org/officeDocument/2006/relationships/tags" Target="../tags/tag564.xml"/><Relationship Id="rId9" Type="http://schemas.openxmlformats.org/officeDocument/2006/relationships/tags" Target="../tags/tag569.xml"/><Relationship Id="rId14" Type="http://schemas.openxmlformats.org/officeDocument/2006/relationships/tags" Target="../tags/tag574.xml"/><Relationship Id="rId22" Type="http://schemas.openxmlformats.org/officeDocument/2006/relationships/tags" Target="../tags/tag582.xml"/><Relationship Id="rId27" Type="http://schemas.openxmlformats.org/officeDocument/2006/relationships/oleObject" Target="../embeddings/oleObject29.bin"/><Relationship Id="rId30" Type="http://schemas.microsoft.com/office/2007/relationships/hdphoto" Target="../media/hdphoto118.wdp"/><Relationship Id="rId35" Type="http://schemas.openxmlformats.org/officeDocument/2006/relationships/image" Target="../media/image990.png"/></Relationships>
</file>

<file path=ppt/slides/_rels/slide457.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hyperlink" Target="http://www.rapidbbs.cn/" TargetMode="External"/><Relationship Id="rId1" Type="http://schemas.openxmlformats.org/officeDocument/2006/relationships/slideLayout" Target="../slideLayouts/slideLayout13.xml"/></Relationships>
</file>

<file path=ppt/slides/_rels/slide458.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hyperlink" Target="http://www.rapidbbs.cn/" TargetMode="External"/><Relationship Id="rId1" Type="http://schemas.openxmlformats.org/officeDocument/2006/relationships/slideLayout" Target="../slideLayouts/slideLayout9.xml"/></Relationships>
</file>

<file path=ppt/slides/_rels/slide459.xml.rels><?xml version="1.0" encoding="UTF-8" standalone="yes"?>
<Relationships xmlns="http://schemas.openxmlformats.org/package/2006/relationships"><Relationship Id="rId8" Type="http://schemas.openxmlformats.org/officeDocument/2006/relationships/hyperlink" Target="http://www.rapidbbs.cn/" TargetMode="External"/><Relationship Id="rId3" Type="http://schemas.openxmlformats.org/officeDocument/2006/relationships/tags" Target="../tags/tag588.xml"/><Relationship Id="rId7" Type="http://schemas.openxmlformats.org/officeDocument/2006/relationships/image" Target="../media/image228.png"/><Relationship Id="rId2" Type="http://schemas.openxmlformats.org/officeDocument/2006/relationships/tags" Target="../tags/tag587.xml"/><Relationship Id="rId1" Type="http://schemas.openxmlformats.org/officeDocument/2006/relationships/tags" Target="../tags/tag586.xml"/><Relationship Id="rId6" Type="http://schemas.openxmlformats.org/officeDocument/2006/relationships/notesSlide" Target="../notesSlides/notesSlide298.xml"/><Relationship Id="rId5" Type="http://schemas.openxmlformats.org/officeDocument/2006/relationships/slideLayout" Target="../slideLayouts/slideLayout12.xml"/><Relationship Id="rId4" Type="http://schemas.openxmlformats.org/officeDocument/2006/relationships/tags" Target="../tags/tag589.xml"/><Relationship Id="rId9" Type="http://schemas.openxmlformats.org/officeDocument/2006/relationships/image" Target="../media/image47.emf"/></Relationships>
</file>

<file path=ppt/slides/_rels/slide46.xml.rels><?xml version="1.0" encoding="UTF-8" standalone="yes"?>
<Relationships xmlns="http://schemas.openxmlformats.org/package/2006/relationships"><Relationship Id="rId8" Type="http://schemas.openxmlformats.org/officeDocument/2006/relationships/image" Target="../media/image47.emf"/><Relationship Id="rId3" Type="http://schemas.openxmlformats.org/officeDocument/2006/relationships/image" Target="../media/image138.png"/><Relationship Id="rId7" Type="http://schemas.openxmlformats.org/officeDocument/2006/relationships/hyperlink" Target="http://www.rapidbbs.cn/" TargetMode="External"/><Relationship Id="rId2" Type="http://schemas.openxmlformats.org/officeDocument/2006/relationships/notesSlide" Target="../notesSlides/notesSlide37.xml"/><Relationship Id="rId1" Type="http://schemas.openxmlformats.org/officeDocument/2006/relationships/slideLayout" Target="../slideLayouts/slideLayout8.xml"/><Relationship Id="rId6" Type="http://schemas.openxmlformats.org/officeDocument/2006/relationships/image" Target="../media/image141.png"/><Relationship Id="rId5" Type="http://schemas.openxmlformats.org/officeDocument/2006/relationships/image" Target="../media/image140.png"/><Relationship Id="rId4" Type="http://schemas.openxmlformats.org/officeDocument/2006/relationships/image" Target="../media/image139.wmf"/></Relationships>
</file>

<file path=ppt/slides/_rels/slide460.xml.rels><?xml version="1.0" encoding="UTF-8" standalone="yes"?>
<Relationships xmlns="http://schemas.openxmlformats.org/package/2006/relationships"><Relationship Id="rId8" Type="http://schemas.openxmlformats.org/officeDocument/2006/relationships/image" Target="../media/image47.emf"/><Relationship Id="rId3" Type="http://schemas.openxmlformats.org/officeDocument/2006/relationships/tags" Target="../tags/tag592.xml"/><Relationship Id="rId7" Type="http://schemas.openxmlformats.org/officeDocument/2006/relationships/hyperlink" Target="http://www.rapidbbs.cn/" TargetMode="External"/><Relationship Id="rId2" Type="http://schemas.openxmlformats.org/officeDocument/2006/relationships/tags" Target="../tags/tag591.xml"/><Relationship Id="rId1" Type="http://schemas.openxmlformats.org/officeDocument/2006/relationships/tags" Target="../tags/tag590.xml"/><Relationship Id="rId6" Type="http://schemas.openxmlformats.org/officeDocument/2006/relationships/notesSlide" Target="../notesSlides/notesSlide299.xml"/><Relationship Id="rId5" Type="http://schemas.openxmlformats.org/officeDocument/2006/relationships/slideLayout" Target="../slideLayouts/slideLayout12.xml"/><Relationship Id="rId4" Type="http://schemas.openxmlformats.org/officeDocument/2006/relationships/tags" Target="../tags/tag593.xml"/></Relationships>
</file>

<file path=ppt/slides/_rels/slide461.xml.rels><?xml version="1.0" encoding="UTF-8" standalone="yes"?>
<Relationships xmlns="http://schemas.openxmlformats.org/package/2006/relationships"><Relationship Id="rId8" Type="http://schemas.openxmlformats.org/officeDocument/2006/relationships/image" Target="../media/image47.emf"/><Relationship Id="rId3" Type="http://schemas.openxmlformats.org/officeDocument/2006/relationships/tags" Target="../tags/tag596.xml"/><Relationship Id="rId7" Type="http://schemas.openxmlformats.org/officeDocument/2006/relationships/hyperlink" Target="http://www.rapidbbs.cn/" TargetMode="External"/><Relationship Id="rId2" Type="http://schemas.openxmlformats.org/officeDocument/2006/relationships/tags" Target="../tags/tag595.xml"/><Relationship Id="rId1" Type="http://schemas.openxmlformats.org/officeDocument/2006/relationships/tags" Target="../tags/tag594.xml"/><Relationship Id="rId6" Type="http://schemas.openxmlformats.org/officeDocument/2006/relationships/notesSlide" Target="../notesSlides/notesSlide300.xml"/><Relationship Id="rId5" Type="http://schemas.openxmlformats.org/officeDocument/2006/relationships/slideLayout" Target="../slideLayouts/slideLayout12.xml"/><Relationship Id="rId4" Type="http://schemas.openxmlformats.org/officeDocument/2006/relationships/tags" Target="../tags/tag597.xml"/></Relationships>
</file>

<file path=ppt/slides/_rels/slide462.xml.rels><?xml version="1.0" encoding="UTF-8" standalone="yes"?>
<Relationships xmlns="http://schemas.openxmlformats.org/package/2006/relationships"><Relationship Id="rId8" Type="http://schemas.openxmlformats.org/officeDocument/2006/relationships/tags" Target="../tags/tag605.xml"/><Relationship Id="rId13" Type="http://schemas.openxmlformats.org/officeDocument/2006/relationships/slideLayout" Target="../slideLayouts/slideLayout12.xml"/><Relationship Id="rId3" Type="http://schemas.openxmlformats.org/officeDocument/2006/relationships/tags" Target="../tags/tag600.xml"/><Relationship Id="rId7" Type="http://schemas.openxmlformats.org/officeDocument/2006/relationships/tags" Target="../tags/tag604.xml"/><Relationship Id="rId12" Type="http://schemas.openxmlformats.org/officeDocument/2006/relationships/tags" Target="../tags/tag609.xml"/><Relationship Id="rId17" Type="http://schemas.openxmlformats.org/officeDocument/2006/relationships/image" Target="../media/image47.emf"/><Relationship Id="rId2" Type="http://schemas.openxmlformats.org/officeDocument/2006/relationships/tags" Target="../tags/tag599.xml"/><Relationship Id="rId16" Type="http://schemas.openxmlformats.org/officeDocument/2006/relationships/hyperlink" Target="http://www.rapidbbs.cn/" TargetMode="External"/><Relationship Id="rId1" Type="http://schemas.openxmlformats.org/officeDocument/2006/relationships/tags" Target="../tags/tag598.xml"/><Relationship Id="rId6" Type="http://schemas.openxmlformats.org/officeDocument/2006/relationships/tags" Target="../tags/tag603.xml"/><Relationship Id="rId11" Type="http://schemas.openxmlformats.org/officeDocument/2006/relationships/tags" Target="../tags/tag608.xml"/><Relationship Id="rId5" Type="http://schemas.openxmlformats.org/officeDocument/2006/relationships/tags" Target="../tags/tag602.xml"/><Relationship Id="rId15" Type="http://schemas.openxmlformats.org/officeDocument/2006/relationships/image" Target="../media/image228.png"/><Relationship Id="rId10" Type="http://schemas.openxmlformats.org/officeDocument/2006/relationships/tags" Target="../tags/tag607.xml"/><Relationship Id="rId4" Type="http://schemas.openxmlformats.org/officeDocument/2006/relationships/tags" Target="../tags/tag601.xml"/><Relationship Id="rId9" Type="http://schemas.openxmlformats.org/officeDocument/2006/relationships/tags" Target="../tags/tag606.xml"/><Relationship Id="rId14" Type="http://schemas.openxmlformats.org/officeDocument/2006/relationships/notesSlide" Target="../notesSlides/notesSlide301.xml"/></Relationships>
</file>

<file path=ppt/slides/_rels/slide463.xml.rels><?xml version="1.0" encoding="UTF-8" standalone="yes"?>
<Relationships xmlns="http://schemas.openxmlformats.org/package/2006/relationships"><Relationship Id="rId3" Type="http://schemas.openxmlformats.org/officeDocument/2006/relationships/image" Target="../media/image992.png"/><Relationship Id="rId2" Type="http://schemas.openxmlformats.org/officeDocument/2006/relationships/image" Target="../media/image991.png"/><Relationship Id="rId1" Type="http://schemas.openxmlformats.org/officeDocument/2006/relationships/slideLayout" Target="../slideLayouts/slideLayout12.xml"/><Relationship Id="rId5" Type="http://schemas.openxmlformats.org/officeDocument/2006/relationships/image" Target="../media/image47.emf"/><Relationship Id="rId4" Type="http://schemas.openxmlformats.org/officeDocument/2006/relationships/hyperlink" Target="http://www.rapidbbs.cn/" TargetMode="External"/></Relationships>
</file>

<file path=ppt/slides/_rels/slide464.xml.rels><?xml version="1.0" encoding="UTF-8" standalone="yes"?>
<Relationships xmlns="http://schemas.openxmlformats.org/package/2006/relationships"><Relationship Id="rId3" Type="http://schemas.openxmlformats.org/officeDocument/2006/relationships/image" Target="../media/image993.jpg"/><Relationship Id="rId2" Type="http://schemas.openxmlformats.org/officeDocument/2006/relationships/notesSlide" Target="../notesSlides/notesSlide302.xml"/><Relationship Id="rId1" Type="http://schemas.openxmlformats.org/officeDocument/2006/relationships/slideLayout" Target="../slideLayouts/slideLayout12.xml"/><Relationship Id="rId5" Type="http://schemas.openxmlformats.org/officeDocument/2006/relationships/image" Target="../media/image47.emf"/><Relationship Id="rId4" Type="http://schemas.openxmlformats.org/officeDocument/2006/relationships/hyperlink" Target="http://www.rapidbbs.cn/" TargetMode="External"/></Relationships>
</file>

<file path=ppt/slides/_rels/slide465.xml.rels><?xml version="1.0" encoding="UTF-8" standalone="yes"?>
<Relationships xmlns="http://schemas.openxmlformats.org/package/2006/relationships"><Relationship Id="rId3" Type="http://schemas.openxmlformats.org/officeDocument/2006/relationships/image" Target="../media/image995.jpeg"/><Relationship Id="rId2" Type="http://schemas.openxmlformats.org/officeDocument/2006/relationships/image" Target="../media/image994.jpeg"/><Relationship Id="rId1" Type="http://schemas.openxmlformats.org/officeDocument/2006/relationships/slideLayout" Target="../slideLayouts/slideLayout12.xml"/><Relationship Id="rId5" Type="http://schemas.openxmlformats.org/officeDocument/2006/relationships/image" Target="../media/image47.emf"/><Relationship Id="rId4" Type="http://schemas.openxmlformats.org/officeDocument/2006/relationships/hyperlink" Target="http://www.rapidbbs.cn/" TargetMode="External"/></Relationships>
</file>

<file path=ppt/slides/_rels/slide466.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image" Target="../media/image996.jpeg"/><Relationship Id="rId1" Type="http://schemas.openxmlformats.org/officeDocument/2006/relationships/slideLayout" Target="../slideLayouts/slideLayout12.xml"/><Relationship Id="rId4" Type="http://schemas.openxmlformats.org/officeDocument/2006/relationships/image" Target="../media/image47.emf"/></Relationships>
</file>

<file path=ppt/slides/_rels/slide467.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hyperlink" Target="http://www.rapidbbs.cn/" TargetMode="External"/><Relationship Id="rId1" Type="http://schemas.openxmlformats.org/officeDocument/2006/relationships/slideLayout" Target="../slideLayouts/slideLayout12.xml"/></Relationships>
</file>

<file path=ppt/slides/_rels/slide468.xml.rels><?xml version="1.0" encoding="UTF-8" standalone="yes"?>
<Relationships xmlns="http://schemas.openxmlformats.org/package/2006/relationships"><Relationship Id="rId8" Type="http://schemas.openxmlformats.org/officeDocument/2006/relationships/image" Target="../media/image47.emf"/><Relationship Id="rId3" Type="http://schemas.openxmlformats.org/officeDocument/2006/relationships/image" Target="../media/image997.jpeg"/><Relationship Id="rId7" Type="http://schemas.openxmlformats.org/officeDocument/2006/relationships/hyperlink" Target="http://www.rapidbbs.cn/" TargetMode="External"/><Relationship Id="rId2" Type="http://schemas.openxmlformats.org/officeDocument/2006/relationships/notesSlide" Target="../notesSlides/notesSlide303.xml"/><Relationship Id="rId1" Type="http://schemas.openxmlformats.org/officeDocument/2006/relationships/slideLayout" Target="../slideLayouts/slideLayout12.xml"/><Relationship Id="rId6" Type="http://schemas.openxmlformats.org/officeDocument/2006/relationships/image" Target="../media/image1000.jpeg"/><Relationship Id="rId5" Type="http://schemas.openxmlformats.org/officeDocument/2006/relationships/image" Target="../media/image999.jpeg"/><Relationship Id="rId4" Type="http://schemas.openxmlformats.org/officeDocument/2006/relationships/image" Target="../media/image998.jpeg"/></Relationships>
</file>

<file path=ppt/slides/_rels/slide469.xml.rels><?xml version="1.0" encoding="UTF-8" standalone="yes"?>
<Relationships xmlns="http://schemas.openxmlformats.org/package/2006/relationships"><Relationship Id="rId13" Type="http://schemas.openxmlformats.org/officeDocument/2006/relationships/image" Target="../media/image1011.png"/><Relationship Id="rId18" Type="http://schemas.openxmlformats.org/officeDocument/2006/relationships/image" Target="../media/image1016.png"/><Relationship Id="rId26" Type="http://schemas.openxmlformats.org/officeDocument/2006/relationships/image" Target="../media/image1024.png"/><Relationship Id="rId39" Type="http://schemas.openxmlformats.org/officeDocument/2006/relationships/image" Target="../media/image1037.png"/><Relationship Id="rId21" Type="http://schemas.openxmlformats.org/officeDocument/2006/relationships/image" Target="../media/image1019.png"/><Relationship Id="rId34" Type="http://schemas.openxmlformats.org/officeDocument/2006/relationships/image" Target="../media/image1032.png"/><Relationship Id="rId42" Type="http://schemas.openxmlformats.org/officeDocument/2006/relationships/image" Target="../media/image1040.jpeg"/><Relationship Id="rId47" Type="http://schemas.openxmlformats.org/officeDocument/2006/relationships/image" Target="../media/image1044.png"/><Relationship Id="rId50" Type="http://schemas.microsoft.com/office/2007/relationships/hdphoto" Target="../media/hdphoto123.wdp"/><Relationship Id="rId55" Type="http://schemas.openxmlformats.org/officeDocument/2006/relationships/image" Target="../media/image1049.png"/><Relationship Id="rId7" Type="http://schemas.openxmlformats.org/officeDocument/2006/relationships/image" Target="../media/image1005.png"/><Relationship Id="rId12" Type="http://schemas.openxmlformats.org/officeDocument/2006/relationships/image" Target="../media/image1010.png"/><Relationship Id="rId17" Type="http://schemas.openxmlformats.org/officeDocument/2006/relationships/image" Target="../media/image1015.png"/><Relationship Id="rId25" Type="http://schemas.openxmlformats.org/officeDocument/2006/relationships/image" Target="../media/image1023.png"/><Relationship Id="rId33" Type="http://schemas.openxmlformats.org/officeDocument/2006/relationships/image" Target="../media/image1031.png"/><Relationship Id="rId38" Type="http://schemas.openxmlformats.org/officeDocument/2006/relationships/image" Target="../media/image1036.png"/><Relationship Id="rId46" Type="http://schemas.microsoft.com/office/2007/relationships/hdphoto" Target="../media/hdphoto121.wdp"/><Relationship Id="rId59" Type="http://schemas.openxmlformats.org/officeDocument/2006/relationships/image" Target="../media/image47.emf"/><Relationship Id="rId2" Type="http://schemas.openxmlformats.org/officeDocument/2006/relationships/notesSlide" Target="../notesSlides/notesSlide304.xml"/><Relationship Id="rId16" Type="http://schemas.openxmlformats.org/officeDocument/2006/relationships/image" Target="../media/image1014.png"/><Relationship Id="rId20" Type="http://schemas.openxmlformats.org/officeDocument/2006/relationships/image" Target="../media/image1018.png"/><Relationship Id="rId29" Type="http://schemas.openxmlformats.org/officeDocument/2006/relationships/image" Target="../media/image1027.png"/><Relationship Id="rId41" Type="http://schemas.openxmlformats.org/officeDocument/2006/relationships/image" Target="../media/image1039.png"/><Relationship Id="rId54" Type="http://schemas.microsoft.com/office/2007/relationships/hdphoto" Target="../media/hdphoto124.wdp"/><Relationship Id="rId1" Type="http://schemas.openxmlformats.org/officeDocument/2006/relationships/slideLayout" Target="../slideLayouts/slideLayout13.xml"/><Relationship Id="rId6" Type="http://schemas.openxmlformats.org/officeDocument/2006/relationships/image" Target="../media/image1004.png"/><Relationship Id="rId11" Type="http://schemas.openxmlformats.org/officeDocument/2006/relationships/image" Target="../media/image1009.png"/><Relationship Id="rId24" Type="http://schemas.openxmlformats.org/officeDocument/2006/relationships/image" Target="../media/image1022.png"/><Relationship Id="rId32" Type="http://schemas.openxmlformats.org/officeDocument/2006/relationships/image" Target="../media/image1030.png"/><Relationship Id="rId37" Type="http://schemas.openxmlformats.org/officeDocument/2006/relationships/image" Target="../media/image1035.png"/><Relationship Id="rId40" Type="http://schemas.openxmlformats.org/officeDocument/2006/relationships/image" Target="../media/image1038.png"/><Relationship Id="rId45" Type="http://schemas.openxmlformats.org/officeDocument/2006/relationships/image" Target="../media/image1043.png"/><Relationship Id="rId53" Type="http://schemas.openxmlformats.org/officeDocument/2006/relationships/image" Target="../media/image1048.png"/><Relationship Id="rId58" Type="http://schemas.openxmlformats.org/officeDocument/2006/relationships/hyperlink" Target="http://www.rapidbbs.cn/" TargetMode="External"/><Relationship Id="rId5" Type="http://schemas.openxmlformats.org/officeDocument/2006/relationships/image" Target="../media/image1003.png"/><Relationship Id="rId15" Type="http://schemas.openxmlformats.org/officeDocument/2006/relationships/image" Target="../media/image1013.png"/><Relationship Id="rId23" Type="http://schemas.openxmlformats.org/officeDocument/2006/relationships/image" Target="../media/image1021.png"/><Relationship Id="rId28" Type="http://schemas.openxmlformats.org/officeDocument/2006/relationships/image" Target="../media/image1026.png"/><Relationship Id="rId36" Type="http://schemas.openxmlformats.org/officeDocument/2006/relationships/image" Target="../media/image1034.png"/><Relationship Id="rId49" Type="http://schemas.openxmlformats.org/officeDocument/2006/relationships/image" Target="../media/image1045.png"/><Relationship Id="rId57" Type="http://schemas.openxmlformats.org/officeDocument/2006/relationships/image" Target="../media/image1050.emf"/><Relationship Id="rId10" Type="http://schemas.openxmlformats.org/officeDocument/2006/relationships/image" Target="../media/image1008.png"/><Relationship Id="rId19" Type="http://schemas.openxmlformats.org/officeDocument/2006/relationships/image" Target="../media/image1017.png"/><Relationship Id="rId31" Type="http://schemas.openxmlformats.org/officeDocument/2006/relationships/image" Target="../media/image1029.png"/><Relationship Id="rId44" Type="http://schemas.openxmlformats.org/officeDocument/2006/relationships/image" Target="../media/image1042.jpeg"/><Relationship Id="rId52" Type="http://schemas.openxmlformats.org/officeDocument/2006/relationships/image" Target="../media/image1047.emf"/><Relationship Id="rId4" Type="http://schemas.openxmlformats.org/officeDocument/2006/relationships/image" Target="../media/image1002.png"/><Relationship Id="rId9" Type="http://schemas.openxmlformats.org/officeDocument/2006/relationships/image" Target="../media/image1007.png"/><Relationship Id="rId14" Type="http://schemas.openxmlformats.org/officeDocument/2006/relationships/image" Target="../media/image1012.png"/><Relationship Id="rId22" Type="http://schemas.openxmlformats.org/officeDocument/2006/relationships/image" Target="../media/image1020.png"/><Relationship Id="rId27" Type="http://schemas.openxmlformats.org/officeDocument/2006/relationships/image" Target="../media/image1025.png"/><Relationship Id="rId30" Type="http://schemas.openxmlformats.org/officeDocument/2006/relationships/image" Target="../media/image1028.png"/><Relationship Id="rId35" Type="http://schemas.openxmlformats.org/officeDocument/2006/relationships/image" Target="../media/image1033.png"/><Relationship Id="rId43" Type="http://schemas.openxmlformats.org/officeDocument/2006/relationships/image" Target="../media/image1041.jpeg"/><Relationship Id="rId48" Type="http://schemas.microsoft.com/office/2007/relationships/hdphoto" Target="../media/hdphoto122.wdp"/><Relationship Id="rId56" Type="http://schemas.microsoft.com/office/2007/relationships/hdphoto" Target="../media/hdphoto125.wdp"/><Relationship Id="rId8" Type="http://schemas.openxmlformats.org/officeDocument/2006/relationships/image" Target="../media/image1006.png"/><Relationship Id="rId51" Type="http://schemas.openxmlformats.org/officeDocument/2006/relationships/image" Target="../media/image1046.png"/><Relationship Id="rId3" Type="http://schemas.openxmlformats.org/officeDocument/2006/relationships/image" Target="../media/image1001.png"/></Relationships>
</file>

<file path=ppt/slides/_rels/slide47.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notesSlide" Target="../notesSlides/notesSlide38.xml"/><Relationship Id="rId18" Type="http://schemas.openxmlformats.org/officeDocument/2006/relationships/image" Target="../media/image144.png"/><Relationship Id="rId3" Type="http://schemas.openxmlformats.org/officeDocument/2006/relationships/tags" Target="../tags/tag20.xml"/><Relationship Id="rId7" Type="http://schemas.openxmlformats.org/officeDocument/2006/relationships/tags" Target="../tags/tag24.xml"/><Relationship Id="rId12" Type="http://schemas.openxmlformats.org/officeDocument/2006/relationships/slideLayout" Target="../slideLayouts/slideLayout12.xml"/><Relationship Id="rId17" Type="http://schemas.openxmlformats.org/officeDocument/2006/relationships/image" Target="../media/image143.png"/><Relationship Id="rId2" Type="http://schemas.openxmlformats.org/officeDocument/2006/relationships/tags" Target="../tags/tag19.xml"/><Relationship Id="rId16" Type="http://schemas.openxmlformats.org/officeDocument/2006/relationships/image" Target="../media/image142.png"/><Relationship Id="rId20" Type="http://schemas.openxmlformats.org/officeDocument/2006/relationships/image" Target="../media/image47.emf"/><Relationship Id="rId1" Type="http://schemas.openxmlformats.org/officeDocument/2006/relationships/vmlDrawing" Target="../drawings/vmlDrawing2.vml"/><Relationship Id="rId6" Type="http://schemas.openxmlformats.org/officeDocument/2006/relationships/tags" Target="../tags/tag23.xml"/><Relationship Id="rId11" Type="http://schemas.openxmlformats.org/officeDocument/2006/relationships/tags" Target="../tags/tag28.xml"/><Relationship Id="rId5" Type="http://schemas.openxmlformats.org/officeDocument/2006/relationships/tags" Target="../tags/tag22.xml"/><Relationship Id="rId15" Type="http://schemas.openxmlformats.org/officeDocument/2006/relationships/image" Target="../media/image19.emf"/><Relationship Id="rId10" Type="http://schemas.openxmlformats.org/officeDocument/2006/relationships/tags" Target="../tags/tag27.xml"/><Relationship Id="rId19" Type="http://schemas.openxmlformats.org/officeDocument/2006/relationships/hyperlink" Target="http://www.rapidbbs.cn/" TargetMode="External"/><Relationship Id="rId4" Type="http://schemas.openxmlformats.org/officeDocument/2006/relationships/tags" Target="../tags/tag21.xml"/><Relationship Id="rId9" Type="http://schemas.openxmlformats.org/officeDocument/2006/relationships/tags" Target="../tags/tag26.xml"/><Relationship Id="rId14" Type="http://schemas.openxmlformats.org/officeDocument/2006/relationships/oleObject" Target="../embeddings/oleObject2.bin"/></Relationships>
</file>

<file path=ppt/slides/_rels/slide470.xml.rels><?xml version="1.0" encoding="UTF-8" standalone="yes"?>
<Relationships xmlns="http://schemas.openxmlformats.org/package/2006/relationships"><Relationship Id="rId8" Type="http://schemas.openxmlformats.org/officeDocument/2006/relationships/image" Target="../media/image1056.jpg"/><Relationship Id="rId3" Type="http://schemas.openxmlformats.org/officeDocument/2006/relationships/image" Target="../media/image1051.png"/><Relationship Id="rId7" Type="http://schemas.openxmlformats.org/officeDocument/2006/relationships/image" Target="../media/image1055.png"/><Relationship Id="rId2" Type="http://schemas.openxmlformats.org/officeDocument/2006/relationships/notesSlide" Target="../notesSlides/notesSlide305.xml"/><Relationship Id="rId1" Type="http://schemas.openxmlformats.org/officeDocument/2006/relationships/slideLayout" Target="../slideLayouts/slideLayout12.xml"/><Relationship Id="rId6" Type="http://schemas.openxmlformats.org/officeDocument/2006/relationships/image" Target="../media/image1054.png"/><Relationship Id="rId11" Type="http://schemas.openxmlformats.org/officeDocument/2006/relationships/image" Target="../media/image47.emf"/><Relationship Id="rId5" Type="http://schemas.openxmlformats.org/officeDocument/2006/relationships/image" Target="../media/image1053.png"/><Relationship Id="rId10" Type="http://schemas.openxmlformats.org/officeDocument/2006/relationships/hyperlink" Target="http://www.rapidbbs.cn/" TargetMode="External"/><Relationship Id="rId4" Type="http://schemas.openxmlformats.org/officeDocument/2006/relationships/image" Target="../media/image1052.jpg"/><Relationship Id="rId9" Type="http://schemas.openxmlformats.org/officeDocument/2006/relationships/image" Target="../media/image1057.png"/></Relationships>
</file>

<file path=ppt/slides/_rels/slide471.xml.rels><?xml version="1.0" encoding="UTF-8" standalone="yes"?>
<Relationships xmlns="http://schemas.openxmlformats.org/package/2006/relationships"><Relationship Id="rId3" Type="http://schemas.openxmlformats.org/officeDocument/2006/relationships/image" Target="../media/image1058.jpeg"/><Relationship Id="rId7" Type="http://schemas.openxmlformats.org/officeDocument/2006/relationships/image" Target="../media/image47.emf"/><Relationship Id="rId2" Type="http://schemas.openxmlformats.org/officeDocument/2006/relationships/notesSlide" Target="../notesSlides/notesSlide306.xml"/><Relationship Id="rId1" Type="http://schemas.openxmlformats.org/officeDocument/2006/relationships/slideLayout" Target="../slideLayouts/slideLayout12.xml"/><Relationship Id="rId6" Type="http://schemas.openxmlformats.org/officeDocument/2006/relationships/hyperlink" Target="http://www.rapidbbs.cn/" TargetMode="External"/><Relationship Id="rId5" Type="http://schemas.openxmlformats.org/officeDocument/2006/relationships/image" Target="../media/image1060.png"/><Relationship Id="rId4" Type="http://schemas.openxmlformats.org/officeDocument/2006/relationships/image" Target="../media/image1059.jpeg"/></Relationships>
</file>

<file path=ppt/slides/_rels/slide472.xml.rels><?xml version="1.0" encoding="UTF-8" standalone="yes"?>
<Relationships xmlns="http://schemas.openxmlformats.org/package/2006/relationships"><Relationship Id="rId8" Type="http://schemas.openxmlformats.org/officeDocument/2006/relationships/image" Target="../media/image47.emf"/><Relationship Id="rId3" Type="http://schemas.openxmlformats.org/officeDocument/2006/relationships/image" Target="../media/image1061.png"/><Relationship Id="rId7" Type="http://schemas.openxmlformats.org/officeDocument/2006/relationships/hyperlink" Target="http://www.rapidbbs.cn/" TargetMode="External"/><Relationship Id="rId2" Type="http://schemas.openxmlformats.org/officeDocument/2006/relationships/notesSlide" Target="../notesSlides/notesSlide307.xml"/><Relationship Id="rId1" Type="http://schemas.openxmlformats.org/officeDocument/2006/relationships/slideLayout" Target="../slideLayouts/slideLayout36.xml"/><Relationship Id="rId6" Type="http://schemas.openxmlformats.org/officeDocument/2006/relationships/image" Target="../media/image1064.png"/><Relationship Id="rId5" Type="http://schemas.openxmlformats.org/officeDocument/2006/relationships/image" Target="../media/image1063.png"/><Relationship Id="rId4" Type="http://schemas.openxmlformats.org/officeDocument/2006/relationships/image" Target="../media/image1062.png"/></Relationships>
</file>

<file path=ppt/slides/_rels/slide473.xml.rels><?xml version="1.0" encoding="UTF-8" standalone="yes"?>
<Relationships xmlns="http://schemas.openxmlformats.org/package/2006/relationships"><Relationship Id="rId3" Type="http://schemas.openxmlformats.org/officeDocument/2006/relationships/image" Target="../media/image1065.png"/><Relationship Id="rId2" Type="http://schemas.openxmlformats.org/officeDocument/2006/relationships/notesSlide" Target="../notesSlides/notesSlide308.xml"/><Relationship Id="rId1" Type="http://schemas.openxmlformats.org/officeDocument/2006/relationships/slideLayout" Target="../slideLayouts/slideLayout12.xml"/><Relationship Id="rId6" Type="http://schemas.openxmlformats.org/officeDocument/2006/relationships/image" Target="../media/image47.emf"/><Relationship Id="rId5" Type="http://schemas.openxmlformats.org/officeDocument/2006/relationships/hyperlink" Target="http://www.rapidbbs.cn/" TargetMode="External"/><Relationship Id="rId4" Type="http://schemas.openxmlformats.org/officeDocument/2006/relationships/image" Target="../media/image1066.png"/></Relationships>
</file>

<file path=ppt/slides/_rels/slide474.xml.rels><?xml version="1.0" encoding="UTF-8" standalone="yes"?>
<Relationships xmlns="http://schemas.openxmlformats.org/package/2006/relationships"><Relationship Id="rId8" Type="http://schemas.openxmlformats.org/officeDocument/2006/relationships/image" Target="../media/image1070.png"/><Relationship Id="rId3" Type="http://schemas.openxmlformats.org/officeDocument/2006/relationships/slideLayout" Target="../slideLayouts/slideLayout12.xml"/><Relationship Id="rId7" Type="http://schemas.openxmlformats.org/officeDocument/2006/relationships/image" Target="../media/image1069.png"/><Relationship Id="rId12" Type="http://schemas.openxmlformats.org/officeDocument/2006/relationships/image" Target="../media/image47.emf"/><Relationship Id="rId2" Type="http://schemas.openxmlformats.org/officeDocument/2006/relationships/video" Target="../media/media1.wmv"/><Relationship Id="rId1" Type="http://schemas.microsoft.com/office/2007/relationships/media" Target="../media/media1.wmv"/><Relationship Id="rId6" Type="http://schemas.openxmlformats.org/officeDocument/2006/relationships/image" Target="../media/image1068.png"/><Relationship Id="rId11" Type="http://schemas.openxmlformats.org/officeDocument/2006/relationships/hyperlink" Target="http://www.rapidbbs.cn/" TargetMode="External"/><Relationship Id="rId5" Type="http://schemas.openxmlformats.org/officeDocument/2006/relationships/image" Target="../media/image1067.png"/><Relationship Id="rId10" Type="http://schemas.microsoft.com/office/2007/relationships/hdphoto" Target="../media/hdphoto126.wdp"/><Relationship Id="rId4" Type="http://schemas.openxmlformats.org/officeDocument/2006/relationships/notesSlide" Target="../notesSlides/notesSlide309.xml"/><Relationship Id="rId9" Type="http://schemas.openxmlformats.org/officeDocument/2006/relationships/image" Target="../media/image1071.png"/></Relationships>
</file>

<file path=ppt/slides/_rels/slide475.xml.rels><?xml version="1.0" encoding="UTF-8" standalone="yes"?>
<Relationships xmlns="http://schemas.openxmlformats.org/package/2006/relationships"><Relationship Id="rId8" Type="http://schemas.openxmlformats.org/officeDocument/2006/relationships/image" Target="../media/image1077.png"/><Relationship Id="rId13" Type="http://schemas.openxmlformats.org/officeDocument/2006/relationships/image" Target="../media/image47.emf"/><Relationship Id="rId3" Type="http://schemas.openxmlformats.org/officeDocument/2006/relationships/image" Target="../media/image1072.png"/><Relationship Id="rId7" Type="http://schemas.openxmlformats.org/officeDocument/2006/relationships/image" Target="../media/image1076.png"/><Relationship Id="rId12" Type="http://schemas.openxmlformats.org/officeDocument/2006/relationships/hyperlink" Target="http://www.rapidbbs.cn/" TargetMode="External"/><Relationship Id="rId2" Type="http://schemas.openxmlformats.org/officeDocument/2006/relationships/notesSlide" Target="../notesSlides/notesSlide310.xml"/><Relationship Id="rId1" Type="http://schemas.openxmlformats.org/officeDocument/2006/relationships/slideLayout" Target="../slideLayouts/slideLayout36.xml"/><Relationship Id="rId6" Type="http://schemas.openxmlformats.org/officeDocument/2006/relationships/image" Target="../media/image1075.png"/><Relationship Id="rId11" Type="http://schemas.openxmlformats.org/officeDocument/2006/relationships/image" Target="../media/image1080.png"/><Relationship Id="rId5" Type="http://schemas.openxmlformats.org/officeDocument/2006/relationships/image" Target="../media/image1074.png"/><Relationship Id="rId10" Type="http://schemas.openxmlformats.org/officeDocument/2006/relationships/image" Target="../media/image1079.png"/><Relationship Id="rId4" Type="http://schemas.openxmlformats.org/officeDocument/2006/relationships/image" Target="../media/image1073.png"/><Relationship Id="rId9" Type="http://schemas.openxmlformats.org/officeDocument/2006/relationships/image" Target="../media/image1078.png"/></Relationships>
</file>

<file path=ppt/slides/_rels/slide476.xml.rels><?xml version="1.0" encoding="UTF-8" standalone="yes"?>
<Relationships xmlns="http://schemas.openxmlformats.org/package/2006/relationships"><Relationship Id="rId8" Type="http://schemas.openxmlformats.org/officeDocument/2006/relationships/image" Target="../media/image1070.png"/><Relationship Id="rId3" Type="http://schemas.openxmlformats.org/officeDocument/2006/relationships/image" Target="../media/image1056.jpg"/><Relationship Id="rId7" Type="http://schemas.openxmlformats.org/officeDocument/2006/relationships/image" Target="../media/image1054.png"/><Relationship Id="rId12" Type="http://schemas.openxmlformats.org/officeDocument/2006/relationships/image" Target="../media/image47.emf"/><Relationship Id="rId2" Type="http://schemas.openxmlformats.org/officeDocument/2006/relationships/notesSlide" Target="../notesSlides/notesSlide311.xml"/><Relationship Id="rId1" Type="http://schemas.openxmlformats.org/officeDocument/2006/relationships/slideLayout" Target="../slideLayouts/slideLayout9.xml"/><Relationship Id="rId6" Type="http://schemas.openxmlformats.org/officeDocument/2006/relationships/image" Target="../media/image1068.png"/><Relationship Id="rId11" Type="http://schemas.openxmlformats.org/officeDocument/2006/relationships/hyperlink" Target="http://www.rapidbbs.cn/" TargetMode="External"/><Relationship Id="rId5" Type="http://schemas.openxmlformats.org/officeDocument/2006/relationships/image" Target="../media/image1052.jpg"/><Relationship Id="rId10" Type="http://schemas.microsoft.com/office/2007/relationships/hdphoto" Target="../media/hdphoto126.wdp"/><Relationship Id="rId4" Type="http://schemas.openxmlformats.org/officeDocument/2006/relationships/image" Target="../media/image1057.png"/><Relationship Id="rId9" Type="http://schemas.openxmlformats.org/officeDocument/2006/relationships/image" Target="../media/image1071.png"/></Relationships>
</file>

<file path=ppt/slides/_rels/slide477.xml.rels><?xml version="1.0" encoding="UTF-8" standalone="yes"?>
<Relationships xmlns="http://schemas.openxmlformats.org/package/2006/relationships"><Relationship Id="rId8" Type="http://schemas.openxmlformats.org/officeDocument/2006/relationships/image" Target="../media/image1086.png"/><Relationship Id="rId3" Type="http://schemas.openxmlformats.org/officeDocument/2006/relationships/image" Target="../media/image1081.gif"/><Relationship Id="rId7" Type="http://schemas.openxmlformats.org/officeDocument/2006/relationships/image" Target="../media/image1085.png"/><Relationship Id="rId12" Type="http://schemas.openxmlformats.org/officeDocument/2006/relationships/image" Target="../media/image47.emf"/><Relationship Id="rId2" Type="http://schemas.openxmlformats.org/officeDocument/2006/relationships/notesSlide" Target="../notesSlides/notesSlide312.xml"/><Relationship Id="rId1" Type="http://schemas.openxmlformats.org/officeDocument/2006/relationships/slideLayout" Target="../slideLayouts/slideLayout12.xml"/><Relationship Id="rId6" Type="http://schemas.openxmlformats.org/officeDocument/2006/relationships/image" Target="../media/image1084.png"/><Relationship Id="rId11" Type="http://schemas.openxmlformats.org/officeDocument/2006/relationships/hyperlink" Target="http://www.rapidbbs.cn/" TargetMode="External"/><Relationship Id="rId5" Type="http://schemas.openxmlformats.org/officeDocument/2006/relationships/image" Target="../media/image1083.png"/><Relationship Id="rId10" Type="http://schemas.openxmlformats.org/officeDocument/2006/relationships/image" Target="../media/image1088.png"/><Relationship Id="rId4" Type="http://schemas.openxmlformats.org/officeDocument/2006/relationships/image" Target="../media/image1082.png"/><Relationship Id="rId9" Type="http://schemas.openxmlformats.org/officeDocument/2006/relationships/image" Target="../media/image1087.png"/></Relationships>
</file>

<file path=ppt/slides/_rels/slide478.xml.rels><?xml version="1.0" encoding="UTF-8" standalone="yes"?>
<Relationships xmlns="http://schemas.openxmlformats.org/package/2006/relationships"><Relationship Id="rId8" Type="http://schemas.openxmlformats.org/officeDocument/2006/relationships/image" Target="../media/image1094.png"/><Relationship Id="rId13" Type="http://schemas.openxmlformats.org/officeDocument/2006/relationships/image" Target="../media/image1099.png"/><Relationship Id="rId18" Type="http://schemas.openxmlformats.org/officeDocument/2006/relationships/image" Target="../media/image47.emf"/><Relationship Id="rId3" Type="http://schemas.openxmlformats.org/officeDocument/2006/relationships/image" Target="../media/image1089.png"/><Relationship Id="rId7" Type="http://schemas.openxmlformats.org/officeDocument/2006/relationships/image" Target="../media/image1093.png"/><Relationship Id="rId12" Type="http://schemas.openxmlformats.org/officeDocument/2006/relationships/image" Target="../media/image1098.png"/><Relationship Id="rId17" Type="http://schemas.openxmlformats.org/officeDocument/2006/relationships/hyperlink" Target="http://www.rapidbbs.cn/" TargetMode="External"/><Relationship Id="rId2" Type="http://schemas.openxmlformats.org/officeDocument/2006/relationships/notesSlide" Target="../notesSlides/notesSlide313.xml"/><Relationship Id="rId16" Type="http://schemas.openxmlformats.org/officeDocument/2006/relationships/image" Target="../media/image1102.png"/><Relationship Id="rId1" Type="http://schemas.openxmlformats.org/officeDocument/2006/relationships/slideLayout" Target="../slideLayouts/slideLayout12.xml"/><Relationship Id="rId6" Type="http://schemas.openxmlformats.org/officeDocument/2006/relationships/image" Target="../media/image1092.png"/><Relationship Id="rId11" Type="http://schemas.openxmlformats.org/officeDocument/2006/relationships/image" Target="../media/image1097.png"/><Relationship Id="rId5" Type="http://schemas.openxmlformats.org/officeDocument/2006/relationships/image" Target="../media/image1091.png"/><Relationship Id="rId15" Type="http://schemas.openxmlformats.org/officeDocument/2006/relationships/image" Target="../media/image1101.png"/><Relationship Id="rId10" Type="http://schemas.openxmlformats.org/officeDocument/2006/relationships/image" Target="../media/image1096.png"/><Relationship Id="rId4" Type="http://schemas.openxmlformats.org/officeDocument/2006/relationships/image" Target="../media/image1090.png"/><Relationship Id="rId9" Type="http://schemas.openxmlformats.org/officeDocument/2006/relationships/image" Target="../media/image1095.png"/><Relationship Id="rId14" Type="http://schemas.openxmlformats.org/officeDocument/2006/relationships/image" Target="../media/image1100.png"/></Relationships>
</file>

<file path=ppt/slides/_rels/slide479.xml.rels><?xml version="1.0" encoding="UTF-8" standalone="yes"?>
<Relationships xmlns="http://schemas.openxmlformats.org/package/2006/relationships"><Relationship Id="rId8" Type="http://schemas.openxmlformats.org/officeDocument/2006/relationships/hyperlink" Target="http://www.rapidbbs.cn/" TargetMode="External"/><Relationship Id="rId3" Type="http://schemas.openxmlformats.org/officeDocument/2006/relationships/image" Target="../media/image1103.png"/><Relationship Id="rId7" Type="http://schemas.openxmlformats.org/officeDocument/2006/relationships/image" Target="../media/image1107.png"/><Relationship Id="rId2" Type="http://schemas.openxmlformats.org/officeDocument/2006/relationships/notesSlide" Target="../notesSlides/notesSlide314.xml"/><Relationship Id="rId1" Type="http://schemas.openxmlformats.org/officeDocument/2006/relationships/slideLayout" Target="../slideLayouts/slideLayout13.xml"/><Relationship Id="rId6" Type="http://schemas.openxmlformats.org/officeDocument/2006/relationships/image" Target="../media/image1106.png"/><Relationship Id="rId5" Type="http://schemas.openxmlformats.org/officeDocument/2006/relationships/image" Target="../media/image1105.png"/><Relationship Id="rId4" Type="http://schemas.openxmlformats.org/officeDocument/2006/relationships/image" Target="../media/image1104.png"/><Relationship Id="rId9" Type="http://schemas.openxmlformats.org/officeDocument/2006/relationships/image" Target="../media/image47.emf"/></Relationships>
</file>

<file path=ppt/slides/_rels/slide48.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image" Target="../media/image19.emf"/><Relationship Id="rId18" Type="http://schemas.openxmlformats.org/officeDocument/2006/relationships/image" Target="../media/image148.png"/><Relationship Id="rId3" Type="http://schemas.openxmlformats.org/officeDocument/2006/relationships/tags" Target="../tags/tag30.xml"/><Relationship Id="rId21" Type="http://schemas.microsoft.com/office/2007/relationships/hdphoto" Target="../media/hdphoto16.wdp"/><Relationship Id="rId7" Type="http://schemas.openxmlformats.org/officeDocument/2006/relationships/tags" Target="../tags/tag34.xml"/><Relationship Id="rId12" Type="http://schemas.openxmlformats.org/officeDocument/2006/relationships/oleObject" Target="../embeddings/oleObject3.bin"/><Relationship Id="rId17" Type="http://schemas.openxmlformats.org/officeDocument/2006/relationships/image" Target="../media/image147.png"/><Relationship Id="rId25" Type="http://schemas.openxmlformats.org/officeDocument/2006/relationships/image" Target="../media/image47.emf"/><Relationship Id="rId2" Type="http://schemas.openxmlformats.org/officeDocument/2006/relationships/tags" Target="../tags/tag29.xml"/><Relationship Id="rId16" Type="http://schemas.openxmlformats.org/officeDocument/2006/relationships/image" Target="../media/image146.png"/><Relationship Id="rId20" Type="http://schemas.openxmlformats.org/officeDocument/2006/relationships/image" Target="../media/image149.png"/><Relationship Id="rId1" Type="http://schemas.openxmlformats.org/officeDocument/2006/relationships/vmlDrawing" Target="../drawings/vmlDrawing3.vml"/><Relationship Id="rId6" Type="http://schemas.openxmlformats.org/officeDocument/2006/relationships/tags" Target="../tags/tag33.xml"/><Relationship Id="rId11" Type="http://schemas.openxmlformats.org/officeDocument/2006/relationships/notesSlide" Target="../notesSlides/notesSlide39.xml"/><Relationship Id="rId24" Type="http://schemas.openxmlformats.org/officeDocument/2006/relationships/hyperlink" Target="http://www.rapidbbs.cn/" TargetMode="External"/><Relationship Id="rId5" Type="http://schemas.openxmlformats.org/officeDocument/2006/relationships/tags" Target="../tags/tag32.xml"/><Relationship Id="rId15" Type="http://schemas.microsoft.com/office/2007/relationships/hdphoto" Target="../media/hdphoto14.wdp"/><Relationship Id="rId23" Type="http://schemas.microsoft.com/office/2007/relationships/hdphoto" Target="../media/hdphoto17.wdp"/><Relationship Id="rId10" Type="http://schemas.openxmlformats.org/officeDocument/2006/relationships/slideLayout" Target="../slideLayouts/slideLayout12.xml"/><Relationship Id="rId19" Type="http://schemas.microsoft.com/office/2007/relationships/hdphoto" Target="../media/hdphoto15.wdp"/><Relationship Id="rId4" Type="http://schemas.openxmlformats.org/officeDocument/2006/relationships/tags" Target="../tags/tag31.xml"/><Relationship Id="rId9" Type="http://schemas.openxmlformats.org/officeDocument/2006/relationships/tags" Target="../tags/tag36.xml"/><Relationship Id="rId14" Type="http://schemas.openxmlformats.org/officeDocument/2006/relationships/image" Target="../media/image145.png"/><Relationship Id="rId22" Type="http://schemas.openxmlformats.org/officeDocument/2006/relationships/image" Target="../media/image150.png"/></Relationships>
</file>

<file path=ppt/slides/_rels/slide480.xml.rels><?xml version="1.0" encoding="UTF-8" standalone="yes"?>
<Relationships xmlns="http://schemas.openxmlformats.org/package/2006/relationships"><Relationship Id="rId3" Type="http://schemas.openxmlformats.org/officeDocument/2006/relationships/image" Target="../media/image1108.png"/><Relationship Id="rId7" Type="http://schemas.openxmlformats.org/officeDocument/2006/relationships/image" Target="../media/image47.emf"/><Relationship Id="rId2" Type="http://schemas.openxmlformats.org/officeDocument/2006/relationships/notesSlide" Target="../notesSlides/notesSlide315.xml"/><Relationship Id="rId1" Type="http://schemas.openxmlformats.org/officeDocument/2006/relationships/slideLayout" Target="../slideLayouts/slideLayout12.xml"/><Relationship Id="rId6" Type="http://schemas.openxmlformats.org/officeDocument/2006/relationships/hyperlink" Target="http://www.rapidbbs.cn/" TargetMode="External"/><Relationship Id="rId5" Type="http://schemas.openxmlformats.org/officeDocument/2006/relationships/image" Target="../media/image1110.png"/><Relationship Id="rId4" Type="http://schemas.openxmlformats.org/officeDocument/2006/relationships/image" Target="../media/image1109.png"/></Relationships>
</file>

<file path=ppt/slides/_rels/slide481.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notesSlide" Target="../notesSlides/notesSlide316.xml"/><Relationship Id="rId1" Type="http://schemas.openxmlformats.org/officeDocument/2006/relationships/slideLayout" Target="../slideLayouts/slideLayout12.xml"/><Relationship Id="rId4" Type="http://schemas.openxmlformats.org/officeDocument/2006/relationships/image" Target="../media/image47.emf"/></Relationships>
</file>

<file path=ppt/slides/_rels/slide482.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notesSlide" Target="../notesSlides/notesSlide317.xml"/><Relationship Id="rId1" Type="http://schemas.openxmlformats.org/officeDocument/2006/relationships/slideLayout" Target="../slideLayouts/slideLayout12.xml"/><Relationship Id="rId4" Type="http://schemas.openxmlformats.org/officeDocument/2006/relationships/image" Target="../media/image47.emf"/></Relationships>
</file>

<file path=ppt/slides/_rels/slide483.xml.rels><?xml version="1.0" encoding="UTF-8" standalone="yes"?>
<Relationships xmlns="http://schemas.openxmlformats.org/package/2006/relationships"><Relationship Id="rId3" Type="http://schemas.openxmlformats.org/officeDocument/2006/relationships/image" Target="../media/image1112.png"/><Relationship Id="rId2" Type="http://schemas.openxmlformats.org/officeDocument/2006/relationships/image" Target="../media/image1111.jpeg"/><Relationship Id="rId1" Type="http://schemas.openxmlformats.org/officeDocument/2006/relationships/slideLayout" Target="../slideLayouts/slideLayout13.xml"/><Relationship Id="rId5" Type="http://schemas.openxmlformats.org/officeDocument/2006/relationships/image" Target="../media/image47.emf"/><Relationship Id="rId4" Type="http://schemas.openxmlformats.org/officeDocument/2006/relationships/hyperlink" Target="http://www.rapidbbs.cn/" TargetMode="External"/></Relationships>
</file>

<file path=ppt/slides/_rels/slide484.xml.rels><?xml version="1.0" encoding="UTF-8" standalone="yes"?>
<Relationships xmlns="http://schemas.openxmlformats.org/package/2006/relationships"><Relationship Id="rId8" Type="http://schemas.openxmlformats.org/officeDocument/2006/relationships/image" Target="../media/image1119.png"/><Relationship Id="rId13" Type="http://schemas.openxmlformats.org/officeDocument/2006/relationships/hyperlink" Target="http://www.rapidbbs.cn/" TargetMode="External"/><Relationship Id="rId3" Type="http://schemas.openxmlformats.org/officeDocument/2006/relationships/image" Target="../media/image1114.png"/><Relationship Id="rId7" Type="http://schemas.openxmlformats.org/officeDocument/2006/relationships/image" Target="../media/image1118.jpeg"/><Relationship Id="rId12" Type="http://schemas.openxmlformats.org/officeDocument/2006/relationships/image" Target="../media/image1123.png"/><Relationship Id="rId2" Type="http://schemas.openxmlformats.org/officeDocument/2006/relationships/image" Target="../media/image1113.jpeg"/><Relationship Id="rId1" Type="http://schemas.openxmlformats.org/officeDocument/2006/relationships/slideLayout" Target="../slideLayouts/slideLayout13.xml"/><Relationship Id="rId6" Type="http://schemas.openxmlformats.org/officeDocument/2006/relationships/image" Target="../media/image1117.jpeg"/><Relationship Id="rId11" Type="http://schemas.openxmlformats.org/officeDocument/2006/relationships/image" Target="../media/image1122.jpeg"/><Relationship Id="rId5" Type="http://schemas.openxmlformats.org/officeDocument/2006/relationships/image" Target="../media/image1116.png"/><Relationship Id="rId10" Type="http://schemas.openxmlformats.org/officeDocument/2006/relationships/image" Target="../media/image1121.jpeg"/><Relationship Id="rId4" Type="http://schemas.openxmlformats.org/officeDocument/2006/relationships/image" Target="../media/image1115.jpeg"/><Relationship Id="rId9" Type="http://schemas.openxmlformats.org/officeDocument/2006/relationships/image" Target="../media/image1120.jpeg"/><Relationship Id="rId14" Type="http://schemas.openxmlformats.org/officeDocument/2006/relationships/image" Target="../media/image47.emf"/></Relationships>
</file>

<file path=ppt/slides/_rels/slide485.xml.rels><?xml version="1.0" encoding="UTF-8" standalone="yes"?>
<Relationships xmlns="http://schemas.openxmlformats.org/package/2006/relationships"><Relationship Id="rId8" Type="http://schemas.openxmlformats.org/officeDocument/2006/relationships/image" Target="../media/image1129.png"/><Relationship Id="rId3" Type="http://schemas.openxmlformats.org/officeDocument/2006/relationships/image" Target="../media/image1124.png"/><Relationship Id="rId7" Type="http://schemas.openxmlformats.org/officeDocument/2006/relationships/image" Target="../media/image1128.png"/><Relationship Id="rId12" Type="http://schemas.openxmlformats.org/officeDocument/2006/relationships/image" Target="../media/image47.emf"/><Relationship Id="rId2" Type="http://schemas.openxmlformats.org/officeDocument/2006/relationships/notesSlide" Target="../notesSlides/notesSlide318.xml"/><Relationship Id="rId1" Type="http://schemas.openxmlformats.org/officeDocument/2006/relationships/slideLayout" Target="../slideLayouts/slideLayout37.xml"/><Relationship Id="rId6" Type="http://schemas.openxmlformats.org/officeDocument/2006/relationships/image" Target="../media/image1127.png"/><Relationship Id="rId11" Type="http://schemas.openxmlformats.org/officeDocument/2006/relationships/hyperlink" Target="http://www.rapidbbs.cn/" TargetMode="External"/><Relationship Id="rId5" Type="http://schemas.openxmlformats.org/officeDocument/2006/relationships/image" Target="../media/image1126.png"/><Relationship Id="rId10" Type="http://schemas.openxmlformats.org/officeDocument/2006/relationships/image" Target="../media/image1131.png"/><Relationship Id="rId4" Type="http://schemas.openxmlformats.org/officeDocument/2006/relationships/image" Target="../media/image1125.png"/><Relationship Id="rId9" Type="http://schemas.openxmlformats.org/officeDocument/2006/relationships/image" Target="../media/image1130.png"/></Relationships>
</file>

<file path=ppt/slides/_rels/slide486.xml.rels><?xml version="1.0" encoding="UTF-8" standalone="yes"?>
<Relationships xmlns="http://schemas.openxmlformats.org/package/2006/relationships"><Relationship Id="rId3" Type="http://schemas.openxmlformats.org/officeDocument/2006/relationships/image" Target="../media/image1132.png"/><Relationship Id="rId2" Type="http://schemas.openxmlformats.org/officeDocument/2006/relationships/notesSlide" Target="../notesSlides/notesSlide319.xml"/><Relationship Id="rId1" Type="http://schemas.openxmlformats.org/officeDocument/2006/relationships/slideLayout" Target="../slideLayouts/slideLayout12.xml"/><Relationship Id="rId6" Type="http://schemas.openxmlformats.org/officeDocument/2006/relationships/image" Target="../media/image47.emf"/><Relationship Id="rId5" Type="http://schemas.openxmlformats.org/officeDocument/2006/relationships/hyperlink" Target="http://www.rapidbbs.cn/" TargetMode="External"/><Relationship Id="rId4" Type="http://schemas.openxmlformats.org/officeDocument/2006/relationships/image" Target="../media/image1133.png"/></Relationships>
</file>

<file path=ppt/slides/_rels/slide487.xml.rels><?xml version="1.0" encoding="UTF-8" standalone="yes"?>
<Relationships xmlns="http://schemas.openxmlformats.org/package/2006/relationships"><Relationship Id="rId8" Type="http://schemas.openxmlformats.org/officeDocument/2006/relationships/hyperlink" Target="http://www.rapidbbs.cn/" TargetMode="External"/><Relationship Id="rId3" Type="http://schemas.openxmlformats.org/officeDocument/2006/relationships/image" Target="../media/image317.png"/><Relationship Id="rId7" Type="http://schemas.openxmlformats.org/officeDocument/2006/relationships/image" Target="../media/image223.png"/><Relationship Id="rId2" Type="http://schemas.openxmlformats.org/officeDocument/2006/relationships/notesSlide" Target="../notesSlides/notesSlide320.xml"/><Relationship Id="rId1" Type="http://schemas.openxmlformats.org/officeDocument/2006/relationships/slideLayout" Target="../slideLayouts/slideLayout12.xml"/><Relationship Id="rId6" Type="http://schemas.openxmlformats.org/officeDocument/2006/relationships/image" Target="../media/image326.png"/><Relationship Id="rId5" Type="http://schemas.openxmlformats.org/officeDocument/2006/relationships/image" Target="../media/image122.png"/><Relationship Id="rId4" Type="http://schemas.openxmlformats.org/officeDocument/2006/relationships/image" Target="../media/image136.png"/><Relationship Id="rId9" Type="http://schemas.openxmlformats.org/officeDocument/2006/relationships/image" Target="../media/image47.emf"/></Relationships>
</file>

<file path=ppt/slides/_rels/slide488.xml.rels><?xml version="1.0" encoding="UTF-8" standalone="yes"?>
<Relationships xmlns="http://schemas.openxmlformats.org/package/2006/relationships"><Relationship Id="rId8" Type="http://schemas.openxmlformats.org/officeDocument/2006/relationships/image" Target="../media/image1139.png"/><Relationship Id="rId13" Type="http://schemas.openxmlformats.org/officeDocument/2006/relationships/image" Target="../media/image1144.png"/><Relationship Id="rId3" Type="http://schemas.openxmlformats.org/officeDocument/2006/relationships/image" Target="../media/image1134.png"/><Relationship Id="rId7" Type="http://schemas.openxmlformats.org/officeDocument/2006/relationships/image" Target="../media/image1138.png"/><Relationship Id="rId12" Type="http://schemas.openxmlformats.org/officeDocument/2006/relationships/image" Target="../media/image1143.png"/><Relationship Id="rId2" Type="http://schemas.openxmlformats.org/officeDocument/2006/relationships/notesSlide" Target="../notesSlides/notesSlide321.xml"/><Relationship Id="rId1" Type="http://schemas.openxmlformats.org/officeDocument/2006/relationships/slideLayout" Target="../slideLayouts/slideLayout12.xml"/><Relationship Id="rId6" Type="http://schemas.openxmlformats.org/officeDocument/2006/relationships/image" Target="../media/image1137.png"/><Relationship Id="rId11" Type="http://schemas.openxmlformats.org/officeDocument/2006/relationships/image" Target="../media/image1142.png"/><Relationship Id="rId5" Type="http://schemas.openxmlformats.org/officeDocument/2006/relationships/image" Target="../media/image1136.png"/><Relationship Id="rId15" Type="http://schemas.openxmlformats.org/officeDocument/2006/relationships/image" Target="../media/image47.emf"/><Relationship Id="rId10" Type="http://schemas.openxmlformats.org/officeDocument/2006/relationships/image" Target="../media/image1141.png"/><Relationship Id="rId4" Type="http://schemas.openxmlformats.org/officeDocument/2006/relationships/image" Target="../media/image1135.png"/><Relationship Id="rId9" Type="http://schemas.openxmlformats.org/officeDocument/2006/relationships/image" Target="../media/image1140.png"/><Relationship Id="rId14" Type="http://schemas.openxmlformats.org/officeDocument/2006/relationships/hyperlink" Target="http://www.rapidbbs.cn/" TargetMode="External"/></Relationships>
</file>

<file path=ppt/slides/_rels/slide489.xml.rels><?xml version="1.0" encoding="UTF-8" standalone="yes"?>
<Relationships xmlns="http://schemas.openxmlformats.org/package/2006/relationships"><Relationship Id="rId8" Type="http://schemas.openxmlformats.org/officeDocument/2006/relationships/image" Target="../media/image1150.png"/><Relationship Id="rId13" Type="http://schemas.openxmlformats.org/officeDocument/2006/relationships/image" Target="../media/image1155.png"/><Relationship Id="rId3" Type="http://schemas.openxmlformats.org/officeDocument/2006/relationships/image" Target="../media/image1145.jpeg"/><Relationship Id="rId7" Type="http://schemas.openxmlformats.org/officeDocument/2006/relationships/image" Target="../media/image1149.png"/><Relationship Id="rId12" Type="http://schemas.openxmlformats.org/officeDocument/2006/relationships/image" Target="../media/image1154.png"/><Relationship Id="rId2" Type="http://schemas.openxmlformats.org/officeDocument/2006/relationships/notesSlide" Target="../notesSlides/notesSlide322.xml"/><Relationship Id="rId16" Type="http://schemas.openxmlformats.org/officeDocument/2006/relationships/image" Target="../media/image47.emf"/><Relationship Id="rId1" Type="http://schemas.openxmlformats.org/officeDocument/2006/relationships/slideLayout" Target="../slideLayouts/slideLayout38.xml"/><Relationship Id="rId6" Type="http://schemas.openxmlformats.org/officeDocument/2006/relationships/image" Target="../media/image1148.png"/><Relationship Id="rId11" Type="http://schemas.openxmlformats.org/officeDocument/2006/relationships/image" Target="../media/image1153.png"/><Relationship Id="rId5" Type="http://schemas.openxmlformats.org/officeDocument/2006/relationships/image" Target="../media/image1147.png"/><Relationship Id="rId15" Type="http://schemas.openxmlformats.org/officeDocument/2006/relationships/hyperlink" Target="http://www.rapidbbs.cn/" TargetMode="External"/><Relationship Id="rId10" Type="http://schemas.openxmlformats.org/officeDocument/2006/relationships/image" Target="../media/image1152.png"/><Relationship Id="rId4" Type="http://schemas.openxmlformats.org/officeDocument/2006/relationships/image" Target="../media/image1146.jpeg"/><Relationship Id="rId9" Type="http://schemas.openxmlformats.org/officeDocument/2006/relationships/image" Target="../media/image1151.png"/><Relationship Id="rId14" Type="http://schemas.openxmlformats.org/officeDocument/2006/relationships/image" Target="../media/image1156.png"/></Relationships>
</file>

<file path=ppt/slides/_rels/slide49.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notesSlide" Target="../notesSlides/notesSlide40.xml"/><Relationship Id="rId1" Type="http://schemas.openxmlformats.org/officeDocument/2006/relationships/slideLayout" Target="../slideLayouts/slideLayout20.xml"/><Relationship Id="rId4" Type="http://schemas.openxmlformats.org/officeDocument/2006/relationships/image" Target="../media/image47.emf"/></Relationships>
</file>

<file path=ppt/slides/_rels/slide490.xml.rels><?xml version="1.0" encoding="UTF-8" standalone="yes"?>
<Relationships xmlns="http://schemas.openxmlformats.org/package/2006/relationships"><Relationship Id="rId8" Type="http://schemas.openxmlformats.org/officeDocument/2006/relationships/image" Target="../media/image337.png"/><Relationship Id="rId13" Type="http://schemas.openxmlformats.org/officeDocument/2006/relationships/image" Target="../media/image342.png"/><Relationship Id="rId18" Type="http://schemas.openxmlformats.org/officeDocument/2006/relationships/image" Target="../media/image333.png"/><Relationship Id="rId3" Type="http://schemas.openxmlformats.org/officeDocument/2006/relationships/tags" Target="../tags/tag612.xml"/><Relationship Id="rId21" Type="http://schemas.openxmlformats.org/officeDocument/2006/relationships/image" Target="../media/image47.emf"/><Relationship Id="rId7" Type="http://schemas.openxmlformats.org/officeDocument/2006/relationships/image" Target="../media/image336.png"/><Relationship Id="rId12" Type="http://schemas.microsoft.com/office/2007/relationships/hdphoto" Target="../media/hdphoto43.wdp"/><Relationship Id="rId17" Type="http://schemas.microsoft.com/office/2007/relationships/hdphoto" Target="../media/hdphoto63.wdp"/><Relationship Id="rId2" Type="http://schemas.openxmlformats.org/officeDocument/2006/relationships/tags" Target="../tags/tag611.xml"/><Relationship Id="rId16" Type="http://schemas.openxmlformats.org/officeDocument/2006/relationships/image" Target="../media/image488.png"/><Relationship Id="rId20" Type="http://schemas.openxmlformats.org/officeDocument/2006/relationships/hyperlink" Target="http://www.rapidbbs.cn/" TargetMode="External"/><Relationship Id="rId1" Type="http://schemas.openxmlformats.org/officeDocument/2006/relationships/tags" Target="../tags/tag610.xml"/><Relationship Id="rId6" Type="http://schemas.openxmlformats.org/officeDocument/2006/relationships/image" Target="../media/image334.png"/><Relationship Id="rId11" Type="http://schemas.openxmlformats.org/officeDocument/2006/relationships/image" Target="../media/image338.png"/><Relationship Id="rId5" Type="http://schemas.openxmlformats.org/officeDocument/2006/relationships/image" Target="../media/image343.png"/><Relationship Id="rId15" Type="http://schemas.microsoft.com/office/2007/relationships/hdphoto" Target="../media/hdphoto62.wdp"/><Relationship Id="rId10" Type="http://schemas.openxmlformats.org/officeDocument/2006/relationships/image" Target="../media/image209.png"/><Relationship Id="rId19" Type="http://schemas.openxmlformats.org/officeDocument/2006/relationships/image" Target="../media/image230.png"/><Relationship Id="rId4" Type="http://schemas.openxmlformats.org/officeDocument/2006/relationships/slideLayout" Target="../slideLayouts/slideLayout8.xml"/><Relationship Id="rId9" Type="http://schemas.openxmlformats.org/officeDocument/2006/relationships/image" Target="../media/image341.png"/><Relationship Id="rId14" Type="http://schemas.openxmlformats.org/officeDocument/2006/relationships/image" Target="../media/image487.png"/></Relationships>
</file>

<file path=ppt/slides/_rels/slide491.xml.rels><?xml version="1.0" encoding="UTF-8" standalone="yes"?>
<Relationships xmlns="http://schemas.openxmlformats.org/package/2006/relationships"><Relationship Id="rId8" Type="http://schemas.openxmlformats.org/officeDocument/2006/relationships/image" Target="../media/image342.png"/><Relationship Id="rId13" Type="http://schemas.openxmlformats.org/officeDocument/2006/relationships/image" Target="../media/image487.png"/><Relationship Id="rId18" Type="http://schemas.openxmlformats.org/officeDocument/2006/relationships/image" Target="../media/image338.png"/><Relationship Id="rId3" Type="http://schemas.openxmlformats.org/officeDocument/2006/relationships/tags" Target="../tags/tag615.xml"/><Relationship Id="rId21" Type="http://schemas.openxmlformats.org/officeDocument/2006/relationships/hyperlink" Target="http://www.rapidbbs.cn/" TargetMode="External"/><Relationship Id="rId7" Type="http://schemas.openxmlformats.org/officeDocument/2006/relationships/image" Target="../media/image341.png"/><Relationship Id="rId12" Type="http://schemas.openxmlformats.org/officeDocument/2006/relationships/image" Target="../media/image343.png"/><Relationship Id="rId17" Type="http://schemas.openxmlformats.org/officeDocument/2006/relationships/image" Target="../media/image337.png"/><Relationship Id="rId2" Type="http://schemas.openxmlformats.org/officeDocument/2006/relationships/tags" Target="../tags/tag614.xml"/><Relationship Id="rId16" Type="http://schemas.microsoft.com/office/2007/relationships/hdphoto" Target="../media/hdphoto63.wdp"/><Relationship Id="rId20" Type="http://schemas.openxmlformats.org/officeDocument/2006/relationships/image" Target="../media/image230.png"/><Relationship Id="rId1" Type="http://schemas.openxmlformats.org/officeDocument/2006/relationships/tags" Target="../tags/tag613.xml"/><Relationship Id="rId6" Type="http://schemas.openxmlformats.org/officeDocument/2006/relationships/image" Target="../media/image333.png"/><Relationship Id="rId11" Type="http://schemas.openxmlformats.org/officeDocument/2006/relationships/image" Target="../media/image345.png"/><Relationship Id="rId5" Type="http://schemas.openxmlformats.org/officeDocument/2006/relationships/image" Target="../media/image1157.png"/><Relationship Id="rId15" Type="http://schemas.openxmlformats.org/officeDocument/2006/relationships/image" Target="../media/image488.png"/><Relationship Id="rId10" Type="http://schemas.openxmlformats.org/officeDocument/2006/relationships/image" Target="../media/image334.png"/><Relationship Id="rId19" Type="http://schemas.microsoft.com/office/2007/relationships/hdphoto" Target="../media/hdphoto43.wdp"/><Relationship Id="rId4" Type="http://schemas.openxmlformats.org/officeDocument/2006/relationships/slideLayout" Target="../slideLayouts/slideLayout8.xml"/><Relationship Id="rId9" Type="http://schemas.openxmlformats.org/officeDocument/2006/relationships/image" Target="../media/image209.png"/><Relationship Id="rId14" Type="http://schemas.microsoft.com/office/2007/relationships/hdphoto" Target="../media/hdphoto62.wdp"/><Relationship Id="rId22" Type="http://schemas.openxmlformats.org/officeDocument/2006/relationships/image" Target="../media/image47.emf"/></Relationships>
</file>

<file path=ppt/slides/_rels/slide492.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hyperlink" Target="http://www.rapidbbs.cn/" TargetMode="External"/><Relationship Id="rId1" Type="http://schemas.openxmlformats.org/officeDocument/2006/relationships/slideLayout" Target="../slideLayouts/slideLayout12.xml"/></Relationships>
</file>

<file path=ppt/slides/_rels/slide493.xml.rels><?xml version="1.0" encoding="UTF-8" standalone="yes"?>
<Relationships xmlns="http://schemas.openxmlformats.org/package/2006/relationships"><Relationship Id="rId8" Type="http://schemas.openxmlformats.org/officeDocument/2006/relationships/image" Target="../media/image341.png"/><Relationship Id="rId13" Type="http://schemas.openxmlformats.org/officeDocument/2006/relationships/image" Target="../media/image343.png"/><Relationship Id="rId18" Type="http://schemas.openxmlformats.org/officeDocument/2006/relationships/image" Target="../media/image337.png"/><Relationship Id="rId3" Type="http://schemas.openxmlformats.org/officeDocument/2006/relationships/tags" Target="../tags/tag618.xml"/><Relationship Id="rId21" Type="http://schemas.openxmlformats.org/officeDocument/2006/relationships/image" Target="../media/image230.png"/><Relationship Id="rId7" Type="http://schemas.openxmlformats.org/officeDocument/2006/relationships/image" Target="../media/image333.png"/><Relationship Id="rId12" Type="http://schemas.openxmlformats.org/officeDocument/2006/relationships/image" Target="../media/image345.png"/><Relationship Id="rId17" Type="http://schemas.microsoft.com/office/2007/relationships/hdphoto" Target="../media/hdphoto63.wdp"/><Relationship Id="rId2" Type="http://schemas.openxmlformats.org/officeDocument/2006/relationships/tags" Target="../tags/tag617.xml"/><Relationship Id="rId16" Type="http://schemas.openxmlformats.org/officeDocument/2006/relationships/image" Target="../media/image488.png"/><Relationship Id="rId20" Type="http://schemas.microsoft.com/office/2007/relationships/hdphoto" Target="../media/hdphoto43.wdp"/><Relationship Id="rId1" Type="http://schemas.openxmlformats.org/officeDocument/2006/relationships/tags" Target="../tags/tag616.xml"/><Relationship Id="rId6" Type="http://schemas.openxmlformats.org/officeDocument/2006/relationships/image" Target="../media/image1157.png"/><Relationship Id="rId11" Type="http://schemas.openxmlformats.org/officeDocument/2006/relationships/image" Target="../media/image334.png"/><Relationship Id="rId5" Type="http://schemas.openxmlformats.org/officeDocument/2006/relationships/slideLayout" Target="../slideLayouts/slideLayout8.xml"/><Relationship Id="rId15" Type="http://schemas.microsoft.com/office/2007/relationships/hdphoto" Target="../media/hdphoto62.wdp"/><Relationship Id="rId10" Type="http://schemas.openxmlformats.org/officeDocument/2006/relationships/image" Target="../media/image209.png"/><Relationship Id="rId19" Type="http://schemas.openxmlformats.org/officeDocument/2006/relationships/image" Target="../media/image338.png"/><Relationship Id="rId4" Type="http://schemas.openxmlformats.org/officeDocument/2006/relationships/tags" Target="../tags/tag619.xml"/><Relationship Id="rId9" Type="http://schemas.openxmlformats.org/officeDocument/2006/relationships/image" Target="../media/image342.png"/><Relationship Id="rId14" Type="http://schemas.openxmlformats.org/officeDocument/2006/relationships/image" Target="../media/image487.png"/><Relationship Id="rId22" Type="http://schemas.openxmlformats.org/officeDocument/2006/relationships/hyperlink" Target="http://www.rapidbbs.cn/" TargetMode="External"/></Relationships>
</file>

<file path=ppt/slides/_rels/slide494.xml.rels><?xml version="1.0" encoding="UTF-8" standalone="yes"?>
<Relationships xmlns="http://schemas.openxmlformats.org/package/2006/relationships"><Relationship Id="rId8" Type="http://schemas.openxmlformats.org/officeDocument/2006/relationships/image" Target="../media/image342.png"/><Relationship Id="rId13" Type="http://schemas.openxmlformats.org/officeDocument/2006/relationships/image" Target="../media/image487.png"/><Relationship Id="rId18" Type="http://schemas.openxmlformats.org/officeDocument/2006/relationships/image" Target="../media/image338.png"/><Relationship Id="rId3" Type="http://schemas.openxmlformats.org/officeDocument/2006/relationships/tags" Target="../tags/tag622.xml"/><Relationship Id="rId21" Type="http://schemas.openxmlformats.org/officeDocument/2006/relationships/hyperlink" Target="http://www.rapidbbs.cn/" TargetMode="External"/><Relationship Id="rId7" Type="http://schemas.openxmlformats.org/officeDocument/2006/relationships/image" Target="../media/image341.png"/><Relationship Id="rId12" Type="http://schemas.openxmlformats.org/officeDocument/2006/relationships/image" Target="../media/image343.png"/><Relationship Id="rId17" Type="http://schemas.openxmlformats.org/officeDocument/2006/relationships/image" Target="../media/image337.png"/><Relationship Id="rId2" Type="http://schemas.openxmlformats.org/officeDocument/2006/relationships/tags" Target="../tags/tag621.xml"/><Relationship Id="rId16" Type="http://schemas.microsoft.com/office/2007/relationships/hdphoto" Target="../media/hdphoto63.wdp"/><Relationship Id="rId20" Type="http://schemas.openxmlformats.org/officeDocument/2006/relationships/image" Target="../media/image230.png"/><Relationship Id="rId1" Type="http://schemas.openxmlformats.org/officeDocument/2006/relationships/tags" Target="../tags/tag620.xml"/><Relationship Id="rId6" Type="http://schemas.openxmlformats.org/officeDocument/2006/relationships/image" Target="../media/image333.png"/><Relationship Id="rId11" Type="http://schemas.openxmlformats.org/officeDocument/2006/relationships/image" Target="../media/image345.png"/><Relationship Id="rId5" Type="http://schemas.openxmlformats.org/officeDocument/2006/relationships/image" Target="../media/image1157.png"/><Relationship Id="rId15" Type="http://schemas.openxmlformats.org/officeDocument/2006/relationships/image" Target="../media/image488.png"/><Relationship Id="rId10" Type="http://schemas.openxmlformats.org/officeDocument/2006/relationships/image" Target="../media/image334.png"/><Relationship Id="rId19" Type="http://schemas.microsoft.com/office/2007/relationships/hdphoto" Target="../media/hdphoto43.wdp"/><Relationship Id="rId4" Type="http://schemas.openxmlformats.org/officeDocument/2006/relationships/slideLayout" Target="../slideLayouts/slideLayout8.xml"/><Relationship Id="rId9" Type="http://schemas.openxmlformats.org/officeDocument/2006/relationships/image" Target="../media/image209.png"/><Relationship Id="rId14" Type="http://schemas.microsoft.com/office/2007/relationships/hdphoto" Target="../media/hdphoto62.wdp"/><Relationship Id="rId22" Type="http://schemas.openxmlformats.org/officeDocument/2006/relationships/image" Target="../media/image47.emf"/></Relationships>
</file>

<file path=ppt/slides/_rels/slide495.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hyperlink" Target="http://www.rapidbbs.cn/" TargetMode="External"/><Relationship Id="rId1" Type="http://schemas.openxmlformats.org/officeDocument/2006/relationships/slideLayout" Target="../slideLayouts/slideLayout12.xml"/></Relationships>
</file>

<file path=ppt/slides/_rels/slide496.xml.rels><?xml version="1.0" encoding="UTF-8" standalone="yes"?>
<Relationships xmlns="http://schemas.openxmlformats.org/package/2006/relationships"><Relationship Id="rId8" Type="http://schemas.openxmlformats.org/officeDocument/2006/relationships/image" Target="../media/image342.png"/><Relationship Id="rId13" Type="http://schemas.openxmlformats.org/officeDocument/2006/relationships/image" Target="../media/image487.png"/><Relationship Id="rId18" Type="http://schemas.openxmlformats.org/officeDocument/2006/relationships/image" Target="../media/image338.png"/><Relationship Id="rId3" Type="http://schemas.openxmlformats.org/officeDocument/2006/relationships/tags" Target="../tags/tag625.xml"/><Relationship Id="rId21" Type="http://schemas.openxmlformats.org/officeDocument/2006/relationships/hyperlink" Target="http://www.rapidbbs.cn/" TargetMode="External"/><Relationship Id="rId7" Type="http://schemas.openxmlformats.org/officeDocument/2006/relationships/image" Target="../media/image341.png"/><Relationship Id="rId12" Type="http://schemas.openxmlformats.org/officeDocument/2006/relationships/image" Target="../media/image343.png"/><Relationship Id="rId17" Type="http://schemas.openxmlformats.org/officeDocument/2006/relationships/image" Target="../media/image337.png"/><Relationship Id="rId2" Type="http://schemas.openxmlformats.org/officeDocument/2006/relationships/tags" Target="../tags/tag624.xml"/><Relationship Id="rId16" Type="http://schemas.microsoft.com/office/2007/relationships/hdphoto" Target="../media/hdphoto63.wdp"/><Relationship Id="rId20" Type="http://schemas.openxmlformats.org/officeDocument/2006/relationships/image" Target="../media/image230.png"/><Relationship Id="rId1" Type="http://schemas.openxmlformats.org/officeDocument/2006/relationships/tags" Target="../tags/tag623.xml"/><Relationship Id="rId6" Type="http://schemas.openxmlformats.org/officeDocument/2006/relationships/image" Target="../media/image333.png"/><Relationship Id="rId11" Type="http://schemas.openxmlformats.org/officeDocument/2006/relationships/image" Target="../media/image345.png"/><Relationship Id="rId5" Type="http://schemas.openxmlformats.org/officeDocument/2006/relationships/image" Target="../media/image1157.png"/><Relationship Id="rId15" Type="http://schemas.openxmlformats.org/officeDocument/2006/relationships/image" Target="../media/image488.png"/><Relationship Id="rId10" Type="http://schemas.openxmlformats.org/officeDocument/2006/relationships/image" Target="../media/image334.png"/><Relationship Id="rId19" Type="http://schemas.microsoft.com/office/2007/relationships/hdphoto" Target="../media/hdphoto43.wdp"/><Relationship Id="rId4" Type="http://schemas.openxmlformats.org/officeDocument/2006/relationships/slideLayout" Target="../slideLayouts/slideLayout8.xml"/><Relationship Id="rId9" Type="http://schemas.openxmlformats.org/officeDocument/2006/relationships/image" Target="../media/image209.png"/><Relationship Id="rId14" Type="http://schemas.microsoft.com/office/2007/relationships/hdphoto" Target="../media/hdphoto62.wdp"/><Relationship Id="rId22" Type="http://schemas.openxmlformats.org/officeDocument/2006/relationships/image" Target="../media/image47.emf"/></Relationships>
</file>

<file path=ppt/slides/_rels/slide497.xml.rels><?xml version="1.0" encoding="UTF-8" standalone="yes"?>
<Relationships xmlns="http://schemas.openxmlformats.org/package/2006/relationships"><Relationship Id="rId8" Type="http://schemas.openxmlformats.org/officeDocument/2006/relationships/image" Target="../media/image341.png"/><Relationship Id="rId13" Type="http://schemas.openxmlformats.org/officeDocument/2006/relationships/image" Target="../media/image343.png"/><Relationship Id="rId18" Type="http://schemas.openxmlformats.org/officeDocument/2006/relationships/image" Target="../media/image337.png"/><Relationship Id="rId3" Type="http://schemas.openxmlformats.org/officeDocument/2006/relationships/tags" Target="../tags/tag628.xml"/><Relationship Id="rId21" Type="http://schemas.openxmlformats.org/officeDocument/2006/relationships/image" Target="../media/image230.png"/><Relationship Id="rId7" Type="http://schemas.openxmlformats.org/officeDocument/2006/relationships/image" Target="../media/image333.png"/><Relationship Id="rId12" Type="http://schemas.openxmlformats.org/officeDocument/2006/relationships/image" Target="../media/image345.png"/><Relationship Id="rId17" Type="http://schemas.microsoft.com/office/2007/relationships/hdphoto" Target="../media/hdphoto63.wdp"/><Relationship Id="rId2" Type="http://schemas.openxmlformats.org/officeDocument/2006/relationships/tags" Target="../tags/tag627.xml"/><Relationship Id="rId16" Type="http://schemas.openxmlformats.org/officeDocument/2006/relationships/image" Target="../media/image488.png"/><Relationship Id="rId20" Type="http://schemas.microsoft.com/office/2007/relationships/hdphoto" Target="../media/hdphoto43.wdp"/><Relationship Id="rId1" Type="http://schemas.openxmlformats.org/officeDocument/2006/relationships/tags" Target="../tags/tag626.xml"/><Relationship Id="rId6" Type="http://schemas.openxmlformats.org/officeDocument/2006/relationships/image" Target="../media/image1157.png"/><Relationship Id="rId11" Type="http://schemas.openxmlformats.org/officeDocument/2006/relationships/image" Target="../media/image334.png"/><Relationship Id="rId5" Type="http://schemas.openxmlformats.org/officeDocument/2006/relationships/slideLayout" Target="../slideLayouts/slideLayout8.xml"/><Relationship Id="rId15" Type="http://schemas.microsoft.com/office/2007/relationships/hdphoto" Target="../media/hdphoto62.wdp"/><Relationship Id="rId23" Type="http://schemas.openxmlformats.org/officeDocument/2006/relationships/image" Target="../media/image47.emf"/><Relationship Id="rId10" Type="http://schemas.openxmlformats.org/officeDocument/2006/relationships/image" Target="../media/image209.png"/><Relationship Id="rId19" Type="http://schemas.openxmlformats.org/officeDocument/2006/relationships/image" Target="../media/image338.png"/><Relationship Id="rId4" Type="http://schemas.openxmlformats.org/officeDocument/2006/relationships/tags" Target="../tags/tag629.xml"/><Relationship Id="rId9" Type="http://schemas.openxmlformats.org/officeDocument/2006/relationships/image" Target="../media/image342.png"/><Relationship Id="rId14" Type="http://schemas.openxmlformats.org/officeDocument/2006/relationships/image" Target="../media/image487.png"/><Relationship Id="rId22" Type="http://schemas.openxmlformats.org/officeDocument/2006/relationships/hyperlink" Target="http://www.rapidbbs.cn/" TargetMode="External"/></Relationships>
</file>

<file path=ppt/slides/_rels/slide498.xml.rels><?xml version="1.0" encoding="UTF-8" standalone="yes"?>
<Relationships xmlns="http://schemas.openxmlformats.org/package/2006/relationships"><Relationship Id="rId8" Type="http://schemas.openxmlformats.org/officeDocument/2006/relationships/image" Target="../media/image342.png"/><Relationship Id="rId13" Type="http://schemas.openxmlformats.org/officeDocument/2006/relationships/image" Target="../media/image487.png"/><Relationship Id="rId18" Type="http://schemas.openxmlformats.org/officeDocument/2006/relationships/image" Target="../media/image338.png"/><Relationship Id="rId3" Type="http://schemas.openxmlformats.org/officeDocument/2006/relationships/tags" Target="../tags/tag632.xml"/><Relationship Id="rId21" Type="http://schemas.openxmlformats.org/officeDocument/2006/relationships/hyperlink" Target="http://www.rapidbbs.cn/" TargetMode="External"/><Relationship Id="rId7" Type="http://schemas.openxmlformats.org/officeDocument/2006/relationships/image" Target="../media/image341.png"/><Relationship Id="rId12" Type="http://schemas.openxmlformats.org/officeDocument/2006/relationships/image" Target="../media/image343.png"/><Relationship Id="rId17" Type="http://schemas.openxmlformats.org/officeDocument/2006/relationships/image" Target="../media/image337.png"/><Relationship Id="rId2" Type="http://schemas.openxmlformats.org/officeDocument/2006/relationships/tags" Target="../tags/tag631.xml"/><Relationship Id="rId16" Type="http://schemas.microsoft.com/office/2007/relationships/hdphoto" Target="../media/hdphoto63.wdp"/><Relationship Id="rId20" Type="http://schemas.openxmlformats.org/officeDocument/2006/relationships/image" Target="../media/image230.png"/><Relationship Id="rId1" Type="http://schemas.openxmlformats.org/officeDocument/2006/relationships/tags" Target="../tags/tag630.xml"/><Relationship Id="rId6" Type="http://schemas.openxmlformats.org/officeDocument/2006/relationships/image" Target="../media/image333.png"/><Relationship Id="rId11" Type="http://schemas.openxmlformats.org/officeDocument/2006/relationships/image" Target="../media/image345.png"/><Relationship Id="rId5" Type="http://schemas.openxmlformats.org/officeDocument/2006/relationships/image" Target="../media/image1157.png"/><Relationship Id="rId15" Type="http://schemas.openxmlformats.org/officeDocument/2006/relationships/image" Target="../media/image488.png"/><Relationship Id="rId10" Type="http://schemas.openxmlformats.org/officeDocument/2006/relationships/image" Target="../media/image334.png"/><Relationship Id="rId19" Type="http://schemas.microsoft.com/office/2007/relationships/hdphoto" Target="../media/hdphoto43.wdp"/><Relationship Id="rId4" Type="http://schemas.openxmlformats.org/officeDocument/2006/relationships/slideLayout" Target="../slideLayouts/slideLayout8.xml"/><Relationship Id="rId9" Type="http://schemas.openxmlformats.org/officeDocument/2006/relationships/image" Target="../media/image209.png"/><Relationship Id="rId14" Type="http://schemas.microsoft.com/office/2007/relationships/hdphoto" Target="../media/hdphoto62.wdp"/><Relationship Id="rId22" Type="http://schemas.openxmlformats.org/officeDocument/2006/relationships/image" Target="../media/image47.emf"/></Relationships>
</file>

<file path=ppt/slides/_rels/slide499.xml.rels><?xml version="1.0" encoding="UTF-8" standalone="yes"?>
<Relationships xmlns="http://schemas.openxmlformats.org/package/2006/relationships"><Relationship Id="rId8" Type="http://schemas.openxmlformats.org/officeDocument/2006/relationships/image" Target="../media/image342.png"/><Relationship Id="rId13" Type="http://schemas.openxmlformats.org/officeDocument/2006/relationships/image" Target="../media/image487.png"/><Relationship Id="rId18" Type="http://schemas.openxmlformats.org/officeDocument/2006/relationships/image" Target="../media/image338.png"/><Relationship Id="rId3" Type="http://schemas.openxmlformats.org/officeDocument/2006/relationships/tags" Target="../tags/tag635.xml"/><Relationship Id="rId21" Type="http://schemas.openxmlformats.org/officeDocument/2006/relationships/hyperlink" Target="http://www.rapidbbs.cn/" TargetMode="External"/><Relationship Id="rId7" Type="http://schemas.openxmlformats.org/officeDocument/2006/relationships/image" Target="../media/image341.png"/><Relationship Id="rId12" Type="http://schemas.openxmlformats.org/officeDocument/2006/relationships/image" Target="../media/image343.png"/><Relationship Id="rId17" Type="http://schemas.openxmlformats.org/officeDocument/2006/relationships/image" Target="../media/image337.png"/><Relationship Id="rId2" Type="http://schemas.openxmlformats.org/officeDocument/2006/relationships/tags" Target="../tags/tag634.xml"/><Relationship Id="rId16" Type="http://schemas.microsoft.com/office/2007/relationships/hdphoto" Target="../media/hdphoto63.wdp"/><Relationship Id="rId20" Type="http://schemas.openxmlformats.org/officeDocument/2006/relationships/image" Target="../media/image230.png"/><Relationship Id="rId1" Type="http://schemas.openxmlformats.org/officeDocument/2006/relationships/tags" Target="../tags/tag633.xml"/><Relationship Id="rId6" Type="http://schemas.openxmlformats.org/officeDocument/2006/relationships/image" Target="../media/image333.png"/><Relationship Id="rId11" Type="http://schemas.openxmlformats.org/officeDocument/2006/relationships/image" Target="../media/image345.png"/><Relationship Id="rId5" Type="http://schemas.openxmlformats.org/officeDocument/2006/relationships/image" Target="../media/image1157.png"/><Relationship Id="rId15" Type="http://schemas.openxmlformats.org/officeDocument/2006/relationships/image" Target="../media/image488.png"/><Relationship Id="rId10" Type="http://schemas.openxmlformats.org/officeDocument/2006/relationships/image" Target="../media/image334.png"/><Relationship Id="rId19" Type="http://schemas.microsoft.com/office/2007/relationships/hdphoto" Target="../media/hdphoto43.wdp"/><Relationship Id="rId4" Type="http://schemas.openxmlformats.org/officeDocument/2006/relationships/slideLayout" Target="../slideLayouts/slideLayout8.xml"/><Relationship Id="rId9" Type="http://schemas.openxmlformats.org/officeDocument/2006/relationships/image" Target="../media/image209.png"/><Relationship Id="rId14" Type="http://schemas.microsoft.com/office/2007/relationships/hdphoto" Target="../media/hdphoto62.wdp"/><Relationship Id="rId22" Type="http://schemas.openxmlformats.org/officeDocument/2006/relationships/image" Target="../media/image47.emf"/></Relationships>
</file>

<file path=ppt/slides/_rels/slide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5.xml"/><Relationship Id="rId1" Type="http://schemas.openxmlformats.org/officeDocument/2006/relationships/slideLayout" Target="../slideLayouts/slideLayout10.xml"/><Relationship Id="rId6" Type="http://schemas.openxmlformats.org/officeDocument/2006/relationships/image" Target="../media/image47.emf"/><Relationship Id="rId5" Type="http://schemas.openxmlformats.org/officeDocument/2006/relationships/hyperlink" Target="http://www.rapidbbs.cn/" TargetMode="External"/><Relationship Id="rId4" Type="http://schemas.openxmlformats.org/officeDocument/2006/relationships/image" Target="../media/image55.png"/></Relationships>
</file>

<file path=ppt/slides/_rels/slide50.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notesSlide" Target="../notesSlides/notesSlide41.xml"/><Relationship Id="rId1" Type="http://schemas.openxmlformats.org/officeDocument/2006/relationships/slideLayout" Target="../slideLayouts/slideLayout12.xml"/><Relationship Id="rId4" Type="http://schemas.openxmlformats.org/officeDocument/2006/relationships/image" Target="../media/image47.emf"/></Relationships>
</file>

<file path=ppt/slides/_rels/slide500.xml.rels><?xml version="1.0" encoding="UTF-8" standalone="yes"?>
<Relationships xmlns="http://schemas.openxmlformats.org/package/2006/relationships"><Relationship Id="rId8" Type="http://schemas.openxmlformats.org/officeDocument/2006/relationships/image" Target="../media/image342.png"/><Relationship Id="rId13" Type="http://schemas.openxmlformats.org/officeDocument/2006/relationships/image" Target="../media/image487.png"/><Relationship Id="rId18" Type="http://schemas.openxmlformats.org/officeDocument/2006/relationships/image" Target="../media/image338.png"/><Relationship Id="rId3" Type="http://schemas.openxmlformats.org/officeDocument/2006/relationships/tags" Target="../tags/tag638.xml"/><Relationship Id="rId21" Type="http://schemas.openxmlformats.org/officeDocument/2006/relationships/hyperlink" Target="http://www.rapidbbs.cn/" TargetMode="External"/><Relationship Id="rId7" Type="http://schemas.openxmlformats.org/officeDocument/2006/relationships/image" Target="../media/image341.png"/><Relationship Id="rId12" Type="http://schemas.openxmlformats.org/officeDocument/2006/relationships/image" Target="../media/image343.png"/><Relationship Id="rId17" Type="http://schemas.openxmlformats.org/officeDocument/2006/relationships/image" Target="../media/image337.png"/><Relationship Id="rId2" Type="http://schemas.openxmlformats.org/officeDocument/2006/relationships/tags" Target="../tags/tag637.xml"/><Relationship Id="rId16" Type="http://schemas.microsoft.com/office/2007/relationships/hdphoto" Target="../media/hdphoto63.wdp"/><Relationship Id="rId20" Type="http://schemas.openxmlformats.org/officeDocument/2006/relationships/image" Target="../media/image230.png"/><Relationship Id="rId1" Type="http://schemas.openxmlformats.org/officeDocument/2006/relationships/tags" Target="../tags/tag636.xml"/><Relationship Id="rId6" Type="http://schemas.openxmlformats.org/officeDocument/2006/relationships/image" Target="../media/image333.png"/><Relationship Id="rId11" Type="http://schemas.openxmlformats.org/officeDocument/2006/relationships/image" Target="../media/image345.png"/><Relationship Id="rId5" Type="http://schemas.openxmlformats.org/officeDocument/2006/relationships/image" Target="../media/image1157.png"/><Relationship Id="rId15" Type="http://schemas.openxmlformats.org/officeDocument/2006/relationships/image" Target="../media/image488.png"/><Relationship Id="rId10" Type="http://schemas.openxmlformats.org/officeDocument/2006/relationships/image" Target="../media/image334.png"/><Relationship Id="rId19" Type="http://schemas.microsoft.com/office/2007/relationships/hdphoto" Target="../media/hdphoto43.wdp"/><Relationship Id="rId4" Type="http://schemas.openxmlformats.org/officeDocument/2006/relationships/slideLayout" Target="../slideLayouts/slideLayout8.xml"/><Relationship Id="rId9" Type="http://schemas.openxmlformats.org/officeDocument/2006/relationships/image" Target="../media/image209.png"/><Relationship Id="rId14" Type="http://schemas.microsoft.com/office/2007/relationships/hdphoto" Target="../media/hdphoto62.wdp"/><Relationship Id="rId22" Type="http://schemas.openxmlformats.org/officeDocument/2006/relationships/image" Target="../media/image47.emf"/></Relationships>
</file>

<file path=ppt/slides/_rels/slide501.xml.rels><?xml version="1.0" encoding="UTF-8" standalone="yes"?>
<Relationships xmlns="http://schemas.openxmlformats.org/package/2006/relationships"><Relationship Id="rId8" Type="http://schemas.openxmlformats.org/officeDocument/2006/relationships/image" Target="../media/image342.png"/><Relationship Id="rId13" Type="http://schemas.openxmlformats.org/officeDocument/2006/relationships/image" Target="../media/image487.png"/><Relationship Id="rId18" Type="http://schemas.openxmlformats.org/officeDocument/2006/relationships/image" Target="../media/image338.png"/><Relationship Id="rId3" Type="http://schemas.openxmlformats.org/officeDocument/2006/relationships/tags" Target="../tags/tag641.xml"/><Relationship Id="rId21" Type="http://schemas.openxmlformats.org/officeDocument/2006/relationships/hyperlink" Target="http://www.rapidbbs.cn/" TargetMode="External"/><Relationship Id="rId7" Type="http://schemas.openxmlformats.org/officeDocument/2006/relationships/image" Target="../media/image341.png"/><Relationship Id="rId12" Type="http://schemas.openxmlformats.org/officeDocument/2006/relationships/image" Target="../media/image343.png"/><Relationship Id="rId17" Type="http://schemas.openxmlformats.org/officeDocument/2006/relationships/image" Target="../media/image337.png"/><Relationship Id="rId2" Type="http://schemas.openxmlformats.org/officeDocument/2006/relationships/tags" Target="../tags/tag640.xml"/><Relationship Id="rId16" Type="http://schemas.microsoft.com/office/2007/relationships/hdphoto" Target="../media/hdphoto63.wdp"/><Relationship Id="rId20" Type="http://schemas.openxmlformats.org/officeDocument/2006/relationships/image" Target="../media/image230.png"/><Relationship Id="rId1" Type="http://schemas.openxmlformats.org/officeDocument/2006/relationships/tags" Target="../tags/tag639.xml"/><Relationship Id="rId6" Type="http://schemas.openxmlformats.org/officeDocument/2006/relationships/image" Target="../media/image333.png"/><Relationship Id="rId11" Type="http://schemas.openxmlformats.org/officeDocument/2006/relationships/image" Target="../media/image345.png"/><Relationship Id="rId5" Type="http://schemas.openxmlformats.org/officeDocument/2006/relationships/image" Target="../media/image1157.png"/><Relationship Id="rId15" Type="http://schemas.openxmlformats.org/officeDocument/2006/relationships/image" Target="../media/image488.png"/><Relationship Id="rId10" Type="http://schemas.openxmlformats.org/officeDocument/2006/relationships/image" Target="../media/image334.png"/><Relationship Id="rId19" Type="http://schemas.microsoft.com/office/2007/relationships/hdphoto" Target="../media/hdphoto43.wdp"/><Relationship Id="rId4" Type="http://schemas.openxmlformats.org/officeDocument/2006/relationships/slideLayout" Target="../slideLayouts/slideLayout8.xml"/><Relationship Id="rId9" Type="http://schemas.openxmlformats.org/officeDocument/2006/relationships/image" Target="../media/image209.png"/><Relationship Id="rId14" Type="http://schemas.microsoft.com/office/2007/relationships/hdphoto" Target="../media/hdphoto62.wdp"/><Relationship Id="rId22" Type="http://schemas.openxmlformats.org/officeDocument/2006/relationships/image" Target="../media/image47.emf"/></Relationships>
</file>

<file path=ppt/slides/_rels/slide502.xml.rels><?xml version="1.0" encoding="UTF-8" standalone="yes"?>
<Relationships xmlns="http://schemas.openxmlformats.org/package/2006/relationships"><Relationship Id="rId8" Type="http://schemas.openxmlformats.org/officeDocument/2006/relationships/image" Target="../media/image342.png"/><Relationship Id="rId13" Type="http://schemas.openxmlformats.org/officeDocument/2006/relationships/image" Target="../media/image487.png"/><Relationship Id="rId18" Type="http://schemas.openxmlformats.org/officeDocument/2006/relationships/image" Target="../media/image338.png"/><Relationship Id="rId3" Type="http://schemas.openxmlformats.org/officeDocument/2006/relationships/tags" Target="../tags/tag644.xml"/><Relationship Id="rId21" Type="http://schemas.openxmlformats.org/officeDocument/2006/relationships/hyperlink" Target="http://www.rapidbbs.cn/" TargetMode="External"/><Relationship Id="rId7" Type="http://schemas.openxmlformats.org/officeDocument/2006/relationships/image" Target="../media/image341.png"/><Relationship Id="rId12" Type="http://schemas.openxmlformats.org/officeDocument/2006/relationships/image" Target="../media/image343.png"/><Relationship Id="rId17" Type="http://schemas.openxmlformats.org/officeDocument/2006/relationships/image" Target="../media/image337.png"/><Relationship Id="rId2" Type="http://schemas.openxmlformats.org/officeDocument/2006/relationships/tags" Target="../tags/tag643.xml"/><Relationship Id="rId16" Type="http://schemas.microsoft.com/office/2007/relationships/hdphoto" Target="../media/hdphoto63.wdp"/><Relationship Id="rId20" Type="http://schemas.openxmlformats.org/officeDocument/2006/relationships/image" Target="../media/image230.png"/><Relationship Id="rId1" Type="http://schemas.openxmlformats.org/officeDocument/2006/relationships/tags" Target="../tags/tag642.xml"/><Relationship Id="rId6" Type="http://schemas.openxmlformats.org/officeDocument/2006/relationships/image" Target="../media/image333.png"/><Relationship Id="rId11" Type="http://schemas.openxmlformats.org/officeDocument/2006/relationships/image" Target="../media/image345.png"/><Relationship Id="rId5" Type="http://schemas.openxmlformats.org/officeDocument/2006/relationships/image" Target="../media/image1157.png"/><Relationship Id="rId15" Type="http://schemas.openxmlformats.org/officeDocument/2006/relationships/image" Target="../media/image488.png"/><Relationship Id="rId10" Type="http://schemas.openxmlformats.org/officeDocument/2006/relationships/image" Target="../media/image334.png"/><Relationship Id="rId19" Type="http://schemas.microsoft.com/office/2007/relationships/hdphoto" Target="../media/hdphoto43.wdp"/><Relationship Id="rId4" Type="http://schemas.openxmlformats.org/officeDocument/2006/relationships/slideLayout" Target="../slideLayouts/slideLayout8.xml"/><Relationship Id="rId9" Type="http://schemas.openxmlformats.org/officeDocument/2006/relationships/image" Target="../media/image209.png"/><Relationship Id="rId14" Type="http://schemas.microsoft.com/office/2007/relationships/hdphoto" Target="../media/hdphoto62.wdp"/><Relationship Id="rId22" Type="http://schemas.openxmlformats.org/officeDocument/2006/relationships/image" Target="../media/image47.emf"/></Relationships>
</file>

<file path=ppt/slides/_rels/slide503.xml.rels><?xml version="1.0" encoding="UTF-8" standalone="yes"?>
<Relationships xmlns="http://schemas.openxmlformats.org/package/2006/relationships"><Relationship Id="rId8" Type="http://schemas.openxmlformats.org/officeDocument/2006/relationships/image" Target="../media/image342.png"/><Relationship Id="rId13" Type="http://schemas.openxmlformats.org/officeDocument/2006/relationships/image" Target="../media/image487.png"/><Relationship Id="rId18" Type="http://schemas.openxmlformats.org/officeDocument/2006/relationships/image" Target="../media/image338.png"/><Relationship Id="rId3" Type="http://schemas.openxmlformats.org/officeDocument/2006/relationships/tags" Target="../tags/tag647.xml"/><Relationship Id="rId21" Type="http://schemas.openxmlformats.org/officeDocument/2006/relationships/hyperlink" Target="http://www.rapidbbs.cn/" TargetMode="External"/><Relationship Id="rId7" Type="http://schemas.openxmlformats.org/officeDocument/2006/relationships/image" Target="../media/image341.png"/><Relationship Id="rId12" Type="http://schemas.openxmlformats.org/officeDocument/2006/relationships/image" Target="../media/image343.png"/><Relationship Id="rId17" Type="http://schemas.openxmlformats.org/officeDocument/2006/relationships/image" Target="../media/image337.png"/><Relationship Id="rId2" Type="http://schemas.openxmlformats.org/officeDocument/2006/relationships/tags" Target="../tags/tag646.xml"/><Relationship Id="rId16" Type="http://schemas.microsoft.com/office/2007/relationships/hdphoto" Target="../media/hdphoto63.wdp"/><Relationship Id="rId20" Type="http://schemas.openxmlformats.org/officeDocument/2006/relationships/image" Target="../media/image230.png"/><Relationship Id="rId1" Type="http://schemas.openxmlformats.org/officeDocument/2006/relationships/tags" Target="../tags/tag645.xml"/><Relationship Id="rId6" Type="http://schemas.openxmlformats.org/officeDocument/2006/relationships/image" Target="../media/image333.png"/><Relationship Id="rId11" Type="http://schemas.openxmlformats.org/officeDocument/2006/relationships/image" Target="../media/image345.png"/><Relationship Id="rId5" Type="http://schemas.openxmlformats.org/officeDocument/2006/relationships/image" Target="../media/image1157.png"/><Relationship Id="rId15" Type="http://schemas.openxmlformats.org/officeDocument/2006/relationships/image" Target="../media/image488.png"/><Relationship Id="rId10" Type="http://schemas.openxmlformats.org/officeDocument/2006/relationships/image" Target="../media/image334.png"/><Relationship Id="rId19" Type="http://schemas.microsoft.com/office/2007/relationships/hdphoto" Target="../media/hdphoto43.wdp"/><Relationship Id="rId4" Type="http://schemas.openxmlformats.org/officeDocument/2006/relationships/slideLayout" Target="../slideLayouts/slideLayout8.xml"/><Relationship Id="rId9" Type="http://schemas.openxmlformats.org/officeDocument/2006/relationships/image" Target="../media/image209.png"/><Relationship Id="rId14" Type="http://schemas.microsoft.com/office/2007/relationships/hdphoto" Target="../media/hdphoto62.wdp"/><Relationship Id="rId22" Type="http://schemas.openxmlformats.org/officeDocument/2006/relationships/image" Target="../media/image47.emf"/></Relationships>
</file>

<file path=ppt/slides/_rels/slide504.xml.rels><?xml version="1.0" encoding="UTF-8" standalone="yes"?>
<Relationships xmlns="http://schemas.openxmlformats.org/package/2006/relationships"><Relationship Id="rId8" Type="http://schemas.openxmlformats.org/officeDocument/2006/relationships/image" Target="../media/image342.png"/><Relationship Id="rId13" Type="http://schemas.openxmlformats.org/officeDocument/2006/relationships/image" Target="../media/image487.png"/><Relationship Id="rId18" Type="http://schemas.openxmlformats.org/officeDocument/2006/relationships/image" Target="../media/image338.png"/><Relationship Id="rId3" Type="http://schemas.openxmlformats.org/officeDocument/2006/relationships/tags" Target="../tags/tag650.xml"/><Relationship Id="rId21" Type="http://schemas.openxmlformats.org/officeDocument/2006/relationships/hyperlink" Target="http://www.rapidbbs.cn/" TargetMode="External"/><Relationship Id="rId7" Type="http://schemas.openxmlformats.org/officeDocument/2006/relationships/image" Target="../media/image341.png"/><Relationship Id="rId12" Type="http://schemas.openxmlformats.org/officeDocument/2006/relationships/image" Target="../media/image343.png"/><Relationship Id="rId17" Type="http://schemas.openxmlformats.org/officeDocument/2006/relationships/image" Target="../media/image337.png"/><Relationship Id="rId2" Type="http://schemas.openxmlformats.org/officeDocument/2006/relationships/tags" Target="../tags/tag649.xml"/><Relationship Id="rId16" Type="http://schemas.microsoft.com/office/2007/relationships/hdphoto" Target="../media/hdphoto63.wdp"/><Relationship Id="rId20" Type="http://schemas.openxmlformats.org/officeDocument/2006/relationships/image" Target="../media/image230.png"/><Relationship Id="rId1" Type="http://schemas.openxmlformats.org/officeDocument/2006/relationships/tags" Target="../tags/tag648.xml"/><Relationship Id="rId6" Type="http://schemas.openxmlformats.org/officeDocument/2006/relationships/image" Target="../media/image333.png"/><Relationship Id="rId11" Type="http://schemas.openxmlformats.org/officeDocument/2006/relationships/image" Target="../media/image345.png"/><Relationship Id="rId5" Type="http://schemas.openxmlformats.org/officeDocument/2006/relationships/image" Target="../media/image1157.png"/><Relationship Id="rId15" Type="http://schemas.openxmlformats.org/officeDocument/2006/relationships/image" Target="../media/image488.png"/><Relationship Id="rId10" Type="http://schemas.openxmlformats.org/officeDocument/2006/relationships/image" Target="../media/image334.png"/><Relationship Id="rId19" Type="http://schemas.microsoft.com/office/2007/relationships/hdphoto" Target="../media/hdphoto43.wdp"/><Relationship Id="rId4" Type="http://schemas.openxmlformats.org/officeDocument/2006/relationships/slideLayout" Target="../slideLayouts/slideLayout8.xml"/><Relationship Id="rId9" Type="http://schemas.openxmlformats.org/officeDocument/2006/relationships/image" Target="../media/image209.png"/><Relationship Id="rId14" Type="http://schemas.microsoft.com/office/2007/relationships/hdphoto" Target="../media/hdphoto62.wdp"/><Relationship Id="rId22" Type="http://schemas.openxmlformats.org/officeDocument/2006/relationships/image" Target="../media/image47.emf"/></Relationships>
</file>

<file path=ppt/slides/_rels/slide505.xml.rels><?xml version="1.0" encoding="UTF-8" standalone="yes"?>
<Relationships xmlns="http://schemas.openxmlformats.org/package/2006/relationships"><Relationship Id="rId8" Type="http://schemas.openxmlformats.org/officeDocument/2006/relationships/image" Target="../media/image341.png"/><Relationship Id="rId13" Type="http://schemas.openxmlformats.org/officeDocument/2006/relationships/image" Target="../media/image343.png"/><Relationship Id="rId18" Type="http://schemas.openxmlformats.org/officeDocument/2006/relationships/image" Target="../media/image337.png"/><Relationship Id="rId3" Type="http://schemas.openxmlformats.org/officeDocument/2006/relationships/tags" Target="../tags/tag653.xml"/><Relationship Id="rId21" Type="http://schemas.openxmlformats.org/officeDocument/2006/relationships/image" Target="../media/image230.png"/><Relationship Id="rId7" Type="http://schemas.openxmlformats.org/officeDocument/2006/relationships/image" Target="../media/image333.png"/><Relationship Id="rId12" Type="http://schemas.openxmlformats.org/officeDocument/2006/relationships/image" Target="../media/image345.png"/><Relationship Id="rId17" Type="http://schemas.microsoft.com/office/2007/relationships/hdphoto" Target="../media/hdphoto63.wdp"/><Relationship Id="rId2" Type="http://schemas.openxmlformats.org/officeDocument/2006/relationships/tags" Target="../tags/tag652.xml"/><Relationship Id="rId16" Type="http://schemas.openxmlformats.org/officeDocument/2006/relationships/image" Target="../media/image488.png"/><Relationship Id="rId20" Type="http://schemas.microsoft.com/office/2007/relationships/hdphoto" Target="../media/hdphoto43.wdp"/><Relationship Id="rId1" Type="http://schemas.openxmlformats.org/officeDocument/2006/relationships/tags" Target="../tags/tag651.xml"/><Relationship Id="rId6" Type="http://schemas.openxmlformats.org/officeDocument/2006/relationships/image" Target="../media/image1157.png"/><Relationship Id="rId11" Type="http://schemas.openxmlformats.org/officeDocument/2006/relationships/image" Target="../media/image334.png"/><Relationship Id="rId5" Type="http://schemas.openxmlformats.org/officeDocument/2006/relationships/slideLayout" Target="../slideLayouts/slideLayout8.xml"/><Relationship Id="rId15" Type="http://schemas.microsoft.com/office/2007/relationships/hdphoto" Target="../media/hdphoto62.wdp"/><Relationship Id="rId23" Type="http://schemas.openxmlformats.org/officeDocument/2006/relationships/image" Target="../media/image47.emf"/><Relationship Id="rId10" Type="http://schemas.openxmlformats.org/officeDocument/2006/relationships/image" Target="../media/image209.png"/><Relationship Id="rId19" Type="http://schemas.openxmlformats.org/officeDocument/2006/relationships/image" Target="../media/image338.png"/><Relationship Id="rId4" Type="http://schemas.openxmlformats.org/officeDocument/2006/relationships/tags" Target="../tags/tag654.xml"/><Relationship Id="rId9" Type="http://schemas.openxmlformats.org/officeDocument/2006/relationships/image" Target="../media/image342.png"/><Relationship Id="rId14" Type="http://schemas.openxmlformats.org/officeDocument/2006/relationships/image" Target="../media/image487.png"/><Relationship Id="rId22" Type="http://schemas.openxmlformats.org/officeDocument/2006/relationships/hyperlink" Target="http://www.rapidbbs.cn/" TargetMode="External"/></Relationships>
</file>

<file path=ppt/slides/_rels/slide506.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hyperlink" Target="http://www.rapidbbs.cn/" TargetMode="External"/><Relationship Id="rId1" Type="http://schemas.openxmlformats.org/officeDocument/2006/relationships/slideLayout" Target="../slideLayouts/slideLayout12.xml"/></Relationships>
</file>

<file path=ppt/slides/_rels/slide507.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notesSlide" Target="../notesSlides/notesSlide323.xml"/><Relationship Id="rId1" Type="http://schemas.openxmlformats.org/officeDocument/2006/relationships/slideLayout" Target="../slideLayouts/slideLayout14.xml"/><Relationship Id="rId4" Type="http://schemas.openxmlformats.org/officeDocument/2006/relationships/image" Target="../media/image47.emf"/></Relationships>
</file>

<file path=ppt/slides/_rels/slide5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2.xml"/><Relationship Id="rId1" Type="http://schemas.openxmlformats.org/officeDocument/2006/relationships/slideLayout" Target="../slideLayouts/slideLayout12.xml"/><Relationship Id="rId5" Type="http://schemas.openxmlformats.org/officeDocument/2006/relationships/image" Target="../media/image47.emf"/><Relationship Id="rId4" Type="http://schemas.openxmlformats.org/officeDocument/2006/relationships/hyperlink" Target="http://www.rapidbbs.cn/" TargetMode="External"/></Relationships>
</file>

<file path=ppt/slides/_rels/slide52.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image" Target="../media/image128.png"/><Relationship Id="rId1" Type="http://schemas.openxmlformats.org/officeDocument/2006/relationships/slideLayout" Target="../slideLayouts/slideLayout12.xml"/><Relationship Id="rId5" Type="http://schemas.openxmlformats.org/officeDocument/2006/relationships/hyperlink" Target="http://www.rapidbbs.cn/" TargetMode="External"/><Relationship Id="rId4" Type="http://schemas.microsoft.com/office/2007/relationships/hdphoto" Target="../media/hdphoto18.wdp"/></Relationships>
</file>

<file path=ppt/slides/_rels/slide53.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43.xml"/><Relationship Id="rId1" Type="http://schemas.openxmlformats.org/officeDocument/2006/relationships/slideLayout" Target="../slideLayouts/slideLayout91.xml"/><Relationship Id="rId5" Type="http://schemas.openxmlformats.org/officeDocument/2006/relationships/image" Target="../media/image47.emf"/><Relationship Id="rId4" Type="http://schemas.openxmlformats.org/officeDocument/2006/relationships/hyperlink" Target="http://www.rapidbbs.cn/" TargetMode="External"/></Relationships>
</file>

<file path=ppt/slides/_rels/slide54.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notesSlide" Target="../notesSlides/notesSlide44.xml"/><Relationship Id="rId1" Type="http://schemas.openxmlformats.org/officeDocument/2006/relationships/slideLayout" Target="../slideLayouts/slideLayout90.xml"/><Relationship Id="rId4" Type="http://schemas.openxmlformats.org/officeDocument/2006/relationships/image" Target="../media/image47.emf"/></Relationships>
</file>

<file path=ppt/slides/_rels/slide55.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notesSlide" Target="../notesSlides/notesSlide45.xml"/><Relationship Id="rId1" Type="http://schemas.openxmlformats.org/officeDocument/2006/relationships/slideLayout" Target="../slideLayouts/slideLayout90.xml"/><Relationship Id="rId4" Type="http://schemas.openxmlformats.org/officeDocument/2006/relationships/image" Target="../media/image47.emf"/></Relationships>
</file>

<file path=ppt/slides/_rels/slide56.xml.rels><?xml version="1.0" encoding="UTF-8" standalone="yes"?>
<Relationships xmlns="http://schemas.openxmlformats.org/package/2006/relationships"><Relationship Id="rId8" Type="http://schemas.openxmlformats.org/officeDocument/2006/relationships/image" Target="../media/image152.png"/><Relationship Id="rId3" Type="http://schemas.openxmlformats.org/officeDocument/2006/relationships/image" Target="../media/image153.png"/><Relationship Id="rId7" Type="http://schemas.microsoft.com/office/2007/relationships/hdphoto" Target="../media/hdphoto20.wdp"/><Relationship Id="rId2" Type="http://schemas.openxmlformats.org/officeDocument/2006/relationships/notesSlide" Target="../notesSlides/notesSlide46.xml"/><Relationship Id="rId1" Type="http://schemas.openxmlformats.org/officeDocument/2006/relationships/slideLayout" Target="../slideLayouts/slideLayout111.xml"/><Relationship Id="rId6" Type="http://schemas.openxmlformats.org/officeDocument/2006/relationships/image" Target="../media/image155.png"/><Relationship Id="rId5" Type="http://schemas.microsoft.com/office/2007/relationships/hdphoto" Target="../media/hdphoto19.wdp"/><Relationship Id="rId10" Type="http://schemas.openxmlformats.org/officeDocument/2006/relationships/image" Target="../media/image47.emf"/><Relationship Id="rId4" Type="http://schemas.openxmlformats.org/officeDocument/2006/relationships/image" Target="../media/image154.png"/><Relationship Id="rId9" Type="http://schemas.openxmlformats.org/officeDocument/2006/relationships/hyperlink" Target="http://www.rapidbbs.cn/" TargetMode="External"/></Relationships>
</file>

<file path=ppt/slides/_rels/slide57.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notesSlide" Target="../notesSlides/notesSlide47.xml"/><Relationship Id="rId1" Type="http://schemas.openxmlformats.org/officeDocument/2006/relationships/slideLayout" Target="../slideLayouts/slideLayout118.xml"/><Relationship Id="rId4" Type="http://schemas.openxmlformats.org/officeDocument/2006/relationships/image" Target="../media/image47.emf"/></Relationships>
</file>

<file path=ppt/slides/_rels/slide58.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hyperlink" Target="http://www.rapidbbs.cn/" TargetMode="External"/><Relationship Id="rId1" Type="http://schemas.openxmlformats.org/officeDocument/2006/relationships/slideLayout" Target="../slideLayouts/slideLayout111.xml"/></Relationships>
</file>

<file path=ppt/slides/_rels/slide59.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hyperlink" Target="http://www.rapidbbs.cn/" TargetMode="External"/><Relationship Id="rId1" Type="http://schemas.openxmlformats.org/officeDocument/2006/relationships/slideLayout" Target="../slideLayouts/slideLayout147.xml"/></Relationships>
</file>

<file path=ppt/slides/_rels/slide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6.xml"/><Relationship Id="rId1" Type="http://schemas.openxmlformats.org/officeDocument/2006/relationships/slideLayout" Target="../slideLayouts/slideLayout10.xml"/><Relationship Id="rId6" Type="http://schemas.openxmlformats.org/officeDocument/2006/relationships/image" Target="../media/image47.emf"/><Relationship Id="rId5" Type="http://schemas.openxmlformats.org/officeDocument/2006/relationships/hyperlink" Target="http://www.rapidbbs.cn/" TargetMode="External"/><Relationship Id="rId4" Type="http://schemas.openxmlformats.org/officeDocument/2006/relationships/image" Target="../media/image55.png"/></Relationships>
</file>

<file path=ppt/slides/_rels/slide60.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notesSlide" Target="../notesSlides/notesSlide48.xml"/><Relationship Id="rId1" Type="http://schemas.openxmlformats.org/officeDocument/2006/relationships/slideLayout" Target="../slideLayouts/slideLayout147.xml"/><Relationship Id="rId4" Type="http://schemas.openxmlformats.org/officeDocument/2006/relationships/image" Target="../media/image47.emf"/></Relationships>
</file>

<file path=ppt/slides/_rels/slide61.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hyperlink" Target="http://www.rapidbbs.cn/" TargetMode="External"/><Relationship Id="rId1" Type="http://schemas.openxmlformats.org/officeDocument/2006/relationships/slideLayout" Target="../slideLayouts/slideLayout147.xml"/></Relationships>
</file>

<file path=ppt/slides/_rels/slide62.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hyperlink" Target="http://www.rapidbbs.cn/" TargetMode="External"/><Relationship Id="rId1" Type="http://schemas.openxmlformats.org/officeDocument/2006/relationships/slideLayout" Target="../slideLayouts/slideLayout147.xml"/></Relationships>
</file>

<file path=ppt/slides/_rels/slide63.xml.rels><?xml version="1.0" encoding="UTF-8" standalone="yes"?>
<Relationships xmlns="http://schemas.openxmlformats.org/package/2006/relationships"><Relationship Id="rId8" Type="http://schemas.openxmlformats.org/officeDocument/2006/relationships/comments" Target="../comments/comment1.xml"/><Relationship Id="rId3" Type="http://schemas.openxmlformats.org/officeDocument/2006/relationships/image" Target="../media/image156.png"/><Relationship Id="rId7" Type="http://schemas.openxmlformats.org/officeDocument/2006/relationships/image" Target="../media/image47.emf"/><Relationship Id="rId2" Type="http://schemas.openxmlformats.org/officeDocument/2006/relationships/notesSlide" Target="../notesSlides/notesSlide49.xml"/><Relationship Id="rId1" Type="http://schemas.openxmlformats.org/officeDocument/2006/relationships/slideLayout" Target="../slideLayouts/slideLayout151.xml"/><Relationship Id="rId6" Type="http://schemas.openxmlformats.org/officeDocument/2006/relationships/hyperlink" Target="http://www.rapidbbs.cn/" TargetMode="External"/><Relationship Id="rId5" Type="http://schemas.openxmlformats.org/officeDocument/2006/relationships/image" Target="../media/image158.png"/><Relationship Id="rId4" Type="http://schemas.openxmlformats.org/officeDocument/2006/relationships/image" Target="../media/image157.png"/></Relationships>
</file>

<file path=ppt/slides/_rels/slide64.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notesSlide" Target="../notesSlides/notesSlide50.xml"/><Relationship Id="rId1" Type="http://schemas.openxmlformats.org/officeDocument/2006/relationships/slideLayout" Target="../slideLayouts/slideLayout168.xml"/><Relationship Id="rId4" Type="http://schemas.openxmlformats.org/officeDocument/2006/relationships/image" Target="../media/image47.emf"/></Relationships>
</file>

<file path=ppt/slides/_rels/slide65.xml.rels><?xml version="1.0" encoding="UTF-8" standalone="yes"?>
<Relationships xmlns="http://schemas.openxmlformats.org/package/2006/relationships"><Relationship Id="rId8" Type="http://schemas.openxmlformats.org/officeDocument/2006/relationships/image" Target="../media/image96.png"/><Relationship Id="rId13" Type="http://schemas.openxmlformats.org/officeDocument/2006/relationships/hyperlink" Target="http://www.rapidbbs.cn/" TargetMode="External"/><Relationship Id="rId3" Type="http://schemas.openxmlformats.org/officeDocument/2006/relationships/image" Target="../media/image91.png"/><Relationship Id="rId7" Type="http://schemas.openxmlformats.org/officeDocument/2006/relationships/image" Target="../media/image95.png"/><Relationship Id="rId12" Type="http://schemas.openxmlformats.org/officeDocument/2006/relationships/image" Target="../media/image100.png"/><Relationship Id="rId2" Type="http://schemas.openxmlformats.org/officeDocument/2006/relationships/notesSlide" Target="../notesSlides/notesSlide51.xml"/><Relationship Id="rId1" Type="http://schemas.openxmlformats.org/officeDocument/2006/relationships/slideLayout" Target="../slideLayouts/slideLayout147.xml"/><Relationship Id="rId6" Type="http://schemas.openxmlformats.org/officeDocument/2006/relationships/image" Target="../media/image94.png"/><Relationship Id="rId11" Type="http://schemas.openxmlformats.org/officeDocument/2006/relationships/image" Target="../media/image99.png"/><Relationship Id="rId5" Type="http://schemas.openxmlformats.org/officeDocument/2006/relationships/image" Target="../media/image93.png"/><Relationship Id="rId10" Type="http://schemas.openxmlformats.org/officeDocument/2006/relationships/image" Target="../media/image98.png"/><Relationship Id="rId4" Type="http://schemas.openxmlformats.org/officeDocument/2006/relationships/image" Target="../media/image92.png"/><Relationship Id="rId9" Type="http://schemas.openxmlformats.org/officeDocument/2006/relationships/image" Target="../media/image97.png"/><Relationship Id="rId14" Type="http://schemas.openxmlformats.org/officeDocument/2006/relationships/image" Target="../media/image47.emf"/></Relationships>
</file>

<file path=ppt/slides/_rels/slide66.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52.xml"/><Relationship Id="rId1" Type="http://schemas.openxmlformats.org/officeDocument/2006/relationships/slideLayout" Target="../slideLayouts/slideLayout135.xml"/><Relationship Id="rId5" Type="http://schemas.openxmlformats.org/officeDocument/2006/relationships/image" Target="../media/image47.emf"/><Relationship Id="rId4" Type="http://schemas.openxmlformats.org/officeDocument/2006/relationships/hyperlink" Target="http://www.rapidbbs.cn/" TargetMode="External"/></Relationships>
</file>

<file path=ppt/slides/_rels/slide6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53.xml"/><Relationship Id="rId1" Type="http://schemas.openxmlformats.org/officeDocument/2006/relationships/slideLayout" Target="../slideLayouts/slideLayout134.xml"/><Relationship Id="rId4" Type="http://schemas.openxmlformats.org/officeDocument/2006/relationships/image" Target="../media/image159.png"/></Relationships>
</file>

<file path=ppt/slides/_rels/slide6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54.xml"/><Relationship Id="rId1" Type="http://schemas.openxmlformats.org/officeDocument/2006/relationships/slideLayout" Target="../slideLayouts/slideLayout138.xml"/><Relationship Id="rId6" Type="http://schemas.openxmlformats.org/officeDocument/2006/relationships/image" Target="../media/image47.emf"/><Relationship Id="rId5" Type="http://schemas.openxmlformats.org/officeDocument/2006/relationships/hyperlink" Target="http://www.rapidbbs.cn/" TargetMode="External"/><Relationship Id="rId4" Type="http://schemas.openxmlformats.org/officeDocument/2006/relationships/image" Target="../media/image159.png"/></Relationships>
</file>

<file path=ppt/slides/_rels/slide69.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55.xml"/><Relationship Id="rId1" Type="http://schemas.openxmlformats.org/officeDocument/2006/relationships/slideLayout" Target="../slideLayouts/slideLayout138.xml"/><Relationship Id="rId6" Type="http://schemas.openxmlformats.org/officeDocument/2006/relationships/image" Target="../media/image47.emf"/><Relationship Id="rId5" Type="http://schemas.openxmlformats.org/officeDocument/2006/relationships/hyperlink" Target="http://www.rapidbbs.cn/" TargetMode="External"/><Relationship Id="rId4" Type="http://schemas.openxmlformats.org/officeDocument/2006/relationships/image" Target="../media/image1.png"/></Relationships>
</file>

<file path=ppt/slides/_rels/slide7.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47.emf"/></Relationships>
</file>

<file path=ppt/slides/_rels/slide70.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hyperlink" Target="http://www.rapidbbs.cn/" TargetMode="External"/><Relationship Id="rId1" Type="http://schemas.openxmlformats.org/officeDocument/2006/relationships/slideLayout" Target="../slideLayouts/slideLayout134.xml"/></Relationships>
</file>

<file path=ppt/slides/_rels/slide71.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image" Target="../media/image160.png"/><Relationship Id="rId1" Type="http://schemas.openxmlformats.org/officeDocument/2006/relationships/slideLayout" Target="../slideLayouts/slideLayout134.xml"/><Relationship Id="rId4" Type="http://schemas.openxmlformats.org/officeDocument/2006/relationships/image" Target="../media/image47.emf"/></Relationships>
</file>

<file path=ppt/slides/_rels/slide72.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hyperlink" Target="http://www.rapidbbs.cn/" TargetMode="External"/><Relationship Id="rId1" Type="http://schemas.openxmlformats.org/officeDocument/2006/relationships/slideLayout" Target="../slideLayouts/slideLayout134.xml"/></Relationships>
</file>

<file path=ppt/slides/_rels/slide73.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tags" Target="../tags/tag48.xml"/><Relationship Id="rId18" Type="http://schemas.openxmlformats.org/officeDocument/2006/relationships/image" Target="../media/image161.png"/><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tags" Target="../tags/tag47.xml"/><Relationship Id="rId17" Type="http://schemas.openxmlformats.org/officeDocument/2006/relationships/image" Target="../media/image19.emf"/><Relationship Id="rId2" Type="http://schemas.openxmlformats.org/officeDocument/2006/relationships/tags" Target="../tags/tag37.xml"/><Relationship Id="rId16" Type="http://schemas.openxmlformats.org/officeDocument/2006/relationships/oleObject" Target="../embeddings/oleObject4.bin"/><Relationship Id="rId20" Type="http://schemas.openxmlformats.org/officeDocument/2006/relationships/image" Target="../media/image47.emf"/><Relationship Id="rId1" Type="http://schemas.openxmlformats.org/officeDocument/2006/relationships/vmlDrawing" Target="../drawings/vmlDrawing4.vml"/><Relationship Id="rId6" Type="http://schemas.openxmlformats.org/officeDocument/2006/relationships/tags" Target="../tags/tag41.xml"/><Relationship Id="rId11" Type="http://schemas.openxmlformats.org/officeDocument/2006/relationships/tags" Target="../tags/tag46.xml"/><Relationship Id="rId5" Type="http://schemas.openxmlformats.org/officeDocument/2006/relationships/tags" Target="../tags/tag40.xml"/><Relationship Id="rId15" Type="http://schemas.openxmlformats.org/officeDocument/2006/relationships/notesSlide" Target="../notesSlides/notesSlide56.xml"/><Relationship Id="rId10" Type="http://schemas.openxmlformats.org/officeDocument/2006/relationships/tags" Target="../tags/tag45.xml"/><Relationship Id="rId19" Type="http://schemas.openxmlformats.org/officeDocument/2006/relationships/hyperlink" Target="http://www.rapidbbs.cn/" TargetMode="Externa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slideLayout" Target="../slideLayouts/slideLayout138.xml"/></Relationships>
</file>

<file path=ppt/slides/_rels/slide74.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image" Target="../media/image1.png"/><Relationship Id="rId1" Type="http://schemas.openxmlformats.org/officeDocument/2006/relationships/slideLayout" Target="../slideLayouts/slideLayout135.xml"/><Relationship Id="rId4" Type="http://schemas.openxmlformats.org/officeDocument/2006/relationships/image" Target="../media/image47.emf"/></Relationships>
</file>

<file path=ppt/slides/_rels/slide75.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notesSlide" Target="../notesSlides/notesSlide57.xml"/><Relationship Id="rId1" Type="http://schemas.openxmlformats.org/officeDocument/2006/relationships/slideLayout" Target="../slideLayouts/slideLayout134.xml"/><Relationship Id="rId4" Type="http://schemas.openxmlformats.org/officeDocument/2006/relationships/image" Target="../media/image47.emf"/></Relationships>
</file>

<file path=ppt/slides/_rels/slide76.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notesSlide" Target="../notesSlides/notesSlide58.xml"/><Relationship Id="rId1" Type="http://schemas.openxmlformats.org/officeDocument/2006/relationships/slideLayout" Target="../slideLayouts/slideLayout138.xml"/><Relationship Id="rId4" Type="http://schemas.openxmlformats.org/officeDocument/2006/relationships/image" Target="../media/image47.emf"/></Relationships>
</file>

<file path=ppt/slides/_rels/slide77.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08.png"/><Relationship Id="rId1" Type="http://schemas.openxmlformats.org/officeDocument/2006/relationships/slideLayout" Target="../slideLayouts/slideLayout138.xml"/><Relationship Id="rId6" Type="http://schemas.openxmlformats.org/officeDocument/2006/relationships/image" Target="../media/image47.emf"/><Relationship Id="rId5" Type="http://schemas.openxmlformats.org/officeDocument/2006/relationships/hyperlink" Target="http://www.rapidbbs.cn/" TargetMode="External"/><Relationship Id="rId4" Type="http://schemas.openxmlformats.org/officeDocument/2006/relationships/image" Target="../media/image122.png"/></Relationships>
</file>

<file path=ppt/slides/_rels/slide78.xml.rels><?xml version="1.0" encoding="UTF-8" standalone="yes"?>
<Relationships xmlns="http://schemas.openxmlformats.org/package/2006/relationships"><Relationship Id="rId8" Type="http://schemas.openxmlformats.org/officeDocument/2006/relationships/image" Target="../media/image47.emf"/><Relationship Id="rId3" Type="http://schemas.openxmlformats.org/officeDocument/2006/relationships/image" Target="../media/image162.png"/><Relationship Id="rId7" Type="http://schemas.openxmlformats.org/officeDocument/2006/relationships/hyperlink" Target="http://www.rapidbbs.cn/" TargetMode="External"/><Relationship Id="rId2" Type="http://schemas.openxmlformats.org/officeDocument/2006/relationships/notesSlide" Target="../notesSlides/notesSlide59.xml"/><Relationship Id="rId1" Type="http://schemas.openxmlformats.org/officeDocument/2006/relationships/slideLayout" Target="../slideLayouts/slideLayout135.xml"/><Relationship Id="rId6" Type="http://schemas.openxmlformats.org/officeDocument/2006/relationships/image" Target="../media/image165.jpeg"/><Relationship Id="rId5" Type="http://schemas.openxmlformats.org/officeDocument/2006/relationships/image" Target="../media/image164.png"/><Relationship Id="rId4" Type="http://schemas.openxmlformats.org/officeDocument/2006/relationships/image" Target="../media/image163.jpeg"/></Relationships>
</file>

<file path=ppt/slides/_rels/slide79.xml.rels><?xml version="1.0" encoding="UTF-8" standalone="yes"?>
<Relationships xmlns="http://schemas.openxmlformats.org/package/2006/relationships"><Relationship Id="rId8" Type="http://schemas.openxmlformats.org/officeDocument/2006/relationships/image" Target="../media/image137.png"/><Relationship Id="rId3" Type="http://schemas.openxmlformats.org/officeDocument/2006/relationships/slideLayout" Target="../slideLayouts/slideLayout138.xml"/><Relationship Id="rId7" Type="http://schemas.openxmlformats.org/officeDocument/2006/relationships/image" Target="../media/image166.png"/><Relationship Id="rId2" Type="http://schemas.openxmlformats.org/officeDocument/2006/relationships/tags" Target="../tags/tag49.xml"/><Relationship Id="rId1" Type="http://schemas.openxmlformats.org/officeDocument/2006/relationships/vmlDrawing" Target="../drawings/vmlDrawing5.vml"/><Relationship Id="rId6" Type="http://schemas.openxmlformats.org/officeDocument/2006/relationships/image" Target="../media/image19.emf"/><Relationship Id="rId11" Type="http://schemas.openxmlformats.org/officeDocument/2006/relationships/image" Target="../media/image47.emf"/><Relationship Id="rId5" Type="http://schemas.openxmlformats.org/officeDocument/2006/relationships/oleObject" Target="../embeddings/oleObject5.bin"/><Relationship Id="rId10" Type="http://schemas.openxmlformats.org/officeDocument/2006/relationships/hyperlink" Target="http://www.rapidbbs.cn/" TargetMode="External"/><Relationship Id="rId4" Type="http://schemas.openxmlformats.org/officeDocument/2006/relationships/notesSlide" Target="../notesSlides/notesSlide60.xml"/><Relationship Id="rId9" Type="http://schemas.microsoft.com/office/2007/relationships/hdphoto" Target="../media/hdphoto13.wdp"/></Relationships>
</file>

<file path=ppt/slides/_rels/slide8.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notesSlide" Target="../notesSlides/notesSlide8.xml"/><Relationship Id="rId1" Type="http://schemas.openxmlformats.org/officeDocument/2006/relationships/slideLayout" Target="../slideLayouts/slideLayout3.xml"/><Relationship Id="rId4" Type="http://schemas.openxmlformats.org/officeDocument/2006/relationships/image" Target="../media/image47.emf"/></Relationships>
</file>

<file path=ppt/slides/_rels/slide80.xml.rels><?xml version="1.0" encoding="UTF-8" standalone="yes"?>
<Relationships xmlns="http://schemas.openxmlformats.org/package/2006/relationships"><Relationship Id="rId8" Type="http://schemas.openxmlformats.org/officeDocument/2006/relationships/image" Target="../media/image172.png"/><Relationship Id="rId13" Type="http://schemas.openxmlformats.org/officeDocument/2006/relationships/image" Target="../media/image175.wmf"/><Relationship Id="rId18" Type="http://schemas.openxmlformats.org/officeDocument/2006/relationships/image" Target="../media/image179.png"/><Relationship Id="rId3" Type="http://schemas.openxmlformats.org/officeDocument/2006/relationships/image" Target="../media/image167.png"/><Relationship Id="rId21" Type="http://schemas.microsoft.com/office/2007/relationships/hdphoto" Target="../media/hdphoto25.wdp"/><Relationship Id="rId7" Type="http://schemas.openxmlformats.org/officeDocument/2006/relationships/image" Target="../media/image171.wmf"/><Relationship Id="rId12" Type="http://schemas.openxmlformats.org/officeDocument/2006/relationships/image" Target="../media/image174.png"/><Relationship Id="rId17" Type="http://schemas.microsoft.com/office/2007/relationships/hdphoto" Target="../media/hdphoto23.wdp"/><Relationship Id="rId2" Type="http://schemas.openxmlformats.org/officeDocument/2006/relationships/notesSlide" Target="../notesSlides/notesSlide61.xml"/><Relationship Id="rId16" Type="http://schemas.openxmlformats.org/officeDocument/2006/relationships/image" Target="../media/image178.png"/><Relationship Id="rId20" Type="http://schemas.openxmlformats.org/officeDocument/2006/relationships/image" Target="../media/image180.png"/><Relationship Id="rId1" Type="http://schemas.openxmlformats.org/officeDocument/2006/relationships/slideLayout" Target="../slideLayouts/slideLayout138.xml"/><Relationship Id="rId6" Type="http://schemas.openxmlformats.org/officeDocument/2006/relationships/image" Target="../media/image170.png"/><Relationship Id="rId11" Type="http://schemas.microsoft.com/office/2007/relationships/hdphoto" Target="../media/hdphoto22.wdp"/><Relationship Id="rId5" Type="http://schemas.openxmlformats.org/officeDocument/2006/relationships/image" Target="../media/image169.wmf"/><Relationship Id="rId15" Type="http://schemas.openxmlformats.org/officeDocument/2006/relationships/image" Target="../media/image177.jpeg"/><Relationship Id="rId23" Type="http://schemas.openxmlformats.org/officeDocument/2006/relationships/image" Target="../media/image47.emf"/><Relationship Id="rId10" Type="http://schemas.openxmlformats.org/officeDocument/2006/relationships/image" Target="../media/image173.jpeg"/><Relationship Id="rId19" Type="http://schemas.microsoft.com/office/2007/relationships/hdphoto" Target="../media/hdphoto24.wdp"/><Relationship Id="rId4" Type="http://schemas.openxmlformats.org/officeDocument/2006/relationships/image" Target="../media/image168.wmf"/><Relationship Id="rId9" Type="http://schemas.microsoft.com/office/2007/relationships/hdphoto" Target="../media/hdphoto21.wdp"/><Relationship Id="rId14" Type="http://schemas.openxmlformats.org/officeDocument/2006/relationships/image" Target="../media/image176.wmf"/><Relationship Id="rId22" Type="http://schemas.openxmlformats.org/officeDocument/2006/relationships/hyperlink" Target="http://www.rapidbbs.cn/" TargetMode="External"/></Relationships>
</file>

<file path=ppt/slides/_rels/slide81.xml.rels><?xml version="1.0" encoding="UTF-8" standalone="yes"?>
<Relationships xmlns="http://schemas.openxmlformats.org/package/2006/relationships"><Relationship Id="rId8" Type="http://schemas.openxmlformats.org/officeDocument/2006/relationships/tags" Target="../tags/tag56.xml"/><Relationship Id="rId13" Type="http://schemas.openxmlformats.org/officeDocument/2006/relationships/tags" Target="../tags/tag61.xml"/><Relationship Id="rId18" Type="http://schemas.openxmlformats.org/officeDocument/2006/relationships/tags" Target="../tags/tag66.xml"/><Relationship Id="rId3" Type="http://schemas.openxmlformats.org/officeDocument/2006/relationships/tags" Target="../tags/tag51.xml"/><Relationship Id="rId21" Type="http://schemas.openxmlformats.org/officeDocument/2006/relationships/notesSlide" Target="../notesSlides/notesSlide62.xml"/><Relationship Id="rId7" Type="http://schemas.openxmlformats.org/officeDocument/2006/relationships/tags" Target="../tags/tag55.xml"/><Relationship Id="rId12" Type="http://schemas.openxmlformats.org/officeDocument/2006/relationships/tags" Target="../tags/tag60.xml"/><Relationship Id="rId17" Type="http://schemas.openxmlformats.org/officeDocument/2006/relationships/tags" Target="../tags/tag65.xml"/><Relationship Id="rId25" Type="http://schemas.openxmlformats.org/officeDocument/2006/relationships/image" Target="../media/image47.emf"/><Relationship Id="rId2" Type="http://schemas.openxmlformats.org/officeDocument/2006/relationships/tags" Target="../tags/tag50.xml"/><Relationship Id="rId16" Type="http://schemas.openxmlformats.org/officeDocument/2006/relationships/tags" Target="../tags/tag64.xml"/><Relationship Id="rId20" Type="http://schemas.openxmlformats.org/officeDocument/2006/relationships/slideLayout" Target="../slideLayouts/slideLayout138.xml"/><Relationship Id="rId1" Type="http://schemas.openxmlformats.org/officeDocument/2006/relationships/vmlDrawing" Target="../drawings/vmlDrawing6.vml"/><Relationship Id="rId6" Type="http://schemas.openxmlformats.org/officeDocument/2006/relationships/tags" Target="../tags/tag54.xml"/><Relationship Id="rId11" Type="http://schemas.openxmlformats.org/officeDocument/2006/relationships/tags" Target="../tags/tag59.xml"/><Relationship Id="rId24" Type="http://schemas.openxmlformats.org/officeDocument/2006/relationships/hyperlink" Target="http://www.rapidbbs.cn/" TargetMode="External"/><Relationship Id="rId5" Type="http://schemas.openxmlformats.org/officeDocument/2006/relationships/tags" Target="../tags/tag53.xml"/><Relationship Id="rId15" Type="http://schemas.openxmlformats.org/officeDocument/2006/relationships/tags" Target="../tags/tag63.xml"/><Relationship Id="rId23" Type="http://schemas.openxmlformats.org/officeDocument/2006/relationships/image" Target="../media/image19.emf"/><Relationship Id="rId10" Type="http://schemas.openxmlformats.org/officeDocument/2006/relationships/tags" Target="../tags/tag58.xml"/><Relationship Id="rId19" Type="http://schemas.openxmlformats.org/officeDocument/2006/relationships/tags" Target="../tags/tag67.xml"/><Relationship Id="rId4" Type="http://schemas.openxmlformats.org/officeDocument/2006/relationships/tags" Target="../tags/tag52.xml"/><Relationship Id="rId9" Type="http://schemas.openxmlformats.org/officeDocument/2006/relationships/tags" Target="../tags/tag57.xml"/><Relationship Id="rId14" Type="http://schemas.openxmlformats.org/officeDocument/2006/relationships/tags" Target="../tags/tag62.xml"/><Relationship Id="rId22" Type="http://schemas.openxmlformats.org/officeDocument/2006/relationships/oleObject" Target="../embeddings/oleObject6.bin"/></Relationships>
</file>

<file path=ppt/slides/_rels/slide82.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69.xml"/><Relationship Id="rId7" Type="http://schemas.openxmlformats.org/officeDocument/2006/relationships/notesSlide" Target="../notesSlides/notesSlide63.xml"/><Relationship Id="rId2" Type="http://schemas.openxmlformats.org/officeDocument/2006/relationships/tags" Target="../tags/tag68.xml"/><Relationship Id="rId1" Type="http://schemas.openxmlformats.org/officeDocument/2006/relationships/vmlDrawing" Target="../drawings/vmlDrawing7.vml"/><Relationship Id="rId6" Type="http://schemas.openxmlformats.org/officeDocument/2006/relationships/slideLayout" Target="../slideLayouts/slideLayout138.xml"/><Relationship Id="rId11" Type="http://schemas.openxmlformats.org/officeDocument/2006/relationships/image" Target="../media/image47.emf"/><Relationship Id="rId5" Type="http://schemas.openxmlformats.org/officeDocument/2006/relationships/tags" Target="../tags/tag71.xml"/><Relationship Id="rId10" Type="http://schemas.openxmlformats.org/officeDocument/2006/relationships/hyperlink" Target="http://www.rapidbbs.cn/" TargetMode="External"/><Relationship Id="rId4" Type="http://schemas.openxmlformats.org/officeDocument/2006/relationships/tags" Target="../tags/tag70.xml"/><Relationship Id="rId9" Type="http://schemas.openxmlformats.org/officeDocument/2006/relationships/image" Target="../media/image19.emf"/></Relationships>
</file>

<file path=ppt/slides/_rels/slide83.xml.rels><?xml version="1.0" encoding="UTF-8" standalone="yes"?>
<Relationships xmlns="http://schemas.openxmlformats.org/package/2006/relationships"><Relationship Id="rId8" Type="http://schemas.openxmlformats.org/officeDocument/2006/relationships/hyperlink" Target="http://www.rapidbbs.cn/" TargetMode="External"/><Relationship Id="rId3" Type="http://schemas.openxmlformats.org/officeDocument/2006/relationships/image" Target="../media/image181.png"/><Relationship Id="rId7" Type="http://schemas.openxmlformats.org/officeDocument/2006/relationships/image" Target="../media/image184.png"/><Relationship Id="rId2" Type="http://schemas.openxmlformats.org/officeDocument/2006/relationships/notesSlide" Target="../notesSlides/notesSlide64.xml"/><Relationship Id="rId1" Type="http://schemas.openxmlformats.org/officeDocument/2006/relationships/slideLayout" Target="../slideLayouts/slideLayout134.xml"/><Relationship Id="rId6" Type="http://schemas.openxmlformats.org/officeDocument/2006/relationships/image" Target="../media/image183.png"/><Relationship Id="rId5" Type="http://schemas.openxmlformats.org/officeDocument/2006/relationships/image" Target="../media/image124.png"/><Relationship Id="rId4" Type="http://schemas.openxmlformats.org/officeDocument/2006/relationships/image" Target="../media/image182.png"/><Relationship Id="rId9" Type="http://schemas.openxmlformats.org/officeDocument/2006/relationships/image" Target="../media/image47.emf"/></Relationships>
</file>

<file path=ppt/slides/_rels/slide84.xml.rels><?xml version="1.0" encoding="UTF-8" standalone="yes"?>
<Relationships xmlns="http://schemas.openxmlformats.org/package/2006/relationships"><Relationship Id="rId8" Type="http://schemas.openxmlformats.org/officeDocument/2006/relationships/hyperlink" Target="http://www.rapidbbs.cn/" TargetMode="External"/><Relationship Id="rId3" Type="http://schemas.openxmlformats.org/officeDocument/2006/relationships/image" Target="../media/image181.png"/><Relationship Id="rId7" Type="http://schemas.openxmlformats.org/officeDocument/2006/relationships/image" Target="../media/image187.png"/><Relationship Id="rId2" Type="http://schemas.openxmlformats.org/officeDocument/2006/relationships/notesSlide" Target="../notesSlides/notesSlide65.xml"/><Relationship Id="rId1" Type="http://schemas.openxmlformats.org/officeDocument/2006/relationships/slideLayout" Target="../slideLayouts/slideLayout134.xml"/><Relationship Id="rId6" Type="http://schemas.openxmlformats.org/officeDocument/2006/relationships/image" Target="../media/image186.png"/><Relationship Id="rId5" Type="http://schemas.openxmlformats.org/officeDocument/2006/relationships/image" Target="../media/image183.png"/><Relationship Id="rId4" Type="http://schemas.openxmlformats.org/officeDocument/2006/relationships/image" Target="../media/image185.png"/><Relationship Id="rId9" Type="http://schemas.openxmlformats.org/officeDocument/2006/relationships/image" Target="../media/image47.emf"/></Relationships>
</file>

<file path=ppt/slides/_rels/slide85.xml.rels><?xml version="1.0" encoding="UTF-8" standalone="yes"?>
<Relationships xmlns="http://schemas.openxmlformats.org/package/2006/relationships"><Relationship Id="rId3" Type="http://schemas.openxmlformats.org/officeDocument/2006/relationships/image" Target="../media/image188.png"/><Relationship Id="rId7" Type="http://schemas.openxmlformats.org/officeDocument/2006/relationships/image" Target="../media/image47.emf"/><Relationship Id="rId2" Type="http://schemas.openxmlformats.org/officeDocument/2006/relationships/notesSlide" Target="../notesSlides/notesSlide66.xml"/><Relationship Id="rId1" Type="http://schemas.openxmlformats.org/officeDocument/2006/relationships/slideLayout" Target="../slideLayouts/slideLayout135.xml"/><Relationship Id="rId6" Type="http://schemas.openxmlformats.org/officeDocument/2006/relationships/hyperlink" Target="http://www.rapidbbs.cn/" TargetMode="External"/><Relationship Id="rId5" Type="http://schemas.openxmlformats.org/officeDocument/2006/relationships/image" Target="../media/image189.png"/><Relationship Id="rId4" Type="http://schemas.openxmlformats.org/officeDocument/2006/relationships/image" Target="../media/image114.png"/></Relationships>
</file>

<file path=ppt/slides/_rels/slide86.xml.rels><?xml version="1.0" encoding="UTF-8" standalone="yes"?>
<Relationships xmlns="http://schemas.openxmlformats.org/package/2006/relationships"><Relationship Id="rId8" Type="http://schemas.openxmlformats.org/officeDocument/2006/relationships/tags" Target="../tags/tag79.xml"/><Relationship Id="rId13" Type="http://schemas.openxmlformats.org/officeDocument/2006/relationships/image" Target="../media/image190.png"/><Relationship Id="rId18" Type="http://schemas.openxmlformats.org/officeDocument/2006/relationships/image" Target="../media/image118.png"/><Relationship Id="rId3" Type="http://schemas.openxmlformats.org/officeDocument/2006/relationships/tags" Target="../tags/tag74.xml"/><Relationship Id="rId7" Type="http://schemas.openxmlformats.org/officeDocument/2006/relationships/tags" Target="../tags/tag78.xml"/><Relationship Id="rId12" Type="http://schemas.openxmlformats.org/officeDocument/2006/relationships/notesSlide" Target="../notesSlides/notesSlide67.xml"/><Relationship Id="rId17" Type="http://schemas.openxmlformats.org/officeDocument/2006/relationships/image" Target="../media/image114.png"/><Relationship Id="rId2" Type="http://schemas.openxmlformats.org/officeDocument/2006/relationships/tags" Target="../tags/tag73.xml"/><Relationship Id="rId16" Type="http://schemas.microsoft.com/office/2007/relationships/hdphoto" Target="../media/hdphoto26.wdp"/><Relationship Id="rId20" Type="http://schemas.openxmlformats.org/officeDocument/2006/relationships/image" Target="../media/image47.emf"/><Relationship Id="rId1" Type="http://schemas.openxmlformats.org/officeDocument/2006/relationships/tags" Target="../tags/tag72.xml"/><Relationship Id="rId6" Type="http://schemas.openxmlformats.org/officeDocument/2006/relationships/tags" Target="../tags/tag77.xml"/><Relationship Id="rId11" Type="http://schemas.openxmlformats.org/officeDocument/2006/relationships/slideLayout" Target="../slideLayouts/slideLayout135.xml"/><Relationship Id="rId5" Type="http://schemas.openxmlformats.org/officeDocument/2006/relationships/tags" Target="../tags/tag76.xml"/><Relationship Id="rId15" Type="http://schemas.openxmlformats.org/officeDocument/2006/relationships/image" Target="../media/image191.png"/><Relationship Id="rId10" Type="http://schemas.openxmlformats.org/officeDocument/2006/relationships/tags" Target="../tags/tag81.xml"/><Relationship Id="rId19" Type="http://schemas.openxmlformats.org/officeDocument/2006/relationships/hyperlink" Target="http://www.rapidbbs.cn/" TargetMode="External"/><Relationship Id="rId4" Type="http://schemas.openxmlformats.org/officeDocument/2006/relationships/tags" Target="../tags/tag75.xml"/><Relationship Id="rId9" Type="http://schemas.openxmlformats.org/officeDocument/2006/relationships/tags" Target="../tags/tag80.xml"/><Relationship Id="rId14" Type="http://schemas.openxmlformats.org/officeDocument/2006/relationships/image" Target="../media/image108.png"/></Relationships>
</file>

<file path=ppt/slides/_rels/slide87.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image" Target="../media/image192.png"/><Relationship Id="rId18" Type="http://schemas.openxmlformats.org/officeDocument/2006/relationships/image" Target="../media/image47.emf"/><Relationship Id="rId3" Type="http://schemas.openxmlformats.org/officeDocument/2006/relationships/tags" Target="../tags/tag84.xml"/><Relationship Id="rId7" Type="http://schemas.openxmlformats.org/officeDocument/2006/relationships/tags" Target="../tags/tag88.xml"/><Relationship Id="rId12" Type="http://schemas.microsoft.com/office/2007/relationships/hdphoto" Target="../media/hdphoto26.wdp"/><Relationship Id="rId17" Type="http://schemas.openxmlformats.org/officeDocument/2006/relationships/hyperlink" Target="http://www.rapidbbs.cn/" TargetMode="External"/><Relationship Id="rId2" Type="http://schemas.openxmlformats.org/officeDocument/2006/relationships/tags" Target="../tags/tag83.xml"/><Relationship Id="rId16" Type="http://schemas.microsoft.com/office/2007/relationships/hdphoto" Target="../media/hdphoto28.wdp"/><Relationship Id="rId1" Type="http://schemas.openxmlformats.org/officeDocument/2006/relationships/tags" Target="../tags/tag82.xml"/><Relationship Id="rId6" Type="http://schemas.openxmlformats.org/officeDocument/2006/relationships/tags" Target="../tags/tag87.xml"/><Relationship Id="rId11" Type="http://schemas.openxmlformats.org/officeDocument/2006/relationships/image" Target="../media/image191.png"/><Relationship Id="rId5" Type="http://schemas.openxmlformats.org/officeDocument/2006/relationships/tags" Target="../tags/tag86.xml"/><Relationship Id="rId15" Type="http://schemas.openxmlformats.org/officeDocument/2006/relationships/image" Target="../media/image193.png"/><Relationship Id="rId10" Type="http://schemas.openxmlformats.org/officeDocument/2006/relationships/notesSlide" Target="../notesSlides/notesSlide68.xml"/><Relationship Id="rId4" Type="http://schemas.openxmlformats.org/officeDocument/2006/relationships/tags" Target="../tags/tag85.xml"/><Relationship Id="rId9" Type="http://schemas.openxmlformats.org/officeDocument/2006/relationships/slideLayout" Target="../slideLayouts/slideLayout135.xml"/><Relationship Id="rId14" Type="http://schemas.microsoft.com/office/2007/relationships/hdphoto" Target="../media/hdphoto27.wdp"/></Relationships>
</file>

<file path=ppt/slides/_rels/slide88.xml.rels><?xml version="1.0" encoding="UTF-8" standalone="yes"?>
<Relationships xmlns="http://schemas.openxmlformats.org/package/2006/relationships"><Relationship Id="rId8" Type="http://schemas.openxmlformats.org/officeDocument/2006/relationships/tags" Target="../tags/tag97.xml"/><Relationship Id="rId13" Type="http://schemas.openxmlformats.org/officeDocument/2006/relationships/image" Target="../media/image108.png"/><Relationship Id="rId18" Type="http://schemas.openxmlformats.org/officeDocument/2006/relationships/hyperlink" Target="http://www.rapidbbs.cn/" TargetMode="External"/><Relationship Id="rId3" Type="http://schemas.openxmlformats.org/officeDocument/2006/relationships/tags" Target="../tags/tag92.xml"/><Relationship Id="rId7" Type="http://schemas.openxmlformats.org/officeDocument/2006/relationships/tags" Target="../tags/tag96.xml"/><Relationship Id="rId12" Type="http://schemas.openxmlformats.org/officeDocument/2006/relationships/notesSlide" Target="../notesSlides/notesSlide69.xml"/><Relationship Id="rId17" Type="http://schemas.openxmlformats.org/officeDocument/2006/relationships/image" Target="../media/image197.png"/><Relationship Id="rId2" Type="http://schemas.openxmlformats.org/officeDocument/2006/relationships/tags" Target="../tags/tag91.xml"/><Relationship Id="rId16" Type="http://schemas.openxmlformats.org/officeDocument/2006/relationships/image" Target="../media/image196.png"/><Relationship Id="rId1" Type="http://schemas.openxmlformats.org/officeDocument/2006/relationships/tags" Target="../tags/tag90.xml"/><Relationship Id="rId6" Type="http://schemas.openxmlformats.org/officeDocument/2006/relationships/tags" Target="../tags/tag95.xml"/><Relationship Id="rId11" Type="http://schemas.openxmlformats.org/officeDocument/2006/relationships/slideLayout" Target="../slideLayouts/slideLayout135.xml"/><Relationship Id="rId5" Type="http://schemas.openxmlformats.org/officeDocument/2006/relationships/tags" Target="../tags/tag94.xml"/><Relationship Id="rId15" Type="http://schemas.openxmlformats.org/officeDocument/2006/relationships/image" Target="../media/image195.png"/><Relationship Id="rId10" Type="http://schemas.openxmlformats.org/officeDocument/2006/relationships/tags" Target="../tags/tag99.xml"/><Relationship Id="rId19" Type="http://schemas.openxmlformats.org/officeDocument/2006/relationships/image" Target="../media/image47.emf"/><Relationship Id="rId4" Type="http://schemas.openxmlformats.org/officeDocument/2006/relationships/tags" Target="../tags/tag93.xml"/><Relationship Id="rId9" Type="http://schemas.openxmlformats.org/officeDocument/2006/relationships/tags" Target="../tags/tag98.xml"/><Relationship Id="rId14" Type="http://schemas.openxmlformats.org/officeDocument/2006/relationships/image" Target="../media/image194.png"/></Relationships>
</file>

<file path=ppt/slides/_rels/slide89.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image" Target="../media/image198.png"/><Relationship Id="rId18" Type="http://schemas.openxmlformats.org/officeDocument/2006/relationships/image" Target="../media/image47.emf"/><Relationship Id="rId3" Type="http://schemas.openxmlformats.org/officeDocument/2006/relationships/tags" Target="../tags/tag102.xml"/><Relationship Id="rId7" Type="http://schemas.openxmlformats.org/officeDocument/2006/relationships/tags" Target="../tags/tag106.xml"/><Relationship Id="rId12" Type="http://schemas.openxmlformats.org/officeDocument/2006/relationships/notesSlide" Target="../notesSlides/notesSlide70.xml"/><Relationship Id="rId17" Type="http://schemas.openxmlformats.org/officeDocument/2006/relationships/hyperlink" Target="http://www.rapidbbs.cn/" TargetMode="External"/><Relationship Id="rId2" Type="http://schemas.openxmlformats.org/officeDocument/2006/relationships/tags" Target="../tags/tag101.xml"/><Relationship Id="rId16" Type="http://schemas.openxmlformats.org/officeDocument/2006/relationships/image" Target="../media/image201.png"/><Relationship Id="rId1" Type="http://schemas.openxmlformats.org/officeDocument/2006/relationships/tags" Target="../tags/tag100.xml"/><Relationship Id="rId6" Type="http://schemas.openxmlformats.org/officeDocument/2006/relationships/tags" Target="../tags/tag105.xml"/><Relationship Id="rId11" Type="http://schemas.openxmlformats.org/officeDocument/2006/relationships/slideLayout" Target="../slideLayouts/slideLayout135.xml"/><Relationship Id="rId5" Type="http://schemas.openxmlformats.org/officeDocument/2006/relationships/tags" Target="../tags/tag104.xml"/><Relationship Id="rId15" Type="http://schemas.openxmlformats.org/officeDocument/2006/relationships/image" Target="../media/image200.png"/><Relationship Id="rId10" Type="http://schemas.openxmlformats.org/officeDocument/2006/relationships/tags" Target="../tags/tag109.xml"/><Relationship Id="rId4" Type="http://schemas.openxmlformats.org/officeDocument/2006/relationships/tags" Target="../tags/tag103.xml"/><Relationship Id="rId9" Type="http://schemas.openxmlformats.org/officeDocument/2006/relationships/tags" Target="../tags/tag108.xml"/><Relationship Id="rId14" Type="http://schemas.openxmlformats.org/officeDocument/2006/relationships/image" Target="../media/image199.png"/></Relationships>
</file>

<file path=ppt/slides/_rels/slide9.xml.rels><?xml version="1.0" encoding="UTF-8" standalone="yes"?>
<Relationships xmlns="http://schemas.openxmlformats.org/package/2006/relationships"><Relationship Id="rId3" Type="http://schemas.openxmlformats.org/officeDocument/2006/relationships/hyperlink" Target="http://www.rapidbbs.cn/" TargetMode="External"/><Relationship Id="rId2" Type="http://schemas.openxmlformats.org/officeDocument/2006/relationships/notesSlide" Target="../notesSlides/notesSlide9.xml"/><Relationship Id="rId1" Type="http://schemas.openxmlformats.org/officeDocument/2006/relationships/slideLayout" Target="../slideLayouts/slideLayout12.xml"/><Relationship Id="rId4" Type="http://schemas.openxmlformats.org/officeDocument/2006/relationships/image" Target="../media/image47.emf"/></Relationships>
</file>

<file path=ppt/slides/_rels/slide90.xml.rels><?xml version="1.0" encoding="UTF-8" standalone="yes"?>
<Relationships xmlns="http://schemas.openxmlformats.org/package/2006/relationships"><Relationship Id="rId8" Type="http://schemas.openxmlformats.org/officeDocument/2006/relationships/tags" Target="../tags/tag117.xml"/><Relationship Id="rId13" Type="http://schemas.openxmlformats.org/officeDocument/2006/relationships/image" Target="../media/image202.png"/><Relationship Id="rId18" Type="http://schemas.openxmlformats.org/officeDocument/2006/relationships/image" Target="../media/image47.emf"/><Relationship Id="rId3" Type="http://schemas.openxmlformats.org/officeDocument/2006/relationships/tags" Target="../tags/tag112.xml"/><Relationship Id="rId7" Type="http://schemas.openxmlformats.org/officeDocument/2006/relationships/tags" Target="../tags/tag116.xml"/><Relationship Id="rId12" Type="http://schemas.openxmlformats.org/officeDocument/2006/relationships/notesSlide" Target="../notesSlides/notesSlide71.xml"/><Relationship Id="rId17" Type="http://schemas.openxmlformats.org/officeDocument/2006/relationships/hyperlink" Target="http://www.rapidbbs.cn/" TargetMode="External"/><Relationship Id="rId2" Type="http://schemas.openxmlformats.org/officeDocument/2006/relationships/tags" Target="../tags/tag111.xml"/><Relationship Id="rId16" Type="http://schemas.openxmlformats.org/officeDocument/2006/relationships/image" Target="../media/image205.png"/><Relationship Id="rId1" Type="http://schemas.openxmlformats.org/officeDocument/2006/relationships/tags" Target="../tags/tag110.xml"/><Relationship Id="rId6" Type="http://schemas.openxmlformats.org/officeDocument/2006/relationships/tags" Target="../tags/tag115.xml"/><Relationship Id="rId11" Type="http://schemas.openxmlformats.org/officeDocument/2006/relationships/slideLayout" Target="../slideLayouts/slideLayout135.xml"/><Relationship Id="rId5" Type="http://schemas.openxmlformats.org/officeDocument/2006/relationships/tags" Target="../tags/tag114.xml"/><Relationship Id="rId15" Type="http://schemas.openxmlformats.org/officeDocument/2006/relationships/image" Target="../media/image204.png"/><Relationship Id="rId10" Type="http://schemas.openxmlformats.org/officeDocument/2006/relationships/tags" Target="../tags/tag119.xml"/><Relationship Id="rId4" Type="http://schemas.openxmlformats.org/officeDocument/2006/relationships/tags" Target="../tags/tag113.xml"/><Relationship Id="rId9" Type="http://schemas.openxmlformats.org/officeDocument/2006/relationships/tags" Target="../tags/tag118.xml"/><Relationship Id="rId14" Type="http://schemas.openxmlformats.org/officeDocument/2006/relationships/image" Target="../media/image203.png"/></Relationships>
</file>

<file path=ppt/slides/_rels/slide91.xml.rels><?xml version="1.0" encoding="UTF-8" standalone="yes"?>
<Relationships xmlns="http://schemas.openxmlformats.org/package/2006/relationships"><Relationship Id="rId8" Type="http://schemas.openxmlformats.org/officeDocument/2006/relationships/tags" Target="../tags/tag127.xml"/><Relationship Id="rId13" Type="http://schemas.openxmlformats.org/officeDocument/2006/relationships/image" Target="../media/image202.png"/><Relationship Id="rId18" Type="http://schemas.openxmlformats.org/officeDocument/2006/relationships/image" Target="../media/image210.png"/><Relationship Id="rId3" Type="http://schemas.openxmlformats.org/officeDocument/2006/relationships/tags" Target="../tags/tag122.xml"/><Relationship Id="rId7" Type="http://schemas.openxmlformats.org/officeDocument/2006/relationships/tags" Target="../tags/tag126.xml"/><Relationship Id="rId12" Type="http://schemas.openxmlformats.org/officeDocument/2006/relationships/image" Target="../media/image204.png"/><Relationship Id="rId17" Type="http://schemas.openxmlformats.org/officeDocument/2006/relationships/image" Target="../media/image209.png"/><Relationship Id="rId2" Type="http://schemas.openxmlformats.org/officeDocument/2006/relationships/tags" Target="../tags/tag121.xml"/><Relationship Id="rId16" Type="http://schemas.openxmlformats.org/officeDocument/2006/relationships/image" Target="../media/image108.png"/><Relationship Id="rId20" Type="http://schemas.openxmlformats.org/officeDocument/2006/relationships/image" Target="../media/image47.emf"/><Relationship Id="rId1" Type="http://schemas.openxmlformats.org/officeDocument/2006/relationships/tags" Target="../tags/tag120.xml"/><Relationship Id="rId6" Type="http://schemas.openxmlformats.org/officeDocument/2006/relationships/tags" Target="../tags/tag125.xml"/><Relationship Id="rId11" Type="http://schemas.openxmlformats.org/officeDocument/2006/relationships/image" Target="../media/image206.png"/><Relationship Id="rId5" Type="http://schemas.openxmlformats.org/officeDocument/2006/relationships/tags" Target="../tags/tag124.xml"/><Relationship Id="rId15" Type="http://schemas.openxmlformats.org/officeDocument/2006/relationships/image" Target="../media/image208.png"/><Relationship Id="rId10" Type="http://schemas.openxmlformats.org/officeDocument/2006/relationships/notesSlide" Target="../notesSlides/notesSlide72.xml"/><Relationship Id="rId19" Type="http://schemas.openxmlformats.org/officeDocument/2006/relationships/hyperlink" Target="http://www.rapidbbs.cn/" TargetMode="External"/><Relationship Id="rId4" Type="http://schemas.openxmlformats.org/officeDocument/2006/relationships/tags" Target="../tags/tag123.xml"/><Relationship Id="rId9" Type="http://schemas.openxmlformats.org/officeDocument/2006/relationships/slideLayout" Target="../slideLayouts/slideLayout135.xml"/><Relationship Id="rId14" Type="http://schemas.openxmlformats.org/officeDocument/2006/relationships/image" Target="../media/image207.png"/></Relationships>
</file>

<file path=ppt/slides/_rels/slide92.xml.rels><?xml version="1.0" encoding="UTF-8" standalone="yes"?>
<Relationships xmlns="http://schemas.openxmlformats.org/package/2006/relationships"><Relationship Id="rId8" Type="http://schemas.openxmlformats.org/officeDocument/2006/relationships/image" Target="../media/image211.png"/><Relationship Id="rId13" Type="http://schemas.openxmlformats.org/officeDocument/2006/relationships/image" Target="../media/image216.png"/><Relationship Id="rId18" Type="http://schemas.openxmlformats.org/officeDocument/2006/relationships/image" Target="../media/image189.png"/><Relationship Id="rId3" Type="http://schemas.openxmlformats.org/officeDocument/2006/relationships/tags" Target="../tags/tag130.xml"/><Relationship Id="rId7" Type="http://schemas.openxmlformats.org/officeDocument/2006/relationships/notesSlide" Target="../notesSlides/notesSlide73.xml"/><Relationship Id="rId12" Type="http://schemas.openxmlformats.org/officeDocument/2006/relationships/image" Target="../media/image215.png"/><Relationship Id="rId17" Type="http://schemas.openxmlformats.org/officeDocument/2006/relationships/image" Target="../media/image219.png"/><Relationship Id="rId2" Type="http://schemas.openxmlformats.org/officeDocument/2006/relationships/tags" Target="../tags/tag129.xml"/><Relationship Id="rId16" Type="http://schemas.openxmlformats.org/officeDocument/2006/relationships/image" Target="../media/image218.png"/><Relationship Id="rId20" Type="http://schemas.openxmlformats.org/officeDocument/2006/relationships/image" Target="../media/image47.emf"/><Relationship Id="rId1" Type="http://schemas.openxmlformats.org/officeDocument/2006/relationships/tags" Target="../tags/tag128.xml"/><Relationship Id="rId6" Type="http://schemas.openxmlformats.org/officeDocument/2006/relationships/slideLayout" Target="../slideLayouts/slideLayout138.xml"/><Relationship Id="rId11" Type="http://schemas.openxmlformats.org/officeDocument/2006/relationships/image" Target="../media/image214.png"/><Relationship Id="rId5" Type="http://schemas.openxmlformats.org/officeDocument/2006/relationships/tags" Target="../tags/tag132.xml"/><Relationship Id="rId15" Type="http://schemas.openxmlformats.org/officeDocument/2006/relationships/image" Target="../media/image217.png"/><Relationship Id="rId10" Type="http://schemas.openxmlformats.org/officeDocument/2006/relationships/image" Target="../media/image213.png"/><Relationship Id="rId19" Type="http://schemas.openxmlformats.org/officeDocument/2006/relationships/hyperlink" Target="http://www.rapidbbs.cn/" TargetMode="External"/><Relationship Id="rId4" Type="http://schemas.openxmlformats.org/officeDocument/2006/relationships/tags" Target="../tags/tag131.xml"/><Relationship Id="rId9" Type="http://schemas.openxmlformats.org/officeDocument/2006/relationships/image" Target="../media/image212.png"/><Relationship Id="rId14" Type="http://schemas.microsoft.com/office/2007/relationships/hdphoto" Target="../media/hdphoto29.wdp"/></Relationships>
</file>

<file path=ppt/slides/_rels/slide93.xml.rels><?xml version="1.0" encoding="UTF-8" standalone="yes"?>
<Relationships xmlns="http://schemas.openxmlformats.org/package/2006/relationships"><Relationship Id="rId8" Type="http://schemas.openxmlformats.org/officeDocument/2006/relationships/image" Target="../media/image189.png"/><Relationship Id="rId3" Type="http://schemas.openxmlformats.org/officeDocument/2006/relationships/image" Target="../media/image220.png"/><Relationship Id="rId7" Type="http://schemas.openxmlformats.org/officeDocument/2006/relationships/image" Target="../media/image114.png"/><Relationship Id="rId12" Type="http://schemas.openxmlformats.org/officeDocument/2006/relationships/image" Target="../media/image47.emf"/><Relationship Id="rId2" Type="http://schemas.openxmlformats.org/officeDocument/2006/relationships/notesSlide" Target="../notesSlides/notesSlide74.xml"/><Relationship Id="rId1" Type="http://schemas.openxmlformats.org/officeDocument/2006/relationships/slideLayout" Target="../slideLayouts/slideLayout136.xml"/><Relationship Id="rId6" Type="http://schemas.microsoft.com/office/2007/relationships/hdphoto" Target="../media/hdphoto29.wdp"/><Relationship Id="rId11" Type="http://schemas.openxmlformats.org/officeDocument/2006/relationships/hyperlink" Target="http://www.rapidbbs.cn/" TargetMode="External"/><Relationship Id="rId5" Type="http://schemas.openxmlformats.org/officeDocument/2006/relationships/image" Target="../media/image221.png"/><Relationship Id="rId10" Type="http://schemas.openxmlformats.org/officeDocument/2006/relationships/image" Target="../media/image223.png"/><Relationship Id="rId4" Type="http://schemas.openxmlformats.org/officeDocument/2006/relationships/image" Target="../media/image121.png"/><Relationship Id="rId9" Type="http://schemas.openxmlformats.org/officeDocument/2006/relationships/image" Target="../media/image222.png"/></Relationships>
</file>

<file path=ppt/slides/_rels/slide94.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hyperlink" Target="http://www.rapidbbs.cn/" TargetMode="External"/><Relationship Id="rId1" Type="http://schemas.openxmlformats.org/officeDocument/2006/relationships/slideLayout" Target="../slideLayouts/slideLayout134.xml"/></Relationships>
</file>

<file path=ppt/slides/_rels/slide9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75.xml"/><Relationship Id="rId1" Type="http://schemas.openxmlformats.org/officeDocument/2006/relationships/slideLayout" Target="../slideLayouts/slideLayout138.xml"/><Relationship Id="rId6" Type="http://schemas.openxmlformats.org/officeDocument/2006/relationships/image" Target="../media/image47.emf"/><Relationship Id="rId5" Type="http://schemas.openxmlformats.org/officeDocument/2006/relationships/hyperlink" Target="http://www.rapidbbs.cn/" TargetMode="External"/><Relationship Id="rId4" Type="http://schemas.openxmlformats.org/officeDocument/2006/relationships/image" Target="../media/image224.png"/></Relationships>
</file>

<file path=ppt/slides/_rels/slide96.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hyperlink" Target="http://www.rapidbbs.cn/" TargetMode="External"/><Relationship Id="rId1" Type="http://schemas.openxmlformats.org/officeDocument/2006/relationships/slideLayout" Target="../slideLayouts/slideLayout134.xml"/></Relationships>
</file>

<file path=ppt/slides/_rels/slide97.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hyperlink" Target="http://www.rapidbbs.cn/" TargetMode="External"/><Relationship Id="rId1" Type="http://schemas.openxmlformats.org/officeDocument/2006/relationships/slideLayout" Target="../slideLayouts/slideLayout139.xml"/></Relationships>
</file>

<file path=ppt/slides/_rels/slide98.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hyperlink" Target="http://www.rapidbbs.cn/" TargetMode="External"/><Relationship Id="rId1" Type="http://schemas.openxmlformats.org/officeDocument/2006/relationships/slideLayout" Target="../slideLayouts/slideLayout134.xml"/></Relationships>
</file>

<file path=ppt/slides/_rels/slide99.xml.rels><?xml version="1.0" encoding="UTF-8" standalone="yes"?>
<Relationships xmlns="http://schemas.openxmlformats.org/package/2006/relationships"><Relationship Id="rId3" Type="http://schemas.openxmlformats.org/officeDocument/2006/relationships/image" Target="../media/image225.png"/><Relationship Id="rId7" Type="http://schemas.openxmlformats.org/officeDocument/2006/relationships/image" Target="../media/image47.emf"/><Relationship Id="rId2" Type="http://schemas.openxmlformats.org/officeDocument/2006/relationships/notesSlide" Target="../notesSlides/notesSlide76.xml"/><Relationship Id="rId1" Type="http://schemas.openxmlformats.org/officeDocument/2006/relationships/slideLayout" Target="../slideLayouts/slideLayout138.xml"/><Relationship Id="rId6" Type="http://schemas.openxmlformats.org/officeDocument/2006/relationships/hyperlink" Target="http://www.rapidbbs.cn/" TargetMode="External"/><Relationship Id="rId5" Type="http://schemas.openxmlformats.org/officeDocument/2006/relationships/image" Target="../media/image227.png"/><Relationship Id="rId4" Type="http://schemas.openxmlformats.org/officeDocument/2006/relationships/image" Target="../media/image2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Hybrid </a:t>
            </a:r>
            <a:r>
              <a:rPr lang="en-US" dirty="0"/>
              <a:t>Computing </a:t>
            </a:r>
            <a:r>
              <a:rPr lang="en-US" dirty="0" smtClean="0"/>
              <a:t>is </a:t>
            </a:r>
            <a:r>
              <a:rPr lang="en-US" dirty="0"/>
              <a:t>the New Net Norm</a:t>
            </a:r>
          </a:p>
        </p:txBody>
      </p:sp>
      <p:sp>
        <p:nvSpPr>
          <p:cNvPr id="3" name="Subtitle 2"/>
          <p:cNvSpPr>
            <a:spLocks noGrp="1"/>
          </p:cNvSpPr>
          <p:nvPr>
            <p:ph type="subTitle" idx="1"/>
          </p:nvPr>
        </p:nvSpPr>
        <p:spPr/>
        <p:txBody>
          <a:bodyPr/>
          <a:lstStyle/>
          <a:p>
            <a:r>
              <a:rPr lang="en-US" dirty="0" smtClean="0"/>
              <a:t>Heath Aubin</a:t>
            </a:r>
          </a:p>
          <a:p>
            <a:r>
              <a:rPr lang="en-US" dirty="0" smtClean="0"/>
              <a:t>Solution Architect</a:t>
            </a:r>
          </a:p>
          <a:p>
            <a:r>
              <a:rPr lang="en-US" dirty="0" smtClean="0"/>
              <a:t>Microsoft Corporation</a:t>
            </a:r>
            <a:endParaRPr lang="en-US" dirty="0"/>
          </a:p>
        </p:txBody>
      </p:sp>
      <p:sp useBgFill="1">
        <p:nvSpPr>
          <p:cNvPr id="4" name="MASK bottom"/>
          <p:cNvSpPr/>
          <p:nvPr/>
        </p:nvSpPr>
        <p:spPr bwMode="auto">
          <a:xfrm>
            <a:off x="2914651" y="4514850"/>
            <a:ext cx="6228160" cy="62865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5" name="Rectangle 4"/>
          <p:cNvSpPr/>
          <p:nvPr/>
        </p:nvSpPr>
        <p:spPr>
          <a:xfrm>
            <a:off x="521209" y="228602"/>
            <a:ext cx="684260" cy="219291"/>
          </a:xfrm>
          <a:prstGeom prst="rect">
            <a:avLst/>
          </a:prstGeom>
        </p:spPr>
        <p:txBody>
          <a:bodyPr wrap="none" lIns="0" tIns="0" rIns="0" bIns="0">
            <a:spAutoFit/>
          </a:bodyPr>
          <a:lstStyle/>
          <a:p>
            <a:r>
              <a:rPr lang="en-US" dirty="0"/>
              <a:t>AAP201 </a:t>
            </a:r>
          </a:p>
        </p:txBody>
      </p:sp>
      <p:sp>
        <p:nvSpPr>
          <p:cNvPr id="6"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7"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pic>
        <p:nvPicPr>
          <p:cNvPr id="30722"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ransition spd="slow">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cons Reversed</a:t>
            </a:r>
            <a:endParaRPr lang="en-US" dirty="0"/>
          </a:p>
        </p:txBody>
      </p:sp>
      <p:sp>
        <p:nvSpPr>
          <p:cNvPr id="187" name="Freeform 68"/>
          <p:cNvSpPr>
            <a:spLocks noEditPoints="1"/>
          </p:cNvSpPr>
          <p:nvPr/>
        </p:nvSpPr>
        <p:spPr bwMode="auto">
          <a:xfrm>
            <a:off x="600099" y="1014101"/>
            <a:ext cx="434651" cy="488481"/>
          </a:xfrm>
          <a:custGeom>
            <a:avLst/>
            <a:gdLst>
              <a:gd name="T0" fmla="*/ 26 w 368"/>
              <a:gd name="T1" fmla="*/ 0 h 414"/>
              <a:gd name="T2" fmla="*/ 19 w 368"/>
              <a:gd name="T3" fmla="*/ 30 h 414"/>
              <a:gd name="T4" fmla="*/ 19 w 368"/>
              <a:gd name="T5" fmla="*/ 65 h 414"/>
              <a:gd name="T6" fmla="*/ 0 w 368"/>
              <a:gd name="T7" fmla="*/ 102 h 414"/>
              <a:gd name="T8" fmla="*/ 19 w 368"/>
              <a:gd name="T9" fmla="*/ 138 h 414"/>
              <a:gd name="T10" fmla="*/ 19 w 368"/>
              <a:gd name="T11" fmla="*/ 173 h 414"/>
              <a:gd name="T12" fmla="*/ 0 w 368"/>
              <a:gd name="T13" fmla="*/ 210 h 414"/>
              <a:gd name="T14" fmla="*/ 19 w 368"/>
              <a:gd name="T15" fmla="*/ 247 h 414"/>
              <a:gd name="T16" fmla="*/ 19 w 368"/>
              <a:gd name="T17" fmla="*/ 281 h 414"/>
              <a:gd name="T18" fmla="*/ 0 w 368"/>
              <a:gd name="T19" fmla="*/ 318 h 414"/>
              <a:gd name="T20" fmla="*/ 19 w 368"/>
              <a:gd name="T21" fmla="*/ 355 h 414"/>
              <a:gd name="T22" fmla="*/ 19 w 368"/>
              <a:gd name="T23" fmla="*/ 390 h 414"/>
              <a:gd name="T24" fmla="*/ 26 w 368"/>
              <a:gd name="T25" fmla="*/ 414 h 414"/>
              <a:gd name="T26" fmla="*/ 368 w 368"/>
              <a:gd name="T27" fmla="*/ 340 h 414"/>
              <a:gd name="T28" fmla="*/ 294 w 368"/>
              <a:gd name="T29" fmla="*/ 0 h 414"/>
              <a:gd name="T30" fmla="*/ 19 w 368"/>
              <a:gd name="T31" fmla="*/ 45 h 414"/>
              <a:gd name="T32" fmla="*/ 15 w 368"/>
              <a:gd name="T33" fmla="*/ 47 h 414"/>
              <a:gd name="T34" fmla="*/ 19 w 368"/>
              <a:gd name="T35" fmla="*/ 99 h 414"/>
              <a:gd name="T36" fmla="*/ 15 w 368"/>
              <a:gd name="T37" fmla="*/ 102 h 414"/>
              <a:gd name="T38" fmla="*/ 19 w 368"/>
              <a:gd name="T39" fmla="*/ 154 h 414"/>
              <a:gd name="T40" fmla="*/ 15 w 368"/>
              <a:gd name="T41" fmla="*/ 156 h 414"/>
              <a:gd name="T42" fmla="*/ 19 w 368"/>
              <a:gd name="T43" fmla="*/ 208 h 414"/>
              <a:gd name="T44" fmla="*/ 15 w 368"/>
              <a:gd name="T45" fmla="*/ 210 h 414"/>
              <a:gd name="T46" fmla="*/ 19 w 368"/>
              <a:gd name="T47" fmla="*/ 262 h 414"/>
              <a:gd name="T48" fmla="*/ 15 w 368"/>
              <a:gd name="T49" fmla="*/ 264 h 414"/>
              <a:gd name="T50" fmla="*/ 19 w 368"/>
              <a:gd name="T51" fmla="*/ 316 h 414"/>
              <a:gd name="T52" fmla="*/ 15 w 368"/>
              <a:gd name="T53" fmla="*/ 318 h 414"/>
              <a:gd name="T54" fmla="*/ 19 w 368"/>
              <a:gd name="T55" fmla="*/ 370 h 414"/>
              <a:gd name="T56" fmla="*/ 15 w 368"/>
              <a:gd name="T57" fmla="*/ 373 h 414"/>
              <a:gd name="T58" fmla="*/ 294 w 368"/>
              <a:gd name="T59" fmla="*/ 400 h 414"/>
              <a:gd name="T60" fmla="*/ 34 w 368"/>
              <a:gd name="T61" fmla="*/ 370 h 414"/>
              <a:gd name="T62" fmla="*/ 38 w 368"/>
              <a:gd name="T63" fmla="*/ 378 h 414"/>
              <a:gd name="T64" fmla="*/ 50 w 368"/>
              <a:gd name="T65" fmla="*/ 364 h 414"/>
              <a:gd name="T66" fmla="*/ 34 w 368"/>
              <a:gd name="T67" fmla="*/ 316 h 414"/>
              <a:gd name="T68" fmla="*/ 38 w 368"/>
              <a:gd name="T69" fmla="*/ 324 h 414"/>
              <a:gd name="T70" fmla="*/ 50 w 368"/>
              <a:gd name="T71" fmla="*/ 310 h 414"/>
              <a:gd name="T72" fmla="*/ 34 w 368"/>
              <a:gd name="T73" fmla="*/ 262 h 414"/>
              <a:gd name="T74" fmla="*/ 38 w 368"/>
              <a:gd name="T75" fmla="*/ 269 h 414"/>
              <a:gd name="T76" fmla="*/ 50 w 368"/>
              <a:gd name="T77" fmla="*/ 256 h 414"/>
              <a:gd name="T78" fmla="*/ 34 w 368"/>
              <a:gd name="T79" fmla="*/ 208 h 414"/>
              <a:gd name="T80" fmla="*/ 38 w 368"/>
              <a:gd name="T81" fmla="*/ 215 h 414"/>
              <a:gd name="T82" fmla="*/ 50 w 368"/>
              <a:gd name="T83" fmla="*/ 202 h 414"/>
              <a:gd name="T84" fmla="*/ 34 w 368"/>
              <a:gd name="T85" fmla="*/ 154 h 414"/>
              <a:gd name="T86" fmla="*/ 38 w 368"/>
              <a:gd name="T87" fmla="*/ 161 h 414"/>
              <a:gd name="T88" fmla="*/ 50 w 368"/>
              <a:gd name="T89" fmla="*/ 148 h 414"/>
              <a:gd name="T90" fmla="*/ 34 w 368"/>
              <a:gd name="T91" fmla="*/ 100 h 414"/>
              <a:gd name="T92" fmla="*/ 38 w 368"/>
              <a:gd name="T93" fmla="*/ 107 h 414"/>
              <a:gd name="T94" fmla="*/ 50 w 368"/>
              <a:gd name="T95" fmla="*/ 94 h 414"/>
              <a:gd name="T96" fmla="*/ 34 w 368"/>
              <a:gd name="T97" fmla="*/ 45 h 414"/>
              <a:gd name="T98" fmla="*/ 38 w 368"/>
              <a:gd name="T99" fmla="*/ 53 h 414"/>
              <a:gd name="T100" fmla="*/ 50 w 368"/>
              <a:gd name="T101" fmla="*/ 39 h 414"/>
              <a:gd name="T102" fmla="*/ 34 w 368"/>
              <a:gd name="T103" fmla="*/ 15 h 414"/>
              <a:gd name="T104" fmla="*/ 353 w 368"/>
              <a:gd name="T105" fmla="*/ 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68" h="414">
                <a:moveTo>
                  <a:pt x="294" y="0"/>
                </a:moveTo>
                <a:cubicBezTo>
                  <a:pt x="26" y="0"/>
                  <a:pt x="26" y="0"/>
                  <a:pt x="26" y="0"/>
                </a:cubicBezTo>
                <a:cubicBezTo>
                  <a:pt x="22" y="0"/>
                  <a:pt x="19" y="3"/>
                  <a:pt x="19" y="7"/>
                </a:cubicBezTo>
                <a:cubicBezTo>
                  <a:pt x="19" y="30"/>
                  <a:pt x="19" y="30"/>
                  <a:pt x="19" y="30"/>
                </a:cubicBezTo>
                <a:cubicBezTo>
                  <a:pt x="8" y="32"/>
                  <a:pt x="0" y="39"/>
                  <a:pt x="0" y="47"/>
                </a:cubicBezTo>
                <a:cubicBezTo>
                  <a:pt x="0" y="56"/>
                  <a:pt x="8" y="63"/>
                  <a:pt x="19" y="65"/>
                </a:cubicBezTo>
                <a:cubicBezTo>
                  <a:pt x="19" y="84"/>
                  <a:pt x="19" y="84"/>
                  <a:pt x="19" y="84"/>
                </a:cubicBezTo>
                <a:cubicBezTo>
                  <a:pt x="8" y="86"/>
                  <a:pt x="0" y="93"/>
                  <a:pt x="0" y="102"/>
                </a:cubicBezTo>
                <a:cubicBezTo>
                  <a:pt x="0" y="110"/>
                  <a:pt x="8" y="117"/>
                  <a:pt x="19" y="119"/>
                </a:cubicBezTo>
                <a:cubicBezTo>
                  <a:pt x="19" y="138"/>
                  <a:pt x="19" y="138"/>
                  <a:pt x="19" y="138"/>
                </a:cubicBezTo>
                <a:cubicBezTo>
                  <a:pt x="8" y="141"/>
                  <a:pt x="0" y="147"/>
                  <a:pt x="0" y="156"/>
                </a:cubicBezTo>
                <a:cubicBezTo>
                  <a:pt x="0" y="164"/>
                  <a:pt x="8" y="171"/>
                  <a:pt x="19" y="173"/>
                </a:cubicBezTo>
                <a:cubicBezTo>
                  <a:pt x="19" y="193"/>
                  <a:pt x="19" y="193"/>
                  <a:pt x="19" y="193"/>
                </a:cubicBezTo>
                <a:cubicBezTo>
                  <a:pt x="8" y="195"/>
                  <a:pt x="0" y="201"/>
                  <a:pt x="0" y="210"/>
                </a:cubicBezTo>
                <a:cubicBezTo>
                  <a:pt x="0" y="218"/>
                  <a:pt x="8" y="225"/>
                  <a:pt x="19" y="227"/>
                </a:cubicBezTo>
                <a:cubicBezTo>
                  <a:pt x="19" y="247"/>
                  <a:pt x="19" y="247"/>
                  <a:pt x="19" y="247"/>
                </a:cubicBezTo>
                <a:cubicBezTo>
                  <a:pt x="8" y="249"/>
                  <a:pt x="0" y="256"/>
                  <a:pt x="0" y="264"/>
                </a:cubicBezTo>
                <a:cubicBezTo>
                  <a:pt x="0" y="273"/>
                  <a:pt x="8" y="279"/>
                  <a:pt x="19" y="281"/>
                </a:cubicBezTo>
                <a:cubicBezTo>
                  <a:pt x="19" y="301"/>
                  <a:pt x="19" y="301"/>
                  <a:pt x="19" y="301"/>
                </a:cubicBezTo>
                <a:cubicBezTo>
                  <a:pt x="8" y="303"/>
                  <a:pt x="0" y="310"/>
                  <a:pt x="0" y="318"/>
                </a:cubicBezTo>
                <a:cubicBezTo>
                  <a:pt x="0" y="327"/>
                  <a:pt x="8" y="334"/>
                  <a:pt x="19" y="336"/>
                </a:cubicBezTo>
                <a:cubicBezTo>
                  <a:pt x="19" y="355"/>
                  <a:pt x="19" y="355"/>
                  <a:pt x="19" y="355"/>
                </a:cubicBezTo>
                <a:cubicBezTo>
                  <a:pt x="8" y="357"/>
                  <a:pt x="0" y="364"/>
                  <a:pt x="0" y="373"/>
                </a:cubicBezTo>
                <a:cubicBezTo>
                  <a:pt x="0" y="381"/>
                  <a:pt x="8" y="388"/>
                  <a:pt x="19" y="390"/>
                </a:cubicBezTo>
                <a:cubicBezTo>
                  <a:pt x="19" y="407"/>
                  <a:pt x="19" y="407"/>
                  <a:pt x="19" y="407"/>
                </a:cubicBezTo>
                <a:cubicBezTo>
                  <a:pt x="19" y="411"/>
                  <a:pt x="22" y="414"/>
                  <a:pt x="26" y="414"/>
                </a:cubicBezTo>
                <a:cubicBezTo>
                  <a:pt x="294" y="414"/>
                  <a:pt x="294" y="414"/>
                  <a:pt x="294" y="414"/>
                </a:cubicBezTo>
                <a:cubicBezTo>
                  <a:pt x="335" y="414"/>
                  <a:pt x="368" y="381"/>
                  <a:pt x="368" y="340"/>
                </a:cubicBezTo>
                <a:cubicBezTo>
                  <a:pt x="368" y="74"/>
                  <a:pt x="368" y="74"/>
                  <a:pt x="368" y="74"/>
                </a:cubicBezTo>
                <a:cubicBezTo>
                  <a:pt x="368" y="33"/>
                  <a:pt x="335" y="0"/>
                  <a:pt x="294" y="0"/>
                </a:cubicBezTo>
                <a:close/>
                <a:moveTo>
                  <a:pt x="15" y="47"/>
                </a:moveTo>
                <a:cubicBezTo>
                  <a:pt x="15" y="47"/>
                  <a:pt x="17" y="46"/>
                  <a:pt x="19" y="45"/>
                </a:cubicBezTo>
                <a:cubicBezTo>
                  <a:pt x="19" y="50"/>
                  <a:pt x="19" y="50"/>
                  <a:pt x="19" y="50"/>
                </a:cubicBezTo>
                <a:cubicBezTo>
                  <a:pt x="17" y="49"/>
                  <a:pt x="15" y="48"/>
                  <a:pt x="15" y="47"/>
                </a:cubicBezTo>
                <a:close/>
                <a:moveTo>
                  <a:pt x="15" y="102"/>
                </a:moveTo>
                <a:cubicBezTo>
                  <a:pt x="15" y="101"/>
                  <a:pt x="17" y="100"/>
                  <a:pt x="19" y="99"/>
                </a:cubicBezTo>
                <a:cubicBezTo>
                  <a:pt x="19" y="104"/>
                  <a:pt x="19" y="104"/>
                  <a:pt x="19" y="104"/>
                </a:cubicBezTo>
                <a:cubicBezTo>
                  <a:pt x="17" y="103"/>
                  <a:pt x="15" y="102"/>
                  <a:pt x="15" y="102"/>
                </a:cubicBezTo>
                <a:close/>
                <a:moveTo>
                  <a:pt x="15" y="156"/>
                </a:moveTo>
                <a:cubicBezTo>
                  <a:pt x="15" y="155"/>
                  <a:pt x="17" y="154"/>
                  <a:pt x="19" y="154"/>
                </a:cubicBezTo>
                <a:cubicBezTo>
                  <a:pt x="19" y="158"/>
                  <a:pt x="19" y="158"/>
                  <a:pt x="19" y="158"/>
                </a:cubicBezTo>
                <a:cubicBezTo>
                  <a:pt x="17" y="157"/>
                  <a:pt x="15" y="156"/>
                  <a:pt x="15" y="156"/>
                </a:cubicBezTo>
                <a:close/>
                <a:moveTo>
                  <a:pt x="15" y="210"/>
                </a:moveTo>
                <a:cubicBezTo>
                  <a:pt x="15" y="209"/>
                  <a:pt x="17" y="209"/>
                  <a:pt x="19" y="208"/>
                </a:cubicBezTo>
                <a:cubicBezTo>
                  <a:pt x="19" y="212"/>
                  <a:pt x="19" y="212"/>
                  <a:pt x="19" y="212"/>
                </a:cubicBezTo>
                <a:cubicBezTo>
                  <a:pt x="17" y="211"/>
                  <a:pt x="15" y="211"/>
                  <a:pt x="15" y="210"/>
                </a:cubicBezTo>
                <a:close/>
                <a:moveTo>
                  <a:pt x="15" y="264"/>
                </a:moveTo>
                <a:cubicBezTo>
                  <a:pt x="15" y="264"/>
                  <a:pt x="17" y="263"/>
                  <a:pt x="19" y="262"/>
                </a:cubicBezTo>
                <a:cubicBezTo>
                  <a:pt x="19" y="266"/>
                  <a:pt x="19" y="266"/>
                  <a:pt x="19" y="266"/>
                </a:cubicBezTo>
                <a:cubicBezTo>
                  <a:pt x="17" y="266"/>
                  <a:pt x="15" y="265"/>
                  <a:pt x="15" y="264"/>
                </a:cubicBezTo>
                <a:close/>
                <a:moveTo>
                  <a:pt x="15" y="318"/>
                </a:moveTo>
                <a:cubicBezTo>
                  <a:pt x="15" y="318"/>
                  <a:pt x="17" y="317"/>
                  <a:pt x="19" y="316"/>
                </a:cubicBezTo>
                <a:cubicBezTo>
                  <a:pt x="19" y="321"/>
                  <a:pt x="19" y="321"/>
                  <a:pt x="19" y="321"/>
                </a:cubicBezTo>
                <a:cubicBezTo>
                  <a:pt x="17" y="320"/>
                  <a:pt x="15" y="319"/>
                  <a:pt x="15" y="318"/>
                </a:cubicBezTo>
                <a:close/>
                <a:moveTo>
                  <a:pt x="15" y="373"/>
                </a:moveTo>
                <a:cubicBezTo>
                  <a:pt x="15" y="372"/>
                  <a:pt x="17" y="371"/>
                  <a:pt x="19" y="370"/>
                </a:cubicBezTo>
                <a:cubicBezTo>
                  <a:pt x="19" y="375"/>
                  <a:pt x="19" y="375"/>
                  <a:pt x="19" y="375"/>
                </a:cubicBezTo>
                <a:cubicBezTo>
                  <a:pt x="17" y="374"/>
                  <a:pt x="15" y="373"/>
                  <a:pt x="15" y="373"/>
                </a:cubicBezTo>
                <a:close/>
                <a:moveTo>
                  <a:pt x="353" y="340"/>
                </a:moveTo>
                <a:cubicBezTo>
                  <a:pt x="353" y="373"/>
                  <a:pt x="326" y="400"/>
                  <a:pt x="294" y="400"/>
                </a:cubicBezTo>
                <a:cubicBezTo>
                  <a:pt x="34" y="400"/>
                  <a:pt x="34" y="400"/>
                  <a:pt x="34" y="400"/>
                </a:cubicBezTo>
                <a:cubicBezTo>
                  <a:pt x="34" y="370"/>
                  <a:pt x="34" y="370"/>
                  <a:pt x="34" y="370"/>
                </a:cubicBezTo>
                <a:cubicBezTo>
                  <a:pt x="36" y="371"/>
                  <a:pt x="37" y="372"/>
                  <a:pt x="38" y="373"/>
                </a:cubicBezTo>
                <a:cubicBezTo>
                  <a:pt x="38" y="374"/>
                  <a:pt x="39" y="375"/>
                  <a:pt x="38" y="378"/>
                </a:cubicBezTo>
                <a:cubicBezTo>
                  <a:pt x="52" y="382"/>
                  <a:pt x="52" y="382"/>
                  <a:pt x="52" y="382"/>
                </a:cubicBezTo>
                <a:cubicBezTo>
                  <a:pt x="55" y="374"/>
                  <a:pt x="52" y="368"/>
                  <a:pt x="50" y="364"/>
                </a:cubicBezTo>
                <a:cubicBezTo>
                  <a:pt x="46" y="360"/>
                  <a:pt x="41" y="357"/>
                  <a:pt x="34" y="355"/>
                </a:cubicBezTo>
                <a:cubicBezTo>
                  <a:pt x="34" y="316"/>
                  <a:pt x="34" y="316"/>
                  <a:pt x="34" y="316"/>
                </a:cubicBezTo>
                <a:cubicBezTo>
                  <a:pt x="36" y="317"/>
                  <a:pt x="37" y="318"/>
                  <a:pt x="38" y="319"/>
                </a:cubicBezTo>
                <a:cubicBezTo>
                  <a:pt x="38" y="319"/>
                  <a:pt x="39" y="321"/>
                  <a:pt x="38" y="324"/>
                </a:cubicBezTo>
                <a:cubicBezTo>
                  <a:pt x="52" y="328"/>
                  <a:pt x="52" y="328"/>
                  <a:pt x="52" y="328"/>
                </a:cubicBezTo>
                <a:cubicBezTo>
                  <a:pt x="55" y="320"/>
                  <a:pt x="52" y="314"/>
                  <a:pt x="50" y="310"/>
                </a:cubicBezTo>
                <a:cubicBezTo>
                  <a:pt x="46" y="306"/>
                  <a:pt x="41" y="302"/>
                  <a:pt x="34" y="301"/>
                </a:cubicBezTo>
                <a:cubicBezTo>
                  <a:pt x="34" y="262"/>
                  <a:pt x="34" y="262"/>
                  <a:pt x="34" y="262"/>
                </a:cubicBezTo>
                <a:cubicBezTo>
                  <a:pt x="36" y="263"/>
                  <a:pt x="37" y="264"/>
                  <a:pt x="38" y="265"/>
                </a:cubicBezTo>
                <a:cubicBezTo>
                  <a:pt x="38" y="265"/>
                  <a:pt x="39" y="266"/>
                  <a:pt x="38" y="269"/>
                </a:cubicBezTo>
                <a:cubicBezTo>
                  <a:pt x="52" y="274"/>
                  <a:pt x="52" y="274"/>
                  <a:pt x="52" y="274"/>
                </a:cubicBezTo>
                <a:cubicBezTo>
                  <a:pt x="55" y="265"/>
                  <a:pt x="52" y="260"/>
                  <a:pt x="50" y="256"/>
                </a:cubicBezTo>
                <a:cubicBezTo>
                  <a:pt x="46" y="251"/>
                  <a:pt x="41" y="248"/>
                  <a:pt x="34" y="247"/>
                </a:cubicBezTo>
                <a:cubicBezTo>
                  <a:pt x="34" y="208"/>
                  <a:pt x="34" y="208"/>
                  <a:pt x="34" y="208"/>
                </a:cubicBezTo>
                <a:cubicBezTo>
                  <a:pt x="36" y="209"/>
                  <a:pt x="37" y="210"/>
                  <a:pt x="38" y="211"/>
                </a:cubicBezTo>
                <a:cubicBezTo>
                  <a:pt x="38" y="211"/>
                  <a:pt x="39" y="212"/>
                  <a:pt x="38" y="215"/>
                </a:cubicBezTo>
                <a:cubicBezTo>
                  <a:pt x="52" y="220"/>
                  <a:pt x="52" y="220"/>
                  <a:pt x="52" y="220"/>
                </a:cubicBezTo>
                <a:cubicBezTo>
                  <a:pt x="55" y="211"/>
                  <a:pt x="52" y="205"/>
                  <a:pt x="50" y="202"/>
                </a:cubicBezTo>
                <a:cubicBezTo>
                  <a:pt x="46" y="197"/>
                  <a:pt x="41" y="194"/>
                  <a:pt x="34" y="193"/>
                </a:cubicBezTo>
                <a:cubicBezTo>
                  <a:pt x="34" y="154"/>
                  <a:pt x="34" y="154"/>
                  <a:pt x="34" y="154"/>
                </a:cubicBezTo>
                <a:cubicBezTo>
                  <a:pt x="36" y="154"/>
                  <a:pt x="37" y="155"/>
                  <a:pt x="38" y="157"/>
                </a:cubicBezTo>
                <a:cubicBezTo>
                  <a:pt x="38" y="157"/>
                  <a:pt x="39" y="158"/>
                  <a:pt x="38" y="161"/>
                </a:cubicBezTo>
                <a:cubicBezTo>
                  <a:pt x="52" y="165"/>
                  <a:pt x="52" y="165"/>
                  <a:pt x="52" y="165"/>
                </a:cubicBezTo>
                <a:cubicBezTo>
                  <a:pt x="55" y="157"/>
                  <a:pt x="52" y="151"/>
                  <a:pt x="50" y="148"/>
                </a:cubicBezTo>
                <a:cubicBezTo>
                  <a:pt x="46" y="143"/>
                  <a:pt x="41" y="140"/>
                  <a:pt x="34" y="138"/>
                </a:cubicBezTo>
                <a:cubicBezTo>
                  <a:pt x="34" y="100"/>
                  <a:pt x="34" y="100"/>
                  <a:pt x="34" y="100"/>
                </a:cubicBezTo>
                <a:cubicBezTo>
                  <a:pt x="36" y="100"/>
                  <a:pt x="37" y="101"/>
                  <a:pt x="38" y="102"/>
                </a:cubicBezTo>
                <a:cubicBezTo>
                  <a:pt x="38" y="103"/>
                  <a:pt x="39" y="104"/>
                  <a:pt x="38" y="107"/>
                </a:cubicBezTo>
                <a:cubicBezTo>
                  <a:pt x="52" y="111"/>
                  <a:pt x="52" y="111"/>
                  <a:pt x="52" y="111"/>
                </a:cubicBezTo>
                <a:cubicBezTo>
                  <a:pt x="55" y="103"/>
                  <a:pt x="52" y="97"/>
                  <a:pt x="50" y="94"/>
                </a:cubicBezTo>
                <a:cubicBezTo>
                  <a:pt x="46" y="89"/>
                  <a:pt x="41" y="86"/>
                  <a:pt x="34" y="84"/>
                </a:cubicBezTo>
                <a:cubicBezTo>
                  <a:pt x="34" y="45"/>
                  <a:pt x="34" y="45"/>
                  <a:pt x="34" y="45"/>
                </a:cubicBezTo>
                <a:cubicBezTo>
                  <a:pt x="36" y="46"/>
                  <a:pt x="37" y="47"/>
                  <a:pt x="38" y="48"/>
                </a:cubicBezTo>
                <a:cubicBezTo>
                  <a:pt x="38" y="49"/>
                  <a:pt x="39" y="50"/>
                  <a:pt x="38" y="53"/>
                </a:cubicBezTo>
                <a:cubicBezTo>
                  <a:pt x="52" y="57"/>
                  <a:pt x="52" y="57"/>
                  <a:pt x="52" y="57"/>
                </a:cubicBezTo>
                <a:cubicBezTo>
                  <a:pt x="55" y="49"/>
                  <a:pt x="52" y="43"/>
                  <a:pt x="50" y="39"/>
                </a:cubicBezTo>
                <a:cubicBezTo>
                  <a:pt x="46" y="35"/>
                  <a:pt x="41" y="31"/>
                  <a:pt x="34" y="30"/>
                </a:cubicBezTo>
                <a:cubicBezTo>
                  <a:pt x="34" y="15"/>
                  <a:pt x="34" y="15"/>
                  <a:pt x="34" y="15"/>
                </a:cubicBezTo>
                <a:cubicBezTo>
                  <a:pt x="294" y="15"/>
                  <a:pt x="294" y="15"/>
                  <a:pt x="294" y="15"/>
                </a:cubicBezTo>
                <a:cubicBezTo>
                  <a:pt x="326" y="15"/>
                  <a:pt x="353" y="41"/>
                  <a:pt x="353" y="74"/>
                </a:cubicBezTo>
                <a:lnTo>
                  <a:pt x="353" y="340"/>
                </a:lnTo>
                <a:close/>
              </a:path>
            </a:pathLst>
          </a:custGeom>
          <a:solidFill>
            <a:srgbClr val="FFFFFF"/>
          </a:solidFill>
          <a:ln>
            <a:noFill/>
          </a:ln>
        </p:spPr>
        <p:txBody>
          <a:bodyPr vert="horz" wrap="square" lIns="68571" tIns="34286" rIns="68571" bIns="34286" numCol="1" anchor="t" anchorCtr="0" compatLnSpc="1">
            <a:prstTxWarp prst="textNoShape">
              <a:avLst/>
            </a:prstTxWarp>
          </a:bodyPr>
          <a:lstStyle/>
          <a:p>
            <a:endParaRPr lang="en-US"/>
          </a:p>
        </p:txBody>
      </p:sp>
      <p:sp>
        <p:nvSpPr>
          <p:cNvPr id="188" name="Freeform 69"/>
          <p:cNvSpPr>
            <a:spLocks noEditPoints="1"/>
          </p:cNvSpPr>
          <p:nvPr/>
        </p:nvSpPr>
        <p:spPr bwMode="auto">
          <a:xfrm>
            <a:off x="1554951" y="1014101"/>
            <a:ext cx="331734" cy="488481"/>
          </a:xfrm>
          <a:custGeom>
            <a:avLst/>
            <a:gdLst>
              <a:gd name="T0" fmla="*/ 207 w 281"/>
              <a:gd name="T1" fmla="*/ 0 h 414"/>
              <a:gd name="T2" fmla="*/ 74 w 281"/>
              <a:gd name="T3" fmla="*/ 0 h 414"/>
              <a:gd name="T4" fmla="*/ 0 w 281"/>
              <a:gd name="T5" fmla="*/ 75 h 414"/>
              <a:gd name="T6" fmla="*/ 0 w 281"/>
              <a:gd name="T7" fmla="*/ 340 h 414"/>
              <a:gd name="T8" fmla="*/ 74 w 281"/>
              <a:gd name="T9" fmla="*/ 414 h 414"/>
              <a:gd name="T10" fmla="*/ 207 w 281"/>
              <a:gd name="T11" fmla="*/ 414 h 414"/>
              <a:gd name="T12" fmla="*/ 281 w 281"/>
              <a:gd name="T13" fmla="*/ 340 h 414"/>
              <a:gd name="T14" fmla="*/ 281 w 281"/>
              <a:gd name="T15" fmla="*/ 75 h 414"/>
              <a:gd name="T16" fmla="*/ 207 w 281"/>
              <a:gd name="T17" fmla="*/ 0 h 414"/>
              <a:gd name="T18" fmla="*/ 141 w 281"/>
              <a:gd name="T19" fmla="*/ 151 h 414"/>
              <a:gd name="T20" fmla="*/ 126 w 281"/>
              <a:gd name="T21" fmla="*/ 137 h 414"/>
              <a:gd name="T22" fmla="*/ 126 w 281"/>
              <a:gd name="T23" fmla="*/ 92 h 414"/>
              <a:gd name="T24" fmla="*/ 141 w 281"/>
              <a:gd name="T25" fmla="*/ 78 h 414"/>
              <a:gd name="T26" fmla="*/ 155 w 281"/>
              <a:gd name="T27" fmla="*/ 92 h 414"/>
              <a:gd name="T28" fmla="*/ 155 w 281"/>
              <a:gd name="T29" fmla="*/ 137 h 414"/>
              <a:gd name="T30" fmla="*/ 141 w 281"/>
              <a:gd name="T31" fmla="*/ 151 h 414"/>
              <a:gd name="T32" fmla="*/ 266 w 281"/>
              <a:gd name="T33" fmla="*/ 340 h 414"/>
              <a:gd name="T34" fmla="*/ 207 w 281"/>
              <a:gd name="T35" fmla="*/ 399 h 414"/>
              <a:gd name="T36" fmla="*/ 74 w 281"/>
              <a:gd name="T37" fmla="*/ 399 h 414"/>
              <a:gd name="T38" fmla="*/ 15 w 281"/>
              <a:gd name="T39" fmla="*/ 340 h 414"/>
              <a:gd name="T40" fmla="*/ 15 w 281"/>
              <a:gd name="T41" fmla="*/ 75 h 414"/>
              <a:gd name="T42" fmla="*/ 74 w 281"/>
              <a:gd name="T43" fmla="*/ 15 h 414"/>
              <a:gd name="T44" fmla="*/ 133 w 281"/>
              <a:gd name="T45" fmla="*/ 15 h 414"/>
              <a:gd name="T46" fmla="*/ 133 w 281"/>
              <a:gd name="T47" fmla="*/ 64 h 414"/>
              <a:gd name="T48" fmla="*/ 111 w 281"/>
              <a:gd name="T49" fmla="*/ 92 h 414"/>
              <a:gd name="T50" fmla="*/ 111 w 281"/>
              <a:gd name="T51" fmla="*/ 137 h 414"/>
              <a:gd name="T52" fmla="*/ 133 w 281"/>
              <a:gd name="T53" fmla="*/ 165 h 414"/>
              <a:gd name="T54" fmla="*/ 133 w 281"/>
              <a:gd name="T55" fmla="*/ 208 h 414"/>
              <a:gd name="T56" fmla="*/ 148 w 281"/>
              <a:gd name="T57" fmla="*/ 208 h 414"/>
              <a:gd name="T58" fmla="*/ 148 w 281"/>
              <a:gd name="T59" fmla="*/ 165 h 414"/>
              <a:gd name="T60" fmla="*/ 170 w 281"/>
              <a:gd name="T61" fmla="*/ 137 h 414"/>
              <a:gd name="T62" fmla="*/ 170 w 281"/>
              <a:gd name="T63" fmla="*/ 92 h 414"/>
              <a:gd name="T64" fmla="*/ 148 w 281"/>
              <a:gd name="T65" fmla="*/ 64 h 414"/>
              <a:gd name="T66" fmla="*/ 148 w 281"/>
              <a:gd name="T67" fmla="*/ 15 h 414"/>
              <a:gd name="T68" fmla="*/ 207 w 281"/>
              <a:gd name="T69" fmla="*/ 15 h 414"/>
              <a:gd name="T70" fmla="*/ 266 w 281"/>
              <a:gd name="T71" fmla="*/ 75 h 414"/>
              <a:gd name="T72" fmla="*/ 266 w 281"/>
              <a:gd name="T73" fmla="*/ 340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1" h="414">
                <a:moveTo>
                  <a:pt x="207" y="0"/>
                </a:moveTo>
                <a:cubicBezTo>
                  <a:pt x="74" y="0"/>
                  <a:pt x="74" y="0"/>
                  <a:pt x="74" y="0"/>
                </a:cubicBezTo>
                <a:cubicBezTo>
                  <a:pt x="34" y="0"/>
                  <a:pt x="0" y="34"/>
                  <a:pt x="0" y="75"/>
                </a:cubicBezTo>
                <a:cubicBezTo>
                  <a:pt x="0" y="340"/>
                  <a:pt x="0" y="340"/>
                  <a:pt x="0" y="340"/>
                </a:cubicBezTo>
                <a:cubicBezTo>
                  <a:pt x="0" y="381"/>
                  <a:pt x="34" y="414"/>
                  <a:pt x="74" y="414"/>
                </a:cubicBezTo>
                <a:cubicBezTo>
                  <a:pt x="207" y="414"/>
                  <a:pt x="207" y="414"/>
                  <a:pt x="207" y="414"/>
                </a:cubicBezTo>
                <a:cubicBezTo>
                  <a:pt x="248" y="414"/>
                  <a:pt x="281" y="381"/>
                  <a:pt x="281" y="340"/>
                </a:cubicBezTo>
                <a:cubicBezTo>
                  <a:pt x="281" y="75"/>
                  <a:pt x="281" y="75"/>
                  <a:pt x="281" y="75"/>
                </a:cubicBezTo>
                <a:cubicBezTo>
                  <a:pt x="281" y="34"/>
                  <a:pt x="248" y="0"/>
                  <a:pt x="207" y="0"/>
                </a:cubicBezTo>
                <a:close/>
                <a:moveTo>
                  <a:pt x="141" y="151"/>
                </a:moveTo>
                <a:cubicBezTo>
                  <a:pt x="133" y="151"/>
                  <a:pt x="126" y="145"/>
                  <a:pt x="126" y="137"/>
                </a:cubicBezTo>
                <a:cubicBezTo>
                  <a:pt x="126" y="92"/>
                  <a:pt x="126" y="92"/>
                  <a:pt x="126" y="92"/>
                </a:cubicBezTo>
                <a:cubicBezTo>
                  <a:pt x="126" y="84"/>
                  <a:pt x="133" y="78"/>
                  <a:pt x="141" y="78"/>
                </a:cubicBezTo>
                <a:cubicBezTo>
                  <a:pt x="149" y="78"/>
                  <a:pt x="155" y="84"/>
                  <a:pt x="155" y="92"/>
                </a:cubicBezTo>
                <a:cubicBezTo>
                  <a:pt x="155" y="137"/>
                  <a:pt x="155" y="137"/>
                  <a:pt x="155" y="137"/>
                </a:cubicBezTo>
                <a:cubicBezTo>
                  <a:pt x="155" y="145"/>
                  <a:pt x="149" y="151"/>
                  <a:pt x="141" y="151"/>
                </a:cubicBezTo>
                <a:close/>
                <a:moveTo>
                  <a:pt x="266" y="340"/>
                </a:moveTo>
                <a:cubicBezTo>
                  <a:pt x="266" y="373"/>
                  <a:pt x="239" y="399"/>
                  <a:pt x="207" y="399"/>
                </a:cubicBezTo>
                <a:cubicBezTo>
                  <a:pt x="74" y="399"/>
                  <a:pt x="74" y="399"/>
                  <a:pt x="74" y="399"/>
                </a:cubicBezTo>
                <a:cubicBezTo>
                  <a:pt x="42" y="399"/>
                  <a:pt x="15" y="373"/>
                  <a:pt x="15" y="340"/>
                </a:cubicBezTo>
                <a:cubicBezTo>
                  <a:pt x="15" y="75"/>
                  <a:pt x="15" y="75"/>
                  <a:pt x="15" y="75"/>
                </a:cubicBezTo>
                <a:cubicBezTo>
                  <a:pt x="15" y="42"/>
                  <a:pt x="42" y="15"/>
                  <a:pt x="74" y="15"/>
                </a:cubicBezTo>
                <a:cubicBezTo>
                  <a:pt x="133" y="15"/>
                  <a:pt x="133" y="15"/>
                  <a:pt x="133" y="15"/>
                </a:cubicBezTo>
                <a:cubicBezTo>
                  <a:pt x="133" y="64"/>
                  <a:pt x="133" y="64"/>
                  <a:pt x="133" y="64"/>
                </a:cubicBezTo>
                <a:cubicBezTo>
                  <a:pt x="121" y="68"/>
                  <a:pt x="111" y="79"/>
                  <a:pt x="111" y="92"/>
                </a:cubicBezTo>
                <a:cubicBezTo>
                  <a:pt x="111" y="137"/>
                  <a:pt x="111" y="137"/>
                  <a:pt x="111" y="137"/>
                </a:cubicBezTo>
                <a:cubicBezTo>
                  <a:pt x="111" y="150"/>
                  <a:pt x="121" y="162"/>
                  <a:pt x="133" y="165"/>
                </a:cubicBezTo>
                <a:cubicBezTo>
                  <a:pt x="133" y="208"/>
                  <a:pt x="133" y="208"/>
                  <a:pt x="133" y="208"/>
                </a:cubicBezTo>
                <a:cubicBezTo>
                  <a:pt x="148" y="208"/>
                  <a:pt x="148" y="208"/>
                  <a:pt x="148" y="208"/>
                </a:cubicBezTo>
                <a:cubicBezTo>
                  <a:pt x="148" y="165"/>
                  <a:pt x="148" y="165"/>
                  <a:pt x="148" y="165"/>
                </a:cubicBezTo>
                <a:cubicBezTo>
                  <a:pt x="160" y="162"/>
                  <a:pt x="170" y="150"/>
                  <a:pt x="170" y="137"/>
                </a:cubicBezTo>
                <a:cubicBezTo>
                  <a:pt x="170" y="92"/>
                  <a:pt x="170" y="92"/>
                  <a:pt x="170" y="92"/>
                </a:cubicBezTo>
                <a:cubicBezTo>
                  <a:pt x="170" y="79"/>
                  <a:pt x="160" y="68"/>
                  <a:pt x="148" y="64"/>
                </a:cubicBezTo>
                <a:cubicBezTo>
                  <a:pt x="148" y="15"/>
                  <a:pt x="148" y="15"/>
                  <a:pt x="148" y="15"/>
                </a:cubicBezTo>
                <a:cubicBezTo>
                  <a:pt x="207" y="15"/>
                  <a:pt x="207" y="15"/>
                  <a:pt x="207" y="15"/>
                </a:cubicBezTo>
                <a:cubicBezTo>
                  <a:pt x="239" y="15"/>
                  <a:pt x="266" y="42"/>
                  <a:pt x="266" y="75"/>
                </a:cubicBezTo>
                <a:lnTo>
                  <a:pt x="266" y="340"/>
                </a:lnTo>
                <a:close/>
              </a:path>
            </a:pathLst>
          </a:custGeom>
          <a:solidFill>
            <a:srgbClr val="FFFFFF"/>
          </a:solidFill>
          <a:ln>
            <a:noFill/>
          </a:ln>
        </p:spPr>
        <p:txBody>
          <a:bodyPr vert="horz" wrap="square" lIns="68571" tIns="34286" rIns="68571" bIns="34286" numCol="1" anchor="t" anchorCtr="0" compatLnSpc="1">
            <a:prstTxWarp prst="textNoShape">
              <a:avLst/>
            </a:prstTxWarp>
          </a:bodyPr>
          <a:lstStyle/>
          <a:p>
            <a:endParaRPr lang="en-US"/>
          </a:p>
        </p:txBody>
      </p:sp>
      <p:sp>
        <p:nvSpPr>
          <p:cNvPr id="189" name="Freeform 70"/>
          <p:cNvSpPr>
            <a:spLocks noEditPoints="1"/>
          </p:cNvSpPr>
          <p:nvPr/>
        </p:nvSpPr>
        <p:spPr bwMode="auto">
          <a:xfrm>
            <a:off x="3323521" y="1014101"/>
            <a:ext cx="408173" cy="488481"/>
          </a:xfrm>
          <a:custGeom>
            <a:avLst/>
            <a:gdLst>
              <a:gd name="T0" fmla="*/ 346 w 346"/>
              <a:gd name="T1" fmla="*/ 77 h 414"/>
              <a:gd name="T2" fmla="*/ 345 w 346"/>
              <a:gd name="T3" fmla="*/ 75 h 414"/>
              <a:gd name="T4" fmla="*/ 345 w 346"/>
              <a:gd name="T5" fmla="*/ 74 h 414"/>
              <a:gd name="T6" fmla="*/ 343 w 346"/>
              <a:gd name="T7" fmla="*/ 72 h 414"/>
              <a:gd name="T8" fmla="*/ 273 w 346"/>
              <a:gd name="T9" fmla="*/ 2 h 414"/>
              <a:gd name="T10" fmla="*/ 271 w 346"/>
              <a:gd name="T11" fmla="*/ 0 h 414"/>
              <a:gd name="T12" fmla="*/ 270 w 346"/>
              <a:gd name="T13" fmla="*/ 0 h 414"/>
              <a:gd name="T14" fmla="*/ 268 w 346"/>
              <a:gd name="T15" fmla="*/ 0 h 414"/>
              <a:gd name="T16" fmla="*/ 268 w 346"/>
              <a:gd name="T17" fmla="*/ 0 h 414"/>
              <a:gd name="T18" fmla="*/ 7 w 346"/>
              <a:gd name="T19" fmla="*/ 0 h 414"/>
              <a:gd name="T20" fmla="*/ 0 w 346"/>
              <a:gd name="T21" fmla="*/ 7 h 414"/>
              <a:gd name="T22" fmla="*/ 0 w 346"/>
              <a:gd name="T23" fmla="*/ 407 h 414"/>
              <a:gd name="T24" fmla="*/ 7 w 346"/>
              <a:gd name="T25" fmla="*/ 414 h 414"/>
              <a:gd name="T26" fmla="*/ 338 w 346"/>
              <a:gd name="T27" fmla="*/ 414 h 414"/>
              <a:gd name="T28" fmla="*/ 346 w 346"/>
              <a:gd name="T29" fmla="*/ 407 h 414"/>
              <a:gd name="T30" fmla="*/ 346 w 346"/>
              <a:gd name="T31" fmla="*/ 77 h 414"/>
              <a:gd name="T32" fmla="*/ 346 w 346"/>
              <a:gd name="T33" fmla="*/ 77 h 414"/>
              <a:gd name="T34" fmla="*/ 275 w 346"/>
              <a:gd name="T35" fmla="*/ 25 h 414"/>
              <a:gd name="T36" fmla="*/ 320 w 346"/>
              <a:gd name="T37" fmla="*/ 70 h 414"/>
              <a:gd name="T38" fmla="*/ 275 w 346"/>
              <a:gd name="T39" fmla="*/ 70 h 414"/>
              <a:gd name="T40" fmla="*/ 275 w 346"/>
              <a:gd name="T41" fmla="*/ 25 h 414"/>
              <a:gd name="T42" fmla="*/ 14 w 346"/>
              <a:gd name="T43" fmla="*/ 400 h 414"/>
              <a:gd name="T44" fmla="*/ 14 w 346"/>
              <a:gd name="T45" fmla="*/ 14 h 414"/>
              <a:gd name="T46" fmla="*/ 260 w 346"/>
              <a:gd name="T47" fmla="*/ 14 h 414"/>
              <a:gd name="T48" fmla="*/ 260 w 346"/>
              <a:gd name="T49" fmla="*/ 77 h 414"/>
              <a:gd name="T50" fmla="*/ 268 w 346"/>
              <a:gd name="T51" fmla="*/ 85 h 414"/>
              <a:gd name="T52" fmla="*/ 331 w 346"/>
              <a:gd name="T53" fmla="*/ 85 h 414"/>
              <a:gd name="T54" fmla="*/ 331 w 346"/>
              <a:gd name="T55" fmla="*/ 400 h 414"/>
              <a:gd name="T56" fmla="*/ 14 w 346"/>
              <a:gd name="T57" fmla="*/ 400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6" h="414">
                <a:moveTo>
                  <a:pt x="346" y="77"/>
                </a:moveTo>
                <a:cubicBezTo>
                  <a:pt x="345" y="76"/>
                  <a:pt x="345" y="76"/>
                  <a:pt x="345" y="75"/>
                </a:cubicBezTo>
                <a:cubicBezTo>
                  <a:pt x="345" y="75"/>
                  <a:pt x="345" y="75"/>
                  <a:pt x="345" y="74"/>
                </a:cubicBezTo>
                <a:cubicBezTo>
                  <a:pt x="345" y="74"/>
                  <a:pt x="344" y="73"/>
                  <a:pt x="343" y="72"/>
                </a:cubicBezTo>
                <a:cubicBezTo>
                  <a:pt x="273" y="2"/>
                  <a:pt x="273" y="2"/>
                  <a:pt x="273" y="2"/>
                </a:cubicBezTo>
                <a:cubicBezTo>
                  <a:pt x="272" y="1"/>
                  <a:pt x="272" y="1"/>
                  <a:pt x="271" y="0"/>
                </a:cubicBezTo>
                <a:cubicBezTo>
                  <a:pt x="271" y="0"/>
                  <a:pt x="270" y="0"/>
                  <a:pt x="270" y="0"/>
                </a:cubicBezTo>
                <a:cubicBezTo>
                  <a:pt x="270" y="0"/>
                  <a:pt x="269" y="0"/>
                  <a:pt x="268" y="0"/>
                </a:cubicBezTo>
                <a:cubicBezTo>
                  <a:pt x="268" y="0"/>
                  <a:pt x="268" y="0"/>
                  <a:pt x="268" y="0"/>
                </a:cubicBezTo>
                <a:cubicBezTo>
                  <a:pt x="7" y="0"/>
                  <a:pt x="7" y="0"/>
                  <a:pt x="7" y="0"/>
                </a:cubicBezTo>
                <a:cubicBezTo>
                  <a:pt x="3" y="0"/>
                  <a:pt x="0" y="3"/>
                  <a:pt x="0" y="7"/>
                </a:cubicBezTo>
                <a:cubicBezTo>
                  <a:pt x="0" y="407"/>
                  <a:pt x="0" y="407"/>
                  <a:pt x="0" y="407"/>
                </a:cubicBezTo>
                <a:cubicBezTo>
                  <a:pt x="0" y="411"/>
                  <a:pt x="3" y="414"/>
                  <a:pt x="7" y="414"/>
                </a:cubicBezTo>
                <a:cubicBezTo>
                  <a:pt x="338" y="414"/>
                  <a:pt x="338" y="414"/>
                  <a:pt x="338" y="414"/>
                </a:cubicBezTo>
                <a:cubicBezTo>
                  <a:pt x="342" y="414"/>
                  <a:pt x="346" y="411"/>
                  <a:pt x="346" y="407"/>
                </a:cubicBezTo>
                <a:cubicBezTo>
                  <a:pt x="346" y="77"/>
                  <a:pt x="346" y="77"/>
                  <a:pt x="346" y="77"/>
                </a:cubicBezTo>
                <a:cubicBezTo>
                  <a:pt x="346" y="77"/>
                  <a:pt x="346" y="77"/>
                  <a:pt x="346" y="77"/>
                </a:cubicBezTo>
                <a:close/>
                <a:moveTo>
                  <a:pt x="275" y="25"/>
                </a:moveTo>
                <a:cubicBezTo>
                  <a:pt x="320" y="70"/>
                  <a:pt x="320" y="70"/>
                  <a:pt x="320" y="70"/>
                </a:cubicBezTo>
                <a:cubicBezTo>
                  <a:pt x="275" y="70"/>
                  <a:pt x="275" y="70"/>
                  <a:pt x="275" y="70"/>
                </a:cubicBezTo>
                <a:lnTo>
                  <a:pt x="275" y="25"/>
                </a:lnTo>
                <a:close/>
                <a:moveTo>
                  <a:pt x="14" y="400"/>
                </a:moveTo>
                <a:cubicBezTo>
                  <a:pt x="14" y="14"/>
                  <a:pt x="14" y="14"/>
                  <a:pt x="14" y="14"/>
                </a:cubicBezTo>
                <a:cubicBezTo>
                  <a:pt x="260" y="14"/>
                  <a:pt x="260" y="14"/>
                  <a:pt x="260" y="14"/>
                </a:cubicBezTo>
                <a:cubicBezTo>
                  <a:pt x="260" y="77"/>
                  <a:pt x="260" y="77"/>
                  <a:pt x="260" y="77"/>
                </a:cubicBezTo>
                <a:cubicBezTo>
                  <a:pt x="260" y="81"/>
                  <a:pt x="264" y="85"/>
                  <a:pt x="268" y="85"/>
                </a:cubicBezTo>
                <a:cubicBezTo>
                  <a:pt x="331" y="85"/>
                  <a:pt x="331" y="85"/>
                  <a:pt x="331" y="85"/>
                </a:cubicBezTo>
                <a:cubicBezTo>
                  <a:pt x="331" y="400"/>
                  <a:pt x="331" y="400"/>
                  <a:pt x="331" y="400"/>
                </a:cubicBezTo>
                <a:lnTo>
                  <a:pt x="14" y="400"/>
                </a:lnTo>
                <a:close/>
              </a:path>
            </a:pathLst>
          </a:custGeom>
          <a:solidFill>
            <a:srgbClr val="FFFFFF"/>
          </a:solidFill>
          <a:ln>
            <a:noFill/>
          </a:ln>
        </p:spPr>
        <p:txBody>
          <a:bodyPr vert="horz" wrap="square" lIns="68571" tIns="34286" rIns="68571" bIns="34286" numCol="1" anchor="t" anchorCtr="0" compatLnSpc="1">
            <a:prstTxWarp prst="textNoShape">
              <a:avLst/>
            </a:prstTxWarp>
          </a:bodyPr>
          <a:lstStyle/>
          <a:p>
            <a:endParaRPr lang="en-US"/>
          </a:p>
        </p:txBody>
      </p:sp>
      <p:sp>
        <p:nvSpPr>
          <p:cNvPr id="190" name="Freeform 72"/>
          <p:cNvSpPr>
            <a:spLocks noEditPoints="1"/>
          </p:cNvSpPr>
          <p:nvPr/>
        </p:nvSpPr>
        <p:spPr bwMode="auto">
          <a:xfrm>
            <a:off x="4188439" y="1015348"/>
            <a:ext cx="485110" cy="485984"/>
          </a:xfrm>
          <a:custGeom>
            <a:avLst/>
            <a:gdLst>
              <a:gd name="T0" fmla="*/ 337 w 411"/>
              <a:gd name="T1" fmla="*/ 198 h 412"/>
              <a:gd name="T2" fmla="*/ 284 w 411"/>
              <a:gd name="T3" fmla="*/ 220 h 412"/>
              <a:gd name="T4" fmla="*/ 249 w 411"/>
              <a:gd name="T5" fmla="*/ 185 h 412"/>
              <a:gd name="T6" fmla="*/ 283 w 411"/>
              <a:gd name="T7" fmla="*/ 107 h 412"/>
              <a:gd name="T8" fmla="*/ 176 w 411"/>
              <a:gd name="T9" fmla="*/ 0 h 412"/>
              <a:gd name="T10" fmla="*/ 68 w 411"/>
              <a:gd name="T11" fmla="*/ 107 h 412"/>
              <a:gd name="T12" fmla="*/ 116 w 411"/>
              <a:gd name="T13" fmla="*/ 196 h 412"/>
              <a:gd name="T14" fmla="*/ 96 w 411"/>
              <a:gd name="T15" fmla="*/ 266 h 412"/>
              <a:gd name="T16" fmla="*/ 74 w 411"/>
              <a:gd name="T17" fmla="*/ 263 h 412"/>
              <a:gd name="T18" fmla="*/ 0 w 411"/>
              <a:gd name="T19" fmla="*/ 337 h 412"/>
              <a:gd name="T20" fmla="*/ 74 w 411"/>
              <a:gd name="T21" fmla="*/ 412 h 412"/>
              <a:gd name="T22" fmla="*/ 149 w 411"/>
              <a:gd name="T23" fmla="*/ 337 h 412"/>
              <a:gd name="T24" fmla="*/ 110 w 411"/>
              <a:gd name="T25" fmla="*/ 272 h 412"/>
              <a:gd name="T26" fmla="*/ 130 w 411"/>
              <a:gd name="T27" fmla="*/ 204 h 412"/>
              <a:gd name="T28" fmla="*/ 176 w 411"/>
              <a:gd name="T29" fmla="*/ 214 h 412"/>
              <a:gd name="T30" fmla="*/ 238 w 411"/>
              <a:gd name="T31" fmla="*/ 195 h 412"/>
              <a:gd name="T32" fmla="*/ 275 w 411"/>
              <a:gd name="T33" fmla="*/ 232 h 412"/>
              <a:gd name="T34" fmla="*/ 262 w 411"/>
              <a:gd name="T35" fmla="*/ 273 h 412"/>
              <a:gd name="T36" fmla="*/ 337 w 411"/>
              <a:gd name="T37" fmla="*/ 347 h 412"/>
              <a:gd name="T38" fmla="*/ 411 w 411"/>
              <a:gd name="T39" fmla="*/ 273 h 412"/>
              <a:gd name="T40" fmla="*/ 337 w 411"/>
              <a:gd name="T41" fmla="*/ 198 h 412"/>
              <a:gd name="T42" fmla="*/ 134 w 411"/>
              <a:gd name="T43" fmla="*/ 337 h 412"/>
              <a:gd name="T44" fmla="*/ 74 w 411"/>
              <a:gd name="T45" fmla="*/ 397 h 412"/>
              <a:gd name="T46" fmla="*/ 14 w 411"/>
              <a:gd name="T47" fmla="*/ 337 h 412"/>
              <a:gd name="T48" fmla="*/ 74 w 411"/>
              <a:gd name="T49" fmla="*/ 278 h 412"/>
              <a:gd name="T50" fmla="*/ 134 w 411"/>
              <a:gd name="T51" fmla="*/ 337 h 412"/>
              <a:gd name="T52" fmla="*/ 83 w 411"/>
              <a:gd name="T53" fmla="*/ 107 h 412"/>
              <a:gd name="T54" fmla="*/ 176 w 411"/>
              <a:gd name="T55" fmla="*/ 14 h 412"/>
              <a:gd name="T56" fmla="*/ 268 w 411"/>
              <a:gd name="T57" fmla="*/ 107 h 412"/>
              <a:gd name="T58" fmla="*/ 176 w 411"/>
              <a:gd name="T59" fmla="*/ 200 h 412"/>
              <a:gd name="T60" fmla="*/ 83 w 411"/>
              <a:gd name="T61" fmla="*/ 107 h 412"/>
              <a:gd name="T62" fmla="*/ 337 w 411"/>
              <a:gd name="T63" fmla="*/ 332 h 412"/>
              <a:gd name="T64" fmla="*/ 277 w 411"/>
              <a:gd name="T65" fmla="*/ 273 h 412"/>
              <a:gd name="T66" fmla="*/ 337 w 411"/>
              <a:gd name="T67" fmla="*/ 213 h 412"/>
              <a:gd name="T68" fmla="*/ 397 w 411"/>
              <a:gd name="T69" fmla="*/ 273 h 412"/>
              <a:gd name="T70" fmla="*/ 337 w 411"/>
              <a:gd name="T71" fmla="*/ 33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1" h="412">
                <a:moveTo>
                  <a:pt x="337" y="198"/>
                </a:moveTo>
                <a:cubicBezTo>
                  <a:pt x="316" y="198"/>
                  <a:pt x="298" y="206"/>
                  <a:pt x="284" y="220"/>
                </a:cubicBezTo>
                <a:cubicBezTo>
                  <a:pt x="249" y="185"/>
                  <a:pt x="249" y="185"/>
                  <a:pt x="249" y="185"/>
                </a:cubicBezTo>
                <a:cubicBezTo>
                  <a:pt x="270" y="166"/>
                  <a:pt x="283" y="138"/>
                  <a:pt x="283" y="107"/>
                </a:cubicBezTo>
                <a:cubicBezTo>
                  <a:pt x="283" y="48"/>
                  <a:pt x="235" y="0"/>
                  <a:pt x="176" y="0"/>
                </a:cubicBezTo>
                <a:cubicBezTo>
                  <a:pt x="117" y="0"/>
                  <a:pt x="68" y="48"/>
                  <a:pt x="68" y="107"/>
                </a:cubicBezTo>
                <a:cubicBezTo>
                  <a:pt x="68" y="144"/>
                  <a:pt x="88" y="177"/>
                  <a:pt x="116" y="196"/>
                </a:cubicBezTo>
                <a:cubicBezTo>
                  <a:pt x="96" y="266"/>
                  <a:pt x="96" y="266"/>
                  <a:pt x="96" y="266"/>
                </a:cubicBezTo>
                <a:cubicBezTo>
                  <a:pt x="89" y="264"/>
                  <a:pt x="82" y="263"/>
                  <a:pt x="74" y="263"/>
                </a:cubicBezTo>
                <a:cubicBezTo>
                  <a:pt x="33" y="263"/>
                  <a:pt x="0" y="296"/>
                  <a:pt x="0" y="337"/>
                </a:cubicBezTo>
                <a:cubicBezTo>
                  <a:pt x="0" y="378"/>
                  <a:pt x="33" y="412"/>
                  <a:pt x="74" y="412"/>
                </a:cubicBezTo>
                <a:cubicBezTo>
                  <a:pt x="115" y="412"/>
                  <a:pt x="149" y="378"/>
                  <a:pt x="149" y="337"/>
                </a:cubicBezTo>
                <a:cubicBezTo>
                  <a:pt x="149" y="309"/>
                  <a:pt x="133" y="284"/>
                  <a:pt x="110" y="272"/>
                </a:cubicBezTo>
                <a:cubicBezTo>
                  <a:pt x="130" y="204"/>
                  <a:pt x="130" y="204"/>
                  <a:pt x="130" y="204"/>
                </a:cubicBezTo>
                <a:cubicBezTo>
                  <a:pt x="144" y="210"/>
                  <a:pt x="159" y="214"/>
                  <a:pt x="176" y="214"/>
                </a:cubicBezTo>
                <a:cubicBezTo>
                  <a:pt x="199" y="214"/>
                  <a:pt x="220" y="207"/>
                  <a:pt x="238" y="195"/>
                </a:cubicBezTo>
                <a:cubicBezTo>
                  <a:pt x="275" y="232"/>
                  <a:pt x="275" y="232"/>
                  <a:pt x="275" y="232"/>
                </a:cubicBezTo>
                <a:cubicBezTo>
                  <a:pt x="267" y="243"/>
                  <a:pt x="262" y="257"/>
                  <a:pt x="262" y="273"/>
                </a:cubicBezTo>
                <a:cubicBezTo>
                  <a:pt x="262" y="314"/>
                  <a:pt x="296" y="347"/>
                  <a:pt x="337" y="347"/>
                </a:cubicBezTo>
                <a:cubicBezTo>
                  <a:pt x="378" y="347"/>
                  <a:pt x="411" y="314"/>
                  <a:pt x="411" y="273"/>
                </a:cubicBezTo>
                <a:cubicBezTo>
                  <a:pt x="411" y="231"/>
                  <a:pt x="378" y="198"/>
                  <a:pt x="337" y="198"/>
                </a:cubicBezTo>
                <a:close/>
                <a:moveTo>
                  <a:pt x="134" y="337"/>
                </a:moveTo>
                <a:cubicBezTo>
                  <a:pt x="134" y="370"/>
                  <a:pt x="107" y="397"/>
                  <a:pt x="74" y="397"/>
                </a:cubicBezTo>
                <a:cubicBezTo>
                  <a:pt x="41" y="397"/>
                  <a:pt x="14" y="370"/>
                  <a:pt x="14" y="337"/>
                </a:cubicBezTo>
                <a:cubicBezTo>
                  <a:pt x="14" y="304"/>
                  <a:pt x="41" y="278"/>
                  <a:pt x="74" y="278"/>
                </a:cubicBezTo>
                <a:cubicBezTo>
                  <a:pt x="107" y="278"/>
                  <a:pt x="134" y="304"/>
                  <a:pt x="134" y="337"/>
                </a:cubicBezTo>
                <a:close/>
                <a:moveTo>
                  <a:pt x="83" y="107"/>
                </a:moveTo>
                <a:cubicBezTo>
                  <a:pt x="83" y="56"/>
                  <a:pt x="125" y="14"/>
                  <a:pt x="176" y="14"/>
                </a:cubicBezTo>
                <a:cubicBezTo>
                  <a:pt x="227" y="14"/>
                  <a:pt x="268" y="56"/>
                  <a:pt x="268" y="107"/>
                </a:cubicBezTo>
                <a:cubicBezTo>
                  <a:pt x="268" y="158"/>
                  <a:pt x="227" y="200"/>
                  <a:pt x="176" y="200"/>
                </a:cubicBezTo>
                <a:cubicBezTo>
                  <a:pt x="125" y="200"/>
                  <a:pt x="83" y="158"/>
                  <a:pt x="83" y="107"/>
                </a:cubicBezTo>
                <a:close/>
                <a:moveTo>
                  <a:pt x="337" y="332"/>
                </a:moveTo>
                <a:cubicBezTo>
                  <a:pt x="304" y="332"/>
                  <a:pt x="277" y="306"/>
                  <a:pt x="277" y="273"/>
                </a:cubicBezTo>
                <a:cubicBezTo>
                  <a:pt x="277" y="240"/>
                  <a:pt x="304" y="213"/>
                  <a:pt x="337" y="213"/>
                </a:cubicBezTo>
                <a:cubicBezTo>
                  <a:pt x="370" y="213"/>
                  <a:pt x="397" y="240"/>
                  <a:pt x="397" y="273"/>
                </a:cubicBezTo>
                <a:cubicBezTo>
                  <a:pt x="397" y="306"/>
                  <a:pt x="370" y="332"/>
                  <a:pt x="337" y="332"/>
                </a:cubicBezTo>
                <a:close/>
              </a:path>
            </a:pathLst>
          </a:custGeom>
          <a:solidFill>
            <a:srgbClr val="FFFFFF"/>
          </a:solidFill>
          <a:ln>
            <a:noFill/>
          </a:ln>
        </p:spPr>
        <p:txBody>
          <a:bodyPr vert="horz" wrap="square" lIns="68571" tIns="34286" rIns="68571" bIns="34286" numCol="1" anchor="t" anchorCtr="0" compatLnSpc="1">
            <a:prstTxWarp prst="textNoShape">
              <a:avLst/>
            </a:prstTxWarp>
          </a:bodyPr>
          <a:lstStyle/>
          <a:p>
            <a:endParaRPr lang="en-US"/>
          </a:p>
        </p:txBody>
      </p:sp>
      <p:sp>
        <p:nvSpPr>
          <p:cNvPr id="191" name="Freeform 73"/>
          <p:cNvSpPr>
            <a:spLocks noEditPoints="1"/>
          </p:cNvSpPr>
          <p:nvPr/>
        </p:nvSpPr>
        <p:spPr bwMode="auto">
          <a:xfrm>
            <a:off x="5091831" y="1055312"/>
            <a:ext cx="485110" cy="406069"/>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p:spPr>
        <p:txBody>
          <a:bodyPr vert="horz" wrap="square" lIns="68571" tIns="34286" rIns="68571" bIns="34286" numCol="1" anchor="t" anchorCtr="0" compatLnSpc="1">
            <a:prstTxWarp prst="textNoShape">
              <a:avLst/>
            </a:prstTxWarp>
          </a:bodyPr>
          <a:lstStyle/>
          <a:p>
            <a:endParaRPr lang="en-US"/>
          </a:p>
        </p:txBody>
      </p:sp>
      <p:sp>
        <p:nvSpPr>
          <p:cNvPr id="192" name="Freeform 74"/>
          <p:cNvSpPr>
            <a:spLocks noEditPoints="1"/>
          </p:cNvSpPr>
          <p:nvPr/>
        </p:nvSpPr>
        <p:spPr bwMode="auto">
          <a:xfrm>
            <a:off x="6898615" y="1014854"/>
            <a:ext cx="485110" cy="486983"/>
          </a:xfrm>
          <a:custGeom>
            <a:avLst/>
            <a:gdLst>
              <a:gd name="T0" fmla="*/ 404 w 411"/>
              <a:gd name="T1" fmla="*/ 0 h 413"/>
              <a:gd name="T2" fmla="*/ 7 w 411"/>
              <a:gd name="T3" fmla="*/ 0 h 413"/>
              <a:gd name="T4" fmla="*/ 0 w 411"/>
              <a:gd name="T5" fmla="*/ 7 h 413"/>
              <a:gd name="T6" fmla="*/ 0 w 411"/>
              <a:gd name="T7" fmla="*/ 338 h 413"/>
              <a:gd name="T8" fmla="*/ 7 w 411"/>
              <a:gd name="T9" fmla="*/ 345 h 413"/>
              <a:gd name="T10" fmla="*/ 68 w 411"/>
              <a:gd name="T11" fmla="*/ 345 h 413"/>
              <a:gd name="T12" fmla="*/ 133 w 411"/>
              <a:gd name="T13" fmla="*/ 411 h 413"/>
              <a:gd name="T14" fmla="*/ 138 w 411"/>
              <a:gd name="T15" fmla="*/ 413 h 413"/>
              <a:gd name="T16" fmla="*/ 141 w 411"/>
              <a:gd name="T17" fmla="*/ 413 h 413"/>
              <a:gd name="T18" fmla="*/ 145 w 411"/>
              <a:gd name="T19" fmla="*/ 406 h 413"/>
              <a:gd name="T20" fmla="*/ 145 w 411"/>
              <a:gd name="T21" fmla="*/ 345 h 413"/>
              <a:gd name="T22" fmla="*/ 404 w 411"/>
              <a:gd name="T23" fmla="*/ 345 h 413"/>
              <a:gd name="T24" fmla="*/ 411 w 411"/>
              <a:gd name="T25" fmla="*/ 338 h 413"/>
              <a:gd name="T26" fmla="*/ 411 w 411"/>
              <a:gd name="T27" fmla="*/ 7 h 413"/>
              <a:gd name="T28" fmla="*/ 404 w 411"/>
              <a:gd name="T29" fmla="*/ 0 h 413"/>
              <a:gd name="T30" fmla="*/ 396 w 411"/>
              <a:gd name="T31" fmla="*/ 330 h 413"/>
              <a:gd name="T32" fmla="*/ 138 w 411"/>
              <a:gd name="T33" fmla="*/ 330 h 413"/>
              <a:gd name="T34" fmla="*/ 130 w 411"/>
              <a:gd name="T35" fmla="*/ 338 h 413"/>
              <a:gd name="T36" fmla="*/ 130 w 411"/>
              <a:gd name="T37" fmla="*/ 388 h 413"/>
              <a:gd name="T38" fmla="*/ 77 w 411"/>
              <a:gd name="T39" fmla="*/ 333 h 413"/>
              <a:gd name="T40" fmla="*/ 71 w 411"/>
              <a:gd name="T41" fmla="*/ 330 h 413"/>
              <a:gd name="T42" fmla="*/ 15 w 411"/>
              <a:gd name="T43" fmla="*/ 330 h 413"/>
              <a:gd name="T44" fmla="*/ 15 w 411"/>
              <a:gd name="T45" fmla="*/ 15 h 413"/>
              <a:gd name="T46" fmla="*/ 396 w 411"/>
              <a:gd name="T47" fmla="*/ 15 h 413"/>
              <a:gd name="T48" fmla="*/ 396 w 411"/>
              <a:gd name="T49" fmla="*/ 33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413">
                <a:moveTo>
                  <a:pt x="404" y="0"/>
                </a:moveTo>
                <a:cubicBezTo>
                  <a:pt x="7" y="0"/>
                  <a:pt x="7" y="0"/>
                  <a:pt x="7" y="0"/>
                </a:cubicBezTo>
                <a:cubicBezTo>
                  <a:pt x="3" y="0"/>
                  <a:pt x="0" y="3"/>
                  <a:pt x="0" y="7"/>
                </a:cubicBezTo>
                <a:cubicBezTo>
                  <a:pt x="0" y="338"/>
                  <a:pt x="0" y="338"/>
                  <a:pt x="0" y="338"/>
                </a:cubicBezTo>
                <a:cubicBezTo>
                  <a:pt x="0" y="342"/>
                  <a:pt x="3" y="345"/>
                  <a:pt x="7" y="345"/>
                </a:cubicBezTo>
                <a:cubicBezTo>
                  <a:pt x="68" y="345"/>
                  <a:pt x="68" y="345"/>
                  <a:pt x="68" y="345"/>
                </a:cubicBezTo>
                <a:cubicBezTo>
                  <a:pt x="133" y="411"/>
                  <a:pt x="133" y="411"/>
                  <a:pt x="133" y="411"/>
                </a:cubicBezTo>
                <a:cubicBezTo>
                  <a:pt x="134" y="413"/>
                  <a:pt x="136" y="413"/>
                  <a:pt x="138" y="413"/>
                </a:cubicBezTo>
                <a:cubicBezTo>
                  <a:pt x="139" y="413"/>
                  <a:pt x="140" y="413"/>
                  <a:pt x="141" y="413"/>
                </a:cubicBezTo>
                <a:cubicBezTo>
                  <a:pt x="143" y="412"/>
                  <a:pt x="145" y="409"/>
                  <a:pt x="145" y="406"/>
                </a:cubicBezTo>
                <a:cubicBezTo>
                  <a:pt x="145" y="345"/>
                  <a:pt x="145" y="345"/>
                  <a:pt x="145" y="345"/>
                </a:cubicBezTo>
                <a:cubicBezTo>
                  <a:pt x="404" y="345"/>
                  <a:pt x="404" y="345"/>
                  <a:pt x="404" y="345"/>
                </a:cubicBezTo>
                <a:cubicBezTo>
                  <a:pt x="408" y="345"/>
                  <a:pt x="411" y="342"/>
                  <a:pt x="411" y="338"/>
                </a:cubicBezTo>
                <a:cubicBezTo>
                  <a:pt x="411" y="7"/>
                  <a:pt x="411" y="7"/>
                  <a:pt x="411" y="7"/>
                </a:cubicBezTo>
                <a:cubicBezTo>
                  <a:pt x="411" y="3"/>
                  <a:pt x="408" y="0"/>
                  <a:pt x="404" y="0"/>
                </a:cubicBezTo>
                <a:close/>
                <a:moveTo>
                  <a:pt x="396" y="330"/>
                </a:moveTo>
                <a:cubicBezTo>
                  <a:pt x="138" y="330"/>
                  <a:pt x="138" y="330"/>
                  <a:pt x="138" y="330"/>
                </a:cubicBezTo>
                <a:cubicBezTo>
                  <a:pt x="134" y="330"/>
                  <a:pt x="130" y="334"/>
                  <a:pt x="130" y="338"/>
                </a:cubicBezTo>
                <a:cubicBezTo>
                  <a:pt x="130" y="388"/>
                  <a:pt x="130" y="388"/>
                  <a:pt x="130" y="388"/>
                </a:cubicBezTo>
                <a:cubicBezTo>
                  <a:pt x="77" y="333"/>
                  <a:pt x="77" y="333"/>
                  <a:pt x="77" y="333"/>
                </a:cubicBezTo>
                <a:cubicBezTo>
                  <a:pt x="75" y="331"/>
                  <a:pt x="73" y="330"/>
                  <a:pt x="71" y="330"/>
                </a:cubicBezTo>
                <a:cubicBezTo>
                  <a:pt x="15" y="330"/>
                  <a:pt x="15" y="330"/>
                  <a:pt x="15" y="330"/>
                </a:cubicBezTo>
                <a:cubicBezTo>
                  <a:pt x="15" y="15"/>
                  <a:pt x="15" y="15"/>
                  <a:pt x="15" y="15"/>
                </a:cubicBezTo>
                <a:cubicBezTo>
                  <a:pt x="396" y="15"/>
                  <a:pt x="396" y="15"/>
                  <a:pt x="396" y="15"/>
                </a:cubicBezTo>
                <a:lnTo>
                  <a:pt x="396" y="330"/>
                </a:lnTo>
                <a:close/>
              </a:path>
            </a:pathLst>
          </a:custGeom>
          <a:solidFill>
            <a:srgbClr val="FFFFFF"/>
          </a:solidFill>
          <a:ln>
            <a:noFill/>
          </a:ln>
        </p:spPr>
        <p:txBody>
          <a:bodyPr vert="horz" wrap="square" lIns="68571" tIns="34286" rIns="68571" bIns="34286" numCol="1" anchor="t" anchorCtr="0" compatLnSpc="1">
            <a:prstTxWarp prst="textNoShape">
              <a:avLst/>
            </a:prstTxWarp>
          </a:bodyPr>
          <a:lstStyle/>
          <a:p>
            <a:endParaRPr lang="en-US"/>
          </a:p>
        </p:txBody>
      </p:sp>
      <p:sp>
        <p:nvSpPr>
          <p:cNvPr id="193" name="Freeform 75"/>
          <p:cNvSpPr>
            <a:spLocks noEditPoints="1"/>
          </p:cNvSpPr>
          <p:nvPr/>
        </p:nvSpPr>
        <p:spPr bwMode="auto">
          <a:xfrm>
            <a:off x="7800758" y="998866"/>
            <a:ext cx="487608" cy="518948"/>
          </a:xfrm>
          <a:custGeom>
            <a:avLst/>
            <a:gdLst>
              <a:gd name="T0" fmla="*/ 145 w 413"/>
              <a:gd name="T1" fmla="*/ 290 h 440"/>
              <a:gd name="T2" fmla="*/ 104 w 413"/>
              <a:gd name="T3" fmla="*/ 330 h 440"/>
              <a:gd name="T4" fmla="*/ 145 w 413"/>
              <a:gd name="T5" fmla="*/ 371 h 440"/>
              <a:gd name="T6" fmla="*/ 185 w 413"/>
              <a:gd name="T7" fmla="*/ 330 h 440"/>
              <a:gd name="T8" fmla="*/ 145 w 413"/>
              <a:gd name="T9" fmla="*/ 290 h 440"/>
              <a:gd name="T10" fmla="*/ 145 w 413"/>
              <a:gd name="T11" fmla="*/ 356 h 440"/>
              <a:gd name="T12" fmla="*/ 119 w 413"/>
              <a:gd name="T13" fmla="*/ 330 h 440"/>
              <a:gd name="T14" fmla="*/ 145 w 413"/>
              <a:gd name="T15" fmla="*/ 305 h 440"/>
              <a:gd name="T16" fmla="*/ 171 w 413"/>
              <a:gd name="T17" fmla="*/ 330 h 440"/>
              <a:gd name="T18" fmla="*/ 145 w 413"/>
              <a:gd name="T19" fmla="*/ 356 h 440"/>
              <a:gd name="T20" fmla="*/ 222 w 413"/>
              <a:gd name="T21" fmla="*/ 358 h 440"/>
              <a:gd name="T22" fmla="*/ 182 w 413"/>
              <a:gd name="T23" fmla="*/ 399 h 440"/>
              <a:gd name="T24" fmla="*/ 222 w 413"/>
              <a:gd name="T25" fmla="*/ 440 h 440"/>
              <a:gd name="T26" fmla="*/ 263 w 413"/>
              <a:gd name="T27" fmla="*/ 399 h 440"/>
              <a:gd name="T28" fmla="*/ 222 w 413"/>
              <a:gd name="T29" fmla="*/ 358 h 440"/>
              <a:gd name="T30" fmla="*/ 222 w 413"/>
              <a:gd name="T31" fmla="*/ 425 h 440"/>
              <a:gd name="T32" fmla="*/ 197 w 413"/>
              <a:gd name="T33" fmla="*/ 399 h 440"/>
              <a:gd name="T34" fmla="*/ 222 w 413"/>
              <a:gd name="T35" fmla="*/ 373 h 440"/>
              <a:gd name="T36" fmla="*/ 248 w 413"/>
              <a:gd name="T37" fmla="*/ 399 h 440"/>
              <a:gd name="T38" fmla="*/ 222 w 413"/>
              <a:gd name="T39" fmla="*/ 425 h 440"/>
              <a:gd name="T40" fmla="*/ 339 w 413"/>
              <a:gd name="T41" fmla="*/ 0 h 440"/>
              <a:gd name="T42" fmla="*/ 74 w 413"/>
              <a:gd name="T43" fmla="*/ 0 h 440"/>
              <a:gd name="T44" fmla="*/ 0 w 413"/>
              <a:gd name="T45" fmla="*/ 74 h 440"/>
              <a:gd name="T46" fmla="*/ 0 w 413"/>
              <a:gd name="T47" fmla="*/ 204 h 440"/>
              <a:gd name="T48" fmla="*/ 74 w 413"/>
              <a:gd name="T49" fmla="*/ 278 h 440"/>
              <a:gd name="T50" fmla="*/ 339 w 413"/>
              <a:gd name="T51" fmla="*/ 278 h 440"/>
              <a:gd name="T52" fmla="*/ 413 w 413"/>
              <a:gd name="T53" fmla="*/ 204 h 440"/>
              <a:gd name="T54" fmla="*/ 413 w 413"/>
              <a:gd name="T55" fmla="*/ 74 h 440"/>
              <a:gd name="T56" fmla="*/ 339 w 413"/>
              <a:gd name="T57" fmla="*/ 0 h 440"/>
              <a:gd name="T58" fmla="*/ 398 w 413"/>
              <a:gd name="T59" fmla="*/ 204 h 440"/>
              <a:gd name="T60" fmla="*/ 339 w 413"/>
              <a:gd name="T61" fmla="*/ 263 h 440"/>
              <a:gd name="T62" fmla="*/ 74 w 413"/>
              <a:gd name="T63" fmla="*/ 263 h 440"/>
              <a:gd name="T64" fmla="*/ 14 w 413"/>
              <a:gd name="T65" fmla="*/ 204 h 440"/>
              <a:gd name="T66" fmla="*/ 14 w 413"/>
              <a:gd name="T67" fmla="*/ 74 h 440"/>
              <a:gd name="T68" fmla="*/ 74 w 413"/>
              <a:gd name="T69" fmla="*/ 15 h 440"/>
              <a:gd name="T70" fmla="*/ 339 w 413"/>
              <a:gd name="T71" fmla="*/ 15 h 440"/>
              <a:gd name="T72" fmla="*/ 398 w 413"/>
              <a:gd name="T73" fmla="*/ 74 h 440"/>
              <a:gd name="T74" fmla="*/ 398 w 413"/>
              <a:gd name="T75" fmla="*/ 204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13" h="440">
                <a:moveTo>
                  <a:pt x="145" y="290"/>
                </a:moveTo>
                <a:cubicBezTo>
                  <a:pt x="122" y="290"/>
                  <a:pt x="104" y="308"/>
                  <a:pt x="104" y="330"/>
                </a:cubicBezTo>
                <a:cubicBezTo>
                  <a:pt x="104" y="353"/>
                  <a:pt x="122" y="371"/>
                  <a:pt x="145" y="371"/>
                </a:cubicBezTo>
                <a:cubicBezTo>
                  <a:pt x="167" y="371"/>
                  <a:pt x="185" y="353"/>
                  <a:pt x="185" y="330"/>
                </a:cubicBezTo>
                <a:cubicBezTo>
                  <a:pt x="185" y="308"/>
                  <a:pt x="167" y="290"/>
                  <a:pt x="145" y="290"/>
                </a:cubicBezTo>
                <a:close/>
                <a:moveTo>
                  <a:pt x="145" y="356"/>
                </a:moveTo>
                <a:cubicBezTo>
                  <a:pt x="131" y="356"/>
                  <a:pt x="119" y="345"/>
                  <a:pt x="119" y="330"/>
                </a:cubicBezTo>
                <a:cubicBezTo>
                  <a:pt x="119" y="316"/>
                  <a:pt x="131" y="305"/>
                  <a:pt x="145" y="305"/>
                </a:cubicBezTo>
                <a:cubicBezTo>
                  <a:pt x="159" y="305"/>
                  <a:pt x="171" y="316"/>
                  <a:pt x="171" y="330"/>
                </a:cubicBezTo>
                <a:cubicBezTo>
                  <a:pt x="171" y="345"/>
                  <a:pt x="159" y="356"/>
                  <a:pt x="145" y="356"/>
                </a:cubicBezTo>
                <a:close/>
                <a:moveTo>
                  <a:pt x="222" y="358"/>
                </a:moveTo>
                <a:cubicBezTo>
                  <a:pt x="200" y="358"/>
                  <a:pt x="182" y="377"/>
                  <a:pt x="182" y="399"/>
                </a:cubicBezTo>
                <a:cubicBezTo>
                  <a:pt x="182" y="421"/>
                  <a:pt x="200" y="440"/>
                  <a:pt x="222" y="440"/>
                </a:cubicBezTo>
                <a:cubicBezTo>
                  <a:pt x="245" y="440"/>
                  <a:pt x="263" y="421"/>
                  <a:pt x="263" y="399"/>
                </a:cubicBezTo>
                <a:cubicBezTo>
                  <a:pt x="263" y="377"/>
                  <a:pt x="245" y="358"/>
                  <a:pt x="222" y="358"/>
                </a:cubicBezTo>
                <a:close/>
                <a:moveTo>
                  <a:pt x="222" y="425"/>
                </a:moveTo>
                <a:cubicBezTo>
                  <a:pt x="208" y="425"/>
                  <a:pt x="197" y="413"/>
                  <a:pt x="197" y="399"/>
                </a:cubicBezTo>
                <a:cubicBezTo>
                  <a:pt x="197" y="385"/>
                  <a:pt x="208" y="373"/>
                  <a:pt x="222" y="373"/>
                </a:cubicBezTo>
                <a:cubicBezTo>
                  <a:pt x="237" y="373"/>
                  <a:pt x="248" y="385"/>
                  <a:pt x="248" y="399"/>
                </a:cubicBezTo>
                <a:cubicBezTo>
                  <a:pt x="248" y="413"/>
                  <a:pt x="237" y="425"/>
                  <a:pt x="222" y="425"/>
                </a:cubicBezTo>
                <a:close/>
                <a:moveTo>
                  <a:pt x="339" y="0"/>
                </a:moveTo>
                <a:cubicBezTo>
                  <a:pt x="74" y="0"/>
                  <a:pt x="74" y="0"/>
                  <a:pt x="74" y="0"/>
                </a:cubicBezTo>
                <a:cubicBezTo>
                  <a:pt x="33" y="0"/>
                  <a:pt x="0" y="33"/>
                  <a:pt x="0" y="74"/>
                </a:cubicBezTo>
                <a:cubicBezTo>
                  <a:pt x="0" y="204"/>
                  <a:pt x="0" y="204"/>
                  <a:pt x="0" y="204"/>
                </a:cubicBezTo>
                <a:cubicBezTo>
                  <a:pt x="0" y="245"/>
                  <a:pt x="33" y="278"/>
                  <a:pt x="74" y="278"/>
                </a:cubicBezTo>
                <a:cubicBezTo>
                  <a:pt x="339" y="278"/>
                  <a:pt x="339" y="278"/>
                  <a:pt x="339" y="278"/>
                </a:cubicBezTo>
                <a:cubicBezTo>
                  <a:pt x="380" y="278"/>
                  <a:pt x="413" y="245"/>
                  <a:pt x="413" y="204"/>
                </a:cubicBezTo>
                <a:cubicBezTo>
                  <a:pt x="413" y="74"/>
                  <a:pt x="413" y="74"/>
                  <a:pt x="413" y="74"/>
                </a:cubicBezTo>
                <a:cubicBezTo>
                  <a:pt x="413" y="33"/>
                  <a:pt x="380" y="0"/>
                  <a:pt x="339" y="0"/>
                </a:cubicBezTo>
                <a:close/>
                <a:moveTo>
                  <a:pt x="398" y="204"/>
                </a:moveTo>
                <a:cubicBezTo>
                  <a:pt x="398" y="237"/>
                  <a:pt x="372" y="263"/>
                  <a:pt x="339" y="263"/>
                </a:cubicBezTo>
                <a:cubicBezTo>
                  <a:pt x="74" y="263"/>
                  <a:pt x="74" y="263"/>
                  <a:pt x="74" y="263"/>
                </a:cubicBezTo>
                <a:cubicBezTo>
                  <a:pt x="41" y="263"/>
                  <a:pt x="14" y="237"/>
                  <a:pt x="14" y="204"/>
                </a:cubicBezTo>
                <a:cubicBezTo>
                  <a:pt x="14" y="74"/>
                  <a:pt x="14" y="74"/>
                  <a:pt x="14" y="74"/>
                </a:cubicBezTo>
                <a:cubicBezTo>
                  <a:pt x="14" y="41"/>
                  <a:pt x="41" y="15"/>
                  <a:pt x="74" y="15"/>
                </a:cubicBezTo>
                <a:cubicBezTo>
                  <a:pt x="339" y="15"/>
                  <a:pt x="339" y="15"/>
                  <a:pt x="339" y="15"/>
                </a:cubicBezTo>
                <a:cubicBezTo>
                  <a:pt x="372" y="15"/>
                  <a:pt x="398" y="41"/>
                  <a:pt x="398" y="74"/>
                </a:cubicBezTo>
                <a:lnTo>
                  <a:pt x="398" y="204"/>
                </a:lnTo>
                <a:close/>
              </a:path>
            </a:pathLst>
          </a:custGeom>
          <a:solidFill>
            <a:srgbClr val="FFFFFF"/>
          </a:solidFill>
          <a:ln>
            <a:noFill/>
          </a:ln>
        </p:spPr>
        <p:txBody>
          <a:bodyPr vert="horz" wrap="square" lIns="68571" tIns="34286" rIns="68571" bIns="34286" numCol="1" anchor="t" anchorCtr="0" compatLnSpc="1">
            <a:prstTxWarp prst="textNoShape">
              <a:avLst/>
            </a:prstTxWarp>
          </a:bodyPr>
          <a:lstStyle/>
          <a:p>
            <a:endParaRPr lang="en-US"/>
          </a:p>
        </p:txBody>
      </p:sp>
      <p:sp>
        <p:nvSpPr>
          <p:cNvPr id="194" name="Freeform 76"/>
          <p:cNvSpPr>
            <a:spLocks noEditPoints="1"/>
          </p:cNvSpPr>
          <p:nvPr/>
        </p:nvSpPr>
        <p:spPr bwMode="auto">
          <a:xfrm>
            <a:off x="5994222" y="1172182"/>
            <a:ext cx="487109" cy="172316"/>
          </a:xfrm>
          <a:custGeom>
            <a:avLst/>
            <a:gdLst>
              <a:gd name="T0" fmla="*/ 406 w 413"/>
              <a:gd name="T1" fmla="*/ 0 h 146"/>
              <a:gd name="T2" fmla="*/ 7 w 413"/>
              <a:gd name="T3" fmla="*/ 0 h 146"/>
              <a:gd name="T4" fmla="*/ 0 w 413"/>
              <a:gd name="T5" fmla="*/ 7 h 146"/>
              <a:gd name="T6" fmla="*/ 0 w 413"/>
              <a:gd name="T7" fmla="*/ 74 h 146"/>
              <a:gd name="T8" fmla="*/ 7 w 413"/>
              <a:gd name="T9" fmla="*/ 81 h 146"/>
              <a:gd name="T10" fmla="*/ 188 w 413"/>
              <a:gd name="T11" fmla="*/ 81 h 146"/>
              <a:gd name="T12" fmla="*/ 134 w 413"/>
              <a:gd name="T13" fmla="*/ 133 h 146"/>
              <a:gd name="T14" fmla="*/ 132 w 413"/>
              <a:gd name="T15" fmla="*/ 141 h 146"/>
              <a:gd name="T16" fmla="*/ 139 w 413"/>
              <a:gd name="T17" fmla="*/ 146 h 146"/>
              <a:gd name="T18" fmla="*/ 273 w 413"/>
              <a:gd name="T19" fmla="*/ 146 h 146"/>
              <a:gd name="T20" fmla="*/ 280 w 413"/>
              <a:gd name="T21" fmla="*/ 141 h 146"/>
              <a:gd name="T22" fmla="*/ 278 w 413"/>
              <a:gd name="T23" fmla="*/ 133 h 146"/>
              <a:gd name="T24" fmla="*/ 224 w 413"/>
              <a:gd name="T25" fmla="*/ 81 h 146"/>
              <a:gd name="T26" fmla="*/ 406 w 413"/>
              <a:gd name="T27" fmla="*/ 81 h 146"/>
              <a:gd name="T28" fmla="*/ 413 w 413"/>
              <a:gd name="T29" fmla="*/ 74 h 146"/>
              <a:gd name="T30" fmla="*/ 413 w 413"/>
              <a:gd name="T31" fmla="*/ 7 h 146"/>
              <a:gd name="T32" fmla="*/ 406 w 413"/>
              <a:gd name="T33" fmla="*/ 0 h 146"/>
              <a:gd name="T34" fmla="*/ 110 w 413"/>
              <a:gd name="T35" fmla="*/ 60 h 146"/>
              <a:gd name="T36" fmla="*/ 90 w 413"/>
              <a:gd name="T37" fmla="*/ 40 h 146"/>
              <a:gd name="T38" fmla="*/ 110 w 413"/>
              <a:gd name="T39" fmla="*/ 20 h 146"/>
              <a:gd name="T40" fmla="*/ 131 w 413"/>
              <a:gd name="T41" fmla="*/ 40 h 146"/>
              <a:gd name="T42" fmla="*/ 110 w 413"/>
              <a:gd name="T43" fmla="*/ 60 h 146"/>
              <a:gd name="T44" fmla="*/ 239 w 413"/>
              <a:gd name="T45" fmla="*/ 61 h 146"/>
              <a:gd name="T46" fmla="*/ 219 w 413"/>
              <a:gd name="T47" fmla="*/ 40 h 146"/>
              <a:gd name="T48" fmla="*/ 239 w 413"/>
              <a:gd name="T49" fmla="*/ 20 h 146"/>
              <a:gd name="T50" fmla="*/ 259 w 413"/>
              <a:gd name="T51" fmla="*/ 40 h 146"/>
              <a:gd name="T52" fmla="*/ 239 w 413"/>
              <a:gd name="T53" fmla="*/ 61 h 146"/>
              <a:gd name="T54" fmla="*/ 306 w 413"/>
              <a:gd name="T55" fmla="*/ 62 h 146"/>
              <a:gd name="T56" fmla="*/ 285 w 413"/>
              <a:gd name="T57" fmla="*/ 42 h 146"/>
              <a:gd name="T58" fmla="*/ 306 w 413"/>
              <a:gd name="T59" fmla="*/ 22 h 146"/>
              <a:gd name="T60" fmla="*/ 326 w 413"/>
              <a:gd name="T61" fmla="*/ 42 h 146"/>
              <a:gd name="T62" fmla="*/ 306 w 413"/>
              <a:gd name="T63" fmla="*/ 6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3" h="146">
                <a:moveTo>
                  <a:pt x="406" y="0"/>
                </a:moveTo>
                <a:cubicBezTo>
                  <a:pt x="7" y="0"/>
                  <a:pt x="7" y="0"/>
                  <a:pt x="7" y="0"/>
                </a:cubicBezTo>
                <a:cubicBezTo>
                  <a:pt x="3" y="0"/>
                  <a:pt x="0" y="3"/>
                  <a:pt x="0" y="7"/>
                </a:cubicBezTo>
                <a:cubicBezTo>
                  <a:pt x="0" y="74"/>
                  <a:pt x="0" y="74"/>
                  <a:pt x="0" y="74"/>
                </a:cubicBezTo>
                <a:cubicBezTo>
                  <a:pt x="0" y="78"/>
                  <a:pt x="3" y="81"/>
                  <a:pt x="7" y="81"/>
                </a:cubicBezTo>
                <a:cubicBezTo>
                  <a:pt x="188" y="81"/>
                  <a:pt x="188" y="81"/>
                  <a:pt x="188" y="81"/>
                </a:cubicBezTo>
                <a:cubicBezTo>
                  <a:pt x="134" y="133"/>
                  <a:pt x="134" y="133"/>
                  <a:pt x="134" y="133"/>
                </a:cubicBezTo>
                <a:cubicBezTo>
                  <a:pt x="132" y="135"/>
                  <a:pt x="131" y="138"/>
                  <a:pt x="132" y="141"/>
                </a:cubicBezTo>
                <a:cubicBezTo>
                  <a:pt x="134" y="144"/>
                  <a:pt x="136" y="146"/>
                  <a:pt x="139" y="146"/>
                </a:cubicBezTo>
                <a:cubicBezTo>
                  <a:pt x="273" y="146"/>
                  <a:pt x="273" y="146"/>
                  <a:pt x="273" y="146"/>
                </a:cubicBezTo>
                <a:cubicBezTo>
                  <a:pt x="276" y="146"/>
                  <a:pt x="279" y="144"/>
                  <a:pt x="280" y="141"/>
                </a:cubicBezTo>
                <a:cubicBezTo>
                  <a:pt x="281" y="139"/>
                  <a:pt x="280" y="135"/>
                  <a:pt x="278" y="133"/>
                </a:cubicBezTo>
                <a:cubicBezTo>
                  <a:pt x="224" y="81"/>
                  <a:pt x="224" y="81"/>
                  <a:pt x="224" y="81"/>
                </a:cubicBezTo>
                <a:cubicBezTo>
                  <a:pt x="406" y="81"/>
                  <a:pt x="406" y="81"/>
                  <a:pt x="406" y="81"/>
                </a:cubicBezTo>
                <a:cubicBezTo>
                  <a:pt x="410" y="81"/>
                  <a:pt x="413" y="78"/>
                  <a:pt x="413" y="74"/>
                </a:cubicBezTo>
                <a:cubicBezTo>
                  <a:pt x="413" y="7"/>
                  <a:pt x="413" y="7"/>
                  <a:pt x="413" y="7"/>
                </a:cubicBezTo>
                <a:cubicBezTo>
                  <a:pt x="413" y="3"/>
                  <a:pt x="410" y="0"/>
                  <a:pt x="406" y="0"/>
                </a:cubicBezTo>
                <a:close/>
                <a:moveTo>
                  <a:pt x="110" y="60"/>
                </a:moveTo>
                <a:cubicBezTo>
                  <a:pt x="99" y="60"/>
                  <a:pt x="90" y="51"/>
                  <a:pt x="90" y="40"/>
                </a:cubicBezTo>
                <a:cubicBezTo>
                  <a:pt x="90" y="29"/>
                  <a:pt x="99" y="20"/>
                  <a:pt x="110" y="20"/>
                </a:cubicBezTo>
                <a:cubicBezTo>
                  <a:pt x="121" y="20"/>
                  <a:pt x="131" y="29"/>
                  <a:pt x="131" y="40"/>
                </a:cubicBezTo>
                <a:cubicBezTo>
                  <a:pt x="131" y="51"/>
                  <a:pt x="121" y="60"/>
                  <a:pt x="110" y="60"/>
                </a:cubicBezTo>
                <a:close/>
                <a:moveTo>
                  <a:pt x="239" y="61"/>
                </a:moveTo>
                <a:cubicBezTo>
                  <a:pt x="228" y="61"/>
                  <a:pt x="219" y="52"/>
                  <a:pt x="219" y="40"/>
                </a:cubicBezTo>
                <a:cubicBezTo>
                  <a:pt x="219" y="29"/>
                  <a:pt x="228" y="20"/>
                  <a:pt x="239" y="20"/>
                </a:cubicBezTo>
                <a:cubicBezTo>
                  <a:pt x="250" y="20"/>
                  <a:pt x="259" y="29"/>
                  <a:pt x="259" y="40"/>
                </a:cubicBezTo>
                <a:cubicBezTo>
                  <a:pt x="259" y="52"/>
                  <a:pt x="250" y="61"/>
                  <a:pt x="239" y="61"/>
                </a:cubicBezTo>
                <a:close/>
                <a:moveTo>
                  <a:pt x="306" y="62"/>
                </a:moveTo>
                <a:cubicBezTo>
                  <a:pt x="294" y="62"/>
                  <a:pt x="285" y="53"/>
                  <a:pt x="285" y="42"/>
                </a:cubicBezTo>
                <a:cubicBezTo>
                  <a:pt x="285" y="31"/>
                  <a:pt x="294" y="22"/>
                  <a:pt x="306" y="22"/>
                </a:cubicBezTo>
                <a:cubicBezTo>
                  <a:pt x="317" y="22"/>
                  <a:pt x="326" y="31"/>
                  <a:pt x="326" y="42"/>
                </a:cubicBezTo>
                <a:cubicBezTo>
                  <a:pt x="326" y="53"/>
                  <a:pt x="317" y="62"/>
                  <a:pt x="306" y="62"/>
                </a:cubicBezTo>
                <a:close/>
              </a:path>
            </a:pathLst>
          </a:custGeom>
          <a:solidFill>
            <a:srgbClr val="FFFFFF"/>
          </a:solidFill>
          <a:ln>
            <a:noFill/>
          </a:ln>
        </p:spPr>
        <p:txBody>
          <a:bodyPr vert="horz" wrap="square" lIns="68571" tIns="34286" rIns="68571" bIns="34286" numCol="1" anchor="t" anchorCtr="0" compatLnSpc="1">
            <a:prstTxWarp prst="textNoShape">
              <a:avLst/>
            </a:prstTxWarp>
          </a:bodyPr>
          <a:lstStyle/>
          <a:p>
            <a:endParaRPr lang="en-US"/>
          </a:p>
        </p:txBody>
      </p:sp>
      <p:sp>
        <p:nvSpPr>
          <p:cNvPr id="195" name="Freeform 77"/>
          <p:cNvSpPr>
            <a:spLocks noEditPoints="1"/>
          </p:cNvSpPr>
          <p:nvPr/>
        </p:nvSpPr>
        <p:spPr bwMode="auto">
          <a:xfrm>
            <a:off x="5090830" y="2511562"/>
            <a:ext cx="487109" cy="334145"/>
          </a:xfrm>
          <a:custGeom>
            <a:avLst/>
            <a:gdLst>
              <a:gd name="T0" fmla="*/ 340 w 413"/>
              <a:gd name="T1" fmla="*/ 283 h 283"/>
              <a:gd name="T2" fmla="*/ 73 w 413"/>
              <a:gd name="T3" fmla="*/ 283 h 283"/>
              <a:gd name="T4" fmla="*/ 72 w 413"/>
              <a:gd name="T5" fmla="*/ 283 h 283"/>
              <a:gd name="T6" fmla="*/ 0 w 413"/>
              <a:gd name="T7" fmla="*/ 209 h 283"/>
              <a:gd name="T8" fmla="*/ 70 w 413"/>
              <a:gd name="T9" fmla="*/ 135 h 283"/>
              <a:gd name="T10" fmla="*/ 66 w 413"/>
              <a:gd name="T11" fmla="*/ 107 h 283"/>
              <a:gd name="T12" fmla="*/ 173 w 413"/>
              <a:gd name="T13" fmla="*/ 0 h 283"/>
              <a:gd name="T14" fmla="*/ 273 w 413"/>
              <a:gd name="T15" fmla="*/ 69 h 283"/>
              <a:gd name="T16" fmla="*/ 273 w 413"/>
              <a:gd name="T17" fmla="*/ 69 h 283"/>
              <a:gd name="T18" fmla="*/ 346 w 413"/>
              <a:gd name="T19" fmla="*/ 135 h 283"/>
              <a:gd name="T20" fmla="*/ 413 w 413"/>
              <a:gd name="T21" fmla="*/ 209 h 283"/>
              <a:gd name="T22" fmla="*/ 341 w 413"/>
              <a:gd name="T23" fmla="*/ 283 h 283"/>
              <a:gd name="T24" fmla="*/ 340 w 413"/>
              <a:gd name="T25" fmla="*/ 283 h 283"/>
              <a:gd name="T26" fmla="*/ 73 w 413"/>
              <a:gd name="T27" fmla="*/ 268 h 283"/>
              <a:gd name="T28" fmla="*/ 339 w 413"/>
              <a:gd name="T29" fmla="*/ 268 h 283"/>
              <a:gd name="T30" fmla="*/ 340 w 413"/>
              <a:gd name="T31" fmla="*/ 268 h 283"/>
              <a:gd name="T32" fmla="*/ 398 w 413"/>
              <a:gd name="T33" fmla="*/ 209 h 283"/>
              <a:gd name="T34" fmla="*/ 339 w 413"/>
              <a:gd name="T35" fmla="*/ 150 h 283"/>
              <a:gd name="T36" fmla="*/ 332 w 413"/>
              <a:gd name="T37" fmla="*/ 142 h 283"/>
              <a:gd name="T38" fmla="*/ 273 w 413"/>
              <a:gd name="T39" fmla="*/ 83 h 283"/>
              <a:gd name="T40" fmla="*/ 268 w 413"/>
              <a:gd name="T41" fmla="*/ 84 h 283"/>
              <a:gd name="T42" fmla="*/ 261 w 413"/>
              <a:gd name="T43" fmla="*/ 79 h 283"/>
              <a:gd name="T44" fmla="*/ 173 w 413"/>
              <a:gd name="T45" fmla="*/ 15 h 283"/>
              <a:gd name="T46" fmla="*/ 81 w 413"/>
              <a:gd name="T47" fmla="*/ 107 h 283"/>
              <a:gd name="T48" fmla="*/ 87 w 413"/>
              <a:gd name="T49" fmla="*/ 140 h 283"/>
              <a:gd name="T50" fmla="*/ 86 w 413"/>
              <a:gd name="T51" fmla="*/ 147 h 283"/>
              <a:gd name="T52" fmla="*/ 79 w 413"/>
              <a:gd name="T53" fmla="*/ 150 h 283"/>
              <a:gd name="T54" fmla="*/ 73 w 413"/>
              <a:gd name="T55" fmla="*/ 150 h 283"/>
              <a:gd name="T56" fmla="*/ 14 w 413"/>
              <a:gd name="T57" fmla="*/ 209 h 283"/>
              <a:gd name="T58" fmla="*/ 73 w 413"/>
              <a:gd name="T59" fmla="*/ 268 h 283"/>
              <a:gd name="T60" fmla="*/ 73 w 413"/>
              <a:gd name="T61" fmla="*/ 268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3" h="283">
                <a:moveTo>
                  <a:pt x="340" y="283"/>
                </a:moveTo>
                <a:cubicBezTo>
                  <a:pt x="73" y="283"/>
                  <a:pt x="73" y="283"/>
                  <a:pt x="73" y="283"/>
                </a:cubicBezTo>
                <a:cubicBezTo>
                  <a:pt x="73" y="283"/>
                  <a:pt x="72" y="283"/>
                  <a:pt x="72" y="283"/>
                </a:cubicBezTo>
                <a:cubicBezTo>
                  <a:pt x="32" y="282"/>
                  <a:pt x="0" y="249"/>
                  <a:pt x="0" y="209"/>
                </a:cubicBezTo>
                <a:cubicBezTo>
                  <a:pt x="0" y="169"/>
                  <a:pt x="31" y="137"/>
                  <a:pt x="70" y="135"/>
                </a:cubicBezTo>
                <a:cubicBezTo>
                  <a:pt x="67" y="126"/>
                  <a:pt x="66" y="117"/>
                  <a:pt x="66" y="107"/>
                </a:cubicBezTo>
                <a:cubicBezTo>
                  <a:pt x="66" y="48"/>
                  <a:pt x="114" y="0"/>
                  <a:pt x="173" y="0"/>
                </a:cubicBezTo>
                <a:cubicBezTo>
                  <a:pt x="217" y="0"/>
                  <a:pt x="257" y="27"/>
                  <a:pt x="273" y="69"/>
                </a:cubicBezTo>
                <a:cubicBezTo>
                  <a:pt x="273" y="69"/>
                  <a:pt x="273" y="69"/>
                  <a:pt x="273" y="69"/>
                </a:cubicBezTo>
                <a:cubicBezTo>
                  <a:pt x="311" y="69"/>
                  <a:pt x="343" y="98"/>
                  <a:pt x="346" y="135"/>
                </a:cubicBezTo>
                <a:cubicBezTo>
                  <a:pt x="384" y="139"/>
                  <a:pt x="413" y="171"/>
                  <a:pt x="413" y="209"/>
                </a:cubicBezTo>
                <a:cubicBezTo>
                  <a:pt x="413" y="249"/>
                  <a:pt x="381" y="282"/>
                  <a:pt x="341" y="283"/>
                </a:cubicBezTo>
                <a:cubicBezTo>
                  <a:pt x="340" y="283"/>
                  <a:pt x="340" y="283"/>
                  <a:pt x="340" y="283"/>
                </a:cubicBezTo>
                <a:close/>
                <a:moveTo>
                  <a:pt x="73" y="268"/>
                </a:moveTo>
                <a:cubicBezTo>
                  <a:pt x="339" y="268"/>
                  <a:pt x="339" y="268"/>
                  <a:pt x="339" y="268"/>
                </a:cubicBezTo>
                <a:cubicBezTo>
                  <a:pt x="339" y="268"/>
                  <a:pt x="340" y="268"/>
                  <a:pt x="340" y="268"/>
                </a:cubicBezTo>
                <a:cubicBezTo>
                  <a:pt x="372" y="268"/>
                  <a:pt x="398" y="241"/>
                  <a:pt x="398" y="209"/>
                </a:cubicBezTo>
                <a:cubicBezTo>
                  <a:pt x="398" y="176"/>
                  <a:pt x="372" y="150"/>
                  <a:pt x="339" y="150"/>
                </a:cubicBezTo>
                <a:cubicBezTo>
                  <a:pt x="335" y="150"/>
                  <a:pt x="332" y="146"/>
                  <a:pt x="332" y="142"/>
                </a:cubicBezTo>
                <a:cubicBezTo>
                  <a:pt x="332" y="110"/>
                  <a:pt x="305" y="83"/>
                  <a:pt x="273" y="83"/>
                </a:cubicBezTo>
                <a:cubicBezTo>
                  <a:pt x="271" y="83"/>
                  <a:pt x="270" y="83"/>
                  <a:pt x="268" y="84"/>
                </a:cubicBezTo>
                <a:cubicBezTo>
                  <a:pt x="265" y="84"/>
                  <a:pt x="262" y="82"/>
                  <a:pt x="261" y="79"/>
                </a:cubicBezTo>
                <a:cubicBezTo>
                  <a:pt x="248" y="40"/>
                  <a:pt x="213" y="15"/>
                  <a:pt x="173" y="15"/>
                </a:cubicBezTo>
                <a:cubicBezTo>
                  <a:pt x="122" y="15"/>
                  <a:pt x="81" y="56"/>
                  <a:pt x="81" y="107"/>
                </a:cubicBezTo>
                <a:cubicBezTo>
                  <a:pt x="81" y="118"/>
                  <a:pt x="83" y="129"/>
                  <a:pt x="87" y="140"/>
                </a:cubicBezTo>
                <a:cubicBezTo>
                  <a:pt x="88" y="142"/>
                  <a:pt x="87" y="145"/>
                  <a:pt x="86" y="147"/>
                </a:cubicBezTo>
                <a:cubicBezTo>
                  <a:pt x="84" y="149"/>
                  <a:pt x="82" y="150"/>
                  <a:pt x="79" y="150"/>
                </a:cubicBezTo>
                <a:cubicBezTo>
                  <a:pt x="77" y="150"/>
                  <a:pt x="75" y="150"/>
                  <a:pt x="73" y="150"/>
                </a:cubicBezTo>
                <a:cubicBezTo>
                  <a:pt x="41" y="150"/>
                  <a:pt x="14" y="176"/>
                  <a:pt x="14" y="209"/>
                </a:cubicBezTo>
                <a:cubicBezTo>
                  <a:pt x="14" y="241"/>
                  <a:pt x="41" y="268"/>
                  <a:pt x="73" y="268"/>
                </a:cubicBezTo>
                <a:cubicBezTo>
                  <a:pt x="73" y="268"/>
                  <a:pt x="73" y="268"/>
                  <a:pt x="73" y="268"/>
                </a:cubicBezTo>
                <a:close/>
              </a:path>
            </a:pathLst>
          </a:custGeom>
          <a:solidFill>
            <a:srgbClr val="FFFFFF"/>
          </a:solidFill>
          <a:ln>
            <a:noFill/>
          </a:ln>
        </p:spPr>
        <p:txBody>
          <a:bodyPr vert="horz" wrap="square" lIns="68571" tIns="34286" rIns="68571" bIns="34286" numCol="1" anchor="t" anchorCtr="0" compatLnSpc="1">
            <a:prstTxWarp prst="textNoShape">
              <a:avLst/>
            </a:prstTxWarp>
          </a:bodyPr>
          <a:lstStyle/>
          <a:p>
            <a:endParaRPr lang="en-US"/>
          </a:p>
        </p:txBody>
      </p:sp>
      <p:sp>
        <p:nvSpPr>
          <p:cNvPr id="196" name="Freeform 78"/>
          <p:cNvSpPr>
            <a:spLocks noEditPoints="1"/>
          </p:cNvSpPr>
          <p:nvPr/>
        </p:nvSpPr>
        <p:spPr bwMode="auto">
          <a:xfrm>
            <a:off x="4226157" y="2473852"/>
            <a:ext cx="409671" cy="409565"/>
          </a:xfrm>
          <a:custGeom>
            <a:avLst/>
            <a:gdLst>
              <a:gd name="T0" fmla="*/ 174 w 347"/>
              <a:gd name="T1" fmla="*/ 0 h 347"/>
              <a:gd name="T2" fmla="*/ 0 w 347"/>
              <a:gd name="T3" fmla="*/ 174 h 347"/>
              <a:gd name="T4" fmla="*/ 174 w 347"/>
              <a:gd name="T5" fmla="*/ 347 h 347"/>
              <a:gd name="T6" fmla="*/ 347 w 347"/>
              <a:gd name="T7" fmla="*/ 174 h 347"/>
              <a:gd name="T8" fmla="*/ 174 w 347"/>
              <a:gd name="T9" fmla="*/ 0 h 347"/>
              <a:gd name="T10" fmla="*/ 332 w 347"/>
              <a:gd name="T11" fmla="*/ 166 h 347"/>
              <a:gd name="T12" fmla="*/ 283 w 347"/>
              <a:gd name="T13" fmla="*/ 166 h 347"/>
              <a:gd name="T14" fmla="*/ 231 w 347"/>
              <a:gd name="T15" fmla="*/ 26 h 347"/>
              <a:gd name="T16" fmla="*/ 332 w 347"/>
              <a:gd name="T17" fmla="*/ 166 h 347"/>
              <a:gd name="T18" fmla="*/ 174 w 347"/>
              <a:gd name="T19" fmla="*/ 332 h 347"/>
              <a:gd name="T20" fmla="*/ 147 w 347"/>
              <a:gd name="T21" fmla="*/ 181 h 347"/>
              <a:gd name="T22" fmla="*/ 200 w 347"/>
              <a:gd name="T23" fmla="*/ 181 h 347"/>
              <a:gd name="T24" fmla="*/ 174 w 347"/>
              <a:gd name="T25" fmla="*/ 332 h 347"/>
              <a:gd name="T26" fmla="*/ 147 w 347"/>
              <a:gd name="T27" fmla="*/ 166 h 347"/>
              <a:gd name="T28" fmla="*/ 174 w 347"/>
              <a:gd name="T29" fmla="*/ 15 h 347"/>
              <a:gd name="T30" fmla="*/ 174 w 347"/>
              <a:gd name="T31" fmla="*/ 15 h 347"/>
              <a:gd name="T32" fmla="*/ 200 w 347"/>
              <a:gd name="T33" fmla="*/ 166 h 347"/>
              <a:gd name="T34" fmla="*/ 147 w 347"/>
              <a:gd name="T35" fmla="*/ 166 h 347"/>
              <a:gd name="T36" fmla="*/ 153 w 347"/>
              <a:gd name="T37" fmla="*/ 19 h 347"/>
              <a:gd name="T38" fmla="*/ 133 w 347"/>
              <a:gd name="T39" fmla="*/ 166 h 347"/>
              <a:gd name="T40" fmla="*/ 79 w 347"/>
              <a:gd name="T41" fmla="*/ 166 h 347"/>
              <a:gd name="T42" fmla="*/ 153 w 347"/>
              <a:gd name="T43" fmla="*/ 19 h 347"/>
              <a:gd name="T44" fmla="*/ 133 w 347"/>
              <a:gd name="T45" fmla="*/ 181 h 347"/>
              <a:gd name="T46" fmla="*/ 153 w 347"/>
              <a:gd name="T47" fmla="*/ 329 h 347"/>
              <a:gd name="T48" fmla="*/ 79 w 347"/>
              <a:gd name="T49" fmla="*/ 181 h 347"/>
              <a:gd name="T50" fmla="*/ 133 w 347"/>
              <a:gd name="T51" fmla="*/ 181 h 347"/>
              <a:gd name="T52" fmla="*/ 194 w 347"/>
              <a:gd name="T53" fmla="*/ 329 h 347"/>
              <a:gd name="T54" fmla="*/ 215 w 347"/>
              <a:gd name="T55" fmla="*/ 181 h 347"/>
              <a:gd name="T56" fmla="*/ 268 w 347"/>
              <a:gd name="T57" fmla="*/ 181 h 347"/>
              <a:gd name="T58" fmla="*/ 194 w 347"/>
              <a:gd name="T59" fmla="*/ 329 h 347"/>
              <a:gd name="T60" fmla="*/ 215 w 347"/>
              <a:gd name="T61" fmla="*/ 166 h 347"/>
              <a:gd name="T62" fmla="*/ 194 w 347"/>
              <a:gd name="T63" fmla="*/ 19 h 347"/>
              <a:gd name="T64" fmla="*/ 268 w 347"/>
              <a:gd name="T65" fmla="*/ 166 h 347"/>
              <a:gd name="T66" fmla="*/ 215 w 347"/>
              <a:gd name="T67" fmla="*/ 166 h 347"/>
              <a:gd name="T68" fmla="*/ 117 w 347"/>
              <a:gd name="T69" fmla="*/ 26 h 347"/>
              <a:gd name="T70" fmla="*/ 64 w 347"/>
              <a:gd name="T71" fmla="*/ 166 h 347"/>
              <a:gd name="T72" fmla="*/ 15 w 347"/>
              <a:gd name="T73" fmla="*/ 166 h 347"/>
              <a:gd name="T74" fmla="*/ 117 w 347"/>
              <a:gd name="T75" fmla="*/ 26 h 347"/>
              <a:gd name="T76" fmla="*/ 15 w 347"/>
              <a:gd name="T77" fmla="*/ 181 h 347"/>
              <a:gd name="T78" fmla="*/ 64 w 347"/>
              <a:gd name="T79" fmla="*/ 181 h 347"/>
              <a:gd name="T80" fmla="*/ 117 w 347"/>
              <a:gd name="T81" fmla="*/ 322 h 347"/>
              <a:gd name="T82" fmla="*/ 15 w 347"/>
              <a:gd name="T83" fmla="*/ 181 h 347"/>
              <a:gd name="T84" fmla="*/ 231 w 347"/>
              <a:gd name="T85" fmla="*/ 322 h 347"/>
              <a:gd name="T86" fmla="*/ 283 w 347"/>
              <a:gd name="T87" fmla="*/ 181 h 347"/>
              <a:gd name="T88" fmla="*/ 332 w 347"/>
              <a:gd name="T89" fmla="*/ 181 h 347"/>
              <a:gd name="T90" fmla="*/ 231 w 347"/>
              <a:gd name="T91" fmla="*/ 322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7" h="347">
                <a:moveTo>
                  <a:pt x="174" y="0"/>
                </a:moveTo>
                <a:cubicBezTo>
                  <a:pt x="78" y="0"/>
                  <a:pt x="0" y="78"/>
                  <a:pt x="0" y="174"/>
                </a:cubicBezTo>
                <a:cubicBezTo>
                  <a:pt x="0" y="269"/>
                  <a:pt x="78" y="347"/>
                  <a:pt x="174" y="347"/>
                </a:cubicBezTo>
                <a:cubicBezTo>
                  <a:pt x="269" y="347"/>
                  <a:pt x="347" y="269"/>
                  <a:pt x="347" y="174"/>
                </a:cubicBezTo>
                <a:cubicBezTo>
                  <a:pt x="347" y="78"/>
                  <a:pt x="269" y="0"/>
                  <a:pt x="174" y="0"/>
                </a:cubicBezTo>
                <a:close/>
                <a:moveTo>
                  <a:pt x="332" y="166"/>
                </a:moveTo>
                <a:cubicBezTo>
                  <a:pt x="283" y="166"/>
                  <a:pt x="283" y="166"/>
                  <a:pt x="283" y="166"/>
                </a:cubicBezTo>
                <a:cubicBezTo>
                  <a:pt x="281" y="107"/>
                  <a:pt x="261" y="55"/>
                  <a:pt x="231" y="26"/>
                </a:cubicBezTo>
                <a:cubicBezTo>
                  <a:pt x="288" y="48"/>
                  <a:pt x="329" y="102"/>
                  <a:pt x="332" y="166"/>
                </a:cubicBezTo>
                <a:close/>
                <a:moveTo>
                  <a:pt x="174" y="332"/>
                </a:moveTo>
                <a:cubicBezTo>
                  <a:pt x="165" y="330"/>
                  <a:pt x="148" y="277"/>
                  <a:pt x="147" y="181"/>
                </a:cubicBezTo>
                <a:cubicBezTo>
                  <a:pt x="200" y="181"/>
                  <a:pt x="200" y="181"/>
                  <a:pt x="200" y="181"/>
                </a:cubicBezTo>
                <a:cubicBezTo>
                  <a:pt x="199" y="277"/>
                  <a:pt x="183" y="330"/>
                  <a:pt x="174" y="332"/>
                </a:cubicBezTo>
                <a:close/>
                <a:moveTo>
                  <a:pt x="147" y="166"/>
                </a:moveTo>
                <a:cubicBezTo>
                  <a:pt x="148" y="70"/>
                  <a:pt x="165" y="17"/>
                  <a:pt x="174" y="15"/>
                </a:cubicBezTo>
                <a:cubicBezTo>
                  <a:pt x="174" y="15"/>
                  <a:pt x="174" y="15"/>
                  <a:pt x="174" y="15"/>
                </a:cubicBezTo>
                <a:cubicBezTo>
                  <a:pt x="183" y="17"/>
                  <a:pt x="199" y="70"/>
                  <a:pt x="200" y="166"/>
                </a:cubicBezTo>
                <a:lnTo>
                  <a:pt x="147" y="166"/>
                </a:lnTo>
                <a:close/>
                <a:moveTo>
                  <a:pt x="153" y="19"/>
                </a:moveTo>
                <a:cubicBezTo>
                  <a:pt x="138" y="51"/>
                  <a:pt x="133" y="118"/>
                  <a:pt x="133" y="166"/>
                </a:cubicBezTo>
                <a:cubicBezTo>
                  <a:pt x="79" y="166"/>
                  <a:pt x="79" y="166"/>
                  <a:pt x="79" y="166"/>
                </a:cubicBezTo>
                <a:cubicBezTo>
                  <a:pt x="81" y="94"/>
                  <a:pt x="112" y="34"/>
                  <a:pt x="153" y="19"/>
                </a:cubicBezTo>
                <a:close/>
                <a:moveTo>
                  <a:pt x="133" y="181"/>
                </a:moveTo>
                <a:cubicBezTo>
                  <a:pt x="133" y="229"/>
                  <a:pt x="138" y="296"/>
                  <a:pt x="153" y="329"/>
                </a:cubicBezTo>
                <a:cubicBezTo>
                  <a:pt x="112" y="313"/>
                  <a:pt x="81" y="254"/>
                  <a:pt x="79" y="181"/>
                </a:cubicBezTo>
                <a:lnTo>
                  <a:pt x="133" y="181"/>
                </a:lnTo>
                <a:close/>
                <a:moveTo>
                  <a:pt x="194" y="329"/>
                </a:moveTo>
                <a:cubicBezTo>
                  <a:pt x="209" y="296"/>
                  <a:pt x="214" y="229"/>
                  <a:pt x="215" y="181"/>
                </a:cubicBezTo>
                <a:cubicBezTo>
                  <a:pt x="268" y="181"/>
                  <a:pt x="268" y="181"/>
                  <a:pt x="268" y="181"/>
                </a:cubicBezTo>
                <a:cubicBezTo>
                  <a:pt x="266" y="254"/>
                  <a:pt x="235" y="313"/>
                  <a:pt x="194" y="329"/>
                </a:cubicBezTo>
                <a:close/>
                <a:moveTo>
                  <a:pt x="215" y="166"/>
                </a:moveTo>
                <a:cubicBezTo>
                  <a:pt x="214" y="118"/>
                  <a:pt x="209" y="51"/>
                  <a:pt x="194" y="19"/>
                </a:cubicBezTo>
                <a:cubicBezTo>
                  <a:pt x="235" y="34"/>
                  <a:pt x="266" y="94"/>
                  <a:pt x="268" y="166"/>
                </a:cubicBezTo>
                <a:lnTo>
                  <a:pt x="215" y="166"/>
                </a:lnTo>
                <a:close/>
                <a:moveTo>
                  <a:pt x="117" y="26"/>
                </a:moveTo>
                <a:cubicBezTo>
                  <a:pt x="87" y="55"/>
                  <a:pt x="66" y="107"/>
                  <a:pt x="64" y="166"/>
                </a:cubicBezTo>
                <a:cubicBezTo>
                  <a:pt x="15" y="166"/>
                  <a:pt x="15" y="166"/>
                  <a:pt x="15" y="166"/>
                </a:cubicBezTo>
                <a:cubicBezTo>
                  <a:pt x="18" y="102"/>
                  <a:pt x="59" y="48"/>
                  <a:pt x="117" y="26"/>
                </a:cubicBezTo>
                <a:close/>
                <a:moveTo>
                  <a:pt x="15" y="181"/>
                </a:moveTo>
                <a:cubicBezTo>
                  <a:pt x="64" y="181"/>
                  <a:pt x="64" y="181"/>
                  <a:pt x="64" y="181"/>
                </a:cubicBezTo>
                <a:cubicBezTo>
                  <a:pt x="66" y="241"/>
                  <a:pt x="87" y="292"/>
                  <a:pt x="117" y="322"/>
                </a:cubicBezTo>
                <a:cubicBezTo>
                  <a:pt x="59" y="300"/>
                  <a:pt x="18" y="245"/>
                  <a:pt x="15" y="181"/>
                </a:cubicBezTo>
                <a:close/>
                <a:moveTo>
                  <a:pt x="231" y="322"/>
                </a:moveTo>
                <a:cubicBezTo>
                  <a:pt x="261" y="292"/>
                  <a:pt x="281" y="241"/>
                  <a:pt x="283" y="181"/>
                </a:cubicBezTo>
                <a:cubicBezTo>
                  <a:pt x="332" y="181"/>
                  <a:pt x="332" y="181"/>
                  <a:pt x="332" y="181"/>
                </a:cubicBezTo>
                <a:cubicBezTo>
                  <a:pt x="329" y="245"/>
                  <a:pt x="288" y="300"/>
                  <a:pt x="231" y="322"/>
                </a:cubicBezTo>
                <a:close/>
              </a:path>
            </a:pathLst>
          </a:custGeom>
          <a:solidFill>
            <a:srgbClr val="FFFFFF"/>
          </a:solidFill>
          <a:ln>
            <a:noFill/>
          </a:ln>
        </p:spPr>
        <p:txBody>
          <a:bodyPr vert="horz" wrap="square" lIns="68571" tIns="34286" rIns="68571" bIns="34286" numCol="1" anchor="t" anchorCtr="0" compatLnSpc="1">
            <a:prstTxWarp prst="textNoShape">
              <a:avLst/>
            </a:prstTxWarp>
          </a:bodyPr>
          <a:lstStyle/>
          <a:p>
            <a:endParaRPr lang="en-US"/>
          </a:p>
        </p:txBody>
      </p:sp>
      <p:sp>
        <p:nvSpPr>
          <p:cNvPr id="197" name="Freeform 79"/>
          <p:cNvSpPr>
            <a:spLocks noEditPoints="1"/>
          </p:cNvSpPr>
          <p:nvPr/>
        </p:nvSpPr>
        <p:spPr bwMode="auto">
          <a:xfrm>
            <a:off x="1477014" y="2454618"/>
            <a:ext cx="487608" cy="448024"/>
          </a:xfrm>
          <a:custGeom>
            <a:avLst/>
            <a:gdLst>
              <a:gd name="T0" fmla="*/ 406 w 413"/>
              <a:gd name="T1" fmla="*/ 0 h 380"/>
              <a:gd name="T2" fmla="*/ 7 w 413"/>
              <a:gd name="T3" fmla="*/ 0 h 380"/>
              <a:gd name="T4" fmla="*/ 0 w 413"/>
              <a:gd name="T5" fmla="*/ 7 h 380"/>
              <a:gd name="T6" fmla="*/ 0 w 413"/>
              <a:gd name="T7" fmla="*/ 273 h 380"/>
              <a:gd name="T8" fmla="*/ 7 w 413"/>
              <a:gd name="T9" fmla="*/ 281 h 380"/>
              <a:gd name="T10" fmla="*/ 133 w 413"/>
              <a:gd name="T11" fmla="*/ 281 h 380"/>
              <a:gd name="T12" fmla="*/ 133 w 413"/>
              <a:gd name="T13" fmla="*/ 332 h 380"/>
              <a:gd name="T14" fmla="*/ 73 w 413"/>
              <a:gd name="T15" fmla="*/ 332 h 380"/>
              <a:gd name="T16" fmla="*/ 65 w 413"/>
              <a:gd name="T17" fmla="*/ 340 h 380"/>
              <a:gd name="T18" fmla="*/ 65 w 413"/>
              <a:gd name="T19" fmla="*/ 373 h 380"/>
              <a:gd name="T20" fmla="*/ 73 w 413"/>
              <a:gd name="T21" fmla="*/ 380 h 380"/>
              <a:gd name="T22" fmla="*/ 339 w 413"/>
              <a:gd name="T23" fmla="*/ 380 h 380"/>
              <a:gd name="T24" fmla="*/ 346 w 413"/>
              <a:gd name="T25" fmla="*/ 373 h 380"/>
              <a:gd name="T26" fmla="*/ 346 w 413"/>
              <a:gd name="T27" fmla="*/ 340 h 380"/>
              <a:gd name="T28" fmla="*/ 339 w 413"/>
              <a:gd name="T29" fmla="*/ 332 h 380"/>
              <a:gd name="T30" fmla="*/ 280 w 413"/>
              <a:gd name="T31" fmla="*/ 332 h 380"/>
              <a:gd name="T32" fmla="*/ 280 w 413"/>
              <a:gd name="T33" fmla="*/ 281 h 380"/>
              <a:gd name="T34" fmla="*/ 406 w 413"/>
              <a:gd name="T35" fmla="*/ 281 h 380"/>
              <a:gd name="T36" fmla="*/ 413 w 413"/>
              <a:gd name="T37" fmla="*/ 273 h 380"/>
              <a:gd name="T38" fmla="*/ 413 w 413"/>
              <a:gd name="T39" fmla="*/ 7 h 380"/>
              <a:gd name="T40" fmla="*/ 406 w 413"/>
              <a:gd name="T41" fmla="*/ 0 h 380"/>
              <a:gd name="T42" fmla="*/ 331 w 413"/>
              <a:gd name="T43" fmla="*/ 366 h 380"/>
              <a:gd name="T44" fmla="*/ 80 w 413"/>
              <a:gd name="T45" fmla="*/ 366 h 380"/>
              <a:gd name="T46" fmla="*/ 80 w 413"/>
              <a:gd name="T47" fmla="*/ 347 h 380"/>
              <a:gd name="T48" fmla="*/ 331 w 413"/>
              <a:gd name="T49" fmla="*/ 347 h 380"/>
              <a:gd name="T50" fmla="*/ 331 w 413"/>
              <a:gd name="T51" fmla="*/ 366 h 380"/>
              <a:gd name="T52" fmla="*/ 266 w 413"/>
              <a:gd name="T53" fmla="*/ 332 h 380"/>
              <a:gd name="T54" fmla="*/ 148 w 413"/>
              <a:gd name="T55" fmla="*/ 332 h 380"/>
              <a:gd name="T56" fmla="*/ 148 w 413"/>
              <a:gd name="T57" fmla="*/ 281 h 380"/>
              <a:gd name="T58" fmla="*/ 266 w 413"/>
              <a:gd name="T59" fmla="*/ 281 h 380"/>
              <a:gd name="T60" fmla="*/ 266 w 413"/>
              <a:gd name="T61" fmla="*/ 332 h 380"/>
              <a:gd name="T62" fmla="*/ 399 w 413"/>
              <a:gd name="T63" fmla="*/ 266 h 380"/>
              <a:gd name="T64" fmla="*/ 15 w 413"/>
              <a:gd name="T65" fmla="*/ 266 h 380"/>
              <a:gd name="T66" fmla="*/ 15 w 413"/>
              <a:gd name="T67" fmla="*/ 15 h 380"/>
              <a:gd name="T68" fmla="*/ 399 w 413"/>
              <a:gd name="T69" fmla="*/ 15 h 380"/>
              <a:gd name="T70" fmla="*/ 399 w 413"/>
              <a:gd name="T71" fmla="*/ 266 h 380"/>
              <a:gd name="T72" fmla="*/ 40 w 413"/>
              <a:gd name="T73" fmla="*/ 247 h 380"/>
              <a:gd name="T74" fmla="*/ 373 w 413"/>
              <a:gd name="T75" fmla="*/ 247 h 380"/>
              <a:gd name="T76" fmla="*/ 381 w 413"/>
              <a:gd name="T77" fmla="*/ 240 h 380"/>
              <a:gd name="T78" fmla="*/ 381 w 413"/>
              <a:gd name="T79" fmla="*/ 41 h 380"/>
              <a:gd name="T80" fmla="*/ 373 w 413"/>
              <a:gd name="T81" fmla="*/ 33 h 380"/>
              <a:gd name="T82" fmla="*/ 40 w 413"/>
              <a:gd name="T83" fmla="*/ 33 h 380"/>
              <a:gd name="T84" fmla="*/ 33 w 413"/>
              <a:gd name="T85" fmla="*/ 41 h 380"/>
              <a:gd name="T86" fmla="*/ 33 w 413"/>
              <a:gd name="T87" fmla="*/ 240 h 380"/>
              <a:gd name="T88" fmla="*/ 40 w 413"/>
              <a:gd name="T89" fmla="*/ 247 h 380"/>
              <a:gd name="T90" fmla="*/ 47 w 413"/>
              <a:gd name="T91" fmla="*/ 48 h 380"/>
              <a:gd name="T92" fmla="*/ 366 w 413"/>
              <a:gd name="T93" fmla="*/ 48 h 380"/>
              <a:gd name="T94" fmla="*/ 366 w 413"/>
              <a:gd name="T95" fmla="*/ 233 h 380"/>
              <a:gd name="T96" fmla="*/ 47 w 413"/>
              <a:gd name="T97" fmla="*/ 233 h 380"/>
              <a:gd name="T98" fmla="*/ 47 w 413"/>
              <a:gd name="T99" fmla="*/ 48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3" h="380">
                <a:moveTo>
                  <a:pt x="406" y="0"/>
                </a:moveTo>
                <a:cubicBezTo>
                  <a:pt x="7" y="0"/>
                  <a:pt x="7" y="0"/>
                  <a:pt x="7" y="0"/>
                </a:cubicBezTo>
                <a:cubicBezTo>
                  <a:pt x="3" y="0"/>
                  <a:pt x="0" y="3"/>
                  <a:pt x="0" y="7"/>
                </a:cubicBezTo>
                <a:cubicBezTo>
                  <a:pt x="0" y="273"/>
                  <a:pt x="0" y="273"/>
                  <a:pt x="0" y="273"/>
                </a:cubicBezTo>
                <a:cubicBezTo>
                  <a:pt x="0" y="277"/>
                  <a:pt x="3" y="281"/>
                  <a:pt x="7" y="281"/>
                </a:cubicBezTo>
                <a:cubicBezTo>
                  <a:pt x="133" y="281"/>
                  <a:pt x="133" y="281"/>
                  <a:pt x="133" y="281"/>
                </a:cubicBezTo>
                <a:cubicBezTo>
                  <a:pt x="133" y="332"/>
                  <a:pt x="133" y="332"/>
                  <a:pt x="133" y="332"/>
                </a:cubicBezTo>
                <a:cubicBezTo>
                  <a:pt x="73" y="332"/>
                  <a:pt x="73" y="332"/>
                  <a:pt x="73" y="332"/>
                </a:cubicBezTo>
                <a:cubicBezTo>
                  <a:pt x="69" y="332"/>
                  <a:pt x="65" y="336"/>
                  <a:pt x="65" y="340"/>
                </a:cubicBezTo>
                <a:cubicBezTo>
                  <a:pt x="65" y="373"/>
                  <a:pt x="65" y="373"/>
                  <a:pt x="65" y="373"/>
                </a:cubicBezTo>
                <a:cubicBezTo>
                  <a:pt x="65" y="377"/>
                  <a:pt x="69" y="380"/>
                  <a:pt x="73" y="380"/>
                </a:cubicBezTo>
                <a:cubicBezTo>
                  <a:pt x="339" y="380"/>
                  <a:pt x="339" y="380"/>
                  <a:pt x="339" y="380"/>
                </a:cubicBezTo>
                <a:cubicBezTo>
                  <a:pt x="343" y="380"/>
                  <a:pt x="346" y="377"/>
                  <a:pt x="346" y="373"/>
                </a:cubicBezTo>
                <a:cubicBezTo>
                  <a:pt x="346" y="340"/>
                  <a:pt x="346" y="340"/>
                  <a:pt x="346" y="340"/>
                </a:cubicBezTo>
                <a:cubicBezTo>
                  <a:pt x="346" y="336"/>
                  <a:pt x="343" y="332"/>
                  <a:pt x="339" y="332"/>
                </a:cubicBezTo>
                <a:cubicBezTo>
                  <a:pt x="280" y="332"/>
                  <a:pt x="280" y="332"/>
                  <a:pt x="280" y="332"/>
                </a:cubicBezTo>
                <a:cubicBezTo>
                  <a:pt x="280" y="281"/>
                  <a:pt x="280" y="281"/>
                  <a:pt x="280" y="281"/>
                </a:cubicBezTo>
                <a:cubicBezTo>
                  <a:pt x="406" y="281"/>
                  <a:pt x="406" y="281"/>
                  <a:pt x="406" y="281"/>
                </a:cubicBezTo>
                <a:cubicBezTo>
                  <a:pt x="410" y="281"/>
                  <a:pt x="413" y="277"/>
                  <a:pt x="413" y="273"/>
                </a:cubicBezTo>
                <a:cubicBezTo>
                  <a:pt x="413" y="7"/>
                  <a:pt x="413" y="7"/>
                  <a:pt x="413" y="7"/>
                </a:cubicBezTo>
                <a:cubicBezTo>
                  <a:pt x="413" y="3"/>
                  <a:pt x="410" y="0"/>
                  <a:pt x="406" y="0"/>
                </a:cubicBezTo>
                <a:close/>
                <a:moveTo>
                  <a:pt x="331" y="366"/>
                </a:moveTo>
                <a:cubicBezTo>
                  <a:pt x="80" y="366"/>
                  <a:pt x="80" y="366"/>
                  <a:pt x="80" y="366"/>
                </a:cubicBezTo>
                <a:cubicBezTo>
                  <a:pt x="80" y="347"/>
                  <a:pt x="80" y="347"/>
                  <a:pt x="80" y="347"/>
                </a:cubicBezTo>
                <a:cubicBezTo>
                  <a:pt x="331" y="347"/>
                  <a:pt x="331" y="347"/>
                  <a:pt x="331" y="347"/>
                </a:cubicBezTo>
                <a:lnTo>
                  <a:pt x="331" y="366"/>
                </a:lnTo>
                <a:close/>
                <a:moveTo>
                  <a:pt x="266" y="332"/>
                </a:moveTo>
                <a:cubicBezTo>
                  <a:pt x="148" y="332"/>
                  <a:pt x="148" y="332"/>
                  <a:pt x="148" y="332"/>
                </a:cubicBezTo>
                <a:cubicBezTo>
                  <a:pt x="148" y="281"/>
                  <a:pt x="148" y="281"/>
                  <a:pt x="148" y="281"/>
                </a:cubicBezTo>
                <a:cubicBezTo>
                  <a:pt x="266" y="281"/>
                  <a:pt x="266" y="281"/>
                  <a:pt x="266" y="281"/>
                </a:cubicBezTo>
                <a:lnTo>
                  <a:pt x="266" y="332"/>
                </a:lnTo>
                <a:close/>
                <a:moveTo>
                  <a:pt x="399" y="266"/>
                </a:moveTo>
                <a:cubicBezTo>
                  <a:pt x="15" y="266"/>
                  <a:pt x="15" y="266"/>
                  <a:pt x="15" y="266"/>
                </a:cubicBezTo>
                <a:cubicBezTo>
                  <a:pt x="15" y="15"/>
                  <a:pt x="15" y="15"/>
                  <a:pt x="15" y="15"/>
                </a:cubicBezTo>
                <a:cubicBezTo>
                  <a:pt x="399" y="15"/>
                  <a:pt x="399" y="15"/>
                  <a:pt x="399" y="15"/>
                </a:cubicBezTo>
                <a:lnTo>
                  <a:pt x="399" y="266"/>
                </a:lnTo>
                <a:close/>
                <a:moveTo>
                  <a:pt x="40" y="247"/>
                </a:moveTo>
                <a:cubicBezTo>
                  <a:pt x="373" y="247"/>
                  <a:pt x="373" y="247"/>
                  <a:pt x="373" y="247"/>
                </a:cubicBezTo>
                <a:cubicBezTo>
                  <a:pt x="377" y="247"/>
                  <a:pt x="381" y="244"/>
                  <a:pt x="381" y="240"/>
                </a:cubicBezTo>
                <a:cubicBezTo>
                  <a:pt x="381" y="41"/>
                  <a:pt x="381" y="41"/>
                  <a:pt x="381" y="41"/>
                </a:cubicBezTo>
                <a:cubicBezTo>
                  <a:pt x="381" y="37"/>
                  <a:pt x="377" y="33"/>
                  <a:pt x="373" y="33"/>
                </a:cubicBezTo>
                <a:cubicBezTo>
                  <a:pt x="40" y="33"/>
                  <a:pt x="40" y="33"/>
                  <a:pt x="40" y="33"/>
                </a:cubicBezTo>
                <a:cubicBezTo>
                  <a:pt x="36" y="33"/>
                  <a:pt x="33" y="37"/>
                  <a:pt x="33" y="41"/>
                </a:cubicBezTo>
                <a:cubicBezTo>
                  <a:pt x="33" y="240"/>
                  <a:pt x="33" y="240"/>
                  <a:pt x="33" y="240"/>
                </a:cubicBezTo>
                <a:cubicBezTo>
                  <a:pt x="33" y="244"/>
                  <a:pt x="36" y="247"/>
                  <a:pt x="40" y="247"/>
                </a:cubicBezTo>
                <a:close/>
                <a:moveTo>
                  <a:pt x="47" y="48"/>
                </a:moveTo>
                <a:cubicBezTo>
                  <a:pt x="366" y="48"/>
                  <a:pt x="366" y="48"/>
                  <a:pt x="366" y="48"/>
                </a:cubicBezTo>
                <a:cubicBezTo>
                  <a:pt x="366" y="233"/>
                  <a:pt x="366" y="233"/>
                  <a:pt x="366" y="233"/>
                </a:cubicBezTo>
                <a:cubicBezTo>
                  <a:pt x="47" y="233"/>
                  <a:pt x="47" y="233"/>
                  <a:pt x="47" y="233"/>
                </a:cubicBezTo>
                <a:lnTo>
                  <a:pt x="47" y="48"/>
                </a:lnTo>
                <a:close/>
              </a:path>
            </a:pathLst>
          </a:custGeom>
          <a:solidFill>
            <a:srgbClr val="FFFFFF"/>
          </a:solidFill>
          <a:ln>
            <a:noFill/>
          </a:ln>
        </p:spPr>
        <p:txBody>
          <a:bodyPr vert="horz" wrap="square" lIns="68571" tIns="34286" rIns="68571" bIns="34286" numCol="1" anchor="t" anchorCtr="0" compatLnSpc="1">
            <a:prstTxWarp prst="textNoShape">
              <a:avLst/>
            </a:prstTxWarp>
          </a:bodyPr>
          <a:lstStyle/>
          <a:p>
            <a:endParaRPr lang="en-US"/>
          </a:p>
        </p:txBody>
      </p:sp>
      <p:sp>
        <p:nvSpPr>
          <p:cNvPr id="198" name="Freeform 80"/>
          <p:cNvSpPr>
            <a:spLocks noEditPoints="1"/>
          </p:cNvSpPr>
          <p:nvPr/>
        </p:nvSpPr>
        <p:spPr bwMode="auto">
          <a:xfrm>
            <a:off x="3362485" y="2435143"/>
            <a:ext cx="330234" cy="486983"/>
          </a:xfrm>
          <a:custGeom>
            <a:avLst/>
            <a:gdLst>
              <a:gd name="T0" fmla="*/ 273 w 280"/>
              <a:gd name="T1" fmla="*/ 0 h 413"/>
              <a:gd name="T2" fmla="*/ 7 w 280"/>
              <a:gd name="T3" fmla="*/ 0 h 413"/>
              <a:gd name="T4" fmla="*/ 0 w 280"/>
              <a:gd name="T5" fmla="*/ 7 h 413"/>
              <a:gd name="T6" fmla="*/ 0 w 280"/>
              <a:gd name="T7" fmla="*/ 406 h 413"/>
              <a:gd name="T8" fmla="*/ 7 w 280"/>
              <a:gd name="T9" fmla="*/ 413 h 413"/>
              <a:gd name="T10" fmla="*/ 273 w 280"/>
              <a:gd name="T11" fmla="*/ 413 h 413"/>
              <a:gd name="T12" fmla="*/ 280 w 280"/>
              <a:gd name="T13" fmla="*/ 406 h 413"/>
              <a:gd name="T14" fmla="*/ 280 w 280"/>
              <a:gd name="T15" fmla="*/ 7 h 413"/>
              <a:gd name="T16" fmla="*/ 273 w 280"/>
              <a:gd name="T17" fmla="*/ 0 h 413"/>
              <a:gd name="T18" fmla="*/ 266 w 280"/>
              <a:gd name="T19" fmla="*/ 398 h 413"/>
              <a:gd name="T20" fmla="*/ 14 w 280"/>
              <a:gd name="T21" fmla="*/ 398 h 413"/>
              <a:gd name="T22" fmla="*/ 14 w 280"/>
              <a:gd name="T23" fmla="*/ 14 h 413"/>
              <a:gd name="T24" fmla="*/ 266 w 280"/>
              <a:gd name="T25" fmla="*/ 14 h 413"/>
              <a:gd name="T26" fmla="*/ 266 w 280"/>
              <a:gd name="T27" fmla="*/ 398 h 413"/>
              <a:gd name="T28" fmla="*/ 108 w 280"/>
              <a:gd name="T29" fmla="*/ 81 h 413"/>
              <a:gd name="T30" fmla="*/ 174 w 280"/>
              <a:gd name="T31" fmla="*/ 81 h 413"/>
              <a:gd name="T32" fmla="*/ 198 w 280"/>
              <a:gd name="T33" fmla="*/ 57 h 413"/>
              <a:gd name="T34" fmla="*/ 174 w 280"/>
              <a:gd name="T35" fmla="*/ 33 h 413"/>
              <a:gd name="T36" fmla="*/ 108 w 280"/>
              <a:gd name="T37" fmla="*/ 33 h 413"/>
              <a:gd name="T38" fmla="*/ 84 w 280"/>
              <a:gd name="T39" fmla="*/ 57 h 413"/>
              <a:gd name="T40" fmla="*/ 108 w 280"/>
              <a:gd name="T41" fmla="*/ 81 h 413"/>
              <a:gd name="T42" fmla="*/ 108 w 280"/>
              <a:gd name="T43" fmla="*/ 48 h 413"/>
              <a:gd name="T44" fmla="*/ 174 w 280"/>
              <a:gd name="T45" fmla="*/ 48 h 413"/>
              <a:gd name="T46" fmla="*/ 184 w 280"/>
              <a:gd name="T47" fmla="*/ 57 h 413"/>
              <a:gd name="T48" fmla="*/ 174 w 280"/>
              <a:gd name="T49" fmla="*/ 66 h 413"/>
              <a:gd name="T50" fmla="*/ 108 w 280"/>
              <a:gd name="T51" fmla="*/ 66 h 413"/>
              <a:gd name="T52" fmla="*/ 99 w 280"/>
              <a:gd name="T53" fmla="*/ 57 h 413"/>
              <a:gd name="T54" fmla="*/ 108 w 280"/>
              <a:gd name="T55" fmla="*/ 48 h 413"/>
              <a:gd name="T56" fmla="*/ 140 w 280"/>
              <a:gd name="T57" fmla="*/ 207 h 413"/>
              <a:gd name="T58" fmla="*/ 73 w 280"/>
              <a:gd name="T59" fmla="*/ 207 h 413"/>
              <a:gd name="T60" fmla="*/ 73 w 280"/>
              <a:gd name="T61" fmla="*/ 140 h 413"/>
              <a:gd name="T62" fmla="*/ 140 w 280"/>
              <a:gd name="T63" fmla="*/ 140 h 413"/>
              <a:gd name="T64" fmla="*/ 140 w 280"/>
              <a:gd name="T65" fmla="*/ 207 h 413"/>
              <a:gd name="T66" fmla="*/ 206 w 280"/>
              <a:gd name="T67" fmla="*/ 280 h 413"/>
              <a:gd name="T68" fmla="*/ 74 w 280"/>
              <a:gd name="T69" fmla="*/ 280 h 413"/>
              <a:gd name="T70" fmla="*/ 74 w 280"/>
              <a:gd name="T71" fmla="*/ 266 h 413"/>
              <a:gd name="T72" fmla="*/ 206 w 280"/>
              <a:gd name="T73" fmla="*/ 266 h 413"/>
              <a:gd name="T74" fmla="*/ 206 w 280"/>
              <a:gd name="T75" fmla="*/ 280 h 413"/>
              <a:gd name="T76" fmla="*/ 75 w 280"/>
              <a:gd name="T77" fmla="*/ 232 h 413"/>
              <a:gd name="T78" fmla="*/ 207 w 280"/>
              <a:gd name="T79" fmla="*/ 232 h 413"/>
              <a:gd name="T80" fmla="*/ 207 w 280"/>
              <a:gd name="T81" fmla="*/ 247 h 413"/>
              <a:gd name="T82" fmla="*/ 75 w 280"/>
              <a:gd name="T83" fmla="*/ 247 h 413"/>
              <a:gd name="T84" fmla="*/ 75 w 280"/>
              <a:gd name="T85" fmla="*/ 232 h 413"/>
              <a:gd name="T86" fmla="*/ 74 w 280"/>
              <a:gd name="T87" fmla="*/ 313 h 413"/>
              <a:gd name="T88" fmla="*/ 74 w 280"/>
              <a:gd name="T89" fmla="*/ 299 h 413"/>
              <a:gd name="T90" fmla="*/ 206 w 280"/>
              <a:gd name="T91" fmla="*/ 299 h 413"/>
              <a:gd name="T92" fmla="*/ 206 w 280"/>
              <a:gd name="T93" fmla="*/ 313 h 413"/>
              <a:gd name="T94" fmla="*/ 74 w 280"/>
              <a:gd name="T95" fmla="*/ 313 h 413"/>
              <a:gd name="T96" fmla="*/ 206 w 280"/>
              <a:gd name="T97" fmla="*/ 347 h 413"/>
              <a:gd name="T98" fmla="*/ 73 w 280"/>
              <a:gd name="T99" fmla="*/ 347 h 413"/>
              <a:gd name="T100" fmla="*/ 73 w 280"/>
              <a:gd name="T101" fmla="*/ 332 h 413"/>
              <a:gd name="T102" fmla="*/ 206 w 280"/>
              <a:gd name="T103" fmla="*/ 332 h 413"/>
              <a:gd name="T104" fmla="*/ 206 w 280"/>
              <a:gd name="T105" fmla="*/ 347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0" h="413">
                <a:moveTo>
                  <a:pt x="273" y="0"/>
                </a:moveTo>
                <a:cubicBezTo>
                  <a:pt x="7" y="0"/>
                  <a:pt x="7" y="0"/>
                  <a:pt x="7" y="0"/>
                </a:cubicBezTo>
                <a:cubicBezTo>
                  <a:pt x="3" y="0"/>
                  <a:pt x="0" y="3"/>
                  <a:pt x="0" y="7"/>
                </a:cubicBezTo>
                <a:cubicBezTo>
                  <a:pt x="0" y="406"/>
                  <a:pt x="0" y="406"/>
                  <a:pt x="0" y="406"/>
                </a:cubicBezTo>
                <a:cubicBezTo>
                  <a:pt x="0" y="410"/>
                  <a:pt x="3" y="413"/>
                  <a:pt x="7" y="413"/>
                </a:cubicBezTo>
                <a:cubicBezTo>
                  <a:pt x="273" y="413"/>
                  <a:pt x="273" y="413"/>
                  <a:pt x="273" y="413"/>
                </a:cubicBezTo>
                <a:cubicBezTo>
                  <a:pt x="277" y="413"/>
                  <a:pt x="280" y="410"/>
                  <a:pt x="280" y="406"/>
                </a:cubicBezTo>
                <a:cubicBezTo>
                  <a:pt x="280" y="7"/>
                  <a:pt x="280" y="7"/>
                  <a:pt x="280" y="7"/>
                </a:cubicBezTo>
                <a:cubicBezTo>
                  <a:pt x="280" y="3"/>
                  <a:pt x="277" y="0"/>
                  <a:pt x="273" y="0"/>
                </a:cubicBezTo>
                <a:close/>
                <a:moveTo>
                  <a:pt x="266" y="398"/>
                </a:moveTo>
                <a:cubicBezTo>
                  <a:pt x="14" y="398"/>
                  <a:pt x="14" y="398"/>
                  <a:pt x="14" y="398"/>
                </a:cubicBezTo>
                <a:cubicBezTo>
                  <a:pt x="14" y="14"/>
                  <a:pt x="14" y="14"/>
                  <a:pt x="14" y="14"/>
                </a:cubicBezTo>
                <a:cubicBezTo>
                  <a:pt x="266" y="14"/>
                  <a:pt x="266" y="14"/>
                  <a:pt x="266" y="14"/>
                </a:cubicBezTo>
                <a:lnTo>
                  <a:pt x="266" y="398"/>
                </a:lnTo>
                <a:close/>
                <a:moveTo>
                  <a:pt x="108" y="81"/>
                </a:moveTo>
                <a:cubicBezTo>
                  <a:pt x="174" y="81"/>
                  <a:pt x="174" y="81"/>
                  <a:pt x="174" y="81"/>
                </a:cubicBezTo>
                <a:cubicBezTo>
                  <a:pt x="187" y="81"/>
                  <a:pt x="198" y="70"/>
                  <a:pt x="198" y="57"/>
                </a:cubicBezTo>
                <a:cubicBezTo>
                  <a:pt x="198" y="44"/>
                  <a:pt x="187" y="33"/>
                  <a:pt x="174" y="33"/>
                </a:cubicBezTo>
                <a:cubicBezTo>
                  <a:pt x="108" y="33"/>
                  <a:pt x="108" y="33"/>
                  <a:pt x="108" y="33"/>
                </a:cubicBezTo>
                <a:cubicBezTo>
                  <a:pt x="95" y="33"/>
                  <a:pt x="84" y="44"/>
                  <a:pt x="84" y="57"/>
                </a:cubicBezTo>
                <a:cubicBezTo>
                  <a:pt x="84" y="70"/>
                  <a:pt x="95" y="81"/>
                  <a:pt x="108" y="81"/>
                </a:cubicBezTo>
                <a:close/>
                <a:moveTo>
                  <a:pt x="108" y="48"/>
                </a:moveTo>
                <a:cubicBezTo>
                  <a:pt x="174" y="48"/>
                  <a:pt x="174" y="48"/>
                  <a:pt x="174" y="48"/>
                </a:cubicBezTo>
                <a:cubicBezTo>
                  <a:pt x="179" y="48"/>
                  <a:pt x="184" y="52"/>
                  <a:pt x="184" y="57"/>
                </a:cubicBezTo>
                <a:cubicBezTo>
                  <a:pt x="184" y="62"/>
                  <a:pt x="179" y="66"/>
                  <a:pt x="174" y="66"/>
                </a:cubicBezTo>
                <a:cubicBezTo>
                  <a:pt x="108" y="66"/>
                  <a:pt x="108" y="66"/>
                  <a:pt x="108" y="66"/>
                </a:cubicBezTo>
                <a:cubicBezTo>
                  <a:pt x="103" y="66"/>
                  <a:pt x="99" y="62"/>
                  <a:pt x="99" y="57"/>
                </a:cubicBezTo>
                <a:cubicBezTo>
                  <a:pt x="99" y="52"/>
                  <a:pt x="103" y="48"/>
                  <a:pt x="108" y="48"/>
                </a:cubicBezTo>
                <a:close/>
                <a:moveTo>
                  <a:pt x="140" y="207"/>
                </a:moveTo>
                <a:cubicBezTo>
                  <a:pt x="73" y="207"/>
                  <a:pt x="73" y="207"/>
                  <a:pt x="73" y="207"/>
                </a:cubicBezTo>
                <a:cubicBezTo>
                  <a:pt x="73" y="140"/>
                  <a:pt x="73" y="140"/>
                  <a:pt x="73" y="140"/>
                </a:cubicBezTo>
                <a:cubicBezTo>
                  <a:pt x="140" y="140"/>
                  <a:pt x="140" y="140"/>
                  <a:pt x="140" y="140"/>
                </a:cubicBezTo>
                <a:lnTo>
                  <a:pt x="140" y="207"/>
                </a:lnTo>
                <a:close/>
                <a:moveTo>
                  <a:pt x="206" y="280"/>
                </a:moveTo>
                <a:cubicBezTo>
                  <a:pt x="74" y="280"/>
                  <a:pt x="74" y="280"/>
                  <a:pt x="74" y="280"/>
                </a:cubicBezTo>
                <a:cubicBezTo>
                  <a:pt x="74" y="266"/>
                  <a:pt x="74" y="266"/>
                  <a:pt x="74" y="266"/>
                </a:cubicBezTo>
                <a:cubicBezTo>
                  <a:pt x="206" y="266"/>
                  <a:pt x="206" y="266"/>
                  <a:pt x="206" y="266"/>
                </a:cubicBezTo>
                <a:lnTo>
                  <a:pt x="206" y="280"/>
                </a:lnTo>
                <a:close/>
                <a:moveTo>
                  <a:pt x="75" y="232"/>
                </a:moveTo>
                <a:cubicBezTo>
                  <a:pt x="207" y="232"/>
                  <a:pt x="207" y="232"/>
                  <a:pt x="207" y="232"/>
                </a:cubicBezTo>
                <a:cubicBezTo>
                  <a:pt x="207" y="247"/>
                  <a:pt x="207" y="247"/>
                  <a:pt x="207" y="247"/>
                </a:cubicBezTo>
                <a:cubicBezTo>
                  <a:pt x="75" y="247"/>
                  <a:pt x="75" y="247"/>
                  <a:pt x="75" y="247"/>
                </a:cubicBezTo>
                <a:lnTo>
                  <a:pt x="75" y="232"/>
                </a:lnTo>
                <a:close/>
                <a:moveTo>
                  <a:pt x="74" y="313"/>
                </a:moveTo>
                <a:cubicBezTo>
                  <a:pt x="74" y="299"/>
                  <a:pt x="74" y="299"/>
                  <a:pt x="74" y="299"/>
                </a:cubicBezTo>
                <a:cubicBezTo>
                  <a:pt x="206" y="299"/>
                  <a:pt x="206" y="299"/>
                  <a:pt x="206" y="299"/>
                </a:cubicBezTo>
                <a:cubicBezTo>
                  <a:pt x="206" y="313"/>
                  <a:pt x="206" y="313"/>
                  <a:pt x="206" y="313"/>
                </a:cubicBezTo>
                <a:lnTo>
                  <a:pt x="74" y="313"/>
                </a:lnTo>
                <a:close/>
                <a:moveTo>
                  <a:pt x="206" y="347"/>
                </a:moveTo>
                <a:cubicBezTo>
                  <a:pt x="73" y="347"/>
                  <a:pt x="73" y="347"/>
                  <a:pt x="73" y="347"/>
                </a:cubicBezTo>
                <a:cubicBezTo>
                  <a:pt x="73" y="332"/>
                  <a:pt x="73" y="332"/>
                  <a:pt x="73" y="332"/>
                </a:cubicBezTo>
                <a:cubicBezTo>
                  <a:pt x="206" y="332"/>
                  <a:pt x="206" y="332"/>
                  <a:pt x="206" y="332"/>
                </a:cubicBezTo>
                <a:lnTo>
                  <a:pt x="206" y="347"/>
                </a:lnTo>
                <a:close/>
              </a:path>
            </a:pathLst>
          </a:custGeom>
          <a:solidFill>
            <a:srgbClr val="FFFFFF"/>
          </a:solidFill>
          <a:ln>
            <a:noFill/>
          </a:ln>
        </p:spPr>
        <p:txBody>
          <a:bodyPr vert="horz" wrap="square" lIns="68571" tIns="34286" rIns="68571" bIns="34286" numCol="1" anchor="t" anchorCtr="0" compatLnSpc="1">
            <a:prstTxWarp prst="textNoShape">
              <a:avLst/>
            </a:prstTxWarp>
          </a:bodyPr>
          <a:lstStyle/>
          <a:p>
            <a:endParaRPr lang="en-US"/>
          </a:p>
        </p:txBody>
      </p:sp>
      <p:sp>
        <p:nvSpPr>
          <p:cNvPr id="199" name="Freeform 81"/>
          <p:cNvSpPr>
            <a:spLocks noEditPoints="1"/>
          </p:cNvSpPr>
          <p:nvPr/>
        </p:nvSpPr>
        <p:spPr bwMode="auto">
          <a:xfrm>
            <a:off x="652309" y="2512275"/>
            <a:ext cx="330234" cy="331648"/>
          </a:xfrm>
          <a:custGeom>
            <a:avLst/>
            <a:gdLst>
              <a:gd name="T0" fmla="*/ 239 w 280"/>
              <a:gd name="T1" fmla="*/ 66 h 281"/>
              <a:gd name="T2" fmla="*/ 214 w 280"/>
              <a:gd name="T3" fmla="*/ 66 h 281"/>
              <a:gd name="T4" fmla="*/ 214 w 280"/>
              <a:gd name="T5" fmla="*/ 8 h 281"/>
              <a:gd name="T6" fmla="*/ 207 w 280"/>
              <a:gd name="T7" fmla="*/ 0 h 281"/>
              <a:gd name="T8" fmla="*/ 8 w 280"/>
              <a:gd name="T9" fmla="*/ 0 h 281"/>
              <a:gd name="T10" fmla="*/ 0 w 280"/>
              <a:gd name="T11" fmla="*/ 8 h 281"/>
              <a:gd name="T12" fmla="*/ 0 w 280"/>
              <a:gd name="T13" fmla="*/ 207 h 281"/>
              <a:gd name="T14" fmla="*/ 74 w 280"/>
              <a:gd name="T15" fmla="*/ 281 h 281"/>
              <a:gd name="T16" fmla="*/ 141 w 280"/>
              <a:gd name="T17" fmla="*/ 281 h 281"/>
              <a:gd name="T18" fmla="*/ 214 w 280"/>
              <a:gd name="T19" fmla="*/ 214 h 281"/>
              <a:gd name="T20" fmla="*/ 239 w 280"/>
              <a:gd name="T21" fmla="*/ 214 h 281"/>
              <a:gd name="T22" fmla="*/ 280 w 280"/>
              <a:gd name="T23" fmla="*/ 140 h 281"/>
              <a:gd name="T24" fmla="*/ 239 w 280"/>
              <a:gd name="T25" fmla="*/ 66 h 281"/>
              <a:gd name="T26" fmla="*/ 200 w 280"/>
              <a:gd name="T27" fmla="*/ 15 h 281"/>
              <a:gd name="T28" fmla="*/ 200 w 280"/>
              <a:gd name="T29" fmla="*/ 49 h 281"/>
              <a:gd name="T30" fmla="*/ 15 w 280"/>
              <a:gd name="T31" fmla="*/ 49 h 281"/>
              <a:gd name="T32" fmla="*/ 15 w 280"/>
              <a:gd name="T33" fmla="*/ 15 h 281"/>
              <a:gd name="T34" fmla="*/ 200 w 280"/>
              <a:gd name="T35" fmla="*/ 15 h 281"/>
              <a:gd name="T36" fmla="*/ 239 w 280"/>
              <a:gd name="T37" fmla="*/ 199 h 281"/>
              <a:gd name="T38" fmla="*/ 214 w 280"/>
              <a:gd name="T39" fmla="*/ 199 h 281"/>
              <a:gd name="T40" fmla="*/ 214 w 280"/>
              <a:gd name="T41" fmla="*/ 81 h 281"/>
              <a:gd name="T42" fmla="*/ 239 w 280"/>
              <a:gd name="T43" fmla="*/ 81 h 281"/>
              <a:gd name="T44" fmla="*/ 265 w 280"/>
              <a:gd name="T45" fmla="*/ 140 h 281"/>
              <a:gd name="T46" fmla="*/ 239 w 280"/>
              <a:gd name="T47" fmla="*/ 199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0" h="281">
                <a:moveTo>
                  <a:pt x="239" y="66"/>
                </a:moveTo>
                <a:cubicBezTo>
                  <a:pt x="214" y="66"/>
                  <a:pt x="214" y="66"/>
                  <a:pt x="214" y="66"/>
                </a:cubicBezTo>
                <a:cubicBezTo>
                  <a:pt x="214" y="8"/>
                  <a:pt x="214" y="8"/>
                  <a:pt x="214" y="8"/>
                </a:cubicBezTo>
                <a:cubicBezTo>
                  <a:pt x="214" y="4"/>
                  <a:pt x="211" y="0"/>
                  <a:pt x="207" y="0"/>
                </a:cubicBezTo>
                <a:cubicBezTo>
                  <a:pt x="8" y="0"/>
                  <a:pt x="8" y="0"/>
                  <a:pt x="8" y="0"/>
                </a:cubicBezTo>
                <a:cubicBezTo>
                  <a:pt x="4" y="0"/>
                  <a:pt x="0" y="4"/>
                  <a:pt x="0" y="8"/>
                </a:cubicBezTo>
                <a:cubicBezTo>
                  <a:pt x="0" y="207"/>
                  <a:pt x="0" y="207"/>
                  <a:pt x="0" y="207"/>
                </a:cubicBezTo>
                <a:cubicBezTo>
                  <a:pt x="0" y="248"/>
                  <a:pt x="33" y="281"/>
                  <a:pt x="74" y="281"/>
                </a:cubicBezTo>
                <a:cubicBezTo>
                  <a:pt x="141" y="281"/>
                  <a:pt x="141" y="281"/>
                  <a:pt x="141" y="281"/>
                </a:cubicBezTo>
                <a:cubicBezTo>
                  <a:pt x="179" y="281"/>
                  <a:pt x="211" y="251"/>
                  <a:pt x="214" y="214"/>
                </a:cubicBezTo>
                <a:cubicBezTo>
                  <a:pt x="239" y="214"/>
                  <a:pt x="239" y="214"/>
                  <a:pt x="239" y="214"/>
                </a:cubicBezTo>
                <a:cubicBezTo>
                  <a:pt x="262" y="214"/>
                  <a:pt x="280" y="181"/>
                  <a:pt x="280" y="140"/>
                </a:cubicBezTo>
                <a:cubicBezTo>
                  <a:pt x="280" y="98"/>
                  <a:pt x="262" y="66"/>
                  <a:pt x="239" y="66"/>
                </a:cubicBezTo>
                <a:close/>
                <a:moveTo>
                  <a:pt x="200" y="15"/>
                </a:moveTo>
                <a:cubicBezTo>
                  <a:pt x="200" y="49"/>
                  <a:pt x="200" y="49"/>
                  <a:pt x="200" y="49"/>
                </a:cubicBezTo>
                <a:cubicBezTo>
                  <a:pt x="15" y="49"/>
                  <a:pt x="15" y="49"/>
                  <a:pt x="15" y="49"/>
                </a:cubicBezTo>
                <a:cubicBezTo>
                  <a:pt x="15" y="15"/>
                  <a:pt x="15" y="15"/>
                  <a:pt x="15" y="15"/>
                </a:cubicBezTo>
                <a:lnTo>
                  <a:pt x="200" y="15"/>
                </a:lnTo>
                <a:close/>
                <a:moveTo>
                  <a:pt x="239" y="199"/>
                </a:moveTo>
                <a:cubicBezTo>
                  <a:pt x="214" y="199"/>
                  <a:pt x="214" y="199"/>
                  <a:pt x="214" y="199"/>
                </a:cubicBezTo>
                <a:cubicBezTo>
                  <a:pt x="214" y="81"/>
                  <a:pt x="214" y="81"/>
                  <a:pt x="214" y="81"/>
                </a:cubicBezTo>
                <a:cubicBezTo>
                  <a:pt x="239" y="81"/>
                  <a:pt x="239" y="81"/>
                  <a:pt x="239" y="81"/>
                </a:cubicBezTo>
                <a:cubicBezTo>
                  <a:pt x="251" y="81"/>
                  <a:pt x="265" y="106"/>
                  <a:pt x="265" y="140"/>
                </a:cubicBezTo>
                <a:cubicBezTo>
                  <a:pt x="265" y="174"/>
                  <a:pt x="251" y="199"/>
                  <a:pt x="239" y="199"/>
                </a:cubicBezTo>
                <a:close/>
              </a:path>
            </a:pathLst>
          </a:custGeom>
          <a:solidFill>
            <a:srgbClr val="FFFFFF"/>
          </a:solidFill>
          <a:ln>
            <a:noFill/>
          </a:ln>
        </p:spPr>
        <p:txBody>
          <a:bodyPr vert="horz" wrap="square" lIns="68571" tIns="34286" rIns="68571" bIns="34286" numCol="1" anchor="t" anchorCtr="0" compatLnSpc="1">
            <a:prstTxWarp prst="textNoShape">
              <a:avLst/>
            </a:prstTxWarp>
          </a:bodyPr>
          <a:lstStyle/>
          <a:p>
            <a:endParaRPr lang="en-US"/>
          </a:p>
        </p:txBody>
      </p:sp>
      <p:sp>
        <p:nvSpPr>
          <p:cNvPr id="200" name="Freeform 82"/>
          <p:cNvSpPr>
            <a:spLocks/>
          </p:cNvSpPr>
          <p:nvPr/>
        </p:nvSpPr>
        <p:spPr bwMode="auto">
          <a:xfrm>
            <a:off x="6945333" y="2443380"/>
            <a:ext cx="391685" cy="470500"/>
          </a:xfrm>
          <a:custGeom>
            <a:avLst/>
            <a:gdLst>
              <a:gd name="T0" fmla="*/ 332 w 332"/>
              <a:gd name="T1" fmla="*/ 266 h 399"/>
              <a:gd name="T2" fmla="*/ 332 w 332"/>
              <a:gd name="T3" fmla="*/ 199 h 399"/>
              <a:gd name="T4" fmla="*/ 200 w 332"/>
              <a:gd name="T5" fmla="*/ 134 h 399"/>
              <a:gd name="T6" fmla="*/ 199 w 332"/>
              <a:gd name="T7" fmla="*/ 134 h 399"/>
              <a:gd name="T8" fmla="*/ 199 w 332"/>
              <a:gd name="T9" fmla="*/ 32 h 399"/>
              <a:gd name="T10" fmla="*/ 199 w 332"/>
              <a:gd name="T11" fmla="*/ 32 h 399"/>
              <a:gd name="T12" fmla="*/ 166 w 332"/>
              <a:gd name="T13" fmla="*/ 0 h 399"/>
              <a:gd name="T14" fmla="*/ 133 w 332"/>
              <a:gd name="T15" fmla="*/ 32 h 399"/>
              <a:gd name="T16" fmla="*/ 133 w 332"/>
              <a:gd name="T17" fmla="*/ 32 h 399"/>
              <a:gd name="T18" fmla="*/ 133 w 332"/>
              <a:gd name="T19" fmla="*/ 134 h 399"/>
              <a:gd name="T20" fmla="*/ 0 w 332"/>
              <a:gd name="T21" fmla="*/ 199 h 399"/>
              <a:gd name="T22" fmla="*/ 0 w 332"/>
              <a:gd name="T23" fmla="*/ 266 h 399"/>
              <a:gd name="T24" fmla="*/ 133 w 332"/>
              <a:gd name="T25" fmla="*/ 213 h 399"/>
              <a:gd name="T26" fmla="*/ 133 w 332"/>
              <a:gd name="T27" fmla="*/ 328 h 399"/>
              <a:gd name="T28" fmla="*/ 99 w 332"/>
              <a:gd name="T29" fmla="*/ 354 h 399"/>
              <a:gd name="T30" fmla="*/ 99 w 332"/>
              <a:gd name="T31" fmla="*/ 399 h 399"/>
              <a:gd name="T32" fmla="*/ 166 w 332"/>
              <a:gd name="T33" fmla="*/ 365 h 399"/>
              <a:gd name="T34" fmla="*/ 232 w 332"/>
              <a:gd name="T35" fmla="*/ 399 h 399"/>
              <a:gd name="T36" fmla="*/ 232 w 332"/>
              <a:gd name="T37" fmla="*/ 354 h 399"/>
              <a:gd name="T38" fmla="*/ 199 w 332"/>
              <a:gd name="T39" fmla="*/ 329 h 399"/>
              <a:gd name="T40" fmla="*/ 199 w 332"/>
              <a:gd name="T41" fmla="*/ 213 h 399"/>
              <a:gd name="T42" fmla="*/ 332 w 332"/>
              <a:gd name="T43" fmla="*/ 266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2" h="399">
                <a:moveTo>
                  <a:pt x="332" y="266"/>
                </a:moveTo>
                <a:cubicBezTo>
                  <a:pt x="332" y="199"/>
                  <a:pt x="332" y="199"/>
                  <a:pt x="332" y="199"/>
                </a:cubicBezTo>
                <a:cubicBezTo>
                  <a:pt x="200" y="134"/>
                  <a:pt x="200" y="134"/>
                  <a:pt x="200" y="134"/>
                </a:cubicBezTo>
                <a:cubicBezTo>
                  <a:pt x="199" y="134"/>
                  <a:pt x="199" y="134"/>
                  <a:pt x="199" y="134"/>
                </a:cubicBezTo>
                <a:cubicBezTo>
                  <a:pt x="199" y="32"/>
                  <a:pt x="199" y="32"/>
                  <a:pt x="199" y="32"/>
                </a:cubicBezTo>
                <a:cubicBezTo>
                  <a:pt x="199" y="32"/>
                  <a:pt x="199" y="32"/>
                  <a:pt x="199" y="32"/>
                </a:cubicBezTo>
                <a:cubicBezTo>
                  <a:pt x="198" y="14"/>
                  <a:pt x="184" y="0"/>
                  <a:pt x="166" y="0"/>
                </a:cubicBezTo>
                <a:cubicBezTo>
                  <a:pt x="148" y="0"/>
                  <a:pt x="133" y="14"/>
                  <a:pt x="133" y="32"/>
                </a:cubicBezTo>
                <a:cubicBezTo>
                  <a:pt x="133" y="32"/>
                  <a:pt x="133" y="32"/>
                  <a:pt x="133" y="32"/>
                </a:cubicBezTo>
                <a:cubicBezTo>
                  <a:pt x="133" y="134"/>
                  <a:pt x="133" y="134"/>
                  <a:pt x="133" y="134"/>
                </a:cubicBezTo>
                <a:cubicBezTo>
                  <a:pt x="119" y="137"/>
                  <a:pt x="0" y="199"/>
                  <a:pt x="0" y="199"/>
                </a:cubicBezTo>
                <a:cubicBezTo>
                  <a:pt x="0" y="266"/>
                  <a:pt x="0" y="266"/>
                  <a:pt x="0" y="266"/>
                </a:cubicBezTo>
                <a:cubicBezTo>
                  <a:pt x="133" y="213"/>
                  <a:pt x="133" y="213"/>
                  <a:pt x="133" y="213"/>
                </a:cubicBezTo>
                <a:cubicBezTo>
                  <a:pt x="133" y="328"/>
                  <a:pt x="133" y="328"/>
                  <a:pt x="133" y="328"/>
                </a:cubicBezTo>
                <a:cubicBezTo>
                  <a:pt x="119" y="338"/>
                  <a:pt x="99" y="354"/>
                  <a:pt x="99" y="354"/>
                </a:cubicBezTo>
                <a:cubicBezTo>
                  <a:pt x="99" y="399"/>
                  <a:pt x="99" y="399"/>
                  <a:pt x="99" y="399"/>
                </a:cubicBezTo>
                <a:cubicBezTo>
                  <a:pt x="166" y="365"/>
                  <a:pt x="166" y="365"/>
                  <a:pt x="166" y="365"/>
                </a:cubicBezTo>
                <a:cubicBezTo>
                  <a:pt x="232" y="399"/>
                  <a:pt x="232" y="399"/>
                  <a:pt x="232" y="399"/>
                </a:cubicBezTo>
                <a:cubicBezTo>
                  <a:pt x="232" y="354"/>
                  <a:pt x="232" y="354"/>
                  <a:pt x="232" y="354"/>
                </a:cubicBezTo>
                <a:cubicBezTo>
                  <a:pt x="199" y="329"/>
                  <a:pt x="199" y="329"/>
                  <a:pt x="199" y="329"/>
                </a:cubicBezTo>
                <a:cubicBezTo>
                  <a:pt x="199" y="213"/>
                  <a:pt x="199" y="213"/>
                  <a:pt x="199" y="213"/>
                </a:cubicBezTo>
                <a:lnTo>
                  <a:pt x="332" y="266"/>
                </a:lnTo>
                <a:close/>
              </a:path>
            </a:pathLst>
          </a:custGeom>
          <a:solidFill>
            <a:srgbClr val="FFFFFF"/>
          </a:solidFill>
          <a:ln>
            <a:noFill/>
          </a:ln>
        </p:spPr>
        <p:txBody>
          <a:bodyPr vert="horz" wrap="square" lIns="68571" tIns="34286" rIns="68571" bIns="34286" numCol="1" anchor="t" anchorCtr="0" compatLnSpc="1">
            <a:prstTxWarp prst="textNoShape">
              <a:avLst/>
            </a:prstTxWarp>
          </a:bodyPr>
          <a:lstStyle/>
          <a:p>
            <a:endParaRPr lang="en-US"/>
          </a:p>
        </p:txBody>
      </p:sp>
      <p:sp>
        <p:nvSpPr>
          <p:cNvPr id="201" name="Freeform 83"/>
          <p:cNvSpPr>
            <a:spLocks noEditPoints="1"/>
          </p:cNvSpPr>
          <p:nvPr/>
        </p:nvSpPr>
        <p:spPr bwMode="auto">
          <a:xfrm>
            <a:off x="2380654" y="2489331"/>
            <a:ext cx="487109" cy="378598"/>
          </a:xfrm>
          <a:custGeom>
            <a:avLst/>
            <a:gdLst>
              <a:gd name="T0" fmla="*/ 339 w 413"/>
              <a:gd name="T1" fmla="*/ 41 h 321"/>
              <a:gd name="T2" fmla="*/ 280 w 413"/>
              <a:gd name="T3" fmla="*/ 41 h 321"/>
              <a:gd name="T4" fmla="*/ 280 w 413"/>
              <a:gd name="T5" fmla="*/ 8 h 321"/>
              <a:gd name="T6" fmla="*/ 273 w 413"/>
              <a:gd name="T7" fmla="*/ 0 h 321"/>
              <a:gd name="T8" fmla="*/ 140 w 413"/>
              <a:gd name="T9" fmla="*/ 0 h 321"/>
              <a:gd name="T10" fmla="*/ 132 w 413"/>
              <a:gd name="T11" fmla="*/ 8 h 321"/>
              <a:gd name="T12" fmla="*/ 132 w 413"/>
              <a:gd name="T13" fmla="*/ 41 h 321"/>
              <a:gd name="T14" fmla="*/ 73 w 413"/>
              <a:gd name="T15" fmla="*/ 41 h 321"/>
              <a:gd name="T16" fmla="*/ 0 w 413"/>
              <a:gd name="T17" fmla="*/ 115 h 321"/>
              <a:gd name="T18" fmla="*/ 0 w 413"/>
              <a:gd name="T19" fmla="*/ 247 h 321"/>
              <a:gd name="T20" fmla="*/ 73 w 413"/>
              <a:gd name="T21" fmla="*/ 321 h 321"/>
              <a:gd name="T22" fmla="*/ 339 w 413"/>
              <a:gd name="T23" fmla="*/ 321 h 321"/>
              <a:gd name="T24" fmla="*/ 413 w 413"/>
              <a:gd name="T25" fmla="*/ 247 h 321"/>
              <a:gd name="T26" fmla="*/ 413 w 413"/>
              <a:gd name="T27" fmla="*/ 115 h 321"/>
              <a:gd name="T28" fmla="*/ 339 w 413"/>
              <a:gd name="T29" fmla="*/ 41 h 321"/>
              <a:gd name="T30" fmla="*/ 81 w 413"/>
              <a:gd name="T31" fmla="*/ 56 h 321"/>
              <a:gd name="T32" fmla="*/ 332 w 413"/>
              <a:gd name="T33" fmla="*/ 56 h 321"/>
              <a:gd name="T34" fmla="*/ 332 w 413"/>
              <a:gd name="T35" fmla="*/ 306 h 321"/>
              <a:gd name="T36" fmla="*/ 81 w 413"/>
              <a:gd name="T37" fmla="*/ 306 h 321"/>
              <a:gd name="T38" fmla="*/ 81 w 413"/>
              <a:gd name="T39" fmla="*/ 56 h 321"/>
              <a:gd name="T40" fmla="*/ 147 w 413"/>
              <a:gd name="T41" fmla="*/ 15 h 321"/>
              <a:gd name="T42" fmla="*/ 265 w 413"/>
              <a:gd name="T43" fmla="*/ 15 h 321"/>
              <a:gd name="T44" fmla="*/ 265 w 413"/>
              <a:gd name="T45" fmla="*/ 41 h 321"/>
              <a:gd name="T46" fmla="*/ 147 w 413"/>
              <a:gd name="T47" fmla="*/ 41 h 321"/>
              <a:gd name="T48" fmla="*/ 147 w 413"/>
              <a:gd name="T49" fmla="*/ 15 h 321"/>
              <a:gd name="T50" fmla="*/ 14 w 413"/>
              <a:gd name="T51" fmla="*/ 247 h 321"/>
              <a:gd name="T52" fmla="*/ 14 w 413"/>
              <a:gd name="T53" fmla="*/ 115 h 321"/>
              <a:gd name="T54" fmla="*/ 66 w 413"/>
              <a:gd name="T55" fmla="*/ 56 h 321"/>
              <a:gd name="T56" fmla="*/ 66 w 413"/>
              <a:gd name="T57" fmla="*/ 305 h 321"/>
              <a:gd name="T58" fmla="*/ 14 w 413"/>
              <a:gd name="T59" fmla="*/ 247 h 321"/>
              <a:gd name="T60" fmla="*/ 398 w 413"/>
              <a:gd name="T61" fmla="*/ 247 h 321"/>
              <a:gd name="T62" fmla="*/ 347 w 413"/>
              <a:gd name="T63" fmla="*/ 305 h 321"/>
              <a:gd name="T64" fmla="*/ 347 w 413"/>
              <a:gd name="T65" fmla="*/ 56 h 321"/>
              <a:gd name="T66" fmla="*/ 398 w 413"/>
              <a:gd name="T67" fmla="*/ 115 h 321"/>
              <a:gd name="T68" fmla="*/ 398 w 413"/>
              <a:gd name="T69" fmla="*/ 24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3" h="321">
                <a:moveTo>
                  <a:pt x="339" y="41"/>
                </a:moveTo>
                <a:cubicBezTo>
                  <a:pt x="280" y="41"/>
                  <a:pt x="280" y="41"/>
                  <a:pt x="280" y="41"/>
                </a:cubicBezTo>
                <a:cubicBezTo>
                  <a:pt x="280" y="8"/>
                  <a:pt x="280" y="8"/>
                  <a:pt x="280" y="8"/>
                </a:cubicBezTo>
                <a:cubicBezTo>
                  <a:pt x="280" y="4"/>
                  <a:pt x="277" y="0"/>
                  <a:pt x="273" y="0"/>
                </a:cubicBezTo>
                <a:cubicBezTo>
                  <a:pt x="140" y="0"/>
                  <a:pt x="140" y="0"/>
                  <a:pt x="140" y="0"/>
                </a:cubicBezTo>
                <a:cubicBezTo>
                  <a:pt x="136" y="0"/>
                  <a:pt x="132" y="4"/>
                  <a:pt x="132" y="8"/>
                </a:cubicBezTo>
                <a:cubicBezTo>
                  <a:pt x="132" y="41"/>
                  <a:pt x="132" y="41"/>
                  <a:pt x="132" y="41"/>
                </a:cubicBezTo>
                <a:cubicBezTo>
                  <a:pt x="73" y="41"/>
                  <a:pt x="73" y="41"/>
                  <a:pt x="73" y="41"/>
                </a:cubicBezTo>
                <a:cubicBezTo>
                  <a:pt x="33" y="41"/>
                  <a:pt x="0" y="74"/>
                  <a:pt x="0" y="115"/>
                </a:cubicBezTo>
                <a:cubicBezTo>
                  <a:pt x="0" y="247"/>
                  <a:pt x="0" y="247"/>
                  <a:pt x="0" y="247"/>
                </a:cubicBezTo>
                <a:cubicBezTo>
                  <a:pt x="0" y="288"/>
                  <a:pt x="33" y="321"/>
                  <a:pt x="73" y="321"/>
                </a:cubicBezTo>
                <a:cubicBezTo>
                  <a:pt x="339" y="321"/>
                  <a:pt x="339" y="321"/>
                  <a:pt x="339" y="321"/>
                </a:cubicBezTo>
                <a:cubicBezTo>
                  <a:pt x="380" y="321"/>
                  <a:pt x="413" y="288"/>
                  <a:pt x="413" y="247"/>
                </a:cubicBezTo>
                <a:cubicBezTo>
                  <a:pt x="413" y="115"/>
                  <a:pt x="413" y="115"/>
                  <a:pt x="413" y="115"/>
                </a:cubicBezTo>
                <a:cubicBezTo>
                  <a:pt x="413" y="74"/>
                  <a:pt x="380" y="41"/>
                  <a:pt x="339" y="41"/>
                </a:cubicBezTo>
                <a:close/>
                <a:moveTo>
                  <a:pt x="81" y="56"/>
                </a:moveTo>
                <a:cubicBezTo>
                  <a:pt x="332" y="56"/>
                  <a:pt x="332" y="56"/>
                  <a:pt x="332" y="56"/>
                </a:cubicBezTo>
                <a:cubicBezTo>
                  <a:pt x="332" y="306"/>
                  <a:pt x="332" y="306"/>
                  <a:pt x="332" y="306"/>
                </a:cubicBezTo>
                <a:cubicBezTo>
                  <a:pt x="81" y="306"/>
                  <a:pt x="81" y="306"/>
                  <a:pt x="81" y="306"/>
                </a:cubicBezTo>
                <a:lnTo>
                  <a:pt x="81" y="56"/>
                </a:lnTo>
                <a:close/>
                <a:moveTo>
                  <a:pt x="147" y="15"/>
                </a:moveTo>
                <a:cubicBezTo>
                  <a:pt x="265" y="15"/>
                  <a:pt x="265" y="15"/>
                  <a:pt x="265" y="15"/>
                </a:cubicBezTo>
                <a:cubicBezTo>
                  <a:pt x="265" y="41"/>
                  <a:pt x="265" y="41"/>
                  <a:pt x="265" y="41"/>
                </a:cubicBezTo>
                <a:cubicBezTo>
                  <a:pt x="147" y="41"/>
                  <a:pt x="147" y="41"/>
                  <a:pt x="147" y="41"/>
                </a:cubicBezTo>
                <a:lnTo>
                  <a:pt x="147" y="15"/>
                </a:lnTo>
                <a:close/>
                <a:moveTo>
                  <a:pt x="14" y="247"/>
                </a:moveTo>
                <a:cubicBezTo>
                  <a:pt x="14" y="115"/>
                  <a:pt x="14" y="115"/>
                  <a:pt x="14" y="115"/>
                </a:cubicBezTo>
                <a:cubicBezTo>
                  <a:pt x="14" y="85"/>
                  <a:pt x="37" y="60"/>
                  <a:pt x="66" y="56"/>
                </a:cubicBezTo>
                <a:cubicBezTo>
                  <a:pt x="66" y="305"/>
                  <a:pt x="66" y="305"/>
                  <a:pt x="66" y="305"/>
                </a:cubicBezTo>
                <a:cubicBezTo>
                  <a:pt x="37" y="302"/>
                  <a:pt x="14" y="277"/>
                  <a:pt x="14" y="247"/>
                </a:cubicBezTo>
                <a:close/>
                <a:moveTo>
                  <a:pt x="398" y="247"/>
                </a:moveTo>
                <a:cubicBezTo>
                  <a:pt x="398" y="277"/>
                  <a:pt x="376" y="302"/>
                  <a:pt x="347" y="305"/>
                </a:cubicBezTo>
                <a:cubicBezTo>
                  <a:pt x="347" y="56"/>
                  <a:pt x="347" y="56"/>
                  <a:pt x="347" y="56"/>
                </a:cubicBezTo>
                <a:cubicBezTo>
                  <a:pt x="376" y="60"/>
                  <a:pt x="398" y="85"/>
                  <a:pt x="398" y="115"/>
                </a:cubicBezTo>
                <a:lnTo>
                  <a:pt x="398" y="247"/>
                </a:lnTo>
                <a:close/>
              </a:path>
            </a:pathLst>
          </a:custGeom>
          <a:solidFill>
            <a:srgbClr val="FFFFFF"/>
          </a:solidFill>
          <a:ln>
            <a:noFill/>
          </a:ln>
        </p:spPr>
        <p:txBody>
          <a:bodyPr vert="horz" wrap="square" lIns="68571" tIns="34286" rIns="68571" bIns="34286" numCol="1" anchor="t" anchorCtr="0" compatLnSpc="1">
            <a:prstTxWarp prst="textNoShape">
              <a:avLst/>
            </a:prstTxWarp>
          </a:bodyPr>
          <a:lstStyle/>
          <a:p>
            <a:endParaRPr lang="en-US"/>
          </a:p>
        </p:txBody>
      </p:sp>
      <p:sp>
        <p:nvSpPr>
          <p:cNvPr id="202" name="Freeform 84"/>
          <p:cNvSpPr>
            <a:spLocks noEditPoints="1"/>
          </p:cNvSpPr>
          <p:nvPr/>
        </p:nvSpPr>
        <p:spPr bwMode="auto">
          <a:xfrm>
            <a:off x="6052427" y="2495329"/>
            <a:ext cx="370702" cy="366611"/>
          </a:xfrm>
          <a:custGeom>
            <a:avLst/>
            <a:gdLst>
              <a:gd name="T0" fmla="*/ 314 w 314"/>
              <a:gd name="T1" fmla="*/ 301 h 311"/>
              <a:gd name="T2" fmla="*/ 189 w 314"/>
              <a:gd name="T3" fmla="*/ 176 h 311"/>
              <a:gd name="T4" fmla="*/ 214 w 314"/>
              <a:gd name="T5" fmla="*/ 107 h 311"/>
              <a:gd name="T6" fmla="*/ 107 w 314"/>
              <a:gd name="T7" fmla="*/ 0 h 311"/>
              <a:gd name="T8" fmla="*/ 0 w 314"/>
              <a:gd name="T9" fmla="*/ 107 h 311"/>
              <a:gd name="T10" fmla="*/ 107 w 314"/>
              <a:gd name="T11" fmla="*/ 215 h 311"/>
              <a:gd name="T12" fmla="*/ 179 w 314"/>
              <a:gd name="T13" fmla="*/ 186 h 311"/>
              <a:gd name="T14" fmla="*/ 304 w 314"/>
              <a:gd name="T15" fmla="*/ 311 h 311"/>
              <a:gd name="T16" fmla="*/ 314 w 314"/>
              <a:gd name="T17" fmla="*/ 301 h 311"/>
              <a:gd name="T18" fmla="*/ 107 w 314"/>
              <a:gd name="T19" fmla="*/ 200 h 311"/>
              <a:gd name="T20" fmla="*/ 14 w 314"/>
              <a:gd name="T21" fmla="*/ 107 h 311"/>
              <a:gd name="T22" fmla="*/ 107 w 314"/>
              <a:gd name="T23" fmla="*/ 15 h 311"/>
              <a:gd name="T24" fmla="*/ 199 w 314"/>
              <a:gd name="T25" fmla="*/ 107 h 311"/>
              <a:gd name="T26" fmla="*/ 107 w 314"/>
              <a:gd name="T27" fmla="*/ 20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4" h="311">
                <a:moveTo>
                  <a:pt x="314" y="301"/>
                </a:moveTo>
                <a:cubicBezTo>
                  <a:pt x="189" y="176"/>
                  <a:pt x="189" y="176"/>
                  <a:pt x="189" y="176"/>
                </a:cubicBezTo>
                <a:cubicBezTo>
                  <a:pt x="205" y="157"/>
                  <a:pt x="214" y="133"/>
                  <a:pt x="214" y="107"/>
                </a:cubicBezTo>
                <a:cubicBezTo>
                  <a:pt x="214" y="48"/>
                  <a:pt x="166" y="0"/>
                  <a:pt x="107" y="0"/>
                </a:cubicBezTo>
                <a:cubicBezTo>
                  <a:pt x="48" y="0"/>
                  <a:pt x="0" y="48"/>
                  <a:pt x="0" y="107"/>
                </a:cubicBezTo>
                <a:cubicBezTo>
                  <a:pt x="0" y="167"/>
                  <a:pt x="48" y="215"/>
                  <a:pt x="107" y="215"/>
                </a:cubicBezTo>
                <a:cubicBezTo>
                  <a:pt x="135" y="215"/>
                  <a:pt x="160" y="204"/>
                  <a:pt x="179" y="186"/>
                </a:cubicBezTo>
                <a:cubicBezTo>
                  <a:pt x="304" y="311"/>
                  <a:pt x="304" y="311"/>
                  <a:pt x="304" y="311"/>
                </a:cubicBezTo>
                <a:lnTo>
                  <a:pt x="314" y="301"/>
                </a:lnTo>
                <a:close/>
                <a:moveTo>
                  <a:pt x="107" y="200"/>
                </a:moveTo>
                <a:cubicBezTo>
                  <a:pt x="56" y="200"/>
                  <a:pt x="14" y="158"/>
                  <a:pt x="14" y="107"/>
                </a:cubicBezTo>
                <a:cubicBezTo>
                  <a:pt x="14" y="57"/>
                  <a:pt x="56" y="15"/>
                  <a:pt x="107" y="15"/>
                </a:cubicBezTo>
                <a:cubicBezTo>
                  <a:pt x="158" y="15"/>
                  <a:pt x="199" y="57"/>
                  <a:pt x="199" y="107"/>
                </a:cubicBezTo>
                <a:cubicBezTo>
                  <a:pt x="199" y="158"/>
                  <a:pt x="158" y="200"/>
                  <a:pt x="107" y="200"/>
                </a:cubicBezTo>
                <a:close/>
              </a:path>
            </a:pathLst>
          </a:custGeom>
          <a:solidFill>
            <a:srgbClr val="FFFFFF"/>
          </a:solidFill>
          <a:ln>
            <a:noFill/>
          </a:ln>
        </p:spPr>
        <p:txBody>
          <a:bodyPr vert="horz" wrap="square" lIns="68571" tIns="34286" rIns="68571" bIns="34286" numCol="1" anchor="t" anchorCtr="0" compatLnSpc="1">
            <a:prstTxWarp prst="textNoShape">
              <a:avLst/>
            </a:prstTxWarp>
          </a:bodyPr>
          <a:lstStyle/>
          <a:p>
            <a:endParaRPr lang="en-US"/>
          </a:p>
        </p:txBody>
      </p:sp>
      <p:sp>
        <p:nvSpPr>
          <p:cNvPr id="205" name="Freeform 87"/>
          <p:cNvSpPr>
            <a:spLocks noEditPoints="1"/>
          </p:cNvSpPr>
          <p:nvPr/>
        </p:nvSpPr>
        <p:spPr bwMode="auto">
          <a:xfrm>
            <a:off x="4203926" y="4034677"/>
            <a:ext cx="454136" cy="126365"/>
          </a:xfrm>
          <a:custGeom>
            <a:avLst/>
            <a:gdLst>
              <a:gd name="T0" fmla="*/ 0 w 385"/>
              <a:gd name="T1" fmla="*/ 46 h 107"/>
              <a:gd name="T2" fmla="*/ 37 w 385"/>
              <a:gd name="T3" fmla="*/ 46 h 107"/>
              <a:gd name="T4" fmla="*/ 37 w 385"/>
              <a:gd name="T5" fmla="*/ 61 h 107"/>
              <a:gd name="T6" fmla="*/ 0 w 385"/>
              <a:gd name="T7" fmla="*/ 61 h 107"/>
              <a:gd name="T8" fmla="*/ 0 w 385"/>
              <a:gd name="T9" fmla="*/ 46 h 107"/>
              <a:gd name="T10" fmla="*/ 74 w 385"/>
              <a:gd name="T11" fmla="*/ 61 h 107"/>
              <a:gd name="T12" fmla="*/ 111 w 385"/>
              <a:gd name="T13" fmla="*/ 61 h 107"/>
              <a:gd name="T14" fmla="*/ 111 w 385"/>
              <a:gd name="T15" fmla="*/ 46 h 107"/>
              <a:gd name="T16" fmla="*/ 74 w 385"/>
              <a:gd name="T17" fmla="*/ 46 h 107"/>
              <a:gd name="T18" fmla="*/ 74 w 385"/>
              <a:gd name="T19" fmla="*/ 61 h 107"/>
              <a:gd name="T20" fmla="*/ 222 w 385"/>
              <a:gd name="T21" fmla="*/ 61 h 107"/>
              <a:gd name="T22" fmla="*/ 259 w 385"/>
              <a:gd name="T23" fmla="*/ 61 h 107"/>
              <a:gd name="T24" fmla="*/ 259 w 385"/>
              <a:gd name="T25" fmla="*/ 46 h 107"/>
              <a:gd name="T26" fmla="*/ 222 w 385"/>
              <a:gd name="T27" fmla="*/ 46 h 107"/>
              <a:gd name="T28" fmla="*/ 222 w 385"/>
              <a:gd name="T29" fmla="*/ 61 h 107"/>
              <a:gd name="T30" fmla="*/ 148 w 385"/>
              <a:gd name="T31" fmla="*/ 61 h 107"/>
              <a:gd name="T32" fmla="*/ 185 w 385"/>
              <a:gd name="T33" fmla="*/ 61 h 107"/>
              <a:gd name="T34" fmla="*/ 185 w 385"/>
              <a:gd name="T35" fmla="*/ 46 h 107"/>
              <a:gd name="T36" fmla="*/ 148 w 385"/>
              <a:gd name="T37" fmla="*/ 46 h 107"/>
              <a:gd name="T38" fmla="*/ 148 w 385"/>
              <a:gd name="T39" fmla="*/ 61 h 107"/>
              <a:gd name="T40" fmla="*/ 382 w 385"/>
              <a:gd name="T41" fmla="*/ 48 h 107"/>
              <a:gd name="T42" fmla="*/ 334 w 385"/>
              <a:gd name="T43" fmla="*/ 0 h 107"/>
              <a:gd name="T44" fmla="*/ 324 w 385"/>
              <a:gd name="T45" fmla="*/ 11 h 107"/>
              <a:gd name="T46" fmla="*/ 359 w 385"/>
              <a:gd name="T47" fmla="*/ 46 h 107"/>
              <a:gd name="T48" fmla="*/ 296 w 385"/>
              <a:gd name="T49" fmla="*/ 46 h 107"/>
              <a:gd name="T50" fmla="*/ 296 w 385"/>
              <a:gd name="T51" fmla="*/ 61 h 107"/>
              <a:gd name="T52" fmla="*/ 359 w 385"/>
              <a:gd name="T53" fmla="*/ 61 h 107"/>
              <a:gd name="T54" fmla="*/ 324 w 385"/>
              <a:gd name="T55" fmla="*/ 96 h 107"/>
              <a:gd name="T56" fmla="*/ 334 w 385"/>
              <a:gd name="T57" fmla="*/ 107 h 107"/>
              <a:gd name="T58" fmla="*/ 382 w 385"/>
              <a:gd name="T59" fmla="*/ 59 h 107"/>
              <a:gd name="T60" fmla="*/ 382 w 385"/>
              <a:gd name="T61" fmla="*/ 4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5" h="107">
                <a:moveTo>
                  <a:pt x="0" y="46"/>
                </a:moveTo>
                <a:cubicBezTo>
                  <a:pt x="37" y="46"/>
                  <a:pt x="37" y="46"/>
                  <a:pt x="37" y="46"/>
                </a:cubicBezTo>
                <a:cubicBezTo>
                  <a:pt x="37" y="61"/>
                  <a:pt x="37" y="61"/>
                  <a:pt x="37" y="61"/>
                </a:cubicBezTo>
                <a:cubicBezTo>
                  <a:pt x="0" y="61"/>
                  <a:pt x="0" y="61"/>
                  <a:pt x="0" y="61"/>
                </a:cubicBezTo>
                <a:lnTo>
                  <a:pt x="0" y="46"/>
                </a:lnTo>
                <a:close/>
                <a:moveTo>
                  <a:pt x="74" y="61"/>
                </a:moveTo>
                <a:cubicBezTo>
                  <a:pt x="111" y="61"/>
                  <a:pt x="111" y="61"/>
                  <a:pt x="111" y="61"/>
                </a:cubicBezTo>
                <a:cubicBezTo>
                  <a:pt x="111" y="46"/>
                  <a:pt x="111" y="46"/>
                  <a:pt x="111" y="46"/>
                </a:cubicBezTo>
                <a:cubicBezTo>
                  <a:pt x="74" y="46"/>
                  <a:pt x="74" y="46"/>
                  <a:pt x="74" y="46"/>
                </a:cubicBezTo>
                <a:lnTo>
                  <a:pt x="74" y="61"/>
                </a:lnTo>
                <a:close/>
                <a:moveTo>
                  <a:pt x="222" y="61"/>
                </a:moveTo>
                <a:cubicBezTo>
                  <a:pt x="259" y="61"/>
                  <a:pt x="259" y="61"/>
                  <a:pt x="259" y="61"/>
                </a:cubicBezTo>
                <a:cubicBezTo>
                  <a:pt x="259" y="46"/>
                  <a:pt x="259" y="46"/>
                  <a:pt x="259" y="46"/>
                </a:cubicBezTo>
                <a:cubicBezTo>
                  <a:pt x="222" y="46"/>
                  <a:pt x="222" y="46"/>
                  <a:pt x="222" y="46"/>
                </a:cubicBezTo>
                <a:lnTo>
                  <a:pt x="222" y="61"/>
                </a:lnTo>
                <a:close/>
                <a:moveTo>
                  <a:pt x="148" y="61"/>
                </a:moveTo>
                <a:cubicBezTo>
                  <a:pt x="185" y="61"/>
                  <a:pt x="185" y="61"/>
                  <a:pt x="185" y="61"/>
                </a:cubicBezTo>
                <a:cubicBezTo>
                  <a:pt x="185" y="46"/>
                  <a:pt x="185" y="46"/>
                  <a:pt x="185" y="46"/>
                </a:cubicBezTo>
                <a:cubicBezTo>
                  <a:pt x="148" y="46"/>
                  <a:pt x="148" y="46"/>
                  <a:pt x="148" y="46"/>
                </a:cubicBezTo>
                <a:lnTo>
                  <a:pt x="148" y="61"/>
                </a:lnTo>
                <a:close/>
                <a:moveTo>
                  <a:pt x="382" y="48"/>
                </a:moveTo>
                <a:cubicBezTo>
                  <a:pt x="334" y="0"/>
                  <a:pt x="334" y="0"/>
                  <a:pt x="334" y="0"/>
                </a:cubicBezTo>
                <a:cubicBezTo>
                  <a:pt x="324" y="11"/>
                  <a:pt x="324" y="11"/>
                  <a:pt x="324" y="11"/>
                </a:cubicBezTo>
                <a:cubicBezTo>
                  <a:pt x="359" y="46"/>
                  <a:pt x="359" y="46"/>
                  <a:pt x="359" y="46"/>
                </a:cubicBezTo>
                <a:cubicBezTo>
                  <a:pt x="296" y="46"/>
                  <a:pt x="296" y="46"/>
                  <a:pt x="296" y="46"/>
                </a:cubicBezTo>
                <a:cubicBezTo>
                  <a:pt x="296" y="61"/>
                  <a:pt x="296" y="61"/>
                  <a:pt x="296" y="61"/>
                </a:cubicBezTo>
                <a:cubicBezTo>
                  <a:pt x="359" y="61"/>
                  <a:pt x="359" y="61"/>
                  <a:pt x="359" y="61"/>
                </a:cubicBezTo>
                <a:cubicBezTo>
                  <a:pt x="324" y="96"/>
                  <a:pt x="324" y="96"/>
                  <a:pt x="324" y="96"/>
                </a:cubicBezTo>
                <a:cubicBezTo>
                  <a:pt x="334" y="107"/>
                  <a:pt x="334" y="107"/>
                  <a:pt x="334" y="107"/>
                </a:cubicBezTo>
                <a:cubicBezTo>
                  <a:pt x="382" y="59"/>
                  <a:pt x="382" y="59"/>
                  <a:pt x="382" y="59"/>
                </a:cubicBezTo>
                <a:cubicBezTo>
                  <a:pt x="385" y="56"/>
                  <a:pt x="385" y="51"/>
                  <a:pt x="382" y="48"/>
                </a:cubicBezTo>
                <a:close/>
              </a:path>
            </a:pathLst>
          </a:custGeom>
          <a:solidFill>
            <a:srgbClr val="FFFFFF"/>
          </a:solidFill>
          <a:ln>
            <a:noFill/>
          </a:ln>
        </p:spPr>
        <p:txBody>
          <a:bodyPr vert="horz" wrap="square" lIns="68571" tIns="34286" rIns="68571" bIns="34286" numCol="1" anchor="t" anchorCtr="0" compatLnSpc="1">
            <a:prstTxWarp prst="textNoShape">
              <a:avLst/>
            </a:prstTxWarp>
          </a:bodyPr>
          <a:lstStyle/>
          <a:p>
            <a:endParaRPr lang="en-US"/>
          </a:p>
        </p:txBody>
      </p:sp>
      <p:sp>
        <p:nvSpPr>
          <p:cNvPr id="206" name="Freeform 88"/>
          <p:cNvSpPr>
            <a:spLocks noEditPoints="1"/>
          </p:cNvSpPr>
          <p:nvPr/>
        </p:nvSpPr>
        <p:spPr bwMode="auto">
          <a:xfrm>
            <a:off x="6896865" y="3853613"/>
            <a:ext cx="488608" cy="488481"/>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rgbClr val="FFFFFF"/>
          </a:solidFill>
          <a:ln>
            <a:noFill/>
          </a:ln>
        </p:spPr>
        <p:txBody>
          <a:bodyPr vert="horz" wrap="square" lIns="68571" tIns="34286" rIns="68571" bIns="34286" numCol="1" anchor="t" anchorCtr="0" compatLnSpc="1">
            <a:prstTxWarp prst="textNoShape">
              <a:avLst/>
            </a:prstTxWarp>
          </a:bodyPr>
          <a:lstStyle/>
          <a:p>
            <a:endParaRPr lang="en-US"/>
          </a:p>
        </p:txBody>
      </p:sp>
      <p:sp>
        <p:nvSpPr>
          <p:cNvPr id="207" name="Freeform 89"/>
          <p:cNvSpPr>
            <a:spLocks noEditPoints="1"/>
          </p:cNvSpPr>
          <p:nvPr/>
        </p:nvSpPr>
        <p:spPr bwMode="auto">
          <a:xfrm>
            <a:off x="1557948" y="3913299"/>
            <a:ext cx="325739" cy="369108"/>
          </a:xfrm>
          <a:custGeom>
            <a:avLst/>
            <a:gdLst>
              <a:gd name="T0" fmla="*/ 24 w 276"/>
              <a:gd name="T1" fmla="*/ 202 h 313"/>
              <a:gd name="T2" fmla="*/ 37 w 276"/>
              <a:gd name="T3" fmla="*/ 208 h 313"/>
              <a:gd name="T4" fmla="*/ 25 w 276"/>
              <a:gd name="T5" fmla="*/ 242 h 313"/>
              <a:gd name="T6" fmla="*/ 11 w 276"/>
              <a:gd name="T7" fmla="*/ 238 h 313"/>
              <a:gd name="T8" fmla="*/ 24 w 276"/>
              <a:gd name="T9" fmla="*/ 202 h 313"/>
              <a:gd name="T10" fmla="*/ 0 w 276"/>
              <a:gd name="T11" fmla="*/ 312 h 313"/>
              <a:gd name="T12" fmla="*/ 15 w 276"/>
              <a:gd name="T13" fmla="*/ 313 h 313"/>
              <a:gd name="T14" fmla="*/ 17 w 276"/>
              <a:gd name="T15" fmla="*/ 277 h 313"/>
              <a:gd name="T16" fmla="*/ 3 w 276"/>
              <a:gd name="T17" fmla="*/ 275 h 313"/>
              <a:gd name="T18" fmla="*/ 0 w 276"/>
              <a:gd name="T19" fmla="*/ 312 h 313"/>
              <a:gd name="T20" fmla="*/ 42 w 276"/>
              <a:gd name="T21" fmla="*/ 169 h 313"/>
              <a:gd name="T22" fmla="*/ 55 w 276"/>
              <a:gd name="T23" fmla="*/ 177 h 313"/>
              <a:gd name="T24" fmla="*/ 76 w 276"/>
              <a:gd name="T25" fmla="*/ 148 h 313"/>
              <a:gd name="T26" fmla="*/ 65 w 276"/>
              <a:gd name="T27" fmla="*/ 139 h 313"/>
              <a:gd name="T28" fmla="*/ 42 w 276"/>
              <a:gd name="T29" fmla="*/ 169 h 313"/>
              <a:gd name="T30" fmla="*/ 92 w 276"/>
              <a:gd name="T31" fmla="*/ 112 h 313"/>
              <a:gd name="T32" fmla="*/ 102 w 276"/>
              <a:gd name="T33" fmla="*/ 123 h 313"/>
              <a:gd name="T34" fmla="*/ 130 w 276"/>
              <a:gd name="T35" fmla="*/ 101 h 313"/>
              <a:gd name="T36" fmla="*/ 122 w 276"/>
              <a:gd name="T37" fmla="*/ 89 h 313"/>
              <a:gd name="T38" fmla="*/ 92 w 276"/>
              <a:gd name="T39" fmla="*/ 112 h 313"/>
              <a:gd name="T40" fmla="*/ 156 w 276"/>
              <a:gd name="T41" fmla="*/ 71 h 313"/>
              <a:gd name="T42" fmla="*/ 162 w 276"/>
              <a:gd name="T43" fmla="*/ 84 h 313"/>
              <a:gd name="T44" fmla="*/ 195 w 276"/>
              <a:gd name="T45" fmla="*/ 72 h 313"/>
              <a:gd name="T46" fmla="*/ 191 w 276"/>
              <a:gd name="T47" fmla="*/ 58 h 313"/>
              <a:gd name="T48" fmla="*/ 156 w 276"/>
              <a:gd name="T49" fmla="*/ 71 h 313"/>
              <a:gd name="T50" fmla="*/ 273 w 276"/>
              <a:gd name="T51" fmla="*/ 47 h 313"/>
              <a:gd name="T52" fmla="*/ 226 w 276"/>
              <a:gd name="T53" fmla="*/ 0 h 313"/>
              <a:gd name="T54" fmla="*/ 215 w 276"/>
              <a:gd name="T55" fmla="*/ 11 h 313"/>
              <a:gd name="T56" fmla="*/ 252 w 276"/>
              <a:gd name="T57" fmla="*/ 47 h 313"/>
              <a:gd name="T58" fmla="*/ 228 w 276"/>
              <a:gd name="T59" fmla="*/ 50 h 313"/>
              <a:gd name="T60" fmla="*/ 230 w 276"/>
              <a:gd name="T61" fmla="*/ 64 h 313"/>
              <a:gd name="T62" fmla="*/ 248 w 276"/>
              <a:gd name="T63" fmla="*/ 62 h 313"/>
              <a:gd name="T64" fmla="*/ 215 w 276"/>
              <a:gd name="T65" fmla="*/ 94 h 313"/>
              <a:gd name="T66" fmla="*/ 226 w 276"/>
              <a:gd name="T67" fmla="*/ 105 h 313"/>
              <a:gd name="T68" fmla="*/ 273 w 276"/>
              <a:gd name="T69" fmla="*/ 58 h 313"/>
              <a:gd name="T70" fmla="*/ 273 w 276"/>
              <a:gd name="T71" fmla="*/ 47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76" h="313">
                <a:moveTo>
                  <a:pt x="24" y="202"/>
                </a:moveTo>
                <a:cubicBezTo>
                  <a:pt x="37" y="208"/>
                  <a:pt x="37" y="208"/>
                  <a:pt x="37" y="208"/>
                </a:cubicBezTo>
                <a:cubicBezTo>
                  <a:pt x="32" y="219"/>
                  <a:pt x="28" y="230"/>
                  <a:pt x="25" y="242"/>
                </a:cubicBezTo>
                <a:cubicBezTo>
                  <a:pt x="11" y="238"/>
                  <a:pt x="11" y="238"/>
                  <a:pt x="11" y="238"/>
                </a:cubicBezTo>
                <a:cubicBezTo>
                  <a:pt x="14" y="226"/>
                  <a:pt x="19" y="214"/>
                  <a:pt x="24" y="202"/>
                </a:cubicBezTo>
                <a:close/>
                <a:moveTo>
                  <a:pt x="0" y="312"/>
                </a:moveTo>
                <a:cubicBezTo>
                  <a:pt x="15" y="313"/>
                  <a:pt x="15" y="313"/>
                  <a:pt x="15" y="313"/>
                </a:cubicBezTo>
                <a:cubicBezTo>
                  <a:pt x="15" y="301"/>
                  <a:pt x="16" y="289"/>
                  <a:pt x="17" y="277"/>
                </a:cubicBezTo>
                <a:cubicBezTo>
                  <a:pt x="3" y="275"/>
                  <a:pt x="3" y="275"/>
                  <a:pt x="3" y="275"/>
                </a:cubicBezTo>
                <a:cubicBezTo>
                  <a:pt x="1" y="287"/>
                  <a:pt x="0" y="300"/>
                  <a:pt x="0" y="312"/>
                </a:cubicBezTo>
                <a:close/>
                <a:moveTo>
                  <a:pt x="42" y="169"/>
                </a:moveTo>
                <a:cubicBezTo>
                  <a:pt x="55" y="177"/>
                  <a:pt x="55" y="177"/>
                  <a:pt x="55" y="177"/>
                </a:cubicBezTo>
                <a:cubicBezTo>
                  <a:pt x="61" y="167"/>
                  <a:pt x="68" y="157"/>
                  <a:pt x="76" y="148"/>
                </a:cubicBezTo>
                <a:cubicBezTo>
                  <a:pt x="65" y="139"/>
                  <a:pt x="65" y="139"/>
                  <a:pt x="65" y="139"/>
                </a:cubicBezTo>
                <a:cubicBezTo>
                  <a:pt x="57" y="148"/>
                  <a:pt x="49" y="158"/>
                  <a:pt x="42" y="169"/>
                </a:cubicBezTo>
                <a:close/>
                <a:moveTo>
                  <a:pt x="92" y="112"/>
                </a:moveTo>
                <a:cubicBezTo>
                  <a:pt x="102" y="123"/>
                  <a:pt x="102" y="123"/>
                  <a:pt x="102" y="123"/>
                </a:cubicBezTo>
                <a:cubicBezTo>
                  <a:pt x="111" y="115"/>
                  <a:pt x="120" y="108"/>
                  <a:pt x="130" y="101"/>
                </a:cubicBezTo>
                <a:cubicBezTo>
                  <a:pt x="122" y="89"/>
                  <a:pt x="122" y="89"/>
                  <a:pt x="122" y="89"/>
                </a:cubicBezTo>
                <a:cubicBezTo>
                  <a:pt x="112" y="96"/>
                  <a:pt x="101" y="103"/>
                  <a:pt x="92" y="112"/>
                </a:cubicBezTo>
                <a:close/>
                <a:moveTo>
                  <a:pt x="156" y="71"/>
                </a:moveTo>
                <a:cubicBezTo>
                  <a:pt x="162" y="84"/>
                  <a:pt x="162" y="84"/>
                  <a:pt x="162" y="84"/>
                </a:cubicBezTo>
                <a:cubicBezTo>
                  <a:pt x="173" y="79"/>
                  <a:pt x="184" y="75"/>
                  <a:pt x="195" y="72"/>
                </a:cubicBezTo>
                <a:cubicBezTo>
                  <a:pt x="191" y="58"/>
                  <a:pt x="191" y="58"/>
                  <a:pt x="191" y="58"/>
                </a:cubicBezTo>
                <a:cubicBezTo>
                  <a:pt x="179" y="61"/>
                  <a:pt x="167" y="66"/>
                  <a:pt x="156" y="71"/>
                </a:cubicBezTo>
                <a:close/>
                <a:moveTo>
                  <a:pt x="273" y="47"/>
                </a:moveTo>
                <a:cubicBezTo>
                  <a:pt x="226" y="0"/>
                  <a:pt x="226" y="0"/>
                  <a:pt x="226" y="0"/>
                </a:cubicBezTo>
                <a:cubicBezTo>
                  <a:pt x="215" y="11"/>
                  <a:pt x="215" y="11"/>
                  <a:pt x="215" y="11"/>
                </a:cubicBezTo>
                <a:cubicBezTo>
                  <a:pt x="252" y="47"/>
                  <a:pt x="252" y="47"/>
                  <a:pt x="252" y="47"/>
                </a:cubicBezTo>
                <a:cubicBezTo>
                  <a:pt x="244" y="48"/>
                  <a:pt x="236" y="48"/>
                  <a:pt x="228" y="50"/>
                </a:cubicBezTo>
                <a:cubicBezTo>
                  <a:pt x="230" y="64"/>
                  <a:pt x="230" y="64"/>
                  <a:pt x="230" y="64"/>
                </a:cubicBezTo>
                <a:cubicBezTo>
                  <a:pt x="236" y="63"/>
                  <a:pt x="242" y="63"/>
                  <a:pt x="248" y="62"/>
                </a:cubicBezTo>
                <a:cubicBezTo>
                  <a:pt x="215" y="94"/>
                  <a:pt x="215" y="94"/>
                  <a:pt x="215" y="94"/>
                </a:cubicBezTo>
                <a:cubicBezTo>
                  <a:pt x="226" y="105"/>
                  <a:pt x="226" y="105"/>
                  <a:pt x="226" y="105"/>
                </a:cubicBezTo>
                <a:cubicBezTo>
                  <a:pt x="273" y="58"/>
                  <a:pt x="273" y="58"/>
                  <a:pt x="273" y="58"/>
                </a:cubicBezTo>
                <a:cubicBezTo>
                  <a:pt x="276" y="55"/>
                  <a:pt x="276" y="50"/>
                  <a:pt x="273" y="47"/>
                </a:cubicBezTo>
                <a:close/>
              </a:path>
            </a:pathLst>
          </a:custGeom>
          <a:solidFill>
            <a:srgbClr val="FFFFFF"/>
          </a:solidFill>
          <a:ln>
            <a:noFill/>
          </a:ln>
        </p:spPr>
        <p:txBody>
          <a:bodyPr vert="horz" wrap="square" lIns="68571" tIns="34286" rIns="68571" bIns="34286" numCol="1" anchor="t" anchorCtr="0" compatLnSpc="1">
            <a:prstTxWarp prst="textNoShape">
              <a:avLst/>
            </a:prstTxWarp>
          </a:bodyPr>
          <a:lstStyle/>
          <a:p>
            <a:endParaRPr lang="en-US"/>
          </a:p>
        </p:txBody>
      </p:sp>
      <p:sp>
        <p:nvSpPr>
          <p:cNvPr id="208" name="Freeform 90"/>
          <p:cNvSpPr>
            <a:spLocks noEditPoints="1"/>
          </p:cNvSpPr>
          <p:nvPr/>
        </p:nvSpPr>
        <p:spPr bwMode="auto">
          <a:xfrm>
            <a:off x="652309" y="3897317"/>
            <a:ext cx="330234" cy="401073"/>
          </a:xfrm>
          <a:custGeom>
            <a:avLst/>
            <a:gdLst>
              <a:gd name="T0" fmla="*/ 136 w 280"/>
              <a:gd name="T1" fmla="*/ 143 h 340"/>
              <a:gd name="T2" fmla="*/ 88 w 280"/>
              <a:gd name="T3" fmla="*/ 95 h 340"/>
              <a:gd name="T4" fmla="*/ 98 w 280"/>
              <a:gd name="T5" fmla="*/ 85 h 340"/>
              <a:gd name="T6" fmla="*/ 133 w 280"/>
              <a:gd name="T7" fmla="*/ 120 h 340"/>
              <a:gd name="T8" fmla="*/ 133 w 280"/>
              <a:gd name="T9" fmla="*/ 0 h 340"/>
              <a:gd name="T10" fmla="*/ 148 w 280"/>
              <a:gd name="T11" fmla="*/ 0 h 340"/>
              <a:gd name="T12" fmla="*/ 148 w 280"/>
              <a:gd name="T13" fmla="*/ 120 h 340"/>
              <a:gd name="T14" fmla="*/ 184 w 280"/>
              <a:gd name="T15" fmla="*/ 85 h 340"/>
              <a:gd name="T16" fmla="*/ 194 w 280"/>
              <a:gd name="T17" fmla="*/ 95 h 340"/>
              <a:gd name="T18" fmla="*/ 146 w 280"/>
              <a:gd name="T19" fmla="*/ 143 h 340"/>
              <a:gd name="T20" fmla="*/ 141 w 280"/>
              <a:gd name="T21" fmla="*/ 145 h 340"/>
              <a:gd name="T22" fmla="*/ 136 w 280"/>
              <a:gd name="T23" fmla="*/ 143 h 340"/>
              <a:gd name="T24" fmla="*/ 280 w 280"/>
              <a:gd name="T25" fmla="*/ 200 h 340"/>
              <a:gd name="T26" fmla="*/ 280 w 280"/>
              <a:gd name="T27" fmla="*/ 332 h 340"/>
              <a:gd name="T28" fmla="*/ 273 w 280"/>
              <a:gd name="T29" fmla="*/ 340 h 340"/>
              <a:gd name="T30" fmla="*/ 7 w 280"/>
              <a:gd name="T31" fmla="*/ 340 h 340"/>
              <a:gd name="T32" fmla="*/ 0 w 280"/>
              <a:gd name="T33" fmla="*/ 332 h 340"/>
              <a:gd name="T34" fmla="*/ 0 w 280"/>
              <a:gd name="T35" fmla="*/ 200 h 340"/>
              <a:gd name="T36" fmla="*/ 7 w 280"/>
              <a:gd name="T37" fmla="*/ 192 h 340"/>
              <a:gd name="T38" fmla="*/ 273 w 280"/>
              <a:gd name="T39" fmla="*/ 192 h 340"/>
              <a:gd name="T40" fmla="*/ 280 w 280"/>
              <a:gd name="T41" fmla="*/ 200 h 340"/>
              <a:gd name="T42" fmla="*/ 266 w 280"/>
              <a:gd name="T43" fmla="*/ 207 h 340"/>
              <a:gd name="T44" fmla="*/ 15 w 280"/>
              <a:gd name="T45" fmla="*/ 207 h 340"/>
              <a:gd name="T46" fmla="*/ 15 w 280"/>
              <a:gd name="T47" fmla="*/ 325 h 340"/>
              <a:gd name="T48" fmla="*/ 266 w 280"/>
              <a:gd name="T49" fmla="*/ 325 h 340"/>
              <a:gd name="T50" fmla="*/ 266 w 280"/>
              <a:gd name="T51" fmla="*/ 207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80" h="340">
                <a:moveTo>
                  <a:pt x="136" y="143"/>
                </a:moveTo>
                <a:cubicBezTo>
                  <a:pt x="88" y="95"/>
                  <a:pt x="88" y="95"/>
                  <a:pt x="88" y="95"/>
                </a:cubicBezTo>
                <a:cubicBezTo>
                  <a:pt x="98" y="85"/>
                  <a:pt x="98" y="85"/>
                  <a:pt x="98" y="85"/>
                </a:cubicBezTo>
                <a:cubicBezTo>
                  <a:pt x="133" y="120"/>
                  <a:pt x="133" y="120"/>
                  <a:pt x="133" y="120"/>
                </a:cubicBezTo>
                <a:cubicBezTo>
                  <a:pt x="133" y="0"/>
                  <a:pt x="133" y="0"/>
                  <a:pt x="133" y="0"/>
                </a:cubicBezTo>
                <a:cubicBezTo>
                  <a:pt x="148" y="0"/>
                  <a:pt x="148" y="0"/>
                  <a:pt x="148" y="0"/>
                </a:cubicBezTo>
                <a:cubicBezTo>
                  <a:pt x="148" y="120"/>
                  <a:pt x="148" y="120"/>
                  <a:pt x="148" y="120"/>
                </a:cubicBezTo>
                <a:cubicBezTo>
                  <a:pt x="184" y="85"/>
                  <a:pt x="184" y="85"/>
                  <a:pt x="184" y="85"/>
                </a:cubicBezTo>
                <a:cubicBezTo>
                  <a:pt x="194" y="95"/>
                  <a:pt x="194" y="95"/>
                  <a:pt x="194" y="95"/>
                </a:cubicBezTo>
                <a:cubicBezTo>
                  <a:pt x="146" y="143"/>
                  <a:pt x="146" y="143"/>
                  <a:pt x="146" y="143"/>
                </a:cubicBezTo>
                <a:cubicBezTo>
                  <a:pt x="145" y="144"/>
                  <a:pt x="143" y="145"/>
                  <a:pt x="141" y="145"/>
                </a:cubicBezTo>
                <a:cubicBezTo>
                  <a:pt x="139" y="145"/>
                  <a:pt x="137" y="144"/>
                  <a:pt x="136" y="143"/>
                </a:cubicBezTo>
                <a:close/>
                <a:moveTo>
                  <a:pt x="280" y="200"/>
                </a:moveTo>
                <a:cubicBezTo>
                  <a:pt x="280" y="332"/>
                  <a:pt x="280" y="332"/>
                  <a:pt x="280" y="332"/>
                </a:cubicBezTo>
                <a:cubicBezTo>
                  <a:pt x="280" y="337"/>
                  <a:pt x="277" y="340"/>
                  <a:pt x="273" y="340"/>
                </a:cubicBezTo>
                <a:cubicBezTo>
                  <a:pt x="7" y="340"/>
                  <a:pt x="7" y="340"/>
                  <a:pt x="7" y="340"/>
                </a:cubicBezTo>
                <a:cubicBezTo>
                  <a:pt x="3" y="340"/>
                  <a:pt x="0" y="337"/>
                  <a:pt x="0" y="332"/>
                </a:cubicBezTo>
                <a:cubicBezTo>
                  <a:pt x="0" y="200"/>
                  <a:pt x="0" y="200"/>
                  <a:pt x="0" y="200"/>
                </a:cubicBezTo>
                <a:cubicBezTo>
                  <a:pt x="0" y="195"/>
                  <a:pt x="3" y="192"/>
                  <a:pt x="7" y="192"/>
                </a:cubicBezTo>
                <a:cubicBezTo>
                  <a:pt x="273" y="192"/>
                  <a:pt x="273" y="192"/>
                  <a:pt x="273" y="192"/>
                </a:cubicBezTo>
                <a:cubicBezTo>
                  <a:pt x="277" y="192"/>
                  <a:pt x="280" y="195"/>
                  <a:pt x="280" y="200"/>
                </a:cubicBezTo>
                <a:close/>
                <a:moveTo>
                  <a:pt x="266" y="207"/>
                </a:moveTo>
                <a:cubicBezTo>
                  <a:pt x="15" y="207"/>
                  <a:pt x="15" y="207"/>
                  <a:pt x="15" y="207"/>
                </a:cubicBezTo>
                <a:cubicBezTo>
                  <a:pt x="15" y="325"/>
                  <a:pt x="15" y="325"/>
                  <a:pt x="15" y="325"/>
                </a:cubicBezTo>
                <a:cubicBezTo>
                  <a:pt x="266" y="325"/>
                  <a:pt x="266" y="325"/>
                  <a:pt x="266" y="325"/>
                </a:cubicBezTo>
                <a:lnTo>
                  <a:pt x="266" y="207"/>
                </a:lnTo>
                <a:close/>
              </a:path>
            </a:pathLst>
          </a:custGeom>
          <a:solidFill>
            <a:srgbClr val="FFFFFF"/>
          </a:solidFill>
          <a:ln>
            <a:noFill/>
          </a:ln>
        </p:spPr>
        <p:txBody>
          <a:bodyPr vert="horz" wrap="square" lIns="68571" tIns="34286" rIns="68571" bIns="34286" numCol="1" anchor="t" anchorCtr="0" compatLnSpc="1">
            <a:prstTxWarp prst="textNoShape">
              <a:avLst/>
            </a:prstTxWarp>
          </a:bodyPr>
          <a:lstStyle/>
          <a:p>
            <a:endParaRPr lang="en-US"/>
          </a:p>
        </p:txBody>
      </p:sp>
      <p:sp>
        <p:nvSpPr>
          <p:cNvPr id="209" name="Freeform 91"/>
          <p:cNvSpPr>
            <a:spLocks noEditPoints="1"/>
          </p:cNvSpPr>
          <p:nvPr/>
        </p:nvSpPr>
        <p:spPr bwMode="auto">
          <a:xfrm>
            <a:off x="3322267" y="3853613"/>
            <a:ext cx="410670" cy="488481"/>
          </a:xfrm>
          <a:custGeom>
            <a:avLst/>
            <a:gdLst>
              <a:gd name="T0" fmla="*/ 8 w 348"/>
              <a:gd name="T1" fmla="*/ 0 h 414"/>
              <a:gd name="T2" fmla="*/ 0 w 348"/>
              <a:gd name="T3" fmla="*/ 406 h 414"/>
              <a:gd name="T4" fmla="*/ 340 w 348"/>
              <a:gd name="T5" fmla="*/ 414 h 414"/>
              <a:gd name="T6" fmla="*/ 348 w 348"/>
              <a:gd name="T7" fmla="*/ 8 h 414"/>
              <a:gd name="T8" fmla="*/ 333 w 348"/>
              <a:gd name="T9" fmla="*/ 399 h 414"/>
              <a:gd name="T10" fmla="*/ 15 w 348"/>
              <a:gd name="T11" fmla="*/ 15 h 414"/>
              <a:gd name="T12" fmla="*/ 333 w 348"/>
              <a:gd name="T13" fmla="*/ 399 h 414"/>
              <a:gd name="T14" fmla="*/ 33 w 348"/>
              <a:gd name="T15" fmla="*/ 43 h 414"/>
              <a:gd name="T16" fmla="*/ 307 w 348"/>
              <a:gd name="T17" fmla="*/ 36 h 414"/>
              <a:gd name="T18" fmla="*/ 315 w 348"/>
              <a:gd name="T19" fmla="*/ 104 h 414"/>
              <a:gd name="T20" fmla="*/ 41 w 348"/>
              <a:gd name="T21" fmla="*/ 111 h 414"/>
              <a:gd name="T22" fmla="*/ 108 w 348"/>
              <a:gd name="T23" fmla="*/ 141 h 414"/>
              <a:gd name="T24" fmla="*/ 123 w 348"/>
              <a:gd name="T25" fmla="*/ 203 h 414"/>
              <a:gd name="T26" fmla="*/ 53 w 348"/>
              <a:gd name="T27" fmla="*/ 210 h 414"/>
              <a:gd name="T28" fmla="*/ 108 w 348"/>
              <a:gd name="T29" fmla="*/ 195 h 414"/>
              <a:gd name="T30" fmla="*/ 198 w 348"/>
              <a:gd name="T31" fmla="*/ 141 h 414"/>
              <a:gd name="T32" fmla="*/ 212 w 348"/>
              <a:gd name="T33" fmla="*/ 203 h 414"/>
              <a:gd name="T34" fmla="*/ 143 w 348"/>
              <a:gd name="T35" fmla="*/ 210 h 414"/>
              <a:gd name="T36" fmla="*/ 198 w 348"/>
              <a:gd name="T37" fmla="*/ 195 h 414"/>
              <a:gd name="T38" fmla="*/ 287 w 348"/>
              <a:gd name="T39" fmla="*/ 141 h 414"/>
              <a:gd name="T40" fmla="*/ 302 w 348"/>
              <a:gd name="T41" fmla="*/ 203 h 414"/>
              <a:gd name="T42" fmla="*/ 233 w 348"/>
              <a:gd name="T43" fmla="*/ 210 h 414"/>
              <a:gd name="T44" fmla="*/ 287 w 348"/>
              <a:gd name="T45" fmla="*/ 195 h 414"/>
              <a:gd name="T46" fmla="*/ 108 w 348"/>
              <a:gd name="T47" fmla="*/ 314 h 414"/>
              <a:gd name="T48" fmla="*/ 123 w 348"/>
              <a:gd name="T49" fmla="*/ 376 h 414"/>
              <a:gd name="T50" fmla="*/ 53 w 348"/>
              <a:gd name="T51" fmla="*/ 384 h 414"/>
              <a:gd name="T52" fmla="*/ 108 w 348"/>
              <a:gd name="T53" fmla="*/ 369 h 414"/>
              <a:gd name="T54" fmla="*/ 198 w 348"/>
              <a:gd name="T55" fmla="*/ 314 h 414"/>
              <a:gd name="T56" fmla="*/ 212 w 348"/>
              <a:gd name="T57" fmla="*/ 376 h 414"/>
              <a:gd name="T58" fmla="*/ 143 w 348"/>
              <a:gd name="T59" fmla="*/ 384 h 414"/>
              <a:gd name="T60" fmla="*/ 198 w 348"/>
              <a:gd name="T61" fmla="*/ 369 h 414"/>
              <a:gd name="T62" fmla="*/ 287 w 348"/>
              <a:gd name="T63" fmla="*/ 314 h 414"/>
              <a:gd name="T64" fmla="*/ 302 w 348"/>
              <a:gd name="T65" fmla="*/ 376 h 414"/>
              <a:gd name="T66" fmla="*/ 233 w 348"/>
              <a:gd name="T67" fmla="*/ 384 h 414"/>
              <a:gd name="T68" fmla="*/ 287 w 348"/>
              <a:gd name="T69" fmla="*/ 369 h 414"/>
              <a:gd name="T70" fmla="*/ 108 w 348"/>
              <a:gd name="T71" fmla="*/ 227 h 414"/>
              <a:gd name="T72" fmla="*/ 123 w 348"/>
              <a:gd name="T73" fmla="*/ 289 h 414"/>
              <a:gd name="T74" fmla="*/ 53 w 348"/>
              <a:gd name="T75" fmla="*/ 297 h 414"/>
              <a:gd name="T76" fmla="*/ 108 w 348"/>
              <a:gd name="T77" fmla="*/ 282 h 414"/>
              <a:gd name="T78" fmla="*/ 198 w 348"/>
              <a:gd name="T79" fmla="*/ 227 h 414"/>
              <a:gd name="T80" fmla="*/ 212 w 348"/>
              <a:gd name="T81" fmla="*/ 289 h 414"/>
              <a:gd name="T82" fmla="*/ 143 w 348"/>
              <a:gd name="T83" fmla="*/ 297 h 414"/>
              <a:gd name="T84" fmla="*/ 198 w 348"/>
              <a:gd name="T85" fmla="*/ 282 h 414"/>
              <a:gd name="T86" fmla="*/ 287 w 348"/>
              <a:gd name="T87" fmla="*/ 227 h 414"/>
              <a:gd name="T88" fmla="*/ 302 w 348"/>
              <a:gd name="T89" fmla="*/ 289 h 414"/>
              <a:gd name="T90" fmla="*/ 233 w 348"/>
              <a:gd name="T91" fmla="*/ 297 h 414"/>
              <a:gd name="T92" fmla="*/ 287 w 348"/>
              <a:gd name="T93" fmla="*/ 28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8" h="414">
                <a:moveTo>
                  <a:pt x="340" y="0"/>
                </a:moveTo>
                <a:cubicBezTo>
                  <a:pt x="8" y="0"/>
                  <a:pt x="8" y="0"/>
                  <a:pt x="8" y="0"/>
                </a:cubicBezTo>
                <a:cubicBezTo>
                  <a:pt x="4" y="0"/>
                  <a:pt x="0" y="4"/>
                  <a:pt x="0" y="8"/>
                </a:cubicBezTo>
                <a:cubicBezTo>
                  <a:pt x="0" y="406"/>
                  <a:pt x="0" y="406"/>
                  <a:pt x="0" y="406"/>
                </a:cubicBezTo>
                <a:cubicBezTo>
                  <a:pt x="0" y="410"/>
                  <a:pt x="4" y="414"/>
                  <a:pt x="8" y="414"/>
                </a:cubicBezTo>
                <a:cubicBezTo>
                  <a:pt x="340" y="414"/>
                  <a:pt x="340" y="414"/>
                  <a:pt x="340" y="414"/>
                </a:cubicBezTo>
                <a:cubicBezTo>
                  <a:pt x="344" y="414"/>
                  <a:pt x="348" y="410"/>
                  <a:pt x="348" y="406"/>
                </a:cubicBezTo>
                <a:cubicBezTo>
                  <a:pt x="348" y="8"/>
                  <a:pt x="348" y="8"/>
                  <a:pt x="348" y="8"/>
                </a:cubicBezTo>
                <a:cubicBezTo>
                  <a:pt x="348" y="4"/>
                  <a:pt x="344" y="0"/>
                  <a:pt x="340" y="0"/>
                </a:cubicBezTo>
                <a:close/>
                <a:moveTo>
                  <a:pt x="333" y="399"/>
                </a:moveTo>
                <a:cubicBezTo>
                  <a:pt x="15" y="399"/>
                  <a:pt x="15" y="399"/>
                  <a:pt x="15" y="399"/>
                </a:cubicBezTo>
                <a:cubicBezTo>
                  <a:pt x="15" y="15"/>
                  <a:pt x="15" y="15"/>
                  <a:pt x="15" y="15"/>
                </a:cubicBezTo>
                <a:cubicBezTo>
                  <a:pt x="333" y="15"/>
                  <a:pt x="333" y="15"/>
                  <a:pt x="333" y="15"/>
                </a:cubicBezTo>
                <a:lnTo>
                  <a:pt x="333" y="399"/>
                </a:lnTo>
                <a:close/>
                <a:moveTo>
                  <a:pt x="33" y="104"/>
                </a:moveTo>
                <a:cubicBezTo>
                  <a:pt x="33" y="43"/>
                  <a:pt x="33" y="43"/>
                  <a:pt x="33" y="43"/>
                </a:cubicBezTo>
                <a:cubicBezTo>
                  <a:pt x="33" y="39"/>
                  <a:pt x="37" y="36"/>
                  <a:pt x="41" y="36"/>
                </a:cubicBezTo>
                <a:cubicBezTo>
                  <a:pt x="307" y="36"/>
                  <a:pt x="307" y="36"/>
                  <a:pt x="307" y="36"/>
                </a:cubicBezTo>
                <a:cubicBezTo>
                  <a:pt x="311" y="36"/>
                  <a:pt x="315" y="39"/>
                  <a:pt x="315" y="43"/>
                </a:cubicBezTo>
                <a:cubicBezTo>
                  <a:pt x="315" y="104"/>
                  <a:pt x="315" y="104"/>
                  <a:pt x="315" y="104"/>
                </a:cubicBezTo>
                <a:cubicBezTo>
                  <a:pt x="315" y="108"/>
                  <a:pt x="311" y="111"/>
                  <a:pt x="307" y="111"/>
                </a:cubicBezTo>
                <a:cubicBezTo>
                  <a:pt x="41" y="111"/>
                  <a:pt x="41" y="111"/>
                  <a:pt x="41" y="111"/>
                </a:cubicBezTo>
                <a:cubicBezTo>
                  <a:pt x="37" y="111"/>
                  <a:pt x="33" y="108"/>
                  <a:pt x="33" y="104"/>
                </a:cubicBezTo>
                <a:close/>
                <a:moveTo>
                  <a:pt x="108" y="141"/>
                </a:moveTo>
                <a:cubicBezTo>
                  <a:pt x="123" y="141"/>
                  <a:pt x="123" y="141"/>
                  <a:pt x="123" y="141"/>
                </a:cubicBezTo>
                <a:cubicBezTo>
                  <a:pt x="123" y="203"/>
                  <a:pt x="123" y="203"/>
                  <a:pt x="123" y="203"/>
                </a:cubicBezTo>
                <a:cubicBezTo>
                  <a:pt x="123" y="207"/>
                  <a:pt x="119" y="210"/>
                  <a:pt x="115" y="210"/>
                </a:cubicBezTo>
                <a:cubicBezTo>
                  <a:pt x="53" y="210"/>
                  <a:pt x="53" y="210"/>
                  <a:pt x="53" y="210"/>
                </a:cubicBezTo>
                <a:cubicBezTo>
                  <a:pt x="53" y="195"/>
                  <a:pt x="53" y="195"/>
                  <a:pt x="53" y="195"/>
                </a:cubicBezTo>
                <a:cubicBezTo>
                  <a:pt x="108" y="195"/>
                  <a:pt x="108" y="195"/>
                  <a:pt x="108" y="195"/>
                </a:cubicBezTo>
                <a:lnTo>
                  <a:pt x="108" y="141"/>
                </a:lnTo>
                <a:close/>
                <a:moveTo>
                  <a:pt x="198" y="141"/>
                </a:moveTo>
                <a:cubicBezTo>
                  <a:pt x="212" y="141"/>
                  <a:pt x="212" y="141"/>
                  <a:pt x="212" y="141"/>
                </a:cubicBezTo>
                <a:cubicBezTo>
                  <a:pt x="212" y="203"/>
                  <a:pt x="212" y="203"/>
                  <a:pt x="212" y="203"/>
                </a:cubicBezTo>
                <a:cubicBezTo>
                  <a:pt x="212" y="207"/>
                  <a:pt x="209" y="210"/>
                  <a:pt x="205" y="210"/>
                </a:cubicBezTo>
                <a:cubicBezTo>
                  <a:pt x="143" y="210"/>
                  <a:pt x="143" y="210"/>
                  <a:pt x="143" y="210"/>
                </a:cubicBezTo>
                <a:cubicBezTo>
                  <a:pt x="143" y="195"/>
                  <a:pt x="143" y="195"/>
                  <a:pt x="143" y="195"/>
                </a:cubicBezTo>
                <a:cubicBezTo>
                  <a:pt x="198" y="195"/>
                  <a:pt x="198" y="195"/>
                  <a:pt x="198" y="195"/>
                </a:cubicBezTo>
                <a:lnTo>
                  <a:pt x="198" y="141"/>
                </a:lnTo>
                <a:close/>
                <a:moveTo>
                  <a:pt x="287" y="141"/>
                </a:moveTo>
                <a:cubicBezTo>
                  <a:pt x="302" y="141"/>
                  <a:pt x="302" y="141"/>
                  <a:pt x="302" y="141"/>
                </a:cubicBezTo>
                <a:cubicBezTo>
                  <a:pt x="302" y="203"/>
                  <a:pt x="302" y="203"/>
                  <a:pt x="302" y="203"/>
                </a:cubicBezTo>
                <a:cubicBezTo>
                  <a:pt x="302" y="207"/>
                  <a:pt x="299" y="210"/>
                  <a:pt x="295" y="210"/>
                </a:cubicBezTo>
                <a:cubicBezTo>
                  <a:pt x="233" y="210"/>
                  <a:pt x="233" y="210"/>
                  <a:pt x="233" y="210"/>
                </a:cubicBezTo>
                <a:cubicBezTo>
                  <a:pt x="233" y="195"/>
                  <a:pt x="233" y="195"/>
                  <a:pt x="233" y="195"/>
                </a:cubicBezTo>
                <a:cubicBezTo>
                  <a:pt x="287" y="195"/>
                  <a:pt x="287" y="195"/>
                  <a:pt x="287" y="195"/>
                </a:cubicBezTo>
                <a:lnTo>
                  <a:pt x="287" y="141"/>
                </a:lnTo>
                <a:close/>
                <a:moveTo>
                  <a:pt x="108" y="314"/>
                </a:moveTo>
                <a:cubicBezTo>
                  <a:pt x="123" y="314"/>
                  <a:pt x="123" y="314"/>
                  <a:pt x="123" y="314"/>
                </a:cubicBezTo>
                <a:cubicBezTo>
                  <a:pt x="123" y="376"/>
                  <a:pt x="123" y="376"/>
                  <a:pt x="123" y="376"/>
                </a:cubicBezTo>
                <a:cubicBezTo>
                  <a:pt x="123" y="380"/>
                  <a:pt x="119" y="384"/>
                  <a:pt x="115" y="384"/>
                </a:cubicBezTo>
                <a:cubicBezTo>
                  <a:pt x="53" y="384"/>
                  <a:pt x="53" y="384"/>
                  <a:pt x="53" y="384"/>
                </a:cubicBezTo>
                <a:cubicBezTo>
                  <a:pt x="53" y="369"/>
                  <a:pt x="53" y="369"/>
                  <a:pt x="53" y="369"/>
                </a:cubicBezTo>
                <a:cubicBezTo>
                  <a:pt x="108" y="369"/>
                  <a:pt x="108" y="369"/>
                  <a:pt x="108" y="369"/>
                </a:cubicBezTo>
                <a:lnTo>
                  <a:pt x="108" y="314"/>
                </a:lnTo>
                <a:close/>
                <a:moveTo>
                  <a:pt x="198" y="314"/>
                </a:moveTo>
                <a:cubicBezTo>
                  <a:pt x="212" y="314"/>
                  <a:pt x="212" y="314"/>
                  <a:pt x="212" y="314"/>
                </a:cubicBezTo>
                <a:cubicBezTo>
                  <a:pt x="212" y="376"/>
                  <a:pt x="212" y="376"/>
                  <a:pt x="212" y="376"/>
                </a:cubicBezTo>
                <a:cubicBezTo>
                  <a:pt x="212" y="380"/>
                  <a:pt x="209" y="384"/>
                  <a:pt x="205" y="384"/>
                </a:cubicBezTo>
                <a:cubicBezTo>
                  <a:pt x="143" y="384"/>
                  <a:pt x="143" y="384"/>
                  <a:pt x="143" y="384"/>
                </a:cubicBezTo>
                <a:cubicBezTo>
                  <a:pt x="143" y="369"/>
                  <a:pt x="143" y="369"/>
                  <a:pt x="143" y="369"/>
                </a:cubicBezTo>
                <a:cubicBezTo>
                  <a:pt x="198" y="369"/>
                  <a:pt x="198" y="369"/>
                  <a:pt x="198" y="369"/>
                </a:cubicBezTo>
                <a:lnTo>
                  <a:pt x="198" y="314"/>
                </a:lnTo>
                <a:close/>
                <a:moveTo>
                  <a:pt x="287" y="314"/>
                </a:moveTo>
                <a:cubicBezTo>
                  <a:pt x="302" y="314"/>
                  <a:pt x="302" y="314"/>
                  <a:pt x="302" y="314"/>
                </a:cubicBezTo>
                <a:cubicBezTo>
                  <a:pt x="302" y="376"/>
                  <a:pt x="302" y="376"/>
                  <a:pt x="302" y="376"/>
                </a:cubicBezTo>
                <a:cubicBezTo>
                  <a:pt x="302" y="380"/>
                  <a:pt x="299" y="384"/>
                  <a:pt x="295" y="384"/>
                </a:cubicBezTo>
                <a:cubicBezTo>
                  <a:pt x="233" y="384"/>
                  <a:pt x="233" y="384"/>
                  <a:pt x="233" y="384"/>
                </a:cubicBezTo>
                <a:cubicBezTo>
                  <a:pt x="233" y="369"/>
                  <a:pt x="233" y="369"/>
                  <a:pt x="233" y="369"/>
                </a:cubicBezTo>
                <a:cubicBezTo>
                  <a:pt x="287" y="369"/>
                  <a:pt x="287" y="369"/>
                  <a:pt x="287" y="369"/>
                </a:cubicBezTo>
                <a:lnTo>
                  <a:pt x="287" y="314"/>
                </a:lnTo>
                <a:close/>
                <a:moveTo>
                  <a:pt x="108" y="227"/>
                </a:moveTo>
                <a:cubicBezTo>
                  <a:pt x="123" y="227"/>
                  <a:pt x="123" y="227"/>
                  <a:pt x="123" y="227"/>
                </a:cubicBezTo>
                <a:cubicBezTo>
                  <a:pt x="123" y="289"/>
                  <a:pt x="123" y="289"/>
                  <a:pt x="123" y="289"/>
                </a:cubicBezTo>
                <a:cubicBezTo>
                  <a:pt x="123" y="293"/>
                  <a:pt x="119" y="297"/>
                  <a:pt x="115" y="297"/>
                </a:cubicBezTo>
                <a:cubicBezTo>
                  <a:pt x="53" y="297"/>
                  <a:pt x="53" y="297"/>
                  <a:pt x="53" y="297"/>
                </a:cubicBezTo>
                <a:cubicBezTo>
                  <a:pt x="53" y="282"/>
                  <a:pt x="53" y="282"/>
                  <a:pt x="53" y="282"/>
                </a:cubicBezTo>
                <a:cubicBezTo>
                  <a:pt x="108" y="282"/>
                  <a:pt x="108" y="282"/>
                  <a:pt x="108" y="282"/>
                </a:cubicBezTo>
                <a:lnTo>
                  <a:pt x="108" y="227"/>
                </a:lnTo>
                <a:close/>
                <a:moveTo>
                  <a:pt x="198" y="227"/>
                </a:moveTo>
                <a:cubicBezTo>
                  <a:pt x="212" y="227"/>
                  <a:pt x="212" y="227"/>
                  <a:pt x="212" y="227"/>
                </a:cubicBezTo>
                <a:cubicBezTo>
                  <a:pt x="212" y="289"/>
                  <a:pt x="212" y="289"/>
                  <a:pt x="212" y="289"/>
                </a:cubicBezTo>
                <a:cubicBezTo>
                  <a:pt x="212" y="293"/>
                  <a:pt x="209" y="297"/>
                  <a:pt x="205" y="297"/>
                </a:cubicBezTo>
                <a:cubicBezTo>
                  <a:pt x="143" y="297"/>
                  <a:pt x="143" y="297"/>
                  <a:pt x="143" y="297"/>
                </a:cubicBezTo>
                <a:cubicBezTo>
                  <a:pt x="143" y="282"/>
                  <a:pt x="143" y="282"/>
                  <a:pt x="143" y="282"/>
                </a:cubicBezTo>
                <a:cubicBezTo>
                  <a:pt x="198" y="282"/>
                  <a:pt x="198" y="282"/>
                  <a:pt x="198" y="282"/>
                </a:cubicBezTo>
                <a:lnTo>
                  <a:pt x="198" y="227"/>
                </a:lnTo>
                <a:close/>
                <a:moveTo>
                  <a:pt x="287" y="227"/>
                </a:moveTo>
                <a:cubicBezTo>
                  <a:pt x="302" y="227"/>
                  <a:pt x="302" y="227"/>
                  <a:pt x="302" y="227"/>
                </a:cubicBezTo>
                <a:cubicBezTo>
                  <a:pt x="302" y="289"/>
                  <a:pt x="302" y="289"/>
                  <a:pt x="302" y="289"/>
                </a:cubicBezTo>
                <a:cubicBezTo>
                  <a:pt x="302" y="293"/>
                  <a:pt x="299" y="297"/>
                  <a:pt x="295" y="297"/>
                </a:cubicBezTo>
                <a:cubicBezTo>
                  <a:pt x="233" y="297"/>
                  <a:pt x="233" y="297"/>
                  <a:pt x="233" y="297"/>
                </a:cubicBezTo>
                <a:cubicBezTo>
                  <a:pt x="233" y="282"/>
                  <a:pt x="233" y="282"/>
                  <a:pt x="233" y="282"/>
                </a:cubicBezTo>
                <a:cubicBezTo>
                  <a:pt x="287" y="282"/>
                  <a:pt x="287" y="282"/>
                  <a:pt x="287" y="282"/>
                </a:cubicBezTo>
                <a:lnTo>
                  <a:pt x="287" y="227"/>
                </a:lnTo>
                <a:close/>
              </a:path>
            </a:pathLst>
          </a:custGeom>
          <a:solidFill>
            <a:srgbClr val="FFFFFF"/>
          </a:solidFill>
          <a:ln>
            <a:noFill/>
          </a:ln>
        </p:spPr>
        <p:txBody>
          <a:bodyPr vert="horz" wrap="square" lIns="68571" tIns="34286" rIns="68571" bIns="34286" numCol="1" anchor="t" anchorCtr="0" compatLnSpc="1">
            <a:prstTxWarp prst="textNoShape">
              <a:avLst/>
            </a:prstTxWarp>
          </a:bodyPr>
          <a:lstStyle/>
          <a:p>
            <a:endParaRPr lang="en-US"/>
          </a:p>
        </p:txBody>
      </p:sp>
      <p:sp>
        <p:nvSpPr>
          <p:cNvPr id="210" name="Freeform 92"/>
          <p:cNvSpPr>
            <a:spLocks noEditPoints="1"/>
          </p:cNvSpPr>
          <p:nvPr/>
        </p:nvSpPr>
        <p:spPr bwMode="auto">
          <a:xfrm>
            <a:off x="5129549" y="3838381"/>
            <a:ext cx="409671" cy="518948"/>
          </a:xfrm>
          <a:custGeom>
            <a:avLst/>
            <a:gdLst>
              <a:gd name="T0" fmla="*/ 340 w 347"/>
              <a:gd name="T1" fmla="*/ 93 h 440"/>
              <a:gd name="T2" fmla="*/ 281 w 347"/>
              <a:gd name="T3" fmla="*/ 93 h 440"/>
              <a:gd name="T4" fmla="*/ 281 w 347"/>
              <a:gd name="T5" fmla="*/ 34 h 440"/>
              <a:gd name="T6" fmla="*/ 273 w 347"/>
              <a:gd name="T7" fmla="*/ 27 h 440"/>
              <a:gd name="T8" fmla="*/ 214 w 347"/>
              <a:gd name="T9" fmla="*/ 27 h 440"/>
              <a:gd name="T10" fmla="*/ 214 w 347"/>
              <a:gd name="T11" fmla="*/ 7 h 440"/>
              <a:gd name="T12" fmla="*/ 207 w 347"/>
              <a:gd name="T13" fmla="*/ 0 h 440"/>
              <a:gd name="T14" fmla="*/ 140 w 347"/>
              <a:gd name="T15" fmla="*/ 0 h 440"/>
              <a:gd name="T16" fmla="*/ 133 w 347"/>
              <a:gd name="T17" fmla="*/ 7 h 440"/>
              <a:gd name="T18" fmla="*/ 133 w 347"/>
              <a:gd name="T19" fmla="*/ 27 h 440"/>
              <a:gd name="T20" fmla="*/ 74 w 347"/>
              <a:gd name="T21" fmla="*/ 27 h 440"/>
              <a:gd name="T22" fmla="*/ 66 w 347"/>
              <a:gd name="T23" fmla="*/ 34 h 440"/>
              <a:gd name="T24" fmla="*/ 66 w 347"/>
              <a:gd name="T25" fmla="*/ 159 h 440"/>
              <a:gd name="T26" fmla="*/ 7 w 347"/>
              <a:gd name="T27" fmla="*/ 159 h 440"/>
              <a:gd name="T28" fmla="*/ 0 w 347"/>
              <a:gd name="T29" fmla="*/ 167 h 440"/>
              <a:gd name="T30" fmla="*/ 0 w 347"/>
              <a:gd name="T31" fmla="*/ 300 h 440"/>
              <a:gd name="T32" fmla="*/ 2 w 347"/>
              <a:gd name="T33" fmla="*/ 305 h 440"/>
              <a:gd name="T34" fmla="*/ 66 w 347"/>
              <a:gd name="T35" fmla="*/ 369 h 440"/>
              <a:gd name="T36" fmla="*/ 66 w 347"/>
              <a:gd name="T37" fmla="*/ 433 h 440"/>
              <a:gd name="T38" fmla="*/ 74 w 347"/>
              <a:gd name="T39" fmla="*/ 440 h 440"/>
              <a:gd name="T40" fmla="*/ 273 w 347"/>
              <a:gd name="T41" fmla="*/ 440 h 440"/>
              <a:gd name="T42" fmla="*/ 281 w 347"/>
              <a:gd name="T43" fmla="*/ 433 h 440"/>
              <a:gd name="T44" fmla="*/ 281 w 347"/>
              <a:gd name="T45" fmla="*/ 364 h 440"/>
              <a:gd name="T46" fmla="*/ 345 w 347"/>
              <a:gd name="T47" fmla="*/ 305 h 440"/>
              <a:gd name="T48" fmla="*/ 347 w 347"/>
              <a:gd name="T49" fmla="*/ 300 h 440"/>
              <a:gd name="T50" fmla="*/ 347 w 347"/>
              <a:gd name="T51" fmla="*/ 100 h 440"/>
              <a:gd name="T52" fmla="*/ 340 w 347"/>
              <a:gd name="T53" fmla="*/ 93 h 440"/>
              <a:gd name="T54" fmla="*/ 332 w 347"/>
              <a:gd name="T55" fmla="*/ 296 h 440"/>
              <a:gd name="T56" fmla="*/ 268 w 347"/>
              <a:gd name="T57" fmla="*/ 355 h 440"/>
              <a:gd name="T58" fmla="*/ 266 w 347"/>
              <a:gd name="T59" fmla="*/ 361 h 440"/>
              <a:gd name="T60" fmla="*/ 266 w 347"/>
              <a:gd name="T61" fmla="*/ 425 h 440"/>
              <a:gd name="T62" fmla="*/ 81 w 347"/>
              <a:gd name="T63" fmla="*/ 425 h 440"/>
              <a:gd name="T64" fmla="*/ 81 w 347"/>
              <a:gd name="T65" fmla="*/ 366 h 440"/>
              <a:gd name="T66" fmla="*/ 79 w 347"/>
              <a:gd name="T67" fmla="*/ 361 h 440"/>
              <a:gd name="T68" fmla="*/ 15 w 347"/>
              <a:gd name="T69" fmla="*/ 297 h 440"/>
              <a:gd name="T70" fmla="*/ 15 w 347"/>
              <a:gd name="T71" fmla="*/ 174 h 440"/>
              <a:gd name="T72" fmla="*/ 66 w 347"/>
              <a:gd name="T73" fmla="*/ 174 h 440"/>
              <a:gd name="T74" fmla="*/ 66 w 347"/>
              <a:gd name="T75" fmla="*/ 233 h 440"/>
              <a:gd name="T76" fmla="*/ 81 w 347"/>
              <a:gd name="T77" fmla="*/ 233 h 440"/>
              <a:gd name="T78" fmla="*/ 81 w 347"/>
              <a:gd name="T79" fmla="*/ 167 h 440"/>
              <a:gd name="T80" fmla="*/ 81 w 347"/>
              <a:gd name="T81" fmla="*/ 41 h 440"/>
              <a:gd name="T82" fmla="*/ 133 w 347"/>
              <a:gd name="T83" fmla="*/ 41 h 440"/>
              <a:gd name="T84" fmla="*/ 133 w 347"/>
              <a:gd name="T85" fmla="*/ 233 h 440"/>
              <a:gd name="T86" fmla="*/ 148 w 347"/>
              <a:gd name="T87" fmla="*/ 233 h 440"/>
              <a:gd name="T88" fmla="*/ 148 w 347"/>
              <a:gd name="T89" fmla="*/ 34 h 440"/>
              <a:gd name="T90" fmla="*/ 148 w 347"/>
              <a:gd name="T91" fmla="*/ 15 h 440"/>
              <a:gd name="T92" fmla="*/ 199 w 347"/>
              <a:gd name="T93" fmla="*/ 15 h 440"/>
              <a:gd name="T94" fmla="*/ 199 w 347"/>
              <a:gd name="T95" fmla="*/ 34 h 440"/>
              <a:gd name="T96" fmla="*/ 199 w 347"/>
              <a:gd name="T97" fmla="*/ 233 h 440"/>
              <a:gd name="T98" fmla="*/ 214 w 347"/>
              <a:gd name="T99" fmla="*/ 233 h 440"/>
              <a:gd name="T100" fmla="*/ 214 w 347"/>
              <a:gd name="T101" fmla="*/ 41 h 440"/>
              <a:gd name="T102" fmla="*/ 266 w 347"/>
              <a:gd name="T103" fmla="*/ 41 h 440"/>
              <a:gd name="T104" fmla="*/ 266 w 347"/>
              <a:gd name="T105" fmla="*/ 100 h 440"/>
              <a:gd name="T106" fmla="*/ 266 w 347"/>
              <a:gd name="T107" fmla="*/ 233 h 440"/>
              <a:gd name="T108" fmla="*/ 281 w 347"/>
              <a:gd name="T109" fmla="*/ 233 h 440"/>
              <a:gd name="T110" fmla="*/ 281 w 347"/>
              <a:gd name="T111" fmla="*/ 108 h 440"/>
              <a:gd name="T112" fmla="*/ 332 w 347"/>
              <a:gd name="T113" fmla="*/ 108 h 440"/>
              <a:gd name="T114" fmla="*/ 332 w 347"/>
              <a:gd name="T115" fmla="*/ 296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7" h="440">
                <a:moveTo>
                  <a:pt x="340" y="93"/>
                </a:moveTo>
                <a:cubicBezTo>
                  <a:pt x="281" y="93"/>
                  <a:pt x="281" y="93"/>
                  <a:pt x="281" y="93"/>
                </a:cubicBezTo>
                <a:cubicBezTo>
                  <a:pt x="281" y="34"/>
                  <a:pt x="281" y="34"/>
                  <a:pt x="281" y="34"/>
                </a:cubicBezTo>
                <a:cubicBezTo>
                  <a:pt x="281" y="30"/>
                  <a:pt x="277" y="27"/>
                  <a:pt x="273" y="27"/>
                </a:cubicBezTo>
                <a:cubicBezTo>
                  <a:pt x="214" y="27"/>
                  <a:pt x="214" y="27"/>
                  <a:pt x="214" y="27"/>
                </a:cubicBezTo>
                <a:cubicBezTo>
                  <a:pt x="214" y="7"/>
                  <a:pt x="214" y="7"/>
                  <a:pt x="214" y="7"/>
                </a:cubicBezTo>
                <a:cubicBezTo>
                  <a:pt x="214" y="3"/>
                  <a:pt x="211" y="0"/>
                  <a:pt x="207" y="0"/>
                </a:cubicBezTo>
                <a:cubicBezTo>
                  <a:pt x="140" y="0"/>
                  <a:pt x="140" y="0"/>
                  <a:pt x="140" y="0"/>
                </a:cubicBezTo>
                <a:cubicBezTo>
                  <a:pt x="136" y="0"/>
                  <a:pt x="133" y="3"/>
                  <a:pt x="133" y="7"/>
                </a:cubicBezTo>
                <a:cubicBezTo>
                  <a:pt x="133" y="27"/>
                  <a:pt x="133" y="27"/>
                  <a:pt x="133" y="27"/>
                </a:cubicBezTo>
                <a:cubicBezTo>
                  <a:pt x="74" y="27"/>
                  <a:pt x="74" y="27"/>
                  <a:pt x="74" y="27"/>
                </a:cubicBezTo>
                <a:cubicBezTo>
                  <a:pt x="70" y="27"/>
                  <a:pt x="66" y="30"/>
                  <a:pt x="66" y="34"/>
                </a:cubicBezTo>
                <a:cubicBezTo>
                  <a:pt x="66" y="159"/>
                  <a:pt x="66" y="159"/>
                  <a:pt x="66" y="159"/>
                </a:cubicBezTo>
                <a:cubicBezTo>
                  <a:pt x="7" y="159"/>
                  <a:pt x="7" y="159"/>
                  <a:pt x="7" y="159"/>
                </a:cubicBezTo>
                <a:cubicBezTo>
                  <a:pt x="3" y="159"/>
                  <a:pt x="0" y="163"/>
                  <a:pt x="0" y="167"/>
                </a:cubicBezTo>
                <a:cubicBezTo>
                  <a:pt x="0" y="300"/>
                  <a:pt x="0" y="300"/>
                  <a:pt x="0" y="300"/>
                </a:cubicBezTo>
                <a:cubicBezTo>
                  <a:pt x="0" y="302"/>
                  <a:pt x="1" y="304"/>
                  <a:pt x="2" y="305"/>
                </a:cubicBezTo>
                <a:cubicBezTo>
                  <a:pt x="66" y="369"/>
                  <a:pt x="66" y="369"/>
                  <a:pt x="66" y="369"/>
                </a:cubicBezTo>
                <a:cubicBezTo>
                  <a:pt x="66" y="433"/>
                  <a:pt x="66" y="433"/>
                  <a:pt x="66" y="433"/>
                </a:cubicBezTo>
                <a:cubicBezTo>
                  <a:pt x="66" y="437"/>
                  <a:pt x="70" y="440"/>
                  <a:pt x="74" y="440"/>
                </a:cubicBezTo>
                <a:cubicBezTo>
                  <a:pt x="273" y="440"/>
                  <a:pt x="273" y="440"/>
                  <a:pt x="273" y="440"/>
                </a:cubicBezTo>
                <a:cubicBezTo>
                  <a:pt x="277" y="440"/>
                  <a:pt x="281" y="437"/>
                  <a:pt x="281" y="433"/>
                </a:cubicBezTo>
                <a:cubicBezTo>
                  <a:pt x="281" y="364"/>
                  <a:pt x="281" y="364"/>
                  <a:pt x="281" y="364"/>
                </a:cubicBezTo>
                <a:cubicBezTo>
                  <a:pt x="345" y="305"/>
                  <a:pt x="345" y="305"/>
                  <a:pt x="345" y="305"/>
                </a:cubicBezTo>
                <a:cubicBezTo>
                  <a:pt x="346" y="304"/>
                  <a:pt x="347" y="302"/>
                  <a:pt x="347" y="300"/>
                </a:cubicBezTo>
                <a:cubicBezTo>
                  <a:pt x="347" y="100"/>
                  <a:pt x="347" y="100"/>
                  <a:pt x="347" y="100"/>
                </a:cubicBezTo>
                <a:cubicBezTo>
                  <a:pt x="347" y="96"/>
                  <a:pt x="344" y="93"/>
                  <a:pt x="340" y="93"/>
                </a:cubicBezTo>
                <a:close/>
                <a:moveTo>
                  <a:pt x="332" y="296"/>
                </a:moveTo>
                <a:cubicBezTo>
                  <a:pt x="268" y="355"/>
                  <a:pt x="268" y="355"/>
                  <a:pt x="268" y="355"/>
                </a:cubicBezTo>
                <a:cubicBezTo>
                  <a:pt x="267" y="357"/>
                  <a:pt x="266" y="359"/>
                  <a:pt x="266" y="361"/>
                </a:cubicBezTo>
                <a:cubicBezTo>
                  <a:pt x="266" y="425"/>
                  <a:pt x="266" y="425"/>
                  <a:pt x="266" y="425"/>
                </a:cubicBezTo>
                <a:cubicBezTo>
                  <a:pt x="81" y="425"/>
                  <a:pt x="81" y="425"/>
                  <a:pt x="81" y="425"/>
                </a:cubicBezTo>
                <a:cubicBezTo>
                  <a:pt x="81" y="366"/>
                  <a:pt x="81" y="366"/>
                  <a:pt x="81" y="366"/>
                </a:cubicBezTo>
                <a:cubicBezTo>
                  <a:pt x="81" y="364"/>
                  <a:pt x="80" y="362"/>
                  <a:pt x="79" y="361"/>
                </a:cubicBezTo>
                <a:cubicBezTo>
                  <a:pt x="15" y="297"/>
                  <a:pt x="15" y="297"/>
                  <a:pt x="15" y="297"/>
                </a:cubicBezTo>
                <a:cubicBezTo>
                  <a:pt x="15" y="174"/>
                  <a:pt x="15" y="174"/>
                  <a:pt x="15" y="174"/>
                </a:cubicBezTo>
                <a:cubicBezTo>
                  <a:pt x="66" y="174"/>
                  <a:pt x="66" y="174"/>
                  <a:pt x="66" y="174"/>
                </a:cubicBezTo>
                <a:cubicBezTo>
                  <a:pt x="66" y="233"/>
                  <a:pt x="66" y="233"/>
                  <a:pt x="66" y="233"/>
                </a:cubicBezTo>
                <a:cubicBezTo>
                  <a:pt x="81" y="233"/>
                  <a:pt x="81" y="233"/>
                  <a:pt x="81" y="233"/>
                </a:cubicBezTo>
                <a:cubicBezTo>
                  <a:pt x="81" y="167"/>
                  <a:pt x="81" y="167"/>
                  <a:pt x="81" y="167"/>
                </a:cubicBezTo>
                <a:cubicBezTo>
                  <a:pt x="81" y="41"/>
                  <a:pt x="81" y="41"/>
                  <a:pt x="81" y="41"/>
                </a:cubicBezTo>
                <a:cubicBezTo>
                  <a:pt x="133" y="41"/>
                  <a:pt x="133" y="41"/>
                  <a:pt x="133" y="41"/>
                </a:cubicBezTo>
                <a:cubicBezTo>
                  <a:pt x="133" y="233"/>
                  <a:pt x="133" y="233"/>
                  <a:pt x="133" y="233"/>
                </a:cubicBezTo>
                <a:cubicBezTo>
                  <a:pt x="148" y="233"/>
                  <a:pt x="148" y="233"/>
                  <a:pt x="148" y="233"/>
                </a:cubicBezTo>
                <a:cubicBezTo>
                  <a:pt x="148" y="34"/>
                  <a:pt x="148" y="34"/>
                  <a:pt x="148" y="34"/>
                </a:cubicBezTo>
                <a:cubicBezTo>
                  <a:pt x="148" y="15"/>
                  <a:pt x="148" y="15"/>
                  <a:pt x="148" y="15"/>
                </a:cubicBezTo>
                <a:cubicBezTo>
                  <a:pt x="199" y="15"/>
                  <a:pt x="199" y="15"/>
                  <a:pt x="199" y="15"/>
                </a:cubicBezTo>
                <a:cubicBezTo>
                  <a:pt x="199" y="34"/>
                  <a:pt x="199" y="34"/>
                  <a:pt x="199" y="34"/>
                </a:cubicBezTo>
                <a:cubicBezTo>
                  <a:pt x="199" y="233"/>
                  <a:pt x="199" y="233"/>
                  <a:pt x="199" y="233"/>
                </a:cubicBezTo>
                <a:cubicBezTo>
                  <a:pt x="214" y="233"/>
                  <a:pt x="214" y="233"/>
                  <a:pt x="214" y="233"/>
                </a:cubicBezTo>
                <a:cubicBezTo>
                  <a:pt x="214" y="41"/>
                  <a:pt x="214" y="41"/>
                  <a:pt x="214" y="41"/>
                </a:cubicBezTo>
                <a:cubicBezTo>
                  <a:pt x="266" y="41"/>
                  <a:pt x="266" y="41"/>
                  <a:pt x="266" y="41"/>
                </a:cubicBezTo>
                <a:cubicBezTo>
                  <a:pt x="266" y="100"/>
                  <a:pt x="266" y="100"/>
                  <a:pt x="266" y="100"/>
                </a:cubicBezTo>
                <a:cubicBezTo>
                  <a:pt x="266" y="233"/>
                  <a:pt x="266" y="233"/>
                  <a:pt x="266" y="233"/>
                </a:cubicBezTo>
                <a:cubicBezTo>
                  <a:pt x="281" y="233"/>
                  <a:pt x="281" y="233"/>
                  <a:pt x="281" y="233"/>
                </a:cubicBezTo>
                <a:cubicBezTo>
                  <a:pt x="281" y="108"/>
                  <a:pt x="281" y="108"/>
                  <a:pt x="281" y="108"/>
                </a:cubicBezTo>
                <a:cubicBezTo>
                  <a:pt x="332" y="108"/>
                  <a:pt x="332" y="108"/>
                  <a:pt x="332" y="108"/>
                </a:cubicBezTo>
                <a:lnTo>
                  <a:pt x="332" y="296"/>
                </a:lnTo>
                <a:close/>
              </a:path>
            </a:pathLst>
          </a:custGeom>
          <a:solidFill>
            <a:srgbClr val="FFFFFF"/>
          </a:solidFill>
          <a:ln>
            <a:noFill/>
          </a:ln>
        </p:spPr>
        <p:txBody>
          <a:bodyPr vert="horz" wrap="square" lIns="68571" tIns="34286" rIns="68571" bIns="34286" numCol="1" anchor="t" anchorCtr="0" compatLnSpc="1">
            <a:prstTxWarp prst="textNoShape">
              <a:avLst/>
            </a:prstTxWarp>
          </a:bodyPr>
          <a:lstStyle/>
          <a:p>
            <a:endParaRPr lang="en-US"/>
          </a:p>
        </p:txBody>
      </p:sp>
      <p:sp>
        <p:nvSpPr>
          <p:cNvPr id="211" name="Freeform 93"/>
          <p:cNvSpPr>
            <a:spLocks noEditPoints="1"/>
          </p:cNvSpPr>
          <p:nvPr/>
        </p:nvSpPr>
        <p:spPr bwMode="auto">
          <a:xfrm>
            <a:off x="6111385" y="3932535"/>
            <a:ext cx="252797" cy="330649"/>
          </a:xfrm>
          <a:custGeom>
            <a:avLst/>
            <a:gdLst>
              <a:gd name="T0" fmla="*/ 207 w 214"/>
              <a:gd name="T1" fmla="*/ 280 h 280"/>
              <a:gd name="T2" fmla="*/ 74 w 214"/>
              <a:gd name="T3" fmla="*/ 280 h 280"/>
              <a:gd name="T4" fmla="*/ 0 w 214"/>
              <a:gd name="T5" fmla="*/ 207 h 280"/>
              <a:gd name="T6" fmla="*/ 0 w 214"/>
              <a:gd name="T7" fmla="*/ 7 h 280"/>
              <a:gd name="T8" fmla="*/ 7 w 214"/>
              <a:gd name="T9" fmla="*/ 0 h 280"/>
              <a:gd name="T10" fmla="*/ 74 w 214"/>
              <a:gd name="T11" fmla="*/ 0 h 280"/>
              <a:gd name="T12" fmla="*/ 81 w 214"/>
              <a:gd name="T13" fmla="*/ 7 h 280"/>
              <a:gd name="T14" fmla="*/ 81 w 214"/>
              <a:gd name="T15" fmla="*/ 66 h 280"/>
              <a:gd name="T16" fmla="*/ 207 w 214"/>
              <a:gd name="T17" fmla="*/ 66 h 280"/>
              <a:gd name="T18" fmla="*/ 214 w 214"/>
              <a:gd name="T19" fmla="*/ 74 h 280"/>
              <a:gd name="T20" fmla="*/ 214 w 214"/>
              <a:gd name="T21" fmla="*/ 140 h 280"/>
              <a:gd name="T22" fmla="*/ 207 w 214"/>
              <a:gd name="T23" fmla="*/ 147 h 280"/>
              <a:gd name="T24" fmla="*/ 81 w 214"/>
              <a:gd name="T25" fmla="*/ 147 h 280"/>
              <a:gd name="T26" fmla="*/ 81 w 214"/>
              <a:gd name="T27" fmla="*/ 199 h 280"/>
              <a:gd name="T28" fmla="*/ 207 w 214"/>
              <a:gd name="T29" fmla="*/ 199 h 280"/>
              <a:gd name="T30" fmla="*/ 214 w 214"/>
              <a:gd name="T31" fmla="*/ 207 h 280"/>
              <a:gd name="T32" fmla="*/ 214 w 214"/>
              <a:gd name="T33" fmla="*/ 273 h 280"/>
              <a:gd name="T34" fmla="*/ 207 w 214"/>
              <a:gd name="T35" fmla="*/ 280 h 280"/>
              <a:gd name="T36" fmla="*/ 15 w 214"/>
              <a:gd name="T37" fmla="*/ 15 h 280"/>
              <a:gd name="T38" fmla="*/ 15 w 214"/>
              <a:gd name="T39" fmla="*/ 207 h 280"/>
              <a:gd name="T40" fmla="*/ 74 w 214"/>
              <a:gd name="T41" fmla="*/ 266 h 280"/>
              <a:gd name="T42" fmla="*/ 199 w 214"/>
              <a:gd name="T43" fmla="*/ 266 h 280"/>
              <a:gd name="T44" fmla="*/ 199 w 214"/>
              <a:gd name="T45" fmla="*/ 214 h 280"/>
              <a:gd name="T46" fmla="*/ 74 w 214"/>
              <a:gd name="T47" fmla="*/ 214 h 280"/>
              <a:gd name="T48" fmla="*/ 66 w 214"/>
              <a:gd name="T49" fmla="*/ 207 h 280"/>
              <a:gd name="T50" fmla="*/ 66 w 214"/>
              <a:gd name="T51" fmla="*/ 140 h 280"/>
              <a:gd name="T52" fmla="*/ 74 w 214"/>
              <a:gd name="T53" fmla="*/ 133 h 280"/>
              <a:gd name="T54" fmla="*/ 199 w 214"/>
              <a:gd name="T55" fmla="*/ 133 h 280"/>
              <a:gd name="T56" fmla="*/ 199 w 214"/>
              <a:gd name="T57" fmla="*/ 81 h 280"/>
              <a:gd name="T58" fmla="*/ 74 w 214"/>
              <a:gd name="T59" fmla="*/ 81 h 280"/>
              <a:gd name="T60" fmla="*/ 66 w 214"/>
              <a:gd name="T61" fmla="*/ 74 h 280"/>
              <a:gd name="T62" fmla="*/ 66 w 214"/>
              <a:gd name="T63" fmla="*/ 15 h 280"/>
              <a:gd name="T64" fmla="*/ 15 w 214"/>
              <a:gd name="T65" fmla="*/ 15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4" h="280">
                <a:moveTo>
                  <a:pt x="207" y="280"/>
                </a:moveTo>
                <a:cubicBezTo>
                  <a:pt x="74" y="280"/>
                  <a:pt x="74" y="280"/>
                  <a:pt x="74" y="280"/>
                </a:cubicBezTo>
                <a:cubicBezTo>
                  <a:pt x="33" y="280"/>
                  <a:pt x="0" y="247"/>
                  <a:pt x="0" y="207"/>
                </a:cubicBezTo>
                <a:cubicBezTo>
                  <a:pt x="0" y="7"/>
                  <a:pt x="0" y="7"/>
                  <a:pt x="0" y="7"/>
                </a:cubicBezTo>
                <a:cubicBezTo>
                  <a:pt x="0" y="3"/>
                  <a:pt x="3" y="0"/>
                  <a:pt x="7" y="0"/>
                </a:cubicBezTo>
                <a:cubicBezTo>
                  <a:pt x="74" y="0"/>
                  <a:pt x="74" y="0"/>
                  <a:pt x="74" y="0"/>
                </a:cubicBezTo>
                <a:cubicBezTo>
                  <a:pt x="78" y="0"/>
                  <a:pt x="81" y="3"/>
                  <a:pt x="81" y="7"/>
                </a:cubicBezTo>
                <a:cubicBezTo>
                  <a:pt x="81" y="66"/>
                  <a:pt x="81" y="66"/>
                  <a:pt x="81" y="66"/>
                </a:cubicBezTo>
                <a:cubicBezTo>
                  <a:pt x="207" y="66"/>
                  <a:pt x="207" y="66"/>
                  <a:pt x="207" y="66"/>
                </a:cubicBezTo>
                <a:cubicBezTo>
                  <a:pt x="211" y="66"/>
                  <a:pt x="214" y="70"/>
                  <a:pt x="214" y="74"/>
                </a:cubicBezTo>
                <a:cubicBezTo>
                  <a:pt x="214" y="140"/>
                  <a:pt x="214" y="140"/>
                  <a:pt x="214" y="140"/>
                </a:cubicBezTo>
                <a:cubicBezTo>
                  <a:pt x="214" y="144"/>
                  <a:pt x="211" y="147"/>
                  <a:pt x="207" y="147"/>
                </a:cubicBezTo>
                <a:cubicBezTo>
                  <a:pt x="81" y="147"/>
                  <a:pt x="81" y="147"/>
                  <a:pt x="81" y="147"/>
                </a:cubicBezTo>
                <a:cubicBezTo>
                  <a:pt x="81" y="199"/>
                  <a:pt x="81" y="199"/>
                  <a:pt x="81" y="199"/>
                </a:cubicBezTo>
                <a:cubicBezTo>
                  <a:pt x="207" y="199"/>
                  <a:pt x="207" y="199"/>
                  <a:pt x="207" y="199"/>
                </a:cubicBezTo>
                <a:cubicBezTo>
                  <a:pt x="211" y="199"/>
                  <a:pt x="214" y="202"/>
                  <a:pt x="214" y="207"/>
                </a:cubicBezTo>
                <a:cubicBezTo>
                  <a:pt x="214" y="273"/>
                  <a:pt x="214" y="273"/>
                  <a:pt x="214" y="273"/>
                </a:cubicBezTo>
                <a:cubicBezTo>
                  <a:pt x="214" y="277"/>
                  <a:pt x="211" y="280"/>
                  <a:pt x="207" y="280"/>
                </a:cubicBezTo>
                <a:close/>
                <a:moveTo>
                  <a:pt x="15" y="15"/>
                </a:moveTo>
                <a:cubicBezTo>
                  <a:pt x="15" y="207"/>
                  <a:pt x="15" y="207"/>
                  <a:pt x="15" y="207"/>
                </a:cubicBezTo>
                <a:cubicBezTo>
                  <a:pt x="15" y="239"/>
                  <a:pt x="41" y="266"/>
                  <a:pt x="74" y="266"/>
                </a:cubicBezTo>
                <a:cubicBezTo>
                  <a:pt x="199" y="266"/>
                  <a:pt x="199" y="266"/>
                  <a:pt x="199" y="266"/>
                </a:cubicBezTo>
                <a:cubicBezTo>
                  <a:pt x="199" y="214"/>
                  <a:pt x="199" y="214"/>
                  <a:pt x="199" y="214"/>
                </a:cubicBezTo>
                <a:cubicBezTo>
                  <a:pt x="74" y="214"/>
                  <a:pt x="74" y="214"/>
                  <a:pt x="74" y="214"/>
                </a:cubicBezTo>
                <a:cubicBezTo>
                  <a:pt x="70" y="214"/>
                  <a:pt x="66" y="211"/>
                  <a:pt x="66" y="207"/>
                </a:cubicBezTo>
                <a:cubicBezTo>
                  <a:pt x="66" y="140"/>
                  <a:pt x="66" y="140"/>
                  <a:pt x="66" y="140"/>
                </a:cubicBezTo>
                <a:cubicBezTo>
                  <a:pt x="66" y="136"/>
                  <a:pt x="70" y="133"/>
                  <a:pt x="74" y="133"/>
                </a:cubicBezTo>
                <a:cubicBezTo>
                  <a:pt x="199" y="133"/>
                  <a:pt x="199" y="133"/>
                  <a:pt x="199" y="133"/>
                </a:cubicBezTo>
                <a:cubicBezTo>
                  <a:pt x="199" y="81"/>
                  <a:pt x="199" y="81"/>
                  <a:pt x="199" y="81"/>
                </a:cubicBezTo>
                <a:cubicBezTo>
                  <a:pt x="74" y="81"/>
                  <a:pt x="74" y="81"/>
                  <a:pt x="74" y="81"/>
                </a:cubicBezTo>
                <a:cubicBezTo>
                  <a:pt x="70" y="81"/>
                  <a:pt x="66" y="78"/>
                  <a:pt x="66" y="74"/>
                </a:cubicBezTo>
                <a:cubicBezTo>
                  <a:pt x="66" y="15"/>
                  <a:pt x="66" y="15"/>
                  <a:pt x="66" y="15"/>
                </a:cubicBezTo>
                <a:lnTo>
                  <a:pt x="15" y="15"/>
                </a:lnTo>
                <a:close/>
              </a:path>
            </a:pathLst>
          </a:custGeom>
          <a:solidFill>
            <a:srgbClr val="FFFFFF"/>
          </a:solidFill>
          <a:ln>
            <a:noFill/>
          </a:ln>
        </p:spPr>
        <p:txBody>
          <a:bodyPr vert="horz" wrap="square" lIns="68571" tIns="34286" rIns="68571" bIns="34286" numCol="1" anchor="t" anchorCtr="0" compatLnSpc="1">
            <a:prstTxWarp prst="textNoShape">
              <a:avLst/>
            </a:prstTxWarp>
          </a:bodyPr>
          <a:lstStyle/>
          <a:p>
            <a:endParaRPr lang="en-US"/>
          </a:p>
        </p:txBody>
      </p:sp>
      <p:sp>
        <p:nvSpPr>
          <p:cNvPr id="212" name="Freeform 94"/>
          <p:cNvSpPr>
            <a:spLocks noEditPoints="1"/>
          </p:cNvSpPr>
          <p:nvPr/>
        </p:nvSpPr>
        <p:spPr bwMode="auto">
          <a:xfrm>
            <a:off x="2536786" y="3818900"/>
            <a:ext cx="174859" cy="557907"/>
          </a:xfrm>
          <a:custGeom>
            <a:avLst/>
            <a:gdLst>
              <a:gd name="T0" fmla="*/ 0 w 148"/>
              <a:gd name="T1" fmla="*/ 74 h 473"/>
              <a:gd name="T2" fmla="*/ 2 w 148"/>
              <a:gd name="T3" fmla="*/ 345 h 473"/>
              <a:gd name="T4" fmla="*/ 66 w 148"/>
              <a:gd name="T5" fmla="*/ 473 h 473"/>
              <a:gd name="T6" fmla="*/ 81 w 148"/>
              <a:gd name="T7" fmla="*/ 409 h 473"/>
              <a:gd name="T8" fmla="*/ 148 w 148"/>
              <a:gd name="T9" fmla="*/ 340 h 473"/>
              <a:gd name="T10" fmla="*/ 74 w 148"/>
              <a:gd name="T11" fmla="*/ 0 h 473"/>
              <a:gd name="T12" fmla="*/ 81 w 148"/>
              <a:gd name="T13" fmla="*/ 320 h 473"/>
              <a:gd name="T14" fmla="*/ 133 w 148"/>
              <a:gd name="T15" fmla="*/ 222 h 473"/>
              <a:gd name="T16" fmla="*/ 66 w 148"/>
              <a:gd name="T17" fmla="*/ 282 h 473"/>
              <a:gd name="T18" fmla="*/ 15 w 148"/>
              <a:gd name="T19" fmla="*/ 187 h 473"/>
              <a:gd name="T20" fmla="*/ 66 w 148"/>
              <a:gd name="T21" fmla="*/ 282 h 473"/>
              <a:gd name="T22" fmla="*/ 15 w 148"/>
              <a:gd name="T23" fmla="*/ 166 h 473"/>
              <a:gd name="T24" fmla="*/ 66 w 148"/>
              <a:gd name="T25" fmla="*/ 175 h 473"/>
              <a:gd name="T26" fmla="*/ 15 w 148"/>
              <a:gd name="T27" fmla="*/ 251 h 473"/>
              <a:gd name="T28" fmla="*/ 66 w 148"/>
              <a:gd name="T29" fmla="*/ 345 h 473"/>
              <a:gd name="T30" fmla="*/ 15 w 148"/>
              <a:gd name="T31" fmla="*/ 251 h 473"/>
              <a:gd name="T32" fmla="*/ 81 w 148"/>
              <a:gd name="T33" fmla="*/ 253 h 473"/>
              <a:gd name="T34" fmla="*/ 133 w 148"/>
              <a:gd name="T35" fmla="*/ 156 h 473"/>
              <a:gd name="T36" fmla="*/ 133 w 148"/>
              <a:gd name="T37" fmla="*/ 135 h 473"/>
              <a:gd name="T38" fmla="*/ 81 w 148"/>
              <a:gd name="T39" fmla="*/ 141 h 473"/>
              <a:gd name="T40" fmla="*/ 133 w 148"/>
              <a:gd name="T41" fmla="*/ 135 h 473"/>
              <a:gd name="T42" fmla="*/ 81 w 148"/>
              <a:gd name="T43" fmla="*/ 120 h 473"/>
              <a:gd name="T44" fmla="*/ 133 w 148"/>
              <a:gd name="T45" fmla="*/ 69 h 473"/>
              <a:gd name="T46" fmla="*/ 66 w 148"/>
              <a:gd name="T47" fmla="*/ 82 h 473"/>
              <a:gd name="T48" fmla="*/ 66 w 148"/>
              <a:gd name="T49" fmla="*/ 15 h 473"/>
              <a:gd name="T50" fmla="*/ 66 w 148"/>
              <a:gd name="T51" fmla="*/ 103 h 473"/>
              <a:gd name="T52" fmla="*/ 15 w 148"/>
              <a:gd name="T53" fmla="*/ 103 h 473"/>
              <a:gd name="T54" fmla="*/ 18 w 148"/>
              <a:gd name="T55" fmla="*/ 55 h 473"/>
              <a:gd name="T56" fmla="*/ 15 w 148"/>
              <a:gd name="T57" fmla="*/ 315 h 473"/>
              <a:gd name="T58" fmla="*/ 66 w 148"/>
              <a:gd name="T59" fmla="*/ 388 h 473"/>
              <a:gd name="T60" fmla="*/ 81 w 148"/>
              <a:gd name="T61" fmla="*/ 388 h 473"/>
              <a:gd name="T62" fmla="*/ 133 w 148"/>
              <a:gd name="T63" fmla="*/ 289 h 473"/>
              <a:gd name="T64" fmla="*/ 81 w 148"/>
              <a:gd name="T65" fmla="*/ 388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8" h="473">
                <a:moveTo>
                  <a:pt x="74" y="0"/>
                </a:moveTo>
                <a:cubicBezTo>
                  <a:pt x="33" y="0"/>
                  <a:pt x="0" y="33"/>
                  <a:pt x="0" y="74"/>
                </a:cubicBezTo>
                <a:cubicBezTo>
                  <a:pt x="0" y="340"/>
                  <a:pt x="0" y="340"/>
                  <a:pt x="0" y="340"/>
                </a:cubicBezTo>
                <a:cubicBezTo>
                  <a:pt x="0" y="342"/>
                  <a:pt x="1" y="344"/>
                  <a:pt x="2" y="345"/>
                </a:cubicBezTo>
                <a:cubicBezTo>
                  <a:pt x="66" y="409"/>
                  <a:pt x="66" y="409"/>
                  <a:pt x="66" y="409"/>
                </a:cubicBezTo>
                <a:cubicBezTo>
                  <a:pt x="66" y="473"/>
                  <a:pt x="66" y="473"/>
                  <a:pt x="66" y="473"/>
                </a:cubicBezTo>
                <a:cubicBezTo>
                  <a:pt x="81" y="473"/>
                  <a:pt x="81" y="473"/>
                  <a:pt x="81" y="473"/>
                </a:cubicBezTo>
                <a:cubicBezTo>
                  <a:pt x="81" y="409"/>
                  <a:pt x="81" y="409"/>
                  <a:pt x="81" y="409"/>
                </a:cubicBezTo>
                <a:cubicBezTo>
                  <a:pt x="145" y="345"/>
                  <a:pt x="145" y="345"/>
                  <a:pt x="145" y="345"/>
                </a:cubicBezTo>
                <a:cubicBezTo>
                  <a:pt x="147" y="344"/>
                  <a:pt x="148" y="342"/>
                  <a:pt x="148" y="340"/>
                </a:cubicBezTo>
                <a:cubicBezTo>
                  <a:pt x="148" y="74"/>
                  <a:pt x="148" y="74"/>
                  <a:pt x="148" y="74"/>
                </a:cubicBezTo>
                <a:cubicBezTo>
                  <a:pt x="148" y="33"/>
                  <a:pt x="114" y="0"/>
                  <a:pt x="74" y="0"/>
                </a:cubicBezTo>
                <a:close/>
                <a:moveTo>
                  <a:pt x="133" y="268"/>
                </a:moveTo>
                <a:cubicBezTo>
                  <a:pt x="81" y="320"/>
                  <a:pt x="81" y="320"/>
                  <a:pt x="81" y="320"/>
                </a:cubicBezTo>
                <a:cubicBezTo>
                  <a:pt x="81" y="274"/>
                  <a:pt x="81" y="274"/>
                  <a:pt x="81" y="274"/>
                </a:cubicBezTo>
                <a:cubicBezTo>
                  <a:pt x="133" y="222"/>
                  <a:pt x="133" y="222"/>
                  <a:pt x="133" y="222"/>
                </a:cubicBezTo>
                <a:lnTo>
                  <a:pt x="133" y="268"/>
                </a:lnTo>
                <a:close/>
                <a:moveTo>
                  <a:pt x="66" y="282"/>
                </a:moveTo>
                <a:cubicBezTo>
                  <a:pt x="15" y="230"/>
                  <a:pt x="15" y="230"/>
                  <a:pt x="15" y="230"/>
                </a:cubicBezTo>
                <a:cubicBezTo>
                  <a:pt x="15" y="187"/>
                  <a:pt x="15" y="187"/>
                  <a:pt x="15" y="187"/>
                </a:cubicBezTo>
                <a:cubicBezTo>
                  <a:pt x="66" y="239"/>
                  <a:pt x="66" y="239"/>
                  <a:pt x="66" y="239"/>
                </a:cubicBezTo>
                <a:lnTo>
                  <a:pt x="66" y="282"/>
                </a:lnTo>
                <a:close/>
                <a:moveTo>
                  <a:pt x="66" y="218"/>
                </a:moveTo>
                <a:cubicBezTo>
                  <a:pt x="15" y="166"/>
                  <a:pt x="15" y="166"/>
                  <a:pt x="15" y="166"/>
                </a:cubicBezTo>
                <a:cubicBezTo>
                  <a:pt x="15" y="124"/>
                  <a:pt x="15" y="124"/>
                  <a:pt x="15" y="124"/>
                </a:cubicBezTo>
                <a:cubicBezTo>
                  <a:pt x="66" y="175"/>
                  <a:pt x="66" y="175"/>
                  <a:pt x="66" y="175"/>
                </a:cubicBezTo>
                <a:lnTo>
                  <a:pt x="66" y="218"/>
                </a:lnTo>
                <a:close/>
                <a:moveTo>
                  <a:pt x="15" y="251"/>
                </a:moveTo>
                <a:cubicBezTo>
                  <a:pt x="66" y="303"/>
                  <a:pt x="66" y="303"/>
                  <a:pt x="66" y="303"/>
                </a:cubicBezTo>
                <a:cubicBezTo>
                  <a:pt x="66" y="345"/>
                  <a:pt x="66" y="345"/>
                  <a:pt x="66" y="345"/>
                </a:cubicBezTo>
                <a:cubicBezTo>
                  <a:pt x="15" y="294"/>
                  <a:pt x="15" y="294"/>
                  <a:pt x="15" y="294"/>
                </a:cubicBezTo>
                <a:lnTo>
                  <a:pt x="15" y="251"/>
                </a:lnTo>
                <a:close/>
                <a:moveTo>
                  <a:pt x="133" y="201"/>
                </a:moveTo>
                <a:cubicBezTo>
                  <a:pt x="81" y="253"/>
                  <a:pt x="81" y="253"/>
                  <a:pt x="81" y="253"/>
                </a:cubicBezTo>
                <a:cubicBezTo>
                  <a:pt x="81" y="208"/>
                  <a:pt x="81" y="208"/>
                  <a:pt x="81" y="208"/>
                </a:cubicBezTo>
                <a:cubicBezTo>
                  <a:pt x="133" y="156"/>
                  <a:pt x="133" y="156"/>
                  <a:pt x="133" y="156"/>
                </a:cubicBezTo>
                <a:lnTo>
                  <a:pt x="133" y="201"/>
                </a:lnTo>
                <a:close/>
                <a:moveTo>
                  <a:pt x="133" y="135"/>
                </a:moveTo>
                <a:cubicBezTo>
                  <a:pt x="81" y="187"/>
                  <a:pt x="81" y="187"/>
                  <a:pt x="81" y="187"/>
                </a:cubicBezTo>
                <a:cubicBezTo>
                  <a:pt x="81" y="141"/>
                  <a:pt x="81" y="141"/>
                  <a:pt x="81" y="141"/>
                </a:cubicBezTo>
                <a:cubicBezTo>
                  <a:pt x="133" y="89"/>
                  <a:pt x="133" y="89"/>
                  <a:pt x="133" y="89"/>
                </a:cubicBezTo>
                <a:lnTo>
                  <a:pt x="133" y="135"/>
                </a:lnTo>
                <a:close/>
                <a:moveTo>
                  <a:pt x="133" y="69"/>
                </a:moveTo>
                <a:cubicBezTo>
                  <a:pt x="81" y="120"/>
                  <a:pt x="81" y="120"/>
                  <a:pt x="81" y="120"/>
                </a:cubicBezTo>
                <a:cubicBezTo>
                  <a:pt x="81" y="15"/>
                  <a:pt x="81" y="15"/>
                  <a:pt x="81" y="15"/>
                </a:cubicBezTo>
                <a:cubicBezTo>
                  <a:pt x="109" y="19"/>
                  <a:pt x="130" y="41"/>
                  <a:pt x="133" y="69"/>
                </a:cubicBezTo>
                <a:close/>
                <a:moveTo>
                  <a:pt x="66" y="15"/>
                </a:moveTo>
                <a:cubicBezTo>
                  <a:pt x="66" y="82"/>
                  <a:pt x="66" y="82"/>
                  <a:pt x="66" y="82"/>
                </a:cubicBezTo>
                <a:cubicBezTo>
                  <a:pt x="25" y="41"/>
                  <a:pt x="25" y="41"/>
                  <a:pt x="25" y="41"/>
                </a:cubicBezTo>
                <a:cubicBezTo>
                  <a:pt x="34" y="27"/>
                  <a:pt x="49" y="18"/>
                  <a:pt x="66" y="15"/>
                </a:cubicBezTo>
                <a:close/>
                <a:moveTo>
                  <a:pt x="18" y="55"/>
                </a:moveTo>
                <a:cubicBezTo>
                  <a:pt x="66" y="103"/>
                  <a:pt x="66" y="103"/>
                  <a:pt x="66" y="103"/>
                </a:cubicBezTo>
                <a:cubicBezTo>
                  <a:pt x="66" y="154"/>
                  <a:pt x="66" y="154"/>
                  <a:pt x="66" y="154"/>
                </a:cubicBezTo>
                <a:cubicBezTo>
                  <a:pt x="15" y="103"/>
                  <a:pt x="15" y="103"/>
                  <a:pt x="15" y="103"/>
                </a:cubicBezTo>
                <a:cubicBezTo>
                  <a:pt x="15" y="74"/>
                  <a:pt x="15" y="74"/>
                  <a:pt x="15" y="74"/>
                </a:cubicBezTo>
                <a:cubicBezTo>
                  <a:pt x="15" y="67"/>
                  <a:pt x="16" y="61"/>
                  <a:pt x="18" y="55"/>
                </a:cubicBezTo>
                <a:close/>
                <a:moveTo>
                  <a:pt x="15" y="337"/>
                </a:moveTo>
                <a:cubicBezTo>
                  <a:pt x="15" y="315"/>
                  <a:pt x="15" y="315"/>
                  <a:pt x="15" y="315"/>
                </a:cubicBezTo>
                <a:cubicBezTo>
                  <a:pt x="66" y="366"/>
                  <a:pt x="66" y="366"/>
                  <a:pt x="66" y="366"/>
                </a:cubicBezTo>
                <a:cubicBezTo>
                  <a:pt x="66" y="388"/>
                  <a:pt x="66" y="388"/>
                  <a:pt x="66" y="388"/>
                </a:cubicBezTo>
                <a:lnTo>
                  <a:pt x="15" y="337"/>
                </a:lnTo>
                <a:close/>
                <a:moveTo>
                  <a:pt x="81" y="388"/>
                </a:moveTo>
                <a:cubicBezTo>
                  <a:pt x="81" y="340"/>
                  <a:pt x="81" y="340"/>
                  <a:pt x="81" y="340"/>
                </a:cubicBezTo>
                <a:cubicBezTo>
                  <a:pt x="133" y="289"/>
                  <a:pt x="133" y="289"/>
                  <a:pt x="133" y="289"/>
                </a:cubicBezTo>
                <a:cubicBezTo>
                  <a:pt x="133" y="337"/>
                  <a:pt x="133" y="337"/>
                  <a:pt x="133" y="337"/>
                </a:cubicBezTo>
                <a:lnTo>
                  <a:pt x="81" y="388"/>
                </a:lnTo>
                <a:close/>
              </a:path>
            </a:pathLst>
          </a:custGeom>
          <a:solidFill>
            <a:srgbClr val="FFFFFF"/>
          </a:solidFill>
          <a:ln>
            <a:noFill/>
          </a:ln>
        </p:spPr>
        <p:txBody>
          <a:bodyPr vert="horz" wrap="square" lIns="68571" tIns="34286" rIns="68571" bIns="34286" numCol="1" anchor="t" anchorCtr="0" compatLnSpc="1">
            <a:prstTxWarp prst="textNoShape">
              <a:avLst/>
            </a:prstTxWarp>
          </a:bodyPr>
          <a:lstStyle/>
          <a:p>
            <a:endParaRPr lang="en-US"/>
          </a:p>
        </p:txBody>
      </p:sp>
      <p:sp>
        <p:nvSpPr>
          <p:cNvPr id="213" name="Freeform 13"/>
          <p:cNvSpPr>
            <a:spLocks noEditPoints="1"/>
          </p:cNvSpPr>
          <p:nvPr/>
        </p:nvSpPr>
        <p:spPr bwMode="auto">
          <a:xfrm>
            <a:off x="2492821" y="1016162"/>
            <a:ext cx="262778" cy="484369"/>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rgbClr val="FFFFFF"/>
          </a:solidFill>
          <a:ln>
            <a:noFill/>
          </a:ln>
        </p:spPr>
        <p:txBody>
          <a:bodyPr vert="horz" wrap="square" lIns="68571" tIns="34286" rIns="68571" bIns="34286" numCol="1" anchor="t" anchorCtr="0" compatLnSpc="1">
            <a:prstTxWarp prst="textNoShape">
              <a:avLst/>
            </a:prstTxWarp>
          </a:bodyPr>
          <a:lstStyle/>
          <a:p>
            <a:endParaRPr lang="en-US"/>
          </a:p>
        </p:txBody>
      </p:sp>
      <p:sp>
        <p:nvSpPr>
          <p:cNvPr id="214" name="TextBox 213"/>
          <p:cNvSpPr txBox="1"/>
          <p:nvPr/>
        </p:nvSpPr>
        <p:spPr>
          <a:xfrm>
            <a:off x="5807990" y="1759552"/>
            <a:ext cx="844365" cy="253916"/>
          </a:xfrm>
          <a:prstGeom prst="rect">
            <a:avLst/>
          </a:prstGeom>
          <a:noFill/>
        </p:spPr>
        <p:txBody>
          <a:bodyPr wrap="square" lIns="0" tIns="0" rIns="0" bIns="0" rtlCol="0">
            <a:spAutoFit/>
          </a:bodyPr>
          <a:lstStyle/>
          <a:p>
            <a:pPr algn="ctr"/>
            <a:r>
              <a:rPr lang="en-US" sz="800" dirty="0">
                <a:solidFill>
                  <a:schemeClr val="tx1">
                    <a:alpha val="99000"/>
                  </a:schemeClr>
                </a:solidFill>
              </a:rPr>
              <a:t>play, fun,</a:t>
            </a:r>
          </a:p>
          <a:p>
            <a:pPr algn="ctr"/>
            <a:r>
              <a:rPr lang="en-US" sz="800" dirty="0">
                <a:solidFill>
                  <a:schemeClr val="tx1">
                    <a:alpha val="99000"/>
                  </a:schemeClr>
                </a:solidFill>
              </a:rPr>
              <a:t>entertainment</a:t>
            </a:r>
          </a:p>
        </p:txBody>
      </p:sp>
      <p:sp>
        <p:nvSpPr>
          <p:cNvPr id="215" name="TextBox 214"/>
          <p:cNvSpPr txBox="1"/>
          <p:nvPr/>
        </p:nvSpPr>
        <p:spPr>
          <a:xfrm>
            <a:off x="393349" y="1759552"/>
            <a:ext cx="848154" cy="253916"/>
          </a:xfrm>
          <a:prstGeom prst="rect">
            <a:avLst/>
          </a:prstGeom>
          <a:noFill/>
        </p:spPr>
        <p:txBody>
          <a:bodyPr wrap="square" lIns="0" tIns="0" rIns="0" bIns="0" rtlCol="0">
            <a:spAutoFit/>
          </a:bodyPr>
          <a:lstStyle/>
          <a:p>
            <a:pPr algn="ctr"/>
            <a:r>
              <a:rPr lang="en-US" sz="800" dirty="0">
                <a:solidFill>
                  <a:schemeClr val="tx1">
                    <a:alpha val="99000"/>
                  </a:schemeClr>
                </a:solidFill>
              </a:rPr>
              <a:t>notebook,</a:t>
            </a:r>
            <a:br>
              <a:rPr lang="en-US" sz="800" dirty="0">
                <a:solidFill>
                  <a:schemeClr val="tx1">
                    <a:alpha val="99000"/>
                  </a:schemeClr>
                </a:solidFill>
              </a:rPr>
            </a:br>
            <a:r>
              <a:rPr lang="en-US" sz="800" dirty="0">
                <a:solidFill>
                  <a:schemeClr val="tx1">
                    <a:alpha val="99000"/>
                  </a:schemeClr>
                </a:solidFill>
              </a:rPr>
              <a:t>learning</a:t>
            </a:r>
          </a:p>
        </p:txBody>
      </p:sp>
      <p:sp>
        <p:nvSpPr>
          <p:cNvPr id="216" name="TextBox 215"/>
          <p:cNvSpPr txBox="1"/>
          <p:nvPr/>
        </p:nvSpPr>
        <p:spPr>
          <a:xfrm>
            <a:off x="1300535" y="1823031"/>
            <a:ext cx="844365" cy="126958"/>
          </a:xfrm>
          <a:prstGeom prst="rect">
            <a:avLst/>
          </a:prstGeom>
          <a:noFill/>
        </p:spPr>
        <p:txBody>
          <a:bodyPr wrap="square" lIns="0" tIns="0" rIns="0" bIns="0" rtlCol="0">
            <a:spAutoFit/>
          </a:bodyPr>
          <a:lstStyle/>
          <a:p>
            <a:pPr algn="ctr"/>
            <a:r>
              <a:rPr lang="en-US" sz="800" dirty="0">
                <a:solidFill>
                  <a:schemeClr val="tx1">
                    <a:alpha val="99000"/>
                  </a:schemeClr>
                </a:solidFill>
              </a:rPr>
              <a:t>mouse</a:t>
            </a:r>
          </a:p>
        </p:txBody>
      </p:sp>
      <p:sp>
        <p:nvSpPr>
          <p:cNvPr id="217" name="TextBox 216"/>
          <p:cNvSpPr txBox="1"/>
          <p:nvPr/>
        </p:nvSpPr>
        <p:spPr>
          <a:xfrm>
            <a:off x="2197192" y="1823031"/>
            <a:ext cx="844365" cy="126958"/>
          </a:xfrm>
          <a:prstGeom prst="rect">
            <a:avLst/>
          </a:prstGeom>
          <a:noFill/>
        </p:spPr>
        <p:txBody>
          <a:bodyPr wrap="square" lIns="0" tIns="0" rIns="0" bIns="0" rtlCol="0">
            <a:spAutoFit/>
          </a:bodyPr>
          <a:lstStyle/>
          <a:p>
            <a:pPr algn="ctr"/>
            <a:r>
              <a:rPr lang="en-US" sz="800" dirty="0">
                <a:solidFill>
                  <a:schemeClr val="tx1">
                    <a:alpha val="99000"/>
                  </a:schemeClr>
                </a:solidFill>
              </a:rPr>
              <a:t>learn, ideas</a:t>
            </a:r>
          </a:p>
        </p:txBody>
      </p:sp>
      <p:sp>
        <p:nvSpPr>
          <p:cNvPr id="218" name="TextBox 217"/>
          <p:cNvSpPr txBox="1"/>
          <p:nvPr/>
        </p:nvSpPr>
        <p:spPr>
          <a:xfrm>
            <a:off x="3107319" y="1823031"/>
            <a:ext cx="844365" cy="126958"/>
          </a:xfrm>
          <a:prstGeom prst="rect">
            <a:avLst/>
          </a:prstGeom>
          <a:noFill/>
        </p:spPr>
        <p:txBody>
          <a:bodyPr wrap="square" lIns="0" tIns="0" rIns="0" bIns="0" rtlCol="0">
            <a:spAutoFit/>
          </a:bodyPr>
          <a:lstStyle/>
          <a:p>
            <a:pPr algn="ctr"/>
            <a:r>
              <a:rPr lang="en-US" sz="800" dirty="0">
                <a:solidFill>
                  <a:schemeClr val="tx1">
                    <a:alpha val="99000"/>
                  </a:schemeClr>
                </a:solidFill>
              </a:rPr>
              <a:t>file, paper</a:t>
            </a:r>
          </a:p>
        </p:txBody>
      </p:sp>
      <p:sp>
        <p:nvSpPr>
          <p:cNvPr id="219" name="TextBox 218"/>
          <p:cNvSpPr txBox="1"/>
          <p:nvPr/>
        </p:nvSpPr>
        <p:spPr>
          <a:xfrm>
            <a:off x="4004153" y="1823031"/>
            <a:ext cx="844365" cy="126958"/>
          </a:xfrm>
          <a:prstGeom prst="rect">
            <a:avLst/>
          </a:prstGeom>
          <a:noFill/>
        </p:spPr>
        <p:txBody>
          <a:bodyPr wrap="square" lIns="0" tIns="0" rIns="0" bIns="0" rtlCol="0">
            <a:spAutoFit/>
          </a:bodyPr>
          <a:lstStyle/>
          <a:p>
            <a:pPr algn="ctr"/>
            <a:r>
              <a:rPr lang="en-US" sz="800" dirty="0">
                <a:solidFill>
                  <a:schemeClr val="tx1">
                    <a:alpha val="99000"/>
                  </a:schemeClr>
                </a:solidFill>
              </a:rPr>
              <a:t>share, concepts</a:t>
            </a:r>
          </a:p>
        </p:txBody>
      </p:sp>
      <p:sp>
        <p:nvSpPr>
          <p:cNvPr id="220" name="TextBox 219"/>
          <p:cNvSpPr txBox="1"/>
          <p:nvPr/>
        </p:nvSpPr>
        <p:spPr>
          <a:xfrm>
            <a:off x="4902412" y="1759552"/>
            <a:ext cx="844365" cy="253916"/>
          </a:xfrm>
          <a:prstGeom prst="rect">
            <a:avLst/>
          </a:prstGeom>
          <a:noFill/>
        </p:spPr>
        <p:txBody>
          <a:bodyPr wrap="square" lIns="0" tIns="0" rIns="0" bIns="0" rtlCol="0">
            <a:spAutoFit/>
          </a:bodyPr>
          <a:lstStyle/>
          <a:p>
            <a:pPr algn="ctr"/>
            <a:r>
              <a:rPr lang="en-US" sz="800" dirty="0">
                <a:solidFill>
                  <a:schemeClr val="tx1">
                    <a:alpha val="99000"/>
                  </a:schemeClr>
                </a:solidFill>
              </a:rPr>
              <a:t>share,</a:t>
            </a:r>
            <a:br>
              <a:rPr lang="en-US" sz="800" dirty="0">
                <a:solidFill>
                  <a:schemeClr val="tx1">
                    <a:alpha val="99000"/>
                  </a:schemeClr>
                </a:solidFill>
              </a:rPr>
            </a:br>
            <a:r>
              <a:rPr lang="en-US" sz="800" dirty="0">
                <a:solidFill>
                  <a:schemeClr val="tx1">
                    <a:alpha val="99000"/>
                  </a:schemeClr>
                </a:solidFill>
              </a:rPr>
              <a:t>speech bubble</a:t>
            </a:r>
          </a:p>
        </p:txBody>
      </p:sp>
      <p:sp>
        <p:nvSpPr>
          <p:cNvPr id="221" name="TextBox 220"/>
          <p:cNvSpPr txBox="1"/>
          <p:nvPr/>
        </p:nvSpPr>
        <p:spPr>
          <a:xfrm>
            <a:off x="6743336" y="1759552"/>
            <a:ext cx="844365" cy="253916"/>
          </a:xfrm>
          <a:prstGeom prst="rect">
            <a:avLst/>
          </a:prstGeom>
          <a:noFill/>
        </p:spPr>
        <p:txBody>
          <a:bodyPr wrap="square" lIns="0" tIns="0" rIns="0" bIns="0" rtlCol="0">
            <a:spAutoFit/>
          </a:bodyPr>
          <a:lstStyle/>
          <a:p>
            <a:pPr algn="ctr"/>
            <a:r>
              <a:rPr lang="en-US" sz="800" dirty="0">
                <a:solidFill>
                  <a:schemeClr val="tx1">
                    <a:alpha val="99000"/>
                  </a:schemeClr>
                </a:solidFill>
              </a:rPr>
              <a:t>share,</a:t>
            </a:r>
            <a:br>
              <a:rPr lang="en-US" sz="800" dirty="0">
                <a:solidFill>
                  <a:schemeClr val="tx1">
                    <a:alpha val="99000"/>
                  </a:schemeClr>
                </a:solidFill>
              </a:rPr>
            </a:br>
            <a:r>
              <a:rPr lang="en-US" sz="800" dirty="0">
                <a:solidFill>
                  <a:schemeClr val="tx1">
                    <a:alpha val="99000"/>
                  </a:schemeClr>
                </a:solidFill>
              </a:rPr>
              <a:t>speech bubble</a:t>
            </a:r>
          </a:p>
        </p:txBody>
      </p:sp>
      <p:sp>
        <p:nvSpPr>
          <p:cNvPr id="222" name="TextBox 221"/>
          <p:cNvSpPr txBox="1"/>
          <p:nvPr/>
        </p:nvSpPr>
        <p:spPr>
          <a:xfrm>
            <a:off x="7624279" y="1823031"/>
            <a:ext cx="844365" cy="126958"/>
          </a:xfrm>
          <a:prstGeom prst="rect">
            <a:avLst/>
          </a:prstGeom>
          <a:noFill/>
        </p:spPr>
        <p:txBody>
          <a:bodyPr wrap="square" lIns="0" tIns="0" rIns="0" bIns="0" rtlCol="0">
            <a:spAutoFit/>
          </a:bodyPr>
          <a:lstStyle/>
          <a:p>
            <a:pPr algn="ctr"/>
            <a:r>
              <a:rPr lang="en-US" sz="800" dirty="0">
                <a:solidFill>
                  <a:schemeClr val="tx1">
                    <a:alpha val="99000"/>
                  </a:schemeClr>
                </a:solidFill>
              </a:rPr>
              <a:t>thought bubble</a:t>
            </a:r>
          </a:p>
        </p:txBody>
      </p:sp>
      <p:sp>
        <p:nvSpPr>
          <p:cNvPr id="223" name="TextBox 222"/>
          <p:cNvSpPr txBox="1"/>
          <p:nvPr/>
        </p:nvSpPr>
        <p:spPr>
          <a:xfrm>
            <a:off x="5815600" y="3241722"/>
            <a:ext cx="844365" cy="126958"/>
          </a:xfrm>
          <a:prstGeom prst="rect">
            <a:avLst/>
          </a:prstGeom>
          <a:noFill/>
        </p:spPr>
        <p:txBody>
          <a:bodyPr wrap="square" lIns="0" tIns="0" rIns="0" bIns="0" rtlCol="0">
            <a:spAutoFit/>
          </a:bodyPr>
          <a:lstStyle/>
          <a:p>
            <a:pPr algn="ctr"/>
            <a:r>
              <a:rPr lang="en-US" sz="800" dirty="0">
                <a:solidFill>
                  <a:schemeClr val="tx1">
                    <a:alpha val="99000"/>
                  </a:schemeClr>
                </a:solidFill>
              </a:rPr>
              <a:t>search, learning</a:t>
            </a:r>
          </a:p>
        </p:txBody>
      </p:sp>
      <p:sp>
        <p:nvSpPr>
          <p:cNvPr id="224" name="TextBox 223"/>
          <p:cNvSpPr txBox="1"/>
          <p:nvPr/>
        </p:nvSpPr>
        <p:spPr>
          <a:xfrm>
            <a:off x="395248" y="3178243"/>
            <a:ext cx="844365" cy="253916"/>
          </a:xfrm>
          <a:prstGeom prst="rect">
            <a:avLst/>
          </a:prstGeom>
          <a:noFill/>
        </p:spPr>
        <p:txBody>
          <a:bodyPr wrap="square" lIns="0" tIns="0" rIns="0" bIns="0" rtlCol="0">
            <a:spAutoFit/>
          </a:bodyPr>
          <a:lstStyle/>
          <a:p>
            <a:pPr algn="ctr"/>
            <a:r>
              <a:rPr lang="en-US" sz="800" dirty="0">
                <a:solidFill>
                  <a:schemeClr val="tx1">
                    <a:alpha val="99000"/>
                  </a:schemeClr>
                </a:solidFill>
              </a:rPr>
              <a:t>coffee, </a:t>
            </a:r>
            <a:br>
              <a:rPr lang="en-US" sz="800" dirty="0">
                <a:solidFill>
                  <a:schemeClr val="tx1">
                    <a:alpha val="99000"/>
                  </a:schemeClr>
                </a:solidFill>
              </a:rPr>
            </a:br>
            <a:r>
              <a:rPr lang="en-US" sz="800" dirty="0">
                <a:solidFill>
                  <a:schemeClr val="tx1">
                    <a:alpha val="99000"/>
                  </a:schemeClr>
                </a:solidFill>
              </a:rPr>
              <a:t>work, office</a:t>
            </a:r>
          </a:p>
        </p:txBody>
      </p:sp>
      <p:sp>
        <p:nvSpPr>
          <p:cNvPr id="225" name="TextBox 224"/>
          <p:cNvSpPr txBox="1"/>
          <p:nvPr/>
        </p:nvSpPr>
        <p:spPr>
          <a:xfrm>
            <a:off x="1300535" y="3178241"/>
            <a:ext cx="844365" cy="123111"/>
          </a:xfrm>
          <a:prstGeom prst="rect">
            <a:avLst/>
          </a:prstGeom>
          <a:noFill/>
        </p:spPr>
        <p:txBody>
          <a:bodyPr wrap="square" lIns="0" tIns="0" rIns="0" bIns="0" rtlCol="0">
            <a:spAutoFit/>
          </a:bodyPr>
          <a:lstStyle/>
          <a:p>
            <a:pPr algn="ctr"/>
            <a:r>
              <a:rPr lang="en-US" sz="800" dirty="0">
                <a:solidFill>
                  <a:schemeClr val="tx1">
                    <a:alpha val="99000"/>
                  </a:schemeClr>
                </a:solidFill>
              </a:rPr>
              <a:t>computer monitor</a:t>
            </a:r>
          </a:p>
        </p:txBody>
      </p:sp>
      <p:sp>
        <p:nvSpPr>
          <p:cNvPr id="226" name="TextBox 225"/>
          <p:cNvSpPr txBox="1"/>
          <p:nvPr/>
        </p:nvSpPr>
        <p:spPr>
          <a:xfrm>
            <a:off x="2191780" y="3241722"/>
            <a:ext cx="844365" cy="126958"/>
          </a:xfrm>
          <a:prstGeom prst="rect">
            <a:avLst/>
          </a:prstGeom>
          <a:noFill/>
        </p:spPr>
        <p:txBody>
          <a:bodyPr wrap="square" lIns="0" tIns="0" rIns="0" bIns="0" rtlCol="0">
            <a:spAutoFit/>
          </a:bodyPr>
          <a:lstStyle/>
          <a:p>
            <a:pPr algn="ctr"/>
            <a:r>
              <a:rPr lang="en-US" sz="800" dirty="0">
                <a:solidFill>
                  <a:schemeClr val="tx1">
                    <a:alpha val="99000"/>
                  </a:schemeClr>
                </a:solidFill>
              </a:rPr>
              <a:t>luggage, travel</a:t>
            </a:r>
          </a:p>
        </p:txBody>
      </p:sp>
      <p:sp>
        <p:nvSpPr>
          <p:cNvPr id="227" name="TextBox 226"/>
          <p:cNvSpPr txBox="1"/>
          <p:nvPr/>
        </p:nvSpPr>
        <p:spPr>
          <a:xfrm>
            <a:off x="3107319" y="3178243"/>
            <a:ext cx="844365" cy="253916"/>
          </a:xfrm>
          <a:prstGeom prst="rect">
            <a:avLst/>
          </a:prstGeom>
          <a:noFill/>
        </p:spPr>
        <p:txBody>
          <a:bodyPr wrap="square" lIns="0" tIns="0" rIns="0" bIns="0" rtlCol="0">
            <a:spAutoFit/>
          </a:bodyPr>
          <a:lstStyle/>
          <a:p>
            <a:pPr algn="ctr"/>
            <a:r>
              <a:rPr lang="en-US" sz="800" dirty="0">
                <a:solidFill>
                  <a:schemeClr val="tx1">
                    <a:alpha val="99000"/>
                  </a:schemeClr>
                </a:solidFill>
              </a:rPr>
              <a:t>badge, registration</a:t>
            </a:r>
          </a:p>
        </p:txBody>
      </p:sp>
      <p:sp>
        <p:nvSpPr>
          <p:cNvPr id="228" name="TextBox 227"/>
          <p:cNvSpPr txBox="1"/>
          <p:nvPr/>
        </p:nvSpPr>
        <p:spPr>
          <a:xfrm>
            <a:off x="4004152" y="3241722"/>
            <a:ext cx="844365" cy="126958"/>
          </a:xfrm>
          <a:prstGeom prst="rect">
            <a:avLst/>
          </a:prstGeom>
          <a:noFill/>
        </p:spPr>
        <p:txBody>
          <a:bodyPr wrap="square" lIns="0" tIns="0" rIns="0" bIns="0" rtlCol="0">
            <a:spAutoFit/>
          </a:bodyPr>
          <a:lstStyle/>
          <a:p>
            <a:pPr algn="ctr"/>
            <a:r>
              <a:rPr lang="en-US" sz="800" dirty="0">
                <a:solidFill>
                  <a:schemeClr val="tx1">
                    <a:alpha val="99000"/>
                  </a:schemeClr>
                </a:solidFill>
              </a:rPr>
              <a:t>global, location</a:t>
            </a:r>
          </a:p>
        </p:txBody>
      </p:sp>
      <p:sp>
        <p:nvSpPr>
          <p:cNvPr id="229" name="TextBox 228"/>
          <p:cNvSpPr txBox="1"/>
          <p:nvPr/>
        </p:nvSpPr>
        <p:spPr>
          <a:xfrm>
            <a:off x="4902412" y="3241722"/>
            <a:ext cx="844365" cy="126958"/>
          </a:xfrm>
          <a:prstGeom prst="rect">
            <a:avLst/>
          </a:prstGeom>
          <a:noFill/>
        </p:spPr>
        <p:txBody>
          <a:bodyPr wrap="square" lIns="0" tIns="0" rIns="0" bIns="0" rtlCol="0">
            <a:spAutoFit/>
          </a:bodyPr>
          <a:lstStyle/>
          <a:p>
            <a:pPr algn="ctr"/>
            <a:r>
              <a:rPr lang="en-US" sz="800" dirty="0">
                <a:solidFill>
                  <a:schemeClr val="tx1">
                    <a:alpha val="99000"/>
                  </a:schemeClr>
                </a:solidFill>
              </a:rPr>
              <a:t>the cloud</a:t>
            </a:r>
          </a:p>
        </p:txBody>
      </p:sp>
      <p:sp>
        <p:nvSpPr>
          <p:cNvPr id="230" name="TextBox 229"/>
          <p:cNvSpPr txBox="1"/>
          <p:nvPr/>
        </p:nvSpPr>
        <p:spPr>
          <a:xfrm>
            <a:off x="6743336" y="3241722"/>
            <a:ext cx="844365" cy="126958"/>
          </a:xfrm>
          <a:prstGeom prst="rect">
            <a:avLst/>
          </a:prstGeom>
          <a:noFill/>
        </p:spPr>
        <p:txBody>
          <a:bodyPr wrap="square" lIns="0" tIns="0" rIns="0" bIns="0" rtlCol="0">
            <a:spAutoFit/>
          </a:bodyPr>
          <a:lstStyle/>
          <a:p>
            <a:pPr algn="ctr"/>
            <a:r>
              <a:rPr lang="en-US" sz="800" dirty="0">
                <a:solidFill>
                  <a:schemeClr val="tx1">
                    <a:alpha val="99000"/>
                  </a:schemeClr>
                </a:solidFill>
              </a:rPr>
              <a:t>airplane, travel</a:t>
            </a:r>
          </a:p>
        </p:txBody>
      </p:sp>
      <p:sp>
        <p:nvSpPr>
          <p:cNvPr id="232" name="TextBox 231"/>
          <p:cNvSpPr txBox="1"/>
          <p:nvPr/>
        </p:nvSpPr>
        <p:spPr>
          <a:xfrm>
            <a:off x="5823363" y="4673085"/>
            <a:ext cx="844365" cy="126958"/>
          </a:xfrm>
          <a:prstGeom prst="rect">
            <a:avLst/>
          </a:prstGeom>
          <a:noFill/>
        </p:spPr>
        <p:txBody>
          <a:bodyPr wrap="square" lIns="0" tIns="0" rIns="0" bIns="0" rtlCol="0">
            <a:spAutoFit/>
          </a:bodyPr>
          <a:lstStyle/>
          <a:p>
            <a:pPr algn="ctr"/>
            <a:r>
              <a:rPr lang="en-US" sz="800" dirty="0">
                <a:solidFill>
                  <a:schemeClr val="tx1">
                    <a:alpha val="99000"/>
                  </a:schemeClr>
                </a:solidFill>
              </a:rPr>
              <a:t>twitter</a:t>
            </a:r>
          </a:p>
        </p:txBody>
      </p:sp>
      <p:sp>
        <p:nvSpPr>
          <p:cNvPr id="233" name="TextBox 232"/>
          <p:cNvSpPr txBox="1"/>
          <p:nvPr/>
        </p:nvSpPr>
        <p:spPr>
          <a:xfrm>
            <a:off x="395426" y="4673085"/>
            <a:ext cx="844365" cy="126958"/>
          </a:xfrm>
          <a:prstGeom prst="rect">
            <a:avLst/>
          </a:prstGeom>
          <a:noFill/>
        </p:spPr>
        <p:txBody>
          <a:bodyPr wrap="square" lIns="0" tIns="0" rIns="0" bIns="0" rtlCol="0">
            <a:spAutoFit/>
          </a:bodyPr>
          <a:lstStyle/>
          <a:p>
            <a:pPr algn="ctr"/>
            <a:r>
              <a:rPr lang="en-US" sz="800" dirty="0">
                <a:solidFill>
                  <a:schemeClr val="tx1">
                    <a:alpha val="99000"/>
                  </a:schemeClr>
                </a:solidFill>
              </a:rPr>
              <a:t>decorative arrow</a:t>
            </a:r>
          </a:p>
        </p:txBody>
      </p:sp>
      <p:sp>
        <p:nvSpPr>
          <p:cNvPr id="234" name="TextBox 233"/>
          <p:cNvSpPr txBox="1"/>
          <p:nvPr/>
        </p:nvSpPr>
        <p:spPr>
          <a:xfrm>
            <a:off x="1300535" y="4673085"/>
            <a:ext cx="844365" cy="126958"/>
          </a:xfrm>
          <a:prstGeom prst="rect">
            <a:avLst/>
          </a:prstGeom>
          <a:noFill/>
        </p:spPr>
        <p:txBody>
          <a:bodyPr wrap="square" lIns="0" tIns="0" rIns="0" bIns="0" rtlCol="0">
            <a:spAutoFit/>
          </a:bodyPr>
          <a:lstStyle/>
          <a:p>
            <a:pPr algn="ctr"/>
            <a:r>
              <a:rPr lang="en-US" sz="800" dirty="0">
                <a:solidFill>
                  <a:schemeClr val="tx1">
                    <a:alpha val="99000"/>
                  </a:schemeClr>
                </a:solidFill>
              </a:rPr>
              <a:t>this way, arrow</a:t>
            </a:r>
          </a:p>
        </p:txBody>
      </p:sp>
      <p:sp>
        <p:nvSpPr>
          <p:cNvPr id="235" name="TextBox 234"/>
          <p:cNvSpPr txBox="1"/>
          <p:nvPr/>
        </p:nvSpPr>
        <p:spPr>
          <a:xfrm>
            <a:off x="2191779" y="4673085"/>
            <a:ext cx="844365" cy="126958"/>
          </a:xfrm>
          <a:prstGeom prst="rect">
            <a:avLst/>
          </a:prstGeom>
          <a:noFill/>
        </p:spPr>
        <p:txBody>
          <a:bodyPr wrap="square" lIns="0" tIns="0" rIns="0" bIns="0" rtlCol="0">
            <a:spAutoFit/>
          </a:bodyPr>
          <a:lstStyle/>
          <a:p>
            <a:pPr algn="ctr"/>
            <a:r>
              <a:rPr lang="en-US" sz="800" dirty="0">
                <a:solidFill>
                  <a:schemeClr val="tx1">
                    <a:alpha val="99000"/>
                  </a:schemeClr>
                </a:solidFill>
              </a:rPr>
              <a:t>Birds of a feather</a:t>
            </a:r>
          </a:p>
        </p:txBody>
      </p:sp>
      <p:sp>
        <p:nvSpPr>
          <p:cNvPr id="236" name="TextBox 235"/>
          <p:cNvSpPr txBox="1"/>
          <p:nvPr/>
        </p:nvSpPr>
        <p:spPr>
          <a:xfrm>
            <a:off x="3105424" y="4667313"/>
            <a:ext cx="844365" cy="126958"/>
          </a:xfrm>
          <a:prstGeom prst="rect">
            <a:avLst/>
          </a:prstGeom>
          <a:noFill/>
        </p:spPr>
        <p:txBody>
          <a:bodyPr wrap="square" lIns="0" tIns="0" rIns="0" bIns="0" rtlCol="0">
            <a:spAutoFit/>
          </a:bodyPr>
          <a:lstStyle/>
          <a:p>
            <a:pPr algn="ctr"/>
            <a:r>
              <a:rPr lang="en-US" sz="800" dirty="0">
                <a:solidFill>
                  <a:schemeClr val="tx1">
                    <a:alpha val="99000"/>
                  </a:schemeClr>
                </a:solidFill>
              </a:rPr>
              <a:t>finance, calculator</a:t>
            </a:r>
          </a:p>
        </p:txBody>
      </p:sp>
      <p:sp>
        <p:nvSpPr>
          <p:cNvPr id="237" name="TextBox 236"/>
          <p:cNvSpPr txBox="1"/>
          <p:nvPr/>
        </p:nvSpPr>
        <p:spPr>
          <a:xfrm>
            <a:off x="4004152" y="4673085"/>
            <a:ext cx="844365" cy="126958"/>
          </a:xfrm>
          <a:prstGeom prst="rect">
            <a:avLst/>
          </a:prstGeom>
          <a:noFill/>
        </p:spPr>
        <p:txBody>
          <a:bodyPr wrap="square" lIns="0" tIns="0" rIns="0" bIns="0" rtlCol="0">
            <a:spAutoFit/>
          </a:bodyPr>
          <a:lstStyle/>
          <a:p>
            <a:pPr algn="ctr"/>
            <a:r>
              <a:rPr lang="en-US" sz="800" dirty="0">
                <a:solidFill>
                  <a:schemeClr val="tx1">
                    <a:alpha val="99000"/>
                  </a:schemeClr>
                </a:solidFill>
              </a:rPr>
              <a:t>this way, arrow</a:t>
            </a:r>
          </a:p>
        </p:txBody>
      </p:sp>
      <p:sp>
        <p:nvSpPr>
          <p:cNvPr id="238" name="TextBox 237"/>
          <p:cNvSpPr txBox="1"/>
          <p:nvPr/>
        </p:nvSpPr>
        <p:spPr>
          <a:xfrm>
            <a:off x="4912208" y="4673085"/>
            <a:ext cx="844365" cy="126958"/>
          </a:xfrm>
          <a:prstGeom prst="rect">
            <a:avLst/>
          </a:prstGeom>
          <a:noFill/>
        </p:spPr>
        <p:txBody>
          <a:bodyPr wrap="square" lIns="0" tIns="0" rIns="0" bIns="0" rtlCol="0">
            <a:spAutoFit/>
          </a:bodyPr>
          <a:lstStyle/>
          <a:p>
            <a:pPr algn="ctr"/>
            <a:r>
              <a:rPr lang="en-US" sz="800" dirty="0">
                <a:solidFill>
                  <a:schemeClr val="tx1">
                    <a:alpha val="99000"/>
                  </a:schemeClr>
                </a:solidFill>
              </a:rPr>
              <a:t>hands-on labs</a:t>
            </a:r>
          </a:p>
        </p:txBody>
      </p:sp>
      <p:sp>
        <p:nvSpPr>
          <p:cNvPr id="239" name="TextBox 238"/>
          <p:cNvSpPr txBox="1"/>
          <p:nvPr/>
        </p:nvSpPr>
        <p:spPr>
          <a:xfrm>
            <a:off x="6677412" y="4673085"/>
            <a:ext cx="976201" cy="126958"/>
          </a:xfrm>
          <a:prstGeom prst="rect">
            <a:avLst/>
          </a:prstGeom>
          <a:noFill/>
        </p:spPr>
        <p:txBody>
          <a:bodyPr wrap="square" lIns="0" tIns="0" rIns="0" bIns="0" rtlCol="0">
            <a:spAutoFit/>
          </a:bodyPr>
          <a:lstStyle/>
          <a:p>
            <a:pPr algn="ctr"/>
            <a:r>
              <a:rPr lang="en-US" sz="800" dirty="0">
                <a:solidFill>
                  <a:schemeClr val="tx1">
                    <a:alpha val="99000"/>
                  </a:schemeClr>
                </a:solidFill>
              </a:rPr>
              <a:t>this way, connect</a:t>
            </a:r>
          </a:p>
        </p:txBody>
      </p:sp>
      <p:sp>
        <p:nvSpPr>
          <p:cNvPr id="57" name="Freeform 86"/>
          <p:cNvSpPr>
            <a:spLocks noEditPoints="1"/>
          </p:cNvSpPr>
          <p:nvPr/>
        </p:nvSpPr>
        <p:spPr bwMode="auto">
          <a:xfrm>
            <a:off x="7840974" y="2475095"/>
            <a:ext cx="407173" cy="407067"/>
          </a:xfrm>
          <a:custGeom>
            <a:avLst/>
            <a:gdLst>
              <a:gd name="T0" fmla="*/ 345 w 345"/>
              <a:gd name="T1" fmla="*/ 335 h 345"/>
              <a:gd name="T2" fmla="*/ 117 w 345"/>
              <a:gd name="T3" fmla="*/ 107 h 345"/>
              <a:gd name="T4" fmla="*/ 212 w 345"/>
              <a:gd name="T5" fmla="*/ 13 h 345"/>
              <a:gd name="T6" fmla="*/ 213 w 345"/>
              <a:gd name="T7" fmla="*/ 5 h 345"/>
              <a:gd name="T8" fmla="*/ 206 w 345"/>
              <a:gd name="T9" fmla="*/ 0 h 345"/>
              <a:gd name="T10" fmla="*/ 7 w 345"/>
              <a:gd name="T11" fmla="*/ 0 h 345"/>
              <a:gd name="T12" fmla="*/ 0 w 345"/>
              <a:gd name="T13" fmla="*/ 7 h 345"/>
              <a:gd name="T14" fmla="*/ 0 w 345"/>
              <a:gd name="T15" fmla="*/ 207 h 345"/>
              <a:gd name="T16" fmla="*/ 4 w 345"/>
              <a:gd name="T17" fmla="*/ 214 h 345"/>
              <a:gd name="T18" fmla="*/ 7 w 345"/>
              <a:gd name="T19" fmla="*/ 214 h 345"/>
              <a:gd name="T20" fmla="*/ 12 w 345"/>
              <a:gd name="T21" fmla="*/ 212 h 345"/>
              <a:gd name="T22" fmla="*/ 107 w 345"/>
              <a:gd name="T23" fmla="*/ 117 h 345"/>
              <a:gd name="T24" fmla="*/ 335 w 345"/>
              <a:gd name="T25" fmla="*/ 345 h 345"/>
              <a:gd name="T26" fmla="*/ 345 w 345"/>
              <a:gd name="T27" fmla="*/ 335 h 345"/>
              <a:gd name="T28" fmla="*/ 15 w 345"/>
              <a:gd name="T29" fmla="*/ 15 h 345"/>
              <a:gd name="T30" fmla="*/ 189 w 345"/>
              <a:gd name="T31" fmla="*/ 15 h 345"/>
              <a:gd name="T32" fmla="*/ 15 w 345"/>
              <a:gd name="T33" fmla="*/ 189 h 345"/>
              <a:gd name="T34" fmla="*/ 15 w 345"/>
              <a:gd name="T35" fmla="*/ 15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5" h="345">
                <a:moveTo>
                  <a:pt x="345" y="335"/>
                </a:moveTo>
                <a:cubicBezTo>
                  <a:pt x="117" y="107"/>
                  <a:pt x="117" y="107"/>
                  <a:pt x="117" y="107"/>
                </a:cubicBezTo>
                <a:cubicBezTo>
                  <a:pt x="212" y="13"/>
                  <a:pt x="212" y="13"/>
                  <a:pt x="212" y="13"/>
                </a:cubicBezTo>
                <a:cubicBezTo>
                  <a:pt x="214" y="10"/>
                  <a:pt x="214" y="7"/>
                  <a:pt x="213" y="5"/>
                </a:cubicBezTo>
                <a:cubicBezTo>
                  <a:pt x="212" y="2"/>
                  <a:pt x="209" y="0"/>
                  <a:pt x="206" y="0"/>
                </a:cubicBezTo>
                <a:cubicBezTo>
                  <a:pt x="7" y="0"/>
                  <a:pt x="7" y="0"/>
                  <a:pt x="7" y="0"/>
                </a:cubicBezTo>
                <a:cubicBezTo>
                  <a:pt x="3" y="0"/>
                  <a:pt x="0" y="3"/>
                  <a:pt x="0" y="7"/>
                </a:cubicBezTo>
                <a:cubicBezTo>
                  <a:pt x="0" y="207"/>
                  <a:pt x="0" y="207"/>
                  <a:pt x="0" y="207"/>
                </a:cubicBezTo>
                <a:cubicBezTo>
                  <a:pt x="0" y="210"/>
                  <a:pt x="2" y="212"/>
                  <a:pt x="4" y="214"/>
                </a:cubicBezTo>
                <a:cubicBezTo>
                  <a:pt x="5" y="214"/>
                  <a:pt x="6" y="214"/>
                  <a:pt x="7" y="214"/>
                </a:cubicBezTo>
                <a:cubicBezTo>
                  <a:pt x="9" y="214"/>
                  <a:pt x="11" y="213"/>
                  <a:pt x="12" y="212"/>
                </a:cubicBezTo>
                <a:cubicBezTo>
                  <a:pt x="107" y="117"/>
                  <a:pt x="107" y="117"/>
                  <a:pt x="107" y="117"/>
                </a:cubicBezTo>
                <a:cubicBezTo>
                  <a:pt x="335" y="345"/>
                  <a:pt x="335" y="345"/>
                  <a:pt x="335" y="345"/>
                </a:cubicBezTo>
                <a:lnTo>
                  <a:pt x="345" y="335"/>
                </a:lnTo>
                <a:close/>
                <a:moveTo>
                  <a:pt x="15" y="15"/>
                </a:moveTo>
                <a:cubicBezTo>
                  <a:pt x="189" y="15"/>
                  <a:pt x="189" y="15"/>
                  <a:pt x="189" y="15"/>
                </a:cubicBezTo>
                <a:cubicBezTo>
                  <a:pt x="15" y="189"/>
                  <a:pt x="15" y="189"/>
                  <a:pt x="15" y="189"/>
                </a:cubicBezTo>
                <a:lnTo>
                  <a:pt x="15" y="15"/>
                </a:lnTo>
                <a:close/>
              </a:path>
            </a:pathLst>
          </a:custGeom>
          <a:solidFill>
            <a:schemeClr val="tx1"/>
          </a:solidFill>
          <a:ln>
            <a:noFill/>
          </a:ln>
        </p:spPr>
        <p:txBody>
          <a:bodyPr vert="horz" wrap="square" lIns="68571" tIns="34286" rIns="68571" bIns="34286" numCol="1" anchor="t" anchorCtr="0" compatLnSpc="1">
            <a:prstTxWarp prst="textNoShape">
              <a:avLst/>
            </a:prstTxWarp>
          </a:bodyPr>
          <a:lstStyle/>
          <a:p>
            <a:endParaRPr lang="en-US"/>
          </a:p>
        </p:txBody>
      </p:sp>
      <p:sp>
        <p:nvSpPr>
          <p:cNvPr id="58" name="TextBox 57"/>
          <p:cNvSpPr txBox="1"/>
          <p:nvPr/>
        </p:nvSpPr>
        <p:spPr>
          <a:xfrm>
            <a:off x="7622384" y="3178243"/>
            <a:ext cx="844365" cy="253916"/>
          </a:xfrm>
          <a:prstGeom prst="rect">
            <a:avLst/>
          </a:prstGeom>
          <a:noFill/>
        </p:spPr>
        <p:txBody>
          <a:bodyPr wrap="square" lIns="0" tIns="0" rIns="0" bIns="0" rtlCol="0">
            <a:spAutoFit/>
          </a:bodyPr>
          <a:lstStyle/>
          <a:p>
            <a:pPr algn="ctr"/>
            <a:r>
              <a:rPr lang="en-US" sz="800" dirty="0">
                <a:solidFill>
                  <a:schemeClr val="tx1">
                    <a:alpha val="99000"/>
                  </a:schemeClr>
                </a:solidFill>
              </a:rPr>
              <a:t>this way,</a:t>
            </a:r>
            <a:br>
              <a:rPr lang="en-US" sz="800" dirty="0">
                <a:solidFill>
                  <a:schemeClr val="tx1">
                    <a:alpha val="99000"/>
                  </a:schemeClr>
                </a:solidFill>
              </a:rPr>
            </a:br>
            <a:r>
              <a:rPr lang="en-US" sz="800" dirty="0">
                <a:solidFill>
                  <a:schemeClr val="tx1">
                    <a:alpha val="99000"/>
                  </a:schemeClr>
                </a:solidFill>
              </a:rPr>
              <a:t>look here</a:t>
            </a:r>
          </a:p>
        </p:txBody>
      </p:sp>
      <p:sp>
        <p:nvSpPr>
          <p:cNvPr id="61"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62"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pic>
        <p:nvPicPr>
          <p:cNvPr id="63"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95797021"/>
      </p:ext>
    </p:extLst>
  </p:cSld>
  <p:clrMapOvr>
    <a:masterClrMapping/>
  </p:clrMapOvr>
  <p:transition spd="slow">
    <p:fade/>
  </p:transition>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7" name="Group 46"/>
          <p:cNvGrpSpPr/>
          <p:nvPr/>
        </p:nvGrpSpPr>
        <p:grpSpPr>
          <a:xfrm>
            <a:off x="1066800" y="1138894"/>
            <a:ext cx="7010400" cy="1010000"/>
            <a:chOff x="249958" y="1199215"/>
            <a:chExt cx="9344766" cy="1346667"/>
          </a:xfrm>
        </p:grpSpPr>
        <p:sp>
          <p:nvSpPr>
            <p:cNvPr id="48" name="Rectangle 47"/>
            <p:cNvSpPr/>
            <p:nvPr/>
          </p:nvSpPr>
          <p:spPr bwMode="auto">
            <a:xfrm>
              <a:off x="1602968" y="1199215"/>
              <a:ext cx="7991756" cy="1346667"/>
            </a:xfrm>
            <a:prstGeom prst="rect">
              <a:avLst/>
            </a:prstGeom>
            <a:solidFill>
              <a:schemeClr val="accent3"/>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52"/>
              <a:r>
                <a:rPr lang="en-US" sz="2100" dirty="0">
                  <a:gradFill>
                    <a:gsLst>
                      <a:gs pos="0">
                        <a:srgbClr val="FFFFFF"/>
                      </a:gs>
                      <a:gs pos="100000">
                        <a:srgbClr val="FFFFFF"/>
                      </a:gs>
                    </a:gsLst>
                    <a:lin ang="5400000" scaled="0"/>
                  </a:gradFill>
                </a:rPr>
                <a:t>CONNECTED DEVELOPMENT</a:t>
              </a:r>
            </a:p>
          </p:txBody>
        </p:sp>
        <p:sp>
          <p:nvSpPr>
            <p:cNvPr id="49" name="Rectangle 48"/>
            <p:cNvSpPr/>
            <p:nvPr/>
          </p:nvSpPr>
          <p:spPr bwMode="auto">
            <a:xfrm>
              <a:off x="249958" y="1199215"/>
              <a:ext cx="1284160" cy="1346667"/>
            </a:xfrm>
            <a:prstGeom prst="rect">
              <a:avLst/>
            </a:prstGeom>
            <a:solidFill>
              <a:schemeClr val="accent3"/>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52"/>
              <a:endParaRPr lang="en-US" sz="1500" dirty="0">
                <a:gradFill>
                  <a:gsLst>
                    <a:gs pos="0">
                      <a:srgbClr val="FFFFFF"/>
                    </a:gs>
                    <a:gs pos="100000">
                      <a:srgbClr val="FFFFFF"/>
                    </a:gs>
                  </a:gsLst>
                  <a:lin ang="5400000" scaled="0"/>
                </a:gradFill>
              </a:endParaRPr>
            </a:p>
          </p:txBody>
        </p:sp>
      </p:grpSp>
      <p:grpSp>
        <p:nvGrpSpPr>
          <p:cNvPr id="51" name="Group 50"/>
          <p:cNvGrpSpPr/>
          <p:nvPr/>
        </p:nvGrpSpPr>
        <p:grpSpPr>
          <a:xfrm>
            <a:off x="1066805" y="2229177"/>
            <a:ext cx="7010399" cy="1010000"/>
            <a:chOff x="249958" y="2652926"/>
            <a:chExt cx="9344762" cy="1346667"/>
          </a:xfrm>
          <a:solidFill>
            <a:srgbClr val="FF8B00"/>
          </a:solidFill>
        </p:grpSpPr>
        <p:sp>
          <p:nvSpPr>
            <p:cNvPr id="52" name="Rectangle 51"/>
            <p:cNvSpPr/>
            <p:nvPr/>
          </p:nvSpPr>
          <p:spPr bwMode="auto">
            <a:xfrm>
              <a:off x="1602968" y="2652926"/>
              <a:ext cx="7991752" cy="1346667"/>
            </a:xfrm>
            <a:prstGeom prst="rect">
              <a:avLst/>
            </a:prstGeom>
            <a:solidFill>
              <a:schemeClr val="accent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52"/>
              <a:r>
                <a:rPr lang="en-US" sz="2100" dirty="0">
                  <a:gradFill>
                    <a:gsLst>
                      <a:gs pos="0">
                        <a:srgbClr val="FFFFFF"/>
                      </a:gs>
                      <a:gs pos="100000">
                        <a:srgbClr val="FFFFFF"/>
                      </a:gs>
                    </a:gsLst>
                    <a:lin ang="5400000" scaled="0"/>
                  </a:gradFill>
                </a:rPr>
                <a:t>PROJECT BASED DEVELOPMENT</a:t>
              </a:r>
            </a:p>
          </p:txBody>
        </p:sp>
        <p:sp>
          <p:nvSpPr>
            <p:cNvPr id="53" name="Rectangle 52"/>
            <p:cNvSpPr/>
            <p:nvPr/>
          </p:nvSpPr>
          <p:spPr bwMode="auto">
            <a:xfrm>
              <a:off x="249958" y="2652926"/>
              <a:ext cx="1284160" cy="1346667"/>
            </a:xfrm>
            <a:prstGeom prst="rect">
              <a:avLst/>
            </a:prstGeom>
            <a:solidFill>
              <a:schemeClr val="accent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52"/>
              <a:endParaRPr lang="en-US" sz="1500" dirty="0">
                <a:gradFill>
                  <a:gsLst>
                    <a:gs pos="0">
                      <a:srgbClr val="FFFFFF"/>
                    </a:gs>
                    <a:gs pos="100000">
                      <a:srgbClr val="FFFFFF"/>
                    </a:gs>
                  </a:gsLst>
                  <a:lin ang="5400000" scaled="0"/>
                </a:gradFill>
              </a:endParaRPr>
            </a:p>
          </p:txBody>
        </p:sp>
      </p:grpSp>
      <p:grpSp>
        <p:nvGrpSpPr>
          <p:cNvPr id="55" name="Group 54"/>
          <p:cNvGrpSpPr/>
          <p:nvPr/>
        </p:nvGrpSpPr>
        <p:grpSpPr>
          <a:xfrm>
            <a:off x="1066805" y="3319462"/>
            <a:ext cx="7010399" cy="1010000"/>
            <a:chOff x="249958" y="4106638"/>
            <a:chExt cx="9344763" cy="1346667"/>
          </a:xfrm>
        </p:grpSpPr>
        <p:sp>
          <p:nvSpPr>
            <p:cNvPr id="56" name="Rectangle 55"/>
            <p:cNvSpPr/>
            <p:nvPr/>
          </p:nvSpPr>
          <p:spPr bwMode="auto">
            <a:xfrm>
              <a:off x="1602969" y="4106638"/>
              <a:ext cx="7991752" cy="1346667"/>
            </a:xfrm>
            <a:prstGeom prst="rect">
              <a:avLst/>
            </a:prstGeom>
            <a:solidFill>
              <a:schemeClr val="accent2"/>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52"/>
              <a:r>
                <a:rPr lang="en-US" sz="2100" dirty="0">
                  <a:gradFill>
                    <a:gsLst>
                      <a:gs pos="0">
                        <a:srgbClr val="FFFFFF"/>
                      </a:gs>
                      <a:gs pos="100000">
                        <a:srgbClr val="FFFFFF"/>
                      </a:gs>
                    </a:gsLst>
                    <a:lin ang="5400000" scaled="0"/>
                  </a:gradFill>
                </a:rPr>
                <a:t>SCHEMA DEPLOYMENT</a:t>
              </a:r>
            </a:p>
          </p:txBody>
        </p:sp>
        <p:sp>
          <p:nvSpPr>
            <p:cNvPr id="57" name="Rectangle 56"/>
            <p:cNvSpPr/>
            <p:nvPr/>
          </p:nvSpPr>
          <p:spPr bwMode="auto">
            <a:xfrm>
              <a:off x="249958" y="4106638"/>
              <a:ext cx="1284160" cy="1346667"/>
            </a:xfrm>
            <a:prstGeom prst="rect">
              <a:avLst/>
            </a:prstGeom>
            <a:solidFill>
              <a:schemeClr val="accent2"/>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52"/>
              <a:endParaRPr lang="en-US" sz="1500" dirty="0">
                <a:gradFill>
                  <a:gsLst>
                    <a:gs pos="0">
                      <a:srgbClr val="FFFFFF"/>
                    </a:gs>
                    <a:gs pos="100000">
                      <a:srgbClr val="FFFFFF"/>
                    </a:gs>
                  </a:gsLst>
                  <a:lin ang="5400000" scaled="0"/>
                </a:gradFill>
              </a:endParaRPr>
            </a:p>
          </p:txBody>
        </p:sp>
      </p:grpSp>
      <p:sp>
        <p:nvSpPr>
          <p:cNvPr id="3" name="Title 2"/>
          <p:cNvSpPr>
            <a:spLocks noGrp="1"/>
          </p:cNvSpPr>
          <p:nvPr>
            <p:ph type="title"/>
          </p:nvPr>
        </p:nvSpPr>
        <p:spPr/>
        <p:txBody>
          <a:bodyPr/>
          <a:lstStyle/>
          <a:p>
            <a:r>
              <a:rPr lang="en-US" smtClean="0"/>
              <a:t>Introducing SQL Server Data Tools</a:t>
            </a:r>
            <a:endParaRPr lang="en-US" dirty="0"/>
          </a:p>
        </p:txBody>
      </p:sp>
      <p:sp useBgFill="1">
        <p:nvSpPr>
          <p:cNvPr id="63" name="MASK"/>
          <p:cNvSpPr/>
          <p:nvPr/>
        </p:nvSpPr>
        <p:spPr>
          <a:xfrm>
            <a:off x="8077200" y="1138898"/>
            <a:ext cx="1066800" cy="31905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en-US"/>
          </a:p>
        </p:txBody>
      </p:sp>
      <p:sp>
        <p:nvSpPr>
          <p:cNvPr id="16" name="Freeform 43"/>
          <p:cNvSpPr>
            <a:spLocks noEditPoints="1"/>
          </p:cNvSpPr>
          <p:nvPr/>
        </p:nvSpPr>
        <p:spPr bwMode="black">
          <a:xfrm>
            <a:off x="1322849" y="1411469"/>
            <a:ext cx="497464" cy="464851"/>
          </a:xfrm>
          <a:custGeom>
            <a:avLst/>
            <a:gdLst>
              <a:gd name="T0" fmla="*/ 106 w 800"/>
              <a:gd name="T1" fmla="*/ 178 h 748"/>
              <a:gd name="T2" fmla="*/ 204 w 800"/>
              <a:gd name="T3" fmla="*/ 88 h 748"/>
              <a:gd name="T4" fmla="*/ 495 w 800"/>
              <a:gd name="T5" fmla="*/ 588 h 748"/>
              <a:gd name="T6" fmla="*/ 398 w 800"/>
              <a:gd name="T7" fmla="*/ 677 h 748"/>
              <a:gd name="T8" fmla="*/ 148 w 800"/>
              <a:gd name="T9" fmla="*/ 300 h 748"/>
              <a:gd name="T10" fmla="*/ 84 w 800"/>
              <a:gd name="T11" fmla="*/ 138 h 748"/>
              <a:gd name="T12" fmla="*/ 49 w 800"/>
              <a:gd name="T13" fmla="*/ 220 h 748"/>
              <a:gd name="T14" fmla="*/ 0 w 800"/>
              <a:gd name="T15" fmla="*/ 499 h 748"/>
              <a:gd name="T16" fmla="*/ 148 w 800"/>
              <a:gd name="T17" fmla="*/ 300 h 748"/>
              <a:gd name="T18" fmla="*/ 263 w 800"/>
              <a:gd name="T19" fmla="*/ 719 h 748"/>
              <a:gd name="T20" fmla="*/ 257 w 800"/>
              <a:gd name="T21" fmla="*/ 657 h 748"/>
              <a:gd name="T22" fmla="*/ 169 w 800"/>
              <a:gd name="T23" fmla="*/ 732 h 748"/>
              <a:gd name="T24" fmla="*/ 229 w 800"/>
              <a:gd name="T25" fmla="*/ 661 h 748"/>
              <a:gd name="T26" fmla="*/ 169 w 800"/>
              <a:gd name="T27" fmla="*/ 732 h 748"/>
              <a:gd name="T28" fmla="*/ 144 w 800"/>
              <a:gd name="T29" fmla="*/ 735 h 748"/>
              <a:gd name="T30" fmla="*/ 138 w 800"/>
              <a:gd name="T31" fmla="*/ 674 h 748"/>
              <a:gd name="T32" fmla="*/ 51 w 800"/>
              <a:gd name="T33" fmla="*/ 748 h 748"/>
              <a:gd name="T34" fmla="*/ 111 w 800"/>
              <a:gd name="T35" fmla="*/ 678 h 748"/>
              <a:gd name="T36" fmla="*/ 51 w 800"/>
              <a:gd name="T37" fmla="*/ 748 h 748"/>
              <a:gd name="T38" fmla="*/ 28 w 800"/>
              <a:gd name="T39" fmla="*/ 716 h 748"/>
              <a:gd name="T40" fmla="*/ 47 w 800"/>
              <a:gd name="T41" fmla="*/ 741 h 748"/>
              <a:gd name="T42" fmla="*/ 351 w 800"/>
              <a:gd name="T43" fmla="*/ 696 h 748"/>
              <a:gd name="T44" fmla="*/ 328 w 800"/>
              <a:gd name="T45" fmla="*/ 659 h 748"/>
              <a:gd name="T46" fmla="*/ 277 w 800"/>
              <a:gd name="T47" fmla="*/ 706 h 748"/>
              <a:gd name="T48" fmla="*/ 457 w 800"/>
              <a:gd name="T49" fmla="*/ 471 h 748"/>
              <a:gd name="T50" fmla="*/ 505 w 800"/>
              <a:gd name="T51" fmla="*/ 567 h 748"/>
              <a:gd name="T52" fmla="*/ 509 w 800"/>
              <a:gd name="T53" fmla="*/ 568 h 748"/>
              <a:gd name="T54" fmla="*/ 516 w 800"/>
              <a:gd name="T55" fmla="*/ 556 h 748"/>
              <a:gd name="T56" fmla="*/ 667 w 800"/>
              <a:gd name="T57" fmla="*/ 326 h 748"/>
              <a:gd name="T58" fmla="*/ 794 w 800"/>
              <a:gd name="T59" fmla="*/ 166 h 748"/>
              <a:gd name="T60" fmla="*/ 715 w 800"/>
              <a:gd name="T61" fmla="*/ 260 h 748"/>
              <a:gd name="T62" fmla="*/ 775 w 800"/>
              <a:gd name="T63" fmla="*/ 124 h 748"/>
              <a:gd name="T64" fmla="*/ 682 w 800"/>
              <a:gd name="T65" fmla="*/ 241 h 748"/>
              <a:gd name="T66" fmla="*/ 742 w 800"/>
              <a:gd name="T67" fmla="*/ 104 h 748"/>
              <a:gd name="T68" fmla="*/ 650 w 800"/>
              <a:gd name="T69" fmla="*/ 221 h 748"/>
              <a:gd name="T70" fmla="*/ 709 w 800"/>
              <a:gd name="T71" fmla="*/ 85 h 748"/>
              <a:gd name="T72" fmla="*/ 589 w 800"/>
              <a:gd name="T73" fmla="*/ 248 h 748"/>
              <a:gd name="T74" fmla="*/ 615 w 800"/>
              <a:gd name="T75" fmla="*/ 294 h 748"/>
              <a:gd name="T76" fmla="*/ 520 w 800"/>
              <a:gd name="T77" fmla="*/ 247 h 748"/>
              <a:gd name="T78" fmla="*/ 490 w 800"/>
              <a:gd name="T79" fmla="*/ 1 h 748"/>
              <a:gd name="T80" fmla="*/ 460 w 800"/>
              <a:gd name="T81" fmla="*/ 249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00" h="748">
                <a:moveTo>
                  <a:pt x="350" y="661"/>
                </a:moveTo>
                <a:cubicBezTo>
                  <a:pt x="106" y="178"/>
                  <a:pt x="106" y="178"/>
                  <a:pt x="106" y="178"/>
                </a:cubicBezTo>
                <a:cubicBezTo>
                  <a:pt x="98" y="160"/>
                  <a:pt x="105" y="138"/>
                  <a:pt x="122" y="130"/>
                </a:cubicBezTo>
                <a:cubicBezTo>
                  <a:pt x="204" y="88"/>
                  <a:pt x="204" y="88"/>
                  <a:pt x="204" y="88"/>
                </a:cubicBezTo>
                <a:cubicBezTo>
                  <a:pt x="222" y="80"/>
                  <a:pt x="244" y="87"/>
                  <a:pt x="252" y="104"/>
                </a:cubicBezTo>
                <a:cubicBezTo>
                  <a:pt x="495" y="588"/>
                  <a:pt x="495" y="588"/>
                  <a:pt x="495" y="588"/>
                </a:cubicBezTo>
                <a:cubicBezTo>
                  <a:pt x="504" y="605"/>
                  <a:pt x="497" y="627"/>
                  <a:pt x="479" y="636"/>
                </a:cubicBezTo>
                <a:cubicBezTo>
                  <a:pt x="398" y="677"/>
                  <a:pt x="398" y="677"/>
                  <a:pt x="398" y="677"/>
                </a:cubicBezTo>
                <a:cubicBezTo>
                  <a:pt x="380" y="686"/>
                  <a:pt x="358" y="679"/>
                  <a:pt x="350" y="661"/>
                </a:cubicBezTo>
                <a:close/>
                <a:moveTo>
                  <a:pt x="148" y="300"/>
                </a:moveTo>
                <a:cubicBezTo>
                  <a:pt x="83" y="171"/>
                  <a:pt x="83" y="171"/>
                  <a:pt x="83" y="171"/>
                </a:cubicBezTo>
                <a:cubicBezTo>
                  <a:pt x="78" y="161"/>
                  <a:pt x="79" y="148"/>
                  <a:pt x="84" y="138"/>
                </a:cubicBezTo>
                <a:cubicBezTo>
                  <a:pt x="67" y="134"/>
                  <a:pt x="67" y="134"/>
                  <a:pt x="67" y="134"/>
                </a:cubicBezTo>
                <a:cubicBezTo>
                  <a:pt x="49" y="220"/>
                  <a:pt x="49" y="220"/>
                  <a:pt x="49" y="220"/>
                </a:cubicBezTo>
                <a:cubicBezTo>
                  <a:pt x="63" y="223"/>
                  <a:pt x="63" y="223"/>
                  <a:pt x="63" y="223"/>
                </a:cubicBezTo>
                <a:cubicBezTo>
                  <a:pt x="49" y="325"/>
                  <a:pt x="0" y="388"/>
                  <a:pt x="0" y="499"/>
                </a:cubicBezTo>
                <a:cubicBezTo>
                  <a:pt x="18" y="529"/>
                  <a:pt x="26" y="622"/>
                  <a:pt x="14" y="672"/>
                </a:cubicBezTo>
                <a:cubicBezTo>
                  <a:pt x="85" y="555"/>
                  <a:pt x="129" y="431"/>
                  <a:pt x="148" y="300"/>
                </a:cubicBezTo>
                <a:close/>
                <a:moveTo>
                  <a:pt x="230" y="723"/>
                </a:moveTo>
                <a:cubicBezTo>
                  <a:pt x="263" y="719"/>
                  <a:pt x="263" y="719"/>
                  <a:pt x="263" y="719"/>
                </a:cubicBezTo>
                <a:cubicBezTo>
                  <a:pt x="290" y="653"/>
                  <a:pt x="290" y="653"/>
                  <a:pt x="290" y="653"/>
                </a:cubicBezTo>
                <a:cubicBezTo>
                  <a:pt x="257" y="657"/>
                  <a:pt x="257" y="657"/>
                  <a:pt x="257" y="657"/>
                </a:cubicBezTo>
                <a:cubicBezTo>
                  <a:pt x="230" y="723"/>
                  <a:pt x="230" y="723"/>
                  <a:pt x="230" y="723"/>
                </a:cubicBezTo>
                <a:close/>
                <a:moveTo>
                  <a:pt x="169" y="732"/>
                </a:moveTo>
                <a:cubicBezTo>
                  <a:pt x="202" y="727"/>
                  <a:pt x="202" y="727"/>
                  <a:pt x="202" y="727"/>
                </a:cubicBezTo>
                <a:cubicBezTo>
                  <a:pt x="229" y="661"/>
                  <a:pt x="229" y="661"/>
                  <a:pt x="229" y="661"/>
                </a:cubicBezTo>
                <a:cubicBezTo>
                  <a:pt x="196" y="666"/>
                  <a:pt x="196" y="666"/>
                  <a:pt x="196" y="666"/>
                </a:cubicBezTo>
                <a:cubicBezTo>
                  <a:pt x="169" y="732"/>
                  <a:pt x="169" y="732"/>
                  <a:pt x="169" y="732"/>
                </a:cubicBezTo>
                <a:close/>
                <a:moveTo>
                  <a:pt x="111" y="740"/>
                </a:moveTo>
                <a:cubicBezTo>
                  <a:pt x="144" y="735"/>
                  <a:pt x="144" y="735"/>
                  <a:pt x="144" y="735"/>
                </a:cubicBezTo>
                <a:cubicBezTo>
                  <a:pt x="171" y="669"/>
                  <a:pt x="171" y="669"/>
                  <a:pt x="171" y="669"/>
                </a:cubicBezTo>
                <a:cubicBezTo>
                  <a:pt x="138" y="674"/>
                  <a:pt x="138" y="674"/>
                  <a:pt x="138" y="674"/>
                </a:cubicBezTo>
                <a:cubicBezTo>
                  <a:pt x="111" y="740"/>
                  <a:pt x="111" y="740"/>
                  <a:pt x="111" y="740"/>
                </a:cubicBezTo>
                <a:close/>
                <a:moveTo>
                  <a:pt x="51" y="748"/>
                </a:moveTo>
                <a:cubicBezTo>
                  <a:pt x="84" y="744"/>
                  <a:pt x="84" y="744"/>
                  <a:pt x="84" y="744"/>
                </a:cubicBezTo>
                <a:cubicBezTo>
                  <a:pt x="111" y="678"/>
                  <a:pt x="111" y="678"/>
                  <a:pt x="111" y="678"/>
                </a:cubicBezTo>
                <a:cubicBezTo>
                  <a:pt x="78" y="682"/>
                  <a:pt x="78" y="682"/>
                  <a:pt x="78" y="682"/>
                </a:cubicBezTo>
                <a:cubicBezTo>
                  <a:pt x="51" y="748"/>
                  <a:pt x="51" y="748"/>
                  <a:pt x="51" y="748"/>
                </a:cubicBezTo>
                <a:close/>
                <a:moveTo>
                  <a:pt x="47" y="741"/>
                </a:moveTo>
                <a:cubicBezTo>
                  <a:pt x="28" y="716"/>
                  <a:pt x="28" y="716"/>
                  <a:pt x="28" y="716"/>
                </a:cubicBezTo>
                <a:cubicBezTo>
                  <a:pt x="60" y="711"/>
                  <a:pt x="60" y="711"/>
                  <a:pt x="60" y="711"/>
                </a:cubicBezTo>
                <a:cubicBezTo>
                  <a:pt x="47" y="741"/>
                  <a:pt x="47" y="741"/>
                  <a:pt x="47" y="741"/>
                </a:cubicBezTo>
                <a:close/>
                <a:moveTo>
                  <a:pt x="277" y="706"/>
                </a:moveTo>
                <a:cubicBezTo>
                  <a:pt x="351" y="696"/>
                  <a:pt x="351" y="696"/>
                  <a:pt x="351" y="696"/>
                </a:cubicBezTo>
                <a:cubicBezTo>
                  <a:pt x="347" y="693"/>
                  <a:pt x="343" y="689"/>
                  <a:pt x="341" y="684"/>
                </a:cubicBezTo>
                <a:cubicBezTo>
                  <a:pt x="328" y="659"/>
                  <a:pt x="328" y="659"/>
                  <a:pt x="328" y="659"/>
                </a:cubicBezTo>
                <a:cubicBezTo>
                  <a:pt x="295" y="664"/>
                  <a:pt x="295" y="664"/>
                  <a:pt x="295" y="664"/>
                </a:cubicBezTo>
                <a:cubicBezTo>
                  <a:pt x="277" y="706"/>
                  <a:pt x="277" y="706"/>
                  <a:pt x="277" y="706"/>
                </a:cubicBezTo>
                <a:close/>
                <a:moveTo>
                  <a:pt x="460" y="249"/>
                </a:moveTo>
                <a:cubicBezTo>
                  <a:pt x="457" y="471"/>
                  <a:pt x="457" y="471"/>
                  <a:pt x="457" y="471"/>
                </a:cubicBezTo>
                <a:cubicBezTo>
                  <a:pt x="481" y="518"/>
                  <a:pt x="481" y="518"/>
                  <a:pt x="481" y="518"/>
                </a:cubicBezTo>
                <a:cubicBezTo>
                  <a:pt x="505" y="567"/>
                  <a:pt x="505" y="567"/>
                  <a:pt x="505" y="567"/>
                </a:cubicBezTo>
                <a:cubicBezTo>
                  <a:pt x="507" y="571"/>
                  <a:pt x="507" y="571"/>
                  <a:pt x="507" y="571"/>
                </a:cubicBezTo>
                <a:cubicBezTo>
                  <a:pt x="509" y="568"/>
                  <a:pt x="509" y="568"/>
                  <a:pt x="509" y="568"/>
                </a:cubicBezTo>
                <a:cubicBezTo>
                  <a:pt x="516" y="568"/>
                  <a:pt x="516" y="568"/>
                  <a:pt x="516" y="568"/>
                </a:cubicBezTo>
                <a:cubicBezTo>
                  <a:pt x="516" y="556"/>
                  <a:pt x="516" y="556"/>
                  <a:pt x="516" y="556"/>
                </a:cubicBezTo>
                <a:cubicBezTo>
                  <a:pt x="658" y="320"/>
                  <a:pt x="658" y="320"/>
                  <a:pt x="658" y="320"/>
                </a:cubicBezTo>
                <a:cubicBezTo>
                  <a:pt x="667" y="326"/>
                  <a:pt x="667" y="326"/>
                  <a:pt x="667" y="326"/>
                </a:cubicBezTo>
                <a:cubicBezTo>
                  <a:pt x="680" y="333"/>
                  <a:pt x="696" y="329"/>
                  <a:pt x="703" y="317"/>
                </a:cubicBezTo>
                <a:cubicBezTo>
                  <a:pt x="794" y="166"/>
                  <a:pt x="794" y="166"/>
                  <a:pt x="794" y="166"/>
                </a:cubicBezTo>
                <a:cubicBezTo>
                  <a:pt x="800" y="156"/>
                  <a:pt x="798" y="143"/>
                  <a:pt x="790" y="134"/>
                </a:cubicBezTo>
                <a:cubicBezTo>
                  <a:pt x="715" y="260"/>
                  <a:pt x="715" y="260"/>
                  <a:pt x="715" y="260"/>
                </a:cubicBezTo>
                <a:cubicBezTo>
                  <a:pt x="699" y="250"/>
                  <a:pt x="699" y="250"/>
                  <a:pt x="699" y="250"/>
                </a:cubicBezTo>
                <a:cubicBezTo>
                  <a:pt x="775" y="124"/>
                  <a:pt x="775" y="124"/>
                  <a:pt x="775" y="124"/>
                </a:cubicBezTo>
                <a:cubicBezTo>
                  <a:pt x="758" y="114"/>
                  <a:pt x="758" y="114"/>
                  <a:pt x="758" y="114"/>
                </a:cubicBezTo>
                <a:cubicBezTo>
                  <a:pt x="682" y="241"/>
                  <a:pt x="682" y="241"/>
                  <a:pt x="682" y="241"/>
                </a:cubicBezTo>
                <a:cubicBezTo>
                  <a:pt x="666" y="231"/>
                  <a:pt x="666" y="231"/>
                  <a:pt x="666" y="231"/>
                </a:cubicBezTo>
                <a:cubicBezTo>
                  <a:pt x="742" y="104"/>
                  <a:pt x="742" y="104"/>
                  <a:pt x="742" y="104"/>
                </a:cubicBezTo>
                <a:cubicBezTo>
                  <a:pt x="725" y="94"/>
                  <a:pt x="725" y="94"/>
                  <a:pt x="725" y="94"/>
                </a:cubicBezTo>
                <a:cubicBezTo>
                  <a:pt x="650" y="221"/>
                  <a:pt x="650" y="221"/>
                  <a:pt x="650" y="221"/>
                </a:cubicBezTo>
                <a:cubicBezTo>
                  <a:pt x="633" y="211"/>
                  <a:pt x="633" y="211"/>
                  <a:pt x="633" y="211"/>
                </a:cubicBezTo>
                <a:cubicBezTo>
                  <a:pt x="709" y="85"/>
                  <a:pt x="709" y="85"/>
                  <a:pt x="709" y="85"/>
                </a:cubicBezTo>
                <a:cubicBezTo>
                  <a:pt x="697" y="82"/>
                  <a:pt x="685" y="87"/>
                  <a:pt x="679" y="97"/>
                </a:cubicBezTo>
                <a:cubicBezTo>
                  <a:pt x="589" y="248"/>
                  <a:pt x="589" y="248"/>
                  <a:pt x="589" y="248"/>
                </a:cubicBezTo>
                <a:cubicBezTo>
                  <a:pt x="581" y="261"/>
                  <a:pt x="585" y="277"/>
                  <a:pt x="598" y="284"/>
                </a:cubicBezTo>
                <a:cubicBezTo>
                  <a:pt x="615" y="294"/>
                  <a:pt x="615" y="294"/>
                  <a:pt x="615" y="294"/>
                </a:cubicBezTo>
                <a:cubicBezTo>
                  <a:pt x="518" y="456"/>
                  <a:pt x="518" y="456"/>
                  <a:pt x="518" y="456"/>
                </a:cubicBezTo>
                <a:cubicBezTo>
                  <a:pt x="520" y="247"/>
                  <a:pt x="520" y="247"/>
                  <a:pt x="520" y="247"/>
                </a:cubicBezTo>
                <a:cubicBezTo>
                  <a:pt x="556" y="229"/>
                  <a:pt x="582" y="183"/>
                  <a:pt x="583" y="129"/>
                </a:cubicBezTo>
                <a:cubicBezTo>
                  <a:pt x="584" y="59"/>
                  <a:pt x="542" y="2"/>
                  <a:pt x="490" y="1"/>
                </a:cubicBezTo>
                <a:cubicBezTo>
                  <a:pt x="437" y="0"/>
                  <a:pt x="394" y="57"/>
                  <a:pt x="393" y="127"/>
                </a:cubicBezTo>
                <a:cubicBezTo>
                  <a:pt x="392" y="184"/>
                  <a:pt x="420" y="233"/>
                  <a:pt x="460" y="249"/>
                </a:cubicBezTo>
                <a:close/>
              </a:path>
            </a:pathLst>
          </a:custGeom>
          <a:solidFill>
            <a:srgbClr val="FFFFFF"/>
          </a:solidFill>
          <a:ln>
            <a:noFill/>
          </a:ln>
        </p:spPr>
        <p:txBody>
          <a:bodyPr vert="horz" wrap="square" lIns="61735" tIns="30867" rIns="61735" bIns="30867" numCol="1" anchor="t" anchorCtr="0" compatLnSpc="1">
            <a:prstTxWarp prst="textNoShape">
              <a:avLst/>
            </a:prstTxWarp>
          </a:bodyPr>
          <a:lstStyle/>
          <a:p>
            <a:endParaRPr lang="en-US" sz="1200"/>
          </a:p>
        </p:txBody>
      </p:sp>
      <p:sp>
        <p:nvSpPr>
          <p:cNvPr id="17" name="Freeform 83"/>
          <p:cNvSpPr>
            <a:spLocks noEditPoints="1"/>
          </p:cNvSpPr>
          <p:nvPr/>
        </p:nvSpPr>
        <p:spPr bwMode="black">
          <a:xfrm>
            <a:off x="1382887" y="3625326"/>
            <a:ext cx="377384" cy="398273"/>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61735" tIns="30867" rIns="61735" bIns="30867" numCol="1" anchor="t" anchorCtr="0" compatLnSpc="1">
            <a:prstTxWarp prst="textNoShape">
              <a:avLst/>
            </a:prstTxWarp>
          </a:bodyPr>
          <a:lstStyle/>
          <a:p>
            <a:endParaRPr lang="en-US" sz="1200"/>
          </a:p>
        </p:txBody>
      </p:sp>
      <p:sp>
        <p:nvSpPr>
          <p:cNvPr id="18" name="Freeform 79"/>
          <p:cNvSpPr>
            <a:spLocks noEditPoints="1"/>
          </p:cNvSpPr>
          <p:nvPr/>
        </p:nvSpPr>
        <p:spPr bwMode="black">
          <a:xfrm>
            <a:off x="1402899" y="2524916"/>
            <a:ext cx="337361" cy="418521"/>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rgbClr val="FFFFFF"/>
          </a:solidFill>
          <a:ln>
            <a:noFill/>
          </a:ln>
          <a:extLst/>
        </p:spPr>
        <p:txBody>
          <a:bodyPr vert="horz" wrap="square" lIns="61735" tIns="30867" rIns="61735" bIns="30867" numCol="1" anchor="t" anchorCtr="0" compatLnSpc="1">
            <a:prstTxWarp prst="textNoShape">
              <a:avLst/>
            </a:prstTxWarp>
          </a:bodyPr>
          <a:lstStyle/>
          <a:p>
            <a:endParaRPr lang="en-US" sz="1200"/>
          </a:p>
        </p:txBody>
      </p:sp>
      <p:sp>
        <p:nvSpPr>
          <p:cNvPr id="19"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0"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pic>
        <p:nvPicPr>
          <p:cNvPr id="21"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80451445"/>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63"/>
                                        </p:tgtEl>
                                        <p:attrNameLst>
                                          <p:attrName>style.visibility</p:attrName>
                                        </p:attrNameLst>
                                      </p:cBhvr>
                                      <p:to>
                                        <p:strVal val="visible"/>
                                      </p:to>
                                    </p:set>
                                  </p:childTnLst>
                                </p:cTn>
                              </p:par>
                            </p:childTnLst>
                          </p:cTn>
                        </p:par>
                        <p:par>
                          <p:cTn id="7" fill="hold">
                            <p:stCondLst>
                              <p:cond delay="0"/>
                            </p:stCondLst>
                            <p:childTnLst>
                              <p:par>
                                <p:cTn id="8" presetID="2" presetClass="entr" presetSubtype="2" decel="100000" fill="hold" nodeType="afterEffect">
                                  <p:stCondLst>
                                    <p:cond delay="0"/>
                                  </p:stCondLst>
                                  <p:childTnLst>
                                    <p:set>
                                      <p:cBhvr>
                                        <p:cTn id="9" dur="1" fill="hold">
                                          <p:stCondLst>
                                            <p:cond delay="0"/>
                                          </p:stCondLst>
                                        </p:cTn>
                                        <p:tgtEl>
                                          <p:spTgt spid="47"/>
                                        </p:tgtEl>
                                        <p:attrNameLst>
                                          <p:attrName>style.visibility</p:attrName>
                                        </p:attrNameLst>
                                      </p:cBhvr>
                                      <p:to>
                                        <p:strVal val="visible"/>
                                      </p:to>
                                    </p:set>
                                    <p:anim calcmode="lin" valueType="num">
                                      <p:cBhvr additive="base">
                                        <p:cTn id="10" dur="750" fill="hold"/>
                                        <p:tgtEl>
                                          <p:spTgt spid="47"/>
                                        </p:tgtEl>
                                        <p:attrNameLst>
                                          <p:attrName>ppt_x</p:attrName>
                                        </p:attrNameLst>
                                      </p:cBhvr>
                                      <p:tavLst>
                                        <p:tav tm="0">
                                          <p:val>
                                            <p:strVal val="1+#ppt_w/2"/>
                                          </p:val>
                                        </p:tav>
                                        <p:tav tm="100000">
                                          <p:val>
                                            <p:strVal val="#ppt_x"/>
                                          </p:val>
                                        </p:tav>
                                      </p:tavLst>
                                    </p:anim>
                                    <p:anim calcmode="lin" valueType="num">
                                      <p:cBhvr additive="base">
                                        <p:cTn id="11" dur="750" fill="hold"/>
                                        <p:tgtEl>
                                          <p:spTgt spid="47"/>
                                        </p:tgtEl>
                                        <p:attrNameLst>
                                          <p:attrName>ppt_y</p:attrName>
                                        </p:attrNameLst>
                                      </p:cBhvr>
                                      <p:tavLst>
                                        <p:tav tm="0">
                                          <p:val>
                                            <p:strVal val="#ppt_y"/>
                                          </p:val>
                                        </p:tav>
                                        <p:tav tm="100000">
                                          <p:val>
                                            <p:strVal val="#ppt_y"/>
                                          </p:val>
                                        </p:tav>
                                      </p:tavLst>
                                    </p:anim>
                                  </p:childTnLst>
                                </p:cTn>
                              </p:par>
                            </p:childTnLst>
                          </p:cTn>
                        </p:par>
                        <p:par>
                          <p:cTn id="12" fill="hold">
                            <p:stCondLst>
                              <p:cond delay="750"/>
                            </p:stCondLst>
                            <p:childTnLst>
                              <p:par>
                                <p:cTn id="13" presetID="2" presetClass="entr" presetSubtype="2" decel="100000" fill="hold" nodeType="afterEffect">
                                  <p:stCondLst>
                                    <p:cond delay="0"/>
                                  </p:stCondLst>
                                  <p:childTnLst>
                                    <p:set>
                                      <p:cBhvr>
                                        <p:cTn id="14" dur="1" fill="hold">
                                          <p:stCondLst>
                                            <p:cond delay="0"/>
                                          </p:stCondLst>
                                        </p:cTn>
                                        <p:tgtEl>
                                          <p:spTgt spid="51"/>
                                        </p:tgtEl>
                                        <p:attrNameLst>
                                          <p:attrName>style.visibility</p:attrName>
                                        </p:attrNameLst>
                                      </p:cBhvr>
                                      <p:to>
                                        <p:strVal val="visible"/>
                                      </p:to>
                                    </p:set>
                                    <p:anim calcmode="lin" valueType="num">
                                      <p:cBhvr additive="base">
                                        <p:cTn id="15" dur="750" fill="hold"/>
                                        <p:tgtEl>
                                          <p:spTgt spid="51"/>
                                        </p:tgtEl>
                                        <p:attrNameLst>
                                          <p:attrName>ppt_x</p:attrName>
                                        </p:attrNameLst>
                                      </p:cBhvr>
                                      <p:tavLst>
                                        <p:tav tm="0">
                                          <p:val>
                                            <p:strVal val="1+#ppt_w/2"/>
                                          </p:val>
                                        </p:tav>
                                        <p:tav tm="100000">
                                          <p:val>
                                            <p:strVal val="#ppt_x"/>
                                          </p:val>
                                        </p:tav>
                                      </p:tavLst>
                                    </p:anim>
                                    <p:anim calcmode="lin" valueType="num">
                                      <p:cBhvr additive="base">
                                        <p:cTn id="16" dur="750" fill="hold"/>
                                        <p:tgtEl>
                                          <p:spTgt spid="51"/>
                                        </p:tgtEl>
                                        <p:attrNameLst>
                                          <p:attrName>ppt_y</p:attrName>
                                        </p:attrNameLst>
                                      </p:cBhvr>
                                      <p:tavLst>
                                        <p:tav tm="0">
                                          <p:val>
                                            <p:strVal val="#ppt_y"/>
                                          </p:val>
                                        </p:tav>
                                        <p:tav tm="100000">
                                          <p:val>
                                            <p:strVal val="#ppt_y"/>
                                          </p:val>
                                        </p:tav>
                                      </p:tavLst>
                                    </p:anim>
                                  </p:childTnLst>
                                </p:cTn>
                              </p:par>
                            </p:childTnLst>
                          </p:cTn>
                        </p:par>
                        <p:par>
                          <p:cTn id="17" fill="hold">
                            <p:stCondLst>
                              <p:cond delay="1500"/>
                            </p:stCondLst>
                            <p:childTnLst>
                              <p:par>
                                <p:cTn id="18" presetID="2" presetClass="entr" presetSubtype="2" decel="100000" fill="hold" nodeType="afterEffect">
                                  <p:stCondLst>
                                    <p:cond delay="0"/>
                                  </p:stCondLst>
                                  <p:childTnLst>
                                    <p:set>
                                      <p:cBhvr>
                                        <p:cTn id="19" dur="1" fill="hold">
                                          <p:stCondLst>
                                            <p:cond delay="0"/>
                                          </p:stCondLst>
                                        </p:cTn>
                                        <p:tgtEl>
                                          <p:spTgt spid="55"/>
                                        </p:tgtEl>
                                        <p:attrNameLst>
                                          <p:attrName>style.visibility</p:attrName>
                                        </p:attrNameLst>
                                      </p:cBhvr>
                                      <p:to>
                                        <p:strVal val="visible"/>
                                      </p:to>
                                    </p:set>
                                    <p:anim calcmode="lin" valueType="num">
                                      <p:cBhvr additive="base">
                                        <p:cTn id="20" dur="750" fill="hold"/>
                                        <p:tgtEl>
                                          <p:spTgt spid="55"/>
                                        </p:tgtEl>
                                        <p:attrNameLst>
                                          <p:attrName>ppt_x</p:attrName>
                                        </p:attrNameLst>
                                      </p:cBhvr>
                                      <p:tavLst>
                                        <p:tav tm="0">
                                          <p:val>
                                            <p:strVal val="1+#ppt_w/2"/>
                                          </p:val>
                                        </p:tav>
                                        <p:tav tm="100000">
                                          <p:val>
                                            <p:strVal val="#ppt_x"/>
                                          </p:val>
                                        </p:tav>
                                      </p:tavLst>
                                    </p:anim>
                                    <p:anim calcmode="lin" valueType="num">
                                      <p:cBhvr additive="base">
                                        <p:cTn id="21" dur="750" fill="hold"/>
                                        <p:tgtEl>
                                          <p:spTgt spid="5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animBg="1"/>
    </p:bld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Connected Development</a:t>
            </a:r>
            <a:endParaRPr lang="en-US" dirty="0"/>
          </a:p>
        </p:txBody>
      </p:sp>
      <p:sp>
        <p:nvSpPr>
          <p:cNvPr id="29" name="Rectangle 28"/>
          <p:cNvSpPr/>
          <p:nvPr/>
        </p:nvSpPr>
        <p:spPr>
          <a:xfrm>
            <a:off x="4629706" y="2409125"/>
            <a:ext cx="2016777" cy="4572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spcCol="0" rtlCol="0" anchor="ctr"/>
          <a:lstStyle/>
          <a:p>
            <a:pPr algn="ctr"/>
            <a:r>
              <a:rPr lang="en-US" sz="1600" dirty="0"/>
              <a:t>Drift Detection</a:t>
            </a:r>
          </a:p>
        </p:txBody>
      </p:sp>
      <p:sp>
        <p:nvSpPr>
          <p:cNvPr id="31" name="Rectangle 30"/>
          <p:cNvSpPr/>
          <p:nvPr/>
        </p:nvSpPr>
        <p:spPr>
          <a:xfrm>
            <a:off x="4629706" y="2989752"/>
            <a:ext cx="2016777" cy="1015498"/>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spcCol="0" rtlCol="0" anchor="ctr"/>
          <a:lstStyle/>
          <a:p>
            <a:pPr algn="ctr"/>
            <a:r>
              <a:rPr lang="en-US" sz="1600" dirty="0"/>
              <a:t>Schema Comparison</a:t>
            </a:r>
          </a:p>
        </p:txBody>
      </p:sp>
      <p:sp>
        <p:nvSpPr>
          <p:cNvPr id="32" name="Rectangle 31"/>
          <p:cNvSpPr/>
          <p:nvPr/>
        </p:nvSpPr>
        <p:spPr>
          <a:xfrm>
            <a:off x="349421" y="2409125"/>
            <a:ext cx="2016777" cy="10287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spcCol="0" rtlCol="0" anchor="ctr"/>
          <a:lstStyle/>
          <a:p>
            <a:pPr algn="ctr"/>
            <a:r>
              <a:rPr lang="en-US" sz="1600" dirty="0"/>
              <a:t>SQL Server </a:t>
            </a:r>
            <a:br>
              <a:rPr lang="en-US" sz="1600" dirty="0"/>
            </a:br>
            <a:r>
              <a:rPr lang="en-US" sz="1600" dirty="0"/>
              <a:t>Object Explorer</a:t>
            </a:r>
          </a:p>
        </p:txBody>
      </p:sp>
      <p:sp>
        <p:nvSpPr>
          <p:cNvPr id="33" name="Rectangle 32"/>
          <p:cNvSpPr/>
          <p:nvPr/>
        </p:nvSpPr>
        <p:spPr>
          <a:xfrm>
            <a:off x="349421" y="3548050"/>
            <a:ext cx="2016777" cy="4572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spcCol="0" rtlCol="0" anchor="ctr"/>
          <a:lstStyle/>
          <a:p>
            <a:pPr algn="ctr"/>
            <a:r>
              <a:rPr lang="en-US" sz="1600" dirty="0"/>
              <a:t>T-SQL Editor</a:t>
            </a:r>
          </a:p>
        </p:txBody>
      </p:sp>
      <p:sp>
        <p:nvSpPr>
          <p:cNvPr id="34" name="Rectangle 33"/>
          <p:cNvSpPr/>
          <p:nvPr/>
        </p:nvSpPr>
        <p:spPr>
          <a:xfrm>
            <a:off x="6769851" y="2409127"/>
            <a:ext cx="2016777" cy="458405"/>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spcCol="0" rtlCol="0" anchor="ctr"/>
          <a:lstStyle/>
          <a:p>
            <a:pPr algn="ctr"/>
            <a:r>
              <a:rPr lang="en-US" sz="1600" dirty="0"/>
              <a:t>Table Designer</a:t>
            </a:r>
          </a:p>
        </p:txBody>
      </p:sp>
      <p:sp>
        <p:nvSpPr>
          <p:cNvPr id="35" name="Rectangle 34"/>
          <p:cNvSpPr/>
          <p:nvPr/>
        </p:nvSpPr>
        <p:spPr>
          <a:xfrm>
            <a:off x="6769851" y="3548050"/>
            <a:ext cx="2016777" cy="4572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spcCol="0" rtlCol="0" anchor="ctr"/>
          <a:lstStyle/>
          <a:p>
            <a:pPr algn="ctr"/>
            <a:r>
              <a:rPr lang="en-US" sz="1600" dirty="0"/>
              <a:t>Error Information</a:t>
            </a:r>
          </a:p>
        </p:txBody>
      </p:sp>
      <p:sp>
        <p:nvSpPr>
          <p:cNvPr id="37" name="Rectangle 36"/>
          <p:cNvSpPr/>
          <p:nvPr/>
        </p:nvSpPr>
        <p:spPr>
          <a:xfrm>
            <a:off x="2489563" y="2409125"/>
            <a:ext cx="2016777" cy="4572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spcCol="0" rtlCol="0" anchor="ctr"/>
          <a:lstStyle/>
          <a:p>
            <a:pPr algn="ctr"/>
            <a:r>
              <a:rPr lang="en-US" sz="1600" dirty="0"/>
              <a:t>T-SQL IntelliSense</a:t>
            </a:r>
          </a:p>
        </p:txBody>
      </p:sp>
      <p:sp>
        <p:nvSpPr>
          <p:cNvPr id="39" name="Rectangle 38"/>
          <p:cNvSpPr/>
          <p:nvPr/>
        </p:nvSpPr>
        <p:spPr>
          <a:xfrm>
            <a:off x="6769851" y="2989752"/>
            <a:ext cx="2016777" cy="4572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spcCol="0" rtlCol="0" anchor="ctr"/>
          <a:lstStyle/>
          <a:p>
            <a:pPr algn="ctr"/>
            <a:r>
              <a:rPr lang="en-US" sz="1600" dirty="0"/>
              <a:t>View Code</a:t>
            </a:r>
          </a:p>
        </p:txBody>
      </p:sp>
      <p:sp>
        <p:nvSpPr>
          <p:cNvPr id="38" name="Rectangle 37"/>
          <p:cNvSpPr/>
          <p:nvPr/>
        </p:nvSpPr>
        <p:spPr>
          <a:xfrm>
            <a:off x="2489563" y="3548050"/>
            <a:ext cx="2016777" cy="4572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spcCol="0" rtlCol="0" anchor="ctr"/>
          <a:lstStyle/>
          <a:p>
            <a:pPr algn="ctr"/>
            <a:r>
              <a:rPr lang="en-US" sz="1600" dirty="0">
                <a:solidFill>
                  <a:schemeClr val="tx1"/>
                </a:solidFill>
              </a:rPr>
              <a:t>View/Edit Data</a:t>
            </a:r>
          </a:p>
        </p:txBody>
      </p:sp>
      <p:sp>
        <p:nvSpPr>
          <p:cNvPr id="40" name="Rectangle 39"/>
          <p:cNvSpPr/>
          <p:nvPr/>
        </p:nvSpPr>
        <p:spPr>
          <a:xfrm>
            <a:off x="2489563" y="2989752"/>
            <a:ext cx="2016777" cy="4572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spcCol="0" rtlCol="0" anchor="ctr"/>
          <a:lstStyle/>
          <a:p>
            <a:pPr algn="ctr"/>
            <a:r>
              <a:rPr lang="en-US" sz="1600" dirty="0"/>
              <a:t>T-SQL Debugging</a:t>
            </a:r>
          </a:p>
        </p:txBody>
      </p:sp>
      <p:grpSp>
        <p:nvGrpSpPr>
          <p:cNvPr id="14" name="Group 13"/>
          <p:cNvGrpSpPr/>
          <p:nvPr/>
        </p:nvGrpSpPr>
        <p:grpSpPr>
          <a:xfrm>
            <a:off x="349421" y="970346"/>
            <a:ext cx="8444067" cy="1303020"/>
            <a:chOff x="465772" y="1293795"/>
            <a:chExt cx="11255824" cy="1737360"/>
          </a:xfrm>
        </p:grpSpPr>
        <p:sp>
          <p:nvSpPr>
            <p:cNvPr id="8" name="Rectangle 7"/>
            <p:cNvSpPr>
              <a:spLocks noChangeAspect="1"/>
            </p:cNvSpPr>
            <p:nvPr>
              <p:custDataLst>
                <p:tags r:id="rId1"/>
              </p:custDataLst>
            </p:nvPr>
          </p:nvSpPr>
          <p:spPr bwMode="auto">
            <a:xfrm>
              <a:off x="3318553" y="1293795"/>
              <a:ext cx="2688336" cy="1737360"/>
            </a:xfrm>
            <a:prstGeom prst="rect">
              <a:avLst/>
            </a:prstGeom>
            <a:solidFill>
              <a:srgbClr val="00DAFF"/>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b" anchorCtr="0" compatLnSpc="1">
              <a:prstTxWarp prst="textNoShape">
                <a:avLst/>
              </a:prstTxWarp>
              <a:noAutofit/>
            </a:bodyPr>
            <a:lstStyle/>
            <a:p>
              <a:pPr defTabSz="914045" fontAlgn="base">
                <a:lnSpc>
                  <a:spcPct val="90000"/>
                </a:lnSpc>
                <a:spcBef>
                  <a:spcPts val="630"/>
                </a:spcBef>
                <a:spcAft>
                  <a:spcPct val="0"/>
                </a:spcAft>
                <a:buClr>
                  <a:srgbClr val="FFFF99"/>
                </a:buClr>
                <a:buSzPct val="120000"/>
              </a:pPr>
              <a:endParaRPr lang="en-US" dirty="0" smtClean="0">
                <a:ln>
                  <a:solidFill>
                    <a:srgbClr val="FFFFFF">
                      <a:alpha val="0"/>
                    </a:srgbClr>
                  </a:solidFill>
                </a:ln>
                <a:solidFill>
                  <a:srgbClr val="FFFFFF">
                    <a:alpha val="99000"/>
                  </a:srgbClr>
                </a:solidFill>
                <a:cs typeface="Segoe UI" pitchFamily="34" charset="0"/>
              </a:endParaRPr>
            </a:p>
            <a:p>
              <a:pPr defTabSz="914045" fontAlgn="base">
                <a:lnSpc>
                  <a:spcPct val="90000"/>
                </a:lnSpc>
                <a:spcBef>
                  <a:spcPts val="630"/>
                </a:spcBef>
                <a:spcAft>
                  <a:spcPct val="0"/>
                </a:spcAft>
                <a:buClr>
                  <a:srgbClr val="FFFF99"/>
                </a:buClr>
                <a:buSzPct val="120000"/>
              </a:pPr>
              <a:r>
                <a:rPr lang="en-US" sz="2000" dirty="0">
                  <a:ln>
                    <a:solidFill>
                      <a:srgbClr val="FFFFFF">
                        <a:alpha val="0"/>
                      </a:srgbClr>
                    </a:solidFill>
                  </a:ln>
                  <a:solidFill>
                    <a:srgbClr val="FFFFFF">
                      <a:alpha val="99000"/>
                    </a:srgbClr>
                  </a:solidFill>
                  <a:cs typeface="Segoe UI" pitchFamily="34" charset="0"/>
                </a:rPr>
                <a:t>Optimized     </a:t>
              </a:r>
              <a:br>
                <a:rPr lang="en-US" sz="2000" dirty="0">
                  <a:ln>
                    <a:solidFill>
                      <a:srgbClr val="FFFFFF">
                        <a:alpha val="0"/>
                      </a:srgbClr>
                    </a:solidFill>
                  </a:ln>
                  <a:solidFill>
                    <a:srgbClr val="FFFFFF">
                      <a:alpha val="99000"/>
                    </a:srgbClr>
                  </a:solidFill>
                  <a:cs typeface="Segoe UI" pitchFamily="34" charset="0"/>
                </a:rPr>
              </a:br>
              <a:r>
                <a:rPr lang="en-US" sz="2000" dirty="0">
                  <a:ln>
                    <a:solidFill>
                      <a:srgbClr val="FFFFFF">
                        <a:alpha val="0"/>
                      </a:srgbClr>
                    </a:solidFill>
                  </a:ln>
                  <a:solidFill>
                    <a:srgbClr val="FFFFFF">
                      <a:alpha val="99000"/>
                    </a:srgbClr>
                  </a:solidFill>
                  <a:cs typeface="Segoe UI" pitchFamily="34" charset="0"/>
                </a:rPr>
                <a:t>Productivity</a:t>
              </a:r>
            </a:p>
          </p:txBody>
        </p:sp>
        <p:grpSp>
          <p:nvGrpSpPr>
            <p:cNvPr id="11" name="Group 10"/>
            <p:cNvGrpSpPr/>
            <p:nvPr/>
          </p:nvGrpSpPr>
          <p:grpSpPr>
            <a:xfrm>
              <a:off x="465772" y="1293795"/>
              <a:ext cx="2688336" cy="1737360"/>
              <a:chOff x="465772" y="1293795"/>
              <a:chExt cx="2688336" cy="1737360"/>
            </a:xfrm>
          </p:grpSpPr>
          <p:grpSp>
            <p:nvGrpSpPr>
              <p:cNvPr id="10" name="Group 9"/>
              <p:cNvGrpSpPr/>
              <p:nvPr/>
            </p:nvGrpSpPr>
            <p:grpSpPr>
              <a:xfrm>
                <a:off x="465772" y="1293795"/>
                <a:ext cx="2688336" cy="1737360"/>
                <a:chOff x="6826146" y="972753"/>
                <a:chExt cx="2013054" cy="1295309"/>
              </a:xfrm>
            </p:grpSpPr>
            <p:sp>
              <p:nvSpPr>
                <p:cNvPr id="9" name="Rectangle 8"/>
                <p:cNvSpPr>
                  <a:spLocks noChangeAspect="1"/>
                </p:cNvSpPr>
                <p:nvPr>
                  <p:custDataLst>
                    <p:tags r:id="rId4"/>
                  </p:custDataLst>
                </p:nvPr>
              </p:nvSpPr>
              <p:spPr bwMode="auto">
                <a:xfrm>
                  <a:off x="6826146" y="972753"/>
                  <a:ext cx="2013054" cy="1295309"/>
                </a:xfrm>
                <a:prstGeom prst="rect">
                  <a:avLst/>
                </a:prstGeom>
                <a:solidFill>
                  <a:srgbClr val="00DAFF"/>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b" anchorCtr="0" compatLnSpc="1">
                  <a:prstTxWarp prst="textNoShape">
                    <a:avLst/>
                  </a:prstTxWarp>
                  <a:noAutofit/>
                </a:bodyPr>
                <a:lstStyle/>
                <a:p>
                  <a:pPr defTabSz="914045" fontAlgn="base">
                    <a:lnSpc>
                      <a:spcPct val="90000"/>
                    </a:lnSpc>
                    <a:spcBef>
                      <a:spcPts val="630"/>
                    </a:spcBef>
                    <a:spcAft>
                      <a:spcPct val="0"/>
                    </a:spcAft>
                    <a:buClr>
                      <a:srgbClr val="FFFF99"/>
                    </a:buClr>
                    <a:buSzPct val="120000"/>
                  </a:pPr>
                  <a:r>
                    <a:rPr lang="en-US" dirty="0" smtClean="0">
                      <a:ln>
                        <a:solidFill>
                          <a:srgbClr val="FFFFFF">
                            <a:alpha val="0"/>
                          </a:srgbClr>
                        </a:solidFill>
                      </a:ln>
                      <a:solidFill>
                        <a:srgbClr val="FFFFFF">
                          <a:alpha val="99000"/>
                        </a:srgbClr>
                      </a:solidFill>
                      <a:cs typeface="Segoe UI" pitchFamily="34" charset="0"/>
                    </a:rPr>
                    <a:t>         </a:t>
                  </a:r>
                </a:p>
                <a:p>
                  <a:pPr defTabSz="914045" fontAlgn="base">
                    <a:lnSpc>
                      <a:spcPct val="90000"/>
                    </a:lnSpc>
                    <a:spcBef>
                      <a:spcPts val="630"/>
                    </a:spcBef>
                    <a:spcAft>
                      <a:spcPct val="0"/>
                    </a:spcAft>
                    <a:buClr>
                      <a:srgbClr val="FFFF99"/>
                    </a:buClr>
                    <a:buSzPct val="120000"/>
                  </a:pPr>
                  <a:r>
                    <a:rPr lang="en-US" dirty="0" smtClean="0">
                      <a:ln>
                        <a:solidFill>
                          <a:srgbClr val="FFFFFF">
                            <a:alpha val="0"/>
                          </a:srgbClr>
                        </a:solidFill>
                      </a:ln>
                      <a:solidFill>
                        <a:srgbClr val="FFFFFF">
                          <a:alpha val="99000"/>
                        </a:srgbClr>
                      </a:solidFill>
                      <a:cs typeface="Segoe UI" pitchFamily="34" charset="0"/>
                    </a:rPr>
                    <a:t>             </a:t>
                  </a:r>
                </a:p>
                <a:p>
                  <a:pPr defTabSz="914045" fontAlgn="base">
                    <a:lnSpc>
                      <a:spcPct val="90000"/>
                    </a:lnSpc>
                    <a:spcBef>
                      <a:spcPts val="630"/>
                    </a:spcBef>
                    <a:spcAft>
                      <a:spcPct val="0"/>
                    </a:spcAft>
                    <a:buClr>
                      <a:srgbClr val="FFFF99"/>
                    </a:buClr>
                    <a:buSzPct val="120000"/>
                  </a:pPr>
                  <a:r>
                    <a:rPr lang="en-US" sz="2000" dirty="0">
                      <a:ln>
                        <a:solidFill>
                          <a:srgbClr val="FFFFFF">
                            <a:alpha val="0"/>
                          </a:srgbClr>
                        </a:solidFill>
                      </a:ln>
                      <a:solidFill>
                        <a:srgbClr val="FFFFFF">
                          <a:alpha val="99000"/>
                        </a:srgbClr>
                      </a:solidFill>
                      <a:cs typeface="Segoe UI" pitchFamily="34" charset="0"/>
                    </a:rPr>
                    <a:t>Familiar User Experience</a:t>
                  </a:r>
                </a:p>
              </p:txBody>
            </p:sp>
            <p:grpSp>
              <p:nvGrpSpPr>
                <p:cNvPr id="54" name="Group 53"/>
                <p:cNvGrpSpPr>
                  <a:grpSpLocks noChangeAspect="1"/>
                </p:cNvGrpSpPr>
                <p:nvPr/>
              </p:nvGrpSpPr>
              <p:grpSpPr>
                <a:xfrm>
                  <a:off x="7323455" y="1249899"/>
                  <a:ext cx="69373" cy="18865"/>
                  <a:chOff x="-1260476" y="1773238"/>
                  <a:chExt cx="180975" cy="49213"/>
                </a:xfrm>
                <a:solidFill>
                  <a:schemeClr val="bg1"/>
                </a:solidFill>
              </p:grpSpPr>
              <p:sp>
                <p:nvSpPr>
                  <p:cNvPr id="55" name="Freeform 118"/>
                  <p:cNvSpPr>
                    <a:spLocks noEditPoints="1"/>
                  </p:cNvSpPr>
                  <p:nvPr/>
                </p:nvSpPr>
                <p:spPr bwMode="auto">
                  <a:xfrm>
                    <a:off x="-1198563" y="1774826"/>
                    <a:ext cx="47625" cy="47625"/>
                  </a:xfrm>
                  <a:custGeom>
                    <a:avLst/>
                    <a:gdLst>
                      <a:gd name="T0" fmla="*/ 0 w 30"/>
                      <a:gd name="T1" fmla="*/ 30 h 30"/>
                      <a:gd name="T2" fmla="*/ 30 w 30"/>
                      <a:gd name="T3" fmla="*/ 30 h 30"/>
                      <a:gd name="T4" fmla="*/ 30 w 30"/>
                      <a:gd name="T5" fmla="*/ 0 h 30"/>
                      <a:gd name="T6" fmla="*/ 0 w 30"/>
                      <a:gd name="T7" fmla="*/ 0 h 30"/>
                      <a:gd name="T8" fmla="*/ 0 w 30"/>
                      <a:gd name="T9" fmla="*/ 30 h 30"/>
                      <a:gd name="T10" fmla="*/ 8 w 30"/>
                      <a:gd name="T11" fmla="*/ 8 h 30"/>
                      <a:gd name="T12" fmla="*/ 22 w 30"/>
                      <a:gd name="T13" fmla="*/ 8 h 30"/>
                      <a:gd name="T14" fmla="*/ 22 w 30"/>
                      <a:gd name="T15" fmla="*/ 22 h 30"/>
                      <a:gd name="T16" fmla="*/ 8 w 30"/>
                      <a:gd name="T17" fmla="*/ 22 h 30"/>
                      <a:gd name="T18" fmla="*/ 8 w 30"/>
                      <a:gd name="T19" fmla="*/ 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0" y="30"/>
                        </a:moveTo>
                        <a:lnTo>
                          <a:pt x="30" y="30"/>
                        </a:lnTo>
                        <a:lnTo>
                          <a:pt x="30" y="0"/>
                        </a:lnTo>
                        <a:lnTo>
                          <a:pt x="0" y="0"/>
                        </a:lnTo>
                        <a:lnTo>
                          <a:pt x="0" y="30"/>
                        </a:lnTo>
                        <a:close/>
                        <a:moveTo>
                          <a:pt x="8" y="8"/>
                        </a:moveTo>
                        <a:lnTo>
                          <a:pt x="22" y="8"/>
                        </a:lnTo>
                        <a:lnTo>
                          <a:pt x="22" y="22"/>
                        </a:lnTo>
                        <a:lnTo>
                          <a:pt x="8" y="22"/>
                        </a:lnTo>
                        <a:lnTo>
                          <a:pt x="8"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Rectangle 120"/>
                  <p:cNvSpPr>
                    <a:spLocks noChangeArrowheads="1"/>
                  </p:cNvSpPr>
                  <p:nvPr/>
                </p:nvSpPr>
                <p:spPr bwMode="auto">
                  <a:xfrm>
                    <a:off x="-1260476" y="1809751"/>
                    <a:ext cx="46038"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121"/>
                  <p:cNvSpPr>
                    <a:spLocks/>
                  </p:cNvSpPr>
                  <p:nvPr/>
                </p:nvSpPr>
                <p:spPr bwMode="auto">
                  <a:xfrm>
                    <a:off x="-1130301" y="1773238"/>
                    <a:ext cx="50800" cy="49213"/>
                  </a:xfrm>
                  <a:custGeom>
                    <a:avLst/>
                    <a:gdLst>
                      <a:gd name="T0" fmla="*/ 26 w 32"/>
                      <a:gd name="T1" fmla="*/ 0 h 31"/>
                      <a:gd name="T2" fmla="*/ 16 w 32"/>
                      <a:gd name="T3" fmla="*/ 10 h 31"/>
                      <a:gd name="T4" fmla="*/ 6 w 32"/>
                      <a:gd name="T5" fmla="*/ 0 h 31"/>
                      <a:gd name="T6" fmla="*/ 0 w 32"/>
                      <a:gd name="T7" fmla="*/ 6 h 31"/>
                      <a:gd name="T8" fmla="*/ 10 w 32"/>
                      <a:gd name="T9" fmla="*/ 16 h 31"/>
                      <a:gd name="T10" fmla="*/ 1 w 32"/>
                      <a:gd name="T11" fmla="*/ 26 h 31"/>
                      <a:gd name="T12" fmla="*/ 6 w 32"/>
                      <a:gd name="T13" fmla="*/ 31 h 31"/>
                      <a:gd name="T14" fmla="*/ 16 w 32"/>
                      <a:gd name="T15" fmla="*/ 21 h 31"/>
                      <a:gd name="T16" fmla="*/ 26 w 32"/>
                      <a:gd name="T17" fmla="*/ 31 h 31"/>
                      <a:gd name="T18" fmla="*/ 31 w 32"/>
                      <a:gd name="T19" fmla="*/ 26 h 31"/>
                      <a:gd name="T20" fmla="*/ 22 w 32"/>
                      <a:gd name="T21" fmla="*/ 16 h 31"/>
                      <a:gd name="T22" fmla="*/ 32 w 32"/>
                      <a:gd name="T23" fmla="*/ 6 h 31"/>
                      <a:gd name="T24" fmla="*/ 26 w 32"/>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31">
                        <a:moveTo>
                          <a:pt x="26" y="0"/>
                        </a:moveTo>
                        <a:lnTo>
                          <a:pt x="16" y="10"/>
                        </a:lnTo>
                        <a:lnTo>
                          <a:pt x="6" y="0"/>
                        </a:lnTo>
                        <a:lnTo>
                          <a:pt x="0" y="6"/>
                        </a:lnTo>
                        <a:lnTo>
                          <a:pt x="10" y="16"/>
                        </a:lnTo>
                        <a:lnTo>
                          <a:pt x="1" y="26"/>
                        </a:lnTo>
                        <a:lnTo>
                          <a:pt x="6" y="31"/>
                        </a:lnTo>
                        <a:lnTo>
                          <a:pt x="16" y="21"/>
                        </a:lnTo>
                        <a:lnTo>
                          <a:pt x="26" y="31"/>
                        </a:lnTo>
                        <a:lnTo>
                          <a:pt x="31" y="26"/>
                        </a:lnTo>
                        <a:lnTo>
                          <a:pt x="22" y="16"/>
                        </a:lnTo>
                        <a:lnTo>
                          <a:pt x="32" y="6"/>
                        </a:ln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41" name="Group 40"/>
              <p:cNvGrpSpPr/>
              <p:nvPr/>
            </p:nvGrpSpPr>
            <p:grpSpPr bwMode="black">
              <a:xfrm>
                <a:off x="694395" y="1446028"/>
                <a:ext cx="393321" cy="758830"/>
                <a:chOff x="3360738" y="989012"/>
                <a:chExt cx="746125" cy="1439864"/>
              </a:xfrm>
            </p:grpSpPr>
            <p:sp>
              <p:nvSpPr>
                <p:cNvPr id="42" name="Freeform 36"/>
                <p:cNvSpPr>
                  <a:spLocks/>
                </p:cNvSpPr>
                <p:nvPr/>
              </p:nvSpPr>
              <p:spPr bwMode="black">
                <a:xfrm>
                  <a:off x="3360738" y="1255713"/>
                  <a:ext cx="525463" cy="1173163"/>
                </a:xfrm>
                <a:custGeom>
                  <a:avLst/>
                  <a:gdLst>
                    <a:gd name="T0" fmla="*/ 252 w 562"/>
                    <a:gd name="T1" fmla="*/ 272 h 1256"/>
                    <a:gd name="T2" fmla="*/ 234 w 562"/>
                    <a:gd name="T3" fmla="*/ 192 h 1256"/>
                    <a:gd name="T4" fmla="*/ 407 w 562"/>
                    <a:gd name="T5" fmla="*/ 20 h 1256"/>
                    <a:gd name="T6" fmla="*/ 534 w 562"/>
                    <a:gd name="T7" fmla="*/ 76 h 1256"/>
                    <a:gd name="T8" fmla="*/ 562 w 562"/>
                    <a:gd name="T9" fmla="*/ 51 h 1256"/>
                    <a:gd name="T10" fmla="*/ 443 w 562"/>
                    <a:gd name="T11" fmla="*/ 0 h 1256"/>
                    <a:gd name="T12" fmla="*/ 164 w 562"/>
                    <a:gd name="T13" fmla="*/ 0 h 1256"/>
                    <a:gd name="T14" fmla="*/ 0 w 562"/>
                    <a:gd name="T15" fmla="*/ 163 h 1256"/>
                    <a:gd name="T16" fmla="*/ 0 w 562"/>
                    <a:gd name="T17" fmla="*/ 556 h 1256"/>
                    <a:gd name="T18" fmla="*/ 55 w 562"/>
                    <a:gd name="T19" fmla="*/ 612 h 1256"/>
                    <a:gd name="T20" fmla="*/ 110 w 562"/>
                    <a:gd name="T21" fmla="*/ 556 h 1256"/>
                    <a:gd name="T22" fmla="*/ 110 w 562"/>
                    <a:gd name="T23" fmla="*/ 201 h 1256"/>
                    <a:gd name="T24" fmla="*/ 139 w 562"/>
                    <a:gd name="T25" fmla="*/ 201 h 1256"/>
                    <a:gd name="T26" fmla="*/ 139 w 562"/>
                    <a:gd name="T27" fmla="*/ 1182 h 1256"/>
                    <a:gd name="T28" fmla="*/ 214 w 562"/>
                    <a:gd name="T29" fmla="*/ 1256 h 1256"/>
                    <a:gd name="T30" fmla="*/ 288 w 562"/>
                    <a:gd name="T31" fmla="*/ 1182 h 1256"/>
                    <a:gd name="T32" fmla="*/ 288 w 562"/>
                    <a:gd name="T33" fmla="*/ 615 h 1256"/>
                    <a:gd name="T34" fmla="*/ 317 w 562"/>
                    <a:gd name="T35" fmla="*/ 615 h 1256"/>
                    <a:gd name="T36" fmla="*/ 317 w 562"/>
                    <a:gd name="T37" fmla="*/ 1182 h 1256"/>
                    <a:gd name="T38" fmla="*/ 392 w 562"/>
                    <a:gd name="T39" fmla="*/ 1256 h 1256"/>
                    <a:gd name="T40" fmla="*/ 467 w 562"/>
                    <a:gd name="T41" fmla="*/ 1182 h 1256"/>
                    <a:gd name="T42" fmla="*/ 467 w 562"/>
                    <a:gd name="T43" fmla="*/ 516 h 1256"/>
                    <a:gd name="T44" fmla="*/ 252 w 562"/>
                    <a:gd name="T45" fmla="*/ 272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2" h="1256">
                      <a:moveTo>
                        <a:pt x="252" y="272"/>
                      </a:moveTo>
                      <a:cubicBezTo>
                        <a:pt x="248" y="262"/>
                        <a:pt x="234" y="225"/>
                        <a:pt x="234" y="192"/>
                      </a:cubicBezTo>
                      <a:cubicBezTo>
                        <a:pt x="234" y="97"/>
                        <a:pt x="312" y="20"/>
                        <a:pt x="407" y="20"/>
                      </a:cubicBezTo>
                      <a:cubicBezTo>
                        <a:pt x="456" y="20"/>
                        <a:pt x="501" y="41"/>
                        <a:pt x="534" y="76"/>
                      </a:cubicBezTo>
                      <a:cubicBezTo>
                        <a:pt x="542" y="66"/>
                        <a:pt x="551" y="58"/>
                        <a:pt x="562" y="51"/>
                      </a:cubicBezTo>
                      <a:cubicBezTo>
                        <a:pt x="532" y="20"/>
                        <a:pt x="490" y="0"/>
                        <a:pt x="443" y="0"/>
                      </a:cubicBezTo>
                      <a:cubicBezTo>
                        <a:pt x="164" y="0"/>
                        <a:pt x="164" y="0"/>
                        <a:pt x="164" y="0"/>
                      </a:cubicBezTo>
                      <a:cubicBezTo>
                        <a:pt x="73" y="0"/>
                        <a:pt x="0" y="73"/>
                        <a:pt x="0" y="163"/>
                      </a:cubicBezTo>
                      <a:cubicBezTo>
                        <a:pt x="0" y="556"/>
                        <a:pt x="0" y="556"/>
                        <a:pt x="0" y="556"/>
                      </a:cubicBezTo>
                      <a:cubicBezTo>
                        <a:pt x="0" y="587"/>
                        <a:pt x="25" y="612"/>
                        <a:pt x="55" y="612"/>
                      </a:cubicBezTo>
                      <a:cubicBezTo>
                        <a:pt x="86" y="612"/>
                        <a:pt x="110" y="587"/>
                        <a:pt x="110" y="556"/>
                      </a:cubicBezTo>
                      <a:cubicBezTo>
                        <a:pt x="110" y="201"/>
                        <a:pt x="110" y="201"/>
                        <a:pt x="110" y="201"/>
                      </a:cubicBezTo>
                      <a:cubicBezTo>
                        <a:pt x="139" y="201"/>
                        <a:pt x="139" y="201"/>
                        <a:pt x="139" y="201"/>
                      </a:cubicBezTo>
                      <a:cubicBezTo>
                        <a:pt x="139" y="1182"/>
                        <a:pt x="139" y="1182"/>
                        <a:pt x="139" y="1182"/>
                      </a:cubicBezTo>
                      <a:cubicBezTo>
                        <a:pt x="139" y="1223"/>
                        <a:pt x="173" y="1256"/>
                        <a:pt x="214" y="1256"/>
                      </a:cubicBezTo>
                      <a:cubicBezTo>
                        <a:pt x="255" y="1256"/>
                        <a:pt x="288" y="1223"/>
                        <a:pt x="288" y="1182"/>
                      </a:cubicBezTo>
                      <a:cubicBezTo>
                        <a:pt x="288" y="615"/>
                        <a:pt x="288" y="615"/>
                        <a:pt x="288" y="615"/>
                      </a:cubicBezTo>
                      <a:cubicBezTo>
                        <a:pt x="317" y="615"/>
                        <a:pt x="317" y="615"/>
                        <a:pt x="317" y="615"/>
                      </a:cubicBezTo>
                      <a:cubicBezTo>
                        <a:pt x="317" y="1182"/>
                        <a:pt x="317" y="1182"/>
                        <a:pt x="317" y="1182"/>
                      </a:cubicBezTo>
                      <a:cubicBezTo>
                        <a:pt x="317" y="1223"/>
                        <a:pt x="351" y="1256"/>
                        <a:pt x="392" y="1256"/>
                      </a:cubicBezTo>
                      <a:cubicBezTo>
                        <a:pt x="433" y="1256"/>
                        <a:pt x="467" y="1223"/>
                        <a:pt x="467" y="1182"/>
                      </a:cubicBezTo>
                      <a:cubicBezTo>
                        <a:pt x="467" y="516"/>
                        <a:pt x="467" y="516"/>
                        <a:pt x="467" y="516"/>
                      </a:cubicBezTo>
                      <a:cubicBezTo>
                        <a:pt x="398" y="459"/>
                        <a:pt x="284" y="354"/>
                        <a:pt x="252" y="2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3" name="Freeform 37"/>
                <p:cNvSpPr>
                  <a:spLocks/>
                </p:cNvSpPr>
                <p:nvPr/>
              </p:nvSpPr>
              <p:spPr bwMode="black">
                <a:xfrm>
                  <a:off x="3824288" y="1733550"/>
                  <a:ext cx="103188" cy="93663"/>
                </a:xfrm>
                <a:custGeom>
                  <a:avLst/>
                  <a:gdLst>
                    <a:gd name="T0" fmla="*/ 58 w 110"/>
                    <a:gd name="T1" fmla="*/ 43 h 101"/>
                    <a:gd name="T2" fmla="*/ 38 w 110"/>
                    <a:gd name="T3" fmla="*/ 59 h 101"/>
                    <a:gd name="T4" fmla="*/ 17 w 110"/>
                    <a:gd name="T5" fmla="*/ 43 h 101"/>
                    <a:gd name="T6" fmla="*/ 0 w 110"/>
                    <a:gd name="T7" fmla="*/ 29 h 101"/>
                    <a:gd name="T8" fmla="*/ 0 w 110"/>
                    <a:gd name="T9" fmla="*/ 45 h 101"/>
                    <a:gd name="T10" fmla="*/ 56 w 110"/>
                    <a:gd name="T11" fmla="*/ 101 h 101"/>
                    <a:gd name="T12" fmla="*/ 110 w 110"/>
                    <a:gd name="T13" fmla="*/ 45 h 101"/>
                    <a:gd name="T14" fmla="*/ 110 w 110"/>
                    <a:gd name="T15" fmla="*/ 0 h 101"/>
                    <a:gd name="T16" fmla="*/ 58 w 110"/>
                    <a:gd name="T17" fmla="*/ 4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01">
                      <a:moveTo>
                        <a:pt x="58" y="43"/>
                      </a:moveTo>
                      <a:cubicBezTo>
                        <a:pt x="38" y="59"/>
                        <a:pt x="38" y="59"/>
                        <a:pt x="38" y="59"/>
                      </a:cubicBezTo>
                      <a:cubicBezTo>
                        <a:pt x="17" y="43"/>
                        <a:pt x="17" y="43"/>
                        <a:pt x="17" y="43"/>
                      </a:cubicBezTo>
                      <a:cubicBezTo>
                        <a:pt x="13" y="40"/>
                        <a:pt x="7" y="35"/>
                        <a:pt x="0" y="29"/>
                      </a:cubicBezTo>
                      <a:cubicBezTo>
                        <a:pt x="0" y="45"/>
                        <a:pt x="0" y="45"/>
                        <a:pt x="0" y="45"/>
                      </a:cubicBezTo>
                      <a:cubicBezTo>
                        <a:pt x="0" y="76"/>
                        <a:pt x="25" y="101"/>
                        <a:pt x="56" y="101"/>
                      </a:cubicBezTo>
                      <a:cubicBezTo>
                        <a:pt x="85" y="101"/>
                        <a:pt x="110" y="76"/>
                        <a:pt x="110" y="45"/>
                      </a:cubicBezTo>
                      <a:cubicBezTo>
                        <a:pt x="110" y="0"/>
                        <a:pt x="110" y="0"/>
                        <a:pt x="110" y="0"/>
                      </a:cubicBezTo>
                      <a:cubicBezTo>
                        <a:pt x="86" y="20"/>
                        <a:pt x="67" y="35"/>
                        <a:pt x="58"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4" name="Oval 38"/>
                <p:cNvSpPr>
                  <a:spLocks noChangeArrowheads="1"/>
                </p:cNvSpPr>
                <p:nvPr/>
              </p:nvSpPr>
              <p:spPr bwMode="black">
                <a:xfrm>
                  <a:off x="3525838" y="989012"/>
                  <a:ext cx="234950" cy="2381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5" name="Freeform 39"/>
                <p:cNvSpPr>
                  <a:spLocks/>
                </p:cNvSpPr>
                <p:nvPr/>
              </p:nvSpPr>
              <p:spPr bwMode="black">
                <a:xfrm>
                  <a:off x="3606800" y="1304925"/>
                  <a:ext cx="500063" cy="444500"/>
                </a:xfrm>
                <a:custGeom>
                  <a:avLst/>
                  <a:gdLst>
                    <a:gd name="T0" fmla="*/ 267 w 535"/>
                    <a:gd name="T1" fmla="*/ 476 h 477"/>
                    <a:gd name="T2" fmla="*/ 15 w 535"/>
                    <a:gd name="T3" fmla="*/ 208 h 477"/>
                    <a:gd name="T4" fmla="*/ 0 w 535"/>
                    <a:gd name="T5" fmla="*/ 140 h 477"/>
                    <a:gd name="T6" fmla="*/ 141 w 535"/>
                    <a:gd name="T7" fmla="*/ 0 h 477"/>
                    <a:gd name="T8" fmla="*/ 268 w 535"/>
                    <a:gd name="T9" fmla="*/ 80 h 477"/>
                    <a:gd name="T10" fmla="*/ 394 w 535"/>
                    <a:gd name="T11" fmla="*/ 0 h 477"/>
                    <a:gd name="T12" fmla="*/ 535 w 535"/>
                    <a:gd name="T13" fmla="*/ 140 h 477"/>
                    <a:gd name="T14" fmla="*/ 520 w 535"/>
                    <a:gd name="T15" fmla="*/ 208 h 477"/>
                    <a:gd name="T16" fmla="*/ 269 w 535"/>
                    <a:gd name="T17" fmla="*/ 476 h 477"/>
                    <a:gd name="T18" fmla="*/ 268 w 535"/>
                    <a:gd name="T19" fmla="*/ 477 h 477"/>
                    <a:gd name="T20" fmla="*/ 267 w 535"/>
                    <a:gd name="T21" fmla="*/ 476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5" h="477">
                      <a:moveTo>
                        <a:pt x="267" y="476"/>
                      </a:moveTo>
                      <a:cubicBezTo>
                        <a:pt x="247" y="461"/>
                        <a:pt x="55" y="310"/>
                        <a:pt x="15" y="208"/>
                      </a:cubicBezTo>
                      <a:cubicBezTo>
                        <a:pt x="8" y="189"/>
                        <a:pt x="0" y="162"/>
                        <a:pt x="0" y="140"/>
                      </a:cubicBezTo>
                      <a:cubicBezTo>
                        <a:pt x="0" y="63"/>
                        <a:pt x="63" y="0"/>
                        <a:pt x="141" y="0"/>
                      </a:cubicBezTo>
                      <a:cubicBezTo>
                        <a:pt x="197" y="0"/>
                        <a:pt x="245" y="33"/>
                        <a:pt x="268" y="80"/>
                      </a:cubicBezTo>
                      <a:cubicBezTo>
                        <a:pt x="290" y="33"/>
                        <a:pt x="339" y="0"/>
                        <a:pt x="394" y="0"/>
                      </a:cubicBezTo>
                      <a:cubicBezTo>
                        <a:pt x="472" y="0"/>
                        <a:pt x="535" y="63"/>
                        <a:pt x="535" y="140"/>
                      </a:cubicBezTo>
                      <a:cubicBezTo>
                        <a:pt x="535" y="162"/>
                        <a:pt x="527" y="189"/>
                        <a:pt x="520" y="208"/>
                      </a:cubicBezTo>
                      <a:cubicBezTo>
                        <a:pt x="480" y="310"/>
                        <a:pt x="288" y="461"/>
                        <a:pt x="269" y="476"/>
                      </a:cubicBezTo>
                      <a:cubicBezTo>
                        <a:pt x="268" y="477"/>
                        <a:pt x="268" y="477"/>
                        <a:pt x="268" y="477"/>
                      </a:cubicBezTo>
                      <a:lnTo>
                        <a:pt x="267" y="4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sp>
          <p:nvSpPr>
            <p:cNvPr id="7" name="Rectangle 6"/>
            <p:cNvSpPr>
              <a:spLocks noChangeAspect="1"/>
            </p:cNvSpPr>
            <p:nvPr>
              <p:custDataLst>
                <p:tags r:id="rId2"/>
              </p:custDataLst>
            </p:nvPr>
          </p:nvSpPr>
          <p:spPr bwMode="auto">
            <a:xfrm>
              <a:off x="9024116" y="1293795"/>
              <a:ext cx="2697480" cy="1737360"/>
            </a:xfrm>
            <a:prstGeom prst="rect">
              <a:avLst/>
            </a:prstGeom>
            <a:solidFill>
              <a:srgbClr val="00DAFF"/>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b" anchorCtr="0" compatLnSpc="1">
              <a:prstTxWarp prst="textNoShape">
                <a:avLst/>
              </a:prstTxWarp>
              <a:noAutofit/>
            </a:bodyPr>
            <a:lstStyle/>
            <a:p>
              <a:pPr defTabSz="914045" fontAlgn="base">
                <a:lnSpc>
                  <a:spcPct val="90000"/>
                </a:lnSpc>
                <a:spcBef>
                  <a:spcPts val="630"/>
                </a:spcBef>
                <a:spcAft>
                  <a:spcPct val="0"/>
                </a:spcAft>
                <a:buClr>
                  <a:srgbClr val="FFFF99"/>
                </a:buClr>
                <a:buSzPct val="120000"/>
              </a:pPr>
              <a:r>
                <a:rPr lang="en-US" dirty="0" smtClean="0">
                  <a:ln>
                    <a:solidFill>
                      <a:srgbClr val="FFFFFF">
                        <a:alpha val="0"/>
                      </a:srgbClr>
                    </a:solidFill>
                  </a:ln>
                  <a:solidFill>
                    <a:srgbClr val="FFFFFF">
                      <a:alpha val="99000"/>
                    </a:srgbClr>
                  </a:solidFill>
                  <a:cs typeface="Segoe UI" pitchFamily="34" charset="0"/>
                </a:rPr>
                <a:t>            </a:t>
              </a:r>
            </a:p>
            <a:p>
              <a:pPr defTabSz="914045" fontAlgn="base">
                <a:lnSpc>
                  <a:spcPct val="90000"/>
                </a:lnSpc>
                <a:spcBef>
                  <a:spcPts val="630"/>
                </a:spcBef>
                <a:spcAft>
                  <a:spcPct val="0"/>
                </a:spcAft>
                <a:buClr>
                  <a:srgbClr val="FFFF99"/>
                </a:buClr>
                <a:buSzPct val="120000"/>
              </a:pPr>
              <a:r>
                <a:rPr lang="en-US" sz="2000" dirty="0">
                  <a:ln>
                    <a:solidFill>
                      <a:srgbClr val="FFFFFF">
                        <a:alpha val="0"/>
                      </a:srgbClr>
                    </a:solidFill>
                  </a:ln>
                  <a:solidFill>
                    <a:srgbClr val="FFFFFF">
                      <a:alpha val="99000"/>
                    </a:srgbClr>
                  </a:solidFill>
                  <a:cs typeface="Segoe UI" pitchFamily="34" charset="0"/>
                </a:rPr>
                <a:t>Schema Editing</a:t>
              </a:r>
              <a:br>
                <a:rPr lang="en-US" sz="2000" dirty="0">
                  <a:ln>
                    <a:solidFill>
                      <a:srgbClr val="FFFFFF">
                        <a:alpha val="0"/>
                      </a:srgbClr>
                    </a:solidFill>
                  </a:ln>
                  <a:solidFill>
                    <a:srgbClr val="FFFFFF">
                      <a:alpha val="99000"/>
                    </a:srgbClr>
                  </a:solidFill>
                  <a:cs typeface="Segoe UI" pitchFamily="34" charset="0"/>
                </a:rPr>
              </a:br>
              <a:r>
                <a:rPr lang="en-US" sz="2000" dirty="0">
                  <a:ln>
                    <a:solidFill>
                      <a:srgbClr val="FFFFFF">
                        <a:alpha val="0"/>
                      </a:srgbClr>
                    </a:solidFill>
                  </a:ln>
                  <a:solidFill>
                    <a:srgbClr val="FFFFFF">
                      <a:alpha val="99000"/>
                    </a:srgbClr>
                  </a:solidFill>
                  <a:cs typeface="Segoe UI" pitchFamily="34" charset="0"/>
                </a:rPr>
                <a:t>Tools</a:t>
              </a:r>
            </a:p>
          </p:txBody>
        </p:sp>
        <p:sp>
          <p:nvSpPr>
            <p:cNvPr id="6" name="Rectangle 5"/>
            <p:cNvSpPr>
              <a:spLocks noChangeAspect="1"/>
            </p:cNvSpPr>
            <p:nvPr>
              <p:custDataLst>
                <p:tags r:id="rId3"/>
              </p:custDataLst>
            </p:nvPr>
          </p:nvSpPr>
          <p:spPr bwMode="auto">
            <a:xfrm>
              <a:off x="6171334" y="1293795"/>
              <a:ext cx="2688336" cy="1737360"/>
            </a:xfrm>
            <a:prstGeom prst="rect">
              <a:avLst/>
            </a:prstGeom>
            <a:solidFill>
              <a:srgbClr val="00DAFF"/>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b" anchorCtr="0" compatLnSpc="1">
              <a:prstTxWarp prst="textNoShape">
                <a:avLst/>
              </a:prstTxWarp>
              <a:noAutofit/>
            </a:bodyPr>
            <a:lstStyle/>
            <a:p>
              <a:pPr defTabSz="914045" fontAlgn="base">
                <a:lnSpc>
                  <a:spcPct val="90000"/>
                </a:lnSpc>
                <a:spcBef>
                  <a:spcPts val="630"/>
                </a:spcBef>
                <a:spcAft>
                  <a:spcPct val="0"/>
                </a:spcAft>
                <a:buClr>
                  <a:srgbClr val="FFFF99"/>
                </a:buClr>
                <a:buSzPct val="120000"/>
                <a:defRPr/>
              </a:pPr>
              <a:r>
                <a:rPr lang="en-US" sz="2000" dirty="0">
                  <a:ln>
                    <a:solidFill>
                      <a:srgbClr val="FFFFFF">
                        <a:alpha val="0"/>
                      </a:srgbClr>
                    </a:solidFill>
                  </a:ln>
                  <a:solidFill>
                    <a:srgbClr val="FFFFFF">
                      <a:alpha val="99000"/>
                    </a:srgbClr>
                  </a:solidFill>
                  <a:cs typeface="Segoe UI" pitchFamily="34" charset="0"/>
                </a:rPr>
                <a:t>Difference Detection</a:t>
              </a:r>
            </a:p>
          </p:txBody>
        </p:sp>
      </p:grpSp>
      <p:sp>
        <p:nvSpPr>
          <p:cNvPr id="47" name="Freeform 14"/>
          <p:cNvSpPr>
            <a:spLocks noEditPoints="1"/>
          </p:cNvSpPr>
          <p:nvPr/>
        </p:nvSpPr>
        <p:spPr bwMode="black">
          <a:xfrm>
            <a:off x="6858595" y="1070326"/>
            <a:ext cx="553563" cy="529875"/>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noFill/>
          </a:ln>
        </p:spPr>
        <p:txBody>
          <a:bodyPr vert="horz" wrap="square" lIns="61735" tIns="30867" rIns="61735" bIns="30867" numCol="1" anchor="t" anchorCtr="0" compatLnSpc="1">
            <a:prstTxWarp prst="textNoShape">
              <a:avLst/>
            </a:prstTxWarp>
          </a:bodyPr>
          <a:lstStyle/>
          <a:p>
            <a:endParaRPr lang="en-US" sz="1200" dirty="0"/>
          </a:p>
        </p:txBody>
      </p:sp>
      <p:pic>
        <p:nvPicPr>
          <p:cNvPr id="48" name="Picture 34" descr="Efficiency.png"/>
          <p:cNvPicPr>
            <a:picLocks noChangeAspect="1"/>
          </p:cNvPicPr>
          <p:nvPr/>
        </p:nvPicPr>
        <p:blipFill>
          <a:blip r:embed="rId7" cstate="print"/>
          <a:srcRect/>
          <a:stretch>
            <a:fillRect/>
          </a:stretch>
        </p:blipFill>
        <p:spPr bwMode="auto">
          <a:xfrm>
            <a:off x="2456899" y="1028701"/>
            <a:ext cx="743144" cy="689714"/>
          </a:xfrm>
          <a:prstGeom prst="rect">
            <a:avLst/>
          </a:prstGeom>
          <a:noFill/>
          <a:ln>
            <a:noFill/>
          </a:ln>
        </p:spPr>
      </p:pic>
      <p:grpSp>
        <p:nvGrpSpPr>
          <p:cNvPr id="36" name="Group 35"/>
          <p:cNvGrpSpPr/>
          <p:nvPr/>
        </p:nvGrpSpPr>
        <p:grpSpPr>
          <a:xfrm>
            <a:off x="4743494" y="1036833"/>
            <a:ext cx="514484" cy="585025"/>
            <a:chOff x="3586163" y="1794554"/>
            <a:chExt cx="906105" cy="1108645"/>
          </a:xfrm>
        </p:grpSpPr>
        <p:grpSp>
          <p:nvGrpSpPr>
            <p:cNvPr id="46" name="Group 45"/>
            <p:cNvGrpSpPr/>
            <p:nvPr/>
          </p:nvGrpSpPr>
          <p:grpSpPr>
            <a:xfrm>
              <a:off x="3586163" y="2278401"/>
              <a:ext cx="466724" cy="624798"/>
              <a:chOff x="4800600" y="2419352"/>
              <a:chExt cx="466724" cy="624798"/>
            </a:xfrm>
          </p:grpSpPr>
          <p:sp>
            <p:nvSpPr>
              <p:cNvPr id="69" name="Rectangle 9"/>
              <p:cNvSpPr/>
              <p:nvPr/>
            </p:nvSpPr>
            <p:spPr>
              <a:xfrm>
                <a:off x="4800600" y="2434550"/>
                <a:ext cx="457200" cy="609600"/>
              </a:xfrm>
              <a:custGeom>
                <a:avLst/>
                <a:gdLst>
                  <a:gd name="connsiteX0" fmla="*/ 0 w 457200"/>
                  <a:gd name="connsiteY0" fmla="*/ 0 h 609600"/>
                  <a:gd name="connsiteX1" fmla="*/ 457200 w 457200"/>
                  <a:gd name="connsiteY1" fmla="*/ 0 h 609600"/>
                  <a:gd name="connsiteX2" fmla="*/ 457200 w 457200"/>
                  <a:gd name="connsiteY2" fmla="*/ 609600 h 609600"/>
                  <a:gd name="connsiteX3" fmla="*/ 0 w 457200"/>
                  <a:gd name="connsiteY3" fmla="*/ 609600 h 609600"/>
                  <a:gd name="connsiteX4" fmla="*/ 0 w 457200"/>
                  <a:gd name="connsiteY4" fmla="*/ 0 h 609600"/>
                  <a:gd name="connsiteX0" fmla="*/ 0 w 457200"/>
                  <a:gd name="connsiteY0" fmla="*/ 0 h 609600"/>
                  <a:gd name="connsiteX1" fmla="*/ 454819 w 457200"/>
                  <a:gd name="connsiteY1" fmla="*/ 0 h 609600"/>
                  <a:gd name="connsiteX2" fmla="*/ 457200 w 457200"/>
                  <a:gd name="connsiteY2" fmla="*/ 609600 h 609600"/>
                  <a:gd name="connsiteX3" fmla="*/ 0 w 457200"/>
                  <a:gd name="connsiteY3" fmla="*/ 609600 h 609600"/>
                  <a:gd name="connsiteX4" fmla="*/ 0 w 457200"/>
                  <a:gd name="connsiteY4" fmla="*/ 0 h 60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0" h="609600">
                    <a:moveTo>
                      <a:pt x="0" y="0"/>
                    </a:moveTo>
                    <a:lnTo>
                      <a:pt x="454819" y="0"/>
                    </a:lnTo>
                    <a:cubicBezTo>
                      <a:pt x="455613" y="203200"/>
                      <a:pt x="456406" y="406400"/>
                      <a:pt x="457200" y="609600"/>
                    </a:cubicBezTo>
                    <a:lnTo>
                      <a:pt x="0" y="609600"/>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Rectangle 69"/>
              <p:cNvSpPr/>
              <p:nvPr/>
            </p:nvSpPr>
            <p:spPr>
              <a:xfrm>
                <a:off x="5114924" y="2419352"/>
                <a:ext cx="142876" cy="1524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ectangle 11"/>
              <p:cNvSpPr/>
              <p:nvPr/>
            </p:nvSpPr>
            <p:spPr>
              <a:xfrm>
                <a:off x="5114924" y="2419352"/>
                <a:ext cx="152400" cy="152400"/>
              </a:xfrm>
              <a:custGeom>
                <a:avLst/>
                <a:gdLst>
                  <a:gd name="connsiteX0" fmla="*/ 0 w 152400"/>
                  <a:gd name="connsiteY0" fmla="*/ 0 h 152400"/>
                  <a:gd name="connsiteX1" fmla="*/ 152400 w 152400"/>
                  <a:gd name="connsiteY1" fmla="*/ 0 h 152400"/>
                  <a:gd name="connsiteX2" fmla="*/ 152400 w 152400"/>
                  <a:gd name="connsiteY2" fmla="*/ 152400 h 152400"/>
                  <a:gd name="connsiteX3" fmla="*/ 0 w 152400"/>
                  <a:gd name="connsiteY3" fmla="*/ 152400 h 152400"/>
                  <a:gd name="connsiteX4" fmla="*/ 0 w 152400"/>
                  <a:gd name="connsiteY4" fmla="*/ 0 h 152400"/>
                  <a:gd name="connsiteX0" fmla="*/ 0 w 152400"/>
                  <a:gd name="connsiteY0" fmla="*/ 0 h 152400"/>
                  <a:gd name="connsiteX1" fmla="*/ 78581 w 152400"/>
                  <a:gd name="connsiteY1" fmla="*/ 78581 h 152400"/>
                  <a:gd name="connsiteX2" fmla="*/ 152400 w 152400"/>
                  <a:gd name="connsiteY2" fmla="*/ 152400 h 152400"/>
                  <a:gd name="connsiteX3" fmla="*/ 0 w 152400"/>
                  <a:gd name="connsiteY3" fmla="*/ 152400 h 152400"/>
                  <a:gd name="connsiteX4" fmla="*/ 0 w 152400"/>
                  <a:gd name="connsiteY4" fmla="*/ 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0" y="0"/>
                    </a:moveTo>
                    <a:lnTo>
                      <a:pt x="78581" y="78581"/>
                    </a:lnTo>
                    <a:lnTo>
                      <a:pt x="152400" y="152400"/>
                    </a:lnTo>
                    <a:lnTo>
                      <a:pt x="0" y="152400"/>
                    </a:lnTo>
                    <a:lnTo>
                      <a:pt x="0" y="0"/>
                    </a:lnTo>
                    <a:close/>
                  </a:path>
                </a:pathLst>
              </a:custGeom>
              <a:solidFill>
                <a:schemeClr val="bg1"/>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9" name="Group 48"/>
            <p:cNvGrpSpPr/>
            <p:nvPr/>
          </p:nvGrpSpPr>
          <p:grpSpPr>
            <a:xfrm>
              <a:off x="4000501" y="1794554"/>
              <a:ext cx="466724" cy="624798"/>
              <a:chOff x="4800600" y="2419352"/>
              <a:chExt cx="466724" cy="624798"/>
            </a:xfrm>
          </p:grpSpPr>
          <p:sp>
            <p:nvSpPr>
              <p:cNvPr id="66" name="Rectangle 9"/>
              <p:cNvSpPr/>
              <p:nvPr/>
            </p:nvSpPr>
            <p:spPr>
              <a:xfrm>
                <a:off x="4800600" y="2434550"/>
                <a:ext cx="457200" cy="609600"/>
              </a:xfrm>
              <a:custGeom>
                <a:avLst/>
                <a:gdLst>
                  <a:gd name="connsiteX0" fmla="*/ 0 w 457200"/>
                  <a:gd name="connsiteY0" fmla="*/ 0 h 609600"/>
                  <a:gd name="connsiteX1" fmla="*/ 457200 w 457200"/>
                  <a:gd name="connsiteY1" fmla="*/ 0 h 609600"/>
                  <a:gd name="connsiteX2" fmla="*/ 457200 w 457200"/>
                  <a:gd name="connsiteY2" fmla="*/ 609600 h 609600"/>
                  <a:gd name="connsiteX3" fmla="*/ 0 w 457200"/>
                  <a:gd name="connsiteY3" fmla="*/ 609600 h 609600"/>
                  <a:gd name="connsiteX4" fmla="*/ 0 w 457200"/>
                  <a:gd name="connsiteY4" fmla="*/ 0 h 609600"/>
                  <a:gd name="connsiteX0" fmla="*/ 0 w 457200"/>
                  <a:gd name="connsiteY0" fmla="*/ 0 h 609600"/>
                  <a:gd name="connsiteX1" fmla="*/ 454819 w 457200"/>
                  <a:gd name="connsiteY1" fmla="*/ 0 h 609600"/>
                  <a:gd name="connsiteX2" fmla="*/ 457200 w 457200"/>
                  <a:gd name="connsiteY2" fmla="*/ 609600 h 609600"/>
                  <a:gd name="connsiteX3" fmla="*/ 0 w 457200"/>
                  <a:gd name="connsiteY3" fmla="*/ 609600 h 609600"/>
                  <a:gd name="connsiteX4" fmla="*/ 0 w 457200"/>
                  <a:gd name="connsiteY4" fmla="*/ 0 h 60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0" h="609600">
                    <a:moveTo>
                      <a:pt x="0" y="0"/>
                    </a:moveTo>
                    <a:lnTo>
                      <a:pt x="454819" y="0"/>
                    </a:lnTo>
                    <a:cubicBezTo>
                      <a:pt x="455613" y="203200"/>
                      <a:pt x="456406" y="406400"/>
                      <a:pt x="457200" y="609600"/>
                    </a:cubicBezTo>
                    <a:lnTo>
                      <a:pt x="0" y="609600"/>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Rectangle 66"/>
              <p:cNvSpPr/>
              <p:nvPr/>
            </p:nvSpPr>
            <p:spPr>
              <a:xfrm>
                <a:off x="5114924" y="2419352"/>
                <a:ext cx="142876" cy="152400"/>
              </a:xfrm>
              <a:prstGeom prst="rect">
                <a:avLst/>
              </a:prstGeom>
              <a:solidFill>
                <a:srgbClr val="00D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Rectangle 11"/>
              <p:cNvSpPr/>
              <p:nvPr/>
            </p:nvSpPr>
            <p:spPr>
              <a:xfrm>
                <a:off x="5114924" y="2419352"/>
                <a:ext cx="152400" cy="152400"/>
              </a:xfrm>
              <a:custGeom>
                <a:avLst/>
                <a:gdLst>
                  <a:gd name="connsiteX0" fmla="*/ 0 w 152400"/>
                  <a:gd name="connsiteY0" fmla="*/ 0 h 152400"/>
                  <a:gd name="connsiteX1" fmla="*/ 152400 w 152400"/>
                  <a:gd name="connsiteY1" fmla="*/ 0 h 152400"/>
                  <a:gd name="connsiteX2" fmla="*/ 152400 w 152400"/>
                  <a:gd name="connsiteY2" fmla="*/ 152400 h 152400"/>
                  <a:gd name="connsiteX3" fmla="*/ 0 w 152400"/>
                  <a:gd name="connsiteY3" fmla="*/ 152400 h 152400"/>
                  <a:gd name="connsiteX4" fmla="*/ 0 w 152400"/>
                  <a:gd name="connsiteY4" fmla="*/ 0 h 152400"/>
                  <a:gd name="connsiteX0" fmla="*/ 0 w 152400"/>
                  <a:gd name="connsiteY0" fmla="*/ 0 h 152400"/>
                  <a:gd name="connsiteX1" fmla="*/ 78581 w 152400"/>
                  <a:gd name="connsiteY1" fmla="*/ 78581 h 152400"/>
                  <a:gd name="connsiteX2" fmla="*/ 152400 w 152400"/>
                  <a:gd name="connsiteY2" fmla="*/ 152400 h 152400"/>
                  <a:gd name="connsiteX3" fmla="*/ 0 w 152400"/>
                  <a:gd name="connsiteY3" fmla="*/ 152400 h 152400"/>
                  <a:gd name="connsiteX4" fmla="*/ 0 w 152400"/>
                  <a:gd name="connsiteY4" fmla="*/ 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0" y="0"/>
                    </a:moveTo>
                    <a:lnTo>
                      <a:pt x="78581" y="78581"/>
                    </a:lnTo>
                    <a:lnTo>
                      <a:pt x="152400" y="152400"/>
                    </a:lnTo>
                    <a:lnTo>
                      <a:pt x="0" y="152400"/>
                    </a:lnTo>
                    <a:lnTo>
                      <a:pt x="0" y="0"/>
                    </a:lnTo>
                    <a:close/>
                  </a:path>
                </a:pathLst>
              </a:custGeom>
              <a:solidFill>
                <a:schemeClr val="tx1"/>
              </a:solidFill>
              <a:ln>
                <a:solidFill>
                  <a:srgbClr val="00DA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0" name="Group 49"/>
            <p:cNvGrpSpPr/>
            <p:nvPr/>
          </p:nvGrpSpPr>
          <p:grpSpPr>
            <a:xfrm>
              <a:off x="3716721" y="2097008"/>
              <a:ext cx="775547" cy="774089"/>
              <a:chOff x="5393121" y="2098878"/>
              <a:chExt cx="775547" cy="774089"/>
            </a:xfrm>
          </p:grpSpPr>
          <p:grpSp>
            <p:nvGrpSpPr>
              <p:cNvPr id="51" name="Group 50"/>
              <p:cNvGrpSpPr/>
              <p:nvPr/>
            </p:nvGrpSpPr>
            <p:grpSpPr>
              <a:xfrm>
                <a:off x="5393121" y="2098878"/>
                <a:ext cx="680513" cy="678136"/>
                <a:chOff x="5471124" y="2120452"/>
                <a:chExt cx="608205" cy="606080"/>
              </a:xfrm>
              <a:solidFill>
                <a:schemeClr val="tx2">
                  <a:lumMod val="60000"/>
                  <a:lumOff val="40000"/>
                </a:schemeClr>
              </a:solidFill>
            </p:grpSpPr>
            <p:sp>
              <p:nvSpPr>
                <p:cNvPr id="62" name="Oval 61"/>
                <p:cNvSpPr/>
                <p:nvPr/>
              </p:nvSpPr>
              <p:spPr>
                <a:xfrm>
                  <a:off x="5471124" y="2120452"/>
                  <a:ext cx="480759" cy="480757"/>
                </a:xfrm>
                <a:prstGeom prst="ellipse">
                  <a:avLst/>
                </a:prstGeom>
                <a:solidFill>
                  <a:srgbClr val="00D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Oval 62"/>
                <p:cNvSpPr/>
                <p:nvPr/>
              </p:nvSpPr>
              <p:spPr>
                <a:xfrm>
                  <a:off x="5567362" y="2214562"/>
                  <a:ext cx="295275" cy="29527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4" name="Straight Connector 63"/>
                <p:cNvCxnSpPr/>
                <p:nvPr/>
              </p:nvCxnSpPr>
              <p:spPr>
                <a:xfrm>
                  <a:off x="5845966" y="2497932"/>
                  <a:ext cx="233363" cy="228600"/>
                </a:xfrm>
                <a:prstGeom prst="line">
                  <a:avLst/>
                </a:prstGeom>
                <a:grpFill/>
                <a:ln w="14922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52" name="Group 51"/>
              <p:cNvGrpSpPr/>
              <p:nvPr/>
            </p:nvGrpSpPr>
            <p:grpSpPr>
              <a:xfrm>
                <a:off x="5434010" y="2139774"/>
                <a:ext cx="734658" cy="733193"/>
                <a:chOff x="5486400" y="2133600"/>
                <a:chExt cx="734658" cy="733193"/>
              </a:xfrm>
            </p:grpSpPr>
            <p:sp>
              <p:nvSpPr>
                <p:cNvPr id="53" name="Oval 52"/>
                <p:cNvSpPr/>
                <p:nvPr/>
              </p:nvSpPr>
              <p:spPr>
                <a:xfrm>
                  <a:off x="5486400" y="2133600"/>
                  <a:ext cx="457200" cy="4572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Oval 55"/>
                <p:cNvSpPr/>
                <p:nvPr/>
              </p:nvSpPr>
              <p:spPr>
                <a:xfrm>
                  <a:off x="5567362" y="2214562"/>
                  <a:ext cx="295275" cy="295275"/>
                </a:xfrm>
                <a:prstGeom prst="ellipse">
                  <a:avLst/>
                </a:prstGeom>
                <a:solidFill>
                  <a:srgbClr val="00D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9" name="Group 58"/>
                <p:cNvGrpSpPr/>
                <p:nvPr/>
              </p:nvGrpSpPr>
              <p:grpSpPr>
                <a:xfrm>
                  <a:off x="5845966" y="2497932"/>
                  <a:ext cx="375092" cy="368861"/>
                  <a:chOff x="5826918" y="2509837"/>
                  <a:chExt cx="375092" cy="368861"/>
                </a:xfrm>
              </p:grpSpPr>
              <p:cxnSp>
                <p:nvCxnSpPr>
                  <p:cNvPr id="60" name="Straight Connector 59"/>
                  <p:cNvCxnSpPr/>
                  <p:nvPr/>
                </p:nvCxnSpPr>
                <p:spPr>
                  <a:xfrm>
                    <a:off x="5826918" y="2509837"/>
                    <a:ext cx="233363" cy="228600"/>
                  </a:xfrm>
                  <a:prstGeom prst="line">
                    <a:avLst/>
                  </a:prstGeom>
                  <a:ln w="149225">
                    <a:solidFill>
                      <a:schemeClr val="bg1"/>
                    </a:solidFill>
                  </a:ln>
                </p:spPr>
                <p:style>
                  <a:lnRef idx="1">
                    <a:schemeClr val="accent1"/>
                  </a:lnRef>
                  <a:fillRef idx="0">
                    <a:schemeClr val="accent1"/>
                  </a:fillRef>
                  <a:effectRef idx="0">
                    <a:schemeClr val="accent1"/>
                  </a:effectRef>
                  <a:fontRef idx="minor">
                    <a:schemeClr val="tx1"/>
                  </a:fontRef>
                </p:style>
              </p:cxnSp>
              <p:sp>
                <p:nvSpPr>
                  <p:cNvPr id="61" name="Oval 60"/>
                  <p:cNvSpPr/>
                  <p:nvPr/>
                </p:nvSpPr>
                <p:spPr>
                  <a:xfrm>
                    <a:off x="6000747" y="2677433"/>
                    <a:ext cx="201263" cy="20126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grpSp>
      <p:sp>
        <p:nvSpPr>
          <p:cNvPr id="65"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72"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8"/>
              </a:rPr>
              <a:t>www.rapidbbs.cn</a:t>
            </a:r>
            <a:endParaRPr lang="zh-CN" altLang="en-US" sz="1200" b="0">
              <a:latin typeface="Arial" charset="0"/>
              <a:ea typeface="ＭＳ Ｐゴシック" pitchFamily="34" charset="-128"/>
            </a:endParaRPr>
          </a:p>
        </p:txBody>
      </p:sp>
      <p:pic>
        <p:nvPicPr>
          <p:cNvPr id="73" name="Picture 2">
            <a:hlinkClick r:id="rId8"/>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32596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Project Based Development</a:t>
            </a:r>
            <a:endParaRPr lang="en-US" dirty="0"/>
          </a:p>
        </p:txBody>
      </p:sp>
      <p:sp>
        <p:nvSpPr>
          <p:cNvPr id="3" name="Rectangle 2"/>
          <p:cNvSpPr/>
          <p:nvPr/>
        </p:nvSpPr>
        <p:spPr>
          <a:xfrm>
            <a:off x="318932" y="2419350"/>
            <a:ext cx="2016777" cy="4572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spcCol="0" rtlCol="0" anchor="ctr"/>
          <a:lstStyle/>
          <a:p>
            <a:pPr algn="ctr"/>
            <a:r>
              <a:rPr lang="en-US" sz="1600" dirty="0"/>
              <a:t>Go To Definition</a:t>
            </a:r>
          </a:p>
        </p:txBody>
      </p:sp>
      <p:sp>
        <p:nvSpPr>
          <p:cNvPr id="20" name="Rectangle 19"/>
          <p:cNvSpPr/>
          <p:nvPr/>
        </p:nvSpPr>
        <p:spPr>
          <a:xfrm>
            <a:off x="318932" y="2990850"/>
            <a:ext cx="2016777" cy="4572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spcCol="0" rtlCol="0" anchor="ctr"/>
          <a:lstStyle/>
          <a:p>
            <a:pPr algn="ctr"/>
            <a:r>
              <a:rPr lang="en-US" sz="1600" dirty="0"/>
              <a:t>Find All References</a:t>
            </a:r>
          </a:p>
        </p:txBody>
      </p:sp>
      <p:sp>
        <p:nvSpPr>
          <p:cNvPr id="22" name="Rectangle 21"/>
          <p:cNvSpPr/>
          <p:nvPr/>
        </p:nvSpPr>
        <p:spPr>
          <a:xfrm>
            <a:off x="318932" y="3562350"/>
            <a:ext cx="2016777" cy="4572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spcCol="0" rtlCol="0" anchor="ctr"/>
          <a:lstStyle/>
          <a:p>
            <a:pPr algn="ctr"/>
            <a:r>
              <a:rPr lang="en-US" sz="1600" dirty="0"/>
              <a:t>Refactoring</a:t>
            </a:r>
          </a:p>
        </p:txBody>
      </p:sp>
      <p:sp>
        <p:nvSpPr>
          <p:cNvPr id="23" name="Rectangle 22"/>
          <p:cNvSpPr/>
          <p:nvPr/>
        </p:nvSpPr>
        <p:spPr>
          <a:xfrm>
            <a:off x="6800675" y="2419350"/>
            <a:ext cx="2016777" cy="4572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spcCol="0" rtlCol="0" anchor="ctr"/>
          <a:lstStyle/>
          <a:p>
            <a:pPr algn="ctr">
              <a:lnSpc>
                <a:spcPct val="90000"/>
              </a:lnSpc>
            </a:pPr>
            <a:r>
              <a:rPr lang="en-US" sz="1600" dirty="0"/>
              <a:t>Point-in-time Snapshots</a:t>
            </a:r>
          </a:p>
        </p:txBody>
      </p:sp>
      <p:sp>
        <p:nvSpPr>
          <p:cNvPr id="25" name="Rectangle 24"/>
          <p:cNvSpPr/>
          <p:nvPr/>
        </p:nvSpPr>
        <p:spPr>
          <a:xfrm>
            <a:off x="6800675" y="3562350"/>
            <a:ext cx="2016777" cy="4572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spcCol="0" rtlCol="0" anchor="ctr"/>
          <a:lstStyle/>
          <a:p>
            <a:pPr algn="ctr">
              <a:lnSpc>
                <a:spcPct val="90000"/>
              </a:lnSpc>
            </a:pPr>
            <a:r>
              <a:rPr lang="en-US" sz="1600" dirty="0"/>
              <a:t>T-SQL Static Code Analysis</a:t>
            </a:r>
          </a:p>
        </p:txBody>
      </p:sp>
      <p:sp>
        <p:nvSpPr>
          <p:cNvPr id="36" name="Rectangle 35"/>
          <p:cNvSpPr/>
          <p:nvPr/>
        </p:nvSpPr>
        <p:spPr>
          <a:xfrm>
            <a:off x="2479514" y="2419350"/>
            <a:ext cx="2016777" cy="4572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spcCol="0" rtlCol="0" anchor="ctr"/>
          <a:lstStyle/>
          <a:p>
            <a:pPr algn="ctr"/>
            <a:r>
              <a:rPr lang="en-US" sz="1600" dirty="0"/>
              <a:t>Source Code Based</a:t>
            </a:r>
          </a:p>
        </p:txBody>
      </p:sp>
      <p:sp>
        <p:nvSpPr>
          <p:cNvPr id="37" name="Rectangle 36"/>
          <p:cNvSpPr/>
          <p:nvPr/>
        </p:nvSpPr>
        <p:spPr>
          <a:xfrm>
            <a:off x="2479514" y="2990850"/>
            <a:ext cx="2016777" cy="10287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spcCol="0" rtlCol="0" anchor="ctr"/>
          <a:lstStyle/>
          <a:p>
            <a:pPr algn="ctr"/>
            <a:r>
              <a:rPr lang="en-US" sz="1600" dirty="0"/>
              <a:t>F5 Debugging &amp; Testing with </a:t>
            </a:r>
            <a:r>
              <a:rPr lang="en-US" sz="1600" dirty="0" err="1"/>
              <a:t>LocalDB</a:t>
            </a:r>
            <a:endParaRPr lang="en-US" sz="1600" dirty="0"/>
          </a:p>
        </p:txBody>
      </p:sp>
      <p:sp>
        <p:nvSpPr>
          <p:cNvPr id="39" name="Rectangle 38"/>
          <p:cNvSpPr/>
          <p:nvPr/>
        </p:nvSpPr>
        <p:spPr>
          <a:xfrm>
            <a:off x="4640093" y="2419350"/>
            <a:ext cx="2016777" cy="4572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spcCol="0" rtlCol="0" anchor="ctr"/>
          <a:lstStyle/>
          <a:p>
            <a:pPr algn="ctr"/>
            <a:r>
              <a:rPr lang="en-US" sz="1600" dirty="0"/>
              <a:t>Source Code Control</a:t>
            </a:r>
          </a:p>
        </p:txBody>
      </p:sp>
      <p:sp>
        <p:nvSpPr>
          <p:cNvPr id="40" name="Rectangle 39"/>
          <p:cNvSpPr/>
          <p:nvPr/>
        </p:nvSpPr>
        <p:spPr>
          <a:xfrm>
            <a:off x="4640093" y="2990850"/>
            <a:ext cx="2016777" cy="4572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spcCol="0" rtlCol="0" anchor="ctr"/>
          <a:lstStyle/>
          <a:p>
            <a:pPr algn="ctr"/>
            <a:r>
              <a:rPr lang="en-US" sz="1600" dirty="0" err="1"/>
              <a:t>MSBuild</a:t>
            </a:r>
            <a:endParaRPr lang="en-US" sz="1600" dirty="0"/>
          </a:p>
        </p:txBody>
      </p:sp>
      <p:sp>
        <p:nvSpPr>
          <p:cNvPr id="41" name="Rectangle 40"/>
          <p:cNvSpPr/>
          <p:nvPr/>
        </p:nvSpPr>
        <p:spPr>
          <a:xfrm>
            <a:off x="4640093" y="3562350"/>
            <a:ext cx="2016777" cy="4572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spcCol="0" rtlCol="0" anchor="ctr"/>
          <a:lstStyle/>
          <a:p>
            <a:pPr algn="ctr">
              <a:lnSpc>
                <a:spcPct val="90000"/>
              </a:lnSpc>
            </a:pPr>
            <a:r>
              <a:rPr lang="en-US" sz="1600" dirty="0"/>
              <a:t>Headless Command Line Tools</a:t>
            </a:r>
          </a:p>
        </p:txBody>
      </p:sp>
      <p:sp>
        <p:nvSpPr>
          <p:cNvPr id="38" name="Rectangle 37"/>
          <p:cNvSpPr/>
          <p:nvPr/>
        </p:nvSpPr>
        <p:spPr>
          <a:xfrm>
            <a:off x="6800675" y="2990850"/>
            <a:ext cx="2016777" cy="4572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spcCol="0" rtlCol="0" anchor="ctr"/>
          <a:lstStyle/>
          <a:p>
            <a:pPr algn="ctr">
              <a:lnSpc>
                <a:spcPct val="90000"/>
              </a:lnSpc>
            </a:pPr>
            <a:r>
              <a:rPr lang="en-US" sz="1600" dirty="0"/>
              <a:t>Visualize Schema Differences </a:t>
            </a:r>
          </a:p>
        </p:txBody>
      </p:sp>
      <p:grpSp>
        <p:nvGrpSpPr>
          <p:cNvPr id="16" name="Group 15"/>
          <p:cNvGrpSpPr/>
          <p:nvPr/>
        </p:nvGrpSpPr>
        <p:grpSpPr>
          <a:xfrm>
            <a:off x="318932" y="971552"/>
            <a:ext cx="8498519" cy="1303020"/>
            <a:chOff x="425132" y="1295402"/>
            <a:chExt cx="11328408" cy="1737360"/>
          </a:xfrm>
        </p:grpSpPr>
        <p:grpSp>
          <p:nvGrpSpPr>
            <p:cNvPr id="4" name="Group 3"/>
            <p:cNvGrpSpPr/>
            <p:nvPr/>
          </p:nvGrpSpPr>
          <p:grpSpPr>
            <a:xfrm>
              <a:off x="425132" y="1295402"/>
              <a:ext cx="2688336" cy="1737360"/>
              <a:chOff x="510766" y="1295402"/>
              <a:chExt cx="2688336" cy="1728664"/>
            </a:xfrm>
          </p:grpSpPr>
          <p:sp>
            <p:nvSpPr>
              <p:cNvPr id="6" name="Rectangle 5"/>
              <p:cNvSpPr>
                <a:spLocks noChangeAspect="1"/>
              </p:cNvSpPr>
              <p:nvPr>
                <p:custDataLst>
                  <p:tags r:id="rId4"/>
                </p:custDataLst>
              </p:nvPr>
            </p:nvSpPr>
            <p:spPr bwMode="auto">
              <a:xfrm>
                <a:off x="510766" y="1295402"/>
                <a:ext cx="2688336" cy="1728664"/>
              </a:xfrm>
              <a:prstGeom prst="rect">
                <a:avLst/>
              </a:prstGeom>
              <a:solidFill>
                <a:srgbClr val="B5D331"/>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60947" rIns="121893" bIns="60947" numCol="1" rtlCol="0" anchor="b" anchorCtr="0" compatLnSpc="1">
                <a:prstTxWarp prst="textNoShape">
                  <a:avLst/>
                </a:prstTxWarp>
                <a:noAutofit/>
              </a:bodyPr>
              <a:lstStyle/>
              <a:p>
                <a:pPr defTabSz="914045" fontAlgn="base">
                  <a:lnSpc>
                    <a:spcPct val="90000"/>
                  </a:lnSpc>
                  <a:spcBef>
                    <a:spcPts val="630"/>
                  </a:spcBef>
                  <a:spcAft>
                    <a:spcPct val="0"/>
                  </a:spcAft>
                  <a:buClr>
                    <a:srgbClr val="FFFF99"/>
                  </a:buClr>
                  <a:buSzPct val="120000"/>
                  <a:defRPr/>
                </a:pPr>
                <a:r>
                  <a:rPr lang="en-US" dirty="0">
                    <a:ln>
                      <a:solidFill>
                        <a:srgbClr val="FFFFFF">
                          <a:alpha val="0"/>
                        </a:srgbClr>
                      </a:solidFill>
                    </a:ln>
                    <a:solidFill>
                      <a:srgbClr val="FFFFFF">
                        <a:alpha val="99000"/>
                      </a:srgbClr>
                    </a:solidFill>
                    <a:cs typeface="Segoe UI" pitchFamily="34" charset="0"/>
                  </a:rPr>
                  <a:t> </a:t>
                </a:r>
                <a:r>
                  <a:rPr lang="en-US" dirty="0" smtClean="0">
                    <a:ln>
                      <a:solidFill>
                        <a:srgbClr val="FFFFFF">
                          <a:alpha val="0"/>
                        </a:srgbClr>
                      </a:solidFill>
                    </a:ln>
                    <a:solidFill>
                      <a:srgbClr val="FFFFFF">
                        <a:alpha val="99000"/>
                      </a:srgbClr>
                    </a:solidFill>
                    <a:cs typeface="Segoe UI" pitchFamily="34" charset="0"/>
                  </a:rPr>
                  <a:t>           </a:t>
                </a:r>
              </a:p>
              <a:p>
                <a:pPr defTabSz="914045" fontAlgn="base">
                  <a:lnSpc>
                    <a:spcPct val="90000"/>
                  </a:lnSpc>
                  <a:spcBef>
                    <a:spcPts val="630"/>
                  </a:spcBef>
                  <a:spcAft>
                    <a:spcPct val="0"/>
                  </a:spcAft>
                  <a:buClr>
                    <a:srgbClr val="FFFF99"/>
                  </a:buClr>
                  <a:buSzPct val="120000"/>
                  <a:defRPr/>
                </a:pPr>
                <a:r>
                  <a:rPr lang="en-US" sz="2000" dirty="0">
                    <a:ln>
                      <a:solidFill>
                        <a:srgbClr val="FFFFFF">
                          <a:alpha val="0"/>
                        </a:srgbClr>
                      </a:solidFill>
                    </a:ln>
                    <a:solidFill>
                      <a:srgbClr val="FFFFFF">
                        <a:alpha val="99000"/>
                      </a:srgbClr>
                    </a:solidFill>
                    <a:cs typeface="Segoe UI" pitchFamily="34" charset="0"/>
                  </a:rPr>
                  <a:t>1</a:t>
                </a:r>
                <a:r>
                  <a:rPr lang="en-US" sz="2000" baseline="30000" dirty="0">
                    <a:ln>
                      <a:solidFill>
                        <a:srgbClr val="FFFFFF">
                          <a:alpha val="0"/>
                        </a:srgbClr>
                      </a:solidFill>
                    </a:ln>
                    <a:solidFill>
                      <a:srgbClr val="FFFFFF">
                        <a:alpha val="99000"/>
                      </a:srgbClr>
                    </a:solidFill>
                    <a:cs typeface="Segoe UI" pitchFamily="34" charset="0"/>
                  </a:rPr>
                  <a:t>st</a:t>
                </a:r>
                <a:r>
                  <a:rPr lang="en-US" sz="2000" dirty="0">
                    <a:ln>
                      <a:solidFill>
                        <a:srgbClr val="FFFFFF">
                          <a:alpha val="0"/>
                        </a:srgbClr>
                      </a:solidFill>
                    </a:ln>
                    <a:solidFill>
                      <a:srgbClr val="FFFFFF">
                        <a:alpha val="99000"/>
                      </a:srgbClr>
                    </a:solidFill>
                    <a:cs typeface="Segoe UI" pitchFamily="34" charset="0"/>
                  </a:rPr>
                  <a:t> class T-SQL Support</a:t>
                </a:r>
              </a:p>
            </p:txBody>
          </p:sp>
          <p:sp>
            <p:nvSpPr>
              <p:cNvPr id="15" name="Freeform 6"/>
              <p:cNvSpPr>
                <a:spLocks noChangeAspect="1"/>
              </p:cNvSpPr>
              <p:nvPr/>
            </p:nvSpPr>
            <p:spPr bwMode="auto">
              <a:xfrm>
                <a:off x="763296" y="1434443"/>
                <a:ext cx="768550" cy="675066"/>
              </a:xfrm>
              <a:custGeom>
                <a:avLst/>
                <a:gdLst>
                  <a:gd name="T0" fmla="*/ 983 w 1123"/>
                  <a:gd name="T1" fmla="*/ 48 h 972"/>
                  <a:gd name="T2" fmla="*/ 884 w 1123"/>
                  <a:gd name="T3" fmla="*/ 36 h 972"/>
                  <a:gd name="T4" fmla="*/ 409 w 1123"/>
                  <a:gd name="T5" fmla="*/ 515 h 972"/>
                  <a:gd name="T6" fmla="*/ 251 w 1123"/>
                  <a:gd name="T7" fmla="*/ 357 h 972"/>
                  <a:gd name="T8" fmla="*/ 107 w 1123"/>
                  <a:gd name="T9" fmla="*/ 369 h 972"/>
                  <a:gd name="T10" fmla="*/ 42 w 1123"/>
                  <a:gd name="T11" fmla="*/ 446 h 972"/>
                  <a:gd name="T12" fmla="*/ 41 w 1123"/>
                  <a:gd name="T13" fmla="*/ 534 h 972"/>
                  <a:gd name="T14" fmla="*/ 356 w 1123"/>
                  <a:gd name="T15" fmla="*/ 871 h 972"/>
                  <a:gd name="T16" fmla="*/ 500 w 1123"/>
                  <a:gd name="T17" fmla="*/ 872 h 972"/>
                  <a:gd name="T18" fmla="*/ 1058 w 1123"/>
                  <a:gd name="T19" fmla="*/ 267 h 972"/>
                  <a:gd name="T20" fmla="*/ 1065 w 1123"/>
                  <a:gd name="T21" fmla="*/ 154 h 972"/>
                  <a:gd name="T22" fmla="*/ 983 w 1123"/>
                  <a:gd name="T23" fmla="*/ 4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3" h="972">
                    <a:moveTo>
                      <a:pt x="983" y="48"/>
                    </a:moveTo>
                    <a:cubicBezTo>
                      <a:pt x="983" y="48"/>
                      <a:pt x="952" y="0"/>
                      <a:pt x="884" y="36"/>
                    </a:cubicBezTo>
                    <a:cubicBezTo>
                      <a:pt x="774" y="95"/>
                      <a:pt x="533" y="321"/>
                      <a:pt x="409" y="515"/>
                    </a:cubicBezTo>
                    <a:cubicBezTo>
                      <a:pt x="409" y="515"/>
                      <a:pt x="320" y="412"/>
                      <a:pt x="251" y="357"/>
                    </a:cubicBezTo>
                    <a:cubicBezTo>
                      <a:pt x="183" y="302"/>
                      <a:pt x="170" y="309"/>
                      <a:pt x="107" y="369"/>
                    </a:cubicBezTo>
                    <a:cubicBezTo>
                      <a:pt x="66" y="408"/>
                      <a:pt x="42" y="446"/>
                      <a:pt x="42" y="446"/>
                    </a:cubicBezTo>
                    <a:cubicBezTo>
                      <a:pt x="42" y="446"/>
                      <a:pt x="0" y="490"/>
                      <a:pt x="41" y="534"/>
                    </a:cubicBezTo>
                    <a:cubicBezTo>
                      <a:pt x="93" y="589"/>
                      <a:pt x="283" y="776"/>
                      <a:pt x="356" y="871"/>
                    </a:cubicBezTo>
                    <a:cubicBezTo>
                      <a:pt x="432" y="972"/>
                      <a:pt x="500" y="872"/>
                      <a:pt x="500" y="872"/>
                    </a:cubicBezTo>
                    <a:cubicBezTo>
                      <a:pt x="500" y="872"/>
                      <a:pt x="734" y="489"/>
                      <a:pt x="1058" y="267"/>
                    </a:cubicBezTo>
                    <a:cubicBezTo>
                      <a:pt x="1058" y="267"/>
                      <a:pt x="1123" y="229"/>
                      <a:pt x="1065" y="154"/>
                    </a:cubicBezTo>
                    <a:cubicBezTo>
                      <a:pt x="1007" y="79"/>
                      <a:pt x="983" y="48"/>
                      <a:pt x="983" y="48"/>
                    </a:cubicBezTo>
                    <a:close/>
                  </a:path>
                </a:pathLst>
              </a:custGeom>
              <a:solidFill>
                <a:sysClr val="window" lastClr="FFFFFF"/>
              </a:solidFill>
              <a:ln>
                <a:noFill/>
              </a:ln>
            </p:spPr>
            <p:txBody>
              <a:bodyPr vert="horz" wrap="square" lIns="121893" tIns="60947" rIns="121893" bIns="60947" numCol="1" anchor="t" anchorCtr="0" compatLnSpc="1">
                <a:prstTxWarp prst="textNoShape">
                  <a:avLst/>
                </a:prstTxWarp>
              </a:bodyPr>
              <a:lstStyle/>
              <a:p>
                <a:pPr>
                  <a:defRPr/>
                </a:pPr>
                <a:endParaRPr lang="en-US" sz="1600" kern="0">
                  <a:solidFill>
                    <a:sysClr val="windowText" lastClr="000000"/>
                  </a:solidFill>
                </a:endParaRPr>
              </a:p>
            </p:txBody>
          </p:sp>
        </p:grpSp>
        <p:sp>
          <p:nvSpPr>
            <p:cNvPr id="9" name="Rectangle 8"/>
            <p:cNvSpPr>
              <a:spLocks noChangeAspect="1"/>
            </p:cNvSpPr>
            <p:nvPr>
              <p:custDataLst>
                <p:tags r:id="rId1"/>
              </p:custDataLst>
            </p:nvPr>
          </p:nvSpPr>
          <p:spPr bwMode="auto">
            <a:xfrm>
              <a:off x="9065204" y="1295402"/>
              <a:ext cx="2688336" cy="1737360"/>
            </a:xfrm>
            <a:prstGeom prst="rect">
              <a:avLst/>
            </a:prstGeom>
            <a:solidFill>
              <a:srgbClr val="B5D331"/>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60947" rIns="121893" bIns="60947" numCol="1" rtlCol="0" anchor="ctr" anchorCtr="0" compatLnSpc="1">
              <a:prstTxWarp prst="textNoShape">
                <a:avLst/>
              </a:prstTxWarp>
              <a:noAutofit/>
            </a:bodyPr>
            <a:lstStyle/>
            <a:p>
              <a:pPr defTabSz="914045" fontAlgn="base">
                <a:lnSpc>
                  <a:spcPct val="90000"/>
                </a:lnSpc>
                <a:spcBef>
                  <a:spcPts val="630"/>
                </a:spcBef>
                <a:spcAft>
                  <a:spcPct val="0"/>
                </a:spcAft>
                <a:buClr>
                  <a:srgbClr val="FFFF99"/>
                </a:buClr>
                <a:buSzPct val="120000"/>
              </a:pPr>
              <a:r>
                <a:rPr lang="en-US" dirty="0" smtClean="0">
                  <a:ln>
                    <a:solidFill>
                      <a:srgbClr val="FFFFFF">
                        <a:alpha val="0"/>
                      </a:srgbClr>
                    </a:solidFill>
                  </a:ln>
                  <a:solidFill>
                    <a:srgbClr val="FFFFFF">
                      <a:alpha val="99000"/>
                    </a:srgbClr>
                  </a:solidFill>
                  <a:cs typeface="Segoe UI" pitchFamily="34" charset="0"/>
                </a:rPr>
                <a:t>         </a:t>
              </a:r>
            </a:p>
            <a:p>
              <a:pPr defTabSz="914045" fontAlgn="base">
                <a:lnSpc>
                  <a:spcPct val="90000"/>
                </a:lnSpc>
                <a:spcBef>
                  <a:spcPts val="630"/>
                </a:spcBef>
                <a:spcAft>
                  <a:spcPct val="0"/>
                </a:spcAft>
                <a:buClr>
                  <a:srgbClr val="FFFF99"/>
                </a:buClr>
                <a:buSzPct val="120000"/>
              </a:pPr>
              <a:r>
                <a:rPr lang="en-US" dirty="0" smtClean="0">
                  <a:ln>
                    <a:solidFill>
                      <a:srgbClr val="FFFFFF">
                        <a:alpha val="0"/>
                      </a:srgbClr>
                    </a:solidFill>
                  </a:ln>
                  <a:solidFill>
                    <a:srgbClr val="FFFFFF">
                      <a:alpha val="99000"/>
                    </a:srgbClr>
                  </a:solidFill>
                  <a:cs typeface="Segoe UI" pitchFamily="34" charset="0"/>
                </a:rPr>
                <a:t>             </a:t>
              </a:r>
            </a:p>
            <a:p>
              <a:pPr defTabSz="914045" fontAlgn="base">
                <a:lnSpc>
                  <a:spcPct val="90000"/>
                </a:lnSpc>
                <a:spcBef>
                  <a:spcPts val="630"/>
                </a:spcBef>
                <a:spcAft>
                  <a:spcPct val="0"/>
                </a:spcAft>
                <a:buClr>
                  <a:srgbClr val="FFFF99"/>
                </a:buClr>
                <a:buSzPct val="120000"/>
              </a:pPr>
              <a:endParaRPr lang="en-US" sz="2000" dirty="0">
                <a:ln>
                  <a:solidFill>
                    <a:srgbClr val="FFFFFF">
                      <a:alpha val="0"/>
                    </a:srgbClr>
                  </a:solidFill>
                </a:ln>
                <a:solidFill>
                  <a:srgbClr val="FFFFFF">
                    <a:alpha val="99000"/>
                  </a:srgbClr>
                </a:solidFill>
                <a:cs typeface="Segoe UI" pitchFamily="34" charset="0"/>
              </a:endParaRPr>
            </a:p>
            <a:p>
              <a:pPr defTabSz="914045" fontAlgn="base">
                <a:lnSpc>
                  <a:spcPct val="90000"/>
                </a:lnSpc>
                <a:spcBef>
                  <a:spcPts val="630"/>
                </a:spcBef>
                <a:spcAft>
                  <a:spcPct val="0"/>
                </a:spcAft>
                <a:buClr>
                  <a:srgbClr val="FFFF99"/>
                </a:buClr>
                <a:buSzPct val="120000"/>
              </a:pPr>
              <a:r>
                <a:rPr lang="en-US" sz="2000" dirty="0">
                  <a:ln>
                    <a:solidFill>
                      <a:srgbClr val="FFFFFF">
                        <a:alpha val="0"/>
                      </a:srgbClr>
                    </a:solidFill>
                  </a:ln>
                  <a:solidFill>
                    <a:srgbClr val="FFFFFF">
                      <a:alpha val="99000"/>
                    </a:srgbClr>
                  </a:solidFill>
                  <a:cs typeface="Segoe UI" pitchFamily="34" charset="0"/>
                </a:rPr>
                <a:t>Schema Insight</a:t>
              </a:r>
              <a:endParaRPr lang="en-US" dirty="0">
                <a:ln>
                  <a:solidFill>
                    <a:srgbClr val="FFFFFF">
                      <a:alpha val="0"/>
                    </a:srgbClr>
                  </a:solidFill>
                </a:ln>
                <a:solidFill>
                  <a:srgbClr val="FFFFFF">
                    <a:alpha val="99000"/>
                  </a:srgbClr>
                </a:solidFill>
                <a:cs typeface="Segoe UI" pitchFamily="34" charset="0"/>
              </a:endParaRPr>
            </a:p>
          </p:txBody>
        </p:sp>
        <p:grpSp>
          <p:nvGrpSpPr>
            <p:cNvPr id="12" name="Group 11"/>
            <p:cNvGrpSpPr/>
            <p:nvPr/>
          </p:nvGrpSpPr>
          <p:grpSpPr>
            <a:xfrm>
              <a:off x="3305156" y="1295402"/>
              <a:ext cx="2688336" cy="1737360"/>
              <a:chOff x="3305156" y="1295402"/>
              <a:chExt cx="2688336" cy="1737360"/>
            </a:xfrm>
          </p:grpSpPr>
          <p:sp>
            <p:nvSpPr>
              <p:cNvPr id="7" name="Rectangle 6"/>
              <p:cNvSpPr>
                <a:spLocks noChangeAspect="1"/>
              </p:cNvSpPr>
              <p:nvPr>
                <p:custDataLst>
                  <p:tags r:id="rId3"/>
                </p:custDataLst>
              </p:nvPr>
            </p:nvSpPr>
            <p:spPr bwMode="auto">
              <a:xfrm>
                <a:off x="3305156" y="1295402"/>
                <a:ext cx="2688336" cy="1737360"/>
              </a:xfrm>
              <a:prstGeom prst="rect">
                <a:avLst/>
              </a:prstGeom>
              <a:solidFill>
                <a:srgbClr val="B5D331"/>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60947" rIns="121893" bIns="60947" numCol="1" rtlCol="0" anchor="b" anchorCtr="0" compatLnSpc="1">
                <a:prstTxWarp prst="textNoShape">
                  <a:avLst/>
                </a:prstTxWarp>
                <a:noAutofit/>
              </a:bodyPr>
              <a:lstStyle/>
              <a:p>
                <a:pPr defTabSz="914045" fontAlgn="base">
                  <a:lnSpc>
                    <a:spcPct val="90000"/>
                  </a:lnSpc>
                  <a:spcBef>
                    <a:spcPts val="630"/>
                  </a:spcBef>
                  <a:spcAft>
                    <a:spcPct val="0"/>
                  </a:spcAft>
                  <a:buClr>
                    <a:srgbClr val="FFFF99"/>
                  </a:buClr>
                  <a:buSzPct val="120000"/>
                </a:pPr>
                <a:r>
                  <a:rPr lang="en-US" dirty="0" smtClean="0">
                    <a:ln>
                      <a:solidFill>
                        <a:srgbClr val="FFFFFF">
                          <a:alpha val="0"/>
                        </a:srgbClr>
                      </a:solidFill>
                    </a:ln>
                    <a:solidFill>
                      <a:srgbClr val="FFFFFF">
                        <a:alpha val="99000"/>
                      </a:srgbClr>
                    </a:solidFill>
                    <a:cs typeface="Segoe UI" pitchFamily="34" charset="0"/>
                  </a:rPr>
                  <a:t>            </a:t>
                </a:r>
              </a:p>
              <a:p>
                <a:pPr defTabSz="914045" fontAlgn="base">
                  <a:lnSpc>
                    <a:spcPct val="90000"/>
                  </a:lnSpc>
                  <a:spcBef>
                    <a:spcPts val="630"/>
                  </a:spcBef>
                  <a:spcAft>
                    <a:spcPct val="0"/>
                  </a:spcAft>
                  <a:buClr>
                    <a:srgbClr val="FFFF99"/>
                  </a:buClr>
                  <a:buSzPct val="120000"/>
                </a:pPr>
                <a:r>
                  <a:rPr lang="en-US" sz="2000" dirty="0">
                    <a:ln>
                      <a:solidFill>
                        <a:srgbClr val="FFFFFF">
                          <a:alpha val="0"/>
                        </a:srgbClr>
                      </a:solidFill>
                    </a:ln>
                    <a:solidFill>
                      <a:srgbClr val="FFFFFF">
                        <a:alpha val="99000"/>
                      </a:srgbClr>
                    </a:solidFill>
                    <a:cs typeface="Segoe UI" pitchFamily="34" charset="0"/>
                  </a:rPr>
                  <a:t>Isolated</a:t>
                </a:r>
              </a:p>
            </p:txBody>
          </p:sp>
          <p:sp>
            <p:nvSpPr>
              <p:cNvPr id="43" name="Freeform 23"/>
              <p:cNvSpPr>
                <a:spLocks noEditPoints="1"/>
              </p:cNvSpPr>
              <p:nvPr/>
            </p:nvSpPr>
            <p:spPr bwMode="black">
              <a:xfrm>
                <a:off x="3427412" y="1450619"/>
                <a:ext cx="685800" cy="682981"/>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grpSp>
          <p:nvGrpSpPr>
            <p:cNvPr id="13" name="Group 12"/>
            <p:cNvGrpSpPr/>
            <p:nvPr/>
          </p:nvGrpSpPr>
          <p:grpSpPr>
            <a:xfrm>
              <a:off x="6185180" y="1295402"/>
              <a:ext cx="2688336" cy="1737360"/>
              <a:chOff x="6185180" y="1295402"/>
              <a:chExt cx="2688336" cy="1737360"/>
            </a:xfrm>
          </p:grpSpPr>
          <p:sp>
            <p:nvSpPr>
              <p:cNvPr id="8" name="Rectangle 7"/>
              <p:cNvSpPr>
                <a:spLocks noChangeAspect="1"/>
              </p:cNvSpPr>
              <p:nvPr>
                <p:custDataLst>
                  <p:tags r:id="rId2"/>
                </p:custDataLst>
              </p:nvPr>
            </p:nvSpPr>
            <p:spPr bwMode="auto">
              <a:xfrm>
                <a:off x="6185180" y="1295402"/>
                <a:ext cx="2688336" cy="1737360"/>
              </a:xfrm>
              <a:prstGeom prst="rect">
                <a:avLst/>
              </a:prstGeom>
              <a:solidFill>
                <a:srgbClr val="B5D331"/>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60947" rIns="121893" bIns="60947" numCol="1" rtlCol="0" anchor="b" anchorCtr="0" compatLnSpc="1">
                <a:prstTxWarp prst="textNoShape">
                  <a:avLst/>
                </a:prstTxWarp>
                <a:noAutofit/>
              </a:bodyPr>
              <a:lstStyle/>
              <a:p>
                <a:pPr defTabSz="914045" fontAlgn="base">
                  <a:lnSpc>
                    <a:spcPct val="90000"/>
                  </a:lnSpc>
                  <a:spcBef>
                    <a:spcPts val="630"/>
                  </a:spcBef>
                  <a:spcAft>
                    <a:spcPct val="0"/>
                  </a:spcAft>
                  <a:buClr>
                    <a:srgbClr val="FFFF99"/>
                  </a:buClr>
                  <a:buSzPct val="120000"/>
                </a:pPr>
                <a:endParaRPr lang="en-US" dirty="0" smtClean="0">
                  <a:ln>
                    <a:solidFill>
                      <a:srgbClr val="FFFFFF">
                        <a:alpha val="0"/>
                      </a:srgbClr>
                    </a:solidFill>
                  </a:ln>
                  <a:solidFill>
                    <a:srgbClr val="FFFFFF">
                      <a:alpha val="99000"/>
                    </a:srgbClr>
                  </a:solidFill>
                  <a:cs typeface="Segoe UI" pitchFamily="34" charset="0"/>
                </a:endParaRPr>
              </a:p>
              <a:p>
                <a:pPr defTabSz="914045" fontAlgn="base">
                  <a:lnSpc>
                    <a:spcPct val="90000"/>
                  </a:lnSpc>
                  <a:spcBef>
                    <a:spcPts val="630"/>
                  </a:spcBef>
                  <a:spcAft>
                    <a:spcPct val="0"/>
                  </a:spcAft>
                  <a:buClr>
                    <a:srgbClr val="FFFF99"/>
                  </a:buClr>
                  <a:buSzPct val="120000"/>
                </a:pPr>
                <a:r>
                  <a:rPr lang="en-US" sz="2000" dirty="0">
                    <a:ln>
                      <a:solidFill>
                        <a:srgbClr val="FFFFFF">
                          <a:alpha val="0"/>
                        </a:srgbClr>
                      </a:solidFill>
                    </a:ln>
                    <a:solidFill>
                      <a:srgbClr val="FFFFFF">
                        <a:alpha val="99000"/>
                      </a:srgbClr>
                    </a:solidFill>
                    <a:cs typeface="Segoe UI" pitchFamily="34" charset="0"/>
                  </a:rPr>
                  <a:t>Integrated</a:t>
                </a:r>
              </a:p>
            </p:txBody>
          </p:sp>
          <p:grpSp>
            <p:nvGrpSpPr>
              <p:cNvPr id="44" name="Group 43"/>
              <p:cNvGrpSpPr/>
              <p:nvPr/>
            </p:nvGrpSpPr>
            <p:grpSpPr bwMode="black">
              <a:xfrm>
                <a:off x="6363781" y="1470647"/>
                <a:ext cx="721231" cy="586753"/>
                <a:chOff x="5184775" y="225425"/>
                <a:chExt cx="1500188" cy="1220788"/>
              </a:xfrm>
              <a:solidFill>
                <a:srgbClr val="FFFFFF"/>
              </a:solidFill>
            </p:grpSpPr>
            <p:sp>
              <p:nvSpPr>
                <p:cNvPr id="45"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6"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7"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grpSp>
      <p:sp>
        <p:nvSpPr>
          <p:cNvPr id="30" name="Freeform 18"/>
          <p:cNvSpPr>
            <a:spLocks noEditPoints="1"/>
          </p:cNvSpPr>
          <p:nvPr/>
        </p:nvSpPr>
        <p:spPr bwMode="black">
          <a:xfrm>
            <a:off x="6915760" y="1085850"/>
            <a:ext cx="496398" cy="455086"/>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6" tIns="34294" rIns="68586" bIns="34294" numCol="1" anchor="t" anchorCtr="0" compatLnSpc="1">
            <a:prstTxWarp prst="textNoShape">
              <a:avLst/>
            </a:prstTxWarp>
          </a:bodyPr>
          <a:lstStyle/>
          <a:p>
            <a:endParaRPr lang="en-US" sz="1200"/>
          </a:p>
        </p:txBody>
      </p:sp>
      <p:sp>
        <p:nvSpPr>
          <p:cNvPr id="29"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1"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7"/>
              </a:rPr>
              <a:t>www.rapidbbs.cn</a:t>
            </a:r>
            <a:endParaRPr lang="zh-CN" altLang="en-US" sz="1200" b="0">
              <a:latin typeface="Arial" charset="0"/>
              <a:ea typeface="ＭＳ Ｐゴシック" pitchFamily="34" charset="-128"/>
            </a:endParaRPr>
          </a:p>
        </p:txBody>
      </p:sp>
      <p:pic>
        <p:nvPicPr>
          <p:cNvPr id="32" name="Picture 2">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93137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Schema Deployment</a:t>
            </a:r>
            <a:endParaRPr lang="en-US" dirty="0"/>
          </a:p>
        </p:txBody>
      </p:sp>
      <p:sp>
        <p:nvSpPr>
          <p:cNvPr id="70" name="Rectangle 69"/>
          <p:cNvSpPr/>
          <p:nvPr/>
        </p:nvSpPr>
        <p:spPr>
          <a:xfrm>
            <a:off x="323671" y="2990850"/>
            <a:ext cx="2013052" cy="10287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spcCol="0" rtlCol="0" anchor="ctr"/>
          <a:lstStyle/>
          <a:p>
            <a:pPr algn="ctr"/>
            <a:r>
              <a:rPr lang="en-US" sz="1600" dirty="0"/>
              <a:t>Incremental Schema Deployment</a:t>
            </a:r>
          </a:p>
        </p:txBody>
      </p:sp>
      <p:sp>
        <p:nvSpPr>
          <p:cNvPr id="72" name="Rectangle 71"/>
          <p:cNvSpPr/>
          <p:nvPr/>
        </p:nvSpPr>
        <p:spPr>
          <a:xfrm>
            <a:off x="323671" y="2407920"/>
            <a:ext cx="2013052" cy="4572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spcCol="0" rtlCol="0" anchor="ctr"/>
          <a:lstStyle/>
          <a:p>
            <a:pPr algn="ctr"/>
            <a:r>
              <a:rPr lang="en-US" sz="1600" dirty="0"/>
              <a:t>Model Based</a:t>
            </a:r>
          </a:p>
        </p:txBody>
      </p:sp>
      <p:sp>
        <p:nvSpPr>
          <p:cNvPr id="73" name="Rectangle 72"/>
          <p:cNvSpPr/>
          <p:nvPr/>
        </p:nvSpPr>
        <p:spPr>
          <a:xfrm>
            <a:off x="4641669" y="2407920"/>
            <a:ext cx="2013052" cy="4572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spcCol="0" rtlCol="0" anchor="ctr"/>
          <a:lstStyle/>
          <a:p>
            <a:pPr algn="ctr"/>
            <a:r>
              <a:rPr lang="en-US" sz="1600" dirty="0"/>
              <a:t>DACPAC </a:t>
            </a:r>
          </a:p>
        </p:txBody>
      </p:sp>
      <p:sp>
        <p:nvSpPr>
          <p:cNvPr id="74" name="Rectangle 73"/>
          <p:cNvSpPr/>
          <p:nvPr/>
        </p:nvSpPr>
        <p:spPr>
          <a:xfrm>
            <a:off x="4641669" y="3562350"/>
            <a:ext cx="2013052" cy="4572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spcCol="0" rtlCol="0" anchor="ctr"/>
          <a:lstStyle/>
          <a:p>
            <a:pPr algn="ctr"/>
            <a:r>
              <a:rPr lang="en-US" sz="1600" dirty="0"/>
              <a:t>SQL Script</a:t>
            </a:r>
          </a:p>
        </p:txBody>
      </p:sp>
      <p:sp>
        <p:nvSpPr>
          <p:cNvPr id="75" name="Rectangle 74"/>
          <p:cNvSpPr/>
          <p:nvPr/>
        </p:nvSpPr>
        <p:spPr>
          <a:xfrm>
            <a:off x="2482670" y="3562350"/>
            <a:ext cx="2029028" cy="4572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spcCol="0" rtlCol="0" anchor="ctr"/>
          <a:lstStyle/>
          <a:p>
            <a:pPr algn="ctr"/>
            <a:r>
              <a:rPr lang="en-US" sz="1600" dirty="0"/>
              <a:t>Retargeting Support</a:t>
            </a:r>
          </a:p>
        </p:txBody>
      </p:sp>
      <p:sp>
        <p:nvSpPr>
          <p:cNvPr id="76" name="Rectangle 75"/>
          <p:cNvSpPr/>
          <p:nvPr/>
        </p:nvSpPr>
        <p:spPr>
          <a:xfrm>
            <a:off x="2482670" y="2407920"/>
            <a:ext cx="2031202" cy="10287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spcCol="0" rtlCol="0" anchor="ctr"/>
          <a:lstStyle/>
          <a:p>
            <a:pPr algn="ctr"/>
            <a:r>
              <a:rPr lang="en-US" sz="1600" dirty="0"/>
              <a:t>SQL Server 2005</a:t>
            </a:r>
          </a:p>
          <a:p>
            <a:pPr algn="ctr"/>
            <a:r>
              <a:rPr lang="en-US" sz="1600" dirty="0"/>
              <a:t>SQL Server 2008</a:t>
            </a:r>
          </a:p>
          <a:p>
            <a:pPr algn="ctr"/>
            <a:r>
              <a:rPr lang="en-US" sz="1600" dirty="0"/>
              <a:t>SQL Server 2012</a:t>
            </a:r>
          </a:p>
          <a:p>
            <a:pPr algn="ctr"/>
            <a:r>
              <a:rPr lang="en-US" sz="1600" dirty="0"/>
              <a:t>SQL Azure</a:t>
            </a:r>
          </a:p>
        </p:txBody>
      </p:sp>
      <p:sp>
        <p:nvSpPr>
          <p:cNvPr id="77" name="Rectangle 76"/>
          <p:cNvSpPr/>
          <p:nvPr/>
        </p:nvSpPr>
        <p:spPr>
          <a:xfrm>
            <a:off x="6800668" y="2407920"/>
            <a:ext cx="2013052" cy="4572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spcCol="0" rtlCol="0" anchor="ctr"/>
          <a:lstStyle/>
          <a:p>
            <a:pPr algn="ctr"/>
            <a:r>
              <a:rPr lang="en-US" sz="1600" dirty="0"/>
              <a:t>Format</a:t>
            </a:r>
          </a:p>
        </p:txBody>
      </p:sp>
      <p:sp>
        <p:nvSpPr>
          <p:cNvPr id="78" name="Rectangle 77"/>
          <p:cNvSpPr/>
          <p:nvPr/>
        </p:nvSpPr>
        <p:spPr>
          <a:xfrm>
            <a:off x="6800668" y="2990850"/>
            <a:ext cx="2015226" cy="4572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spcCol="0" rtlCol="0" anchor="ctr"/>
          <a:lstStyle/>
          <a:p>
            <a:pPr algn="ctr"/>
            <a:r>
              <a:rPr lang="en-US" sz="1600" dirty="0"/>
              <a:t>Engine</a:t>
            </a:r>
          </a:p>
        </p:txBody>
      </p:sp>
      <p:sp>
        <p:nvSpPr>
          <p:cNvPr id="79" name="Rectangle 78"/>
          <p:cNvSpPr/>
          <p:nvPr/>
        </p:nvSpPr>
        <p:spPr>
          <a:xfrm>
            <a:off x="6800668" y="3562350"/>
            <a:ext cx="2015226" cy="4572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spcCol="0" rtlCol="0" anchor="ctr"/>
          <a:lstStyle/>
          <a:p>
            <a:pPr algn="ctr"/>
            <a:r>
              <a:rPr lang="en-US" sz="1600" dirty="0"/>
              <a:t>API &amp; REDIST</a:t>
            </a:r>
          </a:p>
        </p:txBody>
      </p:sp>
      <p:sp>
        <p:nvSpPr>
          <p:cNvPr id="80" name="Rectangle 79"/>
          <p:cNvSpPr/>
          <p:nvPr/>
        </p:nvSpPr>
        <p:spPr>
          <a:xfrm>
            <a:off x="4641669" y="2990850"/>
            <a:ext cx="2015226" cy="4572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spcCol="0" rtlCol="0" anchor="ctr"/>
          <a:lstStyle/>
          <a:p>
            <a:pPr algn="ctr"/>
            <a:r>
              <a:rPr lang="en-US" sz="1600" dirty="0"/>
              <a:t>Connected</a:t>
            </a:r>
          </a:p>
        </p:txBody>
      </p:sp>
      <p:grpSp>
        <p:nvGrpSpPr>
          <p:cNvPr id="14" name="Group 13"/>
          <p:cNvGrpSpPr/>
          <p:nvPr/>
        </p:nvGrpSpPr>
        <p:grpSpPr>
          <a:xfrm>
            <a:off x="323671" y="984161"/>
            <a:ext cx="8493774" cy="1303020"/>
            <a:chOff x="431449" y="1312215"/>
            <a:chExt cx="11322083" cy="1737360"/>
          </a:xfrm>
        </p:grpSpPr>
        <p:grpSp>
          <p:nvGrpSpPr>
            <p:cNvPr id="3" name="Group 2"/>
            <p:cNvGrpSpPr/>
            <p:nvPr/>
          </p:nvGrpSpPr>
          <p:grpSpPr>
            <a:xfrm>
              <a:off x="431449" y="1312215"/>
              <a:ext cx="2688336" cy="1737360"/>
              <a:chOff x="507868" y="1315330"/>
              <a:chExt cx="2683370" cy="1725473"/>
            </a:xfrm>
          </p:grpSpPr>
          <p:sp>
            <p:nvSpPr>
              <p:cNvPr id="6" name="Rectangle 5"/>
              <p:cNvSpPr>
                <a:spLocks noChangeAspect="1"/>
              </p:cNvSpPr>
              <p:nvPr>
                <p:custDataLst>
                  <p:tags r:id="rId4"/>
                </p:custDataLst>
              </p:nvPr>
            </p:nvSpPr>
            <p:spPr bwMode="auto">
              <a:xfrm>
                <a:off x="507868" y="1315330"/>
                <a:ext cx="2683370" cy="1725473"/>
              </a:xfrm>
              <a:prstGeom prst="rect">
                <a:avLst/>
              </a:prstGeom>
              <a:solidFill>
                <a:srgbClr val="FF8B00"/>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60947" rIns="121893" bIns="60947" numCol="1" rtlCol="0" anchor="b" anchorCtr="0" compatLnSpc="1">
                <a:prstTxWarp prst="textNoShape">
                  <a:avLst/>
                </a:prstTxWarp>
                <a:noAutofit/>
              </a:bodyPr>
              <a:lstStyle/>
              <a:p>
                <a:pPr defTabSz="914045" fontAlgn="base">
                  <a:lnSpc>
                    <a:spcPct val="90000"/>
                  </a:lnSpc>
                  <a:spcBef>
                    <a:spcPts val="630"/>
                  </a:spcBef>
                  <a:spcAft>
                    <a:spcPct val="0"/>
                  </a:spcAft>
                  <a:buClr>
                    <a:srgbClr val="FFFF99"/>
                  </a:buClr>
                  <a:buSzPct val="120000"/>
                  <a:defRPr/>
                </a:pPr>
                <a:r>
                  <a:rPr lang="en-US" dirty="0">
                    <a:ln>
                      <a:solidFill>
                        <a:srgbClr val="FFFFFF">
                          <a:alpha val="0"/>
                        </a:srgbClr>
                      </a:solidFill>
                    </a:ln>
                    <a:solidFill>
                      <a:srgbClr val="FFFFFF">
                        <a:alpha val="99000"/>
                      </a:srgbClr>
                    </a:solidFill>
                    <a:cs typeface="Segoe UI" pitchFamily="34" charset="0"/>
                  </a:rPr>
                  <a:t> </a:t>
                </a:r>
                <a:r>
                  <a:rPr lang="en-US" dirty="0" smtClean="0">
                    <a:ln>
                      <a:solidFill>
                        <a:srgbClr val="FFFFFF">
                          <a:alpha val="0"/>
                        </a:srgbClr>
                      </a:solidFill>
                    </a:ln>
                    <a:solidFill>
                      <a:srgbClr val="FFFFFF">
                        <a:alpha val="99000"/>
                      </a:srgbClr>
                    </a:solidFill>
                    <a:cs typeface="Segoe UI" pitchFamily="34" charset="0"/>
                  </a:rPr>
                  <a:t>           </a:t>
                </a:r>
              </a:p>
              <a:p>
                <a:pPr defTabSz="913985" fontAlgn="base">
                  <a:spcBef>
                    <a:spcPct val="0"/>
                  </a:spcBef>
                  <a:spcAft>
                    <a:spcPct val="0"/>
                  </a:spcAft>
                  <a:defRPr/>
                </a:pPr>
                <a:r>
                  <a:rPr lang="en-US" sz="2000" kern="0" dirty="0">
                    <a:solidFill>
                      <a:srgbClr val="FFFFFF">
                        <a:alpha val="99000"/>
                      </a:srgbClr>
                    </a:solidFill>
                  </a:rPr>
                  <a:t>Declarative</a:t>
                </a:r>
              </a:p>
            </p:txBody>
          </p:sp>
          <p:grpSp>
            <p:nvGrpSpPr>
              <p:cNvPr id="90" name="Group 89"/>
              <p:cNvGrpSpPr>
                <a:grpSpLocks noChangeAspect="1"/>
              </p:cNvGrpSpPr>
              <p:nvPr/>
            </p:nvGrpSpPr>
            <p:grpSpPr>
              <a:xfrm>
                <a:off x="613249" y="1414905"/>
                <a:ext cx="673018" cy="862136"/>
                <a:chOff x="-2773363" y="1651000"/>
                <a:chExt cx="2692401" cy="3448051"/>
              </a:xfrm>
              <a:solidFill>
                <a:schemeClr val="bg1"/>
              </a:solidFill>
            </p:grpSpPr>
            <p:sp>
              <p:nvSpPr>
                <p:cNvPr id="91" name="Freeform 19"/>
                <p:cNvSpPr>
                  <a:spLocks noEditPoints="1"/>
                </p:cNvSpPr>
                <p:nvPr/>
              </p:nvSpPr>
              <p:spPr bwMode="auto">
                <a:xfrm>
                  <a:off x="-1908175" y="1798638"/>
                  <a:ext cx="641350" cy="641350"/>
                </a:xfrm>
                <a:custGeom>
                  <a:avLst/>
                  <a:gdLst>
                    <a:gd name="T0" fmla="*/ 171 w 171"/>
                    <a:gd name="T1" fmla="*/ 79 h 171"/>
                    <a:gd name="T2" fmla="*/ 168 w 171"/>
                    <a:gd name="T3" fmla="*/ 77 h 171"/>
                    <a:gd name="T4" fmla="*/ 152 w 171"/>
                    <a:gd name="T5" fmla="*/ 65 h 171"/>
                    <a:gd name="T6" fmla="*/ 165 w 171"/>
                    <a:gd name="T7" fmla="*/ 54 h 171"/>
                    <a:gd name="T8" fmla="*/ 161 w 171"/>
                    <a:gd name="T9" fmla="*/ 52 h 171"/>
                    <a:gd name="T10" fmla="*/ 142 w 171"/>
                    <a:gd name="T11" fmla="*/ 45 h 171"/>
                    <a:gd name="T12" fmla="*/ 152 w 171"/>
                    <a:gd name="T13" fmla="*/ 32 h 171"/>
                    <a:gd name="T14" fmla="*/ 147 w 171"/>
                    <a:gd name="T15" fmla="*/ 30 h 171"/>
                    <a:gd name="T16" fmla="*/ 127 w 171"/>
                    <a:gd name="T17" fmla="*/ 30 h 171"/>
                    <a:gd name="T18" fmla="*/ 132 w 171"/>
                    <a:gd name="T19" fmla="*/ 15 h 171"/>
                    <a:gd name="T20" fmla="*/ 127 w 171"/>
                    <a:gd name="T21" fmla="*/ 14 h 171"/>
                    <a:gd name="T22" fmla="*/ 108 w 171"/>
                    <a:gd name="T23" fmla="*/ 20 h 171"/>
                    <a:gd name="T24" fmla="*/ 108 w 171"/>
                    <a:gd name="T25" fmla="*/ 5 h 171"/>
                    <a:gd name="T26" fmla="*/ 103 w 171"/>
                    <a:gd name="T27" fmla="*/ 4 h 171"/>
                    <a:gd name="T28" fmla="*/ 86 w 171"/>
                    <a:gd name="T29" fmla="*/ 16 h 171"/>
                    <a:gd name="T30" fmla="*/ 79 w 171"/>
                    <a:gd name="T31" fmla="*/ 0 h 171"/>
                    <a:gd name="T32" fmla="*/ 77 w 171"/>
                    <a:gd name="T33" fmla="*/ 3 h 171"/>
                    <a:gd name="T34" fmla="*/ 65 w 171"/>
                    <a:gd name="T35" fmla="*/ 19 h 171"/>
                    <a:gd name="T36" fmla="*/ 53 w 171"/>
                    <a:gd name="T37" fmla="*/ 6 h 171"/>
                    <a:gd name="T38" fmla="*/ 52 w 171"/>
                    <a:gd name="T39" fmla="*/ 10 h 171"/>
                    <a:gd name="T40" fmla="*/ 45 w 171"/>
                    <a:gd name="T41" fmla="*/ 29 h 171"/>
                    <a:gd name="T42" fmla="*/ 30 w 171"/>
                    <a:gd name="T43" fmla="*/ 20 h 171"/>
                    <a:gd name="T44" fmla="*/ 30 w 171"/>
                    <a:gd name="T45" fmla="*/ 24 h 171"/>
                    <a:gd name="T46" fmla="*/ 30 w 171"/>
                    <a:gd name="T47" fmla="*/ 44 h 171"/>
                    <a:gd name="T48" fmla="*/ 13 w 171"/>
                    <a:gd name="T49" fmla="*/ 40 h 171"/>
                    <a:gd name="T50" fmla="*/ 14 w 171"/>
                    <a:gd name="T51" fmla="*/ 44 h 171"/>
                    <a:gd name="T52" fmla="*/ 20 w 171"/>
                    <a:gd name="T53" fmla="*/ 63 h 171"/>
                    <a:gd name="T54" fmla="*/ 2 w 171"/>
                    <a:gd name="T55" fmla="*/ 65 h 171"/>
                    <a:gd name="T56" fmla="*/ 4 w 171"/>
                    <a:gd name="T57" fmla="*/ 68 h 171"/>
                    <a:gd name="T58" fmla="*/ 16 w 171"/>
                    <a:gd name="T59" fmla="*/ 84 h 171"/>
                    <a:gd name="T60" fmla="*/ 0 w 171"/>
                    <a:gd name="T61" fmla="*/ 91 h 171"/>
                    <a:gd name="T62" fmla="*/ 3 w 171"/>
                    <a:gd name="T63" fmla="*/ 94 h 171"/>
                    <a:gd name="T64" fmla="*/ 19 w 171"/>
                    <a:gd name="T65" fmla="*/ 106 h 171"/>
                    <a:gd name="T66" fmla="*/ 6 w 171"/>
                    <a:gd name="T67" fmla="*/ 116 h 171"/>
                    <a:gd name="T68" fmla="*/ 10 w 171"/>
                    <a:gd name="T69" fmla="*/ 119 h 171"/>
                    <a:gd name="T70" fmla="*/ 29 w 171"/>
                    <a:gd name="T71" fmla="*/ 125 h 171"/>
                    <a:gd name="T72" fmla="*/ 19 w 171"/>
                    <a:gd name="T73" fmla="*/ 139 h 171"/>
                    <a:gd name="T74" fmla="*/ 24 w 171"/>
                    <a:gd name="T75" fmla="*/ 141 h 171"/>
                    <a:gd name="T76" fmla="*/ 44 w 171"/>
                    <a:gd name="T77" fmla="*/ 141 h 171"/>
                    <a:gd name="T78" fmla="*/ 39 w 171"/>
                    <a:gd name="T79" fmla="*/ 156 h 171"/>
                    <a:gd name="T80" fmla="*/ 44 w 171"/>
                    <a:gd name="T81" fmla="*/ 157 h 171"/>
                    <a:gd name="T82" fmla="*/ 63 w 171"/>
                    <a:gd name="T83" fmla="*/ 151 h 171"/>
                    <a:gd name="T84" fmla="*/ 63 w 171"/>
                    <a:gd name="T85" fmla="*/ 166 h 171"/>
                    <a:gd name="T86" fmla="*/ 68 w 171"/>
                    <a:gd name="T87" fmla="*/ 166 h 171"/>
                    <a:gd name="T88" fmla="*/ 85 w 171"/>
                    <a:gd name="T89" fmla="*/ 155 h 171"/>
                    <a:gd name="T90" fmla="*/ 91 w 171"/>
                    <a:gd name="T91" fmla="*/ 171 h 171"/>
                    <a:gd name="T92" fmla="*/ 94 w 171"/>
                    <a:gd name="T93" fmla="*/ 168 h 171"/>
                    <a:gd name="T94" fmla="*/ 96 w 171"/>
                    <a:gd name="T95" fmla="*/ 154 h 171"/>
                    <a:gd name="T96" fmla="*/ 114 w 171"/>
                    <a:gd name="T97" fmla="*/ 163 h 171"/>
                    <a:gd name="T98" fmla="*/ 119 w 171"/>
                    <a:gd name="T99" fmla="*/ 162 h 171"/>
                    <a:gd name="T100" fmla="*/ 117 w 171"/>
                    <a:gd name="T101" fmla="*/ 147 h 171"/>
                    <a:gd name="T102" fmla="*/ 137 w 171"/>
                    <a:gd name="T103" fmla="*/ 150 h 171"/>
                    <a:gd name="T104" fmla="*/ 142 w 171"/>
                    <a:gd name="T105" fmla="*/ 149 h 171"/>
                    <a:gd name="T106" fmla="*/ 135 w 171"/>
                    <a:gd name="T107" fmla="*/ 134 h 171"/>
                    <a:gd name="T108" fmla="*/ 154 w 171"/>
                    <a:gd name="T109" fmla="*/ 131 h 171"/>
                    <a:gd name="T110" fmla="*/ 159 w 171"/>
                    <a:gd name="T111" fmla="*/ 129 h 171"/>
                    <a:gd name="T112" fmla="*/ 147 w 171"/>
                    <a:gd name="T113" fmla="*/ 117 h 171"/>
                    <a:gd name="T114" fmla="*/ 165 w 171"/>
                    <a:gd name="T115" fmla="*/ 108 h 171"/>
                    <a:gd name="T116" fmla="*/ 169 w 171"/>
                    <a:gd name="T117" fmla="*/ 105 h 171"/>
                    <a:gd name="T118" fmla="*/ 154 w 171"/>
                    <a:gd name="T119" fmla="*/ 96 h 171"/>
                    <a:gd name="T120" fmla="*/ 168 w 171"/>
                    <a:gd name="T121" fmla="*/ 82 h 171"/>
                    <a:gd name="T122" fmla="*/ 70 w 171"/>
                    <a:gd name="T123" fmla="*/ 85 h 171"/>
                    <a:gd name="T124" fmla="*/ 101 w 171"/>
                    <a:gd name="T125" fmla="*/ 85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1" h="171">
                      <a:moveTo>
                        <a:pt x="168" y="82"/>
                      </a:moveTo>
                      <a:cubicBezTo>
                        <a:pt x="170" y="82"/>
                        <a:pt x="171" y="81"/>
                        <a:pt x="171" y="79"/>
                      </a:cubicBezTo>
                      <a:cubicBezTo>
                        <a:pt x="171" y="79"/>
                        <a:pt x="171" y="79"/>
                        <a:pt x="171" y="79"/>
                      </a:cubicBezTo>
                      <a:cubicBezTo>
                        <a:pt x="171" y="78"/>
                        <a:pt x="169" y="77"/>
                        <a:pt x="168" y="77"/>
                      </a:cubicBezTo>
                      <a:cubicBezTo>
                        <a:pt x="154" y="75"/>
                        <a:pt x="154" y="75"/>
                        <a:pt x="154" y="75"/>
                      </a:cubicBezTo>
                      <a:cubicBezTo>
                        <a:pt x="154" y="71"/>
                        <a:pt x="153" y="68"/>
                        <a:pt x="152" y="65"/>
                      </a:cubicBezTo>
                      <a:cubicBezTo>
                        <a:pt x="163" y="57"/>
                        <a:pt x="163" y="57"/>
                        <a:pt x="163" y="57"/>
                      </a:cubicBezTo>
                      <a:cubicBezTo>
                        <a:pt x="164" y="56"/>
                        <a:pt x="165" y="55"/>
                        <a:pt x="165" y="54"/>
                      </a:cubicBezTo>
                      <a:cubicBezTo>
                        <a:pt x="165" y="54"/>
                        <a:pt x="165" y="53"/>
                        <a:pt x="165" y="53"/>
                      </a:cubicBezTo>
                      <a:cubicBezTo>
                        <a:pt x="164" y="52"/>
                        <a:pt x="163" y="51"/>
                        <a:pt x="161" y="52"/>
                      </a:cubicBezTo>
                      <a:cubicBezTo>
                        <a:pt x="147" y="54"/>
                        <a:pt x="147" y="54"/>
                        <a:pt x="147" y="54"/>
                      </a:cubicBezTo>
                      <a:cubicBezTo>
                        <a:pt x="146" y="51"/>
                        <a:pt x="144" y="48"/>
                        <a:pt x="142" y="45"/>
                      </a:cubicBezTo>
                      <a:cubicBezTo>
                        <a:pt x="151" y="34"/>
                        <a:pt x="151" y="34"/>
                        <a:pt x="151" y="34"/>
                      </a:cubicBezTo>
                      <a:cubicBezTo>
                        <a:pt x="151" y="34"/>
                        <a:pt x="152" y="33"/>
                        <a:pt x="152" y="32"/>
                      </a:cubicBezTo>
                      <a:cubicBezTo>
                        <a:pt x="152" y="31"/>
                        <a:pt x="151" y="31"/>
                        <a:pt x="151" y="30"/>
                      </a:cubicBezTo>
                      <a:cubicBezTo>
                        <a:pt x="150" y="29"/>
                        <a:pt x="148" y="29"/>
                        <a:pt x="147" y="30"/>
                      </a:cubicBezTo>
                      <a:cubicBezTo>
                        <a:pt x="135" y="36"/>
                        <a:pt x="135" y="36"/>
                        <a:pt x="135" y="36"/>
                      </a:cubicBezTo>
                      <a:cubicBezTo>
                        <a:pt x="132" y="34"/>
                        <a:pt x="130" y="32"/>
                        <a:pt x="127" y="30"/>
                      </a:cubicBezTo>
                      <a:cubicBezTo>
                        <a:pt x="132" y="16"/>
                        <a:pt x="132" y="16"/>
                        <a:pt x="132" y="16"/>
                      </a:cubicBezTo>
                      <a:cubicBezTo>
                        <a:pt x="132" y="16"/>
                        <a:pt x="132" y="16"/>
                        <a:pt x="132" y="15"/>
                      </a:cubicBezTo>
                      <a:cubicBezTo>
                        <a:pt x="132" y="14"/>
                        <a:pt x="132" y="13"/>
                        <a:pt x="131" y="13"/>
                      </a:cubicBezTo>
                      <a:cubicBezTo>
                        <a:pt x="129" y="12"/>
                        <a:pt x="128" y="12"/>
                        <a:pt x="127" y="14"/>
                      </a:cubicBezTo>
                      <a:cubicBezTo>
                        <a:pt x="117" y="23"/>
                        <a:pt x="117" y="23"/>
                        <a:pt x="117" y="23"/>
                      </a:cubicBezTo>
                      <a:cubicBezTo>
                        <a:pt x="114" y="22"/>
                        <a:pt x="111" y="21"/>
                        <a:pt x="108" y="20"/>
                      </a:cubicBezTo>
                      <a:cubicBezTo>
                        <a:pt x="108" y="6"/>
                        <a:pt x="108" y="6"/>
                        <a:pt x="108" y="6"/>
                      </a:cubicBezTo>
                      <a:cubicBezTo>
                        <a:pt x="108" y="5"/>
                        <a:pt x="108" y="5"/>
                        <a:pt x="108" y="5"/>
                      </a:cubicBezTo>
                      <a:cubicBezTo>
                        <a:pt x="108" y="4"/>
                        <a:pt x="107" y="3"/>
                        <a:pt x="106" y="2"/>
                      </a:cubicBezTo>
                      <a:cubicBezTo>
                        <a:pt x="105" y="2"/>
                        <a:pt x="103" y="3"/>
                        <a:pt x="103" y="4"/>
                      </a:cubicBezTo>
                      <a:cubicBezTo>
                        <a:pt x="96" y="17"/>
                        <a:pt x="96" y="17"/>
                        <a:pt x="96" y="17"/>
                      </a:cubicBezTo>
                      <a:cubicBezTo>
                        <a:pt x="93" y="16"/>
                        <a:pt x="90" y="16"/>
                        <a:pt x="86" y="16"/>
                      </a:cubicBezTo>
                      <a:cubicBezTo>
                        <a:pt x="82" y="3"/>
                        <a:pt x="82" y="3"/>
                        <a:pt x="82" y="3"/>
                      </a:cubicBezTo>
                      <a:cubicBezTo>
                        <a:pt x="82" y="1"/>
                        <a:pt x="81" y="0"/>
                        <a:pt x="79" y="0"/>
                      </a:cubicBezTo>
                      <a:cubicBezTo>
                        <a:pt x="78" y="0"/>
                        <a:pt x="77" y="1"/>
                        <a:pt x="77" y="3"/>
                      </a:cubicBezTo>
                      <a:cubicBezTo>
                        <a:pt x="77" y="3"/>
                        <a:pt x="77" y="3"/>
                        <a:pt x="77" y="3"/>
                      </a:cubicBezTo>
                      <a:cubicBezTo>
                        <a:pt x="75" y="17"/>
                        <a:pt x="75" y="17"/>
                        <a:pt x="75" y="17"/>
                      </a:cubicBezTo>
                      <a:cubicBezTo>
                        <a:pt x="71" y="17"/>
                        <a:pt x="68" y="18"/>
                        <a:pt x="65" y="19"/>
                      </a:cubicBezTo>
                      <a:cubicBezTo>
                        <a:pt x="57" y="8"/>
                        <a:pt x="57" y="8"/>
                        <a:pt x="57" y="8"/>
                      </a:cubicBezTo>
                      <a:cubicBezTo>
                        <a:pt x="56" y="6"/>
                        <a:pt x="55" y="5"/>
                        <a:pt x="53" y="6"/>
                      </a:cubicBezTo>
                      <a:cubicBezTo>
                        <a:pt x="52" y="6"/>
                        <a:pt x="52" y="7"/>
                        <a:pt x="52" y="9"/>
                      </a:cubicBezTo>
                      <a:cubicBezTo>
                        <a:pt x="52" y="9"/>
                        <a:pt x="52" y="9"/>
                        <a:pt x="52" y="10"/>
                      </a:cubicBezTo>
                      <a:cubicBezTo>
                        <a:pt x="54" y="23"/>
                        <a:pt x="54" y="23"/>
                        <a:pt x="54" y="23"/>
                      </a:cubicBezTo>
                      <a:cubicBezTo>
                        <a:pt x="51" y="25"/>
                        <a:pt x="48" y="27"/>
                        <a:pt x="45" y="29"/>
                      </a:cubicBezTo>
                      <a:cubicBezTo>
                        <a:pt x="34" y="20"/>
                        <a:pt x="34" y="20"/>
                        <a:pt x="34" y="20"/>
                      </a:cubicBezTo>
                      <a:cubicBezTo>
                        <a:pt x="33" y="19"/>
                        <a:pt x="32" y="19"/>
                        <a:pt x="30" y="20"/>
                      </a:cubicBezTo>
                      <a:cubicBezTo>
                        <a:pt x="30" y="20"/>
                        <a:pt x="29" y="21"/>
                        <a:pt x="29" y="22"/>
                      </a:cubicBezTo>
                      <a:cubicBezTo>
                        <a:pt x="29" y="23"/>
                        <a:pt x="30" y="23"/>
                        <a:pt x="30" y="24"/>
                      </a:cubicBezTo>
                      <a:cubicBezTo>
                        <a:pt x="36" y="36"/>
                        <a:pt x="36" y="36"/>
                        <a:pt x="36" y="36"/>
                      </a:cubicBezTo>
                      <a:cubicBezTo>
                        <a:pt x="34" y="39"/>
                        <a:pt x="32" y="41"/>
                        <a:pt x="30" y="44"/>
                      </a:cubicBezTo>
                      <a:cubicBezTo>
                        <a:pt x="17" y="39"/>
                        <a:pt x="17" y="39"/>
                        <a:pt x="17" y="39"/>
                      </a:cubicBezTo>
                      <a:cubicBezTo>
                        <a:pt x="15" y="38"/>
                        <a:pt x="14" y="39"/>
                        <a:pt x="13" y="40"/>
                      </a:cubicBezTo>
                      <a:cubicBezTo>
                        <a:pt x="13" y="41"/>
                        <a:pt x="12" y="41"/>
                        <a:pt x="12" y="42"/>
                      </a:cubicBezTo>
                      <a:cubicBezTo>
                        <a:pt x="12" y="42"/>
                        <a:pt x="13" y="43"/>
                        <a:pt x="14" y="44"/>
                      </a:cubicBezTo>
                      <a:cubicBezTo>
                        <a:pt x="24" y="54"/>
                        <a:pt x="24" y="54"/>
                        <a:pt x="24" y="54"/>
                      </a:cubicBezTo>
                      <a:cubicBezTo>
                        <a:pt x="22" y="57"/>
                        <a:pt x="21" y="60"/>
                        <a:pt x="20" y="63"/>
                      </a:cubicBezTo>
                      <a:cubicBezTo>
                        <a:pt x="6" y="63"/>
                        <a:pt x="6" y="63"/>
                        <a:pt x="6" y="63"/>
                      </a:cubicBezTo>
                      <a:cubicBezTo>
                        <a:pt x="4" y="62"/>
                        <a:pt x="3" y="63"/>
                        <a:pt x="2" y="65"/>
                      </a:cubicBezTo>
                      <a:cubicBezTo>
                        <a:pt x="2" y="65"/>
                        <a:pt x="2" y="65"/>
                        <a:pt x="2" y="65"/>
                      </a:cubicBezTo>
                      <a:cubicBezTo>
                        <a:pt x="2" y="67"/>
                        <a:pt x="3" y="68"/>
                        <a:pt x="4" y="68"/>
                      </a:cubicBezTo>
                      <a:cubicBezTo>
                        <a:pt x="17" y="74"/>
                        <a:pt x="17" y="74"/>
                        <a:pt x="17" y="74"/>
                      </a:cubicBezTo>
                      <a:cubicBezTo>
                        <a:pt x="16" y="78"/>
                        <a:pt x="16" y="81"/>
                        <a:pt x="16" y="84"/>
                      </a:cubicBezTo>
                      <a:cubicBezTo>
                        <a:pt x="3" y="89"/>
                        <a:pt x="3" y="89"/>
                        <a:pt x="3" y="89"/>
                      </a:cubicBezTo>
                      <a:cubicBezTo>
                        <a:pt x="1" y="89"/>
                        <a:pt x="0" y="90"/>
                        <a:pt x="0" y="91"/>
                      </a:cubicBezTo>
                      <a:cubicBezTo>
                        <a:pt x="0" y="91"/>
                        <a:pt x="0" y="91"/>
                        <a:pt x="0" y="91"/>
                      </a:cubicBezTo>
                      <a:cubicBezTo>
                        <a:pt x="0" y="93"/>
                        <a:pt x="2" y="94"/>
                        <a:pt x="3" y="94"/>
                      </a:cubicBezTo>
                      <a:cubicBezTo>
                        <a:pt x="17" y="96"/>
                        <a:pt x="17" y="96"/>
                        <a:pt x="17" y="96"/>
                      </a:cubicBezTo>
                      <a:cubicBezTo>
                        <a:pt x="17" y="99"/>
                        <a:pt x="18" y="103"/>
                        <a:pt x="19" y="106"/>
                      </a:cubicBezTo>
                      <a:cubicBezTo>
                        <a:pt x="8" y="114"/>
                        <a:pt x="8" y="114"/>
                        <a:pt x="8" y="114"/>
                      </a:cubicBezTo>
                      <a:cubicBezTo>
                        <a:pt x="7" y="114"/>
                        <a:pt x="6" y="115"/>
                        <a:pt x="6" y="116"/>
                      </a:cubicBezTo>
                      <a:cubicBezTo>
                        <a:pt x="6" y="117"/>
                        <a:pt x="6" y="117"/>
                        <a:pt x="6" y="118"/>
                      </a:cubicBezTo>
                      <a:cubicBezTo>
                        <a:pt x="7" y="119"/>
                        <a:pt x="8" y="120"/>
                        <a:pt x="10" y="119"/>
                      </a:cubicBezTo>
                      <a:cubicBezTo>
                        <a:pt x="24" y="117"/>
                        <a:pt x="24" y="117"/>
                        <a:pt x="24" y="117"/>
                      </a:cubicBezTo>
                      <a:cubicBezTo>
                        <a:pt x="25" y="120"/>
                        <a:pt x="27" y="123"/>
                        <a:pt x="29" y="125"/>
                      </a:cubicBezTo>
                      <a:cubicBezTo>
                        <a:pt x="20" y="137"/>
                        <a:pt x="20" y="137"/>
                        <a:pt x="20" y="137"/>
                      </a:cubicBezTo>
                      <a:cubicBezTo>
                        <a:pt x="20" y="137"/>
                        <a:pt x="19" y="138"/>
                        <a:pt x="19" y="139"/>
                      </a:cubicBezTo>
                      <a:cubicBezTo>
                        <a:pt x="19" y="139"/>
                        <a:pt x="20" y="140"/>
                        <a:pt x="20" y="140"/>
                      </a:cubicBezTo>
                      <a:cubicBezTo>
                        <a:pt x="21" y="142"/>
                        <a:pt x="23" y="142"/>
                        <a:pt x="24" y="141"/>
                      </a:cubicBezTo>
                      <a:cubicBezTo>
                        <a:pt x="36" y="134"/>
                        <a:pt x="36" y="134"/>
                        <a:pt x="36" y="134"/>
                      </a:cubicBezTo>
                      <a:cubicBezTo>
                        <a:pt x="39" y="137"/>
                        <a:pt x="41" y="139"/>
                        <a:pt x="44" y="141"/>
                      </a:cubicBezTo>
                      <a:cubicBezTo>
                        <a:pt x="39" y="154"/>
                        <a:pt x="39" y="154"/>
                        <a:pt x="39" y="154"/>
                      </a:cubicBezTo>
                      <a:cubicBezTo>
                        <a:pt x="39" y="155"/>
                        <a:pt x="39" y="155"/>
                        <a:pt x="39" y="156"/>
                      </a:cubicBezTo>
                      <a:cubicBezTo>
                        <a:pt x="39" y="157"/>
                        <a:pt x="39" y="157"/>
                        <a:pt x="40" y="158"/>
                      </a:cubicBezTo>
                      <a:cubicBezTo>
                        <a:pt x="42" y="159"/>
                        <a:pt x="43" y="158"/>
                        <a:pt x="44" y="157"/>
                      </a:cubicBezTo>
                      <a:cubicBezTo>
                        <a:pt x="54" y="147"/>
                        <a:pt x="54" y="147"/>
                        <a:pt x="54" y="147"/>
                      </a:cubicBezTo>
                      <a:cubicBezTo>
                        <a:pt x="57" y="149"/>
                        <a:pt x="60" y="150"/>
                        <a:pt x="63" y="151"/>
                      </a:cubicBezTo>
                      <a:cubicBezTo>
                        <a:pt x="63" y="165"/>
                        <a:pt x="63" y="165"/>
                        <a:pt x="63" y="165"/>
                      </a:cubicBezTo>
                      <a:cubicBezTo>
                        <a:pt x="63" y="165"/>
                        <a:pt x="63" y="166"/>
                        <a:pt x="63" y="166"/>
                      </a:cubicBezTo>
                      <a:cubicBezTo>
                        <a:pt x="63" y="167"/>
                        <a:pt x="64" y="168"/>
                        <a:pt x="65" y="168"/>
                      </a:cubicBezTo>
                      <a:cubicBezTo>
                        <a:pt x="66" y="169"/>
                        <a:pt x="68" y="168"/>
                        <a:pt x="68" y="166"/>
                      </a:cubicBezTo>
                      <a:cubicBezTo>
                        <a:pt x="75" y="154"/>
                        <a:pt x="75" y="154"/>
                        <a:pt x="75" y="154"/>
                      </a:cubicBezTo>
                      <a:cubicBezTo>
                        <a:pt x="78" y="154"/>
                        <a:pt x="81" y="155"/>
                        <a:pt x="85" y="155"/>
                      </a:cubicBezTo>
                      <a:cubicBezTo>
                        <a:pt x="89" y="168"/>
                        <a:pt x="89" y="168"/>
                        <a:pt x="89" y="168"/>
                      </a:cubicBezTo>
                      <a:cubicBezTo>
                        <a:pt x="89" y="170"/>
                        <a:pt x="90" y="171"/>
                        <a:pt x="91" y="171"/>
                      </a:cubicBezTo>
                      <a:cubicBezTo>
                        <a:pt x="91" y="171"/>
                        <a:pt x="92" y="171"/>
                        <a:pt x="92" y="171"/>
                      </a:cubicBezTo>
                      <a:cubicBezTo>
                        <a:pt x="93" y="171"/>
                        <a:pt x="94" y="169"/>
                        <a:pt x="94" y="168"/>
                      </a:cubicBezTo>
                      <a:cubicBezTo>
                        <a:pt x="94" y="168"/>
                        <a:pt x="94" y="168"/>
                        <a:pt x="94" y="168"/>
                      </a:cubicBezTo>
                      <a:cubicBezTo>
                        <a:pt x="96" y="154"/>
                        <a:pt x="96" y="154"/>
                        <a:pt x="96" y="154"/>
                      </a:cubicBezTo>
                      <a:cubicBezTo>
                        <a:pt x="100" y="153"/>
                        <a:pt x="103" y="153"/>
                        <a:pt x="106" y="152"/>
                      </a:cubicBezTo>
                      <a:cubicBezTo>
                        <a:pt x="114" y="163"/>
                        <a:pt x="114" y="163"/>
                        <a:pt x="114" y="163"/>
                      </a:cubicBezTo>
                      <a:cubicBezTo>
                        <a:pt x="115" y="165"/>
                        <a:pt x="116" y="165"/>
                        <a:pt x="118" y="165"/>
                      </a:cubicBezTo>
                      <a:cubicBezTo>
                        <a:pt x="119" y="164"/>
                        <a:pt x="119" y="163"/>
                        <a:pt x="119" y="162"/>
                      </a:cubicBezTo>
                      <a:cubicBezTo>
                        <a:pt x="119" y="162"/>
                        <a:pt x="119" y="161"/>
                        <a:pt x="119" y="161"/>
                      </a:cubicBezTo>
                      <a:cubicBezTo>
                        <a:pt x="117" y="147"/>
                        <a:pt x="117" y="147"/>
                        <a:pt x="117" y="147"/>
                      </a:cubicBezTo>
                      <a:cubicBezTo>
                        <a:pt x="120" y="146"/>
                        <a:pt x="123" y="144"/>
                        <a:pt x="126" y="142"/>
                      </a:cubicBezTo>
                      <a:cubicBezTo>
                        <a:pt x="137" y="150"/>
                        <a:pt x="137" y="150"/>
                        <a:pt x="137" y="150"/>
                      </a:cubicBezTo>
                      <a:cubicBezTo>
                        <a:pt x="138" y="152"/>
                        <a:pt x="139" y="152"/>
                        <a:pt x="141" y="151"/>
                      </a:cubicBezTo>
                      <a:cubicBezTo>
                        <a:pt x="141" y="150"/>
                        <a:pt x="142" y="149"/>
                        <a:pt x="142" y="149"/>
                      </a:cubicBezTo>
                      <a:cubicBezTo>
                        <a:pt x="142" y="148"/>
                        <a:pt x="141" y="147"/>
                        <a:pt x="141" y="147"/>
                      </a:cubicBezTo>
                      <a:cubicBezTo>
                        <a:pt x="135" y="134"/>
                        <a:pt x="135" y="134"/>
                        <a:pt x="135" y="134"/>
                      </a:cubicBezTo>
                      <a:cubicBezTo>
                        <a:pt x="137" y="132"/>
                        <a:pt x="139" y="130"/>
                        <a:pt x="141" y="127"/>
                      </a:cubicBezTo>
                      <a:cubicBezTo>
                        <a:pt x="154" y="131"/>
                        <a:pt x="154" y="131"/>
                        <a:pt x="154" y="131"/>
                      </a:cubicBezTo>
                      <a:cubicBezTo>
                        <a:pt x="156" y="132"/>
                        <a:pt x="157" y="132"/>
                        <a:pt x="158" y="131"/>
                      </a:cubicBezTo>
                      <a:cubicBezTo>
                        <a:pt x="158" y="130"/>
                        <a:pt x="159" y="130"/>
                        <a:pt x="159" y="129"/>
                      </a:cubicBezTo>
                      <a:cubicBezTo>
                        <a:pt x="159" y="128"/>
                        <a:pt x="158" y="127"/>
                        <a:pt x="157" y="127"/>
                      </a:cubicBezTo>
                      <a:cubicBezTo>
                        <a:pt x="147" y="117"/>
                        <a:pt x="147" y="117"/>
                        <a:pt x="147" y="117"/>
                      </a:cubicBezTo>
                      <a:cubicBezTo>
                        <a:pt x="149" y="114"/>
                        <a:pt x="150" y="111"/>
                        <a:pt x="151" y="108"/>
                      </a:cubicBezTo>
                      <a:cubicBezTo>
                        <a:pt x="165" y="108"/>
                        <a:pt x="165" y="108"/>
                        <a:pt x="165" y="108"/>
                      </a:cubicBezTo>
                      <a:cubicBezTo>
                        <a:pt x="167" y="108"/>
                        <a:pt x="168" y="107"/>
                        <a:pt x="169" y="106"/>
                      </a:cubicBezTo>
                      <a:cubicBezTo>
                        <a:pt x="169" y="106"/>
                        <a:pt x="169" y="105"/>
                        <a:pt x="169" y="105"/>
                      </a:cubicBezTo>
                      <a:cubicBezTo>
                        <a:pt x="169" y="104"/>
                        <a:pt x="168" y="103"/>
                        <a:pt x="167" y="103"/>
                      </a:cubicBezTo>
                      <a:cubicBezTo>
                        <a:pt x="154" y="96"/>
                        <a:pt x="154" y="96"/>
                        <a:pt x="154" y="96"/>
                      </a:cubicBezTo>
                      <a:cubicBezTo>
                        <a:pt x="155" y="93"/>
                        <a:pt x="155" y="90"/>
                        <a:pt x="155" y="86"/>
                      </a:cubicBezTo>
                      <a:lnTo>
                        <a:pt x="168" y="82"/>
                      </a:lnTo>
                      <a:close/>
                      <a:moveTo>
                        <a:pt x="86" y="101"/>
                      </a:moveTo>
                      <a:cubicBezTo>
                        <a:pt x="77" y="101"/>
                        <a:pt x="70" y="94"/>
                        <a:pt x="70" y="85"/>
                      </a:cubicBezTo>
                      <a:cubicBezTo>
                        <a:pt x="70" y="77"/>
                        <a:pt x="77" y="70"/>
                        <a:pt x="86" y="70"/>
                      </a:cubicBezTo>
                      <a:cubicBezTo>
                        <a:pt x="94" y="70"/>
                        <a:pt x="101" y="77"/>
                        <a:pt x="101" y="85"/>
                      </a:cubicBezTo>
                      <a:cubicBezTo>
                        <a:pt x="101" y="94"/>
                        <a:pt x="94" y="101"/>
                        <a:pt x="86" y="10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20"/>
                <p:cNvSpPr>
                  <a:spLocks noEditPoints="1"/>
                </p:cNvSpPr>
                <p:nvPr/>
              </p:nvSpPr>
              <p:spPr bwMode="auto">
                <a:xfrm>
                  <a:off x="-1333500" y="1651000"/>
                  <a:ext cx="454025" cy="454025"/>
                </a:xfrm>
                <a:custGeom>
                  <a:avLst/>
                  <a:gdLst>
                    <a:gd name="T0" fmla="*/ 121 w 121"/>
                    <a:gd name="T1" fmla="*/ 56 h 121"/>
                    <a:gd name="T2" fmla="*/ 119 w 121"/>
                    <a:gd name="T3" fmla="*/ 54 h 121"/>
                    <a:gd name="T4" fmla="*/ 108 w 121"/>
                    <a:gd name="T5" fmla="*/ 46 h 121"/>
                    <a:gd name="T6" fmla="*/ 117 w 121"/>
                    <a:gd name="T7" fmla="*/ 38 h 121"/>
                    <a:gd name="T8" fmla="*/ 115 w 121"/>
                    <a:gd name="T9" fmla="*/ 37 h 121"/>
                    <a:gd name="T10" fmla="*/ 101 w 121"/>
                    <a:gd name="T11" fmla="*/ 32 h 121"/>
                    <a:gd name="T12" fmla="*/ 108 w 121"/>
                    <a:gd name="T13" fmla="*/ 23 h 121"/>
                    <a:gd name="T14" fmla="*/ 105 w 121"/>
                    <a:gd name="T15" fmla="*/ 21 h 121"/>
                    <a:gd name="T16" fmla="*/ 90 w 121"/>
                    <a:gd name="T17" fmla="*/ 21 h 121"/>
                    <a:gd name="T18" fmla="*/ 94 w 121"/>
                    <a:gd name="T19" fmla="*/ 11 h 121"/>
                    <a:gd name="T20" fmla="*/ 90 w 121"/>
                    <a:gd name="T21" fmla="*/ 10 h 121"/>
                    <a:gd name="T22" fmla="*/ 77 w 121"/>
                    <a:gd name="T23" fmla="*/ 14 h 121"/>
                    <a:gd name="T24" fmla="*/ 77 w 121"/>
                    <a:gd name="T25" fmla="*/ 3 h 121"/>
                    <a:gd name="T26" fmla="*/ 73 w 121"/>
                    <a:gd name="T27" fmla="*/ 3 h 121"/>
                    <a:gd name="T28" fmla="*/ 61 w 121"/>
                    <a:gd name="T29" fmla="*/ 11 h 121"/>
                    <a:gd name="T30" fmla="*/ 56 w 121"/>
                    <a:gd name="T31" fmla="*/ 0 h 121"/>
                    <a:gd name="T32" fmla="*/ 55 w 121"/>
                    <a:gd name="T33" fmla="*/ 2 h 121"/>
                    <a:gd name="T34" fmla="*/ 46 w 121"/>
                    <a:gd name="T35" fmla="*/ 13 h 121"/>
                    <a:gd name="T36" fmla="*/ 38 w 121"/>
                    <a:gd name="T37" fmla="*/ 4 h 121"/>
                    <a:gd name="T38" fmla="*/ 37 w 121"/>
                    <a:gd name="T39" fmla="*/ 7 h 121"/>
                    <a:gd name="T40" fmla="*/ 32 w 121"/>
                    <a:gd name="T41" fmla="*/ 20 h 121"/>
                    <a:gd name="T42" fmla="*/ 22 w 121"/>
                    <a:gd name="T43" fmla="*/ 14 h 121"/>
                    <a:gd name="T44" fmla="*/ 21 w 121"/>
                    <a:gd name="T45" fmla="*/ 17 h 121"/>
                    <a:gd name="T46" fmla="*/ 21 w 121"/>
                    <a:gd name="T47" fmla="*/ 31 h 121"/>
                    <a:gd name="T48" fmla="*/ 9 w 121"/>
                    <a:gd name="T49" fmla="*/ 28 h 121"/>
                    <a:gd name="T50" fmla="*/ 10 w 121"/>
                    <a:gd name="T51" fmla="*/ 31 h 121"/>
                    <a:gd name="T52" fmla="*/ 14 w 121"/>
                    <a:gd name="T53" fmla="*/ 45 h 121"/>
                    <a:gd name="T54" fmla="*/ 2 w 121"/>
                    <a:gd name="T55" fmla="*/ 46 h 121"/>
                    <a:gd name="T56" fmla="*/ 3 w 121"/>
                    <a:gd name="T57" fmla="*/ 48 h 121"/>
                    <a:gd name="T58" fmla="*/ 11 w 121"/>
                    <a:gd name="T59" fmla="*/ 60 h 121"/>
                    <a:gd name="T60" fmla="*/ 0 w 121"/>
                    <a:gd name="T61" fmla="*/ 65 h 121"/>
                    <a:gd name="T62" fmla="*/ 2 w 121"/>
                    <a:gd name="T63" fmla="*/ 67 h 121"/>
                    <a:gd name="T64" fmla="*/ 14 w 121"/>
                    <a:gd name="T65" fmla="*/ 75 h 121"/>
                    <a:gd name="T66" fmla="*/ 4 w 121"/>
                    <a:gd name="T67" fmla="*/ 83 h 121"/>
                    <a:gd name="T68" fmla="*/ 7 w 121"/>
                    <a:gd name="T69" fmla="*/ 84 h 121"/>
                    <a:gd name="T70" fmla="*/ 20 w 121"/>
                    <a:gd name="T71" fmla="*/ 89 h 121"/>
                    <a:gd name="T72" fmla="*/ 14 w 121"/>
                    <a:gd name="T73" fmla="*/ 98 h 121"/>
                    <a:gd name="T74" fmla="*/ 17 w 121"/>
                    <a:gd name="T75" fmla="*/ 100 h 121"/>
                    <a:gd name="T76" fmla="*/ 31 w 121"/>
                    <a:gd name="T77" fmla="*/ 100 h 121"/>
                    <a:gd name="T78" fmla="*/ 28 w 121"/>
                    <a:gd name="T79" fmla="*/ 110 h 121"/>
                    <a:gd name="T80" fmla="*/ 31 w 121"/>
                    <a:gd name="T81" fmla="*/ 112 h 121"/>
                    <a:gd name="T82" fmla="*/ 45 w 121"/>
                    <a:gd name="T83" fmla="*/ 107 h 121"/>
                    <a:gd name="T84" fmla="*/ 45 w 121"/>
                    <a:gd name="T85" fmla="*/ 118 h 121"/>
                    <a:gd name="T86" fmla="*/ 49 w 121"/>
                    <a:gd name="T87" fmla="*/ 118 h 121"/>
                    <a:gd name="T88" fmla="*/ 60 w 121"/>
                    <a:gd name="T89" fmla="*/ 110 h 121"/>
                    <a:gd name="T90" fmla="*/ 65 w 121"/>
                    <a:gd name="T91" fmla="*/ 121 h 121"/>
                    <a:gd name="T92" fmla="*/ 67 w 121"/>
                    <a:gd name="T93" fmla="*/ 119 h 121"/>
                    <a:gd name="T94" fmla="*/ 68 w 121"/>
                    <a:gd name="T95" fmla="*/ 109 h 121"/>
                    <a:gd name="T96" fmla="*/ 81 w 121"/>
                    <a:gd name="T97" fmla="*/ 116 h 121"/>
                    <a:gd name="T98" fmla="*/ 85 w 121"/>
                    <a:gd name="T99" fmla="*/ 115 h 121"/>
                    <a:gd name="T100" fmla="*/ 83 w 121"/>
                    <a:gd name="T101" fmla="*/ 104 h 121"/>
                    <a:gd name="T102" fmla="*/ 97 w 121"/>
                    <a:gd name="T103" fmla="*/ 107 h 121"/>
                    <a:gd name="T104" fmla="*/ 101 w 121"/>
                    <a:gd name="T105" fmla="*/ 106 h 121"/>
                    <a:gd name="T106" fmla="*/ 96 w 121"/>
                    <a:gd name="T107" fmla="*/ 95 h 121"/>
                    <a:gd name="T108" fmla="*/ 110 w 121"/>
                    <a:gd name="T109" fmla="*/ 93 h 121"/>
                    <a:gd name="T110" fmla="*/ 113 w 121"/>
                    <a:gd name="T111" fmla="*/ 92 h 121"/>
                    <a:gd name="T112" fmla="*/ 105 w 121"/>
                    <a:gd name="T113" fmla="*/ 83 h 121"/>
                    <a:gd name="T114" fmla="*/ 117 w 121"/>
                    <a:gd name="T115" fmla="*/ 77 h 121"/>
                    <a:gd name="T116" fmla="*/ 120 w 121"/>
                    <a:gd name="T117" fmla="*/ 75 h 121"/>
                    <a:gd name="T118" fmla="*/ 109 w 121"/>
                    <a:gd name="T119" fmla="*/ 68 h 121"/>
                    <a:gd name="T120" fmla="*/ 120 w 121"/>
                    <a:gd name="T121" fmla="*/ 58 h 121"/>
                    <a:gd name="T122" fmla="*/ 50 w 121"/>
                    <a:gd name="T123" fmla="*/ 61 h 121"/>
                    <a:gd name="T124" fmla="*/ 72 w 121"/>
                    <a:gd name="T125" fmla="*/ 6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1" h="121">
                      <a:moveTo>
                        <a:pt x="120" y="58"/>
                      </a:moveTo>
                      <a:cubicBezTo>
                        <a:pt x="121" y="58"/>
                        <a:pt x="121" y="57"/>
                        <a:pt x="121" y="56"/>
                      </a:cubicBezTo>
                      <a:cubicBezTo>
                        <a:pt x="121" y="56"/>
                        <a:pt x="121" y="56"/>
                        <a:pt x="121" y="56"/>
                      </a:cubicBezTo>
                      <a:cubicBezTo>
                        <a:pt x="121" y="55"/>
                        <a:pt x="120" y="54"/>
                        <a:pt x="119" y="54"/>
                      </a:cubicBezTo>
                      <a:cubicBezTo>
                        <a:pt x="110" y="53"/>
                        <a:pt x="110" y="53"/>
                        <a:pt x="110" y="53"/>
                      </a:cubicBezTo>
                      <a:cubicBezTo>
                        <a:pt x="109" y="50"/>
                        <a:pt x="109" y="48"/>
                        <a:pt x="108" y="46"/>
                      </a:cubicBezTo>
                      <a:cubicBezTo>
                        <a:pt x="116" y="40"/>
                        <a:pt x="116" y="40"/>
                        <a:pt x="116" y="40"/>
                      </a:cubicBezTo>
                      <a:cubicBezTo>
                        <a:pt x="117" y="40"/>
                        <a:pt x="117" y="39"/>
                        <a:pt x="117" y="38"/>
                      </a:cubicBezTo>
                      <a:cubicBezTo>
                        <a:pt x="117" y="38"/>
                        <a:pt x="117" y="38"/>
                        <a:pt x="117" y="38"/>
                      </a:cubicBezTo>
                      <a:cubicBezTo>
                        <a:pt x="117" y="37"/>
                        <a:pt x="116" y="36"/>
                        <a:pt x="115" y="37"/>
                      </a:cubicBezTo>
                      <a:cubicBezTo>
                        <a:pt x="105" y="38"/>
                        <a:pt x="105" y="38"/>
                        <a:pt x="105" y="38"/>
                      </a:cubicBezTo>
                      <a:cubicBezTo>
                        <a:pt x="104" y="36"/>
                        <a:pt x="102" y="34"/>
                        <a:pt x="101" y="32"/>
                      </a:cubicBezTo>
                      <a:cubicBezTo>
                        <a:pt x="107" y="24"/>
                        <a:pt x="107" y="24"/>
                        <a:pt x="107" y="24"/>
                      </a:cubicBezTo>
                      <a:cubicBezTo>
                        <a:pt x="108" y="24"/>
                        <a:pt x="108" y="23"/>
                        <a:pt x="108" y="23"/>
                      </a:cubicBezTo>
                      <a:cubicBezTo>
                        <a:pt x="108" y="22"/>
                        <a:pt x="108" y="22"/>
                        <a:pt x="107" y="21"/>
                      </a:cubicBezTo>
                      <a:cubicBezTo>
                        <a:pt x="107" y="21"/>
                        <a:pt x="105" y="20"/>
                        <a:pt x="105" y="21"/>
                      </a:cubicBezTo>
                      <a:cubicBezTo>
                        <a:pt x="96" y="26"/>
                        <a:pt x="96" y="26"/>
                        <a:pt x="96" y="26"/>
                      </a:cubicBezTo>
                      <a:cubicBezTo>
                        <a:pt x="94" y="24"/>
                        <a:pt x="92" y="22"/>
                        <a:pt x="90" y="21"/>
                      </a:cubicBezTo>
                      <a:cubicBezTo>
                        <a:pt x="94" y="12"/>
                        <a:pt x="94" y="12"/>
                        <a:pt x="94" y="12"/>
                      </a:cubicBezTo>
                      <a:cubicBezTo>
                        <a:pt x="94" y="11"/>
                        <a:pt x="94" y="11"/>
                        <a:pt x="94" y="11"/>
                      </a:cubicBezTo>
                      <a:cubicBezTo>
                        <a:pt x="94" y="10"/>
                        <a:pt x="94" y="9"/>
                        <a:pt x="93" y="9"/>
                      </a:cubicBezTo>
                      <a:cubicBezTo>
                        <a:pt x="92" y="8"/>
                        <a:pt x="91" y="9"/>
                        <a:pt x="90" y="10"/>
                      </a:cubicBezTo>
                      <a:cubicBezTo>
                        <a:pt x="83" y="17"/>
                        <a:pt x="83" y="17"/>
                        <a:pt x="83" y="17"/>
                      </a:cubicBezTo>
                      <a:cubicBezTo>
                        <a:pt x="81" y="15"/>
                        <a:pt x="79" y="15"/>
                        <a:pt x="77" y="14"/>
                      </a:cubicBezTo>
                      <a:cubicBezTo>
                        <a:pt x="77" y="4"/>
                        <a:pt x="77" y="4"/>
                        <a:pt x="77" y="4"/>
                      </a:cubicBezTo>
                      <a:cubicBezTo>
                        <a:pt x="77" y="4"/>
                        <a:pt x="77" y="4"/>
                        <a:pt x="77" y="3"/>
                      </a:cubicBezTo>
                      <a:cubicBezTo>
                        <a:pt x="77" y="2"/>
                        <a:pt x="76" y="2"/>
                        <a:pt x="75" y="1"/>
                      </a:cubicBezTo>
                      <a:cubicBezTo>
                        <a:pt x="74" y="1"/>
                        <a:pt x="73" y="2"/>
                        <a:pt x="73" y="3"/>
                      </a:cubicBezTo>
                      <a:cubicBezTo>
                        <a:pt x="69" y="12"/>
                        <a:pt x="69" y="12"/>
                        <a:pt x="69" y="12"/>
                      </a:cubicBezTo>
                      <a:cubicBezTo>
                        <a:pt x="66" y="11"/>
                        <a:pt x="64" y="11"/>
                        <a:pt x="61" y="11"/>
                      </a:cubicBezTo>
                      <a:cubicBezTo>
                        <a:pt x="59" y="2"/>
                        <a:pt x="59" y="2"/>
                        <a:pt x="59" y="2"/>
                      </a:cubicBezTo>
                      <a:cubicBezTo>
                        <a:pt x="58" y="1"/>
                        <a:pt x="58" y="0"/>
                        <a:pt x="56" y="0"/>
                      </a:cubicBezTo>
                      <a:cubicBezTo>
                        <a:pt x="55" y="0"/>
                        <a:pt x="55" y="1"/>
                        <a:pt x="55" y="2"/>
                      </a:cubicBezTo>
                      <a:cubicBezTo>
                        <a:pt x="55" y="2"/>
                        <a:pt x="55" y="2"/>
                        <a:pt x="55" y="2"/>
                      </a:cubicBezTo>
                      <a:cubicBezTo>
                        <a:pt x="53" y="12"/>
                        <a:pt x="53" y="12"/>
                        <a:pt x="53" y="12"/>
                      </a:cubicBezTo>
                      <a:cubicBezTo>
                        <a:pt x="51" y="12"/>
                        <a:pt x="48" y="13"/>
                        <a:pt x="46" y="13"/>
                      </a:cubicBezTo>
                      <a:cubicBezTo>
                        <a:pt x="40" y="5"/>
                        <a:pt x="40" y="5"/>
                        <a:pt x="40" y="5"/>
                      </a:cubicBezTo>
                      <a:cubicBezTo>
                        <a:pt x="40" y="4"/>
                        <a:pt x="39" y="4"/>
                        <a:pt x="38" y="4"/>
                      </a:cubicBezTo>
                      <a:cubicBezTo>
                        <a:pt x="37" y="4"/>
                        <a:pt x="37" y="5"/>
                        <a:pt x="37" y="6"/>
                      </a:cubicBezTo>
                      <a:cubicBezTo>
                        <a:pt x="37" y="6"/>
                        <a:pt x="37" y="6"/>
                        <a:pt x="37" y="7"/>
                      </a:cubicBezTo>
                      <a:cubicBezTo>
                        <a:pt x="38" y="17"/>
                        <a:pt x="38" y="17"/>
                        <a:pt x="38" y="17"/>
                      </a:cubicBezTo>
                      <a:cubicBezTo>
                        <a:pt x="36" y="18"/>
                        <a:pt x="34" y="19"/>
                        <a:pt x="32" y="20"/>
                      </a:cubicBezTo>
                      <a:cubicBezTo>
                        <a:pt x="24" y="14"/>
                        <a:pt x="24" y="14"/>
                        <a:pt x="24" y="14"/>
                      </a:cubicBezTo>
                      <a:cubicBezTo>
                        <a:pt x="24" y="13"/>
                        <a:pt x="22" y="13"/>
                        <a:pt x="22" y="14"/>
                      </a:cubicBezTo>
                      <a:cubicBezTo>
                        <a:pt x="21" y="14"/>
                        <a:pt x="21" y="15"/>
                        <a:pt x="21" y="15"/>
                      </a:cubicBezTo>
                      <a:cubicBezTo>
                        <a:pt x="21" y="16"/>
                        <a:pt x="21" y="16"/>
                        <a:pt x="21" y="17"/>
                      </a:cubicBezTo>
                      <a:cubicBezTo>
                        <a:pt x="26" y="26"/>
                        <a:pt x="26" y="26"/>
                        <a:pt x="26" y="26"/>
                      </a:cubicBezTo>
                      <a:cubicBezTo>
                        <a:pt x="24" y="27"/>
                        <a:pt x="23" y="29"/>
                        <a:pt x="21" y="31"/>
                      </a:cubicBezTo>
                      <a:cubicBezTo>
                        <a:pt x="12" y="28"/>
                        <a:pt x="12" y="28"/>
                        <a:pt x="12" y="28"/>
                      </a:cubicBezTo>
                      <a:cubicBezTo>
                        <a:pt x="11" y="27"/>
                        <a:pt x="10" y="27"/>
                        <a:pt x="9" y="28"/>
                      </a:cubicBezTo>
                      <a:cubicBezTo>
                        <a:pt x="9" y="29"/>
                        <a:pt x="9" y="29"/>
                        <a:pt x="9" y="29"/>
                      </a:cubicBezTo>
                      <a:cubicBezTo>
                        <a:pt x="9" y="30"/>
                        <a:pt x="9" y="31"/>
                        <a:pt x="10" y="31"/>
                      </a:cubicBezTo>
                      <a:cubicBezTo>
                        <a:pt x="17" y="38"/>
                        <a:pt x="17" y="38"/>
                        <a:pt x="17" y="38"/>
                      </a:cubicBezTo>
                      <a:cubicBezTo>
                        <a:pt x="16" y="40"/>
                        <a:pt x="15" y="42"/>
                        <a:pt x="14" y="45"/>
                      </a:cubicBezTo>
                      <a:cubicBezTo>
                        <a:pt x="4" y="44"/>
                        <a:pt x="4" y="44"/>
                        <a:pt x="4" y="44"/>
                      </a:cubicBezTo>
                      <a:cubicBezTo>
                        <a:pt x="3" y="44"/>
                        <a:pt x="2" y="45"/>
                        <a:pt x="2" y="46"/>
                      </a:cubicBezTo>
                      <a:cubicBezTo>
                        <a:pt x="2" y="46"/>
                        <a:pt x="2" y="46"/>
                        <a:pt x="2" y="46"/>
                      </a:cubicBezTo>
                      <a:cubicBezTo>
                        <a:pt x="2" y="47"/>
                        <a:pt x="2" y="48"/>
                        <a:pt x="3" y="48"/>
                      </a:cubicBezTo>
                      <a:cubicBezTo>
                        <a:pt x="12" y="53"/>
                        <a:pt x="12" y="53"/>
                        <a:pt x="12" y="53"/>
                      </a:cubicBezTo>
                      <a:cubicBezTo>
                        <a:pt x="12" y="55"/>
                        <a:pt x="11" y="57"/>
                        <a:pt x="11" y="60"/>
                      </a:cubicBezTo>
                      <a:cubicBezTo>
                        <a:pt x="2" y="63"/>
                        <a:pt x="2" y="63"/>
                        <a:pt x="2" y="63"/>
                      </a:cubicBezTo>
                      <a:cubicBezTo>
                        <a:pt x="1" y="63"/>
                        <a:pt x="0" y="64"/>
                        <a:pt x="0" y="65"/>
                      </a:cubicBezTo>
                      <a:cubicBezTo>
                        <a:pt x="0" y="65"/>
                        <a:pt x="0" y="65"/>
                        <a:pt x="0" y="65"/>
                      </a:cubicBezTo>
                      <a:cubicBezTo>
                        <a:pt x="0" y="66"/>
                        <a:pt x="1" y="67"/>
                        <a:pt x="2" y="67"/>
                      </a:cubicBezTo>
                      <a:cubicBezTo>
                        <a:pt x="12" y="68"/>
                        <a:pt x="12" y="68"/>
                        <a:pt x="12" y="68"/>
                      </a:cubicBezTo>
                      <a:cubicBezTo>
                        <a:pt x="12" y="71"/>
                        <a:pt x="13" y="73"/>
                        <a:pt x="14" y="75"/>
                      </a:cubicBezTo>
                      <a:cubicBezTo>
                        <a:pt x="5" y="81"/>
                        <a:pt x="5" y="81"/>
                        <a:pt x="5" y="81"/>
                      </a:cubicBezTo>
                      <a:cubicBezTo>
                        <a:pt x="5" y="81"/>
                        <a:pt x="4" y="82"/>
                        <a:pt x="4" y="83"/>
                      </a:cubicBezTo>
                      <a:cubicBezTo>
                        <a:pt x="4" y="83"/>
                        <a:pt x="4" y="83"/>
                        <a:pt x="4" y="83"/>
                      </a:cubicBezTo>
                      <a:cubicBezTo>
                        <a:pt x="5" y="84"/>
                        <a:pt x="6" y="85"/>
                        <a:pt x="7" y="84"/>
                      </a:cubicBezTo>
                      <a:cubicBezTo>
                        <a:pt x="17" y="83"/>
                        <a:pt x="17" y="83"/>
                        <a:pt x="17" y="83"/>
                      </a:cubicBezTo>
                      <a:cubicBezTo>
                        <a:pt x="18" y="85"/>
                        <a:pt x="19" y="87"/>
                        <a:pt x="20" y="89"/>
                      </a:cubicBezTo>
                      <a:cubicBezTo>
                        <a:pt x="14" y="97"/>
                        <a:pt x="14" y="97"/>
                        <a:pt x="14" y="97"/>
                      </a:cubicBezTo>
                      <a:cubicBezTo>
                        <a:pt x="14" y="97"/>
                        <a:pt x="14" y="98"/>
                        <a:pt x="14" y="98"/>
                      </a:cubicBezTo>
                      <a:cubicBezTo>
                        <a:pt x="14" y="99"/>
                        <a:pt x="14" y="99"/>
                        <a:pt x="14" y="100"/>
                      </a:cubicBezTo>
                      <a:cubicBezTo>
                        <a:pt x="15" y="100"/>
                        <a:pt x="16" y="101"/>
                        <a:pt x="17" y="100"/>
                      </a:cubicBezTo>
                      <a:cubicBezTo>
                        <a:pt x="26" y="95"/>
                        <a:pt x="26" y="95"/>
                        <a:pt x="26" y="95"/>
                      </a:cubicBezTo>
                      <a:cubicBezTo>
                        <a:pt x="28" y="97"/>
                        <a:pt x="29" y="99"/>
                        <a:pt x="31" y="100"/>
                      </a:cubicBezTo>
                      <a:cubicBezTo>
                        <a:pt x="28" y="109"/>
                        <a:pt x="28" y="109"/>
                        <a:pt x="28" y="109"/>
                      </a:cubicBezTo>
                      <a:cubicBezTo>
                        <a:pt x="28" y="110"/>
                        <a:pt x="28" y="110"/>
                        <a:pt x="28" y="110"/>
                      </a:cubicBezTo>
                      <a:cubicBezTo>
                        <a:pt x="28" y="111"/>
                        <a:pt x="28" y="112"/>
                        <a:pt x="29" y="112"/>
                      </a:cubicBezTo>
                      <a:cubicBezTo>
                        <a:pt x="30" y="113"/>
                        <a:pt x="31" y="112"/>
                        <a:pt x="31" y="112"/>
                      </a:cubicBezTo>
                      <a:cubicBezTo>
                        <a:pt x="38" y="104"/>
                        <a:pt x="38" y="104"/>
                        <a:pt x="38" y="104"/>
                      </a:cubicBezTo>
                      <a:cubicBezTo>
                        <a:pt x="40" y="106"/>
                        <a:pt x="43" y="106"/>
                        <a:pt x="45" y="107"/>
                      </a:cubicBezTo>
                      <a:cubicBezTo>
                        <a:pt x="45" y="117"/>
                        <a:pt x="45" y="117"/>
                        <a:pt x="45" y="117"/>
                      </a:cubicBezTo>
                      <a:cubicBezTo>
                        <a:pt x="45" y="117"/>
                        <a:pt x="45" y="117"/>
                        <a:pt x="45" y="118"/>
                      </a:cubicBezTo>
                      <a:cubicBezTo>
                        <a:pt x="45" y="119"/>
                        <a:pt x="45" y="119"/>
                        <a:pt x="46" y="120"/>
                      </a:cubicBezTo>
                      <a:cubicBezTo>
                        <a:pt x="47" y="120"/>
                        <a:pt x="48" y="119"/>
                        <a:pt x="49" y="118"/>
                      </a:cubicBezTo>
                      <a:cubicBezTo>
                        <a:pt x="53" y="109"/>
                        <a:pt x="53" y="109"/>
                        <a:pt x="53" y="109"/>
                      </a:cubicBezTo>
                      <a:cubicBezTo>
                        <a:pt x="55" y="110"/>
                        <a:pt x="58" y="110"/>
                        <a:pt x="60" y="110"/>
                      </a:cubicBezTo>
                      <a:cubicBezTo>
                        <a:pt x="63" y="119"/>
                        <a:pt x="63" y="119"/>
                        <a:pt x="63" y="119"/>
                      </a:cubicBezTo>
                      <a:cubicBezTo>
                        <a:pt x="63" y="120"/>
                        <a:pt x="64" y="121"/>
                        <a:pt x="65" y="121"/>
                      </a:cubicBezTo>
                      <a:cubicBezTo>
                        <a:pt x="65" y="121"/>
                        <a:pt x="65" y="121"/>
                        <a:pt x="65" y="121"/>
                      </a:cubicBezTo>
                      <a:cubicBezTo>
                        <a:pt x="66" y="121"/>
                        <a:pt x="67" y="120"/>
                        <a:pt x="67" y="119"/>
                      </a:cubicBezTo>
                      <a:cubicBezTo>
                        <a:pt x="67" y="119"/>
                        <a:pt x="67" y="119"/>
                        <a:pt x="67" y="119"/>
                      </a:cubicBezTo>
                      <a:cubicBezTo>
                        <a:pt x="68" y="109"/>
                        <a:pt x="68" y="109"/>
                        <a:pt x="68" y="109"/>
                      </a:cubicBezTo>
                      <a:cubicBezTo>
                        <a:pt x="71" y="109"/>
                        <a:pt x="73" y="108"/>
                        <a:pt x="75" y="108"/>
                      </a:cubicBezTo>
                      <a:cubicBezTo>
                        <a:pt x="81" y="116"/>
                        <a:pt x="81" y="116"/>
                        <a:pt x="81" y="116"/>
                      </a:cubicBezTo>
                      <a:cubicBezTo>
                        <a:pt x="82" y="117"/>
                        <a:pt x="83" y="117"/>
                        <a:pt x="84" y="117"/>
                      </a:cubicBezTo>
                      <a:cubicBezTo>
                        <a:pt x="84" y="117"/>
                        <a:pt x="85" y="116"/>
                        <a:pt x="85" y="115"/>
                      </a:cubicBezTo>
                      <a:cubicBezTo>
                        <a:pt x="85" y="115"/>
                        <a:pt x="85" y="115"/>
                        <a:pt x="85" y="114"/>
                      </a:cubicBezTo>
                      <a:cubicBezTo>
                        <a:pt x="83" y="104"/>
                        <a:pt x="83" y="104"/>
                        <a:pt x="83" y="104"/>
                      </a:cubicBezTo>
                      <a:cubicBezTo>
                        <a:pt x="85" y="103"/>
                        <a:pt x="87" y="102"/>
                        <a:pt x="89" y="101"/>
                      </a:cubicBezTo>
                      <a:cubicBezTo>
                        <a:pt x="97" y="107"/>
                        <a:pt x="97" y="107"/>
                        <a:pt x="97" y="107"/>
                      </a:cubicBezTo>
                      <a:cubicBezTo>
                        <a:pt x="98" y="108"/>
                        <a:pt x="99" y="108"/>
                        <a:pt x="100" y="107"/>
                      </a:cubicBezTo>
                      <a:cubicBezTo>
                        <a:pt x="100" y="107"/>
                        <a:pt x="101" y="106"/>
                        <a:pt x="101" y="106"/>
                      </a:cubicBezTo>
                      <a:cubicBezTo>
                        <a:pt x="101" y="105"/>
                        <a:pt x="100" y="105"/>
                        <a:pt x="100" y="104"/>
                      </a:cubicBezTo>
                      <a:cubicBezTo>
                        <a:pt x="96" y="95"/>
                        <a:pt x="96" y="95"/>
                        <a:pt x="96" y="95"/>
                      </a:cubicBezTo>
                      <a:cubicBezTo>
                        <a:pt x="97" y="94"/>
                        <a:pt x="99" y="92"/>
                        <a:pt x="100" y="90"/>
                      </a:cubicBezTo>
                      <a:cubicBezTo>
                        <a:pt x="110" y="93"/>
                        <a:pt x="110" y="93"/>
                        <a:pt x="110" y="93"/>
                      </a:cubicBezTo>
                      <a:cubicBezTo>
                        <a:pt x="111" y="94"/>
                        <a:pt x="112" y="94"/>
                        <a:pt x="112" y="93"/>
                      </a:cubicBezTo>
                      <a:cubicBezTo>
                        <a:pt x="113" y="92"/>
                        <a:pt x="113" y="92"/>
                        <a:pt x="113" y="92"/>
                      </a:cubicBezTo>
                      <a:cubicBezTo>
                        <a:pt x="113" y="91"/>
                        <a:pt x="112" y="90"/>
                        <a:pt x="112" y="90"/>
                      </a:cubicBezTo>
                      <a:cubicBezTo>
                        <a:pt x="105" y="83"/>
                        <a:pt x="105" y="83"/>
                        <a:pt x="105" y="83"/>
                      </a:cubicBezTo>
                      <a:cubicBezTo>
                        <a:pt x="106" y="81"/>
                        <a:pt x="107" y="79"/>
                        <a:pt x="107" y="76"/>
                      </a:cubicBezTo>
                      <a:cubicBezTo>
                        <a:pt x="117" y="77"/>
                        <a:pt x="117" y="77"/>
                        <a:pt x="117" y="77"/>
                      </a:cubicBezTo>
                      <a:cubicBezTo>
                        <a:pt x="118" y="77"/>
                        <a:pt x="120" y="76"/>
                        <a:pt x="120" y="75"/>
                      </a:cubicBezTo>
                      <a:cubicBezTo>
                        <a:pt x="120" y="75"/>
                        <a:pt x="120" y="75"/>
                        <a:pt x="120" y="75"/>
                      </a:cubicBezTo>
                      <a:cubicBezTo>
                        <a:pt x="120" y="74"/>
                        <a:pt x="119" y="73"/>
                        <a:pt x="118" y="73"/>
                      </a:cubicBezTo>
                      <a:cubicBezTo>
                        <a:pt x="109" y="68"/>
                        <a:pt x="109" y="68"/>
                        <a:pt x="109" y="68"/>
                      </a:cubicBezTo>
                      <a:cubicBezTo>
                        <a:pt x="110" y="66"/>
                        <a:pt x="110" y="64"/>
                        <a:pt x="110" y="61"/>
                      </a:cubicBezTo>
                      <a:lnTo>
                        <a:pt x="120" y="58"/>
                      </a:lnTo>
                      <a:close/>
                      <a:moveTo>
                        <a:pt x="61" y="72"/>
                      </a:moveTo>
                      <a:cubicBezTo>
                        <a:pt x="55" y="72"/>
                        <a:pt x="50" y="67"/>
                        <a:pt x="50" y="61"/>
                      </a:cubicBezTo>
                      <a:cubicBezTo>
                        <a:pt x="50" y="54"/>
                        <a:pt x="55" y="49"/>
                        <a:pt x="61" y="49"/>
                      </a:cubicBezTo>
                      <a:cubicBezTo>
                        <a:pt x="67" y="49"/>
                        <a:pt x="72" y="54"/>
                        <a:pt x="72" y="61"/>
                      </a:cubicBezTo>
                      <a:cubicBezTo>
                        <a:pt x="72" y="67"/>
                        <a:pt x="67" y="72"/>
                        <a:pt x="61" y="7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Oval 21"/>
                <p:cNvSpPr>
                  <a:spLocks noChangeArrowheads="1"/>
                </p:cNvSpPr>
                <p:nvPr/>
              </p:nvSpPr>
              <p:spPr bwMode="auto">
                <a:xfrm>
                  <a:off x="-1055688" y="2462213"/>
                  <a:ext cx="171450" cy="17145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Oval 22"/>
                <p:cNvSpPr>
                  <a:spLocks noChangeArrowheads="1"/>
                </p:cNvSpPr>
                <p:nvPr/>
              </p:nvSpPr>
              <p:spPr bwMode="auto">
                <a:xfrm>
                  <a:off x="-1776413" y="2792413"/>
                  <a:ext cx="115888" cy="119063"/>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23"/>
                <p:cNvSpPr>
                  <a:spLocks noEditPoints="1"/>
                </p:cNvSpPr>
                <p:nvPr/>
              </p:nvSpPr>
              <p:spPr bwMode="auto">
                <a:xfrm>
                  <a:off x="-2773363" y="2439988"/>
                  <a:ext cx="2692401" cy="2659063"/>
                </a:xfrm>
                <a:custGeom>
                  <a:avLst/>
                  <a:gdLst>
                    <a:gd name="T0" fmla="*/ 605 w 718"/>
                    <a:gd name="T1" fmla="*/ 20 h 709"/>
                    <a:gd name="T2" fmla="*/ 602 w 718"/>
                    <a:gd name="T3" fmla="*/ 58 h 709"/>
                    <a:gd name="T4" fmla="*/ 587 w 718"/>
                    <a:gd name="T5" fmla="*/ 93 h 709"/>
                    <a:gd name="T6" fmla="*/ 563 w 718"/>
                    <a:gd name="T7" fmla="*/ 121 h 709"/>
                    <a:gd name="T8" fmla="*/ 530 w 718"/>
                    <a:gd name="T9" fmla="*/ 141 h 709"/>
                    <a:gd name="T10" fmla="*/ 493 w 718"/>
                    <a:gd name="T11" fmla="*/ 149 h 709"/>
                    <a:gd name="T12" fmla="*/ 456 w 718"/>
                    <a:gd name="T13" fmla="*/ 147 h 709"/>
                    <a:gd name="T14" fmla="*/ 420 w 718"/>
                    <a:gd name="T15" fmla="*/ 134 h 709"/>
                    <a:gd name="T16" fmla="*/ 391 w 718"/>
                    <a:gd name="T17" fmla="*/ 110 h 709"/>
                    <a:gd name="T18" fmla="*/ 371 w 718"/>
                    <a:gd name="T19" fmla="*/ 78 h 709"/>
                    <a:gd name="T20" fmla="*/ 361 w 718"/>
                    <a:gd name="T21" fmla="*/ 42 h 709"/>
                    <a:gd name="T22" fmla="*/ 363 w 718"/>
                    <a:gd name="T23" fmla="*/ 4 h 709"/>
                    <a:gd name="T24" fmla="*/ 68 w 718"/>
                    <a:gd name="T25" fmla="*/ 221 h 709"/>
                    <a:gd name="T26" fmla="*/ 162 w 718"/>
                    <a:gd name="T27" fmla="*/ 514 h 709"/>
                    <a:gd name="T28" fmla="*/ 334 w 718"/>
                    <a:gd name="T29" fmla="*/ 176 h 709"/>
                    <a:gd name="T30" fmla="*/ 311 w 718"/>
                    <a:gd name="T31" fmla="*/ 189 h 709"/>
                    <a:gd name="T32" fmla="*/ 288 w 718"/>
                    <a:gd name="T33" fmla="*/ 197 h 709"/>
                    <a:gd name="T34" fmla="*/ 258 w 718"/>
                    <a:gd name="T35" fmla="*/ 192 h 709"/>
                    <a:gd name="T36" fmla="*/ 234 w 718"/>
                    <a:gd name="T37" fmla="*/ 181 h 709"/>
                    <a:gd name="T38" fmla="*/ 214 w 718"/>
                    <a:gd name="T39" fmla="*/ 164 h 709"/>
                    <a:gd name="T40" fmla="*/ 201 w 718"/>
                    <a:gd name="T41" fmla="*/ 141 h 709"/>
                    <a:gd name="T42" fmla="*/ 195 w 718"/>
                    <a:gd name="T43" fmla="*/ 116 h 709"/>
                    <a:gd name="T44" fmla="*/ 197 w 718"/>
                    <a:gd name="T45" fmla="*/ 89 h 709"/>
                    <a:gd name="T46" fmla="*/ 207 w 718"/>
                    <a:gd name="T47" fmla="*/ 64 h 709"/>
                    <a:gd name="T48" fmla="*/ 225 w 718"/>
                    <a:gd name="T49" fmla="*/ 43 h 709"/>
                    <a:gd name="T50" fmla="*/ 249 w 718"/>
                    <a:gd name="T51" fmla="*/ 29 h 709"/>
                    <a:gd name="T52" fmla="*/ 275 w 718"/>
                    <a:gd name="T53" fmla="*/ 23 h 709"/>
                    <a:gd name="T54" fmla="*/ 305 w 718"/>
                    <a:gd name="T55" fmla="*/ 28 h 709"/>
                    <a:gd name="T56" fmla="*/ 329 w 718"/>
                    <a:gd name="T57" fmla="*/ 38 h 709"/>
                    <a:gd name="T58" fmla="*/ 349 w 718"/>
                    <a:gd name="T59" fmla="*/ 55 h 709"/>
                    <a:gd name="T60" fmla="*/ 362 w 718"/>
                    <a:gd name="T61" fmla="*/ 78 h 709"/>
                    <a:gd name="T62" fmla="*/ 368 w 718"/>
                    <a:gd name="T63" fmla="*/ 104 h 709"/>
                    <a:gd name="T64" fmla="*/ 366 w 718"/>
                    <a:gd name="T65" fmla="*/ 131 h 709"/>
                    <a:gd name="T66" fmla="*/ 356 w 718"/>
                    <a:gd name="T67" fmla="*/ 156 h 709"/>
                    <a:gd name="T68" fmla="*/ 338 w 718"/>
                    <a:gd name="T69" fmla="*/ 176 h 709"/>
                    <a:gd name="T70" fmla="*/ 451 w 718"/>
                    <a:gd name="T71" fmla="*/ 208 h 709"/>
                    <a:gd name="T72" fmla="*/ 444 w 718"/>
                    <a:gd name="T73" fmla="*/ 224 h 709"/>
                    <a:gd name="T74" fmla="*/ 433 w 718"/>
                    <a:gd name="T75" fmla="*/ 237 h 709"/>
                    <a:gd name="T76" fmla="*/ 418 w 718"/>
                    <a:gd name="T77" fmla="*/ 247 h 709"/>
                    <a:gd name="T78" fmla="*/ 401 w 718"/>
                    <a:gd name="T79" fmla="*/ 251 h 709"/>
                    <a:gd name="T80" fmla="*/ 383 w 718"/>
                    <a:gd name="T81" fmla="*/ 250 h 709"/>
                    <a:gd name="T82" fmla="*/ 367 w 718"/>
                    <a:gd name="T83" fmla="*/ 243 h 709"/>
                    <a:gd name="T84" fmla="*/ 353 w 718"/>
                    <a:gd name="T85" fmla="*/ 232 h 709"/>
                    <a:gd name="T86" fmla="*/ 343 w 718"/>
                    <a:gd name="T87" fmla="*/ 217 h 709"/>
                    <a:gd name="T88" fmla="*/ 339 w 718"/>
                    <a:gd name="T89" fmla="*/ 200 h 709"/>
                    <a:gd name="T90" fmla="*/ 340 w 718"/>
                    <a:gd name="T91" fmla="*/ 183 h 709"/>
                    <a:gd name="T92" fmla="*/ 346 w 718"/>
                    <a:gd name="T93" fmla="*/ 166 h 709"/>
                    <a:gd name="T94" fmla="*/ 357 w 718"/>
                    <a:gd name="T95" fmla="*/ 153 h 709"/>
                    <a:gd name="T96" fmla="*/ 372 w 718"/>
                    <a:gd name="T97" fmla="*/ 143 h 709"/>
                    <a:gd name="T98" fmla="*/ 389 w 718"/>
                    <a:gd name="T99" fmla="*/ 138 h 709"/>
                    <a:gd name="T100" fmla="*/ 407 w 718"/>
                    <a:gd name="T101" fmla="*/ 139 h 709"/>
                    <a:gd name="T102" fmla="*/ 423 w 718"/>
                    <a:gd name="T103" fmla="*/ 146 h 709"/>
                    <a:gd name="T104" fmla="*/ 437 w 718"/>
                    <a:gd name="T105" fmla="*/ 157 h 709"/>
                    <a:gd name="T106" fmla="*/ 446 w 718"/>
                    <a:gd name="T107" fmla="*/ 172 h 709"/>
                    <a:gd name="T108" fmla="*/ 451 w 718"/>
                    <a:gd name="T109" fmla="*/ 18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18" h="709">
                      <a:moveTo>
                        <a:pt x="606" y="330"/>
                      </a:moveTo>
                      <a:cubicBezTo>
                        <a:pt x="718" y="140"/>
                        <a:pt x="627" y="0"/>
                        <a:pt x="627" y="0"/>
                      </a:cubicBezTo>
                      <a:cubicBezTo>
                        <a:pt x="578" y="0"/>
                        <a:pt x="578" y="0"/>
                        <a:pt x="578" y="0"/>
                      </a:cubicBezTo>
                      <a:cubicBezTo>
                        <a:pt x="579" y="4"/>
                        <a:pt x="580" y="9"/>
                        <a:pt x="581" y="13"/>
                      </a:cubicBezTo>
                      <a:cubicBezTo>
                        <a:pt x="601" y="16"/>
                        <a:pt x="601" y="16"/>
                        <a:pt x="601" y="16"/>
                      </a:cubicBezTo>
                      <a:cubicBezTo>
                        <a:pt x="603" y="16"/>
                        <a:pt x="605" y="18"/>
                        <a:pt x="605" y="20"/>
                      </a:cubicBezTo>
                      <a:cubicBezTo>
                        <a:pt x="605" y="20"/>
                        <a:pt x="605" y="20"/>
                        <a:pt x="605" y="20"/>
                      </a:cubicBezTo>
                      <a:cubicBezTo>
                        <a:pt x="605" y="23"/>
                        <a:pt x="604" y="24"/>
                        <a:pt x="601" y="24"/>
                      </a:cubicBezTo>
                      <a:cubicBezTo>
                        <a:pt x="582" y="30"/>
                        <a:pt x="582" y="30"/>
                        <a:pt x="582" y="30"/>
                      </a:cubicBezTo>
                      <a:cubicBezTo>
                        <a:pt x="582" y="35"/>
                        <a:pt x="581" y="40"/>
                        <a:pt x="581" y="45"/>
                      </a:cubicBezTo>
                      <a:cubicBezTo>
                        <a:pt x="599" y="54"/>
                        <a:pt x="599" y="54"/>
                        <a:pt x="599" y="54"/>
                      </a:cubicBezTo>
                      <a:cubicBezTo>
                        <a:pt x="601" y="55"/>
                        <a:pt x="602" y="56"/>
                        <a:pt x="602" y="58"/>
                      </a:cubicBezTo>
                      <a:cubicBezTo>
                        <a:pt x="602" y="58"/>
                        <a:pt x="602" y="59"/>
                        <a:pt x="602" y="59"/>
                      </a:cubicBezTo>
                      <a:cubicBezTo>
                        <a:pt x="601" y="61"/>
                        <a:pt x="599" y="62"/>
                        <a:pt x="597" y="62"/>
                      </a:cubicBezTo>
                      <a:cubicBezTo>
                        <a:pt x="577" y="62"/>
                        <a:pt x="577" y="62"/>
                        <a:pt x="577" y="62"/>
                      </a:cubicBezTo>
                      <a:cubicBezTo>
                        <a:pt x="575" y="66"/>
                        <a:pt x="573" y="71"/>
                        <a:pt x="571" y="75"/>
                      </a:cubicBezTo>
                      <a:cubicBezTo>
                        <a:pt x="585" y="89"/>
                        <a:pt x="585" y="89"/>
                        <a:pt x="585" y="89"/>
                      </a:cubicBezTo>
                      <a:cubicBezTo>
                        <a:pt x="587" y="90"/>
                        <a:pt x="587" y="91"/>
                        <a:pt x="587" y="93"/>
                      </a:cubicBezTo>
                      <a:cubicBezTo>
                        <a:pt x="587" y="94"/>
                        <a:pt x="587" y="94"/>
                        <a:pt x="587" y="95"/>
                      </a:cubicBezTo>
                      <a:cubicBezTo>
                        <a:pt x="585" y="97"/>
                        <a:pt x="583" y="97"/>
                        <a:pt x="581" y="96"/>
                      </a:cubicBezTo>
                      <a:cubicBezTo>
                        <a:pt x="562" y="90"/>
                        <a:pt x="562" y="90"/>
                        <a:pt x="562" y="90"/>
                      </a:cubicBezTo>
                      <a:cubicBezTo>
                        <a:pt x="559" y="94"/>
                        <a:pt x="556" y="97"/>
                        <a:pt x="552" y="101"/>
                      </a:cubicBezTo>
                      <a:cubicBezTo>
                        <a:pt x="562" y="119"/>
                        <a:pt x="562" y="119"/>
                        <a:pt x="562" y="119"/>
                      </a:cubicBezTo>
                      <a:cubicBezTo>
                        <a:pt x="562" y="120"/>
                        <a:pt x="563" y="120"/>
                        <a:pt x="563" y="121"/>
                      </a:cubicBezTo>
                      <a:cubicBezTo>
                        <a:pt x="563" y="122"/>
                        <a:pt x="562" y="124"/>
                        <a:pt x="561" y="124"/>
                      </a:cubicBezTo>
                      <a:cubicBezTo>
                        <a:pt x="559" y="126"/>
                        <a:pt x="557" y="126"/>
                        <a:pt x="555" y="124"/>
                      </a:cubicBezTo>
                      <a:cubicBezTo>
                        <a:pt x="539" y="112"/>
                        <a:pt x="539" y="112"/>
                        <a:pt x="539" y="112"/>
                      </a:cubicBezTo>
                      <a:cubicBezTo>
                        <a:pt x="535" y="114"/>
                        <a:pt x="531" y="117"/>
                        <a:pt x="527" y="119"/>
                      </a:cubicBezTo>
                      <a:cubicBezTo>
                        <a:pt x="530" y="139"/>
                        <a:pt x="530" y="139"/>
                        <a:pt x="530" y="139"/>
                      </a:cubicBezTo>
                      <a:cubicBezTo>
                        <a:pt x="530" y="140"/>
                        <a:pt x="530" y="140"/>
                        <a:pt x="530" y="141"/>
                      </a:cubicBezTo>
                      <a:cubicBezTo>
                        <a:pt x="530" y="142"/>
                        <a:pt x="529" y="144"/>
                        <a:pt x="528" y="145"/>
                      </a:cubicBezTo>
                      <a:cubicBezTo>
                        <a:pt x="526" y="145"/>
                        <a:pt x="523" y="144"/>
                        <a:pt x="522" y="142"/>
                      </a:cubicBezTo>
                      <a:cubicBezTo>
                        <a:pt x="511" y="126"/>
                        <a:pt x="511" y="126"/>
                        <a:pt x="511" y="126"/>
                      </a:cubicBezTo>
                      <a:cubicBezTo>
                        <a:pt x="506" y="127"/>
                        <a:pt x="501" y="128"/>
                        <a:pt x="497" y="129"/>
                      </a:cubicBezTo>
                      <a:cubicBezTo>
                        <a:pt x="493" y="149"/>
                        <a:pt x="493" y="149"/>
                        <a:pt x="493" y="149"/>
                      </a:cubicBezTo>
                      <a:cubicBezTo>
                        <a:pt x="493" y="149"/>
                        <a:pt x="493" y="149"/>
                        <a:pt x="493" y="149"/>
                      </a:cubicBezTo>
                      <a:cubicBezTo>
                        <a:pt x="493" y="151"/>
                        <a:pt x="492" y="153"/>
                        <a:pt x="490" y="153"/>
                      </a:cubicBezTo>
                      <a:cubicBezTo>
                        <a:pt x="490" y="153"/>
                        <a:pt x="490" y="153"/>
                        <a:pt x="489" y="153"/>
                      </a:cubicBezTo>
                      <a:cubicBezTo>
                        <a:pt x="487" y="153"/>
                        <a:pt x="486" y="152"/>
                        <a:pt x="485" y="150"/>
                      </a:cubicBezTo>
                      <a:cubicBezTo>
                        <a:pt x="479" y="130"/>
                        <a:pt x="479" y="130"/>
                        <a:pt x="479" y="130"/>
                      </a:cubicBezTo>
                      <a:cubicBezTo>
                        <a:pt x="475" y="130"/>
                        <a:pt x="470" y="130"/>
                        <a:pt x="465" y="129"/>
                      </a:cubicBezTo>
                      <a:cubicBezTo>
                        <a:pt x="456" y="147"/>
                        <a:pt x="456" y="147"/>
                        <a:pt x="456" y="147"/>
                      </a:cubicBezTo>
                      <a:cubicBezTo>
                        <a:pt x="455" y="149"/>
                        <a:pt x="453" y="151"/>
                        <a:pt x="451" y="150"/>
                      </a:cubicBezTo>
                      <a:cubicBezTo>
                        <a:pt x="449" y="150"/>
                        <a:pt x="448" y="148"/>
                        <a:pt x="448" y="146"/>
                      </a:cubicBezTo>
                      <a:cubicBezTo>
                        <a:pt x="448" y="146"/>
                        <a:pt x="448" y="146"/>
                        <a:pt x="448" y="145"/>
                      </a:cubicBezTo>
                      <a:cubicBezTo>
                        <a:pt x="448" y="125"/>
                        <a:pt x="448" y="125"/>
                        <a:pt x="448" y="125"/>
                      </a:cubicBezTo>
                      <a:cubicBezTo>
                        <a:pt x="444" y="123"/>
                        <a:pt x="439" y="121"/>
                        <a:pt x="435" y="119"/>
                      </a:cubicBezTo>
                      <a:cubicBezTo>
                        <a:pt x="420" y="134"/>
                        <a:pt x="420" y="134"/>
                        <a:pt x="420" y="134"/>
                      </a:cubicBezTo>
                      <a:cubicBezTo>
                        <a:pt x="419" y="135"/>
                        <a:pt x="417" y="136"/>
                        <a:pt x="415" y="135"/>
                      </a:cubicBezTo>
                      <a:cubicBezTo>
                        <a:pt x="414" y="134"/>
                        <a:pt x="413" y="133"/>
                        <a:pt x="413" y="131"/>
                      </a:cubicBezTo>
                      <a:cubicBezTo>
                        <a:pt x="413" y="131"/>
                        <a:pt x="413" y="130"/>
                        <a:pt x="414" y="129"/>
                      </a:cubicBezTo>
                      <a:cubicBezTo>
                        <a:pt x="420" y="110"/>
                        <a:pt x="420" y="110"/>
                        <a:pt x="420" y="110"/>
                      </a:cubicBezTo>
                      <a:cubicBezTo>
                        <a:pt x="416" y="107"/>
                        <a:pt x="413" y="104"/>
                        <a:pt x="409" y="101"/>
                      </a:cubicBezTo>
                      <a:cubicBezTo>
                        <a:pt x="391" y="110"/>
                        <a:pt x="391" y="110"/>
                        <a:pt x="391" y="110"/>
                      </a:cubicBezTo>
                      <a:cubicBezTo>
                        <a:pt x="389" y="111"/>
                        <a:pt x="387" y="111"/>
                        <a:pt x="386" y="109"/>
                      </a:cubicBezTo>
                      <a:cubicBezTo>
                        <a:pt x="385" y="109"/>
                        <a:pt x="385" y="108"/>
                        <a:pt x="385" y="107"/>
                      </a:cubicBezTo>
                      <a:cubicBezTo>
                        <a:pt x="385" y="106"/>
                        <a:pt x="385" y="104"/>
                        <a:pt x="386" y="104"/>
                      </a:cubicBezTo>
                      <a:cubicBezTo>
                        <a:pt x="398" y="87"/>
                        <a:pt x="398" y="87"/>
                        <a:pt x="398" y="87"/>
                      </a:cubicBezTo>
                      <a:cubicBezTo>
                        <a:pt x="395" y="83"/>
                        <a:pt x="393" y="79"/>
                        <a:pt x="391" y="75"/>
                      </a:cubicBezTo>
                      <a:cubicBezTo>
                        <a:pt x="371" y="78"/>
                        <a:pt x="371" y="78"/>
                        <a:pt x="371" y="78"/>
                      </a:cubicBezTo>
                      <a:cubicBezTo>
                        <a:pt x="369" y="79"/>
                        <a:pt x="366" y="78"/>
                        <a:pt x="365" y="76"/>
                      </a:cubicBezTo>
                      <a:cubicBezTo>
                        <a:pt x="365" y="75"/>
                        <a:pt x="365" y="75"/>
                        <a:pt x="365" y="74"/>
                      </a:cubicBezTo>
                      <a:cubicBezTo>
                        <a:pt x="365" y="73"/>
                        <a:pt x="366" y="71"/>
                        <a:pt x="368" y="71"/>
                      </a:cubicBezTo>
                      <a:cubicBezTo>
                        <a:pt x="384" y="59"/>
                        <a:pt x="384" y="59"/>
                        <a:pt x="384" y="59"/>
                      </a:cubicBezTo>
                      <a:cubicBezTo>
                        <a:pt x="383" y="54"/>
                        <a:pt x="382" y="50"/>
                        <a:pt x="381" y="45"/>
                      </a:cubicBezTo>
                      <a:cubicBezTo>
                        <a:pt x="361" y="42"/>
                        <a:pt x="361" y="42"/>
                        <a:pt x="361" y="42"/>
                      </a:cubicBezTo>
                      <a:cubicBezTo>
                        <a:pt x="359" y="42"/>
                        <a:pt x="357" y="40"/>
                        <a:pt x="357" y="38"/>
                      </a:cubicBezTo>
                      <a:cubicBezTo>
                        <a:pt x="357" y="38"/>
                        <a:pt x="357" y="38"/>
                        <a:pt x="357" y="38"/>
                      </a:cubicBezTo>
                      <a:cubicBezTo>
                        <a:pt x="357" y="36"/>
                        <a:pt x="358" y="34"/>
                        <a:pt x="360" y="34"/>
                      </a:cubicBezTo>
                      <a:cubicBezTo>
                        <a:pt x="380" y="28"/>
                        <a:pt x="380" y="28"/>
                        <a:pt x="380" y="28"/>
                      </a:cubicBezTo>
                      <a:cubicBezTo>
                        <a:pt x="380" y="23"/>
                        <a:pt x="380" y="18"/>
                        <a:pt x="381" y="13"/>
                      </a:cubicBezTo>
                      <a:cubicBezTo>
                        <a:pt x="363" y="4"/>
                        <a:pt x="363" y="4"/>
                        <a:pt x="363" y="4"/>
                      </a:cubicBezTo>
                      <a:cubicBezTo>
                        <a:pt x="361" y="4"/>
                        <a:pt x="360" y="2"/>
                        <a:pt x="360" y="0"/>
                      </a:cubicBezTo>
                      <a:cubicBezTo>
                        <a:pt x="360" y="0"/>
                        <a:pt x="360" y="0"/>
                        <a:pt x="360" y="0"/>
                      </a:cubicBezTo>
                      <a:cubicBezTo>
                        <a:pt x="110" y="0"/>
                        <a:pt x="110" y="0"/>
                        <a:pt x="110" y="0"/>
                      </a:cubicBezTo>
                      <a:cubicBezTo>
                        <a:pt x="103" y="41"/>
                        <a:pt x="83" y="85"/>
                        <a:pt x="83" y="85"/>
                      </a:cubicBezTo>
                      <a:cubicBezTo>
                        <a:pt x="71" y="115"/>
                        <a:pt x="79" y="137"/>
                        <a:pt x="79" y="137"/>
                      </a:cubicBezTo>
                      <a:cubicBezTo>
                        <a:pt x="103" y="178"/>
                        <a:pt x="84" y="200"/>
                        <a:pt x="68" y="221"/>
                      </a:cubicBezTo>
                      <a:cubicBezTo>
                        <a:pt x="53" y="242"/>
                        <a:pt x="0" y="315"/>
                        <a:pt x="51" y="317"/>
                      </a:cubicBezTo>
                      <a:cubicBezTo>
                        <a:pt x="99" y="318"/>
                        <a:pt x="84" y="334"/>
                        <a:pt x="84" y="334"/>
                      </a:cubicBezTo>
                      <a:cubicBezTo>
                        <a:pt x="63" y="380"/>
                        <a:pt x="96" y="381"/>
                        <a:pt x="96" y="381"/>
                      </a:cubicBezTo>
                      <a:cubicBezTo>
                        <a:pt x="81" y="408"/>
                        <a:pt x="103" y="409"/>
                        <a:pt x="103" y="409"/>
                      </a:cubicBezTo>
                      <a:cubicBezTo>
                        <a:pt x="135" y="409"/>
                        <a:pt x="118" y="438"/>
                        <a:pt x="118" y="438"/>
                      </a:cubicBezTo>
                      <a:cubicBezTo>
                        <a:pt x="79" y="481"/>
                        <a:pt x="113" y="524"/>
                        <a:pt x="162" y="514"/>
                      </a:cubicBezTo>
                      <a:cubicBezTo>
                        <a:pt x="259" y="494"/>
                        <a:pt x="309" y="527"/>
                        <a:pt x="286" y="597"/>
                      </a:cubicBezTo>
                      <a:cubicBezTo>
                        <a:pt x="263" y="666"/>
                        <a:pt x="232" y="709"/>
                        <a:pt x="232" y="709"/>
                      </a:cubicBezTo>
                      <a:cubicBezTo>
                        <a:pt x="659" y="709"/>
                        <a:pt x="659" y="709"/>
                        <a:pt x="659" y="709"/>
                      </a:cubicBezTo>
                      <a:cubicBezTo>
                        <a:pt x="568" y="521"/>
                        <a:pt x="568" y="521"/>
                        <a:pt x="568" y="521"/>
                      </a:cubicBezTo>
                      <a:cubicBezTo>
                        <a:pt x="540" y="458"/>
                        <a:pt x="606" y="330"/>
                        <a:pt x="606" y="330"/>
                      </a:cubicBezTo>
                      <a:close/>
                      <a:moveTo>
                        <a:pt x="334" y="176"/>
                      </a:moveTo>
                      <a:cubicBezTo>
                        <a:pt x="322" y="168"/>
                        <a:pt x="322" y="168"/>
                        <a:pt x="322" y="168"/>
                      </a:cubicBezTo>
                      <a:cubicBezTo>
                        <a:pt x="320" y="169"/>
                        <a:pt x="317" y="171"/>
                        <a:pt x="314" y="173"/>
                      </a:cubicBezTo>
                      <a:cubicBezTo>
                        <a:pt x="316" y="187"/>
                        <a:pt x="316" y="187"/>
                        <a:pt x="316" y="187"/>
                      </a:cubicBezTo>
                      <a:cubicBezTo>
                        <a:pt x="316" y="187"/>
                        <a:pt x="316" y="188"/>
                        <a:pt x="316" y="188"/>
                      </a:cubicBezTo>
                      <a:cubicBezTo>
                        <a:pt x="316" y="189"/>
                        <a:pt x="315" y="190"/>
                        <a:pt x="314" y="191"/>
                      </a:cubicBezTo>
                      <a:cubicBezTo>
                        <a:pt x="313" y="191"/>
                        <a:pt x="311" y="190"/>
                        <a:pt x="311" y="189"/>
                      </a:cubicBezTo>
                      <a:cubicBezTo>
                        <a:pt x="302" y="177"/>
                        <a:pt x="302" y="177"/>
                        <a:pt x="302" y="177"/>
                      </a:cubicBezTo>
                      <a:cubicBezTo>
                        <a:pt x="299" y="178"/>
                        <a:pt x="296" y="179"/>
                        <a:pt x="293" y="180"/>
                      </a:cubicBezTo>
                      <a:cubicBezTo>
                        <a:pt x="290" y="194"/>
                        <a:pt x="290" y="194"/>
                        <a:pt x="290" y="194"/>
                      </a:cubicBezTo>
                      <a:cubicBezTo>
                        <a:pt x="290" y="194"/>
                        <a:pt x="290" y="194"/>
                        <a:pt x="290" y="194"/>
                      </a:cubicBezTo>
                      <a:cubicBezTo>
                        <a:pt x="290" y="195"/>
                        <a:pt x="289" y="197"/>
                        <a:pt x="288" y="197"/>
                      </a:cubicBezTo>
                      <a:cubicBezTo>
                        <a:pt x="288" y="197"/>
                        <a:pt x="288" y="197"/>
                        <a:pt x="288" y="197"/>
                      </a:cubicBezTo>
                      <a:cubicBezTo>
                        <a:pt x="286" y="197"/>
                        <a:pt x="285" y="196"/>
                        <a:pt x="285" y="194"/>
                      </a:cubicBezTo>
                      <a:cubicBezTo>
                        <a:pt x="281" y="180"/>
                        <a:pt x="281" y="180"/>
                        <a:pt x="281" y="180"/>
                      </a:cubicBezTo>
                      <a:cubicBezTo>
                        <a:pt x="277" y="180"/>
                        <a:pt x="274" y="180"/>
                        <a:pt x="270" y="180"/>
                      </a:cubicBezTo>
                      <a:cubicBezTo>
                        <a:pt x="264" y="192"/>
                        <a:pt x="264" y="192"/>
                        <a:pt x="264" y="192"/>
                      </a:cubicBezTo>
                      <a:cubicBezTo>
                        <a:pt x="264" y="194"/>
                        <a:pt x="262" y="195"/>
                        <a:pt x="261" y="194"/>
                      </a:cubicBezTo>
                      <a:cubicBezTo>
                        <a:pt x="259" y="194"/>
                        <a:pt x="258" y="193"/>
                        <a:pt x="258" y="192"/>
                      </a:cubicBezTo>
                      <a:cubicBezTo>
                        <a:pt x="258" y="191"/>
                        <a:pt x="258" y="191"/>
                        <a:pt x="259" y="191"/>
                      </a:cubicBezTo>
                      <a:cubicBezTo>
                        <a:pt x="259" y="177"/>
                        <a:pt x="259" y="177"/>
                        <a:pt x="259" y="177"/>
                      </a:cubicBezTo>
                      <a:cubicBezTo>
                        <a:pt x="255" y="176"/>
                        <a:pt x="252" y="174"/>
                        <a:pt x="249" y="173"/>
                      </a:cubicBezTo>
                      <a:cubicBezTo>
                        <a:pt x="239" y="183"/>
                        <a:pt x="239" y="183"/>
                        <a:pt x="239" y="183"/>
                      </a:cubicBezTo>
                      <a:cubicBezTo>
                        <a:pt x="238" y="184"/>
                        <a:pt x="237" y="185"/>
                        <a:pt x="235" y="184"/>
                      </a:cubicBezTo>
                      <a:cubicBezTo>
                        <a:pt x="235" y="183"/>
                        <a:pt x="234" y="182"/>
                        <a:pt x="234" y="181"/>
                      </a:cubicBezTo>
                      <a:cubicBezTo>
                        <a:pt x="234" y="181"/>
                        <a:pt x="234" y="180"/>
                        <a:pt x="235" y="180"/>
                      </a:cubicBezTo>
                      <a:cubicBezTo>
                        <a:pt x="239" y="166"/>
                        <a:pt x="239" y="166"/>
                        <a:pt x="239" y="166"/>
                      </a:cubicBezTo>
                      <a:cubicBezTo>
                        <a:pt x="236" y="164"/>
                        <a:pt x="234" y="162"/>
                        <a:pt x="231" y="160"/>
                      </a:cubicBezTo>
                      <a:cubicBezTo>
                        <a:pt x="219" y="166"/>
                        <a:pt x="219" y="166"/>
                        <a:pt x="219" y="166"/>
                      </a:cubicBezTo>
                      <a:cubicBezTo>
                        <a:pt x="218" y="167"/>
                        <a:pt x="216" y="167"/>
                        <a:pt x="215" y="166"/>
                      </a:cubicBezTo>
                      <a:cubicBezTo>
                        <a:pt x="214" y="165"/>
                        <a:pt x="214" y="165"/>
                        <a:pt x="214" y="164"/>
                      </a:cubicBezTo>
                      <a:cubicBezTo>
                        <a:pt x="214" y="163"/>
                        <a:pt x="214" y="163"/>
                        <a:pt x="215" y="162"/>
                      </a:cubicBezTo>
                      <a:cubicBezTo>
                        <a:pt x="224" y="151"/>
                        <a:pt x="224" y="151"/>
                        <a:pt x="224" y="151"/>
                      </a:cubicBezTo>
                      <a:cubicBezTo>
                        <a:pt x="222" y="148"/>
                        <a:pt x="220" y="145"/>
                        <a:pt x="218" y="142"/>
                      </a:cubicBezTo>
                      <a:cubicBezTo>
                        <a:pt x="204" y="144"/>
                        <a:pt x="204" y="144"/>
                        <a:pt x="204" y="144"/>
                      </a:cubicBezTo>
                      <a:cubicBezTo>
                        <a:pt x="203" y="145"/>
                        <a:pt x="201" y="144"/>
                        <a:pt x="201" y="143"/>
                      </a:cubicBezTo>
                      <a:cubicBezTo>
                        <a:pt x="201" y="142"/>
                        <a:pt x="201" y="142"/>
                        <a:pt x="201" y="141"/>
                      </a:cubicBezTo>
                      <a:cubicBezTo>
                        <a:pt x="201" y="140"/>
                        <a:pt x="201" y="139"/>
                        <a:pt x="202" y="139"/>
                      </a:cubicBezTo>
                      <a:cubicBezTo>
                        <a:pt x="214" y="131"/>
                        <a:pt x="214" y="131"/>
                        <a:pt x="214" y="131"/>
                      </a:cubicBezTo>
                      <a:cubicBezTo>
                        <a:pt x="213" y="127"/>
                        <a:pt x="212" y="124"/>
                        <a:pt x="212" y="121"/>
                      </a:cubicBezTo>
                      <a:cubicBezTo>
                        <a:pt x="198" y="119"/>
                        <a:pt x="198" y="119"/>
                        <a:pt x="198" y="119"/>
                      </a:cubicBezTo>
                      <a:cubicBezTo>
                        <a:pt x="196" y="119"/>
                        <a:pt x="195" y="118"/>
                        <a:pt x="195" y="116"/>
                      </a:cubicBezTo>
                      <a:cubicBezTo>
                        <a:pt x="195" y="116"/>
                        <a:pt x="195" y="116"/>
                        <a:pt x="195" y="116"/>
                      </a:cubicBezTo>
                      <a:cubicBezTo>
                        <a:pt x="195" y="114"/>
                        <a:pt x="196" y="113"/>
                        <a:pt x="197" y="113"/>
                      </a:cubicBezTo>
                      <a:cubicBezTo>
                        <a:pt x="211" y="109"/>
                        <a:pt x="211" y="109"/>
                        <a:pt x="211" y="109"/>
                      </a:cubicBezTo>
                      <a:cubicBezTo>
                        <a:pt x="211" y="105"/>
                        <a:pt x="211" y="102"/>
                        <a:pt x="212" y="99"/>
                      </a:cubicBezTo>
                      <a:cubicBezTo>
                        <a:pt x="199" y="92"/>
                        <a:pt x="199" y="92"/>
                        <a:pt x="199" y="92"/>
                      </a:cubicBezTo>
                      <a:cubicBezTo>
                        <a:pt x="198" y="92"/>
                        <a:pt x="197" y="91"/>
                        <a:pt x="197" y="89"/>
                      </a:cubicBezTo>
                      <a:cubicBezTo>
                        <a:pt x="197" y="89"/>
                        <a:pt x="197" y="89"/>
                        <a:pt x="197" y="89"/>
                      </a:cubicBezTo>
                      <a:cubicBezTo>
                        <a:pt x="197" y="87"/>
                        <a:pt x="199" y="86"/>
                        <a:pt x="200" y="87"/>
                      </a:cubicBezTo>
                      <a:cubicBezTo>
                        <a:pt x="215" y="87"/>
                        <a:pt x="215" y="87"/>
                        <a:pt x="215" y="87"/>
                      </a:cubicBezTo>
                      <a:cubicBezTo>
                        <a:pt x="216" y="84"/>
                        <a:pt x="217" y="81"/>
                        <a:pt x="218" y="78"/>
                      </a:cubicBezTo>
                      <a:cubicBezTo>
                        <a:pt x="208" y="68"/>
                        <a:pt x="208" y="68"/>
                        <a:pt x="208" y="68"/>
                      </a:cubicBezTo>
                      <a:cubicBezTo>
                        <a:pt x="208" y="67"/>
                        <a:pt x="207" y="66"/>
                        <a:pt x="207" y="65"/>
                      </a:cubicBezTo>
                      <a:cubicBezTo>
                        <a:pt x="207" y="65"/>
                        <a:pt x="207" y="64"/>
                        <a:pt x="207" y="64"/>
                      </a:cubicBezTo>
                      <a:cubicBezTo>
                        <a:pt x="208" y="62"/>
                        <a:pt x="210" y="62"/>
                        <a:pt x="211" y="63"/>
                      </a:cubicBezTo>
                      <a:cubicBezTo>
                        <a:pt x="225" y="67"/>
                        <a:pt x="225" y="67"/>
                        <a:pt x="225" y="67"/>
                      </a:cubicBezTo>
                      <a:cubicBezTo>
                        <a:pt x="227" y="65"/>
                        <a:pt x="229" y="62"/>
                        <a:pt x="232" y="60"/>
                      </a:cubicBezTo>
                      <a:cubicBezTo>
                        <a:pt x="225" y="47"/>
                        <a:pt x="225" y="47"/>
                        <a:pt x="225" y="47"/>
                      </a:cubicBezTo>
                      <a:cubicBezTo>
                        <a:pt x="225" y="46"/>
                        <a:pt x="224" y="46"/>
                        <a:pt x="224" y="45"/>
                      </a:cubicBezTo>
                      <a:cubicBezTo>
                        <a:pt x="224" y="44"/>
                        <a:pt x="225" y="44"/>
                        <a:pt x="225" y="43"/>
                      </a:cubicBezTo>
                      <a:cubicBezTo>
                        <a:pt x="227" y="42"/>
                        <a:pt x="228" y="42"/>
                        <a:pt x="229" y="43"/>
                      </a:cubicBezTo>
                      <a:cubicBezTo>
                        <a:pt x="241" y="52"/>
                        <a:pt x="241" y="52"/>
                        <a:pt x="241" y="52"/>
                      </a:cubicBezTo>
                      <a:cubicBezTo>
                        <a:pt x="243" y="50"/>
                        <a:pt x="246" y="48"/>
                        <a:pt x="249" y="47"/>
                      </a:cubicBezTo>
                      <a:cubicBezTo>
                        <a:pt x="247" y="33"/>
                        <a:pt x="247" y="33"/>
                        <a:pt x="247" y="33"/>
                      </a:cubicBezTo>
                      <a:cubicBezTo>
                        <a:pt x="247" y="32"/>
                        <a:pt x="247" y="32"/>
                        <a:pt x="247" y="32"/>
                      </a:cubicBezTo>
                      <a:cubicBezTo>
                        <a:pt x="247" y="30"/>
                        <a:pt x="248" y="29"/>
                        <a:pt x="249" y="29"/>
                      </a:cubicBezTo>
                      <a:cubicBezTo>
                        <a:pt x="250" y="28"/>
                        <a:pt x="252" y="29"/>
                        <a:pt x="252" y="31"/>
                      </a:cubicBezTo>
                      <a:cubicBezTo>
                        <a:pt x="261" y="42"/>
                        <a:pt x="261" y="42"/>
                        <a:pt x="261" y="42"/>
                      </a:cubicBezTo>
                      <a:cubicBezTo>
                        <a:pt x="264" y="41"/>
                        <a:pt x="267" y="40"/>
                        <a:pt x="270" y="40"/>
                      </a:cubicBezTo>
                      <a:cubicBezTo>
                        <a:pt x="273" y="26"/>
                        <a:pt x="273" y="26"/>
                        <a:pt x="273" y="26"/>
                      </a:cubicBezTo>
                      <a:cubicBezTo>
                        <a:pt x="273" y="26"/>
                        <a:pt x="273" y="26"/>
                        <a:pt x="273" y="26"/>
                      </a:cubicBezTo>
                      <a:cubicBezTo>
                        <a:pt x="273" y="24"/>
                        <a:pt x="274" y="23"/>
                        <a:pt x="275" y="23"/>
                      </a:cubicBezTo>
                      <a:cubicBezTo>
                        <a:pt x="277" y="23"/>
                        <a:pt x="278" y="24"/>
                        <a:pt x="278" y="25"/>
                      </a:cubicBezTo>
                      <a:cubicBezTo>
                        <a:pt x="282" y="39"/>
                        <a:pt x="282" y="39"/>
                        <a:pt x="282" y="39"/>
                      </a:cubicBezTo>
                      <a:cubicBezTo>
                        <a:pt x="286" y="39"/>
                        <a:pt x="289" y="39"/>
                        <a:pt x="293" y="40"/>
                      </a:cubicBezTo>
                      <a:cubicBezTo>
                        <a:pt x="299" y="27"/>
                        <a:pt x="299" y="27"/>
                        <a:pt x="299" y="27"/>
                      </a:cubicBezTo>
                      <a:cubicBezTo>
                        <a:pt x="299" y="26"/>
                        <a:pt x="301" y="25"/>
                        <a:pt x="302" y="25"/>
                      </a:cubicBezTo>
                      <a:cubicBezTo>
                        <a:pt x="304" y="25"/>
                        <a:pt x="305" y="27"/>
                        <a:pt x="305" y="28"/>
                      </a:cubicBezTo>
                      <a:cubicBezTo>
                        <a:pt x="305" y="28"/>
                        <a:pt x="305" y="28"/>
                        <a:pt x="304" y="29"/>
                      </a:cubicBezTo>
                      <a:cubicBezTo>
                        <a:pt x="304" y="43"/>
                        <a:pt x="304" y="43"/>
                        <a:pt x="304" y="43"/>
                      </a:cubicBezTo>
                      <a:cubicBezTo>
                        <a:pt x="308" y="44"/>
                        <a:pt x="311" y="45"/>
                        <a:pt x="314" y="47"/>
                      </a:cubicBezTo>
                      <a:cubicBezTo>
                        <a:pt x="324" y="37"/>
                        <a:pt x="324" y="37"/>
                        <a:pt x="324" y="37"/>
                      </a:cubicBezTo>
                      <a:cubicBezTo>
                        <a:pt x="325" y="35"/>
                        <a:pt x="326" y="35"/>
                        <a:pt x="328" y="36"/>
                      </a:cubicBezTo>
                      <a:cubicBezTo>
                        <a:pt x="328" y="36"/>
                        <a:pt x="329" y="37"/>
                        <a:pt x="329" y="38"/>
                      </a:cubicBezTo>
                      <a:cubicBezTo>
                        <a:pt x="329" y="39"/>
                        <a:pt x="329" y="39"/>
                        <a:pt x="328" y="40"/>
                      </a:cubicBezTo>
                      <a:cubicBezTo>
                        <a:pt x="324" y="53"/>
                        <a:pt x="324" y="53"/>
                        <a:pt x="324" y="53"/>
                      </a:cubicBezTo>
                      <a:cubicBezTo>
                        <a:pt x="327" y="55"/>
                        <a:pt x="329" y="57"/>
                        <a:pt x="332" y="60"/>
                      </a:cubicBezTo>
                      <a:cubicBezTo>
                        <a:pt x="344" y="53"/>
                        <a:pt x="344" y="53"/>
                        <a:pt x="344" y="53"/>
                      </a:cubicBezTo>
                      <a:cubicBezTo>
                        <a:pt x="345" y="52"/>
                        <a:pt x="347" y="52"/>
                        <a:pt x="348" y="54"/>
                      </a:cubicBezTo>
                      <a:cubicBezTo>
                        <a:pt x="349" y="54"/>
                        <a:pt x="349" y="55"/>
                        <a:pt x="349" y="55"/>
                      </a:cubicBezTo>
                      <a:cubicBezTo>
                        <a:pt x="349" y="56"/>
                        <a:pt x="349" y="57"/>
                        <a:pt x="348" y="58"/>
                      </a:cubicBezTo>
                      <a:cubicBezTo>
                        <a:pt x="339" y="69"/>
                        <a:pt x="339" y="69"/>
                        <a:pt x="339" y="69"/>
                      </a:cubicBezTo>
                      <a:cubicBezTo>
                        <a:pt x="341" y="72"/>
                        <a:pt x="343" y="75"/>
                        <a:pt x="345" y="78"/>
                      </a:cubicBezTo>
                      <a:cubicBezTo>
                        <a:pt x="359" y="75"/>
                        <a:pt x="359" y="75"/>
                        <a:pt x="359" y="75"/>
                      </a:cubicBezTo>
                      <a:cubicBezTo>
                        <a:pt x="360" y="75"/>
                        <a:pt x="362" y="76"/>
                        <a:pt x="362" y="77"/>
                      </a:cubicBezTo>
                      <a:cubicBezTo>
                        <a:pt x="362" y="77"/>
                        <a:pt x="362" y="78"/>
                        <a:pt x="362" y="78"/>
                      </a:cubicBezTo>
                      <a:cubicBezTo>
                        <a:pt x="362" y="79"/>
                        <a:pt x="362" y="80"/>
                        <a:pt x="361" y="81"/>
                      </a:cubicBezTo>
                      <a:cubicBezTo>
                        <a:pt x="349" y="89"/>
                        <a:pt x="349" y="89"/>
                        <a:pt x="349" y="89"/>
                      </a:cubicBezTo>
                      <a:cubicBezTo>
                        <a:pt x="350" y="92"/>
                        <a:pt x="351" y="95"/>
                        <a:pt x="351" y="99"/>
                      </a:cubicBezTo>
                      <a:cubicBezTo>
                        <a:pt x="365" y="101"/>
                        <a:pt x="365" y="101"/>
                        <a:pt x="365" y="101"/>
                      </a:cubicBezTo>
                      <a:cubicBezTo>
                        <a:pt x="367" y="101"/>
                        <a:pt x="368" y="102"/>
                        <a:pt x="368" y="104"/>
                      </a:cubicBezTo>
                      <a:cubicBezTo>
                        <a:pt x="368" y="104"/>
                        <a:pt x="368" y="104"/>
                        <a:pt x="368" y="104"/>
                      </a:cubicBezTo>
                      <a:cubicBezTo>
                        <a:pt x="368" y="105"/>
                        <a:pt x="367" y="106"/>
                        <a:pt x="366" y="107"/>
                      </a:cubicBezTo>
                      <a:cubicBezTo>
                        <a:pt x="352" y="111"/>
                        <a:pt x="352" y="111"/>
                        <a:pt x="352" y="111"/>
                      </a:cubicBezTo>
                      <a:cubicBezTo>
                        <a:pt x="352" y="114"/>
                        <a:pt x="352" y="118"/>
                        <a:pt x="351" y="121"/>
                      </a:cubicBezTo>
                      <a:cubicBezTo>
                        <a:pt x="364" y="127"/>
                        <a:pt x="364" y="127"/>
                        <a:pt x="364" y="127"/>
                      </a:cubicBezTo>
                      <a:cubicBezTo>
                        <a:pt x="365" y="128"/>
                        <a:pt x="366" y="129"/>
                        <a:pt x="366" y="130"/>
                      </a:cubicBezTo>
                      <a:cubicBezTo>
                        <a:pt x="366" y="130"/>
                        <a:pt x="366" y="130"/>
                        <a:pt x="366" y="131"/>
                      </a:cubicBezTo>
                      <a:cubicBezTo>
                        <a:pt x="366" y="132"/>
                        <a:pt x="364" y="133"/>
                        <a:pt x="363" y="133"/>
                      </a:cubicBezTo>
                      <a:cubicBezTo>
                        <a:pt x="348" y="133"/>
                        <a:pt x="348" y="133"/>
                        <a:pt x="348" y="133"/>
                      </a:cubicBezTo>
                      <a:cubicBezTo>
                        <a:pt x="347" y="136"/>
                        <a:pt x="346" y="139"/>
                        <a:pt x="345" y="142"/>
                      </a:cubicBezTo>
                      <a:cubicBezTo>
                        <a:pt x="355" y="152"/>
                        <a:pt x="355" y="152"/>
                        <a:pt x="355" y="152"/>
                      </a:cubicBezTo>
                      <a:cubicBezTo>
                        <a:pt x="355" y="153"/>
                        <a:pt x="356" y="153"/>
                        <a:pt x="356" y="154"/>
                      </a:cubicBezTo>
                      <a:cubicBezTo>
                        <a:pt x="356" y="155"/>
                        <a:pt x="356" y="155"/>
                        <a:pt x="356" y="156"/>
                      </a:cubicBezTo>
                      <a:cubicBezTo>
                        <a:pt x="355" y="157"/>
                        <a:pt x="353" y="158"/>
                        <a:pt x="352" y="157"/>
                      </a:cubicBezTo>
                      <a:cubicBezTo>
                        <a:pt x="338" y="152"/>
                        <a:pt x="338" y="152"/>
                        <a:pt x="338" y="152"/>
                      </a:cubicBezTo>
                      <a:cubicBezTo>
                        <a:pt x="336" y="155"/>
                        <a:pt x="334" y="157"/>
                        <a:pt x="331" y="160"/>
                      </a:cubicBezTo>
                      <a:cubicBezTo>
                        <a:pt x="338" y="173"/>
                        <a:pt x="338" y="173"/>
                        <a:pt x="338" y="173"/>
                      </a:cubicBezTo>
                      <a:cubicBezTo>
                        <a:pt x="338" y="173"/>
                        <a:pt x="339" y="174"/>
                        <a:pt x="339" y="174"/>
                      </a:cubicBezTo>
                      <a:cubicBezTo>
                        <a:pt x="339" y="175"/>
                        <a:pt x="338" y="176"/>
                        <a:pt x="338" y="176"/>
                      </a:cubicBezTo>
                      <a:cubicBezTo>
                        <a:pt x="336" y="177"/>
                        <a:pt x="335" y="177"/>
                        <a:pt x="334" y="176"/>
                      </a:cubicBezTo>
                      <a:close/>
                      <a:moveTo>
                        <a:pt x="451" y="192"/>
                      </a:moveTo>
                      <a:cubicBezTo>
                        <a:pt x="442" y="195"/>
                        <a:pt x="442" y="195"/>
                        <a:pt x="442" y="195"/>
                      </a:cubicBezTo>
                      <a:cubicBezTo>
                        <a:pt x="442" y="197"/>
                        <a:pt x="442" y="200"/>
                        <a:pt x="441" y="202"/>
                      </a:cubicBezTo>
                      <a:cubicBezTo>
                        <a:pt x="450" y="206"/>
                        <a:pt x="450" y="206"/>
                        <a:pt x="450" y="206"/>
                      </a:cubicBezTo>
                      <a:cubicBezTo>
                        <a:pt x="451" y="206"/>
                        <a:pt x="451" y="207"/>
                        <a:pt x="451" y="208"/>
                      </a:cubicBezTo>
                      <a:cubicBezTo>
                        <a:pt x="451" y="208"/>
                        <a:pt x="451" y="208"/>
                        <a:pt x="451" y="208"/>
                      </a:cubicBezTo>
                      <a:cubicBezTo>
                        <a:pt x="451" y="209"/>
                        <a:pt x="450" y="210"/>
                        <a:pt x="449" y="210"/>
                      </a:cubicBezTo>
                      <a:cubicBezTo>
                        <a:pt x="439" y="210"/>
                        <a:pt x="439" y="210"/>
                        <a:pt x="439" y="210"/>
                      </a:cubicBezTo>
                      <a:cubicBezTo>
                        <a:pt x="439" y="212"/>
                        <a:pt x="438" y="214"/>
                        <a:pt x="437" y="216"/>
                      </a:cubicBezTo>
                      <a:cubicBezTo>
                        <a:pt x="444" y="223"/>
                        <a:pt x="444" y="223"/>
                        <a:pt x="444" y="223"/>
                      </a:cubicBezTo>
                      <a:cubicBezTo>
                        <a:pt x="444" y="223"/>
                        <a:pt x="444" y="224"/>
                        <a:pt x="444" y="224"/>
                      </a:cubicBezTo>
                      <a:cubicBezTo>
                        <a:pt x="444" y="225"/>
                        <a:pt x="444" y="225"/>
                        <a:pt x="444" y="225"/>
                      </a:cubicBezTo>
                      <a:cubicBezTo>
                        <a:pt x="444" y="226"/>
                        <a:pt x="443" y="226"/>
                        <a:pt x="442" y="226"/>
                      </a:cubicBezTo>
                      <a:cubicBezTo>
                        <a:pt x="433" y="223"/>
                        <a:pt x="433" y="223"/>
                        <a:pt x="433" y="223"/>
                      </a:cubicBezTo>
                      <a:cubicBezTo>
                        <a:pt x="431" y="224"/>
                        <a:pt x="430" y="226"/>
                        <a:pt x="428" y="228"/>
                      </a:cubicBezTo>
                      <a:cubicBezTo>
                        <a:pt x="433" y="236"/>
                        <a:pt x="433" y="236"/>
                        <a:pt x="433" y="236"/>
                      </a:cubicBezTo>
                      <a:cubicBezTo>
                        <a:pt x="433" y="237"/>
                        <a:pt x="433" y="237"/>
                        <a:pt x="433" y="237"/>
                      </a:cubicBezTo>
                      <a:cubicBezTo>
                        <a:pt x="433" y="238"/>
                        <a:pt x="433" y="239"/>
                        <a:pt x="432" y="239"/>
                      </a:cubicBezTo>
                      <a:cubicBezTo>
                        <a:pt x="431" y="240"/>
                        <a:pt x="430" y="239"/>
                        <a:pt x="430" y="239"/>
                      </a:cubicBezTo>
                      <a:cubicBezTo>
                        <a:pt x="422" y="233"/>
                        <a:pt x="422" y="233"/>
                        <a:pt x="422" y="233"/>
                      </a:cubicBezTo>
                      <a:cubicBezTo>
                        <a:pt x="420" y="234"/>
                        <a:pt x="418" y="235"/>
                        <a:pt x="416" y="236"/>
                      </a:cubicBezTo>
                      <a:cubicBezTo>
                        <a:pt x="418" y="246"/>
                        <a:pt x="418" y="246"/>
                        <a:pt x="418" y="246"/>
                      </a:cubicBezTo>
                      <a:cubicBezTo>
                        <a:pt x="418" y="246"/>
                        <a:pt x="418" y="246"/>
                        <a:pt x="418" y="247"/>
                      </a:cubicBezTo>
                      <a:cubicBezTo>
                        <a:pt x="418" y="247"/>
                        <a:pt x="417" y="248"/>
                        <a:pt x="417" y="248"/>
                      </a:cubicBezTo>
                      <a:cubicBezTo>
                        <a:pt x="416" y="249"/>
                        <a:pt x="415" y="248"/>
                        <a:pt x="414" y="247"/>
                      </a:cubicBezTo>
                      <a:cubicBezTo>
                        <a:pt x="409" y="239"/>
                        <a:pt x="409" y="239"/>
                        <a:pt x="409" y="239"/>
                      </a:cubicBezTo>
                      <a:cubicBezTo>
                        <a:pt x="407" y="240"/>
                        <a:pt x="404" y="241"/>
                        <a:pt x="402" y="241"/>
                      </a:cubicBezTo>
                      <a:cubicBezTo>
                        <a:pt x="401" y="250"/>
                        <a:pt x="401" y="250"/>
                        <a:pt x="401" y="250"/>
                      </a:cubicBezTo>
                      <a:cubicBezTo>
                        <a:pt x="401" y="250"/>
                        <a:pt x="401" y="251"/>
                        <a:pt x="401" y="251"/>
                      </a:cubicBezTo>
                      <a:cubicBezTo>
                        <a:pt x="401" y="252"/>
                        <a:pt x="400" y="252"/>
                        <a:pt x="399" y="252"/>
                      </a:cubicBezTo>
                      <a:cubicBezTo>
                        <a:pt x="399" y="252"/>
                        <a:pt x="399" y="252"/>
                        <a:pt x="399" y="252"/>
                      </a:cubicBezTo>
                      <a:cubicBezTo>
                        <a:pt x="398" y="252"/>
                        <a:pt x="397" y="252"/>
                        <a:pt x="397" y="251"/>
                      </a:cubicBezTo>
                      <a:cubicBezTo>
                        <a:pt x="394" y="242"/>
                        <a:pt x="394" y="242"/>
                        <a:pt x="394" y="242"/>
                      </a:cubicBezTo>
                      <a:cubicBezTo>
                        <a:pt x="392" y="242"/>
                        <a:pt x="390" y="241"/>
                        <a:pt x="387" y="241"/>
                      </a:cubicBezTo>
                      <a:cubicBezTo>
                        <a:pt x="383" y="250"/>
                        <a:pt x="383" y="250"/>
                        <a:pt x="383" y="250"/>
                      </a:cubicBezTo>
                      <a:cubicBezTo>
                        <a:pt x="383" y="251"/>
                        <a:pt x="382" y="251"/>
                        <a:pt x="381" y="251"/>
                      </a:cubicBezTo>
                      <a:cubicBezTo>
                        <a:pt x="380" y="251"/>
                        <a:pt x="379" y="250"/>
                        <a:pt x="379" y="249"/>
                      </a:cubicBezTo>
                      <a:cubicBezTo>
                        <a:pt x="379" y="249"/>
                        <a:pt x="379" y="249"/>
                        <a:pt x="379" y="249"/>
                      </a:cubicBezTo>
                      <a:cubicBezTo>
                        <a:pt x="380" y="239"/>
                        <a:pt x="380" y="239"/>
                        <a:pt x="380" y="239"/>
                      </a:cubicBezTo>
                      <a:cubicBezTo>
                        <a:pt x="377" y="238"/>
                        <a:pt x="375" y="237"/>
                        <a:pt x="373" y="236"/>
                      </a:cubicBezTo>
                      <a:cubicBezTo>
                        <a:pt x="367" y="243"/>
                        <a:pt x="367" y="243"/>
                        <a:pt x="367" y="243"/>
                      </a:cubicBezTo>
                      <a:cubicBezTo>
                        <a:pt x="366" y="244"/>
                        <a:pt x="365" y="244"/>
                        <a:pt x="364" y="244"/>
                      </a:cubicBezTo>
                      <a:cubicBezTo>
                        <a:pt x="364" y="243"/>
                        <a:pt x="363" y="243"/>
                        <a:pt x="363" y="242"/>
                      </a:cubicBezTo>
                      <a:cubicBezTo>
                        <a:pt x="363" y="242"/>
                        <a:pt x="363" y="242"/>
                        <a:pt x="364" y="241"/>
                      </a:cubicBezTo>
                      <a:cubicBezTo>
                        <a:pt x="367" y="232"/>
                        <a:pt x="367" y="232"/>
                        <a:pt x="367" y="232"/>
                      </a:cubicBezTo>
                      <a:cubicBezTo>
                        <a:pt x="365" y="231"/>
                        <a:pt x="363" y="229"/>
                        <a:pt x="361" y="228"/>
                      </a:cubicBezTo>
                      <a:cubicBezTo>
                        <a:pt x="353" y="232"/>
                        <a:pt x="353" y="232"/>
                        <a:pt x="353" y="232"/>
                      </a:cubicBezTo>
                      <a:cubicBezTo>
                        <a:pt x="352" y="233"/>
                        <a:pt x="351" y="233"/>
                        <a:pt x="350" y="232"/>
                      </a:cubicBezTo>
                      <a:cubicBezTo>
                        <a:pt x="350" y="232"/>
                        <a:pt x="350" y="231"/>
                        <a:pt x="350" y="231"/>
                      </a:cubicBezTo>
                      <a:cubicBezTo>
                        <a:pt x="350" y="230"/>
                        <a:pt x="350" y="230"/>
                        <a:pt x="351" y="229"/>
                      </a:cubicBezTo>
                      <a:cubicBezTo>
                        <a:pt x="356" y="222"/>
                        <a:pt x="356" y="222"/>
                        <a:pt x="356" y="222"/>
                      </a:cubicBezTo>
                      <a:cubicBezTo>
                        <a:pt x="355" y="220"/>
                        <a:pt x="354" y="218"/>
                        <a:pt x="353" y="216"/>
                      </a:cubicBezTo>
                      <a:cubicBezTo>
                        <a:pt x="343" y="217"/>
                        <a:pt x="343" y="217"/>
                        <a:pt x="343" y="217"/>
                      </a:cubicBezTo>
                      <a:cubicBezTo>
                        <a:pt x="342" y="218"/>
                        <a:pt x="341" y="217"/>
                        <a:pt x="341" y="216"/>
                      </a:cubicBezTo>
                      <a:cubicBezTo>
                        <a:pt x="341" y="216"/>
                        <a:pt x="341" y="216"/>
                        <a:pt x="341" y="216"/>
                      </a:cubicBezTo>
                      <a:cubicBezTo>
                        <a:pt x="341" y="215"/>
                        <a:pt x="341" y="214"/>
                        <a:pt x="342" y="214"/>
                      </a:cubicBezTo>
                      <a:cubicBezTo>
                        <a:pt x="350" y="208"/>
                        <a:pt x="350" y="208"/>
                        <a:pt x="350" y="208"/>
                      </a:cubicBezTo>
                      <a:cubicBezTo>
                        <a:pt x="349" y="206"/>
                        <a:pt x="349" y="204"/>
                        <a:pt x="348" y="202"/>
                      </a:cubicBezTo>
                      <a:cubicBezTo>
                        <a:pt x="339" y="200"/>
                        <a:pt x="339" y="200"/>
                        <a:pt x="339" y="200"/>
                      </a:cubicBezTo>
                      <a:cubicBezTo>
                        <a:pt x="338" y="200"/>
                        <a:pt x="337" y="200"/>
                        <a:pt x="337" y="199"/>
                      </a:cubicBezTo>
                      <a:cubicBezTo>
                        <a:pt x="337" y="199"/>
                        <a:pt x="337" y="198"/>
                        <a:pt x="337" y="198"/>
                      </a:cubicBezTo>
                      <a:cubicBezTo>
                        <a:pt x="337" y="197"/>
                        <a:pt x="338" y="197"/>
                        <a:pt x="339" y="197"/>
                      </a:cubicBezTo>
                      <a:cubicBezTo>
                        <a:pt x="348" y="194"/>
                        <a:pt x="348" y="194"/>
                        <a:pt x="348" y="194"/>
                      </a:cubicBezTo>
                      <a:cubicBezTo>
                        <a:pt x="348" y="191"/>
                        <a:pt x="348" y="189"/>
                        <a:pt x="348" y="187"/>
                      </a:cubicBezTo>
                      <a:cubicBezTo>
                        <a:pt x="340" y="183"/>
                        <a:pt x="340" y="183"/>
                        <a:pt x="340" y="183"/>
                      </a:cubicBezTo>
                      <a:cubicBezTo>
                        <a:pt x="339" y="182"/>
                        <a:pt x="338" y="182"/>
                        <a:pt x="338" y="181"/>
                      </a:cubicBezTo>
                      <a:cubicBezTo>
                        <a:pt x="338" y="181"/>
                        <a:pt x="338" y="181"/>
                        <a:pt x="338" y="180"/>
                      </a:cubicBezTo>
                      <a:cubicBezTo>
                        <a:pt x="339" y="179"/>
                        <a:pt x="340" y="179"/>
                        <a:pt x="341" y="179"/>
                      </a:cubicBezTo>
                      <a:cubicBezTo>
                        <a:pt x="350" y="179"/>
                        <a:pt x="350" y="179"/>
                        <a:pt x="350" y="179"/>
                      </a:cubicBezTo>
                      <a:cubicBezTo>
                        <a:pt x="351" y="177"/>
                        <a:pt x="352" y="175"/>
                        <a:pt x="353" y="173"/>
                      </a:cubicBezTo>
                      <a:cubicBezTo>
                        <a:pt x="346" y="166"/>
                        <a:pt x="346" y="166"/>
                        <a:pt x="346" y="166"/>
                      </a:cubicBezTo>
                      <a:cubicBezTo>
                        <a:pt x="346" y="166"/>
                        <a:pt x="345" y="165"/>
                        <a:pt x="345" y="165"/>
                      </a:cubicBezTo>
                      <a:cubicBezTo>
                        <a:pt x="345" y="164"/>
                        <a:pt x="345" y="164"/>
                        <a:pt x="345" y="164"/>
                      </a:cubicBezTo>
                      <a:cubicBezTo>
                        <a:pt x="346" y="163"/>
                        <a:pt x="347" y="163"/>
                        <a:pt x="348" y="163"/>
                      </a:cubicBezTo>
                      <a:cubicBezTo>
                        <a:pt x="357" y="166"/>
                        <a:pt x="357" y="166"/>
                        <a:pt x="357" y="166"/>
                      </a:cubicBezTo>
                      <a:cubicBezTo>
                        <a:pt x="358" y="164"/>
                        <a:pt x="360" y="163"/>
                        <a:pt x="361" y="161"/>
                      </a:cubicBezTo>
                      <a:cubicBezTo>
                        <a:pt x="357" y="153"/>
                        <a:pt x="357" y="153"/>
                        <a:pt x="357" y="153"/>
                      </a:cubicBezTo>
                      <a:cubicBezTo>
                        <a:pt x="357" y="152"/>
                        <a:pt x="357" y="152"/>
                        <a:pt x="357" y="151"/>
                      </a:cubicBezTo>
                      <a:cubicBezTo>
                        <a:pt x="357" y="151"/>
                        <a:pt x="357" y="150"/>
                        <a:pt x="357" y="150"/>
                      </a:cubicBezTo>
                      <a:cubicBezTo>
                        <a:pt x="358" y="149"/>
                        <a:pt x="359" y="149"/>
                        <a:pt x="360" y="150"/>
                      </a:cubicBezTo>
                      <a:cubicBezTo>
                        <a:pt x="368" y="156"/>
                        <a:pt x="368" y="156"/>
                        <a:pt x="368" y="156"/>
                      </a:cubicBezTo>
                      <a:cubicBezTo>
                        <a:pt x="369" y="155"/>
                        <a:pt x="371" y="153"/>
                        <a:pt x="373" y="152"/>
                      </a:cubicBezTo>
                      <a:cubicBezTo>
                        <a:pt x="372" y="143"/>
                        <a:pt x="372" y="143"/>
                        <a:pt x="372" y="143"/>
                      </a:cubicBezTo>
                      <a:cubicBezTo>
                        <a:pt x="372" y="143"/>
                        <a:pt x="372" y="143"/>
                        <a:pt x="372" y="142"/>
                      </a:cubicBezTo>
                      <a:cubicBezTo>
                        <a:pt x="372" y="142"/>
                        <a:pt x="372" y="141"/>
                        <a:pt x="373" y="141"/>
                      </a:cubicBezTo>
                      <a:cubicBezTo>
                        <a:pt x="374" y="140"/>
                        <a:pt x="375" y="141"/>
                        <a:pt x="375" y="142"/>
                      </a:cubicBezTo>
                      <a:cubicBezTo>
                        <a:pt x="381" y="149"/>
                        <a:pt x="381" y="149"/>
                        <a:pt x="381" y="149"/>
                      </a:cubicBezTo>
                      <a:cubicBezTo>
                        <a:pt x="383" y="149"/>
                        <a:pt x="385" y="148"/>
                        <a:pt x="387" y="148"/>
                      </a:cubicBezTo>
                      <a:cubicBezTo>
                        <a:pt x="389" y="138"/>
                        <a:pt x="389" y="138"/>
                        <a:pt x="389" y="138"/>
                      </a:cubicBezTo>
                      <a:cubicBezTo>
                        <a:pt x="389" y="138"/>
                        <a:pt x="389" y="138"/>
                        <a:pt x="389" y="138"/>
                      </a:cubicBezTo>
                      <a:cubicBezTo>
                        <a:pt x="389" y="137"/>
                        <a:pt x="390" y="136"/>
                        <a:pt x="391" y="136"/>
                      </a:cubicBezTo>
                      <a:cubicBezTo>
                        <a:pt x="392" y="136"/>
                        <a:pt x="393" y="137"/>
                        <a:pt x="393" y="138"/>
                      </a:cubicBezTo>
                      <a:cubicBezTo>
                        <a:pt x="395" y="147"/>
                        <a:pt x="395" y="147"/>
                        <a:pt x="395" y="147"/>
                      </a:cubicBezTo>
                      <a:cubicBezTo>
                        <a:pt x="398" y="147"/>
                        <a:pt x="400" y="147"/>
                        <a:pt x="402" y="148"/>
                      </a:cubicBezTo>
                      <a:cubicBezTo>
                        <a:pt x="407" y="139"/>
                        <a:pt x="407" y="139"/>
                        <a:pt x="407" y="139"/>
                      </a:cubicBezTo>
                      <a:cubicBezTo>
                        <a:pt x="407" y="138"/>
                        <a:pt x="408" y="138"/>
                        <a:pt x="409" y="138"/>
                      </a:cubicBezTo>
                      <a:cubicBezTo>
                        <a:pt x="410" y="138"/>
                        <a:pt x="410" y="139"/>
                        <a:pt x="410" y="140"/>
                      </a:cubicBezTo>
                      <a:cubicBezTo>
                        <a:pt x="410" y="140"/>
                        <a:pt x="410" y="140"/>
                        <a:pt x="410" y="140"/>
                      </a:cubicBezTo>
                      <a:cubicBezTo>
                        <a:pt x="410" y="150"/>
                        <a:pt x="410" y="150"/>
                        <a:pt x="410" y="150"/>
                      </a:cubicBezTo>
                      <a:cubicBezTo>
                        <a:pt x="412" y="150"/>
                        <a:pt x="414" y="151"/>
                        <a:pt x="416" y="152"/>
                      </a:cubicBezTo>
                      <a:cubicBezTo>
                        <a:pt x="423" y="146"/>
                        <a:pt x="423" y="146"/>
                        <a:pt x="423" y="146"/>
                      </a:cubicBezTo>
                      <a:cubicBezTo>
                        <a:pt x="424" y="145"/>
                        <a:pt x="425" y="145"/>
                        <a:pt x="426" y="145"/>
                      </a:cubicBezTo>
                      <a:cubicBezTo>
                        <a:pt x="426" y="145"/>
                        <a:pt x="426" y="146"/>
                        <a:pt x="426" y="147"/>
                      </a:cubicBezTo>
                      <a:cubicBezTo>
                        <a:pt x="426" y="147"/>
                        <a:pt x="426" y="147"/>
                        <a:pt x="426" y="148"/>
                      </a:cubicBezTo>
                      <a:cubicBezTo>
                        <a:pt x="423" y="157"/>
                        <a:pt x="423" y="157"/>
                        <a:pt x="423" y="157"/>
                      </a:cubicBezTo>
                      <a:cubicBezTo>
                        <a:pt x="425" y="158"/>
                        <a:pt x="427" y="159"/>
                        <a:pt x="428" y="161"/>
                      </a:cubicBezTo>
                      <a:cubicBezTo>
                        <a:pt x="437" y="157"/>
                        <a:pt x="437" y="157"/>
                        <a:pt x="437" y="157"/>
                      </a:cubicBezTo>
                      <a:cubicBezTo>
                        <a:pt x="437" y="156"/>
                        <a:pt x="439" y="156"/>
                        <a:pt x="439" y="157"/>
                      </a:cubicBezTo>
                      <a:cubicBezTo>
                        <a:pt x="440" y="157"/>
                        <a:pt x="440" y="158"/>
                        <a:pt x="440" y="158"/>
                      </a:cubicBezTo>
                      <a:cubicBezTo>
                        <a:pt x="440" y="159"/>
                        <a:pt x="440" y="159"/>
                        <a:pt x="439" y="160"/>
                      </a:cubicBezTo>
                      <a:cubicBezTo>
                        <a:pt x="433" y="167"/>
                        <a:pt x="433" y="167"/>
                        <a:pt x="433" y="167"/>
                      </a:cubicBezTo>
                      <a:cubicBezTo>
                        <a:pt x="435" y="169"/>
                        <a:pt x="436" y="171"/>
                        <a:pt x="437" y="173"/>
                      </a:cubicBezTo>
                      <a:cubicBezTo>
                        <a:pt x="446" y="172"/>
                        <a:pt x="446" y="172"/>
                        <a:pt x="446" y="172"/>
                      </a:cubicBezTo>
                      <a:cubicBezTo>
                        <a:pt x="447" y="171"/>
                        <a:pt x="448" y="172"/>
                        <a:pt x="449" y="173"/>
                      </a:cubicBezTo>
                      <a:cubicBezTo>
                        <a:pt x="449" y="173"/>
                        <a:pt x="449" y="173"/>
                        <a:pt x="449" y="173"/>
                      </a:cubicBezTo>
                      <a:cubicBezTo>
                        <a:pt x="449" y="174"/>
                        <a:pt x="448" y="175"/>
                        <a:pt x="448" y="175"/>
                      </a:cubicBezTo>
                      <a:cubicBezTo>
                        <a:pt x="440" y="180"/>
                        <a:pt x="440" y="180"/>
                        <a:pt x="440" y="180"/>
                      </a:cubicBezTo>
                      <a:cubicBezTo>
                        <a:pt x="441" y="183"/>
                        <a:pt x="441" y="185"/>
                        <a:pt x="441" y="187"/>
                      </a:cubicBezTo>
                      <a:cubicBezTo>
                        <a:pt x="451" y="189"/>
                        <a:pt x="451" y="189"/>
                        <a:pt x="451" y="189"/>
                      </a:cubicBezTo>
                      <a:cubicBezTo>
                        <a:pt x="452" y="188"/>
                        <a:pt x="453" y="189"/>
                        <a:pt x="453" y="190"/>
                      </a:cubicBezTo>
                      <a:cubicBezTo>
                        <a:pt x="453" y="190"/>
                        <a:pt x="453" y="190"/>
                        <a:pt x="453" y="190"/>
                      </a:cubicBezTo>
                      <a:cubicBezTo>
                        <a:pt x="453" y="191"/>
                        <a:pt x="452" y="192"/>
                        <a:pt x="451" y="19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Oval 24"/>
                <p:cNvSpPr>
                  <a:spLocks noChangeArrowheads="1"/>
                </p:cNvSpPr>
                <p:nvPr/>
              </p:nvSpPr>
              <p:spPr bwMode="auto">
                <a:xfrm>
                  <a:off x="-1333500" y="3128963"/>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25"/>
                <p:cNvSpPr>
                  <a:spLocks/>
                </p:cNvSpPr>
                <p:nvPr/>
              </p:nvSpPr>
              <p:spPr bwMode="auto">
                <a:xfrm>
                  <a:off x="-1423988" y="2082800"/>
                  <a:ext cx="889000" cy="357188"/>
                </a:xfrm>
                <a:custGeom>
                  <a:avLst/>
                  <a:gdLst>
                    <a:gd name="T0" fmla="*/ 218 w 237"/>
                    <a:gd name="T1" fmla="*/ 95 h 95"/>
                    <a:gd name="T2" fmla="*/ 217 w 237"/>
                    <a:gd name="T3" fmla="*/ 94 h 95"/>
                    <a:gd name="T4" fmla="*/ 234 w 237"/>
                    <a:gd name="T5" fmla="*/ 82 h 95"/>
                    <a:gd name="T6" fmla="*/ 237 w 237"/>
                    <a:gd name="T7" fmla="*/ 79 h 95"/>
                    <a:gd name="T8" fmla="*/ 236 w 237"/>
                    <a:gd name="T9" fmla="*/ 77 h 95"/>
                    <a:gd name="T10" fmla="*/ 231 w 237"/>
                    <a:gd name="T11" fmla="*/ 75 h 95"/>
                    <a:gd name="T12" fmla="*/ 211 w 237"/>
                    <a:gd name="T13" fmla="*/ 78 h 95"/>
                    <a:gd name="T14" fmla="*/ 203 w 237"/>
                    <a:gd name="T15" fmla="*/ 66 h 95"/>
                    <a:gd name="T16" fmla="*/ 216 w 237"/>
                    <a:gd name="T17" fmla="*/ 49 h 95"/>
                    <a:gd name="T18" fmla="*/ 217 w 237"/>
                    <a:gd name="T19" fmla="*/ 46 h 95"/>
                    <a:gd name="T20" fmla="*/ 216 w 237"/>
                    <a:gd name="T21" fmla="*/ 44 h 95"/>
                    <a:gd name="T22" fmla="*/ 211 w 237"/>
                    <a:gd name="T23" fmla="*/ 43 h 95"/>
                    <a:gd name="T24" fmla="*/ 192 w 237"/>
                    <a:gd name="T25" fmla="*/ 53 h 95"/>
                    <a:gd name="T26" fmla="*/ 181 w 237"/>
                    <a:gd name="T27" fmla="*/ 43 h 95"/>
                    <a:gd name="T28" fmla="*/ 188 w 237"/>
                    <a:gd name="T29" fmla="*/ 24 h 95"/>
                    <a:gd name="T30" fmla="*/ 189 w 237"/>
                    <a:gd name="T31" fmla="*/ 22 h 95"/>
                    <a:gd name="T32" fmla="*/ 187 w 237"/>
                    <a:gd name="T33" fmla="*/ 18 h 95"/>
                    <a:gd name="T34" fmla="*/ 181 w 237"/>
                    <a:gd name="T35" fmla="*/ 20 h 95"/>
                    <a:gd name="T36" fmla="*/ 167 w 237"/>
                    <a:gd name="T37" fmla="*/ 34 h 95"/>
                    <a:gd name="T38" fmla="*/ 153 w 237"/>
                    <a:gd name="T39" fmla="*/ 28 h 95"/>
                    <a:gd name="T40" fmla="*/ 154 w 237"/>
                    <a:gd name="T41" fmla="*/ 8 h 95"/>
                    <a:gd name="T42" fmla="*/ 154 w 237"/>
                    <a:gd name="T43" fmla="*/ 7 h 95"/>
                    <a:gd name="T44" fmla="*/ 151 w 237"/>
                    <a:gd name="T45" fmla="*/ 3 h 95"/>
                    <a:gd name="T46" fmla="*/ 146 w 237"/>
                    <a:gd name="T47" fmla="*/ 6 h 95"/>
                    <a:gd name="T48" fmla="*/ 137 w 237"/>
                    <a:gd name="T49" fmla="*/ 24 h 95"/>
                    <a:gd name="T50" fmla="*/ 122 w 237"/>
                    <a:gd name="T51" fmla="*/ 23 h 95"/>
                    <a:gd name="T52" fmla="*/ 116 w 237"/>
                    <a:gd name="T53" fmla="*/ 4 h 95"/>
                    <a:gd name="T54" fmla="*/ 112 w 237"/>
                    <a:gd name="T55" fmla="*/ 0 h 95"/>
                    <a:gd name="T56" fmla="*/ 108 w 237"/>
                    <a:gd name="T57" fmla="*/ 4 h 95"/>
                    <a:gd name="T58" fmla="*/ 108 w 237"/>
                    <a:gd name="T59" fmla="*/ 4 h 95"/>
                    <a:gd name="T60" fmla="*/ 105 w 237"/>
                    <a:gd name="T61" fmla="*/ 24 h 95"/>
                    <a:gd name="T62" fmla="*/ 91 w 237"/>
                    <a:gd name="T63" fmla="*/ 28 h 95"/>
                    <a:gd name="T64" fmla="*/ 79 w 237"/>
                    <a:gd name="T65" fmla="*/ 11 h 95"/>
                    <a:gd name="T66" fmla="*/ 74 w 237"/>
                    <a:gd name="T67" fmla="*/ 9 h 95"/>
                    <a:gd name="T68" fmla="*/ 71 w 237"/>
                    <a:gd name="T69" fmla="*/ 12 h 95"/>
                    <a:gd name="T70" fmla="*/ 72 w 237"/>
                    <a:gd name="T71" fmla="*/ 14 h 95"/>
                    <a:gd name="T72" fmla="*/ 75 w 237"/>
                    <a:gd name="T73" fmla="*/ 34 h 95"/>
                    <a:gd name="T74" fmla="*/ 63 w 237"/>
                    <a:gd name="T75" fmla="*/ 42 h 95"/>
                    <a:gd name="T76" fmla="*/ 46 w 237"/>
                    <a:gd name="T77" fmla="*/ 29 h 95"/>
                    <a:gd name="T78" fmla="*/ 41 w 237"/>
                    <a:gd name="T79" fmla="*/ 29 h 95"/>
                    <a:gd name="T80" fmla="*/ 39 w 237"/>
                    <a:gd name="T81" fmla="*/ 32 h 95"/>
                    <a:gd name="T82" fmla="*/ 40 w 237"/>
                    <a:gd name="T83" fmla="*/ 34 h 95"/>
                    <a:gd name="T84" fmla="*/ 49 w 237"/>
                    <a:gd name="T85" fmla="*/ 53 h 95"/>
                    <a:gd name="T86" fmla="*/ 40 w 237"/>
                    <a:gd name="T87" fmla="*/ 64 h 95"/>
                    <a:gd name="T88" fmla="*/ 21 w 237"/>
                    <a:gd name="T89" fmla="*/ 57 h 95"/>
                    <a:gd name="T90" fmla="*/ 15 w 237"/>
                    <a:gd name="T91" fmla="*/ 58 h 95"/>
                    <a:gd name="T92" fmla="*/ 14 w 237"/>
                    <a:gd name="T93" fmla="*/ 60 h 95"/>
                    <a:gd name="T94" fmla="*/ 16 w 237"/>
                    <a:gd name="T95" fmla="*/ 64 h 95"/>
                    <a:gd name="T96" fmla="*/ 31 w 237"/>
                    <a:gd name="T97" fmla="*/ 78 h 95"/>
                    <a:gd name="T98" fmla="*/ 25 w 237"/>
                    <a:gd name="T99" fmla="*/ 92 h 95"/>
                    <a:gd name="T100" fmla="*/ 5 w 237"/>
                    <a:gd name="T101" fmla="*/ 91 h 95"/>
                    <a:gd name="T102" fmla="*/ 0 w 237"/>
                    <a:gd name="T103" fmla="*/ 94 h 95"/>
                    <a:gd name="T104" fmla="*/ 0 w 237"/>
                    <a:gd name="T105" fmla="*/ 95 h 95"/>
                    <a:gd name="T106" fmla="*/ 218 w 237"/>
                    <a:gd name="T107"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7" h="95">
                      <a:moveTo>
                        <a:pt x="218" y="95"/>
                      </a:moveTo>
                      <a:cubicBezTo>
                        <a:pt x="218" y="95"/>
                        <a:pt x="217" y="94"/>
                        <a:pt x="217" y="94"/>
                      </a:cubicBezTo>
                      <a:cubicBezTo>
                        <a:pt x="234" y="82"/>
                        <a:pt x="234" y="82"/>
                        <a:pt x="234" y="82"/>
                      </a:cubicBezTo>
                      <a:cubicBezTo>
                        <a:pt x="236" y="82"/>
                        <a:pt x="237" y="80"/>
                        <a:pt x="237" y="79"/>
                      </a:cubicBezTo>
                      <a:cubicBezTo>
                        <a:pt x="237" y="78"/>
                        <a:pt x="236" y="78"/>
                        <a:pt x="236" y="77"/>
                      </a:cubicBezTo>
                      <a:cubicBezTo>
                        <a:pt x="235" y="75"/>
                        <a:pt x="233" y="74"/>
                        <a:pt x="231" y="75"/>
                      </a:cubicBezTo>
                      <a:cubicBezTo>
                        <a:pt x="211" y="78"/>
                        <a:pt x="211" y="78"/>
                        <a:pt x="211" y="78"/>
                      </a:cubicBezTo>
                      <a:cubicBezTo>
                        <a:pt x="209" y="74"/>
                        <a:pt x="206" y="70"/>
                        <a:pt x="203" y="66"/>
                      </a:cubicBezTo>
                      <a:cubicBezTo>
                        <a:pt x="216" y="49"/>
                        <a:pt x="216" y="49"/>
                        <a:pt x="216" y="49"/>
                      </a:cubicBezTo>
                      <a:cubicBezTo>
                        <a:pt x="217" y="49"/>
                        <a:pt x="217" y="48"/>
                        <a:pt x="217" y="46"/>
                      </a:cubicBezTo>
                      <a:cubicBezTo>
                        <a:pt x="217" y="46"/>
                        <a:pt x="217" y="45"/>
                        <a:pt x="216" y="44"/>
                      </a:cubicBezTo>
                      <a:cubicBezTo>
                        <a:pt x="215" y="42"/>
                        <a:pt x="212" y="42"/>
                        <a:pt x="211" y="43"/>
                      </a:cubicBezTo>
                      <a:cubicBezTo>
                        <a:pt x="192" y="53"/>
                        <a:pt x="192" y="53"/>
                        <a:pt x="192" y="53"/>
                      </a:cubicBezTo>
                      <a:cubicBezTo>
                        <a:pt x="189" y="49"/>
                        <a:pt x="185" y="46"/>
                        <a:pt x="181" y="43"/>
                      </a:cubicBezTo>
                      <a:cubicBezTo>
                        <a:pt x="188" y="24"/>
                        <a:pt x="188" y="24"/>
                        <a:pt x="188" y="24"/>
                      </a:cubicBezTo>
                      <a:cubicBezTo>
                        <a:pt x="188" y="23"/>
                        <a:pt x="189" y="22"/>
                        <a:pt x="189" y="22"/>
                      </a:cubicBezTo>
                      <a:cubicBezTo>
                        <a:pt x="189" y="20"/>
                        <a:pt x="188" y="19"/>
                        <a:pt x="187" y="18"/>
                      </a:cubicBezTo>
                      <a:cubicBezTo>
                        <a:pt x="185" y="17"/>
                        <a:pt x="182" y="18"/>
                        <a:pt x="181" y="20"/>
                      </a:cubicBezTo>
                      <a:cubicBezTo>
                        <a:pt x="167" y="34"/>
                        <a:pt x="167" y="34"/>
                        <a:pt x="167" y="34"/>
                      </a:cubicBezTo>
                      <a:cubicBezTo>
                        <a:pt x="162" y="32"/>
                        <a:pt x="158" y="30"/>
                        <a:pt x="153" y="28"/>
                      </a:cubicBezTo>
                      <a:cubicBezTo>
                        <a:pt x="154" y="8"/>
                        <a:pt x="154" y="8"/>
                        <a:pt x="154" y="8"/>
                      </a:cubicBezTo>
                      <a:cubicBezTo>
                        <a:pt x="154" y="8"/>
                        <a:pt x="154" y="7"/>
                        <a:pt x="154" y="7"/>
                      </a:cubicBezTo>
                      <a:cubicBezTo>
                        <a:pt x="154" y="5"/>
                        <a:pt x="153" y="4"/>
                        <a:pt x="151" y="3"/>
                      </a:cubicBezTo>
                      <a:cubicBezTo>
                        <a:pt x="149" y="3"/>
                        <a:pt x="146" y="4"/>
                        <a:pt x="146" y="6"/>
                      </a:cubicBezTo>
                      <a:cubicBezTo>
                        <a:pt x="137" y="24"/>
                        <a:pt x="137" y="24"/>
                        <a:pt x="137" y="24"/>
                      </a:cubicBezTo>
                      <a:cubicBezTo>
                        <a:pt x="132" y="24"/>
                        <a:pt x="127" y="23"/>
                        <a:pt x="122" y="23"/>
                      </a:cubicBezTo>
                      <a:cubicBezTo>
                        <a:pt x="116" y="4"/>
                        <a:pt x="116" y="4"/>
                        <a:pt x="116" y="4"/>
                      </a:cubicBezTo>
                      <a:cubicBezTo>
                        <a:pt x="116" y="1"/>
                        <a:pt x="114" y="0"/>
                        <a:pt x="112" y="0"/>
                      </a:cubicBezTo>
                      <a:cubicBezTo>
                        <a:pt x="110" y="0"/>
                        <a:pt x="108" y="2"/>
                        <a:pt x="108" y="4"/>
                      </a:cubicBezTo>
                      <a:cubicBezTo>
                        <a:pt x="108" y="4"/>
                        <a:pt x="108" y="4"/>
                        <a:pt x="108" y="4"/>
                      </a:cubicBezTo>
                      <a:cubicBezTo>
                        <a:pt x="105" y="24"/>
                        <a:pt x="105" y="24"/>
                        <a:pt x="105" y="24"/>
                      </a:cubicBezTo>
                      <a:cubicBezTo>
                        <a:pt x="100" y="25"/>
                        <a:pt x="95" y="26"/>
                        <a:pt x="91" y="28"/>
                      </a:cubicBezTo>
                      <a:cubicBezTo>
                        <a:pt x="79" y="11"/>
                        <a:pt x="79" y="11"/>
                        <a:pt x="79" y="11"/>
                      </a:cubicBezTo>
                      <a:cubicBezTo>
                        <a:pt x="78" y="9"/>
                        <a:pt x="76" y="8"/>
                        <a:pt x="74" y="9"/>
                      </a:cubicBezTo>
                      <a:cubicBezTo>
                        <a:pt x="72" y="9"/>
                        <a:pt x="71" y="11"/>
                        <a:pt x="71" y="12"/>
                      </a:cubicBezTo>
                      <a:cubicBezTo>
                        <a:pt x="71" y="13"/>
                        <a:pt x="72" y="13"/>
                        <a:pt x="72" y="14"/>
                      </a:cubicBezTo>
                      <a:cubicBezTo>
                        <a:pt x="75" y="34"/>
                        <a:pt x="75" y="34"/>
                        <a:pt x="75" y="34"/>
                      </a:cubicBezTo>
                      <a:cubicBezTo>
                        <a:pt x="71" y="36"/>
                        <a:pt x="66" y="39"/>
                        <a:pt x="63" y="42"/>
                      </a:cubicBezTo>
                      <a:cubicBezTo>
                        <a:pt x="46" y="29"/>
                        <a:pt x="46" y="29"/>
                        <a:pt x="46" y="29"/>
                      </a:cubicBezTo>
                      <a:cubicBezTo>
                        <a:pt x="45" y="28"/>
                        <a:pt x="42" y="27"/>
                        <a:pt x="41" y="29"/>
                      </a:cubicBezTo>
                      <a:cubicBezTo>
                        <a:pt x="40" y="30"/>
                        <a:pt x="39" y="31"/>
                        <a:pt x="39" y="32"/>
                      </a:cubicBezTo>
                      <a:cubicBezTo>
                        <a:pt x="39" y="33"/>
                        <a:pt x="39" y="34"/>
                        <a:pt x="40" y="34"/>
                      </a:cubicBezTo>
                      <a:cubicBezTo>
                        <a:pt x="49" y="53"/>
                        <a:pt x="49" y="53"/>
                        <a:pt x="49" y="53"/>
                      </a:cubicBezTo>
                      <a:cubicBezTo>
                        <a:pt x="46" y="56"/>
                        <a:pt x="43" y="60"/>
                        <a:pt x="40" y="64"/>
                      </a:cubicBezTo>
                      <a:cubicBezTo>
                        <a:pt x="21" y="57"/>
                        <a:pt x="21" y="57"/>
                        <a:pt x="21" y="57"/>
                      </a:cubicBezTo>
                      <a:cubicBezTo>
                        <a:pt x="19" y="56"/>
                        <a:pt x="16" y="56"/>
                        <a:pt x="15" y="58"/>
                      </a:cubicBezTo>
                      <a:cubicBezTo>
                        <a:pt x="15" y="59"/>
                        <a:pt x="14" y="60"/>
                        <a:pt x="14" y="60"/>
                      </a:cubicBezTo>
                      <a:cubicBezTo>
                        <a:pt x="14" y="62"/>
                        <a:pt x="15" y="63"/>
                        <a:pt x="16" y="64"/>
                      </a:cubicBezTo>
                      <a:cubicBezTo>
                        <a:pt x="31" y="78"/>
                        <a:pt x="31" y="78"/>
                        <a:pt x="31" y="78"/>
                      </a:cubicBezTo>
                      <a:cubicBezTo>
                        <a:pt x="29" y="82"/>
                        <a:pt x="27" y="87"/>
                        <a:pt x="25" y="92"/>
                      </a:cubicBezTo>
                      <a:cubicBezTo>
                        <a:pt x="5" y="91"/>
                        <a:pt x="5" y="91"/>
                        <a:pt x="5" y="91"/>
                      </a:cubicBezTo>
                      <a:cubicBezTo>
                        <a:pt x="3" y="91"/>
                        <a:pt x="0" y="92"/>
                        <a:pt x="0" y="94"/>
                      </a:cubicBezTo>
                      <a:cubicBezTo>
                        <a:pt x="0" y="94"/>
                        <a:pt x="0" y="95"/>
                        <a:pt x="0" y="95"/>
                      </a:cubicBezTo>
                      <a:lnTo>
                        <a:pt x="218" y="9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0" name="Group 9"/>
            <p:cNvGrpSpPr/>
            <p:nvPr/>
          </p:nvGrpSpPr>
          <p:grpSpPr>
            <a:xfrm>
              <a:off x="6187281" y="1312215"/>
              <a:ext cx="2688336" cy="1737360"/>
              <a:chOff x="9141616" y="1312215"/>
              <a:chExt cx="2683373" cy="1728584"/>
            </a:xfrm>
          </p:grpSpPr>
          <p:sp>
            <p:nvSpPr>
              <p:cNvPr id="9" name="Rectangle 8"/>
              <p:cNvSpPr>
                <a:spLocks noChangeAspect="1"/>
              </p:cNvSpPr>
              <p:nvPr>
                <p:custDataLst>
                  <p:tags r:id="rId3"/>
                </p:custDataLst>
              </p:nvPr>
            </p:nvSpPr>
            <p:spPr bwMode="auto">
              <a:xfrm>
                <a:off x="9141616" y="1312215"/>
                <a:ext cx="2683373" cy="1728584"/>
              </a:xfrm>
              <a:prstGeom prst="rect">
                <a:avLst/>
              </a:prstGeom>
              <a:solidFill>
                <a:srgbClr val="FF8B00"/>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365681" rIns="121893" bIns="60947" numCol="1" rtlCol="0" anchor="b" anchorCtr="0" compatLnSpc="1">
                <a:prstTxWarp prst="textNoShape">
                  <a:avLst/>
                </a:prstTxWarp>
                <a:noAutofit/>
              </a:bodyPr>
              <a:lstStyle/>
              <a:p>
                <a:pPr defTabSz="914045" fontAlgn="base">
                  <a:lnSpc>
                    <a:spcPct val="90000"/>
                  </a:lnSpc>
                  <a:spcBef>
                    <a:spcPts val="630"/>
                  </a:spcBef>
                  <a:spcAft>
                    <a:spcPct val="0"/>
                  </a:spcAft>
                  <a:buClr>
                    <a:srgbClr val="FFFF99"/>
                  </a:buClr>
                  <a:buSzPct val="120000"/>
                </a:pPr>
                <a:r>
                  <a:rPr lang="en-US" dirty="0" smtClean="0">
                    <a:ln>
                      <a:solidFill>
                        <a:srgbClr val="FFFFFF">
                          <a:alpha val="0"/>
                        </a:srgbClr>
                      </a:solidFill>
                    </a:ln>
                    <a:solidFill>
                      <a:srgbClr val="FFFFFF">
                        <a:alpha val="99000"/>
                      </a:srgbClr>
                    </a:solidFill>
                    <a:cs typeface="Segoe UI" pitchFamily="34" charset="0"/>
                  </a:rPr>
                  <a:t>         </a:t>
                </a:r>
              </a:p>
              <a:p>
                <a:pPr defTabSz="914045" fontAlgn="base">
                  <a:lnSpc>
                    <a:spcPct val="90000"/>
                  </a:lnSpc>
                  <a:spcBef>
                    <a:spcPts val="630"/>
                  </a:spcBef>
                  <a:spcAft>
                    <a:spcPct val="0"/>
                  </a:spcAft>
                  <a:buClr>
                    <a:srgbClr val="FFFF99"/>
                  </a:buClr>
                  <a:buSzPct val="120000"/>
                </a:pPr>
                <a:r>
                  <a:rPr lang="en-US" sz="2000" kern="0" dirty="0">
                    <a:solidFill>
                      <a:srgbClr val="FFFFFF">
                        <a:alpha val="99000"/>
                      </a:srgbClr>
                    </a:solidFill>
                  </a:rPr>
                  <a:t>Standard Formats</a:t>
                </a:r>
                <a:endParaRPr lang="en-US" dirty="0">
                  <a:ln>
                    <a:solidFill>
                      <a:srgbClr val="FFFFFF">
                        <a:alpha val="0"/>
                      </a:srgbClr>
                    </a:solidFill>
                  </a:ln>
                  <a:solidFill>
                    <a:srgbClr val="FFFFFF">
                      <a:alpha val="99000"/>
                    </a:srgbClr>
                  </a:solidFill>
                  <a:cs typeface="Segoe UI" pitchFamily="34" charset="0"/>
                </a:endParaRPr>
              </a:p>
            </p:txBody>
          </p:sp>
          <p:grpSp>
            <p:nvGrpSpPr>
              <p:cNvPr id="145" name="Group 144"/>
              <p:cNvGrpSpPr>
                <a:grpSpLocks noChangeAspect="1"/>
              </p:cNvGrpSpPr>
              <p:nvPr/>
            </p:nvGrpSpPr>
            <p:grpSpPr>
              <a:xfrm>
                <a:off x="9316954" y="1435804"/>
                <a:ext cx="794722" cy="633485"/>
                <a:chOff x="-2630488" y="2244726"/>
                <a:chExt cx="1954213" cy="1557338"/>
              </a:xfrm>
              <a:solidFill>
                <a:schemeClr val="bg1"/>
              </a:solidFill>
            </p:grpSpPr>
            <p:sp>
              <p:nvSpPr>
                <p:cNvPr id="146" name="Freeform 103"/>
                <p:cNvSpPr>
                  <a:spLocks/>
                </p:cNvSpPr>
                <p:nvPr/>
              </p:nvSpPr>
              <p:spPr bwMode="auto">
                <a:xfrm>
                  <a:off x="-2570163" y="3328988"/>
                  <a:ext cx="804862" cy="125413"/>
                </a:xfrm>
                <a:custGeom>
                  <a:avLst/>
                  <a:gdLst>
                    <a:gd name="T0" fmla="*/ 507 w 507"/>
                    <a:gd name="T1" fmla="*/ 0 h 79"/>
                    <a:gd name="T2" fmla="*/ 0 w 507"/>
                    <a:gd name="T3" fmla="*/ 61 h 79"/>
                    <a:gd name="T4" fmla="*/ 0 w 507"/>
                    <a:gd name="T5" fmla="*/ 79 h 79"/>
                    <a:gd name="T6" fmla="*/ 507 w 507"/>
                    <a:gd name="T7" fmla="*/ 50 h 79"/>
                    <a:gd name="T8" fmla="*/ 507 w 507"/>
                    <a:gd name="T9" fmla="*/ 0 h 79"/>
                  </a:gdLst>
                  <a:ahLst/>
                  <a:cxnLst>
                    <a:cxn ang="0">
                      <a:pos x="T0" y="T1"/>
                    </a:cxn>
                    <a:cxn ang="0">
                      <a:pos x="T2" y="T3"/>
                    </a:cxn>
                    <a:cxn ang="0">
                      <a:pos x="T4" y="T5"/>
                    </a:cxn>
                    <a:cxn ang="0">
                      <a:pos x="T6" y="T7"/>
                    </a:cxn>
                    <a:cxn ang="0">
                      <a:pos x="T8" y="T9"/>
                    </a:cxn>
                  </a:cxnLst>
                  <a:rect l="0" t="0" r="r" b="b"/>
                  <a:pathLst>
                    <a:path w="507" h="79">
                      <a:moveTo>
                        <a:pt x="507" y="0"/>
                      </a:moveTo>
                      <a:lnTo>
                        <a:pt x="0" y="61"/>
                      </a:lnTo>
                      <a:lnTo>
                        <a:pt x="0" y="79"/>
                      </a:lnTo>
                      <a:lnTo>
                        <a:pt x="507" y="50"/>
                      </a:lnTo>
                      <a:lnTo>
                        <a:pt x="50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04"/>
                <p:cNvSpPr>
                  <a:spLocks/>
                </p:cNvSpPr>
                <p:nvPr/>
              </p:nvSpPr>
              <p:spPr bwMode="auto">
                <a:xfrm>
                  <a:off x="-2570163" y="3033713"/>
                  <a:ext cx="804862" cy="204788"/>
                </a:xfrm>
                <a:custGeom>
                  <a:avLst/>
                  <a:gdLst>
                    <a:gd name="T0" fmla="*/ 507 w 507"/>
                    <a:gd name="T1" fmla="*/ 0 h 129"/>
                    <a:gd name="T2" fmla="*/ 0 w 507"/>
                    <a:gd name="T3" fmla="*/ 111 h 129"/>
                    <a:gd name="T4" fmla="*/ 0 w 507"/>
                    <a:gd name="T5" fmla="*/ 129 h 129"/>
                    <a:gd name="T6" fmla="*/ 507 w 507"/>
                    <a:gd name="T7" fmla="*/ 60 h 129"/>
                    <a:gd name="T8" fmla="*/ 507 w 507"/>
                    <a:gd name="T9" fmla="*/ 0 h 129"/>
                  </a:gdLst>
                  <a:ahLst/>
                  <a:cxnLst>
                    <a:cxn ang="0">
                      <a:pos x="T0" y="T1"/>
                    </a:cxn>
                    <a:cxn ang="0">
                      <a:pos x="T2" y="T3"/>
                    </a:cxn>
                    <a:cxn ang="0">
                      <a:pos x="T4" y="T5"/>
                    </a:cxn>
                    <a:cxn ang="0">
                      <a:pos x="T6" y="T7"/>
                    </a:cxn>
                    <a:cxn ang="0">
                      <a:pos x="T8" y="T9"/>
                    </a:cxn>
                  </a:cxnLst>
                  <a:rect l="0" t="0" r="r" b="b"/>
                  <a:pathLst>
                    <a:path w="507" h="129">
                      <a:moveTo>
                        <a:pt x="507" y="0"/>
                      </a:moveTo>
                      <a:lnTo>
                        <a:pt x="0" y="111"/>
                      </a:lnTo>
                      <a:lnTo>
                        <a:pt x="0" y="129"/>
                      </a:lnTo>
                      <a:lnTo>
                        <a:pt x="507" y="60"/>
                      </a:lnTo>
                      <a:lnTo>
                        <a:pt x="50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05"/>
                <p:cNvSpPr>
                  <a:spLocks noEditPoints="1"/>
                </p:cNvSpPr>
                <p:nvPr/>
              </p:nvSpPr>
              <p:spPr bwMode="auto">
                <a:xfrm>
                  <a:off x="-2630488" y="2317751"/>
                  <a:ext cx="1343025" cy="1484313"/>
                </a:xfrm>
                <a:custGeom>
                  <a:avLst/>
                  <a:gdLst>
                    <a:gd name="T0" fmla="*/ 586 w 846"/>
                    <a:gd name="T1" fmla="*/ 78 h 935"/>
                    <a:gd name="T2" fmla="*/ 586 w 846"/>
                    <a:gd name="T3" fmla="*/ 111 h 935"/>
                    <a:gd name="T4" fmla="*/ 214 w 846"/>
                    <a:gd name="T5" fmla="*/ 359 h 935"/>
                    <a:gd name="T6" fmla="*/ 0 w 846"/>
                    <a:gd name="T7" fmla="*/ 527 h 935"/>
                    <a:gd name="T8" fmla="*/ 30 w 846"/>
                    <a:gd name="T9" fmla="*/ 921 h 935"/>
                    <a:gd name="T10" fmla="*/ 39 w 846"/>
                    <a:gd name="T11" fmla="*/ 737 h 935"/>
                    <a:gd name="T12" fmla="*/ 117 w 846"/>
                    <a:gd name="T13" fmla="*/ 923 h 935"/>
                    <a:gd name="T14" fmla="*/ 126 w 846"/>
                    <a:gd name="T15" fmla="*/ 732 h 935"/>
                    <a:gd name="T16" fmla="*/ 202 w 846"/>
                    <a:gd name="T17" fmla="*/ 924 h 935"/>
                    <a:gd name="T18" fmla="*/ 211 w 846"/>
                    <a:gd name="T19" fmla="*/ 727 h 935"/>
                    <a:gd name="T20" fmla="*/ 287 w 846"/>
                    <a:gd name="T21" fmla="*/ 926 h 935"/>
                    <a:gd name="T22" fmla="*/ 296 w 846"/>
                    <a:gd name="T23" fmla="*/ 725 h 935"/>
                    <a:gd name="T24" fmla="*/ 374 w 846"/>
                    <a:gd name="T25" fmla="*/ 927 h 935"/>
                    <a:gd name="T26" fmla="*/ 383 w 846"/>
                    <a:gd name="T27" fmla="*/ 719 h 935"/>
                    <a:gd name="T28" fmla="*/ 459 w 846"/>
                    <a:gd name="T29" fmla="*/ 928 h 935"/>
                    <a:gd name="T30" fmla="*/ 468 w 846"/>
                    <a:gd name="T31" fmla="*/ 715 h 935"/>
                    <a:gd name="T32" fmla="*/ 547 w 846"/>
                    <a:gd name="T33" fmla="*/ 931 h 935"/>
                    <a:gd name="T34" fmla="*/ 556 w 846"/>
                    <a:gd name="T35" fmla="*/ 712 h 935"/>
                    <a:gd name="T36" fmla="*/ 846 w 846"/>
                    <a:gd name="T37" fmla="*/ 935 h 935"/>
                    <a:gd name="T38" fmla="*/ 798 w 846"/>
                    <a:gd name="T39" fmla="*/ 0 h 935"/>
                    <a:gd name="T40" fmla="*/ 228 w 846"/>
                    <a:gd name="T41" fmla="*/ 381 h 935"/>
                    <a:gd name="T42" fmla="*/ 548 w 846"/>
                    <a:gd name="T43" fmla="*/ 388 h 935"/>
                    <a:gd name="T44" fmla="*/ 227 w 846"/>
                    <a:gd name="T45" fmla="*/ 470 h 935"/>
                    <a:gd name="T46" fmla="*/ 554 w 846"/>
                    <a:gd name="T47" fmla="*/ 696 h 935"/>
                    <a:gd name="T48" fmla="*/ 29 w 846"/>
                    <a:gd name="T49" fmla="*/ 725 h 935"/>
                    <a:gd name="T50" fmla="*/ 554 w 846"/>
                    <a:gd name="T51" fmla="*/ 626 h 935"/>
                    <a:gd name="T52" fmla="*/ 554 w 846"/>
                    <a:gd name="T53" fmla="*/ 518 h 935"/>
                    <a:gd name="T54" fmla="*/ 29 w 846"/>
                    <a:gd name="T55" fmla="*/ 555 h 935"/>
                    <a:gd name="T56" fmla="*/ 554 w 846"/>
                    <a:gd name="T57" fmla="*/ 518 h 935"/>
                    <a:gd name="T58" fmla="*/ 591 w 846"/>
                    <a:gd name="T59" fmla="*/ 812 h 935"/>
                    <a:gd name="T60" fmla="*/ 591 w 846"/>
                    <a:gd name="T61" fmla="*/ 794 h 935"/>
                    <a:gd name="T62" fmla="*/ 596 w 846"/>
                    <a:gd name="T63" fmla="*/ 277 h 935"/>
                    <a:gd name="T64" fmla="*/ 773 w 846"/>
                    <a:gd name="T65" fmla="*/ 794 h 935"/>
                    <a:gd name="T66" fmla="*/ 608 w 846"/>
                    <a:gd name="T67" fmla="*/ 593 h 935"/>
                    <a:gd name="T68" fmla="*/ 773 w 846"/>
                    <a:gd name="T69" fmla="*/ 557 h 935"/>
                    <a:gd name="T70" fmla="*/ 608 w 846"/>
                    <a:gd name="T71" fmla="*/ 418 h 935"/>
                    <a:gd name="T72" fmla="*/ 773 w 846"/>
                    <a:gd name="T73" fmla="*/ 369 h 935"/>
                    <a:gd name="T74" fmla="*/ 608 w 846"/>
                    <a:gd name="T75" fmla="*/ 255 h 935"/>
                    <a:gd name="T76" fmla="*/ 773 w 846"/>
                    <a:gd name="T77" fmla="*/ 199 h 935"/>
                    <a:gd name="T78" fmla="*/ 608 w 846"/>
                    <a:gd name="T79" fmla="*/ 116 h 935"/>
                    <a:gd name="T80" fmla="*/ 791 w 846"/>
                    <a:gd name="T81" fmla="*/ 38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46" h="935">
                      <a:moveTo>
                        <a:pt x="798" y="0"/>
                      </a:moveTo>
                      <a:lnTo>
                        <a:pt x="586" y="78"/>
                      </a:lnTo>
                      <a:lnTo>
                        <a:pt x="586" y="111"/>
                      </a:lnTo>
                      <a:lnTo>
                        <a:pt x="586" y="111"/>
                      </a:lnTo>
                      <a:lnTo>
                        <a:pt x="586" y="256"/>
                      </a:lnTo>
                      <a:lnTo>
                        <a:pt x="214" y="359"/>
                      </a:lnTo>
                      <a:lnTo>
                        <a:pt x="214" y="472"/>
                      </a:lnTo>
                      <a:lnTo>
                        <a:pt x="0" y="527"/>
                      </a:lnTo>
                      <a:lnTo>
                        <a:pt x="0" y="921"/>
                      </a:lnTo>
                      <a:lnTo>
                        <a:pt x="30" y="921"/>
                      </a:lnTo>
                      <a:lnTo>
                        <a:pt x="30" y="737"/>
                      </a:lnTo>
                      <a:lnTo>
                        <a:pt x="39" y="737"/>
                      </a:lnTo>
                      <a:lnTo>
                        <a:pt x="39" y="922"/>
                      </a:lnTo>
                      <a:lnTo>
                        <a:pt x="117" y="923"/>
                      </a:lnTo>
                      <a:lnTo>
                        <a:pt x="117" y="732"/>
                      </a:lnTo>
                      <a:lnTo>
                        <a:pt x="126" y="732"/>
                      </a:lnTo>
                      <a:lnTo>
                        <a:pt x="126" y="923"/>
                      </a:lnTo>
                      <a:lnTo>
                        <a:pt x="202" y="924"/>
                      </a:lnTo>
                      <a:lnTo>
                        <a:pt x="202" y="727"/>
                      </a:lnTo>
                      <a:lnTo>
                        <a:pt x="211" y="727"/>
                      </a:lnTo>
                      <a:lnTo>
                        <a:pt x="211" y="924"/>
                      </a:lnTo>
                      <a:lnTo>
                        <a:pt x="287" y="926"/>
                      </a:lnTo>
                      <a:lnTo>
                        <a:pt x="287" y="725"/>
                      </a:lnTo>
                      <a:lnTo>
                        <a:pt x="296" y="725"/>
                      </a:lnTo>
                      <a:lnTo>
                        <a:pt x="296" y="926"/>
                      </a:lnTo>
                      <a:lnTo>
                        <a:pt x="374" y="927"/>
                      </a:lnTo>
                      <a:lnTo>
                        <a:pt x="374" y="719"/>
                      </a:lnTo>
                      <a:lnTo>
                        <a:pt x="383" y="719"/>
                      </a:lnTo>
                      <a:lnTo>
                        <a:pt x="383" y="927"/>
                      </a:lnTo>
                      <a:lnTo>
                        <a:pt x="459" y="928"/>
                      </a:lnTo>
                      <a:lnTo>
                        <a:pt x="459" y="715"/>
                      </a:lnTo>
                      <a:lnTo>
                        <a:pt x="468" y="715"/>
                      </a:lnTo>
                      <a:lnTo>
                        <a:pt x="468" y="928"/>
                      </a:lnTo>
                      <a:lnTo>
                        <a:pt x="547" y="931"/>
                      </a:lnTo>
                      <a:lnTo>
                        <a:pt x="547" y="712"/>
                      </a:lnTo>
                      <a:lnTo>
                        <a:pt x="556" y="712"/>
                      </a:lnTo>
                      <a:lnTo>
                        <a:pt x="556" y="931"/>
                      </a:lnTo>
                      <a:lnTo>
                        <a:pt x="846" y="935"/>
                      </a:lnTo>
                      <a:lnTo>
                        <a:pt x="846" y="38"/>
                      </a:lnTo>
                      <a:lnTo>
                        <a:pt x="798" y="0"/>
                      </a:lnTo>
                      <a:close/>
                      <a:moveTo>
                        <a:pt x="227" y="381"/>
                      </a:moveTo>
                      <a:lnTo>
                        <a:pt x="228" y="381"/>
                      </a:lnTo>
                      <a:lnTo>
                        <a:pt x="232" y="464"/>
                      </a:lnTo>
                      <a:lnTo>
                        <a:pt x="548" y="388"/>
                      </a:lnTo>
                      <a:lnTo>
                        <a:pt x="549" y="393"/>
                      </a:lnTo>
                      <a:lnTo>
                        <a:pt x="227" y="470"/>
                      </a:lnTo>
                      <a:lnTo>
                        <a:pt x="227" y="381"/>
                      </a:lnTo>
                      <a:close/>
                      <a:moveTo>
                        <a:pt x="554" y="696"/>
                      </a:moveTo>
                      <a:lnTo>
                        <a:pt x="549" y="696"/>
                      </a:lnTo>
                      <a:lnTo>
                        <a:pt x="29" y="725"/>
                      </a:lnTo>
                      <a:lnTo>
                        <a:pt x="29" y="689"/>
                      </a:lnTo>
                      <a:lnTo>
                        <a:pt x="554" y="626"/>
                      </a:lnTo>
                      <a:lnTo>
                        <a:pt x="554" y="696"/>
                      </a:lnTo>
                      <a:close/>
                      <a:moveTo>
                        <a:pt x="554" y="518"/>
                      </a:moveTo>
                      <a:lnTo>
                        <a:pt x="29" y="590"/>
                      </a:lnTo>
                      <a:lnTo>
                        <a:pt x="29" y="555"/>
                      </a:lnTo>
                      <a:lnTo>
                        <a:pt x="554" y="441"/>
                      </a:lnTo>
                      <a:lnTo>
                        <a:pt x="554" y="518"/>
                      </a:lnTo>
                      <a:close/>
                      <a:moveTo>
                        <a:pt x="791" y="812"/>
                      </a:moveTo>
                      <a:lnTo>
                        <a:pt x="591" y="812"/>
                      </a:lnTo>
                      <a:lnTo>
                        <a:pt x="591" y="794"/>
                      </a:lnTo>
                      <a:lnTo>
                        <a:pt x="591" y="794"/>
                      </a:lnTo>
                      <a:lnTo>
                        <a:pt x="591" y="277"/>
                      </a:lnTo>
                      <a:lnTo>
                        <a:pt x="596" y="277"/>
                      </a:lnTo>
                      <a:lnTo>
                        <a:pt x="596" y="794"/>
                      </a:lnTo>
                      <a:lnTo>
                        <a:pt x="773" y="794"/>
                      </a:lnTo>
                      <a:lnTo>
                        <a:pt x="773" y="575"/>
                      </a:lnTo>
                      <a:lnTo>
                        <a:pt x="608" y="593"/>
                      </a:lnTo>
                      <a:lnTo>
                        <a:pt x="608" y="575"/>
                      </a:lnTo>
                      <a:lnTo>
                        <a:pt x="773" y="557"/>
                      </a:lnTo>
                      <a:lnTo>
                        <a:pt x="773" y="386"/>
                      </a:lnTo>
                      <a:lnTo>
                        <a:pt x="608" y="418"/>
                      </a:lnTo>
                      <a:lnTo>
                        <a:pt x="608" y="399"/>
                      </a:lnTo>
                      <a:lnTo>
                        <a:pt x="773" y="369"/>
                      </a:lnTo>
                      <a:lnTo>
                        <a:pt x="773" y="218"/>
                      </a:lnTo>
                      <a:lnTo>
                        <a:pt x="608" y="255"/>
                      </a:lnTo>
                      <a:lnTo>
                        <a:pt x="608" y="237"/>
                      </a:lnTo>
                      <a:lnTo>
                        <a:pt x="773" y="199"/>
                      </a:lnTo>
                      <a:lnTo>
                        <a:pt x="773" y="62"/>
                      </a:lnTo>
                      <a:lnTo>
                        <a:pt x="608" y="116"/>
                      </a:lnTo>
                      <a:lnTo>
                        <a:pt x="608" y="96"/>
                      </a:lnTo>
                      <a:lnTo>
                        <a:pt x="791" y="38"/>
                      </a:lnTo>
                      <a:lnTo>
                        <a:pt x="791" y="81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06"/>
                <p:cNvSpPr>
                  <a:spLocks/>
                </p:cNvSpPr>
                <p:nvPr/>
              </p:nvSpPr>
              <p:spPr bwMode="auto">
                <a:xfrm>
                  <a:off x="-2466975" y="2806701"/>
                  <a:ext cx="109537" cy="234950"/>
                </a:xfrm>
                <a:custGeom>
                  <a:avLst/>
                  <a:gdLst>
                    <a:gd name="T0" fmla="*/ 69 w 69"/>
                    <a:gd name="T1" fmla="*/ 0 h 148"/>
                    <a:gd name="T2" fmla="*/ 0 w 69"/>
                    <a:gd name="T3" fmla="*/ 24 h 148"/>
                    <a:gd name="T4" fmla="*/ 0 w 69"/>
                    <a:gd name="T5" fmla="*/ 148 h 148"/>
                    <a:gd name="T6" fmla="*/ 69 w 69"/>
                    <a:gd name="T7" fmla="*/ 131 h 148"/>
                    <a:gd name="T8" fmla="*/ 69 w 69"/>
                    <a:gd name="T9" fmla="*/ 0 h 148"/>
                  </a:gdLst>
                  <a:ahLst/>
                  <a:cxnLst>
                    <a:cxn ang="0">
                      <a:pos x="T0" y="T1"/>
                    </a:cxn>
                    <a:cxn ang="0">
                      <a:pos x="T2" y="T3"/>
                    </a:cxn>
                    <a:cxn ang="0">
                      <a:pos x="T4" y="T5"/>
                    </a:cxn>
                    <a:cxn ang="0">
                      <a:pos x="T6" y="T7"/>
                    </a:cxn>
                    <a:cxn ang="0">
                      <a:pos x="T8" y="T9"/>
                    </a:cxn>
                  </a:cxnLst>
                  <a:rect l="0" t="0" r="r" b="b"/>
                  <a:pathLst>
                    <a:path w="69" h="148">
                      <a:moveTo>
                        <a:pt x="69" y="0"/>
                      </a:moveTo>
                      <a:lnTo>
                        <a:pt x="0" y="24"/>
                      </a:lnTo>
                      <a:lnTo>
                        <a:pt x="0" y="148"/>
                      </a:lnTo>
                      <a:lnTo>
                        <a:pt x="69" y="131"/>
                      </a:lnTo>
                      <a:lnTo>
                        <a:pt x="6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07"/>
                <p:cNvSpPr>
                  <a:spLocks noEditPoints="1"/>
                </p:cNvSpPr>
                <p:nvPr/>
              </p:nvSpPr>
              <p:spPr bwMode="auto">
                <a:xfrm>
                  <a:off x="-2627313" y="2527301"/>
                  <a:ext cx="906462" cy="592138"/>
                </a:xfrm>
                <a:custGeom>
                  <a:avLst/>
                  <a:gdLst>
                    <a:gd name="T0" fmla="*/ 219 w 571"/>
                    <a:gd name="T1" fmla="*/ 102 h 373"/>
                    <a:gd name="T2" fmla="*/ 219 w 571"/>
                    <a:gd name="T3" fmla="*/ 132 h 373"/>
                    <a:gd name="T4" fmla="*/ 72 w 571"/>
                    <a:gd name="T5" fmla="*/ 184 h 373"/>
                    <a:gd name="T6" fmla="*/ 72 w 571"/>
                    <a:gd name="T7" fmla="*/ 256 h 373"/>
                    <a:gd name="T8" fmla="*/ 0 w 571"/>
                    <a:gd name="T9" fmla="*/ 273 h 373"/>
                    <a:gd name="T10" fmla="*/ 0 w 571"/>
                    <a:gd name="T11" fmla="*/ 308 h 373"/>
                    <a:gd name="T12" fmla="*/ 32 w 571"/>
                    <a:gd name="T13" fmla="*/ 308 h 373"/>
                    <a:gd name="T14" fmla="*/ 32 w 571"/>
                    <a:gd name="T15" fmla="*/ 373 h 373"/>
                    <a:gd name="T16" fmla="*/ 199 w 571"/>
                    <a:gd name="T17" fmla="*/ 330 h 373"/>
                    <a:gd name="T18" fmla="*/ 199 w 571"/>
                    <a:gd name="T19" fmla="*/ 217 h 373"/>
                    <a:gd name="T20" fmla="*/ 571 w 571"/>
                    <a:gd name="T21" fmla="*/ 113 h 373"/>
                    <a:gd name="T22" fmla="*/ 571 w 571"/>
                    <a:gd name="T23" fmla="*/ 0 h 373"/>
                    <a:gd name="T24" fmla="*/ 219 w 571"/>
                    <a:gd name="T25" fmla="*/ 102 h 373"/>
                    <a:gd name="T26" fmla="*/ 179 w 571"/>
                    <a:gd name="T27" fmla="*/ 314 h 373"/>
                    <a:gd name="T28" fmla="*/ 92 w 571"/>
                    <a:gd name="T29" fmla="*/ 335 h 373"/>
                    <a:gd name="T30" fmla="*/ 92 w 571"/>
                    <a:gd name="T31" fmla="*/ 195 h 373"/>
                    <a:gd name="T32" fmla="*/ 179 w 571"/>
                    <a:gd name="T33" fmla="*/ 164 h 373"/>
                    <a:gd name="T34" fmla="*/ 179 w 571"/>
                    <a:gd name="T35" fmla="*/ 314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1" h="373">
                      <a:moveTo>
                        <a:pt x="219" y="102"/>
                      </a:moveTo>
                      <a:lnTo>
                        <a:pt x="219" y="132"/>
                      </a:lnTo>
                      <a:lnTo>
                        <a:pt x="72" y="184"/>
                      </a:lnTo>
                      <a:lnTo>
                        <a:pt x="72" y="256"/>
                      </a:lnTo>
                      <a:lnTo>
                        <a:pt x="0" y="273"/>
                      </a:lnTo>
                      <a:lnTo>
                        <a:pt x="0" y="308"/>
                      </a:lnTo>
                      <a:lnTo>
                        <a:pt x="32" y="308"/>
                      </a:lnTo>
                      <a:lnTo>
                        <a:pt x="32" y="373"/>
                      </a:lnTo>
                      <a:lnTo>
                        <a:pt x="199" y="330"/>
                      </a:lnTo>
                      <a:lnTo>
                        <a:pt x="199" y="217"/>
                      </a:lnTo>
                      <a:lnTo>
                        <a:pt x="571" y="113"/>
                      </a:lnTo>
                      <a:lnTo>
                        <a:pt x="571" y="0"/>
                      </a:lnTo>
                      <a:lnTo>
                        <a:pt x="219" y="102"/>
                      </a:lnTo>
                      <a:close/>
                      <a:moveTo>
                        <a:pt x="179" y="314"/>
                      </a:moveTo>
                      <a:lnTo>
                        <a:pt x="92" y="335"/>
                      </a:lnTo>
                      <a:lnTo>
                        <a:pt x="92" y="195"/>
                      </a:lnTo>
                      <a:lnTo>
                        <a:pt x="179" y="164"/>
                      </a:lnTo>
                      <a:lnTo>
                        <a:pt x="179" y="31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08"/>
                <p:cNvSpPr>
                  <a:spLocks noEditPoints="1"/>
                </p:cNvSpPr>
                <p:nvPr/>
              </p:nvSpPr>
              <p:spPr bwMode="auto">
                <a:xfrm>
                  <a:off x="-1273175" y="2244726"/>
                  <a:ext cx="596900" cy="1555750"/>
                </a:xfrm>
                <a:custGeom>
                  <a:avLst/>
                  <a:gdLst>
                    <a:gd name="T0" fmla="*/ 296 w 341"/>
                    <a:gd name="T1" fmla="*/ 336 h 889"/>
                    <a:gd name="T2" fmla="*/ 296 w 341"/>
                    <a:gd name="T3" fmla="*/ 285 h 889"/>
                    <a:gd name="T4" fmla="*/ 181 w 341"/>
                    <a:gd name="T5" fmla="*/ 178 h 889"/>
                    <a:gd name="T6" fmla="*/ 140 w 341"/>
                    <a:gd name="T7" fmla="*/ 182 h 889"/>
                    <a:gd name="T8" fmla="*/ 24 w 341"/>
                    <a:gd name="T9" fmla="*/ 0 h 889"/>
                    <a:gd name="T10" fmla="*/ 0 w 341"/>
                    <a:gd name="T11" fmla="*/ 38 h 889"/>
                    <a:gd name="T12" fmla="*/ 0 w 341"/>
                    <a:gd name="T13" fmla="*/ 889 h 889"/>
                    <a:gd name="T14" fmla="*/ 51 w 341"/>
                    <a:gd name="T15" fmla="*/ 872 h 889"/>
                    <a:gd name="T16" fmla="*/ 51 w 341"/>
                    <a:gd name="T17" fmla="*/ 206 h 889"/>
                    <a:gd name="T18" fmla="*/ 135 w 341"/>
                    <a:gd name="T19" fmla="*/ 186 h 889"/>
                    <a:gd name="T20" fmla="*/ 135 w 341"/>
                    <a:gd name="T21" fmla="*/ 194 h 889"/>
                    <a:gd name="T22" fmla="*/ 59 w 341"/>
                    <a:gd name="T23" fmla="*/ 212 h 889"/>
                    <a:gd name="T24" fmla="*/ 59 w 341"/>
                    <a:gd name="T25" fmla="*/ 872 h 889"/>
                    <a:gd name="T26" fmla="*/ 80 w 341"/>
                    <a:gd name="T27" fmla="*/ 874 h 889"/>
                    <a:gd name="T28" fmla="*/ 80 w 341"/>
                    <a:gd name="T29" fmla="*/ 232 h 889"/>
                    <a:gd name="T30" fmla="*/ 84 w 341"/>
                    <a:gd name="T31" fmla="*/ 232 h 889"/>
                    <a:gd name="T32" fmla="*/ 84 w 341"/>
                    <a:gd name="T33" fmla="*/ 874 h 889"/>
                    <a:gd name="T34" fmla="*/ 108 w 341"/>
                    <a:gd name="T35" fmla="*/ 876 h 889"/>
                    <a:gd name="T36" fmla="*/ 108 w 341"/>
                    <a:gd name="T37" fmla="*/ 228 h 889"/>
                    <a:gd name="T38" fmla="*/ 112 w 341"/>
                    <a:gd name="T39" fmla="*/ 228 h 889"/>
                    <a:gd name="T40" fmla="*/ 112 w 341"/>
                    <a:gd name="T41" fmla="*/ 877 h 889"/>
                    <a:gd name="T42" fmla="*/ 135 w 341"/>
                    <a:gd name="T43" fmla="*/ 878 h 889"/>
                    <a:gd name="T44" fmla="*/ 135 w 341"/>
                    <a:gd name="T45" fmla="*/ 224 h 889"/>
                    <a:gd name="T46" fmla="*/ 139 w 341"/>
                    <a:gd name="T47" fmla="*/ 224 h 889"/>
                    <a:gd name="T48" fmla="*/ 139 w 341"/>
                    <a:gd name="T49" fmla="*/ 879 h 889"/>
                    <a:gd name="T50" fmla="*/ 161 w 341"/>
                    <a:gd name="T51" fmla="*/ 881 h 889"/>
                    <a:gd name="T52" fmla="*/ 161 w 341"/>
                    <a:gd name="T53" fmla="*/ 220 h 889"/>
                    <a:gd name="T54" fmla="*/ 165 w 341"/>
                    <a:gd name="T55" fmla="*/ 220 h 889"/>
                    <a:gd name="T56" fmla="*/ 165 w 341"/>
                    <a:gd name="T57" fmla="*/ 881 h 889"/>
                    <a:gd name="T58" fmla="*/ 181 w 341"/>
                    <a:gd name="T59" fmla="*/ 882 h 889"/>
                    <a:gd name="T60" fmla="*/ 341 w 341"/>
                    <a:gd name="T61" fmla="*/ 869 h 889"/>
                    <a:gd name="T62" fmla="*/ 341 w 341"/>
                    <a:gd name="T63" fmla="*/ 378 h 889"/>
                    <a:gd name="T64" fmla="*/ 296 w 341"/>
                    <a:gd name="T65" fmla="*/ 336 h 889"/>
                    <a:gd name="T66" fmla="*/ 284 w 341"/>
                    <a:gd name="T67" fmla="*/ 305 h 889"/>
                    <a:gd name="T68" fmla="*/ 200 w 341"/>
                    <a:gd name="T69" fmla="*/ 227 h 889"/>
                    <a:gd name="T70" fmla="*/ 200 w 341"/>
                    <a:gd name="T71" fmla="*/ 864 h 889"/>
                    <a:gd name="T72" fmla="*/ 192 w 341"/>
                    <a:gd name="T73" fmla="*/ 864 h 889"/>
                    <a:gd name="T74" fmla="*/ 192 w 341"/>
                    <a:gd name="T75" fmla="*/ 209 h 889"/>
                    <a:gd name="T76" fmla="*/ 283 w 341"/>
                    <a:gd name="T77" fmla="*/ 294 h 889"/>
                    <a:gd name="T78" fmla="*/ 284 w 341"/>
                    <a:gd name="T79" fmla="*/ 305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1" h="889">
                      <a:moveTo>
                        <a:pt x="296" y="336"/>
                      </a:moveTo>
                      <a:cubicBezTo>
                        <a:pt x="296" y="285"/>
                        <a:pt x="296" y="285"/>
                        <a:pt x="296" y="285"/>
                      </a:cubicBezTo>
                      <a:cubicBezTo>
                        <a:pt x="181" y="178"/>
                        <a:pt x="181" y="178"/>
                        <a:pt x="181" y="178"/>
                      </a:cubicBezTo>
                      <a:cubicBezTo>
                        <a:pt x="140" y="182"/>
                        <a:pt x="140" y="182"/>
                        <a:pt x="140" y="182"/>
                      </a:cubicBezTo>
                      <a:cubicBezTo>
                        <a:pt x="157" y="56"/>
                        <a:pt x="24" y="0"/>
                        <a:pt x="24" y="0"/>
                      </a:cubicBezTo>
                      <a:cubicBezTo>
                        <a:pt x="0" y="38"/>
                        <a:pt x="0" y="38"/>
                        <a:pt x="0" y="38"/>
                      </a:cubicBezTo>
                      <a:cubicBezTo>
                        <a:pt x="0" y="889"/>
                        <a:pt x="0" y="889"/>
                        <a:pt x="0" y="889"/>
                      </a:cubicBezTo>
                      <a:cubicBezTo>
                        <a:pt x="51" y="872"/>
                        <a:pt x="51" y="872"/>
                        <a:pt x="51" y="872"/>
                      </a:cubicBezTo>
                      <a:cubicBezTo>
                        <a:pt x="51" y="206"/>
                        <a:pt x="51" y="206"/>
                        <a:pt x="51" y="206"/>
                      </a:cubicBezTo>
                      <a:cubicBezTo>
                        <a:pt x="135" y="186"/>
                        <a:pt x="135" y="186"/>
                        <a:pt x="135" y="186"/>
                      </a:cubicBezTo>
                      <a:cubicBezTo>
                        <a:pt x="135" y="194"/>
                        <a:pt x="135" y="194"/>
                        <a:pt x="135" y="194"/>
                      </a:cubicBezTo>
                      <a:cubicBezTo>
                        <a:pt x="59" y="212"/>
                        <a:pt x="59" y="212"/>
                        <a:pt x="59" y="212"/>
                      </a:cubicBezTo>
                      <a:cubicBezTo>
                        <a:pt x="59" y="872"/>
                        <a:pt x="59" y="872"/>
                        <a:pt x="59" y="872"/>
                      </a:cubicBezTo>
                      <a:cubicBezTo>
                        <a:pt x="80" y="874"/>
                        <a:pt x="80" y="874"/>
                        <a:pt x="80" y="874"/>
                      </a:cubicBezTo>
                      <a:cubicBezTo>
                        <a:pt x="80" y="232"/>
                        <a:pt x="80" y="232"/>
                        <a:pt x="80" y="232"/>
                      </a:cubicBezTo>
                      <a:cubicBezTo>
                        <a:pt x="84" y="232"/>
                        <a:pt x="84" y="232"/>
                        <a:pt x="84" y="232"/>
                      </a:cubicBezTo>
                      <a:cubicBezTo>
                        <a:pt x="84" y="874"/>
                        <a:pt x="84" y="874"/>
                        <a:pt x="84" y="874"/>
                      </a:cubicBezTo>
                      <a:cubicBezTo>
                        <a:pt x="108" y="876"/>
                        <a:pt x="108" y="876"/>
                        <a:pt x="108" y="876"/>
                      </a:cubicBezTo>
                      <a:cubicBezTo>
                        <a:pt x="108" y="228"/>
                        <a:pt x="108" y="228"/>
                        <a:pt x="108" y="228"/>
                      </a:cubicBezTo>
                      <a:cubicBezTo>
                        <a:pt x="112" y="228"/>
                        <a:pt x="112" y="228"/>
                        <a:pt x="112" y="228"/>
                      </a:cubicBezTo>
                      <a:cubicBezTo>
                        <a:pt x="112" y="877"/>
                        <a:pt x="112" y="877"/>
                        <a:pt x="112" y="877"/>
                      </a:cubicBezTo>
                      <a:cubicBezTo>
                        <a:pt x="135" y="878"/>
                        <a:pt x="135" y="878"/>
                        <a:pt x="135" y="878"/>
                      </a:cubicBezTo>
                      <a:cubicBezTo>
                        <a:pt x="135" y="224"/>
                        <a:pt x="135" y="224"/>
                        <a:pt x="135" y="224"/>
                      </a:cubicBezTo>
                      <a:cubicBezTo>
                        <a:pt x="139" y="224"/>
                        <a:pt x="139" y="224"/>
                        <a:pt x="139" y="224"/>
                      </a:cubicBezTo>
                      <a:cubicBezTo>
                        <a:pt x="139" y="879"/>
                        <a:pt x="139" y="879"/>
                        <a:pt x="139" y="879"/>
                      </a:cubicBezTo>
                      <a:cubicBezTo>
                        <a:pt x="161" y="881"/>
                        <a:pt x="161" y="881"/>
                        <a:pt x="161" y="881"/>
                      </a:cubicBezTo>
                      <a:cubicBezTo>
                        <a:pt x="161" y="220"/>
                        <a:pt x="161" y="220"/>
                        <a:pt x="161" y="220"/>
                      </a:cubicBezTo>
                      <a:cubicBezTo>
                        <a:pt x="165" y="220"/>
                        <a:pt x="165" y="220"/>
                        <a:pt x="165" y="220"/>
                      </a:cubicBezTo>
                      <a:cubicBezTo>
                        <a:pt x="165" y="881"/>
                        <a:pt x="165" y="881"/>
                        <a:pt x="165" y="881"/>
                      </a:cubicBezTo>
                      <a:cubicBezTo>
                        <a:pt x="181" y="882"/>
                        <a:pt x="181" y="882"/>
                        <a:pt x="181" y="882"/>
                      </a:cubicBezTo>
                      <a:cubicBezTo>
                        <a:pt x="341" y="869"/>
                        <a:pt x="341" y="869"/>
                        <a:pt x="341" y="869"/>
                      </a:cubicBezTo>
                      <a:cubicBezTo>
                        <a:pt x="341" y="378"/>
                        <a:pt x="341" y="378"/>
                        <a:pt x="341" y="378"/>
                      </a:cubicBezTo>
                      <a:lnTo>
                        <a:pt x="296" y="336"/>
                      </a:lnTo>
                      <a:close/>
                      <a:moveTo>
                        <a:pt x="284" y="305"/>
                      </a:moveTo>
                      <a:cubicBezTo>
                        <a:pt x="200" y="227"/>
                        <a:pt x="200" y="227"/>
                        <a:pt x="200" y="227"/>
                      </a:cubicBezTo>
                      <a:cubicBezTo>
                        <a:pt x="200" y="864"/>
                        <a:pt x="200" y="864"/>
                        <a:pt x="200" y="864"/>
                      </a:cubicBezTo>
                      <a:cubicBezTo>
                        <a:pt x="192" y="864"/>
                        <a:pt x="192" y="864"/>
                        <a:pt x="192" y="864"/>
                      </a:cubicBezTo>
                      <a:cubicBezTo>
                        <a:pt x="192" y="209"/>
                        <a:pt x="192" y="209"/>
                        <a:pt x="192" y="209"/>
                      </a:cubicBezTo>
                      <a:cubicBezTo>
                        <a:pt x="283" y="294"/>
                        <a:pt x="283" y="294"/>
                        <a:pt x="283" y="294"/>
                      </a:cubicBezTo>
                      <a:lnTo>
                        <a:pt x="284" y="30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2" name="Group 11"/>
            <p:cNvGrpSpPr/>
            <p:nvPr/>
          </p:nvGrpSpPr>
          <p:grpSpPr>
            <a:xfrm>
              <a:off x="3309365" y="1312215"/>
              <a:ext cx="2688336" cy="1737360"/>
              <a:chOff x="3309365" y="1312215"/>
              <a:chExt cx="2688336" cy="1737360"/>
            </a:xfrm>
          </p:grpSpPr>
          <p:sp>
            <p:nvSpPr>
              <p:cNvPr id="7" name="Rectangle 6"/>
              <p:cNvSpPr>
                <a:spLocks noChangeAspect="1"/>
              </p:cNvSpPr>
              <p:nvPr>
                <p:custDataLst>
                  <p:tags r:id="rId2"/>
                </p:custDataLst>
              </p:nvPr>
            </p:nvSpPr>
            <p:spPr bwMode="auto">
              <a:xfrm>
                <a:off x="3309365" y="1312215"/>
                <a:ext cx="2688336" cy="1737360"/>
              </a:xfrm>
              <a:prstGeom prst="rect">
                <a:avLst/>
              </a:prstGeom>
              <a:solidFill>
                <a:srgbClr val="FF8B00"/>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60947" rIns="121893" bIns="60947" numCol="1" rtlCol="0" anchor="b" anchorCtr="0" compatLnSpc="1">
                <a:prstTxWarp prst="textNoShape">
                  <a:avLst/>
                </a:prstTxWarp>
                <a:noAutofit/>
              </a:bodyPr>
              <a:lstStyle/>
              <a:p>
                <a:pPr algn="ctr" defTabSz="914045" fontAlgn="base">
                  <a:lnSpc>
                    <a:spcPct val="90000"/>
                  </a:lnSpc>
                  <a:spcBef>
                    <a:spcPts val="630"/>
                  </a:spcBef>
                  <a:spcAft>
                    <a:spcPct val="0"/>
                  </a:spcAft>
                  <a:buClr>
                    <a:srgbClr val="FFFF99"/>
                  </a:buClr>
                  <a:buSzPct val="120000"/>
                </a:pPr>
                <a:r>
                  <a:rPr lang="en-US" dirty="0" smtClean="0">
                    <a:ln>
                      <a:solidFill>
                        <a:srgbClr val="FFFFFF">
                          <a:alpha val="0"/>
                        </a:srgbClr>
                      </a:solidFill>
                    </a:ln>
                    <a:solidFill>
                      <a:srgbClr val="FFFFFF">
                        <a:alpha val="99000"/>
                      </a:srgbClr>
                    </a:solidFill>
                    <a:cs typeface="Segoe UI" pitchFamily="34" charset="0"/>
                  </a:rPr>
                  <a:t>            </a:t>
                </a:r>
              </a:p>
              <a:p>
                <a:pPr defTabSz="913985" fontAlgn="base">
                  <a:spcBef>
                    <a:spcPct val="0"/>
                  </a:spcBef>
                  <a:spcAft>
                    <a:spcPct val="0"/>
                  </a:spcAft>
                  <a:defRPr/>
                </a:pPr>
                <a:r>
                  <a:rPr lang="en-US" sz="2000" kern="0" dirty="0">
                    <a:solidFill>
                      <a:srgbClr val="FFFFFF">
                        <a:alpha val="99000"/>
                      </a:srgbClr>
                    </a:solidFill>
                  </a:rPr>
                  <a:t>Multi-Targeting</a:t>
                </a:r>
              </a:p>
            </p:txBody>
          </p:sp>
          <p:sp>
            <p:nvSpPr>
              <p:cNvPr id="83" name="Freeform 22"/>
              <p:cNvSpPr>
                <a:spLocks noEditPoints="1"/>
              </p:cNvSpPr>
              <p:nvPr/>
            </p:nvSpPr>
            <p:spPr bwMode="black">
              <a:xfrm>
                <a:off x="3427412" y="1447800"/>
                <a:ext cx="685800" cy="733094"/>
              </a:xfrm>
              <a:custGeom>
                <a:avLst/>
                <a:gdLst>
                  <a:gd name="T0" fmla="*/ 300 w 300"/>
                  <a:gd name="T1" fmla="*/ 141 h 300"/>
                  <a:gd name="T2" fmla="*/ 285 w 300"/>
                  <a:gd name="T3" fmla="*/ 141 h 300"/>
                  <a:gd name="T4" fmla="*/ 159 w 300"/>
                  <a:gd name="T5" fmla="*/ 15 h 300"/>
                  <a:gd name="T6" fmla="*/ 159 w 300"/>
                  <a:gd name="T7" fmla="*/ 0 h 300"/>
                  <a:gd name="T8" fmla="*/ 141 w 300"/>
                  <a:gd name="T9" fmla="*/ 0 h 300"/>
                  <a:gd name="T10" fmla="*/ 141 w 300"/>
                  <a:gd name="T11" fmla="*/ 15 h 300"/>
                  <a:gd name="T12" fmla="*/ 15 w 300"/>
                  <a:gd name="T13" fmla="*/ 141 h 300"/>
                  <a:gd name="T14" fmla="*/ 0 w 300"/>
                  <a:gd name="T15" fmla="*/ 141 h 300"/>
                  <a:gd name="T16" fmla="*/ 0 w 300"/>
                  <a:gd name="T17" fmla="*/ 159 h 300"/>
                  <a:gd name="T18" fmla="*/ 15 w 300"/>
                  <a:gd name="T19" fmla="*/ 159 h 300"/>
                  <a:gd name="T20" fmla="*/ 141 w 300"/>
                  <a:gd name="T21" fmla="*/ 285 h 300"/>
                  <a:gd name="T22" fmla="*/ 141 w 300"/>
                  <a:gd name="T23" fmla="*/ 300 h 300"/>
                  <a:gd name="T24" fmla="*/ 159 w 300"/>
                  <a:gd name="T25" fmla="*/ 300 h 300"/>
                  <a:gd name="T26" fmla="*/ 159 w 300"/>
                  <a:gd name="T27" fmla="*/ 285 h 300"/>
                  <a:gd name="T28" fmla="*/ 285 w 300"/>
                  <a:gd name="T29" fmla="*/ 159 h 300"/>
                  <a:gd name="T30" fmla="*/ 300 w 300"/>
                  <a:gd name="T31" fmla="*/ 159 h 300"/>
                  <a:gd name="T32" fmla="*/ 300 w 300"/>
                  <a:gd name="T33" fmla="*/ 141 h 300"/>
                  <a:gd name="T34" fmla="*/ 258 w 300"/>
                  <a:gd name="T35" fmla="*/ 141 h 300"/>
                  <a:gd name="T36" fmla="*/ 230 w 300"/>
                  <a:gd name="T37" fmla="*/ 141 h 300"/>
                  <a:gd name="T38" fmla="*/ 159 w 300"/>
                  <a:gd name="T39" fmla="*/ 70 h 300"/>
                  <a:gd name="T40" fmla="*/ 159 w 300"/>
                  <a:gd name="T41" fmla="*/ 42 h 300"/>
                  <a:gd name="T42" fmla="*/ 258 w 300"/>
                  <a:gd name="T43" fmla="*/ 141 h 300"/>
                  <a:gd name="T44" fmla="*/ 141 w 300"/>
                  <a:gd name="T45" fmla="*/ 125 h 300"/>
                  <a:gd name="T46" fmla="*/ 125 w 300"/>
                  <a:gd name="T47" fmla="*/ 141 h 300"/>
                  <a:gd name="T48" fmla="*/ 97 w 300"/>
                  <a:gd name="T49" fmla="*/ 141 h 300"/>
                  <a:gd name="T50" fmla="*/ 141 w 300"/>
                  <a:gd name="T51" fmla="*/ 97 h 300"/>
                  <a:gd name="T52" fmla="*/ 141 w 300"/>
                  <a:gd name="T53" fmla="*/ 125 h 300"/>
                  <a:gd name="T54" fmla="*/ 125 w 300"/>
                  <a:gd name="T55" fmla="*/ 159 h 300"/>
                  <a:gd name="T56" fmla="*/ 141 w 300"/>
                  <a:gd name="T57" fmla="*/ 175 h 300"/>
                  <a:gd name="T58" fmla="*/ 141 w 300"/>
                  <a:gd name="T59" fmla="*/ 203 h 300"/>
                  <a:gd name="T60" fmla="*/ 97 w 300"/>
                  <a:gd name="T61" fmla="*/ 159 h 300"/>
                  <a:gd name="T62" fmla="*/ 125 w 300"/>
                  <a:gd name="T63" fmla="*/ 159 h 300"/>
                  <a:gd name="T64" fmla="*/ 159 w 300"/>
                  <a:gd name="T65" fmla="*/ 175 h 300"/>
                  <a:gd name="T66" fmla="*/ 175 w 300"/>
                  <a:gd name="T67" fmla="*/ 159 h 300"/>
                  <a:gd name="T68" fmla="*/ 203 w 300"/>
                  <a:gd name="T69" fmla="*/ 159 h 300"/>
                  <a:gd name="T70" fmla="*/ 159 w 300"/>
                  <a:gd name="T71" fmla="*/ 203 h 300"/>
                  <a:gd name="T72" fmla="*/ 159 w 300"/>
                  <a:gd name="T73" fmla="*/ 175 h 300"/>
                  <a:gd name="T74" fmla="*/ 175 w 300"/>
                  <a:gd name="T75" fmla="*/ 141 h 300"/>
                  <a:gd name="T76" fmla="*/ 159 w 300"/>
                  <a:gd name="T77" fmla="*/ 125 h 300"/>
                  <a:gd name="T78" fmla="*/ 159 w 300"/>
                  <a:gd name="T79" fmla="*/ 97 h 300"/>
                  <a:gd name="T80" fmla="*/ 203 w 300"/>
                  <a:gd name="T81" fmla="*/ 141 h 300"/>
                  <a:gd name="T82" fmla="*/ 175 w 300"/>
                  <a:gd name="T83" fmla="*/ 141 h 300"/>
                  <a:gd name="T84" fmla="*/ 141 w 300"/>
                  <a:gd name="T85" fmla="*/ 42 h 300"/>
                  <a:gd name="T86" fmla="*/ 141 w 300"/>
                  <a:gd name="T87" fmla="*/ 70 h 300"/>
                  <a:gd name="T88" fmla="*/ 70 w 300"/>
                  <a:gd name="T89" fmla="*/ 141 h 300"/>
                  <a:gd name="T90" fmla="*/ 42 w 300"/>
                  <a:gd name="T91" fmla="*/ 141 h 300"/>
                  <a:gd name="T92" fmla="*/ 141 w 300"/>
                  <a:gd name="T93" fmla="*/ 42 h 300"/>
                  <a:gd name="T94" fmla="*/ 42 w 300"/>
                  <a:gd name="T95" fmla="*/ 159 h 300"/>
                  <a:gd name="T96" fmla="*/ 70 w 300"/>
                  <a:gd name="T97" fmla="*/ 159 h 300"/>
                  <a:gd name="T98" fmla="*/ 141 w 300"/>
                  <a:gd name="T99" fmla="*/ 230 h 300"/>
                  <a:gd name="T100" fmla="*/ 141 w 300"/>
                  <a:gd name="T101" fmla="*/ 258 h 300"/>
                  <a:gd name="T102" fmla="*/ 42 w 300"/>
                  <a:gd name="T103" fmla="*/ 159 h 300"/>
                  <a:gd name="T104" fmla="*/ 159 w 300"/>
                  <a:gd name="T105" fmla="*/ 258 h 300"/>
                  <a:gd name="T106" fmla="*/ 159 w 300"/>
                  <a:gd name="T107" fmla="*/ 230 h 300"/>
                  <a:gd name="T108" fmla="*/ 230 w 300"/>
                  <a:gd name="T109" fmla="*/ 159 h 300"/>
                  <a:gd name="T110" fmla="*/ 258 w 300"/>
                  <a:gd name="T111" fmla="*/ 159 h 300"/>
                  <a:gd name="T112" fmla="*/ 159 w 300"/>
                  <a:gd name="T113" fmla="*/ 25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0" h="300">
                    <a:moveTo>
                      <a:pt x="300" y="141"/>
                    </a:moveTo>
                    <a:cubicBezTo>
                      <a:pt x="285" y="141"/>
                      <a:pt x="285" y="141"/>
                      <a:pt x="285" y="141"/>
                    </a:cubicBezTo>
                    <a:cubicBezTo>
                      <a:pt x="280" y="74"/>
                      <a:pt x="226" y="20"/>
                      <a:pt x="159" y="15"/>
                    </a:cubicBezTo>
                    <a:cubicBezTo>
                      <a:pt x="159" y="0"/>
                      <a:pt x="159" y="0"/>
                      <a:pt x="159" y="0"/>
                    </a:cubicBezTo>
                    <a:cubicBezTo>
                      <a:pt x="141" y="0"/>
                      <a:pt x="141" y="0"/>
                      <a:pt x="141" y="0"/>
                    </a:cubicBezTo>
                    <a:cubicBezTo>
                      <a:pt x="141" y="15"/>
                      <a:pt x="141" y="15"/>
                      <a:pt x="141" y="15"/>
                    </a:cubicBezTo>
                    <a:cubicBezTo>
                      <a:pt x="74" y="20"/>
                      <a:pt x="20" y="74"/>
                      <a:pt x="15" y="141"/>
                    </a:cubicBezTo>
                    <a:cubicBezTo>
                      <a:pt x="0" y="141"/>
                      <a:pt x="0" y="141"/>
                      <a:pt x="0" y="141"/>
                    </a:cubicBezTo>
                    <a:cubicBezTo>
                      <a:pt x="0" y="159"/>
                      <a:pt x="0" y="159"/>
                      <a:pt x="0" y="159"/>
                    </a:cubicBezTo>
                    <a:cubicBezTo>
                      <a:pt x="15" y="159"/>
                      <a:pt x="15" y="159"/>
                      <a:pt x="15" y="159"/>
                    </a:cubicBezTo>
                    <a:cubicBezTo>
                      <a:pt x="20" y="226"/>
                      <a:pt x="74" y="280"/>
                      <a:pt x="141" y="285"/>
                    </a:cubicBezTo>
                    <a:cubicBezTo>
                      <a:pt x="141" y="300"/>
                      <a:pt x="141" y="300"/>
                      <a:pt x="141" y="300"/>
                    </a:cubicBezTo>
                    <a:cubicBezTo>
                      <a:pt x="159" y="300"/>
                      <a:pt x="159" y="300"/>
                      <a:pt x="159" y="300"/>
                    </a:cubicBezTo>
                    <a:cubicBezTo>
                      <a:pt x="159" y="285"/>
                      <a:pt x="159" y="285"/>
                      <a:pt x="159" y="285"/>
                    </a:cubicBezTo>
                    <a:cubicBezTo>
                      <a:pt x="226" y="280"/>
                      <a:pt x="280" y="226"/>
                      <a:pt x="285" y="159"/>
                    </a:cubicBezTo>
                    <a:cubicBezTo>
                      <a:pt x="300" y="159"/>
                      <a:pt x="300" y="159"/>
                      <a:pt x="300" y="159"/>
                    </a:cubicBezTo>
                    <a:lnTo>
                      <a:pt x="300" y="141"/>
                    </a:lnTo>
                    <a:close/>
                    <a:moveTo>
                      <a:pt x="258" y="141"/>
                    </a:moveTo>
                    <a:cubicBezTo>
                      <a:pt x="230" y="141"/>
                      <a:pt x="230" y="141"/>
                      <a:pt x="230" y="141"/>
                    </a:cubicBezTo>
                    <a:cubicBezTo>
                      <a:pt x="226" y="103"/>
                      <a:pt x="197" y="74"/>
                      <a:pt x="159" y="70"/>
                    </a:cubicBezTo>
                    <a:cubicBezTo>
                      <a:pt x="159" y="42"/>
                      <a:pt x="159" y="42"/>
                      <a:pt x="159" y="42"/>
                    </a:cubicBezTo>
                    <a:cubicBezTo>
                      <a:pt x="211" y="47"/>
                      <a:pt x="253" y="89"/>
                      <a:pt x="258" y="141"/>
                    </a:cubicBezTo>
                    <a:close/>
                    <a:moveTo>
                      <a:pt x="141" y="125"/>
                    </a:moveTo>
                    <a:cubicBezTo>
                      <a:pt x="133" y="127"/>
                      <a:pt x="127" y="133"/>
                      <a:pt x="125" y="141"/>
                    </a:cubicBezTo>
                    <a:cubicBezTo>
                      <a:pt x="97" y="141"/>
                      <a:pt x="97" y="141"/>
                      <a:pt x="97" y="141"/>
                    </a:cubicBezTo>
                    <a:cubicBezTo>
                      <a:pt x="101" y="118"/>
                      <a:pt x="118" y="101"/>
                      <a:pt x="141" y="97"/>
                    </a:cubicBezTo>
                    <a:lnTo>
                      <a:pt x="141" y="125"/>
                    </a:lnTo>
                    <a:close/>
                    <a:moveTo>
                      <a:pt x="125" y="159"/>
                    </a:moveTo>
                    <a:cubicBezTo>
                      <a:pt x="127" y="167"/>
                      <a:pt x="133" y="173"/>
                      <a:pt x="141" y="175"/>
                    </a:cubicBezTo>
                    <a:cubicBezTo>
                      <a:pt x="141" y="203"/>
                      <a:pt x="141" y="203"/>
                      <a:pt x="141" y="203"/>
                    </a:cubicBezTo>
                    <a:cubicBezTo>
                      <a:pt x="118" y="199"/>
                      <a:pt x="101" y="182"/>
                      <a:pt x="97" y="159"/>
                    </a:cubicBezTo>
                    <a:lnTo>
                      <a:pt x="125" y="159"/>
                    </a:lnTo>
                    <a:close/>
                    <a:moveTo>
                      <a:pt x="159" y="175"/>
                    </a:moveTo>
                    <a:cubicBezTo>
                      <a:pt x="167" y="173"/>
                      <a:pt x="173" y="167"/>
                      <a:pt x="175" y="159"/>
                    </a:cubicBezTo>
                    <a:cubicBezTo>
                      <a:pt x="203" y="159"/>
                      <a:pt x="203" y="159"/>
                      <a:pt x="203" y="159"/>
                    </a:cubicBezTo>
                    <a:cubicBezTo>
                      <a:pt x="199" y="182"/>
                      <a:pt x="182" y="199"/>
                      <a:pt x="159" y="203"/>
                    </a:cubicBezTo>
                    <a:lnTo>
                      <a:pt x="159" y="175"/>
                    </a:lnTo>
                    <a:close/>
                    <a:moveTo>
                      <a:pt x="175" y="141"/>
                    </a:moveTo>
                    <a:cubicBezTo>
                      <a:pt x="173" y="133"/>
                      <a:pt x="167" y="127"/>
                      <a:pt x="159" y="125"/>
                    </a:cubicBezTo>
                    <a:cubicBezTo>
                      <a:pt x="159" y="97"/>
                      <a:pt x="159" y="97"/>
                      <a:pt x="159" y="97"/>
                    </a:cubicBezTo>
                    <a:cubicBezTo>
                      <a:pt x="182" y="101"/>
                      <a:pt x="199" y="118"/>
                      <a:pt x="203" y="141"/>
                    </a:cubicBezTo>
                    <a:lnTo>
                      <a:pt x="175" y="141"/>
                    </a:lnTo>
                    <a:close/>
                    <a:moveTo>
                      <a:pt x="141" y="42"/>
                    </a:moveTo>
                    <a:cubicBezTo>
                      <a:pt x="141" y="70"/>
                      <a:pt x="141" y="70"/>
                      <a:pt x="141" y="70"/>
                    </a:cubicBezTo>
                    <a:cubicBezTo>
                      <a:pt x="103" y="74"/>
                      <a:pt x="74" y="103"/>
                      <a:pt x="70" y="141"/>
                    </a:cubicBezTo>
                    <a:cubicBezTo>
                      <a:pt x="42" y="141"/>
                      <a:pt x="42" y="141"/>
                      <a:pt x="42" y="141"/>
                    </a:cubicBezTo>
                    <a:cubicBezTo>
                      <a:pt x="47" y="89"/>
                      <a:pt x="89" y="47"/>
                      <a:pt x="141" y="42"/>
                    </a:cubicBezTo>
                    <a:close/>
                    <a:moveTo>
                      <a:pt x="42" y="159"/>
                    </a:moveTo>
                    <a:cubicBezTo>
                      <a:pt x="70" y="159"/>
                      <a:pt x="70" y="159"/>
                      <a:pt x="70" y="159"/>
                    </a:cubicBezTo>
                    <a:cubicBezTo>
                      <a:pt x="74" y="197"/>
                      <a:pt x="103" y="226"/>
                      <a:pt x="141" y="230"/>
                    </a:cubicBezTo>
                    <a:cubicBezTo>
                      <a:pt x="141" y="258"/>
                      <a:pt x="141" y="258"/>
                      <a:pt x="141" y="258"/>
                    </a:cubicBezTo>
                    <a:cubicBezTo>
                      <a:pt x="89" y="253"/>
                      <a:pt x="47" y="211"/>
                      <a:pt x="42" y="159"/>
                    </a:cubicBezTo>
                    <a:close/>
                    <a:moveTo>
                      <a:pt x="159" y="258"/>
                    </a:moveTo>
                    <a:cubicBezTo>
                      <a:pt x="159" y="230"/>
                      <a:pt x="159" y="230"/>
                      <a:pt x="159" y="230"/>
                    </a:cubicBezTo>
                    <a:cubicBezTo>
                      <a:pt x="197" y="226"/>
                      <a:pt x="226" y="197"/>
                      <a:pt x="230" y="159"/>
                    </a:cubicBezTo>
                    <a:cubicBezTo>
                      <a:pt x="258" y="159"/>
                      <a:pt x="258" y="159"/>
                      <a:pt x="258" y="159"/>
                    </a:cubicBezTo>
                    <a:cubicBezTo>
                      <a:pt x="253" y="211"/>
                      <a:pt x="211" y="253"/>
                      <a:pt x="159" y="2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200"/>
              </a:p>
            </p:txBody>
          </p:sp>
        </p:grpSp>
        <p:grpSp>
          <p:nvGrpSpPr>
            <p:cNvPr id="5" name="Group 4"/>
            <p:cNvGrpSpPr/>
            <p:nvPr/>
          </p:nvGrpSpPr>
          <p:grpSpPr>
            <a:xfrm>
              <a:off x="9065196" y="1312215"/>
              <a:ext cx="2688336" cy="1737359"/>
              <a:chOff x="6264422" y="1315329"/>
              <a:chExt cx="2678656" cy="1725473"/>
            </a:xfrm>
          </p:grpSpPr>
          <p:sp>
            <p:nvSpPr>
              <p:cNvPr id="8" name="Rectangle 7"/>
              <p:cNvSpPr>
                <a:spLocks noChangeAspect="1"/>
              </p:cNvSpPr>
              <p:nvPr>
                <p:custDataLst>
                  <p:tags r:id="rId1"/>
                </p:custDataLst>
              </p:nvPr>
            </p:nvSpPr>
            <p:spPr bwMode="auto">
              <a:xfrm>
                <a:off x="6264422" y="1315329"/>
                <a:ext cx="2678656" cy="1725473"/>
              </a:xfrm>
              <a:prstGeom prst="rect">
                <a:avLst/>
              </a:prstGeom>
              <a:solidFill>
                <a:srgbClr val="FF8B00"/>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60947" rIns="121893" bIns="60947" numCol="1" rtlCol="0" anchor="b" anchorCtr="0" compatLnSpc="1">
                <a:prstTxWarp prst="textNoShape">
                  <a:avLst/>
                </a:prstTxWarp>
                <a:noAutofit/>
              </a:bodyPr>
              <a:lstStyle/>
              <a:p>
                <a:pPr algn="ctr" defTabSz="914045" fontAlgn="base">
                  <a:lnSpc>
                    <a:spcPct val="90000"/>
                  </a:lnSpc>
                  <a:spcBef>
                    <a:spcPts val="630"/>
                  </a:spcBef>
                  <a:spcAft>
                    <a:spcPct val="0"/>
                  </a:spcAft>
                  <a:buClr>
                    <a:srgbClr val="FFFF99"/>
                  </a:buClr>
                  <a:buSzPct val="120000"/>
                </a:pPr>
                <a:endParaRPr lang="en-US" dirty="0" smtClean="0">
                  <a:ln>
                    <a:solidFill>
                      <a:srgbClr val="FFFFFF">
                        <a:alpha val="0"/>
                      </a:srgbClr>
                    </a:solidFill>
                  </a:ln>
                  <a:solidFill>
                    <a:srgbClr val="FFFFFF">
                      <a:alpha val="99000"/>
                    </a:srgbClr>
                  </a:solidFill>
                  <a:cs typeface="Segoe UI" pitchFamily="34" charset="0"/>
                </a:endParaRPr>
              </a:p>
              <a:p>
                <a:pPr defTabSz="913985" fontAlgn="base">
                  <a:spcBef>
                    <a:spcPct val="0"/>
                  </a:spcBef>
                  <a:spcAft>
                    <a:spcPct val="0"/>
                  </a:spcAft>
                  <a:defRPr/>
                </a:pPr>
                <a:r>
                  <a:rPr lang="en-US" sz="2000" kern="0" dirty="0">
                    <a:solidFill>
                      <a:srgbClr val="FFFFFF">
                        <a:alpha val="99000"/>
                      </a:srgbClr>
                    </a:solidFill>
                  </a:rPr>
                  <a:t>DAC</a:t>
                </a:r>
              </a:p>
            </p:txBody>
          </p:sp>
          <p:grpSp>
            <p:nvGrpSpPr>
              <p:cNvPr id="101" name="Group 100"/>
              <p:cNvGrpSpPr>
                <a:grpSpLocks noChangeAspect="1"/>
              </p:cNvGrpSpPr>
              <p:nvPr/>
            </p:nvGrpSpPr>
            <p:grpSpPr>
              <a:xfrm>
                <a:off x="7225894" y="1638148"/>
                <a:ext cx="59636" cy="184077"/>
                <a:chOff x="-1616075" y="2730500"/>
                <a:chExt cx="258763" cy="798512"/>
              </a:xfrm>
              <a:solidFill>
                <a:schemeClr val="bg1"/>
              </a:solidFill>
            </p:grpSpPr>
            <p:sp>
              <p:nvSpPr>
                <p:cNvPr id="139" name="Freeform 73"/>
                <p:cNvSpPr>
                  <a:spLocks/>
                </p:cNvSpPr>
                <p:nvPr/>
              </p:nvSpPr>
              <p:spPr bwMode="auto">
                <a:xfrm>
                  <a:off x="-1495425" y="2730500"/>
                  <a:ext cx="138113" cy="52387"/>
                </a:xfrm>
                <a:custGeom>
                  <a:avLst/>
                  <a:gdLst>
                    <a:gd name="T0" fmla="*/ 35 w 37"/>
                    <a:gd name="T1" fmla="*/ 14 h 14"/>
                    <a:gd name="T2" fmla="*/ 37 w 37"/>
                    <a:gd name="T3" fmla="*/ 12 h 14"/>
                    <a:gd name="T4" fmla="*/ 36 w 37"/>
                    <a:gd name="T5" fmla="*/ 9 h 14"/>
                    <a:gd name="T6" fmla="*/ 29 w 37"/>
                    <a:gd name="T7" fmla="*/ 1 h 14"/>
                    <a:gd name="T8" fmla="*/ 27 w 37"/>
                    <a:gd name="T9" fmla="*/ 0 h 14"/>
                    <a:gd name="T10" fmla="*/ 27 w 37"/>
                    <a:gd name="T11" fmla="*/ 0 h 14"/>
                    <a:gd name="T12" fmla="*/ 27 w 37"/>
                    <a:gd name="T13" fmla="*/ 0 h 14"/>
                    <a:gd name="T14" fmla="*/ 26 w 37"/>
                    <a:gd name="T15" fmla="*/ 0 h 14"/>
                    <a:gd name="T16" fmla="*/ 26 w 37"/>
                    <a:gd name="T17" fmla="*/ 0 h 14"/>
                    <a:gd name="T18" fmla="*/ 25 w 37"/>
                    <a:gd name="T19" fmla="*/ 0 h 14"/>
                    <a:gd name="T20" fmla="*/ 25 w 37"/>
                    <a:gd name="T21" fmla="*/ 0 h 14"/>
                    <a:gd name="T22" fmla="*/ 25 w 37"/>
                    <a:gd name="T23" fmla="*/ 0 h 14"/>
                    <a:gd name="T24" fmla="*/ 25 w 37"/>
                    <a:gd name="T25" fmla="*/ 0 h 14"/>
                    <a:gd name="T26" fmla="*/ 24 w 37"/>
                    <a:gd name="T27" fmla="*/ 0 h 14"/>
                    <a:gd name="T28" fmla="*/ 24 w 37"/>
                    <a:gd name="T29" fmla="*/ 0 h 14"/>
                    <a:gd name="T30" fmla="*/ 23 w 37"/>
                    <a:gd name="T31" fmla="*/ 0 h 14"/>
                    <a:gd name="T32" fmla="*/ 23 w 37"/>
                    <a:gd name="T33" fmla="*/ 0 h 14"/>
                    <a:gd name="T34" fmla="*/ 0 w 37"/>
                    <a:gd name="T35" fmla="*/ 9 h 14"/>
                    <a:gd name="T36" fmla="*/ 35 w 37"/>
                    <a:gd name="T3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14">
                      <a:moveTo>
                        <a:pt x="35" y="14"/>
                      </a:moveTo>
                      <a:cubicBezTo>
                        <a:pt x="37" y="14"/>
                        <a:pt x="37" y="13"/>
                        <a:pt x="37" y="12"/>
                      </a:cubicBezTo>
                      <a:cubicBezTo>
                        <a:pt x="37" y="11"/>
                        <a:pt x="36" y="10"/>
                        <a:pt x="36" y="9"/>
                      </a:cubicBezTo>
                      <a:cubicBezTo>
                        <a:pt x="33" y="6"/>
                        <a:pt x="31" y="4"/>
                        <a:pt x="29" y="1"/>
                      </a:cubicBezTo>
                      <a:cubicBezTo>
                        <a:pt x="27" y="0"/>
                        <a:pt x="27" y="0"/>
                        <a:pt x="27" y="0"/>
                      </a:cubicBezTo>
                      <a:cubicBezTo>
                        <a:pt x="27" y="0"/>
                        <a:pt x="27" y="0"/>
                        <a:pt x="27" y="0"/>
                      </a:cubicBezTo>
                      <a:cubicBezTo>
                        <a:pt x="27" y="0"/>
                        <a:pt x="27" y="0"/>
                        <a:pt x="27" y="0"/>
                      </a:cubicBezTo>
                      <a:cubicBezTo>
                        <a:pt x="27" y="0"/>
                        <a:pt x="26" y="0"/>
                        <a:pt x="26" y="0"/>
                      </a:cubicBezTo>
                      <a:cubicBezTo>
                        <a:pt x="26" y="0"/>
                        <a:pt x="26" y="0"/>
                        <a:pt x="26" y="0"/>
                      </a:cubicBezTo>
                      <a:cubicBezTo>
                        <a:pt x="26" y="0"/>
                        <a:pt x="26" y="0"/>
                        <a:pt x="25" y="0"/>
                      </a:cubicBezTo>
                      <a:cubicBezTo>
                        <a:pt x="25" y="0"/>
                        <a:pt x="25" y="0"/>
                        <a:pt x="25" y="0"/>
                      </a:cubicBezTo>
                      <a:cubicBezTo>
                        <a:pt x="25" y="0"/>
                        <a:pt x="25" y="0"/>
                        <a:pt x="25" y="0"/>
                      </a:cubicBezTo>
                      <a:cubicBezTo>
                        <a:pt x="25" y="0"/>
                        <a:pt x="25" y="0"/>
                        <a:pt x="25" y="0"/>
                      </a:cubicBezTo>
                      <a:cubicBezTo>
                        <a:pt x="25" y="0"/>
                        <a:pt x="25" y="0"/>
                        <a:pt x="24" y="0"/>
                      </a:cubicBezTo>
                      <a:cubicBezTo>
                        <a:pt x="24" y="0"/>
                        <a:pt x="24" y="0"/>
                        <a:pt x="24" y="0"/>
                      </a:cubicBezTo>
                      <a:cubicBezTo>
                        <a:pt x="23" y="0"/>
                        <a:pt x="23" y="0"/>
                        <a:pt x="23" y="0"/>
                      </a:cubicBezTo>
                      <a:cubicBezTo>
                        <a:pt x="23" y="0"/>
                        <a:pt x="23" y="0"/>
                        <a:pt x="23" y="0"/>
                      </a:cubicBezTo>
                      <a:cubicBezTo>
                        <a:pt x="0" y="9"/>
                        <a:pt x="0" y="9"/>
                        <a:pt x="0" y="9"/>
                      </a:cubicBezTo>
                      <a:lnTo>
                        <a:pt x="35"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74"/>
                <p:cNvSpPr>
                  <a:spLocks/>
                </p:cNvSpPr>
                <p:nvPr/>
              </p:nvSpPr>
              <p:spPr bwMode="auto">
                <a:xfrm>
                  <a:off x="-1616075" y="3479800"/>
                  <a:ext cx="104775" cy="49212"/>
                </a:xfrm>
                <a:custGeom>
                  <a:avLst/>
                  <a:gdLst>
                    <a:gd name="T0" fmla="*/ 0 w 28"/>
                    <a:gd name="T1" fmla="*/ 10 h 13"/>
                    <a:gd name="T2" fmla="*/ 0 w 28"/>
                    <a:gd name="T3" fmla="*/ 13 h 13"/>
                    <a:gd name="T4" fmla="*/ 28 w 28"/>
                    <a:gd name="T5" fmla="*/ 4 h 13"/>
                    <a:gd name="T6" fmla="*/ 28 w 28"/>
                    <a:gd name="T7" fmla="*/ 0 h 13"/>
                    <a:gd name="T8" fmla="*/ 0 w 28"/>
                    <a:gd name="T9" fmla="*/ 9 h 13"/>
                    <a:gd name="T10" fmla="*/ 0 w 28"/>
                    <a:gd name="T11" fmla="*/ 10 h 13"/>
                  </a:gdLst>
                  <a:ahLst/>
                  <a:cxnLst>
                    <a:cxn ang="0">
                      <a:pos x="T0" y="T1"/>
                    </a:cxn>
                    <a:cxn ang="0">
                      <a:pos x="T2" y="T3"/>
                    </a:cxn>
                    <a:cxn ang="0">
                      <a:pos x="T4" y="T5"/>
                    </a:cxn>
                    <a:cxn ang="0">
                      <a:pos x="T6" y="T7"/>
                    </a:cxn>
                    <a:cxn ang="0">
                      <a:pos x="T8" y="T9"/>
                    </a:cxn>
                    <a:cxn ang="0">
                      <a:pos x="T10" y="T11"/>
                    </a:cxn>
                  </a:cxnLst>
                  <a:rect l="0" t="0" r="r" b="b"/>
                  <a:pathLst>
                    <a:path w="28" h="13">
                      <a:moveTo>
                        <a:pt x="0" y="10"/>
                      </a:moveTo>
                      <a:cubicBezTo>
                        <a:pt x="0" y="13"/>
                        <a:pt x="0" y="13"/>
                        <a:pt x="0" y="13"/>
                      </a:cubicBezTo>
                      <a:cubicBezTo>
                        <a:pt x="28" y="4"/>
                        <a:pt x="28" y="4"/>
                        <a:pt x="28" y="4"/>
                      </a:cubicBezTo>
                      <a:cubicBezTo>
                        <a:pt x="28" y="0"/>
                        <a:pt x="28" y="0"/>
                        <a:pt x="28" y="0"/>
                      </a:cubicBezTo>
                      <a:cubicBezTo>
                        <a:pt x="0" y="9"/>
                        <a:pt x="0" y="9"/>
                        <a:pt x="0" y="9"/>
                      </a:cubicBezTo>
                      <a:cubicBezTo>
                        <a:pt x="0" y="9"/>
                        <a:pt x="0" y="9"/>
                        <a:pt x="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77"/>
                <p:cNvSpPr>
                  <a:spLocks/>
                </p:cNvSpPr>
                <p:nvPr/>
              </p:nvSpPr>
              <p:spPr bwMode="auto">
                <a:xfrm>
                  <a:off x="-1470025" y="3443288"/>
                  <a:ext cx="11113" cy="36512"/>
                </a:xfrm>
                <a:custGeom>
                  <a:avLst/>
                  <a:gdLst>
                    <a:gd name="T0" fmla="*/ 2 w 3"/>
                    <a:gd name="T1" fmla="*/ 10 h 10"/>
                    <a:gd name="T2" fmla="*/ 3 w 3"/>
                    <a:gd name="T3" fmla="*/ 10 h 10"/>
                    <a:gd name="T4" fmla="*/ 3 w 3"/>
                    <a:gd name="T5" fmla="*/ 0 h 10"/>
                    <a:gd name="T6" fmla="*/ 2 w 3"/>
                    <a:gd name="T7" fmla="*/ 0 h 10"/>
                    <a:gd name="T8" fmla="*/ 2 w 3"/>
                    <a:gd name="T9" fmla="*/ 0 h 10"/>
                    <a:gd name="T10" fmla="*/ 1 w 3"/>
                    <a:gd name="T11" fmla="*/ 0 h 10"/>
                    <a:gd name="T12" fmla="*/ 0 w 3"/>
                    <a:gd name="T13" fmla="*/ 0 h 10"/>
                    <a:gd name="T14" fmla="*/ 2 w 3"/>
                    <a:gd name="T15" fmla="*/ 7 h 10"/>
                    <a:gd name="T16" fmla="*/ 2 w 3"/>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0">
                      <a:moveTo>
                        <a:pt x="2" y="10"/>
                      </a:moveTo>
                      <a:cubicBezTo>
                        <a:pt x="3" y="10"/>
                        <a:pt x="3" y="10"/>
                        <a:pt x="3" y="10"/>
                      </a:cubicBezTo>
                      <a:cubicBezTo>
                        <a:pt x="3" y="0"/>
                        <a:pt x="3" y="0"/>
                        <a:pt x="3" y="0"/>
                      </a:cubicBezTo>
                      <a:cubicBezTo>
                        <a:pt x="2" y="0"/>
                        <a:pt x="2" y="0"/>
                        <a:pt x="2" y="0"/>
                      </a:cubicBezTo>
                      <a:cubicBezTo>
                        <a:pt x="2" y="0"/>
                        <a:pt x="2" y="0"/>
                        <a:pt x="2" y="0"/>
                      </a:cubicBezTo>
                      <a:cubicBezTo>
                        <a:pt x="2" y="0"/>
                        <a:pt x="1" y="0"/>
                        <a:pt x="1" y="0"/>
                      </a:cubicBezTo>
                      <a:cubicBezTo>
                        <a:pt x="0" y="0"/>
                        <a:pt x="0" y="0"/>
                        <a:pt x="0" y="0"/>
                      </a:cubicBezTo>
                      <a:cubicBezTo>
                        <a:pt x="1" y="2"/>
                        <a:pt x="2" y="4"/>
                        <a:pt x="2" y="7"/>
                      </a:cubicBezTo>
                      <a:lnTo>
                        <a:pt x="2"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sp>
        <p:nvSpPr>
          <p:cNvPr id="45" name="Freeform 79"/>
          <p:cNvSpPr>
            <a:spLocks/>
          </p:cNvSpPr>
          <p:nvPr/>
        </p:nvSpPr>
        <p:spPr bwMode="black">
          <a:xfrm>
            <a:off x="6915761" y="1344791"/>
            <a:ext cx="685979" cy="241047"/>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sz="1200"/>
          </a:p>
        </p:txBody>
      </p:sp>
      <p:sp>
        <p:nvSpPr>
          <p:cNvPr id="46" name="Freeform 80"/>
          <p:cNvSpPr>
            <a:spLocks noEditPoints="1"/>
          </p:cNvSpPr>
          <p:nvPr/>
        </p:nvSpPr>
        <p:spPr bwMode="black">
          <a:xfrm>
            <a:off x="6915761" y="1085850"/>
            <a:ext cx="685979" cy="238942"/>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sz="1200"/>
          </a:p>
        </p:txBody>
      </p:sp>
      <p:sp>
        <p:nvSpPr>
          <p:cNvPr id="44"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47"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7"/>
              </a:rPr>
              <a:t>www.rapidbbs.cn</a:t>
            </a:r>
            <a:endParaRPr lang="zh-CN" altLang="en-US" sz="1200" b="0">
              <a:latin typeface="Arial" charset="0"/>
              <a:ea typeface="ＭＳ Ｐゴシック" pitchFamily="34" charset="-128"/>
            </a:endParaRPr>
          </a:p>
        </p:txBody>
      </p:sp>
    </p:spTree>
    <p:extLst>
      <p:ext uri="{BB962C8B-B14F-4D97-AF65-F5344CB8AC3E}">
        <p14:creationId xmlns:p14="http://schemas.microsoft.com/office/powerpoint/2010/main" val="2685892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 name="TextBox 120"/>
          <p:cNvSpPr txBox="1"/>
          <p:nvPr/>
        </p:nvSpPr>
        <p:spPr>
          <a:xfrm>
            <a:off x="463380" y="57149"/>
            <a:ext cx="8407911" cy="365760"/>
          </a:xfrm>
          <a:prstGeom prst="rect">
            <a:avLst/>
          </a:prstGeom>
          <a:no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28" tIns="45714" rIns="91428" bIns="45714" numCol="1" rtlCol="0" anchor="ctr" anchorCtr="0" compatLnSpc="1">
            <a:prstTxWarp prst="textNoShape">
              <a:avLst/>
            </a:prstTxWarp>
            <a:noAutofit/>
          </a:bodyPr>
          <a:lstStyle>
            <a:defPPr>
              <a:defRPr lang="en-US"/>
            </a:defPPr>
            <a:lvl1pPr algn="ctr" defTabSz="914159" fontAlgn="base">
              <a:lnSpc>
                <a:spcPct val="90000"/>
              </a:lnSpc>
              <a:spcBef>
                <a:spcPts val="630"/>
              </a:spcBef>
              <a:spcAft>
                <a:spcPct val="0"/>
              </a:spcAft>
              <a:buClr>
                <a:srgbClr val="FFFF99"/>
              </a:buClr>
              <a:buSzPct val="120000"/>
              <a:defRPr>
                <a:ln>
                  <a:solidFill>
                    <a:srgbClr val="FFFFFF">
                      <a:alpha val="0"/>
                    </a:srgbClr>
                  </a:solidFill>
                </a:ln>
                <a:solidFill>
                  <a:srgbClr val="FFFFFF">
                    <a:alpha val="99000"/>
                  </a:srgbClr>
                </a:solidFill>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000" b="1" dirty="0">
                <a:ln>
                  <a:noFill/>
                </a:ln>
                <a:solidFill>
                  <a:schemeClr val="accent3">
                    <a:alpha val="99000"/>
                  </a:schemeClr>
                </a:solidFill>
                <a:latin typeface="+mj-lt"/>
              </a:rPr>
              <a:t>CONNECTED DEVELOPMENT</a:t>
            </a:r>
          </a:p>
        </p:txBody>
      </p:sp>
      <p:sp>
        <p:nvSpPr>
          <p:cNvPr id="122" name="TextBox 121"/>
          <p:cNvSpPr txBox="1"/>
          <p:nvPr/>
        </p:nvSpPr>
        <p:spPr>
          <a:xfrm>
            <a:off x="463377" y="1762666"/>
            <a:ext cx="8412480" cy="365760"/>
          </a:xfrm>
          <a:prstGeom prst="rect">
            <a:avLst/>
          </a:prstGeom>
          <a:no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28" tIns="45714" rIns="91428" bIns="45714" numCol="1" rtlCol="0" anchor="ctr" anchorCtr="0" compatLnSpc="1">
            <a:prstTxWarp prst="textNoShape">
              <a:avLst/>
            </a:prstTxWarp>
            <a:noAutofit/>
          </a:bodyPr>
          <a:lstStyle>
            <a:defPPr>
              <a:defRPr lang="en-US"/>
            </a:defPPr>
            <a:lvl1pPr algn="ctr" defTabSz="914159" fontAlgn="base">
              <a:lnSpc>
                <a:spcPct val="90000"/>
              </a:lnSpc>
              <a:spcBef>
                <a:spcPts val="630"/>
              </a:spcBef>
              <a:spcAft>
                <a:spcPct val="0"/>
              </a:spcAft>
              <a:buClr>
                <a:srgbClr val="FFFF99"/>
              </a:buClr>
              <a:buSzPct val="120000"/>
              <a:defRPr>
                <a:ln>
                  <a:solidFill>
                    <a:srgbClr val="FFFFFF">
                      <a:alpha val="0"/>
                    </a:srgbClr>
                  </a:solidFill>
                </a:ln>
                <a:solidFill>
                  <a:srgbClr val="FFFFFF">
                    <a:alpha val="99000"/>
                  </a:srgbClr>
                </a:solidFill>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000" b="1" dirty="0">
                <a:ln>
                  <a:noFill/>
                </a:ln>
                <a:solidFill>
                  <a:schemeClr val="accent1">
                    <a:alpha val="99000"/>
                  </a:schemeClr>
                </a:solidFill>
                <a:latin typeface="+mj-lt"/>
              </a:rPr>
              <a:t>PROJECT BASED DEVELOPMENT</a:t>
            </a:r>
          </a:p>
        </p:txBody>
      </p:sp>
      <p:sp>
        <p:nvSpPr>
          <p:cNvPr id="123" name="TextBox 122"/>
          <p:cNvSpPr txBox="1"/>
          <p:nvPr/>
        </p:nvSpPr>
        <p:spPr>
          <a:xfrm>
            <a:off x="463380" y="3457956"/>
            <a:ext cx="8407911" cy="365760"/>
          </a:xfrm>
          <a:prstGeom prst="rect">
            <a:avLst/>
          </a:prstGeom>
          <a:no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28" tIns="45714" rIns="91428" bIns="45714" numCol="1" rtlCol="0" anchor="ctr" anchorCtr="0" compatLnSpc="1">
            <a:prstTxWarp prst="textNoShape">
              <a:avLst/>
            </a:prstTxWarp>
            <a:noAutofit/>
          </a:bodyPr>
          <a:lstStyle>
            <a:defPPr>
              <a:defRPr lang="en-US"/>
            </a:defPPr>
            <a:lvl1pPr algn="ctr" defTabSz="914159" fontAlgn="base">
              <a:lnSpc>
                <a:spcPct val="90000"/>
              </a:lnSpc>
              <a:spcBef>
                <a:spcPts val="630"/>
              </a:spcBef>
              <a:spcAft>
                <a:spcPct val="0"/>
              </a:spcAft>
              <a:buClr>
                <a:srgbClr val="FFFF99"/>
              </a:buClr>
              <a:buSzPct val="120000"/>
              <a:defRPr>
                <a:ln>
                  <a:solidFill>
                    <a:srgbClr val="FFFFFF">
                      <a:alpha val="0"/>
                    </a:srgbClr>
                  </a:solidFill>
                </a:ln>
                <a:solidFill>
                  <a:srgbClr val="FFFFFF">
                    <a:alpha val="99000"/>
                  </a:srgbClr>
                </a:solidFill>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000" b="1" dirty="0">
                <a:solidFill>
                  <a:schemeClr val="accent2">
                    <a:alpha val="99000"/>
                  </a:schemeClr>
                </a:solidFill>
                <a:latin typeface="+mj-lt"/>
              </a:rPr>
              <a:t>SCHEMA DEPLOYMENT</a:t>
            </a:r>
          </a:p>
        </p:txBody>
      </p:sp>
      <p:sp>
        <p:nvSpPr>
          <p:cNvPr id="294" name="Freeform 6"/>
          <p:cNvSpPr>
            <a:spLocks/>
          </p:cNvSpPr>
          <p:nvPr/>
        </p:nvSpPr>
        <p:spPr bwMode="auto">
          <a:xfrm>
            <a:off x="1161351" y="497882"/>
            <a:ext cx="634000" cy="556741"/>
          </a:xfrm>
          <a:custGeom>
            <a:avLst/>
            <a:gdLst>
              <a:gd name="T0" fmla="*/ 983 w 1123"/>
              <a:gd name="T1" fmla="*/ 48 h 972"/>
              <a:gd name="T2" fmla="*/ 884 w 1123"/>
              <a:gd name="T3" fmla="*/ 36 h 972"/>
              <a:gd name="T4" fmla="*/ 409 w 1123"/>
              <a:gd name="T5" fmla="*/ 515 h 972"/>
              <a:gd name="T6" fmla="*/ 251 w 1123"/>
              <a:gd name="T7" fmla="*/ 357 h 972"/>
              <a:gd name="T8" fmla="*/ 107 w 1123"/>
              <a:gd name="T9" fmla="*/ 369 h 972"/>
              <a:gd name="T10" fmla="*/ 42 w 1123"/>
              <a:gd name="T11" fmla="*/ 446 h 972"/>
              <a:gd name="T12" fmla="*/ 41 w 1123"/>
              <a:gd name="T13" fmla="*/ 534 h 972"/>
              <a:gd name="T14" fmla="*/ 356 w 1123"/>
              <a:gd name="T15" fmla="*/ 871 h 972"/>
              <a:gd name="T16" fmla="*/ 500 w 1123"/>
              <a:gd name="T17" fmla="*/ 872 h 972"/>
              <a:gd name="T18" fmla="*/ 1058 w 1123"/>
              <a:gd name="T19" fmla="*/ 267 h 972"/>
              <a:gd name="T20" fmla="*/ 1065 w 1123"/>
              <a:gd name="T21" fmla="*/ 154 h 972"/>
              <a:gd name="T22" fmla="*/ 983 w 1123"/>
              <a:gd name="T23" fmla="*/ 4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3" h="972">
                <a:moveTo>
                  <a:pt x="983" y="48"/>
                </a:moveTo>
                <a:cubicBezTo>
                  <a:pt x="983" y="48"/>
                  <a:pt x="952" y="0"/>
                  <a:pt x="884" y="36"/>
                </a:cubicBezTo>
                <a:cubicBezTo>
                  <a:pt x="774" y="95"/>
                  <a:pt x="533" y="321"/>
                  <a:pt x="409" y="515"/>
                </a:cubicBezTo>
                <a:cubicBezTo>
                  <a:pt x="409" y="515"/>
                  <a:pt x="320" y="412"/>
                  <a:pt x="251" y="357"/>
                </a:cubicBezTo>
                <a:cubicBezTo>
                  <a:pt x="183" y="302"/>
                  <a:pt x="170" y="309"/>
                  <a:pt x="107" y="369"/>
                </a:cubicBezTo>
                <a:cubicBezTo>
                  <a:pt x="66" y="408"/>
                  <a:pt x="42" y="446"/>
                  <a:pt x="42" y="446"/>
                </a:cubicBezTo>
                <a:cubicBezTo>
                  <a:pt x="42" y="446"/>
                  <a:pt x="0" y="490"/>
                  <a:pt x="41" y="534"/>
                </a:cubicBezTo>
                <a:cubicBezTo>
                  <a:pt x="93" y="589"/>
                  <a:pt x="283" y="776"/>
                  <a:pt x="356" y="871"/>
                </a:cubicBezTo>
                <a:cubicBezTo>
                  <a:pt x="432" y="972"/>
                  <a:pt x="500" y="872"/>
                  <a:pt x="500" y="872"/>
                </a:cubicBezTo>
                <a:cubicBezTo>
                  <a:pt x="500" y="872"/>
                  <a:pt x="734" y="489"/>
                  <a:pt x="1058" y="267"/>
                </a:cubicBezTo>
                <a:cubicBezTo>
                  <a:pt x="1058" y="267"/>
                  <a:pt x="1123" y="229"/>
                  <a:pt x="1065" y="154"/>
                </a:cubicBezTo>
                <a:cubicBezTo>
                  <a:pt x="1007" y="79"/>
                  <a:pt x="983" y="48"/>
                  <a:pt x="983" y="48"/>
                </a:cubicBezTo>
                <a:close/>
              </a:path>
            </a:pathLst>
          </a:custGeom>
          <a:solidFill>
            <a:sysClr val="window" lastClr="FFFFFF"/>
          </a:solidFill>
          <a:ln>
            <a:noFill/>
          </a:ln>
        </p:spPr>
        <p:txBody>
          <a:bodyPr vert="horz" wrap="square" lIns="91428" tIns="45714" rIns="91428" bIns="45714" numCol="1" anchor="t" anchorCtr="0" compatLnSpc="1">
            <a:prstTxWarp prst="textNoShape">
              <a:avLst/>
            </a:prstTxWarp>
          </a:bodyPr>
          <a:lstStyle/>
          <a:p>
            <a:pPr>
              <a:defRPr/>
            </a:pPr>
            <a:endParaRPr lang="en-US" sz="1600" kern="0">
              <a:solidFill>
                <a:sysClr val="windowText" lastClr="000000"/>
              </a:solidFill>
            </a:endParaRPr>
          </a:p>
        </p:txBody>
      </p:sp>
      <p:sp>
        <p:nvSpPr>
          <p:cNvPr id="300" name="Freeform 83"/>
          <p:cNvSpPr>
            <a:spLocks noEditPoints="1"/>
          </p:cNvSpPr>
          <p:nvPr/>
        </p:nvSpPr>
        <p:spPr bwMode="auto">
          <a:xfrm>
            <a:off x="5447206" y="514354"/>
            <a:ext cx="572024" cy="549673"/>
          </a:xfrm>
          <a:custGeom>
            <a:avLst/>
            <a:gdLst>
              <a:gd name="T0" fmla="*/ 880 w 925"/>
              <a:gd name="T1" fmla="*/ 309 h 911"/>
              <a:gd name="T2" fmla="*/ 601 w 925"/>
              <a:gd name="T3" fmla="*/ 30 h 911"/>
              <a:gd name="T4" fmla="*/ 510 w 925"/>
              <a:gd name="T5" fmla="*/ 46 h 911"/>
              <a:gd name="T6" fmla="*/ 374 w 925"/>
              <a:gd name="T7" fmla="*/ 182 h 911"/>
              <a:gd name="T8" fmla="*/ 357 w 925"/>
              <a:gd name="T9" fmla="*/ 389 h 911"/>
              <a:gd name="T10" fmla="*/ 0 w 925"/>
              <a:gd name="T11" fmla="*/ 737 h 911"/>
              <a:gd name="T12" fmla="*/ 0 w 925"/>
              <a:gd name="T13" fmla="*/ 891 h 911"/>
              <a:gd name="T14" fmla="*/ 20 w 925"/>
              <a:gd name="T15" fmla="*/ 911 h 911"/>
              <a:gd name="T16" fmla="*/ 187 w 925"/>
              <a:gd name="T17" fmla="*/ 911 h 911"/>
              <a:gd name="T18" fmla="*/ 212 w 925"/>
              <a:gd name="T19" fmla="*/ 886 h 911"/>
              <a:gd name="T20" fmla="*/ 192 w 925"/>
              <a:gd name="T21" fmla="*/ 791 h 911"/>
              <a:gd name="T22" fmla="*/ 286 w 925"/>
              <a:gd name="T23" fmla="*/ 811 h 911"/>
              <a:gd name="T24" fmla="*/ 326 w 925"/>
              <a:gd name="T25" fmla="*/ 770 h 911"/>
              <a:gd name="T26" fmla="*/ 306 w 925"/>
              <a:gd name="T27" fmla="*/ 675 h 911"/>
              <a:gd name="T28" fmla="*/ 390 w 925"/>
              <a:gd name="T29" fmla="*/ 693 h 911"/>
              <a:gd name="T30" fmla="*/ 372 w 925"/>
              <a:gd name="T31" fmla="*/ 610 h 911"/>
              <a:gd name="T32" fmla="*/ 465 w 925"/>
              <a:gd name="T33" fmla="*/ 629 h 911"/>
              <a:gd name="T34" fmla="*/ 538 w 925"/>
              <a:gd name="T35" fmla="*/ 554 h 911"/>
              <a:gd name="T36" fmla="*/ 744 w 925"/>
              <a:gd name="T37" fmla="*/ 540 h 911"/>
              <a:gd name="T38" fmla="*/ 880 w 925"/>
              <a:gd name="T39" fmla="*/ 404 h 911"/>
              <a:gd name="T40" fmla="*/ 880 w 925"/>
              <a:gd name="T41" fmla="*/ 309 h 911"/>
              <a:gd name="T42" fmla="*/ 682 w 925"/>
              <a:gd name="T43" fmla="*/ 413 h 911"/>
              <a:gd name="T44" fmla="*/ 495 w 925"/>
              <a:gd name="T45" fmla="*/ 230 h 911"/>
              <a:gd name="T46" fmla="*/ 581 w 925"/>
              <a:gd name="T47" fmla="*/ 198 h 911"/>
              <a:gd name="T48" fmla="*/ 712 w 925"/>
              <a:gd name="T49" fmla="*/ 329 h 911"/>
              <a:gd name="T50" fmla="*/ 682 w 925"/>
              <a:gd name="T51" fmla="*/ 413 h 9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25" h="911">
                <a:moveTo>
                  <a:pt x="880" y="309"/>
                </a:moveTo>
                <a:cubicBezTo>
                  <a:pt x="880" y="309"/>
                  <a:pt x="653" y="60"/>
                  <a:pt x="601" y="30"/>
                </a:cubicBezTo>
                <a:cubicBezTo>
                  <a:pt x="550" y="0"/>
                  <a:pt x="510" y="46"/>
                  <a:pt x="510" y="46"/>
                </a:cubicBezTo>
                <a:cubicBezTo>
                  <a:pt x="374" y="182"/>
                  <a:pt x="374" y="182"/>
                  <a:pt x="374" y="182"/>
                </a:cubicBezTo>
                <a:cubicBezTo>
                  <a:pt x="357" y="389"/>
                  <a:pt x="357" y="389"/>
                  <a:pt x="357" y="389"/>
                </a:cubicBezTo>
                <a:cubicBezTo>
                  <a:pt x="0" y="737"/>
                  <a:pt x="0" y="737"/>
                  <a:pt x="0" y="737"/>
                </a:cubicBezTo>
                <a:cubicBezTo>
                  <a:pt x="0" y="891"/>
                  <a:pt x="0" y="891"/>
                  <a:pt x="0" y="891"/>
                </a:cubicBezTo>
                <a:cubicBezTo>
                  <a:pt x="20" y="911"/>
                  <a:pt x="20" y="911"/>
                  <a:pt x="20" y="911"/>
                </a:cubicBezTo>
                <a:cubicBezTo>
                  <a:pt x="187" y="911"/>
                  <a:pt x="187" y="911"/>
                  <a:pt x="187" y="911"/>
                </a:cubicBezTo>
                <a:cubicBezTo>
                  <a:pt x="212" y="886"/>
                  <a:pt x="212" y="886"/>
                  <a:pt x="212" y="886"/>
                </a:cubicBezTo>
                <a:cubicBezTo>
                  <a:pt x="192" y="791"/>
                  <a:pt x="192" y="791"/>
                  <a:pt x="192" y="791"/>
                </a:cubicBezTo>
                <a:cubicBezTo>
                  <a:pt x="286" y="811"/>
                  <a:pt x="286" y="811"/>
                  <a:pt x="286" y="811"/>
                </a:cubicBezTo>
                <a:cubicBezTo>
                  <a:pt x="326" y="770"/>
                  <a:pt x="326" y="770"/>
                  <a:pt x="326" y="770"/>
                </a:cubicBezTo>
                <a:cubicBezTo>
                  <a:pt x="306" y="675"/>
                  <a:pt x="306" y="675"/>
                  <a:pt x="306" y="675"/>
                </a:cubicBezTo>
                <a:cubicBezTo>
                  <a:pt x="390" y="693"/>
                  <a:pt x="390" y="693"/>
                  <a:pt x="390" y="693"/>
                </a:cubicBezTo>
                <a:cubicBezTo>
                  <a:pt x="372" y="610"/>
                  <a:pt x="372" y="610"/>
                  <a:pt x="372" y="610"/>
                </a:cubicBezTo>
                <a:cubicBezTo>
                  <a:pt x="465" y="629"/>
                  <a:pt x="465" y="629"/>
                  <a:pt x="465" y="629"/>
                </a:cubicBezTo>
                <a:cubicBezTo>
                  <a:pt x="538" y="554"/>
                  <a:pt x="538" y="554"/>
                  <a:pt x="538" y="554"/>
                </a:cubicBezTo>
                <a:cubicBezTo>
                  <a:pt x="744" y="540"/>
                  <a:pt x="744" y="540"/>
                  <a:pt x="744" y="540"/>
                </a:cubicBezTo>
                <a:cubicBezTo>
                  <a:pt x="880" y="404"/>
                  <a:pt x="880" y="404"/>
                  <a:pt x="880" y="404"/>
                </a:cubicBezTo>
                <a:cubicBezTo>
                  <a:pt x="925" y="341"/>
                  <a:pt x="880" y="309"/>
                  <a:pt x="880" y="309"/>
                </a:cubicBezTo>
                <a:close/>
                <a:moveTo>
                  <a:pt x="682" y="413"/>
                </a:moveTo>
                <a:cubicBezTo>
                  <a:pt x="495" y="230"/>
                  <a:pt x="495" y="230"/>
                  <a:pt x="495" y="230"/>
                </a:cubicBezTo>
                <a:cubicBezTo>
                  <a:pt x="518" y="210"/>
                  <a:pt x="548" y="198"/>
                  <a:pt x="581" y="198"/>
                </a:cubicBezTo>
                <a:cubicBezTo>
                  <a:pt x="653" y="198"/>
                  <a:pt x="712" y="257"/>
                  <a:pt x="712" y="329"/>
                </a:cubicBezTo>
                <a:cubicBezTo>
                  <a:pt x="712" y="361"/>
                  <a:pt x="701" y="390"/>
                  <a:pt x="682" y="413"/>
                </a:cubicBezTo>
                <a:close/>
              </a:path>
            </a:pathLst>
          </a:custGeom>
          <a:solidFill>
            <a:sysClr val="window" lastClr="FFFFFF"/>
          </a:solidFill>
          <a:ln>
            <a:noFill/>
          </a:ln>
        </p:spPr>
        <p:txBody>
          <a:bodyPr vert="horz" wrap="square" lIns="91428" tIns="45714" rIns="91428" bIns="45714" numCol="1" anchor="t" anchorCtr="0" compatLnSpc="1">
            <a:prstTxWarp prst="textNoShape">
              <a:avLst/>
            </a:prstTxWarp>
          </a:bodyPr>
          <a:lstStyle/>
          <a:p>
            <a:pPr>
              <a:defRPr/>
            </a:pPr>
            <a:endParaRPr lang="en-US" sz="1600" kern="0">
              <a:solidFill>
                <a:sysClr val="windowText" lastClr="000000"/>
              </a:solidFill>
            </a:endParaRPr>
          </a:p>
        </p:txBody>
      </p:sp>
      <p:grpSp>
        <p:nvGrpSpPr>
          <p:cNvPr id="181" name="Group 180"/>
          <p:cNvGrpSpPr>
            <a:grpSpLocks noChangeAspect="1"/>
          </p:cNvGrpSpPr>
          <p:nvPr/>
        </p:nvGrpSpPr>
        <p:grpSpPr>
          <a:xfrm>
            <a:off x="3301180" y="549888"/>
            <a:ext cx="575142" cy="574062"/>
            <a:chOff x="-3989388" y="1349376"/>
            <a:chExt cx="3379788" cy="3373438"/>
          </a:xfrm>
          <a:solidFill>
            <a:schemeClr val="bg1"/>
          </a:solidFill>
        </p:grpSpPr>
        <p:sp>
          <p:nvSpPr>
            <p:cNvPr id="182" name="Freeform 11"/>
            <p:cNvSpPr>
              <a:spLocks/>
            </p:cNvSpPr>
            <p:nvPr/>
          </p:nvSpPr>
          <p:spPr bwMode="auto">
            <a:xfrm>
              <a:off x="-2976563" y="1349376"/>
              <a:ext cx="1668463" cy="2286000"/>
            </a:xfrm>
            <a:custGeom>
              <a:avLst/>
              <a:gdLst>
                <a:gd name="T0" fmla="*/ 180 w 445"/>
                <a:gd name="T1" fmla="*/ 0 h 610"/>
                <a:gd name="T2" fmla="*/ 232 w 445"/>
                <a:gd name="T3" fmla="*/ 85 h 610"/>
                <a:gd name="T4" fmla="*/ 3 w 445"/>
                <a:gd name="T5" fmla="*/ 543 h 610"/>
                <a:gd name="T6" fmla="*/ 25 w 445"/>
                <a:gd name="T7" fmla="*/ 598 h 610"/>
                <a:gd name="T8" fmla="*/ 92 w 445"/>
                <a:gd name="T9" fmla="*/ 563 h 610"/>
                <a:gd name="T10" fmla="*/ 341 w 445"/>
                <a:gd name="T11" fmla="*/ 250 h 610"/>
                <a:gd name="T12" fmla="*/ 393 w 445"/>
                <a:gd name="T13" fmla="*/ 331 h 610"/>
                <a:gd name="T14" fmla="*/ 445 w 445"/>
                <a:gd name="T15" fmla="*/ 42 h 610"/>
                <a:gd name="T16" fmla="*/ 180 w 445"/>
                <a:gd name="T17" fmla="*/ 0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5" h="610">
                  <a:moveTo>
                    <a:pt x="180" y="0"/>
                  </a:moveTo>
                  <a:cubicBezTo>
                    <a:pt x="232" y="85"/>
                    <a:pt x="232" y="85"/>
                    <a:pt x="232" y="85"/>
                  </a:cubicBezTo>
                  <a:cubicBezTo>
                    <a:pt x="232" y="85"/>
                    <a:pt x="15" y="309"/>
                    <a:pt x="3" y="543"/>
                  </a:cubicBezTo>
                  <a:cubicBezTo>
                    <a:pt x="3" y="543"/>
                    <a:pt x="0" y="587"/>
                    <a:pt x="25" y="598"/>
                  </a:cubicBezTo>
                  <a:cubicBezTo>
                    <a:pt x="51" y="610"/>
                    <a:pt x="75" y="600"/>
                    <a:pt x="92" y="563"/>
                  </a:cubicBezTo>
                  <a:cubicBezTo>
                    <a:pt x="109" y="527"/>
                    <a:pt x="191" y="348"/>
                    <a:pt x="341" y="250"/>
                  </a:cubicBezTo>
                  <a:cubicBezTo>
                    <a:pt x="393" y="331"/>
                    <a:pt x="393" y="331"/>
                    <a:pt x="393" y="331"/>
                  </a:cubicBezTo>
                  <a:cubicBezTo>
                    <a:pt x="445" y="42"/>
                    <a:pt x="445" y="42"/>
                    <a:pt x="445" y="42"/>
                  </a:cubicBezTo>
                  <a:lnTo>
                    <a:pt x="1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83" name="Freeform 12"/>
            <p:cNvSpPr>
              <a:spLocks/>
            </p:cNvSpPr>
            <p:nvPr/>
          </p:nvSpPr>
          <p:spPr bwMode="auto">
            <a:xfrm>
              <a:off x="-3138488" y="3665538"/>
              <a:ext cx="2405063" cy="357188"/>
            </a:xfrm>
            <a:custGeom>
              <a:avLst/>
              <a:gdLst>
                <a:gd name="T0" fmla="*/ 589 w 641"/>
                <a:gd name="T1" fmla="*/ 0 h 95"/>
                <a:gd name="T2" fmla="*/ 588 w 641"/>
                <a:gd name="T3" fmla="*/ 0 h 95"/>
                <a:gd name="T4" fmla="*/ 538 w 641"/>
                <a:gd name="T5" fmla="*/ 0 h 95"/>
                <a:gd name="T6" fmla="*/ 48 w 641"/>
                <a:gd name="T7" fmla="*/ 0 h 95"/>
                <a:gd name="T8" fmla="*/ 0 w 641"/>
                <a:gd name="T9" fmla="*/ 48 h 95"/>
                <a:gd name="T10" fmla="*/ 48 w 641"/>
                <a:gd name="T11" fmla="*/ 95 h 95"/>
                <a:gd name="T12" fmla="*/ 464 w 641"/>
                <a:gd name="T13" fmla="*/ 95 h 95"/>
                <a:gd name="T14" fmla="*/ 537 w 641"/>
                <a:gd name="T15" fmla="*/ 95 h 95"/>
                <a:gd name="T16" fmla="*/ 559 w 641"/>
                <a:gd name="T17" fmla="*/ 95 h 95"/>
                <a:gd name="T18" fmla="*/ 589 w 641"/>
                <a:gd name="T19" fmla="*/ 95 h 95"/>
                <a:gd name="T20" fmla="*/ 641 w 641"/>
                <a:gd name="T21" fmla="*/ 0 h 95"/>
                <a:gd name="T22" fmla="*/ 589 w 641"/>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1" h="95">
                  <a:moveTo>
                    <a:pt x="589" y="0"/>
                  </a:moveTo>
                  <a:cubicBezTo>
                    <a:pt x="588" y="0"/>
                    <a:pt x="588" y="0"/>
                    <a:pt x="588" y="0"/>
                  </a:cubicBezTo>
                  <a:cubicBezTo>
                    <a:pt x="538" y="0"/>
                    <a:pt x="538" y="0"/>
                    <a:pt x="538" y="0"/>
                  </a:cubicBezTo>
                  <a:cubicBezTo>
                    <a:pt x="48" y="0"/>
                    <a:pt x="48" y="0"/>
                    <a:pt x="48" y="0"/>
                  </a:cubicBezTo>
                  <a:cubicBezTo>
                    <a:pt x="21" y="0"/>
                    <a:pt x="0" y="22"/>
                    <a:pt x="0" y="48"/>
                  </a:cubicBezTo>
                  <a:cubicBezTo>
                    <a:pt x="0" y="74"/>
                    <a:pt x="21" y="95"/>
                    <a:pt x="48" y="95"/>
                  </a:cubicBezTo>
                  <a:cubicBezTo>
                    <a:pt x="464" y="95"/>
                    <a:pt x="464" y="95"/>
                    <a:pt x="464" y="95"/>
                  </a:cubicBezTo>
                  <a:cubicBezTo>
                    <a:pt x="537" y="95"/>
                    <a:pt x="537" y="95"/>
                    <a:pt x="537" y="95"/>
                  </a:cubicBezTo>
                  <a:cubicBezTo>
                    <a:pt x="559" y="95"/>
                    <a:pt x="559" y="95"/>
                    <a:pt x="559" y="95"/>
                  </a:cubicBezTo>
                  <a:cubicBezTo>
                    <a:pt x="589" y="95"/>
                    <a:pt x="589" y="95"/>
                    <a:pt x="589" y="95"/>
                  </a:cubicBezTo>
                  <a:cubicBezTo>
                    <a:pt x="610" y="66"/>
                    <a:pt x="628" y="34"/>
                    <a:pt x="641" y="0"/>
                  </a:cubicBezTo>
                  <a:lnTo>
                    <a:pt x="58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84" name="Freeform 13"/>
            <p:cNvSpPr>
              <a:spLocks/>
            </p:cNvSpPr>
            <p:nvPr/>
          </p:nvSpPr>
          <p:spPr bwMode="auto">
            <a:xfrm>
              <a:off x="-1289050" y="1738313"/>
              <a:ext cx="679450" cy="1874838"/>
            </a:xfrm>
            <a:custGeom>
              <a:avLst/>
              <a:gdLst>
                <a:gd name="T0" fmla="*/ 52 w 181"/>
                <a:gd name="T1" fmla="*/ 500 h 500"/>
                <a:gd name="T2" fmla="*/ 154 w 181"/>
                <a:gd name="T3" fmla="*/ 500 h 500"/>
                <a:gd name="T4" fmla="*/ 181 w 181"/>
                <a:gd name="T5" fmla="*/ 345 h 500"/>
                <a:gd name="T6" fmla="*/ 20 w 181"/>
                <a:gd name="T7" fmla="*/ 0 h 500"/>
                <a:gd name="T8" fmla="*/ 0 w 181"/>
                <a:gd name="T9" fmla="*/ 111 h 500"/>
                <a:gd name="T10" fmla="*/ 88 w 181"/>
                <a:gd name="T11" fmla="*/ 345 h 500"/>
                <a:gd name="T12" fmla="*/ 52 w 181"/>
                <a:gd name="T13" fmla="*/ 500 h 500"/>
              </a:gdLst>
              <a:ahLst/>
              <a:cxnLst>
                <a:cxn ang="0">
                  <a:pos x="T0" y="T1"/>
                </a:cxn>
                <a:cxn ang="0">
                  <a:pos x="T2" y="T3"/>
                </a:cxn>
                <a:cxn ang="0">
                  <a:pos x="T4" y="T5"/>
                </a:cxn>
                <a:cxn ang="0">
                  <a:pos x="T6" y="T7"/>
                </a:cxn>
                <a:cxn ang="0">
                  <a:pos x="T8" y="T9"/>
                </a:cxn>
                <a:cxn ang="0">
                  <a:pos x="T10" y="T11"/>
                </a:cxn>
                <a:cxn ang="0">
                  <a:pos x="T12" y="T13"/>
                </a:cxn>
              </a:cxnLst>
              <a:rect l="0" t="0" r="r" b="b"/>
              <a:pathLst>
                <a:path w="181" h="500">
                  <a:moveTo>
                    <a:pt x="52" y="500"/>
                  </a:moveTo>
                  <a:cubicBezTo>
                    <a:pt x="154" y="500"/>
                    <a:pt x="154" y="500"/>
                    <a:pt x="154" y="500"/>
                  </a:cubicBezTo>
                  <a:cubicBezTo>
                    <a:pt x="172" y="452"/>
                    <a:pt x="181" y="400"/>
                    <a:pt x="181" y="345"/>
                  </a:cubicBezTo>
                  <a:cubicBezTo>
                    <a:pt x="181" y="206"/>
                    <a:pt x="119" y="82"/>
                    <a:pt x="20" y="0"/>
                  </a:cubicBezTo>
                  <a:cubicBezTo>
                    <a:pt x="0" y="111"/>
                    <a:pt x="0" y="111"/>
                    <a:pt x="0" y="111"/>
                  </a:cubicBezTo>
                  <a:cubicBezTo>
                    <a:pt x="55" y="174"/>
                    <a:pt x="88" y="255"/>
                    <a:pt x="88" y="345"/>
                  </a:cubicBezTo>
                  <a:cubicBezTo>
                    <a:pt x="88" y="401"/>
                    <a:pt x="75" y="453"/>
                    <a:pt x="5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85" name="Freeform 14"/>
            <p:cNvSpPr>
              <a:spLocks/>
            </p:cNvSpPr>
            <p:nvPr/>
          </p:nvSpPr>
          <p:spPr bwMode="auto">
            <a:xfrm>
              <a:off x="-3989388" y="1352551"/>
              <a:ext cx="3019425" cy="3370263"/>
            </a:xfrm>
            <a:custGeom>
              <a:avLst/>
              <a:gdLst>
                <a:gd name="T0" fmla="*/ 675 w 805"/>
                <a:gd name="T1" fmla="*/ 726 h 899"/>
                <a:gd name="T2" fmla="*/ 451 w 805"/>
                <a:gd name="T3" fmla="*/ 805 h 899"/>
                <a:gd name="T4" fmla="*/ 94 w 805"/>
                <a:gd name="T5" fmla="*/ 448 h 899"/>
                <a:gd name="T6" fmla="*/ 451 w 805"/>
                <a:gd name="T7" fmla="*/ 91 h 899"/>
                <a:gd name="T8" fmla="*/ 464 w 805"/>
                <a:gd name="T9" fmla="*/ 92 h 899"/>
                <a:gd name="T10" fmla="*/ 408 w 805"/>
                <a:gd name="T11" fmla="*/ 0 h 899"/>
                <a:gd name="T12" fmla="*/ 0 w 805"/>
                <a:gd name="T13" fmla="*/ 448 h 899"/>
                <a:gd name="T14" fmla="*/ 451 w 805"/>
                <a:gd name="T15" fmla="*/ 899 h 899"/>
                <a:gd name="T16" fmla="*/ 805 w 805"/>
                <a:gd name="T17" fmla="*/ 726 h 899"/>
                <a:gd name="T18" fmla="*/ 675 w 805"/>
                <a:gd name="T19" fmla="*/ 726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5" h="899">
                  <a:moveTo>
                    <a:pt x="675" y="726"/>
                  </a:moveTo>
                  <a:cubicBezTo>
                    <a:pt x="613" y="776"/>
                    <a:pt x="536" y="805"/>
                    <a:pt x="451" y="805"/>
                  </a:cubicBezTo>
                  <a:cubicBezTo>
                    <a:pt x="254" y="805"/>
                    <a:pt x="94" y="645"/>
                    <a:pt x="94" y="448"/>
                  </a:cubicBezTo>
                  <a:cubicBezTo>
                    <a:pt x="94" y="251"/>
                    <a:pt x="254" y="91"/>
                    <a:pt x="451" y="91"/>
                  </a:cubicBezTo>
                  <a:cubicBezTo>
                    <a:pt x="455" y="91"/>
                    <a:pt x="460" y="91"/>
                    <a:pt x="464" y="92"/>
                  </a:cubicBezTo>
                  <a:cubicBezTo>
                    <a:pt x="408" y="0"/>
                    <a:pt x="408" y="0"/>
                    <a:pt x="408" y="0"/>
                  </a:cubicBezTo>
                  <a:cubicBezTo>
                    <a:pt x="179" y="21"/>
                    <a:pt x="0" y="214"/>
                    <a:pt x="0" y="448"/>
                  </a:cubicBezTo>
                  <a:cubicBezTo>
                    <a:pt x="0" y="697"/>
                    <a:pt x="202" y="899"/>
                    <a:pt x="451" y="899"/>
                  </a:cubicBezTo>
                  <a:cubicBezTo>
                    <a:pt x="595" y="899"/>
                    <a:pt x="723" y="831"/>
                    <a:pt x="805" y="726"/>
                  </a:cubicBezTo>
                  <a:lnTo>
                    <a:pt x="675" y="7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186" name="Group 185"/>
          <p:cNvGrpSpPr/>
          <p:nvPr/>
        </p:nvGrpSpPr>
        <p:grpSpPr>
          <a:xfrm>
            <a:off x="7531133" y="497882"/>
            <a:ext cx="712993" cy="626071"/>
            <a:chOff x="-2114551" y="958851"/>
            <a:chExt cx="1927225" cy="1692274"/>
          </a:xfrm>
          <a:solidFill>
            <a:schemeClr val="bg1"/>
          </a:solidFill>
        </p:grpSpPr>
        <p:sp>
          <p:nvSpPr>
            <p:cNvPr id="187" name="Freeform 96"/>
            <p:cNvSpPr>
              <a:spLocks noEditPoints="1"/>
            </p:cNvSpPr>
            <p:nvPr/>
          </p:nvSpPr>
          <p:spPr bwMode="auto">
            <a:xfrm>
              <a:off x="-1778001" y="1870075"/>
              <a:ext cx="1249363" cy="781050"/>
            </a:xfrm>
            <a:custGeom>
              <a:avLst/>
              <a:gdLst>
                <a:gd name="T0" fmla="*/ 687 w 687"/>
                <a:gd name="T1" fmla="*/ 24 h 430"/>
                <a:gd name="T2" fmla="*/ 508 w 687"/>
                <a:gd name="T3" fmla="*/ 0 h 430"/>
                <a:gd name="T4" fmla="*/ 497 w 687"/>
                <a:gd name="T5" fmla="*/ 1 h 430"/>
                <a:gd name="T6" fmla="*/ 488 w 687"/>
                <a:gd name="T7" fmla="*/ 20 h 430"/>
                <a:gd name="T8" fmla="*/ 445 w 687"/>
                <a:gd name="T9" fmla="*/ 34 h 430"/>
                <a:gd name="T10" fmla="*/ 404 w 687"/>
                <a:gd name="T11" fmla="*/ 50 h 430"/>
                <a:gd name="T12" fmla="*/ 384 w 687"/>
                <a:gd name="T13" fmla="*/ 47 h 430"/>
                <a:gd name="T14" fmla="*/ 345 w 687"/>
                <a:gd name="T15" fmla="*/ 62 h 430"/>
                <a:gd name="T16" fmla="*/ 291 w 687"/>
                <a:gd name="T17" fmla="*/ 46 h 430"/>
                <a:gd name="T18" fmla="*/ 280 w 687"/>
                <a:gd name="T19" fmla="*/ 49 h 430"/>
                <a:gd name="T20" fmla="*/ 86 w 687"/>
                <a:gd name="T21" fmla="*/ 294 h 430"/>
                <a:gd name="T22" fmla="*/ 379 w 687"/>
                <a:gd name="T23" fmla="*/ 385 h 430"/>
                <a:gd name="T24" fmla="*/ 59 w 687"/>
                <a:gd name="T25" fmla="*/ 300 h 430"/>
                <a:gd name="T26" fmla="*/ 264 w 687"/>
                <a:gd name="T27" fmla="*/ 46 h 430"/>
                <a:gd name="T28" fmla="*/ 230 w 687"/>
                <a:gd name="T29" fmla="*/ 29 h 430"/>
                <a:gd name="T30" fmla="*/ 224 w 687"/>
                <a:gd name="T31" fmla="*/ 29 h 430"/>
                <a:gd name="T32" fmla="*/ 0 w 687"/>
                <a:gd name="T33" fmla="*/ 300 h 430"/>
                <a:gd name="T34" fmla="*/ 413 w 687"/>
                <a:gd name="T35" fmla="*/ 430 h 430"/>
                <a:gd name="T36" fmla="*/ 435 w 687"/>
                <a:gd name="T37" fmla="*/ 402 h 430"/>
                <a:gd name="T38" fmla="*/ 494 w 687"/>
                <a:gd name="T39" fmla="*/ 420 h 430"/>
                <a:gd name="T40" fmla="*/ 687 w 687"/>
                <a:gd name="T41" fmla="*/ 24 h 430"/>
                <a:gd name="T42" fmla="*/ 473 w 687"/>
                <a:gd name="T43" fmla="*/ 348 h 430"/>
                <a:gd name="T44" fmla="*/ 468 w 687"/>
                <a:gd name="T45" fmla="*/ 346 h 430"/>
                <a:gd name="T46" fmla="*/ 468 w 687"/>
                <a:gd name="T47" fmla="*/ 346 h 430"/>
                <a:gd name="T48" fmla="*/ 458 w 687"/>
                <a:gd name="T49" fmla="*/ 347 h 430"/>
                <a:gd name="T50" fmla="*/ 456 w 687"/>
                <a:gd name="T51" fmla="*/ 348 h 430"/>
                <a:gd name="T52" fmla="*/ 458 w 687"/>
                <a:gd name="T53" fmla="*/ 359 h 430"/>
                <a:gd name="T54" fmla="*/ 454 w 687"/>
                <a:gd name="T55" fmla="*/ 362 h 430"/>
                <a:gd name="T56" fmla="*/ 454 w 687"/>
                <a:gd name="T57" fmla="*/ 362 h 430"/>
                <a:gd name="T58" fmla="*/ 448 w 687"/>
                <a:gd name="T59" fmla="*/ 357 h 430"/>
                <a:gd name="T60" fmla="*/ 447 w 687"/>
                <a:gd name="T61" fmla="*/ 348 h 430"/>
                <a:gd name="T62" fmla="*/ 446 w 687"/>
                <a:gd name="T63" fmla="*/ 347 h 430"/>
                <a:gd name="T64" fmla="*/ 443 w 687"/>
                <a:gd name="T65" fmla="*/ 345 h 430"/>
                <a:gd name="T66" fmla="*/ 445 w 687"/>
                <a:gd name="T67" fmla="*/ 348 h 430"/>
                <a:gd name="T68" fmla="*/ 441 w 687"/>
                <a:gd name="T69" fmla="*/ 359 h 430"/>
                <a:gd name="T70" fmla="*/ 432 w 687"/>
                <a:gd name="T71" fmla="*/ 364 h 430"/>
                <a:gd name="T72" fmla="*/ 431 w 687"/>
                <a:gd name="T73" fmla="*/ 364 h 430"/>
                <a:gd name="T74" fmla="*/ 423 w 687"/>
                <a:gd name="T75" fmla="*/ 357 h 430"/>
                <a:gd name="T76" fmla="*/ 426 w 687"/>
                <a:gd name="T77" fmla="*/ 345 h 430"/>
                <a:gd name="T78" fmla="*/ 427 w 687"/>
                <a:gd name="T79" fmla="*/ 345 h 430"/>
                <a:gd name="T80" fmla="*/ 426 w 687"/>
                <a:gd name="T81" fmla="*/ 344 h 430"/>
                <a:gd name="T82" fmla="*/ 416 w 687"/>
                <a:gd name="T83" fmla="*/ 333 h 430"/>
                <a:gd name="T84" fmla="*/ 421 w 687"/>
                <a:gd name="T85" fmla="*/ 319 h 430"/>
                <a:gd name="T86" fmla="*/ 427 w 687"/>
                <a:gd name="T87" fmla="*/ 319 h 430"/>
                <a:gd name="T88" fmla="*/ 427 w 687"/>
                <a:gd name="T89" fmla="*/ 325 h 430"/>
                <a:gd name="T90" fmla="*/ 424 w 687"/>
                <a:gd name="T91" fmla="*/ 332 h 430"/>
                <a:gd name="T92" fmla="*/ 429 w 687"/>
                <a:gd name="T93" fmla="*/ 337 h 430"/>
                <a:gd name="T94" fmla="*/ 433 w 687"/>
                <a:gd name="T95" fmla="*/ 339 h 430"/>
                <a:gd name="T96" fmla="*/ 434 w 687"/>
                <a:gd name="T97" fmla="*/ 339 h 430"/>
                <a:gd name="T98" fmla="*/ 452 w 687"/>
                <a:gd name="T99" fmla="*/ 341 h 430"/>
                <a:gd name="T100" fmla="*/ 458 w 687"/>
                <a:gd name="T101" fmla="*/ 339 h 430"/>
                <a:gd name="T102" fmla="*/ 459 w 687"/>
                <a:gd name="T103" fmla="*/ 339 h 430"/>
                <a:gd name="T104" fmla="*/ 457 w 687"/>
                <a:gd name="T105" fmla="*/ 338 h 430"/>
                <a:gd name="T106" fmla="*/ 456 w 687"/>
                <a:gd name="T107" fmla="*/ 331 h 430"/>
                <a:gd name="T108" fmla="*/ 472 w 687"/>
                <a:gd name="T109" fmla="*/ 334 h 430"/>
                <a:gd name="T110" fmla="*/ 474 w 687"/>
                <a:gd name="T111" fmla="*/ 340 h 430"/>
                <a:gd name="T112" fmla="*/ 476 w 687"/>
                <a:gd name="T113" fmla="*/ 343 h 430"/>
                <a:gd name="T114" fmla="*/ 473 w 687"/>
                <a:gd name="T115" fmla="*/ 348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87" h="430">
                  <a:moveTo>
                    <a:pt x="687" y="24"/>
                  </a:moveTo>
                  <a:cubicBezTo>
                    <a:pt x="508" y="0"/>
                    <a:pt x="508" y="0"/>
                    <a:pt x="508" y="0"/>
                  </a:cubicBezTo>
                  <a:cubicBezTo>
                    <a:pt x="504" y="1"/>
                    <a:pt x="501" y="1"/>
                    <a:pt x="497" y="1"/>
                  </a:cubicBezTo>
                  <a:cubicBezTo>
                    <a:pt x="496" y="7"/>
                    <a:pt x="493" y="14"/>
                    <a:pt x="488" y="20"/>
                  </a:cubicBezTo>
                  <a:cubicBezTo>
                    <a:pt x="479" y="30"/>
                    <a:pt x="465" y="35"/>
                    <a:pt x="445" y="34"/>
                  </a:cubicBezTo>
                  <a:cubicBezTo>
                    <a:pt x="438" y="40"/>
                    <a:pt x="424" y="50"/>
                    <a:pt x="404" y="50"/>
                  </a:cubicBezTo>
                  <a:cubicBezTo>
                    <a:pt x="397" y="50"/>
                    <a:pt x="391" y="49"/>
                    <a:pt x="384" y="47"/>
                  </a:cubicBezTo>
                  <a:cubicBezTo>
                    <a:pt x="377" y="54"/>
                    <a:pt x="365" y="62"/>
                    <a:pt x="345" y="62"/>
                  </a:cubicBezTo>
                  <a:cubicBezTo>
                    <a:pt x="329" y="62"/>
                    <a:pt x="311" y="57"/>
                    <a:pt x="291" y="46"/>
                  </a:cubicBezTo>
                  <a:cubicBezTo>
                    <a:pt x="288" y="47"/>
                    <a:pt x="285" y="48"/>
                    <a:pt x="280" y="49"/>
                  </a:cubicBezTo>
                  <a:cubicBezTo>
                    <a:pt x="86" y="294"/>
                    <a:pt x="86" y="294"/>
                    <a:pt x="86" y="294"/>
                  </a:cubicBezTo>
                  <a:cubicBezTo>
                    <a:pt x="379" y="385"/>
                    <a:pt x="379" y="385"/>
                    <a:pt x="379" y="385"/>
                  </a:cubicBezTo>
                  <a:cubicBezTo>
                    <a:pt x="59" y="300"/>
                    <a:pt x="59" y="300"/>
                    <a:pt x="59" y="300"/>
                  </a:cubicBezTo>
                  <a:cubicBezTo>
                    <a:pt x="264" y="46"/>
                    <a:pt x="264" y="46"/>
                    <a:pt x="264" y="46"/>
                  </a:cubicBezTo>
                  <a:cubicBezTo>
                    <a:pt x="254" y="46"/>
                    <a:pt x="241" y="42"/>
                    <a:pt x="230" y="29"/>
                  </a:cubicBezTo>
                  <a:cubicBezTo>
                    <a:pt x="228" y="29"/>
                    <a:pt x="226" y="29"/>
                    <a:pt x="224" y="29"/>
                  </a:cubicBezTo>
                  <a:cubicBezTo>
                    <a:pt x="0" y="300"/>
                    <a:pt x="0" y="300"/>
                    <a:pt x="0" y="300"/>
                  </a:cubicBezTo>
                  <a:cubicBezTo>
                    <a:pt x="413" y="430"/>
                    <a:pt x="413" y="430"/>
                    <a:pt x="413" y="430"/>
                  </a:cubicBezTo>
                  <a:cubicBezTo>
                    <a:pt x="435" y="402"/>
                    <a:pt x="435" y="402"/>
                    <a:pt x="435" y="402"/>
                  </a:cubicBezTo>
                  <a:cubicBezTo>
                    <a:pt x="494" y="420"/>
                    <a:pt x="494" y="420"/>
                    <a:pt x="494" y="420"/>
                  </a:cubicBezTo>
                  <a:lnTo>
                    <a:pt x="687" y="24"/>
                  </a:lnTo>
                  <a:close/>
                  <a:moveTo>
                    <a:pt x="473" y="348"/>
                  </a:moveTo>
                  <a:cubicBezTo>
                    <a:pt x="471" y="349"/>
                    <a:pt x="469" y="348"/>
                    <a:pt x="468" y="346"/>
                  </a:cubicBezTo>
                  <a:cubicBezTo>
                    <a:pt x="468" y="346"/>
                    <a:pt x="468" y="346"/>
                    <a:pt x="468" y="346"/>
                  </a:cubicBezTo>
                  <a:cubicBezTo>
                    <a:pt x="465" y="347"/>
                    <a:pt x="460" y="347"/>
                    <a:pt x="458" y="347"/>
                  </a:cubicBezTo>
                  <a:cubicBezTo>
                    <a:pt x="457" y="347"/>
                    <a:pt x="457" y="348"/>
                    <a:pt x="456" y="348"/>
                  </a:cubicBezTo>
                  <a:cubicBezTo>
                    <a:pt x="459" y="352"/>
                    <a:pt x="459" y="356"/>
                    <a:pt x="458" y="359"/>
                  </a:cubicBezTo>
                  <a:cubicBezTo>
                    <a:pt x="457" y="360"/>
                    <a:pt x="456" y="361"/>
                    <a:pt x="454" y="362"/>
                  </a:cubicBezTo>
                  <a:cubicBezTo>
                    <a:pt x="454" y="362"/>
                    <a:pt x="454" y="362"/>
                    <a:pt x="454" y="362"/>
                  </a:cubicBezTo>
                  <a:cubicBezTo>
                    <a:pt x="450" y="362"/>
                    <a:pt x="449" y="358"/>
                    <a:pt x="448" y="357"/>
                  </a:cubicBezTo>
                  <a:cubicBezTo>
                    <a:pt x="447" y="354"/>
                    <a:pt x="446" y="350"/>
                    <a:pt x="447" y="348"/>
                  </a:cubicBezTo>
                  <a:cubicBezTo>
                    <a:pt x="447" y="347"/>
                    <a:pt x="447" y="347"/>
                    <a:pt x="446" y="347"/>
                  </a:cubicBezTo>
                  <a:cubicBezTo>
                    <a:pt x="445" y="346"/>
                    <a:pt x="444" y="345"/>
                    <a:pt x="443" y="345"/>
                  </a:cubicBezTo>
                  <a:cubicBezTo>
                    <a:pt x="444" y="346"/>
                    <a:pt x="445" y="347"/>
                    <a:pt x="445" y="348"/>
                  </a:cubicBezTo>
                  <a:cubicBezTo>
                    <a:pt x="446" y="352"/>
                    <a:pt x="444" y="355"/>
                    <a:pt x="441" y="359"/>
                  </a:cubicBezTo>
                  <a:cubicBezTo>
                    <a:pt x="438" y="362"/>
                    <a:pt x="435" y="364"/>
                    <a:pt x="432" y="364"/>
                  </a:cubicBezTo>
                  <a:cubicBezTo>
                    <a:pt x="432" y="364"/>
                    <a:pt x="431" y="364"/>
                    <a:pt x="431" y="364"/>
                  </a:cubicBezTo>
                  <a:cubicBezTo>
                    <a:pt x="427" y="364"/>
                    <a:pt x="424" y="361"/>
                    <a:pt x="423" y="357"/>
                  </a:cubicBezTo>
                  <a:cubicBezTo>
                    <a:pt x="422" y="353"/>
                    <a:pt x="423" y="348"/>
                    <a:pt x="426" y="345"/>
                  </a:cubicBezTo>
                  <a:cubicBezTo>
                    <a:pt x="426" y="345"/>
                    <a:pt x="427" y="345"/>
                    <a:pt x="427" y="345"/>
                  </a:cubicBezTo>
                  <a:cubicBezTo>
                    <a:pt x="426" y="344"/>
                    <a:pt x="426" y="344"/>
                    <a:pt x="426" y="344"/>
                  </a:cubicBezTo>
                  <a:cubicBezTo>
                    <a:pt x="420" y="341"/>
                    <a:pt x="417" y="337"/>
                    <a:pt x="416" y="333"/>
                  </a:cubicBezTo>
                  <a:cubicBezTo>
                    <a:pt x="415" y="326"/>
                    <a:pt x="420" y="320"/>
                    <a:pt x="421" y="319"/>
                  </a:cubicBezTo>
                  <a:cubicBezTo>
                    <a:pt x="423" y="317"/>
                    <a:pt x="425" y="317"/>
                    <a:pt x="427" y="319"/>
                  </a:cubicBezTo>
                  <a:cubicBezTo>
                    <a:pt x="428" y="321"/>
                    <a:pt x="428" y="323"/>
                    <a:pt x="427" y="325"/>
                  </a:cubicBezTo>
                  <a:cubicBezTo>
                    <a:pt x="426" y="326"/>
                    <a:pt x="423" y="329"/>
                    <a:pt x="424" y="332"/>
                  </a:cubicBezTo>
                  <a:cubicBezTo>
                    <a:pt x="424" y="334"/>
                    <a:pt x="426" y="335"/>
                    <a:pt x="429" y="337"/>
                  </a:cubicBezTo>
                  <a:cubicBezTo>
                    <a:pt x="433" y="339"/>
                    <a:pt x="433" y="339"/>
                    <a:pt x="433" y="339"/>
                  </a:cubicBezTo>
                  <a:cubicBezTo>
                    <a:pt x="433" y="339"/>
                    <a:pt x="433" y="339"/>
                    <a:pt x="434" y="339"/>
                  </a:cubicBezTo>
                  <a:cubicBezTo>
                    <a:pt x="439" y="336"/>
                    <a:pt x="445" y="335"/>
                    <a:pt x="452" y="341"/>
                  </a:cubicBezTo>
                  <a:cubicBezTo>
                    <a:pt x="453" y="340"/>
                    <a:pt x="455" y="339"/>
                    <a:pt x="458" y="339"/>
                  </a:cubicBezTo>
                  <a:cubicBezTo>
                    <a:pt x="458" y="339"/>
                    <a:pt x="458" y="339"/>
                    <a:pt x="459" y="339"/>
                  </a:cubicBezTo>
                  <a:cubicBezTo>
                    <a:pt x="458" y="339"/>
                    <a:pt x="458" y="339"/>
                    <a:pt x="457" y="338"/>
                  </a:cubicBezTo>
                  <a:cubicBezTo>
                    <a:pt x="453" y="335"/>
                    <a:pt x="455" y="332"/>
                    <a:pt x="456" y="331"/>
                  </a:cubicBezTo>
                  <a:cubicBezTo>
                    <a:pt x="460" y="325"/>
                    <a:pt x="471" y="334"/>
                    <a:pt x="472" y="334"/>
                  </a:cubicBezTo>
                  <a:cubicBezTo>
                    <a:pt x="475" y="336"/>
                    <a:pt x="475" y="339"/>
                    <a:pt x="474" y="340"/>
                  </a:cubicBezTo>
                  <a:cubicBezTo>
                    <a:pt x="475" y="341"/>
                    <a:pt x="475" y="342"/>
                    <a:pt x="476" y="343"/>
                  </a:cubicBezTo>
                  <a:cubicBezTo>
                    <a:pt x="477" y="346"/>
                    <a:pt x="475" y="348"/>
                    <a:pt x="473" y="3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88" name="Freeform 97"/>
            <p:cNvSpPr>
              <a:spLocks noEditPoints="1"/>
            </p:cNvSpPr>
            <p:nvPr/>
          </p:nvSpPr>
          <p:spPr bwMode="auto">
            <a:xfrm>
              <a:off x="-2114551" y="1023938"/>
              <a:ext cx="1366838" cy="977900"/>
            </a:xfrm>
            <a:custGeom>
              <a:avLst/>
              <a:gdLst>
                <a:gd name="T0" fmla="*/ 683 w 752"/>
                <a:gd name="T1" fmla="*/ 331 h 538"/>
                <a:gd name="T2" fmla="*/ 518 w 752"/>
                <a:gd name="T3" fmla="*/ 275 h 538"/>
                <a:gd name="T4" fmla="*/ 507 w 752"/>
                <a:gd name="T5" fmla="*/ 355 h 538"/>
                <a:gd name="T6" fmla="*/ 481 w 752"/>
                <a:gd name="T7" fmla="*/ 362 h 538"/>
                <a:gd name="T8" fmla="*/ 455 w 752"/>
                <a:gd name="T9" fmla="*/ 359 h 538"/>
                <a:gd name="T10" fmla="*/ 458 w 752"/>
                <a:gd name="T11" fmla="*/ 287 h 538"/>
                <a:gd name="T12" fmla="*/ 456 w 752"/>
                <a:gd name="T13" fmla="*/ 242 h 538"/>
                <a:gd name="T14" fmla="*/ 520 w 752"/>
                <a:gd name="T15" fmla="*/ 181 h 538"/>
                <a:gd name="T16" fmla="*/ 341 w 752"/>
                <a:gd name="T17" fmla="*/ 328 h 538"/>
                <a:gd name="T18" fmla="*/ 331 w 752"/>
                <a:gd name="T19" fmla="*/ 128 h 538"/>
                <a:gd name="T20" fmla="*/ 327 w 752"/>
                <a:gd name="T21" fmla="*/ 98 h 538"/>
                <a:gd name="T22" fmla="*/ 0 w 752"/>
                <a:gd name="T23" fmla="*/ 353 h 538"/>
                <a:gd name="T24" fmla="*/ 161 w 752"/>
                <a:gd name="T25" fmla="*/ 412 h 538"/>
                <a:gd name="T26" fmla="*/ 287 w 752"/>
                <a:gd name="T27" fmla="*/ 444 h 538"/>
                <a:gd name="T28" fmla="*/ 325 w 752"/>
                <a:gd name="T29" fmla="*/ 380 h 538"/>
                <a:gd name="T30" fmla="*/ 331 w 752"/>
                <a:gd name="T31" fmla="*/ 380 h 538"/>
                <a:gd name="T32" fmla="*/ 492 w 752"/>
                <a:gd name="T33" fmla="*/ 465 h 538"/>
                <a:gd name="T34" fmla="*/ 486 w 752"/>
                <a:gd name="T35" fmla="*/ 474 h 538"/>
                <a:gd name="T36" fmla="*/ 379 w 752"/>
                <a:gd name="T37" fmla="*/ 436 h 538"/>
                <a:gd name="T38" fmla="*/ 477 w 752"/>
                <a:gd name="T39" fmla="*/ 498 h 538"/>
                <a:gd name="T40" fmla="*/ 621 w 752"/>
                <a:gd name="T41" fmla="*/ 492 h 538"/>
                <a:gd name="T42" fmla="*/ 504 w 752"/>
                <a:gd name="T43" fmla="*/ 445 h 538"/>
                <a:gd name="T44" fmla="*/ 534 w 752"/>
                <a:gd name="T45" fmla="*/ 432 h 538"/>
                <a:gd name="T46" fmla="*/ 649 w 752"/>
                <a:gd name="T47" fmla="*/ 486 h 538"/>
                <a:gd name="T48" fmla="*/ 566 w 752"/>
                <a:gd name="T49" fmla="*/ 414 h 538"/>
                <a:gd name="T50" fmla="*/ 564 w 752"/>
                <a:gd name="T51" fmla="*/ 391 h 538"/>
                <a:gd name="T52" fmla="*/ 684 w 752"/>
                <a:gd name="T53" fmla="*/ 448 h 538"/>
                <a:gd name="T54" fmla="*/ 712 w 752"/>
                <a:gd name="T55" fmla="*/ 420 h 538"/>
                <a:gd name="T56" fmla="*/ 579 w 752"/>
                <a:gd name="T57" fmla="*/ 377 h 538"/>
                <a:gd name="T58" fmla="*/ 609 w 752"/>
                <a:gd name="T59" fmla="*/ 362 h 538"/>
                <a:gd name="T60" fmla="*/ 723 w 752"/>
                <a:gd name="T61" fmla="*/ 407 h 538"/>
                <a:gd name="T62" fmla="*/ 741 w 752"/>
                <a:gd name="T63" fmla="*/ 361 h 538"/>
                <a:gd name="T64" fmla="*/ 231 w 752"/>
                <a:gd name="T65" fmla="*/ 385 h 538"/>
                <a:gd name="T66" fmla="*/ 237 w 752"/>
                <a:gd name="T67" fmla="*/ 379 h 538"/>
                <a:gd name="T68" fmla="*/ 265 w 752"/>
                <a:gd name="T69" fmla="*/ 379 h 538"/>
                <a:gd name="T70" fmla="*/ 273 w 752"/>
                <a:gd name="T71" fmla="*/ 385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52" h="538">
                  <a:moveTo>
                    <a:pt x="741" y="361"/>
                  </a:moveTo>
                  <a:cubicBezTo>
                    <a:pt x="732" y="353"/>
                    <a:pt x="699" y="338"/>
                    <a:pt x="683" y="331"/>
                  </a:cubicBezTo>
                  <a:cubicBezTo>
                    <a:pt x="629" y="310"/>
                    <a:pt x="559" y="273"/>
                    <a:pt x="547" y="267"/>
                  </a:cubicBezTo>
                  <a:cubicBezTo>
                    <a:pt x="530" y="268"/>
                    <a:pt x="522" y="272"/>
                    <a:pt x="518" y="275"/>
                  </a:cubicBezTo>
                  <a:cubicBezTo>
                    <a:pt x="521" y="287"/>
                    <a:pt x="523" y="306"/>
                    <a:pt x="523" y="310"/>
                  </a:cubicBezTo>
                  <a:cubicBezTo>
                    <a:pt x="528" y="336"/>
                    <a:pt x="507" y="354"/>
                    <a:pt x="507" y="355"/>
                  </a:cubicBezTo>
                  <a:cubicBezTo>
                    <a:pt x="501" y="360"/>
                    <a:pt x="493" y="362"/>
                    <a:pt x="481" y="362"/>
                  </a:cubicBezTo>
                  <a:cubicBezTo>
                    <a:pt x="481" y="362"/>
                    <a:pt x="481" y="362"/>
                    <a:pt x="481" y="362"/>
                  </a:cubicBezTo>
                  <a:cubicBezTo>
                    <a:pt x="472" y="362"/>
                    <a:pt x="465" y="361"/>
                    <a:pt x="463" y="361"/>
                  </a:cubicBezTo>
                  <a:cubicBezTo>
                    <a:pt x="455" y="359"/>
                    <a:pt x="455" y="359"/>
                    <a:pt x="455" y="359"/>
                  </a:cubicBezTo>
                  <a:cubicBezTo>
                    <a:pt x="457" y="350"/>
                    <a:pt x="457" y="350"/>
                    <a:pt x="457" y="350"/>
                  </a:cubicBezTo>
                  <a:cubicBezTo>
                    <a:pt x="467" y="319"/>
                    <a:pt x="458" y="288"/>
                    <a:pt x="458" y="287"/>
                  </a:cubicBezTo>
                  <a:cubicBezTo>
                    <a:pt x="454" y="272"/>
                    <a:pt x="456" y="245"/>
                    <a:pt x="456" y="244"/>
                  </a:cubicBezTo>
                  <a:cubicBezTo>
                    <a:pt x="456" y="242"/>
                    <a:pt x="456" y="242"/>
                    <a:pt x="456" y="242"/>
                  </a:cubicBezTo>
                  <a:cubicBezTo>
                    <a:pt x="457" y="240"/>
                    <a:pt x="457" y="240"/>
                    <a:pt x="457" y="240"/>
                  </a:cubicBezTo>
                  <a:cubicBezTo>
                    <a:pt x="469" y="222"/>
                    <a:pt x="498" y="198"/>
                    <a:pt x="520" y="181"/>
                  </a:cubicBezTo>
                  <a:cubicBezTo>
                    <a:pt x="496" y="165"/>
                    <a:pt x="437" y="180"/>
                    <a:pt x="412" y="188"/>
                  </a:cubicBezTo>
                  <a:cubicBezTo>
                    <a:pt x="383" y="260"/>
                    <a:pt x="343" y="324"/>
                    <a:pt x="341" y="328"/>
                  </a:cubicBezTo>
                  <a:cubicBezTo>
                    <a:pt x="342" y="327"/>
                    <a:pt x="379" y="245"/>
                    <a:pt x="403" y="163"/>
                  </a:cubicBezTo>
                  <a:cubicBezTo>
                    <a:pt x="381" y="151"/>
                    <a:pt x="347" y="135"/>
                    <a:pt x="331" y="128"/>
                  </a:cubicBezTo>
                  <a:cubicBezTo>
                    <a:pt x="296" y="216"/>
                    <a:pt x="221" y="313"/>
                    <a:pt x="218" y="317"/>
                  </a:cubicBezTo>
                  <a:cubicBezTo>
                    <a:pt x="219" y="316"/>
                    <a:pt x="299" y="191"/>
                    <a:pt x="327" y="98"/>
                  </a:cubicBezTo>
                  <a:cubicBezTo>
                    <a:pt x="313" y="69"/>
                    <a:pt x="195" y="0"/>
                    <a:pt x="195" y="0"/>
                  </a:cubicBezTo>
                  <a:cubicBezTo>
                    <a:pt x="90" y="69"/>
                    <a:pt x="0" y="353"/>
                    <a:pt x="0" y="353"/>
                  </a:cubicBezTo>
                  <a:cubicBezTo>
                    <a:pt x="30" y="365"/>
                    <a:pt x="30" y="365"/>
                    <a:pt x="30" y="365"/>
                  </a:cubicBezTo>
                  <a:cubicBezTo>
                    <a:pt x="161" y="412"/>
                    <a:pt x="161" y="412"/>
                    <a:pt x="161" y="412"/>
                  </a:cubicBezTo>
                  <a:cubicBezTo>
                    <a:pt x="174" y="394"/>
                    <a:pt x="174" y="394"/>
                    <a:pt x="174" y="394"/>
                  </a:cubicBezTo>
                  <a:cubicBezTo>
                    <a:pt x="287" y="444"/>
                    <a:pt x="287" y="444"/>
                    <a:pt x="287" y="444"/>
                  </a:cubicBezTo>
                  <a:cubicBezTo>
                    <a:pt x="324" y="379"/>
                    <a:pt x="324" y="379"/>
                    <a:pt x="324" y="379"/>
                  </a:cubicBezTo>
                  <a:cubicBezTo>
                    <a:pt x="325" y="380"/>
                    <a:pt x="325" y="380"/>
                    <a:pt x="325" y="380"/>
                  </a:cubicBezTo>
                  <a:cubicBezTo>
                    <a:pt x="327" y="377"/>
                    <a:pt x="327" y="377"/>
                    <a:pt x="327" y="377"/>
                  </a:cubicBezTo>
                  <a:cubicBezTo>
                    <a:pt x="331" y="380"/>
                    <a:pt x="331" y="380"/>
                    <a:pt x="331" y="380"/>
                  </a:cubicBezTo>
                  <a:cubicBezTo>
                    <a:pt x="334" y="383"/>
                    <a:pt x="395" y="428"/>
                    <a:pt x="488" y="464"/>
                  </a:cubicBezTo>
                  <a:cubicBezTo>
                    <a:pt x="492" y="465"/>
                    <a:pt x="492" y="465"/>
                    <a:pt x="492" y="465"/>
                  </a:cubicBezTo>
                  <a:cubicBezTo>
                    <a:pt x="490" y="475"/>
                    <a:pt x="490" y="475"/>
                    <a:pt x="490" y="475"/>
                  </a:cubicBezTo>
                  <a:cubicBezTo>
                    <a:pt x="486" y="474"/>
                    <a:pt x="486" y="474"/>
                    <a:pt x="486" y="474"/>
                  </a:cubicBezTo>
                  <a:cubicBezTo>
                    <a:pt x="435" y="462"/>
                    <a:pt x="369" y="425"/>
                    <a:pt x="338" y="406"/>
                  </a:cubicBezTo>
                  <a:cubicBezTo>
                    <a:pt x="319" y="478"/>
                    <a:pt x="379" y="436"/>
                    <a:pt x="379" y="436"/>
                  </a:cubicBezTo>
                  <a:cubicBezTo>
                    <a:pt x="370" y="500"/>
                    <a:pt x="428" y="484"/>
                    <a:pt x="428" y="484"/>
                  </a:cubicBezTo>
                  <a:cubicBezTo>
                    <a:pt x="447" y="514"/>
                    <a:pt x="477" y="498"/>
                    <a:pt x="477" y="498"/>
                  </a:cubicBezTo>
                  <a:cubicBezTo>
                    <a:pt x="544" y="538"/>
                    <a:pt x="566" y="497"/>
                    <a:pt x="566" y="497"/>
                  </a:cubicBezTo>
                  <a:cubicBezTo>
                    <a:pt x="592" y="510"/>
                    <a:pt x="612" y="499"/>
                    <a:pt x="621" y="492"/>
                  </a:cubicBezTo>
                  <a:cubicBezTo>
                    <a:pt x="585" y="476"/>
                    <a:pt x="545" y="452"/>
                    <a:pt x="530" y="443"/>
                  </a:cubicBezTo>
                  <a:cubicBezTo>
                    <a:pt x="504" y="445"/>
                    <a:pt x="504" y="445"/>
                    <a:pt x="504" y="445"/>
                  </a:cubicBezTo>
                  <a:cubicBezTo>
                    <a:pt x="528" y="420"/>
                    <a:pt x="528" y="420"/>
                    <a:pt x="528" y="420"/>
                  </a:cubicBezTo>
                  <a:cubicBezTo>
                    <a:pt x="534" y="432"/>
                    <a:pt x="534" y="432"/>
                    <a:pt x="534" y="432"/>
                  </a:cubicBezTo>
                  <a:cubicBezTo>
                    <a:pt x="545" y="437"/>
                    <a:pt x="602" y="468"/>
                    <a:pt x="642" y="483"/>
                  </a:cubicBezTo>
                  <a:cubicBezTo>
                    <a:pt x="649" y="486"/>
                    <a:pt x="649" y="486"/>
                    <a:pt x="649" y="486"/>
                  </a:cubicBezTo>
                  <a:cubicBezTo>
                    <a:pt x="666" y="481"/>
                    <a:pt x="670" y="469"/>
                    <a:pt x="671" y="461"/>
                  </a:cubicBezTo>
                  <a:cubicBezTo>
                    <a:pt x="631" y="447"/>
                    <a:pt x="583" y="422"/>
                    <a:pt x="566" y="414"/>
                  </a:cubicBezTo>
                  <a:cubicBezTo>
                    <a:pt x="540" y="417"/>
                    <a:pt x="540" y="417"/>
                    <a:pt x="540" y="417"/>
                  </a:cubicBezTo>
                  <a:cubicBezTo>
                    <a:pt x="564" y="391"/>
                    <a:pt x="564" y="391"/>
                    <a:pt x="564" y="391"/>
                  </a:cubicBezTo>
                  <a:cubicBezTo>
                    <a:pt x="572" y="404"/>
                    <a:pt x="572" y="404"/>
                    <a:pt x="572" y="404"/>
                  </a:cubicBezTo>
                  <a:cubicBezTo>
                    <a:pt x="583" y="409"/>
                    <a:pt x="642" y="435"/>
                    <a:pt x="684" y="448"/>
                  </a:cubicBezTo>
                  <a:cubicBezTo>
                    <a:pt x="694" y="452"/>
                    <a:pt x="694" y="452"/>
                    <a:pt x="694" y="452"/>
                  </a:cubicBezTo>
                  <a:cubicBezTo>
                    <a:pt x="708" y="446"/>
                    <a:pt x="711" y="431"/>
                    <a:pt x="712" y="420"/>
                  </a:cubicBezTo>
                  <a:cubicBezTo>
                    <a:pt x="672" y="407"/>
                    <a:pt x="622" y="381"/>
                    <a:pt x="605" y="372"/>
                  </a:cubicBezTo>
                  <a:cubicBezTo>
                    <a:pt x="579" y="377"/>
                    <a:pt x="579" y="377"/>
                    <a:pt x="579" y="377"/>
                  </a:cubicBezTo>
                  <a:cubicBezTo>
                    <a:pt x="601" y="350"/>
                    <a:pt x="601" y="350"/>
                    <a:pt x="601" y="350"/>
                  </a:cubicBezTo>
                  <a:cubicBezTo>
                    <a:pt x="609" y="362"/>
                    <a:pt x="609" y="362"/>
                    <a:pt x="609" y="362"/>
                  </a:cubicBezTo>
                  <a:cubicBezTo>
                    <a:pt x="618" y="366"/>
                    <a:pt x="680" y="394"/>
                    <a:pt x="722" y="407"/>
                  </a:cubicBezTo>
                  <a:cubicBezTo>
                    <a:pt x="723" y="407"/>
                    <a:pt x="723" y="407"/>
                    <a:pt x="723" y="407"/>
                  </a:cubicBezTo>
                  <a:cubicBezTo>
                    <a:pt x="752" y="399"/>
                    <a:pt x="750" y="378"/>
                    <a:pt x="744" y="364"/>
                  </a:cubicBezTo>
                  <a:lnTo>
                    <a:pt x="741" y="361"/>
                  </a:lnTo>
                  <a:close/>
                  <a:moveTo>
                    <a:pt x="252" y="406"/>
                  </a:moveTo>
                  <a:cubicBezTo>
                    <a:pt x="241" y="406"/>
                    <a:pt x="231" y="397"/>
                    <a:pt x="231" y="385"/>
                  </a:cubicBezTo>
                  <a:cubicBezTo>
                    <a:pt x="231" y="377"/>
                    <a:pt x="237" y="369"/>
                    <a:pt x="244" y="366"/>
                  </a:cubicBezTo>
                  <a:cubicBezTo>
                    <a:pt x="240" y="368"/>
                    <a:pt x="237" y="373"/>
                    <a:pt x="237" y="379"/>
                  </a:cubicBezTo>
                  <a:cubicBezTo>
                    <a:pt x="237" y="387"/>
                    <a:pt x="243" y="393"/>
                    <a:pt x="251" y="393"/>
                  </a:cubicBezTo>
                  <a:cubicBezTo>
                    <a:pt x="259" y="393"/>
                    <a:pt x="265" y="387"/>
                    <a:pt x="265" y="379"/>
                  </a:cubicBezTo>
                  <a:cubicBezTo>
                    <a:pt x="265" y="372"/>
                    <a:pt x="260" y="366"/>
                    <a:pt x="254" y="365"/>
                  </a:cubicBezTo>
                  <a:cubicBezTo>
                    <a:pt x="265" y="366"/>
                    <a:pt x="273" y="374"/>
                    <a:pt x="273" y="385"/>
                  </a:cubicBezTo>
                  <a:cubicBezTo>
                    <a:pt x="273" y="397"/>
                    <a:pt x="264" y="406"/>
                    <a:pt x="252" y="4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89" name="Freeform 98"/>
            <p:cNvSpPr>
              <a:spLocks noEditPoints="1"/>
            </p:cNvSpPr>
            <p:nvPr/>
          </p:nvSpPr>
          <p:spPr bwMode="auto">
            <a:xfrm>
              <a:off x="-1260476" y="958851"/>
              <a:ext cx="1073150" cy="723900"/>
            </a:xfrm>
            <a:custGeom>
              <a:avLst/>
              <a:gdLst>
                <a:gd name="T0" fmla="*/ 590 w 590"/>
                <a:gd name="T1" fmla="*/ 288 h 398"/>
                <a:gd name="T2" fmla="*/ 402 w 590"/>
                <a:gd name="T3" fmla="*/ 0 h 398"/>
                <a:gd name="T4" fmla="*/ 228 w 590"/>
                <a:gd name="T5" fmla="*/ 107 h 398"/>
                <a:gd name="T6" fmla="*/ 362 w 590"/>
                <a:gd name="T7" fmla="*/ 277 h 398"/>
                <a:gd name="T8" fmla="*/ 226 w 590"/>
                <a:gd name="T9" fmla="*/ 129 h 398"/>
                <a:gd name="T10" fmla="*/ 179 w 590"/>
                <a:gd name="T11" fmla="*/ 167 h 398"/>
                <a:gd name="T12" fmla="*/ 298 w 590"/>
                <a:gd name="T13" fmla="*/ 321 h 398"/>
                <a:gd name="T14" fmla="*/ 177 w 590"/>
                <a:gd name="T15" fmla="*/ 197 h 398"/>
                <a:gd name="T16" fmla="*/ 88 w 590"/>
                <a:gd name="T17" fmla="*/ 209 h 398"/>
                <a:gd name="T18" fmla="*/ 87 w 590"/>
                <a:gd name="T19" fmla="*/ 210 h 398"/>
                <a:gd name="T20" fmla="*/ 2 w 590"/>
                <a:gd name="T21" fmla="*/ 283 h 398"/>
                <a:gd name="T22" fmla="*/ 3 w 590"/>
                <a:gd name="T23" fmla="*/ 319 h 398"/>
                <a:gd name="T24" fmla="*/ 5 w 590"/>
                <a:gd name="T25" fmla="*/ 382 h 398"/>
                <a:gd name="T26" fmla="*/ 11 w 590"/>
                <a:gd name="T27" fmla="*/ 382 h 398"/>
                <a:gd name="T28" fmla="*/ 26 w 590"/>
                <a:gd name="T29" fmla="*/ 379 h 398"/>
                <a:gd name="T30" fmla="*/ 37 w 590"/>
                <a:gd name="T31" fmla="*/ 348 h 398"/>
                <a:gd name="T32" fmla="*/ 37 w 590"/>
                <a:gd name="T33" fmla="*/ 347 h 398"/>
                <a:gd name="T34" fmla="*/ 32 w 590"/>
                <a:gd name="T35" fmla="*/ 312 h 398"/>
                <a:gd name="T36" fmla="*/ 31 w 590"/>
                <a:gd name="T37" fmla="*/ 309 h 398"/>
                <a:gd name="T38" fmla="*/ 32 w 590"/>
                <a:gd name="T39" fmla="*/ 306 h 398"/>
                <a:gd name="T40" fmla="*/ 79 w 590"/>
                <a:gd name="T41" fmla="*/ 287 h 398"/>
                <a:gd name="T42" fmla="*/ 81 w 590"/>
                <a:gd name="T43" fmla="*/ 287 h 398"/>
                <a:gd name="T44" fmla="*/ 82 w 590"/>
                <a:gd name="T45" fmla="*/ 288 h 398"/>
                <a:gd name="T46" fmla="*/ 219 w 590"/>
                <a:gd name="T47" fmla="*/ 352 h 398"/>
                <a:gd name="T48" fmla="*/ 271 w 590"/>
                <a:gd name="T49" fmla="*/ 378 h 398"/>
                <a:gd name="T50" fmla="*/ 292 w 590"/>
                <a:gd name="T51" fmla="*/ 338 h 398"/>
                <a:gd name="T52" fmla="*/ 355 w 590"/>
                <a:gd name="T53" fmla="*/ 398 h 398"/>
                <a:gd name="T54" fmla="*/ 422 w 590"/>
                <a:gd name="T55" fmla="*/ 353 h 398"/>
                <a:gd name="T56" fmla="*/ 445 w 590"/>
                <a:gd name="T57" fmla="*/ 386 h 398"/>
                <a:gd name="T58" fmla="*/ 559 w 590"/>
                <a:gd name="T59" fmla="*/ 314 h 398"/>
                <a:gd name="T60" fmla="*/ 590 w 590"/>
                <a:gd name="T61" fmla="*/ 288 h 398"/>
                <a:gd name="T62" fmla="*/ 378 w 590"/>
                <a:gd name="T63" fmla="*/ 360 h 398"/>
                <a:gd name="T64" fmla="*/ 357 w 590"/>
                <a:gd name="T65" fmla="*/ 339 h 398"/>
                <a:gd name="T66" fmla="*/ 370 w 590"/>
                <a:gd name="T67" fmla="*/ 320 h 398"/>
                <a:gd name="T68" fmla="*/ 363 w 590"/>
                <a:gd name="T69" fmla="*/ 332 h 398"/>
                <a:gd name="T70" fmla="*/ 377 w 590"/>
                <a:gd name="T71" fmla="*/ 346 h 398"/>
                <a:gd name="T72" fmla="*/ 391 w 590"/>
                <a:gd name="T73" fmla="*/ 332 h 398"/>
                <a:gd name="T74" fmla="*/ 380 w 590"/>
                <a:gd name="T75" fmla="*/ 318 h 398"/>
                <a:gd name="T76" fmla="*/ 399 w 590"/>
                <a:gd name="T77" fmla="*/ 339 h 398"/>
                <a:gd name="T78" fmla="*/ 378 w 590"/>
                <a:gd name="T79" fmla="*/ 36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90" h="398">
                  <a:moveTo>
                    <a:pt x="590" y="288"/>
                  </a:moveTo>
                  <a:cubicBezTo>
                    <a:pt x="590" y="288"/>
                    <a:pt x="525" y="79"/>
                    <a:pt x="402" y="0"/>
                  </a:cubicBezTo>
                  <a:cubicBezTo>
                    <a:pt x="402" y="0"/>
                    <a:pt x="253" y="78"/>
                    <a:pt x="228" y="107"/>
                  </a:cubicBezTo>
                  <a:cubicBezTo>
                    <a:pt x="277" y="187"/>
                    <a:pt x="361" y="277"/>
                    <a:pt x="362" y="277"/>
                  </a:cubicBezTo>
                  <a:cubicBezTo>
                    <a:pt x="359" y="274"/>
                    <a:pt x="278" y="203"/>
                    <a:pt x="226" y="129"/>
                  </a:cubicBezTo>
                  <a:cubicBezTo>
                    <a:pt x="179" y="167"/>
                    <a:pt x="179" y="167"/>
                    <a:pt x="179" y="167"/>
                  </a:cubicBezTo>
                  <a:cubicBezTo>
                    <a:pt x="227" y="243"/>
                    <a:pt x="297" y="320"/>
                    <a:pt x="298" y="321"/>
                  </a:cubicBezTo>
                  <a:cubicBezTo>
                    <a:pt x="277" y="302"/>
                    <a:pt x="214" y="246"/>
                    <a:pt x="177" y="197"/>
                  </a:cubicBezTo>
                  <a:cubicBezTo>
                    <a:pt x="148" y="195"/>
                    <a:pt x="114" y="202"/>
                    <a:pt x="88" y="209"/>
                  </a:cubicBezTo>
                  <a:cubicBezTo>
                    <a:pt x="87" y="210"/>
                    <a:pt x="87" y="210"/>
                    <a:pt x="87" y="210"/>
                  </a:cubicBezTo>
                  <a:cubicBezTo>
                    <a:pt x="86" y="210"/>
                    <a:pt x="22" y="255"/>
                    <a:pt x="2" y="283"/>
                  </a:cubicBezTo>
                  <a:cubicBezTo>
                    <a:pt x="1" y="289"/>
                    <a:pt x="0" y="308"/>
                    <a:pt x="3" y="319"/>
                  </a:cubicBezTo>
                  <a:cubicBezTo>
                    <a:pt x="4" y="320"/>
                    <a:pt x="12" y="350"/>
                    <a:pt x="5" y="382"/>
                  </a:cubicBezTo>
                  <a:cubicBezTo>
                    <a:pt x="7" y="382"/>
                    <a:pt x="9" y="382"/>
                    <a:pt x="11" y="382"/>
                  </a:cubicBezTo>
                  <a:cubicBezTo>
                    <a:pt x="18" y="382"/>
                    <a:pt x="24" y="381"/>
                    <a:pt x="26" y="379"/>
                  </a:cubicBezTo>
                  <a:cubicBezTo>
                    <a:pt x="26" y="378"/>
                    <a:pt x="41" y="365"/>
                    <a:pt x="37" y="348"/>
                  </a:cubicBezTo>
                  <a:cubicBezTo>
                    <a:pt x="37" y="347"/>
                    <a:pt x="37" y="347"/>
                    <a:pt x="37" y="347"/>
                  </a:cubicBezTo>
                  <a:cubicBezTo>
                    <a:pt x="37" y="340"/>
                    <a:pt x="35" y="320"/>
                    <a:pt x="32" y="312"/>
                  </a:cubicBezTo>
                  <a:cubicBezTo>
                    <a:pt x="31" y="309"/>
                    <a:pt x="31" y="309"/>
                    <a:pt x="31" y="309"/>
                  </a:cubicBezTo>
                  <a:cubicBezTo>
                    <a:pt x="32" y="306"/>
                    <a:pt x="32" y="306"/>
                    <a:pt x="32" y="306"/>
                  </a:cubicBezTo>
                  <a:cubicBezTo>
                    <a:pt x="34" y="303"/>
                    <a:pt x="43" y="288"/>
                    <a:pt x="79" y="287"/>
                  </a:cubicBezTo>
                  <a:cubicBezTo>
                    <a:pt x="81" y="287"/>
                    <a:pt x="81" y="287"/>
                    <a:pt x="81" y="287"/>
                  </a:cubicBezTo>
                  <a:cubicBezTo>
                    <a:pt x="82" y="288"/>
                    <a:pt x="82" y="288"/>
                    <a:pt x="82" y="288"/>
                  </a:cubicBezTo>
                  <a:cubicBezTo>
                    <a:pt x="86" y="290"/>
                    <a:pt x="162" y="330"/>
                    <a:pt x="219" y="352"/>
                  </a:cubicBezTo>
                  <a:cubicBezTo>
                    <a:pt x="220" y="353"/>
                    <a:pt x="252" y="366"/>
                    <a:pt x="271" y="378"/>
                  </a:cubicBezTo>
                  <a:cubicBezTo>
                    <a:pt x="287" y="348"/>
                    <a:pt x="292" y="338"/>
                    <a:pt x="292" y="338"/>
                  </a:cubicBezTo>
                  <a:cubicBezTo>
                    <a:pt x="292" y="338"/>
                    <a:pt x="346" y="393"/>
                    <a:pt x="355" y="398"/>
                  </a:cubicBezTo>
                  <a:cubicBezTo>
                    <a:pt x="355" y="398"/>
                    <a:pt x="402" y="372"/>
                    <a:pt x="422" y="353"/>
                  </a:cubicBezTo>
                  <a:cubicBezTo>
                    <a:pt x="445" y="386"/>
                    <a:pt x="445" y="386"/>
                    <a:pt x="445" y="386"/>
                  </a:cubicBezTo>
                  <a:cubicBezTo>
                    <a:pt x="559" y="314"/>
                    <a:pt x="559" y="314"/>
                    <a:pt x="559" y="314"/>
                  </a:cubicBezTo>
                  <a:lnTo>
                    <a:pt x="590" y="288"/>
                  </a:lnTo>
                  <a:close/>
                  <a:moveTo>
                    <a:pt x="378" y="360"/>
                  </a:moveTo>
                  <a:cubicBezTo>
                    <a:pt x="367" y="360"/>
                    <a:pt x="357" y="350"/>
                    <a:pt x="357" y="339"/>
                  </a:cubicBezTo>
                  <a:cubicBezTo>
                    <a:pt x="357" y="330"/>
                    <a:pt x="363" y="323"/>
                    <a:pt x="370" y="320"/>
                  </a:cubicBezTo>
                  <a:cubicBezTo>
                    <a:pt x="366" y="322"/>
                    <a:pt x="363" y="327"/>
                    <a:pt x="363" y="332"/>
                  </a:cubicBezTo>
                  <a:cubicBezTo>
                    <a:pt x="363" y="340"/>
                    <a:pt x="369" y="346"/>
                    <a:pt x="377" y="346"/>
                  </a:cubicBezTo>
                  <a:cubicBezTo>
                    <a:pt x="385" y="346"/>
                    <a:pt x="391" y="340"/>
                    <a:pt x="391" y="332"/>
                  </a:cubicBezTo>
                  <a:cubicBezTo>
                    <a:pt x="391" y="325"/>
                    <a:pt x="386" y="319"/>
                    <a:pt x="380" y="318"/>
                  </a:cubicBezTo>
                  <a:cubicBezTo>
                    <a:pt x="391" y="319"/>
                    <a:pt x="399" y="328"/>
                    <a:pt x="399" y="339"/>
                  </a:cubicBezTo>
                  <a:cubicBezTo>
                    <a:pt x="399" y="350"/>
                    <a:pt x="390" y="360"/>
                    <a:pt x="378" y="3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351" name="Group 350"/>
          <p:cNvGrpSpPr/>
          <p:nvPr/>
        </p:nvGrpSpPr>
        <p:grpSpPr>
          <a:xfrm>
            <a:off x="349421" y="400050"/>
            <a:ext cx="8444067" cy="1303020"/>
            <a:chOff x="465772" y="1293795"/>
            <a:chExt cx="11255824" cy="1737360"/>
          </a:xfrm>
        </p:grpSpPr>
        <p:sp>
          <p:nvSpPr>
            <p:cNvPr id="373" name="Rectangle 372"/>
            <p:cNvSpPr>
              <a:spLocks noChangeAspect="1"/>
            </p:cNvSpPr>
            <p:nvPr>
              <p:custDataLst>
                <p:tags r:id="rId9"/>
              </p:custDataLst>
            </p:nvPr>
          </p:nvSpPr>
          <p:spPr bwMode="auto">
            <a:xfrm>
              <a:off x="3318553" y="1293795"/>
              <a:ext cx="2688336" cy="1737360"/>
            </a:xfrm>
            <a:prstGeom prst="rect">
              <a:avLst/>
            </a:prstGeom>
            <a:solidFill>
              <a:srgbClr val="00DAFF"/>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b" anchorCtr="0" compatLnSpc="1">
              <a:prstTxWarp prst="textNoShape">
                <a:avLst/>
              </a:prstTxWarp>
              <a:noAutofit/>
            </a:bodyPr>
            <a:lstStyle/>
            <a:p>
              <a:pPr defTabSz="914045" fontAlgn="base">
                <a:lnSpc>
                  <a:spcPct val="90000"/>
                </a:lnSpc>
                <a:spcBef>
                  <a:spcPts val="630"/>
                </a:spcBef>
                <a:spcAft>
                  <a:spcPct val="0"/>
                </a:spcAft>
                <a:buClr>
                  <a:srgbClr val="FFFF99"/>
                </a:buClr>
                <a:buSzPct val="120000"/>
              </a:pPr>
              <a:endParaRPr lang="en-US" dirty="0" smtClean="0">
                <a:ln>
                  <a:solidFill>
                    <a:srgbClr val="FFFFFF">
                      <a:alpha val="0"/>
                    </a:srgbClr>
                  </a:solidFill>
                </a:ln>
                <a:solidFill>
                  <a:srgbClr val="FFFFFF">
                    <a:alpha val="99000"/>
                  </a:srgbClr>
                </a:solidFill>
                <a:cs typeface="Segoe UI" pitchFamily="34" charset="0"/>
              </a:endParaRPr>
            </a:p>
            <a:p>
              <a:pPr defTabSz="914045" fontAlgn="base">
                <a:lnSpc>
                  <a:spcPct val="90000"/>
                </a:lnSpc>
                <a:spcBef>
                  <a:spcPts val="630"/>
                </a:spcBef>
                <a:spcAft>
                  <a:spcPct val="0"/>
                </a:spcAft>
                <a:buClr>
                  <a:srgbClr val="FFFF99"/>
                </a:buClr>
                <a:buSzPct val="120000"/>
              </a:pPr>
              <a:r>
                <a:rPr lang="en-US" sz="2000" dirty="0">
                  <a:ln>
                    <a:solidFill>
                      <a:srgbClr val="FFFFFF">
                        <a:alpha val="0"/>
                      </a:srgbClr>
                    </a:solidFill>
                  </a:ln>
                  <a:solidFill>
                    <a:srgbClr val="FFFFFF">
                      <a:alpha val="99000"/>
                    </a:srgbClr>
                  </a:solidFill>
                  <a:cs typeface="Segoe UI" pitchFamily="34" charset="0"/>
                </a:rPr>
                <a:t>Optimized     </a:t>
              </a:r>
              <a:br>
                <a:rPr lang="en-US" sz="2000" dirty="0">
                  <a:ln>
                    <a:solidFill>
                      <a:srgbClr val="FFFFFF">
                        <a:alpha val="0"/>
                      </a:srgbClr>
                    </a:solidFill>
                  </a:ln>
                  <a:solidFill>
                    <a:srgbClr val="FFFFFF">
                      <a:alpha val="99000"/>
                    </a:srgbClr>
                  </a:solidFill>
                  <a:cs typeface="Segoe UI" pitchFamily="34" charset="0"/>
                </a:rPr>
              </a:br>
              <a:r>
                <a:rPr lang="en-US" sz="2000" dirty="0">
                  <a:ln>
                    <a:solidFill>
                      <a:srgbClr val="FFFFFF">
                        <a:alpha val="0"/>
                      </a:srgbClr>
                    </a:solidFill>
                  </a:ln>
                  <a:solidFill>
                    <a:srgbClr val="FFFFFF">
                      <a:alpha val="99000"/>
                    </a:srgbClr>
                  </a:solidFill>
                  <a:cs typeface="Segoe UI" pitchFamily="34" charset="0"/>
                </a:rPr>
                <a:t>Productivity</a:t>
              </a:r>
            </a:p>
          </p:txBody>
        </p:sp>
        <p:grpSp>
          <p:nvGrpSpPr>
            <p:cNvPr id="353" name="Group 352"/>
            <p:cNvGrpSpPr/>
            <p:nvPr/>
          </p:nvGrpSpPr>
          <p:grpSpPr>
            <a:xfrm>
              <a:off x="465772" y="1293795"/>
              <a:ext cx="2688336" cy="1737360"/>
              <a:chOff x="465772" y="1293795"/>
              <a:chExt cx="2688336" cy="1737360"/>
            </a:xfrm>
          </p:grpSpPr>
          <p:grpSp>
            <p:nvGrpSpPr>
              <p:cNvPr id="362" name="Group 361"/>
              <p:cNvGrpSpPr/>
              <p:nvPr/>
            </p:nvGrpSpPr>
            <p:grpSpPr>
              <a:xfrm>
                <a:off x="465772" y="1293795"/>
                <a:ext cx="2688336" cy="1737360"/>
                <a:chOff x="6826146" y="972753"/>
                <a:chExt cx="2013054" cy="1295309"/>
              </a:xfrm>
            </p:grpSpPr>
            <p:sp>
              <p:nvSpPr>
                <p:cNvPr id="368" name="Rectangle 367"/>
                <p:cNvSpPr>
                  <a:spLocks noChangeAspect="1"/>
                </p:cNvSpPr>
                <p:nvPr>
                  <p:custDataLst>
                    <p:tags r:id="rId12"/>
                  </p:custDataLst>
                </p:nvPr>
              </p:nvSpPr>
              <p:spPr bwMode="auto">
                <a:xfrm>
                  <a:off x="6826146" y="972753"/>
                  <a:ext cx="2013054" cy="1295309"/>
                </a:xfrm>
                <a:prstGeom prst="rect">
                  <a:avLst/>
                </a:prstGeom>
                <a:solidFill>
                  <a:srgbClr val="00DAFF"/>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b" anchorCtr="0" compatLnSpc="1">
                  <a:prstTxWarp prst="textNoShape">
                    <a:avLst/>
                  </a:prstTxWarp>
                  <a:noAutofit/>
                </a:bodyPr>
                <a:lstStyle/>
                <a:p>
                  <a:pPr defTabSz="914045" fontAlgn="base">
                    <a:lnSpc>
                      <a:spcPct val="90000"/>
                    </a:lnSpc>
                    <a:spcBef>
                      <a:spcPts val="630"/>
                    </a:spcBef>
                    <a:spcAft>
                      <a:spcPct val="0"/>
                    </a:spcAft>
                    <a:buClr>
                      <a:srgbClr val="FFFF99"/>
                    </a:buClr>
                    <a:buSzPct val="120000"/>
                  </a:pPr>
                  <a:r>
                    <a:rPr lang="en-US" dirty="0" smtClean="0">
                      <a:ln>
                        <a:solidFill>
                          <a:srgbClr val="FFFFFF">
                            <a:alpha val="0"/>
                          </a:srgbClr>
                        </a:solidFill>
                      </a:ln>
                      <a:solidFill>
                        <a:srgbClr val="FFFFFF">
                          <a:alpha val="99000"/>
                        </a:srgbClr>
                      </a:solidFill>
                      <a:cs typeface="Segoe UI" pitchFamily="34" charset="0"/>
                    </a:rPr>
                    <a:t>         </a:t>
                  </a:r>
                </a:p>
                <a:p>
                  <a:pPr defTabSz="914045" fontAlgn="base">
                    <a:lnSpc>
                      <a:spcPct val="90000"/>
                    </a:lnSpc>
                    <a:spcBef>
                      <a:spcPts val="630"/>
                    </a:spcBef>
                    <a:spcAft>
                      <a:spcPct val="0"/>
                    </a:spcAft>
                    <a:buClr>
                      <a:srgbClr val="FFFF99"/>
                    </a:buClr>
                    <a:buSzPct val="120000"/>
                  </a:pPr>
                  <a:r>
                    <a:rPr lang="en-US" dirty="0" smtClean="0">
                      <a:ln>
                        <a:solidFill>
                          <a:srgbClr val="FFFFFF">
                            <a:alpha val="0"/>
                          </a:srgbClr>
                        </a:solidFill>
                      </a:ln>
                      <a:solidFill>
                        <a:srgbClr val="FFFFFF">
                          <a:alpha val="99000"/>
                        </a:srgbClr>
                      </a:solidFill>
                      <a:cs typeface="Segoe UI" pitchFamily="34" charset="0"/>
                    </a:rPr>
                    <a:t>             </a:t>
                  </a:r>
                </a:p>
                <a:p>
                  <a:pPr defTabSz="914045" fontAlgn="base">
                    <a:lnSpc>
                      <a:spcPct val="90000"/>
                    </a:lnSpc>
                    <a:spcBef>
                      <a:spcPts val="630"/>
                    </a:spcBef>
                    <a:spcAft>
                      <a:spcPct val="0"/>
                    </a:spcAft>
                    <a:buClr>
                      <a:srgbClr val="FFFF99"/>
                    </a:buClr>
                    <a:buSzPct val="120000"/>
                  </a:pPr>
                  <a:r>
                    <a:rPr lang="en-US" sz="2000" dirty="0">
                      <a:ln>
                        <a:solidFill>
                          <a:srgbClr val="FFFFFF">
                            <a:alpha val="0"/>
                          </a:srgbClr>
                        </a:solidFill>
                      </a:ln>
                      <a:solidFill>
                        <a:srgbClr val="FFFFFF">
                          <a:alpha val="99000"/>
                        </a:srgbClr>
                      </a:solidFill>
                      <a:cs typeface="Segoe UI" pitchFamily="34" charset="0"/>
                    </a:rPr>
                    <a:t>Familiar User Experience</a:t>
                  </a:r>
                </a:p>
              </p:txBody>
            </p:sp>
            <p:grpSp>
              <p:nvGrpSpPr>
                <p:cNvPr id="369" name="Group 368"/>
                <p:cNvGrpSpPr>
                  <a:grpSpLocks noChangeAspect="1"/>
                </p:cNvGrpSpPr>
                <p:nvPr/>
              </p:nvGrpSpPr>
              <p:grpSpPr>
                <a:xfrm>
                  <a:off x="7323455" y="1249899"/>
                  <a:ext cx="69373" cy="18865"/>
                  <a:chOff x="-1260476" y="1773238"/>
                  <a:chExt cx="180975" cy="49213"/>
                </a:xfrm>
                <a:solidFill>
                  <a:schemeClr val="bg1"/>
                </a:solidFill>
              </p:grpSpPr>
              <p:sp>
                <p:nvSpPr>
                  <p:cNvPr id="370" name="Freeform 118"/>
                  <p:cNvSpPr>
                    <a:spLocks noEditPoints="1"/>
                  </p:cNvSpPr>
                  <p:nvPr/>
                </p:nvSpPr>
                <p:spPr bwMode="auto">
                  <a:xfrm>
                    <a:off x="-1198563" y="1774826"/>
                    <a:ext cx="47625" cy="47625"/>
                  </a:xfrm>
                  <a:custGeom>
                    <a:avLst/>
                    <a:gdLst>
                      <a:gd name="T0" fmla="*/ 0 w 30"/>
                      <a:gd name="T1" fmla="*/ 30 h 30"/>
                      <a:gd name="T2" fmla="*/ 30 w 30"/>
                      <a:gd name="T3" fmla="*/ 30 h 30"/>
                      <a:gd name="T4" fmla="*/ 30 w 30"/>
                      <a:gd name="T5" fmla="*/ 0 h 30"/>
                      <a:gd name="T6" fmla="*/ 0 w 30"/>
                      <a:gd name="T7" fmla="*/ 0 h 30"/>
                      <a:gd name="T8" fmla="*/ 0 w 30"/>
                      <a:gd name="T9" fmla="*/ 30 h 30"/>
                      <a:gd name="T10" fmla="*/ 8 w 30"/>
                      <a:gd name="T11" fmla="*/ 8 h 30"/>
                      <a:gd name="T12" fmla="*/ 22 w 30"/>
                      <a:gd name="T13" fmla="*/ 8 h 30"/>
                      <a:gd name="T14" fmla="*/ 22 w 30"/>
                      <a:gd name="T15" fmla="*/ 22 h 30"/>
                      <a:gd name="T16" fmla="*/ 8 w 30"/>
                      <a:gd name="T17" fmla="*/ 22 h 30"/>
                      <a:gd name="T18" fmla="*/ 8 w 30"/>
                      <a:gd name="T19" fmla="*/ 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0" y="30"/>
                        </a:moveTo>
                        <a:lnTo>
                          <a:pt x="30" y="30"/>
                        </a:lnTo>
                        <a:lnTo>
                          <a:pt x="30" y="0"/>
                        </a:lnTo>
                        <a:lnTo>
                          <a:pt x="0" y="0"/>
                        </a:lnTo>
                        <a:lnTo>
                          <a:pt x="0" y="30"/>
                        </a:lnTo>
                        <a:close/>
                        <a:moveTo>
                          <a:pt x="8" y="8"/>
                        </a:moveTo>
                        <a:lnTo>
                          <a:pt x="22" y="8"/>
                        </a:lnTo>
                        <a:lnTo>
                          <a:pt x="22" y="22"/>
                        </a:lnTo>
                        <a:lnTo>
                          <a:pt x="8" y="22"/>
                        </a:lnTo>
                        <a:lnTo>
                          <a:pt x="8"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1" name="Rectangle 120"/>
                  <p:cNvSpPr>
                    <a:spLocks noChangeArrowheads="1"/>
                  </p:cNvSpPr>
                  <p:nvPr/>
                </p:nvSpPr>
                <p:spPr bwMode="auto">
                  <a:xfrm>
                    <a:off x="-1260476" y="1809751"/>
                    <a:ext cx="46038"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2" name="Freeform 121"/>
                  <p:cNvSpPr>
                    <a:spLocks/>
                  </p:cNvSpPr>
                  <p:nvPr/>
                </p:nvSpPr>
                <p:spPr bwMode="auto">
                  <a:xfrm>
                    <a:off x="-1130301" y="1773238"/>
                    <a:ext cx="50800" cy="49213"/>
                  </a:xfrm>
                  <a:custGeom>
                    <a:avLst/>
                    <a:gdLst>
                      <a:gd name="T0" fmla="*/ 26 w 32"/>
                      <a:gd name="T1" fmla="*/ 0 h 31"/>
                      <a:gd name="T2" fmla="*/ 16 w 32"/>
                      <a:gd name="T3" fmla="*/ 10 h 31"/>
                      <a:gd name="T4" fmla="*/ 6 w 32"/>
                      <a:gd name="T5" fmla="*/ 0 h 31"/>
                      <a:gd name="T6" fmla="*/ 0 w 32"/>
                      <a:gd name="T7" fmla="*/ 6 h 31"/>
                      <a:gd name="T8" fmla="*/ 10 w 32"/>
                      <a:gd name="T9" fmla="*/ 16 h 31"/>
                      <a:gd name="T10" fmla="*/ 1 w 32"/>
                      <a:gd name="T11" fmla="*/ 26 h 31"/>
                      <a:gd name="T12" fmla="*/ 6 w 32"/>
                      <a:gd name="T13" fmla="*/ 31 h 31"/>
                      <a:gd name="T14" fmla="*/ 16 w 32"/>
                      <a:gd name="T15" fmla="*/ 21 h 31"/>
                      <a:gd name="T16" fmla="*/ 26 w 32"/>
                      <a:gd name="T17" fmla="*/ 31 h 31"/>
                      <a:gd name="T18" fmla="*/ 31 w 32"/>
                      <a:gd name="T19" fmla="*/ 26 h 31"/>
                      <a:gd name="T20" fmla="*/ 22 w 32"/>
                      <a:gd name="T21" fmla="*/ 16 h 31"/>
                      <a:gd name="T22" fmla="*/ 32 w 32"/>
                      <a:gd name="T23" fmla="*/ 6 h 31"/>
                      <a:gd name="T24" fmla="*/ 26 w 32"/>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31">
                        <a:moveTo>
                          <a:pt x="26" y="0"/>
                        </a:moveTo>
                        <a:lnTo>
                          <a:pt x="16" y="10"/>
                        </a:lnTo>
                        <a:lnTo>
                          <a:pt x="6" y="0"/>
                        </a:lnTo>
                        <a:lnTo>
                          <a:pt x="0" y="6"/>
                        </a:lnTo>
                        <a:lnTo>
                          <a:pt x="10" y="16"/>
                        </a:lnTo>
                        <a:lnTo>
                          <a:pt x="1" y="26"/>
                        </a:lnTo>
                        <a:lnTo>
                          <a:pt x="6" y="31"/>
                        </a:lnTo>
                        <a:lnTo>
                          <a:pt x="16" y="21"/>
                        </a:lnTo>
                        <a:lnTo>
                          <a:pt x="26" y="31"/>
                        </a:lnTo>
                        <a:lnTo>
                          <a:pt x="31" y="26"/>
                        </a:lnTo>
                        <a:lnTo>
                          <a:pt x="22" y="16"/>
                        </a:lnTo>
                        <a:lnTo>
                          <a:pt x="32" y="6"/>
                        </a:ln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63" name="Group 362"/>
              <p:cNvGrpSpPr/>
              <p:nvPr/>
            </p:nvGrpSpPr>
            <p:grpSpPr bwMode="black">
              <a:xfrm>
                <a:off x="694395" y="1446028"/>
                <a:ext cx="393321" cy="758830"/>
                <a:chOff x="3360738" y="989012"/>
                <a:chExt cx="746125" cy="1439864"/>
              </a:xfrm>
            </p:grpSpPr>
            <p:sp>
              <p:nvSpPr>
                <p:cNvPr id="364" name="Freeform 36"/>
                <p:cNvSpPr>
                  <a:spLocks/>
                </p:cNvSpPr>
                <p:nvPr/>
              </p:nvSpPr>
              <p:spPr bwMode="black">
                <a:xfrm>
                  <a:off x="3360738" y="1255713"/>
                  <a:ext cx="525463" cy="1173163"/>
                </a:xfrm>
                <a:custGeom>
                  <a:avLst/>
                  <a:gdLst>
                    <a:gd name="T0" fmla="*/ 252 w 562"/>
                    <a:gd name="T1" fmla="*/ 272 h 1256"/>
                    <a:gd name="T2" fmla="*/ 234 w 562"/>
                    <a:gd name="T3" fmla="*/ 192 h 1256"/>
                    <a:gd name="T4" fmla="*/ 407 w 562"/>
                    <a:gd name="T5" fmla="*/ 20 h 1256"/>
                    <a:gd name="T6" fmla="*/ 534 w 562"/>
                    <a:gd name="T7" fmla="*/ 76 h 1256"/>
                    <a:gd name="T8" fmla="*/ 562 w 562"/>
                    <a:gd name="T9" fmla="*/ 51 h 1256"/>
                    <a:gd name="T10" fmla="*/ 443 w 562"/>
                    <a:gd name="T11" fmla="*/ 0 h 1256"/>
                    <a:gd name="T12" fmla="*/ 164 w 562"/>
                    <a:gd name="T13" fmla="*/ 0 h 1256"/>
                    <a:gd name="T14" fmla="*/ 0 w 562"/>
                    <a:gd name="T15" fmla="*/ 163 h 1256"/>
                    <a:gd name="T16" fmla="*/ 0 w 562"/>
                    <a:gd name="T17" fmla="*/ 556 h 1256"/>
                    <a:gd name="T18" fmla="*/ 55 w 562"/>
                    <a:gd name="T19" fmla="*/ 612 h 1256"/>
                    <a:gd name="T20" fmla="*/ 110 w 562"/>
                    <a:gd name="T21" fmla="*/ 556 h 1256"/>
                    <a:gd name="T22" fmla="*/ 110 w 562"/>
                    <a:gd name="T23" fmla="*/ 201 h 1256"/>
                    <a:gd name="T24" fmla="*/ 139 w 562"/>
                    <a:gd name="T25" fmla="*/ 201 h 1256"/>
                    <a:gd name="T26" fmla="*/ 139 w 562"/>
                    <a:gd name="T27" fmla="*/ 1182 h 1256"/>
                    <a:gd name="T28" fmla="*/ 214 w 562"/>
                    <a:gd name="T29" fmla="*/ 1256 h 1256"/>
                    <a:gd name="T30" fmla="*/ 288 w 562"/>
                    <a:gd name="T31" fmla="*/ 1182 h 1256"/>
                    <a:gd name="T32" fmla="*/ 288 w 562"/>
                    <a:gd name="T33" fmla="*/ 615 h 1256"/>
                    <a:gd name="T34" fmla="*/ 317 w 562"/>
                    <a:gd name="T35" fmla="*/ 615 h 1256"/>
                    <a:gd name="T36" fmla="*/ 317 w 562"/>
                    <a:gd name="T37" fmla="*/ 1182 h 1256"/>
                    <a:gd name="T38" fmla="*/ 392 w 562"/>
                    <a:gd name="T39" fmla="*/ 1256 h 1256"/>
                    <a:gd name="T40" fmla="*/ 467 w 562"/>
                    <a:gd name="T41" fmla="*/ 1182 h 1256"/>
                    <a:gd name="T42" fmla="*/ 467 w 562"/>
                    <a:gd name="T43" fmla="*/ 516 h 1256"/>
                    <a:gd name="T44" fmla="*/ 252 w 562"/>
                    <a:gd name="T45" fmla="*/ 272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2" h="1256">
                      <a:moveTo>
                        <a:pt x="252" y="272"/>
                      </a:moveTo>
                      <a:cubicBezTo>
                        <a:pt x="248" y="262"/>
                        <a:pt x="234" y="225"/>
                        <a:pt x="234" y="192"/>
                      </a:cubicBezTo>
                      <a:cubicBezTo>
                        <a:pt x="234" y="97"/>
                        <a:pt x="312" y="20"/>
                        <a:pt x="407" y="20"/>
                      </a:cubicBezTo>
                      <a:cubicBezTo>
                        <a:pt x="456" y="20"/>
                        <a:pt x="501" y="41"/>
                        <a:pt x="534" y="76"/>
                      </a:cubicBezTo>
                      <a:cubicBezTo>
                        <a:pt x="542" y="66"/>
                        <a:pt x="551" y="58"/>
                        <a:pt x="562" y="51"/>
                      </a:cubicBezTo>
                      <a:cubicBezTo>
                        <a:pt x="532" y="20"/>
                        <a:pt x="490" y="0"/>
                        <a:pt x="443" y="0"/>
                      </a:cubicBezTo>
                      <a:cubicBezTo>
                        <a:pt x="164" y="0"/>
                        <a:pt x="164" y="0"/>
                        <a:pt x="164" y="0"/>
                      </a:cubicBezTo>
                      <a:cubicBezTo>
                        <a:pt x="73" y="0"/>
                        <a:pt x="0" y="73"/>
                        <a:pt x="0" y="163"/>
                      </a:cubicBezTo>
                      <a:cubicBezTo>
                        <a:pt x="0" y="556"/>
                        <a:pt x="0" y="556"/>
                        <a:pt x="0" y="556"/>
                      </a:cubicBezTo>
                      <a:cubicBezTo>
                        <a:pt x="0" y="587"/>
                        <a:pt x="25" y="612"/>
                        <a:pt x="55" y="612"/>
                      </a:cubicBezTo>
                      <a:cubicBezTo>
                        <a:pt x="86" y="612"/>
                        <a:pt x="110" y="587"/>
                        <a:pt x="110" y="556"/>
                      </a:cubicBezTo>
                      <a:cubicBezTo>
                        <a:pt x="110" y="201"/>
                        <a:pt x="110" y="201"/>
                        <a:pt x="110" y="201"/>
                      </a:cubicBezTo>
                      <a:cubicBezTo>
                        <a:pt x="139" y="201"/>
                        <a:pt x="139" y="201"/>
                        <a:pt x="139" y="201"/>
                      </a:cubicBezTo>
                      <a:cubicBezTo>
                        <a:pt x="139" y="1182"/>
                        <a:pt x="139" y="1182"/>
                        <a:pt x="139" y="1182"/>
                      </a:cubicBezTo>
                      <a:cubicBezTo>
                        <a:pt x="139" y="1223"/>
                        <a:pt x="173" y="1256"/>
                        <a:pt x="214" y="1256"/>
                      </a:cubicBezTo>
                      <a:cubicBezTo>
                        <a:pt x="255" y="1256"/>
                        <a:pt x="288" y="1223"/>
                        <a:pt x="288" y="1182"/>
                      </a:cubicBezTo>
                      <a:cubicBezTo>
                        <a:pt x="288" y="615"/>
                        <a:pt x="288" y="615"/>
                        <a:pt x="288" y="615"/>
                      </a:cubicBezTo>
                      <a:cubicBezTo>
                        <a:pt x="317" y="615"/>
                        <a:pt x="317" y="615"/>
                        <a:pt x="317" y="615"/>
                      </a:cubicBezTo>
                      <a:cubicBezTo>
                        <a:pt x="317" y="1182"/>
                        <a:pt x="317" y="1182"/>
                        <a:pt x="317" y="1182"/>
                      </a:cubicBezTo>
                      <a:cubicBezTo>
                        <a:pt x="317" y="1223"/>
                        <a:pt x="351" y="1256"/>
                        <a:pt x="392" y="1256"/>
                      </a:cubicBezTo>
                      <a:cubicBezTo>
                        <a:pt x="433" y="1256"/>
                        <a:pt x="467" y="1223"/>
                        <a:pt x="467" y="1182"/>
                      </a:cubicBezTo>
                      <a:cubicBezTo>
                        <a:pt x="467" y="516"/>
                        <a:pt x="467" y="516"/>
                        <a:pt x="467" y="516"/>
                      </a:cubicBezTo>
                      <a:cubicBezTo>
                        <a:pt x="398" y="459"/>
                        <a:pt x="284" y="354"/>
                        <a:pt x="252" y="2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65" name="Freeform 37"/>
                <p:cNvSpPr>
                  <a:spLocks/>
                </p:cNvSpPr>
                <p:nvPr/>
              </p:nvSpPr>
              <p:spPr bwMode="black">
                <a:xfrm>
                  <a:off x="3824288" y="1733550"/>
                  <a:ext cx="103188" cy="93663"/>
                </a:xfrm>
                <a:custGeom>
                  <a:avLst/>
                  <a:gdLst>
                    <a:gd name="T0" fmla="*/ 58 w 110"/>
                    <a:gd name="T1" fmla="*/ 43 h 101"/>
                    <a:gd name="T2" fmla="*/ 38 w 110"/>
                    <a:gd name="T3" fmla="*/ 59 h 101"/>
                    <a:gd name="T4" fmla="*/ 17 w 110"/>
                    <a:gd name="T5" fmla="*/ 43 h 101"/>
                    <a:gd name="T6" fmla="*/ 0 w 110"/>
                    <a:gd name="T7" fmla="*/ 29 h 101"/>
                    <a:gd name="T8" fmla="*/ 0 w 110"/>
                    <a:gd name="T9" fmla="*/ 45 h 101"/>
                    <a:gd name="T10" fmla="*/ 56 w 110"/>
                    <a:gd name="T11" fmla="*/ 101 h 101"/>
                    <a:gd name="T12" fmla="*/ 110 w 110"/>
                    <a:gd name="T13" fmla="*/ 45 h 101"/>
                    <a:gd name="T14" fmla="*/ 110 w 110"/>
                    <a:gd name="T15" fmla="*/ 0 h 101"/>
                    <a:gd name="T16" fmla="*/ 58 w 110"/>
                    <a:gd name="T17" fmla="*/ 4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01">
                      <a:moveTo>
                        <a:pt x="58" y="43"/>
                      </a:moveTo>
                      <a:cubicBezTo>
                        <a:pt x="38" y="59"/>
                        <a:pt x="38" y="59"/>
                        <a:pt x="38" y="59"/>
                      </a:cubicBezTo>
                      <a:cubicBezTo>
                        <a:pt x="17" y="43"/>
                        <a:pt x="17" y="43"/>
                        <a:pt x="17" y="43"/>
                      </a:cubicBezTo>
                      <a:cubicBezTo>
                        <a:pt x="13" y="40"/>
                        <a:pt x="7" y="35"/>
                        <a:pt x="0" y="29"/>
                      </a:cubicBezTo>
                      <a:cubicBezTo>
                        <a:pt x="0" y="45"/>
                        <a:pt x="0" y="45"/>
                        <a:pt x="0" y="45"/>
                      </a:cubicBezTo>
                      <a:cubicBezTo>
                        <a:pt x="0" y="76"/>
                        <a:pt x="25" y="101"/>
                        <a:pt x="56" y="101"/>
                      </a:cubicBezTo>
                      <a:cubicBezTo>
                        <a:pt x="85" y="101"/>
                        <a:pt x="110" y="76"/>
                        <a:pt x="110" y="45"/>
                      </a:cubicBezTo>
                      <a:cubicBezTo>
                        <a:pt x="110" y="0"/>
                        <a:pt x="110" y="0"/>
                        <a:pt x="110" y="0"/>
                      </a:cubicBezTo>
                      <a:cubicBezTo>
                        <a:pt x="86" y="20"/>
                        <a:pt x="67" y="35"/>
                        <a:pt x="58"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66" name="Oval 38"/>
                <p:cNvSpPr>
                  <a:spLocks noChangeArrowheads="1"/>
                </p:cNvSpPr>
                <p:nvPr/>
              </p:nvSpPr>
              <p:spPr bwMode="black">
                <a:xfrm>
                  <a:off x="3525838" y="989012"/>
                  <a:ext cx="234950" cy="2381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67" name="Freeform 39"/>
                <p:cNvSpPr>
                  <a:spLocks/>
                </p:cNvSpPr>
                <p:nvPr/>
              </p:nvSpPr>
              <p:spPr bwMode="black">
                <a:xfrm>
                  <a:off x="3606800" y="1304925"/>
                  <a:ext cx="500063" cy="444500"/>
                </a:xfrm>
                <a:custGeom>
                  <a:avLst/>
                  <a:gdLst>
                    <a:gd name="T0" fmla="*/ 267 w 535"/>
                    <a:gd name="T1" fmla="*/ 476 h 477"/>
                    <a:gd name="T2" fmla="*/ 15 w 535"/>
                    <a:gd name="T3" fmla="*/ 208 h 477"/>
                    <a:gd name="T4" fmla="*/ 0 w 535"/>
                    <a:gd name="T5" fmla="*/ 140 h 477"/>
                    <a:gd name="T6" fmla="*/ 141 w 535"/>
                    <a:gd name="T7" fmla="*/ 0 h 477"/>
                    <a:gd name="T8" fmla="*/ 268 w 535"/>
                    <a:gd name="T9" fmla="*/ 80 h 477"/>
                    <a:gd name="T10" fmla="*/ 394 w 535"/>
                    <a:gd name="T11" fmla="*/ 0 h 477"/>
                    <a:gd name="T12" fmla="*/ 535 w 535"/>
                    <a:gd name="T13" fmla="*/ 140 h 477"/>
                    <a:gd name="T14" fmla="*/ 520 w 535"/>
                    <a:gd name="T15" fmla="*/ 208 h 477"/>
                    <a:gd name="T16" fmla="*/ 269 w 535"/>
                    <a:gd name="T17" fmla="*/ 476 h 477"/>
                    <a:gd name="T18" fmla="*/ 268 w 535"/>
                    <a:gd name="T19" fmla="*/ 477 h 477"/>
                    <a:gd name="T20" fmla="*/ 267 w 535"/>
                    <a:gd name="T21" fmla="*/ 476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5" h="477">
                      <a:moveTo>
                        <a:pt x="267" y="476"/>
                      </a:moveTo>
                      <a:cubicBezTo>
                        <a:pt x="247" y="461"/>
                        <a:pt x="55" y="310"/>
                        <a:pt x="15" y="208"/>
                      </a:cubicBezTo>
                      <a:cubicBezTo>
                        <a:pt x="8" y="189"/>
                        <a:pt x="0" y="162"/>
                        <a:pt x="0" y="140"/>
                      </a:cubicBezTo>
                      <a:cubicBezTo>
                        <a:pt x="0" y="63"/>
                        <a:pt x="63" y="0"/>
                        <a:pt x="141" y="0"/>
                      </a:cubicBezTo>
                      <a:cubicBezTo>
                        <a:pt x="197" y="0"/>
                        <a:pt x="245" y="33"/>
                        <a:pt x="268" y="80"/>
                      </a:cubicBezTo>
                      <a:cubicBezTo>
                        <a:pt x="290" y="33"/>
                        <a:pt x="339" y="0"/>
                        <a:pt x="394" y="0"/>
                      </a:cubicBezTo>
                      <a:cubicBezTo>
                        <a:pt x="472" y="0"/>
                        <a:pt x="535" y="63"/>
                        <a:pt x="535" y="140"/>
                      </a:cubicBezTo>
                      <a:cubicBezTo>
                        <a:pt x="535" y="162"/>
                        <a:pt x="527" y="189"/>
                        <a:pt x="520" y="208"/>
                      </a:cubicBezTo>
                      <a:cubicBezTo>
                        <a:pt x="480" y="310"/>
                        <a:pt x="288" y="461"/>
                        <a:pt x="269" y="476"/>
                      </a:cubicBezTo>
                      <a:cubicBezTo>
                        <a:pt x="268" y="477"/>
                        <a:pt x="268" y="477"/>
                        <a:pt x="268" y="477"/>
                      </a:cubicBezTo>
                      <a:lnTo>
                        <a:pt x="267" y="4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sp>
          <p:nvSpPr>
            <p:cNvPr id="358" name="Rectangle 357"/>
            <p:cNvSpPr>
              <a:spLocks noChangeAspect="1"/>
            </p:cNvSpPr>
            <p:nvPr>
              <p:custDataLst>
                <p:tags r:id="rId10"/>
              </p:custDataLst>
            </p:nvPr>
          </p:nvSpPr>
          <p:spPr bwMode="auto">
            <a:xfrm>
              <a:off x="9024116" y="1293795"/>
              <a:ext cx="2697480" cy="1737360"/>
            </a:xfrm>
            <a:prstGeom prst="rect">
              <a:avLst/>
            </a:prstGeom>
            <a:solidFill>
              <a:srgbClr val="00DAFF"/>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b" anchorCtr="0" compatLnSpc="1">
              <a:prstTxWarp prst="textNoShape">
                <a:avLst/>
              </a:prstTxWarp>
              <a:noAutofit/>
            </a:bodyPr>
            <a:lstStyle/>
            <a:p>
              <a:pPr defTabSz="914045" fontAlgn="base">
                <a:lnSpc>
                  <a:spcPct val="90000"/>
                </a:lnSpc>
                <a:spcBef>
                  <a:spcPts val="630"/>
                </a:spcBef>
                <a:spcAft>
                  <a:spcPct val="0"/>
                </a:spcAft>
                <a:buClr>
                  <a:srgbClr val="FFFF99"/>
                </a:buClr>
                <a:buSzPct val="120000"/>
              </a:pPr>
              <a:r>
                <a:rPr lang="en-US" dirty="0" smtClean="0">
                  <a:ln>
                    <a:solidFill>
                      <a:srgbClr val="FFFFFF">
                        <a:alpha val="0"/>
                      </a:srgbClr>
                    </a:solidFill>
                  </a:ln>
                  <a:solidFill>
                    <a:srgbClr val="FFFFFF">
                      <a:alpha val="99000"/>
                    </a:srgbClr>
                  </a:solidFill>
                  <a:cs typeface="Segoe UI" pitchFamily="34" charset="0"/>
                </a:rPr>
                <a:t>            </a:t>
              </a:r>
            </a:p>
            <a:p>
              <a:pPr defTabSz="914045" fontAlgn="base">
                <a:lnSpc>
                  <a:spcPct val="90000"/>
                </a:lnSpc>
                <a:spcBef>
                  <a:spcPts val="630"/>
                </a:spcBef>
                <a:spcAft>
                  <a:spcPct val="0"/>
                </a:spcAft>
                <a:buClr>
                  <a:srgbClr val="FFFF99"/>
                </a:buClr>
                <a:buSzPct val="120000"/>
              </a:pPr>
              <a:r>
                <a:rPr lang="en-US" sz="2000" dirty="0">
                  <a:ln>
                    <a:solidFill>
                      <a:srgbClr val="FFFFFF">
                        <a:alpha val="0"/>
                      </a:srgbClr>
                    </a:solidFill>
                  </a:ln>
                  <a:solidFill>
                    <a:srgbClr val="FFFFFF">
                      <a:alpha val="99000"/>
                    </a:srgbClr>
                  </a:solidFill>
                  <a:cs typeface="Segoe UI" pitchFamily="34" charset="0"/>
                </a:rPr>
                <a:t>Schema Editing</a:t>
              </a:r>
              <a:br>
                <a:rPr lang="en-US" sz="2000" dirty="0">
                  <a:ln>
                    <a:solidFill>
                      <a:srgbClr val="FFFFFF">
                        <a:alpha val="0"/>
                      </a:srgbClr>
                    </a:solidFill>
                  </a:ln>
                  <a:solidFill>
                    <a:srgbClr val="FFFFFF">
                      <a:alpha val="99000"/>
                    </a:srgbClr>
                  </a:solidFill>
                  <a:cs typeface="Segoe UI" pitchFamily="34" charset="0"/>
                </a:rPr>
              </a:br>
              <a:r>
                <a:rPr lang="en-US" sz="2000" dirty="0">
                  <a:ln>
                    <a:solidFill>
                      <a:srgbClr val="FFFFFF">
                        <a:alpha val="0"/>
                      </a:srgbClr>
                    </a:solidFill>
                  </a:ln>
                  <a:solidFill>
                    <a:srgbClr val="FFFFFF">
                      <a:alpha val="99000"/>
                    </a:srgbClr>
                  </a:solidFill>
                  <a:cs typeface="Segoe UI" pitchFamily="34" charset="0"/>
                </a:rPr>
                <a:t>Tools</a:t>
              </a:r>
            </a:p>
          </p:txBody>
        </p:sp>
        <p:sp>
          <p:nvSpPr>
            <p:cNvPr id="356" name="Rectangle 355"/>
            <p:cNvSpPr>
              <a:spLocks noChangeAspect="1"/>
            </p:cNvSpPr>
            <p:nvPr>
              <p:custDataLst>
                <p:tags r:id="rId11"/>
              </p:custDataLst>
            </p:nvPr>
          </p:nvSpPr>
          <p:spPr bwMode="auto">
            <a:xfrm>
              <a:off x="6171334" y="1293795"/>
              <a:ext cx="2688336" cy="1737360"/>
            </a:xfrm>
            <a:prstGeom prst="rect">
              <a:avLst/>
            </a:prstGeom>
            <a:solidFill>
              <a:srgbClr val="00DAFF"/>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b" anchorCtr="0" compatLnSpc="1">
              <a:prstTxWarp prst="textNoShape">
                <a:avLst/>
              </a:prstTxWarp>
              <a:noAutofit/>
            </a:bodyPr>
            <a:lstStyle/>
            <a:p>
              <a:pPr defTabSz="914045" fontAlgn="base">
                <a:lnSpc>
                  <a:spcPct val="90000"/>
                </a:lnSpc>
                <a:spcBef>
                  <a:spcPts val="630"/>
                </a:spcBef>
                <a:spcAft>
                  <a:spcPct val="0"/>
                </a:spcAft>
                <a:buClr>
                  <a:srgbClr val="FFFF99"/>
                </a:buClr>
                <a:buSzPct val="120000"/>
                <a:defRPr/>
              </a:pPr>
              <a:r>
                <a:rPr lang="en-US" sz="2000" dirty="0">
                  <a:ln>
                    <a:solidFill>
                      <a:srgbClr val="FFFFFF">
                        <a:alpha val="0"/>
                      </a:srgbClr>
                    </a:solidFill>
                  </a:ln>
                  <a:solidFill>
                    <a:srgbClr val="FFFFFF">
                      <a:alpha val="99000"/>
                    </a:srgbClr>
                  </a:solidFill>
                  <a:cs typeface="Segoe UI" pitchFamily="34" charset="0"/>
                </a:rPr>
                <a:t>Difference Detection</a:t>
              </a:r>
            </a:p>
          </p:txBody>
        </p:sp>
      </p:grpSp>
      <p:grpSp>
        <p:nvGrpSpPr>
          <p:cNvPr id="378" name="Group 377"/>
          <p:cNvGrpSpPr/>
          <p:nvPr/>
        </p:nvGrpSpPr>
        <p:grpSpPr>
          <a:xfrm>
            <a:off x="318932" y="2114550"/>
            <a:ext cx="8498519" cy="1303020"/>
            <a:chOff x="425132" y="1295402"/>
            <a:chExt cx="11328408" cy="1737360"/>
          </a:xfrm>
        </p:grpSpPr>
        <p:grpSp>
          <p:nvGrpSpPr>
            <p:cNvPr id="379" name="Group 378"/>
            <p:cNvGrpSpPr/>
            <p:nvPr/>
          </p:nvGrpSpPr>
          <p:grpSpPr>
            <a:xfrm>
              <a:off x="425132" y="1295402"/>
              <a:ext cx="2688336" cy="1737360"/>
              <a:chOff x="510766" y="1295402"/>
              <a:chExt cx="2688336" cy="1728664"/>
            </a:xfrm>
          </p:grpSpPr>
          <p:sp>
            <p:nvSpPr>
              <p:cNvPr id="392" name="Rectangle 391"/>
              <p:cNvSpPr>
                <a:spLocks noChangeAspect="1"/>
              </p:cNvSpPr>
              <p:nvPr>
                <p:custDataLst>
                  <p:tags r:id="rId8"/>
                </p:custDataLst>
              </p:nvPr>
            </p:nvSpPr>
            <p:spPr bwMode="auto">
              <a:xfrm>
                <a:off x="510766" y="1295402"/>
                <a:ext cx="2688336" cy="1728664"/>
              </a:xfrm>
              <a:prstGeom prst="rect">
                <a:avLst/>
              </a:prstGeom>
              <a:solidFill>
                <a:srgbClr val="B5D331"/>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60947" rIns="121893" bIns="60947" numCol="1" rtlCol="0" anchor="b" anchorCtr="0" compatLnSpc="1">
                <a:prstTxWarp prst="textNoShape">
                  <a:avLst/>
                </a:prstTxWarp>
                <a:noAutofit/>
              </a:bodyPr>
              <a:lstStyle/>
              <a:p>
                <a:pPr defTabSz="914045" fontAlgn="base">
                  <a:lnSpc>
                    <a:spcPct val="90000"/>
                  </a:lnSpc>
                  <a:spcBef>
                    <a:spcPts val="630"/>
                  </a:spcBef>
                  <a:spcAft>
                    <a:spcPct val="0"/>
                  </a:spcAft>
                  <a:buClr>
                    <a:srgbClr val="FFFF99"/>
                  </a:buClr>
                  <a:buSzPct val="120000"/>
                  <a:defRPr/>
                </a:pPr>
                <a:r>
                  <a:rPr lang="en-US" dirty="0">
                    <a:ln>
                      <a:solidFill>
                        <a:srgbClr val="FFFFFF">
                          <a:alpha val="0"/>
                        </a:srgbClr>
                      </a:solidFill>
                    </a:ln>
                    <a:solidFill>
                      <a:srgbClr val="FFFFFF">
                        <a:alpha val="99000"/>
                      </a:srgbClr>
                    </a:solidFill>
                    <a:cs typeface="Segoe UI" pitchFamily="34" charset="0"/>
                  </a:rPr>
                  <a:t> </a:t>
                </a:r>
                <a:r>
                  <a:rPr lang="en-US" dirty="0" smtClean="0">
                    <a:ln>
                      <a:solidFill>
                        <a:srgbClr val="FFFFFF">
                          <a:alpha val="0"/>
                        </a:srgbClr>
                      </a:solidFill>
                    </a:ln>
                    <a:solidFill>
                      <a:srgbClr val="FFFFFF">
                        <a:alpha val="99000"/>
                      </a:srgbClr>
                    </a:solidFill>
                    <a:cs typeface="Segoe UI" pitchFamily="34" charset="0"/>
                  </a:rPr>
                  <a:t>           </a:t>
                </a:r>
              </a:p>
              <a:p>
                <a:pPr defTabSz="914045" fontAlgn="base">
                  <a:lnSpc>
                    <a:spcPct val="90000"/>
                  </a:lnSpc>
                  <a:spcBef>
                    <a:spcPts val="630"/>
                  </a:spcBef>
                  <a:spcAft>
                    <a:spcPct val="0"/>
                  </a:spcAft>
                  <a:buClr>
                    <a:srgbClr val="FFFF99"/>
                  </a:buClr>
                  <a:buSzPct val="120000"/>
                  <a:defRPr/>
                </a:pPr>
                <a:r>
                  <a:rPr lang="en-US" sz="2000" dirty="0">
                    <a:ln>
                      <a:solidFill>
                        <a:srgbClr val="FFFFFF">
                          <a:alpha val="0"/>
                        </a:srgbClr>
                      </a:solidFill>
                    </a:ln>
                    <a:solidFill>
                      <a:srgbClr val="FFFFFF">
                        <a:alpha val="99000"/>
                      </a:srgbClr>
                    </a:solidFill>
                    <a:cs typeface="Segoe UI" pitchFamily="34" charset="0"/>
                  </a:rPr>
                  <a:t>1</a:t>
                </a:r>
                <a:r>
                  <a:rPr lang="en-US" sz="2000" baseline="30000" dirty="0">
                    <a:ln>
                      <a:solidFill>
                        <a:srgbClr val="FFFFFF">
                          <a:alpha val="0"/>
                        </a:srgbClr>
                      </a:solidFill>
                    </a:ln>
                    <a:solidFill>
                      <a:srgbClr val="FFFFFF">
                        <a:alpha val="99000"/>
                      </a:srgbClr>
                    </a:solidFill>
                    <a:cs typeface="Segoe UI" pitchFamily="34" charset="0"/>
                  </a:rPr>
                  <a:t>st</a:t>
                </a:r>
                <a:r>
                  <a:rPr lang="en-US" sz="2000" dirty="0">
                    <a:ln>
                      <a:solidFill>
                        <a:srgbClr val="FFFFFF">
                          <a:alpha val="0"/>
                        </a:srgbClr>
                      </a:solidFill>
                    </a:ln>
                    <a:solidFill>
                      <a:srgbClr val="FFFFFF">
                        <a:alpha val="99000"/>
                      </a:srgbClr>
                    </a:solidFill>
                    <a:cs typeface="Segoe UI" pitchFamily="34" charset="0"/>
                  </a:rPr>
                  <a:t> class T-SQL Support</a:t>
                </a:r>
              </a:p>
            </p:txBody>
          </p:sp>
          <p:sp>
            <p:nvSpPr>
              <p:cNvPr id="393" name="Freeform 6"/>
              <p:cNvSpPr>
                <a:spLocks noChangeAspect="1"/>
              </p:cNvSpPr>
              <p:nvPr/>
            </p:nvSpPr>
            <p:spPr bwMode="auto">
              <a:xfrm>
                <a:off x="803515" y="1469770"/>
                <a:ext cx="688112" cy="604412"/>
              </a:xfrm>
              <a:custGeom>
                <a:avLst/>
                <a:gdLst>
                  <a:gd name="T0" fmla="*/ 983 w 1123"/>
                  <a:gd name="T1" fmla="*/ 48 h 972"/>
                  <a:gd name="T2" fmla="*/ 884 w 1123"/>
                  <a:gd name="T3" fmla="*/ 36 h 972"/>
                  <a:gd name="T4" fmla="*/ 409 w 1123"/>
                  <a:gd name="T5" fmla="*/ 515 h 972"/>
                  <a:gd name="T6" fmla="*/ 251 w 1123"/>
                  <a:gd name="T7" fmla="*/ 357 h 972"/>
                  <a:gd name="T8" fmla="*/ 107 w 1123"/>
                  <a:gd name="T9" fmla="*/ 369 h 972"/>
                  <a:gd name="T10" fmla="*/ 42 w 1123"/>
                  <a:gd name="T11" fmla="*/ 446 h 972"/>
                  <a:gd name="T12" fmla="*/ 41 w 1123"/>
                  <a:gd name="T13" fmla="*/ 534 h 972"/>
                  <a:gd name="T14" fmla="*/ 356 w 1123"/>
                  <a:gd name="T15" fmla="*/ 871 h 972"/>
                  <a:gd name="T16" fmla="*/ 500 w 1123"/>
                  <a:gd name="T17" fmla="*/ 872 h 972"/>
                  <a:gd name="T18" fmla="*/ 1058 w 1123"/>
                  <a:gd name="T19" fmla="*/ 267 h 972"/>
                  <a:gd name="T20" fmla="*/ 1065 w 1123"/>
                  <a:gd name="T21" fmla="*/ 154 h 972"/>
                  <a:gd name="T22" fmla="*/ 983 w 1123"/>
                  <a:gd name="T23" fmla="*/ 4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3" h="972">
                    <a:moveTo>
                      <a:pt x="983" y="48"/>
                    </a:moveTo>
                    <a:cubicBezTo>
                      <a:pt x="983" y="48"/>
                      <a:pt x="952" y="0"/>
                      <a:pt x="884" y="36"/>
                    </a:cubicBezTo>
                    <a:cubicBezTo>
                      <a:pt x="774" y="95"/>
                      <a:pt x="533" y="321"/>
                      <a:pt x="409" y="515"/>
                    </a:cubicBezTo>
                    <a:cubicBezTo>
                      <a:pt x="409" y="515"/>
                      <a:pt x="320" y="412"/>
                      <a:pt x="251" y="357"/>
                    </a:cubicBezTo>
                    <a:cubicBezTo>
                      <a:pt x="183" y="302"/>
                      <a:pt x="170" y="309"/>
                      <a:pt x="107" y="369"/>
                    </a:cubicBezTo>
                    <a:cubicBezTo>
                      <a:pt x="66" y="408"/>
                      <a:pt x="42" y="446"/>
                      <a:pt x="42" y="446"/>
                    </a:cubicBezTo>
                    <a:cubicBezTo>
                      <a:pt x="42" y="446"/>
                      <a:pt x="0" y="490"/>
                      <a:pt x="41" y="534"/>
                    </a:cubicBezTo>
                    <a:cubicBezTo>
                      <a:pt x="93" y="589"/>
                      <a:pt x="283" y="776"/>
                      <a:pt x="356" y="871"/>
                    </a:cubicBezTo>
                    <a:cubicBezTo>
                      <a:pt x="432" y="972"/>
                      <a:pt x="500" y="872"/>
                      <a:pt x="500" y="872"/>
                    </a:cubicBezTo>
                    <a:cubicBezTo>
                      <a:pt x="500" y="872"/>
                      <a:pt x="734" y="489"/>
                      <a:pt x="1058" y="267"/>
                    </a:cubicBezTo>
                    <a:cubicBezTo>
                      <a:pt x="1058" y="267"/>
                      <a:pt x="1123" y="229"/>
                      <a:pt x="1065" y="154"/>
                    </a:cubicBezTo>
                    <a:cubicBezTo>
                      <a:pt x="1007" y="79"/>
                      <a:pt x="983" y="48"/>
                      <a:pt x="983" y="48"/>
                    </a:cubicBezTo>
                    <a:close/>
                  </a:path>
                </a:pathLst>
              </a:custGeom>
              <a:solidFill>
                <a:sysClr val="window" lastClr="FFFFFF"/>
              </a:solidFill>
              <a:ln>
                <a:noFill/>
              </a:ln>
            </p:spPr>
            <p:txBody>
              <a:bodyPr vert="horz" wrap="square" lIns="121893" tIns="60947" rIns="121893" bIns="60947" numCol="1" anchor="t" anchorCtr="0" compatLnSpc="1">
                <a:prstTxWarp prst="textNoShape">
                  <a:avLst/>
                </a:prstTxWarp>
              </a:bodyPr>
              <a:lstStyle/>
              <a:p>
                <a:pPr>
                  <a:defRPr/>
                </a:pPr>
                <a:endParaRPr lang="en-US" sz="1600" kern="0">
                  <a:solidFill>
                    <a:sysClr val="windowText" lastClr="000000"/>
                  </a:solidFill>
                </a:endParaRPr>
              </a:p>
            </p:txBody>
          </p:sp>
        </p:grpSp>
        <p:sp>
          <p:nvSpPr>
            <p:cNvPr id="390" name="Rectangle 389"/>
            <p:cNvSpPr>
              <a:spLocks noChangeAspect="1"/>
            </p:cNvSpPr>
            <p:nvPr>
              <p:custDataLst>
                <p:tags r:id="rId5"/>
              </p:custDataLst>
            </p:nvPr>
          </p:nvSpPr>
          <p:spPr bwMode="auto">
            <a:xfrm>
              <a:off x="9065204" y="1295402"/>
              <a:ext cx="2688336" cy="1737360"/>
            </a:xfrm>
            <a:prstGeom prst="rect">
              <a:avLst/>
            </a:prstGeom>
            <a:solidFill>
              <a:srgbClr val="B5D331"/>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60947" rIns="121893" bIns="60947" numCol="1" rtlCol="0" anchor="ctr" anchorCtr="0" compatLnSpc="1">
              <a:prstTxWarp prst="textNoShape">
                <a:avLst/>
              </a:prstTxWarp>
              <a:noAutofit/>
            </a:bodyPr>
            <a:lstStyle/>
            <a:p>
              <a:pPr defTabSz="914045" fontAlgn="base">
                <a:lnSpc>
                  <a:spcPct val="90000"/>
                </a:lnSpc>
                <a:spcBef>
                  <a:spcPts val="630"/>
                </a:spcBef>
                <a:spcAft>
                  <a:spcPct val="0"/>
                </a:spcAft>
                <a:buClr>
                  <a:srgbClr val="FFFF99"/>
                </a:buClr>
                <a:buSzPct val="120000"/>
              </a:pPr>
              <a:r>
                <a:rPr lang="en-US" dirty="0" smtClean="0">
                  <a:ln>
                    <a:solidFill>
                      <a:srgbClr val="FFFFFF">
                        <a:alpha val="0"/>
                      </a:srgbClr>
                    </a:solidFill>
                  </a:ln>
                  <a:solidFill>
                    <a:srgbClr val="FFFFFF">
                      <a:alpha val="99000"/>
                    </a:srgbClr>
                  </a:solidFill>
                  <a:cs typeface="Segoe UI" pitchFamily="34" charset="0"/>
                </a:rPr>
                <a:t>         </a:t>
              </a:r>
            </a:p>
            <a:p>
              <a:pPr defTabSz="914045" fontAlgn="base">
                <a:lnSpc>
                  <a:spcPct val="90000"/>
                </a:lnSpc>
                <a:spcBef>
                  <a:spcPts val="630"/>
                </a:spcBef>
                <a:spcAft>
                  <a:spcPct val="0"/>
                </a:spcAft>
                <a:buClr>
                  <a:srgbClr val="FFFF99"/>
                </a:buClr>
                <a:buSzPct val="120000"/>
              </a:pPr>
              <a:r>
                <a:rPr lang="en-US" dirty="0" smtClean="0">
                  <a:ln>
                    <a:solidFill>
                      <a:srgbClr val="FFFFFF">
                        <a:alpha val="0"/>
                      </a:srgbClr>
                    </a:solidFill>
                  </a:ln>
                  <a:solidFill>
                    <a:srgbClr val="FFFFFF">
                      <a:alpha val="99000"/>
                    </a:srgbClr>
                  </a:solidFill>
                  <a:cs typeface="Segoe UI" pitchFamily="34" charset="0"/>
                </a:rPr>
                <a:t>             </a:t>
              </a:r>
            </a:p>
            <a:p>
              <a:pPr defTabSz="914045" fontAlgn="base">
                <a:lnSpc>
                  <a:spcPct val="90000"/>
                </a:lnSpc>
                <a:spcBef>
                  <a:spcPts val="630"/>
                </a:spcBef>
                <a:spcAft>
                  <a:spcPct val="0"/>
                </a:spcAft>
                <a:buClr>
                  <a:srgbClr val="FFFF99"/>
                </a:buClr>
                <a:buSzPct val="120000"/>
              </a:pPr>
              <a:endParaRPr lang="en-US" sz="2000" dirty="0">
                <a:ln>
                  <a:solidFill>
                    <a:srgbClr val="FFFFFF">
                      <a:alpha val="0"/>
                    </a:srgbClr>
                  </a:solidFill>
                </a:ln>
                <a:solidFill>
                  <a:srgbClr val="FFFFFF">
                    <a:alpha val="99000"/>
                  </a:srgbClr>
                </a:solidFill>
                <a:cs typeface="Segoe UI" pitchFamily="34" charset="0"/>
              </a:endParaRPr>
            </a:p>
            <a:p>
              <a:pPr defTabSz="914045" fontAlgn="base">
                <a:lnSpc>
                  <a:spcPct val="90000"/>
                </a:lnSpc>
                <a:spcBef>
                  <a:spcPts val="630"/>
                </a:spcBef>
                <a:spcAft>
                  <a:spcPct val="0"/>
                </a:spcAft>
                <a:buClr>
                  <a:srgbClr val="FFFF99"/>
                </a:buClr>
                <a:buSzPct val="120000"/>
              </a:pPr>
              <a:r>
                <a:rPr lang="en-US" sz="2000" dirty="0">
                  <a:ln>
                    <a:solidFill>
                      <a:srgbClr val="FFFFFF">
                        <a:alpha val="0"/>
                      </a:srgbClr>
                    </a:solidFill>
                  </a:ln>
                  <a:solidFill>
                    <a:srgbClr val="FFFFFF">
                      <a:alpha val="99000"/>
                    </a:srgbClr>
                  </a:solidFill>
                  <a:cs typeface="Segoe UI" pitchFamily="34" charset="0"/>
                </a:rPr>
                <a:t>Schema Insight</a:t>
              </a:r>
              <a:endParaRPr lang="en-US" dirty="0">
                <a:ln>
                  <a:solidFill>
                    <a:srgbClr val="FFFFFF">
                      <a:alpha val="0"/>
                    </a:srgbClr>
                  </a:solidFill>
                </a:ln>
                <a:solidFill>
                  <a:srgbClr val="FFFFFF">
                    <a:alpha val="99000"/>
                  </a:srgbClr>
                </a:solidFill>
                <a:cs typeface="Segoe UI" pitchFamily="34" charset="0"/>
              </a:endParaRPr>
            </a:p>
          </p:txBody>
        </p:sp>
        <p:grpSp>
          <p:nvGrpSpPr>
            <p:cNvPr id="381" name="Group 380"/>
            <p:cNvGrpSpPr/>
            <p:nvPr/>
          </p:nvGrpSpPr>
          <p:grpSpPr>
            <a:xfrm>
              <a:off x="3305156" y="1295402"/>
              <a:ext cx="2688336" cy="1737360"/>
              <a:chOff x="3305156" y="1295402"/>
              <a:chExt cx="2688336" cy="1737360"/>
            </a:xfrm>
          </p:grpSpPr>
          <p:sp>
            <p:nvSpPr>
              <p:cNvPr id="388" name="Rectangle 387"/>
              <p:cNvSpPr>
                <a:spLocks noChangeAspect="1"/>
              </p:cNvSpPr>
              <p:nvPr>
                <p:custDataLst>
                  <p:tags r:id="rId7"/>
                </p:custDataLst>
              </p:nvPr>
            </p:nvSpPr>
            <p:spPr bwMode="auto">
              <a:xfrm>
                <a:off x="3305156" y="1295402"/>
                <a:ext cx="2688336" cy="1737360"/>
              </a:xfrm>
              <a:prstGeom prst="rect">
                <a:avLst/>
              </a:prstGeom>
              <a:solidFill>
                <a:srgbClr val="B5D331"/>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60947" rIns="121893" bIns="60947" numCol="1" rtlCol="0" anchor="b" anchorCtr="0" compatLnSpc="1">
                <a:prstTxWarp prst="textNoShape">
                  <a:avLst/>
                </a:prstTxWarp>
                <a:noAutofit/>
              </a:bodyPr>
              <a:lstStyle/>
              <a:p>
                <a:pPr defTabSz="914045" fontAlgn="base">
                  <a:lnSpc>
                    <a:spcPct val="90000"/>
                  </a:lnSpc>
                  <a:spcBef>
                    <a:spcPts val="630"/>
                  </a:spcBef>
                  <a:spcAft>
                    <a:spcPct val="0"/>
                  </a:spcAft>
                  <a:buClr>
                    <a:srgbClr val="FFFF99"/>
                  </a:buClr>
                  <a:buSzPct val="120000"/>
                </a:pPr>
                <a:r>
                  <a:rPr lang="en-US" dirty="0" smtClean="0">
                    <a:ln>
                      <a:solidFill>
                        <a:srgbClr val="FFFFFF">
                          <a:alpha val="0"/>
                        </a:srgbClr>
                      </a:solidFill>
                    </a:ln>
                    <a:solidFill>
                      <a:srgbClr val="FFFFFF">
                        <a:alpha val="99000"/>
                      </a:srgbClr>
                    </a:solidFill>
                    <a:cs typeface="Segoe UI" pitchFamily="34" charset="0"/>
                  </a:rPr>
                  <a:t>            </a:t>
                </a:r>
              </a:p>
              <a:p>
                <a:pPr defTabSz="914045" fontAlgn="base">
                  <a:lnSpc>
                    <a:spcPct val="90000"/>
                  </a:lnSpc>
                  <a:spcBef>
                    <a:spcPts val="630"/>
                  </a:spcBef>
                  <a:spcAft>
                    <a:spcPct val="0"/>
                  </a:spcAft>
                  <a:buClr>
                    <a:srgbClr val="FFFF99"/>
                  </a:buClr>
                  <a:buSzPct val="120000"/>
                </a:pPr>
                <a:r>
                  <a:rPr lang="en-US" sz="2000" dirty="0">
                    <a:ln>
                      <a:solidFill>
                        <a:srgbClr val="FFFFFF">
                          <a:alpha val="0"/>
                        </a:srgbClr>
                      </a:solidFill>
                    </a:ln>
                    <a:solidFill>
                      <a:srgbClr val="FFFFFF">
                        <a:alpha val="99000"/>
                      </a:srgbClr>
                    </a:solidFill>
                    <a:cs typeface="Segoe UI" pitchFamily="34" charset="0"/>
                  </a:rPr>
                  <a:t>Isolated</a:t>
                </a:r>
              </a:p>
            </p:txBody>
          </p:sp>
          <p:sp>
            <p:nvSpPr>
              <p:cNvPr id="389" name="Freeform 23"/>
              <p:cNvSpPr>
                <a:spLocks noEditPoints="1"/>
              </p:cNvSpPr>
              <p:nvPr/>
            </p:nvSpPr>
            <p:spPr bwMode="black">
              <a:xfrm>
                <a:off x="3427412" y="1450619"/>
                <a:ext cx="685800" cy="682981"/>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grpSp>
          <p:nvGrpSpPr>
            <p:cNvPr id="382" name="Group 381"/>
            <p:cNvGrpSpPr/>
            <p:nvPr/>
          </p:nvGrpSpPr>
          <p:grpSpPr>
            <a:xfrm>
              <a:off x="6185180" y="1295402"/>
              <a:ext cx="2688336" cy="1737360"/>
              <a:chOff x="6185180" y="1295402"/>
              <a:chExt cx="2688336" cy="1737360"/>
            </a:xfrm>
          </p:grpSpPr>
          <p:sp>
            <p:nvSpPr>
              <p:cNvPr id="383" name="Rectangle 382"/>
              <p:cNvSpPr>
                <a:spLocks noChangeAspect="1"/>
              </p:cNvSpPr>
              <p:nvPr>
                <p:custDataLst>
                  <p:tags r:id="rId6"/>
                </p:custDataLst>
              </p:nvPr>
            </p:nvSpPr>
            <p:spPr bwMode="auto">
              <a:xfrm>
                <a:off x="6185180" y="1295402"/>
                <a:ext cx="2688336" cy="1737360"/>
              </a:xfrm>
              <a:prstGeom prst="rect">
                <a:avLst/>
              </a:prstGeom>
              <a:solidFill>
                <a:srgbClr val="B5D331"/>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60947" rIns="121893" bIns="60947" numCol="1" rtlCol="0" anchor="b" anchorCtr="0" compatLnSpc="1">
                <a:prstTxWarp prst="textNoShape">
                  <a:avLst/>
                </a:prstTxWarp>
                <a:noAutofit/>
              </a:bodyPr>
              <a:lstStyle/>
              <a:p>
                <a:pPr defTabSz="914045" fontAlgn="base">
                  <a:lnSpc>
                    <a:spcPct val="90000"/>
                  </a:lnSpc>
                  <a:spcBef>
                    <a:spcPts val="630"/>
                  </a:spcBef>
                  <a:spcAft>
                    <a:spcPct val="0"/>
                  </a:spcAft>
                  <a:buClr>
                    <a:srgbClr val="FFFF99"/>
                  </a:buClr>
                  <a:buSzPct val="120000"/>
                </a:pPr>
                <a:endParaRPr lang="en-US" dirty="0" smtClean="0">
                  <a:ln>
                    <a:solidFill>
                      <a:srgbClr val="FFFFFF">
                        <a:alpha val="0"/>
                      </a:srgbClr>
                    </a:solidFill>
                  </a:ln>
                  <a:solidFill>
                    <a:srgbClr val="FFFFFF">
                      <a:alpha val="99000"/>
                    </a:srgbClr>
                  </a:solidFill>
                  <a:cs typeface="Segoe UI" pitchFamily="34" charset="0"/>
                </a:endParaRPr>
              </a:p>
              <a:p>
                <a:pPr defTabSz="914045" fontAlgn="base">
                  <a:lnSpc>
                    <a:spcPct val="90000"/>
                  </a:lnSpc>
                  <a:spcBef>
                    <a:spcPts val="630"/>
                  </a:spcBef>
                  <a:spcAft>
                    <a:spcPct val="0"/>
                  </a:spcAft>
                  <a:buClr>
                    <a:srgbClr val="FFFF99"/>
                  </a:buClr>
                  <a:buSzPct val="120000"/>
                </a:pPr>
                <a:r>
                  <a:rPr lang="en-US" sz="2000" dirty="0">
                    <a:ln>
                      <a:solidFill>
                        <a:srgbClr val="FFFFFF">
                          <a:alpha val="0"/>
                        </a:srgbClr>
                      </a:solidFill>
                    </a:ln>
                    <a:solidFill>
                      <a:srgbClr val="FFFFFF">
                        <a:alpha val="99000"/>
                      </a:srgbClr>
                    </a:solidFill>
                    <a:cs typeface="Segoe UI" pitchFamily="34" charset="0"/>
                  </a:rPr>
                  <a:t>Integrated</a:t>
                </a:r>
              </a:p>
            </p:txBody>
          </p:sp>
          <p:grpSp>
            <p:nvGrpSpPr>
              <p:cNvPr id="384" name="Group 383"/>
              <p:cNvGrpSpPr/>
              <p:nvPr/>
            </p:nvGrpSpPr>
            <p:grpSpPr bwMode="black">
              <a:xfrm>
                <a:off x="6363781" y="1470647"/>
                <a:ext cx="721231" cy="586753"/>
                <a:chOff x="5184775" y="225425"/>
                <a:chExt cx="1500188" cy="1220788"/>
              </a:xfrm>
              <a:solidFill>
                <a:srgbClr val="FFFFFF"/>
              </a:solidFill>
            </p:grpSpPr>
            <p:sp>
              <p:nvSpPr>
                <p:cNvPr id="385"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86"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87"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grpSp>
      <p:grpSp>
        <p:nvGrpSpPr>
          <p:cNvPr id="394" name="Group 393"/>
          <p:cNvGrpSpPr/>
          <p:nvPr/>
        </p:nvGrpSpPr>
        <p:grpSpPr>
          <a:xfrm>
            <a:off x="323671" y="3771900"/>
            <a:ext cx="8493774" cy="1303020"/>
            <a:chOff x="431449" y="1312215"/>
            <a:chExt cx="11322083" cy="1737360"/>
          </a:xfrm>
        </p:grpSpPr>
        <p:grpSp>
          <p:nvGrpSpPr>
            <p:cNvPr id="395" name="Group 394"/>
            <p:cNvGrpSpPr/>
            <p:nvPr/>
          </p:nvGrpSpPr>
          <p:grpSpPr>
            <a:xfrm>
              <a:off x="431449" y="1312215"/>
              <a:ext cx="2688336" cy="1737360"/>
              <a:chOff x="507868" y="1315330"/>
              <a:chExt cx="2683370" cy="1725473"/>
            </a:xfrm>
          </p:grpSpPr>
          <p:sp>
            <p:nvSpPr>
              <p:cNvPr id="416" name="Rectangle 415"/>
              <p:cNvSpPr>
                <a:spLocks noChangeAspect="1"/>
              </p:cNvSpPr>
              <p:nvPr>
                <p:custDataLst>
                  <p:tags r:id="rId4"/>
                </p:custDataLst>
              </p:nvPr>
            </p:nvSpPr>
            <p:spPr bwMode="auto">
              <a:xfrm>
                <a:off x="507868" y="1315330"/>
                <a:ext cx="2683370" cy="1725473"/>
              </a:xfrm>
              <a:prstGeom prst="rect">
                <a:avLst/>
              </a:prstGeom>
              <a:solidFill>
                <a:srgbClr val="FF8B00"/>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60947" rIns="121893" bIns="60947" numCol="1" rtlCol="0" anchor="b" anchorCtr="0" compatLnSpc="1">
                <a:prstTxWarp prst="textNoShape">
                  <a:avLst/>
                </a:prstTxWarp>
                <a:noAutofit/>
              </a:bodyPr>
              <a:lstStyle/>
              <a:p>
                <a:pPr defTabSz="914045" fontAlgn="base">
                  <a:lnSpc>
                    <a:spcPct val="90000"/>
                  </a:lnSpc>
                  <a:spcBef>
                    <a:spcPts val="630"/>
                  </a:spcBef>
                  <a:spcAft>
                    <a:spcPct val="0"/>
                  </a:spcAft>
                  <a:buClr>
                    <a:srgbClr val="FFFF99"/>
                  </a:buClr>
                  <a:buSzPct val="120000"/>
                  <a:defRPr/>
                </a:pPr>
                <a:r>
                  <a:rPr lang="en-US" dirty="0">
                    <a:ln>
                      <a:solidFill>
                        <a:srgbClr val="FFFFFF">
                          <a:alpha val="0"/>
                        </a:srgbClr>
                      </a:solidFill>
                    </a:ln>
                    <a:solidFill>
                      <a:srgbClr val="FFFFFF">
                        <a:alpha val="99000"/>
                      </a:srgbClr>
                    </a:solidFill>
                    <a:cs typeface="Segoe UI" pitchFamily="34" charset="0"/>
                  </a:rPr>
                  <a:t> </a:t>
                </a:r>
                <a:r>
                  <a:rPr lang="en-US" dirty="0" smtClean="0">
                    <a:ln>
                      <a:solidFill>
                        <a:srgbClr val="FFFFFF">
                          <a:alpha val="0"/>
                        </a:srgbClr>
                      </a:solidFill>
                    </a:ln>
                    <a:solidFill>
                      <a:srgbClr val="FFFFFF">
                        <a:alpha val="99000"/>
                      </a:srgbClr>
                    </a:solidFill>
                    <a:cs typeface="Segoe UI" pitchFamily="34" charset="0"/>
                  </a:rPr>
                  <a:t>           </a:t>
                </a:r>
              </a:p>
              <a:p>
                <a:pPr defTabSz="913985" fontAlgn="base">
                  <a:spcBef>
                    <a:spcPct val="0"/>
                  </a:spcBef>
                  <a:spcAft>
                    <a:spcPct val="0"/>
                  </a:spcAft>
                  <a:defRPr/>
                </a:pPr>
                <a:r>
                  <a:rPr lang="en-US" sz="2000" kern="0" dirty="0">
                    <a:solidFill>
                      <a:srgbClr val="FFFFFF">
                        <a:alpha val="99000"/>
                      </a:srgbClr>
                    </a:solidFill>
                  </a:rPr>
                  <a:t>Declarative</a:t>
                </a:r>
              </a:p>
            </p:txBody>
          </p:sp>
          <p:grpSp>
            <p:nvGrpSpPr>
              <p:cNvPr id="417" name="Group 416"/>
              <p:cNvGrpSpPr>
                <a:grpSpLocks noChangeAspect="1"/>
              </p:cNvGrpSpPr>
              <p:nvPr/>
            </p:nvGrpSpPr>
            <p:grpSpPr>
              <a:xfrm>
                <a:off x="613249" y="1414905"/>
                <a:ext cx="673018" cy="862136"/>
                <a:chOff x="-2773363" y="1651000"/>
                <a:chExt cx="2692401" cy="3448051"/>
              </a:xfrm>
              <a:solidFill>
                <a:schemeClr val="bg1"/>
              </a:solidFill>
            </p:grpSpPr>
            <p:sp>
              <p:nvSpPr>
                <p:cNvPr id="418" name="Freeform 19"/>
                <p:cNvSpPr>
                  <a:spLocks noEditPoints="1"/>
                </p:cNvSpPr>
                <p:nvPr/>
              </p:nvSpPr>
              <p:spPr bwMode="auto">
                <a:xfrm>
                  <a:off x="-1908175" y="1798638"/>
                  <a:ext cx="641350" cy="641350"/>
                </a:xfrm>
                <a:custGeom>
                  <a:avLst/>
                  <a:gdLst>
                    <a:gd name="T0" fmla="*/ 171 w 171"/>
                    <a:gd name="T1" fmla="*/ 79 h 171"/>
                    <a:gd name="T2" fmla="*/ 168 w 171"/>
                    <a:gd name="T3" fmla="*/ 77 h 171"/>
                    <a:gd name="T4" fmla="*/ 152 w 171"/>
                    <a:gd name="T5" fmla="*/ 65 h 171"/>
                    <a:gd name="T6" fmla="*/ 165 w 171"/>
                    <a:gd name="T7" fmla="*/ 54 h 171"/>
                    <a:gd name="T8" fmla="*/ 161 w 171"/>
                    <a:gd name="T9" fmla="*/ 52 h 171"/>
                    <a:gd name="T10" fmla="*/ 142 w 171"/>
                    <a:gd name="T11" fmla="*/ 45 h 171"/>
                    <a:gd name="T12" fmla="*/ 152 w 171"/>
                    <a:gd name="T13" fmla="*/ 32 h 171"/>
                    <a:gd name="T14" fmla="*/ 147 w 171"/>
                    <a:gd name="T15" fmla="*/ 30 h 171"/>
                    <a:gd name="T16" fmla="*/ 127 w 171"/>
                    <a:gd name="T17" fmla="*/ 30 h 171"/>
                    <a:gd name="T18" fmla="*/ 132 w 171"/>
                    <a:gd name="T19" fmla="*/ 15 h 171"/>
                    <a:gd name="T20" fmla="*/ 127 w 171"/>
                    <a:gd name="T21" fmla="*/ 14 h 171"/>
                    <a:gd name="T22" fmla="*/ 108 w 171"/>
                    <a:gd name="T23" fmla="*/ 20 h 171"/>
                    <a:gd name="T24" fmla="*/ 108 w 171"/>
                    <a:gd name="T25" fmla="*/ 5 h 171"/>
                    <a:gd name="T26" fmla="*/ 103 w 171"/>
                    <a:gd name="T27" fmla="*/ 4 h 171"/>
                    <a:gd name="T28" fmla="*/ 86 w 171"/>
                    <a:gd name="T29" fmla="*/ 16 h 171"/>
                    <a:gd name="T30" fmla="*/ 79 w 171"/>
                    <a:gd name="T31" fmla="*/ 0 h 171"/>
                    <a:gd name="T32" fmla="*/ 77 w 171"/>
                    <a:gd name="T33" fmla="*/ 3 h 171"/>
                    <a:gd name="T34" fmla="*/ 65 w 171"/>
                    <a:gd name="T35" fmla="*/ 19 h 171"/>
                    <a:gd name="T36" fmla="*/ 53 w 171"/>
                    <a:gd name="T37" fmla="*/ 6 h 171"/>
                    <a:gd name="T38" fmla="*/ 52 w 171"/>
                    <a:gd name="T39" fmla="*/ 10 h 171"/>
                    <a:gd name="T40" fmla="*/ 45 w 171"/>
                    <a:gd name="T41" fmla="*/ 29 h 171"/>
                    <a:gd name="T42" fmla="*/ 30 w 171"/>
                    <a:gd name="T43" fmla="*/ 20 h 171"/>
                    <a:gd name="T44" fmla="*/ 30 w 171"/>
                    <a:gd name="T45" fmla="*/ 24 h 171"/>
                    <a:gd name="T46" fmla="*/ 30 w 171"/>
                    <a:gd name="T47" fmla="*/ 44 h 171"/>
                    <a:gd name="T48" fmla="*/ 13 w 171"/>
                    <a:gd name="T49" fmla="*/ 40 h 171"/>
                    <a:gd name="T50" fmla="*/ 14 w 171"/>
                    <a:gd name="T51" fmla="*/ 44 h 171"/>
                    <a:gd name="T52" fmla="*/ 20 w 171"/>
                    <a:gd name="T53" fmla="*/ 63 h 171"/>
                    <a:gd name="T54" fmla="*/ 2 w 171"/>
                    <a:gd name="T55" fmla="*/ 65 h 171"/>
                    <a:gd name="T56" fmla="*/ 4 w 171"/>
                    <a:gd name="T57" fmla="*/ 68 h 171"/>
                    <a:gd name="T58" fmla="*/ 16 w 171"/>
                    <a:gd name="T59" fmla="*/ 84 h 171"/>
                    <a:gd name="T60" fmla="*/ 0 w 171"/>
                    <a:gd name="T61" fmla="*/ 91 h 171"/>
                    <a:gd name="T62" fmla="*/ 3 w 171"/>
                    <a:gd name="T63" fmla="*/ 94 h 171"/>
                    <a:gd name="T64" fmla="*/ 19 w 171"/>
                    <a:gd name="T65" fmla="*/ 106 h 171"/>
                    <a:gd name="T66" fmla="*/ 6 w 171"/>
                    <a:gd name="T67" fmla="*/ 116 h 171"/>
                    <a:gd name="T68" fmla="*/ 10 w 171"/>
                    <a:gd name="T69" fmla="*/ 119 h 171"/>
                    <a:gd name="T70" fmla="*/ 29 w 171"/>
                    <a:gd name="T71" fmla="*/ 125 h 171"/>
                    <a:gd name="T72" fmla="*/ 19 w 171"/>
                    <a:gd name="T73" fmla="*/ 139 h 171"/>
                    <a:gd name="T74" fmla="*/ 24 w 171"/>
                    <a:gd name="T75" fmla="*/ 141 h 171"/>
                    <a:gd name="T76" fmla="*/ 44 w 171"/>
                    <a:gd name="T77" fmla="*/ 141 h 171"/>
                    <a:gd name="T78" fmla="*/ 39 w 171"/>
                    <a:gd name="T79" fmla="*/ 156 h 171"/>
                    <a:gd name="T80" fmla="*/ 44 w 171"/>
                    <a:gd name="T81" fmla="*/ 157 h 171"/>
                    <a:gd name="T82" fmla="*/ 63 w 171"/>
                    <a:gd name="T83" fmla="*/ 151 h 171"/>
                    <a:gd name="T84" fmla="*/ 63 w 171"/>
                    <a:gd name="T85" fmla="*/ 166 h 171"/>
                    <a:gd name="T86" fmla="*/ 68 w 171"/>
                    <a:gd name="T87" fmla="*/ 166 h 171"/>
                    <a:gd name="T88" fmla="*/ 85 w 171"/>
                    <a:gd name="T89" fmla="*/ 155 h 171"/>
                    <a:gd name="T90" fmla="*/ 91 w 171"/>
                    <a:gd name="T91" fmla="*/ 171 h 171"/>
                    <a:gd name="T92" fmla="*/ 94 w 171"/>
                    <a:gd name="T93" fmla="*/ 168 h 171"/>
                    <a:gd name="T94" fmla="*/ 96 w 171"/>
                    <a:gd name="T95" fmla="*/ 154 h 171"/>
                    <a:gd name="T96" fmla="*/ 114 w 171"/>
                    <a:gd name="T97" fmla="*/ 163 h 171"/>
                    <a:gd name="T98" fmla="*/ 119 w 171"/>
                    <a:gd name="T99" fmla="*/ 162 h 171"/>
                    <a:gd name="T100" fmla="*/ 117 w 171"/>
                    <a:gd name="T101" fmla="*/ 147 h 171"/>
                    <a:gd name="T102" fmla="*/ 137 w 171"/>
                    <a:gd name="T103" fmla="*/ 150 h 171"/>
                    <a:gd name="T104" fmla="*/ 142 w 171"/>
                    <a:gd name="T105" fmla="*/ 149 h 171"/>
                    <a:gd name="T106" fmla="*/ 135 w 171"/>
                    <a:gd name="T107" fmla="*/ 134 h 171"/>
                    <a:gd name="T108" fmla="*/ 154 w 171"/>
                    <a:gd name="T109" fmla="*/ 131 h 171"/>
                    <a:gd name="T110" fmla="*/ 159 w 171"/>
                    <a:gd name="T111" fmla="*/ 129 h 171"/>
                    <a:gd name="T112" fmla="*/ 147 w 171"/>
                    <a:gd name="T113" fmla="*/ 117 h 171"/>
                    <a:gd name="T114" fmla="*/ 165 w 171"/>
                    <a:gd name="T115" fmla="*/ 108 h 171"/>
                    <a:gd name="T116" fmla="*/ 169 w 171"/>
                    <a:gd name="T117" fmla="*/ 105 h 171"/>
                    <a:gd name="T118" fmla="*/ 154 w 171"/>
                    <a:gd name="T119" fmla="*/ 96 h 171"/>
                    <a:gd name="T120" fmla="*/ 168 w 171"/>
                    <a:gd name="T121" fmla="*/ 82 h 171"/>
                    <a:gd name="T122" fmla="*/ 70 w 171"/>
                    <a:gd name="T123" fmla="*/ 85 h 171"/>
                    <a:gd name="T124" fmla="*/ 101 w 171"/>
                    <a:gd name="T125" fmla="*/ 85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1" h="171">
                      <a:moveTo>
                        <a:pt x="168" y="82"/>
                      </a:moveTo>
                      <a:cubicBezTo>
                        <a:pt x="170" y="82"/>
                        <a:pt x="171" y="81"/>
                        <a:pt x="171" y="79"/>
                      </a:cubicBezTo>
                      <a:cubicBezTo>
                        <a:pt x="171" y="79"/>
                        <a:pt x="171" y="79"/>
                        <a:pt x="171" y="79"/>
                      </a:cubicBezTo>
                      <a:cubicBezTo>
                        <a:pt x="171" y="78"/>
                        <a:pt x="169" y="77"/>
                        <a:pt x="168" y="77"/>
                      </a:cubicBezTo>
                      <a:cubicBezTo>
                        <a:pt x="154" y="75"/>
                        <a:pt x="154" y="75"/>
                        <a:pt x="154" y="75"/>
                      </a:cubicBezTo>
                      <a:cubicBezTo>
                        <a:pt x="154" y="71"/>
                        <a:pt x="153" y="68"/>
                        <a:pt x="152" y="65"/>
                      </a:cubicBezTo>
                      <a:cubicBezTo>
                        <a:pt x="163" y="57"/>
                        <a:pt x="163" y="57"/>
                        <a:pt x="163" y="57"/>
                      </a:cubicBezTo>
                      <a:cubicBezTo>
                        <a:pt x="164" y="56"/>
                        <a:pt x="165" y="55"/>
                        <a:pt x="165" y="54"/>
                      </a:cubicBezTo>
                      <a:cubicBezTo>
                        <a:pt x="165" y="54"/>
                        <a:pt x="165" y="53"/>
                        <a:pt x="165" y="53"/>
                      </a:cubicBezTo>
                      <a:cubicBezTo>
                        <a:pt x="164" y="52"/>
                        <a:pt x="163" y="51"/>
                        <a:pt x="161" y="52"/>
                      </a:cubicBezTo>
                      <a:cubicBezTo>
                        <a:pt x="147" y="54"/>
                        <a:pt x="147" y="54"/>
                        <a:pt x="147" y="54"/>
                      </a:cubicBezTo>
                      <a:cubicBezTo>
                        <a:pt x="146" y="51"/>
                        <a:pt x="144" y="48"/>
                        <a:pt x="142" y="45"/>
                      </a:cubicBezTo>
                      <a:cubicBezTo>
                        <a:pt x="151" y="34"/>
                        <a:pt x="151" y="34"/>
                        <a:pt x="151" y="34"/>
                      </a:cubicBezTo>
                      <a:cubicBezTo>
                        <a:pt x="151" y="34"/>
                        <a:pt x="152" y="33"/>
                        <a:pt x="152" y="32"/>
                      </a:cubicBezTo>
                      <a:cubicBezTo>
                        <a:pt x="152" y="31"/>
                        <a:pt x="151" y="31"/>
                        <a:pt x="151" y="30"/>
                      </a:cubicBezTo>
                      <a:cubicBezTo>
                        <a:pt x="150" y="29"/>
                        <a:pt x="148" y="29"/>
                        <a:pt x="147" y="30"/>
                      </a:cubicBezTo>
                      <a:cubicBezTo>
                        <a:pt x="135" y="36"/>
                        <a:pt x="135" y="36"/>
                        <a:pt x="135" y="36"/>
                      </a:cubicBezTo>
                      <a:cubicBezTo>
                        <a:pt x="132" y="34"/>
                        <a:pt x="130" y="32"/>
                        <a:pt x="127" y="30"/>
                      </a:cubicBezTo>
                      <a:cubicBezTo>
                        <a:pt x="132" y="16"/>
                        <a:pt x="132" y="16"/>
                        <a:pt x="132" y="16"/>
                      </a:cubicBezTo>
                      <a:cubicBezTo>
                        <a:pt x="132" y="16"/>
                        <a:pt x="132" y="16"/>
                        <a:pt x="132" y="15"/>
                      </a:cubicBezTo>
                      <a:cubicBezTo>
                        <a:pt x="132" y="14"/>
                        <a:pt x="132" y="13"/>
                        <a:pt x="131" y="13"/>
                      </a:cubicBezTo>
                      <a:cubicBezTo>
                        <a:pt x="129" y="12"/>
                        <a:pt x="128" y="12"/>
                        <a:pt x="127" y="14"/>
                      </a:cubicBezTo>
                      <a:cubicBezTo>
                        <a:pt x="117" y="23"/>
                        <a:pt x="117" y="23"/>
                        <a:pt x="117" y="23"/>
                      </a:cubicBezTo>
                      <a:cubicBezTo>
                        <a:pt x="114" y="22"/>
                        <a:pt x="111" y="21"/>
                        <a:pt x="108" y="20"/>
                      </a:cubicBezTo>
                      <a:cubicBezTo>
                        <a:pt x="108" y="6"/>
                        <a:pt x="108" y="6"/>
                        <a:pt x="108" y="6"/>
                      </a:cubicBezTo>
                      <a:cubicBezTo>
                        <a:pt x="108" y="5"/>
                        <a:pt x="108" y="5"/>
                        <a:pt x="108" y="5"/>
                      </a:cubicBezTo>
                      <a:cubicBezTo>
                        <a:pt x="108" y="4"/>
                        <a:pt x="107" y="3"/>
                        <a:pt x="106" y="2"/>
                      </a:cubicBezTo>
                      <a:cubicBezTo>
                        <a:pt x="105" y="2"/>
                        <a:pt x="103" y="3"/>
                        <a:pt x="103" y="4"/>
                      </a:cubicBezTo>
                      <a:cubicBezTo>
                        <a:pt x="96" y="17"/>
                        <a:pt x="96" y="17"/>
                        <a:pt x="96" y="17"/>
                      </a:cubicBezTo>
                      <a:cubicBezTo>
                        <a:pt x="93" y="16"/>
                        <a:pt x="90" y="16"/>
                        <a:pt x="86" y="16"/>
                      </a:cubicBezTo>
                      <a:cubicBezTo>
                        <a:pt x="82" y="3"/>
                        <a:pt x="82" y="3"/>
                        <a:pt x="82" y="3"/>
                      </a:cubicBezTo>
                      <a:cubicBezTo>
                        <a:pt x="82" y="1"/>
                        <a:pt x="81" y="0"/>
                        <a:pt x="79" y="0"/>
                      </a:cubicBezTo>
                      <a:cubicBezTo>
                        <a:pt x="78" y="0"/>
                        <a:pt x="77" y="1"/>
                        <a:pt x="77" y="3"/>
                      </a:cubicBezTo>
                      <a:cubicBezTo>
                        <a:pt x="77" y="3"/>
                        <a:pt x="77" y="3"/>
                        <a:pt x="77" y="3"/>
                      </a:cubicBezTo>
                      <a:cubicBezTo>
                        <a:pt x="75" y="17"/>
                        <a:pt x="75" y="17"/>
                        <a:pt x="75" y="17"/>
                      </a:cubicBezTo>
                      <a:cubicBezTo>
                        <a:pt x="71" y="17"/>
                        <a:pt x="68" y="18"/>
                        <a:pt x="65" y="19"/>
                      </a:cubicBezTo>
                      <a:cubicBezTo>
                        <a:pt x="57" y="8"/>
                        <a:pt x="57" y="8"/>
                        <a:pt x="57" y="8"/>
                      </a:cubicBezTo>
                      <a:cubicBezTo>
                        <a:pt x="56" y="6"/>
                        <a:pt x="55" y="5"/>
                        <a:pt x="53" y="6"/>
                      </a:cubicBezTo>
                      <a:cubicBezTo>
                        <a:pt x="52" y="6"/>
                        <a:pt x="52" y="7"/>
                        <a:pt x="52" y="9"/>
                      </a:cubicBezTo>
                      <a:cubicBezTo>
                        <a:pt x="52" y="9"/>
                        <a:pt x="52" y="9"/>
                        <a:pt x="52" y="10"/>
                      </a:cubicBezTo>
                      <a:cubicBezTo>
                        <a:pt x="54" y="23"/>
                        <a:pt x="54" y="23"/>
                        <a:pt x="54" y="23"/>
                      </a:cubicBezTo>
                      <a:cubicBezTo>
                        <a:pt x="51" y="25"/>
                        <a:pt x="48" y="27"/>
                        <a:pt x="45" y="29"/>
                      </a:cubicBezTo>
                      <a:cubicBezTo>
                        <a:pt x="34" y="20"/>
                        <a:pt x="34" y="20"/>
                        <a:pt x="34" y="20"/>
                      </a:cubicBezTo>
                      <a:cubicBezTo>
                        <a:pt x="33" y="19"/>
                        <a:pt x="32" y="19"/>
                        <a:pt x="30" y="20"/>
                      </a:cubicBezTo>
                      <a:cubicBezTo>
                        <a:pt x="30" y="20"/>
                        <a:pt x="29" y="21"/>
                        <a:pt x="29" y="22"/>
                      </a:cubicBezTo>
                      <a:cubicBezTo>
                        <a:pt x="29" y="23"/>
                        <a:pt x="30" y="23"/>
                        <a:pt x="30" y="24"/>
                      </a:cubicBezTo>
                      <a:cubicBezTo>
                        <a:pt x="36" y="36"/>
                        <a:pt x="36" y="36"/>
                        <a:pt x="36" y="36"/>
                      </a:cubicBezTo>
                      <a:cubicBezTo>
                        <a:pt x="34" y="39"/>
                        <a:pt x="32" y="41"/>
                        <a:pt x="30" y="44"/>
                      </a:cubicBezTo>
                      <a:cubicBezTo>
                        <a:pt x="17" y="39"/>
                        <a:pt x="17" y="39"/>
                        <a:pt x="17" y="39"/>
                      </a:cubicBezTo>
                      <a:cubicBezTo>
                        <a:pt x="15" y="38"/>
                        <a:pt x="14" y="39"/>
                        <a:pt x="13" y="40"/>
                      </a:cubicBezTo>
                      <a:cubicBezTo>
                        <a:pt x="13" y="41"/>
                        <a:pt x="12" y="41"/>
                        <a:pt x="12" y="42"/>
                      </a:cubicBezTo>
                      <a:cubicBezTo>
                        <a:pt x="12" y="42"/>
                        <a:pt x="13" y="43"/>
                        <a:pt x="14" y="44"/>
                      </a:cubicBezTo>
                      <a:cubicBezTo>
                        <a:pt x="24" y="54"/>
                        <a:pt x="24" y="54"/>
                        <a:pt x="24" y="54"/>
                      </a:cubicBezTo>
                      <a:cubicBezTo>
                        <a:pt x="22" y="57"/>
                        <a:pt x="21" y="60"/>
                        <a:pt x="20" y="63"/>
                      </a:cubicBezTo>
                      <a:cubicBezTo>
                        <a:pt x="6" y="63"/>
                        <a:pt x="6" y="63"/>
                        <a:pt x="6" y="63"/>
                      </a:cubicBezTo>
                      <a:cubicBezTo>
                        <a:pt x="4" y="62"/>
                        <a:pt x="3" y="63"/>
                        <a:pt x="2" y="65"/>
                      </a:cubicBezTo>
                      <a:cubicBezTo>
                        <a:pt x="2" y="65"/>
                        <a:pt x="2" y="65"/>
                        <a:pt x="2" y="65"/>
                      </a:cubicBezTo>
                      <a:cubicBezTo>
                        <a:pt x="2" y="67"/>
                        <a:pt x="3" y="68"/>
                        <a:pt x="4" y="68"/>
                      </a:cubicBezTo>
                      <a:cubicBezTo>
                        <a:pt x="17" y="74"/>
                        <a:pt x="17" y="74"/>
                        <a:pt x="17" y="74"/>
                      </a:cubicBezTo>
                      <a:cubicBezTo>
                        <a:pt x="16" y="78"/>
                        <a:pt x="16" y="81"/>
                        <a:pt x="16" y="84"/>
                      </a:cubicBezTo>
                      <a:cubicBezTo>
                        <a:pt x="3" y="89"/>
                        <a:pt x="3" y="89"/>
                        <a:pt x="3" y="89"/>
                      </a:cubicBezTo>
                      <a:cubicBezTo>
                        <a:pt x="1" y="89"/>
                        <a:pt x="0" y="90"/>
                        <a:pt x="0" y="91"/>
                      </a:cubicBezTo>
                      <a:cubicBezTo>
                        <a:pt x="0" y="91"/>
                        <a:pt x="0" y="91"/>
                        <a:pt x="0" y="91"/>
                      </a:cubicBezTo>
                      <a:cubicBezTo>
                        <a:pt x="0" y="93"/>
                        <a:pt x="2" y="94"/>
                        <a:pt x="3" y="94"/>
                      </a:cubicBezTo>
                      <a:cubicBezTo>
                        <a:pt x="17" y="96"/>
                        <a:pt x="17" y="96"/>
                        <a:pt x="17" y="96"/>
                      </a:cubicBezTo>
                      <a:cubicBezTo>
                        <a:pt x="17" y="99"/>
                        <a:pt x="18" y="103"/>
                        <a:pt x="19" y="106"/>
                      </a:cubicBezTo>
                      <a:cubicBezTo>
                        <a:pt x="8" y="114"/>
                        <a:pt x="8" y="114"/>
                        <a:pt x="8" y="114"/>
                      </a:cubicBezTo>
                      <a:cubicBezTo>
                        <a:pt x="7" y="114"/>
                        <a:pt x="6" y="115"/>
                        <a:pt x="6" y="116"/>
                      </a:cubicBezTo>
                      <a:cubicBezTo>
                        <a:pt x="6" y="117"/>
                        <a:pt x="6" y="117"/>
                        <a:pt x="6" y="118"/>
                      </a:cubicBezTo>
                      <a:cubicBezTo>
                        <a:pt x="7" y="119"/>
                        <a:pt x="8" y="120"/>
                        <a:pt x="10" y="119"/>
                      </a:cubicBezTo>
                      <a:cubicBezTo>
                        <a:pt x="24" y="117"/>
                        <a:pt x="24" y="117"/>
                        <a:pt x="24" y="117"/>
                      </a:cubicBezTo>
                      <a:cubicBezTo>
                        <a:pt x="25" y="120"/>
                        <a:pt x="27" y="123"/>
                        <a:pt x="29" y="125"/>
                      </a:cubicBezTo>
                      <a:cubicBezTo>
                        <a:pt x="20" y="137"/>
                        <a:pt x="20" y="137"/>
                        <a:pt x="20" y="137"/>
                      </a:cubicBezTo>
                      <a:cubicBezTo>
                        <a:pt x="20" y="137"/>
                        <a:pt x="19" y="138"/>
                        <a:pt x="19" y="139"/>
                      </a:cubicBezTo>
                      <a:cubicBezTo>
                        <a:pt x="19" y="139"/>
                        <a:pt x="20" y="140"/>
                        <a:pt x="20" y="140"/>
                      </a:cubicBezTo>
                      <a:cubicBezTo>
                        <a:pt x="21" y="142"/>
                        <a:pt x="23" y="142"/>
                        <a:pt x="24" y="141"/>
                      </a:cubicBezTo>
                      <a:cubicBezTo>
                        <a:pt x="36" y="134"/>
                        <a:pt x="36" y="134"/>
                        <a:pt x="36" y="134"/>
                      </a:cubicBezTo>
                      <a:cubicBezTo>
                        <a:pt x="39" y="137"/>
                        <a:pt x="41" y="139"/>
                        <a:pt x="44" y="141"/>
                      </a:cubicBezTo>
                      <a:cubicBezTo>
                        <a:pt x="39" y="154"/>
                        <a:pt x="39" y="154"/>
                        <a:pt x="39" y="154"/>
                      </a:cubicBezTo>
                      <a:cubicBezTo>
                        <a:pt x="39" y="155"/>
                        <a:pt x="39" y="155"/>
                        <a:pt x="39" y="156"/>
                      </a:cubicBezTo>
                      <a:cubicBezTo>
                        <a:pt x="39" y="157"/>
                        <a:pt x="39" y="157"/>
                        <a:pt x="40" y="158"/>
                      </a:cubicBezTo>
                      <a:cubicBezTo>
                        <a:pt x="42" y="159"/>
                        <a:pt x="43" y="158"/>
                        <a:pt x="44" y="157"/>
                      </a:cubicBezTo>
                      <a:cubicBezTo>
                        <a:pt x="54" y="147"/>
                        <a:pt x="54" y="147"/>
                        <a:pt x="54" y="147"/>
                      </a:cubicBezTo>
                      <a:cubicBezTo>
                        <a:pt x="57" y="149"/>
                        <a:pt x="60" y="150"/>
                        <a:pt x="63" y="151"/>
                      </a:cubicBezTo>
                      <a:cubicBezTo>
                        <a:pt x="63" y="165"/>
                        <a:pt x="63" y="165"/>
                        <a:pt x="63" y="165"/>
                      </a:cubicBezTo>
                      <a:cubicBezTo>
                        <a:pt x="63" y="165"/>
                        <a:pt x="63" y="166"/>
                        <a:pt x="63" y="166"/>
                      </a:cubicBezTo>
                      <a:cubicBezTo>
                        <a:pt x="63" y="167"/>
                        <a:pt x="64" y="168"/>
                        <a:pt x="65" y="168"/>
                      </a:cubicBezTo>
                      <a:cubicBezTo>
                        <a:pt x="66" y="169"/>
                        <a:pt x="68" y="168"/>
                        <a:pt x="68" y="166"/>
                      </a:cubicBezTo>
                      <a:cubicBezTo>
                        <a:pt x="75" y="154"/>
                        <a:pt x="75" y="154"/>
                        <a:pt x="75" y="154"/>
                      </a:cubicBezTo>
                      <a:cubicBezTo>
                        <a:pt x="78" y="154"/>
                        <a:pt x="81" y="155"/>
                        <a:pt x="85" y="155"/>
                      </a:cubicBezTo>
                      <a:cubicBezTo>
                        <a:pt x="89" y="168"/>
                        <a:pt x="89" y="168"/>
                        <a:pt x="89" y="168"/>
                      </a:cubicBezTo>
                      <a:cubicBezTo>
                        <a:pt x="89" y="170"/>
                        <a:pt x="90" y="171"/>
                        <a:pt x="91" y="171"/>
                      </a:cubicBezTo>
                      <a:cubicBezTo>
                        <a:pt x="91" y="171"/>
                        <a:pt x="92" y="171"/>
                        <a:pt x="92" y="171"/>
                      </a:cubicBezTo>
                      <a:cubicBezTo>
                        <a:pt x="93" y="171"/>
                        <a:pt x="94" y="169"/>
                        <a:pt x="94" y="168"/>
                      </a:cubicBezTo>
                      <a:cubicBezTo>
                        <a:pt x="94" y="168"/>
                        <a:pt x="94" y="168"/>
                        <a:pt x="94" y="168"/>
                      </a:cubicBezTo>
                      <a:cubicBezTo>
                        <a:pt x="96" y="154"/>
                        <a:pt x="96" y="154"/>
                        <a:pt x="96" y="154"/>
                      </a:cubicBezTo>
                      <a:cubicBezTo>
                        <a:pt x="100" y="153"/>
                        <a:pt x="103" y="153"/>
                        <a:pt x="106" y="152"/>
                      </a:cubicBezTo>
                      <a:cubicBezTo>
                        <a:pt x="114" y="163"/>
                        <a:pt x="114" y="163"/>
                        <a:pt x="114" y="163"/>
                      </a:cubicBezTo>
                      <a:cubicBezTo>
                        <a:pt x="115" y="165"/>
                        <a:pt x="116" y="165"/>
                        <a:pt x="118" y="165"/>
                      </a:cubicBezTo>
                      <a:cubicBezTo>
                        <a:pt x="119" y="164"/>
                        <a:pt x="119" y="163"/>
                        <a:pt x="119" y="162"/>
                      </a:cubicBezTo>
                      <a:cubicBezTo>
                        <a:pt x="119" y="162"/>
                        <a:pt x="119" y="161"/>
                        <a:pt x="119" y="161"/>
                      </a:cubicBezTo>
                      <a:cubicBezTo>
                        <a:pt x="117" y="147"/>
                        <a:pt x="117" y="147"/>
                        <a:pt x="117" y="147"/>
                      </a:cubicBezTo>
                      <a:cubicBezTo>
                        <a:pt x="120" y="146"/>
                        <a:pt x="123" y="144"/>
                        <a:pt x="126" y="142"/>
                      </a:cubicBezTo>
                      <a:cubicBezTo>
                        <a:pt x="137" y="150"/>
                        <a:pt x="137" y="150"/>
                        <a:pt x="137" y="150"/>
                      </a:cubicBezTo>
                      <a:cubicBezTo>
                        <a:pt x="138" y="152"/>
                        <a:pt x="139" y="152"/>
                        <a:pt x="141" y="151"/>
                      </a:cubicBezTo>
                      <a:cubicBezTo>
                        <a:pt x="141" y="150"/>
                        <a:pt x="142" y="149"/>
                        <a:pt x="142" y="149"/>
                      </a:cubicBezTo>
                      <a:cubicBezTo>
                        <a:pt x="142" y="148"/>
                        <a:pt x="141" y="147"/>
                        <a:pt x="141" y="147"/>
                      </a:cubicBezTo>
                      <a:cubicBezTo>
                        <a:pt x="135" y="134"/>
                        <a:pt x="135" y="134"/>
                        <a:pt x="135" y="134"/>
                      </a:cubicBezTo>
                      <a:cubicBezTo>
                        <a:pt x="137" y="132"/>
                        <a:pt x="139" y="130"/>
                        <a:pt x="141" y="127"/>
                      </a:cubicBezTo>
                      <a:cubicBezTo>
                        <a:pt x="154" y="131"/>
                        <a:pt x="154" y="131"/>
                        <a:pt x="154" y="131"/>
                      </a:cubicBezTo>
                      <a:cubicBezTo>
                        <a:pt x="156" y="132"/>
                        <a:pt x="157" y="132"/>
                        <a:pt x="158" y="131"/>
                      </a:cubicBezTo>
                      <a:cubicBezTo>
                        <a:pt x="158" y="130"/>
                        <a:pt x="159" y="130"/>
                        <a:pt x="159" y="129"/>
                      </a:cubicBezTo>
                      <a:cubicBezTo>
                        <a:pt x="159" y="128"/>
                        <a:pt x="158" y="127"/>
                        <a:pt x="157" y="127"/>
                      </a:cubicBezTo>
                      <a:cubicBezTo>
                        <a:pt x="147" y="117"/>
                        <a:pt x="147" y="117"/>
                        <a:pt x="147" y="117"/>
                      </a:cubicBezTo>
                      <a:cubicBezTo>
                        <a:pt x="149" y="114"/>
                        <a:pt x="150" y="111"/>
                        <a:pt x="151" y="108"/>
                      </a:cubicBezTo>
                      <a:cubicBezTo>
                        <a:pt x="165" y="108"/>
                        <a:pt x="165" y="108"/>
                        <a:pt x="165" y="108"/>
                      </a:cubicBezTo>
                      <a:cubicBezTo>
                        <a:pt x="167" y="108"/>
                        <a:pt x="168" y="107"/>
                        <a:pt x="169" y="106"/>
                      </a:cubicBezTo>
                      <a:cubicBezTo>
                        <a:pt x="169" y="106"/>
                        <a:pt x="169" y="105"/>
                        <a:pt x="169" y="105"/>
                      </a:cubicBezTo>
                      <a:cubicBezTo>
                        <a:pt x="169" y="104"/>
                        <a:pt x="168" y="103"/>
                        <a:pt x="167" y="103"/>
                      </a:cubicBezTo>
                      <a:cubicBezTo>
                        <a:pt x="154" y="96"/>
                        <a:pt x="154" y="96"/>
                        <a:pt x="154" y="96"/>
                      </a:cubicBezTo>
                      <a:cubicBezTo>
                        <a:pt x="155" y="93"/>
                        <a:pt x="155" y="90"/>
                        <a:pt x="155" y="86"/>
                      </a:cubicBezTo>
                      <a:lnTo>
                        <a:pt x="168" y="82"/>
                      </a:lnTo>
                      <a:close/>
                      <a:moveTo>
                        <a:pt x="86" y="101"/>
                      </a:moveTo>
                      <a:cubicBezTo>
                        <a:pt x="77" y="101"/>
                        <a:pt x="70" y="94"/>
                        <a:pt x="70" y="85"/>
                      </a:cubicBezTo>
                      <a:cubicBezTo>
                        <a:pt x="70" y="77"/>
                        <a:pt x="77" y="70"/>
                        <a:pt x="86" y="70"/>
                      </a:cubicBezTo>
                      <a:cubicBezTo>
                        <a:pt x="94" y="70"/>
                        <a:pt x="101" y="77"/>
                        <a:pt x="101" y="85"/>
                      </a:cubicBezTo>
                      <a:cubicBezTo>
                        <a:pt x="101" y="94"/>
                        <a:pt x="94" y="101"/>
                        <a:pt x="86" y="10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9" name="Freeform 20"/>
                <p:cNvSpPr>
                  <a:spLocks noEditPoints="1"/>
                </p:cNvSpPr>
                <p:nvPr/>
              </p:nvSpPr>
              <p:spPr bwMode="auto">
                <a:xfrm>
                  <a:off x="-1333500" y="1651000"/>
                  <a:ext cx="454025" cy="454025"/>
                </a:xfrm>
                <a:custGeom>
                  <a:avLst/>
                  <a:gdLst>
                    <a:gd name="T0" fmla="*/ 121 w 121"/>
                    <a:gd name="T1" fmla="*/ 56 h 121"/>
                    <a:gd name="T2" fmla="*/ 119 w 121"/>
                    <a:gd name="T3" fmla="*/ 54 h 121"/>
                    <a:gd name="T4" fmla="*/ 108 w 121"/>
                    <a:gd name="T5" fmla="*/ 46 h 121"/>
                    <a:gd name="T6" fmla="*/ 117 w 121"/>
                    <a:gd name="T7" fmla="*/ 38 h 121"/>
                    <a:gd name="T8" fmla="*/ 115 w 121"/>
                    <a:gd name="T9" fmla="*/ 37 h 121"/>
                    <a:gd name="T10" fmla="*/ 101 w 121"/>
                    <a:gd name="T11" fmla="*/ 32 h 121"/>
                    <a:gd name="T12" fmla="*/ 108 w 121"/>
                    <a:gd name="T13" fmla="*/ 23 h 121"/>
                    <a:gd name="T14" fmla="*/ 105 w 121"/>
                    <a:gd name="T15" fmla="*/ 21 h 121"/>
                    <a:gd name="T16" fmla="*/ 90 w 121"/>
                    <a:gd name="T17" fmla="*/ 21 h 121"/>
                    <a:gd name="T18" fmla="*/ 94 w 121"/>
                    <a:gd name="T19" fmla="*/ 11 h 121"/>
                    <a:gd name="T20" fmla="*/ 90 w 121"/>
                    <a:gd name="T21" fmla="*/ 10 h 121"/>
                    <a:gd name="T22" fmla="*/ 77 w 121"/>
                    <a:gd name="T23" fmla="*/ 14 h 121"/>
                    <a:gd name="T24" fmla="*/ 77 w 121"/>
                    <a:gd name="T25" fmla="*/ 3 h 121"/>
                    <a:gd name="T26" fmla="*/ 73 w 121"/>
                    <a:gd name="T27" fmla="*/ 3 h 121"/>
                    <a:gd name="T28" fmla="*/ 61 w 121"/>
                    <a:gd name="T29" fmla="*/ 11 h 121"/>
                    <a:gd name="T30" fmla="*/ 56 w 121"/>
                    <a:gd name="T31" fmla="*/ 0 h 121"/>
                    <a:gd name="T32" fmla="*/ 55 w 121"/>
                    <a:gd name="T33" fmla="*/ 2 h 121"/>
                    <a:gd name="T34" fmla="*/ 46 w 121"/>
                    <a:gd name="T35" fmla="*/ 13 h 121"/>
                    <a:gd name="T36" fmla="*/ 38 w 121"/>
                    <a:gd name="T37" fmla="*/ 4 h 121"/>
                    <a:gd name="T38" fmla="*/ 37 w 121"/>
                    <a:gd name="T39" fmla="*/ 7 h 121"/>
                    <a:gd name="T40" fmla="*/ 32 w 121"/>
                    <a:gd name="T41" fmla="*/ 20 h 121"/>
                    <a:gd name="T42" fmla="*/ 22 w 121"/>
                    <a:gd name="T43" fmla="*/ 14 h 121"/>
                    <a:gd name="T44" fmla="*/ 21 w 121"/>
                    <a:gd name="T45" fmla="*/ 17 h 121"/>
                    <a:gd name="T46" fmla="*/ 21 w 121"/>
                    <a:gd name="T47" fmla="*/ 31 h 121"/>
                    <a:gd name="T48" fmla="*/ 9 w 121"/>
                    <a:gd name="T49" fmla="*/ 28 h 121"/>
                    <a:gd name="T50" fmla="*/ 10 w 121"/>
                    <a:gd name="T51" fmla="*/ 31 h 121"/>
                    <a:gd name="T52" fmla="*/ 14 w 121"/>
                    <a:gd name="T53" fmla="*/ 45 h 121"/>
                    <a:gd name="T54" fmla="*/ 2 w 121"/>
                    <a:gd name="T55" fmla="*/ 46 h 121"/>
                    <a:gd name="T56" fmla="*/ 3 w 121"/>
                    <a:gd name="T57" fmla="*/ 48 h 121"/>
                    <a:gd name="T58" fmla="*/ 11 w 121"/>
                    <a:gd name="T59" fmla="*/ 60 h 121"/>
                    <a:gd name="T60" fmla="*/ 0 w 121"/>
                    <a:gd name="T61" fmla="*/ 65 h 121"/>
                    <a:gd name="T62" fmla="*/ 2 w 121"/>
                    <a:gd name="T63" fmla="*/ 67 h 121"/>
                    <a:gd name="T64" fmla="*/ 14 w 121"/>
                    <a:gd name="T65" fmla="*/ 75 h 121"/>
                    <a:gd name="T66" fmla="*/ 4 w 121"/>
                    <a:gd name="T67" fmla="*/ 83 h 121"/>
                    <a:gd name="T68" fmla="*/ 7 w 121"/>
                    <a:gd name="T69" fmla="*/ 84 h 121"/>
                    <a:gd name="T70" fmla="*/ 20 w 121"/>
                    <a:gd name="T71" fmla="*/ 89 h 121"/>
                    <a:gd name="T72" fmla="*/ 14 w 121"/>
                    <a:gd name="T73" fmla="*/ 98 h 121"/>
                    <a:gd name="T74" fmla="*/ 17 w 121"/>
                    <a:gd name="T75" fmla="*/ 100 h 121"/>
                    <a:gd name="T76" fmla="*/ 31 w 121"/>
                    <a:gd name="T77" fmla="*/ 100 h 121"/>
                    <a:gd name="T78" fmla="*/ 28 w 121"/>
                    <a:gd name="T79" fmla="*/ 110 h 121"/>
                    <a:gd name="T80" fmla="*/ 31 w 121"/>
                    <a:gd name="T81" fmla="*/ 112 h 121"/>
                    <a:gd name="T82" fmla="*/ 45 w 121"/>
                    <a:gd name="T83" fmla="*/ 107 h 121"/>
                    <a:gd name="T84" fmla="*/ 45 w 121"/>
                    <a:gd name="T85" fmla="*/ 118 h 121"/>
                    <a:gd name="T86" fmla="*/ 49 w 121"/>
                    <a:gd name="T87" fmla="*/ 118 h 121"/>
                    <a:gd name="T88" fmla="*/ 60 w 121"/>
                    <a:gd name="T89" fmla="*/ 110 h 121"/>
                    <a:gd name="T90" fmla="*/ 65 w 121"/>
                    <a:gd name="T91" fmla="*/ 121 h 121"/>
                    <a:gd name="T92" fmla="*/ 67 w 121"/>
                    <a:gd name="T93" fmla="*/ 119 h 121"/>
                    <a:gd name="T94" fmla="*/ 68 w 121"/>
                    <a:gd name="T95" fmla="*/ 109 h 121"/>
                    <a:gd name="T96" fmla="*/ 81 w 121"/>
                    <a:gd name="T97" fmla="*/ 116 h 121"/>
                    <a:gd name="T98" fmla="*/ 85 w 121"/>
                    <a:gd name="T99" fmla="*/ 115 h 121"/>
                    <a:gd name="T100" fmla="*/ 83 w 121"/>
                    <a:gd name="T101" fmla="*/ 104 h 121"/>
                    <a:gd name="T102" fmla="*/ 97 w 121"/>
                    <a:gd name="T103" fmla="*/ 107 h 121"/>
                    <a:gd name="T104" fmla="*/ 101 w 121"/>
                    <a:gd name="T105" fmla="*/ 106 h 121"/>
                    <a:gd name="T106" fmla="*/ 96 w 121"/>
                    <a:gd name="T107" fmla="*/ 95 h 121"/>
                    <a:gd name="T108" fmla="*/ 110 w 121"/>
                    <a:gd name="T109" fmla="*/ 93 h 121"/>
                    <a:gd name="T110" fmla="*/ 113 w 121"/>
                    <a:gd name="T111" fmla="*/ 92 h 121"/>
                    <a:gd name="T112" fmla="*/ 105 w 121"/>
                    <a:gd name="T113" fmla="*/ 83 h 121"/>
                    <a:gd name="T114" fmla="*/ 117 w 121"/>
                    <a:gd name="T115" fmla="*/ 77 h 121"/>
                    <a:gd name="T116" fmla="*/ 120 w 121"/>
                    <a:gd name="T117" fmla="*/ 75 h 121"/>
                    <a:gd name="T118" fmla="*/ 109 w 121"/>
                    <a:gd name="T119" fmla="*/ 68 h 121"/>
                    <a:gd name="T120" fmla="*/ 120 w 121"/>
                    <a:gd name="T121" fmla="*/ 58 h 121"/>
                    <a:gd name="T122" fmla="*/ 50 w 121"/>
                    <a:gd name="T123" fmla="*/ 61 h 121"/>
                    <a:gd name="T124" fmla="*/ 72 w 121"/>
                    <a:gd name="T125" fmla="*/ 6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1" h="121">
                      <a:moveTo>
                        <a:pt x="120" y="58"/>
                      </a:moveTo>
                      <a:cubicBezTo>
                        <a:pt x="121" y="58"/>
                        <a:pt x="121" y="57"/>
                        <a:pt x="121" y="56"/>
                      </a:cubicBezTo>
                      <a:cubicBezTo>
                        <a:pt x="121" y="56"/>
                        <a:pt x="121" y="56"/>
                        <a:pt x="121" y="56"/>
                      </a:cubicBezTo>
                      <a:cubicBezTo>
                        <a:pt x="121" y="55"/>
                        <a:pt x="120" y="54"/>
                        <a:pt x="119" y="54"/>
                      </a:cubicBezTo>
                      <a:cubicBezTo>
                        <a:pt x="110" y="53"/>
                        <a:pt x="110" y="53"/>
                        <a:pt x="110" y="53"/>
                      </a:cubicBezTo>
                      <a:cubicBezTo>
                        <a:pt x="109" y="50"/>
                        <a:pt x="109" y="48"/>
                        <a:pt x="108" y="46"/>
                      </a:cubicBezTo>
                      <a:cubicBezTo>
                        <a:pt x="116" y="40"/>
                        <a:pt x="116" y="40"/>
                        <a:pt x="116" y="40"/>
                      </a:cubicBezTo>
                      <a:cubicBezTo>
                        <a:pt x="117" y="40"/>
                        <a:pt x="117" y="39"/>
                        <a:pt x="117" y="38"/>
                      </a:cubicBezTo>
                      <a:cubicBezTo>
                        <a:pt x="117" y="38"/>
                        <a:pt x="117" y="38"/>
                        <a:pt x="117" y="38"/>
                      </a:cubicBezTo>
                      <a:cubicBezTo>
                        <a:pt x="117" y="37"/>
                        <a:pt x="116" y="36"/>
                        <a:pt x="115" y="37"/>
                      </a:cubicBezTo>
                      <a:cubicBezTo>
                        <a:pt x="105" y="38"/>
                        <a:pt x="105" y="38"/>
                        <a:pt x="105" y="38"/>
                      </a:cubicBezTo>
                      <a:cubicBezTo>
                        <a:pt x="104" y="36"/>
                        <a:pt x="102" y="34"/>
                        <a:pt x="101" y="32"/>
                      </a:cubicBezTo>
                      <a:cubicBezTo>
                        <a:pt x="107" y="24"/>
                        <a:pt x="107" y="24"/>
                        <a:pt x="107" y="24"/>
                      </a:cubicBezTo>
                      <a:cubicBezTo>
                        <a:pt x="108" y="24"/>
                        <a:pt x="108" y="23"/>
                        <a:pt x="108" y="23"/>
                      </a:cubicBezTo>
                      <a:cubicBezTo>
                        <a:pt x="108" y="22"/>
                        <a:pt x="108" y="22"/>
                        <a:pt x="107" y="21"/>
                      </a:cubicBezTo>
                      <a:cubicBezTo>
                        <a:pt x="107" y="21"/>
                        <a:pt x="105" y="20"/>
                        <a:pt x="105" y="21"/>
                      </a:cubicBezTo>
                      <a:cubicBezTo>
                        <a:pt x="96" y="26"/>
                        <a:pt x="96" y="26"/>
                        <a:pt x="96" y="26"/>
                      </a:cubicBezTo>
                      <a:cubicBezTo>
                        <a:pt x="94" y="24"/>
                        <a:pt x="92" y="22"/>
                        <a:pt x="90" y="21"/>
                      </a:cubicBezTo>
                      <a:cubicBezTo>
                        <a:pt x="94" y="12"/>
                        <a:pt x="94" y="12"/>
                        <a:pt x="94" y="12"/>
                      </a:cubicBezTo>
                      <a:cubicBezTo>
                        <a:pt x="94" y="11"/>
                        <a:pt x="94" y="11"/>
                        <a:pt x="94" y="11"/>
                      </a:cubicBezTo>
                      <a:cubicBezTo>
                        <a:pt x="94" y="10"/>
                        <a:pt x="94" y="9"/>
                        <a:pt x="93" y="9"/>
                      </a:cubicBezTo>
                      <a:cubicBezTo>
                        <a:pt x="92" y="8"/>
                        <a:pt x="91" y="9"/>
                        <a:pt x="90" y="10"/>
                      </a:cubicBezTo>
                      <a:cubicBezTo>
                        <a:pt x="83" y="17"/>
                        <a:pt x="83" y="17"/>
                        <a:pt x="83" y="17"/>
                      </a:cubicBezTo>
                      <a:cubicBezTo>
                        <a:pt x="81" y="15"/>
                        <a:pt x="79" y="15"/>
                        <a:pt x="77" y="14"/>
                      </a:cubicBezTo>
                      <a:cubicBezTo>
                        <a:pt x="77" y="4"/>
                        <a:pt x="77" y="4"/>
                        <a:pt x="77" y="4"/>
                      </a:cubicBezTo>
                      <a:cubicBezTo>
                        <a:pt x="77" y="4"/>
                        <a:pt x="77" y="4"/>
                        <a:pt x="77" y="3"/>
                      </a:cubicBezTo>
                      <a:cubicBezTo>
                        <a:pt x="77" y="2"/>
                        <a:pt x="76" y="2"/>
                        <a:pt x="75" y="1"/>
                      </a:cubicBezTo>
                      <a:cubicBezTo>
                        <a:pt x="74" y="1"/>
                        <a:pt x="73" y="2"/>
                        <a:pt x="73" y="3"/>
                      </a:cubicBezTo>
                      <a:cubicBezTo>
                        <a:pt x="69" y="12"/>
                        <a:pt x="69" y="12"/>
                        <a:pt x="69" y="12"/>
                      </a:cubicBezTo>
                      <a:cubicBezTo>
                        <a:pt x="66" y="11"/>
                        <a:pt x="64" y="11"/>
                        <a:pt x="61" y="11"/>
                      </a:cubicBezTo>
                      <a:cubicBezTo>
                        <a:pt x="59" y="2"/>
                        <a:pt x="59" y="2"/>
                        <a:pt x="59" y="2"/>
                      </a:cubicBezTo>
                      <a:cubicBezTo>
                        <a:pt x="58" y="1"/>
                        <a:pt x="58" y="0"/>
                        <a:pt x="56" y="0"/>
                      </a:cubicBezTo>
                      <a:cubicBezTo>
                        <a:pt x="55" y="0"/>
                        <a:pt x="55" y="1"/>
                        <a:pt x="55" y="2"/>
                      </a:cubicBezTo>
                      <a:cubicBezTo>
                        <a:pt x="55" y="2"/>
                        <a:pt x="55" y="2"/>
                        <a:pt x="55" y="2"/>
                      </a:cubicBezTo>
                      <a:cubicBezTo>
                        <a:pt x="53" y="12"/>
                        <a:pt x="53" y="12"/>
                        <a:pt x="53" y="12"/>
                      </a:cubicBezTo>
                      <a:cubicBezTo>
                        <a:pt x="51" y="12"/>
                        <a:pt x="48" y="13"/>
                        <a:pt x="46" y="13"/>
                      </a:cubicBezTo>
                      <a:cubicBezTo>
                        <a:pt x="40" y="5"/>
                        <a:pt x="40" y="5"/>
                        <a:pt x="40" y="5"/>
                      </a:cubicBezTo>
                      <a:cubicBezTo>
                        <a:pt x="40" y="4"/>
                        <a:pt x="39" y="4"/>
                        <a:pt x="38" y="4"/>
                      </a:cubicBezTo>
                      <a:cubicBezTo>
                        <a:pt x="37" y="4"/>
                        <a:pt x="37" y="5"/>
                        <a:pt x="37" y="6"/>
                      </a:cubicBezTo>
                      <a:cubicBezTo>
                        <a:pt x="37" y="6"/>
                        <a:pt x="37" y="6"/>
                        <a:pt x="37" y="7"/>
                      </a:cubicBezTo>
                      <a:cubicBezTo>
                        <a:pt x="38" y="17"/>
                        <a:pt x="38" y="17"/>
                        <a:pt x="38" y="17"/>
                      </a:cubicBezTo>
                      <a:cubicBezTo>
                        <a:pt x="36" y="18"/>
                        <a:pt x="34" y="19"/>
                        <a:pt x="32" y="20"/>
                      </a:cubicBezTo>
                      <a:cubicBezTo>
                        <a:pt x="24" y="14"/>
                        <a:pt x="24" y="14"/>
                        <a:pt x="24" y="14"/>
                      </a:cubicBezTo>
                      <a:cubicBezTo>
                        <a:pt x="24" y="13"/>
                        <a:pt x="22" y="13"/>
                        <a:pt x="22" y="14"/>
                      </a:cubicBezTo>
                      <a:cubicBezTo>
                        <a:pt x="21" y="14"/>
                        <a:pt x="21" y="15"/>
                        <a:pt x="21" y="15"/>
                      </a:cubicBezTo>
                      <a:cubicBezTo>
                        <a:pt x="21" y="16"/>
                        <a:pt x="21" y="16"/>
                        <a:pt x="21" y="17"/>
                      </a:cubicBezTo>
                      <a:cubicBezTo>
                        <a:pt x="26" y="26"/>
                        <a:pt x="26" y="26"/>
                        <a:pt x="26" y="26"/>
                      </a:cubicBezTo>
                      <a:cubicBezTo>
                        <a:pt x="24" y="27"/>
                        <a:pt x="23" y="29"/>
                        <a:pt x="21" y="31"/>
                      </a:cubicBezTo>
                      <a:cubicBezTo>
                        <a:pt x="12" y="28"/>
                        <a:pt x="12" y="28"/>
                        <a:pt x="12" y="28"/>
                      </a:cubicBezTo>
                      <a:cubicBezTo>
                        <a:pt x="11" y="27"/>
                        <a:pt x="10" y="27"/>
                        <a:pt x="9" y="28"/>
                      </a:cubicBezTo>
                      <a:cubicBezTo>
                        <a:pt x="9" y="29"/>
                        <a:pt x="9" y="29"/>
                        <a:pt x="9" y="29"/>
                      </a:cubicBezTo>
                      <a:cubicBezTo>
                        <a:pt x="9" y="30"/>
                        <a:pt x="9" y="31"/>
                        <a:pt x="10" y="31"/>
                      </a:cubicBezTo>
                      <a:cubicBezTo>
                        <a:pt x="17" y="38"/>
                        <a:pt x="17" y="38"/>
                        <a:pt x="17" y="38"/>
                      </a:cubicBezTo>
                      <a:cubicBezTo>
                        <a:pt x="16" y="40"/>
                        <a:pt x="15" y="42"/>
                        <a:pt x="14" y="45"/>
                      </a:cubicBezTo>
                      <a:cubicBezTo>
                        <a:pt x="4" y="44"/>
                        <a:pt x="4" y="44"/>
                        <a:pt x="4" y="44"/>
                      </a:cubicBezTo>
                      <a:cubicBezTo>
                        <a:pt x="3" y="44"/>
                        <a:pt x="2" y="45"/>
                        <a:pt x="2" y="46"/>
                      </a:cubicBezTo>
                      <a:cubicBezTo>
                        <a:pt x="2" y="46"/>
                        <a:pt x="2" y="46"/>
                        <a:pt x="2" y="46"/>
                      </a:cubicBezTo>
                      <a:cubicBezTo>
                        <a:pt x="2" y="47"/>
                        <a:pt x="2" y="48"/>
                        <a:pt x="3" y="48"/>
                      </a:cubicBezTo>
                      <a:cubicBezTo>
                        <a:pt x="12" y="53"/>
                        <a:pt x="12" y="53"/>
                        <a:pt x="12" y="53"/>
                      </a:cubicBezTo>
                      <a:cubicBezTo>
                        <a:pt x="12" y="55"/>
                        <a:pt x="11" y="57"/>
                        <a:pt x="11" y="60"/>
                      </a:cubicBezTo>
                      <a:cubicBezTo>
                        <a:pt x="2" y="63"/>
                        <a:pt x="2" y="63"/>
                        <a:pt x="2" y="63"/>
                      </a:cubicBezTo>
                      <a:cubicBezTo>
                        <a:pt x="1" y="63"/>
                        <a:pt x="0" y="64"/>
                        <a:pt x="0" y="65"/>
                      </a:cubicBezTo>
                      <a:cubicBezTo>
                        <a:pt x="0" y="65"/>
                        <a:pt x="0" y="65"/>
                        <a:pt x="0" y="65"/>
                      </a:cubicBezTo>
                      <a:cubicBezTo>
                        <a:pt x="0" y="66"/>
                        <a:pt x="1" y="67"/>
                        <a:pt x="2" y="67"/>
                      </a:cubicBezTo>
                      <a:cubicBezTo>
                        <a:pt x="12" y="68"/>
                        <a:pt x="12" y="68"/>
                        <a:pt x="12" y="68"/>
                      </a:cubicBezTo>
                      <a:cubicBezTo>
                        <a:pt x="12" y="71"/>
                        <a:pt x="13" y="73"/>
                        <a:pt x="14" y="75"/>
                      </a:cubicBezTo>
                      <a:cubicBezTo>
                        <a:pt x="5" y="81"/>
                        <a:pt x="5" y="81"/>
                        <a:pt x="5" y="81"/>
                      </a:cubicBezTo>
                      <a:cubicBezTo>
                        <a:pt x="5" y="81"/>
                        <a:pt x="4" y="82"/>
                        <a:pt x="4" y="83"/>
                      </a:cubicBezTo>
                      <a:cubicBezTo>
                        <a:pt x="4" y="83"/>
                        <a:pt x="4" y="83"/>
                        <a:pt x="4" y="83"/>
                      </a:cubicBezTo>
                      <a:cubicBezTo>
                        <a:pt x="5" y="84"/>
                        <a:pt x="6" y="85"/>
                        <a:pt x="7" y="84"/>
                      </a:cubicBezTo>
                      <a:cubicBezTo>
                        <a:pt x="17" y="83"/>
                        <a:pt x="17" y="83"/>
                        <a:pt x="17" y="83"/>
                      </a:cubicBezTo>
                      <a:cubicBezTo>
                        <a:pt x="18" y="85"/>
                        <a:pt x="19" y="87"/>
                        <a:pt x="20" y="89"/>
                      </a:cubicBezTo>
                      <a:cubicBezTo>
                        <a:pt x="14" y="97"/>
                        <a:pt x="14" y="97"/>
                        <a:pt x="14" y="97"/>
                      </a:cubicBezTo>
                      <a:cubicBezTo>
                        <a:pt x="14" y="97"/>
                        <a:pt x="14" y="98"/>
                        <a:pt x="14" y="98"/>
                      </a:cubicBezTo>
                      <a:cubicBezTo>
                        <a:pt x="14" y="99"/>
                        <a:pt x="14" y="99"/>
                        <a:pt x="14" y="100"/>
                      </a:cubicBezTo>
                      <a:cubicBezTo>
                        <a:pt x="15" y="100"/>
                        <a:pt x="16" y="101"/>
                        <a:pt x="17" y="100"/>
                      </a:cubicBezTo>
                      <a:cubicBezTo>
                        <a:pt x="26" y="95"/>
                        <a:pt x="26" y="95"/>
                        <a:pt x="26" y="95"/>
                      </a:cubicBezTo>
                      <a:cubicBezTo>
                        <a:pt x="28" y="97"/>
                        <a:pt x="29" y="99"/>
                        <a:pt x="31" y="100"/>
                      </a:cubicBezTo>
                      <a:cubicBezTo>
                        <a:pt x="28" y="109"/>
                        <a:pt x="28" y="109"/>
                        <a:pt x="28" y="109"/>
                      </a:cubicBezTo>
                      <a:cubicBezTo>
                        <a:pt x="28" y="110"/>
                        <a:pt x="28" y="110"/>
                        <a:pt x="28" y="110"/>
                      </a:cubicBezTo>
                      <a:cubicBezTo>
                        <a:pt x="28" y="111"/>
                        <a:pt x="28" y="112"/>
                        <a:pt x="29" y="112"/>
                      </a:cubicBezTo>
                      <a:cubicBezTo>
                        <a:pt x="30" y="113"/>
                        <a:pt x="31" y="112"/>
                        <a:pt x="31" y="112"/>
                      </a:cubicBezTo>
                      <a:cubicBezTo>
                        <a:pt x="38" y="104"/>
                        <a:pt x="38" y="104"/>
                        <a:pt x="38" y="104"/>
                      </a:cubicBezTo>
                      <a:cubicBezTo>
                        <a:pt x="40" y="106"/>
                        <a:pt x="43" y="106"/>
                        <a:pt x="45" y="107"/>
                      </a:cubicBezTo>
                      <a:cubicBezTo>
                        <a:pt x="45" y="117"/>
                        <a:pt x="45" y="117"/>
                        <a:pt x="45" y="117"/>
                      </a:cubicBezTo>
                      <a:cubicBezTo>
                        <a:pt x="45" y="117"/>
                        <a:pt x="45" y="117"/>
                        <a:pt x="45" y="118"/>
                      </a:cubicBezTo>
                      <a:cubicBezTo>
                        <a:pt x="45" y="119"/>
                        <a:pt x="45" y="119"/>
                        <a:pt x="46" y="120"/>
                      </a:cubicBezTo>
                      <a:cubicBezTo>
                        <a:pt x="47" y="120"/>
                        <a:pt x="48" y="119"/>
                        <a:pt x="49" y="118"/>
                      </a:cubicBezTo>
                      <a:cubicBezTo>
                        <a:pt x="53" y="109"/>
                        <a:pt x="53" y="109"/>
                        <a:pt x="53" y="109"/>
                      </a:cubicBezTo>
                      <a:cubicBezTo>
                        <a:pt x="55" y="110"/>
                        <a:pt x="58" y="110"/>
                        <a:pt x="60" y="110"/>
                      </a:cubicBezTo>
                      <a:cubicBezTo>
                        <a:pt x="63" y="119"/>
                        <a:pt x="63" y="119"/>
                        <a:pt x="63" y="119"/>
                      </a:cubicBezTo>
                      <a:cubicBezTo>
                        <a:pt x="63" y="120"/>
                        <a:pt x="64" y="121"/>
                        <a:pt x="65" y="121"/>
                      </a:cubicBezTo>
                      <a:cubicBezTo>
                        <a:pt x="65" y="121"/>
                        <a:pt x="65" y="121"/>
                        <a:pt x="65" y="121"/>
                      </a:cubicBezTo>
                      <a:cubicBezTo>
                        <a:pt x="66" y="121"/>
                        <a:pt x="67" y="120"/>
                        <a:pt x="67" y="119"/>
                      </a:cubicBezTo>
                      <a:cubicBezTo>
                        <a:pt x="67" y="119"/>
                        <a:pt x="67" y="119"/>
                        <a:pt x="67" y="119"/>
                      </a:cubicBezTo>
                      <a:cubicBezTo>
                        <a:pt x="68" y="109"/>
                        <a:pt x="68" y="109"/>
                        <a:pt x="68" y="109"/>
                      </a:cubicBezTo>
                      <a:cubicBezTo>
                        <a:pt x="71" y="109"/>
                        <a:pt x="73" y="108"/>
                        <a:pt x="75" y="108"/>
                      </a:cubicBezTo>
                      <a:cubicBezTo>
                        <a:pt x="81" y="116"/>
                        <a:pt x="81" y="116"/>
                        <a:pt x="81" y="116"/>
                      </a:cubicBezTo>
                      <a:cubicBezTo>
                        <a:pt x="82" y="117"/>
                        <a:pt x="83" y="117"/>
                        <a:pt x="84" y="117"/>
                      </a:cubicBezTo>
                      <a:cubicBezTo>
                        <a:pt x="84" y="117"/>
                        <a:pt x="85" y="116"/>
                        <a:pt x="85" y="115"/>
                      </a:cubicBezTo>
                      <a:cubicBezTo>
                        <a:pt x="85" y="115"/>
                        <a:pt x="85" y="115"/>
                        <a:pt x="85" y="114"/>
                      </a:cubicBezTo>
                      <a:cubicBezTo>
                        <a:pt x="83" y="104"/>
                        <a:pt x="83" y="104"/>
                        <a:pt x="83" y="104"/>
                      </a:cubicBezTo>
                      <a:cubicBezTo>
                        <a:pt x="85" y="103"/>
                        <a:pt x="87" y="102"/>
                        <a:pt x="89" y="101"/>
                      </a:cubicBezTo>
                      <a:cubicBezTo>
                        <a:pt x="97" y="107"/>
                        <a:pt x="97" y="107"/>
                        <a:pt x="97" y="107"/>
                      </a:cubicBezTo>
                      <a:cubicBezTo>
                        <a:pt x="98" y="108"/>
                        <a:pt x="99" y="108"/>
                        <a:pt x="100" y="107"/>
                      </a:cubicBezTo>
                      <a:cubicBezTo>
                        <a:pt x="100" y="107"/>
                        <a:pt x="101" y="106"/>
                        <a:pt x="101" y="106"/>
                      </a:cubicBezTo>
                      <a:cubicBezTo>
                        <a:pt x="101" y="105"/>
                        <a:pt x="100" y="105"/>
                        <a:pt x="100" y="104"/>
                      </a:cubicBezTo>
                      <a:cubicBezTo>
                        <a:pt x="96" y="95"/>
                        <a:pt x="96" y="95"/>
                        <a:pt x="96" y="95"/>
                      </a:cubicBezTo>
                      <a:cubicBezTo>
                        <a:pt x="97" y="94"/>
                        <a:pt x="99" y="92"/>
                        <a:pt x="100" y="90"/>
                      </a:cubicBezTo>
                      <a:cubicBezTo>
                        <a:pt x="110" y="93"/>
                        <a:pt x="110" y="93"/>
                        <a:pt x="110" y="93"/>
                      </a:cubicBezTo>
                      <a:cubicBezTo>
                        <a:pt x="111" y="94"/>
                        <a:pt x="112" y="94"/>
                        <a:pt x="112" y="93"/>
                      </a:cubicBezTo>
                      <a:cubicBezTo>
                        <a:pt x="113" y="92"/>
                        <a:pt x="113" y="92"/>
                        <a:pt x="113" y="92"/>
                      </a:cubicBezTo>
                      <a:cubicBezTo>
                        <a:pt x="113" y="91"/>
                        <a:pt x="112" y="90"/>
                        <a:pt x="112" y="90"/>
                      </a:cubicBezTo>
                      <a:cubicBezTo>
                        <a:pt x="105" y="83"/>
                        <a:pt x="105" y="83"/>
                        <a:pt x="105" y="83"/>
                      </a:cubicBezTo>
                      <a:cubicBezTo>
                        <a:pt x="106" y="81"/>
                        <a:pt x="107" y="79"/>
                        <a:pt x="107" y="76"/>
                      </a:cubicBezTo>
                      <a:cubicBezTo>
                        <a:pt x="117" y="77"/>
                        <a:pt x="117" y="77"/>
                        <a:pt x="117" y="77"/>
                      </a:cubicBezTo>
                      <a:cubicBezTo>
                        <a:pt x="118" y="77"/>
                        <a:pt x="120" y="76"/>
                        <a:pt x="120" y="75"/>
                      </a:cubicBezTo>
                      <a:cubicBezTo>
                        <a:pt x="120" y="75"/>
                        <a:pt x="120" y="75"/>
                        <a:pt x="120" y="75"/>
                      </a:cubicBezTo>
                      <a:cubicBezTo>
                        <a:pt x="120" y="74"/>
                        <a:pt x="119" y="73"/>
                        <a:pt x="118" y="73"/>
                      </a:cubicBezTo>
                      <a:cubicBezTo>
                        <a:pt x="109" y="68"/>
                        <a:pt x="109" y="68"/>
                        <a:pt x="109" y="68"/>
                      </a:cubicBezTo>
                      <a:cubicBezTo>
                        <a:pt x="110" y="66"/>
                        <a:pt x="110" y="64"/>
                        <a:pt x="110" y="61"/>
                      </a:cubicBezTo>
                      <a:lnTo>
                        <a:pt x="120" y="58"/>
                      </a:lnTo>
                      <a:close/>
                      <a:moveTo>
                        <a:pt x="61" y="72"/>
                      </a:moveTo>
                      <a:cubicBezTo>
                        <a:pt x="55" y="72"/>
                        <a:pt x="50" y="67"/>
                        <a:pt x="50" y="61"/>
                      </a:cubicBezTo>
                      <a:cubicBezTo>
                        <a:pt x="50" y="54"/>
                        <a:pt x="55" y="49"/>
                        <a:pt x="61" y="49"/>
                      </a:cubicBezTo>
                      <a:cubicBezTo>
                        <a:pt x="67" y="49"/>
                        <a:pt x="72" y="54"/>
                        <a:pt x="72" y="61"/>
                      </a:cubicBezTo>
                      <a:cubicBezTo>
                        <a:pt x="72" y="67"/>
                        <a:pt x="67" y="72"/>
                        <a:pt x="61" y="7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0" name="Oval 21"/>
                <p:cNvSpPr>
                  <a:spLocks noChangeArrowheads="1"/>
                </p:cNvSpPr>
                <p:nvPr/>
              </p:nvSpPr>
              <p:spPr bwMode="auto">
                <a:xfrm>
                  <a:off x="-1055688" y="2462213"/>
                  <a:ext cx="171450" cy="17145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1" name="Oval 22"/>
                <p:cNvSpPr>
                  <a:spLocks noChangeArrowheads="1"/>
                </p:cNvSpPr>
                <p:nvPr/>
              </p:nvSpPr>
              <p:spPr bwMode="auto">
                <a:xfrm>
                  <a:off x="-1776413" y="2792413"/>
                  <a:ext cx="115888" cy="119063"/>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2" name="Freeform 23"/>
                <p:cNvSpPr>
                  <a:spLocks noEditPoints="1"/>
                </p:cNvSpPr>
                <p:nvPr/>
              </p:nvSpPr>
              <p:spPr bwMode="auto">
                <a:xfrm>
                  <a:off x="-2773363" y="2439988"/>
                  <a:ext cx="2692401" cy="2659063"/>
                </a:xfrm>
                <a:custGeom>
                  <a:avLst/>
                  <a:gdLst>
                    <a:gd name="T0" fmla="*/ 605 w 718"/>
                    <a:gd name="T1" fmla="*/ 20 h 709"/>
                    <a:gd name="T2" fmla="*/ 602 w 718"/>
                    <a:gd name="T3" fmla="*/ 58 h 709"/>
                    <a:gd name="T4" fmla="*/ 587 w 718"/>
                    <a:gd name="T5" fmla="*/ 93 h 709"/>
                    <a:gd name="T6" fmla="*/ 563 w 718"/>
                    <a:gd name="T7" fmla="*/ 121 h 709"/>
                    <a:gd name="T8" fmla="*/ 530 w 718"/>
                    <a:gd name="T9" fmla="*/ 141 h 709"/>
                    <a:gd name="T10" fmla="*/ 493 w 718"/>
                    <a:gd name="T11" fmla="*/ 149 h 709"/>
                    <a:gd name="T12" fmla="*/ 456 w 718"/>
                    <a:gd name="T13" fmla="*/ 147 h 709"/>
                    <a:gd name="T14" fmla="*/ 420 w 718"/>
                    <a:gd name="T15" fmla="*/ 134 h 709"/>
                    <a:gd name="T16" fmla="*/ 391 w 718"/>
                    <a:gd name="T17" fmla="*/ 110 h 709"/>
                    <a:gd name="T18" fmla="*/ 371 w 718"/>
                    <a:gd name="T19" fmla="*/ 78 h 709"/>
                    <a:gd name="T20" fmla="*/ 361 w 718"/>
                    <a:gd name="T21" fmla="*/ 42 h 709"/>
                    <a:gd name="T22" fmla="*/ 363 w 718"/>
                    <a:gd name="T23" fmla="*/ 4 h 709"/>
                    <a:gd name="T24" fmla="*/ 68 w 718"/>
                    <a:gd name="T25" fmla="*/ 221 h 709"/>
                    <a:gd name="T26" fmla="*/ 162 w 718"/>
                    <a:gd name="T27" fmla="*/ 514 h 709"/>
                    <a:gd name="T28" fmla="*/ 334 w 718"/>
                    <a:gd name="T29" fmla="*/ 176 h 709"/>
                    <a:gd name="T30" fmla="*/ 311 w 718"/>
                    <a:gd name="T31" fmla="*/ 189 h 709"/>
                    <a:gd name="T32" fmla="*/ 288 w 718"/>
                    <a:gd name="T33" fmla="*/ 197 h 709"/>
                    <a:gd name="T34" fmla="*/ 258 w 718"/>
                    <a:gd name="T35" fmla="*/ 192 h 709"/>
                    <a:gd name="T36" fmla="*/ 234 w 718"/>
                    <a:gd name="T37" fmla="*/ 181 h 709"/>
                    <a:gd name="T38" fmla="*/ 214 w 718"/>
                    <a:gd name="T39" fmla="*/ 164 h 709"/>
                    <a:gd name="T40" fmla="*/ 201 w 718"/>
                    <a:gd name="T41" fmla="*/ 141 h 709"/>
                    <a:gd name="T42" fmla="*/ 195 w 718"/>
                    <a:gd name="T43" fmla="*/ 116 h 709"/>
                    <a:gd name="T44" fmla="*/ 197 w 718"/>
                    <a:gd name="T45" fmla="*/ 89 h 709"/>
                    <a:gd name="T46" fmla="*/ 207 w 718"/>
                    <a:gd name="T47" fmla="*/ 64 h 709"/>
                    <a:gd name="T48" fmla="*/ 225 w 718"/>
                    <a:gd name="T49" fmla="*/ 43 h 709"/>
                    <a:gd name="T50" fmla="*/ 249 w 718"/>
                    <a:gd name="T51" fmla="*/ 29 h 709"/>
                    <a:gd name="T52" fmla="*/ 275 w 718"/>
                    <a:gd name="T53" fmla="*/ 23 h 709"/>
                    <a:gd name="T54" fmla="*/ 305 w 718"/>
                    <a:gd name="T55" fmla="*/ 28 h 709"/>
                    <a:gd name="T56" fmla="*/ 329 w 718"/>
                    <a:gd name="T57" fmla="*/ 38 h 709"/>
                    <a:gd name="T58" fmla="*/ 349 w 718"/>
                    <a:gd name="T59" fmla="*/ 55 h 709"/>
                    <a:gd name="T60" fmla="*/ 362 w 718"/>
                    <a:gd name="T61" fmla="*/ 78 h 709"/>
                    <a:gd name="T62" fmla="*/ 368 w 718"/>
                    <a:gd name="T63" fmla="*/ 104 h 709"/>
                    <a:gd name="T64" fmla="*/ 366 w 718"/>
                    <a:gd name="T65" fmla="*/ 131 h 709"/>
                    <a:gd name="T66" fmla="*/ 356 w 718"/>
                    <a:gd name="T67" fmla="*/ 156 h 709"/>
                    <a:gd name="T68" fmla="*/ 338 w 718"/>
                    <a:gd name="T69" fmla="*/ 176 h 709"/>
                    <a:gd name="T70" fmla="*/ 451 w 718"/>
                    <a:gd name="T71" fmla="*/ 208 h 709"/>
                    <a:gd name="T72" fmla="*/ 444 w 718"/>
                    <a:gd name="T73" fmla="*/ 224 h 709"/>
                    <a:gd name="T74" fmla="*/ 433 w 718"/>
                    <a:gd name="T75" fmla="*/ 237 h 709"/>
                    <a:gd name="T76" fmla="*/ 418 w 718"/>
                    <a:gd name="T77" fmla="*/ 247 h 709"/>
                    <a:gd name="T78" fmla="*/ 401 w 718"/>
                    <a:gd name="T79" fmla="*/ 251 h 709"/>
                    <a:gd name="T80" fmla="*/ 383 w 718"/>
                    <a:gd name="T81" fmla="*/ 250 h 709"/>
                    <a:gd name="T82" fmla="*/ 367 w 718"/>
                    <a:gd name="T83" fmla="*/ 243 h 709"/>
                    <a:gd name="T84" fmla="*/ 353 w 718"/>
                    <a:gd name="T85" fmla="*/ 232 h 709"/>
                    <a:gd name="T86" fmla="*/ 343 w 718"/>
                    <a:gd name="T87" fmla="*/ 217 h 709"/>
                    <a:gd name="T88" fmla="*/ 339 w 718"/>
                    <a:gd name="T89" fmla="*/ 200 h 709"/>
                    <a:gd name="T90" fmla="*/ 340 w 718"/>
                    <a:gd name="T91" fmla="*/ 183 h 709"/>
                    <a:gd name="T92" fmla="*/ 346 w 718"/>
                    <a:gd name="T93" fmla="*/ 166 h 709"/>
                    <a:gd name="T94" fmla="*/ 357 w 718"/>
                    <a:gd name="T95" fmla="*/ 153 h 709"/>
                    <a:gd name="T96" fmla="*/ 372 w 718"/>
                    <a:gd name="T97" fmla="*/ 143 h 709"/>
                    <a:gd name="T98" fmla="*/ 389 w 718"/>
                    <a:gd name="T99" fmla="*/ 138 h 709"/>
                    <a:gd name="T100" fmla="*/ 407 w 718"/>
                    <a:gd name="T101" fmla="*/ 139 h 709"/>
                    <a:gd name="T102" fmla="*/ 423 w 718"/>
                    <a:gd name="T103" fmla="*/ 146 h 709"/>
                    <a:gd name="T104" fmla="*/ 437 w 718"/>
                    <a:gd name="T105" fmla="*/ 157 h 709"/>
                    <a:gd name="T106" fmla="*/ 446 w 718"/>
                    <a:gd name="T107" fmla="*/ 172 h 709"/>
                    <a:gd name="T108" fmla="*/ 451 w 718"/>
                    <a:gd name="T109" fmla="*/ 18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18" h="709">
                      <a:moveTo>
                        <a:pt x="606" y="330"/>
                      </a:moveTo>
                      <a:cubicBezTo>
                        <a:pt x="718" y="140"/>
                        <a:pt x="627" y="0"/>
                        <a:pt x="627" y="0"/>
                      </a:cubicBezTo>
                      <a:cubicBezTo>
                        <a:pt x="578" y="0"/>
                        <a:pt x="578" y="0"/>
                        <a:pt x="578" y="0"/>
                      </a:cubicBezTo>
                      <a:cubicBezTo>
                        <a:pt x="579" y="4"/>
                        <a:pt x="580" y="9"/>
                        <a:pt x="581" y="13"/>
                      </a:cubicBezTo>
                      <a:cubicBezTo>
                        <a:pt x="601" y="16"/>
                        <a:pt x="601" y="16"/>
                        <a:pt x="601" y="16"/>
                      </a:cubicBezTo>
                      <a:cubicBezTo>
                        <a:pt x="603" y="16"/>
                        <a:pt x="605" y="18"/>
                        <a:pt x="605" y="20"/>
                      </a:cubicBezTo>
                      <a:cubicBezTo>
                        <a:pt x="605" y="20"/>
                        <a:pt x="605" y="20"/>
                        <a:pt x="605" y="20"/>
                      </a:cubicBezTo>
                      <a:cubicBezTo>
                        <a:pt x="605" y="23"/>
                        <a:pt x="604" y="24"/>
                        <a:pt x="601" y="24"/>
                      </a:cubicBezTo>
                      <a:cubicBezTo>
                        <a:pt x="582" y="30"/>
                        <a:pt x="582" y="30"/>
                        <a:pt x="582" y="30"/>
                      </a:cubicBezTo>
                      <a:cubicBezTo>
                        <a:pt x="582" y="35"/>
                        <a:pt x="581" y="40"/>
                        <a:pt x="581" y="45"/>
                      </a:cubicBezTo>
                      <a:cubicBezTo>
                        <a:pt x="599" y="54"/>
                        <a:pt x="599" y="54"/>
                        <a:pt x="599" y="54"/>
                      </a:cubicBezTo>
                      <a:cubicBezTo>
                        <a:pt x="601" y="55"/>
                        <a:pt x="602" y="56"/>
                        <a:pt x="602" y="58"/>
                      </a:cubicBezTo>
                      <a:cubicBezTo>
                        <a:pt x="602" y="58"/>
                        <a:pt x="602" y="59"/>
                        <a:pt x="602" y="59"/>
                      </a:cubicBezTo>
                      <a:cubicBezTo>
                        <a:pt x="601" y="61"/>
                        <a:pt x="599" y="62"/>
                        <a:pt x="597" y="62"/>
                      </a:cubicBezTo>
                      <a:cubicBezTo>
                        <a:pt x="577" y="62"/>
                        <a:pt x="577" y="62"/>
                        <a:pt x="577" y="62"/>
                      </a:cubicBezTo>
                      <a:cubicBezTo>
                        <a:pt x="575" y="66"/>
                        <a:pt x="573" y="71"/>
                        <a:pt x="571" y="75"/>
                      </a:cubicBezTo>
                      <a:cubicBezTo>
                        <a:pt x="585" y="89"/>
                        <a:pt x="585" y="89"/>
                        <a:pt x="585" y="89"/>
                      </a:cubicBezTo>
                      <a:cubicBezTo>
                        <a:pt x="587" y="90"/>
                        <a:pt x="587" y="91"/>
                        <a:pt x="587" y="93"/>
                      </a:cubicBezTo>
                      <a:cubicBezTo>
                        <a:pt x="587" y="94"/>
                        <a:pt x="587" y="94"/>
                        <a:pt x="587" y="95"/>
                      </a:cubicBezTo>
                      <a:cubicBezTo>
                        <a:pt x="585" y="97"/>
                        <a:pt x="583" y="97"/>
                        <a:pt x="581" y="96"/>
                      </a:cubicBezTo>
                      <a:cubicBezTo>
                        <a:pt x="562" y="90"/>
                        <a:pt x="562" y="90"/>
                        <a:pt x="562" y="90"/>
                      </a:cubicBezTo>
                      <a:cubicBezTo>
                        <a:pt x="559" y="94"/>
                        <a:pt x="556" y="97"/>
                        <a:pt x="552" y="101"/>
                      </a:cubicBezTo>
                      <a:cubicBezTo>
                        <a:pt x="562" y="119"/>
                        <a:pt x="562" y="119"/>
                        <a:pt x="562" y="119"/>
                      </a:cubicBezTo>
                      <a:cubicBezTo>
                        <a:pt x="562" y="120"/>
                        <a:pt x="563" y="120"/>
                        <a:pt x="563" y="121"/>
                      </a:cubicBezTo>
                      <a:cubicBezTo>
                        <a:pt x="563" y="122"/>
                        <a:pt x="562" y="124"/>
                        <a:pt x="561" y="124"/>
                      </a:cubicBezTo>
                      <a:cubicBezTo>
                        <a:pt x="559" y="126"/>
                        <a:pt x="557" y="126"/>
                        <a:pt x="555" y="124"/>
                      </a:cubicBezTo>
                      <a:cubicBezTo>
                        <a:pt x="539" y="112"/>
                        <a:pt x="539" y="112"/>
                        <a:pt x="539" y="112"/>
                      </a:cubicBezTo>
                      <a:cubicBezTo>
                        <a:pt x="535" y="114"/>
                        <a:pt x="531" y="117"/>
                        <a:pt x="527" y="119"/>
                      </a:cubicBezTo>
                      <a:cubicBezTo>
                        <a:pt x="530" y="139"/>
                        <a:pt x="530" y="139"/>
                        <a:pt x="530" y="139"/>
                      </a:cubicBezTo>
                      <a:cubicBezTo>
                        <a:pt x="530" y="140"/>
                        <a:pt x="530" y="140"/>
                        <a:pt x="530" y="141"/>
                      </a:cubicBezTo>
                      <a:cubicBezTo>
                        <a:pt x="530" y="142"/>
                        <a:pt x="529" y="144"/>
                        <a:pt x="528" y="145"/>
                      </a:cubicBezTo>
                      <a:cubicBezTo>
                        <a:pt x="526" y="145"/>
                        <a:pt x="523" y="144"/>
                        <a:pt x="522" y="142"/>
                      </a:cubicBezTo>
                      <a:cubicBezTo>
                        <a:pt x="511" y="126"/>
                        <a:pt x="511" y="126"/>
                        <a:pt x="511" y="126"/>
                      </a:cubicBezTo>
                      <a:cubicBezTo>
                        <a:pt x="506" y="127"/>
                        <a:pt x="501" y="128"/>
                        <a:pt x="497" y="129"/>
                      </a:cubicBezTo>
                      <a:cubicBezTo>
                        <a:pt x="493" y="149"/>
                        <a:pt x="493" y="149"/>
                        <a:pt x="493" y="149"/>
                      </a:cubicBezTo>
                      <a:cubicBezTo>
                        <a:pt x="493" y="149"/>
                        <a:pt x="493" y="149"/>
                        <a:pt x="493" y="149"/>
                      </a:cubicBezTo>
                      <a:cubicBezTo>
                        <a:pt x="493" y="151"/>
                        <a:pt x="492" y="153"/>
                        <a:pt x="490" y="153"/>
                      </a:cubicBezTo>
                      <a:cubicBezTo>
                        <a:pt x="490" y="153"/>
                        <a:pt x="490" y="153"/>
                        <a:pt x="489" y="153"/>
                      </a:cubicBezTo>
                      <a:cubicBezTo>
                        <a:pt x="487" y="153"/>
                        <a:pt x="486" y="152"/>
                        <a:pt x="485" y="150"/>
                      </a:cubicBezTo>
                      <a:cubicBezTo>
                        <a:pt x="479" y="130"/>
                        <a:pt x="479" y="130"/>
                        <a:pt x="479" y="130"/>
                      </a:cubicBezTo>
                      <a:cubicBezTo>
                        <a:pt x="475" y="130"/>
                        <a:pt x="470" y="130"/>
                        <a:pt x="465" y="129"/>
                      </a:cubicBezTo>
                      <a:cubicBezTo>
                        <a:pt x="456" y="147"/>
                        <a:pt x="456" y="147"/>
                        <a:pt x="456" y="147"/>
                      </a:cubicBezTo>
                      <a:cubicBezTo>
                        <a:pt x="455" y="149"/>
                        <a:pt x="453" y="151"/>
                        <a:pt x="451" y="150"/>
                      </a:cubicBezTo>
                      <a:cubicBezTo>
                        <a:pt x="449" y="150"/>
                        <a:pt x="448" y="148"/>
                        <a:pt x="448" y="146"/>
                      </a:cubicBezTo>
                      <a:cubicBezTo>
                        <a:pt x="448" y="146"/>
                        <a:pt x="448" y="146"/>
                        <a:pt x="448" y="145"/>
                      </a:cubicBezTo>
                      <a:cubicBezTo>
                        <a:pt x="448" y="125"/>
                        <a:pt x="448" y="125"/>
                        <a:pt x="448" y="125"/>
                      </a:cubicBezTo>
                      <a:cubicBezTo>
                        <a:pt x="444" y="123"/>
                        <a:pt x="439" y="121"/>
                        <a:pt x="435" y="119"/>
                      </a:cubicBezTo>
                      <a:cubicBezTo>
                        <a:pt x="420" y="134"/>
                        <a:pt x="420" y="134"/>
                        <a:pt x="420" y="134"/>
                      </a:cubicBezTo>
                      <a:cubicBezTo>
                        <a:pt x="419" y="135"/>
                        <a:pt x="417" y="136"/>
                        <a:pt x="415" y="135"/>
                      </a:cubicBezTo>
                      <a:cubicBezTo>
                        <a:pt x="414" y="134"/>
                        <a:pt x="413" y="133"/>
                        <a:pt x="413" y="131"/>
                      </a:cubicBezTo>
                      <a:cubicBezTo>
                        <a:pt x="413" y="131"/>
                        <a:pt x="413" y="130"/>
                        <a:pt x="414" y="129"/>
                      </a:cubicBezTo>
                      <a:cubicBezTo>
                        <a:pt x="420" y="110"/>
                        <a:pt x="420" y="110"/>
                        <a:pt x="420" y="110"/>
                      </a:cubicBezTo>
                      <a:cubicBezTo>
                        <a:pt x="416" y="107"/>
                        <a:pt x="413" y="104"/>
                        <a:pt x="409" y="101"/>
                      </a:cubicBezTo>
                      <a:cubicBezTo>
                        <a:pt x="391" y="110"/>
                        <a:pt x="391" y="110"/>
                        <a:pt x="391" y="110"/>
                      </a:cubicBezTo>
                      <a:cubicBezTo>
                        <a:pt x="389" y="111"/>
                        <a:pt x="387" y="111"/>
                        <a:pt x="386" y="109"/>
                      </a:cubicBezTo>
                      <a:cubicBezTo>
                        <a:pt x="385" y="109"/>
                        <a:pt x="385" y="108"/>
                        <a:pt x="385" y="107"/>
                      </a:cubicBezTo>
                      <a:cubicBezTo>
                        <a:pt x="385" y="106"/>
                        <a:pt x="385" y="104"/>
                        <a:pt x="386" y="104"/>
                      </a:cubicBezTo>
                      <a:cubicBezTo>
                        <a:pt x="398" y="87"/>
                        <a:pt x="398" y="87"/>
                        <a:pt x="398" y="87"/>
                      </a:cubicBezTo>
                      <a:cubicBezTo>
                        <a:pt x="395" y="83"/>
                        <a:pt x="393" y="79"/>
                        <a:pt x="391" y="75"/>
                      </a:cubicBezTo>
                      <a:cubicBezTo>
                        <a:pt x="371" y="78"/>
                        <a:pt x="371" y="78"/>
                        <a:pt x="371" y="78"/>
                      </a:cubicBezTo>
                      <a:cubicBezTo>
                        <a:pt x="369" y="79"/>
                        <a:pt x="366" y="78"/>
                        <a:pt x="365" y="76"/>
                      </a:cubicBezTo>
                      <a:cubicBezTo>
                        <a:pt x="365" y="75"/>
                        <a:pt x="365" y="75"/>
                        <a:pt x="365" y="74"/>
                      </a:cubicBezTo>
                      <a:cubicBezTo>
                        <a:pt x="365" y="73"/>
                        <a:pt x="366" y="71"/>
                        <a:pt x="368" y="71"/>
                      </a:cubicBezTo>
                      <a:cubicBezTo>
                        <a:pt x="384" y="59"/>
                        <a:pt x="384" y="59"/>
                        <a:pt x="384" y="59"/>
                      </a:cubicBezTo>
                      <a:cubicBezTo>
                        <a:pt x="383" y="54"/>
                        <a:pt x="382" y="50"/>
                        <a:pt x="381" y="45"/>
                      </a:cubicBezTo>
                      <a:cubicBezTo>
                        <a:pt x="361" y="42"/>
                        <a:pt x="361" y="42"/>
                        <a:pt x="361" y="42"/>
                      </a:cubicBezTo>
                      <a:cubicBezTo>
                        <a:pt x="359" y="42"/>
                        <a:pt x="357" y="40"/>
                        <a:pt x="357" y="38"/>
                      </a:cubicBezTo>
                      <a:cubicBezTo>
                        <a:pt x="357" y="38"/>
                        <a:pt x="357" y="38"/>
                        <a:pt x="357" y="38"/>
                      </a:cubicBezTo>
                      <a:cubicBezTo>
                        <a:pt x="357" y="36"/>
                        <a:pt x="358" y="34"/>
                        <a:pt x="360" y="34"/>
                      </a:cubicBezTo>
                      <a:cubicBezTo>
                        <a:pt x="380" y="28"/>
                        <a:pt x="380" y="28"/>
                        <a:pt x="380" y="28"/>
                      </a:cubicBezTo>
                      <a:cubicBezTo>
                        <a:pt x="380" y="23"/>
                        <a:pt x="380" y="18"/>
                        <a:pt x="381" y="13"/>
                      </a:cubicBezTo>
                      <a:cubicBezTo>
                        <a:pt x="363" y="4"/>
                        <a:pt x="363" y="4"/>
                        <a:pt x="363" y="4"/>
                      </a:cubicBezTo>
                      <a:cubicBezTo>
                        <a:pt x="361" y="4"/>
                        <a:pt x="360" y="2"/>
                        <a:pt x="360" y="0"/>
                      </a:cubicBezTo>
                      <a:cubicBezTo>
                        <a:pt x="360" y="0"/>
                        <a:pt x="360" y="0"/>
                        <a:pt x="360" y="0"/>
                      </a:cubicBezTo>
                      <a:cubicBezTo>
                        <a:pt x="110" y="0"/>
                        <a:pt x="110" y="0"/>
                        <a:pt x="110" y="0"/>
                      </a:cubicBezTo>
                      <a:cubicBezTo>
                        <a:pt x="103" y="41"/>
                        <a:pt x="83" y="85"/>
                        <a:pt x="83" y="85"/>
                      </a:cubicBezTo>
                      <a:cubicBezTo>
                        <a:pt x="71" y="115"/>
                        <a:pt x="79" y="137"/>
                        <a:pt x="79" y="137"/>
                      </a:cubicBezTo>
                      <a:cubicBezTo>
                        <a:pt x="103" y="178"/>
                        <a:pt x="84" y="200"/>
                        <a:pt x="68" y="221"/>
                      </a:cubicBezTo>
                      <a:cubicBezTo>
                        <a:pt x="53" y="242"/>
                        <a:pt x="0" y="315"/>
                        <a:pt x="51" y="317"/>
                      </a:cubicBezTo>
                      <a:cubicBezTo>
                        <a:pt x="99" y="318"/>
                        <a:pt x="84" y="334"/>
                        <a:pt x="84" y="334"/>
                      </a:cubicBezTo>
                      <a:cubicBezTo>
                        <a:pt x="63" y="380"/>
                        <a:pt x="96" y="381"/>
                        <a:pt x="96" y="381"/>
                      </a:cubicBezTo>
                      <a:cubicBezTo>
                        <a:pt x="81" y="408"/>
                        <a:pt x="103" y="409"/>
                        <a:pt x="103" y="409"/>
                      </a:cubicBezTo>
                      <a:cubicBezTo>
                        <a:pt x="135" y="409"/>
                        <a:pt x="118" y="438"/>
                        <a:pt x="118" y="438"/>
                      </a:cubicBezTo>
                      <a:cubicBezTo>
                        <a:pt x="79" y="481"/>
                        <a:pt x="113" y="524"/>
                        <a:pt x="162" y="514"/>
                      </a:cubicBezTo>
                      <a:cubicBezTo>
                        <a:pt x="259" y="494"/>
                        <a:pt x="309" y="527"/>
                        <a:pt x="286" y="597"/>
                      </a:cubicBezTo>
                      <a:cubicBezTo>
                        <a:pt x="263" y="666"/>
                        <a:pt x="232" y="709"/>
                        <a:pt x="232" y="709"/>
                      </a:cubicBezTo>
                      <a:cubicBezTo>
                        <a:pt x="659" y="709"/>
                        <a:pt x="659" y="709"/>
                        <a:pt x="659" y="709"/>
                      </a:cubicBezTo>
                      <a:cubicBezTo>
                        <a:pt x="568" y="521"/>
                        <a:pt x="568" y="521"/>
                        <a:pt x="568" y="521"/>
                      </a:cubicBezTo>
                      <a:cubicBezTo>
                        <a:pt x="540" y="458"/>
                        <a:pt x="606" y="330"/>
                        <a:pt x="606" y="330"/>
                      </a:cubicBezTo>
                      <a:close/>
                      <a:moveTo>
                        <a:pt x="334" y="176"/>
                      </a:moveTo>
                      <a:cubicBezTo>
                        <a:pt x="322" y="168"/>
                        <a:pt x="322" y="168"/>
                        <a:pt x="322" y="168"/>
                      </a:cubicBezTo>
                      <a:cubicBezTo>
                        <a:pt x="320" y="169"/>
                        <a:pt x="317" y="171"/>
                        <a:pt x="314" y="173"/>
                      </a:cubicBezTo>
                      <a:cubicBezTo>
                        <a:pt x="316" y="187"/>
                        <a:pt x="316" y="187"/>
                        <a:pt x="316" y="187"/>
                      </a:cubicBezTo>
                      <a:cubicBezTo>
                        <a:pt x="316" y="187"/>
                        <a:pt x="316" y="188"/>
                        <a:pt x="316" y="188"/>
                      </a:cubicBezTo>
                      <a:cubicBezTo>
                        <a:pt x="316" y="189"/>
                        <a:pt x="315" y="190"/>
                        <a:pt x="314" y="191"/>
                      </a:cubicBezTo>
                      <a:cubicBezTo>
                        <a:pt x="313" y="191"/>
                        <a:pt x="311" y="190"/>
                        <a:pt x="311" y="189"/>
                      </a:cubicBezTo>
                      <a:cubicBezTo>
                        <a:pt x="302" y="177"/>
                        <a:pt x="302" y="177"/>
                        <a:pt x="302" y="177"/>
                      </a:cubicBezTo>
                      <a:cubicBezTo>
                        <a:pt x="299" y="178"/>
                        <a:pt x="296" y="179"/>
                        <a:pt x="293" y="180"/>
                      </a:cubicBezTo>
                      <a:cubicBezTo>
                        <a:pt x="290" y="194"/>
                        <a:pt x="290" y="194"/>
                        <a:pt x="290" y="194"/>
                      </a:cubicBezTo>
                      <a:cubicBezTo>
                        <a:pt x="290" y="194"/>
                        <a:pt x="290" y="194"/>
                        <a:pt x="290" y="194"/>
                      </a:cubicBezTo>
                      <a:cubicBezTo>
                        <a:pt x="290" y="195"/>
                        <a:pt x="289" y="197"/>
                        <a:pt x="288" y="197"/>
                      </a:cubicBezTo>
                      <a:cubicBezTo>
                        <a:pt x="288" y="197"/>
                        <a:pt x="288" y="197"/>
                        <a:pt x="288" y="197"/>
                      </a:cubicBezTo>
                      <a:cubicBezTo>
                        <a:pt x="286" y="197"/>
                        <a:pt x="285" y="196"/>
                        <a:pt x="285" y="194"/>
                      </a:cubicBezTo>
                      <a:cubicBezTo>
                        <a:pt x="281" y="180"/>
                        <a:pt x="281" y="180"/>
                        <a:pt x="281" y="180"/>
                      </a:cubicBezTo>
                      <a:cubicBezTo>
                        <a:pt x="277" y="180"/>
                        <a:pt x="274" y="180"/>
                        <a:pt x="270" y="180"/>
                      </a:cubicBezTo>
                      <a:cubicBezTo>
                        <a:pt x="264" y="192"/>
                        <a:pt x="264" y="192"/>
                        <a:pt x="264" y="192"/>
                      </a:cubicBezTo>
                      <a:cubicBezTo>
                        <a:pt x="264" y="194"/>
                        <a:pt x="262" y="195"/>
                        <a:pt x="261" y="194"/>
                      </a:cubicBezTo>
                      <a:cubicBezTo>
                        <a:pt x="259" y="194"/>
                        <a:pt x="258" y="193"/>
                        <a:pt x="258" y="192"/>
                      </a:cubicBezTo>
                      <a:cubicBezTo>
                        <a:pt x="258" y="191"/>
                        <a:pt x="258" y="191"/>
                        <a:pt x="259" y="191"/>
                      </a:cubicBezTo>
                      <a:cubicBezTo>
                        <a:pt x="259" y="177"/>
                        <a:pt x="259" y="177"/>
                        <a:pt x="259" y="177"/>
                      </a:cubicBezTo>
                      <a:cubicBezTo>
                        <a:pt x="255" y="176"/>
                        <a:pt x="252" y="174"/>
                        <a:pt x="249" y="173"/>
                      </a:cubicBezTo>
                      <a:cubicBezTo>
                        <a:pt x="239" y="183"/>
                        <a:pt x="239" y="183"/>
                        <a:pt x="239" y="183"/>
                      </a:cubicBezTo>
                      <a:cubicBezTo>
                        <a:pt x="238" y="184"/>
                        <a:pt x="237" y="185"/>
                        <a:pt x="235" y="184"/>
                      </a:cubicBezTo>
                      <a:cubicBezTo>
                        <a:pt x="235" y="183"/>
                        <a:pt x="234" y="182"/>
                        <a:pt x="234" y="181"/>
                      </a:cubicBezTo>
                      <a:cubicBezTo>
                        <a:pt x="234" y="181"/>
                        <a:pt x="234" y="180"/>
                        <a:pt x="235" y="180"/>
                      </a:cubicBezTo>
                      <a:cubicBezTo>
                        <a:pt x="239" y="166"/>
                        <a:pt x="239" y="166"/>
                        <a:pt x="239" y="166"/>
                      </a:cubicBezTo>
                      <a:cubicBezTo>
                        <a:pt x="236" y="164"/>
                        <a:pt x="234" y="162"/>
                        <a:pt x="231" y="160"/>
                      </a:cubicBezTo>
                      <a:cubicBezTo>
                        <a:pt x="219" y="166"/>
                        <a:pt x="219" y="166"/>
                        <a:pt x="219" y="166"/>
                      </a:cubicBezTo>
                      <a:cubicBezTo>
                        <a:pt x="218" y="167"/>
                        <a:pt x="216" y="167"/>
                        <a:pt x="215" y="166"/>
                      </a:cubicBezTo>
                      <a:cubicBezTo>
                        <a:pt x="214" y="165"/>
                        <a:pt x="214" y="165"/>
                        <a:pt x="214" y="164"/>
                      </a:cubicBezTo>
                      <a:cubicBezTo>
                        <a:pt x="214" y="163"/>
                        <a:pt x="214" y="163"/>
                        <a:pt x="215" y="162"/>
                      </a:cubicBezTo>
                      <a:cubicBezTo>
                        <a:pt x="224" y="151"/>
                        <a:pt x="224" y="151"/>
                        <a:pt x="224" y="151"/>
                      </a:cubicBezTo>
                      <a:cubicBezTo>
                        <a:pt x="222" y="148"/>
                        <a:pt x="220" y="145"/>
                        <a:pt x="218" y="142"/>
                      </a:cubicBezTo>
                      <a:cubicBezTo>
                        <a:pt x="204" y="144"/>
                        <a:pt x="204" y="144"/>
                        <a:pt x="204" y="144"/>
                      </a:cubicBezTo>
                      <a:cubicBezTo>
                        <a:pt x="203" y="145"/>
                        <a:pt x="201" y="144"/>
                        <a:pt x="201" y="143"/>
                      </a:cubicBezTo>
                      <a:cubicBezTo>
                        <a:pt x="201" y="142"/>
                        <a:pt x="201" y="142"/>
                        <a:pt x="201" y="141"/>
                      </a:cubicBezTo>
                      <a:cubicBezTo>
                        <a:pt x="201" y="140"/>
                        <a:pt x="201" y="139"/>
                        <a:pt x="202" y="139"/>
                      </a:cubicBezTo>
                      <a:cubicBezTo>
                        <a:pt x="214" y="131"/>
                        <a:pt x="214" y="131"/>
                        <a:pt x="214" y="131"/>
                      </a:cubicBezTo>
                      <a:cubicBezTo>
                        <a:pt x="213" y="127"/>
                        <a:pt x="212" y="124"/>
                        <a:pt x="212" y="121"/>
                      </a:cubicBezTo>
                      <a:cubicBezTo>
                        <a:pt x="198" y="119"/>
                        <a:pt x="198" y="119"/>
                        <a:pt x="198" y="119"/>
                      </a:cubicBezTo>
                      <a:cubicBezTo>
                        <a:pt x="196" y="119"/>
                        <a:pt x="195" y="118"/>
                        <a:pt x="195" y="116"/>
                      </a:cubicBezTo>
                      <a:cubicBezTo>
                        <a:pt x="195" y="116"/>
                        <a:pt x="195" y="116"/>
                        <a:pt x="195" y="116"/>
                      </a:cubicBezTo>
                      <a:cubicBezTo>
                        <a:pt x="195" y="114"/>
                        <a:pt x="196" y="113"/>
                        <a:pt x="197" y="113"/>
                      </a:cubicBezTo>
                      <a:cubicBezTo>
                        <a:pt x="211" y="109"/>
                        <a:pt x="211" y="109"/>
                        <a:pt x="211" y="109"/>
                      </a:cubicBezTo>
                      <a:cubicBezTo>
                        <a:pt x="211" y="105"/>
                        <a:pt x="211" y="102"/>
                        <a:pt x="212" y="99"/>
                      </a:cubicBezTo>
                      <a:cubicBezTo>
                        <a:pt x="199" y="92"/>
                        <a:pt x="199" y="92"/>
                        <a:pt x="199" y="92"/>
                      </a:cubicBezTo>
                      <a:cubicBezTo>
                        <a:pt x="198" y="92"/>
                        <a:pt x="197" y="91"/>
                        <a:pt x="197" y="89"/>
                      </a:cubicBezTo>
                      <a:cubicBezTo>
                        <a:pt x="197" y="89"/>
                        <a:pt x="197" y="89"/>
                        <a:pt x="197" y="89"/>
                      </a:cubicBezTo>
                      <a:cubicBezTo>
                        <a:pt x="197" y="87"/>
                        <a:pt x="199" y="86"/>
                        <a:pt x="200" y="87"/>
                      </a:cubicBezTo>
                      <a:cubicBezTo>
                        <a:pt x="215" y="87"/>
                        <a:pt x="215" y="87"/>
                        <a:pt x="215" y="87"/>
                      </a:cubicBezTo>
                      <a:cubicBezTo>
                        <a:pt x="216" y="84"/>
                        <a:pt x="217" y="81"/>
                        <a:pt x="218" y="78"/>
                      </a:cubicBezTo>
                      <a:cubicBezTo>
                        <a:pt x="208" y="68"/>
                        <a:pt x="208" y="68"/>
                        <a:pt x="208" y="68"/>
                      </a:cubicBezTo>
                      <a:cubicBezTo>
                        <a:pt x="208" y="67"/>
                        <a:pt x="207" y="66"/>
                        <a:pt x="207" y="65"/>
                      </a:cubicBezTo>
                      <a:cubicBezTo>
                        <a:pt x="207" y="65"/>
                        <a:pt x="207" y="64"/>
                        <a:pt x="207" y="64"/>
                      </a:cubicBezTo>
                      <a:cubicBezTo>
                        <a:pt x="208" y="62"/>
                        <a:pt x="210" y="62"/>
                        <a:pt x="211" y="63"/>
                      </a:cubicBezTo>
                      <a:cubicBezTo>
                        <a:pt x="225" y="67"/>
                        <a:pt x="225" y="67"/>
                        <a:pt x="225" y="67"/>
                      </a:cubicBezTo>
                      <a:cubicBezTo>
                        <a:pt x="227" y="65"/>
                        <a:pt x="229" y="62"/>
                        <a:pt x="232" y="60"/>
                      </a:cubicBezTo>
                      <a:cubicBezTo>
                        <a:pt x="225" y="47"/>
                        <a:pt x="225" y="47"/>
                        <a:pt x="225" y="47"/>
                      </a:cubicBezTo>
                      <a:cubicBezTo>
                        <a:pt x="225" y="46"/>
                        <a:pt x="224" y="46"/>
                        <a:pt x="224" y="45"/>
                      </a:cubicBezTo>
                      <a:cubicBezTo>
                        <a:pt x="224" y="44"/>
                        <a:pt x="225" y="44"/>
                        <a:pt x="225" y="43"/>
                      </a:cubicBezTo>
                      <a:cubicBezTo>
                        <a:pt x="227" y="42"/>
                        <a:pt x="228" y="42"/>
                        <a:pt x="229" y="43"/>
                      </a:cubicBezTo>
                      <a:cubicBezTo>
                        <a:pt x="241" y="52"/>
                        <a:pt x="241" y="52"/>
                        <a:pt x="241" y="52"/>
                      </a:cubicBezTo>
                      <a:cubicBezTo>
                        <a:pt x="243" y="50"/>
                        <a:pt x="246" y="48"/>
                        <a:pt x="249" y="47"/>
                      </a:cubicBezTo>
                      <a:cubicBezTo>
                        <a:pt x="247" y="33"/>
                        <a:pt x="247" y="33"/>
                        <a:pt x="247" y="33"/>
                      </a:cubicBezTo>
                      <a:cubicBezTo>
                        <a:pt x="247" y="32"/>
                        <a:pt x="247" y="32"/>
                        <a:pt x="247" y="32"/>
                      </a:cubicBezTo>
                      <a:cubicBezTo>
                        <a:pt x="247" y="30"/>
                        <a:pt x="248" y="29"/>
                        <a:pt x="249" y="29"/>
                      </a:cubicBezTo>
                      <a:cubicBezTo>
                        <a:pt x="250" y="28"/>
                        <a:pt x="252" y="29"/>
                        <a:pt x="252" y="31"/>
                      </a:cubicBezTo>
                      <a:cubicBezTo>
                        <a:pt x="261" y="42"/>
                        <a:pt x="261" y="42"/>
                        <a:pt x="261" y="42"/>
                      </a:cubicBezTo>
                      <a:cubicBezTo>
                        <a:pt x="264" y="41"/>
                        <a:pt x="267" y="40"/>
                        <a:pt x="270" y="40"/>
                      </a:cubicBezTo>
                      <a:cubicBezTo>
                        <a:pt x="273" y="26"/>
                        <a:pt x="273" y="26"/>
                        <a:pt x="273" y="26"/>
                      </a:cubicBezTo>
                      <a:cubicBezTo>
                        <a:pt x="273" y="26"/>
                        <a:pt x="273" y="26"/>
                        <a:pt x="273" y="26"/>
                      </a:cubicBezTo>
                      <a:cubicBezTo>
                        <a:pt x="273" y="24"/>
                        <a:pt x="274" y="23"/>
                        <a:pt x="275" y="23"/>
                      </a:cubicBezTo>
                      <a:cubicBezTo>
                        <a:pt x="277" y="23"/>
                        <a:pt x="278" y="24"/>
                        <a:pt x="278" y="25"/>
                      </a:cubicBezTo>
                      <a:cubicBezTo>
                        <a:pt x="282" y="39"/>
                        <a:pt x="282" y="39"/>
                        <a:pt x="282" y="39"/>
                      </a:cubicBezTo>
                      <a:cubicBezTo>
                        <a:pt x="286" y="39"/>
                        <a:pt x="289" y="39"/>
                        <a:pt x="293" y="40"/>
                      </a:cubicBezTo>
                      <a:cubicBezTo>
                        <a:pt x="299" y="27"/>
                        <a:pt x="299" y="27"/>
                        <a:pt x="299" y="27"/>
                      </a:cubicBezTo>
                      <a:cubicBezTo>
                        <a:pt x="299" y="26"/>
                        <a:pt x="301" y="25"/>
                        <a:pt x="302" y="25"/>
                      </a:cubicBezTo>
                      <a:cubicBezTo>
                        <a:pt x="304" y="25"/>
                        <a:pt x="305" y="27"/>
                        <a:pt x="305" y="28"/>
                      </a:cubicBezTo>
                      <a:cubicBezTo>
                        <a:pt x="305" y="28"/>
                        <a:pt x="305" y="28"/>
                        <a:pt x="304" y="29"/>
                      </a:cubicBezTo>
                      <a:cubicBezTo>
                        <a:pt x="304" y="43"/>
                        <a:pt x="304" y="43"/>
                        <a:pt x="304" y="43"/>
                      </a:cubicBezTo>
                      <a:cubicBezTo>
                        <a:pt x="308" y="44"/>
                        <a:pt x="311" y="45"/>
                        <a:pt x="314" y="47"/>
                      </a:cubicBezTo>
                      <a:cubicBezTo>
                        <a:pt x="324" y="37"/>
                        <a:pt x="324" y="37"/>
                        <a:pt x="324" y="37"/>
                      </a:cubicBezTo>
                      <a:cubicBezTo>
                        <a:pt x="325" y="35"/>
                        <a:pt x="326" y="35"/>
                        <a:pt x="328" y="36"/>
                      </a:cubicBezTo>
                      <a:cubicBezTo>
                        <a:pt x="328" y="36"/>
                        <a:pt x="329" y="37"/>
                        <a:pt x="329" y="38"/>
                      </a:cubicBezTo>
                      <a:cubicBezTo>
                        <a:pt x="329" y="39"/>
                        <a:pt x="329" y="39"/>
                        <a:pt x="328" y="40"/>
                      </a:cubicBezTo>
                      <a:cubicBezTo>
                        <a:pt x="324" y="53"/>
                        <a:pt x="324" y="53"/>
                        <a:pt x="324" y="53"/>
                      </a:cubicBezTo>
                      <a:cubicBezTo>
                        <a:pt x="327" y="55"/>
                        <a:pt x="329" y="57"/>
                        <a:pt x="332" y="60"/>
                      </a:cubicBezTo>
                      <a:cubicBezTo>
                        <a:pt x="344" y="53"/>
                        <a:pt x="344" y="53"/>
                        <a:pt x="344" y="53"/>
                      </a:cubicBezTo>
                      <a:cubicBezTo>
                        <a:pt x="345" y="52"/>
                        <a:pt x="347" y="52"/>
                        <a:pt x="348" y="54"/>
                      </a:cubicBezTo>
                      <a:cubicBezTo>
                        <a:pt x="349" y="54"/>
                        <a:pt x="349" y="55"/>
                        <a:pt x="349" y="55"/>
                      </a:cubicBezTo>
                      <a:cubicBezTo>
                        <a:pt x="349" y="56"/>
                        <a:pt x="349" y="57"/>
                        <a:pt x="348" y="58"/>
                      </a:cubicBezTo>
                      <a:cubicBezTo>
                        <a:pt x="339" y="69"/>
                        <a:pt x="339" y="69"/>
                        <a:pt x="339" y="69"/>
                      </a:cubicBezTo>
                      <a:cubicBezTo>
                        <a:pt x="341" y="72"/>
                        <a:pt x="343" y="75"/>
                        <a:pt x="345" y="78"/>
                      </a:cubicBezTo>
                      <a:cubicBezTo>
                        <a:pt x="359" y="75"/>
                        <a:pt x="359" y="75"/>
                        <a:pt x="359" y="75"/>
                      </a:cubicBezTo>
                      <a:cubicBezTo>
                        <a:pt x="360" y="75"/>
                        <a:pt x="362" y="76"/>
                        <a:pt x="362" y="77"/>
                      </a:cubicBezTo>
                      <a:cubicBezTo>
                        <a:pt x="362" y="77"/>
                        <a:pt x="362" y="78"/>
                        <a:pt x="362" y="78"/>
                      </a:cubicBezTo>
                      <a:cubicBezTo>
                        <a:pt x="362" y="79"/>
                        <a:pt x="362" y="80"/>
                        <a:pt x="361" y="81"/>
                      </a:cubicBezTo>
                      <a:cubicBezTo>
                        <a:pt x="349" y="89"/>
                        <a:pt x="349" y="89"/>
                        <a:pt x="349" y="89"/>
                      </a:cubicBezTo>
                      <a:cubicBezTo>
                        <a:pt x="350" y="92"/>
                        <a:pt x="351" y="95"/>
                        <a:pt x="351" y="99"/>
                      </a:cubicBezTo>
                      <a:cubicBezTo>
                        <a:pt x="365" y="101"/>
                        <a:pt x="365" y="101"/>
                        <a:pt x="365" y="101"/>
                      </a:cubicBezTo>
                      <a:cubicBezTo>
                        <a:pt x="367" y="101"/>
                        <a:pt x="368" y="102"/>
                        <a:pt x="368" y="104"/>
                      </a:cubicBezTo>
                      <a:cubicBezTo>
                        <a:pt x="368" y="104"/>
                        <a:pt x="368" y="104"/>
                        <a:pt x="368" y="104"/>
                      </a:cubicBezTo>
                      <a:cubicBezTo>
                        <a:pt x="368" y="105"/>
                        <a:pt x="367" y="106"/>
                        <a:pt x="366" y="107"/>
                      </a:cubicBezTo>
                      <a:cubicBezTo>
                        <a:pt x="352" y="111"/>
                        <a:pt x="352" y="111"/>
                        <a:pt x="352" y="111"/>
                      </a:cubicBezTo>
                      <a:cubicBezTo>
                        <a:pt x="352" y="114"/>
                        <a:pt x="352" y="118"/>
                        <a:pt x="351" y="121"/>
                      </a:cubicBezTo>
                      <a:cubicBezTo>
                        <a:pt x="364" y="127"/>
                        <a:pt x="364" y="127"/>
                        <a:pt x="364" y="127"/>
                      </a:cubicBezTo>
                      <a:cubicBezTo>
                        <a:pt x="365" y="128"/>
                        <a:pt x="366" y="129"/>
                        <a:pt x="366" y="130"/>
                      </a:cubicBezTo>
                      <a:cubicBezTo>
                        <a:pt x="366" y="130"/>
                        <a:pt x="366" y="130"/>
                        <a:pt x="366" y="131"/>
                      </a:cubicBezTo>
                      <a:cubicBezTo>
                        <a:pt x="366" y="132"/>
                        <a:pt x="364" y="133"/>
                        <a:pt x="363" y="133"/>
                      </a:cubicBezTo>
                      <a:cubicBezTo>
                        <a:pt x="348" y="133"/>
                        <a:pt x="348" y="133"/>
                        <a:pt x="348" y="133"/>
                      </a:cubicBezTo>
                      <a:cubicBezTo>
                        <a:pt x="347" y="136"/>
                        <a:pt x="346" y="139"/>
                        <a:pt x="345" y="142"/>
                      </a:cubicBezTo>
                      <a:cubicBezTo>
                        <a:pt x="355" y="152"/>
                        <a:pt x="355" y="152"/>
                        <a:pt x="355" y="152"/>
                      </a:cubicBezTo>
                      <a:cubicBezTo>
                        <a:pt x="355" y="153"/>
                        <a:pt x="356" y="153"/>
                        <a:pt x="356" y="154"/>
                      </a:cubicBezTo>
                      <a:cubicBezTo>
                        <a:pt x="356" y="155"/>
                        <a:pt x="356" y="155"/>
                        <a:pt x="356" y="156"/>
                      </a:cubicBezTo>
                      <a:cubicBezTo>
                        <a:pt x="355" y="157"/>
                        <a:pt x="353" y="158"/>
                        <a:pt x="352" y="157"/>
                      </a:cubicBezTo>
                      <a:cubicBezTo>
                        <a:pt x="338" y="152"/>
                        <a:pt x="338" y="152"/>
                        <a:pt x="338" y="152"/>
                      </a:cubicBezTo>
                      <a:cubicBezTo>
                        <a:pt x="336" y="155"/>
                        <a:pt x="334" y="157"/>
                        <a:pt x="331" y="160"/>
                      </a:cubicBezTo>
                      <a:cubicBezTo>
                        <a:pt x="338" y="173"/>
                        <a:pt x="338" y="173"/>
                        <a:pt x="338" y="173"/>
                      </a:cubicBezTo>
                      <a:cubicBezTo>
                        <a:pt x="338" y="173"/>
                        <a:pt x="339" y="174"/>
                        <a:pt x="339" y="174"/>
                      </a:cubicBezTo>
                      <a:cubicBezTo>
                        <a:pt x="339" y="175"/>
                        <a:pt x="338" y="176"/>
                        <a:pt x="338" y="176"/>
                      </a:cubicBezTo>
                      <a:cubicBezTo>
                        <a:pt x="336" y="177"/>
                        <a:pt x="335" y="177"/>
                        <a:pt x="334" y="176"/>
                      </a:cubicBezTo>
                      <a:close/>
                      <a:moveTo>
                        <a:pt x="451" y="192"/>
                      </a:moveTo>
                      <a:cubicBezTo>
                        <a:pt x="442" y="195"/>
                        <a:pt x="442" y="195"/>
                        <a:pt x="442" y="195"/>
                      </a:cubicBezTo>
                      <a:cubicBezTo>
                        <a:pt x="442" y="197"/>
                        <a:pt x="442" y="200"/>
                        <a:pt x="441" y="202"/>
                      </a:cubicBezTo>
                      <a:cubicBezTo>
                        <a:pt x="450" y="206"/>
                        <a:pt x="450" y="206"/>
                        <a:pt x="450" y="206"/>
                      </a:cubicBezTo>
                      <a:cubicBezTo>
                        <a:pt x="451" y="206"/>
                        <a:pt x="451" y="207"/>
                        <a:pt x="451" y="208"/>
                      </a:cubicBezTo>
                      <a:cubicBezTo>
                        <a:pt x="451" y="208"/>
                        <a:pt x="451" y="208"/>
                        <a:pt x="451" y="208"/>
                      </a:cubicBezTo>
                      <a:cubicBezTo>
                        <a:pt x="451" y="209"/>
                        <a:pt x="450" y="210"/>
                        <a:pt x="449" y="210"/>
                      </a:cubicBezTo>
                      <a:cubicBezTo>
                        <a:pt x="439" y="210"/>
                        <a:pt x="439" y="210"/>
                        <a:pt x="439" y="210"/>
                      </a:cubicBezTo>
                      <a:cubicBezTo>
                        <a:pt x="439" y="212"/>
                        <a:pt x="438" y="214"/>
                        <a:pt x="437" y="216"/>
                      </a:cubicBezTo>
                      <a:cubicBezTo>
                        <a:pt x="444" y="223"/>
                        <a:pt x="444" y="223"/>
                        <a:pt x="444" y="223"/>
                      </a:cubicBezTo>
                      <a:cubicBezTo>
                        <a:pt x="444" y="223"/>
                        <a:pt x="444" y="224"/>
                        <a:pt x="444" y="224"/>
                      </a:cubicBezTo>
                      <a:cubicBezTo>
                        <a:pt x="444" y="225"/>
                        <a:pt x="444" y="225"/>
                        <a:pt x="444" y="225"/>
                      </a:cubicBezTo>
                      <a:cubicBezTo>
                        <a:pt x="444" y="226"/>
                        <a:pt x="443" y="226"/>
                        <a:pt x="442" y="226"/>
                      </a:cubicBezTo>
                      <a:cubicBezTo>
                        <a:pt x="433" y="223"/>
                        <a:pt x="433" y="223"/>
                        <a:pt x="433" y="223"/>
                      </a:cubicBezTo>
                      <a:cubicBezTo>
                        <a:pt x="431" y="224"/>
                        <a:pt x="430" y="226"/>
                        <a:pt x="428" y="228"/>
                      </a:cubicBezTo>
                      <a:cubicBezTo>
                        <a:pt x="433" y="236"/>
                        <a:pt x="433" y="236"/>
                        <a:pt x="433" y="236"/>
                      </a:cubicBezTo>
                      <a:cubicBezTo>
                        <a:pt x="433" y="237"/>
                        <a:pt x="433" y="237"/>
                        <a:pt x="433" y="237"/>
                      </a:cubicBezTo>
                      <a:cubicBezTo>
                        <a:pt x="433" y="238"/>
                        <a:pt x="433" y="239"/>
                        <a:pt x="432" y="239"/>
                      </a:cubicBezTo>
                      <a:cubicBezTo>
                        <a:pt x="431" y="240"/>
                        <a:pt x="430" y="239"/>
                        <a:pt x="430" y="239"/>
                      </a:cubicBezTo>
                      <a:cubicBezTo>
                        <a:pt x="422" y="233"/>
                        <a:pt x="422" y="233"/>
                        <a:pt x="422" y="233"/>
                      </a:cubicBezTo>
                      <a:cubicBezTo>
                        <a:pt x="420" y="234"/>
                        <a:pt x="418" y="235"/>
                        <a:pt x="416" y="236"/>
                      </a:cubicBezTo>
                      <a:cubicBezTo>
                        <a:pt x="418" y="246"/>
                        <a:pt x="418" y="246"/>
                        <a:pt x="418" y="246"/>
                      </a:cubicBezTo>
                      <a:cubicBezTo>
                        <a:pt x="418" y="246"/>
                        <a:pt x="418" y="246"/>
                        <a:pt x="418" y="247"/>
                      </a:cubicBezTo>
                      <a:cubicBezTo>
                        <a:pt x="418" y="247"/>
                        <a:pt x="417" y="248"/>
                        <a:pt x="417" y="248"/>
                      </a:cubicBezTo>
                      <a:cubicBezTo>
                        <a:pt x="416" y="249"/>
                        <a:pt x="415" y="248"/>
                        <a:pt x="414" y="247"/>
                      </a:cubicBezTo>
                      <a:cubicBezTo>
                        <a:pt x="409" y="239"/>
                        <a:pt x="409" y="239"/>
                        <a:pt x="409" y="239"/>
                      </a:cubicBezTo>
                      <a:cubicBezTo>
                        <a:pt x="407" y="240"/>
                        <a:pt x="404" y="241"/>
                        <a:pt x="402" y="241"/>
                      </a:cubicBezTo>
                      <a:cubicBezTo>
                        <a:pt x="401" y="250"/>
                        <a:pt x="401" y="250"/>
                        <a:pt x="401" y="250"/>
                      </a:cubicBezTo>
                      <a:cubicBezTo>
                        <a:pt x="401" y="250"/>
                        <a:pt x="401" y="251"/>
                        <a:pt x="401" y="251"/>
                      </a:cubicBezTo>
                      <a:cubicBezTo>
                        <a:pt x="401" y="252"/>
                        <a:pt x="400" y="252"/>
                        <a:pt x="399" y="252"/>
                      </a:cubicBezTo>
                      <a:cubicBezTo>
                        <a:pt x="399" y="252"/>
                        <a:pt x="399" y="252"/>
                        <a:pt x="399" y="252"/>
                      </a:cubicBezTo>
                      <a:cubicBezTo>
                        <a:pt x="398" y="252"/>
                        <a:pt x="397" y="252"/>
                        <a:pt x="397" y="251"/>
                      </a:cubicBezTo>
                      <a:cubicBezTo>
                        <a:pt x="394" y="242"/>
                        <a:pt x="394" y="242"/>
                        <a:pt x="394" y="242"/>
                      </a:cubicBezTo>
                      <a:cubicBezTo>
                        <a:pt x="392" y="242"/>
                        <a:pt x="390" y="241"/>
                        <a:pt x="387" y="241"/>
                      </a:cubicBezTo>
                      <a:cubicBezTo>
                        <a:pt x="383" y="250"/>
                        <a:pt x="383" y="250"/>
                        <a:pt x="383" y="250"/>
                      </a:cubicBezTo>
                      <a:cubicBezTo>
                        <a:pt x="383" y="251"/>
                        <a:pt x="382" y="251"/>
                        <a:pt x="381" y="251"/>
                      </a:cubicBezTo>
                      <a:cubicBezTo>
                        <a:pt x="380" y="251"/>
                        <a:pt x="379" y="250"/>
                        <a:pt x="379" y="249"/>
                      </a:cubicBezTo>
                      <a:cubicBezTo>
                        <a:pt x="379" y="249"/>
                        <a:pt x="379" y="249"/>
                        <a:pt x="379" y="249"/>
                      </a:cubicBezTo>
                      <a:cubicBezTo>
                        <a:pt x="380" y="239"/>
                        <a:pt x="380" y="239"/>
                        <a:pt x="380" y="239"/>
                      </a:cubicBezTo>
                      <a:cubicBezTo>
                        <a:pt x="377" y="238"/>
                        <a:pt x="375" y="237"/>
                        <a:pt x="373" y="236"/>
                      </a:cubicBezTo>
                      <a:cubicBezTo>
                        <a:pt x="367" y="243"/>
                        <a:pt x="367" y="243"/>
                        <a:pt x="367" y="243"/>
                      </a:cubicBezTo>
                      <a:cubicBezTo>
                        <a:pt x="366" y="244"/>
                        <a:pt x="365" y="244"/>
                        <a:pt x="364" y="244"/>
                      </a:cubicBezTo>
                      <a:cubicBezTo>
                        <a:pt x="364" y="243"/>
                        <a:pt x="363" y="243"/>
                        <a:pt x="363" y="242"/>
                      </a:cubicBezTo>
                      <a:cubicBezTo>
                        <a:pt x="363" y="242"/>
                        <a:pt x="363" y="242"/>
                        <a:pt x="364" y="241"/>
                      </a:cubicBezTo>
                      <a:cubicBezTo>
                        <a:pt x="367" y="232"/>
                        <a:pt x="367" y="232"/>
                        <a:pt x="367" y="232"/>
                      </a:cubicBezTo>
                      <a:cubicBezTo>
                        <a:pt x="365" y="231"/>
                        <a:pt x="363" y="229"/>
                        <a:pt x="361" y="228"/>
                      </a:cubicBezTo>
                      <a:cubicBezTo>
                        <a:pt x="353" y="232"/>
                        <a:pt x="353" y="232"/>
                        <a:pt x="353" y="232"/>
                      </a:cubicBezTo>
                      <a:cubicBezTo>
                        <a:pt x="352" y="233"/>
                        <a:pt x="351" y="233"/>
                        <a:pt x="350" y="232"/>
                      </a:cubicBezTo>
                      <a:cubicBezTo>
                        <a:pt x="350" y="232"/>
                        <a:pt x="350" y="231"/>
                        <a:pt x="350" y="231"/>
                      </a:cubicBezTo>
                      <a:cubicBezTo>
                        <a:pt x="350" y="230"/>
                        <a:pt x="350" y="230"/>
                        <a:pt x="351" y="229"/>
                      </a:cubicBezTo>
                      <a:cubicBezTo>
                        <a:pt x="356" y="222"/>
                        <a:pt x="356" y="222"/>
                        <a:pt x="356" y="222"/>
                      </a:cubicBezTo>
                      <a:cubicBezTo>
                        <a:pt x="355" y="220"/>
                        <a:pt x="354" y="218"/>
                        <a:pt x="353" y="216"/>
                      </a:cubicBezTo>
                      <a:cubicBezTo>
                        <a:pt x="343" y="217"/>
                        <a:pt x="343" y="217"/>
                        <a:pt x="343" y="217"/>
                      </a:cubicBezTo>
                      <a:cubicBezTo>
                        <a:pt x="342" y="218"/>
                        <a:pt x="341" y="217"/>
                        <a:pt x="341" y="216"/>
                      </a:cubicBezTo>
                      <a:cubicBezTo>
                        <a:pt x="341" y="216"/>
                        <a:pt x="341" y="216"/>
                        <a:pt x="341" y="216"/>
                      </a:cubicBezTo>
                      <a:cubicBezTo>
                        <a:pt x="341" y="215"/>
                        <a:pt x="341" y="214"/>
                        <a:pt x="342" y="214"/>
                      </a:cubicBezTo>
                      <a:cubicBezTo>
                        <a:pt x="350" y="208"/>
                        <a:pt x="350" y="208"/>
                        <a:pt x="350" y="208"/>
                      </a:cubicBezTo>
                      <a:cubicBezTo>
                        <a:pt x="349" y="206"/>
                        <a:pt x="349" y="204"/>
                        <a:pt x="348" y="202"/>
                      </a:cubicBezTo>
                      <a:cubicBezTo>
                        <a:pt x="339" y="200"/>
                        <a:pt x="339" y="200"/>
                        <a:pt x="339" y="200"/>
                      </a:cubicBezTo>
                      <a:cubicBezTo>
                        <a:pt x="338" y="200"/>
                        <a:pt x="337" y="200"/>
                        <a:pt x="337" y="199"/>
                      </a:cubicBezTo>
                      <a:cubicBezTo>
                        <a:pt x="337" y="199"/>
                        <a:pt x="337" y="198"/>
                        <a:pt x="337" y="198"/>
                      </a:cubicBezTo>
                      <a:cubicBezTo>
                        <a:pt x="337" y="197"/>
                        <a:pt x="338" y="197"/>
                        <a:pt x="339" y="197"/>
                      </a:cubicBezTo>
                      <a:cubicBezTo>
                        <a:pt x="348" y="194"/>
                        <a:pt x="348" y="194"/>
                        <a:pt x="348" y="194"/>
                      </a:cubicBezTo>
                      <a:cubicBezTo>
                        <a:pt x="348" y="191"/>
                        <a:pt x="348" y="189"/>
                        <a:pt x="348" y="187"/>
                      </a:cubicBezTo>
                      <a:cubicBezTo>
                        <a:pt x="340" y="183"/>
                        <a:pt x="340" y="183"/>
                        <a:pt x="340" y="183"/>
                      </a:cubicBezTo>
                      <a:cubicBezTo>
                        <a:pt x="339" y="182"/>
                        <a:pt x="338" y="182"/>
                        <a:pt x="338" y="181"/>
                      </a:cubicBezTo>
                      <a:cubicBezTo>
                        <a:pt x="338" y="181"/>
                        <a:pt x="338" y="181"/>
                        <a:pt x="338" y="180"/>
                      </a:cubicBezTo>
                      <a:cubicBezTo>
                        <a:pt x="339" y="179"/>
                        <a:pt x="340" y="179"/>
                        <a:pt x="341" y="179"/>
                      </a:cubicBezTo>
                      <a:cubicBezTo>
                        <a:pt x="350" y="179"/>
                        <a:pt x="350" y="179"/>
                        <a:pt x="350" y="179"/>
                      </a:cubicBezTo>
                      <a:cubicBezTo>
                        <a:pt x="351" y="177"/>
                        <a:pt x="352" y="175"/>
                        <a:pt x="353" y="173"/>
                      </a:cubicBezTo>
                      <a:cubicBezTo>
                        <a:pt x="346" y="166"/>
                        <a:pt x="346" y="166"/>
                        <a:pt x="346" y="166"/>
                      </a:cubicBezTo>
                      <a:cubicBezTo>
                        <a:pt x="346" y="166"/>
                        <a:pt x="345" y="165"/>
                        <a:pt x="345" y="165"/>
                      </a:cubicBezTo>
                      <a:cubicBezTo>
                        <a:pt x="345" y="164"/>
                        <a:pt x="345" y="164"/>
                        <a:pt x="345" y="164"/>
                      </a:cubicBezTo>
                      <a:cubicBezTo>
                        <a:pt x="346" y="163"/>
                        <a:pt x="347" y="163"/>
                        <a:pt x="348" y="163"/>
                      </a:cubicBezTo>
                      <a:cubicBezTo>
                        <a:pt x="357" y="166"/>
                        <a:pt x="357" y="166"/>
                        <a:pt x="357" y="166"/>
                      </a:cubicBezTo>
                      <a:cubicBezTo>
                        <a:pt x="358" y="164"/>
                        <a:pt x="360" y="163"/>
                        <a:pt x="361" y="161"/>
                      </a:cubicBezTo>
                      <a:cubicBezTo>
                        <a:pt x="357" y="153"/>
                        <a:pt x="357" y="153"/>
                        <a:pt x="357" y="153"/>
                      </a:cubicBezTo>
                      <a:cubicBezTo>
                        <a:pt x="357" y="152"/>
                        <a:pt x="357" y="152"/>
                        <a:pt x="357" y="151"/>
                      </a:cubicBezTo>
                      <a:cubicBezTo>
                        <a:pt x="357" y="151"/>
                        <a:pt x="357" y="150"/>
                        <a:pt x="357" y="150"/>
                      </a:cubicBezTo>
                      <a:cubicBezTo>
                        <a:pt x="358" y="149"/>
                        <a:pt x="359" y="149"/>
                        <a:pt x="360" y="150"/>
                      </a:cubicBezTo>
                      <a:cubicBezTo>
                        <a:pt x="368" y="156"/>
                        <a:pt x="368" y="156"/>
                        <a:pt x="368" y="156"/>
                      </a:cubicBezTo>
                      <a:cubicBezTo>
                        <a:pt x="369" y="155"/>
                        <a:pt x="371" y="153"/>
                        <a:pt x="373" y="152"/>
                      </a:cubicBezTo>
                      <a:cubicBezTo>
                        <a:pt x="372" y="143"/>
                        <a:pt x="372" y="143"/>
                        <a:pt x="372" y="143"/>
                      </a:cubicBezTo>
                      <a:cubicBezTo>
                        <a:pt x="372" y="143"/>
                        <a:pt x="372" y="143"/>
                        <a:pt x="372" y="142"/>
                      </a:cubicBezTo>
                      <a:cubicBezTo>
                        <a:pt x="372" y="142"/>
                        <a:pt x="372" y="141"/>
                        <a:pt x="373" y="141"/>
                      </a:cubicBezTo>
                      <a:cubicBezTo>
                        <a:pt x="374" y="140"/>
                        <a:pt x="375" y="141"/>
                        <a:pt x="375" y="142"/>
                      </a:cubicBezTo>
                      <a:cubicBezTo>
                        <a:pt x="381" y="149"/>
                        <a:pt x="381" y="149"/>
                        <a:pt x="381" y="149"/>
                      </a:cubicBezTo>
                      <a:cubicBezTo>
                        <a:pt x="383" y="149"/>
                        <a:pt x="385" y="148"/>
                        <a:pt x="387" y="148"/>
                      </a:cubicBezTo>
                      <a:cubicBezTo>
                        <a:pt x="389" y="138"/>
                        <a:pt x="389" y="138"/>
                        <a:pt x="389" y="138"/>
                      </a:cubicBezTo>
                      <a:cubicBezTo>
                        <a:pt x="389" y="138"/>
                        <a:pt x="389" y="138"/>
                        <a:pt x="389" y="138"/>
                      </a:cubicBezTo>
                      <a:cubicBezTo>
                        <a:pt x="389" y="137"/>
                        <a:pt x="390" y="136"/>
                        <a:pt x="391" y="136"/>
                      </a:cubicBezTo>
                      <a:cubicBezTo>
                        <a:pt x="392" y="136"/>
                        <a:pt x="393" y="137"/>
                        <a:pt x="393" y="138"/>
                      </a:cubicBezTo>
                      <a:cubicBezTo>
                        <a:pt x="395" y="147"/>
                        <a:pt x="395" y="147"/>
                        <a:pt x="395" y="147"/>
                      </a:cubicBezTo>
                      <a:cubicBezTo>
                        <a:pt x="398" y="147"/>
                        <a:pt x="400" y="147"/>
                        <a:pt x="402" y="148"/>
                      </a:cubicBezTo>
                      <a:cubicBezTo>
                        <a:pt x="407" y="139"/>
                        <a:pt x="407" y="139"/>
                        <a:pt x="407" y="139"/>
                      </a:cubicBezTo>
                      <a:cubicBezTo>
                        <a:pt x="407" y="138"/>
                        <a:pt x="408" y="138"/>
                        <a:pt x="409" y="138"/>
                      </a:cubicBezTo>
                      <a:cubicBezTo>
                        <a:pt x="410" y="138"/>
                        <a:pt x="410" y="139"/>
                        <a:pt x="410" y="140"/>
                      </a:cubicBezTo>
                      <a:cubicBezTo>
                        <a:pt x="410" y="140"/>
                        <a:pt x="410" y="140"/>
                        <a:pt x="410" y="140"/>
                      </a:cubicBezTo>
                      <a:cubicBezTo>
                        <a:pt x="410" y="150"/>
                        <a:pt x="410" y="150"/>
                        <a:pt x="410" y="150"/>
                      </a:cubicBezTo>
                      <a:cubicBezTo>
                        <a:pt x="412" y="150"/>
                        <a:pt x="414" y="151"/>
                        <a:pt x="416" y="152"/>
                      </a:cubicBezTo>
                      <a:cubicBezTo>
                        <a:pt x="423" y="146"/>
                        <a:pt x="423" y="146"/>
                        <a:pt x="423" y="146"/>
                      </a:cubicBezTo>
                      <a:cubicBezTo>
                        <a:pt x="424" y="145"/>
                        <a:pt x="425" y="145"/>
                        <a:pt x="426" y="145"/>
                      </a:cubicBezTo>
                      <a:cubicBezTo>
                        <a:pt x="426" y="145"/>
                        <a:pt x="426" y="146"/>
                        <a:pt x="426" y="147"/>
                      </a:cubicBezTo>
                      <a:cubicBezTo>
                        <a:pt x="426" y="147"/>
                        <a:pt x="426" y="147"/>
                        <a:pt x="426" y="148"/>
                      </a:cubicBezTo>
                      <a:cubicBezTo>
                        <a:pt x="423" y="157"/>
                        <a:pt x="423" y="157"/>
                        <a:pt x="423" y="157"/>
                      </a:cubicBezTo>
                      <a:cubicBezTo>
                        <a:pt x="425" y="158"/>
                        <a:pt x="427" y="159"/>
                        <a:pt x="428" y="161"/>
                      </a:cubicBezTo>
                      <a:cubicBezTo>
                        <a:pt x="437" y="157"/>
                        <a:pt x="437" y="157"/>
                        <a:pt x="437" y="157"/>
                      </a:cubicBezTo>
                      <a:cubicBezTo>
                        <a:pt x="437" y="156"/>
                        <a:pt x="439" y="156"/>
                        <a:pt x="439" y="157"/>
                      </a:cubicBezTo>
                      <a:cubicBezTo>
                        <a:pt x="440" y="157"/>
                        <a:pt x="440" y="158"/>
                        <a:pt x="440" y="158"/>
                      </a:cubicBezTo>
                      <a:cubicBezTo>
                        <a:pt x="440" y="159"/>
                        <a:pt x="440" y="159"/>
                        <a:pt x="439" y="160"/>
                      </a:cubicBezTo>
                      <a:cubicBezTo>
                        <a:pt x="433" y="167"/>
                        <a:pt x="433" y="167"/>
                        <a:pt x="433" y="167"/>
                      </a:cubicBezTo>
                      <a:cubicBezTo>
                        <a:pt x="435" y="169"/>
                        <a:pt x="436" y="171"/>
                        <a:pt x="437" y="173"/>
                      </a:cubicBezTo>
                      <a:cubicBezTo>
                        <a:pt x="446" y="172"/>
                        <a:pt x="446" y="172"/>
                        <a:pt x="446" y="172"/>
                      </a:cubicBezTo>
                      <a:cubicBezTo>
                        <a:pt x="447" y="171"/>
                        <a:pt x="448" y="172"/>
                        <a:pt x="449" y="173"/>
                      </a:cubicBezTo>
                      <a:cubicBezTo>
                        <a:pt x="449" y="173"/>
                        <a:pt x="449" y="173"/>
                        <a:pt x="449" y="173"/>
                      </a:cubicBezTo>
                      <a:cubicBezTo>
                        <a:pt x="449" y="174"/>
                        <a:pt x="448" y="175"/>
                        <a:pt x="448" y="175"/>
                      </a:cubicBezTo>
                      <a:cubicBezTo>
                        <a:pt x="440" y="180"/>
                        <a:pt x="440" y="180"/>
                        <a:pt x="440" y="180"/>
                      </a:cubicBezTo>
                      <a:cubicBezTo>
                        <a:pt x="441" y="183"/>
                        <a:pt x="441" y="185"/>
                        <a:pt x="441" y="187"/>
                      </a:cubicBezTo>
                      <a:cubicBezTo>
                        <a:pt x="451" y="189"/>
                        <a:pt x="451" y="189"/>
                        <a:pt x="451" y="189"/>
                      </a:cubicBezTo>
                      <a:cubicBezTo>
                        <a:pt x="452" y="188"/>
                        <a:pt x="453" y="189"/>
                        <a:pt x="453" y="190"/>
                      </a:cubicBezTo>
                      <a:cubicBezTo>
                        <a:pt x="453" y="190"/>
                        <a:pt x="453" y="190"/>
                        <a:pt x="453" y="190"/>
                      </a:cubicBezTo>
                      <a:cubicBezTo>
                        <a:pt x="453" y="191"/>
                        <a:pt x="452" y="192"/>
                        <a:pt x="451" y="19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3" name="Oval 24"/>
                <p:cNvSpPr>
                  <a:spLocks noChangeArrowheads="1"/>
                </p:cNvSpPr>
                <p:nvPr/>
              </p:nvSpPr>
              <p:spPr bwMode="auto">
                <a:xfrm>
                  <a:off x="-1333500" y="3128963"/>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4" name="Freeform 25"/>
                <p:cNvSpPr>
                  <a:spLocks/>
                </p:cNvSpPr>
                <p:nvPr/>
              </p:nvSpPr>
              <p:spPr bwMode="auto">
                <a:xfrm>
                  <a:off x="-1423988" y="2082800"/>
                  <a:ext cx="889000" cy="357188"/>
                </a:xfrm>
                <a:custGeom>
                  <a:avLst/>
                  <a:gdLst>
                    <a:gd name="T0" fmla="*/ 218 w 237"/>
                    <a:gd name="T1" fmla="*/ 95 h 95"/>
                    <a:gd name="T2" fmla="*/ 217 w 237"/>
                    <a:gd name="T3" fmla="*/ 94 h 95"/>
                    <a:gd name="T4" fmla="*/ 234 w 237"/>
                    <a:gd name="T5" fmla="*/ 82 h 95"/>
                    <a:gd name="T6" fmla="*/ 237 w 237"/>
                    <a:gd name="T7" fmla="*/ 79 h 95"/>
                    <a:gd name="T8" fmla="*/ 236 w 237"/>
                    <a:gd name="T9" fmla="*/ 77 h 95"/>
                    <a:gd name="T10" fmla="*/ 231 w 237"/>
                    <a:gd name="T11" fmla="*/ 75 h 95"/>
                    <a:gd name="T12" fmla="*/ 211 w 237"/>
                    <a:gd name="T13" fmla="*/ 78 h 95"/>
                    <a:gd name="T14" fmla="*/ 203 w 237"/>
                    <a:gd name="T15" fmla="*/ 66 h 95"/>
                    <a:gd name="T16" fmla="*/ 216 w 237"/>
                    <a:gd name="T17" fmla="*/ 49 h 95"/>
                    <a:gd name="T18" fmla="*/ 217 w 237"/>
                    <a:gd name="T19" fmla="*/ 46 h 95"/>
                    <a:gd name="T20" fmla="*/ 216 w 237"/>
                    <a:gd name="T21" fmla="*/ 44 h 95"/>
                    <a:gd name="T22" fmla="*/ 211 w 237"/>
                    <a:gd name="T23" fmla="*/ 43 h 95"/>
                    <a:gd name="T24" fmla="*/ 192 w 237"/>
                    <a:gd name="T25" fmla="*/ 53 h 95"/>
                    <a:gd name="T26" fmla="*/ 181 w 237"/>
                    <a:gd name="T27" fmla="*/ 43 h 95"/>
                    <a:gd name="T28" fmla="*/ 188 w 237"/>
                    <a:gd name="T29" fmla="*/ 24 h 95"/>
                    <a:gd name="T30" fmla="*/ 189 w 237"/>
                    <a:gd name="T31" fmla="*/ 22 h 95"/>
                    <a:gd name="T32" fmla="*/ 187 w 237"/>
                    <a:gd name="T33" fmla="*/ 18 h 95"/>
                    <a:gd name="T34" fmla="*/ 181 w 237"/>
                    <a:gd name="T35" fmla="*/ 20 h 95"/>
                    <a:gd name="T36" fmla="*/ 167 w 237"/>
                    <a:gd name="T37" fmla="*/ 34 h 95"/>
                    <a:gd name="T38" fmla="*/ 153 w 237"/>
                    <a:gd name="T39" fmla="*/ 28 h 95"/>
                    <a:gd name="T40" fmla="*/ 154 w 237"/>
                    <a:gd name="T41" fmla="*/ 8 h 95"/>
                    <a:gd name="T42" fmla="*/ 154 w 237"/>
                    <a:gd name="T43" fmla="*/ 7 h 95"/>
                    <a:gd name="T44" fmla="*/ 151 w 237"/>
                    <a:gd name="T45" fmla="*/ 3 h 95"/>
                    <a:gd name="T46" fmla="*/ 146 w 237"/>
                    <a:gd name="T47" fmla="*/ 6 h 95"/>
                    <a:gd name="T48" fmla="*/ 137 w 237"/>
                    <a:gd name="T49" fmla="*/ 24 h 95"/>
                    <a:gd name="T50" fmla="*/ 122 w 237"/>
                    <a:gd name="T51" fmla="*/ 23 h 95"/>
                    <a:gd name="T52" fmla="*/ 116 w 237"/>
                    <a:gd name="T53" fmla="*/ 4 h 95"/>
                    <a:gd name="T54" fmla="*/ 112 w 237"/>
                    <a:gd name="T55" fmla="*/ 0 h 95"/>
                    <a:gd name="T56" fmla="*/ 108 w 237"/>
                    <a:gd name="T57" fmla="*/ 4 h 95"/>
                    <a:gd name="T58" fmla="*/ 108 w 237"/>
                    <a:gd name="T59" fmla="*/ 4 h 95"/>
                    <a:gd name="T60" fmla="*/ 105 w 237"/>
                    <a:gd name="T61" fmla="*/ 24 h 95"/>
                    <a:gd name="T62" fmla="*/ 91 w 237"/>
                    <a:gd name="T63" fmla="*/ 28 h 95"/>
                    <a:gd name="T64" fmla="*/ 79 w 237"/>
                    <a:gd name="T65" fmla="*/ 11 h 95"/>
                    <a:gd name="T66" fmla="*/ 74 w 237"/>
                    <a:gd name="T67" fmla="*/ 9 h 95"/>
                    <a:gd name="T68" fmla="*/ 71 w 237"/>
                    <a:gd name="T69" fmla="*/ 12 h 95"/>
                    <a:gd name="T70" fmla="*/ 72 w 237"/>
                    <a:gd name="T71" fmla="*/ 14 h 95"/>
                    <a:gd name="T72" fmla="*/ 75 w 237"/>
                    <a:gd name="T73" fmla="*/ 34 h 95"/>
                    <a:gd name="T74" fmla="*/ 63 w 237"/>
                    <a:gd name="T75" fmla="*/ 42 h 95"/>
                    <a:gd name="T76" fmla="*/ 46 w 237"/>
                    <a:gd name="T77" fmla="*/ 29 h 95"/>
                    <a:gd name="T78" fmla="*/ 41 w 237"/>
                    <a:gd name="T79" fmla="*/ 29 h 95"/>
                    <a:gd name="T80" fmla="*/ 39 w 237"/>
                    <a:gd name="T81" fmla="*/ 32 h 95"/>
                    <a:gd name="T82" fmla="*/ 40 w 237"/>
                    <a:gd name="T83" fmla="*/ 34 h 95"/>
                    <a:gd name="T84" fmla="*/ 49 w 237"/>
                    <a:gd name="T85" fmla="*/ 53 h 95"/>
                    <a:gd name="T86" fmla="*/ 40 w 237"/>
                    <a:gd name="T87" fmla="*/ 64 h 95"/>
                    <a:gd name="T88" fmla="*/ 21 w 237"/>
                    <a:gd name="T89" fmla="*/ 57 h 95"/>
                    <a:gd name="T90" fmla="*/ 15 w 237"/>
                    <a:gd name="T91" fmla="*/ 58 h 95"/>
                    <a:gd name="T92" fmla="*/ 14 w 237"/>
                    <a:gd name="T93" fmla="*/ 60 h 95"/>
                    <a:gd name="T94" fmla="*/ 16 w 237"/>
                    <a:gd name="T95" fmla="*/ 64 h 95"/>
                    <a:gd name="T96" fmla="*/ 31 w 237"/>
                    <a:gd name="T97" fmla="*/ 78 h 95"/>
                    <a:gd name="T98" fmla="*/ 25 w 237"/>
                    <a:gd name="T99" fmla="*/ 92 h 95"/>
                    <a:gd name="T100" fmla="*/ 5 w 237"/>
                    <a:gd name="T101" fmla="*/ 91 h 95"/>
                    <a:gd name="T102" fmla="*/ 0 w 237"/>
                    <a:gd name="T103" fmla="*/ 94 h 95"/>
                    <a:gd name="T104" fmla="*/ 0 w 237"/>
                    <a:gd name="T105" fmla="*/ 95 h 95"/>
                    <a:gd name="T106" fmla="*/ 218 w 237"/>
                    <a:gd name="T107"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7" h="95">
                      <a:moveTo>
                        <a:pt x="218" y="95"/>
                      </a:moveTo>
                      <a:cubicBezTo>
                        <a:pt x="218" y="95"/>
                        <a:pt x="217" y="94"/>
                        <a:pt x="217" y="94"/>
                      </a:cubicBezTo>
                      <a:cubicBezTo>
                        <a:pt x="234" y="82"/>
                        <a:pt x="234" y="82"/>
                        <a:pt x="234" y="82"/>
                      </a:cubicBezTo>
                      <a:cubicBezTo>
                        <a:pt x="236" y="82"/>
                        <a:pt x="237" y="80"/>
                        <a:pt x="237" y="79"/>
                      </a:cubicBezTo>
                      <a:cubicBezTo>
                        <a:pt x="237" y="78"/>
                        <a:pt x="236" y="78"/>
                        <a:pt x="236" y="77"/>
                      </a:cubicBezTo>
                      <a:cubicBezTo>
                        <a:pt x="235" y="75"/>
                        <a:pt x="233" y="74"/>
                        <a:pt x="231" y="75"/>
                      </a:cubicBezTo>
                      <a:cubicBezTo>
                        <a:pt x="211" y="78"/>
                        <a:pt x="211" y="78"/>
                        <a:pt x="211" y="78"/>
                      </a:cubicBezTo>
                      <a:cubicBezTo>
                        <a:pt x="209" y="74"/>
                        <a:pt x="206" y="70"/>
                        <a:pt x="203" y="66"/>
                      </a:cubicBezTo>
                      <a:cubicBezTo>
                        <a:pt x="216" y="49"/>
                        <a:pt x="216" y="49"/>
                        <a:pt x="216" y="49"/>
                      </a:cubicBezTo>
                      <a:cubicBezTo>
                        <a:pt x="217" y="49"/>
                        <a:pt x="217" y="48"/>
                        <a:pt x="217" y="46"/>
                      </a:cubicBezTo>
                      <a:cubicBezTo>
                        <a:pt x="217" y="46"/>
                        <a:pt x="217" y="45"/>
                        <a:pt x="216" y="44"/>
                      </a:cubicBezTo>
                      <a:cubicBezTo>
                        <a:pt x="215" y="42"/>
                        <a:pt x="212" y="42"/>
                        <a:pt x="211" y="43"/>
                      </a:cubicBezTo>
                      <a:cubicBezTo>
                        <a:pt x="192" y="53"/>
                        <a:pt x="192" y="53"/>
                        <a:pt x="192" y="53"/>
                      </a:cubicBezTo>
                      <a:cubicBezTo>
                        <a:pt x="189" y="49"/>
                        <a:pt x="185" y="46"/>
                        <a:pt x="181" y="43"/>
                      </a:cubicBezTo>
                      <a:cubicBezTo>
                        <a:pt x="188" y="24"/>
                        <a:pt x="188" y="24"/>
                        <a:pt x="188" y="24"/>
                      </a:cubicBezTo>
                      <a:cubicBezTo>
                        <a:pt x="188" y="23"/>
                        <a:pt x="189" y="22"/>
                        <a:pt x="189" y="22"/>
                      </a:cubicBezTo>
                      <a:cubicBezTo>
                        <a:pt x="189" y="20"/>
                        <a:pt x="188" y="19"/>
                        <a:pt x="187" y="18"/>
                      </a:cubicBezTo>
                      <a:cubicBezTo>
                        <a:pt x="185" y="17"/>
                        <a:pt x="182" y="18"/>
                        <a:pt x="181" y="20"/>
                      </a:cubicBezTo>
                      <a:cubicBezTo>
                        <a:pt x="167" y="34"/>
                        <a:pt x="167" y="34"/>
                        <a:pt x="167" y="34"/>
                      </a:cubicBezTo>
                      <a:cubicBezTo>
                        <a:pt x="162" y="32"/>
                        <a:pt x="158" y="30"/>
                        <a:pt x="153" y="28"/>
                      </a:cubicBezTo>
                      <a:cubicBezTo>
                        <a:pt x="154" y="8"/>
                        <a:pt x="154" y="8"/>
                        <a:pt x="154" y="8"/>
                      </a:cubicBezTo>
                      <a:cubicBezTo>
                        <a:pt x="154" y="8"/>
                        <a:pt x="154" y="7"/>
                        <a:pt x="154" y="7"/>
                      </a:cubicBezTo>
                      <a:cubicBezTo>
                        <a:pt x="154" y="5"/>
                        <a:pt x="153" y="4"/>
                        <a:pt x="151" y="3"/>
                      </a:cubicBezTo>
                      <a:cubicBezTo>
                        <a:pt x="149" y="3"/>
                        <a:pt x="146" y="4"/>
                        <a:pt x="146" y="6"/>
                      </a:cubicBezTo>
                      <a:cubicBezTo>
                        <a:pt x="137" y="24"/>
                        <a:pt x="137" y="24"/>
                        <a:pt x="137" y="24"/>
                      </a:cubicBezTo>
                      <a:cubicBezTo>
                        <a:pt x="132" y="24"/>
                        <a:pt x="127" y="23"/>
                        <a:pt x="122" y="23"/>
                      </a:cubicBezTo>
                      <a:cubicBezTo>
                        <a:pt x="116" y="4"/>
                        <a:pt x="116" y="4"/>
                        <a:pt x="116" y="4"/>
                      </a:cubicBezTo>
                      <a:cubicBezTo>
                        <a:pt x="116" y="1"/>
                        <a:pt x="114" y="0"/>
                        <a:pt x="112" y="0"/>
                      </a:cubicBezTo>
                      <a:cubicBezTo>
                        <a:pt x="110" y="0"/>
                        <a:pt x="108" y="2"/>
                        <a:pt x="108" y="4"/>
                      </a:cubicBezTo>
                      <a:cubicBezTo>
                        <a:pt x="108" y="4"/>
                        <a:pt x="108" y="4"/>
                        <a:pt x="108" y="4"/>
                      </a:cubicBezTo>
                      <a:cubicBezTo>
                        <a:pt x="105" y="24"/>
                        <a:pt x="105" y="24"/>
                        <a:pt x="105" y="24"/>
                      </a:cubicBezTo>
                      <a:cubicBezTo>
                        <a:pt x="100" y="25"/>
                        <a:pt x="95" y="26"/>
                        <a:pt x="91" y="28"/>
                      </a:cubicBezTo>
                      <a:cubicBezTo>
                        <a:pt x="79" y="11"/>
                        <a:pt x="79" y="11"/>
                        <a:pt x="79" y="11"/>
                      </a:cubicBezTo>
                      <a:cubicBezTo>
                        <a:pt x="78" y="9"/>
                        <a:pt x="76" y="8"/>
                        <a:pt x="74" y="9"/>
                      </a:cubicBezTo>
                      <a:cubicBezTo>
                        <a:pt x="72" y="9"/>
                        <a:pt x="71" y="11"/>
                        <a:pt x="71" y="12"/>
                      </a:cubicBezTo>
                      <a:cubicBezTo>
                        <a:pt x="71" y="13"/>
                        <a:pt x="72" y="13"/>
                        <a:pt x="72" y="14"/>
                      </a:cubicBezTo>
                      <a:cubicBezTo>
                        <a:pt x="75" y="34"/>
                        <a:pt x="75" y="34"/>
                        <a:pt x="75" y="34"/>
                      </a:cubicBezTo>
                      <a:cubicBezTo>
                        <a:pt x="71" y="36"/>
                        <a:pt x="66" y="39"/>
                        <a:pt x="63" y="42"/>
                      </a:cubicBezTo>
                      <a:cubicBezTo>
                        <a:pt x="46" y="29"/>
                        <a:pt x="46" y="29"/>
                        <a:pt x="46" y="29"/>
                      </a:cubicBezTo>
                      <a:cubicBezTo>
                        <a:pt x="45" y="28"/>
                        <a:pt x="42" y="27"/>
                        <a:pt x="41" y="29"/>
                      </a:cubicBezTo>
                      <a:cubicBezTo>
                        <a:pt x="40" y="30"/>
                        <a:pt x="39" y="31"/>
                        <a:pt x="39" y="32"/>
                      </a:cubicBezTo>
                      <a:cubicBezTo>
                        <a:pt x="39" y="33"/>
                        <a:pt x="39" y="34"/>
                        <a:pt x="40" y="34"/>
                      </a:cubicBezTo>
                      <a:cubicBezTo>
                        <a:pt x="49" y="53"/>
                        <a:pt x="49" y="53"/>
                        <a:pt x="49" y="53"/>
                      </a:cubicBezTo>
                      <a:cubicBezTo>
                        <a:pt x="46" y="56"/>
                        <a:pt x="43" y="60"/>
                        <a:pt x="40" y="64"/>
                      </a:cubicBezTo>
                      <a:cubicBezTo>
                        <a:pt x="21" y="57"/>
                        <a:pt x="21" y="57"/>
                        <a:pt x="21" y="57"/>
                      </a:cubicBezTo>
                      <a:cubicBezTo>
                        <a:pt x="19" y="56"/>
                        <a:pt x="16" y="56"/>
                        <a:pt x="15" y="58"/>
                      </a:cubicBezTo>
                      <a:cubicBezTo>
                        <a:pt x="15" y="59"/>
                        <a:pt x="14" y="60"/>
                        <a:pt x="14" y="60"/>
                      </a:cubicBezTo>
                      <a:cubicBezTo>
                        <a:pt x="14" y="62"/>
                        <a:pt x="15" y="63"/>
                        <a:pt x="16" y="64"/>
                      </a:cubicBezTo>
                      <a:cubicBezTo>
                        <a:pt x="31" y="78"/>
                        <a:pt x="31" y="78"/>
                        <a:pt x="31" y="78"/>
                      </a:cubicBezTo>
                      <a:cubicBezTo>
                        <a:pt x="29" y="82"/>
                        <a:pt x="27" y="87"/>
                        <a:pt x="25" y="92"/>
                      </a:cubicBezTo>
                      <a:cubicBezTo>
                        <a:pt x="5" y="91"/>
                        <a:pt x="5" y="91"/>
                        <a:pt x="5" y="91"/>
                      </a:cubicBezTo>
                      <a:cubicBezTo>
                        <a:pt x="3" y="91"/>
                        <a:pt x="0" y="92"/>
                        <a:pt x="0" y="94"/>
                      </a:cubicBezTo>
                      <a:cubicBezTo>
                        <a:pt x="0" y="94"/>
                        <a:pt x="0" y="95"/>
                        <a:pt x="0" y="95"/>
                      </a:cubicBezTo>
                      <a:lnTo>
                        <a:pt x="218" y="9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96" name="Group 395"/>
            <p:cNvGrpSpPr/>
            <p:nvPr/>
          </p:nvGrpSpPr>
          <p:grpSpPr>
            <a:xfrm>
              <a:off x="6187281" y="1312215"/>
              <a:ext cx="2688336" cy="1737360"/>
              <a:chOff x="9141616" y="1312215"/>
              <a:chExt cx="2683373" cy="1728584"/>
            </a:xfrm>
          </p:grpSpPr>
          <p:sp>
            <p:nvSpPr>
              <p:cNvPr id="408" name="Rectangle 407"/>
              <p:cNvSpPr>
                <a:spLocks noChangeAspect="1"/>
              </p:cNvSpPr>
              <p:nvPr>
                <p:custDataLst>
                  <p:tags r:id="rId3"/>
                </p:custDataLst>
              </p:nvPr>
            </p:nvSpPr>
            <p:spPr bwMode="auto">
              <a:xfrm>
                <a:off x="9141616" y="1312215"/>
                <a:ext cx="2683373" cy="1728584"/>
              </a:xfrm>
              <a:prstGeom prst="rect">
                <a:avLst/>
              </a:prstGeom>
              <a:solidFill>
                <a:srgbClr val="FF8B00"/>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365681" rIns="121893" bIns="60947" numCol="1" rtlCol="0" anchor="b" anchorCtr="0" compatLnSpc="1">
                <a:prstTxWarp prst="textNoShape">
                  <a:avLst/>
                </a:prstTxWarp>
                <a:noAutofit/>
              </a:bodyPr>
              <a:lstStyle/>
              <a:p>
                <a:pPr defTabSz="914045" fontAlgn="base">
                  <a:lnSpc>
                    <a:spcPct val="90000"/>
                  </a:lnSpc>
                  <a:spcBef>
                    <a:spcPts val="630"/>
                  </a:spcBef>
                  <a:spcAft>
                    <a:spcPct val="0"/>
                  </a:spcAft>
                  <a:buClr>
                    <a:srgbClr val="FFFF99"/>
                  </a:buClr>
                  <a:buSzPct val="120000"/>
                </a:pPr>
                <a:r>
                  <a:rPr lang="en-US" dirty="0" smtClean="0">
                    <a:ln>
                      <a:solidFill>
                        <a:srgbClr val="FFFFFF">
                          <a:alpha val="0"/>
                        </a:srgbClr>
                      </a:solidFill>
                    </a:ln>
                    <a:solidFill>
                      <a:srgbClr val="FFFFFF">
                        <a:alpha val="99000"/>
                      </a:srgbClr>
                    </a:solidFill>
                    <a:cs typeface="Segoe UI" pitchFamily="34" charset="0"/>
                  </a:rPr>
                  <a:t>         </a:t>
                </a:r>
              </a:p>
              <a:p>
                <a:pPr defTabSz="914045" fontAlgn="base">
                  <a:lnSpc>
                    <a:spcPct val="90000"/>
                  </a:lnSpc>
                  <a:spcBef>
                    <a:spcPts val="630"/>
                  </a:spcBef>
                  <a:spcAft>
                    <a:spcPct val="0"/>
                  </a:spcAft>
                  <a:buClr>
                    <a:srgbClr val="FFFF99"/>
                  </a:buClr>
                  <a:buSzPct val="120000"/>
                </a:pPr>
                <a:r>
                  <a:rPr lang="en-US" sz="2000" kern="0" dirty="0">
                    <a:solidFill>
                      <a:srgbClr val="FFFFFF">
                        <a:alpha val="99000"/>
                      </a:srgbClr>
                    </a:solidFill>
                  </a:rPr>
                  <a:t>Standard Formats</a:t>
                </a:r>
                <a:endParaRPr lang="en-US" dirty="0">
                  <a:ln>
                    <a:solidFill>
                      <a:srgbClr val="FFFFFF">
                        <a:alpha val="0"/>
                      </a:srgbClr>
                    </a:solidFill>
                  </a:ln>
                  <a:solidFill>
                    <a:srgbClr val="FFFFFF">
                      <a:alpha val="99000"/>
                    </a:srgbClr>
                  </a:solidFill>
                  <a:cs typeface="Segoe UI" pitchFamily="34" charset="0"/>
                </a:endParaRPr>
              </a:p>
            </p:txBody>
          </p:sp>
          <p:grpSp>
            <p:nvGrpSpPr>
              <p:cNvPr id="409" name="Group 408"/>
              <p:cNvGrpSpPr>
                <a:grpSpLocks noChangeAspect="1"/>
              </p:cNvGrpSpPr>
              <p:nvPr/>
            </p:nvGrpSpPr>
            <p:grpSpPr>
              <a:xfrm>
                <a:off x="9316954" y="1435804"/>
                <a:ext cx="794722" cy="633485"/>
                <a:chOff x="-2630488" y="2244726"/>
                <a:chExt cx="1954213" cy="1557338"/>
              </a:xfrm>
              <a:solidFill>
                <a:schemeClr val="bg1"/>
              </a:solidFill>
            </p:grpSpPr>
            <p:sp>
              <p:nvSpPr>
                <p:cNvPr id="410" name="Freeform 103"/>
                <p:cNvSpPr>
                  <a:spLocks/>
                </p:cNvSpPr>
                <p:nvPr/>
              </p:nvSpPr>
              <p:spPr bwMode="auto">
                <a:xfrm>
                  <a:off x="-2570163" y="3328988"/>
                  <a:ext cx="804862" cy="125413"/>
                </a:xfrm>
                <a:custGeom>
                  <a:avLst/>
                  <a:gdLst>
                    <a:gd name="T0" fmla="*/ 507 w 507"/>
                    <a:gd name="T1" fmla="*/ 0 h 79"/>
                    <a:gd name="T2" fmla="*/ 0 w 507"/>
                    <a:gd name="T3" fmla="*/ 61 h 79"/>
                    <a:gd name="T4" fmla="*/ 0 w 507"/>
                    <a:gd name="T5" fmla="*/ 79 h 79"/>
                    <a:gd name="T6" fmla="*/ 507 w 507"/>
                    <a:gd name="T7" fmla="*/ 50 h 79"/>
                    <a:gd name="T8" fmla="*/ 507 w 507"/>
                    <a:gd name="T9" fmla="*/ 0 h 79"/>
                  </a:gdLst>
                  <a:ahLst/>
                  <a:cxnLst>
                    <a:cxn ang="0">
                      <a:pos x="T0" y="T1"/>
                    </a:cxn>
                    <a:cxn ang="0">
                      <a:pos x="T2" y="T3"/>
                    </a:cxn>
                    <a:cxn ang="0">
                      <a:pos x="T4" y="T5"/>
                    </a:cxn>
                    <a:cxn ang="0">
                      <a:pos x="T6" y="T7"/>
                    </a:cxn>
                    <a:cxn ang="0">
                      <a:pos x="T8" y="T9"/>
                    </a:cxn>
                  </a:cxnLst>
                  <a:rect l="0" t="0" r="r" b="b"/>
                  <a:pathLst>
                    <a:path w="507" h="79">
                      <a:moveTo>
                        <a:pt x="507" y="0"/>
                      </a:moveTo>
                      <a:lnTo>
                        <a:pt x="0" y="61"/>
                      </a:lnTo>
                      <a:lnTo>
                        <a:pt x="0" y="79"/>
                      </a:lnTo>
                      <a:lnTo>
                        <a:pt x="507" y="50"/>
                      </a:lnTo>
                      <a:lnTo>
                        <a:pt x="50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1" name="Freeform 104"/>
                <p:cNvSpPr>
                  <a:spLocks/>
                </p:cNvSpPr>
                <p:nvPr/>
              </p:nvSpPr>
              <p:spPr bwMode="auto">
                <a:xfrm>
                  <a:off x="-2570163" y="3033713"/>
                  <a:ext cx="804862" cy="204788"/>
                </a:xfrm>
                <a:custGeom>
                  <a:avLst/>
                  <a:gdLst>
                    <a:gd name="T0" fmla="*/ 507 w 507"/>
                    <a:gd name="T1" fmla="*/ 0 h 129"/>
                    <a:gd name="T2" fmla="*/ 0 w 507"/>
                    <a:gd name="T3" fmla="*/ 111 h 129"/>
                    <a:gd name="T4" fmla="*/ 0 w 507"/>
                    <a:gd name="T5" fmla="*/ 129 h 129"/>
                    <a:gd name="T6" fmla="*/ 507 w 507"/>
                    <a:gd name="T7" fmla="*/ 60 h 129"/>
                    <a:gd name="T8" fmla="*/ 507 w 507"/>
                    <a:gd name="T9" fmla="*/ 0 h 129"/>
                  </a:gdLst>
                  <a:ahLst/>
                  <a:cxnLst>
                    <a:cxn ang="0">
                      <a:pos x="T0" y="T1"/>
                    </a:cxn>
                    <a:cxn ang="0">
                      <a:pos x="T2" y="T3"/>
                    </a:cxn>
                    <a:cxn ang="0">
                      <a:pos x="T4" y="T5"/>
                    </a:cxn>
                    <a:cxn ang="0">
                      <a:pos x="T6" y="T7"/>
                    </a:cxn>
                    <a:cxn ang="0">
                      <a:pos x="T8" y="T9"/>
                    </a:cxn>
                  </a:cxnLst>
                  <a:rect l="0" t="0" r="r" b="b"/>
                  <a:pathLst>
                    <a:path w="507" h="129">
                      <a:moveTo>
                        <a:pt x="507" y="0"/>
                      </a:moveTo>
                      <a:lnTo>
                        <a:pt x="0" y="111"/>
                      </a:lnTo>
                      <a:lnTo>
                        <a:pt x="0" y="129"/>
                      </a:lnTo>
                      <a:lnTo>
                        <a:pt x="507" y="60"/>
                      </a:lnTo>
                      <a:lnTo>
                        <a:pt x="50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2" name="Freeform 105"/>
                <p:cNvSpPr>
                  <a:spLocks noEditPoints="1"/>
                </p:cNvSpPr>
                <p:nvPr/>
              </p:nvSpPr>
              <p:spPr bwMode="auto">
                <a:xfrm>
                  <a:off x="-2630488" y="2317751"/>
                  <a:ext cx="1343025" cy="1484313"/>
                </a:xfrm>
                <a:custGeom>
                  <a:avLst/>
                  <a:gdLst>
                    <a:gd name="T0" fmla="*/ 586 w 846"/>
                    <a:gd name="T1" fmla="*/ 78 h 935"/>
                    <a:gd name="T2" fmla="*/ 586 w 846"/>
                    <a:gd name="T3" fmla="*/ 111 h 935"/>
                    <a:gd name="T4" fmla="*/ 214 w 846"/>
                    <a:gd name="T5" fmla="*/ 359 h 935"/>
                    <a:gd name="T6" fmla="*/ 0 w 846"/>
                    <a:gd name="T7" fmla="*/ 527 h 935"/>
                    <a:gd name="T8" fmla="*/ 30 w 846"/>
                    <a:gd name="T9" fmla="*/ 921 h 935"/>
                    <a:gd name="T10" fmla="*/ 39 w 846"/>
                    <a:gd name="T11" fmla="*/ 737 h 935"/>
                    <a:gd name="T12" fmla="*/ 117 w 846"/>
                    <a:gd name="T13" fmla="*/ 923 h 935"/>
                    <a:gd name="T14" fmla="*/ 126 w 846"/>
                    <a:gd name="T15" fmla="*/ 732 h 935"/>
                    <a:gd name="T16" fmla="*/ 202 w 846"/>
                    <a:gd name="T17" fmla="*/ 924 h 935"/>
                    <a:gd name="T18" fmla="*/ 211 w 846"/>
                    <a:gd name="T19" fmla="*/ 727 h 935"/>
                    <a:gd name="T20" fmla="*/ 287 w 846"/>
                    <a:gd name="T21" fmla="*/ 926 h 935"/>
                    <a:gd name="T22" fmla="*/ 296 w 846"/>
                    <a:gd name="T23" fmla="*/ 725 h 935"/>
                    <a:gd name="T24" fmla="*/ 374 w 846"/>
                    <a:gd name="T25" fmla="*/ 927 h 935"/>
                    <a:gd name="T26" fmla="*/ 383 w 846"/>
                    <a:gd name="T27" fmla="*/ 719 h 935"/>
                    <a:gd name="T28" fmla="*/ 459 w 846"/>
                    <a:gd name="T29" fmla="*/ 928 h 935"/>
                    <a:gd name="T30" fmla="*/ 468 w 846"/>
                    <a:gd name="T31" fmla="*/ 715 h 935"/>
                    <a:gd name="T32" fmla="*/ 547 w 846"/>
                    <a:gd name="T33" fmla="*/ 931 h 935"/>
                    <a:gd name="T34" fmla="*/ 556 w 846"/>
                    <a:gd name="T35" fmla="*/ 712 h 935"/>
                    <a:gd name="T36" fmla="*/ 846 w 846"/>
                    <a:gd name="T37" fmla="*/ 935 h 935"/>
                    <a:gd name="T38" fmla="*/ 798 w 846"/>
                    <a:gd name="T39" fmla="*/ 0 h 935"/>
                    <a:gd name="T40" fmla="*/ 228 w 846"/>
                    <a:gd name="T41" fmla="*/ 381 h 935"/>
                    <a:gd name="T42" fmla="*/ 548 w 846"/>
                    <a:gd name="T43" fmla="*/ 388 h 935"/>
                    <a:gd name="T44" fmla="*/ 227 w 846"/>
                    <a:gd name="T45" fmla="*/ 470 h 935"/>
                    <a:gd name="T46" fmla="*/ 554 w 846"/>
                    <a:gd name="T47" fmla="*/ 696 h 935"/>
                    <a:gd name="T48" fmla="*/ 29 w 846"/>
                    <a:gd name="T49" fmla="*/ 725 h 935"/>
                    <a:gd name="T50" fmla="*/ 554 w 846"/>
                    <a:gd name="T51" fmla="*/ 626 h 935"/>
                    <a:gd name="T52" fmla="*/ 554 w 846"/>
                    <a:gd name="T53" fmla="*/ 518 h 935"/>
                    <a:gd name="T54" fmla="*/ 29 w 846"/>
                    <a:gd name="T55" fmla="*/ 555 h 935"/>
                    <a:gd name="T56" fmla="*/ 554 w 846"/>
                    <a:gd name="T57" fmla="*/ 518 h 935"/>
                    <a:gd name="T58" fmla="*/ 591 w 846"/>
                    <a:gd name="T59" fmla="*/ 812 h 935"/>
                    <a:gd name="T60" fmla="*/ 591 w 846"/>
                    <a:gd name="T61" fmla="*/ 794 h 935"/>
                    <a:gd name="T62" fmla="*/ 596 w 846"/>
                    <a:gd name="T63" fmla="*/ 277 h 935"/>
                    <a:gd name="T64" fmla="*/ 773 w 846"/>
                    <a:gd name="T65" fmla="*/ 794 h 935"/>
                    <a:gd name="T66" fmla="*/ 608 w 846"/>
                    <a:gd name="T67" fmla="*/ 593 h 935"/>
                    <a:gd name="T68" fmla="*/ 773 w 846"/>
                    <a:gd name="T69" fmla="*/ 557 h 935"/>
                    <a:gd name="T70" fmla="*/ 608 w 846"/>
                    <a:gd name="T71" fmla="*/ 418 h 935"/>
                    <a:gd name="T72" fmla="*/ 773 w 846"/>
                    <a:gd name="T73" fmla="*/ 369 h 935"/>
                    <a:gd name="T74" fmla="*/ 608 w 846"/>
                    <a:gd name="T75" fmla="*/ 255 h 935"/>
                    <a:gd name="T76" fmla="*/ 773 w 846"/>
                    <a:gd name="T77" fmla="*/ 199 h 935"/>
                    <a:gd name="T78" fmla="*/ 608 w 846"/>
                    <a:gd name="T79" fmla="*/ 116 h 935"/>
                    <a:gd name="T80" fmla="*/ 791 w 846"/>
                    <a:gd name="T81" fmla="*/ 38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46" h="935">
                      <a:moveTo>
                        <a:pt x="798" y="0"/>
                      </a:moveTo>
                      <a:lnTo>
                        <a:pt x="586" y="78"/>
                      </a:lnTo>
                      <a:lnTo>
                        <a:pt x="586" y="111"/>
                      </a:lnTo>
                      <a:lnTo>
                        <a:pt x="586" y="111"/>
                      </a:lnTo>
                      <a:lnTo>
                        <a:pt x="586" y="256"/>
                      </a:lnTo>
                      <a:lnTo>
                        <a:pt x="214" y="359"/>
                      </a:lnTo>
                      <a:lnTo>
                        <a:pt x="214" y="472"/>
                      </a:lnTo>
                      <a:lnTo>
                        <a:pt x="0" y="527"/>
                      </a:lnTo>
                      <a:lnTo>
                        <a:pt x="0" y="921"/>
                      </a:lnTo>
                      <a:lnTo>
                        <a:pt x="30" y="921"/>
                      </a:lnTo>
                      <a:lnTo>
                        <a:pt x="30" y="737"/>
                      </a:lnTo>
                      <a:lnTo>
                        <a:pt x="39" y="737"/>
                      </a:lnTo>
                      <a:lnTo>
                        <a:pt x="39" y="922"/>
                      </a:lnTo>
                      <a:lnTo>
                        <a:pt x="117" y="923"/>
                      </a:lnTo>
                      <a:lnTo>
                        <a:pt x="117" y="732"/>
                      </a:lnTo>
                      <a:lnTo>
                        <a:pt x="126" y="732"/>
                      </a:lnTo>
                      <a:lnTo>
                        <a:pt x="126" y="923"/>
                      </a:lnTo>
                      <a:lnTo>
                        <a:pt x="202" y="924"/>
                      </a:lnTo>
                      <a:lnTo>
                        <a:pt x="202" y="727"/>
                      </a:lnTo>
                      <a:lnTo>
                        <a:pt x="211" y="727"/>
                      </a:lnTo>
                      <a:lnTo>
                        <a:pt x="211" y="924"/>
                      </a:lnTo>
                      <a:lnTo>
                        <a:pt x="287" y="926"/>
                      </a:lnTo>
                      <a:lnTo>
                        <a:pt x="287" y="725"/>
                      </a:lnTo>
                      <a:lnTo>
                        <a:pt x="296" y="725"/>
                      </a:lnTo>
                      <a:lnTo>
                        <a:pt x="296" y="926"/>
                      </a:lnTo>
                      <a:lnTo>
                        <a:pt x="374" y="927"/>
                      </a:lnTo>
                      <a:lnTo>
                        <a:pt x="374" y="719"/>
                      </a:lnTo>
                      <a:lnTo>
                        <a:pt x="383" y="719"/>
                      </a:lnTo>
                      <a:lnTo>
                        <a:pt x="383" y="927"/>
                      </a:lnTo>
                      <a:lnTo>
                        <a:pt x="459" y="928"/>
                      </a:lnTo>
                      <a:lnTo>
                        <a:pt x="459" y="715"/>
                      </a:lnTo>
                      <a:lnTo>
                        <a:pt x="468" y="715"/>
                      </a:lnTo>
                      <a:lnTo>
                        <a:pt x="468" y="928"/>
                      </a:lnTo>
                      <a:lnTo>
                        <a:pt x="547" y="931"/>
                      </a:lnTo>
                      <a:lnTo>
                        <a:pt x="547" y="712"/>
                      </a:lnTo>
                      <a:lnTo>
                        <a:pt x="556" y="712"/>
                      </a:lnTo>
                      <a:lnTo>
                        <a:pt x="556" y="931"/>
                      </a:lnTo>
                      <a:lnTo>
                        <a:pt x="846" y="935"/>
                      </a:lnTo>
                      <a:lnTo>
                        <a:pt x="846" y="38"/>
                      </a:lnTo>
                      <a:lnTo>
                        <a:pt x="798" y="0"/>
                      </a:lnTo>
                      <a:close/>
                      <a:moveTo>
                        <a:pt x="227" y="381"/>
                      </a:moveTo>
                      <a:lnTo>
                        <a:pt x="228" y="381"/>
                      </a:lnTo>
                      <a:lnTo>
                        <a:pt x="232" y="464"/>
                      </a:lnTo>
                      <a:lnTo>
                        <a:pt x="548" y="388"/>
                      </a:lnTo>
                      <a:lnTo>
                        <a:pt x="549" y="393"/>
                      </a:lnTo>
                      <a:lnTo>
                        <a:pt x="227" y="470"/>
                      </a:lnTo>
                      <a:lnTo>
                        <a:pt x="227" y="381"/>
                      </a:lnTo>
                      <a:close/>
                      <a:moveTo>
                        <a:pt x="554" y="696"/>
                      </a:moveTo>
                      <a:lnTo>
                        <a:pt x="549" y="696"/>
                      </a:lnTo>
                      <a:lnTo>
                        <a:pt x="29" y="725"/>
                      </a:lnTo>
                      <a:lnTo>
                        <a:pt x="29" y="689"/>
                      </a:lnTo>
                      <a:lnTo>
                        <a:pt x="554" y="626"/>
                      </a:lnTo>
                      <a:lnTo>
                        <a:pt x="554" y="696"/>
                      </a:lnTo>
                      <a:close/>
                      <a:moveTo>
                        <a:pt x="554" y="518"/>
                      </a:moveTo>
                      <a:lnTo>
                        <a:pt x="29" y="590"/>
                      </a:lnTo>
                      <a:lnTo>
                        <a:pt x="29" y="555"/>
                      </a:lnTo>
                      <a:lnTo>
                        <a:pt x="554" y="441"/>
                      </a:lnTo>
                      <a:lnTo>
                        <a:pt x="554" y="518"/>
                      </a:lnTo>
                      <a:close/>
                      <a:moveTo>
                        <a:pt x="791" y="812"/>
                      </a:moveTo>
                      <a:lnTo>
                        <a:pt x="591" y="812"/>
                      </a:lnTo>
                      <a:lnTo>
                        <a:pt x="591" y="794"/>
                      </a:lnTo>
                      <a:lnTo>
                        <a:pt x="591" y="794"/>
                      </a:lnTo>
                      <a:lnTo>
                        <a:pt x="591" y="277"/>
                      </a:lnTo>
                      <a:lnTo>
                        <a:pt x="596" y="277"/>
                      </a:lnTo>
                      <a:lnTo>
                        <a:pt x="596" y="794"/>
                      </a:lnTo>
                      <a:lnTo>
                        <a:pt x="773" y="794"/>
                      </a:lnTo>
                      <a:lnTo>
                        <a:pt x="773" y="575"/>
                      </a:lnTo>
                      <a:lnTo>
                        <a:pt x="608" y="593"/>
                      </a:lnTo>
                      <a:lnTo>
                        <a:pt x="608" y="575"/>
                      </a:lnTo>
                      <a:lnTo>
                        <a:pt x="773" y="557"/>
                      </a:lnTo>
                      <a:lnTo>
                        <a:pt x="773" y="386"/>
                      </a:lnTo>
                      <a:lnTo>
                        <a:pt x="608" y="418"/>
                      </a:lnTo>
                      <a:lnTo>
                        <a:pt x="608" y="399"/>
                      </a:lnTo>
                      <a:lnTo>
                        <a:pt x="773" y="369"/>
                      </a:lnTo>
                      <a:lnTo>
                        <a:pt x="773" y="218"/>
                      </a:lnTo>
                      <a:lnTo>
                        <a:pt x="608" y="255"/>
                      </a:lnTo>
                      <a:lnTo>
                        <a:pt x="608" y="237"/>
                      </a:lnTo>
                      <a:lnTo>
                        <a:pt x="773" y="199"/>
                      </a:lnTo>
                      <a:lnTo>
                        <a:pt x="773" y="62"/>
                      </a:lnTo>
                      <a:lnTo>
                        <a:pt x="608" y="116"/>
                      </a:lnTo>
                      <a:lnTo>
                        <a:pt x="608" y="96"/>
                      </a:lnTo>
                      <a:lnTo>
                        <a:pt x="791" y="38"/>
                      </a:lnTo>
                      <a:lnTo>
                        <a:pt x="791" y="81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3" name="Freeform 106"/>
                <p:cNvSpPr>
                  <a:spLocks/>
                </p:cNvSpPr>
                <p:nvPr/>
              </p:nvSpPr>
              <p:spPr bwMode="auto">
                <a:xfrm>
                  <a:off x="-2466975" y="2806701"/>
                  <a:ext cx="109537" cy="234950"/>
                </a:xfrm>
                <a:custGeom>
                  <a:avLst/>
                  <a:gdLst>
                    <a:gd name="T0" fmla="*/ 69 w 69"/>
                    <a:gd name="T1" fmla="*/ 0 h 148"/>
                    <a:gd name="T2" fmla="*/ 0 w 69"/>
                    <a:gd name="T3" fmla="*/ 24 h 148"/>
                    <a:gd name="T4" fmla="*/ 0 w 69"/>
                    <a:gd name="T5" fmla="*/ 148 h 148"/>
                    <a:gd name="T6" fmla="*/ 69 w 69"/>
                    <a:gd name="T7" fmla="*/ 131 h 148"/>
                    <a:gd name="T8" fmla="*/ 69 w 69"/>
                    <a:gd name="T9" fmla="*/ 0 h 148"/>
                  </a:gdLst>
                  <a:ahLst/>
                  <a:cxnLst>
                    <a:cxn ang="0">
                      <a:pos x="T0" y="T1"/>
                    </a:cxn>
                    <a:cxn ang="0">
                      <a:pos x="T2" y="T3"/>
                    </a:cxn>
                    <a:cxn ang="0">
                      <a:pos x="T4" y="T5"/>
                    </a:cxn>
                    <a:cxn ang="0">
                      <a:pos x="T6" y="T7"/>
                    </a:cxn>
                    <a:cxn ang="0">
                      <a:pos x="T8" y="T9"/>
                    </a:cxn>
                  </a:cxnLst>
                  <a:rect l="0" t="0" r="r" b="b"/>
                  <a:pathLst>
                    <a:path w="69" h="148">
                      <a:moveTo>
                        <a:pt x="69" y="0"/>
                      </a:moveTo>
                      <a:lnTo>
                        <a:pt x="0" y="24"/>
                      </a:lnTo>
                      <a:lnTo>
                        <a:pt x="0" y="148"/>
                      </a:lnTo>
                      <a:lnTo>
                        <a:pt x="69" y="131"/>
                      </a:lnTo>
                      <a:lnTo>
                        <a:pt x="6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4" name="Freeform 107"/>
                <p:cNvSpPr>
                  <a:spLocks noEditPoints="1"/>
                </p:cNvSpPr>
                <p:nvPr/>
              </p:nvSpPr>
              <p:spPr bwMode="auto">
                <a:xfrm>
                  <a:off x="-2627313" y="2527301"/>
                  <a:ext cx="906462" cy="592138"/>
                </a:xfrm>
                <a:custGeom>
                  <a:avLst/>
                  <a:gdLst>
                    <a:gd name="T0" fmla="*/ 219 w 571"/>
                    <a:gd name="T1" fmla="*/ 102 h 373"/>
                    <a:gd name="T2" fmla="*/ 219 w 571"/>
                    <a:gd name="T3" fmla="*/ 132 h 373"/>
                    <a:gd name="T4" fmla="*/ 72 w 571"/>
                    <a:gd name="T5" fmla="*/ 184 h 373"/>
                    <a:gd name="T6" fmla="*/ 72 w 571"/>
                    <a:gd name="T7" fmla="*/ 256 h 373"/>
                    <a:gd name="T8" fmla="*/ 0 w 571"/>
                    <a:gd name="T9" fmla="*/ 273 h 373"/>
                    <a:gd name="T10" fmla="*/ 0 w 571"/>
                    <a:gd name="T11" fmla="*/ 308 h 373"/>
                    <a:gd name="T12" fmla="*/ 32 w 571"/>
                    <a:gd name="T13" fmla="*/ 308 h 373"/>
                    <a:gd name="T14" fmla="*/ 32 w 571"/>
                    <a:gd name="T15" fmla="*/ 373 h 373"/>
                    <a:gd name="T16" fmla="*/ 199 w 571"/>
                    <a:gd name="T17" fmla="*/ 330 h 373"/>
                    <a:gd name="T18" fmla="*/ 199 w 571"/>
                    <a:gd name="T19" fmla="*/ 217 h 373"/>
                    <a:gd name="T20" fmla="*/ 571 w 571"/>
                    <a:gd name="T21" fmla="*/ 113 h 373"/>
                    <a:gd name="T22" fmla="*/ 571 w 571"/>
                    <a:gd name="T23" fmla="*/ 0 h 373"/>
                    <a:gd name="T24" fmla="*/ 219 w 571"/>
                    <a:gd name="T25" fmla="*/ 102 h 373"/>
                    <a:gd name="T26" fmla="*/ 179 w 571"/>
                    <a:gd name="T27" fmla="*/ 314 h 373"/>
                    <a:gd name="T28" fmla="*/ 92 w 571"/>
                    <a:gd name="T29" fmla="*/ 335 h 373"/>
                    <a:gd name="T30" fmla="*/ 92 w 571"/>
                    <a:gd name="T31" fmla="*/ 195 h 373"/>
                    <a:gd name="T32" fmla="*/ 179 w 571"/>
                    <a:gd name="T33" fmla="*/ 164 h 373"/>
                    <a:gd name="T34" fmla="*/ 179 w 571"/>
                    <a:gd name="T35" fmla="*/ 314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1" h="373">
                      <a:moveTo>
                        <a:pt x="219" y="102"/>
                      </a:moveTo>
                      <a:lnTo>
                        <a:pt x="219" y="132"/>
                      </a:lnTo>
                      <a:lnTo>
                        <a:pt x="72" y="184"/>
                      </a:lnTo>
                      <a:lnTo>
                        <a:pt x="72" y="256"/>
                      </a:lnTo>
                      <a:lnTo>
                        <a:pt x="0" y="273"/>
                      </a:lnTo>
                      <a:lnTo>
                        <a:pt x="0" y="308"/>
                      </a:lnTo>
                      <a:lnTo>
                        <a:pt x="32" y="308"/>
                      </a:lnTo>
                      <a:lnTo>
                        <a:pt x="32" y="373"/>
                      </a:lnTo>
                      <a:lnTo>
                        <a:pt x="199" y="330"/>
                      </a:lnTo>
                      <a:lnTo>
                        <a:pt x="199" y="217"/>
                      </a:lnTo>
                      <a:lnTo>
                        <a:pt x="571" y="113"/>
                      </a:lnTo>
                      <a:lnTo>
                        <a:pt x="571" y="0"/>
                      </a:lnTo>
                      <a:lnTo>
                        <a:pt x="219" y="102"/>
                      </a:lnTo>
                      <a:close/>
                      <a:moveTo>
                        <a:pt x="179" y="314"/>
                      </a:moveTo>
                      <a:lnTo>
                        <a:pt x="92" y="335"/>
                      </a:lnTo>
                      <a:lnTo>
                        <a:pt x="92" y="195"/>
                      </a:lnTo>
                      <a:lnTo>
                        <a:pt x="179" y="164"/>
                      </a:lnTo>
                      <a:lnTo>
                        <a:pt x="179" y="31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5" name="Freeform 108"/>
                <p:cNvSpPr>
                  <a:spLocks noEditPoints="1"/>
                </p:cNvSpPr>
                <p:nvPr/>
              </p:nvSpPr>
              <p:spPr bwMode="auto">
                <a:xfrm>
                  <a:off x="-1273175" y="2244726"/>
                  <a:ext cx="596900" cy="1555750"/>
                </a:xfrm>
                <a:custGeom>
                  <a:avLst/>
                  <a:gdLst>
                    <a:gd name="T0" fmla="*/ 296 w 341"/>
                    <a:gd name="T1" fmla="*/ 336 h 889"/>
                    <a:gd name="T2" fmla="*/ 296 w 341"/>
                    <a:gd name="T3" fmla="*/ 285 h 889"/>
                    <a:gd name="T4" fmla="*/ 181 w 341"/>
                    <a:gd name="T5" fmla="*/ 178 h 889"/>
                    <a:gd name="T6" fmla="*/ 140 w 341"/>
                    <a:gd name="T7" fmla="*/ 182 h 889"/>
                    <a:gd name="T8" fmla="*/ 24 w 341"/>
                    <a:gd name="T9" fmla="*/ 0 h 889"/>
                    <a:gd name="T10" fmla="*/ 0 w 341"/>
                    <a:gd name="T11" fmla="*/ 38 h 889"/>
                    <a:gd name="T12" fmla="*/ 0 w 341"/>
                    <a:gd name="T13" fmla="*/ 889 h 889"/>
                    <a:gd name="T14" fmla="*/ 51 w 341"/>
                    <a:gd name="T15" fmla="*/ 872 h 889"/>
                    <a:gd name="T16" fmla="*/ 51 w 341"/>
                    <a:gd name="T17" fmla="*/ 206 h 889"/>
                    <a:gd name="T18" fmla="*/ 135 w 341"/>
                    <a:gd name="T19" fmla="*/ 186 h 889"/>
                    <a:gd name="T20" fmla="*/ 135 w 341"/>
                    <a:gd name="T21" fmla="*/ 194 h 889"/>
                    <a:gd name="T22" fmla="*/ 59 w 341"/>
                    <a:gd name="T23" fmla="*/ 212 h 889"/>
                    <a:gd name="T24" fmla="*/ 59 w 341"/>
                    <a:gd name="T25" fmla="*/ 872 h 889"/>
                    <a:gd name="T26" fmla="*/ 80 w 341"/>
                    <a:gd name="T27" fmla="*/ 874 h 889"/>
                    <a:gd name="T28" fmla="*/ 80 w 341"/>
                    <a:gd name="T29" fmla="*/ 232 h 889"/>
                    <a:gd name="T30" fmla="*/ 84 w 341"/>
                    <a:gd name="T31" fmla="*/ 232 h 889"/>
                    <a:gd name="T32" fmla="*/ 84 w 341"/>
                    <a:gd name="T33" fmla="*/ 874 h 889"/>
                    <a:gd name="T34" fmla="*/ 108 w 341"/>
                    <a:gd name="T35" fmla="*/ 876 h 889"/>
                    <a:gd name="T36" fmla="*/ 108 w 341"/>
                    <a:gd name="T37" fmla="*/ 228 h 889"/>
                    <a:gd name="T38" fmla="*/ 112 w 341"/>
                    <a:gd name="T39" fmla="*/ 228 h 889"/>
                    <a:gd name="T40" fmla="*/ 112 w 341"/>
                    <a:gd name="T41" fmla="*/ 877 h 889"/>
                    <a:gd name="T42" fmla="*/ 135 w 341"/>
                    <a:gd name="T43" fmla="*/ 878 h 889"/>
                    <a:gd name="T44" fmla="*/ 135 w 341"/>
                    <a:gd name="T45" fmla="*/ 224 h 889"/>
                    <a:gd name="T46" fmla="*/ 139 w 341"/>
                    <a:gd name="T47" fmla="*/ 224 h 889"/>
                    <a:gd name="T48" fmla="*/ 139 w 341"/>
                    <a:gd name="T49" fmla="*/ 879 h 889"/>
                    <a:gd name="T50" fmla="*/ 161 w 341"/>
                    <a:gd name="T51" fmla="*/ 881 h 889"/>
                    <a:gd name="T52" fmla="*/ 161 w 341"/>
                    <a:gd name="T53" fmla="*/ 220 h 889"/>
                    <a:gd name="T54" fmla="*/ 165 w 341"/>
                    <a:gd name="T55" fmla="*/ 220 h 889"/>
                    <a:gd name="T56" fmla="*/ 165 w 341"/>
                    <a:gd name="T57" fmla="*/ 881 h 889"/>
                    <a:gd name="T58" fmla="*/ 181 w 341"/>
                    <a:gd name="T59" fmla="*/ 882 h 889"/>
                    <a:gd name="T60" fmla="*/ 341 w 341"/>
                    <a:gd name="T61" fmla="*/ 869 h 889"/>
                    <a:gd name="T62" fmla="*/ 341 w 341"/>
                    <a:gd name="T63" fmla="*/ 378 h 889"/>
                    <a:gd name="T64" fmla="*/ 296 w 341"/>
                    <a:gd name="T65" fmla="*/ 336 h 889"/>
                    <a:gd name="T66" fmla="*/ 284 w 341"/>
                    <a:gd name="T67" fmla="*/ 305 h 889"/>
                    <a:gd name="T68" fmla="*/ 200 w 341"/>
                    <a:gd name="T69" fmla="*/ 227 h 889"/>
                    <a:gd name="T70" fmla="*/ 200 w 341"/>
                    <a:gd name="T71" fmla="*/ 864 h 889"/>
                    <a:gd name="T72" fmla="*/ 192 w 341"/>
                    <a:gd name="T73" fmla="*/ 864 h 889"/>
                    <a:gd name="T74" fmla="*/ 192 w 341"/>
                    <a:gd name="T75" fmla="*/ 209 h 889"/>
                    <a:gd name="T76" fmla="*/ 283 w 341"/>
                    <a:gd name="T77" fmla="*/ 294 h 889"/>
                    <a:gd name="T78" fmla="*/ 284 w 341"/>
                    <a:gd name="T79" fmla="*/ 305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1" h="889">
                      <a:moveTo>
                        <a:pt x="296" y="336"/>
                      </a:moveTo>
                      <a:cubicBezTo>
                        <a:pt x="296" y="285"/>
                        <a:pt x="296" y="285"/>
                        <a:pt x="296" y="285"/>
                      </a:cubicBezTo>
                      <a:cubicBezTo>
                        <a:pt x="181" y="178"/>
                        <a:pt x="181" y="178"/>
                        <a:pt x="181" y="178"/>
                      </a:cubicBezTo>
                      <a:cubicBezTo>
                        <a:pt x="140" y="182"/>
                        <a:pt x="140" y="182"/>
                        <a:pt x="140" y="182"/>
                      </a:cubicBezTo>
                      <a:cubicBezTo>
                        <a:pt x="157" y="56"/>
                        <a:pt x="24" y="0"/>
                        <a:pt x="24" y="0"/>
                      </a:cubicBezTo>
                      <a:cubicBezTo>
                        <a:pt x="0" y="38"/>
                        <a:pt x="0" y="38"/>
                        <a:pt x="0" y="38"/>
                      </a:cubicBezTo>
                      <a:cubicBezTo>
                        <a:pt x="0" y="889"/>
                        <a:pt x="0" y="889"/>
                        <a:pt x="0" y="889"/>
                      </a:cubicBezTo>
                      <a:cubicBezTo>
                        <a:pt x="51" y="872"/>
                        <a:pt x="51" y="872"/>
                        <a:pt x="51" y="872"/>
                      </a:cubicBezTo>
                      <a:cubicBezTo>
                        <a:pt x="51" y="206"/>
                        <a:pt x="51" y="206"/>
                        <a:pt x="51" y="206"/>
                      </a:cubicBezTo>
                      <a:cubicBezTo>
                        <a:pt x="135" y="186"/>
                        <a:pt x="135" y="186"/>
                        <a:pt x="135" y="186"/>
                      </a:cubicBezTo>
                      <a:cubicBezTo>
                        <a:pt x="135" y="194"/>
                        <a:pt x="135" y="194"/>
                        <a:pt x="135" y="194"/>
                      </a:cubicBezTo>
                      <a:cubicBezTo>
                        <a:pt x="59" y="212"/>
                        <a:pt x="59" y="212"/>
                        <a:pt x="59" y="212"/>
                      </a:cubicBezTo>
                      <a:cubicBezTo>
                        <a:pt x="59" y="872"/>
                        <a:pt x="59" y="872"/>
                        <a:pt x="59" y="872"/>
                      </a:cubicBezTo>
                      <a:cubicBezTo>
                        <a:pt x="80" y="874"/>
                        <a:pt x="80" y="874"/>
                        <a:pt x="80" y="874"/>
                      </a:cubicBezTo>
                      <a:cubicBezTo>
                        <a:pt x="80" y="232"/>
                        <a:pt x="80" y="232"/>
                        <a:pt x="80" y="232"/>
                      </a:cubicBezTo>
                      <a:cubicBezTo>
                        <a:pt x="84" y="232"/>
                        <a:pt x="84" y="232"/>
                        <a:pt x="84" y="232"/>
                      </a:cubicBezTo>
                      <a:cubicBezTo>
                        <a:pt x="84" y="874"/>
                        <a:pt x="84" y="874"/>
                        <a:pt x="84" y="874"/>
                      </a:cubicBezTo>
                      <a:cubicBezTo>
                        <a:pt x="108" y="876"/>
                        <a:pt x="108" y="876"/>
                        <a:pt x="108" y="876"/>
                      </a:cubicBezTo>
                      <a:cubicBezTo>
                        <a:pt x="108" y="228"/>
                        <a:pt x="108" y="228"/>
                        <a:pt x="108" y="228"/>
                      </a:cubicBezTo>
                      <a:cubicBezTo>
                        <a:pt x="112" y="228"/>
                        <a:pt x="112" y="228"/>
                        <a:pt x="112" y="228"/>
                      </a:cubicBezTo>
                      <a:cubicBezTo>
                        <a:pt x="112" y="877"/>
                        <a:pt x="112" y="877"/>
                        <a:pt x="112" y="877"/>
                      </a:cubicBezTo>
                      <a:cubicBezTo>
                        <a:pt x="135" y="878"/>
                        <a:pt x="135" y="878"/>
                        <a:pt x="135" y="878"/>
                      </a:cubicBezTo>
                      <a:cubicBezTo>
                        <a:pt x="135" y="224"/>
                        <a:pt x="135" y="224"/>
                        <a:pt x="135" y="224"/>
                      </a:cubicBezTo>
                      <a:cubicBezTo>
                        <a:pt x="139" y="224"/>
                        <a:pt x="139" y="224"/>
                        <a:pt x="139" y="224"/>
                      </a:cubicBezTo>
                      <a:cubicBezTo>
                        <a:pt x="139" y="879"/>
                        <a:pt x="139" y="879"/>
                        <a:pt x="139" y="879"/>
                      </a:cubicBezTo>
                      <a:cubicBezTo>
                        <a:pt x="161" y="881"/>
                        <a:pt x="161" y="881"/>
                        <a:pt x="161" y="881"/>
                      </a:cubicBezTo>
                      <a:cubicBezTo>
                        <a:pt x="161" y="220"/>
                        <a:pt x="161" y="220"/>
                        <a:pt x="161" y="220"/>
                      </a:cubicBezTo>
                      <a:cubicBezTo>
                        <a:pt x="165" y="220"/>
                        <a:pt x="165" y="220"/>
                        <a:pt x="165" y="220"/>
                      </a:cubicBezTo>
                      <a:cubicBezTo>
                        <a:pt x="165" y="881"/>
                        <a:pt x="165" y="881"/>
                        <a:pt x="165" y="881"/>
                      </a:cubicBezTo>
                      <a:cubicBezTo>
                        <a:pt x="181" y="882"/>
                        <a:pt x="181" y="882"/>
                        <a:pt x="181" y="882"/>
                      </a:cubicBezTo>
                      <a:cubicBezTo>
                        <a:pt x="341" y="869"/>
                        <a:pt x="341" y="869"/>
                        <a:pt x="341" y="869"/>
                      </a:cubicBezTo>
                      <a:cubicBezTo>
                        <a:pt x="341" y="378"/>
                        <a:pt x="341" y="378"/>
                        <a:pt x="341" y="378"/>
                      </a:cubicBezTo>
                      <a:lnTo>
                        <a:pt x="296" y="336"/>
                      </a:lnTo>
                      <a:close/>
                      <a:moveTo>
                        <a:pt x="284" y="305"/>
                      </a:moveTo>
                      <a:cubicBezTo>
                        <a:pt x="200" y="227"/>
                        <a:pt x="200" y="227"/>
                        <a:pt x="200" y="227"/>
                      </a:cubicBezTo>
                      <a:cubicBezTo>
                        <a:pt x="200" y="864"/>
                        <a:pt x="200" y="864"/>
                        <a:pt x="200" y="864"/>
                      </a:cubicBezTo>
                      <a:cubicBezTo>
                        <a:pt x="192" y="864"/>
                        <a:pt x="192" y="864"/>
                        <a:pt x="192" y="864"/>
                      </a:cubicBezTo>
                      <a:cubicBezTo>
                        <a:pt x="192" y="209"/>
                        <a:pt x="192" y="209"/>
                        <a:pt x="192" y="209"/>
                      </a:cubicBezTo>
                      <a:cubicBezTo>
                        <a:pt x="283" y="294"/>
                        <a:pt x="283" y="294"/>
                        <a:pt x="283" y="294"/>
                      </a:cubicBezTo>
                      <a:lnTo>
                        <a:pt x="284" y="30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97" name="Group 396"/>
            <p:cNvGrpSpPr/>
            <p:nvPr/>
          </p:nvGrpSpPr>
          <p:grpSpPr>
            <a:xfrm>
              <a:off x="3309365" y="1312215"/>
              <a:ext cx="2688336" cy="1737360"/>
              <a:chOff x="3309365" y="1312215"/>
              <a:chExt cx="2688336" cy="1737360"/>
            </a:xfrm>
          </p:grpSpPr>
          <p:sp>
            <p:nvSpPr>
              <p:cNvPr id="406" name="Rectangle 405"/>
              <p:cNvSpPr>
                <a:spLocks noChangeAspect="1"/>
              </p:cNvSpPr>
              <p:nvPr>
                <p:custDataLst>
                  <p:tags r:id="rId2"/>
                </p:custDataLst>
              </p:nvPr>
            </p:nvSpPr>
            <p:spPr bwMode="auto">
              <a:xfrm>
                <a:off x="3309365" y="1312215"/>
                <a:ext cx="2688336" cy="1737360"/>
              </a:xfrm>
              <a:prstGeom prst="rect">
                <a:avLst/>
              </a:prstGeom>
              <a:solidFill>
                <a:srgbClr val="FF8B00"/>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60947" rIns="121893" bIns="60947" numCol="1" rtlCol="0" anchor="b" anchorCtr="0" compatLnSpc="1">
                <a:prstTxWarp prst="textNoShape">
                  <a:avLst/>
                </a:prstTxWarp>
                <a:noAutofit/>
              </a:bodyPr>
              <a:lstStyle/>
              <a:p>
                <a:pPr algn="ctr" defTabSz="914045" fontAlgn="base">
                  <a:lnSpc>
                    <a:spcPct val="90000"/>
                  </a:lnSpc>
                  <a:spcBef>
                    <a:spcPts val="630"/>
                  </a:spcBef>
                  <a:spcAft>
                    <a:spcPct val="0"/>
                  </a:spcAft>
                  <a:buClr>
                    <a:srgbClr val="FFFF99"/>
                  </a:buClr>
                  <a:buSzPct val="120000"/>
                </a:pPr>
                <a:r>
                  <a:rPr lang="en-US" dirty="0" smtClean="0">
                    <a:ln>
                      <a:solidFill>
                        <a:srgbClr val="FFFFFF">
                          <a:alpha val="0"/>
                        </a:srgbClr>
                      </a:solidFill>
                    </a:ln>
                    <a:solidFill>
                      <a:srgbClr val="FFFFFF">
                        <a:alpha val="99000"/>
                      </a:srgbClr>
                    </a:solidFill>
                    <a:cs typeface="Segoe UI" pitchFamily="34" charset="0"/>
                  </a:rPr>
                  <a:t>            </a:t>
                </a:r>
              </a:p>
              <a:p>
                <a:pPr defTabSz="913985" fontAlgn="base">
                  <a:spcBef>
                    <a:spcPct val="0"/>
                  </a:spcBef>
                  <a:spcAft>
                    <a:spcPct val="0"/>
                  </a:spcAft>
                  <a:defRPr/>
                </a:pPr>
                <a:r>
                  <a:rPr lang="en-US" sz="2000" kern="0" dirty="0">
                    <a:solidFill>
                      <a:srgbClr val="FFFFFF">
                        <a:alpha val="99000"/>
                      </a:srgbClr>
                    </a:solidFill>
                  </a:rPr>
                  <a:t>Multi-Targeting</a:t>
                </a:r>
              </a:p>
            </p:txBody>
          </p:sp>
          <p:sp>
            <p:nvSpPr>
              <p:cNvPr id="407" name="Freeform 22"/>
              <p:cNvSpPr>
                <a:spLocks noEditPoints="1"/>
              </p:cNvSpPr>
              <p:nvPr/>
            </p:nvSpPr>
            <p:spPr bwMode="black">
              <a:xfrm>
                <a:off x="3427412" y="1447800"/>
                <a:ext cx="685800" cy="733094"/>
              </a:xfrm>
              <a:custGeom>
                <a:avLst/>
                <a:gdLst>
                  <a:gd name="T0" fmla="*/ 300 w 300"/>
                  <a:gd name="T1" fmla="*/ 141 h 300"/>
                  <a:gd name="T2" fmla="*/ 285 w 300"/>
                  <a:gd name="T3" fmla="*/ 141 h 300"/>
                  <a:gd name="T4" fmla="*/ 159 w 300"/>
                  <a:gd name="T5" fmla="*/ 15 h 300"/>
                  <a:gd name="T6" fmla="*/ 159 w 300"/>
                  <a:gd name="T7" fmla="*/ 0 h 300"/>
                  <a:gd name="T8" fmla="*/ 141 w 300"/>
                  <a:gd name="T9" fmla="*/ 0 h 300"/>
                  <a:gd name="T10" fmla="*/ 141 w 300"/>
                  <a:gd name="T11" fmla="*/ 15 h 300"/>
                  <a:gd name="T12" fmla="*/ 15 w 300"/>
                  <a:gd name="T13" fmla="*/ 141 h 300"/>
                  <a:gd name="T14" fmla="*/ 0 w 300"/>
                  <a:gd name="T15" fmla="*/ 141 h 300"/>
                  <a:gd name="T16" fmla="*/ 0 w 300"/>
                  <a:gd name="T17" fmla="*/ 159 h 300"/>
                  <a:gd name="T18" fmla="*/ 15 w 300"/>
                  <a:gd name="T19" fmla="*/ 159 h 300"/>
                  <a:gd name="T20" fmla="*/ 141 w 300"/>
                  <a:gd name="T21" fmla="*/ 285 h 300"/>
                  <a:gd name="T22" fmla="*/ 141 w 300"/>
                  <a:gd name="T23" fmla="*/ 300 h 300"/>
                  <a:gd name="T24" fmla="*/ 159 w 300"/>
                  <a:gd name="T25" fmla="*/ 300 h 300"/>
                  <a:gd name="T26" fmla="*/ 159 w 300"/>
                  <a:gd name="T27" fmla="*/ 285 h 300"/>
                  <a:gd name="T28" fmla="*/ 285 w 300"/>
                  <a:gd name="T29" fmla="*/ 159 h 300"/>
                  <a:gd name="T30" fmla="*/ 300 w 300"/>
                  <a:gd name="T31" fmla="*/ 159 h 300"/>
                  <a:gd name="T32" fmla="*/ 300 w 300"/>
                  <a:gd name="T33" fmla="*/ 141 h 300"/>
                  <a:gd name="T34" fmla="*/ 258 w 300"/>
                  <a:gd name="T35" fmla="*/ 141 h 300"/>
                  <a:gd name="T36" fmla="*/ 230 w 300"/>
                  <a:gd name="T37" fmla="*/ 141 h 300"/>
                  <a:gd name="T38" fmla="*/ 159 w 300"/>
                  <a:gd name="T39" fmla="*/ 70 h 300"/>
                  <a:gd name="T40" fmla="*/ 159 w 300"/>
                  <a:gd name="T41" fmla="*/ 42 h 300"/>
                  <a:gd name="T42" fmla="*/ 258 w 300"/>
                  <a:gd name="T43" fmla="*/ 141 h 300"/>
                  <a:gd name="T44" fmla="*/ 141 w 300"/>
                  <a:gd name="T45" fmla="*/ 125 h 300"/>
                  <a:gd name="T46" fmla="*/ 125 w 300"/>
                  <a:gd name="T47" fmla="*/ 141 h 300"/>
                  <a:gd name="T48" fmla="*/ 97 w 300"/>
                  <a:gd name="T49" fmla="*/ 141 h 300"/>
                  <a:gd name="T50" fmla="*/ 141 w 300"/>
                  <a:gd name="T51" fmla="*/ 97 h 300"/>
                  <a:gd name="T52" fmla="*/ 141 w 300"/>
                  <a:gd name="T53" fmla="*/ 125 h 300"/>
                  <a:gd name="T54" fmla="*/ 125 w 300"/>
                  <a:gd name="T55" fmla="*/ 159 h 300"/>
                  <a:gd name="T56" fmla="*/ 141 w 300"/>
                  <a:gd name="T57" fmla="*/ 175 h 300"/>
                  <a:gd name="T58" fmla="*/ 141 w 300"/>
                  <a:gd name="T59" fmla="*/ 203 h 300"/>
                  <a:gd name="T60" fmla="*/ 97 w 300"/>
                  <a:gd name="T61" fmla="*/ 159 h 300"/>
                  <a:gd name="T62" fmla="*/ 125 w 300"/>
                  <a:gd name="T63" fmla="*/ 159 h 300"/>
                  <a:gd name="T64" fmla="*/ 159 w 300"/>
                  <a:gd name="T65" fmla="*/ 175 h 300"/>
                  <a:gd name="T66" fmla="*/ 175 w 300"/>
                  <a:gd name="T67" fmla="*/ 159 h 300"/>
                  <a:gd name="T68" fmla="*/ 203 w 300"/>
                  <a:gd name="T69" fmla="*/ 159 h 300"/>
                  <a:gd name="T70" fmla="*/ 159 w 300"/>
                  <a:gd name="T71" fmla="*/ 203 h 300"/>
                  <a:gd name="T72" fmla="*/ 159 w 300"/>
                  <a:gd name="T73" fmla="*/ 175 h 300"/>
                  <a:gd name="T74" fmla="*/ 175 w 300"/>
                  <a:gd name="T75" fmla="*/ 141 h 300"/>
                  <a:gd name="T76" fmla="*/ 159 w 300"/>
                  <a:gd name="T77" fmla="*/ 125 h 300"/>
                  <a:gd name="T78" fmla="*/ 159 w 300"/>
                  <a:gd name="T79" fmla="*/ 97 h 300"/>
                  <a:gd name="T80" fmla="*/ 203 w 300"/>
                  <a:gd name="T81" fmla="*/ 141 h 300"/>
                  <a:gd name="T82" fmla="*/ 175 w 300"/>
                  <a:gd name="T83" fmla="*/ 141 h 300"/>
                  <a:gd name="T84" fmla="*/ 141 w 300"/>
                  <a:gd name="T85" fmla="*/ 42 h 300"/>
                  <a:gd name="T86" fmla="*/ 141 w 300"/>
                  <a:gd name="T87" fmla="*/ 70 h 300"/>
                  <a:gd name="T88" fmla="*/ 70 w 300"/>
                  <a:gd name="T89" fmla="*/ 141 h 300"/>
                  <a:gd name="T90" fmla="*/ 42 w 300"/>
                  <a:gd name="T91" fmla="*/ 141 h 300"/>
                  <a:gd name="T92" fmla="*/ 141 w 300"/>
                  <a:gd name="T93" fmla="*/ 42 h 300"/>
                  <a:gd name="T94" fmla="*/ 42 w 300"/>
                  <a:gd name="T95" fmla="*/ 159 h 300"/>
                  <a:gd name="T96" fmla="*/ 70 w 300"/>
                  <a:gd name="T97" fmla="*/ 159 h 300"/>
                  <a:gd name="T98" fmla="*/ 141 w 300"/>
                  <a:gd name="T99" fmla="*/ 230 h 300"/>
                  <a:gd name="T100" fmla="*/ 141 w 300"/>
                  <a:gd name="T101" fmla="*/ 258 h 300"/>
                  <a:gd name="T102" fmla="*/ 42 w 300"/>
                  <a:gd name="T103" fmla="*/ 159 h 300"/>
                  <a:gd name="T104" fmla="*/ 159 w 300"/>
                  <a:gd name="T105" fmla="*/ 258 h 300"/>
                  <a:gd name="T106" fmla="*/ 159 w 300"/>
                  <a:gd name="T107" fmla="*/ 230 h 300"/>
                  <a:gd name="T108" fmla="*/ 230 w 300"/>
                  <a:gd name="T109" fmla="*/ 159 h 300"/>
                  <a:gd name="T110" fmla="*/ 258 w 300"/>
                  <a:gd name="T111" fmla="*/ 159 h 300"/>
                  <a:gd name="T112" fmla="*/ 159 w 300"/>
                  <a:gd name="T113" fmla="*/ 25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0" h="300">
                    <a:moveTo>
                      <a:pt x="300" y="141"/>
                    </a:moveTo>
                    <a:cubicBezTo>
                      <a:pt x="285" y="141"/>
                      <a:pt x="285" y="141"/>
                      <a:pt x="285" y="141"/>
                    </a:cubicBezTo>
                    <a:cubicBezTo>
                      <a:pt x="280" y="74"/>
                      <a:pt x="226" y="20"/>
                      <a:pt x="159" y="15"/>
                    </a:cubicBezTo>
                    <a:cubicBezTo>
                      <a:pt x="159" y="0"/>
                      <a:pt x="159" y="0"/>
                      <a:pt x="159" y="0"/>
                    </a:cubicBezTo>
                    <a:cubicBezTo>
                      <a:pt x="141" y="0"/>
                      <a:pt x="141" y="0"/>
                      <a:pt x="141" y="0"/>
                    </a:cubicBezTo>
                    <a:cubicBezTo>
                      <a:pt x="141" y="15"/>
                      <a:pt x="141" y="15"/>
                      <a:pt x="141" y="15"/>
                    </a:cubicBezTo>
                    <a:cubicBezTo>
                      <a:pt x="74" y="20"/>
                      <a:pt x="20" y="74"/>
                      <a:pt x="15" y="141"/>
                    </a:cubicBezTo>
                    <a:cubicBezTo>
                      <a:pt x="0" y="141"/>
                      <a:pt x="0" y="141"/>
                      <a:pt x="0" y="141"/>
                    </a:cubicBezTo>
                    <a:cubicBezTo>
                      <a:pt x="0" y="159"/>
                      <a:pt x="0" y="159"/>
                      <a:pt x="0" y="159"/>
                    </a:cubicBezTo>
                    <a:cubicBezTo>
                      <a:pt x="15" y="159"/>
                      <a:pt x="15" y="159"/>
                      <a:pt x="15" y="159"/>
                    </a:cubicBezTo>
                    <a:cubicBezTo>
                      <a:pt x="20" y="226"/>
                      <a:pt x="74" y="280"/>
                      <a:pt x="141" y="285"/>
                    </a:cubicBezTo>
                    <a:cubicBezTo>
                      <a:pt x="141" y="300"/>
                      <a:pt x="141" y="300"/>
                      <a:pt x="141" y="300"/>
                    </a:cubicBezTo>
                    <a:cubicBezTo>
                      <a:pt x="159" y="300"/>
                      <a:pt x="159" y="300"/>
                      <a:pt x="159" y="300"/>
                    </a:cubicBezTo>
                    <a:cubicBezTo>
                      <a:pt x="159" y="285"/>
                      <a:pt x="159" y="285"/>
                      <a:pt x="159" y="285"/>
                    </a:cubicBezTo>
                    <a:cubicBezTo>
                      <a:pt x="226" y="280"/>
                      <a:pt x="280" y="226"/>
                      <a:pt x="285" y="159"/>
                    </a:cubicBezTo>
                    <a:cubicBezTo>
                      <a:pt x="300" y="159"/>
                      <a:pt x="300" y="159"/>
                      <a:pt x="300" y="159"/>
                    </a:cubicBezTo>
                    <a:lnTo>
                      <a:pt x="300" y="141"/>
                    </a:lnTo>
                    <a:close/>
                    <a:moveTo>
                      <a:pt x="258" y="141"/>
                    </a:moveTo>
                    <a:cubicBezTo>
                      <a:pt x="230" y="141"/>
                      <a:pt x="230" y="141"/>
                      <a:pt x="230" y="141"/>
                    </a:cubicBezTo>
                    <a:cubicBezTo>
                      <a:pt x="226" y="103"/>
                      <a:pt x="197" y="74"/>
                      <a:pt x="159" y="70"/>
                    </a:cubicBezTo>
                    <a:cubicBezTo>
                      <a:pt x="159" y="42"/>
                      <a:pt x="159" y="42"/>
                      <a:pt x="159" y="42"/>
                    </a:cubicBezTo>
                    <a:cubicBezTo>
                      <a:pt x="211" y="47"/>
                      <a:pt x="253" y="89"/>
                      <a:pt x="258" y="141"/>
                    </a:cubicBezTo>
                    <a:close/>
                    <a:moveTo>
                      <a:pt x="141" y="125"/>
                    </a:moveTo>
                    <a:cubicBezTo>
                      <a:pt x="133" y="127"/>
                      <a:pt x="127" y="133"/>
                      <a:pt x="125" y="141"/>
                    </a:cubicBezTo>
                    <a:cubicBezTo>
                      <a:pt x="97" y="141"/>
                      <a:pt x="97" y="141"/>
                      <a:pt x="97" y="141"/>
                    </a:cubicBezTo>
                    <a:cubicBezTo>
                      <a:pt x="101" y="118"/>
                      <a:pt x="118" y="101"/>
                      <a:pt x="141" y="97"/>
                    </a:cubicBezTo>
                    <a:lnTo>
                      <a:pt x="141" y="125"/>
                    </a:lnTo>
                    <a:close/>
                    <a:moveTo>
                      <a:pt x="125" y="159"/>
                    </a:moveTo>
                    <a:cubicBezTo>
                      <a:pt x="127" y="167"/>
                      <a:pt x="133" y="173"/>
                      <a:pt x="141" y="175"/>
                    </a:cubicBezTo>
                    <a:cubicBezTo>
                      <a:pt x="141" y="203"/>
                      <a:pt x="141" y="203"/>
                      <a:pt x="141" y="203"/>
                    </a:cubicBezTo>
                    <a:cubicBezTo>
                      <a:pt x="118" y="199"/>
                      <a:pt x="101" y="182"/>
                      <a:pt x="97" y="159"/>
                    </a:cubicBezTo>
                    <a:lnTo>
                      <a:pt x="125" y="159"/>
                    </a:lnTo>
                    <a:close/>
                    <a:moveTo>
                      <a:pt x="159" y="175"/>
                    </a:moveTo>
                    <a:cubicBezTo>
                      <a:pt x="167" y="173"/>
                      <a:pt x="173" y="167"/>
                      <a:pt x="175" y="159"/>
                    </a:cubicBezTo>
                    <a:cubicBezTo>
                      <a:pt x="203" y="159"/>
                      <a:pt x="203" y="159"/>
                      <a:pt x="203" y="159"/>
                    </a:cubicBezTo>
                    <a:cubicBezTo>
                      <a:pt x="199" y="182"/>
                      <a:pt x="182" y="199"/>
                      <a:pt x="159" y="203"/>
                    </a:cubicBezTo>
                    <a:lnTo>
                      <a:pt x="159" y="175"/>
                    </a:lnTo>
                    <a:close/>
                    <a:moveTo>
                      <a:pt x="175" y="141"/>
                    </a:moveTo>
                    <a:cubicBezTo>
                      <a:pt x="173" y="133"/>
                      <a:pt x="167" y="127"/>
                      <a:pt x="159" y="125"/>
                    </a:cubicBezTo>
                    <a:cubicBezTo>
                      <a:pt x="159" y="97"/>
                      <a:pt x="159" y="97"/>
                      <a:pt x="159" y="97"/>
                    </a:cubicBezTo>
                    <a:cubicBezTo>
                      <a:pt x="182" y="101"/>
                      <a:pt x="199" y="118"/>
                      <a:pt x="203" y="141"/>
                    </a:cubicBezTo>
                    <a:lnTo>
                      <a:pt x="175" y="141"/>
                    </a:lnTo>
                    <a:close/>
                    <a:moveTo>
                      <a:pt x="141" y="42"/>
                    </a:moveTo>
                    <a:cubicBezTo>
                      <a:pt x="141" y="70"/>
                      <a:pt x="141" y="70"/>
                      <a:pt x="141" y="70"/>
                    </a:cubicBezTo>
                    <a:cubicBezTo>
                      <a:pt x="103" y="74"/>
                      <a:pt x="74" y="103"/>
                      <a:pt x="70" y="141"/>
                    </a:cubicBezTo>
                    <a:cubicBezTo>
                      <a:pt x="42" y="141"/>
                      <a:pt x="42" y="141"/>
                      <a:pt x="42" y="141"/>
                    </a:cubicBezTo>
                    <a:cubicBezTo>
                      <a:pt x="47" y="89"/>
                      <a:pt x="89" y="47"/>
                      <a:pt x="141" y="42"/>
                    </a:cubicBezTo>
                    <a:close/>
                    <a:moveTo>
                      <a:pt x="42" y="159"/>
                    </a:moveTo>
                    <a:cubicBezTo>
                      <a:pt x="70" y="159"/>
                      <a:pt x="70" y="159"/>
                      <a:pt x="70" y="159"/>
                    </a:cubicBezTo>
                    <a:cubicBezTo>
                      <a:pt x="74" y="197"/>
                      <a:pt x="103" y="226"/>
                      <a:pt x="141" y="230"/>
                    </a:cubicBezTo>
                    <a:cubicBezTo>
                      <a:pt x="141" y="258"/>
                      <a:pt x="141" y="258"/>
                      <a:pt x="141" y="258"/>
                    </a:cubicBezTo>
                    <a:cubicBezTo>
                      <a:pt x="89" y="253"/>
                      <a:pt x="47" y="211"/>
                      <a:pt x="42" y="159"/>
                    </a:cubicBezTo>
                    <a:close/>
                    <a:moveTo>
                      <a:pt x="159" y="258"/>
                    </a:moveTo>
                    <a:cubicBezTo>
                      <a:pt x="159" y="230"/>
                      <a:pt x="159" y="230"/>
                      <a:pt x="159" y="230"/>
                    </a:cubicBezTo>
                    <a:cubicBezTo>
                      <a:pt x="197" y="226"/>
                      <a:pt x="226" y="197"/>
                      <a:pt x="230" y="159"/>
                    </a:cubicBezTo>
                    <a:cubicBezTo>
                      <a:pt x="258" y="159"/>
                      <a:pt x="258" y="159"/>
                      <a:pt x="258" y="159"/>
                    </a:cubicBezTo>
                    <a:cubicBezTo>
                      <a:pt x="253" y="211"/>
                      <a:pt x="211" y="253"/>
                      <a:pt x="159" y="2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200"/>
              </a:p>
            </p:txBody>
          </p:sp>
        </p:grpSp>
        <p:grpSp>
          <p:nvGrpSpPr>
            <p:cNvPr id="399" name="Group 398"/>
            <p:cNvGrpSpPr/>
            <p:nvPr/>
          </p:nvGrpSpPr>
          <p:grpSpPr>
            <a:xfrm>
              <a:off x="9065196" y="1312215"/>
              <a:ext cx="2688336" cy="1737359"/>
              <a:chOff x="6264422" y="1315329"/>
              <a:chExt cx="2678656" cy="1725473"/>
            </a:xfrm>
          </p:grpSpPr>
          <p:sp>
            <p:nvSpPr>
              <p:cNvPr id="401" name="Rectangle 400"/>
              <p:cNvSpPr>
                <a:spLocks noChangeAspect="1"/>
              </p:cNvSpPr>
              <p:nvPr>
                <p:custDataLst>
                  <p:tags r:id="rId1"/>
                </p:custDataLst>
              </p:nvPr>
            </p:nvSpPr>
            <p:spPr bwMode="auto">
              <a:xfrm>
                <a:off x="6264422" y="1315329"/>
                <a:ext cx="2678656" cy="1725473"/>
              </a:xfrm>
              <a:prstGeom prst="rect">
                <a:avLst/>
              </a:prstGeom>
              <a:solidFill>
                <a:srgbClr val="FF8B00"/>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60947" rIns="121893" bIns="60947" numCol="1" rtlCol="0" anchor="b" anchorCtr="0" compatLnSpc="1">
                <a:prstTxWarp prst="textNoShape">
                  <a:avLst/>
                </a:prstTxWarp>
                <a:noAutofit/>
              </a:bodyPr>
              <a:lstStyle/>
              <a:p>
                <a:pPr algn="ctr" defTabSz="914045" fontAlgn="base">
                  <a:lnSpc>
                    <a:spcPct val="90000"/>
                  </a:lnSpc>
                  <a:spcBef>
                    <a:spcPts val="630"/>
                  </a:spcBef>
                  <a:spcAft>
                    <a:spcPct val="0"/>
                  </a:spcAft>
                  <a:buClr>
                    <a:srgbClr val="FFFF99"/>
                  </a:buClr>
                  <a:buSzPct val="120000"/>
                </a:pPr>
                <a:endParaRPr lang="en-US" dirty="0" smtClean="0">
                  <a:ln>
                    <a:solidFill>
                      <a:srgbClr val="FFFFFF">
                        <a:alpha val="0"/>
                      </a:srgbClr>
                    </a:solidFill>
                  </a:ln>
                  <a:solidFill>
                    <a:srgbClr val="FFFFFF">
                      <a:alpha val="99000"/>
                    </a:srgbClr>
                  </a:solidFill>
                  <a:cs typeface="Segoe UI" pitchFamily="34" charset="0"/>
                </a:endParaRPr>
              </a:p>
              <a:p>
                <a:pPr defTabSz="913985" fontAlgn="base">
                  <a:spcBef>
                    <a:spcPct val="0"/>
                  </a:spcBef>
                  <a:spcAft>
                    <a:spcPct val="0"/>
                  </a:spcAft>
                  <a:defRPr/>
                </a:pPr>
                <a:r>
                  <a:rPr lang="en-US" sz="2000" kern="0" dirty="0">
                    <a:solidFill>
                      <a:srgbClr val="FFFFFF">
                        <a:alpha val="99000"/>
                      </a:srgbClr>
                    </a:solidFill>
                  </a:rPr>
                  <a:t>DAC</a:t>
                </a:r>
              </a:p>
            </p:txBody>
          </p:sp>
          <p:grpSp>
            <p:nvGrpSpPr>
              <p:cNvPr id="402" name="Group 401"/>
              <p:cNvGrpSpPr>
                <a:grpSpLocks noChangeAspect="1"/>
              </p:cNvGrpSpPr>
              <p:nvPr/>
            </p:nvGrpSpPr>
            <p:grpSpPr>
              <a:xfrm>
                <a:off x="7225894" y="1638148"/>
                <a:ext cx="59636" cy="184077"/>
                <a:chOff x="-1616075" y="2730500"/>
                <a:chExt cx="258763" cy="798512"/>
              </a:xfrm>
              <a:solidFill>
                <a:schemeClr val="bg1"/>
              </a:solidFill>
            </p:grpSpPr>
            <p:sp>
              <p:nvSpPr>
                <p:cNvPr id="403" name="Freeform 73"/>
                <p:cNvSpPr>
                  <a:spLocks/>
                </p:cNvSpPr>
                <p:nvPr/>
              </p:nvSpPr>
              <p:spPr bwMode="auto">
                <a:xfrm>
                  <a:off x="-1495425" y="2730500"/>
                  <a:ext cx="138113" cy="52387"/>
                </a:xfrm>
                <a:custGeom>
                  <a:avLst/>
                  <a:gdLst>
                    <a:gd name="T0" fmla="*/ 35 w 37"/>
                    <a:gd name="T1" fmla="*/ 14 h 14"/>
                    <a:gd name="T2" fmla="*/ 37 w 37"/>
                    <a:gd name="T3" fmla="*/ 12 h 14"/>
                    <a:gd name="T4" fmla="*/ 36 w 37"/>
                    <a:gd name="T5" fmla="*/ 9 h 14"/>
                    <a:gd name="T6" fmla="*/ 29 w 37"/>
                    <a:gd name="T7" fmla="*/ 1 h 14"/>
                    <a:gd name="T8" fmla="*/ 27 w 37"/>
                    <a:gd name="T9" fmla="*/ 0 h 14"/>
                    <a:gd name="T10" fmla="*/ 27 w 37"/>
                    <a:gd name="T11" fmla="*/ 0 h 14"/>
                    <a:gd name="T12" fmla="*/ 27 w 37"/>
                    <a:gd name="T13" fmla="*/ 0 h 14"/>
                    <a:gd name="T14" fmla="*/ 26 w 37"/>
                    <a:gd name="T15" fmla="*/ 0 h 14"/>
                    <a:gd name="T16" fmla="*/ 26 w 37"/>
                    <a:gd name="T17" fmla="*/ 0 h 14"/>
                    <a:gd name="T18" fmla="*/ 25 w 37"/>
                    <a:gd name="T19" fmla="*/ 0 h 14"/>
                    <a:gd name="T20" fmla="*/ 25 w 37"/>
                    <a:gd name="T21" fmla="*/ 0 h 14"/>
                    <a:gd name="T22" fmla="*/ 25 w 37"/>
                    <a:gd name="T23" fmla="*/ 0 h 14"/>
                    <a:gd name="T24" fmla="*/ 25 w 37"/>
                    <a:gd name="T25" fmla="*/ 0 h 14"/>
                    <a:gd name="T26" fmla="*/ 24 w 37"/>
                    <a:gd name="T27" fmla="*/ 0 h 14"/>
                    <a:gd name="T28" fmla="*/ 24 w 37"/>
                    <a:gd name="T29" fmla="*/ 0 h 14"/>
                    <a:gd name="T30" fmla="*/ 23 w 37"/>
                    <a:gd name="T31" fmla="*/ 0 h 14"/>
                    <a:gd name="T32" fmla="*/ 23 w 37"/>
                    <a:gd name="T33" fmla="*/ 0 h 14"/>
                    <a:gd name="T34" fmla="*/ 0 w 37"/>
                    <a:gd name="T35" fmla="*/ 9 h 14"/>
                    <a:gd name="T36" fmla="*/ 35 w 37"/>
                    <a:gd name="T3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14">
                      <a:moveTo>
                        <a:pt x="35" y="14"/>
                      </a:moveTo>
                      <a:cubicBezTo>
                        <a:pt x="37" y="14"/>
                        <a:pt x="37" y="13"/>
                        <a:pt x="37" y="12"/>
                      </a:cubicBezTo>
                      <a:cubicBezTo>
                        <a:pt x="37" y="11"/>
                        <a:pt x="36" y="10"/>
                        <a:pt x="36" y="9"/>
                      </a:cubicBezTo>
                      <a:cubicBezTo>
                        <a:pt x="33" y="6"/>
                        <a:pt x="31" y="4"/>
                        <a:pt x="29" y="1"/>
                      </a:cubicBezTo>
                      <a:cubicBezTo>
                        <a:pt x="27" y="0"/>
                        <a:pt x="27" y="0"/>
                        <a:pt x="27" y="0"/>
                      </a:cubicBezTo>
                      <a:cubicBezTo>
                        <a:pt x="27" y="0"/>
                        <a:pt x="27" y="0"/>
                        <a:pt x="27" y="0"/>
                      </a:cubicBezTo>
                      <a:cubicBezTo>
                        <a:pt x="27" y="0"/>
                        <a:pt x="27" y="0"/>
                        <a:pt x="27" y="0"/>
                      </a:cubicBezTo>
                      <a:cubicBezTo>
                        <a:pt x="27" y="0"/>
                        <a:pt x="26" y="0"/>
                        <a:pt x="26" y="0"/>
                      </a:cubicBezTo>
                      <a:cubicBezTo>
                        <a:pt x="26" y="0"/>
                        <a:pt x="26" y="0"/>
                        <a:pt x="26" y="0"/>
                      </a:cubicBezTo>
                      <a:cubicBezTo>
                        <a:pt x="26" y="0"/>
                        <a:pt x="26" y="0"/>
                        <a:pt x="25" y="0"/>
                      </a:cubicBezTo>
                      <a:cubicBezTo>
                        <a:pt x="25" y="0"/>
                        <a:pt x="25" y="0"/>
                        <a:pt x="25" y="0"/>
                      </a:cubicBezTo>
                      <a:cubicBezTo>
                        <a:pt x="25" y="0"/>
                        <a:pt x="25" y="0"/>
                        <a:pt x="25" y="0"/>
                      </a:cubicBezTo>
                      <a:cubicBezTo>
                        <a:pt x="25" y="0"/>
                        <a:pt x="25" y="0"/>
                        <a:pt x="25" y="0"/>
                      </a:cubicBezTo>
                      <a:cubicBezTo>
                        <a:pt x="25" y="0"/>
                        <a:pt x="25" y="0"/>
                        <a:pt x="24" y="0"/>
                      </a:cubicBezTo>
                      <a:cubicBezTo>
                        <a:pt x="24" y="0"/>
                        <a:pt x="24" y="0"/>
                        <a:pt x="24" y="0"/>
                      </a:cubicBezTo>
                      <a:cubicBezTo>
                        <a:pt x="23" y="0"/>
                        <a:pt x="23" y="0"/>
                        <a:pt x="23" y="0"/>
                      </a:cubicBezTo>
                      <a:cubicBezTo>
                        <a:pt x="23" y="0"/>
                        <a:pt x="23" y="0"/>
                        <a:pt x="23" y="0"/>
                      </a:cubicBezTo>
                      <a:cubicBezTo>
                        <a:pt x="0" y="9"/>
                        <a:pt x="0" y="9"/>
                        <a:pt x="0" y="9"/>
                      </a:cubicBezTo>
                      <a:lnTo>
                        <a:pt x="35"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4" name="Freeform 74"/>
                <p:cNvSpPr>
                  <a:spLocks/>
                </p:cNvSpPr>
                <p:nvPr/>
              </p:nvSpPr>
              <p:spPr bwMode="auto">
                <a:xfrm>
                  <a:off x="-1616075" y="3479800"/>
                  <a:ext cx="104775" cy="49212"/>
                </a:xfrm>
                <a:custGeom>
                  <a:avLst/>
                  <a:gdLst>
                    <a:gd name="T0" fmla="*/ 0 w 28"/>
                    <a:gd name="T1" fmla="*/ 10 h 13"/>
                    <a:gd name="T2" fmla="*/ 0 w 28"/>
                    <a:gd name="T3" fmla="*/ 13 h 13"/>
                    <a:gd name="T4" fmla="*/ 28 w 28"/>
                    <a:gd name="T5" fmla="*/ 4 h 13"/>
                    <a:gd name="T6" fmla="*/ 28 w 28"/>
                    <a:gd name="T7" fmla="*/ 0 h 13"/>
                    <a:gd name="T8" fmla="*/ 0 w 28"/>
                    <a:gd name="T9" fmla="*/ 9 h 13"/>
                    <a:gd name="T10" fmla="*/ 0 w 28"/>
                    <a:gd name="T11" fmla="*/ 10 h 13"/>
                  </a:gdLst>
                  <a:ahLst/>
                  <a:cxnLst>
                    <a:cxn ang="0">
                      <a:pos x="T0" y="T1"/>
                    </a:cxn>
                    <a:cxn ang="0">
                      <a:pos x="T2" y="T3"/>
                    </a:cxn>
                    <a:cxn ang="0">
                      <a:pos x="T4" y="T5"/>
                    </a:cxn>
                    <a:cxn ang="0">
                      <a:pos x="T6" y="T7"/>
                    </a:cxn>
                    <a:cxn ang="0">
                      <a:pos x="T8" y="T9"/>
                    </a:cxn>
                    <a:cxn ang="0">
                      <a:pos x="T10" y="T11"/>
                    </a:cxn>
                  </a:cxnLst>
                  <a:rect l="0" t="0" r="r" b="b"/>
                  <a:pathLst>
                    <a:path w="28" h="13">
                      <a:moveTo>
                        <a:pt x="0" y="10"/>
                      </a:moveTo>
                      <a:cubicBezTo>
                        <a:pt x="0" y="13"/>
                        <a:pt x="0" y="13"/>
                        <a:pt x="0" y="13"/>
                      </a:cubicBezTo>
                      <a:cubicBezTo>
                        <a:pt x="28" y="4"/>
                        <a:pt x="28" y="4"/>
                        <a:pt x="28" y="4"/>
                      </a:cubicBezTo>
                      <a:cubicBezTo>
                        <a:pt x="28" y="0"/>
                        <a:pt x="28" y="0"/>
                        <a:pt x="28" y="0"/>
                      </a:cubicBezTo>
                      <a:cubicBezTo>
                        <a:pt x="0" y="9"/>
                        <a:pt x="0" y="9"/>
                        <a:pt x="0" y="9"/>
                      </a:cubicBezTo>
                      <a:cubicBezTo>
                        <a:pt x="0" y="9"/>
                        <a:pt x="0" y="9"/>
                        <a:pt x="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5" name="Freeform 77"/>
                <p:cNvSpPr>
                  <a:spLocks/>
                </p:cNvSpPr>
                <p:nvPr/>
              </p:nvSpPr>
              <p:spPr bwMode="auto">
                <a:xfrm>
                  <a:off x="-1470025" y="3443288"/>
                  <a:ext cx="11113" cy="36512"/>
                </a:xfrm>
                <a:custGeom>
                  <a:avLst/>
                  <a:gdLst>
                    <a:gd name="T0" fmla="*/ 2 w 3"/>
                    <a:gd name="T1" fmla="*/ 10 h 10"/>
                    <a:gd name="T2" fmla="*/ 3 w 3"/>
                    <a:gd name="T3" fmla="*/ 10 h 10"/>
                    <a:gd name="T4" fmla="*/ 3 w 3"/>
                    <a:gd name="T5" fmla="*/ 0 h 10"/>
                    <a:gd name="T6" fmla="*/ 2 w 3"/>
                    <a:gd name="T7" fmla="*/ 0 h 10"/>
                    <a:gd name="T8" fmla="*/ 2 w 3"/>
                    <a:gd name="T9" fmla="*/ 0 h 10"/>
                    <a:gd name="T10" fmla="*/ 1 w 3"/>
                    <a:gd name="T11" fmla="*/ 0 h 10"/>
                    <a:gd name="T12" fmla="*/ 0 w 3"/>
                    <a:gd name="T13" fmla="*/ 0 h 10"/>
                    <a:gd name="T14" fmla="*/ 2 w 3"/>
                    <a:gd name="T15" fmla="*/ 7 h 10"/>
                    <a:gd name="T16" fmla="*/ 2 w 3"/>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0">
                      <a:moveTo>
                        <a:pt x="2" y="10"/>
                      </a:moveTo>
                      <a:cubicBezTo>
                        <a:pt x="3" y="10"/>
                        <a:pt x="3" y="10"/>
                        <a:pt x="3" y="10"/>
                      </a:cubicBezTo>
                      <a:cubicBezTo>
                        <a:pt x="3" y="0"/>
                        <a:pt x="3" y="0"/>
                        <a:pt x="3" y="0"/>
                      </a:cubicBezTo>
                      <a:cubicBezTo>
                        <a:pt x="2" y="0"/>
                        <a:pt x="2" y="0"/>
                        <a:pt x="2" y="0"/>
                      </a:cubicBezTo>
                      <a:cubicBezTo>
                        <a:pt x="2" y="0"/>
                        <a:pt x="2" y="0"/>
                        <a:pt x="2" y="0"/>
                      </a:cubicBezTo>
                      <a:cubicBezTo>
                        <a:pt x="2" y="0"/>
                        <a:pt x="1" y="0"/>
                        <a:pt x="1" y="0"/>
                      </a:cubicBezTo>
                      <a:cubicBezTo>
                        <a:pt x="0" y="0"/>
                        <a:pt x="0" y="0"/>
                        <a:pt x="0" y="0"/>
                      </a:cubicBezTo>
                      <a:cubicBezTo>
                        <a:pt x="1" y="2"/>
                        <a:pt x="2" y="4"/>
                        <a:pt x="2" y="7"/>
                      </a:cubicBezTo>
                      <a:lnTo>
                        <a:pt x="2"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grpSp>
        <p:nvGrpSpPr>
          <p:cNvPr id="2" name="Group 1"/>
          <p:cNvGrpSpPr/>
          <p:nvPr/>
        </p:nvGrpSpPr>
        <p:grpSpPr>
          <a:xfrm>
            <a:off x="6915761" y="3886201"/>
            <a:ext cx="685979" cy="499988"/>
            <a:chOff x="9218612" y="5181600"/>
            <a:chExt cx="914400" cy="666650"/>
          </a:xfrm>
        </p:grpSpPr>
        <p:sp>
          <p:nvSpPr>
            <p:cNvPr id="89" name="Freeform 79"/>
            <p:cNvSpPr>
              <a:spLocks/>
            </p:cNvSpPr>
            <p:nvPr/>
          </p:nvSpPr>
          <p:spPr bwMode="black">
            <a:xfrm>
              <a:off x="9218612" y="5526854"/>
              <a:ext cx="914400" cy="321396"/>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200"/>
            </a:p>
          </p:txBody>
        </p:sp>
        <p:sp>
          <p:nvSpPr>
            <p:cNvPr id="90" name="Freeform 80"/>
            <p:cNvSpPr>
              <a:spLocks noEditPoints="1"/>
            </p:cNvSpPr>
            <p:nvPr/>
          </p:nvSpPr>
          <p:spPr bwMode="black">
            <a:xfrm>
              <a:off x="9218612" y="5181600"/>
              <a:ext cx="914400" cy="318589"/>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200"/>
            </a:p>
          </p:txBody>
        </p:sp>
      </p:grpSp>
      <p:sp>
        <p:nvSpPr>
          <p:cNvPr id="91" name="Freeform 14"/>
          <p:cNvSpPr>
            <a:spLocks noEditPoints="1"/>
          </p:cNvSpPr>
          <p:nvPr/>
        </p:nvSpPr>
        <p:spPr bwMode="black">
          <a:xfrm>
            <a:off x="6858595" y="498826"/>
            <a:ext cx="553563" cy="529875"/>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noFill/>
          </a:ln>
        </p:spPr>
        <p:txBody>
          <a:bodyPr vert="horz" wrap="square" lIns="61735" tIns="30867" rIns="61735" bIns="30867" numCol="1" anchor="t" anchorCtr="0" compatLnSpc="1">
            <a:prstTxWarp prst="textNoShape">
              <a:avLst/>
            </a:prstTxWarp>
          </a:bodyPr>
          <a:lstStyle/>
          <a:p>
            <a:endParaRPr lang="en-US" sz="1200" dirty="0"/>
          </a:p>
        </p:txBody>
      </p:sp>
      <p:pic>
        <p:nvPicPr>
          <p:cNvPr id="92" name="Picture 34" descr="Efficiency.png"/>
          <p:cNvPicPr>
            <a:picLocks noChangeAspect="1"/>
          </p:cNvPicPr>
          <p:nvPr/>
        </p:nvPicPr>
        <p:blipFill>
          <a:blip r:embed="rId15" cstate="print"/>
          <a:srcRect/>
          <a:stretch>
            <a:fillRect/>
          </a:stretch>
        </p:blipFill>
        <p:spPr bwMode="auto">
          <a:xfrm>
            <a:off x="2449103" y="410657"/>
            <a:ext cx="743144" cy="675193"/>
          </a:xfrm>
          <a:prstGeom prst="rect">
            <a:avLst/>
          </a:prstGeom>
          <a:noFill/>
          <a:ln>
            <a:noFill/>
          </a:ln>
        </p:spPr>
      </p:pic>
      <p:sp>
        <p:nvSpPr>
          <p:cNvPr id="99" name="Freeform 18"/>
          <p:cNvSpPr>
            <a:spLocks noEditPoints="1"/>
          </p:cNvSpPr>
          <p:nvPr/>
        </p:nvSpPr>
        <p:spPr bwMode="black">
          <a:xfrm>
            <a:off x="6915760" y="2230964"/>
            <a:ext cx="496398" cy="455086"/>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6" tIns="34294" rIns="68586" bIns="34294" numCol="1" anchor="t" anchorCtr="0" compatLnSpc="1">
            <a:prstTxWarp prst="textNoShape">
              <a:avLst/>
            </a:prstTxWarp>
          </a:bodyPr>
          <a:lstStyle/>
          <a:p>
            <a:endParaRPr lang="en-US" sz="1200"/>
          </a:p>
        </p:txBody>
      </p:sp>
      <p:grpSp>
        <p:nvGrpSpPr>
          <p:cNvPr id="83" name="Group 82"/>
          <p:cNvGrpSpPr/>
          <p:nvPr/>
        </p:nvGrpSpPr>
        <p:grpSpPr>
          <a:xfrm>
            <a:off x="4743494" y="469654"/>
            <a:ext cx="514484" cy="585025"/>
            <a:chOff x="3586163" y="1794554"/>
            <a:chExt cx="906105" cy="1108645"/>
          </a:xfrm>
        </p:grpSpPr>
        <p:grpSp>
          <p:nvGrpSpPr>
            <p:cNvPr id="84" name="Group 83"/>
            <p:cNvGrpSpPr/>
            <p:nvPr/>
          </p:nvGrpSpPr>
          <p:grpSpPr>
            <a:xfrm>
              <a:off x="3586163" y="2278401"/>
              <a:ext cx="466724" cy="624798"/>
              <a:chOff x="4800600" y="2419352"/>
              <a:chExt cx="466724" cy="624798"/>
            </a:xfrm>
          </p:grpSpPr>
          <p:sp>
            <p:nvSpPr>
              <p:cNvPr id="105" name="Rectangle 9"/>
              <p:cNvSpPr/>
              <p:nvPr/>
            </p:nvSpPr>
            <p:spPr>
              <a:xfrm>
                <a:off x="4800600" y="2434550"/>
                <a:ext cx="457200" cy="609600"/>
              </a:xfrm>
              <a:custGeom>
                <a:avLst/>
                <a:gdLst>
                  <a:gd name="connsiteX0" fmla="*/ 0 w 457200"/>
                  <a:gd name="connsiteY0" fmla="*/ 0 h 609600"/>
                  <a:gd name="connsiteX1" fmla="*/ 457200 w 457200"/>
                  <a:gd name="connsiteY1" fmla="*/ 0 h 609600"/>
                  <a:gd name="connsiteX2" fmla="*/ 457200 w 457200"/>
                  <a:gd name="connsiteY2" fmla="*/ 609600 h 609600"/>
                  <a:gd name="connsiteX3" fmla="*/ 0 w 457200"/>
                  <a:gd name="connsiteY3" fmla="*/ 609600 h 609600"/>
                  <a:gd name="connsiteX4" fmla="*/ 0 w 457200"/>
                  <a:gd name="connsiteY4" fmla="*/ 0 h 609600"/>
                  <a:gd name="connsiteX0" fmla="*/ 0 w 457200"/>
                  <a:gd name="connsiteY0" fmla="*/ 0 h 609600"/>
                  <a:gd name="connsiteX1" fmla="*/ 454819 w 457200"/>
                  <a:gd name="connsiteY1" fmla="*/ 0 h 609600"/>
                  <a:gd name="connsiteX2" fmla="*/ 457200 w 457200"/>
                  <a:gd name="connsiteY2" fmla="*/ 609600 h 609600"/>
                  <a:gd name="connsiteX3" fmla="*/ 0 w 457200"/>
                  <a:gd name="connsiteY3" fmla="*/ 609600 h 609600"/>
                  <a:gd name="connsiteX4" fmla="*/ 0 w 457200"/>
                  <a:gd name="connsiteY4" fmla="*/ 0 h 60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0" h="609600">
                    <a:moveTo>
                      <a:pt x="0" y="0"/>
                    </a:moveTo>
                    <a:lnTo>
                      <a:pt x="454819" y="0"/>
                    </a:lnTo>
                    <a:cubicBezTo>
                      <a:pt x="455613" y="203200"/>
                      <a:pt x="456406" y="406400"/>
                      <a:pt x="457200" y="609600"/>
                    </a:cubicBezTo>
                    <a:lnTo>
                      <a:pt x="0" y="609600"/>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Rectangle 105"/>
              <p:cNvSpPr/>
              <p:nvPr/>
            </p:nvSpPr>
            <p:spPr>
              <a:xfrm>
                <a:off x="5114924" y="2419352"/>
                <a:ext cx="142876" cy="1524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Rectangle 11"/>
              <p:cNvSpPr/>
              <p:nvPr/>
            </p:nvSpPr>
            <p:spPr>
              <a:xfrm>
                <a:off x="5114924" y="2419352"/>
                <a:ext cx="152400" cy="152400"/>
              </a:xfrm>
              <a:custGeom>
                <a:avLst/>
                <a:gdLst>
                  <a:gd name="connsiteX0" fmla="*/ 0 w 152400"/>
                  <a:gd name="connsiteY0" fmla="*/ 0 h 152400"/>
                  <a:gd name="connsiteX1" fmla="*/ 152400 w 152400"/>
                  <a:gd name="connsiteY1" fmla="*/ 0 h 152400"/>
                  <a:gd name="connsiteX2" fmla="*/ 152400 w 152400"/>
                  <a:gd name="connsiteY2" fmla="*/ 152400 h 152400"/>
                  <a:gd name="connsiteX3" fmla="*/ 0 w 152400"/>
                  <a:gd name="connsiteY3" fmla="*/ 152400 h 152400"/>
                  <a:gd name="connsiteX4" fmla="*/ 0 w 152400"/>
                  <a:gd name="connsiteY4" fmla="*/ 0 h 152400"/>
                  <a:gd name="connsiteX0" fmla="*/ 0 w 152400"/>
                  <a:gd name="connsiteY0" fmla="*/ 0 h 152400"/>
                  <a:gd name="connsiteX1" fmla="*/ 78581 w 152400"/>
                  <a:gd name="connsiteY1" fmla="*/ 78581 h 152400"/>
                  <a:gd name="connsiteX2" fmla="*/ 152400 w 152400"/>
                  <a:gd name="connsiteY2" fmla="*/ 152400 h 152400"/>
                  <a:gd name="connsiteX3" fmla="*/ 0 w 152400"/>
                  <a:gd name="connsiteY3" fmla="*/ 152400 h 152400"/>
                  <a:gd name="connsiteX4" fmla="*/ 0 w 152400"/>
                  <a:gd name="connsiteY4" fmla="*/ 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0" y="0"/>
                    </a:moveTo>
                    <a:lnTo>
                      <a:pt x="78581" y="78581"/>
                    </a:lnTo>
                    <a:lnTo>
                      <a:pt x="152400" y="152400"/>
                    </a:lnTo>
                    <a:lnTo>
                      <a:pt x="0" y="152400"/>
                    </a:lnTo>
                    <a:lnTo>
                      <a:pt x="0" y="0"/>
                    </a:lnTo>
                    <a:close/>
                  </a:path>
                </a:pathLst>
              </a:custGeom>
              <a:solidFill>
                <a:schemeClr val="bg1"/>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5" name="Group 84"/>
            <p:cNvGrpSpPr/>
            <p:nvPr/>
          </p:nvGrpSpPr>
          <p:grpSpPr>
            <a:xfrm>
              <a:off x="4000501" y="1794554"/>
              <a:ext cx="466724" cy="624798"/>
              <a:chOff x="4800600" y="2419352"/>
              <a:chExt cx="466724" cy="624798"/>
            </a:xfrm>
          </p:grpSpPr>
          <p:sp>
            <p:nvSpPr>
              <p:cNvPr id="102" name="Rectangle 9"/>
              <p:cNvSpPr/>
              <p:nvPr/>
            </p:nvSpPr>
            <p:spPr>
              <a:xfrm>
                <a:off x="4800600" y="2434550"/>
                <a:ext cx="457200" cy="609600"/>
              </a:xfrm>
              <a:custGeom>
                <a:avLst/>
                <a:gdLst>
                  <a:gd name="connsiteX0" fmla="*/ 0 w 457200"/>
                  <a:gd name="connsiteY0" fmla="*/ 0 h 609600"/>
                  <a:gd name="connsiteX1" fmla="*/ 457200 w 457200"/>
                  <a:gd name="connsiteY1" fmla="*/ 0 h 609600"/>
                  <a:gd name="connsiteX2" fmla="*/ 457200 w 457200"/>
                  <a:gd name="connsiteY2" fmla="*/ 609600 h 609600"/>
                  <a:gd name="connsiteX3" fmla="*/ 0 w 457200"/>
                  <a:gd name="connsiteY3" fmla="*/ 609600 h 609600"/>
                  <a:gd name="connsiteX4" fmla="*/ 0 w 457200"/>
                  <a:gd name="connsiteY4" fmla="*/ 0 h 609600"/>
                  <a:gd name="connsiteX0" fmla="*/ 0 w 457200"/>
                  <a:gd name="connsiteY0" fmla="*/ 0 h 609600"/>
                  <a:gd name="connsiteX1" fmla="*/ 454819 w 457200"/>
                  <a:gd name="connsiteY1" fmla="*/ 0 h 609600"/>
                  <a:gd name="connsiteX2" fmla="*/ 457200 w 457200"/>
                  <a:gd name="connsiteY2" fmla="*/ 609600 h 609600"/>
                  <a:gd name="connsiteX3" fmla="*/ 0 w 457200"/>
                  <a:gd name="connsiteY3" fmla="*/ 609600 h 609600"/>
                  <a:gd name="connsiteX4" fmla="*/ 0 w 457200"/>
                  <a:gd name="connsiteY4" fmla="*/ 0 h 60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0" h="609600">
                    <a:moveTo>
                      <a:pt x="0" y="0"/>
                    </a:moveTo>
                    <a:lnTo>
                      <a:pt x="454819" y="0"/>
                    </a:lnTo>
                    <a:cubicBezTo>
                      <a:pt x="455613" y="203200"/>
                      <a:pt x="456406" y="406400"/>
                      <a:pt x="457200" y="609600"/>
                    </a:cubicBezTo>
                    <a:lnTo>
                      <a:pt x="0" y="609600"/>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Rectangle 102"/>
              <p:cNvSpPr/>
              <p:nvPr/>
            </p:nvSpPr>
            <p:spPr>
              <a:xfrm>
                <a:off x="5114924" y="2419352"/>
                <a:ext cx="142876" cy="152400"/>
              </a:xfrm>
              <a:prstGeom prst="rect">
                <a:avLst/>
              </a:prstGeom>
              <a:solidFill>
                <a:srgbClr val="00D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Rectangle 11"/>
              <p:cNvSpPr/>
              <p:nvPr/>
            </p:nvSpPr>
            <p:spPr>
              <a:xfrm>
                <a:off x="5114924" y="2419352"/>
                <a:ext cx="152400" cy="152400"/>
              </a:xfrm>
              <a:custGeom>
                <a:avLst/>
                <a:gdLst>
                  <a:gd name="connsiteX0" fmla="*/ 0 w 152400"/>
                  <a:gd name="connsiteY0" fmla="*/ 0 h 152400"/>
                  <a:gd name="connsiteX1" fmla="*/ 152400 w 152400"/>
                  <a:gd name="connsiteY1" fmla="*/ 0 h 152400"/>
                  <a:gd name="connsiteX2" fmla="*/ 152400 w 152400"/>
                  <a:gd name="connsiteY2" fmla="*/ 152400 h 152400"/>
                  <a:gd name="connsiteX3" fmla="*/ 0 w 152400"/>
                  <a:gd name="connsiteY3" fmla="*/ 152400 h 152400"/>
                  <a:gd name="connsiteX4" fmla="*/ 0 w 152400"/>
                  <a:gd name="connsiteY4" fmla="*/ 0 h 152400"/>
                  <a:gd name="connsiteX0" fmla="*/ 0 w 152400"/>
                  <a:gd name="connsiteY0" fmla="*/ 0 h 152400"/>
                  <a:gd name="connsiteX1" fmla="*/ 78581 w 152400"/>
                  <a:gd name="connsiteY1" fmla="*/ 78581 h 152400"/>
                  <a:gd name="connsiteX2" fmla="*/ 152400 w 152400"/>
                  <a:gd name="connsiteY2" fmla="*/ 152400 h 152400"/>
                  <a:gd name="connsiteX3" fmla="*/ 0 w 152400"/>
                  <a:gd name="connsiteY3" fmla="*/ 152400 h 152400"/>
                  <a:gd name="connsiteX4" fmla="*/ 0 w 152400"/>
                  <a:gd name="connsiteY4" fmla="*/ 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0" y="0"/>
                    </a:moveTo>
                    <a:lnTo>
                      <a:pt x="78581" y="78581"/>
                    </a:lnTo>
                    <a:lnTo>
                      <a:pt x="152400" y="152400"/>
                    </a:lnTo>
                    <a:lnTo>
                      <a:pt x="0" y="152400"/>
                    </a:lnTo>
                    <a:lnTo>
                      <a:pt x="0" y="0"/>
                    </a:lnTo>
                    <a:close/>
                  </a:path>
                </a:pathLst>
              </a:custGeom>
              <a:solidFill>
                <a:schemeClr val="tx1"/>
              </a:solidFill>
              <a:ln>
                <a:solidFill>
                  <a:srgbClr val="00DA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6" name="Group 85"/>
            <p:cNvGrpSpPr/>
            <p:nvPr/>
          </p:nvGrpSpPr>
          <p:grpSpPr>
            <a:xfrm>
              <a:off x="3716721" y="2097008"/>
              <a:ext cx="775547" cy="774089"/>
              <a:chOff x="5393121" y="2098878"/>
              <a:chExt cx="775547" cy="774089"/>
            </a:xfrm>
          </p:grpSpPr>
          <p:grpSp>
            <p:nvGrpSpPr>
              <p:cNvPr id="87" name="Group 86"/>
              <p:cNvGrpSpPr/>
              <p:nvPr/>
            </p:nvGrpSpPr>
            <p:grpSpPr>
              <a:xfrm>
                <a:off x="5393121" y="2098878"/>
                <a:ext cx="680513" cy="678136"/>
                <a:chOff x="5471124" y="2120452"/>
                <a:chExt cx="608205" cy="606080"/>
              </a:xfrm>
              <a:solidFill>
                <a:schemeClr val="tx2">
                  <a:lumMod val="60000"/>
                  <a:lumOff val="40000"/>
                </a:schemeClr>
              </a:solidFill>
            </p:grpSpPr>
            <p:sp>
              <p:nvSpPr>
                <p:cNvPr id="98" name="Oval 97"/>
                <p:cNvSpPr/>
                <p:nvPr/>
              </p:nvSpPr>
              <p:spPr>
                <a:xfrm>
                  <a:off x="5471124" y="2120452"/>
                  <a:ext cx="480759" cy="480757"/>
                </a:xfrm>
                <a:prstGeom prst="ellipse">
                  <a:avLst/>
                </a:prstGeom>
                <a:solidFill>
                  <a:srgbClr val="00D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Oval 99"/>
                <p:cNvSpPr/>
                <p:nvPr/>
              </p:nvSpPr>
              <p:spPr>
                <a:xfrm>
                  <a:off x="5567362" y="2214562"/>
                  <a:ext cx="295275" cy="29527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1" name="Straight Connector 100"/>
                <p:cNvCxnSpPr/>
                <p:nvPr/>
              </p:nvCxnSpPr>
              <p:spPr>
                <a:xfrm>
                  <a:off x="5845966" y="2497932"/>
                  <a:ext cx="233363" cy="228600"/>
                </a:xfrm>
                <a:prstGeom prst="line">
                  <a:avLst/>
                </a:prstGeom>
                <a:grpFill/>
                <a:ln w="14922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8" name="Group 87"/>
              <p:cNvGrpSpPr/>
              <p:nvPr/>
            </p:nvGrpSpPr>
            <p:grpSpPr>
              <a:xfrm>
                <a:off x="5434010" y="2139774"/>
                <a:ext cx="734658" cy="733193"/>
                <a:chOff x="5486400" y="2133600"/>
                <a:chExt cx="734658" cy="733193"/>
              </a:xfrm>
            </p:grpSpPr>
            <p:sp>
              <p:nvSpPr>
                <p:cNvPr id="93" name="Oval 92"/>
                <p:cNvSpPr/>
                <p:nvPr/>
              </p:nvSpPr>
              <p:spPr>
                <a:xfrm>
                  <a:off x="5486400" y="2133600"/>
                  <a:ext cx="457200" cy="4572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Oval 93"/>
                <p:cNvSpPr/>
                <p:nvPr/>
              </p:nvSpPr>
              <p:spPr>
                <a:xfrm>
                  <a:off x="5567362" y="2214562"/>
                  <a:ext cx="295275" cy="295275"/>
                </a:xfrm>
                <a:prstGeom prst="ellipse">
                  <a:avLst/>
                </a:prstGeom>
                <a:solidFill>
                  <a:srgbClr val="00D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5" name="Group 94"/>
                <p:cNvGrpSpPr/>
                <p:nvPr/>
              </p:nvGrpSpPr>
              <p:grpSpPr>
                <a:xfrm>
                  <a:off x="5845966" y="2497932"/>
                  <a:ext cx="375092" cy="368861"/>
                  <a:chOff x="5826918" y="2509837"/>
                  <a:chExt cx="375092" cy="368861"/>
                </a:xfrm>
              </p:grpSpPr>
              <p:cxnSp>
                <p:nvCxnSpPr>
                  <p:cNvPr id="96" name="Straight Connector 95"/>
                  <p:cNvCxnSpPr/>
                  <p:nvPr/>
                </p:nvCxnSpPr>
                <p:spPr>
                  <a:xfrm>
                    <a:off x="5826918" y="2509837"/>
                    <a:ext cx="233363" cy="228600"/>
                  </a:xfrm>
                  <a:prstGeom prst="line">
                    <a:avLst/>
                  </a:prstGeom>
                  <a:ln w="149225">
                    <a:solidFill>
                      <a:schemeClr val="bg1"/>
                    </a:solidFill>
                  </a:ln>
                </p:spPr>
                <p:style>
                  <a:lnRef idx="1">
                    <a:schemeClr val="accent1"/>
                  </a:lnRef>
                  <a:fillRef idx="0">
                    <a:schemeClr val="accent1"/>
                  </a:fillRef>
                  <a:effectRef idx="0">
                    <a:schemeClr val="accent1"/>
                  </a:effectRef>
                  <a:fontRef idx="minor">
                    <a:schemeClr val="tx1"/>
                  </a:fontRef>
                </p:style>
              </p:cxnSp>
              <p:sp>
                <p:nvSpPr>
                  <p:cNvPr id="97" name="Oval 96"/>
                  <p:cNvSpPr/>
                  <p:nvPr/>
                </p:nvSpPr>
                <p:spPr>
                  <a:xfrm>
                    <a:off x="6000747" y="2677433"/>
                    <a:ext cx="201263" cy="20126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grpSp>
      <p:sp>
        <p:nvSpPr>
          <p:cNvPr id="108"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09"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6"/>
              </a:rPr>
              <a:t>www.rapidbbs.cn</a:t>
            </a:r>
            <a:endParaRPr lang="zh-CN" altLang="en-US" sz="1200" b="0">
              <a:latin typeface="Arial" charset="0"/>
              <a:ea typeface="ＭＳ Ｐゴシック" pitchFamily="34" charset="-128"/>
            </a:endParaRPr>
          </a:p>
        </p:txBody>
      </p:sp>
      <p:pic>
        <p:nvPicPr>
          <p:cNvPr id="110" name="Picture 2">
            <a:hlinkClick r:id="rId16"/>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01436562"/>
      </p:ext>
    </p:extLst>
  </p:cSld>
  <p:clrMapOvr>
    <a:masterClrMapping/>
  </p:clrMapOvr>
  <p:transition>
    <p:fade/>
  </p:transition>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hallenges</a:t>
            </a:r>
            <a:endParaRPr lang="en-US" dirty="0"/>
          </a:p>
        </p:txBody>
      </p:sp>
      <p:grpSp>
        <p:nvGrpSpPr>
          <p:cNvPr id="6" name="Group 5"/>
          <p:cNvGrpSpPr/>
          <p:nvPr/>
        </p:nvGrpSpPr>
        <p:grpSpPr>
          <a:xfrm>
            <a:off x="2451183" y="971550"/>
            <a:ext cx="4241635" cy="1143000"/>
            <a:chOff x="2436812" y="1295400"/>
            <a:chExt cx="5654040" cy="1524000"/>
          </a:xfrm>
        </p:grpSpPr>
        <p:sp>
          <p:nvSpPr>
            <p:cNvPr id="7" name="Rectangle 6"/>
            <p:cNvSpPr/>
            <p:nvPr/>
          </p:nvSpPr>
          <p:spPr bwMode="auto">
            <a:xfrm>
              <a:off x="2436812" y="1295400"/>
              <a:ext cx="4038600" cy="1524000"/>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0" tIns="45720" rIns="68580" bIns="45720" numCol="1" rtlCol="0" anchor="ctr" anchorCtr="0" compatLnSpc="1">
              <a:prstTxWarp prst="textNoShape">
                <a:avLst/>
              </a:prstTxWarp>
            </a:bodyPr>
            <a:lstStyle/>
            <a:p>
              <a:pPr algn="ctr" defTabSz="685637"/>
              <a:r>
                <a:rPr lang="en-US" sz="2400" dirty="0">
                  <a:solidFill>
                    <a:srgbClr val="FFFFFF">
                      <a:alpha val="98824"/>
                    </a:srgbClr>
                  </a:solidFill>
                  <a:latin typeface="Segoe UI" pitchFamily="34" charset="0"/>
                  <a:ea typeface="Segoe UI" pitchFamily="34" charset="0"/>
                  <a:cs typeface="Segoe UI" pitchFamily="34" charset="0"/>
                </a:rPr>
                <a:t>More work to do</a:t>
              </a:r>
            </a:p>
          </p:txBody>
        </p:sp>
        <p:grpSp>
          <p:nvGrpSpPr>
            <p:cNvPr id="20" name="Group 19"/>
            <p:cNvGrpSpPr/>
            <p:nvPr/>
          </p:nvGrpSpPr>
          <p:grpSpPr>
            <a:xfrm>
              <a:off x="6566852" y="1295400"/>
              <a:ext cx="1524000" cy="1524000"/>
              <a:chOff x="3305492" y="1295400"/>
              <a:chExt cx="1524000" cy="1524000"/>
            </a:xfrm>
          </p:grpSpPr>
          <p:sp>
            <p:nvSpPr>
              <p:cNvPr id="9" name="Rectangle 8"/>
              <p:cNvSpPr/>
              <p:nvPr/>
            </p:nvSpPr>
            <p:spPr bwMode="auto">
              <a:xfrm>
                <a:off x="3305492" y="1295400"/>
                <a:ext cx="1524000" cy="152400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0" tIns="45720" rIns="68580" bIns="45720" numCol="1" rtlCol="0" anchor="b" anchorCtr="0" compatLnSpc="1">
                <a:prstTxWarp prst="textNoShape">
                  <a:avLst/>
                </a:prstTxWarp>
              </a:bodyPr>
              <a:lstStyle/>
              <a:p>
                <a:pPr defTabSz="685637"/>
                <a:endParaRPr lang="en-US" sz="1100" dirty="0">
                  <a:solidFill>
                    <a:srgbClr val="FFFFFF">
                      <a:alpha val="98824"/>
                    </a:srgbClr>
                  </a:solidFill>
                  <a:latin typeface="Segoe UI" pitchFamily="34" charset="0"/>
                  <a:ea typeface="Segoe UI" pitchFamily="34" charset="0"/>
                  <a:cs typeface="Segoe UI" pitchFamily="34" charset="0"/>
                </a:endParaRPr>
              </a:p>
            </p:txBody>
          </p:sp>
          <p:sp>
            <p:nvSpPr>
              <p:cNvPr id="10" name="Freeform 81"/>
              <p:cNvSpPr>
                <a:spLocks noEditPoints="1"/>
              </p:cNvSpPr>
              <p:nvPr/>
            </p:nvSpPr>
            <p:spPr bwMode="black">
              <a:xfrm>
                <a:off x="3402916" y="1655743"/>
                <a:ext cx="1329152" cy="803315"/>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grpSp>
      <p:grpSp>
        <p:nvGrpSpPr>
          <p:cNvPr id="8" name="Group 7"/>
          <p:cNvGrpSpPr/>
          <p:nvPr/>
        </p:nvGrpSpPr>
        <p:grpSpPr>
          <a:xfrm>
            <a:off x="2451183" y="2171700"/>
            <a:ext cx="4241635" cy="1143000"/>
            <a:chOff x="2436812" y="2895600"/>
            <a:chExt cx="5654040" cy="1524000"/>
          </a:xfrm>
        </p:grpSpPr>
        <p:sp>
          <p:nvSpPr>
            <p:cNvPr id="4" name="Rectangle 3"/>
            <p:cNvSpPr/>
            <p:nvPr/>
          </p:nvSpPr>
          <p:spPr bwMode="auto">
            <a:xfrm>
              <a:off x="4049204" y="2895600"/>
              <a:ext cx="4041648" cy="152400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0" tIns="45720" rIns="68580" bIns="45720" numCol="1" rtlCol="0" anchor="ctr" anchorCtr="0" compatLnSpc="1">
              <a:prstTxWarp prst="textNoShape">
                <a:avLst/>
              </a:prstTxWarp>
            </a:bodyPr>
            <a:lstStyle/>
            <a:p>
              <a:pPr algn="ctr" defTabSz="685637"/>
              <a:r>
                <a:rPr lang="en-US" sz="2400" dirty="0">
                  <a:solidFill>
                    <a:srgbClr val="FFFFFF">
                      <a:alpha val="98824"/>
                    </a:srgbClr>
                  </a:solidFill>
                  <a:latin typeface="Segoe UI" pitchFamily="34" charset="0"/>
                  <a:ea typeface="Segoe UI" pitchFamily="34" charset="0"/>
                  <a:cs typeface="Segoe UI" pitchFamily="34" charset="0"/>
                </a:rPr>
                <a:t>Less time to do it</a:t>
              </a:r>
            </a:p>
          </p:txBody>
        </p:sp>
        <p:grpSp>
          <p:nvGrpSpPr>
            <p:cNvPr id="19" name="Group 18"/>
            <p:cNvGrpSpPr/>
            <p:nvPr/>
          </p:nvGrpSpPr>
          <p:grpSpPr>
            <a:xfrm>
              <a:off x="2436812" y="2895600"/>
              <a:ext cx="1524000" cy="1524000"/>
              <a:chOff x="836612" y="2895600"/>
              <a:chExt cx="1524000" cy="1524000"/>
            </a:xfrm>
          </p:grpSpPr>
          <p:sp>
            <p:nvSpPr>
              <p:cNvPr id="3" name="Rectangle 2"/>
              <p:cNvSpPr/>
              <p:nvPr/>
            </p:nvSpPr>
            <p:spPr bwMode="auto">
              <a:xfrm>
                <a:off x="836612" y="2895600"/>
                <a:ext cx="1524000" cy="1524000"/>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0" tIns="45720" rIns="68580" bIns="45720" numCol="1" rtlCol="0" anchor="b" anchorCtr="0" compatLnSpc="1">
                <a:prstTxWarp prst="textNoShape">
                  <a:avLst/>
                </a:prstTxWarp>
              </a:bodyPr>
              <a:lstStyle/>
              <a:p>
                <a:pPr defTabSz="685637"/>
                <a:endParaRPr lang="en-US" sz="1100" dirty="0">
                  <a:solidFill>
                    <a:srgbClr val="FFFFFF">
                      <a:alpha val="98824"/>
                    </a:srgbClr>
                  </a:solidFill>
                  <a:latin typeface="Segoe UI" pitchFamily="34" charset="0"/>
                  <a:ea typeface="Segoe UI" pitchFamily="34" charset="0"/>
                  <a:cs typeface="Segoe UI" pitchFamily="34" charset="0"/>
                </a:endParaRPr>
              </a:p>
            </p:txBody>
          </p:sp>
          <p:pic>
            <p:nvPicPr>
              <p:cNvPr id="11" name="Picture 39" descr="C:\Users\sakuu\Documents\Ballmer WPC\PNGS\Timer.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1200866" y="3058650"/>
                <a:ext cx="795492" cy="1197901"/>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2" name="Group 11"/>
          <p:cNvGrpSpPr/>
          <p:nvPr/>
        </p:nvGrpSpPr>
        <p:grpSpPr>
          <a:xfrm>
            <a:off x="2451183" y="3383280"/>
            <a:ext cx="4241635" cy="1143000"/>
            <a:chOff x="2436812" y="4511040"/>
            <a:chExt cx="5654040" cy="1524000"/>
          </a:xfrm>
        </p:grpSpPr>
        <p:sp>
          <p:nvSpPr>
            <p:cNvPr id="5" name="Rectangle 4"/>
            <p:cNvSpPr/>
            <p:nvPr/>
          </p:nvSpPr>
          <p:spPr bwMode="auto">
            <a:xfrm>
              <a:off x="2436812" y="4511040"/>
              <a:ext cx="5654040" cy="152400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320040" tIns="45720" rIns="68580" bIns="45720" numCol="1" rtlCol="0" anchor="ctr" anchorCtr="0" compatLnSpc="1">
              <a:prstTxWarp prst="textNoShape">
                <a:avLst/>
              </a:prstTxWarp>
            </a:bodyPr>
            <a:lstStyle/>
            <a:p>
              <a:pPr defTabSz="685637"/>
              <a:r>
                <a:rPr lang="en-US" sz="2400" dirty="0">
                  <a:solidFill>
                    <a:srgbClr val="FFFFFF">
                      <a:alpha val="98824"/>
                    </a:srgbClr>
                  </a:solidFill>
                  <a:latin typeface="Segoe UI" pitchFamily="34" charset="0"/>
                  <a:ea typeface="Segoe UI" pitchFamily="34" charset="0"/>
                  <a:cs typeface="Segoe UI" pitchFamily="34" charset="0"/>
                </a:rPr>
                <a:t>More people </a:t>
              </a:r>
            </a:p>
            <a:p>
              <a:pPr defTabSz="685637"/>
              <a:r>
                <a:rPr lang="en-US" sz="2400" dirty="0">
                  <a:solidFill>
                    <a:srgbClr val="FFFFFF">
                      <a:alpha val="98824"/>
                    </a:srgbClr>
                  </a:solidFill>
                  <a:latin typeface="Segoe UI" pitchFamily="34" charset="0"/>
                  <a:ea typeface="Segoe UI" pitchFamily="34" charset="0"/>
                  <a:cs typeface="Segoe UI" pitchFamily="34" charset="0"/>
                </a:rPr>
                <a:t>using the system</a:t>
              </a:r>
            </a:p>
          </p:txBody>
        </p:sp>
        <p:pic>
          <p:nvPicPr>
            <p:cNvPr id="2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02132" y="4613599"/>
              <a:ext cx="904969" cy="13188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6"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7"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5"/>
              </a:rPr>
              <a:t>www.rapidbbs.cn</a:t>
            </a:r>
            <a:endParaRPr lang="zh-CN" altLang="en-US" sz="1200" b="0">
              <a:latin typeface="Arial" charset="0"/>
              <a:ea typeface="ＭＳ Ｐゴシック" pitchFamily="34" charset="-128"/>
            </a:endParaRPr>
          </a:p>
        </p:txBody>
      </p:sp>
      <p:pic>
        <p:nvPicPr>
          <p:cNvPr id="18" name="Picture 2">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30362754"/>
      </p:ext>
    </p:extLst>
  </p:cSld>
  <p:clrMapOvr>
    <a:masterClrMapping/>
  </p:clrMapOvr>
  <p:transition>
    <p:fade/>
  </p:transition>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White"/>
          <p:cNvSpPr/>
          <p:nvPr/>
        </p:nvSpPr>
        <p:spPr bwMode="auto">
          <a:xfrm>
            <a:off x="5495045" y="1849741"/>
            <a:ext cx="2174552" cy="271418"/>
          </a:xfrm>
          <a:prstGeom prst="trapezoid">
            <a:avLst/>
          </a:prstGeom>
          <a:solidFill>
            <a:schemeClr val="tx1">
              <a:alpha val="8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200" dirty="0">
                <a:solidFill>
                  <a:schemeClr val="bg2">
                    <a:alpha val="99000"/>
                  </a:schemeClr>
                </a:solidFill>
                <a:latin typeface="Segoe UI" pitchFamily="34" charset="0"/>
                <a:ea typeface="Segoe UI" pitchFamily="34" charset="0"/>
                <a:cs typeface="Segoe UI" pitchFamily="34" charset="0"/>
              </a:rPr>
              <a:t>PowerPivot for Excel</a:t>
            </a:r>
          </a:p>
        </p:txBody>
      </p:sp>
      <p:sp>
        <p:nvSpPr>
          <p:cNvPr id="71" name="Green"/>
          <p:cNvSpPr/>
          <p:nvPr/>
        </p:nvSpPr>
        <p:spPr bwMode="auto">
          <a:xfrm>
            <a:off x="4608028" y="742950"/>
            <a:ext cx="3736855" cy="1044390"/>
          </a:xfrm>
          <a:prstGeom prst="roundRect">
            <a:avLst>
              <a:gd name="adj" fmla="val 0"/>
            </a:avLst>
          </a:prstGeom>
          <a:solidFill>
            <a:schemeClr val="accent6"/>
          </a:soli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sz="1700" dirty="0">
                <a:solidFill>
                  <a:schemeClr val="tx1">
                    <a:alpha val="99000"/>
                  </a:schemeClr>
                </a:solidFill>
                <a:latin typeface="Segoe UI" pitchFamily="34" charset="0"/>
                <a:ea typeface="Segoe UI" pitchFamily="34" charset="0"/>
                <a:cs typeface="Segoe UI" pitchFamily="34" charset="0"/>
              </a:rPr>
              <a:t>User Experience</a:t>
            </a:r>
          </a:p>
        </p:txBody>
      </p:sp>
      <p:sp>
        <p:nvSpPr>
          <p:cNvPr id="8" name="Rectangle 7"/>
          <p:cNvSpPr/>
          <p:nvPr/>
        </p:nvSpPr>
        <p:spPr bwMode="auto">
          <a:xfrm>
            <a:off x="4608028" y="1106792"/>
            <a:ext cx="3736855" cy="680549"/>
          </a:xfrm>
          <a:prstGeom prst="rect">
            <a:avLst/>
          </a:prstGeom>
          <a:solidFill>
            <a:schemeClr val="bg1">
              <a:alpha val="2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2" name="Title 1"/>
          <p:cNvSpPr>
            <a:spLocks noGrp="1"/>
          </p:cNvSpPr>
          <p:nvPr>
            <p:ph type="title"/>
          </p:nvPr>
        </p:nvSpPr>
        <p:spPr>
          <a:xfrm>
            <a:off x="381000" y="172643"/>
            <a:ext cx="8382000" cy="457049"/>
          </a:xfrm>
        </p:spPr>
        <p:txBody>
          <a:bodyPr/>
          <a:lstStyle/>
          <a:p>
            <a:r>
              <a:rPr lang="en-US" dirty="0" smtClean="0"/>
              <a:t>PowerPivot </a:t>
            </a:r>
            <a:r>
              <a:rPr lang="en-US" dirty="0"/>
              <a:t>in the Microsoft BI Solution Stack</a:t>
            </a:r>
            <a:endParaRPr lang="en-US" dirty="0">
              <a:solidFill>
                <a:schemeClr val="accent1"/>
              </a:solidFill>
            </a:endParaRPr>
          </a:p>
        </p:txBody>
      </p:sp>
      <p:pic>
        <p:nvPicPr>
          <p:cNvPr id="6" name="Picture 2" descr="C:\Users\Jordan\Desktop\TechEd_2012\TechEd-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6962" y="4619593"/>
            <a:ext cx="698151" cy="322326"/>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big-disc.png"/>
          <p:cNvPicPr>
            <a:picLocks noChangeAspect="1"/>
          </p:cNvPicPr>
          <p:nvPr/>
        </p:nvPicPr>
        <p:blipFill>
          <a:blip r:embed="rId4" cstate="print"/>
          <a:stretch>
            <a:fillRect/>
          </a:stretch>
        </p:blipFill>
        <p:spPr>
          <a:xfrm>
            <a:off x="763295" y="2749810"/>
            <a:ext cx="3616301" cy="1943099"/>
          </a:xfrm>
          <a:prstGeom prst="rect">
            <a:avLst/>
          </a:prstGeom>
          <a:effectLst/>
        </p:spPr>
      </p:pic>
      <p:sp>
        <p:nvSpPr>
          <p:cNvPr id="26" name="Rectangle 25"/>
          <p:cNvSpPr/>
          <p:nvPr/>
        </p:nvSpPr>
        <p:spPr>
          <a:xfrm>
            <a:off x="1277778" y="3778508"/>
            <a:ext cx="2572420" cy="800100"/>
          </a:xfrm>
          <a:prstGeom prst="rect">
            <a:avLst/>
          </a:prstGeom>
        </p:spPr>
        <p:txBody>
          <a:bodyPr spcFirstLastPara="1" wrap="square" lIns="0" tIns="34294" rIns="0" bIns="34294" numCol="1">
            <a:prstTxWarp prst="textArchDown">
              <a:avLst/>
            </a:prstTxWarp>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a:r>
              <a:rPr lang="en-US" sz="800" b="1" dirty="0"/>
              <a:t>PowerPivot Collaboration Environment</a:t>
            </a:r>
          </a:p>
        </p:txBody>
      </p:sp>
      <p:sp>
        <p:nvSpPr>
          <p:cNvPr id="27" name="32-Point Star 26"/>
          <p:cNvSpPr/>
          <p:nvPr/>
        </p:nvSpPr>
        <p:spPr bwMode="auto">
          <a:xfrm>
            <a:off x="706129" y="2464058"/>
            <a:ext cx="3715718" cy="2114550"/>
          </a:xfrm>
          <a:prstGeom prst="star32">
            <a:avLst>
              <a:gd name="adj" fmla="val 5020"/>
            </a:avLst>
          </a:prstGeom>
          <a:gradFill flip="none" rotWithShape="1">
            <a:gsLst>
              <a:gs pos="0">
                <a:srgbClr val="FFFFFF">
                  <a:alpha val="18000"/>
                </a:srgbClr>
              </a:gs>
              <a:gs pos="100000">
                <a:srgbClr val="FFFFFF">
                  <a:alpha val="0"/>
                </a:srgbClr>
              </a:gs>
            </a:gsLst>
            <a:path path="circle">
              <a:fillToRect t="100000" r="100000"/>
            </a:path>
            <a:tileRect l="-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303" tIns="41151" rIns="82303" bIns="41151" numCol="1" rtlCol="0" anchor="ctr" anchorCtr="0" compatLnSpc="1">
            <a:prstTxWarp prst="textNoShape">
              <a:avLst/>
            </a:prstTxWarp>
          </a:bodyP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822797"/>
            <a:endParaRPr lang="en-US" sz="2200" dirty="0">
              <a:solidFill>
                <a:schemeClr val="tx1"/>
              </a:solidFill>
              <a:latin typeface="Arial" pitchFamily="34" charset="0"/>
              <a:cs typeface="Arial" pitchFamily="34" charset="0"/>
            </a:endParaRPr>
          </a:p>
        </p:txBody>
      </p:sp>
      <p:pic>
        <p:nvPicPr>
          <p:cNvPr id="33" name="Picture 32" descr="C:\Users\arib\Pictures\Presentation Stuff\Platform2.png"/>
          <p:cNvPicPr>
            <a:picLocks noChangeAspect="1" noChangeArrowheads="1"/>
          </p:cNvPicPr>
          <p:nvPr/>
        </p:nvPicPr>
        <p:blipFill>
          <a:blip r:embed="rId5" cstate="print"/>
          <a:srcRect/>
          <a:stretch>
            <a:fillRect/>
          </a:stretch>
        </p:blipFill>
        <p:spPr bwMode="auto">
          <a:xfrm flipH="1">
            <a:off x="1106283" y="3664210"/>
            <a:ext cx="890075" cy="568361"/>
          </a:xfrm>
          <a:prstGeom prst="rect">
            <a:avLst/>
          </a:prstGeom>
          <a:noFill/>
        </p:spPr>
      </p:pic>
      <p:pic>
        <p:nvPicPr>
          <p:cNvPr id="34" name="Picture 33" descr="C:\Users\arib\Pictures\Presentation Stuff\Platform2.png"/>
          <p:cNvPicPr>
            <a:picLocks noChangeAspect="1" noChangeArrowheads="1"/>
          </p:cNvPicPr>
          <p:nvPr/>
        </p:nvPicPr>
        <p:blipFill>
          <a:blip r:embed="rId5" cstate="print"/>
          <a:srcRect/>
          <a:stretch>
            <a:fillRect/>
          </a:stretch>
        </p:blipFill>
        <p:spPr bwMode="auto">
          <a:xfrm flipH="1">
            <a:off x="1522445" y="2890992"/>
            <a:ext cx="763392" cy="487468"/>
          </a:xfrm>
          <a:prstGeom prst="rect">
            <a:avLst/>
          </a:prstGeom>
          <a:noFill/>
        </p:spPr>
      </p:pic>
      <p:sp>
        <p:nvSpPr>
          <p:cNvPr id="35" name="Rectangle 34"/>
          <p:cNvSpPr/>
          <p:nvPr/>
        </p:nvSpPr>
        <p:spPr>
          <a:xfrm>
            <a:off x="1106283" y="3718221"/>
            <a:ext cx="1028968" cy="413266"/>
          </a:xfrm>
          <a:prstGeom prst="rect">
            <a:avLst/>
          </a:prstGeom>
        </p:spPr>
        <p:txBody>
          <a:bodyPr spcFirstLastPara="1" wrap="square" lIns="68586" tIns="34294" rIns="68586" bIns="34294" numCol="1">
            <a:prstTxWarp prst="textArchDown">
              <a:avLst/>
            </a:prstTxWarp>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a:r>
              <a:rPr lang="en-US" sz="800" b="1" dirty="0">
                <a:latin typeface="Arial" pitchFamily="34" charset="0"/>
                <a:cs typeface="Arial" pitchFamily="34" charset="0"/>
              </a:rPr>
              <a:t>IT Professional</a:t>
            </a:r>
          </a:p>
        </p:txBody>
      </p:sp>
      <p:pic>
        <p:nvPicPr>
          <p:cNvPr id="36" name="Picture 35" descr="C:\Users\mattande\AppData\Local\Microsoft\Windows\Temporary Internet Files\Content.IE5\YFBK23JN\MCj04326240000[1].png"/>
          <p:cNvPicPr>
            <a:picLocks noChangeAspect="1" noChangeArrowheads="1"/>
          </p:cNvPicPr>
          <p:nvPr/>
        </p:nvPicPr>
        <p:blipFill>
          <a:blip r:embed="rId6" cstate="print"/>
          <a:srcRect/>
          <a:stretch>
            <a:fillRect/>
          </a:stretch>
        </p:blipFill>
        <p:spPr bwMode="auto">
          <a:xfrm flipH="1">
            <a:off x="1563602" y="2516812"/>
            <a:ext cx="628814" cy="628650"/>
          </a:xfrm>
          <a:prstGeom prst="rect">
            <a:avLst/>
          </a:prstGeom>
          <a:noFill/>
        </p:spPr>
      </p:pic>
      <p:sp>
        <p:nvSpPr>
          <p:cNvPr id="37" name="Rectangle 36"/>
          <p:cNvSpPr/>
          <p:nvPr/>
        </p:nvSpPr>
        <p:spPr>
          <a:xfrm>
            <a:off x="1449272" y="2864109"/>
            <a:ext cx="1028968" cy="413266"/>
          </a:xfrm>
          <a:prstGeom prst="rect">
            <a:avLst/>
          </a:prstGeom>
        </p:spPr>
        <p:txBody>
          <a:bodyPr spcFirstLastPara="1" wrap="square" lIns="68586" tIns="34294" rIns="68586" bIns="34294" numCol="1">
            <a:prstTxWarp prst="textArchDown">
              <a:avLst/>
            </a:prstTxWarp>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a:r>
              <a:rPr lang="en-US" sz="800" b="1" dirty="0">
                <a:latin typeface="Arial" pitchFamily="34" charset="0"/>
                <a:cs typeface="Arial" pitchFamily="34" charset="0"/>
              </a:rPr>
              <a:t>Executive</a:t>
            </a:r>
          </a:p>
        </p:txBody>
      </p:sp>
      <p:pic>
        <p:nvPicPr>
          <p:cNvPr id="38" name="Picture 37" descr="C:\Users\arib\Pictures\Presentation Stuff\Platform4.png"/>
          <p:cNvPicPr>
            <a:picLocks noChangeAspect="1" noChangeArrowheads="1"/>
          </p:cNvPicPr>
          <p:nvPr/>
        </p:nvPicPr>
        <p:blipFill>
          <a:blip r:embed="rId7" cstate="print"/>
          <a:srcRect/>
          <a:stretch>
            <a:fillRect/>
          </a:stretch>
        </p:blipFill>
        <p:spPr bwMode="auto">
          <a:xfrm flipH="1">
            <a:off x="2592570" y="2810098"/>
            <a:ext cx="857473" cy="477573"/>
          </a:xfrm>
          <a:prstGeom prst="rect">
            <a:avLst/>
          </a:prstGeom>
          <a:noFill/>
        </p:spPr>
      </p:pic>
      <p:sp>
        <p:nvSpPr>
          <p:cNvPr id="39" name="Rectangle 38"/>
          <p:cNvSpPr/>
          <p:nvPr/>
        </p:nvSpPr>
        <p:spPr>
          <a:xfrm>
            <a:off x="2478240" y="2806959"/>
            <a:ext cx="1028968" cy="413266"/>
          </a:xfrm>
          <a:prstGeom prst="rect">
            <a:avLst/>
          </a:prstGeom>
        </p:spPr>
        <p:txBody>
          <a:bodyPr spcFirstLastPara="1" wrap="square" lIns="68586" tIns="34294" rIns="68586" bIns="34294" numCol="1">
            <a:prstTxWarp prst="textArchDown">
              <a:avLst/>
            </a:prstTxWarp>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a:r>
              <a:rPr lang="en-US" sz="800" b="1" dirty="0">
                <a:latin typeface="Arial" pitchFamily="34" charset="0"/>
                <a:cs typeface="Arial" pitchFamily="34" charset="0"/>
              </a:rPr>
              <a:t>Analyst</a:t>
            </a:r>
          </a:p>
        </p:txBody>
      </p:sp>
      <p:pic>
        <p:nvPicPr>
          <p:cNvPr id="40" name="Picture 39" descr="C:\Users\mattande\AppData\Local\Microsoft\Windows\Temporary Internet Files\Content.IE5\WJX2YXAZ\MCj04339420000[1].png"/>
          <p:cNvPicPr>
            <a:picLocks noChangeAspect="1" noChangeArrowheads="1"/>
          </p:cNvPicPr>
          <p:nvPr/>
        </p:nvPicPr>
        <p:blipFill>
          <a:blip r:embed="rId8" cstate="print"/>
          <a:srcRect/>
          <a:stretch>
            <a:fillRect/>
          </a:stretch>
        </p:blipFill>
        <p:spPr bwMode="auto">
          <a:xfrm>
            <a:off x="2706900" y="2292609"/>
            <a:ext cx="761008" cy="760810"/>
          </a:xfrm>
          <a:prstGeom prst="rect">
            <a:avLst/>
          </a:prstGeom>
          <a:noFill/>
        </p:spPr>
      </p:pic>
      <p:pic>
        <p:nvPicPr>
          <p:cNvPr id="41" name="Picture 40" descr="C:\Users\arib\Pictures\Presentation Stuff\Platform4.png"/>
          <p:cNvPicPr>
            <a:picLocks noChangeAspect="1" noChangeArrowheads="1"/>
          </p:cNvPicPr>
          <p:nvPr/>
        </p:nvPicPr>
        <p:blipFill>
          <a:blip r:embed="rId7" cstate="print"/>
          <a:srcRect/>
          <a:stretch>
            <a:fillRect/>
          </a:stretch>
        </p:blipFill>
        <p:spPr bwMode="auto">
          <a:xfrm flipH="1">
            <a:off x="3278550" y="3267297"/>
            <a:ext cx="855105" cy="571500"/>
          </a:xfrm>
          <a:prstGeom prst="rect">
            <a:avLst/>
          </a:prstGeom>
          <a:noFill/>
        </p:spPr>
      </p:pic>
      <p:pic>
        <p:nvPicPr>
          <p:cNvPr id="42" name="Picture 41" descr="C:\Users\dfarmer\AppData\Local\Microsoft\Windows\Temporary Internet Files\Content.IE5\IFKC2RTE\MCj04326220000[1].png"/>
          <p:cNvPicPr>
            <a:picLocks noChangeAspect="1" noChangeArrowheads="1"/>
          </p:cNvPicPr>
          <p:nvPr/>
        </p:nvPicPr>
        <p:blipFill>
          <a:blip r:embed="rId9" cstate="print"/>
          <a:srcRect/>
          <a:stretch>
            <a:fillRect/>
          </a:stretch>
        </p:blipFill>
        <p:spPr bwMode="auto">
          <a:xfrm>
            <a:off x="3450043" y="2921258"/>
            <a:ext cx="571649" cy="571500"/>
          </a:xfrm>
          <a:prstGeom prst="rect">
            <a:avLst/>
          </a:prstGeom>
          <a:noFill/>
        </p:spPr>
      </p:pic>
      <p:pic>
        <p:nvPicPr>
          <p:cNvPr id="43" name="Picture 42" descr="C:\Users\arib\Pictures\Presentation Stuff\Platform3.png"/>
          <p:cNvPicPr>
            <a:picLocks noChangeAspect="1" noChangeArrowheads="1"/>
          </p:cNvPicPr>
          <p:nvPr/>
        </p:nvPicPr>
        <p:blipFill>
          <a:blip r:embed="rId10" cstate="print"/>
          <a:srcRect/>
          <a:stretch>
            <a:fillRect/>
          </a:stretch>
        </p:blipFill>
        <p:spPr bwMode="auto">
          <a:xfrm flipH="1">
            <a:off x="2443088" y="3799400"/>
            <a:ext cx="949791" cy="664908"/>
          </a:xfrm>
          <a:prstGeom prst="rect">
            <a:avLst/>
          </a:prstGeom>
          <a:noFill/>
        </p:spPr>
      </p:pic>
      <p:sp>
        <p:nvSpPr>
          <p:cNvPr id="44" name="Rectangle 43"/>
          <p:cNvSpPr/>
          <p:nvPr/>
        </p:nvSpPr>
        <p:spPr>
          <a:xfrm>
            <a:off x="2421075" y="3949959"/>
            <a:ext cx="1028968" cy="413266"/>
          </a:xfrm>
          <a:prstGeom prst="rect">
            <a:avLst/>
          </a:prstGeom>
        </p:spPr>
        <p:txBody>
          <a:bodyPr spcFirstLastPara="1" wrap="square" lIns="68586" tIns="34294" rIns="68586" bIns="34294" numCol="1">
            <a:prstTxWarp prst="textArchDown">
              <a:avLst/>
            </a:prstTxWarp>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a:r>
              <a:rPr lang="en-US" sz="800" b="1" dirty="0">
                <a:latin typeface="Arial" pitchFamily="34" charset="0"/>
                <a:cs typeface="Arial" pitchFamily="34" charset="0"/>
              </a:rPr>
              <a:t>Information Worker</a:t>
            </a:r>
          </a:p>
        </p:txBody>
      </p:sp>
      <p:sp>
        <p:nvSpPr>
          <p:cNvPr id="47" name="Rectangle 46"/>
          <p:cNvSpPr/>
          <p:nvPr/>
        </p:nvSpPr>
        <p:spPr>
          <a:xfrm>
            <a:off x="3171079" y="3321309"/>
            <a:ext cx="1028968" cy="413266"/>
          </a:xfrm>
          <a:prstGeom prst="rect">
            <a:avLst/>
          </a:prstGeom>
        </p:spPr>
        <p:txBody>
          <a:bodyPr spcFirstLastPara="1" wrap="square" lIns="68586" tIns="34294" rIns="68586" bIns="34294" numCol="1">
            <a:prstTxWarp prst="textArchDown">
              <a:avLst/>
            </a:prstTxWarp>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a:r>
              <a:rPr lang="en-US" sz="800" b="1" dirty="0">
                <a:latin typeface="Arial" pitchFamily="34" charset="0"/>
                <a:cs typeface="Arial" pitchFamily="34" charset="0"/>
              </a:rPr>
              <a:t>Decision Maker</a:t>
            </a:r>
          </a:p>
        </p:txBody>
      </p:sp>
      <p:pic>
        <p:nvPicPr>
          <p:cNvPr id="48" name="Picture 47" descr="C:\Users\dfarmer\AppData\Local\Microsoft\Windows\Temporary Internet Files\Content.IE5\SU2WNKY3\MCj04348740000[1].png"/>
          <p:cNvPicPr>
            <a:picLocks noChangeAspect="1" noChangeArrowheads="1"/>
          </p:cNvPicPr>
          <p:nvPr/>
        </p:nvPicPr>
        <p:blipFill>
          <a:blip r:embed="rId11" cstate="print"/>
          <a:srcRect/>
          <a:stretch>
            <a:fillRect/>
          </a:stretch>
        </p:blipFill>
        <p:spPr bwMode="auto">
          <a:xfrm flipH="1">
            <a:off x="1277778" y="3264158"/>
            <a:ext cx="685979" cy="685800"/>
          </a:xfrm>
          <a:prstGeom prst="rect">
            <a:avLst/>
          </a:prstGeom>
          <a:noFill/>
        </p:spPr>
      </p:pic>
      <p:sp>
        <p:nvSpPr>
          <p:cNvPr id="49" name="Oval Callout 48"/>
          <p:cNvSpPr/>
          <p:nvPr/>
        </p:nvSpPr>
        <p:spPr bwMode="auto">
          <a:xfrm rot="19264050">
            <a:off x="1690105" y="1481225"/>
            <a:ext cx="803905" cy="400050"/>
          </a:xfrm>
          <a:prstGeom prst="wedgeEllipseCallout">
            <a:avLst>
              <a:gd name="adj1" fmla="val -64409"/>
              <a:gd name="adj2" fmla="val 287433"/>
            </a:avLst>
          </a:prstGeom>
          <a:gradFill>
            <a:gsLst>
              <a:gs pos="0">
                <a:schemeClr val="bg1">
                  <a:lumMod val="65000"/>
                </a:schemeClr>
              </a:gs>
              <a:gs pos="43000">
                <a:schemeClr val="bg1">
                  <a:lumMod val="65000"/>
                  <a:alpha val="97000"/>
                </a:schemeClr>
              </a:gs>
              <a:gs pos="100000">
                <a:schemeClr val="bg1">
                  <a:lumMod val="65000"/>
                  <a:alpha val="0"/>
                </a:schemeClr>
              </a:gs>
            </a:gsLst>
            <a:lin ang="5400000" scaled="0"/>
          </a:gradFill>
          <a:ln>
            <a:solidFill>
              <a:schemeClr val="bg1">
                <a:lumMod val="6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68583" tIns="34292" rIns="68583" bIns="34292" numCol="1" rtlCol="0" anchor="ctr" anchorCtr="0" compatLnSpc="1">
            <a:prstTxWarp prst="textNoShape">
              <a:avLst/>
            </a:prstTxWarp>
          </a:bodyPr>
          <a:lstStyle>
            <a:defPPr>
              <a:defRPr lang="en-US"/>
            </a:defPPr>
            <a:lvl1pPr algn="l" rtl="0" fontAlgn="base">
              <a:spcBef>
                <a:spcPct val="0"/>
              </a:spcBef>
              <a:spcAft>
                <a:spcPct val="0"/>
              </a:spcAft>
              <a:defRPr kern="1200">
                <a:solidFill>
                  <a:schemeClr val="dk1"/>
                </a:solidFill>
                <a:latin typeface="+mn-lt"/>
                <a:ea typeface="+mn-ea"/>
                <a:cs typeface="+mn-cs"/>
              </a:defRPr>
            </a:lvl1pPr>
            <a:lvl2pPr marL="457200" algn="l" rtl="0" fontAlgn="base">
              <a:spcBef>
                <a:spcPct val="0"/>
              </a:spcBef>
              <a:spcAft>
                <a:spcPct val="0"/>
              </a:spcAft>
              <a:defRPr kern="1200">
                <a:solidFill>
                  <a:schemeClr val="dk1"/>
                </a:solidFill>
                <a:latin typeface="+mn-lt"/>
                <a:ea typeface="+mn-ea"/>
                <a:cs typeface="+mn-cs"/>
              </a:defRPr>
            </a:lvl2pPr>
            <a:lvl3pPr marL="914400" algn="l" rtl="0" fontAlgn="base">
              <a:spcBef>
                <a:spcPct val="0"/>
              </a:spcBef>
              <a:spcAft>
                <a:spcPct val="0"/>
              </a:spcAft>
              <a:defRPr kern="1200">
                <a:solidFill>
                  <a:schemeClr val="dk1"/>
                </a:solidFill>
                <a:latin typeface="+mn-lt"/>
                <a:ea typeface="+mn-ea"/>
                <a:cs typeface="+mn-cs"/>
              </a:defRPr>
            </a:lvl3pPr>
            <a:lvl4pPr marL="1371600" algn="l" rtl="0" fontAlgn="base">
              <a:spcBef>
                <a:spcPct val="0"/>
              </a:spcBef>
              <a:spcAft>
                <a:spcPct val="0"/>
              </a:spcAft>
              <a:defRPr kern="1200">
                <a:solidFill>
                  <a:schemeClr val="dk1"/>
                </a:solidFill>
                <a:latin typeface="+mn-lt"/>
                <a:ea typeface="+mn-ea"/>
                <a:cs typeface="+mn-cs"/>
              </a:defRPr>
            </a:lvl4pPr>
            <a:lvl5pPr marL="1828800" algn="l" rtl="0" fontAlgn="base">
              <a:spcBef>
                <a:spcPct val="0"/>
              </a:spcBef>
              <a:spcAft>
                <a:spcPct val="0"/>
              </a:spcAft>
              <a:defRPr kern="1200">
                <a:solidFill>
                  <a:schemeClr val="dk1"/>
                </a:solidFill>
                <a:latin typeface="+mn-lt"/>
                <a:ea typeface="+mn-ea"/>
                <a:cs typeface="+mn-cs"/>
              </a:defRPr>
            </a:lvl5pPr>
            <a:lvl6pPr marL="2286000" algn="l" defTabSz="914400" rtl="0" eaLnBrk="1" latinLnBrk="0" hangingPunct="1">
              <a:defRPr kern="1200">
                <a:solidFill>
                  <a:schemeClr val="dk1"/>
                </a:solidFill>
                <a:latin typeface="+mn-lt"/>
                <a:ea typeface="+mn-ea"/>
                <a:cs typeface="+mn-cs"/>
              </a:defRPr>
            </a:lvl6pPr>
            <a:lvl7pPr marL="2743200" algn="l" defTabSz="914400" rtl="0" eaLnBrk="1" latinLnBrk="0" hangingPunct="1">
              <a:defRPr kern="1200">
                <a:solidFill>
                  <a:schemeClr val="dk1"/>
                </a:solidFill>
                <a:latin typeface="+mn-lt"/>
                <a:ea typeface="+mn-ea"/>
                <a:cs typeface="+mn-cs"/>
              </a:defRPr>
            </a:lvl7pPr>
            <a:lvl8pPr marL="3200400" algn="l" defTabSz="914400" rtl="0" eaLnBrk="1" latinLnBrk="0" hangingPunct="1">
              <a:defRPr kern="1200">
                <a:solidFill>
                  <a:schemeClr val="dk1"/>
                </a:solidFill>
                <a:latin typeface="+mn-lt"/>
                <a:ea typeface="+mn-ea"/>
                <a:cs typeface="+mn-cs"/>
              </a:defRPr>
            </a:lvl8pPr>
            <a:lvl9pPr marL="3657600" algn="l" defTabSz="914400" rtl="0" eaLnBrk="1" latinLnBrk="0" hangingPunct="1">
              <a:defRPr kern="1200">
                <a:solidFill>
                  <a:schemeClr val="dk1"/>
                </a:solidFill>
                <a:latin typeface="+mn-lt"/>
                <a:ea typeface="+mn-ea"/>
                <a:cs typeface="+mn-cs"/>
              </a:defRPr>
            </a:lvl9pPr>
          </a:lstStyle>
          <a:p>
            <a:pPr algn="ctr" defTabSz="685637"/>
            <a:endParaRPr lang="en-US" sz="1800" dirty="0" err="1">
              <a:solidFill>
                <a:schemeClr val="bg1"/>
              </a:solidFill>
              <a:effectLst>
                <a:outerShdw blurRad="38100" dist="38100" dir="2700000" algn="tl">
                  <a:srgbClr val="000000">
                    <a:alpha val="43137"/>
                  </a:srgbClr>
                </a:outerShdw>
              </a:effectLst>
              <a:latin typeface="Segoe" pitchFamily="34" charset="0"/>
            </a:endParaRPr>
          </a:p>
        </p:txBody>
      </p:sp>
      <p:sp>
        <p:nvSpPr>
          <p:cNvPr id="50" name="Freeform 49"/>
          <p:cNvSpPr>
            <a:spLocks/>
          </p:cNvSpPr>
          <p:nvPr/>
        </p:nvSpPr>
        <p:spPr bwMode="auto">
          <a:xfrm>
            <a:off x="534634" y="1035308"/>
            <a:ext cx="2115101" cy="1200150"/>
          </a:xfrm>
          <a:custGeom>
            <a:avLst/>
            <a:gdLst/>
            <a:ahLst/>
            <a:cxnLst>
              <a:cxn ang="0">
                <a:pos x="156" y="705"/>
              </a:cxn>
              <a:cxn ang="0">
                <a:pos x="146" y="1022"/>
              </a:cxn>
              <a:cxn ang="0">
                <a:pos x="339" y="1085"/>
              </a:cxn>
              <a:cxn ang="0">
                <a:pos x="792" y="1365"/>
              </a:cxn>
              <a:cxn ang="0">
                <a:pos x="1053" y="1323"/>
              </a:cxn>
              <a:cxn ang="0">
                <a:pos x="1679" y="1454"/>
              </a:cxn>
              <a:cxn ang="0">
                <a:pos x="1881" y="1346"/>
              </a:cxn>
              <a:cxn ang="0">
                <a:pos x="2656" y="1254"/>
              </a:cxn>
              <a:cxn ang="0">
                <a:pos x="2750" y="1071"/>
              </a:cxn>
              <a:cxn ang="0">
                <a:pos x="3075" y="767"/>
              </a:cxn>
              <a:cxn ang="0">
                <a:pos x="2950" y="638"/>
              </a:cxn>
              <a:cxn ang="0">
                <a:pos x="2870" y="360"/>
              </a:cxn>
              <a:cxn ang="0">
                <a:pos x="2683" y="323"/>
              </a:cxn>
              <a:cxn ang="0">
                <a:pos x="1962" y="95"/>
              </a:cxn>
              <a:cxn ang="0">
                <a:pos x="1681" y="205"/>
              </a:cxn>
              <a:cxn ang="0">
                <a:pos x="897" y="98"/>
              </a:cxn>
              <a:cxn ang="0">
                <a:pos x="679" y="245"/>
              </a:cxn>
              <a:cxn ang="0">
                <a:pos x="95" y="526"/>
              </a:cxn>
              <a:cxn ang="0">
                <a:pos x="156" y="705"/>
              </a:cxn>
            </a:cxnLst>
            <a:rect l="0" t="0" r="r" b="b"/>
            <a:pathLst>
              <a:path w="3128" h="1520">
                <a:moveTo>
                  <a:pt x="156" y="705"/>
                </a:moveTo>
                <a:cubicBezTo>
                  <a:pt x="5" y="791"/>
                  <a:pt x="0" y="933"/>
                  <a:pt x="146" y="1022"/>
                </a:cubicBezTo>
                <a:cubicBezTo>
                  <a:pt x="198" y="1054"/>
                  <a:pt x="265" y="1076"/>
                  <a:pt x="339" y="1085"/>
                </a:cubicBezTo>
                <a:cubicBezTo>
                  <a:pt x="333" y="1236"/>
                  <a:pt x="536" y="1361"/>
                  <a:pt x="792" y="1365"/>
                </a:cubicBezTo>
                <a:cubicBezTo>
                  <a:pt x="884" y="1367"/>
                  <a:pt x="975" y="1352"/>
                  <a:pt x="1053" y="1323"/>
                </a:cubicBezTo>
                <a:cubicBezTo>
                  <a:pt x="1164" y="1461"/>
                  <a:pt x="1444" y="1520"/>
                  <a:pt x="1679" y="1454"/>
                </a:cubicBezTo>
                <a:cubicBezTo>
                  <a:pt x="1763" y="1431"/>
                  <a:pt x="1834" y="1393"/>
                  <a:pt x="1881" y="1346"/>
                </a:cubicBezTo>
                <a:cubicBezTo>
                  <a:pt x="2138" y="1447"/>
                  <a:pt x="2485" y="1406"/>
                  <a:pt x="2656" y="1254"/>
                </a:cubicBezTo>
                <a:cubicBezTo>
                  <a:pt x="2718" y="1200"/>
                  <a:pt x="2750" y="1136"/>
                  <a:pt x="2750" y="1071"/>
                </a:cubicBezTo>
                <a:cubicBezTo>
                  <a:pt x="2982" y="1040"/>
                  <a:pt x="3128" y="903"/>
                  <a:pt x="3075" y="767"/>
                </a:cubicBezTo>
                <a:cubicBezTo>
                  <a:pt x="3056" y="717"/>
                  <a:pt x="3013" y="673"/>
                  <a:pt x="2950" y="638"/>
                </a:cubicBezTo>
                <a:cubicBezTo>
                  <a:pt x="3059" y="548"/>
                  <a:pt x="3023" y="424"/>
                  <a:pt x="2870" y="360"/>
                </a:cubicBezTo>
                <a:cubicBezTo>
                  <a:pt x="2815" y="337"/>
                  <a:pt x="2750" y="324"/>
                  <a:pt x="2683" y="323"/>
                </a:cubicBezTo>
                <a:cubicBezTo>
                  <a:pt x="2591" y="143"/>
                  <a:pt x="2268" y="41"/>
                  <a:pt x="1962" y="95"/>
                </a:cubicBezTo>
                <a:cubicBezTo>
                  <a:pt x="1852" y="115"/>
                  <a:pt x="1754" y="153"/>
                  <a:pt x="1681" y="205"/>
                </a:cubicBezTo>
                <a:cubicBezTo>
                  <a:pt x="1515" y="48"/>
                  <a:pt x="1164" y="0"/>
                  <a:pt x="897" y="98"/>
                </a:cubicBezTo>
                <a:cubicBezTo>
                  <a:pt x="801" y="133"/>
                  <a:pt x="725" y="184"/>
                  <a:pt x="679" y="245"/>
                </a:cubicBezTo>
                <a:cubicBezTo>
                  <a:pt x="386" y="227"/>
                  <a:pt x="125" y="353"/>
                  <a:pt x="95" y="526"/>
                </a:cubicBezTo>
                <a:cubicBezTo>
                  <a:pt x="85" y="588"/>
                  <a:pt x="106" y="650"/>
                  <a:pt x="156" y="705"/>
                </a:cubicBezTo>
              </a:path>
            </a:pathLst>
          </a:custGeom>
          <a:solidFill>
            <a:schemeClr val="bg1">
              <a:lumMod val="65000"/>
            </a:schemeClr>
          </a:solidFill>
          <a:ln w="28575">
            <a:solidFill>
              <a:schemeClr val="bg1">
                <a:lumMod val="65000"/>
              </a:schemeClr>
            </a:solidFill>
            <a:prstDash val="solid"/>
            <a:round/>
            <a:headEnd/>
            <a:tailEnd/>
          </a:ln>
        </p:spPr>
        <p:txBody>
          <a:bodyPr vert="horz" wrap="square" lIns="68586" tIns="34294" rIns="68586" bIns="34294"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a:p>
        </p:txBody>
      </p:sp>
      <p:sp>
        <p:nvSpPr>
          <p:cNvPr id="51" name="Rectangle 50"/>
          <p:cNvSpPr/>
          <p:nvPr/>
        </p:nvSpPr>
        <p:spPr>
          <a:xfrm>
            <a:off x="1304727" y="1478176"/>
            <a:ext cx="659031" cy="450122"/>
          </a:xfrm>
          <a:prstGeom prst="rect">
            <a:avLst/>
          </a:prstGeom>
        </p:spPr>
        <p:txBody>
          <a:bodyPr wrap="square" lIns="68586" tIns="34294" rIns="68586" bIns="34294">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a:r>
              <a:rPr lang="en-US" sz="800" b="1" dirty="0">
                <a:latin typeface="Arial" pitchFamily="34" charset="0"/>
                <a:cs typeface="Arial" pitchFamily="34" charset="0"/>
              </a:rPr>
              <a:t>Microsoft </a:t>
            </a:r>
          </a:p>
          <a:p>
            <a:pPr algn="ctr"/>
            <a:r>
              <a:rPr lang="en-US" sz="800" b="1" dirty="0">
                <a:latin typeface="Arial" pitchFamily="34" charset="0"/>
                <a:cs typeface="Arial" pitchFamily="34" charset="0"/>
              </a:rPr>
              <a:t>SQL Server</a:t>
            </a:r>
          </a:p>
        </p:txBody>
      </p:sp>
      <p:sp>
        <p:nvSpPr>
          <p:cNvPr id="52" name="Rectangle 51"/>
          <p:cNvSpPr/>
          <p:nvPr/>
        </p:nvSpPr>
        <p:spPr>
          <a:xfrm>
            <a:off x="914209" y="978159"/>
            <a:ext cx="820888" cy="596258"/>
          </a:xfrm>
          <a:prstGeom prst="rect">
            <a:avLst/>
          </a:prstGeom>
        </p:spPr>
        <p:txBody>
          <a:bodyPr spcFirstLastPara="1" wrap="square" lIns="0" tIns="34294" rIns="0" bIns="34294" numCol="1">
            <a:prstTxWarp prst="textArchUp">
              <a:avLst/>
            </a:prstTxWarp>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a:r>
              <a:rPr lang="en-US" sz="800" b="1" dirty="0">
                <a:solidFill>
                  <a:schemeClr val="bg2">
                    <a:lumMod val="20000"/>
                    <a:lumOff val="80000"/>
                  </a:schemeClr>
                </a:solidFill>
              </a:rPr>
              <a:t>Data Sources</a:t>
            </a:r>
          </a:p>
        </p:txBody>
      </p:sp>
      <p:sp>
        <p:nvSpPr>
          <p:cNvPr id="53" name="Rectangle 52"/>
          <p:cNvSpPr/>
          <p:nvPr/>
        </p:nvSpPr>
        <p:spPr>
          <a:xfrm>
            <a:off x="591800" y="1593593"/>
            <a:ext cx="659031" cy="196206"/>
          </a:xfrm>
          <a:prstGeom prst="rect">
            <a:avLst/>
          </a:prstGeom>
        </p:spPr>
        <p:txBody>
          <a:bodyPr wrap="square" lIns="68586" tIns="34294" rIns="68586" bIns="34294">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a:r>
              <a:rPr lang="en-US" sz="800" b="1" dirty="0">
                <a:latin typeface="Arial" pitchFamily="34" charset="0"/>
                <a:cs typeface="Arial" pitchFamily="34" charset="0"/>
              </a:rPr>
              <a:t>IBM DB2</a:t>
            </a:r>
          </a:p>
        </p:txBody>
      </p:sp>
      <p:sp>
        <p:nvSpPr>
          <p:cNvPr id="54" name="Rectangle 53"/>
          <p:cNvSpPr/>
          <p:nvPr/>
        </p:nvSpPr>
        <p:spPr>
          <a:xfrm>
            <a:off x="1277779" y="1821076"/>
            <a:ext cx="800308" cy="315479"/>
          </a:xfrm>
          <a:prstGeom prst="rect">
            <a:avLst/>
          </a:prstGeom>
        </p:spPr>
        <p:txBody>
          <a:bodyPr wrap="square" lIns="0" tIns="34294" rIns="0" bIns="34294">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a:r>
              <a:rPr lang="en-US" sz="800" b="1" dirty="0">
                <a:latin typeface="Arial" pitchFamily="34" charset="0"/>
                <a:cs typeface="Arial" pitchFamily="34" charset="0"/>
              </a:rPr>
              <a:t>Others </a:t>
            </a:r>
          </a:p>
          <a:p>
            <a:pPr algn="ctr"/>
            <a:r>
              <a:rPr lang="en-US" sz="800" b="1" dirty="0">
                <a:latin typeface="Arial" pitchFamily="34" charset="0"/>
                <a:cs typeface="Arial" pitchFamily="34" charset="0"/>
              </a:rPr>
              <a:t>(OLE DB/ODBC)</a:t>
            </a:r>
          </a:p>
        </p:txBody>
      </p:sp>
      <p:sp>
        <p:nvSpPr>
          <p:cNvPr id="55" name="Rectangle 54"/>
          <p:cNvSpPr/>
          <p:nvPr/>
        </p:nvSpPr>
        <p:spPr>
          <a:xfrm>
            <a:off x="1647716" y="1136393"/>
            <a:ext cx="659031" cy="196206"/>
          </a:xfrm>
          <a:prstGeom prst="rect">
            <a:avLst/>
          </a:prstGeom>
        </p:spPr>
        <p:txBody>
          <a:bodyPr wrap="square" lIns="68586" tIns="34294" rIns="68586" bIns="34294">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a:r>
              <a:rPr lang="en-US" sz="800" b="1" dirty="0">
                <a:latin typeface="Arial" pitchFamily="34" charset="0"/>
                <a:cs typeface="Arial" pitchFamily="34" charset="0"/>
              </a:rPr>
              <a:t>Text Files</a:t>
            </a:r>
          </a:p>
        </p:txBody>
      </p:sp>
      <p:sp>
        <p:nvSpPr>
          <p:cNvPr id="56" name="Rectangle 55"/>
          <p:cNvSpPr/>
          <p:nvPr/>
        </p:nvSpPr>
        <p:spPr>
          <a:xfrm>
            <a:off x="2105035" y="1549659"/>
            <a:ext cx="659031" cy="323164"/>
          </a:xfrm>
          <a:prstGeom prst="rect">
            <a:avLst/>
          </a:prstGeom>
        </p:spPr>
        <p:txBody>
          <a:bodyPr wrap="square" lIns="68586" tIns="34294" rIns="68586" bIns="34294">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a:r>
              <a:rPr lang="en-US" sz="800" b="1" dirty="0">
                <a:latin typeface="Arial" pitchFamily="34" charset="0"/>
                <a:cs typeface="Arial" pitchFamily="34" charset="0"/>
              </a:rPr>
              <a:t>Excel</a:t>
            </a:r>
          </a:p>
          <a:p>
            <a:pPr algn="ctr"/>
            <a:r>
              <a:rPr lang="en-US" sz="800" b="1" dirty="0">
                <a:latin typeface="Arial" pitchFamily="34" charset="0"/>
                <a:cs typeface="Arial" pitchFamily="34" charset="0"/>
              </a:rPr>
              <a:t>Files</a:t>
            </a:r>
          </a:p>
        </p:txBody>
      </p:sp>
      <p:sp>
        <p:nvSpPr>
          <p:cNvPr id="57" name="Rectangle 56"/>
          <p:cNvSpPr/>
          <p:nvPr/>
        </p:nvSpPr>
        <p:spPr>
          <a:xfrm>
            <a:off x="991955" y="1092459"/>
            <a:ext cx="659031" cy="315479"/>
          </a:xfrm>
          <a:prstGeom prst="rect">
            <a:avLst/>
          </a:prstGeom>
        </p:spPr>
        <p:txBody>
          <a:bodyPr wrap="square" lIns="68586" tIns="34294" rIns="68586" bIns="34294">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a:r>
              <a:rPr lang="en-US" sz="800" b="1" dirty="0">
                <a:latin typeface="Arial" pitchFamily="34" charset="0"/>
                <a:cs typeface="Arial" pitchFamily="34" charset="0"/>
              </a:rPr>
              <a:t>Microsoft </a:t>
            </a:r>
          </a:p>
          <a:p>
            <a:pPr algn="ctr"/>
            <a:r>
              <a:rPr lang="en-US" sz="800" b="1" dirty="0">
                <a:latin typeface="Arial" pitchFamily="34" charset="0"/>
                <a:cs typeface="Arial" pitchFamily="34" charset="0"/>
              </a:rPr>
              <a:t>SQL Azure</a:t>
            </a:r>
          </a:p>
        </p:txBody>
      </p:sp>
      <p:sp>
        <p:nvSpPr>
          <p:cNvPr id="58" name="Rectangle 57"/>
          <p:cNvSpPr/>
          <p:nvPr/>
        </p:nvSpPr>
        <p:spPr>
          <a:xfrm>
            <a:off x="763295" y="1378209"/>
            <a:ext cx="659031" cy="196206"/>
          </a:xfrm>
          <a:prstGeom prst="rect">
            <a:avLst/>
          </a:prstGeom>
        </p:spPr>
        <p:txBody>
          <a:bodyPr wrap="square" lIns="68586" tIns="34294" rIns="68586" bIns="34294">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a:r>
              <a:rPr lang="en-US" sz="800" b="1" dirty="0">
                <a:latin typeface="Arial" pitchFamily="34" charset="0"/>
                <a:cs typeface="Arial" pitchFamily="34" charset="0"/>
              </a:rPr>
              <a:t>Teradata</a:t>
            </a:r>
          </a:p>
        </p:txBody>
      </p:sp>
      <p:sp>
        <p:nvSpPr>
          <p:cNvPr id="59" name="Rectangle 58"/>
          <p:cNvSpPr/>
          <p:nvPr/>
        </p:nvSpPr>
        <p:spPr>
          <a:xfrm>
            <a:off x="1849428" y="1306727"/>
            <a:ext cx="659031" cy="323164"/>
          </a:xfrm>
          <a:prstGeom prst="rect">
            <a:avLst/>
          </a:prstGeom>
        </p:spPr>
        <p:txBody>
          <a:bodyPr wrap="square" lIns="68586" tIns="34294" rIns="68586" bIns="34294">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a:r>
              <a:rPr lang="en-US" sz="800" b="1" dirty="0">
                <a:latin typeface="Arial" pitchFamily="34" charset="0"/>
                <a:cs typeface="Arial" pitchFamily="34" charset="0"/>
              </a:rPr>
              <a:t>Reporting Services</a:t>
            </a:r>
          </a:p>
        </p:txBody>
      </p:sp>
      <p:sp>
        <p:nvSpPr>
          <p:cNvPr id="60" name="Rectangle 59"/>
          <p:cNvSpPr/>
          <p:nvPr/>
        </p:nvSpPr>
        <p:spPr>
          <a:xfrm>
            <a:off x="1792263" y="1663959"/>
            <a:ext cx="659031" cy="323164"/>
          </a:xfrm>
          <a:prstGeom prst="rect">
            <a:avLst/>
          </a:prstGeom>
        </p:spPr>
        <p:txBody>
          <a:bodyPr wrap="square" lIns="68586" tIns="34294" rIns="68586" bIns="34294">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a:r>
              <a:rPr lang="en-US" sz="800" b="1" dirty="0">
                <a:latin typeface="Arial" pitchFamily="34" charset="0"/>
                <a:cs typeface="Arial" pitchFamily="34" charset="0"/>
              </a:rPr>
              <a:t>Data</a:t>
            </a:r>
          </a:p>
          <a:p>
            <a:pPr algn="ctr"/>
            <a:r>
              <a:rPr lang="en-US" sz="800" b="1" dirty="0">
                <a:latin typeface="Arial" pitchFamily="34" charset="0"/>
                <a:cs typeface="Arial" pitchFamily="34" charset="0"/>
              </a:rPr>
              <a:t>Feeds</a:t>
            </a:r>
          </a:p>
        </p:txBody>
      </p:sp>
      <p:sp>
        <p:nvSpPr>
          <p:cNvPr id="61" name="Rectangle 60"/>
          <p:cNvSpPr/>
          <p:nvPr/>
        </p:nvSpPr>
        <p:spPr>
          <a:xfrm>
            <a:off x="877625" y="1778259"/>
            <a:ext cx="659031" cy="196206"/>
          </a:xfrm>
          <a:prstGeom prst="rect">
            <a:avLst/>
          </a:prstGeom>
        </p:spPr>
        <p:txBody>
          <a:bodyPr wrap="square" lIns="68586" tIns="34294" rIns="68586" bIns="34294">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a:r>
              <a:rPr lang="en-US" sz="800" b="1" dirty="0">
                <a:latin typeface="Arial" pitchFamily="34" charset="0"/>
                <a:cs typeface="Arial" pitchFamily="34" charset="0"/>
              </a:rPr>
              <a:t>Oracle</a:t>
            </a:r>
          </a:p>
        </p:txBody>
      </p:sp>
      <p:grpSp>
        <p:nvGrpSpPr>
          <p:cNvPr id="3" name="Group 2"/>
          <p:cNvGrpSpPr/>
          <p:nvPr/>
        </p:nvGrpSpPr>
        <p:grpSpPr>
          <a:xfrm>
            <a:off x="2226725" y="2904278"/>
            <a:ext cx="607472" cy="810473"/>
            <a:chOff x="5894260" y="2698452"/>
            <a:chExt cx="1039940" cy="1362789"/>
          </a:xfrm>
        </p:grpSpPr>
        <p:grpSp>
          <p:nvGrpSpPr>
            <p:cNvPr id="62" name="Group 61"/>
            <p:cNvGrpSpPr/>
            <p:nvPr/>
          </p:nvGrpSpPr>
          <p:grpSpPr>
            <a:xfrm>
              <a:off x="5894260" y="2698452"/>
              <a:ext cx="1039940" cy="1362789"/>
              <a:chOff x="7239000" y="3200400"/>
              <a:chExt cx="1143000" cy="1496194"/>
            </a:xfrm>
          </p:grpSpPr>
          <p:pic>
            <p:nvPicPr>
              <p:cNvPr id="63" name="Picture 3"/>
              <p:cNvPicPr>
                <a:picLocks noChangeAspect="1" noChangeArrowheads="1"/>
              </p:cNvPicPr>
              <p:nvPr/>
            </p:nvPicPr>
            <p:blipFill>
              <a:blip r:embed="rId12" cstate="print"/>
              <a:srcRect/>
              <a:stretch>
                <a:fillRect/>
              </a:stretch>
            </p:blipFill>
            <p:spPr bwMode="auto">
              <a:xfrm>
                <a:off x="7239000" y="3200400"/>
                <a:ext cx="1143000" cy="1496194"/>
              </a:xfrm>
              <a:prstGeom prst="rect">
                <a:avLst/>
              </a:prstGeom>
              <a:noFill/>
              <a:ln w="9525">
                <a:noFill/>
                <a:miter lim="800000"/>
                <a:headEnd/>
                <a:tailEnd/>
              </a:ln>
              <a:effectLst/>
            </p:spPr>
          </p:pic>
          <p:pic>
            <p:nvPicPr>
              <p:cNvPr id="64" name="Picture 4"/>
              <p:cNvPicPr>
                <a:picLocks noChangeAspect="1" noChangeArrowheads="1"/>
              </p:cNvPicPr>
              <p:nvPr/>
            </p:nvPicPr>
            <p:blipFill>
              <a:blip r:embed="rId13" cstate="print"/>
              <a:srcRect/>
              <a:stretch>
                <a:fillRect/>
              </a:stretch>
            </p:blipFill>
            <p:spPr bwMode="auto">
              <a:xfrm>
                <a:off x="7749589" y="3931753"/>
                <a:ext cx="572210" cy="572212"/>
              </a:xfrm>
              <a:prstGeom prst="rect">
                <a:avLst/>
              </a:prstGeom>
              <a:noFill/>
              <a:ln w="9525">
                <a:noFill/>
                <a:miter lim="800000"/>
                <a:headEnd/>
                <a:tailEnd/>
              </a:ln>
              <a:effectLst/>
            </p:spPr>
          </p:pic>
        </p:grpSp>
        <p:pic>
          <p:nvPicPr>
            <p:cNvPr id="46" name="Picture 45"/>
            <p:cNvPicPr>
              <a:picLocks noChangeAspect="1" noChangeArrowheads="1"/>
            </p:cNvPicPr>
            <p:nvPr/>
          </p:nvPicPr>
          <p:blipFill>
            <a:blip r:embed="rId14" cstate="print">
              <a:extLst>
                <a:ext uri="{BEBA8EAE-BF5A-486C-A8C5-ECC9F3942E4B}">
                  <a14:imgProps xmlns:a14="http://schemas.microsoft.com/office/drawing/2010/main">
                    <a14:imgLayer r:embed="rId15">
                      <a14:imgEffect>
                        <a14:colorTemperature colorTemp="4700"/>
                      </a14:imgEffect>
                      <a14:imgEffect>
                        <a14:brightnessContrast bright="-20000" contrast="40000"/>
                      </a14:imgEffect>
                    </a14:imgLayer>
                  </a14:imgProps>
                </a:ext>
              </a:extLst>
            </a:blip>
            <a:srcRect/>
            <a:stretch>
              <a:fillRect/>
            </a:stretch>
          </p:blipFill>
          <p:spPr bwMode="auto">
            <a:xfrm>
              <a:off x="6323012" y="3351212"/>
              <a:ext cx="611188" cy="611188"/>
            </a:xfrm>
            <a:prstGeom prst="rect">
              <a:avLst/>
            </a:prstGeom>
            <a:noFill/>
            <a:ln w="9525">
              <a:noFill/>
              <a:miter lim="800000"/>
              <a:headEnd/>
              <a:tailEnd/>
            </a:ln>
            <a:effectLst/>
          </p:spPr>
        </p:pic>
      </p:grpSp>
      <p:sp>
        <p:nvSpPr>
          <p:cNvPr id="74" name="Dark Blue"/>
          <p:cNvSpPr/>
          <p:nvPr/>
        </p:nvSpPr>
        <p:spPr bwMode="auto">
          <a:xfrm>
            <a:off x="4596609" y="2191071"/>
            <a:ext cx="3748274" cy="1237930"/>
          </a:xfrm>
          <a:prstGeom prst="roundRect">
            <a:avLst>
              <a:gd name="adj" fmla="val 0"/>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sz="1700" dirty="0">
                <a:solidFill>
                  <a:schemeClr val="tx1">
                    <a:alpha val="99000"/>
                  </a:schemeClr>
                </a:solidFill>
                <a:latin typeface="Segoe UI" pitchFamily="34" charset="0"/>
                <a:ea typeface="Segoe UI" pitchFamily="34" charset="0"/>
                <a:cs typeface="Segoe UI" pitchFamily="34" charset="0"/>
              </a:rPr>
              <a:t>Data Infrastructure and BI Platform</a:t>
            </a:r>
          </a:p>
        </p:txBody>
      </p:sp>
      <p:pic>
        <p:nvPicPr>
          <p:cNvPr id="1032" name="Picture 8" descr="C:\Users\KayU\Desktop\Ofc-2010_h_rgb_r.png"/>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5495046" y="1143000"/>
            <a:ext cx="1962819" cy="644340"/>
          </a:xfrm>
          <a:prstGeom prst="rect">
            <a:avLst/>
          </a:prstGeom>
          <a:noFill/>
          <a:extLst>
            <a:ext uri="{909E8E84-426E-40DD-AFC4-6F175D3DCCD1}">
              <a14:hiddenFill xmlns:a14="http://schemas.microsoft.com/office/drawing/2010/main">
                <a:solidFill>
                  <a:srgbClr val="FFFFFF"/>
                </a:solidFill>
              </a14:hiddenFill>
            </a:ext>
          </a:extLst>
        </p:spPr>
      </p:pic>
      <p:cxnSp>
        <p:nvCxnSpPr>
          <p:cNvPr id="10" name="Straight Connector 9"/>
          <p:cNvCxnSpPr/>
          <p:nvPr/>
        </p:nvCxnSpPr>
        <p:spPr>
          <a:xfrm>
            <a:off x="4608027" y="1092458"/>
            <a:ext cx="3736856" cy="0"/>
          </a:xfrm>
          <a:prstGeom prst="line">
            <a:avLst/>
          </a:prstGeom>
          <a:ln w="571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80" name="Rectangle 79"/>
          <p:cNvSpPr/>
          <p:nvPr/>
        </p:nvSpPr>
        <p:spPr bwMode="auto">
          <a:xfrm>
            <a:off x="4596609" y="2559405"/>
            <a:ext cx="3748274" cy="869596"/>
          </a:xfrm>
          <a:prstGeom prst="rect">
            <a:avLst/>
          </a:prstGeom>
          <a:solidFill>
            <a:schemeClr val="bg1">
              <a:alpha val="2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cxnSp>
        <p:nvCxnSpPr>
          <p:cNvPr id="81" name="Straight Connector 80"/>
          <p:cNvCxnSpPr/>
          <p:nvPr/>
        </p:nvCxnSpPr>
        <p:spPr>
          <a:xfrm>
            <a:off x="4596608" y="2545072"/>
            <a:ext cx="3748275" cy="0"/>
          </a:xfrm>
          <a:prstGeom prst="line">
            <a:avLst/>
          </a:prstGeom>
          <a:ln w="571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82" name="Red"/>
          <p:cNvSpPr/>
          <p:nvPr/>
        </p:nvSpPr>
        <p:spPr bwMode="auto">
          <a:xfrm>
            <a:off x="4608027" y="3829051"/>
            <a:ext cx="3763754" cy="1087757"/>
          </a:xfrm>
          <a:prstGeom prst="roundRect">
            <a:avLst>
              <a:gd name="adj" fmla="val 0"/>
            </a:avLst>
          </a:prstGeom>
          <a:solidFill>
            <a:schemeClr val="accent5"/>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sz="1700" dirty="0">
                <a:solidFill>
                  <a:schemeClr val="tx1">
                    <a:alpha val="99000"/>
                  </a:schemeClr>
                </a:solidFill>
                <a:latin typeface="Segoe UI" pitchFamily="34" charset="0"/>
                <a:ea typeface="Segoe UI" pitchFamily="34" charset="0"/>
                <a:cs typeface="Segoe UI" pitchFamily="34" charset="0"/>
              </a:rPr>
              <a:t>Collaboration Platform</a:t>
            </a:r>
          </a:p>
        </p:txBody>
      </p:sp>
      <p:sp>
        <p:nvSpPr>
          <p:cNvPr id="83" name="Rectangle 82"/>
          <p:cNvSpPr/>
          <p:nvPr/>
        </p:nvSpPr>
        <p:spPr bwMode="auto">
          <a:xfrm>
            <a:off x="4608027" y="4195156"/>
            <a:ext cx="3763754" cy="721652"/>
          </a:xfrm>
          <a:prstGeom prst="rect">
            <a:avLst/>
          </a:prstGeom>
          <a:solidFill>
            <a:schemeClr val="bg1">
              <a:alpha val="2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cxnSp>
        <p:nvCxnSpPr>
          <p:cNvPr id="84" name="Straight Connector 83"/>
          <p:cNvCxnSpPr/>
          <p:nvPr/>
        </p:nvCxnSpPr>
        <p:spPr>
          <a:xfrm>
            <a:off x="4608027" y="4180823"/>
            <a:ext cx="3763754" cy="0"/>
          </a:xfrm>
          <a:prstGeom prst="line">
            <a:avLst/>
          </a:prstGeom>
          <a:ln w="571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85" name="Picture 9" descr="C:\Users\KayU\Desktop\ShrPt-Svr10_h_rgb_r.png"/>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4743496" y="4280851"/>
            <a:ext cx="3459759" cy="515049"/>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C:\Users\KayU\Desktop\SQL12-BizIntel_h_rgb_r.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5200815" y="2601749"/>
            <a:ext cx="2538749" cy="775393"/>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44" descr="C:\Users\mattande\AppData\Local\Microsoft\Windows\Temporary Internet Files\Content.IE5\YFBK23JN\MCj04339410000[1].png"/>
          <p:cNvPicPr>
            <a:picLocks noChangeAspect="1" noChangeArrowheads="1"/>
          </p:cNvPicPr>
          <p:nvPr/>
        </p:nvPicPr>
        <p:blipFill>
          <a:blip r:embed="rId19" cstate="print"/>
          <a:srcRect/>
          <a:stretch>
            <a:fillRect/>
          </a:stretch>
        </p:blipFill>
        <p:spPr bwMode="auto">
          <a:xfrm>
            <a:off x="2592571" y="3435610"/>
            <a:ext cx="699391" cy="699209"/>
          </a:xfrm>
          <a:prstGeom prst="rect">
            <a:avLst/>
          </a:prstGeom>
          <a:noFill/>
        </p:spPr>
      </p:pic>
      <p:sp>
        <p:nvSpPr>
          <p:cNvPr id="102" name="White"/>
          <p:cNvSpPr/>
          <p:nvPr/>
        </p:nvSpPr>
        <p:spPr bwMode="auto">
          <a:xfrm rot="10800000">
            <a:off x="5495045" y="3500482"/>
            <a:ext cx="2174552" cy="271418"/>
          </a:xfrm>
          <a:prstGeom prst="trapezoid">
            <a:avLst/>
          </a:prstGeom>
          <a:solidFill>
            <a:schemeClr val="tx1">
              <a:alpha val="8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200" dirty="0">
              <a:solidFill>
                <a:schemeClr val="bg2">
                  <a:alpha val="99000"/>
                </a:schemeClr>
              </a:solidFill>
              <a:latin typeface="Segoe UI" pitchFamily="34" charset="0"/>
              <a:ea typeface="Segoe UI" pitchFamily="34" charset="0"/>
              <a:cs typeface="Segoe UI" pitchFamily="34" charset="0"/>
            </a:endParaRPr>
          </a:p>
        </p:txBody>
      </p:sp>
      <p:sp>
        <p:nvSpPr>
          <p:cNvPr id="87" name="Rectangle 86"/>
          <p:cNvSpPr/>
          <p:nvPr/>
        </p:nvSpPr>
        <p:spPr>
          <a:xfrm>
            <a:off x="5469183" y="3500483"/>
            <a:ext cx="2226279" cy="288539"/>
          </a:xfrm>
          <a:prstGeom prst="rect">
            <a:avLst/>
          </a:prstGeom>
        </p:spPr>
        <p:txBody>
          <a:bodyPr wrap="none" lIns="68586" tIns="34294" rIns="68586" bIns="34294">
            <a:spAutoFit/>
          </a:bodyPr>
          <a:lstStyle/>
          <a:p>
            <a:pPr algn="ctr" defTabSz="685637"/>
            <a:r>
              <a:rPr lang="en-US" dirty="0">
                <a:solidFill>
                  <a:schemeClr val="bg2">
                    <a:alpha val="99000"/>
                  </a:schemeClr>
                </a:solidFill>
                <a:latin typeface="Segoe UI" pitchFamily="34" charset="0"/>
                <a:ea typeface="Segoe UI" pitchFamily="34" charset="0"/>
                <a:cs typeface="Segoe UI" pitchFamily="34" charset="0"/>
              </a:rPr>
              <a:t>PowerPivot for </a:t>
            </a:r>
            <a:r>
              <a:rPr lang="en-US" dirty="0" smtClean="0">
                <a:solidFill>
                  <a:schemeClr val="bg2">
                    <a:alpha val="99000"/>
                  </a:schemeClr>
                </a:solidFill>
                <a:latin typeface="Segoe UI" pitchFamily="34" charset="0"/>
                <a:ea typeface="Segoe UI" pitchFamily="34" charset="0"/>
                <a:cs typeface="Segoe UI" pitchFamily="34" charset="0"/>
              </a:rPr>
              <a:t>SharePoint</a:t>
            </a:r>
            <a:endParaRPr lang="en-US" dirty="0">
              <a:solidFill>
                <a:schemeClr val="bg2">
                  <a:alpha val="99000"/>
                </a:schemeClr>
              </a:solidFill>
              <a:latin typeface="Segoe UI" pitchFamily="34" charset="0"/>
              <a:ea typeface="Segoe UI" pitchFamily="34" charset="0"/>
              <a:cs typeface="Segoe UI" pitchFamily="34" charset="0"/>
            </a:endParaRPr>
          </a:p>
        </p:txBody>
      </p:sp>
      <p:sp>
        <p:nvSpPr>
          <p:cNvPr id="65"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66"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0"/>
              </a:rPr>
              <a:t>www.rapidbbs.cn</a:t>
            </a:r>
            <a:endParaRPr lang="zh-CN" altLang="en-US" sz="1200" b="0">
              <a:latin typeface="Arial" charset="0"/>
              <a:ea typeface="ＭＳ Ｐゴシック" pitchFamily="34" charset="-128"/>
            </a:endParaRPr>
          </a:p>
        </p:txBody>
      </p:sp>
      <p:pic>
        <p:nvPicPr>
          <p:cNvPr id="67" name="Picture 2">
            <a:hlinkClick r:id="rId20"/>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521938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Trends</a:t>
            </a:r>
            <a:endParaRPr lang="en-US" dirty="0"/>
          </a:p>
        </p:txBody>
      </p:sp>
      <p:grpSp>
        <p:nvGrpSpPr>
          <p:cNvPr id="5" name="Group 4"/>
          <p:cNvGrpSpPr/>
          <p:nvPr/>
        </p:nvGrpSpPr>
        <p:grpSpPr>
          <a:xfrm>
            <a:off x="392839" y="1320292"/>
            <a:ext cx="2686465" cy="1599932"/>
            <a:chOff x="523648" y="1760389"/>
            <a:chExt cx="3581020" cy="2133243"/>
          </a:xfrm>
        </p:grpSpPr>
        <p:sp>
          <p:nvSpPr>
            <p:cNvPr id="6" name="Rectangle 5"/>
            <p:cNvSpPr/>
            <p:nvPr/>
          </p:nvSpPr>
          <p:spPr bwMode="auto">
            <a:xfrm>
              <a:off x="523648" y="1760389"/>
              <a:ext cx="3581020" cy="2133243"/>
            </a:xfrm>
            <a:prstGeom prst="rect">
              <a:avLst/>
            </a:prstGeom>
            <a:solidFill>
              <a:schemeClr val="accent2"/>
            </a:solidFill>
            <a:ln w="25400" cap="flat" cmpd="sng" algn="ctr">
              <a:noFill/>
              <a:prstDash val="solid"/>
              <a:headEnd type="none" w="med" len="med"/>
              <a:tailEnd type="none" w="med" len="med"/>
            </a:ln>
            <a:effectLst/>
          </p:spPr>
          <p:txBody>
            <a:bodyPr vert="horz" wrap="square" lIns="182880" tIns="228600" rIns="91436" bIns="45718" numCol="1" rtlCol="0" anchor="t" anchorCtr="0" compatLnSpc="1">
              <a:prstTxWarp prst="textNoShape">
                <a:avLst/>
              </a:prstTxWarp>
            </a:bodyPr>
            <a:lstStyle/>
            <a:p>
              <a:pPr defTabSz="685637" fontAlgn="base">
                <a:lnSpc>
                  <a:spcPct val="90000"/>
                </a:lnSpc>
                <a:spcBef>
                  <a:spcPct val="0"/>
                </a:spcBef>
                <a:spcAft>
                  <a:spcPct val="0"/>
                </a:spcAft>
              </a:pPr>
              <a:r>
                <a:rPr lang="en-US" sz="2700" spc="-75" dirty="0">
                  <a:gradFill>
                    <a:gsLst>
                      <a:gs pos="0">
                        <a:srgbClr val="FFFFFF"/>
                      </a:gs>
                      <a:gs pos="100000">
                        <a:srgbClr val="FFFFFF"/>
                      </a:gs>
                    </a:gsLst>
                    <a:lin ang="5400000" scaled="0"/>
                  </a:gradFill>
                  <a:latin typeface="+mj-lt"/>
                </a:rPr>
                <a:t>Touch</a:t>
              </a:r>
            </a:p>
          </p:txBody>
        </p:sp>
        <p:grpSp>
          <p:nvGrpSpPr>
            <p:cNvPr id="7" name="Group 351"/>
            <p:cNvGrpSpPr>
              <a:grpSpLocks noChangeAspect="1"/>
            </p:cNvGrpSpPr>
            <p:nvPr/>
          </p:nvGrpSpPr>
          <p:grpSpPr bwMode="auto">
            <a:xfrm>
              <a:off x="3367397" y="2962478"/>
              <a:ext cx="438678" cy="721451"/>
              <a:chOff x="-3435" y="469"/>
              <a:chExt cx="574" cy="944"/>
            </a:xfrm>
            <a:solidFill>
              <a:srgbClr val="FFFFFF"/>
            </a:solidFill>
          </p:grpSpPr>
          <p:sp>
            <p:nvSpPr>
              <p:cNvPr id="8" name="Freeform 352"/>
              <p:cNvSpPr>
                <a:spLocks/>
              </p:cNvSpPr>
              <p:nvPr/>
            </p:nvSpPr>
            <p:spPr bwMode="auto">
              <a:xfrm>
                <a:off x="-3435" y="648"/>
                <a:ext cx="574" cy="765"/>
              </a:xfrm>
              <a:custGeom>
                <a:avLst/>
                <a:gdLst>
                  <a:gd name="T0" fmla="*/ 210 w 243"/>
                  <a:gd name="T1" fmla="*/ 143 h 324"/>
                  <a:gd name="T2" fmla="*/ 131 w 243"/>
                  <a:gd name="T3" fmla="*/ 135 h 324"/>
                  <a:gd name="T4" fmla="*/ 128 w 243"/>
                  <a:gd name="T5" fmla="*/ 21 h 324"/>
                  <a:gd name="T6" fmla="*/ 107 w 243"/>
                  <a:gd name="T7" fmla="*/ 0 h 324"/>
                  <a:gd name="T8" fmla="*/ 91 w 243"/>
                  <a:gd name="T9" fmla="*/ 21 h 324"/>
                  <a:gd name="T10" fmla="*/ 91 w 243"/>
                  <a:gd name="T11" fmla="*/ 181 h 324"/>
                  <a:gd name="T12" fmla="*/ 60 w 243"/>
                  <a:gd name="T13" fmla="*/ 146 h 324"/>
                  <a:gd name="T14" fmla="*/ 11 w 243"/>
                  <a:gd name="T15" fmla="*/ 136 h 324"/>
                  <a:gd name="T16" fmla="*/ 28 w 243"/>
                  <a:gd name="T17" fmla="*/ 169 h 324"/>
                  <a:gd name="T18" fmla="*/ 111 w 243"/>
                  <a:gd name="T19" fmla="*/ 289 h 324"/>
                  <a:gd name="T20" fmla="*/ 125 w 243"/>
                  <a:gd name="T21" fmla="*/ 307 h 324"/>
                  <a:gd name="T22" fmla="*/ 134 w 243"/>
                  <a:gd name="T23" fmla="*/ 314 h 324"/>
                  <a:gd name="T24" fmla="*/ 168 w 243"/>
                  <a:gd name="T25" fmla="*/ 324 h 324"/>
                  <a:gd name="T26" fmla="*/ 232 w 243"/>
                  <a:gd name="T27" fmla="*/ 265 h 324"/>
                  <a:gd name="T28" fmla="*/ 232 w 243"/>
                  <a:gd name="T29" fmla="*/ 262 h 324"/>
                  <a:gd name="T30" fmla="*/ 243 w 243"/>
                  <a:gd name="T31" fmla="*/ 168 h 324"/>
                  <a:gd name="T32" fmla="*/ 210 w 243"/>
                  <a:gd name="T33" fmla="*/ 143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324">
                    <a:moveTo>
                      <a:pt x="210" y="143"/>
                    </a:moveTo>
                    <a:cubicBezTo>
                      <a:pt x="131" y="135"/>
                      <a:pt x="131" y="135"/>
                      <a:pt x="131" y="135"/>
                    </a:cubicBezTo>
                    <a:cubicBezTo>
                      <a:pt x="131" y="97"/>
                      <a:pt x="128" y="59"/>
                      <a:pt x="128" y="21"/>
                    </a:cubicBezTo>
                    <a:cubicBezTo>
                      <a:pt x="128" y="10"/>
                      <a:pt x="118" y="0"/>
                      <a:pt x="107" y="0"/>
                    </a:cubicBezTo>
                    <a:cubicBezTo>
                      <a:pt x="95" y="0"/>
                      <a:pt x="91" y="10"/>
                      <a:pt x="91" y="21"/>
                    </a:cubicBezTo>
                    <a:cubicBezTo>
                      <a:pt x="91" y="71"/>
                      <a:pt x="91" y="131"/>
                      <a:pt x="91" y="181"/>
                    </a:cubicBezTo>
                    <a:cubicBezTo>
                      <a:pt x="85" y="172"/>
                      <a:pt x="60" y="146"/>
                      <a:pt x="60" y="146"/>
                    </a:cubicBezTo>
                    <a:cubicBezTo>
                      <a:pt x="52" y="135"/>
                      <a:pt x="24" y="128"/>
                      <a:pt x="11" y="136"/>
                    </a:cubicBezTo>
                    <a:cubicBezTo>
                      <a:pt x="0" y="142"/>
                      <a:pt x="20" y="158"/>
                      <a:pt x="28" y="169"/>
                    </a:cubicBezTo>
                    <a:cubicBezTo>
                      <a:pt x="58" y="209"/>
                      <a:pt x="81" y="249"/>
                      <a:pt x="111" y="289"/>
                    </a:cubicBezTo>
                    <a:cubicBezTo>
                      <a:pt x="115" y="296"/>
                      <a:pt x="119" y="302"/>
                      <a:pt x="125" y="307"/>
                    </a:cubicBezTo>
                    <a:cubicBezTo>
                      <a:pt x="128" y="310"/>
                      <a:pt x="131" y="313"/>
                      <a:pt x="134" y="314"/>
                    </a:cubicBezTo>
                    <a:cubicBezTo>
                      <a:pt x="144" y="320"/>
                      <a:pt x="156" y="324"/>
                      <a:pt x="168" y="324"/>
                    </a:cubicBezTo>
                    <a:cubicBezTo>
                      <a:pt x="202" y="324"/>
                      <a:pt x="229" y="298"/>
                      <a:pt x="232" y="265"/>
                    </a:cubicBezTo>
                    <a:cubicBezTo>
                      <a:pt x="232" y="264"/>
                      <a:pt x="232" y="263"/>
                      <a:pt x="232" y="262"/>
                    </a:cubicBezTo>
                    <a:cubicBezTo>
                      <a:pt x="243" y="168"/>
                      <a:pt x="243" y="168"/>
                      <a:pt x="243" y="168"/>
                    </a:cubicBezTo>
                    <a:cubicBezTo>
                      <a:pt x="243" y="156"/>
                      <a:pt x="222" y="143"/>
                      <a:pt x="210"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274320" rIns="91440" bIns="45720" numCol="1" anchor="t" anchorCtr="0" compatLnSpc="1">
                <a:prstTxWarp prst="textNoShape">
                  <a:avLst/>
                </a:prstTxWarp>
              </a:bodyPr>
              <a:lstStyle/>
              <a:p>
                <a:pPr defTabSz="685862">
                  <a:defRPr/>
                </a:pPr>
                <a:endParaRPr lang="en-US" kern="0" dirty="0">
                  <a:solidFill>
                    <a:sysClr val="windowText" lastClr="000000"/>
                  </a:solidFill>
                </a:endParaRPr>
              </a:p>
            </p:txBody>
          </p:sp>
          <p:sp>
            <p:nvSpPr>
              <p:cNvPr id="9" name="Freeform 353"/>
              <p:cNvSpPr>
                <a:spLocks/>
              </p:cNvSpPr>
              <p:nvPr/>
            </p:nvSpPr>
            <p:spPr bwMode="auto">
              <a:xfrm>
                <a:off x="-3419" y="469"/>
                <a:ext cx="459" cy="451"/>
              </a:xfrm>
              <a:custGeom>
                <a:avLst/>
                <a:gdLst>
                  <a:gd name="T0" fmla="*/ 72 w 194"/>
                  <a:gd name="T1" fmla="*/ 191 h 191"/>
                  <a:gd name="T2" fmla="*/ 72 w 194"/>
                  <a:gd name="T3" fmla="*/ 168 h 191"/>
                  <a:gd name="T4" fmla="*/ 22 w 194"/>
                  <a:gd name="T5" fmla="*/ 97 h 191"/>
                  <a:gd name="T6" fmla="*/ 97 w 194"/>
                  <a:gd name="T7" fmla="*/ 22 h 191"/>
                  <a:gd name="T8" fmla="*/ 173 w 194"/>
                  <a:gd name="T9" fmla="*/ 97 h 191"/>
                  <a:gd name="T10" fmla="*/ 136 w 194"/>
                  <a:gd name="T11" fmla="*/ 162 h 191"/>
                  <a:gd name="T12" fmla="*/ 137 w 194"/>
                  <a:gd name="T13" fmla="*/ 186 h 191"/>
                  <a:gd name="T14" fmla="*/ 194 w 194"/>
                  <a:gd name="T15" fmla="*/ 97 h 191"/>
                  <a:gd name="T16" fmla="*/ 97 w 194"/>
                  <a:gd name="T17" fmla="*/ 0 h 191"/>
                  <a:gd name="T18" fmla="*/ 0 w 194"/>
                  <a:gd name="T19" fmla="*/ 97 h 191"/>
                  <a:gd name="T20" fmla="*/ 72 w 194"/>
                  <a:gd name="T21" fmla="*/ 19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4" h="191">
                    <a:moveTo>
                      <a:pt x="72" y="191"/>
                    </a:moveTo>
                    <a:cubicBezTo>
                      <a:pt x="72" y="183"/>
                      <a:pt x="72" y="176"/>
                      <a:pt x="72" y="168"/>
                    </a:cubicBezTo>
                    <a:cubicBezTo>
                      <a:pt x="43" y="158"/>
                      <a:pt x="22" y="130"/>
                      <a:pt x="22" y="97"/>
                    </a:cubicBezTo>
                    <a:cubicBezTo>
                      <a:pt x="22" y="55"/>
                      <a:pt x="56" y="22"/>
                      <a:pt x="97" y="22"/>
                    </a:cubicBezTo>
                    <a:cubicBezTo>
                      <a:pt x="139" y="22"/>
                      <a:pt x="173" y="55"/>
                      <a:pt x="173" y="97"/>
                    </a:cubicBezTo>
                    <a:cubicBezTo>
                      <a:pt x="173" y="125"/>
                      <a:pt x="158" y="149"/>
                      <a:pt x="136" y="162"/>
                    </a:cubicBezTo>
                    <a:cubicBezTo>
                      <a:pt x="136" y="170"/>
                      <a:pt x="136" y="178"/>
                      <a:pt x="137" y="186"/>
                    </a:cubicBezTo>
                    <a:cubicBezTo>
                      <a:pt x="171" y="171"/>
                      <a:pt x="194" y="137"/>
                      <a:pt x="194" y="97"/>
                    </a:cubicBezTo>
                    <a:cubicBezTo>
                      <a:pt x="194" y="44"/>
                      <a:pt x="151" y="0"/>
                      <a:pt x="97" y="0"/>
                    </a:cubicBezTo>
                    <a:cubicBezTo>
                      <a:pt x="44" y="0"/>
                      <a:pt x="0" y="44"/>
                      <a:pt x="0" y="97"/>
                    </a:cubicBezTo>
                    <a:cubicBezTo>
                      <a:pt x="0" y="142"/>
                      <a:pt x="31" y="179"/>
                      <a:pt x="72" y="1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274320" rIns="91440" bIns="45720" numCol="1" anchor="t" anchorCtr="0" compatLnSpc="1">
                <a:prstTxWarp prst="textNoShape">
                  <a:avLst/>
                </a:prstTxWarp>
              </a:bodyPr>
              <a:lstStyle/>
              <a:p>
                <a:pPr defTabSz="685862">
                  <a:defRPr/>
                </a:pPr>
                <a:endParaRPr lang="en-US" kern="0" dirty="0">
                  <a:solidFill>
                    <a:sysClr val="windowText" lastClr="000000"/>
                  </a:solidFill>
                </a:endParaRPr>
              </a:p>
            </p:txBody>
          </p:sp>
        </p:grpSp>
      </p:grpSp>
      <p:grpSp>
        <p:nvGrpSpPr>
          <p:cNvPr id="10" name="Group 9"/>
          <p:cNvGrpSpPr/>
          <p:nvPr/>
        </p:nvGrpSpPr>
        <p:grpSpPr>
          <a:xfrm>
            <a:off x="3229875" y="1320292"/>
            <a:ext cx="2686465" cy="1599932"/>
            <a:chOff x="4305377" y="1760389"/>
            <a:chExt cx="3581020" cy="2133243"/>
          </a:xfrm>
        </p:grpSpPr>
        <p:sp>
          <p:nvSpPr>
            <p:cNvPr id="11" name="Rectangle 10"/>
            <p:cNvSpPr/>
            <p:nvPr/>
          </p:nvSpPr>
          <p:spPr bwMode="auto">
            <a:xfrm>
              <a:off x="4305377" y="1760389"/>
              <a:ext cx="3581020" cy="2133243"/>
            </a:xfrm>
            <a:prstGeom prst="rect">
              <a:avLst/>
            </a:prstGeom>
            <a:solidFill>
              <a:schemeClr val="accent2"/>
            </a:solidFill>
            <a:ln w="25400" cap="flat" cmpd="sng" algn="ctr">
              <a:noFill/>
              <a:prstDash val="solid"/>
              <a:headEnd type="none" w="med" len="med"/>
              <a:tailEnd type="none" w="med" len="med"/>
            </a:ln>
            <a:effectLst/>
          </p:spPr>
          <p:txBody>
            <a:bodyPr vert="horz" wrap="square" lIns="182880" tIns="228600" rIns="91436" bIns="45718" numCol="1" rtlCol="0" anchor="t" anchorCtr="0" compatLnSpc="1">
              <a:prstTxWarp prst="textNoShape">
                <a:avLst/>
              </a:prstTxWarp>
            </a:bodyPr>
            <a:lstStyle/>
            <a:p>
              <a:pPr defTabSz="685637" fontAlgn="base">
                <a:lnSpc>
                  <a:spcPct val="90000"/>
                </a:lnSpc>
                <a:spcBef>
                  <a:spcPct val="0"/>
                </a:spcBef>
                <a:spcAft>
                  <a:spcPct val="0"/>
                </a:spcAft>
              </a:pPr>
              <a:r>
                <a:rPr lang="en-US" sz="2700" spc="-75" dirty="0">
                  <a:gradFill>
                    <a:gsLst>
                      <a:gs pos="0">
                        <a:srgbClr val="FFFFFF"/>
                      </a:gs>
                      <a:gs pos="100000">
                        <a:srgbClr val="FFFFFF"/>
                      </a:gs>
                    </a:gsLst>
                    <a:lin ang="5400000" scaled="0"/>
                  </a:gradFill>
                  <a:latin typeface="+mj-lt"/>
                </a:rPr>
                <a:t>Connected</a:t>
              </a:r>
            </a:p>
          </p:txBody>
        </p:sp>
        <p:sp>
          <p:nvSpPr>
            <p:cNvPr id="12" name="Freeform 89"/>
            <p:cNvSpPr>
              <a:spLocks noEditPoints="1"/>
            </p:cNvSpPr>
            <p:nvPr/>
          </p:nvSpPr>
          <p:spPr bwMode="black">
            <a:xfrm>
              <a:off x="6635358" y="3042823"/>
              <a:ext cx="952447" cy="613114"/>
            </a:xfrm>
            <a:custGeom>
              <a:avLst/>
              <a:gdLst>
                <a:gd name="T0" fmla="*/ 350 w 3153"/>
                <a:gd name="T1" fmla="*/ 935 h 2031"/>
                <a:gd name="T2" fmla="*/ 788 w 3153"/>
                <a:gd name="T3" fmla="*/ 0 h 2031"/>
                <a:gd name="T4" fmla="*/ 2918 w 3153"/>
                <a:gd name="T5" fmla="*/ 1882 h 2031"/>
                <a:gd name="T6" fmla="*/ 2403 w 3153"/>
                <a:gd name="T7" fmla="*/ 1493 h 2031"/>
                <a:gd name="T8" fmla="*/ 2244 w 3153"/>
                <a:gd name="T9" fmla="*/ 1424 h 2031"/>
                <a:gd name="T10" fmla="*/ 2391 w 3153"/>
                <a:gd name="T11" fmla="*/ 1458 h 2031"/>
                <a:gd name="T12" fmla="*/ 1437 w 3153"/>
                <a:gd name="T13" fmla="*/ 1486 h 2031"/>
                <a:gd name="T14" fmla="*/ 1460 w 3153"/>
                <a:gd name="T15" fmla="*/ 1427 h 2031"/>
                <a:gd name="T16" fmla="*/ 1588 w 3153"/>
                <a:gd name="T17" fmla="*/ 1440 h 2031"/>
                <a:gd name="T18" fmla="*/ 1563 w 3153"/>
                <a:gd name="T19" fmla="*/ 1636 h 2031"/>
                <a:gd name="T20" fmla="*/ 1421 w 3153"/>
                <a:gd name="T21" fmla="*/ 1612 h 2031"/>
                <a:gd name="T22" fmla="*/ 1170 w 3153"/>
                <a:gd name="T23" fmla="*/ 1604 h 2031"/>
                <a:gd name="T24" fmla="*/ 1340 w 3153"/>
                <a:gd name="T25" fmla="*/ 1589 h 2031"/>
                <a:gd name="T26" fmla="*/ 1175 w 3153"/>
                <a:gd name="T27" fmla="*/ 1631 h 2031"/>
                <a:gd name="T28" fmla="*/ 1228 w 3153"/>
                <a:gd name="T29" fmla="*/ 1433 h 2031"/>
                <a:gd name="T30" fmla="*/ 1366 w 3153"/>
                <a:gd name="T31" fmla="*/ 1441 h 2031"/>
                <a:gd name="T32" fmla="*/ 916 w 3153"/>
                <a:gd name="T33" fmla="*/ 1607 h 2031"/>
                <a:gd name="T34" fmla="*/ 1099 w 3153"/>
                <a:gd name="T35" fmla="*/ 1564 h 2031"/>
                <a:gd name="T36" fmla="*/ 911 w 3153"/>
                <a:gd name="T37" fmla="*/ 1624 h 2031"/>
                <a:gd name="T38" fmla="*/ 832 w 3153"/>
                <a:gd name="T39" fmla="*/ 1503 h 2031"/>
                <a:gd name="T40" fmla="*/ 922 w 3153"/>
                <a:gd name="T41" fmla="*/ 1437 h 2031"/>
                <a:gd name="T42" fmla="*/ 999 w 3153"/>
                <a:gd name="T43" fmla="*/ 1440 h 2031"/>
                <a:gd name="T44" fmla="*/ 1143 w 3153"/>
                <a:gd name="T45" fmla="*/ 1436 h 2031"/>
                <a:gd name="T46" fmla="*/ 1113 w 3153"/>
                <a:gd name="T47" fmla="*/ 1496 h 2031"/>
                <a:gd name="T48" fmla="*/ 692 w 3153"/>
                <a:gd name="T49" fmla="*/ 1804 h 2031"/>
                <a:gd name="T50" fmla="*/ 574 w 3153"/>
                <a:gd name="T51" fmla="*/ 1739 h 2031"/>
                <a:gd name="T52" fmla="*/ 656 w 3153"/>
                <a:gd name="T53" fmla="*/ 1687 h 2031"/>
                <a:gd name="T54" fmla="*/ 823 w 3153"/>
                <a:gd name="T55" fmla="*/ 1619 h 2031"/>
                <a:gd name="T56" fmla="*/ 669 w 3153"/>
                <a:gd name="T57" fmla="*/ 1638 h 2031"/>
                <a:gd name="T58" fmla="*/ 713 w 3153"/>
                <a:gd name="T59" fmla="*/ 1551 h 2031"/>
                <a:gd name="T60" fmla="*/ 828 w 3153"/>
                <a:gd name="T61" fmla="*/ 1613 h 2031"/>
                <a:gd name="T62" fmla="*/ 1570 w 3153"/>
                <a:gd name="T63" fmla="*/ 1798 h 2031"/>
                <a:gd name="T64" fmla="*/ 850 w 3153"/>
                <a:gd name="T65" fmla="*/ 1803 h 2031"/>
                <a:gd name="T66" fmla="*/ 882 w 3153"/>
                <a:gd name="T67" fmla="*/ 1698 h 2031"/>
                <a:gd name="T68" fmla="*/ 1563 w 3153"/>
                <a:gd name="T69" fmla="*/ 1687 h 2031"/>
                <a:gd name="T70" fmla="*/ 1670 w 3153"/>
                <a:gd name="T71" fmla="*/ 1489 h 2031"/>
                <a:gd name="T72" fmla="*/ 1693 w 3153"/>
                <a:gd name="T73" fmla="*/ 1424 h 2031"/>
                <a:gd name="T74" fmla="*/ 1793 w 3153"/>
                <a:gd name="T75" fmla="*/ 1500 h 2031"/>
                <a:gd name="T76" fmla="*/ 1675 w 3153"/>
                <a:gd name="T77" fmla="*/ 1612 h 2031"/>
                <a:gd name="T78" fmla="*/ 1843 w 3153"/>
                <a:gd name="T79" fmla="*/ 1621 h 2031"/>
                <a:gd name="T80" fmla="*/ 1804 w 3153"/>
                <a:gd name="T81" fmla="*/ 1637 h 2031"/>
                <a:gd name="T82" fmla="*/ 1866 w 3153"/>
                <a:gd name="T83" fmla="*/ 1793 h 2031"/>
                <a:gd name="T84" fmla="*/ 1690 w 3153"/>
                <a:gd name="T85" fmla="*/ 1778 h 2031"/>
                <a:gd name="T86" fmla="*/ 1686 w 3153"/>
                <a:gd name="T87" fmla="*/ 1702 h 2031"/>
                <a:gd name="T88" fmla="*/ 1724 w 3153"/>
                <a:gd name="T89" fmla="*/ 1685 h 2031"/>
                <a:gd name="T90" fmla="*/ 1843 w 3153"/>
                <a:gd name="T91" fmla="*/ 1691 h 2031"/>
                <a:gd name="T92" fmla="*/ 2009 w 3153"/>
                <a:gd name="T93" fmla="*/ 1439 h 2031"/>
                <a:gd name="T94" fmla="*/ 2140 w 3153"/>
                <a:gd name="T95" fmla="*/ 1428 h 2031"/>
                <a:gd name="T96" fmla="*/ 2161 w 3153"/>
                <a:gd name="T97" fmla="*/ 1499 h 2031"/>
                <a:gd name="T98" fmla="*/ 2064 w 3153"/>
                <a:gd name="T99" fmla="*/ 1588 h 2031"/>
                <a:gd name="T100" fmla="*/ 2218 w 3153"/>
                <a:gd name="T101" fmla="*/ 1565 h 2031"/>
                <a:gd name="T102" fmla="*/ 2225 w 3153"/>
                <a:gd name="T103" fmla="*/ 1634 h 2031"/>
                <a:gd name="T104" fmla="*/ 2319 w 3153"/>
                <a:gd name="T105" fmla="*/ 1790 h 2031"/>
                <a:gd name="T106" fmla="*/ 2131 w 3153"/>
                <a:gd name="T107" fmla="*/ 1770 h 2031"/>
                <a:gd name="T108" fmla="*/ 2145 w 3153"/>
                <a:gd name="T109" fmla="*/ 1683 h 2031"/>
                <a:gd name="T110" fmla="*/ 2340 w 3153"/>
                <a:gd name="T111" fmla="*/ 1624 h 2031"/>
                <a:gd name="T112" fmla="*/ 2463 w 3153"/>
                <a:gd name="T113" fmla="*/ 1564 h 2031"/>
                <a:gd name="T114" fmla="*/ 2434 w 3153"/>
                <a:gd name="T115" fmla="*/ 1636 h 2031"/>
                <a:gd name="T116" fmla="*/ 2415 w 3153"/>
                <a:gd name="T117" fmla="*/ 1769 h 2031"/>
                <a:gd name="T118" fmla="*/ 2500 w 3153"/>
                <a:gd name="T119" fmla="*/ 1683 h 2031"/>
                <a:gd name="T120" fmla="*/ 2605 w 3153"/>
                <a:gd name="T121" fmla="*/ 1791 h 2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53" h="2031">
                  <a:moveTo>
                    <a:pt x="448" y="830"/>
                  </a:moveTo>
                  <a:cubicBezTo>
                    <a:pt x="368" y="755"/>
                    <a:pt x="368" y="615"/>
                    <a:pt x="448" y="539"/>
                  </a:cubicBezTo>
                  <a:cubicBezTo>
                    <a:pt x="393" y="549"/>
                    <a:pt x="339" y="610"/>
                    <a:pt x="339" y="685"/>
                  </a:cubicBezTo>
                  <a:cubicBezTo>
                    <a:pt x="339" y="759"/>
                    <a:pt x="393" y="820"/>
                    <a:pt x="448" y="830"/>
                  </a:cubicBezTo>
                  <a:close/>
                  <a:moveTo>
                    <a:pt x="2814" y="685"/>
                  </a:moveTo>
                  <a:cubicBezTo>
                    <a:pt x="2815" y="610"/>
                    <a:pt x="2761" y="549"/>
                    <a:pt x="2706" y="539"/>
                  </a:cubicBezTo>
                  <a:cubicBezTo>
                    <a:pt x="2786" y="615"/>
                    <a:pt x="2786" y="755"/>
                    <a:pt x="2706" y="830"/>
                  </a:cubicBezTo>
                  <a:cubicBezTo>
                    <a:pt x="2761" y="820"/>
                    <a:pt x="2815" y="759"/>
                    <a:pt x="2814" y="685"/>
                  </a:cubicBezTo>
                  <a:close/>
                  <a:moveTo>
                    <a:pt x="2804" y="935"/>
                  </a:moveTo>
                  <a:cubicBezTo>
                    <a:pt x="2886" y="904"/>
                    <a:pt x="2970" y="808"/>
                    <a:pt x="2969" y="685"/>
                  </a:cubicBezTo>
                  <a:cubicBezTo>
                    <a:pt x="2970" y="561"/>
                    <a:pt x="2886" y="465"/>
                    <a:pt x="2804" y="434"/>
                  </a:cubicBezTo>
                  <a:cubicBezTo>
                    <a:pt x="2871" y="501"/>
                    <a:pt x="2915" y="591"/>
                    <a:pt x="2914" y="685"/>
                  </a:cubicBezTo>
                  <a:cubicBezTo>
                    <a:pt x="2915" y="778"/>
                    <a:pt x="2871" y="868"/>
                    <a:pt x="2804" y="935"/>
                  </a:cubicBezTo>
                  <a:close/>
                  <a:moveTo>
                    <a:pt x="350" y="935"/>
                  </a:moveTo>
                  <a:cubicBezTo>
                    <a:pt x="282" y="868"/>
                    <a:pt x="239" y="778"/>
                    <a:pt x="239" y="685"/>
                  </a:cubicBezTo>
                  <a:cubicBezTo>
                    <a:pt x="239" y="591"/>
                    <a:pt x="282" y="501"/>
                    <a:pt x="350" y="434"/>
                  </a:cubicBezTo>
                  <a:cubicBezTo>
                    <a:pt x="267" y="465"/>
                    <a:pt x="183" y="561"/>
                    <a:pt x="184" y="685"/>
                  </a:cubicBezTo>
                  <a:cubicBezTo>
                    <a:pt x="183" y="808"/>
                    <a:pt x="267" y="904"/>
                    <a:pt x="350" y="935"/>
                  </a:cubicBezTo>
                  <a:close/>
                  <a:moveTo>
                    <a:pt x="2877" y="1804"/>
                  </a:moveTo>
                  <a:cubicBezTo>
                    <a:pt x="2844" y="1765"/>
                    <a:pt x="2811" y="1726"/>
                    <a:pt x="2778" y="1687"/>
                  </a:cubicBezTo>
                  <a:cubicBezTo>
                    <a:pt x="2705" y="1601"/>
                    <a:pt x="2633" y="1516"/>
                    <a:pt x="2560" y="1430"/>
                  </a:cubicBezTo>
                  <a:cubicBezTo>
                    <a:pt x="2557" y="1426"/>
                    <a:pt x="2553" y="1421"/>
                    <a:pt x="2549" y="1417"/>
                  </a:cubicBezTo>
                  <a:cubicBezTo>
                    <a:pt x="2534" y="1399"/>
                    <a:pt x="2511" y="1389"/>
                    <a:pt x="2489" y="1381"/>
                  </a:cubicBezTo>
                  <a:cubicBezTo>
                    <a:pt x="2466" y="1373"/>
                    <a:pt x="2441" y="1368"/>
                    <a:pt x="2416" y="1367"/>
                  </a:cubicBezTo>
                  <a:cubicBezTo>
                    <a:pt x="2503" y="1344"/>
                    <a:pt x="2567" y="1266"/>
                    <a:pt x="2567" y="1172"/>
                  </a:cubicBezTo>
                  <a:cubicBezTo>
                    <a:pt x="2567" y="202"/>
                    <a:pt x="2567" y="202"/>
                    <a:pt x="2567" y="202"/>
                  </a:cubicBezTo>
                  <a:cubicBezTo>
                    <a:pt x="2567" y="90"/>
                    <a:pt x="2476" y="0"/>
                    <a:pt x="2365" y="0"/>
                  </a:cubicBezTo>
                  <a:cubicBezTo>
                    <a:pt x="788" y="0"/>
                    <a:pt x="788" y="0"/>
                    <a:pt x="788" y="0"/>
                  </a:cubicBezTo>
                  <a:cubicBezTo>
                    <a:pt x="677" y="0"/>
                    <a:pt x="586" y="90"/>
                    <a:pt x="586" y="202"/>
                  </a:cubicBezTo>
                  <a:cubicBezTo>
                    <a:pt x="586" y="1172"/>
                    <a:pt x="586" y="1172"/>
                    <a:pt x="586" y="1172"/>
                  </a:cubicBezTo>
                  <a:cubicBezTo>
                    <a:pt x="586" y="1266"/>
                    <a:pt x="651" y="1345"/>
                    <a:pt x="738" y="1368"/>
                  </a:cubicBezTo>
                  <a:cubicBezTo>
                    <a:pt x="689" y="1370"/>
                    <a:pt x="633" y="1388"/>
                    <a:pt x="600" y="1426"/>
                  </a:cubicBezTo>
                  <a:cubicBezTo>
                    <a:pt x="575" y="1457"/>
                    <a:pt x="549" y="1487"/>
                    <a:pt x="524" y="1518"/>
                  </a:cubicBezTo>
                  <a:cubicBezTo>
                    <a:pt x="446" y="1610"/>
                    <a:pt x="368" y="1703"/>
                    <a:pt x="290" y="1796"/>
                  </a:cubicBezTo>
                  <a:cubicBezTo>
                    <a:pt x="271" y="1819"/>
                    <a:pt x="235" y="1852"/>
                    <a:pt x="235" y="1884"/>
                  </a:cubicBezTo>
                  <a:cubicBezTo>
                    <a:pt x="235" y="1971"/>
                    <a:pt x="235" y="1971"/>
                    <a:pt x="235" y="1971"/>
                  </a:cubicBezTo>
                  <a:cubicBezTo>
                    <a:pt x="236" y="1982"/>
                    <a:pt x="238" y="1993"/>
                    <a:pt x="244" y="2002"/>
                  </a:cubicBezTo>
                  <a:cubicBezTo>
                    <a:pt x="264" y="2030"/>
                    <a:pt x="304" y="2031"/>
                    <a:pt x="336" y="2031"/>
                  </a:cubicBezTo>
                  <a:cubicBezTo>
                    <a:pt x="380" y="2031"/>
                    <a:pt x="2688" y="2031"/>
                    <a:pt x="2758" y="2031"/>
                  </a:cubicBezTo>
                  <a:cubicBezTo>
                    <a:pt x="2792" y="2031"/>
                    <a:pt x="2831" y="2027"/>
                    <a:pt x="2865" y="2020"/>
                  </a:cubicBezTo>
                  <a:cubicBezTo>
                    <a:pt x="2888" y="2016"/>
                    <a:pt x="2915" y="2003"/>
                    <a:pt x="2918" y="1976"/>
                  </a:cubicBezTo>
                  <a:cubicBezTo>
                    <a:pt x="2918" y="1882"/>
                    <a:pt x="2918" y="1882"/>
                    <a:pt x="2918" y="1882"/>
                  </a:cubicBezTo>
                  <a:cubicBezTo>
                    <a:pt x="2921" y="1861"/>
                    <a:pt x="2909" y="1841"/>
                    <a:pt x="2896" y="1826"/>
                  </a:cubicBezTo>
                  <a:cubicBezTo>
                    <a:pt x="2889" y="1818"/>
                    <a:pt x="2883" y="1811"/>
                    <a:pt x="2877" y="1804"/>
                  </a:cubicBezTo>
                  <a:close/>
                  <a:moveTo>
                    <a:pt x="705" y="1159"/>
                  </a:moveTo>
                  <a:cubicBezTo>
                    <a:pt x="705" y="215"/>
                    <a:pt x="705" y="215"/>
                    <a:pt x="705" y="215"/>
                  </a:cubicBezTo>
                  <a:cubicBezTo>
                    <a:pt x="705" y="157"/>
                    <a:pt x="752" y="111"/>
                    <a:pt x="809" y="111"/>
                  </a:cubicBezTo>
                  <a:cubicBezTo>
                    <a:pt x="2344" y="111"/>
                    <a:pt x="2344" y="111"/>
                    <a:pt x="2344" y="111"/>
                  </a:cubicBezTo>
                  <a:cubicBezTo>
                    <a:pt x="2401" y="111"/>
                    <a:pt x="2448" y="157"/>
                    <a:pt x="2448" y="215"/>
                  </a:cubicBezTo>
                  <a:cubicBezTo>
                    <a:pt x="2448" y="1159"/>
                    <a:pt x="2448" y="1159"/>
                    <a:pt x="2448" y="1159"/>
                  </a:cubicBezTo>
                  <a:cubicBezTo>
                    <a:pt x="2448" y="1216"/>
                    <a:pt x="2401" y="1263"/>
                    <a:pt x="2344" y="1263"/>
                  </a:cubicBezTo>
                  <a:cubicBezTo>
                    <a:pt x="809" y="1263"/>
                    <a:pt x="809" y="1263"/>
                    <a:pt x="809" y="1263"/>
                  </a:cubicBezTo>
                  <a:cubicBezTo>
                    <a:pt x="752" y="1263"/>
                    <a:pt x="705" y="1216"/>
                    <a:pt x="705" y="1159"/>
                  </a:cubicBezTo>
                  <a:close/>
                  <a:moveTo>
                    <a:pt x="2407" y="1487"/>
                  </a:moveTo>
                  <a:cubicBezTo>
                    <a:pt x="2407" y="1489"/>
                    <a:pt x="2406" y="1491"/>
                    <a:pt x="2404" y="1493"/>
                  </a:cubicBezTo>
                  <a:cubicBezTo>
                    <a:pt x="2404" y="1493"/>
                    <a:pt x="2403" y="1493"/>
                    <a:pt x="2403" y="1493"/>
                  </a:cubicBezTo>
                  <a:cubicBezTo>
                    <a:pt x="2403" y="1493"/>
                    <a:pt x="2403" y="1493"/>
                    <a:pt x="2403" y="1493"/>
                  </a:cubicBezTo>
                  <a:cubicBezTo>
                    <a:pt x="2403" y="1494"/>
                    <a:pt x="2403" y="1494"/>
                    <a:pt x="2402" y="1494"/>
                  </a:cubicBezTo>
                  <a:cubicBezTo>
                    <a:pt x="2402" y="1494"/>
                    <a:pt x="2402" y="1494"/>
                    <a:pt x="2401" y="1495"/>
                  </a:cubicBezTo>
                  <a:cubicBezTo>
                    <a:pt x="2401" y="1495"/>
                    <a:pt x="2400" y="1495"/>
                    <a:pt x="2400" y="1496"/>
                  </a:cubicBezTo>
                  <a:cubicBezTo>
                    <a:pt x="2399" y="1496"/>
                    <a:pt x="2399" y="1496"/>
                    <a:pt x="2398" y="1496"/>
                  </a:cubicBezTo>
                  <a:cubicBezTo>
                    <a:pt x="2388" y="1501"/>
                    <a:pt x="2374" y="1500"/>
                    <a:pt x="2362" y="1500"/>
                  </a:cubicBezTo>
                  <a:cubicBezTo>
                    <a:pt x="2304" y="1500"/>
                    <a:pt x="2304" y="1500"/>
                    <a:pt x="2304" y="1500"/>
                  </a:cubicBezTo>
                  <a:cubicBezTo>
                    <a:pt x="2293" y="1500"/>
                    <a:pt x="2281" y="1498"/>
                    <a:pt x="2271" y="1493"/>
                  </a:cubicBezTo>
                  <a:cubicBezTo>
                    <a:pt x="2267" y="1491"/>
                    <a:pt x="2263" y="1489"/>
                    <a:pt x="2260" y="1487"/>
                  </a:cubicBezTo>
                  <a:cubicBezTo>
                    <a:pt x="2257" y="1484"/>
                    <a:pt x="2254" y="1482"/>
                    <a:pt x="2252" y="1479"/>
                  </a:cubicBezTo>
                  <a:cubicBezTo>
                    <a:pt x="2250" y="1474"/>
                    <a:pt x="2250" y="1474"/>
                    <a:pt x="2250" y="1474"/>
                  </a:cubicBezTo>
                  <a:cubicBezTo>
                    <a:pt x="2244" y="1463"/>
                    <a:pt x="2236" y="1453"/>
                    <a:pt x="2231" y="1441"/>
                  </a:cubicBezTo>
                  <a:cubicBezTo>
                    <a:pt x="2227" y="1433"/>
                    <a:pt x="2231" y="1429"/>
                    <a:pt x="2238" y="1426"/>
                  </a:cubicBezTo>
                  <a:cubicBezTo>
                    <a:pt x="2240" y="1425"/>
                    <a:pt x="2242" y="1424"/>
                    <a:pt x="2244" y="1424"/>
                  </a:cubicBezTo>
                  <a:cubicBezTo>
                    <a:pt x="2248" y="1423"/>
                    <a:pt x="2253" y="1422"/>
                    <a:pt x="2258" y="1422"/>
                  </a:cubicBezTo>
                  <a:cubicBezTo>
                    <a:pt x="2266" y="1422"/>
                    <a:pt x="2266" y="1422"/>
                    <a:pt x="2266" y="1422"/>
                  </a:cubicBezTo>
                  <a:cubicBezTo>
                    <a:pt x="2266" y="1422"/>
                    <a:pt x="2266" y="1422"/>
                    <a:pt x="2266" y="1422"/>
                  </a:cubicBezTo>
                  <a:cubicBezTo>
                    <a:pt x="2282" y="1422"/>
                    <a:pt x="2297" y="1422"/>
                    <a:pt x="2312" y="1422"/>
                  </a:cubicBezTo>
                  <a:cubicBezTo>
                    <a:pt x="2313" y="1422"/>
                    <a:pt x="2313" y="1422"/>
                    <a:pt x="2313" y="1422"/>
                  </a:cubicBezTo>
                  <a:cubicBezTo>
                    <a:pt x="2328" y="1422"/>
                    <a:pt x="2328" y="1422"/>
                    <a:pt x="2328" y="1422"/>
                  </a:cubicBezTo>
                  <a:cubicBezTo>
                    <a:pt x="2333" y="1422"/>
                    <a:pt x="2339" y="1422"/>
                    <a:pt x="2344" y="1423"/>
                  </a:cubicBezTo>
                  <a:cubicBezTo>
                    <a:pt x="2347" y="1424"/>
                    <a:pt x="2351" y="1425"/>
                    <a:pt x="2354" y="1426"/>
                  </a:cubicBezTo>
                  <a:cubicBezTo>
                    <a:pt x="2355" y="1426"/>
                    <a:pt x="2355" y="1426"/>
                    <a:pt x="2356" y="1426"/>
                  </a:cubicBezTo>
                  <a:cubicBezTo>
                    <a:pt x="2356" y="1427"/>
                    <a:pt x="2356" y="1427"/>
                    <a:pt x="2357" y="1427"/>
                  </a:cubicBezTo>
                  <a:cubicBezTo>
                    <a:pt x="2357" y="1427"/>
                    <a:pt x="2358" y="1427"/>
                    <a:pt x="2358" y="1427"/>
                  </a:cubicBezTo>
                  <a:cubicBezTo>
                    <a:pt x="2363" y="1429"/>
                    <a:pt x="2367" y="1431"/>
                    <a:pt x="2371" y="1433"/>
                  </a:cubicBezTo>
                  <a:cubicBezTo>
                    <a:pt x="2374" y="1436"/>
                    <a:pt x="2377" y="1438"/>
                    <a:pt x="2379" y="1441"/>
                  </a:cubicBezTo>
                  <a:cubicBezTo>
                    <a:pt x="2391" y="1458"/>
                    <a:pt x="2391" y="1458"/>
                    <a:pt x="2391" y="1458"/>
                  </a:cubicBezTo>
                  <a:cubicBezTo>
                    <a:pt x="2394" y="1463"/>
                    <a:pt x="2401" y="1471"/>
                    <a:pt x="2404" y="1478"/>
                  </a:cubicBezTo>
                  <a:cubicBezTo>
                    <a:pt x="2404" y="1478"/>
                    <a:pt x="2404" y="1478"/>
                    <a:pt x="2404" y="1478"/>
                  </a:cubicBezTo>
                  <a:cubicBezTo>
                    <a:pt x="2406" y="1481"/>
                    <a:pt x="2407" y="1484"/>
                    <a:pt x="2407" y="1487"/>
                  </a:cubicBezTo>
                  <a:close/>
                  <a:moveTo>
                    <a:pt x="1589" y="1480"/>
                  </a:moveTo>
                  <a:cubicBezTo>
                    <a:pt x="1589" y="1483"/>
                    <a:pt x="1588" y="1485"/>
                    <a:pt x="1587" y="1487"/>
                  </a:cubicBezTo>
                  <a:cubicBezTo>
                    <a:pt x="1576" y="1507"/>
                    <a:pt x="1525" y="1502"/>
                    <a:pt x="1507" y="1502"/>
                  </a:cubicBezTo>
                  <a:cubicBezTo>
                    <a:pt x="1496" y="1502"/>
                    <a:pt x="1485" y="1502"/>
                    <a:pt x="1474" y="1502"/>
                  </a:cubicBezTo>
                  <a:cubicBezTo>
                    <a:pt x="1464" y="1502"/>
                    <a:pt x="1451" y="1500"/>
                    <a:pt x="1442" y="1493"/>
                  </a:cubicBezTo>
                  <a:cubicBezTo>
                    <a:pt x="1442" y="1493"/>
                    <a:pt x="1441" y="1492"/>
                    <a:pt x="1441" y="1492"/>
                  </a:cubicBezTo>
                  <a:cubicBezTo>
                    <a:pt x="1441" y="1492"/>
                    <a:pt x="1440" y="1491"/>
                    <a:pt x="1440" y="1491"/>
                  </a:cubicBezTo>
                  <a:cubicBezTo>
                    <a:pt x="1439" y="1490"/>
                    <a:pt x="1439" y="1490"/>
                    <a:pt x="1439" y="1489"/>
                  </a:cubicBezTo>
                  <a:cubicBezTo>
                    <a:pt x="1439" y="1489"/>
                    <a:pt x="1439" y="1489"/>
                    <a:pt x="1438" y="1489"/>
                  </a:cubicBezTo>
                  <a:cubicBezTo>
                    <a:pt x="1438" y="1489"/>
                    <a:pt x="1438" y="1489"/>
                    <a:pt x="1438" y="1489"/>
                  </a:cubicBezTo>
                  <a:cubicBezTo>
                    <a:pt x="1438" y="1488"/>
                    <a:pt x="1437" y="1487"/>
                    <a:pt x="1437" y="1486"/>
                  </a:cubicBezTo>
                  <a:cubicBezTo>
                    <a:pt x="1436" y="1484"/>
                    <a:pt x="1436" y="1483"/>
                    <a:pt x="1436" y="1481"/>
                  </a:cubicBezTo>
                  <a:cubicBezTo>
                    <a:pt x="1436" y="1479"/>
                    <a:pt x="1436" y="1479"/>
                    <a:pt x="1436" y="1479"/>
                  </a:cubicBezTo>
                  <a:cubicBezTo>
                    <a:pt x="1437" y="1477"/>
                    <a:pt x="1437" y="1474"/>
                    <a:pt x="1437" y="1472"/>
                  </a:cubicBezTo>
                  <a:cubicBezTo>
                    <a:pt x="1437" y="1471"/>
                    <a:pt x="1437" y="1471"/>
                    <a:pt x="1437" y="1471"/>
                  </a:cubicBezTo>
                  <a:cubicBezTo>
                    <a:pt x="1438" y="1463"/>
                    <a:pt x="1438" y="1454"/>
                    <a:pt x="1440" y="1446"/>
                  </a:cubicBezTo>
                  <a:cubicBezTo>
                    <a:pt x="1440" y="1443"/>
                    <a:pt x="1440" y="1443"/>
                    <a:pt x="1440" y="1443"/>
                  </a:cubicBezTo>
                  <a:cubicBezTo>
                    <a:pt x="1441" y="1441"/>
                    <a:pt x="1442" y="1438"/>
                    <a:pt x="1444" y="1436"/>
                  </a:cubicBezTo>
                  <a:cubicBezTo>
                    <a:pt x="1446" y="1434"/>
                    <a:pt x="1448" y="1433"/>
                    <a:pt x="1450" y="1431"/>
                  </a:cubicBezTo>
                  <a:cubicBezTo>
                    <a:pt x="1450" y="1431"/>
                    <a:pt x="1450" y="1431"/>
                    <a:pt x="1450" y="1431"/>
                  </a:cubicBezTo>
                  <a:cubicBezTo>
                    <a:pt x="1451" y="1431"/>
                    <a:pt x="1451" y="1430"/>
                    <a:pt x="1452" y="1430"/>
                  </a:cubicBezTo>
                  <a:cubicBezTo>
                    <a:pt x="1452" y="1430"/>
                    <a:pt x="1453" y="1430"/>
                    <a:pt x="1453" y="1429"/>
                  </a:cubicBezTo>
                  <a:cubicBezTo>
                    <a:pt x="1453" y="1429"/>
                    <a:pt x="1454" y="1429"/>
                    <a:pt x="1454" y="1429"/>
                  </a:cubicBezTo>
                  <a:cubicBezTo>
                    <a:pt x="1455" y="1428"/>
                    <a:pt x="1457" y="1428"/>
                    <a:pt x="1458" y="1427"/>
                  </a:cubicBezTo>
                  <a:cubicBezTo>
                    <a:pt x="1459" y="1427"/>
                    <a:pt x="1459" y="1427"/>
                    <a:pt x="1460" y="1427"/>
                  </a:cubicBezTo>
                  <a:cubicBezTo>
                    <a:pt x="1461" y="1426"/>
                    <a:pt x="1463" y="1426"/>
                    <a:pt x="1464" y="1426"/>
                  </a:cubicBezTo>
                  <a:cubicBezTo>
                    <a:pt x="1465" y="1426"/>
                    <a:pt x="1465" y="1425"/>
                    <a:pt x="1466" y="1425"/>
                  </a:cubicBezTo>
                  <a:cubicBezTo>
                    <a:pt x="1466" y="1425"/>
                    <a:pt x="1466" y="1425"/>
                    <a:pt x="1466" y="1425"/>
                  </a:cubicBezTo>
                  <a:cubicBezTo>
                    <a:pt x="1467" y="1425"/>
                    <a:pt x="1468" y="1425"/>
                    <a:pt x="1468" y="1425"/>
                  </a:cubicBezTo>
                  <a:cubicBezTo>
                    <a:pt x="1472" y="1424"/>
                    <a:pt x="1476" y="1424"/>
                    <a:pt x="1480" y="1424"/>
                  </a:cubicBezTo>
                  <a:cubicBezTo>
                    <a:pt x="1483" y="1424"/>
                    <a:pt x="1483" y="1424"/>
                    <a:pt x="1483" y="1424"/>
                  </a:cubicBezTo>
                  <a:cubicBezTo>
                    <a:pt x="1487" y="1424"/>
                    <a:pt x="1492" y="1424"/>
                    <a:pt x="1496" y="1424"/>
                  </a:cubicBezTo>
                  <a:cubicBezTo>
                    <a:pt x="1550" y="1424"/>
                    <a:pt x="1550" y="1424"/>
                    <a:pt x="1550" y="1424"/>
                  </a:cubicBezTo>
                  <a:cubicBezTo>
                    <a:pt x="1551" y="1424"/>
                    <a:pt x="1552" y="1424"/>
                    <a:pt x="1554" y="1424"/>
                  </a:cubicBezTo>
                  <a:cubicBezTo>
                    <a:pt x="1554" y="1424"/>
                    <a:pt x="1555" y="1424"/>
                    <a:pt x="1555" y="1424"/>
                  </a:cubicBezTo>
                  <a:cubicBezTo>
                    <a:pt x="1556" y="1424"/>
                    <a:pt x="1558" y="1424"/>
                    <a:pt x="1559" y="1424"/>
                  </a:cubicBezTo>
                  <a:cubicBezTo>
                    <a:pt x="1570" y="1425"/>
                    <a:pt x="1582" y="1428"/>
                    <a:pt x="1586" y="1438"/>
                  </a:cubicBezTo>
                  <a:cubicBezTo>
                    <a:pt x="1587" y="1438"/>
                    <a:pt x="1587" y="1439"/>
                    <a:pt x="1587" y="1440"/>
                  </a:cubicBezTo>
                  <a:cubicBezTo>
                    <a:pt x="1588" y="1440"/>
                    <a:pt x="1588" y="1440"/>
                    <a:pt x="1588" y="1440"/>
                  </a:cubicBezTo>
                  <a:cubicBezTo>
                    <a:pt x="1591" y="1452"/>
                    <a:pt x="1588" y="1466"/>
                    <a:pt x="1589" y="1478"/>
                  </a:cubicBezTo>
                  <a:lnTo>
                    <a:pt x="1589" y="1480"/>
                  </a:lnTo>
                  <a:close/>
                  <a:moveTo>
                    <a:pt x="1511" y="1543"/>
                  </a:moveTo>
                  <a:cubicBezTo>
                    <a:pt x="1531" y="1543"/>
                    <a:pt x="1577" y="1537"/>
                    <a:pt x="1588" y="1559"/>
                  </a:cubicBezTo>
                  <a:cubicBezTo>
                    <a:pt x="1589" y="1561"/>
                    <a:pt x="1590" y="1563"/>
                    <a:pt x="1590" y="1566"/>
                  </a:cubicBezTo>
                  <a:cubicBezTo>
                    <a:pt x="1590" y="1589"/>
                    <a:pt x="1590" y="1589"/>
                    <a:pt x="1590" y="1589"/>
                  </a:cubicBezTo>
                  <a:cubicBezTo>
                    <a:pt x="1590" y="1595"/>
                    <a:pt x="1590" y="1602"/>
                    <a:pt x="1590" y="1609"/>
                  </a:cubicBezTo>
                  <a:cubicBezTo>
                    <a:pt x="1590" y="1609"/>
                    <a:pt x="1590" y="1609"/>
                    <a:pt x="1590" y="1609"/>
                  </a:cubicBezTo>
                  <a:cubicBezTo>
                    <a:pt x="1590" y="1612"/>
                    <a:pt x="1590" y="1612"/>
                    <a:pt x="1590" y="1612"/>
                  </a:cubicBezTo>
                  <a:cubicBezTo>
                    <a:pt x="1590" y="1615"/>
                    <a:pt x="1589" y="1619"/>
                    <a:pt x="1587" y="1622"/>
                  </a:cubicBezTo>
                  <a:cubicBezTo>
                    <a:pt x="1587" y="1622"/>
                    <a:pt x="1586" y="1623"/>
                    <a:pt x="1586" y="1623"/>
                  </a:cubicBezTo>
                  <a:cubicBezTo>
                    <a:pt x="1585" y="1624"/>
                    <a:pt x="1584" y="1625"/>
                    <a:pt x="1583" y="1626"/>
                  </a:cubicBezTo>
                  <a:cubicBezTo>
                    <a:pt x="1583" y="1626"/>
                    <a:pt x="1583" y="1626"/>
                    <a:pt x="1583" y="1626"/>
                  </a:cubicBezTo>
                  <a:cubicBezTo>
                    <a:pt x="1578" y="1631"/>
                    <a:pt x="1571" y="1634"/>
                    <a:pt x="1563" y="1636"/>
                  </a:cubicBezTo>
                  <a:cubicBezTo>
                    <a:pt x="1563" y="1636"/>
                    <a:pt x="1563" y="1636"/>
                    <a:pt x="1563" y="1636"/>
                  </a:cubicBezTo>
                  <a:cubicBezTo>
                    <a:pt x="1563" y="1636"/>
                    <a:pt x="1563" y="1636"/>
                    <a:pt x="1563" y="1636"/>
                  </a:cubicBezTo>
                  <a:cubicBezTo>
                    <a:pt x="1560" y="1637"/>
                    <a:pt x="1558" y="1637"/>
                    <a:pt x="1556" y="1637"/>
                  </a:cubicBezTo>
                  <a:cubicBezTo>
                    <a:pt x="1555" y="1637"/>
                    <a:pt x="1554" y="1637"/>
                    <a:pt x="1554" y="1638"/>
                  </a:cubicBezTo>
                  <a:cubicBezTo>
                    <a:pt x="1551" y="1638"/>
                    <a:pt x="1548" y="1638"/>
                    <a:pt x="1546" y="1638"/>
                  </a:cubicBezTo>
                  <a:cubicBezTo>
                    <a:pt x="1546" y="1638"/>
                    <a:pt x="1546" y="1638"/>
                    <a:pt x="1546" y="1638"/>
                  </a:cubicBezTo>
                  <a:cubicBezTo>
                    <a:pt x="1463" y="1638"/>
                    <a:pt x="1463" y="1638"/>
                    <a:pt x="1463" y="1638"/>
                  </a:cubicBezTo>
                  <a:cubicBezTo>
                    <a:pt x="1453" y="1638"/>
                    <a:pt x="1441" y="1636"/>
                    <a:pt x="1432" y="1631"/>
                  </a:cubicBezTo>
                  <a:cubicBezTo>
                    <a:pt x="1432" y="1631"/>
                    <a:pt x="1432" y="1631"/>
                    <a:pt x="1432" y="1631"/>
                  </a:cubicBezTo>
                  <a:cubicBezTo>
                    <a:pt x="1432" y="1631"/>
                    <a:pt x="1432" y="1630"/>
                    <a:pt x="1432" y="1630"/>
                  </a:cubicBezTo>
                  <a:cubicBezTo>
                    <a:pt x="1431" y="1629"/>
                    <a:pt x="1429" y="1628"/>
                    <a:pt x="1427" y="1627"/>
                  </a:cubicBezTo>
                  <a:cubicBezTo>
                    <a:pt x="1426" y="1626"/>
                    <a:pt x="1425" y="1624"/>
                    <a:pt x="1424" y="1623"/>
                  </a:cubicBezTo>
                  <a:cubicBezTo>
                    <a:pt x="1424" y="1623"/>
                    <a:pt x="1424" y="1623"/>
                    <a:pt x="1424" y="1622"/>
                  </a:cubicBezTo>
                  <a:cubicBezTo>
                    <a:pt x="1422" y="1619"/>
                    <a:pt x="1421" y="1616"/>
                    <a:pt x="1421" y="1612"/>
                  </a:cubicBezTo>
                  <a:cubicBezTo>
                    <a:pt x="1422" y="1606"/>
                    <a:pt x="1422" y="1606"/>
                    <a:pt x="1422" y="1606"/>
                  </a:cubicBezTo>
                  <a:cubicBezTo>
                    <a:pt x="1422" y="1606"/>
                    <a:pt x="1422" y="1606"/>
                    <a:pt x="1422" y="1606"/>
                  </a:cubicBezTo>
                  <a:cubicBezTo>
                    <a:pt x="1424" y="1593"/>
                    <a:pt x="1425" y="1580"/>
                    <a:pt x="1427" y="1567"/>
                  </a:cubicBezTo>
                  <a:cubicBezTo>
                    <a:pt x="1427" y="1566"/>
                    <a:pt x="1427" y="1566"/>
                    <a:pt x="1427" y="1566"/>
                  </a:cubicBezTo>
                  <a:cubicBezTo>
                    <a:pt x="1427" y="1566"/>
                    <a:pt x="1427" y="1566"/>
                    <a:pt x="1427" y="1565"/>
                  </a:cubicBezTo>
                  <a:cubicBezTo>
                    <a:pt x="1432" y="1536"/>
                    <a:pt x="1490" y="1543"/>
                    <a:pt x="1511" y="1543"/>
                  </a:cubicBezTo>
                  <a:close/>
                  <a:moveTo>
                    <a:pt x="1175" y="1631"/>
                  </a:moveTo>
                  <a:cubicBezTo>
                    <a:pt x="1173" y="1630"/>
                    <a:pt x="1172" y="1629"/>
                    <a:pt x="1170" y="1627"/>
                  </a:cubicBezTo>
                  <a:cubicBezTo>
                    <a:pt x="1169" y="1626"/>
                    <a:pt x="1169" y="1625"/>
                    <a:pt x="1168" y="1624"/>
                  </a:cubicBezTo>
                  <a:cubicBezTo>
                    <a:pt x="1168" y="1623"/>
                    <a:pt x="1168" y="1623"/>
                    <a:pt x="1168" y="1623"/>
                  </a:cubicBezTo>
                  <a:cubicBezTo>
                    <a:pt x="1166" y="1620"/>
                    <a:pt x="1166" y="1616"/>
                    <a:pt x="1167" y="1613"/>
                  </a:cubicBezTo>
                  <a:cubicBezTo>
                    <a:pt x="1169" y="1607"/>
                    <a:pt x="1169" y="1607"/>
                    <a:pt x="1169" y="1607"/>
                  </a:cubicBezTo>
                  <a:cubicBezTo>
                    <a:pt x="1169" y="1607"/>
                    <a:pt x="1169" y="1607"/>
                    <a:pt x="1169" y="1607"/>
                  </a:cubicBezTo>
                  <a:cubicBezTo>
                    <a:pt x="1169" y="1606"/>
                    <a:pt x="1169" y="1605"/>
                    <a:pt x="1170" y="1604"/>
                  </a:cubicBezTo>
                  <a:cubicBezTo>
                    <a:pt x="1181" y="1567"/>
                    <a:pt x="1181" y="1567"/>
                    <a:pt x="1181" y="1567"/>
                  </a:cubicBezTo>
                  <a:cubicBezTo>
                    <a:pt x="1181" y="1566"/>
                    <a:pt x="1181" y="1566"/>
                    <a:pt x="1182" y="1565"/>
                  </a:cubicBezTo>
                  <a:cubicBezTo>
                    <a:pt x="1193" y="1537"/>
                    <a:pt x="1244" y="1543"/>
                    <a:pt x="1268" y="1543"/>
                  </a:cubicBezTo>
                  <a:cubicBezTo>
                    <a:pt x="1278" y="1543"/>
                    <a:pt x="1297" y="1542"/>
                    <a:pt x="1314" y="1543"/>
                  </a:cubicBezTo>
                  <a:cubicBezTo>
                    <a:pt x="1317" y="1544"/>
                    <a:pt x="1320" y="1544"/>
                    <a:pt x="1323" y="1545"/>
                  </a:cubicBezTo>
                  <a:cubicBezTo>
                    <a:pt x="1323" y="1545"/>
                    <a:pt x="1323" y="1545"/>
                    <a:pt x="1324" y="1545"/>
                  </a:cubicBezTo>
                  <a:cubicBezTo>
                    <a:pt x="1332" y="1547"/>
                    <a:pt x="1339" y="1551"/>
                    <a:pt x="1342" y="1556"/>
                  </a:cubicBezTo>
                  <a:cubicBezTo>
                    <a:pt x="1342" y="1557"/>
                    <a:pt x="1342" y="1557"/>
                    <a:pt x="1343" y="1557"/>
                  </a:cubicBezTo>
                  <a:cubicBezTo>
                    <a:pt x="1343" y="1558"/>
                    <a:pt x="1343" y="1558"/>
                    <a:pt x="1343" y="1558"/>
                  </a:cubicBezTo>
                  <a:cubicBezTo>
                    <a:pt x="1343" y="1558"/>
                    <a:pt x="1343" y="1559"/>
                    <a:pt x="1343" y="1559"/>
                  </a:cubicBezTo>
                  <a:cubicBezTo>
                    <a:pt x="1344" y="1561"/>
                    <a:pt x="1345" y="1564"/>
                    <a:pt x="1344" y="1567"/>
                  </a:cubicBezTo>
                  <a:cubicBezTo>
                    <a:pt x="1344" y="1569"/>
                    <a:pt x="1344" y="1569"/>
                    <a:pt x="1344" y="1569"/>
                  </a:cubicBezTo>
                  <a:cubicBezTo>
                    <a:pt x="1344" y="1569"/>
                    <a:pt x="1344" y="1569"/>
                    <a:pt x="1344" y="1569"/>
                  </a:cubicBezTo>
                  <a:cubicBezTo>
                    <a:pt x="1343" y="1576"/>
                    <a:pt x="1341" y="1583"/>
                    <a:pt x="1340" y="1589"/>
                  </a:cubicBezTo>
                  <a:cubicBezTo>
                    <a:pt x="1336" y="1612"/>
                    <a:pt x="1336" y="1612"/>
                    <a:pt x="1336" y="1612"/>
                  </a:cubicBezTo>
                  <a:cubicBezTo>
                    <a:pt x="1336" y="1616"/>
                    <a:pt x="1334" y="1619"/>
                    <a:pt x="1331" y="1622"/>
                  </a:cubicBezTo>
                  <a:cubicBezTo>
                    <a:pt x="1331" y="1623"/>
                    <a:pt x="1330" y="1623"/>
                    <a:pt x="1330" y="1623"/>
                  </a:cubicBezTo>
                  <a:cubicBezTo>
                    <a:pt x="1330" y="1624"/>
                    <a:pt x="1329" y="1624"/>
                    <a:pt x="1329" y="1624"/>
                  </a:cubicBezTo>
                  <a:cubicBezTo>
                    <a:pt x="1328" y="1625"/>
                    <a:pt x="1327" y="1626"/>
                    <a:pt x="1326" y="1627"/>
                  </a:cubicBezTo>
                  <a:cubicBezTo>
                    <a:pt x="1320" y="1632"/>
                    <a:pt x="1312" y="1635"/>
                    <a:pt x="1305" y="1636"/>
                  </a:cubicBezTo>
                  <a:cubicBezTo>
                    <a:pt x="1305" y="1637"/>
                    <a:pt x="1305" y="1637"/>
                    <a:pt x="1305" y="1637"/>
                  </a:cubicBezTo>
                  <a:cubicBezTo>
                    <a:pt x="1304" y="1637"/>
                    <a:pt x="1304" y="1637"/>
                    <a:pt x="1304" y="1637"/>
                  </a:cubicBezTo>
                  <a:cubicBezTo>
                    <a:pt x="1302" y="1637"/>
                    <a:pt x="1300" y="1638"/>
                    <a:pt x="1297" y="1638"/>
                  </a:cubicBezTo>
                  <a:cubicBezTo>
                    <a:pt x="1297" y="1638"/>
                    <a:pt x="1296" y="1638"/>
                    <a:pt x="1295" y="1638"/>
                  </a:cubicBezTo>
                  <a:cubicBezTo>
                    <a:pt x="1292" y="1638"/>
                    <a:pt x="1290" y="1639"/>
                    <a:pt x="1287" y="1639"/>
                  </a:cubicBezTo>
                  <a:cubicBezTo>
                    <a:pt x="1287" y="1639"/>
                    <a:pt x="1287" y="1639"/>
                    <a:pt x="1287" y="1639"/>
                  </a:cubicBezTo>
                  <a:cubicBezTo>
                    <a:pt x="1204" y="1639"/>
                    <a:pt x="1204" y="1639"/>
                    <a:pt x="1204" y="1639"/>
                  </a:cubicBezTo>
                  <a:cubicBezTo>
                    <a:pt x="1194" y="1639"/>
                    <a:pt x="1183" y="1637"/>
                    <a:pt x="1175" y="1631"/>
                  </a:cubicBezTo>
                  <a:cubicBezTo>
                    <a:pt x="1175" y="1631"/>
                    <a:pt x="1175" y="1631"/>
                    <a:pt x="1175" y="1631"/>
                  </a:cubicBezTo>
                  <a:close/>
                  <a:moveTo>
                    <a:pt x="1278" y="1502"/>
                  </a:moveTo>
                  <a:cubicBezTo>
                    <a:pt x="1266" y="1502"/>
                    <a:pt x="1253" y="1502"/>
                    <a:pt x="1241" y="1502"/>
                  </a:cubicBezTo>
                  <a:cubicBezTo>
                    <a:pt x="1230" y="1502"/>
                    <a:pt x="1213" y="1500"/>
                    <a:pt x="1207" y="1489"/>
                  </a:cubicBezTo>
                  <a:cubicBezTo>
                    <a:pt x="1207" y="1488"/>
                    <a:pt x="1207" y="1487"/>
                    <a:pt x="1207" y="1486"/>
                  </a:cubicBezTo>
                  <a:cubicBezTo>
                    <a:pt x="1206" y="1486"/>
                    <a:pt x="1206" y="1485"/>
                    <a:pt x="1206" y="1484"/>
                  </a:cubicBezTo>
                  <a:cubicBezTo>
                    <a:pt x="1206" y="1483"/>
                    <a:pt x="1207" y="1482"/>
                    <a:pt x="1207" y="1481"/>
                  </a:cubicBezTo>
                  <a:cubicBezTo>
                    <a:pt x="1207" y="1481"/>
                    <a:pt x="1207" y="1481"/>
                    <a:pt x="1207" y="1481"/>
                  </a:cubicBezTo>
                  <a:cubicBezTo>
                    <a:pt x="1207" y="1481"/>
                    <a:pt x="1207" y="1481"/>
                    <a:pt x="1207" y="1481"/>
                  </a:cubicBezTo>
                  <a:cubicBezTo>
                    <a:pt x="1207" y="1478"/>
                    <a:pt x="1209" y="1474"/>
                    <a:pt x="1210" y="1472"/>
                  </a:cubicBezTo>
                  <a:cubicBezTo>
                    <a:pt x="1212" y="1463"/>
                    <a:pt x="1214" y="1453"/>
                    <a:pt x="1218" y="1445"/>
                  </a:cubicBezTo>
                  <a:cubicBezTo>
                    <a:pt x="1218" y="1444"/>
                    <a:pt x="1218" y="1444"/>
                    <a:pt x="1218" y="1444"/>
                  </a:cubicBezTo>
                  <a:cubicBezTo>
                    <a:pt x="1219" y="1441"/>
                    <a:pt x="1221" y="1438"/>
                    <a:pt x="1223" y="1436"/>
                  </a:cubicBezTo>
                  <a:cubicBezTo>
                    <a:pt x="1225" y="1435"/>
                    <a:pt x="1226" y="1434"/>
                    <a:pt x="1228" y="1433"/>
                  </a:cubicBezTo>
                  <a:cubicBezTo>
                    <a:pt x="1233" y="1429"/>
                    <a:pt x="1239" y="1427"/>
                    <a:pt x="1245" y="1426"/>
                  </a:cubicBezTo>
                  <a:cubicBezTo>
                    <a:pt x="1246" y="1426"/>
                    <a:pt x="1246" y="1426"/>
                    <a:pt x="1247" y="1426"/>
                  </a:cubicBezTo>
                  <a:cubicBezTo>
                    <a:pt x="1251" y="1425"/>
                    <a:pt x="1257" y="1424"/>
                    <a:pt x="1262" y="1424"/>
                  </a:cubicBezTo>
                  <a:cubicBezTo>
                    <a:pt x="1269" y="1424"/>
                    <a:pt x="1269" y="1424"/>
                    <a:pt x="1269" y="1424"/>
                  </a:cubicBezTo>
                  <a:cubicBezTo>
                    <a:pt x="1271" y="1424"/>
                    <a:pt x="1274" y="1424"/>
                    <a:pt x="1276" y="1424"/>
                  </a:cubicBezTo>
                  <a:cubicBezTo>
                    <a:pt x="1291" y="1424"/>
                    <a:pt x="1307" y="1424"/>
                    <a:pt x="1322" y="1424"/>
                  </a:cubicBezTo>
                  <a:cubicBezTo>
                    <a:pt x="1324" y="1424"/>
                    <a:pt x="1326" y="1424"/>
                    <a:pt x="1329" y="1424"/>
                  </a:cubicBezTo>
                  <a:cubicBezTo>
                    <a:pt x="1331" y="1424"/>
                    <a:pt x="1331" y="1424"/>
                    <a:pt x="1331" y="1424"/>
                  </a:cubicBezTo>
                  <a:cubicBezTo>
                    <a:pt x="1332" y="1424"/>
                    <a:pt x="1332" y="1424"/>
                    <a:pt x="1333" y="1424"/>
                  </a:cubicBezTo>
                  <a:cubicBezTo>
                    <a:pt x="1335" y="1424"/>
                    <a:pt x="1337" y="1424"/>
                    <a:pt x="1339" y="1425"/>
                  </a:cubicBezTo>
                  <a:cubicBezTo>
                    <a:pt x="1339" y="1425"/>
                    <a:pt x="1339" y="1425"/>
                    <a:pt x="1339" y="1425"/>
                  </a:cubicBezTo>
                  <a:cubicBezTo>
                    <a:pt x="1351" y="1426"/>
                    <a:pt x="1364" y="1429"/>
                    <a:pt x="1366" y="1439"/>
                  </a:cubicBezTo>
                  <a:cubicBezTo>
                    <a:pt x="1366" y="1439"/>
                    <a:pt x="1366" y="1440"/>
                    <a:pt x="1366" y="1440"/>
                  </a:cubicBezTo>
                  <a:cubicBezTo>
                    <a:pt x="1366" y="1440"/>
                    <a:pt x="1366" y="1440"/>
                    <a:pt x="1366" y="1441"/>
                  </a:cubicBezTo>
                  <a:cubicBezTo>
                    <a:pt x="1367" y="1452"/>
                    <a:pt x="1362" y="1467"/>
                    <a:pt x="1360" y="1478"/>
                  </a:cubicBezTo>
                  <a:cubicBezTo>
                    <a:pt x="1360" y="1478"/>
                    <a:pt x="1360" y="1478"/>
                    <a:pt x="1360" y="1478"/>
                  </a:cubicBezTo>
                  <a:cubicBezTo>
                    <a:pt x="1359" y="1481"/>
                    <a:pt x="1359" y="1481"/>
                    <a:pt x="1359" y="1481"/>
                  </a:cubicBezTo>
                  <a:cubicBezTo>
                    <a:pt x="1359" y="1483"/>
                    <a:pt x="1358" y="1485"/>
                    <a:pt x="1356" y="1487"/>
                  </a:cubicBezTo>
                  <a:cubicBezTo>
                    <a:pt x="1356" y="1488"/>
                    <a:pt x="1355" y="1488"/>
                    <a:pt x="1355" y="1489"/>
                  </a:cubicBezTo>
                  <a:cubicBezTo>
                    <a:pt x="1355" y="1489"/>
                    <a:pt x="1355" y="1489"/>
                    <a:pt x="1355" y="1489"/>
                  </a:cubicBezTo>
                  <a:cubicBezTo>
                    <a:pt x="1355" y="1489"/>
                    <a:pt x="1355" y="1489"/>
                    <a:pt x="1354" y="1489"/>
                  </a:cubicBezTo>
                  <a:cubicBezTo>
                    <a:pt x="1339" y="1507"/>
                    <a:pt x="1298" y="1502"/>
                    <a:pt x="1278" y="1502"/>
                  </a:cubicBezTo>
                  <a:close/>
                  <a:moveTo>
                    <a:pt x="911" y="1620"/>
                  </a:moveTo>
                  <a:cubicBezTo>
                    <a:pt x="911" y="1619"/>
                    <a:pt x="911" y="1618"/>
                    <a:pt x="911" y="1618"/>
                  </a:cubicBezTo>
                  <a:cubicBezTo>
                    <a:pt x="912" y="1616"/>
                    <a:pt x="912" y="1615"/>
                    <a:pt x="913" y="1614"/>
                  </a:cubicBezTo>
                  <a:cubicBezTo>
                    <a:pt x="913" y="1614"/>
                    <a:pt x="913" y="1614"/>
                    <a:pt x="913" y="1613"/>
                  </a:cubicBezTo>
                  <a:cubicBezTo>
                    <a:pt x="913" y="1612"/>
                    <a:pt x="913" y="1612"/>
                    <a:pt x="913" y="1612"/>
                  </a:cubicBezTo>
                  <a:cubicBezTo>
                    <a:pt x="914" y="1611"/>
                    <a:pt x="915" y="1609"/>
                    <a:pt x="916" y="1607"/>
                  </a:cubicBezTo>
                  <a:cubicBezTo>
                    <a:pt x="922" y="1594"/>
                    <a:pt x="928" y="1582"/>
                    <a:pt x="935" y="1569"/>
                  </a:cubicBezTo>
                  <a:cubicBezTo>
                    <a:pt x="935" y="1569"/>
                    <a:pt x="935" y="1569"/>
                    <a:pt x="935" y="1569"/>
                  </a:cubicBezTo>
                  <a:cubicBezTo>
                    <a:pt x="935" y="1568"/>
                    <a:pt x="935" y="1568"/>
                    <a:pt x="935" y="1568"/>
                  </a:cubicBezTo>
                  <a:cubicBezTo>
                    <a:pt x="936" y="1567"/>
                    <a:pt x="936" y="1566"/>
                    <a:pt x="937" y="1566"/>
                  </a:cubicBezTo>
                  <a:cubicBezTo>
                    <a:pt x="937" y="1565"/>
                    <a:pt x="938" y="1564"/>
                    <a:pt x="938" y="1563"/>
                  </a:cubicBezTo>
                  <a:cubicBezTo>
                    <a:pt x="938" y="1563"/>
                    <a:pt x="938" y="1563"/>
                    <a:pt x="939" y="1563"/>
                  </a:cubicBezTo>
                  <a:cubicBezTo>
                    <a:pt x="956" y="1539"/>
                    <a:pt x="997" y="1544"/>
                    <a:pt x="1023" y="1544"/>
                  </a:cubicBezTo>
                  <a:cubicBezTo>
                    <a:pt x="1023" y="1544"/>
                    <a:pt x="1023" y="1544"/>
                    <a:pt x="1023" y="1544"/>
                  </a:cubicBezTo>
                  <a:cubicBezTo>
                    <a:pt x="1030" y="1544"/>
                    <a:pt x="1049" y="1542"/>
                    <a:pt x="1066" y="1544"/>
                  </a:cubicBezTo>
                  <a:cubicBezTo>
                    <a:pt x="1071" y="1544"/>
                    <a:pt x="1077" y="1544"/>
                    <a:pt x="1081" y="1545"/>
                  </a:cubicBezTo>
                  <a:cubicBezTo>
                    <a:pt x="1084" y="1546"/>
                    <a:pt x="1087" y="1547"/>
                    <a:pt x="1089" y="1548"/>
                  </a:cubicBezTo>
                  <a:cubicBezTo>
                    <a:pt x="1095" y="1551"/>
                    <a:pt x="1099" y="1556"/>
                    <a:pt x="1099" y="1562"/>
                  </a:cubicBezTo>
                  <a:cubicBezTo>
                    <a:pt x="1099" y="1562"/>
                    <a:pt x="1099" y="1562"/>
                    <a:pt x="1099" y="1562"/>
                  </a:cubicBezTo>
                  <a:cubicBezTo>
                    <a:pt x="1099" y="1563"/>
                    <a:pt x="1099" y="1563"/>
                    <a:pt x="1099" y="1564"/>
                  </a:cubicBezTo>
                  <a:cubicBezTo>
                    <a:pt x="1099" y="1565"/>
                    <a:pt x="1099" y="1566"/>
                    <a:pt x="1099" y="1567"/>
                  </a:cubicBezTo>
                  <a:cubicBezTo>
                    <a:pt x="1082" y="1613"/>
                    <a:pt x="1082" y="1613"/>
                    <a:pt x="1082" y="1613"/>
                  </a:cubicBezTo>
                  <a:cubicBezTo>
                    <a:pt x="1081" y="1617"/>
                    <a:pt x="1078" y="1620"/>
                    <a:pt x="1075" y="1623"/>
                  </a:cubicBezTo>
                  <a:cubicBezTo>
                    <a:pt x="1071" y="1626"/>
                    <a:pt x="1067" y="1629"/>
                    <a:pt x="1062" y="1631"/>
                  </a:cubicBezTo>
                  <a:cubicBezTo>
                    <a:pt x="1062" y="1632"/>
                    <a:pt x="1061" y="1632"/>
                    <a:pt x="1061" y="1632"/>
                  </a:cubicBezTo>
                  <a:cubicBezTo>
                    <a:pt x="1054" y="1635"/>
                    <a:pt x="1047" y="1637"/>
                    <a:pt x="1039" y="1639"/>
                  </a:cubicBezTo>
                  <a:cubicBezTo>
                    <a:pt x="1038" y="1639"/>
                    <a:pt x="1038" y="1639"/>
                    <a:pt x="1038" y="1639"/>
                  </a:cubicBezTo>
                  <a:cubicBezTo>
                    <a:pt x="1036" y="1639"/>
                    <a:pt x="1035" y="1639"/>
                    <a:pt x="1034" y="1639"/>
                  </a:cubicBezTo>
                  <a:cubicBezTo>
                    <a:pt x="1020" y="1640"/>
                    <a:pt x="1005" y="1639"/>
                    <a:pt x="990" y="1639"/>
                  </a:cubicBezTo>
                  <a:cubicBezTo>
                    <a:pt x="975" y="1639"/>
                    <a:pt x="960" y="1640"/>
                    <a:pt x="945" y="1640"/>
                  </a:cubicBezTo>
                  <a:cubicBezTo>
                    <a:pt x="935" y="1640"/>
                    <a:pt x="920" y="1638"/>
                    <a:pt x="914" y="1628"/>
                  </a:cubicBezTo>
                  <a:cubicBezTo>
                    <a:pt x="913" y="1628"/>
                    <a:pt x="913" y="1628"/>
                    <a:pt x="913" y="1627"/>
                  </a:cubicBezTo>
                  <a:cubicBezTo>
                    <a:pt x="913" y="1627"/>
                    <a:pt x="912" y="1626"/>
                    <a:pt x="912" y="1626"/>
                  </a:cubicBezTo>
                  <a:cubicBezTo>
                    <a:pt x="912" y="1625"/>
                    <a:pt x="912" y="1624"/>
                    <a:pt x="911" y="1624"/>
                  </a:cubicBezTo>
                  <a:cubicBezTo>
                    <a:pt x="911" y="1624"/>
                    <a:pt x="911" y="1624"/>
                    <a:pt x="911" y="1624"/>
                  </a:cubicBezTo>
                  <a:cubicBezTo>
                    <a:pt x="911" y="1623"/>
                    <a:pt x="911" y="1623"/>
                    <a:pt x="911" y="1623"/>
                  </a:cubicBezTo>
                  <a:cubicBezTo>
                    <a:pt x="911" y="1622"/>
                    <a:pt x="911" y="1621"/>
                    <a:pt x="911" y="1620"/>
                  </a:cubicBezTo>
                  <a:close/>
                  <a:moveTo>
                    <a:pt x="910" y="1465"/>
                  </a:moveTo>
                  <a:cubicBezTo>
                    <a:pt x="910" y="1465"/>
                    <a:pt x="910" y="1465"/>
                    <a:pt x="910" y="1465"/>
                  </a:cubicBezTo>
                  <a:cubicBezTo>
                    <a:pt x="900" y="1482"/>
                    <a:pt x="900" y="1482"/>
                    <a:pt x="900" y="1482"/>
                  </a:cubicBezTo>
                  <a:cubicBezTo>
                    <a:pt x="899" y="1485"/>
                    <a:pt x="896" y="1488"/>
                    <a:pt x="893" y="1490"/>
                  </a:cubicBezTo>
                  <a:cubicBezTo>
                    <a:pt x="889" y="1493"/>
                    <a:pt x="885" y="1495"/>
                    <a:pt x="880" y="1497"/>
                  </a:cubicBezTo>
                  <a:cubicBezTo>
                    <a:pt x="879" y="1497"/>
                    <a:pt x="878" y="1498"/>
                    <a:pt x="876" y="1498"/>
                  </a:cubicBezTo>
                  <a:cubicBezTo>
                    <a:pt x="876" y="1499"/>
                    <a:pt x="875" y="1499"/>
                    <a:pt x="874" y="1499"/>
                  </a:cubicBezTo>
                  <a:cubicBezTo>
                    <a:pt x="874" y="1499"/>
                    <a:pt x="874" y="1499"/>
                    <a:pt x="874" y="1499"/>
                  </a:cubicBezTo>
                  <a:cubicBezTo>
                    <a:pt x="871" y="1500"/>
                    <a:pt x="868" y="1501"/>
                    <a:pt x="865" y="1502"/>
                  </a:cubicBezTo>
                  <a:cubicBezTo>
                    <a:pt x="859" y="1503"/>
                    <a:pt x="854" y="1503"/>
                    <a:pt x="848" y="1503"/>
                  </a:cubicBezTo>
                  <a:cubicBezTo>
                    <a:pt x="832" y="1503"/>
                    <a:pt x="832" y="1503"/>
                    <a:pt x="832" y="1503"/>
                  </a:cubicBezTo>
                  <a:cubicBezTo>
                    <a:pt x="832" y="1503"/>
                    <a:pt x="832" y="1503"/>
                    <a:pt x="832" y="1503"/>
                  </a:cubicBezTo>
                  <a:cubicBezTo>
                    <a:pt x="812" y="1503"/>
                    <a:pt x="793" y="1504"/>
                    <a:pt x="774" y="1504"/>
                  </a:cubicBezTo>
                  <a:cubicBezTo>
                    <a:pt x="765" y="1504"/>
                    <a:pt x="747" y="1502"/>
                    <a:pt x="745" y="1491"/>
                  </a:cubicBezTo>
                  <a:cubicBezTo>
                    <a:pt x="745" y="1489"/>
                    <a:pt x="745" y="1488"/>
                    <a:pt x="746" y="1486"/>
                  </a:cubicBezTo>
                  <a:cubicBezTo>
                    <a:pt x="747" y="1482"/>
                    <a:pt x="751" y="1478"/>
                    <a:pt x="753" y="1475"/>
                  </a:cubicBezTo>
                  <a:cubicBezTo>
                    <a:pt x="760" y="1464"/>
                    <a:pt x="766" y="1452"/>
                    <a:pt x="775" y="1443"/>
                  </a:cubicBezTo>
                  <a:cubicBezTo>
                    <a:pt x="775" y="1442"/>
                    <a:pt x="776" y="1442"/>
                    <a:pt x="776" y="1441"/>
                  </a:cubicBezTo>
                  <a:cubicBezTo>
                    <a:pt x="776" y="1441"/>
                    <a:pt x="777" y="1441"/>
                    <a:pt x="777" y="1441"/>
                  </a:cubicBezTo>
                  <a:cubicBezTo>
                    <a:pt x="799" y="1419"/>
                    <a:pt x="845" y="1425"/>
                    <a:pt x="873" y="1425"/>
                  </a:cubicBezTo>
                  <a:cubicBezTo>
                    <a:pt x="886" y="1425"/>
                    <a:pt x="901" y="1423"/>
                    <a:pt x="913" y="1428"/>
                  </a:cubicBezTo>
                  <a:cubicBezTo>
                    <a:pt x="913" y="1428"/>
                    <a:pt x="913" y="1428"/>
                    <a:pt x="913" y="1428"/>
                  </a:cubicBezTo>
                  <a:cubicBezTo>
                    <a:pt x="915" y="1429"/>
                    <a:pt x="916" y="1430"/>
                    <a:pt x="917" y="1430"/>
                  </a:cubicBezTo>
                  <a:cubicBezTo>
                    <a:pt x="917" y="1430"/>
                    <a:pt x="917" y="1431"/>
                    <a:pt x="918" y="1431"/>
                  </a:cubicBezTo>
                  <a:cubicBezTo>
                    <a:pt x="920" y="1432"/>
                    <a:pt x="922" y="1435"/>
                    <a:pt x="922" y="1437"/>
                  </a:cubicBezTo>
                  <a:cubicBezTo>
                    <a:pt x="923" y="1439"/>
                    <a:pt x="923" y="1442"/>
                    <a:pt x="921" y="1444"/>
                  </a:cubicBezTo>
                  <a:cubicBezTo>
                    <a:pt x="920" y="1446"/>
                    <a:pt x="920" y="1446"/>
                    <a:pt x="920" y="1446"/>
                  </a:cubicBezTo>
                  <a:cubicBezTo>
                    <a:pt x="918" y="1452"/>
                    <a:pt x="913" y="1460"/>
                    <a:pt x="910" y="1465"/>
                  </a:cubicBezTo>
                  <a:close/>
                  <a:moveTo>
                    <a:pt x="1095" y="1502"/>
                  </a:moveTo>
                  <a:cubicBezTo>
                    <a:pt x="1093" y="1502"/>
                    <a:pt x="1091" y="1502"/>
                    <a:pt x="1089" y="1502"/>
                  </a:cubicBezTo>
                  <a:cubicBezTo>
                    <a:pt x="1089" y="1502"/>
                    <a:pt x="1089" y="1503"/>
                    <a:pt x="1088" y="1503"/>
                  </a:cubicBezTo>
                  <a:cubicBezTo>
                    <a:pt x="1077" y="1504"/>
                    <a:pt x="1066" y="1503"/>
                    <a:pt x="1054" y="1503"/>
                  </a:cubicBezTo>
                  <a:cubicBezTo>
                    <a:pt x="1007" y="1503"/>
                    <a:pt x="1007" y="1503"/>
                    <a:pt x="1007" y="1503"/>
                  </a:cubicBezTo>
                  <a:cubicBezTo>
                    <a:pt x="997" y="1503"/>
                    <a:pt x="980" y="1501"/>
                    <a:pt x="976" y="1490"/>
                  </a:cubicBezTo>
                  <a:cubicBezTo>
                    <a:pt x="976" y="1489"/>
                    <a:pt x="976" y="1488"/>
                    <a:pt x="976" y="1487"/>
                  </a:cubicBezTo>
                  <a:cubicBezTo>
                    <a:pt x="976" y="1486"/>
                    <a:pt x="976" y="1486"/>
                    <a:pt x="976" y="1485"/>
                  </a:cubicBezTo>
                  <a:cubicBezTo>
                    <a:pt x="977" y="1481"/>
                    <a:pt x="980" y="1477"/>
                    <a:pt x="982" y="1473"/>
                  </a:cubicBezTo>
                  <a:cubicBezTo>
                    <a:pt x="986" y="1463"/>
                    <a:pt x="990" y="1449"/>
                    <a:pt x="998" y="1441"/>
                  </a:cubicBezTo>
                  <a:cubicBezTo>
                    <a:pt x="998" y="1440"/>
                    <a:pt x="999" y="1440"/>
                    <a:pt x="999" y="1440"/>
                  </a:cubicBezTo>
                  <a:cubicBezTo>
                    <a:pt x="1000" y="1439"/>
                    <a:pt x="1000" y="1439"/>
                    <a:pt x="1000" y="1438"/>
                  </a:cubicBezTo>
                  <a:cubicBezTo>
                    <a:pt x="1001" y="1438"/>
                    <a:pt x="1001" y="1438"/>
                    <a:pt x="1001" y="1438"/>
                  </a:cubicBezTo>
                  <a:cubicBezTo>
                    <a:pt x="1002" y="1437"/>
                    <a:pt x="1002" y="1437"/>
                    <a:pt x="1002" y="1437"/>
                  </a:cubicBezTo>
                  <a:cubicBezTo>
                    <a:pt x="1003" y="1436"/>
                    <a:pt x="1003" y="1436"/>
                    <a:pt x="1003" y="1436"/>
                  </a:cubicBezTo>
                  <a:cubicBezTo>
                    <a:pt x="1010" y="1431"/>
                    <a:pt x="1018" y="1428"/>
                    <a:pt x="1027" y="1427"/>
                  </a:cubicBezTo>
                  <a:cubicBezTo>
                    <a:pt x="1027" y="1427"/>
                    <a:pt x="1027" y="1426"/>
                    <a:pt x="1028" y="1426"/>
                  </a:cubicBezTo>
                  <a:cubicBezTo>
                    <a:pt x="1033" y="1425"/>
                    <a:pt x="1038" y="1425"/>
                    <a:pt x="1043" y="1425"/>
                  </a:cubicBezTo>
                  <a:cubicBezTo>
                    <a:pt x="1072" y="1425"/>
                    <a:pt x="1072" y="1425"/>
                    <a:pt x="1072" y="1425"/>
                  </a:cubicBezTo>
                  <a:cubicBezTo>
                    <a:pt x="1081" y="1425"/>
                    <a:pt x="1090" y="1425"/>
                    <a:pt x="1099" y="1425"/>
                  </a:cubicBezTo>
                  <a:cubicBezTo>
                    <a:pt x="1112" y="1425"/>
                    <a:pt x="1130" y="1423"/>
                    <a:pt x="1140" y="1432"/>
                  </a:cubicBezTo>
                  <a:cubicBezTo>
                    <a:pt x="1140" y="1433"/>
                    <a:pt x="1141" y="1433"/>
                    <a:pt x="1141" y="1434"/>
                  </a:cubicBezTo>
                  <a:cubicBezTo>
                    <a:pt x="1142" y="1434"/>
                    <a:pt x="1142" y="1434"/>
                    <a:pt x="1142" y="1434"/>
                  </a:cubicBezTo>
                  <a:cubicBezTo>
                    <a:pt x="1142" y="1434"/>
                    <a:pt x="1142" y="1435"/>
                    <a:pt x="1142" y="1435"/>
                  </a:cubicBezTo>
                  <a:cubicBezTo>
                    <a:pt x="1143" y="1435"/>
                    <a:pt x="1143" y="1436"/>
                    <a:pt x="1143" y="1436"/>
                  </a:cubicBezTo>
                  <a:cubicBezTo>
                    <a:pt x="1144" y="1438"/>
                    <a:pt x="1144" y="1440"/>
                    <a:pt x="1144" y="1442"/>
                  </a:cubicBezTo>
                  <a:cubicBezTo>
                    <a:pt x="1143" y="1452"/>
                    <a:pt x="1135" y="1467"/>
                    <a:pt x="1133" y="1473"/>
                  </a:cubicBezTo>
                  <a:cubicBezTo>
                    <a:pt x="1133" y="1474"/>
                    <a:pt x="1133" y="1474"/>
                    <a:pt x="1133" y="1474"/>
                  </a:cubicBezTo>
                  <a:cubicBezTo>
                    <a:pt x="1132" y="1476"/>
                    <a:pt x="1131" y="1478"/>
                    <a:pt x="1130" y="1480"/>
                  </a:cubicBezTo>
                  <a:cubicBezTo>
                    <a:pt x="1130" y="1481"/>
                    <a:pt x="1130" y="1481"/>
                    <a:pt x="1130" y="1481"/>
                  </a:cubicBezTo>
                  <a:cubicBezTo>
                    <a:pt x="1130" y="1482"/>
                    <a:pt x="1129" y="1483"/>
                    <a:pt x="1129" y="1483"/>
                  </a:cubicBezTo>
                  <a:cubicBezTo>
                    <a:pt x="1129" y="1484"/>
                    <a:pt x="1128" y="1484"/>
                    <a:pt x="1128" y="1485"/>
                  </a:cubicBezTo>
                  <a:cubicBezTo>
                    <a:pt x="1128" y="1485"/>
                    <a:pt x="1127" y="1486"/>
                    <a:pt x="1127" y="1487"/>
                  </a:cubicBezTo>
                  <a:cubicBezTo>
                    <a:pt x="1126" y="1487"/>
                    <a:pt x="1126" y="1487"/>
                    <a:pt x="1126" y="1488"/>
                  </a:cubicBezTo>
                  <a:cubicBezTo>
                    <a:pt x="1125" y="1488"/>
                    <a:pt x="1125" y="1488"/>
                    <a:pt x="1125" y="1488"/>
                  </a:cubicBezTo>
                  <a:cubicBezTo>
                    <a:pt x="1124" y="1489"/>
                    <a:pt x="1124" y="1489"/>
                    <a:pt x="1124" y="1490"/>
                  </a:cubicBezTo>
                  <a:cubicBezTo>
                    <a:pt x="1122" y="1491"/>
                    <a:pt x="1121" y="1492"/>
                    <a:pt x="1119" y="1493"/>
                  </a:cubicBezTo>
                  <a:cubicBezTo>
                    <a:pt x="1117" y="1494"/>
                    <a:pt x="1115" y="1495"/>
                    <a:pt x="1114" y="1496"/>
                  </a:cubicBezTo>
                  <a:cubicBezTo>
                    <a:pt x="1113" y="1496"/>
                    <a:pt x="1113" y="1496"/>
                    <a:pt x="1113" y="1496"/>
                  </a:cubicBezTo>
                  <a:cubicBezTo>
                    <a:pt x="1112" y="1497"/>
                    <a:pt x="1112" y="1497"/>
                    <a:pt x="1112" y="1497"/>
                  </a:cubicBezTo>
                  <a:cubicBezTo>
                    <a:pt x="1106" y="1499"/>
                    <a:pt x="1100" y="1501"/>
                    <a:pt x="1095" y="1502"/>
                  </a:cubicBezTo>
                  <a:close/>
                  <a:moveTo>
                    <a:pt x="773" y="1710"/>
                  </a:moveTo>
                  <a:cubicBezTo>
                    <a:pt x="773" y="1710"/>
                    <a:pt x="773" y="1710"/>
                    <a:pt x="773" y="1710"/>
                  </a:cubicBezTo>
                  <a:cubicBezTo>
                    <a:pt x="771" y="1721"/>
                    <a:pt x="762" y="1732"/>
                    <a:pt x="756" y="1742"/>
                  </a:cubicBezTo>
                  <a:cubicBezTo>
                    <a:pt x="756" y="1742"/>
                    <a:pt x="756" y="1742"/>
                    <a:pt x="756" y="1742"/>
                  </a:cubicBezTo>
                  <a:cubicBezTo>
                    <a:pt x="750" y="1753"/>
                    <a:pt x="744" y="1767"/>
                    <a:pt x="736" y="1777"/>
                  </a:cubicBezTo>
                  <a:cubicBezTo>
                    <a:pt x="735" y="1778"/>
                    <a:pt x="735" y="1779"/>
                    <a:pt x="734" y="1781"/>
                  </a:cubicBezTo>
                  <a:cubicBezTo>
                    <a:pt x="734" y="1781"/>
                    <a:pt x="733" y="1781"/>
                    <a:pt x="733" y="1781"/>
                  </a:cubicBezTo>
                  <a:cubicBezTo>
                    <a:pt x="732" y="1782"/>
                    <a:pt x="731" y="1783"/>
                    <a:pt x="730" y="1784"/>
                  </a:cubicBezTo>
                  <a:cubicBezTo>
                    <a:pt x="729" y="1785"/>
                    <a:pt x="729" y="1785"/>
                    <a:pt x="728" y="1786"/>
                  </a:cubicBezTo>
                  <a:cubicBezTo>
                    <a:pt x="728" y="1786"/>
                    <a:pt x="728" y="1786"/>
                    <a:pt x="728" y="1786"/>
                  </a:cubicBezTo>
                  <a:cubicBezTo>
                    <a:pt x="719" y="1794"/>
                    <a:pt x="708" y="1799"/>
                    <a:pt x="696" y="1802"/>
                  </a:cubicBezTo>
                  <a:cubicBezTo>
                    <a:pt x="695" y="1803"/>
                    <a:pt x="693" y="1803"/>
                    <a:pt x="692" y="1804"/>
                  </a:cubicBezTo>
                  <a:cubicBezTo>
                    <a:pt x="685" y="1805"/>
                    <a:pt x="678" y="1806"/>
                    <a:pt x="671" y="1806"/>
                  </a:cubicBezTo>
                  <a:cubicBezTo>
                    <a:pt x="665" y="1806"/>
                    <a:pt x="665" y="1806"/>
                    <a:pt x="665" y="1806"/>
                  </a:cubicBezTo>
                  <a:cubicBezTo>
                    <a:pt x="665" y="1806"/>
                    <a:pt x="665" y="1806"/>
                    <a:pt x="665" y="1806"/>
                  </a:cubicBezTo>
                  <a:cubicBezTo>
                    <a:pt x="636" y="1806"/>
                    <a:pt x="607" y="1807"/>
                    <a:pt x="578" y="1807"/>
                  </a:cubicBezTo>
                  <a:cubicBezTo>
                    <a:pt x="575" y="1807"/>
                    <a:pt x="573" y="1806"/>
                    <a:pt x="571" y="1806"/>
                  </a:cubicBezTo>
                  <a:cubicBezTo>
                    <a:pt x="567" y="1806"/>
                    <a:pt x="563" y="1805"/>
                    <a:pt x="560" y="1804"/>
                  </a:cubicBezTo>
                  <a:cubicBezTo>
                    <a:pt x="555" y="1802"/>
                    <a:pt x="551" y="1800"/>
                    <a:pt x="549" y="1797"/>
                  </a:cubicBezTo>
                  <a:cubicBezTo>
                    <a:pt x="546" y="1794"/>
                    <a:pt x="545" y="1790"/>
                    <a:pt x="545" y="1786"/>
                  </a:cubicBezTo>
                  <a:cubicBezTo>
                    <a:pt x="545" y="1783"/>
                    <a:pt x="546" y="1780"/>
                    <a:pt x="548" y="1777"/>
                  </a:cubicBezTo>
                  <a:cubicBezTo>
                    <a:pt x="548" y="1776"/>
                    <a:pt x="549" y="1776"/>
                    <a:pt x="549" y="1776"/>
                  </a:cubicBezTo>
                  <a:cubicBezTo>
                    <a:pt x="549" y="1775"/>
                    <a:pt x="549" y="1774"/>
                    <a:pt x="550" y="1774"/>
                  </a:cubicBezTo>
                  <a:cubicBezTo>
                    <a:pt x="551" y="1772"/>
                    <a:pt x="551" y="1772"/>
                    <a:pt x="551" y="1772"/>
                  </a:cubicBezTo>
                  <a:cubicBezTo>
                    <a:pt x="551" y="1772"/>
                    <a:pt x="551" y="1772"/>
                    <a:pt x="551" y="1772"/>
                  </a:cubicBezTo>
                  <a:cubicBezTo>
                    <a:pt x="558" y="1761"/>
                    <a:pt x="566" y="1750"/>
                    <a:pt x="574" y="1739"/>
                  </a:cubicBezTo>
                  <a:cubicBezTo>
                    <a:pt x="579" y="1730"/>
                    <a:pt x="585" y="1720"/>
                    <a:pt x="592" y="1713"/>
                  </a:cubicBezTo>
                  <a:cubicBezTo>
                    <a:pt x="593" y="1712"/>
                    <a:pt x="593" y="1711"/>
                    <a:pt x="594" y="1710"/>
                  </a:cubicBezTo>
                  <a:cubicBezTo>
                    <a:pt x="594" y="1710"/>
                    <a:pt x="595" y="1710"/>
                    <a:pt x="595" y="1710"/>
                  </a:cubicBezTo>
                  <a:cubicBezTo>
                    <a:pt x="596" y="1708"/>
                    <a:pt x="598" y="1707"/>
                    <a:pt x="600" y="1705"/>
                  </a:cubicBezTo>
                  <a:cubicBezTo>
                    <a:pt x="600" y="1705"/>
                    <a:pt x="600" y="1705"/>
                    <a:pt x="600" y="1705"/>
                  </a:cubicBezTo>
                  <a:cubicBezTo>
                    <a:pt x="600" y="1705"/>
                    <a:pt x="600" y="1705"/>
                    <a:pt x="600" y="1705"/>
                  </a:cubicBezTo>
                  <a:cubicBezTo>
                    <a:pt x="610" y="1697"/>
                    <a:pt x="622" y="1692"/>
                    <a:pt x="635" y="1690"/>
                  </a:cubicBezTo>
                  <a:cubicBezTo>
                    <a:pt x="635" y="1690"/>
                    <a:pt x="635" y="1690"/>
                    <a:pt x="635" y="1690"/>
                  </a:cubicBezTo>
                  <a:cubicBezTo>
                    <a:pt x="636" y="1690"/>
                    <a:pt x="636" y="1690"/>
                    <a:pt x="636" y="1690"/>
                  </a:cubicBezTo>
                  <a:cubicBezTo>
                    <a:pt x="638" y="1689"/>
                    <a:pt x="640" y="1689"/>
                    <a:pt x="643" y="1688"/>
                  </a:cubicBezTo>
                  <a:cubicBezTo>
                    <a:pt x="644" y="1688"/>
                    <a:pt x="646" y="1688"/>
                    <a:pt x="647" y="1688"/>
                  </a:cubicBezTo>
                  <a:cubicBezTo>
                    <a:pt x="649" y="1688"/>
                    <a:pt x="650" y="1688"/>
                    <a:pt x="652" y="1688"/>
                  </a:cubicBezTo>
                  <a:cubicBezTo>
                    <a:pt x="653" y="1687"/>
                    <a:pt x="654" y="1687"/>
                    <a:pt x="655" y="1687"/>
                  </a:cubicBezTo>
                  <a:cubicBezTo>
                    <a:pt x="656" y="1687"/>
                    <a:pt x="656" y="1687"/>
                    <a:pt x="656" y="1687"/>
                  </a:cubicBezTo>
                  <a:cubicBezTo>
                    <a:pt x="656" y="1687"/>
                    <a:pt x="656" y="1687"/>
                    <a:pt x="656" y="1687"/>
                  </a:cubicBezTo>
                  <a:cubicBezTo>
                    <a:pt x="683" y="1687"/>
                    <a:pt x="709" y="1687"/>
                    <a:pt x="736" y="1687"/>
                  </a:cubicBezTo>
                  <a:cubicBezTo>
                    <a:pt x="736" y="1687"/>
                    <a:pt x="736" y="1687"/>
                    <a:pt x="736" y="1687"/>
                  </a:cubicBezTo>
                  <a:cubicBezTo>
                    <a:pt x="740" y="1687"/>
                    <a:pt x="740" y="1687"/>
                    <a:pt x="740" y="1687"/>
                  </a:cubicBezTo>
                  <a:cubicBezTo>
                    <a:pt x="747" y="1687"/>
                    <a:pt x="753" y="1688"/>
                    <a:pt x="757" y="1689"/>
                  </a:cubicBezTo>
                  <a:cubicBezTo>
                    <a:pt x="759" y="1690"/>
                    <a:pt x="760" y="1690"/>
                    <a:pt x="761" y="1691"/>
                  </a:cubicBezTo>
                  <a:cubicBezTo>
                    <a:pt x="761" y="1691"/>
                    <a:pt x="762" y="1691"/>
                    <a:pt x="763" y="1691"/>
                  </a:cubicBezTo>
                  <a:cubicBezTo>
                    <a:pt x="763" y="1692"/>
                    <a:pt x="763" y="1692"/>
                    <a:pt x="764" y="1692"/>
                  </a:cubicBezTo>
                  <a:cubicBezTo>
                    <a:pt x="771" y="1695"/>
                    <a:pt x="775" y="1701"/>
                    <a:pt x="773" y="1710"/>
                  </a:cubicBezTo>
                  <a:close/>
                  <a:moveTo>
                    <a:pt x="828" y="1613"/>
                  </a:moveTo>
                  <a:cubicBezTo>
                    <a:pt x="827" y="1614"/>
                    <a:pt x="827" y="1614"/>
                    <a:pt x="827" y="1614"/>
                  </a:cubicBezTo>
                  <a:cubicBezTo>
                    <a:pt x="827" y="1614"/>
                    <a:pt x="827" y="1614"/>
                    <a:pt x="827" y="1614"/>
                  </a:cubicBezTo>
                  <a:cubicBezTo>
                    <a:pt x="826" y="1616"/>
                    <a:pt x="825" y="1617"/>
                    <a:pt x="824" y="1619"/>
                  </a:cubicBezTo>
                  <a:cubicBezTo>
                    <a:pt x="824" y="1619"/>
                    <a:pt x="824" y="1619"/>
                    <a:pt x="823" y="1619"/>
                  </a:cubicBezTo>
                  <a:cubicBezTo>
                    <a:pt x="817" y="1627"/>
                    <a:pt x="807" y="1632"/>
                    <a:pt x="797" y="1635"/>
                  </a:cubicBezTo>
                  <a:cubicBezTo>
                    <a:pt x="797" y="1635"/>
                    <a:pt x="797" y="1635"/>
                    <a:pt x="797" y="1635"/>
                  </a:cubicBezTo>
                  <a:cubicBezTo>
                    <a:pt x="795" y="1636"/>
                    <a:pt x="794" y="1636"/>
                    <a:pt x="792" y="1636"/>
                  </a:cubicBezTo>
                  <a:cubicBezTo>
                    <a:pt x="791" y="1637"/>
                    <a:pt x="790" y="1637"/>
                    <a:pt x="789" y="1637"/>
                  </a:cubicBezTo>
                  <a:cubicBezTo>
                    <a:pt x="788" y="1637"/>
                    <a:pt x="788" y="1638"/>
                    <a:pt x="787" y="1638"/>
                  </a:cubicBezTo>
                  <a:cubicBezTo>
                    <a:pt x="781" y="1639"/>
                    <a:pt x="774" y="1640"/>
                    <a:pt x="768" y="1640"/>
                  </a:cubicBezTo>
                  <a:cubicBezTo>
                    <a:pt x="767" y="1640"/>
                    <a:pt x="767" y="1640"/>
                    <a:pt x="767" y="1640"/>
                  </a:cubicBezTo>
                  <a:cubicBezTo>
                    <a:pt x="756" y="1641"/>
                    <a:pt x="745" y="1640"/>
                    <a:pt x="735" y="1640"/>
                  </a:cubicBezTo>
                  <a:cubicBezTo>
                    <a:pt x="718" y="1640"/>
                    <a:pt x="702" y="1640"/>
                    <a:pt x="685" y="1640"/>
                  </a:cubicBezTo>
                  <a:cubicBezTo>
                    <a:pt x="683" y="1640"/>
                    <a:pt x="680" y="1640"/>
                    <a:pt x="677" y="1640"/>
                  </a:cubicBezTo>
                  <a:cubicBezTo>
                    <a:pt x="677" y="1640"/>
                    <a:pt x="677" y="1640"/>
                    <a:pt x="676" y="1640"/>
                  </a:cubicBezTo>
                  <a:cubicBezTo>
                    <a:pt x="674" y="1639"/>
                    <a:pt x="672" y="1639"/>
                    <a:pt x="669" y="1638"/>
                  </a:cubicBezTo>
                  <a:cubicBezTo>
                    <a:pt x="669" y="1638"/>
                    <a:pt x="669" y="1638"/>
                    <a:pt x="669" y="1638"/>
                  </a:cubicBezTo>
                  <a:cubicBezTo>
                    <a:pt x="669" y="1638"/>
                    <a:pt x="669" y="1638"/>
                    <a:pt x="669" y="1638"/>
                  </a:cubicBezTo>
                  <a:cubicBezTo>
                    <a:pt x="662" y="1636"/>
                    <a:pt x="655" y="1632"/>
                    <a:pt x="655" y="1624"/>
                  </a:cubicBezTo>
                  <a:cubicBezTo>
                    <a:pt x="655" y="1623"/>
                    <a:pt x="655" y="1621"/>
                    <a:pt x="656" y="1620"/>
                  </a:cubicBezTo>
                  <a:cubicBezTo>
                    <a:pt x="656" y="1619"/>
                    <a:pt x="656" y="1619"/>
                    <a:pt x="656" y="1618"/>
                  </a:cubicBezTo>
                  <a:cubicBezTo>
                    <a:pt x="657" y="1617"/>
                    <a:pt x="657" y="1616"/>
                    <a:pt x="658" y="1614"/>
                  </a:cubicBezTo>
                  <a:cubicBezTo>
                    <a:pt x="658" y="1614"/>
                    <a:pt x="658" y="1614"/>
                    <a:pt x="658" y="1614"/>
                  </a:cubicBezTo>
                  <a:cubicBezTo>
                    <a:pt x="659" y="1613"/>
                    <a:pt x="659" y="1613"/>
                    <a:pt x="659" y="1613"/>
                  </a:cubicBezTo>
                  <a:cubicBezTo>
                    <a:pt x="660" y="1612"/>
                    <a:pt x="661" y="1610"/>
                    <a:pt x="662" y="1609"/>
                  </a:cubicBezTo>
                  <a:cubicBezTo>
                    <a:pt x="670" y="1597"/>
                    <a:pt x="678" y="1585"/>
                    <a:pt x="686" y="1572"/>
                  </a:cubicBezTo>
                  <a:cubicBezTo>
                    <a:pt x="687" y="1572"/>
                    <a:pt x="687" y="1572"/>
                    <a:pt x="687" y="1572"/>
                  </a:cubicBezTo>
                  <a:cubicBezTo>
                    <a:pt x="689" y="1568"/>
                    <a:pt x="689" y="1568"/>
                    <a:pt x="689" y="1568"/>
                  </a:cubicBezTo>
                  <a:cubicBezTo>
                    <a:pt x="692" y="1565"/>
                    <a:pt x="695" y="1562"/>
                    <a:pt x="699" y="1559"/>
                  </a:cubicBezTo>
                  <a:cubicBezTo>
                    <a:pt x="702" y="1557"/>
                    <a:pt x="705" y="1555"/>
                    <a:pt x="708" y="1554"/>
                  </a:cubicBezTo>
                  <a:cubicBezTo>
                    <a:pt x="709" y="1553"/>
                    <a:pt x="710" y="1553"/>
                    <a:pt x="711" y="1552"/>
                  </a:cubicBezTo>
                  <a:cubicBezTo>
                    <a:pt x="712" y="1552"/>
                    <a:pt x="712" y="1552"/>
                    <a:pt x="713" y="1551"/>
                  </a:cubicBezTo>
                  <a:cubicBezTo>
                    <a:pt x="713" y="1551"/>
                    <a:pt x="714" y="1551"/>
                    <a:pt x="714" y="1551"/>
                  </a:cubicBezTo>
                  <a:cubicBezTo>
                    <a:pt x="715" y="1551"/>
                    <a:pt x="715" y="1551"/>
                    <a:pt x="716" y="1550"/>
                  </a:cubicBezTo>
                  <a:cubicBezTo>
                    <a:pt x="720" y="1549"/>
                    <a:pt x="725" y="1547"/>
                    <a:pt x="730" y="1546"/>
                  </a:cubicBezTo>
                  <a:cubicBezTo>
                    <a:pt x="735" y="1545"/>
                    <a:pt x="741" y="1544"/>
                    <a:pt x="747" y="1544"/>
                  </a:cubicBezTo>
                  <a:cubicBezTo>
                    <a:pt x="763" y="1544"/>
                    <a:pt x="763" y="1544"/>
                    <a:pt x="763" y="1544"/>
                  </a:cubicBezTo>
                  <a:cubicBezTo>
                    <a:pt x="767" y="1544"/>
                    <a:pt x="770" y="1544"/>
                    <a:pt x="774" y="1544"/>
                  </a:cubicBezTo>
                  <a:cubicBezTo>
                    <a:pt x="789" y="1544"/>
                    <a:pt x="803" y="1544"/>
                    <a:pt x="818" y="1544"/>
                  </a:cubicBezTo>
                  <a:cubicBezTo>
                    <a:pt x="818" y="1544"/>
                    <a:pt x="818" y="1544"/>
                    <a:pt x="818" y="1544"/>
                  </a:cubicBezTo>
                  <a:cubicBezTo>
                    <a:pt x="824" y="1544"/>
                    <a:pt x="824" y="1544"/>
                    <a:pt x="824" y="1544"/>
                  </a:cubicBezTo>
                  <a:cubicBezTo>
                    <a:pt x="830" y="1544"/>
                    <a:pt x="835" y="1545"/>
                    <a:pt x="839" y="1546"/>
                  </a:cubicBezTo>
                  <a:cubicBezTo>
                    <a:pt x="843" y="1547"/>
                    <a:pt x="845" y="1548"/>
                    <a:pt x="847" y="1549"/>
                  </a:cubicBezTo>
                  <a:cubicBezTo>
                    <a:pt x="854" y="1553"/>
                    <a:pt x="858" y="1559"/>
                    <a:pt x="853" y="1568"/>
                  </a:cubicBezTo>
                  <a:cubicBezTo>
                    <a:pt x="848" y="1579"/>
                    <a:pt x="841" y="1590"/>
                    <a:pt x="835" y="1600"/>
                  </a:cubicBezTo>
                  <a:cubicBezTo>
                    <a:pt x="828" y="1613"/>
                    <a:pt x="828" y="1613"/>
                    <a:pt x="828" y="1613"/>
                  </a:cubicBezTo>
                  <a:cubicBezTo>
                    <a:pt x="828" y="1613"/>
                    <a:pt x="828" y="1613"/>
                    <a:pt x="828" y="1613"/>
                  </a:cubicBezTo>
                  <a:close/>
                  <a:moveTo>
                    <a:pt x="1592" y="1771"/>
                  </a:moveTo>
                  <a:cubicBezTo>
                    <a:pt x="1592" y="1773"/>
                    <a:pt x="1592" y="1775"/>
                    <a:pt x="1591" y="1777"/>
                  </a:cubicBezTo>
                  <a:cubicBezTo>
                    <a:pt x="1591" y="1778"/>
                    <a:pt x="1591" y="1778"/>
                    <a:pt x="1591" y="1778"/>
                  </a:cubicBezTo>
                  <a:cubicBezTo>
                    <a:pt x="1590" y="1780"/>
                    <a:pt x="1590" y="1782"/>
                    <a:pt x="1589" y="1783"/>
                  </a:cubicBezTo>
                  <a:cubicBezTo>
                    <a:pt x="1589" y="1783"/>
                    <a:pt x="1589" y="1783"/>
                    <a:pt x="1589" y="1784"/>
                  </a:cubicBezTo>
                  <a:cubicBezTo>
                    <a:pt x="1588" y="1784"/>
                    <a:pt x="1588" y="1784"/>
                    <a:pt x="1588" y="1784"/>
                  </a:cubicBezTo>
                  <a:cubicBezTo>
                    <a:pt x="1587" y="1786"/>
                    <a:pt x="1586" y="1788"/>
                    <a:pt x="1584" y="1789"/>
                  </a:cubicBezTo>
                  <a:cubicBezTo>
                    <a:pt x="1584" y="1789"/>
                    <a:pt x="1584" y="1789"/>
                    <a:pt x="1584" y="1789"/>
                  </a:cubicBezTo>
                  <a:cubicBezTo>
                    <a:pt x="1582" y="1791"/>
                    <a:pt x="1581" y="1792"/>
                    <a:pt x="1579" y="1794"/>
                  </a:cubicBezTo>
                  <a:cubicBezTo>
                    <a:pt x="1578" y="1794"/>
                    <a:pt x="1578" y="1794"/>
                    <a:pt x="1578" y="1794"/>
                  </a:cubicBezTo>
                  <a:cubicBezTo>
                    <a:pt x="1578" y="1794"/>
                    <a:pt x="1577" y="1795"/>
                    <a:pt x="1577" y="1795"/>
                  </a:cubicBezTo>
                  <a:cubicBezTo>
                    <a:pt x="1575" y="1796"/>
                    <a:pt x="1573" y="1797"/>
                    <a:pt x="1571" y="1798"/>
                  </a:cubicBezTo>
                  <a:cubicBezTo>
                    <a:pt x="1571" y="1798"/>
                    <a:pt x="1571" y="1798"/>
                    <a:pt x="1570" y="1798"/>
                  </a:cubicBezTo>
                  <a:cubicBezTo>
                    <a:pt x="1569" y="1799"/>
                    <a:pt x="1567" y="1800"/>
                    <a:pt x="1566" y="1800"/>
                  </a:cubicBezTo>
                  <a:cubicBezTo>
                    <a:pt x="1565" y="1800"/>
                    <a:pt x="1564" y="1801"/>
                    <a:pt x="1563" y="1801"/>
                  </a:cubicBezTo>
                  <a:cubicBezTo>
                    <a:pt x="1563" y="1801"/>
                    <a:pt x="1563" y="1801"/>
                    <a:pt x="1562" y="1801"/>
                  </a:cubicBezTo>
                  <a:cubicBezTo>
                    <a:pt x="1562" y="1801"/>
                    <a:pt x="1561" y="1801"/>
                    <a:pt x="1561" y="1802"/>
                  </a:cubicBezTo>
                  <a:cubicBezTo>
                    <a:pt x="1559" y="1802"/>
                    <a:pt x="1557" y="1802"/>
                    <a:pt x="1555" y="1803"/>
                  </a:cubicBezTo>
                  <a:cubicBezTo>
                    <a:pt x="1553" y="1803"/>
                    <a:pt x="1551" y="1803"/>
                    <a:pt x="1550" y="1803"/>
                  </a:cubicBezTo>
                  <a:cubicBezTo>
                    <a:pt x="1548" y="1804"/>
                    <a:pt x="1546" y="1804"/>
                    <a:pt x="1544" y="1804"/>
                  </a:cubicBezTo>
                  <a:cubicBezTo>
                    <a:pt x="1544" y="1804"/>
                    <a:pt x="1543" y="1804"/>
                    <a:pt x="1542" y="1804"/>
                  </a:cubicBezTo>
                  <a:cubicBezTo>
                    <a:pt x="1540" y="1804"/>
                    <a:pt x="1540" y="1804"/>
                    <a:pt x="1540" y="1804"/>
                  </a:cubicBezTo>
                  <a:cubicBezTo>
                    <a:pt x="1540" y="1804"/>
                    <a:pt x="1540" y="1804"/>
                    <a:pt x="1540" y="1804"/>
                  </a:cubicBezTo>
                  <a:cubicBezTo>
                    <a:pt x="1530" y="1804"/>
                    <a:pt x="1519" y="1804"/>
                    <a:pt x="1509" y="1804"/>
                  </a:cubicBezTo>
                  <a:cubicBezTo>
                    <a:pt x="1461" y="1804"/>
                    <a:pt x="908" y="1806"/>
                    <a:pt x="869" y="1806"/>
                  </a:cubicBezTo>
                  <a:cubicBezTo>
                    <a:pt x="866" y="1806"/>
                    <a:pt x="863" y="1806"/>
                    <a:pt x="861" y="1805"/>
                  </a:cubicBezTo>
                  <a:cubicBezTo>
                    <a:pt x="857" y="1805"/>
                    <a:pt x="853" y="1804"/>
                    <a:pt x="850" y="1803"/>
                  </a:cubicBezTo>
                  <a:cubicBezTo>
                    <a:pt x="845" y="1802"/>
                    <a:pt x="841" y="1799"/>
                    <a:pt x="838" y="1796"/>
                  </a:cubicBezTo>
                  <a:cubicBezTo>
                    <a:pt x="835" y="1793"/>
                    <a:pt x="833" y="1790"/>
                    <a:pt x="832" y="1786"/>
                  </a:cubicBezTo>
                  <a:cubicBezTo>
                    <a:pt x="832" y="1782"/>
                    <a:pt x="832" y="1778"/>
                    <a:pt x="834" y="1773"/>
                  </a:cubicBezTo>
                  <a:cubicBezTo>
                    <a:pt x="836" y="1771"/>
                    <a:pt x="836" y="1771"/>
                    <a:pt x="836" y="1771"/>
                  </a:cubicBezTo>
                  <a:cubicBezTo>
                    <a:pt x="836" y="1771"/>
                    <a:pt x="836" y="1771"/>
                    <a:pt x="836" y="1771"/>
                  </a:cubicBezTo>
                  <a:cubicBezTo>
                    <a:pt x="842" y="1758"/>
                    <a:pt x="848" y="1745"/>
                    <a:pt x="854" y="1732"/>
                  </a:cubicBezTo>
                  <a:cubicBezTo>
                    <a:pt x="856" y="1730"/>
                    <a:pt x="857" y="1728"/>
                    <a:pt x="858" y="1726"/>
                  </a:cubicBezTo>
                  <a:cubicBezTo>
                    <a:pt x="862" y="1716"/>
                    <a:pt x="862" y="1716"/>
                    <a:pt x="862" y="1716"/>
                  </a:cubicBezTo>
                  <a:cubicBezTo>
                    <a:pt x="864" y="1712"/>
                    <a:pt x="868" y="1708"/>
                    <a:pt x="872" y="1704"/>
                  </a:cubicBezTo>
                  <a:cubicBezTo>
                    <a:pt x="873" y="1704"/>
                    <a:pt x="874" y="1703"/>
                    <a:pt x="875" y="1702"/>
                  </a:cubicBezTo>
                  <a:cubicBezTo>
                    <a:pt x="875" y="1702"/>
                    <a:pt x="876" y="1701"/>
                    <a:pt x="877" y="1701"/>
                  </a:cubicBezTo>
                  <a:cubicBezTo>
                    <a:pt x="878" y="1700"/>
                    <a:pt x="878" y="1700"/>
                    <a:pt x="879" y="1699"/>
                  </a:cubicBezTo>
                  <a:cubicBezTo>
                    <a:pt x="880" y="1699"/>
                    <a:pt x="880" y="1699"/>
                    <a:pt x="880" y="1699"/>
                  </a:cubicBezTo>
                  <a:cubicBezTo>
                    <a:pt x="881" y="1698"/>
                    <a:pt x="881" y="1698"/>
                    <a:pt x="882" y="1698"/>
                  </a:cubicBezTo>
                  <a:cubicBezTo>
                    <a:pt x="883" y="1697"/>
                    <a:pt x="885" y="1696"/>
                    <a:pt x="886" y="1695"/>
                  </a:cubicBezTo>
                  <a:cubicBezTo>
                    <a:pt x="887" y="1695"/>
                    <a:pt x="888" y="1695"/>
                    <a:pt x="889" y="1694"/>
                  </a:cubicBezTo>
                  <a:cubicBezTo>
                    <a:pt x="890" y="1694"/>
                    <a:pt x="891" y="1693"/>
                    <a:pt x="893" y="1693"/>
                  </a:cubicBezTo>
                  <a:cubicBezTo>
                    <a:pt x="895" y="1692"/>
                    <a:pt x="897" y="1691"/>
                    <a:pt x="899" y="1690"/>
                  </a:cubicBezTo>
                  <a:cubicBezTo>
                    <a:pt x="900" y="1690"/>
                    <a:pt x="901" y="1690"/>
                    <a:pt x="903" y="1689"/>
                  </a:cubicBezTo>
                  <a:cubicBezTo>
                    <a:pt x="903" y="1689"/>
                    <a:pt x="904" y="1689"/>
                    <a:pt x="904" y="1689"/>
                  </a:cubicBezTo>
                  <a:cubicBezTo>
                    <a:pt x="910" y="1687"/>
                    <a:pt x="917" y="1687"/>
                    <a:pt x="923" y="1687"/>
                  </a:cubicBezTo>
                  <a:cubicBezTo>
                    <a:pt x="923" y="1687"/>
                    <a:pt x="1503" y="1685"/>
                    <a:pt x="1525" y="1685"/>
                  </a:cubicBezTo>
                  <a:cubicBezTo>
                    <a:pt x="1531" y="1685"/>
                    <a:pt x="1538" y="1685"/>
                    <a:pt x="1545" y="1685"/>
                  </a:cubicBezTo>
                  <a:cubicBezTo>
                    <a:pt x="1548" y="1685"/>
                    <a:pt x="1551" y="1685"/>
                    <a:pt x="1554" y="1686"/>
                  </a:cubicBezTo>
                  <a:cubicBezTo>
                    <a:pt x="1554" y="1686"/>
                    <a:pt x="1555" y="1686"/>
                    <a:pt x="1555" y="1686"/>
                  </a:cubicBezTo>
                  <a:cubicBezTo>
                    <a:pt x="1557" y="1686"/>
                    <a:pt x="1560" y="1686"/>
                    <a:pt x="1562" y="1687"/>
                  </a:cubicBezTo>
                  <a:cubicBezTo>
                    <a:pt x="1562" y="1687"/>
                    <a:pt x="1563" y="1687"/>
                    <a:pt x="1563" y="1687"/>
                  </a:cubicBezTo>
                  <a:cubicBezTo>
                    <a:pt x="1563" y="1687"/>
                    <a:pt x="1563" y="1687"/>
                    <a:pt x="1563" y="1687"/>
                  </a:cubicBezTo>
                  <a:cubicBezTo>
                    <a:pt x="1566" y="1688"/>
                    <a:pt x="1568" y="1689"/>
                    <a:pt x="1570" y="1690"/>
                  </a:cubicBezTo>
                  <a:cubicBezTo>
                    <a:pt x="1570" y="1690"/>
                    <a:pt x="1571" y="1690"/>
                    <a:pt x="1571" y="1690"/>
                  </a:cubicBezTo>
                  <a:cubicBezTo>
                    <a:pt x="1573" y="1691"/>
                    <a:pt x="1575" y="1692"/>
                    <a:pt x="1577" y="1693"/>
                  </a:cubicBezTo>
                  <a:cubicBezTo>
                    <a:pt x="1577" y="1693"/>
                    <a:pt x="1577" y="1693"/>
                    <a:pt x="1578" y="1693"/>
                  </a:cubicBezTo>
                  <a:cubicBezTo>
                    <a:pt x="1578" y="1694"/>
                    <a:pt x="1578" y="1694"/>
                    <a:pt x="1578" y="1694"/>
                  </a:cubicBezTo>
                  <a:cubicBezTo>
                    <a:pt x="1580" y="1695"/>
                    <a:pt x="1581" y="1696"/>
                    <a:pt x="1582" y="1697"/>
                  </a:cubicBezTo>
                  <a:cubicBezTo>
                    <a:pt x="1584" y="1698"/>
                    <a:pt x="1586" y="1700"/>
                    <a:pt x="1588" y="1703"/>
                  </a:cubicBezTo>
                  <a:cubicBezTo>
                    <a:pt x="1590" y="1706"/>
                    <a:pt x="1592" y="1710"/>
                    <a:pt x="1592" y="1714"/>
                  </a:cubicBezTo>
                  <a:cubicBezTo>
                    <a:pt x="1592" y="1717"/>
                    <a:pt x="1592" y="1717"/>
                    <a:pt x="1592" y="1717"/>
                  </a:cubicBezTo>
                  <a:cubicBezTo>
                    <a:pt x="1592" y="1717"/>
                    <a:pt x="1592" y="1717"/>
                    <a:pt x="1592" y="1717"/>
                  </a:cubicBezTo>
                  <a:cubicBezTo>
                    <a:pt x="1592" y="1731"/>
                    <a:pt x="1592" y="1746"/>
                    <a:pt x="1592" y="1760"/>
                  </a:cubicBezTo>
                  <a:cubicBezTo>
                    <a:pt x="1592" y="1764"/>
                    <a:pt x="1593" y="1767"/>
                    <a:pt x="1592" y="1771"/>
                  </a:cubicBezTo>
                  <a:close/>
                  <a:moveTo>
                    <a:pt x="1671" y="1490"/>
                  </a:moveTo>
                  <a:cubicBezTo>
                    <a:pt x="1671" y="1490"/>
                    <a:pt x="1670" y="1489"/>
                    <a:pt x="1670" y="1489"/>
                  </a:cubicBezTo>
                  <a:cubicBezTo>
                    <a:pt x="1670" y="1489"/>
                    <a:pt x="1669" y="1489"/>
                    <a:pt x="1669" y="1488"/>
                  </a:cubicBezTo>
                  <a:cubicBezTo>
                    <a:pt x="1667" y="1486"/>
                    <a:pt x="1666" y="1483"/>
                    <a:pt x="1665" y="1480"/>
                  </a:cubicBezTo>
                  <a:cubicBezTo>
                    <a:pt x="1665" y="1477"/>
                    <a:pt x="1665" y="1477"/>
                    <a:pt x="1665" y="1477"/>
                  </a:cubicBezTo>
                  <a:cubicBezTo>
                    <a:pt x="1665" y="1475"/>
                    <a:pt x="1665" y="1473"/>
                    <a:pt x="1665" y="1471"/>
                  </a:cubicBezTo>
                  <a:cubicBezTo>
                    <a:pt x="1665" y="1471"/>
                    <a:pt x="1665" y="1471"/>
                    <a:pt x="1665" y="1471"/>
                  </a:cubicBezTo>
                  <a:cubicBezTo>
                    <a:pt x="1664" y="1463"/>
                    <a:pt x="1662" y="1454"/>
                    <a:pt x="1663" y="1445"/>
                  </a:cubicBezTo>
                  <a:cubicBezTo>
                    <a:pt x="1663" y="1443"/>
                    <a:pt x="1663" y="1443"/>
                    <a:pt x="1663" y="1443"/>
                  </a:cubicBezTo>
                  <a:cubicBezTo>
                    <a:pt x="1662" y="1440"/>
                    <a:pt x="1663" y="1437"/>
                    <a:pt x="1665" y="1435"/>
                  </a:cubicBezTo>
                  <a:cubicBezTo>
                    <a:pt x="1667" y="1433"/>
                    <a:pt x="1669" y="1431"/>
                    <a:pt x="1673" y="1429"/>
                  </a:cubicBezTo>
                  <a:cubicBezTo>
                    <a:pt x="1676" y="1427"/>
                    <a:pt x="1680" y="1426"/>
                    <a:pt x="1684" y="1425"/>
                  </a:cubicBezTo>
                  <a:cubicBezTo>
                    <a:pt x="1684" y="1425"/>
                    <a:pt x="1684" y="1425"/>
                    <a:pt x="1684" y="1425"/>
                  </a:cubicBezTo>
                  <a:cubicBezTo>
                    <a:pt x="1685" y="1425"/>
                    <a:pt x="1685" y="1425"/>
                    <a:pt x="1685" y="1425"/>
                  </a:cubicBezTo>
                  <a:cubicBezTo>
                    <a:pt x="1687" y="1424"/>
                    <a:pt x="1689" y="1424"/>
                    <a:pt x="1690" y="1424"/>
                  </a:cubicBezTo>
                  <a:cubicBezTo>
                    <a:pt x="1691" y="1424"/>
                    <a:pt x="1692" y="1424"/>
                    <a:pt x="1693" y="1424"/>
                  </a:cubicBezTo>
                  <a:cubicBezTo>
                    <a:pt x="1700" y="1423"/>
                    <a:pt x="1708" y="1423"/>
                    <a:pt x="1716" y="1423"/>
                  </a:cubicBezTo>
                  <a:cubicBezTo>
                    <a:pt x="1769" y="1423"/>
                    <a:pt x="1769" y="1423"/>
                    <a:pt x="1769" y="1423"/>
                  </a:cubicBezTo>
                  <a:cubicBezTo>
                    <a:pt x="1772" y="1423"/>
                    <a:pt x="1775" y="1423"/>
                    <a:pt x="1778" y="1424"/>
                  </a:cubicBezTo>
                  <a:cubicBezTo>
                    <a:pt x="1792" y="1425"/>
                    <a:pt x="1808" y="1429"/>
                    <a:pt x="1810" y="1442"/>
                  </a:cubicBezTo>
                  <a:cubicBezTo>
                    <a:pt x="1814" y="1454"/>
                    <a:pt x="1815" y="1466"/>
                    <a:pt x="1817" y="1478"/>
                  </a:cubicBezTo>
                  <a:cubicBezTo>
                    <a:pt x="1818" y="1480"/>
                    <a:pt x="1818" y="1480"/>
                    <a:pt x="1818" y="1480"/>
                  </a:cubicBezTo>
                  <a:cubicBezTo>
                    <a:pt x="1818" y="1482"/>
                    <a:pt x="1818" y="1485"/>
                    <a:pt x="1817" y="1487"/>
                  </a:cubicBezTo>
                  <a:cubicBezTo>
                    <a:pt x="1817" y="1487"/>
                    <a:pt x="1817" y="1488"/>
                    <a:pt x="1816" y="1488"/>
                  </a:cubicBezTo>
                  <a:cubicBezTo>
                    <a:pt x="1816" y="1488"/>
                    <a:pt x="1816" y="1488"/>
                    <a:pt x="1816" y="1488"/>
                  </a:cubicBezTo>
                  <a:cubicBezTo>
                    <a:pt x="1816" y="1488"/>
                    <a:pt x="1816" y="1488"/>
                    <a:pt x="1816" y="1488"/>
                  </a:cubicBezTo>
                  <a:cubicBezTo>
                    <a:pt x="1813" y="1494"/>
                    <a:pt x="1807" y="1497"/>
                    <a:pt x="1799" y="1499"/>
                  </a:cubicBezTo>
                  <a:cubicBezTo>
                    <a:pt x="1798" y="1499"/>
                    <a:pt x="1798" y="1499"/>
                    <a:pt x="1797" y="1499"/>
                  </a:cubicBezTo>
                  <a:cubicBezTo>
                    <a:pt x="1796" y="1500"/>
                    <a:pt x="1796" y="1500"/>
                    <a:pt x="1795" y="1500"/>
                  </a:cubicBezTo>
                  <a:cubicBezTo>
                    <a:pt x="1794" y="1500"/>
                    <a:pt x="1794" y="1500"/>
                    <a:pt x="1793" y="1500"/>
                  </a:cubicBezTo>
                  <a:cubicBezTo>
                    <a:pt x="1792" y="1500"/>
                    <a:pt x="1790" y="1501"/>
                    <a:pt x="1789" y="1501"/>
                  </a:cubicBezTo>
                  <a:cubicBezTo>
                    <a:pt x="1771" y="1503"/>
                    <a:pt x="1750" y="1501"/>
                    <a:pt x="1741" y="1501"/>
                  </a:cubicBezTo>
                  <a:cubicBezTo>
                    <a:pt x="1707" y="1501"/>
                    <a:pt x="1707" y="1501"/>
                    <a:pt x="1707" y="1501"/>
                  </a:cubicBezTo>
                  <a:cubicBezTo>
                    <a:pt x="1704" y="1501"/>
                    <a:pt x="1702" y="1501"/>
                    <a:pt x="1699" y="1501"/>
                  </a:cubicBezTo>
                  <a:cubicBezTo>
                    <a:pt x="1697" y="1501"/>
                    <a:pt x="1695" y="1500"/>
                    <a:pt x="1693" y="1500"/>
                  </a:cubicBezTo>
                  <a:cubicBezTo>
                    <a:pt x="1693" y="1500"/>
                    <a:pt x="1692" y="1500"/>
                    <a:pt x="1692" y="1500"/>
                  </a:cubicBezTo>
                  <a:cubicBezTo>
                    <a:pt x="1691" y="1500"/>
                    <a:pt x="1691" y="1500"/>
                    <a:pt x="1691" y="1500"/>
                  </a:cubicBezTo>
                  <a:cubicBezTo>
                    <a:pt x="1689" y="1499"/>
                    <a:pt x="1687" y="1499"/>
                    <a:pt x="1685" y="1498"/>
                  </a:cubicBezTo>
                  <a:cubicBezTo>
                    <a:pt x="1684" y="1498"/>
                    <a:pt x="1684" y="1497"/>
                    <a:pt x="1683" y="1497"/>
                  </a:cubicBezTo>
                  <a:cubicBezTo>
                    <a:pt x="1681" y="1496"/>
                    <a:pt x="1680" y="1496"/>
                    <a:pt x="1678" y="1495"/>
                  </a:cubicBezTo>
                  <a:cubicBezTo>
                    <a:pt x="1676" y="1494"/>
                    <a:pt x="1674" y="1492"/>
                    <a:pt x="1672" y="1491"/>
                  </a:cubicBezTo>
                  <a:cubicBezTo>
                    <a:pt x="1672" y="1491"/>
                    <a:pt x="1671" y="1490"/>
                    <a:pt x="1671" y="1490"/>
                  </a:cubicBezTo>
                  <a:close/>
                  <a:moveTo>
                    <a:pt x="1680" y="1622"/>
                  </a:moveTo>
                  <a:cubicBezTo>
                    <a:pt x="1677" y="1618"/>
                    <a:pt x="1676" y="1615"/>
                    <a:pt x="1675" y="1612"/>
                  </a:cubicBezTo>
                  <a:cubicBezTo>
                    <a:pt x="1675" y="1607"/>
                    <a:pt x="1675" y="1607"/>
                    <a:pt x="1675" y="1607"/>
                  </a:cubicBezTo>
                  <a:cubicBezTo>
                    <a:pt x="1675" y="1607"/>
                    <a:pt x="1675" y="1607"/>
                    <a:pt x="1675" y="1607"/>
                  </a:cubicBezTo>
                  <a:cubicBezTo>
                    <a:pt x="1674" y="1593"/>
                    <a:pt x="1673" y="1580"/>
                    <a:pt x="1672" y="1567"/>
                  </a:cubicBezTo>
                  <a:cubicBezTo>
                    <a:pt x="1672" y="1567"/>
                    <a:pt x="1672" y="1567"/>
                    <a:pt x="1672" y="1567"/>
                  </a:cubicBezTo>
                  <a:cubicBezTo>
                    <a:pt x="1672" y="1566"/>
                    <a:pt x="1672" y="1566"/>
                    <a:pt x="1672" y="1566"/>
                  </a:cubicBezTo>
                  <a:cubicBezTo>
                    <a:pt x="1672" y="1565"/>
                    <a:pt x="1672" y="1564"/>
                    <a:pt x="1672" y="1563"/>
                  </a:cubicBezTo>
                  <a:cubicBezTo>
                    <a:pt x="1675" y="1535"/>
                    <a:pt x="1735" y="1542"/>
                    <a:pt x="1754" y="1542"/>
                  </a:cubicBezTo>
                  <a:cubicBezTo>
                    <a:pt x="1776" y="1542"/>
                    <a:pt x="1819" y="1537"/>
                    <a:pt x="1832" y="1559"/>
                  </a:cubicBezTo>
                  <a:cubicBezTo>
                    <a:pt x="1833" y="1561"/>
                    <a:pt x="1835" y="1563"/>
                    <a:pt x="1835" y="1565"/>
                  </a:cubicBezTo>
                  <a:cubicBezTo>
                    <a:pt x="1836" y="1568"/>
                    <a:pt x="1836" y="1568"/>
                    <a:pt x="1836" y="1568"/>
                  </a:cubicBezTo>
                  <a:cubicBezTo>
                    <a:pt x="1836" y="1568"/>
                    <a:pt x="1836" y="1568"/>
                    <a:pt x="1836" y="1568"/>
                  </a:cubicBezTo>
                  <a:cubicBezTo>
                    <a:pt x="1837" y="1575"/>
                    <a:pt x="1838" y="1581"/>
                    <a:pt x="1840" y="1588"/>
                  </a:cubicBezTo>
                  <a:cubicBezTo>
                    <a:pt x="1844" y="1611"/>
                    <a:pt x="1844" y="1611"/>
                    <a:pt x="1844" y="1611"/>
                  </a:cubicBezTo>
                  <a:cubicBezTo>
                    <a:pt x="1845" y="1615"/>
                    <a:pt x="1844" y="1618"/>
                    <a:pt x="1843" y="1621"/>
                  </a:cubicBezTo>
                  <a:cubicBezTo>
                    <a:pt x="1842" y="1623"/>
                    <a:pt x="1840" y="1625"/>
                    <a:pt x="1838" y="1627"/>
                  </a:cubicBezTo>
                  <a:cubicBezTo>
                    <a:pt x="1838" y="1627"/>
                    <a:pt x="1837" y="1628"/>
                    <a:pt x="1836" y="1629"/>
                  </a:cubicBezTo>
                  <a:cubicBezTo>
                    <a:pt x="1836" y="1629"/>
                    <a:pt x="1835" y="1629"/>
                    <a:pt x="1835" y="1630"/>
                  </a:cubicBezTo>
                  <a:cubicBezTo>
                    <a:pt x="1835" y="1630"/>
                    <a:pt x="1834" y="1630"/>
                    <a:pt x="1834" y="1630"/>
                  </a:cubicBezTo>
                  <a:cubicBezTo>
                    <a:pt x="1833" y="1631"/>
                    <a:pt x="1832" y="1631"/>
                    <a:pt x="1830" y="1632"/>
                  </a:cubicBezTo>
                  <a:cubicBezTo>
                    <a:pt x="1829" y="1633"/>
                    <a:pt x="1828" y="1633"/>
                    <a:pt x="1827" y="1634"/>
                  </a:cubicBezTo>
                  <a:cubicBezTo>
                    <a:pt x="1826" y="1634"/>
                    <a:pt x="1825" y="1634"/>
                    <a:pt x="1825" y="1634"/>
                  </a:cubicBezTo>
                  <a:cubicBezTo>
                    <a:pt x="1824" y="1635"/>
                    <a:pt x="1823" y="1635"/>
                    <a:pt x="1822" y="1635"/>
                  </a:cubicBezTo>
                  <a:cubicBezTo>
                    <a:pt x="1821" y="1635"/>
                    <a:pt x="1820" y="1636"/>
                    <a:pt x="1819" y="1636"/>
                  </a:cubicBezTo>
                  <a:cubicBezTo>
                    <a:pt x="1818" y="1636"/>
                    <a:pt x="1818" y="1636"/>
                    <a:pt x="1818" y="1636"/>
                  </a:cubicBezTo>
                  <a:cubicBezTo>
                    <a:pt x="1816" y="1636"/>
                    <a:pt x="1814" y="1637"/>
                    <a:pt x="1812" y="1637"/>
                  </a:cubicBezTo>
                  <a:cubicBezTo>
                    <a:pt x="1809" y="1637"/>
                    <a:pt x="1807" y="1637"/>
                    <a:pt x="1805" y="1637"/>
                  </a:cubicBezTo>
                  <a:cubicBezTo>
                    <a:pt x="1805" y="1637"/>
                    <a:pt x="1805" y="1637"/>
                    <a:pt x="1805" y="1637"/>
                  </a:cubicBezTo>
                  <a:cubicBezTo>
                    <a:pt x="1804" y="1637"/>
                    <a:pt x="1804" y="1637"/>
                    <a:pt x="1804" y="1637"/>
                  </a:cubicBezTo>
                  <a:cubicBezTo>
                    <a:pt x="1804" y="1637"/>
                    <a:pt x="1804" y="1637"/>
                    <a:pt x="1804" y="1637"/>
                  </a:cubicBezTo>
                  <a:cubicBezTo>
                    <a:pt x="1777" y="1637"/>
                    <a:pt x="1750" y="1637"/>
                    <a:pt x="1722" y="1638"/>
                  </a:cubicBezTo>
                  <a:cubicBezTo>
                    <a:pt x="1719" y="1638"/>
                    <a:pt x="1716" y="1637"/>
                    <a:pt x="1714" y="1637"/>
                  </a:cubicBezTo>
                  <a:cubicBezTo>
                    <a:pt x="1713" y="1637"/>
                    <a:pt x="1712" y="1637"/>
                    <a:pt x="1712" y="1637"/>
                  </a:cubicBezTo>
                  <a:cubicBezTo>
                    <a:pt x="1709" y="1636"/>
                    <a:pt x="1707" y="1636"/>
                    <a:pt x="1705" y="1636"/>
                  </a:cubicBezTo>
                  <a:cubicBezTo>
                    <a:pt x="1705" y="1636"/>
                    <a:pt x="1705" y="1636"/>
                    <a:pt x="1705" y="1636"/>
                  </a:cubicBezTo>
                  <a:cubicBezTo>
                    <a:pt x="1704" y="1635"/>
                    <a:pt x="1704" y="1635"/>
                    <a:pt x="1704" y="1635"/>
                  </a:cubicBezTo>
                  <a:cubicBezTo>
                    <a:pt x="1701" y="1635"/>
                    <a:pt x="1699" y="1634"/>
                    <a:pt x="1697" y="1633"/>
                  </a:cubicBezTo>
                  <a:cubicBezTo>
                    <a:pt x="1696" y="1633"/>
                    <a:pt x="1695" y="1632"/>
                    <a:pt x="1695" y="1632"/>
                  </a:cubicBezTo>
                  <a:cubicBezTo>
                    <a:pt x="1693" y="1632"/>
                    <a:pt x="1692" y="1631"/>
                    <a:pt x="1691" y="1630"/>
                  </a:cubicBezTo>
                  <a:cubicBezTo>
                    <a:pt x="1691" y="1630"/>
                    <a:pt x="1690" y="1630"/>
                    <a:pt x="1690" y="1630"/>
                  </a:cubicBezTo>
                  <a:cubicBezTo>
                    <a:pt x="1686" y="1628"/>
                    <a:pt x="1682" y="1625"/>
                    <a:pt x="1680" y="1622"/>
                  </a:cubicBezTo>
                  <a:close/>
                  <a:moveTo>
                    <a:pt x="1875" y="1783"/>
                  </a:moveTo>
                  <a:cubicBezTo>
                    <a:pt x="1873" y="1787"/>
                    <a:pt x="1870" y="1790"/>
                    <a:pt x="1866" y="1793"/>
                  </a:cubicBezTo>
                  <a:cubicBezTo>
                    <a:pt x="1862" y="1796"/>
                    <a:pt x="1858" y="1799"/>
                    <a:pt x="1852" y="1800"/>
                  </a:cubicBezTo>
                  <a:cubicBezTo>
                    <a:pt x="1846" y="1802"/>
                    <a:pt x="1840" y="1803"/>
                    <a:pt x="1833" y="1803"/>
                  </a:cubicBezTo>
                  <a:cubicBezTo>
                    <a:pt x="1815" y="1803"/>
                    <a:pt x="1815" y="1803"/>
                    <a:pt x="1815" y="1803"/>
                  </a:cubicBezTo>
                  <a:cubicBezTo>
                    <a:pt x="1814" y="1803"/>
                    <a:pt x="1814" y="1803"/>
                    <a:pt x="1814" y="1803"/>
                  </a:cubicBezTo>
                  <a:cubicBezTo>
                    <a:pt x="1789" y="1803"/>
                    <a:pt x="1765" y="1803"/>
                    <a:pt x="1740" y="1803"/>
                  </a:cubicBezTo>
                  <a:cubicBezTo>
                    <a:pt x="1737" y="1803"/>
                    <a:pt x="1734" y="1803"/>
                    <a:pt x="1731" y="1803"/>
                  </a:cubicBezTo>
                  <a:cubicBezTo>
                    <a:pt x="1730" y="1803"/>
                    <a:pt x="1730" y="1803"/>
                    <a:pt x="1729" y="1803"/>
                  </a:cubicBezTo>
                  <a:cubicBezTo>
                    <a:pt x="1726" y="1802"/>
                    <a:pt x="1724" y="1802"/>
                    <a:pt x="1721" y="1801"/>
                  </a:cubicBezTo>
                  <a:cubicBezTo>
                    <a:pt x="1721" y="1801"/>
                    <a:pt x="1721" y="1801"/>
                    <a:pt x="1720" y="1801"/>
                  </a:cubicBezTo>
                  <a:cubicBezTo>
                    <a:pt x="1720" y="1801"/>
                    <a:pt x="1720" y="1801"/>
                    <a:pt x="1720" y="1801"/>
                  </a:cubicBezTo>
                  <a:cubicBezTo>
                    <a:pt x="1709" y="1798"/>
                    <a:pt x="1698" y="1792"/>
                    <a:pt x="1692" y="1783"/>
                  </a:cubicBezTo>
                  <a:cubicBezTo>
                    <a:pt x="1692" y="1783"/>
                    <a:pt x="1692" y="1783"/>
                    <a:pt x="1692" y="1783"/>
                  </a:cubicBezTo>
                  <a:cubicBezTo>
                    <a:pt x="1692" y="1783"/>
                    <a:pt x="1692" y="1783"/>
                    <a:pt x="1692" y="1783"/>
                  </a:cubicBezTo>
                  <a:cubicBezTo>
                    <a:pt x="1691" y="1782"/>
                    <a:pt x="1690" y="1780"/>
                    <a:pt x="1690" y="1778"/>
                  </a:cubicBezTo>
                  <a:cubicBezTo>
                    <a:pt x="1689" y="1777"/>
                    <a:pt x="1689" y="1776"/>
                    <a:pt x="1689" y="1775"/>
                  </a:cubicBezTo>
                  <a:cubicBezTo>
                    <a:pt x="1688" y="1774"/>
                    <a:pt x="1688" y="1773"/>
                    <a:pt x="1688" y="1772"/>
                  </a:cubicBezTo>
                  <a:cubicBezTo>
                    <a:pt x="1688" y="1772"/>
                    <a:pt x="1688" y="1771"/>
                    <a:pt x="1688" y="1771"/>
                  </a:cubicBezTo>
                  <a:cubicBezTo>
                    <a:pt x="1687" y="1769"/>
                    <a:pt x="1687" y="1769"/>
                    <a:pt x="1687" y="1769"/>
                  </a:cubicBezTo>
                  <a:cubicBezTo>
                    <a:pt x="1687" y="1769"/>
                    <a:pt x="1687" y="1769"/>
                    <a:pt x="1687" y="1769"/>
                  </a:cubicBezTo>
                  <a:cubicBezTo>
                    <a:pt x="1686" y="1756"/>
                    <a:pt x="1685" y="1742"/>
                    <a:pt x="1684" y="1728"/>
                  </a:cubicBezTo>
                  <a:cubicBezTo>
                    <a:pt x="1684" y="1725"/>
                    <a:pt x="1684" y="1723"/>
                    <a:pt x="1684" y="1721"/>
                  </a:cubicBezTo>
                  <a:cubicBezTo>
                    <a:pt x="1683" y="1714"/>
                    <a:pt x="1683" y="1714"/>
                    <a:pt x="1683" y="1714"/>
                  </a:cubicBezTo>
                  <a:cubicBezTo>
                    <a:pt x="1683" y="1713"/>
                    <a:pt x="1683" y="1713"/>
                    <a:pt x="1683" y="1713"/>
                  </a:cubicBezTo>
                  <a:cubicBezTo>
                    <a:pt x="1683" y="1711"/>
                    <a:pt x="1683" y="1710"/>
                    <a:pt x="1684" y="1709"/>
                  </a:cubicBezTo>
                  <a:cubicBezTo>
                    <a:pt x="1684" y="1708"/>
                    <a:pt x="1684" y="1707"/>
                    <a:pt x="1684" y="1707"/>
                  </a:cubicBezTo>
                  <a:cubicBezTo>
                    <a:pt x="1685" y="1706"/>
                    <a:pt x="1685" y="1705"/>
                    <a:pt x="1685" y="1704"/>
                  </a:cubicBezTo>
                  <a:cubicBezTo>
                    <a:pt x="1686" y="1703"/>
                    <a:pt x="1686" y="1703"/>
                    <a:pt x="1686" y="1702"/>
                  </a:cubicBezTo>
                  <a:cubicBezTo>
                    <a:pt x="1686" y="1702"/>
                    <a:pt x="1686" y="1702"/>
                    <a:pt x="1686" y="1702"/>
                  </a:cubicBezTo>
                  <a:cubicBezTo>
                    <a:pt x="1687" y="1700"/>
                    <a:pt x="1688" y="1699"/>
                    <a:pt x="1689" y="1698"/>
                  </a:cubicBezTo>
                  <a:cubicBezTo>
                    <a:pt x="1690" y="1697"/>
                    <a:pt x="1691" y="1697"/>
                    <a:pt x="1691" y="1696"/>
                  </a:cubicBezTo>
                  <a:cubicBezTo>
                    <a:pt x="1692" y="1695"/>
                    <a:pt x="1693" y="1695"/>
                    <a:pt x="1694" y="1694"/>
                  </a:cubicBezTo>
                  <a:cubicBezTo>
                    <a:pt x="1695" y="1694"/>
                    <a:pt x="1695" y="1693"/>
                    <a:pt x="1695" y="1693"/>
                  </a:cubicBezTo>
                  <a:cubicBezTo>
                    <a:pt x="1695" y="1693"/>
                    <a:pt x="1696" y="1693"/>
                    <a:pt x="1696" y="1693"/>
                  </a:cubicBezTo>
                  <a:cubicBezTo>
                    <a:pt x="1698" y="1692"/>
                    <a:pt x="1699" y="1691"/>
                    <a:pt x="1701" y="1690"/>
                  </a:cubicBezTo>
                  <a:cubicBezTo>
                    <a:pt x="1702" y="1690"/>
                    <a:pt x="1702" y="1689"/>
                    <a:pt x="1702" y="1689"/>
                  </a:cubicBezTo>
                  <a:cubicBezTo>
                    <a:pt x="1703" y="1689"/>
                    <a:pt x="1703" y="1689"/>
                    <a:pt x="1703" y="1689"/>
                  </a:cubicBezTo>
                  <a:cubicBezTo>
                    <a:pt x="1704" y="1689"/>
                    <a:pt x="1704" y="1689"/>
                    <a:pt x="1705" y="1688"/>
                  </a:cubicBezTo>
                  <a:cubicBezTo>
                    <a:pt x="1706" y="1688"/>
                    <a:pt x="1708" y="1687"/>
                    <a:pt x="1709" y="1687"/>
                  </a:cubicBezTo>
                  <a:cubicBezTo>
                    <a:pt x="1710" y="1687"/>
                    <a:pt x="1711" y="1686"/>
                    <a:pt x="1712" y="1686"/>
                  </a:cubicBezTo>
                  <a:cubicBezTo>
                    <a:pt x="1713" y="1686"/>
                    <a:pt x="1714" y="1686"/>
                    <a:pt x="1714" y="1686"/>
                  </a:cubicBezTo>
                  <a:cubicBezTo>
                    <a:pt x="1717" y="1685"/>
                    <a:pt x="1720" y="1685"/>
                    <a:pt x="1723" y="1685"/>
                  </a:cubicBezTo>
                  <a:cubicBezTo>
                    <a:pt x="1723" y="1685"/>
                    <a:pt x="1724" y="1685"/>
                    <a:pt x="1724" y="1685"/>
                  </a:cubicBezTo>
                  <a:cubicBezTo>
                    <a:pt x="1725" y="1685"/>
                    <a:pt x="1726" y="1685"/>
                    <a:pt x="1727" y="1685"/>
                  </a:cubicBezTo>
                  <a:cubicBezTo>
                    <a:pt x="1731" y="1685"/>
                    <a:pt x="1731" y="1685"/>
                    <a:pt x="1731" y="1685"/>
                  </a:cubicBezTo>
                  <a:cubicBezTo>
                    <a:pt x="1736" y="1684"/>
                    <a:pt x="1740" y="1684"/>
                    <a:pt x="1744" y="1684"/>
                  </a:cubicBezTo>
                  <a:cubicBezTo>
                    <a:pt x="1748" y="1684"/>
                    <a:pt x="1752" y="1684"/>
                    <a:pt x="1755" y="1684"/>
                  </a:cubicBezTo>
                  <a:cubicBezTo>
                    <a:pt x="1791" y="1684"/>
                    <a:pt x="1791" y="1684"/>
                    <a:pt x="1791" y="1684"/>
                  </a:cubicBezTo>
                  <a:cubicBezTo>
                    <a:pt x="1801" y="1684"/>
                    <a:pt x="1811" y="1684"/>
                    <a:pt x="1820" y="1685"/>
                  </a:cubicBezTo>
                  <a:cubicBezTo>
                    <a:pt x="1822" y="1685"/>
                    <a:pt x="1823" y="1685"/>
                    <a:pt x="1825" y="1685"/>
                  </a:cubicBezTo>
                  <a:cubicBezTo>
                    <a:pt x="1826" y="1686"/>
                    <a:pt x="1827" y="1686"/>
                    <a:pt x="1828" y="1686"/>
                  </a:cubicBezTo>
                  <a:cubicBezTo>
                    <a:pt x="1828" y="1686"/>
                    <a:pt x="1829" y="1686"/>
                    <a:pt x="1830" y="1686"/>
                  </a:cubicBezTo>
                  <a:cubicBezTo>
                    <a:pt x="1830" y="1686"/>
                    <a:pt x="1831" y="1686"/>
                    <a:pt x="1831" y="1687"/>
                  </a:cubicBezTo>
                  <a:cubicBezTo>
                    <a:pt x="1832" y="1687"/>
                    <a:pt x="1832" y="1687"/>
                    <a:pt x="1833" y="1687"/>
                  </a:cubicBezTo>
                  <a:cubicBezTo>
                    <a:pt x="1834" y="1687"/>
                    <a:pt x="1836" y="1688"/>
                    <a:pt x="1838" y="1689"/>
                  </a:cubicBezTo>
                  <a:cubicBezTo>
                    <a:pt x="1839" y="1689"/>
                    <a:pt x="1840" y="1689"/>
                    <a:pt x="1841" y="1690"/>
                  </a:cubicBezTo>
                  <a:cubicBezTo>
                    <a:pt x="1842" y="1690"/>
                    <a:pt x="1842" y="1690"/>
                    <a:pt x="1843" y="1691"/>
                  </a:cubicBezTo>
                  <a:cubicBezTo>
                    <a:pt x="1845" y="1691"/>
                    <a:pt x="1846" y="1692"/>
                    <a:pt x="1847" y="1693"/>
                  </a:cubicBezTo>
                  <a:cubicBezTo>
                    <a:pt x="1852" y="1695"/>
                    <a:pt x="1856" y="1698"/>
                    <a:pt x="1859" y="1702"/>
                  </a:cubicBezTo>
                  <a:cubicBezTo>
                    <a:pt x="1862" y="1705"/>
                    <a:pt x="1864" y="1709"/>
                    <a:pt x="1865" y="1713"/>
                  </a:cubicBezTo>
                  <a:cubicBezTo>
                    <a:pt x="1870" y="1736"/>
                    <a:pt x="1870" y="1736"/>
                    <a:pt x="1870" y="1736"/>
                  </a:cubicBezTo>
                  <a:cubicBezTo>
                    <a:pt x="1871" y="1746"/>
                    <a:pt x="1873" y="1755"/>
                    <a:pt x="1875" y="1764"/>
                  </a:cubicBezTo>
                  <a:cubicBezTo>
                    <a:pt x="1875" y="1764"/>
                    <a:pt x="1875" y="1764"/>
                    <a:pt x="1875" y="1764"/>
                  </a:cubicBezTo>
                  <a:cubicBezTo>
                    <a:pt x="1876" y="1770"/>
                    <a:pt x="1876" y="1770"/>
                    <a:pt x="1876" y="1770"/>
                  </a:cubicBezTo>
                  <a:cubicBezTo>
                    <a:pt x="1877" y="1775"/>
                    <a:pt x="1877" y="1779"/>
                    <a:pt x="1875" y="1783"/>
                  </a:cubicBezTo>
                  <a:close/>
                  <a:moveTo>
                    <a:pt x="2041" y="1494"/>
                  </a:moveTo>
                  <a:cubicBezTo>
                    <a:pt x="2036" y="1492"/>
                    <a:pt x="2032" y="1490"/>
                    <a:pt x="2030" y="1487"/>
                  </a:cubicBezTo>
                  <a:cubicBezTo>
                    <a:pt x="2027" y="1485"/>
                    <a:pt x="2024" y="1482"/>
                    <a:pt x="2023" y="1479"/>
                  </a:cubicBezTo>
                  <a:cubicBezTo>
                    <a:pt x="2021" y="1474"/>
                    <a:pt x="2021" y="1474"/>
                    <a:pt x="2021" y="1474"/>
                  </a:cubicBezTo>
                  <a:cubicBezTo>
                    <a:pt x="2019" y="1467"/>
                    <a:pt x="2016" y="1460"/>
                    <a:pt x="2014" y="1453"/>
                  </a:cubicBezTo>
                  <a:cubicBezTo>
                    <a:pt x="2012" y="1449"/>
                    <a:pt x="2009" y="1444"/>
                    <a:pt x="2009" y="1439"/>
                  </a:cubicBezTo>
                  <a:cubicBezTo>
                    <a:pt x="2009" y="1439"/>
                    <a:pt x="2009" y="1438"/>
                    <a:pt x="2009" y="1437"/>
                  </a:cubicBezTo>
                  <a:cubicBezTo>
                    <a:pt x="2009" y="1437"/>
                    <a:pt x="2009" y="1437"/>
                    <a:pt x="2009" y="1437"/>
                  </a:cubicBezTo>
                  <a:cubicBezTo>
                    <a:pt x="2009" y="1436"/>
                    <a:pt x="2009" y="1436"/>
                    <a:pt x="2009" y="1436"/>
                  </a:cubicBezTo>
                  <a:cubicBezTo>
                    <a:pt x="2010" y="1435"/>
                    <a:pt x="2009" y="1435"/>
                    <a:pt x="2010" y="1434"/>
                  </a:cubicBezTo>
                  <a:cubicBezTo>
                    <a:pt x="2010" y="1434"/>
                    <a:pt x="2010" y="1434"/>
                    <a:pt x="2010" y="1434"/>
                  </a:cubicBezTo>
                  <a:cubicBezTo>
                    <a:pt x="2016" y="1421"/>
                    <a:pt x="2039" y="1423"/>
                    <a:pt x="2051" y="1423"/>
                  </a:cubicBezTo>
                  <a:cubicBezTo>
                    <a:pt x="2110" y="1422"/>
                    <a:pt x="2110" y="1422"/>
                    <a:pt x="2110" y="1422"/>
                  </a:cubicBezTo>
                  <a:cubicBezTo>
                    <a:pt x="2115" y="1422"/>
                    <a:pt x="2120" y="1423"/>
                    <a:pt x="2125" y="1424"/>
                  </a:cubicBezTo>
                  <a:cubicBezTo>
                    <a:pt x="2126" y="1424"/>
                    <a:pt x="2128" y="1424"/>
                    <a:pt x="2129" y="1425"/>
                  </a:cubicBezTo>
                  <a:cubicBezTo>
                    <a:pt x="2129" y="1425"/>
                    <a:pt x="2130" y="1425"/>
                    <a:pt x="2131" y="1425"/>
                  </a:cubicBezTo>
                  <a:cubicBezTo>
                    <a:pt x="2132" y="1425"/>
                    <a:pt x="2133" y="1426"/>
                    <a:pt x="2133" y="1426"/>
                  </a:cubicBezTo>
                  <a:cubicBezTo>
                    <a:pt x="2135" y="1426"/>
                    <a:pt x="2137" y="1427"/>
                    <a:pt x="2138" y="1428"/>
                  </a:cubicBezTo>
                  <a:cubicBezTo>
                    <a:pt x="2139" y="1428"/>
                    <a:pt x="2139" y="1428"/>
                    <a:pt x="2139" y="1428"/>
                  </a:cubicBezTo>
                  <a:cubicBezTo>
                    <a:pt x="2139" y="1428"/>
                    <a:pt x="2139" y="1428"/>
                    <a:pt x="2140" y="1428"/>
                  </a:cubicBezTo>
                  <a:cubicBezTo>
                    <a:pt x="2141" y="1429"/>
                    <a:pt x="2142" y="1429"/>
                    <a:pt x="2144" y="1430"/>
                  </a:cubicBezTo>
                  <a:cubicBezTo>
                    <a:pt x="2145" y="1431"/>
                    <a:pt x="2146" y="1431"/>
                    <a:pt x="2146" y="1431"/>
                  </a:cubicBezTo>
                  <a:cubicBezTo>
                    <a:pt x="2147" y="1432"/>
                    <a:pt x="2147" y="1432"/>
                    <a:pt x="2148" y="1432"/>
                  </a:cubicBezTo>
                  <a:cubicBezTo>
                    <a:pt x="2148" y="1433"/>
                    <a:pt x="2148" y="1433"/>
                    <a:pt x="2149" y="1433"/>
                  </a:cubicBezTo>
                  <a:cubicBezTo>
                    <a:pt x="2149" y="1433"/>
                    <a:pt x="2150" y="1434"/>
                    <a:pt x="2150" y="1434"/>
                  </a:cubicBezTo>
                  <a:cubicBezTo>
                    <a:pt x="2153" y="1436"/>
                    <a:pt x="2156" y="1439"/>
                    <a:pt x="2157" y="1442"/>
                  </a:cubicBezTo>
                  <a:cubicBezTo>
                    <a:pt x="2157" y="1442"/>
                    <a:pt x="2157" y="1442"/>
                    <a:pt x="2157" y="1442"/>
                  </a:cubicBezTo>
                  <a:cubicBezTo>
                    <a:pt x="2163" y="1450"/>
                    <a:pt x="2166" y="1460"/>
                    <a:pt x="2170" y="1468"/>
                  </a:cubicBezTo>
                  <a:cubicBezTo>
                    <a:pt x="2170" y="1468"/>
                    <a:pt x="2170" y="1468"/>
                    <a:pt x="2170" y="1468"/>
                  </a:cubicBezTo>
                  <a:cubicBezTo>
                    <a:pt x="2172" y="1473"/>
                    <a:pt x="2176" y="1477"/>
                    <a:pt x="2177" y="1482"/>
                  </a:cubicBezTo>
                  <a:cubicBezTo>
                    <a:pt x="2177" y="1482"/>
                    <a:pt x="2177" y="1483"/>
                    <a:pt x="2177" y="1483"/>
                  </a:cubicBezTo>
                  <a:cubicBezTo>
                    <a:pt x="2177" y="1483"/>
                    <a:pt x="2177" y="1483"/>
                    <a:pt x="2177" y="1483"/>
                  </a:cubicBezTo>
                  <a:cubicBezTo>
                    <a:pt x="2178" y="1492"/>
                    <a:pt x="2170" y="1496"/>
                    <a:pt x="2162" y="1498"/>
                  </a:cubicBezTo>
                  <a:cubicBezTo>
                    <a:pt x="2161" y="1498"/>
                    <a:pt x="2161" y="1498"/>
                    <a:pt x="2161" y="1499"/>
                  </a:cubicBezTo>
                  <a:cubicBezTo>
                    <a:pt x="2160" y="1499"/>
                    <a:pt x="2160" y="1499"/>
                    <a:pt x="2159" y="1499"/>
                  </a:cubicBezTo>
                  <a:cubicBezTo>
                    <a:pt x="2158" y="1499"/>
                    <a:pt x="2156" y="1499"/>
                    <a:pt x="2155" y="1500"/>
                  </a:cubicBezTo>
                  <a:cubicBezTo>
                    <a:pt x="2154" y="1500"/>
                    <a:pt x="2154" y="1500"/>
                    <a:pt x="2153" y="1500"/>
                  </a:cubicBezTo>
                  <a:cubicBezTo>
                    <a:pt x="2152" y="1500"/>
                    <a:pt x="2150" y="1500"/>
                    <a:pt x="2149" y="1500"/>
                  </a:cubicBezTo>
                  <a:cubicBezTo>
                    <a:pt x="2148" y="1500"/>
                    <a:pt x="2147" y="1500"/>
                    <a:pt x="2146" y="1500"/>
                  </a:cubicBezTo>
                  <a:cubicBezTo>
                    <a:pt x="2146" y="1500"/>
                    <a:pt x="2146" y="1500"/>
                    <a:pt x="2146" y="1500"/>
                  </a:cubicBezTo>
                  <a:cubicBezTo>
                    <a:pt x="2144" y="1500"/>
                    <a:pt x="2144" y="1500"/>
                    <a:pt x="2144" y="1500"/>
                  </a:cubicBezTo>
                  <a:cubicBezTo>
                    <a:pt x="2135" y="1500"/>
                    <a:pt x="2126" y="1500"/>
                    <a:pt x="2117" y="1500"/>
                  </a:cubicBezTo>
                  <a:cubicBezTo>
                    <a:pt x="2102" y="1500"/>
                    <a:pt x="2087" y="1500"/>
                    <a:pt x="2072" y="1500"/>
                  </a:cubicBezTo>
                  <a:cubicBezTo>
                    <a:pt x="2061" y="1500"/>
                    <a:pt x="2050" y="1499"/>
                    <a:pt x="2041" y="1494"/>
                  </a:cubicBezTo>
                  <a:cubicBezTo>
                    <a:pt x="2041" y="1494"/>
                    <a:pt x="2041" y="1494"/>
                    <a:pt x="2041" y="1494"/>
                  </a:cubicBezTo>
                  <a:close/>
                  <a:moveTo>
                    <a:pt x="2079" y="1621"/>
                  </a:moveTo>
                  <a:cubicBezTo>
                    <a:pt x="2076" y="1617"/>
                    <a:pt x="2073" y="1614"/>
                    <a:pt x="2072" y="1611"/>
                  </a:cubicBezTo>
                  <a:cubicBezTo>
                    <a:pt x="2064" y="1588"/>
                    <a:pt x="2064" y="1588"/>
                    <a:pt x="2064" y="1588"/>
                  </a:cubicBezTo>
                  <a:cubicBezTo>
                    <a:pt x="2061" y="1581"/>
                    <a:pt x="2059" y="1575"/>
                    <a:pt x="2056" y="1568"/>
                  </a:cubicBezTo>
                  <a:cubicBezTo>
                    <a:pt x="2056" y="1568"/>
                    <a:pt x="2056" y="1568"/>
                    <a:pt x="2056" y="1568"/>
                  </a:cubicBezTo>
                  <a:cubicBezTo>
                    <a:pt x="2055" y="1565"/>
                    <a:pt x="2055" y="1565"/>
                    <a:pt x="2055" y="1565"/>
                  </a:cubicBezTo>
                  <a:cubicBezTo>
                    <a:pt x="2054" y="1561"/>
                    <a:pt x="2054" y="1558"/>
                    <a:pt x="2055" y="1555"/>
                  </a:cubicBezTo>
                  <a:cubicBezTo>
                    <a:pt x="2056" y="1553"/>
                    <a:pt x="2057" y="1552"/>
                    <a:pt x="2059" y="1550"/>
                  </a:cubicBezTo>
                  <a:cubicBezTo>
                    <a:pt x="2059" y="1550"/>
                    <a:pt x="2059" y="1550"/>
                    <a:pt x="2060" y="1549"/>
                  </a:cubicBezTo>
                  <a:cubicBezTo>
                    <a:pt x="2060" y="1549"/>
                    <a:pt x="2061" y="1548"/>
                    <a:pt x="2061" y="1548"/>
                  </a:cubicBezTo>
                  <a:cubicBezTo>
                    <a:pt x="2064" y="1546"/>
                    <a:pt x="2068" y="1544"/>
                    <a:pt x="2072" y="1543"/>
                  </a:cubicBezTo>
                  <a:cubicBezTo>
                    <a:pt x="2076" y="1542"/>
                    <a:pt x="2080" y="1542"/>
                    <a:pt x="2084" y="1541"/>
                  </a:cubicBezTo>
                  <a:cubicBezTo>
                    <a:pt x="2100" y="1540"/>
                    <a:pt x="2117" y="1541"/>
                    <a:pt x="2125" y="1541"/>
                  </a:cubicBezTo>
                  <a:cubicBezTo>
                    <a:pt x="2153" y="1541"/>
                    <a:pt x="2202" y="1535"/>
                    <a:pt x="2218" y="1564"/>
                  </a:cubicBezTo>
                  <a:cubicBezTo>
                    <a:pt x="2218" y="1564"/>
                    <a:pt x="2218" y="1564"/>
                    <a:pt x="2218" y="1564"/>
                  </a:cubicBezTo>
                  <a:cubicBezTo>
                    <a:pt x="2218" y="1565"/>
                    <a:pt x="2218" y="1565"/>
                    <a:pt x="2218" y="1565"/>
                  </a:cubicBezTo>
                  <a:cubicBezTo>
                    <a:pt x="2218" y="1565"/>
                    <a:pt x="2218" y="1565"/>
                    <a:pt x="2218" y="1565"/>
                  </a:cubicBezTo>
                  <a:cubicBezTo>
                    <a:pt x="2224" y="1577"/>
                    <a:pt x="2230" y="1589"/>
                    <a:pt x="2236" y="1601"/>
                  </a:cubicBezTo>
                  <a:cubicBezTo>
                    <a:pt x="2238" y="1605"/>
                    <a:pt x="2241" y="1609"/>
                    <a:pt x="2242" y="1614"/>
                  </a:cubicBezTo>
                  <a:cubicBezTo>
                    <a:pt x="2242" y="1614"/>
                    <a:pt x="2242" y="1614"/>
                    <a:pt x="2242" y="1614"/>
                  </a:cubicBezTo>
                  <a:cubicBezTo>
                    <a:pt x="2242" y="1615"/>
                    <a:pt x="2242" y="1616"/>
                    <a:pt x="2242" y="1617"/>
                  </a:cubicBezTo>
                  <a:cubicBezTo>
                    <a:pt x="2242" y="1618"/>
                    <a:pt x="2242" y="1619"/>
                    <a:pt x="2242" y="1620"/>
                  </a:cubicBezTo>
                  <a:cubicBezTo>
                    <a:pt x="2242" y="1620"/>
                    <a:pt x="2242" y="1620"/>
                    <a:pt x="2242" y="1620"/>
                  </a:cubicBezTo>
                  <a:cubicBezTo>
                    <a:pt x="2242" y="1620"/>
                    <a:pt x="2242" y="1621"/>
                    <a:pt x="2242" y="1621"/>
                  </a:cubicBezTo>
                  <a:cubicBezTo>
                    <a:pt x="2242" y="1622"/>
                    <a:pt x="2241" y="1623"/>
                    <a:pt x="2240" y="1624"/>
                  </a:cubicBezTo>
                  <a:cubicBezTo>
                    <a:pt x="2240" y="1625"/>
                    <a:pt x="2240" y="1625"/>
                    <a:pt x="2240" y="1625"/>
                  </a:cubicBezTo>
                  <a:cubicBezTo>
                    <a:pt x="2239" y="1626"/>
                    <a:pt x="2238" y="1627"/>
                    <a:pt x="2237" y="1628"/>
                  </a:cubicBezTo>
                  <a:cubicBezTo>
                    <a:pt x="2237" y="1628"/>
                    <a:pt x="2237" y="1628"/>
                    <a:pt x="2237" y="1628"/>
                  </a:cubicBezTo>
                  <a:cubicBezTo>
                    <a:pt x="2236" y="1629"/>
                    <a:pt x="2236" y="1629"/>
                    <a:pt x="2236" y="1629"/>
                  </a:cubicBezTo>
                  <a:cubicBezTo>
                    <a:pt x="2235" y="1630"/>
                    <a:pt x="2234" y="1630"/>
                    <a:pt x="2234" y="1630"/>
                  </a:cubicBezTo>
                  <a:cubicBezTo>
                    <a:pt x="2231" y="1632"/>
                    <a:pt x="2229" y="1633"/>
                    <a:pt x="2225" y="1634"/>
                  </a:cubicBezTo>
                  <a:cubicBezTo>
                    <a:pt x="2225" y="1634"/>
                    <a:pt x="2224" y="1635"/>
                    <a:pt x="2223" y="1635"/>
                  </a:cubicBezTo>
                  <a:cubicBezTo>
                    <a:pt x="2221" y="1635"/>
                    <a:pt x="2220" y="1635"/>
                    <a:pt x="2219" y="1636"/>
                  </a:cubicBezTo>
                  <a:cubicBezTo>
                    <a:pt x="2218" y="1636"/>
                    <a:pt x="2218" y="1636"/>
                    <a:pt x="2217" y="1636"/>
                  </a:cubicBezTo>
                  <a:cubicBezTo>
                    <a:pt x="2217" y="1636"/>
                    <a:pt x="2216" y="1636"/>
                    <a:pt x="2216" y="1636"/>
                  </a:cubicBezTo>
                  <a:cubicBezTo>
                    <a:pt x="2187" y="1639"/>
                    <a:pt x="2156" y="1636"/>
                    <a:pt x="2126" y="1637"/>
                  </a:cubicBezTo>
                  <a:cubicBezTo>
                    <a:pt x="2123" y="1637"/>
                    <a:pt x="2120" y="1636"/>
                    <a:pt x="2117" y="1636"/>
                  </a:cubicBezTo>
                  <a:cubicBezTo>
                    <a:pt x="2117" y="1636"/>
                    <a:pt x="2117" y="1636"/>
                    <a:pt x="2117" y="1636"/>
                  </a:cubicBezTo>
                  <a:cubicBezTo>
                    <a:pt x="2106" y="1635"/>
                    <a:pt x="2095" y="1631"/>
                    <a:pt x="2086" y="1625"/>
                  </a:cubicBezTo>
                  <a:cubicBezTo>
                    <a:pt x="2083" y="1624"/>
                    <a:pt x="2081" y="1622"/>
                    <a:pt x="2079" y="1621"/>
                  </a:cubicBezTo>
                  <a:close/>
                  <a:moveTo>
                    <a:pt x="2322" y="1782"/>
                  </a:moveTo>
                  <a:cubicBezTo>
                    <a:pt x="2322" y="1783"/>
                    <a:pt x="2321" y="1783"/>
                    <a:pt x="2321" y="1784"/>
                  </a:cubicBezTo>
                  <a:cubicBezTo>
                    <a:pt x="2321" y="1785"/>
                    <a:pt x="2321" y="1785"/>
                    <a:pt x="2321" y="1786"/>
                  </a:cubicBezTo>
                  <a:cubicBezTo>
                    <a:pt x="2320" y="1787"/>
                    <a:pt x="2320" y="1788"/>
                    <a:pt x="2319" y="1789"/>
                  </a:cubicBezTo>
                  <a:cubicBezTo>
                    <a:pt x="2319" y="1789"/>
                    <a:pt x="2319" y="1789"/>
                    <a:pt x="2319" y="1790"/>
                  </a:cubicBezTo>
                  <a:cubicBezTo>
                    <a:pt x="2318" y="1790"/>
                    <a:pt x="2318" y="1791"/>
                    <a:pt x="2317" y="1791"/>
                  </a:cubicBezTo>
                  <a:cubicBezTo>
                    <a:pt x="2317" y="1791"/>
                    <a:pt x="2317" y="1792"/>
                    <a:pt x="2316" y="1792"/>
                  </a:cubicBezTo>
                  <a:cubicBezTo>
                    <a:pt x="2316" y="1792"/>
                    <a:pt x="2316" y="1792"/>
                    <a:pt x="2316" y="1793"/>
                  </a:cubicBezTo>
                  <a:cubicBezTo>
                    <a:pt x="2310" y="1798"/>
                    <a:pt x="2303" y="1800"/>
                    <a:pt x="2296" y="1801"/>
                  </a:cubicBezTo>
                  <a:cubicBezTo>
                    <a:pt x="2296" y="1801"/>
                    <a:pt x="2295" y="1801"/>
                    <a:pt x="2295" y="1801"/>
                  </a:cubicBezTo>
                  <a:cubicBezTo>
                    <a:pt x="2292" y="1802"/>
                    <a:pt x="2289" y="1802"/>
                    <a:pt x="2286" y="1802"/>
                  </a:cubicBezTo>
                  <a:cubicBezTo>
                    <a:pt x="2286" y="1802"/>
                    <a:pt x="2286" y="1802"/>
                    <a:pt x="2286" y="1802"/>
                  </a:cubicBezTo>
                  <a:cubicBezTo>
                    <a:pt x="2283" y="1802"/>
                    <a:pt x="2283" y="1802"/>
                    <a:pt x="2283" y="1802"/>
                  </a:cubicBezTo>
                  <a:cubicBezTo>
                    <a:pt x="2280" y="1802"/>
                    <a:pt x="2277" y="1802"/>
                    <a:pt x="2275" y="1802"/>
                  </a:cubicBezTo>
                  <a:cubicBezTo>
                    <a:pt x="2193" y="1802"/>
                    <a:pt x="2193" y="1802"/>
                    <a:pt x="2193" y="1802"/>
                  </a:cubicBezTo>
                  <a:cubicBezTo>
                    <a:pt x="2190" y="1802"/>
                    <a:pt x="2187" y="1802"/>
                    <a:pt x="2184" y="1802"/>
                  </a:cubicBezTo>
                  <a:cubicBezTo>
                    <a:pt x="2183" y="1801"/>
                    <a:pt x="2182" y="1801"/>
                    <a:pt x="2181" y="1801"/>
                  </a:cubicBezTo>
                  <a:cubicBezTo>
                    <a:pt x="2164" y="1799"/>
                    <a:pt x="2144" y="1791"/>
                    <a:pt x="2135" y="1776"/>
                  </a:cubicBezTo>
                  <a:cubicBezTo>
                    <a:pt x="2133" y="1774"/>
                    <a:pt x="2132" y="1772"/>
                    <a:pt x="2131" y="1770"/>
                  </a:cubicBezTo>
                  <a:cubicBezTo>
                    <a:pt x="2131" y="1769"/>
                    <a:pt x="2131" y="1769"/>
                    <a:pt x="2131" y="1769"/>
                  </a:cubicBezTo>
                  <a:cubicBezTo>
                    <a:pt x="2131" y="1769"/>
                    <a:pt x="2131" y="1769"/>
                    <a:pt x="2131" y="1769"/>
                  </a:cubicBezTo>
                  <a:cubicBezTo>
                    <a:pt x="2127" y="1757"/>
                    <a:pt x="2122" y="1746"/>
                    <a:pt x="2118" y="1734"/>
                  </a:cubicBezTo>
                  <a:cubicBezTo>
                    <a:pt x="2116" y="1728"/>
                    <a:pt x="2112" y="1720"/>
                    <a:pt x="2110" y="1713"/>
                  </a:cubicBezTo>
                  <a:cubicBezTo>
                    <a:pt x="2110" y="1713"/>
                    <a:pt x="2110" y="1713"/>
                    <a:pt x="2110" y="1713"/>
                  </a:cubicBezTo>
                  <a:cubicBezTo>
                    <a:pt x="2110" y="1713"/>
                    <a:pt x="2110" y="1712"/>
                    <a:pt x="2110" y="1712"/>
                  </a:cubicBezTo>
                  <a:cubicBezTo>
                    <a:pt x="2110" y="1712"/>
                    <a:pt x="2109" y="1711"/>
                    <a:pt x="2109" y="1710"/>
                  </a:cubicBezTo>
                  <a:cubicBezTo>
                    <a:pt x="2109" y="1707"/>
                    <a:pt x="2109" y="1704"/>
                    <a:pt x="2109" y="1701"/>
                  </a:cubicBezTo>
                  <a:cubicBezTo>
                    <a:pt x="2110" y="1699"/>
                    <a:pt x="2111" y="1698"/>
                    <a:pt x="2112" y="1696"/>
                  </a:cubicBezTo>
                  <a:cubicBezTo>
                    <a:pt x="2112" y="1696"/>
                    <a:pt x="2112" y="1696"/>
                    <a:pt x="2112" y="1696"/>
                  </a:cubicBezTo>
                  <a:cubicBezTo>
                    <a:pt x="2117" y="1688"/>
                    <a:pt x="2126" y="1685"/>
                    <a:pt x="2136" y="1684"/>
                  </a:cubicBezTo>
                  <a:cubicBezTo>
                    <a:pt x="2136" y="1684"/>
                    <a:pt x="2136" y="1684"/>
                    <a:pt x="2137" y="1684"/>
                  </a:cubicBezTo>
                  <a:cubicBezTo>
                    <a:pt x="2139" y="1684"/>
                    <a:pt x="2141" y="1684"/>
                    <a:pt x="2144" y="1684"/>
                  </a:cubicBezTo>
                  <a:cubicBezTo>
                    <a:pt x="2144" y="1684"/>
                    <a:pt x="2145" y="1683"/>
                    <a:pt x="2145" y="1683"/>
                  </a:cubicBezTo>
                  <a:cubicBezTo>
                    <a:pt x="2151" y="1683"/>
                    <a:pt x="2151" y="1683"/>
                    <a:pt x="2151" y="1683"/>
                  </a:cubicBezTo>
                  <a:cubicBezTo>
                    <a:pt x="2152" y="1683"/>
                    <a:pt x="2153" y="1683"/>
                    <a:pt x="2155" y="1683"/>
                  </a:cubicBezTo>
                  <a:cubicBezTo>
                    <a:pt x="2180" y="1683"/>
                    <a:pt x="2205" y="1683"/>
                    <a:pt x="2231" y="1683"/>
                  </a:cubicBezTo>
                  <a:cubicBezTo>
                    <a:pt x="2231" y="1683"/>
                    <a:pt x="2231" y="1683"/>
                    <a:pt x="2231" y="1683"/>
                  </a:cubicBezTo>
                  <a:cubicBezTo>
                    <a:pt x="2231" y="1683"/>
                    <a:pt x="2231" y="1683"/>
                    <a:pt x="2231" y="1683"/>
                  </a:cubicBezTo>
                  <a:cubicBezTo>
                    <a:pt x="2234" y="1683"/>
                    <a:pt x="2237" y="1683"/>
                    <a:pt x="2240" y="1684"/>
                  </a:cubicBezTo>
                  <a:cubicBezTo>
                    <a:pt x="2240" y="1684"/>
                    <a:pt x="2241" y="1684"/>
                    <a:pt x="2241" y="1684"/>
                  </a:cubicBezTo>
                  <a:cubicBezTo>
                    <a:pt x="2258" y="1686"/>
                    <a:pt x="2277" y="1693"/>
                    <a:pt x="2287" y="1706"/>
                  </a:cubicBezTo>
                  <a:cubicBezTo>
                    <a:pt x="2289" y="1708"/>
                    <a:pt x="2290" y="1710"/>
                    <a:pt x="2291" y="1712"/>
                  </a:cubicBezTo>
                  <a:cubicBezTo>
                    <a:pt x="2294" y="1717"/>
                    <a:pt x="2294" y="1717"/>
                    <a:pt x="2294" y="1717"/>
                  </a:cubicBezTo>
                  <a:cubicBezTo>
                    <a:pt x="2299" y="1727"/>
                    <a:pt x="2304" y="1737"/>
                    <a:pt x="2309" y="1748"/>
                  </a:cubicBezTo>
                  <a:cubicBezTo>
                    <a:pt x="2312" y="1754"/>
                    <a:pt x="2318" y="1762"/>
                    <a:pt x="2320" y="1771"/>
                  </a:cubicBezTo>
                  <a:cubicBezTo>
                    <a:pt x="2322" y="1775"/>
                    <a:pt x="2323" y="1778"/>
                    <a:pt x="2322" y="1782"/>
                  </a:cubicBezTo>
                  <a:close/>
                  <a:moveTo>
                    <a:pt x="2340" y="1624"/>
                  </a:moveTo>
                  <a:cubicBezTo>
                    <a:pt x="2338" y="1622"/>
                    <a:pt x="2337" y="1621"/>
                    <a:pt x="2335" y="1620"/>
                  </a:cubicBezTo>
                  <a:cubicBezTo>
                    <a:pt x="2331" y="1617"/>
                    <a:pt x="2328" y="1613"/>
                    <a:pt x="2326" y="1610"/>
                  </a:cubicBezTo>
                  <a:cubicBezTo>
                    <a:pt x="2324" y="1607"/>
                    <a:pt x="2324" y="1607"/>
                    <a:pt x="2324" y="1607"/>
                  </a:cubicBezTo>
                  <a:cubicBezTo>
                    <a:pt x="2324" y="1607"/>
                    <a:pt x="2324" y="1607"/>
                    <a:pt x="2324" y="1607"/>
                  </a:cubicBezTo>
                  <a:cubicBezTo>
                    <a:pt x="2317" y="1594"/>
                    <a:pt x="2310" y="1582"/>
                    <a:pt x="2303" y="1569"/>
                  </a:cubicBezTo>
                  <a:cubicBezTo>
                    <a:pt x="2303" y="1569"/>
                    <a:pt x="2303" y="1569"/>
                    <a:pt x="2303" y="1569"/>
                  </a:cubicBezTo>
                  <a:cubicBezTo>
                    <a:pt x="2300" y="1564"/>
                    <a:pt x="2300" y="1564"/>
                    <a:pt x="2300" y="1564"/>
                  </a:cubicBezTo>
                  <a:cubicBezTo>
                    <a:pt x="2298" y="1561"/>
                    <a:pt x="2298" y="1558"/>
                    <a:pt x="2298" y="1555"/>
                  </a:cubicBezTo>
                  <a:cubicBezTo>
                    <a:pt x="2299" y="1552"/>
                    <a:pt x="2300" y="1550"/>
                    <a:pt x="2303" y="1547"/>
                  </a:cubicBezTo>
                  <a:cubicBezTo>
                    <a:pt x="2306" y="1545"/>
                    <a:pt x="2309" y="1544"/>
                    <a:pt x="2313" y="1542"/>
                  </a:cubicBezTo>
                  <a:cubicBezTo>
                    <a:pt x="2318" y="1541"/>
                    <a:pt x="2323" y="1541"/>
                    <a:pt x="2329" y="1541"/>
                  </a:cubicBezTo>
                  <a:cubicBezTo>
                    <a:pt x="2330" y="1541"/>
                    <a:pt x="2330" y="1541"/>
                    <a:pt x="2330" y="1541"/>
                  </a:cubicBezTo>
                  <a:cubicBezTo>
                    <a:pt x="2342" y="1540"/>
                    <a:pt x="2356" y="1540"/>
                    <a:pt x="2363" y="1540"/>
                  </a:cubicBezTo>
                  <a:cubicBezTo>
                    <a:pt x="2394" y="1540"/>
                    <a:pt x="2443" y="1534"/>
                    <a:pt x="2463" y="1564"/>
                  </a:cubicBezTo>
                  <a:cubicBezTo>
                    <a:pt x="2470" y="1573"/>
                    <a:pt x="2476" y="1583"/>
                    <a:pt x="2483" y="1593"/>
                  </a:cubicBezTo>
                  <a:cubicBezTo>
                    <a:pt x="2486" y="1598"/>
                    <a:pt x="2492" y="1605"/>
                    <a:pt x="2495" y="1611"/>
                  </a:cubicBezTo>
                  <a:cubicBezTo>
                    <a:pt x="2497" y="1614"/>
                    <a:pt x="2498" y="1617"/>
                    <a:pt x="2498" y="1620"/>
                  </a:cubicBezTo>
                  <a:cubicBezTo>
                    <a:pt x="2498" y="1621"/>
                    <a:pt x="2497" y="1623"/>
                    <a:pt x="2496" y="1625"/>
                  </a:cubicBezTo>
                  <a:cubicBezTo>
                    <a:pt x="2496" y="1626"/>
                    <a:pt x="2495" y="1627"/>
                    <a:pt x="2494" y="1628"/>
                  </a:cubicBezTo>
                  <a:cubicBezTo>
                    <a:pt x="2494" y="1628"/>
                    <a:pt x="2494" y="1628"/>
                    <a:pt x="2494" y="1628"/>
                  </a:cubicBezTo>
                  <a:cubicBezTo>
                    <a:pt x="2494" y="1628"/>
                    <a:pt x="2494" y="1628"/>
                    <a:pt x="2494" y="1628"/>
                  </a:cubicBezTo>
                  <a:cubicBezTo>
                    <a:pt x="2493" y="1629"/>
                    <a:pt x="2493" y="1629"/>
                    <a:pt x="2492" y="1630"/>
                  </a:cubicBezTo>
                  <a:cubicBezTo>
                    <a:pt x="2492" y="1630"/>
                    <a:pt x="2491" y="1630"/>
                    <a:pt x="2491" y="1630"/>
                  </a:cubicBezTo>
                  <a:cubicBezTo>
                    <a:pt x="2490" y="1631"/>
                    <a:pt x="2489" y="1631"/>
                    <a:pt x="2488" y="1632"/>
                  </a:cubicBezTo>
                  <a:cubicBezTo>
                    <a:pt x="2487" y="1632"/>
                    <a:pt x="2485" y="1633"/>
                    <a:pt x="2484" y="1633"/>
                  </a:cubicBezTo>
                  <a:cubicBezTo>
                    <a:pt x="2484" y="1633"/>
                    <a:pt x="2484" y="1634"/>
                    <a:pt x="2484" y="1634"/>
                  </a:cubicBezTo>
                  <a:cubicBezTo>
                    <a:pt x="2484" y="1634"/>
                    <a:pt x="2483" y="1634"/>
                    <a:pt x="2483" y="1634"/>
                  </a:cubicBezTo>
                  <a:cubicBezTo>
                    <a:pt x="2469" y="1638"/>
                    <a:pt x="2448" y="1636"/>
                    <a:pt x="2434" y="1636"/>
                  </a:cubicBezTo>
                  <a:cubicBezTo>
                    <a:pt x="2418" y="1636"/>
                    <a:pt x="2401" y="1636"/>
                    <a:pt x="2385" y="1636"/>
                  </a:cubicBezTo>
                  <a:cubicBezTo>
                    <a:pt x="2370" y="1636"/>
                    <a:pt x="2353" y="1632"/>
                    <a:pt x="2340" y="1624"/>
                  </a:cubicBezTo>
                  <a:close/>
                  <a:moveTo>
                    <a:pt x="2605" y="1791"/>
                  </a:moveTo>
                  <a:cubicBezTo>
                    <a:pt x="2605" y="1791"/>
                    <a:pt x="2605" y="1791"/>
                    <a:pt x="2604" y="1791"/>
                  </a:cubicBezTo>
                  <a:cubicBezTo>
                    <a:pt x="2602" y="1794"/>
                    <a:pt x="2598" y="1797"/>
                    <a:pt x="2593" y="1798"/>
                  </a:cubicBezTo>
                  <a:cubicBezTo>
                    <a:pt x="2589" y="1800"/>
                    <a:pt x="2583" y="1801"/>
                    <a:pt x="2576" y="1801"/>
                  </a:cubicBezTo>
                  <a:cubicBezTo>
                    <a:pt x="2569" y="1801"/>
                    <a:pt x="2569" y="1801"/>
                    <a:pt x="2569" y="1801"/>
                  </a:cubicBezTo>
                  <a:cubicBezTo>
                    <a:pt x="2569" y="1801"/>
                    <a:pt x="2569" y="1801"/>
                    <a:pt x="2569" y="1801"/>
                  </a:cubicBezTo>
                  <a:cubicBezTo>
                    <a:pt x="2541" y="1801"/>
                    <a:pt x="2512" y="1801"/>
                    <a:pt x="2483" y="1801"/>
                  </a:cubicBezTo>
                  <a:cubicBezTo>
                    <a:pt x="2480" y="1801"/>
                    <a:pt x="2476" y="1801"/>
                    <a:pt x="2473" y="1801"/>
                  </a:cubicBezTo>
                  <a:cubicBezTo>
                    <a:pt x="2473" y="1801"/>
                    <a:pt x="2473" y="1801"/>
                    <a:pt x="2473" y="1801"/>
                  </a:cubicBezTo>
                  <a:cubicBezTo>
                    <a:pt x="2453" y="1799"/>
                    <a:pt x="2432" y="1790"/>
                    <a:pt x="2419" y="1775"/>
                  </a:cubicBezTo>
                  <a:cubicBezTo>
                    <a:pt x="2418" y="1773"/>
                    <a:pt x="2416" y="1771"/>
                    <a:pt x="2415" y="1769"/>
                  </a:cubicBezTo>
                  <a:cubicBezTo>
                    <a:pt x="2415" y="1769"/>
                    <a:pt x="2415" y="1769"/>
                    <a:pt x="2415" y="1769"/>
                  </a:cubicBezTo>
                  <a:cubicBezTo>
                    <a:pt x="2415" y="1769"/>
                    <a:pt x="2415" y="1769"/>
                    <a:pt x="2415" y="1769"/>
                  </a:cubicBezTo>
                  <a:cubicBezTo>
                    <a:pt x="2409" y="1758"/>
                    <a:pt x="2402" y="1747"/>
                    <a:pt x="2396" y="1736"/>
                  </a:cubicBezTo>
                  <a:cubicBezTo>
                    <a:pt x="2392" y="1728"/>
                    <a:pt x="2383" y="1716"/>
                    <a:pt x="2381" y="1706"/>
                  </a:cubicBezTo>
                  <a:cubicBezTo>
                    <a:pt x="2381" y="1706"/>
                    <a:pt x="2381" y="1706"/>
                    <a:pt x="2381" y="1706"/>
                  </a:cubicBezTo>
                  <a:cubicBezTo>
                    <a:pt x="2380" y="1705"/>
                    <a:pt x="2380" y="1704"/>
                    <a:pt x="2380" y="1703"/>
                  </a:cubicBezTo>
                  <a:cubicBezTo>
                    <a:pt x="2379" y="1693"/>
                    <a:pt x="2387" y="1688"/>
                    <a:pt x="2396" y="1685"/>
                  </a:cubicBezTo>
                  <a:cubicBezTo>
                    <a:pt x="2396" y="1685"/>
                    <a:pt x="2396" y="1685"/>
                    <a:pt x="2396" y="1685"/>
                  </a:cubicBezTo>
                  <a:cubicBezTo>
                    <a:pt x="2396" y="1685"/>
                    <a:pt x="2397" y="1685"/>
                    <a:pt x="2397" y="1685"/>
                  </a:cubicBezTo>
                  <a:cubicBezTo>
                    <a:pt x="2398" y="1685"/>
                    <a:pt x="2398" y="1685"/>
                    <a:pt x="2399" y="1684"/>
                  </a:cubicBezTo>
                  <a:cubicBezTo>
                    <a:pt x="2403" y="1683"/>
                    <a:pt x="2408" y="1683"/>
                    <a:pt x="2413" y="1683"/>
                  </a:cubicBezTo>
                  <a:cubicBezTo>
                    <a:pt x="2470" y="1683"/>
                    <a:pt x="2470" y="1683"/>
                    <a:pt x="2470" y="1683"/>
                  </a:cubicBezTo>
                  <a:cubicBezTo>
                    <a:pt x="2479" y="1683"/>
                    <a:pt x="2489" y="1683"/>
                    <a:pt x="2498" y="1683"/>
                  </a:cubicBezTo>
                  <a:cubicBezTo>
                    <a:pt x="2498" y="1683"/>
                    <a:pt x="2498" y="1683"/>
                    <a:pt x="2498" y="1683"/>
                  </a:cubicBezTo>
                  <a:cubicBezTo>
                    <a:pt x="2499" y="1683"/>
                    <a:pt x="2499" y="1683"/>
                    <a:pt x="2500" y="1683"/>
                  </a:cubicBezTo>
                  <a:cubicBezTo>
                    <a:pt x="2502" y="1683"/>
                    <a:pt x="2505" y="1683"/>
                    <a:pt x="2507" y="1683"/>
                  </a:cubicBezTo>
                  <a:cubicBezTo>
                    <a:pt x="2508" y="1683"/>
                    <a:pt x="2508" y="1683"/>
                    <a:pt x="2509" y="1683"/>
                  </a:cubicBezTo>
                  <a:cubicBezTo>
                    <a:pt x="2527" y="1685"/>
                    <a:pt x="2546" y="1692"/>
                    <a:pt x="2558" y="1705"/>
                  </a:cubicBezTo>
                  <a:cubicBezTo>
                    <a:pt x="2559" y="1705"/>
                    <a:pt x="2560" y="1706"/>
                    <a:pt x="2561" y="1707"/>
                  </a:cubicBezTo>
                  <a:cubicBezTo>
                    <a:pt x="2561" y="1708"/>
                    <a:pt x="2562" y="1708"/>
                    <a:pt x="2562" y="1709"/>
                  </a:cubicBezTo>
                  <a:cubicBezTo>
                    <a:pt x="2563" y="1710"/>
                    <a:pt x="2563" y="1710"/>
                    <a:pt x="2564" y="1711"/>
                  </a:cubicBezTo>
                  <a:cubicBezTo>
                    <a:pt x="2564" y="1711"/>
                    <a:pt x="2564" y="1711"/>
                    <a:pt x="2564" y="1711"/>
                  </a:cubicBezTo>
                  <a:cubicBezTo>
                    <a:pt x="2566" y="1713"/>
                    <a:pt x="2566" y="1713"/>
                    <a:pt x="2566" y="1713"/>
                  </a:cubicBezTo>
                  <a:cubicBezTo>
                    <a:pt x="2571" y="1721"/>
                    <a:pt x="2576" y="1729"/>
                    <a:pt x="2582" y="1737"/>
                  </a:cubicBezTo>
                  <a:cubicBezTo>
                    <a:pt x="2582" y="1737"/>
                    <a:pt x="2582" y="1737"/>
                    <a:pt x="2582" y="1737"/>
                  </a:cubicBezTo>
                  <a:cubicBezTo>
                    <a:pt x="2589" y="1748"/>
                    <a:pt x="2599" y="1759"/>
                    <a:pt x="2605" y="1772"/>
                  </a:cubicBezTo>
                  <a:cubicBezTo>
                    <a:pt x="2606" y="1773"/>
                    <a:pt x="2606" y="1773"/>
                    <a:pt x="2606" y="1774"/>
                  </a:cubicBezTo>
                  <a:cubicBezTo>
                    <a:pt x="2607" y="1775"/>
                    <a:pt x="2607" y="1775"/>
                    <a:pt x="2607" y="1775"/>
                  </a:cubicBezTo>
                  <a:cubicBezTo>
                    <a:pt x="2609" y="1782"/>
                    <a:pt x="2608" y="1787"/>
                    <a:pt x="2605" y="1791"/>
                  </a:cubicBezTo>
                  <a:close/>
                  <a:moveTo>
                    <a:pt x="2937" y="318"/>
                  </a:moveTo>
                  <a:cubicBezTo>
                    <a:pt x="3034" y="414"/>
                    <a:pt x="3089" y="549"/>
                    <a:pt x="3089" y="685"/>
                  </a:cubicBezTo>
                  <a:cubicBezTo>
                    <a:pt x="3089" y="821"/>
                    <a:pt x="3034" y="955"/>
                    <a:pt x="2937" y="1051"/>
                  </a:cubicBezTo>
                  <a:cubicBezTo>
                    <a:pt x="3050" y="999"/>
                    <a:pt x="3153" y="855"/>
                    <a:pt x="3152" y="685"/>
                  </a:cubicBezTo>
                  <a:cubicBezTo>
                    <a:pt x="3153" y="514"/>
                    <a:pt x="3050" y="371"/>
                    <a:pt x="2937" y="318"/>
                  </a:cubicBezTo>
                  <a:close/>
                  <a:moveTo>
                    <a:pt x="216" y="318"/>
                  </a:moveTo>
                  <a:cubicBezTo>
                    <a:pt x="104" y="371"/>
                    <a:pt x="0" y="514"/>
                    <a:pt x="2" y="685"/>
                  </a:cubicBezTo>
                  <a:cubicBezTo>
                    <a:pt x="0" y="855"/>
                    <a:pt x="104" y="999"/>
                    <a:pt x="216" y="1051"/>
                  </a:cubicBezTo>
                  <a:cubicBezTo>
                    <a:pt x="120" y="955"/>
                    <a:pt x="64" y="821"/>
                    <a:pt x="65" y="685"/>
                  </a:cubicBezTo>
                  <a:cubicBezTo>
                    <a:pt x="64" y="549"/>
                    <a:pt x="120" y="414"/>
                    <a:pt x="216" y="318"/>
                  </a:cubicBezTo>
                  <a:close/>
                </a:path>
              </a:pathLst>
            </a:custGeom>
            <a:solidFill>
              <a:srgbClr val="FFFFFF"/>
            </a:solidFill>
            <a:ln>
              <a:noFill/>
            </a:ln>
          </p:spPr>
          <p:txBody>
            <a:bodyPr vert="horz" wrap="square" lIns="0" tIns="274320" rIns="82305" bIns="41153" numCol="1" anchor="t" anchorCtr="0" compatLnSpc="1">
              <a:prstTxWarp prst="textNoShape">
                <a:avLst/>
              </a:prstTxWarp>
            </a:bodyPr>
            <a:lstStyle/>
            <a:p>
              <a:pPr algn="ctr" defTabSz="685862">
                <a:defRPr/>
              </a:pPr>
              <a:endParaRPr lang="en-US" sz="1200" kern="0" dirty="0">
                <a:gradFill>
                  <a:gsLst>
                    <a:gs pos="0">
                      <a:srgbClr val="FFFFFF"/>
                    </a:gs>
                    <a:gs pos="100000">
                      <a:srgbClr val="FFFFFF"/>
                    </a:gs>
                  </a:gsLst>
                  <a:lin ang="5400000" scaled="0"/>
                </a:gradFill>
              </a:endParaRPr>
            </a:p>
          </p:txBody>
        </p:sp>
      </p:grpSp>
      <p:grpSp>
        <p:nvGrpSpPr>
          <p:cNvPr id="13" name="Group 12"/>
          <p:cNvGrpSpPr/>
          <p:nvPr/>
        </p:nvGrpSpPr>
        <p:grpSpPr>
          <a:xfrm>
            <a:off x="6066909" y="1323976"/>
            <a:ext cx="2686465" cy="1599932"/>
            <a:chOff x="8087105" y="1765300"/>
            <a:chExt cx="3581020" cy="2133243"/>
          </a:xfrm>
        </p:grpSpPr>
        <p:sp>
          <p:nvSpPr>
            <p:cNvPr id="14" name="Rectangle 13"/>
            <p:cNvSpPr/>
            <p:nvPr/>
          </p:nvSpPr>
          <p:spPr bwMode="auto">
            <a:xfrm>
              <a:off x="8087105" y="1765300"/>
              <a:ext cx="3581020" cy="2133243"/>
            </a:xfrm>
            <a:prstGeom prst="rect">
              <a:avLst/>
            </a:prstGeom>
            <a:solidFill>
              <a:schemeClr val="accent2"/>
            </a:solidFill>
            <a:ln w="25400" cap="flat" cmpd="sng" algn="ctr">
              <a:noFill/>
              <a:prstDash val="solid"/>
              <a:headEnd type="none" w="med" len="med"/>
              <a:tailEnd type="none" w="med" len="med"/>
            </a:ln>
            <a:effectLst/>
          </p:spPr>
          <p:txBody>
            <a:bodyPr vert="horz" wrap="square" lIns="182880" tIns="228600" rIns="91436" bIns="45718" numCol="1" rtlCol="0" anchor="t" anchorCtr="0" compatLnSpc="1">
              <a:prstTxWarp prst="textNoShape">
                <a:avLst/>
              </a:prstTxWarp>
            </a:bodyPr>
            <a:lstStyle/>
            <a:p>
              <a:pPr defTabSz="685637" fontAlgn="base">
                <a:lnSpc>
                  <a:spcPct val="90000"/>
                </a:lnSpc>
                <a:spcBef>
                  <a:spcPct val="0"/>
                </a:spcBef>
                <a:spcAft>
                  <a:spcPct val="0"/>
                </a:spcAft>
              </a:pPr>
              <a:r>
                <a:rPr lang="en-US" sz="2700" spc="-75" dirty="0">
                  <a:gradFill>
                    <a:gsLst>
                      <a:gs pos="0">
                        <a:srgbClr val="FFFFFF"/>
                      </a:gs>
                      <a:gs pos="100000">
                        <a:srgbClr val="FFFFFF"/>
                      </a:gs>
                    </a:gsLst>
                    <a:lin ang="5400000" scaled="0"/>
                  </a:gradFill>
                  <a:latin typeface="+mj-lt"/>
                </a:rPr>
                <a:t>Consumerization of IT</a:t>
              </a:r>
            </a:p>
          </p:txBody>
        </p:sp>
        <p:sp>
          <p:nvSpPr>
            <p:cNvPr id="15" name="Freeform 6"/>
            <p:cNvSpPr>
              <a:spLocks noEditPoints="1"/>
            </p:cNvSpPr>
            <p:nvPr/>
          </p:nvSpPr>
          <p:spPr bwMode="auto">
            <a:xfrm>
              <a:off x="9237294" y="3127869"/>
              <a:ext cx="2132239" cy="523157"/>
            </a:xfrm>
            <a:custGeom>
              <a:avLst/>
              <a:gdLst>
                <a:gd name="T0" fmla="*/ 987 w 1066"/>
                <a:gd name="T1" fmla="*/ 171 h 261"/>
                <a:gd name="T2" fmla="*/ 1020 w 1066"/>
                <a:gd name="T3" fmla="*/ 32 h 261"/>
                <a:gd name="T4" fmla="*/ 831 w 1066"/>
                <a:gd name="T5" fmla="*/ 0 h 261"/>
                <a:gd name="T6" fmla="*/ 799 w 1066"/>
                <a:gd name="T7" fmla="*/ 138 h 261"/>
                <a:gd name="T8" fmla="*/ 818 w 1066"/>
                <a:gd name="T9" fmla="*/ 32 h 261"/>
                <a:gd name="T10" fmla="*/ 987 w 1066"/>
                <a:gd name="T11" fmla="*/ 19 h 261"/>
                <a:gd name="T12" fmla="*/ 1000 w 1066"/>
                <a:gd name="T13" fmla="*/ 138 h 261"/>
                <a:gd name="T14" fmla="*/ 831 w 1066"/>
                <a:gd name="T15" fmla="*/ 152 h 261"/>
                <a:gd name="T16" fmla="*/ 818 w 1066"/>
                <a:gd name="T17" fmla="*/ 32 h 261"/>
                <a:gd name="T18" fmla="*/ 760 w 1066"/>
                <a:gd name="T19" fmla="*/ 261 h 261"/>
                <a:gd name="T20" fmla="*/ 1066 w 1066"/>
                <a:gd name="T21" fmla="*/ 253 h 261"/>
                <a:gd name="T22" fmla="*/ 1061 w 1066"/>
                <a:gd name="T23" fmla="*/ 235 h 261"/>
                <a:gd name="T24" fmla="*/ 1008 w 1066"/>
                <a:gd name="T25" fmla="*/ 183 h 261"/>
                <a:gd name="T26" fmla="*/ 796 w 1066"/>
                <a:gd name="T27" fmla="*/ 189 h 261"/>
                <a:gd name="T28" fmla="*/ 752 w 1066"/>
                <a:gd name="T29" fmla="*/ 249 h 261"/>
                <a:gd name="T30" fmla="*/ 760 w 1066"/>
                <a:gd name="T31" fmla="*/ 261 h 261"/>
                <a:gd name="T32" fmla="*/ 424 w 1066"/>
                <a:gd name="T33" fmla="*/ 138 h 261"/>
                <a:gd name="T34" fmla="*/ 613 w 1066"/>
                <a:gd name="T35" fmla="*/ 171 h 261"/>
                <a:gd name="T36" fmla="*/ 645 w 1066"/>
                <a:gd name="T37" fmla="*/ 32 h 261"/>
                <a:gd name="T38" fmla="*/ 458 w 1066"/>
                <a:gd name="T39" fmla="*/ 0 h 261"/>
                <a:gd name="T40" fmla="*/ 626 w 1066"/>
                <a:gd name="T41" fmla="*/ 32 h 261"/>
                <a:gd name="T42" fmla="*/ 613 w 1066"/>
                <a:gd name="T43" fmla="*/ 152 h 261"/>
                <a:gd name="T44" fmla="*/ 444 w 1066"/>
                <a:gd name="T45" fmla="*/ 138 h 261"/>
                <a:gd name="T46" fmla="*/ 458 w 1066"/>
                <a:gd name="T47" fmla="*/ 19 h 261"/>
                <a:gd name="T48" fmla="*/ 626 w 1066"/>
                <a:gd name="T49" fmla="*/ 32 h 261"/>
                <a:gd name="T50" fmla="*/ 648 w 1066"/>
                <a:gd name="T51" fmla="*/ 189 h 261"/>
                <a:gd name="T52" fmla="*/ 436 w 1066"/>
                <a:gd name="T53" fmla="*/ 183 h 261"/>
                <a:gd name="T54" fmla="*/ 383 w 1066"/>
                <a:gd name="T55" fmla="*/ 235 h 261"/>
                <a:gd name="T56" fmla="*/ 378 w 1066"/>
                <a:gd name="T57" fmla="*/ 253 h 261"/>
                <a:gd name="T58" fmla="*/ 684 w 1066"/>
                <a:gd name="T59" fmla="*/ 261 h 261"/>
                <a:gd name="T60" fmla="*/ 692 w 1066"/>
                <a:gd name="T61" fmla="*/ 249 h 261"/>
                <a:gd name="T62" fmla="*/ 79 w 1066"/>
                <a:gd name="T63" fmla="*/ 171 h 261"/>
                <a:gd name="T64" fmla="*/ 268 w 1066"/>
                <a:gd name="T65" fmla="*/ 138 h 261"/>
                <a:gd name="T66" fmla="*/ 235 w 1066"/>
                <a:gd name="T67" fmla="*/ 0 h 261"/>
                <a:gd name="T68" fmla="*/ 47 w 1066"/>
                <a:gd name="T69" fmla="*/ 32 h 261"/>
                <a:gd name="T70" fmla="*/ 79 w 1066"/>
                <a:gd name="T71" fmla="*/ 171 h 261"/>
                <a:gd name="T72" fmla="*/ 79 w 1066"/>
                <a:gd name="T73" fmla="*/ 19 h 261"/>
                <a:gd name="T74" fmla="*/ 248 w 1066"/>
                <a:gd name="T75" fmla="*/ 32 h 261"/>
                <a:gd name="T76" fmla="*/ 235 w 1066"/>
                <a:gd name="T77" fmla="*/ 152 h 261"/>
                <a:gd name="T78" fmla="*/ 66 w 1066"/>
                <a:gd name="T79" fmla="*/ 138 h 261"/>
                <a:gd name="T80" fmla="*/ 66 w 1066"/>
                <a:gd name="T81" fmla="*/ 32 h 261"/>
                <a:gd name="T82" fmla="*/ 256 w 1066"/>
                <a:gd name="T83" fmla="*/ 183 h 261"/>
                <a:gd name="T84" fmla="*/ 45 w 1066"/>
                <a:gd name="T85" fmla="*/ 189 h 261"/>
                <a:gd name="T86" fmla="*/ 0 w 1066"/>
                <a:gd name="T87" fmla="*/ 249 h 261"/>
                <a:gd name="T88" fmla="*/ 8 w 1066"/>
                <a:gd name="T89" fmla="*/ 261 h 261"/>
                <a:gd name="T90" fmla="*/ 314 w 1066"/>
                <a:gd name="T91" fmla="*/ 253 h 261"/>
                <a:gd name="T92" fmla="*/ 309 w 1066"/>
                <a:gd name="T93" fmla="*/ 235 h 261"/>
                <a:gd name="T94" fmla="*/ 270 w 1066"/>
                <a:gd name="T95" fmla="*/ 189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66" h="261">
                  <a:moveTo>
                    <a:pt x="831" y="171"/>
                  </a:moveTo>
                  <a:cubicBezTo>
                    <a:pt x="987" y="171"/>
                    <a:pt x="987" y="171"/>
                    <a:pt x="987" y="171"/>
                  </a:cubicBezTo>
                  <a:cubicBezTo>
                    <a:pt x="1005" y="171"/>
                    <a:pt x="1020" y="157"/>
                    <a:pt x="1020" y="138"/>
                  </a:cubicBezTo>
                  <a:cubicBezTo>
                    <a:pt x="1020" y="32"/>
                    <a:pt x="1020" y="32"/>
                    <a:pt x="1020" y="32"/>
                  </a:cubicBezTo>
                  <a:cubicBezTo>
                    <a:pt x="1020" y="14"/>
                    <a:pt x="1005" y="0"/>
                    <a:pt x="987" y="0"/>
                  </a:cubicBezTo>
                  <a:cubicBezTo>
                    <a:pt x="831" y="0"/>
                    <a:pt x="831" y="0"/>
                    <a:pt x="831" y="0"/>
                  </a:cubicBezTo>
                  <a:cubicBezTo>
                    <a:pt x="813" y="0"/>
                    <a:pt x="799" y="14"/>
                    <a:pt x="799" y="32"/>
                  </a:cubicBezTo>
                  <a:cubicBezTo>
                    <a:pt x="799" y="138"/>
                    <a:pt x="799" y="138"/>
                    <a:pt x="799" y="138"/>
                  </a:cubicBezTo>
                  <a:cubicBezTo>
                    <a:pt x="799" y="157"/>
                    <a:pt x="813" y="171"/>
                    <a:pt x="831" y="171"/>
                  </a:cubicBezTo>
                  <a:close/>
                  <a:moveTo>
                    <a:pt x="818" y="32"/>
                  </a:moveTo>
                  <a:cubicBezTo>
                    <a:pt x="818" y="25"/>
                    <a:pt x="824" y="19"/>
                    <a:pt x="831" y="19"/>
                  </a:cubicBezTo>
                  <a:cubicBezTo>
                    <a:pt x="987" y="19"/>
                    <a:pt x="987" y="19"/>
                    <a:pt x="987" y="19"/>
                  </a:cubicBezTo>
                  <a:cubicBezTo>
                    <a:pt x="994" y="19"/>
                    <a:pt x="1000" y="25"/>
                    <a:pt x="1000" y="32"/>
                  </a:cubicBezTo>
                  <a:cubicBezTo>
                    <a:pt x="1000" y="138"/>
                    <a:pt x="1000" y="138"/>
                    <a:pt x="1000" y="138"/>
                  </a:cubicBezTo>
                  <a:cubicBezTo>
                    <a:pt x="1000" y="146"/>
                    <a:pt x="994" y="152"/>
                    <a:pt x="987" y="152"/>
                  </a:cubicBezTo>
                  <a:cubicBezTo>
                    <a:pt x="831" y="152"/>
                    <a:pt x="831" y="152"/>
                    <a:pt x="831" y="152"/>
                  </a:cubicBezTo>
                  <a:cubicBezTo>
                    <a:pt x="824" y="152"/>
                    <a:pt x="818" y="146"/>
                    <a:pt x="818" y="138"/>
                  </a:cubicBezTo>
                  <a:cubicBezTo>
                    <a:pt x="818" y="32"/>
                    <a:pt x="818" y="32"/>
                    <a:pt x="818" y="32"/>
                  </a:cubicBezTo>
                  <a:cubicBezTo>
                    <a:pt x="818" y="32"/>
                    <a:pt x="818" y="32"/>
                    <a:pt x="818" y="32"/>
                  </a:cubicBezTo>
                  <a:close/>
                  <a:moveTo>
                    <a:pt x="760" y="261"/>
                  </a:moveTo>
                  <a:cubicBezTo>
                    <a:pt x="1058" y="261"/>
                    <a:pt x="1058" y="261"/>
                    <a:pt x="1058" y="261"/>
                  </a:cubicBezTo>
                  <a:cubicBezTo>
                    <a:pt x="1063" y="261"/>
                    <a:pt x="1066" y="258"/>
                    <a:pt x="1066" y="253"/>
                  </a:cubicBezTo>
                  <a:cubicBezTo>
                    <a:pt x="1066" y="249"/>
                    <a:pt x="1066" y="249"/>
                    <a:pt x="1066" y="249"/>
                  </a:cubicBezTo>
                  <a:cubicBezTo>
                    <a:pt x="1066" y="245"/>
                    <a:pt x="1064" y="238"/>
                    <a:pt x="1061" y="235"/>
                  </a:cubicBezTo>
                  <a:cubicBezTo>
                    <a:pt x="1021" y="189"/>
                    <a:pt x="1021" y="189"/>
                    <a:pt x="1021" y="189"/>
                  </a:cubicBezTo>
                  <a:cubicBezTo>
                    <a:pt x="1019" y="185"/>
                    <a:pt x="1013" y="183"/>
                    <a:pt x="1008" y="183"/>
                  </a:cubicBezTo>
                  <a:cubicBezTo>
                    <a:pt x="810" y="183"/>
                    <a:pt x="810" y="183"/>
                    <a:pt x="810" y="183"/>
                  </a:cubicBezTo>
                  <a:cubicBezTo>
                    <a:pt x="806" y="183"/>
                    <a:pt x="800" y="185"/>
                    <a:pt x="796" y="189"/>
                  </a:cubicBezTo>
                  <a:cubicBezTo>
                    <a:pt x="757" y="235"/>
                    <a:pt x="757" y="235"/>
                    <a:pt x="757" y="235"/>
                  </a:cubicBezTo>
                  <a:cubicBezTo>
                    <a:pt x="754" y="238"/>
                    <a:pt x="752" y="245"/>
                    <a:pt x="752" y="249"/>
                  </a:cubicBezTo>
                  <a:cubicBezTo>
                    <a:pt x="752" y="253"/>
                    <a:pt x="752" y="253"/>
                    <a:pt x="752" y="253"/>
                  </a:cubicBezTo>
                  <a:cubicBezTo>
                    <a:pt x="752" y="258"/>
                    <a:pt x="756" y="261"/>
                    <a:pt x="760" y="261"/>
                  </a:cubicBezTo>
                  <a:close/>
                  <a:moveTo>
                    <a:pt x="424" y="32"/>
                  </a:moveTo>
                  <a:cubicBezTo>
                    <a:pt x="424" y="138"/>
                    <a:pt x="424" y="138"/>
                    <a:pt x="424" y="138"/>
                  </a:cubicBezTo>
                  <a:cubicBezTo>
                    <a:pt x="424" y="157"/>
                    <a:pt x="439" y="171"/>
                    <a:pt x="458" y="171"/>
                  </a:cubicBezTo>
                  <a:cubicBezTo>
                    <a:pt x="613" y="171"/>
                    <a:pt x="613" y="171"/>
                    <a:pt x="613" y="171"/>
                  </a:cubicBezTo>
                  <a:cubicBezTo>
                    <a:pt x="631" y="171"/>
                    <a:pt x="645" y="157"/>
                    <a:pt x="645" y="138"/>
                  </a:cubicBezTo>
                  <a:cubicBezTo>
                    <a:pt x="645" y="32"/>
                    <a:pt x="645" y="32"/>
                    <a:pt x="645" y="32"/>
                  </a:cubicBezTo>
                  <a:cubicBezTo>
                    <a:pt x="645" y="14"/>
                    <a:pt x="631" y="0"/>
                    <a:pt x="613" y="0"/>
                  </a:cubicBezTo>
                  <a:cubicBezTo>
                    <a:pt x="458" y="0"/>
                    <a:pt x="458" y="0"/>
                    <a:pt x="458" y="0"/>
                  </a:cubicBezTo>
                  <a:cubicBezTo>
                    <a:pt x="439" y="0"/>
                    <a:pt x="424" y="14"/>
                    <a:pt x="424" y="32"/>
                  </a:cubicBezTo>
                  <a:close/>
                  <a:moveTo>
                    <a:pt x="626" y="32"/>
                  </a:moveTo>
                  <a:cubicBezTo>
                    <a:pt x="626" y="138"/>
                    <a:pt x="626" y="138"/>
                    <a:pt x="626" y="138"/>
                  </a:cubicBezTo>
                  <a:cubicBezTo>
                    <a:pt x="626" y="146"/>
                    <a:pt x="620" y="152"/>
                    <a:pt x="613" y="152"/>
                  </a:cubicBezTo>
                  <a:cubicBezTo>
                    <a:pt x="458" y="152"/>
                    <a:pt x="458" y="152"/>
                    <a:pt x="458" y="152"/>
                  </a:cubicBezTo>
                  <a:cubicBezTo>
                    <a:pt x="450" y="152"/>
                    <a:pt x="444" y="146"/>
                    <a:pt x="444" y="138"/>
                  </a:cubicBezTo>
                  <a:cubicBezTo>
                    <a:pt x="444" y="32"/>
                    <a:pt x="444" y="32"/>
                    <a:pt x="444" y="32"/>
                  </a:cubicBezTo>
                  <a:cubicBezTo>
                    <a:pt x="444" y="25"/>
                    <a:pt x="450" y="19"/>
                    <a:pt x="458" y="19"/>
                  </a:cubicBezTo>
                  <a:cubicBezTo>
                    <a:pt x="613" y="19"/>
                    <a:pt x="613" y="19"/>
                    <a:pt x="613" y="19"/>
                  </a:cubicBezTo>
                  <a:cubicBezTo>
                    <a:pt x="620" y="19"/>
                    <a:pt x="626" y="25"/>
                    <a:pt x="626" y="32"/>
                  </a:cubicBezTo>
                  <a:close/>
                  <a:moveTo>
                    <a:pt x="687" y="235"/>
                  </a:moveTo>
                  <a:cubicBezTo>
                    <a:pt x="648" y="189"/>
                    <a:pt x="648" y="189"/>
                    <a:pt x="648" y="189"/>
                  </a:cubicBezTo>
                  <a:cubicBezTo>
                    <a:pt x="645" y="185"/>
                    <a:pt x="639" y="183"/>
                    <a:pt x="634" y="183"/>
                  </a:cubicBezTo>
                  <a:cubicBezTo>
                    <a:pt x="436" y="183"/>
                    <a:pt x="436" y="183"/>
                    <a:pt x="436" y="183"/>
                  </a:cubicBezTo>
                  <a:cubicBezTo>
                    <a:pt x="432" y="183"/>
                    <a:pt x="425" y="185"/>
                    <a:pt x="423" y="189"/>
                  </a:cubicBezTo>
                  <a:cubicBezTo>
                    <a:pt x="383" y="235"/>
                    <a:pt x="383" y="235"/>
                    <a:pt x="383" y="235"/>
                  </a:cubicBezTo>
                  <a:cubicBezTo>
                    <a:pt x="380" y="238"/>
                    <a:pt x="378" y="245"/>
                    <a:pt x="378" y="249"/>
                  </a:cubicBezTo>
                  <a:cubicBezTo>
                    <a:pt x="378" y="253"/>
                    <a:pt x="378" y="253"/>
                    <a:pt x="378" y="253"/>
                  </a:cubicBezTo>
                  <a:cubicBezTo>
                    <a:pt x="378" y="258"/>
                    <a:pt x="382" y="261"/>
                    <a:pt x="386" y="261"/>
                  </a:cubicBezTo>
                  <a:cubicBezTo>
                    <a:pt x="684" y="261"/>
                    <a:pt x="684" y="261"/>
                    <a:pt x="684" y="261"/>
                  </a:cubicBezTo>
                  <a:cubicBezTo>
                    <a:pt x="689" y="261"/>
                    <a:pt x="692" y="258"/>
                    <a:pt x="692" y="253"/>
                  </a:cubicBezTo>
                  <a:cubicBezTo>
                    <a:pt x="692" y="249"/>
                    <a:pt x="692" y="249"/>
                    <a:pt x="692" y="249"/>
                  </a:cubicBezTo>
                  <a:cubicBezTo>
                    <a:pt x="692" y="245"/>
                    <a:pt x="690" y="238"/>
                    <a:pt x="687" y="235"/>
                  </a:cubicBezTo>
                  <a:close/>
                  <a:moveTo>
                    <a:pt x="79" y="171"/>
                  </a:moveTo>
                  <a:cubicBezTo>
                    <a:pt x="235" y="171"/>
                    <a:pt x="235" y="171"/>
                    <a:pt x="235" y="171"/>
                  </a:cubicBezTo>
                  <a:cubicBezTo>
                    <a:pt x="253" y="171"/>
                    <a:pt x="268" y="157"/>
                    <a:pt x="268" y="138"/>
                  </a:cubicBezTo>
                  <a:cubicBezTo>
                    <a:pt x="268" y="32"/>
                    <a:pt x="268" y="32"/>
                    <a:pt x="268" y="32"/>
                  </a:cubicBezTo>
                  <a:cubicBezTo>
                    <a:pt x="268" y="14"/>
                    <a:pt x="253" y="0"/>
                    <a:pt x="235" y="0"/>
                  </a:cubicBezTo>
                  <a:cubicBezTo>
                    <a:pt x="79" y="0"/>
                    <a:pt x="79" y="0"/>
                    <a:pt x="79" y="0"/>
                  </a:cubicBezTo>
                  <a:cubicBezTo>
                    <a:pt x="61" y="0"/>
                    <a:pt x="47" y="14"/>
                    <a:pt x="47" y="32"/>
                  </a:cubicBezTo>
                  <a:cubicBezTo>
                    <a:pt x="47" y="138"/>
                    <a:pt x="47" y="138"/>
                    <a:pt x="47" y="138"/>
                  </a:cubicBezTo>
                  <a:cubicBezTo>
                    <a:pt x="47" y="157"/>
                    <a:pt x="61" y="171"/>
                    <a:pt x="79" y="171"/>
                  </a:cubicBezTo>
                  <a:close/>
                  <a:moveTo>
                    <a:pt x="66" y="32"/>
                  </a:moveTo>
                  <a:cubicBezTo>
                    <a:pt x="66" y="25"/>
                    <a:pt x="72" y="19"/>
                    <a:pt x="79" y="19"/>
                  </a:cubicBezTo>
                  <a:cubicBezTo>
                    <a:pt x="235" y="19"/>
                    <a:pt x="235" y="19"/>
                    <a:pt x="235" y="19"/>
                  </a:cubicBezTo>
                  <a:cubicBezTo>
                    <a:pt x="242" y="19"/>
                    <a:pt x="248" y="25"/>
                    <a:pt x="248" y="32"/>
                  </a:cubicBezTo>
                  <a:cubicBezTo>
                    <a:pt x="248" y="138"/>
                    <a:pt x="248" y="138"/>
                    <a:pt x="248" y="138"/>
                  </a:cubicBezTo>
                  <a:cubicBezTo>
                    <a:pt x="248" y="146"/>
                    <a:pt x="242" y="152"/>
                    <a:pt x="235" y="152"/>
                  </a:cubicBezTo>
                  <a:cubicBezTo>
                    <a:pt x="79" y="152"/>
                    <a:pt x="79" y="152"/>
                    <a:pt x="79" y="152"/>
                  </a:cubicBezTo>
                  <a:cubicBezTo>
                    <a:pt x="72" y="152"/>
                    <a:pt x="66" y="146"/>
                    <a:pt x="66" y="138"/>
                  </a:cubicBezTo>
                  <a:cubicBezTo>
                    <a:pt x="66" y="32"/>
                    <a:pt x="66" y="32"/>
                    <a:pt x="66" y="32"/>
                  </a:cubicBezTo>
                  <a:cubicBezTo>
                    <a:pt x="66" y="32"/>
                    <a:pt x="66" y="32"/>
                    <a:pt x="66" y="32"/>
                  </a:cubicBezTo>
                  <a:close/>
                  <a:moveTo>
                    <a:pt x="270" y="189"/>
                  </a:moveTo>
                  <a:cubicBezTo>
                    <a:pt x="267" y="185"/>
                    <a:pt x="261" y="183"/>
                    <a:pt x="256" y="183"/>
                  </a:cubicBezTo>
                  <a:cubicBezTo>
                    <a:pt x="58" y="183"/>
                    <a:pt x="58" y="183"/>
                    <a:pt x="58" y="183"/>
                  </a:cubicBezTo>
                  <a:cubicBezTo>
                    <a:pt x="54" y="183"/>
                    <a:pt x="48" y="185"/>
                    <a:pt x="45" y="189"/>
                  </a:cubicBezTo>
                  <a:cubicBezTo>
                    <a:pt x="5" y="235"/>
                    <a:pt x="5" y="235"/>
                    <a:pt x="5" y="235"/>
                  </a:cubicBezTo>
                  <a:cubicBezTo>
                    <a:pt x="2" y="238"/>
                    <a:pt x="0" y="245"/>
                    <a:pt x="0" y="249"/>
                  </a:cubicBezTo>
                  <a:cubicBezTo>
                    <a:pt x="0" y="253"/>
                    <a:pt x="0" y="253"/>
                    <a:pt x="0" y="253"/>
                  </a:cubicBezTo>
                  <a:cubicBezTo>
                    <a:pt x="0" y="258"/>
                    <a:pt x="4" y="261"/>
                    <a:pt x="8" y="261"/>
                  </a:cubicBezTo>
                  <a:cubicBezTo>
                    <a:pt x="306" y="261"/>
                    <a:pt x="306" y="261"/>
                    <a:pt x="306" y="261"/>
                  </a:cubicBezTo>
                  <a:cubicBezTo>
                    <a:pt x="311" y="261"/>
                    <a:pt x="314" y="258"/>
                    <a:pt x="314" y="253"/>
                  </a:cubicBezTo>
                  <a:cubicBezTo>
                    <a:pt x="314" y="249"/>
                    <a:pt x="314" y="249"/>
                    <a:pt x="314" y="249"/>
                  </a:cubicBezTo>
                  <a:cubicBezTo>
                    <a:pt x="314" y="245"/>
                    <a:pt x="312" y="238"/>
                    <a:pt x="309" y="235"/>
                  </a:cubicBezTo>
                  <a:cubicBezTo>
                    <a:pt x="270" y="189"/>
                    <a:pt x="270" y="189"/>
                    <a:pt x="270" y="189"/>
                  </a:cubicBezTo>
                  <a:cubicBezTo>
                    <a:pt x="270" y="189"/>
                    <a:pt x="270" y="189"/>
                    <a:pt x="270" y="189"/>
                  </a:cubicBezTo>
                  <a:close/>
                </a:path>
              </a:pathLst>
            </a:custGeom>
            <a:solidFill>
              <a:srgbClr val="FFFFFF"/>
            </a:solidFill>
            <a:ln>
              <a:noFill/>
            </a:ln>
          </p:spPr>
          <p:txBody>
            <a:bodyPr vert="horz" wrap="square" lIns="0" tIns="274320" rIns="82305" bIns="41153" numCol="1" anchor="t" anchorCtr="0" compatLnSpc="1">
              <a:prstTxWarp prst="textNoShape">
                <a:avLst/>
              </a:prstTxWarp>
            </a:bodyPr>
            <a:lstStyle/>
            <a:p>
              <a:pPr algn="ctr" defTabSz="685862">
                <a:defRPr/>
              </a:pPr>
              <a:endParaRPr lang="en-US" sz="1200" kern="0" dirty="0">
                <a:gradFill>
                  <a:gsLst>
                    <a:gs pos="0">
                      <a:srgbClr val="FFFFFF"/>
                    </a:gs>
                    <a:gs pos="100000">
                      <a:srgbClr val="FFFFFF"/>
                    </a:gs>
                  </a:gsLst>
                  <a:lin ang="5400000" scaled="0"/>
                </a:gradFill>
              </a:endParaRPr>
            </a:p>
          </p:txBody>
        </p:sp>
      </p:grpSp>
      <p:grpSp>
        <p:nvGrpSpPr>
          <p:cNvPr id="16" name="Group 15"/>
          <p:cNvGrpSpPr/>
          <p:nvPr/>
        </p:nvGrpSpPr>
        <p:grpSpPr>
          <a:xfrm>
            <a:off x="4648392" y="3045475"/>
            <a:ext cx="2686465" cy="1599932"/>
            <a:chOff x="6196241" y="4060632"/>
            <a:chExt cx="3581020" cy="2133243"/>
          </a:xfrm>
        </p:grpSpPr>
        <p:sp>
          <p:nvSpPr>
            <p:cNvPr id="17" name="Rectangle 16"/>
            <p:cNvSpPr/>
            <p:nvPr/>
          </p:nvSpPr>
          <p:spPr bwMode="auto">
            <a:xfrm>
              <a:off x="6196241" y="4060632"/>
              <a:ext cx="3581020" cy="2133243"/>
            </a:xfrm>
            <a:prstGeom prst="rect">
              <a:avLst/>
            </a:prstGeom>
            <a:solidFill>
              <a:schemeClr val="accent1"/>
            </a:solidFill>
            <a:ln w="25400" cap="flat" cmpd="sng" algn="ctr">
              <a:noFill/>
              <a:prstDash val="solid"/>
              <a:headEnd type="none" w="med" len="med"/>
              <a:tailEnd type="none" w="med" len="med"/>
            </a:ln>
            <a:effectLst/>
          </p:spPr>
          <p:txBody>
            <a:bodyPr vert="horz" wrap="square" lIns="182880" tIns="228600" rIns="91436" bIns="45718" numCol="1" rtlCol="0" anchor="t" anchorCtr="0" compatLnSpc="1">
              <a:prstTxWarp prst="textNoShape">
                <a:avLst/>
              </a:prstTxWarp>
            </a:bodyPr>
            <a:lstStyle/>
            <a:p>
              <a:pPr defTabSz="685637" fontAlgn="base">
                <a:lnSpc>
                  <a:spcPct val="90000"/>
                </a:lnSpc>
                <a:spcBef>
                  <a:spcPct val="0"/>
                </a:spcBef>
                <a:spcAft>
                  <a:spcPct val="0"/>
                </a:spcAft>
              </a:pPr>
              <a:r>
                <a:rPr lang="en-US" sz="2700" spc="-75" dirty="0">
                  <a:gradFill>
                    <a:gsLst>
                      <a:gs pos="0">
                        <a:srgbClr val="FFFFFF"/>
                      </a:gs>
                      <a:gs pos="100000">
                        <a:srgbClr val="FFFFFF"/>
                      </a:gs>
                    </a:gsLst>
                    <a:lin ang="5400000" scaled="0"/>
                  </a:gradFill>
                  <a:latin typeface="+mj-lt"/>
                </a:rPr>
                <a:t>Cloud/Services</a:t>
              </a:r>
            </a:p>
          </p:txBody>
        </p:sp>
        <p:sp>
          <p:nvSpPr>
            <p:cNvPr id="18" name="Freeform 74"/>
            <p:cNvSpPr>
              <a:spLocks noEditPoints="1"/>
            </p:cNvSpPr>
            <p:nvPr/>
          </p:nvSpPr>
          <p:spPr bwMode="black">
            <a:xfrm>
              <a:off x="8613427" y="5239139"/>
              <a:ext cx="865243" cy="740123"/>
            </a:xfrm>
            <a:custGeom>
              <a:avLst/>
              <a:gdLst>
                <a:gd name="T0" fmla="*/ 2004 w 2444"/>
                <a:gd name="T1" fmla="*/ 326 h 2090"/>
                <a:gd name="T2" fmla="*/ 1774 w 2444"/>
                <a:gd name="T3" fmla="*/ 391 h 2090"/>
                <a:gd name="T4" fmla="*/ 1156 w 2444"/>
                <a:gd name="T5" fmla="*/ 0 h 2090"/>
                <a:gd name="T6" fmla="*/ 489 w 2444"/>
                <a:gd name="T7" fmla="*/ 535 h 2090"/>
                <a:gd name="T8" fmla="*/ 350 w 2444"/>
                <a:gd name="T9" fmla="*/ 506 h 2090"/>
                <a:gd name="T10" fmla="*/ 0 w 2444"/>
                <a:gd name="T11" fmla="*/ 856 h 2090"/>
                <a:gd name="T12" fmla="*/ 350 w 2444"/>
                <a:gd name="T13" fmla="*/ 1206 h 2090"/>
                <a:gd name="T14" fmla="*/ 2004 w 2444"/>
                <a:gd name="T15" fmla="*/ 1206 h 2090"/>
                <a:gd name="T16" fmla="*/ 2444 w 2444"/>
                <a:gd name="T17" fmla="*/ 766 h 2090"/>
                <a:gd name="T18" fmla="*/ 2004 w 2444"/>
                <a:gd name="T19" fmla="*/ 326 h 2090"/>
                <a:gd name="T20" fmla="*/ 1590 w 2444"/>
                <a:gd name="T21" fmla="*/ 1326 h 2090"/>
                <a:gd name="T22" fmla="*/ 1465 w 2444"/>
                <a:gd name="T23" fmla="*/ 1326 h 2090"/>
                <a:gd name="T24" fmla="*/ 1465 w 2444"/>
                <a:gd name="T25" fmla="*/ 1743 h 2090"/>
                <a:gd name="T26" fmla="*/ 1222 w 2444"/>
                <a:gd name="T27" fmla="*/ 1934 h 2090"/>
                <a:gd name="T28" fmla="*/ 980 w 2444"/>
                <a:gd name="T29" fmla="*/ 1743 h 2090"/>
                <a:gd name="T30" fmla="*/ 980 w 2444"/>
                <a:gd name="T31" fmla="*/ 1326 h 2090"/>
                <a:gd name="T32" fmla="*/ 854 w 2444"/>
                <a:gd name="T33" fmla="*/ 1326 h 2090"/>
                <a:gd name="T34" fmla="*/ 854 w 2444"/>
                <a:gd name="T35" fmla="*/ 1656 h 2090"/>
                <a:gd name="T36" fmla="*/ 666 w 2444"/>
                <a:gd name="T37" fmla="*/ 1656 h 2090"/>
                <a:gd name="T38" fmla="*/ 1222 w 2444"/>
                <a:gd name="T39" fmla="*/ 2090 h 2090"/>
                <a:gd name="T40" fmla="*/ 1779 w 2444"/>
                <a:gd name="T41" fmla="*/ 1656 h 2090"/>
                <a:gd name="T42" fmla="*/ 1590 w 2444"/>
                <a:gd name="T43" fmla="*/ 1656 h 2090"/>
                <a:gd name="T44" fmla="*/ 1590 w 2444"/>
                <a:gd name="T45" fmla="*/ 1326 h 2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44" h="2090">
                  <a:moveTo>
                    <a:pt x="2004" y="326"/>
                  </a:moveTo>
                  <a:cubicBezTo>
                    <a:pt x="1920" y="326"/>
                    <a:pt x="1841" y="350"/>
                    <a:pt x="1774" y="391"/>
                  </a:cubicBezTo>
                  <a:cubicBezTo>
                    <a:pt x="1665" y="160"/>
                    <a:pt x="1429" y="0"/>
                    <a:pt x="1156" y="0"/>
                  </a:cubicBezTo>
                  <a:cubicBezTo>
                    <a:pt x="830" y="0"/>
                    <a:pt x="557" y="229"/>
                    <a:pt x="489" y="535"/>
                  </a:cubicBezTo>
                  <a:cubicBezTo>
                    <a:pt x="446" y="516"/>
                    <a:pt x="399" y="506"/>
                    <a:pt x="350" y="506"/>
                  </a:cubicBezTo>
                  <a:cubicBezTo>
                    <a:pt x="157" y="506"/>
                    <a:pt x="0" y="663"/>
                    <a:pt x="0" y="856"/>
                  </a:cubicBezTo>
                  <a:cubicBezTo>
                    <a:pt x="0" y="1049"/>
                    <a:pt x="157" y="1206"/>
                    <a:pt x="350" y="1206"/>
                  </a:cubicBezTo>
                  <a:cubicBezTo>
                    <a:pt x="2004" y="1206"/>
                    <a:pt x="2004" y="1206"/>
                    <a:pt x="2004" y="1206"/>
                  </a:cubicBezTo>
                  <a:cubicBezTo>
                    <a:pt x="2247" y="1206"/>
                    <a:pt x="2444" y="1009"/>
                    <a:pt x="2444" y="766"/>
                  </a:cubicBezTo>
                  <a:cubicBezTo>
                    <a:pt x="2444" y="523"/>
                    <a:pt x="2247" y="326"/>
                    <a:pt x="2004" y="326"/>
                  </a:cubicBezTo>
                  <a:close/>
                  <a:moveTo>
                    <a:pt x="1590" y="1326"/>
                  </a:moveTo>
                  <a:cubicBezTo>
                    <a:pt x="1465" y="1326"/>
                    <a:pt x="1465" y="1326"/>
                    <a:pt x="1465" y="1326"/>
                  </a:cubicBezTo>
                  <a:cubicBezTo>
                    <a:pt x="1465" y="1743"/>
                    <a:pt x="1465" y="1743"/>
                    <a:pt x="1465" y="1743"/>
                  </a:cubicBezTo>
                  <a:cubicBezTo>
                    <a:pt x="1222" y="1934"/>
                    <a:pt x="1222" y="1934"/>
                    <a:pt x="1222" y="1934"/>
                  </a:cubicBezTo>
                  <a:cubicBezTo>
                    <a:pt x="980" y="1743"/>
                    <a:pt x="980" y="1743"/>
                    <a:pt x="980" y="1743"/>
                  </a:cubicBezTo>
                  <a:cubicBezTo>
                    <a:pt x="980" y="1326"/>
                    <a:pt x="980" y="1326"/>
                    <a:pt x="980" y="1326"/>
                  </a:cubicBezTo>
                  <a:cubicBezTo>
                    <a:pt x="854" y="1326"/>
                    <a:pt x="854" y="1326"/>
                    <a:pt x="854" y="1326"/>
                  </a:cubicBezTo>
                  <a:cubicBezTo>
                    <a:pt x="854" y="1656"/>
                    <a:pt x="854" y="1656"/>
                    <a:pt x="854" y="1656"/>
                  </a:cubicBezTo>
                  <a:cubicBezTo>
                    <a:pt x="666" y="1656"/>
                    <a:pt x="666" y="1656"/>
                    <a:pt x="666" y="1656"/>
                  </a:cubicBezTo>
                  <a:cubicBezTo>
                    <a:pt x="1222" y="2090"/>
                    <a:pt x="1222" y="2090"/>
                    <a:pt x="1222" y="2090"/>
                  </a:cubicBezTo>
                  <a:cubicBezTo>
                    <a:pt x="1779" y="1656"/>
                    <a:pt x="1779" y="1656"/>
                    <a:pt x="1779" y="1656"/>
                  </a:cubicBezTo>
                  <a:cubicBezTo>
                    <a:pt x="1590" y="1656"/>
                    <a:pt x="1590" y="1656"/>
                    <a:pt x="1590" y="1656"/>
                  </a:cubicBezTo>
                  <a:lnTo>
                    <a:pt x="1590" y="1326"/>
                  </a:lnTo>
                  <a:close/>
                </a:path>
              </a:pathLst>
            </a:custGeom>
            <a:solidFill>
              <a:srgbClr val="FFFFFF"/>
            </a:solidFill>
            <a:ln>
              <a:noFill/>
            </a:ln>
          </p:spPr>
          <p:txBody>
            <a:bodyPr vert="horz" wrap="square" lIns="0" tIns="274320" rIns="82305" bIns="41153" numCol="1" anchor="t" anchorCtr="0" compatLnSpc="1">
              <a:prstTxWarp prst="textNoShape">
                <a:avLst/>
              </a:prstTxWarp>
            </a:bodyPr>
            <a:lstStyle/>
            <a:p>
              <a:pPr algn="ctr" defTabSz="685862">
                <a:defRPr/>
              </a:pPr>
              <a:endParaRPr lang="en-US" sz="1200" kern="0" dirty="0">
                <a:gradFill>
                  <a:gsLst>
                    <a:gs pos="0">
                      <a:srgbClr val="FFFFFF"/>
                    </a:gs>
                    <a:gs pos="100000">
                      <a:srgbClr val="FFFFFF"/>
                    </a:gs>
                  </a:gsLst>
                  <a:lin ang="5400000" scaled="0"/>
                </a:gradFill>
              </a:endParaRPr>
            </a:p>
          </p:txBody>
        </p:sp>
      </p:grpSp>
      <p:grpSp>
        <p:nvGrpSpPr>
          <p:cNvPr id="19" name="Group 18"/>
          <p:cNvGrpSpPr/>
          <p:nvPr/>
        </p:nvGrpSpPr>
        <p:grpSpPr>
          <a:xfrm>
            <a:off x="1811357" y="3045475"/>
            <a:ext cx="2686465" cy="1599932"/>
            <a:chOff x="2414512" y="4060632"/>
            <a:chExt cx="3581020" cy="2133243"/>
          </a:xfrm>
        </p:grpSpPr>
        <p:sp>
          <p:nvSpPr>
            <p:cNvPr id="20" name="Rectangle 19"/>
            <p:cNvSpPr/>
            <p:nvPr/>
          </p:nvSpPr>
          <p:spPr bwMode="auto">
            <a:xfrm>
              <a:off x="2414512" y="4060632"/>
              <a:ext cx="3581020" cy="2133243"/>
            </a:xfrm>
            <a:prstGeom prst="rect">
              <a:avLst/>
            </a:prstGeom>
            <a:solidFill>
              <a:schemeClr val="accent1"/>
            </a:solidFill>
            <a:ln w="25400" cap="flat" cmpd="sng" algn="ctr">
              <a:noFill/>
              <a:prstDash val="solid"/>
              <a:headEnd type="none" w="med" len="med"/>
              <a:tailEnd type="none" w="med" len="med"/>
            </a:ln>
            <a:effectLst/>
          </p:spPr>
          <p:txBody>
            <a:bodyPr vert="horz" wrap="square" lIns="182880" tIns="228600" rIns="91436" bIns="45718" numCol="1" rtlCol="0" anchor="t" anchorCtr="0" compatLnSpc="1">
              <a:prstTxWarp prst="textNoShape">
                <a:avLst/>
              </a:prstTxWarp>
            </a:bodyPr>
            <a:lstStyle/>
            <a:p>
              <a:pPr defTabSz="685637" fontAlgn="base">
                <a:lnSpc>
                  <a:spcPct val="90000"/>
                </a:lnSpc>
                <a:spcBef>
                  <a:spcPct val="0"/>
                </a:spcBef>
                <a:spcAft>
                  <a:spcPct val="0"/>
                </a:spcAft>
              </a:pPr>
              <a:r>
                <a:rPr lang="en-US" sz="2700" spc="-75" dirty="0">
                  <a:gradFill>
                    <a:gsLst>
                      <a:gs pos="0">
                        <a:srgbClr val="FFFFFF"/>
                      </a:gs>
                      <a:gs pos="100000">
                        <a:srgbClr val="FFFFFF"/>
                      </a:gs>
                    </a:gsLst>
                    <a:lin ang="5400000" scaled="0"/>
                  </a:gradFill>
                  <a:latin typeface="+mj-lt"/>
                </a:rPr>
                <a:t>Social</a:t>
              </a:r>
            </a:p>
          </p:txBody>
        </p:sp>
        <p:grpSp>
          <p:nvGrpSpPr>
            <p:cNvPr id="21" name="Group 740"/>
            <p:cNvGrpSpPr>
              <a:grpSpLocks noChangeAspect="1"/>
            </p:cNvGrpSpPr>
            <p:nvPr/>
          </p:nvGrpSpPr>
          <p:grpSpPr bwMode="auto">
            <a:xfrm>
              <a:off x="4834114" y="5239139"/>
              <a:ext cx="862826" cy="740123"/>
              <a:chOff x="7349" y="-2816"/>
              <a:chExt cx="661" cy="567"/>
            </a:xfrm>
            <a:solidFill>
              <a:srgbClr val="FFFFFF"/>
            </a:solidFill>
          </p:grpSpPr>
          <p:sp>
            <p:nvSpPr>
              <p:cNvPr id="22" name="Freeform 741"/>
              <p:cNvSpPr>
                <a:spLocks/>
              </p:cNvSpPr>
              <p:nvPr/>
            </p:nvSpPr>
            <p:spPr bwMode="auto">
              <a:xfrm>
                <a:off x="7573" y="-2676"/>
                <a:ext cx="213" cy="427"/>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274320" rIns="91440" bIns="45720" numCol="1" anchor="t" anchorCtr="0" compatLnSpc="1">
                <a:prstTxWarp prst="textNoShape">
                  <a:avLst/>
                </a:prstTxWarp>
              </a:bodyPr>
              <a:lstStyle/>
              <a:p>
                <a:pPr defTabSz="685862">
                  <a:defRPr/>
                </a:pPr>
                <a:endParaRPr lang="en-US" kern="0" dirty="0">
                  <a:solidFill>
                    <a:sysClr val="windowText" lastClr="000000"/>
                  </a:solidFill>
                </a:endParaRPr>
              </a:p>
            </p:txBody>
          </p:sp>
          <p:sp>
            <p:nvSpPr>
              <p:cNvPr id="23" name="Oval 742"/>
              <p:cNvSpPr>
                <a:spLocks noChangeArrowheads="1"/>
              </p:cNvSpPr>
              <p:nvPr/>
            </p:nvSpPr>
            <p:spPr bwMode="auto">
              <a:xfrm>
                <a:off x="7616" y="-2816"/>
                <a:ext cx="127" cy="1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274320" rIns="91440" bIns="45720" numCol="1" anchor="t" anchorCtr="0" compatLnSpc="1">
                <a:prstTxWarp prst="textNoShape">
                  <a:avLst/>
                </a:prstTxWarp>
              </a:bodyPr>
              <a:lstStyle/>
              <a:p>
                <a:pPr defTabSz="685862">
                  <a:defRPr/>
                </a:pPr>
                <a:endParaRPr lang="en-US" kern="0" dirty="0">
                  <a:solidFill>
                    <a:sysClr val="windowText" lastClr="000000"/>
                  </a:solidFill>
                </a:endParaRPr>
              </a:p>
            </p:txBody>
          </p:sp>
          <p:sp>
            <p:nvSpPr>
              <p:cNvPr id="24" name="Freeform 743"/>
              <p:cNvSpPr>
                <a:spLocks/>
              </p:cNvSpPr>
              <p:nvPr/>
            </p:nvSpPr>
            <p:spPr bwMode="auto">
              <a:xfrm>
                <a:off x="7831"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7 w 76"/>
                  <a:gd name="T15" fmla="*/ 154 h 154"/>
                  <a:gd name="T16" fmla="*/ 48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7" y="154"/>
                    </a:cubicBezTo>
                    <a:cubicBezTo>
                      <a:pt x="48" y="154"/>
                      <a:pt x="48" y="154"/>
                      <a:pt x="48"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274320" rIns="91440" bIns="45720" numCol="1" anchor="t" anchorCtr="0" compatLnSpc="1">
                <a:prstTxWarp prst="textNoShape">
                  <a:avLst/>
                </a:prstTxWarp>
              </a:bodyPr>
              <a:lstStyle/>
              <a:p>
                <a:pPr defTabSz="685862">
                  <a:defRPr/>
                </a:pPr>
                <a:endParaRPr lang="en-US" kern="0" dirty="0">
                  <a:solidFill>
                    <a:sysClr val="windowText" lastClr="000000"/>
                  </a:solidFill>
                </a:endParaRPr>
              </a:p>
            </p:txBody>
          </p:sp>
          <p:sp>
            <p:nvSpPr>
              <p:cNvPr id="25" name="Oval 744"/>
              <p:cNvSpPr>
                <a:spLocks noChangeArrowheads="1"/>
              </p:cNvSpPr>
              <p:nvPr/>
            </p:nvSpPr>
            <p:spPr bwMode="auto">
              <a:xfrm>
                <a:off x="7866" y="-2780"/>
                <a:ext cx="109" cy="1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274320" rIns="91440" bIns="45720" numCol="1" anchor="t" anchorCtr="0" compatLnSpc="1">
                <a:prstTxWarp prst="textNoShape">
                  <a:avLst/>
                </a:prstTxWarp>
              </a:bodyPr>
              <a:lstStyle/>
              <a:p>
                <a:pPr defTabSz="685862">
                  <a:defRPr/>
                </a:pPr>
                <a:endParaRPr lang="en-US" kern="0" dirty="0">
                  <a:solidFill>
                    <a:sysClr val="windowText" lastClr="000000"/>
                  </a:solidFill>
                </a:endParaRPr>
              </a:p>
            </p:txBody>
          </p:sp>
          <p:sp>
            <p:nvSpPr>
              <p:cNvPr id="26" name="Freeform 745"/>
              <p:cNvSpPr>
                <a:spLocks/>
              </p:cNvSpPr>
              <p:nvPr/>
            </p:nvSpPr>
            <p:spPr bwMode="auto">
              <a:xfrm>
                <a:off x="7349"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274320" rIns="91440" bIns="45720" numCol="1" anchor="t" anchorCtr="0" compatLnSpc="1">
                <a:prstTxWarp prst="textNoShape">
                  <a:avLst/>
                </a:prstTxWarp>
              </a:bodyPr>
              <a:lstStyle/>
              <a:p>
                <a:pPr defTabSz="685862">
                  <a:defRPr/>
                </a:pPr>
                <a:endParaRPr lang="en-US" kern="0" dirty="0">
                  <a:solidFill>
                    <a:sysClr val="windowText" lastClr="000000"/>
                  </a:solidFill>
                </a:endParaRPr>
              </a:p>
            </p:txBody>
          </p:sp>
          <p:sp>
            <p:nvSpPr>
              <p:cNvPr id="27" name="Oval 746"/>
              <p:cNvSpPr>
                <a:spLocks noChangeArrowheads="1"/>
              </p:cNvSpPr>
              <p:nvPr/>
            </p:nvSpPr>
            <p:spPr bwMode="auto">
              <a:xfrm>
                <a:off x="7384" y="-2780"/>
                <a:ext cx="109" cy="1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274320" rIns="91440" bIns="45720" numCol="1" anchor="t" anchorCtr="0" compatLnSpc="1">
                <a:prstTxWarp prst="textNoShape">
                  <a:avLst/>
                </a:prstTxWarp>
              </a:bodyPr>
              <a:lstStyle/>
              <a:p>
                <a:pPr defTabSz="685862">
                  <a:defRPr/>
                </a:pPr>
                <a:endParaRPr lang="en-US" kern="0" dirty="0">
                  <a:solidFill>
                    <a:sysClr val="windowText" lastClr="000000"/>
                  </a:solidFill>
                </a:endParaRPr>
              </a:p>
            </p:txBody>
          </p:sp>
        </p:grpSp>
      </p:grpSp>
      <p:sp>
        <p:nvSpPr>
          <p:cNvPr id="28"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9"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
              </a:rPr>
              <a:t>www.rapidbbs.cn</a:t>
            </a:r>
            <a:endParaRPr lang="zh-CN" altLang="en-US" sz="1200" b="0">
              <a:latin typeface="Arial" charset="0"/>
              <a:ea typeface="ＭＳ Ｐゴシック" pitchFamily="34" charset="-128"/>
            </a:endParaRPr>
          </a:p>
        </p:txBody>
      </p:sp>
      <p:pic>
        <p:nvPicPr>
          <p:cNvPr id="30" name="Picture 2">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23238286"/>
      </p:ext>
    </p:extLst>
  </p:cSld>
  <p:clrMapOvr>
    <a:masterClrMapping/>
  </p:clrMapOvr>
  <mc:AlternateContent xmlns:mc="http://schemas.openxmlformats.org/markup-compatibility/2006" xmlns:p14="http://schemas.microsoft.com/office/powerpoint/2010/main">
    <mc:Choice Requires="p14">
      <p:transition spd="slow" p14:dur="1250">
        <p:push/>
      </p:transition>
    </mc:Choice>
    <mc:Fallback xmlns="">
      <p:transition spd="slow">
        <p:push/>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25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1+#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350"/>
                                  </p:stCondLst>
                                  <p:childTnLst>
                                    <p:set>
                                      <p:cBhvr>
                                        <p:cTn id="10" dur="1" fill="hold">
                                          <p:stCondLst>
                                            <p:cond delay="0"/>
                                          </p:stCondLst>
                                        </p:cTn>
                                        <p:tgtEl>
                                          <p:spTgt spid="19"/>
                                        </p:tgtEl>
                                        <p:attrNameLst>
                                          <p:attrName>style.visibility</p:attrName>
                                        </p:attrNameLst>
                                      </p:cBhvr>
                                      <p:to>
                                        <p:strVal val="visible"/>
                                      </p:to>
                                    </p:set>
                                    <p:anim calcmode="lin" valueType="num">
                                      <p:cBhvr additive="base">
                                        <p:cTn id="11" dur="1000" fill="hold"/>
                                        <p:tgtEl>
                                          <p:spTgt spid="19"/>
                                        </p:tgtEl>
                                        <p:attrNameLst>
                                          <p:attrName>ppt_x</p:attrName>
                                        </p:attrNameLst>
                                      </p:cBhvr>
                                      <p:tavLst>
                                        <p:tav tm="0">
                                          <p:val>
                                            <p:strVal val="1+#ppt_w/2"/>
                                          </p:val>
                                        </p:tav>
                                        <p:tav tm="100000">
                                          <p:val>
                                            <p:strVal val="#ppt_x"/>
                                          </p:val>
                                        </p:tav>
                                      </p:tavLst>
                                    </p:anim>
                                    <p:anim calcmode="lin" valueType="num">
                                      <p:cBhvr additive="base">
                                        <p:cTn id="12" dur="1000" fill="hold"/>
                                        <p:tgtEl>
                                          <p:spTgt spid="19"/>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45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1000" fill="hold"/>
                                        <p:tgtEl>
                                          <p:spTgt spid="10"/>
                                        </p:tgtEl>
                                        <p:attrNameLst>
                                          <p:attrName>ppt_x</p:attrName>
                                        </p:attrNameLst>
                                      </p:cBhvr>
                                      <p:tavLst>
                                        <p:tav tm="0">
                                          <p:val>
                                            <p:strVal val="1+#ppt_w/2"/>
                                          </p:val>
                                        </p:tav>
                                        <p:tav tm="100000">
                                          <p:val>
                                            <p:strVal val="#ppt_x"/>
                                          </p:val>
                                        </p:tav>
                                      </p:tavLst>
                                    </p:anim>
                                    <p:anim calcmode="lin" valueType="num">
                                      <p:cBhvr additive="base">
                                        <p:cTn id="16" dur="1000" fill="hold"/>
                                        <p:tgtEl>
                                          <p:spTgt spid="10"/>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550"/>
                                  </p:stCondLst>
                                  <p:childTnLst>
                                    <p:set>
                                      <p:cBhvr>
                                        <p:cTn id="18" dur="1" fill="hold">
                                          <p:stCondLst>
                                            <p:cond delay="0"/>
                                          </p:stCondLst>
                                        </p:cTn>
                                        <p:tgtEl>
                                          <p:spTgt spid="16"/>
                                        </p:tgtEl>
                                        <p:attrNameLst>
                                          <p:attrName>style.visibility</p:attrName>
                                        </p:attrNameLst>
                                      </p:cBhvr>
                                      <p:to>
                                        <p:strVal val="visible"/>
                                      </p:to>
                                    </p:set>
                                    <p:anim calcmode="lin" valueType="num">
                                      <p:cBhvr additive="base">
                                        <p:cTn id="19" dur="1000" fill="hold"/>
                                        <p:tgtEl>
                                          <p:spTgt spid="16"/>
                                        </p:tgtEl>
                                        <p:attrNameLst>
                                          <p:attrName>ppt_x</p:attrName>
                                        </p:attrNameLst>
                                      </p:cBhvr>
                                      <p:tavLst>
                                        <p:tav tm="0">
                                          <p:val>
                                            <p:strVal val="1+#ppt_w/2"/>
                                          </p:val>
                                        </p:tav>
                                        <p:tav tm="100000">
                                          <p:val>
                                            <p:strVal val="#ppt_x"/>
                                          </p:val>
                                        </p:tav>
                                      </p:tavLst>
                                    </p:anim>
                                    <p:anim calcmode="lin" valueType="num">
                                      <p:cBhvr additive="base">
                                        <p:cTn id="20" dur="1000" fill="hold"/>
                                        <p:tgtEl>
                                          <p:spTgt spid="16"/>
                                        </p:tgtEl>
                                        <p:attrNameLst>
                                          <p:attrName>ppt_y</p:attrName>
                                        </p:attrNameLst>
                                      </p:cBhvr>
                                      <p:tavLst>
                                        <p:tav tm="0">
                                          <p:val>
                                            <p:strVal val="#ppt_y"/>
                                          </p:val>
                                        </p:tav>
                                        <p:tav tm="100000">
                                          <p:val>
                                            <p:strVal val="#ppt_y"/>
                                          </p:val>
                                        </p:tav>
                                      </p:tavLst>
                                    </p:anim>
                                  </p:childTnLst>
                                </p:cTn>
                              </p:par>
                              <p:par>
                                <p:cTn id="21" presetID="2" presetClass="entr" presetSubtype="2" decel="100000" fill="hold" nodeType="withEffect">
                                  <p:stCondLst>
                                    <p:cond delay="650"/>
                                  </p:stCondLst>
                                  <p:childTnLst>
                                    <p:set>
                                      <p:cBhvr>
                                        <p:cTn id="22" dur="1" fill="hold">
                                          <p:stCondLst>
                                            <p:cond delay="0"/>
                                          </p:stCondLst>
                                        </p:cTn>
                                        <p:tgtEl>
                                          <p:spTgt spid="13"/>
                                        </p:tgtEl>
                                        <p:attrNameLst>
                                          <p:attrName>style.visibility</p:attrName>
                                        </p:attrNameLst>
                                      </p:cBhvr>
                                      <p:to>
                                        <p:strVal val="visible"/>
                                      </p:to>
                                    </p:set>
                                    <p:anim calcmode="lin" valueType="num">
                                      <p:cBhvr additive="base">
                                        <p:cTn id="23" dur="1000" fill="hold"/>
                                        <p:tgtEl>
                                          <p:spTgt spid="13"/>
                                        </p:tgtEl>
                                        <p:attrNameLst>
                                          <p:attrName>ppt_x</p:attrName>
                                        </p:attrNameLst>
                                      </p:cBhvr>
                                      <p:tavLst>
                                        <p:tav tm="0">
                                          <p:val>
                                            <p:strVal val="1+#ppt_w/2"/>
                                          </p:val>
                                        </p:tav>
                                        <p:tav tm="100000">
                                          <p:val>
                                            <p:strVal val="#ppt_x"/>
                                          </p:val>
                                        </p:tav>
                                      </p:tavLst>
                                    </p:anim>
                                    <p:anim calcmode="lin" valueType="num">
                                      <p:cBhvr additive="base">
                                        <p:cTn id="24" dur="10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TextBox 101"/>
          <p:cNvSpPr txBox="1"/>
          <p:nvPr/>
        </p:nvSpPr>
        <p:spPr>
          <a:xfrm rot="3540000">
            <a:off x="5346766" y="1751945"/>
            <a:ext cx="3672881" cy="2603604"/>
          </a:xfrm>
          <a:prstGeom prst="rect">
            <a:avLst/>
          </a:prstGeom>
          <a:noFill/>
        </p:spPr>
        <p:txBody>
          <a:bodyPr wrap="none" lIns="0" tIns="0" rIns="0" bIns="0" rtlCol="0">
            <a:prstTxWarp prst="textArchUp">
              <a:avLst/>
            </a:prstTxWarp>
            <a:spAutoFit/>
          </a:bodyPr>
          <a:lstStyle/>
          <a:p>
            <a:pPr algn="ctr" defTabSz="651489"/>
            <a:r>
              <a:rPr lang="en-US" sz="1500" b="1" dirty="0">
                <a:gradFill>
                  <a:gsLst>
                    <a:gs pos="0">
                      <a:schemeClr val="bg2">
                        <a:lumMod val="60000"/>
                        <a:lumOff val="40000"/>
                      </a:schemeClr>
                    </a:gs>
                    <a:gs pos="100000">
                      <a:schemeClr val="bg2">
                        <a:lumMod val="60000"/>
                        <a:lumOff val="40000"/>
                      </a:schemeClr>
                    </a:gs>
                  </a:gsLst>
                  <a:lin ang="5400000" scaled="0"/>
                </a:gradFill>
              </a:rPr>
              <a:t>INTEGRATE</a:t>
            </a:r>
          </a:p>
        </p:txBody>
      </p:sp>
      <p:sp>
        <p:nvSpPr>
          <p:cNvPr id="103" name="TextBox 102"/>
          <p:cNvSpPr txBox="1"/>
          <p:nvPr/>
        </p:nvSpPr>
        <p:spPr>
          <a:xfrm rot="60000">
            <a:off x="3661466" y="456688"/>
            <a:ext cx="1821069" cy="508603"/>
          </a:xfrm>
          <a:prstGeom prst="rect">
            <a:avLst/>
          </a:prstGeom>
          <a:noFill/>
        </p:spPr>
        <p:txBody>
          <a:bodyPr wrap="none" lIns="0" tIns="0" rIns="0" bIns="0" rtlCol="0">
            <a:prstTxWarp prst="textArchUp">
              <a:avLst>
                <a:gd name="adj" fmla="val 10907877"/>
              </a:avLst>
            </a:prstTxWarp>
            <a:spAutoFit/>
          </a:bodyPr>
          <a:lstStyle/>
          <a:p>
            <a:pPr algn="ctr" defTabSz="651489"/>
            <a:r>
              <a:rPr lang="en-US" sz="1500" b="1" dirty="0">
                <a:gradFill>
                  <a:gsLst>
                    <a:gs pos="0">
                      <a:schemeClr val="bg2">
                        <a:lumMod val="60000"/>
                        <a:lumOff val="40000"/>
                      </a:schemeClr>
                    </a:gs>
                    <a:gs pos="100000">
                      <a:schemeClr val="bg2">
                        <a:lumMod val="60000"/>
                        <a:lumOff val="40000"/>
                      </a:schemeClr>
                    </a:gs>
                  </a:gsLst>
                  <a:lin ang="5400000" scaled="0"/>
                </a:gradFill>
              </a:rPr>
              <a:t>DEVELOP</a:t>
            </a:r>
            <a:endParaRPr lang="en-US" b="1" dirty="0">
              <a:gradFill>
                <a:gsLst>
                  <a:gs pos="0">
                    <a:schemeClr val="bg2">
                      <a:lumMod val="60000"/>
                      <a:lumOff val="40000"/>
                    </a:schemeClr>
                  </a:gs>
                  <a:gs pos="100000">
                    <a:schemeClr val="bg2">
                      <a:lumMod val="60000"/>
                      <a:lumOff val="40000"/>
                    </a:schemeClr>
                  </a:gs>
                </a:gsLst>
                <a:lin ang="5400000" scaled="0"/>
              </a:gradFill>
            </a:endParaRPr>
          </a:p>
        </p:txBody>
      </p:sp>
      <p:sp>
        <p:nvSpPr>
          <p:cNvPr id="106" name="TextBox 105"/>
          <p:cNvSpPr txBox="1"/>
          <p:nvPr/>
        </p:nvSpPr>
        <p:spPr>
          <a:xfrm rot="7620000" flipH="1" flipV="1">
            <a:off x="189630" y="1623355"/>
            <a:ext cx="3672881" cy="2603604"/>
          </a:xfrm>
          <a:prstGeom prst="rect">
            <a:avLst/>
          </a:prstGeom>
          <a:noFill/>
        </p:spPr>
        <p:txBody>
          <a:bodyPr wrap="none" lIns="0" tIns="0" rIns="0" bIns="0" rtlCol="0">
            <a:prstTxWarp prst="textArchUp">
              <a:avLst/>
            </a:prstTxWarp>
            <a:spAutoFit/>
          </a:bodyPr>
          <a:lstStyle/>
          <a:p>
            <a:pPr algn="ctr" defTabSz="651489"/>
            <a:r>
              <a:rPr lang="en-US" sz="1500" b="1" dirty="0">
                <a:gradFill>
                  <a:gsLst>
                    <a:gs pos="0">
                      <a:schemeClr val="bg2">
                        <a:lumMod val="60000"/>
                        <a:lumOff val="40000"/>
                      </a:schemeClr>
                    </a:gs>
                    <a:gs pos="100000">
                      <a:schemeClr val="bg2">
                        <a:lumMod val="60000"/>
                        <a:lumOff val="40000"/>
                      </a:schemeClr>
                    </a:gs>
                  </a:gsLst>
                  <a:lin ang="5400000" scaled="0"/>
                </a:gradFill>
              </a:rPr>
              <a:t>ACCESS</a:t>
            </a:r>
          </a:p>
        </p:txBody>
      </p:sp>
      <p:sp>
        <p:nvSpPr>
          <p:cNvPr id="55" name="Block Arc 54"/>
          <p:cNvSpPr/>
          <p:nvPr/>
        </p:nvSpPr>
        <p:spPr bwMode="auto">
          <a:xfrm>
            <a:off x="499714" y="604518"/>
            <a:ext cx="8144572" cy="7034368"/>
          </a:xfrm>
          <a:prstGeom prst="blockArc">
            <a:avLst>
              <a:gd name="adj1" fmla="val 10800000"/>
              <a:gd name="adj2" fmla="val 5734"/>
              <a:gd name="adj3" fmla="val 1205"/>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5149" tIns="32574" rIns="32574" bIns="65149" numCol="1" spcCol="0" rtlCol="0" fromWordArt="0" anchor="b" anchorCtr="0" forceAA="0" compatLnSpc="1">
            <a:prstTxWarp prst="textNoShape">
              <a:avLst/>
            </a:prstTxWarp>
            <a:noAutofit/>
          </a:bodyPr>
          <a:lstStyle/>
          <a:p>
            <a:pPr algn="ctr" defTabSz="651274" fontAlgn="base">
              <a:spcBef>
                <a:spcPct val="0"/>
              </a:spcBef>
              <a:spcAft>
                <a:spcPct val="0"/>
              </a:spcAft>
            </a:pPr>
            <a:endParaRPr lang="en-US" spc="-36" dirty="0" err="1">
              <a:gradFill>
                <a:gsLst>
                  <a:gs pos="0">
                    <a:srgbClr val="FFFFFF"/>
                  </a:gs>
                  <a:gs pos="100000">
                    <a:srgbClr val="FFFFFF"/>
                  </a:gs>
                </a:gsLst>
                <a:lin ang="5400000" scaled="0"/>
              </a:gradFill>
              <a:ea typeface="Segoe UI" pitchFamily="34" charset="0"/>
              <a:cs typeface="Segoe UI" pitchFamily="34" charset="0"/>
            </a:endParaRPr>
          </a:p>
        </p:txBody>
      </p:sp>
      <p:sp>
        <p:nvSpPr>
          <p:cNvPr id="56" name="Block Arc 55"/>
          <p:cNvSpPr/>
          <p:nvPr/>
        </p:nvSpPr>
        <p:spPr bwMode="auto">
          <a:xfrm>
            <a:off x="2091843" y="1878807"/>
            <a:ext cx="4960314" cy="4529255"/>
          </a:xfrm>
          <a:prstGeom prst="blockArc">
            <a:avLst>
              <a:gd name="adj1" fmla="val 10829543"/>
              <a:gd name="adj2" fmla="val 21568510"/>
              <a:gd name="adj3" fmla="val 600"/>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5149" tIns="32574" rIns="32574" bIns="65149" numCol="1" spcCol="0" rtlCol="0" fromWordArt="0" anchor="b" anchorCtr="0" forceAA="0" compatLnSpc="1">
            <a:prstTxWarp prst="textNoShape">
              <a:avLst/>
            </a:prstTxWarp>
            <a:noAutofit/>
          </a:bodyPr>
          <a:lstStyle/>
          <a:p>
            <a:pPr algn="ctr" defTabSz="651274" fontAlgn="base">
              <a:spcBef>
                <a:spcPct val="0"/>
              </a:spcBef>
              <a:spcAft>
                <a:spcPct val="0"/>
              </a:spcAft>
            </a:pPr>
            <a:endParaRPr lang="en-US" spc="-36"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57" name="Group 56"/>
          <p:cNvGrpSpPr/>
          <p:nvPr/>
        </p:nvGrpSpPr>
        <p:grpSpPr>
          <a:xfrm>
            <a:off x="499714" y="4236578"/>
            <a:ext cx="8144572" cy="391733"/>
            <a:chOff x="454107" y="5728228"/>
            <a:chExt cx="11201739" cy="573578"/>
          </a:xfrm>
        </p:grpSpPr>
        <p:cxnSp>
          <p:nvCxnSpPr>
            <p:cNvPr id="58" name="Straight Connector 57"/>
            <p:cNvCxnSpPr/>
            <p:nvPr/>
          </p:nvCxnSpPr>
          <p:spPr>
            <a:xfrm>
              <a:off x="454107" y="5728228"/>
              <a:ext cx="11201739" cy="0"/>
            </a:xfrm>
            <a:prstGeom prst="line">
              <a:avLst/>
            </a:prstGeom>
            <a:ln w="3175">
              <a:solidFill>
                <a:schemeClr val="bg2">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454107" y="6301806"/>
              <a:ext cx="11201739" cy="0"/>
            </a:xfrm>
            <a:prstGeom prst="line">
              <a:avLst/>
            </a:prstGeom>
            <a:ln w="3175">
              <a:solidFill>
                <a:schemeClr val="bg2">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grpSp>
      <p:sp>
        <p:nvSpPr>
          <p:cNvPr id="60" name="TextBox 59"/>
          <p:cNvSpPr txBox="1"/>
          <p:nvPr/>
        </p:nvSpPr>
        <p:spPr>
          <a:xfrm>
            <a:off x="749984" y="3694211"/>
            <a:ext cx="1302450" cy="394724"/>
          </a:xfrm>
          <a:prstGeom prst="rect">
            <a:avLst/>
          </a:prstGeom>
          <a:noFill/>
        </p:spPr>
        <p:txBody>
          <a:bodyPr wrap="square" lIns="137172" tIns="0" rIns="0" bIns="0" rtlCol="0">
            <a:spAutoFit/>
          </a:bodyPr>
          <a:lstStyle/>
          <a:p>
            <a:pPr defTabSz="651489">
              <a:lnSpc>
                <a:spcPct val="90000"/>
              </a:lnSpc>
            </a:pPr>
            <a:r>
              <a:rPr lang="en-US" spc="-36" dirty="0">
                <a:gradFill>
                  <a:gsLst>
                    <a:gs pos="0">
                      <a:schemeClr val="accent3"/>
                    </a:gs>
                    <a:gs pos="100000">
                      <a:schemeClr val="accent3"/>
                    </a:gs>
                  </a:gsLst>
                  <a:lin ang="5400000" scaled="0"/>
                </a:gradFill>
              </a:rPr>
              <a:t>Team Explorer</a:t>
            </a:r>
          </a:p>
          <a:p>
            <a:pPr defTabSz="651489">
              <a:lnSpc>
                <a:spcPct val="90000"/>
              </a:lnSpc>
            </a:pPr>
            <a:r>
              <a:rPr lang="en-US" spc="-36" dirty="0">
                <a:gradFill>
                  <a:gsLst>
                    <a:gs pos="0">
                      <a:schemeClr val="accent3"/>
                    </a:gs>
                    <a:gs pos="100000">
                      <a:schemeClr val="accent3"/>
                    </a:gs>
                  </a:gsLst>
                  <a:lin ang="5400000" scaled="0"/>
                </a:gradFill>
              </a:rPr>
              <a:t>Everywhere</a:t>
            </a:r>
          </a:p>
        </p:txBody>
      </p:sp>
      <p:sp>
        <p:nvSpPr>
          <p:cNvPr id="61" name="TextBox 60"/>
          <p:cNvSpPr txBox="1"/>
          <p:nvPr/>
        </p:nvSpPr>
        <p:spPr>
          <a:xfrm>
            <a:off x="3413448" y="4322719"/>
            <a:ext cx="2317104" cy="230833"/>
          </a:xfrm>
          <a:prstGeom prst="rect">
            <a:avLst/>
          </a:prstGeom>
          <a:noFill/>
        </p:spPr>
        <p:txBody>
          <a:bodyPr wrap="none" lIns="0" tIns="0" rIns="0" bIns="0" rtlCol="0">
            <a:spAutoFit/>
          </a:bodyPr>
          <a:lstStyle/>
          <a:p>
            <a:pPr algn="ctr" defTabSz="651489"/>
            <a:r>
              <a:rPr lang="en-US" sz="1500" b="1" spc="428" dirty="0">
                <a:gradFill>
                  <a:gsLst>
                    <a:gs pos="0">
                      <a:schemeClr val="accent4"/>
                    </a:gs>
                    <a:gs pos="80000">
                      <a:schemeClr val="accent4"/>
                    </a:gs>
                  </a:gsLst>
                  <a:lin ang="16200000" scaled="0"/>
                </a:gradFill>
              </a:rPr>
              <a:t>EXTENSIBLE API</a:t>
            </a:r>
            <a:r>
              <a:rPr lang="en-US" sz="1500" b="1" dirty="0">
                <a:gradFill>
                  <a:gsLst>
                    <a:gs pos="0">
                      <a:schemeClr val="accent4"/>
                    </a:gs>
                    <a:gs pos="80000">
                      <a:schemeClr val="accent4"/>
                    </a:gs>
                  </a:gsLst>
                  <a:lin ang="16200000" scaled="0"/>
                </a:gradFill>
              </a:rPr>
              <a:t>s</a:t>
            </a:r>
          </a:p>
        </p:txBody>
      </p:sp>
      <p:cxnSp>
        <p:nvCxnSpPr>
          <p:cNvPr id="63" name="Straight Connector 62"/>
          <p:cNvCxnSpPr/>
          <p:nvPr/>
        </p:nvCxnSpPr>
        <p:spPr>
          <a:xfrm>
            <a:off x="1028620" y="3060913"/>
            <a:ext cx="1247234" cy="0"/>
          </a:xfrm>
          <a:prstGeom prst="line">
            <a:avLst/>
          </a:prstGeom>
          <a:ln w="3175">
            <a:solidFill>
              <a:schemeClr val="tx2">
                <a:alpha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6905169" y="3060913"/>
            <a:ext cx="1247234" cy="0"/>
          </a:xfrm>
          <a:prstGeom prst="line">
            <a:avLst/>
          </a:prstGeom>
          <a:ln w="3175">
            <a:solidFill>
              <a:schemeClr val="tx2">
                <a:alpha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805201" y="3612106"/>
            <a:ext cx="1247234" cy="0"/>
          </a:xfrm>
          <a:prstGeom prst="line">
            <a:avLst/>
          </a:prstGeom>
          <a:ln w="3175">
            <a:solidFill>
              <a:schemeClr val="tx2">
                <a:alpha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7128588" y="3612106"/>
            <a:ext cx="1247234" cy="0"/>
          </a:xfrm>
          <a:prstGeom prst="line">
            <a:avLst/>
          </a:prstGeom>
          <a:ln w="3175">
            <a:solidFill>
              <a:schemeClr val="tx2">
                <a:alpha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805201" y="3241153"/>
            <a:ext cx="1316741" cy="197362"/>
          </a:xfrm>
          <a:prstGeom prst="rect">
            <a:avLst/>
          </a:prstGeom>
          <a:noFill/>
        </p:spPr>
        <p:txBody>
          <a:bodyPr wrap="square" lIns="68586" tIns="0" rIns="0" bIns="0" rtlCol="0">
            <a:spAutoFit/>
          </a:bodyPr>
          <a:lstStyle/>
          <a:p>
            <a:pPr algn="ctr" defTabSz="651489">
              <a:lnSpc>
                <a:spcPct val="90000"/>
              </a:lnSpc>
            </a:pPr>
            <a:r>
              <a:rPr lang="en-US" spc="-36" dirty="0">
                <a:gradFill>
                  <a:gsLst>
                    <a:gs pos="0">
                      <a:schemeClr val="accent3"/>
                    </a:gs>
                    <a:gs pos="100000">
                      <a:schemeClr val="accent3"/>
                    </a:gs>
                  </a:gsLst>
                  <a:lin ang="5400000" scaled="0"/>
                </a:gradFill>
              </a:rPr>
              <a:t>SharePoint</a:t>
            </a:r>
          </a:p>
        </p:txBody>
      </p:sp>
      <p:sp>
        <p:nvSpPr>
          <p:cNvPr id="70" name="TextBox 69"/>
          <p:cNvSpPr txBox="1"/>
          <p:nvPr/>
        </p:nvSpPr>
        <p:spPr>
          <a:xfrm>
            <a:off x="6565435" y="2136525"/>
            <a:ext cx="1247234" cy="197362"/>
          </a:xfrm>
          <a:prstGeom prst="rect">
            <a:avLst/>
          </a:prstGeom>
          <a:noFill/>
        </p:spPr>
        <p:txBody>
          <a:bodyPr wrap="square" lIns="0" tIns="0" rIns="137172" bIns="0" rtlCol="0">
            <a:spAutoFit/>
          </a:bodyPr>
          <a:lstStyle/>
          <a:p>
            <a:pPr algn="ctr" defTabSz="651489">
              <a:lnSpc>
                <a:spcPct val="90000"/>
              </a:lnSpc>
            </a:pPr>
            <a:r>
              <a:rPr lang="en-US" spc="-36" dirty="0">
                <a:gradFill>
                  <a:gsLst>
                    <a:gs pos="0">
                      <a:schemeClr val="accent5"/>
                    </a:gs>
                    <a:gs pos="80000">
                      <a:schemeClr val="accent5"/>
                    </a:gs>
                  </a:gsLst>
                  <a:lin ang="16200000" scaled="0"/>
                </a:gradFill>
              </a:rPr>
              <a:t>Project Server</a:t>
            </a:r>
          </a:p>
        </p:txBody>
      </p:sp>
      <p:sp>
        <p:nvSpPr>
          <p:cNvPr id="71" name="TextBox 70"/>
          <p:cNvSpPr txBox="1"/>
          <p:nvPr/>
        </p:nvSpPr>
        <p:spPr>
          <a:xfrm>
            <a:off x="6898023" y="2689799"/>
            <a:ext cx="1247234" cy="197362"/>
          </a:xfrm>
          <a:prstGeom prst="rect">
            <a:avLst/>
          </a:prstGeom>
          <a:noFill/>
        </p:spPr>
        <p:txBody>
          <a:bodyPr wrap="square" lIns="0" tIns="0" rIns="137172" bIns="0" rtlCol="0">
            <a:spAutoFit/>
          </a:bodyPr>
          <a:lstStyle/>
          <a:p>
            <a:pPr algn="ctr" defTabSz="651489">
              <a:lnSpc>
                <a:spcPct val="90000"/>
              </a:lnSpc>
            </a:pPr>
            <a:r>
              <a:rPr lang="en-US" spc="-36" dirty="0">
                <a:gradFill>
                  <a:gsLst>
                    <a:gs pos="0">
                      <a:schemeClr val="accent5"/>
                    </a:gs>
                    <a:gs pos="80000">
                      <a:schemeClr val="accent5"/>
                    </a:gs>
                  </a:gsLst>
                  <a:lin ang="16200000" scaled="0"/>
                </a:gradFill>
              </a:rPr>
              <a:t>System Center</a:t>
            </a:r>
          </a:p>
        </p:txBody>
      </p:sp>
      <p:sp>
        <p:nvSpPr>
          <p:cNvPr id="75" name="TextBox 74"/>
          <p:cNvSpPr txBox="1"/>
          <p:nvPr/>
        </p:nvSpPr>
        <p:spPr>
          <a:xfrm>
            <a:off x="7128588" y="3787700"/>
            <a:ext cx="1247234" cy="197362"/>
          </a:xfrm>
          <a:prstGeom prst="rect">
            <a:avLst/>
          </a:prstGeom>
          <a:noFill/>
        </p:spPr>
        <p:txBody>
          <a:bodyPr wrap="square" lIns="0" tIns="0" rIns="0" bIns="0" rtlCol="0">
            <a:spAutoFit/>
          </a:bodyPr>
          <a:lstStyle/>
          <a:p>
            <a:pPr algn="ctr" defTabSz="651489">
              <a:lnSpc>
                <a:spcPct val="90000"/>
              </a:lnSpc>
            </a:pPr>
            <a:r>
              <a:rPr lang="en-US" spc="-36" dirty="0">
                <a:gradFill>
                  <a:gsLst>
                    <a:gs pos="0">
                      <a:schemeClr val="accent5"/>
                    </a:gs>
                    <a:gs pos="80000">
                      <a:schemeClr val="accent5"/>
                    </a:gs>
                  </a:gsLst>
                  <a:lin ang="16200000" scaled="0"/>
                </a:gradFill>
              </a:rPr>
              <a:t>SQL Server</a:t>
            </a:r>
          </a:p>
        </p:txBody>
      </p:sp>
      <p:sp>
        <p:nvSpPr>
          <p:cNvPr id="79" name="TextBox 78"/>
          <p:cNvSpPr txBox="1"/>
          <p:nvPr/>
        </p:nvSpPr>
        <p:spPr>
          <a:xfrm>
            <a:off x="1368354" y="2136525"/>
            <a:ext cx="1247234" cy="197362"/>
          </a:xfrm>
          <a:prstGeom prst="rect">
            <a:avLst/>
          </a:prstGeom>
          <a:noFill/>
        </p:spPr>
        <p:txBody>
          <a:bodyPr wrap="square" lIns="0" tIns="0" rIns="0" bIns="0" rtlCol="0">
            <a:spAutoFit/>
          </a:bodyPr>
          <a:lstStyle/>
          <a:p>
            <a:pPr algn="ctr" defTabSz="651489">
              <a:lnSpc>
                <a:spcPct val="90000"/>
              </a:lnSpc>
            </a:pPr>
            <a:r>
              <a:rPr lang="en-US" spc="-36" dirty="0">
                <a:gradFill>
                  <a:gsLst>
                    <a:gs pos="0">
                      <a:schemeClr val="accent3"/>
                    </a:gs>
                    <a:gs pos="100000">
                      <a:schemeClr val="accent3"/>
                    </a:gs>
                  </a:gsLst>
                  <a:lin ang="5400000" scaled="0"/>
                </a:gradFill>
              </a:rPr>
              <a:t>Office</a:t>
            </a:r>
          </a:p>
        </p:txBody>
      </p:sp>
      <p:cxnSp>
        <p:nvCxnSpPr>
          <p:cNvPr id="81" name="Straight Connector 80"/>
          <p:cNvCxnSpPr/>
          <p:nvPr/>
        </p:nvCxnSpPr>
        <p:spPr>
          <a:xfrm>
            <a:off x="1368354" y="2509559"/>
            <a:ext cx="1247234" cy="0"/>
          </a:xfrm>
          <a:prstGeom prst="line">
            <a:avLst/>
          </a:prstGeom>
          <a:ln w="3175">
            <a:solidFill>
              <a:schemeClr val="tx2">
                <a:alpha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flipV="1">
            <a:off x="6565435" y="2507640"/>
            <a:ext cx="1247234" cy="1921"/>
          </a:xfrm>
          <a:prstGeom prst="line">
            <a:avLst/>
          </a:prstGeom>
          <a:ln w="3175">
            <a:solidFill>
              <a:schemeClr val="tx2">
                <a:alpha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85" name="TextBox 84"/>
          <p:cNvSpPr txBox="1"/>
          <p:nvPr/>
        </p:nvSpPr>
        <p:spPr>
          <a:xfrm>
            <a:off x="1028620" y="2689799"/>
            <a:ext cx="1316741" cy="197362"/>
          </a:xfrm>
          <a:prstGeom prst="rect">
            <a:avLst/>
          </a:prstGeom>
          <a:noFill/>
        </p:spPr>
        <p:txBody>
          <a:bodyPr wrap="square" lIns="137172" tIns="0" rIns="0" bIns="0" rtlCol="0">
            <a:spAutoFit/>
          </a:bodyPr>
          <a:lstStyle/>
          <a:p>
            <a:pPr algn="ctr" defTabSz="651489">
              <a:lnSpc>
                <a:spcPct val="90000"/>
              </a:lnSpc>
            </a:pPr>
            <a:r>
              <a:rPr lang="en-US" spc="-36" dirty="0">
                <a:gradFill>
                  <a:gsLst>
                    <a:gs pos="0">
                      <a:schemeClr val="accent3"/>
                    </a:gs>
                    <a:gs pos="100000">
                      <a:schemeClr val="accent3"/>
                    </a:gs>
                  </a:gsLst>
                  <a:lin ang="5400000" scaled="0"/>
                </a:gradFill>
              </a:rPr>
              <a:t>Web Access </a:t>
            </a:r>
          </a:p>
        </p:txBody>
      </p:sp>
      <p:sp>
        <p:nvSpPr>
          <p:cNvPr id="87" name="TextBox 86"/>
          <p:cNvSpPr txBox="1"/>
          <p:nvPr/>
        </p:nvSpPr>
        <p:spPr>
          <a:xfrm>
            <a:off x="7114296" y="3241153"/>
            <a:ext cx="1247234" cy="193899"/>
          </a:xfrm>
          <a:prstGeom prst="rect">
            <a:avLst/>
          </a:prstGeom>
          <a:noFill/>
        </p:spPr>
        <p:txBody>
          <a:bodyPr wrap="square" lIns="0" tIns="0" rIns="68586" bIns="0" rtlCol="0">
            <a:spAutoFit/>
          </a:bodyPr>
          <a:lstStyle/>
          <a:p>
            <a:pPr algn="ctr" defTabSz="651489">
              <a:lnSpc>
                <a:spcPct val="90000"/>
              </a:lnSpc>
            </a:pPr>
            <a:r>
              <a:rPr lang="en-US" spc="-36" dirty="0">
                <a:gradFill>
                  <a:gsLst>
                    <a:gs pos="0">
                      <a:schemeClr val="accent5"/>
                    </a:gs>
                    <a:gs pos="80000">
                      <a:schemeClr val="accent5"/>
                    </a:gs>
                  </a:gsLst>
                  <a:lin ang="16200000" scaled="0"/>
                </a:gradFill>
              </a:rPr>
              <a:t>Windows Azure</a:t>
            </a:r>
          </a:p>
        </p:txBody>
      </p:sp>
      <p:sp>
        <p:nvSpPr>
          <p:cNvPr id="89" name="TextBox 88"/>
          <p:cNvSpPr txBox="1"/>
          <p:nvPr/>
        </p:nvSpPr>
        <p:spPr>
          <a:xfrm>
            <a:off x="3356015" y="2327400"/>
            <a:ext cx="605468" cy="394724"/>
          </a:xfrm>
          <a:prstGeom prst="rect">
            <a:avLst/>
          </a:prstGeom>
          <a:noFill/>
        </p:spPr>
        <p:txBody>
          <a:bodyPr wrap="none" lIns="0" tIns="0" rIns="0" bIns="0" rtlCol="0">
            <a:spAutoFit/>
          </a:bodyPr>
          <a:lstStyle>
            <a:defPPr>
              <a:defRPr lang="en-US"/>
            </a:defPPr>
            <a:lvl1pPr>
              <a:lnSpc>
                <a:spcPct val="90000"/>
              </a:lnSpc>
              <a:defRPr sz="1600" spc="-50">
                <a:gradFill>
                  <a:gsLst>
                    <a:gs pos="0">
                      <a:srgbClr val="FF8A00"/>
                    </a:gs>
                    <a:gs pos="80000">
                      <a:srgbClr val="FF8A00"/>
                    </a:gs>
                  </a:gsLst>
                  <a:lin ang="16200000" scaled="0"/>
                </a:gradFill>
              </a:defRPr>
            </a:lvl1pPr>
          </a:lstStyle>
          <a:p>
            <a:pPr defTabSz="651489"/>
            <a:r>
              <a:rPr lang="en-US" sz="1400" dirty="0"/>
              <a:t>Version </a:t>
            </a:r>
            <a:br>
              <a:rPr lang="en-US" sz="1400" dirty="0"/>
            </a:br>
            <a:r>
              <a:rPr lang="en-US" sz="1400" dirty="0"/>
              <a:t>Control</a:t>
            </a:r>
          </a:p>
        </p:txBody>
      </p:sp>
      <p:sp>
        <p:nvSpPr>
          <p:cNvPr id="90" name="TextBox 89"/>
          <p:cNvSpPr txBox="1"/>
          <p:nvPr/>
        </p:nvSpPr>
        <p:spPr>
          <a:xfrm>
            <a:off x="4810572" y="2327400"/>
            <a:ext cx="987809" cy="394724"/>
          </a:xfrm>
          <a:prstGeom prst="rect">
            <a:avLst/>
          </a:prstGeom>
          <a:noFill/>
        </p:spPr>
        <p:txBody>
          <a:bodyPr wrap="square" lIns="0" tIns="0" rIns="0" bIns="0" rtlCol="0">
            <a:spAutoFit/>
          </a:bodyPr>
          <a:lstStyle>
            <a:defPPr>
              <a:defRPr lang="en-US"/>
            </a:defPPr>
            <a:lvl1pPr>
              <a:lnSpc>
                <a:spcPct val="90000"/>
              </a:lnSpc>
              <a:defRPr sz="1600" spc="-50">
                <a:gradFill>
                  <a:gsLst>
                    <a:gs pos="0">
                      <a:srgbClr val="FF8A00"/>
                    </a:gs>
                    <a:gs pos="80000">
                      <a:srgbClr val="FF8A00"/>
                    </a:gs>
                  </a:gsLst>
                  <a:lin ang="16200000" scaled="0"/>
                </a:gradFill>
              </a:defRPr>
            </a:lvl1pPr>
          </a:lstStyle>
          <a:p>
            <a:pPr algn="r" defTabSz="651489"/>
            <a:r>
              <a:rPr lang="en-US" sz="1400" dirty="0"/>
              <a:t>Build Automation</a:t>
            </a:r>
          </a:p>
        </p:txBody>
      </p:sp>
      <p:sp>
        <p:nvSpPr>
          <p:cNvPr id="91" name="TextBox 90"/>
          <p:cNvSpPr txBox="1"/>
          <p:nvPr/>
        </p:nvSpPr>
        <p:spPr>
          <a:xfrm>
            <a:off x="4058024" y="2119326"/>
            <a:ext cx="1027954" cy="394724"/>
          </a:xfrm>
          <a:prstGeom prst="rect">
            <a:avLst/>
          </a:prstGeom>
          <a:noFill/>
        </p:spPr>
        <p:txBody>
          <a:bodyPr wrap="none" lIns="0" tIns="0" rIns="0" bIns="0" rtlCol="0">
            <a:spAutoFit/>
          </a:bodyPr>
          <a:lstStyle>
            <a:defPPr>
              <a:defRPr lang="en-US"/>
            </a:defPPr>
            <a:lvl1pPr>
              <a:lnSpc>
                <a:spcPct val="90000"/>
              </a:lnSpc>
              <a:defRPr sz="1600" spc="-50">
                <a:gradFill>
                  <a:gsLst>
                    <a:gs pos="0">
                      <a:srgbClr val="FF8A00"/>
                    </a:gs>
                    <a:gs pos="80000">
                      <a:srgbClr val="FF8A00"/>
                    </a:gs>
                  </a:gsLst>
                  <a:lin ang="16200000" scaled="0"/>
                </a:gradFill>
              </a:defRPr>
            </a:lvl1pPr>
          </a:lstStyle>
          <a:p>
            <a:pPr algn="ctr" defTabSz="651489"/>
            <a:r>
              <a:rPr lang="en-US" sz="1400" dirty="0"/>
              <a:t>Customizable</a:t>
            </a:r>
            <a:br>
              <a:rPr lang="en-US" sz="1400" dirty="0"/>
            </a:br>
            <a:r>
              <a:rPr lang="en-US" sz="1400" dirty="0"/>
              <a:t>Processes</a:t>
            </a:r>
          </a:p>
        </p:txBody>
      </p:sp>
      <p:sp>
        <p:nvSpPr>
          <p:cNvPr id="93" name="TextBox 92"/>
          <p:cNvSpPr txBox="1"/>
          <p:nvPr/>
        </p:nvSpPr>
        <p:spPr>
          <a:xfrm>
            <a:off x="2767494" y="2778241"/>
            <a:ext cx="1048397" cy="394724"/>
          </a:xfrm>
          <a:prstGeom prst="rect">
            <a:avLst/>
          </a:prstGeom>
          <a:noFill/>
        </p:spPr>
        <p:txBody>
          <a:bodyPr wrap="none" lIns="0" tIns="0" rIns="0" bIns="0" rtlCol="0">
            <a:spAutoFit/>
          </a:bodyPr>
          <a:lstStyle/>
          <a:p>
            <a:pPr defTabSz="651489">
              <a:lnSpc>
                <a:spcPct val="90000"/>
              </a:lnSpc>
            </a:pPr>
            <a:r>
              <a:rPr lang="en-US" spc="-38" dirty="0">
                <a:gradFill>
                  <a:gsLst>
                    <a:gs pos="0">
                      <a:srgbClr val="FF8A00"/>
                    </a:gs>
                    <a:gs pos="80000">
                      <a:srgbClr val="FF8A00"/>
                    </a:gs>
                  </a:gsLst>
                  <a:lin ang="16200000" scaled="0"/>
                </a:gradFill>
              </a:rPr>
              <a:t>Requirements</a:t>
            </a:r>
            <a:br>
              <a:rPr lang="en-US" spc="-38" dirty="0">
                <a:gradFill>
                  <a:gsLst>
                    <a:gs pos="0">
                      <a:srgbClr val="FF8A00"/>
                    </a:gs>
                    <a:gs pos="80000">
                      <a:srgbClr val="FF8A00"/>
                    </a:gs>
                  </a:gsLst>
                  <a:lin ang="16200000" scaled="0"/>
                </a:gradFill>
              </a:rPr>
            </a:br>
            <a:r>
              <a:rPr lang="en-US" spc="-38" dirty="0">
                <a:gradFill>
                  <a:gsLst>
                    <a:gs pos="0">
                      <a:srgbClr val="FF8A00"/>
                    </a:gs>
                    <a:gs pos="80000">
                      <a:srgbClr val="FF8A00"/>
                    </a:gs>
                  </a:gsLst>
                  <a:lin ang="16200000" scaled="0"/>
                </a:gradFill>
              </a:rPr>
              <a:t>Management</a:t>
            </a:r>
          </a:p>
        </p:txBody>
      </p:sp>
      <p:sp>
        <p:nvSpPr>
          <p:cNvPr id="94" name="TextBox 93"/>
          <p:cNvSpPr txBox="1"/>
          <p:nvPr/>
        </p:nvSpPr>
        <p:spPr>
          <a:xfrm>
            <a:off x="5353860" y="2778241"/>
            <a:ext cx="1025789" cy="394724"/>
          </a:xfrm>
          <a:prstGeom prst="rect">
            <a:avLst/>
          </a:prstGeom>
          <a:noFill/>
        </p:spPr>
        <p:txBody>
          <a:bodyPr wrap="none" lIns="0" tIns="0" rIns="0" bIns="0" rtlCol="0">
            <a:spAutoFit/>
          </a:bodyPr>
          <a:lstStyle>
            <a:defPPr>
              <a:defRPr lang="en-US"/>
            </a:defPPr>
            <a:lvl1pPr>
              <a:lnSpc>
                <a:spcPct val="90000"/>
              </a:lnSpc>
              <a:defRPr sz="1600" spc="-50">
                <a:gradFill>
                  <a:gsLst>
                    <a:gs pos="0">
                      <a:srgbClr val="FF8A00"/>
                    </a:gs>
                    <a:gs pos="80000">
                      <a:srgbClr val="FF8A00"/>
                    </a:gs>
                  </a:gsLst>
                  <a:lin ang="16200000" scaled="0"/>
                </a:gradFill>
              </a:defRPr>
            </a:lvl1pPr>
          </a:lstStyle>
          <a:p>
            <a:pPr algn="r" defTabSz="651489"/>
            <a:r>
              <a:rPr lang="en-US" sz="1400" dirty="0"/>
              <a:t>Test Case</a:t>
            </a:r>
          </a:p>
          <a:p>
            <a:pPr algn="r" defTabSz="651489"/>
            <a:r>
              <a:rPr lang="en-US" sz="1400" dirty="0"/>
              <a:t>Management</a:t>
            </a:r>
          </a:p>
        </p:txBody>
      </p:sp>
      <p:sp>
        <p:nvSpPr>
          <p:cNvPr id="97" name="TextBox 96"/>
          <p:cNvSpPr txBox="1"/>
          <p:nvPr/>
        </p:nvSpPr>
        <p:spPr>
          <a:xfrm>
            <a:off x="2518805" y="3275827"/>
            <a:ext cx="1025789" cy="394724"/>
          </a:xfrm>
          <a:prstGeom prst="rect">
            <a:avLst/>
          </a:prstGeom>
          <a:noFill/>
        </p:spPr>
        <p:txBody>
          <a:bodyPr wrap="none" lIns="0" tIns="0" rIns="0" bIns="0" rtlCol="0">
            <a:spAutoFit/>
          </a:bodyPr>
          <a:lstStyle>
            <a:defPPr>
              <a:defRPr lang="en-US"/>
            </a:defPPr>
            <a:lvl1pPr>
              <a:lnSpc>
                <a:spcPct val="90000"/>
              </a:lnSpc>
              <a:defRPr sz="1600" spc="-50">
                <a:gradFill>
                  <a:gsLst>
                    <a:gs pos="0">
                      <a:srgbClr val="FF8A00"/>
                    </a:gs>
                    <a:gs pos="80000">
                      <a:srgbClr val="FF8A00"/>
                    </a:gs>
                  </a:gsLst>
                  <a:lin ang="16200000" scaled="0"/>
                </a:gradFill>
              </a:defRPr>
            </a:lvl1pPr>
          </a:lstStyle>
          <a:p>
            <a:pPr defTabSz="651489"/>
            <a:r>
              <a:rPr lang="en-US" sz="1400" dirty="0"/>
              <a:t>Project</a:t>
            </a:r>
            <a:br>
              <a:rPr lang="en-US" sz="1400" dirty="0"/>
            </a:br>
            <a:r>
              <a:rPr lang="en-US" sz="1400" dirty="0"/>
              <a:t>Management</a:t>
            </a:r>
          </a:p>
        </p:txBody>
      </p:sp>
      <p:sp>
        <p:nvSpPr>
          <p:cNvPr id="98" name="TextBox 97"/>
          <p:cNvSpPr txBox="1"/>
          <p:nvPr/>
        </p:nvSpPr>
        <p:spPr>
          <a:xfrm>
            <a:off x="5764173" y="3275827"/>
            <a:ext cx="875227" cy="394724"/>
          </a:xfrm>
          <a:prstGeom prst="rect">
            <a:avLst/>
          </a:prstGeom>
          <a:noFill/>
        </p:spPr>
        <p:txBody>
          <a:bodyPr wrap="none" lIns="0" tIns="0" rIns="0" bIns="0" rtlCol="0">
            <a:spAutoFit/>
          </a:bodyPr>
          <a:lstStyle>
            <a:defPPr>
              <a:defRPr lang="en-US"/>
            </a:defPPr>
            <a:lvl1pPr>
              <a:lnSpc>
                <a:spcPct val="90000"/>
              </a:lnSpc>
              <a:defRPr sz="1600" spc="-50">
                <a:gradFill>
                  <a:gsLst>
                    <a:gs pos="0">
                      <a:srgbClr val="FF8A00"/>
                    </a:gs>
                    <a:gs pos="80000">
                      <a:srgbClr val="FF8A00"/>
                    </a:gs>
                  </a:gsLst>
                  <a:lin ang="16200000" scaled="0"/>
                </a:gradFill>
              </a:defRPr>
            </a:lvl1pPr>
          </a:lstStyle>
          <a:p>
            <a:pPr algn="r" defTabSz="651489"/>
            <a:r>
              <a:rPr lang="en-US" sz="1400" dirty="0"/>
              <a:t>End-to-End</a:t>
            </a:r>
          </a:p>
          <a:p>
            <a:pPr algn="r" defTabSz="651489"/>
            <a:r>
              <a:rPr lang="en-US" sz="1400" dirty="0"/>
              <a:t>Traceability</a:t>
            </a:r>
          </a:p>
        </p:txBody>
      </p:sp>
      <p:pic>
        <p:nvPicPr>
          <p:cNvPr id="99" name="Picture 9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90748" y="1200680"/>
            <a:ext cx="2962504" cy="498129"/>
          </a:xfrm>
          <a:prstGeom prst="rect">
            <a:avLst/>
          </a:prstGeom>
        </p:spPr>
      </p:pic>
      <p:sp>
        <p:nvSpPr>
          <p:cNvPr id="100" name="TextBox 99"/>
          <p:cNvSpPr txBox="1"/>
          <p:nvPr/>
        </p:nvSpPr>
        <p:spPr>
          <a:xfrm>
            <a:off x="5577929" y="3787699"/>
            <a:ext cx="1315643" cy="193899"/>
          </a:xfrm>
          <a:prstGeom prst="rect">
            <a:avLst/>
          </a:prstGeom>
          <a:noFill/>
        </p:spPr>
        <p:txBody>
          <a:bodyPr wrap="square" lIns="0" tIns="0" rIns="0" bIns="0" rtlCol="0">
            <a:spAutoFit/>
          </a:bodyPr>
          <a:lstStyle/>
          <a:p>
            <a:pPr algn="r" defTabSz="651489">
              <a:lnSpc>
                <a:spcPct val="90000"/>
              </a:lnSpc>
            </a:pPr>
            <a:r>
              <a:rPr lang="en-US" spc="-38" dirty="0">
                <a:gradFill>
                  <a:gsLst>
                    <a:gs pos="0">
                      <a:srgbClr val="FF8A00"/>
                    </a:gs>
                    <a:gs pos="80000">
                      <a:srgbClr val="FF8A00"/>
                    </a:gs>
                  </a:gsLst>
                  <a:lin ang="16200000" scaled="0"/>
                </a:gradFill>
              </a:rPr>
              <a:t>Lab Management</a:t>
            </a:r>
          </a:p>
        </p:txBody>
      </p:sp>
      <p:sp>
        <p:nvSpPr>
          <p:cNvPr id="104" name="TextBox 103"/>
          <p:cNvSpPr txBox="1"/>
          <p:nvPr/>
        </p:nvSpPr>
        <p:spPr>
          <a:xfrm>
            <a:off x="2357746" y="3787700"/>
            <a:ext cx="987809" cy="197362"/>
          </a:xfrm>
          <a:prstGeom prst="rect">
            <a:avLst/>
          </a:prstGeom>
          <a:noFill/>
        </p:spPr>
        <p:txBody>
          <a:bodyPr wrap="square" lIns="0" tIns="0" rIns="0" bIns="0" rtlCol="0">
            <a:spAutoFit/>
          </a:bodyPr>
          <a:lstStyle/>
          <a:p>
            <a:pPr defTabSz="651489">
              <a:lnSpc>
                <a:spcPct val="90000"/>
              </a:lnSpc>
            </a:pPr>
            <a:r>
              <a:rPr lang="en-US" spc="-38" dirty="0">
                <a:gradFill>
                  <a:gsLst>
                    <a:gs pos="0">
                      <a:srgbClr val="FF8A00"/>
                    </a:gs>
                    <a:gs pos="80000">
                      <a:srgbClr val="FF8A00"/>
                    </a:gs>
                  </a:gsLst>
                  <a:lin ang="16200000" scaled="0"/>
                </a:gradFill>
              </a:rPr>
              <a:t>Analytics</a:t>
            </a:r>
          </a:p>
        </p:txBody>
      </p:sp>
      <p:grpSp>
        <p:nvGrpSpPr>
          <p:cNvPr id="158" name="Group 157"/>
          <p:cNvGrpSpPr/>
          <p:nvPr/>
        </p:nvGrpSpPr>
        <p:grpSpPr>
          <a:xfrm>
            <a:off x="3615228" y="2925157"/>
            <a:ext cx="1866774" cy="1033931"/>
            <a:chOff x="4904309" y="3956705"/>
            <a:chExt cx="2380204" cy="1317302"/>
          </a:xfrm>
        </p:grpSpPr>
        <p:sp>
          <p:nvSpPr>
            <p:cNvPr id="159" name="Pie 9"/>
            <p:cNvSpPr/>
            <p:nvPr/>
          </p:nvSpPr>
          <p:spPr bwMode="auto">
            <a:xfrm rot="10800000">
              <a:off x="4904309" y="3956705"/>
              <a:ext cx="2380204" cy="1317302"/>
            </a:xfrm>
            <a:custGeom>
              <a:avLst/>
              <a:gdLst/>
              <a:ahLst/>
              <a:cxnLst/>
              <a:rect l="l" t="t" r="r" b="b"/>
              <a:pathLst>
                <a:path w="2133926" h="1066721">
                  <a:moveTo>
                    <a:pt x="0" y="0"/>
                  </a:moveTo>
                  <a:lnTo>
                    <a:pt x="2133926" y="0"/>
                  </a:lnTo>
                  <a:cubicBezTo>
                    <a:pt x="2133801" y="589158"/>
                    <a:pt x="1656153" y="1066721"/>
                    <a:pt x="1066963" y="1066721"/>
                  </a:cubicBezTo>
                  <a:cubicBezTo>
                    <a:pt x="477773" y="1066721"/>
                    <a:pt x="125" y="589158"/>
                    <a:pt x="0" y="0"/>
                  </a:cubicBezTo>
                  <a:close/>
                </a:path>
              </a:pathLst>
            </a:custGeom>
            <a:noFill/>
            <a:ln w="31750">
              <a:solidFill>
                <a:schemeClr val="bg2">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51274" fontAlgn="base">
                <a:spcBef>
                  <a:spcPct val="0"/>
                </a:spcBef>
                <a:spcAft>
                  <a:spcPct val="0"/>
                </a:spcAft>
              </a:pPr>
              <a:endParaRPr lang="en-US" spc="-36" dirty="0" err="1">
                <a:gradFill>
                  <a:gsLst>
                    <a:gs pos="0">
                      <a:srgbClr val="FFFFFF"/>
                    </a:gs>
                    <a:gs pos="100000">
                      <a:srgbClr val="FFFFFF"/>
                    </a:gs>
                  </a:gsLst>
                  <a:lin ang="5400000" scaled="0"/>
                </a:gradFill>
                <a:ea typeface="Segoe UI" pitchFamily="34" charset="0"/>
                <a:cs typeface="Segoe UI" pitchFamily="34" charset="0"/>
              </a:endParaRPr>
            </a:p>
          </p:txBody>
        </p:sp>
        <p:sp>
          <p:nvSpPr>
            <p:cNvPr id="160" name="TextBox 159"/>
            <p:cNvSpPr txBox="1"/>
            <p:nvPr/>
          </p:nvSpPr>
          <p:spPr>
            <a:xfrm>
              <a:off x="5276247" y="4284400"/>
              <a:ext cx="1636326" cy="794062"/>
            </a:xfrm>
            <a:prstGeom prst="rect">
              <a:avLst/>
            </a:prstGeom>
            <a:noFill/>
          </p:spPr>
          <p:txBody>
            <a:bodyPr wrap="square" lIns="0" tIns="0" rIns="0" bIns="0" rtlCol="0">
              <a:spAutoFit/>
            </a:bodyPr>
            <a:lstStyle/>
            <a:p>
              <a:pPr algn="ctr" defTabSz="651489">
                <a:lnSpc>
                  <a:spcPct val="90000"/>
                </a:lnSpc>
              </a:pPr>
              <a:r>
                <a:rPr lang="en-US" sz="1500" b="1" spc="-36" dirty="0">
                  <a:gradFill>
                    <a:gsLst>
                      <a:gs pos="0">
                        <a:srgbClr val="FFFFFF"/>
                      </a:gs>
                      <a:gs pos="80000">
                        <a:srgbClr val="FFFFFF"/>
                      </a:gs>
                    </a:gsLst>
                    <a:lin ang="16200000" scaled="0"/>
                  </a:gradFill>
                </a:rPr>
                <a:t>TEAM</a:t>
              </a:r>
              <a:br>
                <a:rPr lang="en-US" sz="1500" b="1" spc="-36" dirty="0">
                  <a:gradFill>
                    <a:gsLst>
                      <a:gs pos="0">
                        <a:srgbClr val="FFFFFF"/>
                      </a:gs>
                      <a:gs pos="80000">
                        <a:srgbClr val="FFFFFF"/>
                      </a:gs>
                    </a:gsLst>
                    <a:lin ang="16200000" scaled="0"/>
                  </a:gradFill>
                </a:rPr>
              </a:br>
              <a:r>
                <a:rPr lang="en-US" sz="1500" b="1" spc="-36" dirty="0">
                  <a:gradFill>
                    <a:gsLst>
                      <a:gs pos="0">
                        <a:srgbClr val="FFFFFF"/>
                      </a:gs>
                      <a:gs pos="80000">
                        <a:srgbClr val="FFFFFF"/>
                      </a:gs>
                    </a:gsLst>
                    <a:lin ang="16200000" scaled="0"/>
                  </a:gradFill>
                </a:rPr>
                <a:t>FOUNDATION</a:t>
              </a:r>
              <a:br>
                <a:rPr lang="en-US" sz="1500" b="1" spc="-36" dirty="0">
                  <a:gradFill>
                    <a:gsLst>
                      <a:gs pos="0">
                        <a:srgbClr val="FFFFFF"/>
                      </a:gs>
                      <a:gs pos="80000">
                        <a:srgbClr val="FFFFFF"/>
                      </a:gs>
                    </a:gsLst>
                    <a:lin ang="16200000" scaled="0"/>
                  </a:gradFill>
                </a:rPr>
              </a:br>
              <a:r>
                <a:rPr lang="en-US" sz="1500" b="1" spc="-36" dirty="0">
                  <a:gradFill>
                    <a:gsLst>
                      <a:gs pos="0">
                        <a:srgbClr val="FFFFFF"/>
                      </a:gs>
                      <a:gs pos="80000">
                        <a:srgbClr val="FFFFFF"/>
                      </a:gs>
                    </a:gsLst>
                    <a:lin ang="16200000" scaled="0"/>
                  </a:gradFill>
                </a:rPr>
                <a:t>SERVER</a:t>
              </a:r>
            </a:p>
          </p:txBody>
        </p:sp>
      </p:grpSp>
      <p:sp>
        <p:nvSpPr>
          <p:cNvPr id="38"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9"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4"/>
              </a:rPr>
              <a:t>www.rapidbbs.cn</a:t>
            </a:r>
            <a:endParaRPr lang="zh-CN" altLang="en-US" sz="1200" b="0">
              <a:latin typeface="Arial" charset="0"/>
              <a:ea typeface="ＭＳ Ｐゴシック" pitchFamily="34" charset="-128"/>
            </a:endParaRPr>
          </a:p>
        </p:txBody>
      </p:sp>
      <p:pic>
        <p:nvPicPr>
          <p:cNvPr id="40" name="Picture 2">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05152999"/>
      </p:ext>
    </p:extLst>
  </p:cSld>
  <p:clrMapOvr>
    <a:masterClrMapping/>
  </p:clrMapOvr>
  <mc:AlternateContent xmlns:mc="http://schemas.openxmlformats.org/markup-compatibility/2006" xmlns:p14="http://schemas.microsoft.com/office/powerpoint/2010/main">
    <mc:Choice Requires="p14">
      <p:transition spd="slow" p14:dur="1250">
        <p:push/>
      </p:transition>
    </mc:Choice>
    <mc:Fallback xmlns="">
      <p:transition spd="slow">
        <p:push/>
      </p:transition>
    </mc:Fallback>
  </mc:AlternateContent>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veloper Experience</a:t>
            </a:r>
            <a:endParaRPr lang="en-US" dirty="0"/>
          </a:p>
        </p:txBody>
      </p:sp>
      <p:grpSp>
        <p:nvGrpSpPr>
          <p:cNvPr id="3" name="Group 2"/>
          <p:cNvGrpSpPr/>
          <p:nvPr/>
        </p:nvGrpSpPr>
        <p:grpSpPr>
          <a:xfrm>
            <a:off x="6065423" y="1644417"/>
            <a:ext cx="2686465" cy="1645920"/>
            <a:chOff x="8085124" y="2192556"/>
            <a:chExt cx="3581020" cy="2194560"/>
          </a:xfrm>
        </p:grpSpPr>
        <p:sp>
          <p:nvSpPr>
            <p:cNvPr id="4" name="Rectangle 3"/>
            <p:cNvSpPr/>
            <p:nvPr/>
          </p:nvSpPr>
          <p:spPr bwMode="auto">
            <a:xfrm>
              <a:off x="8085124" y="2192556"/>
              <a:ext cx="3581020" cy="2194560"/>
            </a:xfrm>
            <a:prstGeom prst="rect">
              <a:avLst/>
            </a:prstGeom>
            <a:solidFill>
              <a:schemeClr val="accent1"/>
            </a:solidFill>
            <a:ln w="25400" cap="flat" cmpd="sng" algn="ctr">
              <a:noFill/>
              <a:prstDash val="solid"/>
              <a:headEnd type="none" w="med" len="med"/>
              <a:tailEnd type="none" w="med" len="med"/>
            </a:ln>
            <a:effectLst/>
          </p:spPr>
          <p:txBody>
            <a:bodyPr vert="horz" wrap="square" lIns="182880" tIns="228600" rIns="182880" bIns="45718" numCol="1" rtlCol="0" anchor="t" anchorCtr="0" compatLnSpc="1">
              <a:prstTxWarp prst="textNoShape">
                <a:avLst/>
              </a:prstTxWarp>
            </a:bodyPr>
            <a:lstStyle/>
            <a:p>
              <a:pPr defTabSz="685637" fontAlgn="base">
                <a:lnSpc>
                  <a:spcPct val="90000"/>
                </a:lnSpc>
                <a:spcBef>
                  <a:spcPct val="0"/>
                </a:spcBef>
                <a:spcAft>
                  <a:spcPct val="0"/>
                </a:spcAft>
              </a:pPr>
              <a:r>
                <a:rPr lang="en-US" sz="3000" kern="0" spc="-98" dirty="0">
                  <a:gradFill>
                    <a:gsLst>
                      <a:gs pos="0">
                        <a:srgbClr val="FFFFFF"/>
                      </a:gs>
                      <a:gs pos="100000">
                        <a:srgbClr val="FFFFFF"/>
                      </a:gs>
                    </a:gsLst>
                    <a:lin ang="16200000" scaled="0"/>
                  </a:gradFill>
                  <a:latin typeface="Segoe UI Light"/>
                </a:rPr>
                <a:t>Usability</a:t>
              </a:r>
            </a:p>
          </p:txBody>
        </p:sp>
        <p:grpSp>
          <p:nvGrpSpPr>
            <p:cNvPr id="5" name="Group 4"/>
            <p:cNvGrpSpPr>
              <a:grpSpLocks noChangeAspect="1"/>
            </p:cNvGrpSpPr>
            <p:nvPr/>
          </p:nvGrpSpPr>
          <p:grpSpPr>
            <a:xfrm>
              <a:off x="10628792" y="3495908"/>
              <a:ext cx="754740" cy="744616"/>
              <a:chOff x="2299264" y="1176155"/>
              <a:chExt cx="426031" cy="420316"/>
            </a:xfrm>
          </p:grpSpPr>
          <p:pic>
            <p:nvPicPr>
              <p:cNvPr id="6" name="Picture 5"/>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299264" y="1353929"/>
                <a:ext cx="180597" cy="242542"/>
              </a:xfrm>
              <a:prstGeom prst="rect">
                <a:avLst/>
              </a:prstGeom>
            </p:spPr>
          </p:pic>
          <p:sp>
            <p:nvSpPr>
              <p:cNvPr id="7" name="Freeform 61"/>
              <p:cNvSpPr>
                <a:spLocks/>
              </p:cNvSpPr>
              <p:nvPr/>
            </p:nvSpPr>
            <p:spPr bwMode="black">
              <a:xfrm rot="10800000">
                <a:off x="2465675" y="1176155"/>
                <a:ext cx="259620" cy="375389"/>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0" tIns="45720" rIns="91440" bIns="45720" numCol="1" anchor="t" anchorCtr="0" compatLnSpc="1">
                <a:prstTxWarp prst="textNoShape">
                  <a:avLst/>
                </a:prstTxWarp>
              </a:bodyPr>
              <a:lstStyle/>
              <a:p>
                <a:pPr algn="ctr" defTabSz="685835">
                  <a:defRPr/>
                </a:pPr>
                <a:endParaRPr lang="en-US" sz="700" kern="0" dirty="0">
                  <a:gradFill>
                    <a:gsLst>
                      <a:gs pos="0">
                        <a:srgbClr val="FFFFFF"/>
                      </a:gs>
                      <a:gs pos="100000">
                        <a:srgbClr val="FFFFFF"/>
                      </a:gs>
                    </a:gsLst>
                    <a:lin ang="5400000" scaled="0"/>
                  </a:gradFill>
                </a:endParaRPr>
              </a:p>
            </p:txBody>
          </p:sp>
        </p:grpSp>
      </p:grpSp>
      <p:grpSp>
        <p:nvGrpSpPr>
          <p:cNvPr id="8" name="Group 7"/>
          <p:cNvGrpSpPr/>
          <p:nvPr/>
        </p:nvGrpSpPr>
        <p:grpSpPr>
          <a:xfrm>
            <a:off x="3227430" y="1644417"/>
            <a:ext cx="2686465" cy="1645920"/>
            <a:chOff x="4302118" y="2192556"/>
            <a:chExt cx="3581020" cy="2194560"/>
          </a:xfrm>
        </p:grpSpPr>
        <p:sp>
          <p:nvSpPr>
            <p:cNvPr id="9" name="Rectangle 8"/>
            <p:cNvSpPr/>
            <p:nvPr/>
          </p:nvSpPr>
          <p:spPr bwMode="auto">
            <a:xfrm>
              <a:off x="4302118" y="2192556"/>
              <a:ext cx="3581020" cy="2194560"/>
            </a:xfrm>
            <a:prstGeom prst="rect">
              <a:avLst/>
            </a:prstGeom>
            <a:solidFill>
              <a:schemeClr val="accent2"/>
            </a:solidFill>
            <a:ln w="25400" cap="flat" cmpd="sng" algn="ctr">
              <a:noFill/>
              <a:prstDash val="solid"/>
              <a:headEnd type="none" w="med" len="med"/>
              <a:tailEnd type="none" w="med" len="med"/>
            </a:ln>
            <a:effectLst/>
          </p:spPr>
          <p:txBody>
            <a:bodyPr vert="horz" wrap="square" lIns="182880" tIns="228600" rIns="182880" bIns="45718" numCol="1" rtlCol="0" anchor="t" anchorCtr="0" compatLnSpc="1">
              <a:prstTxWarp prst="textNoShape">
                <a:avLst/>
              </a:prstTxWarp>
            </a:bodyPr>
            <a:lstStyle/>
            <a:p>
              <a:pPr defTabSz="685637" fontAlgn="base">
                <a:lnSpc>
                  <a:spcPct val="90000"/>
                </a:lnSpc>
                <a:spcBef>
                  <a:spcPct val="0"/>
                </a:spcBef>
                <a:spcAft>
                  <a:spcPct val="0"/>
                </a:spcAft>
              </a:pPr>
              <a:r>
                <a:rPr lang="en-US" sz="3000" kern="0" spc="-98" dirty="0">
                  <a:gradFill>
                    <a:gsLst>
                      <a:gs pos="0">
                        <a:srgbClr val="FFFFFF"/>
                      </a:gs>
                      <a:gs pos="100000">
                        <a:srgbClr val="FFFFFF"/>
                      </a:gs>
                    </a:gsLst>
                    <a:lin ang="16200000" scaled="0"/>
                  </a:gradFill>
                  <a:latin typeface="Segoe UI Light"/>
                </a:rPr>
                <a:t>Simplification</a:t>
              </a:r>
            </a:p>
          </p:txBody>
        </p:sp>
        <p:sp>
          <p:nvSpPr>
            <p:cNvPr id="10" name="Freeform 459"/>
            <p:cNvSpPr>
              <a:spLocks noChangeAspect="1"/>
            </p:cNvSpPr>
            <p:nvPr/>
          </p:nvSpPr>
          <p:spPr bwMode="auto">
            <a:xfrm>
              <a:off x="7035679" y="3582763"/>
              <a:ext cx="570907" cy="570907"/>
            </a:xfrm>
            <a:custGeom>
              <a:avLst/>
              <a:gdLst>
                <a:gd name="T0" fmla="*/ 16 w 86"/>
                <a:gd name="T1" fmla="*/ 8 h 86"/>
                <a:gd name="T2" fmla="*/ 18 w 86"/>
                <a:gd name="T3" fmla="*/ 9 h 86"/>
                <a:gd name="T4" fmla="*/ 25 w 86"/>
                <a:gd name="T5" fmla="*/ 11 h 86"/>
                <a:gd name="T6" fmla="*/ 29 w 86"/>
                <a:gd name="T7" fmla="*/ 17 h 86"/>
                <a:gd name="T8" fmla="*/ 29 w 86"/>
                <a:gd name="T9" fmla="*/ 19 h 86"/>
                <a:gd name="T10" fmla="*/ 26 w 86"/>
                <a:gd name="T11" fmla="*/ 24 h 86"/>
                <a:gd name="T12" fmla="*/ 25 w 86"/>
                <a:gd name="T13" fmla="*/ 26 h 86"/>
                <a:gd name="T14" fmla="*/ 22 w 86"/>
                <a:gd name="T15" fmla="*/ 28 h 86"/>
                <a:gd name="T16" fmla="*/ 17 w 86"/>
                <a:gd name="T17" fmla="*/ 28 h 86"/>
                <a:gd name="T18" fmla="*/ 12 w 86"/>
                <a:gd name="T19" fmla="*/ 25 h 86"/>
                <a:gd name="T20" fmla="*/ 10 w 86"/>
                <a:gd name="T21" fmla="*/ 23 h 86"/>
                <a:gd name="T22" fmla="*/ 10 w 86"/>
                <a:gd name="T23" fmla="*/ 16 h 86"/>
                <a:gd name="T24" fmla="*/ 10 w 86"/>
                <a:gd name="T25" fmla="*/ 15 h 86"/>
                <a:gd name="T26" fmla="*/ 8 w 86"/>
                <a:gd name="T27" fmla="*/ 15 h 86"/>
                <a:gd name="T28" fmla="*/ 1 w 86"/>
                <a:gd name="T29" fmla="*/ 15 h 86"/>
                <a:gd name="T30" fmla="*/ 0 w 86"/>
                <a:gd name="T31" fmla="*/ 17 h 86"/>
                <a:gd name="T32" fmla="*/ 3 w 86"/>
                <a:gd name="T33" fmla="*/ 30 h 86"/>
                <a:gd name="T34" fmla="*/ 16 w 86"/>
                <a:gd name="T35" fmla="*/ 38 h 86"/>
                <a:gd name="T36" fmla="*/ 18 w 86"/>
                <a:gd name="T37" fmla="*/ 38 h 86"/>
                <a:gd name="T38" fmla="*/ 27 w 86"/>
                <a:gd name="T39" fmla="*/ 36 h 86"/>
                <a:gd name="T40" fmla="*/ 50 w 86"/>
                <a:gd name="T41" fmla="*/ 59 h 86"/>
                <a:gd name="T42" fmla="*/ 50 w 86"/>
                <a:gd name="T43" fmla="*/ 61 h 86"/>
                <a:gd name="T44" fmla="*/ 48 w 86"/>
                <a:gd name="T45" fmla="*/ 70 h 86"/>
                <a:gd name="T46" fmla="*/ 56 w 86"/>
                <a:gd name="T47" fmla="*/ 83 h 86"/>
                <a:gd name="T48" fmla="*/ 58 w 86"/>
                <a:gd name="T49" fmla="*/ 84 h 86"/>
                <a:gd name="T50" fmla="*/ 70 w 86"/>
                <a:gd name="T51" fmla="*/ 84 h 86"/>
                <a:gd name="T52" fmla="*/ 70 w 86"/>
                <a:gd name="T53" fmla="*/ 77 h 86"/>
                <a:gd name="T54" fmla="*/ 69 w 86"/>
                <a:gd name="T55" fmla="*/ 76 h 86"/>
                <a:gd name="T56" fmla="*/ 61 w 86"/>
                <a:gd name="T57" fmla="*/ 74 h 86"/>
                <a:gd name="T58" fmla="*/ 58 w 86"/>
                <a:gd name="T59" fmla="*/ 69 h 86"/>
                <a:gd name="T60" fmla="*/ 57 w 86"/>
                <a:gd name="T61" fmla="*/ 66 h 86"/>
                <a:gd name="T62" fmla="*/ 61 w 86"/>
                <a:gd name="T63" fmla="*/ 59 h 86"/>
                <a:gd name="T64" fmla="*/ 67 w 86"/>
                <a:gd name="T65" fmla="*/ 57 h 86"/>
                <a:gd name="T66" fmla="*/ 69 w 86"/>
                <a:gd name="T67" fmla="*/ 57 h 86"/>
                <a:gd name="T68" fmla="*/ 76 w 86"/>
                <a:gd name="T69" fmla="*/ 62 h 86"/>
                <a:gd name="T70" fmla="*/ 77 w 86"/>
                <a:gd name="T71" fmla="*/ 68 h 86"/>
                <a:gd name="T72" fmla="*/ 77 w 86"/>
                <a:gd name="T73" fmla="*/ 70 h 86"/>
                <a:gd name="T74" fmla="*/ 77 w 86"/>
                <a:gd name="T75" fmla="*/ 70 h 86"/>
                <a:gd name="T76" fmla="*/ 78 w 86"/>
                <a:gd name="T77" fmla="*/ 70 h 86"/>
                <a:gd name="T78" fmla="*/ 86 w 86"/>
                <a:gd name="T79" fmla="*/ 69 h 86"/>
                <a:gd name="T80" fmla="*/ 85 w 86"/>
                <a:gd name="T81" fmla="*/ 57 h 86"/>
                <a:gd name="T82" fmla="*/ 84 w 86"/>
                <a:gd name="T83" fmla="*/ 55 h 86"/>
                <a:gd name="T84" fmla="*/ 68 w 86"/>
                <a:gd name="T85" fmla="*/ 47 h 86"/>
                <a:gd name="T86" fmla="*/ 61 w 86"/>
                <a:gd name="T87" fmla="*/ 50 h 86"/>
                <a:gd name="T88" fmla="*/ 59 w 86"/>
                <a:gd name="T89" fmla="*/ 49 h 86"/>
                <a:gd name="T90" fmla="*/ 36 w 86"/>
                <a:gd name="T91" fmla="*/ 25 h 86"/>
                <a:gd name="T92" fmla="*/ 39 w 86"/>
                <a:gd name="T93" fmla="*/ 17 h 86"/>
                <a:gd name="T94" fmla="*/ 38 w 86"/>
                <a:gd name="T95" fmla="*/ 15 h 86"/>
                <a:gd name="T96" fmla="*/ 29 w 86"/>
                <a:gd name="T97" fmla="*/ 1 h 86"/>
                <a:gd name="T98" fmla="*/ 18 w 86"/>
                <a:gd name="T99" fmla="*/ 0 h 86"/>
                <a:gd name="T100" fmla="*/ 16 w 86"/>
                <a:gd name="T101" fmla="*/ 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6" h="86">
                  <a:moveTo>
                    <a:pt x="16" y="1"/>
                  </a:moveTo>
                  <a:cubicBezTo>
                    <a:pt x="16" y="8"/>
                    <a:pt x="16" y="8"/>
                    <a:pt x="16" y="8"/>
                  </a:cubicBezTo>
                  <a:cubicBezTo>
                    <a:pt x="16" y="9"/>
                    <a:pt x="17" y="9"/>
                    <a:pt x="18" y="9"/>
                  </a:cubicBezTo>
                  <a:cubicBezTo>
                    <a:pt x="18" y="9"/>
                    <a:pt x="18" y="9"/>
                    <a:pt x="18" y="9"/>
                  </a:cubicBezTo>
                  <a:cubicBezTo>
                    <a:pt x="23" y="10"/>
                    <a:pt x="23" y="10"/>
                    <a:pt x="23" y="10"/>
                  </a:cubicBezTo>
                  <a:cubicBezTo>
                    <a:pt x="24" y="10"/>
                    <a:pt x="25" y="11"/>
                    <a:pt x="25" y="11"/>
                  </a:cubicBezTo>
                  <a:cubicBezTo>
                    <a:pt x="25" y="11"/>
                    <a:pt x="25" y="11"/>
                    <a:pt x="25" y="11"/>
                  </a:cubicBezTo>
                  <a:cubicBezTo>
                    <a:pt x="29" y="17"/>
                    <a:pt x="29" y="17"/>
                    <a:pt x="29" y="17"/>
                  </a:cubicBezTo>
                  <a:cubicBezTo>
                    <a:pt x="29" y="17"/>
                    <a:pt x="29" y="18"/>
                    <a:pt x="29" y="19"/>
                  </a:cubicBezTo>
                  <a:cubicBezTo>
                    <a:pt x="29" y="19"/>
                    <a:pt x="29" y="19"/>
                    <a:pt x="29" y="19"/>
                  </a:cubicBezTo>
                  <a:cubicBezTo>
                    <a:pt x="28" y="22"/>
                    <a:pt x="28" y="22"/>
                    <a:pt x="28" y="22"/>
                  </a:cubicBezTo>
                  <a:cubicBezTo>
                    <a:pt x="28" y="23"/>
                    <a:pt x="27" y="24"/>
                    <a:pt x="26" y="24"/>
                  </a:cubicBezTo>
                  <a:cubicBezTo>
                    <a:pt x="26" y="24"/>
                    <a:pt x="26" y="24"/>
                    <a:pt x="26" y="24"/>
                  </a:cubicBezTo>
                  <a:cubicBezTo>
                    <a:pt x="25" y="26"/>
                    <a:pt x="25" y="26"/>
                    <a:pt x="25" y="26"/>
                  </a:cubicBezTo>
                  <a:cubicBezTo>
                    <a:pt x="24" y="27"/>
                    <a:pt x="23" y="27"/>
                    <a:pt x="22" y="28"/>
                  </a:cubicBezTo>
                  <a:cubicBezTo>
                    <a:pt x="22" y="28"/>
                    <a:pt x="22" y="28"/>
                    <a:pt x="22" y="28"/>
                  </a:cubicBezTo>
                  <a:cubicBezTo>
                    <a:pt x="19" y="29"/>
                    <a:pt x="19" y="29"/>
                    <a:pt x="19" y="29"/>
                  </a:cubicBezTo>
                  <a:cubicBezTo>
                    <a:pt x="19" y="29"/>
                    <a:pt x="18" y="29"/>
                    <a:pt x="17" y="28"/>
                  </a:cubicBezTo>
                  <a:cubicBezTo>
                    <a:pt x="17" y="28"/>
                    <a:pt x="17" y="28"/>
                    <a:pt x="17" y="28"/>
                  </a:cubicBezTo>
                  <a:cubicBezTo>
                    <a:pt x="12" y="25"/>
                    <a:pt x="12" y="25"/>
                    <a:pt x="12" y="25"/>
                  </a:cubicBezTo>
                  <a:cubicBezTo>
                    <a:pt x="11" y="25"/>
                    <a:pt x="10" y="24"/>
                    <a:pt x="10" y="23"/>
                  </a:cubicBezTo>
                  <a:cubicBezTo>
                    <a:pt x="10" y="23"/>
                    <a:pt x="10" y="23"/>
                    <a:pt x="10" y="23"/>
                  </a:cubicBezTo>
                  <a:cubicBezTo>
                    <a:pt x="10" y="17"/>
                    <a:pt x="10" y="17"/>
                    <a:pt x="10" y="17"/>
                  </a:cubicBezTo>
                  <a:cubicBezTo>
                    <a:pt x="10" y="16"/>
                    <a:pt x="10" y="16"/>
                    <a:pt x="10" y="16"/>
                  </a:cubicBezTo>
                  <a:cubicBezTo>
                    <a:pt x="10" y="16"/>
                    <a:pt x="10" y="16"/>
                    <a:pt x="10" y="16"/>
                  </a:cubicBezTo>
                  <a:cubicBezTo>
                    <a:pt x="10" y="16"/>
                    <a:pt x="10" y="16"/>
                    <a:pt x="10" y="15"/>
                  </a:cubicBezTo>
                  <a:cubicBezTo>
                    <a:pt x="10" y="15"/>
                    <a:pt x="10" y="15"/>
                    <a:pt x="10" y="15"/>
                  </a:cubicBezTo>
                  <a:cubicBezTo>
                    <a:pt x="10" y="15"/>
                    <a:pt x="9" y="15"/>
                    <a:pt x="8" y="15"/>
                  </a:cubicBezTo>
                  <a:cubicBezTo>
                    <a:pt x="8" y="15"/>
                    <a:pt x="8" y="15"/>
                    <a:pt x="8" y="15"/>
                  </a:cubicBezTo>
                  <a:cubicBezTo>
                    <a:pt x="1" y="15"/>
                    <a:pt x="1" y="15"/>
                    <a:pt x="1" y="15"/>
                  </a:cubicBezTo>
                  <a:cubicBezTo>
                    <a:pt x="1" y="15"/>
                    <a:pt x="0" y="16"/>
                    <a:pt x="0" y="17"/>
                  </a:cubicBezTo>
                  <a:cubicBezTo>
                    <a:pt x="0" y="17"/>
                    <a:pt x="0" y="17"/>
                    <a:pt x="0" y="17"/>
                  </a:cubicBezTo>
                  <a:cubicBezTo>
                    <a:pt x="2" y="28"/>
                    <a:pt x="2" y="28"/>
                    <a:pt x="2" y="28"/>
                  </a:cubicBezTo>
                  <a:cubicBezTo>
                    <a:pt x="2" y="29"/>
                    <a:pt x="2" y="30"/>
                    <a:pt x="3" y="30"/>
                  </a:cubicBezTo>
                  <a:cubicBezTo>
                    <a:pt x="3" y="30"/>
                    <a:pt x="3" y="30"/>
                    <a:pt x="3" y="30"/>
                  </a:cubicBezTo>
                  <a:cubicBezTo>
                    <a:pt x="16" y="38"/>
                    <a:pt x="16" y="38"/>
                    <a:pt x="16" y="38"/>
                  </a:cubicBezTo>
                  <a:cubicBezTo>
                    <a:pt x="16" y="38"/>
                    <a:pt x="17" y="38"/>
                    <a:pt x="18" y="38"/>
                  </a:cubicBezTo>
                  <a:cubicBezTo>
                    <a:pt x="18" y="38"/>
                    <a:pt x="18" y="38"/>
                    <a:pt x="18" y="38"/>
                  </a:cubicBezTo>
                  <a:cubicBezTo>
                    <a:pt x="25" y="36"/>
                    <a:pt x="25" y="36"/>
                    <a:pt x="25" y="36"/>
                  </a:cubicBezTo>
                  <a:cubicBezTo>
                    <a:pt x="26" y="35"/>
                    <a:pt x="27" y="36"/>
                    <a:pt x="27" y="36"/>
                  </a:cubicBezTo>
                  <a:cubicBezTo>
                    <a:pt x="27" y="36"/>
                    <a:pt x="27" y="36"/>
                    <a:pt x="27" y="36"/>
                  </a:cubicBezTo>
                  <a:cubicBezTo>
                    <a:pt x="50" y="59"/>
                    <a:pt x="50" y="59"/>
                    <a:pt x="50" y="59"/>
                  </a:cubicBezTo>
                  <a:cubicBezTo>
                    <a:pt x="50" y="59"/>
                    <a:pt x="50" y="60"/>
                    <a:pt x="50" y="61"/>
                  </a:cubicBezTo>
                  <a:cubicBezTo>
                    <a:pt x="50" y="61"/>
                    <a:pt x="50" y="61"/>
                    <a:pt x="50" y="61"/>
                  </a:cubicBezTo>
                  <a:cubicBezTo>
                    <a:pt x="48" y="68"/>
                    <a:pt x="48" y="68"/>
                    <a:pt x="48" y="68"/>
                  </a:cubicBezTo>
                  <a:cubicBezTo>
                    <a:pt x="47" y="69"/>
                    <a:pt x="47" y="70"/>
                    <a:pt x="48" y="70"/>
                  </a:cubicBezTo>
                  <a:cubicBezTo>
                    <a:pt x="48" y="70"/>
                    <a:pt x="48" y="70"/>
                    <a:pt x="48" y="70"/>
                  </a:cubicBezTo>
                  <a:cubicBezTo>
                    <a:pt x="56" y="83"/>
                    <a:pt x="56" y="83"/>
                    <a:pt x="56" y="83"/>
                  </a:cubicBezTo>
                  <a:cubicBezTo>
                    <a:pt x="56" y="84"/>
                    <a:pt x="57" y="84"/>
                    <a:pt x="58" y="84"/>
                  </a:cubicBezTo>
                  <a:cubicBezTo>
                    <a:pt x="58" y="84"/>
                    <a:pt x="58" y="84"/>
                    <a:pt x="58" y="84"/>
                  </a:cubicBezTo>
                  <a:cubicBezTo>
                    <a:pt x="69" y="85"/>
                    <a:pt x="69" y="85"/>
                    <a:pt x="69" y="85"/>
                  </a:cubicBezTo>
                  <a:cubicBezTo>
                    <a:pt x="69" y="86"/>
                    <a:pt x="70" y="85"/>
                    <a:pt x="70" y="84"/>
                  </a:cubicBezTo>
                  <a:cubicBezTo>
                    <a:pt x="70" y="84"/>
                    <a:pt x="70" y="84"/>
                    <a:pt x="70" y="84"/>
                  </a:cubicBezTo>
                  <a:cubicBezTo>
                    <a:pt x="70" y="77"/>
                    <a:pt x="70" y="77"/>
                    <a:pt x="70" y="77"/>
                  </a:cubicBezTo>
                  <a:cubicBezTo>
                    <a:pt x="70" y="76"/>
                    <a:pt x="69" y="76"/>
                    <a:pt x="69" y="76"/>
                  </a:cubicBezTo>
                  <a:cubicBezTo>
                    <a:pt x="69" y="76"/>
                    <a:pt x="69" y="76"/>
                    <a:pt x="69" y="76"/>
                  </a:cubicBezTo>
                  <a:cubicBezTo>
                    <a:pt x="63" y="75"/>
                    <a:pt x="63" y="75"/>
                    <a:pt x="63" y="75"/>
                  </a:cubicBezTo>
                  <a:cubicBezTo>
                    <a:pt x="62" y="75"/>
                    <a:pt x="61" y="75"/>
                    <a:pt x="61" y="74"/>
                  </a:cubicBezTo>
                  <a:cubicBezTo>
                    <a:pt x="61" y="74"/>
                    <a:pt x="61" y="74"/>
                    <a:pt x="61" y="74"/>
                  </a:cubicBezTo>
                  <a:cubicBezTo>
                    <a:pt x="58" y="69"/>
                    <a:pt x="58" y="69"/>
                    <a:pt x="58" y="69"/>
                  </a:cubicBezTo>
                  <a:cubicBezTo>
                    <a:pt x="57" y="68"/>
                    <a:pt x="57" y="67"/>
                    <a:pt x="57" y="66"/>
                  </a:cubicBezTo>
                  <a:cubicBezTo>
                    <a:pt x="57" y="66"/>
                    <a:pt x="57" y="66"/>
                    <a:pt x="57" y="66"/>
                  </a:cubicBezTo>
                  <a:cubicBezTo>
                    <a:pt x="59" y="60"/>
                    <a:pt x="59" y="60"/>
                    <a:pt x="59" y="60"/>
                  </a:cubicBezTo>
                  <a:cubicBezTo>
                    <a:pt x="60" y="60"/>
                    <a:pt x="60" y="59"/>
                    <a:pt x="61" y="59"/>
                  </a:cubicBezTo>
                  <a:cubicBezTo>
                    <a:pt x="61" y="59"/>
                    <a:pt x="61" y="59"/>
                    <a:pt x="61" y="59"/>
                  </a:cubicBezTo>
                  <a:cubicBezTo>
                    <a:pt x="67" y="57"/>
                    <a:pt x="67" y="57"/>
                    <a:pt x="67" y="57"/>
                  </a:cubicBezTo>
                  <a:cubicBezTo>
                    <a:pt x="68" y="56"/>
                    <a:pt x="69" y="57"/>
                    <a:pt x="69" y="57"/>
                  </a:cubicBezTo>
                  <a:cubicBezTo>
                    <a:pt x="69" y="57"/>
                    <a:pt x="69" y="57"/>
                    <a:pt x="69" y="57"/>
                  </a:cubicBezTo>
                  <a:cubicBezTo>
                    <a:pt x="75" y="60"/>
                    <a:pt x="75" y="60"/>
                    <a:pt x="75" y="60"/>
                  </a:cubicBezTo>
                  <a:cubicBezTo>
                    <a:pt x="75" y="61"/>
                    <a:pt x="76" y="61"/>
                    <a:pt x="76" y="62"/>
                  </a:cubicBezTo>
                  <a:cubicBezTo>
                    <a:pt x="76" y="62"/>
                    <a:pt x="76" y="62"/>
                    <a:pt x="76" y="62"/>
                  </a:cubicBezTo>
                  <a:cubicBezTo>
                    <a:pt x="77" y="68"/>
                    <a:pt x="77" y="68"/>
                    <a:pt x="77" y="68"/>
                  </a:cubicBezTo>
                  <a:cubicBezTo>
                    <a:pt x="77" y="69"/>
                    <a:pt x="77" y="70"/>
                    <a:pt x="77" y="70"/>
                  </a:cubicBezTo>
                  <a:cubicBezTo>
                    <a:pt x="77" y="70"/>
                    <a:pt x="77" y="70"/>
                    <a:pt x="77" y="70"/>
                  </a:cubicBezTo>
                  <a:cubicBezTo>
                    <a:pt x="77" y="70"/>
                    <a:pt x="77" y="70"/>
                    <a:pt x="77" y="70"/>
                  </a:cubicBezTo>
                  <a:cubicBezTo>
                    <a:pt x="77" y="70"/>
                    <a:pt x="77" y="70"/>
                    <a:pt x="77" y="70"/>
                  </a:cubicBezTo>
                  <a:cubicBezTo>
                    <a:pt x="77" y="70"/>
                    <a:pt x="77" y="70"/>
                    <a:pt x="78" y="70"/>
                  </a:cubicBezTo>
                  <a:cubicBezTo>
                    <a:pt x="78" y="70"/>
                    <a:pt x="78" y="70"/>
                    <a:pt x="78" y="70"/>
                  </a:cubicBezTo>
                  <a:cubicBezTo>
                    <a:pt x="85" y="70"/>
                    <a:pt x="85" y="70"/>
                    <a:pt x="85" y="70"/>
                  </a:cubicBezTo>
                  <a:cubicBezTo>
                    <a:pt x="86" y="70"/>
                    <a:pt x="86" y="69"/>
                    <a:pt x="86" y="69"/>
                  </a:cubicBezTo>
                  <a:cubicBezTo>
                    <a:pt x="86" y="69"/>
                    <a:pt x="86" y="69"/>
                    <a:pt x="86" y="69"/>
                  </a:cubicBezTo>
                  <a:cubicBezTo>
                    <a:pt x="85" y="57"/>
                    <a:pt x="85" y="57"/>
                    <a:pt x="85" y="57"/>
                  </a:cubicBezTo>
                  <a:cubicBezTo>
                    <a:pt x="85" y="57"/>
                    <a:pt x="84" y="56"/>
                    <a:pt x="84" y="55"/>
                  </a:cubicBezTo>
                  <a:cubicBezTo>
                    <a:pt x="84" y="55"/>
                    <a:pt x="84" y="55"/>
                    <a:pt x="84" y="55"/>
                  </a:cubicBezTo>
                  <a:cubicBezTo>
                    <a:pt x="71" y="47"/>
                    <a:pt x="71" y="47"/>
                    <a:pt x="71" y="47"/>
                  </a:cubicBezTo>
                  <a:cubicBezTo>
                    <a:pt x="70" y="47"/>
                    <a:pt x="69" y="47"/>
                    <a:pt x="68" y="47"/>
                  </a:cubicBezTo>
                  <a:cubicBezTo>
                    <a:pt x="68" y="47"/>
                    <a:pt x="68" y="47"/>
                    <a:pt x="68" y="47"/>
                  </a:cubicBezTo>
                  <a:cubicBezTo>
                    <a:pt x="61" y="50"/>
                    <a:pt x="61" y="50"/>
                    <a:pt x="61" y="50"/>
                  </a:cubicBezTo>
                  <a:cubicBezTo>
                    <a:pt x="61" y="50"/>
                    <a:pt x="60" y="50"/>
                    <a:pt x="59" y="49"/>
                  </a:cubicBezTo>
                  <a:cubicBezTo>
                    <a:pt x="59" y="49"/>
                    <a:pt x="59" y="49"/>
                    <a:pt x="59" y="49"/>
                  </a:cubicBezTo>
                  <a:cubicBezTo>
                    <a:pt x="37" y="27"/>
                    <a:pt x="37" y="27"/>
                    <a:pt x="37" y="27"/>
                  </a:cubicBezTo>
                  <a:cubicBezTo>
                    <a:pt x="36" y="26"/>
                    <a:pt x="36" y="25"/>
                    <a:pt x="36" y="25"/>
                  </a:cubicBezTo>
                  <a:cubicBezTo>
                    <a:pt x="36" y="25"/>
                    <a:pt x="36" y="25"/>
                    <a:pt x="36" y="25"/>
                  </a:cubicBezTo>
                  <a:cubicBezTo>
                    <a:pt x="39" y="17"/>
                    <a:pt x="39" y="17"/>
                    <a:pt x="39" y="17"/>
                  </a:cubicBezTo>
                  <a:cubicBezTo>
                    <a:pt x="39" y="17"/>
                    <a:pt x="39" y="16"/>
                    <a:pt x="38" y="15"/>
                  </a:cubicBezTo>
                  <a:cubicBezTo>
                    <a:pt x="38" y="15"/>
                    <a:pt x="38" y="15"/>
                    <a:pt x="38" y="15"/>
                  </a:cubicBezTo>
                  <a:cubicBezTo>
                    <a:pt x="30" y="2"/>
                    <a:pt x="30" y="2"/>
                    <a:pt x="30" y="2"/>
                  </a:cubicBezTo>
                  <a:cubicBezTo>
                    <a:pt x="30" y="2"/>
                    <a:pt x="29" y="1"/>
                    <a:pt x="29" y="1"/>
                  </a:cubicBezTo>
                  <a:cubicBezTo>
                    <a:pt x="29" y="1"/>
                    <a:pt x="29" y="1"/>
                    <a:pt x="29" y="1"/>
                  </a:cubicBezTo>
                  <a:cubicBezTo>
                    <a:pt x="18" y="0"/>
                    <a:pt x="18" y="0"/>
                    <a:pt x="18" y="0"/>
                  </a:cubicBezTo>
                  <a:cubicBezTo>
                    <a:pt x="18" y="0"/>
                    <a:pt x="17" y="0"/>
                    <a:pt x="17" y="0"/>
                  </a:cubicBezTo>
                  <a:cubicBezTo>
                    <a:pt x="17" y="0"/>
                    <a:pt x="16" y="0"/>
                    <a:pt x="16" y="1"/>
                  </a:cubicBezTo>
                  <a:close/>
                </a:path>
              </a:pathLst>
            </a:custGeom>
            <a:solidFill>
              <a:srgbClr val="FFFFFF"/>
            </a:solidFill>
            <a:extLst/>
          </p:spPr>
          <p:txBody>
            <a:bodyPr vert="horz" wrap="square" lIns="0" tIns="45720" rIns="91440" bIns="45720" numCol="1" anchor="t" anchorCtr="0" compatLnSpc="1">
              <a:prstTxWarp prst="textNoShape">
                <a:avLst/>
              </a:prstTxWarp>
            </a:bodyPr>
            <a:lstStyle/>
            <a:p>
              <a:pPr algn="ctr" defTabSz="685862">
                <a:defRPr/>
              </a:pPr>
              <a:endParaRPr lang="en-US" sz="700" kern="0">
                <a:gradFill>
                  <a:gsLst>
                    <a:gs pos="0">
                      <a:srgbClr val="FFFFFF"/>
                    </a:gs>
                    <a:gs pos="100000">
                      <a:srgbClr val="FFFFFF"/>
                    </a:gs>
                  </a:gsLst>
                  <a:lin ang="5400000" scaled="0"/>
                </a:gradFill>
              </a:endParaRPr>
            </a:p>
          </p:txBody>
        </p:sp>
      </p:grpSp>
      <p:grpSp>
        <p:nvGrpSpPr>
          <p:cNvPr id="11" name="Group 10"/>
          <p:cNvGrpSpPr/>
          <p:nvPr/>
        </p:nvGrpSpPr>
        <p:grpSpPr>
          <a:xfrm>
            <a:off x="389437" y="1644417"/>
            <a:ext cx="2686465" cy="1645920"/>
            <a:chOff x="519113" y="2192556"/>
            <a:chExt cx="3581020" cy="2194560"/>
          </a:xfrm>
        </p:grpSpPr>
        <p:sp>
          <p:nvSpPr>
            <p:cNvPr id="12" name="Rectangle 11"/>
            <p:cNvSpPr/>
            <p:nvPr/>
          </p:nvSpPr>
          <p:spPr bwMode="auto">
            <a:xfrm>
              <a:off x="519113" y="2192556"/>
              <a:ext cx="3581020" cy="2194560"/>
            </a:xfrm>
            <a:prstGeom prst="rect">
              <a:avLst/>
            </a:prstGeom>
            <a:solidFill>
              <a:schemeClr val="accent1"/>
            </a:solidFill>
            <a:ln w="25400" cap="flat" cmpd="sng" algn="ctr">
              <a:noFill/>
              <a:prstDash val="solid"/>
              <a:headEnd type="none" w="med" len="med"/>
              <a:tailEnd type="none" w="med" len="med"/>
            </a:ln>
            <a:effectLst/>
          </p:spPr>
          <p:txBody>
            <a:bodyPr vert="horz" wrap="square" lIns="182880" tIns="228600" rIns="182880" bIns="45718" numCol="1" rtlCol="0" anchor="t" anchorCtr="0" compatLnSpc="1">
              <a:prstTxWarp prst="textNoShape">
                <a:avLst/>
              </a:prstTxWarp>
            </a:bodyPr>
            <a:lstStyle/>
            <a:p>
              <a:pPr defTabSz="685637" fontAlgn="base">
                <a:lnSpc>
                  <a:spcPct val="90000"/>
                </a:lnSpc>
                <a:spcBef>
                  <a:spcPct val="0"/>
                </a:spcBef>
                <a:spcAft>
                  <a:spcPct val="0"/>
                </a:spcAft>
                <a:defRPr/>
              </a:pPr>
              <a:r>
                <a:rPr lang="en-US" sz="3000" kern="0" spc="-98" dirty="0">
                  <a:gradFill>
                    <a:gsLst>
                      <a:gs pos="0">
                        <a:srgbClr val="FFFFFF"/>
                      </a:gs>
                      <a:gs pos="100000">
                        <a:srgbClr val="FFFFFF"/>
                      </a:gs>
                    </a:gsLst>
                    <a:lin ang="16200000" scaled="0"/>
                  </a:gradFill>
                  <a:latin typeface="Segoe UI Light"/>
                </a:rPr>
                <a:t>Reduction</a:t>
              </a:r>
            </a:p>
          </p:txBody>
        </p:sp>
        <p:sp>
          <p:nvSpPr>
            <p:cNvPr id="13" name="Freeform 652"/>
            <p:cNvSpPr>
              <a:spLocks noChangeAspect="1" noEditPoints="1"/>
            </p:cNvSpPr>
            <p:nvPr/>
          </p:nvSpPr>
          <p:spPr bwMode="auto">
            <a:xfrm>
              <a:off x="3332201" y="3620638"/>
              <a:ext cx="488863" cy="495156"/>
            </a:xfrm>
            <a:custGeom>
              <a:avLst/>
              <a:gdLst>
                <a:gd name="T0" fmla="*/ 0 w 932"/>
                <a:gd name="T1" fmla="*/ 0 h 944"/>
                <a:gd name="T2" fmla="*/ 0 w 932"/>
                <a:gd name="T3" fmla="*/ 330 h 944"/>
                <a:gd name="T4" fmla="*/ 101 w 932"/>
                <a:gd name="T5" fmla="*/ 229 h 944"/>
                <a:gd name="T6" fmla="*/ 304 w 932"/>
                <a:gd name="T7" fmla="*/ 434 h 944"/>
                <a:gd name="T8" fmla="*/ 429 w 932"/>
                <a:gd name="T9" fmla="*/ 307 h 944"/>
                <a:gd name="T10" fmla="*/ 226 w 932"/>
                <a:gd name="T11" fmla="*/ 101 h 944"/>
                <a:gd name="T12" fmla="*/ 328 w 932"/>
                <a:gd name="T13" fmla="*/ 0 h 944"/>
                <a:gd name="T14" fmla="*/ 0 w 932"/>
                <a:gd name="T15" fmla="*/ 0 h 944"/>
                <a:gd name="T16" fmla="*/ 932 w 932"/>
                <a:gd name="T17" fmla="*/ 0 h 944"/>
                <a:gd name="T18" fmla="*/ 932 w 932"/>
                <a:gd name="T19" fmla="*/ 330 h 944"/>
                <a:gd name="T20" fmla="*/ 831 w 932"/>
                <a:gd name="T21" fmla="*/ 229 h 944"/>
                <a:gd name="T22" fmla="*/ 630 w 932"/>
                <a:gd name="T23" fmla="*/ 434 h 944"/>
                <a:gd name="T24" fmla="*/ 505 w 932"/>
                <a:gd name="T25" fmla="*/ 307 h 944"/>
                <a:gd name="T26" fmla="*/ 706 w 932"/>
                <a:gd name="T27" fmla="*/ 101 h 944"/>
                <a:gd name="T28" fmla="*/ 604 w 932"/>
                <a:gd name="T29" fmla="*/ 0 h 944"/>
                <a:gd name="T30" fmla="*/ 932 w 932"/>
                <a:gd name="T31" fmla="*/ 0 h 944"/>
                <a:gd name="T32" fmla="*/ 0 w 932"/>
                <a:gd name="T33" fmla="*/ 944 h 944"/>
                <a:gd name="T34" fmla="*/ 0 w 932"/>
                <a:gd name="T35" fmla="*/ 614 h 944"/>
                <a:gd name="T36" fmla="*/ 101 w 932"/>
                <a:gd name="T37" fmla="*/ 715 h 944"/>
                <a:gd name="T38" fmla="*/ 304 w 932"/>
                <a:gd name="T39" fmla="*/ 510 h 944"/>
                <a:gd name="T40" fmla="*/ 429 w 932"/>
                <a:gd name="T41" fmla="*/ 637 h 944"/>
                <a:gd name="T42" fmla="*/ 226 w 932"/>
                <a:gd name="T43" fmla="*/ 843 h 944"/>
                <a:gd name="T44" fmla="*/ 328 w 932"/>
                <a:gd name="T45" fmla="*/ 944 h 944"/>
                <a:gd name="T46" fmla="*/ 0 w 932"/>
                <a:gd name="T47" fmla="*/ 944 h 944"/>
                <a:gd name="T48" fmla="*/ 932 w 932"/>
                <a:gd name="T49" fmla="*/ 944 h 944"/>
                <a:gd name="T50" fmla="*/ 932 w 932"/>
                <a:gd name="T51" fmla="*/ 614 h 944"/>
                <a:gd name="T52" fmla="*/ 831 w 932"/>
                <a:gd name="T53" fmla="*/ 715 h 944"/>
                <a:gd name="T54" fmla="*/ 630 w 932"/>
                <a:gd name="T55" fmla="*/ 510 h 944"/>
                <a:gd name="T56" fmla="*/ 505 w 932"/>
                <a:gd name="T57" fmla="*/ 637 h 944"/>
                <a:gd name="T58" fmla="*/ 706 w 932"/>
                <a:gd name="T59" fmla="*/ 843 h 944"/>
                <a:gd name="T60" fmla="*/ 604 w 932"/>
                <a:gd name="T61" fmla="*/ 944 h 944"/>
                <a:gd name="T62" fmla="*/ 932 w 932"/>
                <a:gd name="T63" fmla="*/ 944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32" h="944">
                  <a:moveTo>
                    <a:pt x="0" y="0"/>
                  </a:moveTo>
                  <a:lnTo>
                    <a:pt x="0" y="330"/>
                  </a:lnTo>
                  <a:lnTo>
                    <a:pt x="101" y="229"/>
                  </a:lnTo>
                  <a:lnTo>
                    <a:pt x="304" y="434"/>
                  </a:lnTo>
                  <a:lnTo>
                    <a:pt x="429" y="307"/>
                  </a:lnTo>
                  <a:lnTo>
                    <a:pt x="226" y="101"/>
                  </a:lnTo>
                  <a:lnTo>
                    <a:pt x="328" y="0"/>
                  </a:lnTo>
                  <a:lnTo>
                    <a:pt x="0" y="0"/>
                  </a:lnTo>
                  <a:close/>
                  <a:moveTo>
                    <a:pt x="932" y="0"/>
                  </a:moveTo>
                  <a:lnTo>
                    <a:pt x="932" y="330"/>
                  </a:lnTo>
                  <a:lnTo>
                    <a:pt x="831" y="229"/>
                  </a:lnTo>
                  <a:lnTo>
                    <a:pt x="630" y="434"/>
                  </a:lnTo>
                  <a:lnTo>
                    <a:pt x="505" y="307"/>
                  </a:lnTo>
                  <a:lnTo>
                    <a:pt x="706" y="101"/>
                  </a:lnTo>
                  <a:lnTo>
                    <a:pt x="604" y="0"/>
                  </a:lnTo>
                  <a:lnTo>
                    <a:pt x="932" y="0"/>
                  </a:lnTo>
                  <a:close/>
                  <a:moveTo>
                    <a:pt x="0" y="944"/>
                  </a:moveTo>
                  <a:lnTo>
                    <a:pt x="0" y="614"/>
                  </a:lnTo>
                  <a:lnTo>
                    <a:pt x="101" y="715"/>
                  </a:lnTo>
                  <a:lnTo>
                    <a:pt x="304" y="510"/>
                  </a:lnTo>
                  <a:lnTo>
                    <a:pt x="429" y="637"/>
                  </a:lnTo>
                  <a:lnTo>
                    <a:pt x="226" y="843"/>
                  </a:lnTo>
                  <a:lnTo>
                    <a:pt x="328" y="944"/>
                  </a:lnTo>
                  <a:lnTo>
                    <a:pt x="0" y="944"/>
                  </a:lnTo>
                  <a:close/>
                  <a:moveTo>
                    <a:pt x="932" y="944"/>
                  </a:moveTo>
                  <a:lnTo>
                    <a:pt x="932" y="614"/>
                  </a:lnTo>
                  <a:lnTo>
                    <a:pt x="831" y="715"/>
                  </a:lnTo>
                  <a:lnTo>
                    <a:pt x="630" y="510"/>
                  </a:lnTo>
                  <a:lnTo>
                    <a:pt x="505" y="637"/>
                  </a:lnTo>
                  <a:lnTo>
                    <a:pt x="706" y="843"/>
                  </a:lnTo>
                  <a:lnTo>
                    <a:pt x="604" y="944"/>
                  </a:lnTo>
                  <a:lnTo>
                    <a:pt x="932" y="944"/>
                  </a:lnTo>
                  <a:close/>
                </a:path>
              </a:pathLst>
            </a:custGeom>
            <a:solidFill>
              <a:srgbClr val="FFFFFF"/>
            </a:solidFill>
            <a:extLst/>
          </p:spPr>
          <p:txBody>
            <a:bodyPr vert="horz" wrap="square" lIns="0" tIns="45720" rIns="91440" bIns="45720" numCol="1" anchor="t" anchorCtr="0" compatLnSpc="1">
              <a:prstTxWarp prst="textNoShape">
                <a:avLst/>
              </a:prstTxWarp>
            </a:bodyPr>
            <a:lstStyle/>
            <a:p>
              <a:pPr algn="ctr" defTabSz="685862">
                <a:defRPr/>
              </a:pPr>
              <a:endParaRPr lang="en-US" sz="700" kern="0">
                <a:gradFill>
                  <a:gsLst>
                    <a:gs pos="0">
                      <a:srgbClr val="FFFFFF"/>
                    </a:gs>
                    <a:gs pos="100000">
                      <a:srgbClr val="FFFFFF"/>
                    </a:gs>
                  </a:gsLst>
                  <a:lin ang="5400000" scaled="0"/>
                </a:gradFill>
              </a:endParaRPr>
            </a:p>
          </p:txBody>
        </p:sp>
      </p:grpSp>
      <p:sp>
        <p:nvSpPr>
          <p:cNvPr id="14"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5"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4"/>
              </a:rPr>
              <a:t>www.rapidbbs.cn</a:t>
            </a:r>
            <a:endParaRPr lang="zh-CN" altLang="en-US" sz="1200" b="0">
              <a:latin typeface="Arial" charset="0"/>
              <a:ea typeface="ＭＳ Ｐゴシック" pitchFamily="34" charset="-128"/>
            </a:endParaRPr>
          </a:p>
        </p:txBody>
      </p:sp>
      <p:pic>
        <p:nvPicPr>
          <p:cNvPr id="16" name="Picture 2">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76696242"/>
      </p:ext>
    </p:extLst>
  </p:cSld>
  <p:clrMapOvr>
    <a:masterClrMapping/>
  </p:clrMapOvr>
  <mc:AlternateContent xmlns:mc="http://schemas.openxmlformats.org/markup-compatibility/2006" xmlns:p14="http://schemas.microsoft.com/office/powerpoint/2010/main">
    <mc:Choice Requires="p14">
      <p:transition spd="slow" p14:dur="1250">
        <p:push/>
      </p:transition>
    </mc:Choice>
    <mc:Fallback xmlns="">
      <p:transition spd="slow">
        <p:push/>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1000" fill="hold"/>
                                        <p:tgtEl>
                                          <p:spTgt spid="11"/>
                                        </p:tgtEl>
                                        <p:attrNameLst>
                                          <p:attrName>ppt_x</p:attrName>
                                        </p:attrNameLst>
                                      </p:cBhvr>
                                      <p:tavLst>
                                        <p:tav tm="0">
                                          <p:val>
                                            <p:strVal val="1+#ppt_w/2"/>
                                          </p:val>
                                        </p:tav>
                                        <p:tav tm="100000">
                                          <p:val>
                                            <p:strVal val="#ppt_x"/>
                                          </p:val>
                                        </p:tav>
                                      </p:tavLst>
                                    </p:anim>
                                    <p:anim calcmode="lin" valueType="num">
                                      <p:cBhvr additive="base">
                                        <p:cTn id="8" dur="1000" fill="hold"/>
                                        <p:tgtEl>
                                          <p:spTgt spid="11"/>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0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1000" fill="hold"/>
                                        <p:tgtEl>
                                          <p:spTgt spid="8"/>
                                        </p:tgtEl>
                                        <p:attrNameLst>
                                          <p:attrName>ppt_x</p:attrName>
                                        </p:attrNameLst>
                                      </p:cBhvr>
                                      <p:tavLst>
                                        <p:tav tm="0">
                                          <p:val>
                                            <p:strVal val="1+#ppt_w/2"/>
                                          </p:val>
                                        </p:tav>
                                        <p:tav tm="100000">
                                          <p:val>
                                            <p:strVal val="#ppt_x"/>
                                          </p:val>
                                        </p:tav>
                                      </p:tavLst>
                                    </p:anim>
                                    <p:anim calcmode="lin" valueType="num">
                                      <p:cBhvr additive="base">
                                        <p:cTn id="12" dur="1000" fill="hold"/>
                                        <p:tgtEl>
                                          <p:spTgt spid="8"/>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400"/>
                                  </p:stCondLst>
                                  <p:childTnLst>
                                    <p:set>
                                      <p:cBhvr>
                                        <p:cTn id="14" dur="1" fill="hold">
                                          <p:stCondLst>
                                            <p:cond delay="0"/>
                                          </p:stCondLst>
                                        </p:cTn>
                                        <p:tgtEl>
                                          <p:spTgt spid="3"/>
                                        </p:tgtEl>
                                        <p:attrNameLst>
                                          <p:attrName>style.visibility</p:attrName>
                                        </p:attrNameLst>
                                      </p:cBhvr>
                                      <p:to>
                                        <p:strVal val="visible"/>
                                      </p:to>
                                    </p:set>
                                    <p:anim calcmode="lin" valueType="num">
                                      <p:cBhvr additive="base">
                                        <p:cTn id="15" dur="1000" fill="hold"/>
                                        <p:tgtEl>
                                          <p:spTgt spid="3"/>
                                        </p:tgtEl>
                                        <p:attrNameLst>
                                          <p:attrName>ppt_x</p:attrName>
                                        </p:attrNameLst>
                                      </p:cBhvr>
                                      <p:tavLst>
                                        <p:tav tm="0">
                                          <p:val>
                                            <p:strVal val="1+#ppt_w/2"/>
                                          </p:val>
                                        </p:tav>
                                        <p:tav tm="100000">
                                          <p:val>
                                            <p:strVal val="#ppt_x"/>
                                          </p:val>
                                        </p:tav>
                                      </p:tavLst>
                                    </p:anim>
                                    <p:anim calcmode="lin" valueType="num">
                                      <p:cBhvr additive="base">
                                        <p:cTn id="16" dur="10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smtClean="0"/>
              <a:t>p</a:t>
            </a:r>
            <a:r>
              <a:rPr dirty="0" smtClean="0"/>
              <a:t>a</a:t>
            </a:r>
            <a:r>
              <a:rPr spc="-250" dirty="0"/>
              <a:t>r</a:t>
            </a:r>
            <a:r>
              <a:rPr dirty="0" smtClean="0"/>
              <a:t>tner </a:t>
            </a:r>
            <a:endParaRPr lang="en-US" dirty="0"/>
          </a:p>
        </p:txBody>
      </p:sp>
      <p:sp>
        <p:nvSpPr>
          <p:cNvPr id="3" name="Subtitle 2"/>
          <p:cNvSpPr>
            <a:spLocks noGrp="1"/>
          </p:cNvSpPr>
          <p:nvPr>
            <p:ph type="subTitle" idx="1"/>
          </p:nvPr>
        </p:nvSpPr>
        <p:spPr/>
        <p:txBody>
          <a:bodyPr/>
          <a:lstStyle/>
          <a:p>
            <a:r>
              <a:rPr lang="en-US" dirty="0" smtClean="0"/>
              <a:t>Name</a:t>
            </a:r>
          </a:p>
          <a:p>
            <a:r>
              <a:rPr lang="en-US" dirty="0" smtClean="0"/>
              <a:t>Title</a:t>
            </a:r>
          </a:p>
          <a:p>
            <a:r>
              <a:rPr lang="en-US" dirty="0" smtClean="0"/>
              <a:t>Company</a:t>
            </a:r>
            <a:endParaRPr lang="en-US" dirty="0"/>
          </a:p>
        </p:txBody>
      </p:sp>
      <p:sp>
        <p:nvSpPr>
          <p:cNvPr id="2" name="Title 1"/>
          <p:cNvSpPr>
            <a:spLocks noGrp="1"/>
          </p:cNvSpPr>
          <p:nvPr>
            <p:ph type="ctrTitle"/>
          </p:nvPr>
        </p:nvSpPr>
        <p:spPr/>
        <p:txBody>
          <a:bodyPr/>
          <a:lstStyle/>
          <a:p>
            <a:r>
              <a:rPr dirty="0" smtClean="0"/>
              <a:t>Partner Title</a:t>
            </a:r>
            <a:endParaRPr lang="en-US" dirty="0"/>
          </a:p>
        </p:txBody>
      </p:sp>
      <p:sp useBgFill="1">
        <p:nvSpPr>
          <p:cNvPr id="5" name="MASK bottom"/>
          <p:cNvSpPr/>
          <p:nvPr/>
        </p:nvSpPr>
        <p:spPr bwMode="auto">
          <a:xfrm>
            <a:off x="2914218" y="4514850"/>
            <a:ext cx="6229782" cy="62865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useBgFill="1">
        <p:nvSpPr>
          <p:cNvPr id="6" name="MASK top"/>
          <p:cNvSpPr/>
          <p:nvPr/>
        </p:nvSpPr>
        <p:spPr bwMode="auto">
          <a:xfrm>
            <a:off x="2914218" y="0"/>
            <a:ext cx="6229782" cy="112849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9"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0"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pic>
        <p:nvPicPr>
          <p:cNvPr id="11"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76587063"/>
      </p:ext>
    </p:extLst>
  </p:cSld>
  <p:clrMapOvr>
    <a:masterClrMapping/>
  </p:clrMapOvr>
  <p:transition spd="slow">
    <p:fade/>
  </p:transition>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7" y="971854"/>
            <a:ext cx="2467618" cy="914096"/>
          </a:xfrm>
        </p:spPr>
        <p:txBody>
          <a:bodyPr/>
          <a:lstStyle/>
          <a:p>
            <a:r>
              <a:rPr lang="en-US" dirty="0" smtClean="0"/>
              <a:t>The Tool for Windows</a:t>
            </a:r>
            <a:endParaRPr lang="en-US" dirty="0"/>
          </a:p>
        </p:txBody>
      </p:sp>
      <p:grpSp>
        <p:nvGrpSpPr>
          <p:cNvPr id="3" name="Group 2"/>
          <p:cNvGrpSpPr/>
          <p:nvPr/>
        </p:nvGrpSpPr>
        <p:grpSpPr>
          <a:xfrm>
            <a:off x="3256093" y="934147"/>
            <a:ext cx="2686465" cy="1599932"/>
            <a:chOff x="2413038" y="1760389"/>
            <a:chExt cx="3581020" cy="2133243"/>
          </a:xfrm>
        </p:grpSpPr>
        <p:sp>
          <p:nvSpPr>
            <p:cNvPr id="4" name="Rectangle 3"/>
            <p:cNvSpPr/>
            <p:nvPr/>
          </p:nvSpPr>
          <p:spPr bwMode="auto">
            <a:xfrm>
              <a:off x="2413038" y="1760389"/>
              <a:ext cx="3581020" cy="2133243"/>
            </a:xfrm>
            <a:prstGeom prst="rect">
              <a:avLst/>
            </a:prstGeom>
            <a:solidFill>
              <a:schemeClr val="accent2"/>
            </a:solidFill>
            <a:ln w="25400" cap="flat" cmpd="sng" algn="ctr">
              <a:noFill/>
              <a:prstDash val="solid"/>
              <a:headEnd type="none" w="med" len="med"/>
              <a:tailEnd type="none" w="med" len="med"/>
            </a:ln>
            <a:effectLst/>
          </p:spPr>
          <p:style>
            <a:lnRef idx="2">
              <a:schemeClr val="accent5">
                <a:shade val="50000"/>
              </a:schemeClr>
            </a:lnRef>
            <a:fillRef idx="1">
              <a:schemeClr val="accent5"/>
            </a:fillRef>
            <a:effectRef idx="0">
              <a:schemeClr val="accent5"/>
            </a:effectRef>
            <a:fontRef idx="minor">
              <a:schemeClr val="lt1"/>
            </a:fontRef>
          </p:style>
          <p:txBody>
            <a:bodyPr vert="horz" wrap="square" lIns="182880" tIns="228600" rIns="91436" bIns="45718" numCol="1" rtlCol="0" anchor="t" anchorCtr="0" compatLnSpc="1">
              <a:prstTxWarp prst="textNoShape">
                <a:avLst/>
              </a:prstTxWarp>
            </a:bodyPr>
            <a:lstStyle/>
            <a:p>
              <a:pPr defTabSz="685637" fontAlgn="base">
                <a:lnSpc>
                  <a:spcPct val="90000"/>
                </a:lnSpc>
                <a:spcBef>
                  <a:spcPct val="0"/>
                </a:spcBef>
                <a:spcAft>
                  <a:spcPct val="0"/>
                </a:spcAft>
              </a:pPr>
              <a:r>
                <a:rPr lang="en-US" sz="3000" spc="-98" dirty="0">
                  <a:gradFill>
                    <a:gsLst>
                      <a:gs pos="0">
                        <a:srgbClr val="FFFFFF"/>
                      </a:gs>
                      <a:gs pos="100000">
                        <a:srgbClr val="FFFFFF"/>
                      </a:gs>
                    </a:gsLst>
                    <a:lin ang="16200000" scaled="0"/>
                  </a:gradFill>
                  <a:latin typeface="Segoe UI Light"/>
                </a:rPr>
                <a:t>Desktop applications</a:t>
              </a:r>
            </a:p>
          </p:txBody>
        </p:sp>
        <p:sp>
          <p:nvSpPr>
            <p:cNvPr id="5" name="Freeform 88"/>
            <p:cNvSpPr>
              <a:spLocks noEditPoints="1"/>
            </p:cNvSpPr>
            <p:nvPr/>
          </p:nvSpPr>
          <p:spPr bwMode="black">
            <a:xfrm>
              <a:off x="5081743" y="3097472"/>
              <a:ext cx="696561" cy="590680"/>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0" tIns="45718" rIns="91436" bIns="45718" numCol="1" rtlCol="0" anchor="ctr" anchorCtr="0" compatLnSpc="1">
              <a:prstTxWarp prst="textNoShape">
                <a:avLst/>
              </a:prstTxWarp>
            </a:bodyPr>
            <a:lstStyle/>
            <a:p>
              <a:pPr algn="ctr" defTabSz="555606"/>
              <a:endParaRPr lang="en-US" spc="-92" dirty="0">
                <a:gradFill>
                  <a:gsLst>
                    <a:gs pos="0">
                      <a:srgbClr val="FFFFFF"/>
                    </a:gs>
                    <a:gs pos="100000">
                      <a:srgbClr val="FFFFFF"/>
                    </a:gs>
                  </a:gsLst>
                  <a:lin ang="5400000" scaled="0"/>
                </a:gradFill>
                <a:latin typeface="Segoe Light" pitchFamily="34" charset="0"/>
              </a:endParaRPr>
            </a:p>
          </p:txBody>
        </p:sp>
      </p:grpSp>
      <p:grpSp>
        <p:nvGrpSpPr>
          <p:cNvPr id="6" name="Group 5"/>
          <p:cNvGrpSpPr/>
          <p:nvPr/>
        </p:nvGrpSpPr>
        <p:grpSpPr>
          <a:xfrm>
            <a:off x="6066995" y="934147"/>
            <a:ext cx="2686465" cy="1599932"/>
            <a:chOff x="6194767" y="1760389"/>
            <a:chExt cx="3581020" cy="2133243"/>
          </a:xfrm>
        </p:grpSpPr>
        <p:sp>
          <p:nvSpPr>
            <p:cNvPr id="7" name="Rectangle 6"/>
            <p:cNvSpPr/>
            <p:nvPr/>
          </p:nvSpPr>
          <p:spPr bwMode="auto">
            <a:xfrm>
              <a:off x="6194767" y="1760389"/>
              <a:ext cx="3581020" cy="2133243"/>
            </a:xfrm>
            <a:prstGeom prst="rect">
              <a:avLst/>
            </a:prstGeom>
            <a:solidFill>
              <a:schemeClr val="accent1"/>
            </a:solidFill>
            <a:ln w="25400" cap="flat" cmpd="sng" algn="ctr">
              <a:noFill/>
              <a:prstDash val="solid"/>
              <a:headEnd type="none" w="med" len="med"/>
              <a:tailEnd type="none" w="med" len="med"/>
            </a:ln>
            <a:effectLst/>
          </p:spPr>
          <p:style>
            <a:lnRef idx="2">
              <a:schemeClr val="accent5">
                <a:shade val="50000"/>
              </a:schemeClr>
            </a:lnRef>
            <a:fillRef idx="1">
              <a:schemeClr val="accent5"/>
            </a:fillRef>
            <a:effectRef idx="0">
              <a:schemeClr val="accent5"/>
            </a:effectRef>
            <a:fontRef idx="minor">
              <a:schemeClr val="lt1"/>
            </a:fontRef>
          </p:style>
          <p:txBody>
            <a:bodyPr vert="horz" wrap="square" lIns="182880" tIns="228600" rIns="91436" bIns="45718" numCol="1" rtlCol="0" anchor="t" anchorCtr="0" compatLnSpc="1">
              <a:prstTxWarp prst="textNoShape">
                <a:avLst/>
              </a:prstTxWarp>
            </a:bodyPr>
            <a:lstStyle/>
            <a:p>
              <a:pPr defTabSz="685637" fontAlgn="base">
                <a:lnSpc>
                  <a:spcPct val="90000"/>
                </a:lnSpc>
                <a:spcBef>
                  <a:spcPct val="0"/>
                </a:spcBef>
                <a:spcAft>
                  <a:spcPct val="0"/>
                </a:spcAft>
              </a:pPr>
              <a:r>
                <a:rPr lang="en-US" sz="3000" spc="-98" dirty="0">
                  <a:gradFill>
                    <a:gsLst>
                      <a:gs pos="0">
                        <a:srgbClr val="FFFFFF"/>
                      </a:gs>
                      <a:gs pos="100000">
                        <a:srgbClr val="FFFFFF"/>
                      </a:gs>
                    </a:gsLst>
                    <a:lin ang="16200000" scaled="0"/>
                  </a:gradFill>
                  <a:latin typeface="Segoe UI Light"/>
                </a:rPr>
                <a:t>Graphics</a:t>
              </a:r>
            </a:p>
            <a:p>
              <a:pPr defTabSz="685637" fontAlgn="base">
                <a:lnSpc>
                  <a:spcPct val="90000"/>
                </a:lnSpc>
                <a:spcBef>
                  <a:spcPct val="0"/>
                </a:spcBef>
                <a:spcAft>
                  <a:spcPct val="0"/>
                </a:spcAft>
              </a:pPr>
              <a:r>
                <a:rPr lang="en-US" sz="3000" spc="-98" dirty="0">
                  <a:gradFill>
                    <a:gsLst>
                      <a:gs pos="0">
                        <a:srgbClr val="FFFFFF"/>
                      </a:gs>
                      <a:gs pos="100000">
                        <a:srgbClr val="FFFFFF"/>
                      </a:gs>
                    </a:gsLst>
                    <a:lin ang="16200000" scaled="0"/>
                  </a:gradFill>
                  <a:latin typeface="Segoe UI Light"/>
                </a:rPr>
                <a:t>intensive</a:t>
              </a:r>
            </a:p>
          </p:txBody>
        </p:sp>
        <p:sp>
          <p:nvSpPr>
            <p:cNvPr id="8" name="Freeform 11"/>
            <p:cNvSpPr>
              <a:spLocks noEditPoints="1"/>
            </p:cNvSpPr>
            <p:nvPr/>
          </p:nvSpPr>
          <p:spPr bwMode="black">
            <a:xfrm>
              <a:off x="8955672" y="3083948"/>
              <a:ext cx="604361" cy="604204"/>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rgbClr val="FFFFFF"/>
            </a:solidFill>
            <a:ln>
              <a:noFill/>
            </a:ln>
          </p:spPr>
          <p:txBody>
            <a:bodyPr vert="horz" wrap="square" lIns="0" tIns="41153" rIns="82305" bIns="41153" numCol="1" anchor="t" anchorCtr="0" compatLnSpc="1">
              <a:prstTxWarp prst="textNoShape">
                <a:avLst/>
              </a:prstTxWarp>
            </a:bodyPr>
            <a:lstStyle/>
            <a:p>
              <a:pPr algn="ctr"/>
              <a:endParaRPr lang="en-US" sz="1200" dirty="0">
                <a:gradFill>
                  <a:gsLst>
                    <a:gs pos="0">
                      <a:srgbClr val="FFFFFF"/>
                    </a:gs>
                    <a:gs pos="100000">
                      <a:srgbClr val="FFFFFF"/>
                    </a:gs>
                  </a:gsLst>
                  <a:lin ang="5400000" scaled="0"/>
                </a:gradFill>
              </a:endParaRPr>
            </a:p>
          </p:txBody>
        </p:sp>
      </p:grpSp>
      <p:grpSp>
        <p:nvGrpSpPr>
          <p:cNvPr id="9" name="Group 8"/>
          <p:cNvGrpSpPr/>
          <p:nvPr/>
        </p:nvGrpSpPr>
        <p:grpSpPr>
          <a:xfrm>
            <a:off x="3256093" y="2659330"/>
            <a:ext cx="2686465" cy="1599932"/>
            <a:chOff x="2413038" y="4060632"/>
            <a:chExt cx="3581020" cy="2133243"/>
          </a:xfrm>
        </p:grpSpPr>
        <p:sp>
          <p:nvSpPr>
            <p:cNvPr id="10" name="Rectangle 9"/>
            <p:cNvSpPr/>
            <p:nvPr/>
          </p:nvSpPr>
          <p:spPr bwMode="auto">
            <a:xfrm>
              <a:off x="2413038" y="4060632"/>
              <a:ext cx="3581020" cy="2133243"/>
            </a:xfrm>
            <a:prstGeom prst="rect">
              <a:avLst/>
            </a:prstGeom>
            <a:solidFill>
              <a:schemeClr val="accent2"/>
            </a:solidFill>
            <a:ln w="25400" cap="flat" cmpd="sng" algn="ctr">
              <a:noFill/>
              <a:prstDash val="solid"/>
              <a:headEnd type="none" w="med" len="med"/>
              <a:tailEnd type="none" w="med" len="med"/>
            </a:ln>
            <a:effectLst/>
          </p:spPr>
          <p:style>
            <a:lnRef idx="2">
              <a:schemeClr val="accent5">
                <a:shade val="50000"/>
              </a:schemeClr>
            </a:lnRef>
            <a:fillRef idx="1">
              <a:schemeClr val="accent5"/>
            </a:fillRef>
            <a:effectRef idx="0">
              <a:schemeClr val="accent5"/>
            </a:effectRef>
            <a:fontRef idx="minor">
              <a:schemeClr val="lt1"/>
            </a:fontRef>
          </p:style>
          <p:txBody>
            <a:bodyPr vert="horz" wrap="square" lIns="182880" tIns="228600" rIns="91436" bIns="45718" numCol="1" rtlCol="0" anchor="t" anchorCtr="0" compatLnSpc="1">
              <a:prstTxWarp prst="textNoShape">
                <a:avLst/>
              </a:prstTxWarp>
            </a:bodyPr>
            <a:lstStyle/>
            <a:p>
              <a:pPr defTabSz="685637" fontAlgn="base">
                <a:lnSpc>
                  <a:spcPct val="90000"/>
                </a:lnSpc>
                <a:spcBef>
                  <a:spcPct val="0"/>
                </a:spcBef>
                <a:spcAft>
                  <a:spcPct val="0"/>
                </a:spcAft>
              </a:pPr>
              <a:r>
                <a:rPr lang="en-US" sz="3000" spc="-98" dirty="0">
                  <a:gradFill>
                    <a:gsLst>
                      <a:gs pos="0">
                        <a:srgbClr val="FFFFFF"/>
                      </a:gs>
                      <a:gs pos="100000">
                        <a:srgbClr val="FFFFFF"/>
                      </a:gs>
                    </a:gsLst>
                    <a:lin ang="16200000" scaled="0"/>
                  </a:gradFill>
                  <a:latin typeface="Segoe UI Light"/>
                </a:rPr>
                <a:t>Windows</a:t>
              </a:r>
            </a:p>
            <a:p>
              <a:pPr defTabSz="685637" fontAlgn="base">
                <a:lnSpc>
                  <a:spcPct val="90000"/>
                </a:lnSpc>
                <a:spcBef>
                  <a:spcPct val="0"/>
                </a:spcBef>
                <a:spcAft>
                  <a:spcPct val="0"/>
                </a:spcAft>
              </a:pPr>
              <a:r>
                <a:rPr lang="en-US" sz="3000" spc="-98" dirty="0">
                  <a:gradFill>
                    <a:gsLst>
                      <a:gs pos="0">
                        <a:srgbClr val="FFFFFF"/>
                      </a:gs>
                      <a:gs pos="100000">
                        <a:srgbClr val="FFFFFF"/>
                      </a:gs>
                    </a:gsLst>
                    <a:lin ang="16200000" scaled="0"/>
                  </a:gradFill>
                  <a:latin typeface="Segoe UI Light"/>
                </a:rPr>
                <a:t>drivers</a:t>
              </a:r>
            </a:p>
          </p:txBody>
        </p:sp>
        <p:grpSp>
          <p:nvGrpSpPr>
            <p:cNvPr id="11" name="Group 10"/>
            <p:cNvGrpSpPr/>
            <p:nvPr/>
          </p:nvGrpSpPr>
          <p:grpSpPr bwMode="black">
            <a:xfrm>
              <a:off x="5026954" y="5377139"/>
              <a:ext cx="751350" cy="611256"/>
              <a:chOff x="5184775" y="225425"/>
              <a:chExt cx="1500188" cy="1220788"/>
            </a:xfrm>
            <a:solidFill>
              <a:srgbClr val="FFFFFF"/>
            </a:solidFill>
          </p:grpSpPr>
          <p:sp>
            <p:nvSpPr>
              <p:cNvPr id="12"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a:endParaRPr lang="en-US" sz="1200" dirty="0">
                  <a:gradFill>
                    <a:gsLst>
                      <a:gs pos="0">
                        <a:srgbClr val="FFFFFF"/>
                      </a:gs>
                      <a:gs pos="100000">
                        <a:srgbClr val="FFFFFF"/>
                      </a:gs>
                    </a:gsLst>
                    <a:lin ang="5400000" scaled="0"/>
                  </a:gradFill>
                </a:endParaRPr>
              </a:p>
            </p:txBody>
          </p:sp>
          <p:sp>
            <p:nvSpPr>
              <p:cNvPr id="13"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a:endParaRPr lang="en-US" sz="1200" dirty="0">
                  <a:gradFill>
                    <a:gsLst>
                      <a:gs pos="0">
                        <a:srgbClr val="FFFFFF"/>
                      </a:gs>
                      <a:gs pos="100000">
                        <a:srgbClr val="FFFFFF"/>
                      </a:gs>
                    </a:gsLst>
                    <a:lin ang="5400000" scaled="0"/>
                  </a:gradFill>
                </a:endParaRPr>
              </a:p>
            </p:txBody>
          </p:sp>
          <p:sp>
            <p:nvSpPr>
              <p:cNvPr id="14"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a:endParaRPr lang="en-US" sz="1200" dirty="0">
                  <a:gradFill>
                    <a:gsLst>
                      <a:gs pos="0">
                        <a:srgbClr val="FFFFFF"/>
                      </a:gs>
                      <a:gs pos="100000">
                        <a:srgbClr val="FFFFFF"/>
                      </a:gs>
                    </a:gsLst>
                    <a:lin ang="5400000" scaled="0"/>
                  </a:gradFill>
                </a:endParaRPr>
              </a:p>
            </p:txBody>
          </p:sp>
        </p:grpSp>
      </p:grpSp>
      <p:grpSp>
        <p:nvGrpSpPr>
          <p:cNvPr id="15" name="Group 14"/>
          <p:cNvGrpSpPr/>
          <p:nvPr/>
        </p:nvGrpSpPr>
        <p:grpSpPr>
          <a:xfrm>
            <a:off x="6066995" y="2659330"/>
            <a:ext cx="2686465" cy="1599932"/>
            <a:chOff x="6194767" y="4060632"/>
            <a:chExt cx="3581020" cy="2133243"/>
          </a:xfrm>
        </p:grpSpPr>
        <p:sp>
          <p:nvSpPr>
            <p:cNvPr id="16" name="Rectangle 15"/>
            <p:cNvSpPr/>
            <p:nvPr/>
          </p:nvSpPr>
          <p:spPr bwMode="auto">
            <a:xfrm>
              <a:off x="6194767" y="4060632"/>
              <a:ext cx="3581020" cy="2133243"/>
            </a:xfrm>
            <a:prstGeom prst="rect">
              <a:avLst/>
            </a:prstGeom>
            <a:solidFill>
              <a:schemeClr val="accent1"/>
            </a:solidFill>
            <a:ln w="25400" cap="flat" cmpd="sng" algn="ctr">
              <a:noFill/>
              <a:prstDash val="solid"/>
              <a:headEnd type="none" w="med" len="med"/>
              <a:tailEnd type="none" w="med" len="med"/>
            </a:ln>
            <a:effectLst/>
          </p:spPr>
          <p:style>
            <a:lnRef idx="2">
              <a:schemeClr val="accent5">
                <a:shade val="50000"/>
              </a:schemeClr>
            </a:lnRef>
            <a:fillRef idx="1">
              <a:schemeClr val="accent5"/>
            </a:fillRef>
            <a:effectRef idx="0">
              <a:schemeClr val="accent5"/>
            </a:effectRef>
            <a:fontRef idx="minor">
              <a:schemeClr val="lt1"/>
            </a:fontRef>
          </p:style>
          <p:txBody>
            <a:bodyPr vert="horz" wrap="square" lIns="182880" tIns="228600" rIns="91436" bIns="45718" numCol="1" rtlCol="0" anchor="t" anchorCtr="0" compatLnSpc="1">
              <a:prstTxWarp prst="textNoShape">
                <a:avLst/>
              </a:prstTxWarp>
            </a:bodyPr>
            <a:lstStyle/>
            <a:p>
              <a:pPr defTabSz="685637" fontAlgn="base">
                <a:lnSpc>
                  <a:spcPct val="90000"/>
                </a:lnSpc>
                <a:spcBef>
                  <a:spcPct val="0"/>
                </a:spcBef>
                <a:spcAft>
                  <a:spcPct val="0"/>
                </a:spcAft>
              </a:pPr>
              <a:r>
                <a:rPr lang="en-US" sz="3000" spc="-98" dirty="0">
                  <a:gradFill>
                    <a:gsLst>
                      <a:gs pos="0">
                        <a:srgbClr val="FFFFFF"/>
                      </a:gs>
                      <a:gs pos="100000">
                        <a:srgbClr val="FFFFFF"/>
                      </a:gs>
                    </a:gsLst>
                    <a:lin ang="16200000" scaled="0"/>
                  </a:gradFill>
                  <a:latin typeface="Segoe UI Light"/>
                </a:rPr>
                <a:t>Windows</a:t>
              </a:r>
            </a:p>
            <a:p>
              <a:pPr defTabSz="685637" fontAlgn="base">
                <a:lnSpc>
                  <a:spcPct val="90000"/>
                </a:lnSpc>
                <a:spcBef>
                  <a:spcPct val="0"/>
                </a:spcBef>
                <a:spcAft>
                  <a:spcPct val="0"/>
                </a:spcAft>
              </a:pPr>
              <a:r>
                <a:rPr lang="en-US" sz="3000" spc="-98" dirty="0">
                  <a:gradFill>
                    <a:gsLst>
                      <a:gs pos="0">
                        <a:srgbClr val="FFFFFF"/>
                      </a:gs>
                      <a:gs pos="100000">
                        <a:srgbClr val="FFFFFF"/>
                      </a:gs>
                    </a:gsLst>
                    <a:lin ang="16200000" scaled="0"/>
                  </a:gradFill>
                  <a:latin typeface="Segoe UI Light"/>
                </a:rPr>
                <a:t>Metro style</a:t>
              </a:r>
            </a:p>
          </p:txBody>
        </p:sp>
        <p:grpSp>
          <p:nvGrpSpPr>
            <p:cNvPr id="17" name="Group 16"/>
            <p:cNvGrpSpPr/>
            <p:nvPr/>
          </p:nvGrpSpPr>
          <p:grpSpPr>
            <a:xfrm>
              <a:off x="9030396" y="5460854"/>
              <a:ext cx="529637" cy="527541"/>
              <a:chOff x="7988334" y="5213829"/>
              <a:chExt cx="481488" cy="479583"/>
            </a:xfrm>
          </p:grpSpPr>
          <p:sp>
            <p:nvSpPr>
              <p:cNvPr id="18" name="Rectangle 17"/>
              <p:cNvSpPr/>
              <p:nvPr/>
            </p:nvSpPr>
            <p:spPr bwMode="auto">
              <a:xfrm>
                <a:off x="7988334" y="5213829"/>
                <a:ext cx="226696" cy="22669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637" fontAlgn="base">
                  <a:spcBef>
                    <a:spcPct val="0"/>
                  </a:spcBef>
                  <a:spcAft>
                    <a:spcPct val="0"/>
                  </a:spcAft>
                </a:pP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9" name="Rectangle 18"/>
              <p:cNvSpPr/>
              <p:nvPr/>
            </p:nvSpPr>
            <p:spPr bwMode="auto">
              <a:xfrm>
                <a:off x="8243126" y="5213829"/>
                <a:ext cx="226696" cy="22669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637" fontAlgn="base">
                  <a:spcBef>
                    <a:spcPct val="0"/>
                  </a:spcBef>
                  <a:spcAft>
                    <a:spcPct val="0"/>
                  </a:spcAft>
                </a:pP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0" name="Rectangle 19"/>
              <p:cNvSpPr/>
              <p:nvPr/>
            </p:nvSpPr>
            <p:spPr bwMode="auto">
              <a:xfrm>
                <a:off x="7988334" y="5466716"/>
                <a:ext cx="226696" cy="22669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637" fontAlgn="base">
                  <a:spcBef>
                    <a:spcPct val="0"/>
                  </a:spcBef>
                  <a:spcAft>
                    <a:spcPct val="0"/>
                  </a:spcAft>
                </a:pP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1" name="Rectangle 20"/>
              <p:cNvSpPr/>
              <p:nvPr/>
            </p:nvSpPr>
            <p:spPr bwMode="auto">
              <a:xfrm>
                <a:off x="8243126" y="5466716"/>
                <a:ext cx="226696" cy="22669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637" fontAlgn="base">
                  <a:spcBef>
                    <a:spcPct val="0"/>
                  </a:spcBef>
                  <a:spcAft>
                    <a:spcPct val="0"/>
                  </a:spcAft>
                </a:pP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sp>
        <p:nvSpPr>
          <p:cNvPr id="22"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3"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
              </a:rPr>
              <a:t>www.rapidbbs.cn</a:t>
            </a:r>
            <a:endParaRPr lang="zh-CN" altLang="en-US" sz="1200" b="0">
              <a:latin typeface="Arial" charset="0"/>
              <a:ea typeface="ＭＳ Ｐゴシック" pitchFamily="34" charset="-128"/>
            </a:endParaRPr>
          </a:p>
        </p:txBody>
      </p:sp>
      <p:pic>
        <p:nvPicPr>
          <p:cNvPr id="24" name="Picture 2">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90668118"/>
      </p:ext>
    </p:extLst>
  </p:cSld>
  <p:clrMapOvr>
    <a:masterClrMapping/>
  </p:clrMapOvr>
  <mc:AlternateContent xmlns:mc="http://schemas.openxmlformats.org/markup-compatibility/2006" xmlns:p14="http://schemas.microsoft.com/office/powerpoint/2010/main">
    <mc:Choice Requires="p14">
      <p:transition spd="slow" p14:dur="1250">
        <p:push/>
      </p:transition>
    </mc:Choice>
    <mc:Fallback xmlns="">
      <p:transition spd="slow">
        <p:push/>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fill="hold"/>
                                        <p:tgtEl>
                                          <p:spTgt spid="3"/>
                                        </p:tgtEl>
                                        <p:attrNameLst>
                                          <p:attrName>ppt_x</p:attrName>
                                        </p:attrNameLst>
                                      </p:cBhvr>
                                      <p:tavLst>
                                        <p:tav tm="0">
                                          <p:val>
                                            <p:strVal val="1+#ppt_w/2"/>
                                          </p:val>
                                        </p:tav>
                                        <p:tav tm="100000">
                                          <p:val>
                                            <p:strVal val="#ppt_x"/>
                                          </p:val>
                                        </p:tav>
                                      </p:tavLst>
                                    </p:anim>
                                    <p:anim calcmode="lin" valueType="num">
                                      <p:cBhvr additive="base">
                                        <p:cTn id="8" dur="10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0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1000" fill="hold"/>
                                        <p:tgtEl>
                                          <p:spTgt spid="9"/>
                                        </p:tgtEl>
                                        <p:attrNameLst>
                                          <p:attrName>ppt_x</p:attrName>
                                        </p:attrNameLst>
                                      </p:cBhvr>
                                      <p:tavLst>
                                        <p:tav tm="0">
                                          <p:val>
                                            <p:strVal val="1+#ppt_w/2"/>
                                          </p:val>
                                        </p:tav>
                                        <p:tav tm="100000">
                                          <p:val>
                                            <p:strVal val="#ppt_x"/>
                                          </p:val>
                                        </p:tav>
                                      </p:tavLst>
                                    </p:anim>
                                    <p:anim calcmode="lin" valueType="num">
                                      <p:cBhvr additive="base">
                                        <p:cTn id="12" dur="1000" fill="hold"/>
                                        <p:tgtEl>
                                          <p:spTgt spid="9"/>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40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1000" fill="hold"/>
                                        <p:tgtEl>
                                          <p:spTgt spid="6"/>
                                        </p:tgtEl>
                                        <p:attrNameLst>
                                          <p:attrName>ppt_x</p:attrName>
                                        </p:attrNameLst>
                                      </p:cBhvr>
                                      <p:tavLst>
                                        <p:tav tm="0">
                                          <p:val>
                                            <p:strVal val="1+#ppt_w/2"/>
                                          </p:val>
                                        </p:tav>
                                        <p:tav tm="100000">
                                          <p:val>
                                            <p:strVal val="#ppt_x"/>
                                          </p:val>
                                        </p:tav>
                                      </p:tavLst>
                                    </p:anim>
                                    <p:anim calcmode="lin" valueType="num">
                                      <p:cBhvr additive="base">
                                        <p:cTn id="16" dur="1000" fill="hold"/>
                                        <p:tgtEl>
                                          <p:spTgt spid="6"/>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600"/>
                                  </p:stCondLst>
                                  <p:childTnLst>
                                    <p:set>
                                      <p:cBhvr>
                                        <p:cTn id="18" dur="1" fill="hold">
                                          <p:stCondLst>
                                            <p:cond delay="0"/>
                                          </p:stCondLst>
                                        </p:cTn>
                                        <p:tgtEl>
                                          <p:spTgt spid="15"/>
                                        </p:tgtEl>
                                        <p:attrNameLst>
                                          <p:attrName>style.visibility</p:attrName>
                                        </p:attrNameLst>
                                      </p:cBhvr>
                                      <p:to>
                                        <p:strVal val="visible"/>
                                      </p:to>
                                    </p:set>
                                    <p:anim calcmode="lin" valueType="num">
                                      <p:cBhvr additive="base">
                                        <p:cTn id="19" dur="1000" fill="hold"/>
                                        <p:tgtEl>
                                          <p:spTgt spid="15"/>
                                        </p:tgtEl>
                                        <p:attrNameLst>
                                          <p:attrName>ppt_x</p:attrName>
                                        </p:attrNameLst>
                                      </p:cBhvr>
                                      <p:tavLst>
                                        <p:tav tm="0">
                                          <p:val>
                                            <p:strVal val="1+#ppt_w/2"/>
                                          </p:val>
                                        </p:tav>
                                        <p:tav tm="100000">
                                          <p:val>
                                            <p:strVal val="#ppt_x"/>
                                          </p:val>
                                        </p:tav>
                                      </p:tavLst>
                                    </p:anim>
                                    <p:anim calcmode="lin" valueType="num">
                                      <p:cBhvr additive="base">
                                        <p:cTn id="20" dur="10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3765" y="914400"/>
            <a:ext cx="2010299" cy="914096"/>
          </a:xfrm>
        </p:spPr>
        <p:txBody>
          <a:bodyPr/>
          <a:lstStyle/>
          <a:p>
            <a:r>
              <a:rPr lang="en-US" dirty="0" smtClean="0"/>
              <a:t>Work with HTML5</a:t>
            </a:r>
            <a:endParaRPr lang="en-US" dirty="0"/>
          </a:p>
        </p:txBody>
      </p:sp>
      <p:grpSp>
        <p:nvGrpSpPr>
          <p:cNvPr id="3" name="Group 2"/>
          <p:cNvGrpSpPr/>
          <p:nvPr/>
        </p:nvGrpSpPr>
        <p:grpSpPr>
          <a:xfrm>
            <a:off x="3261140" y="2659329"/>
            <a:ext cx="2686465" cy="1599932"/>
            <a:chOff x="4305490" y="3545771"/>
            <a:chExt cx="3581020" cy="2133243"/>
          </a:xfrm>
        </p:grpSpPr>
        <p:sp>
          <p:nvSpPr>
            <p:cNvPr id="4" name="Rectangle 3"/>
            <p:cNvSpPr/>
            <p:nvPr/>
          </p:nvSpPr>
          <p:spPr bwMode="auto">
            <a:xfrm>
              <a:off x="4305490" y="3545771"/>
              <a:ext cx="3581020" cy="2133243"/>
            </a:xfrm>
            <a:prstGeom prst="rect">
              <a:avLst/>
            </a:prstGeom>
            <a:solidFill>
              <a:schemeClr val="accent1"/>
            </a:solidFill>
            <a:ln>
              <a:noFill/>
              <a:headEnd type="none" w="med" len="med"/>
              <a:tailEnd type="none" w="med" len="med"/>
            </a:ln>
            <a:effectLst/>
          </p:spPr>
          <p:style>
            <a:lnRef idx="2">
              <a:schemeClr val="accent5">
                <a:shade val="50000"/>
              </a:schemeClr>
            </a:lnRef>
            <a:fillRef idx="1">
              <a:schemeClr val="accent5"/>
            </a:fillRef>
            <a:effectRef idx="0">
              <a:schemeClr val="accent5"/>
            </a:effectRef>
            <a:fontRef idx="minor">
              <a:schemeClr val="lt1"/>
            </a:fontRef>
          </p:style>
          <p:txBody>
            <a:bodyPr vert="horz" wrap="square" lIns="182880" tIns="228600" rIns="182880" bIns="45718" numCol="1" rtlCol="0" anchor="t" anchorCtr="0" compatLnSpc="1">
              <a:prstTxWarp prst="textNoShape">
                <a:avLst/>
              </a:prstTxWarp>
            </a:bodyPr>
            <a:lstStyle/>
            <a:p>
              <a:pPr defTabSz="685666" fontAlgn="base">
                <a:lnSpc>
                  <a:spcPct val="90000"/>
                </a:lnSpc>
                <a:spcBef>
                  <a:spcPct val="0"/>
                </a:spcBef>
                <a:spcAft>
                  <a:spcPct val="0"/>
                </a:spcAft>
              </a:pPr>
              <a:r>
                <a:rPr lang="en-US" sz="2100" b="1" spc="-53" dirty="0">
                  <a:gradFill>
                    <a:gsLst>
                      <a:gs pos="0">
                        <a:srgbClr val="FFFFFF"/>
                      </a:gs>
                      <a:gs pos="100000">
                        <a:srgbClr val="FFFFFF"/>
                      </a:gs>
                    </a:gsLst>
                    <a:lin ang="16200000" scaled="0"/>
                  </a:gradFill>
                  <a:latin typeface="Segoe UI Light"/>
                </a:rPr>
                <a:t>JavaScript and </a:t>
              </a:r>
              <a:br>
                <a:rPr lang="en-US" sz="2100" b="1" spc="-53" dirty="0">
                  <a:gradFill>
                    <a:gsLst>
                      <a:gs pos="0">
                        <a:srgbClr val="FFFFFF"/>
                      </a:gs>
                      <a:gs pos="100000">
                        <a:srgbClr val="FFFFFF"/>
                      </a:gs>
                    </a:gsLst>
                    <a:lin ang="16200000" scaled="0"/>
                  </a:gradFill>
                  <a:latin typeface="Segoe UI Light"/>
                </a:rPr>
              </a:br>
              <a:r>
                <a:rPr lang="en-US" sz="2100" b="1" spc="-53" dirty="0">
                  <a:gradFill>
                    <a:gsLst>
                      <a:gs pos="0">
                        <a:srgbClr val="FFFFFF"/>
                      </a:gs>
                      <a:gs pos="100000">
                        <a:srgbClr val="FFFFFF"/>
                      </a:gs>
                    </a:gsLst>
                    <a:lin ang="16200000" scaled="0"/>
                  </a:gradFill>
                  <a:latin typeface="Segoe UI Light"/>
                </a:rPr>
                <a:t>CSS editing, debugging, </a:t>
              </a:r>
              <a:br>
                <a:rPr lang="en-US" sz="2100" b="1" spc="-53" dirty="0">
                  <a:gradFill>
                    <a:gsLst>
                      <a:gs pos="0">
                        <a:srgbClr val="FFFFFF"/>
                      </a:gs>
                      <a:gs pos="100000">
                        <a:srgbClr val="FFFFFF"/>
                      </a:gs>
                    </a:gsLst>
                    <a:lin ang="16200000" scaled="0"/>
                  </a:gradFill>
                  <a:latin typeface="Segoe UI Light"/>
                </a:rPr>
              </a:br>
              <a:r>
                <a:rPr lang="en-US" sz="2100" b="1" spc="-53" dirty="0">
                  <a:gradFill>
                    <a:gsLst>
                      <a:gs pos="0">
                        <a:srgbClr val="FFFFFF"/>
                      </a:gs>
                      <a:gs pos="100000">
                        <a:srgbClr val="FFFFFF"/>
                      </a:gs>
                    </a:gsLst>
                    <a:lin ang="16200000" scaled="0"/>
                  </a:gradFill>
                  <a:latin typeface="Segoe UI Light"/>
                </a:rPr>
                <a:t>and profiling</a:t>
              </a:r>
            </a:p>
          </p:txBody>
        </p:sp>
        <p:grpSp>
          <p:nvGrpSpPr>
            <p:cNvPr id="5" name="Group 4"/>
            <p:cNvGrpSpPr/>
            <p:nvPr/>
          </p:nvGrpSpPr>
          <p:grpSpPr bwMode="black">
            <a:xfrm>
              <a:off x="7133080" y="4935123"/>
              <a:ext cx="493655" cy="504898"/>
              <a:chOff x="307975" y="2063452"/>
              <a:chExt cx="1377950" cy="1409703"/>
            </a:xfrm>
            <a:solidFill>
              <a:srgbClr val="FFFFFF"/>
            </a:solidFill>
          </p:grpSpPr>
          <p:sp>
            <p:nvSpPr>
              <p:cNvPr id="6" name="Freeform 118"/>
              <p:cNvSpPr>
                <a:spLocks/>
              </p:cNvSpPr>
              <p:nvPr/>
            </p:nvSpPr>
            <p:spPr bwMode="black">
              <a:xfrm>
                <a:off x="538164" y="2592091"/>
                <a:ext cx="917575" cy="881064"/>
              </a:xfrm>
              <a:custGeom>
                <a:avLst/>
                <a:gdLst>
                  <a:gd name="T0" fmla="*/ 237 w 245"/>
                  <a:gd name="T1" fmla="*/ 0 h 235"/>
                  <a:gd name="T2" fmla="*/ 218 w 245"/>
                  <a:gd name="T3" fmla="*/ 10 h 235"/>
                  <a:gd name="T4" fmla="*/ 131 w 245"/>
                  <a:gd name="T5" fmla="*/ 30 h 235"/>
                  <a:gd name="T6" fmla="*/ 131 w 245"/>
                  <a:gd name="T7" fmla="*/ 201 h 235"/>
                  <a:gd name="T8" fmla="*/ 115 w 245"/>
                  <a:gd name="T9" fmla="*/ 201 h 235"/>
                  <a:gd name="T10" fmla="*/ 115 w 245"/>
                  <a:gd name="T11" fmla="*/ 30 h 235"/>
                  <a:gd name="T12" fmla="*/ 27 w 245"/>
                  <a:gd name="T13" fmla="*/ 10 h 235"/>
                  <a:gd name="T14" fmla="*/ 9 w 245"/>
                  <a:gd name="T15" fmla="*/ 0 h 235"/>
                  <a:gd name="T16" fmla="*/ 0 w 245"/>
                  <a:gd name="T17" fmla="*/ 67 h 235"/>
                  <a:gd name="T18" fmla="*/ 123 w 245"/>
                  <a:gd name="T19" fmla="*/ 235 h 235"/>
                  <a:gd name="T20" fmla="*/ 245 w 245"/>
                  <a:gd name="T21" fmla="*/ 67 h 235"/>
                  <a:gd name="T22" fmla="*/ 237 w 245"/>
                  <a:gd name="T23"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5" h="235">
                    <a:moveTo>
                      <a:pt x="237" y="0"/>
                    </a:moveTo>
                    <a:cubicBezTo>
                      <a:pt x="232" y="3"/>
                      <a:pt x="226" y="7"/>
                      <a:pt x="218" y="10"/>
                    </a:cubicBezTo>
                    <a:cubicBezTo>
                      <a:pt x="198" y="20"/>
                      <a:pt x="169" y="29"/>
                      <a:pt x="131" y="30"/>
                    </a:cubicBezTo>
                    <a:cubicBezTo>
                      <a:pt x="131" y="201"/>
                      <a:pt x="131" y="201"/>
                      <a:pt x="131" y="201"/>
                    </a:cubicBezTo>
                    <a:cubicBezTo>
                      <a:pt x="115" y="201"/>
                      <a:pt x="115" y="201"/>
                      <a:pt x="115" y="201"/>
                    </a:cubicBezTo>
                    <a:cubicBezTo>
                      <a:pt x="115" y="30"/>
                      <a:pt x="115" y="30"/>
                      <a:pt x="115" y="30"/>
                    </a:cubicBezTo>
                    <a:cubicBezTo>
                      <a:pt x="76" y="29"/>
                      <a:pt x="47" y="20"/>
                      <a:pt x="27" y="10"/>
                    </a:cubicBezTo>
                    <a:cubicBezTo>
                      <a:pt x="19" y="7"/>
                      <a:pt x="13" y="3"/>
                      <a:pt x="9" y="0"/>
                    </a:cubicBezTo>
                    <a:cubicBezTo>
                      <a:pt x="3" y="20"/>
                      <a:pt x="0" y="43"/>
                      <a:pt x="0" y="67"/>
                    </a:cubicBezTo>
                    <a:cubicBezTo>
                      <a:pt x="0" y="149"/>
                      <a:pt x="61" y="235"/>
                      <a:pt x="123" y="235"/>
                    </a:cubicBezTo>
                    <a:cubicBezTo>
                      <a:pt x="184" y="235"/>
                      <a:pt x="245" y="149"/>
                      <a:pt x="245" y="67"/>
                    </a:cubicBezTo>
                    <a:cubicBezTo>
                      <a:pt x="245" y="43"/>
                      <a:pt x="242" y="20"/>
                      <a:pt x="2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a:endParaRPr lang="en-US" sz="1200" dirty="0">
                  <a:gradFill>
                    <a:gsLst>
                      <a:gs pos="0">
                        <a:srgbClr val="FFFFFF"/>
                      </a:gs>
                      <a:gs pos="100000">
                        <a:srgbClr val="FFFFFF"/>
                      </a:gs>
                    </a:gsLst>
                    <a:lin ang="5400000" scaled="0"/>
                  </a:gradFill>
                </a:endParaRPr>
              </a:p>
            </p:txBody>
          </p:sp>
          <p:sp>
            <p:nvSpPr>
              <p:cNvPr id="7" name="Freeform 119"/>
              <p:cNvSpPr>
                <a:spLocks/>
              </p:cNvSpPr>
              <p:nvPr/>
            </p:nvSpPr>
            <p:spPr bwMode="black">
              <a:xfrm>
                <a:off x="579438" y="2478088"/>
                <a:ext cx="3175" cy="7938"/>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1"/>
                      <a:pt x="0" y="2"/>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a:endParaRPr lang="en-US" sz="1200" dirty="0">
                  <a:gradFill>
                    <a:gsLst>
                      <a:gs pos="0">
                        <a:srgbClr val="FFFFFF"/>
                      </a:gs>
                      <a:gs pos="100000">
                        <a:srgbClr val="FFFFFF"/>
                      </a:gs>
                    </a:gsLst>
                    <a:lin ang="5400000" scaled="0"/>
                  </a:gradFill>
                </a:endParaRPr>
              </a:p>
            </p:txBody>
          </p:sp>
          <p:sp>
            <p:nvSpPr>
              <p:cNvPr id="8" name="Freeform 120"/>
              <p:cNvSpPr>
                <a:spLocks/>
              </p:cNvSpPr>
              <p:nvPr/>
            </p:nvSpPr>
            <p:spPr bwMode="black">
              <a:xfrm>
                <a:off x="571500" y="2486025"/>
                <a:ext cx="7938" cy="30163"/>
              </a:xfrm>
              <a:custGeom>
                <a:avLst/>
                <a:gdLst>
                  <a:gd name="T0" fmla="*/ 2 w 2"/>
                  <a:gd name="T1" fmla="*/ 0 h 8"/>
                  <a:gd name="T2" fmla="*/ 0 w 2"/>
                  <a:gd name="T3" fmla="*/ 8 h 8"/>
                  <a:gd name="T4" fmla="*/ 2 w 2"/>
                  <a:gd name="T5" fmla="*/ 0 h 8"/>
                </a:gdLst>
                <a:ahLst/>
                <a:cxnLst>
                  <a:cxn ang="0">
                    <a:pos x="T0" y="T1"/>
                  </a:cxn>
                  <a:cxn ang="0">
                    <a:pos x="T2" y="T3"/>
                  </a:cxn>
                  <a:cxn ang="0">
                    <a:pos x="T4" y="T5"/>
                  </a:cxn>
                </a:cxnLst>
                <a:rect l="0" t="0" r="r" b="b"/>
                <a:pathLst>
                  <a:path w="2" h="8">
                    <a:moveTo>
                      <a:pt x="2" y="0"/>
                    </a:moveTo>
                    <a:cubicBezTo>
                      <a:pt x="1" y="3"/>
                      <a:pt x="0" y="5"/>
                      <a:pt x="0" y="8"/>
                    </a:cubicBezTo>
                    <a:cubicBezTo>
                      <a:pt x="0" y="5"/>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a:endParaRPr lang="en-US" sz="1200" dirty="0">
                  <a:gradFill>
                    <a:gsLst>
                      <a:gs pos="0">
                        <a:srgbClr val="FFFFFF"/>
                      </a:gs>
                      <a:gs pos="100000">
                        <a:srgbClr val="FFFFFF"/>
                      </a:gs>
                    </a:gsLst>
                    <a:lin ang="5400000" scaled="0"/>
                  </a:gradFill>
                </a:endParaRPr>
              </a:p>
            </p:txBody>
          </p:sp>
          <p:sp>
            <p:nvSpPr>
              <p:cNvPr id="9" name="Freeform 121"/>
              <p:cNvSpPr>
                <a:spLocks/>
              </p:cNvSpPr>
              <p:nvPr/>
            </p:nvSpPr>
            <p:spPr bwMode="black">
              <a:xfrm>
                <a:off x="1414463" y="2486025"/>
                <a:ext cx="12700" cy="30163"/>
              </a:xfrm>
              <a:custGeom>
                <a:avLst/>
                <a:gdLst>
                  <a:gd name="T0" fmla="*/ 0 w 3"/>
                  <a:gd name="T1" fmla="*/ 0 h 8"/>
                  <a:gd name="T2" fmla="*/ 3 w 3"/>
                  <a:gd name="T3" fmla="*/ 8 h 8"/>
                  <a:gd name="T4" fmla="*/ 0 w 3"/>
                  <a:gd name="T5" fmla="*/ 0 h 8"/>
                </a:gdLst>
                <a:ahLst/>
                <a:cxnLst>
                  <a:cxn ang="0">
                    <a:pos x="T0" y="T1"/>
                  </a:cxn>
                  <a:cxn ang="0">
                    <a:pos x="T2" y="T3"/>
                  </a:cxn>
                  <a:cxn ang="0">
                    <a:pos x="T4" y="T5"/>
                  </a:cxn>
                </a:cxnLst>
                <a:rect l="0" t="0" r="r" b="b"/>
                <a:pathLst>
                  <a:path w="3" h="8">
                    <a:moveTo>
                      <a:pt x="0" y="0"/>
                    </a:moveTo>
                    <a:cubicBezTo>
                      <a:pt x="1" y="3"/>
                      <a:pt x="2" y="5"/>
                      <a:pt x="3" y="8"/>
                    </a:cubicBezTo>
                    <a:cubicBezTo>
                      <a:pt x="2" y="5"/>
                      <a:pt x="1"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a:endParaRPr lang="en-US" sz="1200" dirty="0">
                  <a:gradFill>
                    <a:gsLst>
                      <a:gs pos="0">
                        <a:srgbClr val="FFFFFF"/>
                      </a:gs>
                      <a:gs pos="100000">
                        <a:srgbClr val="FFFFFF"/>
                      </a:gs>
                    </a:gsLst>
                    <a:lin ang="5400000" scaled="0"/>
                  </a:gradFill>
                </a:endParaRPr>
              </a:p>
            </p:txBody>
          </p:sp>
          <p:sp>
            <p:nvSpPr>
              <p:cNvPr id="10" name="Freeform 122"/>
              <p:cNvSpPr>
                <a:spLocks/>
              </p:cNvSpPr>
              <p:nvPr/>
            </p:nvSpPr>
            <p:spPr bwMode="black">
              <a:xfrm>
                <a:off x="582613" y="2459038"/>
                <a:ext cx="7938" cy="19050"/>
              </a:xfrm>
              <a:custGeom>
                <a:avLst/>
                <a:gdLst>
                  <a:gd name="T0" fmla="*/ 0 w 2"/>
                  <a:gd name="T1" fmla="*/ 5 h 5"/>
                  <a:gd name="T2" fmla="*/ 2 w 2"/>
                  <a:gd name="T3" fmla="*/ 0 h 5"/>
                  <a:gd name="T4" fmla="*/ 2 w 2"/>
                  <a:gd name="T5" fmla="*/ 0 h 5"/>
                  <a:gd name="T6" fmla="*/ 0 w 2"/>
                  <a:gd name="T7" fmla="*/ 5 h 5"/>
                </a:gdLst>
                <a:ahLst/>
                <a:cxnLst>
                  <a:cxn ang="0">
                    <a:pos x="T0" y="T1"/>
                  </a:cxn>
                  <a:cxn ang="0">
                    <a:pos x="T2" y="T3"/>
                  </a:cxn>
                  <a:cxn ang="0">
                    <a:pos x="T4" y="T5"/>
                  </a:cxn>
                  <a:cxn ang="0">
                    <a:pos x="T6" y="T7"/>
                  </a:cxn>
                </a:cxnLst>
                <a:rect l="0" t="0" r="r" b="b"/>
                <a:pathLst>
                  <a:path w="2" h="5">
                    <a:moveTo>
                      <a:pt x="0" y="5"/>
                    </a:moveTo>
                    <a:cubicBezTo>
                      <a:pt x="1" y="4"/>
                      <a:pt x="1" y="2"/>
                      <a:pt x="2" y="0"/>
                    </a:cubicBezTo>
                    <a:cubicBezTo>
                      <a:pt x="2" y="0"/>
                      <a:pt x="2" y="0"/>
                      <a:pt x="2" y="0"/>
                    </a:cubicBezTo>
                    <a:cubicBezTo>
                      <a:pt x="1" y="2"/>
                      <a:pt x="1" y="4"/>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a:endParaRPr lang="en-US" sz="1200" dirty="0">
                  <a:gradFill>
                    <a:gsLst>
                      <a:gs pos="0">
                        <a:srgbClr val="FFFFFF"/>
                      </a:gs>
                      <a:gs pos="100000">
                        <a:srgbClr val="FFFFFF"/>
                      </a:gs>
                    </a:gsLst>
                    <a:lin ang="5400000" scaled="0"/>
                  </a:gradFill>
                </a:endParaRPr>
              </a:p>
            </p:txBody>
          </p:sp>
          <p:sp>
            <p:nvSpPr>
              <p:cNvPr id="11" name="Freeform 123"/>
              <p:cNvSpPr>
                <a:spLocks/>
              </p:cNvSpPr>
              <p:nvPr/>
            </p:nvSpPr>
            <p:spPr bwMode="black">
              <a:xfrm>
                <a:off x="1411288" y="2478088"/>
                <a:ext cx="3175" cy="7938"/>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1" y="1"/>
                      <a:pt x="1" y="2"/>
                    </a:cubicBezTo>
                    <a:cubicBezTo>
                      <a:pt x="1"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a:endParaRPr lang="en-US" sz="1200" dirty="0">
                  <a:gradFill>
                    <a:gsLst>
                      <a:gs pos="0">
                        <a:srgbClr val="FFFFFF"/>
                      </a:gs>
                      <a:gs pos="100000">
                        <a:srgbClr val="FFFFFF"/>
                      </a:gs>
                    </a:gsLst>
                    <a:lin ang="5400000" scaled="0"/>
                  </a:gradFill>
                </a:endParaRPr>
              </a:p>
            </p:txBody>
          </p:sp>
          <p:sp>
            <p:nvSpPr>
              <p:cNvPr id="12" name="Freeform 124"/>
              <p:cNvSpPr>
                <a:spLocks noEditPoints="1"/>
              </p:cNvSpPr>
              <p:nvPr/>
            </p:nvSpPr>
            <p:spPr bwMode="black">
              <a:xfrm>
                <a:off x="590549" y="2299989"/>
                <a:ext cx="812799" cy="344489"/>
              </a:xfrm>
              <a:custGeom>
                <a:avLst/>
                <a:gdLst>
                  <a:gd name="T0" fmla="*/ 109 w 217"/>
                  <a:gd name="T1" fmla="*/ 0 h 92"/>
                  <a:gd name="T2" fmla="*/ 0 w 217"/>
                  <a:gd name="T3" fmla="*/ 63 h 92"/>
                  <a:gd name="T4" fmla="*/ 19 w 217"/>
                  <a:gd name="T5" fmla="*/ 74 h 92"/>
                  <a:gd name="T6" fmla="*/ 109 w 217"/>
                  <a:gd name="T7" fmla="*/ 92 h 92"/>
                  <a:gd name="T8" fmla="*/ 196 w 217"/>
                  <a:gd name="T9" fmla="*/ 74 h 92"/>
                  <a:gd name="T10" fmla="*/ 217 w 217"/>
                  <a:gd name="T11" fmla="*/ 63 h 92"/>
                  <a:gd name="T12" fmla="*/ 109 w 217"/>
                  <a:gd name="T13" fmla="*/ 0 h 92"/>
                  <a:gd name="T14" fmla="*/ 45 w 217"/>
                  <a:gd name="T15" fmla="*/ 47 h 92"/>
                  <a:gd name="T16" fmla="*/ 31 w 217"/>
                  <a:gd name="T17" fmla="*/ 33 h 92"/>
                  <a:gd name="T18" fmla="*/ 45 w 217"/>
                  <a:gd name="T19" fmla="*/ 20 h 92"/>
                  <a:gd name="T20" fmla="*/ 59 w 217"/>
                  <a:gd name="T21" fmla="*/ 33 h 92"/>
                  <a:gd name="T22" fmla="*/ 45 w 217"/>
                  <a:gd name="T23" fmla="*/ 47 h 92"/>
                  <a:gd name="T24" fmla="*/ 172 w 217"/>
                  <a:gd name="T25" fmla="*/ 47 h 92"/>
                  <a:gd name="T26" fmla="*/ 158 w 217"/>
                  <a:gd name="T27" fmla="*/ 33 h 92"/>
                  <a:gd name="T28" fmla="*/ 172 w 217"/>
                  <a:gd name="T29" fmla="*/ 20 h 92"/>
                  <a:gd name="T30" fmla="*/ 186 w 217"/>
                  <a:gd name="T31" fmla="*/ 33 h 92"/>
                  <a:gd name="T32" fmla="*/ 172 w 217"/>
                  <a:gd name="T33" fmla="*/ 47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7" h="92">
                    <a:moveTo>
                      <a:pt x="109" y="0"/>
                    </a:moveTo>
                    <a:cubicBezTo>
                      <a:pt x="49" y="0"/>
                      <a:pt x="16" y="25"/>
                      <a:pt x="0" y="63"/>
                    </a:cubicBezTo>
                    <a:cubicBezTo>
                      <a:pt x="5" y="66"/>
                      <a:pt x="11" y="70"/>
                      <a:pt x="19" y="74"/>
                    </a:cubicBezTo>
                    <a:cubicBezTo>
                      <a:pt x="39" y="83"/>
                      <a:pt x="68" y="92"/>
                      <a:pt x="109" y="92"/>
                    </a:cubicBezTo>
                    <a:cubicBezTo>
                      <a:pt x="148" y="92"/>
                      <a:pt x="177" y="83"/>
                      <a:pt x="196" y="74"/>
                    </a:cubicBezTo>
                    <a:cubicBezTo>
                      <a:pt x="205" y="70"/>
                      <a:pt x="212" y="66"/>
                      <a:pt x="217" y="63"/>
                    </a:cubicBezTo>
                    <a:cubicBezTo>
                      <a:pt x="201" y="25"/>
                      <a:pt x="168" y="0"/>
                      <a:pt x="109" y="0"/>
                    </a:cubicBezTo>
                    <a:close/>
                    <a:moveTo>
                      <a:pt x="45" y="47"/>
                    </a:moveTo>
                    <a:cubicBezTo>
                      <a:pt x="37" y="47"/>
                      <a:pt x="31" y="41"/>
                      <a:pt x="31" y="33"/>
                    </a:cubicBezTo>
                    <a:cubicBezTo>
                      <a:pt x="31" y="26"/>
                      <a:pt x="37" y="20"/>
                      <a:pt x="45" y="20"/>
                    </a:cubicBezTo>
                    <a:cubicBezTo>
                      <a:pt x="53" y="20"/>
                      <a:pt x="59" y="26"/>
                      <a:pt x="59" y="33"/>
                    </a:cubicBezTo>
                    <a:cubicBezTo>
                      <a:pt x="59" y="41"/>
                      <a:pt x="53" y="47"/>
                      <a:pt x="45" y="47"/>
                    </a:cubicBezTo>
                    <a:close/>
                    <a:moveTo>
                      <a:pt x="172" y="47"/>
                    </a:moveTo>
                    <a:cubicBezTo>
                      <a:pt x="164" y="47"/>
                      <a:pt x="158" y="41"/>
                      <a:pt x="158" y="33"/>
                    </a:cubicBezTo>
                    <a:cubicBezTo>
                      <a:pt x="158" y="26"/>
                      <a:pt x="164" y="20"/>
                      <a:pt x="172" y="20"/>
                    </a:cubicBezTo>
                    <a:cubicBezTo>
                      <a:pt x="180" y="20"/>
                      <a:pt x="186" y="26"/>
                      <a:pt x="186" y="33"/>
                    </a:cubicBezTo>
                    <a:cubicBezTo>
                      <a:pt x="186" y="41"/>
                      <a:pt x="180" y="47"/>
                      <a:pt x="172"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a:endParaRPr lang="en-US" sz="1200" dirty="0">
                  <a:gradFill>
                    <a:gsLst>
                      <a:gs pos="0">
                        <a:srgbClr val="FFFFFF"/>
                      </a:gs>
                      <a:gs pos="100000">
                        <a:srgbClr val="FFFFFF"/>
                      </a:gs>
                    </a:gsLst>
                    <a:lin ang="5400000" scaled="0"/>
                  </a:gradFill>
                </a:endParaRPr>
              </a:p>
            </p:txBody>
          </p:sp>
          <p:sp>
            <p:nvSpPr>
              <p:cNvPr id="13" name="Freeform 125"/>
              <p:cNvSpPr>
                <a:spLocks/>
              </p:cNvSpPr>
              <p:nvPr/>
            </p:nvSpPr>
            <p:spPr bwMode="black">
              <a:xfrm>
                <a:off x="1403350" y="2459038"/>
                <a:ext cx="7938" cy="19050"/>
              </a:xfrm>
              <a:custGeom>
                <a:avLst/>
                <a:gdLst>
                  <a:gd name="T0" fmla="*/ 0 w 2"/>
                  <a:gd name="T1" fmla="*/ 0 h 5"/>
                  <a:gd name="T2" fmla="*/ 0 w 2"/>
                  <a:gd name="T3" fmla="*/ 0 h 5"/>
                  <a:gd name="T4" fmla="*/ 2 w 2"/>
                  <a:gd name="T5" fmla="*/ 5 h 5"/>
                  <a:gd name="T6" fmla="*/ 0 w 2"/>
                  <a:gd name="T7" fmla="*/ 0 h 5"/>
                </a:gdLst>
                <a:ahLst/>
                <a:cxnLst>
                  <a:cxn ang="0">
                    <a:pos x="T0" y="T1"/>
                  </a:cxn>
                  <a:cxn ang="0">
                    <a:pos x="T2" y="T3"/>
                  </a:cxn>
                  <a:cxn ang="0">
                    <a:pos x="T4" y="T5"/>
                  </a:cxn>
                  <a:cxn ang="0">
                    <a:pos x="T6" y="T7"/>
                  </a:cxn>
                </a:cxnLst>
                <a:rect l="0" t="0" r="r" b="b"/>
                <a:pathLst>
                  <a:path w="2" h="5">
                    <a:moveTo>
                      <a:pt x="0" y="0"/>
                    </a:moveTo>
                    <a:cubicBezTo>
                      <a:pt x="0" y="0"/>
                      <a:pt x="0" y="0"/>
                      <a:pt x="0" y="0"/>
                    </a:cubicBezTo>
                    <a:cubicBezTo>
                      <a:pt x="1" y="2"/>
                      <a:pt x="1" y="3"/>
                      <a:pt x="2" y="5"/>
                    </a:cubicBezTo>
                    <a:cubicBezTo>
                      <a:pt x="2" y="3"/>
                      <a:pt x="1"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a:endParaRPr lang="en-US" sz="1200" dirty="0">
                  <a:gradFill>
                    <a:gsLst>
                      <a:gs pos="0">
                        <a:srgbClr val="FFFFFF"/>
                      </a:gs>
                      <a:gs pos="100000">
                        <a:srgbClr val="FFFFFF"/>
                      </a:gs>
                    </a:gsLst>
                    <a:lin ang="5400000" scaled="0"/>
                  </a:gradFill>
                </a:endParaRPr>
              </a:p>
            </p:txBody>
          </p:sp>
          <p:sp>
            <p:nvSpPr>
              <p:cNvPr id="14" name="Freeform 126"/>
              <p:cNvSpPr>
                <a:spLocks/>
              </p:cNvSpPr>
              <p:nvPr/>
            </p:nvSpPr>
            <p:spPr bwMode="black">
              <a:xfrm>
                <a:off x="750888" y="2079730"/>
                <a:ext cx="492127" cy="269875"/>
              </a:xfrm>
              <a:custGeom>
                <a:avLst/>
                <a:gdLst>
                  <a:gd name="T0" fmla="*/ 2 w 131"/>
                  <a:gd name="T1" fmla="*/ 11 h 72"/>
                  <a:gd name="T2" fmla="*/ 61 w 131"/>
                  <a:gd name="T3" fmla="*/ 70 h 72"/>
                  <a:gd name="T4" fmla="*/ 66 w 131"/>
                  <a:gd name="T5" fmla="*/ 72 h 72"/>
                  <a:gd name="T6" fmla="*/ 70 w 131"/>
                  <a:gd name="T7" fmla="*/ 70 h 72"/>
                  <a:gd name="T8" fmla="*/ 129 w 131"/>
                  <a:gd name="T9" fmla="*/ 11 h 72"/>
                  <a:gd name="T10" fmla="*/ 129 w 131"/>
                  <a:gd name="T11" fmla="*/ 2 h 72"/>
                  <a:gd name="T12" fmla="*/ 121 w 131"/>
                  <a:gd name="T13" fmla="*/ 2 h 72"/>
                  <a:gd name="T14" fmla="*/ 66 w 131"/>
                  <a:gd name="T15" fmla="*/ 57 h 72"/>
                  <a:gd name="T16" fmla="*/ 10 w 131"/>
                  <a:gd name="T17" fmla="*/ 2 h 72"/>
                  <a:gd name="T18" fmla="*/ 2 w 131"/>
                  <a:gd name="T19" fmla="*/ 2 h 72"/>
                  <a:gd name="T20" fmla="*/ 2 w 131"/>
                  <a:gd name="T21" fmla="*/ 1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72">
                    <a:moveTo>
                      <a:pt x="2" y="11"/>
                    </a:moveTo>
                    <a:cubicBezTo>
                      <a:pt x="61" y="70"/>
                      <a:pt x="61" y="70"/>
                      <a:pt x="61" y="70"/>
                    </a:cubicBezTo>
                    <a:cubicBezTo>
                      <a:pt x="62" y="71"/>
                      <a:pt x="64" y="72"/>
                      <a:pt x="66" y="72"/>
                    </a:cubicBezTo>
                    <a:cubicBezTo>
                      <a:pt x="67" y="72"/>
                      <a:pt x="69" y="71"/>
                      <a:pt x="70" y="70"/>
                    </a:cubicBezTo>
                    <a:cubicBezTo>
                      <a:pt x="129" y="11"/>
                      <a:pt x="129" y="11"/>
                      <a:pt x="129" y="11"/>
                    </a:cubicBezTo>
                    <a:cubicBezTo>
                      <a:pt x="131" y="8"/>
                      <a:pt x="131" y="5"/>
                      <a:pt x="129" y="2"/>
                    </a:cubicBezTo>
                    <a:cubicBezTo>
                      <a:pt x="127" y="0"/>
                      <a:pt x="123" y="0"/>
                      <a:pt x="121" y="2"/>
                    </a:cubicBezTo>
                    <a:cubicBezTo>
                      <a:pt x="66" y="57"/>
                      <a:pt x="66" y="57"/>
                      <a:pt x="66" y="57"/>
                    </a:cubicBezTo>
                    <a:cubicBezTo>
                      <a:pt x="10" y="2"/>
                      <a:pt x="10" y="2"/>
                      <a:pt x="10" y="2"/>
                    </a:cubicBezTo>
                    <a:cubicBezTo>
                      <a:pt x="8" y="0"/>
                      <a:pt x="4" y="0"/>
                      <a:pt x="2" y="2"/>
                    </a:cubicBezTo>
                    <a:cubicBezTo>
                      <a:pt x="0" y="5"/>
                      <a:pt x="0" y="8"/>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a:endParaRPr lang="en-US" sz="1200" dirty="0">
                  <a:gradFill>
                    <a:gsLst>
                      <a:gs pos="0">
                        <a:srgbClr val="FFFFFF"/>
                      </a:gs>
                      <a:gs pos="100000">
                        <a:srgbClr val="FFFFFF"/>
                      </a:gs>
                    </a:gsLst>
                    <a:lin ang="5400000" scaled="0"/>
                  </a:gradFill>
                </a:endParaRPr>
              </a:p>
            </p:txBody>
          </p:sp>
          <p:sp>
            <p:nvSpPr>
              <p:cNvPr id="15" name="Oval 127"/>
              <p:cNvSpPr>
                <a:spLocks noChangeArrowheads="1"/>
              </p:cNvSpPr>
              <p:nvPr/>
            </p:nvSpPr>
            <p:spPr bwMode="black">
              <a:xfrm>
                <a:off x="731839" y="2063452"/>
                <a:ext cx="87311"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a:endParaRPr lang="en-US" sz="1200" dirty="0">
                  <a:gradFill>
                    <a:gsLst>
                      <a:gs pos="0">
                        <a:srgbClr val="FFFFFF"/>
                      </a:gs>
                      <a:gs pos="100000">
                        <a:srgbClr val="FFFFFF"/>
                      </a:gs>
                    </a:gsLst>
                    <a:lin ang="5400000" scaled="0"/>
                  </a:gradFill>
                </a:endParaRPr>
              </a:p>
            </p:txBody>
          </p:sp>
          <p:sp>
            <p:nvSpPr>
              <p:cNvPr id="16" name="Oval 128"/>
              <p:cNvSpPr>
                <a:spLocks noChangeArrowheads="1"/>
              </p:cNvSpPr>
              <p:nvPr/>
            </p:nvSpPr>
            <p:spPr bwMode="black">
              <a:xfrm>
                <a:off x="1174749" y="2063452"/>
                <a:ext cx="87311"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a:endParaRPr lang="en-US" sz="1200" dirty="0">
                  <a:gradFill>
                    <a:gsLst>
                      <a:gs pos="0">
                        <a:srgbClr val="FFFFFF"/>
                      </a:gs>
                      <a:gs pos="100000">
                        <a:srgbClr val="FFFFFF"/>
                      </a:gs>
                    </a:gsLst>
                    <a:lin ang="5400000" scaled="0"/>
                  </a:gradFill>
                </a:endParaRPr>
              </a:p>
            </p:txBody>
          </p:sp>
          <p:sp>
            <p:nvSpPr>
              <p:cNvPr id="17" name="Freeform 129"/>
              <p:cNvSpPr>
                <a:spLocks/>
              </p:cNvSpPr>
              <p:nvPr/>
            </p:nvSpPr>
            <p:spPr bwMode="black">
              <a:xfrm>
                <a:off x="342901" y="2625427"/>
                <a:ext cx="404812" cy="206374"/>
              </a:xfrm>
              <a:custGeom>
                <a:avLst/>
                <a:gdLst>
                  <a:gd name="T0" fmla="*/ 101 w 108"/>
                  <a:gd name="T1" fmla="*/ 34 h 55"/>
                  <a:gd name="T2" fmla="*/ 14 w 108"/>
                  <a:gd name="T3" fmla="*/ 2 h 55"/>
                  <a:gd name="T4" fmla="*/ 1 w 108"/>
                  <a:gd name="T5" fmla="*/ 8 h 55"/>
                  <a:gd name="T6" fmla="*/ 7 w 108"/>
                  <a:gd name="T7" fmla="*/ 21 h 55"/>
                  <a:gd name="T8" fmla="*/ 94 w 108"/>
                  <a:gd name="T9" fmla="*/ 53 h 55"/>
                  <a:gd name="T10" fmla="*/ 107 w 108"/>
                  <a:gd name="T11" fmla="*/ 47 h 55"/>
                  <a:gd name="T12" fmla="*/ 101 w 108"/>
                  <a:gd name="T13" fmla="*/ 34 h 55"/>
                </a:gdLst>
                <a:ahLst/>
                <a:cxnLst>
                  <a:cxn ang="0">
                    <a:pos x="T0" y="T1"/>
                  </a:cxn>
                  <a:cxn ang="0">
                    <a:pos x="T2" y="T3"/>
                  </a:cxn>
                  <a:cxn ang="0">
                    <a:pos x="T4" y="T5"/>
                  </a:cxn>
                  <a:cxn ang="0">
                    <a:pos x="T6" y="T7"/>
                  </a:cxn>
                  <a:cxn ang="0">
                    <a:pos x="T8" y="T9"/>
                  </a:cxn>
                  <a:cxn ang="0">
                    <a:pos x="T10" y="T11"/>
                  </a:cxn>
                  <a:cxn ang="0">
                    <a:pos x="T12" y="T13"/>
                  </a:cxn>
                </a:cxnLst>
                <a:rect l="0" t="0" r="r" b="b"/>
                <a:pathLst>
                  <a:path w="108" h="55">
                    <a:moveTo>
                      <a:pt x="101" y="34"/>
                    </a:moveTo>
                    <a:cubicBezTo>
                      <a:pt x="14" y="2"/>
                      <a:pt x="14" y="2"/>
                      <a:pt x="14" y="2"/>
                    </a:cubicBezTo>
                    <a:cubicBezTo>
                      <a:pt x="9" y="0"/>
                      <a:pt x="3" y="3"/>
                      <a:pt x="1" y="8"/>
                    </a:cubicBezTo>
                    <a:cubicBezTo>
                      <a:pt x="0" y="13"/>
                      <a:pt x="2" y="19"/>
                      <a:pt x="7" y="21"/>
                    </a:cubicBezTo>
                    <a:cubicBezTo>
                      <a:pt x="94" y="53"/>
                      <a:pt x="94" y="53"/>
                      <a:pt x="94" y="53"/>
                    </a:cubicBezTo>
                    <a:cubicBezTo>
                      <a:pt x="99" y="55"/>
                      <a:pt x="105" y="52"/>
                      <a:pt x="107" y="47"/>
                    </a:cubicBezTo>
                    <a:cubicBezTo>
                      <a:pt x="108" y="42"/>
                      <a:pt x="106" y="36"/>
                      <a:pt x="101"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a:endParaRPr lang="en-US" sz="1200" dirty="0">
                  <a:gradFill>
                    <a:gsLst>
                      <a:gs pos="0">
                        <a:srgbClr val="FFFFFF"/>
                      </a:gs>
                      <a:gs pos="100000">
                        <a:srgbClr val="FFFFFF"/>
                      </a:gs>
                    </a:gsLst>
                    <a:lin ang="5400000" scaled="0"/>
                  </a:gradFill>
                </a:endParaRPr>
              </a:p>
            </p:txBody>
          </p:sp>
          <p:sp>
            <p:nvSpPr>
              <p:cNvPr id="18" name="Freeform 130"/>
              <p:cNvSpPr>
                <a:spLocks/>
              </p:cNvSpPr>
              <p:nvPr/>
            </p:nvSpPr>
            <p:spPr bwMode="black">
              <a:xfrm>
                <a:off x="390524" y="3139778"/>
                <a:ext cx="409574" cy="201613"/>
              </a:xfrm>
              <a:custGeom>
                <a:avLst/>
                <a:gdLst>
                  <a:gd name="T0" fmla="*/ 95 w 109"/>
                  <a:gd name="T1" fmla="*/ 2 h 54"/>
                  <a:gd name="T2" fmla="*/ 8 w 109"/>
                  <a:gd name="T3" fmla="*/ 34 h 54"/>
                  <a:gd name="T4" fmla="*/ 2 w 109"/>
                  <a:gd name="T5" fmla="*/ 47 h 54"/>
                  <a:gd name="T6" fmla="*/ 15 w 109"/>
                  <a:gd name="T7" fmla="*/ 53 h 54"/>
                  <a:gd name="T8" fmla="*/ 102 w 109"/>
                  <a:gd name="T9" fmla="*/ 20 h 54"/>
                  <a:gd name="T10" fmla="*/ 107 w 109"/>
                  <a:gd name="T11" fmla="*/ 8 h 54"/>
                  <a:gd name="T12" fmla="*/ 95 w 109"/>
                  <a:gd name="T13" fmla="*/ 2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95" y="2"/>
                    </a:moveTo>
                    <a:cubicBezTo>
                      <a:pt x="8" y="34"/>
                      <a:pt x="8" y="34"/>
                      <a:pt x="8" y="34"/>
                    </a:cubicBezTo>
                    <a:cubicBezTo>
                      <a:pt x="3" y="36"/>
                      <a:pt x="0" y="41"/>
                      <a:pt x="2" y="47"/>
                    </a:cubicBezTo>
                    <a:cubicBezTo>
                      <a:pt x="4" y="52"/>
                      <a:pt x="10" y="54"/>
                      <a:pt x="15" y="53"/>
                    </a:cubicBezTo>
                    <a:cubicBezTo>
                      <a:pt x="102" y="20"/>
                      <a:pt x="102" y="20"/>
                      <a:pt x="102" y="20"/>
                    </a:cubicBezTo>
                    <a:cubicBezTo>
                      <a:pt x="107" y="19"/>
                      <a:pt x="109" y="13"/>
                      <a:pt x="107" y="8"/>
                    </a:cubicBezTo>
                    <a:cubicBezTo>
                      <a:pt x="106" y="2"/>
                      <a:pt x="100" y="0"/>
                      <a:pt x="9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a:endParaRPr lang="en-US" sz="1200" dirty="0">
                  <a:gradFill>
                    <a:gsLst>
                      <a:gs pos="0">
                        <a:srgbClr val="FFFFFF"/>
                      </a:gs>
                      <a:gs pos="100000">
                        <a:srgbClr val="FFFFFF"/>
                      </a:gs>
                    </a:gsLst>
                    <a:lin ang="5400000" scaled="0"/>
                  </a:gradFill>
                </a:endParaRPr>
              </a:p>
            </p:txBody>
          </p:sp>
          <p:sp>
            <p:nvSpPr>
              <p:cNvPr id="19" name="Freeform 131"/>
              <p:cNvSpPr>
                <a:spLocks/>
              </p:cNvSpPr>
              <p:nvPr/>
            </p:nvSpPr>
            <p:spPr bwMode="black">
              <a:xfrm>
                <a:off x="307975" y="2958804"/>
                <a:ext cx="428626" cy="76201"/>
              </a:xfrm>
              <a:custGeom>
                <a:avLst/>
                <a:gdLst>
                  <a:gd name="T0" fmla="*/ 104 w 114"/>
                  <a:gd name="T1" fmla="*/ 0 h 20"/>
                  <a:gd name="T2" fmla="*/ 10 w 114"/>
                  <a:gd name="T3" fmla="*/ 0 h 20"/>
                  <a:gd name="T4" fmla="*/ 0 w 114"/>
                  <a:gd name="T5" fmla="*/ 10 h 20"/>
                  <a:gd name="T6" fmla="*/ 10 w 114"/>
                  <a:gd name="T7" fmla="*/ 20 h 20"/>
                  <a:gd name="T8" fmla="*/ 104 w 114"/>
                  <a:gd name="T9" fmla="*/ 20 h 20"/>
                  <a:gd name="T10" fmla="*/ 114 w 114"/>
                  <a:gd name="T11" fmla="*/ 10 h 20"/>
                  <a:gd name="T12" fmla="*/ 104 w 114"/>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4" y="0"/>
                    </a:moveTo>
                    <a:cubicBezTo>
                      <a:pt x="10" y="0"/>
                      <a:pt x="10" y="0"/>
                      <a:pt x="10" y="0"/>
                    </a:cubicBezTo>
                    <a:cubicBezTo>
                      <a:pt x="5" y="0"/>
                      <a:pt x="0" y="4"/>
                      <a:pt x="0" y="10"/>
                    </a:cubicBezTo>
                    <a:cubicBezTo>
                      <a:pt x="0" y="15"/>
                      <a:pt x="5" y="20"/>
                      <a:pt x="10" y="20"/>
                    </a:cubicBezTo>
                    <a:cubicBezTo>
                      <a:pt x="104" y="20"/>
                      <a:pt x="104" y="20"/>
                      <a:pt x="104" y="20"/>
                    </a:cubicBezTo>
                    <a:cubicBezTo>
                      <a:pt x="110" y="20"/>
                      <a:pt x="114" y="15"/>
                      <a:pt x="114" y="10"/>
                    </a:cubicBezTo>
                    <a:cubicBezTo>
                      <a:pt x="114" y="4"/>
                      <a:pt x="110" y="0"/>
                      <a:pt x="10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a:endParaRPr lang="en-US" sz="1200" dirty="0">
                  <a:gradFill>
                    <a:gsLst>
                      <a:gs pos="0">
                        <a:srgbClr val="FFFFFF"/>
                      </a:gs>
                      <a:gs pos="100000">
                        <a:srgbClr val="FFFFFF"/>
                      </a:gs>
                    </a:gsLst>
                    <a:lin ang="5400000" scaled="0"/>
                  </a:gradFill>
                </a:endParaRPr>
              </a:p>
            </p:txBody>
          </p:sp>
          <p:sp>
            <p:nvSpPr>
              <p:cNvPr id="20" name="Freeform 132"/>
              <p:cNvSpPr>
                <a:spLocks/>
              </p:cNvSpPr>
              <p:nvPr/>
            </p:nvSpPr>
            <p:spPr bwMode="black">
              <a:xfrm>
                <a:off x="1246187" y="2625427"/>
                <a:ext cx="409574" cy="206374"/>
              </a:xfrm>
              <a:custGeom>
                <a:avLst/>
                <a:gdLst>
                  <a:gd name="T0" fmla="*/ 14 w 109"/>
                  <a:gd name="T1" fmla="*/ 53 h 55"/>
                  <a:gd name="T2" fmla="*/ 101 w 109"/>
                  <a:gd name="T3" fmla="*/ 21 h 55"/>
                  <a:gd name="T4" fmla="*/ 107 w 109"/>
                  <a:gd name="T5" fmla="*/ 8 h 55"/>
                  <a:gd name="T6" fmla="*/ 94 w 109"/>
                  <a:gd name="T7" fmla="*/ 2 h 55"/>
                  <a:gd name="T8" fmla="*/ 7 w 109"/>
                  <a:gd name="T9" fmla="*/ 34 h 55"/>
                  <a:gd name="T10" fmla="*/ 2 w 109"/>
                  <a:gd name="T11" fmla="*/ 47 h 55"/>
                  <a:gd name="T12" fmla="*/ 14 w 109"/>
                  <a:gd name="T13" fmla="*/ 53 h 55"/>
                </a:gdLst>
                <a:ahLst/>
                <a:cxnLst>
                  <a:cxn ang="0">
                    <a:pos x="T0" y="T1"/>
                  </a:cxn>
                  <a:cxn ang="0">
                    <a:pos x="T2" y="T3"/>
                  </a:cxn>
                  <a:cxn ang="0">
                    <a:pos x="T4" y="T5"/>
                  </a:cxn>
                  <a:cxn ang="0">
                    <a:pos x="T6" y="T7"/>
                  </a:cxn>
                  <a:cxn ang="0">
                    <a:pos x="T8" y="T9"/>
                  </a:cxn>
                  <a:cxn ang="0">
                    <a:pos x="T10" y="T11"/>
                  </a:cxn>
                  <a:cxn ang="0">
                    <a:pos x="T12" y="T13"/>
                  </a:cxn>
                </a:cxnLst>
                <a:rect l="0" t="0" r="r" b="b"/>
                <a:pathLst>
                  <a:path w="109" h="55">
                    <a:moveTo>
                      <a:pt x="14" y="53"/>
                    </a:moveTo>
                    <a:cubicBezTo>
                      <a:pt x="101" y="21"/>
                      <a:pt x="101" y="21"/>
                      <a:pt x="101" y="21"/>
                    </a:cubicBezTo>
                    <a:cubicBezTo>
                      <a:pt x="106" y="19"/>
                      <a:pt x="109" y="13"/>
                      <a:pt x="107" y="8"/>
                    </a:cubicBezTo>
                    <a:cubicBezTo>
                      <a:pt x="105" y="3"/>
                      <a:pt x="99" y="0"/>
                      <a:pt x="94" y="2"/>
                    </a:cubicBezTo>
                    <a:cubicBezTo>
                      <a:pt x="7" y="34"/>
                      <a:pt x="7" y="34"/>
                      <a:pt x="7" y="34"/>
                    </a:cubicBezTo>
                    <a:cubicBezTo>
                      <a:pt x="2" y="36"/>
                      <a:pt x="0" y="42"/>
                      <a:pt x="2" y="47"/>
                    </a:cubicBezTo>
                    <a:cubicBezTo>
                      <a:pt x="3" y="52"/>
                      <a:pt x="9" y="55"/>
                      <a:pt x="14"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a:endParaRPr lang="en-US" sz="1200" dirty="0">
                  <a:gradFill>
                    <a:gsLst>
                      <a:gs pos="0">
                        <a:srgbClr val="FFFFFF"/>
                      </a:gs>
                      <a:gs pos="100000">
                        <a:srgbClr val="FFFFFF"/>
                      </a:gs>
                    </a:gsLst>
                    <a:lin ang="5400000" scaled="0"/>
                  </a:gradFill>
                </a:endParaRPr>
              </a:p>
            </p:txBody>
          </p:sp>
          <p:sp>
            <p:nvSpPr>
              <p:cNvPr id="21" name="Freeform 133"/>
              <p:cNvSpPr>
                <a:spLocks/>
              </p:cNvSpPr>
              <p:nvPr/>
            </p:nvSpPr>
            <p:spPr bwMode="black">
              <a:xfrm>
                <a:off x="1193802" y="3139778"/>
                <a:ext cx="409574" cy="201613"/>
              </a:xfrm>
              <a:custGeom>
                <a:avLst/>
                <a:gdLst>
                  <a:gd name="T0" fmla="*/ 8 w 109"/>
                  <a:gd name="T1" fmla="*/ 20 h 54"/>
                  <a:gd name="T2" fmla="*/ 94 w 109"/>
                  <a:gd name="T3" fmla="*/ 53 h 54"/>
                  <a:gd name="T4" fmla="*/ 107 w 109"/>
                  <a:gd name="T5" fmla="*/ 47 h 54"/>
                  <a:gd name="T6" fmla="*/ 101 w 109"/>
                  <a:gd name="T7" fmla="*/ 34 h 54"/>
                  <a:gd name="T8" fmla="*/ 14 w 109"/>
                  <a:gd name="T9" fmla="*/ 2 h 54"/>
                  <a:gd name="T10" fmla="*/ 2 w 109"/>
                  <a:gd name="T11" fmla="*/ 8 h 54"/>
                  <a:gd name="T12" fmla="*/ 8 w 109"/>
                  <a:gd name="T13" fmla="*/ 20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8" y="20"/>
                    </a:moveTo>
                    <a:cubicBezTo>
                      <a:pt x="94" y="53"/>
                      <a:pt x="94" y="53"/>
                      <a:pt x="94" y="53"/>
                    </a:cubicBezTo>
                    <a:cubicBezTo>
                      <a:pt x="99" y="54"/>
                      <a:pt x="105" y="52"/>
                      <a:pt x="107" y="47"/>
                    </a:cubicBezTo>
                    <a:cubicBezTo>
                      <a:pt x="109" y="41"/>
                      <a:pt x="106" y="36"/>
                      <a:pt x="101" y="34"/>
                    </a:cubicBezTo>
                    <a:cubicBezTo>
                      <a:pt x="14" y="2"/>
                      <a:pt x="14" y="2"/>
                      <a:pt x="14" y="2"/>
                    </a:cubicBezTo>
                    <a:cubicBezTo>
                      <a:pt x="9" y="0"/>
                      <a:pt x="4" y="2"/>
                      <a:pt x="2" y="8"/>
                    </a:cubicBezTo>
                    <a:cubicBezTo>
                      <a:pt x="0" y="13"/>
                      <a:pt x="2" y="19"/>
                      <a:pt x="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a:endParaRPr lang="en-US" sz="1200" dirty="0">
                  <a:gradFill>
                    <a:gsLst>
                      <a:gs pos="0">
                        <a:srgbClr val="FFFFFF"/>
                      </a:gs>
                      <a:gs pos="100000">
                        <a:srgbClr val="FFFFFF"/>
                      </a:gs>
                    </a:gsLst>
                    <a:lin ang="5400000" scaled="0"/>
                  </a:gradFill>
                </a:endParaRPr>
              </a:p>
            </p:txBody>
          </p:sp>
          <p:sp>
            <p:nvSpPr>
              <p:cNvPr id="22" name="Freeform 134"/>
              <p:cNvSpPr>
                <a:spLocks/>
              </p:cNvSpPr>
              <p:nvPr/>
            </p:nvSpPr>
            <p:spPr bwMode="black">
              <a:xfrm>
                <a:off x="1257299" y="2958804"/>
                <a:ext cx="428626" cy="76201"/>
              </a:xfrm>
              <a:custGeom>
                <a:avLst/>
                <a:gdLst>
                  <a:gd name="T0" fmla="*/ 10 w 114"/>
                  <a:gd name="T1" fmla="*/ 20 h 20"/>
                  <a:gd name="T2" fmla="*/ 104 w 114"/>
                  <a:gd name="T3" fmla="*/ 20 h 20"/>
                  <a:gd name="T4" fmla="*/ 114 w 114"/>
                  <a:gd name="T5" fmla="*/ 10 h 20"/>
                  <a:gd name="T6" fmla="*/ 104 w 114"/>
                  <a:gd name="T7" fmla="*/ 0 h 20"/>
                  <a:gd name="T8" fmla="*/ 10 w 114"/>
                  <a:gd name="T9" fmla="*/ 0 h 20"/>
                  <a:gd name="T10" fmla="*/ 0 w 114"/>
                  <a:gd name="T11" fmla="*/ 10 h 20"/>
                  <a:gd name="T12" fmla="*/ 10 w 11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 y="20"/>
                    </a:moveTo>
                    <a:cubicBezTo>
                      <a:pt x="104" y="20"/>
                      <a:pt x="104" y="20"/>
                      <a:pt x="104" y="20"/>
                    </a:cubicBezTo>
                    <a:cubicBezTo>
                      <a:pt x="109" y="20"/>
                      <a:pt x="114" y="15"/>
                      <a:pt x="114" y="10"/>
                    </a:cubicBezTo>
                    <a:cubicBezTo>
                      <a:pt x="114" y="4"/>
                      <a:pt x="109" y="0"/>
                      <a:pt x="104" y="0"/>
                    </a:cubicBezTo>
                    <a:cubicBezTo>
                      <a:pt x="10" y="0"/>
                      <a:pt x="10" y="0"/>
                      <a:pt x="10" y="0"/>
                    </a:cubicBezTo>
                    <a:cubicBezTo>
                      <a:pt x="4" y="0"/>
                      <a:pt x="0" y="4"/>
                      <a:pt x="0" y="10"/>
                    </a:cubicBezTo>
                    <a:cubicBezTo>
                      <a:pt x="0" y="15"/>
                      <a:pt x="4" y="20"/>
                      <a:pt x="1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a:endParaRPr lang="en-US" sz="1200" dirty="0">
                  <a:gradFill>
                    <a:gsLst>
                      <a:gs pos="0">
                        <a:srgbClr val="FFFFFF"/>
                      </a:gs>
                      <a:gs pos="100000">
                        <a:srgbClr val="FFFFFF"/>
                      </a:gs>
                    </a:gsLst>
                    <a:lin ang="5400000" scaled="0"/>
                  </a:gradFill>
                </a:endParaRPr>
              </a:p>
            </p:txBody>
          </p:sp>
        </p:grpSp>
      </p:grpSp>
      <p:grpSp>
        <p:nvGrpSpPr>
          <p:cNvPr id="23" name="Group 22"/>
          <p:cNvGrpSpPr/>
          <p:nvPr/>
        </p:nvGrpSpPr>
        <p:grpSpPr>
          <a:xfrm>
            <a:off x="3261140" y="934147"/>
            <a:ext cx="2686465" cy="1599932"/>
            <a:chOff x="4305490" y="1245528"/>
            <a:chExt cx="3581020" cy="2133243"/>
          </a:xfrm>
        </p:grpSpPr>
        <p:sp>
          <p:nvSpPr>
            <p:cNvPr id="24" name="Rectangle 23"/>
            <p:cNvSpPr/>
            <p:nvPr/>
          </p:nvSpPr>
          <p:spPr bwMode="auto">
            <a:xfrm>
              <a:off x="4305490" y="1245528"/>
              <a:ext cx="3581020" cy="2133243"/>
            </a:xfrm>
            <a:prstGeom prst="rect">
              <a:avLst/>
            </a:prstGeom>
            <a:solidFill>
              <a:schemeClr val="accent1"/>
            </a:solidFill>
            <a:ln w="25400" cap="flat" cmpd="sng" algn="ctr">
              <a:noFill/>
              <a:prstDash val="solid"/>
              <a:headEnd type="none" w="med" len="med"/>
              <a:tailEnd type="none" w="med" len="med"/>
            </a:ln>
            <a:effectLst/>
          </p:spPr>
          <p:style>
            <a:lnRef idx="2">
              <a:schemeClr val="accent5">
                <a:shade val="50000"/>
              </a:schemeClr>
            </a:lnRef>
            <a:fillRef idx="1">
              <a:schemeClr val="accent5"/>
            </a:fillRef>
            <a:effectRef idx="0">
              <a:schemeClr val="accent5"/>
            </a:effectRef>
            <a:fontRef idx="minor">
              <a:schemeClr val="lt1"/>
            </a:fontRef>
          </p:style>
          <p:txBody>
            <a:bodyPr vert="horz" wrap="square" lIns="182880" tIns="228600" rIns="182880" bIns="45718" numCol="1" rtlCol="0" anchor="t" anchorCtr="0" compatLnSpc="1">
              <a:prstTxWarp prst="textNoShape">
                <a:avLst/>
              </a:prstTxWarp>
            </a:bodyPr>
            <a:lstStyle/>
            <a:p>
              <a:pPr defTabSz="685666" fontAlgn="base">
                <a:lnSpc>
                  <a:spcPct val="90000"/>
                </a:lnSpc>
                <a:spcBef>
                  <a:spcPct val="0"/>
                </a:spcBef>
                <a:spcAft>
                  <a:spcPct val="0"/>
                </a:spcAft>
              </a:pPr>
              <a:r>
                <a:rPr lang="en-US" sz="2100" b="1" spc="-53" dirty="0">
                  <a:gradFill>
                    <a:gsLst>
                      <a:gs pos="0">
                        <a:srgbClr val="FFFFFF"/>
                      </a:gs>
                      <a:gs pos="100000">
                        <a:srgbClr val="FFFFFF"/>
                      </a:gs>
                    </a:gsLst>
                    <a:lin ang="16200000" scaled="0"/>
                  </a:gradFill>
                  <a:latin typeface="Segoe UI Light"/>
                </a:rPr>
                <a:t>Create Windows applications</a:t>
              </a:r>
            </a:p>
          </p:txBody>
        </p:sp>
        <p:sp>
          <p:nvSpPr>
            <p:cNvPr id="25" name="Freeform 84"/>
            <p:cNvSpPr>
              <a:spLocks noEditPoints="1"/>
            </p:cNvSpPr>
            <p:nvPr/>
          </p:nvSpPr>
          <p:spPr bwMode="black">
            <a:xfrm>
              <a:off x="7208381" y="2639671"/>
              <a:ext cx="418354" cy="500107"/>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FFFFF"/>
            </a:solidFill>
            <a:ln>
              <a:noFill/>
            </a:ln>
          </p:spPr>
          <p:txBody>
            <a:bodyPr vert="horz" wrap="square" lIns="0" tIns="41153" rIns="82305" bIns="41153" numCol="1" anchor="t" anchorCtr="0" compatLnSpc="1">
              <a:prstTxWarp prst="textNoShape">
                <a:avLst/>
              </a:prstTxWarp>
            </a:bodyPr>
            <a:lstStyle/>
            <a:p>
              <a:pPr algn="ctr"/>
              <a:endParaRPr lang="en-US" sz="1200" dirty="0">
                <a:gradFill>
                  <a:gsLst>
                    <a:gs pos="0">
                      <a:srgbClr val="FFFFFF"/>
                    </a:gs>
                    <a:gs pos="100000">
                      <a:srgbClr val="FFFFFF"/>
                    </a:gs>
                  </a:gsLst>
                  <a:lin ang="5400000" scaled="0"/>
                </a:gradFill>
              </a:endParaRPr>
            </a:p>
          </p:txBody>
        </p:sp>
      </p:grpSp>
      <p:grpSp>
        <p:nvGrpSpPr>
          <p:cNvPr id="26" name="Group 25"/>
          <p:cNvGrpSpPr/>
          <p:nvPr/>
        </p:nvGrpSpPr>
        <p:grpSpPr>
          <a:xfrm>
            <a:off x="6066994" y="934147"/>
            <a:ext cx="2686465" cy="1599932"/>
            <a:chOff x="8087219" y="1245528"/>
            <a:chExt cx="3581020" cy="2133243"/>
          </a:xfrm>
        </p:grpSpPr>
        <p:sp>
          <p:nvSpPr>
            <p:cNvPr id="27" name="Rectangle 26"/>
            <p:cNvSpPr/>
            <p:nvPr/>
          </p:nvSpPr>
          <p:spPr bwMode="auto">
            <a:xfrm>
              <a:off x="8087219" y="1245528"/>
              <a:ext cx="3581020" cy="2133243"/>
            </a:xfrm>
            <a:prstGeom prst="rect">
              <a:avLst/>
            </a:prstGeom>
            <a:solidFill>
              <a:schemeClr val="accent2"/>
            </a:solidFill>
            <a:ln w="25400" cap="flat" cmpd="sng" algn="ctr">
              <a:noFill/>
              <a:prstDash val="solid"/>
              <a:headEnd type="none" w="med" len="med"/>
              <a:tailEnd type="none" w="med" len="med"/>
            </a:ln>
            <a:effectLst/>
          </p:spPr>
          <p:style>
            <a:lnRef idx="2">
              <a:schemeClr val="accent5">
                <a:shade val="50000"/>
              </a:schemeClr>
            </a:lnRef>
            <a:fillRef idx="1">
              <a:schemeClr val="accent5"/>
            </a:fillRef>
            <a:effectRef idx="0">
              <a:schemeClr val="accent5"/>
            </a:effectRef>
            <a:fontRef idx="minor">
              <a:schemeClr val="lt1"/>
            </a:fontRef>
          </p:style>
          <p:txBody>
            <a:bodyPr vert="horz" wrap="square" lIns="182880" tIns="228600" rIns="182880" bIns="45718" numCol="1" rtlCol="0" anchor="t" anchorCtr="0" compatLnSpc="1">
              <a:prstTxWarp prst="textNoShape">
                <a:avLst/>
              </a:prstTxWarp>
            </a:bodyPr>
            <a:lstStyle/>
            <a:p>
              <a:pPr defTabSz="685666" fontAlgn="base">
                <a:lnSpc>
                  <a:spcPct val="90000"/>
                </a:lnSpc>
                <a:spcBef>
                  <a:spcPct val="0"/>
                </a:spcBef>
                <a:spcAft>
                  <a:spcPct val="0"/>
                </a:spcAft>
              </a:pPr>
              <a:r>
                <a:rPr lang="en-US" sz="2100" b="1" spc="-53" dirty="0">
                  <a:gradFill>
                    <a:gsLst>
                      <a:gs pos="0">
                        <a:srgbClr val="FFFFFF"/>
                      </a:gs>
                      <a:gs pos="100000">
                        <a:srgbClr val="FFFFFF"/>
                      </a:gs>
                    </a:gsLst>
                    <a:lin ang="16200000" scaled="0"/>
                  </a:gradFill>
                  <a:latin typeface="Segoe UI Light"/>
                </a:rPr>
                <a:t>Internet </a:t>
              </a:r>
              <a:br>
                <a:rPr lang="en-US" sz="2100" b="1" spc="-53" dirty="0">
                  <a:gradFill>
                    <a:gsLst>
                      <a:gs pos="0">
                        <a:srgbClr val="FFFFFF"/>
                      </a:gs>
                      <a:gs pos="100000">
                        <a:srgbClr val="FFFFFF"/>
                      </a:gs>
                    </a:gsLst>
                    <a:lin ang="16200000" scaled="0"/>
                  </a:gradFill>
                  <a:latin typeface="Segoe UI Light"/>
                </a:rPr>
              </a:br>
              <a:r>
                <a:rPr lang="en-US" sz="2100" b="1" spc="-53" dirty="0">
                  <a:gradFill>
                    <a:gsLst>
                      <a:gs pos="0">
                        <a:srgbClr val="FFFFFF"/>
                      </a:gs>
                      <a:gs pos="100000">
                        <a:srgbClr val="FFFFFF"/>
                      </a:gs>
                    </a:gsLst>
                    <a:lin ang="16200000" scaled="0"/>
                  </a:gradFill>
                  <a:latin typeface="Segoe UI Light"/>
                </a:rPr>
                <a:t>Explorer 10</a:t>
              </a:r>
            </a:p>
          </p:txBody>
        </p:sp>
        <p:sp>
          <p:nvSpPr>
            <p:cNvPr id="28" name="Freeform 8"/>
            <p:cNvSpPr>
              <a:spLocks noChangeAspect="1" noEditPoints="1"/>
            </p:cNvSpPr>
            <p:nvPr/>
          </p:nvSpPr>
          <p:spPr bwMode="auto">
            <a:xfrm>
              <a:off x="10884911" y="2654203"/>
              <a:ext cx="523553" cy="485575"/>
            </a:xfrm>
            <a:custGeom>
              <a:avLst/>
              <a:gdLst>
                <a:gd name="T0" fmla="*/ 1525 w 4000"/>
                <a:gd name="T1" fmla="*/ 3418 h 3694"/>
                <a:gd name="T2" fmla="*/ 1514 w 4000"/>
                <a:gd name="T3" fmla="*/ 3413 h 3694"/>
                <a:gd name="T4" fmla="*/ 1525 w 4000"/>
                <a:gd name="T5" fmla="*/ 3418 h 3694"/>
                <a:gd name="T6" fmla="*/ 892 w 4000"/>
                <a:gd name="T7" fmla="*/ 3565 h 3694"/>
                <a:gd name="T8" fmla="*/ 631 w 4000"/>
                <a:gd name="T9" fmla="*/ 3471 h 3694"/>
                <a:gd name="T10" fmla="*/ 729 w 4000"/>
                <a:gd name="T11" fmla="*/ 2483 h 3694"/>
                <a:gd name="T12" fmla="*/ 1235 w 4000"/>
                <a:gd name="T13" fmla="*/ 3226 h 3694"/>
                <a:gd name="T14" fmla="*/ 1468 w 4000"/>
                <a:gd name="T15" fmla="*/ 3388 h 3694"/>
                <a:gd name="T16" fmla="*/ 892 w 4000"/>
                <a:gd name="T17" fmla="*/ 3565 h 3694"/>
                <a:gd name="T18" fmla="*/ 3778 w 4000"/>
                <a:gd name="T19" fmla="*/ 1085 h 3694"/>
                <a:gd name="T20" fmla="*/ 3776 w 4000"/>
                <a:gd name="T21" fmla="*/ 1081 h 3694"/>
                <a:gd name="T22" fmla="*/ 3778 w 4000"/>
                <a:gd name="T23" fmla="*/ 1085 h 3694"/>
                <a:gd name="T24" fmla="*/ 1595 w 4000"/>
                <a:gd name="T25" fmla="*/ 1689 h 3694"/>
                <a:gd name="T26" fmla="*/ 1596 w 4000"/>
                <a:gd name="T27" fmla="*/ 1672 h 3694"/>
                <a:gd name="T28" fmla="*/ 2353 w 4000"/>
                <a:gd name="T29" fmla="*/ 996 h 3694"/>
                <a:gd name="T30" fmla="*/ 3055 w 4000"/>
                <a:gd name="T31" fmla="*/ 1672 h 3694"/>
                <a:gd name="T32" fmla="*/ 3056 w 4000"/>
                <a:gd name="T33" fmla="*/ 1689 h 3694"/>
                <a:gd name="T34" fmla="*/ 3039 w 4000"/>
                <a:gd name="T35" fmla="*/ 1689 h 3694"/>
                <a:gd name="T36" fmla="*/ 1612 w 4000"/>
                <a:gd name="T37" fmla="*/ 1689 h 3694"/>
                <a:gd name="T38" fmla="*/ 1595 w 4000"/>
                <a:gd name="T39" fmla="*/ 1689 h 3694"/>
                <a:gd name="T40" fmla="*/ 3749 w 4000"/>
                <a:gd name="T41" fmla="*/ 1037 h 3694"/>
                <a:gd name="T42" fmla="*/ 3481 w 4000"/>
                <a:gd name="T43" fmla="*/ 710 h 3694"/>
                <a:gd name="T44" fmla="*/ 2919 w 4000"/>
                <a:gd name="T45" fmla="*/ 363 h 3694"/>
                <a:gd name="T46" fmla="*/ 3458 w 4000"/>
                <a:gd name="T47" fmla="*/ 221 h 3694"/>
                <a:gd name="T48" fmla="*/ 3770 w 4000"/>
                <a:gd name="T49" fmla="*/ 333 h 3694"/>
                <a:gd name="T50" fmla="*/ 3749 w 4000"/>
                <a:gd name="T51" fmla="*/ 1037 h 3694"/>
                <a:gd name="T52" fmla="*/ 3750 w 4000"/>
                <a:gd name="T53" fmla="*/ 1038 h 3694"/>
                <a:gd name="T54" fmla="*/ 3749 w 4000"/>
                <a:gd name="T55" fmla="*/ 1037 h 3694"/>
                <a:gd name="T56" fmla="*/ 3749 w 4000"/>
                <a:gd name="T57" fmla="*/ 1037 h 3694"/>
                <a:gd name="T58" fmla="*/ 3352 w 4000"/>
                <a:gd name="T59" fmla="*/ 0 h 3694"/>
                <a:gd name="T60" fmla="*/ 2396 w 4000"/>
                <a:gd name="T61" fmla="*/ 256 h 3694"/>
                <a:gd name="T62" fmla="*/ 2321 w 4000"/>
                <a:gd name="T63" fmla="*/ 254 h 3694"/>
                <a:gd name="T64" fmla="*/ 1186 w 4000"/>
                <a:gd name="T65" fmla="*/ 679 h 3694"/>
                <a:gd name="T66" fmla="*/ 662 w 4000"/>
                <a:gd name="T67" fmla="*/ 1561 h 3694"/>
                <a:gd name="T68" fmla="*/ 1424 w 4000"/>
                <a:gd name="T69" fmla="*/ 891 h 3694"/>
                <a:gd name="T70" fmla="*/ 1534 w 4000"/>
                <a:gd name="T71" fmla="*/ 836 h 3694"/>
                <a:gd name="T72" fmla="*/ 1534 w 4000"/>
                <a:gd name="T73" fmla="*/ 836 h 3694"/>
                <a:gd name="T74" fmla="*/ 1534 w 4000"/>
                <a:gd name="T75" fmla="*/ 836 h 3694"/>
                <a:gd name="T76" fmla="*/ 1310 w 4000"/>
                <a:gd name="T77" fmla="*/ 1046 h 3694"/>
                <a:gd name="T78" fmla="*/ 371 w 4000"/>
                <a:gd name="T79" fmla="*/ 3541 h 3694"/>
                <a:gd name="T80" fmla="*/ 784 w 4000"/>
                <a:gd name="T81" fmla="*/ 3694 h 3694"/>
                <a:gd name="T82" fmla="*/ 1582 w 4000"/>
                <a:gd name="T83" fmla="*/ 3446 h 3694"/>
                <a:gd name="T84" fmla="*/ 2321 w 4000"/>
                <a:gd name="T85" fmla="*/ 3602 h 3694"/>
                <a:gd name="T86" fmla="*/ 3280 w 4000"/>
                <a:gd name="T87" fmla="*/ 3321 h 3694"/>
                <a:gd name="T88" fmla="*/ 3914 w 4000"/>
                <a:gd name="T89" fmla="*/ 2497 h 3694"/>
                <a:gd name="T90" fmla="*/ 3001 w 4000"/>
                <a:gd name="T91" fmla="*/ 2497 h 3694"/>
                <a:gd name="T92" fmla="*/ 2330 w 4000"/>
                <a:gd name="T93" fmla="*/ 2876 h 3694"/>
                <a:gd name="T94" fmla="*/ 1597 w 4000"/>
                <a:gd name="T95" fmla="*/ 2168 h 3694"/>
                <a:gd name="T96" fmla="*/ 1595 w 4000"/>
                <a:gd name="T97" fmla="*/ 2153 h 3694"/>
                <a:gd name="T98" fmla="*/ 1593 w 4000"/>
                <a:gd name="T99" fmla="*/ 2134 h 3694"/>
                <a:gd name="T100" fmla="*/ 1612 w 4000"/>
                <a:gd name="T101" fmla="*/ 2134 h 3694"/>
                <a:gd name="T102" fmla="*/ 3980 w 4000"/>
                <a:gd name="T103" fmla="*/ 2134 h 3694"/>
                <a:gd name="T104" fmla="*/ 3984 w 4000"/>
                <a:gd name="T105" fmla="*/ 2097 h 3694"/>
                <a:gd name="T106" fmla="*/ 3996 w 4000"/>
                <a:gd name="T107" fmla="*/ 1920 h 3694"/>
                <a:gd name="T108" fmla="*/ 3802 w 4000"/>
                <a:gd name="T109" fmla="*/ 1129 h 3694"/>
                <a:gd name="T110" fmla="*/ 3788 w 4000"/>
                <a:gd name="T111" fmla="*/ 141 h 3694"/>
                <a:gd name="T112" fmla="*/ 3352 w 4000"/>
                <a:gd name="T113" fmla="*/ 0 h 3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00" h="3694">
                  <a:moveTo>
                    <a:pt x="1525" y="3418"/>
                  </a:moveTo>
                  <a:cubicBezTo>
                    <a:pt x="1521" y="3416"/>
                    <a:pt x="1518" y="3415"/>
                    <a:pt x="1514" y="3413"/>
                  </a:cubicBezTo>
                  <a:cubicBezTo>
                    <a:pt x="1518" y="3415"/>
                    <a:pt x="1521" y="3416"/>
                    <a:pt x="1525" y="3418"/>
                  </a:cubicBezTo>
                  <a:moveTo>
                    <a:pt x="892" y="3565"/>
                  </a:moveTo>
                  <a:cubicBezTo>
                    <a:pt x="784" y="3565"/>
                    <a:pt x="695" y="3535"/>
                    <a:pt x="631" y="3471"/>
                  </a:cubicBezTo>
                  <a:cubicBezTo>
                    <a:pt x="447" y="3288"/>
                    <a:pt x="498" y="2922"/>
                    <a:pt x="729" y="2483"/>
                  </a:cubicBezTo>
                  <a:cubicBezTo>
                    <a:pt x="836" y="2781"/>
                    <a:pt x="1009" y="3036"/>
                    <a:pt x="1235" y="3226"/>
                  </a:cubicBezTo>
                  <a:cubicBezTo>
                    <a:pt x="1308" y="3287"/>
                    <a:pt x="1385" y="3341"/>
                    <a:pt x="1468" y="3388"/>
                  </a:cubicBezTo>
                  <a:cubicBezTo>
                    <a:pt x="1245" y="3503"/>
                    <a:pt x="1048" y="3565"/>
                    <a:pt x="892" y="3565"/>
                  </a:cubicBezTo>
                  <a:moveTo>
                    <a:pt x="3778" y="1085"/>
                  </a:moveTo>
                  <a:cubicBezTo>
                    <a:pt x="3777" y="1084"/>
                    <a:pt x="3777" y="1082"/>
                    <a:pt x="3776" y="1081"/>
                  </a:cubicBezTo>
                  <a:cubicBezTo>
                    <a:pt x="3777" y="1082"/>
                    <a:pt x="3777" y="1084"/>
                    <a:pt x="3778" y="1085"/>
                  </a:cubicBezTo>
                  <a:moveTo>
                    <a:pt x="1595" y="1689"/>
                  </a:moveTo>
                  <a:cubicBezTo>
                    <a:pt x="1596" y="1672"/>
                    <a:pt x="1596" y="1672"/>
                    <a:pt x="1596" y="1672"/>
                  </a:cubicBezTo>
                  <a:cubicBezTo>
                    <a:pt x="1615" y="1305"/>
                    <a:pt x="1961" y="996"/>
                    <a:pt x="2353" y="996"/>
                  </a:cubicBezTo>
                  <a:cubicBezTo>
                    <a:pt x="2728" y="996"/>
                    <a:pt x="3037" y="1293"/>
                    <a:pt x="3055" y="1672"/>
                  </a:cubicBezTo>
                  <a:cubicBezTo>
                    <a:pt x="3056" y="1689"/>
                    <a:pt x="3056" y="1689"/>
                    <a:pt x="3056" y="1689"/>
                  </a:cubicBezTo>
                  <a:cubicBezTo>
                    <a:pt x="3039" y="1689"/>
                    <a:pt x="3039" y="1689"/>
                    <a:pt x="3039" y="1689"/>
                  </a:cubicBezTo>
                  <a:cubicBezTo>
                    <a:pt x="1612" y="1689"/>
                    <a:pt x="1612" y="1689"/>
                    <a:pt x="1612" y="1689"/>
                  </a:cubicBezTo>
                  <a:cubicBezTo>
                    <a:pt x="1595" y="1689"/>
                    <a:pt x="1595" y="1689"/>
                    <a:pt x="1595" y="1689"/>
                  </a:cubicBezTo>
                  <a:moveTo>
                    <a:pt x="3749" y="1037"/>
                  </a:moveTo>
                  <a:cubicBezTo>
                    <a:pt x="3676" y="918"/>
                    <a:pt x="3586" y="808"/>
                    <a:pt x="3481" y="710"/>
                  </a:cubicBezTo>
                  <a:cubicBezTo>
                    <a:pt x="3319" y="559"/>
                    <a:pt x="3127" y="441"/>
                    <a:pt x="2919" y="363"/>
                  </a:cubicBezTo>
                  <a:cubicBezTo>
                    <a:pt x="3122" y="271"/>
                    <a:pt x="3306" y="221"/>
                    <a:pt x="3458" y="221"/>
                  </a:cubicBezTo>
                  <a:cubicBezTo>
                    <a:pt x="3588" y="221"/>
                    <a:pt x="3694" y="257"/>
                    <a:pt x="3770" y="333"/>
                  </a:cubicBezTo>
                  <a:cubicBezTo>
                    <a:pt x="3906" y="470"/>
                    <a:pt x="3889" y="722"/>
                    <a:pt x="3749" y="1037"/>
                  </a:cubicBezTo>
                  <a:cubicBezTo>
                    <a:pt x="3750" y="1037"/>
                    <a:pt x="3750" y="1037"/>
                    <a:pt x="3750" y="1038"/>
                  </a:cubicBezTo>
                  <a:cubicBezTo>
                    <a:pt x="3749" y="1037"/>
                    <a:pt x="3749" y="1037"/>
                    <a:pt x="3749" y="1037"/>
                  </a:cubicBezTo>
                  <a:cubicBezTo>
                    <a:pt x="3749" y="1037"/>
                    <a:pt x="3749" y="1037"/>
                    <a:pt x="3749" y="1037"/>
                  </a:cubicBezTo>
                  <a:moveTo>
                    <a:pt x="3352" y="0"/>
                  </a:moveTo>
                  <a:cubicBezTo>
                    <a:pt x="3084" y="0"/>
                    <a:pt x="2744" y="92"/>
                    <a:pt x="2396" y="256"/>
                  </a:cubicBezTo>
                  <a:cubicBezTo>
                    <a:pt x="2371" y="255"/>
                    <a:pt x="2346" y="254"/>
                    <a:pt x="2321" y="254"/>
                  </a:cubicBezTo>
                  <a:cubicBezTo>
                    <a:pt x="1901" y="254"/>
                    <a:pt x="1495" y="405"/>
                    <a:pt x="1186" y="679"/>
                  </a:cubicBezTo>
                  <a:cubicBezTo>
                    <a:pt x="927" y="910"/>
                    <a:pt x="746" y="1217"/>
                    <a:pt x="662" y="1561"/>
                  </a:cubicBezTo>
                  <a:cubicBezTo>
                    <a:pt x="721" y="1490"/>
                    <a:pt x="1051" y="1101"/>
                    <a:pt x="1424" y="891"/>
                  </a:cubicBezTo>
                  <a:cubicBezTo>
                    <a:pt x="1432" y="887"/>
                    <a:pt x="1526" y="838"/>
                    <a:pt x="1534" y="836"/>
                  </a:cubicBezTo>
                  <a:cubicBezTo>
                    <a:pt x="1534" y="836"/>
                    <a:pt x="1534" y="836"/>
                    <a:pt x="1534" y="836"/>
                  </a:cubicBezTo>
                  <a:cubicBezTo>
                    <a:pt x="1534" y="836"/>
                    <a:pt x="1534" y="836"/>
                    <a:pt x="1534" y="836"/>
                  </a:cubicBezTo>
                  <a:cubicBezTo>
                    <a:pt x="1528" y="842"/>
                    <a:pt x="1343" y="1013"/>
                    <a:pt x="1310" y="1046"/>
                  </a:cubicBezTo>
                  <a:cubicBezTo>
                    <a:pt x="482" y="1882"/>
                    <a:pt x="0" y="3160"/>
                    <a:pt x="371" y="3541"/>
                  </a:cubicBezTo>
                  <a:cubicBezTo>
                    <a:pt x="475" y="3646"/>
                    <a:pt x="617" y="3694"/>
                    <a:pt x="784" y="3694"/>
                  </a:cubicBezTo>
                  <a:cubicBezTo>
                    <a:pt x="1010" y="3694"/>
                    <a:pt x="1284" y="3606"/>
                    <a:pt x="1582" y="3446"/>
                  </a:cubicBezTo>
                  <a:cubicBezTo>
                    <a:pt x="1804" y="3549"/>
                    <a:pt x="2054" y="3602"/>
                    <a:pt x="2321" y="3602"/>
                  </a:cubicBezTo>
                  <a:cubicBezTo>
                    <a:pt x="2672" y="3602"/>
                    <a:pt x="3004" y="3505"/>
                    <a:pt x="3280" y="3321"/>
                  </a:cubicBezTo>
                  <a:cubicBezTo>
                    <a:pt x="3570" y="3127"/>
                    <a:pt x="3789" y="2843"/>
                    <a:pt x="3914" y="2497"/>
                  </a:cubicBezTo>
                  <a:cubicBezTo>
                    <a:pt x="3001" y="2497"/>
                    <a:pt x="3001" y="2497"/>
                    <a:pt x="3001" y="2497"/>
                  </a:cubicBezTo>
                  <a:cubicBezTo>
                    <a:pt x="2884" y="2721"/>
                    <a:pt x="2609" y="2876"/>
                    <a:pt x="2330" y="2876"/>
                  </a:cubicBezTo>
                  <a:cubicBezTo>
                    <a:pt x="1933" y="2876"/>
                    <a:pt x="1597" y="2552"/>
                    <a:pt x="1597" y="2168"/>
                  </a:cubicBezTo>
                  <a:cubicBezTo>
                    <a:pt x="1595" y="2153"/>
                    <a:pt x="1595" y="2153"/>
                    <a:pt x="1595" y="2153"/>
                  </a:cubicBezTo>
                  <a:cubicBezTo>
                    <a:pt x="1593" y="2134"/>
                    <a:pt x="1593" y="2134"/>
                    <a:pt x="1593" y="2134"/>
                  </a:cubicBezTo>
                  <a:cubicBezTo>
                    <a:pt x="1612" y="2134"/>
                    <a:pt x="1612" y="2134"/>
                    <a:pt x="1612" y="2134"/>
                  </a:cubicBezTo>
                  <a:cubicBezTo>
                    <a:pt x="3980" y="2134"/>
                    <a:pt x="3980" y="2134"/>
                    <a:pt x="3980" y="2134"/>
                  </a:cubicBezTo>
                  <a:cubicBezTo>
                    <a:pt x="3981" y="2123"/>
                    <a:pt x="3983" y="2110"/>
                    <a:pt x="3984" y="2097"/>
                  </a:cubicBezTo>
                  <a:cubicBezTo>
                    <a:pt x="3989" y="2038"/>
                    <a:pt x="3996" y="1972"/>
                    <a:pt x="3996" y="1920"/>
                  </a:cubicBezTo>
                  <a:cubicBezTo>
                    <a:pt x="3996" y="1636"/>
                    <a:pt x="3929" y="1366"/>
                    <a:pt x="3802" y="1129"/>
                  </a:cubicBezTo>
                  <a:cubicBezTo>
                    <a:pt x="3987" y="708"/>
                    <a:pt x="4000" y="353"/>
                    <a:pt x="3788" y="141"/>
                  </a:cubicBezTo>
                  <a:cubicBezTo>
                    <a:pt x="3693" y="45"/>
                    <a:pt x="3540" y="0"/>
                    <a:pt x="3352" y="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685864"/>
              <a:endParaRPr lang="en-US" dirty="0">
                <a:solidFill>
                  <a:srgbClr val="292929"/>
                </a:solidFill>
              </a:endParaRPr>
            </a:p>
          </p:txBody>
        </p:sp>
      </p:grpSp>
      <p:grpSp>
        <p:nvGrpSpPr>
          <p:cNvPr id="29" name="Group 28"/>
          <p:cNvGrpSpPr/>
          <p:nvPr/>
        </p:nvGrpSpPr>
        <p:grpSpPr>
          <a:xfrm>
            <a:off x="6066994" y="2659329"/>
            <a:ext cx="2686465" cy="1599932"/>
            <a:chOff x="8087219" y="3545771"/>
            <a:chExt cx="3581020" cy="2133243"/>
          </a:xfrm>
        </p:grpSpPr>
        <p:sp>
          <p:nvSpPr>
            <p:cNvPr id="30" name="Rectangle 29"/>
            <p:cNvSpPr/>
            <p:nvPr/>
          </p:nvSpPr>
          <p:spPr bwMode="auto">
            <a:xfrm>
              <a:off x="8087219" y="3545771"/>
              <a:ext cx="3581020" cy="2133243"/>
            </a:xfrm>
            <a:prstGeom prst="rect">
              <a:avLst/>
            </a:prstGeom>
            <a:solidFill>
              <a:schemeClr val="accent2"/>
            </a:solidFill>
            <a:ln w="25400" cap="flat" cmpd="sng" algn="ctr">
              <a:noFill/>
              <a:prstDash val="solid"/>
              <a:headEnd type="none" w="med" len="med"/>
              <a:tailEnd type="none" w="med" len="med"/>
            </a:ln>
            <a:effectLst/>
          </p:spPr>
          <p:style>
            <a:lnRef idx="2">
              <a:schemeClr val="accent5">
                <a:shade val="50000"/>
              </a:schemeClr>
            </a:lnRef>
            <a:fillRef idx="1">
              <a:schemeClr val="accent5"/>
            </a:fillRef>
            <a:effectRef idx="0">
              <a:schemeClr val="accent5"/>
            </a:effectRef>
            <a:fontRef idx="minor">
              <a:schemeClr val="lt1"/>
            </a:fontRef>
          </p:style>
          <p:txBody>
            <a:bodyPr vert="horz" wrap="square" lIns="182880" tIns="228600" rIns="182880" bIns="45718" numCol="1" rtlCol="0" anchor="t" anchorCtr="0" compatLnSpc="1">
              <a:prstTxWarp prst="textNoShape">
                <a:avLst/>
              </a:prstTxWarp>
            </a:bodyPr>
            <a:lstStyle/>
            <a:p>
              <a:pPr defTabSz="685666" fontAlgn="base">
                <a:lnSpc>
                  <a:spcPct val="90000"/>
                </a:lnSpc>
                <a:spcBef>
                  <a:spcPct val="0"/>
                </a:spcBef>
                <a:spcAft>
                  <a:spcPct val="0"/>
                </a:spcAft>
              </a:pPr>
              <a:r>
                <a:rPr lang="en-US" sz="2100" b="1" spc="-53" dirty="0">
                  <a:gradFill>
                    <a:gsLst>
                      <a:gs pos="0">
                        <a:srgbClr val="FFFFFF"/>
                      </a:gs>
                      <a:gs pos="100000">
                        <a:srgbClr val="FFFFFF"/>
                      </a:gs>
                    </a:gsLst>
                    <a:lin ang="16200000" scaled="0"/>
                  </a:gradFill>
                  <a:latin typeface="Segoe UI Light"/>
                </a:rPr>
                <a:t>Use HTML5 </a:t>
              </a:r>
              <a:br>
                <a:rPr lang="en-US" sz="2100" b="1" spc="-53" dirty="0">
                  <a:gradFill>
                    <a:gsLst>
                      <a:gs pos="0">
                        <a:srgbClr val="FFFFFF"/>
                      </a:gs>
                      <a:gs pos="100000">
                        <a:srgbClr val="FFFFFF"/>
                      </a:gs>
                    </a:gsLst>
                    <a:lin ang="16200000" scaled="0"/>
                  </a:gradFill>
                  <a:latin typeface="Segoe UI Light"/>
                </a:rPr>
              </a:br>
              <a:r>
                <a:rPr lang="en-US" sz="2100" b="1" spc="-53" dirty="0">
                  <a:gradFill>
                    <a:gsLst>
                      <a:gs pos="0">
                        <a:srgbClr val="FFFFFF"/>
                      </a:gs>
                      <a:gs pos="100000">
                        <a:srgbClr val="FFFFFF"/>
                      </a:gs>
                    </a:gsLst>
                    <a:lin ang="16200000" scaled="0"/>
                  </a:gradFill>
                  <a:latin typeface="Segoe UI Light"/>
                </a:rPr>
                <a:t>with ASP.NET</a:t>
              </a:r>
            </a:p>
          </p:txBody>
        </p:sp>
        <p:sp>
          <p:nvSpPr>
            <p:cNvPr id="31" name="Freeform 6"/>
            <p:cNvSpPr>
              <a:spLocks noChangeAspect="1" noEditPoints="1"/>
            </p:cNvSpPr>
            <p:nvPr/>
          </p:nvSpPr>
          <p:spPr bwMode="auto">
            <a:xfrm>
              <a:off x="10809054" y="5140194"/>
              <a:ext cx="599410" cy="299827"/>
            </a:xfrm>
            <a:custGeom>
              <a:avLst/>
              <a:gdLst>
                <a:gd name="T0" fmla="*/ 777 w 1036"/>
                <a:gd name="T1" fmla="*/ 518 h 518"/>
                <a:gd name="T2" fmla="*/ 1036 w 1036"/>
                <a:gd name="T3" fmla="*/ 259 h 518"/>
                <a:gd name="T4" fmla="*/ 777 w 1036"/>
                <a:gd name="T5" fmla="*/ 0 h 518"/>
                <a:gd name="T6" fmla="*/ 777 w 1036"/>
                <a:gd name="T7" fmla="*/ 117 h 518"/>
                <a:gd name="T8" fmla="*/ 919 w 1036"/>
                <a:gd name="T9" fmla="*/ 259 h 518"/>
                <a:gd name="T10" fmla="*/ 777 w 1036"/>
                <a:gd name="T11" fmla="*/ 401 h 518"/>
                <a:gd name="T12" fmla="*/ 777 w 1036"/>
                <a:gd name="T13" fmla="*/ 518 h 518"/>
                <a:gd name="T14" fmla="*/ 259 w 1036"/>
                <a:gd name="T15" fmla="*/ 0 h 518"/>
                <a:gd name="T16" fmla="*/ 0 w 1036"/>
                <a:gd name="T17" fmla="*/ 259 h 518"/>
                <a:gd name="T18" fmla="*/ 259 w 1036"/>
                <a:gd name="T19" fmla="*/ 518 h 518"/>
                <a:gd name="T20" fmla="*/ 259 w 1036"/>
                <a:gd name="T21" fmla="*/ 401 h 518"/>
                <a:gd name="T22" fmla="*/ 117 w 1036"/>
                <a:gd name="T23" fmla="*/ 259 h 518"/>
                <a:gd name="T24" fmla="*/ 259 w 1036"/>
                <a:gd name="T25" fmla="*/ 117 h 518"/>
                <a:gd name="T26" fmla="*/ 259 w 1036"/>
                <a:gd name="T27" fmla="*/ 0 h 518"/>
                <a:gd name="T28" fmla="*/ 518 w 1036"/>
                <a:gd name="T29" fmla="*/ 207 h 518"/>
                <a:gd name="T30" fmla="*/ 580 w 1036"/>
                <a:gd name="T31" fmla="*/ 269 h 518"/>
                <a:gd name="T32" fmla="*/ 518 w 1036"/>
                <a:gd name="T33" fmla="*/ 332 h 518"/>
                <a:gd name="T34" fmla="*/ 456 w 1036"/>
                <a:gd name="T35" fmla="*/ 269 h 518"/>
                <a:gd name="T36" fmla="*/ 518 w 1036"/>
                <a:gd name="T37" fmla="*/ 207 h 518"/>
                <a:gd name="T38" fmla="*/ 332 w 1036"/>
                <a:gd name="T39" fmla="*/ 207 h 518"/>
                <a:gd name="T40" fmla="*/ 394 w 1036"/>
                <a:gd name="T41" fmla="*/ 269 h 518"/>
                <a:gd name="T42" fmla="*/ 332 w 1036"/>
                <a:gd name="T43" fmla="*/ 332 h 518"/>
                <a:gd name="T44" fmla="*/ 269 w 1036"/>
                <a:gd name="T45" fmla="*/ 269 h 518"/>
                <a:gd name="T46" fmla="*/ 332 w 1036"/>
                <a:gd name="T47" fmla="*/ 207 h 518"/>
                <a:gd name="T48" fmla="*/ 705 w 1036"/>
                <a:gd name="T49" fmla="*/ 207 h 518"/>
                <a:gd name="T50" fmla="*/ 767 w 1036"/>
                <a:gd name="T51" fmla="*/ 269 h 518"/>
                <a:gd name="T52" fmla="*/ 705 w 1036"/>
                <a:gd name="T53" fmla="*/ 332 h 518"/>
                <a:gd name="T54" fmla="*/ 642 w 1036"/>
                <a:gd name="T55" fmla="*/ 269 h 518"/>
                <a:gd name="T56" fmla="*/ 705 w 1036"/>
                <a:gd name="T57" fmla="*/ 207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36" h="518">
                  <a:moveTo>
                    <a:pt x="777" y="518"/>
                  </a:moveTo>
                  <a:cubicBezTo>
                    <a:pt x="1036" y="259"/>
                    <a:pt x="1036" y="259"/>
                    <a:pt x="1036" y="259"/>
                  </a:cubicBezTo>
                  <a:cubicBezTo>
                    <a:pt x="777" y="0"/>
                    <a:pt x="777" y="0"/>
                    <a:pt x="777" y="0"/>
                  </a:cubicBezTo>
                  <a:cubicBezTo>
                    <a:pt x="777" y="117"/>
                    <a:pt x="777" y="117"/>
                    <a:pt x="777" y="117"/>
                  </a:cubicBezTo>
                  <a:cubicBezTo>
                    <a:pt x="919" y="259"/>
                    <a:pt x="919" y="259"/>
                    <a:pt x="919" y="259"/>
                  </a:cubicBezTo>
                  <a:cubicBezTo>
                    <a:pt x="777" y="401"/>
                    <a:pt x="777" y="401"/>
                    <a:pt x="777" y="401"/>
                  </a:cubicBezTo>
                  <a:lnTo>
                    <a:pt x="777" y="518"/>
                  </a:lnTo>
                  <a:close/>
                  <a:moveTo>
                    <a:pt x="259" y="0"/>
                  </a:moveTo>
                  <a:cubicBezTo>
                    <a:pt x="0" y="259"/>
                    <a:pt x="0" y="259"/>
                    <a:pt x="0" y="259"/>
                  </a:cubicBezTo>
                  <a:cubicBezTo>
                    <a:pt x="259" y="518"/>
                    <a:pt x="259" y="518"/>
                    <a:pt x="259" y="518"/>
                  </a:cubicBezTo>
                  <a:cubicBezTo>
                    <a:pt x="259" y="401"/>
                    <a:pt x="259" y="401"/>
                    <a:pt x="259" y="401"/>
                  </a:cubicBezTo>
                  <a:cubicBezTo>
                    <a:pt x="117" y="259"/>
                    <a:pt x="117" y="259"/>
                    <a:pt x="117" y="259"/>
                  </a:cubicBezTo>
                  <a:cubicBezTo>
                    <a:pt x="259" y="117"/>
                    <a:pt x="259" y="117"/>
                    <a:pt x="259" y="117"/>
                  </a:cubicBezTo>
                  <a:lnTo>
                    <a:pt x="259" y="0"/>
                  </a:lnTo>
                  <a:close/>
                  <a:moveTo>
                    <a:pt x="518" y="207"/>
                  </a:moveTo>
                  <a:cubicBezTo>
                    <a:pt x="552" y="207"/>
                    <a:pt x="580" y="235"/>
                    <a:pt x="580" y="269"/>
                  </a:cubicBezTo>
                  <a:cubicBezTo>
                    <a:pt x="580" y="304"/>
                    <a:pt x="552" y="332"/>
                    <a:pt x="518" y="332"/>
                  </a:cubicBezTo>
                  <a:cubicBezTo>
                    <a:pt x="484" y="332"/>
                    <a:pt x="456" y="304"/>
                    <a:pt x="456" y="269"/>
                  </a:cubicBezTo>
                  <a:cubicBezTo>
                    <a:pt x="456" y="235"/>
                    <a:pt x="484" y="207"/>
                    <a:pt x="518" y="207"/>
                  </a:cubicBezTo>
                  <a:close/>
                  <a:moveTo>
                    <a:pt x="332" y="207"/>
                  </a:moveTo>
                  <a:cubicBezTo>
                    <a:pt x="366" y="207"/>
                    <a:pt x="394" y="235"/>
                    <a:pt x="394" y="269"/>
                  </a:cubicBezTo>
                  <a:cubicBezTo>
                    <a:pt x="394" y="304"/>
                    <a:pt x="366" y="332"/>
                    <a:pt x="332" y="332"/>
                  </a:cubicBezTo>
                  <a:cubicBezTo>
                    <a:pt x="297" y="332"/>
                    <a:pt x="269" y="304"/>
                    <a:pt x="269" y="269"/>
                  </a:cubicBezTo>
                  <a:cubicBezTo>
                    <a:pt x="269" y="235"/>
                    <a:pt x="297" y="207"/>
                    <a:pt x="332" y="207"/>
                  </a:cubicBezTo>
                  <a:close/>
                  <a:moveTo>
                    <a:pt x="705" y="207"/>
                  </a:moveTo>
                  <a:cubicBezTo>
                    <a:pt x="739" y="207"/>
                    <a:pt x="767" y="235"/>
                    <a:pt x="767" y="269"/>
                  </a:cubicBezTo>
                  <a:cubicBezTo>
                    <a:pt x="767" y="304"/>
                    <a:pt x="739" y="332"/>
                    <a:pt x="705" y="332"/>
                  </a:cubicBezTo>
                  <a:cubicBezTo>
                    <a:pt x="670" y="332"/>
                    <a:pt x="642" y="304"/>
                    <a:pt x="642" y="269"/>
                  </a:cubicBezTo>
                  <a:cubicBezTo>
                    <a:pt x="642" y="235"/>
                    <a:pt x="670" y="207"/>
                    <a:pt x="705" y="20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2"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3"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
              </a:rPr>
              <a:t>www.rapidbbs.cn</a:t>
            </a:r>
            <a:endParaRPr lang="zh-CN" altLang="en-US" sz="1200" b="0">
              <a:latin typeface="Arial" charset="0"/>
              <a:ea typeface="ＭＳ Ｐゴシック" pitchFamily="34" charset="-128"/>
            </a:endParaRPr>
          </a:p>
        </p:txBody>
      </p:sp>
      <p:pic>
        <p:nvPicPr>
          <p:cNvPr id="34" name="Picture 2">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20309662"/>
      </p:ext>
    </p:extLst>
  </p:cSld>
  <p:clrMapOvr>
    <a:masterClrMapping/>
  </p:clrMapOvr>
  <mc:AlternateContent xmlns:mc="http://schemas.openxmlformats.org/markup-compatibility/2006" xmlns:p14="http://schemas.microsoft.com/office/powerpoint/2010/main">
    <mc:Choice Requires="p14">
      <p:transition spd="slow" p14:dur="1250">
        <p:push/>
      </p:transition>
    </mc:Choice>
    <mc:Fallback xmlns="">
      <p:transition spd="slow">
        <p:push/>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1000" fill="hold"/>
                                        <p:tgtEl>
                                          <p:spTgt spid="23"/>
                                        </p:tgtEl>
                                        <p:attrNameLst>
                                          <p:attrName>ppt_x</p:attrName>
                                        </p:attrNameLst>
                                      </p:cBhvr>
                                      <p:tavLst>
                                        <p:tav tm="0">
                                          <p:val>
                                            <p:strVal val="1+#ppt_w/2"/>
                                          </p:val>
                                        </p:tav>
                                        <p:tav tm="100000">
                                          <p:val>
                                            <p:strVal val="#ppt_x"/>
                                          </p:val>
                                        </p:tav>
                                      </p:tavLst>
                                    </p:anim>
                                    <p:anim calcmode="lin" valueType="num">
                                      <p:cBhvr additive="base">
                                        <p:cTn id="8" dur="1000" fill="hold"/>
                                        <p:tgtEl>
                                          <p:spTgt spid="23"/>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0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1000" fill="hold"/>
                                        <p:tgtEl>
                                          <p:spTgt spid="3"/>
                                        </p:tgtEl>
                                        <p:attrNameLst>
                                          <p:attrName>ppt_x</p:attrName>
                                        </p:attrNameLst>
                                      </p:cBhvr>
                                      <p:tavLst>
                                        <p:tav tm="0">
                                          <p:val>
                                            <p:strVal val="1+#ppt_w/2"/>
                                          </p:val>
                                        </p:tav>
                                        <p:tav tm="100000">
                                          <p:val>
                                            <p:strVal val="#ppt_x"/>
                                          </p:val>
                                        </p:tav>
                                      </p:tavLst>
                                    </p:anim>
                                    <p:anim calcmode="lin" valueType="num">
                                      <p:cBhvr additive="base">
                                        <p:cTn id="12" dur="1000" fill="hold"/>
                                        <p:tgtEl>
                                          <p:spTgt spid="3"/>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400"/>
                                  </p:stCondLst>
                                  <p:childTnLst>
                                    <p:set>
                                      <p:cBhvr>
                                        <p:cTn id="14" dur="1" fill="hold">
                                          <p:stCondLst>
                                            <p:cond delay="0"/>
                                          </p:stCondLst>
                                        </p:cTn>
                                        <p:tgtEl>
                                          <p:spTgt spid="26"/>
                                        </p:tgtEl>
                                        <p:attrNameLst>
                                          <p:attrName>style.visibility</p:attrName>
                                        </p:attrNameLst>
                                      </p:cBhvr>
                                      <p:to>
                                        <p:strVal val="visible"/>
                                      </p:to>
                                    </p:set>
                                    <p:anim calcmode="lin" valueType="num">
                                      <p:cBhvr additive="base">
                                        <p:cTn id="15" dur="1000" fill="hold"/>
                                        <p:tgtEl>
                                          <p:spTgt spid="26"/>
                                        </p:tgtEl>
                                        <p:attrNameLst>
                                          <p:attrName>ppt_x</p:attrName>
                                        </p:attrNameLst>
                                      </p:cBhvr>
                                      <p:tavLst>
                                        <p:tav tm="0">
                                          <p:val>
                                            <p:strVal val="1+#ppt_w/2"/>
                                          </p:val>
                                        </p:tav>
                                        <p:tav tm="100000">
                                          <p:val>
                                            <p:strVal val="#ppt_x"/>
                                          </p:val>
                                        </p:tav>
                                      </p:tavLst>
                                    </p:anim>
                                    <p:anim calcmode="lin" valueType="num">
                                      <p:cBhvr additive="base">
                                        <p:cTn id="16" dur="1000" fill="hold"/>
                                        <p:tgtEl>
                                          <p:spTgt spid="26"/>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600"/>
                                  </p:stCondLst>
                                  <p:childTnLst>
                                    <p:set>
                                      <p:cBhvr>
                                        <p:cTn id="18" dur="1" fill="hold">
                                          <p:stCondLst>
                                            <p:cond delay="0"/>
                                          </p:stCondLst>
                                        </p:cTn>
                                        <p:tgtEl>
                                          <p:spTgt spid="29"/>
                                        </p:tgtEl>
                                        <p:attrNameLst>
                                          <p:attrName>style.visibility</p:attrName>
                                        </p:attrNameLst>
                                      </p:cBhvr>
                                      <p:to>
                                        <p:strVal val="visible"/>
                                      </p:to>
                                    </p:set>
                                    <p:anim calcmode="lin" valueType="num">
                                      <p:cBhvr additive="base">
                                        <p:cTn id="19" dur="1000" fill="hold"/>
                                        <p:tgtEl>
                                          <p:spTgt spid="29"/>
                                        </p:tgtEl>
                                        <p:attrNameLst>
                                          <p:attrName>ppt_x</p:attrName>
                                        </p:attrNameLst>
                                      </p:cBhvr>
                                      <p:tavLst>
                                        <p:tav tm="0">
                                          <p:val>
                                            <p:strVal val="1+#ppt_w/2"/>
                                          </p:val>
                                        </p:tav>
                                        <p:tav tm="100000">
                                          <p:val>
                                            <p:strVal val="#ppt_x"/>
                                          </p:val>
                                        </p:tav>
                                      </p:tavLst>
                                    </p:anim>
                                    <p:anim calcmode="lin" valueType="num">
                                      <p:cBhvr additive="base">
                                        <p:cTn id="20" dur="1000" fill="hold"/>
                                        <p:tgtEl>
                                          <p:spTgt spid="2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6600" y="914400"/>
            <a:ext cx="2296123" cy="914096"/>
          </a:xfrm>
        </p:spPr>
        <p:txBody>
          <a:bodyPr/>
          <a:lstStyle/>
          <a:p>
            <a:r>
              <a:rPr lang="en-US" dirty="0" smtClean="0"/>
              <a:t>Engineering Trends</a:t>
            </a:r>
            <a:endParaRPr lang="en-US" dirty="0"/>
          </a:p>
        </p:txBody>
      </p:sp>
      <p:grpSp>
        <p:nvGrpSpPr>
          <p:cNvPr id="3" name="Group 2"/>
          <p:cNvGrpSpPr/>
          <p:nvPr/>
        </p:nvGrpSpPr>
        <p:grpSpPr>
          <a:xfrm>
            <a:off x="3256092" y="2659329"/>
            <a:ext cx="2686465" cy="1599932"/>
            <a:chOff x="4305490" y="3545771"/>
            <a:chExt cx="3581020" cy="2133243"/>
          </a:xfrm>
        </p:grpSpPr>
        <p:sp>
          <p:nvSpPr>
            <p:cNvPr id="4" name="Rectangle 3"/>
            <p:cNvSpPr/>
            <p:nvPr/>
          </p:nvSpPr>
          <p:spPr bwMode="auto">
            <a:xfrm>
              <a:off x="4305490" y="3545771"/>
              <a:ext cx="3581020" cy="2133243"/>
            </a:xfrm>
            <a:prstGeom prst="rect">
              <a:avLst/>
            </a:prstGeom>
            <a:solidFill>
              <a:schemeClr val="accent2"/>
            </a:solidFill>
            <a:ln w="25400" cap="flat" cmpd="sng" algn="ctr">
              <a:noFill/>
              <a:prstDash val="solid"/>
              <a:headEnd type="none" w="med" len="med"/>
              <a:tailEnd type="none" w="med" len="med"/>
            </a:ln>
            <a:effectLst/>
          </p:spPr>
          <p:style>
            <a:lnRef idx="2">
              <a:schemeClr val="accent5">
                <a:shade val="50000"/>
              </a:schemeClr>
            </a:lnRef>
            <a:fillRef idx="1">
              <a:schemeClr val="accent5"/>
            </a:fillRef>
            <a:effectRef idx="0">
              <a:schemeClr val="accent5"/>
            </a:effectRef>
            <a:fontRef idx="minor">
              <a:schemeClr val="lt1"/>
            </a:fontRef>
          </p:style>
          <p:txBody>
            <a:bodyPr vert="horz" wrap="square" lIns="182880" tIns="228600" rIns="91436" bIns="45718" numCol="1" rtlCol="0" anchor="t" anchorCtr="0" compatLnSpc="1">
              <a:prstTxWarp prst="textNoShape">
                <a:avLst/>
              </a:prstTxWarp>
            </a:bodyPr>
            <a:lstStyle/>
            <a:p>
              <a:pPr defTabSz="685666" fontAlgn="base">
                <a:lnSpc>
                  <a:spcPct val="90000"/>
                </a:lnSpc>
                <a:spcBef>
                  <a:spcPct val="0"/>
                </a:spcBef>
                <a:spcAft>
                  <a:spcPct val="0"/>
                </a:spcAft>
              </a:pPr>
              <a:r>
                <a:rPr lang="en-US" sz="3000" spc="-98" dirty="0">
                  <a:gradFill>
                    <a:gsLst>
                      <a:gs pos="0">
                        <a:srgbClr val="FFFFFF"/>
                      </a:gs>
                      <a:gs pos="100000">
                        <a:srgbClr val="FFFFFF"/>
                      </a:gs>
                    </a:gsLst>
                    <a:lin ang="16200000" scaled="0"/>
                  </a:gradFill>
                  <a:latin typeface="Segoe UI Light"/>
                </a:rPr>
                <a:t>Testing </a:t>
              </a:r>
              <a:br>
                <a:rPr lang="en-US" sz="3000" spc="-98" dirty="0">
                  <a:gradFill>
                    <a:gsLst>
                      <a:gs pos="0">
                        <a:srgbClr val="FFFFFF"/>
                      </a:gs>
                      <a:gs pos="100000">
                        <a:srgbClr val="FFFFFF"/>
                      </a:gs>
                    </a:gsLst>
                    <a:lin ang="16200000" scaled="0"/>
                  </a:gradFill>
                  <a:latin typeface="Segoe UI Light"/>
                </a:rPr>
              </a:br>
              <a:r>
                <a:rPr lang="en-US" sz="3000" spc="-98" dirty="0">
                  <a:gradFill>
                    <a:gsLst>
                      <a:gs pos="0">
                        <a:srgbClr val="FFFFFF"/>
                      </a:gs>
                      <a:gs pos="100000">
                        <a:srgbClr val="FFFFFF"/>
                      </a:gs>
                    </a:gsLst>
                    <a:lin ang="16200000" scaled="0"/>
                  </a:gradFill>
                  <a:latin typeface="Segoe UI Light"/>
                </a:rPr>
                <a:t>advances</a:t>
              </a:r>
            </a:p>
          </p:txBody>
        </p:sp>
        <p:sp>
          <p:nvSpPr>
            <p:cNvPr id="5" name="Freeform 217"/>
            <p:cNvSpPr>
              <a:spLocks noChangeAspect="1" noEditPoints="1"/>
            </p:cNvSpPr>
            <p:nvPr/>
          </p:nvSpPr>
          <p:spPr bwMode="auto">
            <a:xfrm>
              <a:off x="7158328" y="4994721"/>
              <a:ext cx="478798" cy="476473"/>
            </a:xfrm>
            <a:custGeom>
              <a:avLst/>
              <a:gdLst>
                <a:gd name="T0" fmla="*/ 72 w 87"/>
                <a:gd name="T1" fmla="*/ 33 h 87"/>
                <a:gd name="T2" fmla="*/ 59 w 87"/>
                <a:gd name="T3" fmla="*/ 45 h 87"/>
                <a:gd name="T4" fmla="*/ 51 w 87"/>
                <a:gd name="T5" fmla="*/ 37 h 87"/>
                <a:gd name="T6" fmla="*/ 57 w 87"/>
                <a:gd name="T7" fmla="*/ 30 h 87"/>
                <a:gd name="T8" fmla="*/ 57 w 87"/>
                <a:gd name="T9" fmla="*/ 27 h 87"/>
                <a:gd name="T10" fmla="*/ 57 w 87"/>
                <a:gd name="T11" fmla="*/ 27 h 87"/>
                <a:gd name="T12" fmla="*/ 53 w 87"/>
                <a:gd name="T13" fmla="*/ 27 h 87"/>
                <a:gd name="T14" fmla="*/ 47 w 87"/>
                <a:gd name="T15" fmla="*/ 33 h 87"/>
                <a:gd name="T16" fmla="*/ 42 w 87"/>
                <a:gd name="T17" fmla="*/ 28 h 87"/>
                <a:gd name="T18" fmla="*/ 55 w 87"/>
                <a:gd name="T19" fmla="*/ 16 h 87"/>
                <a:gd name="T20" fmla="*/ 72 w 87"/>
                <a:gd name="T21" fmla="*/ 33 h 87"/>
                <a:gd name="T22" fmla="*/ 45 w 87"/>
                <a:gd name="T23" fmla="*/ 60 h 87"/>
                <a:gd name="T24" fmla="*/ 36 w 87"/>
                <a:gd name="T25" fmla="*/ 51 h 87"/>
                <a:gd name="T26" fmla="*/ 21 w 87"/>
                <a:gd name="T27" fmla="*/ 66 h 87"/>
                <a:gd name="T28" fmla="*/ 17 w 87"/>
                <a:gd name="T29" fmla="*/ 66 h 87"/>
                <a:gd name="T30" fmla="*/ 17 w 87"/>
                <a:gd name="T31" fmla="*/ 66 h 87"/>
                <a:gd name="T32" fmla="*/ 17 w 87"/>
                <a:gd name="T33" fmla="*/ 63 h 87"/>
                <a:gd name="T34" fmla="*/ 33 w 87"/>
                <a:gd name="T35" fmla="*/ 47 h 87"/>
                <a:gd name="T36" fmla="*/ 28 w 87"/>
                <a:gd name="T37" fmla="*/ 43 h 87"/>
                <a:gd name="T38" fmla="*/ 9 w 87"/>
                <a:gd name="T39" fmla="*/ 62 h 87"/>
                <a:gd name="T40" fmla="*/ 2 w 87"/>
                <a:gd name="T41" fmla="*/ 86 h 87"/>
                <a:gd name="T42" fmla="*/ 26 w 87"/>
                <a:gd name="T43" fmla="*/ 79 h 87"/>
                <a:gd name="T44" fmla="*/ 45 w 87"/>
                <a:gd name="T45" fmla="*/ 60 h 87"/>
                <a:gd name="T46" fmla="*/ 76 w 87"/>
                <a:gd name="T47" fmla="*/ 29 h 87"/>
                <a:gd name="T48" fmla="*/ 87 w 87"/>
                <a:gd name="T49" fmla="*/ 17 h 87"/>
                <a:gd name="T50" fmla="*/ 70 w 87"/>
                <a:gd name="T51" fmla="*/ 0 h 87"/>
                <a:gd name="T52" fmla="*/ 59 w 87"/>
                <a:gd name="T53" fmla="*/ 12 h 87"/>
                <a:gd name="T54" fmla="*/ 76 w 87"/>
                <a:gd name="T55" fmla="*/ 29 h 87"/>
                <a:gd name="T56" fmla="*/ 66 w 87"/>
                <a:gd name="T57" fmla="*/ 51 h 87"/>
                <a:gd name="T58" fmla="*/ 62 w 87"/>
                <a:gd name="T59" fmla="*/ 51 h 87"/>
                <a:gd name="T60" fmla="*/ 35 w 87"/>
                <a:gd name="T61" fmla="*/ 25 h 87"/>
                <a:gd name="T62" fmla="*/ 36 w 87"/>
                <a:gd name="T63" fmla="*/ 18 h 87"/>
                <a:gd name="T64" fmla="*/ 18 w 87"/>
                <a:gd name="T65" fmla="*/ 0 h 87"/>
                <a:gd name="T66" fmla="*/ 18 w 87"/>
                <a:gd name="T67" fmla="*/ 0 h 87"/>
                <a:gd name="T68" fmla="*/ 19 w 87"/>
                <a:gd name="T69" fmla="*/ 5 h 87"/>
                <a:gd name="T70" fmla="*/ 25 w 87"/>
                <a:gd name="T71" fmla="*/ 15 h 87"/>
                <a:gd name="T72" fmla="*/ 15 w 87"/>
                <a:gd name="T73" fmla="*/ 25 h 87"/>
                <a:gd name="T74" fmla="*/ 4 w 87"/>
                <a:gd name="T75" fmla="*/ 16 h 87"/>
                <a:gd name="T76" fmla="*/ 1 w 87"/>
                <a:gd name="T77" fmla="*/ 13 h 87"/>
                <a:gd name="T78" fmla="*/ 0 w 87"/>
                <a:gd name="T79" fmla="*/ 18 h 87"/>
                <a:gd name="T80" fmla="*/ 18 w 87"/>
                <a:gd name="T81" fmla="*/ 36 h 87"/>
                <a:gd name="T82" fmla="*/ 23 w 87"/>
                <a:gd name="T83" fmla="*/ 36 h 87"/>
                <a:gd name="T84" fmla="*/ 50 w 87"/>
                <a:gd name="T85" fmla="*/ 62 h 87"/>
                <a:gd name="T86" fmla="*/ 49 w 87"/>
                <a:gd name="T87" fmla="*/ 69 h 87"/>
                <a:gd name="T88" fmla="*/ 67 w 87"/>
                <a:gd name="T89" fmla="*/ 87 h 87"/>
                <a:gd name="T90" fmla="*/ 67 w 87"/>
                <a:gd name="T91" fmla="*/ 87 h 87"/>
                <a:gd name="T92" fmla="*/ 66 w 87"/>
                <a:gd name="T93" fmla="*/ 82 h 87"/>
                <a:gd name="T94" fmla="*/ 60 w 87"/>
                <a:gd name="T95" fmla="*/ 73 h 87"/>
                <a:gd name="T96" fmla="*/ 70 w 87"/>
                <a:gd name="T97" fmla="*/ 62 h 87"/>
                <a:gd name="T98" fmla="*/ 80 w 87"/>
                <a:gd name="T99" fmla="*/ 71 h 87"/>
                <a:gd name="T100" fmla="*/ 84 w 87"/>
                <a:gd name="T101" fmla="*/ 74 h 87"/>
                <a:gd name="T102" fmla="*/ 84 w 87"/>
                <a:gd name="T103" fmla="*/ 69 h 87"/>
                <a:gd name="T104" fmla="*/ 66 w 87"/>
                <a:gd name="T105" fmla="*/ 5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7" h="87">
                  <a:moveTo>
                    <a:pt x="72" y="33"/>
                  </a:moveTo>
                  <a:cubicBezTo>
                    <a:pt x="59" y="45"/>
                    <a:pt x="59" y="45"/>
                    <a:pt x="59" y="45"/>
                  </a:cubicBezTo>
                  <a:cubicBezTo>
                    <a:pt x="51" y="37"/>
                    <a:pt x="51" y="37"/>
                    <a:pt x="51" y="37"/>
                  </a:cubicBezTo>
                  <a:cubicBezTo>
                    <a:pt x="57" y="30"/>
                    <a:pt x="57" y="30"/>
                    <a:pt x="57" y="30"/>
                  </a:cubicBezTo>
                  <a:cubicBezTo>
                    <a:pt x="58" y="29"/>
                    <a:pt x="58" y="28"/>
                    <a:pt x="57" y="27"/>
                  </a:cubicBezTo>
                  <a:cubicBezTo>
                    <a:pt x="57" y="27"/>
                    <a:pt x="57" y="27"/>
                    <a:pt x="57" y="27"/>
                  </a:cubicBezTo>
                  <a:cubicBezTo>
                    <a:pt x="56" y="26"/>
                    <a:pt x="54" y="26"/>
                    <a:pt x="53" y="27"/>
                  </a:cubicBezTo>
                  <a:cubicBezTo>
                    <a:pt x="47" y="33"/>
                    <a:pt x="47" y="33"/>
                    <a:pt x="47" y="33"/>
                  </a:cubicBezTo>
                  <a:cubicBezTo>
                    <a:pt x="42" y="28"/>
                    <a:pt x="42" y="28"/>
                    <a:pt x="42" y="28"/>
                  </a:cubicBezTo>
                  <a:cubicBezTo>
                    <a:pt x="55" y="16"/>
                    <a:pt x="55" y="16"/>
                    <a:pt x="55" y="16"/>
                  </a:cubicBezTo>
                  <a:cubicBezTo>
                    <a:pt x="72" y="33"/>
                    <a:pt x="72" y="33"/>
                    <a:pt x="72" y="33"/>
                  </a:cubicBezTo>
                  <a:close/>
                  <a:moveTo>
                    <a:pt x="45" y="60"/>
                  </a:moveTo>
                  <a:cubicBezTo>
                    <a:pt x="36" y="51"/>
                    <a:pt x="36" y="51"/>
                    <a:pt x="36" y="51"/>
                  </a:cubicBezTo>
                  <a:cubicBezTo>
                    <a:pt x="21" y="66"/>
                    <a:pt x="21" y="66"/>
                    <a:pt x="21" y="66"/>
                  </a:cubicBezTo>
                  <a:cubicBezTo>
                    <a:pt x="20" y="67"/>
                    <a:pt x="18" y="67"/>
                    <a:pt x="17" y="66"/>
                  </a:cubicBezTo>
                  <a:cubicBezTo>
                    <a:pt x="17" y="66"/>
                    <a:pt x="17" y="66"/>
                    <a:pt x="17" y="66"/>
                  </a:cubicBezTo>
                  <a:cubicBezTo>
                    <a:pt x="16" y="65"/>
                    <a:pt x="16" y="64"/>
                    <a:pt x="17" y="63"/>
                  </a:cubicBezTo>
                  <a:cubicBezTo>
                    <a:pt x="33" y="47"/>
                    <a:pt x="33" y="47"/>
                    <a:pt x="33" y="47"/>
                  </a:cubicBezTo>
                  <a:cubicBezTo>
                    <a:pt x="28" y="43"/>
                    <a:pt x="28" y="43"/>
                    <a:pt x="28" y="43"/>
                  </a:cubicBezTo>
                  <a:cubicBezTo>
                    <a:pt x="9" y="62"/>
                    <a:pt x="9" y="62"/>
                    <a:pt x="9" y="62"/>
                  </a:cubicBezTo>
                  <a:cubicBezTo>
                    <a:pt x="2" y="86"/>
                    <a:pt x="2" y="86"/>
                    <a:pt x="2" y="86"/>
                  </a:cubicBezTo>
                  <a:cubicBezTo>
                    <a:pt x="26" y="79"/>
                    <a:pt x="26" y="79"/>
                    <a:pt x="26" y="79"/>
                  </a:cubicBezTo>
                  <a:lnTo>
                    <a:pt x="45" y="60"/>
                  </a:lnTo>
                  <a:close/>
                  <a:moveTo>
                    <a:pt x="76" y="29"/>
                  </a:moveTo>
                  <a:cubicBezTo>
                    <a:pt x="87" y="17"/>
                    <a:pt x="87" y="17"/>
                    <a:pt x="87" y="17"/>
                  </a:cubicBezTo>
                  <a:cubicBezTo>
                    <a:pt x="70" y="0"/>
                    <a:pt x="70" y="0"/>
                    <a:pt x="70" y="0"/>
                  </a:cubicBezTo>
                  <a:cubicBezTo>
                    <a:pt x="59" y="12"/>
                    <a:pt x="59" y="12"/>
                    <a:pt x="59" y="12"/>
                  </a:cubicBezTo>
                  <a:lnTo>
                    <a:pt x="76" y="29"/>
                  </a:lnTo>
                  <a:close/>
                  <a:moveTo>
                    <a:pt x="66" y="51"/>
                  </a:moveTo>
                  <a:cubicBezTo>
                    <a:pt x="65" y="51"/>
                    <a:pt x="64" y="51"/>
                    <a:pt x="62" y="51"/>
                  </a:cubicBezTo>
                  <a:cubicBezTo>
                    <a:pt x="35" y="25"/>
                    <a:pt x="35" y="25"/>
                    <a:pt x="35" y="25"/>
                  </a:cubicBezTo>
                  <a:cubicBezTo>
                    <a:pt x="36" y="23"/>
                    <a:pt x="36" y="21"/>
                    <a:pt x="36" y="18"/>
                  </a:cubicBezTo>
                  <a:cubicBezTo>
                    <a:pt x="36" y="8"/>
                    <a:pt x="28" y="0"/>
                    <a:pt x="18" y="0"/>
                  </a:cubicBezTo>
                  <a:cubicBezTo>
                    <a:pt x="18" y="0"/>
                    <a:pt x="18" y="0"/>
                    <a:pt x="18" y="0"/>
                  </a:cubicBezTo>
                  <a:cubicBezTo>
                    <a:pt x="19" y="5"/>
                    <a:pt x="19" y="5"/>
                    <a:pt x="19" y="5"/>
                  </a:cubicBezTo>
                  <a:cubicBezTo>
                    <a:pt x="23" y="7"/>
                    <a:pt x="25" y="11"/>
                    <a:pt x="25" y="15"/>
                  </a:cubicBezTo>
                  <a:cubicBezTo>
                    <a:pt x="25" y="20"/>
                    <a:pt x="21" y="25"/>
                    <a:pt x="15" y="25"/>
                  </a:cubicBezTo>
                  <a:cubicBezTo>
                    <a:pt x="10" y="25"/>
                    <a:pt x="5" y="21"/>
                    <a:pt x="4" y="16"/>
                  </a:cubicBezTo>
                  <a:cubicBezTo>
                    <a:pt x="1" y="13"/>
                    <a:pt x="1" y="13"/>
                    <a:pt x="1" y="13"/>
                  </a:cubicBezTo>
                  <a:cubicBezTo>
                    <a:pt x="1" y="15"/>
                    <a:pt x="0" y="17"/>
                    <a:pt x="0" y="18"/>
                  </a:cubicBezTo>
                  <a:cubicBezTo>
                    <a:pt x="0" y="28"/>
                    <a:pt x="9" y="36"/>
                    <a:pt x="18" y="36"/>
                  </a:cubicBezTo>
                  <a:cubicBezTo>
                    <a:pt x="20" y="36"/>
                    <a:pt x="22" y="36"/>
                    <a:pt x="23" y="36"/>
                  </a:cubicBezTo>
                  <a:cubicBezTo>
                    <a:pt x="50" y="62"/>
                    <a:pt x="50" y="62"/>
                    <a:pt x="50" y="62"/>
                  </a:cubicBezTo>
                  <a:cubicBezTo>
                    <a:pt x="49" y="64"/>
                    <a:pt x="49" y="67"/>
                    <a:pt x="49" y="69"/>
                  </a:cubicBezTo>
                  <a:cubicBezTo>
                    <a:pt x="49" y="79"/>
                    <a:pt x="57" y="87"/>
                    <a:pt x="67" y="87"/>
                  </a:cubicBezTo>
                  <a:cubicBezTo>
                    <a:pt x="67" y="87"/>
                    <a:pt x="67" y="87"/>
                    <a:pt x="67" y="87"/>
                  </a:cubicBezTo>
                  <a:cubicBezTo>
                    <a:pt x="66" y="82"/>
                    <a:pt x="66" y="82"/>
                    <a:pt x="66" y="82"/>
                  </a:cubicBezTo>
                  <a:cubicBezTo>
                    <a:pt x="62" y="80"/>
                    <a:pt x="60" y="77"/>
                    <a:pt x="60" y="73"/>
                  </a:cubicBezTo>
                  <a:cubicBezTo>
                    <a:pt x="60" y="67"/>
                    <a:pt x="64" y="62"/>
                    <a:pt x="70" y="62"/>
                  </a:cubicBezTo>
                  <a:cubicBezTo>
                    <a:pt x="75" y="62"/>
                    <a:pt x="80" y="66"/>
                    <a:pt x="80" y="71"/>
                  </a:cubicBezTo>
                  <a:cubicBezTo>
                    <a:pt x="84" y="74"/>
                    <a:pt x="84" y="74"/>
                    <a:pt x="84" y="74"/>
                  </a:cubicBezTo>
                  <a:cubicBezTo>
                    <a:pt x="84" y="73"/>
                    <a:pt x="85" y="71"/>
                    <a:pt x="84" y="69"/>
                  </a:cubicBezTo>
                  <a:cubicBezTo>
                    <a:pt x="84" y="59"/>
                    <a:pt x="76" y="51"/>
                    <a:pt x="66" y="51"/>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p>
          </p:txBody>
        </p:sp>
      </p:grpSp>
      <p:grpSp>
        <p:nvGrpSpPr>
          <p:cNvPr id="6" name="Group 5"/>
          <p:cNvGrpSpPr/>
          <p:nvPr/>
        </p:nvGrpSpPr>
        <p:grpSpPr>
          <a:xfrm>
            <a:off x="6066994" y="2659329"/>
            <a:ext cx="2686465" cy="1599932"/>
            <a:chOff x="8087219" y="3545771"/>
            <a:chExt cx="3581020" cy="2133243"/>
          </a:xfrm>
        </p:grpSpPr>
        <p:sp>
          <p:nvSpPr>
            <p:cNvPr id="7" name="Rectangle 6"/>
            <p:cNvSpPr/>
            <p:nvPr/>
          </p:nvSpPr>
          <p:spPr bwMode="auto">
            <a:xfrm>
              <a:off x="8087219" y="3545771"/>
              <a:ext cx="3581020" cy="2133243"/>
            </a:xfrm>
            <a:prstGeom prst="rect">
              <a:avLst/>
            </a:prstGeom>
            <a:solidFill>
              <a:schemeClr val="accent1"/>
            </a:solidFill>
            <a:ln w="25400" cap="flat" cmpd="sng" algn="ctr">
              <a:noFill/>
              <a:prstDash val="solid"/>
              <a:headEnd type="none" w="med" len="med"/>
              <a:tailEnd type="none" w="med" len="med"/>
            </a:ln>
            <a:effectLst/>
          </p:spPr>
          <p:style>
            <a:lnRef idx="2">
              <a:schemeClr val="accent5">
                <a:shade val="50000"/>
              </a:schemeClr>
            </a:lnRef>
            <a:fillRef idx="1">
              <a:schemeClr val="accent5"/>
            </a:fillRef>
            <a:effectRef idx="0">
              <a:schemeClr val="accent5"/>
            </a:effectRef>
            <a:fontRef idx="minor">
              <a:schemeClr val="lt1"/>
            </a:fontRef>
          </p:style>
          <p:txBody>
            <a:bodyPr vert="horz" wrap="square" lIns="182880" tIns="228600" rIns="91436" bIns="45718" numCol="1" rtlCol="0" anchor="t" anchorCtr="0" compatLnSpc="1">
              <a:prstTxWarp prst="textNoShape">
                <a:avLst/>
              </a:prstTxWarp>
            </a:bodyPr>
            <a:lstStyle/>
            <a:p>
              <a:pPr defTabSz="685666" fontAlgn="base">
                <a:lnSpc>
                  <a:spcPct val="90000"/>
                </a:lnSpc>
                <a:spcBef>
                  <a:spcPct val="0"/>
                </a:spcBef>
                <a:spcAft>
                  <a:spcPct val="0"/>
                </a:spcAft>
              </a:pPr>
              <a:r>
                <a:rPr lang="en-US" sz="3000" spc="-98" dirty="0">
                  <a:gradFill>
                    <a:gsLst>
                      <a:gs pos="0">
                        <a:srgbClr val="FFFFFF"/>
                      </a:gs>
                      <a:gs pos="100000">
                        <a:srgbClr val="FFFFFF"/>
                      </a:gs>
                    </a:gsLst>
                    <a:lin ang="16200000" scaled="0"/>
                  </a:gradFill>
                  <a:latin typeface="Segoe UI Light"/>
                </a:rPr>
                <a:t>DevOps</a:t>
              </a:r>
            </a:p>
          </p:txBody>
        </p:sp>
        <p:sp>
          <p:nvSpPr>
            <p:cNvPr id="8" name="Freeform 86"/>
            <p:cNvSpPr>
              <a:spLocks noChangeAspect="1" noEditPoints="1"/>
            </p:cNvSpPr>
            <p:nvPr/>
          </p:nvSpPr>
          <p:spPr bwMode="auto">
            <a:xfrm>
              <a:off x="10856014" y="5036796"/>
              <a:ext cx="562841" cy="434398"/>
            </a:xfrm>
            <a:custGeom>
              <a:avLst/>
              <a:gdLst>
                <a:gd name="T0" fmla="*/ 0 w 390"/>
                <a:gd name="T1" fmla="*/ 0 h 301"/>
                <a:gd name="T2" fmla="*/ 0 w 390"/>
                <a:gd name="T3" fmla="*/ 301 h 301"/>
                <a:gd name="T4" fmla="*/ 390 w 390"/>
                <a:gd name="T5" fmla="*/ 301 h 301"/>
                <a:gd name="T6" fmla="*/ 390 w 390"/>
                <a:gd name="T7" fmla="*/ 0 h 301"/>
                <a:gd name="T8" fmla="*/ 0 w 390"/>
                <a:gd name="T9" fmla="*/ 0 h 301"/>
                <a:gd name="T10" fmla="*/ 113 w 390"/>
                <a:gd name="T11" fmla="*/ 90 h 301"/>
                <a:gd name="T12" fmla="*/ 56 w 390"/>
                <a:gd name="T13" fmla="*/ 123 h 301"/>
                <a:gd name="T14" fmla="*/ 56 w 390"/>
                <a:gd name="T15" fmla="*/ 104 h 301"/>
                <a:gd name="T16" fmla="*/ 92 w 390"/>
                <a:gd name="T17" fmla="*/ 88 h 301"/>
                <a:gd name="T18" fmla="*/ 92 w 390"/>
                <a:gd name="T19" fmla="*/ 88 h 301"/>
                <a:gd name="T20" fmla="*/ 56 w 390"/>
                <a:gd name="T21" fmla="*/ 71 h 301"/>
                <a:gd name="T22" fmla="*/ 56 w 390"/>
                <a:gd name="T23" fmla="*/ 52 h 301"/>
                <a:gd name="T24" fmla="*/ 113 w 390"/>
                <a:gd name="T25" fmla="*/ 85 h 301"/>
                <a:gd name="T26" fmla="*/ 113 w 390"/>
                <a:gd name="T27" fmla="*/ 9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0" h="301">
                  <a:moveTo>
                    <a:pt x="0" y="0"/>
                  </a:moveTo>
                  <a:lnTo>
                    <a:pt x="0" y="301"/>
                  </a:lnTo>
                  <a:lnTo>
                    <a:pt x="390" y="301"/>
                  </a:lnTo>
                  <a:lnTo>
                    <a:pt x="390" y="0"/>
                  </a:lnTo>
                  <a:lnTo>
                    <a:pt x="0" y="0"/>
                  </a:lnTo>
                  <a:close/>
                  <a:moveTo>
                    <a:pt x="113" y="90"/>
                  </a:moveTo>
                  <a:lnTo>
                    <a:pt x="56" y="123"/>
                  </a:lnTo>
                  <a:lnTo>
                    <a:pt x="56" y="104"/>
                  </a:lnTo>
                  <a:lnTo>
                    <a:pt x="92" y="88"/>
                  </a:lnTo>
                  <a:lnTo>
                    <a:pt x="92" y="88"/>
                  </a:lnTo>
                  <a:lnTo>
                    <a:pt x="56" y="71"/>
                  </a:lnTo>
                  <a:lnTo>
                    <a:pt x="56" y="52"/>
                  </a:lnTo>
                  <a:lnTo>
                    <a:pt x="113" y="85"/>
                  </a:lnTo>
                  <a:lnTo>
                    <a:pt x="113" y="9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p>
          </p:txBody>
        </p:sp>
      </p:grpSp>
      <p:grpSp>
        <p:nvGrpSpPr>
          <p:cNvPr id="9" name="Group 8"/>
          <p:cNvGrpSpPr/>
          <p:nvPr/>
        </p:nvGrpSpPr>
        <p:grpSpPr>
          <a:xfrm>
            <a:off x="3256092" y="934147"/>
            <a:ext cx="2686465" cy="1599932"/>
            <a:chOff x="4305490" y="1245528"/>
            <a:chExt cx="3581020" cy="2133243"/>
          </a:xfrm>
        </p:grpSpPr>
        <p:sp>
          <p:nvSpPr>
            <p:cNvPr id="10" name="Rectangle 9"/>
            <p:cNvSpPr/>
            <p:nvPr/>
          </p:nvSpPr>
          <p:spPr bwMode="auto">
            <a:xfrm>
              <a:off x="4305490" y="1245528"/>
              <a:ext cx="3581020" cy="2133243"/>
            </a:xfrm>
            <a:prstGeom prst="rect">
              <a:avLst/>
            </a:prstGeom>
            <a:solidFill>
              <a:schemeClr val="accent2"/>
            </a:solidFill>
            <a:ln w="25400" cap="flat" cmpd="sng" algn="ctr">
              <a:noFill/>
              <a:prstDash val="solid"/>
              <a:headEnd type="none" w="med" len="med"/>
              <a:tailEnd type="none" w="med" len="med"/>
            </a:ln>
            <a:effectLst/>
          </p:spPr>
          <p:style>
            <a:lnRef idx="2">
              <a:schemeClr val="accent5">
                <a:shade val="50000"/>
              </a:schemeClr>
            </a:lnRef>
            <a:fillRef idx="1">
              <a:schemeClr val="accent5"/>
            </a:fillRef>
            <a:effectRef idx="0">
              <a:schemeClr val="accent5"/>
            </a:effectRef>
            <a:fontRef idx="minor">
              <a:schemeClr val="lt1"/>
            </a:fontRef>
          </p:style>
          <p:txBody>
            <a:bodyPr vert="horz" wrap="square" lIns="182880" tIns="228600" rIns="91436" bIns="45718" numCol="1" rtlCol="0" anchor="t" anchorCtr="0" compatLnSpc="1">
              <a:prstTxWarp prst="textNoShape">
                <a:avLst/>
              </a:prstTxWarp>
            </a:bodyPr>
            <a:lstStyle/>
            <a:p>
              <a:pPr defTabSz="685666" fontAlgn="base">
                <a:lnSpc>
                  <a:spcPct val="90000"/>
                </a:lnSpc>
                <a:spcBef>
                  <a:spcPct val="0"/>
                </a:spcBef>
                <a:spcAft>
                  <a:spcPct val="0"/>
                </a:spcAft>
              </a:pPr>
              <a:r>
                <a:rPr lang="en-US" sz="3000" spc="-98" dirty="0">
                  <a:gradFill>
                    <a:gsLst>
                      <a:gs pos="0">
                        <a:srgbClr val="FFFFFF"/>
                      </a:gs>
                      <a:gs pos="100000">
                        <a:srgbClr val="FFFFFF"/>
                      </a:gs>
                    </a:gsLst>
                    <a:lin ang="16200000" scaled="0"/>
                  </a:gradFill>
                  <a:latin typeface="Segoe UI Light"/>
                </a:rPr>
                <a:t>Agile </a:t>
              </a:r>
              <a:r>
                <a:rPr lang="en-US" sz="3000" spc="-98" dirty="0">
                  <a:gradFill>
                    <a:gsLst>
                      <a:gs pos="0">
                        <a:srgbClr val="FFFFFF"/>
                      </a:gs>
                      <a:gs pos="100000">
                        <a:srgbClr val="FFFFFF"/>
                      </a:gs>
                    </a:gsLst>
                    <a:lin ang="16200000" scaled="0"/>
                  </a:gradFill>
                  <a:latin typeface="Segoe UI Light"/>
                </a:rPr>
                <a:t/>
              </a:r>
              <a:br>
                <a:rPr lang="en-US" sz="3000" spc="-98" dirty="0">
                  <a:gradFill>
                    <a:gsLst>
                      <a:gs pos="0">
                        <a:srgbClr val="FFFFFF"/>
                      </a:gs>
                      <a:gs pos="100000">
                        <a:srgbClr val="FFFFFF"/>
                      </a:gs>
                    </a:gsLst>
                    <a:lin ang="16200000" scaled="0"/>
                  </a:gradFill>
                  <a:latin typeface="Segoe UI Light"/>
                </a:rPr>
              </a:br>
              <a:r>
                <a:rPr lang="en-US" sz="3000" spc="-98" dirty="0">
                  <a:gradFill>
                    <a:gsLst>
                      <a:gs pos="0">
                        <a:srgbClr val="FFFFFF"/>
                      </a:gs>
                      <a:gs pos="100000">
                        <a:srgbClr val="FFFFFF"/>
                      </a:gs>
                    </a:gsLst>
                    <a:lin ang="16200000" scaled="0"/>
                  </a:gradFill>
                  <a:latin typeface="Segoe UI Light"/>
                </a:rPr>
                <a:t>practices</a:t>
              </a:r>
              <a:endParaRPr lang="en-US" sz="3000" spc="-98" dirty="0">
                <a:gradFill>
                  <a:gsLst>
                    <a:gs pos="0">
                      <a:srgbClr val="FFFFFF"/>
                    </a:gs>
                    <a:gs pos="100000">
                      <a:srgbClr val="FFFFFF"/>
                    </a:gs>
                  </a:gsLst>
                  <a:lin ang="16200000" scaled="0"/>
                </a:gradFill>
                <a:latin typeface="Segoe UI Light"/>
              </a:endParaRPr>
            </a:p>
          </p:txBody>
        </p:sp>
        <p:sp>
          <p:nvSpPr>
            <p:cNvPr id="11" name="Freeform 262"/>
            <p:cNvSpPr>
              <a:spLocks noChangeAspect="1" noEditPoints="1"/>
            </p:cNvSpPr>
            <p:nvPr/>
          </p:nvSpPr>
          <p:spPr bwMode="auto">
            <a:xfrm rot="10800000">
              <a:off x="7007633" y="2558288"/>
              <a:ext cx="629493" cy="612663"/>
            </a:xfrm>
            <a:custGeom>
              <a:avLst/>
              <a:gdLst>
                <a:gd name="T0" fmla="*/ 169 w 396"/>
                <a:gd name="T1" fmla="*/ 26 h 385"/>
                <a:gd name="T2" fmla="*/ 198 w 396"/>
                <a:gd name="T3" fmla="*/ 22 h 385"/>
                <a:gd name="T4" fmla="*/ 212 w 396"/>
                <a:gd name="T5" fmla="*/ 61 h 385"/>
                <a:gd name="T6" fmla="*/ 240 w 396"/>
                <a:gd name="T7" fmla="*/ 72 h 385"/>
                <a:gd name="T8" fmla="*/ 232 w 396"/>
                <a:gd name="T9" fmla="*/ 113 h 385"/>
                <a:gd name="T10" fmla="*/ 251 w 396"/>
                <a:gd name="T11" fmla="*/ 137 h 385"/>
                <a:gd name="T12" fmla="*/ 222 w 396"/>
                <a:gd name="T13" fmla="*/ 167 h 385"/>
                <a:gd name="T14" fmla="*/ 228 w 396"/>
                <a:gd name="T15" fmla="*/ 198 h 385"/>
                <a:gd name="T16" fmla="*/ 188 w 396"/>
                <a:gd name="T17" fmla="*/ 209 h 385"/>
                <a:gd name="T18" fmla="*/ 178 w 396"/>
                <a:gd name="T19" fmla="*/ 239 h 385"/>
                <a:gd name="T20" fmla="*/ 137 w 396"/>
                <a:gd name="T21" fmla="*/ 227 h 385"/>
                <a:gd name="T22" fmla="*/ 114 w 396"/>
                <a:gd name="T23" fmla="*/ 250 h 385"/>
                <a:gd name="T24" fmla="*/ 85 w 396"/>
                <a:gd name="T25" fmla="*/ 219 h 385"/>
                <a:gd name="T26" fmla="*/ 53 w 396"/>
                <a:gd name="T27" fmla="*/ 227 h 385"/>
                <a:gd name="T28" fmla="*/ 43 w 396"/>
                <a:gd name="T29" fmla="*/ 186 h 385"/>
                <a:gd name="T30" fmla="*/ 11 w 396"/>
                <a:gd name="T31" fmla="*/ 177 h 385"/>
                <a:gd name="T32" fmla="*/ 23 w 396"/>
                <a:gd name="T33" fmla="*/ 137 h 385"/>
                <a:gd name="T34" fmla="*/ 0 w 396"/>
                <a:gd name="T35" fmla="*/ 113 h 385"/>
                <a:gd name="T36" fmla="*/ 30 w 396"/>
                <a:gd name="T37" fmla="*/ 83 h 385"/>
                <a:gd name="T38" fmla="*/ 23 w 396"/>
                <a:gd name="T39" fmla="*/ 52 h 385"/>
                <a:gd name="T40" fmla="*/ 63 w 396"/>
                <a:gd name="T41" fmla="*/ 40 h 385"/>
                <a:gd name="T42" fmla="*/ 73 w 396"/>
                <a:gd name="T43" fmla="*/ 10 h 385"/>
                <a:gd name="T44" fmla="*/ 114 w 396"/>
                <a:gd name="T45" fmla="*/ 19 h 385"/>
                <a:gd name="T46" fmla="*/ 137 w 396"/>
                <a:gd name="T47" fmla="*/ 0 h 385"/>
                <a:gd name="T48" fmla="*/ 127 w 396"/>
                <a:gd name="T49" fmla="*/ 28 h 385"/>
                <a:gd name="T50" fmla="*/ 127 w 396"/>
                <a:gd name="T51" fmla="*/ 218 h 385"/>
                <a:gd name="T52" fmla="*/ 127 w 396"/>
                <a:gd name="T53" fmla="*/ 28 h 385"/>
                <a:gd name="T54" fmla="*/ 350 w 396"/>
                <a:gd name="T55" fmla="*/ 218 h 385"/>
                <a:gd name="T56" fmla="*/ 373 w 396"/>
                <a:gd name="T57" fmla="*/ 221 h 385"/>
                <a:gd name="T58" fmla="*/ 376 w 396"/>
                <a:gd name="T59" fmla="*/ 254 h 385"/>
                <a:gd name="T60" fmla="*/ 395 w 396"/>
                <a:gd name="T61" fmla="*/ 269 h 385"/>
                <a:gd name="T62" fmla="*/ 381 w 396"/>
                <a:gd name="T63" fmla="*/ 298 h 385"/>
                <a:gd name="T64" fmla="*/ 391 w 396"/>
                <a:gd name="T65" fmla="*/ 321 h 385"/>
                <a:gd name="T66" fmla="*/ 363 w 396"/>
                <a:gd name="T67" fmla="*/ 339 h 385"/>
                <a:gd name="T68" fmla="*/ 361 w 396"/>
                <a:gd name="T69" fmla="*/ 363 h 385"/>
                <a:gd name="T70" fmla="*/ 327 w 396"/>
                <a:gd name="T71" fmla="*/ 364 h 385"/>
                <a:gd name="T72" fmla="*/ 313 w 396"/>
                <a:gd name="T73" fmla="*/ 385 h 385"/>
                <a:gd name="T74" fmla="*/ 284 w 396"/>
                <a:gd name="T75" fmla="*/ 368 h 385"/>
                <a:gd name="T76" fmla="*/ 261 w 396"/>
                <a:gd name="T77" fmla="*/ 380 h 385"/>
                <a:gd name="T78" fmla="*/ 245 w 396"/>
                <a:gd name="T79" fmla="*/ 350 h 385"/>
                <a:gd name="T80" fmla="*/ 219 w 396"/>
                <a:gd name="T81" fmla="*/ 350 h 385"/>
                <a:gd name="T82" fmla="*/ 220 w 396"/>
                <a:gd name="T83" fmla="*/ 316 h 385"/>
                <a:gd name="T84" fmla="*/ 197 w 396"/>
                <a:gd name="T85" fmla="*/ 303 h 385"/>
                <a:gd name="T86" fmla="*/ 214 w 396"/>
                <a:gd name="T87" fmla="*/ 274 h 385"/>
                <a:gd name="T88" fmla="*/ 201 w 396"/>
                <a:gd name="T89" fmla="*/ 251 h 385"/>
                <a:gd name="T90" fmla="*/ 230 w 396"/>
                <a:gd name="T91" fmla="*/ 234 h 385"/>
                <a:gd name="T92" fmla="*/ 231 w 396"/>
                <a:gd name="T93" fmla="*/ 208 h 385"/>
                <a:gd name="T94" fmla="*/ 265 w 396"/>
                <a:gd name="T95" fmla="*/ 207 h 385"/>
                <a:gd name="T96" fmla="*/ 279 w 396"/>
                <a:gd name="T97" fmla="*/ 186 h 385"/>
                <a:gd name="T98" fmla="*/ 309 w 396"/>
                <a:gd name="T99" fmla="*/ 201 h 385"/>
                <a:gd name="T100" fmla="*/ 331 w 396"/>
                <a:gd name="T101" fmla="*/ 191 h 385"/>
                <a:gd name="T102" fmla="*/ 317 w 396"/>
                <a:gd name="T103" fmla="*/ 211 h 385"/>
                <a:gd name="T104" fmla="*/ 278 w 396"/>
                <a:gd name="T105" fmla="*/ 358 h 385"/>
                <a:gd name="T106" fmla="*/ 317 w 396"/>
                <a:gd name="T107" fmla="*/ 211 h 385"/>
                <a:gd name="T108" fmla="*/ 283 w 396"/>
                <a:gd name="T109" fmla="*/ 341 h 385"/>
                <a:gd name="T110" fmla="*/ 313 w 396"/>
                <a:gd name="T111" fmla="*/ 228 h 385"/>
                <a:gd name="T112" fmla="*/ 127 w 396"/>
                <a:gd name="T113" fmla="*/ 196 h 385"/>
                <a:gd name="T114" fmla="*/ 127 w 396"/>
                <a:gd name="T115" fmla="*/ 50 h 385"/>
                <a:gd name="T116" fmla="*/ 127 w 396"/>
                <a:gd name="T117" fmla="*/ 196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6" h="385">
                  <a:moveTo>
                    <a:pt x="137" y="18"/>
                  </a:moveTo>
                  <a:cubicBezTo>
                    <a:pt x="148" y="19"/>
                    <a:pt x="159" y="22"/>
                    <a:pt x="169" y="26"/>
                  </a:cubicBezTo>
                  <a:cubicBezTo>
                    <a:pt x="178" y="10"/>
                    <a:pt x="178" y="10"/>
                    <a:pt x="178" y="10"/>
                  </a:cubicBezTo>
                  <a:cubicBezTo>
                    <a:pt x="198" y="22"/>
                    <a:pt x="198" y="22"/>
                    <a:pt x="198" y="22"/>
                  </a:cubicBezTo>
                  <a:cubicBezTo>
                    <a:pt x="189" y="38"/>
                    <a:pt x="189" y="38"/>
                    <a:pt x="189" y="38"/>
                  </a:cubicBezTo>
                  <a:cubicBezTo>
                    <a:pt x="198" y="44"/>
                    <a:pt x="206" y="52"/>
                    <a:pt x="212" y="61"/>
                  </a:cubicBezTo>
                  <a:cubicBezTo>
                    <a:pt x="228" y="52"/>
                    <a:pt x="228" y="52"/>
                    <a:pt x="228" y="52"/>
                  </a:cubicBezTo>
                  <a:cubicBezTo>
                    <a:pt x="240" y="72"/>
                    <a:pt x="240" y="72"/>
                    <a:pt x="240" y="72"/>
                  </a:cubicBezTo>
                  <a:cubicBezTo>
                    <a:pt x="224" y="82"/>
                    <a:pt x="224" y="82"/>
                    <a:pt x="224" y="82"/>
                  </a:cubicBezTo>
                  <a:cubicBezTo>
                    <a:pt x="228" y="91"/>
                    <a:pt x="231" y="102"/>
                    <a:pt x="232" y="113"/>
                  </a:cubicBezTo>
                  <a:cubicBezTo>
                    <a:pt x="251" y="113"/>
                    <a:pt x="251" y="113"/>
                    <a:pt x="251" y="113"/>
                  </a:cubicBezTo>
                  <a:cubicBezTo>
                    <a:pt x="251" y="137"/>
                    <a:pt x="251" y="137"/>
                    <a:pt x="251" y="137"/>
                  </a:cubicBezTo>
                  <a:cubicBezTo>
                    <a:pt x="231" y="137"/>
                    <a:pt x="231" y="137"/>
                    <a:pt x="231" y="137"/>
                  </a:cubicBezTo>
                  <a:cubicBezTo>
                    <a:pt x="230" y="147"/>
                    <a:pt x="227" y="158"/>
                    <a:pt x="222" y="167"/>
                  </a:cubicBezTo>
                  <a:cubicBezTo>
                    <a:pt x="240" y="177"/>
                    <a:pt x="240" y="177"/>
                    <a:pt x="240" y="177"/>
                  </a:cubicBezTo>
                  <a:cubicBezTo>
                    <a:pt x="228" y="198"/>
                    <a:pt x="228" y="198"/>
                    <a:pt x="228" y="198"/>
                  </a:cubicBezTo>
                  <a:cubicBezTo>
                    <a:pt x="210" y="187"/>
                    <a:pt x="210" y="187"/>
                    <a:pt x="210" y="187"/>
                  </a:cubicBezTo>
                  <a:cubicBezTo>
                    <a:pt x="204" y="195"/>
                    <a:pt x="196" y="203"/>
                    <a:pt x="188" y="209"/>
                  </a:cubicBezTo>
                  <a:cubicBezTo>
                    <a:pt x="198" y="227"/>
                    <a:pt x="198" y="227"/>
                    <a:pt x="198" y="227"/>
                  </a:cubicBezTo>
                  <a:cubicBezTo>
                    <a:pt x="178" y="239"/>
                    <a:pt x="178" y="239"/>
                    <a:pt x="178" y="239"/>
                  </a:cubicBezTo>
                  <a:cubicBezTo>
                    <a:pt x="167" y="220"/>
                    <a:pt x="167" y="220"/>
                    <a:pt x="167" y="220"/>
                  </a:cubicBezTo>
                  <a:cubicBezTo>
                    <a:pt x="158" y="224"/>
                    <a:pt x="148" y="226"/>
                    <a:pt x="137" y="227"/>
                  </a:cubicBezTo>
                  <a:cubicBezTo>
                    <a:pt x="137" y="250"/>
                    <a:pt x="137" y="250"/>
                    <a:pt x="137" y="250"/>
                  </a:cubicBezTo>
                  <a:cubicBezTo>
                    <a:pt x="114" y="250"/>
                    <a:pt x="114" y="250"/>
                    <a:pt x="114" y="250"/>
                  </a:cubicBezTo>
                  <a:cubicBezTo>
                    <a:pt x="114" y="227"/>
                    <a:pt x="114" y="227"/>
                    <a:pt x="114" y="227"/>
                  </a:cubicBezTo>
                  <a:cubicBezTo>
                    <a:pt x="104" y="226"/>
                    <a:pt x="94" y="223"/>
                    <a:pt x="85" y="219"/>
                  </a:cubicBezTo>
                  <a:cubicBezTo>
                    <a:pt x="73" y="239"/>
                    <a:pt x="73" y="239"/>
                    <a:pt x="73" y="239"/>
                  </a:cubicBezTo>
                  <a:cubicBezTo>
                    <a:pt x="53" y="227"/>
                    <a:pt x="53" y="227"/>
                    <a:pt x="53" y="227"/>
                  </a:cubicBezTo>
                  <a:cubicBezTo>
                    <a:pt x="64" y="207"/>
                    <a:pt x="64" y="207"/>
                    <a:pt x="64" y="207"/>
                  </a:cubicBezTo>
                  <a:cubicBezTo>
                    <a:pt x="56" y="201"/>
                    <a:pt x="49" y="194"/>
                    <a:pt x="43" y="186"/>
                  </a:cubicBezTo>
                  <a:cubicBezTo>
                    <a:pt x="23" y="198"/>
                    <a:pt x="23" y="198"/>
                    <a:pt x="23" y="198"/>
                  </a:cubicBezTo>
                  <a:cubicBezTo>
                    <a:pt x="11" y="177"/>
                    <a:pt x="11" y="177"/>
                    <a:pt x="11" y="177"/>
                  </a:cubicBezTo>
                  <a:cubicBezTo>
                    <a:pt x="31" y="166"/>
                    <a:pt x="31" y="166"/>
                    <a:pt x="31" y="166"/>
                  </a:cubicBezTo>
                  <a:cubicBezTo>
                    <a:pt x="27" y="156"/>
                    <a:pt x="24" y="147"/>
                    <a:pt x="23" y="137"/>
                  </a:cubicBezTo>
                  <a:cubicBezTo>
                    <a:pt x="0" y="137"/>
                    <a:pt x="0" y="137"/>
                    <a:pt x="0" y="137"/>
                  </a:cubicBezTo>
                  <a:cubicBezTo>
                    <a:pt x="0" y="113"/>
                    <a:pt x="0" y="113"/>
                    <a:pt x="0" y="113"/>
                  </a:cubicBezTo>
                  <a:cubicBezTo>
                    <a:pt x="23" y="113"/>
                    <a:pt x="23" y="113"/>
                    <a:pt x="23" y="113"/>
                  </a:cubicBezTo>
                  <a:cubicBezTo>
                    <a:pt x="24" y="103"/>
                    <a:pt x="26" y="93"/>
                    <a:pt x="30" y="83"/>
                  </a:cubicBezTo>
                  <a:cubicBezTo>
                    <a:pt x="11" y="72"/>
                    <a:pt x="11" y="72"/>
                    <a:pt x="11" y="72"/>
                  </a:cubicBezTo>
                  <a:cubicBezTo>
                    <a:pt x="23" y="52"/>
                    <a:pt x="23" y="52"/>
                    <a:pt x="23" y="52"/>
                  </a:cubicBezTo>
                  <a:cubicBezTo>
                    <a:pt x="41" y="63"/>
                    <a:pt x="41" y="63"/>
                    <a:pt x="41" y="63"/>
                  </a:cubicBezTo>
                  <a:cubicBezTo>
                    <a:pt x="47" y="54"/>
                    <a:pt x="55" y="46"/>
                    <a:pt x="63" y="40"/>
                  </a:cubicBezTo>
                  <a:cubicBezTo>
                    <a:pt x="53" y="22"/>
                    <a:pt x="53" y="22"/>
                    <a:pt x="53" y="22"/>
                  </a:cubicBezTo>
                  <a:cubicBezTo>
                    <a:pt x="73" y="10"/>
                    <a:pt x="73" y="10"/>
                    <a:pt x="73" y="10"/>
                  </a:cubicBezTo>
                  <a:cubicBezTo>
                    <a:pt x="83" y="28"/>
                    <a:pt x="83" y="28"/>
                    <a:pt x="83" y="28"/>
                  </a:cubicBezTo>
                  <a:cubicBezTo>
                    <a:pt x="92" y="23"/>
                    <a:pt x="103" y="20"/>
                    <a:pt x="114" y="19"/>
                  </a:cubicBezTo>
                  <a:cubicBezTo>
                    <a:pt x="114" y="0"/>
                    <a:pt x="114" y="0"/>
                    <a:pt x="114" y="0"/>
                  </a:cubicBezTo>
                  <a:cubicBezTo>
                    <a:pt x="137" y="0"/>
                    <a:pt x="137" y="0"/>
                    <a:pt x="137" y="0"/>
                  </a:cubicBezTo>
                  <a:cubicBezTo>
                    <a:pt x="137" y="18"/>
                    <a:pt x="137" y="18"/>
                    <a:pt x="137" y="18"/>
                  </a:cubicBezTo>
                  <a:close/>
                  <a:moveTo>
                    <a:pt x="127" y="28"/>
                  </a:moveTo>
                  <a:cubicBezTo>
                    <a:pt x="75" y="28"/>
                    <a:pt x="32" y="70"/>
                    <a:pt x="32" y="123"/>
                  </a:cubicBezTo>
                  <a:cubicBezTo>
                    <a:pt x="32" y="175"/>
                    <a:pt x="75" y="218"/>
                    <a:pt x="127" y="218"/>
                  </a:cubicBezTo>
                  <a:cubicBezTo>
                    <a:pt x="180" y="218"/>
                    <a:pt x="222" y="175"/>
                    <a:pt x="222" y="123"/>
                  </a:cubicBezTo>
                  <a:cubicBezTo>
                    <a:pt x="222" y="70"/>
                    <a:pt x="180" y="28"/>
                    <a:pt x="127" y="28"/>
                  </a:cubicBezTo>
                  <a:close/>
                  <a:moveTo>
                    <a:pt x="327" y="206"/>
                  </a:moveTo>
                  <a:cubicBezTo>
                    <a:pt x="335" y="209"/>
                    <a:pt x="343" y="213"/>
                    <a:pt x="350" y="218"/>
                  </a:cubicBezTo>
                  <a:cubicBezTo>
                    <a:pt x="360" y="208"/>
                    <a:pt x="360" y="208"/>
                    <a:pt x="360" y="208"/>
                  </a:cubicBezTo>
                  <a:cubicBezTo>
                    <a:pt x="373" y="221"/>
                    <a:pt x="373" y="221"/>
                    <a:pt x="373" y="221"/>
                  </a:cubicBezTo>
                  <a:cubicBezTo>
                    <a:pt x="363" y="231"/>
                    <a:pt x="363" y="231"/>
                    <a:pt x="363" y="231"/>
                  </a:cubicBezTo>
                  <a:cubicBezTo>
                    <a:pt x="369" y="238"/>
                    <a:pt x="373" y="246"/>
                    <a:pt x="376" y="254"/>
                  </a:cubicBezTo>
                  <a:cubicBezTo>
                    <a:pt x="390" y="250"/>
                    <a:pt x="390" y="250"/>
                    <a:pt x="390" y="250"/>
                  </a:cubicBezTo>
                  <a:cubicBezTo>
                    <a:pt x="395" y="269"/>
                    <a:pt x="395" y="269"/>
                    <a:pt x="395" y="269"/>
                  </a:cubicBezTo>
                  <a:cubicBezTo>
                    <a:pt x="381" y="272"/>
                    <a:pt x="381" y="272"/>
                    <a:pt x="381" y="272"/>
                  </a:cubicBezTo>
                  <a:cubicBezTo>
                    <a:pt x="382" y="281"/>
                    <a:pt x="382" y="290"/>
                    <a:pt x="381" y="298"/>
                  </a:cubicBezTo>
                  <a:cubicBezTo>
                    <a:pt x="396" y="302"/>
                    <a:pt x="396" y="302"/>
                    <a:pt x="396" y="302"/>
                  </a:cubicBezTo>
                  <a:cubicBezTo>
                    <a:pt x="391" y="321"/>
                    <a:pt x="391" y="321"/>
                    <a:pt x="391" y="321"/>
                  </a:cubicBezTo>
                  <a:cubicBezTo>
                    <a:pt x="376" y="317"/>
                    <a:pt x="376" y="317"/>
                    <a:pt x="376" y="317"/>
                  </a:cubicBezTo>
                  <a:cubicBezTo>
                    <a:pt x="372" y="325"/>
                    <a:pt x="368" y="332"/>
                    <a:pt x="363" y="339"/>
                  </a:cubicBezTo>
                  <a:cubicBezTo>
                    <a:pt x="374" y="350"/>
                    <a:pt x="374" y="350"/>
                    <a:pt x="374" y="350"/>
                  </a:cubicBezTo>
                  <a:cubicBezTo>
                    <a:pt x="361" y="363"/>
                    <a:pt x="361" y="363"/>
                    <a:pt x="361" y="363"/>
                  </a:cubicBezTo>
                  <a:cubicBezTo>
                    <a:pt x="349" y="352"/>
                    <a:pt x="349" y="352"/>
                    <a:pt x="349" y="352"/>
                  </a:cubicBezTo>
                  <a:cubicBezTo>
                    <a:pt x="342" y="357"/>
                    <a:pt x="335" y="361"/>
                    <a:pt x="327" y="364"/>
                  </a:cubicBezTo>
                  <a:cubicBezTo>
                    <a:pt x="331" y="380"/>
                    <a:pt x="331" y="380"/>
                    <a:pt x="331" y="380"/>
                  </a:cubicBezTo>
                  <a:cubicBezTo>
                    <a:pt x="313" y="385"/>
                    <a:pt x="313" y="385"/>
                    <a:pt x="313" y="385"/>
                  </a:cubicBezTo>
                  <a:cubicBezTo>
                    <a:pt x="309" y="368"/>
                    <a:pt x="309" y="368"/>
                    <a:pt x="309" y="368"/>
                  </a:cubicBezTo>
                  <a:cubicBezTo>
                    <a:pt x="301" y="369"/>
                    <a:pt x="292" y="369"/>
                    <a:pt x="284" y="368"/>
                  </a:cubicBezTo>
                  <a:cubicBezTo>
                    <a:pt x="280" y="385"/>
                    <a:pt x="280" y="385"/>
                    <a:pt x="280" y="385"/>
                  </a:cubicBezTo>
                  <a:cubicBezTo>
                    <a:pt x="261" y="380"/>
                    <a:pt x="261" y="380"/>
                    <a:pt x="261" y="380"/>
                  </a:cubicBezTo>
                  <a:cubicBezTo>
                    <a:pt x="266" y="363"/>
                    <a:pt x="266" y="363"/>
                    <a:pt x="266" y="363"/>
                  </a:cubicBezTo>
                  <a:cubicBezTo>
                    <a:pt x="258" y="359"/>
                    <a:pt x="251" y="355"/>
                    <a:pt x="245" y="350"/>
                  </a:cubicBezTo>
                  <a:cubicBezTo>
                    <a:pt x="232" y="364"/>
                    <a:pt x="232" y="364"/>
                    <a:pt x="232" y="364"/>
                  </a:cubicBezTo>
                  <a:cubicBezTo>
                    <a:pt x="219" y="350"/>
                    <a:pt x="219" y="350"/>
                    <a:pt x="219" y="350"/>
                  </a:cubicBezTo>
                  <a:cubicBezTo>
                    <a:pt x="232" y="337"/>
                    <a:pt x="232" y="337"/>
                    <a:pt x="232" y="337"/>
                  </a:cubicBezTo>
                  <a:cubicBezTo>
                    <a:pt x="227" y="331"/>
                    <a:pt x="223" y="324"/>
                    <a:pt x="220" y="316"/>
                  </a:cubicBezTo>
                  <a:cubicBezTo>
                    <a:pt x="202" y="321"/>
                    <a:pt x="202" y="321"/>
                    <a:pt x="202" y="321"/>
                  </a:cubicBezTo>
                  <a:cubicBezTo>
                    <a:pt x="197" y="303"/>
                    <a:pt x="197" y="303"/>
                    <a:pt x="197" y="303"/>
                  </a:cubicBezTo>
                  <a:cubicBezTo>
                    <a:pt x="215" y="298"/>
                    <a:pt x="215" y="298"/>
                    <a:pt x="215" y="298"/>
                  </a:cubicBezTo>
                  <a:cubicBezTo>
                    <a:pt x="213" y="290"/>
                    <a:pt x="213" y="282"/>
                    <a:pt x="214" y="274"/>
                  </a:cubicBezTo>
                  <a:cubicBezTo>
                    <a:pt x="197" y="269"/>
                    <a:pt x="197" y="269"/>
                    <a:pt x="197" y="269"/>
                  </a:cubicBezTo>
                  <a:cubicBezTo>
                    <a:pt x="201" y="251"/>
                    <a:pt x="201" y="251"/>
                    <a:pt x="201" y="251"/>
                  </a:cubicBezTo>
                  <a:cubicBezTo>
                    <a:pt x="219" y="256"/>
                    <a:pt x="219" y="256"/>
                    <a:pt x="219" y="256"/>
                  </a:cubicBezTo>
                  <a:cubicBezTo>
                    <a:pt x="222" y="248"/>
                    <a:pt x="226" y="240"/>
                    <a:pt x="230" y="234"/>
                  </a:cubicBezTo>
                  <a:cubicBezTo>
                    <a:pt x="218" y="222"/>
                    <a:pt x="218" y="222"/>
                    <a:pt x="218" y="222"/>
                  </a:cubicBezTo>
                  <a:cubicBezTo>
                    <a:pt x="231" y="208"/>
                    <a:pt x="231" y="208"/>
                    <a:pt x="231" y="208"/>
                  </a:cubicBezTo>
                  <a:cubicBezTo>
                    <a:pt x="243" y="220"/>
                    <a:pt x="243" y="220"/>
                    <a:pt x="243" y="220"/>
                  </a:cubicBezTo>
                  <a:cubicBezTo>
                    <a:pt x="250" y="215"/>
                    <a:pt x="257" y="210"/>
                    <a:pt x="265" y="207"/>
                  </a:cubicBezTo>
                  <a:cubicBezTo>
                    <a:pt x="261" y="191"/>
                    <a:pt x="261" y="191"/>
                    <a:pt x="261" y="191"/>
                  </a:cubicBezTo>
                  <a:cubicBezTo>
                    <a:pt x="279" y="186"/>
                    <a:pt x="279" y="186"/>
                    <a:pt x="279" y="186"/>
                  </a:cubicBezTo>
                  <a:cubicBezTo>
                    <a:pt x="283" y="202"/>
                    <a:pt x="283" y="202"/>
                    <a:pt x="283" y="202"/>
                  </a:cubicBezTo>
                  <a:cubicBezTo>
                    <a:pt x="291" y="200"/>
                    <a:pt x="300" y="200"/>
                    <a:pt x="309" y="201"/>
                  </a:cubicBezTo>
                  <a:cubicBezTo>
                    <a:pt x="313" y="186"/>
                    <a:pt x="313" y="186"/>
                    <a:pt x="313" y="186"/>
                  </a:cubicBezTo>
                  <a:cubicBezTo>
                    <a:pt x="331" y="191"/>
                    <a:pt x="331" y="191"/>
                    <a:pt x="331" y="191"/>
                  </a:cubicBezTo>
                  <a:cubicBezTo>
                    <a:pt x="327" y="206"/>
                    <a:pt x="327" y="206"/>
                    <a:pt x="327" y="206"/>
                  </a:cubicBezTo>
                  <a:close/>
                  <a:moveTo>
                    <a:pt x="317" y="211"/>
                  </a:moveTo>
                  <a:cubicBezTo>
                    <a:pt x="277" y="200"/>
                    <a:pt x="235" y="224"/>
                    <a:pt x="224" y="265"/>
                  </a:cubicBezTo>
                  <a:cubicBezTo>
                    <a:pt x="213" y="306"/>
                    <a:pt x="238" y="348"/>
                    <a:pt x="278" y="358"/>
                  </a:cubicBezTo>
                  <a:cubicBezTo>
                    <a:pt x="319" y="369"/>
                    <a:pt x="361" y="345"/>
                    <a:pt x="372" y="304"/>
                  </a:cubicBezTo>
                  <a:cubicBezTo>
                    <a:pt x="382" y="263"/>
                    <a:pt x="358" y="222"/>
                    <a:pt x="317" y="211"/>
                  </a:cubicBezTo>
                  <a:close/>
                  <a:moveTo>
                    <a:pt x="241" y="270"/>
                  </a:moveTo>
                  <a:cubicBezTo>
                    <a:pt x="233" y="301"/>
                    <a:pt x="251" y="333"/>
                    <a:pt x="283" y="341"/>
                  </a:cubicBezTo>
                  <a:cubicBezTo>
                    <a:pt x="314" y="350"/>
                    <a:pt x="346" y="331"/>
                    <a:pt x="355" y="300"/>
                  </a:cubicBezTo>
                  <a:cubicBezTo>
                    <a:pt x="363" y="268"/>
                    <a:pt x="344" y="236"/>
                    <a:pt x="313" y="228"/>
                  </a:cubicBezTo>
                  <a:cubicBezTo>
                    <a:pt x="281" y="219"/>
                    <a:pt x="249" y="238"/>
                    <a:pt x="241" y="270"/>
                  </a:cubicBezTo>
                  <a:close/>
                  <a:moveTo>
                    <a:pt x="127" y="196"/>
                  </a:moveTo>
                  <a:cubicBezTo>
                    <a:pt x="168" y="196"/>
                    <a:pt x="200" y="163"/>
                    <a:pt x="200" y="123"/>
                  </a:cubicBezTo>
                  <a:cubicBezTo>
                    <a:pt x="200" y="82"/>
                    <a:pt x="168" y="50"/>
                    <a:pt x="127" y="50"/>
                  </a:cubicBezTo>
                  <a:cubicBezTo>
                    <a:pt x="87" y="50"/>
                    <a:pt x="54" y="82"/>
                    <a:pt x="54" y="123"/>
                  </a:cubicBezTo>
                  <a:cubicBezTo>
                    <a:pt x="54" y="163"/>
                    <a:pt x="87" y="196"/>
                    <a:pt x="127" y="196"/>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p>
          </p:txBody>
        </p:sp>
      </p:grpSp>
      <p:grpSp>
        <p:nvGrpSpPr>
          <p:cNvPr id="12" name="Group 11"/>
          <p:cNvGrpSpPr/>
          <p:nvPr/>
        </p:nvGrpSpPr>
        <p:grpSpPr>
          <a:xfrm>
            <a:off x="6066994" y="934147"/>
            <a:ext cx="2686465" cy="1599932"/>
            <a:chOff x="8087219" y="1245528"/>
            <a:chExt cx="3581020" cy="2133243"/>
          </a:xfrm>
        </p:grpSpPr>
        <p:sp>
          <p:nvSpPr>
            <p:cNvPr id="13" name="Rectangle 12"/>
            <p:cNvSpPr/>
            <p:nvPr/>
          </p:nvSpPr>
          <p:spPr bwMode="auto">
            <a:xfrm>
              <a:off x="8087219" y="1245528"/>
              <a:ext cx="3581020" cy="2133243"/>
            </a:xfrm>
            <a:prstGeom prst="rect">
              <a:avLst/>
            </a:prstGeom>
            <a:solidFill>
              <a:schemeClr val="accent1"/>
            </a:solidFill>
            <a:ln w="25400" cap="flat" cmpd="sng" algn="ctr">
              <a:noFill/>
              <a:prstDash val="solid"/>
              <a:headEnd type="none" w="med" len="med"/>
              <a:tailEnd type="none" w="med" len="med"/>
            </a:ln>
            <a:effectLst/>
          </p:spPr>
          <p:style>
            <a:lnRef idx="2">
              <a:schemeClr val="accent5">
                <a:shade val="50000"/>
              </a:schemeClr>
            </a:lnRef>
            <a:fillRef idx="1">
              <a:schemeClr val="accent5"/>
            </a:fillRef>
            <a:effectRef idx="0">
              <a:schemeClr val="accent5"/>
            </a:effectRef>
            <a:fontRef idx="minor">
              <a:schemeClr val="lt1"/>
            </a:fontRef>
          </p:style>
          <p:txBody>
            <a:bodyPr vert="horz" wrap="square" lIns="182880" tIns="228600" rIns="91436" bIns="45718" numCol="1" rtlCol="0" anchor="t" anchorCtr="0" compatLnSpc="1">
              <a:prstTxWarp prst="textNoShape">
                <a:avLst/>
              </a:prstTxWarp>
            </a:bodyPr>
            <a:lstStyle/>
            <a:p>
              <a:pPr defTabSz="685666" fontAlgn="base">
                <a:lnSpc>
                  <a:spcPct val="90000"/>
                </a:lnSpc>
                <a:spcBef>
                  <a:spcPct val="0"/>
                </a:spcBef>
                <a:spcAft>
                  <a:spcPct val="0"/>
                </a:spcAft>
              </a:pPr>
              <a:r>
                <a:rPr lang="en-US" sz="3000" spc="-98" dirty="0">
                  <a:gradFill>
                    <a:gsLst>
                      <a:gs pos="0">
                        <a:srgbClr val="FFFFFF"/>
                      </a:gs>
                      <a:gs pos="100000">
                        <a:srgbClr val="FFFFFF"/>
                      </a:gs>
                    </a:gsLst>
                    <a:lin ang="16200000" scaled="0"/>
                  </a:gradFill>
                  <a:latin typeface="Segoe UI Light"/>
                </a:rPr>
                <a:t>Developer services</a:t>
              </a:r>
            </a:p>
          </p:txBody>
        </p:sp>
        <p:sp>
          <p:nvSpPr>
            <p:cNvPr id="14" name="Freeform 81"/>
            <p:cNvSpPr>
              <a:spLocks/>
            </p:cNvSpPr>
            <p:nvPr/>
          </p:nvSpPr>
          <p:spPr bwMode="black">
            <a:xfrm>
              <a:off x="10931947" y="2507964"/>
              <a:ext cx="486908" cy="662987"/>
            </a:xfrm>
            <a:custGeom>
              <a:avLst/>
              <a:gdLst>
                <a:gd name="T0" fmla="*/ 230 w 256"/>
                <a:gd name="T1" fmla="*/ 221 h 349"/>
                <a:gd name="T2" fmla="*/ 256 w 256"/>
                <a:gd name="T3" fmla="*/ 202 h 349"/>
                <a:gd name="T4" fmla="*/ 232 w 256"/>
                <a:gd name="T5" fmla="*/ 184 h 349"/>
                <a:gd name="T6" fmla="*/ 239 w 256"/>
                <a:gd name="T7" fmla="*/ 170 h 349"/>
                <a:gd name="T8" fmla="*/ 217 w 256"/>
                <a:gd name="T9" fmla="*/ 152 h 349"/>
                <a:gd name="T10" fmla="*/ 187 w 256"/>
                <a:gd name="T11" fmla="*/ 152 h 349"/>
                <a:gd name="T12" fmla="*/ 187 w 256"/>
                <a:gd name="T13" fmla="*/ 91 h 349"/>
                <a:gd name="T14" fmla="*/ 217 w 256"/>
                <a:gd name="T15" fmla="*/ 45 h 349"/>
                <a:gd name="T16" fmla="*/ 203 w 256"/>
                <a:gd name="T17" fmla="*/ 10 h 349"/>
                <a:gd name="T18" fmla="*/ 166 w 256"/>
                <a:gd name="T19" fmla="*/ 58 h 349"/>
                <a:gd name="T20" fmla="*/ 130 w 256"/>
                <a:gd name="T21" fmla="*/ 10 h 349"/>
                <a:gd name="T22" fmla="*/ 116 w 256"/>
                <a:gd name="T23" fmla="*/ 45 h 349"/>
                <a:gd name="T24" fmla="*/ 146 w 256"/>
                <a:gd name="T25" fmla="*/ 91 h 349"/>
                <a:gd name="T26" fmla="*/ 146 w 256"/>
                <a:gd name="T27" fmla="*/ 121 h 349"/>
                <a:gd name="T28" fmla="*/ 143 w 256"/>
                <a:gd name="T29" fmla="*/ 119 h 349"/>
                <a:gd name="T30" fmla="*/ 99 w 256"/>
                <a:gd name="T31" fmla="*/ 126 h 349"/>
                <a:gd name="T32" fmla="*/ 45 w 256"/>
                <a:gd name="T33" fmla="*/ 162 h 349"/>
                <a:gd name="T34" fmla="*/ 0 w 256"/>
                <a:gd name="T35" fmla="*/ 162 h 349"/>
                <a:gd name="T36" fmla="*/ 0 w 256"/>
                <a:gd name="T37" fmla="*/ 272 h 349"/>
                <a:gd name="T38" fmla="*/ 70 w 256"/>
                <a:gd name="T39" fmla="*/ 277 h 349"/>
                <a:gd name="T40" fmla="*/ 132 w 256"/>
                <a:gd name="T41" fmla="*/ 286 h 349"/>
                <a:gd name="T42" fmla="*/ 127 w 256"/>
                <a:gd name="T43" fmla="*/ 273 h 349"/>
                <a:gd name="T44" fmla="*/ 139 w 256"/>
                <a:gd name="T45" fmla="*/ 255 h 349"/>
                <a:gd name="T46" fmla="*/ 125 w 256"/>
                <a:gd name="T47" fmla="*/ 237 h 349"/>
                <a:gd name="T48" fmla="*/ 140 w 256"/>
                <a:gd name="T49" fmla="*/ 219 h 349"/>
                <a:gd name="T50" fmla="*/ 125 w 256"/>
                <a:gd name="T51" fmla="*/ 201 h 349"/>
                <a:gd name="T52" fmla="*/ 138 w 256"/>
                <a:gd name="T53" fmla="*/ 185 h 349"/>
                <a:gd name="T54" fmla="*/ 125 w 256"/>
                <a:gd name="T55" fmla="*/ 167 h 349"/>
                <a:gd name="T56" fmla="*/ 146 w 256"/>
                <a:gd name="T57" fmla="*/ 148 h 349"/>
                <a:gd name="T58" fmla="*/ 146 w 256"/>
                <a:gd name="T59" fmla="*/ 155 h 349"/>
                <a:gd name="T60" fmla="*/ 137 w 256"/>
                <a:gd name="T61" fmla="*/ 170 h 349"/>
                <a:gd name="T62" fmla="*/ 146 w 256"/>
                <a:gd name="T63" fmla="*/ 185 h 349"/>
                <a:gd name="T64" fmla="*/ 146 w 256"/>
                <a:gd name="T65" fmla="*/ 188 h 349"/>
                <a:gd name="T66" fmla="*/ 137 w 256"/>
                <a:gd name="T67" fmla="*/ 202 h 349"/>
                <a:gd name="T68" fmla="*/ 146 w 256"/>
                <a:gd name="T69" fmla="*/ 216 h 349"/>
                <a:gd name="T70" fmla="*/ 146 w 256"/>
                <a:gd name="T71" fmla="*/ 224 h 349"/>
                <a:gd name="T72" fmla="*/ 137 w 256"/>
                <a:gd name="T73" fmla="*/ 239 h 349"/>
                <a:gd name="T74" fmla="*/ 146 w 256"/>
                <a:gd name="T75" fmla="*/ 254 h 349"/>
                <a:gd name="T76" fmla="*/ 146 w 256"/>
                <a:gd name="T77" fmla="*/ 261 h 349"/>
                <a:gd name="T78" fmla="*/ 139 w 256"/>
                <a:gd name="T79" fmla="*/ 276 h 349"/>
                <a:gd name="T80" fmla="*/ 146 w 256"/>
                <a:gd name="T81" fmla="*/ 291 h 349"/>
                <a:gd name="T82" fmla="*/ 146 w 256"/>
                <a:gd name="T83" fmla="*/ 324 h 349"/>
                <a:gd name="T84" fmla="*/ 167 w 256"/>
                <a:gd name="T85" fmla="*/ 349 h 349"/>
                <a:gd name="T86" fmla="*/ 187 w 256"/>
                <a:gd name="T87" fmla="*/ 324 h 349"/>
                <a:gd name="T88" fmla="*/ 187 w 256"/>
                <a:gd name="T89" fmla="*/ 294 h 349"/>
                <a:gd name="T90" fmla="*/ 207 w 256"/>
                <a:gd name="T91" fmla="*/ 294 h 349"/>
                <a:gd name="T92" fmla="*/ 226 w 256"/>
                <a:gd name="T93" fmla="*/ 276 h 349"/>
                <a:gd name="T94" fmla="*/ 207 w 256"/>
                <a:gd name="T95" fmla="*/ 257 h 349"/>
                <a:gd name="T96" fmla="*/ 187 w 256"/>
                <a:gd name="T97" fmla="*/ 257 h 349"/>
                <a:gd name="T98" fmla="*/ 187 w 256"/>
                <a:gd name="T99" fmla="*/ 257 h 349"/>
                <a:gd name="T100" fmla="*/ 217 w 256"/>
                <a:gd name="T101" fmla="*/ 257 h 349"/>
                <a:gd name="T102" fmla="*/ 239 w 256"/>
                <a:gd name="T103" fmla="*/ 239 h 349"/>
                <a:gd name="T104" fmla="*/ 217 w 256"/>
                <a:gd name="T105" fmla="*/ 221 h 349"/>
                <a:gd name="T106" fmla="*/ 187 w 256"/>
                <a:gd name="T107" fmla="*/ 221 h 349"/>
                <a:gd name="T108" fmla="*/ 187 w 256"/>
                <a:gd name="T109" fmla="*/ 221 h 349"/>
                <a:gd name="T110" fmla="*/ 230 w 256"/>
                <a:gd name="T111" fmla="*/ 221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49">
                  <a:moveTo>
                    <a:pt x="230" y="221"/>
                  </a:moveTo>
                  <a:cubicBezTo>
                    <a:pt x="245" y="221"/>
                    <a:pt x="256" y="212"/>
                    <a:pt x="256" y="202"/>
                  </a:cubicBezTo>
                  <a:cubicBezTo>
                    <a:pt x="256" y="192"/>
                    <a:pt x="245" y="184"/>
                    <a:pt x="232" y="184"/>
                  </a:cubicBezTo>
                  <a:cubicBezTo>
                    <a:pt x="236" y="180"/>
                    <a:pt x="239" y="175"/>
                    <a:pt x="239" y="170"/>
                  </a:cubicBezTo>
                  <a:cubicBezTo>
                    <a:pt x="239" y="160"/>
                    <a:pt x="229" y="152"/>
                    <a:pt x="217" y="152"/>
                  </a:cubicBezTo>
                  <a:cubicBezTo>
                    <a:pt x="187" y="152"/>
                    <a:pt x="187" y="152"/>
                    <a:pt x="187" y="152"/>
                  </a:cubicBezTo>
                  <a:cubicBezTo>
                    <a:pt x="187" y="91"/>
                    <a:pt x="187" y="91"/>
                    <a:pt x="187" y="91"/>
                  </a:cubicBezTo>
                  <a:cubicBezTo>
                    <a:pt x="205" y="83"/>
                    <a:pt x="217" y="66"/>
                    <a:pt x="217" y="45"/>
                  </a:cubicBezTo>
                  <a:cubicBezTo>
                    <a:pt x="217" y="31"/>
                    <a:pt x="203" y="0"/>
                    <a:pt x="203" y="10"/>
                  </a:cubicBezTo>
                  <a:cubicBezTo>
                    <a:pt x="204" y="24"/>
                    <a:pt x="195" y="58"/>
                    <a:pt x="166" y="58"/>
                  </a:cubicBezTo>
                  <a:cubicBezTo>
                    <a:pt x="140" y="58"/>
                    <a:pt x="129" y="30"/>
                    <a:pt x="130" y="10"/>
                  </a:cubicBezTo>
                  <a:cubicBezTo>
                    <a:pt x="130" y="3"/>
                    <a:pt x="116" y="32"/>
                    <a:pt x="116" y="45"/>
                  </a:cubicBezTo>
                  <a:cubicBezTo>
                    <a:pt x="116" y="66"/>
                    <a:pt x="129" y="84"/>
                    <a:pt x="146" y="91"/>
                  </a:cubicBezTo>
                  <a:cubicBezTo>
                    <a:pt x="146" y="121"/>
                    <a:pt x="146" y="121"/>
                    <a:pt x="146" y="121"/>
                  </a:cubicBezTo>
                  <a:cubicBezTo>
                    <a:pt x="143" y="119"/>
                    <a:pt x="143" y="119"/>
                    <a:pt x="143" y="119"/>
                  </a:cubicBezTo>
                  <a:cubicBezTo>
                    <a:pt x="143" y="119"/>
                    <a:pt x="110" y="122"/>
                    <a:pt x="99" y="126"/>
                  </a:cubicBezTo>
                  <a:cubicBezTo>
                    <a:pt x="87" y="131"/>
                    <a:pt x="63" y="162"/>
                    <a:pt x="45" y="162"/>
                  </a:cubicBezTo>
                  <a:cubicBezTo>
                    <a:pt x="26" y="162"/>
                    <a:pt x="0" y="162"/>
                    <a:pt x="0" y="162"/>
                  </a:cubicBezTo>
                  <a:cubicBezTo>
                    <a:pt x="0" y="272"/>
                    <a:pt x="0" y="272"/>
                    <a:pt x="0" y="272"/>
                  </a:cubicBezTo>
                  <a:cubicBezTo>
                    <a:pt x="0" y="272"/>
                    <a:pt x="47" y="272"/>
                    <a:pt x="70" y="277"/>
                  </a:cubicBezTo>
                  <a:cubicBezTo>
                    <a:pt x="86" y="280"/>
                    <a:pt x="110" y="284"/>
                    <a:pt x="132" y="286"/>
                  </a:cubicBezTo>
                  <a:cubicBezTo>
                    <a:pt x="129" y="283"/>
                    <a:pt x="127" y="278"/>
                    <a:pt x="127" y="273"/>
                  </a:cubicBezTo>
                  <a:cubicBezTo>
                    <a:pt x="127" y="265"/>
                    <a:pt x="132" y="258"/>
                    <a:pt x="139" y="255"/>
                  </a:cubicBezTo>
                  <a:cubicBezTo>
                    <a:pt x="131" y="252"/>
                    <a:pt x="125" y="245"/>
                    <a:pt x="125" y="237"/>
                  </a:cubicBezTo>
                  <a:cubicBezTo>
                    <a:pt x="125" y="229"/>
                    <a:pt x="131" y="222"/>
                    <a:pt x="140" y="219"/>
                  </a:cubicBezTo>
                  <a:cubicBezTo>
                    <a:pt x="131" y="216"/>
                    <a:pt x="125" y="209"/>
                    <a:pt x="125" y="201"/>
                  </a:cubicBezTo>
                  <a:cubicBezTo>
                    <a:pt x="125" y="194"/>
                    <a:pt x="130" y="188"/>
                    <a:pt x="138" y="185"/>
                  </a:cubicBezTo>
                  <a:cubicBezTo>
                    <a:pt x="130" y="182"/>
                    <a:pt x="125" y="175"/>
                    <a:pt x="125" y="167"/>
                  </a:cubicBezTo>
                  <a:cubicBezTo>
                    <a:pt x="125" y="157"/>
                    <a:pt x="135" y="148"/>
                    <a:pt x="146" y="148"/>
                  </a:cubicBezTo>
                  <a:cubicBezTo>
                    <a:pt x="146" y="155"/>
                    <a:pt x="146" y="155"/>
                    <a:pt x="146" y="155"/>
                  </a:cubicBezTo>
                  <a:cubicBezTo>
                    <a:pt x="141" y="158"/>
                    <a:pt x="137" y="164"/>
                    <a:pt x="137" y="170"/>
                  </a:cubicBezTo>
                  <a:cubicBezTo>
                    <a:pt x="137" y="176"/>
                    <a:pt x="141" y="182"/>
                    <a:pt x="146" y="185"/>
                  </a:cubicBezTo>
                  <a:cubicBezTo>
                    <a:pt x="146" y="188"/>
                    <a:pt x="146" y="188"/>
                    <a:pt x="146" y="188"/>
                  </a:cubicBezTo>
                  <a:cubicBezTo>
                    <a:pt x="141" y="191"/>
                    <a:pt x="137" y="196"/>
                    <a:pt x="137" y="202"/>
                  </a:cubicBezTo>
                  <a:cubicBezTo>
                    <a:pt x="137" y="208"/>
                    <a:pt x="141" y="213"/>
                    <a:pt x="146" y="216"/>
                  </a:cubicBezTo>
                  <a:cubicBezTo>
                    <a:pt x="146" y="224"/>
                    <a:pt x="146" y="224"/>
                    <a:pt x="146" y="224"/>
                  </a:cubicBezTo>
                  <a:cubicBezTo>
                    <a:pt x="141" y="227"/>
                    <a:pt x="137" y="233"/>
                    <a:pt x="137" y="239"/>
                  </a:cubicBezTo>
                  <a:cubicBezTo>
                    <a:pt x="137" y="245"/>
                    <a:pt x="141" y="251"/>
                    <a:pt x="146" y="254"/>
                  </a:cubicBezTo>
                  <a:cubicBezTo>
                    <a:pt x="146" y="261"/>
                    <a:pt x="146" y="261"/>
                    <a:pt x="146" y="261"/>
                  </a:cubicBezTo>
                  <a:cubicBezTo>
                    <a:pt x="142" y="264"/>
                    <a:pt x="139" y="270"/>
                    <a:pt x="139" y="276"/>
                  </a:cubicBezTo>
                  <a:cubicBezTo>
                    <a:pt x="139" y="282"/>
                    <a:pt x="142" y="287"/>
                    <a:pt x="146" y="291"/>
                  </a:cubicBezTo>
                  <a:cubicBezTo>
                    <a:pt x="146" y="324"/>
                    <a:pt x="146" y="324"/>
                    <a:pt x="146" y="324"/>
                  </a:cubicBezTo>
                  <a:cubicBezTo>
                    <a:pt x="146" y="338"/>
                    <a:pt x="156" y="349"/>
                    <a:pt x="167" y="349"/>
                  </a:cubicBezTo>
                  <a:cubicBezTo>
                    <a:pt x="178" y="349"/>
                    <a:pt x="187" y="338"/>
                    <a:pt x="187" y="324"/>
                  </a:cubicBezTo>
                  <a:cubicBezTo>
                    <a:pt x="187" y="294"/>
                    <a:pt x="187" y="294"/>
                    <a:pt x="187" y="294"/>
                  </a:cubicBezTo>
                  <a:cubicBezTo>
                    <a:pt x="207" y="294"/>
                    <a:pt x="207" y="294"/>
                    <a:pt x="207" y="294"/>
                  </a:cubicBezTo>
                  <a:cubicBezTo>
                    <a:pt x="217" y="294"/>
                    <a:pt x="226" y="286"/>
                    <a:pt x="226" y="276"/>
                  </a:cubicBezTo>
                  <a:cubicBezTo>
                    <a:pt x="226" y="266"/>
                    <a:pt x="217" y="257"/>
                    <a:pt x="207" y="257"/>
                  </a:cubicBezTo>
                  <a:cubicBezTo>
                    <a:pt x="187" y="257"/>
                    <a:pt x="187" y="257"/>
                    <a:pt x="187" y="257"/>
                  </a:cubicBezTo>
                  <a:cubicBezTo>
                    <a:pt x="187" y="257"/>
                    <a:pt x="187" y="257"/>
                    <a:pt x="187" y="257"/>
                  </a:cubicBezTo>
                  <a:cubicBezTo>
                    <a:pt x="217" y="257"/>
                    <a:pt x="217" y="257"/>
                    <a:pt x="217" y="257"/>
                  </a:cubicBezTo>
                  <a:cubicBezTo>
                    <a:pt x="229" y="257"/>
                    <a:pt x="239" y="249"/>
                    <a:pt x="239" y="239"/>
                  </a:cubicBezTo>
                  <a:cubicBezTo>
                    <a:pt x="239" y="229"/>
                    <a:pt x="229" y="221"/>
                    <a:pt x="217" y="221"/>
                  </a:cubicBezTo>
                  <a:cubicBezTo>
                    <a:pt x="187" y="221"/>
                    <a:pt x="187" y="221"/>
                    <a:pt x="187" y="221"/>
                  </a:cubicBezTo>
                  <a:cubicBezTo>
                    <a:pt x="187" y="221"/>
                    <a:pt x="187" y="221"/>
                    <a:pt x="187" y="221"/>
                  </a:cubicBezTo>
                  <a:lnTo>
                    <a:pt x="230" y="221"/>
                  </a:lnTo>
                  <a:close/>
                </a:path>
              </a:pathLst>
            </a:custGeom>
            <a:solidFill>
              <a:srgbClr val="FFFFFF"/>
            </a:solidFill>
            <a:ln>
              <a:noFill/>
            </a:ln>
          </p:spPr>
          <p:txBody>
            <a:bodyPr vert="horz" wrap="square" lIns="0" tIns="41153" rIns="82305" bIns="41153" numCol="1" anchor="t" anchorCtr="0" compatLnSpc="1">
              <a:prstTxWarp prst="textNoShape">
                <a:avLst/>
              </a:prstTxWarp>
            </a:bodyPr>
            <a:lstStyle/>
            <a:p>
              <a:pPr algn="ctr" defTabSz="685864"/>
              <a:endParaRPr lang="en-US" sz="1200">
                <a:gradFill>
                  <a:gsLst>
                    <a:gs pos="0">
                      <a:srgbClr val="FFFFFF"/>
                    </a:gs>
                    <a:gs pos="100000">
                      <a:srgbClr val="FFFFFF"/>
                    </a:gs>
                  </a:gsLst>
                  <a:lin ang="5400000" scaled="0"/>
                </a:gradFill>
              </a:endParaRPr>
            </a:p>
          </p:txBody>
        </p:sp>
      </p:grpSp>
      <p:sp>
        <p:nvSpPr>
          <p:cNvPr id="15"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6"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
              </a:rPr>
              <a:t>www.rapidbbs.cn</a:t>
            </a:r>
            <a:endParaRPr lang="zh-CN" altLang="en-US" sz="1200" b="0">
              <a:latin typeface="Arial" charset="0"/>
              <a:ea typeface="ＭＳ Ｐゴシック" pitchFamily="34" charset="-128"/>
            </a:endParaRPr>
          </a:p>
        </p:txBody>
      </p:sp>
      <p:pic>
        <p:nvPicPr>
          <p:cNvPr id="17" name="Picture 2">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10130534"/>
      </p:ext>
    </p:extLst>
  </p:cSld>
  <p:clrMapOvr>
    <a:masterClrMapping/>
  </p:clrMapOvr>
  <mc:AlternateContent xmlns:mc="http://schemas.openxmlformats.org/markup-compatibility/2006" xmlns:p14="http://schemas.microsoft.com/office/powerpoint/2010/main">
    <mc:Choice Requires="p14">
      <p:transition spd="slow" p14:dur="1250">
        <p:push/>
      </p:transition>
    </mc:Choice>
    <mc:Fallback xmlns="">
      <p:transition spd="slow">
        <p:push/>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1000" fill="hold"/>
                                        <p:tgtEl>
                                          <p:spTgt spid="9"/>
                                        </p:tgtEl>
                                        <p:attrNameLst>
                                          <p:attrName>ppt_x</p:attrName>
                                        </p:attrNameLst>
                                      </p:cBhvr>
                                      <p:tavLst>
                                        <p:tav tm="0">
                                          <p:val>
                                            <p:strVal val="1+#ppt_w/2"/>
                                          </p:val>
                                        </p:tav>
                                        <p:tav tm="100000">
                                          <p:val>
                                            <p:strVal val="#ppt_x"/>
                                          </p:val>
                                        </p:tav>
                                      </p:tavLst>
                                    </p:anim>
                                    <p:anim calcmode="lin" valueType="num">
                                      <p:cBhvr additive="base">
                                        <p:cTn id="8" dur="10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0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1000" fill="hold"/>
                                        <p:tgtEl>
                                          <p:spTgt spid="3"/>
                                        </p:tgtEl>
                                        <p:attrNameLst>
                                          <p:attrName>ppt_x</p:attrName>
                                        </p:attrNameLst>
                                      </p:cBhvr>
                                      <p:tavLst>
                                        <p:tav tm="0">
                                          <p:val>
                                            <p:strVal val="1+#ppt_w/2"/>
                                          </p:val>
                                        </p:tav>
                                        <p:tav tm="100000">
                                          <p:val>
                                            <p:strVal val="#ppt_x"/>
                                          </p:val>
                                        </p:tav>
                                      </p:tavLst>
                                    </p:anim>
                                    <p:anim calcmode="lin" valueType="num">
                                      <p:cBhvr additive="base">
                                        <p:cTn id="12" dur="1000" fill="hold"/>
                                        <p:tgtEl>
                                          <p:spTgt spid="3"/>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40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1000" fill="hold"/>
                                        <p:tgtEl>
                                          <p:spTgt spid="12"/>
                                        </p:tgtEl>
                                        <p:attrNameLst>
                                          <p:attrName>ppt_x</p:attrName>
                                        </p:attrNameLst>
                                      </p:cBhvr>
                                      <p:tavLst>
                                        <p:tav tm="0">
                                          <p:val>
                                            <p:strVal val="1+#ppt_w/2"/>
                                          </p:val>
                                        </p:tav>
                                        <p:tav tm="100000">
                                          <p:val>
                                            <p:strVal val="#ppt_x"/>
                                          </p:val>
                                        </p:tav>
                                      </p:tavLst>
                                    </p:anim>
                                    <p:anim calcmode="lin" valueType="num">
                                      <p:cBhvr additive="base">
                                        <p:cTn id="16" dur="1000" fill="hold"/>
                                        <p:tgtEl>
                                          <p:spTgt spid="12"/>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60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1000" fill="hold"/>
                                        <p:tgtEl>
                                          <p:spTgt spid="6"/>
                                        </p:tgtEl>
                                        <p:attrNameLst>
                                          <p:attrName>ppt_x</p:attrName>
                                        </p:attrNameLst>
                                      </p:cBhvr>
                                      <p:tavLst>
                                        <p:tav tm="0">
                                          <p:val>
                                            <p:strVal val="1+#ppt_w/2"/>
                                          </p:val>
                                        </p:tav>
                                        <p:tav tm="100000">
                                          <p:val>
                                            <p:strVal val="#ppt_x"/>
                                          </p:val>
                                        </p:tav>
                                      </p:tavLst>
                                    </p:anim>
                                    <p:anim calcmode="lin" valueType="num">
                                      <p:cBhvr additive="base">
                                        <p:cTn id="20" dur="10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a:spLocks noChangeAspect="1"/>
          </p:cNvSpPr>
          <p:nvPr/>
        </p:nvSpPr>
        <p:spPr>
          <a:xfrm>
            <a:off x="3576230" y="907542"/>
            <a:ext cx="1991543" cy="1492758"/>
          </a:xfrm>
          <a:prstGeom prst="rect">
            <a:avLst/>
          </a:prstGeom>
          <a:gradFill flip="none" rotWithShape="1">
            <a:gsLst>
              <a:gs pos="0">
                <a:schemeClr val="bg2">
                  <a:lumMod val="40000"/>
                  <a:lumOff val="60000"/>
                  <a:alpha val="56000"/>
                </a:schemeClr>
              </a:gs>
              <a:gs pos="21000">
                <a:schemeClr val="bg2">
                  <a:alpha val="11000"/>
                </a:schemeClr>
              </a:gs>
              <a:gs pos="66000">
                <a:schemeClr val="bg2">
                  <a:lumMod val="75000"/>
                  <a:alpha val="18000"/>
                </a:schemeClr>
              </a:gs>
              <a:gs pos="96000">
                <a:srgbClr val="F8F57B">
                  <a:alpha val="31000"/>
                </a:srgbClr>
              </a:gs>
              <a:gs pos="100000">
                <a:srgbClr val="FFFF00"/>
              </a:gs>
            </a:gsLst>
            <a:lin ang="16200000" scaled="1"/>
            <a:tileRect/>
          </a:gradFill>
          <a:ln>
            <a:solidFill>
              <a:schemeClr val="bg2"/>
            </a:solidFill>
          </a:ln>
          <a:effectLst/>
        </p:spPr>
        <p:style>
          <a:lnRef idx="1">
            <a:schemeClr val="accent1"/>
          </a:lnRef>
          <a:fillRef idx="2">
            <a:schemeClr val="accent1"/>
          </a:fillRef>
          <a:effectRef idx="1">
            <a:schemeClr val="accent1"/>
          </a:effectRef>
          <a:fontRef idx="minor">
            <a:schemeClr val="dk1"/>
          </a:fontRef>
        </p:style>
        <p:txBody>
          <a:bodyPr lIns="68586" tIns="34294" rIns="68586" bIns="34294" anchor="ctr"/>
          <a:lstStyle/>
          <a:p>
            <a:pPr algn="ctr"/>
            <a:r>
              <a:rPr lang="de-DE" dirty="0" smtClean="0">
                <a:solidFill>
                  <a:schemeClr val="tx1"/>
                </a:solidFill>
              </a:rPr>
              <a:t>Browser Interactivity</a:t>
            </a:r>
            <a:endParaRPr lang="en-US" dirty="0">
              <a:solidFill>
                <a:schemeClr val="tx1"/>
              </a:solidFill>
            </a:endParaRPr>
          </a:p>
        </p:txBody>
      </p:sp>
      <p:sp>
        <p:nvSpPr>
          <p:cNvPr id="2" name="Title 1"/>
          <p:cNvSpPr>
            <a:spLocks noGrp="1"/>
          </p:cNvSpPr>
          <p:nvPr>
            <p:ph type="title"/>
          </p:nvPr>
        </p:nvSpPr>
        <p:spPr>
          <a:xfrm>
            <a:off x="381000" y="172643"/>
            <a:ext cx="8382000" cy="457049"/>
          </a:xfrm>
        </p:spPr>
        <p:txBody>
          <a:bodyPr/>
          <a:lstStyle/>
          <a:p>
            <a:r>
              <a:rPr lang="en-US" dirty="0" smtClean="0"/>
              <a:t>PowerPivot for SharePoint Features</a:t>
            </a:r>
            <a:endParaRPr lang="en-US" dirty="0">
              <a:solidFill>
                <a:schemeClr val="accent1"/>
              </a:solidFill>
            </a:endParaRPr>
          </a:p>
        </p:txBody>
      </p:sp>
      <p:pic>
        <p:nvPicPr>
          <p:cNvPr id="6" name="Picture 2" descr="C:\Users\Jordan\Desktop\TechEd_2012\TechEd-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6962" y="4619593"/>
            <a:ext cx="698151" cy="322326"/>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a:spLocks noChangeAspect="1"/>
          </p:cNvSpPr>
          <p:nvPr/>
        </p:nvSpPr>
        <p:spPr>
          <a:xfrm>
            <a:off x="5867439" y="1307592"/>
            <a:ext cx="1991543" cy="1492758"/>
          </a:xfrm>
          <a:prstGeom prst="rect">
            <a:avLst/>
          </a:prstGeom>
          <a:gradFill flip="none" rotWithShape="1">
            <a:gsLst>
              <a:gs pos="0">
                <a:schemeClr val="bg2">
                  <a:lumMod val="40000"/>
                  <a:lumOff val="60000"/>
                  <a:alpha val="56000"/>
                </a:schemeClr>
              </a:gs>
              <a:gs pos="21000">
                <a:schemeClr val="bg2">
                  <a:alpha val="11000"/>
                </a:schemeClr>
              </a:gs>
              <a:gs pos="66000">
                <a:schemeClr val="bg2">
                  <a:lumMod val="75000"/>
                  <a:alpha val="18000"/>
                </a:schemeClr>
              </a:gs>
              <a:gs pos="96000">
                <a:schemeClr val="accent3">
                  <a:lumMod val="60000"/>
                  <a:lumOff val="40000"/>
                  <a:alpha val="35000"/>
                </a:schemeClr>
              </a:gs>
              <a:gs pos="100000">
                <a:schemeClr val="accent3">
                  <a:lumMod val="60000"/>
                  <a:lumOff val="40000"/>
                </a:schemeClr>
              </a:gs>
            </a:gsLst>
            <a:path path="rect">
              <a:fillToRect t="100000" r="100000"/>
            </a:path>
            <a:tileRect l="-100000" b="-100000"/>
          </a:gradFill>
          <a:ln>
            <a:solidFill>
              <a:schemeClr val="bg2"/>
            </a:solidFill>
          </a:ln>
          <a:effectLst/>
        </p:spPr>
        <p:style>
          <a:lnRef idx="1">
            <a:schemeClr val="accent1"/>
          </a:lnRef>
          <a:fillRef idx="2">
            <a:schemeClr val="accent1"/>
          </a:fillRef>
          <a:effectRef idx="1">
            <a:schemeClr val="accent1"/>
          </a:effectRef>
          <a:fontRef idx="minor">
            <a:schemeClr val="dk1"/>
          </a:fontRef>
        </p:style>
        <p:txBody>
          <a:bodyPr lIns="68586" tIns="34294" rIns="68586" bIns="34294" anchor="ctr"/>
          <a:lstStyle/>
          <a:p>
            <a:pPr algn="ctr"/>
            <a:r>
              <a:rPr lang="de-DE" dirty="0" smtClean="0">
                <a:gradFill>
                  <a:gsLst>
                    <a:gs pos="0">
                      <a:schemeClr val="tx1"/>
                    </a:gs>
                    <a:gs pos="100000">
                      <a:schemeClr val="tx1"/>
                    </a:gs>
                  </a:gsLst>
                  <a:lin ang="5400000" scaled="0"/>
                </a:gradFill>
              </a:rPr>
              <a:t>Scheduled Data Refresh</a:t>
            </a:r>
            <a:endParaRPr lang="en-US" dirty="0"/>
          </a:p>
        </p:txBody>
      </p:sp>
      <p:sp>
        <p:nvSpPr>
          <p:cNvPr id="20" name="Rectangle 19"/>
          <p:cNvSpPr>
            <a:spLocks noChangeAspect="1"/>
          </p:cNvSpPr>
          <p:nvPr/>
        </p:nvSpPr>
        <p:spPr>
          <a:xfrm>
            <a:off x="5858211" y="2850642"/>
            <a:ext cx="1991543" cy="1492758"/>
          </a:xfrm>
          <a:prstGeom prst="rect">
            <a:avLst/>
          </a:prstGeom>
          <a:gradFill flip="none" rotWithShape="1">
            <a:gsLst>
              <a:gs pos="0">
                <a:schemeClr val="bg2">
                  <a:lumMod val="40000"/>
                  <a:lumOff val="60000"/>
                  <a:alpha val="56000"/>
                </a:schemeClr>
              </a:gs>
              <a:gs pos="21000">
                <a:schemeClr val="bg2">
                  <a:alpha val="11000"/>
                </a:schemeClr>
              </a:gs>
              <a:gs pos="66000">
                <a:schemeClr val="bg2">
                  <a:lumMod val="75000"/>
                  <a:alpha val="18000"/>
                </a:schemeClr>
              </a:gs>
              <a:gs pos="96000">
                <a:schemeClr val="accent4">
                  <a:lumMod val="60000"/>
                  <a:lumOff val="40000"/>
                  <a:alpha val="35000"/>
                </a:schemeClr>
              </a:gs>
              <a:gs pos="100000">
                <a:schemeClr val="accent4">
                  <a:lumMod val="60000"/>
                  <a:lumOff val="40000"/>
                </a:schemeClr>
              </a:gs>
            </a:gsLst>
            <a:path path="rect">
              <a:fillToRect r="100000" b="100000"/>
            </a:path>
            <a:tileRect l="-100000" t="-100000"/>
          </a:gradFill>
          <a:ln>
            <a:solidFill>
              <a:schemeClr val="bg2"/>
            </a:solidFill>
          </a:ln>
          <a:effectLst/>
        </p:spPr>
        <p:style>
          <a:lnRef idx="1">
            <a:schemeClr val="accent1"/>
          </a:lnRef>
          <a:fillRef idx="2">
            <a:schemeClr val="accent1"/>
          </a:fillRef>
          <a:effectRef idx="1">
            <a:schemeClr val="accent1"/>
          </a:effectRef>
          <a:fontRef idx="minor">
            <a:schemeClr val="dk1"/>
          </a:fontRef>
        </p:style>
        <p:txBody>
          <a:bodyPr lIns="68586" tIns="34294" rIns="68586" bIns="34294" anchor="ctr"/>
          <a:lstStyle/>
          <a:p>
            <a:pPr algn="ctr"/>
            <a:r>
              <a:rPr lang="de-DE" dirty="0" smtClean="0">
                <a:gradFill>
                  <a:gsLst>
                    <a:gs pos="0">
                      <a:schemeClr val="tx1"/>
                    </a:gs>
                    <a:gs pos="100000">
                      <a:schemeClr val="tx1"/>
                    </a:gs>
                  </a:gsLst>
                  <a:lin ang="5400000" scaled="0"/>
                </a:gradFill>
              </a:rPr>
              <a:t>Workbooks as </a:t>
            </a:r>
            <a:r>
              <a:rPr lang="de-DE" dirty="0">
                <a:gradFill>
                  <a:gsLst>
                    <a:gs pos="0">
                      <a:schemeClr val="tx1"/>
                    </a:gs>
                    <a:gs pos="100000">
                      <a:schemeClr val="tx1"/>
                    </a:gs>
                  </a:gsLst>
                  <a:lin ang="5400000" scaled="0"/>
                </a:gradFill>
              </a:rPr>
              <a:t>a </a:t>
            </a:r>
            <a:r>
              <a:rPr lang="de-DE" dirty="0" smtClean="0">
                <a:gradFill>
                  <a:gsLst>
                    <a:gs pos="0">
                      <a:schemeClr val="tx1"/>
                    </a:gs>
                    <a:gs pos="100000">
                      <a:schemeClr val="tx1"/>
                    </a:gs>
                  </a:gsLst>
                  <a:lin ang="5400000" scaled="0"/>
                </a:gradFill>
              </a:rPr>
              <a:t>Data Source</a:t>
            </a:r>
            <a:endParaRPr lang="en-US" dirty="0"/>
          </a:p>
        </p:txBody>
      </p:sp>
      <p:sp>
        <p:nvSpPr>
          <p:cNvPr id="21" name="Rectangle 20"/>
          <p:cNvSpPr>
            <a:spLocks noChangeAspect="1"/>
          </p:cNvSpPr>
          <p:nvPr/>
        </p:nvSpPr>
        <p:spPr>
          <a:xfrm>
            <a:off x="1285020" y="2850642"/>
            <a:ext cx="1991543" cy="1492758"/>
          </a:xfrm>
          <a:prstGeom prst="rect">
            <a:avLst/>
          </a:prstGeom>
          <a:gradFill flip="none" rotWithShape="1">
            <a:gsLst>
              <a:gs pos="0">
                <a:schemeClr val="bg2">
                  <a:lumMod val="40000"/>
                  <a:lumOff val="60000"/>
                  <a:alpha val="56000"/>
                </a:schemeClr>
              </a:gs>
              <a:gs pos="21000">
                <a:schemeClr val="bg2">
                  <a:alpha val="11000"/>
                </a:schemeClr>
              </a:gs>
              <a:gs pos="66000">
                <a:schemeClr val="bg2">
                  <a:lumMod val="75000"/>
                  <a:alpha val="18000"/>
                </a:schemeClr>
              </a:gs>
              <a:gs pos="96000">
                <a:schemeClr val="accent5">
                  <a:lumMod val="60000"/>
                  <a:lumOff val="40000"/>
                  <a:alpha val="35000"/>
                </a:schemeClr>
              </a:gs>
              <a:gs pos="100000">
                <a:schemeClr val="accent5">
                  <a:lumMod val="60000"/>
                  <a:lumOff val="40000"/>
                </a:schemeClr>
              </a:gs>
            </a:gsLst>
            <a:path path="rect">
              <a:fillToRect l="100000" b="100000"/>
            </a:path>
            <a:tileRect t="-100000" r="-100000"/>
          </a:gradFill>
          <a:ln>
            <a:solidFill>
              <a:schemeClr val="bg2"/>
            </a:solidFill>
          </a:ln>
          <a:effectLst/>
        </p:spPr>
        <p:style>
          <a:lnRef idx="1">
            <a:schemeClr val="accent1"/>
          </a:lnRef>
          <a:fillRef idx="2">
            <a:schemeClr val="accent1"/>
          </a:fillRef>
          <a:effectRef idx="1">
            <a:schemeClr val="accent1"/>
          </a:effectRef>
          <a:fontRef idx="minor">
            <a:schemeClr val="dk1"/>
          </a:fontRef>
        </p:style>
        <p:txBody>
          <a:bodyPr lIns="68586" tIns="34294" rIns="68586" bIns="34294" anchor="ctr"/>
          <a:lstStyle/>
          <a:p>
            <a:pPr algn="ctr"/>
            <a:r>
              <a:rPr lang="de-DE" dirty="0">
                <a:gradFill>
                  <a:gsLst>
                    <a:gs pos="0">
                      <a:schemeClr val="tx1"/>
                    </a:gs>
                    <a:gs pos="100000">
                      <a:schemeClr val="tx1"/>
                    </a:gs>
                  </a:gsLst>
                  <a:lin ang="5400000" scaled="0"/>
                </a:gradFill>
              </a:rPr>
              <a:t>PowerPivot Gallery</a:t>
            </a:r>
            <a:endParaRPr lang="en-US" dirty="0"/>
          </a:p>
        </p:txBody>
      </p:sp>
      <p:sp>
        <p:nvSpPr>
          <p:cNvPr id="22" name="Rectangle 21"/>
          <p:cNvSpPr>
            <a:spLocks noChangeAspect="1"/>
          </p:cNvSpPr>
          <p:nvPr/>
        </p:nvSpPr>
        <p:spPr>
          <a:xfrm>
            <a:off x="1285020" y="1305306"/>
            <a:ext cx="1991543" cy="1492758"/>
          </a:xfrm>
          <a:prstGeom prst="rect">
            <a:avLst/>
          </a:prstGeom>
          <a:gradFill flip="none" rotWithShape="1">
            <a:gsLst>
              <a:gs pos="0">
                <a:schemeClr val="bg2">
                  <a:lumMod val="40000"/>
                  <a:lumOff val="60000"/>
                  <a:alpha val="56000"/>
                </a:schemeClr>
              </a:gs>
              <a:gs pos="21000">
                <a:schemeClr val="bg2">
                  <a:alpha val="11000"/>
                </a:schemeClr>
              </a:gs>
              <a:gs pos="66000">
                <a:schemeClr val="bg2">
                  <a:lumMod val="75000"/>
                  <a:alpha val="18000"/>
                </a:schemeClr>
              </a:gs>
              <a:gs pos="96000">
                <a:schemeClr val="accent2">
                  <a:lumMod val="60000"/>
                  <a:lumOff val="40000"/>
                  <a:alpha val="35000"/>
                </a:schemeClr>
              </a:gs>
              <a:gs pos="100000">
                <a:schemeClr val="accent2">
                  <a:lumMod val="60000"/>
                  <a:lumOff val="40000"/>
                </a:schemeClr>
              </a:gs>
            </a:gsLst>
            <a:path path="rect">
              <a:fillToRect l="100000" t="100000"/>
            </a:path>
            <a:tileRect r="-100000" b="-100000"/>
          </a:gradFill>
          <a:ln>
            <a:solidFill>
              <a:schemeClr val="bg2"/>
            </a:solidFill>
          </a:ln>
          <a:effectLst/>
        </p:spPr>
        <p:style>
          <a:lnRef idx="1">
            <a:schemeClr val="accent1"/>
          </a:lnRef>
          <a:fillRef idx="2">
            <a:schemeClr val="accent1"/>
          </a:fillRef>
          <a:effectRef idx="1">
            <a:schemeClr val="accent1"/>
          </a:effectRef>
          <a:fontRef idx="minor">
            <a:schemeClr val="dk1"/>
          </a:fontRef>
        </p:style>
        <p:txBody>
          <a:bodyPr lIns="68586" tIns="34294" rIns="68586" bIns="34294" anchor="ctr"/>
          <a:lstStyle/>
          <a:p>
            <a:pPr algn="ctr"/>
            <a:r>
              <a:rPr lang="de-DE" dirty="0" smtClean="0">
                <a:solidFill>
                  <a:schemeClr val="tx1"/>
                </a:solidFill>
              </a:rPr>
              <a:t>Management Dashboard</a:t>
            </a:r>
            <a:endParaRPr lang="en-US" dirty="0">
              <a:solidFill>
                <a:schemeClr val="tx1"/>
              </a:solidFill>
            </a:endParaRPr>
          </a:p>
        </p:txBody>
      </p:sp>
      <p:sp>
        <p:nvSpPr>
          <p:cNvPr id="24" name="Rectangle 23"/>
          <p:cNvSpPr>
            <a:spLocks noChangeAspect="1"/>
          </p:cNvSpPr>
          <p:nvPr/>
        </p:nvSpPr>
        <p:spPr>
          <a:xfrm flipH="1" flipV="1">
            <a:off x="3576230" y="3307842"/>
            <a:ext cx="1991543" cy="1492758"/>
          </a:xfrm>
          <a:prstGeom prst="rect">
            <a:avLst/>
          </a:prstGeom>
          <a:gradFill flip="none" rotWithShape="1">
            <a:gsLst>
              <a:gs pos="0">
                <a:schemeClr val="bg2">
                  <a:lumMod val="40000"/>
                  <a:lumOff val="60000"/>
                  <a:alpha val="56000"/>
                </a:schemeClr>
              </a:gs>
              <a:gs pos="21000">
                <a:schemeClr val="bg2">
                  <a:alpha val="11000"/>
                </a:schemeClr>
              </a:gs>
              <a:gs pos="66000">
                <a:schemeClr val="bg2">
                  <a:lumMod val="75000"/>
                  <a:alpha val="18000"/>
                </a:schemeClr>
              </a:gs>
              <a:gs pos="96000">
                <a:srgbClr val="FF0000">
                  <a:alpha val="22000"/>
                </a:srgbClr>
              </a:gs>
              <a:gs pos="100000">
                <a:srgbClr val="C00000">
                  <a:alpha val="54000"/>
                </a:srgbClr>
              </a:gs>
            </a:gsLst>
            <a:lin ang="16200000" scaled="1"/>
            <a:tileRect/>
          </a:gradFill>
          <a:ln>
            <a:solidFill>
              <a:schemeClr val="bg2"/>
            </a:solidFill>
          </a:ln>
          <a:effectLst/>
        </p:spPr>
        <p:style>
          <a:lnRef idx="1">
            <a:schemeClr val="accent1"/>
          </a:lnRef>
          <a:fillRef idx="2">
            <a:schemeClr val="accent1"/>
          </a:fillRef>
          <a:effectRef idx="1">
            <a:schemeClr val="accent1"/>
          </a:effectRef>
          <a:fontRef idx="minor">
            <a:schemeClr val="dk1"/>
          </a:fontRef>
        </p:style>
        <p:txBody>
          <a:bodyPr lIns="68586" tIns="34294" rIns="68586" bIns="34294" anchor="ctr"/>
          <a:lstStyle/>
          <a:p>
            <a:pPr algn="ctr"/>
            <a:endParaRPr lang="en-US" b="1" dirty="0">
              <a:solidFill>
                <a:schemeClr val="tx1"/>
              </a:solidFill>
            </a:endParaRPr>
          </a:p>
        </p:txBody>
      </p:sp>
      <p:sp>
        <p:nvSpPr>
          <p:cNvPr id="25" name="Rectangle 24"/>
          <p:cNvSpPr/>
          <p:nvPr/>
        </p:nvSpPr>
        <p:spPr>
          <a:xfrm>
            <a:off x="3600197" y="3915802"/>
            <a:ext cx="1967575" cy="438581"/>
          </a:xfrm>
          <a:prstGeom prst="rect">
            <a:avLst/>
          </a:prstGeom>
        </p:spPr>
        <p:txBody>
          <a:bodyPr wrap="square" lIns="0" tIns="0" rIns="0" bIns="0">
            <a:spAutoFit/>
          </a:bodyPr>
          <a:lstStyle/>
          <a:p>
            <a:pPr marL="0" lvl="1" algn="ctr"/>
            <a:r>
              <a:rPr lang="de-DE" dirty="0" smtClean="0">
                <a:gradFill>
                  <a:gsLst>
                    <a:gs pos="0">
                      <a:schemeClr val="tx1"/>
                    </a:gs>
                    <a:gs pos="100000">
                      <a:schemeClr val="tx1"/>
                    </a:gs>
                  </a:gsLst>
                  <a:lin ang="5400000" scaled="0"/>
                </a:gradFill>
              </a:rPr>
              <a:t>BISM link files</a:t>
            </a:r>
          </a:p>
          <a:p>
            <a:pPr marL="0" lvl="1" algn="ctr"/>
            <a:r>
              <a:rPr lang="de-DE" dirty="0" smtClean="0">
                <a:gradFill>
                  <a:gsLst>
                    <a:gs pos="0">
                      <a:schemeClr val="tx1"/>
                    </a:gs>
                    <a:gs pos="100000">
                      <a:schemeClr val="tx1"/>
                    </a:gs>
                  </a:gsLst>
                  <a:lin ang="5400000" scaled="0"/>
                </a:gradFill>
              </a:rPr>
              <a:t>Data feed library</a:t>
            </a:r>
            <a:endParaRPr lang="de-DE" dirty="0">
              <a:gradFill>
                <a:gsLst>
                  <a:gs pos="0">
                    <a:schemeClr val="tx1"/>
                  </a:gs>
                  <a:gs pos="100000">
                    <a:schemeClr val="tx1"/>
                  </a:gs>
                </a:gsLst>
                <a:lin ang="5400000" scaled="0"/>
              </a:gradFill>
            </a:endParaRPr>
          </a:p>
        </p:txBody>
      </p:sp>
      <p:grpSp>
        <p:nvGrpSpPr>
          <p:cNvPr id="32" name="Group 31"/>
          <p:cNvGrpSpPr/>
          <p:nvPr/>
        </p:nvGrpSpPr>
        <p:grpSpPr>
          <a:xfrm>
            <a:off x="3943187" y="1835659"/>
            <a:ext cx="1322609" cy="1471070"/>
            <a:chOff x="5256212" y="2676144"/>
            <a:chExt cx="1763019" cy="2048256"/>
          </a:xfrm>
        </p:grpSpPr>
        <p:pic>
          <p:nvPicPr>
            <p:cNvPr id="31" name="Picture 30" descr="C:\Program Files\Microsoft Resource DVD Artwork\DVD_ART\BoxShots_Logos\People Ready\PRB man 3 silouette people ready.png"/>
            <p:cNvPicPr>
              <a:picLocks noChangeAspect="1" noChangeArrowheads="1"/>
            </p:cNvPicPr>
            <p:nvPr/>
          </p:nvPicPr>
          <p:blipFill>
            <a:blip r:embed="rId4" cstate="print">
              <a:lum bright="70000" contrast="-70000"/>
            </a:blip>
            <a:srcRect/>
            <a:stretch>
              <a:fillRect/>
            </a:stretch>
          </p:blipFill>
          <p:spPr bwMode="auto">
            <a:xfrm>
              <a:off x="5540300" y="2676144"/>
              <a:ext cx="711757" cy="1782028"/>
            </a:xfrm>
            <a:prstGeom prst="rect">
              <a:avLst/>
            </a:prstGeom>
            <a:noFill/>
            <a:effectLst/>
          </p:spPr>
        </p:pic>
        <p:pic>
          <p:nvPicPr>
            <p:cNvPr id="28" name="Picture 27" descr="C:\Program Files\Microsoft Resource DVD Artwork\DVD_ART\BoxShots_Logos\People Ready\PRB man silouette people ready.png"/>
            <p:cNvPicPr>
              <a:picLocks noChangeAspect="1" noChangeArrowheads="1"/>
            </p:cNvPicPr>
            <p:nvPr/>
          </p:nvPicPr>
          <p:blipFill>
            <a:blip r:embed="rId5" cstate="print">
              <a:lum bright="70000" contrast="-70000"/>
            </a:blip>
            <a:srcRect/>
            <a:stretch>
              <a:fillRect/>
            </a:stretch>
          </p:blipFill>
          <p:spPr bwMode="auto">
            <a:xfrm>
              <a:off x="6494592" y="2847600"/>
              <a:ext cx="524639" cy="1876800"/>
            </a:xfrm>
            <a:prstGeom prst="rect">
              <a:avLst/>
            </a:prstGeom>
            <a:noFill/>
            <a:effectLst/>
          </p:spPr>
        </p:pic>
        <p:pic>
          <p:nvPicPr>
            <p:cNvPr id="29" name="Picture 28" descr="C:\Program Files\Microsoft Resource DVD Artwork\DVD_ART\BoxShots_Logos\People Ready\PRB woman silouette people ready.png"/>
            <p:cNvPicPr>
              <a:picLocks noChangeAspect="1" noChangeArrowheads="1"/>
            </p:cNvPicPr>
            <p:nvPr/>
          </p:nvPicPr>
          <p:blipFill>
            <a:blip r:embed="rId6" cstate="print">
              <a:lum bright="70000" contrast="-70000"/>
            </a:blip>
            <a:srcRect/>
            <a:stretch>
              <a:fillRect/>
            </a:stretch>
          </p:blipFill>
          <p:spPr bwMode="auto">
            <a:xfrm>
              <a:off x="5256212" y="2813696"/>
              <a:ext cx="403533" cy="1823875"/>
            </a:xfrm>
            <a:prstGeom prst="rect">
              <a:avLst/>
            </a:prstGeom>
            <a:noFill/>
            <a:effectLst/>
          </p:spPr>
        </p:pic>
        <p:pic>
          <p:nvPicPr>
            <p:cNvPr id="30" name="Picture 29" descr="C:\Program Files\Microsoft Resource DVD Artwork\DVD_ART\BoxShots_Logos\People Ready\PRB woman 3 silouette people ready.png"/>
            <p:cNvPicPr>
              <a:picLocks noChangeAspect="1" noChangeArrowheads="1"/>
            </p:cNvPicPr>
            <p:nvPr/>
          </p:nvPicPr>
          <p:blipFill>
            <a:blip r:embed="rId7" cstate="print">
              <a:lum bright="70000" contrast="-70000"/>
            </a:blip>
            <a:srcRect/>
            <a:stretch>
              <a:fillRect/>
            </a:stretch>
          </p:blipFill>
          <p:spPr bwMode="auto">
            <a:xfrm>
              <a:off x="6029503" y="2782221"/>
              <a:ext cx="719575" cy="1801438"/>
            </a:xfrm>
            <a:prstGeom prst="rect">
              <a:avLst/>
            </a:prstGeom>
            <a:noFill/>
            <a:effectLst/>
          </p:spPr>
        </p:pic>
      </p:grpSp>
      <p:pic>
        <p:nvPicPr>
          <p:cNvPr id="18" name="Picture 17"/>
          <p:cNvPicPr>
            <a:picLocks noChangeAspect="1" noChangeArrowheads="1"/>
          </p:cNvPicPr>
          <p:nvPr/>
        </p:nvPicPr>
        <p:blipFill>
          <a:blip r:embed="rId8" cstate="print"/>
          <a:srcRect/>
          <a:stretch>
            <a:fillRect/>
          </a:stretch>
        </p:blipFill>
        <p:spPr bwMode="auto">
          <a:xfrm>
            <a:off x="4209018" y="2582065"/>
            <a:ext cx="732828" cy="732637"/>
          </a:xfrm>
          <a:prstGeom prst="rect">
            <a:avLst/>
          </a:prstGeom>
          <a:noFill/>
          <a:ln w="9525">
            <a:noFill/>
            <a:miter lim="800000"/>
            <a:headEnd/>
            <a:tailEnd/>
          </a:ln>
          <a:effectLst/>
        </p:spPr>
      </p:pic>
      <p:sp>
        <p:nvSpPr>
          <p:cNvPr id="17"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6"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9"/>
              </a:rPr>
              <a:t>www.rapidbbs.cn</a:t>
            </a:r>
            <a:endParaRPr lang="zh-CN" altLang="en-US" sz="1200" b="0">
              <a:latin typeface="Arial" charset="0"/>
              <a:ea typeface="ＭＳ Ｐゴシック" pitchFamily="34" charset="-128"/>
            </a:endParaRPr>
          </a:p>
        </p:txBody>
      </p:sp>
      <p:pic>
        <p:nvPicPr>
          <p:cNvPr id="27" name="Picture 2">
            <a:hlinkClick r:id="rId9"/>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292171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eventsql\dvd\Online_ART\DVD_Art_Sept-2-2010\Artwork_Imagery\Shapes\Arrows\Curved\5 part virtuous cycl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09283" y="2258848"/>
            <a:ext cx="3410290" cy="248460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381000" y="172643"/>
            <a:ext cx="8382000" cy="830997"/>
          </a:xfrm>
        </p:spPr>
        <p:txBody>
          <a:bodyPr/>
          <a:lstStyle/>
          <a:p>
            <a:r>
              <a:rPr lang="en-US" dirty="0" smtClean="0"/>
              <a:t>Upgrading or Patching Multi-Server Farms</a:t>
            </a:r>
            <a:br>
              <a:rPr lang="en-US" dirty="0" smtClean="0"/>
            </a:br>
            <a:r>
              <a:rPr lang="en-US" sz="2700" dirty="0">
                <a:solidFill>
                  <a:schemeClr val="accent1"/>
                </a:solidFill>
              </a:rPr>
              <a:t>Multiple PowerPivot Application Servers</a:t>
            </a:r>
            <a:endParaRPr lang="en-US" dirty="0">
              <a:solidFill>
                <a:schemeClr val="accent1"/>
              </a:solidFill>
            </a:endParaRPr>
          </a:p>
        </p:txBody>
      </p:sp>
      <p:pic>
        <p:nvPicPr>
          <p:cNvPr id="6" name="Picture 2" descr="C:\Users\Jordan\Desktop\TechEd_2012\TechEd-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6962" y="4619593"/>
            <a:ext cx="698151" cy="322326"/>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p:cNvGrpSpPr/>
          <p:nvPr/>
        </p:nvGrpSpPr>
        <p:grpSpPr>
          <a:xfrm>
            <a:off x="3085712" y="2164940"/>
            <a:ext cx="807690" cy="1035461"/>
            <a:chOff x="7238994" y="3200403"/>
            <a:chExt cx="1142999" cy="1496195"/>
          </a:xfrm>
        </p:grpSpPr>
        <p:pic>
          <p:nvPicPr>
            <p:cNvPr id="9" name="Picture 3"/>
            <p:cNvPicPr>
              <a:picLocks noChangeAspect="1" noChangeArrowheads="1"/>
            </p:cNvPicPr>
            <p:nvPr/>
          </p:nvPicPr>
          <p:blipFill>
            <a:blip r:embed="rId5" cstate="print"/>
            <a:srcRect/>
            <a:stretch>
              <a:fillRect/>
            </a:stretch>
          </p:blipFill>
          <p:spPr bwMode="auto">
            <a:xfrm>
              <a:off x="7238994" y="3200403"/>
              <a:ext cx="1142999" cy="1496195"/>
            </a:xfrm>
            <a:prstGeom prst="rect">
              <a:avLst/>
            </a:prstGeom>
            <a:noFill/>
            <a:ln w="9525">
              <a:noFill/>
              <a:miter lim="800000"/>
              <a:headEnd/>
              <a:tailEnd/>
            </a:ln>
            <a:effectLst/>
          </p:spPr>
        </p:pic>
        <p:pic>
          <p:nvPicPr>
            <p:cNvPr id="10" name="Picture 4"/>
            <p:cNvPicPr>
              <a:picLocks noChangeAspect="1" noChangeArrowheads="1"/>
            </p:cNvPicPr>
            <p:nvPr/>
          </p:nvPicPr>
          <p:blipFill>
            <a:blip r:embed="rId6" cstate="print"/>
            <a:srcRect/>
            <a:stretch>
              <a:fillRect/>
            </a:stretch>
          </p:blipFill>
          <p:spPr bwMode="auto">
            <a:xfrm>
              <a:off x="7749589" y="3931753"/>
              <a:ext cx="572210" cy="572212"/>
            </a:xfrm>
            <a:prstGeom prst="rect">
              <a:avLst/>
            </a:prstGeom>
            <a:noFill/>
            <a:ln w="9525">
              <a:noFill/>
              <a:miter lim="800000"/>
              <a:headEnd/>
              <a:tailEnd/>
            </a:ln>
            <a:effectLst/>
          </p:spPr>
        </p:pic>
      </p:grpSp>
      <p:grpSp>
        <p:nvGrpSpPr>
          <p:cNvPr id="28" name="Group 27"/>
          <p:cNvGrpSpPr/>
          <p:nvPr/>
        </p:nvGrpSpPr>
        <p:grpSpPr>
          <a:xfrm>
            <a:off x="4808041" y="3703852"/>
            <a:ext cx="517357" cy="603961"/>
            <a:chOff x="7239000" y="3200400"/>
            <a:chExt cx="1143000" cy="1496194"/>
          </a:xfrm>
        </p:grpSpPr>
        <p:pic>
          <p:nvPicPr>
            <p:cNvPr id="29" name="Picture 3"/>
            <p:cNvPicPr>
              <a:picLocks noChangeAspect="1" noChangeArrowheads="1"/>
            </p:cNvPicPr>
            <p:nvPr/>
          </p:nvPicPr>
          <p:blipFill>
            <a:blip r:embed="rId5" cstate="print"/>
            <a:srcRect/>
            <a:stretch>
              <a:fillRect/>
            </a:stretch>
          </p:blipFill>
          <p:spPr bwMode="auto">
            <a:xfrm>
              <a:off x="7239000" y="3200400"/>
              <a:ext cx="1143000" cy="1496194"/>
            </a:xfrm>
            <a:prstGeom prst="rect">
              <a:avLst/>
            </a:prstGeom>
            <a:noFill/>
            <a:ln w="9525">
              <a:noFill/>
              <a:miter lim="800000"/>
              <a:headEnd/>
              <a:tailEnd/>
            </a:ln>
            <a:effectLst/>
          </p:spPr>
        </p:pic>
        <p:pic>
          <p:nvPicPr>
            <p:cNvPr id="30" name="Picture 4"/>
            <p:cNvPicPr>
              <a:picLocks noChangeAspect="1" noChangeArrowheads="1"/>
            </p:cNvPicPr>
            <p:nvPr/>
          </p:nvPicPr>
          <p:blipFill>
            <a:blip r:embed="rId6" cstate="print"/>
            <a:srcRect/>
            <a:stretch>
              <a:fillRect/>
            </a:stretch>
          </p:blipFill>
          <p:spPr bwMode="auto">
            <a:xfrm>
              <a:off x="7749589" y="3931753"/>
              <a:ext cx="572210" cy="572212"/>
            </a:xfrm>
            <a:prstGeom prst="rect">
              <a:avLst/>
            </a:prstGeom>
            <a:noFill/>
            <a:ln w="9525">
              <a:noFill/>
              <a:miter lim="800000"/>
              <a:headEnd/>
              <a:tailEnd/>
            </a:ln>
            <a:effectLst/>
          </p:spPr>
        </p:pic>
      </p:grpSp>
      <p:sp>
        <p:nvSpPr>
          <p:cNvPr id="44" name="Rectangle 43"/>
          <p:cNvSpPr/>
          <p:nvPr/>
        </p:nvSpPr>
        <p:spPr>
          <a:xfrm>
            <a:off x="4157432" y="3311353"/>
            <a:ext cx="848740" cy="346249"/>
          </a:xfrm>
          <a:prstGeom prst="rect">
            <a:avLst/>
          </a:prstGeom>
        </p:spPr>
        <p:txBody>
          <a:bodyPr wrap="square" lIns="68586" tIns="34294" rIns="68586" bIns="34294">
            <a:spAutoFit/>
          </a:bodyPr>
          <a:lstStyle/>
          <a:p>
            <a:pPr algn="ctr"/>
            <a:r>
              <a:rPr lang="en-US" sz="900" dirty="0"/>
              <a:t>PowerPivot App Servers</a:t>
            </a:r>
          </a:p>
        </p:txBody>
      </p:sp>
      <p:grpSp>
        <p:nvGrpSpPr>
          <p:cNvPr id="41" name="Group 40"/>
          <p:cNvGrpSpPr/>
          <p:nvPr/>
        </p:nvGrpSpPr>
        <p:grpSpPr>
          <a:xfrm>
            <a:off x="3431784" y="3516172"/>
            <a:ext cx="517357" cy="603961"/>
            <a:chOff x="7239000" y="3200400"/>
            <a:chExt cx="1143000" cy="1496194"/>
          </a:xfrm>
        </p:grpSpPr>
        <p:pic>
          <p:nvPicPr>
            <p:cNvPr id="42" name="Picture 3"/>
            <p:cNvPicPr>
              <a:picLocks noChangeAspect="1" noChangeArrowheads="1"/>
            </p:cNvPicPr>
            <p:nvPr/>
          </p:nvPicPr>
          <p:blipFill>
            <a:blip r:embed="rId5" cstate="print"/>
            <a:srcRect/>
            <a:stretch>
              <a:fillRect/>
            </a:stretch>
          </p:blipFill>
          <p:spPr bwMode="auto">
            <a:xfrm>
              <a:off x="7239000" y="3200400"/>
              <a:ext cx="1143000" cy="1496194"/>
            </a:xfrm>
            <a:prstGeom prst="rect">
              <a:avLst/>
            </a:prstGeom>
            <a:noFill/>
            <a:ln w="9525">
              <a:noFill/>
              <a:miter lim="800000"/>
              <a:headEnd/>
              <a:tailEnd/>
            </a:ln>
            <a:effectLst/>
          </p:spPr>
        </p:pic>
        <p:pic>
          <p:nvPicPr>
            <p:cNvPr id="45" name="Picture 4"/>
            <p:cNvPicPr>
              <a:picLocks noChangeAspect="1" noChangeArrowheads="1"/>
            </p:cNvPicPr>
            <p:nvPr/>
          </p:nvPicPr>
          <p:blipFill>
            <a:blip r:embed="rId6" cstate="print"/>
            <a:srcRect/>
            <a:stretch>
              <a:fillRect/>
            </a:stretch>
          </p:blipFill>
          <p:spPr bwMode="auto">
            <a:xfrm>
              <a:off x="7749589" y="3931753"/>
              <a:ext cx="572210" cy="572212"/>
            </a:xfrm>
            <a:prstGeom prst="rect">
              <a:avLst/>
            </a:prstGeom>
            <a:noFill/>
            <a:ln w="9525">
              <a:noFill/>
              <a:miter lim="800000"/>
              <a:headEnd/>
              <a:tailEnd/>
            </a:ln>
            <a:effectLst/>
          </p:spPr>
        </p:pic>
      </p:grpSp>
      <p:grpSp>
        <p:nvGrpSpPr>
          <p:cNvPr id="46" name="Group 45"/>
          <p:cNvGrpSpPr/>
          <p:nvPr/>
        </p:nvGrpSpPr>
        <p:grpSpPr>
          <a:xfrm>
            <a:off x="4651292" y="2071192"/>
            <a:ext cx="517357" cy="603961"/>
            <a:chOff x="7239000" y="3200400"/>
            <a:chExt cx="1143000" cy="1496194"/>
          </a:xfrm>
        </p:grpSpPr>
        <p:pic>
          <p:nvPicPr>
            <p:cNvPr id="47" name="Picture 3"/>
            <p:cNvPicPr>
              <a:picLocks noChangeAspect="1" noChangeArrowheads="1"/>
            </p:cNvPicPr>
            <p:nvPr/>
          </p:nvPicPr>
          <p:blipFill>
            <a:blip r:embed="rId5" cstate="print"/>
            <a:srcRect/>
            <a:stretch>
              <a:fillRect/>
            </a:stretch>
          </p:blipFill>
          <p:spPr bwMode="auto">
            <a:xfrm>
              <a:off x="7239000" y="3200400"/>
              <a:ext cx="1143000" cy="1496194"/>
            </a:xfrm>
            <a:prstGeom prst="rect">
              <a:avLst/>
            </a:prstGeom>
            <a:noFill/>
            <a:ln w="9525">
              <a:noFill/>
              <a:miter lim="800000"/>
              <a:headEnd/>
              <a:tailEnd/>
            </a:ln>
            <a:effectLst/>
          </p:spPr>
        </p:pic>
        <p:pic>
          <p:nvPicPr>
            <p:cNvPr id="48" name="Picture 4"/>
            <p:cNvPicPr>
              <a:picLocks noChangeAspect="1" noChangeArrowheads="1"/>
            </p:cNvPicPr>
            <p:nvPr/>
          </p:nvPicPr>
          <p:blipFill>
            <a:blip r:embed="rId6" cstate="print"/>
            <a:srcRect/>
            <a:stretch>
              <a:fillRect/>
            </a:stretch>
          </p:blipFill>
          <p:spPr bwMode="auto">
            <a:xfrm>
              <a:off x="7749589" y="3931753"/>
              <a:ext cx="572210" cy="572212"/>
            </a:xfrm>
            <a:prstGeom prst="rect">
              <a:avLst/>
            </a:prstGeom>
            <a:noFill/>
            <a:ln w="9525">
              <a:noFill/>
              <a:miter lim="800000"/>
              <a:headEnd/>
              <a:tailEnd/>
            </a:ln>
            <a:effectLst/>
          </p:spPr>
        </p:pic>
      </p:grpSp>
      <p:grpSp>
        <p:nvGrpSpPr>
          <p:cNvPr id="49" name="Group 48"/>
          <p:cNvGrpSpPr/>
          <p:nvPr/>
        </p:nvGrpSpPr>
        <p:grpSpPr>
          <a:xfrm>
            <a:off x="5608350" y="2951434"/>
            <a:ext cx="517357" cy="603961"/>
            <a:chOff x="7239000" y="3200400"/>
            <a:chExt cx="1143000" cy="1496194"/>
          </a:xfrm>
        </p:grpSpPr>
        <p:pic>
          <p:nvPicPr>
            <p:cNvPr id="50" name="Picture 3"/>
            <p:cNvPicPr>
              <a:picLocks noChangeAspect="1" noChangeArrowheads="1"/>
            </p:cNvPicPr>
            <p:nvPr/>
          </p:nvPicPr>
          <p:blipFill>
            <a:blip r:embed="rId5" cstate="print"/>
            <a:srcRect/>
            <a:stretch>
              <a:fillRect/>
            </a:stretch>
          </p:blipFill>
          <p:spPr bwMode="auto">
            <a:xfrm>
              <a:off x="7239000" y="3200400"/>
              <a:ext cx="1143000" cy="1496194"/>
            </a:xfrm>
            <a:prstGeom prst="rect">
              <a:avLst/>
            </a:prstGeom>
            <a:noFill/>
            <a:ln w="9525">
              <a:noFill/>
              <a:miter lim="800000"/>
              <a:headEnd/>
              <a:tailEnd/>
            </a:ln>
            <a:effectLst/>
          </p:spPr>
        </p:pic>
        <p:pic>
          <p:nvPicPr>
            <p:cNvPr id="51" name="Picture 4"/>
            <p:cNvPicPr>
              <a:picLocks noChangeAspect="1" noChangeArrowheads="1"/>
            </p:cNvPicPr>
            <p:nvPr/>
          </p:nvPicPr>
          <p:blipFill>
            <a:blip r:embed="rId6" cstate="print"/>
            <a:srcRect/>
            <a:stretch>
              <a:fillRect/>
            </a:stretch>
          </p:blipFill>
          <p:spPr bwMode="auto">
            <a:xfrm>
              <a:off x="7749589" y="3931753"/>
              <a:ext cx="572210" cy="572212"/>
            </a:xfrm>
            <a:prstGeom prst="rect">
              <a:avLst/>
            </a:prstGeom>
            <a:noFill/>
            <a:ln w="9525">
              <a:noFill/>
              <a:miter lim="800000"/>
              <a:headEnd/>
              <a:tailEnd/>
            </a:ln>
            <a:effectLst/>
          </p:spPr>
        </p:pic>
      </p:grpSp>
      <p:sp>
        <p:nvSpPr>
          <p:cNvPr id="127" name="Rectangular Callout 126"/>
          <p:cNvSpPr/>
          <p:nvPr/>
        </p:nvSpPr>
        <p:spPr bwMode="auto">
          <a:xfrm>
            <a:off x="389437" y="2838270"/>
            <a:ext cx="2205926" cy="639368"/>
          </a:xfrm>
          <a:prstGeom prst="wedgeRectCallout">
            <a:avLst>
              <a:gd name="adj1" fmla="val 73906"/>
              <a:gd name="adj2" fmla="val -67052"/>
            </a:avLst>
          </a:prstGeom>
          <a:solidFill>
            <a:schemeClr val="accent6">
              <a:lumMod val="75000"/>
            </a:schemeClr>
          </a:solid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vert="horz" wrap="square" lIns="68583" tIns="34292" rIns="68583" bIns="34292" numCol="1" rtlCol="0" anchor="ctr" anchorCtr="0" compatLnSpc="1">
            <a:prstTxWarp prst="textNoShape">
              <a:avLst/>
            </a:prstTxWarp>
          </a:bodyPr>
          <a:lstStyle/>
          <a:p>
            <a:pPr defTabSz="685637"/>
            <a:r>
              <a:rPr lang="de-DE" sz="1200" dirty="0">
                <a:solidFill>
                  <a:srgbClr val="FFFFFF">
                    <a:alpha val="98824"/>
                  </a:srgbClr>
                </a:solidFill>
                <a:latin typeface="Segoe UI" pitchFamily="34" charset="0"/>
                <a:ea typeface="Segoe UI" pitchFamily="34" charset="0"/>
                <a:cs typeface="Segoe UI" pitchFamily="34" charset="0"/>
              </a:rPr>
              <a:t>1. </a:t>
            </a:r>
            <a:r>
              <a:rPr lang="en-US" sz="1200" dirty="0">
                <a:solidFill>
                  <a:srgbClr val="FFFFFF">
                    <a:alpha val="98824"/>
                  </a:srgbClr>
                </a:solidFill>
                <a:latin typeface="Segoe UI" pitchFamily="34" charset="0"/>
                <a:ea typeface="Segoe UI" pitchFamily="34" charset="0"/>
                <a:cs typeface="Segoe UI" pitchFamily="34" charset="0"/>
              </a:rPr>
              <a:t>Install the new version or patch according to the deployment instructions</a:t>
            </a:r>
          </a:p>
        </p:txBody>
      </p:sp>
      <p:sp>
        <p:nvSpPr>
          <p:cNvPr id="128" name="Rectangular Callout 127"/>
          <p:cNvSpPr/>
          <p:nvPr/>
        </p:nvSpPr>
        <p:spPr bwMode="auto">
          <a:xfrm>
            <a:off x="389436" y="1828801"/>
            <a:ext cx="2223790" cy="922244"/>
          </a:xfrm>
          <a:prstGeom prst="wedgeRectCallout">
            <a:avLst>
              <a:gd name="adj1" fmla="val 72867"/>
              <a:gd name="adj2" fmla="val 33202"/>
            </a:avLst>
          </a:prstGeom>
          <a:solidFill>
            <a:srgbClr val="00B050"/>
          </a:solid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vert="horz" wrap="square" lIns="68583" tIns="34292" rIns="68583" bIns="34292" numCol="1" rtlCol="0" anchor="ctr" anchorCtr="0" compatLnSpc="1">
            <a:prstTxWarp prst="textNoShape">
              <a:avLst/>
            </a:prstTxWarp>
          </a:bodyPr>
          <a:lstStyle/>
          <a:p>
            <a:pPr defTabSz="685637"/>
            <a:r>
              <a:rPr lang="de-DE" sz="1200" dirty="0">
                <a:solidFill>
                  <a:srgbClr val="FFFFFF">
                    <a:alpha val="98824"/>
                  </a:srgbClr>
                </a:solidFill>
                <a:latin typeface="Segoe UI" pitchFamily="34" charset="0"/>
                <a:ea typeface="Segoe UI" pitchFamily="34" charset="0"/>
                <a:cs typeface="Segoe UI" pitchFamily="34" charset="0"/>
              </a:rPr>
              <a:t>2. Run the PowerPivot Configuration Tool to upgrade features, services, applications and solutions</a:t>
            </a:r>
          </a:p>
        </p:txBody>
      </p:sp>
      <p:sp>
        <p:nvSpPr>
          <p:cNvPr id="1078" name="Arc 1077"/>
          <p:cNvSpPr/>
          <p:nvPr/>
        </p:nvSpPr>
        <p:spPr>
          <a:xfrm rot="1628224">
            <a:off x="3106445" y="2171092"/>
            <a:ext cx="3464982" cy="2430464"/>
          </a:xfrm>
          <a:prstGeom prst="arc">
            <a:avLst>
              <a:gd name="adj1" fmla="val 11886322"/>
              <a:gd name="adj2" fmla="val 14517170"/>
            </a:avLst>
          </a:prstGeom>
          <a:ln>
            <a:headEnd type="none" w="med" len="med"/>
            <a:tailEnd type="arrow" w="med" len="med"/>
          </a:ln>
        </p:spPr>
        <p:style>
          <a:lnRef idx="3">
            <a:schemeClr val="accent1"/>
          </a:lnRef>
          <a:fillRef idx="0">
            <a:schemeClr val="accent1"/>
          </a:fillRef>
          <a:effectRef idx="2">
            <a:schemeClr val="accent1"/>
          </a:effectRef>
          <a:fontRef idx="minor">
            <a:schemeClr val="tx1"/>
          </a:fontRef>
        </p:style>
        <p:txBody>
          <a:bodyPr lIns="68586" tIns="34294" rIns="68586" bIns="34294" rtlCol="0" anchor="ctr"/>
          <a:lstStyle/>
          <a:p>
            <a:pPr algn="ctr"/>
            <a:endParaRPr lang="en-US"/>
          </a:p>
        </p:txBody>
      </p:sp>
      <p:sp>
        <p:nvSpPr>
          <p:cNvPr id="130" name="Rectangular Callout 129"/>
          <p:cNvSpPr/>
          <p:nvPr/>
        </p:nvSpPr>
        <p:spPr bwMode="auto">
          <a:xfrm>
            <a:off x="3682920" y="1199971"/>
            <a:ext cx="2205926" cy="514531"/>
          </a:xfrm>
          <a:prstGeom prst="wedgeRectCallout">
            <a:avLst>
              <a:gd name="adj1" fmla="val -27735"/>
              <a:gd name="adj2" fmla="val 106066"/>
            </a:avLst>
          </a:prstGeom>
          <a:ln>
            <a:headEnd type="none" w="med" len="med"/>
            <a:tailEnd type="none" w="med" len="med"/>
          </a:ln>
        </p:spPr>
        <p:style>
          <a:lnRef idx="3">
            <a:schemeClr val="lt1"/>
          </a:lnRef>
          <a:fillRef idx="1">
            <a:schemeClr val="accent1"/>
          </a:fillRef>
          <a:effectRef idx="1">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defTabSz="685637"/>
            <a:r>
              <a:rPr lang="de-DE" sz="1200" dirty="0">
                <a:solidFill>
                  <a:srgbClr val="FFFFFF">
                    <a:alpha val="98824"/>
                  </a:srgbClr>
                </a:solidFill>
                <a:latin typeface="Segoe UI" pitchFamily="34" charset="0"/>
                <a:ea typeface="Segoe UI" pitchFamily="34" charset="0"/>
                <a:cs typeface="Segoe UI" pitchFamily="34" charset="0"/>
              </a:rPr>
              <a:t>3. </a:t>
            </a:r>
            <a:r>
              <a:rPr lang="en-US" sz="1200" dirty="0">
                <a:solidFill>
                  <a:srgbClr val="FFFFFF">
                    <a:alpha val="98824"/>
                  </a:srgbClr>
                </a:solidFill>
                <a:latin typeface="Segoe UI" pitchFamily="34" charset="0"/>
                <a:ea typeface="Segoe UI" pitchFamily="34" charset="0"/>
                <a:cs typeface="Segoe UI" pitchFamily="34" charset="0"/>
              </a:rPr>
              <a:t>Move to the next PowerPivot application server</a:t>
            </a:r>
          </a:p>
        </p:txBody>
      </p:sp>
      <p:sp>
        <p:nvSpPr>
          <p:cNvPr id="1079" name="Rectangle 1078"/>
          <p:cNvSpPr/>
          <p:nvPr/>
        </p:nvSpPr>
        <p:spPr bwMode="auto">
          <a:xfrm>
            <a:off x="6801432" y="2286000"/>
            <a:ext cx="1951943" cy="2057400"/>
          </a:xfrm>
          <a:prstGeom prst="rect">
            <a:avLst/>
          </a:prstGeom>
          <a:noFill/>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68583" tIns="34292" rIns="68583" bIns="34292" numCol="1" rtlCol="0" anchor="ctr" anchorCtr="0" compatLnSpc="1">
            <a:prstTxWarp prst="textNoShape">
              <a:avLst/>
            </a:prstTxWarp>
          </a:bodyPr>
          <a:lstStyle/>
          <a:p>
            <a:pPr algn="ctr" defTabSz="685637"/>
            <a:r>
              <a:rPr lang="en-US" sz="1100" dirty="0">
                <a:solidFill>
                  <a:schemeClr val="accent6">
                    <a:lumMod val="20000"/>
                    <a:lumOff val="80000"/>
                    <a:alpha val="98824"/>
                  </a:schemeClr>
                </a:solidFill>
                <a:latin typeface="Segoe UI" pitchFamily="34" charset="0"/>
                <a:ea typeface="Segoe UI" pitchFamily="34" charset="0"/>
                <a:cs typeface="Segoe UI" pitchFamily="34" charset="0"/>
              </a:rPr>
              <a:t>Be sure to both patch and configure each instance before continuing to the next PowerPivot application server. The PowerPivot Configuration Tool must complete the upgrade task for the current instance before moving on to the next instance. It must update the server version in the SharePoint </a:t>
            </a:r>
            <a:r>
              <a:rPr lang="en-US" sz="1100" dirty="0" err="1">
                <a:solidFill>
                  <a:schemeClr val="accent6">
                    <a:lumMod val="20000"/>
                    <a:lumOff val="80000"/>
                    <a:alpha val="98824"/>
                  </a:schemeClr>
                </a:solidFill>
                <a:latin typeface="Segoe UI" pitchFamily="34" charset="0"/>
                <a:ea typeface="Segoe UI" pitchFamily="34" charset="0"/>
                <a:cs typeface="Segoe UI" pitchFamily="34" charset="0"/>
              </a:rPr>
              <a:t>config</a:t>
            </a:r>
            <a:r>
              <a:rPr lang="en-US" sz="1100" dirty="0">
                <a:solidFill>
                  <a:schemeClr val="accent6">
                    <a:lumMod val="20000"/>
                    <a:lumOff val="80000"/>
                    <a:alpha val="98824"/>
                  </a:schemeClr>
                </a:solidFill>
                <a:latin typeface="Segoe UI" pitchFamily="34" charset="0"/>
                <a:ea typeface="Segoe UI" pitchFamily="34" charset="0"/>
                <a:cs typeface="Segoe UI" pitchFamily="34" charset="0"/>
              </a:rPr>
              <a:t> db.</a:t>
            </a:r>
          </a:p>
        </p:txBody>
      </p:sp>
      <p:pic>
        <p:nvPicPr>
          <p:cNvPr id="135" name="Picture 83" descr="C:\Users\KayU\AppData\Local\Microsoft\Windows\Temporary Internet Files\Content.IE5\VVEDC526\MC900434750[1].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58441" y="2103729"/>
            <a:ext cx="539022" cy="538882"/>
          </a:xfrm>
          <a:prstGeom prst="rect">
            <a:avLst/>
          </a:prstGeom>
          <a:noFill/>
          <a:extLst>
            <a:ext uri="{909E8E84-426E-40DD-AFC4-6F175D3DCCD1}">
              <a14:hiddenFill xmlns:a14="http://schemas.microsoft.com/office/drawing/2010/main">
                <a:solidFill>
                  <a:srgbClr val="FFFFFF"/>
                </a:solidFill>
              </a14:hiddenFill>
            </a:ext>
          </a:extLst>
        </p:spPr>
      </p:pic>
      <p:sp>
        <p:nvSpPr>
          <p:cNvPr id="1080" name="Rectangle 1079"/>
          <p:cNvSpPr/>
          <p:nvPr/>
        </p:nvSpPr>
        <p:spPr>
          <a:xfrm>
            <a:off x="386962" y="4743452"/>
            <a:ext cx="8366411" cy="207749"/>
          </a:xfrm>
          <a:prstGeom prst="rect">
            <a:avLst/>
          </a:prstGeom>
        </p:spPr>
        <p:txBody>
          <a:bodyPr wrap="square" lIns="68586" tIns="34294" rIns="68586" bIns="34294">
            <a:spAutoFit/>
          </a:bodyPr>
          <a:lstStyle/>
          <a:p>
            <a:pPr algn="ctr"/>
            <a:r>
              <a:rPr lang="en-US" sz="900" dirty="0"/>
              <a:t>After you upgrade the first server, additional servers that are not yet upgraded will become unavailable. </a:t>
            </a:r>
          </a:p>
        </p:txBody>
      </p:sp>
      <p:sp>
        <p:nvSpPr>
          <p:cNvPr id="31"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2"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8"/>
              </a:rPr>
              <a:t>www.rapidbbs.cn</a:t>
            </a:r>
            <a:endParaRPr lang="zh-CN" altLang="en-US" sz="1200" b="0">
              <a:latin typeface="Arial" charset="0"/>
              <a:ea typeface="ＭＳ Ｐゴシック" pitchFamily="34" charset="-128"/>
            </a:endParaRPr>
          </a:p>
        </p:txBody>
      </p:sp>
      <p:pic>
        <p:nvPicPr>
          <p:cNvPr id="33" name="Picture 2">
            <a:hlinkClick r:id="rId8"/>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004272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14" name="Rectangle 13"/>
          <p:cNvSpPr/>
          <p:nvPr/>
        </p:nvSpPr>
        <p:spPr bwMode="auto">
          <a:xfrm>
            <a:off x="1186232" y="2098964"/>
            <a:ext cx="1398038" cy="200284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617276" rIns="68583" bIns="34292" numCol="1" rtlCol="0" anchor="ctr" anchorCtr="0" compatLnSpc="1">
            <a:prstTxWarp prst="textNoShape">
              <a:avLst/>
            </a:prstTxWarp>
          </a:bodyPr>
          <a:lstStyle/>
          <a:p>
            <a:pPr algn="ctr" defTabSz="685637" fontAlgn="base">
              <a:spcBef>
                <a:spcPct val="0"/>
              </a:spcBef>
              <a:spcAft>
                <a:spcPct val="0"/>
              </a:spcAft>
            </a:pPr>
            <a:r>
              <a:rPr lang="en-US" sz="1800" dirty="0">
                <a:gradFill>
                  <a:gsLst>
                    <a:gs pos="0">
                      <a:schemeClr val="tx1"/>
                    </a:gs>
                    <a:gs pos="100000">
                      <a:schemeClr val="tx1"/>
                    </a:gs>
                  </a:gsLst>
                  <a:lin ang="5400000" scaled="0"/>
                </a:gradFill>
                <a:latin typeface="+mj-lt"/>
              </a:rPr>
              <a:t>Packages &amp; App Model</a:t>
            </a:r>
          </a:p>
        </p:txBody>
      </p:sp>
      <p:sp>
        <p:nvSpPr>
          <p:cNvPr id="35" name="Rectangle 34"/>
          <p:cNvSpPr/>
          <p:nvPr/>
        </p:nvSpPr>
        <p:spPr bwMode="auto">
          <a:xfrm>
            <a:off x="2924579" y="2077532"/>
            <a:ext cx="1398038" cy="200284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617276" rIns="68583" bIns="34292" numCol="1" rtlCol="0" anchor="ctr" anchorCtr="0" compatLnSpc="1">
            <a:prstTxWarp prst="textNoShape">
              <a:avLst/>
            </a:prstTxWarp>
          </a:bodyPr>
          <a:lstStyle/>
          <a:p>
            <a:pPr algn="ctr" defTabSz="685637" fontAlgn="base">
              <a:spcBef>
                <a:spcPct val="0"/>
              </a:spcBef>
              <a:spcAft>
                <a:spcPct val="0"/>
              </a:spcAft>
            </a:pPr>
            <a:r>
              <a:rPr lang="en-US" sz="1800" dirty="0">
                <a:gradFill>
                  <a:gsLst>
                    <a:gs pos="0">
                      <a:schemeClr val="tx1"/>
                    </a:gs>
                    <a:gs pos="100000">
                      <a:schemeClr val="tx1"/>
                    </a:gs>
                  </a:gsLst>
                  <a:lin ang="5400000" scaled="0"/>
                </a:gradFill>
                <a:latin typeface="+mj-lt"/>
              </a:rPr>
              <a:t>Web Platform</a:t>
            </a:r>
          </a:p>
        </p:txBody>
      </p:sp>
      <p:sp>
        <p:nvSpPr>
          <p:cNvPr id="36" name="Rectangle 35"/>
          <p:cNvSpPr/>
          <p:nvPr/>
        </p:nvSpPr>
        <p:spPr bwMode="auto">
          <a:xfrm>
            <a:off x="4662927" y="2077532"/>
            <a:ext cx="1398038" cy="200284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617276" rIns="68583" bIns="34292" numCol="1" rtlCol="0" anchor="ctr" anchorCtr="0" compatLnSpc="1">
            <a:prstTxWarp prst="textNoShape">
              <a:avLst/>
            </a:prstTxWarp>
          </a:bodyPr>
          <a:lstStyle/>
          <a:p>
            <a:pPr algn="ctr" defTabSz="685637" fontAlgn="base">
              <a:spcBef>
                <a:spcPct val="0"/>
              </a:spcBef>
              <a:spcAft>
                <a:spcPct val="0"/>
              </a:spcAft>
            </a:pPr>
            <a:r>
              <a:rPr lang="en-US" sz="1800" dirty="0">
                <a:gradFill>
                  <a:gsLst>
                    <a:gs pos="0">
                      <a:schemeClr val="tx1"/>
                    </a:gs>
                    <a:gs pos="100000">
                      <a:schemeClr val="tx1"/>
                    </a:gs>
                  </a:gsLst>
                  <a:lin ang="5400000" scaled="0"/>
                </a:gradFill>
                <a:latin typeface="+mj-lt"/>
              </a:rPr>
              <a:t>WinRT Platform</a:t>
            </a:r>
          </a:p>
        </p:txBody>
      </p:sp>
      <p:sp>
        <p:nvSpPr>
          <p:cNvPr id="37" name="Rectangle 36"/>
          <p:cNvSpPr/>
          <p:nvPr/>
        </p:nvSpPr>
        <p:spPr bwMode="auto">
          <a:xfrm>
            <a:off x="6401276" y="2077532"/>
            <a:ext cx="1398038" cy="200284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617276" rIns="68583" bIns="34292" numCol="1" rtlCol="0" anchor="ctr" anchorCtr="0" compatLnSpc="1">
            <a:prstTxWarp prst="textNoShape">
              <a:avLst/>
            </a:prstTxWarp>
          </a:bodyPr>
          <a:lstStyle/>
          <a:p>
            <a:pPr algn="ctr" defTabSz="685637" fontAlgn="base">
              <a:spcBef>
                <a:spcPct val="0"/>
              </a:spcBef>
              <a:spcAft>
                <a:spcPct val="0"/>
              </a:spcAft>
            </a:pPr>
            <a:r>
              <a:rPr lang="en-US" sz="1800" dirty="0">
                <a:gradFill>
                  <a:gsLst>
                    <a:gs pos="0">
                      <a:schemeClr val="tx1"/>
                    </a:gs>
                    <a:gs pos="100000">
                      <a:schemeClr val="tx1"/>
                    </a:gs>
                  </a:gsLst>
                  <a:lin ang="5400000" scaled="0"/>
                </a:gradFill>
              </a:rPr>
              <a:t>Process Lifecycle</a:t>
            </a:r>
          </a:p>
        </p:txBody>
      </p:sp>
      <p:sp>
        <p:nvSpPr>
          <p:cNvPr id="7" name="Rectangle 6"/>
          <p:cNvSpPr/>
          <p:nvPr/>
        </p:nvSpPr>
        <p:spPr bwMode="auto">
          <a:xfrm>
            <a:off x="1199273" y="1143000"/>
            <a:ext cx="6590149" cy="62865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800" dirty="0">
                <a:gradFill>
                  <a:gsLst>
                    <a:gs pos="0">
                      <a:schemeClr val="tx1"/>
                    </a:gs>
                    <a:gs pos="100000">
                      <a:schemeClr val="tx1"/>
                    </a:gs>
                  </a:gsLst>
                  <a:lin ang="5400000" scaled="0"/>
                </a:gradFill>
                <a:latin typeface="+mj-lt"/>
              </a:rPr>
              <a:t>Enterprise Features</a:t>
            </a:r>
          </a:p>
        </p:txBody>
      </p:sp>
      <p:sp>
        <p:nvSpPr>
          <p:cNvPr id="3" name="Rectangle 2"/>
          <p:cNvSpPr/>
          <p:nvPr/>
        </p:nvSpPr>
        <p:spPr bwMode="auto">
          <a:xfrm>
            <a:off x="1628008" y="2228850"/>
            <a:ext cx="514484" cy="514350"/>
          </a:xfrm>
          <a:prstGeom prst="rect">
            <a:avLst/>
          </a:prstGeom>
          <a:solidFill>
            <a:schemeClr val="accent2">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4100" b="1" dirty="0">
                <a:solidFill>
                  <a:srgbClr val="FFFFFF">
                    <a:alpha val="98824"/>
                  </a:srgbClr>
                </a:solidFill>
                <a:latin typeface="Segoe UI Semibold" pitchFamily="34" charset="0"/>
                <a:ea typeface="Segoe UI" pitchFamily="34" charset="0"/>
                <a:cs typeface="Segoe UI Semibold" pitchFamily="34" charset="0"/>
              </a:rPr>
              <a:t>1</a:t>
            </a:r>
          </a:p>
        </p:txBody>
      </p:sp>
      <p:sp>
        <p:nvSpPr>
          <p:cNvPr id="9" name="Rectangle 8"/>
          <p:cNvSpPr/>
          <p:nvPr/>
        </p:nvSpPr>
        <p:spPr bwMode="auto">
          <a:xfrm>
            <a:off x="7191311" y="1200150"/>
            <a:ext cx="514484" cy="514350"/>
          </a:xfrm>
          <a:prstGeom prst="rect">
            <a:avLst/>
          </a:prstGeom>
          <a:solidFill>
            <a:schemeClr val="accent5">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4100" b="1" dirty="0">
                <a:solidFill>
                  <a:srgbClr val="FFFFFF">
                    <a:alpha val="98824"/>
                  </a:srgbClr>
                </a:solidFill>
                <a:latin typeface="Segoe UI Semibold" pitchFamily="34" charset="0"/>
                <a:ea typeface="Segoe UI" pitchFamily="34" charset="0"/>
                <a:cs typeface="Segoe UI Semibold" pitchFamily="34" charset="0"/>
              </a:rPr>
              <a:t>5</a:t>
            </a:r>
          </a:p>
        </p:txBody>
      </p:sp>
      <p:sp>
        <p:nvSpPr>
          <p:cNvPr id="10" name="Rectangle 9"/>
          <p:cNvSpPr/>
          <p:nvPr/>
        </p:nvSpPr>
        <p:spPr bwMode="auto">
          <a:xfrm>
            <a:off x="3366355" y="2228850"/>
            <a:ext cx="514484" cy="514350"/>
          </a:xfrm>
          <a:prstGeom prst="rect">
            <a:avLst/>
          </a:prstGeom>
          <a:solidFill>
            <a:schemeClr val="accent4">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4100" b="1" dirty="0">
                <a:solidFill>
                  <a:srgbClr val="FFFFFF">
                    <a:alpha val="98824"/>
                  </a:srgbClr>
                </a:solidFill>
                <a:latin typeface="Segoe UI Semibold" pitchFamily="34" charset="0"/>
                <a:ea typeface="Segoe UI" pitchFamily="34" charset="0"/>
                <a:cs typeface="Segoe UI Semibold" pitchFamily="34" charset="0"/>
              </a:rPr>
              <a:t>2</a:t>
            </a:r>
          </a:p>
        </p:txBody>
      </p:sp>
      <p:sp>
        <p:nvSpPr>
          <p:cNvPr id="11" name="Rectangle 10"/>
          <p:cNvSpPr/>
          <p:nvPr/>
        </p:nvSpPr>
        <p:spPr bwMode="auto">
          <a:xfrm>
            <a:off x="5104704" y="2228850"/>
            <a:ext cx="514484" cy="514350"/>
          </a:xfrm>
          <a:prstGeom prst="rect">
            <a:avLst/>
          </a:prstGeom>
          <a:solidFill>
            <a:schemeClr val="accent6">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4100" b="1" dirty="0">
                <a:solidFill>
                  <a:srgbClr val="FFFFFF">
                    <a:alpha val="98824"/>
                  </a:srgbClr>
                </a:solidFill>
                <a:latin typeface="Segoe UI Semibold" pitchFamily="34" charset="0"/>
                <a:ea typeface="Segoe UI" pitchFamily="34" charset="0"/>
                <a:cs typeface="Segoe UI Semibold" pitchFamily="34" charset="0"/>
              </a:rPr>
              <a:t>3</a:t>
            </a:r>
          </a:p>
        </p:txBody>
      </p:sp>
      <p:sp>
        <p:nvSpPr>
          <p:cNvPr id="12" name="Rectangle 11"/>
          <p:cNvSpPr/>
          <p:nvPr/>
        </p:nvSpPr>
        <p:spPr bwMode="auto">
          <a:xfrm>
            <a:off x="6843053" y="2228850"/>
            <a:ext cx="514484" cy="514350"/>
          </a:xfrm>
          <a:prstGeom prst="rect">
            <a:avLst/>
          </a:prstGeom>
          <a:solidFill>
            <a:schemeClr val="tx2">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4100" b="1" dirty="0">
                <a:solidFill>
                  <a:srgbClr val="FFFFFF">
                    <a:alpha val="98824"/>
                  </a:srgbClr>
                </a:solidFill>
                <a:latin typeface="Segoe UI Semibold" pitchFamily="34" charset="0"/>
                <a:ea typeface="Segoe UI" pitchFamily="34" charset="0"/>
                <a:cs typeface="Segoe UI Semibold" pitchFamily="34" charset="0"/>
              </a:rPr>
              <a:t>4</a:t>
            </a:r>
          </a:p>
        </p:txBody>
      </p:sp>
      <p:sp>
        <p:nvSpPr>
          <p:cNvPr id="13"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5"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
              </a:rPr>
              <a:t>www.rapidbbs.cn</a:t>
            </a:r>
            <a:endParaRPr lang="zh-CN" altLang="en-US" sz="1200" b="0">
              <a:latin typeface="Arial" charset="0"/>
              <a:ea typeface="ＭＳ Ｐゴシック" pitchFamily="34" charset="-128"/>
            </a:endParaRPr>
          </a:p>
        </p:txBody>
      </p:sp>
      <p:pic>
        <p:nvPicPr>
          <p:cNvPr id="16" name="Picture 2">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31752682"/>
      </p:ext>
    </p:extLst>
  </p:cSld>
  <p:clrMapOvr>
    <a:masterClrMapping/>
  </p:clrMapOvr>
  <p:transition>
    <p:fade/>
  </p:transition>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App Model Concepts</a:t>
            </a:r>
            <a:endParaRPr lang="en-US" dirty="0"/>
          </a:p>
        </p:txBody>
      </p:sp>
      <p:sp>
        <p:nvSpPr>
          <p:cNvPr id="3" name="Rectangle 2"/>
          <p:cNvSpPr/>
          <p:nvPr/>
        </p:nvSpPr>
        <p:spPr bwMode="auto">
          <a:xfrm>
            <a:off x="505062" y="926968"/>
            <a:ext cx="3309281" cy="379827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defTabSz="685637" fontAlgn="base">
              <a:spcBef>
                <a:spcPct val="0"/>
              </a:spcBef>
              <a:spcAft>
                <a:spcPct val="0"/>
              </a:spcAft>
            </a:pPr>
            <a:endParaRPr lang="en-US" sz="1700" dirty="0">
              <a:gradFill>
                <a:gsLst>
                  <a:gs pos="0">
                    <a:schemeClr val="tx1"/>
                  </a:gs>
                  <a:gs pos="100000">
                    <a:schemeClr val="tx1"/>
                  </a:gs>
                </a:gsLst>
                <a:lin ang="5400000" scaled="0"/>
              </a:gradFill>
              <a:latin typeface="+mj-lt"/>
            </a:endParaRPr>
          </a:p>
        </p:txBody>
      </p:sp>
      <p:sp>
        <p:nvSpPr>
          <p:cNvPr id="9" name="Rectangle 8"/>
          <p:cNvSpPr/>
          <p:nvPr/>
        </p:nvSpPr>
        <p:spPr>
          <a:xfrm>
            <a:off x="4480299" y="914401"/>
            <a:ext cx="4079673" cy="2184275"/>
          </a:xfrm>
          <a:prstGeom prst="rect">
            <a:avLst/>
          </a:prstGeom>
          <a:solidFill>
            <a:schemeClr val="accent4"/>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lIns="91302" tIns="45651" rIns="91302" bIns="45651" rtlCol="0" anchor="b"/>
          <a:lstStyle/>
          <a:p>
            <a:endParaRPr lang="en-US" sz="1500" b="1" dirty="0">
              <a:solidFill>
                <a:schemeClr val="tx1"/>
              </a:solidFill>
              <a:latin typeface="+mj-lt"/>
            </a:endParaRPr>
          </a:p>
        </p:txBody>
      </p:sp>
      <p:sp>
        <p:nvSpPr>
          <p:cNvPr id="11" name="TextBox 10"/>
          <p:cNvSpPr txBox="1"/>
          <p:nvPr/>
        </p:nvSpPr>
        <p:spPr>
          <a:xfrm>
            <a:off x="1142107" y="956102"/>
            <a:ext cx="3095708" cy="415499"/>
          </a:xfrm>
          <a:prstGeom prst="rect">
            <a:avLst/>
          </a:prstGeom>
          <a:noFill/>
        </p:spPr>
        <p:txBody>
          <a:bodyPr wrap="square" lIns="0" tIns="0" rIns="0" bIns="0" rtlCol="0">
            <a:spAutoFit/>
          </a:bodyPr>
          <a:lstStyle/>
          <a:p>
            <a:r>
              <a:rPr lang="en-US" sz="2700" dirty="0">
                <a:gradFill>
                  <a:gsLst>
                    <a:gs pos="0">
                      <a:schemeClr val="tx1"/>
                    </a:gs>
                    <a:gs pos="86000">
                      <a:schemeClr val="tx1"/>
                    </a:gs>
                  </a:gsLst>
                  <a:lin ang="5400000" scaled="0"/>
                </a:gradFill>
                <a:latin typeface="+mj-lt"/>
              </a:rPr>
              <a:t>App package</a:t>
            </a:r>
          </a:p>
        </p:txBody>
      </p:sp>
      <p:sp>
        <p:nvSpPr>
          <p:cNvPr id="17" name="TextBox 16"/>
          <p:cNvSpPr txBox="1"/>
          <p:nvPr/>
        </p:nvSpPr>
        <p:spPr>
          <a:xfrm>
            <a:off x="5543803" y="956102"/>
            <a:ext cx="3095708" cy="415499"/>
          </a:xfrm>
          <a:prstGeom prst="rect">
            <a:avLst/>
          </a:prstGeom>
          <a:noFill/>
        </p:spPr>
        <p:txBody>
          <a:bodyPr wrap="square" lIns="0" tIns="0" rIns="0" bIns="0" rtlCol="0">
            <a:spAutoFit/>
          </a:bodyPr>
          <a:lstStyle/>
          <a:p>
            <a:r>
              <a:rPr lang="en-US" sz="2700" dirty="0">
                <a:latin typeface="+mj-lt"/>
              </a:rPr>
              <a:t>Running app</a:t>
            </a:r>
          </a:p>
        </p:txBody>
      </p:sp>
      <p:sp>
        <p:nvSpPr>
          <p:cNvPr id="18" name="Rectangle 17"/>
          <p:cNvSpPr/>
          <p:nvPr/>
        </p:nvSpPr>
        <p:spPr bwMode="auto">
          <a:xfrm>
            <a:off x="4457671" y="3600450"/>
            <a:ext cx="4102301" cy="112479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defTabSz="685637" fontAlgn="base">
              <a:spcBef>
                <a:spcPct val="0"/>
              </a:spcBef>
              <a:spcAft>
                <a:spcPct val="0"/>
              </a:spcAft>
            </a:pPr>
            <a:endParaRPr lang="en-US" sz="2700" dirty="0">
              <a:solidFill>
                <a:schemeClr val="tx1"/>
              </a:solidFill>
              <a:latin typeface="+mj-lt"/>
            </a:endParaRPr>
          </a:p>
        </p:txBody>
      </p:sp>
      <p:grpSp>
        <p:nvGrpSpPr>
          <p:cNvPr id="21" name="Group 20"/>
          <p:cNvGrpSpPr/>
          <p:nvPr/>
        </p:nvGrpSpPr>
        <p:grpSpPr>
          <a:xfrm>
            <a:off x="1084941" y="2132866"/>
            <a:ext cx="2161553" cy="1753334"/>
            <a:chOff x="1217611" y="2879688"/>
            <a:chExt cx="2743199" cy="2225712"/>
          </a:xfrm>
        </p:grpSpPr>
        <p:sp>
          <p:nvSpPr>
            <p:cNvPr id="4" name="Rectangle 3"/>
            <p:cNvSpPr/>
            <p:nvPr/>
          </p:nvSpPr>
          <p:spPr bwMode="auto">
            <a:xfrm>
              <a:off x="1217612" y="3581400"/>
              <a:ext cx="2057400" cy="1524000"/>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r>
                <a:rPr lang="en-US" sz="3600" b="1" dirty="0">
                  <a:solidFill>
                    <a:schemeClr val="accent2">
                      <a:alpha val="98824"/>
                    </a:schemeClr>
                  </a:solidFill>
                  <a:latin typeface="Segoe UI Semibold" pitchFamily="34" charset="0"/>
                  <a:ea typeface="Segoe UI" pitchFamily="34" charset="0"/>
                  <a:cs typeface="Segoe UI Semibold" pitchFamily="34" charset="0"/>
                </a:rPr>
                <a:t>APP</a:t>
              </a:r>
            </a:p>
          </p:txBody>
        </p:sp>
        <p:sp>
          <p:nvSpPr>
            <p:cNvPr id="5" name="Parallelogram 4"/>
            <p:cNvSpPr/>
            <p:nvPr/>
          </p:nvSpPr>
          <p:spPr bwMode="auto">
            <a:xfrm>
              <a:off x="1217611" y="2895600"/>
              <a:ext cx="1661241" cy="609600"/>
            </a:xfrm>
            <a:prstGeom prst="parallelogram">
              <a:avLst>
                <a:gd name="adj" fmla="val 115625"/>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14" name="Parallelogram 13"/>
            <p:cNvSpPr/>
            <p:nvPr/>
          </p:nvSpPr>
          <p:spPr bwMode="auto">
            <a:xfrm rot="5400000" flipH="1">
              <a:off x="2603497" y="3748087"/>
              <a:ext cx="2105025" cy="609600"/>
            </a:xfrm>
            <a:prstGeom prst="parallelogram">
              <a:avLst>
                <a:gd name="adj" fmla="val 87654"/>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15" name="Parallelogram 14"/>
            <p:cNvSpPr/>
            <p:nvPr/>
          </p:nvSpPr>
          <p:spPr bwMode="auto">
            <a:xfrm>
              <a:off x="2284412" y="2901365"/>
              <a:ext cx="1674810" cy="609600"/>
            </a:xfrm>
            <a:prstGeom prst="parallelogram">
              <a:avLst>
                <a:gd name="adj" fmla="val 115625"/>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6" name="Teardrop 5"/>
            <p:cNvSpPr/>
            <p:nvPr/>
          </p:nvSpPr>
          <p:spPr bwMode="auto">
            <a:xfrm rot="2351555">
              <a:off x="2217503" y="3028590"/>
              <a:ext cx="291704" cy="291704"/>
            </a:xfrm>
            <a:prstGeom prst="teardrop">
              <a:avLst/>
            </a:prstGeom>
            <a:noFill/>
            <a:ln w="76200">
              <a:solidFill>
                <a:schemeClr val="accent2"/>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19" name="Teardrop 18"/>
            <p:cNvSpPr/>
            <p:nvPr/>
          </p:nvSpPr>
          <p:spPr bwMode="auto">
            <a:xfrm rot="10800000">
              <a:off x="2562116" y="2879688"/>
              <a:ext cx="291704" cy="291704"/>
            </a:xfrm>
            <a:prstGeom prst="teardrop">
              <a:avLst/>
            </a:prstGeom>
            <a:noFill/>
            <a:ln w="76200">
              <a:solidFill>
                <a:schemeClr val="accent2"/>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cxnSp>
          <p:nvCxnSpPr>
            <p:cNvPr id="8" name="Straight Connector 7"/>
            <p:cNvCxnSpPr>
              <a:stCxn id="19" idx="7"/>
            </p:cNvCxnSpPr>
            <p:nvPr/>
          </p:nvCxnSpPr>
          <p:spPr>
            <a:xfrm>
              <a:off x="2562116" y="3171392"/>
              <a:ext cx="28574" cy="208258"/>
            </a:xfrm>
            <a:prstGeom prst="line">
              <a:avLst/>
            </a:prstGeom>
            <a:ln w="762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a:stCxn id="19" idx="7"/>
            </p:cNvCxnSpPr>
            <p:nvPr/>
          </p:nvCxnSpPr>
          <p:spPr>
            <a:xfrm>
              <a:off x="2562116" y="3171392"/>
              <a:ext cx="180974" cy="133351"/>
            </a:xfrm>
            <a:prstGeom prst="line">
              <a:avLst/>
            </a:prstGeom>
            <a:ln w="76200" cap="rnd">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7" name="Group 26"/>
          <p:cNvGrpSpPr/>
          <p:nvPr/>
        </p:nvGrpSpPr>
        <p:grpSpPr>
          <a:xfrm>
            <a:off x="5772462" y="1581150"/>
            <a:ext cx="1543452" cy="1314450"/>
            <a:chOff x="6704012" y="2057400"/>
            <a:chExt cx="2057400" cy="1752600"/>
          </a:xfrm>
        </p:grpSpPr>
        <p:sp>
          <p:nvSpPr>
            <p:cNvPr id="23" name="Rectangle 22"/>
            <p:cNvSpPr/>
            <p:nvPr/>
          </p:nvSpPr>
          <p:spPr bwMode="auto">
            <a:xfrm>
              <a:off x="6704012" y="2057400"/>
              <a:ext cx="2057400" cy="1140434"/>
            </a:xfrm>
            <a:prstGeom prst="rect">
              <a:avLst/>
            </a:prstGeom>
            <a:noFill/>
            <a:ln w="190500">
              <a:solidFill>
                <a:schemeClr val="tx1"/>
              </a:solidFill>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r>
                <a:rPr lang="en-US" sz="3600" b="1" dirty="0">
                  <a:solidFill>
                    <a:srgbClr val="FFFFFF">
                      <a:alpha val="98824"/>
                    </a:srgbClr>
                  </a:solidFill>
                  <a:latin typeface="Segoe UI Semibold" pitchFamily="34" charset="0"/>
                  <a:ea typeface="Segoe UI" pitchFamily="34" charset="0"/>
                  <a:cs typeface="Segoe UI Semibold" pitchFamily="34" charset="0"/>
                </a:rPr>
                <a:t>APP</a:t>
              </a:r>
            </a:p>
          </p:txBody>
        </p:sp>
        <p:sp>
          <p:nvSpPr>
            <p:cNvPr id="26" name="Rectangle 25"/>
            <p:cNvSpPr/>
            <p:nvPr/>
          </p:nvSpPr>
          <p:spPr bwMode="auto">
            <a:xfrm>
              <a:off x="7046912" y="3533343"/>
              <a:ext cx="1371600" cy="276657"/>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28" name="Rectangle 27"/>
            <p:cNvSpPr/>
            <p:nvPr/>
          </p:nvSpPr>
          <p:spPr bwMode="auto">
            <a:xfrm>
              <a:off x="7466012" y="3367226"/>
              <a:ext cx="533400" cy="99441"/>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grpSp>
      <p:grpSp>
        <p:nvGrpSpPr>
          <p:cNvPr id="30" name="Group 29"/>
          <p:cNvGrpSpPr/>
          <p:nvPr/>
        </p:nvGrpSpPr>
        <p:grpSpPr>
          <a:xfrm>
            <a:off x="6401277" y="3657601"/>
            <a:ext cx="985759" cy="983031"/>
            <a:chOff x="8285609" y="4882032"/>
            <a:chExt cx="1367416" cy="1363987"/>
          </a:xfrm>
          <a:solidFill>
            <a:schemeClr val="tx1"/>
          </a:solidFill>
        </p:grpSpPr>
        <p:sp>
          <p:nvSpPr>
            <p:cNvPr id="29" name="Freeform 28"/>
            <p:cNvSpPr/>
            <p:nvPr/>
          </p:nvSpPr>
          <p:spPr bwMode="auto">
            <a:xfrm>
              <a:off x="8285610" y="4995117"/>
              <a:ext cx="566681" cy="535314"/>
            </a:xfrm>
            <a:custGeom>
              <a:avLst/>
              <a:gdLst>
                <a:gd name="connsiteX0" fmla="*/ 0 w 577811"/>
                <a:gd name="connsiteY0" fmla="*/ 96243 h 595516"/>
                <a:gd name="connsiteX1" fmla="*/ 0 w 577811"/>
                <a:gd name="connsiteY1" fmla="*/ 96243 h 595516"/>
                <a:gd name="connsiteX2" fmla="*/ 56098 w 577811"/>
                <a:gd name="connsiteY2" fmla="*/ 90633 h 595516"/>
                <a:gd name="connsiteX3" fmla="*/ 151465 w 577811"/>
                <a:gd name="connsiteY3" fmla="*/ 85023 h 595516"/>
                <a:gd name="connsiteX4" fmla="*/ 190734 w 577811"/>
                <a:gd name="connsiteY4" fmla="*/ 79413 h 595516"/>
                <a:gd name="connsiteX5" fmla="*/ 286101 w 577811"/>
                <a:gd name="connsiteY5" fmla="*/ 73803 h 595516"/>
                <a:gd name="connsiteX6" fmla="*/ 370248 w 577811"/>
                <a:gd name="connsiteY6" fmla="*/ 62584 h 595516"/>
                <a:gd name="connsiteX7" fmla="*/ 387077 w 577811"/>
                <a:gd name="connsiteY7" fmla="*/ 56974 h 595516"/>
                <a:gd name="connsiteX8" fmla="*/ 431956 w 577811"/>
                <a:gd name="connsiteY8" fmla="*/ 51364 h 595516"/>
                <a:gd name="connsiteX9" fmla="*/ 460005 w 577811"/>
                <a:gd name="connsiteY9" fmla="*/ 45754 h 595516"/>
                <a:gd name="connsiteX10" fmla="*/ 510493 w 577811"/>
                <a:gd name="connsiteY10" fmla="*/ 40144 h 595516"/>
                <a:gd name="connsiteX11" fmla="*/ 527323 w 577811"/>
                <a:gd name="connsiteY11" fmla="*/ 34535 h 595516"/>
                <a:gd name="connsiteX12" fmla="*/ 560982 w 577811"/>
                <a:gd name="connsiteY12" fmla="*/ 28925 h 595516"/>
                <a:gd name="connsiteX13" fmla="*/ 577811 w 577811"/>
                <a:gd name="connsiteY13" fmla="*/ 17705 h 595516"/>
                <a:gd name="connsiteX14" fmla="*/ 566592 w 577811"/>
                <a:gd name="connsiteY14" fmla="*/ 876 h 595516"/>
                <a:gd name="connsiteX15" fmla="*/ 549762 w 577811"/>
                <a:gd name="connsiteY15" fmla="*/ 6486 h 595516"/>
                <a:gd name="connsiteX16" fmla="*/ 560982 w 577811"/>
                <a:gd name="connsiteY16" fmla="*/ 40144 h 595516"/>
                <a:gd name="connsiteX17" fmla="*/ 566592 w 577811"/>
                <a:gd name="connsiteY17" fmla="*/ 208439 h 595516"/>
                <a:gd name="connsiteX18" fmla="*/ 572201 w 577811"/>
                <a:gd name="connsiteY18" fmla="*/ 225268 h 595516"/>
                <a:gd name="connsiteX19" fmla="*/ 566592 w 577811"/>
                <a:gd name="connsiteY19" fmla="*/ 286976 h 595516"/>
                <a:gd name="connsiteX20" fmla="*/ 555372 w 577811"/>
                <a:gd name="connsiteY20" fmla="*/ 359904 h 595516"/>
                <a:gd name="connsiteX21" fmla="*/ 544152 w 577811"/>
                <a:gd name="connsiteY21" fmla="*/ 477710 h 595516"/>
                <a:gd name="connsiteX22" fmla="*/ 549762 w 577811"/>
                <a:gd name="connsiteY22" fmla="*/ 528198 h 595516"/>
                <a:gd name="connsiteX23" fmla="*/ 566592 w 577811"/>
                <a:gd name="connsiteY23" fmla="*/ 539418 h 595516"/>
                <a:gd name="connsiteX24" fmla="*/ 549762 w 577811"/>
                <a:gd name="connsiteY24" fmla="*/ 550638 h 595516"/>
                <a:gd name="connsiteX25" fmla="*/ 359028 w 577811"/>
                <a:gd name="connsiteY25" fmla="*/ 550638 h 595516"/>
                <a:gd name="connsiteX26" fmla="*/ 319760 w 577811"/>
                <a:gd name="connsiteY26" fmla="*/ 556248 h 595516"/>
                <a:gd name="connsiteX27" fmla="*/ 241222 w 577811"/>
                <a:gd name="connsiteY27" fmla="*/ 561857 h 595516"/>
                <a:gd name="connsiteX28" fmla="*/ 190734 w 577811"/>
                <a:gd name="connsiteY28" fmla="*/ 578687 h 595516"/>
                <a:gd name="connsiteX29" fmla="*/ 157075 w 577811"/>
                <a:gd name="connsiteY29" fmla="*/ 589906 h 595516"/>
                <a:gd name="connsiteX30" fmla="*/ 134636 w 577811"/>
                <a:gd name="connsiteY30" fmla="*/ 595516 h 595516"/>
                <a:gd name="connsiteX31" fmla="*/ 117806 w 577811"/>
                <a:gd name="connsiteY31" fmla="*/ 589906 h 595516"/>
                <a:gd name="connsiteX32" fmla="*/ 95367 w 577811"/>
                <a:gd name="connsiteY32" fmla="*/ 584297 h 595516"/>
                <a:gd name="connsiteX33" fmla="*/ 44879 w 577811"/>
                <a:gd name="connsiteY33" fmla="*/ 567467 h 595516"/>
                <a:gd name="connsiteX34" fmla="*/ 11220 w 577811"/>
                <a:gd name="connsiteY34" fmla="*/ 550638 h 595516"/>
                <a:gd name="connsiteX35" fmla="*/ 5610 w 577811"/>
                <a:gd name="connsiteY35" fmla="*/ 550638 h 595516"/>
                <a:gd name="connsiteX36" fmla="*/ 0 w 577811"/>
                <a:gd name="connsiteY36" fmla="*/ 96243 h 595516"/>
                <a:gd name="connsiteX0" fmla="*/ 0 w 577811"/>
                <a:gd name="connsiteY0" fmla="*/ 96243 h 595516"/>
                <a:gd name="connsiteX1" fmla="*/ 0 w 577811"/>
                <a:gd name="connsiteY1" fmla="*/ 96243 h 595516"/>
                <a:gd name="connsiteX2" fmla="*/ 151465 w 577811"/>
                <a:gd name="connsiteY2" fmla="*/ 85023 h 595516"/>
                <a:gd name="connsiteX3" fmla="*/ 190734 w 577811"/>
                <a:gd name="connsiteY3" fmla="*/ 79413 h 595516"/>
                <a:gd name="connsiteX4" fmla="*/ 286101 w 577811"/>
                <a:gd name="connsiteY4" fmla="*/ 73803 h 595516"/>
                <a:gd name="connsiteX5" fmla="*/ 370248 w 577811"/>
                <a:gd name="connsiteY5" fmla="*/ 62584 h 595516"/>
                <a:gd name="connsiteX6" fmla="*/ 387077 w 577811"/>
                <a:gd name="connsiteY6" fmla="*/ 56974 h 595516"/>
                <a:gd name="connsiteX7" fmla="*/ 431956 w 577811"/>
                <a:gd name="connsiteY7" fmla="*/ 51364 h 595516"/>
                <a:gd name="connsiteX8" fmla="*/ 460005 w 577811"/>
                <a:gd name="connsiteY8" fmla="*/ 45754 h 595516"/>
                <a:gd name="connsiteX9" fmla="*/ 510493 w 577811"/>
                <a:gd name="connsiteY9" fmla="*/ 40144 h 595516"/>
                <a:gd name="connsiteX10" fmla="*/ 527323 w 577811"/>
                <a:gd name="connsiteY10" fmla="*/ 34535 h 595516"/>
                <a:gd name="connsiteX11" fmla="*/ 560982 w 577811"/>
                <a:gd name="connsiteY11" fmla="*/ 28925 h 595516"/>
                <a:gd name="connsiteX12" fmla="*/ 577811 w 577811"/>
                <a:gd name="connsiteY12" fmla="*/ 17705 h 595516"/>
                <a:gd name="connsiteX13" fmla="*/ 566592 w 577811"/>
                <a:gd name="connsiteY13" fmla="*/ 876 h 595516"/>
                <a:gd name="connsiteX14" fmla="*/ 549762 w 577811"/>
                <a:gd name="connsiteY14" fmla="*/ 6486 h 595516"/>
                <a:gd name="connsiteX15" fmla="*/ 560982 w 577811"/>
                <a:gd name="connsiteY15" fmla="*/ 40144 h 595516"/>
                <a:gd name="connsiteX16" fmla="*/ 566592 w 577811"/>
                <a:gd name="connsiteY16" fmla="*/ 208439 h 595516"/>
                <a:gd name="connsiteX17" fmla="*/ 572201 w 577811"/>
                <a:gd name="connsiteY17" fmla="*/ 225268 h 595516"/>
                <a:gd name="connsiteX18" fmla="*/ 566592 w 577811"/>
                <a:gd name="connsiteY18" fmla="*/ 286976 h 595516"/>
                <a:gd name="connsiteX19" fmla="*/ 555372 w 577811"/>
                <a:gd name="connsiteY19" fmla="*/ 359904 h 595516"/>
                <a:gd name="connsiteX20" fmla="*/ 544152 w 577811"/>
                <a:gd name="connsiteY20" fmla="*/ 477710 h 595516"/>
                <a:gd name="connsiteX21" fmla="*/ 549762 w 577811"/>
                <a:gd name="connsiteY21" fmla="*/ 528198 h 595516"/>
                <a:gd name="connsiteX22" fmla="*/ 566592 w 577811"/>
                <a:gd name="connsiteY22" fmla="*/ 539418 h 595516"/>
                <a:gd name="connsiteX23" fmla="*/ 549762 w 577811"/>
                <a:gd name="connsiteY23" fmla="*/ 550638 h 595516"/>
                <a:gd name="connsiteX24" fmla="*/ 359028 w 577811"/>
                <a:gd name="connsiteY24" fmla="*/ 550638 h 595516"/>
                <a:gd name="connsiteX25" fmla="*/ 319760 w 577811"/>
                <a:gd name="connsiteY25" fmla="*/ 556248 h 595516"/>
                <a:gd name="connsiteX26" fmla="*/ 241222 w 577811"/>
                <a:gd name="connsiteY26" fmla="*/ 561857 h 595516"/>
                <a:gd name="connsiteX27" fmla="*/ 190734 w 577811"/>
                <a:gd name="connsiteY27" fmla="*/ 578687 h 595516"/>
                <a:gd name="connsiteX28" fmla="*/ 157075 w 577811"/>
                <a:gd name="connsiteY28" fmla="*/ 589906 h 595516"/>
                <a:gd name="connsiteX29" fmla="*/ 134636 w 577811"/>
                <a:gd name="connsiteY29" fmla="*/ 595516 h 595516"/>
                <a:gd name="connsiteX30" fmla="*/ 117806 w 577811"/>
                <a:gd name="connsiteY30" fmla="*/ 589906 h 595516"/>
                <a:gd name="connsiteX31" fmla="*/ 95367 w 577811"/>
                <a:gd name="connsiteY31" fmla="*/ 584297 h 595516"/>
                <a:gd name="connsiteX32" fmla="*/ 44879 w 577811"/>
                <a:gd name="connsiteY32" fmla="*/ 567467 h 595516"/>
                <a:gd name="connsiteX33" fmla="*/ 11220 w 577811"/>
                <a:gd name="connsiteY33" fmla="*/ 550638 h 595516"/>
                <a:gd name="connsiteX34" fmla="*/ 5610 w 577811"/>
                <a:gd name="connsiteY34" fmla="*/ 550638 h 595516"/>
                <a:gd name="connsiteX35" fmla="*/ 0 w 577811"/>
                <a:gd name="connsiteY35" fmla="*/ 96243 h 595516"/>
                <a:gd name="connsiteX0" fmla="*/ 0 w 577811"/>
                <a:gd name="connsiteY0" fmla="*/ 96243 h 595516"/>
                <a:gd name="connsiteX1" fmla="*/ 0 w 577811"/>
                <a:gd name="connsiteY1" fmla="*/ 96243 h 595516"/>
                <a:gd name="connsiteX2" fmla="*/ 190734 w 577811"/>
                <a:gd name="connsiteY2" fmla="*/ 79413 h 595516"/>
                <a:gd name="connsiteX3" fmla="*/ 286101 w 577811"/>
                <a:gd name="connsiteY3" fmla="*/ 73803 h 595516"/>
                <a:gd name="connsiteX4" fmla="*/ 370248 w 577811"/>
                <a:gd name="connsiteY4" fmla="*/ 62584 h 595516"/>
                <a:gd name="connsiteX5" fmla="*/ 387077 w 577811"/>
                <a:gd name="connsiteY5" fmla="*/ 56974 h 595516"/>
                <a:gd name="connsiteX6" fmla="*/ 431956 w 577811"/>
                <a:gd name="connsiteY6" fmla="*/ 51364 h 595516"/>
                <a:gd name="connsiteX7" fmla="*/ 460005 w 577811"/>
                <a:gd name="connsiteY7" fmla="*/ 45754 h 595516"/>
                <a:gd name="connsiteX8" fmla="*/ 510493 w 577811"/>
                <a:gd name="connsiteY8" fmla="*/ 40144 h 595516"/>
                <a:gd name="connsiteX9" fmla="*/ 527323 w 577811"/>
                <a:gd name="connsiteY9" fmla="*/ 34535 h 595516"/>
                <a:gd name="connsiteX10" fmla="*/ 560982 w 577811"/>
                <a:gd name="connsiteY10" fmla="*/ 28925 h 595516"/>
                <a:gd name="connsiteX11" fmla="*/ 577811 w 577811"/>
                <a:gd name="connsiteY11" fmla="*/ 17705 h 595516"/>
                <a:gd name="connsiteX12" fmla="*/ 566592 w 577811"/>
                <a:gd name="connsiteY12" fmla="*/ 876 h 595516"/>
                <a:gd name="connsiteX13" fmla="*/ 549762 w 577811"/>
                <a:gd name="connsiteY13" fmla="*/ 6486 h 595516"/>
                <a:gd name="connsiteX14" fmla="*/ 560982 w 577811"/>
                <a:gd name="connsiteY14" fmla="*/ 40144 h 595516"/>
                <a:gd name="connsiteX15" fmla="*/ 566592 w 577811"/>
                <a:gd name="connsiteY15" fmla="*/ 208439 h 595516"/>
                <a:gd name="connsiteX16" fmla="*/ 572201 w 577811"/>
                <a:gd name="connsiteY16" fmla="*/ 225268 h 595516"/>
                <a:gd name="connsiteX17" fmla="*/ 566592 w 577811"/>
                <a:gd name="connsiteY17" fmla="*/ 286976 h 595516"/>
                <a:gd name="connsiteX18" fmla="*/ 555372 w 577811"/>
                <a:gd name="connsiteY18" fmla="*/ 359904 h 595516"/>
                <a:gd name="connsiteX19" fmla="*/ 544152 w 577811"/>
                <a:gd name="connsiteY19" fmla="*/ 477710 h 595516"/>
                <a:gd name="connsiteX20" fmla="*/ 549762 w 577811"/>
                <a:gd name="connsiteY20" fmla="*/ 528198 h 595516"/>
                <a:gd name="connsiteX21" fmla="*/ 566592 w 577811"/>
                <a:gd name="connsiteY21" fmla="*/ 539418 h 595516"/>
                <a:gd name="connsiteX22" fmla="*/ 549762 w 577811"/>
                <a:gd name="connsiteY22" fmla="*/ 550638 h 595516"/>
                <a:gd name="connsiteX23" fmla="*/ 359028 w 577811"/>
                <a:gd name="connsiteY23" fmla="*/ 550638 h 595516"/>
                <a:gd name="connsiteX24" fmla="*/ 319760 w 577811"/>
                <a:gd name="connsiteY24" fmla="*/ 556248 h 595516"/>
                <a:gd name="connsiteX25" fmla="*/ 241222 w 577811"/>
                <a:gd name="connsiteY25" fmla="*/ 561857 h 595516"/>
                <a:gd name="connsiteX26" fmla="*/ 190734 w 577811"/>
                <a:gd name="connsiteY26" fmla="*/ 578687 h 595516"/>
                <a:gd name="connsiteX27" fmla="*/ 157075 w 577811"/>
                <a:gd name="connsiteY27" fmla="*/ 589906 h 595516"/>
                <a:gd name="connsiteX28" fmla="*/ 134636 w 577811"/>
                <a:gd name="connsiteY28" fmla="*/ 595516 h 595516"/>
                <a:gd name="connsiteX29" fmla="*/ 117806 w 577811"/>
                <a:gd name="connsiteY29" fmla="*/ 589906 h 595516"/>
                <a:gd name="connsiteX30" fmla="*/ 95367 w 577811"/>
                <a:gd name="connsiteY30" fmla="*/ 584297 h 595516"/>
                <a:gd name="connsiteX31" fmla="*/ 44879 w 577811"/>
                <a:gd name="connsiteY31" fmla="*/ 567467 h 595516"/>
                <a:gd name="connsiteX32" fmla="*/ 11220 w 577811"/>
                <a:gd name="connsiteY32" fmla="*/ 550638 h 595516"/>
                <a:gd name="connsiteX33" fmla="*/ 5610 w 577811"/>
                <a:gd name="connsiteY33" fmla="*/ 550638 h 595516"/>
                <a:gd name="connsiteX34" fmla="*/ 0 w 577811"/>
                <a:gd name="connsiteY34" fmla="*/ 96243 h 595516"/>
                <a:gd name="connsiteX0" fmla="*/ 0 w 577811"/>
                <a:gd name="connsiteY0" fmla="*/ 96243 h 595516"/>
                <a:gd name="connsiteX1" fmla="*/ 0 w 577811"/>
                <a:gd name="connsiteY1" fmla="*/ 96243 h 595516"/>
                <a:gd name="connsiteX2" fmla="*/ 286101 w 577811"/>
                <a:gd name="connsiteY2" fmla="*/ 73803 h 595516"/>
                <a:gd name="connsiteX3" fmla="*/ 370248 w 577811"/>
                <a:gd name="connsiteY3" fmla="*/ 62584 h 595516"/>
                <a:gd name="connsiteX4" fmla="*/ 387077 w 577811"/>
                <a:gd name="connsiteY4" fmla="*/ 56974 h 595516"/>
                <a:gd name="connsiteX5" fmla="*/ 431956 w 577811"/>
                <a:gd name="connsiteY5" fmla="*/ 51364 h 595516"/>
                <a:gd name="connsiteX6" fmla="*/ 460005 w 577811"/>
                <a:gd name="connsiteY6" fmla="*/ 45754 h 595516"/>
                <a:gd name="connsiteX7" fmla="*/ 510493 w 577811"/>
                <a:gd name="connsiteY7" fmla="*/ 40144 h 595516"/>
                <a:gd name="connsiteX8" fmla="*/ 527323 w 577811"/>
                <a:gd name="connsiteY8" fmla="*/ 34535 h 595516"/>
                <a:gd name="connsiteX9" fmla="*/ 560982 w 577811"/>
                <a:gd name="connsiteY9" fmla="*/ 28925 h 595516"/>
                <a:gd name="connsiteX10" fmla="*/ 577811 w 577811"/>
                <a:gd name="connsiteY10" fmla="*/ 17705 h 595516"/>
                <a:gd name="connsiteX11" fmla="*/ 566592 w 577811"/>
                <a:gd name="connsiteY11" fmla="*/ 876 h 595516"/>
                <a:gd name="connsiteX12" fmla="*/ 549762 w 577811"/>
                <a:gd name="connsiteY12" fmla="*/ 6486 h 595516"/>
                <a:gd name="connsiteX13" fmla="*/ 560982 w 577811"/>
                <a:gd name="connsiteY13" fmla="*/ 40144 h 595516"/>
                <a:gd name="connsiteX14" fmla="*/ 566592 w 577811"/>
                <a:gd name="connsiteY14" fmla="*/ 208439 h 595516"/>
                <a:gd name="connsiteX15" fmla="*/ 572201 w 577811"/>
                <a:gd name="connsiteY15" fmla="*/ 225268 h 595516"/>
                <a:gd name="connsiteX16" fmla="*/ 566592 w 577811"/>
                <a:gd name="connsiteY16" fmla="*/ 286976 h 595516"/>
                <a:gd name="connsiteX17" fmla="*/ 555372 w 577811"/>
                <a:gd name="connsiteY17" fmla="*/ 359904 h 595516"/>
                <a:gd name="connsiteX18" fmla="*/ 544152 w 577811"/>
                <a:gd name="connsiteY18" fmla="*/ 477710 h 595516"/>
                <a:gd name="connsiteX19" fmla="*/ 549762 w 577811"/>
                <a:gd name="connsiteY19" fmla="*/ 528198 h 595516"/>
                <a:gd name="connsiteX20" fmla="*/ 566592 w 577811"/>
                <a:gd name="connsiteY20" fmla="*/ 539418 h 595516"/>
                <a:gd name="connsiteX21" fmla="*/ 549762 w 577811"/>
                <a:gd name="connsiteY21" fmla="*/ 550638 h 595516"/>
                <a:gd name="connsiteX22" fmla="*/ 359028 w 577811"/>
                <a:gd name="connsiteY22" fmla="*/ 550638 h 595516"/>
                <a:gd name="connsiteX23" fmla="*/ 319760 w 577811"/>
                <a:gd name="connsiteY23" fmla="*/ 556248 h 595516"/>
                <a:gd name="connsiteX24" fmla="*/ 241222 w 577811"/>
                <a:gd name="connsiteY24" fmla="*/ 561857 h 595516"/>
                <a:gd name="connsiteX25" fmla="*/ 190734 w 577811"/>
                <a:gd name="connsiteY25" fmla="*/ 578687 h 595516"/>
                <a:gd name="connsiteX26" fmla="*/ 157075 w 577811"/>
                <a:gd name="connsiteY26" fmla="*/ 589906 h 595516"/>
                <a:gd name="connsiteX27" fmla="*/ 134636 w 577811"/>
                <a:gd name="connsiteY27" fmla="*/ 595516 h 595516"/>
                <a:gd name="connsiteX28" fmla="*/ 117806 w 577811"/>
                <a:gd name="connsiteY28" fmla="*/ 589906 h 595516"/>
                <a:gd name="connsiteX29" fmla="*/ 95367 w 577811"/>
                <a:gd name="connsiteY29" fmla="*/ 584297 h 595516"/>
                <a:gd name="connsiteX30" fmla="*/ 44879 w 577811"/>
                <a:gd name="connsiteY30" fmla="*/ 567467 h 595516"/>
                <a:gd name="connsiteX31" fmla="*/ 11220 w 577811"/>
                <a:gd name="connsiteY31" fmla="*/ 550638 h 595516"/>
                <a:gd name="connsiteX32" fmla="*/ 5610 w 577811"/>
                <a:gd name="connsiteY32" fmla="*/ 550638 h 595516"/>
                <a:gd name="connsiteX33" fmla="*/ 0 w 577811"/>
                <a:gd name="connsiteY33" fmla="*/ 96243 h 595516"/>
                <a:gd name="connsiteX0" fmla="*/ 0 w 577811"/>
                <a:gd name="connsiteY0" fmla="*/ 96243 h 595516"/>
                <a:gd name="connsiteX1" fmla="*/ 0 w 577811"/>
                <a:gd name="connsiteY1" fmla="*/ 96243 h 595516"/>
                <a:gd name="connsiteX2" fmla="*/ 370248 w 577811"/>
                <a:gd name="connsiteY2" fmla="*/ 62584 h 595516"/>
                <a:gd name="connsiteX3" fmla="*/ 387077 w 577811"/>
                <a:gd name="connsiteY3" fmla="*/ 56974 h 595516"/>
                <a:gd name="connsiteX4" fmla="*/ 431956 w 577811"/>
                <a:gd name="connsiteY4" fmla="*/ 51364 h 595516"/>
                <a:gd name="connsiteX5" fmla="*/ 460005 w 577811"/>
                <a:gd name="connsiteY5" fmla="*/ 45754 h 595516"/>
                <a:gd name="connsiteX6" fmla="*/ 510493 w 577811"/>
                <a:gd name="connsiteY6" fmla="*/ 40144 h 595516"/>
                <a:gd name="connsiteX7" fmla="*/ 527323 w 577811"/>
                <a:gd name="connsiteY7" fmla="*/ 34535 h 595516"/>
                <a:gd name="connsiteX8" fmla="*/ 560982 w 577811"/>
                <a:gd name="connsiteY8" fmla="*/ 28925 h 595516"/>
                <a:gd name="connsiteX9" fmla="*/ 577811 w 577811"/>
                <a:gd name="connsiteY9" fmla="*/ 17705 h 595516"/>
                <a:gd name="connsiteX10" fmla="*/ 566592 w 577811"/>
                <a:gd name="connsiteY10" fmla="*/ 876 h 595516"/>
                <a:gd name="connsiteX11" fmla="*/ 549762 w 577811"/>
                <a:gd name="connsiteY11" fmla="*/ 6486 h 595516"/>
                <a:gd name="connsiteX12" fmla="*/ 560982 w 577811"/>
                <a:gd name="connsiteY12" fmla="*/ 40144 h 595516"/>
                <a:gd name="connsiteX13" fmla="*/ 566592 w 577811"/>
                <a:gd name="connsiteY13" fmla="*/ 208439 h 595516"/>
                <a:gd name="connsiteX14" fmla="*/ 572201 w 577811"/>
                <a:gd name="connsiteY14" fmla="*/ 225268 h 595516"/>
                <a:gd name="connsiteX15" fmla="*/ 566592 w 577811"/>
                <a:gd name="connsiteY15" fmla="*/ 286976 h 595516"/>
                <a:gd name="connsiteX16" fmla="*/ 555372 w 577811"/>
                <a:gd name="connsiteY16" fmla="*/ 359904 h 595516"/>
                <a:gd name="connsiteX17" fmla="*/ 544152 w 577811"/>
                <a:gd name="connsiteY17" fmla="*/ 477710 h 595516"/>
                <a:gd name="connsiteX18" fmla="*/ 549762 w 577811"/>
                <a:gd name="connsiteY18" fmla="*/ 528198 h 595516"/>
                <a:gd name="connsiteX19" fmla="*/ 566592 w 577811"/>
                <a:gd name="connsiteY19" fmla="*/ 539418 h 595516"/>
                <a:gd name="connsiteX20" fmla="*/ 549762 w 577811"/>
                <a:gd name="connsiteY20" fmla="*/ 550638 h 595516"/>
                <a:gd name="connsiteX21" fmla="*/ 359028 w 577811"/>
                <a:gd name="connsiteY21" fmla="*/ 550638 h 595516"/>
                <a:gd name="connsiteX22" fmla="*/ 319760 w 577811"/>
                <a:gd name="connsiteY22" fmla="*/ 556248 h 595516"/>
                <a:gd name="connsiteX23" fmla="*/ 241222 w 577811"/>
                <a:gd name="connsiteY23" fmla="*/ 561857 h 595516"/>
                <a:gd name="connsiteX24" fmla="*/ 190734 w 577811"/>
                <a:gd name="connsiteY24" fmla="*/ 578687 h 595516"/>
                <a:gd name="connsiteX25" fmla="*/ 157075 w 577811"/>
                <a:gd name="connsiteY25" fmla="*/ 589906 h 595516"/>
                <a:gd name="connsiteX26" fmla="*/ 134636 w 577811"/>
                <a:gd name="connsiteY26" fmla="*/ 595516 h 595516"/>
                <a:gd name="connsiteX27" fmla="*/ 117806 w 577811"/>
                <a:gd name="connsiteY27" fmla="*/ 589906 h 595516"/>
                <a:gd name="connsiteX28" fmla="*/ 95367 w 577811"/>
                <a:gd name="connsiteY28" fmla="*/ 584297 h 595516"/>
                <a:gd name="connsiteX29" fmla="*/ 44879 w 577811"/>
                <a:gd name="connsiteY29" fmla="*/ 567467 h 595516"/>
                <a:gd name="connsiteX30" fmla="*/ 11220 w 577811"/>
                <a:gd name="connsiteY30" fmla="*/ 550638 h 595516"/>
                <a:gd name="connsiteX31" fmla="*/ 5610 w 577811"/>
                <a:gd name="connsiteY31" fmla="*/ 550638 h 595516"/>
                <a:gd name="connsiteX32" fmla="*/ 0 w 577811"/>
                <a:gd name="connsiteY32" fmla="*/ 96243 h 595516"/>
                <a:gd name="connsiteX0" fmla="*/ 0 w 577811"/>
                <a:gd name="connsiteY0" fmla="*/ 96243 h 595516"/>
                <a:gd name="connsiteX1" fmla="*/ 0 w 577811"/>
                <a:gd name="connsiteY1" fmla="*/ 96243 h 595516"/>
                <a:gd name="connsiteX2" fmla="*/ 387077 w 577811"/>
                <a:gd name="connsiteY2" fmla="*/ 56974 h 595516"/>
                <a:gd name="connsiteX3" fmla="*/ 431956 w 577811"/>
                <a:gd name="connsiteY3" fmla="*/ 51364 h 595516"/>
                <a:gd name="connsiteX4" fmla="*/ 460005 w 577811"/>
                <a:gd name="connsiteY4" fmla="*/ 45754 h 595516"/>
                <a:gd name="connsiteX5" fmla="*/ 510493 w 577811"/>
                <a:gd name="connsiteY5" fmla="*/ 40144 h 595516"/>
                <a:gd name="connsiteX6" fmla="*/ 527323 w 577811"/>
                <a:gd name="connsiteY6" fmla="*/ 34535 h 595516"/>
                <a:gd name="connsiteX7" fmla="*/ 560982 w 577811"/>
                <a:gd name="connsiteY7" fmla="*/ 28925 h 595516"/>
                <a:gd name="connsiteX8" fmla="*/ 577811 w 577811"/>
                <a:gd name="connsiteY8" fmla="*/ 17705 h 595516"/>
                <a:gd name="connsiteX9" fmla="*/ 566592 w 577811"/>
                <a:gd name="connsiteY9" fmla="*/ 876 h 595516"/>
                <a:gd name="connsiteX10" fmla="*/ 549762 w 577811"/>
                <a:gd name="connsiteY10" fmla="*/ 6486 h 595516"/>
                <a:gd name="connsiteX11" fmla="*/ 560982 w 577811"/>
                <a:gd name="connsiteY11" fmla="*/ 40144 h 595516"/>
                <a:gd name="connsiteX12" fmla="*/ 566592 w 577811"/>
                <a:gd name="connsiteY12" fmla="*/ 208439 h 595516"/>
                <a:gd name="connsiteX13" fmla="*/ 572201 w 577811"/>
                <a:gd name="connsiteY13" fmla="*/ 225268 h 595516"/>
                <a:gd name="connsiteX14" fmla="*/ 566592 w 577811"/>
                <a:gd name="connsiteY14" fmla="*/ 286976 h 595516"/>
                <a:gd name="connsiteX15" fmla="*/ 555372 w 577811"/>
                <a:gd name="connsiteY15" fmla="*/ 359904 h 595516"/>
                <a:gd name="connsiteX16" fmla="*/ 544152 w 577811"/>
                <a:gd name="connsiteY16" fmla="*/ 477710 h 595516"/>
                <a:gd name="connsiteX17" fmla="*/ 549762 w 577811"/>
                <a:gd name="connsiteY17" fmla="*/ 528198 h 595516"/>
                <a:gd name="connsiteX18" fmla="*/ 566592 w 577811"/>
                <a:gd name="connsiteY18" fmla="*/ 539418 h 595516"/>
                <a:gd name="connsiteX19" fmla="*/ 549762 w 577811"/>
                <a:gd name="connsiteY19" fmla="*/ 550638 h 595516"/>
                <a:gd name="connsiteX20" fmla="*/ 359028 w 577811"/>
                <a:gd name="connsiteY20" fmla="*/ 550638 h 595516"/>
                <a:gd name="connsiteX21" fmla="*/ 319760 w 577811"/>
                <a:gd name="connsiteY21" fmla="*/ 556248 h 595516"/>
                <a:gd name="connsiteX22" fmla="*/ 241222 w 577811"/>
                <a:gd name="connsiteY22" fmla="*/ 561857 h 595516"/>
                <a:gd name="connsiteX23" fmla="*/ 190734 w 577811"/>
                <a:gd name="connsiteY23" fmla="*/ 578687 h 595516"/>
                <a:gd name="connsiteX24" fmla="*/ 157075 w 577811"/>
                <a:gd name="connsiteY24" fmla="*/ 589906 h 595516"/>
                <a:gd name="connsiteX25" fmla="*/ 134636 w 577811"/>
                <a:gd name="connsiteY25" fmla="*/ 595516 h 595516"/>
                <a:gd name="connsiteX26" fmla="*/ 117806 w 577811"/>
                <a:gd name="connsiteY26" fmla="*/ 589906 h 595516"/>
                <a:gd name="connsiteX27" fmla="*/ 95367 w 577811"/>
                <a:gd name="connsiteY27" fmla="*/ 584297 h 595516"/>
                <a:gd name="connsiteX28" fmla="*/ 44879 w 577811"/>
                <a:gd name="connsiteY28" fmla="*/ 567467 h 595516"/>
                <a:gd name="connsiteX29" fmla="*/ 11220 w 577811"/>
                <a:gd name="connsiteY29" fmla="*/ 550638 h 595516"/>
                <a:gd name="connsiteX30" fmla="*/ 5610 w 577811"/>
                <a:gd name="connsiteY30" fmla="*/ 550638 h 595516"/>
                <a:gd name="connsiteX31" fmla="*/ 0 w 577811"/>
                <a:gd name="connsiteY31" fmla="*/ 96243 h 595516"/>
                <a:gd name="connsiteX0" fmla="*/ 0 w 577811"/>
                <a:gd name="connsiteY0" fmla="*/ 96243 h 595516"/>
                <a:gd name="connsiteX1" fmla="*/ 0 w 577811"/>
                <a:gd name="connsiteY1" fmla="*/ 96243 h 595516"/>
                <a:gd name="connsiteX2" fmla="*/ 431956 w 577811"/>
                <a:gd name="connsiteY2" fmla="*/ 51364 h 595516"/>
                <a:gd name="connsiteX3" fmla="*/ 460005 w 577811"/>
                <a:gd name="connsiteY3" fmla="*/ 45754 h 595516"/>
                <a:gd name="connsiteX4" fmla="*/ 510493 w 577811"/>
                <a:gd name="connsiteY4" fmla="*/ 40144 h 595516"/>
                <a:gd name="connsiteX5" fmla="*/ 527323 w 577811"/>
                <a:gd name="connsiteY5" fmla="*/ 34535 h 595516"/>
                <a:gd name="connsiteX6" fmla="*/ 560982 w 577811"/>
                <a:gd name="connsiteY6" fmla="*/ 28925 h 595516"/>
                <a:gd name="connsiteX7" fmla="*/ 577811 w 577811"/>
                <a:gd name="connsiteY7" fmla="*/ 17705 h 595516"/>
                <a:gd name="connsiteX8" fmla="*/ 566592 w 577811"/>
                <a:gd name="connsiteY8" fmla="*/ 876 h 595516"/>
                <a:gd name="connsiteX9" fmla="*/ 549762 w 577811"/>
                <a:gd name="connsiteY9" fmla="*/ 6486 h 595516"/>
                <a:gd name="connsiteX10" fmla="*/ 560982 w 577811"/>
                <a:gd name="connsiteY10" fmla="*/ 40144 h 595516"/>
                <a:gd name="connsiteX11" fmla="*/ 566592 w 577811"/>
                <a:gd name="connsiteY11" fmla="*/ 208439 h 595516"/>
                <a:gd name="connsiteX12" fmla="*/ 572201 w 577811"/>
                <a:gd name="connsiteY12" fmla="*/ 225268 h 595516"/>
                <a:gd name="connsiteX13" fmla="*/ 566592 w 577811"/>
                <a:gd name="connsiteY13" fmla="*/ 286976 h 595516"/>
                <a:gd name="connsiteX14" fmla="*/ 555372 w 577811"/>
                <a:gd name="connsiteY14" fmla="*/ 359904 h 595516"/>
                <a:gd name="connsiteX15" fmla="*/ 544152 w 577811"/>
                <a:gd name="connsiteY15" fmla="*/ 477710 h 595516"/>
                <a:gd name="connsiteX16" fmla="*/ 549762 w 577811"/>
                <a:gd name="connsiteY16" fmla="*/ 528198 h 595516"/>
                <a:gd name="connsiteX17" fmla="*/ 566592 w 577811"/>
                <a:gd name="connsiteY17" fmla="*/ 539418 h 595516"/>
                <a:gd name="connsiteX18" fmla="*/ 549762 w 577811"/>
                <a:gd name="connsiteY18" fmla="*/ 550638 h 595516"/>
                <a:gd name="connsiteX19" fmla="*/ 359028 w 577811"/>
                <a:gd name="connsiteY19" fmla="*/ 550638 h 595516"/>
                <a:gd name="connsiteX20" fmla="*/ 319760 w 577811"/>
                <a:gd name="connsiteY20" fmla="*/ 556248 h 595516"/>
                <a:gd name="connsiteX21" fmla="*/ 241222 w 577811"/>
                <a:gd name="connsiteY21" fmla="*/ 561857 h 595516"/>
                <a:gd name="connsiteX22" fmla="*/ 190734 w 577811"/>
                <a:gd name="connsiteY22" fmla="*/ 578687 h 595516"/>
                <a:gd name="connsiteX23" fmla="*/ 157075 w 577811"/>
                <a:gd name="connsiteY23" fmla="*/ 589906 h 595516"/>
                <a:gd name="connsiteX24" fmla="*/ 134636 w 577811"/>
                <a:gd name="connsiteY24" fmla="*/ 595516 h 595516"/>
                <a:gd name="connsiteX25" fmla="*/ 117806 w 577811"/>
                <a:gd name="connsiteY25" fmla="*/ 589906 h 595516"/>
                <a:gd name="connsiteX26" fmla="*/ 95367 w 577811"/>
                <a:gd name="connsiteY26" fmla="*/ 584297 h 595516"/>
                <a:gd name="connsiteX27" fmla="*/ 44879 w 577811"/>
                <a:gd name="connsiteY27" fmla="*/ 567467 h 595516"/>
                <a:gd name="connsiteX28" fmla="*/ 11220 w 577811"/>
                <a:gd name="connsiteY28" fmla="*/ 550638 h 595516"/>
                <a:gd name="connsiteX29" fmla="*/ 5610 w 577811"/>
                <a:gd name="connsiteY29" fmla="*/ 550638 h 595516"/>
                <a:gd name="connsiteX30" fmla="*/ 0 w 577811"/>
                <a:gd name="connsiteY30" fmla="*/ 96243 h 595516"/>
                <a:gd name="connsiteX0" fmla="*/ 0 w 577811"/>
                <a:gd name="connsiteY0" fmla="*/ 96243 h 595516"/>
                <a:gd name="connsiteX1" fmla="*/ 0 w 577811"/>
                <a:gd name="connsiteY1" fmla="*/ 96243 h 595516"/>
                <a:gd name="connsiteX2" fmla="*/ 460005 w 577811"/>
                <a:gd name="connsiteY2" fmla="*/ 45754 h 595516"/>
                <a:gd name="connsiteX3" fmla="*/ 510493 w 577811"/>
                <a:gd name="connsiteY3" fmla="*/ 40144 h 595516"/>
                <a:gd name="connsiteX4" fmla="*/ 527323 w 577811"/>
                <a:gd name="connsiteY4" fmla="*/ 34535 h 595516"/>
                <a:gd name="connsiteX5" fmla="*/ 560982 w 577811"/>
                <a:gd name="connsiteY5" fmla="*/ 28925 h 595516"/>
                <a:gd name="connsiteX6" fmla="*/ 577811 w 577811"/>
                <a:gd name="connsiteY6" fmla="*/ 17705 h 595516"/>
                <a:gd name="connsiteX7" fmla="*/ 566592 w 577811"/>
                <a:gd name="connsiteY7" fmla="*/ 876 h 595516"/>
                <a:gd name="connsiteX8" fmla="*/ 549762 w 577811"/>
                <a:gd name="connsiteY8" fmla="*/ 6486 h 595516"/>
                <a:gd name="connsiteX9" fmla="*/ 560982 w 577811"/>
                <a:gd name="connsiteY9" fmla="*/ 40144 h 595516"/>
                <a:gd name="connsiteX10" fmla="*/ 566592 w 577811"/>
                <a:gd name="connsiteY10" fmla="*/ 208439 h 595516"/>
                <a:gd name="connsiteX11" fmla="*/ 572201 w 577811"/>
                <a:gd name="connsiteY11" fmla="*/ 225268 h 595516"/>
                <a:gd name="connsiteX12" fmla="*/ 566592 w 577811"/>
                <a:gd name="connsiteY12" fmla="*/ 286976 h 595516"/>
                <a:gd name="connsiteX13" fmla="*/ 555372 w 577811"/>
                <a:gd name="connsiteY13" fmla="*/ 359904 h 595516"/>
                <a:gd name="connsiteX14" fmla="*/ 544152 w 577811"/>
                <a:gd name="connsiteY14" fmla="*/ 477710 h 595516"/>
                <a:gd name="connsiteX15" fmla="*/ 549762 w 577811"/>
                <a:gd name="connsiteY15" fmla="*/ 528198 h 595516"/>
                <a:gd name="connsiteX16" fmla="*/ 566592 w 577811"/>
                <a:gd name="connsiteY16" fmla="*/ 539418 h 595516"/>
                <a:gd name="connsiteX17" fmla="*/ 549762 w 577811"/>
                <a:gd name="connsiteY17" fmla="*/ 550638 h 595516"/>
                <a:gd name="connsiteX18" fmla="*/ 359028 w 577811"/>
                <a:gd name="connsiteY18" fmla="*/ 550638 h 595516"/>
                <a:gd name="connsiteX19" fmla="*/ 319760 w 577811"/>
                <a:gd name="connsiteY19" fmla="*/ 556248 h 595516"/>
                <a:gd name="connsiteX20" fmla="*/ 241222 w 577811"/>
                <a:gd name="connsiteY20" fmla="*/ 561857 h 595516"/>
                <a:gd name="connsiteX21" fmla="*/ 190734 w 577811"/>
                <a:gd name="connsiteY21" fmla="*/ 578687 h 595516"/>
                <a:gd name="connsiteX22" fmla="*/ 157075 w 577811"/>
                <a:gd name="connsiteY22" fmla="*/ 589906 h 595516"/>
                <a:gd name="connsiteX23" fmla="*/ 134636 w 577811"/>
                <a:gd name="connsiteY23" fmla="*/ 595516 h 595516"/>
                <a:gd name="connsiteX24" fmla="*/ 117806 w 577811"/>
                <a:gd name="connsiteY24" fmla="*/ 589906 h 595516"/>
                <a:gd name="connsiteX25" fmla="*/ 95367 w 577811"/>
                <a:gd name="connsiteY25" fmla="*/ 584297 h 595516"/>
                <a:gd name="connsiteX26" fmla="*/ 44879 w 577811"/>
                <a:gd name="connsiteY26" fmla="*/ 567467 h 595516"/>
                <a:gd name="connsiteX27" fmla="*/ 11220 w 577811"/>
                <a:gd name="connsiteY27" fmla="*/ 550638 h 595516"/>
                <a:gd name="connsiteX28" fmla="*/ 5610 w 577811"/>
                <a:gd name="connsiteY28" fmla="*/ 550638 h 595516"/>
                <a:gd name="connsiteX29" fmla="*/ 0 w 577811"/>
                <a:gd name="connsiteY29" fmla="*/ 96243 h 595516"/>
                <a:gd name="connsiteX0" fmla="*/ 0 w 577811"/>
                <a:gd name="connsiteY0" fmla="*/ 96243 h 595516"/>
                <a:gd name="connsiteX1" fmla="*/ 0 w 577811"/>
                <a:gd name="connsiteY1" fmla="*/ 96243 h 595516"/>
                <a:gd name="connsiteX2" fmla="*/ 510493 w 577811"/>
                <a:gd name="connsiteY2" fmla="*/ 40144 h 595516"/>
                <a:gd name="connsiteX3" fmla="*/ 527323 w 577811"/>
                <a:gd name="connsiteY3" fmla="*/ 34535 h 595516"/>
                <a:gd name="connsiteX4" fmla="*/ 560982 w 577811"/>
                <a:gd name="connsiteY4" fmla="*/ 28925 h 595516"/>
                <a:gd name="connsiteX5" fmla="*/ 577811 w 577811"/>
                <a:gd name="connsiteY5" fmla="*/ 17705 h 595516"/>
                <a:gd name="connsiteX6" fmla="*/ 566592 w 577811"/>
                <a:gd name="connsiteY6" fmla="*/ 876 h 595516"/>
                <a:gd name="connsiteX7" fmla="*/ 549762 w 577811"/>
                <a:gd name="connsiteY7" fmla="*/ 6486 h 595516"/>
                <a:gd name="connsiteX8" fmla="*/ 560982 w 577811"/>
                <a:gd name="connsiteY8" fmla="*/ 40144 h 595516"/>
                <a:gd name="connsiteX9" fmla="*/ 566592 w 577811"/>
                <a:gd name="connsiteY9" fmla="*/ 208439 h 595516"/>
                <a:gd name="connsiteX10" fmla="*/ 572201 w 577811"/>
                <a:gd name="connsiteY10" fmla="*/ 225268 h 595516"/>
                <a:gd name="connsiteX11" fmla="*/ 566592 w 577811"/>
                <a:gd name="connsiteY11" fmla="*/ 286976 h 595516"/>
                <a:gd name="connsiteX12" fmla="*/ 555372 w 577811"/>
                <a:gd name="connsiteY12" fmla="*/ 359904 h 595516"/>
                <a:gd name="connsiteX13" fmla="*/ 544152 w 577811"/>
                <a:gd name="connsiteY13" fmla="*/ 477710 h 595516"/>
                <a:gd name="connsiteX14" fmla="*/ 549762 w 577811"/>
                <a:gd name="connsiteY14" fmla="*/ 528198 h 595516"/>
                <a:gd name="connsiteX15" fmla="*/ 566592 w 577811"/>
                <a:gd name="connsiteY15" fmla="*/ 539418 h 595516"/>
                <a:gd name="connsiteX16" fmla="*/ 549762 w 577811"/>
                <a:gd name="connsiteY16" fmla="*/ 550638 h 595516"/>
                <a:gd name="connsiteX17" fmla="*/ 359028 w 577811"/>
                <a:gd name="connsiteY17" fmla="*/ 550638 h 595516"/>
                <a:gd name="connsiteX18" fmla="*/ 319760 w 577811"/>
                <a:gd name="connsiteY18" fmla="*/ 556248 h 595516"/>
                <a:gd name="connsiteX19" fmla="*/ 241222 w 577811"/>
                <a:gd name="connsiteY19" fmla="*/ 561857 h 595516"/>
                <a:gd name="connsiteX20" fmla="*/ 190734 w 577811"/>
                <a:gd name="connsiteY20" fmla="*/ 578687 h 595516"/>
                <a:gd name="connsiteX21" fmla="*/ 157075 w 577811"/>
                <a:gd name="connsiteY21" fmla="*/ 589906 h 595516"/>
                <a:gd name="connsiteX22" fmla="*/ 134636 w 577811"/>
                <a:gd name="connsiteY22" fmla="*/ 595516 h 595516"/>
                <a:gd name="connsiteX23" fmla="*/ 117806 w 577811"/>
                <a:gd name="connsiteY23" fmla="*/ 589906 h 595516"/>
                <a:gd name="connsiteX24" fmla="*/ 95367 w 577811"/>
                <a:gd name="connsiteY24" fmla="*/ 584297 h 595516"/>
                <a:gd name="connsiteX25" fmla="*/ 44879 w 577811"/>
                <a:gd name="connsiteY25" fmla="*/ 567467 h 595516"/>
                <a:gd name="connsiteX26" fmla="*/ 11220 w 577811"/>
                <a:gd name="connsiteY26" fmla="*/ 550638 h 595516"/>
                <a:gd name="connsiteX27" fmla="*/ 5610 w 577811"/>
                <a:gd name="connsiteY27" fmla="*/ 550638 h 595516"/>
                <a:gd name="connsiteX28" fmla="*/ 0 w 577811"/>
                <a:gd name="connsiteY28" fmla="*/ 96243 h 595516"/>
                <a:gd name="connsiteX0" fmla="*/ 0 w 577811"/>
                <a:gd name="connsiteY0" fmla="*/ 96243 h 595516"/>
                <a:gd name="connsiteX1" fmla="*/ 0 w 577811"/>
                <a:gd name="connsiteY1" fmla="*/ 96243 h 595516"/>
                <a:gd name="connsiteX2" fmla="*/ 527323 w 577811"/>
                <a:gd name="connsiteY2" fmla="*/ 34535 h 595516"/>
                <a:gd name="connsiteX3" fmla="*/ 560982 w 577811"/>
                <a:gd name="connsiteY3" fmla="*/ 28925 h 595516"/>
                <a:gd name="connsiteX4" fmla="*/ 577811 w 577811"/>
                <a:gd name="connsiteY4" fmla="*/ 17705 h 595516"/>
                <a:gd name="connsiteX5" fmla="*/ 566592 w 577811"/>
                <a:gd name="connsiteY5" fmla="*/ 876 h 595516"/>
                <a:gd name="connsiteX6" fmla="*/ 549762 w 577811"/>
                <a:gd name="connsiteY6" fmla="*/ 6486 h 595516"/>
                <a:gd name="connsiteX7" fmla="*/ 560982 w 577811"/>
                <a:gd name="connsiteY7" fmla="*/ 40144 h 595516"/>
                <a:gd name="connsiteX8" fmla="*/ 566592 w 577811"/>
                <a:gd name="connsiteY8" fmla="*/ 208439 h 595516"/>
                <a:gd name="connsiteX9" fmla="*/ 572201 w 577811"/>
                <a:gd name="connsiteY9" fmla="*/ 225268 h 595516"/>
                <a:gd name="connsiteX10" fmla="*/ 566592 w 577811"/>
                <a:gd name="connsiteY10" fmla="*/ 286976 h 595516"/>
                <a:gd name="connsiteX11" fmla="*/ 555372 w 577811"/>
                <a:gd name="connsiteY11" fmla="*/ 359904 h 595516"/>
                <a:gd name="connsiteX12" fmla="*/ 544152 w 577811"/>
                <a:gd name="connsiteY12" fmla="*/ 477710 h 595516"/>
                <a:gd name="connsiteX13" fmla="*/ 549762 w 577811"/>
                <a:gd name="connsiteY13" fmla="*/ 528198 h 595516"/>
                <a:gd name="connsiteX14" fmla="*/ 566592 w 577811"/>
                <a:gd name="connsiteY14" fmla="*/ 539418 h 595516"/>
                <a:gd name="connsiteX15" fmla="*/ 549762 w 577811"/>
                <a:gd name="connsiteY15" fmla="*/ 550638 h 595516"/>
                <a:gd name="connsiteX16" fmla="*/ 359028 w 577811"/>
                <a:gd name="connsiteY16" fmla="*/ 550638 h 595516"/>
                <a:gd name="connsiteX17" fmla="*/ 319760 w 577811"/>
                <a:gd name="connsiteY17" fmla="*/ 556248 h 595516"/>
                <a:gd name="connsiteX18" fmla="*/ 241222 w 577811"/>
                <a:gd name="connsiteY18" fmla="*/ 561857 h 595516"/>
                <a:gd name="connsiteX19" fmla="*/ 190734 w 577811"/>
                <a:gd name="connsiteY19" fmla="*/ 578687 h 595516"/>
                <a:gd name="connsiteX20" fmla="*/ 157075 w 577811"/>
                <a:gd name="connsiteY20" fmla="*/ 589906 h 595516"/>
                <a:gd name="connsiteX21" fmla="*/ 134636 w 577811"/>
                <a:gd name="connsiteY21" fmla="*/ 595516 h 595516"/>
                <a:gd name="connsiteX22" fmla="*/ 117806 w 577811"/>
                <a:gd name="connsiteY22" fmla="*/ 589906 h 595516"/>
                <a:gd name="connsiteX23" fmla="*/ 95367 w 577811"/>
                <a:gd name="connsiteY23" fmla="*/ 584297 h 595516"/>
                <a:gd name="connsiteX24" fmla="*/ 44879 w 577811"/>
                <a:gd name="connsiteY24" fmla="*/ 567467 h 595516"/>
                <a:gd name="connsiteX25" fmla="*/ 11220 w 577811"/>
                <a:gd name="connsiteY25" fmla="*/ 550638 h 595516"/>
                <a:gd name="connsiteX26" fmla="*/ 5610 w 577811"/>
                <a:gd name="connsiteY26" fmla="*/ 550638 h 595516"/>
                <a:gd name="connsiteX27" fmla="*/ 0 w 577811"/>
                <a:gd name="connsiteY27" fmla="*/ 96243 h 595516"/>
                <a:gd name="connsiteX0" fmla="*/ 0 w 577811"/>
                <a:gd name="connsiteY0" fmla="*/ 96243 h 595516"/>
                <a:gd name="connsiteX1" fmla="*/ 0 w 577811"/>
                <a:gd name="connsiteY1" fmla="*/ 96243 h 595516"/>
                <a:gd name="connsiteX2" fmla="*/ 560982 w 577811"/>
                <a:gd name="connsiteY2" fmla="*/ 28925 h 595516"/>
                <a:gd name="connsiteX3" fmla="*/ 577811 w 577811"/>
                <a:gd name="connsiteY3" fmla="*/ 17705 h 595516"/>
                <a:gd name="connsiteX4" fmla="*/ 566592 w 577811"/>
                <a:gd name="connsiteY4" fmla="*/ 876 h 595516"/>
                <a:gd name="connsiteX5" fmla="*/ 549762 w 577811"/>
                <a:gd name="connsiteY5" fmla="*/ 6486 h 595516"/>
                <a:gd name="connsiteX6" fmla="*/ 560982 w 577811"/>
                <a:gd name="connsiteY6" fmla="*/ 40144 h 595516"/>
                <a:gd name="connsiteX7" fmla="*/ 566592 w 577811"/>
                <a:gd name="connsiteY7" fmla="*/ 208439 h 595516"/>
                <a:gd name="connsiteX8" fmla="*/ 572201 w 577811"/>
                <a:gd name="connsiteY8" fmla="*/ 225268 h 595516"/>
                <a:gd name="connsiteX9" fmla="*/ 566592 w 577811"/>
                <a:gd name="connsiteY9" fmla="*/ 286976 h 595516"/>
                <a:gd name="connsiteX10" fmla="*/ 555372 w 577811"/>
                <a:gd name="connsiteY10" fmla="*/ 359904 h 595516"/>
                <a:gd name="connsiteX11" fmla="*/ 544152 w 577811"/>
                <a:gd name="connsiteY11" fmla="*/ 477710 h 595516"/>
                <a:gd name="connsiteX12" fmla="*/ 549762 w 577811"/>
                <a:gd name="connsiteY12" fmla="*/ 528198 h 595516"/>
                <a:gd name="connsiteX13" fmla="*/ 566592 w 577811"/>
                <a:gd name="connsiteY13" fmla="*/ 539418 h 595516"/>
                <a:gd name="connsiteX14" fmla="*/ 549762 w 577811"/>
                <a:gd name="connsiteY14" fmla="*/ 550638 h 595516"/>
                <a:gd name="connsiteX15" fmla="*/ 359028 w 577811"/>
                <a:gd name="connsiteY15" fmla="*/ 550638 h 595516"/>
                <a:gd name="connsiteX16" fmla="*/ 319760 w 577811"/>
                <a:gd name="connsiteY16" fmla="*/ 556248 h 595516"/>
                <a:gd name="connsiteX17" fmla="*/ 241222 w 577811"/>
                <a:gd name="connsiteY17" fmla="*/ 561857 h 595516"/>
                <a:gd name="connsiteX18" fmla="*/ 190734 w 577811"/>
                <a:gd name="connsiteY18" fmla="*/ 578687 h 595516"/>
                <a:gd name="connsiteX19" fmla="*/ 157075 w 577811"/>
                <a:gd name="connsiteY19" fmla="*/ 589906 h 595516"/>
                <a:gd name="connsiteX20" fmla="*/ 134636 w 577811"/>
                <a:gd name="connsiteY20" fmla="*/ 595516 h 595516"/>
                <a:gd name="connsiteX21" fmla="*/ 117806 w 577811"/>
                <a:gd name="connsiteY21" fmla="*/ 589906 h 595516"/>
                <a:gd name="connsiteX22" fmla="*/ 95367 w 577811"/>
                <a:gd name="connsiteY22" fmla="*/ 584297 h 595516"/>
                <a:gd name="connsiteX23" fmla="*/ 44879 w 577811"/>
                <a:gd name="connsiteY23" fmla="*/ 567467 h 595516"/>
                <a:gd name="connsiteX24" fmla="*/ 11220 w 577811"/>
                <a:gd name="connsiteY24" fmla="*/ 550638 h 595516"/>
                <a:gd name="connsiteX25" fmla="*/ 5610 w 577811"/>
                <a:gd name="connsiteY25" fmla="*/ 550638 h 595516"/>
                <a:gd name="connsiteX26" fmla="*/ 0 w 577811"/>
                <a:gd name="connsiteY26" fmla="*/ 96243 h 595516"/>
                <a:gd name="connsiteX0" fmla="*/ 0 w 577811"/>
                <a:gd name="connsiteY0" fmla="*/ 90510 h 589783"/>
                <a:gd name="connsiteX1" fmla="*/ 0 w 577811"/>
                <a:gd name="connsiteY1" fmla="*/ 90510 h 589783"/>
                <a:gd name="connsiteX2" fmla="*/ 560982 w 577811"/>
                <a:gd name="connsiteY2" fmla="*/ 23192 h 589783"/>
                <a:gd name="connsiteX3" fmla="*/ 577811 w 577811"/>
                <a:gd name="connsiteY3" fmla="*/ 11972 h 589783"/>
                <a:gd name="connsiteX4" fmla="*/ 549762 w 577811"/>
                <a:gd name="connsiteY4" fmla="*/ 753 h 589783"/>
                <a:gd name="connsiteX5" fmla="*/ 560982 w 577811"/>
                <a:gd name="connsiteY5" fmla="*/ 34411 h 589783"/>
                <a:gd name="connsiteX6" fmla="*/ 566592 w 577811"/>
                <a:gd name="connsiteY6" fmla="*/ 202706 h 589783"/>
                <a:gd name="connsiteX7" fmla="*/ 572201 w 577811"/>
                <a:gd name="connsiteY7" fmla="*/ 219535 h 589783"/>
                <a:gd name="connsiteX8" fmla="*/ 566592 w 577811"/>
                <a:gd name="connsiteY8" fmla="*/ 281243 h 589783"/>
                <a:gd name="connsiteX9" fmla="*/ 555372 w 577811"/>
                <a:gd name="connsiteY9" fmla="*/ 354171 h 589783"/>
                <a:gd name="connsiteX10" fmla="*/ 544152 w 577811"/>
                <a:gd name="connsiteY10" fmla="*/ 471977 h 589783"/>
                <a:gd name="connsiteX11" fmla="*/ 549762 w 577811"/>
                <a:gd name="connsiteY11" fmla="*/ 522465 h 589783"/>
                <a:gd name="connsiteX12" fmla="*/ 566592 w 577811"/>
                <a:gd name="connsiteY12" fmla="*/ 533685 h 589783"/>
                <a:gd name="connsiteX13" fmla="*/ 549762 w 577811"/>
                <a:gd name="connsiteY13" fmla="*/ 544905 h 589783"/>
                <a:gd name="connsiteX14" fmla="*/ 359028 w 577811"/>
                <a:gd name="connsiteY14" fmla="*/ 544905 h 589783"/>
                <a:gd name="connsiteX15" fmla="*/ 319760 w 577811"/>
                <a:gd name="connsiteY15" fmla="*/ 550515 h 589783"/>
                <a:gd name="connsiteX16" fmla="*/ 241222 w 577811"/>
                <a:gd name="connsiteY16" fmla="*/ 556124 h 589783"/>
                <a:gd name="connsiteX17" fmla="*/ 190734 w 577811"/>
                <a:gd name="connsiteY17" fmla="*/ 572954 h 589783"/>
                <a:gd name="connsiteX18" fmla="*/ 157075 w 577811"/>
                <a:gd name="connsiteY18" fmla="*/ 584173 h 589783"/>
                <a:gd name="connsiteX19" fmla="*/ 134636 w 577811"/>
                <a:gd name="connsiteY19" fmla="*/ 589783 h 589783"/>
                <a:gd name="connsiteX20" fmla="*/ 117806 w 577811"/>
                <a:gd name="connsiteY20" fmla="*/ 584173 h 589783"/>
                <a:gd name="connsiteX21" fmla="*/ 95367 w 577811"/>
                <a:gd name="connsiteY21" fmla="*/ 578564 h 589783"/>
                <a:gd name="connsiteX22" fmla="*/ 44879 w 577811"/>
                <a:gd name="connsiteY22" fmla="*/ 561734 h 589783"/>
                <a:gd name="connsiteX23" fmla="*/ 11220 w 577811"/>
                <a:gd name="connsiteY23" fmla="*/ 544905 h 589783"/>
                <a:gd name="connsiteX24" fmla="*/ 5610 w 577811"/>
                <a:gd name="connsiteY24" fmla="*/ 544905 h 589783"/>
                <a:gd name="connsiteX25" fmla="*/ 0 w 577811"/>
                <a:gd name="connsiteY25" fmla="*/ 90510 h 589783"/>
                <a:gd name="connsiteX0" fmla="*/ 0 w 695065"/>
                <a:gd name="connsiteY0" fmla="*/ 78614 h 577887"/>
                <a:gd name="connsiteX1" fmla="*/ 0 w 695065"/>
                <a:gd name="connsiteY1" fmla="*/ 78614 h 577887"/>
                <a:gd name="connsiteX2" fmla="*/ 560982 w 695065"/>
                <a:gd name="connsiteY2" fmla="*/ 11296 h 577887"/>
                <a:gd name="connsiteX3" fmla="*/ 577811 w 695065"/>
                <a:gd name="connsiteY3" fmla="*/ 76 h 577887"/>
                <a:gd name="connsiteX4" fmla="*/ 695018 w 695065"/>
                <a:gd name="connsiteY4" fmla="*/ 136494 h 577887"/>
                <a:gd name="connsiteX5" fmla="*/ 560982 w 695065"/>
                <a:gd name="connsiteY5" fmla="*/ 22515 h 577887"/>
                <a:gd name="connsiteX6" fmla="*/ 566592 w 695065"/>
                <a:gd name="connsiteY6" fmla="*/ 190810 h 577887"/>
                <a:gd name="connsiteX7" fmla="*/ 572201 w 695065"/>
                <a:gd name="connsiteY7" fmla="*/ 207639 h 577887"/>
                <a:gd name="connsiteX8" fmla="*/ 566592 w 695065"/>
                <a:gd name="connsiteY8" fmla="*/ 269347 h 577887"/>
                <a:gd name="connsiteX9" fmla="*/ 555372 w 695065"/>
                <a:gd name="connsiteY9" fmla="*/ 342275 h 577887"/>
                <a:gd name="connsiteX10" fmla="*/ 544152 w 695065"/>
                <a:gd name="connsiteY10" fmla="*/ 460081 h 577887"/>
                <a:gd name="connsiteX11" fmla="*/ 549762 w 695065"/>
                <a:gd name="connsiteY11" fmla="*/ 510569 h 577887"/>
                <a:gd name="connsiteX12" fmla="*/ 566592 w 695065"/>
                <a:gd name="connsiteY12" fmla="*/ 521789 h 577887"/>
                <a:gd name="connsiteX13" fmla="*/ 549762 w 695065"/>
                <a:gd name="connsiteY13" fmla="*/ 533009 h 577887"/>
                <a:gd name="connsiteX14" fmla="*/ 359028 w 695065"/>
                <a:gd name="connsiteY14" fmla="*/ 533009 h 577887"/>
                <a:gd name="connsiteX15" fmla="*/ 319760 w 695065"/>
                <a:gd name="connsiteY15" fmla="*/ 538619 h 577887"/>
                <a:gd name="connsiteX16" fmla="*/ 241222 w 695065"/>
                <a:gd name="connsiteY16" fmla="*/ 544228 h 577887"/>
                <a:gd name="connsiteX17" fmla="*/ 190734 w 695065"/>
                <a:gd name="connsiteY17" fmla="*/ 561058 h 577887"/>
                <a:gd name="connsiteX18" fmla="*/ 157075 w 695065"/>
                <a:gd name="connsiteY18" fmla="*/ 572277 h 577887"/>
                <a:gd name="connsiteX19" fmla="*/ 134636 w 695065"/>
                <a:gd name="connsiteY19" fmla="*/ 577887 h 577887"/>
                <a:gd name="connsiteX20" fmla="*/ 117806 w 695065"/>
                <a:gd name="connsiteY20" fmla="*/ 572277 h 577887"/>
                <a:gd name="connsiteX21" fmla="*/ 95367 w 695065"/>
                <a:gd name="connsiteY21" fmla="*/ 566668 h 577887"/>
                <a:gd name="connsiteX22" fmla="*/ 44879 w 695065"/>
                <a:gd name="connsiteY22" fmla="*/ 549838 h 577887"/>
                <a:gd name="connsiteX23" fmla="*/ 11220 w 695065"/>
                <a:gd name="connsiteY23" fmla="*/ 533009 h 577887"/>
                <a:gd name="connsiteX24" fmla="*/ 5610 w 695065"/>
                <a:gd name="connsiteY24" fmla="*/ 533009 h 577887"/>
                <a:gd name="connsiteX25" fmla="*/ 0 w 695065"/>
                <a:gd name="connsiteY25" fmla="*/ 78614 h 577887"/>
                <a:gd name="connsiteX0" fmla="*/ 0 w 577811"/>
                <a:gd name="connsiteY0" fmla="*/ 78998 h 578271"/>
                <a:gd name="connsiteX1" fmla="*/ 0 w 577811"/>
                <a:gd name="connsiteY1" fmla="*/ 78998 h 578271"/>
                <a:gd name="connsiteX2" fmla="*/ 560982 w 577811"/>
                <a:gd name="connsiteY2" fmla="*/ 11680 h 578271"/>
                <a:gd name="connsiteX3" fmla="*/ 577811 w 577811"/>
                <a:gd name="connsiteY3" fmla="*/ 460 h 578271"/>
                <a:gd name="connsiteX4" fmla="*/ 560982 w 577811"/>
                <a:gd name="connsiteY4" fmla="*/ 22899 h 578271"/>
                <a:gd name="connsiteX5" fmla="*/ 566592 w 577811"/>
                <a:gd name="connsiteY5" fmla="*/ 191194 h 578271"/>
                <a:gd name="connsiteX6" fmla="*/ 572201 w 577811"/>
                <a:gd name="connsiteY6" fmla="*/ 208023 h 578271"/>
                <a:gd name="connsiteX7" fmla="*/ 566592 w 577811"/>
                <a:gd name="connsiteY7" fmla="*/ 269731 h 578271"/>
                <a:gd name="connsiteX8" fmla="*/ 555372 w 577811"/>
                <a:gd name="connsiteY8" fmla="*/ 342659 h 578271"/>
                <a:gd name="connsiteX9" fmla="*/ 544152 w 577811"/>
                <a:gd name="connsiteY9" fmla="*/ 460465 h 578271"/>
                <a:gd name="connsiteX10" fmla="*/ 549762 w 577811"/>
                <a:gd name="connsiteY10" fmla="*/ 510953 h 578271"/>
                <a:gd name="connsiteX11" fmla="*/ 566592 w 577811"/>
                <a:gd name="connsiteY11" fmla="*/ 522173 h 578271"/>
                <a:gd name="connsiteX12" fmla="*/ 549762 w 577811"/>
                <a:gd name="connsiteY12" fmla="*/ 533393 h 578271"/>
                <a:gd name="connsiteX13" fmla="*/ 359028 w 577811"/>
                <a:gd name="connsiteY13" fmla="*/ 533393 h 578271"/>
                <a:gd name="connsiteX14" fmla="*/ 319760 w 577811"/>
                <a:gd name="connsiteY14" fmla="*/ 539003 h 578271"/>
                <a:gd name="connsiteX15" fmla="*/ 241222 w 577811"/>
                <a:gd name="connsiteY15" fmla="*/ 544612 h 578271"/>
                <a:gd name="connsiteX16" fmla="*/ 190734 w 577811"/>
                <a:gd name="connsiteY16" fmla="*/ 561442 h 578271"/>
                <a:gd name="connsiteX17" fmla="*/ 157075 w 577811"/>
                <a:gd name="connsiteY17" fmla="*/ 572661 h 578271"/>
                <a:gd name="connsiteX18" fmla="*/ 134636 w 577811"/>
                <a:gd name="connsiteY18" fmla="*/ 578271 h 578271"/>
                <a:gd name="connsiteX19" fmla="*/ 117806 w 577811"/>
                <a:gd name="connsiteY19" fmla="*/ 572661 h 578271"/>
                <a:gd name="connsiteX20" fmla="*/ 95367 w 577811"/>
                <a:gd name="connsiteY20" fmla="*/ 567052 h 578271"/>
                <a:gd name="connsiteX21" fmla="*/ 44879 w 577811"/>
                <a:gd name="connsiteY21" fmla="*/ 550222 h 578271"/>
                <a:gd name="connsiteX22" fmla="*/ 11220 w 577811"/>
                <a:gd name="connsiteY22" fmla="*/ 533393 h 578271"/>
                <a:gd name="connsiteX23" fmla="*/ 5610 w 577811"/>
                <a:gd name="connsiteY23" fmla="*/ 533393 h 578271"/>
                <a:gd name="connsiteX24" fmla="*/ 0 w 577811"/>
                <a:gd name="connsiteY24" fmla="*/ 78998 h 578271"/>
                <a:gd name="connsiteX0" fmla="*/ 0 w 577811"/>
                <a:gd name="connsiteY0" fmla="*/ 78998 h 578271"/>
                <a:gd name="connsiteX1" fmla="*/ 0 w 577811"/>
                <a:gd name="connsiteY1" fmla="*/ 78998 h 578271"/>
                <a:gd name="connsiteX2" fmla="*/ 577811 w 577811"/>
                <a:gd name="connsiteY2" fmla="*/ 460 h 578271"/>
                <a:gd name="connsiteX3" fmla="*/ 560982 w 577811"/>
                <a:gd name="connsiteY3" fmla="*/ 22899 h 578271"/>
                <a:gd name="connsiteX4" fmla="*/ 566592 w 577811"/>
                <a:gd name="connsiteY4" fmla="*/ 191194 h 578271"/>
                <a:gd name="connsiteX5" fmla="*/ 572201 w 577811"/>
                <a:gd name="connsiteY5" fmla="*/ 208023 h 578271"/>
                <a:gd name="connsiteX6" fmla="*/ 566592 w 577811"/>
                <a:gd name="connsiteY6" fmla="*/ 269731 h 578271"/>
                <a:gd name="connsiteX7" fmla="*/ 555372 w 577811"/>
                <a:gd name="connsiteY7" fmla="*/ 342659 h 578271"/>
                <a:gd name="connsiteX8" fmla="*/ 544152 w 577811"/>
                <a:gd name="connsiteY8" fmla="*/ 460465 h 578271"/>
                <a:gd name="connsiteX9" fmla="*/ 549762 w 577811"/>
                <a:gd name="connsiteY9" fmla="*/ 510953 h 578271"/>
                <a:gd name="connsiteX10" fmla="*/ 566592 w 577811"/>
                <a:gd name="connsiteY10" fmla="*/ 522173 h 578271"/>
                <a:gd name="connsiteX11" fmla="*/ 549762 w 577811"/>
                <a:gd name="connsiteY11" fmla="*/ 533393 h 578271"/>
                <a:gd name="connsiteX12" fmla="*/ 359028 w 577811"/>
                <a:gd name="connsiteY12" fmla="*/ 533393 h 578271"/>
                <a:gd name="connsiteX13" fmla="*/ 319760 w 577811"/>
                <a:gd name="connsiteY13" fmla="*/ 539003 h 578271"/>
                <a:gd name="connsiteX14" fmla="*/ 241222 w 577811"/>
                <a:gd name="connsiteY14" fmla="*/ 544612 h 578271"/>
                <a:gd name="connsiteX15" fmla="*/ 190734 w 577811"/>
                <a:gd name="connsiteY15" fmla="*/ 561442 h 578271"/>
                <a:gd name="connsiteX16" fmla="*/ 157075 w 577811"/>
                <a:gd name="connsiteY16" fmla="*/ 572661 h 578271"/>
                <a:gd name="connsiteX17" fmla="*/ 134636 w 577811"/>
                <a:gd name="connsiteY17" fmla="*/ 578271 h 578271"/>
                <a:gd name="connsiteX18" fmla="*/ 117806 w 577811"/>
                <a:gd name="connsiteY18" fmla="*/ 572661 h 578271"/>
                <a:gd name="connsiteX19" fmla="*/ 95367 w 577811"/>
                <a:gd name="connsiteY19" fmla="*/ 567052 h 578271"/>
                <a:gd name="connsiteX20" fmla="*/ 44879 w 577811"/>
                <a:gd name="connsiteY20" fmla="*/ 550222 h 578271"/>
                <a:gd name="connsiteX21" fmla="*/ 11220 w 577811"/>
                <a:gd name="connsiteY21" fmla="*/ 533393 h 578271"/>
                <a:gd name="connsiteX22" fmla="*/ 5610 w 577811"/>
                <a:gd name="connsiteY22" fmla="*/ 533393 h 578271"/>
                <a:gd name="connsiteX23" fmla="*/ 0 w 577811"/>
                <a:gd name="connsiteY23" fmla="*/ 78998 h 578271"/>
                <a:gd name="connsiteX0" fmla="*/ 0 w 617242"/>
                <a:gd name="connsiteY0" fmla="*/ 78538 h 577811"/>
                <a:gd name="connsiteX1" fmla="*/ 0 w 617242"/>
                <a:gd name="connsiteY1" fmla="*/ 78538 h 577811"/>
                <a:gd name="connsiteX2" fmla="*/ 577811 w 617242"/>
                <a:gd name="connsiteY2" fmla="*/ 0 h 577811"/>
                <a:gd name="connsiteX3" fmla="*/ 566592 w 617242"/>
                <a:gd name="connsiteY3" fmla="*/ 190734 h 577811"/>
                <a:gd name="connsiteX4" fmla="*/ 572201 w 617242"/>
                <a:gd name="connsiteY4" fmla="*/ 207563 h 577811"/>
                <a:gd name="connsiteX5" fmla="*/ 566592 w 617242"/>
                <a:gd name="connsiteY5" fmla="*/ 269271 h 577811"/>
                <a:gd name="connsiteX6" fmla="*/ 555372 w 617242"/>
                <a:gd name="connsiteY6" fmla="*/ 342199 h 577811"/>
                <a:gd name="connsiteX7" fmla="*/ 544152 w 617242"/>
                <a:gd name="connsiteY7" fmla="*/ 460005 h 577811"/>
                <a:gd name="connsiteX8" fmla="*/ 549762 w 617242"/>
                <a:gd name="connsiteY8" fmla="*/ 510493 h 577811"/>
                <a:gd name="connsiteX9" fmla="*/ 566592 w 617242"/>
                <a:gd name="connsiteY9" fmla="*/ 521713 h 577811"/>
                <a:gd name="connsiteX10" fmla="*/ 549762 w 617242"/>
                <a:gd name="connsiteY10" fmla="*/ 532933 h 577811"/>
                <a:gd name="connsiteX11" fmla="*/ 359028 w 617242"/>
                <a:gd name="connsiteY11" fmla="*/ 532933 h 577811"/>
                <a:gd name="connsiteX12" fmla="*/ 319760 w 617242"/>
                <a:gd name="connsiteY12" fmla="*/ 538543 h 577811"/>
                <a:gd name="connsiteX13" fmla="*/ 241222 w 617242"/>
                <a:gd name="connsiteY13" fmla="*/ 544152 h 577811"/>
                <a:gd name="connsiteX14" fmla="*/ 190734 w 617242"/>
                <a:gd name="connsiteY14" fmla="*/ 560982 h 577811"/>
                <a:gd name="connsiteX15" fmla="*/ 157075 w 617242"/>
                <a:gd name="connsiteY15" fmla="*/ 572201 h 577811"/>
                <a:gd name="connsiteX16" fmla="*/ 134636 w 617242"/>
                <a:gd name="connsiteY16" fmla="*/ 577811 h 577811"/>
                <a:gd name="connsiteX17" fmla="*/ 117806 w 617242"/>
                <a:gd name="connsiteY17" fmla="*/ 572201 h 577811"/>
                <a:gd name="connsiteX18" fmla="*/ 95367 w 617242"/>
                <a:gd name="connsiteY18" fmla="*/ 566592 h 577811"/>
                <a:gd name="connsiteX19" fmla="*/ 44879 w 617242"/>
                <a:gd name="connsiteY19" fmla="*/ 549762 h 577811"/>
                <a:gd name="connsiteX20" fmla="*/ 11220 w 617242"/>
                <a:gd name="connsiteY20" fmla="*/ 532933 h 577811"/>
                <a:gd name="connsiteX21" fmla="*/ 5610 w 617242"/>
                <a:gd name="connsiteY21" fmla="*/ 532933 h 577811"/>
                <a:gd name="connsiteX22" fmla="*/ 0 w 617242"/>
                <a:gd name="connsiteY22" fmla="*/ 78538 h 577811"/>
                <a:gd name="connsiteX0" fmla="*/ 0 w 580619"/>
                <a:gd name="connsiteY0" fmla="*/ 21388 h 520661"/>
                <a:gd name="connsiteX1" fmla="*/ 0 w 580619"/>
                <a:gd name="connsiteY1" fmla="*/ 21388 h 520661"/>
                <a:gd name="connsiteX2" fmla="*/ 523043 w 580619"/>
                <a:gd name="connsiteY2" fmla="*/ 0 h 520661"/>
                <a:gd name="connsiteX3" fmla="*/ 566592 w 580619"/>
                <a:gd name="connsiteY3" fmla="*/ 133584 h 520661"/>
                <a:gd name="connsiteX4" fmla="*/ 572201 w 580619"/>
                <a:gd name="connsiteY4" fmla="*/ 150413 h 520661"/>
                <a:gd name="connsiteX5" fmla="*/ 566592 w 580619"/>
                <a:gd name="connsiteY5" fmla="*/ 212121 h 520661"/>
                <a:gd name="connsiteX6" fmla="*/ 555372 w 580619"/>
                <a:gd name="connsiteY6" fmla="*/ 285049 h 520661"/>
                <a:gd name="connsiteX7" fmla="*/ 544152 w 580619"/>
                <a:gd name="connsiteY7" fmla="*/ 402855 h 520661"/>
                <a:gd name="connsiteX8" fmla="*/ 549762 w 580619"/>
                <a:gd name="connsiteY8" fmla="*/ 453343 h 520661"/>
                <a:gd name="connsiteX9" fmla="*/ 566592 w 580619"/>
                <a:gd name="connsiteY9" fmla="*/ 464563 h 520661"/>
                <a:gd name="connsiteX10" fmla="*/ 549762 w 580619"/>
                <a:gd name="connsiteY10" fmla="*/ 475783 h 520661"/>
                <a:gd name="connsiteX11" fmla="*/ 359028 w 580619"/>
                <a:gd name="connsiteY11" fmla="*/ 475783 h 520661"/>
                <a:gd name="connsiteX12" fmla="*/ 319760 w 580619"/>
                <a:gd name="connsiteY12" fmla="*/ 481393 h 520661"/>
                <a:gd name="connsiteX13" fmla="*/ 241222 w 580619"/>
                <a:gd name="connsiteY13" fmla="*/ 487002 h 520661"/>
                <a:gd name="connsiteX14" fmla="*/ 190734 w 580619"/>
                <a:gd name="connsiteY14" fmla="*/ 503832 h 520661"/>
                <a:gd name="connsiteX15" fmla="*/ 157075 w 580619"/>
                <a:gd name="connsiteY15" fmla="*/ 515051 h 520661"/>
                <a:gd name="connsiteX16" fmla="*/ 134636 w 580619"/>
                <a:gd name="connsiteY16" fmla="*/ 520661 h 520661"/>
                <a:gd name="connsiteX17" fmla="*/ 117806 w 580619"/>
                <a:gd name="connsiteY17" fmla="*/ 515051 h 520661"/>
                <a:gd name="connsiteX18" fmla="*/ 95367 w 580619"/>
                <a:gd name="connsiteY18" fmla="*/ 509442 h 520661"/>
                <a:gd name="connsiteX19" fmla="*/ 44879 w 580619"/>
                <a:gd name="connsiteY19" fmla="*/ 492612 h 520661"/>
                <a:gd name="connsiteX20" fmla="*/ 11220 w 580619"/>
                <a:gd name="connsiteY20" fmla="*/ 475783 h 520661"/>
                <a:gd name="connsiteX21" fmla="*/ 5610 w 580619"/>
                <a:gd name="connsiteY21" fmla="*/ 475783 h 520661"/>
                <a:gd name="connsiteX22" fmla="*/ 0 w 580619"/>
                <a:gd name="connsiteY22" fmla="*/ 21388 h 520661"/>
                <a:gd name="connsiteX0" fmla="*/ 0 w 572201"/>
                <a:gd name="connsiteY0" fmla="*/ 21388 h 520661"/>
                <a:gd name="connsiteX1" fmla="*/ 0 w 572201"/>
                <a:gd name="connsiteY1" fmla="*/ 21388 h 520661"/>
                <a:gd name="connsiteX2" fmla="*/ 523043 w 572201"/>
                <a:gd name="connsiteY2" fmla="*/ 0 h 520661"/>
                <a:gd name="connsiteX3" fmla="*/ 566592 w 572201"/>
                <a:gd name="connsiteY3" fmla="*/ 133584 h 520661"/>
                <a:gd name="connsiteX4" fmla="*/ 572201 w 572201"/>
                <a:gd name="connsiteY4" fmla="*/ 150413 h 520661"/>
                <a:gd name="connsiteX5" fmla="*/ 566592 w 572201"/>
                <a:gd name="connsiteY5" fmla="*/ 212121 h 520661"/>
                <a:gd name="connsiteX6" fmla="*/ 555372 w 572201"/>
                <a:gd name="connsiteY6" fmla="*/ 285049 h 520661"/>
                <a:gd name="connsiteX7" fmla="*/ 544152 w 572201"/>
                <a:gd name="connsiteY7" fmla="*/ 402855 h 520661"/>
                <a:gd name="connsiteX8" fmla="*/ 549762 w 572201"/>
                <a:gd name="connsiteY8" fmla="*/ 453343 h 520661"/>
                <a:gd name="connsiteX9" fmla="*/ 566592 w 572201"/>
                <a:gd name="connsiteY9" fmla="*/ 464563 h 520661"/>
                <a:gd name="connsiteX10" fmla="*/ 549762 w 572201"/>
                <a:gd name="connsiteY10" fmla="*/ 475783 h 520661"/>
                <a:gd name="connsiteX11" fmla="*/ 359028 w 572201"/>
                <a:gd name="connsiteY11" fmla="*/ 475783 h 520661"/>
                <a:gd name="connsiteX12" fmla="*/ 319760 w 572201"/>
                <a:gd name="connsiteY12" fmla="*/ 481393 h 520661"/>
                <a:gd name="connsiteX13" fmla="*/ 241222 w 572201"/>
                <a:gd name="connsiteY13" fmla="*/ 487002 h 520661"/>
                <a:gd name="connsiteX14" fmla="*/ 190734 w 572201"/>
                <a:gd name="connsiteY14" fmla="*/ 503832 h 520661"/>
                <a:gd name="connsiteX15" fmla="*/ 157075 w 572201"/>
                <a:gd name="connsiteY15" fmla="*/ 515051 h 520661"/>
                <a:gd name="connsiteX16" fmla="*/ 134636 w 572201"/>
                <a:gd name="connsiteY16" fmla="*/ 520661 h 520661"/>
                <a:gd name="connsiteX17" fmla="*/ 117806 w 572201"/>
                <a:gd name="connsiteY17" fmla="*/ 515051 h 520661"/>
                <a:gd name="connsiteX18" fmla="*/ 95367 w 572201"/>
                <a:gd name="connsiteY18" fmla="*/ 509442 h 520661"/>
                <a:gd name="connsiteX19" fmla="*/ 44879 w 572201"/>
                <a:gd name="connsiteY19" fmla="*/ 492612 h 520661"/>
                <a:gd name="connsiteX20" fmla="*/ 11220 w 572201"/>
                <a:gd name="connsiteY20" fmla="*/ 475783 h 520661"/>
                <a:gd name="connsiteX21" fmla="*/ 5610 w 572201"/>
                <a:gd name="connsiteY21" fmla="*/ 475783 h 520661"/>
                <a:gd name="connsiteX22" fmla="*/ 0 w 572201"/>
                <a:gd name="connsiteY22" fmla="*/ 21388 h 520661"/>
                <a:gd name="connsiteX0" fmla="*/ 0 w 572201"/>
                <a:gd name="connsiteY0" fmla="*/ 76156 h 575429"/>
                <a:gd name="connsiteX1" fmla="*/ 0 w 572201"/>
                <a:gd name="connsiteY1" fmla="*/ 76156 h 575429"/>
                <a:gd name="connsiteX2" fmla="*/ 561143 w 572201"/>
                <a:gd name="connsiteY2" fmla="*/ 0 h 575429"/>
                <a:gd name="connsiteX3" fmla="*/ 566592 w 572201"/>
                <a:gd name="connsiteY3" fmla="*/ 188352 h 575429"/>
                <a:gd name="connsiteX4" fmla="*/ 572201 w 572201"/>
                <a:gd name="connsiteY4" fmla="*/ 205181 h 575429"/>
                <a:gd name="connsiteX5" fmla="*/ 566592 w 572201"/>
                <a:gd name="connsiteY5" fmla="*/ 266889 h 575429"/>
                <a:gd name="connsiteX6" fmla="*/ 555372 w 572201"/>
                <a:gd name="connsiteY6" fmla="*/ 339817 h 575429"/>
                <a:gd name="connsiteX7" fmla="*/ 544152 w 572201"/>
                <a:gd name="connsiteY7" fmla="*/ 457623 h 575429"/>
                <a:gd name="connsiteX8" fmla="*/ 549762 w 572201"/>
                <a:gd name="connsiteY8" fmla="*/ 508111 h 575429"/>
                <a:gd name="connsiteX9" fmla="*/ 566592 w 572201"/>
                <a:gd name="connsiteY9" fmla="*/ 519331 h 575429"/>
                <a:gd name="connsiteX10" fmla="*/ 549762 w 572201"/>
                <a:gd name="connsiteY10" fmla="*/ 530551 h 575429"/>
                <a:gd name="connsiteX11" fmla="*/ 359028 w 572201"/>
                <a:gd name="connsiteY11" fmla="*/ 530551 h 575429"/>
                <a:gd name="connsiteX12" fmla="*/ 319760 w 572201"/>
                <a:gd name="connsiteY12" fmla="*/ 536161 h 575429"/>
                <a:gd name="connsiteX13" fmla="*/ 241222 w 572201"/>
                <a:gd name="connsiteY13" fmla="*/ 541770 h 575429"/>
                <a:gd name="connsiteX14" fmla="*/ 190734 w 572201"/>
                <a:gd name="connsiteY14" fmla="*/ 558600 h 575429"/>
                <a:gd name="connsiteX15" fmla="*/ 157075 w 572201"/>
                <a:gd name="connsiteY15" fmla="*/ 569819 h 575429"/>
                <a:gd name="connsiteX16" fmla="*/ 134636 w 572201"/>
                <a:gd name="connsiteY16" fmla="*/ 575429 h 575429"/>
                <a:gd name="connsiteX17" fmla="*/ 117806 w 572201"/>
                <a:gd name="connsiteY17" fmla="*/ 569819 h 575429"/>
                <a:gd name="connsiteX18" fmla="*/ 95367 w 572201"/>
                <a:gd name="connsiteY18" fmla="*/ 564210 h 575429"/>
                <a:gd name="connsiteX19" fmla="*/ 44879 w 572201"/>
                <a:gd name="connsiteY19" fmla="*/ 547380 h 575429"/>
                <a:gd name="connsiteX20" fmla="*/ 11220 w 572201"/>
                <a:gd name="connsiteY20" fmla="*/ 530551 h 575429"/>
                <a:gd name="connsiteX21" fmla="*/ 5610 w 572201"/>
                <a:gd name="connsiteY21" fmla="*/ 530551 h 575429"/>
                <a:gd name="connsiteX22" fmla="*/ 0 w 572201"/>
                <a:gd name="connsiteY22" fmla="*/ 76156 h 575429"/>
                <a:gd name="connsiteX0" fmla="*/ 0 w 606371"/>
                <a:gd name="connsiteY0" fmla="*/ 76156 h 575429"/>
                <a:gd name="connsiteX1" fmla="*/ 0 w 606371"/>
                <a:gd name="connsiteY1" fmla="*/ 76156 h 575429"/>
                <a:gd name="connsiteX2" fmla="*/ 561143 w 606371"/>
                <a:gd name="connsiteY2" fmla="*/ 0 h 575429"/>
                <a:gd name="connsiteX3" fmla="*/ 572201 w 606371"/>
                <a:gd name="connsiteY3" fmla="*/ 205181 h 575429"/>
                <a:gd name="connsiteX4" fmla="*/ 566592 w 606371"/>
                <a:gd name="connsiteY4" fmla="*/ 266889 h 575429"/>
                <a:gd name="connsiteX5" fmla="*/ 555372 w 606371"/>
                <a:gd name="connsiteY5" fmla="*/ 339817 h 575429"/>
                <a:gd name="connsiteX6" fmla="*/ 544152 w 606371"/>
                <a:gd name="connsiteY6" fmla="*/ 457623 h 575429"/>
                <a:gd name="connsiteX7" fmla="*/ 549762 w 606371"/>
                <a:gd name="connsiteY7" fmla="*/ 508111 h 575429"/>
                <a:gd name="connsiteX8" fmla="*/ 566592 w 606371"/>
                <a:gd name="connsiteY8" fmla="*/ 519331 h 575429"/>
                <a:gd name="connsiteX9" fmla="*/ 549762 w 606371"/>
                <a:gd name="connsiteY9" fmla="*/ 530551 h 575429"/>
                <a:gd name="connsiteX10" fmla="*/ 359028 w 606371"/>
                <a:gd name="connsiteY10" fmla="*/ 530551 h 575429"/>
                <a:gd name="connsiteX11" fmla="*/ 319760 w 606371"/>
                <a:gd name="connsiteY11" fmla="*/ 536161 h 575429"/>
                <a:gd name="connsiteX12" fmla="*/ 241222 w 606371"/>
                <a:gd name="connsiteY12" fmla="*/ 541770 h 575429"/>
                <a:gd name="connsiteX13" fmla="*/ 190734 w 606371"/>
                <a:gd name="connsiteY13" fmla="*/ 558600 h 575429"/>
                <a:gd name="connsiteX14" fmla="*/ 157075 w 606371"/>
                <a:gd name="connsiteY14" fmla="*/ 569819 h 575429"/>
                <a:gd name="connsiteX15" fmla="*/ 134636 w 606371"/>
                <a:gd name="connsiteY15" fmla="*/ 575429 h 575429"/>
                <a:gd name="connsiteX16" fmla="*/ 117806 w 606371"/>
                <a:gd name="connsiteY16" fmla="*/ 569819 h 575429"/>
                <a:gd name="connsiteX17" fmla="*/ 95367 w 606371"/>
                <a:gd name="connsiteY17" fmla="*/ 564210 h 575429"/>
                <a:gd name="connsiteX18" fmla="*/ 44879 w 606371"/>
                <a:gd name="connsiteY18" fmla="*/ 547380 h 575429"/>
                <a:gd name="connsiteX19" fmla="*/ 11220 w 606371"/>
                <a:gd name="connsiteY19" fmla="*/ 530551 h 575429"/>
                <a:gd name="connsiteX20" fmla="*/ 5610 w 606371"/>
                <a:gd name="connsiteY20" fmla="*/ 530551 h 575429"/>
                <a:gd name="connsiteX21" fmla="*/ 0 w 606371"/>
                <a:gd name="connsiteY21" fmla="*/ 76156 h 575429"/>
                <a:gd name="connsiteX0" fmla="*/ 0 w 604801"/>
                <a:gd name="connsiteY0" fmla="*/ 76156 h 575429"/>
                <a:gd name="connsiteX1" fmla="*/ 0 w 604801"/>
                <a:gd name="connsiteY1" fmla="*/ 76156 h 575429"/>
                <a:gd name="connsiteX2" fmla="*/ 561143 w 604801"/>
                <a:gd name="connsiteY2" fmla="*/ 0 h 575429"/>
                <a:gd name="connsiteX3" fmla="*/ 566592 w 604801"/>
                <a:gd name="connsiteY3" fmla="*/ 266889 h 575429"/>
                <a:gd name="connsiteX4" fmla="*/ 555372 w 604801"/>
                <a:gd name="connsiteY4" fmla="*/ 339817 h 575429"/>
                <a:gd name="connsiteX5" fmla="*/ 544152 w 604801"/>
                <a:gd name="connsiteY5" fmla="*/ 457623 h 575429"/>
                <a:gd name="connsiteX6" fmla="*/ 549762 w 604801"/>
                <a:gd name="connsiteY6" fmla="*/ 508111 h 575429"/>
                <a:gd name="connsiteX7" fmla="*/ 566592 w 604801"/>
                <a:gd name="connsiteY7" fmla="*/ 519331 h 575429"/>
                <a:gd name="connsiteX8" fmla="*/ 549762 w 604801"/>
                <a:gd name="connsiteY8" fmla="*/ 530551 h 575429"/>
                <a:gd name="connsiteX9" fmla="*/ 359028 w 604801"/>
                <a:gd name="connsiteY9" fmla="*/ 530551 h 575429"/>
                <a:gd name="connsiteX10" fmla="*/ 319760 w 604801"/>
                <a:gd name="connsiteY10" fmla="*/ 536161 h 575429"/>
                <a:gd name="connsiteX11" fmla="*/ 241222 w 604801"/>
                <a:gd name="connsiteY11" fmla="*/ 541770 h 575429"/>
                <a:gd name="connsiteX12" fmla="*/ 190734 w 604801"/>
                <a:gd name="connsiteY12" fmla="*/ 558600 h 575429"/>
                <a:gd name="connsiteX13" fmla="*/ 157075 w 604801"/>
                <a:gd name="connsiteY13" fmla="*/ 569819 h 575429"/>
                <a:gd name="connsiteX14" fmla="*/ 134636 w 604801"/>
                <a:gd name="connsiteY14" fmla="*/ 575429 h 575429"/>
                <a:gd name="connsiteX15" fmla="*/ 117806 w 604801"/>
                <a:gd name="connsiteY15" fmla="*/ 569819 h 575429"/>
                <a:gd name="connsiteX16" fmla="*/ 95367 w 604801"/>
                <a:gd name="connsiteY16" fmla="*/ 564210 h 575429"/>
                <a:gd name="connsiteX17" fmla="*/ 44879 w 604801"/>
                <a:gd name="connsiteY17" fmla="*/ 547380 h 575429"/>
                <a:gd name="connsiteX18" fmla="*/ 11220 w 604801"/>
                <a:gd name="connsiteY18" fmla="*/ 530551 h 575429"/>
                <a:gd name="connsiteX19" fmla="*/ 5610 w 604801"/>
                <a:gd name="connsiteY19" fmla="*/ 530551 h 575429"/>
                <a:gd name="connsiteX20" fmla="*/ 0 w 604801"/>
                <a:gd name="connsiteY20" fmla="*/ 76156 h 575429"/>
                <a:gd name="connsiteX0" fmla="*/ 0 w 601435"/>
                <a:gd name="connsiteY0" fmla="*/ 76156 h 575429"/>
                <a:gd name="connsiteX1" fmla="*/ 0 w 601435"/>
                <a:gd name="connsiteY1" fmla="*/ 76156 h 575429"/>
                <a:gd name="connsiteX2" fmla="*/ 561143 w 601435"/>
                <a:gd name="connsiteY2" fmla="*/ 0 h 575429"/>
                <a:gd name="connsiteX3" fmla="*/ 555372 w 601435"/>
                <a:gd name="connsiteY3" fmla="*/ 339817 h 575429"/>
                <a:gd name="connsiteX4" fmla="*/ 544152 w 601435"/>
                <a:gd name="connsiteY4" fmla="*/ 457623 h 575429"/>
                <a:gd name="connsiteX5" fmla="*/ 549762 w 601435"/>
                <a:gd name="connsiteY5" fmla="*/ 508111 h 575429"/>
                <a:gd name="connsiteX6" fmla="*/ 566592 w 601435"/>
                <a:gd name="connsiteY6" fmla="*/ 519331 h 575429"/>
                <a:gd name="connsiteX7" fmla="*/ 549762 w 601435"/>
                <a:gd name="connsiteY7" fmla="*/ 530551 h 575429"/>
                <a:gd name="connsiteX8" fmla="*/ 359028 w 601435"/>
                <a:gd name="connsiteY8" fmla="*/ 530551 h 575429"/>
                <a:gd name="connsiteX9" fmla="*/ 319760 w 601435"/>
                <a:gd name="connsiteY9" fmla="*/ 536161 h 575429"/>
                <a:gd name="connsiteX10" fmla="*/ 241222 w 601435"/>
                <a:gd name="connsiteY10" fmla="*/ 541770 h 575429"/>
                <a:gd name="connsiteX11" fmla="*/ 190734 w 601435"/>
                <a:gd name="connsiteY11" fmla="*/ 558600 h 575429"/>
                <a:gd name="connsiteX12" fmla="*/ 157075 w 601435"/>
                <a:gd name="connsiteY12" fmla="*/ 569819 h 575429"/>
                <a:gd name="connsiteX13" fmla="*/ 134636 w 601435"/>
                <a:gd name="connsiteY13" fmla="*/ 575429 h 575429"/>
                <a:gd name="connsiteX14" fmla="*/ 117806 w 601435"/>
                <a:gd name="connsiteY14" fmla="*/ 569819 h 575429"/>
                <a:gd name="connsiteX15" fmla="*/ 95367 w 601435"/>
                <a:gd name="connsiteY15" fmla="*/ 564210 h 575429"/>
                <a:gd name="connsiteX16" fmla="*/ 44879 w 601435"/>
                <a:gd name="connsiteY16" fmla="*/ 547380 h 575429"/>
                <a:gd name="connsiteX17" fmla="*/ 11220 w 601435"/>
                <a:gd name="connsiteY17" fmla="*/ 530551 h 575429"/>
                <a:gd name="connsiteX18" fmla="*/ 5610 w 601435"/>
                <a:gd name="connsiteY18" fmla="*/ 530551 h 575429"/>
                <a:gd name="connsiteX19" fmla="*/ 0 w 601435"/>
                <a:gd name="connsiteY19" fmla="*/ 76156 h 575429"/>
                <a:gd name="connsiteX0" fmla="*/ 0 w 597826"/>
                <a:gd name="connsiteY0" fmla="*/ 76156 h 575429"/>
                <a:gd name="connsiteX1" fmla="*/ 0 w 597826"/>
                <a:gd name="connsiteY1" fmla="*/ 76156 h 575429"/>
                <a:gd name="connsiteX2" fmla="*/ 561143 w 597826"/>
                <a:gd name="connsiteY2" fmla="*/ 0 h 575429"/>
                <a:gd name="connsiteX3" fmla="*/ 544152 w 597826"/>
                <a:gd name="connsiteY3" fmla="*/ 457623 h 575429"/>
                <a:gd name="connsiteX4" fmla="*/ 549762 w 597826"/>
                <a:gd name="connsiteY4" fmla="*/ 508111 h 575429"/>
                <a:gd name="connsiteX5" fmla="*/ 566592 w 597826"/>
                <a:gd name="connsiteY5" fmla="*/ 519331 h 575429"/>
                <a:gd name="connsiteX6" fmla="*/ 549762 w 597826"/>
                <a:gd name="connsiteY6" fmla="*/ 530551 h 575429"/>
                <a:gd name="connsiteX7" fmla="*/ 359028 w 597826"/>
                <a:gd name="connsiteY7" fmla="*/ 530551 h 575429"/>
                <a:gd name="connsiteX8" fmla="*/ 319760 w 597826"/>
                <a:gd name="connsiteY8" fmla="*/ 536161 h 575429"/>
                <a:gd name="connsiteX9" fmla="*/ 241222 w 597826"/>
                <a:gd name="connsiteY9" fmla="*/ 541770 h 575429"/>
                <a:gd name="connsiteX10" fmla="*/ 190734 w 597826"/>
                <a:gd name="connsiteY10" fmla="*/ 558600 h 575429"/>
                <a:gd name="connsiteX11" fmla="*/ 157075 w 597826"/>
                <a:gd name="connsiteY11" fmla="*/ 569819 h 575429"/>
                <a:gd name="connsiteX12" fmla="*/ 134636 w 597826"/>
                <a:gd name="connsiteY12" fmla="*/ 575429 h 575429"/>
                <a:gd name="connsiteX13" fmla="*/ 117806 w 597826"/>
                <a:gd name="connsiteY13" fmla="*/ 569819 h 575429"/>
                <a:gd name="connsiteX14" fmla="*/ 95367 w 597826"/>
                <a:gd name="connsiteY14" fmla="*/ 564210 h 575429"/>
                <a:gd name="connsiteX15" fmla="*/ 44879 w 597826"/>
                <a:gd name="connsiteY15" fmla="*/ 547380 h 575429"/>
                <a:gd name="connsiteX16" fmla="*/ 11220 w 597826"/>
                <a:gd name="connsiteY16" fmla="*/ 530551 h 575429"/>
                <a:gd name="connsiteX17" fmla="*/ 5610 w 597826"/>
                <a:gd name="connsiteY17" fmla="*/ 530551 h 575429"/>
                <a:gd name="connsiteX18" fmla="*/ 0 w 597826"/>
                <a:gd name="connsiteY18" fmla="*/ 76156 h 575429"/>
                <a:gd name="connsiteX0" fmla="*/ 0 w 598933"/>
                <a:gd name="connsiteY0" fmla="*/ 76156 h 575429"/>
                <a:gd name="connsiteX1" fmla="*/ 0 w 598933"/>
                <a:gd name="connsiteY1" fmla="*/ 76156 h 575429"/>
                <a:gd name="connsiteX2" fmla="*/ 561143 w 598933"/>
                <a:gd name="connsiteY2" fmla="*/ 0 h 575429"/>
                <a:gd name="connsiteX3" fmla="*/ 549762 w 598933"/>
                <a:gd name="connsiteY3" fmla="*/ 508111 h 575429"/>
                <a:gd name="connsiteX4" fmla="*/ 566592 w 598933"/>
                <a:gd name="connsiteY4" fmla="*/ 519331 h 575429"/>
                <a:gd name="connsiteX5" fmla="*/ 549762 w 598933"/>
                <a:gd name="connsiteY5" fmla="*/ 530551 h 575429"/>
                <a:gd name="connsiteX6" fmla="*/ 359028 w 598933"/>
                <a:gd name="connsiteY6" fmla="*/ 530551 h 575429"/>
                <a:gd name="connsiteX7" fmla="*/ 319760 w 598933"/>
                <a:gd name="connsiteY7" fmla="*/ 536161 h 575429"/>
                <a:gd name="connsiteX8" fmla="*/ 241222 w 598933"/>
                <a:gd name="connsiteY8" fmla="*/ 541770 h 575429"/>
                <a:gd name="connsiteX9" fmla="*/ 190734 w 598933"/>
                <a:gd name="connsiteY9" fmla="*/ 558600 h 575429"/>
                <a:gd name="connsiteX10" fmla="*/ 157075 w 598933"/>
                <a:gd name="connsiteY10" fmla="*/ 569819 h 575429"/>
                <a:gd name="connsiteX11" fmla="*/ 134636 w 598933"/>
                <a:gd name="connsiteY11" fmla="*/ 575429 h 575429"/>
                <a:gd name="connsiteX12" fmla="*/ 117806 w 598933"/>
                <a:gd name="connsiteY12" fmla="*/ 569819 h 575429"/>
                <a:gd name="connsiteX13" fmla="*/ 95367 w 598933"/>
                <a:gd name="connsiteY13" fmla="*/ 564210 h 575429"/>
                <a:gd name="connsiteX14" fmla="*/ 44879 w 598933"/>
                <a:gd name="connsiteY14" fmla="*/ 547380 h 575429"/>
                <a:gd name="connsiteX15" fmla="*/ 11220 w 598933"/>
                <a:gd name="connsiteY15" fmla="*/ 530551 h 575429"/>
                <a:gd name="connsiteX16" fmla="*/ 5610 w 598933"/>
                <a:gd name="connsiteY16" fmla="*/ 530551 h 575429"/>
                <a:gd name="connsiteX17" fmla="*/ 0 w 598933"/>
                <a:gd name="connsiteY17" fmla="*/ 76156 h 575429"/>
                <a:gd name="connsiteX0" fmla="*/ 0 w 605023"/>
                <a:gd name="connsiteY0" fmla="*/ 76156 h 575429"/>
                <a:gd name="connsiteX1" fmla="*/ 0 w 605023"/>
                <a:gd name="connsiteY1" fmla="*/ 76156 h 575429"/>
                <a:gd name="connsiteX2" fmla="*/ 561143 w 605023"/>
                <a:gd name="connsiteY2" fmla="*/ 0 h 575429"/>
                <a:gd name="connsiteX3" fmla="*/ 566592 w 605023"/>
                <a:gd name="connsiteY3" fmla="*/ 519331 h 575429"/>
                <a:gd name="connsiteX4" fmla="*/ 549762 w 605023"/>
                <a:gd name="connsiteY4" fmla="*/ 530551 h 575429"/>
                <a:gd name="connsiteX5" fmla="*/ 359028 w 605023"/>
                <a:gd name="connsiteY5" fmla="*/ 530551 h 575429"/>
                <a:gd name="connsiteX6" fmla="*/ 319760 w 605023"/>
                <a:gd name="connsiteY6" fmla="*/ 536161 h 575429"/>
                <a:gd name="connsiteX7" fmla="*/ 241222 w 605023"/>
                <a:gd name="connsiteY7" fmla="*/ 541770 h 575429"/>
                <a:gd name="connsiteX8" fmla="*/ 190734 w 605023"/>
                <a:gd name="connsiteY8" fmla="*/ 558600 h 575429"/>
                <a:gd name="connsiteX9" fmla="*/ 157075 w 605023"/>
                <a:gd name="connsiteY9" fmla="*/ 569819 h 575429"/>
                <a:gd name="connsiteX10" fmla="*/ 134636 w 605023"/>
                <a:gd name="connsiteY10" fmla="*/ 575429 h 575429"/>
                <a:gd name="connsiteX11" fmla="*/ 117806 w 605023"/>
                <a:gd name="connsiteY11" fmla="*/ 569819 h 575429"/>
                <a:gd name="connsiteX12" fmla="*/ 95367 w 605023"/>
                <a:gd name="connsiteY12" fmla="*/ 564210 h 575429"/>
                <a:gd name="connsiteX13" fmla="*/ 44879 w 605023"/>
                <a:gd name="connsiteY13" fmla="*/ 547380 h 575429"/>
                <a:gd name="connsiteX14" fmla="*/ 11220 w 605023"/>
                <a:gd name="connsiteY14" fmla="*/ 530551 h 575429"/>
                <a:gd name="connsiteX15" fmla="*/ 5610 w 605023"/>
                <a:gd name="connsiteY15" fmla="*/ 530551 h 575429"/>
                <a:gd name="connsiteX16" fmla="*/ 0 w 605023"/>
                <a:gd name="connsiteY16" fmla="*/ 76156 h 575429"/>
                <a:gd name="connsiteX0" fmla="*/ 0 w 605023"/>
                <a:gd name="connsiteY0" fmla="*/ 76156 h 575429"/>
                <a:gd name="connsiteX1" fmla="*/ 0 w 605023"/>
                <a:gd name="connsiteY1" fmla="*/ 76156 h 575429"/>
                <a:gd name="connsiteX2" fmla="*/ 561143 w 605023"/>
                <a:gd name="connsiteY2" fmla="*/ 0 h 575429"/>
                <a:gd name="connsiteX3" fmla="*/ 566592 w 605023"/>
                <a:gd name="connsiteY3" fmla="*/ 519331 h 575429"/>
                <a:gd name="connsiteX4" fmla="*/ 359028 w 605023"/>
                <a:gd name="connsiteY4" fmla="*/ 530551 h 575429"/>
                <a:gd name="connsiteX5" fmla="*/ 319760 w 605023"/>
                <a:gd name="connsiteY5" fmla="*/ 536161 h 575429"/>
                <a:gd name="connsiteX6" fmla="*/ 241222 w 605023"/>
                <a:gd name="connsiteY6" fmla="*/ 541770 h 575429"/>
                <a:gd name="connsiteX7" fmla="*/ 190734 w 605023"/>
                <a:gd name="connsiteY7" fmla="*/ 558600 h 575429"/>
                <a:gd name="connsiteX8" fmla="*/ 157075 w 605023"/>
                <a:gd name="connsiteY8" fmla="*/ 569819 h 575429"/>
                <a:gd name="connsiteX9" fmla="*/ 134636 w 605023"/>
                <a:gd name="connsiteY9" fmla="*/ 575429 h 575429"/>
                <a:gd name="connsiteX10" fmla="*/ 117806 w 605023"/>
                <a:gd name="connsiteY10" fmla="*/ 569819 h 575429"/>
                <a:gd name="connsiteX11" fmla="*/ 95367 w 605023"/>
                <a:gd name="connsiteY11" fmla="*/ 564210 h 575429"/>
                <a:gd name="connsiteX12" fmla="*/ 44879 w 605023"/>
                <a:gd name="connsiteY12" fmla="*/ 547380 h 575429"/>
                <a:gd name="connsiteX13" fmla="*/ 11220 w 605023"/>
                <a:gd name="connsiteY13" fmla="*/ 530551 h 575429"/>
                <a:gd name="connsiteX14" fmla="*/ 5610 w 605023"/>
                <a:gd name="connsiteY14" fmla="*/ 530551 h 575429"/>
                <a:gd name="connsiteX15" fmla="*/ 0 w 605023"/>
                <a:gd name="connsiteY15" fmla="*/ 76156 h 575429"/>
                <a:gd name="connsiteX0" fmla="*/ 0 w 605023"/>
                <a:gd name="connsiteY0" fmla="*/ 76156 h 575429"/>
                <a:gd name="connsiteX1" fmla="*/ 0 w 605023"/>
                <a:gd name="connsiteY1" fmla="*/ 76156 h 575429"/>
                <a:gd name="connsiteX2" fmla="*/ 561143 w 605023"/>
                <a:gd name="connsiteY2" fmla="*/ 0 h 575429"/>
                <a:gd name="connsiteX3" fmla="*/ 566592 w 605023"/>
                <a:gd name="connsiteY3" fmla="*/ 519331 h 575429"/>
                <a:gd name="connsiteX4" fmla="*/ 319760 w 605023"/>
                <a:gd name="connsiteY4" fmla="*/ 536161 h 575429"/>
                <a:gd name="connsiteX5" fmla="*/ 241222 w 605023"/>
                <a:gd name="connsiteY5" fmla="*/ 541770 h 575429"/>
                <a:gd name="connsiteX6" fmla="*/ 190734 w 605023"/>
                <a:gd name="connsiteY6" fmla="*/ 558600 h 575429"/>
                <a:gd name="connsiteX7" fmla="*/ 157075 w 605023"/>
                <a:gd name="connsiteY7" fmla="*/ 569819 h 575429"/>
                <a:gd name="connsiteX8" fmla="*/ 134636 w 605023"/>
                <a:gd name="connsiteY8" fmla="*/ 575429 h 575429"/>
                <a:gd name="connsiteX9" fmla="*/ 117806 w 605023"/>
                <a:gd name="connsiteY9" fmla="*/ 569819 h 575429"/>
                <a:gd name="connsiteX10" fmla="*/ 95367 w 605023"/>
                <a:gd name="connsiteY10" fmla="*/ 564210 h 575429"/>
                <a:gd name="connsiteX11" fmla="*/ 44879 w 605023"/>
                <a:gd name="connsiteY11" fmla="*/ 547380 h 575429"/>
                <a:gd name="connsiteX12" fmla="*/ 11220 w 605023"/>
                <a:gd name="connsiteY12" fmla="*/ 530551 h 575429"/>
                <a:gd name="connsiteX13" fmla="*/ 5610 w 605023"/>
                <a:gd name="connsiteY13" fmla="*/ 530551 h 575429"/>
                <a:gd name="connsiteX14" fmla="*/ 0 w 605023"/>
                <a:gd name="connsiteY14" fmla="*/ 76156 h 575429"/>
                <a:gd name="connsiteX0" fmla="*/ 0 w 605023"/>
                <a:gd name="connsiteY0" fmla="*/ 76156 h 575429"/>
                <a:gd name="connsiteX1" fmla="*/ 0 w 605023"/>
                <a:gd name="connsiteY1" fmla="*/ 76156 h 575429"/>
                <a:gd name="connsiteX2" fmla="*/ 561143 w 605023"/>
                <a:gd name="connsiteY2" fmla="*/ 0 h 575429"/>
                <a:gd name="connsiteX3" fmla="*/ 566592 w 605023"/>
                <a:gd name="connsiteY3" fmla="*/ 519331 h 575429"/>
                <a:gd name="connsiteX4" fmla="*/ 241222 w 605023"/>
                <a:gd name="connsiteY4" fmla="*/ 541770 h 575429"/>
                <a:gd name="connsiteX5" fmla="*/ 190734 w 605023"/>
                <a:gd name="connsiteY5" fmla="*/ 558600 h 575429"/>
                <a:gd name="connsiteX6" fmla="*/ 157075 w 605023"/>
                <a:gd name="connsiteY6" fmla="*/ 569819 h 575429"/>
                <a:gd name="connsiteX7" fmla="*/ 134636 w 605023"/>
                <a:gd name="connsiteY7" fmla="*/ 575429 h 575429"/>
                <a:gd name="connsiteX8" fmla="*/ 117806 w 605023"/>
                <a:gd name="connsiteY8" fmla="*/ 569819 h 575429"/>
                <a:gd name="connsiteX9" fmla="*/ 95367 w 605023"/>
                <a:gd name="connsiteY9" fmla="*/ 564210 h 575429"/>
                <a:gd name="connsiteX10" fmla="*/ 44879 w 605023"/>
                <a:gd name="connsiteY10" fmla="*/ 547380 h 575429"/>
                <a:gd name="connsiteX11" fmla="*/ 11220 w 605023"/>
                <a:gd name="connsiteY11" fmla="*/ 530551 h 575429"/>
                <a:gd name="connsiteX12" fmla="*/ 5610 w 605023"/>
                <a:gd name="connsiteY12" fmla="*/ 530551 h 575429"/>
                <a:gd name="connsiteX13" fmla="*/ 0 w 605023"/>
                <a:gd name="connsiteY13" fmla="*/ 76156 h 575429"/>
                <a:gd name="connsiteX0" fmla="*/ 0 w 605023"/>
                <a:gd name="connsiteY0" fmla="*/ 76156 h 575429"/>
                <a:gd name="connsiteX1" fmla="*/ 0 w 605023"/>
                <a:gd name="connsiteY1" fmla="*/ 76156 h 575429"/>
                <a:gd name="connsiteX2" fmla="*/ 561143 w 605023"/>
                <a:gd name="connsiteY2" fmla="*/ 0 h 575429"/>
                <a:gd name="connsiteX3" fmla="*/ 566592 w 605023"/>
                <a:gd name="connsiteY3" fmla="*/ 519331 h 575429"/>
                <a:gd name="connsiteX4" fmla="*/ 190734 w 605023"/>
                <a:gd name="connsiteY4" fmla="*/ 558600 h 575429"/>
                <a:gd name="connsiteX5" fmla="*/ 157075 w 605023"/>
                <a:gd name="connsiteY5" fmla="*/ 569819 h 575429"/>
                <a:gd name="connsiteX6" fmla="*/ 134636 w 605023"/>
                <a:gd name="connsiteY6" fmla="*/ 575429 h 575429"/>
                <a:gd name="connsiteX7" fmla="*/ 117806 w 605023"/>
                <a:gd name="connsiteY7" fmla="*/ 569819 h 575429"/>
                <a:gd name="connsiteX8" fmla="*/ 95367 w 605023"/>
                <a:gd name="connsiteY8" fmla="*/ 564210 h 575429"/>
                <a:gd name="connsiteX9" fmla="*/ 44879 w 605023"/>
                <a:gd name="connsiteY9" fmla="*/ 547380 h 575429"/>
                <a:gd name="connsiteX10" fmla="*/ 11220 w 605023"/>
                <a:gd name="connsiteY10" fmla="*/ 530551 h 575429"/>
                <a:gd name="connsiteX11" fmla="*/ 5610 w 605023"/>
                <a:gd name="connsiteY11" fmla="*/ 530551 h 575429"/>
                <a:gd name="connsiteX12" fmla="*/ 0 w 605023"/>
                <a:gd name="connsiteY12" fmla="*/ 76156 h 575429"/>
                <a:gd name="connsiteX0" fmla="*/ 0 w 605023"/>
                <a:gd name="connsiteY0" fmla="*/ 76156 h 576694"/>
                <a:gd name="connsiteX1" fmla="*/ 0 w 605023"/>
                <a:gd name="connsiteY1" fmla="*/ 76156 h 576694"/>
                <a:gd name="connsiteX2" fmla="*/ 561143 w 605023"/>
                <a:gd name="connsiteY2" fmla="*/ 0 h 576694"/>
                <a:gd name="connsiteX3" fmla="*/ 566592 w 605023"/>
                <a:gd name="connsiteY3" fmla="*/ 519331 h 576694"/>
                <a:gd name="connsiteX4" fmla="*/ 157075 w 605023"/>
                <a:gd name="connsiteY4" fmla="*/ 569819 h 576694"/>
                <a:gd name="connsiteX5" fmla="*/ 134636 w 605023"/>
                <a:gd name="connsiteY5" fmla="*/ 575429 h 576694"/>
                <a:gd name="connsiteX6" fmla="*/ 117806 w 605023"/>
                <a:gd name="connsiteY6" fmla="*/ 569819 h 576694"/>
                <a:gd name="connsiteX7" fmla="*/ 95367 w 605023"/>
                <a:gd name="connsiteY7" fmla="*/ 564210 h 576694"/>
                <a:gd name="connsiteX8" fmla="*/ 44879 w 605023"/>
                <a:gd name="connsiteY8" fmla="*/ 547380 h 576694"/>
                <a:gd name="connsiteX9" fmla="*/ 11220 w 605023"/>
                <a:gd name="connsiteY9" fmla="*/ 530551 h 576694"/>
                <a:gd name="connsiteX10" fmla="*/ 5610 w 605023"/>
                <a:gd name="connsiteY10" fmla="*/ 530551 h 576694"/>
                <a:gd name="connsiteX11" fmla="*/ 0 w 605023"/>
                <a:gd name="connsiteY11" fmla="*/ 76156 h 576694"/>
                <a:gd name="connsiteX0" fmla="*/ 0 w 605023"/>
                <a:gd name="connsiteY0" fmla="*/ 76156 h 580257"/>
                <a:gd name="connsiteX1" fmla="*/ 0 w 605023"/>
                <a:gd name="connsiteY1" fmla="*/ 76156 h 580257"/>
                <a:gd name="connsiteX2" fmla="*/ 561143 w 605023"/>
                <a:gd name="connsiteY2" fmla="*/ 0 h 580257"/>
                <a:gd name="connsiteX3" fmla="*/ 566592 w 605023"/>
                <a:gd name="connsiteY3" fmla="*/ 519331 h 580257"/>
                <a:gd name="connsiteX4" fmla="*/ 134636 w 605023"/>
                <a:gd name="connsiteY4" fmla="*/ 575429 h 580257"/>
                <a:gd name="connsiteX5" fmla="*/ 117806 w 605023"/>
                <a:gd name="connsiteY5" fmla="*/ 569819 h 580257"/>
                <a:gd name="connsiteX6" fmla="*/ 95367 w 605023"/>
                <a:gd name="connsiteY6" fmla="*/ 564210 h 580257"/>
                <a:gd name="connsiteX7" fmla="*/ 44879 w 605023"/>
                <a:gd name="connsiteY7" fmla="*/ 547380 h 580257"/>
                <a:gd name="connsiteX8" fmla="*/ 11220 w 605023"/>
                <a:gd name="connsiteY8" fmla="*/ 530551 h 580257"/>
                <a:gd name="connsiteX9" fmla="*/ 5610 w 605023"/>
                <a:gd name="connsiteY9" fmla="*/ 530551 h 580257"/>
                <a:gd name="connsiteX10" fmla="*/ 0 w 605023"/>
                <a:gd name="connsiteY10" fmla="*/ 76156 h 580257"/>
                <a:gd name="connsiteX0" fmla="*/ 0 w 605023"/>
                <a:gd name="connsiteY0" fmla="*/ 76156 h 577386"/>
                <a:gd name="connsiteX1" fmla="*/ 0 w 605023"/>
                <a:gd name="connsiteY1" fmla="*/ 76156 h 577386"/>
                <a:gd name="connsiteX2" fmla="*/ 561143 w 605023"/>
                <a:gd name="connsiteY2" fmla="*/ 0 h 577386"/>
                <a:gd name="connsiteX3" fmla="*/ 566592 w 605023"/>
                <a:gd name="connsiteY3" fmla="*/ 519331 h 577386"/>
                <a:gd name="connsiteX4" fmla="*/ 117806 w 605023"/>
                <a:gd name="connsiteY4" fmla="*/ 569819 h 577386"/>
                <a:gd name="connsiteX5" fmla="*/ 95367 w 605023"/>
                <a:gd name="connsiteY5" fmla="*/ 564210 h 577386"/>
                <a:gd name="connsiteX6" fmla="*/ 44879 w 605023"/>
                <a:gd name="connsiteY6" fmla="*/ 547380 h 577386"/>
                <a:gd name="connsiteX7" fmla="*/ 11220 w 605023"/>
                <a:gd name="connsiteY7" fmla="*/ 530551 h 577386"/>
                <a:gd name="connsiteX8" fmla="*/ 5610 w 605023"/>
                <a:gd name="connsiteY8" fmla="*/ 530551 h 577386"/>
                <a:gd name="connsiteX9" fmla="*/ 0 w 605023"/>
                <a:gd name="connsiteY9" fmla="*/ 76156 h 577386"/>
                <a:gd name="connsiteX0" fmla="*/ 0 w 605023"/>
                <a:gd name="connsiteY0" fmla="*/ 76156 h 575361"/>
                <a:gd name="connsiteX1" fmla="*/ 0 w 605023"/>
                <a:gd name="connsiteY1" fmla="*/ 76156 h 575361"/>
                <a:gd name="connsiteX2" fmla="*/ 561143 w 605023"/>
                <a:gd name="connsiteY2" fmla="*/ 0 h 575361"/>
                <a:gd name="connsiteX3" fmla="*/ 566592 w 605023"/>
                <a:gd name="connsiteY3" fmla="*/ 519331 h 575361"/>
                <a:gd name="connsiteX4" fmla="*/ 95367 w 605023"/>
                <a:gd name="connsiteY4" fmla="*/ 564210 h 575361"/>
                <a:gd name="connsiteX5" fmla="*/ 44879 w 605023"/>
                <a:gd name="connsiteY5" fmla="*/ 547380 h 575361"/>
                <a:gd name="connsiteX6" fmla="*/ 11220 w 605023"/>
                <a:gd name="connsiteY6" fmla="*/ 530551 h 575361"/>
                <a:gd name="connsiteX7" fmla="*/ 5610 w 605023"/>
                <a:gd name="connsiteY7" fmla="*/ 530551 h 575361"/>
                <a:gd name="connsiteX8" fmla="*/ 0 w 605023"/>
                <a:gd name="connsiteY8" fmla="*/ 76156 h 575361"/>
                <a:gd name="connsiteX0" fmla="*/ 0 w 605023"/>
                <a:gd name="connsiteY0" fmla="*/ 76156 h 568118"/>
                <a:gd name="connsiteX1" fmla="*/ 0 w 605023"/>
                <a:gd name="connsiteY1" fmla="*/ 76156 h 568118"/>
                <a:gd name="connsiteX2" fmla="*/ 561143 w 605023"/>
                <a:gd name="connsiteY2" fmla="*/ 0 h 568118"/>
                <a:gd name="connsiteX3" fmla="*/ 566592 w 605023"/>
                <a:gd name="connsiteY3" fmla="*/ 519331 h 568118"/>
                <a:gd name="connsiteX4" fmla="*/ 44879 w 605023"/>
                <a:gd name="connsiteY4" fmla="*/ 547380 h 568118"/>
                <a:gd name="connsiteX5" fmla="*/ 11220 w 605023"/>
                <a:gd name="connsiteY5" fmla="*/ 530551 h 568118"/>
                <a:gd name="connsiteX6" fmla="*/ 5610 w 605023"/>
                <a:gd name="connsiteY6" fmla="*/ 530551 h 568118"/>
                <a:gd name="connsiteX7" fmla="*/ 0 w 605023"/>
                <a:gd name="connsiteY7" fmla="*/ 76156 h 568118"/>
                <a:gd name="connsiteX0" fmla="*/ 0 w 605023"/>
                <a:gd name="connsiteY0" fmla="*/ 76156 h 561297"/>
                <a:gd name="connsiteX1" fmla="*/ 0 w 605023"/>
                <a:gd name="connsiteY1" fmla="*/ 76156 h 561297"/>
                <a:gd name="connsiteX2" fmla="*/ 561143 w 605023"/>
                <a:gd name="connsiteY2" fmla="*/ 0 h 561297"/>
                <a:gd name="connsiteX3" fmla="*/ 566592 w 605023"/>
                <a:gd name="connsiteY3" fmla="*/ 519331 h 561297"/>
                <a:gd name="connsiteX4" fmla="*/ 11220 w 605023"/>
                <a:gd name="connsiteY4" fmla="*/ 530551 h 561297"/>
                <a:gd name="connsiteX5" fmla="*/ 5610 w 605023"/>
                <a:gd name="connsiteY5" fmla="*/ 530551 h 561297"/>
                <a:gd name="connsiteX6" fmla="*/ 0 w 605023"/>
                <a:gd name="connsiteY6" fmla="*/ 76156 h 561297"/>
                <a:gd name="connsiteX0" fmla="*/ 0 w 605023"/>
                <a:gd name="connsiteY0" fmla="*/ 76156 h 585834"/>
                <a:gd name="connsiteX1" fmla="*/ 0 w 605023"/>
                <a:gd name="connsiteY1" fmla="*/ 76156 h 585834"/>
                <a:gd name="connsiteX2" fmla="*/ 561143 w 605023"/>
                <a:gd name="connsiteY2" fmla="*/ 0 h 585834"/>
                <a:gd name="connsiteX3" fmla="*/ 566592 w 605023"/>
                <a:gd name="connsiteY3" fmla="*/ 519331 h 585834"/>
                <a:gd name="connsiteX4" fmla="*/ 5610 w 605023"/>
                <a:gd name="connsiteY4" fmla="*/ 530551 h 585834"/>
                <a:gd name="connsiteX5" fmla="*/ 0 w 605023"/>
                <a:gd name="connsiteY5" fmla="*/ 76156 h 585834"/>
                <a:gd name="connsiteX0" fmla="*/ 1534 w 636032"/>
                <a:gd name="connsiteY0" fmla="*/ 76156 h 584466"/>
                <a:gd name="connsiteX1" fmla="*/ 1534 w 636032"/>
                <a:gd name="connsiteY1" fmla="*/ 76156 h 584466"/>
                <a:gd name="connsiteX2" fmla="*/ 562677 w 636032"/>
                <a:gd name="connsiteY2" fmla="*/ 0 h 584466"/>
                <a:gd name="connsiteX3" fmla="*/ 568126 w 636032"/>
                <a:gd name="connsiteY3" fmla="*/ 519331 h 584466"/>
                <a:gd name="connsiteX4" fmla="*/ 0 w 636032"/>
                <a:gd name="connsiteY4" fmla="*/ 528170 h 584466"/>
                <a:gd name="connsiteX5" fmla="*/ 1534 w 636032"/>
                <a:gd name="connsiteY5" fmla="*/ 76156 h 584466"/>
                <a:gd name="connsiteX0" fmla="*/ 1534 w 636032"/>
                <a:gd name="connsiteY0" fmla="*/ 76156 h 560895"/>
                <a:gd name="connsiteX1" fmla="*/ 1534 w 636032"/>
                <a:gd name="connsiteY1" fmla="*/ 76156 h 560895"/>
                <a:gd name="connsiteX2" fmla="*/ 562677 w 636032"/>
                <a:gd name="connsiteY2" fmla="*/ 0 h 560895"/>
                <a:gd name="connsiteX3" fmla="*/ 568126 w 636032"/>
                <a:gd name="connsiteY3" fmla="*/ 519331 h 560895"/>
                <a:gd name="connsiteX4" fmla="*/ 0 w 636032"/>
                <a:gd name="connsiteY4" fmla="*/ 528170 h 560895"/>
                <a:gd name="connsiteX5" fmla="*/ 1534 w 636032"/>
                <a:gd name="connsiteY5" fmla="*/ 76156 h 560895"/>
                <a:gd name="connsiteX0" fmla="*/ 1534 w 605472"/>
                <a:gd name="connsiteY0" fmla="*/ 76156 h 560895"/>
                <a:gd name="connsiteX1" fmla="*/ 1534 w 605472"/>
                <a:gd name="connsiteY1" fmla="*/ 76156 h 560895"/>
                <a:gd name="connsiteX2" fmla="*/ 562677 w 605472"/>
                <a:gd name="connsiteY2" fmla="*/ 0 h 560895"/>
                <a:gd name="connsiteX3" fmla="*/ 568126 w 605472"/>
                <a:gd name="connsiteY3" fmla="*/ 519331 h 560895"/>
                <a:gd name="connsiteX4" fmla="*/ 0 w 605472"/>
                <a:gd name="connsiteY4" fmla="*/ 528170 h 560895"/>
                <a:gd name="connsiteX5" fmla="*/ 1534 w 605472"/>
                <a:gd name="connsiteY5" fmla="*/ 76156 h 560895"/>
                <a:gd name="connsiteX0" fmla="*/ 1534 w 605472"/>
                <a:gd name="connsiteY0" fmla="*/ 76156 h 528170"/>
                <a:gd name="connsiteX1" fmla="*/ 1534 w 605472"/>
                <a:gd name="connsiteY1" fmla="*/ 76156 h 528170"/>
                <a:gd name="connsiteX2" fmla="*/ 562677 w 605472"/>
                <a:gd name="connsiteY2" fmla="*/ 0 h 528170"/>
                <a:gd name="connsiteX3" fmla="*/ 568126 w 605472"/>
                <a:gd name="connsiteY3" fmla="*/ 519331 h 528170"/>
                <a:gd name="connsiteX4" fmla="*/ 0 w 605472"/>
                <a:gd name="connsiteY4" fmla="*/ 528170 h 528170"/>
                <a:gd name="connsiteX5" fmla="*/ 1534 w 605472"/>
                <a:gd name="connsiteY5" fmla="*/ 76156 h 528170"/>
                <a:gd name="connsiteX0" fmla="*/ 29 w 603967"/>
                <a:gd name="connsiteY0" fmla="*/ 76156 h 540076"/>
                <a:gd name="connsiteX1" fmla="*/ 29 w 603967"/>
                <a:gd name="connsiteY1" fmla="*/ 76156 h 540076"/>
                <a:gd name="connsiteX2" fmla="*/ 561172 w 603967"/>
                <a:gd name="connsiteY2" fmla="*/ 0 h 540076"/>
                <a:gd name="connsiteX3" fmla="*/ 566621 w 603967"/>
                <a:gd name="connsiteY3" fmla="*/ 519331 h 540076"/>
                <a:gd name="connsiteX4" fmla="*/ 5639 w 603967"/>
                <a:gd name="connsiteY4" fmla="*/ 540076 h 540076"/>
                <a:gd name="connsiteX5" fmla="*/ 29 w 603967"/>
                <a:gd name="connsiteY5" fmla="*/ 76156 h 540076"/>
                <a:gd name="connsiteX0" fmla="*/ 29 w 603967"/>
                <a:gd name="connsiteY0" fmla="*/ 76156 h 540076"/>
                <a:gd name="connsiteX1" fmla="*/ 29 w 603967"/>
                <a:gd name="connsiteY1" fmla="*/ 76156 h 540076"/>
                <a:gd name="connsiteX2" fmla="*/ 561172 w 603967"/>
                <a:gd name="connsiteY2" fmla="*/ 0 h 540076"/>
                <a:gd name="connsiteX3" fmla="*/ 566621 w 603967"/>
                <a:gd name="connsiteY3" fmla="*/ 519331 h 540076"/>
                <a:gd name="connsiteX4" fmla="*/ 5639 w 603967"/>
                <a:gd name="connsiteY4" fmla="*/ 540076 h 540076"/>
                <a:gd name="connsiteX5" fmla="*/ 29 w 603967"/>
                <a:gd name="connsiteY5" fmla="*/ 76156 h 540076"/>
                <a:gd name="connsiteX0" fmla="*/ 89 w 604027"/>
                <a:gd name="connsiteY0" fmla="*/ 76156 h 535314"/>
                <a:gd name="connsiteX1" fmla="*/ 89 w 604027"/>
                <a:gd name="connsiteY1" fmla="*/ 76156 h 535314"/>
                <a:gd name="connsiteX2" fmla="*/ 561232 w 604027"/>
                <a:gd name="connsiteY2" fmla="*/ 0 h 535314"/>
                <a:gd name="connsiteX3" fmla="*/ 566681 w 604027"/>
                <a:gd name="connsiteY3" fmla="*/ 519331 h 535314"/>
                <a:gd name="connsiteX4" fmla="*/ 937 w 604027"/>
                <a:gd name="connsiteY4" fmla="*/ 535314 h 535314"/>
                <a:gd name="connsiteX5" fmla="*/ 89 w 604027"/>
                <a:gd name="connsiteY5" fmla="*/ 76156 h 535314"/>
                <a:gd name="connsiteX0" fmla="*/ 89 w 604027"/>
                <a:gd name="connsiteY0" fmla="*/ 76156 h 535314"/>
                <a:gd name="connsiteX1" fmla="*/ 89 w 604027"/>
                <a:gd name="connsiteY1" fmla="*/ 76156 h 535314"/>
                <a:gd name="connsiteX2" fmla="*/ 561232 w 604027"/>
                <a:gd name="connsiteY2" fmla="*/ 0 h 535314"/>
                <a:gd name="connsiteX3" fmla="*/ 566681 w 604027"/>
                <a:gd name="connsiteY3" fmla="*/ 533618 h 535314"/>
                <a:gd name="connsiteX4" fmla="*/ 937 w 604027"/>
                <a:gd name="connsiteY4" fmla="*/ 535314 h 535314"/>
                <a:gd name="connsiteX5" fmla="*/ 89 w 604027"/>
                <a:gd name="connsiteY5" fmla="*/ 76156 h 535314"/>
                <a:gd name="connsiteX0" fmla="*/ 89 w 604027"/>
                <a:gd name="connsiteY0" fmla="*/ 76156 h 535314"/>
                <a:gd name="connsiteX1" fmla="*/ 89 w 604027"/>
                <a:gd name="connsiteY1" fmla="*/ 76156 h 535314"/>
                <a:gd name="connsiteX2" fmla="*/ 561232 w 604027"/>
                <a:gd name="connsiteY2" fmla="*/ 0 h 535314"/>
                <a:gd name="connsiteX3" fmla="*/ 566681 w 604027"/>
                <a:gd name="connsiteY3" fmla="*/ 533618 h 535314"/>
                <a:gd name="connsiteX4" fmla="*/ 937 w 604027"/>
                <a:gd name="connsiteY4" fmla="*/ 535314 h 535314"/>
                <a:gd name="connsiteX5" fmla="*/ 89 w 604027"/>
                <a:gd name="connsiteY5" fmla="*/ 76156 h 535314"/>
                <a:gd name="connsiteX0" fmla="*/ 89 w 566681"/>
                <a:gd name="connsiteY0" fmla="*/ 76156 h 535314"/>
                <a:gd name="connsiteX1" fmla="*/ 89 w 566681"/>
                <a:gd name="connsiteY1" fmla="*/ 76156 h 535314"/>
                <a:gd name="connsiteX2" fmla="*/ 561232 w 566681"/>
                <a:gd name="connsiteY2" fmla="*/ 0 h 535314"/>
                <a:gd name="connsiteX3" fmla="*/ 566681 w 566681"/>
                <a:gd name="connsiteY3" fmla="*/ 533618 h 535314"/>
                <a:gd name="connsiteX4" fmla="*/ 937 w 566681"/>
                <a:gd name="connsiteY4" fmla="*/ 535314 h 535314"/>
                <a:gd name="connsiteX5" fmla="*/ 89 w 566681"/>
                <a:gd name="connsiteY5" fmla="*/ 76156 h 535314"/>
                <a:gd name="connsiteX0" fmla="*/ 89 w 566681"/>
                <a:gd name="connsiteY0" fmla="*/ 76156 h 535314"/>
                <a:gd name="connsiteX1" fmla="*/ 89 w 566681"/>
                <a:gd name="connsiteY1" fmla="*/ 76156 h 535314"/>
                <a:gd name="connsiteX2" fmla="*/ 561232 w 566681"/>
                <a:gd name="connsiteY2" fmla="*/ 0 h 535314"/>
                <a:gd name="connsiteX3" fmla="*/ 566681 w 566681"/>
                <a:gd name="connsiteY3" fmla="*/ 533618 h 535314"/>
                <a:gd name="connsiteX4" fmla="*/ 937 w 566681"/>
                <a:gd name="connsiteY4" fmla="*/ 535314 h 535314"/>
                <a:gd name="connsiteX5" fmla="*/ 89 w 566681"/>
                <a:gd name="connsiteY5" fmla="*/ 76156 h 535314"/>
                <a:gd name="connsiteX0" fmla="*/ 89 w 566681"/>
                <a:gd name="connsiteY0" fmla="*/ 76156 h 535314"/>
                <a:gd name="connsiteX1" fmla="*/ 89 w 566681"/>
                <a:gd name="connsiteY1" fmla="*/ 76156 h 535314"/>
                <a:gd name="connsiteX2" fmla="*/ 561232 w 566681"/>
                <a:gd name="connsiteY2" fmla="*/ 0 h 535314"/>
                <a:gd name="connsiteX3" fmla="*/ 566681 w 566681"/>
                <a:gd name="connsiteY3" fmla="*/ 533618 h 535314"/>
                <a:gd name="connsiteX4" fmla="*/ 937 w 566681"/>
                <a:gd name="connsiteY4" fmla="*/ 535314 h 535314"/>
                <a:gd name="connsiteX5" fmla="*/ 89 w 566681"/>
                <a:gd name="connsiteY5" fmla="*/ 76156 h 535314"/>
                <a:gd name="connsiteX0" fmla="*/ 89 w 566681"/>
                <a:gd name="connsiteY0" fmla="*/ 76156 h 535314"/>
                <a:gd name="connsiteX1" fmla="*/ 89 w 566681"/>
                <a:gd name="connsiteY1" fmla="*/ 76156 h 535314"/>
                <a:gd name="connsiteX2" fmla="*/ 561232 w 566681"/>
                <a:gd name="connsiteY2" fmla="*/ 0 h 535314"/>
                <a:gd name="connsiteX3" fmla="*/ 566681 w 566681"/>
                <a:gd name="connsiteY3" fmla="*/ 533618 h 535314"/>
                <a:gd name="connsiteX4" fmla="*/ 937 w 566681"/>
                <a:gd name="connsiteY4" fmla="*/ 535314 h 535314"/>
                <a:gd name="connsiteX5" fmla="*/ 89 w 566681"/>
                <a:gd name="connsiteY5" fmla="*/ 76156 h 535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6681" h="535314">
                  <a:moveTo>
                    <a:pt x="89" y="76156"/>
                  </a:moveTo>
                  <a:lnTo>
                    <a:pt x="89" y="76156"/>
                  </a:lnTo>
                  <a:lnTo>
                    <a:pt x="561232" y="0"/>
                  </a:lnTo>
                  <a:cubicBezTo>
                    <a:pt x="565177" y="64337"/>
                    <a:pt x="563956" y="497790"/>
                    <a:pt x="566681" y="533618"/>
                  </a:cubicBezTo>
                  <a:cubicBezTo>
                    <a:pt x="540025" y="531802"/>
                    <a:pt x="189518" y="534749"/>
                    <a:pt x="937" y="535314"/>
                  </a:cubicBezTo>
                  <a:cubicBezTo>
                    <a:pt x="1448" y="508468"/>
                    <a:pt x="-422" y="226827"/>
                    <a:pt x="89" y="76156"/>
                  </a:cubicBezTo>
                  <a:close/>
                </a:path>
              </a:pathLst>
            </a:cu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32" name="Freeform 31"/>
            <p:cNvSpPr/>
            <p:nvPr/>
          </p:nvSpPr>
          <p:spPr bwMode="auto">
            <a:xfrm>
              <a:off x="8913813" y="4882032"/>
              <a:ext cx="739212" cy="647233"/>
            </a:xfrm>
            <a:custGeom>
              <a:avLst/>
              <a:gdLst>
                <a:gd name="connsiteX0" fmla="*/ 0 w 577811"/>
                <a:gd name="connsiteY0" fmla="*/ 96243 h 595516"/>
                <a:gd name="connsiteX1" fmla="*/ 0 w 577811"/>
                <a:gd name="connsiteY1" fmla="*/ 96243 h 595516"/>
                <a:gd name="connsiteX2" fmla="*/ 56098 w 577811"/>
                <a:gd name="connsiteY2" fmla="*/ 90633 h 595516"/>
                <a:gd name="connsiteX3" fmla="*/ 151465 w 577811"/>
                <a:gd name="connsiteY3" fmla="*/ 85023 h 595516"/>
                <a:gd name="connsiteX4" fmla="*/ 190734 w 577811"/>
                <a:gd name="connsiteY4" fmla="*/ 79413 h 595516"/>
                <a:gd name="connsiteX5" fmla="*/ 286101 w 577811"/>
                <a:gd name="connsiteY5" fmla="*/ 73803 h 595516"/>
                <a:gd name="connsiteX6" fmla="*/ 370248 w 577811"/>
                <a:gd name="connsiteY6" fmla="*/ 62584 h 595516"/>
                <a:gd name="connsiteX7" fmla="*/ 387077 w 577811"/>
                <a:gd name="connsiteY7" fmla="*/ 56974 h 595516"/>
                <a:gd name="connsiteX8" fmla="*/ 431956 w 577811"/>
                <a:gd name="connsiteY8" fmla="*/ 51364 h 595516"/>
                <a:gd name="connsiteX9" fmla="*/ 460005 w 577811"/>
                <a:gd name="connsiteY9" fmla="*/ 45754 h 595516"/>
                <a:gd name="connsiteX10" fmla="*/ 510493 w 577811"/>
                <a:gd name="connsiteY10" fmla="*/ 40144 h 595516"/>
                <a:gd name="connsiteX11" fmla="*/ 527323 w 577811"/>
                <a:gd name="connsiteY11" fmla="*/ 34535 h 595516"/>
                <a:gd name="connsiteX12" fmla="*/ 560982 w 577811"/>
                <a:gd name="connsiteY12" fmla="*/ 28925 h 595516"/>
                <a:gd name="connsiteX13" fmla="*/ 577811 w 577811"/>
                <a:gd name="connsiteY13" fmla="*/ 17705 h 595516"/>
                <a:gd name="connsiteX14" fmla="*/ 566592 w 577811"/>
                <a:gd name="connsiteY14" fmla="*/ 876 h 595516"/>
                <a:gd name="connsiteX15" fmla="*/ 549762 w 577811"/>
                <a:gd name="connsiteY15" fmla="*/ 6486 h 595516"/>
                <a:gd name="connsiteX16" fmla="*/ 560982 w 577811"/>
                <a:gd name="connsiteY16" fmla="*/ 40144 h 595516"/>
                <a:gd name="connsiteX17" fmla="*/ 566592 w 577811"/>
                <a:gd name="connsiteY17" fmla="*/ 208439 h 595516"/>
                <a:gd name="connsiteX18" fmla="*/ 572201 w 577811"/>
                <a:gd name="connsiteY18" fmla="*/ 225268 h 595516"/>
                <a:gd name="connsiteX19" fmla="*/ 566592 w 577811"/>
                <a:gd name="connsiteY19" fmla="*/ 286976 h 595516"/>
                <a:gd name="connsiteX20" fmla="*/ 555372 w 577811"/>
                <a:gd name="connsiteY20" fmla="*/ 359904 h 595516"/>
                <a:gd name="connsiteX21" fmla="*/ 544152 w 577811"/>
                <a:gd name="connsiteY21" fmla="*/ 477710 h 595516"/>
                <a:gd name="connsiteX22" fmla="*/ 549762 w 577811"/>
                <a:gd name="connsiteY22" fmla="*/ 528198 h 595516"/>
                <a:gd name="connsiteX23" fmla="*/ 566592 w 577811"/>
                <a:gd name="connsiteY23" fmla="*/ 539418 h 595516"/>
                <a:gd name="connsiteX24" fmla="*/ 549762 w 577811"/>
                <a:gd name="connsiteY24" fmla="*/ 550638 h 595516"/>
                <a:gd name="connsiteX25" fmla="*/ 359028 w 577811"/>
                <a:gd name="connsiteY25" fmla="*/ 550638 h 595516"/>
                <a:gd name="connsiteX26" fmla="*/ 319760 w 577811"/>
                <a:gd name="connsiteY26" fmla="*/ 556248 h 595516"/>
                <a:gd name="connsiteX27" fmla="*/ 241222 w 577811"/>
                <a:gd name="connsiteY27" fmla="*/ 561857 h 595516"/>
                <a:gd name="connsiteX28" fmla="*/ 190734 w 577811"/>
                <a:gd name="connsiteY28" fmla="*/ 578687 h 595516"/>
                <a:gd name="connsiteX29" fmla="*/ 157075 w 577811"/>
                <a:gd name="connsiteY29" fmla="*/ 589906 h 595516"/>
                <a:gd name="connsiteX30" fmla="*/ 134636 w 577811"/>
                <a:gd name="connsiteY30" fmla="*/ 595516 h 595516"/>
                <a:gd name="connsiteX31" fmla="*/ 117806 w 577811"/>
                <a:gd name="connsiteY31" fmla="*/ 589906 h 595516"/>
                <a:gd name="connsiteX32" fmla="*/ 95367 w 577811"/>
                <a:gd name="connsiteY32" fmla="*/ 584297 h 595516"/>
                <a:gd name="connsiteX33" fmla="*/ 44879 w 577811"/>
                <a:gd name="connsiteY33" fmla="*/ 567467 h 595516"/>
                <a:gd name="connsiteX34" fmla="*/ 11220 w 577811"/>
                <a:gd name="connsiteY34" fmla="*/ 550638 h 595516"/>
                <a:gd name="connsiteX35" fmla="*/ 5610 w 577811"/>
                <a:gd name="connsiteY35" fmla="*/ 550638 h 595516"/>
                <a:gd name="connsiteX36" fmla="*/ 0 w 577811"/>
                <a:gd name="connsiteY36" fmla="*/ 96243 h 595516"/>
                <a:gd name="connsiteX0" fmla="*/ 0 w 577811"/>
                <a:gd name="connsiteY0" fmla="*/ 96243 h 595516"/>
                <a:gd name="connsiteX1" fmla="*/ 0 w 577811"/>
                <a:gd name="connsiteY1" fmla="*/ 96243 h 595516"/>
                <a:gd name="connsiteX2" fmla="*/ 151465 w 577811"/>
                <a:gd name="connsiteY2" fmla="*/ 85023 h 595516"/>
                <a:gd name="connsiteX3" fmla="*/ 190734 w 577811"/>
                <a:gd name="connsiteY3" fmla="*/ 79413 h 595516"/>
                <a:gd name="connsiteX4" fmla="*/ 286101 w 577811"/>
                <a:gd name="connsiteY4" fmla="*/ 73803 h 595516"/>
                <a:gd name="connsiteX5" fmla="*/ 370248 w 577811"/>
                <a:gd name="connsiteY5" fmla="*/ 62584 h 595516"/>
                <a:gd name="connsiteX6" fmla="*/ 387077 w 577811"/>
                <a:gd name="connsiteY6" fmla="*/ 56974 h 595516"/>
                <a:gd name="connsiteX7" fmla="*/ 431956 w 577811"/>
                <a:gd name="connsiteY7" fmla="*/ 51364 h 595516"/>
                <a:gd name="connsiteX8" fmla="*/ 460005 w 577811"/>
                <a:gd name="connsiteY8" fmla="*/ 45754 h 595516"/>
                <a:gd name="connsiteX9" fmla="*/ 510493 w 577811"/>
                <a:gd name="connsiteY9" fmla="*/ 40144 h 595516"/>
                <a:gd name="connsiteX10" fmla="*/ 527323 w 577811"/>
                <a:gd name="connsiteY10" fmla="*/ 34535 h 595516"/>
                <a:gd name="connsiteX11" fmla="*/ 560982 w 577811"/>
                <a:gd name="connsiteY11" fmla="*/ 28925 h 595516"/>
                <a:gd name="connsiteX12" fmla="*/ 577811 w 577811"/>
                <a:gd name="connsiteY12" fmla="*/ 17705 h 595516"/>
                <a:gd name="connsiteX13" fmla="*/ 566592 w 577811"/>
                <a:gd name="connsiteY13" fmla="*/ 876 h 595516"/>
                <a:gd name="connsiteX14" fmla="*/ 549762 w 577811"/>
                <a:gd name="connsiteY14" fmla="*/ 6486 h 595516"/>
                <a:gd name="connsiteX15" fmla="*/ 560982 w 577811"/>
                <a:gd name="connsiteY15" fmla="*/ 40144 h 595516"/>
                <a:gd name="connsiteX16" fmla="*/ 566592 w 577811"/>
                <a:gd name="connsiteY16" fmla="*/ 208439 h 595516"/>
                <a:gd name="connsiteX17" fmla="*/ 572201 w 577811"/>
                <a:gd name="connsiteY17" fmla="*/ 225268 h 595516"/>
                <a:gd name="connsiteX18" fmla="*/ 566592 w 577811"/>
                <a:gd name="connsiteY18" fmla="*/ 286976 h 595516"/>
                <a:gd name="connsiteX19" fmla="*/ 555372 w 577811"/>
                <a:gd name="connsiteY19" fmla="*/ 359904 h 595516"/>
                <a:gd name="connsiteX20" fmla="*/ 544152 w 577811"/>
                <a:gd name="connsiteY20" fmla="*/ 477710 h 595516"/>
                <a:gd name="connsiteX21" fmla="*/ 549762 w 577811"/>
                <a:gd name="connsiteY21" fmla="*/ 528198 h 595516"/>
                <a:gd name="connsiteX22" fmla="*/ 566592 w 577811"/>
                <a:gd name="connsiteY22" fmla="*/ 539418 h 595516"/>
                <a:gd name="connsiteX23" fmla="*/ 549762 w 577811"/>
                <a:gd name="connsiteY23" fmla="*/ 550638 h 595516"/>
                <a:gd name="connsiteX24" fmla="*/ 359028 w 577811"/>
                <a:gd name="connsiteY24" fmla="*/ 550638 h 595516"/>
                <a:gd name="connsiteX25" fmla="*/ 319760 w 577811"/>
                <a:gd name="connsiteY25" fmla="*/ 556248 h 595516"/>
                <a:gd name="connsiteX26" fmla="*/ 241222 w 577811"/>
                <a:gd name="connsiteY26" fmla="*/ 561857 h 595516"/>
                <a:gd name="connsiteX27" fmla="*/ 190734 w 577811"/>
                <a:gd name="connsiteY27" fmla="*/ 578687 h 595516"/>
                <a:gd name="connsiteX28" fmla="*/ 157075 w 577811"/>
                <a:gd name="connsiteY28" fmla="*/ 589906 h 595516"/>
                <a:gd name="connsiteX29" fmla="*/ 134636 w 577811"/>
                <a:gd name="connsiteY29" fmla="*/ 595516 h 595516"/>
                <a:gd name="connsiteX30" fmla="*/ 117806 w 577811"/>
                <a:gd name="connsiteY30" fmla="*/ 589906 h 595516"/>
                <a:gd name="connsiteX31" fmla="*/ 95367 w 577811"/>
                <a:gd name="connsiteY31" fmla="*/ 584297 h 595516"/>
                <a:gd name="connsiteX32" fmla="*/ 44879 w 577811"/>
                <a:gd name="connsiteY32" fmla="*/ 567467 h 595516"/>
                <a:gd name="connsiteX33" fmla="*/ 11220 w 577811"/>
                <a:gd name="connsiteY33" fmla="*/ 550638 h 595516"/>
                <a:gd name="connsiteX34" fmla="*/ 5610 w 577811"/>
                <a:gd name="connsiteY34" fmla="*/ 550638 h 595516"/>
                <a:gd name="connsiteX35" fmla="*/ 0 w 577811"/>
                <a:gd name="connsiteY35" fmla="*/ 96243 h 595516"/>
                <a:gd name="connsiteX0" fmla="*/ 0 w 577811"/>
                <a:gd name="connsiteY0" fmla="*/ 96243 h 595516"/>
                <a:gd name="connsiteX1" fmla="*/ 0 w 577811"/>
                <a:gd name="connsiteY1" fmla="*/ 96243 h 595516"/>
                <a:gd name="connsiteX2" fmla="*/ 190734 w 577811"/>
                <a:gd name="connsiteY2" fmla="*/ 79413 h 595516"/>
                <a:gd name="connsiteX3" fmla="*/ 286101 w 577811"/>
                <a:gd name="connsiteY3" fmla="*/ 73803 h 595516"/>
                <a:gd name="connsiteX4" fmla="*/ 370248 w 577811"/>
                <a:gd name="connsiteY4" fmla="*/ 62584 h 595516"/>
                <a:gd name="connsiteX5" fmla="*/ 387077 w 577811"/>
                <a:gd name="connsiteY5" fmla="*/ 56974 h 595516"/>
                <a:gd name="connsiteX6" fmla="*/ 431956 w 577811"/>
                <a:gd name="connsiteY6" fmla="*/ 51364 h 595516"/>
                <a:gd name="connsiteX7" fmla="*/ 460005 w 577811"/>
                <a:gd name="connsiteY7" fmla="*/ 45754 h 595516"/>
                <a:gd name="connsiteX8" fmla="*/ 510493 w 577811"/>
                <a:gd name="connsiteY8" fmla="*/ 40144 h 595516"/>
                <a:gd name="connsiteX9" fmla="*/ 527323 w 577811"/>
                <a:gd name="connsiteY9" fmla="*/ 34535 h 595516"/>
                <a:gd name="connsiteX10" fmla="*/ 560982 w 577811"/>
                <a:gd name="connsiteY10" fmla="*/ 28925 h 595516"/>
                <a:gd name="connsiteX11" fmla="*/ 577811 w 577811"/>
                <a:gd name="connsiteY11" fmla="*/ 17705 h 595516"/>
                <a:gd name="connsiteX12" fmla="*/ 566592 w 577811"/>
                <a:gd name="connsiteY12" fmla="*/ 876 h 595516"/>
                <a:gd name="connsiteX13" fmla="*/ 549762 w 577811"/>
                <a:gd name="connsiteY13" fmla="*/ 6486 h 595516"/>
                <a:gd name="connsiteX14" fmla="*/ 560982 w 577811"/>
                <a:gd name="connsiteY14" fmla="*/ 40144 h 595516"/>
                <a:gd name="connsiteX15" fmla="*/ 566592 w 577811"/>
                <a:gd name="connsiteY15" fmla="*/ 208439 h 595516"/>
                <a:gd name="connsiteX16" fmla="*/ 572201 w 577811"/>
                <a:gd name="connsiteY16" fmla="*/ 225268 h 595516"/>
                <a:gd name="connsiteX17" fmla="*/ 566592 w 577811"/>
                <a:gd name="connsiteY17" fmla="*/ 286976 h 595516"/>
                <a:gd name="connsiteX18" fmla="*/ 555372 w 577811"/>
                <a:gd name="connsiteY18" fmla="*/ 359904 h 595516"/>
                <a:gd name="connsiteX19" fmla="*/ 544152 w 577811"/>
                <a:gd name="connsiteY19" fmla="*/ 477710 h 595516"/>
                <a:gd name="connsiteX20" fmla="*/ 549762 w 577811"/>
                <a:gd name="connsiteY20" fmla="*/ 528198 h 595516"/>
                <a:gd name="connsiteX21" fmla="*/ 566592 w 577811"/>
                <a:gd name="connsiteY21" fmla="*/ 539418 h 595516"/>
                <a:gd name="connsiteX22" fmla="*/ 549762 w 577811"/>
                <a:gd name="connsiteY22" fmla="*/ 550638 h 595516"/>
                <a:gd name="connsiteX23" fmla="*/ 359028 w 577811"/>
                <a:gd name="connsiteY23" fmla="*/ 550638 h 595516"/>
                <a:gd name="connsiteX24" fmla="*/ 319760 w 577811"/>
                <a:gd name="connsiteY24" fmla="*/ 556248 h 595516"/>
                <a:gd name="connsiteX25" fmla="*/ 241222 w 577811"/>
                <a:gd name="connsiteY25" fmla="*/ 561857 h 595516"/>
                <a:gd name="connsiteX26" fmla="*/ 190734 w 577811"/>
                <a:gd name="connsiteY26" fmla="*/ 578687 h 595516"/>
                <a:gd name="connsiteX27" fmla="*/ 157075 w 577811"/>
                <a:gd name="connsiteY27" fmla="*/ 589906 h 595516"/>
                <a:gd name="connsiteX28" fmla="*/ 134636 w 577811"/>
                <a:gd name="connsiteY28" fmla="*/ 595516 h 595516"/>
                <a:gd name="connsiteX29" fmla="*/ 117806 w 577811"/>
                <a:gd name="connsiteY29" fmla="*/ 589906 h 595516"/>
                <a:gd name="connsiteX30" fmla="*/ 95367 w 577811"/>
                <a:gd name="connsiteY30" fmla="*/ 584297 h 595516"/>
                <a:gd name="connsiteX31" fmla="*/ 44879 w 577811"/>
                <a:gd name="connsiteY31" fmla="*/ 567467 h 595516"/>
                <a:gd name="connsiteX32" fmla="*/ 11220 w 577811"/>
                <a:gd name="connsiteY32" fmla="*/ 550638 h 595516"/>
                <a:gd name="connsiteX33" fmla="*/ 5610 w 577811"/>
                <a:gd name="connsiteY33" fmla="*/ 550638 h 595516"/>
                <a:gd name="connsiteX34" fmla="*/ 0 w 577811"/>
                <a:gd name="connsiteY34" fmla="*/ 96243 h 595516"/>
                <a:gd name="connsiteX0" fmla="*/ 0 w 577811"/>
                <a:gd name="connsiteY0" fmla="*/ 96243 h 595516"/>
                <a:gd name="connsiteX1" fmla="*/ 0 w 577811"/>
                <a:gd name="connsiteY1" fmla="*/ 96243 h 595516"/>
                <a:gd name="connsiteX2" fmla="*/ 286101 w 577811"/>
                <a:gd name="connsiteY2" fmla="*/ 73803 h 595516"/>
                <a:gd name="connsiteX3" fmla="*/ 370248 w 577811"/>
                <a:gd name="connsiteY3" fmla="*/ 62584 h 595516"/>
                <a:gd name="connsiteX4" fmla="*/ 387077 w 577811"/>
                <a:gd name="connsiteY4" fmla="*/ 56974 h 595516"/>
                <a:gd name="connsiteX5" fmla="*/ 431956 w 577811"/>
                <a:gd name="connsiteY5" fmla="*/ 51364 h 595516"/>
                <a:gd name="connsiteX6" fmla="*/ 460005 w 577811"/>
                <a:gd name="connsiteY6" fmla="*/ 45754 h 595516"/>
                <a:gd name="connsiteX7" fmla="*/ 510493 w 577811"/>
                <a:gd name="connsiteY7" fmla="*/ 40144 h 595516"/>
                <a:gd name="connsiteX8" fmla="*/ 527323 w 577811"/>
                <a:gd name="connsiteY8" fmla="*/ 34535 h 595516"/>
                <a:gd name="connsiteX9" fmla="*/ 560982 w 577811"/>
                <a:gd name="connsiteY9" fmla="*/ 28925 h 595516"/>
                <a:gd name="connsiteX10" fmla="*/ 577811 w 577811"/>
                <a:gd name="connsiteY10" fmla="*/ 17705 h 595516"/>
                <a:gd name="connsiteX11" fmla="*/ 566592 w 577811"/>
                <a:gd name="connsiteY11" fmla="*/ 876 h 595516"/>
                <a:gd name="connsiteX12" fmla="*/ 549762 w 577811"/>
                <a:gd name="connsiteY12" fmla="*/ 6486 h 595516"/>
                <a:gd name="connsiteX13" fmla="*/ 560982 w 577811"/>
                <a:gd name="connsiteY13" fmla="*/ 40144 h 595516"/>
                <a:gd name="connsiteX14" fmla="*/ 566592 w 577811"/>
                <a:gd name="connsiteY14" fmla="*/ 208439 h 595516"/>
                <a:gd name="connsiteX15" fmla="*/ 572201 w 577811"/>
                <a:gd name="connsiteY15" fmla="*/ 225268 h 595516"/>
                <a:gd name="connsiteX16" fmla="*/ 566592 w 577811"/>
                <a:gd name="connsiteY16" fmla="*/ 286976 h 595516"/>
                <a:gd name="connsiteX17" fmla="*/ 555372 w 577811"/>
                <a:gd name="connsiteY17" fmla="*/ 359904 h 595516"/>
                <a:gd name="connsiteX18" fmla="*/ 544152 w 577811"/>
                <a:gd name="connsiteY18" fmla="*/ 477710 h 595516"/>
                <a:gd name="connsiteX19" fmla="*/ 549762 w 577811"/>
                <a:gd name="connsiteY19" fmla="*/ 528198 h 595516"/>
                <a:gd name="connsiteX20" fmla="*/ 566592 w 577811"/>
                <a:gd name="connsiteY20" fmla="*/ 539418 h 595516"/>
                <a:gd name="connsiteX21" fmla="*/ 549762 w 577811"/>
                <a:gd name="connsiteY21" fmla="*/ 550638 h 595516"/>
                <a:gd name="connsiteX22" fmla="*/ 359028 w 577811"/>
                <a:gd name="connsiteY22" fmla="*/ 550638 h 595516"/>
                <a:gd name="connsiteX23" fmla="*/ 319760 w 577811"/>
                <a:gd name="connsiteY23" fmla="*/ 556248 h 595516"/>
                <a:gd name="connsiteX24" fmla="*/ 241222 w 577811"/>
                <a:gd name="connsiteY24" fmla="*/ 561857 h 595516"/>
                <a:gd name="connsiteX25" fmla="*/ 190734 w 577811"/>
                <a:gd name="connsiteY25" fmla="*/ 578687 h 595516"/>
                <a:gd name="connsiteX26" fmla="*/ 157075 w 577811"/>
                <a:gd name="connsiteY26" fmla="*/ 589906 h 595516"/>
                <a:gd name="connsiteX27" fmla="*/ 134636 w 577811"/>
                <a:gd name="connsiteY27" fmla="*/ 595516 h 595516"/>
                <a:gd name="connsiteX28" fmla="*/ 117806 w 577811"/>
                <a:gd name="connsiteY28" fmla="*/ 589906 h 595516"/>
                <a:gd name="connsiteX29" fmla="*/ 95367 w 577811"/>
                <a:gd name="connsiteY29" fmla="*/ 584297 h 595516"/>
                <a:gd name="connsiteX30" fmla="*/ 44879 w 577811"/>
                <a:gd name="connsiteY30" fmla="*/ 567467 h 595516"/>
                <a:gd name="connsiteX31" fmla="*/ 11220 w 577811"/>
                <a:gd name="connsiteY31" fmla="*/ 550638 h 595516"/>
                <a:gd name="connsiteX32" fmla="*/ 5610 w 577811"/>
                <a:gd name="connsiteY32" fmla="*/ 550638 h 595516"/>
                <a:gd name="connsiteX33" fmla="*/ 0 w 577811"/>
                <a:gd name="connsiteY33" fmla="*/ 96243 h 595516"/>
                <a:gd name="connsiteX0" fmla="*/ 0 w 577811"/>
                <a:gd name="connsiteY0" fmla="*/ 96243 h 595516"/>
                <a:gd name="connsiteX1" fmla="*/ 0 w 577811"/>
                <a:gd name="connsiteY1" fmla="*/ 96243 h 595516"/>
                <a:gd name="connsiteX2" fmla="*/ 370248 w 577811"/>
                <a:gd name="connsiteY2" fmla="*/ 62584 h 595516"/>
                <a:gd name="connsiteX3" fmla="*/ 387077 w 577811"/>
                <a:gd name="connsiteY3" fmla="*/ 56974 h 595516"/>
                <a:gd name="connsiteX4" fmla="*/ 431956 w 577811"/>
                <a:gd name="connsiteY4" fmla="*/ 51364 h 595516"/>
                <a:gd name="connsiteX5" fmla="*/ 460005 w 577811"/>
                <a:gd name="connsiteY5" fmla="*/ 45754 h 595516"/>
                <a:gd name="connsiteX6" fmla="*/ 510493 w 577811"/>
                <a:gd name="connsiteY6" fmla="*/ 40144 h 595516"/>
                <a:gd name="connsiteX7" fmla="*/ 527323 w 577811"/>
                <a:gd name="connsiteY7" fmla="*/ 34535 h 595516"/>
                <a:gd name="connsiteX8" fmla="*/ 560982 w 577811"/>
                <a:gd name="connsiteY8" fmla="*/ 28925 h 595516"/>
                <a:gd name="connsiteX9" fmla="*/ 577811 w 577811"/>
                <a:gd name="connsiteY9" fmla="*/ 17705 h 595516"/>
                <a:gd name="connsiteX10" fmla="*/ 566592 w 577811"/>
                <a:gd name="connsiteY10" fmla="*/ 876 h 595516"/>
                <a:gd name="connsiteX11" fmla="*/ 549762 w 577811"/>
                <a:gd name="connsiteY11" fmla="*/ 6486 h 595516"/>
                <a:gd name="connsiteX12" fmla="*/ 560982 w 577811"/>
                <a:gd name="connsiteY12" fmla="*/ 40144 h 595516"/>
                <a:gd name="connsiteX13" fmla="*/ 566592 w 577811"/>
                <a:gd name="connsiteY13" fmla="*/ 208439 h 595516"/>
                <a:gd name="connsiteX14" fmla="*/ 572201 w 577811"/>
                <a:gd name="connsiteY14" fmla="*/ 225268 h 595516"/>
                <a:gd name="connsiteX15" fmla="*/ 566592 w 577811"/>
                <a:gd name="connsiteY15" fmla="*/ 286976 h 595516"/>
                <a:gd name="connsiteX16" fmla="*/ 555372 w 577811"/>
                <a:gd name="connsiteY16" fmla="*/ 359904 h 595516"/>
                <a:gd name="connsiteX17" fmla="*/ 544152 w 577811"/>
                <a:gd name="connsiteY17" fmla="*/ 477710 h 595516"/>
                <a:gd name="connsiteX18" fmla="*/ 549762 w 577811"/>
                <a:gd name="connsiteY18" fmla="*/ 528198 h 595516"/>
                <a:gd name="connsiteX19" fmla="*/ 566592 w 577811"/>
                <a:gd name="connsiteY19" fmla="*/ 539418 h 595516"/>
                <a:gd name="connsiteX20" fmla="*/ 549762 w 577811"/>
                <a:gd name="connsiteY20" fmla="*/ 550638 h 595516"/>
                <a:gd name="connsiteX21" fmla="*/ 359028 w 577811"/>
                <a:gd name="connsiteY21" fmla="*/ 550638 h 595516"/>
                <a:gd name="connsiteX22" fmla="*/ 319760 w 577811"/>
                <a:gd name="connsiteY22" fmla="*/ 556248 h 595516"/>
                <a:gd name="connsiteX23" fmla="*/ 241222 w 577811"/>
                <a:gd name="connsiteY23" fmla="*/ 561857 h 595516"/>
                <a:gd name="connsiteX24" fmla="*/ 190734 w 577811"/>
                <a:gd name="connsiteY24" fmla="*/ 578687 h 595516"/>
                <a:gd name="connsiteX25" fmla="*/ 157075 w 577811"/>
                <a:gd name="connsiteY25" fmla="*/ 589906 h 595516"/>
                <a:gd name="connsiteX26" fmla="*/ 134636 w 577811"/>
                <a:gd name="connsiteY26" fmla="*/ 595516 h 595516"/>
                <a:gd name="connsiteX27" fmla="*/ 117806 w 577811"/>
                <a:gd name="connsiteY27" fmla="*/ 589906 h 595516"/>
                <a:gd name="connsiteX28" fmla="*/ 95367 w 577811"/>
                <a:gd name="connsiteY28" fmla="*/ 584297 h 595516"/>
                <a:gd name="connsiteX29" fmla="*/ 44879 w 577811"/>
                <a:gd name="connsiteY29" fmla="*/ 567467 h 595516"/>
                <a:gd name="connsiteX30" fmla="*/ 11220 w 577811"/>
                <a:gd name="connsiteY30" fmla="*/ 550638 h 595516"/>
                <a:gd name="connsiteX31" fmla="*/ 5610 w 577811"/>
                <a:gd name="connsiteY31" fmla="*/ 550638 h 595516"/>
                <a:gd name="connsiteX32" fmla="*/ 0 w 577811"/>
                <a:gd name="connsiteY32" fmla="*/ 96243 h 595516"/>
                <a:gd name="connsiteX0" fmla="*/ 0 w 577811"/>
                <a:gd name="connsiteY0" fmla="*/ 96243 h 595516"/>
                <a:gd name="connsiteX1" fmla="*/ 0 w 577811"/>
                <a:gd name="connsiteY1" fmla="*/ 96243 h 595516"/>
                <a:gd name="connsiteX2" fmla="*/ 387077 w 577811"/>
                <a:gd name="connsiteY2" fmla="*/ 56974 h 595516"/>
                <a:gd name="connsiteX3" fmla="*/ 431956 w 577811"/>
                <a:gd name="connsiteY3" fmla="*/ 51364 h 595516"/>
                <a:gd name="connsiteX4" fmla="*/ 460005 w 577811"/>
                <a:gd name="connsiteY4" fmla="*/ 45754 h 595516"/>
                <a:gd name="connsiteX5" fmla="*/ 510493 w 577811"/>
                <a:gd name="connsiteY5" fmla="*/ 40144 h 595516"/>
                <a:gd name="connsiteX6" fmla="*/ 527323 w 577811"/>
                <a:gd name="connsiteY6" fmla="*/ 34535 h 595516"/>
                <a:gd name="connsiteX7" fmla="*/ 560982 w 577811"/>
                <a:gd name="connsiteY7" fmla="*/ 28925 h 595516"/>
                <a:gd name="connsiteX8" fmla="*/ 577811 w 577811"/>
                <a:gd name="connsiteY8" fmla="*/ 17705 h 595516"/>
                <a:gd name="connsiteX9" fmla="*/ 566592 w 577811"/>
                <a:gd name="connsiteY9" fmla="*/ 876 h 595516"/>
                <a:gd name="connsiteX10" fmla="*/ 549762 w 577811"/>
                <a:gd name="connsiteY10" fmla="*/ 6486 h 595516"/>
                <a:gd name="connsiteX11" fmla="*/ 560982 w 577811"/>
                <a:gd name="connsiteY11" fmla="*/ 40144 h 595516"/>
                <a:gd name="connsiteX12" fmla="*/ 566592 w 577811"/>
                <a:gd name="connsiteY12" fmla="*/ 208439 h 595516"/>
                <a:gd name="connsiteX13" fmla="*/ 572201 w 577811"/>
                <a:gd name="connsiteY13" fmla="*/ 225268 h 595516"/>
                <a:gd name="connsiteX14" fmla="*/ 566592 w 577811"/>
                <a:gd name="connsiteY14" fmla="*/ 286976 h 595516"/>
                <a:gd name="connsiteX15" fmla="*/ 555372 w 577811"/>
                <a:gd name="connsiteY15" fmla="*/ 359904 h 595516"/>
                <a:gd name="connsiteX16" fmla="*/ 544152 w 577811"/>
                <a:gd name="connsiteY16" fmla="*/ 477710 h 595516"/>
                <a:gd name="connsiteX17" fmla="*/ 549762 w 577811"/>
                <a:gd name="connsiteY17" fmla="*/ 528198 h 595516"/>
                <a:gd name="connsiteX18" fmla="*/ 566592 w 577811"/>
                <a:gd name="connsiteY18" fmla="*/ 539418 h 595516"/>
                <a:gd name="connsiteX19" fmla="*/ 549762 w 577811"/>
                <a:gd name="connsiteY19" fmla="*/ 550638 h 595516"/>
                <a:gd name="connsiteX20" fmla="*/ 359028 w 577811"/>
                <a:gd name="connsiteY20" fmla="*/ 550638 h 595516"/>
                <a:gd name="connsiteX21" fmla="*/ 319760 w 577811"/>
                <a:gd name="connsiteY21" fmla="*/ 556248 h 595516"/>
                <a:gd name="connsiteX22" fmla="*/ 241222 w 577811"/>
                <a:gd name="connsiteY22" fmla="*/ 561857 h 595516"/>
                <a:gd name="connsiteX23" fmla="*/ 190734 w 577811"/>
                <a:gd name="connsiteY23" fmla="*/ 578687 h 595516"/>
                <a:gd name="connsiteX24" fmla="*/ 157075 w 577811"/>
                <a:gd name="connsiteY24" fmla="*/ 589906 h 595516"/>
                <a:gd name="connsiteX25" fmla="*/ 134636 w 577811"/>
                <a:gd name="connsiteY25" fmla="*/ 595516 h 595516"/>
                <a:gd name="connsiteX26" fmla="*/ 117806 w 577811"/>
                <a:gd name="connsiteY26" fmla="*/ 589906 h 595516"/>
                <a:gd name="connsiteX27" fmla="*/ 95367 w 577811"/>
                <a:gd name="connsiteY27" fmla="*/ 584297 h 595516"/>
                <a:gd name="connsiteX28" fmla="*/ 44879 w 577811"/>
                <a:gd name="connsiteY28" fmla="*/ 567467 h 595516"/>
                <a:gd name="connsiteX29" fmla="*/ 11220 w 577811"/>
                <a:gd name="connsiteY29" fmla="*/ 550638 h 595516"/>
                <a:gd name="connsiteX30" fmla="*/ 5610 w 577811"/>
                <a:gd name="connsiteY30" fmla="*/ 550638 h 595516"/>
                <a:gd name="connsiteX31" fmla="*/ 0 w 577811"/>
                <a:gd name="connsiteY31" fmla="*/ 96243 h 595516"/>
                <a:gd name="connsiteX0" fmla="*/ 0 w 577811"/>
                <a:gd name="connsiteY0" fmla="*/ 96243 h 595516"/>
                <a:gd name="connsiteX1" fmla="*/ 0 w 577811"/>
                <a:gd name="connsiteY1" fmla="*/ 96243 h 595516"/>
                <a:gd name="connsiteX2" fmla="*/ 431956 w 577811"/>
                <a:gd name="connsiteY2" fmla="*/ 51364 h 595516"/>
                <a:gd name="connsiteX3" fmla="*/ 460005 w 577811"/>
                <a:gd name="connsiteY3" fmla="*/ 45754 h 595516"/>
                <a:gd name="connsiteX4" fmla="*/ 510493 w 577811"/>
                <a:gd name="connsiteY4" fmla="*/ 40144 h 595516"/>
                <a:gd name="connsiteX5" fmla="*/ 527323 w 577811"/>
                <a:gd name="connsiteY5" fmla="*/ 34535 h 595516"/>
                <a:gd name="connsiteX6" fmla="*/ 560982 w 577811"/>
                <a:gd name="connsiteY6" fmla="*/ 28925 h 595516"/>
                <a:gd name="connsiteX7" fmla="*/ 577811 w 577811"/>
                <a:gd name="connsiteY7" fmla="*/ 17705 h 595516"/>
                <a:gd name="connsiteX8" fmla="*/ 566592 w 577811"/>
                <a:gd name="connsiteY8" fmla="*/ 876 h 595516"/>
                <a:gd name="connsiteX9" fmla="*/ 549762 w 577811"/>
                <a:gd name="connsiteY9" fmla="*/ 6486 h 595516"/>
                <a:gd name="connsiteX10" fmla="*/ 560982 w 577811"/>
                <a:gd name="connsiteY10" fmla="*/ 40144 h 595516"/>
                <a:gd name="connsiteX11" fmla="*/ 566592 w 577811"/>
                <a:gd name="connsiteY11" fmla="*/ 208439 h 595516"/>
                <a:gd name="connsiteX12" fmla="*/ 572201 w 577811"/>
                <a:gd name="connsiteY12" fmla="*/ 225268 h 595516"/>
                <a:gd name="connsiteX13" fmla="*/ 566592 w 577811"/>
                <a:gd name="connsiteY13" fmla="*/ 286976 h 595516"/>
                <a:gd name="connsiteX14" fmla="*/ 555372 w 577811"/>
                <a:gd name="connsiteY14" fmla="*/ 359904 h 595516"/>
                <a:gd name="connsiteX15" fmla="*/ 544152 w 577811"/>
                <a:gd name="connsiteY15" fmla="*/ 477710 h 595516"/>
                <a:gd name="connsiteX16" fmla="*/ 549762 w 577811"/>
                <a:gd name="connsiteY16" fmla="*/ 528198 h 595516"/>
                <a:gd name="connsiteX17" fmla="*/ 566592 w 577811"/>
                <a:gd name="connsiteY17" fmla="*/ 539418 h 595516"/>
                <a:gd name="connsiteX18" fmla="*/ 549762 w 577811"/>
                <a:gd name="connsiteY18" fmla="*/ 550638 h 595516"/>
                <a:gd name="connsiteX19" fmla="*/ 359028 w 577811"/>
                <a:gd name="connsiteY19" fmla="*/ 550638 h 595516"/>
                <a:gd name="connsiteX20" fmla="*/ 319760 w 577811"/>
                <a:gd name="connsiteY20" fmla="*/ 556248 h 595516"/>
                <a:gd name="connsiteX21" fmla="*/ 241222 w 577811"/>
                <a:gd name="connsiteY21" fmla="*/ 561857 h 595516"/>
                <a:gd name="connsiteX22" fmla="*/ 190734 w 577811"/>
                <a:gd name="connsiteY22" fmla="*/ 578687 h 595516"/>
                <a:gd name="connsiteX23" fmla="*/ 157075 w 577811"/>
                <a:gd name="connsiteY23" fmla="*/ 589906 h 595516"/>
                <a:gd name="connsiteX24" fmla="*/ 134636 w 577811"/>
                <a:gd name="connsiteY24" fmla="*/ 595516 h 595516"/>
                <a:gd name="connsiteX25" fmla="*/ 117806 w 577811"/>
                <a:gd name="connsiteY25" fmla="*/ 589906 h 595516"/>
                <a:gd name="connsiteX26" fmla="*/ 95367 w 577811"/>
                <a:gd name="connsiteY26" fmla="*/ 584297 h 595516"/>
                <a:gd name="connsiteX27" fmla="*/ 44879 w 577811"/>
                <a:gd name="connsiteY27" fmla="*/ 567467 h 595516"/>
                <a:gd name="connsiteX28" fmla="*/ 11220 w 577811"/>
                <a:gd name="connsiteY28" fmla="*/ 550638 h 595516"/>
                <a:gd name="connsiteX29" fmla="*/ 5610 w 577811"/>
                <a:gd name="connsiteY29" fmla="*/ 550638 h 595516"/>
                <a:gd name="connsiteX30" fmla="*/ 0 w 577811"/>
                <a:gd name="connsiteY30" fmla="*/ 96243 h 595516"/>
                <a:gd name="connsiteX0" fmla="*/ 0 w 577811"/>
                <a:gd name="connsiteY0" fmla="*/ 96243 h 595516"/>
                <a:gd name="connsiteX1" fmla="*/ 0 w 577811"/>
                <a:gd name="connsiteY1" fmla="*/ 96243 h 595516"/>
                <a:gd name="connsiteX2" fmla="*/ 460005 w 577811"/>
                <a:gd name="connsiteY2" fmla="*/ 45754 h 595516"/>
                <a:gd name="connsiteX3" fmla="*/ 510493 w 577811"/>
                <a:gd name="connsiteY3" fmla="*/ 40144 h 595516"/>
                <a:gd name="connsiteX4" fmla="*/ 527323 w 577811"/>
                <a:gd name="connsiteY4" fmla="*/ 34535 h 595516"/>
                <a:gd name="connsiteX5" fmla="*/ 560982 w 577811"/>
                <a:gd name="connsiteY5" fmla="*/ 28925 h 595516"/>
                <a:gd name="connsiteX6" fmla="*/ 577811 w 577811"/>
                <a:gd name="connsiteY6" fmla="*/ 17705 h 595516"/>
                <a:gd name="connsiteX7" fmla="*/ 566592 w 577811"/>
                <a:gd name="connsiteY7" fmla="*/ 876 h 595516"/>
                <a:gd name="connsiteX8" fmla="*/ 549762 w 577811"/>
                <a:gd name="connsiteY8" fmla="*/ 6486 h 595516"/>
                <a:gd name="connsiteX9" fmla="*/ 560982 w 577811"/>
                <a:gd name="connsiteY9" fmla="*/ 40144 h 595516"/>
                <a:gd name="connsiteX10" fmla="*/ 566592 w 577811"/>
                <a:gd name="connsiteY10" fmla="*/ 208439 h 595516"/>
                <a:gd name="connsiteX11" fmla="*/ 572201 w 577811"/>
                <a:gd name="connsiteY11" fmla="*/ 225268 h 595516"/>
                <a:gd name="connsiteX12" fmla="*/ 566592 w 577811"/>
                <a:gd name="connsiteY12" fmla="*/ 286976 h 595516"/>
                <a:gd name="connsiteX13" fmla="*/ 555372 w 577811"/>
                <a:gd name="connsiteY13" fmla="*/ 359904 h 595516"/>
                <a:gd name="connsiteX14" fmla="*/ 544152 w 577811"/>
                <a:gd name="connsiteY14" fmla="*/ 477710 h 595516"/>
                <a:gd name="connsiteX15" fmla="*/ 549762 w 577811"/>
                <a:gd name="connsiteY15" fmla="*/ 528198 h 595516"/>
                <a:gd name="connsiteX16" fmla="*/ 566592 w 577811"/>
                <a:gd name="connsiteY16" fmla="*/ 539418 h 595516"/>
                <a:gd name="connsiteX17" fmla="*/ 549762 w 577811"/>
                <a:gd name="connsiteY17" fmla="*/ 550638 h 595516"/>
                <a:gd name="connsiteX18" fmla="*/ 359028 w 577811"/>
                <a:gd name="connsiteY18" fmla="*/ 550638 h 595516"/>
                <a:gd name="connsiteX19" fmla="*/ 319760 w 577811"/>
                <a:gd name="connsiteY19" fmla="*/ 556248 h 595516"/>
                <a:gd name="connsiteX20" fmla="*/ 241222 w 577811"/>
                <a:gd name="connsiteY20" fmla="*/ 561857 h 595516"/>
                <a:gd name="connsiteX21" fmla="*/ 190734 w 577811"/>
                <a:gd name="connsiteY21" fmla="*/ 578687 h 595516"/>
                <a:gd name="connsiteX22" fmla="*/ 157075 w 577811"/>
                <a:gd name="connsiteY22" fmla="*/ 589906 h 595516"/>
                <a:gd name="connsiteX23" fmla="*/ 134636 w 577811"/>
                <a:gd name="connsiteY23" fmla="*/ 595516 h 595516"/>
                <a:gd name="connsiteX24" fmla="*/ 117806 w 577811"/>
                <a:gd name="connsiteY24" fmla="*/ 589906 h 595516"/>
                <a:gd name="connsiteX25" fmla="*/ 95367 w 577811"/>
                <a:gd name="connsiteY25" fmla="*/ 584297 h 595516"/>
                <a:gd name="connsiteX26" fmla="*/ 44879 w 577811"/>
                <a:gd name="connsiteY26" fmla="*/ 567467 h 595516"/>
                <a:gd name="connsiteX27" fmla="*/ 11220 w 577811"/>
                <a:gd name="connsiteY27" fmla="*/ 550638 h 595516"/>
                <a:gd name="connsiteX28" fmla="*/ 5610 w 577811"/>
                <a:gd name="connsiteY28" fmla="*/ 550638 h 595516"/>
                <a:gd name="connsiteX29" fmla="*/ 0 w 577811"/>
                <a:gd name="connsiteY29" fmla="*/ 96243 h 595516"/>
                <a:gd name="connsiteX0" fmla="*/ 0 w 577811"/>
                <a:gd name="connsiteY0" fmla="*/ 96243 h 595516"/>
                <a:gd name="connsiteX1" fmla="*/ 0 w 577811"/>
                <a:gd name="connsiteY1" fmla="*/ 96243 h 595516"/>
                <a:gd name="connsiteX2" fmla="*/ 510493 w 577811"/>
                <a:gd name="connsiteY2" fmla="*/ 40144 h 595516"/>
                <a:gd name="connsiteX3" fmla="*/ 527323 w 577811"/>
                <a:gd name="connsiteY3" fmla="*/ 34535 h 595516"/>
                <a:gd name="connsiteX4" fmla="*/ 560982 w 577811"/>
                <a:gd name="connsiteY4" fmla="*/ 28925 h 595516"/>
                <a:gd name="connsiteX5" fmla="*/ 577811 w 577811"/>
                <a:gd name="connsiteY5" fmla="*/ 17705 h 595516"/>
                <a:gd name="connsiteX6" fmla="*/ 566592 w 577811"/>
                <a:gd name="connsiteY6" fmla="*/ 876 h 595516"/>
                <a:gd name="connsiteX7" fmla="*/ 549762 w 577811"/>
                <a:gd name="connsiteY7" fmla="*/ 6486 h 595516"/>
                <a:gd name="connsiteX8" fmla="*/ 560982 w 577811"/>
                <a:gd name="connsiteY8" fmla="*/ 40144 h 595516"/>
                <a:gd name="connsiteX9" fmla="*/ 566592 w 577811"/>
                <a:gd name="connsiteY9" fmla="*/ 208439 h 595516"/>
                <a:gd name="connsiteX10" fmla="*/ 572201 w 577811"/>
                <a:gd name="connsiteY10" fmla="*/ 225268 h 595516"/>
                <a:gd name="connsiteX11" fmla="*/ 566592 w 577811"/>
                <a:gd name="connsiteY11" fmla="*/ 286976 h 595516"/>
                <a:gd name="connsiteX12" fmla="*/ 555372 w 577811"/>
                <a:gd name="connsiteY12" fmla="*/ 359904 h 595516"/>
                <a:gd name="connsiteX13" fmla="*/ 544152 w 577811"/>
                <a:gd name="connsiteY13" fmla="*/ 477710 h 595516"/>
                <a:gd name="connsiteX14" fmla="*/ 549762 w 577811"/>
                <a:gd name="connsiteY14" fmla="*/ 528198 h 595516"/>
                <a:gd name="connsiteX15" fmla="*/ 566592 w 577811"/>
                <a:gd name="connsiteY15" fmla="*/ 539418 h 595516"/>
                <a:gd name="connsiteX16" fmla="*/ 549762 w 577811"/>
                <a:gd name="connsiteY16" fmla="*/ 550638 h 595516"/>
                <a:gd name="connsiteX17" fmla="*/ 359028 w 577811"/>
                <a:gd name="connsiteY17" fmla="*/ 550638 h 595516"/>
                <a:gd name="connsiteX18" fmla="*/ 319760 w 577811"/>
                <a:gd name="connsiteY18" fmla="*/ 556248 h 595516"/>
                <a:gd name="connsiteX19" fmla="*/ 241222 w 577811"/>
                <a:gd name="connsiteY19" fmla="*/ 561857 h 595516"/>
                <a:gd name="connsiteX20" fmla="*/ 190734 w 577811"/>
                <a:gd name="connsiteY20" fmla="*/ 578687 h 595516"/>
                <a:gd name="connsiteX21" fmla="*/ 157075 w 577811"/>
                <a:gd name="connsiteY21" fmla="*/ 589906 h 595516"/>
                <a:gd name="connsiteX22" fmla="*/ 134636 w 577811"/>
                <a:gd name="connsiteY22" fmla="*/ 595516 h 595516"/>
                <a:gd name="connsiteX23" fmla="*/ 117806 w 577811"/>
                <a:gd name="connsiteY23" fmla="*/ 589906 h 595516"/>
                <a:gd name="connsiteX24" fmla="*/ 95367 w 577811"/>
                <a:gd name="connsiteY24" fmla="*/ 584297 h 595516"/>
                <a:gd name="connsiteX25" fmla="*/ 44879 w 577811"/>
                <a:gd name="connsiteY25" fmla="*/ 567467 h 595516"/>
                <a:gd name="connsiteX26" fmla="*/ 11220 w 577811"/>
                <a:gd name="connsiteY26" fmla="*/ 550638 h 595516"/>
                <a:gd name="connsiteX27" fmla="*/ 5610 w 577811"/>
                <a:gd name="connsiteY27" fmla="*/ 550638 h 595516"/>
                <a:gd name="connsiteX28" fmla="*/ 0 w 577811"/>
                <a:gd name="connsiteY28" fmla="*/ 96243 h 595516"/>
                <a:gd name="connsiteX0" fmla="*/ 0 w 577811"/>
                <a:gd name="connsiteY0" fmla="*/ 96243 h 595516"/>
                <a:gd name="connsiteX1" fmla="*/ 0 w 577811"/>
                <a:gd name="connsiteY1" fmla="*/ 96243 h 595516"/>
                <a:gd name="connsiteX2" fmla="*/ 527323 w 577811"/>
                <a:gd name="connsiteY2" fmla="*/ 34535 h 595516"/>
                <a:gd name="connsiteX3" fmla="*/ 560982 w 577811"/>
                <a:gd name="connsiteY3" fmla="*/ 28925 h 595516"/>
                <a:gd name="connsiteX4" fmla="*/ 577811 w 577811"/>
                <a:gd name="connsiteY4" fmla="*/ 17705 h 595516"/>
                <a:gd name="connsiteX5" fmla="*/ 566592 w 577811"/>
                <a:gd name="connsiteY5" fmla="*/ 876 h 595516"/>
                <a:gd name="connsiteX6" fmla="*/ 549762 w 577811"/>
                <a:gd name="connsiteY6" fmla="*/ 6486 h 595516"/>
                <a:gd name="connsiteX7" fmla="*/ 560982 w 577811"/>
                <a:gd name="connsiteY7" fmla="*/ 40144 h 595516"/>
                <a:gd name="connsiteX8" fmla="*/ 566592 w 577811"/>
                <a:gd name="connsiteY8" fmla="*/ 208439 h 595516"/>
                <a:gd name="connsiteX9" fmla="*/ 572201 w 577811"/>
                <a:gd name="connsiteY9" fmla="*/ 225268 h 595516"/>
                <a:gd name="connsiteX10" fmla="*/ 566592 w 577811"/>
                <a:gd name="connsiteY10" fmla="*/ 286976 h 595516"/>
                <a:gd name="connsiteX11" fmla="*/ 555372 w 577811"/>
                <a:gd name="connsiteY11" fmla="*/ 359904 h 595516"/>
                <a:gd name="connsiteX12" fmla="*/ 544152 w 577811"/>
                <a:gd name="connsiteY12" fmla="*/ 477710 h 595516"/>
                <a:gd name="connsiteX13" fmla="*/ 549762 w 577811"/>
                <a:gd name="connsiteY13" fmla="*/ 528198 h 595516"/>
                <a:gd name="connsiteX14" fmla="*/ 566592 w 577811"/>
                <a:gd name="connsiteY14" fmla="*/ 539418 h 595516"/>
                <a:gd name="connsiteX15" fmla="*/ 549762 w 577811"/>
                <a:gd name="connsiteY15" fmla="*/ 550638 h 595516"/>
                <a:gd name="connsiteX16" fmla="*/ 359028 w 577811"/>
                <a:gd name="connsiteY16" fmla="*/ 550638 h 595516"/>
                <a:gd name="connsiteX17" fmla="*/ 319760 w 577811"/>
                <a:gd name="connsiteY17" fmla="*/ 556248 h 595516"/>
                <a:gd name="connsiteX18" fmla="*/ 241222 w 577811"/>
                <a:gd name="connsiteY18" fmla="*/ 561857 h 595516"/>
                <a:gd name="connsiteX19" fmla="*/ 190734 w 577811"/>
                <a:gd name="connsiteY19" fmla="*/ 578687 h 595516"/>
                <a:gd name="connsiteX20" fmla="*/ 157075 w 577811"/>
                <a:gd name="connsiteY20" fmla="*/ 589906 h 595516"/>
                <a:gd name="connsiteX21" fmla="*/ 134636 w 577811"/>
                <a:gd name="connsiteY21" fmla="*/ 595516 h 595516"/>
                <a:gd name="connsiteX22" fmla="*/ 117806 w 577811"/>
                <a:gd name="connsiteY22" fmla="*/ 589906 h 595516"/>
                <a:gd name="connsiteX23" fmla="*/ 95367 w 577811"/>
                <a:gd name="connsiteY23" fmla="*/ 584297 h 595516"/>
                <a:gd name="connsiteX24" fmla="*/ 44879 w 577811"/>
                <a:gd name="connsiteY24" fmla="*/ 567467 h 595516"/>
                <a:gd name="connsiteX25" fmla="*/ 11220 w 577811"/>
                <a:gd name="connsiteY25" fmla="*/ 550638 h 595516"/>
                <a:gd name="connsiteX26" fmla="*/ 5610 w 577811"/>
                <a:gd name="connsiteY26" fmla="*/ 550638 h 595516"/>
                <a:gd name="connsiteX27" fmla="*/ 0 w 577811"/>
                <a:gd name="connsiteY27" fmla="*/ 96243 h 595516"/>
                <a:gd name="connsiteX0" fmla="*/ 0 w 577811"/>
                <a:gd name="connsiteY0" fmla="*/ 96243 h 595516"/>
                <a:gd name="connsiteX1" fmla="*/ 0 w 577811"/>
                <a:gd name="connsiteY1" fmla="*/ 96243 h 595516"/>
                <a:gd name="connsiteX2" fmla="*/ 560982 w 577811"/>
                <a:gd name="connsiteY2" fmla="*/ 28925 h 595516"/>
                <a:gd name="connsiteX3" fmla="*/ 577811 w 577811"/>
                <a:gd name="connsiteY3" fmla="*/ 17705 h 595516"/>
                <a:gd name="connsiteX4" fmla="*/ 566592 w 577811"/>
                <a:gd name="connsiteY4" fmla="*/ 876 h 595516"/>
                <a:gd name="connsiteX5" fmla="*/ 549762 w 577811"/>
                <a:gd name="connsiteY5" fmla="*/ 6486 h 595516"/>
                <a:gd name="connsiteX6" fmla="*/ 560982 w 577811"/>
                <a:gd name="connsiteY6" fmla="*/ 40144 h 595516"/>
                <a:gd name="connsiteX7" fmla="*/ 566592 w 577811"/>
                <a:gd name="connsiteY7" fmla="*/ 208439 h 595516"/>
                <a:gd name="connsiteX8" fmla="*/ 572201 w 577811"/>
                <a:gd name="connsiteY8" fmla="*/ 225268 h 595516"/>
                <a:gd name="connsiteX9" fmla="*/ 566592 w 577811"/>
                <a:gd name="connsiteY9" fmla="*/ 286976 h 595516"/>
                <a:gd name="connsiteX10" fmla="*/ 555372 w 577811"/>
                <a:gd name="connsiteY10" fmla="*/ 359904 h 595516"/>
                <a:gd name="connsiteX11" fmla="*/ 544152 w 577811"/>
                <a:gd name="connsiteY11" fmla="*/ 477710 h 595516"/>
                <a:gd name="connsiteX12" fmla="*/ 549762 w 577811"/>
                <a:gd name="connsiteY12" fmla="*/ 528198 h 595516"/>
                <a:gd name="connsiteX13" fmla="*/ 566592 w 577811"/>
                <a:gd name="connsiteY13" fmla="*/ 539418 h 595516"/>
                <a:gd name="connsiteX14" fmla="*/ 549762 w 577811"/>
                <a:gd name="connsiteY14" fmla="*/ 550638 h 595516"/>
                <a:gd name="connsiteX15" fmla="*/ 359028 w 577811"/>
                <a:gd name="connsiteY15" fmla="*/ 550638 h 595516"/>
                <a:gd name="connsiteX16" fmla="*/ 319760 w 577811"/>
                <a:gd name="connsiteY16" fmla="*/ 556248 h 595516"/>
                <a:gd name="connsiteX17" fmla="*/ 241222 w 577811"/>
                <a:gd name="connsiteY17" fmla="*/ 561857 h 595516"/>
                <a:gd name="connsiteX18" fmla="*/ 190734 w 577811"/>
                <a:gd name="connsiteY18" fmla="*/ 578687 h 595516"/>
                <a:gd name="connsiteX19" fmla="*/ 157075 w 577811"/>
                <a:gd name="connsiteY19" fmla="*/ 589906 h 595516"/>
                <a:gd name="connsiteX20" fmla="*/ 134636 w 577811"/>
                <a:gd name="connsiteY20" fmla="*/ 595516 h 595516"/>
                <a:gd name="connsiteX21" fmla="*/ 117806 w 577811"/>
                <a:gd name="connsiteY21" fmla="*/ 589906 h 595516"/>
                <a:gd name="connsiteX22" fmla="*/ 95367 w 577811"/>
                <a:gd name="connsiteY22" fmla="*/ 584297 h 595516"/>
                <a:gd name="connsiteX23" fmla="*/ 44879 w 577811"/>
                <a:gd name="connsiteY23" fmla="*/ 567467 h 595516"/>
                <a:gd name="connsiteX24" fmla="*/ 11220 w 577811"/>
                <a:gd name="connsiteY24" fmla="*/ 550638 h 595516"/>
                <a:gd name="connsiteX25" fmla="*/ 5610 w 577811"/>
                <a:gd name="connsiteY25" fmla="*/ 550638 h 595516"/>
                <a:gd name="connsiteX26" fmla="*/ 0 w 577811"/>
                <a:gd name="connsiteY26" fmla="*/ 96243 h 595516"/>
                <a:gd name="connsiteX0" fmla="*/ 0 w 577811"/>
                <a:gd name="connsiteY0" fmla="*/ 90510 h 589783"/>
                <a:gd name="connsiteX1" fmla="*/ 0 w 577811"/>
                <a:gd name="connsiteY1" fmla="*/ 90510 h 589783"/>
                <a:gd name="connsiteX2" fmla="*/ 560982 w 577811"/>
                <a:gd name="connsiteY2" fmla="*/ 23192 h 589783"/>
                <a:gd name="connsiteX3" fmla="*/ 577811 w 577811"/>
                <a:gd name="connsiteY3" fmla="*/ 11972 h 589783"/>
                <a:gd name="connsiteX4" fmla="*/ 549762 w 577811"/>
                <a:gd name="connsiteY4" fmla="*/ 753 h 589783"/>
                <a:gd name="connsiteX5" fmla="*/ 560982 w 577811"/>
                <a:gd name="connsiteY5" fmla="*/ 34411 h 589783"/>
                <a:gd name="connsiteX6" fmla="*/ 566592 w 577811"/>
                <a:gd name="connsiteY6" fmla="*/ 202706 h 589783"/>
                <a:gd name="connsiteX7" fmla="*/ 572201 w 577811"/>
                <a:gd name="connsiteY7" fmla="*/ 219535 h 589783"/>
                <a:gd name="connsiteX8" fmla="*/ 566592 w 577811"/>
                <a:gd name="connsiteY8" fmla="*/ 281243 h 589783"/>
                <a:gd name="connsiteX9" fmla="*/ 555372 w 577811"/>
                <a:gd name="connsiteY9" fmla="*/ 354171 h 589783"/>
                <a:gd name="connsiteX10" fmla="*/ 544152 w 577811"/>
                <a:gd name="connsiteY10" fmla="*/ 471977 h 589783"/>
                <a:gd name="connsiteX11" fmla="*/ 549762 w 577811"/>
                <a:gd name="connsiteY11" fmla="*/ 522465 h 589783"/>
                <a:gd name="connsiteX12" fmla="*/ 566592 w 577811"/>
                <a:gd name="connsiteY12" fmla="*/ 533685 h 589783"/>
                <a:gd name="connsiteX13" fmla="*/ 549762 w 577811"/>
                <a:gd name="connsiteY13" fmla="*/ 544905 h 589783"/>
                <a:gd name="connsiteX14" fmla="*/ 359028 w 577811"/>
                <a:gd name="connsiteY14" fmla="*/ 544905 h 589783"/>
                <a:gd name="connsiteX15" fmla="*/ 319760 w 577811"/>
                <a:gd name="connsiteY15" fmla="*/ 550515 h 589783"/>
                <a:gd name="connsiteX16" fmla="*/ 241222 w 577811"/>
                <a:gd name="connsiteY16" fmla="*/ 556124 h 589783"/>
                <a:gd name="connsiteX17" fmla="*/ 190734 w 577811"/>
                <a:gd name="connsiteY17" fmla="*/ 572954 h 589783"/>
                <a:gd name="connsiteX18" fmla="*/ 157075 w 577811"/>
                <a:gd name="connsiteY18" fmla="*/ 584173 h 589783"/>
                <a:gd name="connsiteX19" fmla="*/ 134636 w 577811"/>
                <a:gd name="connsiteY19" fmla="*/ 589783 h 589783"/>
                <a:gd name="connsiteX20" fmla="*/ 117806 w 577811"/>
                <a:gd name="connsiteY20" fmla="*/ 584173 h 589783"/>
                <a:gd name="connsiteX21" fmla="*/ 95367 w 577811"/>
                <a:gd name="connsiteY21" fmla="*/ 578564 h 589783"/>
                <a:gd name="connsiteX22" fmla="*/ 44879 w 577811"/>
                <a:gd name="connsiteY22" fmla="*/ 561734 h 589783"/>
                <a:gd name="connsiteX23" fmla="*/ 11220 w 577811"/>
                <a:gd name="connsiteY23" fmla="*/ 544905 h 589783"/>
                <a:gd name="connsiteX24" fmla="*/ 5610 w 577811"/>
                <a:gd name="connsiteY24" fmla="*/ 544905 h 589783"/>
                <a:gd name="connsiteX25" fmla="*/ 0 w 577811"/>
                <a:gd name="connsiteY25" fmla="*/ 90510 h 589783"/>
                <a:gd name="connsiteX0" fmla="*/ 0 w 695065"/>
                <a:gd name="connsiteY0" fmla="*/ 78614 h 577887"/>
                <a:gd name="connsiteX1" fmla="*/ 0 w 695065"/>
                <a:gd name="connsiteY1" fmla="*/ 78614 h 577887"/>
                <a:gd name="connsiteX2" fmla="*/ 560982 w 695065"/>
                <a:gd name="connsiteY2" fmla="*/ 11296 h 577887"/>
                <a:gd name="connsiteX3" fmla="*/ 577811 w 695065"/>
                <a:gd name="connsiteY3" fmla="*/ 76 h 577887"/>
                <a:gd name="connsiteX4" fmla="*/ 695018 w 695065"/>
                <a:gd name="connsiteY4" fmla="*/ 136494 h 577887"/>
                <a:gd name="connsiteX5" fmla="*/ 560982 w 695065"/>
                <a:gd name="connsiteY5" fmla="*/ 22515 h 577887"/>
                <a:gd name="connsiteX6" fmla="*/ 566592 w 695065"/>
                <a:gd name="connsiteY6" fmla="*/ 190810 h 577887"/>
                <a:gd name="connsiteX7" fmla="*/ 572201 w 695065"/>
                <a:gd name="connsiteY7" fmla="*/ 207639 h 577887"/>
                <a:gd name="connsiteX8" fmla="*/ 566592 w 695065"/>
                <a:gd name="connsiteY8" fmla="*/ 269347 h 577887"/>
                <a:gd name="connsiteX9" fmla="*/ 555372 w 695065"/>
                <a:gd name="connsiteY9" fmla="*/ 342275 h 577887"/>
                <a:gd name="connsiteX10" fmla="*/ 544152 w 695065"/>
                <a:gd name="connsiteY10" fmla="*/ 460081 h 577887"/>
                <a:gd name="connsiteX11" fmla="*/ 549762 w 695065"/>
                <a:gd name="connsiteY11" fmla="*/ 510569 h 577887"/>
                <a:gd name="connsiteX12" fmla="*/ 566592 w 695065"/>
                <a:gd name="connsiteY12" fmla="*/ 521789 h 577887"/>
                <a:gd name="connsiteX13" fmla="*/ 549762 w 695065"/>
                <a:gd name="connsiteY13" fmla="*/ 533009 h 577887"/>
                <a:gd name="connsiteX14" fmla="*/ 359028 w 695065"/>
                <a:gd name="connsiteY14" fmla="*/ 533009 h 577887"/>
                <a:gd name="connsiteX15" fmla="*/ 319760 w 695065"/>
                <a:gd name="connsiteY15" fmla="*/ 538619 h 577887"/>
                <a:gd name="connsiteX16" fmla="*/ 241222 w 695065"/>
                <a:gd name="connsiteY16" fmla="*/ 544228 h 577887"/>
                <a:gd name="connsiteX17" fmla="*/ 190734 w 695065"/>
                <a:gd name="connsiteY17" fmla="*/ 561058 h 577887"/>
                <a:gd name="connsiteX18" fmla="*/ 157075 w 695065"/>
                <a:gd name="connsiteY18" fmla="*/ 572277 h 577887"/>
                <a:gd name="connsiteX19" fmla="*/ 134636 w 695065"/>
                <a:gd name="connsiteY19" fmla="*/ 577887 h 577887"/>
                <a:gd name="connsiteX20" fmla="*/ 117806 w 695065"/>
                <a:gd name="connsiteY20" fmla="*/ 572277 h 577887"/>
                <a:gd name="connsiteX21" fmla="*/ 95367 w 695065"/>
                <a:gd name="connsiteY21" fmla="*/ 566668 h 577887"/>
                <a:gd name="connsiteX22" fmla="*/ 44879 w 695065"/>
                <a:gd name="connsiteY22" fmla="*/ 549838 h 577887"/>
                <a:gd name="connsiteX23" fmla="*/ 11220 w 695065"/>
                <a:gd name="connsiteY23" fmla="*/ 533009 h 577887"/>
                <a:gd name="connsiteX24" fmla="*/ 5610 w 695065"/>
                <a:gd name="connsiteY24" fmla="*/ 533009 h 577887"/>
                <a:gd name="connsiteX25" fmla="*/ 0 w 695065"/>
                <a:gd name="connsiteY25" fmla="*/ 78614 h 577887"/>
                <a:gd name="connsiteX0" fmla="*/ 0 w 577811"/>
                <a:gd name="connsiteY0" fmla="*/ 78998 h 578271"/>
                <a:gd name="connsiteX1" fmla="*/ 0 w 577811"/>
                <a:gd name="connsiteY1" fmla="*/ 78998 h 578271"/>
                <a:gd name="connsiteX2" fmla="*/ 560982 w 577811"/>
                <a:gd name="connsiteY2" fmla="*/ 11680 h 578271"/>
                <a:gd name="connsiteX3" fmla="*/ 577811 w 577811"/>
                <a:gd name="connsiteY3" fmla="*/ 460 h 578271"/>
                <a:gd name="connsiteX4" fmla="*/ 560982 w 577811"/>
                <a:gd name="connsiteY4" fmla="*/ 22899 h 578271"/>
                <a:gd name="connsiteX5" fmla="*/ 566592 w 577811"/>
                <a:gd name="connsiteY5" fmla="*/ 191194 h 578271"/>
                <a:gd name="connsiteX6" fmla="*/ 572201 w 577811"/>
                <a:gd name="connsiteY6" fmla="*/ 208023 h 578271"/>
                <a:gd name="connsiteX7" fmla="*/ 566592 w 577811"/>
                <a:gd name="connsiteY7" fmla="*/ 269731 h 578271"/>
                <a:gd name="connsiteX8" fmla="*/ 555372 w 577811"/>
                <a:gd name="connsiteY8" fmla="*/ 342659 h 578271"/>
                <a:gd name="connsiteX9" fmla="*/ 544152 w 577811"/>
                <a:gd name="connsiteY9" fmla="*/ 460465 h 578271"/>
                <a:gd name="connsiteX10" fmla="*/ 549762 w 577811"/>
                <a:gd name="connsiteY10" fmla="*/ 510953 h 578271"/>
                <a:gd name="connsiteX11" fmla="*/ 566592 w 577811"/>
                <a:gd name="connsiteY11" fmla="*/ 522173 h 578271"/>
                <a:gd name="connsiteX12" fmla="*/ 549762 w 577811"/>
                <a:gd name="connsiteY12" fmla="*/ 533393 h 578271"/>
                <a:gd name="connsiteX13" fmla="*/ 359028 w 577811"/>
                <a:gd name="connsiteY13" fmla="*/ 533393 h 578271"/>
                <a:gd name="connsiteX14" fmla="*/ 319760 w 577811"/>
                <a:gd name="connsiteY14" fmla="*/ 539003 h 578271"/>
                <a:gd name="connsiteX15" fmla="*/ 241222 w 577811"/>
                <a:gd name="connsiteY15" fmla="*/ 544612 h 578271"/>
                <a:gd name="connsiteX16" fmla="*/ 190734 w 577811"/>
                <a:gd name="connsiteY16" fmla="*/ 561442 h 578271"/>
                <a:gd name="connsiteX17" fmla="*/ 157075 w 577811"/>
                <a:gd name="connsiteY17" fmla="*/ 572661 h 578271"/>
                <a:gd name="connsiteX18" fmla="*/ 134636 w 577811"/>
                <a:gd name="connsiteY18" fmla="*/ 578271 h 578271"/>
                <a:gd name="connsiteX19" fmla="*/ 117806 w 577811"/>
                <a:gd name="connsiteY19" fmla="*/ 572661 h 578271"/>
                <a:gd name="connsiteX20" fmla="*/ 95367 w 577811"/>
                <a:gd name="connsiteY20" fmla="*/ 567052 h 578271"/>
                <a:gd name="connsiteX21" fmla="*/ 44879 w 577811"/>
                <a:gd name="connsiteY21" fmla="*/ 550222 h 578271"/>
                <a:gd name="connsiteX22" fmla="*/ 11220 w 577811"/>
                <a:gd name="connsiteY22" fmla="*/ 533393 h 578271"/>
                <a:gd name="connsiteX23" fmla="*/ 5610 w 577811"/>
                <a:gd name="connsiteY23" fmla="*/ 533393 h 578271"/>
                <a:gd name="connsiteX24" fmla="*/ 0 w 577811"/>
                <a:gd name="connsiteY24" fmla="*/ 78998 h 578271"/>
                <a:gd name="connsiteX0" fmla="*/ 0 w 577811"/>
                <a:gd name="connsiteY0" fmla="*/ 78998 h 578271"/>
                <a:gd name="connsiteX1" fmla="*/ 0 w 577811"/>
                <a:gd name="connsiteY1" fmla="*/ 78998 h 578271"/>
                <a:gd name="connsiteX2" fmla="*/ 577811 w 577811"/>
                <a:gd name="connsiteY2" fmla="*/ 460 h 578271"/>
                <a:gd name="connsiteX3" fmla="*/ 560982 w 577811"/>
                <a:gd name="connsiteY3" fmla="*/ 22899 h 578271"/>
                <a:gd name="connsiteX4" fmla="*/ 566592 w 577811"/>
                <a:gd name="connsiteY4" fmla="*/ 191194 h 578271"/>
                <a:gd name="connsiteX5" fmla="*/ 572201 w 577811"/>
                <a:gd name="connsiteY5" fmla="*/ 208023 h 578271"/>
                <a:gd name="connsiteX6" fmla="*/ 566592 w 577811"/>
                <a:gd name="connsiteY6" fmla="*/ 269731 h 578271"/>
                <a:gd name="connsiteX7" fmla="*/ 555372 w 577811"/>
                <a:gd name="connsiteY7" fmla="*/ 342659 h 578271"/>
                <a:gd name="connsiteX8" fmla="*/ 544152 w 577811"/>
                <a:gd name="connsiteY8" fmla="*/ 460465 h 578271"/>
                <a:gd name="connsiteX9" fmla="*/ 549762 w 577811"/>
                <a:gd name="connsiteY9" fmla="*/ 510953 h 578271"/>
                <a:gd name="connsiteX10" fmla="*/ 566592 w 577811"/>
                <a:gd name="connsiteY10" fmla="*/ 522173 h 578271"/>
                <a:gd name="connsiteX11" fmla="*/ 549762 w 577811"/>
                <a:gd name="connsiteY11" fmla="*/ 533393 h 578271"/>
                <a:gd name="connsiteX12" fmla="*/ 359028 w 577811"/>
                <a:gd name="connsiteY12" fmla="*/ 533393 h 578271"/>
                <a:gd name="connsiteX13" fmla="*/ 319760 w 577811"/>
                <a:gd name="connsiteY13" fmla="*/ 539003 h 578271"/>
                <a:gd name="connsiteX14" fmla="*/ 241222 w 577811"/>
                <a:gd name="connsiteY14" fmla="*/ 544612 h 578271"/>
                <a:gd name="connsiteX15" fmla="*/ 190734 w 577811"/>
                <a:gd name="connsiteY15" fmla="*/ 561442 h 578271"/>
                <a:gd name="connsiteX16" fmla="*/ 157075 w 577811"/>
                <a:gd name="connsiteY16" fmla="*/ 572661 h 578271"/>
                <a:gd name="connsiteX17" fmla="*/ 134636 w 577811"/>
                <a:gd name="connsiteY17" fmla="*/ 578271 h 578271"/>
                <a:gd name="connsiteX18" fmla="*/ 117806 w 577811"/>
                <a:gd name="connsiteY18" fmla="*/ 572661 h 578271"/>
                <a:gd name="connsiteX19" fmla="*/ 95367 w 577811"/>
                <a:gd name="connsiteY19" fmla="*/ 567052 h 578271"/>
                <a:gd name="connsiteX20" fmla="*/ 44879 w 577811"/>
                <a:gd name="connsiteY20" fmla="*/ 550222 h 578271"/>
                <a:gd name="connsiteX21" fmla="*/ 11220 w 577811"/>
                <a:gd name="connsiteY21" fmla="*/ 533393 h 578271"/>
                <a:gd name="connsiteX22" fmla="*/ 5610 w 577811"/>
                <a:gd name="connsiteY22" fmla="*/ 533393 h 578271"/>
                <a:gd name="connsiteX23" fmla="*/ 0 w 577811"/>
                <a:gd name="connsiteY23" fmla="*/ 78998 h 578271"/>
                <a:gd name="connsiteX0" fmla="*/ 0 w 617242"/>
                <a:gd name="connsiteY0" fmla="*/ 78538 h 577811"/>
                <a:gd name="connsiteX1" fmla="*/ 0 w 617242"/>
                <a:gd name="connsiteY1" fmla="*/ 78538 h 577811"/>
                <a:gd name="connsiteX2" fmla="*/ 577811 w 617242"/>
                <a:gd name="connsiteY2" fmla="*/ 0 h 577811"/>
                <a:gd name="connsiteX3" fmla="*/ 566592 w 617242"/>
                <a:gd name="connsiteY3" fmla="*/ 190734 h 577811"/>
                <a:gd name="connsiteX4" fmla="*/ 572201 w 617242"/>
                <a:gd name="connsiteY4" fmla="*/ 207563 h 577811"/>
                <a:gd name="connsiteX5" fmla="*/ 566592 w 617242"/>
                <a:gd name="connsiteY5" fmla="*/ 269271 h 577811"/>
                <a:gd name="connsiteX6" fmla="*/ 555372 w 617242"/>
                <a:gd name="connsiteY6" fmla="*/ 342199 h 577811"/>
                <a:gd name="connsiteX7" fmla="*/ 544152 w 617242"/>
                <a:gd name="connsiteY7" fmla="*/ 460005 h 577811"/>
                <a:gd name="connsiteX8" fmla="*/ 549762 w 617242"/>
                <a:gd name="connsiteY8" fmla="*/ 510493 h 577811"/>
                <a:gd name="connsiteX9" fmla="*/ 566592 w 617242"/>
                <a:gd name="connsiteY9" fmla="*/ 521713 h 577811"/>
                <a:gd name="connsiteX10" fmla="*/ 549762 w 617242"/>
                <a:gd name="connsiteY10" fmla="*/ 532933 h 577811"/>
                <a:gd name="connsiteX11" fmla="*/ 359028 w 617242"/>
                <a:gd name="connsiteY11" fmla="*/ 532933 h 577811"/>
                <a:gd name="connsiteX12" fmla="*/ 319760 w 617242"/>
                <a:gd name="connsiteY12" fmla="*/ 538543 h 577811"/>
                <a:gd name="connsiteX13" fmla="*/ 241222 w 617242"/>
                <a:gd name="connsiteY13" fmla="*/ 544152 h 577811"/>
                <a:gd name="connsiteX14" fmla="*/ 190734 w 617242"/>
                <a:gd name="connsiteY14" fmla="*/ 560982 h 577811"/>
                <a:gd name="connsiteX15" fmla="*/ 157075 w 617242"/>
                <a:gd name="connsiteY15" fmla="*/ 572201 h 577811"/>
                <a:gd name="connsiteX16" fmla="*/ 134636 w 617242"/>
                <a:gd name="connsiteY16" fmla="*/ 577811 h 577811"/>
                <a:gd name="connsiteX17" fmla="*/ 117806 w 617242"/>
                <a:gd name="connsiteY17" fmla="*/ 572201 h 577811"/>
                <a:gd name="connsiteX18" fmla="*/ 95367 w 617242"/>
                <a:gd name="connsiteY18" fmla="*/ 566592 h 577811"/>
                <a:gd name="connsiteX19" fmla="*/ 44879 w 617242"/>
                <a:gd name="connsiteY19" fmla="*/ 549762 h 577811"/>
                <a:gd name="connsiteX20" fmla="*/ 11220 w 617242"/>
                <a:gd name="connsiteY20" fmla="*/ 532933 h 577811"/>
                <a:gd name="connsiteX21" fmla="*/ 5610 w 617242"/>
                <a:gd name="connsiteY21" fmla="*/ 532933 h 577811"/>
                <a:gd name="connsiteX22" fmla="*/ 0 w 617242"/>
                <a:gd name="connsiteY22" fmla="*/ 78538 h 577811"/>
                <a:gd name="connsiteX0" fmla="*/ 0 w 580619"/>
                <a:gd name="connsiteY0" fmla="*/ 21388 h 520661"/>
                <a:gd name="connsiteX1" fmla="*/ 0 w 580619"/>
                <a:gd name="connsiteY1" fmla="*/ 21388 h 520661"/>
                <a:gd name="connsiteX2" fmla="*/ 523043 w 580619"/>
                <a:gd name="connsiteY2" fmla="*/ 0 h 520661"/>
                <a:gd name="connsiteX3" fmla="*/ 566592 w 580619"/>
                <a:gd name="connsiteY3" fmla="*/ 133584 h 520661"/>
                <a:gd name="connsiteX4" fmla="*/ 572201 w 580619"/>
                <a:gd name="connsiteY4" fmla="*/ 150413 h 520661"/>
                <a:gd name="connsiteX5" fmla="*/ 566592 w 580619"/>
                <a:gd name="connsiteY5" fmla="*/ 212121 h 520661"/>
                <a:gd name="connsiteX6" fmla="*/ 555372 w 580619"/>
                <a:gd name="connsiteY6" fmla="*/ 285049 h 520661"/>
                <a:gd name="connsiteX7" fmla="*/ 544152 w 580619"/>
                <a:gd name="connsiteY7" fmla="*/ 402855 h 520661"/>
                <a:gd name="connsiteX8" fmla="*/ 549762 w 580619"/>
                <a:gd name="connsiteY8" fmla="*/ 453343 h 520661"/>
                <a:gd name="connsiteX9" fmla="*/ 566592 w 580619"/>
                <a:gd name="connsiteY9" fmla="*/ 464563 h 520661"/>
                <a:gd name="connsiteX10" fmla="*/ 549762 w 580619"/>
                <a:gd name="connsiteY10" fmla="*/ 475783 h 520661"/>
                <a:gd name="connsiteX11" fmla="*/ 359028 w 580619"/>
                <a:gd name="connsiteY11" fmla="*/ 475783 h 520661"/>
                <a:gd name="connsiteX12" fmla="*/ 319760 w 580619"/>
                <a:gd name="connsiteY12" fmla="*/ 481393 h 520661"/>
                <a:gd name="connsiteX13" fmla="*/ 241222 w 580619"/>
                <a:gd name="connsiteY13" fmla="*/ 487002 h 520661"/>
                <a:gd name="connsiteX14" fmla="*/ 190734 w 580619"/>
                <a:gd name="connsiteY14" fmla="*/ 503832 h 520661"/>
                <a:gd name="connsiteX15" fmla="*/ 157075 w 580619"/>
                <a:gd name="connsiteY15" fmla="*/ 515051 h 520661"/>
                <a:gd name="connsiteX16" fmla="*/ 134636 w 580619"/>
                <a:gd name="connsiteY16" fmla="*/ 520661 h 520661"/>
                <a:gd name="connsiteX17" fmla="*/ 117806 w 580619"/>
                <a:gd name="connsiteY17" fmla="*/ 515051 h 520661"/>
                <a:gd name="connsiteX18" fmla="*/ 95367 w 580619"/>
                <a:gd name="connsiteY18" fmla="*/ 509442 h 520661"/>
                <a:gd name="connsiteX19" fmla="*/ 44879 w 580619"/>
                <a:gd name="connsiteY19" fmla="*/ 492612 h 520661"/>
                <a:gd name="connsiteX20" fmla="*/ 11220 w 580619"/>
                <a:gd name="connsiteY20" fmla="*/ 475783 h 520661"/>
                <a:gd name="connsiteX21" fmla="*/ 5610 w 580619"/>
                <a:gd name="connsiteY21" fmla="*/ 475783 h 520661"/>
                <a:gd name="connsiteX22" fmla="*/ 0 w 580619"/>
                <a:gd name="connsiteY22" fmla="*/ 21388 h 520661"/>
                <a:gd name="connsiteX0" fmla="*/ 0 w 572201"/>
                <a:gd name="connsiteY0" fmla="*/ 21388 h 520661"/>
                <a:gd name="connsiteX1" fmla="*/ 0 w 572201"/>
                <a:gd name="connsiteY1" fmla="*/ 21388 h 520661"/>
                <a:gd name="connsiteX2" fmla="*/ 523043 w 572201"/>
                <a:gd name="connsiteY2" fmla="*/ 0 h 520661"/>
                <a:gd name="connsiteX3" fmla="*/ 566592 w 572201"/>
                <a:gd name="connsiteY3" fmla="*/ 133584 h 520661"/>
                <a:gd name="connsiteX4" fmla="*/ 572201 w 572201"/>
                <a:gd name="connsiteY4" fmla="*/ 150413 h 520661"/>
                <a:gd name="connsiteX5" fmla="*/ 566592 w 572201"/>
                <a:gd name="connsiteY5" fmla="*/ 212121 h 520661"/>
                <a:gd name="connsiteX6" fmla="*/ 555372 w 572201"/>
                <a:gd name="connsiteY6" fmla="*/ 285049 h 520661"/>
                <a:gd name="connsiteX7" fmla="*/ 544152 w 572201"/>
                <a:gd name="connsiteY7" fmla="*/ 402855 h 520661"/>
                <a:gd name="connsiteX8" fmla="*/ 549762 w 572201"/>
                <a:gd name="connsiteY8" fmla="*/ 453343 h 520661"/>
                <a:gd name="connsiteX9" fmla="*/ 566592 w 572201"/>
                <a:gd name="connsiteY9" fmla="*/ 464563 h 520661"/>
                <a:gd name="connsiteX10" fmla="*/ 549762 w 572201"/>
                <a:gd name="connsiteY10" fmla="*/ 475783 h 520661"/>
                <a:gd name="connsiteX11" fmla="*/ 359028 w 572201"/>
                <a:gd name="connsiteY11" fmla="*/ 475783 h 520661"/>
                <a:gd name="connsiteX12" fmla="*/ 319760 w 572201"/>
                <a:gd name="connsiteY12" fmla="*/ 481393 h 520661"/>
                <a:gd name="connsiteX13" fmla="*/ 241222 w 572201"/>
                <a:gd name="connsiteY13" fmla="*/ 487002 h 520661"/>
                <a:gd name="connsiteX14" fmla="*/ 190734 w 572201"/>
                <a:gd name="connsiteY14" fmla="*/ 503832 h 520661"/>
                <a:gd name="connsiteX15" fmla="*/ 157075 w 572201"/>
                <a:gd name="connsiteY15" fmla="*/ 515051 h 520661"/>
                <a:gd name="connsiteX16" fmla="*/ 134636 w 572201"/>
                <a:gd name="connsiteY16" fmla="*/ 520661 h 520661"/>
                <a:gd name="connsiteX17" fmla="*/ 117806 w 572201"/>
                <a:gd name="connsiteY17" fmla="*/ 515051 h 520661"/>
                <a:gd name="connsiteX18" fmla="*/ 95367 w 572201"/>
                <a:gd name="connsiteY18" fmla="*/ 509442 h 520661"/>
                <a:gd name="connsiteX19" fmla="*/ 44879 w 572201"/>
                <a:gd name="connsiteY19" fmla="*/ 492612 h 520661"/>
                <a:gd name="connsiteX20" fmla="*/ 11220 w 572201"/>
                <a:gd name="connsiteY20" fmla="*/ 475783 h 520661"/>
                <a:gd name="connsiteX21" fmla="*/ 5610 w 572201"/>
                <a:gd name="connsiteY21" fmla="*/ 475783 h 520661"/>
                <a:gd name="connsiteX22" fmla="*/ 0 w 572201"/>
                <a:gd name="connsiteY22" fmla="*/ 21388 h 520661"/>
                <a:gd name="connsiteX0" fmla="*/ 0 w 572201"/>
                <a:gd name="connsiteY0" fmla="*/ 76156 h 575429"/>
                <a:gd name="connsiteX1" fmla="*/ 0 w 572201"/>
                <a:gd name="connsiteY1" fmla="*/ 76156 h 575429"/>
                <a:gd name="connsiteX2" fmla="*/ 561143 w 572201"/>
                <a:gd name="connsiteY2" fmla="*/ 0 h 575429"/>
                <a:gd name="connsiteX3" fmla="*/ 566592 w 572201"/>
                <a:gd name="connsiteY3" fmla="*/ 188352 h 575429"/>
                <a:gd name="connsiteX4" fmla="*/ 572201 w 572201"/>
                <a:gd name="connsiteY4" fmla="*/ 205181 h 575429"/>
                <a:gd name="connsiteX5" fmla="*/ 566592 w 572201"/>
                <a:gd name="connsiteY5" fmla="*/ 266889 h 575429"/>
                <a:gd name="connsiteX6" fmla="*/ 555372 w 572201"/>
                <a:gd name="connsiteY6" fmla="*/ 339817 h 575429"/>
                <a:gd name="connsiteX7" fmla="*/ 544152 w 572201"/>
                <a:gd name="connsiteY7" fmla="*/ 457623 h 575429"/>
                <a:gd name="connsiteX8" fmla="*/ 549762 w 572201"/>
                <a:gd name="connsiteY8" fmla="*/ 508111 h 575429"/>
                <a:gd name="connsiteX9" fmla="*/ 566592 w 572201"/>
                <a:gd name="connsiteY9" fmla="*/ 519331 h 575429"/>
                <a:gd name="connsiteX10" fmla="*/ 549762 w 572201"/>
                <a:gd name="connsiteY10" fmla="*/ 530551 h 575429"/>
                <a:gd name="connsiteX11" fmla="*/ 359028 w 572201"/>
                <a:gd name="connsiteY11" fmla="*/ 530551 h 575429"/>
                <a:gd name="connsiteX12" fmla="*/ 319760 w 572201"/>
                <a:gd name="connsiteY12" fmla="*/ 536161 h 575429"/>
                <a:gd name="connsiteX13" fmla="*/ 241222 w 572201"/>
                <a:gd name="connsiteY13" fmla="*/ 541770 h 575429"/>
                <a:gd name="connsiteX14" fmla="*/ 190734 w 572201"/>
                <a:gd name="connsiteY14" fmla="*/ 558600 h 575429"/>
                <a:gd name="connsiteX15" fmla="*/ 157075 w 572201"/>
                <a:gd name="connsiteY15" fmla="*/ 569819 h 575429"/>
                <a:gd name="connsiteX16" fmla="*/ 134636 w 572201"/>
                <a:gd name="connsiteY16" fmla="*/ 575429 h 575429"/>
                <a:gd name="connsiteX17" fmla="*/ 117806 w 572201"/>
                <a:gd name="connsiteY17" fmla="*/ 569819 h 575429"/>
                <a:gd name="connsiteX18" fmla="*/ 95367 w 572201"/>
                <a:gd name="connsiteY18" fmla="*/ 564210 h 575429"/>
                <a:gd name="connsiteX19" fmla="*/ 44879 w 572201"/>
                <a:gd name="connsiteY19" fmla="*/ 547380 h 575429"/>
                <a:gd name="connsiteX20" fmla="*/ 11220 w 572201"/>
                <a:gd name="connsiteY20" fmla="*/ 530551 h 575429"/>
                <a:gd name="connsiteX21" fmla="*/ 5610 w 572201"/>
                <a:gd name="connsiteY21" fmla="*/ 530551 h 575429"/>
                <a:gd name="connsiteX22" fmla="*/ 0 w 572201"/>
                <a:gd name="connsiteY22" fmla="*/ 76156 h 575429"/>
                <a:gd name="connsiteX0" fmla="*/ 0 w 606371"/>
                <a:gd name="connsiteY0" fmla="*/ 76156 h 575429"/>
                <a:gd name="connsiteX1" fmla="*/ 0 w 606371"/>
                <a:gd name="connsiteY1" fmla="*/ 76156 h 575429"/>
                <a:gd name="connsiteX2" fmla="*/ 561143 w 606371"/>
                <a:gd name="connsiteY2" fmla="*/ 0 h 575429"/>
                <a:gd name="connsiteX3" fmla="*/ 572201 w 606371"/>
                <a:gd name="connsiteY3" fmla="*/ 205181 h 575429"/>
                <a:gd name="connsiteX4" fmla="*/ 566592 w 606371"/>
                <a:gd name="connsiteY4" fmla="*/ 266889 h 575429"/>
                <a:gd name="connsiteX5" fmla="*/ 555372 w 606371"/>
                <a:gd name="connsiteY5" fmla="*/ 339817 h 575429"/>
                <a:gd name="connsiteX6" fmla="*/ 544152 w 606371"/>
                <a:gd name="connsiteY6" fmla="*/ 457623 h 575429"/>
                <a:gd name="connsiteX7" fmla="*/ 549762 w 606371"/>
                <a:gd name="connsiteY7" fmla="*/ 508111 h 575429"/>
                <a:gd name="connsiteX8" fmla="*/ 566592 w 606371"/>
                <a:gd name="connsiteY8" fmla="*/ 519331 h 575429"/>
                <a:gd name="connsiteX9" fmla="*/ 549762 w 606371"/>
                <a:gd name="connsiteY9" fmla="*/ 530551 h 575429"/>
                <a:gd name="connsiteX10" fmla="*/ 359028 w 606371"/>
                <a:gd name="connsiteY10" fmla="*/ 530551 h 575429"/>
                <a:gd name="connsiteX11" fmla="*/ 319760 w 606371"/>
                <a:gd name="connsiteY11" fmla="*/ 536161 h 575429"/>
                <a:gd name="connsiteX12" fmla="*/ 241222 w 606371"/>
                <a:gd name="connsiteY12" fmla="*/ 541770 h 575429"/>
                <a:gd name="connsiteX13" fmla="*/ 190734 w 606371"/>
                <a:gd name="connsiteY13" fmla="*/ 558600 h 575429"/>
                <a:gd name="connsiteX14" fmla="*/ 157075 w 606371"/>
                <a:gd name="connsiteY14" fmla="*/ 569819 h 575429"/>
                <a:gd name="connsiteX15" fmla="*/ 134636 w 606371"/>
                <a:gd name="connsiteY15" fmla="*/ 575429 h 575429"/>
                <a:gd name="connsiteX16" fmla="*/ 117806 w 606371"/>
                <a:gd name="connsiteY16" fmla="*/ 569819 h 575429"/>
                <a:gd name="connsiteX17" fmla="*/ 95367 w 606371"/>
                <a:gd name="connsiteY17" fmla="*/ 564210 h 575429"/>
                <a:gd name="connsiteX18" fmla="*/ 44879 w 606371"/>
                <a:gd name="connsiteY18" fmla="*/ 547380 h 575429"/>
                <a:gd name="connsiteX19" fmla="*/ 11220 w 606371"/>
                <a:gd name="connsiteY19" fmla="*/ 530551 h 575429"/>
                <a:gd name="connsiteX20" fmla="*/ 5610 w 606371"/>
                <a:gd name="connsiteY20" fmla="*/ 530551 h 575429"/>
                <a:gd name="connsiteX21" fmla="*/ 0 w 606371"/>
                <a:gd name="connsiteY21" fmla="*/ 76156 h 575429"/>
                <a:gd name="connsiteX0" fmla="*/ 0 w 604801"/>
                <a:gd name="connsiteY0" fmla="*/ 76156 h 575429"/>
                <a:gd name="connsiteX1" fmla="*/ 0 w 604801"/>
                <a:gd name="connsiteY1" fmla="*/ 76156 h 575429"/>
                <a:gd name="connsiteX2" fmla="*/ 561143 w 604801"/>
                <a:gd name="connsiteY2" fmla="*/ 0 h 575429"/>
                <a:gd name="connsiteX3" fmla="*/ 566592 w 604801"/>
                <a:gd name="connsiteY3" fmla="*/ 266889 h 575429"/>
                <a:gd name="connsiteX4" fmla="*/ 555372 w 604801"/>
                <a:gd name="connsiteY4" fmla="*/ 339817 h 575429"/>
                <a:gd name="connsiteX5" fmla="*/ 544152 w 604801"/>
                <a:gd name="connsiteY5" fmla="*/ 457623 h 575429"/>
                <a:gd name="connsiteX6" fmla="*/ 549762 w 604801"/>
                <a:gd name="connsiteY6" fmla="*/ 508111 h 575429"/>
                <a:gd name="connsiteX7" fmla="*/ 566592 w 604801"/>
                <a:gd name="connsiteY7" fmla="*/ 519331 h 575429"/>
                <a:gd name="connsiteX8" fmla="*/ 549762 w 604801"/>
                <a:gd name="connsiteY8" fmla="*/ 530551 h 575429"/>
                <a:gd name="connsiteX9" fmla="*/ 359028 w 604801"/>
                <a:gd name="connsiteY9" fmla="*/ 530551 h 575429"/>
                <a:gd name="connsiteX10" fmla="*/ 319760 w 604801"/>
                <a:gd name="connsiteY10" fmla="*/ 536161 h 575429"/>
                <a:gd name="connsiteX11" fmla="*/ 241222 w 604801"/>
                <a:gd name="connsiteY11" fmla="*/ 541770 h 575429"/>
                <a:gd name="connsiteX12" fmla="*/ 190734 w 604801"/>
                <a:gd name="connsiteY12" fmla="*/ 558600 h 575429"/>
                <a:gd name="connsiteX13" fmla="*/ 157075 w 604801"/>
                <a:gd name="connsiteY13" fmla="*/ 569819 h 575429"/>
                <a:gd name="connsiteX14" fmla="*/ 134636 w 604801"/>
                <a:gd name="connsiteY14" fmla="*/ 575429 h 575429"/>
                <a:gd name="connsiteX15" fmla="*/ 117806 w 604801"/>
                <a:gd name="connsiteY15" fmla="*/ 569819 h 575429"/>
                <a:gd name="connsiteX16" fmla="*/ 95367 w 604801"/>
                <a:gd name="connsiteY16" fmla="*/ 564210 h 575429"/>
                <a:gd name="connsiteX17" fmla="*/ 44879 w 604801"/>
                <a:gd name="connsiteY17" fmla="*/ 547380 h 575429"/>
                <a:gd name="connsiteX18" fmla="*/ 11220 w 604801"/>
                <a:gd name="connsiteY18" fmla="*/ 530551 h 575429"/>
                <a:gd name="connsiteX19" fmla="*/ 5610 w 604801"/>
                <a:gd name="connsiteY19" fmla="*/ 530551 h 575429"/>
                <a:gd name="connsiteX20" fmla="*/ 0 w 604801"/>
                <a:gd name="connsiteY20" fmla="*/ 76156 h 575429"/>
                <a:gd name="connsiteX0" fmla="*/ 0 w 601435"/>
                <a:gd name="connsiteY0" fmla="*/ 76156 h 575429"/>
                <a:gd name="connsiteX1" fmla="*/ 0 w 601435"/>
                <a:gd name="connsiteY1" fmla="*/ 76156 h 575429"/>
                <a:gd name="connsiteX2" fmla="*/ 561143 w 601435"/>
                <a:gd name="connsiteY2" fmla="*/ 0 h 575429"/>
                <a:gd name="connsiteX3" fmla="*/ 555372 w 601435"/>
                <a:gd name="connsiteY3" fmla="*/ 339817 h 575429"/>
                <a:gd name="connsiteX4" fmla="*/ 544152 w 601435"/>
                <a:gd name="connsiteY4" fmla="*/ 457623 h 575429"/>
                <a:gd name="connsiteX5" fmla="*/ 549762 w 601435"/>
                <a:gd name="connsiteY5" fmla="*/ 508111 h 575429"/>
                <a:gd name="connsiteX6" fmla="*/ 566592 w 601435"/>
                <a:gd name="connsiteY6" fmla="*/ 519331 h 575429"/>
                <a:gd name="connsiteX7" fmla="*/ 549762 w 601435"/>
                <a:gd name="connsiteY7" fmla="*/ 530551 h 575429"/>
                <a:gd name="connsiteX8" fmla="*/ 359028 w 601435"/>
                <a:gd name="connsiteY8" fmla="*/ 530551 h 575429"/>
                <a:gd name="connsiteX9" fmla="*/ 319760 w 601435"/>
                <a:gd name="connsiteY9" fmla="*/ 536161 h 575429"/>
                <a:gd name="connsiteX10" fmla="*/ 241222 w 601435"/>
                <a:gd name="connsiteY10" fmla="*/ 541770 h 575429"/>
                <a:gd name="connsiteX11" fmla="*/ 190734 w 601435"/>
                <a:gd name="connsiteY11" fmla="*/ 558600 h 575429"/>
                <a:gd name="connsiteX12" fmla="*/ 157075 w 601435"/>
                <a:gd name="connsiteY12" fmla="*/ 569819 h 575429"/>
                <a:gd name="connsiteX13" fmla="*/ 134636 w 601435"/>
                <a:gd name="connsiteY13" fmla="*/ 575429 h 575429"/>
                <a:gd name="connsiteX14" fmla="*/ 117806 w 601435"/>
                <a:gd name="connsiteY14" fmla="*/ 569819 h 575429"/>
                <a:gd name="connsiteX15" fmla="*/ 95367 w 601435"/>
                <a:gd name="connsiteY15" fmla="*/ 564210 h 575429"/>
                <a:gd name="connsiteX16" fmla="*/ 44879 w 601435"/>
                <a:gd name="connsiteY16" fmla="*/ 547380 h 575429"/>
                <a:gd name="connsiteX17" fmla="*/ 11220 w 601435"/>
                <a:gd name="connsiteY17" fmla="*/ 530551 h 575429"/>
                <a:gd name="connsiteX18" fmla="*/ 5610 w 601435"/>
                <a:gd name="connsiteY18" fmla="*/ 530551 h 575429"/>
                <a:gd name="connsiteX19" fmla="*/ 0 w 601435"/>
                <a:gd name="connsiteY19" fmla="*/ 76156 h 575429"/>
                <a:gd name="connsiteX0" fmla="*/ 0 w 597826"/>
                <a:gd name="connsiteY0" fmla="*/ 76156 h 575429"/>
                <a:gd name="connsiteX1" fmla="*/ 0 w 597826"/>
                <a:gd name="connsiteY1" fmla="*/ 76156 h 575429"/>
                <a:gd name="connsiteX2" fmla="*/ 561143 w 597826"/>
                <a:gd name="connsiteY2" fmla="*/ 0 h 575429"/>
                <a:gd name="connsiteX3" fmla="*/ 544152 w 597826"/>
                <a:gd name="connsiteY3" fmla="*/ 457623 h 575429"/>
                <a:gd name="connsiteX4" fmla="*/ 549762 w 597826"/>
                <a:gd name="connsiteY4" fmla="*/ 508111 h 575429"/>
                <a:gd name="connsiteX5" fmla="*/ 566592 w 597826"/>
                <a:gd name="connsiteY5" fmla="*/ 519331 h 575429"/>
                <a:gd name="connsiteX6" fmla="*/ 549762 w 597826"/>
                <a:gd name="connsiteY6" fmla="*/ 530551 h 575429"/>
                <a:gd name="connsiteX7" fmla="*/ 359028 w 597826"/>
                <a:gd name="connsiteY7" fmla="*/ 530551 h 575429"/>
                <a:gd name="connsiteX8" fmla="*/ 319760 w 597826"/>
                <a:gd name="connsiteY8" fmla="*/ 536161 h 575429"/>
                <a:gd name="connsiteX9" fmla="*/ 241222 w 597826"/>
                <a:gd name="connsiteY9" fmla="*/ 541770 h 575429"/>
                <a:gd name="connsiteX10" fmla="*/ 190734 w 597826"/>
                <a:gd name="connsiteY10" fmla="*/ 558600 h 575429"/>
                <a:gd name="connsiteX11" fmla="*/ 157075 w 597826"/>
                <a:gd name="connsiteY11" fmla="*/ 569819 h 575429"/>
                <a:gd name="connsiteX12" fmla="*/ 134636 w 597826"/>
                <a:gd name="connsiteY12" fmla="*/ 575429 h 575429"/>
                <a:gd name="connsiteX13" fmla="*/ 117806 w 597826"/>
                <a:gd name="connsiteY13" fmla="*/ 569819 h 575429"/>
                <a:gd name="connsiteX14" fmla="*/ 95367 w 597826"/>
                <a:gd name="connsiteY14" fmla="*/ 564210 h 575429"/>
                <a:gd name="connsiteX15" fmla="*/ 44879 w 597826"/>
                <a:gd name="connsiteY15" fmla="*/ 547380 h 575429"/>
                <a:gd name="connsiteX16" fmla="*/ 11220 w 597826"/>
                <a:gd name="connsiteY16" fmla="*/ 530551 h 575429"/>
                <a:gd name="connsiteX17" fmla="*/ 5610 w 597826"/>
                <a:gd name="connsiteY17" fmla="*/ 530551 h 575429"/>
                <a:gd name="connsiteX18" fmla="*/ 0 w 597826"/>
                <a:gd name="connsiteY18" fmla="*/ 76156 h 575429"/>
                <a:gd name="connsiteX0" fmla="*/ 0 w 598933"/>
                <a:gd name="connsiteY0" fmla="*/ 76156 h 575429"/>
                <a:gd name="connsiteX1" fmla="*/ 0 w 598933"/>
                <a:gd name="connsiteY1" fmla="*/ 76156 h 575429"/>
                <a:gd name="connsiteX2" fmla="*/ 561143 w 598933"/>
                <a:gd name="connsiteY2" fmla="*/ 0 h 575429"/>
                <a:gd name="connsiteX3" fmla="*/ 549762 w 598933"/>
                <a:gd name="connsiteY3" fmla="*/ 508111 h 575429"/>
                <a:gd name="connsiteX4" fmla="*/ 566592 w 598933"/>
                <a:gd name="connsiteY4" fmla="*/ 519331 h 575429"/>
                <a:gd name="connsiteX5" fmla="*/ 549762 w 598933"/>
                <a:gd name="connsiteY5" fmla="*/ 530551 h 575429"/>
                <a:gd name="connsiteX6" fmla="*/ 359028 w 598933"/>
                <a:gd name="connsiteY6" fmla="*/ 530551 h 575429"/>
                <a:gd name="connsiteX7" fmla="*/ 319760 w 598933"/>
                <a:gd name="connsiteY7" fmla="*/ 536161 h 575429"/>
                <a:gd name="connsiteX8" fmla="*/ 241222 w 598933"/>
                <a:gd name="connsiteY8" fmla="*/ 541770 h 575429"/>
                <a:gd name="connsiteX9" fmla="*/ 190734 w 598933"/>
                <a:gd name="connsiteY9" fmla="*/ 558600 h 575429"/>
                <a:gd name="connsiteX10" fmla="*/ 157075 w 598933"/>
                <a:gd name="connsiteY10" fmla="*/ 569819 h 575429"/>
                <a:gd name="connsiteX11" fmla="*/ 134636 w 598933"/>
                <a:gd name="connsiteY11" fmla="*/ 575429 h 575429"/>
                <a:gd name="connsiteX12" fmla="*/ 117806 w 598933"/>
                <a:gd name="connsiteY12" fmla="*/ 569819 h 575429"/>
                <a:gd name="connsiteX13" fmla="*/ 95367 w 598933"/>
                <a:gd name="connsiteY13" fmla="*/ 564210 h 575429"/>
                <a:gd name="connsiteX14" fmla="*/ 44879 w 598933"/>
                <a:gd name="connsiteY14" fmla="*/ 547380 h 575429"/>
                <a:gd name="connsiteX15" fmla="*/ 11220 w 598933"/>
                <a:gd name="connsiteY15" fmla="*/ 530551 h 575429"/>
                <a:gd name="connsiteX16" fmla="*/ 5610 w 598933"/>
                <a:gd name="connsiteY16" fmla="*/ 530551 h 575429"/>
                <a:gd name="connsiteX17" fmla="*/ 0 w 598933"/>
                <a:gd name="connsiteY17" fmla="*/ 76156 h 575429"/>
                <a:gd name="connsiteX0" fmla="*/ 0 w 605023"/>
                <a:gd name="connsiteY0" fmla="*/ 76156 h 575429"/>
                <a:gd name="connsiteX1" fmla="*/ 0 w 605023"/>
                <a:gd name="connsiteY1" fmla="*/ 76156 h 575429"/>
                <a:gd name="connsiteX2" fmla="*/ 561143 w 605023"/>
                <a:gd name="connsiteY2" fmla="*/ 0 h 575429"/>
                <a:gd name="connsiteX3" fmla="*/ 566592 w 605023"/>
                <a:gd name="connsiteY3" fmla="*/ 519331 h 575429"/>
                <a:gd name="connsiteX4" fmla="*/ 549762 w 605023"/>
                <a:gd name="connsiteY4" fmla="*/ 530551 h 575429"/>
                <a:gd name="connsiteX5" fmla="*/ 359028 w 605023"/>
                <a:gd name="connsiteY5" fmla="*/ 530551 h 575429"/>
                <a:gd name="connsiteX6" fmla="*/ 319760 w 605023"/>
                <a:gd name="connsiteY6" fmla="*/ 536161 h 575429"/>
                <a:gd name="connsiteX7" fmla="*/ 241222 w 605023"/>
                <a:gd name="connsiteY7" fmla="*/ 541770 h 575429"/>
                <a:gd name="connsiteX8" fmla="*/ 190734 w 605023"/>
                <a:gd name="connsiteY8" fmla="*/ 558600 h 575429"/>
                <a:gd name="connsiteX9" fmla="*/ 157075 w 605023"/>
                <a:gd name="connsiteY9" fmla="*/ 569819 h 575429"/>
                <a:gd name="connsiteX10" fmla="*/ 134636 w 605023"/>
                <a:gd name="connsiteY10" fmla="*/ 575429 h 575429"/>
                <a:gd name="connsiteX11" fmla="*/ 117806 w 605023"/>
                <a:gd name="connsiteY11" fmla="*/ 569819 h 575429"/>
                <a:gd name="connsiteX12" fmla="*/ 95367 w 605023"/>
                <a:gd name="connsiteY12" fmla="*/ 564210 h 575429"/>
                <a:gd name="connsiteX13" fmla="*/ 44879 w 605023"/>
                <a:gd name="connsiteY13" fmla="*/ 547380 h 575429"/>
                <a:gd name="connsiteX14" fmla="*/ 11220 w 605023"/>
                <a:gd name="connsiteY14" fmla="*/ 530551 h 575429"/>
                <a:gd name="connsiteX15" fmla="*/ 5610 w 605023"/>
                <a:gd name="connsiteY15" fmla="*/ 530551 h 575429"/>
                <a:gd name="connsiteX16" fmla="*/ 0 w 605023"/>
                <a:gd name="connsiteY16" fmla="*/ 76156 h 575429"/>
                <a:gd name="connsiteX0" fmla="*/ 0 w 605023"/>
                <a:gd name="connsiteY0" fmla="*/ 76156 h 575429"/>
                <a:gd name="connsiteX1" fmla="*/ 0 w 605023"/>
                <a:gd name="connsiteY1" fmla="*/ 76156 h 575429"/>
                <a:gd name="connsiteX2" fmla="*/ 561143 w 605023"/>
                <a:gd name="connsiteY2" fmla="*/ 0 h 575429"/>
                <a:gd name="connsiteX3" fmla="*/ 566592 w 605023"/>
                <a:gd name="connsiteY3" fmla="*/ 519331 h 575429"/>
                <a:gd name="connsiteX4" fmla="*/ 359028 w 605023"/>
                <a:gd name="connsiteY4" fmla="*/ 530551 h 575429"/>
                <a:gd name="connsiteX5" fmla="*/ 319760 w 605023"/>
                <a:gd name="connsiteY5" fmla="*/ 536161 h 575429"/>
                <a:gd name="connsiteX6" fmla="*/ 241222 w 605023"/>
                <a:gd name="connsiteY6" fmla="*/ 541770 h 575429"/>
                <a:gd name="connsiteX7" fmla="*/ 190734 w 605023"/>
                <a:gd name="connsiteY7" fmla="*/ 558600 h 575429"/>
                <a:gd name="connsiteX8" fmla="*/ 157075 w 605023"/>
                <a:gd name="connsiteY8" fmla="*/ 569819 h 575429"/>
                <a:gd name="connsiteX9" fmla="*/ 134636 w 605023"/>
                <a:gd name="connsiteY9" fmla="*/ 575429 h 575429"/>
                <a:gd name="connsiteX10" fmla="*/ 117806 w 605023"/>
                <a:gd name="connsiteY10" fmla="*/ 569819 h 575429"/>
                <a:gd name="connsiteX11" fmla="*/ 95367 w 605023"/>
                <a:gd name="connsiteY11" fmla="*/ 564210 h 575429"/>
                <a:gd name="connsiteX12" fmla="*/ 44879 w 605023"/>
                <a:gd name="connsiteY12" fmla="*/ 547380 h 575429"/>
                <a:gd name="connsiteX13" fmla="*/ 11220 w 605023"/>
                <a:gd name="connsiteY13" fmla="*/ 530551 h 575429"/>
                <a:gd name="connsiteX14" fmla="*/ 5610 w 605023"/>
                <a:gd name="connsiteY14" fmla="*/ 530551 h 575429"/>
                <a:gd name="connsiteX15" fmla="*/ 0 w 605023"/>
                <a:gd name="connsiteY15" fmla="*/ 76156 h 575429"/>
                <a:gd name="connsiteX0" fmla="*/ 0 w 605023"/>
                <a:gd name="connsiteY0" fmla="*/ 76156 h 575429"/>
                <a:gd name="connsiteX1" fmla="*/ 0 w 605023"/>
                <a:gd name="connsiteY1" fmla="*/ 76156 h 575429"/>
                <a:gd name="connsiteX2" fmla="*/ 561143 w 605023"/>
                <a:gd name="connsiteY2" fmla="*/ 0 h 575429"/>
                <a:gd name="connsiteX3" fmla="*/ 566592 w 605023"/>
                <a:gd name="connsiteY3" fmla="*/ 519331 h 575429"/>
                <a:gd name="connsiteX4" fmla="*/ 319760 w 605023"/>
                <a:gd name="connsiteY4" fmla="*/ 536161 h 575429"/>
                <a:gd name="connsiteX5" fmla="*/ 241222 w 605023"/>
                <a:gd name="connsiteY5" fmla="*/ 541770 h 575429"/>
                <a:gd name="connsiteX6" fmla="*/ 190734 w 605023"/>
                <a:gd name="connsiteY6" fmla="*/ 558600 h 575429"/>
                <a:gd name="connsiteX7" fmla="*/ 157075 w 605023"/>
                <a:gd name="connsiteY7" fmla="*/ 569819 h 575429"/>
                <a:gd name="connsiteX8" fmla="*/ 134636 w 605023"/>
                <a:gd name="connsiteY8" fmla="*/ 575429 h 575429"/>
                <a:gd name="connsiteX9" fmla="*/ 117806 w 605023"/>
                <a:gd name="connsiteY9" fmla="*/ 569819 h 575429"/>
                <a:gd name="connsiteX10" fmla="*/ 95367 w 605023"/>
                <a:gd name="connsiteY10" fmla="*/ 564210 h 575429"/>
                <a:gd name="connsiteX11" fmla="*/ 44879 w 605023"/>
                <a:gd name="connsiteY11" fmla="*/ 547380 h 575429"/>
                <a:gd name="connsiteX12" fmla="*/ 11220 w 605023"/>
                <a:gd name="connsiteY12" fmla="*/ 530551 h 575429"/>
                <a:gd name="connsiteX13" fmla="*/ 5610 w 605023"/>
                <a:gd name="connsiteY13" fmla="*/ 530551 h 575429"/>
                <a:gd name="connsiteX14" fmla="*/ 0 w 605023"/>
                <a:gd name="connsiteY14" fmla="*/ 76156 h 575429"/>
                <a:gd name="connsiteX0" fmla="*/ 0 w 605023"/>
                <a:gd name="connsiteY0" fmla="*/ 76156 h 575429"/>
                <a:gd name="connsiteX1" fmla="*/ 0 w 605023"/>
                <a:gd name="connsiteY1" fmla="*/ 76156 h 575429"/>
                <a:gd name="connsiteX2" fmla="*/ 561143 w 605023"/>
                <a:gd name="connsiteY2" fmla="*/ 0 h 575429"/>
                <a:gd name="connsiteX3" fmla="*/ 566592 w 605023"/>
                <a:gd name="connsiteY3" fmla="*/ 519331 h 575429"/>
                <a:gd name="connsiteX4" fmla="*/ 241222 w 605023"/>
                <a:gd name="connsiteY4" fmla="*/ 541770 h 575429"/>
                <a:gd name="connsiteX5" fmla="*/ 190734 w 605023"/>
                <a:gd name="connsiteY5" fmla="*/ 558600 h 575429"/>
                <a:gd name="connsiteX6" fmla="*/ 157075 w 605023"/>
                <a:gd name="connsiteY6" fmla="*/ 569819 h 575429"/>
                <a:gd name="connsiteX7" fmla="*/ 134636 w 605023"/>
                <a:gd name="connsiteY7" fmla="*/ 575429 h 575429"/>
                <a:gd name="connsiteX8" fmla="*/ 117806 w 605023"/>
                <a:gd name="connsiteY8" fmla="*/ 569819 h 575429"/>
                <a:gd name="connsiteX9" fmla="*/ 95367 w 605023"/>
                <a:gd name="connsiteY9" fmla="*/ 564210 h 575429"/>
                <a:gd name="connsiteX10" fmla="*/ 44879 w 605023"/>
                <a:gd name="connsiteY10" fmla="*/ 547380 h 575429"/>
                <a:gd name="connsiteX11" fmla="*/ 11220 w 605023"/>
                <a:gd name="connsiteY11" fmla="*/ 530551 h 575429"/>
                <a:gd name="connsiteX12" fmla="*/ 5610 w 605023"/>
                <a:gd name="connsiteY12" fmla="*/ 530551 h 575429"/>
                <a:gd name="connsiteX13" fmla="*/ 0 w 605023"/>
                <a:gd name="connsiteY13" fmla="*/ 76156 h 575429"/>
                <a:gd name="connsiteX0" fmla="*/ 0 w 605023"/>
                <a:gd name="connsiteY0" fmla="*/ 76156 h 575429"/>
                <a:gd name="connsiteX1" fmla="*/ 0 w 605023"/>
                <a:gd name="connsiteY1" fmla="*/ 76156 h 575429"/>
                <a:gd name="connsiteX2" fmla="*/ 561143 w 605023"/>
                <a:gd name="connsiteY2" fmla="*/ 0 h 575429"/>
                <a:gd name="connsiteX3" fmla="*/ 566592 w 605023"/>
                <a:gd name="connsiteY3" fmla="*/ 519331 h 575429"/>
                <a:gd name="connsiteX4" fmla="*/ 190734 w 605023"/>
                <a:gd name="connsiteY4" fmla="*/ 558600 h 575429"/>
                <a:gd name="connsiteX5" fmla="*/ 157075 w 605023"/>
                <a:gd name="connsiteY5" fmla="*/ 569819 h 575429"/>
                <a:gd name="connsiteX6" fmla="*/ 134636 w 605023"/>
                <a:gd name="connsiteY6" fmla="*/ 575429 h 575429"/>
                <a:gd name="connsiteX7" fmla="*/ 117806 w 605023"/>
                <a:gd name="connsiteY7" fmla="*/ 569819 h 575429"/>
                <a:gd name="connsiteX8" fmla="*/ 95367 w 605023"/>
                <a:gd name="connsiteY8" fmla="*/ 564210 h 575429"/>
                <a:gd name="connsiteX9" fmla="*/ 44879 w 605023"/>
                <a:gd name="connsiteY9" fmla="*/ 547380 h 575429"/>
                <a:gd name="connsiteX10" fmla="*/ 11220 w 605023"/>
                <a:gd name="connsiteY10" fmla="*/ 530551 h 575429"/>
                <a:gd name="connsiteX11" fmla="*/ 5610 w 605023"/>
                <a:gd name="connsiteY11" fmla="*/ 530551 h 575429"/>
                <a:gd name="connsiteX12" fmla="*/ 0 w 605023"/>
                <a:gd name="connsiteY12" fmla="*/ 76156 h 575429"/>
                <a:gd name="connsiteX0" fmla="*/ 0 w 605023"/>
                <a:gd name="connsiteY0" fmla="*/ 76156 h 576694"/>
                <a:gd name="connsiteX1" fmla="*/ 0 w 605023"/>
                <a:gd name="connsiteY1" fmla="*/ 76156 h 576694"/>
                <a:gd name="connsiteX2" fmla="*/ 561143 w 605023"/>
                <a:gd name="connsiteY2" fmla="*/ 0 h 576694"/>
                <a:gd name="connsiteX3" fmla="*/ 566592 w 605023"/>
                <a:gd name="connsiteY3" fmla="*/ 519331 h 576694"/>
                <a:gd name="connsiteX4" fmla="*/ 157075 w 605023"/>
                <a:gd name="connsiteY4" fmla="*/ 569819 h 576694"/>
                <a:gd name="connsiteX5" fmla="*/ 134636 w 605023"/>
                <a:gd name="connsiteY5" fmla="*/ 575429 h 576694"/>
                <a:gd name="connsiteX6" fmla="*/ 117806 w 605023"/>
                <a:gd name="connsiteY6" fmla="*/ 569819 h 576694"/>
                <a:gd name="connsiteX7" fmla="*/ 95367 w 605023"/>
                <a:gd name="connsiteY7" fmla="*/ 564210 h 576694"/>
                <a:gd name="connsiteX8" fmla="*/ 44879 w 605023"/>
                <a:gd name="connsiteY8" fmla="*/ 547380 h 576694"/>
                <a:gd name="connsiteX9" fmla="*/ 11220 w 605023"/>
                <a:gd name="connsiteY9" fmla="*/ 530551 h 576694"/>
                <a:gd name="connsiteX10" fmla="*/ 5610 w 605023"/>
                <a:gd name="connsiteY10" fmla="*/ 530551 h 576694"/>
                <a:gd name="connsiteX11" fmla="*/ 0 w 605023"/>
                <a:gd name="connsiteY11" fmla="*/ 76156 h 576694"/>
                <a:gd name="connsiteX0" fmla="*/ 0 w 605023"/>
                <a:gd name="connsiteY0" fmla="*/ 76156 h 580257"/>
                <a:gd name="connsiteX1" fmla="*/ 0 w 605023"/>
                <a:gd name="connsiteY1" fmla="*/ 76156 h 580257"/>
                <a:gd name="connsiteX2" fmla="*/ 561143 w 605023"/>
                <a:gd name="connsiteY2" fmla="*/ 0 h 580257"/>
                <a:gd name="connsiteX3" fmla="*/ 566592 w 605023"/>
                <a:gd name="connsiteY3" fmla="*/ 519331 h 580257"/>
                <a:gd name="connsiteX4" fmla="*/ 134636 w 605023"/>
                <a:gd name="connsiteY4" fmla="*/ 575429 h 580257"/>
                <a:gd name="connsiteX5" fmla="*/ 117806 w 605023"/>
                <a:gd name="connsiteY5" fmla="*/ 569819 h 580257"/>
                <a:gd name="connsiteX6" fmla="*/ 95367 w 605023"/>
                <a:gd name="connsiteY6" fmla="*/ 564210 h 580257"/>
                <a:gd name="connsiteX7" fmla="*/ 44879 w 605023"/>
                <a:gd name="connsiteY7" fmla="*/ 547380 h 580257"/>
                <a:gd name="connsiteX8" fmla="*/ 11220 w 605023"/>
                <a:gd name="connsiteY8" fmla="*/ 530551 h 580257"/>
                <a:gd name="connsiteX9" fmla="*/ 5610 w 605023"/>
                <a:gd name="connsiteY9" fmla="*/ 530551 h 580257"/>
                <a:gd name="connsiteX10" fmla="*/ 0 w 605023"/>
                <a:gd name="connsiteY10" fmla="*/ 76156 h 580257"/>
                <a:gd name="connsiteX0" fmla="*/ 0 w 605023"/>
                <a:gd name="connsiteY0" fmla="*/ 76156 h 577386"/>
                <a:gd name="connsiteX1" fmla="*/ 0 w 605023"/>
                <a:gd name="connsiteY1" fmla="*/ 76156 h 577386"/>
                <a:gd name="connsiteX2" fmla="*/ 561143 w 605023"/>
                <a:gd name="connsiteY2" fmla="*/ 0 h 577386"/>
                <a:gd name="connsiteX3" fmla="*/ 566592 w 605023"/>
                <a:gd name="connsiteY3" fmla="*/ 519331 h 577386"/>
                <a:gd name="connsiteX4" fmla="*/ 117806 w 605023"/>
                <a:gd name="connsiteY4" fmla="*/ 569819 h 577386"/>
                <a:gd name="connsiteX5" fmla="*/ 95367 w 605023"/>
                <a:gd name="connsiteY5" fmla="*/ 564210 h 577386"/>
                <a:gd name="connsiteX6" fmla="*/ 44879 w 605023"/>
                <a:gd name="connsiteY6" fmla="*/ 547380 h 577386"/>
                <a:gd name="connsiteX7" fmla="*/ 11220 w 605023"/>
                <a:gd name="connsiteY7" fmla="*/ 530551 h 577386"/>
                <a:gd name="connsiteX8" fmla="*/ 5610 w 605023"/>
                <a:gd name="connsiteY8" fmla="*/ 530551 h 577386"/>
                <a:gd name="connsiteX9" fmla="*/ 0 w 605023"/>
                <a:gd name="connsiteY9" fmla="*/ 76156 h 577386"/>
                <a:gd name="connsiteX0" fmla="*/ 0 w 605023"/>
                <a:gd name="connsiteY0" fmla="*/ 76156 h 575361"/>
                <a:gd name="connsiteX1" fmla="*/ 0 w 605023"/>
                <a:gd name="connsiteY1" fmla="*/ 76156 h 575361"/>
                <a:gd name="connsiteX2" fmla="*/ 561143 w 605023"/>
                <a:gd name="connsiteY2" fmla="*/ 0 h 575361"/>
                <a:gd name="connsiteX3" fmla="*/ 566592 w 605023"/>
                <a:gd name="connsiteY3" fmla="*/ 519331 h 575361"/>
                <a:gd name="connsiteX4" fmla="*/ 95367 w 605023"/>
                <a:gd name="connsiteY4" fmla="*/ 564210 h 575361"/>
                <a:gd name="connsiteX5" fmla="*/ 44879 w 605023"/>
                <a:gd name="connsiteY5" fmla="*/ 547380 h 575361"/>
                <a:gd name="connsiteX6" fmla="*/ 11220 w 605023"/>
                <a:gd name="connsiteY6" fmla="*/ 530551 h 575361"/>
                <a:gd name="connsiteX7" fmla="*/ 5610 w 605023"/>
                <a:gd name="connsiteY7" fmla="*/ 530551 h 575361"/>
                <a:gd name="connsiteX8" fmla="*/ 0 w 605023"/>
                <a:gd name="connsiteY8" fmla="*/ 76156 h 575361"/>
                <a:gd name="connsiteX0" fmla="*/ 0 w 605023"/>
                <a:gd name="connsiteY0" fmla="*/ 76156 h 568118"/>
                <a:gd name="connsiteX1" fmla="*/ 0 w 605023"/>
                <a:gd name="connsiteY1" fmla="*/ 76156 h 568118"/>
                <a:gd name="connsiteX2" fmla="*/ 561143 w 605023"/>
                <a:gd name="connsiteY2" fmla="*/ 0 h 568118"/>
                <a:gd name="connsiteX3" fmla="*/ 566592 w 605023"/>
                <a:gd name="connsiteY3" fmla="*/ 519331 h 568118"/>
                <a:gd name="connsiteX4" fmla="*/ 44879 w 605023"/>
                <a:gd name="connsiteY4" fmla="*/ 547380 h 568118"/>
                <a:gd name="connsiteX5" fmla="*/ 11220 w 605023"/>
                <a:gd name="connsiteY5" fmla="*/ 530551 h 568118"/>
                <a:gd name="connsiteX6" fmla="*/ 5610 w 605023"/>
                <a:gd name="connsiteY6" fmla="*/ 530551 h 568118"/>
                <a:gd name="connsiteX7" fmla="*/ 0 w 605023"/>
                <a:gd name="connsiteY7" fmla="*/ 76156 h 568118"/>
                <a:gd name="connsiteX0" fmla="*/ 0 w 605023"/>
                <a:gd name="connsiteY0" fmla="*/ 76156 h 561297"/>
                <a:gd name="connsiteX1" fmla="*/ 0 w 605023"/>
                <a:gd name="connsiteY1" fmla="*/ 76156 h 561297"/>
                <a:gd name="connsiteX2" fmla="*/ 561143 w 605023"/>
                <a:gd name="connsiteY2" fmla="*/ 0 h 561297"/>
                <a:gd name="connsiteX3" fmla="*/ 566592 w 605023"/>
                <a:gd name="connsiteY3" fmla="*/ 519331 h 561297"/>
                <a:gd name="connsiteX4" fmla="*/ 11220 w 605023"/>
                <a:gd name="connsiteY4" fmla="*/ 530551 h 561297"/>
                <a:gd name="connsiteX5" fmla="*/ 5610 w 605023"/>
                <a:gd name="connsiteY5" fmla="*/ 530551 h 561297"/>
                <a:gd name="connsiteX6" fmla="*/ 0 w 605023"/>
                <a:gd name="connsiteY6" fmla="*/ 76156 h 561297"/>
                <a:gd name="connsiteX0" fmla="*/ 0 w 605023"/>
                <a:gd name="connsiteY0" fmla="*/ 76156 h 585834"/>
                <a:gd name="connsiteX1" fmla="*/ 0 w 605023"/>
                <a:gd name="connsiteY1" fmla="*/ 76156 h 585834"/>
                <a:gd name="connsiteX2" fmla="*/ 561143 w 605023"/>
                <a:gd name="connsiteY2" fmla="*/ 0 h 585834"/>
                <a:gd name="connsiteX3" fmla="*/ 566592 w 605023"/>
                <a:gd name="connsiteY3" fmla="*/ 519331 h 585834"/>
                <a:gd name="connsiteX4" fmla="*/ 5610 w 605023"/>
                <a:gd name="connsiteY4" fmla="*/ 530551 h 585834"/>
                <a:gd name="connsiteX5" fmla="*/ 0 w 605023"/>
                <a:gd name="connsiteY5" fmla="*/ 76156 h 585834"/>
                <a:gd name="connsiteX0" fmla="*/ 1534 w 636032"/>
                <a:gd name="connsiteY0" fmla="*/ 76156 h 584466"/>
                <a:gd name="connsiteX1" fmla="*/ 1534 w 636032"/>
                <a:gd name="connsiteY1" fmla="*/ 76156 h 584466"/>
                <a:gd name="connsiteX2" fmla="*/ 562677 w 636032"/>
                <a:gd name="connsiteY2" fmla="*/ 0 h 584466"/>
                <a:gd name="connsiteX3" fmla="*/ 568126 w 636032"/>
                <a:gd name="connsiteY3" fmla="*/ 519331 h 584466"/>
                <a:gd name="connsiteX4" fmla="*/ 0 w 636032"/>
                <a:gd name="connsiteY4" fmla="*/ 528170 h 584466"/>
                <a:gd name="connsiteX5" fmla="*/ 1534 w 636032"/>
                <a:gd name="connsiteY5" fmla="*/ 76156 h 584466"/>
                <a:gd name="connsiteX0" fmla="*/ 1534 w 636032"/>
                <a:gd name="connsiteY0" fmla="*/ 76156 h 560895"/>
                <a:gd name="connsiteX1" fmla="*/ 1534 w 636032"/>
                <a:gd name="connsiteY1" fmla="*/ 76156 h 560895"/>
                <a:gd name="connsiteX2" fmla="*/ 562677 w 636032"/>
                <a:gd name="connsiteY2" fmla="*/ 0 h 560895"/>
                <a:gd name="connsiteX3" fmla="*/ 568126 w 636032"/>
                <a:gd name="connsiteY3" fmla="*/ 519331 h 560895"/>
                <a:gd name="connsiteX4" fmla="*/ 0 w 636032"/>
                <a:gd name="connsiteY4" fmla="*/ 528170 h 560895"/>
                <a:gd name="connsiteX5" fmla="*/ 1534 w 636032"/>
                <a:gd name="connsiteY5" fmla="*/ 76156 h 560895"/>
                <a:gd name="connsiteX0" fmla="*/ 1534 w 605472"/>
                <a:gd name="connsiteY0" fmla="*/ 76156 h 560895"/>
                <a:gd name="connsiteX1" fmla="*/ 1534 w 605472"/>
                <a:gd name="connsiteY1" fmla="*/ 76156 h 560895"/>
                <a:gd name="connsiteX2" fmla="*/ 562677 w 605472"/>
                <a:gd name="connsiteY2" fmla="*/ 0 h 560895"/>
                <a:gd name="connsiteX3" fmla="*/ 568126 w 605472"/>
                <a:gd name="connsiteY3" fmla="*/ 519331 h 560895"/>
                <a:gd name="connsiteX4" fmla="*/ 0 w 605472"/>
                <a:gd name="connsiteY4" fmla="*/ 528170 h 560895"/>
                <a:gd name="connsiteX5" fmla="*/ 1534 w 605472"/>
                <a:gd name="connsiteY5" fmla="*/ 76156 h 560895"/>
                <a:gd name="connsiteX0" fmla="*/ 1534 w 605472"/>
                <a:gd name="connsiteY0" fmla="*/ 76156 h 528170"/>
                <a:gd name="connsiteX1" fmla="*/ 1534 w 605472"/>
                <a:gd name="connsiteY1" fmla="*/ 76156 h 528170"/>
                <a:gd name="connsiteX2" fmla="*/ 562677 w 605472"/>
                <a:gd name="connsiteY2" fmla="*/ 0 h 528170"/>
                <a:gd name="connsiteX3" fmla="*/ 568126 w 605472"/>
                <a:gd name="connsiteY3" fmla="*/ 519331 h 528170"/>
                <a:gd name="connsiteX4" fmla="*/ 0 w 605472"/>
                <a:gd name="connsiteY4" fmla="*/ 528170 h 528170"/>
                <a:gd name="connsiteX5" fmla="*/ 1534 w 605472"/>
                <a:gd name="connsiteY5" fmla="*/ 76156 h 528170"/>
                <a:gd name="connsiteX0" fmla="*/ 29 w 603967"/>
                <a:gd name="connsiteY0" fmla="*/ 76156 h 540076"/>
                <a:gd name="connsiteX1" fmla="*/ 29 w 603967"/>
                <a:gd name="connsiteY1" fmla="*/ 76156 h 540076"/>
                <a:gd name="connsiteX2" fmla="*/ 561172 w 603967"/>
                <a:gd name="connsiteY2" fmla="*/ 0 h 540076"/>
                <a:gd name="connsiteX3" fmla="*/ 566621 w 603967"/>
                <a:gd name="connsiteY3" fmla="*/ 519331 h 540076"/>
                <a:gd name="connsiteX4" fmla="*/ 5639 w 603967"/>
                <a:gd name="connsiteY4" fmla="*/ 540076 h 540076"/>
                <a:gd name="connsiteX5" fmla="*/ 29 w 603967"/>
                <a:gd name="connsiteY5" fmla="*/ 76156 h 540076"/>
                <a:gd name="connsiteX0" fmla="*/ 29 w 603967"/>
                <a:gd name="connsiteY0" fmla="*/ 76156 h 540076"/>
                <a:gd name="connsiteX1" fmla="*/ 29 w 603967"/>
                <a:gd name="connsiteY1" fmla="*/ 76156 h 540076"/>
                <a:gd name="connsiteX2" fmla="*/ 561172 w 603967"/>
                <a:gd name="connsiteY2" fmla="*/ 0 h 540076"/>
                <a:gd name="connsiteX3" fmla="*/ 566621 w 603967"/>
                <a:gd name="connsiteY3" fmla="*/ 519331 h 540076"/>
                <a:gd name="connsiteX4" fmla="*/ 5639 w 603967"/>
                <a:gd name="connsiteY4" fmla="*/ 540076 h 540076"/>
                <a:gd name="connsiteX5" fmla="*/ 29 w 603967"/>
                <a:gd name="connsiteY5" fmla="*/ 76156 h 540076"/>
                <a:gd name="connsiteX0" fmla="*/ 89 w 604027"/>
                <a:gd name="connsiteY0" fmla="*/ 76156 h 535314"/>
                <a:gd name="connsiteX1" fmla="*/ 89 w 604027"/>
                <a:gd name="connsiteY1" fmla="*/ 76156 h 535314"/>
                <a:gd name="connsiteX2" fmla="*/ 561232 w 604027"/>
                <a:gd name="connsiteY2" fmla="*/ 0 h 535314"/>
                <a:gd name="connsiteX3" fmla="*/ 566681 w 604027"/>
                <a:gd name="connsiteY3" fmla="*/ 519331 h 535314"/>
                <a:gd name="connsiteX4" fmla="*/ 937 w 604027"/>
                <a:gd name="connsiteY4" fmla="*/ 535314 h 535314"/>
                <a:gd name="connsiteX5" fmla="*/ 89 w 604027"/>
                <a:gd name="connsiteY5" fmla="*/ 76156 h 535314"/>
                <a:gd name="connsiteX0" fmla="*/ 89 w 604027"/>
                <a:gd name="connsiteY0" fmla="*/ 76156 h 535314"/>
                <a:gd name="connsiteX1" fmla="*/ 89 w 604027"/>
                <a:gd name="connsiteY1" fmla="*/ 76156 h 535314"/>
                <a:gd name="connsiteX2" fmla="*/ 561232 w 604027"/>
                <a:gd name="connsiteY2" fmla="*/ 0 h 535314"/>
                <a:gd name="connsiteX3" fmla="*/ 566681 w 604027"/>
                <a:gd name="connsiteY3" fmla="*/ 533618 h 535314"/>
                <a:gd name="connsiteX4" fmla="*/ 937 w 604027"/>
                <a:gd name="connsiteY4" fmla="*/ 535314 h 535314"/>
                <a:gd name="connsiteX5" fmla="*/ 89 w 604027"/>
                <a:gd name="connsiteY5" fmla="*/ 76156 h 535314"/>
                <a:gd name="connsiteX0" fmla="*/ 89 w 604027"/>
                <a:gd name="connsiteY0" fmla="*/ 76156 h 535314"/>
                <a:gd name="connsiteX1" fmla="*/ 89 w 604027"/>
                <a:gd name="connsiteY1" fmla="*/ 76156 h 535314"/>
                <a:gd name="connsiteX2" fmla="*/ 561232 w 604027"/>
                <a:gd name="connsiteY2" fmla="*/ 0 h 535314"/>
                <a:gd name="connsiteX3" fmla="*/ 566681 w 604027"/>
                <a:gd name="connsiteY3" fmla="*/ 533618 h 535314"/>
                <a:gd name="connsiteX4" fmla="*/ 937 w 604027"/>
                <a:gd name="connsiteY4" fmla="*/ 535314 h 535314"/>
                <a:gd name="connsiteX5" fmla="*/ 89 w 604027"/>
                <a:gd name="connsiteY5" fmla="*/ 76156 h 535314"/>
                <a:gd name="connsiteX0" fmla="*/ 89 w 566681"/>
                <a:gd name="connsiteY0" fmla="*/ 76156 h 535314"/>
                <a:gd name="connsiteX1" fmla="*/ 89 w 566681"/>
                <a:gd name="connsiteY1" fmla="*/ 76156 h 535314"/>
                <a:gd name="connsiteX2" fmla="*/ 561232 w 566681"/>
                <a:gd name="connsiteY2" fmla="*/ 0 h 535314"/>
                <a:gd name="connsiteX3" fmla="*/ 566681 w 566681"/>
                <a:gd name="connsiteY3" fmla="*/ 533618 h 535314"/>
                <a:gd name="connsiteX4" fmla="*/ 937 w 566681"/>
                <a:gd name="connsiteY4" fmla="*/ 535314 h 535314"/>
                <a:gd name="connsiteX5" fmla="*/ 89 w 566681"/>
                <a:gd name="connsiteY5" fmla="*/ 76156 h 535314"/>
                <a:gd name="connsiteX0" fmla="*/ 89 w 566681"/>
                <a:gd name="connsiteY0" fmla="*/ 76156 h 535314"/>
                <a:gd name="connsiteX1" fmla="*/ 89 w 566681"/>
                <a:gd name="connsiteY1" fmla="*/ 76156 h 535314"/>
                <a:gd name="connsiteX2" fmla="*/ 561232 w 566681"/>
                <a:gd name="connsiteY2" fmla="*/ 0 h 535314"/>
                <a:gd name="connsiteX3" fmla="*/ 566681 w 566681"/>
                <a:gd name="connsiteY3" fmla="*/ 533618 h 535314"/>
                <a:gd name="connsiteX4" fmla="*/ 937 w 566681"/>
                <a:gd name="connsiteY4" fmla="*/ 535314 h 535314"/>
                <a:gd name="connsiteX5" fmla="*/ 89 w 566681"/>
                <a:gd name="connsiteY5" fmla="*/ 76156 h 535314"/>
                <a:gd name="connsiteX0" fmla="*/ 89 w 566681"/>
                <a:gd name="connsiteY0" fmla="*/ 76156 h 535314"/>
                <a:gd name="connsiteX1" fmla="*/ 89 w 566681"/>
                <a:gd name="connsiteY1" fmla="*/ 76156 h 535314"/>
                <a:gd name="connsiteX2" fmla="*/ 561232 w 566681"/>
                <a:gd name="connsiteY2" fmla="*/ 0 h 535314"/>
                <a:gd name="connsiteX3" fmla="*/ 566681 w 566681"/>
                <a:gd name="connsiteY3" fmla="*/ 533618 h 535314"/>
                <a:gd name="connsiteX4" fmla="*/ 937 w 566681"/>
                <a:gd name="connsiteY4" fmla="*/ 535314 h 535314"/>
                <a:gd name="connsiteX5" fmla="*/ 89 w 566681"/>
                <a:gd name="connsiteY5" fmla="*/ 76156 h 535314"/>
                <a:gd name="connsiteX0" fmla="*/ 89 w 566681"/>
                <a:gd name="connsiteY0" fmla="*/ 76156 h 535314"/>
                <a:gd name="connsiteX1" fmla="*/ 89 w 566681"/>
                <a:gd name="connsiteY1" fmla="*/ 76156 h 535314"/>
                <a:gd name="connsiteX2" fmla="*/ 561232 w 566681"/>
                <a:gd name="connsiteY2" fmla="*/ 0 h 535314"/>
                <a:gd name="connsiteX3" fmla="*/ 566681 w 566681"/>
                <a:gd name="connsiteY3" fmla="*/ 533618 h 535314"/>
                <a:gd name="connsiteX4" fmla="*/ 937 w 566681"/>
                <a:gd name="connsiteY4" fmla="*/ 535314 h 535314"/>
                <a:gd name="connsiteX5" fmla="*/ 89 w 566681"/>
                <a:gd name="connsiteY5" fmla="*/ 76156 h 535314"/>
                <a:gd name="connsiteX0" fmla="*/ 89 w 737508"/>
                <a:gd name="connsiteY0" fmla="*/ 107113 h 566271"/>
                <a:gd name="connsiteX1" fmla="*/ 89 w 737508"/>
                <a:gd name="connsiteY1" fmla="*/ 107113 h 566271"/>
                <a:gd name="connsiteX2" fmla="*/ 737444 w 737508"/>
                <a:gd name="connsiteY2" fmla="*/ 0 h 566271"/>
                <a:gd name="connsiteX3" fmla="*/ 566681 w 737508"/>
                <a:gd name="connsiteY3" fmla="*/ 564575 h 566271"/>
                <a:gd name="connsiteX4" fmla="*/ 937 w 737508"/>
                <a:gd name="connsiteY4" fmla="*/ 566271 h 566271"/>
                <a:gd name="connsiteX5" fmla="*/ 89 w 737508"/>
                <a:gd name="connsiteY5" fmla="*/ 107113 h 566271"/>
                <a:gd name="connsiteX0" fmla="*/ 89 w 742893"/>
                <a:gd name="connsiteY0" fmla="*/ 107113 h 640775"/>
                <a:gd name="connsiteX1" fmla="*/ 89 w 742893"/>
                <a:gd name="connsiteY1" fmla="*/ 107113 h 640775"/>
                <a:gd name="connsiteX2" fmla="*/ 737444 w 742893"/>
                <a:gd name="connsiteY2" fmla="*/ 0 h 640775"/>
                <a:gd name="connsiteX3" fmla="*/ 742893 w 742893"/>
                <a:gd name="connsiteY3" fmla="*/ 640775 h 640775"/>
                <a:gd name="connsiteX4" fmla="*/ 937 w 742893"/>
                <a:gd name="connsiteY4" fmla="*/ 566271 h 640775"/>
                <a:gd name="connsiteX5" fmla="*/ 89 w 742893"/>
                <a:gd name="connsiteY5" fmla="*/ 107113 h 640775"/>
                <a:gd name="connsiteX0" fmla="*/ 1533 w 744337"/>
                <a:gd name="connsiteY0" fmla="*/ 107113 h 647233"/>
                <a:gd name="connsiteX1" fmla="*/ 1533 w 744337"/>
                <a:gd name="connsiteY1" fmla="*/ 107113 h 647233"/>
                <a:gd name="connsiteX2" fmla="*/ 738888 w 744337"/>
                <a:gd name="connsiteY2" fmla="*/ 0 h 647233"/>
                <a:gd name="connsiteX3" fmla="*/ 744337 w 744337"/>
                <a:gd name="connsiteY3" fmla="*/ 640775 h 647233"/>
                <a:gd name="connsiteX4" fmla="*/ 0 w 744337"/>
                <a:gd name="connsiteY4" fmla="*/ 647233 h 647233"/>
                <a:gd name="connsiteX5" fmla="*/ 1533 w 744337"/>
                <a:gd name="connsiteY5" fmla="*/ 107113 h 647233"/>
                <a:gd name="connsiteX0" fmla="*/ 90 w 742894"/>
                <a:gd name="connsiteY0" fmla="*/ 107113 h 647233"/>
                <a:gd name="connsiteX1" fmla="*/ 90 w 742894"/>
                <a:gd name="connsiteY1" fmla="*/ 107113 h 647233"/>
                <a:gd name="connsiteX2" fmla="*/ 737445 w 742894"/>
                <a:gd name="connsiteY2" fmla="*/ 0 h 647233"/>
                <a:gd name="connsiteX3" fmla="*/ 742894 w 742894"/>
                <a:gd name="connsiteY3" fmla="*/ 640775 h 647233"/>
                <a:gd name="connsiteX4" fmla="*/ 938 w 742894"/>
                <a:gd name="connsiteY4" fmla="*/ 647233 h 647233"/>
                <a:gd name="connsiteX5" fmla="*/ 90 w 742894"/>
                <a:gd name="connsiteY5" fmla="*/ 107113 h 647233"/>
                <a:gd name="connsiteX0" fmla="*/ 90 w 738522"/>
                <a:gd name="connsiteY0" fmla="*/ 107113 h 647233"/>
                <a:gd name="connsiteX1" fmla="*/ 90 w 738522"/>
                <a:gd name="connsiteY1" fmla="*/ 107113 h 647233"/>
                <a:gd name="connsiteX2" fmla="*/ 737445 w 738522"/>
                <a:gd name="connsiteY2" fmla="*/ 0 h 647233"/>
                <a:gd name="connsiteX3" fmla="*/ 735750 w 738522"/>
                <a:gd name="connsiteY3" fmla="*/ 643156 h 647233"/>
                <a:gd name="connsiteX4" fmla="*/ 938 w 738522"/>
                <a:gd name="connsiteY4" fmla="*/ 647233 h 647233"/>
                <a:gd name="connsiteX5" fmla="*/ 90 w 738522"/>
                <a:gd name="connsiteY5" fmla="*/ 107113 h 647233"/>
                <a:gd name="connsiteX0" fmla="*/ 90 w 739828"/>
                <a:gd name="connsiteY0" fmla="*/ 107113 h 647233"/>
                <a:gd name="connsiteX1" fmla="*/ 90 w 739828"/>
                <a:gd name="connsiteY1" fmla="*/ 107113 h 647233"/>
                <a:gd name="connsiteX2" fmla="*/ 737445 w 739828"/>
                <a:gd name="connsiteY2" fmla="*/ 0 h 647233"/>
                <a:gd name="connsiteX3" fmla="*/ 735750 w 739828"/>
                <a:gd name="connsiteY3" fmla="*/ 643156 h 647233"/>
                <a:gd name="connsiteX4" fmla="*/ 938 w 739828"/>
                <a:gd name="connsiteY4" fmla="*/ 647233 h 647233"/>
                <a:gd name="connsiteX5" fmla="*/ 90 w 739828"/>
                <a:gd name="connsiteY5" fmla="*/ 107113 h 647233"/>
                <a:gd name="connsiteX0" fmla="*/ 90 w 739212"/>
                <a:gd name="connsiteY0" fmla="*/ 107113 h 647233"/>
                <a:gd name="connsiteX1" fmla="*/ 90 w 739212"/>
                <a:gd name="connsiteY1" fmla="*/ 107113 h 647233"/>
                <a:gd name="connsiteX2" fmla="*/ 737445 w 739212"/>
                <a:gd name="connsiteY2" fmla="*/ 0 h 647233"/>
                <a:gd name="connsiteX3" fmla="*/ 735750 w 739212"/>
                <a:gd name="connsiteY3" fmla="*/ 643156 h 647233"/>
                <a:gd name="connsiteX4" fmla="*/ 938 w 739212"/>
                <a:gd name="connsiteY4" fmla="*/ 647233 h 647233"/>
                <a:gd name="connsiteX5" fmla="*/ 90 w 739212"/>
                <a:gd name="connsiteY5" fmla="*/ 107113 h 647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9212" h="647233">
                  <a:moveTo>
                    <a:pt x="90" y="107113"/>
                  </a:moveTo>
                  <a:lnTo>
                    <a:pt x="90" y="107113"/>
                  </a:lnTo>
                  <a:lnTo>
                    <a:pt x="737445" y="0"/>
                  </a:lnTo>
                  <a:cubicBezTo>
                    <a:pt x="741390" y="64337"/>
                    <a:pt x="737788" y="607328"/>
                    <a:pt x="735750" y="643156"/>
                  </a:cubicBezTo>
                  <a:cubicBezTo>
                    <a:pt x="709094" y="641340"/>
                    <a:pt x="189519" y="646668"/>
                    <a:pt x="938" y="647233"/>
                  </a:cubicBezTo>
                  <a:cubicBezTo>
                    <a:pt x="1449" y="620387"/>
                    <a:pt x="-421" y="257784"/>
                    <a:pt x="90" y="107113"/>
                  </a:cubicBezTo>
                  <a:close/>
                </a:path>
              </a:pathLst>
            </a:cu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33" name="Freeform 32"/>
            <p:cNvSpPr/>
            <p:nvPr/>
          </p:nvSpPr>
          <p:spPr bwMode="auto">
            <a:xfrm flipV="1">
              <a:off x="8285609" y="5597111"/>
              <a:ext cx="566681" cy="535314"/>
            </a:xfrm>
            <a:custGeom>
              <a:avLst/>
              <a:gdLst>
                <a:gd name="connsiteX0" fmla="*/ 0 w 577811"/>
                <a:gd name="connsiteY0" fmla="*/ 96243 h 595516"/>
                <a:gd name="connsiteX1" fmla="*/ 0 w 577811"/>
                <a:gd name="connsiteY1" fmla="*/ 96243 h 595516"/>
                <a:gd name="connsiteX2" fmla="*/ 56098 w 577811"/>
                <a:gd name="connsiteY2" fmla="*/ 90633 h 595516"/>
                <a:gd name="connsiteX3" fmla="*/ 151465 w 577811"/>
                <a:gd name="connsiteY3" fmla="*/ 85023 h 595516"/>
                <a:gd name="connsiteX4" fmla="*/ 190734 w 577811"/>
                <a:gd name="connsiteY4" fmla="*/ 79413 h 595516"/>
                <a:gd name="connsiteX5" fmla="*/ 286101 w 577811"/>
                <a:gd name="connsiteY5" fmla="*/ 73803 h 595516"/>
                <a:gd name="connsiteX6" fmla="*/ 370248 w 577811"/>
                <a:gd name="connsiteY6" fmla="*/ 62584 h 595516"/>
                <a:gd name="connsiteX7" fmla="*/ 387077 w 577811"/>
                <a:gd name="connsiteY7" fmla="*/ 56974 h 595516"/>
                <a:gd name="connsiteX8" fmla="*/ 431956 w 577811"/>
                <a:gd name="connsiteY8" fmla="*/ 51364 h 595516"/>
                <a:gd name="connsiteX9" fmla="*/ 460005 w 577811"/>
                <a:gd name="connsiteY9" fmla="*/ 45754 h 595516"/>
                <a:gd name="connsiteX10" fmla="*/ 510493 w 577811"/>
                <a:gd name="connsiteY10" fmla="*/ 40144 h 595516"/>
                <a:gd name="connsiteX11" fmla="*/ 527323 w 577811"/>
                <a:gd name="connsiteY11" fmla="*/ 34535 h 595516"/>
                <a:gd name="connsiteX12" fmla="*/ 560982 w 577811"/>
                <a:gd name="connsiteY12" fmla="*/ 28925 h 595516"/>
                <a:gd name="connsiteX13" fmla="*/ 577811 w 577811"/>
                <a:gd name="connsiteY13" fmla="*/ 17705 h 595516"/>
                <a:gd name="connsiteX14" fmla="*/ 566592 w 577811"/>
                <a:gd name="connsiteY14" fmla="*/ 876 h 595516"/>
                <a:gd name="connsiteX15" fmla="*/ 549762 w 577811"/>
                <a:gd name="connsiteY15" fmla="*/ 6486 h 595516"/>
                <a:gd name="connsiteX16" fmla="*/ 560982 w 577811"/>
                <a:gd name="connsiteY16" fmla="*/ 40144 h 595516"/>
                <a:gd name="connsiteX17" fmla="*/ 566592 w 577811"/>
                <a:gd name="connsiteY17" fmla="*/ 208439 h 595516"/>
                <a:gd name="connsiteX18" fmla="*/ 572201 w 577811"/>
                <a:gd name="connsiteY18" fmla="*/ 225268 h 595516"/>
                <a:gd name="connsiteX19" fmla="*/ 566592 w 577811"/>
                <a:gd name="connsiteY19" fmla="*/ 286976 h 595516"/>
                <a:gd name="connsiteX20" fmla="*/ 555372 w 577811"/>
                <a:gd name="connsiteY20" fmla="*/ 359904 h 595516"/>
                <a:gd name="connsiteX21" fmla="*/ 544152 w 577811"/>
                <a:gd name="connsiteY21" fmla="*/ 477710 h 595516"/>
                <a:gd name="connsiteX22" fmla="*/ 549762 w 577811"/>
                <a:gd name="connsiteY22" fmla="*/ 528198 h 595516"/>
                <a:gd name="connsiteX23" fmla="*/ 566592 w 577811"/>
                <a:gd name="connsiteY23" fmla="*/ 539418 h 595516"/>
                <a:gd name="connsiteX24" fmla="*/ 549762 w 577811"/>
                <a:gd name="connsiteY24" fmla="*/ 550638 h 595516"/>
                <a:gd name="connsiteX25" fmla="*/ 359028 w 577811"/>
                <a:gd name="connsiteY25" fmla="*/ 550638 h 595516"/>
                <a:gd name="connsiteX26" fmla="*/ 319760 w 577811"/>
                <a:gd name="connsiteY26" fmla="*/ 556248 h 595516"/>
                <a:gd name="connsiteX27" fmla="*/ 241222 w 577811"/>
                <a:gd name="connsiteY27" fmla="*/ 561857 h 595516"/>
                <a:gd name="connsiteX28" fmla="*/ 190734 w 577811"/>
                <a:gd name="connsiteY28" fmla="*/ 578687 h 595516"/>
                <a:gd name="connsiteX29" fmla="*/ 157075 w 577811"/>
                <a:gd name="connsiteY29" fmla="*/ 589906 h 595516"/>
                <a:gd name="connsiteX30" fmla="*/ 134636 w 577811"/>
                <a:gd name="connsiteY30" fmla="*/ 595516 h 595516"/>
                <a:gd name="connsiteX31" fmla="*/ 117806 w 577811"/>
                <a:gd name="connsiteY31" fmla="*/ 589906 h 595516"/>
                <a:gd name="connsiteX32" fmla="*/ 95367 w 577811"/>
                <a:gd name="connsiteY32" fmla="*/ 584297 h 595516"/>
                <a:gd name="connsiteX33" fmla="*/ 44879 w 577811"/>
                <a:gd name="connsiteY33" fmla="*/ 567467 h 595516"/>
                <a:gd name="connsiteX34" fmla="*/ 11220 w 577811"/>
                <a:gd name="connsiteY34" fmla="*/ 550638 h 595516"/>
                <a:gd name="connsiteX35" fmla="*/ 5610 w 577811"/>
                <a:gd name="connsiteY35" fmla="*/ 550638 h 595516"/>
                <a:gd name="connsiteX36" fmla="*/ 0 w 577811"/>
                <a:gd name="connsiteY36" fmla="*/ 96243 h 595516"/>
                <a:gd name="connsiteX0" fmla="*/ 0 w 577811"/>
                <a:gd name="connsiteY0" fmla="*/ 96243 h 595516"/>
                <a:gd name="connsiteX1" fmla="*/ 0 w 577811"/>
                <a:gd name="connsiteY1" fmla="*/ 96243 h 595516"/>
                <a:gd name="connsiteX2" fmla="*/ 151465 w 577811"/>
                <a:gd name="connsiteY2" fmla="*/ 85023 h 595516"/>
                <a:gd name="connsiteX3" fmla="*/ 190734 w 577811"/>
                <a:gd name="connsiteY3" fmla="*/ 79413 h 595516"/>
                <a:gd name="connsiteX4" fmla="*/ 286101 w 577811"/>
                <a:gd name="connsiteY4" fmla="*/ 73803 h 595516"/>
                <a:gd name="connsiteX5" fmla="*/ 370248 w 577811"/>
                <a:gd name="connsiteY5" fmla="*/ 62584 h 595516"/>
                <a:gd name="connsiteX6" fmla="*/ 387077 w 577811"/>
                <a:gd name="connsiteY6" fmla="*/ 56974 h 595516"/>
                <a:gd name="connsiteX7" fmla="*/ 431956 w 577811"/>
                <a:gd name="connsiteY7" fmla="*/ 51364 h 595516"/>
                <a:gd name="connsiteX8" fmla="*/ 460005 w 577811"/>
                <a:gd name="connsiteY8" fmla="*/ 45754 h 595516"/>
                <a:gd name="connsiteX9" fmla="*/ 510493 w 577811"/>
                <a:gd name="connsiteY9" fmla="*/ 40144 h 595516"/>
                <a:gd name="connsiteX10" fmla="*/ 527323 w 577811"/>
                <a:gd name="connsiteY10" fmla="*/ 34535 h 595516"/>
                <a:gd name="connsiteX11" fmla="*/ 560982 w 577811"/>
                <a:gd name="connsiteY11" fmla="*/ 28925 h 595516"/>
                <a:gd name="connsiteX12" fmla="*/ 577811 w 577811"/>
                <a:gd name="connsiteY12" fmla="*/ 17705 h 595516"/>
                <a:gd name="connsiteX13" fmla="*/ 566592 w 577811"/>
                <a:gd name="connsiteY13" fmla="*/ 876 h 595516"/>
                <a:gd name="connsiteX14" fmla="*/ 549762 w 577811"/>
                <a:gd name="connsiteY14" fmla="*/ 6486 h 595516"/>
                <a:gd name="connsiteX15" fmla="*/ 560982 w 577811"/>
                <a:gd name="connsiteY15" fmla="*/ 40144 h 595516"/>
                <a:gd name="connsiteX16" fmla="*/ 566592 w 577811"/>
                <a:gd name="connsiteY16" fmla="*/ 208439 h 595516"/>
                <a:gd name="connsiteX17" fmla="*/ 572201 w 577811"/>
                <a:gd name="connsiteY17" fmla="*/ 225268 h 595516"/>
                <a:gd name="connsiteX18" fmla="*/ 566592 w 577811"/>
                <a:gd name="connsiteY18" fmla="*/ 286976 h 595516"/>
                <a:gd name="connsiteX19" fmla="*/ 555372 w 577811"/>
                <a:gd name="connsiteY19" fmla="*/ 359904 h 595516"/>
                <a:gd name="connsiteX20" fmla="*/ 544152 w 577811"/>
                <a:gd name="connsiteY20" fmla="*/ 477710 h 595516"/>
                <a:gd name="connsiteX21" fmla="*/ 549762 w 577811"/>
                <a:gd name="connsiteY21" fmla="*/ 528198 h 595516"/>
                <a:gd name="connsiteX22" fmla="*/ 566592 w 577811"/>
                <a:gd name="connsiteY22" fmla="*/ 539418 h 595516"/>
                <a:gd name="connsiteX23" fmla="*/ 549762 w 577811"/>
                <a:gd name="connsiteY23" fmla="*/ 550638 h 595516"/>
                <a:gd name="connsiteX24" fmla="*/ 359028 w 577811"/>
                <a:gd name="connsiteY24" fmla="*/ 550638 h 595516"/>
                <a:gd name="connsiteX25" fmla="*/ 319760 w 577811"/>
                <a:gd name="connsiteY25" fmla="*/ 556248 h 595516"/>
                <a:gd name="connsiteX26" fmla="*/ 241222 w 577811"/>
                <a:gd name="connsiteY26" fmla="*/ 561857 h 595516"/>
                <a:gd name="connsiteX27" fmla="*/ 190734 w 577811"/>
                <a:gd name="connsiteY27" fmla="*/ 578687 h 595516"/>
                <a:gd name="connsiteX28" fmla="*/ 157075 w 577811"/>
                <a:gd name="connsiteY28" fmla="*/ 589906 h 595516"/>
                <a:gd name="connsiteX29" fmla="*/ 134636 w 577811"/>
                <a:gd name="connsiteY29" fmla="*/ 595516 h 595516"/>
                <a:gd name="connsiteX30" fmla="*/ 117806 w 577811"/>
                <a:gd name="connsiteY30" fmla="*/ 589906 h 595516"/>
                <a:gd name="connsiteX31" fmla="*/ 95367 w 577811"/>
                <a:gd name="connsiteY31" fmla="*/ 584297 h 595516"/>
                <a:gd name="connsiteX32" fmla="*/ 44879 w 577811"/>
                <a:gd name="connsiteY32" fmla="*/ 567467 h 595516"/>
                <a:gd name="connsiteX33" fmla="*/ 11220 w 577811"/>
                <a:gd name="connsiteY33" fmla="*/ 550638 h 595516"/>
                <a:gd name="connsiteX34" fmla="*/ 5610 w 577811"/>
                <a:gd name="connsiteY34" fmla="*/ 550638 h 595516"/>
                <a:gd name="connsiteX35" fmla="*/ 0 w 577811"/>
                <a:gd name="connsiteY35" fmla="*/ 96243 h 595516"/>
                <a:gd name="connsiteX0" fmla="*/ 0 w 577811"/>
                <a:gd name="connsiteY0" fmla="*/ 96243 h 595516"/>
                <a:gd name="connsiteX1" fmla="*/ 0 w 577811"/>
                <a:gd name="connsiteY1" fmla="*/ 96243 h 595516"/>
                <a:gd name="connsiteX2" fmla="*/ 190734 w 577811"/>
                <a:gd name="connsiteY2" fmla="*/ 79413 h 595516"/>
                <a:gd name="connsiteX3" fmla="*/ 286101 w 577811"/>
                <a:gd name="connsiteY3" fmla="*/ 73803 h 595516"/>
                <a:gd name="connsiteX4" fmla="*/ 370248 w 577811"/>
                <a:gd name="connsiteY4" fmla="*/ 62584 h 595516"/>
                <a:gd name="connsiteX5" fmla="*/ 387077 w 577811"/>
                <a:gd name="connsiteY5" fmla="*/ 56974 h 595516"/>
                <a:gd name="connsiteX6" fmla="*/ 431956 w 577811"/>
                <a:gd name="connsiteY6" fmla="*/ 51364 h 595516"/>
                <a:gd name="connsiteX7" fmla="*/ 460005 w 577811"/>
                <a:gd name="connsiteY7" fmla="*/ 45754 h 595516"/>
                <a:gd name="connsiteX8" fmla="*/ 510493 w 577811"/>
                <a:gd name="connsiteY8" fmla="*/ 40144 h 595516"/>
                <a:gd name="connsiteX9" fmla="*/ 527323 w 577811"/>
                <a:gd name="connsiteY9" fmla="*/ 34535 h 595516"/>
                <a:gd name="connsiteX10" fmla="*/ 560982 w 577811"/>
                <a:gd name="connsiteY10" fmla="*/ 28925 h 595516"/>
                <a:gd name="connsiteX11" fmla="*/ 577811 w 577811"/>
                <a:gd name="connsiteY11" fmla="*/ 17705 h 595516"/>
                <a:gd name="connsiteX12" fmla="*/ 566592 w 577811"/>
                <a:gd name="connsiteY12" fmla="*/ 876 h 595516"/>
                <a:gd name="connsiteX13" fmla="*/ 549762 w 577811"/>
                <a:gd name="connsiteY13" fmla="*/ 6486 h 595516"/>
                <a:gd name="connsiteX14" fmla="*/ 560982 w 577811"/>
                <a:gd name="connsiteY14" fmla="*/ 40144 h 595516"/>
                <a:gd name="connsiteX15" fmla="*/ 566592 w 577811"/>
                <a:gd name="connsiteY15" fmla="*/ 208439 h 595516"/>
                <a:gd name="connsiteX16" fmla="*/ 572201 w 577811"/>
                <a:gd name="connsiteY16" fmla="*/ 225268 h 595516"/>
                <a:gd name="connsiteX17" fmla="*/ 566592 w 577811"/>
                <a:gd name="connsiteY17" fmla="*/ 286976 h 595516"/>
                <a:gd name="connsiteX18" fmla="*/ 555372 w 577811"/>
                <a:gd name="connsiteY18" fmla="*/ 359904 h 595516"/>
                <a:gd name="connsiteX19" fmla="*/ 544152 w 577811"/>
                <a:gd name="connsiteY19" fmla="*/ 477710 h 595516"/>
                <a:gd name="connsiteX20" fmla="*/ 549762 w 577811"/>
                <a:gd name="connsiteY20" fmla="*/ 528198 h 595516"/>
                <a:gd name="connsiteX21" fmla="*/ 566592 w 577811"/>
                <a:gd name="connsiteY21" fmla="*/ 539418 h 595516"/>
                <a:gd name="connsiteX22" fmla="*/ 549762 w 577811"/>
                <a:gd name="connsiteY22" fmla="*/ 550638 h 595516"/>
                <a:gd name="connsiteX23" fmla="*/ 359028 w 577811"/>
                <a:gd name="connsiteY23" fmla="*/ 550638 h 595516"/>
                <a:gd name="connsiteX24" fmla="*/ 319760 w 577811"/>
                <a:gd name="connsiteY24" fmla="*/ 556248 h 595516"/>
                <a:gd name="connsiteX25" fmla="*/ 241222 w 577811"/>
                <a:gd name="connsiteY25" fmla="*/ 561857 h 595516"/>
                <a:gd name="connsiteX26" fmla="*/ 190734 w 577811"/>
                <a:gd name="connsiteY26" fmla="*/ 578687 h 595516"/>
                <a:gd name="connsiteX27" fmla="*/ 157075 w 577811"/>
                <a:gd name="connsiteY27" fmla="*/ 589906 h 595516"/>
                <a:gd name="connsiteX28" fmla="*/ 134636 w 577811"/>
                <a:gd name="connsiteY28" fmla="*/ 595516 h 595516"/>
                <a:gd name="connsiteX29" fmla="*/ 117806 w 577811"/>
                <a:gd name="connsiteY29" fmla="*/ 589906 h 595516"/>
                <a:gd name="connsiteX30" fmla="*/ 95367 w 577811"/>
                <a:gd name="connsiteY30" fmla="*/ 584297 h 595516"/>
                <a:gd name="connsiteX31" fmla="*/ 44879 w 577811"/>
                <a:gd name="connsiteY31" fmla="*/ 567467 h 595516"/>
                <a:gd name="connsiteX32" fmla="*/ 11220 w 577811"/>
                <a:gd name="connsiteY32" fmla="*/ 550638 h 595516"/>
                <a:gd name="connsiteX33" fmla="*/ 5610 w 577811"/>
                <a:gd name="connsiteY33" fmla="*/ 550638 h 595516"/>
                <a:gd name="connsiteX34" fmla="*/ 0 w 577811"/>
                <a:gd name="connsiteY34" fmla="*/ 96243 h 595516"/>
                <a:gd name="connsiteX0" fmla="*/ 0 w 577811"/>
                <a:gd name="connsiteY0" fmla="*/ 96243 h 595516"/>
                <a:gd name="connsiteX1" fmla="*/ 0 w 577811"/>
                <a:gd name="connsiteY1" fmla="*/ 96243 h 595516"/>
                <a:gd name="connsiteX2" fmla="*/ 286101 w 577811"/>
                <a:gd name="connsiteY2" fmla="*/ 73803 h 595516"/>
                <a:gd name="connsiteX3" fmla="*/ 370248 w 577811"/>
                <a:gd name="connsiteY3" fmla="*/ 62584 h 595516"/>
                <a:gd name="connsiteX4" fmla="*/ 387077 w 577811"/>
                <a:gd name="connsiteY4" fmla="*/ 56974 h 595516"/>
                <a:gd name="connsiteX5" fmla="*/ 431956 w 577811"/>
                <a:gd name="connsiteY5" fmla="*/ 51364 h 595516"/>
                <a:gd name="connsiteX6" fmla="*/ 460005 w 577811"/>
                <a:gd name="connsiteY6" fmla="*/ 45754 h 595516"/>
                <a:gd name="connsiteX7" fmla="*/ 510493 w 577811"/>
                <a:gd name="connsiteY7" fmla="*/ 40144 h 595516"/>
                <a:gd name="connsiteX8" fmla="*/ 527323 w 577811"/>
                <a:gd name="connsiteY8" fmla="*/ 34535 h 595516"/>
                <a:gd name="connsiteX9" fmla="*/ 560982 w 577811"/>
                <a:gd name="connsiteY9" fmla="*/ 28925 h 595516"/>
                <a:gd name="connsiteX10" fmla="*/ 577811 w 577811"/>
                <a:gd name="connsiteY10" fmla="*/ 17705 h 595516"/>
                <a:gd name="connsiteX11" fmla="*/ 566592 w 577811"/>
                <a:gd name="connsiteY11" fmla="*/ 876 h 595516"/>
                <a:gd name="connsiteX12" fmla="*/ 549762 w 577811"/>
                <a:gd name="connsiteY12" fmla="*/ 6486 h 595516"/>
                <a:gd name="connsiteX13" fmla="*/ 560982 w 577811"/>
                <a:gd name="connsiteY13" fmla="*/ 40144 h 595516"/>
                <a:gd name="connsiteX14" fmla="*/ 566592 w 577811"/>
                <a:gd name="connsiteY14" fmla="*/ 208439 h 595516"/>
                <a:gd name="connsiteX15" fmla="*/ 572201 w 577811"/>
                <a:gd name="connsiteY15" fmla="*/ 225268 h 595516"/>
                <a:gd name="connsiteX16" fmla="*/ 566592 w 577811"/>
                <a:gd name="connsiteY16" fmla="*/ 286976 h 595516"/>
                <a:gd name="connsiteX17" fmla="*/ 555372 w 577811"/>
                <a:gd name="connsiteY17" fmla="*/ 359904 h 595516"/>
                <a:gd name="connsiteX18" fmla="*/ 544152 w 577811"/>
                <a:gd name="connsiteY18" fmla="*/ 477710 h 595516"/>
                <a:gd name="connsiteX19" fmla="*/ 549762 w 577811"/>
                <a:gd name="connsiteY19" fmla="*/ 528198 h 595516"/>
                <a:gd name="connsiteX20" fmla="*/ 566592 w 577811"/>
                <a:gd name="connsiteY20" fmla="*/ 539418 h 595516"/>
                <a:gd name="connsiteX21" fmla="*/ 549762 w 577811"/>
                <a:gd name="connsiteY21" fmla="*/ 550638 h 595516"/>
                <a:gd name="connsiteX22" fmla="*/ 359028 w 577811"/>
                <a:gd name="connsiteY22" fmla="*/ 550638 h 595516"/>
                <a:gd name="connsiteX23" fmla="*/ 319760 w 577811"/>
                <a:gd name="connsiteY23" fmla="*/ 556248 h 595516"/>
                <a:gd name="connsiteX24" fmla="*/ 241222 w 577811"/>
                <a:gd name="connsiteY24" fmla="*/ 561857 h 595516"/>
                <a:gd name="connsiteX25" fmla="*/ 190734 w 577811"/>
                <a:gd name="connsiteY25" fmla="*/ 578687 h 595516"/>
                <a:gd name="connsiteX26" fmla="*/ 157075 w 577811"/>
                <a:gd name="connsiteY26" fmla="*/ 589906 h 595516"/>
                <a:gd name="connsiteX27" fmla="*/ 134636 w 577811"/>
                <a:gd name="connsiteY27" fmla="*/ 595516 h 595516"/>
                <a:gd name="connsiteX28" fmla="*/ 117806 w 577811"/>
                <a:gd name="connsiteY28" fmla="*/ 589906 h 595516"/>
                <a:gd name="connsiteX29" fmla="*/ 95367 w 577811"/>
                <a:gd name="connsiteY29" fmla="*/ 584297 h 595516"/>
                <a:gd name="connsiteX30" fmla="*/ 44879 w 577811"/>
                <a:gd name="connsiteY30" fmla="*/ 567467 h 595516"/>
                <a:gd name="connsiteX31" fmla="*/ 11220 w 577811"/>
                <a:gd name="connsiteY31" fmla="*/ 550638 h 595516"/>
                <a:gd name="connsiteX32" fmla="*/ 5610 w 577811"/>
                <a:gd name="connsiteY32" fmla="*/ 550638 h 595516"/>
                <a:gd name="connsiteX33" fmla="*/ 0 w 577811"/>
                <a:gd name="connsiteY33" fmla="*/ 96243 h 595516"/>
                <a:gd name="connsiteX0" fmla="*/ 0 w 577811"/>
                <a:gd name="connsiteY0" fmla="*/ 96243 h 595516"/>
                <a:gd name="connsiteX1" fmla="*/ 0 w 577811"/>
                <a:gd name="connsiteY1" fmla="*/ 96243 h 595516"/>
                <a:gd name="connsiteX2" fmla="*/ 370248 w 577811"/>
                <a:gd name="connsiteY2" fmla="*/ 62584 h 595516"/>
                <a:gd name="connsiteX3" fmla="*/ 387077 w 577811"/>
                <a:gd name="connsiteY3" fmla="*/ 56974 h 595516"/>
                <a:gd name="connsiteX4" fmla="*/ 431956 w 577811"/>
                <a:gd name="connsiteY4" fmla="*/ 51364 h 595516"/>
                <a:gd name="connsiteX5" fmla="*/ 460005 w 577811"/>
                <a:gd name="connsiteY5" fmla="*/ 45754 h 595516"/>
                <a:gd name="connsiteX6" fmla="*/ 510493 w 577811"/>
                <a:gd name="connsiteY6" fmla="*/ 40144 h 595516"/>
                <a:gd name="connsiteX7" fmla="*/ 527323 w 577811"/>
                <a:gd name="connsiteY7" fmla="*/ 34535 h 595516"/>
                <a:gd name="connsiteX8" fmla="*/ 560982 w 577811"/>
                <a:gd name="connsiteY8" fmla="*/ 28925 h 595516"/>
                <a:gd name="connsiteX9" fmla="*/ 577811 w 577811"/>
                <a:gd name="connsiteY9" fmla="*/ 17705 h 595516"/>
                <a:gd name="connsiteX10" fmla="*/ 566592 w 577811"/>
                <a:gd name="connsiteY10" fmla="*/ 876 h 595516"/>
                <a:gd name="connsiteX11" fmla="*/ 549762 w 577811"/>
                <a:gd name="connsiteY11" fmla="*/ 6486 h 595516"/>
                <a:gd name="connsiteX12" fmla="*/ 560982 w 577811"/>
                <a:gd name="connsiteY12" fmla="*/ 40144 h 595516"/>
                <a:gd name="connsiteX13" fmla="*/ 566592 w 577811"/>
                <a:gd name="connsiteY13" fmla="*/ 208439 h 595516"/>
                <a:gd name="connsiteX14" fmla="*/ 572201 w 577811"/>
                <a:gd name="connsiteY14" fmla="*/ 225268 h 595516"/>
                <a:gd name="connsiteX15" fmla="*/ 566592 w 577811"/>
                <a:gd name="connsiteY15" fmla="*/ 286976 h 595516"/>
                <a:gd name="connsiteX16" fmla="*/ 555372 w 577811"/>
                <a:gd name="connsiteY16" fmla="*/ 359904 h 595516"/>
                <a:gd name="connsiteX17" fmla="*/ 544152 w 577811"/>
                <a:gd name="connsiteY17" fmla="*/ 477710 h 595516"/>
                <a:gd name="connsiteX18" fmla="*/ 549762 w 577811"/>
                <a:gd name="connsiteY18" fmla="*/ 528198 h 595516"/>
                <a:gd name="connsiteX19" fmla="*/ 566592 w 577811"/>
                <a:gd name="connsiteY19" fmla="*/ 539418 h 595516"/>
                <a:gd name="connsiteX20" fmla="*/ 549762 w 577811"/>
                <a:gd name="connsiteY20" fmla="*/ 550638 h 595516"/>
                <a:gd name="connsiteX21" fmla="*/ 359028 w 577811"/>
                <a:gd name="connsiteY21" fmla="*/ 550638 h 595516"/>
                <a:gd name="connsiteX22" fmla="*/ 319760 w 577811"/>
                <a:gd name="connsiteY22" fmla="*/ 556248 h 595516"/>
                <a:gd name="connsiteX23" fmla="*/ 241222 w 577811"/>
                <a:gd name="connsiteY23" fmla="*/ 561857 h 595516"/>
                <a:gd name="connsiteX24" fmla="*/ 190734 w 577811"/>
                <a:gd name="connsiteY24" fmla="*/ 578687 h 595516"/>
                <a:gd name="connsiteX25" fmla="*/ 157075 w 577811"/>
                <a:gd name="connsiteY25" fmla="*/ 589906 h 595516"/>
                <a:gd name="connsiteX26" fmla="*/ 134636 w 577811"/>
                <a:gd name="connsiteY26" fmla="*/ 595516 h 595516"/>
                <a:gd name="connsiteX27" fmla="*/ 117806 w 577811"/>
                <a:gd name="connsiteY27" fmla="*/ 589906 h 595516"/>
                <a:gd name="connsiteX28" fmla="*/ 95367 w 577811"/>
                <a:gd name="connsiteY28" fmla="*/ 584297 h 595516"/>
                <a:gd name="connsiteX29" fmla="*/ 44879 w 577811"/>
                <a:gd name="connsiteY29" fmla="*/ 567467 h 595516"/>
                <a:gd name="connsiteX30" fmla="*/ 11220 w 577811"/>
                <a:gd name="connsiteY30" fmla="*/ 550638 h 595516"/>
                <a:gd name="connsiteX31" fmla="*/ 5610 w 577811"/>
                <a:gd name="connsiteY31" fmla="*/ 550638 h 595516"/>
                <a:gd name="connsiteX32" fmla="*/ 0 w 577811"/>
                <a:gd name="connsiteY32" fmla="*/ 96243 h 595516"/>
                <a:gd name="connsiteX0" fmla="*/ 0 w 577811"/>
                <a:gd name="connsiteY0" fmla="*/ 96243 h 595516"/>
                <a:gd name="connsiteX1" fmla="*/ 0 w 577811"/>
                <a:gd name="connsiteY1" fmla="*/ 96243 h 595516"/>
                <a:gd name="connsiteX2" fmla="*/ 387077 w 577811"/>
                <a:gd name="connsiteY2" fmla="*/ 56974 h 595516"/>
                <a:gd name="connsiteX3" fmla="*/ 431956 w 577811"/>
                <a:gd name="connsiteY3" fmla="*/ 51364 h 595516"/>
                <a:gd name="connsiteX4" fmla="*/ 460005 w 577811"/>
                <a:gd name="connsiteY4" fmla="*/ 45754 h 595516"/>
                <a:gd name="connsiteX5" fmla="*/ 510493 w 577811"/>
                <a:gd name="connsiteY5" fmla="*/ 40144 h 595516"/>
                <a:gd name="connsiteX6" fmla="*/ 527323 w 577811"/>
                <a:gd name="connsiteY6" fmla="*/ 34535 h 595516"/>
                <a:gd name="connsiteX7" fmla="*/ 560982 w 577811"/>
                <a:gd name="connsiteY7" fmla="*/ 28925 h 595516"/>
                <a:gd name="connsiteX8" fmla="*/ 577811 w 577811"/>
                <a:gd name="connsiteY8" fmla="*/ 17705 h 595516"/>
                <a:gd name="connsiteX9" fmla="*/ 566592 w 577811"/>
                <a:gd name="connsiteY9" fmla="*/ 876 h 595516"/>
                <a:gd name="connsiteX10" fmla="*/ 549762 w 577811"/>
                <a:gd name="connsiteY10" fmla="*/ 6486 h 595516"/>
                <a:gd name="connsiteX11" fmla="*/ 560982 w 577811"/>
                <a:gd name="connsiteY11" fmla="*/ 40144 h 595516"/>
                <a:gd name="connsiteX12" fmla="*/ 566592 w 577811"/>
                <a:gd name="connsiteY12" fmla="*/ 208439 h 595516"/>
                <a:gd name="connsiteX13" fmla="*/ 572201 w 577811"/>
                <a:gd name="connsiteY13" fmla="*/ 225268 h 595516"/>
                <a:gd name="connsiteX14" fmla="*/ 566592 w 577811"/>
                <a:gd name="connsiteY14" fmla="*/ 286976 h 595516"/>
                <a:gd name="connsiteX15" fmla="*/ 555372 w 577811"/>
                <a:gd name="connsiteY15" fmla="*/ 359904 h 595516"/>
                <a:gd name="connsiteX16" fmla="*/ 544152 w 577811"/>
                <a:gd name="connsiteY16" fmla="*/ 477710 h 595516"/>
                <a:gd name="connsiteX17" fmla="*/ 549762 w 577811"/>
                <a:gd name="connsiteY17" fmla="*/ 528198 h 595516"/>
                <a:gd name="connsiteX18" fmla="*/ 566592 w 577811"/>
                <a:gd name="connsiteY18" fmla="*/ 539418 h 595516"/>
                <a:gd name="connsiteX19" fmla="*/ 549762 w 577811"/>
                <a:gd name="connsiteY19" fmla="*/ 550638 h 595516"/>
                <a:gd name="connsiteX20" fmla="*/ 359028 w 577811"/>
                <a:gd name="connsiteY20" fmla="*/ 550638 h 595516"/>
                <a:gd name="connsiteX21" fmla="*/ 319760 w 577811"/>
                <a:gd name="connsiteY21" fmla="*/ 556248 h 595516"/>
                <a:gd name="connsiteX22" fmla="*/ 241222 w 577811"/>
                <a:gd name="connsiteY22" fmla="*/ 561857 h 595516"/>
                <a:gd name="connsiteX23" fmla="*/ 190734 w 577811"/>
                <a:gd name="connsiteY23" fmla="*/ 578687 h 595516"/>
                <a:gd name="connsiteX24" fmla="*/ 157075 w 577811"/>
                <a:gd name="connsiteY24" fmla="*/ 589906 h 595516"/>
                <a:gd name="connsiteX25" fmla="*/ 134636 w 577811"/>
                <a:gd name="connsiteY25" fmla="*/ 595516 h 595516"/>
                <a:gd name="connsiteX26" fmla="*/ 117806 w 577811"/>
                <a:gd name="connsiteY26" fmla="*/ 589906 h 595516"/>
                <a:gd name="connsiteX27" fmla="*/ 95367 w 577811"/>
                <a:gd name="connsiteY27" fmla="*/ 584297 h 595516"/>
                <a:gd name="connsiteX28" fmla="*/ 44879 w 577811"/>
                <a:gd name="connsiteY28" fmla="*/ 567467 h 595516"/>
                <a:gd name="connsiteX29" fmla="*/ 11220 w 577811"/>
                <a:gd name="connsiteY29" fmla="*/ 550638 h 595516"/>
                <a:gd name="connsiteX30" fmla="*/ 5610 w 577811"/>
                <a:gd name="connsiteY30" fmla="*/ 550638 h 595516"/>
                <a:gd name="connsiteX31" fmla="*/ 0 w 577811"/>
                <a:gd name="connsiteY31" fmla="*/ 96243 h 595516"/>
                <a:gd name="connsiteX0" fmla="*/ 0 w 577811"/>
                <a:gd name="connsiteY0" fmla="*/ 96243 h 595516"/>
                <a:gd name="connsiteX1" fmla="*/ 0 w 577811"/>
                <a:gd name="connsiteY1" fmla="*/ 96243 h 595516"/>
                <a:gd name="connsiteX2" fmla="*/ 431956 w 577811"/>
                <a:gd name="connsiteY2" fmla="*/ 51364 h 595516"/>
                <a:gd name="connsiteX3" fmla="*/ 460005 w 577811"/>
                <a:gd name="connsiteY3" fmla="*/ 45754 h 595516"/>
                <a:gd name="connsiteX4" fmla="*/ 510493 w 577811"/>
                <a:gd name="connsiteY4" fmla="*/ 40144 h 595516"/>
                <a:gd name="connsiteX5" fmla="*/ 527323 w 577811"/>
                <a:gd name="connsiteY5" fmla="*/ 34535 h 595516"/>
                <a:gd name="connsiteX6" fmla="*/ 560982 w 577811"/>
                <a:gd name="connsiteY6" fmla="*/ 28925 h 595516"/>
                <a:gd name="connsiteX7" fmla="*/ 577811 w 577811"/>
                <a:gd name="connsiteY7" fmla="*/ 17705 h 595516"/>
                <a:gd name="connsiteX8" fmla="*/ 566592 w 577811"/>
                <a:gd name="connsiteY8" fmla="*/ 876 h 595516"/>
                <a:gd name="connsiteX9" fmla="*/ 549762 w 577811"/>
                <a:gd name="connsiteY9" fmla="*/ 6486 h 595516"/>
                <a:gd name="connsiteX10" fmla="*/ 560982 w 577811"/>
                <a:gd name="connsiteY10" fmla="*/ 40144 h 595516"/>
                <a:gd name="connsiteX11" fmla="*/ 566592 w 577811"/>
                <a:gd name="connsiteY11" fmla="*/ 208439 h 595516"/>
                <a:gd name="connsiteX12" fmla="*/ 572201 w 577811"/>
                <a:gd name="connsiteY12" fmla="*/ 225268 h 595516"/>
                <a:gd name="connsiteX13" fmla="*/ 566592 w 577811"/>
                <a:gd name="connsiteY13" fmla="*/ 286976 h 595516"/>
                <a:gd name="connsiteX14" fmla="*/ 555372 w 577811"/>
                <a:gd name="connsiteY14" fmla="*/ 359904 h 595516"/>
                <a:gd name="connsiteX15" fmla="*/ 544152 w 577811"/>
                <a:gd name="connsiteY15" fmla="*/ 477710 h 595516"/>
                <a:gd name="connsiteX16" fmla="*/ 549762 w 577811"/>
                <a:gd name="connsiteY16" fmla="*/ 528198 h 595516"/>
                <a:gd name="connsiteX17" fmla="*/ 566592 w 577811"/>
                <a:gd name="connsiteY17" fmla="*/ 539418 h 595516"/>
                <a:gd name="connsiteX18" fmla="*/ 549762 w 577811"/>
                <a:gd name="connsiteY18" fmla="*/ 550638 h 595516"/>
                <a:gd name="connsiteX19" fmla="*/ 359028 w 577811"/>
                <a:gd name="connsiteY19" fmla="*/ 550638 h 595516"/>
                <a:gd name="connsiteX20" fmla="*/ 319760 w 577811"/>
                <a:gd name="connsiteY20" fmla="*/ 556248 h 595516"/>
                <a:gd name="connsiteX21" fmla="*/ 241222 w 577811"/>
                <a:gd name="connsiteY21" fmla="*/ 561857 h 595516"/>
                <a:gd name="connsiteX22" fmla="*/ 190734 w 577811"/>
                <a:gd name="connsiteY22" fmla="*/ 578687 h 595516"/>
                <a:gd name="connsiteX23" fmla="*/ 157075 w 577811"/>
                <a:gd name="connsiteY23" fmla="*/ 589906 h 595516"/>
                <a:gd name="connsiteX24" fmla="*/ 134636 w 577811"/>
                <a:gd name="connsiteY24" fmla="*/ 595516 h 595516"/>
                <a:gd name="connsiteX25" fmla="*/ 117806 w 577811"/>
                <a:gd name="connsiteY25" fmla="*/ 589906 h 595516"/>
                <a:gd name="connsiteX26" fmla="*/ 95367 w 577811"/>
                <a:gd name="connsiteY26" fmla="*/ 584297 h 595516"/>
                <a:gd name="connsiteX27" fmla="*/ 44879 w 577811"/>
                <a:gd name="connsiteY27" fmla="*/ 567467 h 595516"/>
                <a:gd name="connsiteX28" fmla="*/ 11220 w 577811"/>
                <a:gd name="connsiteY28" fmla="*/ 550638 h 595516"/>
                <a:gd name="connsiteX29" fmla="*/ 5610 w 577811"/>
                <a:gd name="connsiteY29" fmla="*/ 550638 h 595516"/>
                <a:gd name="connsiteX30" fmla="*/ 0 w 577811"/>
                <a:gd name="connsiteY30" fmla="*/ 96243 h 595516"/>
                <a:gd name="connsiteX0" fmla="*/ 0 w 577811"/>
                <a:gd name="connsiteY0" fmla="*/ 96243 h 595516"/>
                <a:gd name="connsiteX1" fmla="*/ 0 w 577811"/>
                <a:gd name="connsiteY1" fmla="*/ 96243 h 595516"/>
                <a:gd name="connsiteX2" fmla="*/ 460005 w 577811"/>
                <a:gd name="connsiteY2" fmla="*/ 45754 h 595516"/>
                <a:gd name="connsiteX3" fmla="*/ 510493 w 577811"/>
                <a:gd name="connsiteY3" fmla="*/ 40144 h 595516"/>
                <a:gd name="connsiteX4" fmla="*/ 527323 w 577811"/>
                <a:gd name="connsiteY4" fmla="*/ 34535 h 595516"/>
                <a:gd name="connsiteX5" fmla="*/ 560982 w 577811"/>
                <a:gd name="connsiteY5" fmla="*/ 28925 h 595516"/>
                <a:gd name="connsiteX6" fmla="*/ 577811 w 577811"/>
                <a:gd name="connsiteY6" fmla="*/ 17705 h 595516"/>
                <a:gd name="connsiteX7" fmla="*/ 566592 w 577811"/>
                <a:gd name="connsiteY7" fmla="*/ 876 h 595516"/>
                <a:gd name="connsiteX8" fmla="*/ 549762 w 577811"/>
                <a:gd name="connsiteY8" fmla="*/ 6486 h 595516"/>
                <a:gd name="connsiteX9" fmla="*/ 560982 w 577811"/>
                <a:gd name="connsiteY9" fmla="*/ 40144 h 595516"/>
                <a:gd name="connsiteX10" fmla="*/ 566592 w 577811"/>
                <a:gd name="connsiteY10" fmla="*/ 208439 h 595516"/>
                <a:gd name="connsiteX11" fmla="*/ 572201 w 577811"/>
                <a:gd name="connsiteY11" fmla="*/ 225268 h 595516"/>
                <a:gd name="connsiteX12" fmla="*/ 566592 w 577811"/>
                <a:gd name="connsiteY12" fmla="*/ 286976 h 595516"/>
                <a:gd name="connsiteX13" fmla="*/ 555372 w 577811"/>
                <a:gd name="connsiteY13" fmla="*/ 359904 h 595516"/>
                <a:gd name="connsiteX14" fmla="*/ 544152 w 577811"/>
                <a:gd name="connsiteY14" fmla="*/ 477710 h 595516"/>
                <a:gd name="connsiteX15" fmla="*/ 549762 w 577811"/>
                <a:gd name="connsiteY15" fmla="*/ 528198 h 595516"/>
                <a:gd name="connsiteX16" fmla="*/ 566592 w 577811"/>
                <a:gd name="connsiteY16" fmla="*/ 539418 h 595516"/>
                <a:gd name="connsiteX17" fmla="*/ 549762 w 577811"/>
                <a:gd name="connsiteY17" fmla="*/ 550638 h 595516"/>
                <a:gd name="connsiteX18" fmla="*/ 359028 w 577811"/>
                <a:gd name="connsiteY18" fmla="*/ 550638 h 595516"/>
                <a:gd name="connsiteX19" fmla="*/ 319760 w 577811"/>
                <a:gd name="connsiteY19" fmla="*/ 556248 h 595516"/>
                <a:gd name="connsiteX20" fmla="*/ 241222 w 577811"/>
                <a:gd name="connsiteY20" fmla="*/ 561857 h 595516"/>
                <a:gd name="connsiteX21" fmla="*/ 190734 w 577811"/>
                <a:gd name="connsiteY21" fmla="*/ 578687 h 595516"/>
                <a:gd name="connsiteX22" fmla="*/ 157075 w 577811"/>
                <a:gd name="connsiteY22" fmla="*/ 589906 h 595516"/>
                <a:gd name="connsiteX23" fmla="*/ 134636 w 577811"/>
                <a:gd name="connsiteY23" fmla="*/ 595516 h 595516"/>
                <a:gd name="connsiteX24" fmla="*/ 117806 w 577811"/>
                <a:gd name="connsiteY24" fmla="*/ 589906 h 595516"/>
                <a:gd name="connsiteX25" fmla="*/ 95367 w 577811"/>
                <a:gd name="connsiteY25" fmla="*/ 584297 h 595516"/>
                <a:gd name="connsiteX26" fmla="*/ 44879 w 577811"/>
                <a:gd name="connsiteY26" fmla="*/ 567467 h 595516"/>
                <a:gd name="connsiteX27" fmla="*/ 11220 w 577811"/>
                <a:gd name="connsiteY27" fmla="*/ 550638 h 595516"/>
                <a:gd name="connsiteX28" fmla="*/ 5610 w 577811"/>
                <a:gd name="connsiteY28" fmla="*/ 550638 h 595516"/>
                <a:gd name="connsiteX29" fmla="*/ 0 w 577811"/>
                <a:gd name="connsiteY29" fmla="*/ 96243 h 595516"/>
                <a:gd name="connsiteX0" fmla="*/ 0 w 577811"/>
                <a:gd name="connsiteY0" fmla="*/ 96243 h 595516"/>
                <a:gd name="connsiteX1" fmla="*/ 0 w 577811"/>
                <a:gd name="connsiteY1" fmla="*/ 96243 h 595516"/>
                <a:gd name="connsiteX2" fmla="*/ 510493 w 577811"/>
                <a:gd name="connsiteY2" fmla="*/ 40144 h 595516"/>
                <a:gd name="connsiteX3" fmla="*/ 527323 w 577811"/>
                <a:gd name="connsiteY3" fmla="*/ 34535 h 595516"/>
                <a:gd name="connsiteX4" fmla="*/ 560982 w 577811"/>
                <a:gd name="connsiteY4" fmla="*/ 28925 h 595516"/>
                <a:gd name="connsiteX5" fmla="*/ 577811 w 577811"/>
                <a:gd name="connsiteY5" fmla="*/ 17705 h 595516"/>
                <a:gd name="connsiteX6" fmla="*/ 566592 w 577811"/>
                <a:gd name="connsiteY6" fmla="*/ 876 h 595516"/>
                <a:gd name="connsiteX7" fmla="*/ 549762 w 577811"/>
                <a:gd name="connsiteY7" fmla="*/ 6486 h 595516"/>
                <a:gd name="connsiteX8" fmla="*/ 560982 w 577811"/>
                <a:gd name="connsiteY8" fmla="*/ 40144 h 595516"/>
                <a:gd name="connsiteX9" fmla="*/ 566592 w 577811"/>
                <a:gd name="connsiteY9" fmla="*/ 208439 h 595516"/>
                <a:gd name="connsiteX10" fmla="*/ 572201 w 577811"/>
                <a:gd name="connsiteY10" fmla="*/ 225268 h 595516"/>
                <a:gd name="connsiteX11" fmla="*/ 566592 w 577811"/>
                <a:gd name="connsiteY11" fmla="*/ 286976 h 595516"/>
                <a:gd name="connsiteX12" fmla="*/ 555372 w 577811"/>
                <a:gd name="connsiteY12" fmla="*/ 359904 h 595516"/>
                <a:gd name="connsiteX13" fmla="*/ 544152 w 577811"/>
                <a:gd name="connsiteY13" fmla="*/ 477710 h 595516"/>
                <a:gd name="connsiteX14" fmla="*/ 549762 w 577811"/>
                <a:gd name="connsiteY14" fmla="*/ 528198 h 595516"/>
                <a:gd name="connsiteX15" fmla="*/ 566592 w 577811"/>
                <a:gd name="connsiteY15" fmla="*/ 539418 h 595516"/>
                <a:gd name="connsiteX16" fmla="*/ 549762 w 577811"/>
                <a:gd name="connsiteY16" fmla="*/ 550638 h 595516"/>
                <a:gd name="connsiteX17" fmla="*/ 359028 w 577811"/>
                <a:gd name="connsiteY17" fmla="*/ 550638 h 595516"/>
                <a:gd name="connsiteX18" fmla="*/ 319760 w 577811"/>
                <a:gd name="connsiteY18" fmla="*/ 556248 h 595516"/>
                <a:gd name="connsiteX19" fmla="*/ 241222 w 577811"/>
                <a:gd name="connsiteY19" fmla="*/ 561857 h 595516"/>
                <a:gd name="connsiteX20" fmla="*/ 190734 w 577811"/>
                <a:gd name="connsiteY20" fmla="*/ 578687 h 595516"/>
                <a:gd name="connsiteX21" fmla="*/ 157075 w 577811"/>
                <a:gd name="connsiteY21" fmla="*/ 589906 h 595516"/>
                <a:gd name="connsiteX22" fmla="*/ 134636 w 577811"/>
                <a:gd name="connsiteY22" fmla="*/ 595516 h 595516"/>
                <a:gd name="connsiteX23" fmla="*/ 117806 w 577811"/>
                <a:gd name="connsiteY23" fmla="*/ 589906 h 595516"/>
                <a:gd name="connsiteX24" fmla="*/ 95367 w 577811"/>
                <a:gd name="connsiteY24" fmla="*/ 584297 h 595516"/>
                <a:gd name="connsiteX25" fmla="*/ 44879 w 577811"/>
                <a:gd name="connsiteY25" fmla="*/ 567467 h 595516"/>
                <a:gd name="connsiteX26" fmla="*/ 11220 w 577811"/>
                <a:gd name="connsiteY26" fmla="*/ 550638 h 595516"/>
                <a:gd name="connsiteX27" fmla="*/ 5610 w 577811"/>
                <a:gd name="connsiteY27" fmla="*/ 550638 h 595516"/>
                <a:gd name="connsiteX28" fmla="*/ 0 w 577811"/>
                <a:gd name="connsiteY28" fmla="*/ 96243 h 595516"/>
                <a:gd name="connsiteX0" fmla="*/ 0 w 577811"/>
                <a:gd name="connsiteY0" fmla="*/ 96243 h 595516"/>
                <a:gd name="connsiteX1" fmla="*/ 0 w 577811"/>
                <a:gd name="connsiteY1" fmla="*/ 96243 h 595516"/>
                <a:gd name="connsiteX2" fmla="*/ 527323 w 577811"/>
                <a:gd name="connsiteY2" fmla="*/ 34535 h 595516"/>
                <a:gd name="connsiteX3" fmla="*/ 560982 w 577811"/>
                <a:gd name="connsiteY3" fmla="*/ 28925 h 595516"/>
                <a:gd name="connsiteX4" fmla="*/ 577811 w 577811"/>
                <a:gd name="connsiteY4" fmla="*/ 17705 h 595516"/>
                <a:gd name="connsiteX5" fmla="*/ 566592 w 577811"/>
                <a:gd name="connsiteY5" fmla="*/ 876 h 595516"/>
                <a:gd name="connsiteX6" fmla="*/ 549762 w 577811"/>
                <a:gd name="connsiteY6" fmla="*/ 6486 h 595516"/>
                <a:gd name="connsiteX7" fmla="*/ 560982 w 577811"/>
                <a:gd name="connsiteY7" fmla="*/ 40144 h 595516"/>
                <a:gd name="connsiteX8" fmla="*/ 566592 w 577811"/>
                <a:gd name="connsiteY8" fmla="*/ 208439 h 595516"/>
                <a:gd name="connsiteX9" fmla="*/ 572201 w 577811"/>
                <a:gd name="connsiteY9" fmla="*/ 225268 h 595516"/>
                <a:gd name="connsiteX10" fmla="*/ 566592 w 577811"/>
                <a:gd name="connsiteY10" fmla="*/ 286976 h 595516"/>
                <a:gd name="connsiteX11" fmla="*/ 555372 w 577811"/>
                <a:gd name="connsiteY11" fmla="*/ 359904 h 595516"/>
                <a:gd name="connsiteX12" fmla="*/ 544152 w 577811"/>
                <a:gd name="connsiteY12" fmla="*/ 477710 h 595516"/>
                <a:gd name="connsiteX13" fmla="*/ 549762 w 577811"/>
                <a:gd name="connsiteY13" fmla="*/ 528198 h 595516"/>
                <a:gd name="connsiteX14" fmla="*/ 566592 w 577811"/>
                <a:gd name="connsiteY14" fmla="*/ 539418 h 595516"/>
                <a:gd name="connsiteX15" fmla="*/ 549762 w 577811"/>
                <a:gd name="connsiteY15" fmla="*/ 550638 h 595516"/>
                <a:gd name="connsiteX16" fmla="*/ 359028 w 577811"/>
                <a:gd name="connsiteY16" fmla="*/ 550638 h 595516"/>
                <a:gd name="connsiteX17" fmla="*/ 319760 w 577811"/>
                <a:gd name="connsiteY17" fmla="*/ 556248 h 595516"/>
                <a:gd name="connsiteX18" fmla="*/ 241222 w 577811"/>
                <a:gd name="connsiteY18" fmla="*/ 561857 h 595516"/>
                <a:gd name="connsiteX19" fmla="*/ 190734 w 577811"/>
                <a:gd name="connsiteY19" fmla="*/ 578687 h 595516"/>
                <a:gd name="connsiteX20" fmla="*/ 157075 w 577811"/>
                <a:gd name="connsiteY20" fmla="*/ 589906 h 595516"/>
                <a:gd name="connsiteX21" fmla="*/ 134636 w 577811"/>
                <a:gd name="connsiteY21" fmla="*/ 595516 h 595516"/>
                <a:gd name="connsiteX22" fmla="*/ 117806 w 577811"/>
                <a:gd name="connsiteY22" fmla="*/ 589906 h 595516"/>
                <a:gd name="connsiteX23" fmla="*/ 95367 w 577811"/>
                <a:gd name="connsiteY23" fmla="*/ 584297 h 595516"/>
                <a:gd name="connsiteX24" fmla="*/ 44879 w 577811"/>
                <a:gd name="connsiteY24" fmla="*/ 567467 h 595516"/>
                <a:gd name="connsiteX25" fmla="*/ 11220 w 577811"/>
                <a:gd name="connsiteY25" fmla="*/ 550638 h 595516"/>
                <a:gd name="connsiteX26" fmla="*/ 5610 w 577811"/>
                <a:gd name="connsiteY26" fmla="*/ 550638 h 595516"/>
                <a:gd name="connsiteX27" fmla="*/ 0 w 577811"/>
                <a:gd name="connsiteY27" fmla="*/ 96243 h 595516"/>
                <a:gd name="connsiteX0" fmla="*/ 0 w 577811"/>
                <a:gd name="connsiteY0" fmla="*/ 96243 h 595516"/>
                <a:gd name="connsiteX1" fmla="*/ 0 w 577811"/>
                <a:gd name="connsiteY1" fmla="*/ 96243 h 595516"/>
                <a:gd name="connsiteX2" fmla="*/ 560982 w 577811"/>
                <a:gd name="connsiteY2" fmla="*/ 28925 h 595516"/>
                <a:gd name="connsiteX3" fmla="*/ 577811 w 577811"/>
                <a:gd name="connsiteY3" fmla="*/ 17705 h 595516"/>
                <a:gd name="connsiteX4" fmla="*/ 566592 w 577811"/>
                <a:gd name="connsiteY4" fmla="*/ 876 h 595516"/>
                <a:gd name="connsiteX5" fmla="*/ 549762 w 577811"/>
                <a:gd name="connsiteY5" fmla="*/ 6486 h 595516"/>
                <a:gd name="connsiteX6" fmla="*/ 560982 w 577811"/>
                <a:gd name="connsiteY6" fmla="*/ 40144 h 595516"/>
                <a:gd name="connsiteX7" fmla="*/ 566592 w 577811"/>
                <a:gd name="connsiteY7" fmla="*/ 208439 h 595516"/>
                <a:gd name="connsiteX8" fmla="*/ 572201 w 577811"/>
                <a:gd name="connsiteY8" fmla="*/ 225268 h 595516"/>
                <a:gd name="connsiteX9" fmla="*/ 566592 w 577811"/>
                <a:gd name="connsiteY9" fmla="*/ 286976 h 595516"/>
                <a:gd name="connsiteX10" fmla="*/ 555372 w 577811"/>
                <a:gd name="connsiteY10" fmla="*/ 359904 h 595516"/>
                <a:gd name="connsiteX11" fmla="*/ 544152 w 577811"/>
                <a:gd name="connsiteY11" fmla="*/ 477710 h 595516"/>
                <a:gd name="connsiteX12" fmla="*/ 549762 w 577811"/>
                <a:gd name="connsiteY12" fmla="*/ 528198 h 595516"/>
                <a:gd name="connsiteX13" fmla="*/ 566592 w 577811"/>
                <a:gd name="connsiteY13" fmla="*/ 539418 h 595516"/>
                <a:gd name="connsiteX14" fmla="*/ 549762 w 577811"/>
                <a:gd name="connsiteY14" fmla="*/ 550638 h 595516"/>
                <a:gd name="connsiteX15" fmla="*/ 359028 w 577811"/>
                <a:gd name="connsiteY15" fmla="*/ 550638 h 595516"/>
                <a:gd name="connsiteX16" fmla="*/ 319760 w 577811"/>
                <a:gd name="connsiteY16" fmla="*/ 556248 h 595516"/>
                <a:gd name="connsiteX17" fmla="*/ 241222 w 577811"/>
                <a:gd name="connsiteY17" fmla="*/ 561857 h 595516"/>
                <a:gd name="connsiteX18" fmla="*/ 190734 w 577811"/>
                <a:gd name="connsiteY18" fmla="*/ 578687 h 595516"/>
                <a:gd name="connsiteX19" fmla="*/ 157075 w 577811"/>
                <a:gd name="connsiteY19" fmla="*/ 589906 h 595516"/>
                <a:gd name="connsiteX20" fmla="*/ 134636 w 577811"/>
                <a:gd name="connsiteY20" fmla="*/ 595516 h 595516"/>
                <a:gd name="connsiteX21" fmla="*/ 117806 w 577811"/>
                <a:gd name="connsiteY21" fmla="*/ 589906 h 595516"/>
                <a:gd name="connsiteX22" fmla="*/ 95367 w 577811"/>
                <a:gd name="connsiteY22" fmla="*/ 584297 h 595516"/>
                <a:gd name="connsiteX23" fmla="*/ 44879 w 577811"/>
                <a:gd name="connsiteY23" fmla="*/ 567467 h 595516"/>
                <a:gd name="connsiteX24" fmla="*/ 11220 w 577811"/>
                <a:gd name="connsiteY24" fmla="*/ 550638 h 595516"/>
                <a:gd name="connsiteX25" fmla="*/ 5610 w 577811"/>
                <a:gd name="connsiteY25" fmla="*/ 550638 h 595516"/>
                <a:gd name="connsiteX26" fmla="*/ 0 w 577811"/>
                <a:gd name="connsiteY26" fmla="*/ 96243 h 595516"/>
                <a:gd name="connsiteX0" fmla="*/ 0 w 577811"/>
                <a:gd name="connsiteY0" fmla="*/ 90510 h 589783"/>
                <a:gd name="connsiteX1" fmla="*/ 0 w 577811"/>
                <a:gd name="connsiteY1" fmla="*/ 90510 h 589783"/>
                <a:gd name="connsiteX2" fmla="*/ 560982 w 577811"/>
                <a:gd name="connsiteY2" fmla="*/ 23192 h 589783"/>
                <a:gd name="connsiteX3" fmla="*/ 577811 w 577811"/>
                <a:gd name="connsiteY3" fmla="*/ 11972 h 589783"/>
                <a:gd name="connsiteX4" fmla="*/ 549762 w 577811"/>
                <a:gd name="connsiteY4" fmla="*/ 753 h 589783"/>
                <a:gd name="connsiteX5" fmla="*/ 560982 w 577811"/>
                <a:gd name="connsiteY5" fmla="*/ 34411 h 589783"/>
                <a:gd name="connsiteX6" fmla="*/ 566592 w 577811"/>
                <a:gd name="connsiteY6" fmla="*/ 202706 h 589783"/>
                <a:gd name="connsiteX7" fmla="*/ 572201 w 577811"/>
                <a:gd name="connsiteY7" fmla="*/ 219535 h 589783"/>
                <a:gd name="connsiteX8" fmla="*/ 566592 w 577811"/>
                <a:gd name="connsiteY8" fmla="*/ 281243 h 589783"/>
                <a:gd name="connsiteX9" fmla="*/ 555372 w 577811"/>
                <a:gd name="connsiteY9" fmla="*/ 354171 h 589783"/>
                <a:gd name="connsiteX10" fmla="*/ 544152 w 577811"/>
                <a:gd name="connsiteY10" fmla="*/ 471977 h 589783"/>
                <a:gd name="connsiteX11" fmla="*/ 549762 w 577811"/>
                <a:gd name="connsiteY11" fmla="*/ 522465 h 589783"/>
                <a:gd name="connsiteX12" fmla="*/ 566592 w 577811"/>
                <a:gd name="connsiteY12" fmla="*/ 533685 h 589783"/>
                <a:gd name="connsiteX13" fmla="*/ 549762 w 577811"/>
                <a:gd name="connsiteY13" fmla="*/ 544905 h 589783"/>
                <a:gd name="connsiteX14" fmla="*/ 359028 w 577811"/>
                <a:gd name="connsiteY14" fmla="*/ 544905 h 589783"/>
                <a:gd name="connsiteX15" fmla="*/ 319760 w 577811"/>
                <a:gd name="connsiteY15" fmla="*/ 550515 h 589783"/>
                <a:gd name="connsiteX16" fmla="*/ 241222 w 577811"/>
                <a:gd name="connsiteY16" fmla="*/ 556124 h 589783"/>
                <a:gd name="connsiteX17" fmla="*/ 190734 w 577811"/>
                <a:gd name="connsiteY17" fmla="*/ 572954 h 589783"/>
                <a:gd name="connsiteX18" fmla="*/ 157075 w 577811"/>
                <a:gd name="connsiteY18" fmla="*/ 584173 h 589783"/>
                <a:gd name="connsiteX19" fmla="*/ 134636 w 577811"/>
                <a:gd name="connsiteY19" fmla="*/ 589783 h 589783"/>
                <a:gd name="connsiteX20" fmla="*/ 117806 w 577811"/>
                <a:gd name="connsiteY20" fmla="*/ 584173 h 589783"/>
                <a:gd name="connsiteX21" fmla="*/ 95367 w 577811"/>
                <a:gd name="connsiteY21" fmla="*/ 578564 h 589783"/>
                <a:gd name="connsiteX22" fmla="*/ 44879 w 577811"/>
                <a:gd name="connsiteY22" fmla="*/ 561734 h 589783"/>
                <a:gd name="connsiteX23" fmla="*/ 11220 w 577811"/>
                <a:gd name="connsiteY23" fmla="*/ 544905 h 589783"/>
                <a:gd name="connsiteX24" fmla="*/ 5610 w 577811"/>
                <a:gd name="connsiteY24" fmla="*/ 544905 h 589783"/>
                <a:gd name="connsiteX25" fmla="*/ 0 w 577811"/>
                <a:gd name="connsiteY25" fmla="*/ 90510 h 589783"/>
                <a:gd name="connsiteX0" fmla="*/ 0 w 695065"/>
                <a:gd name="connsiteY0" fmla="*/ 78614 h 577887"/>
                <a:gd name="connsiteX1" fmla="*/ 0 w 695065"/>
                <a:gd name="connsiteY1" fmla="*/ 78614 h 577887"/>
                <a:gd name="connsiteX2" fmla="*/ 560982 w 695065"/>
                <a:gd name="connsiteY2" fmla="*/ 11296 h 577887"/>
                <a:gd name="connsiteX3" fmla="*/ 577811 w 695065"/>
                <a:gd name="connsiteY3" fmla="*/ 76 h 577887"/>
                <a:gd name="connsiteX4" fmla="*/ 695018 w 695065"/>
                <a:gd name="connsiteY4" fmla="*/ 136494 h 577887"/>
                <a:gd name="connsiteX5" fmla="*/ 560982 w 695065"/>
                <a:gd name="connsiteY5" fmla="*/ 22515 h 577887"/>
                <a:gd name="connsiteX6" fmla="*/ 566592 w 695065"/>
                <a:gd name="connsiteY6" fmla="*/ 190810 h 577887"/>
                <a:gd name="connsiteX7" fmla="*/ 572201 w 695065"/>
                <a:gd name="connsiteY7" fmla="*/ 207639 h 577887"/>
                <a:gd name="connsiteX8" fmla="*/ 566592 w 695065"/>
                <a:gd name="connsiteY8" fmla="*/ 269347 h 577887"/>
                <a:gd name="connsiteX9" fmla="*/ 555372 w 695065"/>
                <a:gd name="connsiteY9" fmla="*/ 342275 h 577887"/>
                <a:gd name="connsiteX10" fmla="*/ 544152 w 695065"/>
                <a:gd name="connsiteY10" fmla="*/ 460081 h 577887"/>
                <a:gd name="connsiteX11" fmla="*/ 549762 w 695065"/>
                <a:gd name="connsiteY11" fmla="*/ 510569 h 577887"/>
                <a:gd name="connsiteX12" fmla="*/ 566592 w 695065"/>
                <a:gd name="connsiteY12" fmla="*/ 521789 h 577887"/>
                <a:gd name="connsiteX13" fmla="*/ 549762 w 695065"/>
                <a:gd name="connsiteY13" fmla="*/ 533009 h 577887"/>
                <a:gd name="connsiteX14" fmla="*/ 359028 w 695065"/>
                <a:gd name="connsiteY14" fmla="*/ 533009 h 577887"/>
                <a:gd name="connsiteX15" fmla="*/ 319760 w 695065"/>
                <a:gd name="connsiteY15" fmla="*/ 538619 h 577887"/>
                <a:gd name="connsiteX16" fmla="*/ 241222 w 695065"/>
                <a:gd name="connsiteY16" fmla="*/ 544228 h 577887"/>
                <a:gd name="connsiteX17" fmla="*/ 190734 w 695065"/>
                <a:gd name="connsiteY17" fmla="*/ 561058 h 577887"/>
                <a:gd name="connsiteX18" fmla="*/ 157075 w 695065"/>
                <a:gd name="connsiteY18" fmla="*/ 572277 h 577887"/>
                <a:gd name="connsiteX19" fmla="*/ 134636 w 695065"/>
                <a:gd name="connsiteY19" fmla="*/ 577887 h 577887"/>
                <a:gd name="connsiteX20" fmla="*/ 117806 w 695065"/>
                <a:gd name="connsiteY20" fmla="*/ 572277 h 577887"/>
                <a:gd name="connsiteX21" fmla="*/ 95367 w 695065"/>
                <a:gd name="connsiteY21" fmla="*/ 566668 h 577887"/>
                <a:gd name="connsiteX22" fmla="*/ 44879 w 695065"/>
                <a:gd name="connsiteY22" fmla="*/ 549838 h 577887"/>
                <a:gd name="connsiteX23" fmla="*/ 11220 w 695065"/>
                <a:gd name="connsiteY23" fmla="*/ 533009 h 577887"/>
                <a:gd name="connsiteX24" fmla="*/ 5610 w 695065"/>
                <a:gd name="connsiteY24" fmla="*/ 533009 h 577887"/>
                <a:gd name="connsiteX25" fmla="*/ 0 w 695065"/>
                <a:gd name="connsiteY25" fmla="*/ 78614 h 577887"/>
                <a:gd name="connsiteX0" fmla="*/ 0 w 577811"/>
                <a:gd name="connsiteY0" fmla="*/ 78998 h 578271"/>
                <a:gd name="connsiteX1" fmla="*/ 0 w 577811"/>
                <a:gd name="connsiteY1" fmla="*/ 78998 h 578271"/>
                <a:gd name="connsiteX2" fmla="*/ 560982 w 577811"/>
                <a:gd name="connsiteY2" fmla="*/ 11680 h 578271"/>
                <a:gd name="connsiteX3" fmla="*/ 577811 w 577811"/>
                <a:gd name="connsiteY3" fmla="*/ 460 h 578271"/>
                <a:gd name="connsiteX4" fmla="*/ 560982 w 577811"/>
                <a:gd name="connsiteY4" fmla="*/ 22899 h 578271"/>
                <a:gd name="connsiteX5" fmla="*/ 566592 w 577811"/>
                <a:gd name="connsiteY5" fmla="*/ 191194 h 578271"/>
                <a:gd name="connsiteX6" fmla="*/ 572201 w 577811"/>
                <a:gd name="connsiteY6" fmla="*/ 208023 h 578271"/>
                <a:gd name="connsiteX7" fmla="*/ 566592 w 577811"/>
                <a:gd name="connsiteY7" fmla="*/ 269731 h 578271"/>
                <a:gd name="connsiteX8" fmla="*/ 555372 w 577811"/>
                <a:gd name="connsiteY8" fmla="*/ 342659 h 578271"/>
                <a:gd name="connsiteX9" fmla="*/ 544152 w 577811"/>
                <a:gd name="connsiteY9" fmla="*/ 460465 h 578271"/>
                <a:gd name="connsiteX10" fmla="*/ 549762 w 577811"/>
                <a:gd name="connsiteY10" fmla="*/ 510953 h 578271"/>
                <a:gd name="connsiteX11" fmla="*/ 566592 w 577811"/>
                <a:gd name="connsiteY11" fmla="*/ 522173 h 578271"/>
                <a:gd name="connsiteX12" fmla="*/ 549762 w 577811"/>
                <a:gd name="connsiteY12" fmla="*/ 533393 h 578271"/>
                <a:gd name="connsiteX13" fmla="*/ 359028 w 577811"/>
                <a:gd name="connsiteY13" fmla="*/ 533393 h 578271"/>
                <a:gd name="connsiteX14" fmla="*/ 319760 w 577811"/>
                <a:gd name="connsiteY14" fmla="*/ 539003 h 578271"/>
                <a:gd name="connsiteX15" fmla="*/ 241222 w 577811"/>
                <a:gd name="connsiteY15" fmla="*/ 544612 h 578271"/>
                <a:gd name="connsiteX16" fmla="*/ 190734 w 577811"/>
                <a:gd name="connsiteY16" fmla="*/ 561442 h 578271"/>
                <a:gd name="connsiteX17" fmla="*/ 157075 w 577811"/>
                <a:gd name="connsiteY17" fmla="*/ 572661 h 578271"/>
                <a:gd name="connsiteX18" fmla="*/ 134636 w 577811"/>
                <a:gd name="connsiteY18" fmla="*/ 578271 h 578271"/>
                <a:gd name="connsiteX19" fmla="*/ 117806 w 577811"/>
                <a:gd name="connsiteY19" fmla="*/ 572661 h 578271"/>
                <a:gd name="connsiteX20" fmla="*/ 95367 w 577811"/>
                <a:gd name="connsiteY20" fmla="*/ 567052 h 578271"/>
                <a:gd name="connsiteX21" fmla="*/ 44879 w 577811"/>
                <a:gd name="connsiteY21" fmla="*/ 550222 h 578271"/>
                <a:gd name="connsiteX22" fmla="*/ 11220 w 577811"/>
                <a:gd name="connsiteY22" fmla="*/ 533393 h 578271"/>
                <a:gd name="connsiteX23" fmla="*/ 5610 w 577811"/>
                <a:gd name="connsiteY23" fmla="*/ 533393 h 578271"/>
                <a:gd name="connsiteX24" fmla="*/ 0 w 577811"/>
                <a:gd name="connsiteY24" fmla="*/ 78998 h 578271"/>
                <a:gd name="connsiteX0" fmla="*/ 0 w 577811"/>
                <a:gd name="connsiteY0" fmla="*/ 78998 h 578271"/>
                <a:gd name="connsiteX1" fmla="*/ 0 w 577811"/>
                <a:gd name="connsiteY1" fmla="*/ 78998 h 578271"/>
                <a:gd name="connsiteX2" fmla="*/ 577811 w 577811"/>
                <a:gd name="connsiteY2" fmla="*/ 460 h 578271"/>
                <a:gd name="connsiteX3" fmla="*/ 560982 w 577811"/>
                <a:gd name="connsiteY3" fmla="*/ 22899 h 578271"/>
                <a:gd name="connsiteX4" fmla="*/ 566592 w 577811"/>
                <a:gd name="connsiteY4" fmla="*/ 191194 h 578271"/>
                <a:gd name="connsiteX5" fmla="*/ 572201 w 577811"/>
                <a:gd name="connsiteY5" fmla="*/ 208023 h 578271"/>
                <a:gd name="connsiteX6" fmla="*/ 566592 w 577811"/>
                <a:gd name="connsiteY6" fmla="*/ 269731 h 578271"/>
                <a:gd name="connsiteX7" fmla="*/ 555372 w 577811"/>
                <a:gd name="connsiteY7" fmla="*/ 342659 h 578271"/>
                <a:gd name="connsiteX8" fmla="*/ 544152 w 577811"/>
                <a:gd name="connsiteY8" fmla="*/ 460465 h 578271"/>
                <a:gd name="connsiteX9" fmla="*/ 549762 w 577811"/>
                <a:gd name="connsiteY9" fmla="*/ 510953 h 578271"/>
                <a:gd name="connsiteX10" fmla="*/ 566592 w 577811"/>
                <a:gd name="connsiteY10" fmla="*/ 522173 h 578271"/>
                <a:gd name="connsiteX11" fmla="*/ 549762 w 577811"/>
                <a:gd name="connsiteY11" fmla="*/ 533393 h 578271"/>
                <a:gd name="connsiteX12" fmla="*/ 359028 w 577811"/>
                <a:gd name="connsiteY12" fmla="*/ 533393 h 578271"/>
                <a:gd name="connsiteX13" fmla="*/ 319760 w 577811"/>
                <a:gd name="connsiteY13" fmla="*/ 539003 h 578271"/>
                <a:gd name="connsiteX14" fmla="*/ 241222 w 577811"/>
                <a:gd name="connsiteY14" fmla="*/ 544612 h 578271"/>
                <a:gd name="connsiteX15" fmla="*/ 190734 w 577811"/>
                <a:gd name="connsiteY15" fmla="*/ 561442 h 578271"/>
                <a:gd name="connsiteX16" fmla="*/ 157075 w 577811"/>
                <a:gd name="connsiteY16" fmla="*/ 572661 h 578271"/>
                <a:gd name="connsiteX17" fmla="*/ 134636 w 577811"/>
                <a:gd name="connsiteY17" fmla="*/ 578271 h 578271"/>
                <a:gd name="connsiteX18" fmla="*/ 117806 w 577811"/>
                <a:gd name="connsiteY18" fmla="*/ 572661 h 578271"/>
                <a:gd name="connsiteX19" fmla="*/ 95367 w 577811"/>
                <a:gd name="connsiteY19" fmla="*/ 567052 h 578271"/>
                <a:gd name="connsiteX20" fmla="*/ 44879 w 577811"/>
                <a:gd name="connsiteY20" fmla="*/ 550222 h 578271"/>
                <a:gd name="connsiteX21" fmla="*/ 11220 w 577811"/>
                <a:gd name="connsiteY21" fmla="*/ 533393 h 578271"/>
                <a:gd name="connsiteX22" fmla="*/ 5610 w 577811"/>
                <a:gd name="connsiteY22" fmla="*/ 533393 h 578271"/>
                <a:gd name="connsiteX23" fmla="*/ 0 w 577811"/>
                <a:gd name="connsiteY23" fmla="*/ 78998 h 578271"/>
                <a:gd name="connsiteX0" fmla="*/ 0 w 617242"/>
                <a:gd name="connsiteY0" fmla="*/ 78538 h 577811"/>
                <a:gd name="connsiteX1" fmla="*/ 0 w 617242"/>
                <a:gd name="connsiteY1" fmla="*/ 78538 h 577811"/>
                <a:gd name="connsiteX2" fmla="*/ 577811 w 617242"/>
                <a:gd name="connsiteY2" fmla="*/ 0 h 577811"/>
                <a:gd name="connsiteX3" fmla="*/ 566592 w 617242"/>
                <a:gd name="connsiteY3" fmla="*/ 190734 h 577811"/>
                <a:gd name="connsiteX4" fmla="*/ 572201 w 617242"/>
                <a:gd name="connsiteY4" fmla="*/ 207563 h 577811"/>
                <a:gd name="connsiteX5" fmla="*/ 566592 w 617242"/>
                <a:gd name="connsiteY5" fmla="*/ 269271 h 577811"/>
                <a:gd name="connsiteX6" fmla="*/ 555372 w 617242"/>
                <a:gd name="connsiteY6" fmla="*/ 342199 h 577811"/>
                <a:gd name="connsiteX7" fmla="*/ 544152 w 617242"/>
                <a:gd name="connsiteY7" fmla="*/ 460005 h 577811"/>
                <a:gd name="connsiteX8" fmla="*/ 549762 w 617242"/>
                <a:gd name="connsiteY8" fmla="*/ 510493 h 577811"/>
                <a:gd name="connsiteX9" fmla="*/ 566592 w 617242"/>
                <a:gd name="connsiteY9" fmla="*/ 521713 h 577811"/>
                <a:gd name="connsiteX10" fmla="*/ 549762 w 617242"/>
                <a:gd name="connsiteY10" fmla="*/ 532933 h 577811"/>
                <a:gd name="connsiteX11" fmla="*/ 359028 w 617242"/>
                <a:gd name="connsiteY11" fmla="*/ 532933 h 577811"/>
                <a:gd name="connsiteX12" fmla="*/ 319760 w 617242"/>
                <a:gd name="connsiteY12" fmla="*/ 538543 h 577811"/>
                <a:gd name="connsiteX13" fmla="*/ 241222 w 617242"/>
                <a:gd name="connsiteY13" fmla="*/ 544152 h 577811"/>
                <a:gd name="connsiteX14" fmla="*/ 190734 w 617242"/>
                <a:gd name="connsiteY14" fmla="*/ 560982 h 577811"/>
                <a:gd name="connsiteX15" fmla="*/ 157075 w 617242"/>
                <a:gd name="connsiteY15" fmla="*/ 572201 h 577811"/>
                <a:gd name="connsiteX16" fmla="*/ 134636 w 617242"/>
                <a:gd name="connsiteY16" fmla="*/ 577811 h 577811"/>
                <a:gd name="connsiteX17" fmla="*/ 117806 w 617242"/>
                <a:gd name="connsiteY17" fmla="*/ 572201 h 577811"/>
                <a:gd name="connsiteX18" fmla="*/ 95367 w 617242"/>
                <a:gd name="connsiteY18" fmla="*/ 566592 h 577811"/>
                <a:gd name="connsiteX19" fmla="*/ 44879 w 617242"/>
                <a:gd name="connsiteY19" fmla="*/ 549762 h 577811"/>
                <a:gd name="connsiteX20" fmla="*/ 11220 w 617242"/>
                <a:gd name="connsiteY20" fmla="*/ 532933 h 577811"/>
                <a:gd name="connsiteX21" fmla="*/ 5610 w 617242"/>
                <a:gd name="connsiteY21" fmla="*/ 532933 h 577811"/>
                <a:gd name="connsiteX22" fmla="*/ 0 w 617242"/>
                <a:gd name="connsiteY22" fmla="*/ 78538 h 577811"/>
                <a:gd name="connsiteX0" fmla="*/ 0 w 580619"/>
                <a:gd name="connsiteY0" fmla="*/ 21388 h 520661"/>
                <a:gd name="connsiteX1" fmla="*/ 0 w 580619"/>
                <a:gd name="connsiteY1" fmla="*/ 21388 h 520661"/>
                <a:gd name="connsiteX2" fmla="*/ 523043 w 580619"/>
                <a:gd name="connsiteY2" fmla="*/ 0 h 520661"/>
                <a:gd name="connsiteX3" fmla="*/ 566592 w 580619"/>
                <a:gd name="connsiteY3" fmla="*/ 133584 h 520661"/>
                <a:gd name="connsiteX4" fmla="*/ 572201 w 580619"/>
                <a:gd name="connsiteY4" fmla="*/ 150413 h 520661"/>
                <a:gd name="connsiteX5" fmla="*/ 566592 w 580619"/>
                <a:gd name="connsiteY5" fmla="*/ 212121 h 520661"/>
                <a:gd name="connsiteX6" fmla="*/ 555372 w 580619"/>
                <a:gd name="connsiteY6" fmla="*/ 285049 h 520661"/>
                <a:gd name="connsiteX7" fmla="*/ 544152 w 580619"/>
                <a:gd name="connsiteY7" fmla="*/ 402855 h 520661"/>
                <a:gd name="connsiteX8" fmla="*/ 549762 w 580619"/>
                <a:gd name="connsiteY8" fmla="*/ 453343 h 520661"/>
                <a:gd name="connsiteX9" fmla="*/ 566592 w 580619"/>
                <a:gd name="connsiteY9" fmla="*/ 464563 h 520661"/>
                <a:gd name="connsiteX10" fmla="*/ 549762 w 580619"/>
                <a:gd name="connsiteY10" fmla="*/ 475783 h 520661"/>
                <a:gd name="connsiteX11" fmla="*/ 359028 w 580619"/>
                <a:gd name="connsiteY11" fmla="*/ 475783 h 520661"/>
                <a:gd name="connsiteX12" fmla="*/ 319760 w 580619"/>
                <a:gd name="connsiteY12" fmla="*/ 481393 h 520661"/>
                <a:gd name="connsiteX13" fmla="*/ 241222 w 580619"/>
                <a:gd name="connsiteY13" fmla="*/ 487002 h 520661"/>
                <a:gd name="connsiteX14" fmla="*/ 190734 w 580619"/>
                <a:gd name="connsiteY14" fmla="*/ 503832 h 520661"/>
                <a:gd name="connsiteX15" fmla="*/ 157075 w 580619"/>
                <a:gd name="connsiteY15" fmla="*/ 515051 h 520661"/>
                <a:gd name="connsiteX16" fmla="*/ 134636 w 580619"/>
                <a:gd name="connsiteY16" fmla="*/ 520661 h 520661"/>
                <a:gd name="connsiteX17" fmla="*/ 117806 w 580619"/>
                <a:gd name="connsiteY17" fmla="*/ 515051 h 520661"/>
                <a:gd name="connsiteX18" fmla="*/ 95367 w 580619"/>
                <a:gd name="connsiteY18" fmla="*/ 509442 h 520661"/>
                <a:gd name="connsiteX19" fmla="*/ 44879 w 580619"/>
                <a:gd name="connsiteY19" fmla="*/ 492612 h 520661"/>
                <a:gd name="connsiteX20" fmla="*/ 11220 w 580619"/>
                <a:gd name="connsiteY20" fmla="*/ 475783 h 520661"/>
                <a:gd name="connsiteX21" fmla="*/ 5610 w 580619"/>
                <a:gd name="connsiteY21" fmla="*/ 475783 h 520661"/>
                <a:gd name="connsiteX22" fmla="*/ 0 w 580619"/>
                <a:gd name="connsiteY22" fmla="*/ 21388 h 520661"/>
                <a:gd name="connsiteX0" fmla="*/ 0 w 572201"/>
                <a:gd name="connsiteY0" fmla="*/ 21388 h 520661"/>
                <a:gd name="connsiteX1" fmla="*/ 0 w 572201"/>
                <a:gd name="connsiteY1" fmla="*/ 21388 h 520661"/>
                <a:gd name="connsiteX2" fmla="*/ 523043 w 572201"/>
                <a:gd name="connsiteY2" fmla="*/ 0 h 520661"/>
                <a:gd name="connsiteX3" fmla="*/ 566592 w 572201"/>
                <a:gd name="connsiteY3" fmla="*/ 133584 h 520661"/>
                <a:gd name="connsiteX4" fmla="*/ 572201 w 572201"/>
                <a:gd name="connsiteY4" fmla="*/ 150413 h 520661"/>
                <a:gd name="connsiteX5" fmla="*/ 566592 w 572201"/>
                <a:gd name="connsiteY5" fmla="*/ 212121 h 520661"/>
                <a:gd name="connsiteX6" fmla="*/ 555372 w 572201"/>
                <a:gd name="connsiteY6" fmla="*/ 285049 h 520661"/>
                <a:gd name="connsiteX7" fmla="*/ 544152 w 572201"/>
                <a:gd name="connsiteY7" fmla="*/ 402855 h 520661"/>
                <a:gd name="connsiteX8" fmla="*/ 549762 w 572201"/>
                <a:gd name="connsiteY8" fmla="*/ 453343 h 520661"/>
                <a:gd name="connsiteX9" fmla="*/ 566592 w 572201"/>
                <a:gd name="connsiteY9" fmla="*/ 464563 h 520661"/>
                <a:gd name="connsiteX10" fmla="*/ 549762 w 572201"/>
                <a:gd name="connsiteY10" fmla="*/ 475783 h 520661"/>
                <a:gd name="connsiteX11" fmla="*/ 359028 w 572201"/>
                <a:gd name="connsiteY11" fmla="*/ 475783 h 520661"/>
                <a:gd name="connsiteX12" fmla="*/ 319760 w 572201"/>
                <a:gd name="connsiteY12" fmla="*/ 481393 h 520661"/>
                <a:gd name="connsiteX13" fmla="*/ 241222 w 572201"/>
                <a:gd name="connsiteY13" fmla="*/ 487002 h 520661"/>
                <a:gd name="connsiteX14" fmla="*/ 190734 w 572201"/>
                <a:gd name="connsiteY14" fmla="*/ 503832 h 520661"/>
                <a:gd name="connsiteX15" fmla="*/ 157075 w 572201"/>
                <a:gd name="connsiteY15" fmla="*/ 515051 h 520661"/>
                <a:gd name="connsiteX16" fmla="*/ 134636 w 572201"/>
                <a:gd name="connsiteY16" fmla="*/ 520661 h 520661"/>
                <a:gd name="connsiteX17" fmla="*/ 117806 w 572201"/>
                <a:gd name="connsiteY17" fmla="*/ 515051 h 520661"/>
                <a:gd name="connsiteX18" fmla="*/ 95367 w 572201"/>
                <a:gd name="connsiteY18" fmla="*/ 509442 h 520661"/>
                <a:gd name="connsiteX19" fmla="*/ 44879 w 572201"/>
                <a:gd name="connsiteY19" fmla="*/ 492612 h 520661"/>
                <a:gd name="connsiteX20" fmla="*/ 11220 w 572201"/>
                <a:gd name="connsiteY20" fmla="*/ 475783 h 520661"/>
                <a:gd name="connsiteX21" fmla="*/ 5610 w 572201"/>
                <a:gd name="connsiteY21" fmla="*/ 475783 h 520661"/>
                <a:gd name="connsiteX22" fmla="*/ 0 w 572201"/>
                <a:gd name="connsiteY22" fmla="*/ 21388 h 520661"/>
                <a:gd name="connsiteX0" fmla="*/ 0 w 572201"/>
                <a:gd name="connsiteY0" fmla="*/ 76156 h 575429"/>
                <a:gd name="connsiteX1" fmla="*/ 0 w 572201"/>
                <a:gd name="connsiteY1" fmla="*/ 76156 h 575429"/>
                <a:gd name="connsiteX2" fmla="*/ 561143 w 572201"/>
                <a:gd name="connsiteY2" fmla="*/ 0 h 575429"/>
                <a:gd name="connsiteX3" fmla="*/ 566592 w 572201"/>
                <a:gd name="connsiteY3" fmla="*/ 188352 h 575429"/>
                <a:gd name="connsiteX4" fmla="*/ 572201 w 572201"/>
                <a:gd name="connsiteY4" fmla="*/ 205181 h 575429"/>
                <a:gd name="connsiteX5" fmla="*/ 566592 w 572201"/>
                <a:gd name="connsiteY5" fmla="*/ 266889 h 575429"/>
                <a:gd name="connsiteX6" fmla="*/ 555372 w 572201"/>
                <a:gd name="connsiteY6" fmla="*/ 339817 h 575429"/>
                <a:gd name="connsiteX7" fmla="*/ 544152 w 572201"/>
                <a:gd name="connsiteY7" fmla="*/ 457623 h 575429"/>
                <a:gd name="connsiteX8" fmla="*/ 549762 w 572201"/>
                <a:gd name="connsiteY8" fmla="*/ 508111 h 575429"/>
                <a:gd name="connsiteX9" fmla="*/ 566592 w 572201"/>
                <a:gd name="connsiteY9" fmla="*/ 519331 h 575429"/>
                <a:gd name="connsiteX10" fmla="*/ 549762 w 572201"/>
                <a:gd name="connsiteY10" fmla="*/ 530551 h 575429"/>
                <a:gd name="connsiteX11" fmla="*/ 359028 w 572201"/>
                <a:gd name="connsiteY11" fmla="*/ 530551 h 575429"/>
                <a:gd name="connsiteX12" fmla="*/ 319760 w 572201"/>
                <a:gd name="connsiteY12" fmla="*/ 536161 h 575429"/>
                <a:gd name="connsiteX13" fmla="*/ 241222 w 572201"/>
                <a:gd name="connsiteY13" fmla="*/ 541770 h 575429"/>
                <a:gd name="connsiteX14" fmla="*/ 190734 w 572201"/>
                <a:gd name="connsiteY14" fmla="*/ 558600 h 575429"/>
                <a:gd name="connsiteX15" fmla="*/ 157075 w 572201"/>
                <a:gd name="connsiteY15" fmla="*/ 569819 h 575429"/>
                <a:gd name="connsiteX16" fmla="*/ 134636 w 572201"/>
                <a:gd name="connsiteY16" fmla="*/ 575429 h 575429"/>
                <a:gd name="connsiteX17" fmla="*/ 117806 w 572201"/>
                <a:gd name="connsiteY17" fmla="*/ 569819 h 575429"/>
                <a:gd name="connsiteX18" fmla="*/ 95367 w 572201"/>
                <a:gd name="connsiteY18" fmla="*/ 564210 h 575429"/>
                <a:gd name="connsiteX19" fmla="*/ 44879 w 572201"/>
                <a:gd name="connsiteY19" fmla="*/ 547380 h 575429"/>
                <a:gd name="connsiteX20" fmla="*/ 11220 w 572201"/>
                <a:gd name="connsiteY20" fmla="*/ 530551 h 575429"/>
                <a:gd name="connsiteX21" fmla="*/ 5610 w 572201"/>
                <a:gd name="connsiteY21" fmla="*/ 530551 h 575429"/>
                <a:gd name="connsiteX22" fmla="*/ 0 w 572201"/>
                <a:gd name="connsiteY22" fmla="*/ 76156 h 575429"/>
                <a:gd name="connsiteX0" fmla="*/ 0 w 606371"/>
                <a:gd name="connsiteY0" fmla="*/ 76156 h 575429"/>
                <a:gd name="connsiteX1" fmla="*/ 0 w 606371"/>
                <a:gd name="connsiteY1" fmla="*/ 76156 h 575429"/>
                <a:gd name="connsiteX2" fmla="*/ 561143 w 606371"/>
                <a:gd name="connsiteY2" fmla="*/ 0 h 575429"/>
                <a:gd name="connsiteX3" fmla="*/ 572201 w 606371"/>
                <a:gd name="connsiteY3" fmla="*/ 205181 h 575429"/>
                <a:gd name="connsiteX4" fmla="*/ 566592 w 606371"/>
                <a:gd name="connsiteY4" fmla="*/ 266889 h 575429"/>
                <a:gd name="connsiteX5" fmla="*/ 555372 w 606371"/>
                <a:gd name="connsiteY5" fmla="*/ 339817 h 575429"/>
                <a:gd name="connsiteX6" fmla="*/ 544152 w 606371"/>
                <a:gd name="connsiteY6" fmla="*/ 457623 h 575429"/>
                <a:gd name="connsiteX7" fmla="*/ 549762 w 606371"/>
                <a:gd name="connsiteY7" fmla="*/ 508111 h 575429"/>
                <a:gd name="connsiteX8" fmla="*/ 566592 w 606371"/>
                <a:gd name="connsiteY8" fmla="*/ 519331 h 575429"/>
                <a:gd name="connsiteX9" fmla="*/ 549762 w 606371"/>
                <a:gd name="connsiteY9" fmla="*/ 530551 h 575429"/>
                <a:gd name="connsiteX10" fmla="*/ 359028 w 606371"/>
                <a:gd name="connsiteY10" fmla="*/ 530551 h 575429"/>
                <a:gd name="connsiteX11" fmla="*/ 319760 w 606371"/>
                <a:gd name="connsiteY11" fmla="*/ 536161 h 575429"/>
                <a:gd name="connsiteX12" fmla="*/ 241222 w 606371"/>
                <a:gd name="connsiteY12" fmla="*/ 541770 h 575429"/>
                <a:gd name="connsiteX13" fmla="*/ 190734 w 606371"/>
                <a:gd name="connsiteY13" fmla="*/ 558600 h 575429"/>
                <a:gd name="connsiteX14" fmla="*/ 157075 w 606371"/>
                <a:gd name="connsiteY14" fmla="*/ 569819 h 575429"/>
                <a:gd name="connsiteX15" fmla="*/ 134636 w 606371"/>
                <a:gd name="connsiteY15" fmla="*/ 575429 h 575429"/>
                <a:gd name="connsiteX16" fmla="*/ 117806 w 606371"/>
                <a:gd name="connsiteY16" fmla="*/ 569819 h 575429"/>
                <a:gd name="connsiteX17" fmla="*/ 95367 w 606371"/>
                <a:gd name="connsiteY17" fmla="*/ 564210 h 575429"/>
                <a:gd name="connsiteX18" fmla="*/ 44879 w 606371"/>
                <a:gd name="connsiteY18" fmla="*/ 547380 h 575429"/>
                <a:gd name="connsiteX19" fmla="*/ 11220 w 606371"/>
                <a:gd name="connsiteY19" fmla="*/ 530551 h 575429"/>
                <a:gd name="connsiteX20" fmla="*/ 5610 w 606371"/>
                <a:gd name="connsiteY20" fmla="*/ 530551 h 575429"/>
                <a:gd name="connsiteX21" fmla="*/ 0 w 606371"/>
                <a:gd name="connsiteY21" fmla="*/ 76156 h 575429"/>
                <a:gd name="connsiteX0" fmla="*/ 0 w 604801"/>
                <a:gd name="connsiteY0" fmla="*/ 76156 h 575429"/>
                <a:gd name="connsiteX1" fmla="*/ 0 w 604801"/>
                <a:gd name="connsiteY1" fmla="*/ 76156 h 575429"/>
                <a:gd name="connsiteX2" fmla="*/ 561143 w 604801"/>
                <a:gd name="connsiteY2" fmla="*/ 0 h 575429"/>
                <a:gd name="connsiteX3" fmla="*/ 566592 w 604801"/>
                <a:gd name="connsiteY3" fmla="*/ 266889 h 575429"/>
                <a:gd name="connsiteX4" fmla="*/ 555372 w 604801"/>
                <a:gd name="connsiteY4" fmla="*/ 339817 h 575429"/>
                <a:gd name="connsiteX5" fmla="*/ 544152 w 604801"/>
                <a:gd name="connsiteY5" fmla="*/ 457623 h 575429"/>
                <a:gd name="connsiteX6" fmla="*/ 549762 w 604801"/>
                <a:gd name="connsiteY6" fmla="*/ 508111 h 575429"/>
                <a:gd name="connsiteX7" fmla="*/ 566592 w 604801"/>
                <a:gd name="connsiteY7" fmla="*/ 519331 h 575429"/>
                <a:gd name="connsiteX8" fmla="*/ 549762 w 604801"/>
                <a:gd name="connsiteY8" fmla="*/ 530551 h 575429"/>
                <a:gd name="connsiteX9" fmla="*/ 359028 w 604801"/>
                <a:gd name="connsiteY9" fmla="*/ 530551 h 575429"/>
                <a:gd name="connsiteX10" fmla="*/ 319760 w 604801"/>
                <a:gd name="connsiteY10" fmla="*/ 536161 h 575429"/>
                <a:gd name="connsiteX11" fmla="*/ 241222 w 604801"/>
                <a:gd name="connsiteY11" fmla="*/ 541770 h 575429"/>
                <a:gd name="connsiteX12" fmla="*/ 190734 w 604801"/>
                <a:gd name="connsiteY12" fmla="*/ 558600 h 575429"/>
                <a:gd name="connsiteX13" fmla="*/ 157075 w 604801"/>
                <a:gd name="connsiteY13" fmla="*/ 569819 h 575429"/>
                <a:gd name="connsiteX14" fmla="*/ 134636 w 604801"/>
                <a:gd name="connsiteY14" fmla="*/ 575429 h 575429"/>
                <a:gd name="connsiteX15" fmla="*/ 117806 w 604801"/>
                <a:gd name="connsiteY15" fmla="*/ 569819 h 575429"/>
                <a:gd name="connsiteX16" fmla="*/ 95367 w 604801"/>
                <a:gd name="connsiteY16" fmla="*/ 564210 h 575429"/>
                <a:gd name="connsiteX17" fmla="*/ 44879 w 604801"/>
                <a:gd name="connsiteY17" fmla="*/ 547380 h 575429"/>
                <a:gd name="connsiteX18" fmla="*/ 11220 w 604801"/>
                <a:gd name="connsiteY18" fmla="*/ 530551 h 575429"/>
                <a:gd name="connsiteX19" fmla="*/ 5610 w 604801"/>
                <a:gd name="connsiteY19" fmla="*/ 530551 h 575429"/>
                <a:gd name="connsiteX20" fmla="*/ 0 w 604801"/>
                <a:gd name="connsiteY20" fmla="*/ 76156 h 575429"/>
                <a:gd name="connsiteX0" fmla="*/ 0 w 601435"/>
                <a:gd name="connsiteY0" fmla="*/ 76156 h 575429"/>
                <a:gd name="connsiteX1" fmla="*/ 0 w 601435"/>
                <a:gd name="connsiteY1" fmla="*/ 76156 h 575429"/>
                <a:gd name="connsiteX2" fmla="*/ 561143 w 601435"/>
                <a:gd name="connsiteY2" fmla="*/ 0 h 575429"/>
                <a:gd name="connsiteX3" fmla="*/ 555372 w 601435"/>
                <a:gd name="connsiteY3" fmla="*/ 339817 h 575429"/>
                <a:gd name="connsiteX4" fmla="*/ 544152 w 601435"/>
                <a:gd name="connsiteY4" fmla="*/ 457623 h 575429"/>
                <a:gd name="connsiteX5" fmla="*/ 549762 w 601435"/>
                <a:gd name="connsiteY5" fmla="*/ 508111 h 575429"/>
                <a:gd name="connsiteX6" fmla="*/ 566592 w 601435"/>
                <a:gd name="connsiteY6" fmla="*/ 519331 h 575429"/>
                <a:gd name="connsiteX7" fmla="*/ 549762 w 601435"/>
                <a:gd name="connsiteY7" fmla="*/ 530551 h 575429"/>
                <a:gd name="connsiteX8" fmla="*/ 359028 w 601435"/>
                <a:gd name="connsiteY8" fmla="*/ 530551 h 575429"/>
                <a:gd name="connsiteX9" fmla="*/ 319760 w 601435"/>
                <a:gd name="connsiteY9" fmla="*/ 536161 h 575429"/>
                <a:gd name="connsiteX10" fmla="*/ 241222 w 601435"/>
                <a:gd name="connsiteY10" fmla="*/ 541770 h 575429"/>
                <a:gd name="connsiteX11" fmla="*/ 190734 w 601435"/>
                <a:gd name="connsiteY11" fmla="*/ 558600 h 575429"/>
                <a:gd name="connsiteX12" fmla="*/ 157075 w 601435"/>
                <a:gd name="connsiteY12" fmla="*/ 569819 h 575429"/>
                <a:gd name="connsiteX13" fmla="*/ 134636 w 601435"/>
                <a:gd name="connsiteY13" fmla="*/ 575429 h 575429"/>
                <a:gd name="connsiteX14" fmla="*/ 117806 w 601435"/>
                <a:gd name="connsiteY14" fmla="*/ 569819 h 575429"/>
                <a:gd name="connsiteX15" fmla="*/ 95367 w 601435"/>
                <a:gd name="connsiteY15" fmla="*/ 564210 h 575429"/>
                <a:gd name="connsiteX16" fmla="*/ 44879 w 601435"/>
                <a:gd name="connsiteY16" fmla="*/ 547380 h 575429"/>
                <a:gd name="connsiteX17" fmla="*/ 11220 w 601435"/>
                <a:gd name="connsiteY17" fmla="*/ 530551 h 575429"/>
                <a:gd name="connsiteX18" fmla="*/ 5610 w 601435"/>
                <a:gd name="connsiteY18" fmla="*/ 530551 h 575429"/>
                <a:gd name="connsiteX19" fmla="*/ 0 w 601435"/>
                <a:gd name="connsiteY19" fmla="*/ 76156 h 575429"/>
                <a:gd name="connsiteX0" fmla="*/ 0 w 597826"/>
                <a:gd name="connsiteY0" fmla="*/ 76156 h 575429"/>
                <a:gd name="connsiteX1" fmla="*/ 0 w 597826"/>
                <a:gd name="connsiteY1" fmla="*/ 76156 h 575429"/>
                <a:gd name="connsiteX2" fmla="*/ 561143 w 597826"/>
                <a:gd name="connsiteY2" fmla="*/ 0 h 575429"/>
                <a:gd name="connsiteX3" fmla="*/ 544152 w 597826"/>
                <a:gd name="connsiteY3" fmla="*/ 457623 h 575429"/>
                <a:gd name="connsiteX4" fmla="*/ 549762 w 597826"/>
                <a:gd name="connsiteY4" fmla="*/ 508111 h 575429"/>
                <a:gd name="connsiteX5" fmla="*/ 566592 w 597826"/>
                <a:gd name="connsiteY5" fmla="*/ 519331 h 575429"/>
                <a:gd name="connsiteX6" fmla="*/ 549762 w 597826"/>
                <a:gd name="connsiteY6" fmla="*/ 530551 h 575429"/>
                <a:gd name="connsiteX7" fmla="*/ 359028 w 597826"/>
                <a:gd name="connsiteY7" fmla="*/ 530551 h 575429"/>
                <a:gd name="connsiteX8" fmla="*/ 319760 w 597826"/>
                <a:gd name="connsiteY8" fmla="*/ 536161 h 575429"/>
                <a:gd name="connsiteX9" fmla="*/ 241222 w 597826"/>
                <a:gd name="connsiteY9" fmla="*/ 541770 h 575429"/>
                <a:gd name="connsiteX10" fmla="*/ 190734 w 597826"/>
                <a:gd name="connsiteY10" fmla="*/ 558600 h 575429"/>
                <a:gd name="connsiteX11" fmla="*/ 157075 w 597826"/>
                <a:gd name="connsiteY11" fmla="*/ 569819 h 575429"/>
                <a:gd name="connsiteX12" fmla="*/ 134636 w 597826"/>
                <a:gd name="connsiteY12" fmla="*/ 575429 h 575429"/>
                <a:gd name="connsiteX13" fmla="*/ 117806 w 597826"/>
                <a:gd name="connsiteY13" fmla="*/ 569819 h 575429"/>
                <a:gd name="connsiteX14" fmla="*/ 95367 w 597826"/>
                <a:gd name="connsiteY14" fmla="*/ 564210 h 575429"/>
                <a:gd name="connsiteX15" fmla="*/ 44879 w 597826"/>
                <a:gd name="connsiteY15" fmla="*/ 547380 h 575429"/>
                <a:gd name="connsiteX16" fmla="*/ 11220 w 597826"/>
                <a:gd name="connsiteY16" fmla="*/ 530551 h 575429"/>
                <a:gd name="connsiteX17" fmla="*/ 5610 w 597826"/>
                <a:gd name="connsiteY17" fmla="*/ 530551 h 575429"/>
                <a:gd name="connsiteX18" fmla="*/ 0 w 597826"/>
                <a:gd name="connsiteY18" fmla="*/ 76156 h 575429"/>
                <a:gd name="connsiteX0" fmla="*/ 0 w 598933"/>
                <a:gd name="connsiteY0" fmla="*/ 76156 h 575429"/>
                <a:gd name="connsiteX1" fmla="*/ 0 w 598933"/>
                <a:gd name="connsiteY1" fmla="*/ 76156 h 575429"/>
                <a:gd name="connsiteX2" fmla="*/ 561143 w 598933"/>
                <a:gd name="connsiteY2" fmla="*/ 0 h 575429"/>
                <a:gd name="connsiteX3" fmla="*/ 549762 w 598933"/>
                <a:gd name="connsiteY3" fmla="*/ 508111 h 575429"/>
                <a:gd name="connsiteX4" fmla="*/ 566592 w 598933"/>
                <a:gd name="connsiteY4" fmla="*/ 519331 h 575429"/>
                <a:gd name="connsiteX5" fmla="*/ 549762 w 598933"/>
                <a:gd name="connsiteY5" fmla="*/ 530551 h 575429"/>
                <a:gd name="connsiteX6" fmla="*/ 359028 w 598933"/>
                <a:gd name="connsiteY6" fmla="*/ 530551 h 575429"/>
                <a:gd name="connsiteX7" fmla="*/ 319760 w 598933"/>
                <a:gd name="connsiteY7" fmla="*/ 536161 h 575429"/>
                <a:gd name="connsiteX8" fmla="*/ 241222 w 598933"/>
                <a:gd name="connsiteY8" fmla="*/ 541770 h 575429"/>
                <a:gd name="connsiteX9" fmla="*/ 190734 w 598933"/>
                <a:gd name="connsiteY9" fmla="*/ 558600 h 575429"/>
                <a:gd name="connsiteX10" fmla="*/ 157075 w 598933"/>
                <a:gd name="connsiteY10" fmla="*/ 569819 h 575429"/>
                <a:gd name="connsiteX11" fmla="*/ 134636 w 598933"/>
                <a:gd name="connsiteY11" fmla="*/ 575429 h 575429"/>
                <a:gd name="connsiteX12" fmla="*/ 117806 w 598933"/>
                <a:gd name="connsiteY12" fmla="*/ 569819 h 575429"/>
                <a:gd name="connsiteX13" fmla="*/ 95367 w 598933"/>
                <a:gd name="connsiteY13" fmla="*/ 564210 h 575429"/>
                <a:gd name="connsiteX14" fmla="*/ 44879 w 598933"/>
                <a:gd name="connsiteY14" fmla="*/ 547380 h 575429"/>
                <a:gd name="connsiteX15" fmla="*/ 11220 w 598933"/>
                <a:gd name="connsiteY15" fmla="*/ 530551 h 575429"/>
                <a:gd name="connsiteX16" fmla="*/ 5610 w 598933"/>
                <a:gd name="connsiteY16" fmla="*/ 530551 h 575429"/>
                <a:gd name="connsiteX17" fmla="*/ 0 w 598933"/>
                <a:gd name="connsiteY17" fmla="*/ 76156 h 575429"/>
                <a:gd name="connsiteX0" fmla="*/ 0 w 605023"/>
                <a:gd name="connsiteY0" fmla="*/ 76156 h 575429"/>
                <a:gd name="connsiteX1" fmla="*/ 0 w 605023"/>
                <a:gd name="connsiteY1" fmla="*/ 76156 h 575429"/>
                <a:gd name="connsiteX2" fmla="*/ 561143 w 605023"/>
                <a:gd name="connsiteY2" fmla="*/ 0 h 575429"/>
                <a:gd name="connsiteX3" fmla="*/ 566592 w 605023"/>
                <a:gd name="connsiteY3" fmla="*/ 519331 h 575429"/>
                <a:gd name="connsiteX4" fmla="*/ 549762 w 605023"/>
                <a:gd name="connsiteY4" fmla="*/ 530551 h 575429"/>
                <a:gd name="connsiteX5" fmla="*/ 359028 w 605023"/>
                <a:gd name="connsiteY5" fmla="*/ 530551 h 575429"/>
                <a:gd name="connsiteX6" fmla="*/ 319760 w 605023"/>
                <a:gd name="connsiteY6" fmla="*/ 536161 h 575429"/>
                <a:gd name="connsiteX7" fmla="*/ 241222 w 605023"/>
                <a:gd name="connsiteY7" fmla="*/ 541770 h 575429"/>
                <a:gd name="connsiteX8" fmla="*/ 190734 w 605023"/>
                <a:gd name="connsiteY8" fmla="*/ 558600 h 575429"/>
                <a:gd name="connsiteX9" fmla="*/ 157075 w 605023"/>
                <a:gd name="connsiteY9" fmla="*/ 569819 h 575429"/>
                <a:gd name="connsiteX10" fmla="*/ 134636 w 605023"/>
                <a:gd name="connsiteY10" fmla="*/ 575429 h 575429"/>
                <a:gd name="connsiteX11" fmla="*/ 117806 w 605023"/>
                <a:gd name="connsiteY11" fmla="*/ 569819 h 575429"/>
                <a:gd name="connsiteX12" fmla="*/ 95367 w 605023"/>
                <a:gd name="connsiteY12" fmla="*/ 564210 h 575429"/>
                <a:gd name="connsiteX13" fmla="*/ 44879 w 605023"/>
                <a:gd name="connsiteY13" fmla="*/ 547380 h 575429"/>
                <a:gd name="connsiteX14" fmla="*/ 11220 w 605023"/>
                <a:gd name="connsiteY14" fmla="*/ 530551 h 575429"/>
                <a:gd name="connsiteX15" fmla="*/ 5610 w 605023"/>
                <a:gd name="connsiteY15" fmla="*/ 530551 h 575429"/>
                <a:gd name="connsiteX16" fmla="*/ 0 w 605023"/>
                <a:gd name="connsiteY16" fmla="*/ 76156 h 575429"/>
                <a:gd name="connsiteX0" fmla="*/ 0 w 605023"/>
                <a:gd name="connsiteY0" fmla="*/ 76156 h 575429"/>
                <a:gd name="connsiteX1" fmla="*/ 0 w 605023"/>
                <a:gd name="connsiteY1" fmla="*/ 76156 h 575429"/>
                <a:gd name="connsiteX2" fmla="*/ 561143 w 605023"/>
                <a:gd name="connsiteY2" fmla="*/ 0 h 575429"/>
                <a:gd name="connsiteX3" fmla="*/ 566592 w 605023"/>
                <a:gd name="connsiteY3" fmla="*/ 519331 h 575429"/>
                <a:gd name="connsiteX4" fmla="*/ 359028 w 605023"/>
                <a:gd name="connsiteY4" fmla="*/ 530551 h 575429"/>
                <a:gd name="connsiteX5" fmla="*/ 319760 w 605023"/>
                <a:gd name="connsiteY5" fmla="*/ 536161 h 575429"/>
                <a:gd name="connsiteX6" fmla="*/ 241222 w 605023"/>
                <a:gd name="connsiteY6" fmla="*/ 541770 h 575429"/>
                <a:gd name="connsiteX7" fmla="*/ 190734 w 605023"/>
                <a:gd name="connsiteY7" fmla="*/ 558600 h 575429"/>
                <a:gd name="connsiteX8" fmla="*/ 157075 w 605023"/>
                <a:gd name="connsiteY8" fmla="*/ 569819 h 575429"/>
                <a:gd name="connsiteX9" fmla="*/ 134636 w 605023"/>
                <a:gd name="connsiteY9" fmla="*/ 575429 h 575429"/>
                <a:gd name="connsiteX10" fmla="*/ 117806 w 605023"/>
                <a:gd name="connsiteY10" fmla="*/ 569819 h 575429"/>
                <a:gd name="connsiteX11" fmla="*/ 95367 w 605023"/>
                <a:gd name="connsiteY11" fmla="*/ 564210 h 575429"/>
                <a:gd name="connsiteX12" fmla="*/ 44879 w 605023"/>
                <a:gd name="connsiteY12" fmla="*/ 547380 h 575429"/>
                <a:gd name="connsiteX13" fmla="*/ 11220 w 605023"/>
                <a:gd name="connsiteY13" fmla="*/ 530551 h 575429"/>
                <a:gd name="connsiteX14" fmla="*/ 5610 w 605023"/>
                <a:gd name="connsiteY14" fmla="*/ 530551 h 575429"/>
                <a:gd name="connsiteX15" fmla="*/ 0 w 605023"/>
                <a:gd name="connsiteY15" fmla="*/ 76156 h 575429"/>
                <a:gd name="connsiteX0" fmla="*/ 0 w 605023"/>
                <a:gd name="connsiteY0" fmla="*/ 76156 h 575429"/>
                <a:gd name="connsiteX1" fmla="*/ 0 w 605023"/>
                <a:gd name="connsiteY1" fmla="*/ 76156 h 575429"/>
                <a:gd name="connsiteX2" fmla="*/ 561143 w 605023"/>
                <a:gd name="connsiteY2" fmla="*/ 0 h 575429"/>
                <a:gd name="connsiteX3" fmla="*/ 566592 w 605023"/>
                <a:gd name="connsiteY3" fmla="*/ 519331 h 575429"/>
                <a:gd name="connsiteX4" fmla="*/ 319760 w 605023"/>
                <a:gd name="connsiteY4" fmla="*/ 536161 h 575429"/>
                <a:gd name="connsiteX5" fmla="*/ 241222 w 605023"/>
                <a:gd name="connsiteY5" fmla="*/ 541770 h 575429"/>
                <a:gd name="connsiteX6" fmla="*/ 190734 w 605023"/>
                <a:gd name="connsiteY6" fmla="*/ 558600 h 575429"/>
                <a:gd name="connsiteX7" fmla="*/ 157075 w 605023"/>
                <a:gd name="connsiteY7" fmla="*/ 569819 h 575429"/>
                <a:gd name="connsiteX8" fmla="*/ 134636 w 605023"/>
                <a:gd name="connsiteY8" fmla="*/ 575429 h 575429"/>
                <a:gd name="connsiteX9" fmla="*/ 117806 w 605023"/>
                <a:gd name="connsiteY9" fmla="*/ 569819 h 575429"/>
                <a:gd name="connsiteX10" fmla="*/ 95367 w 605023"/>
                <a:gd name="connsiteY10" fmla="*/ 564210 h 575429"/>
                <a:gd name="connsiteX11" fmla="*/ 44879 w 605023"/>
                <a:gd name="connsiteY11" fmla="*/ 547380 h 575429"/>
                <a:gd name="connsiteX12" fmla="*/ 11220 w 605023"/>
                <a:gd name="connsiteY12" fmla="*/ 530551 h 575429"/>
                <a:gd name="connsiteX13" fmla="*/ 5610 w 605023"/>
                <a:gd name="connsiteY13" fmla="*/ 530551 h 575429"/>
                <a:gd name="connsiteX14" fmla="*/ 0 w 605023"/>
                <a:gd name="connsiteY14" fmla="*/ 76156 h 575429"/>
                <a:gd name="connsiteX0" fmla="*/ 0 w 605023"/>
                <a:gd name="connsiteY0" fmla="*/ 76156 h 575429"/>
                <a:gd name="connsiteX1" fmla="*/ 0 w 605023"/>
                <a:gd name="connsiteY1" fmla="*/ 76156 h 575429"/>
                <a:gd name="connsiteX2" fmla="*/ 561143 w 605023"/>
                <a:gd name="connsiteY2" fmla="*/ 0 h 575429"/>
                <a:gd name="connsiteX3" fmla="*/ 566592 w 605023"/>
                <a:gd name="connsiteY3" fmla="*/ 519331 h 575429"/>
                <a:gd name="connsiteX4" fmla="*/ 241222 w 605023"/>
                <a:gd name="connsiteY4" fmla="*/ 541770 h 575429"/>
                <a:gd name="connsiteX5" fmla="*/ 190734 w 605023"/>
                <a:gd name="connsiteY5" fmla="*/ 558600 h 575429"/>
                <a:gd name="connsiteX6" fmla="*/ 157075 w 605023"/>
                <a:gd name="connsiteY6" fmla="*/ 569819 h 575429"/>
                <a:gd name="connsiteX7" fmla="*/ 134636 w 605023"/>
                <a:gd name="connsiteY7" fmla="*/ 575429 h 575429"/>
                <a:gd name="connsiteX8" fmla="*/ 117806 w 605023"/>
                <a:gd name="connsiteY8" fmla="*/ 569819 h 575429"/>
                <a:gd name="connsiteX9" fmla="*/ 95367 w 605023"/>
                <a:gd name="connsiteY9" fmla="*/ 564210 h 575429"/>
                <a:gd name="connsiteX10" fmla="*/ 44879 w 605023"/>
                <a:gd name="connsiteY10" fmla="*/ 547380 h 575429"/>
                <a:gd name="connsiteX11" fmla="*/ 11220 w 605023"/>
                <a:gd name="connsiteY11" fmla="*/ 530551 h 575429"/>
                <a:gd name="connsiteX12" fmla="*/ 5610 w 605023"/>
                <a:gd name="connsiteY12" fmla="*/ 530551 h 575429"/>
                <a:gd name="connsiteX13" fmla="*/ 0 w 605023"/>
                <a:gd name="connsiteY13" fmla="*/ 76156 h 575429"/>
                <a:gd name="connsiteX0" fmla="*/ 0 w 605023"/>
                <a:gd name="connsiteY0" fmla="*/ 76156 h 575429"/>
                <a:gd name="connsiteX1" fmla="*/ 0 w 605023"/>
                <a:gd name="connsiteY1" fmla="*/ 76156 h 575429"/>
                <a:gd name="connsiteX2" fmla="*/ 561143 w 605023"/>
                <a:gd name="connsiteY2" fmla="*/ 0 h 575429"/>
                <a:gd name="connsiteX3" fmla="*/ 566592 w 605023"/>
                <a:gd name="connsiteY3" fmla="*/ 519331 h 575429"/>
                <a:gd name="connsiteX4" fmla="*/ 190734 w 605023"/>
                <a:gd name="connsiteY4" fmla="*/ 558600 h 575429"/>
                <a:gd name="connsiteX5" fmla="*/ 157075 w 605023"/>
                <a:gd name="connsiteY5" fmla="*/ 569819 h 575429"/>
                <a:gd name="connsiteX6" fmla="*/ 134636 w 605023"/>
                <a:gd name="connsiteY6" fmla="*/ 575429 h 575429"/>
                <a:gd name="connsiteX7" fmla="*/ 117806 w 605023"/>
                <a:gd name="connsiteY7" fmla="*/ 569819 h 575429"/>
                <a:gd name="connsiteX8" fmla="*/ 95367 w 605023"/>
                <a:gd name="connsiteY8" fmla="*/ 564210 h 575429"/>
                <a:gd name="connsiteX9" fmla="*/ 44879 w 605023"/>
                <a:gd name="connsiteY9" fmla="*/ 547380 h 575429"/>
                <a:gd name="connsiteX10" fmla="*/ 11220 w 605023"/>
                <a:gd name="connsiteY10" fmla="*/ 530551 h 575429"/>
                <a:gd name="connsiteX11" fmla="*/ 5610 w 605023"/>
                <a:gd name="connsiteY11" fmla="*/ 530551 h 575429"/>
                <a:gd name="connsiteX12" fmla="*/ 0 w 605023"/>
                <a:gd name="connsiteY12" fmla="*/ 76156 h 575429"/>
                <a:gd name="connsiteX0" fmla="*/ 0 w 605023"/>
                <a:gd name="connsiteY0" fmla="*/ 76156 h 576694"/>
                <a:gd name="connsiteX1" fmla="*/ 0 w 605023"/>
                <a:gd name="connsiteY1" fmla="*/ 76156 h 576694"/>
                <a:gd name="connsiteX2" fmla="*/ 561143 w 605023"/>
                <a:gd name="connsiteY2" fmla="*/ 0 h 576694"/>
                <a:gd name="connsiteX3" fmla="*/ 566592 w 605023"/>
                <a:gd name="connsiteY3" fmla="*/ 519331 h 576694"/>
                <a:gd name="connsiteX4" fmla="*/ 157075 w 605023"/>
                <a:gd name="connsiteY4" fmla="*/ 569819 h 576694"/>
                <a:gd name="connsiteX5" fmla="*/ 134636 w 605023"/>
                <a:gd name="connsiteY5" fmla="*/ 575429 h 576694"/>
                <a:gd name="connsiteX6" fmla="*/ 117806 w 605023"/>
                <a:gd name="connsiteY6" fmla="*/ 569819 h 576694"/>
                <a:gd name="connsiteX7" fmla="*/ 95367 w 605023"/>
                <a:gd name="connsiteY7" fmla="*/ 564210 h 576694"/>
                <a:gd name="connsiteX8" fmla="*/ 44879 w 605023"/>
                <a:gd name="connsiteY8" fmla="*/ 547380 h 576694"/>
                <a:gd name="connsiteX9" fmla="*/ 11220 w 605023"/>
                <a:gd name="connsiteY9" fmla="*/ 530551 h 576694"/>
                <a:gd name="connsiteX10" fmla="*/ 5610 w 605023"/>
                <a:gd name="connsiteY10" fmla="*/ 530551 h 576694"/>
                <a:gd name="connsiteX11" fmla="*/ 0 w 605023"/>
                <a:gd name="connsiteY11" fmla="*/ 76156 h 576694"/>
                <a:gd name="connsiteX0" fmla="*/ 0 w 605023"/>
                <a:gd name="connsiteY0" fmla="*/ 76156 h 580257"/>
                <a:gd name="connsiteX1" fmla="*/ 0 w 605023"/>
                <a:gd name="connsiteY1" fmla="*/ 76156 h 580257"/>
                <a:gd name="connsiteX2" fmla="*/ 561143 w 605023"/>
                <a:gd name="connsiteY2" fmla="*/ 0 h 580257"/>
                <a:gd name="connsiteX3" fmla="*/ 566592 w 605023"/>
                <a:gd name="connsiteY3" fmla="*/ 519331 h 580257"/>
                <a:gd name="connsiteX4" fmla="*/ 134636 w 605023"/>
                <a:gd name="connsiteY4" fmla="*/ 575429 h 580257"/>
                <a:gd name="connsiteX5" fmla="*/ 117806 w 605023"/>
                <a:gd name="connsiteY5" fmla="*/ 569819 h 580257"/>
                <a:gd name="connsiteX6" fmla="*/ 95367 w 605023"/>
                <a:gd name="connsiteY6" fmla="*/ 564210 h 580257"/>
                <a:gd name="connsiteX7" fmla="*/ 44879 w 605023"/>
                <a:gd name="connsiteY7" fmla="*/ 547380 h 580257"/>
                <a:gd name="connsiteX8" fmla="*/ 11220 w 605023"/>
                <a:gd name="connsiteY8" fmla="*/ 530551 h 580257"/>
                <a:gd name="connsiteX9" fmla="*/ 5610 w 605023"/>
                <a:gd name="connsiteY9" fmla="*/ 530551 h 580257"/>
                <a:gd name="connsiteX10" fmla="*/ 0 w 605023"/>
                <a:gd name="connsiteY10" fmla="*/ 76156 h 580257"/>
                <a:gd name="connsiteX0" fmla="*/ 0 w 605023"/>
                <a:gd name="connsiteY0" fmla="*/ 76156 h 577386"/>
                <a:gd name="connsiteX1" fmla="*/ 0 w 605023"/>
                <a:gd name="connsiteY1" fmla="*/ 76156 h 577386"/>
                <a:gd name="connsiteX2" fmla="*/ 561143 w 605023"/>
                <a:gd name="connsiteY2" fmla="*/ 0 h 577386"/>
                <a:gd name="connsiteX3" fmla="*/ 566592 w 605023"/>
                <a:gd name="connsiteY3" fmla="*/ 519331 h 577386"/>
                <a:gd name="connsiteX4" fmla="*/ 117806 w 605023"/>
                <a:gd name="connsiteY4" fmla="*/ 569819 h 577386"/>
                <a:gd name="connsiteX5" fmla="*/ 95367 w 605023"/>
                <a:gd name="connsiteY5" fmla="*/ 564210 h 577386"/>
                <a:gd name="connsiteX6" fmla="*/ 44879 w 605023"/>
                <a:gd name="connsiteY6" fmla="*/ 547380 h 577386"/>
                <a:gd name="connsiteX7" fmla="*/ 11220 w 605023"/>
                <a:gd name="connsiteY7" fmla="*/ 530551 h 577386"/>
                <a:gd name="connsiteX8" fmla="*/ 5610 w 605023"/>
                <a:gd name="connsiteY8" fmla="*/ 530551 h 577386"/>
                <a:gd name="connsiteX9" fmla="*/ 0 w 605023"/>
                <a:gd name="connsiteY9" fmla="*/ 76156 h 577386"/>
                <a:gd name="connsiteX0" fmla="*/ 0 w 605023"/>
                <a:gd name="connsiteY0" fmla="*/ 76156 h 575361"/>
                <a:gd name="connsiteX1" fmla="*/ 0 w 605023"/>
                <a:gd name="connsiteY1" fmla="*/ 76156 h 575361"/>
                <a:gd name="connsiteX2" fmla="*/ 561143 w 605023"/>
                <a:gd name="connsiteY2" fmla="*/ 0 h 575361"/>
                <a:gd name="connsiteX3" fmla="*/ 566592 w 605023"/>
                <a:gd name="connsiteY3" fmla="*/ 519331 h 575361"/>
                <a:gd name="connsiteX4" fmla="*/ 95367 w 605023"/>
                <a:gd name="connsiteY4" fmla="*/ 564210 h 575361"/>
                <a:gd name="connsiteX5" fmla="*/ 44879 w 605023"/>
                <a:gd name="connsiteY5" fmla="*/ 547380 h 575361"/>
                <a:gd name="connsiteX6" fmla="*/ 11220 w 605023"/>
                <a:gd name="connsiteY6" fmla="*/ 530551 h 575361"/>
                <a:gd name="connsiteX7" fmla="*/ 5610 w 605023"/>
                <a:gd name="connsiteY7" fmla="*/ 530551 h 575361"/>
                <a:gd name="connsiteX8" fmla="*/ 0 w 605023"/>
                <a:gd name="connsiteY8" fmla="*/ 76156 h 575361"/>
                <a:gd name="connsiteX0" fmla="*/ 0 w 605023"/>
                <a:gd name="connsiteY0" fmla="*/ 76156 h 568118"/>
                <a:gd name="connsiteX1" fmla="*/ 0 w 605023"/>
                <a:gd name="connsiteY1" fmla="*/ 76156 h 568118"/>
                <a:gd name="connsiteX2" fmla="*/ 561143 w 605023"/>
                <a:gd name="connsiteY2" fmla="*/ 0 h 568118"/>
                <a:gd name="connsiteX3" fmla="*/ 566592 w 605023"/>
                <a:gd name="connsiteY3" fmla="*/ 519331 h 568118"/>
                <a:gd name="connsiteX4" fmla="*/ 44879 w 605023"/>
                <a:gd name="connsiteY4" fmla="*/ 547380 h 568118"/>
                <a:gd name="connsiteX5" fmla="*/ 11220 w 605023"/>
                <a:gd name="connsiteY5" fmla="*/ 530551 h 568118"/>
                <a:gd name="connsiteX6" fmla="*/ 5610 w 605023"/>
                <a:gd name="connsiteY6" fmla="*/ 530551 h 568118"/>
                <a:gd name="connsiteX7" fmla="*/ 0 w 605023"/>
                <a:gd name="connsiteY7" fmla="*/ 76156 h 568118"/>
                <a:gd name="connsiteX0" fmla="*/ 0 w 605023"/>
                <a:gd name="connsiteY0" fmla="*/ 76156 h 561297"/>
                <a:gd name="connsiteX1" fmla="*/ 0 w 605023"/>
                <a:gd name="connsiteY1" fmla="*/ 76156 h 561297"/>
                <a:gd name="connsiteX2" fmla="*/ 561143 w 605023"/>
                <a:gd name="connsiteY2" fmla="*/ 0 h 561297"/>
                <a:gd name="connsiteX3" fmla="*/ 566592 w 605023"/>
                <a:gd name="connsiteY3" fmla="*/ 519331 h 561297"/>
                <a:gd name="connsiteX4" fmla="*/ 11220 w 605023"/>
                <a:gd name="connsiteY4" fmla="*/ 530551 h 561297"/>
                <a:gd name="connsiteX5" fmla="*/ 5610 w 605023"/>
                <a:gd name="connsiteY5" fmla="*/ 530551 h 561297"/>
                <a:gd name="connsiteX6" fmla="*/ 0 w 605023"/>
                <a:gd name="connsiteY6" fmla="*/ 76156 h 561297"/>
                <a:gd name="connsiteX0" fmla="*/ 0 w 605023"/>
                <a:gd name="connsiteY0" fmla="*/ 76156 h 585834"/>
                <a:gd name="connsiteX1" fmla="*/ 0 w 605023"/>
                <a:gd name="connsiteY1" fmla="*/ 76156 h 585834"/>
                <a:gd name="connsiteX2" fmla="*/ 561143 w 605023"/>
                <a:gd name="connsiteY2" fmla="*/ 0 h 585834"/>
                <a:gd name="connsiteX3" fmla="*/ 566592 w 605023"/>
                <a:gd name="connsiteY3" fmla="*/ 519331 h 585834"/>
                <a:gd name="connsiteX4" fmla="*/ 5610 w 605023"/>
                <a:gd name="connsiteY4" fmla="*/ 530551 h 585834"/>
                <a:gd name="connsiteX5" fmla="*/ 0 w 605023"/>
                <a:gd name="connsiteY5" fmla="*/ 76156 h 585834"/>
                <a:gd name="connsiteX0" fmla="*/ 1534 w 636032"/>
                <a:gd name="connsiteY0" fmla="*/ 76156 h 584466"/>
                <a:gd name="connsiteX1" fmla="*/ 1534 w 636032"/>
                <a:gd name="connsiteY1" fmla="*/ 76156 h 584466"/>
                <a:gd name="connsiteX2" fmla="*/ 562677 w 636032"/>
                <a:gd name="connsiteY2" fmla="*/ 0 h 584466"/>
                <a:gd name="connsiteX3" fmla="*/ 568126 w 636032"/>
                <a:gd name="connsiteY3" fmla="*/ 519331 h 584466"/>
                <a:gd name="connsiteX4" fmla="*/ 0 w 636032"/>
                <a:gd name="connsiteY4" fmla="*/ 528170 h 584466"/>
                <a:gd name="connsiteX5" fmla="*/ 1534 w 636032"/>
                <a:gd name="connsiteY5" fmla="*/ 76156 h 584466"/>
                <a:gd name="connsiteX0" fmla="*/ 1534 w 636032"/>
                <a:gd name="connsiteY0" fmla="*/ 76156 h 560895"/>
                <a:gd name="connsiteX1" fmla="*/ 1534 w 636032"/>
                <a:gd name="connsiteY1" fmla="*/ 76156 h 560895"/>
                <a:gd name="connsiteX2" fmla="*/ 562677 w 636032"/>
                <a:gd name="connsiteY2" fmla="*/ 0 h 560895"/>
                <a:gd name="connsiteX3" fmla="*/ 568126 w 636032"/>
                <a:gd name="connsiteY3" fmla="*/ 519331 h 560895"/>
                <a:gd name="connsiteX4" fmla="*/ 0 w 636032"/>
                <a:gd name="connsiteY4" fmla="*/ 528170 h 560895"/>
                <a:gd name="connsiteX5" fmla="*/ 1534 w 636032"/>
                <a:gd name="connsiteY5" fmla="*/ 76156 h 560895"/>
                <a:gd name="connsiteX0" fmla="*/ 1534 w 605472"/>
                <a:gd name="connsiteY0" fmla="*/ 76156 h 560895"/>
                <a:gd name="connsiteX1" fmla="*/ 1534 w 605472"/>
                <a:gd name="connsiteY1" fmla="*/ 76156 h 560895"/>
                <a:gd name="connsiteX2" fmla="*/ 562677 w 605472"/>
                <a:gd name="connsiteY2" fmla="*/ 0 h 560895"/>
                <a:gd name="connsiteX3" fmla="*/ 568126 w 605472"/>
                <a:gd name="connsiteY3" fmla="*/ 519331 h 560895"/>
                <a:gd name="connsiteX4" fmla="*/ 0 w 605472"/>
                <a:gd name="connsiteY4" fmla="*/ 528170 h 560895"/>
                <a:gd name="connsiteX5" fmla="*/ 1534 w 605472"/>
                <a:gd name="connsiteY5" fmla="*/ 76156 h 560895"/>
                <a:gd name="connsiteX0" fmla="*/ 1534 w 605472"/>
                <a:gd name="connsiteY0" fmla="*/ 76156 h 528170"/>
                <a:gd name="connsiteX1" fmla="*/ 1534 w 605472"/>
                <a:gd name="connsiteY1" fmla="*/ 76156 h 528170"/>
                <a:gd name="connsiteX2" fmla="*/ 562677 w 605472"/>
                <a:gd name="connsiteY2" fmla="*/ 0 h 528170"/>
                <a:gd name="connsiteX3" fmla="*/ 568126 w 605472"/>
                <a:gd name="connsiteY3" fmla="*/ 519331 h 528170"/>
                <a:gd name="connsiteX4" fmla="*/ 0 w 605472"/>
                <a:gd name="connsiteY4" fmla="*/ 528170 h 528170"/>
                <a:gd name="connsiteX5" fmla="*/ 1534 w 605472"/>
                <a:gd name="connsiteY5" fmla="*/ 76156 h 528170"/>
                <a:gd name="connsiteX0" fmla="*/ 29 w 603967"/>
                <a:gd name="connsiteY0" fmla="*/ 76156 h 540076"/>
                <a:gd name="connsiteX1" fmla="*/ 29 w 603967"/>
                <a:gd name="connsiteY1" fmla="*/ 76156 h 540076"/>
                <a:gd name="connsiteX2" fmla="*/ 561172 w 603967"/>
                <a:gd name="connsiteY2" fmla="*/ 0 h 540076"/>
                <a:gd name="connsiteX3" fmla="*/ 566621 w 603967"/>
                <a:gd name="connsiteY3" fmla="*/ 519331 h 540076"/>
                <a:gd name="connsiteX4" fmla="*/ 5639 w 603967"/>
                <a:gd name="connsiteY4" fmla="*/ 540076 h 540076"/>
                <a:gd name="connsiteX5" fmla="*/ 29 w 603967"/>
                <a:gd name="connsiteY5" fmla="*/ 76156 h 540076"/>
                <a:gd name="connsiteX0" fmla="*/ 29 w 603967"/>
                <a:gd name="connsiteY0" fmla="*/ 76156 h 540076"/>
                <a:gd name="connsiteX1" fmla="*/ 29 w 603967"/>
                <a:gd name="connsiteY1" fmla="*/ 76156 h 540076"/>
                <a:gd name="connsiteX2" fmla="*/ 561172 w 603967"/>
                <a:gd name="connsiteY2" fmla="*/ 0 h 540076"/>
                <a:gd name="connsiteX3" fmla="*/ 566621 w 603967"/>
                <a:gd name="connsiteY3" fmla="*/ 519331 h 540076"/>
                <a:gd name="connsiteX4" fmla="*/ 5639 w 603967"/>
                <a:gd name="connsiteY4" fmla="*/ 540076 h 540076"/>
                <a:gd name="connsiteX5" fmla="*/ 29 w 603967"/>
                <a:gd name="connsiteY5" fmla="*/ 76156 h 540076"/>
                <a:gd name="connsiteX0" fmla="*/ 89 w 604027"/>
                <a:gd name="connsiteY0" fmla="*/ 76156 h 535314"/>
                <a:gd name="connsiteX1" fmla="*/ 89 w 604027"/>
                <a:gd name="connsiteY1" fmla="*/ 76156 h 535314"/>
                <a:gd name="connsiteX2" fmla="*/ 561232 w 604027"/>
                <a:gd name="connsiteY2" fmla="*/ 0 h 535314"/>
                <a:gd name="connsiteX3" fmla="*/ 566681 w 604027"/>
                <a:gd name="connsiteY3" fmla="*/ 519331 h 535314"/>
                <a:gd name="connsiteX4" fmla="*/ 937 w 604027"/>
                <a:gd name="connsiteY4" fmla="*/ 535314 h 535314"/>
                <a:gd name="connsiteX5" fmla="*/ 89 w 604027"/>
                <a:gd name="connsiteY5" fmla="*/ 76156 h 535314"/>
                <a:gd name="connsiteX0" fmla="*/ 89 w 604027"/>
                <a:gd name="connsiteY0" fmla="*/ 76156 h 535314"/>
                <a:gd name="connsiteX1" fmla="*/ 89 w 604027"/>
                <a:gd name="connsiteY1" fmla="*/ 76156 h 535314"/>
                <a:gd name="connsiteX2" fmla="*/ 561232 w 604027"/>
                <a:gd name="connsiteY2" fmla="*/ 0 h 535314"/>
                <a:gd name="connsiteX3" fmla="*/ 566681 w 604027"/>
                <a:gd name="connsiteY3" fmla="*/ 533618 h 535314"/>
                <a:gd name="connsiteX4" fmla="*/ 937 w 604027"/>
                <a:gd name="connsiteY4" fmla="*/ 535314 h 535314"/>
                <a:gd name="connsiteX5" fmla="*/ 89 w 604027"/>
                <a:gd name="connsiteY5" fmla="*/ 76156 h 535314"/>
                <a:gd name="connsiteX0" fmla="*/ 89 w 604027"/>
                <a:gd name="connsiteY0" fmla="*/ 76156 h 535314"/>
                <a:gd name="connsiteX1" fmla="*/ 89 w 604027"/>
                <a:gd name="connsiteY1" fmla="*/ 76156 h 535314"/>
                <a:gd name="connsiteX2" fmla="*/ 561232 w 604027"/>
                <a:gd name="connsiteY2" fmla="*/ 0 h 535314"/>
                <a:gd name="connsiteX3" fmla="*/ 566681 w 604027"/>
                <a:gd name="connsiteY3" fmla="*/ 533618 h 535314"/>
                <a:gd name="connsiteX4" fmla="*/ 937 w 604027"/>
                <a:gd name="connsiteY4" fmla="*/ 535314 h 535314"/>
                <a:gd name="connsiteX5" fmla="*/ 89 w 604027"/>
                <a:gd name="connsiteY5" fmla="*/ 76156 h 535314"/>
                <a:gd name="connsiteX0" fmla="*/ 89 w 566681"/>
                <a:gd name="connsiteY0" fmla="*/ 76156 h 535314"/>
                <a:gd name="connsiteX1" fmla="*/ 89 w 566681"/>
                <a:gd name="connsiteY1" fmla="*/ 76156 h 535314"/>
                <a:gd name="connsiteX2" fmla="*/ 561232 w 566681"/>
                <a:gd name="connsiteY2" fmla="*/ 0 h 535314"/>
                <a:gd name="connsiteX3" fmla="*/ 566681 w 566681"/>
                <a:gd name="connsiteY3" fmla="*/ 533618 h 535314"/>
                <a:gd name="connsiteX4" fmla="*/ 937 w 566681"/>
                <a:gd name="connsiteY4" fmla="*/ 535314 h 535314"/>
                <a:gd name="connsiteX5" fmla="*/ 89 w 566681"/>
                <a:gd name="connsiteY5" fmla="*/ 76156 h 535314"/>
                <a:gd name="connsiteX0" fmla="*/ 89 w 566681"/>
                <a:gd name="connsiteY0" fmla="*/ 76156 h 535314"/>
                <a:gd name="connsiteX1" fmla="*/ 89 w 566681"/>
                <a:gd name="connsiteY1" fmla="*/ 76156 h 535314"/>
                <a:gd name="connsiteX2" fmla="*/ 561232 w 566681"/>
                <a:gd name="connsiteY2" fmla="*/ 0 h 535314"/>
                <a:gd name="connsiteX3" fmla="*/ 566681 w 566681"/>
                <a:gd name="connsiteY3" fmla="*/ 533618 h 535314"/>
                <a:gd name="connsiteX4" fmla="*/ 937 w 566681"/>
                <a:gd name="connsiteY4" fmla="*/ 535314 h 535314"/>
                <a:gd name="connsiteX5" fmla="*/ 89 w 566681"/>
                <a:gd name="connsiteY5" fmla="*/ 76156 h 535314"/>
                <a:gd name="connsiteX0" fmla="*/ 89 w 566681"/>
                <a:gd name="connsiteY0" fmla="*/ 76156 h 535314"/>
                <a:gd name="connsiteX1" fmla="*/ 89 w 566681"/>
                <a:gd name="connsiteY1" fmla="*/ 76156 h 535314"/>
                <a:gd name="connsiteX2" fmla="*/ 561232 w 566681"/>
                <a:gd name="connsiteY2" fmla="*/ 0 h 535314"/>
                <a:gd name="connsiteX3" fmla="*/ 566681 w 566681"/>
                <a:gd name="connsiteY3" fmla="*/ 533618 h 535314"/>
                <a:gd name="connsiteX4" fmla="*/ 937 w 566681"/>
                <a:gd name="connsiteY4" fmla="*/ 535314 h 535314"/>
                <a:gd name="connsiteX5" fmla="*/ 89 w 566681"/>
                <a:gd name="connsiteY5" fmla="*/ 76156 h 535314"/>
                <a:gd name="connsiteX0" fmla="*/ 89 w 566681"/>
                <a:gd name="connsiteY0" fmla="*/ 76156 h 535314"/>
                <a:gd name="connsiteX1" fmla="*/ 89 w 566681"/>
                <a:gd name="connsiteY1" fmla="*/ 76156 h 535314"/>
                <a:gd name="connsiteX2" fmla="*/ 561232 w 566681"/>
                <a:gd name="connsiteY2" fmla="*/ 0 h 535314"/>
                <a:gd name="connsiteX3" fmla="*/ 566681 w 566681"/>
                <a:gd name="connsiteY3" fmla="*/ 533618 h 535314"/>
                <a:gd name="connsiteX4" fmla="*/ 937 w 566681"/>
                <a:gd name="connsiteY4" fmla="*/ 535314 h 535314"/>
                <a:gd name="connsiteX5" fmla="*/ 89 w 566681"/>
                <a:gd name="connsiteY5" fmla="*/ 76156 h 535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6681" h="535314">
                  <a:moveTo>
                    <a:pt x="89" y="76156"/>
                  </a:moveTo>
                  <a:lnTo>
                    <a:pt x="89" y="76156"/>
                  </a:lnTo>
                  <a:lnTo>
                    <a:pt x="561232" y="0"/>
                  </a:lnTo>
                  <a:cubicBezTo>
                    <a:pt x="565177" y="64337"/>
                    <a:pt x="563956" y="497790"/>
                    <a:pt x="566681" y="533618"/>
                  </a:cubicBezTo>
                  <a:cubicBezTo>
                    <a:pt x="540025" y="531802"/>
                    <a:pt x="189518" y="534749"/>
                    <a:pt x="937" y="535314"/>
                  </a:cubicBezTo>
                  <a:cubicBezTo>
                    <a:pt x="1448" y="508468"/>
                    <a:pt x="-422" y="226827"/>
                    <a:pt x="89" y="76156"/>
                  </a:cubicBezTo>
                  <a:close/>
                </a:path>
              </a:pathLst>
            </a:cu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34" name="Freeform 33"/>
            <p:cNvSpPr/>
            <p:nvPr/>
          </p:nvSpPr>
          <p:spPr bwMode="auto">
            <a:xfrm flipV="1">
              <a:off x="8913812" y="5598786"/>
              <a:ext cx="739212" cy="647233"/>
            </a:xfrm>
            <a:custGeom>
              <a:avLst/>
              <a:gdLst>
                <a:gd name="connsiteX0" fmla="*/ 0 w 577811"/>
                <a:gd name="connsiteY0" fmla="*/ 96243 h 595516"/>
                <a:gd name="connsiteX1" fmla="*/ 0 w 577811"/>
                <a:gd name="connsiteY1" fmla="*/ 96243 h 595516"/>
                <a:gd name="connsiteX2" fmla="*/ 56098 w 577811"/>
                <a:gd name="connsiteY2" fmla="*/ 90633 h 595516"/>
                <a:gd name="connsiteX3" fmla="*/ 151465 w 577811"/>
                <a:gd name="connsiteY3" fmla="*/ 85023 h 595516"/>
                <a:gd name="connsiteX4" fmla="*/ 190734 w 577811"/>
                <a:gd name="connsiteY4" fmla="*/ 79413 h 595516"/>
                <a:gd name="connsiteX5" fmla="*/ 286101 w 577811"/>
                <a:gd name="connsiteY5" fmla="*/ 73803 h 595516"/>
                <a:gd name="connsiteX6" fmla="*/ 370248 w 577811"/>
                <a:gd name="connsiteY6" fmla="*/ 62584 h 595516"/>
                <a:gd name="connsiteX7" fmla="*/ 387077 w 577811"/>
                <a:gd name="connsiteY7" fmla="*/ 56974 h 595516"/>
                <a:gd name="connsiteX8" fmla="*/ 431956 w 577811"/>
                <a:gd name="connsiteY8" fmla="*/ 51364 h 595516"/>
                <a:gd name="connsiteX9" fmla="*/ 460005 w 577811"/>
                <a:gd name="connsiteY9" fmla="*/ 45754 h 595516"/>
                <a:gd name="connsiteX10" fmla="*/ 510493 w 577811"/>
                <a:gd name="connsiteY10" fmla="*/ 40144 h 595516"/>
                <a:gd name="connsiteX11" fmla="*/ 527323 w 577811"/>
                <a:gd name="connsiteY11" fmla="*/ 34535 h 595516"/>
                <a:gd name="connsiteX12" fmla="*/ 560982 w 577811"/>
                <a:gd name="connsiteY12" fmla="*/ 28925 h 595516"/>
                <a:gd name="connsiteX13" fmla="*/ 577811 w 577811"/>
                <a:gd name="connsiteY13" fmla="*/ 17705 h 595516"/>
                <a:gd name="connsiteX14" fmla="*/ 566592 w 577811"/>
                <a:gd name="connsiteY14" fmla="*/ 876 h 595516"/>
                <a:gd name="connsiteX15" fmla="*/ 549762 w 577811"/>
                <a:gd name="connsiteY15" fmla="*/ 6486 h 595516"/>
                <a:gd name="connsiteX16" fmla="*/ 560982 w 577811"/>
                <a:gd name="connsiteY16" fmla="*/ 40144 h 595516"/>
                <a:gd name="connsiteX17" fmla="*/ 566592 w 577811"/>
                <a:gd name="connsiteY17" fmla="*/ 208439 h 595516"/>
                <a:gd name="connsiteX18" fmla="*/ 572201 w 577811"/>
                <a:gd name="connsiteY18" fmla="*/ 225268 h 595516"/>
                <a:gd name="connsiteX19" fmla="*/ 566592 w 577811"/>
                <a:gd name="connsiteY19" fmla="*/ 286976 h 595516"/>
                <a:gd name="connsiteX20" fmla="*/ 555372 w 577811"/>
                <a:gd name="connsiteY20" fmla="*/ 359904 h 595516"/>
                <a:gd name="connsiteX21" fmla="*/ 544152 w 577811"/>
                <a:gd name="connsiteY21" fmla="*/ 477710 h 595516"/>
                <a:gd name="connsiteX22" fmla="*/ 549762 w 577811"/>
                <a:gd name="connsiteY22" fmla="*/ 528198 h 595516"/>
                <a:gd name="connsiteX23" fmla="*/ 566592 w 577811"/>
                <a:gd name="connsiteY23" fmla="*/ 539418 h 595516"/>
                <a:gd name="connsiteX24" fmla="*/ 549762 w 577811"/>
                <a:gd name="connsiteY24" fmla="*/ 550638 h 595516"/>
                <a:gd name="connsiteX25" fmla="*/ 359028 w 577811"/>
                <a:gd name="connsiteY25" fmla="*/ 550638 h 595516"/>
                <a:gd name="connsiteX26" fmla="*/ 319760 w 577811"/>
                <a:gd name="connsiteY26" fmla="*/ 556248 h 595516"/>
                <a:gd name="connsiteX27" fmla="*/ 241222 w 577811"/>
                <a:gd name="connsiteY27" fmla="*/ 561857 h 595516"/>
                <a:gd name="connsiteX28" fmla="*/ 190734 w 577811"/>
                <a:gd name="connsiteY28" fmla="*/ 578687 h 595516"/>
                <a:gd name="connsiteX29" fmla="*/ 157075 w 577811"/>
                <a:gd name="connsiteY29" fmla="*/ 589906 h 595516"/>
                <a:gd name="connsiteX30" fmla="*/ 134636 w 577811"/>
                <a:gd name="connsiteY30" fmla="*/ 595516 h 595516"/>
                <a:gd name="connsiteX31" fmla="*/ 117806 w 577811"/>
                <a:gd name="connsiteY31" fmla="*/ 589906 h 595516"/>
                <a:gd name="connsiteX32" fmla="*/ 95367 w 577811"/>
                <a:gd name="connsiteY32" fmla="*/ 584297 h 595516"/>
                <a:gd name="connsiteX33" fmla="*/ 44879 w 577811"/>
                <a:gd name="connsiteY33" fmla="*/ 567467 h 595516"/>
                <a:gd name="connsiteX34" fmla="*/ 11220 w 577811"/>
                <a:gd name="connsiteY34" fmla="*/ 550638 h 595516"/>
                <a:gd name="connsiteX35" fmla="*/ 5610 w 577811"/>
                <a:gd name="connsiteY35" fmla="*/ 550638 h 595516"/>
                <a:gd name="connsiteX36" fmla="*/ 0 w 577811"/>
                <a:gd name="connsiteY36" fmla="*/ 96243 h 595516"/>
                <a:gd name="connsiteX0" fmla="*/ 0 w 577811"/>
                <a:gd name="connsiteY0" fmla="*/ 96243 h 595516"/>
                <a:gd name="connsiteX1" fmla="*/ 0 w 577811"/>
                <a:gd name="connsiteY1" fmla="*/ 96243 h 595516"/>
                <a:gd name="connsiteX2" fmla="*/ 151465 w 577811"/>
                <a:gd name="connsiteY2" fmla="*/ 85023 h 595516"/>
                <a:gd name="connsiteX3" fmla="*/ 190734 w 577811"/>
                <a:gd name="connsiteY3" fmla="*/ 79413 h 595516"/>
                <a:gd name="connsiteX4" fmla="*/ 286101 w 577811"/>
                <a:gd name="connsiteY4" fmla="*/ 73803 h 595516"/>
                <a:gd name="connsiteX5" fmla="*/ 370248 w 577811"/>
                <a:gd name="connsiteY5" fmla="*/ 62584 h 595516"/>
                <a:gd name="connsiteX6" fmla="*/ 387077 w 577811"/>
                <a:gd name="connsiteY6" fmla="*/ 56974 h 595516"/>
                <a:gd name="connsiteX7" fmla="*/ 431956 w 577811"/>
                <a:gd name="connsiteY7" fmla="*/ 51364 h 595516"/>
                <a:gd name="connsiteX8" fmla="*/ 460005 w 577811"/>
                <a:gd name="connsiteY8" fmla="*/ 45754 h 595516"/>
                <a:gd name="connsiteX9" fmla="*/ 510493 w 577811"/>
                <a:gd name="connsiteY9" fmla="*/ 40144 h 595516"/>
                <a:gd name="connsiteX10" fmla="*/ 527323 w 577811"/>
                <a:gd name="connsiteY10" fmla="*/ 34535 h 595516"/>
                <a:gd name="connsiteX11" fmla="*/ 560982 w 577811"/>
                <a:gd name="connsiteY11" fmla="*/ 28925 h 595516"/>
                <a:gd name="connsiteX12" fmla="*/ 577811 w 577811"/>
                <a:gd name="connsiteY12" fmla="*/ 17705 h 595516"/>
                <a:gd name="connsiteX13" fmla="*/ 566592 w 577811"/>
                <a:gd name="connsiteY13" fmla="*/ 876 h 595516"/>
                <a:gd name="connsiteX14" fmla="*/ 549762 w 577811"/>
                <a:gd name="connsiteY14" fmla="*/ 6486 h 595516"/>
                <a:gd name="connsiteX15" fmla="*/ 560982 w 577811"/>
                <a:gd name="connsiteY15" fmla="*/ 40144 h 595516"/>
                <a:gd name="connsiteX16" fmla="*/ 566592 w 577811"/>
                <a:gd name="connsiteY16" fmla="*/ 208439 h 595516"/>
                <a:gd name="connsiteX17" fmla="*/ 572201 w 577811"/>
                <a:gd name="connsiteY17" fmla="*/ 225268 h 595516"/>
                <a:gd name="connsiteX18" fmla="*/ 566592 w 577811"/>
                <a:gd name="connsiteY18" fmla="*/ 286976 h 595516"/>
                <a:gd name="connsiteX19" fmla="*/ 555372 w 577811"/>
                <a:gd name="connsiteY19" fmla="*/ 359904 h 595516"/>
                <a:gd name="connsiteX20" fmla="*/ 544152 w 577811"/>
                <a:gd name="connsiteY20" fmla="*/ 477710 h 595516"/>
                <a:gd name="connsiteX21" fmla="*/ 549762 w 577811"/>
                <a:gd name="connsiteY21" fmla="*/ 528198 h 595516"/>
                <a:gd name="connsiteX22" fmla="*/ 566592 w 577811"/>
                <a:gd name="connsiteY22" fmla="*/ 539418 h 595516"/>
                <a:gd name="connsiteX23" fmla="*/ 549762 w 577811"/>
                <a:gd name="connsiteY23" fmla="*/ 550638 h 595516"/>
                <a:gd name="connsiteX24" fmla="*/ 359028 w 577811"/>
                <a:gd name="connsiteY24" fmla="*/ 550638 h 595516"/>
                <a:gd name="connsiteX25" fmla="*/ 319760 w 577811"/>
                <a:gd name="connsiteY25" fmla="*/ 556248 h 595516"/>
                <a:gd name="connsiteX26" fmla="*/ 241222 w 577811"/>
                <a:gd name="connsiteY26" fmla="*/ 561857 h 595516"/>
                <a:gd name="connsiteX27" fmla="*/ 190734 w 577811"/>
                <a:gd name="connsiteY27" fmla="*/ 578687 h 595516"/>
                <a:gd name="connsiteX28" fmla="*/ 157075 w 577811"/>
                <a:gd name="connsiteY28" fmla="*/ 589906 h 595516"/>
                <a:gd name="connsiteX29" fmla="*/ 134636 w 577811"/>
                <a:gd name="connsiteY29" fmla="*/ 595516 h 595516"/>
                <a:gd name="connsiteX30" fmla="*/ 117806 w 577811"/>
                <a:gd name="connsiteY30" fmla="*/ 589906 h 595516"/>
                <a:gd name="connsiteX31" fmla="*/ 95367 w 577811"/>
                <a:gd name="connsiteY31" fmla="*/ 584297 h 595516"/>
                <a:gd name="connsiteX32" fmla="*/ 44879 w 577811"/>
                <a:gd name="connsiteY32" fmla="*/ 567467 h 595516"/>
                <a:gd name="connsiteX33" fmla="*/ 11220 w 577811"/>
                <a:gd name="connsiteY33" fmla="*/ 550638 h 595516"/>
                <a:gd name="connsiteX34" fmla="*/ 5610 w 577811"/>
                <a:gd name="connsiteY34" fmla="*/ 550638 h 595516"/>
                <a:gd name="connsiteX35" fmla="*/ 0 w 577811"/>
                <a:gd name="connsiteY35" fmla="*/ 96243 h 595516"/>
                <a:gd name="connsiteX0" fmla="*/ 0 w 577811"/>
                <a:gd name="connsiteY0" fmla="*/ 96243 h 595516"/>
                <a:gd name="connsiteX1" fmla="*/ 0 w 577811"/>
                <a:gd name="connsiteY1" fmla="*/ 96243 h 595516"/>
                <a:gd name="connsiteX2" fmla="*/ 190734 w 577811"/>
                <a:gd name="connsiteY2" fmla="*/ 79413 h 595516"/>
                <a:gd name="connsiteX3" fmla="*/ 286101 w 577811"/>
                <a:gd name="connsiteY3" fmla="*/ 73803 h 595516"/>
                <a:gd name="connsiteX4" fmla="*/ 370248 w 577811"/>
                <a:gd name="connsiteY4" fmla="*/ 62584 h 595516"/>
                <a:gd name="connsiteX5" fmla="*/ 387077 w 577811"/>
                <a:gd name="connsiteY5" fmla="*/ 56974 h 595516"/>
                <a:gd name="connsiteX6" fmla="*/ 431956 w 577811"/>
                <a:gd name="connsiteY6" fmla="*/ 51364 h 595516"/>
                <a:gd name="connsiteX7" fmla="*/ 460005 w 577811"/>
                <a:gd name="connsiteY7" fmla="*/ 45754 h 595516"/>
                <a:gd name="connsiteX8" fmla="*/ 510493 w 577811"/>
                <a:gd name="connsiteY8" fmla="*/ 40144 h 595516"/>
                <a:gd name="connsiteX9" fmla="*/ 527323 w 577811"/>
                <a:gd name="connsiteY9" fmla="*/ 34535 h 595516"/>
                <a:gd name="connsiteX10" fmla="*/ 560982 w 577811"/>
                <a:gd name="connsiteY10" fmla="*/ 28925 h 595516"/>
                <a:gd name="connsiteX11" fmla="*/ 577811 w 577811"/>
                <a:gd name="connsiteY11" fmla="*/ 17705 h 595516"/>
                <a:gd name="connsiteX12" fmla="*/ 566592 w 577811"/>
                <a:gd name="connsiteY12" fmla="*/ 876 h 595516"/>
                <a:gd name="connsiteX13" fmla="*/ 549762 w 577811"/>
                <a:gd name="connsiteY13" fmla="*/ 6486 h 595516"/>
                <a:gd name="connsiteX14" fmla="*/ 560982 w 577811"/>
                <a:gd name="connsiteY14" fmla="*/ 40144 h 595516"/>
                <a:gd name="connsiteX15" fmla="*/ 566592 w 577811"/>
                <a:gd name="connsiteY15" fmla="*/ 208439 h 595516"/>
                <a:gd name="connsiteX16" fmla="*/ 572201 w 577811"/>
                <a:gd name="connsiteY16" fmla="*/ 225268 h 595516"/>
                <a:gd name="connsiteX17" fmla="*/ 566592 w 577811"/>
                <a:gd name="connsiteY17" fmla="*/ 286976 h 595516"/>
                <a:gd name="connsiteX18" fmla="*/ 555372 w 577811"/>
                <a:gd name="connsiteY18" fmla="*/ 359904 h 595516"/>
                <a:gd name="connsiteX19" fmla="*/ 544152 w 577811"/>
                <a:gd name="connsiteY19" fmla="*/ 477710 h 595516"/>
                <a:gd name="connsiteX20" fmla="*/ 549762 w 577811"/>
                <a:gd name="connsiteY20" fmla="*/ 528198 h 595516"/>
                <a:gd name="connsiteX21" fmla="*/ 566592 w 577811"/>
                <a:gd name="connsiteY21" fmla="*/ 539418 h 595516"/>
                <a:gd name="connsiteX22" fmla="*/ 549762 w 577811"/>
                <a:gd name="connsiteY22" fmla="*/ 550638 h 595516"/>
                <a:gd name="connsiteX23" fmla="*/ 359028 w 577811"/>
                <a:gd name="connsiteY23" fmla="*/ 550638 h 595516"/>
                <a:gd name="connsiteX24" fmla="*/ 319760 w 577811"/>
                <a:gd name="connsiteY24" fmla="*/ 556248 h 595516"/>
                <a:gd name="connsiteX25" fmla="*/ 241222 w 577811"/>
                <a:gd name="connsiteY25" fmla="*/ 561857 h 595516"/>
                <a:gd name="connsiteX26" fmla="*/ 190734 w 577811"/>
                <a:gd name="connsiteY26" fmla="*/ 578687 h 595516"/>
                <a:gd name="connsiteX27" fmla="*/ 157075 w 577811"/>
                <a:gd name="connsiteY27" fmla="*/ 589906 h 595516"/>
                <a:gd name="connsiteX28" fmla="*/ 134636 w 577811"/>
                <a:gd name="connsiteY28" fmla="*/ 595516 h 595516"/>
                <a:gd name="connsiteX29" fmla="*/ 117806 w 577811"/>
                <a:gd name="connsiteY29" fmla="*/ 589906 h 595516"/>
                <a:gd name="connsiteX30" fmla="*/ 95367 w 577811"/>
                <a:gd name="connsiteY30" fmla="*/ 584297 h 595516"/>
                <a:gd name="connsiteX31" fmla="*/ 44879 w 577811"/>
                <a:gd name="connsiteY31" fmla="*/ 567467 h 595516"/>
                <a:gd name="connsiteX32" fmla="*/ 11220 w 577811"/>
                <a:gd name="connsiteY32" fmla="*/ 550638 h 595516"/>
                <a:gd name="connsiteX33" fmla="*/ 5610 w 577811"/>
                <a:gd name="connsiteY33" fmla="*/ 550638 h 595516"/>
                <a:gd name="connsiteX34" fmla="*/ 0 w 577811"/>
                <a:gd name="connsiteY34" fmla="*/ 96243 h 595516"/>
                <a:gd name="connsiteX0" fmla="*/ 0 w 577811"/>
                <a:gd name="connsiteY0" fmla="*/ 96243 h 595516"/>
                <a:gd name="connsiteX1" fmla="*/ 0 w 577811"/>
                <a:gd name="connsiteY1" fmla="*/ 96243 h 595516"/>
                <a:gd name="connsiteX2" fmla="*/ 286101 w 577811"/>
                <a:gd name="connsiteY2" fmla="*/ 73803 h 595516"/>
                <a:gd name="connsiteX3" fmla="*/ 370248 w 577811"/>
                <a:gd name="connsiteY3" fmla="*/ 62584 h 595516"/>
                <a:gd name="connsiteX4" fmla="*/ 387077 w 577811"/>
                <a:gd name="connsiteY4" fmla="*/ 56974 h 595516"/>
                <a:gd name="connsiteX5" fmla="*/ 431956 w 577811"/>
                <a:gd name="connsiteY5" fmla="*/ 51364 h 595516"/>
                <a:gd name="connsiteX6" fmla="*/ 460005 w 577811"/>
                <a:gd name="connsiteY6" fmla="*/ 45754 h 595516"/>
                <a:gd name="connsiteX7" fmla="*/ 510493 w 577811"/>
                <a:gd name="connsiteY7" fmla="*/ 40144 h 595516"/>
                <a:gd name="connsiteX8" fmla="*/ 527323 w 577811"/>
                <a:gd name="connsiteY8" fmla="*/ 34535 h 595516"/>
                <a:gd name="connsiteX9" fmla="*/ 560982 w 577811"/>
                <a:gd name="connsiteY9" fmla="*/ 28925 h 595516"/>
                <a:gd name="connsiteX10" fmla="*/ 577811 w 577811"/>
                <a:gd name="connsiteY10" fmla="*/ 17705 h 595516"/>
                <a:gd name="connsiteX11" fmla="*/ 566592 w 577811"/>
                <a:gd name="connsiteY11" fmla="*/ 876 h 595516"/>
                <a:gd name="connsiteX12" fmla="*/ 549762 w 577811"/>
                <a:gd name="connsiteY12" fmla="*/ 6486 h 595516"/>
                <a:gd name="connsiteX13" fmla="*/ 560982 w 577811"/>
                <a:gd name="connsiteY13" fmla="*/ 40144 h 595516"/>
                <a:gd name="connsiteX14" fmla="*/ 566592 w 577811"/>
                <a:gd name="connsiteY14" fmla="*/ 208439 h 595516"/>
                <a:gd name="connsiteX15" fmla="*/ 572201 w 577811"/>
                <a:gd name="connsiteY15" fmla="*/ 225268 h 595516"/>
                <a:gd name="connsiteX16" fmla="*/ 566592 w 577811"/>
                <a:gd name="connsiteY16" fmla="*/ 286976 h 595516"/>
                <a:gd name="connsiteX17" fmla="*/ 555372 w 577811"/>
                <a:gd name="connsiteY17" fmla="*/ 359904 h 595516"/>
                <a:gd name="connsiteX18" fmla="*/ 544152 w 577811"/>
                <a:gd name="connsiteY18" fmla="*/ 477710 h 595516"/>
                <a:gd name="connsiteX19" fmla="*/ 549762 w 577811"/>
                <a:gd name="connsiteY19" fmla="*/ 528198 h 595516"/>
                <a:gd name="connsiteX20" fmla="*/ 566592 w 577811"/>
                <a:gd name="connsiteY20" fmla="*/ 539418 h 595516"/>
                <a:gd name="connsiteX21" fmla="*/ 549762 w 577811"/>
                <a:gd name="connsiteY21" fmla="*/ 550638 h 595516"/>
                <a:gd name="connsiteX22" fmla="*/ 359028 w 577811"/>
                <a:gd name="connsiteY22" fmla="*/ 550638 h 595516"/>
                <a:gd name="connsiteX23" fmla="*/ 319760 w 577811"/>
                <a:gd name="connsiteY23" fmla="*/ 556248 h 595516"/>
                <a:gd name="connsiteX24" fmla="*/ 241222 w 577811"/>
                <a:gd name="connsiteY24" fmla="*/ 561857 h 595516"/>
                <a:gd name="connsiteX25" fmla="*/ 190734 w 577811"/>
                <a:gd name="connsiteY25" fmla="*/ 578687 h 595516"/>
                <a:gd name="connsiteX26" fmla="*/ 157075 w 577811"/>
                <a:gd name="connsiteY26" fmla="*/ 589906 h 595516"/>
                <a:gd name="connsiteX27" fmla="*/ 134636 w 577811"/>
                <a:gd name="connsiteY27" fmla="*/ 595516 h 595516"/>
                <a:gd name="connsiteX28" fmla="*/ 117806 w 577811"/>
                <a:gd name="connsiteY28" fmla="*/ 589906 h 595516"/>
                <a:gd name="connsiteX29" fmla="*/ 95367 w 577811"/>
                <a:gd name="connsiteY29" fmla="*/ 584297 h 595516"/>
                <a:gd name="connsiteX30" fmla="*/ 44879 w 577811"/>
                <a:gd name="connsiteY30" fmla="*/ 567467 h 595516"/>
                <a:gd name="connsiteX31" fmla="*/ 11220 w 577811"/>
                <a:gd name="connsiteY31" fmla="*/ 550638 h 595516"/>
                <a:gd name="connsiteX32" fmla="*/ 5610 w 577811"/>
                <a:gd name="connsiteY32" fmla="*/ 550638 h 595516"/>
                <a:gd name="connsiteX33" fmla="*/ 0 w 577811"/>
                <a:gd name="connsiteY33" fmla="*/ 96243 h 595516"/>
                <a:gd name="connsiteX0" fmla="*/ 0 w 577811"/>
                <a:gd name="connsiteY0" fmla="*/ 96243 h 595516"/>
                <a:gd name="connsiteX1" fmla="*/ 0 w 577811"/>
                <a:gd name="connsiteY1" fmla="*/ 96243 h 595516"/>
                <a:gd name="connsiteX2" fmla="*/ 370248 w 577811"/>
                <a:gd name="connsiteY2" fmla="*/ 62584 h 595516"/>
                <a:gd name="connsiteX3" fmla="*/ 387077 w 577811"/>
                <a:gd name="connsiteY3" fmla="*/ 56974 h 595516"/>
                <a:gd name="connsiteX4" fmla="*/ 431956 w 577811"/>
                <a:gd name="connsiteY4" fmla="*/ 51364 h 595516"/>
                <a:gd name="connsiteX5" fmla="*/ 460005 w 577811"/>
                <a:gd name="connsiteY5" fmla="*/ 45754 h 595516"/>
                <a:gd name="connsiteX6" fmla="*/ 510493 w 577811"/>
                <a:gd name="connsiteY6" fmla="*/ 40144 h 595516"/>
                <a:gd name="connsiteX7" fmla="*/ 527323 w 577811"/>
                <a:gd name="connsiteY7" fmla="*/ 34535 h 595516"/>
                <a:gd name="connsiteX8" fmla="*/ 560982 w 577811"/>
                <a:gd name="connsiteY8" fmla="*/ 28925 h 595516"/>
                <a:gd name="connsiteX9" fmla="*/ 577811 w 577811"/>
                <a:gd name="connsiteY9" fmla="*/ 17705 h 595516"/>
                <a:gd name="connsiteX10" fmla="*/ 566592 w 577811"/>
                <a:gd name="connsiteY10" fmla="*/ 876 h 595516"/>
                <a:gd name="connsiteX11" fmla="*/ 549762 w 577811"/>
                <a:gd name="connsiteY11" fmla="*/ 6486 h 595516"/>
                <a:gd name="connsiteX12" fmla="*/ 560982 w 577811"/>
                <a:gd name="connsiteY12" fmla="*/ 40144 h 595516"/>
                <a:gd name="connsiteX13" fmla="*/ 566592 w 577811"/>
                <a:gd name="connsiteY13" fmla="*/ 208439 h 595516"/>
                <a:gd name="connsiteX14" fmla="*/ 572201 w 577811"/>
                <a:gd name="connsiteY14" fmla="*/ 225268 h 595516"/>
                <a:gd name="connsiteX15" fmla="*/ 566592 w 577811"/>
                <a:gd name="connsiteY15" fmla="*/ 286976 h 595516"/>
                <a:gd name="connsiteX16" fmla="*/ 555372 w 577811"/>
                <a:gd name="connsiteY16" fmla="*/ 359904 h 595516"/>
                <a:gd name="connsiteX17" fmla="*/ 544152 w 577811"/>
                <a:gd name="connsiteY17" fmla="*/ 477710 h 595516"/>
                <a:gd name="connsiteX18" fmla="*/ 549762 w 577811"/>
                <a:gd name="connsiteY18" fmla="*/ 528198 h 595516"/>
                <a:gd name="connsiteX19" fmla="*/ 566592 w 577811"/>
                <a:gd name="connsiteY19" fmla="*/ 539418 h 595516"/>
                <a:gd name="connsiteX20" fmla="*/ 549762 w 577811"/>
                <a:gd name="connsiteY20" fmla="*/ 550638 h 595516"/>
                <a:gd name="connsiteX21" fmla="*/ 359028 w 577811"/>
                <a:gd name="connsiteY21" fmla="*/ 550638 h 595516"/>
                <a:gd name="connsiteX22" fmla="*/ 319760 w 577811"/>
                <a:gd name="connsiteY22" fmla="*/ 556248 h 595516"/>
                <a:gd name="connsiteX23" fmla="*/ 241222 w 577811"/>
                <a:gd name="connsiteY23" fmla="*/ 561857 h 595516"/>
                <a:gd name="connsiteX24" fmla="*/ 190734 w 577811"/>
                <a:gd name="connsiteY24" fmla="*/ 578687 h 595516"/>
                <a:gd name="connsiteX25" fmla="*/ 157075 w 577811"/>
                <a:gd name="connsiteY25" fmla="*/ 589906 h 595516"/>
                <a:gd name="connsiteX26" fmla="*/ 134636 w 577811"/>
                <a:gd name="connsiteY26" fmla="*/ 595516 h 595516"/>
                <a:gd name="connsiteX27" fmla="*/ 117806 w 577811"/>
                <a:gd name="connsiteY27" fmla="*/ 589906 h 595516"/>
                <a:gd name="connsiteX28" fmla="*/ 95367 w 577811"/>
                <a:gd name="connsiteY28" fmla="*/ 584297 h 595516"/>
                <a:gd name="connsiteX29" fmla="*/ 44879 w 577811"/>
                <a:gd name="connsiteY29" fmla="*/ 567467 h 595516"/>
                <a:gd name="connsiteX30" fmla="*/ 11220 w 577811"/>
                <a:gd name="connsiteY30" fmla="*/ 550638 h 595516"/>
                <a:gd name="connsiteX31" fmla="*/ 5610 w 577811"/>
                <a:gd name="connsiteY31" fmla="*/ 550638 h 595516"/>
                <a:gd name="connsiteX32" fmla="*/ 0 w 577811"/>
                <a:gd name="connsiteY32" fmla="*/ 96243 h 595516"/>
                <a:gd name="connsiteX0" fmla="*/ 0 w 577811"/>
                <a:gd name="connsiteY0" fmla="*/ 96243 h 595516"/>
                <a:gd name="connsiteX1" fmla="*/ 0 w 577811"/>
                <a:gd name="connsiteY1" fmla="*/ 96243 h 595516"/>
                <a:gd name="connsiteX2" fmla="*/ 387077 w 577811"/>
                <a:gd name="connsiteY2" fmla="*/ 56974 h 595516"/>
                <a:gd name="connsiteX3" fmla="*/ 431956 w 577811"/>
                <a:gd name="connsiteY3" fmla="*/ 51364 h 595516"/>
                <a:gd name="connsiteX4" fmla="*/ 460005 w 577811"/>
                <a:gd name="connsiteY4" fmla="*/ 45754 h 595516"/>
                <a:gd name="connsiteX5" fmla="*/ 510493 w 577811"/>
                <a:gd name="connsiteY5" fmla="*/ 40144 h 595516"/>
                <a:gd name="connsiteX6" fmla="*/ 527323 w 577811"/>
                <a:gd name="connsiteY6" fmla="*/ 34535 h 595516"/>
                <a:gd name="connsiteX7" fmla="*/ 560982 w 577811"/>
                <a:gd name="connsiteY7" fmla="*/ 28925 h 595516"/>
                <a:gd name="connsiteX8" fmla="*/ 577811 w 577811"/>
                <a:gd name="connsiteY8" fmla="*/ 17705 h 595516"/>
                <a:gd name="connsiteX9" fmla="*/ 566592 w 577811"/>
                <a:gd name="connsiteY9" fmla="*/ 876 h 595516"/>
                <a:gd name="connsiteX10" fmla="*/ 549762 w 577811"/>
                <a:gd name="connsiteY10" fmla="*/ 6486 h 595516"/>
                <a:gd name="connsiteX11" fmla="*/ 560982 w 577811"/>
                <a:gd name="connsiteY11" fmla="*/ 40144 h 595516"/>
                <a:gd name="connsiteX12" fmla="*/ 566592 w 577811"/>
                <a:gd name="connsiteY12" fmla="*/ 208439 h 595516"/>
                <a:gd name="connsiteX13" fmla="*/ 572201 w 577811"/>
                <a:gd name="connsiteY13" fmla="*/ 225268 h 595516"/>
                <a:gd name="connsiteX14" fmla="*/ 566592 w 577811"/>
                <a:gd name="connsiteY14" fmla="*/ 286976 h 595516"/>
                <a:gd name="connsiteX15" fmla="*/ 555372 w 577811"/>
                <a:gd name="connsiteY15" fmla="*/ 359904 h 595516"/>
                <a:gd name="connsiteX16" fmla="*/ 544152 w 577811"/>
                <a:gd name="connsiteY16" fmla="*/ 477710 h 595516"/>
                <a:gd name="connsiteX17" fmla="*/ 549762 w 577811"/>
                <a:gd name="connsiteY17" fmla="*/ 528198 h 595516"/>
                <a:gd name="connsiteX18" fmla="*/ 566592 w 577811"/>
                <a:gd name="connsiteY18" fmla="*/ 539418 h 595516"/>
                <a:gd name="connsiteX19" fmla="*/ 549762 w 577811"/>
                <a:gd name="connsiteY19" fmla="*/ 550638 h 595516"/>
                <a:gd name="connsiteX20" fmla="*/ 359028 w 577811"/>
                <a:gd name="connsiteY20" fmla="*/ 550638 h 595516"/>
                <a:gd name="connsiteX21" fmla="*/ 319760 w 577811"/>
                <a:gd name="connsiteY21" fmla="*/ 556248 h 595516"/>
                <a:gd name="connsiteX22" fmla="*/ 241222 w 577811"/>
                <a:gd name="connsiteY22" fmla="*/ 561857 h 595516"/>
                <a:gd name="connsiteX23" fmla="*/ 190734 w 577811"/>
                <a:gd name="connsiteY23" fmla="*/ 578687 h 595516"/>
                <a:gd name="connsiteX24" fmla="*/ 157075 w 577811"/>
                <a:gd name="connsiteY24" fmla="*/ 589906 h 595516"/>
                <a:gd name="connsiteX25" fmla="*/ 134636 w 577811"/>
                <a:gd name="connsiteY25" fmla="*/ 595516 h 595516"/>
                <a:gd name="connsiteX26" fmla="*/ 117806 w 577811"/>
                <a:gd name="connsiteY26" fmla="*/ 589906 h 595516"/>
                <a:gd name="connsiteX27" fmla="*/ 95367 w 577811"/>
                <a:gd name="connsiteY27" fmla="*/ 584297 h 595516"/>
                <a:gd name="connsiteX28" fmla="*/ 44879 w 577811"/>
                <a:gd name="connsiteY28" fmla="*/ 567467 h 595516"/>
                <a:gd name="connsiteX29" fmla="*/ 11220 w 577811"/>
                <a:gd name="connsiteY29" fmla="*/ 550638 h 595516"/>
                <a:gd name="connsiteX30" fmla="*/ 5610 w 577811"/>
                <a:gd name="connsiteY30" fmla="*/ 550638 h 595516"/>
                <a:gd name="connsiteX31" fmla="*/ 0 w 577811"/>
                <a:gd name="connsiteY31" fmla="*/ 96243 h 595516"/>
                <a:gd name="connsiteX0" fmla="*/ 0 w 577811"/>
                <a:gd name="connsiteY0" fmla="*/ 96243 h 595516"/>
                <a:gd name="connsiteX1" fmla="*/ 0 w 577811"/>
                <a:gd name="connsiteY1" fmla="*/ 96243 h 595516"/>
                <a:gd name="connsiteX2" fmla="*/ 431956 w 577811"/>
                <a:gd name="connsiteY2" fmla="*/ 51364 h 595516"/>
                <a:gd name="connsiteX3" fmla="*/ 460005 w 577811"/>
                <a:gd name="connsiteY3" fmla="*/ 45754 h 595516"/>
                <a:gd name="connsiteX4" fmla="*/ 510493 w 577811"/>
                <a:gd name="connsiteY4" fmla="*/ 40144 h 595516"/>
                <a:gd name="connsiteX5" fmla="*/ 527323 w 577811"/>
                <a:gd name="connsiteY5" fmla="*/ 34535 h 595516"/>
                <a:gd name="connsiteX6" fmla="*/ 560982 w 577811"/>
                <a:gd name="connsiteY6" fmla="*/ 28925 h 595516"/>
                <a:gd name="connsiteX7" fmla="*/ 577811 w 577811"/>
                <a:gd name="connsiteY7" fmla="*/ 17705 h 595516"/>
                <a:gd name="connsiteX8" fmla="*/ 566592 w 577811"/>
                <a:gd name="connsiteY8" fmla="*/ 876 h 595516"/>
                <a:gd name="connsiteX9" fmla="*/ 549762 w 577811"/>
                <a:gd name="connsiteY9" fmla="*/ 6486 h 595516"/>
                <a:gd name="connsiteX10" fmla="*/ 560982 w 577811"/>
                <a:gd name="connsiteY10" fmla="*/ 40144 h 595516"/>
                <a:gd name="connsiteX11" fmla="*/ 566592 w 577811"/>
                <a:gd name="connsiteY11" fmla="*/ 208439 h 595516"/>
                <a:gd name="connsiteX12" fmla="*/ 572201 w 577811"/>
                <a:gd name="connsiteY12" fmla="*/ 225268 h 595516"/>
                <a:gd name="connsiteX13" fmla="*/ 566592 w 577811"/>
                <a:gd name="connsiteY13" fmla="*/ 286976 h 595516"/>
                <a:gd name="connsiteX14" fmla="*/ 555372 w 577811"/>
                <a:gd name="connsiteY14" fmla="*/ 359904 h 595516"/>
                <a:gd name="connsiteX15" fmla="*/ 544152 w 577811"/>
                <a:gd name="connsiteY15" fmla="*/ 477710 h 595516"/>
                <a:gd name="connsiteX16" fmla="*/ 549762 w 577811"/>
                <a:gd name="connsiteY16" fmla="*/ 528198 h 595516"/>
                <a:gd name="connsiteX17" fmla="*/ 566592 w 577811"/>
                <a:gd name="connsiteY17" fmla="*/ 539418 h 595516"/>
                <a:gd name="connsiteX18" fmla="*/ 549762 w 577811"/>
                <a:gd name="connsiteY18" fmla="*/ 550638 h 595516"/>
                <a:gd name="connsiteX19" fmla="*/ 359028 w 577811"/>
                <a:gd name="connsiteY19" fmla="*/ 550638 h 595516"/>
                <a:gd name="connsiteX20" fmla="*/ 319760 w 577811"/>
                <a:gd name="connsiteY20" fmla="*/ 556248 h 595516"/>
                <a:gd name="connsiteX21" fmla="*/ 241222 w 577811"/>
                <a:gd name="connsiteY21" fmla="*/ 561857 h 595516"/>
                <a:gd name="connsiteX22" fmla="*/ 190734 w 577811"/>
                <a:gd name="connsiteY22" fmla="*/ 578687 h 595516"/>
                <a:gd name="connsiteX23" fmla="*/ 157075 w 577811"/>
                <a:gd name="connsiteY23" fmla="*/ 589906 h 595516"/>
                <a:gd name="connsiteX24" fmla="*/ 134636 w 577811"/>
                <a:gd name="connsiteY24" fmla="*/ 595516 h 595516"/>
                <a:gd name="connsiteX25" fmla="*/ 117806 w 577811"/>
                <a:gd name="connsiteY25" fmla="*/ 589906 h 595516"/>
                <a:gd name="connsiteX26" fmla="*/ 95367 w 577811"/>
                <a:gd name="connsiteY26" fmla="*/ 584297 h 595516"/>
                <a:gd name="connsiteX27" fmla="*/ 44879 w 577811"/>
                <a:gd name="connsiteY27" fmla="*/ 567467 h 595516"/>
                <a:gd name="connsiteX28" fmla="*/ 11220 w 577811"/>
                <a:gd name="connsiteY28" fmla="*/ 550638 h 595516"/>
                <a:gd name="connsiteX29" fmla="*/ 5610 w 577811"/>
                <a:gd name="connsiteY29" fmla="*/ 550638 h 595516"/>
                <a:gd name="connsiteX30" fmla="*/ 0 w 577811"/>
                <a:gd name="connsiteY30" fmla="*/ 96243 h 595516"/>
                <a:gd name="connsiteX0" fmla="*/ 0 w 577811"/>
                <a:gd name="connsiteY0" fmla="*/ 96243 h 595516"/>
                <a:gd name="connsiteX1" fmla="*/ 0 w 577811"/>
                <a:gd name="connsiteY1" fmla="*/ 96243 h 595516"/>
                <a:gd name="connsiteX2" fmla="*/ 460005 w 577811"/>
                <a:gd name="connsiteY2" fmla="*/ 45754 h 595516"/>
                <a:gd name="connsiteX3" fmla="*/ 510493 w 577811"/>
                <a:gd name="connsiteY3" fmla="*/ 40144 h 595516"/>
                <a:gd name="connsiteX4" fmla="*/ 527323 w 577811"/>
                <a:gd name="connsiteY4" fmla="*/ 34535 h 595516"/>
                <a:gd name="connsiteX5" fmla="*/ 560982 w 577811"/>
                <a:gd name="connsiteY5" fmla="*/ 28925 h 595516"/>
                <a:gd name="connsiteX6" fmla="*/ 577811 w 577811"/>
                <a:gd name="connsiteY6" fmla="*/ 17705 h 595516"/>
                <a:gd name="connsiteX7" fmla="*/ 566592 w 577811"/>
                <a:gd name="connsiteY7" fmla="*/ 876 h 595516"/>
                <a:gd name="connsiteX8" fmla="*/ 549762 w 577811"/>
                <a:gd name="connsiteY8" fmla="*/ 6486 h 595516"/>
                <a:gd name="connsiteX9" fmla="*/ 560982 w 577811"/>
                <a:gd name="connsiteY9" fmla="*/ 40144 h 595516"/>
                <a:gd name="connsiteX10" fmla="*/ 566592 w 577811"/>
                <a:gd name="connsiteY10" fmla="*/ 208439 h 595516"/>
                <a:gd name="connsiteX11" fmla="*/ 572201 w 577811"/>
                <a:gd name="connsiteY11" fmla="*/ 225268 h 595516"/>
                <a:gd name="connsiteX12" fmla="*/ 566592 w 577811"/>
                <a:gd name="connsiteY12" fmla="*/ 286976 h 595516"/>
                <a:gd name="connsiteX13" fmla="*/ 555372 w 577811"/>
                <a:gd name="connsiteY13" fmla="*/ 359904 h 595516"/>
                <a:gd name="connsiteX14" fmla="*/ 544152 w 577811"/>
                <a:gd name="connsiteY14" fmla="*/ 477710 h 595516"/>
                <a:gd name="connsiteX15" fmla="*/ 549762 w 577811"/>
                <a:gd name="connsiteY15" fmla="*/ 528198 h 595516"/>
                <a:gd name="connsiteX16" fmla="*/ 566592 w 577811"/>
                <a:gd name="connsiteY16" fmla="*/ 539418 h 595516"/>
                <a:gd name="connsiteX17" fmla="*/ 549762 w 577811"/>
                <a:gd name="connsiteY17" fmla="*/ 550638 h 595516"/>
                <a:gd name="connsiteX18" fmla="*/ 359028 w 577811"/>
                <a:gd name="connsiteY18" fmla="*/ 550638 h 595516"/>
                <a:gd name="connsiteX19" fmla="*/ 319760 w 577811"/>
                <a:gd name="connsiteY19" fmla="*/ 556248 h 595516"/>
                <a:gd name="connsiteX20" fmla="*/ 241222 w 577811"/>
                <a:gd name="connsiteY20" fmla="*/ 561857 h 595516"/>
                <a:gd name="connsiteX21" fmla="*/ 190734 w 577811"/>
                <a:gd name="connsiteY21" fmla="*/ 578687 h 595516"/>
                <a:gd name="connsiteX22" fmla="*/ 157075 w 577811"/>
                <a:gd name="connsiteY22" fmla="*/ 589906 h 595516"/>
                <a:gd name="connsiteX23" fmla="*/ 134636 w 577811"/>
                <a:gd name="connsiteY23" fmla="*/ 595516 h 595516"/>
                <a:gd name="connsiteX24" fmla="*/ 117806 w 577811"/>
                <a:gd name="connsiteY24" fmla="*/ 589906 h 595516"/>
                <a:gd name="connsiteX25" fmla="*/ 95367 w 577811"/>
                <a:gd name="connsiteY25" fmla="*/ 584297 h 595516"/>
                <a:gd name="connsiteX26" fmla="*/ 44879 w 577811"/>
                <a:gd name="connsiteY26" fmla="*/ 567467 h 595516"/>
                <a:gd name="connsiteX27" fmla="*/ 11220 w 577811"/>
                <a:gd name="connsiteY27" fmla="*/ 550638 h 595516"/>
                <a:gd name="connsiteX28" fmla="*/ 5610 w 577811"/>
                <a:gd name="connsiteY28" fmla="*/ 550638 h 595516"/>
                <a:gd name="connsiteX29" fmla="*/ 0 w 577811"/>
                <a:gd name="connsiteY29" fmla="*/ 96243 h 595516"/>
                <a:gd name="connsiteX0" fmla="*/ 0 w 577811"/>
                <a:gd name="connsiteY0" fmla="*/ 96243 h 595516"/>
                <a:gd name="connsiteX1" fmla="*/ 0 w 577811"/>
                <a:gd name="connsiteY1" fmla="*/ 96243 h 595516"/>
                <a:gd name="connsiteX2" fmla="*/ 510493 w 577811"/>
                <a:gd name="connsiteY2" fmla="*/ 40144 h 595516"/>
                <a:gd name="connsiteX3" fmla="*/ 527323 w 577811"/>
                <a:gd name="connsiteY3" fmla="*/ 34535 h 595516"/>
                <a:gd name="connsiteX4" fmla="*/ 560982 w 577811"/>
                <a:gd name="connsiteY4" fmla="*/ 28925 h 595516"/>
                <a:gd name="connsiteX5" fmla="*/ 577811 w 577811"/>
                <a:gd name="connsiteY5" fmla="*/ 17705 h 595516"/>
                <a:gd name="connsiteX6" fmla="*/ 566592 w 577811"/>
                <a:gd name="connsiteY6" fmla="*/ 876 h 595516"/>
                <a:gd name="connsiteX7" fmla="*/ 549762 w 577811"/>
                <a:gd name="connsiteY7" fmla="*/ 6486 h 595516"/>
                <a:gd name="connsiteX8" fmla="*/ 560982 w 577811"/>
                <a:gd name="connsiteY8" fmla="*/ 40144 h 595516"/>
                <a:gd name="connsiteX9" fmla="*/ 566592 w 577811"/>
                <a:gd name="connsiteY9" fmla="*/ 208439 h 595516"/>
                <a:gd name="connsiteX10" fmla="*/ 572201 w 577811"/>
                <a:gd name="connsiteY10" fmla="*/ 225268 h 595516"/>
                <a:gd name="connsiteX11" fmla="*/ 566592 w 577811"/>
                <a:gd name="connsiteY11" fmla="*/ 286976 h 595516"/>
                <a:gd name="connsiteX12" fmla="*/ 555372 w 577811"/>
                <a:gd name="connsiteY12" fmla="*/ 359904 h 595516"/>
                <a:gd name="connsiteX13" fmla="*/ 544152 w 577811"/>
                <a:gd name="connsiteY13" fmla="*/ 477710 h 595516"/>
                <a:gd name="connsiteX14" fmla="*/ 549762 w 577811"/>
                <a:gd name="connsiteY14" fmla="*/ 528198 h 595516"/>
                <a:gd name="connsiteX15" fmla="*/ 566592 w 577811"/>
                <a:gd name="connsiteY15" fmla="*/ 539418 h 595516"/>
                <a:gd name="connsiteX16" fmla="*/ 549762 w 577811"/>
                <a:gd name="connsiteY16" fmla="*/ 550638 h 595516"/>
                <a:gd name="connsiteX17" fmla="*/ 359028 w 577811"/>
                <a:gd name="connsiteY17" fmla="*/ 550638 h 595516"/>
                <a:gd name="connsiteX18" fmla="*/ 319760 w 577811"/>
                <a:gd name="connsiteY18" fmla="*/ 556248 h 595516"/>
                <a:gd name="connsiteX19" fmla="*/ 241222 w 577811"/>
                <a:gd name="connsiteY19" fmla="*/ 561857 h 595516"/>
                <a:gd name="connsiteX20" fmla="*/ 190734 w 577811"/>
                <a:gd name="connsiteY20" fmla="*/ 578687 h 595516"/>
                <a:gd name="connsiteX21" fmla="*/ 157075 w 577811"/>
                <a:gd name="connsiteY21" fmla="*/ 589906 h 595516"/>
                <a:gd name="connsiteX22" fmla="*/ 134636 w 577811"/>
                <a:gd name="connsiteY22" fmla="*/ 595516 h 595516"/>
                <a:gd name="connsiteX23" fmla="*/ 117806 w 577811"/>
                <a:gd name="connsiteY23" fmla="*/ 589906 h 595516"/>
                <a:gd name="connsiteX24" fmla="*/ 95367 w 577811"/>
                <a:gd name="connsiteY24" fmla="*/ 584297 h 595516"/>
                <a:gd name="connsiteX25" fmla="*/ 44879 w 577811"/>
                <a:gd name="connsiteY25" fmla="*/ 567467 h 595516"/>
                <a:gd name="connsiteX26" fmla="*/ 11220 w 577811"/>
                <a:gd name="connsiteY26" fmla="*/ 550638 h 595516"/>
                <a:gd name="connsiteX27" fmla="*/ 5610 w 577811"/>
                <a:gd name="connsiteY27" fmla="*/ 550638 h 595516"/>
                <a:gd name="connsiteX28" fmla="*/ 0 w 577811"/>
                <a:gd name="connsiteY28" fmla="*/ 96243 h 595516"/>
                <a:gd name="connsiteX0" fmla="*/ 0 w 577811"/>
                <a:gd name="connsiteY0" fmla="*/ 96243 h 595516"/>
                <a:gd name="connsiteX1" fmla="*/ 0 w 577811"/>
                <a:gd name="connsiteY1" fmla="*/ 96243 h 595516"/>
                <a:gd name="connsiteX2" fmla="*/ 527323 w 577811"/>
                <a:gd name="connsiteY2" fmla="*/ 34535 h 595516"/>
                <a:gd name="connsiteX3" fmla="*/ 560982 w 577811"/>
                <a:gd name="connsiteY3" fmla="*/ 28925 h 595516"/>
                <a:gd name="connsiteX4" fmla="*/ 577811 w 577811"/>
                <a:gd name="connsiteY4" fmla="*/ 17705 h 595516"/>
                <a:gd name="connsiteX5" fmla="*/ 566592 w 577811"/>
                <a:gd name="connsiteY5" fmla="*/ 876 h 595516"/>
                <a:gd name="connsiteX6" fmla="*/ 549762 w 577811"/>
                <a:gd name="connsiteY6" fmla="*/ 6486 h 595516"/>
                <a:gd name="connsiteX7" fmla="*/ 560982 w 577811"/>
                <a:gd name="connsiteY7" fmla="*/ 40144 h 595516"/>
                <a:gd name="connsiteX8" fmla="*/ 566592 w 577811"/>
                <a:gd name="connsiteY8" fmla="*/ 208439 h 595516"/>
                <a:gd name="connsiteX9" fmla="*/ 572201 w 577811"/>
                <a:gd name="connsiteY9" fmla="*/ 225268 h 595516"/>
                <a:gd name="connsiteX10" fmla="*/ 566592 w 577811"/>
                <a:gd name="connsiteY10" fmla="*/ 286976 h 595516"/>
                <a:gd name="connsiteX11" fmla="*/ 555372 w 577811"/>
                <a:gd name="connsiteY11" fmla="*/ 359904 h 595516"/>
                <a:gd name="connsiteX12" fmla="*/ 544152 w 577811"/>
                <a:gd name="connsiteY12" fmla="*/ 477710 h 595516"/>
                <a:gd name="connsiteX13" fmla="*/ 549762 w 577811"/>
                <a:gd name="connsiteY13" fmla="*/ 528198 h 595516"/>
                <a:gd name="connsiteX14" fmla="*/ 566592 w 577811"/>
                <a:gd name="connsiteY14" fmla="*/ 539418 h 595516"/>
                <a:gd name="connsiteX15" fmla="*/ 549762 w 577811"/>
                <a:gd name="connsiteY15" fmla="*/ 550638 h 595516"/>
                <a:gd name="connsiteX16" fmla="*/ 359028 w 577811"/>
                <a:gd name="connsiteY16" fmla="*/ 550638 h 595516"/>
                <a:gd name="connsiteX17" fmla="*/ 319760 w 577811"/>
                <a:gd name="connsiteY17" fmla="*/ 556248 h 595516"/>
                <a:gd name="connsiteX18" fmla="*/ 241222 w 577811"/>
                <a:gd name="connsiteY18" fmla="*/ 561857 h 595516"/>
                <a:gd name="connsiteX19" fmla="*/ 190734 w 577811"/>
                <a:gd name="connsiteY19" fmla="*/ 578687 h 595516"/>
                <a:gd name="connsiteX20" fmla="*/ 157075 w 577811"/>
                <a:gd name="connsiteY20" fmla="*/ 589906 h 595516"/>
                <a:gd name="connsiteX21" fmla="*/ 134636 w 577811"/>
                <a:gd name="connsiteY21" fmla="*/ 595516 h 595516"/>
                <a:gd name="connsiteX22" fmla="*/ 117806 w 577811"/>
                <a:gd name="connsiteY22" fmla="*/ 589906 h 595516"/>
                <a:gd name="connsiteX23" fmla="*/ 95367 w 577811"/>
                <a:gd name="connsiteY23" fmla="*/ 584297 h 595516"/>
                <a:gd name="connsiteX24" fmla="*/ 44879 w 577811"/>
                <a:gd name="connsiteY24" fmla="*/ 567467 h 595516"/>
                <a:gd name="connsiteX25" fmla="*/ 11220 w 577811"/>
                <a:gd name="connsiteY25" fmla="*/ 550638 h 595516"/>
                <a:gd name="connsiteX26" fmla="*/ 5610 w 577811"/>
                <a:gd name="connsiteY26" fmla="*/ 550638 h 595516"/>
                <a:gd name="connsiteX27" fmla="*/ 0 w 577811"/>
                <a:gd name="connsiteY27" fmla="*/ 96243 h 595516"/>
                <a:gd name="connsiteX0" fmla="*/ 0 w 577811"/>
                <a:gd name="connsiteY0" fmla="*/ 96243 h 595516"/>
                <a:gd name="connsiteX1" fmla="*/ 0 w 577811"/>
                <a:gd name="connsiteY1" fmla="*/ 96243 h 595516"/>
                <a:gd name="connsiteX2" fmla="*/ 560982 w 577811"/>
                <a:gd name="connsiteY2" fmla="*/ 28925 h 595516"/>
                <a:gd name="connsiteX3" fmla="*/ 577811 w 577811"/>
                <a:gd name="connsiteY3" fmla="*/ 17705 h 595516"/>
                <a:gd name="connsiteX4" fmla="*/ 566592 w 577811"/>
                <a:gd name="connsiteY4" fmla="*/ 876 h 595516"/>
                <a:gd name="connsiteX5" fmla="*/ 549762 w 577811"/>
                <a:gd name="connsiteY5" fmla="*/ 6486 h 595516"/>
                <a:gd name="connsiteX6" fmla="*/ 560982 w 577811"/>
                <a:gd name="connsiteY6" fmla="*/ 40144 h 595516"/>
                <a:gd name="connsiteX7" fmla="*/ 566592 w 577811"/>
                <a:gd name="connsiteY7" fmla="*/ 208439 h 595516"/>
                <a:gd name="connsiteX8" fmla="*/ 572201 w 577811"/>
                <a:gd name="connsiteY8" fmla="*/ 225268 h 595516"/>
                <a:gd name="connsiteX9" fmla="*/ 566592 w 577811"/>
                <a:gd name="connsiteY9" fmla="*/ 286976 h 595516"/>
                <a:gd name="connsiteX10" fmla="*/ 555372 w 577811"/>
                <a:gd name="connsiteY10" fmla="*/ 359904 h 595516"/>
                <a:gd name="connsiteX11" fmla="*/ 544152 w 577811"/>
                <a:gd name="connsiteY11" fmla="*/ 477710 h 595516"/>
                <a:gd name="connsiteX12" fmla="*/ 549762 w 577811"/>
                <a:gd name="connsiteY12" fmla="*/ 528198 h 595516"/>
                <a:gd name="connsiteX13" fmla="*/ 566592 w 577811"/>
                <a:gd name="connsiteY13" fmla="*/ 539418 h 595516"/>
                <a:gd name="connsiteX14" fmla="*/ 549762 w 577811"/>
                <a:gd name="connsiteY14" fmla="*/ 550638 h 595516"/>
                <a:gd name="connsiteX15" fmla="*/ 359028 w 577811"/>
                <a:gd name="connsiteY15" fmla="*/ 550638 h 595516"/>
                <a:gd name="connsiteX16" fmla="*/ 319760 w 577811"/>
                <a:gd name="connsiteY16" fmla="*/ 556248 h 595516"/>
                <a:gd name="connsiteX17" fmla="*/ 241222 w 577811"/>
                <a:gd name="connsiteY17" fmla="*/ 561857 h 595516"/>
                <a:gd name="connsiteX18" fmla="*/ 190734 w 577811"/>
                <a:gd name="connsiteY18" fmla="*/ 578687 h 595516"/>
                <a:gd name="connsiteX19" fmla="*/ 157075 w 577811"/>
                <a:gd name="connsiteY19" fmla="*/ 589906 h 595516"/>
                <a:gd name="connsiteX20" fmla="*/ 134636 w 577811"/>
                <a:gd name="connsiteY20" fmla="*/ 595516 h 595516"/>
                <a:gd name="connsiteX21" fmla="*/ 117806 w 577811"/>
                <a:gd name="connsiteY21" fmla="*/ 589906 h 595516"/>
                <a:gd name="connsiteX22" fmla="*/ 95367 w 577811"/>
                <a:gd name="connsiteY22" fmla="*/ 584297 h 595516"/>
                <a:gd name="connsiteX23" fmla="*/ 44879 w 577811"/>
                <a:gd name="connsiteY23" fmla="*/ 567467 h 595516"/>
                <a:gd name="connsiteX24" fmla="*/ 11220 w 577811"/>
                <a:gd name="connsiteY24" fmla="*/ 550638 h 595516"/>
                <a:gd name="connsiteX25" fmla="*/ 5610 w 577811"/>
                <a:gd name="connsiteY25" fmla="*/ 550638 h 595516"/>
                <a:gd name="connsiteX26" fmla="*/ 0 w 577811"/>
                <a:gd name="connsiteY26" fmla="*/ 96243 h 595516"/>
                <a:gd name="connsiteX0" fmla="*/ 0 w 577811"/>
                <a:gd name="connsiteY0" fmla="*/ 90510 h 589783"/>
                <a:gd name="connsiteX1" fmla="*/ 0 w 577811"/>
                <a:gd name="connsiteY1" fmla="*/ 90510 h 589783"/>
                <a:gd name="connsiteX2" fmla="*/ 560982 w 577811"/>
                <a:gd name="connsiteY2" fmla="*/ 23192 h 589783"/>
                <a:gd name="connsiteX3" fmla="*/ 577811 w 577811"/>
                <a:gd name="connsiteY3" fmla="*/ 11972 h 589783"/>
                <a:gd name="connsiteX4" fmla="*/ 549762 w 577811"/>
                <a:gd name="connsiteY4" fmla="*/ 753 h 589783"/>
                <a:gd name="connsiteX5" fmla="*/ 560982 w 577811"/>
                <a:gd name="connsiteY5" fmla="*/ 34411 h 589783"/>
                <a:gd name="connsiteX6" fmla="*/ 566592 w 577811"/>
                <a:gd name="connsiteY6" fmla="*/ 202706 h 589783"/>
                <a:gd name="connsiteX7" fmla="*/ 572201 w 577811"/>
                <a:gd name="connsiteY7" fmla="*/ 219535 h 589783"/>
                <a:gd name="connsiteX8" fmla="*/ 566592 w 577811"/>
                <a:gd name="connsiteY8" fmla="*/ 281243 h 589783"/>
                <a:gd name="connsiteX9" fmla="*/ 555372 w 577811"/>
                <a:gd name="connsiteY9" fmla="*/ 354171 h 589783"/>
                <a:gd name="connsiteX10" fmla="*/ 544152 w 577811"/>
                <a:gd name="connsiteY10" fmla="*/ 471977 h 589783"/>
                <a:gd name="connsiteX11" fmla="*/ 549762 w 577811"/>
                <a:gd name="connsiteY11" fmla="*/ 522465 h 589783"/>
                <a:gd name="connsiteX12" fmla="*/ 566592 w 577811"/>
                <a:gd name="connsiteY12" fmla="*/ 533685 h 589783"/>
                <a:gd name="connsiteX13" fmla="*/ 549762 w 577811"/>
                <a:gd name="connsiteY13" fmla="*/ 544905 h 589783"/>
                <a:gd name="connsiteX14" fmla="*/ 359028 w 577811"/>
                <a:gd name="connsiteY14" fmla="*/ 544905 h 589783"/>
                <a:gd name="connsiteX15" fmla="*/ 319760 w 577811"/>
                <a:gd name="connsiteY15" fmla="*/ 550515 h 589783"/>
                <a:gd name="connsiteX16" fmla="*/ 241222 w 577811"/>
                <a:gd name="connsiteY16" fmla="*/ 556124 h 589783"/>
                <a:gd name="connsiteX17" fmla="*/ 190734 w 577811"/>
                <a:gd name="connsiteY17" fmla="*/ 572954 h 589783"/>
                <a:gd name="connsiteX18" fmla="*/ 157075 w 577811"/>
                <a:gd name="connsiteY18" fmla="*/ 584173 h 589783"/>
                <a:gd name="connsiteX19" fmla="*/ 134636 w 577811"/>
                <a:gd name="connsiteY19" fmla="*/ 589783 h 589783"/>
                <a:gd name="connsiteX20" fmla="*/ 117806 w 577811"/>
                <a:gd name="connsiteY20" fmla="*/ 584173 h 589783"/>
                <a:gd name="connsiteX21" fmla="*/ 95367 w 577811"/>
                <a:gd name="connsiteY21" fmla="*/ 578564 h 589783"/>
                <a:gd name="connsiteX22" fmla="*/ 44879 w 577811"/>
                <a:gd name="connsiteY22" fmla="*/ 561734 h 589783"/>
                <a:gd name="connsiteX23" fmla="*/ 11220 w 577811"/>
                <a:gd name="connsiteY23" fmla="*/ 544905 h 589783"/>
                <a:gd name="connsiteX24" fmla="*/ 5610 w 577811"/>
                <a:gd name="connsiteY24" fmla="*/ 544905 h 589783"/>
                <a:gd name="connsiteX25" fmla="*/ 0 w 577811"/>
                <a:gd name="connsiteY25" fmla="*/ 90510 h 589783"/>
                <a:gd name="connsiteX0" fmla="*/ 0 w 695065"/>
                <a:gd name="connsiteY0" fmla="*/ 78614 h 577887"/>
                <a:gd name="connsiteX1" fmla="*/ 0 w 695065"/>
                <a:gd name="connsiteY1" fmla="*/ 78614 h 577887"/>
                <a:gd name="connsiteX2" fmla="*/ 560982 w 695065"/>
                <a:gd name="connsiteY2" fmla="*/ 11296 h 577887"/>
                <a:gd name="connsiteX3" fmla="*/ 577811 w 695065"/>
                <a:gd name="connsiteY3" fmla="*/ 76 h 577887"/>
                <a:gd name="connsiteX4" fmla="*/ 695018 w 695065"/>
                <a:gd name="connsiteY4" fmla="*/ 136494 h 577887"/>
                <a:gd name="connsiteX5" fmla="*/ 560982 w 695065"/>
                <a:gd name="connsiteY5" fmla="*/ 22515 h 577887"/>
                <a:gd name="connsiteX6" fmla="*/ 566592 w 695065"/>
                <a:gd name="connsiteY6" fmla="*/ 190810 h 577887"/>
                <a:gd name="connsiteX7" fmla="*/ 572201 w 695065"/>
                <a:gd name="connsiteY7" fmla="*/ 207639 h 577887"/>
                <a:gd name="connsiteX8" fmla="*/ 566592 w 695065"/>
                <a:gd name="connsiteY8" fmla="*/ 269347 h 577887"/>
                <a:gd name="connsiteX9" fmla="*/ 555372 w 695065"/>
                <a:gd name="connsiteY9" fmla="*/ 342275 h 577887"/>
                <a:gd name="connsiteX10" fmla="*/ 544152 w 695065"/>
                <a:gd name="connsiteY10" fmla="*/ 460081 h 577887"/>
                <a:gd name="connsiteX11" fmla="*/ 549762 w 695065"/>
                <a:gd name="connsiteY11" fmla="*/ 510569 h 577887"/>
                <a:gd name="connsiteX12" fmla="*/ 566592 w 695065"/>
                <a:gd name="connsiteY12" fmla="*/ 521789 h 577887"/>
                <a:gd name="connsiteX13" fmla="*/ 549762 w 695065"/>
                <a:gd name="connsiteY13" fmla="*/ 533009 h 577887"/>
                <a:gd name="connsiteX14" fmla="*/ 359028 w 695065"/>
                <a:gd name="connsiteY14" fmla="*/ 533009 h 577887"/>
                <a:gd name="connsiteX15" fmla="*/ 319760 w 695065"/>
                <a:gd name="connsiteY15" fmla="*/ 538619 h 577887"/>
                <a:gd name="connsiteX16" fmla="*/ 241222 w 695065"/>
                <a:gd name="connsiteY16" fmla="*/ 544228 h 577887"/>
                <a:gd name="connsiteX17" fmla="*/ 190734 w 695065"/>
                <a:gd name="connsiteY17" fmla="*/ 561058 h 577887"/>
                <a:gd name="connsiteX18" fmla="*/ 157075 w 695065"/>
                <a:gd name="connsiteY18" fmla="*/ 572277 h 577887"/>
                <a:gd name="connsiteX19" fmla="*/ 134636 w 695065"/>
                <a:gd name="connsiteY19" fmla="*/ 577887 h 577887"/>
                <a:gd name="connsiteX20" fmla="*/ 117806 w 695065"/>
                <a:gd name="connsiteY20" fmla="*/ 572277 h 577887"/>
                <a:gd name="connsiteX21" fmla="*/ 95367 w 695065"/>
                <a:gd name="connsiteY21" fmla="*/ 566668 h 577887"/>
                <a:gd name="connsiteX22" fmla="*/ 44879 w 695065"/>
                <a:gd name="connsiteY22" fmla="*/ 549838 h 577887"/>
                <a:gd name="connsiteX23" fmla="*/ 11220 w 695065"/>
                <a:gd name="connsiteY23" fmla="*/ 533009 h 577887"/>
                <a:gd name="connsiteX24" fmla="*/ 5610 w 695065"/>
                <a:gd name="connsiteY24" fmla="*/ 533009 h 577887"/>
                <a:gd name="connsiteX25" fmla="*/ 0 w 695065"/>
                <a:gd name="connsiteY25" fmla="*/ 78614 h 577887"/>
                <a:gd name="connsiteX0" fmla="*/ 0 w 577811"/>
                <a:gd name="connsiteY0" fmla="*/ 78998 h 578271"/>
                <a:gd name="connsiteX1" fmla="*/ 0 w 577811"/>
                <a:gd name="connsiteY1" fmla="*/ 78998 h 578271"/>
                <a:gd name="connsiteX2" fmla="*/ 560982 w 577811"/>
                <a:gd name="connsiteY2" fmla="*/ 11680 h 578271"/>
                <a:gd name="connsiteX3" fmla="*/ 577811 w 577811"/>
                <a:gd name="connsiteY3" fmla="*/ 460 h 578271"/>
                <a:gd name="connsiteX4" fmla="*/ 560982 w 577811"/>
                <a:gd name="connsiteY4" fmla="*/ 22899 h 578271"/>
                <a:gd name="connsiteX5" fmla="*/ 566592 w 577811"/>
                <a:gd name="connsiteY5" fmla="*/ 191194 h 578271"/>
                <a:gd name="connsiteX6" fmla="*/ 572201 w 577811"/>
                <a:gd name="connsiteY6" fmla="*/ 208023 h 578271"/>
                <a:gd name="connsiteX7" fmla="*/ 566592 w 577811"/>
                <a:gd name="connsiteY7" fmla="*/ 269731 h 578271"/>
                <a:gd name="connsiteX8" fmla="*/ 555372 w 577811"/>
                <a:gd name="connsiteY8" fmla="*/ 342659 h 578271"/>
                <a:gd name="connsiteX9" fmla="*/ 544152 w 577811"/>
                <a:gd name="connsiteY9" fmla="*/ 460465 h 578271"/>
                <a:gd name="connsiteX10" fmla="*/ 549762 w 577811"/>
                <a:gd name="connsiteY10" fmla="*/ 510953 h 578271"/>
                <a:gd name="connsiteX11" fmla="*/ 566592 w 577811"/>
                <a:gd name="connsiteY11" fmla="*/ 522173 h 578271"/>
                <a:gd name="connsiteX12" fmla="*/ 549762 w 577811"/>
                <a:gd name="connsiteY12" fmla="*/ 533393 h 578271"/>
                <a:gd name="connsiteX13" fmla="*/ 359028 w 577811"/>
                <a:gd name="connsiteY13" fmla="*/ 533393 h 578271"/>
                <a:gd name="connsiteX14" fmla="*/ 319760 w 577811"/>
                <a:gd name="connsiteY14" fmla="*/ 539003 h 578271"/>
                <a:gd name="connsiteX15" fmla="*/ 241222 w 577811"/>
                <a:gd name="connsiteY15" fmla="*/ 544612 h 578271"/>
                <a:gd name="connsiteX16" fmla="*/ 190734 w 577811"/>
                <a:gd name="connsiteY16" fmla="*/ 561442 h 578271"/>
                <a:gd name="connsiteX17" fmla="*/ 157075 w 577811"/>
                <a:gd name="connsiteY17" fmla="*/ 572661 h 578271"/>
                <a:gd name="connsiteX18" fmla="*/ 134636 w 577811"/>
                <a:gd name="connsiteY18" fmla="*/ 578271 h 578271"/>
                <a:gd name="connsiteX19" fmla="*/ 117806 w 577811"/>
                <a:gd name="connsiteY19" fmla="*/ 572661 h 578271"/>
                <a:gd name="connsiteX20" fmla="*/ 95367 w 577811"/>
                <a:gd name="connsiteY20" fmla="*/ 567052 h 578271"/>
                <a:gd name="connsiteX21" fmla="*/ 44879 w 577811"/>
                <a:gd name="connsiteY21" fmla="*/ 550222 h 578271"/>
                <a:gd name="connsiteX22" fmla="*/ 11220 w 577811"/>
                <a:gd name="connsiteY22" fmla="*/ 533393 h 578271"/>
                <a:gd name="connsiteX23" fmla="*/ 5610 w 577811"/>
                <a:gd name="connsiteY23" fmla="*/ 533393 h 578271"/>
                <a:gd name="connsiteX24" fmla="*/ 0 w 577811"/>
                <a:gd name="connsiteY24" fmla="*/ 78998 h 578271"/>
                <a:gd name="connsiteX0" fmla="*/ 0 w 577811"/>
                <a:gd name="connsiteY0" fmla="*/ 78998 h 578271"/>
                <a:gd name="connsiteX1" fmla="*/ 0 w 577811"/>
                <a:gd name="connsiteY1" fmla="*/ 78998 h 578271"/>
                <a:gd name="connsiteX2" fmla="*/ 577811 w 577811"/>
                <a:gd name="connsiteY2" fmla="*/ 460 h 578271"/>
                <a:gd name="connsiteX3" fmla="*/ 560982 w 577811"/>
                <a:gd name="connsiteY3" fmla="*/ 22899 h 578271"/>
                <a:gd name="connsiteX4" fmla="*/ 566592 w 577811"/>
                <a:gd name="connsiteY4" fmla="*/ 191194 h 578271"/>
                <a:gd name="connsiteX5" fmla="*/ 572201 w 577811"/>
                <a:gd name="connsiteY5" fmla="*/ 208023 h 578271"/>
                <a:gd name="connsiteX6" fmla="*/ 566592 w 577811"/>
                <a:gd name="connsiteY6" fmla="*/ 269731 h 578271"/>
                <a:gd name="connsiteX7" fmla="*/ 555372 w 577811"/>
                <a:gd name="connsiteY7" fmla="*/ 342659 h 578271"/>
                <a:gd name="connsiteX8" fmla="*/ 544152 w 577811"/>
                <a:gd name="connsiteY8" fmla="*/ 460465 h 578271"/>
                <a:gd name="connsiteX9" fmla="*/ 549762 w 577811"/>
                <a:gd name="connsiteY9" fmla="*/ 510953 h 578271"/>
                <a:gd name="connsiteX10" fmla="*/ 566592 w 577811"/>
                <a:gd name="connsiteY10" fmla="*/ 522173 h 578271"/>
                <a:gd name="connsiteX11" fmla="*/ 549762 w 577811"/>
                <a:gd name="connsiteY11" fmla="*/ 533393 h 578271"/>
                <a:gd name="connsiteX12" fmla="*/ 359028 w 577811"/>
                <a:gd name="connsiteY12" fmla="*/ 533393 h 578271"/>
                <a:gd name="connsiteX13" fmla="*/ 319760 w 577811"/>
                <a:gd name="connsiteY13" fmla="*/ 539003 h 578271"/>
                <a:gd name="connsiteX14" fmla="*/ 241222 w 577811"/>
                <a:gd name="connsiteY14" fmla="*/ 544612 h 578271"/>
                <a:gd name="connsiteX15" fmla="*/ 190734 w 577811"/>
                <a:gd name="connsiteY15" fmla="*/ 561442 h 578271"/>
                <a:gd name="connsiteX16" fmla="*/ 157075 w 577811"/>
                <a:gd name="connsiteY16" fmla="*/ 572661 h 578271"/>
                <a:gd name="connsiteX17" fmla="*/ 134636 w 577811"/>
                <a:gd name="connsiteY17" fmla="*/ 578271 h 578271"/>
                <a:gd name="connsiteX18" fmla="*/ 117806 w 577811"/>
                <a:gd name="connsiteY18" fmla="*/ 572661 h 578271"/>
                <a:gd name="connsiteX19" fmla="*/ 95367 w 577811"/>
                <a:gd name="connsiteY19" fmla="*/ 567052 h 578271"/>
                <a:gd name="connsiteX20" fmla="*/ 44879 w 577811"/>
                <a:gd name="connsiteY20" fmla="*/ 550222 h 578271"/>
                <a:gd name="connsiteX21" fmla="*/ 11220 w 577811"/>
                <a:gd name="connsiteY21" fmla="*/ 533393 h 578271"/>
                <a:gd name="connsiteX22" fmla="*/ 5610 w 577811"/>
                <a:gd name="connsiteY22" fmla="*/ 533393 h 578271"/>
                <a:gd name="connsiteX23" fmla="*/ 0 w 577811"/>
                <a:gd name="connsiteY23" fmla="*/ 78998 h 578271"/>
                <a:gd name="connsiteX0" fmla="*/ 0 w 617242"/>
                <a:gd name="connsiteY0" fmla="*/ 78538 h 577811"/>
                <a:gd name="connsiteX1" fmla="*/ 0 w 617242"/>
                <a:gd name="connsiteY1" fmla="*/ 78538 h 577811"/>
                <a:gd name="connsiteX2" fmla="*/ 577811 w 617242"/>
                <a:gd name="connsiteY2" fmla="*/ 0 h 577811"/>
                <a:gd name="connsiteX3" fmla="*/ 566592 w 617242"/>
                <a:gd name="connsiteY3" fmla="*/ 190734 h 577811"/>
                <a:gd name="connsiteX4" fmla="*/ 572201 w 617242"/>
                <a:gd name="connsiteY4" fmla="*/ 207563 h 577811"/>
                <a:gd name="connsiteX5" fmla="*/ 566592 w 617242"/>
                <a:gd name="connsiteY5" fmla="*/ 269271 h 577811"/>
                <a:gd name="connsiteX6" fmla="*/ 555372 w 617242"/>
                <a:gd name="connsiteY6" fmla="*/ 342199 h 577811"/>
                <a:gd name="connsiteX7" fmla="*/ 544152 w 617242"/>
                <a:gd name="connsiteY7" fmla="*/ 460005 h 577811"/>
                <a:gd name="connsiteX8" fmla="*/ 549762 w 617242"/>
                <a:gd name="connsiteY8" fmla="*/ 510493 h 577811"/>
                <a:gd name="connsiteX9" fmla="*/ 566592 w 617242"/>
                <a:gd name="connsiteY9" fmla="*/ 521713 h 577811"/>
                <a:gd name="connsiteX10" fmla="*/ 549762 w 617242"/>
                <a:gd name="connsiteY10" fmla="*/ 532933 h 577811"/>
                <a:gd name="connsiteX11" fmla="*/ 359028 w 617242"/>
                <a:gd name="connsiteY11" fmla="*/ 532933 h 577811"/>
                <a:gd name="connsiteX12" fmla="*/ 319760 w 617242"/>
                <a:gd name="connsiteY12" fmla="*/ 538543 h 577811"/>
                <a:gd name="connsiteX13" fmla="*/ 241222 w 617242"/>
                <a:gd name="connsiteY13" fmla="*/ 544152 h 577811"/>
                <a:gd name="connsiteX14" fmla="*/ 190734 w 617242"/>
                <a:gd name="connsiteY14" fmla="*/ 560982 h 577811"/>
                <a:gd name="connsiteX15" fmla="*/ 157075 w 617242"/>
                <a:gd name="connsiteY15" fmla="*/ 572201 h 577811"/>
                <a:gd name="connsiteX16" fmla="*/ 134636 w 617242"/>
                <a:gd name="connsiteY16" fmla="*/ 577811 h 577811"/>
                <a:gd name="connsiteX17" fmla="*/ 117806 w 617242"/>
                <a:gd name="connsiteY17" fmla="*/ 572201 h 577811"/>
                <a:gd name="connsiteX18" fmla="*/ 95367 w 617242"/>
                <a:gd name="connsiteY18" fmla="*/ 566592 h 577811"/>
                <a:gd name="connsiteX19" fmla="*/ 44879 w 617242"/>
                <a:gd name="connsiteY19" fmla="*/ 549762 h 577811"/>
                <a:gd name="connsiteX20" fmla="*/ 11220 w 617242"/>
                <a:gd name="connsiteY20" fmla="*/ 532933 h 577811"/>
                <a:gd name="connsiteX21" fmla="*/ 5610 w 617242"/>
                <a:gd name="connsiteY21" fmla="*/ 532933 h 577811"/>
                <a:gd name="connsiteX22" fmla="*/ 0 w 617242"/>
                <a:gd name="connsiteY22" fmla="*/ 78538 h 577811"/>
                <a:gd name="connsiteX0" fmla="*/ 0 w 580619"/>
                <a:gd name="connsiteY0" fmla="*/ 21388 h 520661"/>
                <a:gd name="connsiteX1" fmla="*/ 0 w 580619"/>
                <a:gd name="connsiteY1" fmla="*/ 21388 h 520661"/>
                <a:gd name="connsiteX2" fmla="*/ 523043 w 580619"/>
                <a:gd name="connsiteY2" fmla="*/ 0 h 520661"/>
                <a:gd name="connsiteX3" fmla="*/ 566592 w 580619"/>
                <a:gd name="connsiteY3" fmla="*/ 133584 h 520661"/>
                <a:gd name="connsiteX4" fmla="*/ 572201 w 580619"/>
                <a:gd name="connsiteY4" fmla="*/ 150413 h 520661"/>
                <a:gd name="connsiteX5" fmla="*/ 566592 w 580619"/>
                <a:gd name="connsiteY5" fmla="*/ 212121 h 520661"/>
                <a:gd name="connsiteX6" fmla="*/ 555372 w 580619"/>
                <a:gd name="connsiteY6" fmla="*/ 285049 h 520661"/>
                <a:gd name="connsiteX7" fmla="*/ 544152 w 580619"/>
                <a:gd name="connsiteY7" fmla="*/ 402855 h 520661"/>
                <a:gd name="connsiteX8" fmla="*/ 549762 w 580619"/>
                <a:gd name="connsiteY8" fmla="*/ 453343 h 520661"/>
                <a:gd name="connsiteX9" fmla="*/ 566592 w 580619"/>
                <a:gd name="connsiteY9" fmla="*/ 464563 h 520661"/>
                <a:gd name="connsiteX10" fmla="*/ 549762 w 580619"/>
                <a:gd name="connsiteY10" fmla="*/ 475783 h 520661"/>
                <a:gd name="connsiteX11" fmla="*/ 359028 w 580619"/>
                <a:gd name="connsiteY11" fmla="*/ 475783 h 520661"/>
                <a:gd name="connsiteX12" fmla="*/ 319760 w 580619"/>
                <a:gd name="connsiteY12" fmla="*/ 481393 h 520661"/>
                <a:gd name="connsiteX13" fmla="*/ 241222 w 580619"/>
                <a:gd name="connsiteY13" fmla="*/ 487002 h 520661"/>
                <a:gd name="connsiteX14" fmla="*/ 190734 w 580619"/>
                <a:gd name="connsiteY14" fmla="*/ 503832 h 520661"/>
                <a:gd name="connsiteX15" fmla="*/ 157075 w 580619"/>
                <a:gd name="connsiteY15" fmla="*/ 515051 h 520661"/>
                <a:gd name="connsiteX16" fmla="*/ 134636 w 580619"/>
                <a:gd name="connsiteY16" fmla="*/ 520661 h 520661"/>
                <a:gd name="connsiteX17" fmla="*/ 117806 w 580619"/>
                <a:gd name="connsiteY17" fmla="*/ 515051 h 520661"/>
                <a:gd name="connsiteX18" fmla="*/ 95367 w 580619"/>
                <a:gd name="connsiteY18" fmla="*/ 509442 h 520661"/>
                <a:gd name="connsiteX19" fmla="*/ 44879 w 580619"/>
                <a:gd name="connsiteY19" fmla="*/ 492612 h 520661"/>
                <a:gd name="connsiteX20" fmla="*/ 11220 w 580619"/>
                <a:gd name="connsiteY20" fmla="*/ 475783 h 520661"/>
                <a:gd name="connsiteX21" fmla="*/ 5610 w 580619"/>
                <a:gd name="connsiteY21" fmla="*/ 475783 h 520661"/>
                <a:gd name="connsiteX22" fmla="*/ 0 w 580619"/>
                <a:gd name="connsiteY22" fmla="*/ 21388 h 520661"/>
                <a:gd name="connsiteX0" fmla="*/ 0 w 572201"/>
                <a:gd name="connsiteY0" fmla="*/ 21388 h 520661"/>
                <a:gd name="connsiteX1" fmla="*/ 0 w 572201"/>
                <a:gd name="connsiteY1" fmla="*/ 21388 h 520661"/>
                <a:gd name="connsiteX2" fmla="*/ 523043 w 572201"/>
                <a:gd name="connsiteY2" fmla="*/ 0 h 520661"/>
                <a:gd name="connsiteX3" fmla="*/ 566592 w 572201"/>
                <a:gd name="connsiteY3" fmla="*/ 133584 h 520661"/>
                <a:gd name="connsiteX4" fmla="*/ 572201 w 572201"/>
                <a:gd name="connsiteY4" fmla="*/ 150413 h 520661"/>
                <a:gd name="connsiteX5" fmla="*/ 566592 w 572201"/>
                <a:gd name="connsiteY5" fmla="*/ 212121 h 520661"/>
                <a:gd name="connsiteX6" fmla="*/ 555372 w 572201"/>
                <a:gd name="connsiteY6" fmla="*/ 285049 h 520661"/>
                <a:gd name="connsiteX7" fmla="*/ 544152 w 572201"/>
                <a:gd name="connsiteY7" fmla="*/ 402855 h 520661"/>
                <a:gd name="connsiteX8" fmla="*/ 549762 w 572201"/>
                <a:gd name="connsiteY8" fmla="*/ 453343 h 520661"/>
                <a:gd name="connsiteX9" fmla="*/ 566592 w 572201"/>
                <a:gd name="connsiteY9" fmla="*/ 464563 h 520661"/>
                <a:gd name="connsiteX10" fmla="*/ 549762 w 572201"/>
                <a:gd name="connsiteY10" fmla="*/ 475783 h 520661"/>
                <a:gd name="connsiteX11" fmla="*/ 359028 w 572201"/>
                <a:gd name="connsiteY11" fmla="*/ 475783 h 520661"/>
                <a:gd name="connsiteX12" fmla="*/ 319760 w 572201"/>
                <a:gd name="connsiteY12" fmla="*/ 481393 h 520661"/>
                <a:gd name="connsiteX13" fmla="*/ 241222 w 572201"/>
                <a:gd name="connsiteY13" fmla="*/ 487002 h 520661"/>
                <a:gd name="connsiteX14" fmla="*/ 190734 w 572201"/>
                <a:gd name="connsiteY14" fmla="*/ 503832 h 520661"/>
                <a:gd name="connsiteX15" fmla="*/ 157075 w 572201"/>
                <a:gd name="connsiteY15" fmla="*/ 515051 h 520661"/>
                <a:gd name="connsiteX16" fmla="*/ 134636 w 572201"/>
                <a:gd name="connsiteY16" fmla="*/ 520661 h 520661"/>
                <a:gd name="connsiteX17" fmla="*/ 117806 w 572201"/>
                <a:gd name="connsiteY17" fmla="*/ 515051 h 520661"/>
                <a:gd name="connsiteX18" fmla="*/ 95367 w 572201"/>
                <a:gd name="connsiteY18" fmla="*/ 509442 h 520661"/>
                <a:gd name="connsiteX19" fmla="*/ 44879 w 572201"/>
                <a:gd name="connsiteY19" fmla="*/ 492612 h 520661"/>
                <a:gd name="connsiteX20" fmla="*/ 11220 w 572201"/>
                <a:gd name="connsiteY20" fmla="*/ 475783 h 520661"/>
                <a:gd name="connsiteX21" fmla="*/ 5610 w 572201"/>
                <a:gd name="connsiteY21" fmla="*/ 475783 h 520661"/>
                <a:gd name="connsiteX22" fmla="*/ 0 w 572201"/>
                <a:gd name="connsiteY22" fmla="*/ 21388 h 520661"/>
                <a:gd name="connsiteX0" fmla="*/ 0 w 572201"/>
                <a:gd name="connsiteY0" fmla="*/ 76156 h 575429"/>
                <a:gd name="connsiteX1" fmla="*/ 0 w 572201"/>
                <a:gd name="connsiteY1" fmla="*/ 76156 h 575429"/>
                <a:gd name="connsiteX2" fmla="*/ 561143 w 572201"/>
                <a:gd name="connsiteY2" fmla="*/ 0 h 575429"/>
                <a:gd name="connsiteX3" fmla="*/ 566592 w 572201"/>
                <a:gd name="connsiteY3" fmla="*/ 188352 h 575429"/>
                <a:gd name="connsiteX4" fmla="*/ 572201 w 572201"/>
                <a:gd name="connsiteY4" fmla="*/ 205181 h 575429"/>
                <a:gd name="connsiteX5" fmla="*/ 566592 w 572201"/>
                <a:gd name="connsiteY5" fmla="*/ 266889 h 575429"/>
                <a:gd name="connsiteX6" fmla="*/ 555372 w 572201"/>
                <a:gd name="connsiteY6" fmla="*/ 339817 h 575429"/>
                <a:gd name="connsiteX7" fmla="*/ 544152 w 572201"/>
                <a:gd name="connsiteY7" fmla="*/ 457623 h 575429"/>
                <a:gd name="connsiteX8" fmla="*/ 549762 w 572201"/>
                <a:gd name="connsiteY8" fmla="*/ 508111 h 575429"/>
                <a:gd name="connsiteX9" fmla="*/ 566592 w 572201"/>
                <a:gd name="connsiteY9" fmla="*/ 519331 h 575429"/>
                <a:gd name="connsiteX10" fmla="*/ 549762 w 572201"/>
                <a:gd name="connsiteY10" fmla="*/ 530551 h 575429"/>
                <a:gd name="connsiteX11" fmla="*/ 359028 w 572201"/>
                <a:gd name="connsiteY11" fmla="*/ 530551 h 575429"/>
                <a:gd name="connsiteX12" fmla="*/ 319760 w 572201"/>
                <a:gd name="connsiteY12" fmla="*/ 536161 h 575429"/>
                <a:gd name="connsiteX13" fmla="*/ 241222 w 572201"/>
                <a:gd name="connsiteY13" fmla="*/ 541770 h 575429"/>
                <a:gd name="connsiteX14" fmla="*/ 190734 w 572201"/>
                <a:gd name="connsiteY14" fmla="*/ 558600 h 575429"/>
                <a:gd name="connsiteX15" fmla="*/ 157075 w 572201"/>
                <a:gd name="connsiteY15" fmla="*/ 569819 h 575429"/>
                <a:gd name="connsiteX16" fmla="*/ 134636 w 572201"/>
                <a:gd name="connsiteY16" fmla="*/ 575429 h 575429"/>
                <a:gd name="connsiteX17" fmla="*/ 117806 w 572201"/>
                <a:gd name="connsiteY17" fmla="*/ 569819 h 575429"/>
                <a:gd name="connsiteX18" fmla="*/ 95367 w 572201"/>
                <a:gd name="connsiteY18" fmla="*/ 564210 h 575429"/>
                <a:gd name="connsiteX19" fmla="*/ 44879 w 572201"/>
                <a:gd name="connsiteY19" fmla="*/ 547380 h 575429"/>
                <a:gd name="connsiteX20" fmla="*/ 11220 w 572201"/>
                <a:gd name="connsiteY20" fmla="*/ 530551 h 575429"/>
                <a:gd name="connsiteX21" fmla="*/ 5610 w 572201"/>
                <a:gd name="connsiteY21" fmla="*/ 530551 h 575429"/>
                <a:gd name="connsiteX22" fmla="*/ 0 w 572201"/>
                <a:gd name="connsiteY22" fmla="*/ 76156 h 575429"/>
                <a:gd name="connsiteX0" fmla="*/ 0 w 606371"/>
                <a:gd name="connsiteY0" fmla="*/ 76156 h 575429"/>
                <a:gd name="connsiteX1" fmla="*/ 0 w 606371"/>
                <a:gd name="connsiteY1" fmla="*/ 76156 h 575429"/>
                <a:gd name="connsiteX2" fmla="*/ 561143 w 606371"/>
                <a:gd name="connsiteY2" fmla="*/ 0 h 575429"/>
                <a:gd name="connsiteX3" fmla="*/ 572201 w 606371"/>
                <a:gd name="connsiteY3" fmla="*/ 205181 h 575429"/>
                <a:gd name="connsiteX4" fmla="*/ 566592 w 606371"/>
                <a:gd name="connsiteY4" fmla="*/ 266889 h 575429"/>
                <a:gd name="connsiteX5" fmla="*/ 555372 w 606371"/>
                <a:gd name="connsiteY5" fmla="*/ 339817 h 575429"/>
                <a:gd name="connsiteX6" fmla="*/ 544152 w 606371"/>
                <a:gd name="connsiteY6" fmla="*/ 457623 h 575429"/>
                <a:gd name="connsiteX7" fmla="*/ 549762 w 606371"/>
                <a:gd name="connsiteY7" fmla="*/ 508111 h 575429"/>
                <a:gd name="connsiteX8" fmla="*/ 566592 w 606371"/>
                <a:gd name="connsiteY8" fmla="*/ 519331 h 575429"/>
                <a:gd name="connsiteX9" fmla="*/ 549762 w 606371"/>
                <a:gd name="connsiteY9" fmla="*/ 530551 h 575429"/>
                <a:gd name="connsiteX10" fmla="*/ 359028 w 606371"/>
                <a:gd name="connsiteY10" fmla="*/ 530551 h 575429"/>
                <a:gd name="connsiteX11" fmla="*/ 319760 w 606371"/>
                <a:gd name="connsiteY11" fmla="*/ 536161 h 575429"/>
                <a:gd name="connsiteX12" fmla="*/ 241222 w 606371"/>
                <a:gd name="connsiteY12" fmla="*/ 541770 h 575429"/>
                <a:gd name="connsiteX13" fmla="*/ 190734 w 606371"/>
                <a:gd name="connsiteY13" fmla="*/ 558600 h 575429"/>
                <a:gd name="connsiteX14" fmla="*/ 157075 w 606371"/>
                <a:gd name="connsiteY14" fmla="*/ 569819 h 575429"/>
                <a:gd name="connsiteX15" fmla="*/ 134636 w 606371"/>
                <a:gd name="connsiteY15" fmla="*/ 575429 h 575429"/>
                <a:gd name="connsiteX16" fmla="*/ 117806 w 606371"/>
                <a:gd name="connsiteY16" fmla="*/ 569819 h 575429"/>
                <a:gd name="connsiteX17" fmla="*/ 95367 w 606371"/>
                <a:gd name="connsiteY17" fmla="*/ 564210 h 575429"/>
                <a:gd name="connsiteX18" fmla="*/ 44879 w 606371"/>
                <a:gd name="connsiteY18" fmla="*/ 547380 h 575429"/>
                <a:gd name="connsiteX19" fmla="*/ 11220 w 606371"/>
                <a:gd name="connsiteY19" fmla="*/ 530551 h 575429"/>
                <a:gd name="connsiteX20" fmla="*/ 5610 w 606371"/>
                <a:gd name="connsiteY20" fmla="*/ 530551 h 575429"/>
                <a:gd name="connsiteX21" fmla="*/ 0 w 606371"/>
                <a:gd name="connsiteY21" fmla="*/ 76156 h 575429"/>
                <a:gd name="connsiteX0" fmla="*/ 0 w 604801"/>
                <a:gd name="connsiteY0" fmla="*/ 76156 h 575429"/>
                <a:gd name="connsiteX1" fmla="*/ 0 w 604801"/>
                <a:gd name="connsiteY1" fmla="*/ 76156 h 575429"/>
                <a:gd name="connsiteX2" fmla="*/ 561143 w 604801"/>
                <a:gd name="connsiteY2" fmla="*/ 0 h 575429"/>
                <a:gd name="connsiteX3" fmla="*/ 566592 w 604801"/>
                <a:gd name="connsiteY3" fmla="*/ 266889 h 575429"/>
                <a:gd name="connsiteX4" fmla="*/ 555372 w 604801"/>
                <a:gd name="connsiteY4" fmla="*/ 339817 h 575429"/>
                <a:gd name="connsiteX5" fmla="*/ 544152 w 604801"/>
                <a:gd name="connsiteY5" fmla="*/ 457623 h 575429"/>
                <a:gd name="connsiteX6" fmla="*/ 549762 w 604801"/>
                <a:gd name="connsiteY6" fmla="*/ 508111 h 575429"/>
                <a:gd name="connsiteX7" fmla="*/ 566592 w 604801"/>
                <a:gd name="connsiteY7" fmla="*/ 519331 h 575429"/>
                <a:gd name="connsiteX8" fmla="*/ 549762 w 604801"/>
                <a:gd name="connsiteY8" fmla="*/ 530551 h 575429"/>
                <a:gd name="connsiteX9" fmla="*/ 359028 w 604801"/>
                <a:gd name="connsiteY9" fmla="*/ 530551 h 575429"/>
                <a:gd name="connsiteX10" fmla="*/ 319760 w 604801"/>
                <a:gd name="connsiteY10" fmla="*/ 536161 h 575429"/>
                <a:gd name="connsiteX11" fmla="*/ 241222 w 604801"/>
                <a:gd name="connsiteY11" fmla="*/ 541770 h 575429"/>
                <a:gd name="connsiteX12" fmla="*/ 190734 w 604801"/>
                <a:gd name="connsiteY12" fmla="*/ 558600 h 575429"/>
                <a:gd name="connsiteX13" fmla="*/ 157075 w 604801"/>
                <a:gd name="connsiteY13" fmla="*/ 569819 h 575429"/>
                <a:gd name="connsiteX14" fmla="*/ 134636 w 604801"/>
                <a:gd name="connsiteY14" fmla="*/ 575429 h 575429"/>
                <a:gd name="connsiteX15" fmla="*/ 117806 w 604801"/>
                <a:gd name="connsiteY15" fmla="*/ 569819 h 575429"/>
                <a:gd name="connsiteX16" fmla="*/ 95367 w 604801"/>
                <a:gd name="connsiteY16" fmla="*/ 564210 h 575429"/>
                <a:gd name="connsiteX17" fmla="*/ 44879 w 604801"/>
                <a:gd name="connsiteY17" fmla="*/ 547380 h 575429"/>
                <a:gd name="connsiteX18" fmla="*/ 11220 w 604801"/>
                <a:gd name="connsiteY18" fmla="*/ 530551 h 575429"/>
                <a:gd name="connsiteX19" fmla="*/ 5610 w 604801"/>
                <a:gd name="connsiteY19" fmla="*/ 530551 h 575429"/>
                <a:gd name="connsiteX20" fmla="*/ 0 w 604801"/>
                <a:gd name="connsiteY20" fmla="*/ 76156 h 575429"/>
                <a:gd name="connsiteX0" fmla="*/ 0 w 601435"/>
                <a:gd name="connsiteY0" fmla="*/ 76156 h 575429"/>
                <a:gd name="connsiteX1" fmla="*/ 0 w 601435"/>
                <a:gd name="connsiteY1" fmla="*/ 76156 h 575429"/>
                <a:gd name="connsiteX2" fmla="*/ 561143 w 601435"/>
                <a:gd name="connsiteY2" fmla="*/ 0 h 575429"/>
                <a:gd name="connsiteX3" fmla="*/ 555372 w 601435"/>
                <a:gd name="connsiteY3" fmla="*/ 339817 h 575429"/>
                <a:gd name="connsiteX4" fmla="*/ 544152 w 601435"/>
                <a:gd name="connsiteY4" fmla="*/ 457623 h 575429"/>
                <a:gd name="connsiteX5" fmla="*/ 549762 w 601435"/>
                <a:gd name="connsiteY5" fmla="*/ 508111 h 575429"/>
                <a:gd name="connsiteX6" fmla="*/ 566592 w 601435"/>
                <a:gd name="connsiteY6" fmla="*/ 519331 h 575429"/>
                <a:gd name="connsiteX7" fmla="*/ 549762 w 601435"/>
                <a:gd name="connsiteY7" fmla="*/ 530551 h 575429"/>
                <a:gd name="connsiteX8" fmla="*/ 359028 w 601435"/>
                <a:gd name="connsiteY8" fmla="*/ 530551 h 575429"/>
                <a:gd name="connsiteX9" fmla="*/ 319760 w 601435"/>
                <a:gd name="connsiteY9" fmla="*/ 536161 h 575429"/>
                <a:gd name="connsiteX10" fmla="*/ 241222 w 601435"/>
                <a:gd name="connsiteY10" fmla="*/ 541770 h 575429"/>
                <a:gd name="connsiteX11" fmla="*/ 190734 w 601435"/>
                <a:gd name="connsiteY11" fmla="*/ 558600 h 575429"/>
                <a:gd name="connsiteX12" fmla="*/ 157075 w 601435"/>
                <a:gd name="connsiteY12" fmla="*/ 569819 h 575429"/>
                <a:gd name="connsiteX13" fmla="*/ 134636 w 601435"/>
                <a:gd name="connsiteY13" fmla="*/ 575429 h 575429"/>
                <a:gd name="connsiteX14" fmla="*/ 117806 w 601435"/>
                <a:gd name="connsiteY14" fmla="*/ 569819 h 575429"/>
                <a:gd name="connsiteX15" fmla="*/ 95367 w 601435"/>
                <a:gd name="connsiteY15" fmla="*/ 564210 h 575429"/>
                <a:gd name="connsiteX16" fmla="*/ 44879 w 601435"/>
                <a:gd name="connsiteY16" fmla="*/ 547380 h 575429"/>
                <a:gd name="connsiteX17" fmla="*/ 11220 w 601435"/>
                <a:gd name="connsiteY17" fmla="*/ 530551 h 575429"/>
                <a:gd name="connsiteX18" fmla="*/ 5610 w 601435"/>
                <a:gd name="connsiteY18" fmla="*/ 530551 h 575429"/>
                <a:gd name="connsiteX19" fmla="*/ 0 w 601435"/>
                <a:gd name="connsiteY19" fmla="*/ 76156 h 575429"/>
                <a:gd name="connsiteX0" fmla="*/ 0 w 597826"/>
                <a:gd name="connsiteY0" fmla="*/ 76156 h 575429"/>
                <a:gd name="connsiteX1" fmla="*/ 0 w 597826"/>
                <a:gd name="connsiteY1" fmla="*/ 76156 h 575429"/>
                <a:gd name="connsiteX2" fmla="*/ 561143 w 597826"/>
                <a:gd name="connsiteY2" fmla="*/ 0 h 575429"/>
                <a:gd name="connsiteX3" fmla="*/ 544152 w 597826"/>
                <a:gd name="connsiteY3" fmla="*/ 457623 h 575429"/>
                <a:gd name="connsiteX4" fmla="*/ 549762 w 597826"/>
                <a:gd name="connsiteY4" fmla="*/ 508111 h 575429"/>
                <a:gd name="connsiteX5" fmla="*/ 566592 w 597826"/>
                <a:gd name="connsiteY5" fmla="*/ 519331 h 575429"/>
                <a:gd name="connsiteX6" fmla="*/ 549762 w 597826"/>
                <a:gd name="connsiteY6" fmla="*/ 530551 h 575429"/>
                <a:gd name="connsiteX7" fmla="*/ 359028 w 597826"/>
                <a:gd name="connsiteY7" fmla="*/ 530551 h 575429"/>
                <a:gd name="connsiteX8" fmla="*/ 319760 w 597826"/>
                <a:gd name="connsiteY8" fmla="*/ 536161 h 575429"/>
                <a:gd name="connsiteX9" fmla="*/ 241222 w 597826"/>
                <a:gd name="connsiteY9" fmla="*/ 541770 h 575429"/>
                <a:gd name="connsiteX10" fmla="*/ 190734 w 597826"/>
                <a:gd name="connsiteY10" fmla="*/ 558600 h 575429"/>
                <a:gd name="connsiteX11" fmla="*/ 157075 w 597826"/>
                <a:gd name="connsiteY11" fmla="*/ 569819 h 575429"/>
                <a:gd name="connsiteX12" fmla="*/ 134636 w 597826"/>
                <a:gd name="connsiteY12" fmla="*/ 575429 h 575429"/>
                <a:gd name="connsiteX13" fmla="*/ 117806 w 597826"/>
                <a:gd name="connsiteY13" fmla="*/ 569819 h 575429"/>
                <a:gd name="connsiteX14" fmla="*/ 95367 w 597826"/>
                <a:gd name="connsiteY14" fmla="*/ 564210 h 575429"/>
                <a:gd name="connsiteX15" fmla="*/ 44879 w 597826"/>
                <a:gd name="connsiteY15" fmla="*/ 547380 h 575429"/>
                <a:gd name="connsiteX16" fmla="*/ 11220 w 597826"/>
                <a:gd name="connsiteY16" fmla="*/ 530551 h 575429"/>
                <a:gd name="connsiteX17" fmla="*/ 5610 w 597826"/>
                <a:gd name="connsiteY17" fmla="*/ 530551 h 575429"/>
                <a:gd name="connsiteX18" fmla="*/ 0 w 597826"/>
                <a:gd name="connsiteY18" fmla="*/ 76156 h 575429"/>
                <a:gd name="connsiteX0" fmla="*/ 0 w 598933"/>
                <a:gd name="connsiteY0" fmla="*/ 76156 h 575429"/>
                <a:gd name="connsiteX1" fmla="*/ 0 w 598933"/>
                <a:gd name="connsiteY1" fmla="*/ 76156 h 575429"/>
                <a:gd name="connsiteX2" fmla="*/ 561143 w 598933"/>
                <a:gd name="connsiteY2" fmla="*/ 0 h 575429"/>
                <a:gd name="connsiteX3" fmla="*/ 549762 w 598933"/>
                <a:gd name="connsiteY3" fmla="*/ 508111 h 575429"/>
                <a:gd name="connsiteX4" fmla="*/ 566592 w 598933"/>
                <a:gd name="connsiteY4" fmla="*/ 519331 h 575429"/>
                <a:gd name="connsiteX5" fmla="*/ 549762 w 598933"/>
                <a:gd name="connsiteY5" fmla="*/ 530551 h 575429"/>
                <a:gd name="connsiteX6" fmla="*/ 359028 w 598933"/>
                <a:gd name="connsiteY6" fmla="*/ 530551 h 575429"/>
                <a:gd name="connsiteX7" fmla="*/ 319760 w 598933"/>
                <a:gd name="connsiteY7" fmla="*/ 536161 h 575429"/>
                <a:gd name="connsiteX8" fmla="*/ 241222 w 598933"/>
                <a:gd name="connsiteY8" fmla="*/ 541770 h 575429"/>
                <a:gd name="connsiteX9" fmla="*/ 190734 w 598933"/>
                <a:gd name="connsiteY9" fmla="*/ 558600 h 575429"/>
                <a:gd name="connsiteX10" fmla="*/ 157075 w 598933"/>
                <a:gd name="connsiteY10" fmla="*/ 569819 h 575429"/>
                <a:gd name="connsiteX11" fmla="*/ 134636 w 598933"/>
                <a:gd name="connsiteY11" fmla="*/ 575429 h 575429"/>
                <a:gd name="connsiteX12" fmla="*/ 117806 w 598933"/>
                <a:gd name="connsiteY12" fmla="*/ 569819 h 575429"/>
                <a:gd name="connsiteX13" fmla="*/ 95367 w 598933"/>
                <a:gd name="connsiteY13" fmla="*/ 564210 h 575429"/>
                <a:gd name="connsiteX14" fmla="*/ 44879 w 598933"/>
                <a:gd name="connsiteY14" fmla="*/ 547380 h 575429"/>
                <a:gd name="connsiteX15" fmla="*/ 11220 w 598933"/>
                <a:gd name="connsiteY15" fmla="*/ 530551 h 575429"/>
                <a:gd name="connsiteX16" fmla="*/ 5610 w 598933"/>
                <a:gd name="connsiteY16" fmla="*/ 530551 h 575429"/>
                <a:gd name="connsiteX17" fmla="*/ 0 w 598933"/>
                <a:gd name="connsiteY17" fmla="*/ 76156 h 575429"/>
                <a:gd name="connsiteX0" fmla="*/ 0 w 605023"/>
                <a:gd name="connsiteY0" fmla="*/ 76156 h 575429"/>
                <a:gd name="connsiteX1" fmla="*/ 0 w 605023"/>
                <a:gd name="connsiteY1" fmla="*/ 76156 h 575429"/>
                <a:gd name="connsiteX2" fmla="*/ 561143 w 605023"/>
                <a:gd name="connsiteY2" fmla="*/ 0 h 575429"/>
                <a:gd name="connsiteX3" fmla="*/ 566592 w 605023"/>
                <a:gd name="connsiteY3" fmla="*/ 519331 h 575429"/>
                <a:gd name="connsiteX4" fmla="*/ 549762 w 605023"/>
                <a:gd name="connsiteY4" fmla="*/ 530551 h 575429"/>
                <a:gd name="connsiteX5" fmla="*/ 359028 w 605023"/>
                <a:gd name="connsiteY5" fmla="*/ 530551 h 575429"/>
                <a:gd name="connsiteX6" fmla="*/ 319760 w 605023"/>
                <a:gd name="connsiteY6" fmla="*/ 536161 h 575429"/>
                <a:gd name="connsiteX7" fmla="*/ 241222 w 605023"/>
                <a:gd name="connsiteY7" fmla="*/ 541770 h 575429"/>
                <a:gd name="connsiteX8" fmla="*/ 190734 w 605023"/>
                <a:gd name="connsiteY8" fmla="*/ 558600 h 575429"/>
                <a:gd name="connsiteX9" fmla="*/ 157075 w 605023"/>
                <a:gd name="connsiteY9" fmla="*/ 569819 h 575429"/>
                <a:gd name="connsiteX10" fmla="*/ 134636 w 605023"/>
                <a:gd name="connsiteY10" fmla="*/ 575429 h 575429"/>
                <a:gd name="connsiteX11" fmla="*/ 117806 w 605023"/>
                <a:gd name="connsiteY11" fmla="*/ 569819 h 575429"/>
                <a:gd name="connsiteX12" fmla="*/ 95367 w 605023"/>
                <a:gd name="connsiteY12" fmla="*/ 564210 h 575429"/>
                <a:gd name="connsiteX13" fmla="*/ 44879 w 605023"/>
                <a:gd name="connsiteY13" fmla="*/ 547380 h 575429"/>
                <a:gd name="connsiteX14" fmla="*/ 11220 w 605023"/>
                <a:gd name="connsiteY14" fmla="*/ 530551 h 575429"/>
                <a:gd name="connsiteX15" fmla="*/ 5610 w 605023"/>
                <a:gd name="connsiteY15" fmla="*/ 530551 h 575429"/>
                <a:gd name="connsiteX16" fmla="*/ 0 w 605023"/>
                <a:gd name="connsiteY16" fmla="*/ 76156 h 575429"/>
                <a:gd name="connsiteX0" fmla="*/ 0 w 605023"/>
                <a:gd name="connsiteY0" fmla="*/ 76156 h 575429"/>
                <a:gd name="connsiteX1" fmla="*/ 0 w 605023"/>
                <a:gd name="connsiteY1" fmla="*/ 76156 h 575429"/>
                <a:gd name="connsiteX2" fmla="*/ 561143 w 605023"/>
                <a:gd name="connsiteY2" fmla="*/ 0 h 575429"/>
                <a:gd name="connsiteX3" fmla="*/ 566592 w 605023"/>
                <a:gd name="connsiteY3" fmla="*/ 519331 h 575429"/>
                <a:gd name="connsiteX4" fmla="*/ 359028 w 605023"/>
                <a:gd name="connsiteY4" fmla="*/ 530551 h 575429"/>
                <a:gd name="connsiteX5" fmla="*/ 319760 w 605023"/>
                <a:gd name="connsiteY5" fmla="*/ 536161 h 575429"/>
                <a:gd name="connsiteX6" fmla="*/ 241222 w 605023"/>
                <a:gd name="connsiteY6" fmla="*/ 541770 h 575429"/>
                <a:gd name="connsiteX7" fmla="*/ 190734 w 605023"/>
                <a:gd name="connsiteY7" fmla="*/ 558600 h 575429"/>
                <a:gd name="connsiteX8" fmla="*/ 157075 w 605023"/>
                <a:gd name="connsiteY8" fmla="*/ 569819 h 575429"/>
                <a:gd name="connsiteX9" fmla="*/ 134636 w 605023"/>
                <a:gd name="connsiteY9" fmla="*/ 575429 h 575429"/>
                <a:gd name="connsiteX10" fmla="*/ 117806 w 605023"/>
                <a:gd name="connsiteY10" fmla="*/ 569819 h 575429"/>
                <a:gd name="connsiteX11" fmla="*/ 95367 w 605023"/>
                <a:gd name="connsiteY11" fmla="*/ 564210 h 575429"/>
                <a:gd name="connsiteX12" fmla="*/ 44879 w 605023"/>
                <a:gd name="connsiteY12" fmla="*/ 547380 h 575429"/>
                <a:gd name="connsiteX13" fmla="*/ 11220 w 605023"/>
                <a:gd name="connsiteY13" fmla="*/ 530551 h 575429"/>
                <a:gd name="connsiteX14" fmla="*/ 5610 w 605023"/>
                <a:gd name="connsiteY14" fmla="*/ 530551 h 575429"/>
                <a:gd name="connsiteX15" fmla="*/ 0 w 605023"/>
                <a:gd name="connsiteY15" fmla="*/ 76156 h 575429"/>
                <a:gd name="connsiteX0" fmla="*/ 0 w 605023"/>
                <a:gd name="connsiteY0" fmla="*/ 76156 h 575429"/>
                <a:gd name="connsiteX1" fmla="*/ 0 w 605023"/>
                <a:gd name="connsiteY1" fmla="*/ 76156 h 575429"/>
                <a:gd name="connsiteX2" fmla="*/ 561143 w 605023"/>
                <a:gd name="connsiteY2" fmla="*/ 0 h 575429"/>
                <a:gd name="connsiteX3" fmla="*/ 566592 w 605023"/>
                <a:gd name="connsiteY3" fmla="*/ 519331 h 575429"/>
                <a:gd name="connsiteX4" fmla="*/ 319760 w 605023"/>
                <a:gd name="connsiteY4" fmla="*/ 536161 h 575429"/>
                <a:gd name="connsiteX5" fmla="*/ 241222 w 605023"/>
                <a:gd name="connsiteY5" fmla="*/ 541770 h 575429"/>
                <a:gd name="connsiteX6" fmla="*/ 190734 w 605023"/>
                <a:gd name="connsiteY6" fmla="*/ 558600 h 575429"/>
                <a:gd name="connsiteX7" fmla="*/ 157075 w 605023"/>
                <a:gd name="connsiteY7" fmla="*/ 569819 h 575429"/>
                <a:gd name="connsiteX8" fmla="*/ 134636 w 605023"/>
                <a:gd name="connsiteY8" fmla="*/ 575429 h 575429"/>
                <a:gd name="connsiteX9" fmla="*/ 117806 w 605023"/>
                <a:gd name="connsiteY9" fmla="*/ 569819 h 575429"/>
                <a:gd name="connsiteX10" fmla="*/ 95367 w 605023"/>
                <a:gd name="connsiteY10" fmla="*/ 564210 h 575429"/>
                <a:gd name="connsiteX11" fmla="*/ 44879 w 605023"/>
                <a:gd name="connsiteY11" fmla="*/ 547380 h 575429"/>
                <a:gd name="connsiteX12" fmla="*/ 11220 w 605023"/>
                <a:gd name="connsiteY12" fmla="*/ 530551 h 575429"/>
                <a:gd name="connsiteX13" fmla="*/ 5610 w 605023"/>
                <a:gd name="connsiteY13" fmla="*/ 530551 h 575429"/>
                <a:gd name="connsiteX14" fmla="*/ 0 w 605023"/>
                <a:gd name="connsiteY14" fmla="*/ 76156 h 575429"/>
                <a:gd name="connsiteX0" fmla="*/ 0 w 605023"/>
                <a:gd name="connsiteY0" fmla="*/ 76156 h 575429"/>
                <a:gd name="connsiteX1" fmla="*/ 0 w 605023"/>
                <a:gd name="connsiteY1" fmla="*/ 76156 h 575429"/>
                <a:gd name="connsiteX2" fmla="*/ 561143 w 605023"/>
                <a:gd name="connsiteY2" fmla="*/ 0 h 575429"/>
                <a:gd name="connsiteX3" fmla="*/ 566592 w 605023"/>
                <a:gd name="connsiteY3" fmla="*/ 519331 h 575429"/>
                <a:gd name="connsiteX4" fmla="*/ 241222 w 605023"/>
                <a:gd name="connsiteY4" fmla="*/ 541770 h 575429"/>
                <a:gd name="connsiteX5" fmla="*/ 190734 w 605023"/>
                <a:gd name="connsiteY5" fmla="*/ 558600 h 575429"/>
                <a:gd name="connsiteX6" fmla="*/ 157075 w 605023"/>
                <a:gd name="connsiteY6" fmla="*/ 569819 h 575429"/>
                <a:gd name="connsiteX7" fmla="*/ 134636 w 605023"/>
                <a:gd name="connsiteY7" fmla="*/ 575429 h 575429"/>
                <a:gd name="connsiteX8" fmla="*/ 117806 w 605023"/>
                <a:gd name="connsiteY8" fmla="*/ 569819 h 575429"/>
                <a:gd name="connsiteX9" fmla="*/ 95367 w 605023"/>
                <a:gd name="connsiteY9" fmla="*/ 564210 h 575429"/>
                <a:gd name="connsiteX10" fmla="*/ 44879 w 605023"/>
                <a:gd name="connsiteY10" fmla="*/ 547380 h 575429"/>
                <a:gd name="connsiteX11" fmla="*/ 11220 w 605023"/>
                <a:gd name="connsiteY11" fmla="*/ 530551 h 575429"/>
                <a:gd name="connsiteX12" fmla="*/ 5610 w 605023"/>
                <a:gd name="connsiteY12" fmla="*/ 530551 h 575429"/>
                <a:gd name="connsiteX13" fmla="*/ 0 w 605023"/>
                <a:gd name="connsiteY13" fmla="*/ 76156 h 575429"/>
                <a:gd name="connsiteX0" fmla="*/ 0 w 605023"/>
                <a:gd name="connsiteY0" fmla="*/ 76156 h 575429"/>
                <a:gd name="connsiteX1" fmla="*/ 0 w 605023"/>
                <a:gd name="connsiteY1" fmla="*/ 76156 h 575429"/>
                <a:gd name="connsiteX2" fmla="*/ 561143 w 605023"/>
                <a:gd name="connsiteY2" fmla="*/ 0 h 575429"/>
                <a:gd name="connsiteX3" fmla="*/ 566592 w 605023"/>
                <a:gd name="connsiteY3" fmla="*/ 519331 h 575429"/>
                <a:gd name="connsiteX4" fmla="*/ 190734 w 605023"/>
                <a:gd name="connsiteY4" fmla="*/ 558600 h 575429"/>
                <a:gd name="connsiteX5" fmla="*/ 157075 w 605023"/>
                <a:gd name="connsiteY5" fmla="*/ 569819 h 575429"/>
                <a:gd name="connsiteX6" fmla="*/ 134636 w 605023"/>
                <a:gd name="connsiteY6" fmla="*/ 575429 h 575429"/>
                <a:gd name="connsiteX7" fmla="*/ 117806 w 605023"/>
                <a:gd name="connsiteY7" fmla="*/ 569819 h 575429"/>
                <a:gd name="connsiteX8" fmla="*/ 95367 w 605023"/>
                <a:gd name="connsiteY8" fmla="*/ 564210 h 575429"/>
                <a:gd name="connsiteX9" fmla="*/ 44879 w 605023"/>
                <a:gd name="connsiteY9" fmla="*/ 547380 h 575429"/>
                <a:gd name="connsiteX10" fmla="*/ 11220 w 605023"/>
                <a:gd name="connsiteY10" fmla="*/ 530551 h 575429"/>
                <a:gd name="connsiteX11" fmla="*/ 5610 w 605023"/>
                <a:gd name="connsiteY11" fmla="*/ 530551 h 575429"/>
                <a:gd name="connsiteX12" fmla="*/ 0 w 605023"/>
                <a:gd name="connsiteY12" fmla="*/ 76156 h 575429"/>
                <a:gd name="connsiteX0" fmla="*/ 0 w 605023"/>
                <a:gd name="connsiteY0" fmla="*/ 76156 h 576694"/>
                <a:gd name="connsiteX1" fmla="*/ 0 w 605023"/>
                <a:gd name="connsiteY1" fmla="*/ 76156 h 576694"/>
                <a:gd name="connsiteX2" fmla="*/ 561143 w 605023"/>
                <a:gd name="connsiteY2" fmla="*/ 0 h 576694"/>
                <a:gd name="connsiteX3" fmla="*/ 566592 w 605023"/>
                <a:gd name="connsiteY3" fmla="*/ 519331 h 576694"/>
                <a:gd name="connsiteX4" fmla="*/ 157075 w 605023"/>
                <a:gd name="connsiteY4" fmla="*/ 569819 h 576694"/>
                <a:gd name="connsiteX5" fmla="*/ 134636 w 605023"/>
                <a:gd name="connsiteY5" fmla="*/ 575429 h 576694"/>
                <a:gd name="connsiteX6" fmla="*/ 117806 w 605023"/>
                <a:gd name="connsiteY6" fmla="*/ 569819 h 576694"/>
                <a:gd name="connsiteX7" fmla="*/ 95367 w 605023"/>
                <a:gd name="connsiteY7" fmla="*/ 564210 h 576694"/>
                <a:gd name="connsiteX8" fmla="*/ 44879 w 605023"/>
                <a:gd name="connsiteY8" fmla="*/ 547380 h 576694"/>
                <a:gd name="connsiteX9" fmla="*/ 11220 w 605023"/>
                <a:gd name="connsiteY9" fmla="*/ 530551 h 576694"/>
                <a:gd name="connsiteX10" fmla="*/ 5610 w 605023"/>
                <a:gd name="connsiteY10" fmla="*/ 530551 h 576694"/>
                <a:gd name="connsiteX11" fmla="*/ 0 w 605023"/>
                <a:gd name="connsiteY11" fmla="*/ 76156 h 576694"/>
                <a:gd name="connsiteX0" fmla="*/ 0 w 605023"/>
                <a:gd name="connsiteY0" fmla="*/ 76156 h 580257"/>
                <a:gd name="connsiteX1" fmla="*/ 0 w 605023"/>
                <a:gd name="connsiteY1" fmla="*/ 76156 h 580257"/>
                <a:gd name="connsiteX2" fmla="*/ 561143 w 605023"/>
                <a:gd name="connsiteY2" fmla="*/ 0 h 580257"/>
                <a:gd name="connsiteX3" fmla="*/ 566592 w 605023"/>
                <a:gd name="connsiteY3" fmla="*/ 519331 h 580257"/>
                <a:gd name="connsiteX4" fmla="*/ 134636 w 605023"/>
                <a:gd name="connsiteY4" fmla="*/ 575429 h 580257"/>
                <a:gd name="connsiteX5" fmla="*/ 117806 w 605023"/>
                <a:gd name="connsiteY5" fmla="*/ 569819 h 580257"/>
                <a:gd name="connsiteX6" fmla="*/ 95367 w 605023"/>
                <a:gd name="connsiteY6" fmla="*/ 564210 h 580257"/>
                <a:gd name="connsiteX7" fmla="*/ 44879 w 605023"/>
                <a:gd name="connsiteY7" fmla="*/ 547380 h 580257"/>
                <a:gd name="connsiteX8" fmla="*/ 11220 w 605023"/>
                <a:gd name="connsiteY8" fmla="*/ 530551 h 580257"/>
                <a:gd name="connsiteX9" fmla="*/ 5610 w 605023"/>
                <a:gd name="connsiteY9" fmla="*/ 530551 h 580257"/>
                <a:gd name="connsiteX10" fmla="*/ 0 w 605023"/>
                <a:gd name="connsiteY10" fmla="*/ 76156 h 580257"/>
                <a:gd name="connsiteX0" fmla="*/ 0 w 605023"/>
                <a:gd name="connsiteY0" fmla="*/ 76156 h 577386"/>
                <a:gd name="connsiteX1" fmla="*/ 0 w 605023"/>
                <a:gd name="connsiteY1" fmla="*/ 76156 h 577386"/>
                <a:gd name="connsiteX2" fmla="*/ 561143 w 605023"/>
                <a:gd name="connsiteY2" fmla="*/ 0 h 577386"/>
                <a:gd name="connsiteX3" fmla="*/ 566592 w 605023"/>
                <a:gd name="connsiteY3" fmla="*/ 519331 h 577386"/>
                <a:gd name="connsiteX4" fmla="*/ 117806 w 605023"/>
                <a:gd name="connsiteY4" fmla="*/ 569819 h 577386"/>
                <a:gd name="connsiteX5" fmla="*/ 95367 w 605023"/>
                <a:gd name="connsiteY5" fmla="*/ 564210 h 577386"/>
                <a:gd name="connsiteX6" fmla="*/ 44879 w 605023"/>
                <a:gd name="connsiteY6" fmla="*/ 547380 h 577386"/>
                <a:gd name="connsiteX7" fmla="*/ 11220 w 605023"/>
                <a:gd name="connsiteY7" fmla="*/ 530551 h 577386"/>
                <a:gd name="connsiteX8" fmla="*/ 5610 w 605023"/>
                <a:gd name="connsiteY8" fmla="*/ 530551 h 577386"/>
                <a:gd name="connsiteX9" fmla="*/ 0 w 605023"/>
                <a:gd name="connsiteY9" fmla="*/ 76156 h 577386"/>
                <a:gd name="connsiteX0" fmla="*/ 0 w 605023"/>
                <a:gd name="connsiteY0" fmla="*/ 76156 h 575361"/>
                <a:gd name="connsiteX1" fmla="*/ 0 w 605023"/>
                <a:gd name="connsiteY1" fmla="*/ 76156 h 575361"/>
                <a:gd name="connsiteX2" fmla="*/ 561143 w 605023"/>
                <a:gd name="connsiteY2" fmla="*/ 0 h 575361"/>
                <a:gd name="connsiteX3" fmla="*/ 566592 w 605023"/>
                <a:gd name="connsiteY3" fmla="*/ 519331 h 575361"/>
                <a:gd name="connsiteX4" fmla="*/ 95367 w 605023"/>
                <a:gd name="connsiteY4" fmla="*/ 564210 h 575361"/>
                <a:gd name="connsiteX5" fmla="*/ 44879 w 605023"/>
                <a:gd name="connsiteY5" fmla="*/ 547380 h 575361"/>
                <a:gd name="connsiteX6" fmla="*/ 11220 w 605023"/>
                <a:gd name="connsiteY6" fmla="*/ 530551 h 575361"/>
                <a:gd name="connsiteX7" fmla="*/ 5610 w 605023"/>
                <a:gd name="connsiteY7" fmla="*/ 530551 h 575361"/>
                <a:gd name="connsiteX8" fmla="*/ 0 w 605023"/>
                <a:gd name="connsiteY8" fmla="*/ 76156 h 575361"/>
                <a:gd name="connsiteX0" fmla="*/ 0 w 605023"/>
                <a:gd name="connsiteY0" fmla="*/ 76156 h 568118"/>
                <a:gd name="connsiteX1" fmla="*/ 0 w 605023"/>
                <a:gd name="connsiteY1" fmla="*/ 76156 h 568118"/>
                <a:gd name="connsiteX2" fmla="*/ 561143 w 605023"/>
                <a:gd name="connsiteY2" fmla="*/ 0 h 568118"/>
                <a:gd name="connsiteX3" fmla="*/ 566592 w 605023"/>
                <a:gd name="connsiteY3" fmla="*/ 519331 h 568118"/>
                <a:gd name="connsiteX4" fmla="*/ 44879 w 605023"/>
                <a:gd name="connsiteY4" fmla="*/ 547380 h 568118"/>
                <a:gd name="connsiteX5" fmla="*/ 11220 w 605023"/>
                <a:gd name="connsiteY5" fmla="*/ 530551 h 568118"/>
                <a:gd name="connsiteX6" fmla="*/ 5610 w 605023"/>
                <a:gd name="connsiteY6" fmla="*/ 530551 h 568118"/>
                <a:gd name="connsiteX7" fmla="*/ 0 w 605023"/>
                <a:gd name="connsiteY7" fmla="*/ 76156 h 568118"/>
                <a:gd name="connsiteX0" fmla="*/ 0 w 605023"/>
                <a:gd name="connsiteY0" fmla="*/ 76156 h 561297"/>
                <a:gd name="connsiteX1" fmla="*/ 0 w 605023"/>
                <a:gd name="connsiteY1" fmla="*/ 76156 h 561297"/>
                <a:gd name="connsiteX2" fmla="*/ 561143 w 605023"/>
                <a:gd name="connsiteY2" fmla="*/ 0 h 561297"/>
                <a:gd name="connsiteX3" fmla="*/ 566592 w 605023"/>
                <a:gd name="connsiteY3" fmla="*/ 519331 h 561297"/>
                <a:gd name="connsiteX4" fmla="*/ 11220 w 605023"/>
                <a:gd name="connsiteY4" fmla="*/ 530551 h 561297"/>
                <a:gd name="connsiteX5" fmla="*/ 5610 w 605023"/>
                <a:gd name="connsiteY5" fmla="*/ 530551 h 561297"/>
                <a:gd name="connsiteX6" fmla="*/ 0 w 605023"/>
                <a:gd name="connsiteY6" fmla="*/ 76156 h 561297"/>
                <a:gd name="connsiteX0" fmla="*/ 0 w 605023"/>
                <a:gd name="connsiteY0" fmla="*/ 76156 h 585834"/>
                <a:gd name="connsiteX1" fmla="*/ 0 w 605023"/>
                <a:gd name="connsiteY1" fmla="*/ 76156 h 585834"/>
                <a:gd name="connsiteX2" fmla="*/ 561143 w 605023"/>
                <a:gd name="connsiteY2" fmla="*/ 0 h 585834"/>
                <a:gd name="connsiteX3" fmla="*/ 566592 w 605023"/>
                <a:gd name="connsiteY3" fmla="*/ 519331 h 585834"/>
                <a:gd name="connsiteX4" fmla="*/ 5610 w 605023"/>
                <a:gd name="connsiteY4" fmla="*/ 530551 h 585834"/>
                <a:gd name="connsiteX5" fmla="*/ 0 w 605023"/>
                <a:gd name="connsiteY5" fmla="*/ 76156 h 585834"/>
                <a:gd name="connsiteX0" fmla="*/ 1534 w 636032"/>
                <a:gd name="connsiteY0" fmla="*/ 76156 h 584466"/>
                <a:gd name="connsiteX1" fmla="*/ 1534 w 636032"/>
                <a:gd name="connsiteY1" fmla="*/ 76156 h 584466"/>
                <a:gd name="connsiteX2" fmla="*/ 562677 w 636032"/>
                <a:gd name="connsiteY2" fmla="*/ 0 h 584466"/>
                <a:gd name="connsiteX3" fmla="*/ 568126 w 636032"/>
                <a:gd name="connsiteY3" fmla="*/ 519331 h 584466"/>
                <a:gd name="connsiteX4" fmla="*/ 0 w 636032"/>
                <a:gd name="connsiteY4" fmla="*/ 528170 h 584466"/>
                <a:gd name="connsiteX5" fmla="*/ 1534 w 636032"/>
                <a:gd name="connsiteY5" fmla="*/ 76156 h 584466"/>
                <a:gd name="connsiteX0" fmla="*/ 1534 w 636032"/>
                <a:gd name="connsiteY0" fmla="*/ 76156 h 560895"/>
                <a:gd name="connsiteX1" fmla="*/ 1534 w 636032"/>
                <a:gd name="connsiteY1" fmla="*/ 76156 h 560895"/>
                <a:gd name="connsiteX2" fmla="*/ 562677 w 636032"/>
                <a:gd name="connsiteY2" fmla="*/ 0 h 560895"/>
                <a:gd name="connsiteX3" fmla="*/ 568126 w 636032"/>
                <a:gd name="connsiteY3" fmla="*/ 519331 h 560895"/>
                <a:gd name="connsiteX4" fmla="*/ 0 w 636032"/>
                <a:gd name="connsiteY4" fmla="*/ 528170 h 560895"/>
                <a:gd name="connsiteX5" fmla="*/ 1534 w 636032"/>
                <a:gd name="connsiteY5" fmla="*/ 76156 h 560895"/>
                <a:gd name="connsiteX0" fmla="*/ 1534 w 605472"/>
                <a:gd name="connsiteY0" fmla="*/ 76156 h 560895"/>
                <a:gd name="connsiteX1" fmla="*/ 1534 w 605472"/>
                <a:gd name="connsiteY1" fmla="*/ 76156 h 560895"/>
                <a:gd name="connsiteX2" fmla="*/ 562677 w 605472"/>
                <a:gd name="connsiteY2" fmla="*/ 0 h 560895"/>
                <a:gd name="connsiteX3" fmla="*/ 568126 w 605472"/>
                <a:gd name="connsiteY3" fmla="*/ 519331 h 560895"/>
                <a:gd name="connsiteX4" fmla="*/ 0 w 605472"/>
                <a:gd name="connsiteY4" fmla="*/ 528170 h 560895"/>
                <a:gd name="connsiteX5" fmla="*/ 1534 w 605472"/>
                <a:gd name="connsiteY5" fmla="*/ 76156 h 560895"/>
                <a:gd name="connsiteX0" fmla="*/ 1534 w 605472"/>
                <a:gd name="connsiteY0" fmla="*/ 76156 h 528170"/>
                <a:gd name="connsiteX1" fmla="*/ 1534 w 605472"/>
                <a:gd name="connsiteY1" fmla="*/ 76156 h 528170"/>
                <a:gd name="connsiteX2" fmla="*/ 562677 w 605472"/>
                <a:gd name="connsiteY2" fmla="*/ 0 h 528170"/>
                <a:gd name="connsiteX3" fmla="*/ 568126 w 605472"/>
                <a:gd name="connsiteY3" fmla="*/ 519331 h 528170"/>
                <a:gd name="connsiteX4" fmla="*/ 0 w 605472"/>
                <a:gd name="connsiteY4" fmla="*/ 528170 h 528170"/>
                <a:gd name="connsiteX5" fmla="*/ 1534 w 605472"/>
                <a:gd name="connsiteY5" fmla="*/ 76156 h 528170"/>
                <a:gd name="connsiteX0" fmla="*/ 29 w 603967"/>
                <a:gd name="connsiteY0" fmla="*/ 76156 h 540076"/>
                <a:gd name="connsiteX1" fmla="*/ 29 w 603967"/>
                <a:gd name="connsiteY1" fmla="*/ 76156 h 540076"/>
                <a:gd name="connsiteX2" fmla="*/ 561172 w 603967"/>
                <a:gd name="connsiteY2" fmla="*/ 0 h 540076"/>
                <a:gd name="connsiteX3" fmla="*/ 566621 w 603967"/>
                <a:gd name="connsiteY3" fmla="*/ 519331 h 540076"/>
                <a:gd name="connsiteX4" fmla="*/ 5639 w 603967"/>
                <a:gd name="connsiteY4" fmla="*/ 540076 h 540076"/>
                <a:gd name="connsiteX5" fmla="*/ 29 w 603967"/>
                <a:gd name="connsiteY5" fmla="*/ 76156 h 540076"/>
                <a:gd name="connsiteX0" fmla="*/ 29 w 603967"/>
                <a:gd name="connsiteY0" fmla="*/ 76156 h 540076"/>
                <a:gd name="connsiteX1" fmla="*/ 29 w 603967"/>
                <a:gd name="connsiteY1" fmla="*/ 76156 h 540076"/>
                <a:gd name="connsiteX2" fmla="*/ 561172 w 603967"/>
                <a:gd name="connsiteY2" fmla="*/ 0 h 540076"/>
                <a:gd name="connsiteX3" fmla="*/ 566621 w 603967"/>
                <a:gd name="connsiteY3" fmla="*/ 519331 h 540076"/>
                <a:gd name="connsiteX4" fmla="*/ 5639 w 603967"/>
                <a:gd name="connsiteY4" fmla="*/ 540076 h 540076"/>
                <a:gd name="connsiteX5" fmla="*/ 29 w 603967"/>
                <a:gd name="connsiteY5" fmla="*/ 76156 h 540076"/>
                <a:gd name="connsiteX0" fmla="*/ 89 w 604027"/>
                <a:gd name="connsiteY0" fmla="*/ 76156 h 535314"/>
                <a:gd name="connsiteX1" fmla="*/ 89 w 604027"/>
                <a:gd name="connsiteY1" fmla="*/ 76156 h 535314"/>
                <a:gd name="connsiteX2" fmla="*/ 561232 w 604027"/>
                <a:gd name="connsiteY2" fmla="*/ 0 h 535314"/>
                <a:gd name="connsiteX3" fmla="*/ 566681 w 604027"/>
                <a:gd name="connsiteY3" fmla="*/ 519331 h 535314"/>
                <a:gd name="connsiteX4" fmla="*/ 937 w 604027"/>
                <a:gd name="connsiteY4" fmla="*/ 535314 h 535314"/>
                <a:gd name="connsiteX5" fmla="*/ 89 w 604027"/>
                <a:gd name="connsiteY5" fmla="*/ 76156 h 535314"/>
                <a:gd name="connsiteX0" fmla="*/ 89 w 604027"/>
                <a:gd name="connsiteY0" fmla="*/ 76156 h 535314"/>
                <a:gd name="connsiteX1" fmla="*/ 89 w 604027"/>
                <a:gd name="connsiteY1" fmla="*/ 76156 h 535314"/>
                <a:gd name="connsiteX2" fmla="*/ 561232 w 604027"/>
                <a:gd name="connsiteY2" fmla="*/ 0 h 535314"/>
                <a:gd name="connsiteX3" fmla="*/ 566681 w 604027"/>
                <a:gd name="connsiteY3" fmla="*/ 533618 h 535314"/>
                <a:gd name="connsiteX4" fmla="*/ 937 w 604027"/>
                <a:gd name="connsiteY4" fmla="*/ 535314 h 535314"/>
                <a:gd name="connsiteX5" fmla="*/ 89 w 604027"/>
                <a:gd name="connsiteY5" fmla="*/ 76156 h 535314"/>
                <a:gd name="connsiteX0" fmla="*/ 89 w 604027"/>
                <a:gd name="connsiteY0" fmla="*/ 76156 h 535314"/>
                <a:gd name="connsiteX1" fmla="*/ 89 w 604027"/>
                <a:gd name="connsiteY1" fmla="*/ 76156 h 535314"/>
                <a:gd name="connsiteX2" fmla="*/ 561232 w 604027"/>
                <a:gd name="connsiteY2" fmla="*/ 0 h 535314"/>
                <a:gd name="connsiteX3" fmla="*/ 566681 w 604027"/>
                <a:gd name="connsiteY3" fmla="*/ 533618 h 535314"/>
                <a:gd name="connsiteX4" fmla="*/ 937 w 604027"/>
                <a:gd name="connsiteY4" fmla="*/ 535314 h 535314"/>
                <a:gd name="connsiteX5" fmla="*/ 89 w 604027"/>
                <a:gd name="connsiteY5" fmla="*/ 76156 h 535314"/>
                <a:gd name="connsiteX0" fmla="*/ 89 w 566681"/>
                <a:gd name="connsiteY0" fmla="*/ 76156 h 535314"/>
                <a:gd name="connsiteX1" fmla="*/ 89 w 566681"/>
                <a:gd name="connsiteY1" fmla="*/ 76156 h 535314"/>
                <a:gd name="connsiteX2" fmla="*/ 561232 w 566681"/>
                <a:gd name="connsiteY2" fmla="*/ 0 h 535314"/>
                <a:gd name="connsiteX3" fmla="*/ 566681 w 566681"/>
                <a:gd name="connsiteY3" fmla="*/ 533618 h 535314"/>
                <a:gd name="connsiteX4" fmla="*/ 937 w 566681"/>
                <a:gd name="connsiteY4" fmla="*/ 535314 h 535314"/>
                <a:gd name="connsiteX5" fmla="*/ 89 w 566681"/>
                <a:gd name="connsiteY5" fmla="*/ 76156 h 535314"/>
                <a:gd name="connsiteX0" fmla="*/ 89 w 566681"/>
                <a:gd name="connsiteY0" fmla="*/ 76156 h 535314"/>
                <a:gd name="connsiteX1" fmla="*/ 89 w 566681"/>
                <a:gd name="connsiteY1" fmla="*/ 76156 h 535314"/>
                <a:gd name="connsiteX2" fmla="*/ 561232 w 566681"/>
                <a:gd name="connsiteY2" fmla="*/ 0 h 535314"/>
                <a:gd name="connsiteX3" fmla="*/ 566681 w 566681"/>
                <a:gd name="connsiteY3" fmla="*/ 533618 h 535314"/>
                <a:gd name="connsiteX4" fmla="*/ 937 w 566681"/>
                <a:gd name="connsiteY4" fmla="*/ 535314 h 535314"/>
                <a:gd name="connsiteX5" fmla="*/ 89 w 566681"/>
                <a:gd name="connsiteY5" fmla="*/ 76156 h 535314"/>
                <a:gd name="connsiteX0" fmla="*/ 89 w 566681"/>
                <a:gd name="connsiteY0" fmla="*/ 76156 h 535314"/>
                <a:gd name="connsiteX1" fmla="*/ 89 w 566681"/>
                <a:gd name="connsiteY1" fmla="*/ 76156 h 535314"/>
                <a:gd name="connsiteX2" fmla="*/ 561232 w 566681"/>
                <a:gd name="connsiteY2" fmla="*/ 0 h 535314"/>
                <a:gd name="connsiteX3" fmla="*/ 566681 w 566681"/>
                <a:gd name="connsiteY3" fmla="*/ 533618 h 535314"/>
                <a:gd name="connsiteX4" fmla="*/ 937 w 566681"/>
                <a:gd name="connsiteY4" fmla="*/ 535314 h 535314"/>
                <a:gd name="connsiteX5" fmla="*/ 89 w 566681"/>
                <a:gd name="connsiteY5" fmla="*/ 76156 h 535314"/>
                <a:gd name="connsiteX0" fmla="*/ 89 w 566681"/>
                <a:gd name="connsiteY0" fmla="*/ 76156 h 535314"/>
                <a:gd name="connsiteX1" fmla="*/ 89 w 566681"/>
                <a:gd name="connsiteY1" fmla="*/ 76156 h 535314"/>
                <a:gd name="connsiteX2" fmla="*/ 561232 w 566681"/>
                <a:gd name="connsiteY2" fmla="*/ 0 h 535314"/>
                <a:gd name="connsiteX3" fmla="*/ 566681 w 566681"/>
                <a:gd name="connsiteY3" fmla="*/ 533618 h 535314"/>
                <a:gd name="connsiteX4" fmla="*/ 937 w 566681"/>
                <a:gd name="connsiteY4" fmla="*/ 535314 h 535314"/>
                <a:gd name="connsiteX5" fmla="*/ 89 w 566681"/>
                <a:gd name="connsiteY5" fmla="*/ 76156 h 535314"/>
                <a:gd name="connsiteX0" fmla="*/ 89 w 737508"/>
                <a:gd name="connsiteY0" fmla="*/ 107113 h 566271"/>
                <a:gd name="connsiteX1" fmla="*/ 89 w 737508"/>
                <a:gd name="connsiteY1" fmla="*/ 107113 h 566271"/>
                <a:gd name="connsiteX2" fmla="*/ 737444 w 737508"/>
                <a:gd name="connsiteY2" fmla="*/ 0 h 566271"/>
                <a:gd name="connsiteX3" fmla="*/ 566681 w 737508"/>
                <a:gd name="connsiteY3" fmla="*/ 564575 h 566271"/>
                <a:gd name="connsiteX4" fmla="*/ 937 w 737508"/>
                <a:gd name="connsiteY4" fmla="*/ 566271 h 566271"/>
                <a:gd name="connsiteX5" fmla="*/ 89 w 737508"/>
                <a:gd name="connsiteY5" fmla="*/ 107113 h 566271"/>
                <a:gd name="connsiteX0" fmla="*/ 89 w 742893"/>
                <a:gd name="connsiteY0" fmla="*/ 107113 h 640775"/>
                <a:gd name="connsiteX1" fmla="*/ 89 w 742893"/>
                <a:gd name="connsiteY1" fmla="*/ 107113 h 640775"/>
                <a:gd name="connsiteX2" fmla="*/ 737444 w 742893"/>
                <a:gd name="connsiteY2" fmla="*/ 0 h 640775"/>
                <a:gd name="connsiteX3" fmla="*/ 742893 w 742893"/>
                <a:gd name="connsiteY3" fmla="*/ 640775 h 640775"/>
                <a:gd name="connsiteX4" fmla="*/ 937 w 742893"/>
                <a:gd name="connsiteY4" fmla="*/ 566271 h 640775"/>
                <a:gd name="connsiteX5" fmla="*/ 89 w 742893"/>
                <a:gd name="connsiteY5" fmla="*/ 107113 h 640775"/>
                <a:gd name="connsiteX0" fmla="*/ 1533 w 744337"/>
                <a:gd name="connsiteY0" fmla="*/ 107113 h 647233"/>
                <a:gd name="connsiteX1" fmla="*/ 1533 w 744337"/>
                <a:gd name="connsiteY1" fmla="*/ 107113 h 647233"/>
                <a:gd name="connsiteX2" fmla="*/ 738888 w 744337"/>
                <a:gd name="connsiteY2" fmla="*/ 0 h 647233"/>
                <a:gd name="connsiteX3" fmla="*/ 744337 w 744337"/>
                <a:gd name="connsiteY3" fmla="*/ 640775 h 647233"/>
                <a:gd name="connsiteX4" fmla="*/ 0 w 744337"/>
                <a:gd name="connsiteY4" fmla="*/ 647233 h 647233"/>
                <a:gd name="connsiteX5" fmla="*/ 1533 w 744337"/>
                <a:gd name="connsiteY5" fmla="*/ 107113 h 647233"/>
                <a:gd name="connsiteX0" fmla="*/ 90 w 742894"/>
                <a:gd name="connsiteY0" fmla="*/ 107113 h 647233"/>
                <a:gd name="connsiteX1" fmla="*/ 90 w 742894"/>
                <a:gd name="connsiteY1" fmla="*/ 107113 h 647233"/>
                <a:gd name="connsiteX2" fmla="*/ 737445 w 742894"/>
                <a:gd name="connsiteY2" fmla="*/ 0 h 647233"/>
                <a:gd name="connsiteX3" fmla="*/ 742894 w 742894"/>
                <a:gd name="connsiteY3" fmla="*/ 640775 h 647233"/>
                <a:gd name="connsiteX4" fmla="*/ 938 w 742894"/>
                <a:gd name="connsiteY4" fmla="*/ 647233 h 647233"/>
                <a:gd name="connsiteX5" fmla="*/ 90 w 742894"/>
                <a:gd name="connsiteY5" fmla="*/ 107113 h 647233"/>
                <a:gd name="connsiteX0" fmla="*/ 90 w 738522"/>
                <a:gd name="connsiteY0" fmla="*/ 107113 h 647233"/>
                <a:gd name="connsiteX1" fmla="*/ 90 w 738522"/>
                <a:gd name="connsiteY1" fmla="*/ 107113 h 647233"/>
                <a:gd name="connsiteX2" fmla="*/ 737445 w 738522"/>
                <a:gd name="connsiteY2" fmla="*/ 0 h 647233"/>
                <a:gd name="connsiteX3" fmla="*/ 735750 w 738522"/>
                <a:gd name="connsiteY3" fmla="*/ 643156 h 647233"/>
                <a:gd name="connsiteX4" fmla="*/ 938 w 738522"/>
                <a:gd name="connsiteY4" fmla="*/ 647233 h 647233"/>
                <a:gd name="connsiteX5" fmla="*/ 90 w 738522"/>
                <a:gd name="connsiteY5" fmla="*/ 107113 h 647233"/>
                <a:gd name="connsiteX0" fmla="*/ 90 w 739828"/>
                <a:gd name="connsiteY0" fmla="*/ 107113 h 647233"/>
                <a:gd name="connsiteX1" fmla="*/ 90 w 739828"/>
                <a:gd name="connsiteY1" fmla="*/ 107113 h 647233"/>
                <a:gd name="connsiteX2" fmla="*/ 737445 w 739828"/>
                <a:gd name="connsiteY2" fmla="*/ 0 h 647233"/>
                <a:gd name="connsiteX3" fmla="*/ 735750 w 739828"/>
                <a:gd name="connsiteY3" fmla="*/ 643156 h 647233"/>
                <a:gd name="connsiteX4" fmla="*/ 938 w 739828"/>
                <a:gd name="connsiteY4" fmla="*/ 647233 h 647233"/>
                <a:gd name="connsiteX5" fmla="*/ 90 w 739828"/>
                <a:gd name="connsiteY5" fmla="*/ 107113 h 647233"/>
                <a:gd name="connsiteX0" fmla="*/ 90 w 739212"/>
                <a:gd name="connsiteY0" fmla="*/ 107113 h 647233"/>
                <a:gd name="connsiteX1" fmla="*/ 90 w 739212"/>
                <a:gd name="connsiteY1" fmla="*/ 107113 h 647233"/>
                <a:gd name="connsiteX2" fmla="*/ 737445 w 739212"/>
                <a:gd name="connsiteY2" fmla="*/ 0 h 647233"/>
                <a:gd name="connsiteX3" fmla="*/ 735750 w 739212"/>
                <a:gd name="connsiteY3" fmla="*/ 643156 h 647233"/>
                <a:gd name="connsiteX4" fmla="*/ 938 w 739212"/>
                <a:gd name="connsiteY4" fmla="*/ 647233 h 647233"/>
                <a:gd name="connsiteX5" fmla="*/ 90 w 739212"/>
                <a:gd name="connsiteY5" fmla="*/ 107113 h 647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9212" h="647233">
                  <a:moveTo>
                    <a:pt x="90" y="107113"/>
                  </a:moveTo>
                  <a:lnTo>
                    <a:pt x="90" y="107113"/>
                  </a:lnTo>
                  <a:lnTo>
                    <a:pt x="737445" y="0"/>
                  </a:lnTo>
                  <a:cubicBezTo>
                    <a:pt x="741390" y="64337"/>
                    <a:pt x="737788" y="607328"/>
                    <a:pt x="735750" y="643156"/>
                  </a:cubicBezTo>
                  <a:cubicBezTo>
                    <a:pt x="709094" y="641340"/>
                    <a:pt x="189519" y="646668"/>
                    <a:pt x="938" y="647233"/>
                  </a:cubicBezTo>
                  <a:cubicBezTo>
                    <a:pt x="1449" y="620387"/>
                    <a:pt x="-421" y="257784"/>
                    <a:pt x="90" y="107113"/>
                  </a:cubicBezTo>
                  <a:close/>
                </a:path>
              </a:pathLst>
            </a:cu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grpSp>
      <p:sp>
        <p:nvSpPr>
          <p:cNvPr id="36" name="TextBox 35"/>
          <p:cNvSpPr txBox="1"/>
          <p:nvPr/>
        </p:nvSpPr>
        <p:spPr>
          <a:xfrm>
            <a:off x="4587734" y="3683854"/>
            <a:ext cx="1513762" cy="830997"/>
          </a:xfrm>
          <a:prstGeom prst="rect">
            <a:avLst/>
          </a:prstGeom>
          <a:noFill/>
        </p:spPr>
        <p:txBody>
          <a:bodyPr wrap="square" lIns="0" tIns="0" rIns="0" bIns="0" rtlCol="0">
            <a:spAutoFit/>
          </a:bodyPr>
          <a:lstStyle/>
          <a:p>
            <a:r>
              <a:rPr lang="en-US" sz="2700" dirty="0">
                <a:latin typeface="+mj-lt"/>
              </a:rPr>
              <a:t>Windows</a:t>
            </a:r>
          </a:p>
          <a:p>
            <a:r>
              <a:rPr lang="en-US" sz="2700" dirty="0">
                <a:latin typeface="+mj-lt"/>
              </a:rPr>
              <a:t>Runtime</a:t>
            </a:r>
          </a:p>
        </p:txBody>
      </p:sp>
      <p:sp>
        <p:nvSpPr>
          <p:cNvPr id="37" name="Rectangle 36"/>
          <p:cNvSpPr/>
          <p:nvPr/>
        </p:nvSpPr>
        <p:spPr bwMode="auto">
          <a:xfrm>
            <a:off x="3203640" y="4126281"/>
            <a:ext cx="514484" cy="514350"/>
          </a:xfrm>
          <a:prstGeom prst="rect">
            <a:avLst/>
          </a:prstGeom>
          <a:solidFill>
            <a:schemeClr val="accent2">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4100" b="1" dirty="0">
                <a:solidFill>
                  <a:srgbClr val="FFFFFF">
                    <a:alpha val="98824"/>
                  </a:srgbClr>
                </a:solidFill>
                <a:latin typeface="Segoe UI Semibold" pitchFamily="34" charset="0"/>
                <a:ea typeface="Segoe UI" pitchFamily="34" charset="0"/>
                <a:cs typeface="Segoe UI Semibold" pitchFamily="34" charset="0"/>
              </a:rPr>
              <a:t>1</a:t>
            </a:r>
          </a:p>
        </p:txBody>
      </p:sp>
      <p:sp>
        <p:nvSpPr>
          <p:cNvPr id="38" name="Rectangle 37"/>
          <p:cNvSpPr/>
          <p:nvPr/>
        </p:nvSpPr>
        <p:spPr bwMode="auto">
          <a:xfrm>
            <a:off x="7944728" y="2523344"/>
            <a:ext cx="514484" cy="514350"/>
          </a:xfrm>
          <a:prstGeom prst="rect">
            <a:avLst/>
          </a:prstGeom>
          <a:solidFill>
            <a:schemeClr val="accent4">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4100" b="1" dirty="0">
                <a:solidFill>
                  <a:srgbClr val="FFFFFF">
                    <a:alpha val="98824"/>
                  </a:srgbClr>
                </a:solidFill>
                <a:latin typeface="Segoe UI Semibold" pitchFamily="34" charset="0"/>
                <a:ea typeface="Segoe UI" pitchFamily="34" charset="0"/>
                <a:cs typeface="Segoe UI Semibold" pitchFamily="34" charset="0"/>
              </a:rPr>
              <a:t>2</a:t>
            </a:r>
          </a:p>
        </p:txBody>
      </p:sp>
      <p:sp>
        <p:nvSpPr>
          <p:cNvPr id="39" name="Rectangle 38"/>
          <p:cNvSpPr/>
          <p:nvPr/>
        </p:nvSpPr>
        <p:spPr bwMode="auto">
          <a:xfrm>
            <a:off x="7944728" y="4108687"/>
            <a:ext cx="514484" cy="514350"/>
          </a:xfrm>
          <a:prstGeom prst="rect">
            <a:avLst/>
          </a:prstGeom>
          <a:solidFill>
            <a:schemeClr val="accent6">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4100" b="1" dirty="0">
                <a:solidFill>
                  <a:srgbClr val="FFFFFF">
                    <a:alpha val="98824"/>
                  </a:srgbClr>
                </a:solidFill>
                <a:latin typeface="Segoe UI Semibold" pitchFamily="34" charset="0"/>
                <a:ea typeface="Segoe UI" pitchFamily="34" charset="0"/>
                <a:cs typeface="Segoe UI Semibold" pitchFamily="34" charset="0"/>
              </a:rPr>
              <a:t>3</a:t>
            </a:r>
          </a:p>
        </p:txBody>
      </p:sp>
      <p:sp>
        <p:nvSpPr>
          <p:cNvPr id="31"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5"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
              </a:rPr>
              <a:t>www.rapidbbs.cn</a:t>
            </a:r>
            <a:endParaRPr lang="zh-CN" altLang="en-US" sz="1200" b="0">
              <a:latin typeface="Arial" charset="0"/>
              <a:ea typeface="ＭＳ Ｐゴシック" pitchFamily="34" charset="-128"/>
            </a:endParaRPr>
          </a:p>
        </p:txBody>
      </p:sp>
      <p:pic>
        <p:nvPicPr>
          <p:cNvPr id="40" name="Picture 2">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67837992"/>
      </p:ext>
    </p:extLst>
  </p:cSld>
  <p:clrMapOvr>
    <a:masterClrMapping/>
  </p:clrMapOvr>
  <p:transition>
    <p:fade/>
  </p:transition>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ckages</a:t>
            </a:r>
            <a:endParaRPr lang="en-US" dirty="0"/>
          </a:p>
        </p:txBody>
      </p:sp>
      <p:sp>
        <p:nvSpPr>
          <p:cNvPr id="3" name="Rectangle 2"/>
          <p:cNvSpPr/>
          <p:nvPr/>
        </p:nvSpPr>
        <p:spPr bwMode="auto">
          <a:xfrm>
            <a:off x="505062" y="926968"/>
            <a:ext cx="3309281" cy="379827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defTabSz="685637" fontAlgn="base">
              <a:spcBef>
                <a:spcPct val="0"/>
              </a:spcBef>
              <a:spcAft>
                <a:spcPct val="0"/>
              </a:spcAft>
            </a:pPr>
            <a:endParaRPr lang="en-US" sz="1700" dirty="0">
              <a:gradFill>
                <a:gsLst>
                  <a:gs pos="0">
                    <a:schemeClr val="tx1"/>
                  </a:gs>
                  <a:gs pos="100000">
                    <a:schemeClr val="tx1"/>
                  </a:gs>
                </a:gsLst>
                <a:lin ang="5400000" scaled="0"/>
              </a:gradFill>
              <a:latin typeface="+mj-lt"/>
            </a:endParaRPr>
          </a:p>
        </p:txBody>
      </p:sp>
      <p:sp>
        <p:nvSpPr>
          <p:cNvPr id="4" name="Rectangle 3"/>
          <p:cNvSpPr/>
          <p:nvPr/>
        </p:nvSpPr>
        <p:spPr bwMode="auto">
          <a:xfrm>
            <a:off x="2148395" y="1551223"/>
            <a:ext cx="1537798" cy="55014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700" dirty="0">
                <a:gradFill>
                  <a:gsLst>
                    <a:gs pos="0">
                      <a:schemeClr val="tx1"/>
                    </a:gs>
                    <a:gs pos="100000">
                      <a:schemeClr val="tx1"/>
                    </a:gs>
                  </a:gsLst>
                  <a:lin ang="5400000" scaled="0"/>
                </a:gradFill>
              </a:rPr>
              <a:t>HTML</a:t>
            </a:r>
          </a:p>
        </p:txBody>
      </p:sp>
      <p:sp>
        <p:nvSpPr>
          <p:cNvPr id="5" name="Rectangle 4"/>
          <p:cNvSpPr/>
          <p:nvPr/>
        </p:nvSpPr>
        <p:spPr bwMode="auto">
          <a:xfrm>
            <a:off x="2148395" y="2177992"/>
            <a:ext cx="1537798" cy="55014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700" dirty="0">
                <a:gradFill>
                  <a:gsLst>
                    <a:gs pos="0">
                      <a:schemeClr val="tx1"/>
                    </a:gs>
                    <a:gs pos="100000">
                      <a:schemeClr val="tx1"/>
                    </a:gs>
                  </a:gsLst>
                  <a:lin ang="5400000" scaled="0"/>
                </a:gradFill>
              </a:rPr>
              <a:t>CSS</a:t>
            </a:r>
          </a:p>
        </p:txBody>
      </p:sp>
      <p:sp>
        <p:nvSpPr>
          <p:cNvPr id="6" name="Rectangle 5"/>
          <p:cNvSpPr/>
          <p:nvPr/>
        </p:nvSpPr>
        <p:spPr bwMode="auto">
          <a:xfrm>
            <a:off x="2148395" y="2795966"/>
            <a:ext cx="1537798" cy="55014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700" dirty="0">
                <a:gradFill>
                  <a:gsLst>
                    <a:gs pos="0">
                      <a:schemeClr val="tx1"/>
                    </a:gs>
                    <a:gs pos="100000">
                      <a:schemeClr val="tx1"/>
                    </a:gs>
                  </a:gsLst>
                  <a:lin ang="5400000" scaled="0"/>
                </a:gradFill>
              </a:rPr>
              <a:t>JavaScript</a:t>
            </a:r>
          </a:p>
        </p:txBody>
      </p:sp>
      <p:sp>
        <p:nvSpPr>
          <p:cNvPr id="7" name="Rectangle 6"/>
          <p:cNvSpPr/>
          <p:nvPr/>
        </p:nvSpPr>
        <p:spPr bwMode="auto">
          <a:xfrm>
            <a:off x="2148395" y="3421477"/>
            <a:ext cx="1537798" cy="55014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700" dirty="0">
                <a:gradFill>
                  <a:gsLst>
                    <a:gs pos="0">
                      <a:schemeClr val="tx1"/>
                    </a:gs>
                    <a:gs pos="100000">
                      <a:schemeClr val="tx1"/>
                    </a:gs>
                  </a:gsLst>
                  <a:lin ang="5400000" scaled="0"/>
                </a:gradFill>
              </a:rPr>
              <a:t>Resources</a:t>
            </a:r>
          </a:p>
        </p:txBody>
      </p:sp>
      <p:sp>
        <p:nvSpPr>
          <p:cNvPr id="8" name="Rectangle 7"/>
          <p:cNvSpPr/>
          <p:nvPr/>
        </p:nvSpPr>
        <p:spPr bwMode="auto">
          <a:xfrm>
            <a:off x="2157193" y="4055761"/>
            <a:ext cx="1537798" cy="55014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700" dirty="0">
                <a:gradFill>
                  <a:gsLst>
                    <a:gs pos="0">
                      <a:schemeClr val="tx1"/>
                    </a:gs>
                    <a:gs pos="100000">
                      <a:schemeClr val="tx1"/>
                    </a:gs>
                  </a:gsLst>
                  <a:lin ang="5400000" scaled="0"/>
                </a:gradFill>
              </a:rPr>
              <a:t>Manifest</a:t>
            </a:r>
          </a:p>
        </p:txBody>
      </p:sp>
      <p:sp>
        <p:nvSpPr>
          <p:cNvPr id="9" name="Rectangle 8"/>
          <p:cNvSpPr/>
          <p:nvPr/>
        </p:nvSpPr>
        <p:spPr>
          <a:xfrm>
            <a:off x="4480299" y="914401"/>
            <a:ext cx="4079673" cy="2184275"/>
          </a:xfrm>
          <a:prstGeom prst="rect">
            <a:avLst/>
          </a:prstGeom>
          <a:solidFill>
            <a:schemeClr val="accent4">
              <a:lumMod val="50000"/>
            </a:schemeClr>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lIns="91302" tIns="45651" rIns="91302" bIns="45651" rtlCol="0" anchor="b"/>
          <a:lstStyle/>
          <a:p>
            <a:endParaRPr lang="en-US" sz="1500" b="1" dirty="0">
              <a:solidFill>
                <a:schemeClr val="tx1"/>
              </a:solidFill>
              <a:latin typeface="+mj-lt"/>
            </a:endParaRPr>
          </a:p>
        </p:txBody>
      </p:sp>
      <p:sp>
        <p:nvSpPr>
          <p:cNvPr id="11" name="TextBox 10"/>
          <p:cNvSpPr txBox="1"/>
          <p:nvPr/>
        </p:nvSpPr>
        <p:spPr>
          <a:xfrm rot="16200000">
            <a:off x="-1014253" y="2698114"/>
            <a:ext cx="3470702" cy="277071"/>
          </a:xfrm>
          <a:prstGeom prst="rect">
            <a:avLst/>
          </a:prstGeom>
          <a:noFill/>
        </p:spPr>
        <p:txBody>
          <a:bodyPr wrap="square" lIns="0" tIns="0" rIns="0" bIns="0" rtlCol="0">
            <a:spAutoFit/>
          </a:bodyPr>
          <a:lstStyle/>
          <a:p>
            <a:pPr defTabSz="685637" fontAlgn="base">
              <a:spcBef>
                <a:spcPct val="0"/>
              </a:spcBef>
              <a:spcAft>
                <a:spcPct val="0"/>
              </a:spcAft>
            </a:pPr>
            <a:r>
              <a:rPr lang="en-US" sz="1800" dirty="0">
                <a:gradFill>
                  <a:gsLst>
                    <a:gs pos="0">
                      <a:schemeClr val="tx1"/>
                    </a:gs>
                    <a:gs pos="100000">
                      <a:schemeClr val="tx1"/>
                    </a:gs>
                  </a:gsLst>
                  <a:lin ang="5400000" scaled="0"/>
                </a:gradFill>
              </a:rPr>
              <a:t>C:\Program Files\</a:t>
            </a:r>
            <a:r>
              <a:rPr lang="en-US" sz="1800" dirty="0" err="1">
                <a:gradFill>
                  <a:gsLst>
                    <a:gs pos="0">
                      <a:schemeClr val="tx1"/>
                    </a:gs>
                    <a:gs pos="100000">
                      <a:schemeClr val="tx1"/>
                    </a:gs>
                  </a:gsLst>
                  <a:lin ang="5400000" scaled="0"/>
                </a:gradFill>
              </a:rPr>
              <a:t>WindowsApps</a:t>
            </a:r>
            <a:r>
              <a:rPr lang="en-US" sz="1800" dirty="0">
                <a:gradFill>
                  <a:gsLst>
                    <a:gs pos="0">
                      <a:schemeClr val="tx1"/>
                    </a:gs>
                    <a:gs pos="100000">
                      <a:schemeClr val="tx1"/>
                    </a:gs>
                  </a:gsLst>
                  <a:lin ang="5400000" scaled="0"/>
                </a:gradFill>
              </a:rPr>
              <a:t>\...</a:t>
            </a:r>
          </a:p>
        </p:txBody>
      </p:sp>
      <p:sp>
        <p:nvSpPr>
          <p:cNvPr id="18" name="Rectangle 17"/>
          <p:cNvSpPr/>
          <p:nvPr/>
        </p:nvSpPr>
        <p:spPr bwMode="auto">
          <a:xfrm>
            <a:off x="4457671" y="3600450"/>
            <a:ext cx="4102301" cy="1124794"/>
          </a:xfrm>
          <a:prstGeom prst="rect">
            <a:avLst/>
          </a:prstGeom>
          <a:solidFill>
            <a:schemeClr val="accent6">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defTabSz="685637" fontAlgn="base">
              <a:spcBef>
                <a:spcPct val="0"/>
              </a:spcBef>
              <a:spcAft>
                <a:spcPct val="0"/>
              </a:spcAft>
            </a:pPr>
            <a:endParaRPr lang="en-US" sz="2700" dirty="0">
              <a:solidFill>
                <a:schemeClr val="tx1"/>
              </a:solidFill>
              <a:latin typeface="+mj-lt"/>
            </a:endParaRPr>
          </a:p>
        </p:txBody>
      </p:sp>
      <p:sp>
        <p:nvSpPr>
          <p:cNvPr id="37" name="TextBox 36"/>
          <p:cNvSpPr txBox="1"/>
          <p:nvPr/>
        </p:nvSpPr>
        <p:spPr>
          <a:xfrm>
            <a:off x="1142107" y="956102"/>
            <a:ext cx="3095708" cy="415499"/>
          </a:xfrm>
          <a:prstGeom prst="rect">
            <a:avLst/>
          </a:prstGeom>
          <a:noFill/>
        </p:spPr>
        <p:txBody>
          <a:bodyPr wrap="square" lIns="0" tIns="0" rIns="0" bIns="0" rtlCol="0">
            <a:spAutoFit/>
          </a:bodyPr>
          <a:lstStyle/>
          <a:p>
            <a:r>
              <a:rPr lang="en-US" sz="2700" dirty="0">
                <a:gradFill>
                  <a:gsLst>
                    <a:gs pos="0">
                      <a:schemeClr val="tx1"/>
                    </a:gs>
                    <a:gs pos="86000">
                      <a:schemeClr val="tx1"/>
                    </a:gs>
                  </a:gsLst>
                  <a:lin ang="5400000" scaled="0"/>
                </a:gradFill>
                <a:latin typeface="+mj-lt"/>
              </a:rPr>
              <a:t>App package</a:t>
            </a:r>
          </a:p>
        </p:txBody>
      </p:sp>
      <p:sp>
        <p:nvSpPr>
          <p:cNvPr id="38" name="TextBox 37"/>
          <p:cNvSpPr txBox="1"/>
          <p:nvPr/>
        </p:nvSpPr>
        <p:spPr>
          <a:xfrm>
            <a:off x="5543803" y="956102"/>
            <a:ext cx="3095708" cy="415499"/>
          </a:xfrm>
          <a:prstGeom prst="rect">
            <a:avLst/>
          </a:prstGeom>
          <a:noFill/>
        </p:spPr>
        <p:txBody>
          <a:bodyPr wrap="square" lIns="0" tIns="0" rIns="0" bIns="0" rtlCol="0">
            <a:spAutoFit/>
          </a:bodyPr>
          <a:lstStyle/>
          <a:p>
            <a:r>
              <a:rPr lang="en-US" sz="2700" dirty="0">
                <a:solidFill>
                  <a:schemeClr val="accent4">
                    <a:lumMod val="75000"/>
                  </a:schemeClr>
                </a:solidFill>
                <a:latin typeface="+mj-lt"/>
              </a:rPr>
              <a:t>Running app</a:t>
            </a:r>
          </a:p>
        </p:txBody>
      </p:sp>
      <p:grpSp>
        <p:nvGrpSpPr>
          <p:cNvPr id="40" name="Group 39"/>
          <p:cNvGrpSpPr/>
          <p:nvPr/>
        </p:nvGrpSpPr>
        <p:grpSpPr>
          <a:xfrm>
            <a:off x="5772462" y="1581150"/>
            <a:ext cx="1543452" cy="1314450"/>
            <a:chOff x="6704012" y="2057400"/>
            <a:chExt cx="2057400" cy="1752600"/>
          </a:xfrm>
        </p:grpSpPr>
        <p:sp>
          <p:nvSpPr>
            <p:cNvPr id="41" name="Rectangle 40"/>
            <p:cNvSpPr/>
            <p:nvPr/>
          </p:nvSpPr>
          <p:spPr bwMode="auto">
            <a:xfrm>
              <a:off x="6704012" y="2057400"/>
              <a:ext cx="2057400" cy="1140434"/>
            </a:xfrm>
            <a:prstGeom prst="rect">
              <a:avLst/>
            </a:prstGeom>
            <a:noFill/>
            <a:ln w="190500">
              <a:solidFill>
                <a:schemeClr val="accent4">
                  <a:lumMod val="75000"/>
                </a:schemeClr>
              </a:solidFill>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r>
                <a:rPr lang="en-US" sz="3600" b="1" dirty="0">
                  <a:solidFill>
                    <a:schemeClr val="accent4">
                      <a:lumMod val="75000"/>
                      <a:alpha val="98824"/>
                    </a:schemeClr>
                  </a:solidFill>
                  <a:latin typeface="Segoe UI Semibold" pitchFamily="34" charset="0"/>
                  <a:ea typeface="Segoe UI" pitchFamily="34" charset="0"/>
                  <a:cs typeface="Segoe UI Semibold" pitchFamily="34" charset="0"/>
                </a:rPr>
                <a:t>APP</a:t>
              </a:r>
            </a:p>
          </p:txBody>
        </p:sp>
        <p:sp>
          <p:nvSpPr>
            <p:cNvPr id="42" name="Rectangle 41"/>
            <p:cNvSpPr/>
            <p:nvPr/>
          </p:nvSpPr>
          <p:spPr bwMode="auto">
            <a:xfrm>
              <a:off x="7046912" y="3533343"/>
              <a:ext cx="1371600" cy="276657"/>
            </a:xfrm>
            <a:prstGeom prst="rect">
              <a:avLst/>
            </a:prstGeom>
            <a:solidFill>
              <a:schemeClr val="accent4">
                <a:lumMod val="75000"/>
              </a:schemeClr>
            </a:solidFill>
            <a:ln>
              <a:solidFill>
                <a:schemeClr val="accent4">
                  <a:lumMod val="75000"/>
                </a:schemeClr>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43" name="Rectangle 42"/>
            <p:cNvSpPr/>
            <p:nvPr/>
          </p:nvSpPr>
          <p:spPr bwMode="auto">
            <a:xfrm>
              <a:off x="7466012" y="3367226"/>
              <a:ext cx="533400" cy="99441"/>
            </a:xfrm>
            <a:prstGeom prst="rect">
              <a:avLst/>
            </a:prstGeom>
            <a:solidFill>
              <a:schemeClr val="accent4">
                <a:lumMod val="75000"/>
              </a:schemeClr>
            </a:solidFill>
            <a:ln>
              <a:solidFill>
                <a:schemeClr val="accent4">
                  <a:lumMod val="75000"/>
                </a:schemeClr>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grpSp>
      <p:grpSp>
        <p:nvGrpSpPr>
          <p:cNvPr id="44" name="Group 43"/>
          <p:cNvGrpSpPr/>
          <p:nvPr/>
        </p:nvGrpSpPr>
        <p:grpSpPr>
          <a:xfrm>
            <a:off x="6401277" y="3657601"/>
            <a:ext cx="985759" cy="983031"/>
            <a:chOff x="8285609" y="4882032"/>
            <a:chExt cx="1367416" cy="1363987"/>
          </a:xfrm>
          <a:solidFill>
            <a:schemeClr val="accent6">
              <a:lumMod val="75000"/>
            </a:schemeClr>
          </a:solidFill>
        </p:grpSpPr>
        <p:sp>
          <p:nvSpPr>
            <p:cNvPr id="45" name="Freeform 44"/>
            <p:cNvSpPr/>
            <p:nvPr/>
          </p:nvSpPr>
          <p:spPr bwMode="auto">
            <a:xfrm>
              <a:off x="8285610" y="4995117"/>
              <a:ext cx="566681" cy="535314"/>
            </a:xfrm>
            <a:custGeom>
              <a:avLst/>
              <a:gdLst>
                <a:gd name="connsiteX0" fmla="*/ 0 w 577811"/>
                <a:gd name="connsiteY0" fmla="*/ 96243 h 595516"/>
                <a:gd name="connsiteX1" fmla="*/ 0 w 577811"/>
                <a:gd name="connsiteY1" fmla="*/ 96243 h 595516"/>
                <a:gd name="connsiteX2" fmla="*/ 56098 w 577811"/>
                <a:gd name="connsiteY2" fmla="*/ 90633 h 595516"/>
                <a:gd name="connsiteX3" fmla="*/ 151465 w 577811"/>
                <a:gd name="connsiteY3" fmla="*/ 85023 h 595516"/>
                <a:gd name="connsiteX4" fmla="*/ 190734 w 577811"/>
                <a:gd name="connsiteY4" fmla="*/ 79413 h 595516"/>
                <a:gd name="connsiteX5" fmla="*/ 286101 w 577811"/>
                <a:gd name="connsiteY5" fmla="*/ 73803 h 595516"/>
                <a:gd name="connsiteX6" fmla="*/ 370248 w 577811"/>
                <a:gd name="connsiteY6" fmla="*/ 62584 h 595516"/>
                <a:gd name="connsiteX7" fmla="*/ 387077 w 577811"/>
                <a:gd name="connsiteY7" fmla="*/ 56974 h 595516"/>
                <a:gd name="connsiteX8" fmla="*/ 431956 w 577811"/>
                <a:gd name="connsiteY8" fmla="*/ 51364 h 595516"/>
                <a:gd name="connsiteX9" fmla="*/ 460005 w 577811"/>
                <a:gd name="connsiteY9" fmla="*/ 45754 h 595516"/>
                <a:gd name="connsiteX10" fmla="*/ 510493 w 577811"/>
                <a:gd name="connsiteY10" fmla="*/ 40144 h 595516"/>
                <a:gd name="connsiteX11" fmla="*/ 527323 w 577811"/>
                <a:gd name="connsiteY11" fmla="*/ 34535 h 595516"/>
                <a:gd name="connsiteX12" fmla="*/ 560982 w 577811"/>
                <a:gd name="connsiteY12" fmla="*/ 28925 h 595516"/>
                <a:gd name="connsiteX13" fmla="*/ 577811 w 577811"/>
                <a:gd name="connsiteY13" fmla="*/ 17705 h 595516"/>
                <a:gd name="connsiteX14" fmla="*/ 566592 w 577811"/>
                <a:gd name="connsiteY14" fmla="*/ 876 h 595516"/>
                <a:gd name="connsiteX15" fmla="*/ 549762 w 577811"/>
                <a:gd name="connsiteY15" fmla="*/ 6486 h 595516"/>
                <a:gd name="connsiteX16" fmla="*/ 560982 w 577811"/>
                <a:gd name="connsiteY16" fmla="*/ 40144 h 595516"/>
                <a:gd name="connsiteX17" fmla="*/ 566592 w 577811"/>
                <a:gd name="connsiteY17" fmla="*/ 208439 h 595516"/>
                <a:gd name="connsiteX18" fmla="*/ 572201 w 577811"/>
                <a:gd name="connsiteY18" fmla="*/ 225268 h 595516"/>
                <a:gd name="connsiteX19" fmla="*/ 566592 w 577811"/>
                <a:gd name="connsiteY19" fmla="*/ 286976 h 595516"/>
                <a:gd name="connsiteX20" fmla="*/ 555372 w 577811"/>
                <a:gd name="connsiteY20" fmla="*/ 359904 h 595516"/>
                <a:gd name="connsiteX21" fmla="*/ 544152 w 577811"/>
                <a:gd name="connsiteY21" fmla="*/ 477710 h 595516"/>
                <a:gd name="connsiteX22" fmla="*/ 549762 w 577811"/>
                <a:gd name="connsiteY22" fmla="*/ 528198 h 595516"/>
                <a:gd name="connsiteX23" fmla="*/ 566592 w 577811"/>
                <a:gd name="connsiteY23" fmla="*/ 539418 h 595516"/>
                <a:gd name="connsiteX24" fmla="*/ 549762 w 577811"/>
                <a:gd name="connsiteY24" fmla="*/ 550638 h 595516"/>
                <a:gd name="connsiteX25" fmla="*/ 359028 w 577811"/>
                <a:gd name="connsiteY25" fmla="*/ 550638 h 595516"/>
                <a:gd name="connsiteX26" fmla="*/ 319760 w 577811"/>
                <a:gd name="connsiteY26" fmla="*/ 556248 h 595516"/>
                <a:gd name="connsiteX27" fmla="*/ 241222 w 577811"/>
                <a:gd name="connsiteY27" fmla="*/ 561857 h 595516"/>
                <a:gd name="connsiteX28" fmla="*/ 190734 w 577811"/>
                <a:gd name="connsiteY28" fmla="*/ 578687 h 595516"/>
                <a:gd name="connsiteX29" fmla="*/ 157075 w 577811"/>
                <a:gd name="connsiteY29" fmla="*/ 589906 h 595516"/>
                <a:gd name="connsiteX30" fmla="*/ 134636 w 577811"/>
                <a:gd name="connsiteY30" fmla="*/ 595516 h 595516"/>
                <a:gd name="connsiteX31" fmla="*/ 117806 w 577811"/>
                <a:gd name="connsiteY31" fmla="*/ 589906 h 595516"/>
                <a:gd name="connsiteX32" fmla="*/ 95367 w 577811"/>
                <a:gd name="connsiteY32" fmla="*/ 584297 h 595516"/>
                <a:gd name="connsiteX33" fmla="*/ 44879 w 577811"/>
                <a:gd name="connsiteY33" fmla="*/ 567467 h 595516"/>
                <a:gd name="connsiteX34" fmla="*/ 11220 w 577811"/>
                <a:gd name="connsiteY34" fmla="*/ 550638 h 595516"/>
                <a:gd name="connsiteX35" fmla="*/ 5610 w 577811"/>
                <a:gd name="connsiteY35" fmla="*/ 550638 h 595516"/>
                <a:gd name="connsiteX36" fmla="*/ 0 w 577811"/>
                <a:gd name="connsiteY36" fmla="*/ 96243 h 595516"/>
                <a:gd name="connsiteX0" fmla="*/ 0 w 577811"/>
                <a:gd name="connsiteY0" fmla="*/ 96243 h 595516"/>
                <a:gd name="connsiteX1" fmla="*/ 0 w 577811"/>
                <a:gd name="connsiteY1" fmla="*/ 96243 h 595516"/>
                <a:gd name="connsiteX2" fmla="*/ 151465 w 577811"/>
                <a:gd name="connsiteY2" fmla="*/ 85023 h 595516"/>
                <a:gd name="connsiteX3" fmla="*/ 190734 w 577811"/>
                <a:gd name="connsiteY3" fmla="*/ 79413 h 595516"/>
                <a:gd name="connsiteX4" fmla="*/ 286101 w 577811"/>
                <a:gd name="connsiteY4" fmla="*/ 73803 h 595516"/>
                <a:gd name="connsiteX5" fmla="*/ 370248 w 577811"/>
                <a:gd name="connsiteY5" fmla="*/ 62584 h 595516"/>
                <a:gd name="connsiteX6" fmla="*/ 387077 w 577811"/>
                <a:gd name="connsiteY6" fmla="*/ 56974 h 595516"/>
                <a:gd name="connsiteX7" fmla="*/ 431956 w 577811"/>
                <a:gd name="connsiteY7" fmla="*/ 51364 h 595516"/>
                <a:gd name="connsiteX8" fmla="*/ 460005 w 577811"/>
                <a:gd name="connsiteY8" fmla="*/ 45754 h 595516"/>
                <a:gd name="connsiteX9" fmla="*/ 510493 w 577811"/>
                <a:gd name="connsiteY9" fmla="*/ 40144 h 595516"/>
                <a:gd name="connsiteX10" fmla="*/ 527323 w 577811"/>
                <a:gd name="connsiteY10" fmla="*/ 34535 h 595516"/>
                <a:gd name="connsiteX11" fmla="*/ 560982 w 577811"/>
                <a:gd name="connsiteY11" fmla="*/ 28925 h 595516"/>
                <a:gd name="connsiteX12" fmla="*/ 577811 w 577811"/>
                <a:gd name="connsiteY12" fmla="*/ 17705 h 595516"/>
                <a:gd name="connsiteX13" fmla="*/ 566592 w 577811"/>
                <a:gd name="connsiteY13" fmla="*/ 876 h 595516"/>
                <a:gd name="connsiteX14" fmla="*/ 549762 w 577811"/>
                <a:gd name="connsiteY14" fmla="*/ 6486 h 595516"/>
                <a:gd name="connsiteX15" fmla="*/ 560982 w 577811"/>
                <a:gd name="connsiteY15" fmla="*/ 40144 h 595516"/>
                <a:gd name="connsiteX16" fmla="*/ 566592 w 577811"/>
                <a:gd name="connsiteY16" fmla="*/ 208439 h 595516"/>
                <a:gd name="connsiteX17" fmla="*/ 572201 w 577811"/>
                <a:gd name="connsiteY17" fmla="*/ 225268 h 595516"/>
                <a:gd name="connsiteX18" fmla="*/ 566592 w 577811"/>
                <a:gd name="connsiteY18" fmla="*/ 286976 h 595516"/>
                <a:gd name="connsiteX19" fmla="*/ 555372 w 577811"/>
                <a:gd name="connsiteY19" fmla="*/ 359904 h 595516"/>
                <a:gd name="connsiteX20" fmla="*/ 544152 w 577811"/>
                <a:gd name="connsiteY20" fmla="*/ 477710 h 595516"/>
                <a:gd name="connsiteX21" fmla="*/ 549762 w 577811"/>
                <a:gd name="connsiteY21" fmla="*/ 528198 h 595516"/>
                <a:gd name="connsiteX22" fmla="*/ 566592 w 577811"/>
                <a:gd name="connsiteY22" fmla="*/ 539418 h 595516"/>
                <a:gd name="connsiteX23" fmla="*/ 549762 w 577811"/>
                <a:gd name="connsiteY23" fmla="*/ 550638 h 595516"/>
                <a:gd name="connsiteX24" fmla="*/ 359028 w 577811"/>
                <a:gd name="connsiteY24" fmla="*/ 550638 h 595516"/>
                <a:gd name="connsiteX25" fmla="*/ 319760 w 577811"/>
                <a:gd name="connsiteY25" fmla="*/ 556248 h 595516"/>
                <a:gd name="connsiteX26" fmla="*/ 241222 w 577811"/>
                <a:gd name="connsiteY26" fmla="*/ 561857 h 595516"/>
                <a:gd name="connsiteX27" fmla="*/ 190734 w 577811"/>
                <a:gd name="connsiteY27" fmla="*/ 578687 h 595516"/>
                <a:gd name="connsiteX28" fmla="*/ 157075 w 577811"/>
                <a:gd name="connsiteY28" fmla="*/ 589906 h 595516"/>
                <a:gd name="connsiteX29" fmla="*/ 134636 w 577811"/>
                <a:gd name="connsiteY29" fmla="*/ 595516 h 595516"/>
                <a:gd name="connsiteX30" fmla="*/ 117806 w 577811"/>
                <a:gd name="connsiteY30" fmla="*/ 589906 h 595516"/>
                <a:gd name="connsiteX31" fmla="*/ 95367 w 577811"/>
                <a:gd name="connsiteY31" fmla="*/ 584297 h 595516"/>
                <a:gd name="connsiteX32" fmla="*/ 44879 w 577811"/>
                <a:gd name="connsiteY32" fmla="*/ 567467 h 595516"/>
                <a:gd name="connsiteX33" fmla="*/ 11220 w 577811"/>
                <a:gd name="connsiteY33" fmla="*/ 550638 h 595516"/>
                <a:gd name="connsiteX34" fmla="*/ 5610 w 577811"/>
                <a:gd name="connsiteY34" fmla="*/ 550638 h 595516"/>
                <a:gd name="connsiteX35" fmla="*/ 0 w 577811"/>
                <a:gd name="connsiteY35" fmla="*/ 96243 h 595516"/>
                <a:gd name="connsiteX0" fmla="*/ 0 w 577811"/>
                <a:gd name="connsiteY0" fmla="*/ 96243 h 595516"/>
                <a:gd name="connsiteX1" fmla="*/ 0 w 577811"/>
                <a:gd name="connsiteY1" fmla="*/ 96243 h 595516"/>
                <a:gd name="connsiteX2" fmla="*/ 190734 w 577811"/>
                <a:gd name="connsiteY2" fmla="*/ 79413 h 595516"/>
                <a:gd name="connsiteX3" fmla="*/ 286101 w 577811"/>
                <a:gd name="connsiteY3" fmla="*/ 73803 h 595516"/>
                <a:gd name="connsiteX4" fmla="*/ 370248 w 577811"/>
                <a:gd name="connsiteY4" fmla="*/ 62584 h 595516"/>
                <a:gd name="connsiteX5" fmla="*/ 387077 w 577811"/>
                <a:gd name="connsiteY5" fmla="*/ 56974 h 595516"/>
                <a:gd name="connsiteX6" fmla="*/ 431956 w 577811"/>
                <a:gd name="connsiteY6" fmla="*/ 51364 h 595516"/>
                <a:gd name="connsiteX7" fmla="*/ 460005 w 577811"/>
                <a:gd name="connsiteY7" fmla="*/ 45754 h 595516"/>
                <a:gd name="connsiteX8" fmla="*/ 510493 w 577811"/>
                <a:gd name="connsiteY8" fmla="*/ 40144 h 595516"/>
                <a:gd name="connsiteX9" fmla="*/ 527323 w 577811"/>
                <a:gd name="connsiteY9" fmla="*/ 34535 h 595516"/>
                <a:gd name="connsiteX10" fmla="*/ 560982 w 577811"/>
                <a:gd name="connsiteY10" fmla="*/ 28925 h 595516"/>
                <a:gd name="connsiteX11" fmla="*/ 577811 w 577811"/>
                <a:gd name="connsiteY11" fmla="*/ 17705 h 595516"/>
                <a:gd name="connsiteX12" fmla="*/ 566592 w 577811"/>
                <a:gd name="connsiteY12" fmla="*/ 876 h 595516"/>
                <a:gd name="connsiteX13" fmla="*/ 549762 w 577811"/>
                <a:gd name="connsiteY13" fmla="*/ 6486 h 595516"/>
                <a:gd name="connsiteX14" fmla="*/ 560982 w 577811"/>
                <a:gd name="connsiteY14" fmla="*/ 40144 h 595516"/>
                <a:gd name="connsiteX15" fmla="*/ 566592 w 577811"/>
                <a:gd name="connsiteY15" fmla="*/ 208439 h 595516"/>
                <a:gd name="connsiteX16" fmla="*/ 572201 w 577811"/>
                <a:gd name="connsiteY16" fmla="*/ 225268 h 595516"/>
                <a:gd name="connsiteX17" fmla="*/ 566592 w 577811"/>
                <a:gd name="connsiteY17" fmla="*/ 286976 h 595516"/>
                <a:gd name="connsiteX18" fmla="*/ 555372 w 577811"/>
                <a:gd name="connsiteY18" fmla="*/ 359904 h 595516"/>
                <a:gd name="connsiteX19" fmla="*/ 544152 w 577811"/>
                <a:gd name="connsiteY19" fmla="*/ 477710 h 595516"/>
                <a:gd name="connsiteX20" fmla="*/ 549762 w 577811"/>
                <a:gd name="connsiteY20" fmla="*/ 528198 h 595516"/>
                <a:gd name="connsiteX21" fmla="*/ 566592 w 577811"/>
                <a:gd name="connsiteY21" fmla="*/ 539418 h 595516"/>
                <a:gd name="connsiteX22" fmla="*/ 549762 w 577811"/>
                <a:gd name="connsiteY22" fmla="*/ 550638 h 595516"/>
                <a:gd name="connsiteX23" fmla="*/ 359028 w 577811"/>
                <a:gd name="connsiteY23" fmla="*/ 550638 h 595516"/>
                <a:gd name="connsiteX24" fmla="*/ 319760 w 577811"/>
                <a:gd name="connsiteY24" fmla="*/ 556248 h 595516"/>
                <a:gd name="connsiteX25" fmla="*/ 241222 w 577811"/>
                <a:gd name="connsiteY25" fmla="*/ 561857 h 595516"/>
                <a:gd name="connsiteX26" fmla="*/ 190734 w 577811"/>
                <a:gd name="connsiteY26" fmla="*/ 578687 h 595516"/>
                <a:gd name="connsiteX27" fmla="*/ 157075 w 577811"/>
                <a:gd name="connsiteY27" fmla="*/ 589906 h 595516"/>
                <a:gd name="connsiteX28" fmla="*/ 134636 w 577811"/>
                <a:gd name="connsiteY28" fmla="*/ 595516 h 595516"/>
                <a:gd name="connsiteX29" fmla="*/ 117806 w 577811"/>
                <a:gd name="connsiteY29" fmla="*/ 589906 h 595516"/>
                <a:gd name="connsiteX30" fmla="*/ 95367 w 577811"/>
                <a:gd name="connsiteY30" fmla="*/ 584297 h 595516"/>
                <a:gd name="connsiteX31" fmla="*/ 44879 w 577811"/>
                <a:gd name="connsiteY31" fmla="*/ 567467 h 595516"/>
                <a:gd name="connsiteX32" fmla="*/ 11220 w 577811"/>
                <a:gd name="connsiteY32" fmla="*/ 550638 h 595516"/>
                <a:gd name="connsiteX33" fmla="*/ 5610 w 577811"/>
                <a:gd name="connsiteY33" fmla="*/ 550638 h 595516"/>
                <a:gd name="connsiteX34" fmla="*/ 0 w 577811"/>
                <a:gd name="connsiteY34" fmla="*/ 96243 h 595516"/>
                <a:gd name="connsiteX0" fmla="*/ 0 w 577811"/>
                <a:gd name="connsiteY0" fmla="*/ 96243 h 595516"/>
                <a:gd name="connsiteX1" fmla="*/ 0 w 577811"/>
                <a:gd name="connsiteY1" fmla="*/ 96243 h 595516"/>
                <a:gd name="connsiteX2" fmla="*/ 286101 w 577811"/>
                <a:gd name="connsiteY2" fmla="*/ 73803 h 595516"/>
                <a:gd name="connsiteX3" fmla="*/ 370248 w 577811"/>
                <a:gd name="connsiteY3" fmla="*/ 62584 h 595516"/>
                <a:gd name="connsiteX4" fmla="*/ 387077 w 577811"/>
                <a:gd name="connsiteY4" fmla="*/ 56974 h 595516"/>
                <a:gd name="connsiteX5" fmla="*/ 431956 w 577811"/>
                <a:gd name="connsiteY5" fmla="*/ 51364 h 595516"/>
                <a:gd name="connsiteX6" fmla="*/ 460005 w 577811"/>
                <a:gd name="connsiteY6" fmla="*/ 45754 h 595516"/>
                <a:gd name="connsiteX7" fmla="*/ 510493 w 577811"/>
                <a:gd name="connsiteY7" fmla="*/ 40144 h 595516"/>
                <a:gd name="connsiteX8" fmla="*/ 527323 w 577811"/>
                <a:gd name="connsiteY8" fmla="*/ 34535 h 595516"/>
                <a:gd name="connsiteX9" fmla="*/ 560982 w 577811"/>
                <a:gd name="connsiteY9" fmla="*/ 28925 h 595516"/>
                <a:gd name="connsiteX10" fmla="*/ 577811 w 577811"/>
                <a:gd name="connsiteY10" fmla="*/ 17705 h 595516"/>
                <a:gd name="connsiteX11" fmla="*/ 566592 w 577811"/>
                <a:gd name="connsiteY11" fmla="*/ 876 h 595516"/>
                <a:gd name="connsiteX12" fmla="*/ 549762 w 577811"/>
                <a:gd name="connsiteY12" fmla="*/ 6486 h 595516"/>
                <a:gd name="connsiteX13" fmla="*/ 560982 w 577811"/>
                <a:gd name="connsiteY13" fmla="*/ 40144 h 595516"/>
                <a:gd name="connsiteX14" fmla="*/ 566592 w 577811"/>
                <a:gd name="connsiteY14" fmla="*/ 208439 h 595516"/>
                <a:gd name="connsiteX15" fmla="*/ 572201 w 577811"/>
                <a:gd name="connsiteY15" fmla="*/ 225268 h 595516"/>
                <a:gd name="connsiteX16" fmla="*/ 566592 w 577811"/>
                <a:gd name="connsiteY16" fmla="*/ 286976 h 595516"/>
                <a:gd name="connsiteX17" fmla="*/ 555372 w 577811"/>
                <a:gd name="connsiteY17" fmla="*/ 359904 h 595516"/>
                <a:gd name="connsiteX18" fmla="*/ 544152 w 577811"/>
                <a:gd name="connsiteY18" fmla="*/ 477710 h 595516"/>
                <a:gd name="connsiteX19" fmla="*/ 549762 w 577811"/>
                <a:gd name="connsiteY19" fmla="*/ 528198 h 595516"/>
                <a:gd name="connsiteX20" fmla="*/ 566592 w 577811"/>
                <a:gd name="connsiteY20" fmla="*/ 539418 h 595516"/>
                <a:gd name="connsiteX21" fmla="*/ 549762 w 577811"/>
                <a:gd name="connsiteY21" fmla="*/ 550638 h 595516"/>
                <a:gd name="connsiteX22" fmla="*/ 359028 w 577811"/>
                <a:gd name="connsiteY22" fmla="*/ 550638 h 595516"/>
                <a:gd name="connsiteX23" fmla="*/ 319760 w 577811"/>
                <a:gd name="connsiteY23" fmla="*/ 556248 h 595516"/>
                <a:gd name="connsiteX24" fmla="*/ 241222 w 577811"/>
                <a:gd name="connsiteY24" fmla="*/ 561857 h 595516"/>
                <a:gd name="connsiteX25" fmla="*/ 190734 w 577811"/>
                <a:gd name="connsiteY25" fmla="*/ 578687 h 595516"/>
                <a:gd name="connsiteX26" fmla="*/ 157075 w 577811"/>
                <a:gd name="connsiteY26" fmla="*/ 589906 h 595516"/>
                <a:gd name="connsiteX27" fmla="*/ 134636 w 577811"/>
                <a:gd name="connsiteY27" fmla="*/ 595516 h 595516"/>
                <a:gd name="connsiteX28" fmla="*/ 117806 w 577811"/>
                <a:gd name="connsiteY28" fmla="*/ 589906 h 595516"/>
                <a:gd name="connsiteX29" fmla="*/ 95367 w 577811"/>
                <a:gd name="connsiteY29" fmla="*/ 584297 h 595516"/>
                <a:gd name="connsiteX30" fmla="*/ 44879 w 577811"/>
                <a:gd name="connsiteY30" fmla="*/ 567467 h 595516"/>
                <a:gd name="connsiteX31" fmla="*/ 11220 w 577811"/>
                <a:gd name="connsiteY31" fmla="*/ 550638 h 595516"/>
                <a:gd name="connsiteX32" fmla="*/ 5610 w 577811"/>
                <a:gd name="connsiteY32" fmla="*/ 550638 h 595516"/>
                <a:gd name="connsiteX33" fmla="*/ 0 w 577811"/>
                <a:gd name="connsiteY33" fmla="*/ 96243 h 595516"/>
                <a:gd name="connsiteX0" fmla="*/ 0 w 577811"/>
                <a:gd name="connsiteY0" fmla="*/ 96243 h 595516"/>
                <a:gd name="connsiteX1" fmla="*/ 0 w 577811"/>
                <a:gd name="connsiteY1" fmla="*/ 96243 h 595516"/>
                <a:gd name="connsiteX2" fmla="*/ 370248 w 577811"/>
                <a:gd name="connsiteY2" fmla="*/ 62584 h 595516"/>
                <a:gd name="connsiteX3" fmla="*/ 387077 w 577811"/>
                <a:gd name="connsiteY3" fmla="*/ 56974 h 595516"/>
                <a:gd name="connsiteX4" fmla="*/ 431956 w 577811"/>
                <a:gd name="connsiteY4" fmla="*/ 51364 h 595516"/>
                <a:gd name="connsiteX5" fmla="*/ 460005 w 577811"/>
                <a:gd name="connsiteY5" fmla="*/ 45754 h 595516"/>
                <a:gd name="connsiteX6" fmla="*/ 510493 w 577811"/>
                <a:gd name="connsiteY6" fmla="*/ 40144 h 595516"/>
                <a:gd name="connsiteX7" fmla="*/ 527323 w 577811"/>
                <a:gd name="connsiteY7" fmla="*/ 34535 h 595516"/>
                <a:gd name="connsiteX8" fmla="*/ 560982 w 577811"/>
                <a:gd name="connsiteY8" fmla="*/ 28925 h 595516"/>
                <a:gd name="connsiteX9" fmla="*/ 577811 w 577811"/>
                <a:gd name="connsiteY9" fmla="*/ 17705 h 595516"/>
                <a:gd name="connsiteX10" fmla="*/ 566592 w 577811"/>
                <a:gd name="connsiteY10" fmla="*/ 876 h 595516"/>
                <a:gd name="connsiteX11" fmla="*/ 549762 w 577811"/>
                <a:gd name="connsiteY11" fmla="*/ 6486 h 595516"/>
                <a:gd name="connsiteX12" fmla="*/ 560982 w 577811"/>
                <a:gd name="connsiteY12" fmla="*/ 40144 h 595516"/>
                <a:gd name="connsiteX13" fmla="*/ 566592 w 577811"/>
                <a:gd name="connsiteY13" fmla="*/ 208439 h 595516"/>
                <a:gd name="connsiteX14" fmla="*/ 572201 w 577811"/>
                <a:gd name="connsiteY14" fmla="*/ 225268 h 595516"/>
                <a:gd name="connsiteX15" fmla="*/ 566592 w 577811"/>
                <a:gd name="connsiteY15" fmla="*/ 286976 h 595516"/>
                <a:gd name="connsiteX16" fmla="*/ 555372 w 577811"/>
                <a:gd name="connsiteY16" fmla="*/ 359904 h 595516"/>
                <a:gd name="connsiteX17" fmla="*/ 544152 w 577811"/>
                <a:gd name="connsiteY17" fmla="*/ 477710 h 595516"/>
                <a:gd name="connsiteX18" fmla="*/ 549762 w 577811"/>
                <a:gd name="connsiteY18" fmla="*/ 528198 h 595516"/>
                <a:gd name="connsiteX19" fmla="*/ 566592 w 577811"/>
                <a:gd name="connsiteY19" fmla="*/ 539418 h 595516"/>
                <a:gd name="connsiteX20" fmla="*/ 549762 w 577811"/>
                <a:gd name="connsiteY20" fmla="*/ 550638 h 595516"/>
                <a:gd name="connsiteX21" fmla="*/ 359028 w 577811"/>
                <a:gd name="connsiteY21" fmla="*/ 550638 h 595516"/>
                <a:gd name="connsiteX22" fmla="*/ 319760 w 577811"/>
                <a:gd name="connsiteY22" fmla="*/ 556248 h 595516"/>
                <a:gd name="connsiteX23" fmla="*/ 241222 w 577811"/>
                <a:gd name="connsiteY23" fmla="*/ 561857 h 595516"/>
                <a:gd name="connsiteX24" fmla="*/ 190734 w 577811"/>
                <a:gd name="connsiteY24" fmla="*/ 578687 h 595516"/>
                <a:gd name="connsiteX25" fmla="*/ 157075 w 577811"/>
                <a:gd name="connsiteY25" fmla="*/ 589906 h 595516"/>
                <a:gd name="connsiteX26" fmla="*/ 134636 w 577811"/>
                <a:gd name="connsiteY26" fmla="*/ 595516 h 595516"/>
                <a:gd name="connsiteX27" fmla="*/ 117806 w 577811"/>
                <a:gd name="connsiteY27" fmla="*/ 589906 h 595516"/>
                <a:gd name="connsiteX28" fmla="*/ 95367 w 577811"/>
                <a:gd name="connsiteY28" fmla="*/ 584297 h 595516"/>
                <a:gd name="connsiteX29" fmla="*/ 44879 w 577811"/>
                <a:gd name="connsiteY29" fmla="*/ 567467 h 595516"/>
                <a:gd name="connsiteX30" fmla="*/ 11220 w 577811"/>
                <a:gd name="connsiteY30" fmla="*/ 550638 h 595516"/>
                <a:gd name="connsiteX31" fmla="*/ 5610 w 577811"/>
                <a:gd name="connsiteY31" fmla="*/ 550638 h 595516"/>
                <a:gd name="connsiteX32" fmla="*/ 0 w 577811"/>
                <a:gd name="connsiteY32" fmla="*/ 96243 h 595516"/>
                <a:gd name="connsiteX0" fmla="*/ 0 w 577811"/>
                <a:gd name="connsiteY0" fmla="*/ 96243 h 595516"/>
                <a:gd name="connsiteX1" fmla="*/ 0 w 577811"/>
                <a:gd name="connsiteY1" fmla="*/ 96243 h 595516"/>
                <a:gd name="connsiteX2" fmla="*/ 387077 w 577811"/>
                <a:gd name="connsiteY2" fmla="*/ 56974 h 595516"/>
                <a:gd name="connsiteX3" fmla="*/ 431956 w 577811"/>
                <a:gd name="connsiteY3" fmla="*/ 51364 h 595516"/>
                <a:gd name="connsiteX4" fmla="*/ 460005 w 577811"/>
                <a:gd name="connsiteY4" fmla="*/ 45754 h 595516"/>
                <a:gd name="connsiteX5" fmla="*/ 510493 w 577811"/>
                <a:gd name="connsiteY5" fmla="*/ 40144 h 595516"/>
                <a:gd name="connsiteX6" fmla="*/ 527323 w 577811"/>
                <a:gd name="connsiteY6" fmla="*/ 34535 h 595516"/>
                <a:gd name="connsiteX7" fmla="*/ 560982 w 577811"/>
                <a:gd name="connsiteY7" fmla="*/ 28925 h 595516"/>
                <a:gd name="connsiteX8" fmla="*/ 577811 w 577811"/>
                <a:gd name="connsiteY8" fmla="*/ 17705 h 595516"/>
                <a:gd name="connsiteX9" fmla="*/ 566592 w 577811"/>
                <a:gd name="connsiteY9" fmla="*/ 876 h 595516"/>
                <a:gd name="connsiteX10" fmla="*/ 549762 w 577811"/>
                <a:gd name="connsiteY10" fmla="*/ 6486 h 595516"/>
                <a:gd name="connsiteX11" fmla="*/ 560982 w 577811"/>
                <a:gd name="connsiteY11" fmla="*/ 40144 h 595516"/>
                <a:gd name="connsiteX12" fmla="*/ 566592 w 577811"/>
                <a:gd name="connsiteY12" fmla="*/ 208439 h 595516"/>
                <a:gd name="connsiteX13" fmla="*/ 572201 w 577811"/>
                <a:gd name="connsiteY13" fmla="*/ 225268 h 595516"/>
                <a:gd name="connsiteX14" fmla="*/ 566592 w 577811"/>
                <a:gd name="connsiteY14" fmla="*/ 286976 h 595516"/>
                <a:gd name="connsiteX15" fmla="*/ 555372 w 577811"/>
                <a:gd name="connsiteY15" fmla="*/ 359904 h 595516"/>
                <a:gd name="connsiteX16" fmla="*/ 544152 w 577811"/>
                <a:gd name="connsiteY16" fmla="*/ 477710 h 595516"/>
                <a:gd name="connsiteX17" fmla="*/ 549762 w 577811"/>
                <a:gd name="connsiteY17" fmla="*/ 528198 h 595516"/>
                <a:gd name="connsiteX18" fmla="*/ 566592 w 577811"/>
                <a:gd name="connsiteY18" fmla="*/ 539418 h 595516"/>
                <a:gd name="connsiteX19" fmla="*/ 549762 w 577811"/>
                <a:gd name="connsiteY19" fmla="*/ 550638 h 595516"/>
                <a:gd name="connsiteX20" fmla="*/ 359028 w 577811"/>
                <a:gd name="connsiteY20" fmla="*/ 550638 h 595516"/>
                <a:gd name="connsiteX21" fmla="*/ 319760 w 577811"/>
                <a:gd name="connsiteY21" fmla="*/ 556248 h 595516"/>
                <a:gd name="connsiteX22" fmla="*/ 241222 w 577811"/>
                <a:gd name="connsiteY22" fmla="*/ 561857 h 595516"/>
                <a:gd name="connsiteX23" fmla="*/ 190734 w 577811"/>
                <a:gd name="connsiteY23" fmla="*/ 578687 h 595516"/>
                <a:gd name="connsiteX24" fmla="*/ 157075 w 577811"/>
                <a:gd name="connsiteY24" fmla="*/ 589906 h 595516"/>
                <a:gd name="connsiteX25" fmla="*/ 134636 w 577811"/>
                <a:gd name="connsiteY25" fmla="*/ 595516 h 595516"/>
                <a:gd name="connsiteX26" fmla="*/ 117806 w 577811"/>
                <a:gd name="connsiteY26" fmla="*/ 589906 h 595516"/>
                <a:gd name="connsiteX27" fmla="*/ 95367 w 577811"/>
                <a:gd name="connsiteY27" fmla="*/ 584297 h 595516"/>
                <a:gd name="connsiteX28" fmla="*/ 44879 w 577811"/>
                <a:gd name="connsiteY28" fmla="*/ 567467 h 595516"/>
                <a:gd name="connsiteX29" fmla="*/ 11220 w 577811"/>
                <a:gd name="connsiteY29" fmla="*/ 550638 h 595516"/>
                <a:gd name="connsiteX30" fmla="*/ 5610 w 577811"/>
                <a:gd name="connsiteY30" fmla="*/ 550638 h 595516"/>
                <a:gd name="connsiteX31" fmla="*/ 0 w 577811"/>
                <a:gd name="connsiteY31" fmla="*/ 96243 h 595516"/>
                <a:gd name="connsiteX0" fmla="*/ 0 w 577811"/>
                <a:gd name="connsiteY0" fmla="*/ 96243 h 595516"/>
                <a:gd name="connsiteX1" fmla="*/ 0 w 577811"/>
                <a:gd name="connsiteY1" fmla="*/ 96243 h 595516"/>
                <a:gd name="connsiteX2" fmla="*/ 431956 w 577811"/>
                <a:gd name="connsiteY2" fmla="*/ 51364 h 595516"/>
                <a:gd name="connsiteX3" fmla="*/ 460005 w 577811"/>
                <a:gd name="connsiteY3" fmla="*/ 45754 h 595516"/>
                <a:gd name="connsiteX4" fmla="*/ 510493 w 577811"/>
                <a:gd name="connsiteY4" fmla="*/ 40144 h 595516"/>
                <a:gd name="connsiteX5" fmla="*/ 527323 w 577811"/>
                <a:gd name="connsiteY5" fmla="*/ 34535 h 595516"/>
                <a:gd name="connsiteX6" fmla="*/ 560982 w 577811"/>
                <a:gd name="connsiteY6" fmla="*/ 28925 h 595516"/>
                <a:gd name="connsiteX7" fmla="*/ 577811 w 577811"/>
                <a:gd name="connsiteY7" fmla="*/ 17705 h 595516"/>
                <a:gd name="connsiteX8" fmla="*/ 566592 w 577811"/>
                <a:gd name="connsiteY8" fmla="*/ 876 h 595516"/>
                <a:gd name="connsiteX9" fmla="*/ 549762 w 577811"/>
                <a:gd name="connsiteY9" fmla="*/ 6486 h 595516"/>
                <a:gd name="connsiteX10" fmla="*/ 560982 w 577811"/>
                <a:gd name="connsiteY10" fmla="*/ 40144 h 595516"/>
                <a:gd name="connsiteX11" fmla="*/ 566592 w 577811"/>
                <a:gd name="connsiteY11" fmla="*/ 208439 h 595516"/>
                <a:gd name="connsiteX12" fmla="*/ 572201 w 577811"/>
                <a:gd name="connsiteY12" fmla="*/ 225268 h 595516"/>
                <a:gd name="connsiteX13" fmla="*/ 566592 w 577811"/>
                <a:gd name="connsiteY13" fmla="*/ 286976 h 595516"/>
                <a:gd name="connsiteX14" fmla="*/ 555372 w 577811"/>
                <a:gd name="connsiteY14" fmla="*/ 359904 h 595516"/>
                <a:gd name="connsiteX15" fmla="*/ 544152 w 577811"/>
                <a:gd name="connsiteY15" fmla="*/ 477710 h 595516"/>
                <a:gd name="connsiteX16" fmla="*/ 549762 w 577811"/>
                <a:gd name="connsiteY16" fmla="*/ 528198 h 595516"/>
                <a:gd name="connsiteX17" fmla="*/ 566592 w 577811"/>
                <a:gd name="connsiteY17" fmla="*/ 539418 h 595516"/>
                <a:gd name="connsiteX18" fmla="*/ 549762 w 577811"/>
                <a:gd name="connsiteY18" fmla="*/ 550638 h 595516"/>
                <a:gd name="connsiteX19" fmla="*/ 359028 w 577811"/>
                <a:gd name="connsiteY19" fmla="*/ 550638 h 595516"/>
                <a:gd name="connsiteX20" fmla="*/ 319760 w 577811"/>
                <a:gd name="connsiteY20" fmla="*/ 556248 h 595516"/>
                <a:gd name="connsiteX21" fmla="*/ 241222 w 577811"/>
                <a:gd name="connsiteY21" fmla="*/ 561857 h 595516"/>
                <a:gd name="connsiteX22" fmla="*/ 190734 w 577811"/>
                <a:gd name="connsiteY22" fmla="*/ 578687 h 595516"/>
                <a:gd name="connsiteX23" fmla="*/ 157075 w 577811"/>
                <a:gd name="connsiteY23" fmla="*/ 589906 h 595516"/>
                <a:gd name="connsiteX24" fmla="*/ 134636 w 577811"/>
                <a:gd name="connsiteY24" fmla="*/ 595516 h 595516"/>
                <a:gd name="connsiteX25" fmla="*/ 117806 w 577811"/>
                <a:gd name="connsiteY25" fmla="*/ 589906 h 595516"/>
                <a:gd name="connsiteX26" fmla="*/ 95367 w 577811"/>
                <a:gd name="connsiteY26" fmla="*/ 584297 h 595516"/>
                <a:gd name="connsiteX27" fmla="*/ 44879 w 577811"/>
                <a:gd name="connsiteY27" fmla="*/ 567467 h 595516"/>
                <a:gd name="connsiteX28" fmla="*/ 11220 w 577811"/>
                <a:gd name="connsiteY28" fmla="*/ 550638 h 595516"/>
                <a:gd name="connsiteX29" fmla="*/ 5610 w 577811"/>
                <a:gd name="connsiteY29" fmla="*/ 550638 h 595516"/>
                <a:gd name="connsiteX30" fmla="*/ 0 w 577811"/>
                <a:gd name="connsiteY30" fmla="*/ 96243 h 595516"/>
                <a:gd name="connsiteX0" fmla="*/ 0 w 577811"/>
                <a:gd name="connsiteY0" fmla="*/ 96243 h 595516"/>
                <a:gd name="connsiteX1" fmla="*/ 0 w 577811"/>
                <a:gd name="connsiteY1" fmla="*/ 96243 h 595516"/>
                <a:gd name="connsiteX2" fmla="*/ 460005 w 577811"/>
                <a:gd name="connsiteY2" fmla="*/ 45754 h 595516"/>
                <a:gd name="connsiteX3" fmla="*/ 510493 w 577811"/>
                <a:gd name="connsiteY3" fmla="*/ 40144 h 595516"/>
                <a:gd name="connsiteX4" fmla="*/ 527323 w 577811"/>
                <a:gd name="connsiteY4" fmla="*/ 34535 h 595516"/>
                <a:gd name="connsiteX5" fmla="*/ 560982 w 577811"/>
                <a:gd name="connsiteY5" fmla="*/ 28925 h 595516"/>
                <a:gd name="connsiteX6" fmla="*/ 577811 w 577811"/>
                <a:gd name="connsiteY6" fmla="*/ 17705 h 595516"/>
                <a:gd name="connsiteX7" fmla="*/ 566592 w 577811"/>
                <a:gd name="connsiteY7" fmla="*/ 876 h 595516"/>
                <a:gd name="connsiteX8" fmla="*/ 549762 w 577811"/>
                <a:gd name="connsiteY8" fmla="*/ 6486 h 595516"/>
                <a:gd name="connsiteX9" fmla="*/ 560982 w 577811"/>
                <a:gd name="connsiteY9" fmla="*/ 40144 h 595516"/>
                <a:gd name="connsiteX10" fmla="*/ 566592 w 577811"/>
                <a:gd name="connsiteY10" fmla="*/ 208439 h 595516"/>
                <a:gd name="connsiteX11" fmla="*/ 572201 w 577811"/>
                <a:gd name="connsiteY11" fmla="*/ 225268 h 595516"/>
                <a:gd name="connsiteX12" fmla="*/ 566592 w 577811"/>
                <a:gd name="connsiteY12" fmla="*/ 286976 h 595516"/>
                <a:gd name="connsiteX13" fmla="*/ 555372 w 577811"/>
                <a:gd name="connsiteY13" fmla="*/ 359904 h 595516"/>
                <a:gd name="connsiteX14" fmla="*/ 544152 w 577811"/>
                <a:gd name="connsiteY14" fmla="*/ 477710 h 595516"/>
                <a:gd name="connsiteX15" fmla="*/ 549762 w 577811"/>
                <a:gd name="connsiteY15" fmla="*/ 528198 h 595516"/>
                <a:gd name="connsiteX16" fmla="*/ 566592 w 577811"/>
                <a:gd name="connsiteY16" fmla="*/ 539418 h 595516"/>
                <a:gd name="connsiteX17" fmla="*/ 549762 w 577811"/>
                <a:gd name="connsiteY17" fmla="*/ 550638 h 595516"/>
                <a:gd name="connsiteX18" fmla="*/ 359028 w 577811"/>
                <a:gd name="connsiteY18" fmla="*/ 550638 h 595516"/>
                <a:gd name="connsiteX19" fmla="*/ 319760 w 577811"/>
                <a:gd name="connsiteY19" fmla="*/ 556248 h 595516"/>
                <a:gd name="connsiteX20" fmla="*/ 241222 w 577811"/>
                <a:gd name="connsiteY20" fmla="*/ 561857 h 595516"/>
                <a:gd name="connsiteX21" fmla="*/ 190734 w 577811"/>
                <a:gd name="connsiteY21" fmla="*/ 578687 h 595516"/>
                <a:gd name="connsiteX22" fmla="*/ 157075 w 577811"/>
                <a:gd name="connsiteY22" fmla="*/ 589906 h 595516"/>
                <a:gd name="connsiteX23" fmla="*/ 134636 w 577811"/>
                <a:gd name="connsiteY23" fmla="*/ 595516 h 595516"/>
                <a:gd name="connsiteX24" fmla="*/ 117806 w 577811"/>
                <a:gd name="connsiteY24" fmla="*/ 589906 h 595516"/>
                <a:gd name="connsiteX25" fmla="*/ 95367 w 577811"/>
                <a:gd name="connsiteY25" fmla="*/ 584297 h 595516"/>
                <a:gd name="connsiteX26" fmla="*/ 44879 w 577811"/>
                <a:gd name="connsiteY26" fmla="*/ 567467 h 595516"/>
                <a:gd name="connsiteX27" fmla="*/ 11220 w 577811"/>
                <a:gd name="connsiteY27" fmla="*/ 550638 h 595516"/>
                <a:gd name="connsiteX28" fmla="*/ 5610 w 577811"/>
                <a:gd name="connsiteY28" fmla="*/ 550638 h 595516"/>
                <a:gd name="connsiteX29" fmla="*/ 0 w 577811"/>
                <a:gd name="connsiteY29" fmla="*/ 96243 h 595516"/>
                <a:gd name="connsiteX0" fmla="*/ 0 w 577811"/>
                <a:gd name="connsiteY0" fmla="*/ 96243 h 595516"/>
                <a:gd name="connsiteX1" fmla="*/ 0 w 577811"/>
                <a:gd name="connsiteY1" fmla="*/ 96243 h 595516"/>
                <a:gd name="connsiteX2" fmla="*/ 510493 w 577811"/>
                <a:gd name="connsiteY2" fmla="*/ 40144 h 595516"/>
                <a:gd name="connsiteX3" fmla="*/ 527323 w 577811"/>
                <a:gd name="connsiteY3" fmla="*/ 34535 h 595516"/>
                <a:gd name="connsiteX4" fmla="*/ 560982 w 577811"/>
                <a:gd name="connsiteY4" fmla="*/ 28925 h 595516"/>
                <a:gd name="connsiteX5" fmla="*/ 577811 w 577811"/>
                <a:gd name="connsiteY5" fmla="*/ 17705 h 595516"/>
                <a:gd name="connsiteX6" fmla="*/ 566592 w 577811"/>
                <a:gd name="connsiteY6" fmla="*/ 876 h 595516"/>
                <a:gd name="connsiteX7" fmla="*/ 549762 w 577811"/>
                <a:gd name="connsiteY7" fmla="*/ 6486 h 595516"/>
                <a:gd name="connsiteX8" fmla="*/ 560982 w 577811"/>
                <a:gd name="connsiteY8" fmla="*/ 40144 h 595516"/>
                <a:gd name="connsiteX9" fmla="*/ 566592 w 577811"/>
                <a:gd name="connsiteY9" fmla="*/ 208439 h 595516"/>
                <a:gd name="connsiteX10" fmla="*/ 572201 w 577811"/>
                <a:gd name="connsiteY10" fmla="*/ 225268 h 595516"/>
                <a:gd name="connsiteX11" fmla="*/ 566592 w 577811"/>
                <a:gd name="connsiteY11" fmla="*/ 286976 h 595516"/>
                <a:gd name="connsiteX12" fmla="*/ 555372 w 577811"/>
                <a:gd name="connsiteY12" fmla="*/ 359904 h 595516"/>
                <a:gd name="connsiteX13" fmla="*/ 544152 w 577811"/>
                <a:gd name="connsiteY13" fmla="*/ 477710 h 595516"/>
                <a:gd name="connsiteX14" fmla="*/ 549762 w 577811"/>
                <a:gd name="connsiteY14" fmla="*/ 528198 h 595516"/>
                <a:gd name="connsiteX15" fmla="*/ 566592 w 577811"/>
                <a:gd name="connsiteY15" fmla="*/ 539418 h 595516"/>
                <a:gd name="connsiteX16" fmla="*/ 549762 w 577811"/>
                <a:gd name="connsiteY16" fmla="*/ 550638 h 595516"/>
                <a:gd name="connsiteX17" fmla="*/ 359028 w 577811"/>
                <a:gd name="connsiteY17" fmla="*/ 550638 h 595516"/>
                <a:gd name="connsiteX18" fmla="*/ 319760 w 577811"/>
                <a:gd name="connsiteY18" fmla="*/ 556248 h 595516"/>
                <a:gd name="connsiteX19" fmla="*/ 241222 w 577811"/>
                <a:gd name="connsiteY19" fmla="*/ 561857 h 595516"/>
                <a:gd name="connsiteX20" fmla="*/ 190734 w 577811"/>
                <a:gd name="connsiteY20" fmla="*/ 578687 h 595516"/>
                <a:gd name="connsiteX21" fmla="*/ 157075 w 577811"/>
                <a:gd name="connsiteY21" fmla="*/ 589906 h 595516"/>
                <a:gd name="connsiteX22" fmla="*/ 134636 w 577811"/>
                <a:gd name="connsiteY22" fmla="*/ 595516 h 595516"/>
                <a:gd name="connsiteX23" fmla="*/ 117806 w 577811"/>
                <a:gd name="connsiteY23" fmla="*/ 589906 h 595516"/>
                <a:gd name="connsiteX24" fmla="*/ 95367 w 577811"/>
                <a:gd name="connsiteY24" fmla="*/ 584297 h 595516"/>
                <a:gd name="connsiteX25" fmla="*/ 44879 w 577811"/>
                <a:gd name="connsiteY25" fmla="*/ 567467 h 595516"/>
                <a:gd name="connsiteX26" fmla="*/ 11220 w 577811"/>
                <a:gd name="connsiteY26" fmla="*/ 550638 h 595516"/>
                <a:gd name="connsiteX27" fmla="*/ 5610 w 577811"/>
                <a:gd name="connsiteY27" fmla="*/ 550638 h 595516"/>
                <a:gd name="connsiteX28" fmla="*/ 0 w 577811"/>
                <a:gd name="connsiteY28" fmla="*/ 96243 h 595516"/>
                <a:gd name="connsiteX0" fmla="*/ 0 w 577811"/>
                <a:gd name="connsiteY0" fmla="*/ 96243 h 595516"/>
                <a:gd name="connsiteX1" fmla="*/ 0 w 577811"/>
                <a:gd name="connsiteY1" fmla="*/ 96243 h 595516"/>
                <a:gd name="connsiteX2" fmla="*/ 527323 w 577811"/>
                <a:gd name="connsiteY2" fmla="*/ 34535 h 595516"/>
                <a:gd name="connsiteX3" fmla="*/ 560982 w 577811"/>
                <a:gd name="connsiteY3" fmla="*/ 28925 h 595516"/>
                <a:gd name="connsiteX4" fmla="*/ 577811 w 577811"/>
                <a:gd name="connsiteY4" fmla="*/ 17705 h 595516"/>
                <a:gd name="connsiteX5" fmla="*/ 566592 w 577811"/>
                <a:gd name="connsiteY5" fmla="*/ 876 h 595516"/>
                <a:gd name="connsiteX6" fmla="*/ 549762 w 577811"/>
                <a:gd name="connsiteY6" fmla="*/ 6486 h 595516"/>
                <a:gd name="connsiteX7" fmla="*/ 560982 w 577811"/>
                <a:gd name="connsiteY7" fmla="*/ 40144 h 595516"/>
                <a:gd name="connsiteX8" fmla="*/ 566592 w 577811"/>
                <a:gd name="connsiteY8" fmla="*/ 208439 h 595516"/>
                <a:gd name="connsiteX9" fmla="*/ 572201 w 577811"/>
                <a:gd name="connsiteY9" fmla="*/ 225268 h 595516"/>
                <a:gd name="connsiteX10" fmla="*/ 566592 w 577811"/>
                <a:gd name="connsiteY10" fmla="*/ 286976 h 595516"/>
                <a:gd name="connsiteX11" fmla="*/ 555372 w 577811"/>
                <a:gd name="connsiteY11" fmla="*/ 359904 h 595516"/>
                <a:gd name="connsiteX12" fmla="*/ 544152 w 577811"/>
                <a:gd name="connsiteY12" fmla="*/ 477710 h 595516"/>
                <a:gd name="connsiteX13" fmla="*/ 549762 w 577811"/>
                <a:gd name="connsiteY13" fmla="*/ 528198 h 595516"/>
                <a:gd name="connsiteX14" fmla="*/ 566592 w 577811"/>
                <a:gd name="connsiteY14" fmla="*/ 539418 h 595516"/>
                <a:gd name="connsiteX15" fmla="*/ 549762 w 577811"/>
                <a:gd name="connsiteY15" fmla="*/ 550638 h 595516"/>
                <a:gd name="connsiteX16" fmla="*/ 359028 w 577811"/>
                <a:gd name="connsiteY16" fmla="*/ 550638 h 595516"/>
                <a:gd name="connsiteX17" fmla="*/ 319760 w 577811"/>
                <a:gd name="connsiteY17" fmla="*/ 556248 h 595516"/>
                <a:gd name="connsiteX18" fmla="*/ 241222 w 577811"/>
                <a:gd name="connsiteY18" fmla="*/ 561857 h 595516"/>
                <a:gd name="connsiteX19" fmla="*/ 190734 w 577811"/>
                <a:gd name="connsiteY19" fmla="*/ 578687 h 595516"/>
                <a:gd name="connsiteX20" fmla="*/ 157075 w 577811"/>
                <a:gd name="connsiteY20" fmla="*/ 589906 h 595516"/>
                <a:gd name="connsiteX21" fmla="*/ 134636 w 577811"/>
                <a:gd name="connsiteY21" fmla="*/ 595516 h 595516"/>
                <a:gd name="connsiteX22" fmla="*/ 117806 w 577811"/>
                <a:gd name="connsiteY22" fmla="*/ 589906 h 595516"/>
                <a:gd name="connsiteX23" fmla="*/ 95367 w 577811"/>
                <a:gd name="connsiteY23" fmla="*/ 584297 h 595516"/>
                <a:gd name="connsiteX24" fmla="*/ 44879 w 577811"/>
                <a:gd name="connsiteY24" fmla="*/ 567467 h 595516"/>
                <a:gd name="connsiteX25" fmla="*/ 11220 w 577811"/>
                <a:gd name="connsiteY25" fmla="*/ 550638 h 595516"/>
                <a:gd name="connsiteX26" fmla="*/ 5610 w 577811"/>
                <a:gd name="connsiteY26" fmla="*/ 550638 h 595516"/>
                <a:gd name="connsiteX27" fmla="*/ 0 w 577811"/>
                <a:gd name="connsiteY27" fmla="*/ 96243 h 595516"/>
                <a:gd name="connsiteX0" fmla="*/ 0 w 577811"/>
                <a:gd name="connsiteY0" fmla="*/ 96243 h 595516"/>
                <a:gd name="connsiteX1" fmla="*/ 0 w 577811"/>
                <a:gd name="connsiteY1" fmla="*/ 96243 h 595516"/>
                <a:gd name="connsiteX2" fmla="*/ 560982 w 577811"/>
                <a:gd name="connsiteY2" fmla="*/ 28925 h 595516"/>
                <a:gd name="connsiteX3" fmla="*/ 577811 w 577811"/>
                <a:gd name="connsiteY3" fmla="*/ 17705 h 595516"/>
                <a:gd name="connsiteX4" fmla="*/ 566592 w 577811"/>
                <a:gd name="connsiteY4" fmla="*/ 876 h 595516"/>
                <a:gd name="connsiteX5" fmla="*/ 549762 w 577811"/>
                <a:gd name="connsiteY5" fmla="*/ 6486 h 595516"/>
                <a:gd name="connsiteX6" fmla="*/ 560982 w 577811"/>
                <a:gd name="connsiteY6" fmla="*/ 40144 h 595516"/>
                <a:gd name="connsiteX7" fmla="*/ 566592 w 577811"/>
                <a:gd name="connsiteY7" fmla="*/ 208439 h 595516"/>
                <a:gd name="connsiteX8" fmla="*/ 572201 w 577811"/>
                <a:gd name="connsiteY8" fmla="*/ 225268 h 595516"/>
                <a:gd name="connsiteX9" fmla="*/ 566592 w 577811"/>
                <a:gd name="connsiteY9" fmla="*/ 286976 h 595516"/>
                <a:gd name="connsiteX10" fmla="*/ 555372 w 577811"/>
                <a:gd name="connsiteY10" fmla="*/ 359904 h 595516"/>
                <a:gd name="connsiteX11" fmla="*/ 544152 w 577811"/>
                <a:gd name="connsiteY11" fmla="*/ 477710 h 595516"/>
                <a:gd name="connsiteX12" fmla="*/ 549762 w 577811"/>
                <a:gd name="connsiteY12" fmla="*/ 528198 h 595516"/>
                <a:gd name="connsiteX13" fmla="*/ 566592 w 577811"/>
                <a:gd name="connsiteY13" fmla="*/ 539418 h 595516"/>
                <a:gd name="connsiteX14" fmla="*/ 549762 w 577811"/>
                <a:gd name="connsiteY14" fmla="*/ 550638 h 595516"/>
                <a:gd name="connsiteX15" fmla="*/ 359028 w 577811"/>
                <a:gd name="connsiteY15" fmla="*/ 550638 h 595516"/>
                <a:gd name="connsiteX16" fmla="*/ 319760 w 577811"/>
                <a:gd name="connsiteY16" fmla="*/ 556248 h 595516"/>
                <a:gd name="connsiteX17" fmla="*/ 241222 w 577811"/>
                <a:gd name="connsiteY17" fmla="*/ 561857 h 595516"/>
                <a:gd name="connsiteX18" fmla="*/ 190734 w 577811"/>
                <a:gd name="connsiteY18" fmla="*/ 578687 h 595516"/>
                <a:gd name="connsiteX19" fmla="*/ 157075 w 577811"/>
                <a:gd name="connsiteY19" fmla="*/ 589906 h 595516"/>
                <a:gd name="connsiteX20" fmla="*/ 134636 w 577811"/>
                <a:gd name="connsiteY20" fmla="*/ 595516 h 595516"/>
                <a:gd name="connsiteX21" fmla="*/ 117806 w 577811"/>
                <a:gd name="connsiteY21" fmla="*/ 589906 h 595516"/>
                <a:gd name="connsiteX22" fmla="*/ 95367 w 577811"/>
                <a:gd name="connsiteY22" fmla="*/ 584297 h 595516"/>
                <a:gd name="connsiteX23" fmla="*/ 44879 w 577811"/>
                <a:gd name="connsiteY23" fmla="*/ 567467 h 595516"/>
                <a:gd name="connsiteX24" fmla="*/ 11220 w 577811"/>
                <a:gd name="connsiteY24" fmla="*/ 550638 h 595516"/>
                <a:gd name="connsiteX25" fmla="*/ 5610 w 577811"/>
                <a:gd name="connsiteY25" fmla="*/ 550638 h 595516"/>
                <a:gd name="connsiteX26" fmla="*/ 0 w 577811"/>
                <a:gd name="connsiteY26" fmla="*/ 96243 h 595516"/>
                <a:gd name="connsiteX0" fmla="*/ 0 w 577811"/>
                <a:gd name="connsiteY0" fmla="*/ 90510 h 589783"/>
                <a:gd name="connsiteX1" fmla="*/ 0 w 577811"/>
                <a:gd name="connsiteY1" fmla="*/ 90510 h 589783"/>
                <a:gd name="connsiteX2" fmla="*/ 560982 w 577811"/>
                <a:gd name="connsiteY2" fmla="*/ 23192 h 589783"/>
                <a:gd name="connsiteX3" fmla="*/ 577811 w 577811"/>
                <a:gd name="connsiteY3" fmla="*/ 11972 h 589783"/>
                <a:gd name="connsiteX4" fmla="*/ 549762 w 577811"/>
                <a:gd name="connsiteY4" fmla="*/ 753 h 589783"/>
                <a:gd name="connsiteX5" fmla="*/ 560982 w 577811"/>
                <a:gd name="connsiteY5" fmla="*/ 34411 h 589783"/>
                <a:gd name="connsiteX6" fmla="*/ 566592 w 577811"/>
                <a:gd name="connsiteY6" fmla="*/ 202706 h 589783"/>
                <a:gd name="connsiteX7" fmla="*/ 572201 w 577811"/>
                <a:gd name="connsiteY7" fmla="*/ 219535 h 589783"/>
                <a:gd name="connsiteX8" fmla="*/ 566592 w 577811"/>
                <a:gd name="connsiteY8" fmla="*/ 281243 h 589783"/>
                <a:gd name="connsiteX9" fmla="*/ 555372 w 577811"/>
                <a:gd name="connsiteY9" fmla="*/ 354171 h 589783"/>
                <a:gd name="connsiteX10" fmla="*/ 544152 w 577811"/>
                <a:gd name="connsiteY10" fmla="*/ 471977 h 589783"/>
                <a:gd name="connsiteX11" fmla="*/ 549762 w 577811"/>
                <a:gd name="connsiteY11" fmla="*/ 522465 h 589783"/>
                <a:gd name="connsiteX12" fmla="*/ 566592 w 577811"/>
                <a:gd name="connsiteY12" fmla="*/ 533685 h 589783"/>
                <a:gd name="connsiteX13" fmla="*/ 549762 w 577811"/>
                <a:gd name="connsiteY13" fmla="*/ 544905 h 589783"/>
                <a:gd name="connsiteX14" fmla="*/ 359028 w 577811"/>
                <a:gd name="connsiteY14" fmla="*/ 544905 h 589783"/>
                <a:gd name="connsiteX15" fmla="*/ 319760 w 577811"/>
                <a:gd name="connsiteY15" fmla="*/ 550515 h 589783"/>
                <a:gd name="connsiteX16" fmla="*/ 241222 w 577811"/>
                <a:gd name="connsiteY16" fmla="*/ 556124 h 589783"/>
                <a:gd name="connsiteX17" fmla="*/ 190734 w 577811"/>
                <a:gd name="connsiteY17" fmla="*/ 572954 h 589783"/>
                <a:gd name="connsiteX18" fmla="*/ 157075 w 577811"/>
                <a:gd name="connsiteY18" fmla="*/ 584173 h 589783"/>
                <a:gd name="connsiteX19" fmla="*/ 134636 w 577811"/>
                <a:gd name="connsiteY19" fmla="*/ 589783 h 589783"/>
                <a:gd name="connsiteX20" fmla="*/ 117806 w 577811"/>
                <a:gd name="connsiteY20" fmla="*/ 584173 h 589783"/>
                <a:gd name="connsiteX21" fmla="*/ 95367 w 577811"/>
                <a:gd name="connsiteY21" fmla="*/ 578564 h 589783"/>
                <a:gd name="connsiteX22" fmla="*/ 44879 w 577811"/>
                <a:gd name="connsiteY22" fmla="*/ 561734 h 589783"/>
                <a:gd name="connsiteX23" fmla="*/ 11220 w 577811"/>
                <a:gd name="connsiteY23" fmla="*/ 544905 h 589783"/>
                <a:gd name="connsiteX24" fmla="*/ 5610 w 577811"/>
                <a:gd name="connsiteY24" fmla="*/ 544905 h 589783"/>
                <a:gd name="connsiteX25" fmla="*/ 0 w 577811"/>
                <a:gd name="connsiteY25" fmla="*/ 90510 h 589783"/>
                <a:gd name="connsiteX0" fmla="*/ 0 w 695065"/>
                <a:gd name="connsiteY0" fmla="*/ 78614 h 577887"/>
                <a:gd name="connsiteX1" fmla="*/ 0 w 695065"/>
                <a:gd name="connsiteY1" fmla="*/ 78614 h 577887"/>
                <a:gd name="connsiteX2" fmla="*/ 560982 w 695065"/>
                <a:gd name="connsiteY2" fmla="*/ 11296 h 577887"/>
                <a:gd name="connsiteX3" fmla="*/ 577811 w 695065"/>
                <a:gd name="connsiteY3" fmla="*/ 76 h 577887"/>
                <a:gd name="connsiteX4" fmla="*/ 695018 w 695065"/>
                <a:gd name="connsiteY4" fmla="*/ 136494 h 577887"/>
                <a:gd name="connsiteX5" fmla="*/ 560982 w 695065"/>
                <a:gd name="connsiteY5" fmla="*/ 22515 h 577887"/>
                <a:gd name="connsiteX6" fmla="*/ 566592 w 695065"/>
                <a:gd name="connsiteY6" fmla="*/ 190810 h 577887"/>
                <a:gd name="connsiteX7" fmla="*/ 572201 w 695065"/>
                <a:gd name="connsiteY7" fmla="*/ 207639 h 577887"/>
                <a:gd name="connsiteX8" fmla="*/ 566592 w 695065"/>
                <a:gd name="connsiteY8" fmla="*/ 269347 h 577887"/>
                <a:gd name="connsiteX9" fmla="*/ 555372 w 695065"/>
                <a:gd name="connsiteY9" fmla="*/ 342275 h 577887"/>
                <a:gd name="connsiteX10" fmla="*/ 544152 w 695065"/>
                <a:gd name="connsiteY10" fmla="*/ 460081 h 577887"/>
                <a:gd name="connsiteX11" fmla="*/ 549762 w 695065"/>
                <a:gd name="connsiteY11" fmla="*/ 510569 h 577887"/>
                <a:gd name="connsiteX12" fmla="*/ 566592 w 695065"/>
                <a:gd name="connsiteY12" fmla="*/ 521789 h 577887"/>
                <a:gd name="connsiteX13" fmla="*/ 549762 w 695065"/>
                <a:gd name="connsiteY13" fmla="*/ 533009 h 577887"/>
                <a:gd name="connsiteX14" fmla="*/ 359028 w 695065"/>
                <a:gd name="connsiteY14" fmla="*/ 533009 h 577887"/>
                <a:gd name="connsiteX15" fmla="*/ 319760 w 695065"/>
                <a:gd name="connsiteY15" fmla="*/ 538619 h 577887"/>
                <a:gd name="connsiteX16" fmla="*/ 241222 w 695065"/>
                <a:gd name="connsiteY16" fmla="*/ 544228 h 577887"/>
                <a:gd name="connsiteX17" fmla="*/ 190734 w 695065"/>
                <a:gd name="connsiteY17" fmla="*/ 561058 h 577887"/>
                <a:gd name="connsiteX18" fmla="*/ 157075 w 695065"/>
                <a:gd name="connsiteY18" fmla="*/ 572277 h 577887"/>
                <a:gd name="connsiteX19" fmla="*/ 134636 w 695065"/>
                <a:gd name="connsiteY19" fmla="*/ 577887 h 577887"/>
                <a:gd name="connsiteX20" fmla="*/ 117806 w 695065"/>
                <a:gd name="connsiteY20" fmla="*/ 572277 h 577887"/>
                <a:gd name="connsiteX21" fmla="*/ 95367 w 695065"/>
                <a:gd name="connsiteY21" fmla="*/ 566668 h 577887"/>
                <a:gd name="connsiteX22" fmla="*/ 44879 w 695065"/>
                <a:gd name="connsiteY22" fmla="*/ 549838 h 577887"/>
                <a:gd name="connsiteX23" fmla="*/ 11220 w 695065"/>
                <a:gd name="connsiteY23" fmla="*/ 533009 h 577887"/>
                <a:gd name="connsiteX24" fmla="*/ 5610 w 695065"/>
                <a:gd name="connsiteY24" fmla="*/ 533009 h 577887"/>
                <a:gd name="connsiteX25" fmla="*/ 0 w 695065"/>
                <a:gd name="connsiteY25" fmla="*/ 78614 h 577887"/>
                <a:gd name="connsiteX0" fmla="*/ 0 w 577811"/>
                <a:gd name="connsiteY0" fmla="*/ 78998 h 578271"/>
                <a:gd name="connsiteX1" fmla="*/ 0 w 577811"/>
                <a:gd name="connsiteY1" fmla="*/ 78998 h 578271"/>
                <a:gd name="connsiteX2" fmla="*/ 560982 w 577811"/>
                <a:gd name="connsiteY2" fmla="*/ 11680 h 578271"/>
                <a:gd name="connsiteX3" fmla="*/ 577811 w 577811"/>
                <a:gd name="connsiteY3" fmla="*/ 460 h 578271"/>
                <a:gd name="connsiteX4" fmla="*/ 560982 w 577811"/>
                <a:gd name="connsiteY4" fmla="*/ 22899 h 578271"/>
                <a:gd name="connsiteX5" fmla="*/ 566592 w 577811"/>
                <a:gd name="connsiteY5" fmla="*/ 191194 h 578271"/>
                <a:gd name="connsiteX6" fmla="*/ 572201 w 577811"/>
                <a:gd name="connsiteY6" fmla="*/ 208023 h 578271"/>
                <a:gd name="connsiteX7" fmla="*/ 566592 w 577811"/>
                <a:gd name="connsiteY7" fmla="*/ 269731 h 578271"/>
                <a:gd name="connsiteX8" fmla="*/ 555372 w 577811"/>
                <a:gd name="connsiteY8" fmla="*/ 342659 h 578271"/>
                <a:gd name="connsiteX9" fmla="*/ 544152 w 577811"/>
                <a:gd name="connsiteY9" fmla="*/ 460465 h 578271"/>
                <a:gd name="connsiteX10" fmla="*/ 549762 w 577811"/>
                <a:gd name="connsiteY10" fmla="*/ 510953 h 578271"/>
                <a:gd name="connsiteX11" fmla="*/ 566592 w 577811"/>
                <a:gd name="connsiteY11" fmla="*/ 522173 h 578271"/>
                <a:gd name="connsiteX12" fmla="*/ 549762 w 577811"/>
                <a:gd name="connsiteY12" fmla="*/ 533393 h 578271"/>
                <a:gd name="connsiteX13" fmla="*/ 359028 w 577811"/>
                <a:gd name="connsiteY13" fmla="*/ 533393 h 578271"/>
                <a:gd name="connsiteX14" fmla="*/ 319760 w 577811"/>
                <a:gd name="connsiteY14" fmla="*/ 539003 h 578271"/>
                <a:gd name="connsiteX15" fmla="*/ 241222 w 577811"/>
                <a:gd name="connsiteY15" fmla="*/ 544612 h 578271"/>
                <a:gd name="connsiteX16" fmla="*/ 190734 w 577811"/>
                <a:gd name="connsiteY16" fmla="*/ 561442 h 578271"/>
                <a:gd name="connsiteX17" fmla="*/ 157075 w 577811"/>
                <a:gd name="connsiteY17" fmla="*/ 572661 h 578271"/>
                <a:gd name="connsiteX18" fmla="*/ 134636 w 577811"/>
                <a:gd name="connsiteY18" fmla="*/ 578271 h 578271"/>
                <a:gd name="connsiteX19" fmla="*/ 117806 w 577811"/>
                <a:gd name="connsiteY19" fmla="*/ 572661 h 578271"/>
                <a:gd name="connsiteX20" fmla="*/ 95367 w 577811"/>
                <a:gd name="connsiteY20" fmla="*/ 567052 h 578271"/>
                <a:gd name="connsiteX21" fmla="*/ 44879 w 577811"/>
                <a:gd name="connsiteY21" fmla="*/ 550222 h 578271"/>
                <a:gd name="connsiteX22" fmla="*/ 11220 w 577811"/>
                <a:gd name="connsiteY22" fmla="*/ 533393 h 578271"/>
                <a:gd name="connsiteX23" fmla="*/ 5610 w 577811"/>
                <a:gd name="connsiteY23" fmla="*/ 533393 h 578271"/>
                <a:gd name="connsiteX24" fmla="*/ 0 w 577811"/>
                <a:gd name="connsiteY24" fmla="*/ 78998 h 578271"/>
                <a:gd name="connsiteX0" fmla="*/ 0 w 577811"/>
                <a:gd name="connsiteY0" fmla="*/ 78998 h 578271"/>
                <a:gd name="connsiteX1" fmla="*/ 0 w 577811"/>
                <a:gd name="connsiteY1" fmla="*/ 78998 h 578271"/>
                <a:gd name="connsiteX2" fmla="*/ 577811 w 577811"/>
                <a:gd name="connsiteY2" fmla="*/ 460 h 578271"/>
                <a:gd name="connsiteX3" fmla="*/ 560982 w 577811"/>
                <a:gd name="connsiteY3" fmla="*/ 22899 h 578271"/>
                <a:gd name="connsiteX4" fmla="*/ 566592 w 577811"/>
                <a:gd name="connsiteY4" fmla="*/ 191194 h 578271"/>
                <a:gd name="connsiteX5" fmla="*/ 572201 w 577811"/>
                <a:gd name="connsiteY5" fmla="*/ 208023 h 578271"/>
                <a:gd name="connsiteX6" fmla="*/ 566592 w 577811"/>
                <a:gd name="connsiteY6" fmla="*/ 269731 h 578271"/>
                <a:gd name="connsiteX7" fmla="*/ 555372 w 577811"/>
                <a:gd name="connsiteY7" fmla="*/ 342659 h 578271"/>
                <a:gd name="connsiteX8" fmla="*/ 544152 w 577811"/>
                <a:gd name="connsiteY8" fmla="*/ 460465 h 578271"/>
                <a:gd name="connsiteX9" fmla="*/ 549762 w 577811"/>
                <a:gd name="connsiteY9" fmla="*/ 510953 h 578271"/>
                <a:gd name="connsiteX10" fmla="*/ 566592 w 577811"/>
                <a:gd name="connsiteY10" fmla="*/ 522173 h 578271"/>
                <a:gd name="connsiteX11" fmla="*/ 549762 w 577811"/>
                <a:gd name="connsiteY11" fmla="*/ 533393 h 578271"/>
                <a:gd name="connsiteX12" fmla="*/ 359028 w 577811"/>
                <a:gd name="connsiteY12" fmla="*/ 533393 h 578271"/>
                <a:gd name="connsiteX13" fmla="*/ 319760 w 577811"/>
                <a:gd name="connsiteY13" fmla="*/ 539003 h 578271"/>
                <a:gd name="connsiteX14" fmla="*/ 241222 w 577811"/>
                <a:gd name="connsiteY14" fmla="*/ 544612 h 578271"/>
                <a:gd name="connsiteX15" fmla="*/ 190734 w 577811"/>
                <a:gd name="connsiteY15" fmla="*/ 561442 h 578271"/>
                <a:gd name="connsiteX16" fmla="*/ 157075 w 577811"/>
                <a:gd name="connsiteY16" fmla="*/ 572661 h 578271"/>
                <a:gd name="connsiteX17" fmla="*/ 134636 w 577811"/>
                <a:gd name="connsiteY17" fmla="*/ 578271 h 578271"/>
                <a:gd name="connsiteX18" fmla="*/ 117806 w 577811"/>
                <a:gd name="connsiteY18" fmla="*/ 572661 h 578271"/>
                <a:gd name="connsiteX19" fmla="*/ 95367 w 577811"/>
                <a:gd name="connsiteY19" fmla="*/ 567052 h 578271"/>
                <a:gd name="connsiteX20" fmla="*/ 44879 w 577811"/>
                <a:gd name="connsiteY20" fmla="*/ 550222 h 578271"/>
                <a:gd name="connsiteX21" fmla="*/ 11220 w 577811"/>
                <a:gd name="connsiteY21" fmla="*/ 533393 h 578271"/>
                <a:gd name="connsiteX22" fmla="*/ 5610 w 577811"/>
                <a:gd name="connsiteY22" fmla="*/ 533393 h 578271"/>
                <a:gd name="connsiteX23" fmla="*/ 0 w 577811"/>
                <a:gd name="connsiteY23" fmla="*/ 78998 h 578271"/>
                <a:gd name="connsiteX0" fmla="*/ 0 w 617242"/>
                <a:gd name="connsiteY0" fmla="*/ 78538 h 577811"/>
                <a:gd name="connsiteX1" fmla="*/ 0 w 617242"/>
                <a:gd name="connsiteY1" fmla="*/ 78538 h 577811"/>
                <a:gd name="connsiteX2" fmla="*/ 577811 w 617242"/>
                <a:gd name="connsiteY2" fmla="*/ 0 h 577811"/>
                <a:gd name="connsiteX3" fmla="*/ 566592 w 617242"/>
                <a:gd name="connsiteY3" fmla="*/ 190734 h 577811"/>
                <a:gd name="connsiteX4" fmla="*/ 572201 w 617242"/>
                <a:gd name="connsiteY4" fmla="*/ 207563 h 577811"/>
                <a:gd name="connsiteX5" fmla="*/ 566592 w 617242"/>
                <a:gd name="connsiteY5" fmla="*/ 269271 h 577811"/>
                <a:gd name="connsiteX6" fmla="*/ 555372 w 617242"/>
                <a:gd name="connsiteY6" fmla="*/ 342199 h 577811"/>
                <a:gd name="connsiteX7" fmla="*/ 544152 w 617242"/>
                <a:gd name="connsiteY7" fmla="*/ 460005 h 577811"/>
                <a:gd name="connsiteX8" fmla="*/ 549762 w 617242"/>
                <a:gd name="connsiteY8" fmla="*/ 510493 h 577811"/>
                <a:gd name="connsiteX9" fmla="*/ 566592 w 617242"/>
                <a:gd name="connsiteY9" fmla="*/ 521713 h 577811"/>
                <a:gd name="connsiteX10" fmla="*/ 549762 w 617242"/>
                <a:gd name="connsiteY10" fmla="*/ 532933 h 577811"/>
                <a:gd name="connsiteX11" fmla="*/ 359028 w 617242"/>
                <a:gd name="connsiteY11" fmla="*/ 532933 h 577811"/>
                <a:gd name="connsiteX12" fmla="*/ 319760 w 617242"/>
                <a:gd name="connsiteY12" fmla="*/ 538543 h 577811"/>
                <a:gd name="connsiteX13" fmla="*/ 241222 w 617242"/>
                <a:gd name="connsiteY13" fmla="*/ 544152 h 577811"/>
                <a:gd name="connsiteX14" fmla="*/ 190734 w 617242"/>
                <a:gd name="connsiteY14" fmla="*/ 560982 h 577811"/>
                <a:gd name="connsiteX15" fmla="*/ 157075 w 617242"/>
                <a:gd name="connsiteY15" fmla="*/ 572201 h 577811"/>
                <a:gd name="connsiteX16" fmla="*/ 134636 w 617242"/>
                <a:gd name="connsiteY16" fmla="*/ 577811 h 577811"/>
                <a:gd name="connsiteX17" fmla="*/ 117806 w 617242"/>
                <a:gd name="connsiteY17" fmla="*/ 572201 h 577811"/>
                <a:gd name="connsiteX18" fmla="*/ 95367 w 617242"/>
                <a:gd name="connsiteY18" fmla="*/ 566592 h 577811"/>
                <a:gd name="connsiteX19" fmla="*/ 44879 w 617242"/>
                <a:gd name="connsiteY19" fmla="*/ 549762 h 577811"/>
                <a:gd name="connsiteX20" fmla="*/ 11220 w 617242"/>
                <a:gd name="connsiteY20" fmla="*/ 532933 h 577811"/>
                <a:gd name="connsiteX21" fmla="*/ 5610 w 617242"/>
                <a:gd name="connsiteY21" fmla="*/ 532933 h 577811"/>
                <a:gd name="connsiteX22" fmla="*/ 0 w 617242"/>
                <a:gd name="connsiteY22" fmla="*/ 78538 h 577811"/>
                <a:gd name="connsiteX0" fmla="*/ 0 w 580619"/>
                <a:gd name="connsiteY0" fmla="*/ 21388 h 520661"/>
                <a:gd name="connsiteX1" fmla="*/ 0 w 580619"/>
                <a:gd name="connsiteY1" fmla="*/ 21388 h 520661"/>
                <a:gd name="connsiteX2" fmla="*/ 523043 w 580619"/>
                <a:gd name="connsiteY2" fmla="*/ 0 h 520661"/>
                <a:gd name="connsiteX3" fmla="*/ 566592 w 580619"/>
                <a:gd name="connsiteY3" fmla="*/ 133584 h 520661"/>
                <a:gd name="connsiteX4" fmla="*/ 572201 w 580619"/>
                <a:gd name="connsiteY4" fmla="*/ 150413 h 520661"/>
                <a:gd name="connsiteX5" fmla="*/ 566592 w 580619"/>
                <a:gd name="connsiteY5" fmla="*/ 212121 h 520661"/>
                <a:gd name="connsiteX6" fmla="*/ 555372 w 580619"/>
                <a:gd name="connsiteY6" fmla="*/ 285049 h 520661"/>
                <a:gd name="connsiteX7" fmla="*/ 544152 w 580619"/>
                <a:gd name="connsiteY7" fmla="*/ 402855 h 520661"/>
                <a:gd name="connsiteX8" fmla="*/ 549762 w 580619"/>
                <a:gd name="connsiteY8" fmla="*/ 453343 h 520661"/>
                <a:gd name="connsiteX9" fmla="*/ 566592 w 580619"/>
                <a:gd name="connsiteY9" fmla="*/ 464563 h 520661"/>
                <a:gd name="connsiteX10" fmla="*/ 549762 w 580619"/>
                <a:gd name="connsiteY10" fmla="*/ 475783 h 520661"/>
                <a:gd name="connsiteX11" fmla="*/ 359028 w 580619"/>
                <a:gd name="connsiteY11" fmla="*/ 475783 h 520661"/>
                <a:gd name="connsiteX12" fmla="*/ 319760 w 580619"/>
                <a:gd name="connsiteY12" fmla="*/ 481393 h 520661"/>
                <a:gd name="connsiteX13" fmla="*/ 241222 w 580619"/>
                <a:gd name="connsiteY13" fmla="*/ 487002 h 520661"/>
                <a:gd name="connsiteX14" fmla="*/ 190734 w 580619"/>
                <a:gd name="connsiteY14" fmla="*/ 503832 h 520661"/>
                <a:gd name="connsiteX15" fmla="*/ 157075 w 580619"/>
                <a:gd name="connsiteY15" fmla="*/ 515051 h 520661"/>
                <a:gd name="connsiteX16" fmla="*/ 134636 w 580619"/>
                <a:gd name="connsiteY16" fmla="*/ 520661 h 520661"/>
                <a:gd name="connsiteX17" fmla="*/ 117806 w 580619"/>
                <a:gd name="connsiteY17" fmla="*/ 515051 h 520661"/>
                <a:gd name="connsiteX18" fmla="*/ 95367 w 580619"/>
                <a:gd name="connsiteY18" fmla="*/ 509442 h 520661"/>
                <a:gd name="connsiteX19" fmla="*/ 44879 w 580619"/>
                <a:gd name="connsiteY19" fmla="*/ 492612 h 520661"/>
                <a:gd name="connsiteX20" fmla="*/ 11220 w 580619"/>
                <a:gd name="connsiteY20" fmla="*/ 475783 h 520661"/>
                <a:gd name="connsiteX21" fmla="*/ 5610 w 580619"/>
                <a:gd name="connsiteY21" fmla="*/ 475783 h 520661"/>
                <a:gd name="connsiteX22" fmla="*/ 0 w 580619"/>
                <a:gd name="connsiteY22" fmla="*/ 21388 h 520661"/>
                <a:gd name="connsiteX0" fmla="*/ 0 w 572201"/>
                <a:gd name="connsiteY0" fmla="*/ 21388 h 520661"/>
                <a:gd name="connsiteX1" fmla="*/ 0 w 572201"/>
                <a:gd name="connsiteY1" fmla="*/ 21388 h 520661"/>
                <a:gd name="connsiteX2" fmla="*/ 523043 w 572201"/>
                <a:gd name="connsiteY2" fmla="*/ 0 h 520661"/>
                <a:gd name="connsiteX3" fmla="*/ 566592 w 572201"/>
                <a:gd name="connsiteY3" fmla="*/ 133584 h 520661"/>
                <a:gd name="connsiteX4" fmla="*/ 572201 w 572201"/>
                <a:gd name="connsiteY4" fmla="*/ 150413 h 520661"/>
                <a:gd name="connsiteX5" fmla="*/ 566592 w 572201"/>
                <a:gd name="connsiteY5" fmla="*/ 212121 h 520661"/>
                <a:gd name="connsiteX6" fmla="*/ 555372 w 572201"/>
                <a:gd name="connsiteY6" fmla="*/ 285049 h 520661"/>
                <a:gd name="connsiteX7" fmla="*/ 544152 w 572201"/>
                <a:gd name="connsiteY7" fmla="*/ 402855 h 520661"/>
                <a:gd name="connsiteX8" fmla="*/ 549762 w 572201"/>
                <a:gd name="connsiteY8" fmla="*/ 453343 h 520661"/>
                <a:gd name="connsiteX9" fmla="*/ 566592 w 572201"/>
                <a:gd name="connsiteY9" fmla="*/ 464563 h 520661"/>
                <a:gd name="connsiteX10" fmla="*/ 549762 w 572201"/>
                <a:gd name="connsiteY10" fmla="*/ 475783 h 520661"/>
                <a:gd name="connsiteX11" fmla="*/ 359028 w 572201"/>
                <a:gd name="connsiteY11" fmla="*/ 475783 h 520661"/>
                <a:gd name="connsiteX12" fmla="*/ 319760 w 572201"/>
                <a:gd name="connsiteY12" fmla="*/ 481393 h 520661"/>
                <a:gd name="connsiteX13" fmla="*/ 241222 w 572201"/>
                <a:gd name="connsiteY13" fmla="*/ 487002 h 520661"/>
                <a:gd name="connsiteX14" fmla="*/ 190734 w 572201"/>
                <a:gd name="connsiteY14" fmla="*/ 503832 h 520661"/>
                <a:gd name="connsiteX15" fmla="*/ 157075 w 572201"/>
                <a:gd name="connsiteY15" fmla="*/ 515051 h 520661"/>
                <a:gd name="connsiteX16" fmla="*/ 134636 w 572201"/>
                <a:gd name="connsiteY16" fmla="*/ 520661 h 520661"/>
                <a:gd name="connsiteX17" fmla="*/ 117806 w 572201"/>
                <a:gd name="connsiteY17" fmla="*/ 515051 h 520661"/>
                <a:gd name="connsiteX18" fmla="*/ 95367 w 572201"/>
                <a:gd name="connsiteY18" fmla="*/ 509442 h 520661"/>
                <a:gd name="connsiteX19" fmla="*/ 44879 w 572201"/>
                <a:gd name="connsiteY19" fmla="*/ 492612 h 520661"/>
                <a:gd name="connsiteX20" fmla="*/ 11220 w 572201"/>
                <a:gd name="connsiteY20" fmla="*/ 475783 h 520661"/>
                <a:gd name="connsiteX21" fmla="*/ 5610 w 572201"/>
                <a:gd name="connsiteY21" fmla="*/ 475783 h 520661"/>
                <a:gd name="connsiteX22" fmla="*/ 0 w 572201"/>
                <a:gd name="connsiteY22" fmla="*/ 21388 h 520661"/>
                <a:gd name="connsiteX0" fmla="*/ 0 w 572201"/>
                <a:gd name="connsiteY0" fmla="*/ 76156 h 575429"/>
                <a:gd name="connsiteX1" fmla="*/ 0 w 572201"/>
                <a:gd name="connsiteY1" fmla="*/ 76156 h 575429"/>
                <a:gd name="connsiteX2" fmla="*/ 561143 w 572201"/>
                <a:gd name="connsiteY2" fmla="*/ 0 h 575429"/>
                <a:gd name="connsiteX3" fmla="*/ 566592 w 572201"/>
                <a:gd name="connsiteY3" fmla="*/ 188352 h 575429"/>
                <a:gd name="connsiteX4" fmla="*/ 572201 w 572201"/>
                <a:gd name="connsiteY4" fmla="*/ 205181 h 575429"/>
                <a:gd name="connsiteX5" fmla="*/ 566592 w 572201"/>
                <a:gd name="connsiteY5" fmla="*/ 266889 h 575429"/>
                <a:gd name="connsiteX6" fmla="*/ 555372 w 572201"/>
                <a:gd name="connsiteY6" fmla="*/ 339817 h 575429"/>
                <a:gd name="connsiteX7" fmla="*/ 544152 w 572201"/>
                <a:gd name="connsiteY7" fmla="*/ 457623 h 575429"/>
                <a:gd name="connsiteX8" fmla="*/ 549762 w 572201"/>
                <a:gd name="connsiteY8" fmla="*/ 508111 h 575429"/>
                <a:gd name="connsiteX9" fmla="*/ 566592 w 572201"/>
                <a:gd name="connsiteY9" fmla="*/ 519331 h 575429"/>
                <a:gd name="connsiteX10" fmla="*/ 549762 w 572201"/>
                <a:gd name="connsiteY10" fmla="*/ 530551 h 575429"/>
                <a:gd name="connsiteX11" fmla="*/ 359028 w 572201"/>
                <a:gd name="connsiteY11" fmla="*/ 530551 h 575429"/>
                <a:gd name="connsiteX12" fmla="*/ 319760 w 572201"/>
                <a:gd name="connsiteY12" fmla="*/ 536161 h 575429"/>
                <a:gd name="connsiteX13" fmla="*/ 241222 w 572201"/>
                <a:gd name="connsiteY13" fmla="*/ 541770 h 575429"/>
                <a:gd name="connsiteX14" fmla="*/ 190734 w 572201"/>
                <a:gd name="connsiteY14" fmla="*/ 558600 h 575429"/>
                <a:gd name="connsiteX15" fmla="*/ 157075 w 572201"/>
                <a:gd name="connsiteY15" fmla="*/ 569819 h 575429"/>
                <a:gd name="connsiteX16" fmla="*/ 134636 w 572201"/>
                <a:gd name="connsiteY16" fmla="*/ 575429 h 575429"/>
                <a:gd name="connsiteX17" fmla="*/ 117806 w 572201"/>
                <a:gd name="connsiteY17" fmla="*/ 569819 h 575429"/>
                <a:gd name="connsiteX18" fmla="*/ 95367 w 572201"/>
                <a:gd name="connsiteY18" fmla="*/ 564210 h 575429"/>
                <a:gd name="connsiteX19" fmla="*/ 44879 w 572201"/>
                <a:gd name="connsiteY19" fmla="*/ 547380 h 575429"/>
                <a:gd name="connsiteX20" fmla="*/ 11220 w 572201"/>
                <a:gd name="connsiteY20" fmla="*/ 530551 h 575429"/>
                <a:gd name="connsiteX21" fmla="*/ 5610 w 572201"/>
                <a:gd name="connsiteY21" fmla="*/ 530551 h 575429"/>
                <a:gd name="connsiteX22" fmla="*/ 0 w 572201"/>
                <a:gd name="connsiteY22" fmla="*/ 76156 h 575429"/>
                <a:gd name="connsiteX0" fmla="*/ 0 w 606371"/>
                <a:gd name="connsiteY0" fmla="*/ 76156 h 575429"/>
                <a:gd name="connsiteX1" fmla="*/ 0 w 606371"/>
                <a:gd name="connsiteY1" fmla="*/ 76156 h 575429"/>
                <a:gd name="connsiteX2" fmla="*/ 561143 w 606371"/>
                <a:gd name="connsiteY2" fmla="*/ 0 h 575429"/>
                <a:gd name="connsiteX3" fmla="*/ 572201 w 606371"/>
                <a:gd name="connsiteY3" fmla="*/ 205181 h 575429"/>
                <a:gd name="connsiteX4" fmla="*/ 566592 w 606371"/>
                <a:gd name="connsiteY4" fmla="*/ 266889 h 575429"/>
                <a:gd name="connsiteX5" fmla="*/ 555372 w 606371"/>
                <a:gd name="connsiteY5" fmla="*/ 339817 h 575429"/>
                <a:gd name="connsiteX6" fmla="*/ 544152 w 606371"/>
                <a:gd name="connsiteY6" fmla="*/ 457623 h 575429"/>
                <a:gd name="connsiteX7" fmla="*/ 549762 w 606371"/>
                <a:gd name="connsiteY7" fmla="*/ 508111 h 575429"/>
                <a:gd name="connsiteX8" fmla="*/ 566592 w 606371"/>
                <a:gd name="connsiteY8" fmla="*/ 519331 h 575429"/>
                <a:gd name="connsiteX9" fmla="*/ 549762 w 606371"/>
                <a:gd name="connsiteY9" fmla="*/ 530551 h 575429"/>
                <a:gd name="connsiteX10" fmla="*/ 359028 w 606371"/>
                <a:gd name="connsiteY10" fmla="*/ 530551 h 575429"/>
                <a:gd name="connsiteX11" fmla="*/ 319760 w 606371"/>
                <a:gd name="connsiteY11" fmla="*/ 536161 h 575429"/>
                <a:gd name="connsiteX12" fmla="*/ 241222 w 606371"/>
                <a:gd name="connsiteY12" fmla="*/ 541770 h 575429"/>
                <a:gd name="connsiteX13" fmla="*/ 190734 w 606371"/>
                <a:gd name="connsiteY13" fmla="*/ 558600 h 575429"/>
                <a:gd name="connsiteX14" fmla="*/ 157075 w 606371"/>
                <a:gd name="connsiteY14" fmla="*/ 569819 h 575429"/>
                <a:gd name="connsiteX15" fmla="*/ 134636 w 606371"/>
                <a:gd name="connsiteY15" fmla="*/ 575429 h 575429"/>
                <a:gd name="connsiteX16" fmla="*/ 117806 w 606371"/>
                <a:gd name="connsiteY16" fmla="*/ 569819 h 575429"/>
                <a:gd name="connsiteX17" fmla="*/ 95367 w 606371"/>
                <a:gd name="connsiteY17" fmla="*/ 564210 h 575429"/>
                <a:gd name="connsiteX18" fmla="*/ 44879 w 606371"/>
                <a:gd name="connsiteY18" fmla="*/ 547380 h 575429"/>
                <a:gd name="connsiteX19" fmla="*/ 11220 w 606371"/>
                <a:gd name="connsiteY19" fmla="*/ 530551 h 575429"/>
                <a:gd name="connsiteX20" fmla="*/ 5610 w 606371"/>
                <a:gd name="connsiteY20" fmla="*/ 530551 h 575429"/>
                <a:gd name="connsiteX21" fmla="*/ 0 w 606371"/>
                <a:gd name="connsiteY21" fmla="*/ 76156 h 575429"/>
                <a:gd name="connsiteX0" fmla="*/ 0 w 604801"/>
                <a:gd name="connsiteY0" fmla="*/ 76156 h 575429"/>
                <a:gd name="connsiteX1" fmla="*/ 0 w 604801"/>
                <a:gd name="connsiteY1" fmla="*/ 76156 h 575429"/>
                <a:gd name="connsiteX2" fmla="*/ 561143 w 604801"/>
                <a:gd name="connsiteY2" fmla="*/ 0 h 575429"/>
                <a:gd name="connsiteX3" fmla="*/ 566592 w 604801"/>
                <a:gd name="connsiteY3" fmla="*/ 266889 h 575429"/>
                <a:gd name="connsiteX4" fmla="*/ 555372 w 604801"/>
                <a:gd name="connsiteY4" fmla="*/ 339817 h 575429"/>
                <a:gd name="connsiteX5" fmla="*/ 544152 w 604801"/>
                <a:gd name="connsiteY5" fmla="*/ 457623 h 575429"/>
                <a:gd name="connsiteX6" fmla="*/ 549762 w 604801"/>
                <a:gd name="connsiteY6" fmla="*/ 508111 h 575429"/>
                <a:gd name="connsiteX7" fmla="*/ 566592 w 604801"/>
                <a:gd name="connsiteY7" fmla="*/ 519331 h 575429"/>
                <a:gd name="connsiteX8" fmla="*/ 549762 w 604801"/>
                <a:gd name="connsiteY8" fmla="*/ 530551 h 575429"/>
                <a:gd name="connsiteX9" fmla="*/ 359028 w 604801"/>
                <a:gd name="connsiteY9" fmla="*/ 530551 h 575429"/>
                <a:gd name="connsiteX10" fmla="*/ 319760 w 604801"/>
                <a:gd name="connsiteY10" fmla="*/ 536161 h 575429"/>
                <a:gd name="connsiteX11" fmla="*/ 241222 w 604801"/>
                <a:gd name="connsiteY11" fmla="*/ 541770 h 575429"/>
                <a:gd name="connsiteX12" fmla="*/ 190734 w 604801"/>
                <a:gd name="connsiteY12" fmla="*/ 558600 h 575429"/>
                <a:gd name="connsiteX13" fmla="*/ 157075 w 604801"/>
                <a:gd name="connsiteY13" fmla="*/ 569819 h 575429"/>
                <a:gd name="connsiteX14" fmla="*/ 134636 w 604801"/>
                <a:gd name="connsiteY14" fmla="*/ 575429 h 575429"/>
                <a:gd name="connsiteX15" fmla="*/ 117806 w 604801"/>
                <a:gd name="connsiteY15" fmla="*/ 569819 h 575429"/>
                <a:gd name="connsiteX16" fmla="*/ 95367 w 604801"/>
                <a:gd name="connsiteY16" fmla="*/ 564210 h 575429"/>
                <a:gd name="connsiteX17" fmla="*/ 44879 w 604801"/>
                <a:gd name="connsiteY17" fmla="*/ 547380 h 575429"/>
                <a:gd name="connsiteX18" fmla="*/ 11220 w 604801"/>
                <a:gd name="connsiteY18" fmla="*/ 530551 h 575429"/>
                <a:gd name="connsiteX19" fmla="*/ 5610 w 604801"/>
                <a:gd name="connsiteY19" fmla="*/ 530551 h 575429"/>
                <a:gd name="connsiteX20" fmla="*/ 0 w 604801"/>
                <a:gd name="connsiteY20" fmla="*/ 76156 h 575429"/>
                <a:gd name="connsiteX0" fmla="*/ 0 w 601435"/>
                <a:gd name="connsiteY0" fmla="*/ 76156 h 575429"/>
                <a:gd name="connsiteX1" fmla="*/ 0 w 601435"/>
                <a:gd name="connsiteY1" fmla="*/ 76156 h 575429"/>
                <a:gd name="connsiteX2" fmla="*/ 561143 w 601435"/>
                <a:gd name="connsiteY2" fmla="*/ 0 h 575429"/>
                <a:gd name="connsiteX3" fmla="*/ 555372 w 601435"/>
                <a:gd name="connsiteY3" fmla="*/ 339817 h 575429"/>
                <a:gd name="connsiteX4" fmla="*/ 544152 w 601435"/>
                <a:gd name="connsiteY4" fmla="*/ 457623 h 575429"/>
                <a:gd name="connsiteX5" fmla="*/ 549762 w 601435"/>
                <a:gd name="connsiteY5" fmla="*/ 508111 h 575429"/>
                <a:gd name="connsiteX6" fmla="*/ 566592 w 601435"/>
                <a:gd name="connsiteY6" fmla="*/ 519331 h 575429"/>
                <a:gd name="connsiteX7" fmla="*/ 549762 w 601435"/>
                <a:gd name="connsiteY7" fmla="*/ 530551 h 575429"/>
                <a:gd name="connsiteX8" fmla="*/ 359028 w 601435"/>
                <a:gd name="connsiteY8" fmla="*/ 530551 h 575429"/>
                <a:gd name="connsiteX9" fmla="*/ 319760 w 601435"/>
                <a:gd name="connsiteY9" fmla="*/ 536161 h 575429"/>
                <a:gd name="connsiteX10" fmla="*/ 241222 w 601435"/>
                <a:gd name="connsiteY10" fmla="*/ 541770 h 575429"/>
                <a:gd name="connsiteX11" fmla="*/ 190734 w 601435"/>
                <a:gd name="connsiteY11" fmla="*/ 558600 h 575429"/>
                <a:gd name="connsiteX12" fmla="*/ 157075 w 601435"/>
                <a:gd name="connsiteY12" fmla="*/ 569819 h 575429"/>
                <a:gd name="connsiteX13" fmla="*/ 134636 w 601435"/>
                <a:gd name="connsiteY13" fmla="*/ 575429 h 575429"/>
                <a:gd name="connsiteX14" fmla="*/ 117806 w 601435"/>
                <a:gd name="connsiteY14" fmla="*/ 569819 h 575429"/>
                <a:gd name="connsiteX15" fmla="*/ 95367 w 601435"/>
                <a:gd name="connsiteY15" fmla="*/ 564210 h 575429"/>
                <a:gd name="connsiteX16" fmla="*/ 44879 w 601435"/>
                <a:gd name="connsiteY16" fmla="*/ 547380 h 575429"/>
                <a:gd name="connsiteX17" fmla="*/ 11220 w 601435"/>
                <a:gd name="connsiteY17" fmla="*/ 530551 h 575429"/>
                <a:gd name="connsiteX18" fmla="*/ 5610 w 601435"/>
                <a:gd name="connsiteY18" fmla="*/ 530551 h 575429"/>
                <a:gd name="connsiteX19" fmla="*/ 0 w 601435"/>
                <a:gd name="connsiteY19" fmla="*/ 76156 h 575429"/>
                <a:gd name="connsiteX0" fmla="*/ 0 w 597826"/>
                <a:gd name="connsiteY0" fmla="*/ 76156 h 575429"/>
                <a:gd name="connsiteX1" fmla="*/ 0 w 597826"/>
                <a:gd name="connsiteY1" fmla="*/ 76156 h 575429"/>
                <a:gd name="connsiteX2" fmla="*/ 561143 w 597826"/>
                <a:gd name="connsiteY2" fmla="*/ 0 h 575429"/>
                <a:gd name="connsiteX3" fmla="*/ 544152 w 597826"/>
                <a:gd name="connsiteY3" fmla="*/ 457623 h 575429"/>
                <a:gd name="connsiteX4" fmla="*/ 549762 w 597826"/>
                <a:gd name="connsiteY4" fmla="*/ 508111 h 575429"/>
                <a:gd name="connsiteX5" fmla="*/ 566592 w 597826"/>
                <a:gd name="connsiteY5" fmla="*/ 519331 h 575429"/>
                <a:gd name="connsiteX6" fmla="*/ 549762 w 597826"/>
                <a:gd name="connsiteY6" fmla="*/ 530551 h 575429"/>
                <a:gd name="connsiteX7" fmla="*/ 359028 w 597826"/>
                <a:gd name="connsiteY7" fmla="*/ 530551 h 575429"/>
                <a:gd name="connsiteX8" fmla="*/ 319760 w 597826"/>
                <a:gd name="connsiteY8" fmla="*/ 536161 h 575429"/>
                <a:gd name="connsiteX9" fmla="*/ 241222 w 597826"/>
                <a:gd name="connsiteY9" fmla="*/ 541770 h 575429"/>
                <a:gd name="connsiteX10" fmla="*/ 190734 w 597826"/>
                <a:gd name="connsiteY10" fmla="*/ 558600 h 575429"/>
                <a:gd name="connsiteX11" fmla="*/ 157075 w 597826"/>
                <a:gd name="connsiteY11" fmla="*/ 569819 h 575429"/>
                <a:gd name="connsiteX12" fmla="*/ 134636 w 597826"/>
                <a:gd name="connsiteY12" fmla="*/ 575429 h 575429"/>
                <a:gd name="connsiteX13" fmla="*/ 117806 w 597826"/>
                <a:gd name="connsiteY13" fmla="*/ 569819 h 575429"/>
                <a:gd name="connsiteX14" fmla="*/ 95367 w 597826"/>
                <a:gd name="connsiteY14" fmla="*/ 564210 h 575429"/>
                <a:gd name="connsiteX15" fmla="*/ 44879 w 597826"/>
                <a:gd name="connsiteY15" fmla="*/ 547380 h 575429"/>
                <a:gd name="connsiteX16" fmla="*/ 11220 w 597826"/>
                <a:gd name="connsiteY16" fmla="*/ 530551 h 575429"/>
                <a:gd name="connsiteX17" fmla="*/ 5610 w 597826"/>
                <a:gd name="connsiteY17" fmla="*/ 530551 h 575429"/>
                <a:gd name="connsiteX18" fmla="*/ 0 w 597826"/>
                <a:gd name="connsiteY18" fmla="*/ 76156 h 575429"/>
                <a:gd name="connsiteX0" fmla="*/ 0 w 598933"/>
                <a:gd name="connsiteY0" fmla="*/ 76156 h 575429"/>
                <a:gd name="connsiteX1" fmla="*/ 0 w 598933"/>
                <a:gd name="connsiteY1" fmla="*/ 76156 h 575429"/>
                <a:gd name="connsiteX2" fmla="*/ 561143 w 598933"/>
                <a:gd name="connsiteY2" fmla="*/ 0 h 575429"/>
                <a:gd name="connsiteX3" fmla="*/ 549762 w 598933"/>
                <a:gd name="connsiteY3" fmla="*/ 508111 h 575429"/>
                <a:gd name="connsiteX4" fmla="*/ 566592 w 598933"/>
                <a:gd name="connsiteY4" fmla="*/ 519331 h 575429"/>
                <a:gd name="connsiteX5" fmla="*/ 549762 w 598933"/>
                <a:gd name="connsiteY5" fmla="*/ 530551 h 575429"/>
                <a:gd name="connsiteX6" fmla="*/ 359028 w 598933"/>
                <a:gd name="connsiteY6" fmla="*/ 530551 h 575429"/>
                <a:gd name="connsiteX7" fmla="*/ 319760 w 598933"/>
                <a:gd name="connsiteY7" fmla="*/ 536161 h 575429"/>
                <a:gd name="connsiteX8" fmla="*/ 241222 w 598933"/>
                <a:gd name="connsiteY8" fmla="*/ 541770 h 575429"/>
                <a:gd name="connsiteX9" fmla="*/ 190734 w 598933"/>
                <a:gd name="connsiteY9" fmla="*/ 558600 h 575429"/>
                <a:gd name="connsiteX10" fmla="*/ 157075 w 598933"/>
                <a:gd name="connsiteY10" fmla="*/ 569819 h 575429"/>
                <a:gd name="connsiteX11" fmla="*/ 134636 w 598933"/>
                <a:gd name="connsiteY11" fmla="*/ 575429 h 575429"/>
                <a:gd name="connsiteX12" fmla="*/ 117806 w 598933"/>
                <a:gd name="connsiteY12" fmla="*/ 569819 h 575429"/>
                <a:gd name="connsiteX13" fmla="*/ 95367 w 598933"/>
                <a:gd name="connsiteY13" fmla="*/ 564210 h 575429"/>
                <a:gd name="connsiteX14" fmla="*/ 44879 w 598933"/>
                <a:gd name="connsiteY14" fmla="*/ 547380 h 575429"/>
                <a:gd name="connsiteX15" fmla="*/ 11220 w 598933"/>
                <a:gd name="connsiteY15" fmla="*/ 530551 h 575429"/>
                <a:gd name="connsiteX16" fmla="*/ 5610 w 598933"/>
                <a:gd name="connsiteY16" fmla="*/ 530551 h 575429"/>
                <a:gd name="connsiteX17" fmla="*/ 0 w 598933"/>
                <a:gd name="connsiteY17" fmla="*/ 76156 h 575429"/>
                <a:gd name="connsiteX0" fmla="*/ 0 w 605023"/>
                <a:gd name="connsiteY0" fmla="*/ 76156 h 575429"/>
                <a:gd name="connsiteX1" fmla="*/ 0 w 605023"/>
                <a:gd name="connsiteY1" fmla="*/ 76156 h 575429"/>
                <a:gd name="connsiteX2" fmla="*/ 561143 w 605023"/>
                <a:gd name="connsiteY2" fmla="*/ 0 h 575429"/>
                <a:gd name="connsiteX3" fmla="*/ 566592 w 605023"/>
                <a:gd name="connsiteY3" fmla="*/ 519331 h 575429"/>
                <a:gd name="connsiteX4" fmla="*/ 549762 w 605023"/>
                <a:gd name="connsiteY4" fmla="*/ 530551 h 575429"/>
                <a:gd name="connsiteX5" fmla="*/ 359028 w 605023"/>
                <a:gd name="connsiteY5" fmla="*/ 530551 h 575429"/>
                <a:gd name="connsiteX6" fmla="*/ 319760 w 605023"/>
                <a:gd name="connsiteY6" fmla="*/ 536161 h 575429"/>
                <a:gd name="connsiteX7" fmla="*/ 241222 w 605023"/>
                <a:gd name="connsiteY7" fmla="*/ 541770 h 575429"/>
                <a:gd name="connsiteX8" fmla="*/ 190734 w 605023"/>
                <a:gd name="connsiteY8" fmla="*/ 558600 h 575429"/>
                <a:gd name="connsiteX9" fmla="*/ 157075 w 605023"/>
                <a:gd name="connsiteY9" fmla="*/ 569819 h 575429"/>
                <a:gd name="connsiteX10" fmla="*/ 134636 w 605023"/>
                <a:gd name="connsiteY10" fmla="*/ 575429 h 575429"/>
                <a:gd name="connsiteX11" fmla="*/ 117806 w 605023"/>
                <a:gd name="connsiteY11" fmla="*/ 569819 h 575429"/>
                <a:gd name="connsiteX12" fmla="*/ 95367 w 605023"/>
                <a:gd name="connsiteY12" fmla="*/ 564210 h 575429"/>
                <a:gd name="connsiteX13" fmla="*/ 44879 w 605023"/>
                <a:gd name="connsiteY13" fmla="*/ 547380 h 575429"/>
                <a:gd name="connsiteX14" fmla="*/ 11220 w 605023"/>
                <a:gd name="connsiteY14" fmla="*/ 530551 h 575429"/>
                <a:gd name="connsiteX15" fmla="*/ 5610 w 605023"/>
                <a:gd name="connsiteY15" fmla="*/ 530551 h 575429"/>
                <a:gd name="connsiteX16" fmla="*/ 0 w 605023"/>
                <a:gd name="connsiteY16" fmla="*/ 76156 h 575429"/>
                <a:gd name="connsiteX0" fmla="*/ 0 w 605023"/>
                <a:gd name="connsiteY0" fmla="*/ 76156 h 575429"/>
                <a:gd name="connsiteX1" fmla="*/ 0 w 605023"/>
                <a:gd name="connsiteY1" fmla="*/ 76156 h 575429"/>
                <a:gd name="connsiteX2" fmla="*/ 561143 w 605023"/>
                <a:gd name="connsiteY2" fmla="*/ 0 h 575429"/>
                <a:gd name="connsiteX3" fmla="*/ 566592 w 605023"/>
                <a:gd name="connsiteY3" fmla="*/ 519331 h 575429"/>
                <a:gd name="connsiteX4" fmla="*/ 359028 w 605023"/>
                <a:gd name="connsiteY4" fmla="*/ 530551 h 575429"/>
                <a:gd name="connsiteX5" fmla="*/ 319760 w 605023"/>
                <a:gd name="connsiteY5" fmla="*/ 536161 h 575429"/>
                <a:gd name="connsiteX6" fmla="*/ 241222 w 605023"/>
                <a:gd name="connsiteY6" fmla="*/ 541770 h 575429"/>
                <a:gd name="connsiteX7" fmla="*/ 190734 w 605023"/>
                <a:gd name="connsiteY7" fmla="*/ 558600 h 575429"/>
                <a:gd name="connsiteX8" fmla="*/ 157075 w 605023"/>
                <a:gd name="connsiteY8" fmla="*/ 569819 h 575429"/>
                <a:gd name="connsiteX9" fmla="*/ 134636 w 605023"/>
                <a:gd name="connsiteY9" fmla="*/ 575429 h 575429"/>
                <a:gd name="connsiteX10" fmla="*/ 117806 w 605023"/>
                <a:gd name="connsiteY10" fmla="*/ 569819 h 575429"/>
                <a:gd name="connsiteX11" fmla="*/ 95367 w 605023"/>
                <a:gd name="connsiteY11" fmla="*/ 564210 h 575429"/>
                <a:gd name="connsiteX12" fmla="*/ 44879 w 605023"/>
                <a:gd name="connsiteY12" fmla="*/ 547380 h 575429"/>
                <a:gd name="connsiteX13" fmla="*/ 11220 w 605023"/>
                <a:gd name="connsiteY13" fmla="*/ 530551 h 575429"/>
                <a:gd name="connsiteX14" fmla="*/ 5610 w 605023"/>
                <a:gd name="connsiteY14" fmla="*/ 530551 h 575429"/>
                <a:gd name="connsiteX15" fmla="*/ 0 w 605023"/>
                <a:gd name="connsiteY15" fmla="*/ 76156 h 575429"/>
                <a:gd name="connsiteX0" fmla="*/ 0 w 605023"/>
                <a:gd name="connsiteY0" fmla="*/ 76156 h 575429"/>
                <a:gd name="connsiteX1" fmla="*/ 0 w 605023"/>
                <a:gd name="connsiteY1" fmla="*/ 76156 h 575429"/>
                <a:gd name="connsiteX2" fmla="*/ 561143 w 605023"/>
                <a:gd name="connsiteY2" fmla="*/ 0 h 575429"/>
                <a:gd name="connsiteX3" fmla="*/ 566592 w 605023"/>
                <a:gd name="connsiteY3" fmla="*/ 519331 h 575429"/>
                <a:gd name="connsiteX4" fmla="*/ 319760 w 605023"/>
                <a:gd name="connsiteY4" fmla="*/ 536161 h 575429"/>
                <a:gd name="connsiteX5" fmla="*/ 241222 w 605023"/>
                <a:gd name="connsiteY5" fmla="*/ 541770 h 575429"/>
                <a:gd name="connsiteX6" fmla="*/ 190734 w 605023"/>
                <a:gd name="connsiteY6" fmla="*/ 558600 h 575429"/>
                <a:gd name="connsiteX7" fmla="*/ 157075 w 605023"/>
                <a:gd name="connsiteY7" fmla="*/ 569819 h 575429"/>
                <a:gd name="connsiteX8" fmla="*/ 134636 w 605023"/>
                <a:gd name="connsiteY8" fmla="*/ 575429 h 575429"/>
                <a:gd name="connsiteX9" fmla="*/ 117806 w 605023"/>
                <a:gd name="connsiteY9" fmla="*/ 569819 h 575429"/>
                <a:gd name="connsiteX10" fmla="*/ 95367 w 605023"/>
                <a:gd name="connsiteY10" fmla="*/ 564210 h 575429"/>
                <a:gd name="connsiteX11" fmla="*/ 44879 w 605023"/>
                <a:gd name="connsiteY11" fmla="*/ 547380 h 575429"/>
                <a:gd name="connsiteX12" fmla="*/ 11220 w 605023"/>
                <a:gd name="connsiteY12" fmla="*/ 530551 h 575429"/>
                <a:gd name="connsiteX13" fmla="*/ 5610 w 605023"/>
                <a:gd name="connsiteY13" fmla="*/ 530551 h 575429"/>
                <a:gd name="connsiteX14" fmla="*/ 0 w 605023"/>
                <a:gd name="connsiteY14" fmla="*/ 76156 h 575429"/>
                <a:gd name="connsiteX0" fmla="*/ 0 w 605023"/>
                <a:gd name="connsiteY0" fmla="*/ 76156 h 575429"/>
                <a:gd name="connsiteX1" fmla="*/ 0 w 605023"/>
                <a:gd name="connsiteY1" fmla="*/ 76156 h 575429"/>
                <a:gd name="connsiteX2" fmla="*/ 561143 w 605023"/>
                <a:gd name="connsiteY2" fmla="*/ 0 h 575429"/>
                <a:gd name="connsiteX3" fmla="*/ 566592 w 605023"/>
                <a:gd name="connsiteY3" fmla="*/ 519331 h 575429"/>
                <a:gd name="connsiteX4" fmla="*/ 241222 w 605023"/>
                <a:gd name="connsiteY4" fmla="*/ 541770 h 575429"/>
                <a:gd name="connsiteX5" fmla="*/ 190734 w 605023"/>
                <a:gd name="connsiteY5" fmla="*/ 558600 h 575429"/>
                <a:gd name="connsiteX6" fmla="*/ 157075 w 605023"/>
                <a:gd name="connsiteY6" fmla="*/ 569819 h 575429"/>
                <a:gd name="connsiteX7" fmla="*/ 134636 w 605023"/>
                <a:gd name="connsiteY7" fmla="*/ 575429 h 575429"/>
                <a:gd name="connsiteX8" fmla="*/ 117806 w 605023"/>
                <a:gd name="connsiteY8" fmla="*/ 569819 h 575429"/>
                <a:gd name="connsiteX9" fmla="*/ 95367 w 605023"/>
                <a:gd name="connsiteY9" fmla="*/ 564210 h 575429"/>
                <a:gd name="connsiteX10" fmla="*/ 44879 w 605023"/>
                <a:gd name="connsiteY10" fmla="*/ 547380 h 575429"/>
                <a:gd name="connsiteX11" fmla="*/ 11220 w 605023"/>
                <a:gd name="connsiteY11" fmla="*/ 530551 h 575429"/>
                <a:gd name="connsiteX12" fmla="*/ 5610 w 605023"/>
                <a:gd name="connsiteY12" fmla="*/ 530551 h 575429"/>
                <a:gd name="connsiteX13" fmla="*/ 0 w 605023"/>
                <a:gd name="connsiteY13" fmla="*/ 76156 h 575429"/>
                <a:gd name="connsiteX0" fmla="*/ 0 w 605023"/>
                <a:gd name="connsiteY0" fmla="*/ 76156 h 575429"/>
                <a:gd name="connsiteX1" fmla="*/ 0 w 605023"/>
                <a:gd name="connsiteY1" fmla="*/ 76156 h 575429"/>
                <a:gd name="connsiteX2" fmla="*/ 561143 w 605023"/>
                <a:gd name="connsiteY2" fmla="*/ 0 h 575429"/>
                <a:gd name="connsiteX3" fmla="*/ 566592 w 605023"/>
                <a:gd name="connsiteY3" fmla="*/ 519331 h 575429"/>
                <a:gd name="connsiteX4" fmla="*/ 190734 w 605023"/>
                <a:gd name="connsiteY4" fmla="*/ 558600 h 575429"/>
                <a:gd name="connsiteX5" fmla="*/ 157075 w 605023"/>
                <a:gd name="connsiteY5" fmla="*/ 569819 h 575429"/>
                <a:gd name="connsiteX6" fmla="*/ 134636 w 605023"/>
                <a:gd name="connsiteY6" fmla="*/ 575429 h 575429"/>
                <a:gd name="connsiteX7" fmla="*/ 117806 w 605023"/>
                <a:gd name="connsiteY7" fmla="*/ 569819 h 575429"/>
                <a:gd name="connsiteX8" fmla="*/ 95367 w 605023"/>
                <a:gd name="connsiteY8" fmla="*/ 564210 h 575429"/>
                <a:gd name="connsiteX9" fmla="*/ 44879 w 605023"/>
                <a:gd name="connsiteY9" fmla="*/ 547380 h 575429"/>
                <a:gd name="connsiteX10" fmla="*/ 11220 w 605023"/>
                <a:gd name="connsiteY10" fmla="*/ 530551 h 575429"/>
                <a:gd name="connsiteX11" fmla="*/ 5610 w 605023"/>
                <a:gd name="connsiteY11" fmla="*/ 530551 h 575429"/>
                <a:gd name="connsiteX12" fmla="*/ 0 w 605023"/>
                <a:gd name="connsiteY12" fmla="*/ 76156 h 575429"/>
                <a:gd name="connsiteX0" fmla="*/ 0 w 605023"/>
                <a:gd name="connsiteY0" fmla="*/ 76156 h 576694"/>
                <a:gd name="connsiteX1" fmla="*/ 0 w 605023"/>
                <a:gd name="connsiteY1" fmla="*/ 76156 h 576694"/>
                <a:gd name="connsiteX2" fmla="*/ 561143 w 605023"/>
                <a:gd name="connsiteY2" fmla="*/ 0 h 576694"/>
                <a:gd name="connsiteX3" fmla="*/ 566592 w 605023"/>
                <a:gd name="connsiteY3" fmla="*/ 519331 h 576694"/>
                <a:gd name="connsiteX4" fmla="*/ 157075 w 605023"/>
                <a:gd name="connsiteY4" fmla="*/ 569819 h 576694"/>
                <a:gd name="connsiteX5" fmla="*/ 134636 w 605023"/>
                <a:gd name="connsiteY5" fmla="*/ 575429 h 576694"/>
                <a:gd name="connsiteX6" fmla="*/ 117806 w 605023"/>
                <a:gd name="connsiteY6" fmla="*/ 569819 h 576694"/>
                <a:gd name="connsiteX7" fmla="*/ 95367 w 605023"/>
                <a:gd name="connsiteY7" fmla="*/ 564210 h 576694"/>
                <a:gd name="connsiteX8" fmla="*/ 44879 w 605023"/>
                <a:gd name="connsiteY8" fmla="*/ 547380 h 576694"/>
                <a:gd name="connsiteX9" fmla="*/ 11220 w 605023"/>
                <a:gd name="connsiteY9" fmla="*/ 530551 h 576694"/>
                <a:gd name="connsiteX10" fmla="*/ 5610 w 605023"/>
                <a:gd name="connsiteY10" fmla="*/ 530551 h 576694"/>
                <a:gd name="connsiteX11" fmla="*/ 0 w 605023"/>
                <a:gd name="connsiteY11" fmla="*/ 76156 h 576694"/>
                <a:gd name="connsiteX0" fmla="*/ 0 w 605023"/>
                <a:gd name="connsiteY0" fmla="*/ 76156 h 580257"/>
                <a:gd name="connsiteX1" fmla="*/ 0 w 605023"/>
                <a:gd name="connsiteY1" fmla="*/ 76156 h 580257"/>
                <a:gd name="connsiteX2" fmla="*/ 561143 w 605023"/>
                <a:gd name="connsiteY2" fmla="*/ 0 h 580257"/>
                <a:gd name="connsiteX3" fmla="*/ 566592 w 605023"/>
                <a:gd name="connsiteY3" fmla="*/ 519331 h 580257"/>
                <a:gd name="connsiteX4" fmla="*/ 134636 w 605023"/>
                <a:gd name="connsiteY4" fmla="*/ 575429 h 580257"/>
                <a:gd name="connsiteX5" fmla="*/ 117806 w 605023"/>
                <a:gd name="connsiteY5" fmla="*/ 569819 h 580257"/>
                <a:gd name="connsiteX6" fmla="*/ 95367 w 605023"/>
                <a:gd name="connsiteY6" fmla="*/ 564210 h 580257"/>
                <a:gd name="connsiteX7" fmla="*/ 44879 w 605023"/>
                <a:gd name="connsiteY7" fmla="*/ 547380 h 580257"/>
                <a:gd name="connsiteX8" fmla="*/ 11220 w 605023"/>
                <a:gd name="connsiteY8" fmla="*/ 530551 h 580257"/>
                <a:gd name="connsiteX9" fmla="*/ 5610 w 605023"/>
                <a:gd name="connsiteY9" fmla="*/ 530551 h 580257"/>
                <a:gd name="connsiteX10" fmla="*/ 0 w 605023"/>
                <a:gd name="connsiteY10" fmla="*/ 76156 h 580257"/>
                <a:gd name="connsiteX0" fmla="*/ 0 w 605023"/>
                <a:gd name="connsiteY0" fmla="*/ 76156 h 577386"/>
                <a:gd name="connsiteX1" fmla="*/ 0 w 605023"/>
                <a:gd name="connsiteY1" fmla="*/ 76156 h 577386"/>
                <a:gd name="connsiteX2" fmla="*/ 561143 w 605023"/>
                <a:gd name="connsiteY2" fmla="*/ 0 h 577386"/>
                <a:gd name="connsiteX3" fmla="*/ 566592 w 605023"/>
                <a:gd name="connsiteY3" fmla="*/ 519331 h 577386"/>
                <a:gd name="connsiteX4" fmla="*/ 117806 w 605023"/>
                <a:gd name="connsiteY4" fmla="*/ 569819 h 577386"/>
                <a:gd name="connsiteX5" fmla="*/ 95367 w 605023"/>
                <a:gd name="connsiteY5" fmla="*/ 564210 h 577386"/>
                <a:gd name="connsiteX6" fmla="*/ 44879 w 605023"/>
                <a:gd name="connsiteY6" fmla="*/ 547380 h 577386"/>
                <a:gd name="connsiteX7" fmla="*/ 11220 w 605023"/>
                <a:gd name="connsiteY7" fmla="*/ 530551 h 577386"/>
                <a:gd name="connsiteX8" fmla="*/ 5610 w 605023"/>
                <a:gd name="connsiteY8" fmla="*/ 530551 h 577386"/>
                <a:gd name="connsiteX9" fmla="*/ 0 w 605023"/>
                <a:gd name="connsiteY9" fmla="*/ 76156 h 577386"/>
                <a:gd name="connsiteX0" fmla="*/ 0 w 605023"/>
                <a:gd name="connsiteY0" fmla="*/ 76156 h 575361"/>
                <a:gd name="connsiteX1" fmla="*/ 0 w 605023"/>
                <a:gd name="connsiteY1" fmla="*/ 76156 h 575361"/>
                <a:gd name="connsiteX2" fmla="*/ 561143 w 605023"/>
                <a:gd name="connsiteY2" fmla="*/ 0 h 575361"/>
                <a:gd name="connsiteX3" fmla="*/ 566592 w 605023"/>
                <a:gd name="connsiteY3" fmla="*/ 519331 h 575361"/>
                <a:gd name="connsiteX4" fmla="*/ 95367 w 605023"/>
                <a:gd name="connsiteY4" fmla="*/ 564210 h 575361"/>
                <a:gd name="connsiteX5" fmla="*/ 44879 w 605023"/>
                <a:gd name="connsiteY5" fmla="*/ 547380 h 575361"/>
                <a:gd name="connsiteX6" fmla="*/ 11220 w 605023"/>
                <a:gd name="connsiteY6" fmla="*/ 530551 h 575361"/>
                <a:gd name="connsiteX7" fmla="*/ 5610 w 605023"/>
                <a:gd name="connsiteY7" fmla="*/ 530551 h 575361"/>
                <a:gd name="connsiteX8" fmla="*/ 0 w 605023"/>
                <a:gd name="connsiteY8" fmla="*/ 76156 h 575361"/>
                <a:gd name="connsiteX0" fmla="*/ 0 w 605023"/>
                <a:gd name="connsiteY0" fmla="*/ 76156 h 568118"/>
                <a:gd name="connsiteX1" fmla="*/ 0 w 605023"/>
                <a:gd name="connsiteY1" fmla="*/ 76156 h 568118"/>
                <a:gd name="connsiteX2" fmla="*/ 561143 w 605023"/>
                <a:gd name="connsiteY2" fmla="*/ 0 h 568118"/>
                <a:gd name="connsiteX3" fmla="*/ 566592 w 605023"/>
                <a:gd name="connsiteY3" fmla="*/ 519331 h 568118"/>
                <a:gd name="connsiteX4" fmla="*/ 44879 w 605023"/>
                <a:gd name="connsiteY4" fmla="*/ 547380 h 568118"/>
                <a:gd name="connsiteX5" fmla="*/ 11220 w 605023"/>
                <a:gd name="connsiteY5" fmla="*/ 530551 h 568118"/>
                <a:gd name="connsiteX6" fmla="*/ 5610 w 605023"/>
                <a:gd name="connsiteY6" fmla="*/ 530551 h 568118"/>
                <a:gd name="connsiteX7" fmla="*/ 0 w 605023"/>
                <a:gd name="connsiteY7" fmla="*/ 76156 h 568118"/>
                <a:gd name="connsiteX0" fmla="*/ 0 w 605023"/>
                <a:gd name="connsiteY0" fmla="*/ 76156 h 561297"/>
                <a:gd name="connsiteX1" fmla="*/ 0 w 605023"/>
                <a:gd name="connsiteY1" fmla="*/ 76156 h 561297"/>
                <a:gd name="connsiteX2" fmla="*/ 561143 w 605023"/>
                <a:gd name="connsiteY2" fmla="*/ 0 h 561297"/>
                <a:gd name="connsiteX3" fmla="*/ 566592 w 605023"/>
                <a:gd name="connsiteY3" fmla="*/ 519331 h 561297"/>
                <a:gd name="connsiteX4" fmla="*/ 11220 w 605023"/>
                <a:gd name="connsiteY4" fmla="*/ 530551 h 561297"/>
                <a:gd name="connsiteX5" fmla="*/ 5610 w 605023"/>
                <a:gd name="connsiteY5" fmla="*/ 530551 h 561297"/>
                <a:gd name="connsiteX6" fmla="*/ 0 w 605023"/>
                <a:gd name="connsiteY6" fmla="*/ 76156 h 561297"/>
                <a:gd name="connsiteX0" fmla="*/ 0 w 605023"/>
                <a:gd name="connsiteY0" fmla="*/ 76156 h 585834"/>
                <a:gd name="connsiteX1" fmla="*/ 0 w 605023"/>
                <a:gd name="connsiteY1" fmla="*/ 76156 h 585834"/>
                <a:gd name="connsiteX2" fmla="*/ 561143 w 605023"/>
                <a:gd name="connsiteY2" fmla="*/ 0 h 585834"/>
                <a:gd name="connsiteX3" fmla="*/ 566592 w 605023"/>
                <a:gd name="connsiteY3" fmla="*/ 519331 h 585834"/>
                <a:gd name="connsiteX4" fmla="*/ 5610 w 605023"/>
                <a:gd name="connsiteY4" fmla="*/ 530551 h 585834"/>
                <a:gd name="connsiteX5" fmla="*/ 0 w 605023"/>
                <a:gd name="connsiteY5" fmla="*/ 76156 h 585834"/>
                <a:gd name="connsiteX0" fmla="*/ 1534 w 636032"/>
                <a:gd name="connsiteY0" fmla="*/ 76156 h 584466"/>
                <a:gd name="connsiteX1" fmla="*/ 1534 w 636032"/>
                <a:gd name="connsiteY1" fmla="*/ 76156 h 584466"/>
                <a:gd name="connsiteX2" fmla="*/ 562677 w 636032"/>
                <a:gd name="connsiteY2" fmla="*/ 0 h 584466"/>
                <a:gd name="connsiteX3" fmla="*/ 568126 w 636032"/>
                <a:gd name="connsiteY3" fmla="*/ 519331 h 584466"/>
                <a:gd name="connsiteX4" fmla="*/ 0 w 636032"/>
                <a:gd name="connsiteY4" fmla="*/ 528170 h 584466"/>
                <a:gd name="connsiteX5" fmla="*/ 1534 w 636032"/>
                <a:gd name="connsiteY5" fmla="*/ 76156 h 584466"/>
                <a:gd name="connsiteX0" fmla="*/ 1534 w 636032"/>
                <a:gd name="connsiteY0" fmla="*/ 76156 h 560895"/>
                <a:gd name="connsiteX1" fmla="*/ 1534 w 636032"/>
                <a:gd name="connsiteY1" fmla="*/ 76156 h 560895"/>
                <a:gd name="connsiteX2" fmla="*/ 562677 w 636032"/>
                <a:gd name="connsiteY2" fmla="*/ 0 h 560895"/>
                <a:gd name="connsiteX3" fmla="*/ 568126 w 636032"/>
                <a:gd name="connsiteY3" fmla="*/ 519331 h 560895"/>
                <a:gd name="connsiteX4" fmla="*/ 0 w 636032"/>
                <a:gd name="connsiteY4" fmla="*/ 528170 h 560895"/>
                <a:gd name="connsiteX5" fmla="*/ 1534 w 636032"/>
                <a:gd name="connsiteY5" fmla="*/ 76156 h 560895"/>
                <a:gd name="connsiteX0" fmla="*/ 1534 w 605472"/>
                <a:gd name="connsiteY0" fmla="*/ 76156 h 560895"/>
                <a:gd name="connsiteX1" fmla="*/ 1534 w 605472"/>
                <a:gd name="connsiteY1" fmla="*/ 76156 h 560895"/>
                <a:gd name="connsiteX2" fmla="*/ 562677 w 605472"/>
                <a:gd name="connsiteY2" fmla="*/ 0 h 560895"/>
                <a:gd name="connsiteX3" fmla="*/ 568126 w 605472"/>
                <a:gd name="connsiteY3" fmla="*/ 519331 h 560895"/>
                <a:gd name="connsiteX4" fmla="*/ 0 w 605472"/>
                <a:gd name="connsiteY4" fmla="*/ 528170 h 560895"/>
                <a:gd name="connsiteX5" fmla="*/ 1534 w 605472"/>
                <a:gd name="connsiteY5" fmla="*/ 76156 h 560895"/>
                <a:gd name="connsiteX0" fmla="*/ 1534 w 605472"/>
                <a:gd name="connsiteY0" fmla="*/ 76156 h 528170"/>
                <a:gd name="connsiteX1" fmla="*/ 1534 w 605472"/>
                <a:gd name="connsiteY1" fmla="*/ 76156 h 528170"/>
                <a:gd name="connsiteX2" fmla="*/ 562677 w 605472"/>
                <a:gd name="connsiteY2" fmla="*/ 0 h 528170"/>
                <a:gd name="connsiteX3" fmla="*/ 568126 w 605472"/>
                <a:gd name="connsiteY3" fmla="*/ 519331 h 528170"/>
                <a:gd name="connsiteX4" fmla="*/ 0 w 605472"/>
                <a:gd name="connsiteY4" fmla="*/ 528170 h 528170"/>
                <a:gd name="connsiteX5" fmla="*/ 1534 w 605472"/>
                <a:gd name="connsiteY5" fmla="*/ 76156 h 528170"/>
                <a:gd name="connsiteX0" fmla="*/ 29 w 603967"/>
                <a:gd name="connsiteY0" fmla="*/ 76156 h 540076"/>
                <a:gd name="connsiteX1" fmla="*/ 29 w 603967"/>
                <a:gd name="connsiteY1" fmla="*/ 76156 h 540076"/>
                <a:gd name="connsiteX2" fmla="*/ 561172 w 603967"/>
                <a:gd name="connsiteY2" fmla="*/ 0 h 540076"/>
                <a:gd name="connsiteX3" fmla="*/ 566621 w 603967"/>
                <a:gd name="connsiteY3" fmla="*/ 519331 h 540076"/>
                <a:gd name="connsiteX4" fmla="*/ 5639 w 603967"/>
                <a:gd name="connsiteY4" fmla="*/ 540076 h 540076"/>
                <a:gd name="connsiteX5" fmla="*/ 29 w 603967"/>
                <a:gd name="connsiteY5" fmla="*/ 76156 h 540076"/>
                <a:gd name="connsiteX0" fmla="*/ 29 w 603967"/>
                <a:gd name="connsiteY0" fmla="*/ 76156 h 540076"/>
                <a:gd name="connsiteX1" fmla="*/ 29 w 603967"/>
                <a:gd name="connsiteY1" fmla="*/ 76156 h 540076"/>
                <a:gd name="connsiteX2" fmla="*/ 561172 w 603967"/>
                <a:gd name="connsiteY2" fmla="*/ 0 h 540076"/>
                <a:gd name="connsiteX3" fmla="*/ 566621 w 603967"/>
                <a:gd name="connsiteY3" fmla="*/ 519331 h 540076"/>
                <a:gd name="connsiteX4" fmla="*/ 5639 w 603967"/>
                <a:gd name="connsiteY4" fmla="*/ 540076 h 540076"/>
                <a:gd name="connsiteX5" fmla="*/ 29 w 603967"/>
                <a:gd name="connsiteY5" fmla="*/ 76156 h 540076"/>
                <a:gd name="connsiteX0" fmla="*/ 89 w 604027"/>
                <a:gd name="connsiteY0" fmla="*/ 76156 h 535314"/>
                <a:gd name="connsiteX1" fmla="*/ 89 w 604027"/>
                <a:gd name="connsiteY1" fmla="*/ 76156 h 535314"/>
                <a:gd name="connsiteX2" fmla="*/ 561232 w 604027"/>
                <a:gd name="connsiteY2" fmla="*/ 0 h 535314"/>
                <a:gd name="connsiteX3" fmla="*/ 566681 w 604027"/>
                <a:gd name="connsiteY3" fmla="*/ 519331 h 535314"/>
                <a:gd name="connsiteX4" fmla="*/ 937 w 604027"/>
                <a:gd name="connsiteY4" fmla="*/ 535314 h 535314"/>
                <a:gd name="connsiteX5" fmla="*/ 89 w 604027"/>
                <a:gd name="connsiteY5" fmla="*/ 76156 h 535314"/>
                <a:gd name="connsiteX0" fmla="*/ 89 w 604027"/>
                <a:gd name="connsiteY0" fmla="*/ 76156 h 535314"/>
                <a:gd name="connsiteX1" fmla="*/ 89 w 604027"/>
                <a:gd name="connsiteY1" fmla="*/ 76156 h 535314"/>
                <a:gd name="connsiteX2" fmla="*/ 561232 w 604027"/>
                <a:gd name="connsiteY2" fmla="*/ 0 h 535314"/>
                <a:gd name="connsiteX3" fmla="*/ 566681 w 604027"/>
                <a:gd name="connsiteY3" fmla="*/ 533618 h 535314"/>
                <a:gd name="connsiteX4" fmla="*/ 937 w 604027"/>
                <a:gd name="connsiteY4" fmla="*/ 535314 h 535314"/>
                <a:gd name="connsiteX5" fmla="*/ 89 w 604027"/>
                <a:gd name="connsiteY5" fmla="*/ 76156 h 535314"/>
                <a:gd name="connsiteX0" fmla="*/ 89 w 604027"/>
                <a:gd name="connsiteY0" fmla="*/ 76156 h 535314"/>
                <a:gd name="connsiteX1" fmla="*/ 89 w 604027"/>
                <a:gd name="connsiteY1" fmla="*/ 76156 h 535314"/>
                <a:gd name="connsiteX2" fmla="*/ 561232 w 604027"/>
                <a:gd name="connsiteY2" fmla="*/ 0 h 535314"/>
                <a:gd name="connsiteX3" fmla="*/ 566681 w 604027"/>
                <a:gd name="connsiteY3" fmla="*/ 533618 h 535314"/>
                <a:gd name="connsiteX4" fmla="*/ 937 w 604027"/>
                <a:gd name="connsiteY4" fmla="*/ 535314 h 535314"/>
                <a:gd name="connsiteX5" fmla="*/ 89 w 604027"/>
                <a:gd name="connsiteY5" fmla="*/ 76156 h 535314"/>
                <a:gd name="connsiteX0" fmla="*/ 89 w 566681"/>
                <a:gd name="connsiteY0" fmla="*/ 76156 h 535314"/>
                <a:gd name="connsiteX1" fmla="*/ 89 w 566681"/>
                <a:gd name="connsiteY1" fmla="*/ 76156 h 535314"/>
                <a:gd name="connsiteX2" fmla="*/ 561232 w 566681"/>
                <a:gd name="connsiteY2" fmla="*/ 0 h 535314"/>
                <a:gd name="connsiteX3" fmla="*/ 566681 w 566681"/>
                <a:gd name="connsiteY3" fmla="*/ 533618 h 535314"/>
                <a:gd name="connsiteX4" fmla="*/ 937 w 566681"/>
                <a:gd name="connsiteY4" fmla="*/ 535314 h 535314"/>
                <a:gd name="connsiteX5" fmla="*/ 89 w 566681"/>
                <a:gd name="connsiteY5" fmla="*/ 76156 h 535314"/>
                <a:gd name="connsiteX0" fmla="*/ 89 w 566681"/>
                <a:gd name="connsiteY0" fmla="*/ 76156 h 535314"/>
                <a:gd name="connsiteX1" fmla="*/ 89 w 566681"/>
                <a:gd name="connsiteY1" fmla="*/ 76156 h 535314"/>
                <a:gd name="connsiteX2" fmla="*/ 561232 w 566681"/>
                <a:gd name="connsiteY2" fmla="*/ 0 h 535314"/>
                <a:gd name="connsiteX3" fmla="*/ 566681 w 566681"/>
                <a:gd name="connsiteY3" fmla="*/ 533618 h 535314"/>
                <a:gd name="connsiteX4" fmla="*/ 937 w 566681"/>
                <a:gd name="connsiteY4" fmla="*/ 535314 h 535314"/>
                <a:gd name="connsiteX5" fmla="*/ 89 w 566681"/>
                <a:gd name="connsiteY5" fmla="*/ 76156 h 535314"/>
                <a:gd name="connsiteX0" fmla="*/ 89 w 566681"/>
                <a:gd name="connsiteY0" fmla="*/ 76156 h 535314"/>
                <a:gd name="connsiteX1" fmla="*/ 89 w 566681"/>
                <a:gd name="connsiteY1" fmla="*/ 76156 h 535314"/>
                <a:gd name="connsiteX2" fmla="*/ 561232 w 566681"/>
                <a:gd name="connsiteY2" fmla="*/ 0 h 535314"/>
                <a:gd name="connsiteX3" fmla="*/ 566681 w 566681"/>
                <a:gd name="connsiteY3" fmla="*/ 533618 h 535314"/>
                <a:gd name="connsiteX4" fmla="*/ 937 w 566681"/>
                <a:gd name="connsiteY4" fmla="*/ 535314 h 535314"/>
                <a:gd name="connsiteX5" fmla="*/ 89 w 566681"/>
                <a:gd name="connsiteY5" fmla="*/ 76156 h 535314"/>
                <a:gd name="connsiteX0" fmla="*/ 89 w 566681"/>
                <a:gd name="connsiteY0" fmla="*/ 76156 h 535314"/>
                <a:gd name="connsiteX1" fmla="*/ 89 w 566681"/>
                <a:gd name="connsiteY1" fmla="*/ 76156 h 535314"/>
                <a:gd name="connsiteX2" fmla="*/ 561232 w 566681"/>
                <a:gd name="connsiteY2" fmla="*/ 0 h 535314"/>
                <a:gd name="connsiteX3" fmla="*/ 566681 w 566681"/>
                <a:gd name="connsiteY3" fmla="*/ 533618 h 535314"/>
                <a:gd name="connsiteX4" fmla="*/ 937 w 566681"/>
                <a:gd name="connsiteY4" fmla="*/ 535314 h 535314"/>
                <a:gd name="connsiteX5" fmla="*/ 89 w 566681"/>
                <a:gd name="connsiteY5" fmla="*/ 76156 h 535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6681" h="535314">
                  <a:moveTo>
                    <a:pt x="89" y="76156"/>
                  </a:moveTo>
                  <a:lnTo>
                    <a:pt x="89" y="76156"/>
                  </a:lnTo>
                  <a:lnTo>
                    <a:pt x="561232" y="0"/>
                  </a:lnTo>
                  <a:cubicBezTo>
                    <a:pt x="565177" y="64337"/>
                    <a:pt x="563956" y="497790"/>
                    <a:pt x="566681" y="533618"/>
                  </a:cubicBezTo>
                  <a:cubicBezTo>
                    <a:pt x="540025" y="531802"/>
                    <a:pt x="189518" y="534749"/>
                    <a:pt x="937" y="535314"/>
                  </a:cubicBezTo>
                  <a:cubicBezTo>
                    <a:pt x="1448" y="508468"/>
                    <a:pt x="-422" y="226827"/>
                    <a:pt x="89" y="76156"/>
                  </a:cubicBezTo>
                  <a:close/>
                </a:path>
              </a:pathLst>
            </a:cu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46" name="Freeform 45"/>
            <p:cNvSpPr/>
            <p:nvPr/>
          </p:nvSpPr>
          <p:spPr bwMode="auto">
            <a:xfrm>
              <a:off x="8913813" y="4882032"/>
              <a:ext cx="739212" cy="647233"/>
            </a:xfrm>
            <a:custGeom>
              <a:avLst/>
              <a:gdLst>
                <a:gd name="connsiteX0" fmla="*/ 0 w 577811"/>
                <a:gd name="connsiteY0" fmla="*/ 96243 h 595516"/>
                <a:gd name="connsiteX1" fmla="*/ 0 w 577811"/>
                <a:gd name="connsiteY1" fmla="*/ 96243 h 595516"/>
                <a:gd name="connsiteX2" fmla="*/ 56098 w 577811"/>
                <a:gd name="connsiteY2" fmla="*/ 90633 h 595516"/>
                <a:gd name="connsiteX3" fmla="*/ 151465 w 577811"/>
                <a:gd name="connsiteY3" fmla="*/ 85023 h 595516"/>
                <a:gd name="connsiteX4" fmla="*/ 190734 w 577811"/>
                <a:gd name="connsiteY4" fmla="*/ 79413 h 595516"/>
                <a:gd name="connsiteX5" fmla="*/ 286101 w 577811"/>
                <a:gd name="connsiteY5" fmla="*/ 73803 h 595516"/>
                <a:gd name="connsiteX6" fmla="*/ 370248 w 577811"/>
                <a:gd name="connsiteY6" fmla="*/ 62584 h 595516"/>
                <a:gd name="connsiteX7" fmla="*/ 387077 w 577811"/>
                <a:gd name="connsiteY7" fmla="*/ 56974 h 595516"/>
                <a:gd name="connsiteX8" fmla="*/ 431956 w 577811"/>
                <a:gd name="connsiteY8" fmla="*/ 51364 h 595516"/>
                <a:gd name="connsiteX9" fmla="*/ 460005 w 577811"/>
                <a:gd name="connsiteY9" fmla="*/ 45754 h 595516"/>
                <a:gd name="connsiteX10" fmla="*/ 510493 w 577811"/>
                <a:gd name="connsiteY10" fmla="*/ 40144 h 595516"/>
                <a:gd name="connsiteX11" fmla="*/ 527323 w 577811"/>
                <a:gd name="connsiteY11" fmla="*/ 34535 h 595516"/>
                <a:gd name="connsiteX12" fmla="*/ 560982 w 577811"/>
                <a:gd name="connsiteY12" fmla="*/ 28925 h 595516"/>
                <a:gd name="connsiteX13" fmla="*/ 577811 w 577811"/>
                <a:gd name="connsiteY13" fmla="*/ 17705 h 595516"/>
                <a:gd name="connsiteX14" fmla="*/ 566592 w 577811"/>
                <a:gd name="connsiteY14" fmla="*/ 876 h 595516"/>
                <a:gd name="connsiteX15" fmla="*/ 549762 w 577811"/>
                <a:gd name="connsiteY15" fmla="*/ 6486 h 595516"/>
                <a:gd name="connsiteX16" fmla="*/ 560982 w 577811"/>
                <a:gd name="connsiteY16" fmla="*/ 40144 h 595516"/>
                <a:gd name="connsiteX17" fmla="*/ 566592 w 577811"/>
                <a:gd name="connsiteY17" fmla="*/ 208439 h 595516"/>
                <a:gd name="connsiteX18" fmla="*/ 572201 w 577811"/>
                <a:gd name="connsiteY18" fmla="*/ 225268 h 595516"/>
                <a:gd name="connsiteX19" fmla="*/ 566592 w 577811"/>
                <a:gd name="connsiteY19" fmla="*/ 286976 h 595516"/>
                <a:gd name="connsiteX20" fmla="*/ 555372 w 577811"/>
                <a:gd name="connsiteY20" fmla="*/ 359904 h 595516"/>
                <a:gd name="connsiteX21" fmla="*/ 544152 w 577811"/>
                <a:gd name="connsiteY21" fmla="*/ 477710 h 595516"/>
                <a:gd name="connsiteX22" fmla="*/ 549762 w 577811"/>
                <a:gd name="connsiteY22" fmla="*/ 528198 h 595516"/>
                <a:gd name="connsiteX23" fmla="*/ 566592 w 577811"/>
                <a:gd name="connsiteY23" fmla="*/ 539418 h 595516"/>
                <a:gd name="connsiteX24" fmla="*/ 549762 w 577811"/>
                <a:gd name="connsiteY24" fmla="*/ 550638 h 595516"/>
                <a:gd name="connsiteX25" fmla="*/ 359028 w 577811"/>
                <a:gd name="connsiteY25" fmla="*/ 550638 h 595516"/>
                <a:gd name="connsiteX26" fmla="*/ 319760 w 577811"/>
                <a:gd name="connsiteY26" fmla="*/ 556248 h 595516"/>
                <a:gd name="connsiteX27" fmla="*/ 241222 w 577811"/>
                <a:gd name="connsiteY27" fmla="*/ 561857 h 595516"/>
                <a:gd name="connsiteX28" fmla="*/ 190734 w 577811"/>
                <a:gd name="connsiteY28" fmla="*/ 578687 h 595516"/>
                <a:gd name="connsiteX29" fmla="*/ 157075 w 577811"/>
                <a:gd name="connsiteY29" fmla="*/ 589906 h 595516"/>
                <a:gd name="connsiteX30" fmla="*/ 134636 w 577811"/>
                <a:gd name="connsiteY30" fmla="*/ 595516 h 595516"/>
                <a:gd name="connsiteX31" fmla="*/ 117806 w 577811"/>
                <a:gd name="connsiteY31" fmla="*/ 589906 h 595516"/>
                <a:gd name="connsiteX32" fmla="*/ 95367 w 577811"/>
                <a:gd name="connsiteY32" fmla="*/ 584297 h 595516"/>
                <a:gd name="connsiteX33" fmla="*/ 44879 w 577811"/>
                <a:gd name="connsiteY33" fmla="*/ 567467 h 595516"/>
                <a:gd name="connsiteX34" fmla="*/ 11220 w 577811"/>
                <a:gd name="connsiteY34" fmla="*/ 550638 h 595516"/>
                <a:gd name="connsiteX35" fmla="*/ 5610 w 577811"/>
                <a:gd name="connsiteY35" fmla="*/ 550638 h 595516"/>
                <a:gd name="connsiteX36" fmla="*/ 0 w 577811"/>
                <a:gd name="connsiteY36" fmla="*/ 96243 h 595516"/>
                <a:gd name="connsiteX0" fmla="*/ 0 w 577811"/>
                <a:gd name="connsiteY0" fmla="*/ 96243 h 595516"/>
                <a:gd name="connsiteX1" fmla="*/ 0 w 577811"/>
                <a:gd name="connsiteY1" fmla="*/ 96243 h 595516"/>
                <a:gd name="connsiteX2" fmla="*/ 151465 w 577811"/>
                <a:gd name="connsiteY2" fmla="*/ 85023 h 595516"/>
                <a:gd name="connsiteX3" fmla="*/ 190734 w 577811"/>
                <a:gd name="connsiteY3" fmla="*/ 79413 h 595516"/>
                <a:gd name="connsiteX4" fmla="*/ 286101 w 577811"/>
                <a:gd name="connsiteY4" fmla="*/ 73803 h 595516"/>
                <a:gd name="connsiteX5" fmla="*/ 370248 w 577811"/>
                <a:gd name="connsiteY5" fmla="*/ 62584 h 595516"/>
                <a:gd name="connsiteX6" fmla="*/ 387077 w 577811"/>
                <a:gd name="connsiteY6" fmla="*/ 56974 h 595516"/>
                <a:gd name="connsiteX7" fmla="*/ 431956 w 577811"/>
                <a:gd name="connsiteY7" fmla="*/ 51364 h 595516"/>
                <a:gd name="connsiteX8" fmla="*/ 460005 w 577811"/>
                <a:gd name="connsiteY8" fmla="*/ 45754 h 595516"/>
                <a:gd name="connsiteX9" fmla="*/ 510493 w 577811"/>
                <a:gd name="connsiteY9" fmla="*/ 40144 h 595516"/>
                <a:gd name="connsiteX10" fmla="*/ 527323 w 577811"/>
                <a:gd name="connsiteY10" fmla="*/ 34535 h 595516"/>
                <a:gd name="connsiteX11" fmla="*/ 560982 w 577811"/>
                <a:gd name="connsiteY11" fmla="*/ 28925 h 595516"/>
                <a:gd name="connsiteX12" fmla="*/ 577811 w 577811"/>
                <a:gd name="connsiteY12" fmla="*/ 17705 h 595516"/>
                <a:gd name="connsiteX13" fmla="*/ 566592 w 577811"/>
                <a:gd name="connsiteY13" fmla="*/ 876 h 595516"/>
                <a:gd name="connsiteX14" fmla="*/ 549762 w 577811"/>
                <a:gd name="connsiteY14" fmla="*/ 6486 h 595516"/>
                <a:gd name="connsiteX15" fmla="*/ 560982 w 577811"/>
                <a:gd name="connsiteY15" fmla="*/ 40144 h 595516"/>
                <a:gd name="connsiteX16" fmla="*/ 566592 w 577811"/>
                <a:gd name="connsiteY16" fmla="*/ 208439 h 595516"/>
                <a:gd name="connsiteX17" fmla="*/ 572201 w 577811"/>
                <a:gd name="connsiteY17" fmla="*/ 225268 h 595516"/>
                <a:gd name="connsiteX18" fmla="*/ 566592 w 577811"/>
                <a:gd name="connsiteY18" fmla="*/ 286976 h 595516"/>
                <a:gd name="connsiteX19" fmla="*/ 555372 w 577811"/>
                <a:gd name="connsiteY19" fmla="*/ 359904 h 595516"/>
                <a:gd name="connsiteX20" fmla="*/ 544152 w 577811"/>
                <a:gd name="connsiteY20" fmla="*/ 477710 h 595516"/>
                <a:gd name="connsiteX21" fmla="*/ 549762 w 577811"/>
                <a:gd name="connsiteY21" fmla="*/ 528198 h 595516"/>
                <a:gd name="connsiteX22" fmla="*/ 566592 w 577811"/>
                <a:gd name="connsiteY22" fmla="*/ 539418 h 595516"/>
                <a:gd name="connsiteX23" fmla="*/ 549762 w 577811"/>
                <a:gd name="connsiteY23" fmla="*/ 550638 h 595516"/>
                <a:gd name="connsiteX24" fmla="*/ 359028 w 577811"/>
                <a:gd name="connsiteY24" fmla="*/ 550638 h 595516"/>
                <a:gd name="connsiteX25" fmla="*/ 319760 w 577811"/>
                <a:gd name="connsiteY25" fmla="*/ 556248 h 595516"/>
                <a:gd name="connsiteX26" fmla="*/ 241222 w 577811"/>
                <a:gd name="connsiteY26" fmla="*/ 561857 h 595516"/>
                <a:gd name="connsiteX27" fmla="*/ 190734 w 577811"/>
                <a:gd name="connsiteY27" fmla="*/ 578687 h 595516"/>
                <a:gd name="connsiteX28" fmla="*/ 157075 w 577811"/>
                <a:gd name="connsiteY28" fmla="*/ 589906 h 595516"/>
                <a:gd name="connsiteX29" fmla="*/ 134636 w 577811"/>
                <a:gd name="connsiteY29" fmla="*/ 595516 h 595516"/>
                <a:gd name="connsiteX30" fmla="*/ 117806 w 577811"/>
                <a:gd name="connsiteY30" fmla="*/ 589906 h 595516"/>
                <a:gd name="connsiteX31" fmla="*/ 95367 w 577811"/>
                <a:gd name="connsiteY31" fmla="*/ 584297 h 595516"/>
                <a:gd name="connsiteX32" fmla="*/ 44879 w 577811"/>
                <a:gd name="connsiteY32" fmla="*/ 567467 h 595516"/>
                <a:gd name="connsiteX33" fmla="*/ 11220 w 577811"/>
                <a:gd name="connsiteY33" fmla="*/ 550638 h 595516"/>
                <a:gd name="connsiteX34" fmla="*/ 5610 w 577811"/>
                <a:gd name="connsiteY34" fmla="*/ 550638 h 595516"/>
                <a:gd name="connsiteX35" fmla="*/ 0 w 577811"/>
                <a:gd name="connsiteY35" fmla="*/ 96243 h 595516"/>
                <a:gd name="connsiteX0" fmla="*/ 0 w 577811"/>
                <a:gd name="connsiteY0" fmla="*/ 96243 h 595516"/>
                <a:gd name="connsiteX1" fmla="*/ 0 w 577811"/>
                <a:gd name="connsiteY1" fmla="*/ 96243 h 595516"/>
                <a:gd name="connsiteX2" fmla="*/ 190734 w 577811"/>
                <a:gd name="connsiteY2" fmla="*/ 79413 h 595516"/>
                <a:gd name="connsiteX3" fmla="*/ 286101 w 577811"/>
                <a:gd name="connsiteY3" fmla="*/ 73803 h 595516"/>
                <a:gd name="connsiteX4" fmla="*/ 370248 w 577811"/>
                <a:gd name="connsiteY4" fmla="*/ 62584 h 595516"/>
                <a:gd name="connsiteX5" fmla="*/ 387077 w 577811"/>
                <a:gd name="connsiteY5" fmla="*/ 56974 h 595516"/>
                <a:gd name="connsiteX6" fmla="*/ 431956 w 577811"/>
                <a:gd name="connsiteY6" fmla="*/ 51364 h 595516"/>
                <a:gd name="connsiteX7" fmla="*/ 460005 w 577811"/>
                <a:gd name="connsiteY7" fmla="*/ 45754 h 595516"/>
                <a:gd name="connsiteX8" fmla="*/ 510493 w 577811"/>
                <a:gd name="connsiteY8" fmla="*/ 40144 h 595516"/>
                <a:gd name="connsiteX9" fmla="*/ 527323 w 577811"/>
                <a:gd name="connsiteY9" fmla="*/ 34535 h 595516"/>
                <a:gd name="connsiteX10" fmla="*/ 560982 w 577811"/>
                <a:gd name="connsiteY10" fmla="*/ 28925 h 595516"/>
                <a:gd name="connsiteX11" fmla="*/ 577811 w 577811"/>
                <a:gd name="connsiteY11" fmla="*/ 17705 h 595516"/>
                <a:gd name="connsiteX12" fmla="*/ 566592 w 577811"/>
                <a:gd name="connsiteY12" fmla="*/ 876 h 595516"/>
                <a:gd name="connsiteX13" fmla="*/ 549762 w 577811"/>
                <a:gd name="connsiteY13" fmla="*/ 6486 h 595516"/>
                <a:gd name="connsiteX14" fmla="*/ 560982 w 577811"/>
                <a:gd name="connsiteY14" fmla="*/ 40144 h 595516"/>
                <a:gd name="connsiteX15" fmla="*/ 566592 w 577811"/>
                <a:gd name="connsiteY15" fmla="*/ 208439 h 595516"/>
                <a:gd name="connsiteX16" fmla="*/ 572201 w 577811"/>
                <a:gd name="connsiteY16" fmla="*/ 225268 h 595516"/>
                <a:gd name="connsiteX17" fmla="*/ 566592 w 577811"/>
                <a:gd name="connsiteY17" fmla="*/ 286976 h 595516"/>
                <a:gd name="connsiteX18" fmla="*/ 555372 w 577811"/>
                <a:gd name="connsiteY18" fmla="*/ 359904 h 595516"/>
                <a:gd name="connsiteX19" fmla="*/ 544152 w 577811"/>
                <a:gd name="connsiteY19" fmla="*/ 477710 h 595516"/>
                <a:gd name="connsiteX20" fmla="*/ 549762 w 577811"/>
                <a:gd name="connsiteY20" fmla="*/ 528198 h 595516"/>
                <a:gd name="connsiteX21" fmla="*/ 566592 w 577811"/>
                <a:gd name="connsiteY21" fmla="*/ 539418 h 595516"/>
                <a:gd name="connsiteX22" fmla="*/ 549762 w 577811"/>
                <a:gd name="connsiteY22" fmla="*/ 550638 h 595516"/>
                <a:gd name="connsiteX23" fmla="*/ 359028 w 577811"/>
                <a:gd name="connsiteY23" fmla="*/ 550638 h 595516"/>
                <a:gd name="connsiteX24" fmla="*/ 319760 w 577811"/>
                <a:gd name="connsiteY24" fmla="*/ 556248 h 595516"/>
                <a:gd name="connsiteX25" fmla="*/ 241222 w 577811"/>
                <a:gd name="connsiteY25" fmla="*/ 561857 h 595516"/>
                <a:gd name="connsiteX26" fmla="*/ 190734 w 577811"/>
                <a:gd name="connsiteY26" fmla="*/ 578687 h 595516"/>
                <a:gd name="connsiteX27" fmla="*/ 157075 w 577811"/>
                <a:gd name="connsiteY27" fmla="*/ 589906 h 595516"/>
                <a:gd name="connsiteX28" fmla="*/ 134636 w 577811"/>
                <a:gd name="connsiteY28" fmla="*/ 595516 h 595516"/>
                <a:gd name="connsiteX29" fmla="*/ 117806 w 577811"/>
                <a:gd name="connsiteY29" fmla="*/ 589906 h 595516"/>
                <a:gd name="connsiteX30" fmla="*/ 95367 w 577811"/>
                <a:gd name="connsiteY30" fmla="*/ 584297 h 595516"/>
                <a:gd name="connsiteX31" fmla="*/ 44879 w 577811"/>
                <a:gd name="connsiteY31" fmla="*/ 567467 h 595516"/>
                <a:gd name="connsiteX32" fmla="*/ 11220 w 577811"/>
                <a:gd name="connsiteY32" fmla="*/ 550638 h 595516"/>
                <a:gd name="connsiteX33" fmla="*/ 5610 w 577811"/>
                <a:gd name="connsiteY33" fmla="*/ 550638 h 595516"/>
                <a:gd name="connsiteX34" fmla="*/ 0 w 577811"/>
                <a:gd name="connsiteY34" fmla="*/ 96243 h 595516"/>
                <a:gd name="connsiteX0" fmla="*/ 0 w 577811"/>
                <a:gd name="connsiteY0" fmla="*/ 96243 h 595516"/>
                <a:gd name="connsiteX1" fmla="*/ 0 w 577811"/>
                <a:gd name="connsiteY1" fmla="*/ 96243 h 595516"/>
                <a:gd name="connsiteX2" fmla="*/ 286101 w 577811"/>
                <a:gd name="connsiteY2" fmla="*/ 73803 h 595516"/>
                <a:gd name="connsiteX3" fmla="*/ 370248 w 577811"/>
                <a:gd name="connsiteY3" fmla="*/ 62584 h 595516"/>
                <a:gd name="connsiteX4" fmla="*/ 387077 w 577811"/>
                <a:gd name="connsiteY4" fmla="*/ 56974 h 595516"/>
                <a:gd name="connsiteX5" fmla="*/ 431956 w 577811"/>
                <a:gd name="connsiteY5" fmla="*/ 51364 h 595516"/>
                <a:gd name="connsiteX6" fmla="*/ 460005 w 577811"/>
                <a:gd name="connsiteY6" fmla="*/ 45754 h 595516"/>
                <a:gd name="connsiteX7" fmla="*/ 510493 w 577811"/>
                <a:gd name="connsiteY7" fmla="*/ 40144 h 595516"/>
                <a:gd name="connsiteX8" fmla="*/ 527323 w 577811"/>
                <a:gd name="connsiteY8" fmla="*/ 34535 h 595516"/>
                <a:gd name="connsiteX9" fmla="*/ 560982 w 577811"/>
                <a:gd name="connsiteY9" fmla="*/ 28925 h 595516"/>
                <a:gd name="connsiteX10" fmla="*/ 577811 w 577811"/>
                <a:gd name="connsiteY10" fmla="*/ 17705 h 595516"/>
                <a:gd name="connsiteX11" fmla="*/ 566592 w 577811"/>
                <a:gd name="connsiteY11" fmla="*/ 876 h 595516"/>
                <a:gd name="connsiteX12" fmla="*/ 549762 w 577811"/>
                <a:gd name="connsiteY12" fmla="*/ 6486 h 595516"/>
                <a:gd name="connsiteX13" fmla="*/ 560982 w 577811"/>
                <a:gd name="connsiteY13" fmla="*/ 40144 h 595516"/>
                <a:gd name="connsiteX14" fmla="*/ 566592 w 577811"/>
                <a:gd name="connsiteY14" fmla="*/ 208439 h 595516"/>
                <a:gd name="connsiteX15" fmla="*/ 572201 w 577811"/>
                <a:gd name="connsiteY15" fmla="*/ 225268 h 595516"/>
                <a:gd name="connsiteX16" fmla="*/ 566592 w 577811"/>
                <a:gd name="connsiteY16" fmla="*/ 286976 h 595516"/>
                <a:gd name="connsiteX17" fmla="*/ 555372 w 577811"/>
                <a:gd name="connsiteY17" fmla="*/ 359904 h 595516"/>
                <a:gd name="connsiteX18" fmla="*/ 544152 w 577811"/>
                <a:gd name="connsiteY18" fmla="*/ 477710 h 595516"/>
                <a:gd name="connsiteX19" fmla="*/ 549762 w 577811"/>
                <a:gd name="connsiteY19" fmla="*/ 528198 h 595516"/>
                <a:gd name="connsiteX20" fmla="*/ 566592 w 577811"/>
                <a:gd name="connsiteY20" fmla="*/ 539418 h 595516"/>
                <a:gd name="connsiteX21" fmla="*/ 549762 w 577811"/>
                <a:gd name="connsiteY21" fmla="*/ 550638 h 595516"/>
                <a:gd name="connsiteX22" fmla="*/ 359028 w 577811"/>
                <a:gd name="connsiteY22" fmla="*/ 550638 h 595516"/>
                <a:gd name="connsiteX23" fmla="*/ 319760 w 577811"/>
                <a:gd name="connsiteY23" fmla="*/ 556248 h 595516"/>
                <a:gd name="connsiteX24" fmla="*/ 241222 w 577811"/>
                <a:gd name="connsiteY24" fmla="*/ 561857 h 595516"/>
                <a:gd name="connsiteX25" fmla="*/ 190734 w 577811"/>
                <a:gd name="connsiteY25" fmla="*/ 578687 h 595516"/>
                <a:gd name="connsiteX26" fmla="*/ 157075 w 577811"/>
                <a:gd name="connsiteY26" fmla="*/ 589906 h 595516"/>
                <a:gd name="connsiteX27" fmla="*/ 134636 w 577811"/>
                <a:gd name="connsiteY27" fmla="*/ 595516 h 595516"/>
                <a:gd name="connsiteX28" fmla="*/ 117806 w 577811"/>
                <a:gd name="connsiteY28" fmla="*/ 589906 h 595516"/>
                <a:gd name="connsiteX29" fmla="*/ 95367 w 577811"/>
                <a:gd name="connsiteY29" fmla="*/ 584297 h 595516"/>
                <a:gd name="connsiteX30" fmla="*/ 44879 w 577811"/>
                <a:gd name="connsiteY30" fmla="*/ 567467 h 595516"/>
                <a:gd name="connsiteX31" fmla="*/ 11220 w 577811"/>
                <a:gd name="connsiteY31" fmla="*/ 550638 h 595516"/>
                <a:gd name="connsiteX32" fmla="*/ 5610 w 577811"/>
                <a:gd name="connsiteY32" fmla="*/ 550638 h 595516"/>
                <a:gd name="connsiteX33" fmla="*/ 0 w 577811"/>
                <a:gd name="connsiteY33" fmla="*/ 96243 h 595516"/>
                <a:gd name="connsiteX0" fmla="*/ 0 w 577811"/>
                <a:gd name="connsiteY0" fmla="*/ 96243 h 595516"/>
                <a:gd name="connsiteX1" fmla="*/ 0 w 577811"/>
                <a:gd name="connsiteY1" fmla="*/ 96243 h 595516"/>
                <a:gd name="connsiteX2" fmla="*/ 370248 w 577811"/>
                <a:gd name="connsiteY2" fmla="*/ 62584 h 595516"/>
                <a:gd name="connsiteX3" fmla="*/ 387077 w 577811"/>
                <a:gd name="connsiteY3" fmla="*/ 56974 h 595516"/>
                <a:gd name="connsiteX4" fmla="*/ 431956 w 577811"/>
                <a:gd name="connsiteY4" fmla="*/ 51364 h 595516"/>
                <a:gd name="connsiteX5" fmla="*/ 460005 w 577811"/>
                <a:gd name="connsiteY5" fmla="*/ 45754 h 595516"/>
                <a:gd name="connsiteX6" fmla="*/ 510493 w 577811"/>
                <a:gd name="connsiteY6" fmla="*/ 40144 h 595516"/>
                <a:gd name="connsiteX7" fmla="*/ 527323 w 577811"/>
                <a:gd name="connsiteY7" fmla="*/ 34535 h 595516"/>
                <a:gd name="connsiteX8" fmla="*/ 560982 w 577811"/>
                <a:gd name="connsiteY8" fmla="*/ 28925 h 595516"/>
                <a:gd name="connsiteX9" fmla="*/ 577811 w 577811"/>
                <a:gd name="connsiteY9" fmla="*/ 17705 h 595516"/>
                <a:gd name="connsiteX10" fmla="*/ 566592 w 577811"/>
                <a:gd name="connsiteY10" fmla="*/ 876 h 595516"/>
                <a:gd name="connsiteX11" fmla="*/ 549762 w 577811"/>
                <a:gd name="connsiteY11" fmla="*/ 6486 h 595516"/>
                <a:gd name="connsiteX12" fmla="*/ 560982 w 577811"/>
                <a:gd name="connsiteY12" fmla="*/ 40144 h 595516"/>
                <a:gd name="connsiteX13" fmla="*/ 566592 w 577811"/>
                <a:gd name="connsiteY13" fmla="*/ 208439 h 595516"/>
                <a:gd name="connsiteX14" fmla="*/ 572201 w 577811"/>
                <a:gd name="connsiteY14" fmla="*/ 225268 h 595516"/>
                <a:gd name="connsiteX15" fmla="*/ 566592 w 577811"/>
                <a:gd name="connsiteY15" fmla="*/ 286976 h 595516"/>
                <a:gd name="connsiteX16" fmla="*/ 555372 w 577811"/>
                <a:gd name="connsiteY16" fmla="*/ 359904 h 595516"/>
                <a:gd name="connsiteX17" fmla="*/ 544152 w 577811"/>
                <a:gd name="connsiteY17" fmla="*/ 477710 h 595516"/>
                <a:gd name="connsiteX18" fmla="*/ 549762 w 577811"/>
                <a:gd name="connsiteY18" fmla="*/ 528198 h 595516"/>
                <a:gd name="connsiteX19" fmla="*/ 566592 w 577811"/>
                <a:gd name="connsiteY19" fmla="*/ 539418 h 595516"/>
                <a:gd name="connsiteX20" fmla="*/ 549762 w 577811"/>
                <a:gd name="connsiteY20" fmla="*/ 550638 h 595516"/>
                <a:gd name="connsiteX21" fmla="*/ 359028 w 577811"/>
                <a:gd name="connsiteY21" fmla="*/ 550638 h 595516"/>
                <a:gd name="connsiteX22" fmla="*/ 319760 w 577811"/>
                <a:gd name="connsiteY22" fmla="*/ 556248 h 595516"/>
                <a:gd name="connsiteX23" fmla="*/ 241222 w 577811"/>
                <a:gd name="connsiteY23" fmla="*/ 561857 h 595516"/>
                <a:gd name="connsiteX24" fmla="*/ 190734 w 577811"/>
                <a:gd name="connsiteY24" fmla="*/ 578687 h 595516"/>
                <a:gd name="connsiteX25" fmla="*/ 157075 w 577811"/>
                <a:gd name="connsiteY25" fmla="*/ 589906 h 595516"/>
                <a:gd name="connsiteX26" fmla="*/ 134636 w 577811"/>
                <a:gd name="connsiteY26" fmla="*/ 595516 h 595516"/>
                <a:gd name="connsiteX27" fmla="*/ 117806 w 577811"/>
                <a:gd name="connsiteY27" fmla="*/ 589906 h 595516"/>
                <a:gd name="connsiteX28" fmla="*/ 95367 w 577811"/>
                <a:gd name="connsiteY28" fmla="*/ 584297 h 595516"/>
                <a:gd name="connsiteX29" fmla="*/ 44879 w 577811"/>
                <a:gd name="connsiteY29" fmla="*/ 567467 h 595516"/>
                <a:gd name="connsiteX30" fmla="*/ 11220 w 577811"/>
                <a:gd name="connsiteY30" fmla="*/ 550638 h 595516"/>
                <a:gd name="connsiteX31" fmla="*/ 5610 w 577811"/>
                <a:gd name="connsiteY31" fmla="*/ 550638 h 595516"/>
                <a:gd name="connsiteX32" fmla="*/ 0 w 577811"/>
                <a:gd name="connsiteY32" fmla="*/ 96243 h 595516"/>
                <a:gd name="connsiteX0" fmla="*/ 0 w 577811"/>
                <a:gd name="connsiteY0" fmla="*/ 96243 h 595516"/>
                <a:gd name="connsiteX1" fmla="*/ 0 w 577811"/>
                <a:gd name="connsiteY1" fmla="*/ 96243 h 595516"/>
                <a:gd name="connsiteX2" fmla="*/ 387077 w 577811"/>
                <a:gd name="connsiteY2" fmla="*/ 56974 h 595516"/>
                <a:gd name="connsiteX3" fmla="*/ 431956 w 577811"/>
                <a:gd name="connsiteY3" fmla="*/ 51364 h 595516"/>
                <a:gd name="connsiteX4" fmla="*/ 460005 w 577811"/>
                <a:gd name="connsiteY4" fmla="*/ 45754 h 595516"/>
                <a:gd name="connsiteX5" fmla="*/ 510493 w 577811"/>
                <a:gd name="connsiteY5" fmla="*/ 40144 h 595516"/>
                <a:gd name="connsiteX6" fmla="*/ 527323 w 577811"/>
                <a:gd name="connsiteY6" fmla="*/ 34535 h 595516"/>
                <a:gd name="connsiteX7" fmla="*/ 560982 w 577811"/>
                <a:gd name="connsiteY7" fmla="*/ 28925 h 595516"/>
                <a:gd name="connsiteX8" fmla="*/ 577811 w 577811"/>
                <a:gd name="connsiteY8" fmla="*/ 17705 h 595516"/>
                <a:gd name="connsiteX9" fmla="*/ 566592 w 577811"/>
                <a:gd name="connsiteY9" fmla="*/ 876 h 595516"/>
                <a:gd name="connsiteX10" fmla="*/ 549762 w 577811"/>
                <a:gd name="connsiteY10" fmla="*/ 6486 h 595516"/>
                <a:gd name="connsiteX11" fmla="*/ 560982 w 577811"/>
                <a:gd name="connsiteY11" fmla="*/ 40144 h 595516"/>
                <a:gd name="connsiteX12" fmla="*/ 566592 w 577811"/>
                <a:gd name="connsiteY12" fmla="*/ 208439 h 595516"/>
                <a:gd name="connsiteX13" fmla="*/ 572201 w 577811"/>
                <a:gd name="connsiteY13" fmla="*/ 225268 h 595516"/>
                <a:gd name="connsiteX14" fmla="*/ 566592 w 577811"/>
                <a:gd name="connsiteY14" fmla="*/ 286976 h 595516"/>
                <a:gd name="connsiteX15" fmla="*/ 555372 w 577811"/>
                <a:gd name="connsiteY15" fmla="*/ 359904 h 595516"/>
                <a:gd name="connsiteX16" fmla="*/ 544152 w 577811"/>
                <a:gd name="connsiteY16" fmla="*/ 477710 h 595516"/>
                <a:gd name="connsiteX17" fmla="*/ 549762 w 577811"/>
                <a:gd name="connsiteY17" fmla="*/ 528198 h 595516"/>
                <a:gd name="connsiteX18" fmla="*/ 566592 w 577811"/>
                <a:gd name="connsiteY18" fmla="*/ 539418 h 595516"/>
                <a:gd name="connsiteX19" fmla="*/ 549762 w 577811"/>
                <a:gd name="connsiteY19" fmla="*/ 550638 h 595516"/>
                <a:gd name="connsiteX20" fmla="*/ 359028 w 577811"/>
                <a:gd name="connsiteY20" fmla="*/ 550638 h 595516"/>
                <a:gd name="connsiteX21" fmla="*/ 319760 w 577811"/>
                <a:gd name="connsiteY21" fmla="*/ 556248 h 595516"/>
                <a:gd name="connsiteX22" fmla="*/ 241222 w 577811"/>
                <a:gd name="connsiteY22" fmla="*/ 561857 h 595516"/>
                <a:gd name="connsiteX23" fmla="*/ 190734 w 577811"/>
                <a:gd name="connsiteY23" fmla="*/ 578687 h 595516"/>
                <a:gd name="connsiteX24" fmla="*/ 157075 w 577811"/>
                <a:gd name="connsiteY24" fmla="*/ 589906 h 595516"/>
                <a:gd name="connsiteX25" fmla="*/ 134636 w 577811"/>
                <a:gd name="connsiteY25" fmla="*/ 595516 h 595516"/>
                <a:gd name="connsiteX26" fmla="*/ 117806 w 577811"/>
                <a:gd name="connsiteY26" fmla="*/ 589906 h 595516"/>
                <a:gd name="connsiteX27" fmla="*/ 95367 w 577811"/>
                <a:gd name="connsiteY27" fmla="*/ 584297 h 595516"/>
                <a:gd name="connsiteX28" fmla="*/ 44879 w 577811"/>
                <a:gd name="connsiteY28" fmla="*/ 567467 h 595516"/>
                <a:gd name="connsiteX29" fmla="*/ 11220 w 577811"/>
                <a:gd name="connsiteY29" fmla="*/ 550638 h 595516"/>
                <a:gd name="connsiteX30" fmla="*/ 5610 w 577811"/>
                <a:gd name="connsiteY30" fmla="*/ 550638 h 595516"/>
                <a:gd name="connsiteX31" fmla="*/ 0 w 577811"/>
                <a:gd name="connsiteY31" fmla="*/ 96243 h 595516"/>
                <a:gd name="connsiteX0" fmla="*/ 0 w 577811"/>
                <a:gd name="connsiteY0" fmla="*/ 96243 h 595516"/>
                <a:gd name="connsiteX1" fmla="*/ 0 w 577811"/>
                <a:gd name="connsiteY1" fmla="*/ 96243 h 595516"/>
                <a:gd name="connsiteX2" fmla="*/ 431956 w 577811"/>
                <a:gd name="connsiteY2" fmla="*/ 51364 h 595516"/>
                <a:gd name="connsiteX3" fmla="*/ 460005 w 577811"/>
                <a:gd name="connsiteY3" fmla="*/ 45754 h 595516"/>
                <a:gd name="connsiteX4" fmla="*/ 510493 w 577811"/>
                <a:gd name="connsiteY4" fmla="*/ 40144 h 595516"/>
                <a:gd name="connsiteX5" fmla="*/ 527323 w 577811"/>
                <a:gd name="connsiteY5" fmla="*/ 34535 h 595516"/>
                <a:gd name="connsiteX6" fmla="*/ 560982 w 577811"/>
                <a:gd name="connsiteY6" fmla="*/ 28925 h 595516"/>
                <a:gd name="connsiteX7" fmla="*/ 577811 w 577811"/>
                <a:gd name="connsiteY7" fmla="*/ 17705 h 595516"/>
                <a:gd name="connsiteX8" fmla="*/ 566592 w 577811"/>
                <a:gd name="connsiteY8" fmla="*/ 876 h 595516"/>
                <a:gd name="connsiteX9" fmla="*/ 549762 w 577811"/>
                <a:gd name="connsiteY9" fmla="*/ 6486 h 595516"/>
                <a:gd name="connsiteX10" fmla="*/ 560982 w 577811"/>
                <a:gd name="connsiteY10" fmla="*/ 40144 h 595516"/>
                <a:gd name="connsiteX11" fmla="*/ 566592 w 577811"/>
                <a:gd name="connsiteY11" fmla="*/ 208439 h 595516"/>
                <a:gd name="connsiteX12" fmla="*/ 572201 w 577811"/>
                <a:gd name="connsiteY12" fmla="*/ 225268 h 595516"/>
                <a:gd name="connsiteX13" fmla="*/ 566592 w 577811"/>
                <a:gd name="connsiteY13" fmla="*/ 286976 h 595516"/>
                <a:gd name="connsiteX14" fmla="*/ 555372 w 577811"/>
                <a:gd name="connsiteY14" fmla="*/ 359904 h 595516"/>
                <a:gd name="connsiteX15" fmla="*/ 544152 w 577811"/>
                <a:gd name="connsiteY15" fmla="*/ 477710 h 595516"/>
                <a:gd name="connsiteX16" fmla="*/ 549762 w 577811"/>
                <a:gd name="connsiteY16" fmla="*/ 528198 h 595516"/>
                <a:gd name="connsiteX17" fmla="*/ 566592 w 577811"/>
                <a:gd name="connsiteY17" fmla="*/ 539418 h 595516"/>
                <a:gd name="connsiteX18" fmla="*/ 549762 w 577811"/>
                <a:gd name="connsiteY18" fmla="*/ 550638 h 595516"/>
                <a:gd name="connsiteX19" fmla="*/ 359028 w 577811"/>
                <a:gd name="connsiteY19" fmla="*/ 550638 h 595516"/>
                <a:gd name="connsiteX20" fmla="*/ 319760 w 577811"/>
                <a:gd name="connsiteY20" fmla="*/ 556248 h 595516"/>
                <a:gd name="connsiteX21" fmla="*/ 241222 w 577811"/>
                <a:gd name="connsiteY21" fmla="*/ 561857 h 595516"/>
                <a:gd name="connsiteX22" fmla="*/ 190734 w 577811"/>
                <a:gd name="connsiteY22" fmla="*/ 578687 h 595516"/>
                <a:gd name="connsiteX23" fmla="*/ 157075 w 577811"/>
                <a:gd name="connsiteY23" fmla="*/ 589906 h 595516"/>
                <a:gd name="connsiteX24" fmla="*/ 134636 w 577811"/>
                <a:gd name="connsiteY24" fmla="*/ 595516 h 595516"/>
                <a:gd name="connsiteX25" fmla="*/ 117806 w 577811"/>
                <a:gd name="connsiteY25" fmla="*/ 589906 h 595516"/>
                <a:gd name="connsiteX26" fmla="*/ 95367 w 577811"/>
                <a:gd name="connsiteY26" fmla="*/ 584297 h 595516"/>
                <a:gd name="connsiteX27" fmla="*/ 44879 w 577811"/>
                <a:gd name="connsiteY27" fmla="*/ 567467 h 595516"/>
                <a:gd name="connsiteX28" fmla="*/ 11220 w 577811"/>
                <a:gd name="connsiteY28" fmla="*/ 550638 h 595516"/>
                <a:gd name="connsiteX29" fmla="*/ 5610 w 577811"/>
                <a:gd name="connsiteY29" fmla="*/ 550638 h 595516"/>
                <a:gd name="connsiteX30" fmla="*/ 0 w 577811"/>
                <a:gd name="connsiteY30" fmla="*/ 96243 h 595516"/>
                <a:gd name="connsiteX0" fmla="*/ 0 w 577811"/>
                <a:gd name="connsiteY0" fmla="*/ 96243 h 595516"/>
                <a:gd name="connsiteX1" fmla="*/ 0 w 577811"/>
                <a:gd name="connsiteY1" fmla="*/ 96243 h 595516"/>
                <a:gd name="connsiteX2" fmla="*/ 460005 w 577811"/>
                <a:gd name="connsiteY2" fmla="*/ 45754 h 595516"/>
                <a:gd name="connsiteX3" fmla="*/ 510493 w 577811"/>
                <a:gd name="connsiteY3" fmla="*/ 40144 h 595516"/>
                <a:gd name="connsiteX4" fmla="*/ 527323 w 577811"/>
                <a:gd name="connsiteY4" fmla="*/ 34535 h 595516"/>
                <a:gd name="connsiteX5" fmla="*/ 560982 w 577811"/>
                <a:gd name="connsiteY5" fmla="*/ 28925 h 595516"/>
                <a:gd name="connsiteX6" fmla="*/ 577811 w 577811"/>
                <a:gd name="connsiteY6" fmla="*/ 17705 h 595516"/>
                <a:gd name="connsiteX7" fmla="*/ 566592 w 577811"/>
                <a:gd name="connsiteY7" fmla="*/ 876 h 595516"/>
                <a:gd name="connsiteX8" fmla="*/ 549762 w 577811"/>
                <a:gd name="connsiteY8" fmla="*/ 6486 h 595516"/>
                <a:gd name="connsiteX9" fmla="*/ 560982 w 577811"/>
                <a:gd name="connsiteY9" fmla="*/ 40144 h 595516"/>
                <a:gd name="connsiteX10" fmla="*/ 566592 w 577811"/>
                <a:gd name="connsiteY10" fmla="*/ 208439 h 595516"/>
                <a:gd name="connsiteX11" fmla="*/ 572201 w 577811"/>
                <a:gd name="connsiteY11" fmla="*/ 225268 h 595516"/>
                <a:gd name="connsiteX12" fmla="*/ 566592 w 577811"/>
                <a:gd name="connsiteY12" fmla="*/ 286976 h 595516"/>
                <a:gd name="connsiteX13" fmla="*/ 555372 w 577811"/>
                <a:gd name="connsiteY13" fmla="*/ 359904 h 595516"/>
                <a:gd name="connsiteX14" fmla="*/ 544152 w 577811"/>
                <a:gd name="connsiteY14" fmla="*/ 477710 h 595516"/>
                <a:gd name="connsiteX15" fmla="*/ 549762 w 577811"/>
                <a:gd name="connsiteY15" fmla="*/ 528198 h 595516"/>
                <a:gd name="connsiteX16" fmla="*/ 566592 w 577811"/>
                <a:gd name="connsiteY16" fmla="*/ 539418 h 595516"/>
                <a:gd name="connsiteX17" fmla="*/ 549762 w 577811"/>
                <a:gd name="connsiteY17" fmla="*/ 550638 h 595516"/>
                <a:gd name="connsiteX18" fmla="*/ 359028 w 577811"/>
                <a:gd name="connsiteY18" fmla="*/ 550638 h 595516"/>
                <a:gd name="connsiteX19" fmla="*/ 319760 w 577811"/>
                <a:gd name="connsiteY19" fmla="*/ 556248 h 595516"/>
                <a:gd name="connsiteX20" fmla="*/ 241222 w 577811"/>
                <a:gd name="connsiteY20" fmla="*/ 561857 h 595516"/>
                <a:gd name="connsiteX21" fmla="*/ 190734 w 577811"/>
                <a:gd name="connsiteY21" fmla="*/ 578687 h 595516"/>
                <a:gd name="connsiteX22" fmla="*/ 157075 w 577811"/>
                <a:gd name="connsiteY22" fmla="*/ 589906 h 595516"/>
                <a:gd name="connsiteX23" fmla="*/ 134636 w 577811"/>
                <a:gd name="connsiteY23" fmla="*/ 595516 h 595516"/>
                <a:gd name="connsiteX24" fmla="*/ 117806 w 577811"/>
                <a:gd name="connsiteY24" fmla="*/ 589906 h 595516"/>
                <a:gd name="connsiteX25" fmla="*/ 95367 w 577811"/>
                <a:gd name="connsiteY25" fmla="*/ 584297 h 595516"/>
                <a:gd name="connsiteX26" fmla="*/ 44879 w 577811"/>
                <a:gd name="connsiteY26" fmla="*/ 567467 h 595516"/>
                <a:gd name="connsiteX27" fmla="*/ 11220 w 577811"/>
                <a:gd name="connsiteY27" fmla="*/ 550638 h 595516"/>
                <a:gd name="connsiteX28" fmla="*/ 5610 w 577811"/>
                <a:gd name="connsiteY28" fmla="*/ 550638 h 595516"/>
                <a:gd name="connsiteX29" fmla="*/ 0 w 577811"/>
                <a:gd name="connsiteY29" fmla="*/ 96243 h 595516"/>
                <a:gd name="connsiteX0" fmla="*/ 0 w 577811"/>
                <a:gd name="connsiteY0" fmla="*/ 96243 h 595516"/>
                <a:gd name="connsiteX1" fmla="*/ 0 w 577811"/>
                <a:gd name="connsiteY1" fmla="*/ 96243 h 595516"/>
                <a:gd name="connsiteX2" fmla="*/ 510493 w 577811"/>
                <a:gd name="connsiteY2" fmla="*/ 40144 h 595516"/>
                <a:gd name="connsiteX3" fmla="*/ 527323 w 577811"/>
                <a:gd name="connsiteY3" fmla="*/ 34535 h 595516"/>
                <a:gd name="connsiteX4" fmla="*/ 560982 w 577811"/>
                <a:gd name="connsiteY4" fmla="*/ 28925 h 595516"/>
                <a:gd name="connsiteX5" fmla="*/ 577811 w 577811"/>
                <a:gd name="connsiteY5" fmla="*/ 17705 h 595516"/>
                <a:gd name="connsiteX6" fmla="*/ 566592 w 577811"/>
                <a:gd name="connsiteY6" fmla="*/ 876 h 595516"/>
                <a:gd name="connsiteX7" fmla="*/ 549762 w 577811"/>
                <a:gd name="connsiteY7" fmla="*/ 6486 h 595516"/>
                <a:gd name="connsiteX8" fmla="*/ 560982 w 577811"/>
                <a:gd name="connsiteY8" fmla="*/ 40144 h 595516"/>
                <a:gd name="connsiteX9" fmla="*/ 566592 w 577811"/>
                <a:gd name="connsiteY9" fmla="*/ 208439 h 595516"/>
                <a:gd name="connsiteX10" fmla="*/ 572201 w 577811"/>
                <a:gd name="connsiteY10" fmla="*/ 225268 h 595516"/>
                <a:gd name="connsiteX11" fmla="*/ 566592 w 577811"/>
                <a:gd name="connsiteY11" fmla="*/ 286976 h 595516"/>
                <a:gd name="connsiteX12" fmla="*/ 555372 w 577811"/>
                <a:gd name="connsiteY12" fmla="*/ 359904 h 595516"/>
                <a:gd name="connsiteX13" fmla="*/ 544152 w 577811"/>
                <a:gd name="connsiteY13" fmla="*/ 477710 h 595516"/>
                <a:gd name="connsiteX14" fmla="*/ 549762 w 577811"/>
                <a:gd name="connsiteY14" fmla="*/ 528198 h 595516"/>
                <a:gd name="connsiteX15" fmla="*/ 566592 w 577811"/>
                <a:gd name="connsiteY15" fmla="*/ 539418 h 595516"/>
                <a:gd name="connsiteX16" fmla="*/ 549762 w 577811"/>
                <a:gd name="connsiteY16" fmla="*/ 550638 h 595516"/>
                <a:gd name="connsiteX17" fmla="*/ 359028 w 577811"/>
                <a:gd name="connsiteY17" fmla="*/ 550638 h 595516"/>
                <a:gd name="connsiteX18" fmla="*/ 319760 w 577811"/>
                <a:gd name="connsiteY18" fmla="*/ 556248 h 595516"/>
                <a:gd name="connsiteX19" fmla="*/ 241222 w 577811"/>
                <a:gd name="connsiteY19" fmla="*/ 561857 h 595516"/>
                <a:gd name="connsiteX20" fmla="*/ 190734 w 577811"/>
                <a:gd name="connsiteY20" fmla="*/ 578687 h 595516"/>
                <a:gd name="connsiteX21" fmla="*/ 157075 w 577811"/>
                <a:gd name="connsiteY21" fmla="*/ 589906 h 595516"/>
                <a:gd name="connsiteX22" fmla="*/ 134636 w 577811"/>
                <a:gd name="connsiteY22" fmla="*/ 595516 h 595516"/>
                <a:gd name="connsiteX23" fmla="*/ 117806 w 577811"/>
                <a:gd name="connsiteY23" fmla="*/ 589906 h 595516"/>
                <a:gd name="connsiteX24" fmla="*/ 95367 w 577811"/>
                <a:gd name="connsiteY24" fmla="*/ 584297 h 595516"/>
                <a:gd name="connsiteX25" fmla="*/ 44879 w 577811"/>
                <a:gd name="connsiteY25" fmla="*/ 567467 h 595516"/>
                <a:gd name="connsiteX26" fmla="*/ 11220 w 577811"/>
                <a:gd name="connsiteY26" fmla="*/ 550638 h 595516"/>
                <a:gd name="connsiteX27" fmla="*/ 5610 w 577811"/>
                <a:gd name="connsiteY27" fmla="*/ 550638 h 595516"/>
                <a:gd name="connsiteX28" fmla="*/ 0 w 577811"/>
                <a:gd name="connsiteY28" fmla="*/ 96243 h 595516"/>
                <a:gd name="connsiteX0" fmla="*/ 0 w 577811"/>
                <a:gd name="connsiteY0" fmla="*/ 96243 h 595516"/>
                <a:gd name="connsiteX1" fmla="*/ 0 w 577811"/>
                <a:gd name="connsiteY1" fmla="*/ 96243 h 595516"/>
                <a:gd name="connsiteX2" fmla="*/ 527323 w 577811"/>
                <a:gd name="connsiteY2" fmla="*/ 34535 h 595516"/>
                <a:gd name="connsiteX3" fmla="*/ 560982 w 577811"/>
                <a:gd name="connsiteY3" fmla="*/ 28925 h 595516"/>
                <a:gd name="connsiteX4" fmla="*/ 577811 w 577811"/>
                <a:gd name="connsiteY4" fmla="*/ 17705 h 595516"/>
                <a:gd name="connsiteX5" fmla="*/ 566592 w 577811"/>
                <a:gd name="connsiteY5" fmla="*/ 876 h 595516"/>
                <a:gd name="connsiteX6" fmla="*/ 549762 w 577811"/>
                <a:gd name="connsiteY6" fmla="*/ 6486 h 595516"/>
                <a:gd name="connsiteX7" fmla="*/ 560982 w 577811"/>
                <a:gd name="connsiteY7" fmla="*/ 40144 h 595516"/>
                <a:gd name="connsiteX8" fmla="*/ 566592 w 577811"/>
                <a:gd name="connsiteY8" fmla="*/ 208439 h 595516"/>
                <a:gd name="connsiteX9" fmla="*/ 572201 w 577811"/>
                <a:gd name="connsiteY9" fmla="*/ 225268 h 595516"/>
                <a:gd name="connsiteX10" fmla="*/ 566592 w 577811"/>
                <a:gd name="connsiteY10" fmla="*/ 286976 h 595516"/>
                <a:gd name="connsiteX11" fmla="*/ 555372 w 577811"/>
                <a:gd name="connsiteY11" fmla="*/ 359904 h 595516"/>
                <a:gd name="connsiteX12" fmla="*/ 544152 w 577811"/>
                <a:gd name="connsiteY12" fmla="*/ 477710 h 595516"/>
                <a:gd name="connsiteX13" fmla="*/ 549762 w 577811"/>
                <a:gd name="connsiteY13" fmla="*/ 528198 h 595516"/>
                <a:gd name="connsiteX14" fmla="*/ 566592 w 577811"/>
                <a:gd name="connsiteY14" fmla="*/ 539418 h 595516"/>
                <a:gd name="connsiteX15" fmla="*/ 549762 w 577811"/>
                <a:gd name="connsiteY15" fmla="*/ 550638 h 595516"/>
                <a:gd name="connsiteX16" fmla="*/ 359028 w 577811"/>
                <a:gd name="connsiteY16" fmla="*/ 550638 h 595516"/>
                <a:gd name="connsiteX17" fmla="*/ 319760 w 577811"/>
                <a:gd name="connsiteY17" fmla="*/ 556248 h 595516"/>
                <a:gd name="connsiteX18" fmla="*/ 241222 w 577811"/>
                <a:gd name="connsiteY18" fmla="*/ 561857 h 595516"/>
                <a:gd name="connsiteX19" fmla="*/ 190734 w 577811"/>
                <a:gd name="connsiteY19" fmla="*/ 578687 h 595516"/>
                <a:gd name="connsiteX20" fmla="*/ 157075 w 577811"/>
                <a:gd name="connsiteY20" fmla="*/ 589906 h 595516"/>
                <a:gd name="connsiteX21" fmla="*/ 134636 w 577811"/>
                <a:gd name="connsiteY21" fmla="*/ 595516 h 595516"/>
                <a:gd name="connsiteX22" fmla="*/ 117806 w 577811"/>
                <a:gd name="connsiteY22" fmla="*/ 589906 h 595516"/>
                <a:gd name="connsiteX23" fmla="*/ 95367 w 577811"/>
                <a:gd name="connsiteY23" fmla="*/ 584297 h 595516"/>
                <a:gd name="connsiteX24" fmla="*/ 44879 w 577811"/>
                <a:gd name="connsiteY24" fmla="*/ 567467 h 595516"/>
                <a:gd name="connsiteX25" fmla="*/ 11220 w 577811"/>
                <a:gd name="connsiteY25" fmla="*/ 550638 h 595516"/>
                <a:gd name="connsiteX26" fmla="*/ 5610 w 577811"/>
                <a:gd name="connsiteY26" fmla="*/ 550638 h 595516"/>
                <a:gd name="connsiteX27" fmla="*/ 0 w 577811"/>
                <a:gd name="connsiteY27" fmla="*/ 96243 h 595516"/>
                <a:gd name="connsiteX0" fmla="*/ 0 w 577811"/>
                <a:gd name="connsiteY0" fmla="*/ 96243 h 595516"/>
                <a:gd name="connsiteX1" fmla="*/ 0 w 577811"/>
                <a:gd name="connsiteY1" fmla="*/ 96243 h 595516"/>
                <a:gd name="connsiteX2" fmla="*/ 560982 w 577811"/>
                <a:gd name="connsiteY2" fmla="*/ 28925 h 595516"/>
                <a:gd name="connsiteX3" fmla="*/ 577811 w 577811"/>
                <a:gd name="connsiteY3" fmla="*/ 17705 h 595516"/>
                <a:gd name="connsiteX4" fmla="*/ 566592 w 577811"/>
                <a:gd name="connsiteY4" fmla="*/ 876 h 595516"/>
                <a:gd name="connsiteX5" fmla="*/ 549762 w 577811"/>
                <a:gd name="connsiteY5" fmla="*/ 6486 h 595516"/>
                <a:gd name="connsiteX6" fmla="*/ 560982 w 577811"/>
                <a:gd name="connsiteY6" fmla="*/ 40144 h 595516"/>
                <a:gd name="connsiteX7" fmla="*/ 566592 w 577811"/>
                <a:gd name="connsiteY7" fmla="*/ 208439 h 595516"/>
                <a:gd name="connsiteX8" fmla="*/ 572201 w 577811"/>
                <a:gd name="connsiteY8" fmla="*/ 225268 h 595516"/>
                <a:gd name="connsiteX9" fmla="*/ 566592 w 577811"/>
                <a:gd name="connsiteY9" fmla="*/ 286976 h 595516"/>
                <a:gd name="connsiteX10" fmla="*/ 555372 w 577811"/>
                <a:gd name="connsiteY10" fmla="*/ 359904 h 595516"/>
                <a:gd name="connsiteX11" fmla="*/ 544152 w 577811"/>
                <a:gd name="connsiteY11" fmla="*/ 477710 h 595516"/>
                <a:gd name="connsiteX12" fmla="*/ 549762 w 577811"/>
                <a:gd name="connsiteY12" fmla="*/ 528198 h 595516"/>
                <a:gd name="connsiteX13" fmla="*/ 566592 w 577811"/>
                <a:gd name="connsiteY13" fmla="*/ 539418 h 595516"/>
                <a:gd name="connsiteX14" fmla="*/ 549762 w 577811"/>
                <a:gd name="connsiteY14" fmla="*/ 550638 h 595516"/>
                <a:gd name="connsiteX15" fmla="*/ 359028 w 577811"/>
                <a:gd name="connsiteY15" fmla="*/ 550638 h 595516"/>
                <a:gd name="connsiteX16" fmla="*/ 319760 w 577811"/>
                <a:gd name="connsiteY16" fmla="*/ 556248 h 595516"/>
                <a:gd name="connsiteX17" fmla="*/ 241222 w 577811"/>
                <a:gd name="connsiteY17" fmla="*/ 561857 h 595516"/>
                <a:gd name="connsiteX18" fmla="*/ 190734 w 577811"/>
                <a:gd name="connsiteY18" fmla="*/ 578687 h 595516"/>
                <a:gd name="connsiteX19" fmla="*/ 157075 w 577811"/>
                <a:gd name="connsiteY19" fmla="*/ 589906 h 595516"/>
                <a:gd name="connsiteX20" fmla="*/ 134636 w 577811"/>
                <a:gd name="connsiteY20" fmla="*/ 595516 h 595516"/>
                <a:gd name="connsiteX21" fmla="*/ 117806 w 577811"/>
                <a:gd name="connsiteY21" fmla="*/ 589906 h 595516"/>
                <a:gd name="connsiteX22" fmla="*/ 95367 w 577811"/>
                <a:gd name="connsiteY22" fmla="*/ 584297 h 595516"/>
                <a:gd name="connsiteX23" fmla="*/ 44879 w 577811"/>
                <a:gd name="connsiteY23" fmla="*/ 567467 h 595516"/>
                <a:gd name="connsiteX24" fmla="*/ 11220 w 577811"/>
                <a:gd name="connsiteY24" fmla="*/ 550638 h 595516"/>
                <a:gd name="connsiteX25" fmla="*/ 5610 w 577811"/>
                <a:gd name="connsiteY25" fmla="*/ 550638 h 595516"/>
                <a:gd name="connsiteX26" fmla="*/ 0 w 577811"/>
                <a:gd name="connsiteY26" fmla="*/ 96243 h 595516"/>
                <a:gd name="connsiteX0" fmla="*/ 0 w 577811"/>
                <a:gd name="connsiteY0" fmla="*/ 90510 h 589783"/>
                <a:gd name="connsiteX1" fmla="*/ 0 w 577811"/>
                <a:gd name="connsiteY1" fmla="*/ 90510 h 589783"/>
                <a:gd name="connsiteX2" fmla="*/ 560982 w 577811"/>
                <a:gd name="connsiteY2" fmla="*/ 23192 h 589783"/>
                <a:gd name="connsiteX3" fmla="*/ 577811 w 577811"/>
                <a:gd name="connsiteY3" fmla="*/ 11972 h 589783"/>
                <a:gd name="connsiteX4" fmla="*/ 549762 w 577811"/>
                <a:gd name="connsiteY4" fmla="*/ 753 h 589783"/>
                <a:gd name="connsiteX5" fmla="*/ 560982 w 577811"/>
                <a:gd name="connsiteY5" fmla="*/ 34411 h 589783"/>
                <a:gd name="connsiteX6" fmla="*/ 566592 w 577811"/>
                <a:gd name="connsiteY6" fmla="*/ 202706 h 589783"/>
                <a:gd name="connsiteX7" fmla="*/ 572201 w 577811"/>
                <a:gd name="connsiteY7" fmla="*/ 219535 h 589783"/>
                <a:gd name="connsiteX8" fmla="*/ 566592 w 577811"/>
                <a:gd name="connsiteY8" fmla="*/ 281243 h 589783"/>
                <a:gd name="connsiteX9" fmla="*/ 555372 w 577811"/>
                <a:gd name="connsiteY9" fmla="*/ 354171 h 589783"/>
                <a:gd name="connsiteX10" fmla="*/ 544152 w 577811"/>
                <a:gd name="connsiteY10" fmla="*/ 471977 h 589783"/>
                <a:gd name="connsiteX11" fmla="*/ 549762 w 577811"/>
                <a:gd name="connsiteY11" fmla="*/ 522465 h 589783"/>
                <a:gd name="connsiteX12" fmla="*/ 566592 w 577811"/>
                <a:gd name="connsiteY12" fmla="*/ 533685 h 589783"/>
                <a:gd name="connsiteX13" fmla="*/ 549762 w 577811"/>
                <a:gd name="connsiteY13" fmla="*/ 544905 h 589783"/>
                <a:gd name="connsiteX14" fmla="*/ 359028 w 577811"/>
                <a:gd name="connsiteY14" fmla="*/ 544905 h 589783"/>
                <a:gd name="connsiteX15" fmla="*/ 319760 w 577811"/>
                <a:gd name="connsiteY15" fmla="*/ 550515 h 589783"/>
                <a:gd name="connsiteX16" fmla="*/ 241222 w 577811"/>
                <a:gd name="connsiteY16" fmla="*/ 556124 h 589783"/>
                <a:gd name="connsiteX17" fmla="*/ 190734 w 577811"/>
                <a:gd name="connsiteY17" fmla="*/ 572954 h 589783"/>
                <a:gd name="connsiteX18" fmla="*/ 157075 w 577811"/>
                <a:gd name="connsiteY18" fmla="*/ 584173 h 589783"/>
                <a:gd name="connsiteX19" fmla="*/ 134636 w 577811"/>
                <a:gd name="connsiteY19" fmla="*/ 589783 h 589783"/>
                <a:gd name="connsiteX20" fmla="*/ 117806 w 577811"/>
                <a:gd name="connsiteY20" fmla="*/ 584173 h 589783"/>
                <a:gd name="connsiteX21" fmla="*/ 95367 w 577811"/>
                <a:gd name="connsiteY21" fmla="*/ 578564 h 589783"/>
                <a:gd name="connsiteX22" fmla="*/ 44879 w 577811"/>
                <a:gd name="connsiteY22" fmla="*/ 561734 h 589783"/>
                <a:gd name="connsiteX23" fmla="*/ 11220 w 577811"/>
                <a:gd name="connsiteY23" fmla="*/ 544905 h 589783"/>
                <a:gd name="connsiteX24" fmla="*/ 5610 w 577811"/>
                <a:gd name="connsiteY24" fmla="*/ 544905 h 589783"/>
                <a:gd name="connsiteX25" fmla="*/ 0 w 577811"/>
                <a:gd name="connsiteY25" fmla="*/ 90510 h 589783"/>
                <a:gd name="connsiteX0" fmla="*/ 0 w 695065"/>
                <a:gd name="connsiteY0" fmla="*/ 78614 h 577887"/>
                <a:gd name="connsiteX1" fmla="*/ 0 w 695065"/>
                <a:gd name="connsiteY1" fmla="*/ 78614 h 577887"/>
                <a:gd name="connsiteX2" fmla="*/ 560982 w 695065"/>
                <a:gd name="connsiteY2" fmla="*/ 11296 h 577887"/>
                <a:gd name="connsiteX3" fmla="*/ 577811 w 695065"/>
                <a:gd name="connsiteY3" fmla="*/ 76 h 577887"/>
                <a:gd name="connsiteX4" fmla="*/ 695018 w 695065"/>
                <a:gd name="connsiteY4" fmla="*/ 136494 h 577887"/>
                <a:gd name="connsiteX5" fmla="*/ 560982 w 695065"/>
                <a:gd name="connsiteY5" fmla="*/ 22515 h 577887"/>
                <a:gd name="connsiteX6" fmla="*/ 566592 w 695065"/>
                <a:gd name="connsiteY6" fmla="*/ 190810 h 577887"/>
                <a:gd name="connsiteX7" fmla="*/ 572201 w 695065"/>
                <a:gd name="connsiteY7" fmla="*/ 207639 h 577887"/>
                <a:gd name="connsiteX8" fmla="*/ 566592 w 695065"/>
                <a:gd name="connsiteY8" fmla="*/ 269347 h 577887"/>
                <a:gd name="connsiteX9" fmla="*/ 555372 w 695065"/>
                <a:gd name="connsiteY9" fmla="*/ 342275 h 577887"/>
                <a:gd name="connsiteX10" fmla="*/ 544152 w 695065"/>
                <a:gd name="connsiteY10" fmla="*/ 460081 h 577887"/>
                <a:gd name="connsiteX11" fmla="*/ 549762 w 695065"/>
                <a:gd name="connsiteY11" fmla="*/ 510569 h 577887"/>
                <a:gd name="connsiteX12" fmla="*/ 566592 w 695065"/>
                <a:gd name="connsiteY12" fmla="*/ 521789 h 577887"/>
                <a:gd name="connsiteX13" fmla="*/ 549762 w 695065"/>
                <a:gd name="connsiteY13" fmla="*/ 533009 h 577887"/>
                <a:gd name="connsiteX14" fmla="*/ 359028 w 695065"/>
                <a:gd name="connsiteY14" fmla="*/ 533009 h 577887"/>
                <a:gd name="connsiteX15" fmla="*/ 319760 w 695065"/>
                <a:gd name="connsiteY15" fmla="*/ 538619 h 577887"/>
                <a:gd name="connsiteX16" fmla="*/ 241222 w 695065"/>
                <a:gd name="connsiteY16" fmla="*/ 544228 h 577887"/>
                <a:gd name="connsiteX17" fmla="*/ 190734 w 695065"/>
                <a:gd name="connsiteY17" fmla="*/ 561058 h 577887"/>
                <a:gd name="connsiteX18" fmla="*/ 157075 w 695065"/>
                <a:gd name="connsiteY18" fmla="*/ 572277 h 577887"/>
                <a:gd name="connsiteX19" fmla="*/ 134636 w 695065"/>
                <a:gd name="connsiteY19" fmla="*/ 577887 h 577887"/>
                <a:gd name="connsiteX20" fmla="*/ 117806 w 695065"/>
                <a:gd name="connsiteY20" fmla="*/ 572277 h 577887"/>
                <a:gd name="connsiteX21" fmla="*/ 95367 w 695065"/>
                <a:gd name="connsiteY21" fmla="*/ 566668 h 577887"/>
                <a:gd name="connsiteX22" fmla="*/ 44879 w 695065"/>
                <a:gd name="connsiteY22" fmla="*/ 549838 h 577887"/>
                <a:gd name="connsiteX23" fmla="*/ 11220 w 695065"/>
                <a:gd name="connsiteY23" fmla="*/ 533009 h 577887"/>
                <a:gd name="connsiteX24" fmla="*/ 5610 w 695065"/>
                <a:gd name="connsiteY24" fmla="*/ 533009 h 577887"/>
                <a:gd name="connsiteX25" fmla="*/ 0 w 695065"/>
                <a:gd name="connsiteY25" fmla="*/ 78614 h 577887"/>
                <a:gd name="connsiteX0" fmla="*/ 0 w 577811"/>
                <a:gd name="connsiteY0" fmla="*/ 78998 h 578271"/>
                <a:gd name="connsiteX1" fmla="*/ 0 w 577811"/>
                <a:gd name="connsiteY1" fmla="*/ 78998 h 578271"/>
                <a:gd name="connsiteX2" fmla="*/ 560982 w 577811"/>
                <a:gd name="connsiteY2" fmla="*/ 11680 h 578271"/>
                <a:gd name="connsiteX3" fmla="*/ 577811 w 577811"/>
                <a:gd name="connsiteY3" fmla="*/ 460 h 578271"/>
                <a:gd name="connsiteX4" fmla="*/ 560982 w 577811"/>
                <a:gd name="connsiteY4" fmla="*/ 22899 h 578271"/>
                <a:gd name="connsiteX5" fmla="*/ 566592 w 577811"/>
                <a:gd name="connsiteY5" fmla="*/ 191194 h 578271"/>
                <a:gd name="connsiteX6" fmla="*/ 572201 w 577811"/>
                <a:gd name="connsiteY6" fmla="*/ 208023 h 578271"/>
                <a:gd name="connsiteX7" fmla="*/ 566592 w 577811"/>
                <a:gd name="connsiteY7" fmla="*/ 269731 h 578271"/>
                <a:gd name="connsiteX8" fmla="*/ 555372 w 577811"/>
                <a:gd name="connsiteY8" fmla="*/ 342659 h 578271"/>
                <a:gd name="connsiteX9" fmla="*/ 544152 w 577811"/>
                <a:gd name="connsiteY9" fmla="*/ 460465 h 578271"/>
                <a:gd name="connsiteX10" fmla="*/ 549762 w 577811"/>
                <a:gd name="connsiteY10" fmla="*/ 510953 h 578271"/>
                <a:gd name="connsiteX11" fmla="*/ 566592 w 577811"/>
                <a:gd name="connsiteY11" fmla="*/ 522173 h 578271"/>
                <a:gd name="connsiteX12" fmla="*/ 549762 w 577811"/>
                <a:gd name="connsiteY12" fmla="*/ 533393 h 578271"/>
                <a:gd name="connsiteX13" fmla="*/ 359028 w 577811"/>
                <a:gd name="connsiteY13" fmla="*/ 533393 h 578271"/>
                <a:gd name="connsiteX14" fmla="*/ 319760 w 577811"/>
                <a:gd name="connsiteY14" fmla="*/ 539003 h 578271"/>
                <a:gd name="connsiteX15" fmla="*/ 241222 w 577811"/>
                <a:gd name="connsiteY15" fmla="*/ 544612 h 578271"/>
                <a:gd name="connsiteX16" fmla="*/ 190734 w 577811"/>
                <a:gd name="connsiteY16" fmla="*/ 561442 h 578271"/>
                <a:gd name="connsiteX17" fmla="*/ 157075 w 577811"/>
                <a:gd name="connsiteY17" fmla="*/ 572661 h 578271"/>
                <a:gd name="connsiteX18" fmla="*/ 134636 w 577811"/>
                <a:gd name="connsiteY18" fmla="*/ 578271 h 578271"/>
                <a:gd name="connsiteX19" fmla="*/ 117806 w 577811"/>
                <a:gd name="connsiteY19" fmla="*/ 572661 h 578271"/>
                <a:gd name="connsiteX20" fmla="*/ 95367 w 577811"/>
                <a:gd name="connsiteY20" fmla="*/ 567052 h 578271"/>
                <a:gd name="connsiteX21" fmla="*/ 44879 w 577811"/>
                <a:gd name="connsiteY21" fmla="*/ 550222 h 578271"/>
                <a:gd name="connsiteX22" fmla="*/ 11220 w 577811"/>
                <a:gd name="connsiteY22" fmla="*/ 533393 h 578271"/>
                <a:gd name="connsiteX23" fmla="*/ 5610 w 577811"/>
                <a:gd name="connsiteY23" fmla="*/ 533393 h 578271"/>
                <a:gd name="connsiteX24" fmla="*/ 0 w 577811"/>
                <a:gd name="connsiteY24" fmla="*/ 78998 h 578271"/>
                <a:gd name="connsiteX0" fmla="*/ 0 w 577811"/>
                <a:gd name="connsiteY0" fmla="*/ 78998 h 578271"/>
                <a:gd name="connsiteX1" fmla="*/ 0 w 577811"/>
                <a:gd name="connsiteY1" fmla="*/ 78998 h 578271"/>
                <a:gd name="connsiteX2" fmla="*/ 577811 w 577811"/>
                <a:gd name="connsiteY2" fmla="*/ 460 h 578271"/>
                <a:gd name="connsiteX3" fmla="*/ 560982 w 577811"/>
                <a:gd name="connsiteY3" fmla="*/ 22899 h 578271"/>
                <a:gd name="connsiteX4" fmla="*/ 566592 w 577811"/>
                <a:gd name="connsiteY4" fmla="*/ 191194 h 578271"/>
                <a:gd name="connsiteX5" fmla="*/ 572201 w 577811"/>
                <a:gd name="connsiteY5" fmla="*/ 208023 h 578271"/>
                <a:gd name="connsiteX6" fmla="*/ 566592 w 577811"/>
                <a:gd name="connsiteY6" fmla="*/ 269731 h 578271"/>
                <a:gd name="connsiteX7" fmla="*/ 555372 w 577811"/>
                <a:gd name="connsiteY7" fmla="*/ 342659 h 578271"/>
                <a:gd name="connsiteX8" fmla="*/ 544152 w 577811"/>
                <a:gd name="connsiteY8" fmla="*/ 460465 h 578271"/>
                <a:gd name="connsiteX9" fmla="*/ 549762 w 577811"/>
                <a:gd name="connsiteY9" fmla="*/ 510953 h 578271"/>
                <a:gd name="connsiteX10" fmla="*/ 566592 w 577811"/>
                <a:gd name="connsiteY10" fmla="*/ 522173 h 578271"/>
                <a:gd name="connsiteX11" fmla="*/ 549762 w 577811"/>
                <a:gd name="connsiteY11" fmla="*/ 533393 h 578271"/>
                <a:gd name="connsiteX12" fmla="*/ 359028 w 577811"/>
                <a:gd name="connsiteY12" fmla="*/ 533393 h 578271"/>
                <a:gd name="connsiteX13" fmla="*/ 319760 w 577811"/>
                <a:gd name="connsiteY13" fmla="*/ 539003 h 578271"/>
                <a:gd name="connsiteX14" fmla="*/ 241222 w 577811"/>
                <a:gd name="connsiteY14" fmla="*/ 544612 h 578271"/>
                <a:gd name="connsiteX15" fmla="*/ 190734 w 577811"/>
                <a:gd name="connsiteY15" fmla="*/ 561442 h 578271"/>
                <a:gd name="connsiteX16" fmla="*/ 157075 w 577811"/>
                <a:gd name="connsiteY16" fmla="*/ 572661 h 578271"/>
                <a:gd name="connsiteX17" fmla="*/ 134636 w 577811"/>
                <a:gd name="connsiteY17" fmla="*/ 578271 h 578271"/>
                <a:gd name="connsiteX18" fmla="*/ 117806 w 577811"/>
                <a:gd name="connsiteY18" fmla="*/ 572661 h 578271"/>
                <a:gd name="connsiteX19" fmla="*/ 95367 w 577811"/>
                <a:gd name="connsiteY19" fmla="*/ 567052 h 578271"/>
                <a:gd name="connsiteX20" fmla="*/ 44879 w 577811"/>
                <a:gd name="connsiteY20" fmla="*/ 550222 h 578271"/>
                <a:gd name="connsiteX21" fmla="*/ 11220 w 577811"/>
                <a:gd name="connsiteY21" fmla="*/ 533393 h 578271"/>
                <a:gd name="connsiteX22" fmla="*/ 5610 w 577811"/>
                <a:gd name="connsiteY22" fmla="*/ 533393 h 578271"/>
                <a:gd name="connsiteX23" fmla="*/ 0 w 577811"/>
                <a:gd name="connsiteY23" fmla="*/ 78998 h 578271"/>
                <a:gd name="connsiteX0" fmla="*/ 0 w 617242"/>
                <a:gd name="connsiteY0" fmla="*/ 78538 h 577811"/>
                <a:gd name="connsiteX1" fmla="*/ 0 w 617242"/>
                <a:gd name="connsiteY1" fmla="*/ 78538 h 577811"/>
                <a:gd name="connsiteX2" fmla="*/ 577811 w 617242"/>
                <a:gd name="connsiteY2" fmla="*/ 0 h 577811"/>
                <a:gd name="connsiteX3" fmla="*/ 566592 w 617242"/>
                <a:gd name="connsiteY3" fmla="*/ 190734 h 577811"/>
                <a:gd name="connsiteX4" fmla="*/ 572201 w 617242"/>
                <a:gd name="connsiteY4" fmla="*/ 207563 h 577811"/>
                <a:gd name="connsiteX5" fmla="*/ 566592 w 617242"/>
                <a:gd name="connsiteY5" fmla="*/ 269271 h 577811"/>
                <a:gd name="connsiteX6" fmla="*/ 555372 w 617242"/>
                <a:gd name="connsiteY6" fmla="*/ 342199 h 577811"/>
                <a:gd name="connsiteX7" fmla="*/ 544152 w 617242"/>
                <a:gd name="connsiteY7" fmla="*/ 460005 h 577811"/>
                <a:gd name="connsiteX8" fmla="*/ 549762 w 617242"/>
                <a:gd name="connsiteY8" fmla="*/ 510493 h 577811"/>
                <a:gd name="connsiteX9" fmla="*/ 566592 w 617242"/>
                <a:gd name="connsiteY9" fmla="*/ 521713 h 577811"/>
                <a:gd name="connsiteX10" fmla="*/ 549762 w 617242"/>
                <a:gd name="connsiteY10" fmla="*/ 532933 h 577811"/>
                <a:gd name="connsiteX11" fmla="*/ 359028 w 617242"/>
                <a:gd name="connsiteY11" fmla="*/ 532933 h 577811"/>
                <a:gd name="connsiteX12" fmla="*/ 319760 w 617242"/>
                <a:gd name="connsiteY12" fmla="*/ 538543 h 577811"/>
                <a:gd name="connsiteX13" fmla="*/ 241222 w 617242"/>
                <a:gd name="connsiteY13" fmla="*/ 544152 h 577811"/>
                <a:gd name="connsiteX14" fmla="*/ 190734 w 617242"/>
                <a:gd name="connsiteY14" fmla="*/ 560982 h 577811"/>
                <a:gd name="connsiteX15" fmla="*/ 157075 w 617242"/>
                <a:gd name="connsiteY15" fmla="*/ 572201 h 577811"/>
                <a:gd name="connsiteX16" fmla="*/ 134636 w 617242"/>
                <a:gd name="connsiteY16" fmla="*/ 577811 h 577811"/>
                <a:gd name="connsiteX17" fmla="*/ 117806 w 617242"/>
                <a:gd name="connsiteY17" fmla="*/ 572201 h 577811"/>
                <a:gd name="connsiteX18" fmla="*/ 95367 w 617242"/>
                <a:gd name="connsiteY18" fmla="*/ 566592 h 577811"/>
                <a:gd name="connsiteX19" fmla="*/ 44879 w 617242"/>
                <a:gd name="connsiteY19" fmla="*/ 549762 h 577811"/>
                <a:gd name="connsiteX20" fmla="*/ 11220 w 617242"/>
                <a:gd name="connsiteY20" fmla="*/ 532933 h 577811"/>
                <a:gd name="connsiteX21" fmla="*/ 5610 w 617242"/>
                <a:gd name="connsiteY21" fmla="*/ 532933 h 577811"/>
                <a:gd name="connsiteX22" fmla="*/ 0 w 617242"/>
                <a:gd name="connsiteY22" fmla="*/ 78538 h 577811"/>
                <a:gd name="connsiteX0" fmla="*/ 0 w 580619"/>
                <a:gd name="connsiteY0" fmla="*/ 21388 h 520661"/>
                <a:gd name="connsiteX1" fmla="*/ 0 w 580619"/>
                <a:gd name="connsiteY1" fmla="*/ 21388 h 520661"/>
                <a:gd name="connsiteX2" fmla="*/ 523043 w 580619"/>
                <a:gd name="connsiteY2" fmla="*/ 0 h 520661"/>
                <a:gd name="connsiteX3" fmla="*/ 566592 w 580619"/>
                <a:gd name="connsiteY3" fmla="*/ 133584 h 520661"/>
                <a:gd name="connsiteX4" fmla="*/ 572201 w 580619"/>
                <a:gd name="connsiteY4" fmla="*/ 150413 h 520661"/>
                <a:gd name="connsiteX5" fmla="*/ 566592 w 580619"/>
                <a:gd name="connsiteY5" fmla="*/ 212121 h 520661"/>
                <a:gd name="connsiteX6" fmla="*/ 555372 w 580619"/>
                <a:gd name="connsiteY6" fmla="*/ 285049 h 520661"/>
                <a:gd name="connsiteX7" fmla="*/ 544152 w 580619"/>
                <a:gd name="connsiteY7" fmla="*/ 402855 h 520661"/>
                <a:gd name="connsiteX8" fmla="*/ 549762 w 580619"/>
                <a:gd name="connsiteY8" fmla="*/ 453343 h 520661"/>
                <a:gd name="connsiteX9" fmla="*/ 566592 w 580619"/>
                <a:gd name="connsiteY9" fmla="*/ 464563 h 520661"/>
                <a:gd name="connsiteX10" fmla="*/ 549762 w 580619"/>
                <a:gd name="connsiteY10" fmla="*/ 475783 h 520661"/>
                <a:gd name="connsiteX11" fmla="*/ 359028 w 580619"/>
                <a:gd name="connsiteY11" fmla="*/ 475783 h 520661"/>
                <a:gd name="connsiteX12" fmla="*/ 319760 w 580619"/>
                <a:gd name="connsiteY12" fmla="*/ 481393 h 520661"/>
                <a:gd name="connsiteX13" fmla="*/ 241222 w 580619"/>
                <a:gd name="connsiteY13" fmla="*/ 487002 h 520661"/>
                <a:gd name="connsiteX14" fmla="*/ 190734 w 580619"/>
                <a:gd name="connsiteY14" fmla="*/ 503832 h 520661"/>
                <a:gd name="connsiteX15" fmla="*/ 157075 w 580619"/>
                <a:gd name="connsiteY15" fmla="*/ 515051 h 520661"/>
                <a:gd name="connsiteX16" fmla="*/ 134636 w 580619"/>
                <a:gd name="connsiteY16" fmla="*/ 520661 h 520661"/>
                <a:gd name="connsiteX17" fmla="*/ 117806 w 580619"/>
                <a:gd name="connsiteY17" fmla="*/ 515051 h 520661"/>
                <a:gd name="connsiteX18" fmla="*/ 95367 w 580619"/>
                <a:gd name="connsiteY18" fmla="*/ 509442 h 520661"/>
                <a:gd name="connsiteX19" fmla="*/ 44879 w 580619"/>
                <a:gd name="connsiteY19" fmla="*/ 492612 h 520661"/>
                <a:gd name="connsiteX20" fmla="*/ 11220 w 580619"/>
                <a:gd name="connsiteY20" fmla="*/ 475783 h 520661"/>
                <a:gd name="connsiteX21" fmla="*/ 5610 w 580619"/>
                <a:gd name="connsiteY21" fmla="*/ 475783 h 520661"/>
                <a:gd name="connsiteX22" fmla="*/ 0 w 580619"/>
                <a:gd name="connsiteY22" fmla="*/ 21388 h 520661"/>
                <a:gd name="connsiteX0" fmla="*/ 0 w 572201"/>
                <a:gd name="connsiteY0" fmla="*/ 21388 h 520661"/>
                <a:gd name="connsiteX1" fmla="*/ 0 w 572201"/>
                <a:gd name="connsiteY1" fmla="*/ 21388 h 520661"/>
                <a:gd name="connsiteX2" fmla="*/ 523043 w 572201"/>
                <a:gd name="connsiteY2" fmla="*/ 0 h 520661"/>
                <a:gd name="connsiteX3" fmla="*/ 566592 w 572201"/>
                <a:gd name="connsiteY3" fmla="*/ 133584 h 520661"/>
                <a:gd name="connsiteX4" fmla="*/ 572201 w 572201"/>
                <a:gd name="connsiteY4" fmla="*/ 150413 h 520661"/>
                <a:gd name="connsiteX5" fmla="*/ 566592 w 572201"/>
                <a:gd name="connsiteY5" fmla="*/ 212121 h 520661"/>
                <a:gd name="connsiteX6" fmla="*/ 555372 w 572201"/>
                <a:gd name="connsiteY6" fmla="*/ 285049 h 520661"/>
                <a:gd name="connsiteX7" fmla="*/ 544152 w 572201"/>
                <a:gd name="connsiteY7" fmla="*/ 402855 h 520661"/>
                <a:gd name="connsiteX8" fmla="*/ 549762 w 572201"/>
                <a:gd name="connsiteY8" fmla="*/ 453343 h 520661"/>
                <a:gd name="connsiteX9" fmla="*/ 566592 w 572201"/>
                <a:gd name="connsiteY9" fmla="*/ 464563 h 520661"/>
                <a:gd name="connsiteX10" fmla="*/ 549762 w 572201"/>
                <a:gd name="connsiteY10" fmla="*/ 475783 h 520661"/>
                <a:gd name="connsiteX11" fmla="*/ 359028 w 572201"/>
                <a:gd name="connsiteY11" fmla="*/ 475783 h 520661"/>
                <a:gd name="connsiteX12" fmla="*/ 319760 w 572201"/>
                <a:gd name="connsiteY12" fmla="*/ 481393 h 520661"/>
                <a:gd name="connsiteX13" fmla="*/ 241222 w 572201"/>
                <a:gd name="connsiteY13" fmla="*/ 487002 h 520661"/>
                <a:gd name="connsiteX14" fmla="*/ 190734 w 572201"/>
                <a:gd name="connsiteY14" fmla="*/ 503832 h 520661"/>
                <a:gd name="connsiteX15" fmla="*/ 157075 w 572201"/>
                <a:gd name="connsiteY15" fmla="*/ 515051 h 520661"/>
                <a:gd name="connsiteX16" fmla="*/ 134636 w 572201"/>
                <a:gd name="connsiteY16" fmla="*/ 520661 h 520661"/>
                <a:gd name="connsiteX17" fmla="*/ 117806 w 572201"/>
                <a:gd name="connsiteY17" fmla="*/ 515051 h 520661"/>
                <a:gd name="connsiteX18" fmla="*/ 95367 w 572201"/>
                <a:gd name="connsiteY18" fmla="*/ 509442 h 520661"/>
                <a:gd name="connsiteX19" fmla="*/ 44879 w 572201"/>
                <a:gd name="connsiteY19" fmla="*/ 492612 h 520661"/>
                <a:gd name="connsiteX20" fmla="*/ 11220 w 572201"/>
                <a:gd name="connsiteY20" fmla="*/ 475783 h 520661"/>
                <a:gd name="connsiteX21" fmla="*/ 5610 w 572201"/>
                <a:gd name="connsiteY21" fmla="*/ 475783 h 520661"/>
                <a:gd name="connsiteX22" fmla="*/ 0 w 572201"/>
                <a:gd name="connsiteY22" fmla="*/ 21388 h 520661"/>
                <a:gd name="connsiteX0" fmla="*/ 0 w 572201"/>
                <a:gd name="connsiteY0" fmla="*/ 76156 h 575429"/>
                <a:gd name="connsiteX1" fmla="*/ 0 w 572201"/>
                <a:gd name="connsiteY1" fmla="*/ 76156 h 575429"/>
                <a:gd name="connsiteX2" fmla="*/ 561143 w 572201"/>
                <a:gd name="connsiteY2" fmla="*/ 0 h 575429"/>
                <a:gd name="connsiteX3" fmla="*/ 566592 w 572201"/>
                <a:gd name="connsiteY3" fmla="*/ 188352 h 575429"/>
                <a:gd name="connsiteX4" fmla="*/ 572201 w 572201"/>
                <a:gd name="connsiteY4" fmla="*/ 205181 h 575429"/>
                <a:gd name="connsiteX5" fmla="*/ 566592 w 572201"/>
                <a:gd name="connsiteY5" fmla="*/ 266889 h 575429"/>
                <a:gd name="connsiteX6" fmla="*/ 555372 w 572201"/>
                <a:gd name="connsiteY6" fmla="*/ 339817 h 575429"/>
                <a:gd name="connsiteX7" fmla="*/ 544152 w 572201"/>
                <a:gd name="connsiteY7" fmla="*/ 457623 h 575429"/>
                <a:gd name="connsiteX8" fmla="*/ 549762 w 572201"/>
                <a:gd name="connsiteY8" fmla="*/ 508111 h 575429"/>
                <a:gd name="connsiteX9" fmla="*/ 566592 w 572201"/>
                <a:gd name="connsiteY9" fmla="*/ 519331 h 575429"/>
                <a:gd name="connsiteX10" fmla="*/ 549762 w 572201"/>
                <a:gd name="connsiteY10" fmla="*/ 530551 h 575429"/>
                <a:gd name="connsiteX11" fmla="*/ 359028 w 572201"/>
                <a:gd name="connsiteY11" fmla="*/ 530551 h 575429"/>
                <a:gd name="connsiteX12" fmla="*/ 319760 w 572201"/>
                <a:gd name="connsiteY12" fmla="*/ 536161 h 575429"/>
                <a:gd name="connsiteX13" fmla="*/ 241222 w 572201"/>
                <a:gd name="connsiteY13" fmla="*/ 541770 h 575429"/>
                <a:gd name="connsiteX14" fmla="*/ 190734 w 572201"/>
                <a:gd name="connsiteY14" fmla="*/ 558600 h 575429"/>
                <a:gd name="connsiteX15" fmla="*/ 157075 w 572201"/>
                <a:gd name="connsiteY15" fmla="*/ 569819 h 575429"/>
                <a:gd name="connsiteX16" fmla="*/ 134636 w 572201"/>
                <a:gd name="connsiteY16" fmla="*/ 575429 h 575429"/>
                <a:gd name="connsiteX17" fmla="*/ 117806 w 572201"/>
                <a:gd name="connsiteY17" fmla="*/ 569819 h 575429"/>
                <a:gd name="connsiteX18" fmla="*/ 95367 w 572201"/>
                <a:gd name="connsiteY18" fmla="*/ 564210 h 575429"/>
                <a:gd name="connsiteX19" fmla="*/ 44879 w 572201"/>
                <a:gd name="connsiteY19" fmla="*/ 547380 h 575429"/>
                <a:gd name="connsiteX20" fmla="*/ 11220 w 572201"/>
                <a:gd name="connsiteY20" fmla="*/ 530551 h 575429"/>
                <a:gd name="connsiteX21" fmla="*/ 5610 w 572201"/>
                <a:gd name="connsiteY21" fmla="*/ 530551 h 575429"/>
                <a:gd name="connsiteX22" fmla="*/ 0 w 572201"/>
                <a:gd name="connsiteY22" fmla="*/ 76156 h 575429"/>
                <a:gd name="connsiteX0" fmla="*/ 0 w 606371"/>
                <a:gd name="connsiteY0" fmla="*/ 76156 h 575429"/>
                <a:gd name="connsiteX1" fmla="*/ 0 w 606371"/>
                <a:gd name="connsiteY1" fmla="*/ 76156 h 575429"/>
                <a:gd name="connsiteX2" fmla="*/ 561143 w 606371"/>
                <a:gd name="connsiteY2" fmla="*/ 0 h 575429"/>
                <a:gd name="connsiteX3" fmla="*/ 572201 w 606371"/>
                <a:gd name="connsiteY3" fmla="*/ 205181 h 575429"/>
                <a:gd name="connsiteX4" fmla="*/ 566592 w 606371"/>
                <a:gd name="connsiteY4" fmla="*/ 266889 h 575429"/>
                <a:gd name="connsiteX5" fmla="*/ 555372 w 606371"/>
                <a:gd name="connsiteY5" fmla="*/ 339817 h 575429"/>
                <a:gd name="connsiteX6" fmla="*/ 544152 w 606371"/>
                <a:gd name="connsiteY6" fmla="*/ 457623 h 575429"/>
                <a:gd name="connsiteX7" fmla="*/ 549762 w 606371"/>
                <a:gd name="connsiteY7" fmla="*/ 508111 h 575429"/>
                <a:gd name="connsiteX8" fmla="*/ 566592 w 606371"/>
                <a:gd name="connsiteY8" fmla="*/ 519331 h 575429"/>
                <a:gd name="connsiteX9" fmla="*/ 549762 w 606371"/>
                <a:gd name="connsiteY9" fmla="*/ 530551 h 575429"/>
                <a:gd name="connsiteX10" fmla="*/ 359028 w 606371"/>
                <a:gd name="connsiteY10" fmla="*/ 530551 h 575429"/>
                <a:gd name="connsiteX11" fmla="*/ 319760 w 606371"/>
                <a:gd name="connsiteY11" fmla="*/ 536161 h 575429"/>
                <a:gd name="connsiteX12" fmla="*/ 241222 w 606371"/>
                <a:gd name="connsiteY12" fmla="*/ 541770 h 575429"/>
                <a:gd name="connsiteX13" fmla="*/ 190734 w 606371"/>
                <a:gd name="connsiteY13" fmla="*/ 558600 h 575429"/>
                <a:gd name="connsiteX14" fmla="*/ 157075 w 606371"/>
                <a:gd name="connsiteY14" fmla="*/ 569819 h 575429"/>
                <a:gd name="connsiteX15" fmla="*/ 134636 w 606371"/>
                <a:gd name="connsiteY15" fmla="*/ 575429 h 575429"/>
                <a:gd name="connsiteX16" fmla="*/ 117806 w 606371"/>
                <a:gd name="connsiteY16" fmla="*/ 569819 h 575429"/>
                <a:gd name="connsiteX17" fmla="*/ 95367 w 606371"/>
                <a:gd name="connsiteY17" fmla="*/ 564210 h 575429"/>
                <a:gd name="connsiteX18" fmla="*/ 44879 w 606371"/>
                <a:gd name="connsiteY18" fmla="*/ 547380 h 575429"/>
                <a:gd name="connsiteX19" fmla="*/ 11220 w 606371"/>
                <a:gd name="connsiteY19" fmla="*/ 530551 h 575429"/>
                <a:gd name="connsiteX20" fmla="*/ 5610 w 606371"/>
                <a:gd name="connsiteY20" fmla="*/ 530551 h 575429"/>
                <a:gd name="connsiteX21" fmla="*/ 0 w 606371"/>
                <a:gd name="connsiteY21" fmla="*/ 76156 h 575429"/>
                <a:gd name="connsiteX0" fmla="*/ 0 w 604801"/>
                <a:gd name="connsiteY0" fmla="*/ 76156 h 575429"/>
                <a:gd name="connsiteX1" fmla="*/ 0 w 604801"/>
                <a:gd name="connsiteY1" fmla="*/ 76156 h 575429"/>
                <a:gd name="connsiteX2" fmla="*/ 561143 w 604801"/>
                <a:gd name="connsiteY2" fmla="*/ 0 h 575429"/>
                <a:gd name="connsiteX3" fmla="*/ 566592 w 604801"/>
                <a:gd name="connsiteY3" fmla="*/ 266889 h 575429"/>
                <a:gd name="connsiteX4" fmla="*/ 555372 w 604801"/>
                <a:gd name="connsiteY4" fmla="*/ 339817 h 575429"/>
                <a:gd name="connsiteX5" fmla="*/ 544152 w 604801"/>
                <a:gd name="connsiteY5" fmla="*/ 457623 h 575429"/>
                <a:gd name="connsiteX6" fmla="*/ 549762 w 604801"/>
                <a:gd name="connsiteY6" fmla="*/ 508111 h 575429"/>
                <a:gd name="connsiteX7" fmla="*/ 566592 w 604801"/>
                <a:gd name="connsiteY7" fmla="*/ 519331 h 575429"/>
                <a:gd name="connsiteX8" fmla="*/ 549762 w 604801"/>
                <a:gd name="connsiteY8" fmla="*/ 530551 h 575429"/>
                <a:gd name="connsiteX9" fmla="*/ 359028 w 604801"/>
                <a:gd name="connsiteY9" fmla="*/ 530551 h 575429"/>
                <a:gd name="connsiteX10" fmla="*/ 319760 w 604801"/>
                <a:gd name="connsiteY10" fmla="*/ 536161 h 575429"/>
                <a:gd name="connsiteX11" fmla="*/ 241222 w 604801"/>
                <a:gd name="connsiteY11" fmla="*/ 541770 h 575429"/>
                <a:gd name="connsiteX12" fmla="*/ 190734 w 604801"/>
                <a:gd name="connsiteY12" fmla="*/ 558600 h 575429"/>
                <a:gd name="connsiteX13" fmla="*/ 157075 w 604801"/>
                <a:gd name="connsiteY13" fmla="*/ 569819 h 575429"/>
                <a:gd name="connsiteX14" fmla="*/ 134636 w 604801"/>
                <a:gd name="connsiteY14" fmla="*/ 575429 h 575429"/>
                <a:gd name="connsiteX15" fmla="*/ 117806 w 604801"/>
                <a:gd name="connsiteY15" fmla="*/ 569819 h 575429"/>
                <a:gd name="connsiteX16" fmla="*/ 95367 w 604801"/>
                <a:gd name="connsiteY16" fmla="*/ 564210 h 575429"/>
                <a:gd name="connsiteX17" fmla="*/ 44879 w 604801"/>
                <a:gd name="connsiteY17" fmla="*/ 547380 h 575429"/>
                <a:gd name="connsiteX18" fmla="*/ 11220 w 604801"/>
                <a:gd name="connsiteY18" fmla="*/ 530551 h 575429"/>
                <a:gd name="connsiteX19" fmla="*/ 5610 w 604801"/>
                <a:gd name="connsiteY19" fmla="*/ 530551 h 575429"/>
                <a:gd name="connsiteX20" fmla="*/ 0 w 604801"/>
                <a:gd name="connsiteY20" fmla="*/ 76156 h 575429"/>
                <a:gd name="connsiteX0" fmla="*/ 0 w 601435"/>
                <a:gd name="connsiteY0" fmla="*/ 76156 h 575429"/>
                <a:gd name="connsiteX1" fmla="*/ 0 w 601435"/>
                <a:gd name="connsiteY1" fmla="*/ 76156 h 575429"/>
                <a:gd name="connsiteX2" fmla="*/ 561143 w 601435"/>
                <a:gd name="connsiteY2" fmla="*/ 0 h 575429"/>
                <a:gd name="connsiteX3" fmla="*/ 555372 w 601435"/>
                <a:gd name="connsiteY3" fmla="*/ 339817 h 575429"/>
                <a:gd name="connsiteX4" fmla="*/ 544152 w 601435"/>
                <a:gd name="connsiteY4" fmla="*/ 457623 h 575429"/>
                <a:gd name="connsiteX5" fmla="*/ 549762 w 601435"/>
                <a:gd name="connsiteY5" fmla="*/ 508111 h 575429"/>
                <a:gd name="connsiteX6" fmla="*/ 566592 w 601435"/>
                <a:gd name="connsiteY6" fmla="*/ 519331 h 575429"/>
                <a:gd name="connsiteX7" fmla="*/ 549762 w 601435"/>
                <a:gd name="connsiteY7" fmla="*/ 530551 h 575429"/>
                <a:gd name="connsiteX8" fmla="*/ 359028 w 601435"/>
                <a:gd name="connsiteY8" fmla="*/ 530551 h 575429"/>
                <a:gd name="connsiteX9" fmla="*/ 319760 w 601435"/>
                <a:gd name="connsiteY9" fmla="*/ 536161 h 575429"/>
                <a:gd name="connsiteX10" fmla="*/ 241222 w 601435"/>
                <a:gd name="connsiteY10" fmla="*/ 541770 h 575429"/>
                <a:gd name="connsiteX11" fmla="*/ 190734 w 601435"/>
                <a:gd name="connsiteY11" fmla="*/ 558600 h 575429"/>
                <a:gd name="connsiteX12" fmla="*/ 157075 w 601435"/>
                <a:gd name="connsiteY12" fmla="*/ 569819 h 575429"/>
                <a:gd name="connsiteX13" fmla="*/ 134636 w 601435"/>
                <a:gd name="connsiteY13" fmla="*/ 575429 h 575429"/>
                <a:gd name="connsiteX14" fmla="*/ 117806 w 601435"/>
                <a:gd name="connsiteY14" fmla="*/ 569819 h 575429"/>
                <a:gd name="connsiteX15" fmla="*/ 95367 w 601435"/>
                <a:gd name="connsiteY15" fmla="*/ 564210 h 575429"/>
                <a:gd name="connsiteX16" fmla="*/ 44879 w 601435"/>
                <a:gd name="connsiteY16" fmla="*/ 547380 h 575429"/>
                <a:gd name="connsiteX17" fmla="*/ 11220 w 601435"/>
                <a:gd name="connsiteY17" fmla="*/ 530551 h 575429"/>
                <a:gd name="connsiteX18" fmla="*/ 5610 w 601435"/>
                <a:gd name="connsiteY18" fmla="*/ 530551 h 575429"/>
                <a:gd name="connsiteX19" fmla="*/ 0 w 601435"/>
                <a:gd name="connsiteY19" fmla="*/ 76156 h 575429"/>
                <a:gd name="connsiteX0" fmla="*/ 0 w 597826"/>
                <a:gd name="connsiteY0" fmla="*/ 76156 h 575429"/>
                <a:gd name="connsiteX1" fmla="*/ 0 w 597826"/>
                <a:gd name="connsiteY1" fmla="*/ 76156 h 575429"/>
                <a:gd name="connsiteX2" fmla="*/ 561143 w 597826"/>
                <a:gd name="connsiteY2" fmla="*/ 0 h 575429"/>
                <a:gd name="connsiteX3" fmla="*/ 544152 w 597826"/>
                <a:gd name="connsiteY3" fmla="*/ 457623 h 575429"/>
                <a:gd name="connsiteX4" fmla="*/ 549762 w 597826"/>
                <a:gd name="connsiteY4" fmla="*/ 508111 h 575429"/>
                <a:gd name="connsiteX5" fmla="*/ 566592 w 597826"/>
                <a:gd name="connsiteY5" fmla="*/ 519331 h 575429"/>
                <a:gd name="connsiteX6" fmla="*/ 549762 w 597826"/>
                <a:gd name="connsiteY6" fmla="*/ 530551 h 575429"/>
                <a:gd name="connsiteX7" fmla="*/ 359028 w 597826"/>
                <a:gd name="connsiteY7" fmla="*/ 530551 h 575429"/>
                <a:gd name="connsiteX8" fmla="*/ 319760 w 597826"/>
                <a:gd name="connsiteY8" fmla="*/ 536161 h 575429"/>
                <a:gd name="connsiteX9" fmla="*/ 241222 w 597826"/>
                <a:gd name="connsiteY9" fmla="*/ 541770 h 575429"/>
                <a:gd name="connsiteX10" fmla="*/ 190734 w 597826"/>
                <a:gd name="connsiteY10" fmla="*/ 558600 h 575429"/>
                <a:gd name="connsiteX11" fmla="*/ 157075 w 597826"/>
                <a:gd name="connsiteY11" fmla="*/ 569819 h 575429"/>
                <a:gd name="connsiteX12" fmla="*/ 134636 w 597826"/>
                <a:gd name="connsiteY12" fmla="*/ 575429 h 575429"/>
                <a:gd name="connsiteX13" fmla="*/ 117806 w 597826"/>
                <a:gd name="connsiteY13" fmla="*/ 569819 h 575429"/>
                <a:gd name="connsiteX14" fmla="*/ 95367 w 597826"/>
                <a:gd name="connsiteY14" fmla="*/ 564210 h 575429"/>
                <a:gd name="connsiteX15" fmla="*/ 44879 w 597826"/>
                <a:gd name="connsiteY15" fmla="*/ 547380 h 575429"/>
                <a:gd name="connsiteX16" fmla="*/ 11220 w 597826"/>
                <a:gd name="connsiteY16" fmla="*/ 530551 h 575429"/>
                <a:gd name="connsiteX17" fmla="*/ 5610 w 597826"/>
                <a:gd name="connsiteY17" fmla="*/ 530551 h 575429"/>
                <a:gd name="connsiteX18" fmla="*/ 0 w 597826"/>
                <a:gd name="connsiteY18" fmla="*/ 76156 h 575429"/>
                <a:gd name="connsiteX0" fmla="*/ 0 w 598933"/>
                <a:gd name="connsiteY0" fmla="*/ 76156 h 575429"/>
                <a:gd name="connsiteX1" fmla="*/ 0 w 598933"/>
                <a:gd name="connsiteY1" fmla="*/ 76156 h 575429"/>
                <a:gd name="connsiteX2" fmla="*/ 561143 w 598933"/>
                <a:gd name="connsiteY2" fmla="*/ 0 h 575429"/>
                <a:gd name="connsiteX3" fmla="*/ 549762 w 598933"/>
                <a:gd name="connsiteY3" fmla="*/ 508111 h 575429"/>
                <a:gd name="connsiteX4" fmla="*/ 566592 w 598933"/>
                <a:gd name="connsiteY4" fmla="*/ 519331 h 575429"/>
                <a:gd name="connsiteX5" fmla="*/ 549762 w 598933"/>
                <a:gd name="connsiteY5" fmla="*/ 530551 h 575429"/>
                <a:gd name="connsiteX6" fmla="*/ 359028 w 598933"/>
                <a:gd name="connsiteY6" fmla="*/ 530551 h 575429"/>
                <a:gd name="connsiteX7" fmla="*/ 319760 w 598933"/>
                <a:gd name="connsiteY7" fmla="*/ 536161 h 575429"/>
                <a:gd name="connsiteX8" fmla="*/ 241222 w 598933"/>
                <a:gd name="connsiteY8" fmla="*/ 541770 h 575429"/>
                <a:gd name="connsiteX9" fmla="*/ 190734 w 598933"/>
                <a:gd name="connsiteY9" fmla="*/ 558600 h 575429"/>
                <a:gd name="connsiteX10" fmla="*/ 157075 w 598933"/>
                <a:gd name="connsiteY10" fmla="*/ 569819 h 575429"/>
                <a:gd name="connsiteX11" fmla="*/ 134636 w 598933"/>
                <a:gd name="connsiteY11" fmla="*/ 575429 h 575429"/>
                <a:gd name="connsiteX12" fmla="*/ 117806 w 598933"/>
                <a:gd name="connsiteY12" fmla="*/ 569819 h 575429"/>
                <a:gd name="connsiteX13" fmla="*/ 95367 w 598933"/>
                <a:gd name="connsiteY13" fmla="*/ 564210 h 575429"/>
                <a:gd name="connsiteX14" fmla="*/ 44879 w 598933"/>
                <a:gd name="connsiteY14" fmla="*/ 547380 h 575429"/>
                <a:gd name="connsiteX15" fmla="*/ 11220 w 598933"/>
                <a:gd name="connsiteY15" fmla="*/ 530551 h 575429"/>
                <a:gd name="connsiteX16" fmla="*/ 5610 w 598933"/>
                <a:gd name="connsiteY16" fmla="*/ 530551 h 575429"/>
                <a:gd name="connsiteX17" fmla="*/ 0 w 598933"/>
                <a:gd name="connsiteY17" fmla="*/ 76156 h 575429"/>
                <a:gd name="connsiteX0" fmla="*/ 0 w 605023"/>
                <a:gd name="connsiteY0" fmla="*/ 76156 h 575429"/>
                <a:gd name="connsiteX1" fmla="*/ 0 w 605023"/>
                <a:gd name="connsiteY1" fmla="*/ 76156 h 575429"/>
                <a:gd name="connsiteX2" fmla="*/ 561143 w 605023"/>
                <a:gd name="connsiteY2" fmla="*/ 0 h 575429"/>
                <a:gd name="connsiteX3" fmla="*/ 566592 w 605023"/>
                <a:gd name="connsiteY3" fmla="*/ 519331 h 575429"/>
                <a:gd name="connsiteX4" fmla="*/ 549762 w 605023"/>
                <a:gd name="connsiteY4" fmla="*/ 530551 h 575429"/>
                <a:gd name="connsiteX5" fmla="*/ 359028 w 605023"/>
                <a:gd name="connsiteY5" fmla="*/ 530551 h 575429"/>
                <a:gd name="connsiteX6" fmla="*/ 319760 w 605023"/>
                <a:gd name="connsiteY6" fmla="*/ 536161 h 575429"/>
                <a:gd name="connsiteX7" fmla="*/ 241222 w 605023"/>
                <a:gd name="connsiteY7" fmla="*/ 541770 h 575429"/>
                <a:gd name="connsiteX8" fmla="*/ 190734 w 605023"/>
                <a:gd name="connsiteY8" fmla="*/ 558600 h 575429"/>
                <a:gd name="connsiteX9" fmla="*/ 157075 w 605023"/>
                <a:gd name="connsiteY9" fmla="*/ 569819 h 575429"/>
                <a:gd name="connsiteX10" fmla="*/ 134636 w 605023"/>
                <a:gd name="connsiteY10" fmla="*/ 575429 h 575429"/>
                <a:gd name="connsiteX11" fmla="*/ 117806 w 605023"/>
                <a:gd name="connsiteY11" fmla="*/ 569819 h 575429"/>
                <a:gd name="connsiteX12" fmla="*/ 95367 w 605023"/>
                <a:gd name="connsiteY12" fmla="*/ 564210 h 575429"/>
                <a:gd name="connsiteX13" fmla="*/ 44879 w 605023"/>
                <a:gd name="connsiteY13" fmla="*/ 547380 h 575429"/>
                <a:gd name="connsiteX14" fmla="*/ 11220 w 605023"/>
                <a:gd name="connsiteY14" fmla="*/ 530551 h 575429"/>
                <a:gd name="connsiteX15" fmla="*/ 5610 w 605023"/>
                <a:gd name="connsiteY15" fmla="*/ 530551 h 575429"/>
                <a:gd name="connsiteX16" fmla="*/ 0 w 605023"/>
                <a:gd name="connsiteY16" fmla="*/ 76156 h 575429"/>
                <a:gd name="connsiteX0" fmla="*/ 0 w 605023"/>
                <a:gd name="connsiteY0" fmla="*/ 76156 h 575429"/>
                <a:gd name="connsiteX1" fmla="*/ 0 w 605023"/>
                <a:gd name="connsiteY1" fmla="*/ 76156 h 575429"/>
                <a:gd name="connsiteX2" fmla="*/ 561143 w 605023"/>
                <a:gd name="connsiteY2" fmla="*/ 0 h 575429"/>
                <a:gd name="connsiteX3" fmla="*/ 566592 w 605023"/>
                <a:gd name="connsiteY3" fmla="*/ 519331 h 575429"/>
                <a:gd name="connsiteX4" fmla="*/ 359028 w 605023"/>
                <a:gd name="connsiteY4" fmla="*/ 530551 h 575429"/>
                <a:gd name="connsiteX5" fmla="*/ 319760 w 605023"/>
                <a:gd name="connsiteY5" fmla="*/ 536161 h 575429"/>
                <a:gd name="connsiteX6" fmla="*/ 241222 w 605023"/>
                <a:gd name="connsiteY6" fmla="*/ 541770 h 575429"/>
                <a:gd name="connsiteX7" fmla="*/ 190734 w 605023"/>
                <a:gd name="connsiteY7" fmla="*/ 558600 h 575429"/>
                <a:gd name="connsiteX8" fmla="*/ 157075 w 605023"/>
                <a:gd name="connsiteY8" fmla="*/ 569819 h 575429"/>
                <a:gd name="connsiteX9" fmla="*/ 134636 w 605023"/>
                <a:gd name="connsiteY9" fmla="*/ 575429 h 575429"/>
                <a:gd name="connsiteX10" fmla="*/ 117806 w 605023"/>
                <a:gd name="connsiteY10" fmla="*/ 569819 h 575429"/>
                <a:gd name="connsiteX11" fmla="*/ 95367 w 605023"/>
                <a:gd name="connsiteY11" fmla="*/ 564210 h 575429"/>
                <a:gd name="connsiteX12" fmla="*/ 44879 w 605023"/>
                <a:gd name="connsiteY12" fmla="*/ 547380 h 575429"/>
                <a:gd name="connsiteX13" fmla="*/ 11220 w 605023"/>
                <a:gd name="connsiteY13" fmla="*/ 530551 h 575429"/>
                <a:gd name="connsiteX14" fmla="*/ 5610 w 605023"/>
                <a:gd name="connsiteY14" fmla="*/ 530551 h 575429"/>
                <a:gd name="connsiteX15" fmla="*/ 0 w 605023"/>
                <a:gd name="connsiteY15" fmla="*/ 76156 h 575429"/>
                <a:gd name="connsiteX0" fmla="*/ 0 w 605023"/>
                <a:gd name="connsiteY0" fmla="*/ 76156 h 575429"/>
                <a:gd name="connsiteX1" fmla="*/ 0 w 605023"/>
                <a:gd name="connsiteY1" fmla="*/ 76156 h 575429"/>
                <a:gd name="connsiteX2" fmla="*/ 561143 w 605023"/>
                <a:gd name="connsiteY2" fmla="*/ 0 h 575429"/>
                <a:gd name="connsiteX3" fmla="*/ 566592 w 605023"/>
                <a:gd name="connsiteY3" fmla="*/ 519331 h 575429"/>
                <a:gd name="connsiteX4" fmla="*/ 319760 w 605023"/>
                <a:gd name="connsiteY4" fmla="*/ 536161 h 575429"/>
                <a:gd name="connsiteX5" fmla="*/ 241222 w 605023"/>
                <a:gd name="connsiteY5" fmla="*/ 541770 h 575429"/>
                <a:gd name="connsiteX6" fmla="*/ 190734 w 605023"/>
                <a:gd name="connsiteY6" fmla="*/ 558600 h 575429"/>
                <a:gd name="connsiteX7" fmla="*/ 157075 w 605023"/>
                <a:gd name="connsiteY7" fmla="*/ 569819 h 575429"/>
                <a:gd name="connsiteX8" fmla="*/ 134636 w 605023"/>
                <a:gd name="connsiteY8" fmla="*/ 575429 h 575429"/>
                <a:gd name="connsiteX9" fmla="*/ 117806 w 605023"/>
                <a:gd name="connsiteY9" fmla="*/ 569819 h 575429"/>
                <a:gd name="connsiteX10" fmla="*/ 95367 w 605023"/>
                <a:gd name="connsiteY10" fmla="*/ 564210 h 575429"/>
                <a:gd name="connsiteX11" fmla="*/ 44879 w 605023"/>
                <a:gd name="connsiteY11" fmla="*/ 547380 h 575429"/>
                <a:gd name="connsiteX12" fmla="*/ 11220 w 605023"/>
                <a:gd name="connsiteY12" fmla="*/ 530551 h 575429"/>
                <a:gd name="connsiteX13" fmla="*/ 5610 w 605023"/>
                <a:gd name="connsiteY13" fmla="*/ 530551 h 575429"/>
                <a:gd name="connsiteX14" fmla="*/ 0 w 605023"/>
                <a:gd name="connsiteY14" fmla="*/ 76156 h 575429"/>
                <a:gd name="connsiteX0" fmla="*/ 0 w 605023"/>
                <a:gd name="connsiteY0" fmla="*/ 76156 h 575429"/>
                <a:gd name="connsiteX1" fmla="*/ 0 w 605023"/>
                <a:gd name="connsiteY1" fmla="*/ 76156 h 575429"/>
                <a:gd name="connsiteX2" fmla="*/ 561143 w 605023"/>
                <a:gd name="connsiteY2" fmla="*/ 0 h 575429"/>
                <a:gd name="connsiteX3" fmla="*/ 566592 w 605023"/>
                <a:gd name="connsiteY3" fmla="*/ 519331 h 575429"/>
                <a:gd name="connsiteX4" fmla="*/ 241222 w 605023"/>
                <a:gd name="connsiteY4" fmla="*/ 541770 h 575429"/>
                <a:gd name="connsiteX5" fmla="*/ 190734 w 605023"/>
                <a:gd name="connsiteY5" fmla="*/ 558600 h 575429"/>
                <a:gd name="connsiteX6" fmla="*/ 157075 w 605023"/>
                <a:gd name="connsiteY6" fmla="*/ 569819 h 575429"/>
                <a:gd name="connsiteX7" fmla="*/ 134636 w 605023"/>
                <a:gd name="connsiteY7" fmla="*/ 575429 h 575429"/>
                <a:gd name="connsiteX8" fmla="*/ 117806 w 605023"/>
                <a:gd name="connsiteY8" fmla="*/ 569819 h 575429"/>
                <a:gd name="connsiteX9" fmla="*/ 95367 w 605023"/>
                <a:gd name="connsiteY9" fmla="*/ 564210 h 575429"/>
                <a:gd name="connsiteX10" fmla="*/ 44879 w 605023"/>
                <a:gd name="connsiteY10" fmla="*/ 547380 h 575429"/>
                <a:gd name="connsiteX11" fmla="*/ 11220 w 605023"/>
                <a:gd name="connsiteY11" fmla="*/ 530551 h 575429"/>
                <a:gd name="connsiteX12" fmla="*/ 5610 w 605023"/>
                <a:gd name="connsiteY12" fmla="*/ 530551 h 575429"/>
                <a:gd name="connsiteX13" fmla="*/ 0 w 605023"/>
                <a:gd name="connsiteY13" fmla="*/ 76156 h 575429"/>
                <a:gd name="connsiteX0" fmla="*/ 0 w 605023"/>
                <a:gd name="connsiteY0" fmla="*/ 76156 h 575429"/>
                <a:gd name="connsiteX1" fmla="*/ 0 w 605023"/>
                <a:gd name="connsiteY1" fmla="*/ 76156 h 575429"/>
                <a:gd name="connsiteX2" fmla="*/ 561143 w 605023"/>
                <a:gd name="connsiteY2" fmla="*/ 0 h 575429"/>
                <a:gd name="connsiteX3" fmla="*/ 566592 w 605023"/>
                <a:gd name="connsiteY3" fmla="*/ 519331 h 575429"/>
                <a:gd name="connsiteX4" fmla="*/ 190734 w 605023"/>
                <a:gd name="connsiteY4" fmla="*/ 558600 h 575429"/>
                <a:gd name="connsiteX5" fmla="*/ 157075 w 605023"/>
                <a:gd name="connsiteY5" fmla="*/ 569819 h 575429"/>
                <a:gd name="connsiteX6" fmla="*/ 134636 w 605023"/>
                <a:gd name="connsiteY6" fmla="*/ 575429 h 575429"/>
                <a:gd name="connsiteX7" fmla="*/ 117806 w 605023"/>
                <a:gd name="connsiteY7" fmla="*/ 569819 h 575429"/>
                <a:gd name="connsiteX8" fmla="*/ 95367 w 605023"/>
                <a:gd name="connsiteY8" fmla="*/ 564210 h 575429"/>
                <a:gd name="connsiteX9" fmla="*/ 44879 w 605023"/>
                <a:gd name="connsiteY9" fmla="*/ 547380 h 575429"/>
                <a:gd name="connsiteX10" fmla="*/ 11220 w 605023"/>
                <a:gd name="connsiteY10" fmla="*/ 530551 h 575429"/>
                <a:gd name="connsiteX11" fmla="*/ 5610 w 605023"/>
                <a:gd name="connsiteY11" fmla="*/ 530551 h 575429"/>
                <a:gd name="connsiteX12" fmla="*/ 0 w 605023"/>
                <a:gd name="connsiteY12" fmla="*/ 76156 h 575429"/>
                <a:gd name="connsiteX0" fmla="*/ 0 w 605023"/>
                <a:gd name="connsiteY0" fmla="*/ 76156 h 576694"/>
                <a:gd name="connsiteX1" fmla="*/ 0 w 605023"/>
                <a:gd name="connsiteY1" fmla="*/ 76156 h 576694"/>
                <a:gd name="connsiteX2" fmla="*/ 561143 w 605023"/>
                <a:gd name="connsiteY2" fmla="*/ 0 h 576694"/>
                <a:gd name="connsiteX3" fmla="*/ 566592 w 605023"/>
                <a:gd name="connsiteY3" fmla="*/ 519331 h 576694"/>
                <a:gd name="connsiteX4" fmla="*/ 157075 w 605023"/>
                <a:gd name="connsiteY4" fmla="*/ 569819 h 576694"/>
                <a:gd name="connsiteX5" fmla="*/ 134636 w 605023"/>
                <a:gd name="connsiteY5" fmla="*/ 575429 h 576694"/>
                <a:gd name="connsiteX6" fmla="*/ 117806 w 605023"/>
                <a:gd name="connsiteY6" fmla="*/ 569819 h 576694"/>
                <a:gd name="connsiteX7" fmla="*/ 95367 w 605023"/>
                <a:gd name="connsiteY7" fmla="*/ 564210 h 576694"/>
                <a:gd name="connsiteX8" fmla="*/ 44879 w 605023"/>
                <a:gd name="connsiteY8" fmla="*/ 547380 h 576694"/>
                <a:gd name="connsiteX9" fmla="*/ 11220 w 605023"/>
                <a:gd name="connsiteY9" fmla="*/ 530551 h 576694"/>
                <a:gd name="connsiteX10" fmla="*/ 5610 w 605023"/>
                <a:gd name="connsiteY10" fmla="*/ 530551 h 576694"/>
                <a:gd name="connsiteX11" fmla="*/ 0 w 605023"/>
                <a:gd name="connsiteY11" fmla="*/ 76156 h 576694"/>
                <a:gd name="connsiteX0" fmla="*/ 0 w 605023"/>
                <a:gd name="connsiteY0" fmla="*/ 76156 h 580257"/>
                <a:gd name="connsiteX1" fmla="*/ 0 w 605023"/>
                <a:gd name="connsiteY1" fmla="*/ 76156 h 580257"/>
                <a:gd name="connsiteX2" fmla="*/ 561143 w 605023"/>
                <a:gd name="connsiteY2" fmla="*/ 0 h 580257"/>
                <a:gd name="connsiteX3" fmla="*/ 566592 w 605023"/>
                <a:gd name="connsiteY3" fmla="*/ 519331 h 580257"/>
                <a:gd name="connsiteX4" fmla="*/ 134636 w 605023"/>
                <a:gd name="connsiteY4" fmla="*/ 575429 h 580257"/>
                <a:gd name="connsiteX5" fmla="*/ 117806 w 605023"/>
                <a:gd name="connsiteY5" fmla="*/ 569819 h 580257"/>
                <a:gd name="connsiteX6" fmla="*/ 95367 w 605023"/>
                <a:gd name="connsiteY6" fmla="*/ 564210 h 580257"/>
                <a:gd name="connsiteX7" fmla="*/ 44879 w 605023"/>
                <a:gd name="connsiteY7" fmla="*/ 547380 h 580257"/>
                <a:gd name="connsiteX8" fmla="*/ 11220 w 605023"/>
                <a:gd name="connsiteY8" fmla="*/ 530551 h 580257"/>
                <a:gd name="connsiteX9" fmla="*/ 5610 w 605023"/>
                <a:gd name="connsiteY9" fmla="*/ 530551 h 580257"/>
                <a:gd name="connsiteX10" fmla="*/ 0 w 605023"/>
                <a:gd name="connsiteY10" fmla="*/ 76156 h 580257"/>
                <a:gd name="connsiteX0" fmla="*/ 0 w 605023"/>
                <a:gd name="connsiteY0" fmla="*/ 76156 h 577386"/>
                <a:gd name="connsiteX1" fmla="*/ 0 w 605023"/>
                <a:gd name="connsiteY1" fmla="*/ 76156 h 577386"/>
                <a:gd name="connsiteX2" fmla="*/ 561143 w 605023"/>
                <a:gd name="connsiteY2" fmla="*/ 0 h 577386"/>
                <a:gd name="connsiteX3" fmla="*/ 566592 w 605023"/>
                <a:gd name="connsiteY3" fmla="*/ 519331 h 577386"/>
                <a:gd name="connsiteX4" fmla="*/ 117806 w 605023"/>
                <a:gd name="connsiteY4" fmla="*/ 569819 h 577386"/>
                <a:gd name="connsiteX5" fmla="*/ 95367 w 605023"/>
                <a:gd name="connsiteY5" fmla="*/ 564210 h 577386"/>
                <a:gd name="connsiteX6" fmla="*/ 44879 w 605023"/>
                <a:gd name="connsiteY6" fmla="*/ 547380 h 577386"/>
                <a:gd name="connsiteX7" fmla="*/ 11220 w 605023"/>
                <a:gd name="connsiteY7" fmla="*/ 530551 h 577386"/>
                <a:gd name="connsiteX8" fmla="*/ 5610 w 605023"/>
                <a:gd name="connsiteY8" fmla="*/ 530551 h 577386"/>
                <a:gd name="connsiteX9" fmla="*/ 0 w 605023"/>
                <a:gd name="connsiteY9" fmla="*/ 76156 h 577386"/>
                <a:gd name="connsiteX0" fmla="*/ 0 w 605023"/>
                <a:gd name="connsiteY0" fmla="*/ 76156 h 575361"/>
                <a:gd name="connsiteX1" fmla="*/ 0 w 605023"/>
                <a:gd name="connsiteY1" fmla="*/ 76156 h 575361"/>
                <a:gd name="connsiteX2" fmla="*/ 561143 w 605023"/>
                <a:gd name="connsiteY2" fmla="*/ 0 h 575361"/>
                <a:gd name="connsiteX3" fmla="*/ 566592 w 605023"/>
                <a:gd name="connsiteY3" fmla="*/ 519331 h 575361"/>
                <a:gd name="connsiteX4" fmla="*/ 95367 w 605023"/>
                <a:gd name="connsiteY4" fmla="*/ 564210 h 575361"/>
                <a:gd name="connsiteX5" fmla="*/ 44879 w 605023"/>
                <a:gd name="connsiteY5" fmla="*/ 547380 h 575361"/>
                <a:gd name="connsiteX6" fmla="*/ 11220 w 605023"/>
                <a:gd name="connsiteY6" fmla="*/ 530551 h 575361"/>
                <a:gd name="connsiteX7" fmla="*/ 5610 w 605023"/>
                <a:gd name="connsiteY7" fmla="*/ 530551 h 575361"/>
                <a:gd name="connsiteX8" fmla="*/ 0 w 605023"/>
                <a:gd name="connsiteY8" fmla="*/ 76156 h 575361"/>
                <a:gd name="connsiteX0" fmla="*/ 0 w 605023"/>
                <a:gd name="connsiteY0" fmla="*/ 76156 h 568118"/>
                <a:gd name="connsiteX1" fmla="*/ 0 w 605023"/>
                <a:gd name="connsiteY1" fmla="*/ 76156 h 568118"/>
                <a:gd name="connsiteX2" fmla="*/ 561143 w 605023"/>
                <a:gd name="connsiteY2" fmla="*/ 0 h 568118"/>
                <a:gd name="connsiteX3" fmla="*/ 566592 w 605023"/>
                <a:gd name="connsiteY3" fmla="*/ 519331 h 568118"/>
                <a:gd name="connsiteX4" fmla="*/ 44879 w 605023"/>
                <a:gd name="connsiteY4" fmla="*/ 547380 h 568118"/>
                <a:gd name="connsiteX5" fmla="*/ 11220 w 605023"/>
                <a:gd name="connsiteY5" fmla="*/ 530551 h 568118"/>
                <a:gd name="connsiteX6" fmla="*/ 5610 w 605023"/>
                <a:gd name="connsiteY6" fmla="*/ 530551 h 568118"/>
                <a:gd name="connsiteX7" fmla="*/ 0 w 605023"/>
                <a:gd name="connsiteY7" fmla="*/ 76156 h 568118"/>
                <a:gd name="connsiteX0" fmla="*/ 0 w 605023"/>
                <a:gd name="connsiteY0" fmla="*/ 76156 h 561297"/>
                <a:gd name="connsiteX1" fmla="*/ 0 w 605023"/>
                <a:gd name="connsiteY1" fmla="*/ 76156 h 561297"/>
                <a:gd name="connsiteX2" fmla="*/ 561143 w 605023"/>
                <a:gd name="connsiteY2" fmla="*/ 0 h 561297"/>
                <a:gd name="connsiteX3" fmla="*/ 566592 w 605023"/>
                <a:gd name="connsiteY3" fmla="*/ 519331 h 561297"/>
                <a:gd name="connsiteX4" fmla="*/ 11220 w 605023"/>
                <a:gd name="connsiteY4" fmla="*/ 530551 h 561297"/>
                <a:gd name="connsiteX5" fmla="*/ 5610 w 605023"/>
                <a:gd name="connsiteY5" fmla="*/ 530551 h 561297"/>
                <a:gd name="connsiteX6" fmla="*/ 0 w 605023"/>
                <a:gd name="connsiteY6" fmla="*/ 76156 h 561297"/>
                <a:gd name="connsiteX0" fmla="*/ 0 w 605023"/>
                <a:gd name="connsiteY0" fmla="*/ 76156 h 585834"/>
                <a:gd name="connsiteX1" fmla="*/ 0 w 605023"/>
                <a:gd name="connsiteY1" fmla="*/ 76156 h 585834"/>
                <a:gd name="connsiteX2" fmla="*/ 561143 w 605023"/>
                <a:gd name="connsiteY2" fmla="*/ 0 h 585834"/>
                <a:gd name="connsiteX3" fmla="*/ 566592 w 605023"/>
                <a:gd name="connsiteY3" fmla="*/ 519331 h 585834"/>
                <a:gd name="connsiteX4" fmla="*/ 5610 w 605023"/>
                <a:gd name="connsiteY4" fmla="*/ 530551 h 585834"/>
                <a:gd name="connsiteX5" fmla="*/ 0 w 605023"/>
                <a:gd name="connsiteY5" fmla="*/ 76156 h 585834"/>
                <a:gd name="connsiteX0" fmla="*/ 1534 w 636032"/>
                <a:gd name="connsiteY0" fmla="*/ 76156 h 584466"/>
                <a:gd name="connsiteX1" fmla="*/ 1534 w 636032"/>
                <a:gd name="connsiteY1" fmla="*/ 76156 h 584466"/>
                <a:gd name="connsiteX2" fmla="*/ 562677 w 636032"/>
                <a:gd name="connsiteY2" fmla="*/ 0 h 584466"/>
                <a:gd name="connsiteX3" fmla="*/ 568126 w 636032"/>
                <a:gd name="connsiteY3" fmla="*/ 519331 h 584466"/>
                <a:gd name="connsiteX4" fmla="*/ 0 w 636032"/>
                <a:gd name="connsiteY4" fmla="*/ 528170 h 584466"/>
                <a:gd name="connsiteX5" fmla="*/ 1534 w 636032"/>
                <a:gd name="connsiteY5" fmla="*/ 76156 h 584466"/>
                <a:gd name="connsiteX0" fmla="*/ 1534 w 636032"/>
                <a:gd name="connsiteY0" fmla="*/ 76156 h 560895"/>
                <a:gd name="connsiteX1" fmla="*/ 1534 w 636032"/>
                <a:gd name="connsiteY1" fmla="*/ 76156 h 560895"/>
                <a:gd name="connsiteX2" fmla="*/ 562677 w 636032"/>
                <a:gd name="connsiteY2" fmla="*/ 0 h 560895"/>
                <a:gd name="connsiteX3" fmla="*/ 568126 w 636032"/>
                <a:gd name="connsiteY3" fmla="*/ 519331 h 560895"/>
                <a:gd name="connsiteX4" fmla="*/ 0 w 636032"/>
                <a:gd name="connsiteY4" fmla="*/ 528170 h 560895"/>
                <a:gd name="connsiteX5" fmla="*/ 1534 w 636032"/>
                <a:gd name="connsiteY5" fmla="*/ 76156 h 560895"/>
                <a:gd name="connsiteX0" fmla="*/ 1534 w 605472"/>
                <a:gd name="connsiteY0" fmla="*/ 76156 h 560895"/>
                <a:gd name="connsiteX1" fmla="*/ 1534 w 605472"/>
                <a:gd name="connsiteY1" fmla="*/ 76156 h 560895"/>
                <a:gd name="connsiteX2" fmla="*/ 562677 w 605472"/>
                <a:gd name="connsiteY2" fmla="*/ 0 h 560895"/>
                <a:gd name="connsiteX3" fmla="*/ 568126 w 605472"/>
                <a:gd name="connsiteY3" fmla="*/ 519331 h 560895"/>
                <a:gd name="connsiteX4" fmla="*/ 0 w 605472"/>
                <a:gd name="connsiteY4" fmla="*/ 528170 h 560895"/>
                <a:gd name="connsiteX5" fmla="*/ 1534 w 605472"/>
                <a:gd name="connsiteY5" fmla="*/ 76156 h 560895"/>
                <a:gd name="connsiteX0" fmla="*/ 1534 w 605472"/>
                <a:gd name="connsiteY0" fmla="*/ 76156 h 528170"/>
                <a:gd name="connsiteX1" fmla="*/ 1534 w 605472"/>
                <a:gd name="connsiteY1" fmla="*/ 76156 h 528170"/>
                <a:gd name="connsiteX2" fmla="*/ 562677 w 605472"/>
                <a:gd name="connsiteY2" fmla="*/ 0 h 528170"/>
                <a:gd name="connsiteX3" fmla="*/ 568126 w 605472"/>
                <a:gd name="connsiteY3" fmla="*/ 519331 h 528170"/>
                <a:gd name="connsiteX4" fmla="*/ 0 w 605472"/>
                <a:gd name="connsiteY4" fmla="*/ 528170 h 528170"/>
                <a:gd name="connsiteX5" fmla="*/ 1534 w 605472"/>
                <a:gd name="connsiteY5" fmla="*/ 76156 h 528170"/>
                <a:gd name="connsiteX0" fmla="*/ 29 w 603967"/>
                <a:gd name="connsiteY0" fmla="*/ 76156 h 540076"/>
                <a:gd name="connsiteX1" fmla="*/ 29 w 603967"/>
                <a:gd name="connsiteY1" fmla="*/ 76156 h 540076"/>
                <a:gd name="connsiteX2" fmla="*/ 561172 w 603967"/>
                <a:gd name="connsiteY2" fmla="*/ 0 h 540076"/>
                <a:gd name="connsiteX3" fmla="*/ 566621 w 603967"/>
                <a:gd name="connsiteY3" fmla="*/ 519331 h 540076"/>
                <a:gd name="connsiteX4" fmla="*/ 5639 w 603967"/>
                <a:gd name="connsiteY4" fmla="*/ 540076 h 540076"/>
                <a:gd name="connsiteX5" fmla="*/ 29 w 603967"/>
                <a:gd name="connsiteY5" fmla="*/ 76156 h 540076"/>
                <a:gd name="connsiteX0" fmla="*/ 29 w 603967"/>
                <a:gd name="connsiteY0" fmla="*/ 76156 h 540076"/>
                <a:gd name="connsiteX1" fmla="*/ 29 w 603967"/>
                <a:gd name="connsiteY1" fmla="*/ 76156 h 540076"/>
                <a:gd name="connsiteX2" fmla="*/ 561172 w 603967"/>
                <a:gd name="connsiteY2" fmla="*/ 0 h 540076"/>
                <a:gd name="connsiteX3" fmla="*/ 566621 w 603967"/>
                <a:gd name="connsiteY3" fmla="*/ 519331 h 540076"/>
                <a:gd name="connsiteX4" fmla="*/ 5639 w 603967"/>
                <a:gd name="connsiteY4" fmla="*/ 540076 h 540076"/>
                <a:gd name="connsiteX5" fmla="*/ 29 w 603967"/>
                <a:gd name="connsiteY5" fmla="*/ 76156 h 540076"/>
                <a:gd name="connsiteX0" fmla="*/ 89 w 604027"/>
                <a:gd name="connsiteY0" fmla="*/ 76156 h 535314"/>
                <a:gd name="connsiteX1" fmla="*/ 89 w 604027"/>
                <a:gd name="connsiteY1" fmla="*/ 76156 h 535314"/>
                <a:gd name="connsiteX2" fmla="*/ 561232 w 604027"/>
                <a:gd name="connsiteY2" fmla="*/ 0 h 535314"/>
                <a:gd name="connsiteX3" fmla="*/ 566681 w 604027"/>
                <a:gd name="connsiteY3" fmla="*/ 519331 h 535314"/>
                <a:gd name="connsiteX4" fmla="*/ 937 w 604027"/>
                <a:gd name="connsiteY4" fmla="*/ 535314 h 535314"/>
                <a:gd name="connsiteX5" fmla="*/ 89 w 604027"/>
                <a:gd name="connsiteY5" fmla="*/ 76156 h 535314"/>
                <a:gd name="connsiteX0" fmla="*/ 89 w 604027"/>
                <a:gd name="connsiteY0" fmla="*/ 76156 h 535314"/>
                <a:gd name="connsiteX1" fmla="*/ 89 w 604027"/>
                <a:gd name="connsiteY1" fmla="*/ 76156 h 535314"/>
                <a:gd name="connsiteX2" fmla="*/ 561232 w 604027"/>
                <a:gd name="connsiteY2" fmla="*/ 0 h 535314"/>
                <a:gd name="connsiteX3" fmla="*/ 566681 w 604027"/>
                <a:gd name="connsiteY3" fmla="*/ 533618 h 535314"/>
                <a:gd name="connsiteX4" fmla="*/ 937 w 604027"/>
                <a:gd name="connsiteY4" fmla="*/ 535314 h 535314"/>
                <a:gd name="connsiteX5" fmla="*/ 89 w 604027"/>
                <a:gd name="connsiteY5" fmla="*/ 76156 h 535314"/>
                <a:gd name="connsiteX0" fmla="*/ 89 w 604027"/>
                <a:gd name="connsiteY0" fmla="*/ 76156 h 535314"/>
                <a:gd name="connsiteX1" fmla="*/ 89 w 604027"/>
                <a:gd name="connsiteY1" fmla="*/ 76156 h 535314"/>
                <a:gd name="connsiteX2" fmla="*/ 561232 w 604027"/>
                <a:gd name="connsiteY2" fmla="*/ 0 h 535314"/>
                <a:gd name="connsiteX3" fmla="*/ 566681 w 604027"/>
                <a:gd name="connsiteY3" fmla="*/ 533618 h 535314"/>
                <a:gd name="connsiteX4" fmla="*/ 937 w 604027"/>
                <a:gd name="connsiteY4" fmla="*/ 535314 h 535314"/>
                <a:gd name="connsiteX5" fmla="*/ 89 w 604027"/>
                <a:gd name="connsiteY5" fmla="*/ 76156 h 535314"/>
                <a:gd name="connsiteX0" fmla="*/ 89 w 566681"/>
                <a:gd name="connsiteY0" fmla="*/ 76156 h 535314"/>
                <a:gd name="connsiteX1" fmla="*/ 89 w 566681"/>
                <a:gd name="connsiteY1" fmla="*/ 76156 h 535314"/>
                <a:gd name="connsiteX2" fmla="*/ 561232 w 566681"/>
                <a:gd name="connsiteY2" fmla="*/ 0 h 535314"/>
                <a:gd name="connsiteX3" fmla="*/ 566681 w 566681"/>
                <a:gd name="connsiteY3" fmla="*/ 533618 h 535314"/>
                <a:gd name="connsiteX4" fmla="*/ 937 w 566681"/>
                <a:gd name="connsiteY4" fmla="*/ 535314 h 535314"/>
                <a:gd name="connsiteX5" fmla="*/ 89 w 566681"/>
                <a:gd name="connsiteY5" fmla="*/ 76156 h 535314"/>
                <a:gd name="connsiteX0" fmla="*/ 89 w 566681"/>
                <a:gd name="connsiteY0" fmla="*/ 76156 h 535314"/>
                <a:gd name="connsiteX1" fmla="*/ 89 w 566681"/>
                <a:gd name="connsiteY1" fmla="*/ 76156 h 535314"/>
                <a:gd name="connsiteX2" fmla="*/ 561232 w 566681"/>
                <a:gd name="connsiteY2" fmla="*/ 0 h 535314"/>
                <a:gd name="connsiteX3" fmla="*/ 566681 w 566681"/>
                <a:gd name="connsiteY3" fmla="*/ 533618 h 535314"/>
                <a:gd name="connsiteX4" fmla="*/ 937 w 566681"/>
                <a:gd name="connsiteY4" fmla="*/ 535314 h 535314"/>
                <a:gd name="connsiteX5" fmla="*/ 89 w 566681"/>
                <a:gd name="connsiteY5" fmla="*/ 76156 h 535314"/>
                <a:gd name="connsiteX0" fmla="*/ 89 w 566681"/>
                <a:gd name="connsiteY0" fmla="*/ 76156 h 535314"/>
                <a:gd name="connsiteX1" fmla="*/ 89 w 566681"/>
                <a:gd name="connsiteY1" fmla="*/ 76156 h 535314"/>
                <a:gd name="connsiteX2" fmla="*/ 561232 w 566681"/>
                <a:gd name="connsiteY2" fmla="*/ 0 h 535314"/>
                <a:gd name="connsiteX3" fmla="*/ 566681 w 566681"/>
                <a:gd name="connsiteY3" fmla="*/ 533618 h 535314"/>
                <a:gd name="connsiteX4" fmla="*/ 937 w 566681"/>
                <a:gd name="connsiteY4" fmla="*/ 535314 h 535314"/>
                <a:gd name="connsiteX5" fmla="*/ 89 w 566681"/>
                <a:gd name="connsiteY5" fmla="*/ 76156 h 535314"/>
                <a:gd name="connsiteX0" fmla="*/ 89 w 566681"/>
                <a:gd name="connsiteY0" fmla="*/ 76156 h 535314"/>
                <a:gd name="connsiteX1" fmla="*/ 89 w 566681"/>
                <a:gd name="connsiteY1" fmla="*/ 76156 h 535314"/>
                <a:gd name="connsiteX2" fmla="*/ 561232 w 566681"/>
                <a:gd name="connsiteY2" fmla="*/ 0 h 535314"/>
                <a:gd name="connsiteX3" fmla="*/ 566681 w 566681"/>
                <a:gd name="connsiteY3" fmla="*/ 533618 h 535314"/>
                <a:gd name="connsiteX4" fmla="*/ 937 w 566681"/>
                <a:gd name="connsiteY4" fmla="*/ 535314 h 535314"/>
                <a:gd name="connsiteX5" fmla="*/ 89 w 566681"/>
                <a:gd name="connsiteY5" fmla="*/ 76156 h 535314"/>
                <a:gd name="connsiteX0" fmla="*/ 89 w 737508"/>
                <a:gd name="connsiteY0" fmla="*/ 107113 h 566271"/>
                <a:gd name="connsiteX1" fmla="*/ 89 w 737508"/>
                <a:gd name="connsiteY1" fmla="*/ 107113 h 566271"/>
                <a:gd name="connsiteX2" fmla="*/ 737444 w 737508"/>
                <a:gd name="connsiteY2" fmla="*/ 0 h 566271"/>
                <a:gd name="connsiteX3" fmla="*/ 566681 w 737508"/>
                <a:gd name="connsiteY3" fmla="*/ 564575 h 566271"/>
                <a:gd name="connsiteX4" fmla="*/ 937 w 737508"/>
                <a:gd name="connsiteY4" fmla="*/ 566271 h 566271"/>
                <a:gd name="connsiteX5" fmla="*/ 89 w 737508"/>
                <a:gd name="connsiteY5" fmla="*/ 107113 h 566271"/>
                <a:gd name="connsiteX0" fmla="*/ 89 w 742893"/>
                <a:gd name="connsiteY0" fmla="*/ 107113 h 640775"/>
                <a:gd name="connsiteX1" fmla="*/ 89 w 742893"/>
                <a:gd name="connsiteY1" fmla="*/ 107113 h 640775"/>
                <a:gd name="connsiteX2" fmla="*/ 737444 w 742893"/>
                <a:gd name="connsiteY2" fmla="*/ 0 h 640775"/>
                <a:gd name="connsiteX3" fmla="*/ 742893 w 742893"/>
                <a:gd name="connsiteY3" fmla="*/ 640775 h 640775"/>
                <a:gd name="connsiteX4" fmla="*/ 937 w 742893"/>
                <a:gd name="connsiteY4" fmla="*/ 566271 h 640775"/>
                <a:gd name="connsiteX5" fmla="*/ 89 w 742893"/>
                <a:gd name="connsiteY5" fmla="*/ 107113 h 640775"/>
                <a:gd name="connsiteX0" fmla="*/ 1533 w 744337"/>
                <a:gd name="connsiteY0" fmla="*/ 107113 h 647233"/>
                <a:gd name="connsiteX1" fmla="*/ 1533 w 744337"/>
                <a:gd name="connsiteY1" fmla="*/ 107113 h 647233"/>
                <a:gd name="connsiteX2" fmla="*/ 738888 w 744337"/>
                <a:gd name="connsiteY2" fmla="*/ 0 h 647233"/>
                <a:gd name="connsiteX3" fmla="*/ 744337 w 744337"/>
                <a:gd name="connsiteY3" fmla="*/ 640775 h 647233"/>
                <a:gd name="connsiteX4" fmla="*/ 0 w 744337"/>
                <a:gd name="connsiteY4" fmla="*/ 647233 h 647233"/>
                <a:gd name="connsiteX5" fmla="*/ 1533 w 744337"/>
                <a:gd name="connsiteY5" fmla="*/ 107113 h 647233"/>
                <a:gd name="connsiteX0" fmla="*/ 90 w 742894"/>
                <a:gd name="connsiteY0" fmla="*/ 107113 h 647233"/>
                <a:gd name="connsiteX1" fmla="*/ 90 w 742894"/>
                <a:gd name="connsiteY1" fmla="*/ 107113 h 647233"/>
                <a:gd name="connsiteX2" fmla="*/ 737445 w 742894"/>
                <a:gd name="connsiteY2" fmla="*/ 0 h 647233"/>
                <a:gd name="connsiteX3" fmla="*/ 742894 w 742894"/>
                <a:gd name="connsiteY3" fmla="*/ 640775 h 647233"/>
                <a:gd name="connsiteX4" fmla="*/ 938 w 742894"/>
                <a:gd name="connsiteY4" fmla="*/ 647233 h 647233"/>
                <a:gd name="connsiteX5" fmla="*/ 90 w 742894"/>
                <a:gd name="connsiteY5" fmla="*/ 107113 h 647233"/>
                <a:gd name="connsiteX0" fmla="*/ 90 w 738522"/>
                <a:gd name="connsiteY0" fmla="*/ 107113 h 647233"/>
                <a:gd name="connsiteX1" fmla="*/ 90 w 738522"/>
                <a:gd name="connsiteY1" fmla="*/ 107113 h 647233"/>
                <a:gd name="connsiteX2" fmla="*/ 737445 w 738522"/>
                <a:gd name="connsiteY2" fmla="*/ 0 h 647233"/>
                <a:gd name="connsiteX3" fmla="*/ 735750 w 738522"/>
                <a:gd name="connsiteY3" fmla="*/ 643156 h 647233"/>
                <a:gd name="connsiteX4" fmla="*/ 938 w 738522"/>
                <a:gd name="connsiteY4" fmla="*/ 647233 h 647233"/>
                <a:gd name="connsiteX5" fmla="*/ 90 w 738522"/>
                <a:gd name="connsiteY5" fmla="*/ 107113 h 647233"/>
                <a:gd name="connsiteX0" fmla="*/ 90 w 739828"/>
                <a:gd name="connsiteY0" fmla="*/ 107113 h 647233"/>
                <a:gd name="connsiteX1" fmla="*/ 90 w 739828"/>
                <a:gd name="connsiteY1" fmla="*/ 107113 h 647233"/>
                <a:gd name="connsiteX2" fmla="*/ 737445 w 739828"/>
                <a:gd name="connsiteY2" fmla="*/ 0 h 647233"/>
                <a:gd name="connsiteX3" fmla="*/ 735750 w 739828"/>
                <a:gd name="connsiteY3" fmla="*/ 643156 h 647233"/>
                <a:gd name="connsiteX4" fmla="*/ 938 w 739828"/>
                <a:gd name="connsiteY4" fmla="*/ 647233 h 647233"/>
                <a:gd name="connsiteX5" fmla="*/ 90 w 739828"/>
                <a:gd name="connsiteY5" fmla="*/ 107113 h 647233"/>
                <a:gd name="connsiteX0" fmla="*/ 90 w 739212"/>
                <a:gd name="connsiteY0" fmla="*/ 107113 h 647233"/>
                <a:gd name="connsiteX1" fmla="*/ 90 w 739212"/>
                <a:gd name="connsiteY1" fmla="*/ 107113 h 647233"/>
                <a:gd name="connsiteX2" fmla="*/ 737445 w 739212"/>
                <a:gd name="connsiteY2" fmla="*/ 0 h 647233"/>
                <a:gd name="connsiteX3" fmla="*/ 735750 w 739212"/>
                <a:gd name="connsiteY3" fmla="*/ 643156 h 647233"/>
                <a:gd name="connsiteX4" fmla="*/ 938 w 739212"/>
                <a:gd name="connsiteY4" fmla="*/ 647233 h 647233"/>
                <a:gd name="connsiteX5" fmla="*/ 90 w 739212"/>
                <a:gd name="connsiteY5" fmla="*/ 107113 h 647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9212" h="647233">
                  <a:moveTo>
                    <a:pt x="90" y="107113"/>
                  </a:moveTo>
                  <a:lnTo>
                    <a:pt x="90" y="107113"/>
                  </a:lnTo>
                  <a:lnTo>
                    <a:pt x="737445" y="0"/>
                  </a:lnTo>
                  <a:cubicBezTo>
                    <a:pt x="741390" y="64337"/>
                    <a:pt x="737788" y="607328"/>
                    <a:pt x="735750" y="643156"/>
                  </a:cubicBezTo>
                  <a:cubicBezTo>
                    <a:pt x="709094" y="641340"/>
                    <a:pt x="189519" y="646668"/>
                    <a:pt x="938" y="647233"/>
                  </a:cubicBezTo>
                  <a:cubicBezTo>
                    <a:pt x="1449" y="620387"/>
                    <a:pt x="-421" y="257784"/>
                    <a:pt x="90" y="107113"/>
                  </a:cubicBezTo>
                  <a:close/>
                </a:path>
              </a:pathLst>
            </a:cu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47" name="Freeform 46"/>
            <p:cNvSpPr/>
            <p:nvPr/>
          </p:nvSpPr>
          <p:spPr bwMode="auto">
            <a:xfrm flipV="1">
              <a:off x="8285609" y="5597111"/>
              <a:ext cx="566681" cy="535314"/>
            </a:xfrm>
            <a:custGeom>
              <a:avLst/>
              <a:gdLst>
                <a:gd name="connsiteX0" fmla="*/ 0 w 577811"/>
                <a:gd name="connsiteY0" fmla="*/ 96243 h 595516"/>
                <a:gd name="connsiteX1" fmla="*/ 0 w 577811"/>
                <a:gd name="connsiteY1" fmla="*/ 96243 h 595516"/>
                <a:gd name="connsiteX2" fmla="*/ 56098 w 577811"/>
                <a:gd name="connsiteY2" fmla="*/ 90633 h 595516"/>
                <a:gd name="connsiteX3" fmla="*/ 151465 w 577811"/>
                <a:gd name="connsiteY3" fmla="*/ 85023 h 595516"/>
                <a:gd name="connsiteX4" fmla="*/ 190734 w 577811"/>
                <a:gd name="connsiteY4" fmla="*/ 79413 h 595516"/>
                <a:gd name="connsiteX5" fmla="*/ 286101 w 577811"/>
                <a:gd name="connsiteY5" fmla="*/ 73803 h 595516"/>
                <a:gd name="connsiteX6" fmla="*/ 370248 w 577811"/>
                <a:gd name="connsiteY6" fmla="*/ 62584 h 595516"/>
                <a:gd name="connsiteX7" fmla="*/ 387077 w 577811"/>
                <a:gd name="connsiteY7" fmla="*/ 56974 h 595516"/>
                <a:gd name="connsiteX8" fmla="*/ 431956 w 577811"/>
                <a:gd name="connsiteY8" fmla="*/ 51364 h 595516"/>
                <a:gd name="connsiteX9" fmla="*/ 460005 w 577811"/>
                <a:gd name="connsiteY9" fmla="*/ 45754 h 595516"/>
                <a:gd name="connsiteX10" fmla="*/ 510493 w 577811"/>
                <a:gd name="connsiteY10" fmla="*/ 40144 h 595516"/>
                <a:gd name="connsiteX11" fmla="*/ 527323 w 577811"/>
                <a:gd name="connsiteY11" fmla="*/ 34535 h 595516"/>
                <a:gd name="connsiteX12" fmla="*/ 560982 w 577811"/>
                <a:gd name="connsiteY12" fmla="*/ 28925 h 595516"/>
                <a:gd name="connsiteX13" fmla="*/ 577811 w 577811"/>
                <a:gd name="connsiteY13" fmla="*/ 17705 h 595516"/>
                <a:gd name="connsiteX14" fmla="*/ 566592 w 577811"/>
                <a:gd name="connsiteY14" fmla="*/ 876 h 595516"/>
                <a:gd name="connsiteX15" fmla="*/ 549762 w 577811"/>
                <a:gd name="connsiteY15" fmla="*/ 6486 h 595516"/>
                <a:gd name="connsiteX16" fmla="*/ 560982 w 577811"/>
                <a:gd name="connsiteY16" fmla="*/ 40144 h 595516"/>
                <a:gd name="connsiteX17" fmla="*/ 566592 w 577811"/>
                <a:gd name="connsiteY17" fmla="*/ 208439 h 595516"/>
                <a:gd name="connsiteX18" fmla="*/ 572201 w 577811"/>
                <a:gd name="connsiteY18" fmla="*/ 225268 h 595516"/>
                <a:gd name="connsiteX19" fmla="*/ 566592 w 577811"/>
                <a:gd name="connsiteY19" fmla="*/ 286976 h 595516"/>
                <a:gd name="connsiteX20" fmla="*/ 555372 w 577811"/>
                <a:gd name="connsiteY20" fmla="*/ 359904 h 595516"/>
                <a:gd name="connsiteX21" fmla="*/ 544152 w 577811"/>
                <a:gd name="connsiteY21" fmla="*/ 477710 h 595516"/>
                <a:gd name="connsiteX22" fmla="*/ 549762 w 577811"/>
                <a:gd name="connsiteY22" fmla="*/ 528198 h 595516"/>
                <a:gd name="connsiteX23" fmla="*/ 566592 w 577811"/>
                <a:gd name="connsiteY23" fmla="*/ 539418 h 595516"/>
                <a:gd name="connsiteX24" fmla="*/ 549762 w 577811"/>
                <a:gd name="connsiteY24" fmla="*/ 550638 h 595516"/>
                <a:gd name="connsiteX25" fmla="*/ 359028 w 577811"/>
                <a:gd name="connsiteY25" fmla="*/ 550638 h 595516"/>
                <a:gd name="connsiteX26" fmla="*/ 319760 w 577811"/>
                <a:gd name="connsiteY26" fmla="*/ 556248 h 595516"/>
                <a:gd name="connsiteX27" fmla="*/ 241222 w 577811"/>
                <a:gd name="connsiteY27" fmla="*/ 561857 h 595516"/>
                <a:gd name="connsiteX28" fmla="*/ 190734 w 577811"/>
                <a:gd name="connsiteY28" fmla="*/ 578687 h 595516"/>
                <a:gd name="connsiteX29" fmla="*/ 157075 w 577811"/>
                <a:gd name="connsiteY29" fmla="*/ 589906 h 595516"/>
                <a:gd name="connsiteX30" fmla="*/ 134636 w 577811"/>
                <a:gd name="connsiteY30" fmla="*/ 595516 h 595516"/>
                <a:gd name="connsiteX31" fmla="*/ 117806 w 577811"/>
                <a:gd name="connsiteY31" fmla="*/ 589906 h 595516"/>
                <a:gd name="connsiteX32" fmla="*/ 95367 w 577811"/>
                <a:gd name="connsiteY32" fmla="*/ 584297 h 595516"/>
                <a:gd name="connsiteX33" fmla="*/ 44879 w 577811"/>
                <a:gd name="connsiteY33" fmla="*/ 567467 h 595516"/>
                <a:gd name="connsiteX34" fmla="*/ 11220 w 577811"/>
                <a:gd name="connsiteY34" fmla="*/ 550638 h 595516"/>
                <a:gd name="connsiteX35" fmla="*/ 5610 w 577811"/>
                <a:gd name="connsiteY35" fmla="*/ 550638 h 595516"/>
                <a:gd name="connsiteX36" fmla="*/ 0 w 577811"/>
                <a:gd name="connsiteY36" fmla="*/ 96243 h 595516"/>
                <a:gd name="connsiteX0" fmla="*/ 0 w 577811"/>
                <a:gd name="connsiteY0" fmla="*/ 96243 h 595516"/>
                <a:gd name="connsiteX1" fmla="*/ 0 w 577811"/>
                <a:gd name="connsiteY1" fmla="*/ 96243 h 595516"/>
                <a:gd name="connsiteX2" fmla="*/ 151465 w 577811"/>
                <a:gd name="connsiteY2" fmla="*/ 85023 h 595516"/>
                <a:gd name="connsiteX3" fmla="*/ 190734 w 577811"/>
                <a:gd name="connsiteY3" fmla="*/ 79413 h 595516"/>
                <a:gd name="connsiteX4" fmla="*/ 286101 w 577811"/>
                <a:gd name="connsiteY4" fmla="*/ 73803 h 595516"/>
                <a:gd name="connsiteX5" fmla="*/ 370248 w 577811"/>
                <a:gd name="connsiteY5" fmla="*/ 62584 h 595516"/>
                <a:gd name="connsiteX6" fmla="*/ 387077 w 577811"/>
                <a:gd name="connsiteY6" fmla="*/ 56974 h 595516"/>
                <a:gd name="connsiteX7" fmla="*/ 431956 w 577811"/>
                <a:gd name="connsiteY7" fmla="*/ 51364 h 595516"/>
                <a:gd name="connsiteX8" fmla="*/ 460005 w 577811"/>
                <a:gd name="connsiteY8" fmla="*/ 45754 h 595516"/>
                <a:gd name="connsiteX9" fmla="*/ 510493 w 577811"/>
                <a:gd name="connsiteY9" fmla="*/ 40144 h 595516"/>
                <a:gd name="connsiteX10" fmla="*/ 527323 w 577811"/>
                <a:gd name="connsiteY10" fmla="*/ 34535 h 595516"/>
                <a:gd name="connsiteX11" fmla="*/ 560982 w 577811"/>
                <a:gd name="connsiteY11" fmla="*/ 28925 h 595516"/>
                <a:gd name="connsiteX12" fmla="*/ 577811 w 577811"/>
                <a:gd name="connsiteY12" fmla="*/ 17705 h 595516"/>
                <a:gd name="connsiteX13" fmla="*/ 566592 w 577811"/>
                <a:gd name="connsiteY13" fmla="*/ 876 h 595516"/>
                <a:gd name="connsiteX14" fmla="*/ 549762 w 577811"/>
                <a:gd name="connsiteY14" fmla="*/ 6486 h 595516"/>
                <a:gd name="connsiteX15" fmla="*/ 560982 w 577811"/>
                <a:gd name="connsiteY15" fmla="*/ 40144 h 595516"/>
                <a:gd name="connsiteX16" fmla="*/ 566592 w 577811"/>
                <a:gd name="connsiteY16" fmla="*/ 208439 h 595516"/>
                <a:gd name="connsiteX17" fmla="*/ 572201 w 577811"/>
                <a:gd name="connsiteY17" fmla="*/ 225268 h 595516"/>
                <a:gd name="connsiteX18" fmla="*/ 566592 w 577811"/>
                <a:gd name="connsiteY18" fmla="*/ 286976 h 595516"/>
                <a:gd name="connsiteX19" fmla="*/ 555372 w 577811"/>
                <a:gd name="connsiteY19" fmla="*/ 359904 h 595516"/>
                <a:gd name="connsiteX20" fmla="*/ 544152 w 577811"/>
                <a:gd name="connsiteY20" fmla="*/ 477710 h 595516"/>
                <a:gd name="connsiteX21" fmla="*/ 549762 w 577811"/>
                <a:gd name="connsiteY21" fmla="*/ 528198 h 595516"/>
                <a:gd name="connsiteX22" fmla="*/ 566592 w 577811"/>
                <a:gd name="connsiteY22" fmla="*/ 539418 h 595516"/>
                <a:gd name="connsiteX23" fmla="*/ 549762 w 577811"/>
                <a:gd name="connsiteY23" fmla="*/ 550638 h 595516"/>
                <a:gd name="connsiteX24" fmla="*/ 359028 w 577811"/>
                <a:gd name="connsiteY24" fmla="*/ 550638 h 595516"/>
                <a:gd name="connsiteX25" fmla="*/ 319760 w 577811"/>
                <a:gd name="connsiteY25" fmla="*/ 556248 h 595516"/>
                <a:gd name="connsiteX26" fmla="*/ 241222 w 577811"/>
                <a:gd name="connsiteY26" fmla="*/ 561857 h 595516"/>
                <a:gd name="connsiteX27" fmla="*/ 190734 w 577811"/>
                <a:gd name="connsiteY27" fmla="*/ 578687 h 595516"/>
                <a:gd name="connsiteX28" fmla="*/ 157075 w 577811"/>
                <a:gd name="connsiteY28" fmla="*/ 589906 h 595516"/>
                <a:gd name="connsiteX29" fmla="*/ 134636 w 577811"/>
                <a:gd name="connsiteY29" fmla="*/ 595516 h 595516"/>
                <a:gd name="connsiteX30" fmla="*/ 117806 w 577811"/>
                <a:gd name="connsiteY30" fmla="*/ 589906 h 595516"/>
                <a:gd name="connsiteX31" fmla="*/ 95367 w 577811"/>
                <a:gd name="connsiteY31" fmla="*/ 584297 h 595516"/>
                <a:gd name="connsiteX32" fmla="*/ 44879 w 577811"/>
                <a:gd name="connsiteY32" fmla="*/ 567467 h 595516"/>
                <a:gd name="connsiteX33" fmla="*/ 11220 w 577811"/>
                <a:gd name="connsiteY33" fmla="*/ 550638 h 595516"/>
                <a:gd name="connsiteX34" fmla="*/ 5610 w 577811"/>
                <a:gd name="connsiteY34" fmla="*/ 550638 h 595516"/>
                <a:gd name="connsiteX35" fmla="*/ 0 w 577811"/>
                <a:gd name="connsiteY35" fmla="*/ 96243 h 595516"/>
                <a:gd name="connsiteX0" fmla="*/ 0 w 577811"/>
                <a:gd name="connsiteY0" fmla="*/ 96243 h 595516"/>
                <a:gd name="connsiteX1" fmla="*/ 0 w 577811"/>
                <a:gd name="connsiteY1" fmla="*/ 96243 h 595516"/>
                <a:gd name="connsiteX2" fmla="*/ 190734 w 577811"/>
                <a:gd name="connsiteY2" fmla="*/ 79413 h 595516"/>
                <a:gd name="connsiteX3" fmla="*/ 286101 w 577811"/>
                <a:gd name="connsiteY3" fmla="*/ 73803 h 595516"/>
                <a:gd name="connsiteX4" fmla="*/ 370248 w 577811"/>
                <a:gd name="connsiteY4" fmla="*/ 62584 h 595516"/>
                <a:gd name="connsiteX5" fmla="*/ 387077 w 577811"/>
                <a:gd name="connsiteY5" fmla="*/ 56974 h 595516"/>
                <a:gd name="connsiteX6" fmla="*/ 431956 w 577811"/>
                <a:gd name="connsiteY6" fmla="*/ 51364 h 595516"/>
                <a:gd name="connsiteX7" fmla="*/ 460005 w 577811"/>
                <a:gd name="connsiteY7" fmla="*/ 45754 h 595516"/>
                <a:gd name="connsiteX8" fmla="*/ 510493 w 577811"/>
                <a:gd name="connsiteY8" fmla="*/ 40144 h 595516"/>
                <a:gd name="connsiteX9" fmla="*/ 527323 w 577811"/>
                <a:gd name="connsiteY9" fmla="*/ 34535 h 595516"/>
                <a:gd name="connsiteX10" fmla="*/ 560982 w 577811"/>
                <a:gd name="connsiteY10" fmla="*/ 28925 h 595516"/>
                <a:gd name="connsiteX11" fmla="*/ 577811 w 577811"/>
                <a:gd name="connsiteY11" fmla="*/ 17705 h 595516"/>
                <a:gd name="connsiteX12" fmla="*/ 566592 w 577811"/>
                <a:gd name="connsiteY12" fmla="*/ 876 h 595516"/>
                <a:gd name="connsiteX13" fmla="*/ 549762 w 577811"/>
                <a:gd name="connsiteY13" fmla="*/ 6486 h 595516"/>
                <a:gd name="connsiteX14" fmla="*/ 560982 w 577811"/>
                <a:gd name="connsiteY14" fmla="*/ 40144 h 595516"/>
                <a:gd name="connsiteX15" fmla="*/ 566592 w 577811"/>
                <a:gd name="connsiteY15" fmla="*/ 208439 h 595516"/>
                <a:gd name="connsiteX16" fmla="*/ 572201 w 577811"/>
                <a:gd name="connsiteY16" fmla="*/ 225268 h 595516"/>
                <a:gd name="connsiteX17" fmla="*/ 566592 w 577811"/>
                <a:gd name="connsiteY17" fmla="*/ 286976 h 595516"/>
                <a:gd name="connsiteX18" fmla="*/ 555372 w 577811"/>
                <a:gd name="connsiteY18" fmla="*/ 359904 h 595516"/>
                <a:gd name="connsiteX19" fmla="*/ 544152 w 577811"/>
                <a:gd name="connsiteY19" fmla="*/ 477710 h 595516"/>
                <a:gd name="connsiteX20" fmla="*/ 549762 w 577811"/>
                <a:gd name="connsiteY20" fmla="*/ 528198 h 595516"/>
                <a:gd name="connsiteX21" fmla="*/ 566592 w 577811"/>
                <a:gd name="connsiteY21" fmla="*/ 539418 h 595516"/>
                <a:gd name="connsiteX22" fmla="*/ 549762 w 577811"/>
                <a:gd name="connsiteY22" fmla="*/ 550638 h 595516"/>
                <a:gd name="connsiteX23" fmla="*/ 359028 w 577811"/>
                <a:gd name="connsiteY23" fmla="*/ 550638 h 595516"/>
                <a:gd name="connsiteX24" fmla="*/ 319760 w 577811"/>
                <a:gd name="connsiteY24" fmla="*/ 556248 h 595516"/>
                <a:gd name="connsiteX25" fmla="*/ 241222 w 577811"/>
                <a:gd name="connsiteY25" fmla="*/ 561857 h 595516"/>
                <a:gd name="connsiteX26" fmla="*/ 190734 w 577811"/>
                <a:gd name="connsiteY26" fmla="*/ 578687 h 595516"/>
                <a:gd name="connsiteX27" fmla="*/ 157075 w 577811"/>
                <a:gd name="connsiteY27" fmla="*/ 589906 h 595516"/>
                <a:gd name="connsiteX28" fmla="*/ 134636 w 577811"/>
                <a:gd name="connsiteY28" fmla="*/ 595516 h 595516"/>
                <a:gd name="connsiteX29" fmla="*/ 117806 w 577811"/>
                <a:gd name="connsiteY29" fmla="*/ 589906 h 595516"/>
                <a:gd name="connsiteX30" fmla="*/ 95367 w 577811"/>
                <a:gd name="connsiteY30" fmla="*/ 584297 h 595516"/>
                <a:gd name="connsiteX31" fmla="*/ 44879 w 577811"/>
                <a:gd name="connsiteY31" fmla="*/ 567467 h 595516"/>
                <a:gd name="connsiteX32" fmla="*/ 11220 w 577811"/>
                <a:gd name="connsiteY32" fmla="*/ 550638 h 595516"/>
                <a:gd name="connsiteX33" fmla="*/ 5610 w 577811"/>
                <a:gd name="connsiteY33" fmla="*/ 550638 h 595516"/>
                <a:gd name="connsiteX34" fmla="*/ 0 w 577811"/>
                <a:gd name="connsiteY34" fmla="*/ 96243 h 595516"/>
                <a:gd name="connsiteX0" fmla="*/ 0 w 577811"/>
                <a:gd name="connsiteY0" fmla="*/ 96243 h 595516"/>
                <a:gd name="connsiteX1" fmla="*/ 0 w 577811"/>
                <a:gd name="connsiteY1" fmla="*/ 96243 h 595516"/>
                <a:gd name="connsiteX2" fmla="*/ 286101 w 577811"/>
                <a:gd name="connsiteY2" fmla="*/ 73803 h 595516"/>
                <a:gd name="connsiteX3" fmla="*/ 370248 w 577811"/>
                <a:gd name="connsiteY3" fmla="*/ 62584 h 595516"/>
                <a:gd name="connsiteX4" fmla="*/ 387077 w 577811"/>
                <a:gd name="connsiteY4" fmla="*/ 56974 h 595516"/>
                <a:gd name="connsiteX5" fmla="*/ 431956 w 577811"/>
                <a:gd name="connsiteY5" fmla="*/ 51364 h 595516"/>
                <a:gd name="connsiteX6" fmla="*/ 460005 w 577811"/>
                <a:gd name="connsiteY6" fmla="*/ 45754 h 595516"/>
                <a:gd name="connsiteX7" fmla="*/ 510493 w 577811"/>
                <a:gd name="connsiteY7" fmla="*/ 40144 h 595516"/>
                <a:gd name="connsiteX8" fmla="*/ 527323 w 577811"/>
                <a:gd name="connsiteY8" fmla="*/ 34535 h 595516"/>
                <a:gd name="connsiteX9" fmla="*/ 560982 w 577811"/>
                <a:gd name="connsiteY9" fmla="*/ 28925 h 595516"/>
                <a:gd name="connsiteX10" fmla="*/ 577811 w 577811"/>
                <a:gd name="connsiteY10" fmla="*/ 17705 h 595516"/>
                <a:gd name="connsiteX11" fmla="*/ 566592 w 577811"/>
                <a:gd name="connsiteY11" fmla="*/ 876 h 595516"/>
                <a:gd name="connsiteX12" fmla="*/ 549762 w 577811"/>
                <a:gd name="connsiteY12" fmla="*/ 6486 h 595516"/>
                <a:gd name="connsiteX13" fmla="*/ 560982 w 577811"/>
                <a:gd name="connsiteY13" fmla="*/ 40144 h 595516"/>
                <a:gd name="connsiteX14" fmla="*/ 566592 w 577811"/>
                <a:gd name="connsiteY14" fmla="*/ 208439 h 595516"/>
                <a:gd name="connsiteX15" fmla="*/ 572201 w 577811"/>
                <a:gd name="connsiteY15" fmla="*/ 225268 h 595516"/>
                <a:gd name="connsiteX16" fmla="*/ 566592 w 577811"/>
                <a:gd name="connsiteY16" fmla="*/ 286976 h 595516"/>
                <a:gd name="connsiteX17" fmla="*/ 555372 w 577811"/>
                <a:gd name="connsiteY17" fmla="*/ 359904 h 595516"/>
                <a:gd name="connsiteX18" fmla="*/ 544152 w 577811"/>
                <a:gd name="connsiteY18" fmla="*/ 477710 h 595516"/>
                <a:gd name="connsiteX19" fmla="*/ 549762 w 577811"/>
                <a:gd name="connsiteY19" fmla="*/ 528198 h 595516"/>
                <a:gd name="connsiteX20" fmla="*/ 566592 w 577811"/>
                <a:gd name="connsiteY20" fmla="*/ 539418 h 595516"/>
                <a:gd name="connsiteX21" fmla="*/ 549762 w 577811"/>
                <a:gd name="connsiteY21" fmla="*/ 550638 h 595516"/>
                <a:gd name="connsiteX22" fmla="*/ 359028 w 577811"/>
                <a:gd name="connsiteY22" fmla="*/ 550638 h 595516"/>
                <a:gd name="connsiteX23" fmla="*/ 319760 w 577811"/>
                <a:gd name="connsiteY23" fmla="*/ 556248 h 595516"/>
                <a:gd name="connsiteX24" fmla="*/ 241222 w 577811"/>
                <a:gd name="connsiteY24" fmla="*/ 561857 h 595516"/>
                <a:gd name="connsiteX25" fmla="*/ 190734 w 577811"/>
                <a:gd name="connsiteY25" fmla="*/ 578687 h 595516"/>
                <a:gd name="connsiteX26" fmla="*/ 157075 w 577811"/>
                <a:gd name="connsiteY26" fmla="*/ 589906 h 595516"/>
                <a:gd name="connsiteX27" fmla="*/ 134636 w 577811"/>
                <a:gd name="connsiteY27" fmla="*/ 595516 h 595516"/>
                <a:gd name="connsiteX28" fmla="*/ 117806 w 577811"/>
                <a:gd name="connsiteY28" fmla="*/ 589906 h 595516"/>
                <a:gd name="connsiteX29" fmla="*/ 95367 w 577811"/>
                <a:gd name="connsiteY29" fmla="*/ 584297 h 595516"/>
                <a:gd name="connsiteX30" fmla="*/ 44879 w 577811"/>
                <a:gd name="connsiteY30" fmla="*/ 567467 h 595516"/>
                <a:gd name="connsiteX31" fmla="*/ 11220 w 577811"/>
                <a:gd name="connsiteY31" fmla="*/ 550638 h 595516"/>
                <a:gd name="connsiteX32" fmla="*/ 5610 w 577811"/>
                <a:gd name="connsiteY32" fmla="*/ 550638 h 595516"/>
                <a:gd name="connsiteX33" fmla="*/ 0 w 577811"/>
                <a:gd name="connsiteY33" fmla="*/ 96243 h 595516"/>
                <a:gd name="connsiteX0" fmla="*/ 0 w 577811"/>
                <a:gd name="connsiteY0" fmla="*/ 96243 h 595516"/>
                <a:gd name="connsiteX1" fmla="*/ 0 w 577811"/>
                <a:gd name="connsiteY1" fmla="*/ 96243 h 595516"/>
                <a:gd name="connsiteX2" fmla="*/ 370248 w 577811"/>
                <a:gd name="connsiteY2" fmla="*/ 62584 h 595516"/>
                <a:gd name="connsiteX3" fmla="*/ 387077 w 577811"/>
                <a:gd name="connsiteY3" fmla="*/ 56974 h 595516"/>
                <a:gd name="connsiteX4" fmla="*/ 431956 w 577811"/>
                <a:gd name="connsiteY4" fmla="*/ 51364 h 595516"/>
                <a:gd name="connsiteX5" fmla="*/ 460005 w 577811"/>
                <a:gd name="connsiteY5" fmla="*/ 45754 h 595516"/>
                <a:gd name="connsiteX6" fmla="*/ 510493 w 577811"/>
                <a:gd name="connsiteY6" fmla="*/ 40144 h 595516"/>
                <a:gd name="connsiteX7" fmla="*/ 527323 w 577811"/>
                <a:gd name="connsiteY7" fmla="*/ 34535 h 595516"/>
                <a:gd name="connsiteX8" fmla="*/ 560982 w 577811"/>
                <a:gd name="connsiteY8" fmla="*/ 28925 h 595516"/>
                <a:gd name="connsiteX9" fmla="*/ 577811 w 577811"/>
                <a:gd name="connsiteY9" fmla="*/ 17705 h 595516"/>
                <a:gd name="connsiteX10" fmla="*/ 566592 w 577811"/>
                <a:gd name="connsiteY10" fmla="*/ 876 h 595516"/>
                <a:gd name="connsiteX11" fmla="*/ 549762 w 577811"/>
                <a:gd name="connsiteY11" fmla="*/ 6486 h 595516"/>
                <a:gd name="connsiteX12" fmla="*/ 560982 w 577811"/>
                <a:gd name="connsiteY12" fmla="*/ 40144 h 595516"/>
                <a:gd name="connsiteX13" fmla="*/ 566592 w 577811"/>
                <a:gd name="connsiteY13" fmla="*/ 208439 h 595516"/>
                <a:gd name="connsiteX14" fmla="*/ 572201 w 577811"/>
                <a:gd name="connsiteY14" fmla="*/ 225268 h 595516"/>
                <a:gd name="connsiteX15" fmla="*/ 566592 w 577811"/>
                <a:gd name="connsiteY15" fmla="*/ 286976 h 595516"/>
                <a:gd name="connsiteX16" fmla="*/ 555372 w 577811"/>
                <a:gd name="connsiteY16" fmla="*/ 359904 h 595516"/>
                <a:gd name="connsiteX17" fmla="*/ 544152 w 577811"/>
                <a:gd name="connsiteY17" fmla="*/ 477710 h 595516"/>
                <a:gd name="connsiteX18" fmla="*/ 549762 w 577811"/>
                <a:gd name="connsiteY18" fmla="*/ 528198 h 595516"/>
                <a:gd name="connsiteX19" fmla="*/ 566592 w 577811"/>
                <a:gd name="connsiteY19" fmla="*/ 539418 h 595516"/>
                <a:gd name="connsiteX20" fmla="*/ 549762 w 577811"/>
                <a:gd name="connsiteY20" fmla="*/ 550638 h 595516"/>
                <a:gd name="connsiteX21" fmla="*/ 359028 w 577811"/>
                <a:gd name="connsiteY21" fmla="*/ 550638 h 595516"/>
                <a:gd name="connsiteX22" fmla="*/ 319760 w 577811"/>
                <a:gd name="connsiteY22" fmla="*/ 556248 h 595516"/>
                <a:gd name="connsiteX23" fmla="*/ 241222 w 577811"/>
                <a:gd name="connsiteY23" fmla="*/ 561857 h 595516"/>
                <a:gd name="connsiteX24" fmla="*/ 190734 w 577811"/>
                <a:gd name="connsiteY24" fmla="*/ 578687 h 595516"/>
                <a:gd name="connsiteX25" fmla="*/ 157075 w 577811"/>
                <a:gd name="connsiteY25" fmla="*/ 589906 h 595516"/>
                <a:gd name="connsiteX26" fmla="*/ 134636 w 577811"/>
                <a:gd name="connsiteY26" fmla="*/ 595516 h 595516"/>
                <a:gd name="connsiteX27" fmla="*/ 117806 w 577811"/>
                <a:gd name="connsiteY27" fmla="*/ 589906 h 595516"/>
                <a:gd name="connsiteX28" fmla="*/ 95367 w 577811"/>
                <a:gd name="connsiteY28" fmla="*/ 584297 h 595516"/>
                <a:gd name="connsiteX29" fmla="*/ 44879 w 577811"/>
                <a:gd name="connsiteY29" fmla="*/ 567467 h 595516"/>
                <a:gd name="connsiteX30" fmla="*/ 11220 w 577811"/>
                <a:gd name="connsiteY30" fmla="*/ 550638 h 595516"/>
                <a:gd name="connsiteX31" fmla="*/ 5610 w 577811"/>
                <a:gd name="connsiteY31" fmla="*/ 550638 h 595516"/>
                <a:gd name="connsiteX32" fmla="*/ 0 w 577811"/>
                <a:gd name="connsiteY32" fmla="*/ 96243 h 595516"/>
                <a:gd name="connsiteX0" fmla="*/ 0 w 577811"/>
                <a:gd name="connsiteY0" fmla="*/ 96243 h 595516"/>
                <a:gd name="connsiteX1" fmla="*/ 0 w 577811"/>
                <a:gd name="connsiteY1" fmla="*/ 96243 h 595516"/>
                <a:gd name="connsiteX2" fmla="*/ 387077 w 577811"/>
                <a:gd name="connsiteY2" fmla="*/ 56974 h 595516"/>
                <a:gd name="connsiteX3" fmla="*/ 431956 w 577811"/>
                <a:gd name="connsiteY3" fmla="*/ 51364 h 595516"/>
                <a:gd name="connsiteX4" fmla="*/ 460005 w 577811"/>
                <a:gd name="connsiteY4" fmla="*/ 45754 h 595516"/>
                <a:gd name="connsiteX5" fmla="*/ 510493 w 577811"/>
                <a:gd name="connsiteY5" fmla="*/ 40144 h 595516"/>
                <a:gd name="connsiteX6" fmla="*/ 527323 w 577811"/>
                <a:gd name="connsiteY6" fmla="*/ 34535 h 595516"/>
                <a:gd name="connsiteX7" fmla="*/ 560982 w 577811"/>
                <a:gd name="connsiteY7" fmla="*/ 28925 h 595516"/>
                <a:gd name="connsiteX8" fmla="*/ 577811 w 577811"/>
                <a:gd name="connsiteY8" fmla="*/ 17705 h 595516"/>
                <a:gd name="connsiteX9" fmla="*/ 566592 w 577811"/>
                <a:gd name="connsiteY9" fmla="*/ 876 h 595516"/>
                <a:gd name="connsiteX10" fmla="*/ 549762 w 577811"/>
                <a:gd name="connsiteY10" fmla="*/ 6486 h 595516"/>
                <a:gd name="connsiteX11" fmla="*/ 560982 w 577811"/>
                <a:gd name="connsiteY11" fmla="*/ 40144 h 595516"/>
                <a:gd name="connsiteX12" fmla="*/ 566592 w 577811"/>
                <a:gd name="connsiteY12" fmla="*/ 208439 h 595516"/>
                <a:gd name="connsiteX13" fmla="*/ 572201 w 577811"/>
                <a:gd name="connsiteY13" fmla="*/ 225268 h 595516"/>
                <a:gd name="connsiteX14" fmla="*/ 566592 w 577811"/>
                <a:gd name="connsiteY14" fmla="*/ 286976 h 595516"/>
                <a:gd name="connsiteX15" fmla="*/ 555372 w 577811"/>
                <a:gd name="connsiteY15" fmla="*/ 359904 h 595516"/>
                <a:gd name="connsiteX16" fmla="*/ 544152 w 577811"/>
                <a:gd name="connsiteY16" fmla="*/ 477710 h 595516"/>
                <a:gd name="connsiteX17" fmla="*/ 549762 w 577811"/>
                <a:gd name="connsiteY17" fmla="*/ 528198 h 595516"/>
                <a:gd name="connsiteX18" fmla="*/ 566592 w 577811"/>
                <a:gd name="connsiteY18" fmla="*/ 539418 h 595516"/>
                <a:gd name="connsiteX19" fmla="*/ 549762 w 577811"/>
                <a:gd name="connsiteY19" fmla="*/ 550638 h 595516"/>
                <a:gd name="connsiteX20" fmla="*/ 359028 w 577811"/>
                <a:gd name="connsiteY20" fmla="*/ 550638 h 595516"/>
                <a:gd name="connsiteX21" fmla="*/ 319760 w 577811"/>
                <a:gd name="connsiteY21" fmla="*/ 556248 h 595516"/>
                <a:gd name="connsiteX22" fmla="*/ 241222 w 577811"/>
                <a:gd name="connsiteY22" fmla="*/ 561857 h 595516"/>
                <a:gd name="connsiteX23" fmla="*/ 190734 w 577811"/>
                <a:gd name="connsiteY23" fmla="*/ 578687 h 595516"/>
                <a:gd name="connsiteX24" fmla="*/ 157075 w 577811"/>
                <a:gd name="connsiteY24" fmla="*/ 589906 h 595516"/>
                <a:gd name="connsiteX25" fmla="*/ 134636 w 577811"/>
                <a:gd name="connsiteY25" fmla="*/ 595516 h 595516"/>
                <a:gd name="connsiteX26" fmla="*/ 117806 w 577811"/>
                <a:gd name="connsiteY26" fmla="*/ 589906 h 595516"/>
                <a:gd name="connsiteX27" fmla="*/ 95367 w 577811"/>
                <a:gd name="connsiteY27" fmla="*/ 584297 h 595516"/>
                <a:gd name="connsiteX28" fmla="*/ 44879 w 577811"/>
                <a:gd name="connsiteY28" fmla="*/ 567467 h 595516"/>
                <a:gd name="connsiteX29" fmla="*/ 11220 w 577811"/>
                <a:gd name="connsiteY29" fmla="*/ 550638 h 595516"/>
                <a:gd name="connsiteX30" fmla="*/ 5610 w 577811"/>
                <a:gd name="connsiteY30" fmla="*/ 550638 h 595516"/>
                <a:gd name="connsiteX31" fmla="*/ 0 w 577811"/>
                <a:gd name="connsiteY31" fmla="*/ 96243 h 595516"/>
                <a:gd name="connsiteX0" fmla="*/ 0 w 577811"/>
                <a:gd name="connsiteY0" fmla="*/ 96243 h 595516"/>
                <a:gd name="connsiteX1" fmla="*/ 0 w 577811"/>
                <a:gd name="connsiteY1" fmla="*/ 96243 h 595516"/>
                <a:gd name="connsiteX2" fmla="*/ 431956 w 577811"/>
                <a:gd name="connsiteY2" fmla="*/ 51364 h 595516"/>
                <a:gd name="connsiteX3" fmla="*/ 460005 w 577811"/>
                <a:gd name="connsiteY3" fmla="*/ 45754 h 595516"/>
                <a:gd name="connsiteX4" fmla="*/ 510493 w 577811"/>
                <a:gd name="connsiteY4" fmla="*/ 40144 h 595516"/>
                <a:gd name="connsiteX5" fmla="*/ 527323 w 577811"/>
                <a:gd name="connsiteY5" fmla="*/ 34535 h 595516"/>
                <a:gd name="connsiteX6" fmla="*/ 560982 w 577811"/>
                <a:gd name="connsiteY6" fmla="*/ 28925 h 595516"/>
                <a:gd name="connsiteX7" fmla="*/ 577811 w 577811"/>
                <a:gd name="connsiteY7" fmla="*/ 17705 h 595516"/>
                <a:gd name="connsiteX8" fmla="*/ 566592 w 577811"/>
                <a:gd name="connsiteY8" fmla="*/ 876 h 595516"/>
                <a:gd name="connsiteX9" fmla="*/ 549762 w 577811"/>
                <a:gd name="connsiteY9" fmla="*/ 6486 h 595516"/>
                <a:gd name="connsiteX10" fmla="*/ 560982 w 577811"/>
                <a:gd name="connsiteY10" fmla="*/ 40144 h 595516"/>
                <a:gd name="connsiteX11" fmla="*/ 566592 w 577811"/>
                <a:gd name="connsiteY11" fmla="*/ 208439 h 595516"/>
                <a:gd name="connsiteX12" fmla="*/ 572201 w 577811"/>
                <a:gd name="connsiteY12" fmla="*/ 225268 h 595516"/>
                <a:gd name="connsiteX13" fmla="*/ 566592 w 577811"/>
                <a:gd name="connsiteY13" fmla="*/ 286976 h 595516"/>
                <a:gd name="connsiteX14" fmla="*/ 555372 w 577811"/>
                <a:gd name="connsiteY14" fmla="*/ 359904 h 595516"/>
                <a:gd name="connsiteX15" fmla="*/ 544152 w 577811"/>
                <a:gd name="connsiteY15" fmla="*/ 477710 h 595516"/>
                <a:gd name="connsiteX16" fmla="*/ 549762 w 577811"/>
                <a:gd name="connsiteY16" fmla="*/ 528198 h 595516"/>
                <a:gd name="connsiteX17" fmla="*/ 566592 w 577811"/>
                <a:gd name="connsiteY17" fmla="*/ 539418 h 595516"/>
                <a:gd name="connsiteX18" fmla="*/ 549762 w 577811"/>
                <a:gd name="connsiteY18" fmla="*/ 550638 h 595516"/>
                <a:gd name="connsiteX19" fmla="*/ 359028 w 577811"/>
                <a:gd name="connsiteY19" fmla="*/ 550638 h 595516"/>
                <a:gd name="connsiteX20" fmla="*/ 319760 w 577811"/>
                <a:gd name="connsiteY20" fmla="*/ 556248 h 595516"/>
                <a:gd name="connsiteX21" fmla="*/ 241222 w 577811"/>
                <a:gd name="connsiteY21" fmla="*/ 561857 h 595516"/>
                <a:gd name="connsiteX22" fmla="*/ 190734 w 577811"/>
                <a:gd name="connsiteY22" fmla="*/ 578687 h 595516"/>
                <a:gd name="connsiteX23" fmla="*/ 157075 w 577811"/>
                <a:gd name="connsiteY23" fmla="*/ 589906 h 595516"/>
                <a:gd name="connsiteX24" fmla="*/ 134636 w 577811"/>
                <a:gd name="connsiteY24" fmla="*/ 595516 h 595516"/>
                <a:gd name="connsiteX25" fmla="*/ 117806 w 577811"/>
                <a:gd name="connsiteY25" fmla="*/ 589906 h 595516"/>
                <a:gd name="connsiteX26" fmla="*/ 95367 w 577811"/>
                <a:gd name="connsiteY26" fmla="*/ 584297 h 595516"/>
                <a:gd name="connsiteX27" fmla="*/ 44879 w 577811"/>
                <a:gd name="connsiteY27" fmla="*/ 567467 h 595516"/>
                <a:gd name="connsiteX28" fmla="*/ 11220 w 577811"/>
                <a:gd name="connsiteY28" fmla="*/ 550638 h 595516"/>
                <a:gd name="connsiteX29" fmla="*/ 5610 w 577811"/>
                <a:gd name="connsiteY29" fmla="*/ 550638 h 595516"/>
                <a:gd name="connsiteX30" fmla="*/ 0 w 577811"/>
                <a:gd name="connsiteY30" fmla="*/ 96243 h 595516"/>
                <a:gd name="connsiteX0" fmla="*/ 0 w 577811"/>
                <a:gd name="connsiteY0" fmla="*/ 96243 h 595516"/>
                <a:gd name="connsiteX1" fmla="*/ 0 w 577811"/>
                <a:gd name="connsiteY1" fmla="*/ 96243 h 595516"/>
                <a:gd name="connsiteX2" fmla="*/ 460005 w 577811"/>
                <a:gd name="connsiteY2" fmla="*/ 45754 h 595516"/>
                <a:gd name="connsiteX3" fmla="*/ 510493 w 577811"/>
                <a:gd name="connsiteY3" fmla="*/ 40144 h 595516"/>
                <a:gd name="connsiteX4" fmla="*/ 527323 w 577811"/>
                <a:gd name="connsiteY4" fmla="*/ 34535 h 595516"/>
                <a:gd name="connsiteX5" fmla="*/ 560982 w 577811"/>
                <a:gd name="connsiteY5" fmla="*/ 28925 h 595516"/>
                <a:gd name="connsiteX6" fmla="*/ 577811 w 577811"/>
                <a:gd name="connsiteY6" fmla="*/ 17705 h 595516"/>
                <a:gd name="connsiteX7" fmla="*/ 566592 w 577811"/>
                <a:gd name="connsiteY7" fmla="*/ 876 h 595516"/>
                <a:gd name="connsiteX8" fmla="*/ 549762 w 577811"/>
                <a:gd name="connsiteY8" fmla="*/ 6486 h 595516"/>
                <a:gd name="connsiteX9" fmla="*/ 560982 w 577811"/>
                <a:gd name="connsiteY9" fmla="*/ 40144 h 595516"/>
                <a:gd name="connsiteX10" fmla="*/ 566592 w 577811"/>
                <a:gd name="connsiteY10" fmla="*/ 208439 h 595516"/>
                <a:gd name="connsiteX11" fmla="*/ 572201 w 577811"/>
                <a:gd name="connsiteY11" fmla="*/ 225268 h 595516"/>
                <a:gd name="connsiteX12" fmla="*/ 566592 w 577811"/>
                <a:gd name="connsiteY12" fmla="*/ 286976 h 595516"/>
                <a:gd name="connsiteX13" fmla="*/ 555372 w 577811"/>
                <a:gd name="connsiteY13" fmla="*/ 359904 h 595516"/>
                <a:gd name="connsiteX14" fmla="*/ 544152 w 577811"/>
                <a:gd name="connsiteY14" fmla="*/ 477710 h 595516"/>
                <a:gd name="connsiteX15" fmla="*/ 549762 w 577811"/>
                <a:gd name="connsiteY15" fmla="*/ 528198 h 595516"/>
                <a:gd name="connsiteX16" fmla="*/ 566592 w 577811"/>
                <a:gd name="connsiteY16" fmla="*/ 539418 h 595516"/>
                <a:gd name="connsiteX17" fmla="*/ 549762 w 577811"/>
                <a:gd name="connsiteY17" fmla="*/ 550638 h 595516"/>
                <a:gd name="connsiteX18" fmla="*/ 359028 w 577811"/>
                <a:gd name="connsiteY18" fmla="*/ 550638 h 595516"/>
                <a:gd name="connsiteX19" fmla="*/ 319760 w 577811"/>
                <a:gd name="connsiteY19" fmla="*/ 556248 h 595516"/>
                <a:gd name="connsiteX20" fmla="*/ 241222 w 577811"/>
                <a:gd name="connsiteY20" fmla="*/ 561857 h 595516"/>
                <a:gd name="connsiteX21" fmla="*/ 190734 w 577811"/>
                <a:gd name="connsiteY21" fmla="*/ 578687 h 595516"/>
                <a:gd name="connsiteX22" fmla="*/ 157075 w 577811"/>
                <a:gd name="connsiteY22" fmla="*/ 589906 h 595516"/>
                <a:gd name="connsiteX23" fmla="*/ 134636 w 577811"/>
                <a:gd name="connsiteY23" fmla="*/ 595516 h 595516"/>
                <a:gd name="connsiteX24" fmla="*/ 117806 w 577811"/>
                <a:gd name="connsiteY24" fmla="*/ 589906 h 595516"/>
                <a:gd name="connsiteX25" fmla="*/ 95367 w 577811"/>
                <a:gd name="connsiteY25" fmla="*/ 584297 h 595516"/>
                <a:gd name="connsiteX26" fmla="*/ 44879 w 577811"/>
                <a:gd name="connsiteY26" fmla="*/ 567467 h 595516"/>
                <a:gd name="connsiteX27" fmla="*/ 11220 w 577811"/>
                <a:gd name="connsiteY27" fmla="*/ 550638 h 595516"/>
                <a:gd name="connsiteX28" fmla="*/ 5610 w 577811"/>
                <a:gd name="connsiteY28" fmla="*/ 550638 h 595516"/>
                <a:gd name="connsiteX29" fmla="*/ 0 w 577811"/>
                <a:gd name="connsiteY29" fmla="*/ 96243 h 595516"/>
                <a:gd name="connsiteX0" fmla="*/ 0 w 577811"/>
                <a:gd name="connsiteY0" fmla="*/ 96243 h 595516"/>
                <a:gd name="connsiteX1" fmla="*/ 0 w 577811"/>
                <a:gd name="connsiteY1" fmla="*/ 96243 h 595516"/>
                <a:gd name="connsiteX2" fmla="*/ 510493 w 577811"/>
                <a:gd name="connsiteY2" fmla="*/ 40144 h 595516"/>
                <a:gd name="connsiteX3" fmla="*/ 527323 w 577811"/>
                <a:gd name="connsiteY3" fmla="*/ 34535 h 595516"/>
                <a:gd name="connsiteX4" fmla="*/ 560982 w 577811"/>
                <a:gd name="connsiteY4" fmla="*/ 28925 h 595516"/>
                <a:gd name="connsiteX5" fmla="*/ 577811 w 577811"/>
                <a:gd name="connsiteY5" fmla="*/ 17705 h 595516"/>
                <a:gd name="connsiteX6" fmla="*/ 566592 w 577811"/>
                <a:gd name="connsiteY6" fmla="*/ 876 h 595516"/>
                <a:gd name="connsiteX7" fmla="*/ 549762 w 577811"/>
                <a:gd name="connsiteY7" fmla="*/ 6486 h 595516"/>
                <a:gd name="connsiteX8" fmla="*/ 560982 w 577811"/>
                <a:gd name="connsiteY8" fmla="*/ 40144 h 595516"/>
                <a:gd name="connsiteX9" fmla="*/ 566592 w 577811"/>
                <a:gd name="connsiteY9" fmla="*/ 208439 h 595516"/>
                <a:gd name="connsiteX10" fmla="*/ 572201 w 577811"/>
                <a:gd name="connsiteY10" fmla="*/ 225268 h 595516"/>
                <a:gd name="connsiteX11" fmla="*/ 566592 w 577811"/>
                <a:gd name="connsiteY11" fmla="*/ 286976 h 595516"/>
                <a:gd name="connsiteX12" fmla="*/ 555372 w 577811"/>
                <a:gd name="connsiteY12" fmla="*/ 359904 h 595516"/>
                <a:gd name="connsiteX13" fmla="*/ 544152 w 577811"/>
                <a:gd name="connsiteY13" fmla="*/ 477710 h 595516"/>
                <a:gd name="connsiteX14" fmla="*/ 549762 w 577811"/>
                <a:gd name="connsiteY14" fmla="*/ 528198 h 595516"/>
                <a:gd name="connsiteX15" fmla="*/ 566592 w 577811"/>
                <a:gd name="connsiteY15" fmla="*/ 539418 h 595516"/>
                <a:gd name="connsiteX16" fmla="*/ 549762 w 577811"/>
                <a:gd name="connsiteY16" fmla="*/ 550638 h 595516"/>
                <a:gd name="connsiteX17" fmla="*/ 359028 w 577811"/>
                <a:gd name="connsiteY17" fmla="*/ 550638 h 595516"/>
                <a:gd name="connsiteX18" fmla="*/ 319760 w 577811"/>
                <a:gd name="connsiteY18" fmla="*/ 556248 h 595516"/>
                <a:gd name="connsiteX19" fmla="*/ 241222 w 577811"/>
                <a:gd name="connsiteY19" fmla="*/ 561857 h 595516"/>
                <a:gd name="connsiteX20" fmla="*/ 190734 w 577811"/>
                <a:gd name="connsiteY20" fmla="*/ 578687 h 595516"/>
                <a:gd name="connsiteX21" fmla="*/ 157075 w 577811"/>
                <a:gd name="connsiteY21" fmla="*/ 589906 h 595516"/>
                <a:gd name="connsiteX22" fmla="*/ 134636 w 577811"/>
                <a:gd name="connsiteY22" fmla="*/ 595516 h 595516"/>
                <a:gd name="connsiteX23" fmla="*/ 117806 w 577811"/>
                <a:gd name="connsiteY23" fmla="*/ 589906 h 595516"/>
                <a:gd name="connsiteX24" fmla="*/ 95367 w 577811"/>
                <a:gd name="connsiteY24" fmla="*/ 584297 h 595516"/>
                <a:gd name="connsiteX25" fmla="*/ 44879 w 577811"/>
                <a:gd name="connsiteY25" fmla="*/ 567467 h 595516"/>
                <a:gd name="connsiteX26" fmla="*/ 11220 w 577811"/>
                <a:gd name="connsiteY26" fmla="*/ 550638 h 595516"/>
                <a:gd name="connsiteX27" fmla="*/ 5610 w 577811"/>
                <a:gd name="connsiteY27" fmla="*/ 550638 h 595516"/>
                <a:gd name="connsiteX28" fmla="*/ 0 w 577811"/>
                <a:gd name="connsiteY28" fmla="*/ 96243 h 595516"/>
                <a:gd name="connsiteX0" fmla="*/ 0 w 577811"/>
                <a:gd name="connsiteY0" fmla="*/ 96243 h 595516"/>
                <a:gd name="connsiteX1" fmla="*/ 0 w 577811"/>
                <a:gd name="connsiteY1" fmla="*/ 96243 h 595516"/>
                <a:gd name="connsiteX2" fmla="*/ 527323 w 577811"/>
                <a:gd name="connsiteY2" fmla="*/ 34535 h 595516"/>
                <a:gd name="connsiteX3" fmla="*/ 560982 w 577811"/>
                <a:gd name="connsiteY3" fmla="*/ 28925 h 595516"/>
                <a:gd name="connsiteX4" fmla="*/ 577811 w 577811"/>
                <a:gd name="connsiteY4" fmla="*/ 17705 h 595516"/>
                <a:gd name="connsiteX5" fmla="*/ 566592 w 577811"/>
                <a:gd name="connsiteY5" fmla="*/ 876 h 595516"/>
                <a:gd name="connsiteX6" fmla="*/ 549762 w 577811"/>
                <a:gd name="connsiteY6" fmla="*/ 6486 h 595516"/>
                <a:gd name="connsiteX7" fmla="*/ 560982 w 577811"/>
                <a:gd name="connsiteY7" fmla="*/ 40144 h 595516"/>
                <a:gd name="connsiteX8" fmla="*/ 566592 w 577811"/>
                <a:gd name="connsiteY8" fmla="*/ 208439 h 595516"/>
                <a:gd name="connsiteX9" fmla="*/ 572201 w 577811"/>
                <a:gd name="connsiteY9" fmla="*/ 225268 h 595516"/>
                <a:gd name="connsiteX10" fmla="*/ 566592 w 577811"/>
                <a:gd name="connsiteY10" fmla="*/ 286976 h 595516"/>
                <a:gd name="connsiteX11" fmla="*/ 555372 w 577811"/>
                <a:gd name="connsiteY11" fmla="*/ 359904 h 595516"/>
                <a:gd name="connsiteX12" fmla="*/ 544152 w 577811"/>
                <a:gd name="connsiteY12" fmla="*/ 477710 h 595516"/>
                <a:gd name="connsiteX13" fmla="*/ 549762 w 577811"/>
                <a:gd name="connsiteY13" fmla="*/ 528198 h 595516"/>
                <a:gd name="connsiteX14" fmla="*/ 566592 w 577811"/>
                <a:gd name="connsiteY14" fmla="*/ 539418 h 595516"/>
                <a:gd name="connsiteX15" fmla="*/ 549762 w 577811"/>
                <a:gd name="connsiteY15" fmla="*/ 550638 h 595516"/>
                <a:gd name="connsiteX16" fmla="*/ 359028 w 577811"/>
                <a:gd name="connsiteY16" fmla="*/ 550638 h 595516"/>
                <a:gd name="connsiteX17" fmla="*/ 319760 w 577811"/>
                <a:gd name="connsiteY17" fmla="*/ 556248 h 595516"/>
                <a:gd name="connsiteX18" fmla="*/ 241222 w 577811"/>
                <a:gd name="connsiteY18" fmla="*/ 561857 h 595516"/>
                <a:gd name="connsiteX19" fmla="*/ 190734 w 577811"/>
                <a:gd name="connsiteY19" fmla="*/ 578687 h 595516"/>
                <a:gd name="connsiteX20" fmla="*/ 157075 w 577811"/>
                <a:gd name="connsiteY20" fmla="*/ 589906 h 595516"/>
                <a:gd name="connsiteX21" fmla="*/ 134636 w 577811"/>
                <a:gd name="connsiteY21" fmla="*/ 595516 h 595516"/>
                <a:gd name="connsiteX22" fmla="*/ 117806 w 577811"/>
                <a:gd name="connsiteY22" fmla="*/ 589906 h 595516"/>
                <a:gd name="connsiteX23" fmla="*/ 95367 w 577811"/>
                <a:gd name="connsiteY23" fmla="*/ 584297 h 595516"/>
                <a:gd name="connsiteX24" fmla="*/ 44879 w 577811"/>
                <a:gd name="connsiteY24" fmla="*/ 567467 h 595516"/>
                <a:gd name="connsiteX25" fmla="*/ 11220 w 577811"/>
                <a:gd name="connsiteY25" fmla="*/ 550638 h 595516"/>
                <a:gd name="connsiteX26" fmla="*/ 5610 w 577811"/>
                <a:gd name="connsiteY26" fmla="*/ 550638 h 595516"/>
                <a:gd name="connsiteX27" fmla="*/ 0 w 577811"/>
                <a:gd name="connsiteY27" fmla="*/ 96243 h 595516"/>
                <a:gd name="connsiteX0" fmla="*/ 0 w 577811"/>
                <a:gd name="connsiteY0" fmla="*/ 96243 h 595516"/>
                <a:gd name="connsiteX1" fmla="*/ 0 w 577811"/>
                <a:gd name="connsiteY1" fmla="*/ 96243 h 595516"/>
                <a:gd name="connsiteX2" fmla="*/ 560982 w 577811"/>
                <a:gd name="connsiteY2" fmla="*/ 28925 h 595516"/>
                <a:gd name="connsiteX3" fmla="*/ 577811 w 577811"/>
                <a:gd name="connsiteY3" fmla="*/ 17705 h 595516"/>
                <a:gd name="connsiteX4" fmla="*/ 566592 w 577811"/>
                <a:gd name="connsiteY4" fmla="*/ 876 h 595516"/>
                <a:gd name="connsiteX5" fmla="*/ 549762 w 577811"/>
                <a:gd name="connsiteY5" fmla="*/ 6486 h 595516"/>
                <a:gd name="connsiteX6" fmla="*/ 560982 w 577811"/>
                <a:gd name="connsiteY6" fmla="*/ 40144 h 595516"/>
                <a:gd name="connsiteX7" fmla="*/ 566592 w 577811"/>
                <a:gd name="connsiteY7" fmla="*/ 208439 h 595516"/>
                <a:gd name="connsiteX8" fmla="*/ 572201 w 577811"/>
                <a:gd name="connsiteY8" fmla="*/ 225268 h 595516"/>
                <a:gd name="connsiteX9" fmla="*/ 566592 w 577811"/>
                <a:gd name="connsiteY9" fmla="*/ 286976 h 595516"/>
                <a:gd name="connsiteX10" fmla="*/ 555372 w 577811"/>
                <a:gd name="connsiteY10" fmla="*/ 359904 h 595516"/>
                <a:gd name="connsiteX11" fmla="*/ 544152 w 577811"/>
                <a:gd name="connsiteY11" fmla="*/ 477710 h 595516"/>
                <a:gd name="connsiteX12" fmla="*/ 549762 w 577811"/>
                <a:gd name="connsiteY12" fmla="*/ 528198 h 595516"/>
                <a:gd name="connsiteX13" fmla="*/ 566592 w 577811"/>
                <a:gd name="connsiteY13" fmla="*/ 539418 h 595516"/>
                <a:gd name="connsiteX14" fmla="*/ 549762 w 577811"/>
                <a:gd name="connsiteY14" fmla="*/ 550638 h 595516"/>
                <a:gd name="connsiteX15" fmla="*/ 359028 w 577811"/>
                <a:gd name="connsiteY15" fmla="*/ 550638 h 595516"/>
                <a:gd name="connsiteX16" fmla="*/ 319760 w 577811"/>
                <a:gd name="connsiteY16" fmla="*/ 556248 h 595516"/>
                <a:gd name="connsiteX17" fmla="*/ 241222 w 577811"/>
                <a:gd name="connsiteY17" fmla="*/ 561857 h 595516"/>
                <a:gd name="connsiteX18" fmla="*/ 190734 w 577811"/>
                <a:gd name="connsiteY18" fmla="*/ 578687 h 595516"/>
                <a:gd name="connsiteX19" fmla="*/ 157075 w 577811"/>
                <a:gd name="connsiteY19" fmla="*/ 589906 h 595516"/>
                <a:gd name="connsiteX20" fmla="*/ 134636 w 577811"/>
                <a:gd name="connsiteY20" fmla="*/ 595516 h 595516"/>
                <a:gd name="connsiteX21" fmla="*/ 117806 w 577811"/>
                <a:gd name="connsiteY21" fmla="*/ 589906 h 595516"/>
                <a:gd name="connsiteX22" fmla="*/ 95367 w 577811"/>
                <a:gd name="connsiteY22" fmla="*/ 584297 h 595516"/>
                <a:gd name="connsiteX23" fmla="*/ 44879 w 577811"/>
                <a:gd name="connsiteY23" fmla="*/ 567467 h 595516"/>
                <a:gd name="connsiteX24" fmla="*/ 11220 w 577811"/>
                <a:gd name="connsiteY24" fmla="*/ 550638 h 595516"/>
                <a:gd name="connsiteX25" fmla="*/ 5610 w 577811"/>
                <a:gd name="connsiteY25" fmla="*/ 550638 h 595516"/>
                <a:gd name="connsiteX26" fmla="*/ 0 w 577811"/>
                <a:gd name="connsiteY26" fmla="*/ 96243 h 595516"/>
                <a:gd name="connsiteX0" fmla="*/ 0 w 577811"/>
                <a:gd name="connsiteY0" fmla="*/ 90510 h 589783"/>
                <a:gd name="connsiteX1" fmla="*/ 0 w 577811"/>
                <a:gd name="connsiteY1" fmla="*/ 90510 h 589783"/>
                <a:gd name="connsiteX2" fmla="*/ 560982 w 577811"/>
                <a:gd name="connsiteY2" fmla="*/ 23192 h 589783"/>
                <a:gd name="connsiteX3" fmla="*/ 577811 w 577811"/>
                <a:gd name="connsiteY3" fmla="*/ 11972 h 589783"/>
                <a:gd name="connsiteX4" fmla="*/ 549762 w 577811"/>
                <a:gd name="connsiteY4" fmla="*/ 753 h 589783"/>
                <a:gd name="connsiteX5" fmla="*/ 560982 w 577811"/>
                <a:gd name="connsiteY5" fmla="*/ 34411 h 589783"/>
                <a:gd name="connsiteX6" fmla="*/ 566592 w 577811"/>
                <a:gd name="connsiteY6" fmla="*/ 202706 h 589783"/>
                <a:gd name="connsiteX7" fmla="*/ 572201 w 577811"/>
                <a:gd name="connsiteY7" fmla="*/ 219535 h 589783"/>
                <a:gd name="connsiteX8" fmla="*/ 566592 w 577811"/>
                <a:gd name="connsiteY8" fmla="*/ 281243 h 589783"/>
                <a:gd name="connsiteX9" fmla="*/ 555372 w 577811"/>
                <a:gd name="connsiteY9" fmla="*/ 354171 h 589783"/>
                <a:gd name="connsiteX10" fmla="*/ 544152 w 577811"/>
                <a:gd name="connsiteY10" fmla="*/ 471977 h 589783"/>
                <a:gd name="connsiteX11" fmla="*/ 549762 w 577811"/>
                <a:gd name="connsiteY11" fmla="*/ 522465 h 589783"/>
                <a:gd name="connsiteX12" fmla="*/ 566592 w 577811"/>
                <a:gd name="connsiteY12" fmla="*/ 533685 h 589783"/>
                <a:gd name="connsiteX13" fmla="*/ 549762 w 577811"/>
                <a:gd name="connsiteY13" fmla="*/ 544905 h 589783"/>
                <a:gd name="connsiteX14" fmla="*/ 359028 w 577811"/>
                <a:gd name="connsiteY14" fmla="*/ 544905 h 589783"/>
                <a:gd name="connsiteX15" fmla="*/ 319760 w 577811"/>
                <a:gd name="connsiteY15" fmla="*/ 550515 h 589783"/>
                <a:gd name="connsiteX16" fmla="*/ 241222 w 577811"/>
                <a:gd name="connsiteY16" fmla="*/ 556124 h 589783"/>
                <a:gd name="connsiteX17" fmla="*/ 190734 w 577811"/>
                <a:gd name="connsiteY17" fmla="*/ 572954 h 589783"/>
                <a:gd name="connsiteX18" fmla="*/ 157075 w 577811"/>
                <a:gd name="connsiteY18" fmla="*/ 584173 h 589783"/>
                <a:gd name="connsiteX19" fmla="*/ 134636 w 577811"/>
                <a:gd name="connsiteY19" fmla="*/ 589783 h 589783"/>
                <a:gd name="connsiteX20" fmla="*/ 117806 w 577811"/>
                <a:gd name="connsiteY20" fmla="*/ 584173 h 589783"/>
                <a:gd name="connsiteX21" fmla="*/ 95367 w 577811"/>
                <a:gd name="connsiteY21" fmla="*/ 578564 h 589783"/>
                <a:gd name="connsiteX22" fmla="*/ 44879 w 577811"/>
                <a:gd name="connsiteY22" fmla="*/ 561734 h 589783"/>
                <a:gd name="connsiteX23" fmla="*/ 11220 w 577811"/>
                <a:gd name="connsiteY23" fmla="*/ 544905 h 589783"/>
                <a:gd name="connsiteX24" fmla="*/ 5610 w 577811"/>
                <a:gd name="connsiteY24" fmla="*/ 544905 h 589783"/>
                <a:gd name="connsiteX25" fmla="*/ 0 w 577811"/>
                <a:gd name="connsiteY25" fmla="*/ 90510 h 589783"/>
                <a:gd name="connsiteX0" fmla="*/ 0 w 695065"/>
                <a:gd name="connsiteY0" fmla="*/ 78614 h 577887"/>
                <a:gd name="connsiteX1" fmla="*/ 0 w 695065"/>
                <a:gd name="connsiteY1" fmla="*/ 78614 h 577887"/>
                <a:gd name="connsiteX2" fmla="*/ 560982 w 695065"/>
                <a:gd name="connsiteY2" fmla="*/ 11296 h 577887"/>
                <a:gd name="connsiteX3" fmla="*/ 577811 w 695065"/>
                <a:gd name="connsiteY3" fmla="*/ 76 h 577887"/>
                <a:gd name="connsiteX4" fmla="*/ 695018 w 695065"/>
                <a:gd name="connsiteY4" fmla="*/ 136494 h 577887"/>
                <a:gd name="connsiteX5" fmla="*/ 560982 w 695065"/>
                <a:gd name="connsiteY5" fmla="*/ 22515 h 577887"/>
                <a:gd name="connsiteX6" fmla="*/ 566592 w 695065"/>
                <a:gd name="connsiteY6" fmla="*/ 190810 h 577887"/>
                <a:gd name="connsiteX7" fmla="*/ 572201 w 695065"/>
                <a:gd name="connsiteY7" fmla="*/ 207639 h 577887"/>
                <a:gd name="connsiteX8" fmla="*/ 566592 w 695065"/>
                <a:gd name="connsiteY8" fmla="*/ 269347 h 577887"/>
                <a:gd name="connsiteX9" fmla="*/ 555372 w 695065"/>
                <a:gd name="connsiteY9" fmla="*/ 342275 h 577887"/>
                <a:gd name="connsiteX10" fmla="*/ 544152 w 695065"/>
                <a:gd name="connsiteY10" fmla="*/ 460081 h 577887"/>
                <a:gd name="connsiteX11" fmla="*/ 549762 w 695065"/>
                <a:gd name="connsiteY11" fmla="*/ 510569 h 577887"/>
                <a:gd name="connsiteX12" fmla="*/ 566592 w 695065"/>
                <a:gd name="connsiteY12" fmla="*/ 521789 h 577887"/>
                <a:gd name="connsiteX13" fmla="*/ 549762 w 695065"/>
                <a:gd name="connsiteY13" fmla="*/ 533009 h 577887"/>
                <a:gd name="connsiteX14" fmla="*/ 359028 w 695065"/>
                <a:gd name="connsiteY14" fmla="*/ 533009 h 577887"/>
                <a:gd name="connsiteX15" fmla="*/ 319760 w 695065"/>
                <a:gd name="connsiteY15" fmla="*/ 538619 h 577887"/>
                <a:gd name="connsiteX16" fmla="*/ 241222 w 695065"/>
                <a:gd name="connsiteY16" fmla="*/ 544228 h 577887"/>
                <a:gd name="connsiteX17" fmla="*/ 190734 w 695065"/>
                <a:gd name="connsiteY17" fmla="*/ 561058 h 577887"/>
                <a:gd name="connsiteX18" fmla="*/ 157075 w 695065"/>
                <a:gd name="connsiteY18" fmla="*/ 572277 h 577887"/>
                <a:gd name="connsiteX19" fmla="*/ 134636 w 695065"/>
                <a:gd name="connsiteY19" fmla="*/ 577887 h 577887"/>
                <a:gd name="connsiteX20" fmla="*/ 117806 w 695065"/>
                <a:gd name="connsiteY20" fmla="*/ 572277 h 577887"/>
                <a:gd name="connsiteX21" fmla="*/ 95367 w 695065"/>
                <a:gd name="connsiteY21" fmla="*/ 566668 h 577887"/>
                <a:gd name="connsiteX22" fmla="*/ 44879 w 695065"/>
                <a:gd name="connsiteY22" fmla="*/ 549838 h 577887"/>
                <a:gd name="connsiteX23" fmla="*/ 11220 w 695065"/>
                <a:gd name="connsiteY23" fmla="*/ 533009 h 577887"/>
                <a:gd name="connsiteX24" fmla="*/ 5610 w 695065"/>
                <a:gd name="connsiteY24" fmla="*/ 533009 h 577887"/>
                <a:gd name="connsiteX25" fmla="*/ 0 w 695065"/>
                <a:gd name="connsiteY25" fmla="*/ 78614 h 577887"/>
                <a:gd name="connsiteX0" fmla="*/ 0 w 577811"/>
                <a:gd name="connsiteY0" fmla="*/ 78998 h 578271"/>
                <a:gd name="connsiteX1" fmla="*/ 0 w 577811"/>
                <a:gd name="connsiteY1" fmla="*/ 78998 h 578271"/>
                <a:gd name="connsiteX2" fmla="*/ 560982 w 577811"/>
                <a:gd name="connsiteY2" fmla="*/ 11680 h 578271"/>
                <a:gd name="connsiteX3" fmla="*/ 577811 w 577811"/>
                <a:gd name="connsiteY3" fmla="*/ 460 h 578271"/>
                <a:gd name="connsiteX4" fmla="*/ 560982 w 577811"/>
                <a:gd name="connsiteY4" fmla="*/ 22899 h 578271"/>
                <a:gd name="connsiteX5" fmla="*/ 566592 w 577811"/>
                <a:gd name="connsiteY5" fmla="*/ 191194 h 578271"/>
                <a:gd name="connsiteX6" fmla="*/ 572201 w 577811"/>
                <a:gd name="connsiteY6" fmla="*/ 208023 h 578271"/>
                <a:gd name="connsiteX7" fmla="*/ 566592 w 577811"/>
                <a:gd name="connsiteY7" fmla="*/ 269731 h 578271"/>
                <a:gd name="connsiteX8" fmla="*/ 555372 w 577811"/>
                <a:gd name="connsiteY8" fmla="*/ 342659 h 578271"/>
                <a:gd name="connsiteX9" fmla="*/ 544152 w 577811"/>
                <a:gd name="connsiteY9" fmla="*/ 460465 h 578271"/>
                <a:gd name="connsiteX10" fmla="*/ 549762 w 577811"/>
                <a:gd name="connsiteY10" fmla="*/ 510953 h 578271"/>
                <a:gd name="connsiteX11" fmla="*/ 566592 w 577811"/>
                <a:gd name="connsiteY11" fmla="*/ 522173 h 578271"/>
                <a:gd name="connsiteX12" fmla="*/ 549762 w 577811"/>
                <a:gd name="connsiteY12" fmla="*/ 533393 h 578271"/>
                <a:gd name="connsiteX13" fmla="*/ 359028 w 577811"/>
                <a:gd name="connsiteY13" fmla="*/ 533393 h 578271"/>
                <a:gd name="connsiteX14" fmla="*/ 319760 w 577811"/>
                <a:gd name="connsiteY14" fmla="*/ 539003 h 578271"/>
                <a:gd name="connsiteX15" fmla="*/ 241222 w 577811"/>
                <a:gd name="connsiteY15" fmla="*/ 544612 h 578271"/>
                <a:gd name="connsiteX16" fmla="*/ 190734 w 577811"/>
                <a:gd name="connsiteY16" fmla="*/ 561442 h 578271"/>
                <a:gd name="connsiteX17" fmla="*/ 157075 w 577811"/>
                <a:gd name="connsiteY17" fmla="*/ 572661 h 578271"/>
                <a:gd name="connsiteX18" fmla="*/ 134636 w 577811"/>
                <a:gd name="connsiteY18" fmla="*/ 578271 h 578271"/>
                <a:gd name="connsiteX19" fmla="*/ 117806 w 577811"/>
                <a:gd name="connsiteY19" fmla="*/ 572661 h 578271"/>
                <a:gd name="connsiteX20" fmla="*/ 95367 w 577811"/>
                <a:gd name="connsiteY20" fmla="*/ 567052 h 578271"/>
                <a:gd name="connsiteX21" fmla="*/ 44879 w 577811"/>
                <a:gd name="connsiteY21" fmla="*/ 550222 h 578271"/>
                <a:gd name="connsiteX22" fmla="*/ 11220 w 577811"/>
                <a:gd name="connsiteY22" fmla="*/ 533393 h 578271"/>
                <a:gd name="connsiteX23" fmla="*/ 5610 w 577811"/>
                <a:gd name="connsiteY23" fmla="*/ 533393 h 578271"/>
                <a:gd name="connsiteX24" fmla="*/ 0 w 577811"/>
                <a:gd name="connsiteY24" fmla="*/ 78998 h 578271"/>
                <a:gd name="connsiteX0" fmla="*/ 0 w 577811"/>
                <a:gd name="connsiteY0" fmla="*/ 78998 h 578271"/>
                <a:gd name="connsiteX1" fmla="*/ 0 w 577811"/>
                <a:gd name="connsiteY1" fmla="*/ 78998 h 578271"/>
                <a:gd name="connsiteX2" fmla="*/ 577811 w 577811"/>
                <a:gd name="connsiteY2" fmla="*/ 460 h 578271"/>
                <a:gd name="connsiteX3" fmla="*/ 560982 w 577811"/>
                <a:gd name="connsiteY3" fmla="*/ 22899 h 578271"/>
                <a:gd name="connsiteX4" fmla="*/ 566592 w 577811"/>
                <a:gd name="connsiteY4" fmla="*/ 191194 h 578271"/>
                <a:gd name="connsiteX5" fmla="*/ 572201 w 577811"/>
                <a:gd name="connsiteY5" fmla="*/ 208023 h 578271"/>
                <a:gd name="connsiteX6" fmla="*/ 566592 w 577811"/>
                <a:gd name="connsiteY6" fmla="*/ 269731 h 578271"/>
                <a:gd name="connsiteX7" fmla="*/ 555372 w 577811"/>
                <a:gd name="connsiteY7" fmla="*/ 342659 h 578271"/>
                <a:gd name="connsiteX8" fmla="*/ 544152 w 577811"/>
                <a:gd name="connsiteY8" fmla="*/ 460465 h 578271"/>
                <a:gd name="connsiteX9" fmla="*/ 549762 w 577811"/>
                <a:gd name="connsiteY9" fmla="*/ 510953 h 578271"/>
                <a:gd name="connsiteX10" fmla="*/ 566592 w 577811"/>
                <a:gd name="connsiteY10" fmla="*/ 522173 h 578271"/>
                <a:gd name="connsiteX11" fmla="*/ 549762 w 577811"/>
                <a:gd name="connsiteY11" fmla="*/ 533393 h 578271"/>
                <a:gd name="connsiteX12" fmla="*/ 359028 w 577811"/>
                <a:gd name="connsiteY12" fmla="*/ 533393 h 578271"/>
                <a:gd name="connsiteX13" fmla="*/ 319760 w 577811"/>
                <a:gd name="connsiteY13" fmla="*/ 539003 h 578271"/>
                <a:gd name="connsiteX14" fmla="*/ 241222 w 577811"/>
                <a:gd name="connsiteY14" fmla="*/ 544612 h 578271"/>
                <a:gd name="connsiteX15" fmla="*/ 190734 w 577811"/>
                <a:gd name="connsiteY15" fmla="*/ 561442 h 578271"/>
                <a:gd name="connsiteX16" fmla="*/ 157075 w 577811"/>
                <a:gd name="connsiteY16" fmla="*/ 572661 h 578271"/>
                <a:gd name="connsiteX17" fmla="*/ 134636 w 577811"/>
                <a:gd name="connsiteY17" fmla="*/ 578271 h 578271"/>
                <a:gd name="connsiteX18" fmla="*/ 117806 w 577811"/>
                <a:gd name="connsiteY18" fmla="*/ 572661 h 578271"/>
                <a:gd name="connsiteX19" fmla="*/ 95367 w 577811"/>
                <a:gd name="connsiteY19" fmla="*/ 567052 h 578271"/>
                <a:gd name="connsiteX20" fmla="*/ 44879 w 577811"/>
                <a:gd name="connsiteY20" fmla="*/ 550222 h 578271"/>
                <a:gd name="connsiteX21" fmla="*/ 11220 w 577811"/>
                <a:gd name="connsiteY21" fmla="*/ 533393 h 578271"/>
                <a:gd name="connsiteX22" fmla="*/ 5610 w 577811"/>
                <a:gd name="connsiteY22" fmla="*/ 533393 h 578271"/>
                <a:gd name="connsiteX23" fmla="*/ 0 w 577811"/>
                <a:gd name="connsiteY23" fmla="*/ 78998 h 578271"/>
                <a:gd name="connsiteX0" fmla="*/ 0 w 617242"/>
                <a:gd name="connsiteY0" fmla="*/ 78538 h 577811"/>
                <a:gd name="connsiteX1" fmla="*/ 0 w 617242"/>
                <a:gd name="connsiteY1" fmla="*/ 78538 h 577811"/>
                <a:gd name="connsiteX2" fmla="*/ 577811 w 617242"/>
                <a:gd name="connsiteY2" fmla="*/ 0 h 577811"/>
                <a:gd name="connsiteX3" fmla="*/ 566592 w 617242"/>
                <a:gd name="connsiteY3" fmla="*/ 190734 h 577811"/>
                <a:gd name="connsiteX4" fmla="*/ 572201 w 617242"/>
                <a:gd name="connsiteY4" fmla="*/ 207563 h 577811"/>
                <a:gd name="connsiteX5" fmla="*/ 566592 w 617242"/>
                <a:gd name="connsiteY5" fmla="*/ 269271 h 577811"/>
                <a:gd name="connsiteX6" fmla="*/ 555372 w 617242"/>
                <a:gd name="connsiteY6" fmla="*/ 342199 h 577811"/>
                <a:gd name="connsiteX7" fmla="*/ 544152 w 617242"/>
                <a:gd name="connsiteY7" fmla="*/ 460005 h 577811"/>
                <a:gd name="connsiteX8" fmla="*/ 549762 w 617242"/>
                <a:gd name="connsiteY8" fmla="*/ 510493 h 577811"/>
                <a:gd name="connsiteX9" fmla="*/ 566592 w 617242"/>
                <a:gd name="connsiteY9" fmla="*/ 521713 h 577811"/>
                <a:gd name="connsiteX10" fmla="*/ 549762 w 617242"/>
                <a:gd name="connsiteY10" fmla="*/ 532933 h 577811"/>
                <a:gd name="connsiteX11" fmla="*/ 359028 w 617242"/>
                <a:gd name="connsiteY11" fmla="*/ 532933 h 577811"/>
                <a:gd name="connsiteX12" fmla="*/ 319760 w 617242"/>
                <a:gd name="connsiteY12" fmla="*/ 538543 h 577811"/>
                <a:gd name="connsiteX13" fmla="*/ 241222 w 617242"/>
                <a:gd name="connsiteY13" fmla="*/ 544152 h 577811"/>
                <a:gd name="connsiteX14" fmla="*/ 190734 w 617242"/>
                <a:gd name="connsiteY14" fmla="*/ 560982 h 577811"/>
                <a:gd name="connsiteX15" fmla="*/ 157075 w 617242"/>
                <a:gd name="connsiteY15" fmla="*/ 572201 h 577811"/>
                <a:gd name="connsiteX16" fmla="*/ 134636 w 617242"/>
                <a:gd name="connsiteY16" fmla="*/ 577811 h 577811"/>
                <a:gd name="connsiteX17" fmla="*/ 117806 w 617242"/>
                <a:gd name="connsiteY17" fmla="*/ 572201 h 577811"/>
                <a:gd name="connsiteX18" fmla="*/ 95367 w 617242"/>
                <a:gd name="connsiteY18" fmla="*/ 566592 h 577811"/>
                <a:gd name="connsiteX19" fmla="*/ 44879 w 617242"/>
                <a:gd name="connsiteY19" fmla="*/ 549762 h 577811"/>
                <a:gd name="connsiteX20" fmla="*/ 11220 w 617242"/>
                <a:gd name="connsiteY20" fmla="*/ 532933 h 577811"/>
                <a:gd name="connsiteX21" fmla="*/ 5610 w 617242"/>
                <a:gd name="connsiteY21" fmla="*/ 532933 h 577811"/>
                <a:gd name="connsiteX22" fmla="*/ 0 w 617242"/>
                <a:gd name="connsiteY22" fmla="*/ 78538 h 577811"/>
                <a:gd name="connsiteX0" fmla="*/ 0 w 580619"/>
                <a:gd name="connsiteY0" fmla="*/ 21388 h 520661"/>
                <a:gd name="connsiteX1" fmla="*/ 0 w 580619"/>
                <a:gd name="connsiteY1" fmla="*/ 21388 h 520661"/>
                <a:gd name="connsiteX2" fmla="*/ 523043 w 580619"/>
                <a:gd name="connsiteY2" fmla="*/ 0 h 520661"/>
                <a:gd name="connsiteX3" fmla="*/ 566592 w 580619"/>
                <a:gd name="connsiteY3" fmla="*/ 133584 h 520661"/>
                <a:gd name="connsiteX4" fmla="*/ 572201 w 580619"/>
                <a:gd name="connsiteY4" fmla="*/ 150413 h 520661"/>
                <a:gd name="connsiteX5" fmla="*/ 566592 w 580619"/>
                <a:gd name="connsiteY5" fmla="*/ 212121 h 520661"/>
                <a:gd name="connsiteX6" fmla="*/ 555372 w 580619"/>
                <a:gd name="connsiteY6" fmla="*/ 285049 h 520661"/>
                <a:gd name="connsiteX7" fmla="*/ 544152 w 580619"/>
                <a:gd name="connsiteY7" fmla="*/ 402855 h 520661"/>
                <a:gd name="connsiteX8" fmla="*/ 549762 w 580619"/>
                <a:gd name="connsiteY8" fmla="*/ 453343 h 520661"/>
                <a:gd name="connsiteX9" fmla="*/ 566592 w 580619"/>
                <a:gd name="connsiteY9" fmla="*/ 464563 h 520661"/>
                <a:gd name="connsiteX10" fmla="*/ 549762 w 580619"/>
                <a:gd name="connsiteY10" fmla="*/ 475783 h 520661"/>
                <a:gd name="connsiteX11" fmla="*/ 359028 w 580619"/>
                <a:gd name="connsiteY11" fmla="*/ 475783 h 520661"/>
                <a:gd name="connsiteX12" fmla="*/ 319760 w 580619"/>
                <a:gd name="connsiteY12" fmla="*/ 481393 h 520661"/>
                <a:gd name="connsiteX13" fmla="*/ 241222 w 580619"/>
                <a:gd name="connsiteY13" fmla="*/ 487002 h 520661"/>
                <a:gd name="connsiteX14" fmla="*/ 190734 w 580619"/>
                <a:gd name="connsiteY14" fmla="*/ 503832 h 520661"/>
                <a:gd name="connsiteX15" fmla="*/ 157075 w 580619"/>
                <a:gd name="connsiteY15" fmla="*/ 515051 h 520661"/>
                <a:gd name="connsiteX16" fmla="*/ 134636 w 580619"/>
                <a:gd name="connsiteY16" fmla="*/ 520661 h 520661"/>
                <a:gd name="connsiteX17" fmla="*/ 117806 w 580619"/>
                <a:gd name="connsiteY17" fmla="*/ 515051 h 520661"/>
                <a:gd name="connsiteX18" fmla="*/ 95367 w 580619"/>
                <a:gd name="connsiteY18" fmla="*/ 509442 h 520661"/>
                <a:gd name="connsiteX19" fmla="*/ 44879 w 580619"/>
                <a:gd name="connsiteY19" fmla="*/ 492612 h 520661"/>
                <a:gd name="connsiteX20" fmla="*/ 11220 w 580619"/>
                <a:gd name="connsiteY20" fmla="*/ 475783 h 520661"/>
                <a:gd name="connsiteX21" fmla="*/ 5610 w 580619"/>
                <a:gd name="connsiteY21" fmla="*/ 475783 h 520661"/>
                <a:gd name="connsiteX22" fmla="*/ 0 w 580619"/>
                <a:gd name="connsiteY22" fmla="*/ 21388 h 520661"/>
                <a:gd name="connsiteX0" fmla="*/ 0 w 572201"/>
                <a:gd name="connsiteY0" fmla="*/ 21388 h 520661"/>
                <a:gd name="connsiteX1" fmla="*/ 0 w 572201"/>
                <a:gd name="connsiteY1" fmla="*/ 21388 h 520661"/>
                <a:gd name="connsiteX2" fmla="*/ 523043 w 572201"/>
                <a:gd name="connsiteY2" fmla="*/ 0 h 520661"/>
                <a:gd name="connsiteX3" fmla="*/ 566592 w 572201"/>
                <a:gd name="connsiteY3" fmla="*/ 133584 h 520661"/>
                <a:gd name="connsiteX4" fmla="*/ 572201 w 572201"/>
                <a:gd name="connsiteY4" fmla="*/ 150413 h 520661"/>
                <a:gd name="connsiteX5" fmla="*/ 566592 w 572201"/>
                <a:gd name="connsiteY5" fmla="*/ 212121 h 520661"/>
                <a:gd name="connsiteX6" fmla="*/ 555372 w 572201"/>
                <a:gd name="connsiteY6" fmla="*/ 285049 h 520661"/>
                <a:gd name="connsiteX7" fmla="*/ 544152 w 572201"/>
                <a:gd name="connsiteY7" fmla="*/ 402855 h 520661"/>
                <a:gd name="connsiteX8" fmla="*/ 549762 w 572201"/>
                <a:gd name="connsiteY8" fmla="*/ 453343 h 520661"/>
                <a:gd name="connsiteX9" fmla="*/ 566592 w 572201"/>
                <a:gd name="connsiteY9" fmla="*/ 464563 h 520661"/>
                <a:gd name="connsiteX10" fmla="*/ 549762 w 572201"/>
                <a:gd name="connsiteY10" fmla="*/ 475783 h 520661"/>
                <a:gd name="connsiteX11" fmla="*/ 359028 w 572201"/>
                <a:gd name="connsiteY11" fmla="*/ 475783 h 520661"/>
                <a:gd name="connsiteX12" fmla="*/ 319760 w 572201"/>
                <a:gd name="connsiteY12" fmla="*/ 481393 h 520661"/>
                <a:gd name="connsiteX13" fmla="*/ 241222 w 572201"/>
                <a:gd name="connsiteY13" fmla="*/ 487002 h 520661"/>
                <a:gd name="connsiteX14" fmla="*/ 190734 w 572201"/>
                <a:gd name="connsiteY14" fmla="*/ 503832 h 520661"/>
                <a:gd name="connsiteX15" fmla="*/ 157075 w 572201"/>
                <a:gd name="connsiteY15" fmla="*/ 515051 h 520661"/>
                <a:gd name="connsiteX16" fmla="*/ 134636 w 572201"/>
                <a:gd name="connsiteY16" fmla="*/ 520661 h 520661"/>
                <a:gd name="connsiteX17" fmla="*/ 117806 w 572201"/>
                <a:gd name="connsiteY17" fmla="*/ 515051 h 520661"/>
                <a:gd name="connsiteX18" fmla="*/ 95367 w 572201"/>
                <a:gd name="connsiteY18" fmla="*/ 509442 h 520661"/>
                <a:gd name="connsiteX19" fmla="*/ 44879 w 572201"/>
                <a:gd name="connsiteY19" fmla="*/ 492612 h 520661"/>
                <a:gd name="connsiteX20" fmla="*/ 11220 w 572201"/>
                <a:gd name="connsiteY20" fmla="*/ 475783 h 520661"/>
                <a:gd name="connsiteX21" fmla="*/ 5610 w 572201"/>
                <a:gd name="connsiteY21" fmla="*/ 475783 h 520661"/>
                <a:gd name="connsiteX22" fmla="*/ 0 w 572201"/>
                <a:gd name="connsiteY22" fmla="*/ 21388 h 520661"/>
                <a:gd name="connsiteX0" fmla="*/ 0 w 572201"/>
                <a:gd name="connsiteY0" fmla="*/ 76156 h 575429"/>
                <a:gd name="connsiteX1" fmla="*/ 0 w 572201"/>
                <a:gd name="connsiteY1" fmla="*/ 76156 h 575429"/>
                <a:gd name="connsiteX2" fmla="*/ 561143 w 572201"/>
                <a:gd name="connsiteY2" fmla="*/ 0 h 575429"/>
                <a:gd name="connsiteX3" fmla="*/ 566592 w 572201"/>
                <a:gd name="connsiteY3" fmla="*/ 188352 h 575429"/>
                <a:gd name="connsiteX4" fmla="*/ 572201 w 572201"/>
                <a:gd name="connsiteY4" fmla="*/ 205181 h 575429"/>
                <a:gd name="connsiteX5" fmla="*/ 566592 w 572201"/>
                <a:gd name="connsiteY5" fmla="*/ 266889 h 575429"/>
                <a:gd name="connsiteX6" fmla="*/ 555372 w 572201"/>
                <a:gd name="connsiteY6" fmla="*/ 339817 h 575429"/>
                <a:gd name="connsiteX7" fmla="*/ 544152 w 572201"/>
                <a:gd name="connsiteY7" fmla="*/ 457623 h 575429"/>
                <a:gd name="connsiteX8" fmla="*/ 549762 w 572201"/>
                <a:gd name="connsiteY8" fmla="*/ 508111 h 575429"/>
                <a:gd name="connsiteX9" fmla="*/ 566592 w 572201"/>
                <a:gd name="connsiteY9" fmla="*/ 519331 h 575429"/>
                <a:gd name="connsiteX10" fmla="*/ 549762 w 572201"/>
                <a:gd name="connsiteY10" fmla="*/ 530551 h 575429"/>
                <a:gd name="connsiteX11" fmla="*/ 359028 w 572201"/>
                <a:gd name="connsiteY11" fmla="*/ 530551 h 575429"/>
                <a:gd name="connsiteX12" fmla="*/ 319760 w 572201"/>
                <a:gd name="connsiteY12" fmla="*/ 536161 h 575429"/>
                <a:gd name="connsiteX13" fmla="*/ 241222 w 572201"/>
                <a:gd name="connsiteY13" fmla="*/ 541770 h 575429"/>
                <a:gd name="connsiteX14" fmla="*/ 190734 w 572201"/>
                <a:gd name="connsiteY14" fmla="*/ 558600 h 575429"/>
                <a:gd name="connsiteX15" fmla="*/ 157075 w 572201"/>
                <a:gd name="connsiteY15" fmla="*/ 569819 h 575429"/>
                <a:gd name="connsiteX16" fmla="*/ 134636 w 572201"/>
                <a:gd name="connsiteY16" fmla="*/ 575429 h 575429"/>
                <a:gd name="connsiteX17" fmla="*/ 117806 w 572201"/>
                <a:gd name="connsiteY17" fmla="*/ 569819 h 575429"/>
                <a:gd name="connsiteX18" fmla="*/ 95367 w 572201"/>
                <a:gd name="connsiteY18" fmla="*/ 564210 h 575429"/>
                <a:gd name="connsiteX19" fmla="*/ 44879 w 572201"/>
                <a:gd name="connsiteY19" fmla="*/ 547380 h 575429"/>
                <a:gd name="connsiteX20" fmla="*/ 11220 w 572201"/>
                <a:gd name="connsiteY20" fmla="*/ 530551 h 575429"/>
                <a:gd name="connsiteX21" fmla="*/ 5610 w 572201"/>
                <a:gd name="connsiteY21" fmla="*/ 530551 h 575429"/>
                <a:gd name="connsiteX22" fmla="*/ 0 w 572201"/>
                <a:gd name="connsiteY22" fmla="*/ 76156 h 575429"/>
                <a:gd name="connsiteX0" fmla="*/ 0 w 606371"/>
                <a:gd name="connsiteY0" fmla="*/ 76156 h 575429"/>
                <a:gd name="connsiteX1" fmla="*/ 0 w 606371"/>
                <a:gd name="connsiteY1" fmla="*/ 76156 h 575429"/>
                <a:gd name="connsiteX2" fmla="*/ 561143 w 606371"/>
                <a:gd name="connsiteY2" fmla="*/ 0 h 575429"/>
                <a:gd name="connsiteX3" fmla="*/ 572201 w 606371"/>
                <a:gd name="connsiteY3" fmla="*/ 205181 h 575429"/>
                <a:gd name="connsiteX4" fmla="*/ 566592 w 606371"/>
                <a:gd name="connsiteY4" fmla="*/ 266889 h 575429"/>
                <a:gd name="connsiteX5" fmla="*/ 555372 w 606371"/>
                <a:gd name="connsiteY5" fmla="*/ 339817 h 575429"/>
                <a:gd name="connsiteX6" fmla="*/ 544152 w 606371"/>
                <a:gd name="connsiteY6" fmla="*/ 457623 h 575429"/>
                <a:gd name="connsiteX7" fmla="*/ 549762 w 606371"/>
                <a:gd name="connsiteY7" fmla="*/ 508111 h 575429"/>
                <a:gd name="connsiteX8" fmla="*/ 566592 w 606371"/>
                <a:gd name="connsiteY8" fmla="*/ 519331 h 575429"/>
                <a:gd name="connsiteX9" fmla="*/ 549762 w 606371"/>
                <a:gd name="connsiteY9" fmla="*/ 530551 h 575429"/>
                <a:gd name="connsiteX10" fmla="*/ 359028 w 606371"/>
                <a:gd name="connsiteY10" fmla="*/ 530551 h 575429"/>
                <a:gd name="connsiteX11" fmla="*/ 319760 w 606371"/>
                <a:gd name="connsiteY11" fmla="*/ 536161 h 575429"/>
                <a:gd name="connsiteX12" fmla="*/ 241222 w 606371"/>
                <a:gd name="connsiteY12" fmla="*/ 541770 h 575429"/>
                <a:gd name="connsiteX13" fmla="*/ 190734 w 606371"/>
                <a:gd name="connsiteY13" fmla="*/ 558600 h 575429"/>
                <a:gd name="connsiteX14" fmla="*/ 157075 w 606371"/>
                <a:gd name="connsiteY14" fmla="*/ 569819 h 575429"/>
                <a:gd name="connsiteX15" fmla="*/ 134636 w 606371"/>
                <a:gd name="connsiteY15" fmla="*/ 575429 h 575429"/>
                <a:gd name="connsiteX16" fmla="*/ 117806 w 606371"/>
                <a:gd name="connsiteY16" fmla="*/ 569819 h 575429"/>
                <a:gd name="connsiteX17" fmla="*/ 95367 w 606371"/>
                <a:gd name="connsiteY17" fmla="*/ 564210 h 575429"/>
                <a:gd name="connsiteX18" fmla="*/ 44879 w 606371"/>
                <a:gd name="connsiteY18" fmla="*/ 547380 h 575429"/>
                <a:gd name="connsiteX19" fmla="*/ 11220 w 606371"/>
                <a:gd name="connsiteY19" fmla="*/ 530551 h 575429"/>
                <a:gd name="connsiteX20" fmla="*/ 5610 w 606371"/>
                <a:gd name="connsiteY20" fmla="*/ 530551 h 575429"/>
                <a:gd name="connsiteX21" fmla="*/ 0 w 606371"/>
                <a:gd name="connsiteY21" fmla="*/ 76156 h 575429"/>
                <a:gd name="connsiteX0" fmla="*/ 0 w 604801"/>
                <a:gd name="connsiteY0" fmla="*/ 76156 h 575429"/>
                <a:gd name="connsiteX1" fmla="*/ 0 w 604801"/>
                <a:gd name="connsiteY1" fmla="*/ 76156 h 575429"/>
                <a:gd name="connsiteX2" fmla="*/ 561143 w 604801"/>
                <a:gd name="connsiteY2" fmla="*/ 0 h 575429"/>
                <a:gd name="connsiteX3" fmla="*/ 566592 w 604801"/>
                <a:gd name="connsiteY3" fmla="*/ 266889 h 575429"/>
                <a:gd name="connsiteX4" fmla="*/ 555372 w 604801"/>
                <a:gd name="connsiteY4" fmla="*/ 339817 h 575429"/>
                <a:gd name="connsiteX5" fmla="*/ 544152 w 604801"/>
                <a:gd name="connsiteY5" fmla="*/ 457623 h 575429"/>
                <a:gd name="connsiteX6" fmla="*/ 549762 w 604801"/>
                <a:gd name="connsiteY6" fmla="*/ 508111 h 575429"/>
                <a:gd name="connsiteX7" fmla="*/ 566592 w 604801"/>
                <a:gd name="connsiteY7" fmla="*/ 519331 h 575429"/>
                <a:gd name="connsiteX8" fmla="*/ 549762 w 604801"/>
                <a:gd name="connsiteY8" fmla="*/ 530551 h 575429"/>
                <a:gd name="connsiteX9" fmla="*/ 359028 w 604801"/>
                <a:gd name="connsiteY9" fmla="*/ 530551 h 575429"/>
                <a:gd name="connsiteX10" fmla="*/ 319760 w 604801"/>
                <a:gd name="connsiteY10" fmla="*/ 536161 h 575429"/>
                <a:gd name="connsiteX11" fmla="*/ 241222 w 604801"/>
                <a:gd name="connsiteY11" fmla="*/ 541770 h 575429"/>
                <a:gd name="connsiteX12" fmla="*/ 190734 w 604801"/>
                <a:gd name="connsiteY12" fmla="*/ 558600 h 575429"/>
                <a:gd name="connsiteX13" fmla="*/ 157075 w 604801"/>
                <a:gd name="connsiteY13" fmla="*/ 569819 h 575429"/>
                <a:gd name="connsiteX14" fmla="*/ 134636 w 604801"/>
                <a:gd name="connsiteY14" fmla="*/ 575429 h 575429"/>
                <a:gd name="connsiteX15" fmla="*/ 117806 w 604801"/>
                <a:gd name="connsiteY15" fmla="*/ 569819 h 575429"/>
                <a:gd name="connsiteX16" fmla="*/ 95367 w 604801"/>
                <a:gd name="connsiteY16" fmla="*/ 564210 h 575429"/>
                <a:gd name="connsiteX17" fmla="*/ 44879 w 604801"/>
                <a:gd name="connsiteY17" fmla="*/ 547380 h 575429"/>
                <a:gd name="connsiteX18" fmla="*/ 11220 w 604801"/>
                <a:gd name="connsiteY18" fmla="*/ 530551 h 575429"/>
                <a:gd name="connsiteX19" fmla="*/ 5610 w 604801"/>
                <a:gd name="connsiteY19" fmla="*/ 530551 h 575429"/>
                <a:gd name="connsiteX20" fmla="*/ 0 w 604801"/>
                <a:gd name="connsiteY20" fmla="*/ 76156 h 575429"/>
                <a:gd name="connsiteX0" fmla="*/ 0 w 601435"/>
                <a:gd name="connsiteY0" fmla="*/ 76156 h 575429"/>
                <a:gd name="connsiteX1" fmla="*/ 0 w 601435"/>
                <a:gd name="connsiteY1" fmla="*/ 76156 h 575429"/>
                <a:gd name="connsiteX2" fmla="*/ 561143 w 601435"/>
                <a:gd name="connsiteY2" fmla="*/ 0 h 575429"/>
                <a:gd name="connsiteX3" fmla="*/ 555372 w 601435"/>
                <a:gd name="connsiteY3" fmla="*/ 339817 h 575429"/>
                <a:gd name="connsiteX4" fmla="*/ 544152 w 601435"/>
                <a:gd name="connsiteY4" fmla="*/ 457623 h 575429"/>
                <a:gd name="connsiteX5" fmla="*/ 549762 w 601435"/>
                <a:gd name="connsiteY5" fmla="*/ 508111 h 575429"/>
                <a:gd name="connsiteX6" fmla="*/ 566592 w 601435"/>
                <a:gd name="connsiteY6" fmla="*/ 519331 h 575429"/>
                <a:gd name="connsiteX7" fmla="*/ 549762 w 601435"/>
                <a:gd name="connsiteY7" fmla="*/ 530551 h 575429"/>
                <a:gd name="connsiteX8" fmla="*/ 359028 w 601435"/>
                <a:gd name="connsiteY8" fmla="*/ 530551 h 575429"/>
                <a:gd name="connsiteX9" fmla="*/ 319760 w 601435"/>
                <a:gd name="connsiteY9" fmla="*/ 536161 h 575429"/>
                <a:gd name="connsiteX10" fmla="*/ 241222 w 601435"/>
                <a:gd name="connsiteY10" fmla="*/ 541770 h 575429"/>
                <a:gd name="connsiteX11" fmla="*/ 190734 w 601435"/>
                <a:gd name="connsiteY11" fmla="*/ 558600 h 575429"/>
                <a:gd name="connsiteX12" fmla="*/ 157075 w 601435"/>
                <a:gd name="connsiteY12" fmla="*/ 569819 h 575429"/>
                <a:gd name="connsiteX13" fmla="*/ 134636 w 601435"/>
                <a:gd name="connsiteY13" fmla="*/ 575429 h 575429"/>
                <a:gd name="connsiteX14" fmla="*/ 117806 w 601435"/>
                <a:gd name="connsiteY14" fmla="*/ 569819 h 575429"/>
                <a:gd name="connsiteX15" fmla="*/ 95367 w 601435"/>
                <a:gd name="connsiteY15" fmla="*/ 564210 h 575429"/>
                <a:gd name="connsiteX16" fmla="*/ 44879 w 601435"/>
                <a:gd name="connsiteY16" fmla="*/ 547380 h 575429"/>
                <a:gd name="connsiteX17" fmla="*/ 11220 w 601435"/>
                <a:gd name="connsiteY17" fmla="*/ 530551 h 575429"/>
                <a:gd name="connsiteX18" fmla="*/ 5610 w 601435"/>
                <a:gd name="connsiteY18" fmla="*/ 530551 h 575429"/>
                <a:gd name="connsiteX19" fmla="*/ 0 w 601435"/>
                <a:gd name="connsiteY19" fmla="*/ 76156 h 575429"/>
                <a:gd name="connsiteX0" fmla="*/ 0 w 597826"/>
                <a:gd name="connsiteY0" fmla="*/ 76156 h 575429"/>
                <a:gd name="connsiteX1" fmla="*/ 0 w 597826"/>
                <a:gd name="connsiteY1" fmla="*/ 76156 h 575429"/>
                <a:gd name="connsiteX2" fmla="*/ 561143 w 597826"/>
                <a:gd name="connsiteY2" fmla="*/ 0 h 575429"/>
                <a:gd name="connsiteX3" fmla="*/ 544152 w 597826"/>
                <a:gd name="connsiteY3" fmla="*/ 457623 h 575429"/>
                <a:gd name="connsiteX4" fmla="*/ 549762 w 597826"/>
                <a:gd name="connsiteY4" fmla="*/ 508111 h 575429"/>
                <a:gd name="connsiteX5" fmla="*/ 566592 w 597826"/>
                <a:gd name="connsiteY5" fmla="*/ 519331 h 575429"/>
                <a:gd name="connsiteX6" fmla="*/ 549762 w 597826"/>
                <a:gd name="connsiteY6" fmla="*/ 530551 h 575429"/>
                <a:gd name="connsiteX7" fmla="*/ 359028 w 597826"/>
                <a:gd name="connsiteY7" fmla="*/ 530551 h 575429"/>
                <a:gd name="connsiteX8" fmla="*/ 319760 w 597826"/>
                <a:gd name="connsiteY8" fmla="*/ 536161 h 575429"/>
                <a:gd name="connsiteX9" fmla="*/ 241222 w 597826"/>
                <a:gd name="connsiteY9" fmla="*/ 541770 h 575429"/>
                <a:gd name="connsiteX10" fmla="*/ 190734 w 597826"/>
                <a:gd name="connsiteY10" fmla="*/ 558600 h 575429"/>
                <a:gd name="connsiteX11" fmla="*/ 157075 w 597826"/>
                <a:gd name="connsiteY11" fmla="*/ 569819 h 575429"/>
                <a:gd name="connsiteX12" fmla="*/ 134636 w 597826"/>
                <a:gd name="connsiteY12" fmla="*/ 575429 h 575429"/>
                <a:gd name="connsiteX13" fmla="*/ 117806 w 597826"/>
                <a:gd name="connsiteY13" fmla="*/ 569819 h 575429"/>
                <a:gd name="connsiteX14" fmla="*/ 95367 w 597826"/>
                <a:gd name="connsiteY14" fmla="*/ 564210 h 575429"/>
                <a:gd name="connsiteX15" fmla="*/ 44879 w 597826"/>
                <a:gd name="connsiteY15" fmla="*/ 547380 h 575429"/>
                <a:gd name="connsiteX16" fmla="*/ 11220 w 597826"/>
                <a:gd name="connsiteY16" fmla="*/ 530551 h 575429"/>
                <a:gd name="connsiteX17" fmla="*/ 5610 w 597826"/>
                <a:gd name="connsiteY17" fmla="*/ 530551 h 575429"/>
                <a:gd name="connsiteX18" fmla="*/ 0 w 597826"/>
                <a:gd name="connsiteY18" fmla="*/ 76156 h 575429"/>
                <a:gd name="connsiteX0" fmla="*/ 0 w 598933"/>
                <a:gd name="connsiteY0" fmla="*/ 76156 h 575429"/>
                <a:gd name="connsiteX1" fmla="*/ 0 w 598933"/>
                <a:gd name="connsiteY1" fmla="*/ 76156 h 575429"/>
                <a:gd name="connsiteX2" fmla="*/ 561143 w 598933"/>
                <a:gd name="connsiteY2" fmla="*/ 0 h 575429"/>
                <a:gd name="connsiteX3" fmla="*/ 549762 w 598933"/>
                <a:gd name="connsiteY3" fmla="*/ 508111 h 575429"/>
                <a:gd name="connsiteX4" fmla="*/ 566592 w 598933"/>
                <a:gd name="connsiteY4" fmla="*/ 519331 h 575429"/>
                <a:gd name="connsiteX5" fmla="*/ 549762 w 598933"/>
                <a:gd name="connsiteY5" fmla="*/ 530551 h 575429"/>
                <a:gd name="connsiteX6" fmla="*/ 359028 w 598933"/>
                <a:gd name="connsiteY6" fmla="*/ 530551 h 575429"/>
                <a:gd name="connsiteX7" fmla="*/ 319760 w 598933"/>
                <a:gd name="connsiteY7" fmla="*/ 536161 h 575429"/>
                <a:gd name="connsiteX8" fmla="*/ 241222 w 598933"/>
                <a:gd name="connsiteY8" fmla="*/ 541770 h 575429"/>
                <a:gd name="connsiteX9" fmla="*/ 190734 w 598933"/>
                <a:gd name="connsiteY9" fmla="*/ 558600 h 575429"/>
                <a:gd name="connsiteX10" fmla="*/ 157075 w 598933"/>
                <a:gd name="connsiteY10" fmla="*/ 569819 h 575429"/>
                <a:gd name="connsiteX11" fmla="*/ 134636 w 598933"/>
                <a:gd name="connsiteY11" fmla="*/ 575429 h 575429"/>
                <a:gd name="connsiteX12" fmla="*/ 117806 w 598933"/>
                <a:gd name="connsiteY12" fmla="*/ 569819 h 575429"/>
                <a:gd name="connsiteX13" fmla="*/ 95367 w 598933"/>
                <a:gd name="connsiteY13" fmla="*/ 564210 h 575429"/>
                <a:gd name="connsiteX14" fmla="*/ 44879 w 598933"/>
                <a:gd name="connsiteY14" fmla="*/ 547380 h 575429"/>
                <a:gd name="connsiteX15" fmla="*/ 11220 w 598933"/>
                <a:gd name="connsiteY15" fmla="*/ 530551 h 575429"/>
                <a:gd name="connsiteX16" fmla="*/ 5610 w 598933"/>
                <a:gd name="connsiteY16" fmla="*/ 530551 h 575429"/>
                <a:gd name="connsiteX17" fmla="*/ 0 w 598933"/>
                <a:gd name="connsiteY17" fmla="*/ 76156 h 575429"/>
                <a:gd name="connsiteX0" fmla="*/ 0 w 605023"/>
                <a:gd name="connsiteY0" fmla="*/ 76156 h 575429"/>
                <a:gd name="connsiteX1" fmla="*/ 0 w 605023"/>
                <a:gd name="connsiteY1" fmla="*/ 76156 h 575429"/>
                <a:gd name="connsiteX2" fmla="*/ 561143 w 605023"/>
                <a:gd name="connsiteY2" fmla="*/ 0 h 575429"/>
                <a:gd name="connsiteX3" fmla="*/ 566592 w 605023"/>
                <a:gd name="connsiteY3" fmla="*/ 519331 h 575429"/>
                <a:gd name="connsiteX4" fmla="*/ 549762 w 605023"/>
                <a:gd name="connsiteY4" fmla="*/ 530551 h 575429"/>
                <a:gd name="connsiteX5" fmla="*/ 359028 w 605023"/>
                <a:gd name="connsiteY5" fmla="*/ 530551 h 575429"/>
                <a:gd name="connsiteX6" fmla="*/ 319760 w 605023"/>
                <a:gd name="connsiteY6" fmla="*/ 536161 h 575429"/>
                <a:gd name="connsiteX7" fmla="*/ 241222 w 605023"/>
                <a:gd name="connsiteY7" fmla="*/ 541770 h 575429"/>
                <a:gd name="connsiteX8" fmla="*/ 190734 w 605023"/>
                <a:gd name="connsiteY8" fmla="*/ 558600 h 575429"/>
                <a:gd name="connsiteX9" fmla="*/ 157075 w 605023"/>
                <a:gd name="connsiteY9" fmla="*/ 569819 h 575429"/>
                <a:gd name="connsiteX10" fmla="*/ 134636 w 605023"/>
                <a:gd name="connsiteY10" fmla="*/ 575429 h 575429"/>
                <a:gd name="connsiteX11" fmla="*/ 117806 w 605023"/>
                <a:gd name="connsiteY11" fmla="*/ 569819 h 575429"/>
                <a:gd name="connsiteX12" fmla="*/ 95367 w 605023"/>
                <a:gd name="connsiteY12" fmla="*/ 564210 h 575429"/>
                <a:gd name="connsiteX13" fmla="*/ 44879 w 605023"/>
                <a:gd name="connsiteY13" fmla="*/ 547380 h 575429"/>
                <a:gd name="connsiteX14" fmla="*/ 11220 w 605023"/>
                <a:gd name="connsiteY14" fmla="*/ 530551 h 575429"/>
                <a:gd name="connsiteX15" fmla="*/ 5610 w 605023"/>
                <a:gd name="connsiteY15" fmla="*/ 530551 h 575429"/>
                <a:gd name="connsiteX16" fmla="*/ 0 w 605023"/>
                <a:gd name="connsiteY16" fmla="*/ 76156 h 575429"/>
                <a:gd name="connsiteX0" fmla="*/ 0 w 605023"/>
                <a:gd name="connsiteY0" fmla="*/ 76156 h 575429"/>
                <a:gd name="connsiteX1" fmla="*/ 0 w 605023"/>
                <a:gd name="connsiteY1" fmla="*/ 76156 h 575429"/>
                <a:gd name="connsiteX2" fmla="*/ 561143 w 605023"/>
                <a:gd name="connsiteY2" fmla="*/ 0 h 575429"/>
                <a:gd name="connsiteX3" fmla="*/ 566592 w 605023"/>
                <a:gd name="connsiteY3" fmla="*/ 519331 h 575429"/>
                <a:gd name="connsiteX4" fmla="*/ 359028 w 605023"/>
                <a:gd name="connsiteY4" fmla="*/ 530551 h 575429"/>
                <a:gd name="connsiteX5" fmla="*/ 319760 w 605023"/>
                <a:gd name="connsiteY5" fmla="*/ 536161 h 575429"/>
                <a:gd name="connsiteX6" fmla="*/ 241222 w 605023"/>
                <a:gd name="connsiteY6" fmla="*/ 541770 h 575429"/>
                <a:gd name="connsiteX7" fmla="*/ 190734 w 605023"/>
                <a:gd name="connsiteY7" fmla="*/ 558600 h 575429"/>
                <a:gd name="connsiteX8" fmla="*/ 157075 w 605023"/>
                <a:gd name="connsiteY8" fmla="*/ 569819 h 575429"/>
                <a:gd name="connsiteX9" fmla="*/ 134636 w 605023"/>
                <a:gd name="connsiteY9" fmla="*/ 575429 h 575429"/>
                <a:gd name="connsiteX10" fmla="*/ 117806 w 605023"/>
                <a:gd name="connsiteY10" fmla="*/ 569819 h 575429"/>
                <a:gd name="connsiteX11" fmla="*/ 95367 w 605023"/>
                <a:gd name="connsiteY11" fmla="*/ 564210 h 575429"/>
                <a:gd name="connsiteX12" fmla="*/ 44879 w 605023"/>
                <a:gd name="connsiteY12" fmla="*/ 547380 h 575429"/>
                <a:gd name="connsiteX13" fmla="*/ 11220 w 605023"/>
                <a:gd name="connsiteY13" fmla="*/ 530551 h 575429"/>
                <a:gd name="connsiteX14" fmla="*/ 5610 w 605023"/>
                <a:gd name="connsiteY14" fmla="*/ 530551 h 575429"/>
                <a:gd name="connsiteX15" fmla="*/ 0 w 605023"/>
                <a:gd name="connsiteY15" fmla="*/ 76156 h 575429"/>
                <a:gd name="connsiteX0" fmla="*/ 0 w 605023"/>
                <a:gd name="connsiteY0" fmla="*/ 76156 h 575429"/>
                <a:gd name="connsiteX1" fmla="*/ 0 w 605023"/>
                <a:gd name="connsiteY1" fmla="*/ 76156 h 575429"/>
                <a:gd name="connsiteX2" fmla="*/ 561143 w 605023"/>
                <a:gd name="connsiteY2" fmla="*/ 0 h 575429"/>
                <a:gd name="connsiteX3" fmla="*/ 566592 w 605023"/>
                <a:gd name="connsiteY3" fmla="*/ 519331 h 575429"/>
                <a:gd name="connsiteX4" fmla="*/ 319760 w 605023"/>
                <a:gd name="connsiteY4" fmla="*/ 536161 h 575429"/>
                <a:gd name="connsiteX5" fmla="*/ 241222 w 605023"/>
                <a:gd name="connsiteY5" fmla="*/ 541770 h 575429"/>
                <a:gd name="connsiteX6" fmla="*/ 190734 w 605023"/>
                <a:gd name="connsiteY6" fmla="*/ 558600 h 575429"/>
                <a:gd name="connsiteX7" fmla="*/ 157075 w 605023"/>
                <a:gd name="connsiteY7" fmla="*/ 569819 h 575429"/>
                <a:gd name="connsiteX8" fmla="*/ 134636 w 605023"/>
                <a:gd name="connsiteY8" fmla="*/ 575429 h 575429"/>
                <a:gd name="connsiteX9" fmla="*/ 117806 w 605023"/>
                <a:gd name="connsiteY9" fmla="*/ 569819 h 575429"/>
                <a:gd name="connsiteX10" fmla="*/ 95367 w 605023"/>
                <a:gd name="connsiteY10" fmla="*/ 564210 h 575429"/>
                <a:gd name="connsiteX11" fmla="*/ 44879 w 605023"/>
                <a:gd name="connsiteY11" fmla="*/ 547380 h 575429"/>
                <a:gd name="connsiteX12" fmla="*/ 11220 w 605023"/>
                <a:gd name="connsiteY12" fmla="*/ 530551 h 575429"/>
                <a:gd name="connsiteX13" fmla="*/ 5610 w 605023"/>
                <a:gd name="connsiteY13" fmla="*/ 530551 h 575429"/>
                <a:gd name="connsiteX14" fmla="*/ 0 w 605023"/>
                <a:gd name="connsiteY14" fmla="*/ 76156 h 575429"/>
                <a:gd name="connsiteX0" fmla="*/ 0 w 605023"/>
                <a:gd name="connsiteY0" fmla="*/ 76156 h 575429"/>
                <a:gd name="connsiteX1" fmla="*/ 0 w 605023"/>
                <a:gd name="connsiteY1" fmla="*/ 76156 h 575429"/>
                <a:gd name="connsiteX2" fmla="*/ 561143 w 605023"/>
                <a:gd name="connsiteY2" fmla="*/ 0 h 575429"/>
                <a:gd name="connsiteX3" fmla="*/ 566592 w 605023"/>
                <a:gd name="connsiteY3" fmla="*/ 519331 h 575429"/>
                <a:gd name="connsiteX4" fmla="*/ 241222 w 605023"/>
                <a:gd name="connsiteY4" fmla="*/ 541770 h 575429"/>
                <a:gd name="connsiteX5" fmla="*/ 190734 w 605023"/>
                <a:gd name="connsiteY5" fmla="*/ 558600 h 575429"/>
                <a:gd name="connsiteX6" fmla="*/ 157075 w 605023"/>
                <a:gd name="connsiteY6" fmla="*/ 569819 h 575429"/>
                <a:gd name="connsiteX7" fmla="*/ 134636 w 605023"/>
                <a:gd name="connsiteY7" fmla="*/ 575429 h 575429"/>
                <a:gd name="connsiteX8" fmla="*/ 117806 w 605023"/>
                <a:gd name="connsiteY8" fmla="*/ 569819 h 575429"/>
                <a:gd name="connsiteX9" fmla="*/ 95367 w 605023"/>
                <a:gd name="connsiteY9" fmla="*/ 564210 h 575429"/>
                <a:gd name="connsiteX10" fmla="*/ 44879 w 605023"/>
                <a:gd name="connsiteY10" fmla="*/ 547380 h 575429"/>
                <a:gd name="connsiteX11" fmla="*/ 11220 w 605023"/>
                <a:gd name="connsiteY11" fmla="*/ 530551 h 575429"/>
                <a:gd name="connsiteX12" fmla="*/ 5610 w 605023"/>
                <a:gd name="connsiteY12" fmla="*/ 530551 h 575429"/>
                <a:gd name="connsiteX13" fmla="*/ 0 w 605023"/>
                <a:gd name="connsiteY13" fmla="*/ 76156 h 575429"/>
                <a:gd name="connsiteX0" fmla="*/ 0 w 605023"/>
                <a:gd name="connsiteY0" fmla="*/ 76156 h 575429"/>
                <a:gd name="connsiteX1" fmla="*/ 0 w 605023"/>
                <a:gd name="connsiteY1" fmla="*/ 76156 h 575429"/>
                <a:gd name="connsiteX2" fmla="*/ 561143 w 605023"/>
                <a:gd name="connsiteY2" fmla="*/ 0 h 575429"/>
                <a:gd name="connsiteX3" fmla="*/ 566592 w 605023"/>
                <a:gd name="connsiteY3" fmla="*/ 519331 h 575429"/>
                <a:gd name="connsiteX4" fmla="*/ 190734 w 605023"/>
                <a:gd name="connsiteY4" fmla="*/ 558600 h 575429"/>
                <a:gd name="connsiteX5" fmla="*/ 157075 w 605023"/>
                <a:gd name="connsiteY5" fmla="*/ 569819 h 575429"/>
                <a:gd name="connsiteX6" fmla="*/ 134636 w 605023"/>
                <a:gd name="connsiteY6" fmla="*/ 575429 h 575429"/>
                <a:gd name="connsiteX7" fmla="*/ 117806 w 605023"/>
                <a:gd name="connsiteY7" fmla="*/ 569819 h 575429"/>
                <a:gd name="connsiteX8" fmla="*/ 95367 w 605023"/>
                <a:gd name="connsiteY8" fmla="*/ 564210 h 575429"/>
                <a:gd name="connsiteX9" fmla="*/ 44879 w 605023"/>
                <a:gd name="connsiteY9" fmla="*/ 547380 h 575429"/>
                <a:gd name="connsiteX10" fmla="*/ 11220 w 605023"/>
                <a:gd name="connsiteY10" fmla="*/ 530551 h 575429"/>
                <a:gd name="connsiteX11" fmla="*/ 5610 w 605023"/>
                <a:gd name="connsiteY11" fmla="*/ 530551 h 575429"/>
                <a:gd name="connsiteX12" fmla="*/ 0 w 605023"/>
                <a:gd name="connsiteY12" fmla="*/ 76156 h 575429"/>
                <a:gd name="connsiteX0" fmla="*/ 0 w 605023"/>
                <a:gd name="connsiteY0" fmla="*/ 76156 h 576694"/>
                <a:gd name="connsiteX1" fmla="*/ 0 w 605023"/>
                <a:gd name="connsiteY1" fmla="*/ 76156 h 576694"/>
                <a:gd name="connsiteX2" fmla="*/ 561143 w 605023"/>
                <a:gd name="connsiteY2" fmla="*/ 0 h 576694"/>
                <a:gd name="connsiteX3" fmla="*/ 566592 w 605023"/>
                <a:gd name="connsiteY3" fmla="*/ 519331 h 576694"/>
                <a:gd name="connsiteX4" fmla="*/ 157075 w 605023"/>
                <a:gd name="connsiteY4" fmla="*/ 569819 h 576694"/>
                <a:gd name="connsiteX5" fmla="*/ 134636 w 605023"/>
                <a:gd name="connsiteY5" fmla="*/ 575429 h 576694"/>
                <a:gd name="connsiteX6" fmla="*/ 117806 w 605023"/>
                <a:gd name="connsiteY6" fmla="*/ 569819 h 576694"/>
                <a:gd name="connsiteX7" fmla="*/ 95367 w 605023"/>
                <a:gd name="connsiteY7" fmla="*/ 564210 h 576694"/>
                <a:gd name="connsiteX8" fmla="*/ 44879 w 605023"/>
                <a:gd name="connsiteY8" fmla="*/ 547380 h 576694"/>
                <a:gd name="connsiteX9" fmla="*/ 11220 w 605023"/>
                <a:gd name="connsiteY9" fmla="*/ 530551 h 576694"/>
                <a:gd name="connsiteX10" fmla="*/ 5610 w 605023"/>
                <a:gd name="connsiteY10" fmla="*/ 530551 h 576694"/>
                <a:gd name="connsiteX11" fmla="*/ 0 w 605023"/>
                <a:gd name="connsiteY11" fmla="*/ 76156 h 576694"/>
                <a:gd name="connsiteX0" fmla="*/ 0 w 605023"/>
                <a:gd name="connsiteY0" fmla="*/ 76156 h 580257"/>
                <a:gd name="connsiteX1" fmla="*/ 0 w 605023"/>
                <a:gd name="connsiteY1" fmla="*/ 76156 h 580257"/>
                <a:gd name="connsiteX2" fmla="*/ 561143 w 605023"/>
                <a:gd name="connsiteY2" fmla="*/ 0 h 580257"/>
                <a:gd name="connsiteX3" fmla="*/ 566592 w 605023"/>
                <a:gd name="connsiteY3" fmla="*/ 519331 h 580257"/>
                <a:gd name="connsiteX4" fmla="*/ 134636 w 605023"/>
                <a:gd name="connsiteY4" fmla="*/ 575429 h 580257"/>
                <a:gd name="connsiteX5" fmla="*/ 117806 w 605023"/>
                <a:gd name="connsiteY5" fmla="*/ 569819 h 580257"/>
                <a:gd name="connsiteX6" fmla="*/ 95367 w 605023"/>
                <a:gd name="connsiteY6" fmla="*/ 564210 h 580257"/>
                <a:gd name="connsiteX7" fmla="*/ 44879 w 605023"/>
                <a:gd name="connsiteY7" fmla="*/ 547380 h 580257"/>
                <a:gd name="connsiteX8" fmla="*/ 11220 w 605023"/>
                <a:gd name="connsiteY8" fmla="*/ 530551 h 580257"/>
                <a:gd name="connsiteX9" fmla="*/ 5610 w 605023"/>
                <a:gd name="connsiteY9" fmla="*/ 530551 h 580257"/>
                <a:gd name="connsiteX10" fmla="*/ 0 w 605023"/>
                <a:gd name="connsiteY10" fmla="*/ 76156 h 580257"/>
                <a:gd name="connsiteX0" fmla="*/ 0 w 605023"/>
                <a:gd name="connsiteY0" fmla="*/ 76156 h 577386"/>
                <a:gd name="connsiteX1" fmla="*/ 0 w 605023"/>
                <a:gd name="connsiteY1" fmla="*/ 76156 h 577386"/>
                <a:gd name="connsiteX2" fmla="*/ 561143 w 605023"/>
                <a:gd name="connsiteY2" fmla="*/ 0 h 577386"/>
                <a:gd name="connsiteX3" fmla="*/ 566592 w 605023"/>
                <a:gd name="connsiteY3" fmla="*/ 519331 h 577386"/>
                <a:gd name="connsiteX4" fmla="*/ 117806 w 605023"/>
                <a:gd name="connsiteY4" fmla="*/ 569819 h 577386"/>
                <a:gd name="connsiteX5" fmla="*/ 95367 w 605023"/>
                <a:gd name="connsiteY5" fmla="*/ 564210 h 577386"/>
                <a:gd name="connsiteX6" fmla="*/ 44879 w 605023"/>
                <a:gd name="connsiteY6" fmla="*/ 547380 h 577386"/>
                <a:gd name="connsiteX7" fmla="*/ 11220 w 605023"/>
                <a:gd name="connsiteY7" fmla="*/ 530551 h 577386"/>
                <a:gd name="connsiteX8" fmla="*/ 5610 w 605023"/>
                <a:gd name="connsiteY8" fmla="*/ 530551 h 577386"/>
                <a:gd name="connsiteX9" fmla="*/ 0 w 605023"/>
                <a:gd name="connsiteY9" fmla="*/ 76156 h 577386"/>
                <a:gd name="connsiteX0" fmla="*/ 0 w 605023"/>
                <a:gd name="connsiteY0" fmla="*/ 76156 h 575361"/>
                <a:gd name="connsiteX1" fmla="*/ 0 w 605023"/>
                <a:gd name="connsiteY1" fmla="*/ 76156 h 575361"/>
                <a:gd name="connsiteX2" fmla="*/ 561143 w 605023"/>
                <a:gd name="connsiteY2" fmla="*/ 0 h 575361"/>
                <a:gd name="connsiteX3" fmla="*/ 566592 w 605023"/>
                <a:gd name="connsiteY3" fmla="*/ 519331 h 575361"/>
                <a:gd name="connsiteX4" fmla="*/ 95367 w 605023"/>
                <a:gd name="connsiteY4" fmla="*/ 564210 h 575361"/>
                <a:gd name="connsiteX5" fmla="*/ 44879 w 605023"/>
                <a:gd name="connsiteY5" fmla="*/ 547380 h 575361"/>
                <a:gd name="connsiteX6" fmla="*/ 11220 w 605023"/>
                <a:gd name="connsiteY6" fmla="*/ 530551 h 575361"/>
                <a:gd name="connsiteX7" fmla="*/ 5610 w 605023"/>
                <a:gd name="connsiteY7" fmla="*/ 530551 h 575361"/>
                <a:gd name="connsiteX8" fmla="*/ 0 w 605023"/>
                <a:gd name="connsiteY8" fmla="*/ 76156 h 575361"/>
                <a:gd name="connsiteX0" fmla="*/ 0 w 605023"/>
                <a:gd name="connsiteY0" fmla="*/ 76156 h 568118"/>
                <a:gd name="connsiteX1" fmla="*/ 0 w 605023"/>
                <a:gd name="connsiteY1" fmla="*/ 76156 h 568118"/>
                <a:gd name="connsiteX2" fmla="*/ 561143 w 605023"/>
                <a:gd name="connsiteY2" fmla="*/ 0 h 568118"/>
                <a:gd name="connsiteX3" fmla="*/ 566592 w 605023"/>
                <a:gd name="connsiteY3" fmla="*/ 519331 h 568118"/>
                <a:gd name="connsiteX4" fmla="*/ 44879 w 605023"/>
                <a:gd name="connsiteY4" fmla="*/ 547380 h 568118"/>
                <a:gd name="connsiteX5" fmla="*/ 11220 w 605023"/>
                <a:gd name="connsiteY5" fmla="*/ 530551 h 568118"/>
                <a:gd name="connsiteX6" fmla="*/ 5610 w 605023"/>
                <a:gd name="connsiteY6" fmla="*/ 530551 h 568118"/>
                <a:gd name="connsiteX7" fmla="*/ 0 w 605023"/>
                <a:gd name="connsiteY7" fmla="*/ 76156 h 568118"/>
                <a:gd name="connsiteX0" fmla="*/ 0 w 605023"/>
                <a:gd name="connsiteY0" fmla="*/ 76156 h 561297"/>
                <a:gd name="connsiteX1" fmla="*/ 0 w 605023"/>
                <a:gd name="connsiteY1" fmla="*/ 76156 h 561297"/>
                <a:gd name="connsiteX2" fmla="*/ 561143 w 605023"/>
                <a:gd name="connsiteY2" fmla="*/ 0 h 561297"/>
                <a:gd name="connsiteX3" fmla="*/ 566592 w 605023"/>
                <a:gd name="connsiteY3" fmla="*/ 519331 h 561297"/>
                <a:gd name="connsiteX4" fmla="*/ 11220 w 605023"/>
                <a:gd name="connsiteY4" fmla="*/ 530551 h 561297"/>
                <a:gd name="connsiteX5" fmla="*/ 5610 w 605023"/>
                <a:gd name="connsiteY5" fmla="*/ 530551 h 561297"/>
                <a:gd name="connsiteX6" fmla="*/ 0 w 605023"/>
                <a:gd name="connsiteY6" fmla="*/ 76156 h 561297"/>
                <a:gd name="connsiteX0" fmla="*/ 0 w 605023"/>
                <a:gd name="connsiteY0" fmla="*/ 76156 h 585834"/>
                <a:gd name="connsiteX1" fmla="*/ 0 w 605023"/>
                <a:gd name="connsiteY1" fmla="*/ 76156 h 585834"/>
                <a:gd name="connsiteX2" fmla="*/ 561143 w 605023"/>
                <a:gd name="connsiteY2" fmla="*/ 0 h 585834"/>
                <a:gd name="connsiteX3" fmla="*/ 566592 w 605023"/>
                <a:gd name="connsiteY3" fmla="*/ 519331 h 585834"/>
                <a:gd name="connsiteX4" fmla="*/ 5610 w 605023"/>
                <a:gd name="connsiteY4" fmla="*/ 530551 h 585834"/>
                <a:gd name="connsiteX5" fmla="*/ 0 w 605023"/>
                <a:gd name="connsiteY5" fmla="*/ 76156 h 585834"/>
                <a:gd name="connsiteX0" fmla="*/ 1534 w 636032"/>
                <a:gd name="connsiteY0" fmla="*/ 76156 h 584466"/>
                <a:gd name="connsiteX1" fmla="*/ 1534 w 636032"/>
                <a:gd name="connsiteY1" fmla="*/ 76156 h 584466"/>
                <a:gd name="connsiteX2" fmla="*/ 562677 w 636032"/>
                <a:gd name="connsiteY2" fmla="*/ 0 h 584466"/>
                <a:gd name="connsiteX3" fmla="*/ 568126 w 636032"/>
                <a:gd name="connsiteY3" fmla="*/ 519331 h 584466"/>
                <a:gd name="connsiteX4" fmla="*/ 0 w 636032"/>
                <a:gd name="connsiteY4" fmla="*/ 528170 h 584466"/>
                <a:gd name="connsiteX5" fmla="*/ 1534 w 636032"/>
                <a:gd name="connsiteY5" fmla="*/ 76156 h 584466"/>
                <a:gd name="connsiteX0" fmla="*/ 1534 w 636032"/>
                <a:gd name="connsiteY0" fmla="*/ 76156 h 560895"/>
                <a:gd name="connsiteX1" fmla="*/ 1534 w 636032"/>
                <a:gd name="connsiteY1" fmla="*/ 76156 h 560895"/>
                <a:gd name="connsiteX2" fmla="*/ 562677 w 636032"/>
                <a:gd name="connsiteY2" fmla="*/ 0 h 560895"/>
                <a:gd name="connsiteX3" fmla="*/ 568126 w 636032"/>
                <a:gd name="connsiteY3" fmla="*/ 519331 h 560895"/>
                <a:gd name="connsiteX4" fmla="*/ 0 w 636032"/>
                <a:gd name="connsiteY4" fmla="*/ 528170 h 560895"/>
                <a:gd name="connsiteX5" fmla="*/ 1534 w 636032"/>
                <a:gd name="connsiteY5" fmla="*/ 76156 h 560895"/>
                <a:gd name="connsiteX0" fmla="*/ 1534 w 605472"/>
                <a:gd name="connsiteY0" fmla="*/ 76156 h 560895"/>
                <a:gd name="connsiteX1" fmla="*/ 1534 w 605472"/>
                <a:gd name="connsiteY1" fmla="*/ 76156 h 560895"/>
                <a:gd name="connsiteX2" fmla="*/ 562677 w 605472"/>
                <a:gd name="connsiteY2" fmla="*/ 0 h 560895"/>
                <a:gd name="connsiteX3" fmla="*/ 568126 w 605472"/>
                <a:gd name="connsiteY3" fmla="*/ 519331 h 560895"/>
                <a:gd name="connsiteX4" fmla="*/ 0 w 605472"/>
                <a:gd name="connsiteY4" fmla="*/ 528170 h 560895"/>
                <a:gd name="connsiteX5" fmla="*/ 1534 w 605472"/>
                <a:gd name="connsiteY5" fmla="*/ 76156 h 560895"/>
                <a:gd name="connsiteX0" fmla="*/ 1534 w 605472"/>
                <a:gd name="connsiteY0" fmla="*/ 76156 h 528170"/>
                <a:gd name="connsiteX1" fmla="*/ 1534 w 605472"/>
                <a:gd name="connsiteY1" fmla="*/ 76156 h 528170"/>
                <a:gd name="connsiteX2" fmla="*/ 562677 w 605472"/>
                <a:gd name="connsiteY2" fmla="*/ 0 h 528170"/>
                <a:gd name="connsiteX3" fmla="*/ 568126 w 605472"/>
                <a:gd name="connsiteY3" fmla="*/ 519331 h 528170"/>
                <a:gd name="connsiteX4" fmla="*/ 0 w 605472"/>
                <a:gd name="connsiteY4" fmla="*/ 528170 h 528170"/>
                <a:gd name="connsiteX5" fmla="*/ 1534 w 605472"/>
                <a:gd name="connsiteY5" fmla="*/ 76156 h 528170"/>
                <a:gd name="connsiteX0" fmla="*/ 29 w 603967"/>
                <a:gd name="connsiteY0" fmla="*/ 76156 h 540076"/>
                <a:gd name="connsiteX1" fmla="*/ 29 w 603967"/>
                <a:gd name="connsiteY1" fmla="*/ 76156 h 540076"/>
                <a:gd name="connsiteX2" fmla="*/ 561172 w 603967"/>
                <a:gd name="connsiteY2" fmla="*/ 0 h 540076"/>
                <a:gd name="connsiteX3" fmla="*/ 566621 w 603967"/>
                <a:gd name="connsiteY3" fmla="*/ 519331 h 540076"/>
                <a:gd name="connsiteX4" fmla="*/ 5639 w 603967"/>
                <a:gd name="connsiteY4" fmla="*/ 540076 h 540076"/>
                <a:gd name="connsiteX5" fmla="*/ 29 w 603967"/>
                <a:gd name="connsiteY5" fmla="*/ 76156 h 540076"/>
                <a:gd name="connsiteX0" fmla="*/ 29 w 603967"/>
                <a:gd name="connsiteY0" fmla="*/ 76156 h 540076"/>
                <a:gd name="connsiteX1" fmla="*/ 29 w 603967"/>
                <a:gd name="connsiteY1" fmla="*/ 76156 h 540076"/>
                <a:gd name="connsiteX2" fmla="*/ 561172 w 603967"/>
                <a:gd name="connsiteY2" fmla="*/ 0 h 540076"/>
                <a:gd name="connsiteX3" fmla="*/ 566621 w 603967"/>
                <a:gd name="connsiteY3" fmla="*/ 519331 h 540076"/>
                <a:gd name="connsiteX4" fmla="*/ 5639 w 603967"/>
                <a:gd name="connsiteY4" fmla="*/ 540076 h 540076"/>
                <a:gd name="connsiteX5" fmla="*/ 29 w 603967"/>
                <a:gd name="connsiteY5" fmla="*/ 76156 h 540076"/>
                <a:gd name="connsiteX0" fmla="*/ 89 w 604027"/>
                <a:gd name="connsiteY0" fmla="*/ 76156 h 535314"/>
                <a:gd name="connsiteX1" fmla="*/ 89 w 604027"/>
                <a:gd name="connsiteY1" fmla="*/ 76156 h 535314"/>
                <a:gd name="connsiteX2" fmla="*/ 561232 w 604027"/>
                <a:gd name="connsiteY2" fmla="*/ 0 h 535314"/>
                <a:gd name="connsiteX3" fmla="*/ 566681 w 604027"/>
                <a:gd name="connsiteY3" fmla="*/ 519331 h 535314"/>
                <a:gd name="connsiteX4" fmla="*/ 937 w 604027"/>
                <a:gd name="connsiteY4" fmla="*/ 535314 h 535314"/>
                <a:gd name="connsiteX5" fmla="*/ 89 w 604027"/>
                <a:gd name="connsiteY5" fmla="*/ 76156 h 535314"/>
                <a:gd name="connsiteX0" fmla="*/ 89 w 604027"/>
                <a:gd name="connsiteY0" fmla="*/ 76156 h 535314"/>
                <a:gd name="connsiteX1" fmla="*/ 89 w 604027"/>
                <a:gd name="connsiteY1" fmla="*/ 76156 h 535314"/>
                <a:gd name="connsiteX2" fmla="*/ 561232 w 604027"/>
                <a:gd name="connsiteY2" fmla="*/ 0 h 535314"/>
                <a:gd name="connsiteX3" fmla="*/ 566681 w 604027"/>
                <a:gd name="connsiteY3" fmla="*/ 533618 h 535314"/>
                <a:gd name="connsiteX4" fmla="*/ 937 w 604027"/>
                <a:gd name="connsiteY4" fmla="*/ 535314 h 535314"/>
                <a:gd name="connsiteX5" fmla="*/ 89 w 604027"/>
                <a:gd name="connsiteY5" fmla="*/ 76156 h 535314"/>
                <a:gd name="connsiteX0" fmla="*/ 89 w 604027"/>
                <a:gd name="connsiteY0" fmla="*/ 76156 h 535314"/>
                <a:gd name="connsiteX1" fmla="*/ 89 w 604027"/>
                <a:gd name="connsiteY1" fmla="*/ 76156 h 535314"/>
                <a:gd name="connsiteX2" fmla="*/ 561232 w 604027"/>
                <a:gd name="connsiteY2" fmla="*/ 0 h 535314"/>
                <a:gd name="connsiteX3" fmla="*/ 566681 w 604027"/>
                <a:gd name="connsiteY3" fmla="*/ 533618 h 535314"/>
                <a:gd name="connsiteX4" fmla="*/ 937 w 604027"/>
                <a:gd name="connsiteY4" fmla="*/ 535314 h 535314"/>
                <a:gd name="connsiteX5" fmla="*/ 89 w 604027"/>
                <a:gd name="connsiteY5" fmla="*/ 76156 h 535314"/>
                <a:gd name="connsiteX0" fmla="*/ 89 w 566681"/>
                <a:gd name="connsiteY0" fmla="*/ 76156 h 535314"/>
                <a:gd name="connsiteX1" fmla="*/ 89 w 566681"/>
                <a:gd name="connsiteY1" fmla="*/ 76156 h 535314"/>
                <a:gd name="connsiteX2" fmla="*/ 561232 w 566681"/>
                <a:gd name="connsiteY2" fmla="*/ 0 h 535314"/>
                <a:gd name="connsiteX3" fmla="*/ 566681 w 566681"/>
                <a:gd name="connsiteY3" fmla="*/ 533618 h 535314"/>
                <a:gd name="connsiteX4" fmla="*/ 937 w 566681"/>
                <a:gd name="connsiteY4" fmla="*/ 535314 h 535314"/>
                <a:gd name="connsiteX5" fmla="*/ 89 w 566681"/>
                <a:gd name="connsiteY5" fmla="*/ 76156 h 535314"/>
                <a:gd name="connsiteX0" fmla="*/ 89 w 566681"/>
                <a:gd name="connsiteY0" fmla="*/ 76156 h 535314"/>
                <a:gd name="connsiteX1" fmla="*/ 89 w 566681"/>
                <a:gd name="connsiteY1" fmla="*/ 76156 h 535314"/>
                <a:gd name="connsiteX2" fmla="*/ 561232 w 566681"/>
                <a:gd name="connsiteY2" fmla="*/ 0 h 535314"/>
                <a:gd name="connsiteX3" fmla="*/ 566681 w 566681"/>
                <a:gd name="connsiteY3" fmla="*/ 533618 h 535314"/>
                <a:gd name="connsiteX4" fmla="*/ 937 w 566681"/>
                <a:gd name="connsiteY4" fmla="*/ 535314 h 535314"/>
                <a:gd name="connsiteX5" fmla="*/ 89 w 566681"/>
                <a:gd name="connsiteY5" fmla="*/ 76156 h 535314"/>
                <a:gd name="connsiteX0" fmla="*/ 89 w 566681"/>
                <a:gd name="connsiteY0" fmla="*/ 76156 h 535314"/>
                <a:gd name="connsiteX1" fmla="*/ 89 w 566681"/>
                <a:gd name="connsiteY1" fmla="*/ 76156 h 535314"/>
                <a:gd name="connsiteX2" fmla="*/ 561232 w 566681"/>
                <a:gd name="connsiteY2" fmla="*/ 0 h 535314"/>
                <a:gd name="connsiteX3" fmla="*/ 566681 w 566681"/>
                <a:gd name="connsiteY3" fmla="*/ 533618 h 535314"/>
                <a:gd name="connsiteX4" fmla="*/ 937 w 566681"/>
                <a:gd name="connsiteY4" fmla="*/ 535314 h 535314"/>
                <a:gd name="connsiteX5" fmla="*/ 89 w 566681"/>
                <a:gd name="connsiteY5" fmla="*/ 76156 h 535314"/>
                <a:gd name="connsiteX0" fmla="*/ 89 w 566681"/>
                <a:gd name="connsiteY0" fmla="*/ 76156 h 535314"/>
                <a:gd name="connsiteX1" fmla="*/ 89 w 566681"/>
                <a:gd name="connsiteY1" fmla="*/ 76156 h 535314"/>
                <a:gd name="connsiteX2" fmla="*/ 561232 w 566681"/>
                <a:gd name="connsiteY2" fmla="*/ 0 h 535314"/>
                <a:gd name="connsiteX3" fmla="*/ 566681 w 566681"/>
                <a:gd name="connsiteY3" fmla="*/ 533618 h 535314"/>
                <a:gd name="connsiteX4" fmla="*/ 937 w 566681"/>
                <a:gd name="connsiteY4" fmla="*/ 535314 h 535314"/>
                <a:gd name="connsiteX5" fmla="*/ 89 w 566681"/>
                <a:gd name="connsiteY5" fmla="*/ 76156 h 535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6681" h="535314">
                  <a:moveTo>
                    <a:pt x="89" y="76156"/>
                  </a:moveTo>
                  <a:lnTo>
                    <a:pt x="89" y="76156"/>
                  </a:lnTo>
                  <a:lnTo>
                    <a:pt x="561232" y="0"/>
                  </a:lnTo>
                  <a:cubicBezTo>
                    <a:pt x="565177" y="64337"/>
                    <a:pt x="563956" y="497790"/>
                    <a:pt x="566681" y="533618"/>
                  </a:cubicBezTo>
                  <a:cubicBezTo>
                    <a:pt x="540025" y="531802"/>
                    <a:pt x="189518" y="534749"/>
                    <a:pt x="937" y="535314"/>
                  </a:cubicBezTo>
                  <a:cubicBezTo>
                    <a:pt x="1448" y="508468"/>
                    <a:pt x="-422" y="226827"/>
                    <a:pt x="89" y="76156"/>
                  </a:cubicBezTo>
                  <a:close/>
                </a:path>
              </a:pathLst>
            </a:cu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48" name="Freeform 47"/>
            <p:cNvSpPr/>
            <p:nvPr/>
          </p:nvSpPr>
          <p:spPr bwMode="auto">
            <a:xfrm flipV="1">
              <a:off x="8913812" y="5598786"/>
              <a:ext cx="739212" cy="647233"/>
            </a:xfrm>
            <a:custGeom>
              <a:avLst/>
              <a:gdLst>
                <a:gd name="connsiteX0" fmla="*/ 0 w 577811"/>
                <a:gd name="connsiteY0" fmla="*/ 96243 h 595516"/>
                <a:gd name="connsiteX1" fmla="*/ 0 w 577811"/>
                <a:gd name="connsiteY1" fmla="*/ 96243 h 595516"/>
                <a:gd name="connsiteX2" fmla="*/ 56098 w 577811"/>
                <a:gd name="connsiteY2" fmla="*/ 90633 h 595516"/>
                <a:gd name="connsiteX3" fmla="*/ 151465 w 577811"/>
                <a:gd name="connsiteY3" fmla="*/ 85023 h 595516"/>
                <a:gd name="connsiteX4" fmla="*/ 190734 w 577811"/>
                <a:gd name="connsiteY4" fmla="*/ 79413 h 595516"/>
                <a:gd name="connsiteX5" fmla="*/ 286101 w 577811"/>
                <a:gd name="connsiteY5" fmla="*/ 73803 h 595516"/>
                <a:gd name="connsiteX6" fmla="*/ 370248 w 577811"/>
                <a:gd name="connsiteY6" fmla="*/ 62584 h 595516"/>
                <a:gd name="connsiteX7" fmla="*/ 387077 w 577811"/>
                <a:gd name="connsiteY7" fmla="*/ 56974 h 595516"/>
                <a:gd name="connsiteX8" fmla="*/ 431956 w 577811"/>
                <a:gd name="connsiteY8" fmla="*/ 51364 h 595516"/>
                <a:gd name="connsiteX9" fmla="*/ 460005 w 577811"/>
                <a:gd name="connsiteY9" fmla="*/ 45754 h 595516"/>
                <a:gd name="connsiteX10" fmla="*/ 510493 w 577811"/>
                <a:gd name="connsiteY10" fmla="*/ 40144 h 595516"/>
                <a:gd name="connsiteX11" fmla="*/ 527323 w 577811"/>
                <a:gd name="connsiteY11" fmla="*/ 34535 h 595516"/>
                <a:gd name="connsiteX12" fmla="*/ 560982 w 577811"/>
                <a:gd name="connsiteY12" fmla="*/ 28925 h 595516"/>
                <a:gd name="connsiteX13" fmla="*/ 577811 w 577811"/>
                <a:gd name="connsiteY13" fmla="*/ 17705 h 595516"/>
                <a:gd name="connsiteX14" fmla="*/ 566592 w 577811"/>
                <a:gd name="connsiteY14" fmla="*/ 876 h 595516"/>
                <a:gd name="connsiteX15" fmla="*/ 549762 w 577811"/>
                <a:gd name="connsiteY15" fmla="*/ 6486 h 595516"/>
                <a:gd name="connsiteX16" fmla="*/ 560982 w 577811"/>
                <a:gd name="connsiteY16" fmla="*/ 40144 h 595516"/>
                <a:gd name="connsiteX17" fmla="*/ 566592 w 577811"/>
                <a:gd name="connsiteY17" fmla="*/ 208439 h 595516"/>
                <a:gd name="connsiteX18" fmla="*/ 572201 w 577811"/>
                <a:gd name="connsiteY18" fmla="*/ 225268 h 595516"/>
                <a:gd name="connsiteX19" fmla="*/ 566592 w 577811"/>
                <a:gd name="connsiteY19" fmla="*/ 286976 h 595516"/>
                <a:gd name="connsiteX20" fmla="*/ 555372 w 577811"/>
                <a:gd name="connsiteY20" fmla="*/ 359904 h 595516"/>
                <a:gd name="connsiteX21" fmla="*/ 544152 w 577811"/>
                <a:gd name="connsiteY21" fmla="*/ 477710 h 595516"/>
                <a:gd name="connsiteX22" fmla="*/ 549762 w 577811"/>
                <a:gd name="connsiteY22" fmla="*/ 528198 h 595516"/>
                <a:gd name="connsiteX23" fmla="*/ 566592 w 577811"/>
                <a:gd name="connsiteY23" fmla="*/ 539418 h 595516"/>
                <a:gd name="connsiteX24" fmla="*/ 549762 w 577811"/>
                <a:gd name="connsiteY24" fmla="*/ 550638 h 595516"/>
                <a:gd name="connsiteX25" fmla="*/ 359028 w 577811"/>
                <a:gd name="connsiteY25" fmla="*/ 550638 h 595516"/>
                <a:gd name="connsiteX26" fmla="*/ 319760 w 577811"/>
                <a:gd name="connsiteY26" fmla="*/ 556248 h 595516"/>
                <a:gd name="connsiteX27" fmla="*/ 241222 w 577811"/>
                <a:gd name="connsiteY27" fmla="*/ 561857 h 595516"/>
                <a:gd name="connsiteX28" fmla="*/ 190734 w 577811"/>
                <a:gd name="connsiteY28" fmla="*/ 578687 h 595516"/>
                <a:gd name="connsiteX29" fmla="*/ 157075 w 577811"/>
                <a:gd name="connsiteY29" fmla="*/ 589906 h 595516"/>
                <a:gd name="connsiteX30" fmla="*/ 134636 w 577811"/>
                <a:gd name="connsiteY30" fmla="*/ 595516 h 595516"/>
                <a:gd name="connsiteX31" fmla="*/ 117806 w 577811"/>
                <a:gd name="connsiteY31" fmla="*/ 589906 h 595516"/>
                <a:gd name="connsiteX32" fmla="*/ 95367 w 577811"/>
                <a:gd name="connsiteY32" fmla="*/ 584297 h 595516"/>
                <a:gd name="connsiteX33" fmla="*/ 44879 w 577811"/>
                <a:gd name="connsiteY33" fmla="*/ 567467 h 595516"/>
                <a:gd name="connsiteX34" fmla="*/ 11220 w 577811"/>
                <a:gd name="connsiteY34" fmla="*/ 550638 h 595516"/>
                <a:gd name="connsiteX35" fmla="*/ 5610 w 577811"/>
                <a:gd name="connsiteY35" fmla="*/ 550638 h 595516"/>
                <a:gd name="connsiteX36" fmla="*/ 0 w 577811"/>
                <a:gd name="connsiteY36" fmla="*/ 96243 h 595516"/>
                <a:gd name="connsiteX0" fmla="*/ 0 w 577811"/>
                <a:gd name="connsiteY0" fmla="*/ 96243 h 595516"/>
                <a:gd name="connsiteX1" fmla="*/ 0 w 577811"/>
                <a:gd name="connsiteY1" fmla="*/ 96243 h 595516"/>
                <a:gd name="connsiteX2" fmla="*/ 151465 w 577811"/>
                <a:gd name="connsiteY2" fmla="*/ 85023 h 595516"/>
                <a:gd name="connsiteX3" fmla="*/ 190734 w 577811"/>
                <a:gd name="connsiteY3" fmla="*/ 79413 h 595516"/>
                <a:gd name="connsiteX4" fmla="*/ 286101 w 577811"/>
                <a:gd name="connsiteY4" fmla="*/ 73803 h 595516"/>
                <a:gd name="connsiteX5" fmla="*/ 370248 w 577811"/>
                <a:gd name="connsiteY5" fmla="*/ 62584 h 595516"/>
                <a:gd name="connsiteX6" fmla="*/ 387077 w 577811"/>
                <a:gd name="connsiteY6" fmla="*/ 56974 h 595516"/>
                <a:gd name="connsiteX7" fmla="*/ 431956 w 577811"/>
                <a:gd name="connsiteY7" fmla="*/ 51364 h 595516"/>
                <a:gd name="connsiteX8" fmla="*/ 460005 w 577811"/>
                <a:gd name="connsiteY8" fmla="*/ 45754 h 595516"/>
                <a:gd name="connsiteX9" fmla="*/ 510493 w 577811"/>
                <a:gd name="connsiteY9" fmla="*/ 40144 h 595516"/>
                <a:gd name="connsiteX10" fmla="*/ 527323 w 577811"/>
                <a:gd name="connsiteY10" fmla="*/ 34535 h 595516"/>
                <a:gd name="connsiteX11" fmla="*/ 560982 w 577811"/>
                <a:gd name="connsiteY11" fmla="*/ 28925 h 595516"/>
                <a:gd name="connsiteX12" fmla="*/ 577811 w 577811"/>
                <a:gd name="connsiteY12" fmla="*/ 17705 h 595516"/>
                <a:gd name="connsiteX13" fmla="*/ 566592 w 577811"/>
                <a:gd name="connsiteY13" fmla="*/ 876 h 595516"/>
                <a:gd name="connsiteX14" fmla="*/ 549762 w 577811"/>
                <a:gd name="connsiteY14" fmla="*/ 6486 h 595516"/>
                <a:gd name="connsiteX15" fmla="*/ 560982 w 577811"/>
                <a:gd name="connsiteY15" fmla="*/ 40144 h 595516"/>
                <a:gd name="connsiteX16" fmla="*/ 566592 w 577811"/>
                <a:gd name="connsiteY16" fmla="*/ 208439 h 595516"/>
                <a:gd name="connsiteX17" fmla="*/ 572201 w 577811"/>
                <a:gd name="connsiteY17" fmla="*/ 225268 h 595516"/>
                <a:gd name="connsiteX18" fmla="*/ 566592 w 577811"/>
                <a:gd name="connsiteY18" fmla="*/ 286976 h 595516"/>
                <a:gd name="connsiteX19" fmla="*/ 555372 w 577811"/>
                <a:gd name="connsiteY19" fmla="*/ 359904 h 595516"/>
                <a:gd name="connsiteX20" fmla="*/ 544152 w 577811"/>
                <a:gd name="connsiteY20" fmla="*/ 477710 h 595516"/>
                <a:gd name="connsiteX21" fmla="*/ 549762 w 577811"/>
                <a:gd name="connsiteY21" fmla="*/ 528198 h 595516"/>
                <a:gd name="connsiteX22" fmla="*/ 566592 w 577811"/>
                <a:gd name="connsiteY22" fmla="*/ 539418 h 595516"/>
                <a:gd name="connsiteX23" fmla="*/ 549762 w 577811"/>
                <a:gd name="connsiteY23" fmla="*/ 550638 h 595516"/>
                <a:gd name="connsiteX24" fmla="*/ 359028 w 577811"/>
                <a:gd name="connsiteY24" fmla="*/ 550638 h 595516"/>
                <a:gd name="connsiteX25" fmla="*/ 319760 w 577811"/>
                <a:gd name="connsiteY25" fmla="*/ 556248 h 595516"/>
                <a:gd name="connsiteX26" fmla="*/ 241222 w 577811"/>
                <a:gd name="connsiteY26" fmla="*/ 561857 h 595516"/>
                <a:gd name="connsiteX27" fmla="*/ 190734 w 577811"/>
                <a:gd name="connsiteY27" fmla="*/ 578687 h 595516"/>
                <a:gd name="connsiteX28" fmla="*/ 157075 w 577811"/>
                <a:gd name="connsiteY28" fmla="*/ 589906 h 595516"/>
                <a:gd name="connsiteX29" fmla="*/ 134636 w 577811"/>
                <a:gd name="connsiteY29" fmla="*/ 595516 h 595516"/>
                <a:gd name="connsiteX30" fmla="*/ 117806 w 577811"/>
                <a:gd name="connsiteY30" fmla="*/ 589906 h 595516"/>
                <a:gd name="connsiteX31" fmla="*/ 95367 w 577811"/>
                <a:gd name="connsiteY31" fmla="*/ 584297 h 595516"/>
                <a:gd name="connsiteX32" fmla="*/ 44879 w 577811"/>
                <a:gd name="connsiteY32" fmla="*/ 567467 h 595516"/>
                <a:gd name="connsiteX33" fmla="*/ 11220 w 577811"/>
                <a:gd name="connsiteY33" fmla="*/ 550638 h 595516"/>
                <a:gd name="connsiteX34" fmla="*/ 5610 w 577811"/>
                <a:gd name="connsiteY34" fmla="*/ 550638 h 595516"/>
                <a:gd name="connsiteX35" fmla="*/ 0 w 577811"/>
                <a:gd name="connsiteY35" fmla="*/ 96243 h 595516"/>
                <a:gd name="connsiteX0" fmla="*/ 0 w 577811"/>
                <a:gd name="connsiteY0" fmla="*/ 96243 h 595516"/>
                <a:gd name="connsiteX1" fmla="*/ 0 w 577811"/>
                <a:gd name="connsiteY1" fmla="*/ 96243 h 595516"/>
                <a:gd name="connsiteX2" fmla="*/ 190734 w 577811"/>
                <a:gd name="connsiteY2" fmla="*/ 79413 h 595516"/>
                <a:gd name="connsiteX3" fmla="*/ 286101 w 577811"/>
                <a:gd name="connsiteY3" fmla="*/ 73803 h 595516"/>
                <a:gd name="connsiteX4" fmla="*/ 370248 w 577811"/>
                <a:gd name="connsiteY4" fmla="*/ 62584 h 595516"/>
                <a:gd name="connsiteX5" fmla="*/ 387077 w 577811"/>
                <a:gd name="connsiteY5" fmla="*/ 56974 h 595516"/>
                <a:gd name="connsiteX6" fmla="*/ 431956 w 577811"/>
                <a:gd name="connsiteY6" fmla="*/ 51364 h 595516"/>
                <a:gd name="connsiteX7" fmla="*/ 460005 w 577811"/>
                <a:gd name="connsiteY7" fmla="*/ 45754 h 595516"/>
                <a:gd name="connsiteX8" fmla="*/ 510493 w 577811"/>
                <a:gd name="connsiteY8" fmla="*/ 40144 h 595516"/>
                <a:gd name="connsiteX9" fmla="*/ 527323 w 577811"/>
                <a:gd name="connsiteY9" fmla="*/ 34535 h 595516"/>
                <a:gd name="connsiteX10" fmla="*/ 560982 w 577811"/>
                <a:gd name="connsiteY10" fmla="*/ 28925 h 595516"/>
                <a:gd name="connsiteX11" fmla="*/ 577811 w 577811"/>
                <a:gd name="connsiteY11" fmla="*/ 17705 h 595516"/>
                <a:gd name="connsiteX12" fmla="*/ 566592 w 577811"/>
                <a:gd name="connsiteY12" fmla="*/ 876 h 595516"/>
                <a:gd name="connsiteX13" fmla="*/ 549762 w 577811"/>
                <a:gd name="connsiteY13" fmla="*/ 6486 h 595516"/>
                <a:gd name="connsiteX14" fmla="*/ 560982 w 577811"/>
                <a:gd name="connsiteY14" fmla="*/ 40144 h 595516"/>
                <a:gd name="connsiteX15" fmla="*/ 566592 w 577811"/>
                <a:gd name="connsiteY15" fmla="*/ 208439 h 595516"/>
                <a:gd name="connsiteX16" fmla="*/ 572201 w 577811"/>
                <a:gd name="connsiteY16" fmla="*/ 225268 h 595516"/>
                <a:gd name="connsiteX17" fmla="*/ 566592 w 577811"/>
                <a:gd name="connsiteY17" fmla="*/ 286976 h 595516"/>
                <a:gd name="connsiteX18" fmla="*/ 555372 w 577811"/>
                <a:gd name="connsiteY18" fmla="*/ 359904 h 595516"/>
                <a:gd name="connsiteX19" fmla="*/ 544152 w 577811"/>
                <a:gd name="connsiteY19" fmla="*/ 477710 h 595516"/>
                <a:gd name="connsiteX20" fmla="*/ 549762 w 577811"/>
                <a:gd name="connsiteY20" fmla="*/ 528198 h 595516"/>
                <a:gd name="connsiteX21" fmla="*/ 566592 w 577811"/>
                <a:gd name="connsiteY21" fmla="*/ 539418 h 595516"/>
                <a:gd name="connsiteX22" fmla="*/ 549762 w 577811"/>
                <a:gd name="connsiteY22" fmla="*/ 550638 h 595516"/>
                <a:gd name="connsiteX23" fmla="*/ 359028 w 577811"/>
                <a:gd name="connsiteY23" fmla="*/ 550638 h 595516"/>
                <a:gd name="connsiteX24" fmla="*/ 319760 w 577811"/>
                <a:gd name="connsiteY24" fmla="*/ 556248 h 595516"/>
                <a:gd name="connsiteX25" fmla="*/ 241222 w 577811"/>
                <a:gd name="connsiteY25" fmla="*/ 561857 h 595516"/>
                <a:gd name="connsiteX26" fmla="*/ 190734 w 577811"/>
                <a:gd name="connsiteY26" fmla="*/ 578687 h 595516"/>
                <a:gd name="connsiteX27" fmla="*/ 157075 w 577811"/>
                <a:gd name="connsiteY27" fmla="*/ 589906 h 595516"/>
                <a:gd name="connsiteX28" fmla="*/ 134636 w 577811"/>
                <a:gd name="connsiteY28" fmla="*/ 595516 h 595516"/>
                <a:gd name="connsiteX29" fmla="*/ 117806 w 577811"/>
                <a:gd name="connsiteY29" fmla="*/ 589906 h 595516"/>
                <a:gd name="connsiteX30" fmla="*/ 95367 w 577811"/>
                <a:gd name="connsiteY30" fmla="*/ 584297 h 595516"/>
                <a:gd name="connsiteX31" fmla="*/ 44879 w 577811"/>
                <a:gd name="connsiteY31" fmla="*/ 567467 h 595516"/>
                <a:gd name="connsiteX32" fmla="*/ 11220 w 577811"/>
                <a:gd name="connsiteY32" fmla="*/ 550638 h 595516"/>
                <a:gd name="connsiteX33" fmla="*/ 5610 w 577811"/>
                <a:gd name="connsiteY33" fmla="*/ 550638 h 595516"/>
                <a:gd name="connsiteX34" fmla="*/ 0 w 577811"/>
                <a:gd name="connsiteY34" fmla="*/ 96243 h 595516"/>
                <a:gd name="connsiteX0" fmla="*/ 0 w 577811"/>
                <a:gd name="connsiteY0" fmla="*/ 96243 h 595516"/>
                <a:gd name="connsiteX1" fmla="*/ 0 w 577811"/>
                <a:gd name="connsiteY1" fmla="*/ 96243 h 595516"/>
                <a:gd name="connsiteX2" fmla="*/ 286101 w 577811"/>
                <a:gd name="connsiteY2" fmla="*/ 73803 h 595516"/>
                <a:gd name="connsiteX3" fmla="*/ 370248 w 577811"/>
                <a:gd name="connsiteY3" fmla="*/ 62584 h 595516"/>
                <a:gd name="connsiteX4" fmla="*/ 387077 w 577811"/>
                <a:gd name="connsiteY4" fmla="*/ 56974 h 595516"/>
                <a:gd name="connsiteX5" fmla="*/ 431956 w 577811"/>
                <a:gd name="connsiteY5" fmla="*/ 51364 h 595516"/>
                <a:gd name="connsiteX6" fmla="*/ 460005 w 577811"/>
                <a:gd name="connsiteY6" fmla="*/ 45754 h 595516"/>
                <a:gd name="connsiteX7" fmla="*/ 510493 w 577811"/>
                <a:gd name="connsiteY7" fmla="*/ 40144 h 595516"/>
                <a:gd name="connsiteX8" fmla="*/ 527323 w 577811"/>
                <a:gd name="connsiteY8" fmla="*/ 34535 h 595516"/>
                <a:gd name="connsiteX9" fmla="*/ 560982 w 577811"/>
                <a:gd name="connsiteY9" fmla="*/ 28925 h 595516"/>
                <a:gd name="connsiteX10" fmla="*/ 577811 w 577811"/>
                <a:gd name="connsiteY10" fmla="*/ 17705 h 595516"/>
                <a:gd name="connsiteX11" fmla="*/ 566592 w 577811"/>
                <a:gd name="connsiteY11" fmla="*/ 876 h 595516"/>
                <a:gd name="connsiteX12" fmla="*/ 549762 w 577811"/>
                <a:gd name="connsiteY12" fmla="*/ 6486 h 595516"/>
                <a:gd name="connsiteX13" fmla="*/ 560982 w 577811"/>
                <a:gd name="connsiteY13" fmla="*/ 40144 h 595516"/>
                <a:gd name="connsiteX14" fmla="*/ 566592 w 577811"/>
                <a:gd name="connsiteY14" fmla="*/ 208439 h 595516"/>
                <a:gd name="connsiteX15" fmla="*/ 572201 w 577811"/>
                <a:gd name="connsiteY15" fmla="*/ 225268 h 595516"/>
                <a:gd name="connsiteX16" fmla="*/ 566592 w 577811"/>
                <a:gd name="connsiteY16" fmla="*/ 286976 h 595516"/>
                <a:gd name="connsiteX17" fmla="*/ 555372 w 577811"/>
                <a:gd name="connsiteY17" fmla="*/ 359904 h 595516"/>
                <a:gd name="connsiteX18" fmla="*/ 544152 w 577811"/>
                <a:gd name="connsiteY18" fmla="*/ 477710 h 595516"/>
                <a:gd name="connsiteX19" fmla="*/ 549762 w 577811"/>
                <a:gd name="connsiteY19" fmla="*/ 528198 h 595516"/>
                <a:gd name="connsiteX20" fmla="*/ 566592 w 577811"/>
                <a:gd name="connsiteY20" fmla="*/ 539418 h 595516"/>
                <a:gd name="connsiteX21" fmla="*/ 549762 w 577811"/>
                <a:gd name="connsiteY21" fmla="*/ 550638 h 595516"/>
                <a:gd name="connsiteX22" fmla="*/ 359028 w 577811"/>
                <a:gd name="connsiteY22" fmla="*/ 550638 h 595516"/>
                <a:gd name="connsiteX23" fmla="*/ 319760 w 577811"/>
                <a:gd name="connsiteY23" fmla="*/ 556248 h 595516"/>
                <a:gd name="connsiteX24" fmla="*/ 241222 w 577811"/>
                <a:gd name="connsiteY24" fmla="*/ 561857 h 595516"/>
                <a:gd name="connsiteX25" fmla="*/ 190734 w 577811"/>
                <a:gd name="connsiteY25" fmla="*/ 578687 h 595516"/>
                <a:gd name="connsiteX26" fmla="*/ 157075 w 577811"/>
                <a:gd name="connsiteY26" fmla="*/ 589906 h 595516"/>
                <a:gd name="connsiteX27" fmla="*/ 134636 w 577811"/>
                <a:gd name="connsiteY27" fmla="*/ 595516 h 595516"/>
                <a:gd name="connsiteX28" fmla="*/ 117806 w 577811"/>
                <a:gd name="connsiteY28" fmla="*/ 589906 h 595516"/>
                <a:gd name="connsiteX29" fmla="*/ 95367 w 577811"/>
                <a:gd name="connsiteY29" fmla="*/ 584297 h 595516"/>
                <a:gd name="connsiteX30" fmla="*/ 44879 w 577811"/>
                <a:gd name="connsiteY30" fmla="*/ 567467 h 595516"/>
                <a:gd name="connsiteX31" fmla="*/ 11220 w 577811"/>
                <a:gd name="connsiteY31" fmla="*/ 550638 h 595516"/>
                <a:gd name="connsiteX32" fmla="*/ 5610 w 577811"/>
                <a:gd name="connsiteY32" fmla="*/ 550638 h 595516"/>
                <a:gd name="connsiteX33" fmla="*/ 0 w 577811"/>
                <a:gd name="connsiteY33" fmla="*/ 96243 h 595516"/>
                <a:gd name="connsiteX0" fmla="*/ 0 w 577811"/>
                <a:gd name="connsiteY0" fmla="*/ 96243 h 595516"/>
                <a:gd name="connsiteX1" fmla="*/ 0 w 577811"/>
                <a:gd name="connsiteY1" fmla="*/ 96243 h 595516"/>
                <a:gd name="connsiteX2" fmla="*/ 370248 w 577811"/>
                <a:gd name="connsiteY2" fmla="*/ 62584 h 595516"/>
                <a:gd name="connsiteX3" fmla="*/ 387077 w 577811"/>
                <a:gd name="connsiteY3" fmla="*/ 56974 h 595516"/>
                <a:gd name="connsiteX4" fmla="*/ 431956 w 577811"/>
                <a:gd name="connsiteY4" fmla="*/ 51364 h 595516"/>
                <a:gd name="connsiteX5" fmla="*/ 460005 w 577811"/>
                <a:gd name="connsiteY5" fmla="*/ 45754 h 595516"/>
                <a:gd name="connsiteX6" fmla="*/ 510493 w 577811"/>
                <a:gd name="connsiteY6" fmla="*/ 40144 h 595516"/>
                <a:gd name="connsiteX7" fmla="*/ 527323 w 577811"/>
                <a:gd name="connsiteY7" fmla="*/ 34535 h 595516"/>
                <a:gd name="connsiteX8" fmla="*/ 560982 w 577811"/>
                <a:gd name="connsiteY8" fmla="*/ 28925 h 595516"/>
                <a:gd name="connsiteX9" fmla="*/ 577811 w 577811"/>
                <a:gd name="connsiteY9" fmla="*/ 17705 h 595516"/>
                <a:gd name="connsiteX10" fmla="*/ 566592 w 577811"/>
                <a:gd name="connsiteY10" fmla="*/ 876 h 595516"/>
                <a:gd name="connsiteX11" fmla="*/ 549762 w 577811"/>
                <a:gd name="connsiteY11" fmla="*/ 6486 h 595516"/>
                <a:gd name="connsiteX12" fmla="*/ 560982 w 577811"/>
                <a:gd name="connsiteY12" fmla="*/ 40144 h 595516"/>
                <a:gd name="connsiteX13" fmla="*/ 566592 w 577811"/>
                <a:gd name="connsiteY13" fmla="*/ 208439 h 595516"/>
                <a:gd name="connsiteX14" fmla="*/ 572201 w 577811"/>
                <a:gd name="connsiteY14" fmla="*/ 225268 h 595516"/>
                <a:gd name="connsiteX15" fmla="*/ 566592 w 577811"/>
                <a:gd name="connsiteY15" fmla="*/ 286976 h 595516"/>
                <a:gd name="connsiteX16" fmla="*/ 555372 w 577811"/>
                <a:gd name="connsiteY16" fmla="*/ 359904 h 595516"/>
                <a:gd name="connsiteX17" fmla="*/ 544152 w 577811"/>
                <a:gd name="connsiteY17" fmla="*/ 477710 h 595516"/>
                <a:gd name="connsiteX18" fmla="*/ 549762 w 577811"/>
                <a:gd name="connsiteY18" fmla="*/ 528198 h 595516"/>
                <a:gd name="connsiteX19" fmla="*/ 566592 w 577811"/>
                <a:gd name="connsiteY19" fmla="*/ 539418 h 595516"/>
                <a:gd name="connsiteX20" fmla="*/ 549762 w 577811"/>
                <a:gd name="connsiteY20" fmla="*/ 550638 h 595516"/>
                <a:gd name="connsiteX21" fmla="*/ 359028 w 577811"/>
                <a:gd name="connsiteY21" fmla="*/ 550638 h 595516"/>
                <a:gd name="connsiteX22" fmla="*/ 319760 w 577811"/>
                <a:gd name="connsiteY22" fmla="*/ 556248 h 595516"/>
                <a:gd name="connsiteX23" fmla="*/ 241222 w 577811"/>
                <a:gd name="connsiteY23" fmla="*/ 561857 h 595516"/>
                <a:gd name="connsiteX24" fmla="*/ 190734 w 577811"/>
                <a:gd name="connsiteY24" fmla="*/ 578687 h 595516"/>
                <a:gd name="connsiteX25" fmla="*/ 157075 w 577811"/>
                <a:gd name="connsiteY25" fmla="*/ 589906 h 595516"/>
                <a:gd name="connsiteX26" fmla="*/ 134636 w 577811"/>
                <a:gd name="connsiteY26" fmla="*/ 595516 h 595516"/>
                <a:gd name="connsiteX27" fmla="*/ 117806 w 577811"/>
                <a:gd name="connsiteY27" fmla="*/ 589906 h 595516"/>
                <a:gd name="connsiteX28" fmla="*/ 95367 w 577811"/>
                <a:gd name="connsiteY28" fmla="*/ 584297 h 595516"/>
                <a:gd name="connsiteX29" fmla="*/ 44879 w 577811"/>
                <a:gd name="connsiteY29" fmla="*/ 567467 h 595516"/>
                <a:gd name="connsiteX30" fmla="*/ 11220 w 577811"/>
                <a:gd name="connsiteY30" fmla="*/ 550638 h 595516"/>
                <a:gd name="connsiteX31" fmla="*/ 5610 w 577811"/>
                <a:gd name="connsiteY31" fmla="*/ 550638 h 595516"/>
                <a:gd name="connsiteX32" fmla="*/ 0 w 577811"/>
                <a:gd name="connsiteY32" fmla="*/ 96243 h 595516"/>
                <a:gd name="connsiteX0" fmla="*/ 0 w 577811"/>
                <a:gd name="connsiteY0" fmla="*/ 96243 h 595516"/>
                <a:gd name="connsiteX1" fmla="*/ 0 w 577811"/>
                <a:gd name="connsiteY1" fmla="*/ 96243 h 595516"/>
                <a:gd name="connsiteX2" fmla="*/ 387077 w 577811"/>
                <a:gd name="connsiteY2" fmla="*/ 56974 h 595516"/>
                <a:gd name="connsiteX3" fmla="*/ 431956 w 577811"/>
                <a:gd name="connsiteY3" fmla="*/ 51364 h 595516"/>
                <a:gd name="connsiteX4" fmla="*/ 460005 w 577811"/>
                <a:gd name="connsiteY4" fmla="*/ 45754 h 595516"/>
                <a:gd name="connsiteX5" fmla="*/ 510493 w 577811"/>
                <a:gd name="connsiteY5" fmla="*/ 40144 h 595516"/>
                <a:gd name="connsiteX6" fmla="*/ 527323 w 577811"/>
                <a:gd name="connsiteY6" fmla="*/ 34535 h 595516"/>
                <a:gd name="connsiteX7" fmla="*/ 560982 w 577811"/>
                <a:gd name="connsiteY7" fmla="*/ 28925 h 595516"/>
                <a:gd name="connsiteX8" fmla="*/ 577811 w 577811"/>
                <a:gd name="connsiteY8" fmla="*/ 17705 h 595516"/>
                <a:gd name="connsiteX9" fmla="*/ 566592 w 577811"/>
                <a:gd name="connsiteY9" fmla="*/ 876 h 595516"/>
                <a:gd name="connsiteX10" fmla="*/ 549762 w 577811"/>
                <a:gd name="connsiteY10" fmla="*/ 6486 h 595516"/>
                <a:gd name="connsiteX11" fmla="*/ 560982 w 577811"/>
                <a:gd name="connsiteY11" fmla="*/ 40144 h 595516"/>
                <a:gd name="connsiteX12" fmla="*/ 566592 w 577811"/>
                <a:gd name="connsiteY12" fmla="*/ 208439 h 595516"/>
                <a:gd name="connsiteX13" fmla="*/ 572201 w 577811"/>
                <a:gd name="connsiteY13" fmla="*/ 225268 h 595516"/>
                <a:gd name="connsiteX14" fmla="*/ 566592 w 577811"/>
                <a:gd name="connsiteY14" fmla="*/ 286976 h 595516"/>
                <a:gd name="connsiteX15" fmla="*/ 555372 w 577811"/>
                <a:gd name="connsiteY15" fmla="*/ 359904 h 595516"/>
                <a:gd name="connsiteX16" fmla="*/ 544152 w 577811"/>
                <a:gd name="connsiteY16" fmla="*/ 477710 h 595516"/>
                <a:gd name="connsiteX17" fmla="*/ 549762 w 577811"/>
                <a:gd name="connsiteY17" fmla="*/ 528198 h 595516"/>
                <a:gd name="connsiteX18" fmla="*/ 566592 w 577811"/>
                <a:gd name="connsiteY18" fmla="*/ 539418 h 595516"/>
                <a:gd name="connsiteX19" fmla="*/ 549762 w 577811"/>
                <a:gd name="connsiteY19" fmla="*/ 550638 h 595516"/>
                <a:gd name="connsiteX20" fmla="*/ 359028 w 577811"/>
                <a:gd name="connsiteY20" fmla="*/ 550638 h 595516"/>
                <a:gd name="connsiteX21" fmla="*/ 319760 w 577811"/>
                <a:gd name="connsiteY21" fmla="*/ 556248 h 595516"/>
                <a:gd name="connsiteX22" fmla="*/ 241222 w 577811"/>
                <a:gd name="connsiteY22" fmla="*/ 561857 h 595516"/>
                <a:gd name="connsiteX23" fmla="*/ 190734 w 577811"/>
                <a:gd name="connsiteY23" fmla="*/ 578687 h 595516"/>
                <a:gd name="connsiteX24" fmla="*/ 157075 w 577811"/>
                <a:gd name="connsiteY24" fmla="*/ 589906 h 595516"/>
                <a:gd name="connsiteX25" fmla="*/ 134636 w 577811"/>
                <a:gd name="connsiteY25" fmla="*/ 595516 h 595516"/>
                <a:gd name="connsiteX26" fmla="*/ 117806 w 577811"/>
                <a:gd name="connsiteY26" fmla="*/ 589906 h 595516"/>
                <a:gd name="connsiteX27" fmla="*/ 95367 w 577811"/>
                <a:gd name="connsiteY27" fmla="*/ 584297 h 595516"/>
                <a:gd name="connsiteX28" fmla="*/ 44879 w 577811"/>
                <a:gd name="connsiteY28" fmla="*/ 567467 h 595516"/>
                <a:gd name="connsiteX29" fmla="*/ 11220 w 577811"/>
                <a:gd name="connsiteY29" fmla="*/ 550638 h 595516"/>
                <a:gd name="connsiteX30" fmla="*/ 5610 w 577811"/>
                <a:gd name="connsiteY30" fmla="*/ 550638 h 595516"/>
                <a:gd name="connsiteX31" fmla="*/ 0 w 577811"/>
                <a:gd name="connsiteY31" fmla="*/ 96243 h 595516"/>
                <a:gd name="connsiteX0" fmla="*/ 0 w 577811"/>
                <a:gd name="connsiteY0" fmla="*/ 96243 h 595516"/>
                <a:gd name="connsiteX1" fmla="*/ 0 w 577811"/>
                <a:gd name="connsiteY1" fmla="*/ 96243 h 595516"/>
                <a:gd name="connsiteX2" fmla="*/ 431956 w 577811"/>
                <a:gd name="connsiteY2" fmla="*/ 51364 h 595516"/>
                <a:gd name="connsiteX3" fmla="*/ 460005 w 577811"/>
                <a:gd name="connsiteY3" fmla="*/ 45754 h 595516"/>
                <a:gd name="connsiteX4" fmla="*/ 510493 w 577811"/>
                <a:gd name="connsiteY4" fmla="*/ 40144 h 595516"/>
                <a:gd name="connsiteX5" fmla="*/ 527323 w 577811"/>
                <a:gd name="connsiteY5" fmla="*/ 34535 h 595516"/>
                <a:gd name="connsiteX6" fmla="*/ 560982 w 577811"/>
                <a:gd name="connsiteY6" fmla="*/ 28925 h 595516"/>
                <a:gd name="connsiteX7" fmla="*/ 577811 w 577811"/>
                <a:gd name="connsiteY7" fmla="*/ 17705 h 595516"/>
                <a:gd name="connsiteX8" fmla="*/ 566592 w 577811"/>
                <a:gd name="connsiteY8" fmla="*/ 876 h 595516"/>
                <a:gd name="connsiteX9" fmla="*/ 549762 w 577811"/>
                <a:gd name="connsiteY9" fmla="*/ 6486 h 595516"/>
                <a:gd name="connsiteX10" fmla="*/ 560982 w 577811"/>
                <a:gd name="connsiteY10" fmla="*/ 40144 h 595516"/>
                <a:gd name="connsiteX11" fmla="*/ 566592 w 577811"/>
                <a:gd name="connsiteY11" fmla="*/ 208439 h 595516"/>
                <a:gd name="connsiteX12" fmla="*/ 572201 w 577811"/>
                <a:gd name="connsiteY12" fmla="*/ 225268 h 595516"/>
                <a:gd name="connsiteX13" fmla="*/ 566592 w 577811"/>
                <a:gd name="connsiteY13" fmla="*/ 286976 h 595516"/>
                <a:gd name="connsiteX14" fmla="*/ 555372 w 577811"/>
                <a:gd name="connsiteY14" fmla="*/ 359904 h 595516"/>
                <a:gd name="connsiteX15" fmla="*/ 544152 w 577811"/>
                <a:gd name="connsiteY15" fmla="*/ 477710 h 595516"/>
                <a:gd name="connsiteX16" fmla="*/ 549762 w 577811"/>
                <a:gd name="connsiteY16" fmla="*/ 528198 h 595516"/>
                <a:gd name="connsiteX17" fmla="*/ 566592 w 577811"/>
                <a:gd name="connsiteY17" fmla="*/ 539418 h 595516"/>
                <a:gd name="connsiteX18" fmla="*/ 549762 w 577811"/>
                <a:gd name="connsiteY18" fmla="*/ 550638 h 595516"/>
                <a:gd name="connsiteX19" fmla="*/ 359028 w 577811"/>
                <a:gd name="connsiteY19" fmla="*/ 550638 h 595516"/>
                <a:gd name="connsiteX20" fmla="*/ 319760 w 577811"/>
                <a:gd name="connsiteY20" fmla="*/ 556248 h 595516"/>
                <a:gd name="connsiteX21" fmla="*/ 241222 w 577811"/>
                <a:gd name="connsiteY21" fmla="*/ 561857 h 595516"/>
                <a:gd name="connsiteX22" fmla="*/ 190734 w 577811"/>
                <a:gd name="connsiteY22" fmla="*/ 578687 h 595516"/>
                <a:gd name="connsiteX23" fmla="*/ 157075 w 577811"/>
                <a:gd name="connsiteY23" fmla="*/ 589906 h 595516"/>
                <a:gd name="connsiteX24" fmla="*/ 134636 w 577811"/>
                <a:gd name="connsiteY24" fmla="*/ 595516 h 595516"/>
                <a:gd name="connsiteX25" fmla="*/ 117806 w 577811"/>
                <a:gd name="connsiteY25" fmla="*/ 589906 h 595516"/>
                <a:gd name="connsiteX26" fmla="*/ 95367 w 577811"/>
                <a:gd name="connsiteY26" fmla="*/ 584297 h 595516"/>
                <a:gd name="connsiteX27" fmla="*/ 44879 w 577811"/>
                <a:gd name="connsiteY27" fmla="*/ 567467 h 595516"/>
                <a:gd name="connsiteX28" fmla="*/ 11220 w 577811"/>
                <a:gd name="connsiteY28" fmla="*/ 550638 h 595516"/>
                <a:gd name="connsiteX29" fmla="*/ 5610 w 577811"/>
                <a:gd name="connsiteY29" fmla="*/ 550638 h 595516"/>
                <a:gd name="connsiteX30" fmla="*/ 0 w 577811"/>
                <a:gd name="connsiteY30" fmla="*/ 96243 h 595516"/>
                <a:gd name="connsiteX0" fmla="*/ 0 w 577811"/>
                <a:gd name="connsiteY0" fmla="*/ 96243 h 595516"/>
                <a:gd name="connsiteX1" fmla="*/ 0 w 577811"/>
                <a:gd name="connsiteY1" fmla="*/ 96243 h 595516"/>
                <a:gd name="connsiteX2" fmla="*/ 460005 w 577811"/>
                <a:gd name="connsiteY2" fmla="*/ 45754 h 595516"/>
                <a:gd name="connsiteX3" fmla="*/ 510493 w 577811"/>
                <a:gd name="connsiteY3" fmla="*/ 40144 h 595516"/>
                <a:gd name="connsiteX4" fmla="*/ 527323 w 577811"/>
                <a:gd name="connsiteY4" fmla="*/ 34535 h 595516"/>
                <a:gd name="connsiteX5" fmla="*/ 560982 w 577811"/>
                <a:gd name="connsiteY5" fmla="*/ 28925 h 595516"/>
                <a:gd name="connsiteX6" fmla="*/ 577811 w 577811"/>
                <a:gd name="connsiteY6" fmla="*/ 17705 h 595516"/>
                <a:gd name="connsiteX7" fmla="*/ 566592 w 577811"/>
                <a:gd name="connsiteY7" fmla="*/ 876 h 595516"/>
                <a:gd name="connsiteX8" fmla="*/ 549762 w 577811"/>
                <a:gd name="connsiteY8" fmla="*/ 6486 h 595516"/>
                <a:gd name="connsiteX9" fmla="*/ 560982 w 577811"/>
                <a:gd name="connsiteY9" fmla="*/ 40144 h 595516"/>
                <a:gd name="connsiteX10" fmla="*/ 566592 w 577811"/>
                <a:gd name="connsiteY10" fmla="*/ 208439 h 595516"/>
                <a:gd name="connsiteX11" fmla="*/ 572201 w 577811"/>
                <a:gd name="connsiteY11" fmla="*/ 225268 h 595516"/>
                <a:gd name="connsiteX12" fmla="*/ 566592 w 577811"/>
                <a:gd name="connsiteY12" fmla="*/ 286976 h 595516"/>
                <a:gd name="connsiteX13" fmla="*/ 555372 w 577811"/>
                <a:gd name="connsiteY13" fmla="*/ 359904 h 595516"/>
                <a:gd name="connsiteX14" fmla="*/ 544152 w 577811"/>
                <a:gd name="connsiteY14" fmla="*/ 477710 h 595516"/>
                <a:gd name="connsiteX15" fmla="*/ 549762 w 577811"/>
                <a:gd name="connsiteY15" fmla="*/ 528198 h 595516"/>
                <a:gd name="connsiteX16" fmla="*/ 566592 w 577811"/>
                <a:gd name="connsiteY16" fmla="*/ 539418 h 595516"/>
                <a:gd name="connsiteX17" fmla="*/ 549762 w 577811"/>
                <a:gd name="connsiteY17" fmla="*/ 550638 h 595516"/>
                <a:gd name="connsiteX18" fmla="*/ 359028 w 577811"/>
                <a:gd name="connsiteY18" fmla="*/ 550638 h 595516"/>
                <a:gd name="connsiteX19" fmla="*/ 319760 w 577811"/>
                <a:gd name="connsiteY19" fmla="*/ 556248 h 595516"/>
                <a:gd name="connsiteX20" fmla="*/ 241222 w 577811"/>
                <a:gd name="connsiteY20" fmla="*/ 561857 h 595516"/>
                <a:gd name="connsiteX21" fmla="*/ 190734 w 577811"/>
                <a:gd name="connsiteY21" fmla="*/ 578687 h 595516"/>
                <a:gd name="connsiteX22" fmla="*/ 157075 w 577811"/>
                <a:gd name="connsiteY22" fmla="*/ 589906 h 595516"/>
                <a:gd name="connsiteX23" fmla="*/ 134636 w 577811"/>
                <a:gd name="connsiteY23" fmla="*/ 595516 h 595516"/>
                <a:gd name="connsiteX24" fmla="*/ 117806 w 577811"/>
                <a:gd name="connsiteY24" fmla="*/ 589906 h 595516"/>
                <a:gd name="connsiteX25" fmla="*/ 95367 w 577811"/>
                <a:gd name="connsiteY25" fmla="*/ 584297 h 595516"/>
                <a:gd name="connsiteX26" fmla="*/ 44879 w 577811"/>
                <a:gd name="connsiteY26" fmla="*/ 567467 h 595516"/>
                <a:gd name="connsiteX27" fmla="*/ 11220 w 577811"/>
                <a:gd name="connsiteY27" fmla="*/ 550638 h 595516"/>
                <a:gd name="connsiteX28" fmla="*/ 5610 w 577811"/>
                <a:gd name="connsiteY28" fmla="*/ 550638 h 595516"/>
                <a:gd name="connsiteX29" fmla="*/ 0 w 577811"/>
                <a:gd name="connsiteY29" fmla="*/ 96243 h 595516"/>
                <a:gd name="connsiteX0" fmla="*/ 0 w 577811"/>
                <a:gd name="connsiteY0" fmla="*/ 96243 h 595516"/>
                <a:gd name="connsiteX1" fmla="*/ 0 w 577811"/>
                <a:gd name="connsiteY1" fmla="*/ 96243 h 595516"/>
                <a:gd name="connsiteX2" fmla="*/ 510493 w 577811"/>
                <a:gd name="connsiteY2" fmla="*/ 40144 h 595516"/>
                <a:gd name="connsiteX3" fmla="*/ 527323 w 577811"/>
                <a:gd name="connsiteY3" fmla="*/ 34535 h 595516"/>
                <a:gd name="connsiteX4" fmla="*/ 560982 w 577811"/>
                <a:gd name="connsiteY4" fmla="*/ 28925 h 595516"/>
                <a:gd name="connsiteX5" fmla="*/ 577811 w 577811"/>
                <a:gd name="connsiteY5" fmla="*/ 17705 h 595516"/>
                <a:gd name="connsiteX6" fmla="*/ 566592 w 577811"/>
                <a:gd name="connsiteY6" fmla="*/ 876 h 595516"/>
                <a:gd name="connsiteX7" fmla="*/ 549762 w 577811"/>
                <a:gd name="connsiteY7" fmla="*/ 6486 h 595516"/>
                <a:gd name="connsiteX8" fmla="*/ 560982 w 577811"/>
                <a:gd name="connsiteY8" fmla="*/ 40144 h 595516"/>
                <a:gd name="connsiteX9" fmla="*/ 566592 w 577811"/>
                <a:gd name="connsiteY9" fmla="*/ 208439 h 595516"/>
                <a:gd name="connsiteX10" fmla="*/ 572201 w 577811"/>
                <a:gd name="connsiteY10" fmla="*/ 225268 h 595516"/>
                <a:gd name="connsiteX11" fmla="*/ 566592 w 577811"/>
                <a:gd name="connsiteY11" fmla="*/ 286976 h 595516"/>
                <a:gd name="connsiteX12" fmla="*/ 555372 w 577811"/>
                <a:gd name="connsiteY12" fmla="*/ 359904 h 595516"/>
                <a:gd name="connsiteX13" fmla="*/ 544152 w 577811"/>
                <a:gd name="connsiteY13" fmla="*/ 477710 h 595516"/>
                <a:gd name="connsiteX14" fmla="*/ 549762 w 577811"/>
                <a:gd name="connsiteY14" fmla="*/ 528198 h 595516"/>
                <a:gd name="connsiteX15" fmla="*/ 566592 w 577811"/>
                <a:gd name="connsiteY15" fmla="*/ 539418 h 595516"/>
                <a:gd name="connsiteX16" fmla="*/ 549762 w 577811"/>
                <a:gd name="connsiteY16" fmla="*/ 550638 h 595516"/>
                <a:gd name="connsiteX17" fmla="*/ 359028 w 577811"/>
                <a:gd name="connsiteY17" fmla="*/ 550638 h 595516"/>
                <a:gd name="connsiteX18" fmla="*/ 319760 w 577811"/>
                <a:gd name="connsiteY18" fmla="*/ 556248 h 595516"/>
                <a:gd name="connsiteX19" fmla="*/ 241222 w 577811"/>
                <a:gd name="connsiteY19" fmla="*/ 561857 h 595516"/>
                <a:gd name="connsiteX20" fmla="*/ 190734 w 577811"/>
                <a:gd name="connsiteY20" fmla="*/ 578687 h 595516"/>
                <a:gd name="connsiteX21" fmla="*/ 157075 w 577811"/>
                <a:gd name="connsiteY21" fmla="*/ 589906 h 595516"/>
                <a:gd name="connsiteX22" fmla="*/ 134636 w 577811"/>
                <a:gd name="connsiteY22" fmla="*/ 595516 h 595516"/>
                <a:gd name="connsiteX23" fmla="*/ 117806 w 577811"/>
                <a:gd name="connsiteY23" fmla="*/ 589906 h 595516"/>
                <a:gd name="connsiteX24" fmla="*/ 95367 w 577811"/>
                <a:gd name="connsiteY24" fmla="*/ 584297 h 595516"/>
                <a:gd name="connsiteX25" fmla="*/ 44879 w 577811"/>
                <a:gd name="connsiteY25" fmla="*/ 567467 h 595516"/>
                <a:gd name="connsiteX26" fmla="*/ 11220 w 577811"/>
                <a:gd name="connsiteY26" fmla="*/ 550638 h 595516"/>
                <a:gd name="connsiteX27" fmla="*/ 5610 w 577811"/>
                <a:gd name="connsiteY27" fmla="*/ 550638 h 595516"/>
                <a:gd name="connsiteX28" fmla="*/ 0 w 577811"/>
                <a:gd name="connsiteY28" fmla="*/ 96243 h 595516"/>
                <a:gd name="connsiteX0" fmla="*/ 0 w 577811"/>
                <a:gd name="connsiteY0" fmla="*/ 96243 h 595516"/>
                <a:gd name="connsiteX1" fmla="*/ 0 w 577811"/>
                <a:gd name="connsiteY1" fmla="*/ 96243 h 595516"/>
                <a:gd name="connsiteX2" fmla="*/ 527323 w 577811"/>
                <a:gd name="connsiteY2" fmla="*/ 34535 h 595516"/>
                <a:gd name="connsiteX3" fmla="*/ 560982 w 577811"/>
                <a:gd name="connsiteY3" fmla="*/ 28925 h 595516"/>
                <a:gd name="connsiteX4" fmla="*/ 577811 w 577811"/>
                <a:gd name="connsiteY4" fmla="*/ 17705 h 595516"/>
                <a:gd name="connsiteX5" fmla="*/ 566592 w 577811"/>
                <a:gd name="connsiteY5" fmla="*/ 876 h 595516"/>
                <a:gd name="connsiteX6" fmla="*/ 549762 w 577811"/>
                <a:gd name="connsiteY6" fmla="*/ 6486 h 595516"/>
                <a:gd name="connsiteX7" fmla="*/ 560982 w 577811"/>
                <a:gd name="connsiteY7" fmla="*/ 40144 h 595516"/>
                <a:gd name="connsiteX8" fmla="*/ 566592 w 577811"/>
                <a:gd name="connsiteY8" fmla="*/ 208439 h 595516"/>
                <a:gd name="connsiteX9" fmla="*/ 572201 w 577811"/>
                <a:gd name="connsiteY9" fmla="*/ 225268 h 595516"/>
                <a:gd name="connsiteX10" fmla="*/ 566592 w 577811"/>
                <a:gd name="connsiteY10" fmla="*/ 286976 h 595516"/>
                <a:gd name="connsiteX11" fmla="*/ 555372 w 577811"/>
                <a:gd name="connsiteY11" fmla="*/ 359904 h 595516"/>
                <a:gd name="connsiteX12" fmla="*/ 544152 w 577811"/>
                <a:gd name="connsiteY12" fmla="*/ 477710 h 595516"/>
                <a:gd name="connsiteX13" fmla="*/ 549762 w 577811"/>
                <a:gd name="connsiteY13" fmla="*/ 528198 h 595516"/>
                <a:gd name="connsiteX14" fmla="*/ 566592 w 577811"/>
                <a:gd name="connsiteY14" fmla="*/ 539418 h 595516"/>
                <a:gd name="connsiteX15" fmla="*/ 549762 w 577811"/>
                <a:gd name="connsiteY15" fmla="*/ 550638 h 595516"/>
                <a:gd name="connsiteX16" fmla="*/ 359028 w 577811"/>
                <a:gd name="connsiteY16" fmla="*/ 550638 h 595516"/>
                <a:gd name="connsiteX17" fmla="*/ 319760 w 577811"/>
                <a:gd name="connsiteY17" fmla="*/ 556248 h 595516"/>
                <a:gd name="connsiteX18" fmla="*/ 241222 w 577811"/>
                <a:gd name="connsiteY18" fmla="*/ 561857 h 595516"/>
                <a:gd name="connsiteX19" fmla="*/ 190734 w 577811"/>
                <a:gd name="connsiteY19" fmla="*/ 578687 h 595516"/>
                <a:gd name="connsiteX20" fmla="*/ 157075 w 577811"/>
                <a:gd name="connsiteY20" fmla="*/ 589906 h 595516"/>
                <a:gd name="connsiteX21" fmla="*/ 134636 w 577811"/>
                <a:gd name="connsiteY21" fmla="*/ 595516 h 595516"/>
                <a:gd name="connsiteX22" fmla="*/ 117806 w 577811"/>
                <a:gd name="connsiteY22" fmla="*/ 589906 h 595516"/>
                <a:gd name="connsiteX23" fmla="*/ 95367 w 577811"/>
                <a:gd name="connsiteY23" fmla="*/ 584297 h 595516"/>
                <a:gd name="connsiteX24" fmla="*/ 44879 w 577811"/>
                <a:gd name="connsiteY24" fmla="*/ 567467 h 595516"/>
                <a:gd name="connsiteX25" fmla="*/ 11220 w 577811"/>
                <a:gd name="connsiteY25" fmla="*/ 550638 h 595516"/>
                <a:gd name="connsiteX26" fmla="*/ 5610 w 577811"/>
                <a:gd name="connsiteY26" fmla="*/ 550638 h 595516"/>
                <a:gd name="connsiteX27" fmla="*/ 0 w 577811"/>
                <a:gd name="connsiteY27" fmla="*/ 96243 h 595516"/>
                <a:gd name="connsiteX0" fmla="*/ 0 w 577811"/>
                <a:gd name="connsiteY0" fmla="*/ 96243 h 595516"/>
                <a:gd name="connsiteX1" fmla="*/ 0 w 577811"/>
                <a:gd name="connsiteY1" fmla="*/ 96243 h 595516"/>
                <a:gd name="connsiteX2" fmla="*/ 560982 w 577811"/>
                <a:gd name="connsiteY2" fmla="*/ 28925 h 595516"/>
                <a:gd name="connsiteX3" fmla="*/ 577811 w 577811"/>
                <a:gd name="connsiteY3" fmla="*/ 17705 h 595516"/>
                <a:gd name="connsiteX4" fmla="*/ 566592 w 577811"/>
                <a:gd name="connsiteY4" fmla="*/ 876 h 595516"/>
                <a:gd name="connsiteX5" fmla="*/ 549762 w 577811"/>
                <a:gd name="connsiteY5" fmla="*/ 6486 h 595516"/>
                <a:gd name="connsiteX6" fmla="*/ 560982 w 577811"/>
                <a:gd name="connsiteY6" fmla="*/ 40144 h 595516"/>
                <a:gd name="connsiteX7" fmla="*/ 566592 w 577811"/>
                <a:gd name="connsiteY7" fmla="*/ 208439 h 595516"/>
                <a:gd name="connsiteX8" fmla="*/ 572201 w 577811"/>
                <a:gd name="connsiteY8" fmla="*/ 225268 h 595516"/>
                <a:gd name="connsiteX9" fmla="*/ 566592 w 577811"/>
                <a:gd name="connsiteY9" fmla="*/ 286976 h 595516"/>
                <a:gd name="connsiteX10" fmla="*/ 555372 w 577811"/>
                <a:gd name="connsiteY10" fmla="*/ 359904 h 595516"/>
                <a:gd name="connsiteX11" fmla="*/ 544152 w 577811"/>
                <a:gd name="connsiteY11" fmla="*/ 477710 h 595516"/>
                <a:gd name="connsiteX12" fmla="*/ 549762 w 577811"/>
                <a:gd name="connsiteY12" fmla="*/ 528198 h 595516"/>
                <a:gd name="connsiteX13" fmla="*/ 566592 w 577811"/>
                <a:gd name="connsiteY13" fmla="*/ 539418 h 595516"/>
                <a:gd name="connsiteX14" fmla="*/ 549762 w 577811"/>
                <a:gd name="connsiteY14" fmla="*/ 550638 h 595516"/>
                <a:gd name="connsiteX15" fmla="*/ 359028 w 577811"/>
                <a:gd name="connsiteY15" fmla="*/ 550638 h 595516"/>
                <a:gd name="connsiteX16" fmla="*/ 319760 w 577811"/>
                <a:gd name="connsiteY16" fmla="*/ 556248 h 595516"/>
                <a:gd name="connsiteX17" fmla="*/ 241222 w 577811"/>
                <a:gd name="connsiteY17" fmla="*/ 561857 h 595516"/>
                <a:gd name="connsiteX18" fmla="*/ 190734 w 577811"/>
                <a:gd name="connsiteY18" fmla="*/ 578687 h 595516"/>
                <a:gd name="connsiteX19" fmla="*/ 157075 w 577811"/>
                <a:gd name="connsiteY19" fmla="*/ 589906 h 595516"/>
                <a:gd name="connsiteX20" fmla="*/ 134636 w 577811"/>
                <a:gd name="connsiteY20" fmla="*/ 595516 h 595516"/>
                <a:gd name="connsiteX21" fmla="*/ 117806 w 577811"/>
                <a:gd name="connsiteY21" fmla="*/ 589906 h 595516"/>
                <a:gd name="connsiteX22" fmla="*/ 95367 w 577811"/>
                <a:gd name="connsiteY22" fmla="*/ 584297 h 595516"/>
                <a:gd name="connsiteX23" fmla="*/ 44879 w 577811"/>
                <a:gd name="connsiteY23" fmla="*/ 567467 h 595516"/>
                <a:gd name="connsiteX24" fmla="*/ 11220 w 577811"/>
                <a:gd name="connsiteY24" fmla="*/ 550638 h 595516"/>
                <a:gd name="connsiteX25" fmla="*/ 5610 w 577811"/>
                <a:gd name="connsiteY25" fmla="*/ 550638 h 595516"/>
                <a:gd name="connsiteX26" fmla="*/ 0 w 577811"/>
                <a:gd name="connsiteY26" fmla="*/ 96243 h 595516"/>
                <a:gd name="connsiteX0" fmla="*/ 0 w 577811"/>
                <a:gd name="connsiteY0" fmla="*/ 90510 h 589783"/>
                <a:gd name="connsiteX1" fmla="*/ 0 w 577811"/>
                <a:gd name="connsiteY1" fmla="*/ 90510 h 589783"/>
                <a:gd name="connsiteX2" fmla="*/ 560982 w 577811"/>
                <a:gd name="connsiteY2" fmla="*/ 23192 h 589783"/>
                <a:gd name="connsiteX3" fmla="*/ 577811 w 577811"/>
                <a:gd name="connsiteY3" fmla="*/ 11972 h 589783"/>
                <a:gd name="connsiteX4" fmla="*/ 549762 w 577811"/>
                <a:gd name="connsiteY4" fmla="*/ 753 h 589783"/>
                <a:gd name="connsiteX5" fmla="*/ 560982 w 577811"/>
                <a:gd name="connsiteY5" fmla="*/ 34411 h 589783"/>
                <a:gd name="connsiteX6" fmla="*/ 566592 w 577811"/>
                <a:gd name="connsiteY6" fmla="*/ 202706 h 589783"/>
                <a:gd name="connsiteX7" fmla="*/ 572201 w 577811"/>
                <a:gd name="connsiteY7" fmla="*/ 219535 h 589783"/>
                <a:gd name="connsiteX8" fmla="*/ 566592 w 577811"/>
                <a:gd name="connsiteY8" fmla="*/ 281243 h 589783"/>
                <a:gd name="connsiteX9" fmla="*/ 555372 w 577811"/>
                <a:gd name="connsiteY9" fmla="*/ 354171 h 589783"/>
                <a:gd name="connsiteX10" fmla="*/ 544152 w 577811"/>
                <a:gd name="connsiteY10" fmla="*/ 471977 h 589783"/>
                <a:gd name="connsiteX11" fmla="*/ 549762 w 577811"/>
                <a:gd name="connsiteY11" fmla="*/ 522465 h 589783"/>
                <a:gd name="connsiteX12" fmla="*/ 566592 w 577811"/>
                <a:gd name="connsiteY12" fmla="*/ 533685 h 589783"/>
                <a:gd name="connsiteX13" fmla="*/ 549762 w 577811"/>
                <a:gd name="connsiteY13" fmla="*/ 544905 h 589783"/>
                <a:gd name="connsiteX14" fmla="*/ 359028 w 577811"/>
                <a:gd name="connsiteY14" fmla="*/ 544905 h 589783"/>
                <a:gd name="connsiteX15" fmla="*/ 319760 w 577811"/>
                <a:gd name="connsiteY15" fmla="*/ 550515 h 589783"/>
                <a:gd name="connsiteX16" fmla="*/ 241222 w 577811"/>
                <a:gd name="connsiteY16" fmla="*/ 556124 h 589783"/>
                <a:gd name="connsiteX17" fmla="*/ 190734 w 577811"/>
                <a:gd name="connsiteY17" fmla="*/ 572954 h 589783"/>
                <a:gd name="connsiteX18" fmla="*/ 157075 w 577811"/>
                <a:gd name="connsiteY18" fmla="*/ 584173 h 589783"/>
                <a:gd name="connsiteX19" fmla="*/ 134636 w 577811"/>
                <a:gd name="connsiteY19" fmla="*/ 589783 h 589783"/>
                <a:gd name="connsiteX20" fmla="*/ 117806 w 577811"/>
                <a:gd name="connsiteY20" fmla="*/ 584173 h 589783"/>
                <a:gd name="connsiteX21" fmla="*/ 95367 w 577811"/>
                <a:gd name="connsiteY21" fmla="*/ 578564 h 589783"/>
                <a:gd name="connsiteX22" fmla="*/ 44879 w 577811"/>
                <a:gd name="connsiteY22" fmla="*/ 561734 h 589783"/>
                <a:gd name="connsiteX23" fmla="*/ 11220 w 577811"/>
                <a:gd name="connsiteY23" fmla="*/ 544905 h 589783"/>
                <a:gd name="connsiteX24" fmla="*/ 5610 w 577811"/>
                <a:gd name="connsiteY24" fmla="*/ 544905 h 589783"/>
                <a:gd name="connsiteX25" fmla="*/ 0 w 577811"/>
                <a:gd name="connsiteY25" fmla="*/ 90510 h 589783"/>
                <a:gd name="connsiteX0" fmla="*/ 0 w 695065"/>
                <a:gd name="connsiteY0" fmla="*/ 78614 h 577887"/>
                <a:gd name="connsiteX1" fmla="*/ 0 w 695065"/>
                <a:gd name="connsiteY1" fmla="*/ 78614 h 577887"/>
                <a:gd name="connsiteX2" fmla="*/ 560982 w 695065"/>
                <a:gd name="connsiteY2" fmla="*/ 11296 h 577887"/>
                <a:gd name="connsiteX3" fmla="*/ 577811 w 695065"/>
                <a:gd name="connsiteY3" fmla="*/ 76 h 577887"/>
                <a:gd name="connsiteX4" fmla="*/ 695018 w 695065"/>
                <a:gd name="connsiteY4" fmla="*/ 136494 h 577887"/>
                <a:gd name="connsiteX5" fmla="*/ 560982 w 695065"/>
                <a:gd name="connsiteY5" fmla="*/ 22515 h 577887"/>
                <a:gd name="connsiteX6" fmla="*/ 566592 w 695065"/>
                <a:gd name="connsiteY6" fmla="*/ 190810 h 577887"/>
                <a:gd name="connsiteX7" fmla="*/ 572201 w 695065"/>
                <a:gd name="connsiteY7" fmla="*/ 207639 h 577887"/>
                <a:gd name="connsiteX8" fmla="*/ 566592 w 695065"/>
                <a:gd name="connsiteY8" fmla="*/ 269347 h 577887"/>
                <a:gd name="connsiteX9" fmla="*/ 555372 w 695065"/>
                <a:gd name="connsiteY9" fmla="*/ 342275 h 577887"/>
                <a:gd name="connsiteX10" fmla="*/ 544152 w 695065"/>
                <a:gd name="connsiteY10" fmla="*/ 460081 h 577887"/>
                <a:gd name="connsiteX11" fmla="*/ 549762 w 695065"/>
                <a:gd name="connsiteY11" fmla="*/ 510569 h 577887"/>
                <a:gd name="connsiteX12" fmla="*/ 566592 w 695065"/>
                <a:gd name="connsiteY12" fmla="*/ 521789 h 577887"/>
                <a:gd name="connsiteX13" fmla="*/ 549762 w 695065"/>
                <a:gd name="connsiteY13" fmla="*/ 533009 h 577887"/>
                <a:gd name="connsiteX14" fmla="*/ 359028 w 695065"/>
                <a:gd name="connsiteY14" fmla="*/ 533009 h 577887"/>
                <a:gd name="connsiteX15" fmla="*/ 319760 w 695065"/>
                <a:gd name="connsiteY15" fmla="*/ 538619 h 577887"/>
                <a:gd name="connsiteX16" fmla="*/ 241222 w 695065"/>
                <a:gd name="connsiteY16" fmla="*/ 544228 h 577887"/>
                <a:gd name="connsiteX17" fmla="*/ 190734 w 695065"/>
                <a:gd name="connsiteY17" fmla="*/ 561058 h 577887"/>
                <a:gd name="connsiteX18" fmla="*/ 157075 w 695065"/>
                <a:gd name="connsiteY18" fmla="*/ 572277 h 577887"/>
                <a:gd name="connsiteX19" fmla="*/ 134636 w 695065"/>
                <a:gd name="connsiteY19" fmla="*/ 577887 h 577887"/>
                <a:gd name="connsiteX20" fmla="*/ 117806 w 695065"/>
                <a:gd name="connsiteY20" fmla="*/ 572277 h 577887"/>
                <a:gd name="connsiteX21" fmla="*/ 95367 w 695065"/>
                <a:gd name="connsiteY21" fmla="*/ 566668 h 577887"/>
                <a:gd name="connsiteX22" fmla="*/ 44879 w 695065"/>
                <a:gd name="connsiteY22" fmla="*/ 549838 h 577887"/>
                <a:gd name="connsiteX23" fmla="*/ 11220 w 695065"/>
                <a:gd name="connsiteY23" fmla="*/ 533009 h 577887"/>
                <a:gd name="connsiteX24" fmla="*/ 5610 w 695065"/>
                <a:gd name="connsiteY24" fmla="*/ 533009 h 577887"/>
                <a:gd name="connsiteX25" fmla="*/ 0 w 695065"/>
                <a:gd name="connsiteY25" fmla="*/ 78614 h 577887"/>
                <a:gd name="connsiteX0" fmla="*/ 0 w 577811"/>
                <a:gd name="connsiteY0" fmla="*/ 78998 h 578271"/>
                <a:gd name="connsiteX1" fmla="*/ 0 w 577811"/>
                <a:gd name="connsiteY1" fmla="*/ 78998 h 578271"/>
                <a:gd name="connsiteX2" fmla="*/ 560982 w 577811"/>
                <a:gd name="connsiteY2" fmla="*/ 11680 h 578271"/>
                <a:gd name="connsiteX3" fmla="*/ 577811 w 577811"/>
                <a:gd name="connsiteY3" fmla="*/ 460 h 578271"/>
                <a:gd name="connsiteX4" fmla="*/ 560982 w 577811"/>
                <a:gd name="connsiteY4" fmla="*/ 22899 h 578271"/>
                <a:gd name="connsiteX5" fmla="*/ 566592 w 577811"/>
                <a:gd name="connsiteY5" fmla="*/ 191194 h 578271"/>
                <a:gd name="connsiteX6" fmla="*/ 572201 w 577811"/>
                <a:gd name="connsiteY6" fmla="*/ 208023 h 578271"/>
                <a:gd name="connsiteX7" fmla="*/ 566592 w 577811"/>
                <a:gd name="connsiteY7" fmla="*/ 269731 h 578271"/>
                <a:gd name="connsiteX8" fmla="*/ 555372 w 577811"/>
                <a:gd name="connsiteY8" fmla="*/ 342659 h 578271"/>
                <a:gd name="connsiteX9" fmla="*/ 544152 w 577811"/>
                <a:gd name="connsiteY9" fmla="*/ 460465 h 578271"/>
                <a:gd name="connsiteX10" fmla="*/ 549762 w 577811"/>
                <a:gd name="connsiteY10" fmla="*/ 510953 h 578271"/>
                <a:gd name="connsiteX11" fmla="*/ 566592 w 577811"/>
                <a:gd name="connsiteY11" fmla="*/ 522173 h 578271"/>
                <a:gd name="connsiteX12" fmla="*/ 549762 w 577811"/>
                <a:gd name="connsiteY12" fmla="*/ 533393 h 578271"/>
                <a:gd name="connsiteX13" fmla="*/ 359028 w 577811"/>
                <a:gd name="connsiteY13" fmla="*/ 533393 h 578271"/>
                <a:gd name="connsiteX14" fmla="*/ 319760 w 577811"/>
                <a:gd name="connsiteY14" fmla="*/ 539003 h 578271"/>
                <a:gd name="connsiteX15" fmla="*/ 241222 w 577811"/>
                <a:gd name="connsiteY15" fmla="*/ 544612 h 578271"/>
                <a:gd name="connsiteX16" fmla="*/ 190734 w 577811"/>
                <a:gd name="connsiteY16" fmla="*/ 561442 h 578271"/>
                <a:gd name="connsiteX17" fmla="*/ 157075 w 577811"/>
                <a:gd name="connsiteY17" fmla="*/ 572661 h 578271"/>
                <a:gd name="connsiteX18" fmla="*/ 134636 w 577811"/>
                <a:gd name="connsiteY18" fmla="*/ 578271 h 578271"/>
                <a:gd name="connsiteX19" fmla="*/ 117806 w 577811"/>
                <a:gd name="connsiteY19" fmla="*/ 572661 h 578271"/>
                <a:gd name="connsiteX20" fmla="*/ 95367 w 577811"/>
                <a:gd name="connsiteY20" fmla="*/ 567052 h 578271"/>
                <a:gd name="connsiteX21" fmla="*/ 44879 w 577811"/>
                <a:gd name="connsiteY21" fmla="*/ 550222 h 578271"/>
                <a:gd name="connsiteX22" fmla="*/ 11220 w 577811"/>
                <a:gd name="connsiteY22" fmla="*/ 533393 h 578271"/>
                <a:gd name="connsiteX23" fmla="*/ 5610 w 577811"/>
                <a:gd name="connsiteY23" fmla="*/ 533393 h 578271"/>
                <a:gd name="connsiteX24" fmla="*/ 0 w 577811"/>
                <a:gd name="connsiteY24" fmla="*/ 78998 h 578271"/>
                <a:gd name="connsiteX0" fmla="*/ 0 w 577811"/>
                <a:gd name="connsiteY0" fmla="*/ 78998 h 578271"/>
                <a:gd name="connsiteX1" fmla="*/ 0 w 577811"/>
                <a:gd name="connsiteY1" fmla="*/ 78998 h 578271"/>
                <a:gd name="connsiteX2" fmla="*/ 577811 w 577811"/>
                <a:gd name="connsiteY2" fmla="*/ 460 h 578271"/>
                <a:gd name="connsiteX3" fmla="*/ 560982 w 577811"/>
                <a:gd name="connsiteY3" fmla="*/ 22899 h 578271"/>
                <a:gd name="connsiteX4" fmla="*/ 566592 w 577811"/>
                <a:gd name="connsiteY4" fmla="*/ 191194 h 578271"/>
                <a:gd name="connsiteX5" fmla="*/ 572201 w 577811"/>
                <a:gd name="connsiteY5" fmla="*/ 208023 h 578271"/>
                <a:gd name="connsiteX6" fmla="*/ 566592 w 577811"/>
                <a:gd name="connsiteY6" fmla="*/ 269731 h 578271"/>
                <a:gd name="connsiteX7" fmla="*/ 555372 w 577811"/>
                <a:gd name="connsiteY7" fmla="*/ 342659 h 578271"/>
                <a:gd name="connsiteX8" fmla="*/ 544152 w 577811"/>
                <a:gd name="connsiteY8" fmla="*/ 460465 h 578271"/>
                <a:gd name="connsiteX9" fmla="*/ 549762 w 577811"/>
                <a:gd name="connsiteY9" fmla="*/ 510953 h 578271"/>
                <a:gd name="connsiteX10" fmla="*/ 566592 w 577811"/>
                <a:gd name="connsiteY10" fmla="*/ 522173 h 578271"/>
                <a:gd name="connsiteX11" fmla="*/ 549762 w 577811"/>
                <a:gd name="connsiteY11" fmla="*/ 533393 h 578271"/>
                <a:gd name="connsiteX12" fmla="*/ 359028 w 577811"/>
                <a:gd name="connsiteY12" fmla="*/ 533393 h 578271"/>
                <a:gd name="connsiteX13" fmla="*/ 319760 w 577811"/>
                <a:gd name="connsiteY13" fmla="*/ 539003 h 578271"/>
                <a:gd name="connsiteX14" fmla="*/ 241222 w 577811"/>
                <a:gd name="connsiteY14" fmla="*/ 544612 h 578271"/>
                <a:gd name="connsiteX15" fmla="*/ 190734 w 577811"/>
                <a:gd name="connsiteY15" fmla="*/ 561442 h 578271"/>
                <a:gd name="connsiteX16" fmla="*/ 157075 w 577811"/>
                <a:gd name="connsiteY16" fmla="*/ 572661 h 578271"/>
                <a:gd name="connsiteX17" fmla="*/ 134636 w 577811"/>
                <a:gd name="connsiteY17" fmla="*/ 578271 h 578271"/>
                <a:gd name="connsiteX18" fmla="*/ 117806 w 577811"/>
                <a:gd name="connsiteY18" fmla="*/ 572661 h 578271"/>
                <a:gd name="connsiteX19" fmla="*/ 95367 w 577811"/>
                <a:gd name="connsiteY19" fmla="*/ 567052 h 578271"/>
                <a:gd name="connsiteX20" fmla="*/ 44879 w 577811"/>
                <a:gd name="connsiteY20" fmla="*/ 550222 h 578271"/>
                <a:gd name="connsiteX21" fmla="*/ 11220 w 577811"/>
                <a:gd name="connsiteY21" fmla="*/ 533393 h 578271"/>
                <a:gd name="connsiteX22" fmla="*/ 5610 w 577811"/>
                <a:gd name="connsiteY22" fmla="*/ 533393 h 578271"/>
                <a:gd name="connsiteX23" fmla="*/ 0 w 577811"/>
                <a:gd name="connsiteY23" fmla="*/ 78998 h 578271"/>
                <a:gd name="connsiteX0" fmla="*/ 0 w 617242"/>
                <a:gd name="connsiteY0" fmla="*/ 78538 h 577811"/>
                <a:gd name="connsiteX1" fmla="*/ 0 w 617242"/>
                <a:gd name="connsiteY1" fmla="*/ 78538 h 577811"/>
                <a:gd name="connsiteX2" fmla="*/ 577811 w 617242"/>
                <a:gd name="connsiteY2" fmla="*/ 0 h 577811"/>
                <a:gd name="connsiteX3" fmla="*/ 566592 w 617242"/>
                <a:gd name="connsiteY3" fmla="*/ 190734 h 577811"/>
                <a:gd name="connsiteX4" fmla="*/ 572201 w 617242"/>
                <a:gd name="connsiteY4" fmla="*/ 207563 h 577811"/>
                <a:gd name="connsiteX5" fmla="*/ 566592 w 617242"/>
                <a:gd name="connsiteY5" fmla="*/ 269271 h 577811"/>
                <a:gd name="connsiteX6" fmla="*/ 555372 w 617242"/>
                <a:gd name="connsiteY6" fmla="*/ 342199 h 577811"/>
                <a:gd name="connsiteX7" fmla="*/ 544152 w 617242"/>
                <a:gd name="connsiteY7" fmla="*/ 460005 h 577811"/>
                <a:gd name="connsiteX8" fmla="*/ 549762 w 617242"/>
                <a:gd name="connsiteY8" fmla="*/ 510493 h 577811"/>
                <a:gd name="connsiteX9" fmla="*/ 566592 w 617242"/>
                <a:gd name="connsiteY9" fmla="*/ 521713 h 577811"/>
                <a:gd name="connsiteX10" fmla="*/ 549762 w 617242"/>
                <a:gd name="connsiteY10" fmla="*/ 532933 h 577811"/>
                <a:gd name="connsiteX11" fmla="*/ 359028 w 617242"/>
                <a:gd name="connsiteY11" fmla="*/ 532933 h 577811"/>
                <a:gd name="connsiteX12" fmla="*/ 319760 w 617242"/>
                <a:gd name="connsiteY12" fmla="*/ 538543 h 577811"/>
                <a:gd name="connsiteX13" fmla="*/ 241222 w 617242"/>
                <a:gd name="connsiteY13" fmla="*/ 544152 h 577811"/>
                <a:gd name="connsiteX14" fmla="*/ 190734 w 617242"/>
                <a:gd name="connsiteY14" fmla="*/ 560982 h 577811"/>
                <a:gd name="connsiteX15" fmla="*/ 157075 w 617242"/>
                <a:gd name="connsiteY15" fmla="*/ 572201 h 577811"/>
                <a:gd name="connsiteX16" fmla="*/ 134636 w 617242"/>
                <a:gd name="connsiteY16" fmla="*/ 577811 h 577811"/>
                <a:gd name="connsiteX17" fmla="*/ 117806 w 617242"/>
                <a:gd name="connsiteY17" fmla="*/ 572201 h 577811"/>
                <a:gd name="connsiteX18" fmla="*/ 95367 w 617242"/>
                <a:gd name="connsiteY18" fmla="*/ 566592 h 577811"/>
                <a:gd name="connsiteX19" fmla="*/ 44879 w 617242"/>
                <a:gd name="connsiteY19" fmla="*/ 549762 h 577811"/>
                <a:gd name="connsiteX20" fmla="*/ 11220 w 617242"/>
                <a:gd name="connsiteY20" fmla="*/ 532933 h 577811"/>
                <a:gd name="connsiteX21" fmla="*/ 5610 w 617242"/>
                <a:gd name="connsiteY21" fmla="*/ 532933 h 577811"/>
                <a:gd name="connsiteX22" fmla="*/ 0 w 617242"/>
                <a:gd name="connsiteY22" fmla="*/ 78538 h 577811"/>
                <a:gd name="connsiteX0" fmla="*/ 0 w 580619"/>
                <a:gd name="connsiteY0" fmla="*/ 21388 h 520661"/>
                <a:gd name="connsiteX1" fmla="*/ 0 w 580619"/>
                <a:gd name="connsiteY1" fmla="*/ 21388 h 520661"/>
                <a:gd name="connsiteX2" fmla="*/ 523043 w 580619"/>
                <a:gd name="connsiteY2" fmla="*/ 0 h 520661"/>
                <a:gd name="connsiteX3" fmla="*/ 566592 w 580619"/>
                <a:gd name="connsiteY3" fmla="*/ 133584 h 520661"/>
                <a:gd name="connsiteX4" fmla="*/ 572201 w 580619"/>
                <a:gd name="connsiteY4" fmla="*/ 150413 h 520661"/>
                <a:gd name="connsiteX5" fmla="*/ 566592 w 580619"/>
                <a:gd name="connsiteY5" fmla="*/ 212121 h 520661"/>
                <a:gd name="connsiteX6" fmla="*/ 555372 w 580619"/>
                <a:gd name="connsiteY6" fmla="*/ 285049 h 520661"/>
                <a:gd name="connsiteX7" fmla="*/ 544152 w 580619"/>
                <a:gd name="connsiteY7" fmla="*/ 402855 h 520661"/>
                <a:gd name="connsiteX8" fmla="*/ 549762 w 580619"/>
                <a:gd name="connsiteY8" fmla="*/ 453343 h 520661"/>
                <a:gd name="connsiteX9" fmla="*/ 566592 w 580619"/>
                <a:gd name="connsiteY9" fmla="*/ 464563 h 520661"/>
                <a:gd name="connsiteX10" fmla="*/ 549762 w 580619"/>
                <a:gd name="connsiteY10" fmla="*/ 475783 h 520661"/>
                <a:gd name="connsiteX11" fmla="*/ 359028 w 580619"/>
                <a:gd name="connsiteY11" fmla="*/ 475783 h 520661"/>
                <a:gd name="connsiteX12" fmla="*/ 319760 w 580619"/>
                <a:gd name="connsiteY12" fmla="*/ 481393 h 520661"/>
                <a:gd name="connsiteX13" fmla="*/ 241222 w 580619"/>
                <a:gd name="connsiteY13" fmla="*/ 487002 h 520661"/>
                <a:gd name="connsiteX14" fmla="*/ 190734 w 580619"/>
                <a:gd name="connsiteY14" fmla="*/ 503832 h 520661"/>
                <a:gd name="connsiteX15" fmla="*/ 157075 w 580619"/>
                <a:gd name="connsiteY15" fmla="*/ 515051 h 520661"/>
                <a:gd name="connsiteX16" fmla="*/ 134636 w 580619"/>
                <a:gd name="connsiteY16" fmla="*/ 520661 h 520661"/>
                <a:gd name="connsiteX17" fmla="*/ 117806 w 580619"/>
                <a:gd name="connsiteY17" fmla="*/ 515051 h 520661"/>
                <a:gd name="connsiteX18" fmla="*/ 95367 w 580619"/>
                <a:gd name="connsiteY18" fmla="*/ 509442 h 520661"/>
                <a:gd name="connsiteX19" fmla="*/ 44879 w 580619"/>
                <a:gd name="connsiteY19" fmla="*/ 492612 h 520661"/>
                <a:gd name="connsiteX20" fmla="*/ 11220 w 580619"/>
                <a:gd name="connsiteY20" fmla="*/ 475783 h 520661"/>
                <a:gd name="connsiteX21" fmla="*/ 5610 w 580619"/>
                <a:gd name="connsiteY21" fmla="*/ 475783 h 520661"/>
                <a:gd name="connsiteX22" fmla="*/ 0 w 580619"/>
                <a:gd name="connsiteY22" fmla="*/ 21388 h 520661"/>
                <a:gd name="connsiteX0" fmla="*/ 0 w 572201"/>
                <a:gd name="connsiteY0" fmla="*/ 21388 h 520661"/>
                <a:gd name="connsiteX1" fmla="*/ 0 w 572201"/>
                <a:gd name="connsiteY1" fmla="*/ 21388 h 520661"/>
                <a:gd name="connsiteX2" fmla="*/ 523043 w 572201"/>
                <a:gd name="connsiteY2" fmla="*/ 0 h 520661"/>
                <a:gd name="connsiteX3" fmla="*/ 566592 w 572201"/>
                <a:gd name="connsiteY3" fmla="*/ 133584 h 520661"/>
                <a:gd name="connsiteX4" fmla="*/ 572201 w 572201"/>
                <a:gd name="connsiteY4" fmla="*/ 150413 h 520661"/>
                <a:gd name="connsiteX5" fmla="*/ 566592 w 572201"/>
                <a:gd name="connsiteY5" fmla="*/ 212121 h 520661"/>
                <a:gd name="connsiteX6" fmla="*/ 555372 w 572201"/>
                <a:gd name="connsiteY6" fmla="*/ 285049 h 520661"/>
                <a:gd name="connsiteX7" fmla="*/ 544152 w 572201"/>
                <a:gd name="connsiteY7" fmla="*/ 402855 h 520661"/>
                <a:gd name="connsiteX8" fmla="*/ 549762 w 572201"/>
                <a:gd name="connsiteY8" fmla="*/ 453343 h 520661"/>
                <a:gd name="connsiteX9" fmla="*/ 566592 w 572201"/>
                <a:gd name="connsiteY9" fmla="*/ 464563 h 520661"/>
                <a:gd name="connsiteX10" fmla="*/ 549762 w 572201"/>
                <a:gd name="connsiteY10" fmla="*/ 475783 h 520661"/>
                <a:gd name="connsiteX11" fmla="*/ 359028 w 572201"/>
                <a:gd name="connsiteY11" fmla="*/ 475783 h 520661"/>
                <a:gd name="connsiteX12" fmla="*/ 319760 w 572201"/>
                <a:gd name="connsiteY12" fmla="*/ 481393 h 520661"/>
                <a:gd name="connsiteX13" fmla="*/ 241222 w 572201"/>
                <a:gd name="connsiteY13" fmla="*/ 487002 h 520661"/>
                <a:gd name="connsiteX14" fmla="*/ 190734 w 572201"/>
                <a:gd name="connsiteY14" fmla="*/ 503832 h 520661"/>
                <a:gd name="connsiteX15" fmla="*/ 157075 w 572201"/>
                <a:gd name="connsiteY15" fmla="*/ 515051 h 520661"/>
                <a:gd name="connsiteX16" fmla="*/ 134636 w 572201"/>
                <a:gd name="connsiteY16" fmla="*/ 520661 h 520661"/>
                <a:gd name="connsiteX17" fmla="*/ 117806 w 572201"/>
                <a:gd name="connsiteY17" fmla="*/ 515051 h 520661"/>
                <a:gd name="connsiteX18" fmla="*/ 95367 w 572201"/>
                <a:gd name="connsiteY18" fmla="*/ 509442 h 520661"/>
                <a:gd name="connsiteX19" fmla="*/ 44879 w 572201"/>
                <a:gd name="connsiteY19" fmla="*/ 492612 h 520661"/>
                <a:gd name="connsiteX20" fmla="*/ 11220 w 572201"/>
                <a:gd name="connsiteY20" fmla="*/ 475783 h 520661"/>
                <a:gd name="connsiteX21" fmla="*/ 5610 w 572201"/>
                <a:gd name="connsiteY21" fmla="*/ 475783 h 520661"/>
                <a:gd name="connsiteX22" fmla="*/ 0 w 572201"/>
                <a:gd name="connsiteY22" fmla="*/ 21388 h 520661"/>
                <a:gd name="connsiteX0" fmla="*/ 0 w 572201"/>
                <a:gd name="connsiteY0" fmla="*/ 76156 h 575429"/>
                <a:gd name="connsiteX1" fmla="*/ 0 w 572201"/>
                <a:gd name="connsiteY1" fmla="*/ 76156 h 575429"/>
                <a:gd name="connsiteX2" fmla="*/ 561143 w 572201"/>
                <a:gd name="connsiteY2" fmla="*/ 0 h 575429"/>
                <a:gd name="connsiteX3" fmla="*/ 566592 w 572201"/>
                <a:gd name="connsiteY3" fmla="*/ 188352 h 575429"/>
                <a:gd name="connsiteX4" fmla="*/ 572201 w 572201"/>
                <a:gd name="connsiteY4" fmla="*/ 205181 h 575429"/>
                <a:gd name="connsiteX5" fmla="*/ 566592 w 572201"/>
                <a:gd name="connsiteY5" fmla="*/ 266889 h 575429"/>
                <a:gd name="connsiteX6" fmla="*/ 555372 w 572201"/>
                <a:gd name="connsiteY6" fmla="*/ 339817 h 575429"/>
                <a:gd name="connsiteX7" fmla="*/ 544152 w 572201"/>
                <a:gd name="connsiteY7" fmla="*/ 457623 h 575429"/>
                <a:gd name="connsiteX8" fmla="*/ 549762 w 572201"/>
                <a:gd name="connsiteY8" fmla="*/ 508111 h 575429"/>
                <a:gd name="connsiteX9" fmla="*/ 566592 w 572201"/>
                <a:gd name="connsiteY9" fmla="*/ 519331 h 575429"/>
                <a:gd name="connsiteX10" fmla="*/ 549762 w 572201"/>
                <a:gd name="connsiteY10" fmla="*/ 530551 h 575429"/>
                <a:gd name="connsiteX11" fmla="*/ 359028 w 572201"/>
                <a:gd name="connsiteY11" fmla="*/ 530551 h 575429"/>
                <a:gd name="connsiteX12" fmla="*/ 319760 w 572201"/>
                <a:gd name="connsiteY12" fmla="*/ 536161 h 575429"/>
                <a:gd name="connsiteX13" fmla="*/ 241222 w 572201"/>
                <a:gd name="connsiteY13" fmla="*/ 541770 h 575429"/>
                <a:gd name="connsiteX14" fmla="*/ 190734 w 572201"/>
                <a:gd name="connsiteY14" fmla="*/ 558600 h 575429"/>
                <a:gd name="connsiteX15" fmla="*/ 157075 w 572201"/>
                <a:gd name="connsiteY15" fmla="*/ 569819 h 575429"/>
                <a:gd name="connsiteX16" fmla="*/ 134636 w 572201"/>
                <a:gd name="connsiteY16" fmla="*/ 575429 h 575429"/>
                <a:gd name="connsiteX17" fmla="*/ 117806 w 572201"/>
                <a:gd name="connsiteY17" fmla="*/ 569819 h 575429"/>
                <a:gd name="connsiteX18" fmla="*/ 95367 w 572201"/>
                <a:gd name="connsiteY18" fmla="*/ 564210 h 575429"/>
                <a:gd name="connsiteX19" fmla="*/ 44879 w 572201"/>
                <a:gd name="connsiteY19" fmla="*/ 547380 h 575429"/>
                <a:gd name="connsiteX20" fmla="*/ 11220 w 572201"/>
                <a:gd name="connsiteY20" fmla="*/ 530551 h 575429"/>
                <a:gd name="connsiteX21" fmla="*/ 5610 w 572201"/>
                <a:gd name="connsiteY21" fmla="*/ 530551 h 575429"/>
                <a:gd name="connsiteX22" fmla="*/ 0 w 572201"/>
                <a:gd name="connsiteY22" fmla="*/ 76156 h 575429"/>
                <a:gd name="connsiteX0" fmla="*/ 0 w 606371"/>
                <a:gd name="connsiteY0" fmla="*/ 76156 h 575429"/>
                <a:gd name="connsiteX1" fmla="*/ 0 w 606371"/>
                <a:gd name="connsiteY1" fmla="*/ 76156 h 575429"/>
                <a:gd name="connsiteX2" fmla="*/ 561143 w 606371"/>
                <a:gd name="connsiteY2" fmla="*/ 0 h 575429"/>
                <a:gd name="connsiteX3" fmla="*/ 572201 w 606371"/>
                <a:gd name="connsiteY3" fmla="*/ 205181 h 575429"/>
                <a:gd name="connsiteX4" fmla="*/ 566592 w 606371"/>
                <a:gd name="connsiteY4" fmla="*/ 266889 h 575429"/>
                <a:gd name="connsiteX5" fmla="*/ 555372 w 606371"/>
                <a:gd name="connsiteY5" fmla="*/ 339817 h 575429"/>
                <a:gd name="connsiteX6" fmla="*/ 544152 w 606371"/>
                <a:gd name="connsiteY6" fmla="*/ 457623 h 575429"/>
                <a:gd name="connsiteX7" fmla="*/ 549762 w 606371"/>
                <a:gd name="connsiteY7" fmla="*/ 508111 h 575429"/>
                <a:gd name="connsiteX8" fmla="*/ 566592 w 606371"/>
                <a:gd name="connsiteY8" fmla="*/ 519331 h 575429"/>
                <a:gd name="connsiteX9" fmla="*/ 549762 w 606371"/>
                <a:gd name="connsiteY9" fmla="*/ 530551 h 575429"/>
                <a:gd name="connsiteX10" fmla="*/ 359028 w 606371"/>
                <a:gd name="connsiteY10" fmla="*/ 530551 h 575429"/>
                <a:gd name="connsiteX11" fmla="*/ 319760 w 606371"/>
                <a:gd name="connsiteY11" fmla="*/ 536161 h 575429"/>
                <a:gd name="connsiteX12" fmla="*/ 241222 w 606371"/>
                <a:gd name="connsiteY12" fmla="*/ 541770 h 575429"/>
                <a:gd name="connsiteX13" fmla="*/ 190734 w 606371"/>
                <a:gd name="connsiteY13" fmla="*/ 558600 h 575429"/>
                <a:gd name="connsiteX14" fmla="*/ 157075 w 606371"/>
                <a:gd name="connsiteY14" fmla="*/ 569819 h 575429"/>
                <a:gd name="connsiteX15" fmla="*/ 134636 w 606371"/>
                <a:gd name="connsiteY15" fmla="*/ 575429 h 575429"/>
                <a:gd name="connsiteX16" fmla="*/ 117806 w 606371"/>
                <a:gd name="connsiteY16" fmla="*/ 569819 h 575429"/>
                <a:gd name="connsiteX17" fmla="*/ 95367 w 606371"/>
                <a:gd name="connsiteY17" fmla="*/ 564210 h 575429"/>
                <a:gd name="connsiteX18" fmla="*/ 44879 w 606371"/>
                <a:gd name="connsiteY18" fmla="*/ 547380 h 575429"/>
                <a:gd name="connsiteX19" fmla="*/ 11220 w 606371"/>
                <a:gd name="connsiteY19" fmla="*/ 530551 h 575429"/>
                <a:gd name="connsiteX20" fmla="*/ 5610 w 606371"/>
                <a:gd name="connsiteY20" fmla="*/ 530551 h 575429"/>
                <a:gd name="connsiteX21" fmla="*/ 0 w 606371"/>
                <a:gd name="connsiteY21" fmla="*/ 76156 h 575429"/>
                <a:gd name="connsiteX0" fmla="*/ 0 w 604801"/>
                <a:gd name="connsiteY0" fmla="*/ 76156 h 575429"/>
                <a:gd name="connsiteX1" fmla="*/ 0 w 604801"/>
                <a:gd name="connsiteY1" fmla="*/ 76156 h 575429"/>
                <a:gd name="connsiteX2" fmla="*/ 561143 w 604801"/>
                <a:gd name="connsiteY2" fmla="*/ 0 h 575429"/>
                <a:gd name="connsiteX3" fmla="*/ 566592 w 604801"/>
                <a:gd name="connsiteY3" fmla="*/ 266889 h 575429"/>
                <a:gd name="connsiteX4" fmla="*/ 555372 w 604801"/>
                <a:gd name="connsiteY4" fmla="*/ 339817 h 575429"/>
                <a:gd name="connsiteX5" fmla="*/ 544152 w 604801"/>
                <a:gd name="connsiteY5" fmla="*/ 457623 h 575429"/>
                <a:gd name="connsiteX6" fmla="*/ 549762 w 604801"/>
                <a:gd name="connsiteY6" fmla="*/ 508111 h 575429"/>
                <a:gd name="connsiteX7" fmla="*/ 566592 w 604801"/>
                <a:gd name="connsiteY7" fmla="*/ 519331 h 575429"/>
                <a:gd name="connsiteX8" fmla="*/ 549762 w 604801"/>
                <a:gd name="connsiteY8" fmla="*/ 530551 h 575429"/>
                <a:gd name="connsiteX9" fmla="*/ 359028 w 604801"/>
                <a:gd name="connsiteY9" fmla="*/ 530551 h 575429"/>
                <a:gd name="connsiteX10" fmla="*/ 319760 w 604801"/>
                <a:gd name="connsiteY10" fmla="*/ 536161 h 575429"/>
                <a:gd name="connsiteX11" fmla="*/ 241222 w 604801"/>
                <a:gd name="connsiteY11" fmla="*/ 541770 h 575429"/>
                <a:gd name="connsiteX12" fmla="*/ 190734 w 604801"/>
                <a:gd name="connsiteY12" fmla="*/ 558600 h 575429"/>
                <a:gd name="connsiteX13" fmla="*/ 157075 w 604801"/>
                <a:gd name="connsiteY13" fmla="*/ 569819 h 575429"/>
                <a:gd name="connsiteX14" fmla="*/ 134636 w 604801"/>
                <a:gd name="connsiteY14" fmla="*/ 575429 h 575429"/>
                <a:gd name="connsiteX15" fmla="*/ 117806 w 604801"/>
                <a:gd name="connsiteY15" fmla="*/ 569819 h 575429"/>
                <a:gd name="connsiteX16" fmla="*/ 95367 w 604801"/>
                <a:gd name="connsiteY16" fmla="*/ 564210 h 575429"/>
                <a:gd name="connsiteX17" fmla="*/ 44879 w 604801"/>
                <a:gd name="connsiteY17" fmla="*/ 547380 h 575429"/>
                <a:gd name="connsiteX18" fmla="*/ 11220 w 604801"/>
                <a:gd name="connsiteY18" fmla="*/ 530551 h 575429"/>
                <a:gd name="connsiteX19" fmla="*/ 5610 w 604801"/>
                <a:gd name="connsiteY19" fmla="*/ 530551 h 575429"/>
                <a:gd name="connsiteX20" fmla="*/ 0 w 604801"/>
                <a:gd name="connsiteY20" fmla="*/ 76156 h 575429"/>
                <a:gd name="connsiteX0" fmla="*/ 0 w 601435"/>
                <a:gd name="connsiteY0" fmla="*/ 76156 h 575429"/>
                <a:gd name="connsiteX1" fmla="*/ 0 w 601435"/>
                <a:gd name="connsiteY1" fmla="*/ 76156 h 575429"/>
                <a:gd name="connsiteX2" fmla="*/ 561143 w 601435"/>
                <a:gd name="connsiteY2" fmla="*/ 0 h 575429"/>
                <a:gd name="connsiteX3" fmla="*/ 555372 w 601435"/>
                <a:gd name="connsiteY3" fmla="*/ 339817 h 575429"/>
                <a:gd name="connsiteX4" fmla="*/ 544152 w 601435"/>
                <a:gd name="connsiteY4" fmla="*/ 457623 h 575429"/>
                <a:gd name="connsiteX5" fmla="*/ 549762 w 601435"/>
                <a:gd name="connsiteY5" fmla="*/ 508111 h 575429"/>
                <a:gd name="connsiteX6" fmla="*/ 566592 w 601435"/>
                <a:gd name="connsiteY6" fmla="*/ 519331 h 575429"/>
                <a:gd name="connsiteX7" fmla="*/ 549762 w 601435"/>
                <a:gd name="connsiteY7" fmla="*/ 530551 h 575429"/>
                <a:gd name="connsiteX8" fmla="*/ 359028 w 601435"/>
                <a:gd name="connsiteY8" fmla="*/ 530551 h 575429"/>
                <a:gd name="connsiteX9" fmla="*/ 319760 w 601435"/>
                <a:gd name="connsiteY9" fmla="*/ 536161 h 575429"/>
                <a:gd name="connsiteX10" fmla="*/ 241222 w 601435"/>
                <a:gd name="connsiteY10" fmla="*/ 541770 h 575429"/>
                <a:gd name="connsiteX11" fmla="*/ 190734 w 601435"/>
                <a:gd name="connsiteY11" fmla="*/ 558600 h 575429"/>
                <a:gd name="connsiteX12" fmla="*/ 157075 w 601435"/>
                <a:gd name="connsiteY12" fmla="*/ 569819 h 575429"/>
                <a:gd name="connsiteX13" fmla="*/ 134636 w 601435"/>
                <a:gd name="connsiteY13" fmla="*/ 575429 h 575429"/>
                <a:gd name="connsiteX14" fmla="*/ 117806 w 601435"/>
                <a:gd name="connsiteY14" fmla="*/ 569819 h 575429"/>
                <a:gd name="connsiteX15" fmla="*/ 95367 w 601435"/>
                <a:gd name="connsiteY15" fmla="*/ 564210 h 575429"/>
                <a:gd name="connsiteX16" fmla="*/ 44879 w 601435"/>
                <a:gd name="connsiteY16" fmla="*/ 547380 h 575429"/>
                <a:gd name="connsiteX17" fmla="*/ 11220 w 601435"/>
                <a:gd name="connsiteY17" fmla="*/ 530551 h 575429"/>
                <a:gd name="connsiteX18" fmla="*/ 5610 w 601435"/>
                <a:gd name="connsiteY18" fmla="*/ 530551 h 575429"/>
                <a:gd name="connsiteX19" fmla="*/ 0 w 601435"/>
                <a:gd name="connsiteY19" fmla="*/ 76156 h 575429"/>
                <a:gd name="connsiteX0" fmla="*/ 0 w 597826"/>
                <a:gd name="connsiteY0" fmla="*/ 76156 h 575429"/>
                <a:gd name="connsiteX1" fmla="*/ 0 w 597826"/>
                <a:gd name="connsiteY1" fmla="*/ 76156 h 575429"/>
                <a:gd name="connsiteX2" fmla="*/ 561143 w 597826"/>
                <a:gd name="connsiteY2" fmla="*/ 0 h 575429"/>
                <a:gd name="connsiteX3" fmla="*/ 544152 w 597826"/>
                <a:gd name="connsiteY3" fmla="*/ 457623 h 575429"/>
                <a:gd name="connsiteX4" fmla="*/ 549762 w 597826"/>
                <a:gd name="connsiteY4" fmla="*/ 508111 h 575429"/>
                <a:gd name="connsiteX5" fmla="*/ 566592 w 597826"/>
                <a:gd name="connsiteY5" fmla="*/ 519331 h 575429"/>
                <a:gd name="connsiteX6" fmla="*/ 549762 w 597826"/>
                <a:gd name="connsiteY6" fmla="*/ 530551 h 575429"/>
                <a:gd name="connsiteX7" fmla="*/ 359028 w 597826"/>
                <a:gd name="connsiteY7" fmla="*/ 530551 h 575429"/>
                <a:gd name="connsiteX8" fmla="*/ 319760 w 597826"/>
                <a:gd name="connsiteY8" fmla="*/ 536161 h 575429"/>
                <a:gd name="connsiteX9" fmla="*/ 241222 w 597826"/>
                <a:gd name="connsiteY9" fmla="*/ 541770 h 575429"/>
                <a:gd name="connsiteX10" fmla="*/ 190734 w 597826"/>
                <a:gd name="connsiteY10" fmla="*/ 558600 h 575429"/>
                <a:gd name="connsiteX11" fmla="*/ 157075 w 597826"/>
                <a:gd name="connsiteY11" fmla="*/ 569819 h 575429"/>
                <a:gd name="connsiteX12" fmla="*/ 134636 w 597826"/>
                <a:gd name="connsiteY12" fmla="*/ 575429 h 575429"/>
                <a:gd name="connsiteX13" fmla="*/ 117806 w 597826"/>
                <a:gd name="connsiteY13" fmla="*/ 569819 h 575429"/>
                <a:gd name="connsiteX14" fmla="*/ 95367 w 597826"/>
                <a:gd name="connsiteY14" fmla="*/ 564210 h 575429"/>
                <a:gd name="connsiteX15" fmla="*/ 44879 w 597826"/>
                <a:gd name="connsiteY15" fmla="*/ 547380 h 575429"/>
                <a:gd name="connsiteX16" fmla="*/ 11220 w 597826"/>
                <a:gd name="connsiteY16" fmla="*/ 530551 h 575429"/>
                <a:gd name="connsiteX17" fmla="*/ 5610 w 597826"/>
                <a:gd name="connsiteY17" fmla="*/ 530551 h 575429"/>
                <a:gd name="connsiteX18" fmla="*/ 0 w 597826"/>
                <a:gd name="connsiteY18" fmla="*/ 76156 h 575429"/>
                <a:gd name="connsiteX0" fmla="*/ 0 w 598933"/>
                <a:gd name="connsiteY0" fmla="*/ 76156 h 575429"/>
                <a:gd name="connsiteX1" fmla="*/ 0 w 598933"/>
                <a:gd name="connsiteY1" fmla="*/ 76156 h 575429"/>
                <a:gd name="connsiteX2" fmla="*/ 561143 w 598933"/>
                <a:gd name="connsiteY2" fmla="*/ 0 h 575429"/>
                <a:gd name="connsiteX3" fmla="*/ 549762 w 598933"/>
                <a:gd name="connsiteY3" fmla="*/ 508111 h 575429"/>
                <a:gd name="connsiteX4" fmla="*/ 566592 w 598933"/>
                <a:gd name="connsiteY4" fmla="*/ 519331 h 575429"/>
                <a:gd name="connsiteX5" fmla="*/ 549762 w 598933"/>
                <a:gd name="connsiteY5" fmla="*/ 530551 h 575429"/>
                <a:gd name="connsiteX6" fmla="*/ 359028 w 598933"/>
                <a:gd name="connsiteY6" fmla="*/ 530551 h 575429"/>
                <a:gd name="connsiteX7" fmla="*/ 319760 w 598933"/>
                <a:gd name="connsiteY7" fmla="*/ 536161 h 575429"/>
                <a:gd name="connsiteX8" fmla="*/ 241222 w 598933"/>
                <a:gd name="connsiteY8" fmla="*/ 541770 h 575429"/>
                <a:gd name="connsiteX9" fmla="*/ 190734 w 598933"/>
                <a:gd name="connsiteY9" fmla="*/ 558600 h 575429"/>
                <a:gd name="connsiteX10" fmla="*/ 157075 w 598933"/>
                <a:gd name="connsiteY10" fmla="*/ 569819 h 575429"/>
                <a:gd name="connsiteX11" fmla="*/ 134636 w 598933"/>
                <a:gd name="connsiteY11" fmla="*/ 575429 h 575429"/>
                <a:gd name="connsiteX12" fmla="*/ 117806 w 598933"/>
                <a:gd name="connsiteY12" fmla="*/ 569819 h 575429"/>
                <a:gd name="connsiteX13" fmla="*/ 95367 w 598933"/>
                <a:gd name="connsiteY13" fmla="*/ 564210 h 575429"/>
                <a:gd name="connsiteX14" fmla="*/ 44879 w 598933"/>
                <a:gd name="connsiteY14" fmla="*/ 547380 h 575429"/>
                <a:gd name="connsiteX15" fmla="*/ 11220 w 598933"/>
                <a:gd name="connsiteY15" fmla="*/ 530551 h 575429"/>
                <a:gd name="connsiteX16" fmla="*/ 5610 w 598933"/>
                <a:gd name="connsiteY16" fmla="*/ 530551 h 575429"/>
                <a:gd name="connsiteX17" fmla="*/ 0 w 598933"/>
                <a:gd name="connsiteY17" fmla="*/ 76156 h 575429"/>
                <a:gd name="connsiteX0" fmla="*/ 0 w 605023"/>
                <a:gd name="connsiteY0" fmla="*/ 76156 h 575429"/>
                <a:gd name="connsiteX1" fmla="*/ 0 w 605023"/>
                <a:gd name="connsiteY1" fmla="*/ 76156 h 575429"/>
                <a:gd name="connsiteX2" fmla="*/ 561143 w 605023"/>
                <a:gd name="connsiteY2" fmla="*/ 0 h 575429"/>
                <a:gd name="connsiteX3" fmla="*/ 566592 w 605023"/>
                <a:gd name="connsiteY3" fmla="*/ 519331 h 575429"/>
                <a:gd name="connsiteX4" fmla="*/ 549762 w 605023"/>
                <a:gd name="connsiteY4" fmla="*/ 530551 h 575429"/>
                <a:gd name="connsiteX5" fmla="*/ 359028 w 605023"/>
                <a:gd name="connsiteY5" fmla="*/ 530551 h 575429"/>
                <a:gd name="connsiteX6" fmla="*/ 319760 w 605023"/>
                <a:gd name="connsiteY6" fmla="*/ 536161 h 575429"/>
                <a:gd name="connsiteX7" fmla="*/ 241222 w 605023"/>
                <a:gd name="connsiteY7" fmla="*/ 541770 h 575429"/>
                <a:gd name="connsiteX8" fmla="*/ 190734 w 605023"/>
                <a:gd name="connsiteY8" fmla="*/ 558600 h 575429"/>
                <a:gd name="connsiteX9" fmla="*/ 157075 w 605023"/>
                <a:gd name="connsiteY9" fmla="*/ 569819 h 575429"/>
                <a:gd name="connsiteX10" fmla="*/ 134636 w 605023"/>
                <a:gd name="connsiteY10" fmla="*/ 575429 h 575429"/>
                <a:gd name="connsiteX11" fmla="*/ 117806 w 605023"/>
                <a:gd name="connsiteY11" fmla="*/ 569819 h 575429"/>
                <a:gd name="connsiteX12" fmla="*/ 95367 w 605023"/>
                <a:gd name="connsiteY12" fmla="*/ 564210 h 575429"/>
                <a:gd name="connsiteX13" fmla="*/ 44879 w 605023"/>
                <a:gd name="connsiteY13" fmla="*/ 547380 h 575429"/>
                <a:gd name="connsiteX14" fmla="*/ 11220 w 605023"/>
                <a:gd name="connsiteY14" fmla="*/ 530551 h 575429"/>
                <a:gd name="connsiteX15" fmla="*/ 5610 w 605023"/>
                <a:gd name="connsiteY15" fmla="*/ 530551 h 575429"/>
                <a:gd name="connsiteX16" fmla="*/ 0 w 605023"/>
                <a:gd name="connsiteY16" fmla="*/ 76156 h 575429"/>
                <a:gd name="connsiteX0" fmla="*/ 0 w 605023"/>
                <a:gd name="connsiteY0" fmla="*/ 76156 h 575429"/>
                <a:gd name="connsiteX1" fmla="*/ 0 w 605023"/>
                <a:gd name="connsiteY1" fmla="*/ 76156 h 575429"/>
                <a:gd name="connsiteX2" fmla="*/ 561143 w 605023"/>
                <a:gd name="connsiteY2" fmla="*/ 0 h 575429"/>
                <a:gd name="connsiteX3" fmla="*/ 566592 w 605023"/>
                <a:gd name="connsiteY3" fmla="*/ 519331 h 575429"/>
                <a:gd name="connsiteX4" fmla="*/ 359028 w 605023"/>
                <a:gd name="connsiteY4" fmla="*/ 530551 h 575429"/>
                <a:gd name="connsiteX5" fmla="*/ 319760 w 605023"/>
                <a:gd name="connsiteY5" fmla="*/ 536161 h 575429"/>
                <a:gd name="connsiteX6" fmla="*/ 241222 w 605023"/>
                <a:gd name="connsiteY6" fmla="*/ 541770 h 575429"/>
                <a:gd name="connsiteX7" fmla="*/ 190734 w 605023"/>
                <a:gd name="connsiteY7" fmla="*/ 558600 h 575429"/>
                <a:gd name="connsiteX8" fmla="*/ 157075 w 605023"/>
                <a:gd name="connsiteY8" fmla="*/ 569819 h 575429"/>
                <a:gd name="connsiteX9" fmla="*/ 134636 w 605023"/>
                <a:gd name="connsiteY9" fmla="*/ 575429 h 575429"/>
                <a:gd name="connsiteX10" fmla="*/ 117806 w 605023"/>
                <a:gd name="connsiteY10" fmla="*/ 569819 h 575429"/>
                <a:gd name="connsiteX11" fmla="*/ 95367 w 605023"/>
                <a:gd name="connsiteY11" fmla="*/ 564210 h 575429"/>
                <a:gd name="connsiteX12" fmla="*/ 44879 w 605023"/>
                <a:gd name="connsiteY12" fmla="*/ 547380 h 575429"/>
                <a:gd name="connsiteX13" fmla="*/ 11220 w 605023"/>
                <a:gd name="connsiteY13" fmla="*/ 530551 h 575429"/>
                <a:gd name="connsiteX14" fmla="*/ 5610 w 605023"/>
                <a:gd name="connsiteY14" fmla="*/ 530551 h 575429"/>
                <a:gd name="connsiteX15" fmla="*/ 0 w 605023"/>
                <a:gd name="connsiteY15" fmla="*/ 76156 h 575429"/>
                <a:gd name="connsiteX0" fmla="*/ 0 w 605023"/>
                <a:gd name="connsiteY0" fmla="*/ 76156 h 575429"/>
                <a:gd name="connsiteX1" fmla="*/ 0 w 605023"/>
                <a:gd name="connsiteY1" fmla="*/ 76156 h 575429"/>
                <a:gd name="connsiteX2" fmla="*/ 561143 w 605023"/>
                <a:gd name="connsiteY2" fmla="*/ 0 h 575429"/>
                <a:gd name="connsiteX3" fmla="*/ 566592 w 605023"/>
                <a:gd name="connsiteY3" fmla="*/ 519331 h 575429"/>
                <a:gd name="connsiteX4" fmla="*/ 319760 w 605023"/>
                <a:gd name="connsiteY4" fmla="*/ 536161 h 575429"/>
                <a:gd name="connsiteX5" fmla="*/ 241222 w 605023"/>
                <a:gd name="connsiteY5" fmla="*/ 541770 h 575429"/>
                <a:gd name="connsiteX6" fmla="*/ 190734 w 605023"/>
                <a:gd name="connsiteY6" fmla="*/ 558600 h 575429"/>
                <a:gd name="connsiteX7" fmla="*/ 157075 w 605023"/>
                <a:gd name="connsiteY7" fmla="*/ 569819 h 575429"/>
                <a:gd name="connsiteX8" fmla="*/ 134636 w 605023"/>
                <a:gd name="connsiteY8" fmla="*/ 575429 h 575429"/>
                <a:gd name="connsiteX9" fmla="*/ 117806 w 605023"/>
                <a:gd name="connsiteY9" fmla="*/ 569819 h 575429"/>
                <a:gd name="connsiteX10" fmla="*/ 95367 w 605023"/>
                <a:gd name="connsiteY10" fmla="*/ 564210 h 575429"/>
                <a:gd name="connsiteX11" fmla="*/ 44879 w 605023"/>
                <a:gd name="connsiteY11" fmla="*/ 547380 h 575429"/>
                <a:gd name="connsiteX12" fmla="*/ 11220 w 605023"/>
                <a:gd name="connsiteY12" fmla="*/ 530551 h 575429"/>
                <a:gd name="connsiteX13" fmla="*/ 5610 w 605023"/>
                <a:gd name="connsiteY13" fmla="*/ 530551 h 575429"/>
                <a:gd name="connsiteX14" fmla="*/ 0 w 605023"/>
                <a:gd name="connsiteY14" fmla="*/ 76156 h 575429"/>
                <a:gd name="connsiteX0" fmla="*/ 0 w 605023"/>
                <a:gd name="connsiteY0" fmla="*/ 76156 h 575429"/>
                <a:gd name="connsiteX1" fmla="*/ 0 w 605023"/>
                <a:gd name="connsiteY1" fmla="*/ 76156 h 575429"/>
                <a:gd name="connsiteX2" fmla="*/ 561143 w 605023"/>
                <a:gd name="connsiteY2" fmla="*/ 0 h 575429"/>
                <a:gd name="connsiteX3" fmla="*/ 566592 w 605023"/>
                <a:gd name="connsiteY3" fmla="*/ 519331 h 575429"/>
                <a:gd name="connsiteX4" fmla="*/ 241222 w 605023"/>
                <a:gd name="connsiteY4" fmla="*/ 541770 h 575429"/>
                <a:gd name="connsiteX5" fmla="*/ 190734 w 605023"/>
                <a:gd name="connsiteY5" fmla="*/ 558600 h 575429"/>
                <a:gd name="connsiteX6" fmla="*/ 157075 w 605023"/>
                <a:gd name="connsiteY6" fmla="*/ 569819 h 575429"/>
                <a:gd name="connsiteX7" fmla="*/ 134636 w 605023"/>
                <a:gd name="connsiteY7" fmla="*/ 575429 h 575429"/>
                <a:gd name="connsiteX8" fmla="*/ 117806 w 605023"/>
                <a:gd name="connsiteY8" fmla="*/ 569819 h 575429"/>
                <a:gd name="connsiteX9" fmla="*/ 95367 w 605023"/>
                <a:gd name="connsiteY9" fmla="*/ 564210 h 575429"/>
                <a:gd name="connsiteX10" fmla="*/ 44879 w 605023"/>
                <a:gd name="connsiteY10" fmla="*/ 547380 h 575429"/>
                <a:gd name="connsiteX11" fmla="*/ 11220 w 605023"/>
                <a:gd name="connsiteY11" fmla="*/ 530551 h 575429"/>
                <a:gd name="connsiteX12" fmla="*/ 5610 w 605023"/>
                <a:gd name="connsiteY12" fmla="*/ 530551 h 575429"/>
                <a:gd name="connsiteX13" fmla="*/ 0 w 605023"/>
                <a:gd name="connsiteY13" fmla="*/ 76156 h 575429"/>
                <a:gd name="connsiteX0" fmla="*/ 0 w 605023"/>
                <a:gd name="connsiteY0" fmla="*/ 76156 h 575429"/>
                <a:gd name="connsiteX1" fmla="*/ 0 w 605023"/>
                <a:gd name="connsiteY1" fmla="*/ 76156 h 575429"/>
                <a:gd name="connsiteX2" fmla="*/ 561143 w 605023"/>
                <a:gd name="connsiteY2" fmla="*/ 0 h 575429"/>
                <a:gd name="connsiteX3" fmla="*/ 566592 w 605023"/>
                <a:gd name="connsiteY3" fmla="*/ 519331 h 575429"/>
                <a:gd name="connsiteX4" fmla="*/ 190734 w 605023"/>
                <a:gd name="connsiteY4" fmla="*/ 558600 h 575429"/>
                <a:gd name="connsiteX5" fmla="*/ 157075 w 605023"/>
                <a:gd name="connsiteY5" fmla="*/ 569819 h 575429"/>
                <a:gd name="connsiteX6" fmla="*/ 134636 w 605023"/>
                <a:gd name="connsiteY6" fmla="*/ 575429 h 575429"/>
                <a:gd name="connsiteX7" fmla="*/ 117806 w 605023"/>
                <a:gd name="connsiteY7" fmla="*/ 569819 h 575429"/>
                <a:gd name="connsiteX8" fmla="*/ 95367 w 605023"/>
                <a:gd name="connsiteY8" fmla="*/ 564210 h 575429"/>
                <a:gd name="connsiteX9" fmla="*/ 44879 w 605023"/>
                <a:gd name="connsiteY9" fmla="*/ 547380 h 575429"/>
                <a:gd name="connsiteX10" fmla="*/ 11220 w 605023"/>
                <a:gd name="connsiteY10" fmla="*/ 530551 h 575429"/>
                <a:gd name="connsiteX11" fmla="*/ 5610 w 605023"/>
                <a:gd name="connsiteY11" fmla="*/ 530551 h 575429"/>
                <a:gd name="connsiteX12" fmla="*/ 0 w 605023"/>
                <a:gd name="connsiteY12" fmla="*/ 76156 h 575429"/>
                <a:gd name="connsiteX0" fmla="*/ 0 w 605023"/>
                <a:gd name="connsiteY0" fmla="*/ 76156 h 576694"/>
                <a:gd name="connsiteX1" fmla="*/ 0 w 605023"/>
                <a:gd name="connsiteY1" fmla="*/ 76156 h 576694"/>
                <a:gd name="connsiteX2" fmla="*/ 561143 w 605023"/>
                <a:gd name="connsiteY2" fmla="*/ 0 h 576694"/>
                <a:gd name="connsiteX3" fmla="*/ 566592 w 605023"/>
                <a:gd name="connsiteY3" fmla="*/ 519331 h 576694"/>
                <a:gd name="connsiteX4" fmla="*/ 157075 w 605023"/>
                <a:gd name="connsiteY4" fmla="*/ 569819 h 576694"/>
                <a:gd name="connsiteX5" fmla="*/ 134636 w 605023"/>
                <a:gd name="connsiteY5" fmla="*/ 575429 h 576694"/>
                <a:gd name="connsiteX6" fmla="*/ 117806 w 605023"/>
                <a:gd name="connsiteY6" fmla="*/ 569819 h 576694"/>
                <a:gd name="connsiteX7" fmla="*/ 95367 w 605023"/>
                <a:gd name="connsiteY7" fmla="*/ 564210 h 576694"/>
                <a:gd name="connsiteX8" fmla="*/ 44879 w 605023"/>
                <a:gd name="connsiteY8" fmla="*/ 547380 h 576694"/>
                <a:gd name="connsiteX9" fmla="*/ 11220 w 605023"/>
                <a:gd name="connsiteY9" fmla="*/ 530551 h 576694"/>
                <a:gd name="connsiteX10" fmla="*/ 5610 w 605023"/>
                <a:gd name="connsiteY10" fmla="*/ 530551 h 576694"/>
                <a:gd name="connsiteX11" fmla="*/ 0 w 605023"/>
                <a:gd name="connsiteY11" fmla="*/ 76156 h 576694"/>
                <a:gd name="connsiteX0" fmla="*/ 0 w 605023"/>
                <a:gd name="connsiteY0" fmla="*/ 76156 h 580257"/>
                <a:gd name="connsiteX1" fmla="*/ 0 w 605023"/>
                <a:gd name="connsiteY1" fmla="*/ 76156 h 580257"/>
                <a:gd name="connsiteX2" fmla="*/ 561143 w 605023"/>
                <a:gd name="connsiteY2" fmla="*/ 0 h 580257"/>
                <a:gd name="connsiteX3" fmla="*/ 566592 w 605023"/>
                <a:gd name="connsiteY3" fmla="*/ 519331 h 580257"/>
                <a:gd name="connsiteX4" fmla="*/ 134636 w 605023"/>
                <a:gd name="connsiteY4" fmla="*/ 575429 h 580257"/>
                <a:gd name="connsiteX5" fmla="*/ 117806 w 605023"/>
                <a:gd name="connsiteY5" fmla="*/ 569819 h 580257"/>
                <a:gd name="connsiteX6" fmla="*/ 95367 w 605023"/>
                <a:gd name="connsiteY6" fmla="*/ 564210 h 580257"/>
                <a:gd name="connsiteX7" fmla="*/ 44879 w 605023"/>
                <a:gd name="connsiteY7" fmla="*/ 547380 h 580257"/>
                <a:gd name="connsiteX8" fmla="*/ 11220 w 605023"/>
                <a:gd name="connsiteY8" fmla="*/ 530551 h 580257"/>
                <a:gd name="connsiteX9" fmla="*/ 5610 w 605023"/>
                <a:gd name="connsiteY9" fmla="*/ 530551 h 580257"/>
                <a:gd name="connsiteX10" fmla="*/ 0 w 605023"/>
                <a:gd name="connsiteY10" fmla="*/ 76156 h 580257"/>
                <a:gd name="connsiteX0" fmla="*/ 0 w 605023"/>
                <a:gd name="connsiteY0" fmla="*/ 76156 h 577386"/>
                <a:gd name="connsiteX1" fmla="*/ 0 w 605023"/>
                <a:gd name="connsiteY1" fmla="*/ 76156 h 577386"/>
                <a:gd name="connsiteX2" fmla="*/ 561143 w 605023"/>
                <a:gd name="connsiteY2" fmla="*/ 0 h 577386"/>
                <a:gd name="connsiteX3" fmla="*/ 566592 w 605023"/>
                <a:gd name="connsiteY3" fmla="*/ 519331 h 577386"/>
                <a:gd name="connsiteX4" fmla="*/ 117806 w 605023"/>
                <a:gd name="connsiteY4" fmla="*/ 569819 h 577386"/>
                <a:gd name="connsiteX5" fmla="*/ 95367 w 605023"/>
                <a:gd name="connsiteY5" fmla="*/ 564210 h 577386"/>
                <a:gd name="connsiteX6" fmla="*/ 44879 w 605023"/>
                <a:gd name="connsiteY6" fmla="*/ 547380 h 577386"/>
                <a:gd name="connsiteX7" fmla="*/ 11220 w 605023"/>
                <a:gd name="connsiteY7" fmla="*/ 530551 h 577386"/>
                <a:gd name="connsiteX8" fmla="*/ 5610 w 605023"/>
                <a:gd name="connsiteY8" fmla="*/ 530551 h 577386"/>
                <a:gd name="connsiteX9" fmla="*/ 0 w 605023"/>
                <a:gd name="connsiteY9" fmla="*/ 76156 h 577386"/>
                <a:gd name="connsiteX0" fmla="*/ 0 w 605023"/>
                <a:gd name="connsiteY0" fmla="*/ 76156 h 575361"/>
                <a:gd name="connsiteX1" fmla="*/ 0 w 605023"/>
                <a:gd name="connsiteY1" fmla="*/ 76156 h 575361"/>
                <a:gd name="connsiteX2" fmla="*/ 561143 w 605023"/>
                <a:gd name="connsiteY2" fmla="*/ 0 h 575361"/>
                <a:gd name="connsiteX3" fmla="*/ 566592 w 605023"/>
                <a:gd name="connsiteY3" fmla="*/ 519331 h 575361"/>
                <a:gd name="connsiteX4" fmla="*/ 95367 w 605023"/>
                <a:gd name="connsiteY4" fmla="*/ 564210 h 575361"/>
                <a:gd name="connsiteX5" fmla="*/ 44879 w 605023"/>
                <a:gd name="connsiteY5" fmla="*/ 547380 h 575361"/>
                <a:gd name="connsiteX6" fmla="*/ 11220 w 605023"/>
                <a:gd name="connsiteY6" fmla="*/ 530551 h 575361"/>
                <a:gd name="connsiteX7" fmla="*/ 5610 w 605023"/>
                <a:gd name="connsiteY7" fmla="*/ 530551 h 575361"/>
                <a:gd name="connsiteX8" fmla="*/ 0 w 605023"/>
                <a:gd name="connsiteY8" fmla="*/ 76156 h 575361"/>
                <a:gd name="connsiteX0" fmla="*/ 0 w 605023"/>
                <a:gd name="connsiteY0" fmla="*/ 76156 h 568118"/>
                <a:gd name="connsiteX1" fmla="*/ 0 w 605023"/>
                <a:gd name="connsiteY1" fmla="*/ 76156 h 568118"/>
                <a:gd name="connsiteX2" fmla="*/ 561143 w 605023"/>
                <a:gd name="connsiteY2" fmla="*/ 0 h 568118"/>
                <a:gd name="connsiteX3" fmla="*/ 566592 w 605023"/>
                <a:gd name="connsiteY3" fmla="*/ 519331 h 568118"/>
                <a:gd name="connsiteX4" fmla="*/ 44879 w 605023"/>
                <a:gd name="connsiteY4" fmla="*/ 547380 h 568118"/>
                <a:gd name="connsiteX5" fmla="*/ 11220 w 605023"/>
                <a:gd name="connsiteY5" fmla="*/ 530551 h 568118"/>
                <a:gd name="connsiteX6" fmla="*/ 5610 w 605023"/>
                <a:gd name="connsiteY6" fmla="*/ 530551 h 568118"/>
                <a:gd name="connsiteX7" fmla="*/ 0 w 605023"/>
                <a:gd name="connsiteY7" fmla="*/ 76156 h 568118"/>
                <a:gd name="connsiteX0" fmla="*/ 0 w 605023"/>
                <a:gd name="connsiteY0" fmla="*/ 76156 h 561297"/>
                <a:gd name="connsiteX1" fmla="*/ 0 w 605023"/>
                <a:gd name="connsiteY1" fmla="*/ 76156 h 561297"/>
                <a:gd name="connsiteX2" fmla="*/ 561143 w 605023"/>
                <a:gd name="connsiteY2" fmla="*/ 0 h 561297"/>
                <a:gd name="connsiteX3" fmla="*/ 566592 w 605023"/>
                <a:gd name="connsiteY3" fmla="*/ 519331 h 561297"/>
                <a:gd name="connsiteX4" fmla="*/ 11220 w 605023"/>
                <a:gd name="connsiteY4" fmla="*/ 530551 h 561297"/>
                <a:gd name="connsiteX5" fmla="*/ 5610 w 605023"/>
                <a:gd name="connsiteY5" fmla="*/ 530551 h 561297"/>
                <a:gd name="connsiteX6" fmla="*/ 0 w 605023"/>
                <a:gd name="connsiteY6" fmla="*/ 76156 h 561297"/>
                <a:gd name="connsiteX0" fmla="*/ 0 w 605023"/>
                <a:gd name="connsiteY0" fmla="*/ 76156 h 585834"/>
                <a:gd name="connsiteX1" fmla="*/ 0 w 605023"/>
                <a:gd name="connsiteY1" fmla="*/ 76156 h 585834"/>
                <a:gd name="connsiteX2" fmla="*/ 561143 w 605023"/>
                <a:gd name="connsiteY2" fmla="*/ 0 h 585834"/>
                <a:gd name="connsiteX3" fmla="*/ 566592 w 605023"/>
                <a:gd name="connsiteY3" fmla="*/ 519331 h 585834"/>
                <a:gd name="connsiteX4" fmla="*/ 5610 w 605023"/>
                <a:gd name="connsiteY4" fmla="*/ 530551 h 585834"/>
                <a:gd name="connsiteX5" fmla="*/ 0 w 605023"/>
                <a:gd name="connsiteY5" fmla="*/ 76156 h 585834"/>
                <a:gd name="connsiteX0" fmla="*/ 1534 w 636032"/>
                <a:gd name="connsiteY0" fmla="*/ 76156 h 584466"/>
                <a:gd name="connsiteX1" fmla="*/ 1534 w 636032"/>
                <a:gd name="connsiteY1" fmla="*/ 76156 h 584466"/>
                <a:gd name="connsiteX2" fmla="*/ 562677 w 636032"/>
                <a:gd name="connsiteY2" fmla="*/ 0 h 584466"/>
                <a:gd name="connsiteX3" fmla="*/ 568126 w 636032"/>
                <a:gd name="connsiteY3" fmla="*/ 519331 h 584466"/>
                <a:gd name="connsiteX4" fmla="*/ 0 w 636032"/>
                <a:gd name="connsiteY4" fmla="*/ 528170 h 584466"/>
                <a:gd name="connsiteX5" fmla="*/ 1534 w 636032"/>
                <a:gd name="connsiteY5" fmla="*/ 76156 h 584466"/>
                <a:gd name="connsiteX0" fmla="*/ 1534 w 636032"/>
                <a:gd name="connsiteY0" fmla="*/ 76156 h 560895"/>
                <a:gd name="connsiteX1" fmla="*/ 1534 w 636032"/>
                <a:gd name="connsiteY1" fmla="*/ 76156 h 560895"/>
                <a:gd name="connsiteX2" fmla="*/ 562677 w 636032"/>
                <a:gd name="connsiteY2" fmla="*/ 0 h 560895"/>
                <a:gd name="connsiteX3" fmla="*/ 568126 w 636032"/>
                <a:gd name="connsiteY3" fmla="*/ 519331 h 560895"/>
                <a:gd name="connsiteX4" fmla="*/ 0 w 636032"/>
                <a:gd name="connsiteY4" fmla="*/ 528170 h 560895"/>
                <a:gd name="connsiteX5" fmla="*/ 1534 w 636032"/>
                <a:gd name="connsiteY5" fmla="*/ 76156 h 560895"/>
                <a:gd name="connsiteX0" fmla="*/ 1534 w 605472"/>
                <a:gd name="connsiteY0" fmla="*/ 76156 h 560895"/>
                <a:gd name="connsiteX1" fmla="*/ 1534 w 605472"/>
                <a:gd name="connsiteY1" fmla="*/ 76156 h 560895"/>
                <a:gd name="connsiteX2" fmla="*/ 562677 w 605472"/>
                <a:gd name="connsiteY2" fmla="*/ 0 h 560895"/>
                <a:gd name="connsiteX3" fmla="*/ 568126 w 605472"/>
                <a:gd name="connsiteY3" fmla="*/ 519331 h 560895"/>
                <a:gd name="connsiteX4" fmla="*/ 0 w 605472"/>
                <a:gd name="connsiteY4" fmla="*/ 528170 h 560895"/>
                <a:gd name="connsiteX5" fmla="*/ 1534 w 605472"/>
                <a:gd name="connsiteY5" fmla="*/ 76156 h 560895"/>
                <a:gd name="connsiteX0" fmla="*/ 1534 w 605472"/>
                <a:gd name="connsiteY0" fmla="*/ 76156 h 528170"/>
                <a:gd name="connsiteX1" fmla="*/ 1534 w 605472"/>
                <a:gd name="connsiteY1" fmla="*/ 76156 h 528170"/>
                <a:gd name="connsiteX2" fmla="*/ 562677 w 605472"/>
                <a:gd name="connsiteY2" fmla="*/ 0 h 528170"/>
                <a:gd name="connsiteX3" fmla="*/ 568126 w 605472"/>
                <a:gd name="connsiteY3" fmla="*/ 519331 h 528170"/>
                <a:gd name="connsiteX4" fmla="*/ 0 w 605472"/>
                <a:gd name="connsiteY4" fmla="*/ 528170 h 528170"/>
                <a:gd name="connsiteX5" fmla="*/ 1534 w 605472"/>
                <a:gd name="connsiteY5" fmla="*/ 76156 h 528170"/>
                <a:gd name="connsiteX0" fmla="*/ 29 w 603967"/>
                <a:gd name="connsiteY0" fmla="*/ 76156 h 540076"/>
                <a:gd name="connsiteX1" fmla="*/ 29 w 603967"/>
                <a:gd name="connsiteY1" fmla="*/ 76156 h 540076"/>
                <a:gd name="connsiteX2" fmla="*/ 561172 w 603967"/>
                <a:gd name="connsiteY2" fmla="*/ 0 h 540076"/>
                <a:gd name="connsiteX3" fmla="*/ 566621 w 603967"/>
                <a:gd name="connsiteY3" fmla="*/ 519331 h 540076"/>
                <a:gd name="connsiteX4" fmla="*/ 5639 w 603967"/>
                <a:gd name="connsiteY4" fmla="*/ 540076 h 540076"/>
                <a:gd name="connsiteX5" fmla="*/ 29 w 603967"/>
                <a:gd name="connsiteY5" fmla="*/ 76156 h 540076"/>
                <a:gd name="connsiteX0" fmla="*/ 29 w 603967"/>
                <a:gd name="connsiteY0" fmla="*/ 76156 h 540076"/>
                <a:gd name="connsiteX1" fmla="*/ 29 w 603967"/>
                <a:gd name="connsiteY1" fmla="*/ 76156 h 540076"/>
                <a:gd name="connsiteX2" fmla="*/ 561172 w 603967"/>
                <a:gd name="connsiteY2" fmla="*/ 0 h 540076"/>
                <a:gd name="connsiteX3" fmla="*/ 566621 w 603967"/>
                <a:gd name="connsiteY3" fmla="*/ 519331 h 540076"/>
                <a:gd name="connsiteX4" fmla="*/ 5639 w 603967"/>
                <a:gd name="connsiteY4" fmla="*/ 540076 h 540076"/>
                <a:gd name="connsiteX5" fmla="*/ 29 w 603967"/>
                <a:gd name="connsiteY5" fmla="*/ 76156 h 540076"/>
                <a:gd name="connsiteX0" fmla="*/ 89 w 604027"/>
                <a:gd name="connsiteY0" fmla="*/ 76156 h 535314"/>
                <a:gd name="connsiteX1" fmla="*/ 89 w 604027"/>
                <a:gd name="connsiteY1" fmla="*/ 76156 h 535314"/>
                <a:gd name="connsiteX2" fmla="*/ 561232 w 604027"/>
                <a:gd name="connsiteY2" fmla="*/ 0 h 535314"/>
                <a:gd name="connsiteX3" fmla="*/ 566681 w 604027"/>
                <a:gd name="connsiteY3" fmla="*/ 519331 h 535314"/>
                <a:gd name="connsiteX4" fmla="*/ 937 w 604027"/>
                <a:gd name="connsiteY4" fmla="*/ 535314 h 535314"/>
                <a:gd name="connsiteX5" fmla="*/ 89 w 604027"/>
                <a:gd name="connsiteY5" fmla="*/ 76156 h 535314"/>
                <a:gd name="connsiteX0" fmla="*/ 89 w 604027"/>
                <a:gd name="connsiteY0" fmla="*/ 76156 h 535314"/>
                <a:gd name="connsiteX1" fmla="*/ 89 w 604027"/>
                <a:gd name="connsiteY1" fmla="*/ 76156 h 535314"/>
                <a:gd name="connsiteX2" fmla="*/ 561232 w 604027"/>
                <a:gd name="connsiteY2" fmla="*/ 0 h 535314"/>
                <a:gd name="connsiteX3" fmla="*/ 566681 w 604027"/>
                <a:gd name="connsiteY3" fmla="*/ 533618 h 535314"/>
                <a:gd name="connsiteX4" fmla="*/ 937 w 604027"/>
                <a:gd name="connsiteY4" fmla="*/ 535314 h 535314"/>
                <a:gd name="connsiteX5" fmla="*/ 89 w 604027"/>
                <a:gd name="connsiteY5" fmla="*/ 76156 h 535314"/>
                <a:gd name="connsiteX0" fmla="*/ 89 w 604027"/>
                <a:gd name="connsiteY0" fmla="*/ 76156 h 535314"/>
                <a:gd name="connsiteX1" fmla="*/ 89 w 604027"/>
                <a:gd name="connsiteY1" fmla="*/ 76156 h 535314"/>
                <a:gd name="connsiteX2" fmla="*/ 561232 w 604027"/>
                <a:gd name="connsiteY2" fmla="*/ 0 h 535314"/>
                <a:gd name="connsiteX3" fmla="*/ 566681 w 604027"/>
                <a:gd name="connsiteY3" fmla="*/ 533618 h 535314"/>
                <a:gd name="connsiteX4" fmla="*/ 937 w 604027"/>
                <a:gd name="connsiteY4" fmla="*/ 535314 h 535314"/>
                <a:gd name="connsiteX5" fmla="*/ 89 w 604027"/>
                <a:gd name="connsiteY5" fmla="*/ 76156 h 535314"/>
                <a:gd name="connsiteX0" fmla="*/ 89 w 566681"/>
                <a:gd name="connsiteY0" fmla="*/ 76156 h 535314"/>
                <a:gd name="connsiteX1" fmla="*/ 89 w 566681"/>
                <a:gd name="connsiteY1" fmla="*/ 76156 h 535314"/>
                <a:gd name="connsiteX2" fmla="*/ 561232 w 566681"/>
                <a:gd name="connsiteY2" fmla="*/ 0 h 535314"/>
                <a:gd name="connsiteX3" fmla="*/ 566681 w 566681"/>
                <a:gd name="connsiteY3" fmla="*/ 533618 h 535314"/>
                <a:gd name="connsiteX4" fmla="*/ 937 w 566681"/>
                <a:gd name="connsiteY4" fmla="*/ 535314 h 535314"/>
                <a:gd name="connsiteX5" fmla="*/ 89 w 566681"/>
                <a:gd name="connsiteY5" fmla="*/ 76156 h 535314"/>
                <a:gd name="connsiteX0" fmla="*/ 89 w 566681"/>
                <a:gd name="connsiteY0" fmla="*/ 76156 h 535314"/>
                <a:gd name="connsiteX1" fmla="*/ 89 w 566681"/>
                <a:gd name="connsiteY1" fmla="*/ 76156 h 535314"/>
                <a:gd name="connsiteX2" fmla="*/ 561232 w 566681"/>
                <a:gd name="connsiteY2" fmla="*/ 0 h 535314"/>
                <a:gd name="connsiteX3" fmla="*/ 566681 w 566681"/>
                <a:gd name="connsiteY3" fmla="*/ 533618 h 535314"/>
                <a:gd name="connsiteX4" fmla="*/ 937 w 566681"/>
                <a:gd name="connsiteY4" fmla="*/ 535314 h 535314"/>
                <a:gd name="connsiteX5" fmla="*/ 89 w 566681"/>
                <a:gd name="connsiteY5" fmla="*/ 76156 h 535314"/>
                <a:gd name="connsiteX0" fmla="*/ 89 w 566681"/>
                <a:gd name="connsiteY0" fmla="*/ 76156 h 535314"/>
                <a:gd name="connsiteX1" fmla="*/ 89 w 566681"/>
                <a:gd name="connsiteY1" fmla="*/ 76156 h 535314"/>
                <a:gd name="connsiteX2" fmla="*/ 561232 w 566681"/>
                <a:gd name="connsiteY2" fmla="*/ 0 h 535314"/>
                <a:gd name="connsiteX3" fmla="*/ 566681 w 566681"/>
                <a:gd name="connsiteY3" fmla="*/ 533618 h 535314"/>
                <a:gd name="connsiteX4" fmla="*/ 937 w 566681"/>
                <a:gd name="connsiteY4" fmla="*/ 535314 h 535314"/>
                <a:gd name="connsiteX5" fmla="*/ 89 w 566681"/>
                <a:gd name="connsiteY5" fmla="*/ 76156 h 535314"/>
                <a:gd name="connsiteX0" fmla="*/ 89 w 566681"/>
                <a:gd name="connsiteY0" fmla="*/ 76156 h 535314"/>
                <a:gd name="connsiteX1" fmla="*/ 89 w 566681"/>
                <a:gd name="connsiteY1" fmla="*/ 76156 h 535314"/>
                <a:gd name="connsiteX2" fmla="*/ 561232 w 566681"/>
                <a:gd name="connsiteY2" fmla="*/ 0 h 535314"/>
                <a:gd name="connsiteX3" fmla="*/ 566681 w 566681"/>
                <a:gd name="connsiteY3" fmla="*/ 533618 h 535314"/>
                <a:gd name="connsiteX4" fmla="*/ 937 w 566681"/>
                <a:gd name="connsiteY4" fmla="*/ 535314 h 535314"/>
                <a:gd name="connsiteX5" fmla="*/ 89 w 566681"/>
                <a:gd name="connsiteY5" fmla="*/ 76156 h 535314"/>
                <a:gd name="connsiteX0" fmla="*/ 89 w 737508"/>
                <a:gd name="connsiteY0" fmla="*/ 107113 h 566271"/>
                <a:gd name="connsiteX1" fmla="*/ 89 w 737508"/>
                <a:gd name="connsiteY1" fmla="*/ 107113 h 566271"/>
                <a:gd name="connsiteX2" fmla="*/ 737444 w 737508"/>
                <a:gd name="connsiteY2" fmla="*/ 0 h 566271"/>
                <a:gd name="connsiteX3" fmla="*/ 566681 w 737508"/>
                <a:gd name="connsiteY3" fmla="*/ 564575 h 566271"/>
                <a:gd name="connsiteX4" fmla="*/ 937 w 737508"/>
                <a:gd name="connsiteY4" fmla="*/ 566271 h 566271"/>
                <a:gd name="connsiteX5" fmla="*/ 89 w 737508"/>
                <a:gd name="connsiteY5" fmla="*/ 107113 h 566271"/>
                <a:gd name="connsiteX0" fmla="*/ 89 w 742893"/>
                <a:gd name="connsiteY0" fmla="*/ 107113 h 640775"/>
                <a:gd name="connsiteX1" fmla="*/ 89 w 742893"/>
                <a:gd name="connsiteY1" fmla="*/ 107113 h 640775"/>
                <a:gd name="connsiteX2" fmla="*/ 737444 w 742893"/>
                <a:gd name="connsiteY2" fmla="*/ 0 h 640775"/>
                <a:gd name="connsiteX3" fmla="*/ 742893 w 742893"/>
                <a:gd name="connsiteY3" fmla="*/ 640775 h 640775"/>
                <a:gd name="connsiteX4" fmla="*/ 937 w 742893"/>
                <a:gd name="connsiteY4" fmla="*/ 566271 h 640775"/>
                <a:gd name="connsiteX5" fmla="*/ 89 w 742893"/>
                <a:gd name="connsiteY5" fmla="*/ 107113 h 640775"/>
                <a:gd name="connsiteX0" fmla="*/ 1533 w 744337"/>
                <a:gd name="connsiteY0" fmla="*/ 107113 h 647233"/>
                <a:gd name="connsiteX1" fmla="*/ 1533 w 744337"/>
                <a:gd name="connsiteY1" fmla="*/ 107113 h 647233"/>
                <a:gd name="connsiteX2" fmla="*/ 738888 w 744337"/>
                <a:gd name="connsiteY2" fmla="*/ 0 h 647233"/>
                <a:gd name="connsiteX3" fmla="*/ 744337 w 744337"/>
                <a:gd name="connsiteY3" fmla="*/ 640775 h 647233"/>
                <a:gd name="connsiteX4" fmla="*/ 0 w 744337"/>
                <a:gd name="connsiteY4" fmla="*/ 647233 h 647233"/>
                <a:gd name="connsiteX5" fmla="*/ 1533 w 744337"/>
                <a:gd name="connsiteY5" fmla="*/ 107113 h 647233"/>
                <a:gd name="connsiteX0" fmla="*/ 90 w 742894"/>
                <a:gd name="connsiteY0" fmla="*/ 107113 h 647233"/>
                <a:gd name="connsiteX1" fmla="*/ 90 w 742894"/>
                <a:gd name="connsiteY1" fmla="*/ 107113 h 647233"/>
                <a:gd name="connsiteX2" fmla="*/ 737445 w 742894"/>
                <a:gd name="connsiteY2" fmla="*/ 0 h 647233"/>
                <a:gd name="connsiteX3" fmla="*/ 742894 w 742894"/>
                <a:gd name="connsiteY3" fmla="*/ 640775 h 647233"/>
                <a:gd name="connsiteX4" fmla="*/ 938 w 742894"/>
                <a:gd name="connsiteY4" fmla="*/ 647233 h 647233"/>
                <a:gd name="connsiteX5" fmla="*/ 90 w 742894"/>
                <a:gd name="connsiteY5" fmla="*/ 107113 h 647233"/>
                <a:gd name="connsiteX0" fmla="*/ 90 w 738522"/>
                <a:gd name="connsiteY0" fmla="*/ 107113 h 647233"/>
                <a:gd name="connsiteX1" fmla="*/ 90 w 738522"/>
                <a:gd name="connsiteY1" fmla="*/ 107113 h 647233"/>
                <a:gd name="connsiteX2" fmla="*/ 737445 w 738522"/>
                <a:gd name="connsiteY2" fmla="*/ 0 h 647233"/>
                <a:gd name="connsiteX3" fmla="*/ 735750 w 738522"/>
                <a:gd name="connsiteY3" fmla="*/ 643156 h 647233"/>
                <a:gd name="connsiteX4" fmla="*/ 938 w 738522"/>
                <a:gd name="connsiteY4" fmla="*/ 647233 h 647233"/>
                <a:gd name="connsiteX5" fmla="*/ 90 w 738522"/>
                <a:gd name="connsiteY5" fmla="*/ 107113 h 647233"/>
                <a:gd name="connsiteX0" fmla="*/ 90 w 739828"/>
                <a:gd name="connsiteY0" fmla="*/ 107113 h 647233"/>
                <a:gd name="connsiteX1" fmla="*/ 90 w 739828"/>
                <a:gd name="connsiteY1" fmla="*/ 107113 h 647233"/>
                <a:gd name="connsiteX2" fmla="*/ 737445 w 739828"/>
                <a:gd name="connsiteY2" fmla="*/ 0 h 647233"/>
                <a:gd name="connsiteX3" fmla="*/ 735750 w 739828"/>
                <a:gd name="connsiteY3" fmla="*/ 643156 h 647233"/>
                <a:gd name="connsiteX4" fmla="*/ 938 w 739828"/>
                <a:gd name="connsiteY4" fmla="*/ 647233 h 647233"/>
                <a:gd name="connsiteX5" fmla="*/ 90 w 739828"/>
                <a:gd name="connsiteY5" fmla="*/ 107113 h 647233"/>
                <a:gd name="connsiteX0" fmla="*/ 90 w 739212"/>
                <a:gd name="connsiteY0" fmla="*/ 107113 h 647233"/>
                <a:gd name="connsiteX1" fmla="*/ 90 w 739212"/>
                <a:gd name="connsiteY1" fmla="*/ 107113 h 647233"/>
                <a:gd name="connsiteX2" fmla="*/ 737445 w 739212"/>
                <a:gd name="connsiteY2" fmla="*/ 0 h 647233"/>
                <a:gd name="connsiteX3" fmla="*/ 735750 w 739212"/>
                <a:gd name="connsiteY3" fmla="*/ 643156 h 647233"/>
                <a:gd name="connsiteX4" fmla="*/ 938 w 739212"/>
                <a:gd name="connsiteY4" fmla="*/ 647233 h 647233"/>
                <a:gd name="connsiteX5" fmla="*/ 90 w 739212"/>
                <a:gd name="connsiteY5" fmla="*/ 107113 h 647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9212" h="647233">
                  <a:moveTo>
                    <a:pt x="90" y="107113"/>
                  </a:moveTo>
                  <a:lnTo>
                    <a:pt x="90" y="107113"/>
                  </a:lnTo>
                  <a:lnTo>
                    <a:pt x="737445" y="0"/>
                  </a:lnTo>
                  <a:cubicBezTo>
                    <a:pt x="741390" y="64337"/>
                    <a:pt x="737788" y="607328"/>
                    <a:pt x="735750" y="643156"/>
                  </a:cubicBezTo>
                  <a:cubicBezTo>
                    <a:pt x="709094" y="641340"/>
                    <a:pt x="189519" y="646668"/>
                    <a:pt x="938" y="647233"/>
                  </a:cubicBezTo>
                  <a:cubicBezTo>
                    <a:pt x="1449" y="620387"/>
                    <a:pt x="-421" y="257784"/>
                    <a:pt x="90" y="107113"/>
                  </a:cubicBezTo>
                  <a:close/>
                </a:path>
              </a:pathLst>
            </a:cu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grpSp>
      <p:sp>
        <p:nvSpPr>
          <p:cNvPr id="49" name="TextBox 48"/>
          <p:cNvSpPr txBox="1"/>
          <p:nvPr/>
        </p:nvSpPr>
        <p:spPr>
          <a:xfrm>
            <a:off x="4587734" y="3683854"/>
            <a:ext cx="1513762" cy="830997"/>
          </a:xfrm>
          <a:prstGeom prst="rect">
            <a:avLst/>
          </a:prstGeom>
          <a:noFill/>
        </p:spPr>
        <p:txBody>
          <a:bodyPr wrap="square" lIns="0" tIns="0" rIns="0" bIns="0" rtlCol="0">
            <a:spAutoFit/>
          </a:bodyPr>
          <a:lstStyle/>
          <a:p>
            <a:r>
              <a:rPr lang="en-US" sz="2700" dirty="0">
                <a:solidFill>
                  <a:schemeClr val="accent6">
                    <a:lumMod val="75000"/>
                  </a:schemeClr>
                </a:solidFill>
                <a:latin typeface="+mj-lt"/>
              </a:rPr>
              <a:t>Windows</a:t>
            </a:r>
          </a:p>
          <a:p>
            <a:r>
              <a:rPr lang="en-US" sz="2700" dirty="0">
                <a:solidFill>
                  <a:schemeClr val="accent6">
                    <a:lumMod val="75000"/>
                  </a:schemeClr>
                </a:solidFill>
                <a:latin typeface="+mj-lt"/>
              </a:rPr>
              <a:t>Runtime</a:t>
            </a:r>
          </a:p>
        </p:txBody>
      </p:sp>
      <p:grpSp>
        <p:nvGrpSpPr>
          <p:cNvPr id="50" name="Group 49"/>
          <p:cNvGrpSpPr/>
          <p:nvPr/>
        </p:nvGrpSpPr>
        <p:grpSpPr>
          <a:xfrm>
            <a:off x="936128" y="2514601"/>
            <a:ext cx="1063453" cy="862615"/>
            <a:chOff x="1217611" y="2879688"/>
            <a:chExt cx="2743199" cy="2225712"/>
          </a:xfrm>
        </p:grpSpPr>
        <p:sp>
          <p:nvSpPr>
            <p:cNvPr id="51" name="Rectangle 50"/>
            <p:cNvSpPr/>
            <p:nvPr/>
          </p:nvSpPr>
          <p:spPr bwMode="auto">
            <a:xfrm>
              <a:off x="1217612" y="3581400"/>
              <a:ext cx="2057400" cy="1524000"/>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r>
                <a:rPr lang="en-US" sz="2400" b="1" dirty="0">
                  <a:solidFill>
                    <a:schemeClr val="accent2">
                      <a:alpha val="98824"/>
                    </a:schemeClr>
                  </a:solidFill>
                  <a:latin typeface="Segoe UI Semibold" pitchFamily="34" charset="0"/>
                  <a:ea typeface="Segoe UI" pitchFamily="34" charset="0"/>
                  <a:cs typeface="Segoe UI Semibold" pitchFamily="34" charset="0"/>
                </a:rPr>
                <a:t>APP</a:t>
              </a:r>
            </a:p>
          </p:txBody>
        </p:sp>
        <p:sp>
          <p:nvSpPr>
            <p:cNvPr id="52" name="Parallelogram 51"/>
            <p:cNvSpPr/>
            <p:nvPr/>
          </p:nvSpPr>
          <p:spPr bwMode="auto">
            <a:xfrm>
              <a:off x="1217611" y="2895600"/>
              <a:ext cx="1661241" cy="609600"/>
            </a:xfrm>
            <a:prstGeom prst="parallelogram">
              <a:avLst>
                <a:gd name="adj" fmla="val 115625"/>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53" name="Parallelogram 52"/>
            <p:cNvSpPr/>
            <p:nvPr/>
          </p:nvSpPr>
          <p:spPr bwMode="auto">
            <a:xfrm rot="5400000" flipH="1">
              <a:off x="2603497" y="3748087"/>
              <a:ext cx="2105025" cy="609600"/>
            </a:xfrm>
            <a:prstGeom prst="parallelogram">
              <a:avLst>
                <a:gd name="adj" fmla="val 87654"/>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54" name="Parallelogram 53"/>
            <p:cNvSpPr/>
            <p:nvPr/>
          </p:nvSpPr>
          <p:spPr bwMode="auto">
            <a:xfrm>
              <a:off x="2284412" y="2901365"/>
              <a:ext cx="1674810" cy="609600"/>
            </a:xfrm>
            <a:prstGeom prst="parallelogram">
              <a:avLst>
                <a:gd name="adj" fmla="val 115625"/>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55" name="Teardrop 54"/>
            <p:cNvSpPr/>
            <p:nvPr/>
          </p:nvSpPr>
          <p:spPr bwMode="auto">
            <a:xfrm rot="2351555">
              <a:off x="2217503" y="3028590"/>
              <a:ext cx="291704" cy="291704"/>
            </a:xfrm>
            <a:prstGeom prst="teardrop">
              <a:avLst/>
            </a:prstGeom>
            <a:noFill/>
            <a:ln w="38100">
              <a:solidFill>
                <a:schemeClr val="accent2"/>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56" name="Teardrop 55"/>
            <p:cNvSpPr/>
            <p:nvPr/>
          </p:nvSpPr>
          <p:spPr bwMode="auto">
            <a:xfrm rot="10800000">
              <a:off x="2562116" y="2879688"/>
              <a:ext cx="291704" cy="291704"/>
            </a:xfrm>
            <a:prstGeom prst="teardrop">
              <a:avLst/>
            </a:prstGeom>
            <a:noFill/>
            <a:ln w="38100">
              <a:solidFill>
                <a:schemeClr val="accent2"/>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cxnSp>
          <p:nvCxnSpPr>
            <p:cNvPr id="57" name="Straight Connector 56"/>
            <p:cNvCxnSpPr>
              <a:stCxn id="56" idx="7"/>
            </p:cNvCxnSpPr>
            <p:nvPr/>
          </p:nvCxnSpPr>
          <p:spPr>
            <a:xfrm>
              <a:off x="2562116" y="3171392"/>
              <a:ext cx="28574" cy="208258"/>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a:stCxn id="56" idx="7"/>
            </p:cNvCxnSpPr>
            <p:nvPr/>
          </p:nvCxnSpPr>
          <p:spPr>
            <a:xfrm>
              <a:off x="2562116" y="3171392"/>
              <a:ext cx="180974" cy="133351"/>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3"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4"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pic>
        <p:nvPicPr>
          <p:cNvPr id="35"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03950564"/>
      </p:ext>
    </p:extLst>
  </p:cSld>
  <p:clrMapOvr>
    <a:masterClrMapping/>
  </p:clrMapOvr>
  <p:transition>
    <p:fade/>
  </p:transition>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ound Same Side Corner Rectangle 12"/>
          <p:cNvSpPr/>
          <p:nvPr/>
        </p:nvSpPr>
        <p:spPr bwMode="auto">
          <a:xfrm>
            <a:off x="284633" y="867728"/>
            <a:ext cx="2731944" cy="3943350"/>
          </a:xfrm>
          <a:prstGeom prst="round2SameRect">
            <a:avLst>
              <a:gd name="adj1" fmla="val 41712"/>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617276" rIns="0" bIns="34292" numCol="1" rtlCol="0" anchor="ctr" anchorCtr="0" compatLnSpc="1">
            <a:prstTxWarp prst="textNoShape">
              <a:avLst/>
            </a:prstTxWarp>
          </a:bodyPr>
          <a:lstStyle/>
          <a:p>
            <a:pPr algn="ctr" defTabSz="685637" fontAlgn="base">
              <a:spcBef>
                <a:spcPct val="0"/>
              </a:spcBef>
              <a:spcAft>
                <a:spcPct val="0"/>
              </a:spcAft>
            </a:pPr>
            <a:endParaRPr lang="en-US" sz="1800" dirty="0">
              <a:gradFill>
                <a:gsLst>
                  <a:gs pos="0">
                    <a:schemeClr val="tx1"/>
                  </a:gs>
                  <a:gs pos="100000">
                    <a:schemeClr val="tx1"/>
                  </a:gs>
                </a:gsLst>
                <a:lin ang="5400000" scaled="0"/>
              </a:gradFill>
            </a:endParaRPr>
          </a:p>
        </p:txBody>
      </p:sp>
      <p:sp>
        <p:nvSpPr>
          <p:cNvPr id="14" name="Round Same Side Corner Rectangle 13"/>
          <p:cNvSpPr/>
          <p:nvPr/>
        </p:nvSpPr>
        <p:spPr bwMode="auto">
          <a:xfrm>
            <a:off x="3197721" y="867728"/>
            <a:ext cx="2731944" cy="3943350"/>
          </a:xfrm>
          <a:prstGeom prst="round2SameRect">
            <a:avLst>
              <a:gd name="adj1" fmla="val 41712"/>
              <a:gd name="adj2" fmla="val 0"/>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617276" rIns="0" bIns="34292" numCol="1" rtlCol="0" anchor="ctr" anchorCtr="0" compatLnSpc="1">
            <a:prstTxWarp prst="textNoShape">
              <a:avLst/>
            </a:prstTxWarp>
          </a:bodyPr>
          <a:lstStyle/>
          <a:p>
            <a:pPr algn="ctr" defTabSz="685637" fontAlgn="base">
              <a:spcBef>
                <a:spcPct val="0"/>
              </a:spcBef>
              <a:spcAft>
                <a:spcPct val="0"/>
              </a:spcAft>
            </a:pPr>
            <a:endParaRPr lang="en-US" sz="1800" dirty="0">
              <a:gradFill>
                <a:gsLst>
                  <a:gs pos="0">
                    <a:schemeClr val="tx1"/>
                  </a:gs>
                  <a:gs pos="100000">
                    <a:schemeClr val="tx1"/>
                  </a:gs>
                </a:gsLst>
                <a:lin ang="5400000" scaled="0"/>
              </a:gradFill>
            </a:endParaRPr>
          </a:p>
        </p:txBody>
      </p:sp>
      <p:sp>
        <p:nvSpPr>
          <p:cNvPr id="15" name="Round Same Side Corner Rectangle 14"/>
          <p:cNvSpPr/>
          <p:nvPr/>
        </p:nvSpPr>
        <p:spPr bwMode="auto">
          <a:xfrm>
            <a:off x="6127423" y="867727"/>
            <a:ext cx="2731944" cy="3943350"/>
          </a:xfrm>
          <a:prstGeom prst="round2SameRect">
            <a:avLst>
              <a:gd name="adj1" fmla="val 41712"/>
              <a:gd name="adj2" fmla="val 0"/>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617276" rIns="0" bIns="34292" numCol="1" rtlCol="0" anchor="ctr" anchorCtr="0" compatLnSpc="1">
            <a:prstTxWarp prst="textNoShape">
              <a:avLst/>
            </a:prstTxWarp>
          </a:bodyPr>
          <a:lstStyle/>
          <a:p>
            <a:pPr algn="ctr" defTabSz="685637" fontAlgn="base">
              <a:spcBef>
                <a:spcPct val="0"/>
              </a:spcBef>
              <a:spcAft>
                <a:spcPct val="0"/>
              </a:spcAft>
            </a:pPr>
            <a:endParaRPr lang="en-US" sz="1800" dirty="0">
              <a:gradFill>
                <a:gsLst>
                  <a:gs pos="0">
                    <a:schemeClr val="tx1"/>
                  </a:gs>
                  <a:gs pos="100000">
                    <a:schemeClr val="tx1"/>
                  </a:gs>
                </a:gsLst>
                <a:lin ang="5400000" scaled="0"/>
              </a:gradFill>
            </a:endParaRPr>
          </a:p>
        </p:txBody>
      </p:sp>
      <p:sp>
        <p:nvSpPr>
          <p:cNvPr id="2" name="Title 1"/>
          <p:cNvSpPr>
            <a:spLocks noGrp="1"/>
          </p:cNvSpPr>
          <p:nvPr>
            <p:ph type="title"/>
          </p:nvPr>
        </p:nvSpPr>
        <p:spPr/>
        <p:txBody>
          <a:bodyPr/>
          <a:lstStyle/>
          <a:p>
            <a:r>
              <a:rPr lang="en-US" dirty="0" smtClean="0"/>
              <a:t>Line of business apps</a:t>
            </a:r>
            <a:endParaRPr lang="en-US" dirty="0"/>
          </a:p>
        </p:txBody>
      </p:sp>
      <p:sp>
        <p:nvSpPr>
          <p:cNvPr id="3" name="Text Placeholder 2"/>
          <p:cNvSpPr>
            <a:spLocks noGrp="1"/>
          </p:cNvSpPr>
          <p:nvPr>
            <p:ph type="body" sz="quarter" idx="10"/>
          </p:nvPr>
        </p:nvSpPr>
        <p:spPr>
          <a:xfrm>
            <a:off x="284633" y="1896428"/>
            <a:ext cx="2731944" cy="1584665"/>
          </a:xfrm>
        </p:spPr>
        <p:txBody>
          <a:bodyPr/>
          <a:lstStyle/>
          <a:p>
            <a:pPr marL="0" indent="0" algn="ctr">
              <a:spcBef>
                <a:spcPts val="0"/>
              </a:spcBef>
              <a:spcAft>
                <a:spcPts val="900"/>
              </a:spcAft>
              <a:buNone/>
            </a:pPr>
            <a:r>
              <a:rPr lang="en-US" dirty="0" smtClean="0"/>
              <a:t>Capabilities</a:t>
            </a:r>
          </a:p>
          <a:p>
            <a:pPr marL="257198" indent="-214332"/>
            <a:r>
              <a:rPr lang="en-US" sz="1500" dirty="0"/>
              <a:t>privateNetworkClientServer</a:t>
            </a:r>
          </a:p>
          <a:p>
            <a:pPr marL="257198" indent="-214332">
              <a:spcBef>
                <a:spcPts val="675"/>
              </a:spcBef>
            </a:pPr>
            <a:r>
              <a:rPr lang="en-US" sz="1500" dirty="0" err="1"/>
              <a:t>internetClientServer</a:t>
            </a:r>
            <a:endParaRPr lang="en-US" sz="1500" dirty="0"/>
          </a:p>
          <a:p>
            <a:pPr marL="257198" indent="-214332">
              <a:spcBef>
                <a:spcPts val="675"/>
              </a:spcBef>
            </a:pPr>
            <a:r>
              <a:rPr lang="en-US" sz="1500" dirty="0" err="1"/>
              <a:t>enterpriseAuthentication</a:t>
            </a:r>
            <a:endParaRPr lang="en-US" sz="1500" dirty="0"/>
          </a:p>
          <a:p>
            <a:pPr marL="257198" indent="-214332">
              <a:spcBef>
                <a:spcPts val="675"/>
              </a:spcBef>
            </a:pPr>
            <a:r>
              <a:rPr lang="en-US" sz="1500" dirty="0" err="1"/>
              <a:t>sharedUserCertificates</a:t>
            </a:r>
            <a:endParaRPr lang="en-US" sz="1500" dirty="0"/>
          </a:p>
        </p:txBody>
      </p:sp>
      <p:sp>
        <p:nvSpPr>
          <p:cNvPr id="17" name="Text Placeholder 2"/>
          <p:cNvSpPr txBox="1">
            <a:spLocks/>
          </p:cNvSpPr>
          <p:nvPr/>
        </p:nvSpPr>
        <p:spPr>
          <a:xfrm>
            <a:off x="3197721" y="1896427"/>
            <a:ext cx="2731944" cy="2148280"/>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spcAft>
                <a:spcPts val="900"/>
              </a:spcAft>
              <a:buNone/>
            </a:pPr>
            <a:r>
              <a:rPr lang="en-US" dirty="0" smtClean="0"/>
              <a:t>Security / Privacy</a:t>
            </a:r>
          </a:p>
          <a:p>
            <a:pPr marL="257198" indent="-214332"/>
            <a:r>
              <a:rPr lang="en-US" sz="1500" dirty="0"/>
              <a:t>Protect HBI, MBI, and PII </a:t>
            </a:r>
          </a:p>
          <a:p>
            <a:pPr marL="257198" indent="-214332">
              <a:spcBef>
                <a:spcPts val="675"/>
              </a:spcBef>
            </a:pPr>
            <a:r>
              <a:rPr lang="en-US" sz="1500" dirty="0"/>
              <a:t>Cryptography WinRT APIs</a:t>
            </a:r>
          </a:p>
          <a:p>
            <a:pPr marL="257198" indent="-214332">
              <a:spcBef>
                <a:spcPts val="675"/>
              </a:spcBef>
            </a:pPr>
            <a:r>
              <a:rPr lang="en-US" sz="1500" dirty="0"/>
              <a:t>Roaming</a:t>
            </a:r>
          </a:p>
          <a:p>
            <a:pPr marL="257198" indent="-214332">
              <a:spcBef>
                <a:spcPts val="675"/>
              </a:spcBef>
            </a:pPr>
            <a:r>
              <a:rPr lang="en-US" sz="1500" dirty="0"/>
              <a:t>HTTPS-only connections</a:t>
            </a:r>
          </a:p>
        </p:txBody>
      </p:sp>
      <p:sp>
        <p:nvSpPr>
          <p:cNvPr id="18" name="Text Placeholder 2"/>
          <p:cNvSpPr txBox="1">
            <a:spLocks/>
          </p:cNvSpPr>
          <p:nvPr/>
        </p:nvSpPr>
        <p:spPr>
          <a:xfrm>
            <a:off x="6127423" y="1889284"/>
            <a:ext cx="2731944" cy="1651734"/>
          </a:xfrm>
          <a:prstGeom prst="rect">
            <a:avLst/>
          </a:prstGeom>
        </p:spPr>
        <p:txBody>
          <a:bodyPr vert="horz" wrap="square" lIns="0" tIns="0" rIns="68586" bIns="0" rtlCol="0">
            <a:sp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spcAft>
                <a:spcPts val="900"/>
              </a:spcAft>
              <a:buNone/>
            </a:pPr>
            <a:r>
              <a:rPr lang="en-US" dirty="0" smtClean="0"/>
              <a:t>Offline</a:t>
            </a:r>
          </a:p>
          <a:p>
            <a:pPr marL="300066" indent="-214332"/>
            <a:r>
              <a:rPr lang="en-US" sz="1500" dirty="0"/>
              <a:t>Structural content </a:t>
            </a:r>
          </a:p>
          <a:p>
            <a:pPr marL="300066" indent="-214332">
              <a:spcBef>
                <a:spcPts val="675"/>
              </a:spcBef>
            </a:pPr>
            <a:r>
              <a:rPr lang="en-US" sz="1500" dirty="0"/>
              <a:t>Dynamic content</a:t>
            </a:r>
          </a:p>
          <a:p>
            <a:pPr marL="0" indent="0">
              <a:buNone/>
            </a:pPr>
            <a:endParaRPr lang="en-US" dirty="0" smtClean="0"/>
          </a:p>
        </p:txBody>
      </p:sp>
      <p:sp>
        <p:nvSpPr>
          <p:cNvPr id="19" name="Freeform 82"/>
          <p:cNvSpPr>
            <a:spLocks/>
          </p:cNvSpPr>
          <p:nvPr/>
        </p:nvSpPr>
        <p:spPr bwMode="auto">
          <a:xfrm rot="2700000">
            <a:off x="7089420" y="913606"/>
            <a:ext cx="807950" cy="971031"/>
          </a:xfrm>
          <a:custGeom>
            <a:avLst/>
            <a:gdLst>
              <a:gd name="T0" fmla="*/ 332 w 332"/>
              <a:gd name="T1" fmla="*/ 266 h 399"/>
              <a:gd name="T2" fmla="*/ 332 w 332"/>
              <a:gd name="T3" fmla="*/ 199 h 399"/>
              <a:gd name="T4" fmla="*/ 200 w 332"/>
              <a:gd name="T5" fmla="*/ 134 h 399"/>
              <a:gd name="T6" fmla="*/ 199 w 332"/>
              <a:gd name="T7" fmla="*/ 134 h 399"/>
              <a:gd name="T8" fmla="*/ 199 w 332"/>
              <a:gd name="T9" fmla="*/ 32 h 399"/>
              <a:gd name="T10" fmla="*/ 199 w 332"/>
              <a:gd name="T11" fmla="*/ 32 h 399"/>
              <a:gd name="T12" fmla="*/ 166 w 332"/>
              <a:gd name="T13" fmla="*/ 0 h 399"/>
              <a:gd name="T14" fmla="*/ 133 w 332"/>
              <a:gd name="T15" fmla="*/ 32 h 399"/>
              <a:gd name="T16" fmla="*/ 133 w 332"/>
              <a:gd name="T17" fmla="*/ 32 h 399"/>
              <a:gd name="T18" fmla="*/ 133 w 332"/>
              <a:gd name="T19" fmla="*/ 134 h 399"/>
              <a:gd name="T20" fmla="*/ 0 w 332"/>
              <a:gd name="T21" fmla="*/ 199 h 399"/>
              <a:gd name="T22" fmla="*/ 0 w 332"/>
              <a:gd name="T23" fmla="*/ 266 h 399"/>
              <a:gd name="T24" fmla="*/ 133 w 332"/>
              <a:gd name="T25" fmla="*/ 213 h 399"/>
              <a:gd name="T26" fmla="*/ 133 w 332"/>
              <a:gd name="T27" fmla="*/ 328 h 399"/>
              <a:gd name="T28" fmla="*/ 99 w 332"/>
              <a:gd name="T29" fmla="*/ 354 h 399"/>
              <a:gd name="T30" fmla="*/ 99 w 332"/>
              <a:gd name="T31" fmla="*/ 399 h 399"/>
              <a:gd name="T32" fmla="*/ 166 w 332"/>
              <a:gd name="T33" fmla="*/ 365 h 399"/>
              <a:gd name="T34" fmla="*/ 232 w 332"/>
              <a:gd name="T35" fmla="*/ 399 h 399"/>
              <a:gd name="T36" fmla="*/ 232 w 332"/>
              <a:gd name="T37" fmla="*/ 354 h 399"/>
              <a:gd name="T38" fmla="*/ 199 w 332"/>
              <a:gd name="T39" fmla="*/ 329 h 399"/>
              <a:gd name="T40" fmla="*/ 199 w 332"/>
              <a:gd name="T41" fmla="*/ 213 h 399"/>
              <a:gd name="T42" fmla="*/ 332 w 332"/>
              <a:gd name="T43" fmla="*/ 266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2" h="399">
                <a:moveTo>
                  <a:pt x="332" y="266"/>
                </a:moveTo>
                <a:cubicBezTo>
                  <a:pt x="332" y="199"/>
                  <a:pt x="332" y="199"/>
                  <a:pt x="332" y="199"/>
                </a:cubicBezTo>
                <a:cubicBezTo>
                  <a:pt x="200" y="134"/>
                  <a:pt x="200" y="134"/>
                  <a:pt x="200" y="134"/>
                </a:cubicBezTo>
                <a:cubicBezTo>
                  <a:pt x="199" y="134"/>
                  <a:pt x="199" y="134"/>
                  <a:pt x="199" y="134"/>
                </a:cubicBezTo>
                <a:cubicBezTo>
                  <a:pt x="199" y="32"/>
                  <a:pt x="199" y="32"/>
                  <a:pt x="199" y="32"/>
                </a:cubicBezTo>
                <a:cubicBezTo>
                  <a:pt x="199" y="32"/>
                  <a:pt x="199" y="32"/>
                  <a:pt x="199" y="32"/>
                </a:cubicBezTo>
                <a:cubicBezTo>
                  <a:pt x="198" y="14"/>
                  <a:pt x="184" y="0"/>
                  <a:pt x="166" y="0"/>
                </a:cubicBezTo>
                <a:cubicBezTo>
                  <a:pt x="148" y="0"/>
                  <a:pt x="133" y="14"/>
                  <a:pt x="133" y="32"/>
                </a:cubicBezTo>
                <a:cubicBezTo>
                  <a:pt x="133" y="32"/>
                  <a:pt x="133" y="32"/>
                  <a:pt x="133" y="32"/>
                </a:cubicBezTo>
                <a:cubicBezTo>
                  <a:pt x="133" y="134"/>
                  <a:pt x="133" y="134"/>
                  <a:pt x="133" y="134"/>
                </a:cubicBezTo>
                <a:cubicBezTo>
                  <a:pt x="119" y="137"/>
                  <a:pt x="0" y="199"/>
                  <a:pt x="0" y="199"/>
                </a:cubicBezTo>
                <a:cubicBezTo>
                  <a:pt x="0" y="266"/>
                  <a:pt x="0" y="266"/>
                  <a:pt x="0" y="266"/>
                </a:cubicBezTo>
                <a:cubicBezTo>
                  <a:pt x="133" y="213"/>
                  <a:pt x="133" y="213"/>
                  <a:pt x="133" y="213"/>
                </a:cubicBezTo>
                <a:cubicBezTo>
                  <a:pt x="133" y="328"/>
                  <a:pt x="133" y="328"/>
                  <a:pt x="133" y="328"/>
                </a:cubicBezTo>
                <a:cubicBezTo>
                  <a:pt x="119" y="338"/>
                  <a:pt x="99" y="354"/>
                  <a:pt x="99" y="354"/>
                </a:cubicBezTo>
                <a:cubicBezTo>
                  <a:pt x="99" y="399"/>
                  <a:pt x="99" y="399"/>
                  <a:pt x="99" y="399"/>
                </a:cubicBezTo>
                <a:cubicBezTo>
                  <a:pt x="166" y="365"/>
                  <a:pt x="166" y="365"/>
                  <a:pt x="166" y="365"/>
                </a:cubicBezTo>
                <a:cubicBezTo>
                  <a:pt x="232" y="399"/>
                  <a:pt x="232" y="399"/>
                  <a:pt x="232" y="399"/>
                </a:cubicBezTo>
                <a:cubicBezTo>
                  <a:pt x="232" y="354"/>
                  <a:pt x="232" y="354"/>
                  <a:pt x="232" y="354"/>
                </a:cubicBezTo>
                <a:cubicBezTo>
                  <a:pt x="199" y="329"/>
                  <a:pt x="199" y="329"/>
                  <a:pt x="199" y="329"/>
                </a:cubicBezTo>
                <a:cubicBezTo>
                  <a:pt x="199" y="213"/>
                  <a:pt x="199" y="213"/>
                  <a:pt x="199" y="213"/>
                </a:cubicBezTo>
                <a:lnTo>
                  <a:pt x="332" y="266"/>
                </a:lnTo>
                <a:close/>
              </a:path>
            </a:pathLst>
          </a:custGeom>
          <a:solidFill>
            <a:srgbClr val="FFFFFF"/>
          </a:solidFill>
          <a:ln w="57150">
            <a:solidFill>
              <a:schemeClr val="accent5">
                <a:lumMod val="50000"/>
              </a:schemeClr>
            </a:solidFill>
          </a:ln>
        </p:spPr>
        <p:txBody>
          <a:bodyPr vert="horz" wrap="square" lIns="68586" tIns="34294" rIns="68586" bIns="34294" numCol="1" anchor="t" anchorCtr="0" compatLnSpc="1">
            <a:prstTxWarp prst="textNoShape">
              <a:avLst/>
            </a:prstTxWarp>
          </a:bodyPr>
          <a:lstStyle/>
          <a:p>
            <a:endParaRPr lang="en-US"/>
          </a:p>
        </p:txBody>
      </p:sp>
      <p:grpSp>
        <p:nvGrpSpPr>
          <p:cNvPr id="28" name="Group 27"/>
          <p:cNvGrpSpPr/>
          <p:nvPr/>
        </p:nvGrpSpPr>
        <p:grpSpPr>
          <a:xfrm>
            <a:off x="4069657" y="1015138"/>
            <a:ext cx="988075" cy="767965"/>
            <a:chOff x="5386923" y="1047736"/>
            <a:chExt cx="1317090" cy="1023953"/>
          </a:xfrm>
        </p:grpSpPr>
        <p:sp>
          <p:nvSpPr>
            <p:cNvPr id="24" name="Rounded Rectangle 23"/>
            <p:cNvSpPr/>
            <p:nvPr/>
          </p:nvSpPr>
          <p:spPr bwMode="auto">
            <a:xfrm>
              <a:off x="5386923" y="1187692"/>
              <a:ext cx="1317090" cy="881770"/>
            </a:xfrm>
            <a:prstGeom prst="roundRect">
              <a:avLst>
                <a:gd name="adj" fmla="val 31250"/>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20" name="Freeform 83"/>
            <p:cNvSpPr>
              <a:spLocks noEditPoints="1"/>
            </p:cNvSpPr>
            <p:nvPr/>
          </p:nvSpPr>
          <p:spPr bwMode="auto">
            <a:xfrm>
              <a:off x="5386923" y="1047736"/>
              <a:ext cx="1317090" cy="1023953"/>
            </a:xfrm>
            <a:custGeom>
              <a:avLst/>
              <a:gdLst>
                <a:gd name="T0" fmla="*/ 339 w 413"/>
                <a:gd name="T1" fmla="*/ 41 h 321"/>
                <a:gd name="T2" fmla="*/ 280 w 413"/>
                <a:gd name="T3" fmla="*/ 41 h 321"/>
                <a:gd name="T4" fmla="*/ 280 w 413"/>
                <a:gd name="T5" fmla="*/ 8 h 321"/>
                <a:gd name="T6" fmla="*/ 273 w 413"/>
                <a:gd name="T7" fmla="*/ 0 h 321"/>
                <a:gd name="T8" fmla="*/ 140 w 413"/>
                <a:gd name="T9" fmla="*/ 0 h 321"/>
                <a:gd name="T10" fmla="*/ 132 w 413"/>
                <a:gd name="T11" fmla="*/ 8 h 321"/>
                <a:gd name="T12" fmla="*/ 132 w 413"/>
                <a:gd name="T13" fmla="*/ 41 h 321"/>
                <a:gd name="T14" fmla="*/ 73 w 413"/>
                <a:gd name="T15" fmla="*/ 41 h 321"/>
                <a:gd name="T16" fmla="*/ 0 w 413"/>
                <a:gd name="T17" fmla="*/ 115 h 321"/>
                <a:gd name="T18" fmla="*/ 0 w 413"/>
                <a:gd name="T19" fmla="*/ 247 h 321"/>
                <a:gd name="T20" fmla="*/ 73 w 413"/>
                <a:gd name="T21" fmla="*/ 321 h 321"/>
                <a:gd name="T22" fmla="*/ 339 w 413"/>
                <a:gd name="T23" fmla="*/ 321 h 321"/>
                <a:gd name="T24" fmla="*/ 413 w 413"/>
                <a:gd name="T25" fmla="*/ 247 h 321"/>
                <a:gd name="T26" fmla="*/ 413 w 413"/>
                <a:gd name="T27" fmla="*/ 115 h 321"/>
                <a:gd name="T28" fmla="*/ 339 w 413"/>
                <a:gd name="T29" fmla="*/ 41 h 321"/>
                <a:gd name="T30" fmla="*/ 81 w 413"/>
                <a:gd name="T31" fmla="*/ 56 h 321"/>
                <a:gd name="T32" fmla="*/ 332 w 413"/>
                <a:gd name="T33" fmla="*/ 56 h 321"/>
                <a:gd name="T34" fmla="*/ 332 w 413"/>
                <a:gd name="T35" fmla="*/ 306 h 321"/>
                <a:gd name="T36" fmla="*/ 81 w 413"/>
                <a:gd name="T37" fmla="*/ 306 h 321"/>
                <a:gd name="T38" fmla="*/ 81 w 413"/>
                <a:gd name="T39" fmla="*/ 56 h 321"/>
                <a:gd name="T40" fmla="*/ 147 w 413"/>
                <a:gd name="T41" fmla="*/ 15 h 321"/>
                <a:gd name="T42" fmla="*/ 265 w 413"/>
                <a:gd name="T43" fmla="*/ 15 h 321"/>
                <a:gd name="T44" fmla="*/ 265 w 413"/>
                <a:gd name="T45" fmla="*/ 41 h 321"/>
                <a:gd name="T46" fmla="*/ 147 w 413"/>
                <a:gd name="T47" fmla="*/ 41 h 321"/>
                <a:gd name="T48" fmla="*/ 147 w 413"/>
                <a:gd name="T49" fmla="*/ 15 h 321"/>
                <a:gd name="T50" fmla="*/ 14 w 413"/>
                <a:gd name="T51" fmla="*/ 247 h 321"/>
                <a:gd name="T52" fmla="*/ 14 w 413"/>
                <a:gd name="T53" fmla="*/ 115 h 321"/>
                <a:gd name="T54" fmla="*/ 66 w 413"/>
                <a:gd name="T55" fmla="*/ 56 h 321"/>
                <a:gd name="T56" fmla="*/ 66 w 413"/>
                <a:gd name="T57" fmla="*/ 305 h 321"/>
                <a:gd name="T58" fmla="*/ 14 w 413"/>
                <a:gd name="T59" fmla="*/ 247 h 321"/>
                <a:gd name="T60" fmla="*/ 398 w 413"/>
                <a:gd name="T61" fmla="*/ 247 h 321"/>
                <a:gd name="T62" fmla="*/ 347 w 413"/>
                <a:gd name="T63" fmla="*/ 305 h 321"/>
                <a:gd name="T64" fmla="*/ 347 w 413"/>
                <a:gd name="T65" fmla="*/ 56 h 321"/>
                <a:gd name="T66" fmla="*/ 398 w 413"/>
                <a:gd name="T67" fmla="*/ 115 h 321"/>
                <a:gd name="T68" fmla="*/ 398 w 413"/>
                <a:gd name="T69" fmla="*/ 24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3" h="321">
                  <a:moveTo>
                    <a:pt x="339" y="41"/>
                  </a:moveTo>
                  <a:cubicBezTo>
                    <a:pt x="280" y="41"/>
                    <a:pt x="280" y="41"/>
                    <a:pt x="280" y="41"/>
                  </a:cubicBezTo>
                  <a:cubicBezTo>
                    <a:pt x="280" y="8"/>
                    <a:pt x="280" y="8"/>
                    <a:pt x="280" y="8"/>
                  </a:cubicBezTo>
                  <a:cubicBezTo>
                    <a:pt x="280" y="4"/>
                    <a:pt x="277" y="0"/>
                    <a:pt x="273" y="0"/>
                  </a:cubicBezTo>
                  <a:cubicBezTo>
                    <a:pt x="140" y="0"/>
                    <a:pt x="140" y="0"/>
                    <a:pt x="140" y="0"/>
                  </a:cubicBezTo>
                  <a:cubicBezTo>
                    <a:pt x="136" y="0"/>
                    <a:pt x="132" y="4"/>
                    <a:pt x="132" y="8"/>
                  </a:cubicBezTo>
                  <a:cubicBezTo>
                    <a:pt x="132" y="41"/>
                    <a:pt x="132" y="41"/>
                    <a:pt x="132" y="41"/>
                  </a:cubicBezTo>
                  <a:cubicBezTo>
                    <a:pt x="73" y="41"/>
                    <a:pt x="73" y="41"/>
                    <a:pt x="73" y="41"/>
                  </a:cubicBezTo>
                  <a:cubicBezTo>
                    <a:pt x="33" y="41"/>
                    <a:pt x="0" y="74"/>
                    <a:pt x="0" y="115"/>
                  </a:cubicBezTo>
                  <a:cubicBezTo>
                    <a:pt x="0" y="247"/>
                    <a:pt x="0" y="247"/>
                    <a:pt x="0" y="247"/>
                  </a:cubicBezTo>
                  <a:cubicBezTo>
                    <a:pt x="0" y="288"/>
                    <a:pt x="33" y="321"/>
                    <a:pt x="73" y="321"/>
                  </a:cubicBezTo>
                  <a:cubicBezTo>
                    <a:pt x="339" y="321"/>
                    <a:pt x="339" y="321"/>
                    <a:pt x="339" y="321"/>
                  </a:cubicBezTo>
                  <a:cubicBezTo>
                    <a:pt x="380" y="321"/>
                    <a:pt x="413" y="288"/>
                    <a:pt x="413" y="247"/>
                  </a:cubicBezTo>
                  <a:cubicBezTo>
                    <a:pt x="413" y="115"/>
                    <a:pt x="413" y="115"/>
                    <a:pt x="413" y="115"/>
                  </a:cubicBezTo>
                  <a:cubicBezTo>
                    <a:pt x="413" y="74"/>
                    <a:pt x="380" y="41"/>
                    <a:pt x="339" y="41"/>
                  </a:cubicBezTo>
                  <a:close/>
                  <a:moveTo>
                    <a:pt x="81" y="56"/>
                  </a:moveTo>
                  <a:cubicBezTo>
                    <a:pt x="332" y="56"/>
                    <a:pt x="332" y="56"/>
                    <a:pt x="332" y="56"/>
                  </a:cubicBezTo>
                  <a:cubicBezTo>
                    <a:pt x="332" y="306"/>
                    <a:pt x="332" y="306"/>
                    <a:pt x="332" y="306"/>
                  </a:cubicBezTo>
                  <a:cubicBezTo>
                    <a:pt x="81" y="306"/>
                    <a:pt x="81" y="306"/>
                    <a:pt x="81" y="306"/>
                  </a:cubicBezTo>
                  <a:lnTo>
                    <a:pt x="81" y="56"/>
                  </a:lnTo>
                  <a:close/>
                  <a:moveTo>
                    <a:pt x="147" y="15"/>
                  </a:moveTo>
                  <a:cubicBezTo>
                    <a:pt x="265" y="15"/>
                    <a:pt x="265" y="15"/>
                    <a:pt x="265" y="15"/>
                  </a:cubicBezTo>
                  <a:cubicBezTo>
                    <a:pt x="265" y="41"/>
                    <a:pt x="265" y="41"/>
                    <a:pt x="265" y="41"/>
                  </a:cubicBezTo>
                  <a:cubicBezTo>
                    <a:pt x="147" y="41"/>
                    <a:pt x="147" y="41"/>
                    <a:pt x="147" y="41"/>
                  </a:cubicBezTo>
                  <a:lnTo>
                    <a:pt x="147" y="15"/>
                  </a:lnTo>
                  <a:close/>
                  <a:moveTo>
                    <a:pt x="14" y="247"/>
                  </a:moveTo>
                  <a:cubicBezTo>
                    <a:pt x="14" y="115"/>
                    <a:pt x="14" y="115"/>
                    <a:pt x="14" y="115"/>
                  </a:cubicBezTo>
                  <a:cubicBezTo>
                    <a:pt x="14" y="85"/>
                    <a:pt x="37" y="60"/>
                    <a:pt x="66" y="56"/>
                  </a:cubicBezTo>
                  <a:cubicBezTo>
                    <a:pt x="66" y="305"/>
                    <a:pt x="66" y="305"/>
                    <a:pt x="66" y="305"/>
                  </a:cubicBezTo>
                  <a:cubicBezTo>
                    <a:pt x="37" y="302"/>
                    <a:pt x="14" y="277"/>
                    <a:pt x="14" y="247"/>
                  </a:cubicBezTo>
                  <a:close/>
                  <a:moveTo>
                    <a:pt x="398" y="247"/>
                  </a:moveTo>
                  <a:cubicBezTo>
                    <a:pt x="398" y="277"/>
                    <a:pt x="376" y="302"/>
                    <a:pt x="347" y="305"/>
                  </a:cubicBezTo>
                  <a:cubicBezTo>
                    <a:pt x="347" y="56"/>
                    <a:pt x="347" y="56"/>
                    <a:pt x="347" y="56"/>
                  </a:cubicBezTo>
                  <a:cubicBezTo>
                    <a:pt x="376" y="60"/>
                    <a:pt x="398" y="85"/>
                    <a:pt x="398" y="115"/>
                  </a:cubicBezTo>
                  <a:lnTo>
                    <a:pt x="398" y="247"/>
                  </a:lnTo>
                  <a:close/>
                </a:path>
              </a:pathLst>
            </a:custGeom>
            <a:solidFill>
              <a:schemeClr val="accent6">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3" name="Group 22"/>
            <p:cNvGrpSpPr/>
            <p:nvPr/>
          </p:nvGrpSpPr>
          <p:grpSpPr>
            <a:xfrm>
              <a:off x="5763821" y="1295400"/>
              <a:ext cx="563294" cy="679523"/>
              <a:chOff x="5835918" y="1365112"/>
              <a:chExt cx="419100" cy="575267"/>
            </a:xfrm>
          </p:grpSpPr>
          <p:sp>
            <p:nvSpPr>
              <p:cNvPr id="22" name="U-Turn Arrow 21"/>
              <p:cNvSpPr/>
              <p:nvPr/>
            </p:nvSpPr>
            <p:spPr bwMode="auto">
              <a:xfrm>
                <a:off x="5942012" y="1365112"/>
                <a:ext cx="228600" cy="243644"/>
              </a:xfrm>
              <a:prstGeom prst="uturnArrow">
                <a:avLst>
                  <a:gd name="adj1" fmla="val 25000"/>
                  <a:gd name="adj2" fmla="val 25000"/>
                  <a:gd name="adj3" fmla="val 0"/>
                  <a:gd name="adj4" fmla="val 43750"/>
                  <a:gd name="adj5" fmla="val 100000"/>
                </a:avLst>
              </a:prstGeom>
              <a:solidFill>
                <a:schemeClr val="accent6">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21" name="Rectangle 20"/>
              <p:cNvSpPr/>
              <p:nvPr/>
            </p:nvSpPr>
            <p:spPr bwMode="auto">
              <a:xfrm>
                <a:off x="5835918" y="1573587"/>
                <a:ext cx="419100" cy="36679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grpSp>
        <p:cxnSp>
          <p:nvCxnSpPr>
            <p:cNvPr id="26" name="Straight Connector 25"/>
            <p:cNvCxnSpPr/>
            <p:nvPr/>
          </p:nvCxnSpPr>
          <p:spPr>
            <a:xfrm>
              <a:off x="5619726" y="1218854"/>
              <a:ext cx="0" cy="822960"/>
            </a:xfrm>
            <a:prstGeom prst="line">
              <a:avLst/>
            </a:prstGeom>
            <a:ln w="57150">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6470649" y="1216674"/>
              <a:ext cx="0" cy="822960"/>
            </a:xfrm>
            <a:prstGeom prst="line">
              <a:avLst/>
            </a:prstGeom>
            <a:ln w="57150">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33" name="Group 32"/>
          <p:cNvGrpSpPr/>
          <p:nvPr/>
        </p:nvGrpSpPr>
        <p:grpSpPr>
          <a:xfrm>
            <a:off x="1226633" y="934251"/>
            <a:ext cx="928065" cy="929736"/>
            <a:chOff x="2823686" y="985044"/>
            <a:chExt cx="1237098" cy="1239648"/>
          </a:xfrm>
        </p:grpSpPr>
        <p:sp>
          <p:nvSpPr>
            <p:cNvPr id="30" name="Oval 29"/>
            <p:cNvSpPr/>
            <p:nvPr/>
          </p:nvSpPr>
          <p:spPr bwMode="auto">
            <a:xfrm>
              <a:off x="3046412" y="1002497"/>
              <a:ext cx="609600" cy="606259"/>
            </a:xfrm>
            <a:prstGeom prst="ellipse">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31" name="Oval 30"/>
            <p:cNvSpPr/>
            <p:nvPr/>
          </p:nvSpPr>
          <p:spPr bwMode="auto">
            <a:xfrm>
              <a:off x="2838623" y="1789791"/>
              <a:ext cx="415578" cy="404503"/>
            </a:xfrm>
            <a:prstGeom prst="ellipse">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32" name="Oval 31"/>
            <p:cNvSpPr/>
            <p:nvPr/>
          </p:nvSpPr>
          <p:spPr bwMode="auto">
            <a:xfrm>
              <a:off x="3645206" y="1604869"/>
              <a:ext cx="375850" cy="387174"/>
            </a:xfrm>
            <a:prstGeom prst="ellipse">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29" name="Freeform 72"/>
            <p:cNvSpPr>
              <a:spLocks noEditPoints="1"/>
            </p:cNvSpPr>
            <p:nvPr/>
          </p:nvSpPr>
          <p:spPr bwMode="auto">
            <a:xfrm>
              <a:off x="2823686" y="985044"/>
              <a:ext cx="1237098" cy="1239648"/>
            </a:xfrm>
            <a:custGeom>
              <a:avLst/>
              <a:gdLst>
                <a:gd name="T0" fmla="*/ 337 w 411"/>
                <a:gd name="T1" fmla="*/ 198 h 412"/>
                <a:gd name="T2" fmla="*/ 284 w 411"/>
                <a:gd name="T3" fmla="*/ 220 h 412"/>
                <a:gd name="T4" fmla="*/ 249 w 411"/>
                <a:gd name="T5" fmla="*/ 185 h 412"/>
                <a:gd name="T6" fmla="*/ 283 w 411"/>
                <a:gd name="T7" fmla="*/ 107 h 412"/>
                <a:gd name="T8" fmla="*/ 176 w 411"/>
                <a:gd name="T9" fmla="*/ 0 h 412"/>
                <a:gd name="T10" fmla="*/ 68 w 411"/>
                <a:gd name="T11" fmla="*/ 107 h 412"/>
                <a:gd name="T12" fmla="*/ 116 w 411"/>
                <a:gd name="T13" fmla="*/ 196 h 412"/>
                <a:gd name="T14" fmla="*/ 96 w 411"/>
                <a:gd name="T15" fmla="*/ 266 h 412"/>
                <a:gd name="T16" fmla="*/ 74 w 411"/>
                <a:gd name="T17" fmla="*/ 263 h 412"/>
                <a:gd name="T18" fmla="*/ 0 w 411"/>
                <a:gd name="T19" fmla="*/ 337 h 412"/>
                <a:gd name="T20" fmla="*/ 74 w 411"/>
                <a:gd name="T21" fmla="*/ 412 h 412"/>
                <a:gd name="T22" fmla="*/ 149 w 411"/>
                <a:gd name="T23" fmla="*/ 337 h 412"/>
                <a:gd name="T24" fmla="*/ 110 w 411"/>
                <a:gd name="T25" fmla="*/ 272 h 412"/>
                <a:gd name="T26" fmla="*/ 130 w 411"/>
                <a:gd name="T27" fmla="*/ 204 h 412"/>
                <a:gd name="T28" fmla="*/ 176 w 411"/>
                <a:gd name="T29" fmla="*/ 214 h 412"/>
                <a:gd name="T30" fmla="*/ 238 w 411"/>
                <a:gd name="T31" fmla="*/ 195 h 412"/>
                <a:gd name="T32" fmla="*/ 275 w 411"/>
                <a:gd name="T33" fmla="*/ 232 h 412"/>
                <a:gd name="T34" fmla="*/ 262 w 411"/>
                <a:gd name="T35" fmla="*/ 273 h 412"/>
                <a:gd name="T36" fmla="*/ 337 w 411"/>
                <a:gd name="T37" fmla="*/ 347 h 412"/>
                <a:gd name="T38" fmla="*/ 411 w 411"/>
                <a:gd name="T39" fmla="*/ 273 h 412"/>
                <a:gd name="T40" fmla="*/ 337 w 411"/>
                <a:gd name="T41" fmla="*/ 198 h 412"/>
                <a:gd name="T42" fmla="*/ 134 w 411"/>
                <a:gd name="T43" fmla="*/ 337 h 412"/>
                <a:gd name="T44" fmla="*/ 74 w 411"/>
                <a:gd name="T45" fmla="*/ 397 h 412"/>
                <a:gd name="T46" fmla="*/ 14 w 411"/>
                <a:gd name="T47" fmla="*/ 337 h 412"/>
                <a:gd name="T48" fmla="*/ 74 w 411"/>
                <a:gd name="T49" fmla="*/ 278 h 412"/>
                <a:gd name="T50" fmla="*/ 134 w 411"/>
                <a:gd name="T51" fmla="*/ 337 h 412"/>
                <a:gd name="T52" fmla="*/ 83 w 411"/>
                <a:gd name="T53" fmla="*/ 107 h 412"/>
                <a:gd name="T54" fmla="*/ 176 w 411"/>
                <a:gd name="T55" fmla="*/ 14 h 412"/>
                <a:gd name="T56" fmla="*/ 268 w 411"/>
                <a:gd name="T57" fmla="*/ 107 h 412"/>
                <a:gd name="T58" fmla="*/ 176 w 411"/>
                <a:gd name="T59" fmla="*/ 200 h 412"/>
                <a:gd name="T60" fmla="*/ 83 w 411"/>
                <a:gd name="T61" fmla="*/ 107 h 412"/>
                <a:gd name="T62" fmla="*/ 337 w 411"/>
                <a:gd name="T63" fmla="*/ 332 h 412"/>
                <a:gd name="T64" fmla="*/ 277 w 411"/>
                <a:gd name="T65" fmla="*/ 273 h 412"/>
                <a:gd name="T66" fmla="*/ 337 w 411"/>
                <a:gd name="T67" fmla="*/ 213 h 412"/>
                <a:gd name="T68" fmla="*/ 397 w 411"/>
                <a:gd name="T69" fmla="*/ 273 h 412"/>
                <a:gd name="T70" fmla="*/ 337 w 411"/>
                <a:gd name="T71" fmla="*/ 33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1" h="412">
                  <a:moveTo>
                    <a:pt x="337" y="198"/>
                  </a:moveTo>
                  <a:cubicBezTo>
                    <a:pt x="316" y="198"/>
                    <a:pt x="298" y="206"/>
                    <a:pt x="284" y="220"/>
                  </a:cubicBezTo>
                  <a:cubicBezTo>
                    <a:pt x="249" y="185"/>
                    <a:pt x="249" y="185"/>
                    <a:pt x="249" y="185"/>
                  </a:cubicBezTo>
                  <a:cubicBezTo>
                    <a:pt x="270" y="166"/>
                    <a:pt x="283" y="138"/>
                    <a:pt x="283" y="107"/>
                  </a:cubicBezTo>
                  <a:cubicBezTo>
                    <a:pt x="283" y="48"/>
                    <a:pt x="235" y="0"/>
                    <a:pt x="176" y="0"/>
                  </a:cubicBezTo>
                  <a:cubicBezTo>
                    <a:pt x="117" y="0"/>
                    <a:pt x="68" y="48"/>
                    <a:pt x="68" y="107"/>
                  </a:cubicBezTo>
                  <a:cubicBezTo>
                    <a:pt x="68" y="144"/>
                    <a:pt x="88" y="177"/>
                    <a:pt x="116" y="196"/>
                  </a:cubicBezTo>
                  <a:cubicBezTo>
                    <a:pt x="96" y="266"/>
                    <a:pt x="96" y="266"/>
                    <a:pt x="96" y="266"/>
                  </a:cubicBezTo>
                  <a:cubicBezTo>
                    <a:pt x="89" y="264"/>
                    <a:pt x="82" y="263"/>
                    <a:pt x="74" y="263"/>
                  </a:cubicBezTo>
                  <a:cubicBezTo>
                    <a:pt x="33" y="263"/>
                    <a:pt x="0" y="296"/>
                    <a:pt x="0" y="337"/>
                  </a:cubicBezTo>
                  <a:cubicBezTo>
                    <a:pt x="0" y="378"/>
                    <a:pt x="33" y="412"/>
                    <a:pt x="74" y="412"/>
                  </a:cubicBezTo>
                  <a:cubicBezTo>
                    <a:pt x="115" y="412"/>
                    <a:pt x="149" y="378"/>
                    <a:pt x="149" y="337"/>
                  </a:cubicBezTo>
                  <a:cubicBezTo>
                    <a:pt x="149" y="309"/>
                    <a:pt x="133" y="284"/>
                    <a:pt x="110" y="272"/>
                  </a:cubicBezTo>
                  <a:cubicBezTo>
                    <a:pt x="130" y="204"/>
                    <a:pt x="130" y="204"/>
                    <a:pt x="130" y="204"/>
                  </a:cubicBezTo>
                  <a:cubicBezTo>
                    <a:pt x="144" y="210"/>
                    <a:pt x="159" y="214"/>
                    <a:pt x="176" y="214"/>
                  </a:cubicBezTo>
                  <a:cubicBezTo>
                    <a:pt x="199" y="214"/>
                    <a:pt x="220" y="207"/>
                    <a:pt x="238" y="195"/>
                  </a:cubicBezTo>
                  <a:cubicBezTo>
                    <a:pt x="275" y="232"/>
                    <a:pt x="275" y="232"/>
                    <a:pt x="275" y="232"/>
                  </a:cubicBezTo>
                  <a:cubicBezTo>
                    <a:pt x="267" y="243"/>
                    <a:pt x="262" y="257"/>
                    <a:pt x="262" y="273"/>
                  </a:cubicBezTo>
                  <a:cubicBezTo>
                    <a:pt x="262" y="314"/>
                    <a:pt x="296" y="347"/>
                    <a:pt x="337" y="347"/>
                  </a:cubicBezTo>
                  <a:cubicBezTo>
                    <a:pt x="378" y="347"/>
                    <a:pt x="411" y="314"/>
                    <a:pt x="411" y="273"/>
                  </a:cubicBezTo>
                  <a:cubicBezTo>
                    <a:pt x="411" y="231"/>
                    <a:pt x="378" y="198"/>
                    <a:pt x="337" y="198"/>
                  </a:cubicBezTo>
                  <a:close/>
                  <a:moveTo>
                    <a:pt x="134" y="337"/>
                  </a:moveTo>
                  <a:cubicBezTo>
                    <a:pt x="134" y="370"/>
                    <a:pt x="107" y="397"/>
                    <a:pt x="74" y="397"/>
                  </a:cubicBezTo>
                  <a:cubicBezTo>
                    <a:pt x="41" y="397"/>
                    <a:pt x="14" y="370"/>
                    <a:pt x="14" y="337"/>
                  </a:cubicBezTo>
                  <a:cubicBezTo>
                    <a:pt x="14" y="304"/>
                    <a:pt x="41" y="278"/>
                    <a:pt x="74" y="278"/>
                  </a:cubicBezTo>
                  <a:cubicBezTo>
                    <a:pt x="107" y="278"/>
                    <a:pt x="134" y="304"/>
                    <a:pt x="134" y="337"/>
                  </a:cubicBezTo>
                  <a:close/>
                  <a:moveTo>
                    <a:pt x="83" y="107"/>
                  </a:moveTo>
                  <a:cubicBezTo>
                    <a:pt x="83" y="56"/>
                    <a:pt x="125" y="14"/>
                    <a:pt x="176" y="14"/>
                  </a:cubicBezTo>
                  <a:cubicBezTo>
                    <a:pt x="227" y="14"/>
                    <a:pt x="268" y="56"/>
                    <a:pt x="268" y="107"/>
                  </a:cubicBezTo>
                  <a:cubicBezTo>
                    <a:pt x="268" y="158"/>
                    <a:pt x="227" y="200"/>
                    <a:pt x="176" y="200"/>
                  </a:cubicBezTo>
                  <a:cubicBezTo>
                    <a:pt x="125" y="200"/>
                    <a:pt x="83" y="158"/>
                    <a:pt x="83" y="107"/>
                  </a:cubicBezTo>
                  <a:close/>
                  <a:moveTo>
                    <a:pt x="337" y="332"/>
                  </a:moveTo>
                  <a:cubicBezTo>
                    <a:pt x="304" y="332"/>
                    <a:pt x="277" y="306"/>
                    <a:pt x="277" y="273"/>
                  </a:cubicBezTo>
                  <a:cubicBezTo>
                    <a:pt x="277" y="240"/>
                    <a:pt x="304" y="213"/>
                    <a:pt x="337" y="213"/>
                  </a:cubicBezTo>
                  <a:cubicBezTo>
                    <a:pt x="370" y="213"/>
                    <a:pt x="397" y="240"/>
                    <a:pt x="397" y="273"/>
                  </a:cubicBezTo>
                  <a:cubicBezTo>
                    <a:pt x="397" y="306"/>
                    <a:pt x="370" y="332"/>
                    <a:pt x="337" y="332"/>
                  </a:cubicBez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5"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4"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4"/>
              </a:rPr>
              <a:t>www.rapidbbs.cn</a:t>
            </a:r>
            <a:endParaRPr lang="zh-CN" altLang="en-US" sz="1200" b="0">
              <a:latin typeface="Arial" charset="0"/>
              <a:ea typeface="ＭＳ Ｐゴシック" pitchFamily="34" charset="-128"/>
            </a:endParaRPr>
          </a:p>
        </p:txBody>
      </p:sp>
      <p:pic>
        <p:nvPicPr>
          <p:cNvPr id="35" name="Picture 2">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281869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7" grpId="0"/>
      <p:bldP spid="18" grpId="0"/>
      <p:bldP spid="19" grpId="0" animBg="1"/>
    </p:bld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Windows 8</a:t>
            </a:r>
            <a:endParaRPr lang="en-US" dirty="0"/>
          </a:p>
        </p:txBody>
      </p:sp>
      <p:sp>
        <p:nvSpPr>
          <p:cNvPr id="6" name="Rectangle 5"/>
          <p:cNvSpPr/>
          <p:nvPr/>
        </p:nvSpPr>
        <p:spPr bwMode="auto">
          <a:xfrm>
            <a:off x="5316796" y="1330376"/>
            <a:ext cx="1409147" cy="1408781"/>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6" tIns="68586" rIns="34294" bIns="68586" numCol="1" spcCol="0" rtlCol="0" fromWordArt="0" anchor="b" anchorCtr="0" forceAA="0" compatLnSpc="1">
            <a:prstTxWarp prst="textNoShape">
              <a:avLst/>
            </a:prstTxWarp>
            <a:noAutofit/>
          </a:bodyPr>
          <a:lstStyle/>
          <a:p>
            <a:pPr marL="0" lvl="1" fontAlgn="base">
              <a:lnSpc>
                <a:spcPct val="90000"/>
              </a:lnSpc>
              <a:spcBef>
                <a:spcPct val="0"/>
              </a:spcBef>
              <a:spcAft>
                <a:spcPts val="300"/>
              </a:spcAft>
              <a:buClr>
                <a:schemeClr val="tx1">
                  <a:lumMod val="75000"/>
                  <a:lumOff val="25000"/>
                </a:schemeClr>
              </a:buClr>
              <a:buSzPct val="90000"/>
              <a:tabLst>
                <a:tab pos="472722" algn="l"/>
              </a:tabLst>
            </a:pPr>
            <a:r>
              <a:rPr lang="en-US" sz="1500" spc="-38" dirty="0">
                <a:solidFill>
                  <a:schemeClr val="bg1"/>
                </a:solidFill>
              </a:rPr>
              <a:t>Cloud-connected</a:t>
            </a:r>
          </a:p>
        </p:txBody>
      </p:sp>
      <p:sp>
        <p:nvSpPr>
          <p:cNvPr id="7" name="Rectangle 6"/>
          <p:cNvSpPr/>
          <p:nvPr/>
        </p:nvSpPr>
        <p:spPr bwMode="auto">
          <a:xfrm>
            <a:off x="6805782" y="2820320"/>
            <a:ext cx="1409147" cy="1408781"/>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6" tIns="68586" rIns="34294" bIns="68586" numCol="1" spcCol="0" rtlCol="0" fromWordArt="0" anchor="b" anchorCtr="0" forceAA="0" compatLnSpc="1">
            <a:prstTxWarp prst="textNoShape">
              <a:avLst/>
            </a:prstTxWarp>
            <a:noAutofit/>
          </a:bodyPr>
          <a:lstStyle/>
          <a:p>
            <a:pPr marL="0" lvl="1" fontAlgn="base">
              <a:lnSpc>
                <a:spcPct val="90000"/>
              </a:lnSpc>
              <a:spcBef>
                <a:spcPct val="0"/>
              </a:spcBef>
              <a:spcAft>
                <a:spcPts val="300"/>
              </a:spcAft>
              <a:buClr>
                <a:schemeClr val="tx1">
                  <a:lumMod val="75000"/>
                  <a:lumOff val="25000"/>
                </a:schemeClr>
              </a:buClr>
              <a:buSzPct val="90000"/>
              <a:tabLst>
                <a:tab pos="472722" algn="l"/>
              </a:tabLst>
            </a:pPr>
            <a:r>
              <a:rPr lang="en-US" sz="1500" spc="-38" dirty="0">
                <a:solidFill>
                  <a:schemeClr val="bg1"/>
                </a:solidFill>
              </a:rPr>
              <a:t>Built on </a:t>
            </a:r>
            <a:br>
              <a:rPr lang="en-US" sz="1500" spc="-38" dirty="0">
                <a:solidFill>
                  <a:schemeClr val="bg1"/>
                </a:solidFill>
              </a:rPr>
            </a:br>
            <a:r>
              <a:rPr lang="en-US" sz="1500" spc="-38" dirty="0">
                <a:solidFill>
                  <a:schemeClr val="bg1"/>
                </a:solidFill>
              </a:rPr>
              <a:t>a solid foundation</a:t>
            </a:r>
          </a:p>
        </p:txBody>
      </p:sp>
      <p:sp>
        <p:nvSpPr>
          <p:cNvPr id="8" name="Rectangle 7"/>
          <p:cNvSpPr/>
          <p:nvPr/>
        </p:nvSpPr>
        <p:spPr bwMode="auto">
          <a:xfrm>
            <a:off x="6805782" y="1330376"/>
            <a:ext cx="1409147" cy="1408781"/>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6" tIns="68586" rIns="34294" bIns="68586" numCol="1" spcCol="0" rtlCol="0" fromWordArt="0" anchor="b" anchorCtr="0" forceAA="0" compatLnSpc="1">
            <a:prstTxWarp prst="textNoShape">
              <a:avLst/>
            </a:prstTxWarp>
            <a:noAutofit/>
          </a:bodyPr>
          <a:lstStyle/>
          <a:p>
            <a:pPr marL="0" lvl="1" fontAlgn="base">
              <a:lnSpc>
                <a:spcPct val="90000"/>
              </a:lnSpc>
              <a:spcBef>
                <a:spcPct val="0"/>
              </a:spcBef>
              <a:spcAft>
                <a:spcPts val="300"/>
              </a:spcAft>
              <a:buClr>
                <a:schemeClr val="tx1">
                  <a:lumMod val="75000"/>
                  <a:lumOff val="25000"/>
                </a:schemeClr>
              </a:buClr>
              <a:buSzPct val="90000"/>
              <a:tabLst>
                <a:tab pos="472722" algn="l"/>
              </a:tabLst>
            </a:pPr>
            <a:r>
              <a:rPr lang="en-US" sz="1500" spc="-38" dirty="0">
                <a:solidFill>
                  <a:schemeClr val="bg1"/>
                </a:solidFill>
              </a:rPr>
              <a:t>Get more at the Windows Store</a:t>
            </a:r>
          </a:p>
        </p:txBody>
      </p:sp>
      <p:sp>
        <p:nvSpPr>
          <p:cNvPr id="9" name="Rectangle 8"/>
          <p:cNvSpPr/>
          <p:nvPr/>
        </p:nvSpPr>
        <p:spPr bwMode="auto">
          <a:xfrm>
            <a:off x="3830238" y="2820320"/>
            <a:ext cx="1409147" cy="1408781"/>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6" tIns="68586" rIns="34294" bIns="68586" numCol="1" spcCol="0" rtlCol="0" fromWordArt="0" anchor="b" anchorCtr="0" forceAA="0" compatLnSpc="1">
            <a:prstTxWarp prst="textNoShape">
              <a:avLst/>
            </a:prstTxWarp>
            <a:noAutofit/>
          </a:bodyPr>
          <a:lstStyle/>
          <a:p>
            <a:pPr marL="0" lvl="1" fontAlgn="base">
              <a:lnSpc>
                <a:spcPct val="90000"/>
              </a:lnSpc>
              <a:spcBef>
                <a:spcPct val="0"/>
              </a:spcBef>
              <a:spcAft>
                <a:spcPts val="300"/>
              </a:spcAft>
              <a:buClr>
                <a:schemeClr val="tx1">
                  <a:lumMod val="75000"/>
                  <a:lumOff val="25000"/>
                </a:schemeClr>
              </a:buClr>
              <a:buSzPct val="90000"/>
              <a:tabLst>
                <a:tab pos="472722" algn="l"/>
              </a:tabLst>
            </a:pPr>
            <a:r>
              <a:rPr lang="en-US" sz="1500" spc="-38" dirty="0">
                <a:solidFill>
                  <a:schemeClr val="bg1"/>
                </a:solidFill>
              </a:rPr>
              <a:t>At home </a:t>
            </a:r>
            <a:br>
              <a:rPr lang="en-US" sz="1500" spc="-38" dirty="0">
                <a:solidFill>
                  <a:schemeClr val="bg1"/>
                </a:solidFill>
              </a:rPr>
            </a:br>
            <a:r>
              <a:rPr lang="en-US" sz="1500" spc="-38" dirty="0">
                <a:solidFill>
                  <a:schemeClr val="bg1"/>
                </a:solidFill>
              </a:rPr>
              <a:t>and at work</a:t>
            </a:r>
          </a:p>
        </p:txBody>
      </p:sp>
      <p:sp>
        <p:nvSpPr>
          <p:cNvPr id="10" name="Rectangle 9"/>
          <p:cNvSpPr/>
          <p:nvPr/>
        </p:nvSpPr>
        <p:spPr bwMode="auto">
          <a:xfrm>
            <a:off x="3830238" y="1330376"/>
            <a:ext cx="1409147" cy="1408781"/>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6" tIns="68586" rIns="34294" bIns="68586" numCol="1" spcCol="0" rtlCol="0" fromWordArt="0" anchor="b" anchorCtr="0" forceAA="0" compatLnSpc="1">
            <a:prstTxWarp prst="textNoShape">
              <a:avLst/>
            </a:prstTxWarp>
            <a:noAutofit/>
          </a:bodyPr>
          <a:lstStyle/>
          <a:p>
            <a:pPr marL="0" lvl="1" fontAlgn="base">
              <a:lnSpc>
                <a:spcPct val="90000"/>
              </a:lnSpc>
              <a:spcAft>
                <a:spcPts val="300"/>
              </a:spcAft>
              <a:buClr>
                <a:schemeClr val="tx1">
                  <a:lumMod val="75000"/>
                  <a:lumOff val="25000"/>
                </a:schemeClr>
              </a:buClr>
              <a:buSzPct val="90000"/>
              <a:tabLst>
                <a:tab pos="472722" algn="l"/>
              </a:tabLst>
            </a:pPr>
            <a:r>
              <a:rPr lang="en-US" sz="1500" spc="-38" dirty="0">
                <a:solidFill>
                  <a:schemeClr val="bg1"/>
                </a:solidFill>
              </a:rPr>
              <a:t>All the apps </a:t>
            </a:r>
            <a:br>
              <a:rPr lang="en-US" sz="1500" spc="-38" dirty="0">
                <a:solidFill>
                  <a:schemeClr val="bg1"/>
                </a:solidFill>
              </a:rPr>
            </a:br>
            <a:r>
              <a:rPr lang="en-US" sz="1500" spc="-38" dirty="0">
                <a:solidFill>
                  <a:schemeClr val="bg1"/>
                </a:solidFill>
              </a:rPr>
              <a:t>you want</a:t>
            </a:r>
          </a:p>
        </p:txBody>
      </p:sp>
      <p:sp>
        <p:nvSpPr>
          <p:cNvPr id="11" name="Rectangle 10"/>
          <p:cNvSpPr/>
          <p:nvPr/>
        </p:nvSpPr>
        <p:spPr bwMode="auto">
          <a:xfrm>
            <a:off x="2343984" y="2820320"/>
            <a:ext cx="1409147" cy="1408781"/>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6" tIns="68586" rIns="34294" bIns="68586" numCol="1" spcCol="0" rtlCol="0" fromWordArt="0" anchor="b" anchorCtr="0" forceAA="0" compatLnSpc="1">
            <a:prstTxWarp prst="textNoShape">
              <a:avLst/>
            </a:prstTxWarp>
            <a:noAutofit/>
          </a:bodyPr>
          <a:lstStyle/>
          <a:p>
            <a:pPr marL="0" lvl="1" fontAlgn="base">
              <a:lnSpc>
                <a:spcPct val="90000"/>
              </a:lnSpc>
              <a:spcBef>
                <a:spcPct val="0"/>
              </a:spcBef>
              <a:spcAft>
                <a:spcPts val="300"/>
              </a:spcAft>
              <a:buClr>
                <a:schemeClr val="tx1">
                  <a:lumMod val="75000"/>
                  <a:lumOff val="25000"/>
                </a:schemeClr>
              </a:buClr>
              <a:buSzPct val="90000"/>
              <a:tabLst>
                <a:tab pos="472722" algn="l"/>
              </a:tabLst>
            </a:pPr>
            <a:r>
              <a:rPr lang="en-US" sz="1500" spc="-38" dirty="0">
                <a:solidFill>
                  <a:schemeClr val="bg1"/>
                </a:solidFill>
              </a:rPr>
              <a:t>Reimagined browsing </a:t>
            </a:r>
            <a:br>
              <a:rPr lang="en-US" sz="1500" spc="-38" dirty="0">
                <a:solidFill>
                  <a:schemeClr val="bg1"/>
                </a:solidFill>
              </a:rPr>
            </a:br>
            <a:r>
              <a:rPr lang="en-US" sz="1500" spc="-38" dirty="0">
                <a:solidFill>
                  <a:schemeClr val="bg1"/>
                </a:solidFill>
              </a:rPr>
              <a:t>with IE10</a:t>
            </a:r>
          </a:p>
        </p:txBody>
      </p:sp>
      <p:sp>
        <p:nvSpPr>
          <p:cNvPr id="12" name="Rectangle 11"/>
          <p:cNvSpPr/>
          <p:nvPr/>
        </p:nvSpPr>
        <p:spPr bwMode="auto">
          <a:xfrm>
            <a:off x="2343984" y="1330376"/>
            <a:ext cx="1409147" cy="1408781"/>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6" tIns="68586" rIns="34294" bIns="68586" numCol="1" spcCol="0" rtlCol="0" fromWordArt="0" anchor="b" anchorCtr="0" forceAA="0" compatLnSpc="1">
            <a:prstTxWarp prst="textNoShape">
              <a:avLst/>
            </a:prstTxWarp>
            <a:noAutofit/>
          </a:bodyPr>
          <a:lstStyle/>
          <a:p>
            <a:pPr marL="0" lvl="1" fontAlgn="base">
              <a:lnSpc>
                <a:spcPct val="90000"/>
              </a:lnSpc>
              <a:spcAft>
                <a:spcPts val="300"/>
              </a:spcAft>
              <a:buClr>
                <a:schemeClr val="tx1">
                  <a:lumMod val="75000"/>
                  <a:lumOff val="25000"/>
                </a:schemeClr>
              </a:buClr>
              <a:buSzPct val="90000"/>
              <a:tabLst>
                <a:tab pos="472722" algn="l"/>
              </a:tabLst>
            </a:pPr>
            <a:r>
              <a:rPr lang="en-US" sz="1500" spc="-38" dirty="0">
                <a:solidFill>
                  <a:schemeClr val="bg1"/>
                </a:solidFill>
              </a:rPr>
              <a:t>Windows reimagined </a:t>
            </a:r>
          </a:p>
        </p:txBody>
      </p:sp>
      <p:sp>
        <p:nvSpPr>
          <p:cNvPr id="13" name="Rectangle 12"/>
          <p:cNvSpPr/>
          <p:nvPr/>
        </p:nvSpPr>
        <p:spPr bwMode="auto">
          <a:xfrm>
            <a:off x="5319528" y="2820320"/>
            <a:ext cx="1409147" cy="1408781"/>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6" tIns="68586" rIns="34294" bIns="68586" numCol="1" spcCol="0" rtlCol="0" fromWordArt="0" anchor="b" anchorCtr="0" forceAA="0" compatLnSpc="1">
            <a:prstTxWarp prst="textNoShape">
              <a:avLst/>
            </a:prstTxWarp>
            <a:noAutofit/>
          </a:bodyPr>
          <a:lstStyle/>
          <a:p>
            <a:pPr marL="0" lvl="1" fontAlgn="base">
              <a:lnSpc>
                <a:spcPct val="90000"/>
              </a:lnSpc>
              <a:spcBef>
                <a:spcPct val="0"/>
              </a:spcBef>
              <a:spcAft>
                <a:spcPts val="300"/>
              </a:spcAft>
              <a:buClr>
                <a:schemeClr val="tx1">
                  <a:lumMod val="75000"/>
                  <a:lumOff val="25000"/>
                </a:schemeClr>
              </a:buClr>
              <a:buSzPct val="90000"/>
              <a:tabLst>
                <a:tab pos="472722" algn="l"/>
              </a:tabLst>
            </a:pPr>
            <a:r>
              <a:rPr lang="en-US" sz="1500" spc="-38" dirty="0">
                <a:solidFill>
                  <a:schemeClr val="bg1"/>
                </a:solidFill>
              </a:rPr>
              <a:t>Great experience across hardware</a:t>
            </a:r>
          </a:p>
        </p:txBody>
      </p:sp>
      <p:pic>
        <p:nvPicPr>
          <p:cNvPr id="14" name="Picture 13" descr="WIN11_Etienne_04.png"/>
          <p:cNvPicPr>
            <a:picLocks noChangeAspect="1"/>
          </p:cNvPicPr>
          <p:nvPr/>
        </p:nvPicPr>
        <p:blipFill rotWithShape="1">
          <a:blip r:embed="rId2" cstate="email">
            <a:extLst>
              <a:ext uri="{28A0092B-C50C-407E-A947-70E740481C1C}">
                <a14:useLocalDpi xmlns:a14="http://schemas.microsoft.com/office/drawing/2010/main"/>
              </a:ext>
            </a:extLst>
          </a:blip>
          <a:srcRect l="54621" t="1" r="13095" b="668"/>
          <a:stretch/>
        </p:blipFill>
        <p:spPr>
          <a:xfrm>
            <a:off x="850842" y="1330377"/>
            <a:ext cx="1409147" cy="2898724"/>
          </a:xfrm>
          <a:prstGeom prst="rect">
            <a:avLst/>
          </a:prstGeom>
        </p:spPr>
      </p:pic>
      <p:sp>
        <p:nvSpPr>
          <p:cNvPr id="15"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6"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pic>
        <p:nvPicPr>
          <p:cNvPr id="17"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33681953"/>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smtClean="0"/>
              <a:t>customer</a:t>
            </a:r>
            <a:endParaRPr lang="en-US" dirty="0"/>
          </a:p>
        </p:txBody>
      </p:sp>
      <p:sp>
        <p:nvSpPr>
          <p:cNvPr id="3" name="Subtitle 2"/>
          <p:cNvSpPr>
            <a:spLocks noGrp="1"/>
          </p:cNvSpPr>
          <p:nvPr>
            <p:ph type="subTitle" idx="1"/>
          </p:nvPr>
        </p:nvSpPr>
        <p:spPr/>
        <p:txBody>
          <a:bodyPr/>
          <a:lstStyle/>
          <a:p>
            <a:r>
              <a:rPr lang="en-US" dirty="0" smtClean="0"/>
              <a:t>Name</a:t>
            </a:r>
          </a:p>
          <a:p>
            <a:r>
              <a:rPr lang="en-US" dirty="0" smtClean="0"/>
              <a:t>Title</a:t>
            </a:r>
          </a:p>
          <a:p>
            <a:r>
              <a:rPr lang="en-US" dirty="0" smtClean="0"/>
              <a:t>Company</a:t>
            </a:r>
            <a:endParaRPr lang="en-US" dirty="0"/>
          </a:p>
        </p:txBody>
      </p:sp>
      <p:sp>
        <p:nvSpPr>
          <p:cNvPr id="2" name="Title 1"/>
          <p:cNvSpPr>
            <a:spLocks noGrp="1"/>
          </p:cNvSpPr>
          <p:nvPr>
            <p:ph type="ctrTitle"/>
          </p:nvPr>
        </p:nvSpPr>
        <p:spPr/>
        <p:txBody>
          <a:bodyPr/>
          <a:lstStyle/>
          <a:p>
            <a:r>
              <a:rPr dirty="0" smtClean="0"/>
              <a:t>Customer Title</a:t>
            </a:r>
            <a:endParaRPr lang="en-US" dirty="0"/>
          </a:p>
        </p:txBody>
      </p:sp>
      <p:sp useBgFill="1">
        <p:nvSpPr>
          <p:cNvPr id="5" name="MASK bottom"/>
          <p:cNvSpPr/>
          <p:nvPr/>
        </p:nvSpPr>
        <p:spPr bwMode="auto">
          <a:xfrm>
            <a:off x="2914218" y="4514850"/>
            <a:ext cx="6229782" cy="62865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useBgFill="1">
        <p:nvSpPr>
          <p:cNvPr id="6" name="MASK top"/>
          <p:cNvSpPr/>
          <p:nvPr/>
        </p:nvSpPr>
        <p:spPr bwMode="auto">
          <a:xfrm>
            <a:off x="2914218" y="0"/>
            <a:ext cx="6229782" cy="112849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7"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8"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pic>
        <p:nvPicPr>
          <p:cNvPr id="9"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16333331"/>
      </p:ext>
    </p:extLst>
  </p:cSld>
  <p:clrMapOvr>
    <a:masterClrMapping/>
  </p:clrMapOvr>
  <p:transition spd="slow">
    <p:fade/>
  </p:transition>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ypes </a:t>
            </a:r>
            <a:r>
              <a:rPr lang="en-US" dirty="0"/>
              <a:t>of Metro </a:t>
            </a:r>
            <a:r>
              <a:rPr lang="en-US" dirty="0" smtClean="0"/>
              <a:t>Style </a:t>
            </a:r>
            <a:r>
              <a:rPr lang="en-US" dirty="0"/>
              <a:t>Apps</a:t>
            </a:r>
          </a:p>
        </p:txBody>
      </p:sp>
      <p:sp>
        <p:nvSpPr>
          <p:cNvPr id="3" name="Rectangle 2"/>
          <p:cNvSpPr/>
          <p:nvPr/>
        </p:nvSpPr>
        <p:spPr bwMode="auto">
          <a:xfrm>
            <a:off x="71647" y="1342757"/>
            <a:ext cx="1028968" cy="184591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0" rIns="34294" bIns="0" numCol="1" spcCol="0" rtlCol="0" fromWordArt="0" anchor="t" anchorCtr="0" forceAA="0" compatLnSpc="1">
            <a:prstTxWarp prst="textNoShape">
              <a:avLst/>
            </a:prstTxWarp>
            <a:noAutofit/>
          </a:bodyPr>
          <a:lstStyle/>
          <a:p>
            <a:pPr algn="r" defTabSz="685637" fontAlgn="base">
              <a:spcBef>
                <a:spcPct val="0"/>
              </a:spcBef>
              <a:spcAft>
                <a:spcPct val="0"/>
              </a:spcAft>
            </a:pPr>
            <a:r>
              <a:rPr lang="en-US" dirty="0" smtClean="0">
                <a:solidFill>
                  <a:schemeClr val="tx1"/>
                </a:solidFill>
                <a:latin typeface="+mj-lt"/>
                <a:ea typeface="Segoe UI" pitchFamily="34" charset="0"/>
                <a:cs typeface="Segoe UI" pitchFamily="34" charset="0"/>
              </a:rPr>
              <a:t>Examples</a:t>
            </a:r>
          </a:p>
        </p:txBody>
      </p:sp>
      <p:sp>
        <p:nvSpPr>
          <p:cNvPr id="4" name="Rectangle 3"/>
          <p:cNvSpPr/>
          <p:nvPr/>
        </p:nvSpPr>
        <p:spPr bwMode="auto">
          <a:xfrm>
            <a:off x="1199523" y="784949"/>
            <a:ext cx="1835219" cy="47164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defTabSz="685637" fontAlgn="base">
              <a:spcBef>
                <a:spcPct val="0"/>
              </a:spcBef>
              <a:spcAft>
                <a:spcPct val="0"/>
              </a:spcAft>
            </a:pPr>
            <a:r>
              <a:rPr lang="en-US" sz="1500" b="1" dirty="0">
                <a:solidFill>
                  <a:schemeClr val="tx1"/>
                </a:solidFill>
                <a:latin typeface="+mj-lt"/>
                <a:ea typeface="Segoe UI" pitchFamily="34" charset="0"/>
                <a:cs typeface="Segoe UI" pitchFamily="34" charset="0"/>
              </a:rPr>
              <a:t>Consumer</a:t>
            </a:r>
          </a:p>
        </p:txBody>
      </p:sp>
      <p:sp>
        <p:nvSpPr>
          <p:cNvPr id="5" name="Rectangle 4"/>
          <p:cNvSpPr/>
          <p:nvPr/>
        </p:nvSpPr>
        <p:spPr bwMode="auto">
          <a:xfrm>
            <a:off x="3158733" y="784949"/>
            <a:ext cx="1838423" cy="47164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defTabSz="685637" fontAlgn="base">
              <a:spcBef>
                <a:spcPct val="0"/>
              </a:spcBef>
              <a:spcAft>
                <a:spcPct val="0"/>
              </a:spcAft>
            </a:pPr>
            <a:r>
              <a:rPr lang="en-US" sz="1500" b="1" dirty="0">
                <a:solidFill>
                  <a:schemeClr val="tx1"/>
                </a:solidFill>
                <a:latin typeface="+mj-lt"/>
                <a:ea typeface="Segoe UI" pitchFamily="34" charset="0"/>
                <a:cs typeface="Segoe UI" pitchFamily="34" charset="0"/>
              </a:rPr>
              <a:t>B2C</a:t>
            </a:r>
          </a:p>
        </p:txBody>
      </p:sp>
      <p:sp>
        <p:nvSpPr>
          <p:cNvPr id="6" name="Rectangle 5"/>
          <p:cNvSpPr/>
          <p:nvPr/>
        </p:nvSpPr>
        <p:spPr bwMode="auto">
          <a:xfrm>
            <a:off x="5121149" y="784949"/>
            <a:ext cx="1838423" cy="47164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defTabSz="685637" fontAlgn="base">
              <a:spcBef>
                <a:spcPct val="0"/>
              </a:spcBef>
              <a:spcAft>
                <a:spcPct val="0"/>
              </a:spcAft>
            </a:pPr>
            <a:r>
              <a:rPr lang="en-US" sz="1500" b="1" dirty="0">
                <a:solidFill>
                  <a:schemeClr val="tx1"/>
                </a:solidFill>
                <a:latin typeface="+mj-lt"/>
                <a:ea typeface="Segoe UI" pitchFamily="34" charset="0"/>
                <a:cs typeface="Segoe UI" pitchFamily="34" charset="0"/>
              </a:rPr>
              <a:t>LOB ISV</a:t>
            </a:r>
          </a:p>
        </p:txBody>
      </p:sp>
      <p:sp>
        <p:nvSpPr>
          <p:cNvPr id="7" name="Rectangle 6"/>
          <p:cNvSpPr/>
          <p:nvPr/>
        </p:nvSpPr>
        <p:spPr bwMode="auto">
          <a:xfrm>
            <a:off x="7083564" y="784949"/>
            <a:ext cx="1838423" cy="47164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defTabSz="685637" fontAlgn="base">
              <a:spcBef>
                <a:spcPct val="0"/>
              </a:spcBef>
              <a:spcAft>
                <a:spcPct val="0"/>
              </a:spcAft>
            </a:pPr>
            <a:r>
              <a:rPr lang="en-US" sz="1500" b="1" dirty="0">
                <a:solidFill>
                  <a:schemeClr val="tx1"/>
                </a:solidFill>
                <a:latin typeface="+mj-lt"/>
                <a:ea typeface="Segoe UI" pitchFamily="34" charset="0"/>
                <a:cs typeface="Segoe UI" pitchFamily="34" charset="0"/>
              </a:rPr>
              <a:t>Custom LOB</a:t>
            </a:r>
          </a:p>
        </p:txBody>
      </p:sp>
      <p:pic>
        <p:nvPicPr>
          <p:cNvPr id="8" name="Picture 2" descr="C:\Users\scottjac\Desktop\thumbnailCAPXLKI7.jpg"/>
          <p:cNvPicPr>
            <a:picLocks noChangeArrowheads="1"/>
          </p:cNvPicPr>
          <p:nvPr/>
        </p:nvPicPr>
        <p:blipFill rotWithShape="1">
          <a:blip r:embed="rId2">
            <a:extLst>
              <a:ext uri="{28A0092B-C50C-407E-A947-70E740481C1C}">
                <a14:useLocalDpi xmlns:a14="http://schemas.microsoft.com/office/drawing/2010/main" val="0"/>
              </a:ext>
            </a:extLst>
          </a:blip>
          <a:srcRect l="7189" t="9357" r="7847" b="10108"/>
          <a:stretch/>
        </p:blipFill>
        <p:spPr bwMode="auto">
          <a:xfrm>
            <a:off x="3158734" y="1368468"/>
            <a:ext cx="857473" cy="857250"/>
          </a:xfrm>
          <a:prstGeom prst="rect">
            <a:avLst/>
          </a:prstGeom>
          <a:ln w="38100" cap="sq">
            <a:noFill/>
            <a:prstDash val="solid"/>
            <a:miter lim="800000"/>
          </a:ln>
          <a:effectLst>
            <a:outerShdw blurRad="50800" dist="38100" dir="2700000" algn="tl" rotWithShape="0">
              <a:srgbClr val="000000">
                <a:alpha val="43000"/>
              </a:srgbClr>
            </a:outerShdw>
          </a:effectLst>
          <a:extLst/>
        </p:spPr>
      </p:pic>
      <p:pic>
        <p:nvPicPr>
          <p:cNvPr id="9" name="Picture 3" descr="C:\Users\scottjac\Desktop\thumbnailCA1WJ5JK.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58734" y="2299634"/>
            <a:ext cx="857473" cy="857250"/>
          </a:xfrm>
          <a:prstGeom prst="rect">
            <a:avLst/>
          </a:prstGeom>
          <a:ln w="19050" cap="sq">
            <a:solidFill>
              <a:srgbClr val="000000"/>
            </a:solidFill>
            <a:prstDash val="solid"/>
            <a:miter lim="800000"/>
          </a:ln>
          <a:effectLst>
            <a:outerShdw blurRad="50800" dist="38100" dir="2700000" algn="tl" rotWithShape="0">
              <a:srgbClr val="000000">
                <a:alpha val="43000"/>
              </a:srgbClr>
            </a:outerShdw>
          </a:effectLst>
          <a:extLst/>
        </p:spPr>
      </p:pic>
      <p:pic>
        <p:nvPicPr>
          <p:cNvPr id="10" name="Picture 7" descr="C:\Users\scottjac\Desktop\Pandora-logo.png"/>
          <p:cNvPicPr>
            <a:picLocks noChangeArrowheads="1"/>
          </p:cNvPicPr>
          <p:nvPr/>
        </p:nvPicPr>
        <p:blipFill rotWithShape="1">
          <a:blip r:embed="rId4">
            <a:extLst>
              <a:ext uri="{28A0092B-C50C-407E-A947-70E740481C1C}">
                <a14:useLocalDpi xmlns:a14="http://schemas.microsoft.com/office/drawing/2010/main" val="0"/>
              </a:ext>
            </a:extLst>
          </a:blip>
          <a:srcRect l="9933" t="10478" r="7961" b="8759"/>
          <a:stretch/>
        </p:blipFill>
        <p:spPr bwMode="auto">
          <a:xfrm>
            <a:off x="2177267" y="1368468"/>
            <a:ext cx="857473" cy="857250"/>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p:cNvGrpSpPr/>
          <p:nvPr/>
        </p:nvGrpSpPr>
        <p:grpSpPr>
          <a:xfrm>
            <a:off x="5111486" y="2299634"/>
            <a:ext cx="857473" cy="857250"/>
            <a:chOff x="4204532" y="4351742"/>
            <a:chExt cx="1143000" cy="1143000"/>
          </a:xfrm>
        </p:grpSpPr>
        <p:sp>
          <p:nvSpPr>
            <p:cNvPr id="12" name="Rectangle 11"/>
            <p:cNvSpPr/>
            <p:nvPr/>
          </p:nvSpPr>
          <p:spPr bwMode="auto">
            <a:xfrm>
              <a:off x="4204532" y="4351742"/>
              <a:ext cx="1143000" cy="1143000"/>
            </a:xfrm>
            <a:prstGeom prst="rect">
              <a:avLst/>
            </a:prstGeom>
            <a:solidFill>
              <a:srgbClr val="F4B00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685637" fontAlgn="base">
                <a:spcBef>
                  <a:spcPct val="0"/>
                </a:spcBef>
                <a:spcAft>
                  <a:spcPct val="0"/>
                </a:spcAft>
              </a:pPr>
              <a:endParaRPr lang="en-US" dirty="0" err="1" smtClean="0">
                <a:solidFill>
                  <a:schemeClr val="tx1"/>
                </a:solidFill>
                <a:ea typeface="Segoe UI" pitchFamily="34" charset="0"/>
                <a:cs typeface="Segoe UI" pitchFamily="34" charset="0"/>
              </a:endParaRPr>
            </a:p>
          </p:txBody>
        </p:sp>
        <p:pic>
          <p:nvPicPr>
            <p:cNvPr id="13" name="Picture 9" descr="C:\Users\scottjac\Desktop\thumbnailCAGWLA23.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04532" y="4351742"/>
              <a:ext cx="1143000" cy="1143000"/>
            </a:xfrm>
            <a:prstGeom prst="roundRect">
              <a:avLst>
                <a:gd name="adj" fmla="val 8594"/>
              </a:avLst>
            </a:prstGeom>
            <a:solidFill>
              <a:srgbClr val="FFFFFF">
                <a:shade val="85000"/>
              </a:srgbClr>
            </a:solidFill>
            <a:ln>
              <a:noFill/>
            </a:ln>
            <a:effectLst/>
            <a:extLst/>
          </p:spPr>
        </p:pic>
      </p:grpSp>
      <p:pic>
        <p:nvPicPr>
          <p:cNvPr id="14" name="Picture 2" descr="C:\Users\scottjac\Desktop\Logos\thumbnailCAFCKBDG.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127246" y="2299634"/>
            <a:ext cx="857473" cy="857250"/>
          </a:xfrm>
          <a:prstGeom prst="rect">
            <a:avLst/>
          </a:prstGeom>
          <a:ln w="19050" cap="sq">
            <a:solidFill>
              <a:srgbClr val="000000"/>
            </a:solidFill>
            <a:prstDash val="solid"/>
            <a:miter lim="800000"/>
          </a:ln>
          <a:effectLst>
            <a:outerShdw blurRad="50800" dist="38100" dir="2700000" algn="tl" rotWithShape="0">
              <a:srgbClr val="000000">
                <a:alpha val="43000"/>
              </a:srgbClr>
            </a:outerShdw>
          </a:effectLst>
          <a:extLst/>
        </p:spPr>
      </p:pic>
      <p:pic>
        <p:nvPicPr>
          <p:cNvPr id="15" name="Picture 14" descr="C:\Users\scottjac\Desktop\thumbnailCAVDPEZD.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77267" y="2299634"/>
            <a:ext cx="857473" cy="857250"/>
          </a:xfrm>
          <a:prstGeom prst="rect">
            <a:avLst/>
          </a:prstGeom>
          <a:noFill/>
          <a:ln>
            <a:noFill/>
          </a:ln>
          <a:extLst/>
        </p:spPr>
      </p:pic>
      <p:grpSp>
        <p:nvGrpSpPr>
          <p:cNvPr id="16" name="Group 27"/>
          <p:cNvGrpSpPr>
            <a:grpSpLocks noChangeAspect="1"/>
          </p:cNvGrpSpPr>
          <p:nvPr/>
        </p:nvGrpSpPr>
        <p:grpSpPr bwMode="auto">
          <a:xfrm>
            <a:off x="4136273" y="1368468"/>
            <a:ext cx="857475" cy="857764"/>
            <a:chOff x="3006" y="1331"/>
            <a:chExt cx="1660" cy="1661"/>
          </a:xfrm>
        </p:grpSpPr>
        <p:sp>
          <p:nvSpPr>
            <p:cNvPr id="17" name="Freeform 29"/>
            <p:cNvSpPr>
              <a:spLocks/>
            </p:cNvSpPr>
            <p:nvPr/>
          </p:nvSpPr>
          <p:spPr bwMode="auto">
            <a:xfrm>
              <a:off x="3006" y="1331"/>
              <a:ext cx="1660" cy="1661"/>
            </a:xfrm>
            <a:custGeom>
              <a:avLst/>
              <a:gdLst>
                <a:gd name="T0" fmla="*/ 0 w 1660"/>
                <a:gd name="T1" fmla="*/ 0 h 1661"/>
                <a:gd name="T2" fmla="*/ 1660 w 1660"/>
                <a:gd name="T3" fmla="*/ 0 h 1661"/>
                <a:gd name="T4" fmla="*/ 1660 w 1660"/>
                <a:gd name="T5" fmla="*/ 1661 h 1661"/>
                <a:gd name="T6" fmla="*/ 0 w 1660"/>
                <a:gd name="T7" fmla="*/ 1661 h 1661"/>
                <a:gd name="T8" fmla="*/ 0 w 1660"/>
                <a:gd name="T9" fmla="*/ 0 h 1661"/>
                <a:gd name="T10" fmla="*/ 0 w 1660"/>
                <a:gd name="T11" fmla="*/ 0 h 1661"/>
              </a:gdLst>
              <a:ahLst/>
              <a:cxnLst>
                <a:cxn ang="0">
                  <a:pos x="T0" y="T1"/>
                </a:cxn>
                <a:cxn ang="0">
                  <a:pos x="T2" y="T3"/>
                </a:cxn>
                <a:cxn ang="0">
                  <a:pos x="T4" y="T5"/>
                </a:cxn>
                <a:cxn ang="0">
                  <a:pos x="T6" y="T7"/>
                </a:cxn>
                <a:cxn ang="0">
                  <a:pos x="T8" y="T9"/>
                </a:cxn>
                <a:cxn ang="0">
                  <a:pos x="T10" y="T11"/>
                </a:cxn>
              </a:cxnLst>
              <a:rect l="0" t="0" r="r" b="b"/>
              <a:pathLst>
                <a:path w="1660" h="1661">
                  <a:moveTo>
                    <a:pt x="0" y="0"/>
                  </a:moveTo>
                  <a:lnTo>
                    <a:pt x="1660" y="0"/>
                  </a:lnTo>
                  <a:lnTo>
                    <a:pt x="1660" y="1661"/>
                  </a:lnTo>
                  <a:lnTo>
                    <a:pt x="0" y="1661"/>
                  </a:lnTo>
                  <a:lnTo>
                    <a:pt x="0" y="0"/>
                  </a:lnTo>
                  <a:lnTo>
                    <a:pt x="0" y="0"/>
                  </a:lnTo>
                  <a:close/>
                </a:path>
              </a:pathLst>
            </a:custGeom>
            <a:solidFill>
              <a:srgbClr val="EE8B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30"/>
            <p:cNvSpPr>
              <a:spLocks noEditPoints="1"/>
            </p:cNvSpPr>
            <p:nvPr/>
          </p:nvSpPr>
          <p:spPr bwMode="auto">
            <a:xfrm>
              <a:off x="3006" y="2305"/>
              <a:ext cx="687" cy="687"/>
            </a:xfrm>
            <a:custGeom>
              <a:avLst/>
              <a:gdLst>
                <a:gd name="T0" fmla="*/ 156 w 291"/>
                <a:gd name="T1" fmla="*/ 145 h 291"/>
                <a:gd name="T2" fmla="*/ 138 w 291"/>
                <a:gd name="T3" fmla="*/ 163 h 291"/>
                <a:gd name="T4" fmla="*/ 126 w 291"/>
                <a:gd name="T5" fmla="*/ 151 h 291"/>
                <a:gd name="T6" fmla="*/ 144 w 291"/>
                <a:gd name="T7" fmla="*/ 132 h 291"/>
                <a:gd name="T8" fmla="*/ 97 w 291"/>
                <a:gd name="T9" fmla="*/ 85 h 291"/>
                <a:gd name="T10" fmla="*/ 79 w 291"/>
                <a:gd name="T11" fmla="*/ 81 h 291"/>
                <a:gd name="T12" fmla="*/ 68 w 291"/>
                <a:gd name="T13" fmla="*/ 80 h 291"/>
                <a:gd name="T14" fmla="*/ 70 w 291"/>
                <a:gd name="T15" fmla="*/ 66 h 291"/>
                <a:gd name="T16" fmla="*/ 128 w 291"/>
                <a:gd name="T17" fmla="*/ 7 h 291"/>
                <a:gd name="T18" fmla="*/ 142 w 291"/>
                <a:gd name="T19" fmla="*/ 6 h 291"/>
                <a:gd name="T20" fmla="*/ 143 w 291"/>
                <a:gd name="T21" fmla="*/ 16 h 291"/>
                <a:gd name="T22" fmla="*/ 148 w 291"/>
                <a:gd name="T23" fmla="*/ 35 h 291"/>
                <a:gd name="T24" fmla="*/ 256 w 291"/>
                <a:gd name="T25" fmla="*/ 143 h 291"/>
                <a:gd name="T26" fmla="*/ 275 w 291"/>
                <a:gd name="T27" fmla="*/ 148 h 291"/>
                <a:gd name="T28" fmla="*/ 285 w 291"/>
                <a:gd name="T29" fmla="*/ 149 h 291"/>
                <a:gd name="T30" fmla="*/ 283 w 291"/>
                <a:gd name="T31" fmla="*/ 163 h 291"/>
                <a:gd name="T32" fmla="*/ 225 w 291"/>
                <a:gd name="T33" fmla="*/ 221 h 291"/>
                <a:gd name="T34" fmla="*/ 211 w 291"/>
                <a:gd name="T35" fmla="*/ 223 h 291"/>
                <a:gd name="T36" fmla="*/ 210 w 291"/>
                <a:gd name="T37" fmla="*/ 212 h 291"/>
                <a:gd name="T38" fmla="*/ 206 w 291"/>
                <a:gd name="T39" fmla="*/ 194 h 291"/>
                <a:gd name="T40" fmla="*/ 156 w 291"/>
                <a:gd name="T41" fmla="*/ 145 h 291"/>
                <a:gd name="T42" fmla="*/ 155 w 291"/>
                <a:gd name="T43" fmla="*/ 291 h 291"/>
                <a:gd name="T44" fmla="*/ 131 w 291"/>
                <a:gd name="T45" fmla="*/ 291 h 291"/>
                <a:gd name="T46" fmla="*/ 131 w 291"/>
                <a:gd name="T47" fmla="*/ 291 h 291"/>
                <a:gd name="T48" fmla="*/ 127 w 291"/>
                <a:gd name="T49" fmla="*/ 272 h 291"/>
                <a:gd name="T50" fmla="*/ 19 w 291"/>
                <a:gd name="T51" fmla="*/ 164 h 291"/>
                <a:gd name="T52" fmla="*/ 0 w 291"/>
                <a:gd name="T53" fmla="*/ 159 h 291"/>
                <a:gd name="T54" fmla="*/ 0 w 291"/>
                <a:gd name="T55" fmla="*/ 160 h 291"/>
                <a:gd name="T56" fmla="*/ 0 w 291"/>
                <a:gd name="T57" fmla="*/ 136 h 291"/>
                <a:gd name="T58" fmla="*/ 50 w 291"/>
                <a:gd name="T59" fmla="*/ 86 h 291"/>
                <a:gd name="T60" fmla="*/ 64 w 291"/>
                <a:gd name="T61" fmla="*/ 84 h 291"/>
                <a:gd name="T62" fmla="*/ 65 w 291"/>
                <a:gd name="T63" fmla="*/ 95 h 291"/>
                <a:gd name="T64" fmla="*/ 69 w 291"/>
                <a:gd name="T65" fmla="*/ 113 h 291"/>
                <a:gd name="T66" fmla="*/ 178 w 291"/>
                <a:gd name="T67" fmla="*/ 222 h 291"/>
                <a:gd name="T68" fmla="*/ 196 w 291"/>
                <a:gd name="T69" fmla="*/ 226 h 291"/>
                <a:gd name="T70" fmla="*/ 206 w 291"/>
                <a:gd name="T71" fmla="*/ 227 h 291"/>
                <a:gd name="T72" fmla="*/ 205 w 291"/>
                <a:gd name="T73" fmla="*/ 241 h 291"/>
                <a:gd name="T74" fmla="*/ 155 w 291"/>
                <a:gd name="T75" fmla="*/ 291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91" h="291">
                  <a:moveTo>
                    <a:pt x="156" y="145"/>
                  </a:moveTo>
                  <a:cubicBezTo>
                    <a:pt x="138" y="163"/>
                    <a:pt x="138" y="163"/>
                    <a:pt x="138" y="163"/>
                  </a:cubicBezTo>
                  <a:cubicBezTo>
                    <a:pt x="126" y="151"/>
                    <a:pt x="126" y="151"/>
                    <a:pt x="126" y="151"/>
                  </a:cubicBezTo>
                  <a:cubicBezTo>
                    <a:pt x="144" y="132"/>
                    <a:pt x="144" y="132"/>
                    <a:pt x="144" y="132"/>
                  </a:cubicBezTo>
                  <a:cubicBezTo>
                    <a:pt x="97" y="85"/>
                    <a:pt x="97" y="85"/>
                    <a:pt x="97" y="85"/>
                  </a:cubicBezTo>
                  <a:cubicBezTo>
                    <a:pt x="89" y="78"/>
                    <a:pt x="88" y="76"/>
                    <a:pt x="79" y="81"/>
                  </a:cubicBezTo>
                  <a:cubicBezTo>
                    <a:pt x="75" y="83"/>
                    <a:pt x="71" y="83"/>
                    <a:pt x="68" y="80"/>
                  </a:cubicBezTo>
                  <a:cubicBezTo>
                    <a:pt x="62" y="74"/>
                    <a:pt x="69" y="67"/>
                    <a:pt x="70" y="66"/>
                  </a:cubicBezTo>
                  <a:cubicBezTo>
                    <a:pt x="128" y="7"/>
                    <a:pt x="128" y="7"/>
                    <a:pt x="128" y="7"/>
                  </a:cubicBezTo>
                  <a:cubicBezTo>
                    <a:pt x="129" y="7"/>
                    <a:pt x="136" y="0"/>
                    <a:pt x="142" y="6"/>
                  </a:cubicBezTo>
                  <a:cubicBezTo>
                    <a:pt x="145" y="9"/>
                    <a:pt x="145" y="13"/>
                    <a:pt x="143" y="16"/>
                  </a:cubicBezTo>
                  <a:cubicBezTo>
                    <a:pt x="138" y="26"/>
                    <a:pt x="140" y="27"/>
                    <a:pt x="148" y="35"/>
                  </a:cubicBezTo>
                  <a:cubicBezTo>
                    <a:pt x="256" y="143"/>
                    <a:pt x="256" y="143"/>
                    <a:pt x="256" y="143"/>
                  </a:cubicBezTo>
                  <a:cubicBezTo>
                    <a:pt x="264" y="151"/>
                    <a:pt x="265" y="153"/>
                    <a:pt x="275" y="148"/>
                  </a:cubicBezTo>
                  <a:cubicBezTo>
                    <a:pt x="278" y="146"/>
                    <a:pt x="282" y="146"/>
                    <a:pt x="285" y="149"/>
                  </a:cubicBezTo>
                  <a:cubicBezTo>
                    <a:pt x="291" y="155"/>
                    <a:pt x="284" y="162"/>
                    <a:pt x="283" y="163"/>
                  </a:cubicBezTo>
                  <a:cubicBezTo>
                    <a:pt x="225" y="221"/>
                    <a:pt x="225" y="221"/>
                    <a:pt x="225" y="221"/>
                  </a:cubicBezTo>
                  <a:cubicBezTo>
                    <a:pt x="224" y="222"/>
                    <a:pt x="217" y="229"/>
                    <a:pt x="211" y="223"/>
                  </a:cubicBezTo>
                  <a:cubicBezTo>
                    <a:pt x="208" y="220"/>
                    <a:pt x="208" y="216"/>
                    <a:pt x="210" y="212"/>
                  </a:cubicBezTo>
                  <a:cubicBezTo>
                    <a:pt x="215" y="203"/>
                    <a:pt x="213" y="202"/>
                    <a:pt x="206" y="194"/>
                  </a:cubicBezTo>
                  <a:cubicBezTo>
                    <a:pt x="156" y="145"/>
                    <a:pt x="156" y="145"/>
                    <a:pt x="156" y="145"/>
                  </a:cubicBezTo>
                  <a:close/>
                  <a:moveTo>
                    <a:pt x="155" y="291"/>
                  </a:moveTo>
                  <a:cubicBezTo>
                    <a:pt x="131" y="291"/>
                    <a:pt x="131" y="291"/>
                    <a:pt x="131" y="291"/>
                  </a:cubicBezTo>
                  <a:cubicBezTo>
                    <a:pt x="131" y="291"/>
                    <a:pt x="131" y="291"/>
                    <a:pt x="131" y="291"/>
                  </a:cubicBezTo>
                  <a:cubicBezTo>
                    <a:pt x="136" y="281"/>
                    <a:pt x="135" y="280"/>
                    <a:pt x="127" y="272"/>
                  </a:cubicBezTo>
                  <a:cubicBezTo>
                    <a:pt x="19" y="164"/>
                    <a:pt x="19" y="164"/>
                    <a:pt x="19" y="164"/>
                  </a:cubicBezTo>
                  <a:cubicBezTo>
                    <a:pt x="11" y="156"/>
                    <a:pt x="10" y="155"/>
                    <a:pt x="0" y="159"/>
                  </a:cubicBezTo>
                  <a:cubicBezTo>
                    <a:pt x="0" y="160"/>
                    <a:pt x="0" y="160"/>
                    <a:pt x="0" y="160"/>
                  </a:cubicBezTo>
                  <a:cubicBezTo>
                    <a:pt x="0" y="136"/>
                    <a:pt x="0" y="136"/>
                    <a:pt x="0" y="136"/>
                  </a:cubicBezTo>
                  <a:cubicBezTo>
                    <a:pt x="50" y="86"/>
                    <a:pt x="50" y="86"/>
                    <a:pt x="50" y="86"/>
                  </a:cubicBezTo>
                  <a:cubicBezTo>
                    <a:pt x="51" y="85"/>
                    <a:pt x="58" y="78"/>
                    <a:pt x="64" y="84"/>
                  </a:cubicBezTo>
                  <a:cubicBezTo>
                    <a:pt x="67" y="87"/>
                    <a:pt x="67" y="91"/>
                    <a:pt x="65" y="95"/>
                  </a:cubicBezTo>
                  <a:cubicBezTo>
                    <a:pt x="60" y="104"/>
                    <a:pt x="62" y="105"/>
                    <a:pt x="69" y="113"/>
                  </a:cubicBezTo>
                  <a:cubicBezTo>
                    <a:pt x="178" y="222"/>
                    <a:pt x="178" y="222"/>
                    <a:pt x="178" y="222"/>
                  </a:cubicBezTo>
                  <a:cubicBezTo>
                    <a:pt x="186" y="229"/>
                    <a:pt x="187" y="231"/>
                    <a:pt x="196" y="226"/>
                  </a:cubicBezTo>
                  <a:cubicBezTo>
                    <a:pt x="200" y="224"/>
                    <a:pt x="204" y="224"/>
                    <a:pt x="206" y="227"/>
                  </a:cubicBezTo>
                  <a:cubicBezTo>
                    <a:pt x="212" y="233"/>
                    <a:pt x="206" y="240"/>
                    <a:pt x="205" y="241"/>
                  </a:cubicBezTo>
                  <a:cubicBezTo>
                    <a:pt x="155" y="291"/>
                    <a:pt x="155" y="291"/>
                    <a:pt x="155" y="29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31"/>
            <p:cNvSpPr>
              <a:spLocks noEditPoints="1"/>
            </p:cNvSpPr>
            <p:nvPr/>
          </p:nvSpPr>
          <p:spPr bwMode="auto">
            <a:xfrm>
              <a:off x="4062" y="1331"/>
              <a:ext cx="604" cy="605"/>
            </a:xfrm>
            <a:custGeom>
              <a:avLst/>
              <a:gdLst>
                <a:gd name="T0" fmla="*/ 7 w 256"/>
                <a:gd name="T1" fmla="*/ 94 h 256"/>
                <a:gd name="T2" fmla="*/ 61 w 256"/>
                <a:gd name="T3" fmla="*/ 39 h 256"/>
                <a:gd name="T4" fmla="*/ 217 w 256"/>
                <a:gd name="T5" fmla="*/ 194 h 256"/>
                <a:gd name="T6" fmla="*/ 162 w 256"/>
                <a:gd name="T7" fmla="*/ 249 h 256"/>
                <a:gd name="T8" fmla="*/ 148 w 256"/>
                <a:gd name="T9" fmla="*/ 250 h 256"/>
                <a:gd name="T10" fmla="*/ 147 w 256"/>
                <a:gd name="T11" fmla="*/ 240 h 256"/>
                <a:gd name="T12" fmla="*/ 143 w 256"/>
                <a:gd name="T13" fmla="*/ 222 h 256"/>
                <a:gd name="T14" fmla="*/ 34 w 256"/>
                <a:gd name="T15" fmla="*/ 113 h 256"/>
                <a:gd name="T16" fmla="*/ 16 w 256"/>
                <a:gd name="T17" fmla="*/ 109 h 256"/>
                <a:gd name="T18" fmla="*/ 6 w 256"/>
                <a:gd name="T19" fmla="*/ 108 h 256"/>
                <a:gd name="T20" fmla="*/ 7 w 256"/>
                <a:gd name="T21" fmla="*/ 94 h 256"/>
                <a:gd name="T22" fmla="*/ 101 w 256"/>
                <a:gd name="T23" fmla="*/ 0 h 256"/>
                <a:gd name="T24" fmla="*/ 133 w 256"/>
                <a:gd name="T25" fmla="*/ 0 h 256"/>
                <a:gd name="T26" fmla="*/ 159 w 256"/>
                <a:gd name="T27" fmla="*/ 26 h 256"/>
                <a:gd name="T28" fmla="*/ 158 w 256"/>
                <a:gd name="T29" fmla="*/ 37 h 256"/>
                <a:gd name="T30" fmla="*/ 147 w 256"/>
                <a:gd name="T31" fmla="*/ 38 h 256"/>
                <a:gd name="T32" fmla="*/ 83 w 256"/>
                <a:gd name="T33" fmla="*/ 42 h 256"/>
                <a:gd name="T34" fmla="*/ 71 w 256"/>
                <a:gd name="T35" fmla="*/ 30 h 256"/>
                <a:gd name="T36" fmla="*/ 101 w 256"/>
                <a:gd name="T37" fmla="*/ 0 h 256"/>
                <a:gd name="T38" fmla="*/ 256 w 256"/>
                <a:gd name="T39" fmla="*/ 120 h 256"/>
                <a:gd name="T40" fmla="*/ 256 w 256"/>
                <a:gd name="T41" fmla="*/ 155 h 256"/>
                <a:gd name="T42" fmla="*/ 226 w 256"/>
                <a:gd name="T43" fmla="*/ 185 h 256"/>
                <a:gd name="T44" fmla="*/ 214 w 256"/>
                <a:gd name="T45" fmla="*/ 173 h 256"/>
                <a:gd name="T46" fmla="*/ 219 w 256"/>
                <a:gd name="T47" fmla="*/ 108 h 256"/>
                <a:gd name="T48" fmla="*/ 219 w 256"/>
                <a:gd name="T49" fmla="*/ 95 h 256"/>
                <a:gd name="T50" fmla="*/ 232 w 256"/>
                <a:gd name="T51" fmla="*/ 96 h 256"/>
                <a:gd name="T52" fmla="*/ 256 w 256"/>
                <a:gd name="T53" fmla="*/ 120 h 256"/>
                <a:gd name="T54" fmla="*/ 140 w 256"/>
                <a:gd name="T55" fmla="*/ 99 h 256"/>
                <a:gd name="T56" fmla="*/ 136 w 256"/>
                <a:gd name="T57" fmla="*/ 66 h 256"/>
                <a:gd name="T58" fmla="*/ 136 w 256"/>
                <a:gd name="T59" fmla="*/ 53 h 256"/>
                <a:gd name="T60" fmla="*/ 151 w 256"/>
                <a:gd name="T61" fmla="*/ 57 h 256"/>
                <a:gd name="T62" fmla="*/ 195 w 256"/>
                <a:gd name="T63" fmla="*/ 102 h 256"/>
                <a:gd name="T64" fmla="*/ 199 w 256"/>
                <a:gd name="T65" fmla="*/ 116 h 256"/>
                <a:gd name="T66" fmla="*/ 186 w 256"/>
                <a:gd name="T67" fmla="*/ 116 h 256"/>
                <a:gd name="T68" fmla="*/ 153 w 256"/>
                <a:gd name="T69" fmla="*/ 112 h 256"/>
                <a:gd name="T70" fmla="*/ 140 w 256"/>
                <a:gd name="T71" fmla="*/ 9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56">
                  <a:moveTo>
                    <a:pt x="7" y="94"/>
                  </a:moveTo>
                  <a:cubicBezTo>
                    <a:pt x="61" y="39"/>
                    <a:pt x="61" y="39"/>
                    <a:pt x="61" y="39"/>
                  </a:cubicBezTo>
                  <a:cubicBezTo>
                    <a:pt x="217" y="194"/>
                    <a:pt x="217" y="194"/>
                    <a:pt x="217" y="194"/>
                  </a:cubicBezTo>
                  <a:cubicBezTo>
                    <a:pt x="162" y="249"/>
                    <a:pt x="162" y="249"/>
                    <a:pt x="162" y="249"/>
                  </a:cubicBezTo>
                  <a:cubicBezTo>
                    <a:pt x="161" y="250"/>
                    <a:pt x="154" y="256"/>
                    <a:pt x="148" y="250"/>
                  </a:cubicBezTo>
                  <a:cubicBezTo>
                    <a:pt x="145" y="248"/>
                    <a:pt x="145" y="244"/>
                    <a:pt x="147" y="240"/>
                  </a:cubicBezTo>
                  <a:cubicBezTo>
                    <a:pt x="152" y="231"/>
                    <a:pt x="150" y="230"/>
                    <a:pt x="143" y="222"/>
                  </a:cubicBezTo>
                  <a:cubicBezTo>
                    <a:pt x="34" y="113"/>
                    <a:pt x="34" y="113"/>
                    <a:pt x="34" y="113"/>
                  </a:cubicBezTo>
                  <a:cubicBezTo>
                    <a:pt x="26" y="106"/>
                    <a:pt x="25" y="104"/>
                    <a:pt x="16" y="109"/>
                  </a:cubicBezTo>
                  <a:cubicBezTo>
                    <a:pt x="12" y="111"/>
                    <a:pt x="8" y="111"/>
                    <a:pt x="6" y="108"/>
                  </a:cubicBezTo>
                  <a:cubicBezTo>
                    <a:pt x="0" y="102"/>
                    <a:pt x="6" y="95"/>
                    <a:pt x="7" y="94"/>
                  </a:cubicBezTo>
                  <a:close/>
                  <a:moveTo>
                    <a:pt x="101" y="0"/>
                  </a:moveTo>
                  <a:cubicBezTo>
                    <a:pt x="133" y="0"/>
                    <a:pt x="133" y="0"/>
                    <a:pt x="133" y="0"/>
                  </a:cubicBezTo>
                  <a:cubicBezTo>
                    <a:pt x="159" y="26"/>
                    <a:pt x="159" y="26"/>
                    <a:pt x="159" y="26"/>
                  </a:cubicBezTo>
                  <a:cubicBezTo>
                    <a:pt x="160" y="27"/>
                    <a:pt x="164" y="31"/>
                    <a:pt x="158" y="37"/>
                  </a:cubicBezTo>
                  <a:cubicBezTo>
                    <a:pt x="154" y="41"/>
                    <a:pt x="151" y="40"/>
                    <a:pt x="147" y="38"/>
                  </a:cubicBezTo>
                  <a:cubicBezTo>
                    <a:pt x="125" y="26"/>
                    <a:pt x="104" y="27"/>
                    <a:pt x="83" y="42"/>
                  </a:cubicBezTo>
                  <a:cubicBezTo>
                    <a:pt x="71" y="30"/>
                    <a:pt x="71" y="30"/>
                    <a:pt x="71" y="30"/>
                  </a:cubicBezTo>
                  <a:cubicBezTo>
                    <a:pt x="101" y="0"/>
                    <a:pt x="101" y="0"/>
                    <a:pt x="101" y="0"/>
                  </a:cubicBezTo>
                  <a:close/>
                  <a:moveTo>
                    <a:pt x="256" y="120"/>
                  </a:moveTo>
                  <a:cubicBezTo>
                    <a:pt x="256" y="155"/>
                    <a:pt x="256" y="155"/>
                    <a:pt x="256" y="155"/>
                  </a:cubicBezTo>
                  <a:cubicBezTo>
                    <a:pt x="226" y="185"/>
                    <a:pt x="226" y="185"/>
                    <a:pt x="226" y="185"/>
                  </a:cubicBezTo>
                  <a:cubicBezTo>
                    <a:pt x="214" y="173"/>
                    <a:pt x="214" y="173"/>
                    <a:pt x="214" y="173"/>
                  </a:cubicBezTo>
                  <a:cubicBezTo>
                    <a:pt x="229" y="154"/>
                    <a:pt x="230" y="130"/>
                    <a:pt x="219" y="108"/>
                  </a:cubicBezTo>
                  <a:cubicBezTo>
                    <a:pt x="217" y="103"/>
                    <a:pt x="215" y="99"/>
                    <a:pt x="219" y="95"/>
                  </a:cubicBezTo>
                  <a:cubicBezTo>
                    <a:pt x="226" y="88"/>
                    <a:pt x="231" y="95"/>
                    <a:pt x="232" y="96"/>
                  </a:cubicBezTo>
                  <a:cubicBezTo>
                    <a:pt x="256" y="120"/>
                    <a:pt x="256" y="120"/>
                    <a:pt x="256" y="120"/>
                  </a:cubicBezTo>
                  <a:close/>
                  <a:moveTo>
                    <a:pt x="140" y="99"/>
                  </a:moveTo>
                  <a:cubicBezTo>
                    <a:pt x="147" y="88"/>
                    <a:pt x="142" y="76"/>
                    <a:pt x="136" y="66"/>
                  </a:cubicBezTo>
                  <a:cubicBezTo>
                    <a:pt x="134" y="62"/>
                    <a:pt x="132" y="57"/>
                    <a:pt x="136" y="53"/>
                  </a:cubicBezTo>
                  <a:cubicBezTo>
                    <a:pt x="143" y="47"/>
                    <a:pt x="149" y="55"/>
                    <a:pt x="151" y="57"/>
                  </a:cubicBezTo>
                  <a:cubicBezTo>
                    <a:pt x="195" y="102"/>
                    <a:pt x="195" y="102"/>
                    <a:pt x="195" y="102"/>
                  </a:cubicBezTo>
                  <a:cubicBezTo>
                    <a:pt x="197" y="103"/>
                    <a:pt x="206" y="110"/>
                    <a:pt x="199" y="116"/>
                  </a:cubicBezTo>
                  <a:cubicBezTo>
                    <a:pt x="195" y="120"/>
                    <a:pt x="190" y="118"/>
                    <a:pt x="186" y="116"/>
                  </a:cubicBezTo>
                  <a:cubicBezTo>
                    <a:pt x="176" y="110"/>
                    <a:pt x="164" y="106"/>
                    <a:pt x="153" y="112"/>
                  </a:cubicBezTo>
                  <a:cubicBezTo>
                    <a:pt x="140" y="99"/>
                    <a:pt x="140" y="99"/>
                    <a:pt x="140" y="9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32"/>
            <p:cNvSpPr>
              <a:spLocks/>
            </p:cNvSpPr>
            <p:nvPr/>
          </p:nvSpPr>
          <p:spPr bwMode="auto">
            <a:xfrm>
              <a:off x="3648" y="2725"/>
              <a:ext cx="288" cy="267"/>
            </a:xfrm>
            <a:custGeom>
              <a:avLst/>
              <a:gdLst>
                <a:gd name="T0" fmla="*/ 122 w 122"/>
                <a:gd name="T1" fmla="*/ 87 h 113"/>
                <a:gd name="T2" fmla="*/ 97 w 122"/>
                <a:gd name="T3" fmla="*/ 113 h 113"/>
                <a:gd name="T4" fmla="*/ 83 w 122"/>
                <a:gd name="T5" fmla="*/ 113 h 113"/>
                <a:gd name="T6" fmla="*/ 84 w 122"/>
                <a:gd name="T7" fmla="*/ 110 h 113"/>
                <a:gd name="T8" fmla="*/ 81 w 122"/>
                <a:gd name="T9" fmla="*/ 103 h 113"/>
                <a:gd name="T10" fmla="*/ 20 w 122"/>
                <a:gd name="T11" fmla="*/ 42 h 113"/>
                <a:gd name="T12" fmla="*/ 12 w 122"/>
                <a:gd name="T13" fmla="*/ 38 h 113"/>
                <a:gd name="T14" fmla="*/ 3 w 122"/>
                <a:gd name="T15" fmla="*/ 39 h 113"/>
                <a:gd name="T16" fmla="*/ 5 w 122"/>
                <a:gd name="T17" fmla="*/ 30 h 113"/>
                <a:gd name="T18" fmla="*/ 35 w 122"/>
                <a:gd name="T19" fmla="*/ 0 h 113"/>
                <a:gd name="T20" fmla="*/ 122 w 122"/>
                <a:gd name="T21" fmla="*/ 87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13">
                  <a:moveTo>
                    <a:pt x="122" y="87"/>
                  </a:moveTo>
                  <a:cubicBezTo>
                    <a:pt x="97" y="113"/>
                    <a:pt x="97" y="113"/>
                    <a:pt x="97" y="113"/>
                  </a:cubicBezTo>
                  <a:cubicBezTo>
                    <a:pt x="83" y="113"/>
                    <a:pt x="83" y="113"/>
                    <a:pt x="83" y="113"/>
                  </a:cubicBezTo>
                  <a:cubicBezTo>
                    <a:pt x="84" y="112"/>
                    <a:pt x="84" y="111"/>
                    <a:pt x="84" y="110"/>
                  </a:cubicBezTo>
                  <a:cubicBezTo>
                    <a:pt x="86" y="108"/>
                    <a:pt x="83" y="105"/>
                    <a:pt x="81" y="103"/>
                  </a:cubicBezTo>
                  <a:cubicBezTo>
                    <a:pt x="20" y="42"/>
                    <a:pt x="20" y="42"/>
                    <a:pt x="20" y="42"/>
                  </a:cubicBezTo>
                  <a:cubicBezTo>
                    <a:pt x="18" y="40"/>
                    <a:pt x="15" y="37"/>
                    <a:pt x="12" y="38"/>
                  </a:cubicBezTo>
                  <a:cubicBezTo>
                    <a:pt x="9" y="40"/>
                    <a:pt x="6" y="42"/>
                    <a:pt x="3" y="39"/>
                  </a:cubicBezTo>
                  <a:cubicBezTo>
                    <a:pt x="0" y="36"/>
                    <a:pt x="3" y="32"/>
                    <a:pt x="5" y="30"/>
                  </a:cubicBezTo>
                  <a:cubicBezTo>
                    <a:pt x="35" y="0"/>
                    <a:pt x="35" y="0"/>
                    <a:pt x="35" y="0"/>
                  </a:cubicBezTo>
                  <a:cubicBezTo>
                    <a:pt x="122" y="87"/>
                    <a:pt x="122" y="87"/>
                    <a:pt x="122" y="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33"/>
            <p:cNvSpPr>
              <a:spLocks noEditPoints="1"/>
            </p:cNvSpPr>
            <p:nvPr/>
          </p:nvSpPr>
          <p:spPr bwMode="auto">
            <a:xfrm>
              <a:off x="4347" y="1938"/>
              <a:ext cx="319" cy="341"/>
            </a:xfrm>
            <a:custGeom>
              <a:avLst/>
              <a:gdLst>
                <a:gd name="T0" fmla="*/ 22 w 135"/>
                <a:gd name="T1" fmla="*/ 50 h 144"/>
                <a:gd name="T2" fmla="*/ 51 w 135"/>
                <a:gd name="T3" fmla="*/ 22 h 144"/>
                <a:gd name="T4" fmla="*/ 125 w 135"/>
                <a:gd name="T5" fmla="*/ 96 h 144"/>
                <a:gd name="T6" fmla="*/ 135 w 135"/>
                <a:gd name="T7" fmla="*/ 98 h 144"/>
                <a:gd name="T8" fmla="*/ 135 w 135"/>
                <a:gd name="T9" fmla="*/ 112 h 144"/>
                <a:gd name="T10" fmla="*/ 107 w 135"/>
                <a:gd name="T11" fmla="*/ 140 h 144"/>
                <a:gd name="T12" fmla="*/ 99 w 135"/>
                <a:gd name="T13" fmla="*/ 140 h 144"/>
                <a:gd name="T14" fmla="*/ 99 w 135"/>
                <a:gd name="T15" fmla="*/ 135 h 144"/>
                <a:gd name="T16" fmla="*/ 96 w 135"/>
                <a:gd name="T17" fmla="*/ 124 h 144"/>
                <a:gd name="T18" fmla="*/ 22 w 135"/>
                <a:gd name="T19" fmla="*/ 50 h 144"/>
                <a:gd name="T20" fmla="*/ 100 w 135"/>
                <a:gd name="T21" fmla="*/ 27 h 144"/>
                <a:gd name="T22" fmla="*/ 99 w 135"/>
                <a:gd name="T23" fmla="*/ 34 h 144"/>
                <a:gd name="T24" fmla="*/ 90 w 135"/>
                <a:gd name="T25" fmla="*/ 33 h 144"/>
                <a:gd name="T26" fmla="*/ 63 w 135"/>
                <a:gd name="T27" fmla="*/ 23 h 144"/>
                <a:gd name="T28" fmla="*/ 56 w 135"/>
                <a:gd name="T29" fmla="*/ 16 h 144"/>
                <a:gd name="T30" fmla="*/ 73 w 135"/>
                <a:gd name="T31" fmla="*/ 0 h 144"/>
                <a:gd name="T32" fmla="*/ 100 w 135"/>
                <a:gd name="T33" fmla="*/ 27 h 144"/>
                <a:gd name="T34" fmla="*/ 0 w 135"/>
                <a:gd name="T35" fmla="*/ 72 h 144"/>
                <a:gd name="T36" fmla="*/ 17 w 135"/>
                <a:gd name="T37" fmla="*/ 56 h 144"/>
                <a:gd name="T38" fmla="*/ 24 w 135"/>
                <a:gd name="T39" fmla="*/ 62 h 144"/>
                <a:gd name="T40" fmla="*/ 33 w 135"/>
                <a:gd name="T41" fmla="*/ 89 h 144"/>
                <a:gd name="T42" fmla="*/ 34 w 135"/>
                <a:gd name="T43" fmla="*/ 99 h 144"/>
                <a:gd name="T44" fmla="*/ 27 w 135"/>
                <a:gd name="T45" fmla="*/ 99 h 144"/>
                <a:gd name="T46" fmla="*/ 0 w 135"/>
                <a:gd name="T47"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5" h="144">
                  <a:moveTo>
                    <a:pt x="22" y="50"/>
                  </a:moveTo>
                  <a:cubicBezTo>
                    <a:pt x="51" y="22"/>
                    <a:pt x="51" y="22"/>
                    <a:pt x="51" y="22"/>
                  </a:cubicBezTo>
                  <a:cubicBezTo>
                    <a:pt x="125" y="96"/>
                    <a:pt x="125" y="96"/>
                    <a:pt x="125" y="96"/>
                  </a:cubicBezTo>
                  <a:cubicBezTo>
                    <a:pt x="129" y="100"/>
                    <a:pt x="130" y="101"/>
                    <a:pt x="135" y="98"/>
                  </a:cubicBezTo>
                  <a:cubicBezTo>
                    <a:pt x="135" y="112"/>
                    <a:pt x="135" y="112"/>
                    <a:pt x="135" y="112"/>
                  </a:cubicBezTo>
                  <a:cubicBezTo>
                    <a:pt x="107" y="140"/>
                    <a:pt x="107" y="140"/>
                    <a:pt x="107" y="140"/>
                  </a:cubicBezTo>
                  <a:cubicBezTo>
                    <a:pt x="107" y="140"/>
                    <a:pt x="102" y="144"/>
                    <a:pt x="99" y="140"/>
                  </a:cubicBezTo>
                  <a:cubicBezTo>
                    <a:pt x="97" y="139"/>
                    <a:pt x="97" y="137"/>
                    <a:pt x="99" y="135"/>
                  </a:cubicBezTo>
                  <a:cubicBezTo>
                    <a:pt x="101" y="129"/>
                    <a:pt x="100" y="129"/>
                    <a:pt x="96" y="124"/>
                  </a:cubicBezTo>
                  <a:cubicBezTo>
                    <a:pt x="22" y="50"/>
                    <a:pt x="22" y="50"/>
                    <a:pt x="22" y="50"/>
                  </a:cubicBezTo>
                  <a:close/>
                  <a:moveTo>
                    <a:pt x="100" y="27"/>
                  </a:moveTo>
                  <a:cubicBezTo>
                    <a:pt x="100" y="27"/>
                    <a:pt x="103" y="31"/>
                    <a:pt x="99" y="34"/>
                  </a:cubicBezTo>
                  <a:cubicBezTo>
                    <a:pt x="96" y="37"/>
                    <a:pt x="92" y="35"/>
                    <a:pt x="90" y="33"/>
                  </a:cubicBezTo>
                  <a:cubicBezTo>
                    <a:pt x="82" y="28"/>
                    <a:pt x="73" y="21"/>
                    <a:pt x="63" y="23"/>
                  </a:cubicBezTo>
                  <a:cubicBezTo>
                    <a:pt x="56" y="16"/>
                    <a:pt x="56" y="16"/>
                    <a:pt x="56" y="16"/>
                  </a:cubicBezTo>
                  <a:cubicBezTo>
                    <a:pt x="73" y="0"/>
                    <a:pt x="73" y="0"/>
                    <a:pt x="73" y="0"/>
                  </a:cubicBezTo>
                  <a:cubicBezTo>
                    <a:pt x="100" y="27"/>
                    <a:pt x="100" y="27"/>
                    <a:pt x="100" y="27"/>
                  </a:cubicBezTo>
                  <a:close/>
                  <a:moveTo>
                    <a:pt x="0" y="72"/>
                  </a:moveTo>
                  <a:cubicBezTo>
                    <a:pt x="17" y="56"/>
                    <a:pt x="17" y="56"/>
                    <a:pt x="17" y="56"/>
                  </a:cubicBezTo>
                  <a:cubicBezTo>
                    <a:pt x="24" y="62"/>
                    <a:pt x="24" y="62"/>
                    <a:pt x="24" y="62"/>
                  </a:cubicBezTo>
                  <a:cubicBezTo>
                    <a:pt x="22" y="73"/>
                    <a:pt x="28" y="82"/>
                    <a:pt x="33" y="89"/>
                  </a:cubicBezTo>
                  <a:cubicBezTo>
                    <a:pt x="35" y="92"/>
                    <a:pt x="38" y="96"/>
                    <a:pt x="34" y="99"/>
                  </a:cubicBezTo>
                  <a:cubicBezTo>
                    <a:pt x="31" y="103"/>
                    <a:pt x="28" y="100"/>
                    <a:pt x="27" y="99"/>
                  </a:cubicBezTo>
                  <a:cubicBezTo>
                    <a:pt x="0" y="72"/>
                    <a:pt x="0" y="72"/>
                    <a:pt x="0" y="7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34"/>
            <p:cNvSpPr>
              <a:spLocks noEditPoints="1"/>
            </p:cNvSpPr>
            <p:nvPr/>
          </p:nvSpPr>
          <p:spPr bwMode="auto">
            <a:xfrm>
              <a:off x="4534" y="2864"/>
              <a:ext cx="95" cy="92"/>
            </a:xfrm>
            <a:custGeom>
              <a:avLst/>
              <a:gdLst>
                <a:gd name="T0" fmla="*/ 0 w 40"/>
                <a:gd name="T1" fmla="*/ 20 h 39"/>
                <a:gd name="T2" fmla="*/ 20 w 40"/>
                <a:gd name="T3" fmla="*/ 0 h 39"/>
                <a:gd name="T4" fmla="*/ 40 w 40"/>
                <a:gd name="T5" fmla="*/ 20 h 39"/>
                <a:gd name="T6" fmla="*/ 20 w 40"/>
                <a:gd name="T7" fmla="*/ 39 h 39"/>
                <a:gd name="T8" fmla="*/ 0 w 40"/>
                <a:gd name="T9" fmla="*/ 20 h 39"/>
                <a:gd name="T10" fmla="*/ 20 w 40"/>
                <a:gd name="T11" fmla="*/ 36 h 39"/>
                <a:gd name="T12" fmla="*/ 36 w 40"/>
                <a:gd name="T13" fmla="*/ 20 h 39"/>
                <a:gd name="T14" fmla="*/ 20 w 40"/>
                <a:gd name="T15" fmla="*/ 3 h 39"/>
                <a:gd name="T16" fmla="*/ 4 w 40"/>
                <a:gd name="T17" fmla="*/ 20 h 39"/>
                <a:gd name="T18" fmla="*/ 20 w 40"/>
                <a:gd name="T19" fmla="*/ 36 h 39"/>
                <a:gd name="T20" fmla="*/ 16 w 40"/>
                <a:gd name="T21" fmla="*/ 31 h 39"/>
                <a:gd name="T22" fmla="*/ 13 w 40"/>
                <a:gd name="T23" fmla="*/ 31 h 39"/>
                <a:gd name="T24" fmla="*/ 13 w 40"/>
                <a:gd name="T25" fmla="*/ 8 h 39"/>
                <a:gd name="T26" fmla="*/ 21 w 40"/>
                <a:gd name="T27" fmla="*/ 8 h 39"/>
                <a:gd name="T28" fmla="*/ 29 w 40"/>
                <a:gd name="T29" fmla="*/ 15 h 39"/>
                <a:gd name="T30" fmla="*/ 24 w 40"/>
                <a:gd name="T31" fmla="*/ 21 h 39"/>
                <a:gd name="T32" fmla="*/ 30 w 40"/>
                <a:gd name="T33" fmla="*/ 31 h 39"/>
                <a:gd name="T34" fmla="*/ 26 w 40"/>
                <a:gd name="T35" fmla="*/ 31 h 39"/>
                <a:gd name="T36" fmla="*/ 20 w 40"/>
                <a:gd name="T37" fmla="*/ 21 h 39"/>
                <a:gd name="T38" fmla="*/ 16 w 40"/>
                <a:gd name="T39" fmla="*/ 21 h 39"/>
                <a:gd name="T40" fmla="*/ 16 w 40"/>
                <a:gd name="T41" fmla="*/ 31 h 39"/>
                <a:gd name="T42" fmla="*/ 20 w 40"/>
                <a:gd name="T43" fmla="*/ 18 h 39"/>
                <a:gd name="T44" fmla="*/ 26 w 40"/>
                <a:gd name="T45" fmla="*/ 15 h 39"/>
                <a:gd name="T46" fmla="*/ 21 w 40"/>
                <a:gd name="T47" fmla="*/ 11 h 39"/>
                <a:gd name="T48" fmla="*/ 16 w 40"/>
                <a:gd name="T49" fmla="*/ 11 h 39"/>
                <a:gd name="T50" fmla="*/ 16 w 40"/>
                <a:gd name="T51" fmla="*/ 18 h 39"/>
                <a:gd name="T52" fmla="*/ 20 w 40"/>
                <a:gd name="T53" fmla="*/ 1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 h="39">
                  <a:moveTo>
                    <a:pt x="0" y="20"/>
                  </a:moveTo>
                  <a:cubicBezTo>
                    <a:pt x="0" y="8"/>
                    <a:pt x="9" y="0"/>
                    <a:pt x="20" y="0"/>
                  </a:cubicBezTo>
                  <a:cubicBezTo>
                    <a:pt x="31" y="0"/>
                    <a:pt x="40" y="8"/>
                    <a:pt x="40" y="20"/>
                  </a:cubicBezTo>
                  <a:cubicBezTo>
                    <a:pt x="40" y="31"/>
                    <a:pt x="31" y="39"/>
                    <a:pt x="20" y="39"/>
                  </a:cubicBezTo>
                  <a:cubicBezTo>
                    <a:pt x="9" y="39"/>
                    <a:pt x="0" y="31"/>
                    <a:pt x="0" y="20"/>
                  </a:cubicBezTo>
                  <a:close/>
                  <a:moveTo>
                    <a:pt x="20" y="36"/>
                  </a:moveTo>
                  <a:cubicBezTo>
                    <a:pt x="29" y="36"/>
                    <a:pt x="36" y="29"/>
                    <a:pt x="36" y="20"/>
                  </a:cubicBezTo>
                  <a:cubicBezTo>
                    <a:pt x="36" y="10"/>
                    <a:pt x="29" y="3"/>
                    <a:pt x="20" y="3"/>
                  </a:cubicBezTo>
                  <a:cubicBezTo>
                    <a:pt x="11" y="3"/>
                    <a:pt x="4" y="10"/>
                    <a:pt x="4" y="20"/>
                  </a:cubicBezTo>
                  <a:cubicBezTo>
                    <a:pt x="4" y="29"/>
                    <a:pt x="11" y="36"/>
                    <a:pt x="20" y="36"/>
                  </a:cubicBezTo>
                  <a:close/>
                  <a:moveTo>
                    <a:pt x="16" y="31"/>
                  </a:moveTo>
                  <a:cubicBezTo>
                    <a:pt x="13" y="31"/>
                    <a:pt x="13" y="31"/>
                    <a:pt x="13" y="31"/>
                  </a:cubicBezTo>
                  <a:cubicBezTo>
                    <a:pt x="13" y="8"/>
                    <a:pt x="13" y="8"/>
                    <a:pt x="13" y="8"/>
                  </a:cubicBezTo>
                  <a:cubicBezTo>
                    <a:pt x="21" y="8"/>
                    <a:pt x="21" y="8"/>
                    <a:pt x="21" y="8"/>
                  </a:cubicBezTo>
                  <a:cubicBezTo>
                    <a:pt x="27" y="8"/>
                    <a:pt x="29" y="10"/>
                    <a:pt x="29" y="15"/>
                  </a:cubicBezTo>
                  <a:cubicBezTo>
                    <a:pt x="29" y="19"/>
                    <a:pt x="27" y="21"/>
                    <a:pt x="24" y="21"/>
                  </a:cubicBezTo>
                  <a:cubicBezTo>
                    <a:pt x="30" y="31"/>
                    <a:pt x="30" y="31"/>
                    <a:pt x="30" y="31"/>
                  </a:cubicBezTo>
                  <a:cubicBezTo>
                    <a:pt x="26" y="31"/>
                    <a:pt x="26" y="31"/>
                    <a:pt x="26" y="31"/>
                  </a:cubicBezTo>
                  <a:cubicBezTo>
                    <a:pt x="20" y="21"/>
                    <a:pt x="20" y="21"/>
                    <a:pt x="20" y="21"/>
                  </a:cubicBezTo>
                  <a:cubicBezTo>
                    <a:pt x="16" y="21"/>
                    <a:pt x="16" y="21"/>
                    <a:pt x="16" y="21"/>
                  </a:cubicBezTo>
                  <a:cubicBezTo>
                    <a:pt x="16" y="31"/>
                    <a:pt x="16" y="31"/>
                    <a:pt x="16" y="31"/>
                  </a:cubicBezTo>
                  <a:close/>
                  <a:moveTo>
                    <a:pt x="20" y="18"/>
                  </a:moveTo>
                  <a:cubicBezTo>
                    <a:pt x="23" y="18"/>
                    <a:pt x="26" y="18"/>
                    <a:pt x="26" y="15"/>
                  </a:cubicBezTo>
                  <a:cubicBezTo>
                    <a:pt x="26" y="12"/>
                    <a:pt x="23" y="11"/>
                    <a:pt x="21" y="11"/>
                  </a:cubicBezTo>
                  <a:cubicBezTo>
                    <a:pt x="16" y="11"/>
                    <a:pt x="16" y="11"/>
                    <a:pt x="16" y="11"/>
                  </a:cubicBezTo>
                  <a:cubicBezTo>
                    <a:pt x="16" y="18"/>
                    <a:pt x="16" y="18"/>
                    <a:pt x="16" y="18"/>
                  </a:cubicBezTo>
                  <a:cubicBezTo>
                    <a:pt x="20" y="18"/>
                    <a:pt x="20" y="18"/>
                    <a:pt x="20" y="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35"/>
            <p:cNvSpPr>
              <a:spLocks noEditPoints="1"/>
            </p:cNvSpPr>
            <p:nvPr/>
          </p:nvSpPr>
          <p:spPr bwMode="auto">
            <a:xfrm>
              <a:off x="3384" y="2023"/>
              <a:ext cx="590" cy="591"/>
            </a:xfrm>
            <a:custGeom>
              <a:avLst/>
              <a:gdLst>
                <a:gd name="T0" fmla="*/ 52 w 250"/>
                <a:gd name="T1" fmla="*/ 61 h 250"/>
                <a:gd name="T2" fmla="*/ 56 w 250"/>
                <a:gd name="T3" fmla="*/ 86 h 250"/>
                <a:gd name="T4" fmla="*/ 164 w 250"/>
                <a:gd name="T5" fmla="*/ 194 h 250"/>
                <a:gd name="T6" fmla="*/ 189 w 250"/>
                <a:gd name="T7" fmla="*/ 198 h 250"/>
                <a:gd name="T8" fmla="*/ 201 w 250"/>
                <a:gd name="T9" fmla="*/ 210 h 250"/>
                <a:gd name="T10" fmla="*/ 56 w 250"/>
                <a:gd name="T11" fmla="*/ 194 h 250"/>
                <a:gd name="T12" fmla="*/ 40 w 250"/>
                <a:gd name="T13" fmla="*/ 49 h 250"/>
                <a:gd name="T14" fmla="*/ 52 w 250"/>
                <a:gd name="T15" fmla="*/ 61 h 250"/>
                <a:gd name="T16" fmla="*/ 198 w 250"/>
                <a:gd name="T17" fmla="*/ 189 h 250"/>
                <a:gd name="T18" fmla="*/ 194 w 250"/>
                <a:gd name="T19" fmla="*/ 163 h 250"/>
                <a:gd name="T20" fmla="*/ 87 w 250"/>
                <a:gd name="T21" fmla="*/ 56 h 250"/>
                <a:gd name="T22" fmla="*/ 61 w 250"/>
                <a:gd name="T23" fmla="*/ 52 h 250"/>
                <a:gd name="T24" fmla="*/ 49 w 250"/>
                <a:gd name="T25" fmla="*/ 39 h 250"/>
                <a:gd name="T26" fmla="*/ 194 w 250"/>
                <a:gd name="T27" fmla="*/ 56 h 250"/>
                <a:gd name="T28" fmla="*/ 210 w 250"/>
                <a:gd name="T29" fmla="*/ 201 h 250"/>
                <a:gd name="T30" fmla="*/ 198 w 250"/>
                <a:gd name="T31" fmla="*/ 189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0" h="250">
                  <a:moveTo>
                    <a:pt x="52" y="61"/>
                  </a:moveTo>
                  <a:cubicBezTo>
                    <a:pt x="46" y="74"/>
                    <a:pt x="51" y="81"/>
                    <a:pt x="56" y="86"/>
                  </a:cubicBezTo>
                  <a:cubicBezTo>
                    <a:pt x="164" y="194"/>
                    <a:pt x="164" y="194"/>
                    <a:pt x="164" y="194"/>
                  </a:cubicBezTo>
                  <a:cubicBezTo>
                    <a:pt x="169" y="199"/>
                    <a:pt x="176" y="204"/>
                    <a:pt x="189" y="198"/>
                  </a:cubicBezTo>
                  <a:cubicBezTo>
                    <a:pt x="201" y="210"/>
                    <a:pt x="201" y="210"/>
                    <a:pt x="201" y="210"/>
                  </a:cubicBezTo>
                  <a:cubicBezTo>
                    <a:pt x="153" y="250"/>
                    <a:pt x="97" y="235"/>
                    <a:pt x="56" y="194"/>
                  </a:cubicBezTo>
                  <a:cubicBezTo>
                    <a:pt x="15" y="153"/>
                    <a:pt x="0" y="97"/>
                    <a:pt x="40" y="49"/>
                  </a:cubicBezTo>
                  <a:cubicBezTo>
                    <a:pt x="52" y="61"/>
                    <a:pt x="52" y="61"/>
                    <a:pt x="52" y="61"/>
                  </a:cubicBezTo>
                  <a:close/>
                  <a:moveTo>
                    <a:pt x="198" y="189"/>
                  </a:moveTo>
                  <a:cubicBezTo>
                    <a:pt x="205" y="176"/>
                    <a:pt x="199" y="169"/>
                    <a:pt x="194" y="163"/>
                  </a:cubicBezTo>
                  <a:cubicBezTo>
                    <a:pt x="87" y="56"/>
                    <a:pt x="87" y="56"/>
                    <a:pt x="87" y="56"/>
                  </a:cubicBezTo>
                  <a:cubicBezTo>
                    <a:pt x="81" y="51"/>
                    <a:pt x="74" y="45"/>
                    <a:pt x="61" y="52"/>
                  </a:cubicBezTo>
                  <a:cubicBezTo>
                    <a:pt x="49" y="39"/>
                    <a:pt x="49" y="39"/>
                    <a:pt x="49" y="39"/>
                  </a:cubicBezTo>
                  <a:cubicBezTo>
                    <a:pt x="97" y="0"/>
                    <a:pt x="153" y="14"/>
                    <a:pt x="194" y="56"/>
                  </a:cubicBezTo>
                  <a:cubicBezTo>
                    <a:pt x="235" y="97"/>
                    <a:pt x="250" y="153"/>
                    <a:pt x="210" y="201"/>
                  </a:cubicBezTo>
                  <a:cubicBezTo>
                    <a:pt x="198" y="189"/>
                    <a:pt x="198" y="189"/>
                    <a:pt x="198" y="1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36"/>
            <p:cNvSpPr>
              <a:spLocks/>
            </p:cNvSpPr>
            <p:nvPr/>
          </p:nvSpPr>
          <p:spPr bwMode="auto">
            <a:xfrm>
              <a:off x="3651" y="1591"/>
              <a:ext cx="756" cy="610"/>
            </a:xfrm>
            <a:custGeom>
              <a:avLst/>
              <a:gdLst>
                <a:gd name="T0" fmla="*/ 314 w 320"/>
                <a:gd name="T1" fmla="*/ 148 h 258"/>
                <a:gd name="T2" fmla="*/ 304 w 320"/>
                <a:gd name="T3" fmla="*/ 147 h 258"/>
                <a:gd name="T4" fmla="*/ 286 w 320"/>
                <a:gd name="T5" fmla="*/ 143 h 258"/>
                <a:gd name="T6" fmla="*/ 177 w 320"/>
                <a:gd name="T7" fmla="*/ 34 h 258"/>
                <a:gd name="T8" fmla="*/ 173 w 320"/>
                <a:gd name="T9" fmla="*/ 16 h 258"/>
                <a:gd name="T10" fmla="*/ 172 w 320"/>
                <a:gd name="T11" fmla="*/ 6 h 258"/>
                <a:gd name="T12" fmla="*/ 158 w 320"/>
                <a:gd name="T13" fmla="*/ 7 h 258"/>
                <a:gd name="T14" fmla="*/ 103 w 320"/>
                <a:gd name="T15" fmla="*/ 62 h 258"/>
                <a:gd name="T16" fmla="*/ 148 w 320"/>
                <a:gd name="T17" fmla="*/ 144 h 258"/>
                <a:gd name="T18" fmla="*/ 147 w 320"/>
                <a:gd name="T19" fmla="*/ 145 h 258"/>
                <a:gd name="T20" fmla="*/ 62 w 320"/>
                <a:gd name="T21" fmla="*/ 103 h 258"/>
                <a:gd name="T22" fmla="*/ 9 w 320"/>
                <a:gd name="T23" fmla="*/ 156 h 258"/>
                <a:gd name="T24" fmla="*/ 7 w 320"/>
                <a:gd name="T25" fmla="*/ 171 h 258"/>
                <a:gd name="T26" fmla="*/ 20 w 320"/>
                <a:gd name="T27" fmla="*/ 168 h 258"/>
                <a:gd name="T28" fmla="*/ 32 w 320"/>
                <a:gd name="T29" fmla="*/ 168 h 258"/>
                <a:gd name="T30" fmla="*/ 45 w 320"/>
                <a:gd name="T31" fmla="*/ 173 h 258"/>
                <a:gd name="T32" fmla="*/ 217 w 320"/>
                <a:gd name="T33" fmla="*/ 258 h 258"/>
                <a:gd name="T34" fmla="*/ 223 w 320"/>
                <a:gd name="T35" fmla="*/ 252 h 258"/>
                <a:gd name="T36" fmla="*/ 139 w 320"/>
                <a:gd name="T37" fmla="*/ 97 h 258"/>
                <a:gd name="T38" fmla="*/ 235 w 320"/>
                <a:gd name="T39" fmla="*/ 194 h 258"/>
                <a:gd name="T40" fmla="*/ 239 w 320"/>
                <a:gd name="T41" fmla="*/ 212 h 258"/>
                <a:gd name="T42" fmla="*/ 240 w 320"/>
                <a:gd name="T43" fmla="*/ 222 h 258"/>
                <a:gd name="T44" fmla="*/ 254 w 320"/>
                <a:gd name="T45" fmla="*/ 221 h 258"/>
                <a:gd name="T46" fmla="*/ 313 w 320"/>
                <a:gd name="T47" fmla="*/ 162 h 258"/>
                <a:gd name="T48" fmla="*/ 314 w 320"/>
                <a:gd name="T49" fmla="*/ 14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58">
                  <a:moveTo>
                    <a:pt x="314" y="148"/>
                  </a:moveTo>
                  <a:cubicBezTo>
                    <a:pt x="311" y="145"/>
                    <a:pt x="308" y="145"/>
                    <a:pt x="304" y="147"/>
                  </a:cubicBezTo>
                  <a:cubicBezTo>
                    <a:pt x="295" y="152"/>
                    <a:pt x="294" y="151"/>
                    <a:pt x="286" y="143"/>
                  </a:cubicBezTo>
                  <a:cubicBezTo>
                    <a:pt x="177" y="34"/>
                    <a:pt x="177" y="34"/>
                    <a:pt x="177" y="34"/>
                  </a:cubicBezTo>
                  <a:cubicBezTo>
                    <a:pt x="169" y="26"/>
                    <a:pt x="168" y="25"/>
                    <a:pt x="173" y="16"/>
                  </a:cubicBezTo>
                  <a:cubicBezTo>
                    <a:pt x="175" y="12"/>
                    <a:pt x="175" y="9"/>
                    <a:pt x="172" y="6"/>
                  </a:cubicBezTo>
                  <a:cubicBezTo>
                    <a:pt x="166" y="0"/>
                    <a:pt x="159" y="6"/>
                    <a:pt x="158" y="7"/>
                  </a:cubicBezTo>
                  <a:cubicBezTo>
                    <a:pt x="103" y="62"/>
                    <a:pt x="103" y="62"/>
                    <a:pt x="103" y="62"/>
                  </a:cubicBezTo>
                  <a:cubicBezTo>
                    <a:pt x="148" y="144"/>
                    <a:pt x="148" y="144"/>
                    <a:pt x="148" y="144"/>
                  </a:cubicBezTo>
                  <a:cubicBezTo>
                    <a:pt x="147" y="145"/>
                    <a:pt x="147" y="145"/>
                    <a:pt x="147" y="145"/>
                  </a:cubicBezTo>
                  <a:cubicBezTo>
                    <a:pt x="62" y="103"/>
                    <a:pt x="62" y="103"/>
                    <a:pt x="62" y="103"/>
                  </a:cubicBezTo>
                  <a:cubicBezTo>
                    <a:pt x="9" y="156"/>
                    <a:pt x="9" y="156"/>
                    <a:pt x="9" y="156"/>
                  </a:cubicBezTo>
                  <a:cubicBezTo>
                    <a:pt x="6" y="158"/>
                    <a:pt x="0" y="164"/>
                    <a:pt x="7" y="171"/>
                  </a:cubicBezTo>
                  <a:cubicBezTo>
                    <a:pt x="12" y="176"/>
                    <a:pt x="18" y="171"/>
                    <a:pt x="20" y="168"/>
                  </a:cubicBezTo>
                  <a:cubicBezTo>
                    <a:pt x="24" y="165"/>
                    <a:pt x="27" y="167"/>
                    <a:pt x="32" y="168"/>
                  </a:cubicBezTo>
                  <a:cubicBezTo>
                    <a:pt x="37" y="169"/>
                    <a:pt x="41" y="171"/>
                    <a:pt x="45" y="173"/>
                  </a:cubicBezTo>
                  <a:cubicBezTo>
                    <a:pt x="217" y="258"/>
                    <a:pt x="217" y="258"/>
                    <a:pt x="217" y="258"/>
                  </a:cubicBezTo>
                  <a:cubicBezTo>
                    <a:pt x="223" y="252"/>
                    <a:pt x="223" y="252"/>
                    <a:pt x="223" y="252"/>
                  </a:cubicBezTo>
                  <a:cubicBezTo>
                    <a:pt x="139" y="97"/>
                    <a:pt x="139" y="97"/>
                    <a:pt x="139" y="97"/>
                  </a:cubicBezTo>
                  <a:cubicBezTo>
                    <a:pt x="235" y="194"/>
                    <a:pt x="235" y="194"/>
                    <a:pt x="235" y="194"/>
                  </a:cubicBezTo>
                  <a:cubicBezTo>
                    <a:pt x="243" y="201"/>
                    <a:pt x="244" y="202"/>
                    <a:pt x="239" y="212"/>
                  </a:cubicBezTo>
                  <a:cubicBezTo>
                    <a:pt x="237" y="215"/>
                    <a:pt x="237" y="219"/>
                    <a:pt x="240" y="222"/>
                  </a:cubicBezTo>
                  <a:cubicBezTo>
                    <a:pt x="246" y="228"/>
                    <a:pt x="254" y="222"/>
                    <a:pt x="254" y="221"/>
                  </a:cubicBezTo>
                  <a:cubicBezTo>
                    <a:pt x="313" y="162"/>
                    <a:pt x="313" y="162"/>
                    <a:pt x="313" y="162"/>
                  </a:cubicBezTo>
                  <a:cubicBezTo>
                    <a:pt x="314" y="161"/>
                    <a:pt x="320" y="154"/>
                    <a:pt x="314" y="1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37"/>
            <p:cNvSpPr>
              <a:spLocks/>
            </p:cNvSpPr>
            <p:nvPr/>
          </p:nvSpPr>
          <p:spPr bwMode="auto">
            <a:xfrm>
              <a:off x="3816" y="2061"/>
              <a:ext cx="312" cy="284"/>
            </a:xfrm>
            <a:custGeom>
              <a:avLst/>
              <a:gdLst>
                <a:gd name="T0" fmla="*/ 82 w 132"/>
                <a:gd name="T1" fmla="*/ 59 h 120"/>
                <a:gd name="T2" fmla="*/ 46 w 132"/>
                <a:gd name="T3" fmla="*/ 23 h 120"/>
                <a:gd name="T4" fmla="*/ 1 w 132"/>
                <a:gd name="T5" fmla="*/ 0 h 120"/>
                <a:gd name="T6" fmla="*/ 0 w 132"/>
                <a:gd name="T7" fmla="*/ 1 h 120"/>
                <a:gd name="T8" fmla="*/ 70 w 132"/>
                <a:gd name="T9" fmla="*/ 71 h 120"/>
                <a:gd name="T10" fmla="*/ 80 w 132"/>
                <a:gd name="T11" fmla="*/ 114 h 120"/>
                <a:gd name="T12" fmla="*/ 97 w 132"/>
                <a:gd name="T13" fmla="*/ 109 h 120"/>
                <a:gd name="T14" fmla="*/ 121 w 132"/>
                <a:gd name="T15" fmla="*/ 86 h 120"/>
                <a:gd name="T16" fmla="*/ 125 w 132"/>
                <a:gd name="T17" fmla="*/ 69 h 120"/>
                <a:gd name="T18" fmla="*/ 82 w 132"/>
                <a:gd name="T19" fmla="*/ 5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120">
                  <a:moveTo>
                    <a:pt x="82" y="59"/>
                  </a:moveTo>
                  <a:cubicBezTo>
                    <a:pt x="46" y="23"/>
                    <a:pt x="46" y="23"/>
                    <a:pt x="46" y="23"/>
                  </a:cubicBezTo>
                  <a:cubicBezTo>
                    <a:pt x="1" y="0"/>
                    <a:pt x="1" y="0"/>
                    <a:pt x="1" y="0"/>
                  </a:cubicBezTo>
                  <a:cubicBezTo>
                    <a:pt x="0" y="1"/>
                    <a:pt x="0" y="1"/>
                    <a:pt x="0" y="1"/>
                  </a:cubicBezTo>
                  <a:cubicBezTo>
                    <a:pt x="70" y="71"/>
                    <a:pt x="70" y="71"/>
                    <a:pt x="70" y="71"/>
                  </a:cubicBezTo>
                  <a:cubicBezTo>
                    <a:pt x="93" y="100"/>
                    <a:pt x="71" y="105"/>
                    <a:pt x="80" y="114"/>
                  </a:cubicBezTo>
                  <a:cubicBezTo>
                    <a:pt x="87" y="120"/>
                    <a:pt x="95" y="111"/>
                    <a:pt x="97" y="109"/>
                  </a:cubicBezTo>
                  <a:cubicBezTo>
                    <a:pt x="121" y="86"/>
                    <a:pt x="121" y="86"/>
                    <a:pt x="121" y="86"/>
                  </a:cubicBezTo>
                  <a:cubicBezTo>
                    <a:pt x="123" y="83"/>
                    <a:pt x="132" y="75"/>
                    <a:pt x="125" y="69"/>
                  </a:cubicBezTo>
                  <a:cubicBezTo>
                    <a:pt x="116" y="60"/>
                    <a:pt x="111" y="81"/>
                    <a:pt x="82" y="5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38"/>
            <p:cNvSpPr>
              <a:spLocks/>
            </p:cNvSpPr>
            <p:nvPr/>
          </p:nvSpPr>
          <p:spPr bwMode="auto">
            <a:xfrm>
              <a:off x="3743" y="2659"/>
              <a:ext cx="262" cy="260"/>
            </a:xfrm>
            <a:custGeom>
              <a:avLst/>
              <a:gdLst>
                <a:gd name="T0" fmla="*/ 0 w 111"/>
                <a:gd name="T1" fmla="*/ 23 h 110"/>
                <a:gd name="T2" fmla="*/ 82 w 111"/>
                <a:gd name="T3" fmla="*/ 29 h 110"/>
                <a:gd name="T4" fmla="*/ 88 w 111"/>
                <a:gd name="T5" fmla="*/ 110 h 110"/>
                <a:gd name="T6" fmla="*/ 81 w 111"/>
                <a:gd name="T7" fmla="*/ 103 h 110"/>
                <a:gd name="T8" fmla="*/ 76 w 111"/>
                <a:gd name="T9" fmla="*/ 84 h 110"/>
                <a:gd name="T10" fmla="*/ 27 w 111"/>
                <a:gd name="T11" fmla="*/ 34 h 110"/>
                <a:gd name="T12" fmla="*/ 7 w 111"/>
                <a:gd name="T13" fmla="*/ 30 h 110"/>
                <a:gd name="T14" fmla="*/ 0 w 111"/>
                <a:gd name="T15" fmla="*/ 23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0" y="23"/>
                  </a:moveTo>
                  <a:cubicBezTo>
                    <a:pt x="20" y="3"/>
                    <a:pt x="50" y="0"/>
                    <a:pt x="82" y="29"/>
                  </a:cubicBezTo>
                  <a:cubicBezTo>
                    <a:pt x="111" y="55"/>
                    <a:pt x="107" y="91"/>
                    <a:pt x="88" y="110"/>
                  </a:cubicBezTo>
                  <a:cubicBezTo>
                    <a:pt x="81" y="103"/>
                    <a:pt x="81" y="103"/>
                    <a:pt x="81" y="103"/>
                  </a:cubicBezTo>
                  <a:cubicBezTo>
                    <a:pt x="87" y="95"/>
                    <a:pt x="81" y="88"/>
                    <a:pt x="76" y="84"/>
                  </a:cubicBezTo>
                  <a:cubicBezTo>
                    <a:pt x="27" y="34"/>
                    <a:pt x="27" y="34"/>
                    <a:pt x="27" y="34"/>
                  </a:cubicBezTo>
                  <a:cubicBezTo>
                    <a:pt x="22" y="30"/>
                    <a:pt x="15" y="23"/>
                    <a:pt x="7" y="30"/>
                  </a:cubicBezTo>
                  <a:cubicBezTo>
                    <a:pt x="0" y="23"/>
                    <a:pt x="0" y="23"/>
                    <a:pt x="0"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39"/>
            <p:cNvSpPr>
              <a:spLocks noEditPoints="1"/>
            </p:cNvSpPr>
            <p:nvPr/>
          </p:nvSpPr>
          <p:spPr bwMode="auto">
            <a:xfrm>
              <a:off x="3837" y="2463"/>
              <a:ext cx="364" cy="363"/>
            </a:xfrm>
            <a:custGeom>
              <a:avLst/>
              <a:gdLst>
                <a:gd name="T0" fmla="*/ 4 w 154"/>
                <a:gd name="T1" fmla="*/ 62 h 154"/>
                <a:gd name="T2" fmla="*/ 35 w 154"/>
                <a:gd name="T3" fmla="*/ 32 h 154"/>
                <a:gd name="T4" fmla="*/ 122 w 154"/>
                <a:gd name="T5" fmla="*/ 119 h 154"/>
                <a:gd name="T6" fmla="*/ 91 w 154"/>
                <a:gd name="T7" fmla="*/ 150 h 154"/>
                <a:gd name="T8" fmla="*/ 83 w 154"/>
                <a:gd name="T9" fmla="*/ 150 h 154"/>
                <a:gd name="T10" fmla="*/ 83 w 154"/>
                <a:gd name="T11" fmla="*/ 145 h 154"/>
                <a:gd name="T12" fmla="*/ 80 w 154"/>
                <a:gd name="T13" fmla="*/ 134 h 154"/>
                <a:gd name="T14" fmla="*/ 19 w 154"/>
                <a:gd name="T15" fmla="*/ 73 h 154"/>
                <a:gd name="T16" fmla="*/ 9 w 154"/>
                <a:gd name="T17" fmla="*/ 71 h 154"/>
                <a:gd name="T18" fmla="*/ 3 w 154"/>
                <a:gd name="T19" fmla="*/ 70 h 154"/>
                <a:gd name="T20" fmla="*/ 4 w 154"/>
                <a:gd name="T21" fmla="*/ 62 h 154"/>
                <a:gd name="T22" fmla="*/ 40 w 154"/>
                <a:gd name="T23" fmla="*/ 26 h 154"/>
                <a:gd name="T24" fmla="*/ 66 w 154"/>
                <a:gd name="T25" fmla="*/ 0 h 154"/>
                <a:gd name="T26" fmla="*/ 90 w 154"/>
                <a:gd name="T27" fmla="*/ 24 h 154"/>
                <a:gd name="T28" fmla="*/ 89 w 154"/>
                <a:gd name="T29" fmla="*/ 30 h 154"/>
                <a:gd name="T30" fmla="*/ 83 w 154"/>
                <a:gd name="T31" fmla="*/ 31 h 154"/>
                <a:gd name="T32" fmla="*/ 47 w 154"/>
                <a:gd name="T33" fmla="*/ 33 h 154"/>
                <a:gd name="T34" fmla="*/ 40 w 154"/>
                <a:gd name="T35" fmla="*/ 26 h 154"/>
                <a:gd name="T36" fmla="*/ 120 w 154"/>
                <a:gd name="T37" fmla="*/ 107 h 154"/>
                <a:gd name="T38" fmla="*/ 123 w 154"/>
                <a:gd name="T39" fmla="*/ 70 h 154"/>
                <a:gd name="T40" fmla="*/ 123 w 154"/>
                <a:gd name="T41" fmla="*/ 63 h 154"/>
                <a:gd name="T42" fmla="*/ 131 w 154"/>
                <a:gd name="T43" fmla="*/ 63 h 154"/>
                <a:gd name="T44" fmla="*/ 154 w 154"/>
                <a:gd name="T45" fmla="*/ 87 h 154"/>
                <a:gd name="T46" fmla="*/ 127 w 154"/>
                <a:gd name="T47" fmla="*/ 114 h 154"/>
                <a:gd name="T48" fmla="*/ 120 w 154"/>
                <a:gd name="T49" fmla="*/ 107 h 154"/>
                <a:gd name="T50" fmla="*/ 79 w 154"/>
                <a:gd name="T51" fmla="*/ 65 h 154"/>
                <a:gd name="T52" fmla="*/ 77 w 154"/>
                <a:gd name="T53" fmla="*/ 47 h 154"/>
                <a:gd name="T54" fmla="*/ 77 w 154"/>
                <a:gd name="T55" fmla="*/ 39 h 154"/>
                <a:gd name="T56" fmla="*/ 85 w 154"/>
                <a:gd name="T57" fmla="*/ 41 h 154"/>
                <a:gd name="T58" fmla="*/ 110 w 154"/>
                <a:gd name="T59" fmla="*/ 67 h 154"/>
                <a:gd name="T60" fmla="*/ 112 w 154"/>
                <a:gd name="T61" fmla="*/ 75 h 154"/>
                <a:gd name="T62" fmla="*/ 105 w 154"/>
                <a:gd name="T63" fmla="*/ 75 h 154"/>
                <a:gd name="T64" fmla="*/ 86 w 154"/>
                <a:gd name="T65" fmla="*/ 72 h 154"/>
                <a:gd name="T66" fmla="*/ 79 w 154"/>
                <a:gd name="T67" fmla="*/ 65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4" h="154">
                  <a:moveTo>
                    <a:pt x="4" y="62"/>
                  </a:moveTo>
                  <a:cubicBezTo>
                    <a:pt x="35" y="32"/>
                    <a:pt x="35" y="32"/>
                    <a:pt x="35" y="32"/>
                  </a:cubicBezTo>
                  <a:cubicBezTo>
                    <a:pt x="122" y="119"/>
                    <a:pt x="122" y="119"/>
                    <a:pt x="122" y="119"/>
                  </a:cubicBezTo>
                  <a:cubicBezTo>
                    <a:pt x="91" y="150"/>
                    <a:pt x="91" y="150"/>
                    <a:pt x="91" y="150"/>
                  </a:cubicBezTo>
                  <a:cubicBezTo>
                    <a:pt x="91" y="150"/>
                    <a:pt x="87" y="154"/>
                    <a:pt x="83" y="150"/>
                  </a:cubicBezTo>
                  <a:cubicBezTo>
                    <a:pt x="82" y="149"/>
                    <a:pt x="82" y="147"/>
                    <a:pt x="83" y="145"/>
                  </a:cubicBezTo>
                  <a:cubicBezTo>
                    <a:pt x="85" y="139"/>
                    <a:pt x="85" y="139"/>
                    <a:pt x="80" y="134"/>
                  </a:cubicBezTo>
                  <a:cubicBezTo>
                    <a:pt x="19" y="73"/>
                    <a:pt x="19" y="73"/>
                    <a:pt x="19" y="73"/>
                  </a:cubicBezTo>
                  <a:cubicBezTo>
                    <a:pt x="15" y="69"/>
                    <a:pt x="14" y="68"/>
                    <a:pt x="9" y="71"/>
                  </a:cubicBezTo>
                  <a:cubicBezTo>
                    <a:pt x="7" y="72"/>
                    <a:pt x="5" y="72"/>
                    <a:pt x="3" y="70"/>
                  </a:cubicBezTo>
                  <a:cubicBezTo>
                    <a:pt x="0" y="67"/>
                    <a:pt x="3" y="63"/>
                    <a:pt x="4" y="62"/>
                  </a:cubicBezTo>
                  <a:close/>
                  <a:moveTo>
                    <a:pt x="40" y="26"/>
                  </a:moveTo>
                  <a:cubicBezTo>
                    <a:pt x="66" y="0"/>
                    <a:pt x="66" y="0"/>
                    <a:pt x="66" y="0"/>
                  </a:cubicBezTo>
                  <a:cubicBezTo>
                    <a:pt x="90" y="24"/>
                    <a:pt x="90" y="24"/>
                    <a:pt x="90" y="24"/>
                  </a:cubicBezTo>
                  <a:cubicBezTo>
                    <a:pt x="90" y="25"/>
                    <a:pt x="92" y="27"/>
                    <a:pt x="89" y="30"/>
                  </a:cubicBezTo>
                  <a:cubicBezTo>
                    <a:pt x="87" y="32"/>
                    <a:pt x="85" y="32"/>
                    <a:pt x="83" y="31"/>
                  </a:cubicBezTo>
                  <a:cubicBezTo>
                    <a:pt x="70" y="24"/>
                    <a:pt x="59" y="24"/>
                    <a:pt x="47" y="33"/>
                  </a:cubicBezTo>
                  <a:cubicBezTo>
                    <a:pt x="40" y="26"/>
                    <a:pt x="40" y="26"/>
                    <a:pt x="40" y="26"/>
                  </a:cubicBezTo>
                  <a:close/>
                  <a:moveTo>
                    <a:pt x="120" y="107"/>
                  </a:moveTo>
                  <a:cubicBezTo>
                    <a:pt x="129" y="96"/>
                    <a:pt x="130" y="83"/>
                    <a:pt x="123" y="70"/>
                  </a:cubicBezTo>
                  <a:cubicBezTo>
                    <a:pt x="122" y="67"/>
                    <a:pt x="121" y="65"/>
                    <a:pt x="123" y="63"/>
                  </a:cubicBezTo>
                  <a:cubicBezTo>
                    <a:pt x="127" y="59"/>
                    <a:pt x="130" y="63"/>
                    <a:pt x="131" y="63"/>
                  </a:cubicBezTo>
                  <a:cubicBezTo>
                    <a:pt x="154" y="87"/>
                    <a:pt x="154" y="87"/>
                    <a:pt x="154" y="87"/>
                  </a:cubicBezTo>
                  <a:cubicBezTo>
                    <a:pt x="127" y="114"/>
                    <a:pt x="127" y="114"/>
                    <a:pt x="127" y="114"/>
                  </a:cubicBezTo>
                  <a:cubicBezTo>
                    <a:pt x="120" y="107"/>
                    <a:pt x="120" y="107"/>
                    <a:pt x="120" y="107"/>
                  </a:cubicBezTo>
                  <a:close/>
                  <a:moveTo>
                    <a:pt x="79" y="65"/>
                  </a:moveTo>
                  <a:cubicBezTo>
                    <a:pt x="83" y="59"/>
                    <a:pt x="80" y="52"/>
                    <a:pt x="77" y="47"/>
                  </a:cubicBezTo>
                  <a:cubicBezTo>
                    <a:pt x="75" y="44"/>
                    <a:pt x="74" y="42"/>
                    <a:pt x="77" y="39"/>
                  </a:cubicBezTo>
                  <a:cubicBezTo>
                    <a:pt x="80" y="36"/>
                    <a:pt x="84" y="40"/>
                    <a:pt x="85" y="41"/>
                  </a:cubicBezTo>
                  <a:cubicBezTo>
                    <a:pt x="110" y="67"/>
                    <a:pt x="110" y="67"/>
                    <a:pt x="110" y="67"/>
                  </a:cubicBezTo>
                  <a:cubicBezTo>
                    <a:pt x="111" y="67"/>
                    <a:pt x="116" y="71"/>
                    <a:pt x="112" y="75"/>
                  </a:cubicBezTo>
                  <a:cubicBezTo>
                    <a:pt x="110" y="77"/>
                    <a:pt x="107" y="76"/>
                    <a:pt x="105" y="75"/>
                  </a:cubicBezTo>
                  <a:cubicBezTo>
                    <a:pt x="99" y="71"/>
                    <a:pt x="92" y="69"/>
                    <a:pt x="86" y="72"/>
                  </a:cubicBezTo>
                  <a:cubicBezTo>
                    <a:pt x="79" y="65"/>
                    <a:pt x="79" y="65"/>
                    <a:pt x="79"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40"/>
            <p:cNvSpPr>
              <a:spLocks noEditPoints="1"/>
            </p:cNvSpPr>
            <p:nvPr/>
          </p:nvSpPr>
          <p:spPr bwMode="auto">
            <a:xfrm>
              <a:off x="4005" y="2305"/>
              <a:ext cx="302" cy="351"/>
            </a:xfrm>
            <a:custGeom>
              <a:avLst/>
              <a:gdLst>
                <a:gd name="T0" fmla="*/ 40 w 128"/>
                <a:gd name="T1" fmla="*/ 22 h 149"/>
                <a:gd name="T2" fmla="*/ 67 w 128"/>
                <a:gd name="T3" fmla="*/ 3 h 149"/>
                <a:gd name="T4" fmla="*/ 102 w 128"/>
                <a:gd name="T5" fmla="*/ 14 h 149"/>
                <a:gd name="T6" fmla="*/ 113 w 128"/>
                <a:gd name="T7" fmla="*/ 49 h 149"/>
                <a:gd name="T8" fmla="*/ 94 w 128"/>
                <a:gd name="T9" fmla="*/ 76 h 149"/>
                <a:gd name="T10" fmla="*/ 87 w 128"/>
                <a:gd name="T11" fmla="*/ 69 h 149"/>
                <a:gd name="T12" fmla="*/ 83 w 128"/>
                <a:gd name="T13" fmla="*/ 50 h 149"/>
                <a:gd name="T14" fmla="*/ 65 w 128"/>
                <a:gd name="T15" fmla="*/ 33 h 149"/>
                <a:gd name="T16" fmla="*/ 47 w 128"/>
                <a:gd name="T17" fmla="*/ 29 h 149"/>
                <a:gd name="T18" fmla="*/ 40 w 128"/>
                <a:gd name="T19" fmla="*/ 22 h 149"/>
                <a:gd name="T20" fmla="*/ 19 w 128"/>
                <a:gd name="T21" fmla="*/ 69 h 149"/>
                <a:gd name="T22" fmla="*/ 9 w 128"/>
                <a:gd name="T23" fmla="*/ 67 h 149"/>
                <a:gd name="T24" fmla="*/ 3 w 128"/>
                <a:gd name="T25" fmla="*/ 66 h 149"/>
                <a:gd name="T26" fmla="*/ 4 w 128"/>
                <a:gd name="T27" fmla="*/ 58 h 149"/>
                <a:gd name="T28" fmla="*/ 35 w 128"/>
                <a:gd name="T29" fmla="*/ 27 h 149"/>
                <a:gd name="T30" fmla="*/ 109 w 128"/>
                <a:gd name="T31" fmla="*/ 102 h 149"/>
                <a:gd name="T32" fmla="*/ 119 w 128"/>
                <a:gd name="T33" fmla="*/ 104 h 149"/>
                <a:gd name="T34" fmla="*/ 125 w 128"/>
                <a:gd name="T35" fmla="*/ 105 h 149"/>
                <a:gd name="T36" fmla="*/ 124 w 128"/>
                <a:gd name="T37" fmla="*/ 113 h 149"/>
                <a:gd name="T38" fmla="*/ 91 w 128"/>
                <a:gd name="T39" fmla="*/ 146 h 149"/>
                <a:gd name="T40" fmla="*/ 84 w 128"/>
                <a:gd name="T41" fmla="*/ 145 h 149"/>
                <a:gd name="T42" fmla="*/ 83 w 128"/>
                <a:gd name="T43" fmla="*/ 140 h 149"/>
                <a:gd name="T44" fmla="*/ 80 w 128"/>
                <a:gd name="T45" fmla="*/ 130 h 149"/>
                <a:gd name="T46" fmla="*/ 19 w 128"/>
                <a:gd name="T47" fmla="*/ 6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8" h="149">
                  <a:moveTo>
                    <a:pt x="40" y="22"/>
                  </a:moveTo>
                  <a:cubicBezTo>
                    <a:pt x="51" y="11"/>
                    <a:pt x="59" y="6"/>
                    <a:pt x="67" y="3"/>
                  </a:cubicBezTo>
                  <a:cubicBezTo>
                    <a:pt x="81" y="0"/>
                    <a:pt x="92" y="4"/>
                    <a:pt x="102" y="14"/>
                  </a:cubicBezTo>
                  <a:cubicBezTo>
                    <a:pt x="112" y="24"/>
                    <a:pt x="116" y="35"/>
                    <a:pt x="113" y="49"/>
                  </a:cubicBezTo>
                  <a:cubicBezTo>
                    <a:pt x="110" y="57"/>
                    <a:pt x="105" y="65"/>
                    <a:pt x="94" y="76"/>
                  </a:cubicBezTo>
                  <a:cubicBezTo>
                    <a:pt x="87" y="69"/>
                    <a:pt x="87" y="69"/>
                    <a:pt x="87" y="69"/>
                  </a:cubicBezTo>
                  <a:cubicBezTo>
                    <a:pt x="93" y="61"/>
                    <a:pt x="88" y="56"/>
                    <a:pt x="83" y="50"/>
                  </a:cubicBezTo>
                  <a:cubicBezTo>
                    <a:pt x="65" y="33"/>
                    <a:pt x="65" y="33"/>
                    <a:pt x="65" y="33"/>
                  </a:cubicBezTo>
                  <a:cubicBezTo>
                    <a:pt x="60" y="27"/>
                    <a:pt x="54" y="24"/>
                    <a:pt x="47" y="29"/>
                  </a:cubicBezTo>
                  <a:cubicBezTo>
                    <a:pt x="40" y="22"/>
                    <a:pt x="40" y="22"/>
                    <a:pt x="40" y="22"/>
                  </a:cubicBezTo>
                  <a:close/>
                  <a:moveTo>
                    <a:pt x="19" y="69"/>
                  </a:moveTo>
                  <a:cubicBezTo>
                    <a:pt x="15" y="65"/>
                    <a:pt x="14" y="64"/>
                    <a:pt x="9" y="67"/>
                  </a:cubicBezTo>
                  <a:cubicBezTo>
                    <a:pt x="7" y="68"/>
                    <a:pt x="5" y="68"/>
                    <a:pt x="3" y="66"/>
                  </a:cubicBezTo>
                  <a:cubicBezTo>
                    <a:pt x="0" y="63"/>
                    <a:pt x="3" y="59"/>
                    <a:pt x="4" y="58"/>
                  </a:cubicBezTo>
                  <a:cubicBezTo>
                    <a:pt x="35" y="27"/>
                    <a:pt x="35" y="27"/>
                    <a:pt x="35" y="27"/>
                  </a:cubicBezTo>
                  <a:cubicBezTo>
                    <a:pt x="109" y="102"/>
                    <a:pt x="109" y="102"/>
                    <a:pt x="109" y="102"/>
                  </a:cubicBezTo>
                  <a:cubicBezTo>
                    <a:pt x="113" y="106"/>
                    <a:pt x="114" y="107"/>
                    <a:pt x="119" y="104"/>
                  </a:cubicBezTo>
                  <a:cubicBezTo>
                    <a:pt x="121" y="103"/>
                    <a:pt x="123" y="103"/>
                    <a:pt x="125" y="105"/>
                  </a:cubicBezTo>
                  <a:cubicBezTo>
                    <a:pt x="128" y="108"/>
                    <a:pt x="125" y="112"/>
                    <a:pt x="124" y="113"/>
                  </a:cubicBezTo>
                  <a:cubicBezTo>
                    <a:pt x="91" y="146"/>
                    <a:pt x="91" y="146"/>
                    <a:pt x="91" y="146"/>
                  </a:cubicBezTo>
                  <a:cubicBezTo>
                    <a:pt x="91" y="146"/>
                    <a:pt x="88" y="149"/>
                    <a:pt x="84" y="145"/>
                  </a:cubicBezTo>
                  <a:cubicBezTo>
                    <a:pt x="83" y="144"/>
                    <a:pt x="82" y="142"/>
                    <a:pt x="83" y="140"/>
                  </a:cubicBezTo>
                  <a:cubicBezTo>
                    <a:pt x="86" y="135"/>
                    <a:pt x="85" y="135"/>
                    <a:pt x="80" y="130"/>
                  </a:cubicBezTo>
                  <a:cubicBezTo>
                    <a:pt x="19" y="69"/>
                    <a:pt x="19" y="69"/>
                    <a:pt x="19" y="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41"/>
            <p:cNvSpPr>
              <a:spLocks noEditPoints="1"/>
            </p:cNvSpPr>
            <p:nvPr/>
          </p:nvSpPr>
          <p:spPr bwMode="auto">
            <a:xfrm>
              <a:off x="4206" y="2125"/>
              <a:ext cx="333" cy="333"/>
            </a:xfrm>
            <a:custGeom>
              <a:avLst/>
              <a:gdLst>
                <a:gd name="T0" fmla="*/ 29 w 141"/>
                <a:gd name="T1" fmla="*/ 34 h 141"/>
                <a:gd name="T2" fmla="*/ 31 w 141"/>
                <a:gd name="T3" fmla="*/ 49 h 141"/>
                <a:gd name="T4" fmla="*/ 92 w 141"/>
                <a:gd name="T5" fmla="*/ 109 h 141"/>
                <a:gd name="T6" fmla="*/ 106 w 141"/>
                <a:gd name="T7" fmla="*/ 112 h 141"/>
                <a:gd name="T8" fmla="*/ 113 w 141"/>
                <a:gd name="T9" fmla="*/ 118 h 141"/>
                <a:gd name="T10" fmla="*/ 31 w 141"/>
                <a:gd name="T11" fmla="*/ 109 h 141"/>
                <a:gd name="T12" fmla="*/ 22 w 141"/>
                <a:gd name="T13" fmla="*/ 28 h 141"/>
                <a:gd name="T14" fmla="*/ 29 w 141"/>
                <a:gd name="T15" fmla="*/ 34 h 141"/>
                <a:gd name="T16" fmla="*/ 111 w 141"/>
                <a:gd name="T17" fmla="*/ 106 h 141"/>
                <a:gd name="T18" fmla="*/ 109 w 141"/>
                <a:gd name="T19" fmla="*/ 92 h 141"/>
                <a:gd name="T20" fmla="*/ 49 w 141"/>
                <a:gd name="T21" fmla="*/ 32 h 141"/>
                <a:gd name="T22" fmla="*/ 34 w 141"/>
                <a:gd name="T23" fmla="*/ 29 h 141"/>
                <a:gd name="T24" fmla="*/ 27 w 141"/>
                <a:gd name="T25" fmla="*/ 22 h 141"/>
                <a:gd name="T26" fmla="*/ 109 w 141"/>
                <a:gd name="T27" fmla="*/ 31 h 141"/>
                <a:gd name="T28" fmla="*/ 118 w 141"/>
                <a:gd name="T29" fmla="*/ 113 h 141"/>
                <a:gd name="T30" fmla="*/ 111 w 141"/>
                <a:gd name="T31" fmla="*/ 10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1" h="141">
                  <a:moveTo>
                    <a:pt x="29" y="34"/>
                  </a:moveTo>
                  <a:cubicBezTo>
                    <a:pt x="25" y="42"/>
                    <a:pt x="28" y="46"/>
                    <a:pt x="31" y="49"/>
                  </a:cubicBezTo>
                  <a:cubicBezTo>
                    <a:pt x="92" y="109"/>
                    <a:pt x="92" y="109"/>
                    <a:pt x="92" y="109"/>
                  </a:cubicBezTo>
                  <a:cubicBezTo>
                    <a:pt x="95" y="112"/>
                    <a:pt x="99" y="115"/>
                    <a:pt x="106" y="112"/>
                  </a:cubicBezTo>
                  <a:cubicBezTo>
                    <a:pt x="113" y="118"/>
                    <a:pt x="113" y="118"/>
                    <a:pt x="113" y="118"/>
                  </a:cubicBezTo>
                  <a:cubicBezTo>
                    <a:pt x="86" y="141"/>
                    <a:pt x="55" y="132"/>
                    <a:pt x="31" y="109"/>
                  </a:cubicBezTo>
                  <a:cubicBezTo>
                    <a:pt x="8" y="86"/>
                    <a:pt x="0" y="55"/>
                    <a:pt x="22" y="28"/>
                  </a:cubicBezTo>
                  <a:cubicBezTo>
                    <a:pt x="29" y="34"/>
                    <a:pt x="29" y="34"/>
                    <a:pt x="29" y="34"/>
                  </a:cubicBezTo>
                  <a:close/>
                  <a:moveTo>
                    <a:pt x="111" y="106"/>
                  </a:moveTo>
                  <a:cubicBezTo>
                    <a:pt x="115" y="99"/>
                    <a:pt x="112" y="95"/>
                    <a:pt x="109" y="92"/>
                  </a:cubicBezTo>
                  <a:cubicBezTo>
                    <a:pt x="49" y="32"/>
                    <a:pt x="49" y="32"/>
                    <a:pt x="49" y="32"/>
                  </a:cubicBezTo>
                  <a:cubicBezTo>
                    <a:pt x="46" y="29"/>
                    <a:pt x="42" y="26"/>
                    <a:pt x="34" y="29"/>
                  </a:cubicBezTo>
                  <a:cubicBezTo>
                    <a:pt x="27" y="22"/>
                    <a:pt x="27" y="22"/>
                    <a:pt x="27" y="22"/>
                  </a:cubicBezTo>
                  <a:cubicBezTo>
                    <a:pt x="54" y="0"/>
                    <a:pt x="86" y="8"/>
                    <a:pt x="109" y="31"/>
                  </a:cubicBezTo>
                  <a:cubicBezTo>
                    <a:pt x="132" y="55"/>
                    <a:pt x="141" y="86"/>
                    <a:pt x="118" y="113"/>
                  </a:cubicBezTo>
                  <a:cubicBezTo>
                    <a:pt x="111" y="106"/>
                    <a:pt x="111" y="106"/>
                    <a:pt x="111" y="10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42"/>
            <p:cNvSpPr>
              <a:spLocks noEditPoints="1"/>
            </p:cNvSpPr>
            <p:nvPr/>
          </p:nvSpPr>
          <p:spPr bwMode="auto">
            <a:xfrm>
              <a:off x="3157" y="1849"/>
              <a:ext cx="319" cy="319"/>
            </a:xfrm>
            <a:custGeom>
              <a:avLst/>
              <a:gdLst>
                <a:gd name="T0" fmla="*/ 20 w 135"/>
                <a:gd name="T1" fmla="*/ 47 h 135"/>
                <a:gd name="T2" fmla="*/ 47 w 135"/>
                <a:gd name="T3" fmla="*/ 20 h 135"/>
                <a:gd name="T4" fmla="*/ 117 w 135"/>
                <a:gd name="T5" fmla="*/ 90 h 135"/>
                <a:gd name="T6" fmla="*/ 127 w 135"/>
                <a:gd name="T7" fmla="*/ 92 h 135"/>
                <a:gd name="T8" fmla="*/ 132 w 135"/>
                <a:gd name="T9" fmla="*/ 93 h 135"/>
                <a:gd name="T10" fmla="*/ 131 w 135"/>
                <a:gd name="T11" fmla="*/ 100 h 135"/>
                <a:gd name="T12" fmla="*/ 100 w 135"/>
                <a:gd name="T13" fmla="*/ 131 h 135"/>
                <a:gd name="T14" fmla="*/ 93 w 135"/>
                <a:gd name="T15" fmla="*/ 132 h 135"/>
                <a:gd name="T16" fmla="*/ 92 w 135"/>
                <a:gd name="T17" fmla="*/ 127 h 135"/>
                <a:gd name="T18" fmla="*/ 90 w 135"/>
                <a:gd name="T19" fmla="*/ 117 h 135"/>
                <a:gd name="T20" fmla="*/ 20 w 135"/>
                <a:gd name="T21" fmla="*/ 47 h 135"/>
                <a:gd name="T22" fmla="*/ 93 w 135"/>
                <a:gd name="T23" fmla="*/ 25 h 135"/>
                <a:gd name="T24" fmla="*/ 93 w 135"/>
                <a:gd name="T25" fmla="*/ 32 h 135"/>
                <a:gd name="T26" fmla="*/ 84 w 135"/>
                <a:gd name="T27" fmla="*/ 31 h 135"/>
                <a:gd name="T28" fmla="*/ 58 w 135"/>
                <a:gd name="T29" fmla="*/ 22 h 135"/>
                <a:gd name="T30" fmla="*/ 52 w 135"/>
                <a:gd name="T31" fmla="*/ 15 h 135"/>
                <a:gd name="T32" fmla="*/ 68 w 135"/>
                <a:gd name="T33" fmla="*/ 0 h 135"/>
                <a:gd name="T34" fmla="*/ 93 w 135"/>
                <a:gd name="T35" fmla="*/ 25 h 135"/>
                <a:gd name="T36" fmla="*/ 0 w 135"/>
                <a:gd name="T37" fmla="*/ 68 h 135"/>
                <a:gd name="T38" fmla="*/ 15 w 135"/>
                <a:gd name="T39" fmla="*/ 52 h 135"/>
                <a:gd name="T40" fmla="*/ 22 w 135"/>
                <a:gd name="T41" fmla="*/ 58 h 135"/>
                <a:gd name="T42" fmla="*/ 31 w 135"/>
                <a:gd name="T43" fmla="*/ 84 h 135"/>
                <a:gd name="T44" fmla="*/ 32 w 135"/>
                <a:gd name="T45" fmla="*/ 93 h 135"/>
                <a:gd name="T46" fmla="*/ 25 w 135"/>
                <a:gd name="T47" fmla="*/ 93 h 135"/>
                <a:gd name="T48" fmla="*/ 0 w 135"/>
                <a:gd name="T49" fmla="*/ 6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5" h="135">
                  <a:moveTo>
                    <a:pt x="20" y="47"/>
                  </a:moveTo>
                  <a:cubicBezTo>
                    <a:pt x="47" y="20"/>
                    <a:pt x="47" y="20"/>
                    <a:pt x="47" y="20"/>
                  </a:cubicBezTo>
                  <a:cubicBezTo>
                    <a:pt x="117" y="90"/>
                    <a:pt x="117" y="90"/>
                    <a:pt x="117" y="90"/>
                  </a:cubicBezTo>
                  <a:cubicBezTo>
                    <a:pt x="121" y="94"/>
                    <a:pt x="121" y="95"/>
                    <a:pt x="127" y="92"/>
                  </a:cubicBezTo>
                  <a:cubicBezTo>
                    <a:pt x="128" y="91"/>
                    <a:pt x="130" y="91"/>
                    <a:pt x="132" y="93"/>
                  </a:cubicBezTo>
                  <a:cubicBezTo>
                    <a:pt x="135" y="96"/>
                    <a:pt x="132" y="100"/>
                    <a:pt x="131" y="100"/>
                  </a:cubicBezTo>
                  <a:cubicBezTo>
                    <a:pt x="100" y="131"/>
                    <a:pt x="100" y="131"/>
                    <a:pt x="100" y="131"/>
                  </a:cubicBezTo>
                  <a:cubicBezTo>
                    <a:pt x="100" y="132"/>
                    <a:pt x="96" y="135"/>
                    <a:pt x="93" y="132"/>
                  </a:cubicBezTo>
                  <a:cubicBezTo>
                    <a:pt x="91" y="130"/>
                    <a:pt x="91" y="128"/>
                    <a:pt x="92" y="127"/>
                  </a:cubicBezTo>
                  <a:cubicBezTo>
                    <a:pt x="95" y="122"/>
                    <a:pt x="94" y="121"/>
                    <a:pt x="90" y="117"/>
                  </a:cubicBezTo>
                  <a:cubicBezTo>
                    <a:pt x="20" y="47"/>
                    <a:pt x="20" y="47"/>
                    <a:pt x="20" y="47"/>
                  </a:cubicBezTo>
                  <a:close/>
                  <a:moveTo>
                    <a:pt x="93" y="25"/>
                  </a:moveTo>
                  <a:cubicBezTo>
                    <a:pt x="94" y="26"/>
                    <a:pt x="96" y="29"/>
                    <a:pt x="93" y="32"/>
                  </a:cubicBezTo>
                  <a:cubicBezTo>
                    <a:pt x="90" y="35"/>
                    <a:pt x="86" y="33"/>
                    <a:pt x="84" y="31"/>
                  </a:cubicBezTo>
                  <a:cubicBezTo>
                    <a:pt x="77" y="26"/>
                    <a:pt x="68" y="20"/>
                    <a:pt x="58" y="22"/>
                  </a:cubicBezTo>
                  <a:cubicBezTo>
                    <a:pt x="52" y="15"/>
                    <a:pt x="52" y="15"/>
                    <a:pt x="52" y="15"/>
                  </a:cubicBezTo>
                  <a:cubicBezTo>
                    <a:pt x="68" y="0"/>
                    <a:pt x="68" y="0"/>
                    <a:pt x="68" y="0"/>
                  </a:cubicBezTo>
                  <a:cubicBezTo>
                    <a:pt x="93" y="25"/>
                    <a:pt x="93" y="25"/>
                    <a:pt x="93" y="25"/>
                  </a:cubicBezTo>
                  <a:close/>
                  <a:moveTo>
                    <a:pt x="0" y="68"/>
                  </a:moveTo>
                  <a:cubicBezTo>
                    <a:pt x="15" y="52"/>
                    <a:pt x="15" y="52"/>
                    <a:pt x="15" y="52"/>
                  </a:cubicBezTo>
                  <a:cubicBezTo>
                    <a:pt x="22" y="58"/>
                    <a:pt x="22" y="58"/>
                    <a:pt x="22" y="58"/>
                  </a:cubicBezTo>
                  <a:cubicBezTo>
                    <a:pt x="20" y="68"/>
                    <a:pt x="26" y="77"/>
                    <a:pt x="31" y="84"/>
                  </a:cubicBezTo>
                  <a:cubicBezTo>
                    <a:pt x="33" y="87"/>
                    <a:pt x="35" y="90"/>
                    <a:pt x="32" y="93"/>
                  </a:cubicBezTo>
                  <a:cubicBezTo>
                    <a:pt x="29" y="96"/>
                    <a:pt x="26" y="94"/>
                    <a:pt x="25" y="93"/>
                  </a:cubicBezTo>
                  <a:cubicBezTo>
                    <a:pt x="0" y="68"/>
                    <a:pt x="0" y="68"/>
                    <a:pt x="0" y="6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43"/>
            <p:cNvSpPr>
              <a:spLocks noEditPoints="1"/>
            </p:cNvSpPr>
            <p:nvPr/>
          </p:nvSpPr>
          <p:spPr bwMode="auto">
            <a:xfrm>
              <a:off x="3325" y="1650"/>
              <a:ext cx="385" cy="383"/>
            </a:xfrm>
            <a:custGeom>
              <a:avLst/>
              <a:gdLst>
                <a:gd name="T0" fmla="*/ 103 w 163"/>
                <a:gd name="T1" fmla="*/ 117 h 162"/>
                <a:gd name="T2" fmla="*/ 113 w 163"/>
                <a:gd name="T3" fmla="*/ 119 h 162"/>
                <a:gd name="T4" fmla="*/ 118 w 163"/>
                <a:gd name="T5" fmla="*/ 120 h 162"/>
                <a:gd name="T6" fmla="*/ 117 w 163"/>
                <a:gd name="T7" fmla="*/ 127 h 162"/>
                <a:gd name="T8" fmla="*/ 86 w 163"/>
                <a:gd name="T9" fmla="*/ 158 h 162"/>
                <a:gd name="T10" fmla="*/ 79 w 163"/>
                <a:gd name="T11" fmla="*/ 159 h 162"/>
                <a:gd name="T12" fmla="*/ 78 w 163"/>
                <a:gd name="T13" fmla="*/ 154 h 162"/>
                <a:gd name="T14" fmla="*/ 76 w 163"/>
                <a:gd name="T15" fmla="*/ 144 h 162"/>
                <a:gd name="T16" fmla="*/ 19 w 163"/>
                <a:gd name="T17" fmla="*/ 86 h 162"/>
                <a:gd name="T18" fmla="*/ 9 w 163"/>
                <a:gd name="T19" fmla="*/ 84 h 162"/>
                <a:gd name="T20" fmla="*/ 4 w 163"/>
                <a:gd name="T21" fmla="*/ 84 h 162"/>
                <a:gd name="T22" fmla="*/ 4 w 163"/>
                <a:gd name="T23" fmla="*/ 76 h 162"/>
                <a:gd name="T24" fmla="*/ 35 w 163"/>
                <a:gd name="T25" fmla="*/ 45 h 162"/>
                <a:gd name="T26" fmla="*/ 43 w 163"/>
                <a:gd name="T27" fmla="*/ 45 h 162"/>
                <a:gd name="T28" fmla="*/ 43 w 163"/>
                <a:gd name="T29" fmla="*/ 50 h 162"/>
                <a:gd name="T30" fmla="*/ 45 w 163"/>
                <a:gd name="T31" fmla="*/ 60 h 162"/>
                <a:gd name="T32" fmla="*/ 103 w 163"/>
                <a:gd name="T33" fmla="*/ 117 h 162"/>
                <a:gd name="T34" fmla="*/ 91 w 163"/>
                <a:gd name="T35" fmla="*/ 76 h 162"/>
                <a:gd name="T36" fmla="*/ 82 w 163"/>
                <a:gd name="T37" fmla="*/ 86 h 162"/>
                <a:gd name="T38" fmla="*/ 75 w 163"/>
                <a:gd name="T39" fmla="*/ 80 h 162"/>
                <a:gd name="T40" fmla="*/ 85 w 163"/>
                <a:gd name="T41" fmla="*/ 70 h 162"/>
                <a:gd name="T42" fmla="*/ 60 w 163"/>
                <a:gd name="T43" fmla="*/ 45 h 162"/>
                <a:gd name="T44" fmla="*/ 50 w 163"/>
                <a:gd name="T45" fmla="*/ 43 h 162"/>
                <a:gd name="T46" fmla="*/ 45 w 163"/>
                <a:gd name="T47" fmla="*/ 42 h 162"/>
                <a:gd name="T48" fmla="*/ 46 w 163"/>
                <a:gd name="T49" fmla="*/ 35 h 162"/>
                <a:gd name="T50" fmla="*/ 77 w 163"/>
                <a:gd name="T51" fmla="*/ 4 h 162"/>
                <a:gd name="T52" fmla="*/ 84 w 163"/>
                <a:gd name="T53" fmla="*/ 3 h 162"/>
                <a:gd name="T54" fmla="*/ 85 w 163"/>
                <a:gd name="T55" fmla="*/ 8 h 162"/>
                <a:gd name="T56" fmla="*/ 87 w 163"/>
                <a:gd name="T57" fmla="*/ 18 h 162"/>
                <a:gd name="T58" fmla="*/ 144 w 163"/>
                <a:gd name="T59" fmla="*/ 76 h 162"/>
                <a:gd name="T60" fmla="*/ 154 w 163"/>
                <a:gd name="T61" fmla="*/ 78 h 162"/>
                <a:gd name="T62" fmla="*/ 159 w 163"/>
                <a:gd name="T63" fmla="*/ 78 h 162"/>
                <a:gd name="T64" fmla="*/ 159 w 163"/>
                <a:gd name="T65" fmla="*/ 86 h 162"/>
                <a:gd name="T66" fmla="*/ 128 w 163"/>
                <a:gd name="T67" fmla="*/ 117 h 162"/>
                <a:gd name="T68" fmla="*/ 120 w 163"/>
                <a:gd name="T69" fmla="*/ 117 h 162"/>
                <a:gd name="T70" fmla="*/ 120 w 163"/>
                <a:gd name="T71" fmla="*/ 112 h 162"/>
                <a:gd name="T72" fmla="*/ 117 w 163"/>
                <a:gd name="T73" fmla="*/ 102 h 162"/>
                <a:gd name="T74" fmla="*/ 91 w 163"/>
                <a:gd name="T75" fmla="*/ 76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3" h="162">
                  <a:moveTo>
                    <a:pt x="103" y="117"/>
                  </a:moveTo>
                  <a:cubicBezTo>
                    <a:pt x="107" y="121"/>
                    <a:pt x="108" y="122"/>
                    <a:pt x="113" y="119"/>
                  </a:cubicBezTo>
                  <a:cubicBezTo>
                    <a:pt x="114" y="118"/>
                    <a:pt x="116" y="118"/>
                    <a:pt x="118" y="120"/>
                  </a:cubicBezTo>
                  <a:cubicBezTo>
                    <a:pt x="121" y="123"/>
                    <a:pt x="118" y="127"/>
                    <a:pt x="117" y="127"/>
                  </a:cubicBezTo>
                  <a:cubicBezTo>
                    <a:pt x="86" y="158"/>
                    <a:pt x="86" y="158"/>
                    <a:pt x="86" y="158"/>
                  </a:cubicBezTo>
                  <a:cubicBezTo>
                    <a:pt x="86" y="159"/>
                    <a:pt x="82" y="162"/>
                    <a:pt x="79" y="159"/>
                  </a:cubicBezTo>
                  <a:cubicBezTo>
                    <a:pt x="77" y="157"/>
                    <a:pt x="77" y="155"/>
                    <a:pt x="78" y="154"/>
                  </a:cubicBezTo>
                  <a:cubicBezTo>
                    <a:pt x="81" y="149"/>
                    <a:pt x="80" y="148"/>
                    <a:pt x="76" y="144"/>
                  </a:cubicBezTo>
                  <a:cubicBezTo>
                    <a:pt x="19" y="86"/>
                    <a:pt x="19" y="86"/>
                    <a:pt x="19" y="86"/>
                  </a:cubicBezTo>
                  <a:cubicBezTo>
                    <a:pt x="15" y="82"/>
                    <a:pt x="14" y="82"/>
                    <a:pt x="9" y="84"/>
                  </a:cubicBezTo>
                  <a:cubicBezTo>
                    <a:pt x="7" y="85"/>
                    <a:pt x="5" y="85"/>
                    <a:pt x="4" y="84"/>
                  </a:cubicBezTo>
                  <a:cubicBezTo>
                    <a:pt x="0" y="81"/>
                    <a:pt x="4" y="77"/>
                    <a:pt x="4" y="76"/>
                  </a:cubicBezTo>
                  <a:cubicBezTo>
                    <a:pt x="35" y="45"/>
                    <a:pt x="35" y="45"/>
                    <a:pt x="35" y="45"/>
                  </a:cubicBezTo>
                  <a:cubicBezTo>
                    <a:pt x="36" y="45"/>
                    <a:pt x="40" y="41"/>
                    <a:pt x="43" y="45"/>
                  </a:cubicBezTo>
                  <a:cubicBezTo>
                    <a:pt x="44" y="46"/>
                    <a:pt x="44" y="48"/>
                    <a:pt x="43" y="50"/>
                  </a:cubicBezTo>
                  <a:cubicBezTo>
                    <a:pt x="41" y="55"/>
                    <a:pt x="41" y="56"/>
                    <a:pt x="45" y="60"/>
                  </a:cubicBezTo>
                  <a:cubicBezTo>
                    <a:pt x="103" y="117"/>
                    <a:pt x="103" y="117"/>
                    <a:pt x="103" y="117"/>
                  </a:cubicBezTo>
                  <a:close/>
                  <a:moveTo>
                    <a:pt x="91" y="76"/>
                  </a:moveTo>
                  <a:cubicBezTo>
                    <a:pt x="82" y="86"/>
                    <a:pt x="82" y="86"/>
                    <a:pt x="82" y="86"/>
                  </a:cubicBezTo>
                  <a:cubicBezTo>
                    <a:pt x="75" y="80"/>
                    <a:pt x="75" y="80"/>
                    <a:pt x="75" y="80"/>
                  </a:cubicBezTo>
                  <a:cubicBezTo>
                    <a:pt x="85" y="70"/>
                    <a:pt x="85" y="70"/>
                    <a:pt x="85" y="70"/>
                  </a:cubicBezTo>
                  <a:cubicBezTo>
                    <a:pt x="60" y="45"/>
                    <a:pt x="60" y="45"/>
                    <a:pt x="60" y="45"/>
                  </a:cubicBezTo>
                  <a:cubicBezTo>
                    <a:pt x="56" y="41"/>
                    <a:pt x="55" y="40"/>
                    <a:pt x="50" y="43"/>
                  </a:cubicBezTo>
                  <a:cubicBezTo>
                    <a:pt x="49" y="44"/>
                    <a:pt x="47" y="44"/>
                    <a:pt x="45" y="42"/>
                  </a:cubicBezTo>
                  <a:cubicBezTo>
                    <a:pt x="42" y="39"/>
                    <a:pt x="45" y="35"/>
                    <a:pt x="46" y="35"/>
                  </a:cubicBezTo>
                  <a:cubicBezTo>
                    <a:pt x="77" y="4"/>
                    <a:pt x="77" y="4"/>
                    <a:pt x="77" y="4"/>
                  </a:cubicBezTo>
                  <a:cubicBezTo>
                    <a:pt x="77" y="3"/>
                    <a:pt x="81" y="0"/>
                    <a:pt x="84" y="3"/>
                  </a:cubicBezTo>
                  <a:cubicBezTo>
                    <a:pt x="86" y="5"/>
                    <a:pt x="86" y="7"/>
                    <a:pt x="85" y="8"/>
                  </a:cubicBezTo>
                  <a:cubicBezTo>
                    <a:pt x="82" y="14"/>
                    <a:pt x="83" y="14"/>
                    <a:pt x="87" y="18"/>
                  </a:cubicBezTo>
                  <a:cubicBezTo>
                    <a:pt x="144" y="76"/>
                    <a:pt x="144" y="76"/>
                    <a:pt x="144" y="76"/>
                  </a:cubicBezTo>
                  <a:cubicBezTo>
                    <a:pt x="148" y="80"/>
                    <a:pt x="149" y="80"/>
                    <a:pt x="154" y="78"/>
                  </a:cubicBezTo>
                  <a:cubicBezTo>
                    <a:pt x="156" y="77"/>
                    <a:pt x="158" y="77"/>
                    <a:pt x="159" y="78"/>
                  </a:cubicBezTo>
                  <a:cubicBezTo>
                    <a:pt x="163" y="82"/>
                    <a:pt x="159" y="85"/>
                    <a:pt x="159" y="86"/>
                  </a:cubicBezTo>
                  <a:cubicBezTo>
                    <a:pt x="128" y="117"/>
                    <a:pt x="128" y="117"/>
                    <a:pt x="128" y="117"/>
                  </a:cubicBezTo>
                  <a:cubicBezTo>
                    <a:pt x="127" y="117"/>
                    <a:pt x="123" y="121"/>
                    <a:pt x="120" y="117"/>
                  </a:cubicBezTo>
                  <a:cubicBezTo>
                    <a:pt x="119" y="116"/>
                    <a:pt x="119" y="114"/>
                    <a:pt x="120" y="112"/>
                  </a:cubicBezTo>
                  <a:cubicBezTo>
                    <a:pt x="122" y="107"/>
                    <a:pt x="122" y="107"/>
                    <a:pt x="117" y="102"/>
                  </a:cubicBezTo>
                  <a:cubicBezTo>
                    <a:pt x="91" y="76"/>
                    <a:pt x="91" y="76"/>
                    <a:pt x="91" y="7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44"/>
            <p:cNvSpPr>
              <a:spLocks noEditPoints="1"/>
            </p:cNvSpPr>
            <p:nvPr/>
          </p:nvSpPr>
          <p:spPr bwMode="auto">
            <a:xfrm>
              <a:off x="3521" y="1497"/>
              <a:ext cx="342" cy="340"/>
            </a:xfrm>
            <a:custGeom>
              <a:avLst/>
              <a:gdLst>
                <a:gd name="T0" fmla="*/ 4 w 145"/>
                <a:gd name="T1" fmla="*/ 58 h 144"/>
                <a:gd name="T2" fmla="*/ 33 w 145"/>
                <a:gd name="T3" fmla="*/ 29 h 144"/>
                <a:gd name="T4" fmla="*/ 115 w 145"/>
                <a:gd name="T5" fmla="*/ 112 h 144"/>
                <a:gd name="T6" fmla="*/ 86 w 145"/>
                <a:gd name="T7" fmla="*/ 140 h 144"/>
                <a:gd name="T8" fmla="*/ 79 w 145"/>
                <a:gd name="T9" fmla="*/ 141 h 144"/>
                <a:gd name="T10" fmla="*/ 78 w 145"/>
                <a:gd name="T11" fmla="*/ 136 h 144"/>
                <a:gd name="T12" fmla="*/ 76 w 145"/>
                <a:gd name="T13" fmla="*/ 126 h 144"/>
                <a:gd name="T14" fmla="*/ 18 w 145"/>
                <a:gd name="T15" fmla="*/ 69 h 144"/>
                <a:gd name="T16" fmla="*/ 9 w 145"/>
                <a:gd name="T17" fmla="*/ 66 h 144"/>
                <a:gd name="T18" fmla="*/ 3 w 145"/>
                <a:gd name="T19" fmla="*/ 66 h 144"/>
                <a:gd name="T20" fmla="*/ 4 w 145"/>
                <a:gd name="T21" fmla="*/ 58 h 144"/>
                <a:gd name="T22" fmla="*/ 38 w 145"/>
                <a:gd name="T23" fmla="*/ 25 h 144"/>
                <a:gd name="T24" fmla="*/ 62 w 145"/>
                <a:gd name="T25" fmla="*/ 0 h 144"/>
                <a:gd name="T26" fmla="*/ 85 w 145"/>
                <a:gd name="T27" fmla="*/ 22 h 144"/>
                <a:gd name="T28" fmla="*/ 84 w 145"/>
                <a:gd name="T29" fmla="*/ 28 h 144"/>
                <a:gd name="T30" fmla="*/ 78 w 145"/>
                <a:gd name="T31" fmla="*/ 29 h 144"/>
                <a:gd name="T32" fmla="*/ 44 w 145"/>
                <a:gd name="T33" fmla="*/ 31 h 144"/>
                <a:gd name="T34" fmla="*/ 38 w 145"/>
                <a:gd name="T35" fmla="*/ 25 h 144"/>
                <a:gd name="T36" fmla="*/ 114 w 145"/>
                <a:gd name="T37" fmla="*/ 100 h 144"/>
                <a:gd name="T38" fmla="*/ 116 w 145"/>
                <a:gd name="T39" fmla="*/ 66 h 144"/>
                <a:gd name="T40" fmla="*/ 116 w 145"/>
                <a:gd name="T41" fmla="*/ 59 h 144"/>
                <a:gd name="T42" fmla="*/ 123 w 145"/>
                <a:gd name="T43" fmla="*/ 59 h 144"/>
                <a:gd name="T44" fmla="*/ 145 w 145"/>
                <a:gd name="T45" fmla="*/ 81 h 144"/>
                <a:gd name="T46" fmla="*/ 120 w 145"/>
                <a:gd name="T47" fmla="*/ 107 h 144"/>
                <a:gd name="T48" fmla="*/ 114 w 145"/>
                <a:gd name="T49" fmla="*/ 100 h 144"/>
                <a:gd name="T50" fmla="*/ 75 w 145"/>
                <a:gd name="T51" fmla="*/ 61 h 144"/>
                <a:gd name="T52" fmla="*/ 73 w 145"/>
                <a:gd name="T53" fmla="*/ 44 h 144"/>
                <a:gd name="T54" fmla="*/ 72 w 145"/>
                <a:gd name="T55" fmla="*/ 37 h 144"/>
                <a:gd name="T56" fmla="*/ 80 w 145"/>
                <a:gd name="T57" fmla="*/ 39 h 144"/>
                <a:gd name="T58" fmla="*/ 104 w 145"/>
                <a:gd name="T59" fmla="*/ 62 h 144"/>
                <a:gd name="T60" fmla="*/ 106 w 145"/>
                <a:gd name="T61" fmla="*/ 70 h 144"/>
                <a:gd name="T62" fmla="*/ 99 w 145"/>
                <a:gd name="T63" fmla="*/ 70 h 144"/>
                <a:gd name="T64" fmla="*/ 81 w 145"/>
                <a:gd name="T65" fmla="*/ 68 h 144"/>
                <a:gd name="T66" fmla="*/ 75 w 145"/>
                <a:gd name="T67" fmla="*/ 6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5" h="144">
                  <a:moveTo>
                    <a:pt x="4" y="58"/>
                  </a:moveTo>
                  <a:cubicBezTo>
                    <a:pt x="33" y="29"/>
                    <a:pt x="33" y="29"/>
                    <a:pt x="33" y="29"/>
                  </a:cubicBezTo>
                  <a:cubicBezTo>
                    <a:pt x="115" y="112"/>
                    <a:pt x="115" y="112"/>
                    <a:pt x="115" y="112"/>
                  </a:cubicBezTo>
                  <a:cubicBezTo>
                    <a:pt x="86" y="140"/>
                    <a:pt x="86" y="140"/>
                    <a:pt x="86" y="140"/>
                  </a:cubicBezTo>
                  <a:cubicBezTo>
                    <a:pt x="86" y="141"/>
                    <a:pt x="82" y="144"/>
                    <a:pt x="79" y="141"/>
                  </a:cubicBezTo>
                  <a:cubicBezTo>
                    <a:pt x="77" y="140"/>
                    <a:pt x="77" y="138"/>
                    <a:pt x="78" y="136"/>
                  </a:cubicBezTo>
                  <a:cubicBezTo>
                    <a:pt x="81" y="131"/>
                    <a:pt x="80" y="130"/>
                    <a:pt x="76" y="126"/>
                  </a:cubicBezTo>
                  <a:cubicBezTo>
                    <a:pt x="18" y="69"/>
                    <a:pt x="18" y="69"/>
                    <a:pt x="18" y="69"/>
                  </a:cubicBezTo>
                  <a:cubicBezTo>
                    <a:pt x="14" y="65"/>
                    <a:pt x="14" y="64"/>
                    <a:pt x="9" y="66"/>
                  </a:cubicBezTo>
                  <a:cubicBezTo>
                    <a:pt x="7" y="67"/>
                    <a:pt x="5" y="67"/>
                    <a:pt x="3" y="66"/>
                  </a:cubicBezTo>
                  <a:cubicBezTo>
                    <a:pt x="0" y="63"/>
                    <a:pt x="4" y="59"/>
                    <a:pt x="4" y="58"/>
                  </a:cubicBezTo>
                  <a:close/>
                  <a:moveTo>
                    <a:pt x="38" y="25"/>
                  </a:moveTo>
                  <a:cubicBezTo>
                    <a:pt x="62" y="0"/>
                    <a:pt x="62" y="0"/>
                    <a:pt x="62" y="0"/>
                  </a:cubicBezTo>
                  <a:cubicBezTo>
                    <a:pt x="85" y="22"/>
                    <a:pt x="85" y="22"/>
                    <a:pt x="85" y="22"/>
                  </a:cubicBezTo>
                  <a:cubicBezTo>
                    <a:pt x="85" y="23"/>
                    <a:pt x="87" y="25"/>
                    <a:pt x="84" y="28"/>
                  </a:cubicBezTo>
                  <a:cubicBezTo>
                    <a:pt x="82" y="30"/>
                    <a:pt x="80" y="30"/>
                    <a:pt x="78" y="29"/>
                  </a:cubicBezTo>
                  <a:cubicBezTo>
                    <a:pt x="66" y="23"/>
                    <a:pt x="55" y="23"/>
                    <a:pt x="44" y="31"/>
                  </a:cubicBezTo>
                  <a:cubicBezTo>
                    <a:pt x="38" y="25"/>
                    <a:pt x="38" y="25"/>
                    <a:pt x="38" y="25"/>
                  </a:cubicBezTo>
                  <a:close/>
                  <a:moveTo>
                    <a:pt x="114" y="100"/>
                  </a:moveTo>
                  <a:cubicBezTo>
                    <a:pt x="121" y="90"/>
                    <a:pt x="122" y="77"/>
                    <a:pt x="116" y="66"/>
                  </a:cubicBezTo>
                  <a:cubicBezTo>
                    <a:pt x="115" y="63"/>
                    <a:pt x="114" y="61"/>
                    <a:pt x="116" y="59"/>
                  </a:cubicBezTo>
                  <a:cubicBezTo>
                    <a:pt x="120" y="55"/>
                    <a:pt x="123" y="59"/>
                    <a:pt x="123" y="59"/>
                  </a:cubicBezTo>
                  <a:cubicBezTo>
                    <a:pt x="145" y="81"/>
                    <a:pt x="145" y="81"/>
                    <a:pt x="145" y="81"/>
                  </a:cubicBezTo>
                  <a:cubicBezTo>
                    <a:pt x="120" y="107"/>
                    <a:pt x="120" y="107"/>
                    <a:pt x="120" y="107"/>
                  </a:cubicBezTo>
                  <a:cubicBezTo>
                    <a:pt x="114" y="100"/>
                    <a:pt x="114" y="100"/>
                    <a:pt x="114" y="100"/>
                  </a:cubicBezTo>
                  <a:close/>
                  <a:moveTo>
                    <a:pt x="75" y="61"/>
                  </a:moveTo>
                  <a:cubicBezTo>
                    <a:pt x="78" y="55"/>
                    <a:pt x="76" y="49"/>
                    <a:pt x="73" y="44"/>
                  </a:cubicBezTo>
                  <a:cubicBezTo>
                    <a:pt x="71" y="41"/>
                    <a:pt x="70" y="39"/>
                    <a:pt x="72" y="37"/>
                  </a:cubicBezTo>
                  <a:cubicBezTo>
                    <a:pt x="76" y="33"/>
                    <a:pt x="79" y="38"/>
                    <a:pt x="80" y="39"/>
                  </a:cubicBezTo>
                  <a:cubicBezTo>
                    <a:pt x="104" y="62"/>
                    <a:pt x="104" y="62"/>
                    <a:pt x="104" y="62"/>
                  </a:cubicBezTo>
                  <a:cubicBezTo>
                    <a:pt x="105" y="63"/>
                    <a:pt x="109" y="67"/>
                    <a:pt x="106" y="70"/>
                  </a:cubicBezTo>
                  <a:cubicBezTo>
                    <a:pt x="104" y="72"/>
                    <a:pt x="101" y="71"/>
                    <a:pt x="99" y="70"/>
                  </a:cubicBezTo>
                  <a:cubicBezTo>
                    <a:pt x="94" y="67"/>
                    <a:pt x="87" y="65"/>
                    <a:pt x="81" y="68"/>
                  </a:cubicBezTo>
                  <a:cubicBezTo>
                    <a:pt x="75" y="61"/>
                    <a:pt x="75" y="61"/>
                    <a:pt x="75"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33" name="Picture 10" descr="C:\Users\scottjac\Desktop\thumbnailCAD105M0.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088275" y="1368468"/>
            <a:ext cx="857473" cy="857250"/>
          </a:xfrm>
          <a:prstGeom prst="rect">
            <a:avLst/>
          </a:prstGeom>
          <a:noFill/>
          <a:ln>
            <a:noFill/>
          </a:ln>
          <a:extLst/>
        </p:spPr>
      </p:pic>
      <p:sp>
        <p:nvSpPr>
          <p:cNvPr id="34" name="Rounded Rectangle 33"/>
          <p:cNvSpPr/>
          <p:nvPr/>
        </p:nvSpPr>
        <p:spPr bwMode="auto">
          <a:xfrm>
            <a:off x="8068381" y="1368468"/>
            <a:ext cx="857473" cy="857250"/>
          </a:xfrm>
          <a:prstGeom prst="roundRect">
            <a:avLst>
              <a:gd name="adj" fmla="val 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94" rIns="0" bIns="34294" numCol="1" spcCol="0" rtlCol="0" fromWordArt="0" anchor="ctr" anchorCtr="0" forceAA="0" compatLnSpc="1">
            <a:prstTxWarp prst="textNoShape">
              <a:avLst/>
            </a:prstTxWarp>
            <a:noAutofit/>
          </a:bodyPr>
          <a:lstStyle/>
          <a:p>
            <a:pPr algn="ctr" defTabSz="685637" fontAlgn="base">
              <a:spcBef>
                <a:spcPct val="0"/>
              </a:spcBef>
              <a:spcAft>
                <a:spcPct val="0"/>
              </a:spcAft>
            </a:pPr>
            <a:r>
              <a:rPr lang="en-US" dirty="0" smtClean="0">
                <a:solidFill>
                  <a:schemeClr val="tx1"/>
                </a:solidFill>
                <a:ea typeface="Segoe UI" pitchFamily="34" charset="0"/>
                <a:cs typeface="Segoe UI" pitchFamily="34" charset="0"/>
              </a:rPr>
              <a:t>Expense Approval</a:t>
            </a:r>
          </a:p>
        </p:txBody>
      </p:sp>
      <p:sp>
        <p:nvSpPr>
          <p:cNvPr id="35" name="Rounded Rectangle 34"/>
          <p:cNvSpPr/>
          <p:nvPr/>
        </p:nvSpPr>
        <p:spPr bwMode="auto">
          <a:xfrm>
            <a:off x="7083564" y="1368468"/>
            <a:ext cx="857473" cy="857250"/>
          </a:xfrm>
          <a:prstGeom prst="roundRect">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94" rIns="0" bIns="34294" numCol="1" spcCol="0" rtlCol="0" fromWordArt="0" anchor="ctr" anchorCtr="0" forceAA="0" compatLnSpc="1">
            <a:prstTxWarp prst="textNoShape">
              <a:avLst/>
            </a:prstTxWarp>
            <a:noAutofit/>
          </a:bodyPr>
          <a:lstStyle/>
          <a:p>
            <a:pPr algn="ctr" defTabSz="685637" fontAlgn="base">
              <a:spcBef>
                <a:spcPct val="0"/>
              </a:spcBef>
              <a:spcAft>
                <a:spcPct val="0"/>
              </a:spcAft>
            </a:pPr>
            <a:r>
              <a:rPr lang="en-US" dirty="0" err="1" smtClean="0">
                <a:solidFill>
                  <a:schemeClr val="tx1"/>
                </a:solidFill>
                <a:ea typeface="Segoe UI" pitchFamily="34" charset="0"/>
                <a:cs typeface="Segoe UI" pitchFamily="34" charset="0"/>
              </a:rPr>
              <a:t>Headtrax</a:t>
            </a:r>
            <a:endParaRPr lang="en-US" dirty="0" smtClean="0">
              <a:solidFill>
                <a:schemeClr val="tx1"/>
              </a:solidFill>
              <a:ea typeface="Segoe UI" pitchFamily="34" charset="0"/>
              <a:cs typeface="Segoe UI" pitchFamily="34" charset="0"/>
            </a:endParaRPr>
          </a:p>
        </p:txBody>
      </p:sp>
      <p:grpSp>
        <p:nvGrpSpPr>
          <p:cNvPr id="36" name="Group 35"/>
          <p:cNvGrpSpPr/>
          <p:nvPr/>
        </p:nvGrpSpPr>
        <p:grpSpPr>
          <a:xfrm>
            <a:off x="1196319" y="2299634"/>
            <a:ext cx="857473" cy="857250"/>
            <a:chOff x="5251298" y="1949094"/>
            <a:chExt cx="3880538" cy="3800412"/>
          </a:xfrm>
        </p:grpSpPr>
        <p:sp>
          <p:nvSpPr>
            <p:cNvPr id="37" name="Rectangle 36"/>
            <p:cNvSpPr/>
            <p:nvPr/>
          </p:nvSpPr>
          <p:spPr bwMode="auto">
            <a:xfrm>
              <a:off x="5251298" y="1949094"/>
              <a:ext cx="3880538" cy="3800412"/>
            </a:xfrm>
            <a:prstGeom prst="rect">
              <a:avLst/>
            </a:prstGeom>
            <a:gradFill>
              <a:gsLst>
                <a:gs pos="0">
                  <a:schemeClr val="accent6">
                    <a:lumMod val="60000"/>
                    <a:lumOff val="40000"/>
                  </a:schemeClr>
                </a:gs>
                <a:gs pos="100000">
                  <a:schemeClr val="accent6">
                    <a:lumMod val="75000"/>
                  </a:schemeClr>
                </a:gs>
                <a:gs pos="100000">
                  <a:schemeClr val="accent5">
                    <a:lumMod val="40000"/>
                    <a:lumOff val="60000"/>
                  </a:schemeClr>
                </a:gs>
                <a:gs pos="100000">
                  <a:srgbClr val="FFEBFA"/>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685637" fontAlgn="base">
                <a:spcBef>
                  <a:spcPct val="0"/>
                </a:spcBef>
                <a:spcAft>
                  <a:spcPct val="0"/>
                </a:spcAft>
              </a:pPr>
              <a:endParaRPr lang="en-US" dirty="0" err="1" smtClean="0">
                <a:solidFill>
                  <a:schemeClr val="tx1"/>
                </a:solidFill>
                <a:ea typeface="Segoe UI" pitchFamily="34" charset="0"/>
                <a:cs typeface="Segoe UI" pitchFamily="34" charset="0"/>
              </a:endParaRPr>
            </a:p>
          </p:txBody>
        </p:sp>
        <p:pic>
          <p:nvPicPr>
            <p:cNvPr id="38" name="Picture 6" descr="C:\Users\scottjac\Desktop\thumbnailCAUERUHH.jpg"/>
            <p:cNvPicPr>
              <a:picLocks noChangeAspect="1" noChangeArrowheads="1"/>
            </p:cNvPicPr>
            <p:nvPr/>
          </p:nvPicPr>
          <p:blipFill rotWithShape="1">
            <a:blip r:embed="rId9">
              <a:extLst>
                <a:ext uri="{28A0092B-C50C-407E-A947-70E740481C1C}">
                  <a14:useLocalDpi xmlns:a14="http://schemas.microsoft.com/office/drawing/2010/main" val="0"/>
                </a:ext>
              </a:extLst>
            </a:blip>
            <a:srcRect l="10266" t="12269" r="9332" b="11594"/>
            <a:stretch/>
          </p:blipFill>
          <p:spPr bwMode="auto">
            <a:xfrm>
              <a:off x="5268185" y="2045368"/>
              <a:ext cx="3846402" cy="3704138"/>
            </a:xfrm>
            <a:prstGeom prst="roundRect">
              <a:avLst>
                <a:gd name="adj" fmla="val 8594"/>
              </a:avLst>
            </a:prstGeom>
            <a:solidFill>
              <a:srgbClr val="FFFFFF">
                <a:shade val="85000"/>
              </a:srgbClr>
            </a:solidFill>
            <a:ln>
              <a:noFill/>
            </a:ln>
            <a:effectLst/>
            <a:extLst/>
          </p:spPr>
        </p:pic>
      </p:grpSp>
      <p:sp>
        <p:nvSpPr>
          <p:cNvPr id="39" name="Rounded Rectangle 38"/>
          <p:cNvSpPr/>
          <p:nvPr/>
        </p:nvSpPr>
        <p:spPr bwMode="auto">
          <a:xfrm>
            <a:off x="8068381" y="2299634"/>
            <a:ext cx="857473" cy="857250"/>
          </a:xfrm>
          <a:prstGeom prst="roundRect">
            <a:avLst>
              <a:gd name="adj" fmla="val 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94" rIns="0" bIns="34294" numCol="1" spcCol="0" rtlCol="0" fromWordArt="0" anchor="ctr" anchorCtr="0" forceAA="0" compatLnSpc="1">
            <a:prstTxWarp prst="textNoShape">
              <a:avLst/>
            </a:prstTxWarp>
            <a:noAutofit/>
          </a:bodyPr>
          <a:lstStyle/>
          <a:p>
            <a:pPr algn="ctr" defTabSz="685637" fontAlgn="base">
              <a:spcBef>
                <a:spcPct val="0"/>
              </a:spcBef>
              <a:spcAft>
                <a:spcPct val="0"/>
              </a:spcAft>
            </a:pPr>
            <a:r>
              <a:rPr lang="en-US" dirty="0" smtClean="0">
                <a:solidFill>
                  <a:schemeClr val="tx1"/>
                </a:solidFill>
                <a:ea typeface="Segoe UI" pitchFamily="34" charset="0"/>
                <a:cs typeface="Segoe UI" pitchFamily="34" charset="0"/>
              </a:rPr>
              <a:t>Company News</a:t>
            </a:r>
          </a:p>
        </p:txBody>
      </p:sp>
      <p:sp>
        <p:nvSpPr>
          <p:cNvPr id="40" name="Rectangle 39"/>
          <p:cNvSpPr/>
          <p:nvPr/>
        </p:nvSpPr>
        <p:spPr bwMode="auto">
          <a:xfrm>
            <a:off x="71648" y="4035194"/>
            <a:ext cx="1028968" cy="3429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0" rIns="34294" bIns="0" numCol="1" spcCol="0" rtlCol="0" fromWordArt="0" anchor="ctr" anchorCtr="0" forceAA="0" compatLnSpc="1">
            <a:prstTxWarp prst="textNoShape">
              <a:avLst/>
            </a:prstTxWarp>
            <a:noAutofit/>
          </a:bodyPr>
          <a:lstStyle/>
          <a:p>
            <a:pPr algn="r" defTabSz="685637" fontAlgn="base">
              <a:spcBef>
                <a:spcPct val="0"/>
              </a:spcBef>
              <a:spcAft>
                <a:spcPct val="0"/>
              </a:spcAft>
            </a:pPr>
            <a:r>
              <a:rPr lang="en-US" dirty="0" smtClean="0">
                <a:solidFill>
                  <a:schemeClr val="tx1"/>
                </a:solidFill>
                <a:latin typeface="+mj-lt"/>
                <a:ea typeface="Segoe UI" pitchFamily="34" charset="0"/>
                <a:cs typeface="Segoe UI" pitchFamily="34" charset="0"/>
              </a:rPr>
              <a:t>Used by </a:t>
            </a:r>
          </a:p>
        </p:txBody>
      </p:sp>
      <p:sp>
        <p:nvSpPr>
          <p:cNvPr id="41" name="Rectangle 40"/>
          <p:cNvSpPr/>
          <p:nvPr/>
        </p:nvSpPr>
        <p:spPr bwMode="auto">
          <a:xfrm>
            <a:off x="1196318" y="4028597"/>
            <a:ext cx="3800322" cy="3429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ctr" anchorCtr="0" forceAA="0" compatLnSpc="1">
            <a:prstTxWarp prst="textNoShape">
              <a:avLst/>
            </a:prstTxWarp>
            <a:noAutofit/>
          </a:bodyPr>
          <a:lstStyle/>
          <a:p>
            <a:pPr algn="ctr" defTabSz="685637" fontAlgn="base">
              <a:spcBef>
                <a:spcPct val="0"/>
              </a:spcBef>
              <a:spcAft>
                <a:spcPct val="0"/>
              </a:spcAft>
            </a:pPr>
            <a:r>
              <a:rPr lang="en-US" dirty="0" smtClean="0">
                <a:solidFill>
                  <a:schemeClr val="tx1"/>
                </a:solidFill>
                <a:ea typeface="Segoe UI" pitchFamily="34" charset="0"/>
                <a:cs typeface="Segoe UI" pitchFamily="34" charset="0"/>
              </a:rPr>
              <a:t>Consumer</a:t>
            </a:r>
          </a:p>
        </p:txBody>
      </p:sp>
      <p:sp>
        <p:nvSpPr>
          <p:cNvPr id="42" name="Rectangle 41"/>
          <p:cNvSpPr/>
          <p:nvPr/>
        </p:nvSpPr>
        <p:spPr bwMode="auto">
          <a:xfrm>
            <a:off x="5121148" y="4028597"/>
            <a:ext cx="3800322" cy="3429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ctr" anchorCtr="0" forceAA="0" compatLnSpc="1">
            <a:prstTxWarp prst="textNoShape">
              <a:avLst/>
            </a:prstTxWarp>
            <a:noAutofit/>
          </a:bodyPr>
          <a:lstStyle/>
          <a:p>
            <a:pPr algn="ctr" defTabSz="685637" fontAlgn="base">
              <a:spcBef>
                <a:spcPct val="0"/>
              </a:spcBef>
              <a:spcAft>
                <a:spcPct val="0"/>
              </a:spcAft>
            </a:pPr>
            <a:r>
              <a:rPr lang="en-US" dirty="0" smtClean="0">
                <a:solidFill>
                  <a:schemeClr val="tx1"/>
                </a:solidFill>
                <a:ea typeface="Segoe UI" pitchFamily="34" charset="0"/>
                <a:cs typeface="Segoe UI" pitchFamily="34" charset="0"/>
              </a:rPr>
              <a:t>Business</a:t>
            </a:r>
          </a:p>
        </p:txBody>
      </p:sp>
      <p:sp>
        <p:nvSpPr>
          <p:cNvPr id="43" name="Rectangle 42"/>
          <p:cNvSpPr/>
          <p:nvPr/>
        </p:nvSpPr>
        <p:spPr bwMode="auto">
          <a:xfrm>
            <a:off x="71647" y="3625615"/>
            <a:ext cx="1028968" cy="3429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0" rIns="34294" bIns="0" numCol="1" spcCol="0" rtlCol="0" fromWordArt="0" anchor="ctr" anchorCtr="0" forceAA="0" compatLnSpc="1">
            <a:prstTxWarp prst="textNoShape">
              <a:avLst/>
            </a:prstTxWarp>
            <a:noAutofit/>
          </a:bodyPr>
          <a:lstStyle/>
          <a:p>
            <a:pPr algn="r" defTabSz="685637" fontAlgn="base">
              <a:spcBef>
                <a:spcPct val="0"/>
              </a:spcBef>
              <a:spcAft>
                <a:spcPct val="0"/>
              </a:spcAft>
            </a:pPr>
            <a:r>
              <a:rPr lang="en-US" dirty="0" smtClean="0">
                <a:solidFill>
                  <a:schemeClr val="tx1"/>
                </a:solidFill>
                <a:latin typeface="+mj-lt"/>
                <a:ea typeface="Segoe UI" pitchFamily="34" charset="0"/>
                <a:cs typeface="Segoe UI" pitchFamily="34" charset="0"/>
              </a:rPr>
              <a:t>Built by</a:t>
            </a:r>
          </a:p>
        </p:txBody>
      </p:sp>
      <p:sp>
        <p:nvSpPr>
          <p:cNvPr id="44" name="Rectangle 43"/>
          <p:cNvSpPr/>
          <p:nvPr/>
        </p:nvSpPr>
        <p:spPr bwMode="auto">
          <a:xfrm>
            <a:off x="71647" y="3234554"/>
            <a:ext cx="1028968" cy="3429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0" rIns="34294" bIns="0" numCol="1" spcCol="0" rtlCol="0" fromWordArt="0" anchor="ctr" anchorCtr="0" forceAA="0" compatLnSpc="1">
            <a:prstTxWarp prst="textNoShape">
              <a:avLst/>
            </a:prstTxWarp>
            <a:noAutofit/>
          </a:bodyPr>
          <a:lstStyle/>
          <a:p>
            <a:pPr algn="r" defTabSz="685637" fontAlgn="base">
              <a:spcBef>
                <a:spcPct val="0"/>
              </a:spcBef>
              <a:spcAft>
                <a:spcPct val="0"/>
              </a:spcAft>
            </a:pPr>
            <a:r>
              <a:rPr lang="en-US" dirty="0" smtClean="0">
                <a:solidFill>
                  <a:schemeClr val="tx1"/>
                </a:solidFill>
                <a:latin typeface="+mj-lt"/>
                <a:ea typeface="Segoe UI" pitchFamily="34" charset="0"/>
                <a:cs typeface="Segoe UI" pitchFamily="34" charset="0"/>
              </a:rPr>
              <a:t>Distribution </a:t>
            </a:r>
          </a:p>
        </p:txBody>
      </p:sp>
      <p:sp>
        <p:nvSpPr>
          <p:cNvPr id="45" name="Rectangle 44"/>
          <p:cNvSpPr/>
          <p:nvPr/>
        </p:nvSpPr>
        <p:spPr bwMode="auto">
          <a:xfrm>
            <a:off x="1196318" y="3625615"/>
            <a:ext cx="1838423" cy="3429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ctr" anchorCtr="0" forceAA="0" compatLnSpc="1">
            <a:prstTxWarp prst="textNoShape">
              <a:avLst/>
            </a:prstTxWarp>
            <a:noAutofit/>
          </a:bodyPr>
          <a:lstStyle/>
          <a:p>
            <a:pPr algn="ctr" defTabSz="685637" fontAlgn="base">
              <a:spcBef>
                <a:spcPct val="0"/>
              </a:spcBef>
              <a:spcAft>
                <a:spcPct val="0"/>
              </a:spcAft>
            </a:pPr>
            <a:r>
              <a:rPr lang="en-US" sz="1200" dirty="0">
                <a:solidFill>
                  <a:schemeClr val="tx1"/>
                </a:solidFill>
                <a:ea typeface="Segoe UI" pitchFamily="34" charset="0"/>
                <a:cs typeface="Segoe UI" pitchFamily="34" charset="0"/>
              </a:rPr>
              <a:t>Tech Company</a:t>
            </a:r>
          </a:p>
        </p:txBody>
      </p:sp>
      <p:sp>
        <p:nvSpPr>
          <p:cNvPr id="46" name="Rectangle 45"/>
          <p:cNvSpPr/>
          <p:nvPr/>
        </p:nvSpPr>
        <p:spPr bwMode="auto">
          <a:xfrm>
            <a:off x="1196318" y="3222098"/>
            <a:ext cx="1838423" cy="3429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ctr" anchorCtr="0" forceAA="0" compatLnSpc="1">
            <a:prstTxWarp prst="textNoShape">
              <a:avLst/>
            </a:prstTxWarp>
            <a:noAutofit/>
          </a:bodyPr>
          <a:lstStyle/>
          <a:p>
            <a:pPr algn="ctr" defTabSz="685637" fontAlgn="base">
              <a:spcBef>
                <a:spcPct val="0"/>
              </a:spcBef>
              <a:spcAft>
                <a:spcPct val="0"/>
              </a:spcAft>
            </a:pPr>
            <a:r>
              <a:rPr lang="en-US" sz="1200" dirty="0">
                <a:solidFill>
                  <a:schemeClr val="tx1"/>
                </a:solidFill>
                <a:ea typeface="Segoe UI" pitchFamily="34" charset="0"/>
                <a:cs typeface="Segoe UI" pitchFamily="34" charset="0"/>
              </a:rPr>
              <a:t>Windows Store</a:t>
            </a:r>
          </a:p>
        </p:txBody>
      </p:sp>
      <p:sp>
        <p:nvSpPr>
          <p:cNvPr id="47" name="Rectangle 46"/>
          <p:cNvSpPr/>
          <p:nvPr/>
        </p:nvSpPr>
        <p:spPr bwMode="auto">
          <a:xfrm>
            <a:off x="3158733" y="3625615"/>
            <a:ext cx="1838423" cy="3429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ctr" anchorCtr="0" forceAA="0" compatLnSpc="1">
            <a:prstTxWarp prst="textNoShape">
              <a:avLst/>
            </a:prstTxWarp>
            <a:noAutofit/>
          </a:bodyPr>
          <a:lstStyle/>
          <a:p>
            <a:pPr algn="ctr" defTabSz="685637" fontAlgn="base">
              <a:spcBef>
                <a:spcPct val="0"/>
              </a:spcBef>
              <a:spcAft>
                <a:spcPct val="0"/>
              </a:spcAft>
            </a:pPr>
            <a:r>
              <a:rPr lang="en-US" sz="1200" dirty="0">
                <a:solidFill>
                  <a:schemeClr val="tx1"/>
                </a:solidFill>
                <a:ea typeface="Segoe UI" pitchFamily="34" charset="0"/>
                <a:cs typeface="Segoe UI" pitchFamily="34" charset="0"/>
              </a:rPr>
              <a:t>Enterprise</a:t>
            </a:r>
          </a:p>
        </p:txBody>
      </p:sp>
      <p:sp>
        <p:nvSpPr>
          <p:cNvPr id="48" name="Rectangle 47"/>
          <p:cNvSpPr/>
          <p:nvPr/>
        </p:nvSpPr>
        <p:spPr bwMode="auto">
          <a:xfrm>
            <a:off x="3158733" y="3222098"/>
            <a:ext cx="1838423" cy="3429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ctr" anchorCtr="0" forceAA="0" compatLnSpc="1">
            <a:prstTxWarp prst="textNoShape">
              <a:avLst/>
            </a:prstTxWarp>
            <a:noAutofit/>
          </a:bodyPr>
          <a:lstStyle/>
          <a:p>
            <a:pPr algn="ctr" defTabSz="685637" fontAlgn="base">
              <a:spcBef>
                <a:spcPct val="0"/>
              </a:spcBef>
              <a:spcAft>
                <a:spcPct val="0"/>
              </a:spcAft>
            </a:pPr>
            <a:r>
              <a:rPr lang="en-US" sz="1200" dirty="0">
                <a:solidFill>
                  <a:schemeClr val="tx1"/>
                </a:solidFill>
                <a:ea typeface="Segoe UI" pitchFamily="34" charset="0"/>
                <a:cs typeface="Segoe UI" pitchFamily="34" charset="0"/>
              </a:rPr>
              <a:t>Windows Store</a:t>
            </a:r>
          </a:p>
        </p:txBody>
      </p:sp>
      <p:sp>
        <p:nvSpPr>
          <p:cNvPr id="49" name="Rectangle 48"/>
          <p:cNvSpPr/>
          <p:nvPr/>
        </p:nvSpPr>
        <p:spPr bwMode="auto">
          <a:xfrm>
            <a:off x="5121149" y="3625615"/>
            <a:ext cx="1838423" cy="3429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ctr" anchorCtr="0" forceAA="0" compatLnSpc="1">
            <a:prstTxWarp prst="textNoShape">
              <a:avLst/>
            </a:prstTxWarp>
            <a:noAutofit/>
          </a:bodyPr>
          <a:lstStyle/>
          <a:p>
            <a:pPr algn="ctr" defTabSz="685637" fontAlgn="base">
              <a:spcBef>
                <a:spcPct val="0"/>
              </a:spcBef>
              <a:spcAft>
                <a:spcPct val="0"/>
              </a:spcAft>
            </a:pPr>
            <a:r>
              <a:rPr lang="en-US" sz="1200" dirty="0">
                <a:solidFill>
                  <a:schemeClr val="tx1"/>
                </a:solidFill>
                <a:ea typeface="Segoe UI" pitchFamily="34" charset="0"/>
                <a:cs typeface="Segoe UI" pitchFamily="34" charset="0"/>
              </a:rPr>
              <a:t>Tech Company</a:t>
            </a:r>
          </a:p>
        </p:txBody>
      </p:sp>
      <p:sp>
        <p:nvSpPr>
          <p:cNvPr id="50" name="Rectangle 49"/>
          <p:cNvSpPr/>
          <p:nvPr/>
        </p:nvSpPr>
        <p:spPr bwMode="auto">
          <a:xfrm>
            <a:off x="5121149" y="3222098"/>
            <a:ext cx="1838423" cy="3429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ctr" anchorCtr="0" forceAA="0" compatLnSpc="1">
            <a:prstTxWarp prst="textNoShape">
              <a:avLst/>
            </a:prstTxWarp>
            <a:noAutofit/>
          </a:bodyPr>
          <a:lstStyle/>
          <a:p>
            <a:pPr algn="ctr" defTabSz="685637" fontAlgn="base">
              <a:spcBef>
                <a:spcPct val="0"/>
              </a:spcBef>
              <a:spcAft>
                <a:spcPct val="0"/>
              </a:spcAft>
            </a:pPr>
            <a:r>
              <a:rPr lang="en-US" sz="1200" dirty="0">
                <a:solidFill>
                  <a:schemeClr val="tx1"/>
                </a:solidFill>
                <a:ea typeface="Segoe UI" pitchFamily="34" charset="0"/>
                <a:cs typeface="Segoe UI" pitchFamily="34" charset="0"/>
              </a:rPr>
              <a:t>Windows Store or </a:t>
            </a:r>
            <a:br>
              <a:rPr lang="en-US" sz="1200" dirty="0">
                <a:solidFill>
                  <a:schemeClr val="tx1"/>
                </a:solidFill>
                <a:ea typeface="Segoe UI" pitchFamily="34" charset="0"/>
                <a:cs typeface="Segoe UI" pitchFamily="34" charset="0"/>
              </a:rPr>
            </a:br>
            <a:r>
              <a:rPr lang="en-US" sz="1200" dirty="0">
                <a:solidFill>
                  <a:schemeClr val="tx1"/>
                </a:solidFill>
                <a:ea typeface="Segoe UI" pitchFamily="34" charset="0"/>
                <a:cs typeface="Segoe UI" pitchFamily="34" charset="0"/>
              </a:rPr>
              <a:t>Side-loaded</a:t>
            </a:r>
          </a:p>
        </p:txBody>
      </p:sp>
      <p:sp>
        <p:nvSpPr>
          <p:cNvPr id="51" name="Rectangle 50"/>
          <p:cNvSpPr/>
          <p:nvPr/>
        </p:nvSpPr>
        <p:spPr bwMode="auto">
          <a:xfrm>
            <a:off x="7083564" y="3625615"/>
            <a:ext cx="1838423" cy="3429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ctr" anchorCtr="0" forceAA="0" compatLnSpc="1">
            <a:prstTxWarp prst="textNoShape">
              <a:avLst/>
            </a:prstTxWarp>
            <a:noAutofit/>
          </a:bodyPr>
          <a:lstStyle/>
          <a:p>
            <a:pPr algn="ctr" defTabSz="685637" fontAlgn="base">
              <a:spcBef>
                <a:spcPct val="0"/>
              </a:spcBef>
              <a:spcAft>
                <a:spcPct val="0"/>
              </a:spcAft>
            </a:pPr>
            <a:r>
              <a:rPr lang="en-US" sz="1200" dirty="0">
                <a:solidFill>
                  <a:schemeClr val="tx1"/>
                </a:solidFill>
                <a:ea typeface="Segoe UI" pitchFamily="34" charset="0"/>
                <a:cs typeface="Segoe UI" pitchFamily="34" charset="0"/>
              </a:rPr>
              <a:t>Enterprise</a:t>
            </a:r>
          </a:p>
        </p:txBody>
      </p:sp>
      <p:sp>
        <p:nvSpPr>
          <p:cNvPr id="52" name="Rectangle 51"/>
          <p:cNvSpPr/>
          <p:nvPr/>
        </p:nvSpPr>
        <p:spPr bwMode="auto">
          <a:xfrm>
            <a:off x="7083564" y="3222098"/>
            <a:ext cx="1838423" cy="3429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ctr" anchorCtr="0" forceAA="0" compatLnSpc="1">
            <a:prstTxWarp prst="textNoShape">
              <a:avLst/>
            </a:prstTxWarp>
            <a:noAutofit/>
          </a:bodyPr>
          <a:lstStyle/>
          <a:p>
            <a:pPr algn="ctr" defTabSz="685637" fontAlgn="base">
              <a:spcBef>
                <a:spcPct val="0"/>
              </a:spcBef>
              <a:spcAft>
                <a:spcPct val="0"/>
              </a:spcAft>
            </a:pPr>
            <a:r>
              <a:rPr lang="en-US" sz="1200" dirty="0">
                <a:solidFill>
                  <a:schemeClr val="tx1"/>
                </a:solidFill>
                <a:ea typeface="Segoe UI" pitchFamily="34" charset="0"/>
                <a:cs typeface="Segoe UI" pitchFamily="34" charset="0"/>
              </a:rPr>
              <a:t>Side-loaded</a:t>
            </a:r>
          </a:p>
        </p:txBody>
      </p:sp>
      <p:cxnSp>
        <p:nvCxnSpPr>
          <p:cNvPr id="53" name="Straight Connector 52"/>
          <p:cNvCxnSpPr/>
          <p:nvPr/>
        </p:nvCxnSpPr>
        <p:spPr>
          <a:xfrm>
            <a:off x="1200049" y="1264154"/>
            <a:ext cx="1834691" cy="0"/>
          </a:xfrm>
          <a:prstGeom prst="line">
            <a:avLst/>
          </a:prstGeom>
          <a:ln>
            <a:solidFill>
              <a:schemeClr val="bg2">
                <a:lumMod val="50000"/>
                <a:lumOff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3162464" y="1264154"/>
            <a:ext cx="1834691" cy="0"/>
          </a:xfrm>
          <a:prstGeom prst="line">
            <a:avLst/>
          </a:prstGeom>
          <a:ln>
            <a:solidFill>
              <a:schemeClr val="bg2">
                <a:lumMod val="50000"/>
                <a:lumOff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5111486" y="1264154"/>
            <a:ext cx="1834691" cy="0"/>
          </a:xfrm>
          <a:prstGeom prst="line">
            <a:avLst/>
          </a:prstGeom>
          <a:ln>
            <a:solidFill>
              <a:schemeClr val="bg2">
                <a:lumMod val="50000"/>
                <a:lumOff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7060507" y="1264154"/>
            <a:ext cx="1865347" cy="0"/>
          </a:xfrm>
          <a:prstGeom prst="line">
            <a:avLst/>
          </a:prstGeom>
          <a:ln>
            <a:solidFill>
              <a:schemeClr val="bg2">
                <a:lumMod val="50000"/>
                <a:lumOff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7" name="Group 56"/>
          <p:cNvGrpSpPr/>
          <p:nvPr/>
        </p:nvGrpSpPr>
        <p:grpSpPr>
          <a:xfrm>
            <a:off x="1196319" y="1368468"/>
            <a:ext cx="857473" cy="857250"/>
            <a:chOff x="1594675" y="2166151"/>
            <a:chExt cx="4572000" cy="4572000"/>
          </a:xfrm>
        </p:grpSpPr>
        <p:pic>
          <p:nvPicPr>
            <p:cNvPr id="58" name="Picture 5" descr="C:\Users\scottjac\Desktop\thumbnailCAJ3414L.jpg"/>
            <p:cNvPicPr>
              <a:picLocks noChangeAspect="1" noChangeArrowheads="1"/>
            </p:cNvPicPr>
            <p:nvPr/>
          </p:nvPicPr>
          <p:blipFill rotWithShape="1">
            <a:blip r:embed="rId10">
              <a:extLst>
                <a:ext uri="{28A0092B-C50C-407E-A947-70E740481C1C}">
                  <a14:useLocalDpi xmlns:a14="http://schemas.microsoft.com/office/drawing/2010/main" val="0"/>
                </a:ext>
              </a:extLst>
            </a:blip>
            <a:srcRect l="6396" t="4958" r="7066" b="9308"/>
            <a:stretch/>
          </p:blipFill>
          <p:spPr bwMode="auto">
            <a:xfrm>
              <a:off x="1595503" y="2166151"/>
              <a:ext cx="4566876" cy="4572000"/>
            </a:xfrm>
            <a:prstGeom prst="roundRect">
              <a:avLst>
                <a:gd name="adj" fmla="val 8594"/>
              </a:avLst>
            </a:prstGeom>
            <a:solidFill>
              <a:srgbClr val="FFFFFF">
                <a:shade val="85000"/>
              </a:srgbClr>
            </a:solidFill>
            <a:ln>
              <a:noFill/>
            </a:ln>
            <a:effectLst/>
            <a:extLst/>
          </p:spPr>
        </p:pic>
        <p:pic>
          <p:nvPicPr>
            <p:cNvPr id="59" name="Picture 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94675" y="6147071"/>
              <a:ext cx="584935" cy="5910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0" name="Picture 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581740" y="6147071"/>
              <a:ext cx="584935" cy="5910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94675" y="2166226"/>
              <a:ext cx="400050" cy="409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2"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740924" y="2168669"/>
              <a:ext cx="421993" cy="2382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3"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951920" y="2388052"/>
              <a:ext cx="210458" cy="2382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64" name="Group 63"/>
          <p:cNvGrpSpPr/>
          <p:nvPr/>
        </p:nvGrpSpPr>
        <p:grpSpPr>
          <a:xfrm>
            <a:off x="6088704" y="2299634"/>
            <a:ext cx="857473" cy="857250"/>
            <a:chOff x="3810000" y="-1265274"/>
            <a:chExt cx="1143000" cy="1143000"/>
          </a:xfrm>
        </p:grpSpPr>
        <p:sp>
          <p:nvSpPr>
            <p:cNvPr id="65" name="Rectangle 64"/>
            <p:cNvSpPr/>
            <p:nvPr/>
          </p:nvSpPr>
          <p:spPr bwMode="auto">
            <a:xfrm>
              <a:off x="3810000" y="-1265274"/>
              <a:ext cx="1143000" cy="1143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685637" fontAlgn="base">
                <a:spcBef>
                  <a:spcPct val="0"/>
                </a:spcBef>
                <a:spcAft>
                  <a:spcPct val="0"/>
                </a:spcAft>
              </a:pPr>
              <a:endParaRPr lang="en-US" dirty="0" err="1" smtClean="0">
                <a:solidFill>
                  <a:schemeClr val="tx1"/>
                </a:solidFill>
                <a:ea typeface="Segoe UI" pitchFamily="34" charset="0"/>
                <a:cs typeface="Segoe UI" pitchFamily="34" charset="0"/>
              </a:endParaRPr>
            </a:p>
          </p:txBody>
        </p:sp>
        <p:pic>
          <p:nvPicPr>
            <p:cNvPr id="66" name="Picture 2" descr="http://ts1.mm.bing.net/images/thumbnail.aspx?q=5065639566835760&amp;id=45526c712bba91ddbb3921dc89507866&amp;url=http%3a%2f%2fwww.tsolutionsgestao.com%2fsap_logo.gif"/>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810000" y="-989049"/>
              <a:ext cx="1143000" cy="59055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7" name="Group 66"/>
          <p:cNvGrpSpPr/>
          <p:nvPr/>
        </p:nvGrpSpPr>
        <p:grpSpPr>
          <a:xfrm>
            <a:off x="5111486" y="1368468"/>
            <a:ext cx="857473" cy="857250"/>
            <a:chOff x="2434856" y="-1265274"/>
            <a:chExt cx="1143000" cy="1143000"/>
          </a:xfrm>
        </p:grpSpPr>
        <p:sp>
          <p:nvSpPr>
            <p:cNvPr id="68" name="Rectangle 67"/>
            <p:cNvSpPr/>
            <p:nvPr/>
          </p:nvSpPr>
          <p:spPr bwMode="auto">
            <a:xfrm>
              <a:off x="2434856" y="-1265274"/>
              <a:ext cx="1143000" cy="1143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685637" fontAlgn="base">
                <a:spcBef>
                  <a:spcPct val="0"/>
                </a:spcBef>
                <a:spcAft>
                  <a:spcPct val="0"/>
                </a:spcAft>
              </a:pPr>
              <a:endParaRPr lang="en-US" dirty="0" err="1" smtClean="0">
                <a:solidFill>
                  <a:schemeClr val="tx1"/>
                </a:solidFill>
                <a:ea typeface="Segoe UI" pitchFamily="34" charset="0"/>
                <a:cs typeface="Segoe UI" pitchFamily="34" charset="0"/>
              </a:endParaRPr>
            </a:p>
          </p:txBody>
        </p:sp>
        <p:pic>
          <p:nvPicPr>
            <p:cNvPr id="69" name="Picture 4" descr="http://ts3.mm.bing.net/images/thumbnail.aspx?q=4726882634762330&amp;id=0f0c35a50953427eabbbf07ef1498853&amp;url=http%3a%2f%2fbray3d.com%2fwp-content%2fuploads%2f2011%2f07%2fMicrosoft_Dynamics_Logo.png"/>
            <p:cNvPicPr>
              <a:picLocks noChangeAspect="1" noChangeArrowheads="1"/>
            </p:cNvPicPr>
            <p:nvPr/>
          </p:nvPicPr>
          <p:blipFill rotWithShape="1">
            <a:blip r:embed="rId14">
              <a:extLst>
                <a:ext uri="{28A0092B-C50C-407E-A947-70E740481C1C}">
                  <a14:useLocalDpi xmlns:a14="http://schemas.microsoft.com/office/drawing/2010/main" val="0"/>
                </a:ext>
              </a:extLst>
            </a:blip>
            <a:srcRect b="7651"/>
            <a:stretch/>
          </p:blipFill>
          <p:spPr bwMode="auto">
            <a:xfrm>
              <a:off x="2540239" y="-1222742"/>
              <a:ext cx="932234" cy="1055550"/>
            </a:xfrm>
            <a:prstGeom prst="rect">
              <a:avLst/>
            </a:prstGeom>
            <a:noFill/>
            <a:extLst>
              <a:ext uri="{909E8E84-426E-40DD-AFC4-6F175D3DCCD1}">
                <a14:hiddenFill xmlns:a14="http://schemas.microsoft.com/office/drawing/2010/main">
                  <a:solidFill>
                    <a:srgbClr val="FFFFFF"/>
                  </a:solidFill>
                </a14:hiddenFill>
              </a:ext>
            </a:extLst>
          </p:spPr>
        </p:pic>
      </p:grpSp>
      <p:sp>
        <p:nvSpPr>
          <p:cNvPr id="70" name="Rounded Rectangle 69"/>
          <p:cNvSpPr/>
          <p:nvPr/>
        </p:nvSpPr>
        <p:spPr bwMode="auto">
          <a:xfrm>
            <a:off x="7083564" y="2299634"/>
            <a:ext cx="857473" cy="857250"/>
          </a:xfrm>
          <a:prstGeom prst="roundRect">
            <a:avLst>
              <a:gd name="adj" fmla="val 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94" rIns="0" bIns="34294" numCol="1" spcCol="0" rtlCol="0" fromWordArt="0" anchor="ctr" anchorCtr="0" forceAA="0" compatLnSpc="1">
            <a:prstTxWarp prst="textNoShape">
              <a:avLst/>
            </a:prstTxWarp>
            <a:noAutofit/>
          </a:bodyPr>
          <a:lstStyle/>
          <a:p>
            <a:pPr algn="ctr" defTabSz="685637" fontAlgn="base">
              <a:spcBef>
                <a:spcPct val="0"/>
              </a:spcBef>
              <a:spcAft>
                <a:spcPct val="0"/>
              </a:spcAft>
            </a:pPr>
            <a:r>
              <a:rPr lang="en-US" dirty="0" smtClean="0">
                <a:solidFill>
                  <a:schemeClr val="tx1"/>
                </a:solidFill>
                <a:ea typeface="Segoe UI" pitchFamily="34" charset="0"/>
                <a:cs typeface="Segoe UI" pitchFamily="34" charset="0"/>
              </a:rPr>
              <a:t>PLM</a:t>
            </a:r>
          </a:p>
        </p:txBody>
      </p:sp>
      <p:sp>
        <p:nvSpPr>
          <p:cNvPr id="71"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72"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5"/>
              </a:rPr>
              <a:t>www.rapidbbs.cn</a:t>
            </a:r>
            <a:endParaRPr lang="zh-CN" altLang="en-US" sz="1200" b="0">
              <a:latin typeface="Arial" charset="0"/>
              <a:ea typeface="ＭＳ Ｐゴシック" pitchFamily="34" charset="-128"/>
            </a:endParaRPr>
          </a:p>
        </p:txBody>
      </p:sp>
      <p:pic>
        <p:nvPicPr>
          <p:cNvPr id="73" name="Picture 2">
            <a:hlinkClick r:id="rId15"/>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331409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6"/>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7"/>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53"/>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4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48"/>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9"/>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4"/>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8"/>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6"/>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54"/>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5"/>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42"/>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49"/>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50"/>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11"/>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64"/>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67"/>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33"/>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55"/>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6"/>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grpId="0" nodeType="clickEffect">
                                  <p:stCondLst>
                                    <p:cond delay="0"/>
                                  </p:stCondLst>
                                  <p:childTnLst>
                                    <p:set>
                                      <p:cBhvr>
                                        <p:cTn id="72" dur="1" fill="hold">
                                          <p:stCondLst>
                                            <p:cond delay="0"/>
                                          </p:stCondLst>
                                        </p:cTn>
                                        <p:tgtEl>
                                          <p:spTgt spid="51"/>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52"/>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70"/>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39"/>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35"/>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34"/>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56"/>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p:bldP spid="5" grpId="0"/>
      <p:bldP spid="6" grpId="0"/>
      <p:bldP spid="7" grpId="0"/>
      <p:bldP spid="34" grpId="0" animBg="1"/>
      <p:bldP spid="35" grpId="0" animBg="1"/>
      <p:bldP spid="39" grpId="0" animBg="1"/>
      <p:bldP spid="40" grpId="0" animBg="1"/>
      <p:bldP spid="41" grpId="0" animBg="1"/>
      <p:bldP spid="42" grpId="0" animBg="1"/>
      <p:bldP spid="43" grpId="0" animBg="1"/>
      <p:bldP spid="44" grpId="0" animBg="1"/>
      <p:bldP spid="45" grpId="0" animBg="1"/>
      <p:bldP spid="46" grpId="0" animBg="1"/>
      <p:bldP spid="47" grpId="0" animBg="1"/>
      <p:bldP spid="48" grpId="0" animBg="1"/>
      <p:bldP spid="49" grpId="0" animBg="1"/>
      <p:bldP spid="50" grpId="0" animBg="1"/>
      <p:bldP spid="51" grpId="0" animBg="1"/>
      <p:bldP spid="52" grpId="0" animBg="1"/>
      <p:bldP spid="70" grpId="0" animBg="1"/>
    </p:bld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830997"/>
          </a:xfrm>
        </p:spPr>
        <p:txBody>
          <a:bodyPr/>
          <a:lstStyle/>
          <a:p>
            <a:r>
              <a:rPr lang="en-US" dirty="0" smtClean="0"/>
              <a:t>Authentication and Security</a:t>
            </a:r>
            <a:br>
              <a:rPr lang="en-US" dirty="0" smtClean="0"/>
            </a:br>
            <a:r>
              <a:rPr lang="en-US" sz="2700" dirty="0">
                <a:solidFill>
                  <a:schemeClr val="accent1"/>
                </a:solidFill>
              </a:rPr>
              <a:t>Meeting enterprise standards</a:t>
            </a:r>
          </a:p>
        </p:txBody>
      </p:sp>
      <p:sp>
        <p:nvSpPr>
          <p:cNvPr id="5" name="Rectangle 4"/>
          <p:cNvSpPr/>
          <p:nvPr/>
        </p:nvSpPr>
        <p:spPr bwMode="auto">
          <a:xfrm>
            <a:off x="2047062" y="1617688"/>
            <a:ext cx="1234761" cy="1406790"/>
          </a:xfrm>
          <a:prstGeom prst="rect">
            <a:avLst/>
          </a:prstGeom>
          <a:solidFill>
            <a:schemeClr val="accent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100" dirty="0">
              <a:gradFill>
                <a:gsLst>
                  <a:gs pos="0">
                    <a:srgbClr val="FFFFFF"/>
                  </a:gs>
                  <a:gs pos="100000">
                    <a:srgbClr val="FFFFFF"/>
                  </a:gs>
                </a:gsLst>
                <a:lin ang="5400000" scaled="0"/>
              </a:gradFill>
            </a:endParaRPr>
          </a:p>
        </p:txBody>
      </p:sp>
      <p:sp>
        <p:nvSpPr>
          <p:cNvPr id="6" name="TextBox 5"/>
          <p:cNvSpPr txBox="1"/>
          <p:nvPr/>
        </p:nvSpPr>
        <p:spPr>
          <a:xfrm>
            <a:off x="2047062" y="1714501"/>
            <a:ext cx="1234761" cy="567848"/>
          </a:xfrm>
          <a:prstGeom prst="rect">
            <a:avLst/>
          </a:prstGeom>
          <a:noFill/>
          <a:ln>
            <a:noFill/>
          </a:ln>
        </p:spPr>
        <p:txBody>
          <a:bodyPr wrap="square" lIns="68586" tIns="34294" rIns="68586" bIns="34294" rtlCol="0">
            <a:spAutoFit/>
          </a:bodyPr>
          <a:lstStyle/>
          <a:p>
            <a:pPr marL="0" lvl="1" fontAlgn="base">
              <a:lnSpc>
                <a:spcPct val="90000"/>
              </a:lnSpc>
              <a:spcAft>
                <a:spcPts val="300"/>
              </a:spcAft>
              <a:buClr>
                <a:schemeClr val="tx1">
                  <a:lumMod val="75000"/>
                  <a:lumOff val="25000"/>
                </a:schemeClr>
              </a:buClr>
              <a:buSzPct val="90000"/>
              <a:tabLst>
                <a:tab pos="472722" algn="l"/>
              </a:tabLst>
            </a:pPr>
            <a:r>
              <a:rPr lang="en-US" sz="1200" spc="-38" dirty="0">
                <a:solidFill>
                  <a:schemeClr val="bg1"/>
                </a:solidFill>
              </a:rPr>
              <a:t>Integrated Windows authentication</a:t>
            </a:r>
          </a:p>
        </p:txBody>
      </p:sp>
      <p:grpSp>
        <p:nvGrpSpPr>
          <p:cNvPr id="7" name="Group 2"/>
          <p:cNvGrpSpPr/>
          <p:nvPr/>
        </p:nvGrpSpPr>
        <p:grpSpPr>
          <a:xfrm>
            <a:off x="393316" y="1610014"/>
            <a:ext cx="1573344" cy="1414463"/>
            <a:chOff x="1266279" y="1695450"/>
            <a:chExt cx="1906587" cy="1714500"/>
          </a:xfrm>
          <a:solidFill>
            <a:schemeClr val="accent1"/>
          </a:solidFill>
        </p:grpSpPr>
        <p:sp>
          <p:nvSpPr>
            <p:cNvPr id="8" name="Rectangle 7"/>
            <p:cNvSpPr/>
            <p:nvPr/>
          </p:nvSpPr>
          <p:spPr bwMode="auto">
            <a:xfrm>
              <a:off x="1266279" y="1695450"/>
              <a:ext cx="1906587" cy="1714500"/>
            </a:xfrm>
            <a:prstGeom prst="rect">
              <a:avLst/>
            </a:prstGeom>
            <a:grp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b="1" dirty="0">
                <a:gradFill>
                  <a:gsLst>
                    <a:gs pos="0">
                      <a:srgbClr val="FFFFFF"/>
                    </a:gs>
                    <a:gs pos="100000">
                      <a:srgbClr val="FFFFFF"/>
                    </a:gs>
                  </a:gsLst>
                  <a:lin ang="5400000" scaled="0"/>
                </a:gradFill>
              </a:endParaRPr>
            </a:p>
          </p:txBody>
        </p:sp>
        <p:sp>
          <p:nvSpPr>
            <p:cNvPr id="9" name="Rectangle 8"/>
            <p:cNvSpPr/>
            <p:nvPr/>
          </p:nvSpPr>
          <p:spPr>
            <a:xfrm>
              <a:off x="1425976" y="2084055"/>
              <a:ext cx="1746890" cy="363736"/>
            </a:xfrm>
            <a:prstGeom prst="rect">
              <a:avLst/>
            </a:prstGeom>
            <a:grpFill/>
          </p:spPr>
          <p:txBody>
            <a:bodyPr wrap="square">
              <a:spAutoFit/>
            </a:bodyPr>
            <a:lstStyle/>
            <a:p>
              <a:pPr marL="0" lvl="1" fontAlgn="base">
                <a:lnSpc>
                  <a:spcPct val="90000"/>
                </a:lnSpc>
                <a:spcBef>
                  <a:spcPct val="20000"/>
                </a:spcBef>
                <a:spcAft>
                  <a:spcPts val="300"/>
                </a:spcAft>
                <a:buClr>
                  <a:schemeClr val="tx1">
                    <a:lumMod val="75000"/>
                    <a:lumOff val="25000"/>
                  </a:schemeClr>
                </a:buClr>
                <a:buSzPct val="90000"/>
                <a:tabLst>
                  <a:tab pos="472722" algn="l"/>
                </a:tabLst>
              </a:pPr>
              <a:r>
                <a:rPr lang="en-US" sz="1500" spc="-38" dirty="0">
                  <a:solidFill>
                    <a:schemeClr val="bg1"/>
                  </a:solidFill>
                </a:rPr>
                <a:t>Authentication</a:t>
              </a:r>
            </a:p>
          </p:txBody>
        </p:sp>
      </p:grpSp>
      <p:grpSp>
        <p:nvGrpSpPr>
          <p:cNvPr id="10" name="Group 5"/>
          <p:cNvGrpSpPr/>
          <p:nvPr/>
        </p:nvGrpSpPr>
        <p:grpSpPr>
          <a:xfrm>
            <a:off x="401216" y="3105968"/>
            <a:ext cx="1573343" cy="1414463"/>
            <a:chOff x="3335831" y="1695450"/>
            <a:chExt cx="1906587" cy="1714500"/>
          </a:xfrm>
          <a:solidFill>
            <a:srgbClr val="92D050"/>
          </a:solidFill>
        </p:grpSpPr>
        <p:sp>
          <p:nvSpPr>
            <p:cNvPr id="11" name="Rectangle 10"/>
            <p:cNvSpPr/>
            <p:nvPr/>
          </p:nvSpPr>
          <p:spPr bwMode="auto">
            <a:xfrm>
              <a:off x="3335831" y="1695450"/>
              <a:ext cx="1906587" cy="17145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37" fontAlgn="base">
                <a:spcBef>
                  <a:spcPct val="0"/>
                </a:spcBef>
                <a:spcAft>
                  <a:spcPct val="0"/>
                </a:spcAft>
              </a:pPr>
              <a:endParaRPr lang="en-US" spc="-75"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2" name="Rectangle 11"/>
            <p:cNvSpPr/>
            <p:nvPr/>
          </p:nvSpPr>
          <p:spPr>
            <a:xfrm>
              <a:off x="3492259" y="2028679"/>
              <a:ext cx="1740585" cy="363736"/>
            </a:xfrm>
            <a:prstGeom prst="rect">
              <a:avLst/>
            </a:prstGeom>
            <a:grpFill/>
          </p:spPr>
          <p:txBody>
            <a:bodyPr wrap="square">
              <a:spAutoFit/>
            </a:bodyPr>
            <a:lstStyle/>
            <a:p>
              <a:pPr marL="0" lvl="1" fontAlgn="base">
                <a:lnSpc>
                  <a:spcPct val="90000"/>
                </a:lnSpc>
                <a:spcBef>
                  <a:spcPct val="20000"/>
                </a:spcBef>
                <a:spcAft>
                  <a:spcPts val="300"/>
                </a:spcAft>
                <a:buClr>
                  <a:schemeClr val="tx1">
                    <a:lumMod val="75000"/>
                    <a:lumOff val="25000"/>
                  </a:schemeClr>
                </a:buClr>
                <a:buSzPct val="90000"/>
                <a:tabLst>
                  <a:tab pos="472722" algn="l"/>
                </a:tabLst>
              </a:pPr>
              <a:r>
                <a:rPr lang="en-US" sz="1500" spc="-38" dirty="0">
                  <a:solidFill>
                    <a:schemeClr val="bg1"/>
                  </a:solidFill>
                </a:rPr>
                <a:t>Security</a:t>
              </a:r>
            </a:p>
          </p:txBody>
        </p:sp>
      </p:grpSp>
      <p:sp>
        <p:nvSpPr>
          <p:cNvPr id="14" name="Rectangle 13"/>
          <p:cNvSpPr/>
          <p:nvPr/>
        </p:nvSpPr>
        <p:spPr bwMode="auto">
          <a:xfrm>
            <a:off x="3350184" y="1617687"/>
            <a:ext cx="1234761" cy="1406789"/>
          </a:xfrm>
          <a:prstGeom prst="rect">
            <a:avLst/>
          </a:prstGeom>
          <a:solidFill>
            <a:schemeClr val="accent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100" dirty="0">
              <a:gradFill>
                <a:gsLst>
                  <a:gs pos="0">
                    <a:srgbClr val="FFFFFF"/>
                  </a:gs>
                  <a:gs pos="100000">
                    <a:srgbClr val="FFFFFF"/>
                  </a:gs>
                </a:gsLst>
                <a:lin ang="5400000" scaled="0"/>
              </a:gradFill>
            </a:endParaRPr>
          </a:p>
        </p:txBody>
      </p:sp>
      <p:sp>
        <p:nvSpPr>
          <p:cNvPr id="15" name="TextBox 14"/>
          <p:cNvSpPr txBox="1"/>
          <p:nvPr/>
        </p:nvSpPr>
        <p:spPr>
          <a:xfrm>
            <a:off x="3350183" y="1714501"/>
            <a:ext cx="1234761" cy="567848"/>
          </a:xfrm>
          <a:prstGeom prst="rect">
            <a:avLst/>
          </a:prstGeom>
          <a:noFill/>
          <a:ln>
            <a:noFill/>
          </a:ln>
        </p:spPr>
        <p:txBody>
          <a:bodyPr wrap="square" lIns="68586" tIns="34294" rIns="68586" bIns="34294" rtlCol="0">
            <a:spAutoFit/>
          </a:bodyPr>
          <a:lstStyle/>
          <a:p>
            <a:pPr marL="0" lvl="1" fontAlgn="base">
              <a:lnSpc>
                <a:spcPct val="90000"/>
              </a:lnSpc>
              <a:spcAft>
                <a:spcPts val="300"/>
              </a:spcAft>
              <a:buClr>
                <a:schemeClr val="tx1">
                  <a:lumMod val="75000"/>
                  <a:lumOff val="25000"/>
                </a:schemeClr>
              </a:buClr>
              <a:buSzPct val="90000"/>
              <a:tabLst>
                <a:tab pos="472722" algn="l"/>
              </a:tabLst>
            </a:pPr>
            <a:r>
              <a:rPr lang="en-US" sz="1200" spc="-38" dirty="0">
                <a:solidFill>
                  <a:schemeClr val="bg1"/>
                </a:solidFill>
              </a:rPr>
              <a:t>App Certificate – My and Root stores</a:t>
            </a:r>
          </a:p>
        </p:txBody>
      </p:sp>
      <p:sp>
        <p:nvSpPr>
          <p:cNvPr id="17" name="Rectangle 16"/>
          <p:cNvSpPr/>
          <p:nvPr/>
        </p:nvSpPr>
        <p:spPr bwMode="auto">
          <a:xfrm>
            <a:off x="5972504" y="1617687"/>
            <a:ext cx="1234761" cy="1406789"/>
          </a:xfrm>
          <a:prstGeom prst="rect">
            <a:avLst/>
          </a:prstGeom>
          <a:solidFill>
            <a:schemeClr val="accent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100" dirty="0">
              <a:gradFill>
                <a:gsLst>
                  <a:gs pos="0">
                    <a:srgbClr val="FFFFFF"/>
                  </a:gs>
                  <a:gs pos="100000">
                    <a:srgbClr val="FFFFFF"/>
                  </a:gs>
                </a:gsLst>
                <a:lin ang="5400000" scaled="0"/>
              </a:gradFill>
            </a:endParaRPr>
          </a:p>
        </p:txBody>
      </p:sp>
      <p:sp>
        <p:nvSpPr>
          <p:cNvPr id="18" name="TextBox 17"/>
          <p:cNvSpPr txBox="1"/>
          <p:nvPr/>
        </p:nvSpPr>
        <p:spPr>
          <a:xfrm>
            <a:off x="5972503" y="1714501"/>
            <a:ext cx="1234761" cy="401659"/>
          </a:xfrm>
          <a:prstGeom prst="rect">
            <a:avLst/>
          </a:prstGeom>
          <a:noFill/>
          <a:ln>
            <a:noFill/>
          </a:ln>
        </p:spPr>
        <p:txBody>
          <a:bodyPr wrap="square" lIns="68586" tIns="34294" rIns="68586" bIns="34294" rtlCol="0">
            <a:spAutoFit/>
          </a:bodyPr>
          <a:lstStyle/>
          <a:p>
            <a:pPr marL="0" lvl="1" fontAlgn="base">
              <a:lnSpc>
                <a:spcPct val="90000"/>
              </a:lnSpc>
              <a:spcAft>
                <a:spcPts val="300"/>
              </a:spcAft>
              <a:buClr>
                <a:schemeClr val="tx1">
                  <a:lumMod val="75000"/>
                  <a:lumOff val="25000"/>
                </a:schemeClr>
              </a:buClr>
              <a:buSzPct val="90000"/>
              <a:tabLst>
                <a:tab pos="472722" algn="l"/>
              </a:tabLst>
            </a:pPr>
            <a:r>
              <a:rPr lang="en-US" sz="1200" spc="-38" dirty="0">
                <a:solidFill>
                  <a:schemeClr val="bg1"/>
                </a:solidFill>
              </a:rPr>
              <a:t>Federated ADFS Authentication</a:t>
            </a:r>
          </a:p>
        </p:txBody>
      </p:sp>
      <p:sp>
        <p:nvSpPr>
          <p:cNvPr id="20" name="Rectangle 19"/>
          <p:cNvSpPr/>
          <p:nvPr/>
        </p:nvSpPr>
        <p:spPr bwMode="auto">
          <a:xfrm>
            <a:off x="4661403" y="1617687"/>
            <a:ext cx="1234761" cy="1406789"/>
          </a:xfrm>
          <a:prstGeom prst="rect">
            <a:avLst/>
          </a:prstGeom>
          <a:solidFill>
            <a:schemeClr val="accent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100" dirty="0">
              <a:gradFill>
                <a:gsLst>
                  <a:gs pos="0">
                    <a:srgbClr val="FFFFFF"/>
                  </a:gs>
                  <a:gs pos="100000">
                    <a:srgbClr val="FFFFFF"/>
                  </a:gs>
                </a:gsLst>
                <a:lin ang="5400000" scaled="0"/>
              </a:gradFill>
            </a:endParaRPr>
          </a:p>
        </p:txBody>
      </p:sp>
      <p:sp>
        <p:nvSpPr>
          <p:cNvPr id="21" name="TextBox 20"/>
          <p:cNvSpPr txBox="1"/>
          <p:nvPr/>
        </p:nvSpPr>
        <p:spPr>
          <a:xfrm>
            <a:off x="4661402" y="1714501"/>
            <a:ext cx="1234761" cy="401648"/>
          </a:xfrm>
          <a:prstGeom prst="rect">
            <a:avLst/>
          </a:prstGeom>
          <a:noFill/>
          <a:ln>
            <a:noFill/>
          </a:ln>
        </p:spPr>
        <p:txBody>
          <a:bodyPr wrap="square" lIns="68586" tIns="34294" rIns="68586" bIns="34294" rtlCol="0">
            <a:spAutoFit/>
          </a:bodyPr>
          <a:lstStyle/>
          <a:p>
            <a:pPr marL="0" lvl="1" fontAlgn="base">
              <a:lnSpc>
                <a:spcPct val="90000"/>
              </a:lnSpc>
              <a:spcAft>
                <a:spcPts val="300"/>
              </a:spcAft>
              <a:buClr>
                <a:schemeClr val="tx1">
                  <a:lumMod val="75000"/>
                  <a:lumOff val="25000"/>
                </a:schemeClr>
              </a:buClr>
              <a:buSzPct val="90000"/>
              <a:tabLst>
                <a:tab pos="472722" algn="l"/>
              </a:tabLst>
            </a:pPr>
            <a:r>
              <a:rPr lang="en-US" sz="1200" spc="-38" dirty="0">
                <a:solidFill>
                  <a:schemeClr val="bg1"/>
                </a:solidFill>
              </a:rPr>
              <a:t>Multi-factor authentication</a:t>
            </a:r>
          </a:p>
        </p:txBody>
      </p:sp>
      <p:sp>
        <p:nvSpPr>
          <p:cNvPr id="23" name="Rectangle 22"/>
          <p:cNvSpPr/>
          <p:nvPr/>
        </p:nvSpPr>
        <p:spPr bwMode="auto">
          <a:xfrm>
            <a:off x="7291107" y="1617687"/>
            <a:ext cx="1234761" cy="1406789"/>
          </a:xfrm>
          <a:prstGeom prst="rect">
            <a:avLst/>
          </a:prstGeom>
          <a:solidFill>
            <a:schemeClr val="accent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100" dirty="0">
              <a:gradFill>
                <a:gsLst>
                  <a:gs pos="0">
                    <a:srgbClr val="FFFFFF"/>
                  </a:gs>
                  <a:gs pos="100000">
                    <a:srgbClr val="FFFFFF"/>
                  </a:gs>
                </a:gsLst>
                <a:lin ang="5400000" scaled="0"/>
              </a:gradFill>
            </a:endParaRPr>
          </a:p>
        </p:txBody>
      </p:sp>
      <p:sp>
        <p:nvSpPr>
          <p:cNvPr id="24" name="TextBox 23"/>
          <p:cNvSpPr txBox="1"/>
          <p:nvPr/>
        </p:nvSpPr>
        <p:spPr>
          <a:xfrm>
            <a:off x="7291107" y="1714500"/>
            <a:ext cx="1234761" cy="567858"/>
          </a:xfrm>
          <a:prstGeom prst="rect">
            <a:avLst/>
          </a:prstGeom>
          <a:noFill/>
          <a:ln>
            <a:noFill/>
          </a:ln>
        </p:spPr>
        <p:txBody>
          <a:bodyPr wrap="square" lIns="68586" tIns="34294" rIns="68586" bIns="34294" rtlCol="0">
            <a:spAutoFit/>
          </a:bodyPr>
          <a:lstStyle/>
          <a:p>
            <a:pPr marL="0" lvl="1" fontAlgn="base">
              <a:lnSpc>
                <a:spcPct val="90000"/>
              </a:lnSpc>
              <a:spcAft>
                <a:spcPts val="300"/>
              </a:spcAft>
              <a:buClr>
                <a:schemeClr val="tx1">
                  <a:lumMod val="75000"/>
                  <a:lumOff val="25000"/>
                </a:schemeClr>
              </a:buClr>
              <a:buSzPct val="90000"/>
              <a:tabLst>
                <a:tab pos="472722" algn="l"/>
              </a:tabLst>
            </a:pPr>
            <a:r>
              <a:rPr lang="en-US" sz="1200" spc="-38" dirty="0">
                <a:solidFill>
                  <a:schemeClr val="bg1"/>
                </a:solidFill>
              </a:rPr>
              <a:t>Single Sign On with Live, Facebook, etc..</a:t>
            </a:r>
          </a:p>
        </p:txBody>
      </p:sp>
      <p:grpSp>
        <p:nvGrpSpPr>
          <p:cNvPr id="25" name="Group 8"/>
          <p:cNvGrpSpPr/>
          <p:nvPr/>
        </p:nvGrpSpPr>
        <p:grpSpPr>
          <a:xfrm>
            <a:off x="3335150" y="3103587"/>
            <a:ext cx="1234762" cy="1416844"/>
            <a:chOff x="3266528" y="3872097"/>
            <a:chExt cx="1239838" cy="1105778"/>
          </a:xfrm>
          <a:solidFill>
            <a:srgbClr val="92D050"/>
          </a:solidFill>
        </p:grpSpPr>
        <p:sp>
          <p:nvSpPr>
            <p:cNvPr id="26" name="Rectangle 25"/>
            <p:cNvSpPr/>
            <p:nvPr/>
          </p:nvSpPr>
          <p:spPr bwMode="auto">
            <a:xfrm>
              <a:off x="3266529" y="3872097"/>
              <a:ext cx="1239837" cy="1105778"/>
            </a:xfrm>
            <a:prstGeom prst="rect">
              <a:avLst/>
            </a:prstGeom>
            <a:grp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100" dirty="0">
                <a:gradFill>
                  <a:gsLst>
                    <a:gs pos="0">
                      <a:srgbClr val="FFFFFF"/>
                    </a:gs>
                    <a:gs pos="100000">
                      <a:srgbClr val="FFFFFF"/>
                    </a:gs>
                  </a:gsLst>
                  <a:lin ang="5400000" scaled="0"/>
                </a:gradFill>
              </a:endParaRPr>
            </a:p>
          </p:txBody>
        </p:sp>
        <p:sp>
          <p:nvSpPr>
            <p:cNvPr id="27" name="TextBox 26"/>
            <p:cNvSpPr txBox="1"/>
            <p:nvPr/>
          </p:nvSpPr>
          <p:spPr>
            <a:xfrm>
              <a:off x="3266528" y="4055654"/>
              <a:ext cx="1239837" cy="461193"/>
            </a:xfrm>
            <a:prstGeom prst="rect">
              <a:avLst/>
            </a:prstGeom>
            <a:grpFill/>
            <a:ln>
              <a:noFill/>
            </a:ln>
          </p:spPr>
          <p:txBody>
            <a:bodyPr wrap="square" rtlCol="0">
              <a:spAutoFit/>
            </a:bodyPr>
            <a:lstStyle/>
            <a:p>
              <a:pPr marL="0" lvl="1" fontAlgn="base">
                <a:lnSpc>
                  <a:spcPct val="90000"/>
                </a:lnSpc>
                <a:spcAft>
                  <a:spcPts val="300"/>
                </a:spcAft>
                <a:buClr>
                  <a:schemeClr val="tx1">
                    <a:lumMod val="75000"/>
                    <a:lumOff val="25000"/>
                  </a:schemeClr>
                </a:buClr>
                <a:buSzPct val="90000"/>
                <a:tabLst>
                  <a:tab pos="472722" algn="l"/>
                </a:tabLst>
              </a:pPr>
              <a:r>
                <a:rPr lang="en-US" sz="1200" spc="-38" dirty="0">
                  <a:solidFill>
                    <a:schemeClr val="bg1"/>
                  </a:solidFill>
                </a:rPr>
                <a:t>Robust Capabilities framework</a:t>
              </a:r>
            </a:p>
          </p:txBody>
        </p:sp>
      </p:grpSp>
      <p:grpSp>
        <p:nvGrpSpPr>
          <p:cNvPr id="28" name="Group 8"/>
          <p:cNvGrpSpPr/>
          <p:nvPr/>
        </p:nvGrpSpPr>
        <p:grpSpPr>
          <a:xfrm>
            <a:off x="4643934" y="3103587"/>
            <a:ext cx="1234762" cy="1416844"/>
            <a:chOff x="3266528" y="3872097"/>
            <a:chExt cx="1239838" cy="1105778"/>
          </a:xfrm>
          <a:solidFill>
            <a:srgbClr val="92D050"/>
          </a:solidFill>
        </p:grpSpPr>
        <p:sp>
          <p:nvSpPr>
            <p:cNvPr id="29" name="Rectangle 28"/>
            <p:cNvSpPr/>
            <p:nvPr/>
          </p:nvSpPr>
          <p:spPr bwMode="auto">
            <a:xfrm>
              <a:off x="3266529" y="3872097"/>
              <a:ext cx="1239837" cy="1105778"/>
            </a:xfrm>
            <a:prstGeom prst="rect">
              <a:avLst/>
            </a:prstGeom>
            <a:grp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100" dirty="0">
                <a:gradFill>
                  <a:gsLst>
                    <a:gs pos="0">
                      <a:srgbClr val="FFFFFF"/>
                    </a:gs>
                    <a:gs pos="100000">
                      <a:srgbClr val="FFFFFF"/>
                    </a:gs>
                  </a:gsLst>
                  <a:lin ang="5400000" scaled="0"/>
                </a:gradFill>
              </a:endParaRPr>
            </a:p>
          </p:txBody>
        </p:sp>
        <p:sp>
          <p:nvSpPr>
            <p:cNvPr id="30" name="TextBox 29"/>
            <p:cNvSpPr txBox="1"/>
            <p:nvPr/>
          </p:nvSpPr>
          <p:spPr>
            <a:xfrm>
              <a:off x="3266528" y="4055654"/>
              <a:ext cx="1239837" cy="331483"/>
            </a:xfrm>
            <a:prstGeom prst="rect">
              <a:avLst/>
            </a:prstGeom>
            <a:grpFill/>
            <a:ln>
              <a:noFill/>
            </a:ln>
          </p:spPr>
          <p:txBody>
            <a:bodyPr wrap="square" rtlCol="0">
              <a:spAutoFit/>
            </a:bodyPr>
            <a:lstStyle/>
            <a:p>
              <a:pPr marL="0" lvl="1" fontAlgn="base">
                <a:lnSpc>
                  <a:spcPct val="90000"/>
                </a:lnSpc>
                <a:spcAft>
                  <a:spcPts val="300"/>
                </a:spcAft>
                <a:buClr>
                  <a:schemeClr val="tx1">
                    <a:lumMod val="75000"/>
                    <a:lumOff val="25000"/>
                  </a:schemeClr>
                </a:buClr>
                <a:buSzPct val="90000"/>
                <a:tabLst>
                  <a:tab pos="472722" algn="l"/>
                </a:tabLst>
              </a:pPr>
              <a:r>
                <a:rPr lang="en-US" sz="1200" spc="-38" dirty="0">
                  <a:solidFill>
                    <a:schemeClr val="bg1"/>
                  </a:solidFill>
                </a:rPr>
                <a:t>Support for SSL/TLS</a:t>
              </a:r>
            </a:p>
          </p:txBody>
        </p:sp>
      </p:grpSp>
      <p:grpSp>
        <p:nvGrpSpPr>
          <p:cNvPr id="31" name="Group 8"/>
          <p:cNvGrpSpPr/>
          <p:nvPr/>
        </p:nvGrpSpPr>
        <p:grpSpPr>
          <a:xfrm>
            <a:off x="5966823" y="3103587"/>
            <a:ext cx="1234762" cy="1416844"/>
            <a:chOff x="3266528" y="3872097"/>
            <a:chExt cx="1239838" cy="1105778"/>
          </a:xfrm>
          <a:solidFill>
            <a:srgbClr val="92D050"/>
          </a:solidFill>
        </p:grpSpPr>
        <p:sp>
          <p:nvSpPr>
            <p:cNvPr id="32" name="Rectangle 31"/>
            <p:cNvSpPr/>
            <p:nvPr/>
          </p:nvSpPr>
          <p:spPr bwMode="auto">
            <a:xfrm>
              <a:off x="3266529" y="3872097"/>
              <a:ext cx="1239837" cy="1105778"/>
            </a:xfrm>
            <a:prstGeom prst="rect">
              <a:avLst/>
            </a:prstGeom>
            <a:grp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100" dirty="0">
                <a:gradFill>
                  <a:gsLst>
                    <a:gs pos="0">
                      <a:srgbClr val="FFFFFF"/>
                    </a:gs>
                    <a:gs pos="100000">
                      <a:srgbClr val="FFFFFF"/>
                    </a:gs>
                  </a:gsLst>
                  <a:lin ang="5400000" scaled="0"/>
                </a:gradFill>
              </a:endParaRPr>
            </a:p>
          </p:txBody>
        </p:sp>
        <p:sp>
          <p:nvSpPr>
            <p:cNvPr id="33" name="TextBox 32"/>
            <p:cNvSpPr txBox="1"/>
            <p:nvPr/>
          </p:nvSpPr>
          <p:spPr>
            <a:xfrm>
              <a:off x="3266528" y="4055654"/>
              <a:ext cx="1239837" cy="201772"/>
            </a:xfrm>
            <a:prstGeom prst="rect">
              <a:avLst/>
            </a:prstGeom>
            <a:grpFill/>
            <a:ln>
              <a:noFill/>
            </a:ln>
          </p:spPr>
          <p:txBody>
            <a:bodyPr wrap="square" rtlCol="0">
              <a:spAutoFit/>
            </a:bodyPr>
            <a:lstStyle/>
            <a:p>
              <a:pPr marL="0" lvl="1" fontAlgn="base">
                <a:lnSpc>
                  <a:spcPct val="90000"/>
                </a:lnSpc>
                <a:spcAft>
                  <a:spcPts val="300"/>
                </a:spcAft>
                <a:buClr>
                  <a:schemeClr val="tx1">
                    <a:lumMod val="75000"/>
                    <a:lumOff val="25000"/>
                  </a:schemeClr>
                </a:buClr>
                <a:buSzPct val="90000"/>
                <a:tabLst>
                  <a:tab pos="472722" algn="l"/>
                </a:tabLst>
              </a:pPr>
              <a:r>
                <a:rPr lang="en-US" sz="1200" spc="-38" dirty="0">
                  <a:solidFill>
                    <a:schemeClr val="bg1"/>
                  </a:solidFill>
                </a:rPr>
                <a:t>Crypto APIs</a:t>
              </a:r>
            </a:p>
          </p:txBody>
        </p:sp>
      </p:grpSp>
      <p:grpSp>
        <p:nvGrpSpPr>
          <p:cNvPr id="34" name="Group 8"/>
          <p:cNvGrpSpPr/>
          <p:nvPr/>
        </p:nvGrpSpPr>
        <p:grpSpPr>
          <a:xfrm>
            <a:off x="2037701" y="3103587"/>
            <a:ext cx="1234762" cy="1416844"/>
            <a:chOff x="3266528" y="3872097"/>
            <a:chExt cx="1239838" cy="1105778"/>
          </a:xfrm>
          <a:solidFill>
            <a:srgbClr val="92D050"/>
          </a:solidFill>
        </p:grpSpPr>
        <p:sp>
          <p:nvSpPr>
            <p:cNvPr id="35" name="Rectangle 34"/>
            <p:cNvSpPr/>
            <p:nvPr/>
          </p:nvSpPr>
          <p:spPr bwMode="auto">
            <a:xfrm>
              <a:off x="3266529" y="3872097"/>
              <a:ext cx="1239837" cy="1105778"/>
            </a:xfrm>
            <a:prstGeom prst="rect">
              <a:avLst/>
            </a:prstGeom>
            <a:grp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100" dirty="0">
                <a:gradFill>
                  <a:gsLst>
                    <a:gs pos="0">
                      <a:srgbClr val="FFFFFF"/>
                    </a:gs>
                    <a:gs pos="100000">
                      <a:srgbClr val="FFFFFF"/>
                    </a:gs>
                  </a:gsLst>
                  <a:lin ang="5400000" scaled="0"/>
                </a:gradFill>
              </a:endParaRPr>
            </a:p>
          </p:txBody>
        </p:sp>
        <p:sp>
          <p:nvSpPr>
            <p:cNvPr id="36" name="TextBox 35"/>
            <p:cNvSpPr txBox="1"/>
            <p:nvPr/>
          </p:nvSpPr>
          <p:spPr>
            <a:xfrm>
              <a:off x="3266528" y="4055654"/>
              <a:ext cx="1239837" cy="331483"/>
            </a:xfrm>
            <a:prstGeom prst="rect">
              <a:avLst/>
            </a:prstGeom>
            <a:grpFill/>
            <a:ln>
              <a:noFill/>
            </a:ln>
          </p:spPr>
          <p:txBody>
            <a:bodyPr wrap="square" rtlCol="0">
              <a:spAutoFit/>
            </a:bodyPr>
            <a:lstStyle/>
            <a:p>
              <a:pPr marL="0" lvl="1" fontAlgn="base">
                <a:lnSpc>
                  <a:spcPct val="90000"/>
                </a:lnSpc>
                <a:spcAft>
                  <a:spcPts val="300"/>
                </a:spcAft>
                <a:buClr>
                  <a:schemeClr val="tx1">
                    <a:lumMod val="75000"/>
                    <a:lumOff val="25000"/>
                  </a:schemeClr>
                </a:buClr>
                <a:buSzPct val="90000"/>
                <a:tabLst>
                  <a:tab pos="472722" algn="l"/>
                </a:tabLst>
              </a:pPr>
              <a:r>
                <a:rPr lang="en-US" sz="1200" spc="-38" dirty="0">
                  <a:solidFill>
                    <a:schemeClr val="bg1"/>
                  </a:solidFill>
                </a:rPr>
                <a:t>Isolated App Containers</a:t>
              </a:r>
            </a:p>
          </p:txBody>
        </p:sp>
      </p:grpSp>
      <p:grpSp>
        <p:nvGrpSpPr>
          <p:cNvPr id="37" name="Group 8"/>
          <p:cNvGrpSpPr/>
          <p:nvPr/>
        </p:nvGrpSpPr>
        <p:grpSpPr>
          <a:xfrm>
            <a:off x="7268517" y="3086841"/>
            <a:ext cx="1234762" cy="1416844"/>
            <a:chOff x="3266528" y="3872097"/>
            <a:chExt cx="1239838" cy="1105778"/>
          </a:xfrm>
          <a:solidFill>
            <a:srgbClr val="92D050"/>
          </a:solidFill>
        </p:grpSpPr>
        <p:sp>
          <p:nvSpPr>
            <p:cNvPr id="38" name="Rectangle 37"/>
            <p:cNvSpPr/>
            <p:nvPr/>
          </p:nvSpPr>
          <p:spPr bwMode="auto">
            <a:xfrm>
              <a:off x="3266529" y="3872097"/>
              <a:ext cx="1239837" cy="1105778"/>
            </a:xfrm>
            <a:prstGeom prst="rect">
              <a:avLst/>
            </a:prstGeom>
            <a:grp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100" dirty="0">
                <a:gradFill>
                  <a:gsLst>
                    <a:gs pos="0">
                      <a:srgbClr val="FFFFFF"/>
                    </a:gs>
                    <a:gs pos="100000">
                      <a:srgbClr val="FFFFFF"/>
                    </a:gs>
                  </a:gsLst>
                  <a:lin ang="5400000" scaled="0"/>
                </a:gradFill>
              </a:endParaRPr>
            </a:p>
          </p:txBody>
        </p:sp>
        <p:sp>
          <p:nvSpPr>
            <p:cNvPr id="39" name="TextBox 38"/>
            <p:cNvSpPr txBox="1"/>
            <p:nvPr/>
          </p:nvSpPr>
          <p:spPr>
            <a:xfrm>
              <a:off x="3266528" y="4055654"/>
              <a:ext cx="1239837" cy="201772"/>
            </a:xfrm>
            <a:prstGeom prst="rect">
              <a:avLst/>
            </a:prstGeom>
            <a:grpFill/>
            <a:ln>
              <a:noFill/>
            </a:ln>
          </p:spPr>
          <p:txBody>
            <a:bodyPr wrap="square" rtlCol="0">
              <a:spAutoFit/>
            </a:bodyPr>
            <a:lstStyle/>
            <a:p>
              <a:pPr marL="0" lvl="1" fontAlgn="base">
                <a:lnSpc>
                  <a:spcPct val="90000"/>
                </a:lnSpc>
                <a:spcAft>
                  <a:spcPts val="300"/>
                </a:spcAft>
                <a:buClr>
                  <a:schemeClr val="tx1">
                    <a:lumMod val="75000"/>
                    <a:lumOff val="25000"/>
                  </a:schemeClr>
                </a:buClr>
                <a:buSzPct val="90000"/>
                <a:tabLst>
                  <a:tab pos="472722" algn="l"/>
                </a:tabLst>
              </a:pPr>
              <a:r>
                <a:rPr lang="en-US" sz="1200" spc="-38" dirty="0">
                  <a:solidFill>
                    <a:schemeClr val="bg1"/>
                  </a:solidFill>
                </a:rPr>
                <a:t>App Signing</a:t>
              </a:r>
            </a:p>
          </p:txBody>
        </p:sp>
      </p:grpSp>
      <p:sp>
        <p:nvSpPr>
          <p:cNvPr id="3" name="Rectangle 2"/>
          <p:cNvSpPr/>
          <p:nvPr/>
        </p:nvSpPr>
        <p:spPr>
          <a:xfrm>
            <a:off x="2047062" y="2400301"/>
            <a:ext cx="1234761" cy="443198"/>
          </a:xfrm>
          <a:prstGeom prst="rect">
            <a:avLst/>
          </a:prstGeom>
        </p:spPr>
        <p:txBody>
          <a:bodyPr wrap="square" lIns="68586" tIns="34294" rIns="68586" bIns="34294">
            <a:spAutoFit/>
          </a:bodyPr>
          <a:lstStyle/>
          <a:p>
            <a:pPr marL="0" lvl="1" fontAlgn="base">
              <a:lnSpc>
                <a:spcPct val="90000"/>
              </a:lnSpc>
              <a:spcAft>
                <a:spcPts val="300"/>
              </a:spcAft>
              <a:buClr>
                <a:schemeClr val="tx1">
                  <a:lumMod val="75000"/>
                  <a:lumOff val="25000"/>
                </a:schemeClr>
              </a:buClr>
              <a:buSzPct val="90000"/>
              <a:tabLst>
                <a:tab pos="472722" algn="l"/>
              </a:tabLst>
            </a:pPr>
            <a:r>
              <a:rPr lang="en-US" sz="900" dirty="0"/>
              <a:t>Enterprise Authentication and Private Network</a:t>
            </a:r>
            <a:endParaRPr lang="en-US" sz="1100" spc="-38" dirty="0">
              <a:solidFill>
                <a:schemeClr val="bg1"/>
              </a:solidFill>
            </a:endParaRPr>
          </a:p>
        </p:txBody>
      </p:sp>
      <p:sp>
        <p:nvSpPr>
          <p:cNvPr id="40" name="Rectangle 39"/>
          <p:cNvSpPr/>
          <p:nvPr/>
        </p:nvSpPr>
        <p:spPr>
          <a:xfrm>
            <a:off x="3356787" y="2400301"/>
            <a:ext cx="1213126" cy="443198"/>
          </a:xfrm>
          <a:prstGeom prst="rect">
            <a:avLst/>
          </a:prstGeom>
        </p:spPr>
        <p:txBody>
          <a:bodyPr wrap="square" lIns="68586" tIns="34294" rIns="68586" bIns="34294">
            <a:spAutoFit/>
          </a:bodyPr>
          <a:lstStyle/>
          <a:p>
            <a:pPr marL="0" lvl="1" fontAlgn="base">
              <a:lnSpc>
                <a:spcPct val="90000"/>
              </a:lnSpc>
              <a:spcAft>
                <a:spcPts val="300"/>
              </a:spcAft>
              <a:buClr>
                <a:schemeClr val="tx1">
                  <a:lumMod val="75000"/>
                  <a:lumOff val="25000"/>
                </a:schemeClr>
              </a:buClr>
              <a:buSzPct val="90000"/>
              <a:tabLst>
                <a:tab pos="472722" algn="l"/>
              </a:tabLst>
            </a:pPr>
            <a:r>
              <a:rPr lang="en-US" sz="900" dirty="0" err="1"/>
              <a:t>Windows.Security</a:t>
            </a:r>
            <a:r>
              <a:rPr lang="en-US" sz="900" dirty="0"/>
              <a:t>.</a:t>
            </a:r>
            <a:br>
              <a:rPr lang="en-US" sz="900" dirty="0"/>
            </a:br>
            <a:r>
              <a:rPr lang="en-US" sz="900" dirty="0"/>
              <a:t>Cryptography.</a:t>
            </a:r>
            <a:br>
              <a:rPr lang="en-US" sz="900" dirty="0"/>
            </a:br>
            <a:r>
              <a:rPr lang="en-US" sz="900" dirty="0"/>
              <a:t>Certificates</a:t>
            </a:r>
            <a:endParaRPr lang="en-US" sz="900" spc="-38" dirty="0">
              <a:solidFill>
                <a:schemeClr val="bg1"/>
              </a:solidFill>
            </a:endParaRPr>
          </a:p>
        </p:txBody>
      </p:sp>
      <p:sp>
        <p:nvSpPr>
          <p:cNvPr id="41" name="Rectangle 40"/>
          <p:cNvSpPr/>
          <p:nvPr/>
        </p:nvSpPr>
        <p:spPr>
          <a:xfrm>
            <a:off x="4670606" y="2400301"/>
            <a:ext cx="1208091" cy="443198"/>
          </a:xfrm>
          <a:prstGeom prst="rect">
            <a:avLst/>
          </a:prstGeom>
        </p:spPr>
        <p:txBody>
          <a:bodyPr wrap="square" lIns="68586" tIns="34294" rIns="68586" bIns="34294">
            <a:spAutoFit/>
          </a:bodyPr>
          <a:lstStyle/>
          <a:p>
            <a:pPr marL="0" lvl="1" fontAlgn="base">
              <a:lnSpc>
                <a:spcPct val="90000"/>
              </a:lnSpc>
              <a:spcAft>
                <a:spcPts val="300"/>
              </a:spcAft>
              <a:buClr>
                <a:schemeClr val="tx1">
                  <a:lumMod val="75000"/>
                  <a:lumOff val="25000"/>
                </a:schemeClr>
              </a:buClr>
              <a:buSzPct val="90000"/>
              <a:tabLst>
                <a:tab pos="472722" algn="l"/>
              </a:tabLst>
            </a:pPr>
            <a:r>
              <a:rPr lang="en-US" sz="900" dirty="0"/>
              <a:t>Credential Picker and</a:t>
            </a:r>
            <a:br>
              <a:rPr lang="en-US" sz="900" dirty="0"/>
            </a:br>
            <a:r>
              <a:rPr lang="en-US" sz="900" dirty="0"/>
              <a:t>Shared User </a:t>
            </a:r>
            <a:br>
              <a:rPr lang="en-US" sz="900" dirty="0"/>
            </a:br>
            <a:r>
              <a:rPr lang="en-US" sz="900" dirty="0"/>
              <a:t>Certificates</a:t>
            </a:r>
          </a:p>
        </p:txBody>
      </p:sp>
      <p:sp>
        <p:nvSpPr>
          <p:cNvPr id="42" name="Rectangle 41"/>
          <p:cNvSpPr/>
          <p:nvPr/>
        </p:nvSpPr>
        <p:spPr>
          <a:xfrm>
            <a:off x="5978287" y="2400301"/>
            <a:ext cx="1228977" cy="484748"/>
          </a:xfrm>
          <a:prstGeom prst="rect">
            <a:avLst/>
          </a:prstGeom>
        </p:spPr>
        <p:txBody>
          <a:bodyPr wrap="square" lIns="68586" tIns="34294" rIns="68586" bIns="34294">
            <a:spAutoFit/>
          </a:bodyPr>
          <a:lstStyle/>
          <a:p>
            <a:r>
              <a:rPr lang="en-US" sz="900" dirty="0" err="1"/>
              <a:t>WebAuthentication</a:t>
            </a:r>
            <a:r>
              <a:rPr lang="en-US" sz="900" dirty="0"/>
              <a:t/>
            </a:r>
            <a:br>
              <a:rPr lang="en-US" sz="900" dirty="0"/>
            </a:br>
            <a:r>
              <a:rPr lang="en-US" sz="900" dirty="0"/>
              <a:t>Broker.</a:t>
            </a:r>
            <a:br>
              <a:rPr lang="en-US" sz="900" dirty="0"/>
            </a:br>
            <a:r>
              <a:rPr lang="en-US" sz="900" dirty="0" err="1"/>
              <a:t>AuthenticateAsync</a:t>
            </a:r>
            <a:endParaRPr lang="en-US" sz="900" dirty="0"/>
          </a:p>
        </p:txBody>
      </p:sp>
      <p:sp>
        <p:nvSpPr>
          <p:cNvPr id="43" name="Rectangle 42"/>
          <p:cNvSpPr/>
          <p:nvPr/>
        </p:nvSpPr>
        <p:spPr>
          <a:xfrm>
            <a:off x="7291106" y="2400301"/>
            <a:ext cx="1228977" cy="484748"/>
          </a:xfrm>
          <a:prstGeom prst="rect">
            <a:avLst/>
          </a:prstGeom>
        </p:spPr>
        <p:txBody>
          <a:bodyPr wrap="square" lIns="68586" tIns="34294" rIns="68586" bIns="34294">
            <a:spAutoFit/>
          </a:bodyPr>
          <a:lstStyle/>
          <a:p>
            <a:r>
              <a:rPr lang="en-US" sz="900" dirty="0" err="1"/>
              <a:t>WebAuthentication</a:t>
            </a:r>
            <a:r>
              <a:rPr lang="en-US" sz="900" dirty="0"/>
              <a:t/>
            </a:r>
            <a:br>
              <a:rPr lang="en-US" sz="900" dirty="0"/>
            </a:br>
            <a:r>
              <a:rPr lang="en-US" sz="900" dirty="0"/>
              <a:t>Broker.</a:t>
            </a:r>
            <a:br>
              <a:rPr lang="en-US" sz="900" dirty="0"/>
            </a:br>
            <a:r>
              <a:rPr lang="en-US" sz="900" dirty="0" err="1"/>
              <a:t>AuthenticateAsync</a:t>
            </a:r>
            <a:endParaRPr lang="en-US" sz="900" dirty="0"/>
          </a:p>
        </p:txBody>
      </p:sp>
      <p:sp>
        <p:nvSpPr>
          <p:cNvPr id="44"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45"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
              </a:rPr>
              <a:t>www.rapidbbs.cn</a:t>
            </a:r>
            <a:endParaRPr lang="zh-CN" altLang="en-US" sz="1200" b="0">
              <a:latin typeface="Arial" charset="0"/>
              <a:ea typeface="ＭＳ Ｐゴシック" pitchFamily="34" charset="-128"/>
            </a:endParaRPr>
          </a:p>
        </p:txBody>
      </p:sp>
      <p:pic>
        <p:nvPicPr>
          <p:cNvPr id="46" name="Picture 2">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42337999"/>
      </p:ext>
    </p:extLst>
  </p:cSld>
  <p:clrMapOvr>
    <a:masterClrMapping/>
  </p:clrMapOvr>
  <p:transition>
    <p:fade/>
  </p:transition>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sting LOB Apps</a:t>
            </a:r>
          </a:p>
        </p:txBody>
      </p:sp>
      <p:sp>
        <p:nvSpPr>
          <p:cNvPr id="3" name="Rectangle 2"/>
          <p:cNvSpPr/>
          <p:nvPr/>
        </p:nvSpPr>
        <p:spPr bwMode="auto">
          <a:xfrm>
            <a:off x="6155842" y="1493045"/>
            <a:ext cx="2812512" cy="2674620"/>
          </a:xfrm>
          <a:prstGeom prst="rect">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51458" tIns="25729" rIns="51458" bIns="25729" numCol="1" rtlCol="0" anchor="t" anchorCtr="0" compatLnSpc="1">
            <a:prstTxWarp prst="textNoShape">
              <a:avLst/>
            </a:prstTxWarp>
          </a:bodyPr>
          <a:lstStyle/>
          <a:p>
            <a:pPr defTabSz="514434" fontAlgn="base">
              <a:spcBef>
                <a:spcPct val="0"/>
              </a:spcBef>
              <a:spcAft>
                <a:spcPct val="0"/>
              </a:spcAft>
              <a:defRPr/>
            </a:pPr>
            <a:r>
              <a:rPr lang="en-US" altLang="zh-CN" sz="6000" b="1" kern="0" dirty="0">
                <a:solidFill>
                  <a:srgbClr val="FFC000"/>
                </a:solidFill>
                <a:latin typeface="Segoe UI Light" pitchFamily="34" charset="0"/>
              </a:rPr>
              <a:t>3 </a:t>
            </a:r>
          </a:p>
          <a:p>
            <a:pPr defTabSz="514434" fontAlgn="base">
              <a:spcBef>
                <a:spcPct val="0"/>
              </a:spcBef>
              <a:spcAft>
                <a:spcPct val="0"/>
              </a:spcAft>
              <a:defRPr/>
            </a:pPr>
            <a:endParaRPr lang="en-US" altLang="zh-CN" sz="1500" kern="0" dirty="0">
              <a:gradFill>
                <a:gsLst>
                  <a:gs pos="0">
                    <a:srgbClr val="FFFFFF"/>
                  </a:gs>
                  <a:gs pos="100000">
                    <a:srgbClr val="FFFFFF"/>
                  </a:gs>
                </a:gsLst>
                <a:lin ang="5400000" scaled="0"/>
              </a:gradFill>
              <a:latin typeface="Segoe UI Light" pitchFamily="34" charset="0"/>
            </a:endParaRPr>
          </a:p>
          <a:p>
            <a:pPr defTabSz="514434" fontAlgn="base">
              <a:spcBef>
                <a:spcPct val="0"/>
              </a:spcBef>
              <a:spcAft>
                <a:spcPct val="0"/>
              </a:spcAft>
              <a:defRPr/>
            </a:pPr>
            <a:endParaRPr lang="en-US" altLang="zh-CN" sz="1500" kern="0" dirty="0">
              <a:gradFill>
                <a:gsLst>
                  <a:gs pos="0">
                    <a:srgbClr val="FFFFFF"/>
                  </a:gs>
                  <a:gs pos="100000">
                    <a:srgbClr val="FFFFFF"/>
                  </a:gs>
                </a:gsLst>
                <a:lin ang="5400000" scaled="0"/>
              </a:gradFill>
              <a:latin typeface="Segoe UI Light" pitchFamily="34" charset="0"/>
            </a:endParaRPr>
          </a:p>
          <a:p>
            <a:pPr defTabSz="514434" fontAlgn="base">
              <a:spcBef>
                <a:spcPct val="0"/>
              </a:spcBef>
              <a:spcAft>
                <a:spcPct val="0"/>
              </a:spcAft>
              <a:defRPr/>
            </a:pPr>
            <a:endParaRPr lang="en-US" altLang="zh-CN" sz="1500" kern="0" dirty="0">
              <a:gradFill>
                <a:gsLst>
                  <a:gs pos="0">
                    <a:srgbClr val="FFFFFF"/>
                  </a:gs>
                  <a:gs pos="100000">
                    <a:srgbClr val="FFFFFF"/>
                  </a:gs>
                </a:gsLst>
                <a:lin ang="5400000" scaled="0"/>
              </a:gradFill>
              <a:latin typeface="Segoe UI Light" pitchFamily="34" charset="0"/>
            </a:endParaRPr>
          </a:p>
          <a:p>
            <a:pPr defTabSz="514434" fontAlgn="base">
              <a:spcBef>
                <a:spcPct val="0"/>
              </a:spcBef>
              <a:spcAft>
                <a:spcPct val="0"/>
              </a:spcAft>
              <a:defRPr/>
            </a:pPr>
            <a:endParaRPr lang="en-US" altLang="zh-CN" sz="1500" kern="0" dirty="0">
              <a:gradFill>
                <a:gsLst>
                  <a:gs pos="0">
                    <a:srgbClr val="FFFFFF"/>
                  </a:gs>
                  <a:gs pos="100000">
                    <a:srgbClr val="FFFFFF"/>
                  </a:gs>
                </a:gsLst>
                <a:lin ang="5400000" scaled="0"/>
              </a:gradFill>
              <a:latin typeface="Segoe UI Light" pitchFamily="34" charset="0"/>
            </a:endParaRPr>
          </a:p>
          <a:p>
            <a:pPr defTabSz="514434" fontAlgn="base">
              <a:spcBef>
                <a:spcPct val="0"/>
              </a:spcBef>
              <a:spcAft>
                <a:spcPct val="0"/>
              </a:spcAft>
              <a:defRPr/>
            </a:pPr>
            <a:endParaRPr lang="en-US" altLang="zh-CN" sz="1500" kern="0" dirty="0">
              <a:gradFill>
                <a:gsLst>
                  <a:gs pos="0">
                    <a:srgbClr val="FFFFFF"/>
                  </a:gs>
                  <a:gs pos="100000">
                    <a:srgbClr val="FFFFFF"/>
                  </a:gs>
                </a:gsLst>
                <a:lin ang="5400000" scaled="0"/>
              </a:gradFill>
              <a:latin typeface="Segoe UI Light" pitchFamily="34" charset="0"/>
            </a:endParaRPr>
          </a:p>
        </p:txBody>
      </p:sp>
      <p:sp>
        <p:nvSpPr>
          <p:cNvPr id="4" name="Rectangle 3"/>
          <p:cNvSpPr/>
          <p:nvPr/>
        </p:nvSpPr>
        <p:spPr bwMode="auto">
          <a:xfrm>
            <a:off x="3194700" y="1493045"/>
            <a:ext cx="2812512" cy="2674620"/>
          </a:xfrm>
          <a:prstGeom prst="rect">
            <a:avLst/>
          </a:prstGeom>
          <a:solidFill>
            <a:schemeClr val="accent3"/>
          </a:solidFill>
          <a:ln w="25400" cap="flat" cmpd="sng" algn="ctr">
            <a:noFill/>
            <a:prstDash val="solid"/>
            <a:headEnd type="none" w="med" len="med"/>
            <a:tailEnd type="none" w="med" len="med"/>
          </a:ln>
          <a:effectLst/>
        </p:spPr>
        <p:txBody>
          <a:bodyPr vert="horz" wrap="square" lIns="51458" tIns="25729" rIns="51458" bIns="25729" numCol="1" rtlCol="0" anchor="t" anchorCtr="0" compatLnSpc="1">
            <a:prstTxWarp prst="textNoShape">
              <a:avLst/>
            </a:prstTxWarp>
          </a:bodyPr>
          <a:lstStyle/>
          <a:p>
            <a:pPr defTabSz="514434" fontAlgn="base">
              <a:spcBef>
                <a:spcPct val="0"/>
              </a:spcBef>
              <a:spcAft>
                <a:spcPct val="0"/>
              </a:spcAft>
              <a:defRPr/>
            </a:pPr>
            <a:r>
              <a:rPr lang="en-US" altLang="zh-CN" sz="6000" b="1" kern="0" dirty="0">
                <a:solidFill>
                  <a:srgbClr val="FFC000"/>
                </a:solidFill>
                <a:latin typeface="Segoe UI Light" pitchFamily="34" charset="0"/>
              </a:rPr>
              <a:t>2</a:t>
            </a:r>
          </a:p>
          <a:p>
            <a:pPr defTabSz="514434" fontAlgn="base">
              <a:spcBef>
                <a:spcPct val="0"/>
              </a:spcBef>
              <a:spcAft>
                <a:spcPct val="0"/>
              </a:spcAft>
              <a:defRPr/>
            </a:pPr>
            <a:endParaRPr lang="en-US" altLang="zh-CN" sz="1500" kern="0" dirty="0">
              <a:gradFill>
                <a:gsLst>
                  <a:gs pos="0">
                    <a:srgbClr val="FFFFFF"/>
                  </a:gs>
                  <a:gs pos="100000">
                    <a:srgbClr val="FFFFFF"/>
                  </a:gs>
                </a:gsLst>
                <a:lin ang="5400000" scaled="0"/>
              </a:gradFill>
              <a:latin typeface="Segoe UI Light" pitchFamily="34" charset="0"/>
            </a:endParaRPr>
          </a:p>
          <a:p>
            <a:pPr defTabSz="514434" fontAlgn="base">
              <a:spcBef>
                <a:spcPct val="0"/>
              </a:spcBef>
              <a:spcAft>
                <a:spcPct val="0"/>
              </a:spcAft>
              <a:defRPr/>
            </a:pPr>
            <a:endParaRPr lang="en-US" altLang="zh-CN" sz="1500" kern="0" dirty="0">
              <a:gradFill>
                <a:gsLst>
                  <a:gs pos="0">
                    <a:srgbClr val="FFFFFF"/>
                  </a:gs>
                  <a:gs pos="100000">
                    <a:srgbClr val="FFFFFF"/>
                  </a:gs>
                </a:gsLst>
                <a:lin ang="5400000" scaled="0"/>
              </a:gradFill>
              <a:latin typeface="Segoe UI Light" pitchFamily="34" charset="0"/>
            </a:endParaRPr>
          </a:p>
          <a:p>
            <a:pPr defTabSz="514434" fontAlgn="base">
              <a:spcBef>
                <a:spcPct val="0"/>
              </a:spcBef>
              <a:spcAft>
                <a:spcPct val="0"/>
              </a:spcAft>
              <a:defRPr/>
            </a:pPr>
            <a:endParaRPr lang="en-US" altLang="zh-CN" sz="1500" kern="0" dirty="0">
              <a:gradFill>
                <a:gsLst>
                  <a:gs pos="0">
                    <a:srgbClr val="FFFFFF"/>
                  </a:gs>
                  <a:gs pos="100000">
                    <a:srgbClr val="FFFFFF"/>
                  </a:gs>
                </a:gsLst>
                <a:lin ang="5400000" scaled="0"/>
              </a:gradFill>
              <a:latin typeface="Segoe UI Light" pitchFamily="34" charset="0"/>
            </a:endParaRPr>
          </a:p>
          <a:p>
            <a:pPr defTabSz="514434" fontAlgn="base">
              <a:spcBef>
                <a:spcPct val="0"/>
              </a:spcBef>
              <a:spcAft>
                <a:spcPct val="0"/>
              </a:spcAft>
              <a:defRPr/>
            </a:pPr>
            <a:endParaRPr lang="en-US" altLang="zh-CN" sz="1500" kern="0" dirty="0">
              <a:gradFill>
                <a:gsLst>
                  <a:gs pos="0">
                    <a:srgbClr val="FFFFFF"/>
                  </a:gs>
                  <a:gs pos="100000">
                    <a:srgbClr val="FFFFFF"/>
                  </a:gs>
                </a:gsLst>
                <a:lin ang="5400000" scaled="0"/>
              </a:gradFill>
              <a:latin typeface="Segoe UI Light" pitchFamily="34" charset="0"/>
            </a:endParaRPr>
          </a:p>
          <a:p>
            <a:pPr defTabSz="514434" fontAlgn="base">
              <a:spcBef>
                <a:spcPct val="0"/>
              </a:spcBef>
              <a:spcAft>
                <a:spcPct val="0"/>
              </a:spcAft>
              <a:defRPr/>
            </a:pPr>
            <a:endParaRPr lang="en-US" altLang="zh-CN" sz="1500" kern="0" dirty="0">
              <a:gradFill>
                <a:gsLst>
                  <a:gs pos="0">
                    <a:srgbClr val="FFFFFF"/>
                  </a:gs>
                  <a:gs pos="100000">
                    <a:srgbClr val="FFFFFF"/>
                  </a:gs>
                </a:gsLst>
                <a:lin ang="5400000" scaled="0"/>
              </a:gradFill>
              <a:latin typeface="Segoe UI Light" pitchFamily="34" charset="0"/>
            </a:endParaRPr>
          </a:p>
        </p:txBody>
      </p:sp>
      <p:pic>
        <p:nvPicPr>
          <p:cNvPr id="5" name="Picture 8"/>
          <p:cNvPicPr>
            <a:picLocks noChangeAspect="1" noChangeArrowheads="1"/>
          </p:cNvPicPr>
          <p:nvPr/>
        </p:nvPicPr>
        <p:blipFill>
          <a:blip r:embed="rId2" cstate="email">
            <a:clrChange>
              <a:clrFrom>
                <a:srgbClr val="FF0004"/>
              </a:clrFrom>
              <a:clrTo>
                <a:srgbClr val="FF0004">
                  <a:alpha val="0"/>
                </a:srgbClr>
              </a:clrTo>
            </a:clrChange>
            <a:extLst>
              <a:ext uri="{28A0092B-C50C-407E-A947-70E740481C1C}">
                <a14:useLocalDpi xmlns:a14="http://schemas.microsoft.com/office/drawing/2010/main" val="0"/>
              </a:ext>
            </a:extLst>
          </a:blip>
          <a:srcRect/>
          <a:stretch>
            <a:fillRect/>
          </a:stretch>
        </p:blipFill>
        <p:spPr bwMode="auto">
          <a:xfrm>
            <a:off x="4257966" y="2726324"/>
            <a:ext cx="685979" cy="6891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3704285" y="1594066"/>
            <a:ext cx="2167693" cy="646331"/>
          </a:xfrm>
          <a:prstGeom prst="rect">
            <a:avLst/>
          </a:prstGeom>
          <a:noFill/>
        </p:spPr>
        <p:txBody>
          <a:bodyPr wrap="square" lIns="0" tIns="0" rIns="0" bIns="0" rtlCol="0">
            <a:spAutoFit/>
          </a:bodyPr>
          <a:lstStyle/>
          <a:p>
            <a:r>
              <a:rPr lang="en-US" sz="2100" b="1" dirty="0">
                <a:solidFill>
                  <a:schemeClr val="bg1">
                    <a:alpha val="99000"/>
                  </a:schemeClr>
                </a:solidFill>
                <a:latin typeface="Segoe UI Light" pitchFamily="34" charset="0"/>
              </a:rPr>
              <a:t>Visual Studio Tools and Debugger</a:t>
            </a:r>
          </a:p>
        </p:txBody>
      </p:sp>
      <p:sp>
        <p:nvSpPr>
          <p:cNvPr id="7" name="TextBox 6"/>
          <p:cNvSpPr txBox="1"/>
          <p:nvPr/>
        </p:nvSpPr>
        <p:spPr>
          <a:xfrm>
            <a:off x="6733637" y="1594067"/>
            <a:ext cx="2167693" cy="323165"/>
          </a:xfrm>
          <a:prstGeom prst="rect">
            <a:avLst/>
          </a:prstGeom>
          <a:noFill/>
        </p:spPr>
        <p:txBody>
          <a:bodyPr wrap="square" lIns="0" tIns="0" rIns="0" bIns="0" rtlCol="0">
            <a:spAutoFit/>
          </a:bodyPr>
          <a:lstStyle/>
          <a:p>
            <a:r>
              <a:rPr lang="en-US" sz="2100" b="1" dirty="0">
                <a:solidFill>
                  <a:schemeClr val="bg1">
                    <a:alpha val="99000"/>
                  </a:schemeClr>
                </a:solidFill>
                <a:latin typeface="Segoe UI Light" pitchFamily="34" charset="0"/>
              </a:rPr>
              <a:t>Developer license</a:t>
            </a:r>
          </a:p>
        </p:txBody>
      </p:sp>
      <p:sp>
        <p:nvSpPr>
          <p:cNvPr id="8" name="Rectangle 7"/>
          <p:cNvSpPr/>
          <p:nvPr/>
        </p:nvSpPr>
        <p:spPr bwMode="auto">
          <a:xfrm>
            <a:off x="200690" y="1493045"/>
            <a:ext cx="2872496" cy="2674620"/>
          </a:xfrm>
          <a:prstGeom prst="rect">
            <a:avLst/>
          </a:prstGeom>
          <a:solidFill>
            <a:srgbClr val="6BBD46"/>
          </a:solidFill>
          <a:ln w="25400" cap="flat" cmpd="sng" algn="ctr">
            <a:noFill/>
            <a:prstDash val="solid"/>
            <a:headEnd type="none" w="med" len="med"/>
            <a:tailEnd type="none" w="med" len="med"/>
          </a:ln>
          <a:effectLst/>
        </p:spPr>
        <p:txBody>
          <a:bodyPr vert="horz" wrap="square" lIns="51458" tIns="25729" rIns="51458" bIns="25729" numCol="1" rtlCol="0" anchor="t" anchorCtr="0" compatLnSpc="1">
            <a:prstTxWarp prst="textNoShape">
              <a:avLst/>
            </a:prstTxWarp>
          </a:bodyPr>
          <a:lstStyle/>
          <a:p>
            <a:pPr defTabSz="514434" fontAlgn="base">
              <a:spcBef>
                <a:spcPct val="0"/>
              </a:spcBef>
              <a:spcAft>
                <a:spcPct val="0"/>
              </a:spcAft>
              <a:defRPr/>
            </a:pPr>
            <a:r>
              <a:rPr lang="en-US" altLang="zh-CN" sz="6000" b="1" kern="0" dirty="0">
                <a:solidFill>
                  <a:srgbClr val="FFC000"/>
                </a:solidFill>
                <a:latin typeface="Segoe UI Light" pitchFamily="34" charset="0"/>
              </a:rPr>
              <a:t>1</a:t>
            </a:r>
            <a:endParaRPr lang="en-US" altLang="zh-CN" sz="3600" b="1" kern="0" dirty="0">
              <a:solidFill>
                <a:srgbClr val="FFC000"/>
              </a:solidFill>
              <a:latin typeface="Segoe UI Light" pitchFamily="34" charset="0"/>
            </a:endParaRPr>
          </a:p>
          <a:p>
            <a:pPr defTabSz="514434" fontAlgn="base">
              <a:spcBef>
                <a:spcPct val="0"/>
              </a:spcBef>
              <a:spcAft>
                <a:spcPct val="0"/>
              </a:spcAft>
              <a:defRPr/>
            </a:pPr>
            <a:endParaRPr lang="en-US" altLang="zh-CN" sz="800" kern="0" dirty="0">
              <a:gradFill>
                <a:gsLst>
                  <a:gs pos="0">
                    <a:srgbClr val="FFFFFF"/>
                  </a:gs>
                  <a:gs pos="100000">
                    <a:srgbClr val="FFFFFF"/>
                  </a:gs>
                </a:gsLst>
                <a:lin ang="5400000" scaled="0"/>
              </a:gradFill>
              <a:latin typeface="Segoe UI Light" pitchFamily="34" charset="0"/>
            </a:endParaRPr>
          </a:p>
          <a:p>
            <a:pPr defTabSz="514434" fontAlgn="base">
              <a:spcBef>
                <a:spcPct val="0"/>
              </a:spcBef>
              <a:spcAft>
                <a:spcPct val="0"/>
              </a:spcAft>
              <a:defRPr/>
            </a:pPr>
            <a:endParaRPr lang="en-US" altLang="zh-CN" sz="800" kern="0" dirty="0">
              <a:gradFill>
                <a:gsLst>
                  <a:gs pos="0">
                    <a:srgbClr val="FFFFFF"/>
                  </a:gs>
                  <a:gs pos="100000">
                    <a:srgbClr val="FFFFFF"/>
                  </a:gs>
                </a:gsLst>
                <a:lin ang="5400000" scaled="0"/>
              </a:gradFill>
              <a:latin typeface="Segoe UI Light" pitchFamily="34" charset="0"/>
            </a:endParaRPr>
          </a:p>
          <a:p>
            <a:pPr defTabSz="514434" fontAlgn="base">
              <a:spcBef>
                <a:spcPct val="0"/>
              </a:spcBef>
              <a:spcAft>
                <a:spcPct val="0"/>
              </a:spcAft>
              <a:defRPr/>
            </a:pPr>
            <a:endParaRPr lang="en-US" altLang="zh-CN" sz="800" kern="0" dirty="0">
              <a:gradFill>
                <a:gsLst>
                  <a:gs pos="0">
                    <a:srgbClr val="FFFFFF"/>
                  </a:gs>
                  <a:gs pos="100000">
                    <a:srgbClr val="FFFFFF"/>
                  </a:gs>
                </a:gsLst>
                <a:lin ang="5400000" scaled="0"/>
              </a:gradFill>
              <a:latin typeface="Segoe UI Light" pitchFamily="34" charset="0"/>
            </a:endParaRPr>
          </a:p>
          <a:p>
            <a:pPr defTabSz="514434" fontAlgn="base">
              <a:spcBef>
                <a:spcPct val="0"/>
              </a:spcBef>
              <a:spcAft>
                <a:spcPct val="0"/>
              </a:spcAft>
              <a:defRPr/>
            </a:pPr>
            <a:endParaRPr lang="en-US" altLang="zh-CN" sz="800" kern="0" dirty="0">
              <a:gradFill>
                <a:gsLst>
                  <a:gs pos="0">
                    <a:srgbClr val="FFFFFF"/>
                  </a:gs>
                  <a:gs pos="100000">
                    <a:srgbClr val="FFFFFF"/>
                  </a:gs>
                </a:gsLst>
                <a:lin ang="5400000" scaled="0"/>
              </a:gradFill>
              <a:latin typeface="Segoe UI Light" pitchFamily="34" charset="0"/>
            </a:endParaRPr>
          </a:p>
        </p:txBody>
      </p:sp>
      <p:sp>
        <p:nvSpPr>
          <p:cNvPr id="9" name="TextBox 8"/>
          <p:cNvSpPr txBox="1"/>
          <p:nvPr/>
        </p:nvSpPr>
        <p:spPr>
          <a:xfrm>
            <a:off x="741953" y="1594066"/>
            <a:ext cx="2167693" cy="646331"/>
          </a:xfrm>
          <a:prstGeom prst="rect">
            <a:avLst/>
          </a:prstGeom>
          <a:noFill/>
        </p:spPr>
        <p:txBody>
          <a:bodyPr wrap="square" lIns="0" tIns="0" rIns="0" bIns="0" rtlCol="0">
            <a:spAutoFit/>
          </a:bodyPr>
          <a:lstStyle/>
          <a:p>
            <a:r>
              <a:rPr lang="en-US" sz="2100" b="1" dirty="0">
                <a:solidFill>
                  <a:schemeClr val="bg1">
                    <a:alpha val="99000"/>
                  </a:schemeClr>
                </a:solidFill>
                <a:latin typeface="Segoe UI Light" pitchFamily="34" charset="0"/>
              </a:rPr>
              <a:t>Windows App Certification Kit</a:t>
            </a: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1773" y="2467394"/>
            <a:ext cx="1207322" cy="1207007"/>
          </a:xfrm>
          <a:prstGeom prst="rect">
            <a:avLst/>
          </a:prstGeom>
        </p:spPr>
      </p:pic>
      <p:pic>
        <p:nvPicPr>
          <p:cNvPr id="11" name="Picture 10"/>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349771" y="2805678"/>
            <a:ext cx="440987" cy="472630"/>
          </a:xfrm>
          <a:prstGeom prst="rect">
            <a:avLst/>
          </a:prstGeom>
        </p:spPr>
      </p:pic>
      <p:sp>
        <p:nvSpPr>
          <p:cNvPr id="12"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3"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5"/>
              </a:rPr>
              <a:t>www.rapidbbs.cn</a:t>
            </a:r>
            <a:endParaRPr lang="zh-CN" altLang="en-US" sz="1200" b="0">
              <a:latin typeface="Arial" charset="0"/>
              <a:ea typeface="ＭＳ Ｐゴシック" pitchFamily="34" charset="-128"/>
            </a:endParaRPr>
          </a:p>
        </p:txBody>
      </p:sp>
      <p:pic>
        <p:nvPicPr>
          <p:cNvPr id="14" name="Picture 2">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20528556"/>
      </p:ext>
    </p:extLst>
  </p:cSld>
  <p:clrMapOvr>
    <a:masterClrMapping/>
  </p:clrMapOvr>
  <p:transition>
    <p:fade/>
  </p:transition>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pport</a:t>
            </a:r>
            <a:endParaRPr lang="en-US" dirty="0"/>
          </a:p>
        </p:txBody>
      </p:sp>
      <p:pic>
        <p:nvPicPr>
          <p:cNvPr id="4"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1952" y="628650"/>
            <a:ext cx="8019678" cy="41707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 Placeholder 4"/>
          <p:cNvSpPr>
            <a:spLocks noGrp="1"/>
          </p:cNvSpPr>
          <p:nvPr>
            <p:ph type="body" sz="quarter" idx="10"/>
          </p:nvPr>
        </p:nvSpPr>
        <p:spPr>
          <a:xfrm>
            <a:off x="389436" y="1085851"/>
            <a:ext cx="8363938" cy="332399"/>
          </a:xfrm>
        </p:spPr>
        <p:txBody>
          <a:bodyPr/>
          <a:lstStyle/>
          <a:p>
            <a:endParaRPr lang="en-US"/>
          </a:p>
        </p:txBody>
      </p:sp>
      <p:sp>
        <p:nvSpPr>
          <p:cNvPr id="6"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7"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pic>
        <p:nvPicPr>
          <p:cNvPr id="8"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75077026"/>
      </p:ext>
    </p:extLst>
  </p:cSld>
  <p:clrMapOvr>
    <a:masterClrMapping/>
  </p:clrMapOvr>
  <p:transition>
    <p:fade/>
  </p:transition>
  <p:timing>
    <p:tnLst>
      <p:par>
        <p:cT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172643"/>
            <a:ext cx="8382000" cy="830997"/>
          </a:xfrm>
        </p:spPr>
        <p:txBody>
          <a:bodyPr/>
          <a:lstStyle/>
          <a:p>
            <a:r>
              <a:rPr lang="en-US" dirty="0" smtClean="0"/>
              <a:t>Metro style LOB apps</a:t>
            </a:r>
            <a:br>
              <a:rPr lang="en-US" dirty="0" smtClean="0"/>
            </a:br>
            <a:r>
              <a:rPr lang="en-US" sz="2700" dirty="0">
                <a:solidFill>
                  <a:schemeClr val="accent1"/>
                </a:solidFill>
              </a:rPr>
              <a:t>tools</a:t>
            </a:r>
            <a:endParaRPr lang="en-US" dirty="0">
              <a:solidFill>
                <a:schemeClr val="accent1"/>
              </a:solidFill>
            </a:endParaRPr>
          </a:p>
        </p:txBody>
      </p:sp>
      <p:pic>
        <p:nvPicPr>
          <p:cNvPr id="6" name="Picture 2" descr="C:\Users\Jordan\Desktop\TechEd_2012\TechEd-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6962" y="4619593"/>
            <a:ext cx="698151" cy="322326"/>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685800" y="1271041"/>
            <a:ext cx="2563338" cy="463497"/>
          </a:xfrm>
          <a:prstGeom prst="rect">
            <a:avLst/>
          </a:prstGeom>
          <a:gradFill flip="none" rotWithShape="1">
            <a:gsLst>
              <a:gs pos="6000">
                <a:schemeClr val="bg1">
                  <a:alpha val="0"/>
                </a:schemeClr>
              </a:gs>
              <a:gs pos="76000">
                <a:srgbClr val="00B0F0"/>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6" rIns="91432" bIns="45716" rtlCol="0" anchor="ctr"/>
          <a:lstStyle/>
          <a:p>
            <a:pPr algn="ctr"/>
            <a:endParaRPr lang="en-US" sz="1600" dirty="0"/>
          </a:p>
        </p:txBody>
      </p:sp>
      <p:sp>
        <p:nvSpPr>
          <p:cNvPr id="7" name="Rectangle 6"/>
          <p:cNvSpPr/>
          <p:nvPr/>
        </p:nvSpPr>
        <p:spPr>
          <a:xfrm>
            <a:off x="3249138" y="1271041"/>
            <a:ext cx="2563338" cy="463497"/>
          </a:xfrm>
          <a:prstGeom prst="rect">
            <a:avLst/>
          </a:prstGeom>
          <a:gradFill flip="none" rotWithShape="1">
            <a:gsLst>
              <a:gs pos="0">
                <a:schemeClr val="bg1">
                  <a:alpha val="0"/>
                </a:schemeClr>
              </a:gs>
              <a:gs pos="50000">
                <a:srgbClr val="FFC000"/>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6" rIns="91432" bIns="45716" rtlCol="0" anchor="ctr"/>
          <a:lstStyle/>
          <a:p>
            <a:pPr algn="ctr"/>
            <a:endParaRPr lang="en-US" sz="1600" dirty="0"/>
          </a:p>
        </p:txBody>
      </p:sp>
      <p:sp>
        <p:nvSpPr>
          <p:cNvPr id="8" name="Rectangle 7"/>
          <p:cNvSpPr/>
          <p:nvPr/>
        </p:nvSpPr>
        <p:spPr>
          <a:xfrm>
            <a:off x="5812476" y="1271041"/>
            <a:ext cx="2569524" cy="463497"/>
          </a:xfrm>
          <a:prstGeom prst="rect">
            <a:avLst/>
          </a:prstGeom>
          <a:gradFill flip="none" rotWithShape="1">
            <a:gsLst>
              <a:gs pos="6000">
                <a:schemeClr val="bg1">
                  <a:alpha val="0"/>
                </a:schemeClr>
              </a:gs>
              <a:gs pos="76000">
                <a:srgbClr val="7030A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6" rIns="91432" bIns="45716" rtlCol="0" anchor="ctr"/>
          <a:lstStyle/>
          <a:p>
            <a:pPr algn="ctr"/>
            <a:endParaRPr lang="en-US" sz="1600" dirty="0"/>
          </a:p>
        </p:txBody>
      </p:sp>
      <p:sp>
        <p:nvSpPr>
          <p:cNvPr id="9" name="Rectangle 8"/>
          <p:cNvSpPr/>
          <p:nvPr/>
        </p:nvSpPr>
        <p:spPr>
          <a:xfrm>
            <a:off x="685800" y="2261641"/>
            <a:ext cx="5334000" cy="463497"/>
          </a:xfrm>
          <a:prstGeom prst="rect">
            <a:avLst/>
          </a:prstGeom>
          <a:solidFill>
            <a:srgbClr val="00B0F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6" rIns="91432" bIns="45716" rtlCol="0" anchor="ctr"/>
          <a:lstStyle/>
          <a:p>
            <a:pPr algn="ctr"/>
            <a:r>
              <a:rPr lang="en-US" sz="1600" dirty="0"/>
              <a:t>BLEND</a:t>
            </a:r>
          </a:p>
        </p:txBody>
      </p:sp>
      <p:sp>
        <p:nvSpPr>
          <p:cNvPr id="10" name="Rectangle 9"/>
          <p:cNvSpPr/>
          <p:nvPr/>
        </p:nvSpPr>
        <p:spPr>
          <a:xfrm>
            <a:off x="3249138" y="1771480"/>
            <a:ext cx="5132862" cy="463497"/>
          </a:xfrm>
          <a:prstGeom prst="rect">
            <a:avLst/>
          </a:prstGeom>
          <a:solidFill>
            <a:srgbClr val="7030A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6" rIns="91432" bIns="45716" rtlCol="0" anchor="ctr"/>
          <a:lstStyle/>
          <a:p>
            <a:pPr algn="ctr"/>
            <a:r>
              <a:rPr lang="en-US" sz="1600" dirty="0"/>
              <a:t>VISUAL STUDIO</a:t>
            </a:r>
          </a:p>
        </p:txBody>
      </p:sp>
      <p:sp>
        <p:nvSpPr>
          <p:cNvPr id="11" name="Rectangle 10"/>
          <p:cNvSpPr/>
          <p:nvPr/>
        </p:nvSpPr>
        <p:spPr>
          <a:xfrm>
            <a:off x="810740" y="1809065"/>
            <a:ext cx="2441492" cy="1188767"/>
          </a:xfrm>
          <a:prstGeom prst="rect">
            <a:avLst/>
          </a:prstGeom>
        </p:spPr>
        <p:txBody>
          <a:bodyPr wrap="square" lIns="91432" tIns="45716" rIns="91432" bIns="45716">
            <a:spAutoFit/>
          </a:bodyPr>
          <a:lstStyle/>
          <a:p>
            <a:pPr marL="0" lvl="1" indent="274297">
              <a:buClr>
                <a:srgbClr val="00B0F0"/>
              </a:buClr>
              <a:buSzPct val="70000"/>
              <a:buFont typeface="Wingdings" pitchFamily="2" charset="2"/>
              <a:buChar char="§"/>
            </a:pPr>
            <a:r>
              <a:rPr lang="en-US" dirty="0" smtClean="0">
                <a:latin typeface="Segoe UI" pitchFamily="34" charset="0"/>
                <a:ea typeface="Segoe UI" pitchFamily="34" charset="0"/>
                <a:cs typeface="Segoe UI" pitchFamily="34" charset="0"/>
              </a:rPr>
              <a:t>Styling</a:t>
            </a:r>
          </a:p>
          <a:p>
            <a:pPr marL="0" lvl="1" indent="274297">
              <a:buClr>
                <a:srgbClr val="00B0F0"/>
              </a:buClr>
              <a:buSzPct val="70000"/>
              <a:buFont typeface="Wingdings" pitchFamily="2" charset="2"/>
              <a:buChar char="§"/>
            </a:pPr>
            <a:r>
              <a:rPr lang="en-US" dirty="0" smtClean="0">
                <a:latin typeface="Segoe UI" pitchFamily="34" charset="0"/>
                <a:ea typeface="Segoe UI" pitchFamily="34" charset="0"/>
                <a:cs typeface="Segoe UI" pitchFamily="34" charset="0"/>
              </a:rPr>
              <a:t>Path-editing</a:t>
            </a:r>
            <a:endParaRPr lang="en-US" dirty="0">
              <a:latin typeface="Segoe UI" pitchFamily="34" charset="0"/>
              <a:ea typeface="Segoe UI" pitchFamily="34" charset="0"/>
              <a:cs typeface="Segoe UI" pitchFamily="34" charset="0"/>
            </a:endParaRPr>
          </a:p>
          <a:p>
            <a:pPr marL="0" lvl="1" indent="274297">
              <a:buClr>
                <a:srgbClr val="00B0F0"/>
              </a:buClr>
              <a:buSzPct val="70000"/>
              <a:buFont typeface="Wingdings" pitchFamily="2" charset="2"/>
              <a:buChar char="§"/>
            </a:pPr>
            <a:r>
              <a:rPr lang="en-US" dirty="0" smtClean="0">
                <a:latin typeface="Segoe UI" pitchFamily="34" charset="0"/>
                <a:ea typeface="Segoe UI" pitchFamily="34" charset="0"/>
                <a:cs typeface="Segoe UI" pitchFamily="34" charset="0"/>
              </a:rPr>
              <a:t>Animation</a:t>
            </a:r>
            <a:endParaRPr lang="en-US" dirty="0">
              <a:latin typeface="Segoe UI" pitchFamily="34" charset="0"/>
              <a:ea typeface="Segoe UI" pitchFamily="34" charset="0"/>
              <a:cs typeface="Segoe UI" pitchFamily="34" charset="0"/>
            </a:endParaRPr>
          </a:p>
          <a:p>
            <a:pPr marL="0" lvl="1" indent="274297">
              <a:buClr>
                <a:srgbClr val="00B0F0"/>
              </a:buClr>
              <a:buSzPct val="70000"/>
              <a:buFont typeface="Wingdings" pitchFamily="2" charset="2"/>
              <a:buChar char="§"/>
            </a:pPr>
            <a:r>
              <a:rPr lang="en-US" dirty="0">
                <a:latin typeface="Segoe UI" pitchFamily="34" charset="0"/>
                <a:ea typeface="Segoe UI" pitchFamily="34" charset="0"/>
                <a:cs typeface="Segoe UI" pitchFamily="34" charset="0"/>
              </a:rPr>
              <a:t>Visual States</a:t>
            </a:r>
          </a:p>
          <a:p>
            <a:pPr marL="0" lvl="1" indent="274297">
              <a:buClr>
                <a:srgbClr val="00B0F0"/>
              </a:buClr>
              <a:buSzPct val="70000"/>
              <a:buFont typeface="Wingdings" pitchFamily="2" charset="2"/>
              <a:buChar char="§"/>
            </a:pPr>
            <a:r>
              <a:rPr lang="en-US" dirty="0" smtClean="0">
                <a:latin typeface="Segoe UI" pitchFamily="34" charset="0"/>
                <a:ea typeface="Segoe UI" pitchFamily="34" charset="0"/>
                <a:cs typeface="Segoe UI" pitchFamily="34" charset="0"/>
              </a:rPr>
              <a:t>Transitions</a:t>
            </a:r>
            <a:endParaRPr lang="en-US" dirty="0">
              <a:latin typeface="Segoe UI" pitchFamily="34" charset="0"/>
              <a:ea typeface="Segoe UI" pitchFamily="34" charset="0"/>
              <a:cs typeface="Segoe UI" pitchFamily="34" charset="0"/>
            </a:endParaRPr>
          </a:p>
        </p:txBody>
      </p:sp>
      <p:sp>
        <p:nvSpPr>
          <p:cNvPr id="12" name="Rectangle 11"/>
          <p:cNvSpPr/>
          <p:nvPr/>
        </p:nvSpPr>
        <p:spPr>
          <a:xfrm>
            <a:off x="3401541" y="1804442"/>
            <a:ext cx="2237263" cy="1188767"/>
          </a:xfrm>
          <a:prstGeom prst="rect">
            <a:avLst/>
          </a:prstGeom>
        </p:spPr>
        <p:txBody>
          <a:bodyPr wrap="square" lIns="91432" tIns="45716" rIns="91432" bIns="45716">
            <a:spAutoFit/>
          </a:bodyPr>
          <a:lstStyle/>
          <a:p>
            <a:pPr marL="0" lvl="1" indent="274297">
              <a:buClr>
                <a:srgbClr val="FFC000"/>
              </a:buClr>
              <a:buSzPct val="70000"/>
              <a:buFont typeface="Wingdings" pitchFamily="2" charset="2"/>
              <a:buChar char="§"/>
            </a:pPr>
            <a:r>
              <a:rPr lang="en-US" dirty="0" smtClean="0">
                <a:latin typeface="Segoe UI" pitchFamily="34" charset="0"/>
                <a:ea typeface="Segoe UI" pitchFamily="34" charset="0"/>
                <a:cs typeface="Segoe UI" pitchFamily="34" charset="0"/>
              </a:rPr>
              <a:t>Control creation</a:t>
            </a:r>
          </a:p>
          <a:p>
            <a:pPr marL="0" lvl="1" indent="274297">
              <a:buClr>
                <a:srgbClr val="FFC000"/>
              </a:buClr>
              <a:buSzPct val="70000"/>
              <a:buFont typeface="Wingdings" pitchFamily="2" charset="2"/>
              <a:buChar char="§"/>
            </a:pPr>
            <a:r>
              <a:rPr lang="en-US" dirty="0" smtClean="0">
                <a:latin typeface="Segoe UI" pitchFamily="34" charset="0"/>
                <a:ea typeface="Segoe UI" pitchFamily="34" charset="0"/>
                <a:cs typeface="Segoe UI" pitchFamily="34" charset="0"/>
              </a:rPr>
              <a:t>Layout</a:t>
            </a:r>
          </a:p>
          <a:p>
            <a:pPr marL="0" lvl="1" indent="274297">
              <a:buClr>
                <a:srgbClr val="FFC000"/>
              </a:buClr>
              <a:buSzPct val="70000"/>
              <a:buFont typeface="Wingdings" pitchFamily="2" charset="2"/>
              <a:buChar char="§"/>
            </a:pPr>
            <a:r>
              <a:rPr lang="en-US" dirty="0" smtClean="0">
                <a:latin typeface="Segoe UI" pitchFamily="34" charset="0"/>
                <a:ea typeface="Segoe UI" pitchFamily="34" charset="0"/>
                <a:cs typeface="Segoe UI" pitchFamily="34" charset="0"/>
              </a:rPr>
              <a:t>Property editing</a:t>
            </a:r>
          </a:p>
          <a:p>
            <a:pPr marL="0" lvl="1" indent="274297">
              <a:buClr>
                <a:srgbClr val="FFC000"/>
              </a:buClr>
              <a:buSzPct val="70000"/>
              <a:buFont typeface="Wingdings" pitchFamily="2" charset="2"/>
              <a:buChar char="§"/>
            </a:pPr>
            <a:r>
              <a:rPr lang="en-US" dirty="0" smtClean="0">
                <a:latin typeface="Segoe UI" pitchFamily="34" charset="0"/>
                <a:ea typeface="Segoe UI" pitchFamily="34" charset="0"/>
                <a:cs typeface="Segoe UI" pitchFamily="34" charset="0"/>
              </a:rPr>
              <a:t>Basic data</a:t>
            </a:r>
          </a:p>
          <a:p>
            <a:pPr marL="0" lvl="1" indent="274297">
              <a:buClr>
                <a:srgbClr val="FFC000"/>
              </a:buClr>
              <a:buSzPct val="70000"/>
              <a:buFont typeface="Wingdings" pitchFamily="2" charset="2"/>
              <a:buChar char="§"/>
            </a:pPr>
            <a:r>
              <a:rPr lang="en-US" dirty="0" smtClean="0">
                <a:latin typeface="Segoe UI" pitchFamily="34" charset="0"/>
                <a:ea typeface="Segoe UI" pitchFamily="34" charset="0"/>
                <a:cs typeface="Segoe UI" pitchFamily="34" charset="0"/>
              </a:rPr>
              <a:t>View authoring</a:t>
            </a:r>
          </a:p>
        </p:txBody>
      </p:sp>
      <p:sp>
        <p:nvSpPr>
          <p:cNvPr id="13" name="Rectangle 12"/>
          <p:cNvSpPr/>
          <p:nvPr/>
        </p:nvSpPr>
        <p:spPr>
          <a:xfrm>
            <a:off x="6449541" y="1804440"/>
            <a:ext cx="2237263" cy="1188767"/>
          </a:xfrm>
          <a:prstGeom prst="rect">
            <a:avLst/>
          </a:prstGeom>
        </p:spPr>
        <p:txBody>
          <a:bodyPr wrap="square" lIns="91432" tIns="45716" rIns="91432" bIns="45716">
            <a:spAutoFit/>
          </a:bodyPr>
          <a:lstStyle/>
          <a:p>
            <a:pPr marL="0" lvl="1" indent="274297">
              <a:buClr>
                <a:srgbClr val="7030A0"/>
              </a:buClr>
              <a:buSzPct val="70000"/>
              <a:buFont typeface="Wingdings" pitchFamily="2" charset="2"/>
              <a:buChar char="§"/>
            </a:pPr>
            <a:r>
              <a:rPr lang="en-US" dirty="0" smtClean="0">
                <a:latin typeface="Segoe UI" pitchFamily="34" charset="0"/>
                <a:ea typeface="Segoe UI" pitchFamily="34" charset="0"/>
                <a:cs typeface="Segoe UI" pitchFamily="34" charset="0"/>
              </a:rPr>
              <a:t>Code editing</a:t>
            </a:r>
          </a:p>
          <a:p>
            <a:pPr marL="0" lvl="1" indent="274297">
              <a:buClr>
                <a:srgbClr val="7030A0"/>
              </a:buClr>
              <a:buSzPct val="70000"/>
              <a:buFont typeface="Wingdings" pitchFamily="2" charset="2"/>
              <a:buChar char="§"/>
            </a:pPr>
            <a:r>
              <a:rPr lang="en-US" dirty="0" smtClean="0">
                <a:latin typeface="Segoe UI" pitchFamily="34" charset="0"/>
                <a:ea typeface="Segoe UI" pitchFamily="34" charset="0"/>
                <a:cs typeface="Segoe UI" pitchFamily="34" charset="0"/>
              </a:rPr>
              <a:t>Refactoring</a:t>
            </a:r>
          </a:p>
          <a:p>
            <a:pPr marL="0" lvl="1" indent="274297">
              <a:buClr>
                <a:srgbClr val="7030A0"/>
              </a:buClr>
              <a:buSzPct val="70000"/>
              <a:buFont typeface="Wingdings" pitchFamily="2" charset="2"/>
              <a:buChar char="§"/>
            </a:pPr>
            <a:r>
              <a:rPr lang="en-US" dirty="0" smtClean="0">
                <a:latin typeface="Segoe UI" pitchFamily="34" charset="0"/>
                <a:ea typeface="Segoe UI" pitchFamily="34" charset="0"/>
                <a:cs typeface="Segoe UI" pitchFamily="34" charset="0"/>
              </a:rPr>
              <a:t>Debugging</a:t>
            </a:r>
          </a:p>
          <a:p>
            <a:pPr marL="0" lvl="1" indent="274297">
              <a:buClr>
                <a:srgbClr val="7030A0"/>
              </a:buClr>
              <a:buSzPct val="70000"/>
              <a:buFont typeface="Wingdings" pitchFamily="2" charset="2"/>
              <a:buChar char="§"/>
            </a:pPr>
            <a:r>
              <a:rPr lang="en-US" dirty="0" smtClean="0">
                <a:latin typeface="Segoe UI" pitchFamily="34" charset="0"/>
                <a:ea typeface="Segoe UI" pitchFamily="34" charset="0"/>
                <a:cs typeface="Segoe UI" pitchFamily="34" charset="0"/>
              </a:rPr>
              <a:t>Code analysis</a:t>
            </a:r>
          </a:p>
          <a:p>
            <a:pPr marL="0" lvl="1" indent="274297">
              <a:buClr>
                <a:srgbClr val="7030A0"/>
              </a:buClr>
              <a:buSzPct val="70000"/>
              <a:buFont typeface="Wingdings" pitchFamily="2" charset="2"/>
              <a:buChar char="§"/>
            </a:pPr>
            <a:r>
              <a:rPr lang="en-US" dirty="0" smtClean="0">
                <a:latin typeface="Segoe UI" pitchFamily="34" charset="0"/>
                <a:ea typeface="Segoe UI" pitchFamily="34" charset="0"/>
                <a:cs typeface="Segoe UI" pitchFamily="34" charset="0"/>
              </a:rPr>
              <a:t>Profiling</a:t>
            </a:r>
          </a:p>
        </p:txBody>
      </p:sp>
      <p:sp>
        <p:nvSpPr>
          <p:cNvPr id="14" name="Rectangle 13"/>
          <p:cNvSpPr/>
          <p:nvPr/>
        </p:nvSpPr>
        <p:spPr>
          <a:xfrm>
            <a:off x="694084" y="1271039"/>
            <a:ext cx="7696200" cy="463497"/>
          </a:xfrm>
          <a:prstGeom prst="rect">
            <a:avLst/>
          </a:prstGeom>
          <a:gradFill flip="none" rotWithShape="1">
            <a:gsLst>
              <a:gs pos="8000">
                <a:srgbClr val="00B0F0"/>
              </a:gs>
              <a:gs pos="50000">
                <a:srgbClr val="FFC000">
                  <a:alpha val="70000"/>
                </a:srgbClr>
              </a:gs>
              <a:gs pos="90000">
                <a:srgbClr val="7030A0">
                  <a:alpha val="70000"/>
                </a:srgb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6" rIns="91432" bIns="45716" rtlCol="0" anchor="ctr"/>
          <a:lstStyle/>
          <a:p>
            <a:endParaRPr lang="en-US" sz="1600" dirty="0"/>
          </a:p>
        </p:txBody>
      </p:sp>
      <p:sp>
        <p:nvSpPr>
          <p:cNvPr id="15" name="Rectangle 14"/>
          <p:cNvSpPr/>
          <p:nvPr/>
        </p:nvSpPr>
        <p:spPr>
          <a:xfrm>
            <a:off x="688893" y="1271041"/>
            <a:ext cx="2563338" cy="4634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6" rIns="91432" bIns="45716" rtlCol="0" anchor="ctr"/>
          <a:lstStyle/>
          <a:p>
            <a:r>
              <a:rPr lang="en-US" sz="1600" dirty="0"/>
              <a:t>DESIGN TASKS </a:t>
            </a:r>
          </a:p>
        </p:txBody>
      </p:sp>
      <p:sp>
        <p:nvSpPr>
          <p:cNvPr id="16" name="Rectangle 15"/>
          <p:cNvSpPr/>
          <p:nvPr/>
        </p:nvSpPr>
        <p:spPr>
          <a:xfrm>
            <a:off x="3252231" y="1271041"/>
            <a:ext cx="2563338" cy="4634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6" rIns="91432" bIns="45716" rtlCol="0" anchor="ctr"/>
          <a:lstStyle/>
          <a:p>
            <a:pPr algn="ctr"/>
            <a:r>
              <a:rPr lang="en-US" sz="1600" dirty="0"/>
              <a:t>CORE AUTHORING TASKS</a:t>
            </a:r>
          </a:p>
        </p:txBody>
      </p:sp>
      <p:sp>
        <p:nvSpPr>
          <p:cNvPr id="17" name="Rectangle 16"/>
          <p:cNvSpPr/>
          <p:nvPr/>
        </p:nvSpPr>
        <p:spPr>
          <a:xfrm>
            <a:off x="5815569" y="1271041"/>
            <a:ext cx="2569524" cy="4634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6" rIns="91432" bIns="45716" rtlCol="0" anchor="ctr"/>
          <a:lstStyle/>
          <a:p>
            <a:pPr algn="r"/>
            <a:r>
              <a:rPr lang="en-US" sz="1600" dirty="0"/>
              <a:t>CODING TASKS</a:t>
            </a:r>
          </a:p>
        </p:txBody>
      </p:sp>
      <p:sp>
        <p:nvSpPr>
          <p:cNvPr id="18"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9"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4"/>
              </a:rPr>
              <a:t>www.rapidbbs.cn</a:t>
            </a:r>
            <a:endParaRPr lang="zh-CN" altLang="en-US" sz="1200" b="0">
              <a:latin typeface="Arial" charset="0"/>
              <a:ea typeface="ＭＳ Ｐゴシック" pitchFamily="34" charset="-128"/>
            </a:endParaRPr>
          </a:p>
        </p:txBody>
      </p:sp>
      <p:pic>
        <p:nvPicPr>
          <p:cNvPr id="20" name="Picture 2">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49598524"/>
      </p:ext>
    </p:extLst>
  </p:cSld>
  <p:clrMapOvr>
    <a:masterClrMapping/>
  </p:clrMapOvr>
  <mc:AlternateContent xmlns:mc="http://schemas.openxmlformats.org/markup-compatibility/2006" xmlns:p14="http://schemas.microsoft.com/office/powerpoint/2010/main">
    <mc:Choice Requires="p14">
      <p:transition spd="slow" p14:dur="15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grpId="0" nodeType="clickEffect">
                                  <p:stCondLst>
                                    <p:cond delay="0"/>
                                  </p:stCondLst>
                                  <p:childTnLst>
                                    <p:animMotion origin="layout" path="M 2.5E-6 3.7037E-7 L 2.5E-6 0.33912 " pathEditMode="relative" rAng="0" ptsTypes="AA">
                                      <p:cBhvr>
                                        <p:cTn id="6" dur="2000" fill="hold"/>
                                        <p:tgtEl>
                                          <p:spTgt spid="10"/>
                                        </p:tgtEl>
                                        <p:attrNameLst>
                                          <p:attrName>ppt_x</p:attrName>
                                          <p:attrName>ppt_y</p:attrName>
                                        </p:attrNameLst>
                                      </p:cBhvr>
                                      <p:rCtr x="0" y="16944"/>
                                    </p:animMotion>
                                  </p:childTnLst>
                                </p:cTn>
                              </p:par>
                              <p:par>
                                <p:cTn id="7" presetID="42" presetClass="path" presetSubtype="0" accel="50000" decel="50000" fill="hold" grpId="0" nodeType="withEffect">
                                  <p:stCondLst>
                                    <p:cond delay="0"/>
                                  </p:stCondLst>
                                  <p:childTnLst>
                                    <p:animMotion origin="layout" path="M 3.33333E-6 1.48148E-6 L 3.33333E-6 0.33287 " pathEditMode="relative" rAng="0" ptsTypes="AA">
                                      <p:cBhvr>
                                        <p:cTn id="8" dur="2000" fill="hold"/>
                                        <p:tgtEl>
                                          <p:spTgt spid="9"/>
                                        </p:tgtEl>
                                        <p:attrNameLst>
                                          <p:attrName>ppt_x</p:attrName>
                                          <p:attrName>ppt_y</p:attrName>
                                        </p:attrNameLst>
                                      </p:cBhvr>
                                      <p:rCtr x="0" y="16644"/>
                                    </p:animMotion>
                                  </p:childTnLst>
                                </p:cTn>
                              </p:par>
                              <p:par>
                                <p:cTn id="9" presetID="10" presetClass="entr" presetSubtype="0" fill="hold" grpId="0" nodeType="with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1000"/>
                                        <p:tgtEl>
                                          <p:spTgt spid="16"/>
                                        </p:tgtEl>
                                      </p:cBhvr>
                                    </p:animEffect>
                                  </p:childTnLst>
                                </p:cTn>
                              </p:par>
                              <p:par>
                                <p:cTn id="12" presetID="10" presetClass="entr" presetSubtype="0" fill="hold" grpId="0" nodeType="withEffect">
                                  <p:stCondLst>
                                    <p:cond delay="150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500"/>
                                        <p:tgtEl>
                                          <p:spTgt spid="11"/>
                                        </p:tgtEl>
                                      </p:cBhvr>
                                    </p:animEffect>
                                  </p:childTnLst>
                                </p:cTn>
                              </p:par>
                            </p:childTnLst>
                          </p:cTn>
                        </p:par>
                        <p:par>
                          <p:cTn id="15" fill="hold">
                            <p:stCondLst>
                              <p:cond delay="2000"/>
                            </p:stCondLst>
                            <p:childTnLst>
                              <p:par>
                                <p:cTn id="16" presetID="10" presetClass="entr" presetSubtype="0" fill="hold" grpId="0" nodeType="after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par>
                          <p:cTn id="19" fill="hold">
                            <p:stCondLst>
                              <p:cond delay="2500"/>
                            </p:stCondLst>
                            <p:childTnLst>
                              <p:par>
                                <p:cTn id="20" presetID="10" presetClass="entr" presetSubtype="0" fill="hold" grpId="0"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p:bldP spid="12" grpId="0"/>
      <p:bldP spid="13" grpId="0"/>
      <p:bldP spid="16" grpId="0"/>
    </p:bld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p:cNvGrpSpPr/>
          <p:nvPr/>
        </p:nvGrpSpPr>
        <p:grpSpPr>
          <a:xfrm>
            <a:off x="5733391" y="1558636"/>
            <a:ext cx="2099095" cy="2098548"/>
            <a:chOff x="4695381" y="2078181"/>
            <a:chExt cx="2798064" cy="2798064"/>
          </a:xfrm>
        </p:grpSpPr>
        <p:sp>
          <p:nvSpPr>
            <p:cNvPr id="14" name="Presentation Title Rectangle"/>
            <p:cNvSpPr txBox="1">
              <a:spLocks/>
            </p:cNvSpPr>
            <p:nvPr/>
          </p:nvSpPr>
          <p:spPr>
            <a:xfrm>
              <a:off x="4695381" y="2078181"/>
              <a:ext cx="2798064" cy="2798064"/>
            </a:xfrm>
            <a:prstGeom prst="rect">
              <a:avLst/>
            </a:prstGeom>
            <a:solidFill>
              <a:schemeClr val="accent5"/>
            </a:solidFill>
            <a:effectLst/>
          </p:spPr>
          <p:txBody>
            <a:bodyPr lIns="182880" rIns="137160" bIns="182880" anchor="b" anchorCtr="0">
              <a:noAutofit/>
            </a:bodyPr>
            <a:lstStyle>
              <a:lvl1pPr algn="l" defTabSz="914363"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tileRect/>
                  </a:gradFill>
                  <a:effectLst/>
                  <a:latin typeface="+mj-lt"/>
                  <a:ea typeface="+mn-ea"/>
                  <a:cs typeface="Arial" charset="0"/>
                </a:defRPr>
              </a:lvl1pPr>
            </a:lstStyle>
            <a:p>
              <a:pPr defTabSz="685862">
                <a:defRPr/>
              </a:pPr>
              <a:r>
                <a:rPr sz="2400" kern="0" spc="0" dirty="0">
                  <a:latin typeface="Segoe Light" pitchFamily="34" charset="0"/>
                </a:rPr>
                <a:t>Economics</a:t>
              </a:r>
            </a:p>
          </p:txBody>
        </p:sp>
        <p:grpSp>
          <p:nvGrpSpPr>
            <p:cNvPr id="11" name="Group 10"/>
            <p:cNvGrpSpPr/>
            <p:nvPr/>
          </p:nvGrpSpPr>
          <p:grpSpPr>
            <a:xfrm>
              <a:off x="5032892" y="2881470"/>
              <a:ext cx="2096545" cy="894016"/>
              <a:chOff x="5032892" y="2881470"/>
              <a:chExt cx="2096545" cy="894016"/>
            </a:xfrm>
          </p:grpSpPr>
          <p:sp>
            <p:nvSpPr>
              <p:cNvPr id="10" name="Trapezoid 9"/>
              <p:cNvSpPr/>
              <p:nvPr/>
            </p:nvSpPr>
            <p:spPr bwMode="auto">
              <a:xfrm>
                <a:off x="5299563" y="3340846"/>
                <a:ext cx="522613" cy="204951"/>
              </a:xfrm>
              <a:prstGeom prst="trapezoi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44" name="Trapezoid 43"/>
              <p:cNvSpPr/>
              <p:nvPr/>
            </p:nvSpPr>
            <p:spPr bwMode="auto">
              <a:xfrm>
                <a:off x="5825222" y="3340846"/>
                <a:ext cx="522613" cy="204951"/>
              </a:xfrm>
              <a:prstGeom prst="trapezoi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45" name="Trapezoid 44"/>
              <p:cNvSpPr/>
              <p:nvPr/>
            </p:nvSpPr>
            <p:spPr bwMode="auto">
              <a:xfrm>
                <a:off x="6350882" y="3340846"/>
                <a:ext cx="522613" cy="204951"/>
              </a:xfrm>
              <a:prstGeom prst="trapezoi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46" name="Trapezoid 45"/>
              <p:cNvSpPr/>
              <p:nvPr/>
            </p:nvSpPr>
            <p:spPr bwMode="auto">
              <a:xfrm>
                <a:off x="5571798" y="3111158"/>
                <a:ext cx="522613" cy="204951"/>
              </a:xfrm>
              <a:prstGeom prst="trapezoi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47" name="Trapezoid 46"/>
              <p:cNvSpPr/>
              <p:nvPr/>
            </p:nvSpPr>
            <p:spPr bwMode="auto">
              <a:xfrm>
                <a:off x="6097458" y="3111158"/>
                <a:ext cx="522613" cy="204951"/>
              </a:xfrm>
              <a:prstGeom prst="trapezoi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49" name="Trapezoid 48"/>
              <p:cNvSpPr/>
              <p:nvPr/>
            </p:nvSpPr>
            <p:spPr bwMode="auto">
              <a:xfrm>
                <a:off x="5833106" y="2881470"/>
                <a:ext cx="522613" cy="204951"/>
              </a:xfrm>
              <a:prstGeom prst="trapezoi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50" name="Trapezoid 49"/>
              <p:cNvSpPr/>
              <p:nvPr/>
            </p:nvSpPr>
            <p:spPr bwMode="auto">
              <a:xfrm>
                <a:off x="5032892" y="3570535"/>
                <a:ext cx="522613" cy="204951"/>
              </a:xfrm>
              <a:prstGeom prst="trapezoi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51" name="Trapezoid 50"/>
              <p:cNvSpPr/>
              <p:nvPr/>
            </p:nvSpPr>
            <p:spPr bwMode="auto">
              <a:xfrm>
                <a:off x="5557536" y="3570535"/>
                <a:ext cx="522613" cy="204951"/>
              </a:xfrm>
              <a:prstGeom prst="trapezoi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52" name="Trapezoid 51"/>
              <p:cNvSpPr/>
              <p:nvPr/>
            </p:nvSpPr>
            <p:spPr bwMode="auto">
              <a:xfrm>
                <a:off x="6082180" y="3570535"/>
                <a:ext cx="522613" cy="204951"/>
              </a:xfrm>
              <a:prstGeom prst="trapezoi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53" name="Trapezoid 52"/>
              <p:cNvSpPr/>
              <p:nvPr/>
            </p:nvSpPr>
            <p:spPr bwMode="auto">
              <a:xfrm>
                <a:off x="6606824" y="3570535"/>
                <a:ext cx="522613" cy="204951"/>
              </a:xfrm>
              <a:prstGeom prst="trapezoi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grpSp>
        <p:nvGrpSpPr>
          <p:cNvPr id="8" name="Group 7"/>
          <p:cNvGrpSpPr/>
          <p:nvPr/>
        </p:nvGrpSpPr>
        <p:grpSpPr>
          <a:xfrm>
            <a:off x="3522455" y="1558636"/>
            <a:ext cx="2100117" cy="2098548"/>
            <a:chOff x="1746866" y="2078181"/>
            <a:chExt cx="2799427" cy="2798064"/>
          </a:xfrm>
        </p:grpSpPr>
        <p:sp>
          <p:nvSpPr>
            <p:cNvPr id="13" name="Presentation Title Rectangle"/>
            <p:cNvSpPr txBox="1">
              <a:spLocks/>
            </p:cNvSpPr>
            <p:nvPr/>
          </p:nvSpPr>
          <p:spPr>
            <a:xfrm>
              <a:off x="1746866" y="2078181"/>
              <a:ext cx="2799427" cy="2798064"/>
            </a:xfrm>
            <a:prstGeom prst="rect">
              <a:avLst/>
            </a:prstGeom>
            <a:solidFill>
              <a:schemeClr val="accent6"/>
            </a:solidFill>
            <a:effectLst/>
          </p:spPr>
          <p:txBody>
            <a:bodyPr lIns="182880" rIns="137160" bIns="182880" anchor="b" anchorCtr="0">
              <a:noAutofit/>
            </a:bodyPr>
            <a:lstStyle>
              <a:defPPr>
                <a:defRPr lang="en-US"/>
              </a:defPPr>
              <a:lvl1pPr marR="0" lvl="0" indent="0" defTabSz="914400" fontAlgn="auto">
                <a:lnSpc>
                  <a:spcPct val="90000"/>
                </a:lnSpc>
                <a:spcBef>
                  <a:spcPct val="0"/>
                </a:spcBef>
                <a:spcAft>
                  <a:spcPts val="0"/>
                </a:spcAft>
                <a:buClrTx/>
                <a:buSzTx/>
                <a:buFontTx/>
                <a:buNone/>
                <a:tabLst/>
                <a:defRPr kumimoji="0" sz="2000" b="0" i="0" u="none" strike="noStrike" kern="0" cap="none" spc="0" normalizeH="0" baseline="0">
                  <a:ln w="3175">
                    <a:noFill/>
                  </a:ln>
                  <a:gradFill flip="none" rotWithShape="1">
                    <a:gsLst>
                      <a:gs pos="4583">
                        <a:srgbClr val="FFFFFF"/>
                      </a:gs>
                      <a:gs pos="100000">
                        <a:srgbClr val="FFFFFF"/>
                      </a:gs>
                    </a:gsLst>
                    <a:lin ang="5400000" scaled="0"/>
                    <a:tileRect/>
                  </a:gradFill>
                  <a:effectLst/>
                  <a:uLnTx/>
                  <a:uFillTx/>
                  <a:latin typeface="Segoe"/>
                  <a:cs typeface="Arial" charset="0"/>
                </a:defRPr>
              </a:lvl1pPr>
            </a:lstStyle>
            <a:p>
              <a:r>
                <a:rPr lang="en-US" sz="2400" b="1" dirty="0">
                  <a:latin typeface="Segoe Light" pitchFamily="34" charset="0"/>
                </a:rPr>
                <a:t>Focus</a:t>
              </a:r>
              <a:endParaRPr sz="2400" b="1" dirty="0">
                <a:latin typeface="Segoe Light" pitchFamily="34" charset="0"/>
              </a:endParaRPr>
            </a:p>
          </p:txBody>
        </p:sp>
        <p:grpSp>
          <p:nvGrpSpPr>
            <p:cNvPr id="7" name="Group 6"/>
            <p:cNvGrpSpPr/>
            <p:nvPr/>
          </p:nvGrpSpPr>
          <p:grpSpPr>
            <a:xfrm>
              <a:off x="2428833" y="2601807"/>
              <a:ext cx="1435493" cy="1435493"/>
              <a:chOff x="2428833" y="2459448"/>
              <a:chExt cx="1435493" cy="1435493"/>
            </a:xfrm>
          </p:grpSpPr>
          <p:sp>
            <p:nvSpPr>
              <p:cNvPr id="3" name="Oval 2"/>
              <p:cNvSpPr/>
              <p:nvPr/>
            </p:nvSpPr>
            <p:spPr bwMode="auto">
              <a:xfrm>
                <a:off x="3021813" y="3052428"/>
                <a:ext cx="249532" cy="249532"/>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4" name="Down Arrow 3"/>
              <p:cNvSpPr/>
              <p:nvPr/>
            </p:nvSpPr>
            <p:spPr bwMode="auto">
              <a:xfrm>
                <a:off x="2965276" y="2459448"/>
                <a:ext cx="362607" cy="394108"/>
              </a:xfrm>
              <a:prstGeom prst="downArrow">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5" name="Down Arrow 24"/>
              <p:cNvSpPr/>
              <p:nvPr/>
            </p:nvSpPr>
            <p:spPr bwMode="auto">
              <a:xfrm flipV="1">
                <a:off x="2965276" y="3500833"/>
                <a:ext cx="362607" cy="394108"/>
              </a:xfrm>
              <a:prstGeom prst="downArrow">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5" name="Group 4"/>
              <p:cNvGrpSpPr/>
              <p:nvPr/>
            </p:nvGrpSpPr>
            <p:grpSpPr>
              <a:xfrm rot="36000000">
                <a:off x="2965276" y="2459448"/>
                <a:ext cx="362607" cy="1435493"/>
                <a:chOff x="3117676" y="2611848"/>
                <a:chExt cx="362607" cy="1435493"/>
              </a:xfrm>
            </p:grpSpPr>
            <p:sp>
              <p:nvSpPr>
                <p:cNvPr id="30" name="Down Arrow 29"/>
                <p:cNvSpPr/>
                <p:nvPr/>
              </p:nvSpPr>
              <p:spPr bwMode="auto">
                <a:xfrm>
                  <a:off x="3117676" y="2611848"/>
                  <a:ext cx="362607" cy="394108"/>
                </a:xfrm>
                <a:prstGeom prst="downArrow">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40" name="Down Arrow 39"/>
                <p:cNvSpPr/>
                <p:nvPr/>
              </p:nvSpPr>
              <p:spPr bwMode="auto">
                <a:xfrm flipV="1">
                  <a:off x="3117676" y="3653233"/>
                  <a:ext cx="362607" cy="394108"/>
                </a:xfrm>
                <a:prstGeom prst="downArrow">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41" name="Group 40"/>
              <p:cNvGrpSpPr/>
              <p:nvPr/>
            </p:nvGrpSpPr>
            <p:grpSpPr>
              <a:xfrm rot="7200000">
                <a:off x="2965276" y="2459448"/>
                <a:ext cx="362607" cy="1435493"/>
                <a:chOff x="3117676" y="2611848"/>
                <a:chExt cx="362607" cy="1435493"/>
              </a:xfrm>
            </p:grpSpPr>
            <p:sp>
              <p:nvSpPr>
                <p:cNvPr id="42" name="Down Arrow 41"/>
                <p:cNvSpPr/>
                <p:nvPr/>
              </p:nvSpPr>
              <p:spPr bwMode="auto">
                <a:xfrm>
                  <a:off x="3117676" y="2611848"/>
                  <a:ext cx="362607" cy="394108"/>
                </a:xfrm>
                <a:prstGeom prst="downArrow">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43" name="Down Arrow 42"/>
                <p:cNvSpPr/>
                <p:nvPr/>
              </p:nvSpPr>
              <p:spPr bwMode="auto">
                <a:xfrm flipV="1">
                  <a:off x="3117676" y="3653233"/>
                  <a:ext cx="362607" cy="394108"/>
                </a:xfrm>
                <a:prstGeom prst="downArrow">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grpSp>
      <p:grpSp>
        <p:nvGrpSpPr>
          <p:cNvPr id="98" name="Group 97"/>
          <p:cNvGrpSpPr/>
          <p:nvPr/>
        </p:nvGrpSpPr>
        <p:grpSpPr>
          <a:xfrm>
            <a:off x="1310492" y="1558636"/>
            <a:ext cx="2100116" cy="2098548"/>
            <a:chOff x="7642533" y="2078181"/>
            <a:chExt cx="2799425" cy="2798064"/>
          </a:xfrm>
        </p:grpSpPr>
        <p:sp>
          <p:nvSpPr>
            <p:cNvPr id="99" name="Presentation Title Rectangle"/>
            <p:cNvSpPr txBox="1">
              <a:spLocks/>
            </p:cNvSpPr>
            <p:nvPr/>
          </p:nvSpPr>
          <p:spPr>
            <a:xfrm>
              <a:off x="7642533" y="2078181"/>
              <a:ext cx="2799425" cy="2798064"/>
            </a:xfrm>
            <a:prstGeom prst="rect">
              <a:avLst/>
            </a:prstGeom>
            <a:solidFill>
              <a:schemeClr val="accent2"/>
            </a:solidFill>
            <a:effectLst/>
          </p:spPr>
          <p:txBody>
            <a:bodyPr lIns="182880" rIns="137160" bIns="182880" anchor="b" anchorCtr="0">
              <a:noAutofit/>
            </a:bodyPr>
            <a:lstStyle>
              <a:defPPr>
                <a:defRPr lang="en-US"/>
              </a:defPPr>
              <a:lvl1pPr>
                <a:lnSpc>
                  <a:spcPct val="90000"/>
                </a:lnSpc>
                <a:spcBef>
                  <a:spcPct val="0"/>
                </a:spcBef>
                <a:buNone/>
                <a:defRPr sz="1700" b="1" i="0" cap="none" spc="0" baseline="0">
                  <a:ln w="3175">
                    <a:noFill/>
                  </a:ln>
                  <a:gradFill flip="none" rotWithShape="1">
                    <a:gsLst>
                      <a:gs pos="4583">
                        <a:srgbClr val="FFFFFF"/>
                      </a:gs>
                      <a:gs pos="100000">
                        <a:srgbClr val="FFFFFF"/>
                      </a:gs>
                    </a:gsLst>
                    <a:lin ang="5400000" scaled="0"/>
                    <a:tileRect/>
                  </a:gradFill>
                  <a:effectLst/>
                  <a:latin typeface="+mj-lt"/>
                  <a:cs typeface="Arial" charset="0"/>
                </a:defRPr>
              </a:lvl1pPr>
            </a:lstStyle>
            <a:p>
              <a:pPr>
                <a:defRPr/>
              </a:pPr>
              <a:r>
                <a:rPr lang="en-US" sz="2400" kern="0" dirty="0">
                  <a:latin typeface="Segoe Light" pitchFamily="34" charset="0"/>
                </a:rPr>
                <a:t>Agility</a:t>
              </a:r>
            </a:p>
          </p:txBody>
        </p:sp>
        <p:grpSp>
          <p:nvGrpSpPr>
            <p:cNvPr id="100" name="Group 99"/>
            <p:cNvGrpSpPr/>
            <p:nvPr/>
          </p:nvGrpSpPr>
          <p:grpSpPr bwMode="black">
            <a:xfrm>
              <a:off x="8415773" y="2546161"/>
              <a:ext cx="1252945" cy="1346699"/>
              <a:chOff x="1435100" y="3879850"/>
              <a:chExt cx="739775" cy="795338"/>
            </a:xfrm>
            <a:solidFill>
              <a:schemeClr val="tx1"/>
            </a:solidFill>
          </p:grpSpPr>
          <p:sp>
            <p:nvSpPr>
              <p:cNvPr id="101" name="Freeform 6"/>
              <p:cNvSpPr>
                <a:spLocks/>
              </p:cNvSpPr>
              <p:nvPr/>
            </p:nvSpPr>
            <p:spPr bwMode="black">
              <a:xfrm>
                <a:off x="1435100" y="4191000"/>
                <a:ext cx="106363" cy="10636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35"/>
                <a:endParaRPr lang="en-US" sz="1200" dirty="0">
                  <a:solidFill>
                    <a:srgbClr val="FFFFFF"/>
                  </a:solidFill>
                </a:endParaRPr>
              </a:p>
            </p:txBody>
          </p:sp>
          <p:sp>
            <p:nvSpPr>
              <p:cNvPr id="102" name="Freeform 7"/>
              <p:cNvSpPr>
                <a:spLocks/>
              </p:cNvSpPr>
              <p:nvPr/>
            </p:nvSpPr>
            <p:spPr bwMode="black">
              <a:xfrm>
                <a:off x="1620838" y="4208463"/>
                <a:ext cx="106363" cy="104775"/>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35"/>
                <a:endParaRPr lang="en-US" sz="1200" dirty="0">
                  <a:solidFill>
                    <a:srgbClr val="FFFFFF"/>
                  </a:solidFill>
                </a:endParaRPr>
              </a:p>
            </p:txBody>
          </p:sp>
          <p:sp>
            <p:nvSpPr>
              <p:cNvPr id="103" name="Freeform 8"/>
              <p:cNvSpPr>
                <a:spLocks/>
              </p:cNvSpPr>
              <p:nvPr/>
            </p:nvSpPr>
            <p:spPr bwMode="black">
              <a:xfrm>
                <a:off x="1876425" y="4184650"/>
                <a:ext cx="104775" cy="104775"/>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35"/>
                <a:endParaRPr lang="en-US" sz="1200" dirty="0">
                  <a:solidFill>
                    <a:srgbClr val="FFFFFF"/>
                  </a:solidFill>
                </a:endParaRPr>
              </a:p>
            </p:txBody>
          </p:sp>
          <p:sp>
            <p:nvSpPr>
              <p:cNvPr id="104" name="Freeform 9"/>
              <p:cNvSpPr>
                <a:spLocks/>
              </p:cNvSpPr>
              <p:nvPr/>
            </p:nvSpPr>
            <p:spPr bwMode="black">
              <a:xfrm>
                <a:off x="1498600" y="3879850"/>
                <a:ext cx="336550" cy="795338"/>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35"/>
                <a:endParaRPr lang="en-US" sz="1200" dirty="0">
                  <a:solidFill>
                    <a:srgbClr val="FFFFFF"/>
                  </a:solidFill>
                </a:endParaRPr>
              </a:p>
            </p:txBody>
          </p:sp>
          <p:sp>
            <p:nvSpPr>
              <p:cNvPr id="105" name="Oval 10"/>
              <p:cNvSpPr>
                <a:spLocks noChangeArrowheads="1"/>
              </p:cNvSpPr>
              <p:nvPr/>
            </p:nvSpPr>
            <p:spPr bwMode="black">
              <a:xfrm>
                <a:off x="1744663" y="4589463"/>
                <a:ext cx="53975" cy="539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35"/>
                <a:endParaRPr lang="en-US" sz="1200" dirty="0">
                  <a:solidFill>
                    <a:srgbClr val="FFFFFF"/>
                  </a:solidFill>
                </a:endParaRPr>
              </a:p>
            </p:txBody>
          </p:sp>
          <p:sp>
            <p:nvSpPr>
              <p:cNvPr id="106" name="Freeform 11"/>
              <p:cNvSpPr>
                <a:spLocks/>
              </p:cNvSpPr>
              <p:nvPr/>
            </p:nvSpPr>
            <p:spPr bwMode="black">
              <a:xfrm>
                <a:off x="1860550" y="4225925"/>
                <a:ext cx="314325" cy="350838"/>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35"/>
                <a:endParaRPr lang="en-US" sz="1200" dirty="0">
                  <a:solidFill>
                    <a:srgbClr val="FFFFFF"/>
                  </a:solidFill>
                </a:endParaRPr>
              </a:p>
            </p:txBody>
          </p:sp>
          <p:sp>
            <p:nvSpPr>
              <p:cNvPr id="107" name="Oval 12"/>
              <p:cNvSpPr>
                <a:spLocks noChangeArrowheads="1"/>
              </p:cNvSpPr>
              <p:nvPr/>
            </p:nvSpPr>
            <p:spPr bwMode="black">
              <a:xfrm>
                <a:off x="1892300" y="4491038"/>
                <a:ext cx="53975" cy="539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35"/>
                <a:endParaRPr lang="en-US" sz="1200" dirty="0">
                  <a:solidFill>
                    <a:srgbClr val="FFFFFF"/>
                  </a:solidFill>
                </a:endParaRPr>
              </a:p>
            </p:txBody>
          </p:sp>
          <p:sp>
            <p:nvSpPr>
              <p:cNvPr id="108" name="Freeform 13"/>
              <p:cNvSpPr>
                <a:spLocks/>
              </p:cNvSpPr>
              <p:nvPr/>
            </p:nvSpPr>
            <p:spPr bwMode="black">
              <a:xfrm>
                <a:off x="1447800" y="4306888"/>
                <a:ext cx="215900" cy="322263"/>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35"/>
                <a:endParaRPr lang="en-US" sz="1200" dirty="0">
                  <a:solidFill>
                    <a:srgbClr val="FFFFFF"/>
                  </a:solidFill>
                </a:endParaRPr>
              </a:p>
            </p:txBody>
          </p:sp>
          <p:sp>
            <p:nvSpPr>
              <p:cNvPr id="109" name="Oval 14"/>
              <p:cNvSpPr>
                <a:spLocks noChangeArrowheads="1"/>
              </p:cNvSpPr>
              <p:nvPr/>
            </p:nvSpPr>
            <p:spPr bwMode="black">
              <a:xfrm>
                <a:off x="1577975" y="4543425"/>
                <a:ext cx="53975" cy="539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35"/>
                <a:endParaRPr lang="en-US" sz="1200" dirty="0">
                  <a:solidFill>
                    <a:srgbClr val="FFFFFF"/>
                  </a:solidFill>
                </a:endParaRPr>
              </a:p>
            </p:txBody>
          </p:sp>
        </p:grpSp>
      </p:grpSp>
      <p:sp useBgFill="1">
        <p:nvSpPr>
          <p:cNvPr id="119" name="Rectangle 118"/>
          <p:cNvSpPr/>
          <p:nvPr/>
        </p:nvSpPr>
        <p:spPr bwMode="auto">
          <a:xfrm>
            <a:off x="0" y="3657184"/>
            <a:ext cx="9144000" cy="1486316"/>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sp useBgFill="1">
        <p:nvSpPr>
          <p:cNvPr id="22" name="Rectangle 21"/>
          <p:cNvSpPr/>
          <p:nvPr/>
        </p:nvSpPr>
        <p:spPr bwMode="auto">
          <a:xfrm>
            <a:off x="0" y="0"/>
            <a:ext cx="9144000" cy="1558636"/>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sp useBgFill="1">
        <p:nvSpPr>
          <p:cNvPr id="56" name="Slide background fill shape - bottom edge"/>
          <p:cNvSpPr/>
          <p:nvPr/>
        </p:nvSpPr>
        <p:spPr bwMode="auto">
          <a:xfrm>
            <a:off x="0" y="-11624"/>
            <a:ext cx="9144000" cy="1570260"/>
          </a:xfrm>
          <a:prstGeom prst="rect">
            <a:avLst/>
          </a:prstGeom>
          <a:ln w="38100" cap="flat" cmpd="sng" algn="ctr">
            <a:noFill/>
            <a:prstDash val="solid"/>
            <a:headEnd type="none" w="med" len="med"/>
            <a:tailEnd type="none" w="med" len="med"/>
          </a:ln>
          <a:effectLst/>
        </p:spPr>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defRPr/>
            </a:pPr>
            <a:endParaRPr lang="en-US" sz="1700" kern="0" dirty="0">
              <a:gradFill>
                <a:gsLst>
                  <a:gs pos="0">
                    <a:srgbClr val="FFFFFF"/>
                  </a:gs>
                  <a:gs pos="100000">
                    <a:srgbClr val="FFFFFF"/>
                  </a:gs>
                </a:gsLst>
                <a:lin ang="5400000" scaled="0"/>
              </a:gradFill>
            </a:endParaRPr>
          </a:p>
        </p:txBody>
      </p:sp>
      <p:sp>
        <p:nvSpPr>
          <p:cNvPr id="59" name="title block"/>
          <p:cNvSpPr/>
          <p:nvPr/>
        </p:nvSpPr>
        <p:spPr bwMode="auto">
          <a:xfrm>
            <a:off x="1" y="100014"/>
            <a:ext cx="1656703" cy="602675"/>
          </a:xfrm>
          <a:prstGeom prst="rect">
            <a:avLst/>
          </a:prstGeom>
          <a:effectLst/>
        </p:spPr>
        <p:txBody>
          <a:bodyPr lIns="137172" tIns="34294" rIns="102880" bIns="137172" anchor="b" anchorCtr="0">
            <a:noAutofit/>
          </a:bodyPr>
          <a:lstStyle/>
          <a:p>
            <a:pPr defTabSz="685835"/>
            <a:endParaRPr lang="en-US" dirty="0">
              <a:solidFill>
                <a:srgbClr val="FFFFFF"/>
              </a:solidFill>
            </a:endParaRPr>
          </a:p>
        </p:txBody>
      </p:sp>
      <p:sp>
        <p:nvSpPr>
          <p:cNvPr id="6" name="Title 5"/>
          <p:cNvSpPr>
            <a:spLocks noGrp="1"/>
          </p:cNvSpPr>
          <p:nvPr>
            <p:ph type="title"/>
          </p:nvPr>
        </p:nvSpPr>
        <p:spPr>
          <a:xfrm>
            <a:off x="389436" y="171451"/>
            <a:ext cx="8363938" cy="457049"/>
          </a:xfrm>
        </p:spPr>
        <p:txBody>
          <a:bodyPr/>
          <a:lstStyle/>
          <a:p>
            <a:r>
              <a:rPr lang="en-US" dirty="0">
                <a:gradFill>
                  <a:gsLst>
                    <a:gs pos="0">
                      <a:schemeClr val="tx1"/>
                    </a:gs>
                    <a:gs pos="86000">
                      <a:schemeClr val="tx1"/>
                    </a:gs>
                  </a:gsLst>
                  <a:lin ang="5400000" scaled="0"/>
                </a:gradFill>
              </a:rPr>
              <a:t>Cloud Drivers</a:t>
            </a:r>
          </a:p>
        </p:txBody>
      </p:sp>
      <p:sp>
        <p:nvSpPr>
          <p:cNvPr id="48"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54"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pic>
        <p:nvPicPr>
          <p:cNvPr id="55"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02210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98"/>
                                        </p:tgtEl>
                                        <p:attrNameLst>
                                          <p:attrName>style.visibility</p:attrName>
                                        </p:attrNameLst>
                                      </p:cBhvr>
                                      <p:to>
                                        <p:strVal val="visible"/>
                                      </p:to>
                                    </p:set>
                                    <p:anim calcmode="lin" valueType="num">
                                      <p:cBhvr additive="base">
                                        <p:cTn id="7" dur="1000" fill="hold"/>
                                        <p:tgtEl>
                                          <p:spTgt spid="98"/>
                                        </p:tgtEl>
                                        <p:attrNameLst>
                                          <p:attrName>ppt_x</p:attrName>
                                        </p:attrNameLst>
                                      </p:cBhvr>
                                      <p:tavLst>
                                        <p:tav tm="0">
                                          <p:val>
                                            <p:strVal val="1+#ppt_w/2"/>
                                          </p:val>
                                        </p:tav>
                                        <p:tav tm="100000">
                                          <p:val>
                                            <p:strVal val="#ppt_x"/>
                                          </p:val>
                                        </p:tav>
                                      </p:tavLst>
                                    </p:anim>
                                    <p:anim calcmode="lin" valueType="num">
                                      <p:cBhvr additive="base">
                                        <p:cTn id="8" dur="1000" fill="hold"/>
                                        <p:tgtEl>
                                          <p:spTgt spid="98"/>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1000" fill="hold"/>
                                        <p:tgtEl>
                                          <p:spTgt spid="8"/>
                                        </p:tgtEl>
                                        <p:attrNameLst>
                                          <p:attrName>ppt_x</p:attrName>
                                        </p:attrNameLst>
                                      </p:cBhvr>
                                      <p:tavLst>
                                        <p:tav tm="0">
                                          <p:val>
                                            <p:strVal val="1+#ppt_w/2"/>
                                          </p:val>
                                        </p:tav>
                                        <p:tav tm="100000">
                                          <p:val>
                                            <p:strVal val="#ppt_x"/>
                                          </p:val>
                                        </p:tav>
                                      </p:tavLst>
                                    </p:anim>
                                    <p:anim calcmode="lin" valueType="num">
                                      <p:cBhvr additive="base">
                                        <p:cTn id="12" dur="1000" fill="hold"/>
                                        <p:tgtEl>
                                          <p:spTgt spid="8"/>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1000" fill="hold"/>
                                        <p:tgtEl>
                                          <p:spTgt spid="12"/>
                                        </p:tgtEl>
                                        <p:attrNameLst>
                                          <p:attrName>ppt_x</p:attrName>
                                        </p:attrNameLst>
                                      </p:cBhvr>
                                      <p:tavLst>
                                        <p:tav tm="0">
                                          <p:val>
                                            <p:strVal val="1+#ppt_w/2"/>
                                          </p:val>
                                        </p:tav>
                                        <p:tav tm="100000">
                                          <p:val>
                                            <p:strVal val="#ppt_x"/>
                                          </p:val>
                                        </p:tav>
                                      </p:tavLst>
                                    </p:anim>
                                    <p:anim calcmode="lin" valueType="num">
                                      <p:cBhvr additive="base">
                                        <p:cTn id="16" dur="10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latin typeface="Segoe" pitchFamily="34" charset="0"/>
              </a:rPr>
              <a:t>Customer Scenarios </a:t>
            </a:r>
            <a:endParaRPr lang="en-US" dirty="0">
              <a:latin typeface="Segoe" pitchFamily="34" charset="0"/>
            </a:endParaRPr>
          </a:p>
        </p:txBody>
      </p:sp>
      <p:grpSp>
        <p:nvGrpSpPr>
          <p:cNvPr id="94" name="Group 93"/>
          <p:cNvGrpSpPr/>
          <p:nvPr/>
        </p:nvGrpSpPr>
        <p:grpSpPr>
          <a:xfrm>
            <a:off x="6858595" y="1733775"/>
            <a:ext cx="2057936" cy="1290303"/>
            <a:chOff x="9371012" y="2362200"/>
            <a:chExt cx="2743200" cy="1720405"/>
          </a:xfrm>
        </p:grpSpPr>
        <p:pic>
          <p:nvPicPr>
            <p:cNvPr id="22" name="Picture 21"/>
            <p:cNvPicPr>
              <a:picLocks noChangeAspect="1"/>
            </p:cNvPicPr>
            <p:nvPr/>
          </p:nvPicPr>
          <p:blipFill>
            <a:blip r:embed="rId3" cstate="print">
              <a:lum bright="100000" contrast="100000"/>
            </a:blip>
            <a:stretch>
              <a:fillRect/>
            </a:stretch>
          </p:blipFill>
          <p:spPr>
            <a:xfrm>
              <a:off x="9828212" y="2362200"/>
              <a:ext cx="1828800" cy="1189554"/>
            </a:xfrm>
            <a:prstGeom prst="rect">
              <a:avLst/>
            </a:prstGeom>
            <a:noFill/>
            <a:ln>
              <a:noFill/>
            </a:ln>
            <a:effectLst/>
          </p:spPr>
        </p:pic>
        <p:sp>
          <p:nvSpPr>
            <p:cNvPr id="24" name="Rectangle 23"/>
            <p:cNvSpPr/>
            <p:nvPr/>
          </p:nvSpPr>
          <p:spPr>
            <a:xfrm>
              <a:off x="9371012" y="3733800"/>
              <a:ext cx="2743200" cy="348805"/>
            </a:xfrm>
            <a:prstGeom prst="rect">
              <a:avLst/>
            </a:prstGeom>
          </p:spPr>
          <p:txBody>
            <a:bodyPr wrap="square" lIns="91433" tIns="45717" rIns="91433" bIns="45717">
              <a:spAutoFit/>
            </a:bodyPr>
            <a:lstStyle/>
            <a:p>
              <a:pPr algn="ctr"/>
              <a:r>
                <a:rPr lang="en-US" sz="1100" b="1" dirty="0">
                  <a:gradFill>
                    <a:gsLst>
                      <a:gs pos="0">
                        <a:schemeClr val="tx1"/>
                      </a:gs>
                      <a:gs pos="86000">
                        <a:schemeClr val="tx1"/>
                      </a:gs>
                    </a:gsLst>
                    <a:lin ang="5400000" scaled="0"/>
                  </a:gradFill>
                  <a:latin typeface="Segoe" pitchFamily="34" charset="0"/>
                </a:rPr>
                <a:t>Public Cloud</a:t>
              </a:r>
              <a:endParaRPr lang="en-US" sz="1100" dirty="0">
                <a:gradFill>
                  <a:gsLst>
                    <a:gs pos="0">
                      <a:schemeClr val="tx1"/>
                    </a:gs>
                    <a:gs pos="86000">
                      <a:schemeClr val="tx1"/>
                    </a:gs>
                  </a:gsLst>
                  <a:lin ang="5400000" scaled="0"/>
                </a:gradFill>
                <a:latin typeface="Segoe" pitchFamily="34" charset="0"/>
              </a:endParaRPr>
            </a:p>
          </p:txBody>
        </p:sp>
      </p:grpSp>
      <p:grpSp>
        <p:nvGrpSpPr>
          <p:cNvPr id="89" name="Group 88"/>
          <p:cNvGrpSpPr/>
          <p:nvPr/>
        </p:nvGrpSpPr>
        <p:grpSpPr>
          <a:xfrm>
            <a:off x="4686329" y="1276579"/>
            <a:ext cx="2057936" cy="1769149"/>
            <a:chOff x="6246812" y="1752600"/>
            <a:chExt cx="2743200" cy="2358865"/>
          </a:xfrm>
        </p:grpSpPr>
        <p:pic>
          <p:nvPicPr>
            <p:cNvPr id="67" name="Picture 2"/>
            <p:cNvPicPr>
              <a:picLocks noChangeAspect="1" noChangeArrowheads="1"/>
            </p:cNvPicPr>
            <p:nvPr/>
          </p:nvPicPr>
          <p:blipFill>
            <a:blip r:embed="rId4" cstate="print">
              <a:lum bright="100000" contrast="100000"/>
            </a:blip>
            <a:srcRect/>
            <a:stretch>
              <a:fillRect/>
            </a:stretch>
          </p:blipFill>
          <p:spPr bwMode="auto">
            <a:xfrm>
              <a:off x="6478747" y="1752600"/>
              <a:ext cx="2358865" cy="2358865"/>
            </a:xfrm>
            <a:prstGeom prst="rect">
              <a:avLst/>
            </a:prstGeom>
            <a:noFill/>
            <a:ln w="9525">
              <a:noFill/>
              <a:miter lim="800000"/>
              <a:headEnd/>
              <a:tailEnd/>
            </a:ln>
            <a:effectLst/>
          </p:spPr>
        </p:pic>
        <p:sp>
          <p:nvSpPr>
            <p:cNvPr id="68" name="Rectangle 67"/>
            <p:cNvSpPr/>
            <p:nvPr/>
          </p:nvSpPr>
          <p:spPr>
            <a:xfrm>
              <a:off x="6246812" y="3733800"/>
              <a:ext cx="2743200" cy="348805"/>
            </a:xfrm>
            <a:prstGeom prst="rect">
              <a:avLst/>
            </a:prstGeom>
          </p:spPr>
          <p:txBody>
            <a:bodyPr wrap="square" lIns="91433" tIns="45717" rIns="91433" bIns="45717">
              <a:spAutoFit/>
            </a:bodyPr>
            <a:lstStyle/>
            <a:p>
              <a:pPr algn="ctr"/>
              <a:r>
                <a:rPr lang="en-US" sz="1100" b="1" dirty="0">
                  <a:gradFill>
                    <a:gsLst>
                      <a:gs pos="0">
                        <a:schemeClr val="tx1"/>
                      </a:gs>
                      <a:gs pos="86000">
                        <a:schemeClr val="tx1"/>
                      </a:gs>
                    </a:gsLst>
                    <a:lin ang="5400000" scaled="0"/>
                  </a:gradFill>
                  <a:latin typeface="Segoe" pitchFamily="34" charset="0"/>
                </a:rPr>
                <a:t>Private Cloud</a:t>
              </a:r>
              <a:endParaRPr lang="en-US" sz="1100" dirty="0">
                <a:gradFill>
                  <a:gsLst>
                    <a:gs pos="0">
                      <a:schemeClr val="tx1"/>
                    </a:gs>
                    <a:gs pos="86000">
                      <a:schemeClr val="tx1"/>
                    </a:gs>
                  </a:gsLst>
                  <a:lin ang="5400000" scaled="0"/>
                </a:gradFill>
                <a:latin typeface="Segoe" pitchFamily="34" charset="0"/>
              </a:endParaRPr>
            </a:p>
          </p:txBody>
        </p:sp>
      </p:grpSp>
      <p:sp>
        <p:nvSpPr>
          <p:cNvPr id="112" name="Rounded Rectangle 111"/>
          <p:cNvSpPr/>
          <p:nvPr/>
        </p:nvSpPr>
        <p:spPr>
          <a:xfrm>
            <a:off x="3543032" y="1790920"/>
            <a:ext cx="628814" cy="85725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1443" tIns="25721" rIns="51443" bIns="25721" rtlCol="0" anchor="ctr"/>
          <a:lstStyle/>
          <a:p>
            <a:pPr algn="ctr"/>
            <a:endParaRPr lang="en-US" sz="700">
              <a:solidFill>
                <a:prstClr val="black"/>
              </a:solidFill>
              <a:latin typeface="Segoe" pitchFamily="34" charset="0"/>
            </a:endParaRPr>
          </a:p>
        </p:txBody>
      </p:sp>
      <p:grpSp>
        <p:nvGrpSpPr>
          <p:cNvPr id="84" name="Group 83"/>
          <p:cNvGrpSpPr/>
          <p:nvPr/>
        </p:nvGrpSpPr>
        <p:grpSpPr>
          <a:xfrm>
            <a:off x="-172686" y="1448023"/>
            <a:ext cx="2458090" cy="1576053"/>
            <a:chOff x="-458788" y="1981200"/>
            <a:chExt cx="3276600" cy="2101405"/>
          </a:xfrm>
        </p:grpSpPr>
        <p:pic>
          <p:nvPicPr>
            <p:cNvPr id="87" name="Picture 2" descr="\\MAGNUM\Projects\Microsoft\Cloud Power FY12\Design\ICONS_PNG\Building.png"/>
            <p:cNvPicPr>
              <a:picLocks noChangeAspect="1" noChangeArrowheads="1"/>
            </p:cNvPicPr>
            <p:nvPr/>
          </p:nvPicPr>
          <p:blipFill>
            <a:blip r:embed="rId5" cstate="print">
              <a:lum bright="100000" contrast="100000"/>
            </a:blip>
            <a:srcRect/>
            <a:stretch>
              <a:fillRect/>
            </a:stretch>
          </p:blipFill>
          <p:spPr bwMode="auto">
            <a:xfrm>
              <a:off x="227012" y="1981200"/>
              <a:ext cx="2057400" cy="2057400"/>
            </a:xfrm>
            <a:prstGeom prst="rect">
              <a:avLst/>
            </a:prstGeom>
            <a:noFill/>
          </p:spPr>
        </p:pic>
        <p:sp>
          <p:nvSpPr>
            <p:cNvPr id="124" name="Rectangle 123"/>
            <p:cNvSpPr/>
            <p:nvPr/>
          </p:nvSpPr>
          <p:spPr>
            <a:xfrm>
              <a:off x="-458788" y="3733800"/>
              <a:ext cx="3276600" cy="348805"/>
            </a:xfrm>
            <a:prstGeom prst="rect">
              <a:avLst/>
            </a:prstGeom>
          </p:spPr>
          <p:txBody>
            <a:bodyPr wrap="square" lIns="91433" tIns="45717" rIns="91433" bIns="45717">
              <a:spAutoFit/>
            </a:bodyPr>
            <a:lstStyle/>
            <a:p>
              <a:pPr algn="ctr"/>
              <a:r>
                <a:rPr lang="en-US" sz="1100" b="1" dirty="0">
                  <a:gradFill>
                    <a:gsLst>
                      <a:gs pos="0">
                        <a:schemeClr val="tx1"/>
                      </a:gs>
                      <a:gs pos="86000">
                        <a:schemeClr val="tx1"/>
                      </a:gs>
                    </a:gsLst>
                    <a:lin ang="5400000" scaled="0"/>
                  </a:gradFill>
                  <a:latin typeface="Segoe" pitchFamily="34" charset="0"/>
                </a:rPr>
                <a:t>Traditional</a:t>
              </a:r>
              <a:endParaRPr lang="en-US" sz="1100" dirty="0">
                <a:gradFill>
                  <a:gsLst>
                    <a:gs pos="0">
                      <a:schemeClr val="tx1"/>
                    </a:gs>
                    <a:gs pos="86000">
                      <a:schemeClr val="tx1"/>
                    </a:gs>
                  </a:gsLst>
                  <a:lin ang="5400000" scaled="0"/>
                </a:gradFill>
                <a:latin typeface="Segoe" pitchFamily="34" charset="0"/>
              </a:endParaRPr>
            </a:p>
          </p:txBody>
        </p:sp>
      </p:grpSp>
      <p:grpSp>
        <p:nvGrpSpPr>
          <p:cNvPr id="88" name="Group 87"/>
          <p:cNvGrpSpPr/>
          <p:nvPr/>
        </p:nvGrpSpPr>
        <p:grpSpPr>
          <a:xfrm>
            <a:off x="1999580" y="1448023"/>
            <a:ext cx="2458090" cy="1576053"/>
            <a:chOff x="2665412" y="1981200"/>
            <a:chExt cx="3276600" cy="2101405"/>
          </a:xfrm>
        </p:grpSpPr>
        <p:sp>
          <p:nvSpPr>
            <p:cNvPr id="69" name="Rectangle 68"/>
            <p:cNvSpPr/>
            <p:nvPr/>
          </p:nvSpPr>
          <p:spPr>
            <a:xfrm>
              <a:off x="2665412" y="3733800"/>
              <a:ext cx="3276600" cy="348805"/>
            </a:xfrm>
            <a:prstGeom prst="rect">
              <a:avLst/>
            </a:prstGeom>
          </p:spPr>
          <p:txBody>
            <a:bodyPr wrap="square" lIns="91433" tIns="45717" rIns="91433" bIns="45717">
              <a:spAutoFit/>
            </a:bodyPr>
            <a:lstStyle/>
            <a:p>
              <a:pPr algn="ctr"/>
              <a:r>
                <a:rPr lang="en-US" sz="1100" b="1" dirty="0">
                  <a:gradFill>
                    <a:gsLst>
                      <a:gs pos="0">
                        <a:schemeClr val="tx1"/>
                      </a:gs>
                      <a:gs pos="86000">
                        <a:schemeClr val="tx1"/>
                      </a:gs>
                    </a:gsLst>
                    <a:lin ang="5400000" scaled="0"/>
                  </a:gradFill>
                  <a:latin typeface="Segoe" pitchFamily="34" charset="0"/>
                </a:rPr>
                <a:t>Highly Virtualized Datacenter</a:t>
              </a:r>
              <a:endParaRPr lang="en-US" sz="1100" dirty="0">
                <a:gradFill>
                  <a:gsLst>
                    <a:gs pos="0">
                      <a:schemeClr val="tx1"/>
                    </a:gs>
                    <a:gs pos="86000">
                      <a:schemeClr val="tx1"/>
                    </a:gs>
                  </a:gsLst>
                  <a:lin ang="5400000" scaled="0"/>
                </a:gradFill>
                <a:latin typeface="Segoe" pitchFamily="34" charset="0"/>
              </a:endParaRPr>
            </a:p>
          </p:txBody>
        </p:sp>
        <p:pic>
          <p:nvPicPr>
            <p:cNvPr id="3074" name="Picture 2"/>
            <p:cNvPicPr>
              <a:picLocks noChangeAspect="1" noChangeArrowheads="1"/>
            </p:cNvPicPr>
            <p:nvPr/>
          </p:nvPicPr>
          <p:blipFill>
            <a:blip r:embed="rId6" cstate="print">
              <a:lum bright="100000" contrast="100000"/>
            </a:blip>
            <a:srcRect/>
            <a:stretch>
              <a:fillRect/>
            </a:stretch>
          </p:blipFill>
          <p:spPr bwMode="auto">
            <a:xfrm>
              <a:off x="3351212" y="1981200"/>
              <a:ext cx="2028825" cy="2028825"/>
            </a:xfrm>
            <a:prstGeom prst="rect">
              <a:avLst/>
            </a:prstGeom>
            <a:noFill/>
            <a:ln w="9525">
              <a:noFill/>
              <a:miter lim="800000"/>
              <a:headEnd/>
              <a:tailEnd/>
            </a:ln>
            <a:effectLst/>
          </p:spPr>
        </p:pic>
      </p:grpSp>
      <p:grpSp>
        <p:nvGrpSpPr>
          <p:cNvPr id="3" name="Group 2"/>
          <p:cNvGrpSpPr/>
          <p:nvPr/>
        </p:nvGrpSpPr>
        <p:grpSpPr>
          <a:xfrm>
            <a:off x="1027777" y="3595600"/>
            <a:ext cx="7088446" cy="677757"/>
            <a:chOff x="1370012" y="5045915"/>
            <a:chExt cx="9448800" cy="903676"/>
          </a:xfrm>
          <a:solidFill>
            <a:schemeClr val="accent4"/>
          </a:solidFill>
        </p:grpSpPr>
        <p:sp>
          <p:nvSpPr>
            <p:cNvPr id="64" name="Right Arrow 5"/>
            <p:cNvSpPr/>
            <p:nvPr/>
          </p:nvSpPr>
          <p:spPr bwMode="auto">
            <a:xfrm rot="10800000">
              <a:off x="1370012" y="5133395"/>
              <a:ext cx="731234" cy="731520"/>
            </a:xfrm>
            <a:custGeom>
              <a:avLst/>
              <a:gdLst/>
              <a:ahLst/>
              <a:cxnLst/>
              <a:rect l="l" t="t" r="r" b="b"/>
              <a:pathLst>
                <a:path w="1043004" h="1043004">
                  <a:moveTo>
                    <a:pt x="521502" y="164701"/>
                  </a:moveTo>
                  <a:cubicBezTo>
                    <a:pt x="374421" y="164701"/>
                    <a:pt x="248126" y="253695"/>
                    <a:pt x="193701" y="380848"/>
                  </a:cubicBezTo>
                  <a:lnTo>
                    <a:pt x="509690" y="380848"/>
                  </a:lnTo>
                  <a:lnTo>
                    <a:pt x="509690" y="240195"/>
                  </a:lnTo>
                  <a:lnTo>
                    <a:pt x="852563" y="521501"/>
                  </a:lnTo>
                  <a:lnTo>
                    <a:pt x="509690" y="802807"/>
                  </a:lnTo>
                  <a:lnTo>
                    <a:pt x="509690" y="662154"/>
                  </a:lnTo>
                  <a:lnTo>
                    <a:pt x="193700" y="662154"/>
                  </a:lnTo>
                  <a:cubicBezTo>
                    <a:pt x="248125" y="789308"/>
                    <a:pt x="374420" y="878303"/>
                    <a:pt x="521502" y="878303"/>
                  </a:cubicBezTo>
                  <a:cubicBezTo>
                    <a:pt x="718558" y="878303"/>
                    <a:pt x="878303" y="718558"/>
                    <a:pt x="878303" y="521502"/>
                  </a:cubicBezTo>
                  <a:cubicBezTo>
                    <a:pt x="878303" y="324446"/>
                    <a:pt x="718558" y="164701"/>
                    <a:pt x="521502" y="164701"/>
                  </a:cubicBezTo>
                  <a:close/>
                  <a:moveTo>
                    <a:pt x="521502" y="0"/>
                  </a:moveTo>
                  <a:cubicBezTo>
                    <a:pt x="809520" y="0"/>
                    <a:pt x="1043004" y="233484"/>
                    <a:pt x="1043004" y="521502"/>
                  </a:cubicBezTo>
                  <a:cubicBezTo>
                    <a:pt x="1043004" y="809520"/>
                    <a:pt x="809520" y="1043004"/>
                    <a:pt x="521502" y="1043004"/>
                  </a:cubicBezTo>
                  <a:cubicBezTo>
                    <a:pt x="233484" y="1043004"/>
                    <a:pt x="0" y="809520"/>
                    <a:pt x="0" y="521502"/>
                  </a:cubicBezTo>
                  <a:cubicBezTo>
                    <a:pt x="0" y="233484"/>
                    <a:pt x="233484" y="0"/>
                    <a:pt x="521502" y="0"/>
                  </a:cubicBezTo>
                  <a:close/>
                </a:path>
              </a:pathLst>
            </a:custGeom>
            <a:grp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14" tIns="45708" rIns="91414" bIns="45708" numCol="1" rtlCol="0" anchor="ctr" anchorCtr="0" compatLnSpc="1">
              <a:prstTxWarp prst="textNoShape">
                <a:avLst/>
              </a:prstTxWarp>
            </a:bodyPr>
            <a:lstStyle/>
            <a:p>
              <a:pPr algn="ctr" defTabSz="548105"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65" name="Right Arrow 5"/>
            <p:cNvSpPr/>
            <p:nvPr/>
          </p:nvSpPr>
          <p:spPr bwMode="auto">
            <a:xfrm>
              <a:off x="10087578" y="5133395"/>
              <a:ext cx="731234" cy="731520"/>
            </a:xfrm>
            <a:custGeom>
              <a:avLst/>
              <a:gdLst/>
              <a:ahLst/>
              <a:cxnLst/>
              <a:rect l="l" t="t" r="r" b="b"/>
              <a:pathLst>
                <a:path w="1043004" h="1043004">
                  <a:moveTo>
                    <a:pt x="521502" y="164701"/>
                  </a:moveTo>
                  <a:cubicBezTo>
                    <a:pt x="374421" y="164701"/>
                    <a:pt x="248126" y="253695"/>
                    <a:pt x="193701" y="380848"/>
                  </a:cubicBezTo>
                  <a:lnTo>
                    <a:pt x="509690" y="380848"/>
                  </a:lnTo>
                  <a:lnTo>
                    <a:pt x="509690" y="240195"/>
                  </a:lnTo>
                  <a:lnTo>
                    <a:pt x="852563" y="521501"/>
                  </a:lnTo>
                  <a:lnTo>
                    <a:pt x="509690" y="802807"/>
                  </a:lnTo>
                  <a:lnTo>
                    <a:pt x="509690" y="662154"/>
                  </a:lnTo>
                  <a:lnTo>
                    <a:pt x="193700" y="662154"/>
                  </a:lnTo>
                  <a:cubicBezTo>
                    <a:pt x="248125" y="789308"/>
                    <a:pt x="374420" y="878303"/>
                    <a:pt x="521502" y="878303"/>
                  </a:cubicBezTo>
                  <a:cubicBezTo>
                    <a:pt x="718558" y="878303"/>
                    <a:pt x="878303" y="718558"/>
                    <a:pt x="878303" y="521502"/>
                  </a:cubicBezTo>
                  <a:cubicBezTo>
                    <a:pt x="878303" y="324446"/>
                    <a:pt x="718558" y="164701"/>
                    <a:pt x="521502" y="164701"/>
                  </a:cubicBezTo>
                  <a:close/>
                  <a:moveTo>
                    <a:pt x="521502" y="0"/>
                  </a:moveTo>
                  <a:cubicBezTo>
                    <a:pt x="809520" y="0"/>
                    <a:pt x="1043004" y="233484"/>
                    <a:pt x="1043004" y="521502"/>
                  </a:cubicBezTo>
                  <a:cubicBezTo>
                    <a:pt x="1043004" y="809520"/>
                    <a:pt x="809520" y="1043004"/>
                    <a:pt x="521502" y="1043004"/>
                  </a:cubicBezTo>
                  <a:cubicBezTo>
                    <a:pt x="233484" y="1043004"/>
                    <a:pt x="0" y="809520"/>
                    <a:pt x="0" y="521502"/>
                  </a:cubicBezTo>
                  <a:cubicBezTo>
                    <a:pt x="0" y="233484"/>
                    <a:pt x="233484" y="0"/>
                    <a:pt x="521502" y="0"/>
                  </a:cubicBezTo>
                  <a:close/>
                </a:path>
              </a:pathLst>
            </a:custGeom>
            <a:grp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14" tIns="45708" rIns="91414" bIns="45708" numCol="1" rtlCol="0" anchor="ctr" anchorCtr="0" compatLnSpc="1">
              <a:prstTxWarp prst="textNoShape">
                <a:avLst/>
              </a:prstTxWarp>
            </a:bodyPr>
            <a:lstStyle/>
            <a:p>
              <a:pPr algn="ctr" defTabSz="548105" fontAlgn="base">
                <a:spcBef>
                  <a:spcPct val="0"/>
                </a:spcBef>
                <a:spcAft>
                  <a:spcPct val="0"/>
                </a:spcAft>
              </a:pPr>
              <a:endParaRPr lang="en-US" dirty="0">
                <a:gradFill>
                  <a:gsLst>
                    <a:gs pos="0">
                      <a:srgbClr val="FFFFFF"/>
                    </a:gs>
                    <a:gs pos="100000">
                      <a:srgbClr val="FFFFFF"/>
                    </a:gs>
                  </a:gsLst>
                  <a:lin ang="5400000" scaled="0"/>
                </a:gradFill>
              </a:endParaRPr>
            </a:p>
          </p:txBody>
        </p:sp>
        <p:grpSp>
          <p:nvGrpSpPr>
            <p:cNvPr id="66" name="Group 65"/>
            <p:cNvGrpSpPr/>
            <p:nvPr/>
          </p:nvGrpSpPr>
          <p:grpSpPr>
            <a:xfrm>
              <a:off x="1746867" y="5045915"/>
              <a:ext cx="8698852" cy="903676"/>
              <a:chOff x="1746867" y="5045915"/>
              <a:chExt cx="8698852" cy="903676"/>
            </a:xfrm>
            <a:grpFill/>
          </p:grpSpPr>
          <p:sp>
            <p:nvSpPr>
              <p:cNvPr id="73" name="Rectangle 11"/>
              <p:cNvSpPr/>
              <p:nvPr/>
            </p:nvSpPr>
            <p:spPr bwMode="auto">
              <a:xfrm>
                <a:off x="1746867" y="5045915"/>
                <a:ext cx="8698852" cy="903676"/>
              </a:xfrm>
              <a:custGeom>
                <a:avLst/>
                <a:gdLst/>
                <a:ahLst/>
                <a:cxnLst/>
                <a:rect l="l" t="t" r="r" b="b"/>
                <a:pathLst>
                  <a:path w="8698852" h="903676">
                    <a:moveTo>
                      <a:pt x="8696048" y="903443"/>
                    </a:moveTo>
                    <a:lnTo>
                      <a:pt x="8696047" y="903676"/>
                    </a:lnTo>
                    <a:lnTo>
                      <a:pt x="8693728" y="903676"/>
                    </a:lnTo>
                    <a:close/>
                    <a:moveTo>
                      <a:pt x="8693712" y="2"/>
                    </a:moveTo>
                    <a:cubicBezTo>
                      <a:pt x="8443739" y="9"/>
                      <a:pt x="8241100" y="202301"/>
                      <a:pt x="8241100" y="451838"/>
                    </a:cubicBezTo>
                    <a:cubicBezTo>
                      <a:pt x="8241100" y="701381"/>
                      <a:pt x="8443748" y="903676"/>
                      <a:pt x="8693728" y="903676"/>
                    </a:cubicBezTo>
                    <a:lnTo>
                      <a:pt x="0" y="903676"/>
                    </a:lnTo>
                    <a:cubicBezTo>
                      <a:pt x="245519" y="900231"/>
                      <a:pt x="443257" y="699837"/>
                      <a:pt x="443257" y="453240"/>
                    </a:cubicBezTo>
                    <a:cubicBezTo>
                      <a:pt x="443257" y="206643"/>
                      <a:pt x="245519" y="6250"/>
                      <a:pt x="0" y="2804"/>
                    </a:cubicBezTo>
                    <a:close/>
                    <a:moveTo>
                      <a:pt x="8698852" y="0"/>
                    </a:moveTo>
                    <a:lnTo>
                      <a:pt x="8698850" y="516"/>
                    </a:lnTo>
                    <a:lnTo>
                      <a:pt x="8693744" y="2"/>
                    </a:lnTo>
                    <a:close/>
                  </a:path>
                </a:pathLst>
              </a:custGeom>
              <a:grpFill/>
              <a:ln>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4" tIns="45708" rIns="91414" bIns="45708" numCol="1" rtlCol="0" anchor="ctr" anchorCtr="0" compatLnSpc="1">
                <a:prstTxWarp prst="textNoShape">
                  <a:avLst/>
                </a:prstTxWarp>
              </a:bodyPr>
              <a:lstStyle/>
              <a:p>
                <a:pPr algn="ctr" defTabSz="548105"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74" name="Rectangle 73"/>
              <p:cNvSpPr/>
              <p:nvPr/>
            </p:nvSpPr>
            <p:spPr>
              <a:xfrm>
                <a:off x="2208212" y="5297698"/>
                <a:ext cx="2353023" cy="430887"/>
              </a:xfrm>
              <a:prstGeom prst="rect">
                <a:avLst/>
              </a:prstGeom>
              <a:grpFill/>
            </p:spPr>
            <p:txBody>
              <a:bodyPr wrap="none">
                <a:spAutoFit/>
              </a:bodyPr>
              <a:lstStyle/>
              <a:p>
                <a:pPr lvl="0">
                  <a:defRPr/>
                </a:pPr>
                <a:r>
                  <a:rPr lang="en-US" sz="1500" kern="0" dirty="0">
                    <a:gradFill>
                      <a:gsLst>
                        <a:gs pos="0">
                          <a:schemeClr val="tx1"/>
                        </a:gs>
                        <a:gs pos="86000">
                          <a:schemeClr val="tx1"/>
                        </a:gs>
                      </a:gsLst>
                      <a:lin ang="5400000" scaled="0"/>
                    </a:gradFill>
                  </a:rPr>
                  <a:t>100% On Premises</a:t>
                </a:r>
              </a:p>
            </p:txBody>
          </p:sp>
          <p:sp>
            <p:nvSpPr>
              <p:cNvPr id="85" name="Rectangle 84"/>
              <p:cNvSpPr/>
              <p:nvPr/>
            </p:nvSpPr>
            <p:spPr>
              <a:xfrm>
                <a:off x="5592868" y="5297698"/>
                <a:ext cx="1006851" cy="430887"/>
              </a:xfrm>
              <a:prstGeom prst="rect">
                <a:avLst/>
              </a:prstGeom>
              <a:grpFill/>
            </p:spPr>
            <p:txBody>
              <a:bodyPr wrap="none">
                <a:spAutoFit/>
              </a:bodyPr>
              <a:lstStyle/>
              <a:p>
                <a:pPr lvl="0" algn="ctr">
                  <a:defRPr/>
                </a:pPr>
                <a:r>
                  <a:rPr lang="en-US" sz="1500" kern="0" dirty="0">
                    <a:gradFill>
                      <a:gsLst>
                        <a:gs pos="0">
                          <a:schemeClr val="tx1"/>
                        </a:gs>
                        <a:gs pos="86000">
                          <a:schemeClr val="tx1"/>
                        </a:gs>
                      </a:gsLst>
                      <a:lin ang="5400000" scaled="0"/>
                    </a:gradFill>
                  </a:rPr>
                  <a:t>Hybrid</a:t>
                </a:r>
              </a:p>
            </p:txBody>
          </p:sp>
          <p:sp>
            <p:nvSpPr>
              <p:cNvPr id="93" name="Rectangle 92"/>
              <p:cNvSpPr/>
              <p:nvPr/>
            </p:nvSpPr>
            <p:spPr>
              <a:xfrm>
                <a:off x="8318206" y="5297698"/>
                <a:ext cx="1609424" cy="430887"/>
              </a:xfrm>
              <a:prstGeom prst="rect">
                <a:avLst/>
              </a:prstGeom>
              <a:grpFill/>
            </p:spPr>
            <p:txBody>
              <a:bodyPr wrap="none">
                <a:spAutoFit/>
              </a:bodyPr>
              <a:lstStyle/>
              <a:p>
                <a:pPr lvl="0" algn="r">
                  <a:defRPr/>
                </a:pPr>
                <a:r>
                  <a:rPr lang="en-US" sz="1500" kern="0" dirty="0">
                    <a:gradFill>
                      <a:gsLst>
                        <a:gs pos="0">
                          <a:schemeClr val="tx1"/>
                        </a:gs>
                        <a:gs pos="86000">
                          <a:schemeClr val="tx1"/>
                        </a:gs>
                      </a:gsLst>
                      <a:lin ang="5400000" scaled="0"/>
                    </a:gradFill>
                  </a:rPr>
                  <a:t>100% Cloud</a:t>
                </a:r>
              </a:p>
            </p:txBody>
          </p:sp>
        </p:grpSp>
      </p:grpSp>
      <p:sp>
        <p:nvSpPr>
          <p:cNvPr id="25"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6"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7"/>
              </a:rPr>
              <a:t>www.rapidbbs.cn</a:t>
            </a:r>
            <a:endParaRPr lang="zh-CN" altLang="en-US" sz="1200" b="0">
              <a:latin typeface="Arial" charset="0"/>
              <a:ea typeface="ＭＳ Ｐゴシック" pitchFamily="34" charset="-128"/>
            </a:endParaRPr>
          </a:p>
        </p:txBody>
      </p:sp>
      <p:pic>
        <p:nvPicPr>
          <p:cNvPr id="27" name="Picture 2">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50659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64" name="Slide background fill shape - bottom edge"/>
          <p:cNvSpPr/>
          <p:nvPr/>
        </p:nvSpPr>
        <p:spPr bwMode="auto">
          <a:xfrm>
            <a:off x="2" y="-2"/>
            <a:ext cx="439521" cy="5143502"/>
          </a:xfrm>
          <a:prstGeom prst="rect">
            <a:avLst/>
          </a:prstGeom>
          <a:ln w="38100" cap="flat" cmpd="sng" algn="ctr">
            <a:noFill/>
            <a:prstDash val="solid"/>
            <a:headEnd type="none" w="med" len="med"/>
            <a:tailEnd type="none" w="med" len="med"/>
          </a:ln>
          <a:effectLst/>
        </p:spPr>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defRPr/>
            </a:pPr>
            <a:endParaRPr lang="en-US" sz="1700" kern="0" dirty="0">
              <a:gradFill>
                <a:gsLst>
                  <a:gs pos="0">
                    <a:srgbClr val="FFFFFF"/>
                  </a:gs>
                  <a:gs pos="100000">
                    <a:srgbClr val="FFFFFF"/>
                  </a:gs>
                </a:gsLst>
                <a:lin ang="5400000" scaled="0"/>
              </a:gradFill>
            </a:endParaRPr>
          </a:p>
        </p:txBody>
      </p:sp>
      <p:sp useBgFill="1">
        <p:nvSpPr>
          <p:cNvPr id="63" name="Slide background fill shape - bottom edge"/>
          <p:cNvSpPr/>
          <p:nvPr/>
        </p:nvSpPr>
        <p:spPr bwMode="auto">
          <a:xfrm>
            <a:off x="8387501" y="-1"/>
            <a:ext cx="756501" cy="5143502"/>
          </a:xfrm>
          <a:prstGeom prst="rect">
            <a:avLst/>
          </a:prstGeom>
          <a:ln w="38100" cap="flat" cmpd="sng" algn="ctr">
            <a:noFill/>
            <a:prstDash val="solid"/>
            <a:headEnd type="none" w="med" len="med"/>
            <a:tailEnd type="none" w="med" len="med"/>
          </a:ln>
          <a:effectLst/>
        </p:spPr>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defRPr/>
            </a:pPr>
            <a:endParaRPr lang="en-US" sz="1700" kern="0" dirty="0">
              <a:gradFill>
                <a:gsLst>
                  <a:gs pos="0">
                    <a:srgbClr val="FFFFFF"/>
                  </a:gs>
                  <a:gs pos="100000">
                    <a:srgbClr val="FFFFFF"/>
                  </a:gs>
                </a:gsLst>
                <a:lin ang="5400000" scaled="0"/>
              </a:gradFill>
            </a:endParaRPr>
          </a:p>
        </p:txBody>
      </p:sp>
      <p:sp>
        <p:nvSpPr>
          <p:cNvPr id="6" name="Title 5"/>
          <p:cNvSpPr>
            <a:spLocks noGrp="1"/>
          </p:cNvSpPr>
          <p:nvPr>
            <p:ph type="title"/>
          </p:nvPr>
        </p:nvSpPr>
        <p:spPr/>
        <p:txBody>
          <a:bodyPr/>
          <a:lstStyle/>
          <a:p>
            <a:r>
              <a:rPr lang="en-US" dirty="0" smtClean="0"/>
              <a:t>Solutions that Span Customer Scenarios </a:t>
            </a:r>
            <a:endParaRPr lang="en-US" dirty="0"/>
          </a:p>
        </p:txBody>
      </p:sp>
      <p:grpSp>
        <p:nvGrpSpPr>
          <p:cNvPr id="48" name="Group 47"/>
          <p:cNvGrpSpPr/>
          <p:nvPr/>
        </p:nvGrpSpPr>
        <p:grpSpPr>
          <a:xfrm>
            <a:off x="1173496" y="1755212"/>
            <a:ext cx="6238800" cy="2020121"/>
            <a:chOff x="1413678" y="2006369"/>
            <a:chExt cx="10399355" cy="3366870"/>
          </a:xfrm>
        </p:grpSpPr>
        <p:sp>
          <p:nvSpPr>
            <p:cNvPr id="49" name="Rectangle 11"/>
            <p:cNvSpPr/>
            <p:nvPr/>
          </p:nvSpPr>
          <p:spPr bwMode="auto">
            <a:xfrm>
              <a:off x="3135976" y="3124147"/>
              <a:ext cx="8677057" cy="1126090"/>
            </a:xfrm>
            <a:custGeom>
              <a:avLst/>
              <a:gdLst/>
              <a:ahLst/>
              <a:cxnLst/>
              <a:rect l="l" t="t" r="r" b="b"/>
              <a:pathLst>
                <a:path w="8677057" h="1126090">
                  <a:moveTo>
                    <a:pt x="0" y="0"/>
                  </a:moveTo>
                  <a:lnTo>
                    <a:pt x="8677057" y="0"/>
                  </a:lnTo>
                  <a:lnTo>
                    <a:pt x="8677057" y="1126090"/>
                  </a:lnTo>
                  <a:lnTo>
                    <a:pt x="0" y="1126090"/>
                  </a:lnTo>
                  <a:cubicBezTo>
                    <a:pt x="307019" y="1121783"/>
                    <a:pt x="554287" y="871291"/>
                    <a:pt x="554287" y="563045"/>
                  </a:cubicBezTo>
                  <a:cubicBezTo>
                    <a:pt x="554287" y="254799"/>
                    <a:pt x="307019" y="4307"/>
                    <a:pt x="0" y="0"/>
                  </a:cubicBezTo>
                  <a:close/>
                </a:path>
              </a:pathLst>
            </a:custGeom>
            <a:solidFill>
              <a:schemeClr val="accent5"/>
            </a:solidFill>
            <a:ln>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4" tIns="45708" rIns="91414" bIns="45708" numCol="1" rtlCol="0" anchor="ctr" anchorCtr="0" compatLnSpc="1">
              <a:prstTxWarp prst="textNoShape">
                <a:avLst/>
              </a:prstTxWarp>
            </a:bodyPr>
            <a:lstStyle/>
            <a:p>
              <a:pPr algn="ctr" defTabSz="548105" fontAlgn="base">
                <a:spcBef>
                  <a:spcPct val="0"/>
                </a:spcBef>
                <a:spcAft>
                  <a:spcPct val="0"/>
                </a:spcAft>
              </a:pPr>
              <a:endParaRPr lang="en-US" dirty="0">
                <a:gradFill>
                  <a:gsLst>
                    <a:gs pos="0">
                      <a:srgbClr val="FFFFFF"/>
                    </a:gs>
                    <a:gs pos="100000">
                      <a:srgbClr val="FFFFFF"/>
                    </a:gs>
                  </a:gsLst>
                  <a:lin ang="5400000" scaled="0"/>
                </a:gradFill>
              </a:endParaRPr>
            </a:p>
          </p:txBody>
        </p:sp>
        <p:grpSp>
          <p:nvGrpSpPr>
            <p:cNvPr id="50" name="Group 49"/>
            <p:cNvGrpSpPr/>
            <p:nvPr/>
          </p:nvGrpSpPr>
          <p:grpSpPr>
            <a:xfrm>
              <a:off x="1413678" y="2006369"/>
              <a:ext cx="2133227" cy="3366870"/>
              <a:chOff x="1413678" y="2006369"/>
              <a:chExt cx="2133227" cy="3366870"/>
            </a:xfrm>
          </p:grpSpPr>
          <p:sp>
            <p:nvSpPr>
              <p:cNvPr id="51" name="Right Arrow 5"/>
              <p:cNvSpPr/>
              <p:nvPr/>
            </p:nvSpPr>
            <p:spPr bwMode="auto">
              <a:xfrm>
                <a:off x="2632505" y="3237481"/>
                <a:ext cx="914400" cy="914400"/>
              </a:xfrm>
              <a:custGeom>
                <a:avLst/>
                <a:gdLst/>
                <a:ahLst/>
                <a:cxnLst/>
                <a:rect l="l" t="t" r="r" b="b"/>
                <a:pathLst>
                  <a:path w="1043004" h="1043004">
                    <a:moveTo>
                      <a:pt x="521502" y="164701"/>
                    </a:moveTo>
                    <a:cubicBezTo>
                      <a:pt x="374421" y="164701"/>
                      <a:pt x="248126" y="253695"/>
                      <a:pt x="193701" y="380848"/>
                    </a:cubicBezTo>
                    <a:lnTo>
                      <a:pt x="509690" y="380848"/>
                    </a:lnTo>
                    <a:lnTo>
                      <a:pt x="509690" y="240195"/>
                    </a:lnTo>
                    <a:lnTo>
                      <a:pt x="852563" y="521501"/>
                    </a:lnTo>
                    <a:lnTo>
                      <a:pt x="509690" y="802807"/>
                    </a:lnTo>
                    <a:lnTo>
                      <a:pt x="509690" y="662154"/>
                    </a:lnTo>
                    <a:lnTo>
                      <a:pt x="193700" y="662154"/>
                    </a:lnTo>
                    <a:cubicBezTo>
                      <a:pt x="248125" y="789308"/>
                      <a:pt x="374420" y="878303"/>
                      <a:pt x="521502" y="878303"/>
                    </a:cubicBezTo>
                    <a:cubicBezTo>
                      <a:pt x="718558" y="878303"/>
                      <a:pt x="878303" y="718558"/>
                      <a:pt x="878303" y="521502"/>
                    </a:cubicBezTo>
                    <a:cubicBezTo>
                      <a:pt x="878303" y="324446"/>
                      <a:pt x="718558" y="164701"/>
                      <a:pt x="521502" y="164701"/>
                    </a:cubicBezTo>
                    <a:close/>
                    <a:moveTo>
                      <a:pt x="521502" y="0"/>
                    </a:moveTo>
                    <a:cubicBezTo>
                      <a:pt x="809520" y="0"/>
                      <a:pt x="1043004" y="233484"/>
                      <a:pt x="1043004" y="521502"/>
                    </a:cubicBezTo>
                    <a:cubicBezTo>
                      <a:pt x="1043004" y="809520"/>
                      <a:pt x="809520" y="1043004"/>
                      <a:pt x="521502" y="1043004"/>
                    </a:cubicBezTo>
                    <a:cubicBezTo>
                      <a:pt x="233484" y="1043004"/>
                      <a:pt x="0" y="809520"/>
                      <a:pt x="0" y="521502"/>
                    </a:cubicBezTo>
                    <a:cubicBezTo>
                      <a:pt x="0" y="233484"/>
                      <a:pt x="233484" y="0"/>
                      <a:pt x="521502" y="0"/>
                    </a:cubicBezTo>
                    <a:close/>
                  </a:path>
                </a:pathLst>
              </a:custGeom>
              <a:solidFill>
                <a:schemeClr val="accent5"/>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14" tIns="45708" rIns="91414" bIns="45708" numCol="1" rtlCol="0" anchor="ctr" anchorCtr="0" compatLnSpc="1">
                <a:prstTxWarp prst="textNoShape">
                  <a:avLst/>
                </a:prstTxWarp>
              </a:bodyPr>
              <a:lstStyle/>
              <a:p>
                <a:pPr algn="ctr" defTabSz="548105" fontAlgn="base">
                  <a:spcBef>
                    <a:spcPct val="0"/>
                  </a:spcBef>
                  <a:spcAft>
                    <a:spcPct val="0"/>
                  </a:spcAft>
                </a:pPr>
                <a:endParaRPr lang="en-US" dirty="0">
                  <a:gradFill>
                    <a:gsLst>
                      <a:gs pos="0">
                        <a:srgbClr val="FFFFFF"/>
                      </a:gs>
                      <a:gs pos="100000">
                        <a:srgbClr val="FFFFFF"/>
                      </a:gs>
                    </a:gsLst>
                    <a:lin ang="5400000" scaled="0"/>
                  </a:gradFill>
                </a:endParaRPr>
              </a:p>
            </p:txBody>
          </p:sp>
          <p:grpSp>
            <p:nvGrpSpPr>
              <p:cNvPr id="52" name="Group 51"/>
              <p:cNvGrpSpPr/>
              <p:nvPr/>
            </p:nvGrpSpPr>
            <p:grpSpPr>
              <a:xfrm>
                <a:off x="1413678" y="2006369"/>
                <a:ext cx="1841160" cy="3366870"/>
                <a:chOff x="1413678" y="2006369"/>
                <a:chExt cx="1841160" cy="3366870"/>
              </a:xfrm>
            </p:grpSpPr>
            <p:sp>
              <p:nvSpPr>
                <p:cNvPr id="53" name="Arc 52"/>
                <p:cNvSpPr/>
                <p:nvPr/>
              </p:nvSpPr>
              <p:spPr>
                <a:xfrm>
                  <a:off x="1413679" y="2006369"/>
                  <a:ext cx="1841159" cy="1608671"/>
                </a:xfrm>
                <a:prstGeom prst="arc">
                  <a:avLst>
                    <a:gd name="adj1" fmla="val 5464244"/>
                    <a:gd name="adj2" fmla="val 10744872"/>
                  </a:avLst>
                </a:prstGeom>
                <a:ln w="41275">
                  <a:solidFill>
                    <a:schemeClr val="accent1"/>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defTabSz="548388"/>
                  <a:endParaRPr lang="en-US" dirty="0">
                    <a:solidFill>
                      <a:srgbClr val="FFFFFF"/>
                    </a:solidFill>
                  </a:endParaRPr>
                </a:p>
              </p:txBody>
            </p:sp>
            <p:sp>
              <p:nvSpPr>
                <p:cNvPr id="54" name="Arc 53"/>
                <p:cNvSpPr/>
                <p:nvPr/>
              </p:nvSpPr>
              <p:spPr>
                <a:xfrm flipV="1">
                  <a:off x="1413678" y="3774322"/>
                  <a:ext cx="1841160" cy="1598917"/>
                </a:xfrm>
                <a:prstGeom prst="arc">
                  <a:avLst>
                    <a:gd name="adj1" fmla="val 5464244"/>
                    <a:gd name="adj2" fmla="val 10744872"/>
                  </a:avLst>
                </a:prstGeom>
                <a:ln w="41275">
                  <a:solidFill>
                    <a:schemeClr val="accent3"/>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defTabSz="548388"/>
                  <a:endParaRPr lang="en-US" dirty="0">
                    <a:solidFill>
                      <a:srgbClr val="FFFFFF"/>
                    </a:solidFill>
                  </a:endParaRPr>
                </a:p>
              </p:txBody>
            </p:sp>
          </p:grpSp>
        </p:grpSp>
      </p:grpSp>
      <p:sp>
        <p:nvSpPr>
          <p:cNvPr id="55" name="cloud shape"/>
          <p:cNvSpPr/>
          <p:nvPr/>
        </p:nvSpPr>
        <p:spPr bwMode="auto">
          <a:xfrm>
            <a:off x="3979460" y="2478429"/>
            <a:ext cx="1656668" cy="577711"/>
          </a:xfrm>
          <a:custGeom>
            <a:avLst/>
            <a:gdLst/>
            <a:ahLst/>
            <a:cxnLst/>
            <a:rect l="l" t="t" r="r" b="b"/>
            <a:pathLst>
              <a:path w="2349500" h="990600">
                <a:moveTo>
                  <a:pt x="1244600" y="0"/>
                </a:moveTo>
                <a:cubicBezTo>
                  <a:pt x="1380754" y="0"/>
                  <a:pt x="1499652" y="66239"/>
                  <a:pt x="1562100" y="165569"/>
                </a:cubicBezTo>
                <a:cubicBezTo>
                  <a:pt x="1624548" y="66239"/>
                  <a:pt x="1743446" y="0"/>
                  <a:pt x="1879600" y="0"/>
                </a:cubicBezTo>
                <a:cubicBezTo>
                  <a:pt x="2083006" y="0"/>
                  <a:pt x="2247900" y="147836"/>
                  <a:pt x="2247900" y="330200"/>
                </a:cubicBezTo>
                <a:cubicBezTo>
                  <a:pt x="2247900" y="391533"/>
                  <a:pt x="2229248" y="448961"/>
                  <a:pt x="2195556" y="497382"/>
                </a:cubicBezTo>
                <a:cubicBezTo>
                  <a:pt x="2293596" y="545161"/>
                  <a:pt x="2349500" y="600945"/>
                  <a:pt x="2349500" y="660400"/>
                </a:cubicBezTo>
                <a:cubicBezTo>
                  <a:pt x="2349500" y="842764"/>
                  <a:pt x="1823547" y="990600"/>
                  <a:pt x="1174750" y="990600"/>
                </a:cubicBezTo>
                <a:cubicBezTo>
                  <a:pt x="525953" y="990600"/>
                  <a:pt x="0" y="842764"/>
                  <a:pt x="0" y="660400"/>
                </a:cubicBezTo>
                <a:cubicBezTo>
                  <a:pt x="0" y="562529"/>
                  <a:pt x="151486" y="474604"/>
                  <a:pt x="392290" y="414949"/>
                </a:cubicBezTo>
                <a:cubicBezTo>
                  <a:pt x="432559" y="308000"/>
                  <a:pt x="589966" y="228600"/>
                  <a:pt x="777875" y="228600"/>
                </a:cubicBezTo>
                <a:cubicBezTo>
                  <a:pt x="817621" y="228600"/>
                  <a:pt x="856002" y="232152"/>
                  <a:pt x="891992" y="239944"/>
                </a:cubicBezTo>
                <a:cubicBezTo>
                  <a:pt x="934373" y="101204"/>
                  <a:pt x="1076304" y="0"/>
                  <a:pt x="1244600" y="0"/>
                </a:cubicBezTo>
                <a:close/>
              </a:path>
            </a:pathLst>
          </a:custGeom>
          <a:solidFill>
            <a:srgbClr val="FFFFFF"/>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54826" tIns="27414" rIns="54826" bIns="27414" numCol="1" rtlCol="0" anchor="ctr" anchorCtr="0" compatLnSpc="1">
            <a:prstTxWarp prst="textNoShape">
              <a:avLst/>
            </a:prstTxWarp>
          </a:bodyPr>
          <a:lstStyle/>
          <a:p>
            <a:pPr algn="ctr" defTabSz="548105"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6" name="Hybrid"/>
          <p:cNvSpPr txBox="1">
            <a:spLocks/>
          </p:cNvSpPr>
          <p:nvPr/>
        </p:nvSpPr>
        <p:spPr>
          <a:xfrm>
            <a:off x="4205269" y="2731131"/>
            <a:ext cx="1371421" cy="199439"/>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800" b="0" kern="1200" cap="none" spc="-150" dirty="0" smtClean="0">
                <a:ln w="3175">
                  <a:noFill/>
                </a:ln>
                <a:solidFill>
                  <a:schemeClr val="bg1"/>
                </a:solidFill>
                <a:effectLst/>
                <a:latin typeface="Segoe UI" pitchFamily="34" charset="0"/>
                <a:ea typeface="+mn-ea"/>
                <a:cs typeface="Arial" charset="0"/>
              </a:defRPr>
            </a:lvl1pPr>
          </a:lstStyle>
          <a:p>
            <a:pPr algn="ctr" defTabSz="547948"/>
            <a:r>
              <a:rPr sz="1400" b="1" spc="-60" dirty="0">
                <a:gradFill>
                  <a:gsLst>
                    <a:gs pos="2917">
                      <a:srgbClr val="7FBA00"/>
                    </a:gs>
                    <a:gs pos="10833">
                      <a:srgbClr val="7FBA00"/>
                    </a:gs>
                  </a:gsLst>
                  <a:lin ang="5400000" scaled="0"/>
                </a:gradFill>
                <a:latin typeface="Segoe UI"/>
                <a:cs typeface="Segoe UI" pitchFamily="34" charset="0"/>
              </a:rPr>
              <a:t>HYBRID</a:t>
            </a:r>
            <a:r>
              <a:rPr sz="1400" spc="-60" dirty="0">
                <a:gradFill>
                  <a:gsLst>
                    <a:gs pos="2917">
                      <a:srgbClr val="7FBA00"/>
                    </a:gs>
                    <a:gs pos="10833">
                      <a:srgbClr val="7FBA00"/>
                    </a:gs>
                  </a:gsLst>
                  <a:lin ang="5400000" scaled="0"/>
                </a:gradFill>
                <a:latin typeface="Segoe UI"/>
                <a:cs typeface="Segoe UI" pitchFamily="34" charset="0"/>
              </a:rPr>
              <a:t> Cloud</a:t>
            </a:r>
          </a:p>
        </p:txBody>
      </p:sp>
      <p:grpSp>
        <p:nvGrpSpPr>
          <p:cNvPr id="93" name="Group 92"/>
          <p:cNvGrpSpPr/>
          <p:nvPr/>
        </p:nvGrpSpPr>
        <p:grpSpPr bwMode="gray">
          <a:xfrm>
            <a:off x="347210" y="3144398"/>
            <a:ext cx="7065086" cy="1391278"/>
            <a:chOff x="-195870" y="4315458"/>
            <a:chExt cx="11776679" cy="2318796"/>
          </a:xfrm>
        </p:grpSpPr>
        <p:sp>
          <p:nvSpPr>
            <p:cNvPr id="94" name="Rectangle 93"/>
            <p:cNvSpPr/>
            <p:nvPr/>
          </p:nvSpPr>
          <p:spPr bwMode="gray">
            <a:xfrm>
              <a:off x="2894012" y="4315458"/>
              <a:ext cx="2103121" cy="2103120"/>
            </a:xfrm>
            <a:prstGeom prst="rect">
              <a:avLst/>
            </a:prstGeom>
            <a:solidFill>
              <a:schemeClr val="accent3"/>
            </a:solidFill>
            <a:ln>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4" tIns="45708" rIns="91414" bIns="45708" numCol="1" rtlCol="0" anchor="ctr" anchorCtr="0" compatLnSpc="1">
              <a:prstTxWarp prst="textNoShape">
                <a:avLst/>
              </a:prstTxWarp>
            </a:bodyPr>
            <a:lstStyle/>
            <a:p>
              <a:pPr algn="ctr" defTabSz="548105"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95" name="Rectangle 94"/>
            <p:cNvSpPr/>
            <p:nvPr/>
          </p:nvSpPr>
          <p:spPr bwMode="gray">
            <a:xfrm>
              <a:off x="5088571" y="4315460"/>
              <a:ext cx="2103121" cy="2103119"/>
            </a:xfrm>
            <a:prstGeom prst="rect">
              <a:avLst/>
            </a:prstGeom>
            <a:solidFill>
              <a:schemeClr val="accent3"/>
            </a:solidFill>
            <a:ln>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4" tIns="45708" rIns="91414" bIns="45708" numCol="1" rtlCol="0" anchor="ctr" anchorCtr="0" compatLnSpc="1">
              <a:prstTxWarp prst="textNoShape">
                <a:avLst/>
              </a:prstTxWarp>
            </a:bodyPr>
            <a:lstStyle/>
            <a:p>
              <a:pPr algn="ctr" defTabSz="548105"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96" name="Rectangle 95"/>
            <p:cNvSpPr/>
            <p:nvPr/>
          </p:nvSpPr>
          <p:spPr bwMode="gray">
            <a:xfrm>
              <a:off x="7283130" y="4315459"/>
              <a:ext cx="2103121" cy="2103119"/>
            </a:xfrm>
            <a:prstGeom prst="rect">
              <a:avLst/>
            </a:prstGeom>
            <a:solidFill>
              <a:schemeClr val="accent3"/>
            </a:solidFill>
            <a:ln>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4" tIns="45708" rIns="91414" bIns="45708" numCol="1" rtlCol="0" anchor="ctr" anchorCtr="0" compatLnSpc="1">
              <a:prstTxWarp prst="textNoShape">
                <a:avLst/>
              </a:prstTxWarp>
            </a:bodyPr>
            <a:lstStyle/>
            <a:p>
              <a:pPr algn="ctr" defTabSz="548105"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97" name="Rectangle 96"/>
            <p:cNvSpPr/>
            <p:nvPr/>
          </p:nvSpPr>
          <p:spPr bwMode="gray">
            <a:xfrm>
              <a:off x="9477688" y="4315460"/>
              <a:ext cx="2103121" cy="2103117"/>
            </a:xfrm>
            <a:prstGeom prst="rect">
              <a:avLst/>
            </a:prstGeom>
            <a:solidFill>
              <a:schemeClr val="accent3"/>
            </a:solidFill>
            <a:ln>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4" tIns="45708" rIns="91414" bIns="45708" numCol="1" rtlCol="0" anchor="ctr" anchorCtr="0" compatLnSpc="1">
              <a:prstTxWarp prst="textNoShape">
                <a:avLst/>
              </a:prstTxWarp>
            </a:bodyPr>
            <a:lstStyle/>
            <a:p>
              <a:pPr algn="ctr" defTabSz="548105" fontAlgn="base">
                <a:spcBef>
                  <a:spcPct val="0"/>
                </a:spcBef>
                <a:spcAft>
                  <a:spcPct val="0"/>
                </a:spcAft>
              </a:pPr>
              <a:endParaRPr lang="en-US" dirty="0">
                <a:gradFill>
                  <a:gsLst>
                    <a:gs pos="0">
                      <a:srgbClr val="FFFFFF"/>
                    </a:gs>
                    <a:gs pos="100000">
                      <a:srgbClr val="FFFFFF"/>
                    </a:gs>
                  </a:gsLst>
                  <a:lin ang="5400000" scaled="0"/>
                </a:gradFill>
              </a:endParaRPr>
            </a:p>
          </p:txBody>
        </p:sp>
        <p:pic>
          <p:nvPicPr>
            <p:cNvPr id="98" name="Picture 14"/>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75787" t="51997"/>
            <a:stretch/>
          </p:blipFill>
          <p:spPr bwMode="gray">
            <a:xfrm>
              <a:off x="7950410" y="5506028"/>
              <a:ext cx="600328" cy="236887"/>
            </a:xfrm>
            <a:prstGeom prst="rect">
              <a:avLst/>
            </a:prstGeom>
            <a:noFill/>
            <a:extLst>
              <a:ext uri="{909E8E84-426E-40DD-AFC4-6F175D3DCCD1}">
                <a14:hiddenFill xmlns:a14="http://schemas.microsoft.com/office/drawing/2010/main">
                  <a:solidFill>
                    <a:srgbClr val="FFFFFF"/>
                  </a:solidFill>
                </a14:hiddenFill>
              </a:ext>
            </a:extLst>
          </p:spPr>
        </p:pic>
        <p:sp>
          <p:nvSpPr>
            <p:cNvPr id="99" name="Rectangle 98"/>
            <p:cNvSpPr/>
            <p:nvPr/>
          </p:nvSpPr>
          <p:spPr bwMode="gray">
            <a:xfrm>
              <a:off x="185130" y="5760938"/>
              <a:ext cx="2132011" cy="873316"/>
            </a:xfrm>
            <a:prstGeom prst="rect">
              <a:avLst/>
            </a:prstGeom>
          </p:spPr>
          <p:txBody>
            <a:bodyPr wrap="square">
              <a:spAutoFit/>
            </a:bodyPr>
            <a:lstStyle/>
            <a:p>
              <a:pPr algn="ctr" defTabSz="548388">
                <a:lnSpc>
                  <a:spcPct val="85000"/>
                </a:lnSpc>
              </a:pPr>
              <a:r>
                <a:rPr lang="en-US" sz="1100" dirty="0">
                  <a:gradFill>
                    <a:gsLst>
                      <a:gs pos="0">
                        <a:srgbClr val="FFFFFF"/>
                      </a:gs>
                      <a:gs pos="50000">
                        <a:srgbClr val="FFFFFF"/>
                      </a:gs>
                    </a:gsLst>
                    <a:lin ang="5400000" scaled="0"/>
                  </a:gradFill>
                  <a:latin typeface="Segoe UI"/>
                </a:rPr>
                <a:t>Microsoft Or </a:t>
              </a:r>
            </a:p>
            <a:p>
              <a:pPr algn="ctr" defTabSz="548388">
                <a:lnSpc>
                  <a:spcPct val="85000"/>
                </a:lnSpc>
              </a:pPr>
              <a:r>
                <a:rPr lang="en-US" sz="1100" dirty="0">
                  <a:gradFill>
                    <a:gsLst>
                      <a:gs pos="0">
                        <a:srgbClr val="FFFFFF"/>
                      </a:gs>
                      <a:gs pos="50000">
                        <a:srgbClr val="FFFFFF"/>
                      </a:gs>
                    </a:gsLst>
                    <a:lin ang="5400000" scaled="0"/>
                  </a:gradFill>
                  <a:latin typeface="Segoe UI"/>
                </a:rPr>
                <a:t>Partner Syndicated</a:t>
              </a:r>
            </a:p>
          </p:txBody>
        </p:sp>
        <p:pic>
          <p:nvPicPr>
            <p:cNvPr id="100" name="Picture 4" descr="E:\MyPhotos\DVD\DVD_Art_08-10-2010\Logos\Microsoft Office 365\Office 365 h_rgb_r.png"/>
            <p:cNvPicPr>
              <a:picLocks noChangeAspect="1" noChangeArrowheads="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gray">
            <a:xfrm>
              <a:off x="3298879" y="5192368"/>
              <a:ext cx="1293388" cy="349300"/>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01" name="Picture 2" descr="E:\MyPhotos\DVD\DVD_Art_08-10-2010\Logos\Windows Intune\Win-Intune_h_r.png"/>
            <p:cNvPicPr>
              <a:picLocks noChangeAspect="1" noChangeArrowheads="1"/>
            </p:cNvPicPr>
            <p:nvPr/>
          </p:nvPicPr>
          <p:blipFill rotWithShape="1">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p:blipFill>
          <p:spPr bwMode="gray">
            <a:xfrm>
              <a:off x="9694021" y="5425027"/>
              <a:ext cx="1670456" cy="191250"/>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02" name="SQL Azure" descr="C:\Users\Public\Pictures\Microsoft Clipart\Logos\Windows Azure (platform)\SQL Azure\SQL Azure logo r.png"/>
            <p:cNvPicPr>
              <a:picLocks noChangeAspect="1" noChangeArrowheads="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gray">
            <a:xfrm>
              <a:off x="5392649" y="5160473"/>
              <a:ext cx="1340256" cy="413094"/>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03" name="Windows Azure"/>
            <p:cNvPicPr>
              <a:picLocks noChangeAspect="1" noChangeArrowheads="1"/>
            </p:cNvPicPr>
            <p:nvPr/>
          </p:nvPicPr>
          <p:blipFill>
            <a:blip r:embed="rId10" cstate="print">
              <a:extLst>
                <a:ext uri="{28A0092B-C50C-407E-A947-70E740481C1C}">
                  <a14:useLocalDpi xmlns:a14="http://schemas.microsoft.com/office/drawing/2010/main" val="0"/>
                </a:ext>
              </a:extLst>
            </a:blip>
            <a:stretch>
              <a:fillRect/>
            </a:stretch>
          </p:blipFill>
          <p:spPr bwMode="gray">
            <a:xfrm>
              <a:off x="9695677" y="5067860"/>
              <a:ext cx="1667144" cy="193782"/>
            </a:xfrm>
            <a:prstGeom prst="rect">
              <a:avLst/>
            </a:prstGeom>
            <a:noFill/>
            <a:effectLst/>
            <a:extLst>
              <a:ext uri="{909E8E84-426E-40DD-AFC4-6F175D3DCCD1}">
                <a14:hiddenFill xmlns:a14="http://schemas.microsoft.com/office/drawing/2010/main">
                  <a:solidFill>
                    <a:srgbClr val="FFFFFF"/>
                  </a:solidFill>
                </a14:hiddenFill>
              </a:ext>
            </a:extLst>
          </p:spPr>
        </p:pic>
        <p:sp>
          <p:nvSpPr>
            <p:cNvPr id="104" name="cloud shape"/>
            <p:cNvSpPr/>
            <p:nvPr/>
          </p:nvSpPr>
          <p:spPr bwMode="gray">
            <a:xfrm>
              <a:off x="-129600" y="4681505"/>
              <a:ext cx="2761473" cy="962851"/>
            </a:xfrm>
            <a:custGeom>
              <a:avLst/>
              <a:gdLst/>
              <a:ahLst/>
              <a:cxnLst/>
              <a:rect l="l" t="t" r="r" b="b"/>
              <a:pathLst>
                <a:path w="2349500" h="990600">
                  <a:moveTo>
                    <a:pt x="1244600" y="0"/>
                  </a:moveTo>
                  <a:cubicBezTo>
                    <a:pt x="1380754" y="0"/>
                    <a:pt x="1499652" y="66239"/>
                    <a:pt x="1562100" y="165569"/>
                  </a:cubicBezTo>
                  <a:cubicBezTo>
                    <a:pt x="1624548" y="66239"/>
                    <a:pt x="1743446" y="0"/>
                    <a:pt x="1879600" y="0"/>
                  </a:cubicBezTo>
                  <a:cubicBezTo>
                    <a:pt x="2083006" y="0"/>
                    <a:pt x="2247900" y="147836"/>
                    <a:pt x="2247900" y="330200"/>
                  </a:cubicBezTo>
                  <a:cubicBezTo>
                    <a:pt x="2247900" y="391533"/>
                    <a:pt x="2229248" y="448961"/>
                    <a:pt x="2195556" y="497382"/>
                  </a:cubicBezTo>
                  <a:cubicBezTo>
                    <a:pt x="2293596" y="545161"/>
                    <a:pt x="2349500" y="600945"/>
                    <a:pt x="2349500" y="660400"/>
                  </a:cubicBezTo>
                  <a:cubicBezTo>
                    <a:pt x="2349500" y="842764"/>
                    <a:pt x="1823547" y="990600"/>
                    <a:pt x="1174750" y="990600"/>
                  </a:cubicBezTo>
                  <a:cubicBezTo>
                    <a:pt x="525953" y="990600"/>
                    <a:pt x="0" y="842764"/>
                    <a:pt x="0" y="660400"/>
                  </a:cubicBezTo>
                  <a:cubicBezTo>
                    <a:pt x="0" y="562529"/>
                    <a:pt x="151486" y="474604"/>
                    <a:pt x="392290" y="414949"/>
                  </a:cubicBezTo>
                  <a:cubicBezTo>
                    <a:pt x="432559" y="308000"/>
                    <a:pt x="589966" y="228600"/>
                    <a:pt x="777875" y="228600"/>
                  </a:cubicBezTo>
                  <a:cubicBezTo>
                    <a:pt x="817621" y="228600"/>
                    <a:pt x="856002" y="232152"/>
                    <a:pt x="891992" y="239944"/>
                  </a:cubicBezTo>
                  <a:cubicBezTo>
                    <a:pt x="934373" y="101204"/>
                    <a:pt x="1076304" y="0"/>
                    <a:pt x="1244600" y="0"/>
                  </a:cubicBezTo>
                  <a:close/>
                </a:path>
              </a:pathLst>
            </a:custGeom>
            <a:solidFill>
              <a:srgbClr val="FFFFFF"/>
            </a:solidFill>
            <a:ln>
              <a:solidFill>
                <a:schemeClr val="accent3"/>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14" tIns="45708" rIns="91414" bIns="45708" numCol="1" rtlCol="0" anchor="ctr" anchorCtr="0" compatLnSpc="1">
              <a:prstTxWarp prst="textNoShape">
                <a:avLst/>
              </a:prstTxWarp>
            </a:bodyPr>
            <a:lstStyle/>
            <a:p>
              <a:pPr algn="ctr" defTabSz="548105"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105" name="Title 1"/>
            <p:cNvSpPr txBox="1">
              <a:spLocks/>
            </p:cNvSpPr>
            <p:nvPr/>
          </p:nvSpPr>
          <p:spPr bwMode="gray">
            <a:xfrm>
              <a:off x="-195870" y="5002638"/>
              <a:ext cx="2894012" cy="658180"/>
            </a:xfrm>
            <a:prstGeom prst="rect">
              <a:avLst/>
            </a:prstGeom>
          </p:spPr>
          <p:txBody>
            <a:bodyPr vert="horz" wrap="square" lIns="0" tIns="0" rIns="0" bIns="0" rtlCol="0" anchor="ctr">
              <a:noAutofit/>
            </a:bodyPr>
            <a:lstStyle>
              <a:lvl1pPr algn="l" defTabSz="914363" rtl="0" eaLnBrk="1" latinLnBrk="0" hangingPunct="1">
                <a:lnSpc>
                  <a:spcPct val="90000"/>
                </a:lnSpc>
                <a:spcBef>
                  <a:spcPct val="0"/>
                </a:spcBef>
                <a:buNone/>
                <a:defRPr lang="en-US" sz="4800" b="0" kern="1200" cap="none" spc="-150" dirty="0" smtClean="0">
                  <a:ln w="3175">
                    <a:noFill/>
                  </a:ln>
                  <a:solidFill>
                    <a:schemeClr val="bg1"/>
                  </a:solidFill>
                  <a:effectLst/>
                  <a:latin typeface="Segoe UI" pitchFamily="34" charset="0"/>
                  <a:ea typeface="+mn-ea"/>
                  <a:cs typeface="Arial" charset="0"/>
                </a:defRPr>
              </a:lvl1pPr>
            </a:lstStyle>
            <a:p>
              <a:pPr algn="ctr" defTabSz="547948"/>
              <a:r>
                <a:rPr sz="1400" b="1" spc="-60" dirty="0">
                  <a:gradFill>
                    <a:gsLst>
                      <a:gs pos="32083">
                        <a:schemeClr val="accent3">
                          <a:lumMod val="75000"/>
                        </a:schemeClr>
                      </a:gs>
                      <a:gs pos="22083">
                        <a:schemeClr val="accent3">
                          <a:lumMod val="75000"/>
                        </a:schemeClr>
                      </a:gs>
                    </a:gsLst>
                    <a:lin ang="5400000" scaled="0"/>
                  </a:gradFill>
                  <a:latin typeface="Segoe UI"/>
                  <a:cs typeface="Segoe UI" pitchFamily="34" charset="0"/>
                </a:rPr>
                <a:t>PUBLIC</a:t>
              </a:r>
              <a:r>
                <a:rPr sz="1400" spc="-60" dirty="0">
                  <a:gradFill>
                    <a:gsLst>
                      <a:gs pos="32083">
                        <a:schemeClr val="accent3">
                          <a:lumMod val="75000"/>
                        </a:schemeClr>
                      </a:gs>
                      <a:gs pos="22083">
                        <a:schemeClr val="accent3">
                          <a:lumMod val="75000"/>
                        </a:schemeClr>
                      </a:gs>
                    </a:gsLst>
                    <a:lin ang="5400000" scaled="0"/>
                  </a:gradFill>
                  <a:latin typeface="Segoe UI"/>
                  <a:cs typeface="Segoe UI" pitchFamily="34" charset="0"/>
                </a:rPr>
                <a:t> Cloud</a:t>
              </a:r>
            </a:p>
          </p:txBody>
        </p:sp>
        <p:pic>
          <p:nvPicPr>
            <p:cNvPr id="106" name="Picture 14"/>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24213"/>
            <a:stretch/>
          </p:blipFill>
          <p:spPr bwMode="gray">
            <a:xfrm>
              <a:off x="7440793" y="5048178"/>
              <a:ext cx="1879089" cy="493490"/>
            </a:xfrm>
            <a:prstGeom prst="rect">
              <a:avLst/>
            </a:prstGeom>
            <a:noFill/>
            <a:extLst>
              <a:ext uri="{909E8E84-426E-40DD-AFC4-6F175D3DCCD1}">
                <a14:hiddenFill xmlns:a14="http://schemas.microsoft.com/office/drawing/2010/main">
                  <a:solidFill>
                    <a:srgbClr val="FFFFFF"/>
                  </a:solidFill>
                </a14:hiddenFill>
              </a:ext>
            </a:extLst>
          </p:spPr>
        </p:pic>
      </p:grpSp>
      <p:sp>
        <p:nvSpPr>
          <p:cNvPr id="3" name="Rectangle 2"/>
          <p:cNvSpPr/>
          <p:nvPr/>
        </p:nvSpPr>
        <p:spPr bwMode="auto">
          <a:xfrm>
            <a:off x="7412297" y="1124274"/>
            <a:ext cx="1731704" cy="3281994"/>
          </a:xfrm>
          <a:prstGeom prst="rect">
            <a:avLst/>
          </a:prstGeom>
          <a:gradFill flip="none" rotWithShape="1">
            <a:gsLst>
              <a:gs pos="0">
                <a:srgbClr val="000000">
                  <a:alpha val="7000"/>
                </a:srgbClr>
              </a:gs>
              <a:gs pos="100000">
                <a:srgbClr val="000000">
                  <a:alpha val="7000"/>
                </a:srgbClr>
              </a:gs>
              <a:gs pos="25000">
                <a:srgbClr val="000000">
                  <a:alpha val="0"/>
                </a:srgbClr>
              </a:gs>
              <a:gs pos="78000">
                <a:srgbClr val="000000">
                  <a:alpha val="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ctr" anchorCtr="0" forceAA="0" compatLnSpc="1">
            <a:prstTxWarp prst="textNoShape">
              <a:avLst/>
            </a:prstTxWarp>
            <a:noAutofit/>
          </a:bodyPr>
          <a:lstStyle/>
          <a:p>
            <a:pPr algn="ctr" defTabSz="685637"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5" name="Group 4"/>
          <p:cNvGrpSpPr/>
          <p:nvPr/>
        </p:nvGrpSpPr>
        <p:grpSpPr bwMode="gray">
          <a:xfrm>
            <a:off x="305407" y="778669"/>
            <a:ext cx="7106891" cy="1613571"/>
            <a:chOff x="407102" y="1038224"/>
            <a:chExt cx="9473387" cy="2151428"/>
          </a:xfrm>
        </p:grpSpPr>
        <p:sp>
          <p:nvSpPr>
            <p:cNvPr id="71" name="Rectangle 70"/>
            <p:cNvSpPr/>
            <p:nvPr/>
          </p:nvSpPr>
          <p:spPr bwMode="gray">
            <a:xfrm>
              <a:off x="2933763" y="1499032"/>
              <a:ext cx="1681839" cy="1682496"/>
            </a:xfrm>
            <a:prstGeom prst="rect">
              <a:avLst/>
            </a:prstGeom>
            <a:solidFill>
              <a:schemeClr val="accent1"/>
            </a:solidFill>
            <a:ln>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4" tIns="45708" rIns="91414" bIns="45708" numCol="1" rtlCol="0" anchor="ctr" anchorCtr="0" compatLnSpc="1">
              <a:prstTxWarp prst="textNoShape">
                <a:avLst/>
              </a:prstTxWarp>
            </a:bodyPr>
            <a:lstStyle/>
            <a:p>
              <a:pPr algn="ctr" defTabSz="548105"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75" name="Rectangle 74"/>
            <p:cNvSpPr/>
            <p:nvPr/>
          </p:nvSpPr>
          <p:spPr bwMode="gray">
            <a:xfrm>
              <a:off x="4688725" y="1499032"/>
              <a:ext cx="1681839" cy="1682495"/>
            </a:xfrm>
            <a:prstGeom prst="rect">
              <a:avLst/>
            </a:prstGeom>
            <a:solidFill>
              <a:schemeClr val="accent1"/>
            </a:solidFill>
            <a:ln>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4" tIns="45708" rIns="91414" bIns="45708" numCol="1" rtlCol="0" anchor="ctr" anchorCtr="0" compatLnSpc="1">
              <a:prstTxWarp prst="textNoShape">
                <a:avLst/>
              </a:prstTxWarp>
            </a:bodyPr>
            <a:lstStyle/>
            <a:p>
              <a:pPr algn="ctr" defTabSz="548105"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77" name="Rectangle 76"/>
            <p:cNvSpPr/>
            <p:nvPr/>
          </p:nvSpPr>
          <p:spPr bwMode="gray">
            <a:xfrm>
              <a:off x="6443686" y="1499033"/>
              <a:ext cx="1681839" cy="1682494"/>
            </a:xfrm>
            <a:prstGeom prst="rect">
              <a:avLst/>
            </a:prstGeom>
            <a:solidFill>
              <a:schemeClr val="accent1"/>
            </a:solidFill>
            <a:ln>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4" tIns="45708" rIns="91414" bIns="45708" numCol="1" rtlCol="0" anchor="ctr" anchorCtr="0" compatLnSpc="1">
              <a:prstTxWarp prst="textNoShape">
                <a:avLst/>
              </a:prstTxWarp>
            </a:bodyPr>
            <a:lstStyle/>
            <a:p>
              <a:pPr algn="ctr" defTabSz="548105"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78" name="Rectangle 77"/>
            <p:cNvSpPr/>
            <p:nvPr/>
          </p:nvSpPr>
          <p:spPr bwMode="gray">
            <a:xfrm>
              <a:off x="8198648" y="1499032"/>
              <a:ext cx="1681839" cy="1682494"/>
            </a:xfrm>
            <a:prstGeom prst="rect">
              <a:avLst/>
            </a:prstGeom>
            <a:solidFill>
              <a:schemeClr val="accent1"/>
            </a:solidFill>
            <a:ln>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4" tIns="45708" rIns="91414" bIns="45708" numCol="1" rtlCol="0" anchor="ctr" anchorCtr="0" compatLnSpc="1">
              <a:prstTxWarp prst="textNoShape">
                <a:avLst/>
              </a:prstTxWarp>
            </a:bodyPr>
            <a:lstStyle/>
            <a:p>
              <a:pPr algn="ctr" defTabSz="548105" fontAlgn="base">
                <a:spcBef>
                  <a:spcPct val="0"/>
                </a:spcBef>
                <a:spcAft>
                  <a:spcPct val="0"/>
                </a:spcAft>
              </a:pPr>
              <a:endParaRPr lang="en-US" dirty="0">
                <a:gradFill>
                  <a:gsLst>
                    <a:gs pos="0">
                      <a:srgbClr val="FFFFFF"/>
                    </a:gs>
                    <a:gs pos="100000">
                      <a:srgbClr val="FFFFFF"/>
                    </a:gs>
                  </a:gsLst>
                  <a:lin ang="5400000" scaled="0"/>
                </a:gradFill>
              </a:endParaRPr>
            </a:p>
          </p:txBody>
        </p:sp>
        <p:pic>
          <p:nvPicPr>
            <p:cNvPr id="80" name="Picture 14"/>
            <p:cNvPicPr>
              <a:picLocks noChangeAspect="1" noChangeArrowheads="1"/>
            </p:cNvPicPr>
            <p:nvPr/>
          </p:nvPicPr>
          <p:blipFill>
            <a:blip r:embed="rId11" cstate="print">
              <a:extLst>
                <a:ext uri="{28A0092B-C50C-407E-A947-70E740481C1C}">
                  <a14:useLocalDpi xmlns:a14="http://schemas.microsoft.com/office/drawing/2010/main" val="0"/>
                </a:ext>
              </a:extLst>
            </a:blip>
            <a:stretch>
              <a:fillRect/>
            </a:stretch>
          </p:blipFill>
          <p:spPr bwMode="gray">
            <a:xfrm>
              <a:off x="6728154" y="2145269"/>
              <a:ext cx="1112903" cy="390023"/>
            </a:xfrm>
            <a:prstGeom prst="rect">
              <a:avLst/>
            </a:prstGeom>
            <a:noFill/>
            <a:extLst>
              <a:ext uri="{909E8E84-426E-40DD-AFC4-6F175D3DCCD1}">
                <a14:hiddenFill xmlns:a14="http://schemas.microsoft.com/office/drawing/2010/main">
                  <a:solidFill>
                    <a:srgbClr val="FFFFFF"/>
                  </a:solidFill>
                </a14:hiddenFill>
              </a:ext>
            </a:extLst>
          </p:spPr>
        </p:pic>
        <p:pic>
          <p:nvPicPr>
            <p:cNvPr id="81" name="Picture 19"/>
            <p:cNvPicPr>
              <a:picLocks noChangeAspect="1" noChangeArrowheads="1"/>
            </p:cNvPicPr>
            <p:nvPr/>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bwMode="gray">
            <a:xfrm>
              <a:off x="5011447" y="2208606"/>
              <a:ext cx="1036395" cy="263347"/>
            </a:xfrm>
            <a:prstGeom prst="rect">
              <a:avLst/>
            </a:prstGeom>
            <a:noFill/>
            <a:extLst>
              <a:ext uri="{909E8E84-426E-40DD-AFC4-6F175D3DCCD1}">
                <a14:hiddenFill xmlns:a14="http://schemas.microsoft.com/office/drawing/2010/main">
                  <a:solidFill>
                    <a:srgbClr val="FFFFFF"/>
                  </a:solidFill>
                </a14:hiddenFill>
              </a:ext>
            </a:extLst>
          </p:spPr>
        </p:pic>
        <p:grpSp>
          <p:nvGrpSpPr>
            <p:cNvPr id="82" name="Group 81"/>
            <p:cNvGrpSpPr/>
            <p:nvPr/>
          </p:nvGrpSpPr>
          <p:grpSpPr bwMode="gray">
            <a:xfrm>
              <a:off x="3036606" y="1849399"/>
              <a:ext cx="1476155" cy="893801"/>
              <a:chOff x="3046376" y="2091881"/>
              <a:chExt cx="1845915" cy="1117252"/>
            </a:xfrm>
          </p:grpSpPr>
          <p:pic>
            <p:nvPicPr>
              <p:cNvPr id="90" name="Picture 16"/>
              <p:cNvPicPr>
                <a:picLocks noChangeAspect="1" noChangeArrowheads="1"/>
              </p:cNvPicPr>
              <p:nvPr/>
            </p:nvPicPr>
            <p:blipFill>
              <a:blip r:embed="rId14" cstate="print">
                <a:extLst>
                  <a:ext uri="{BEBA8EAE-BF5A-486C-A8C5-ECC9F3942E4B}">
                    <a14:imgProps xmlns:a14="http://schemas.microsoft.com/office/drawing/2010/main">
                      <a14:imgLayer r:embed="rId15">
                        <a14:imgEffect>
                          <a14:brightnessContrast bright="100000"/>
                        </a14:imgEffect>
                      </a14:imgLayer>
                    </a14:imgProps>
                  </a:ext>
                  <a:ext uri="{28A0092B-C50C-407E-A947-70E740481C1C}">
                    <a14:useLocalDpi xmlns:a14="http://schemas.microsoft.com/office/drawing/2010/main" val="0"/>
                  </a:ext>
                </a:extLst>
              </a:blip>
              <a:stretch>
                <a:fillRect/>
              </a:stretch>
            </p:blipFill>
            <p:spPr bwMode="gray">
              <a:xfrm>
                <a:off x="3046376" y="2889093"/>
                <a:ext cx="1684421" cy="320040"/>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17"/>
              <p:cNvPicPr>
                <a:picLocks noChangeAspect="1" noChangeArrowheads="1"/>
              </p:cNvPicPr>
              <p:nvPr/>
            </p:nvPicPr>
            <p:blipFill rotWithShape="1">
              <a:blip r:embed="rId16" cstate="print">
                <a:extLst>
                  <a:ext uri="{BEBA8EAE-BF5A-486C-A8C5-ECC9F3942E4B}">
                    <a14:imgProps xmlns:a14="http://schemas.microsoft.com/office/drawing/2010/main">
                      <a14:imgLayer r:embed="rId17">
                        <a14:imgEffect>
                          <a14:brightnessContrast bright="100000"/>
                        </a14:imgEffect>
                      </a14:imgLayer>
                    </a14:imgProps>
                  </a:ext>
                  <a:ext uri="{28A0092B-C50C-407E-A947-70E740481C1C}">
                    <a14:useLocalDpi xmlns:a14="http://schemas.microsoft.com/office/drawing/2010/main" val="0"/>
                  </a:ext>
                </a:extLst>
              </a:blip>
              <a:srcRect r="14114"/>
              <a:stretch/>
            </p:blipFill>
            <p:spPr bwMode="gray">
              <a:xfrm>
                <a:off x="3046376" y="2091881"/>
                <a:ext cx="1845915" cy="320040"/>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18"/>
              <p:cNvPicPr>
                <a:picLocks noChangeAspect="1" noChangeArrowheads="1"/>
              </p:cNvPicPr>
              <p:nvPr/>
            </p:nvPicPr>
            <p:blipFill rotWithShape="1">
              <a:blip r:embed="rId18" cstate="print">
                <a:extLst>
                  <a:ext uri="{BEBA8EAE-BF5A-486C-A8C5-ECC9F3942E4B}">
                    <a14:imgProps xmlns:a14="http://schemas.microsoft.com/office/drawing/2010/main">
                      <a14:imgLayer r:embed="rId19">
                        <a14:imgEffect>
                          <a14:brightnessContrast bright="100000"/>
                        </a14:imgEffect>
                      </a14:imgLayer>
                    </a14:imgProps>
                  </a:ext>
                  <a:ext uri="{28A0092B-C50C-407E-A947-70E740481C1C}">
                    <a14:useLocalDpi xmlns:a14="http://schemas.microsoft.com/office/drawing/2010/main" val="0"/>
                  </a:ext>
                </a:extLst>
              </a:blip>
              <a:srcRect r="18697"/>
              <a:stretch/>
            </p:blipFill>
            <p:spPr bwMode="gray">
              <a:xfrm>
                <a:off x="3046376" y="2490486"/>
                <a:ext cx="1257016" cy="320040"/>
              </a:xfrm>
              <a:prstGeom prst="rect">
                <a:avLst/>
              </a:prstGeom>
              <a:noFill/>
              <a:effectLst/>
              <a:extLst>
                <a:ext uri="{909E8E84-426E-40DD-AFC4-6F175D3DCCD1}">
                  <a14:hiddenFill xmlns:a14="http://schemas.microsoft.com/office/drawing/2010/main">
                    <a:solidFill>
                      <a:srgbClr val="FFFFFF"/>
                    </a:solidFill>
                  </a14:hiddenFill>
                </a:ext>
              </a:extLst>
            </p:spPr>
          </p:pic>
        </p:grpSp>
        <p:sp>
          <p:nvSpPr>
            <p:cNvPr id="83" name="Database Platform"/>
            <p:cNvSpPr txBox="1"/>
            <p:nvPr/>
          </p:nvSpPr>
          <p:spPr bwMode="gray">
            <a:xfrm>
              <a:off x="4688726" y="1038224"/>
              <a:ext cx="1681839" cy="410009"/>
            </a:xfrm>
            <a:prstGeom prst="rect">
              <a:avLst/>
            </a:prstGeom>
            <a:noFill/>
          </p:spPr>
          <p:txBody>
            <a:bodyPr wrap="square" lIns="0" tIns="0" rIns="0" bIns="0" rtlCol="0" anchor="b" anchorCtr="0">
              <a:noAutofit/>
            </a:bodyPr>
            <a:lstStyle>
              <a:defPPr>
                <a:defRPr lang="en-US"/>
              </a:defPPr>
              <a:lvl1pPr algn="r" defTabSz="914400">
                <a:defRPr sz="1600" i="0">
                  <a:gradFill>
                    <a:gsLst>
                      <a:gs pos="0">
                        <a:schemeClr val="tx1"/>
                      </a:gs>
                      <a:gs pos="100000">
                        <a:schemeClr val="tx1"/>
                      </a:gs>
                    </a:gsLst>
                    <a:lin ang="10800000" scaled="0"/>
                  </a:gradFill>
                  <a:latin typeface="Segoe Semibold" pitchFamily="34" charset="0"/>
                </a:defRPr>
              </a:lvl1pPr>
            </a:lstStyle>
            <a:p>
              <a:pPr algn="ctr">
                <a:lnSpc>
                  <a:spcPct val="85000"/>
                </a:lnSpc>
              </a:pPr>
              <a:r>
                <a:rPr lang="en-US" sz="1400" dirty="0">
                  <a:gradFill>
                    <a:gsLst>
                      <a:gs pos="0">
                        <a:schemeClr val="tx1"/>
                      </a:gs>
                      <a:gs pos="86000">
                        <a:schemeClr val="tx1"/>
                      </a:gs>
                    </a:gsLst>
                    <a:lin ang="5400000" scaled="0"/>
                  </a:gradFill>
                  <a:latin typeface="Segoe UI"/>
                </a:rPr>
                <a:t>Database </a:t>
              </a:r>
            </a:p>
            <a:p>
              <a:pPr algn="ctr">
                <a:lnSpc>
                  <a:spcPct val="85000"/>
                </a:lnSpc>
              </a:pPr>
              <a:r>
                <a:rPr lang="en-US" sz="1400" dirty="0">
                  <a:gradFill>
                    <a:gsLst>
                      <a:gs pos="0">
                        <a:schemeClr val="tx1"/>
                      </a:gs>
                      <a:gs pos="86000">
                        <a:schemeClr val="tx1"/>
                      </a:gs>
                    </a:gsLst>
                    <a:lin ang="5400000" scaled="0"/>
                  </a:gradFill>
                  <a:latin typeface="Segoe UI"/>
                </a:rPr>
                <a:t>Platform</a:t>
              </a:r>
            </a:p>
          </p:txBody>
        </p:sp>
        <p:sp>
          <p:nvSpPr>
            <p:cNvPr id="84" name="Infra, Mgmt, Idenity"/>
            <p:cNvSpPr txBox="1"/>
            <p:nvPr/>
          </p:nvSpPr>
          <p:spPr bwMode="gray">
            <a:xfrm>
              <a:off x="8198649" y="1038225"/>
              <a:ext cx="1681840" cy="410008"/>
            </a:xfrm>
            <a:prstGeom prst="rect">
              <a:avLst/>
            </a:prstGeom>
            <a:noFill/>
          </p:spPr>
          <p:txBody>
            <a:bodyPr wrap="square" lIns="0" tIns="0" rIns="0" bIns="0" rtlCol="0" anchor="b" anchorCtr="0">
              <a:noAutofit/>
            </a:bodyPr>
            <a:lstStyle>
              <a:defPPr>
                <a:defRPr lang="en-US"/>
              </a:defPPr>
              <a:lvl1pPr algn="r" defTabSz="914400">
                <a:defRPr sz="1600" i="0">
                  <a:gradFill>
                    <a:gsLst>
                      <a:gs pos="0">
                        <a:schemeClr val="tx1"/>
                      </a:gs>
                      <a:gs pos="100000">
                        <a:schemeClr val="tx1"/>
                      </a:gs>
                    </a:gsLst>
                    <a:lin ang="10800000" scaled="0"/>
                  </a:gradFill>
                  <a:latin typeface="Segoe Semibold" pitchFamily="34" charset="0"/>
                </a:defRPr>
              </a:lvl1pPr>
            </a:lstStyle>
            <a:p>
              <a:pPr algn="ctr">
                <a:lnSpc>
                  <a:spcPct val="85000"/>
                </a:lnSpc>
              </a:pPr>
              <a:r>
                <a:rPr lang="en-US" sz="1400" dirty="0">
                  <a:gradFill>
                    <a:gsLst>
                      <a:gs pos="0">
                        <a:schemeClr val="tx1"/>
                      </a:gs>
                      <a:gs pos="86000">
                        <a:schemeClr val="tx1"/>
                      </a:gs>
                    </a:gsLst>
                    <a:lin ang="5400000" scaled="0"/>
                  </a:gradFill>
                  <a:latin typeface="Segoe UI"/>
                </a:rPr>
                <a:t>Infrastructure</a:t>
              </a:r>
              <a:endParaRPr lang="en-US" dirty="0">
                <a:gradFill>
                  <a:gsLst>
                    <a:gs pos="0">
                      <a:schemeClr val="tx1"/>
                    </a:gs>
                    <a:gs pos="86000">
                      <a:schemeClr val="tx1"/>
                    </a:gs>
                  </a:gsLst>
                  <a:lin ang="5400000" scaled="0"/>
                </a:gradFill>
                <a:latin typeface="Segoe UI"/>
              </a:endParaRPr>
            </a:p>
          </p:txBody>
        </p:sp>
        <p:sp>
          <p:nvSpPr>
            <p:cNvPr id="85" name="Bus App"/>
            <p:cNvSpPr txBox="1"/>
            <p:nvPr/>
          </p:nvSpPr>
          <p:spPr bwMode="gray">
            <a:xfrm>
              <a:off x="6443687" y="1038224"/>
              <a:ext cx="1681839" cy="410009"/>
            </a:xfrm>
            <a:prstGeom prst="rect">
              <a:avLst/>
            </a:prstGeom>
            <a:noFill/>
          </p:spPr>
          <p:txBody>
            <a:bodyPr wrap="square" lIns="0" tIns="0" rIns="0" bIns="0" rtlCol="0" anchor="b" anchorCtr="0">
              <a:noAutofit/>
            </a:bodyPr>
            <a:lstStyle>
              <a:defPPr>
                <a:defRPr lang="en-US"/>
              </a:defPPr>
              <a:lvl1pPr algn="r" defTabSz="914400">
                <a:defRPr sz="1600" i="0">
                  <a:gradFill>
                    <a:gsLst>
                      <a:gs pos="0">
                        <a:schemeClr val="tx1"/>
                      </a:gs>
                      <a:gs pos="100000">
                        <a:schemeClr val="tx1"/>
                      </a:gs>
                    </a:gsLst>
                    <a:lin ang="10800000" scaled="0"/>
                  </a:gradFill>
                  <a:latin typeface="Segoe Semibold" pitchFamily="34" charset="0"/>
                </a:defRPr>
              </a:lvl1pPr>
            </a:lstStyle>
            <a:p>
              <a:pPr algn="ctr">
                <a:lnSpc>
                  <a:spcPct val="85000"/>
                </a:lnSpc>
              </a:pPr>
              <a:r>
                <a:rPr lang="en-US" sz="1400" dirty="0">
                  <a:gradFill>
                    <a:gsLst>
                      <a:gs pos="0">
                        <a:schemeClr val="tx1"/>
                      </a:gs>
                      <a:gs pos="86000">
                        <a:schemeClr val="tx1"/>
                      </a:gs>
                    </a:gsLst>
                    <a:lin ang="5400000" scaled="0"/>
                  </a:gradFill>
                  <a:latin typeface="Segoe UI"/>
                </a:rPr>
                <a:t>Business</a:t>
              </a:r>
            </a:p>
            <a:p>
              <a:pPr algn="ctr">
                <a:lnSpc>
                  <a:spcPct val="85000"/>
                </a:lnSpc>
              </a:pPr>
              <a:r>
                <a:rPr lang="en-US" sz="1400" dirty="0">
                  <a:gradFill>
                    <a:gsLst>
                      <a:gs pos="0">
                        <a:schemeClr val="tx1"/>
                      </a:gs>
                      <a:gs pos="86000">
                        <a:schemeClr val="tx1"/>
                      </a:gs>
                    </a:gsLst>
                    <a:lin ang="5400000" scaled="0"/>
                  </a:gradFill>
                  <a:latin typeface="Segoe UI"/>
                </a:rPr>
                <a:t>Applications</a:t>
              </a:r>
            </a:p>
          </p:txBody>
        </p:sp>
        <p:sp>
          <p:nvSpPr>
            <p:cNvPr id="86" name="Productivity"/>
            <p:cNvSpPr txBox="1"/>
            <p:nvPr/>
          </p:nvSpPr>
          <p:spPr bwMode="gray">
            <a:xfrm>
              <a:off x="2933764" y="1038224"/>
              <a:ext cx="1681839" cy="398567"/>
            </a:xfrm>
            <a:prstGeom prst="rect">
              <a:avLst/>
            </a:prstGeom>
            <a:noFill/>
          </p:spPr>
          <p:txBody>
            <a:bodyPr wrap="square" lIns="0" tIns="0" rIns="0" bIns="0" rtlCol="0" anchor="b" anchorCtr="0">
              <a:noAutofit/>
            </a:bodyPr>
            <a:lstStyle>
              <a:defPPr>
                <a:defRPr lang="en-US"/>
              </a:defPPr>
              <a:lvl1pPr algn="r" defTabSz="914400">
                <a:defRPr sz="1600" i="0">
                  <a:gradFill>
                    <a:gsLst>
                      <a:gs pos="0">
                        <a:schemeClr val="tx1"/>
                      </a:gs>
                      <a:gs pos="100000">
                        <a:schemeClr val="tx1"/>
                      </a:gs>
                    </a:gsLst>
                    <a:lin ang="10800000" scaled="0"/>
                  </a:gradFill>
                  <a:latin typeface="Segoe Semibold" pitchFamily="34" charset="0"/>
                </a:defRPr>
              </a:lvl1pPr>
            </a:lstStyle>
            <a:p>
              <a:pPr algn="ctr">
                <a:lnSpc>
                  <a:spcPct val="85000"/>
                </a:lnSpc>
              </a:pPr>
              <a:r>
                <a:rPr lang="en-US" sz="1400" dirty="0">
                  <a:gradFill>
                    <a:gsLst>
                      <a:gs pos="0">
                        <a:schemeClr val="tx1"/>
                      </a:gs>
                      <a:gs pos="86000">
                        <a:schemeClr val="tx1"/>
                      </a:gs>
                    </a:gsLst>
                    <a:lin ang="5400000" scaled="0"/>
                  </a:gradFill>
                  <a:latin typeface="Segoe UI"/>
                </a:rPr>
                <a:t>Productivity</a:t>
              </a:r>
              <a:endParaRPr lang="en-US" dirty="0">
                <a:gradFill>
                  <a:gsLst>
                    <a:gs pos="0">
                      <a:schemeClr val="tx1"/>
                    </a:gs>
                    <a:gs pos="86000">
                      <a:schemeClr val="tx1"/>
                    </a:gs>
                  </a:gsLst>
                  <a:lin ang="5400000" scaled="0"/>
                </a:gradFill>
                <a:latin typeface="Segoe UI"/>
              </a:endParaRPr>
            </a:p>
          </p:txBody>
        </p:sp>
        <p:sp>
          <p:nvSpPr>
            <p:cNvPr id="87" name="cloud shape"/>
            <p:cNvSpPr/>
            <p:nvPr/>
          </p:nvSpPr>
          <p:spPr bwMode="gray">
            <a:xfrm>
              <a:off x="460097" y="1727758"/>
              <a:ext cx="2208315" cy="770281"/>
            </a:xfrm>
            <a:custGeom>
              <a:avLst/>
              <a:gdLst/>
              <a:ahLst/>
              <a:cxnLst/>
              <a:rect l="l" t="t" r="r" b="b"/>
              <a:pathLst>
                <a:path w="2349500" h="990600">
                  <a:moveTo>
                    <a:pt x="1244600" y="0"/>
                  </a:moveTo>
                  <a:cubicBezTo>
                    <a:pt x="1380754" y="0"/>
                    <a:pt x="1499652" y="66239"/>
                    <a:pt x="1562100" y="165569"/>
                  </a:cubicBezTo>
                  <a:cubicBezTo>
                    <a:pt x="1624548" y="66239"/>
                    <a:pt x="1743446" y="0"/>
                    <a:pt x="1879600" y="0"/>
                  </a:cubicBezTo>
                  <a:cubicBezTo>
                    <a:pt x="2083006" y="0"/>
                    <a:pt x="2247900" y="147836"/>
                    <a:pt x="2247900" y="330200"/>
                  </a:cubicBezTo>
                  <a:cubicBezTo>
                    <a:pt x="2247900" y="391533"/>
                    <a:pt x="2229248" y="448961"/>
                    <a:pt x="2195556" y="497382"/>
                  </a:cubicBezTo>
                  <a:cubicBezTo>
                    <a:pt x="2293596" y="545161"/>
                    <a:pt x="2349500" y="600945"/>
                    <a:pt x="2349500" y="660400"/>
                  </a:cubicBezTo>
                  <a:cubicBezTo>
                    <a:pt x="2349500" y="842764"/>
                    <a:pt x="1823547" y="990600"/>
                    <a:pt x="1174750" y="990600"/>
                  </a:cubicBezTo>
                  <a:cubicBezTo>
                    <a:pt x="525953" y="990600"/>
                    <a:pt x="0" y="842764"/>
                    <a:pt x="0" y="660400"/>
                  </a:cubicBezTo>
                  <a:cubicBezTo>
                    <a:pt x="0" y="562529"/>
                    <a:pt x="151486" y="474604"/>
                    <a:pt x="392290" y="414949"/>
                  </a:cubicBezTo>
                  <a:cubicBezTo>
                    <a:pt x="432559" y="308000"/>
                    <a:pt x="589966" y="228600"/>
                    <a:pt x="777875" y="228600"/>
                  </a:cubicBezTo>
                  <a:cubicBezTo>
                    <a:pt x="817621" y="228600"/>
                    <a:pt x="856002" y="232152"/>
                    <a:pt x="891992" y="239944"/>
                  </a:cubicBezTo>
                  <a:cubicBezTo>
                    <a:pt x="934373" y="101204"/>
                    <a:pt x="1076304" y="0"/>
                    <a:pt x="1244600" y="0"/>
                  </a:cubicBezTo>
                  <a:close/>
                </a:path>
              </a:pathLst>
            </a:custGeom>
            <a:solidFill>
              <a:srgbClr val="FFFFFF"/>
            </a:solidFill>
            <a:ln>
              <a:solidFill>
                <a:schemeClr val="accent1"/>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14" tIns="45708" rIns="91414" bIns="45708" numCol="1" rtlCol="0" anchor="ctr" anchorCtr="0" compatLnSpc="1">
              <a:prstTxWarp prst="textNoShape">
                <a:avLst/>
              </a:prstTxWarp>
            </a:bodyPr>
            <a:lstStyle/>
            <a:p>
              <a:pPr algn="ctr" defTabSz="548105"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88" name="Title 1"/>
            <p:cNvSpPr txBox="1">
              <a:spLocks/>
            </p:cNvSpPr>
            <p:nvPr/>
          </p:nvSpPr>
          <p:spPr bwMode="gray">
            <a:xfrm>
              <a:off x="407102" y="1979954"/>
              <a:ext cx="2314305" cy="526544"/>
            </a:xfrm>
            <a:prstGeom prst="rect">
              <a:avLst/>
            </a:prstGeom>
          </p:spPr>
          <p:txBody>
            <a:bodyPr vert="horz" wrap="square" lIns="0" tIns="0" rIns="0" bIns="0" rtlCol="0" anchor="ctr">
              <a:noAutofit/>
            </a:bodyPr>
            <a:lstStyle>
              <a:lvl1pPr algn="l" defTabSz="914363" rtl="0" eaLnBrk="1" latinLnBrk="0" hangingPunct="1">
                <a:lnSpc>
                  <a:spcPct val="90000"/>
                </a:lnSpc>
                <a:spcBef>
                  <a:spcPct val="0"/>
                </a:spcBef>
                <a:buNone/>
                <a:defRPr lang="en-US" sz="4800" b="0" kern="1200" cap="none" spc="-150" dirty="0" smtClean="0">
                  <a:ln w="3175">
                    <a:noFill/>
                  </a:ln>
                  <a:solidFill>
                    <a:schemeClr val="bg1"/>
                  </a:solidFill>
                  <a:effectLst/>
                  <a:latin typeface="Segoe UI" pitchFamily="34" charset="0"/>
                  <a:ea typeface="+mn-ea"/>
                  <a:cs typeface="Arial" charset="0"/>
                </a:defRPr>
              </a:lvl1pPr>
            </a:lstStyle>
            <a:p>
              <a:pPr algn="ctr" defTabSz="547948"/>
              <a:r>
                <a:rPr sz="1400" b="1" spc="-60" dirty="0">
                  <a:gradFill>
                    <a:gsLst>
                      <a:gs pos="1667">
                        <a:schemeClr val="bg2"/>
                      </a:gs>
                      <a:gs pos="100000">
                        <a:schemeClr val="bg2"/>
                      </a:gs>
                    </a:gsLst>
                    <a:lin ang="5400000" scaled="0"/>
                  </a:gradFill>
                  <a:latin typeface="Segoe UI"/>
                  <a:cs typeface="Segoe UI" pitchFamily="34" charset="0"/>
                </a:rPr>
                <a:t>PRIVATE</a:t>
              </a:r>
              <a:r>
                <a:rPr sz="1400" spc="-60" dirty="0">
                  <a:gradFill>
                    <a:gsLst>
                      <a:gs pos="1667">
                        <a:schemeClr val="bg2"/>
                      </a:gs>
                      <a:gs pos="100000">
                        <a:schemeClr val="bg2"/>
                      </a:gs>
                    </a:gsLst>
                    <a:lin ang="5400000" scaled="0"/>
                  </a:gradFill>
                  <a:latin typeface="Segoe UI"/>
                  <a:cs typeface="Segoe UI" pitchFamily="34" charset="0"/>
                </a:rPr>
                <a:t> Cloud</a:t>
              </a:r>
            </a:p>
          </p:txBody>
        </p:sp>
        <p:sp>
          <p:nvSpPr>
            <p:cNvPr id="89" name="Rectangle 88"/>
            <p:cNvSpPr/>
            <p:nvPr/>
          </p:nvSpPr>
          <p:spPr bwMode="gray">
            <a:xfrm>
              <a:off x="711783" y="2490999"/>
              <a:ext cx="1704943" cy="698653"/>
            </a:xfrm>
            <a:prstGeom prst="rect">
              <a:avLst/>
            </a:prstGeom>
          </p:spPr>
          <p:txBody>
            <a:bodyPr wrap="square">
              <a:spAutoFit/>
            </a:bodyPr>
            <a:lstStyle/>
            <a:p>
              <a:pPr algn="ctr" defTabSz="548388">
                <a:lnSpc>
                  <a:spcPct val="85000"/>
                </a:lnSpc>
              </a:pPr>
              <a:r>
                <a:rPr lang="en-US" sz="1100" dirty="0">
                  <a:gradFill>
                    <a:gsLst>
                      <a:gs pos="0">
                        <a:srgbClr val="FFFFFF"/>
                      </a:gs>
                      <a:gs pos="50000">
                        <a:srgbClr val="FFFFFF"/>
                      </a:gs>
                    </a:gsLst>
                    <a:lin ang="5400000" scaled="0"/>
                  </a:gradFill>
                  <a:latin typeface="Segoe UI"/>
                </a:rPr>
                <a:t>Customer Hosted </a:t>
              </a:r>
              <a:br>
                <a:rPr lang="en-US" sz="1100" dirty="0">
                  <a:gradFill>
                    <a:gsLst>
                      <a:gs pos="0">
                        <a:srgbClr val="FFFFFF"/>
                      </a:gs>
                      <a:gs pos="50000">
                        <a:srgbClr val="FFFFFF"/>
                      </a:gs>
                    </a:gsLst>
                    <a:lin ang="5400000" scaled="0"/>
                  </a:gradFill>
                  <a:latin typeface="Segoe UI"/>
                </a:rPr>
              </a:br>
              <a:r>
                <a:rPr lang="en-US" sz="1100" dirty="0">
                  <a:gradFill>
                    <a:gsLst>
                      <a:gs pos="0">
                        <a:srgbClr val="FFFFFF"/>
                      </a:gs>
                      <a:gs pos="50000">
                        <a:srgbClr val="FFFFFF"/>
                      </a:gs>
                    </a:gsLst>
                    <a:lin ang="5400000" scaled="0"/>
                  </a:gradFill>
                  <a:latin typeface="Segoe UI"/>
                </a:rPr>
                <a:t>Or Partner Hosted</a:t>
              </a:r>
            </a:p>
          </p:txBody>
        </p:sp>
        <p:pic>
          <p:nvPicPr>
            <p:cNvPr id="65" name="Picture 3"/>
            <p:cNvPicPr>
              <a:picLocks noChangeAspect="1" noChangeArrowheads="1"/>
            </p:cNvPicPr>
            <p:nvPr/>
          </p:nvPicPr>
          <p:blipFill>
            <a:blip r:embed="rId20">
              <a:extLst>
                <a:ext uri="{BEBA8EAE-BF5A-486C-A8C5-ECC9F3942E4B}">
                  <a14:imgProps xmlns:a14="http://schemas.microsoft.com/office/drawing/2010/main">
                    <a14:imgLayer r:embed="rId21">
                      <a14:imgEffect>
                        <a14:brightnessContrast bright="100000"/>
                      </a14:imgEffect>
                    </a14:imgLayer>
                  </a14:imgProps>
                </a:ext>
                <a:ext uri="{28A0092B-C50C-407E-A947-70E740481C1C}">
                  <a14:useLocalDpi xmlns:a14="http://schemas.microsoft.com/office/drawing/2010/main" val="0"/>
                </a:ext>
              </a:extLst>
            </a:blip>
            <a:stretch>
              <a:fillRect/>
            </a:stretch>
          </p:blipFill>
          <p:spPr bwMode="gray">
            <a:xfrm>
              <a:off x="8247501" y="2269498"/>
              <a:ext cx="1459990" cy="25987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 name="Group 3"/>
          <p:cNvGrpSpPr/>
          <p:nvPr/>
        </p:nvGrpSpPr>
        <p:grpSpPr>
          <a:xfrm>
            <a:off x="7487409" y="1124276"/>
            <a:ext cx="1543452" cy="3281993"/>
            <a:chOff x="9980612" y="1499033"/>
            <a:chExt cx="2057400" cy="4375991"/>
          </a:xfrm>
        </p:grpSpPr>
        <p:sp>
          <p:nvSpPr>
            <p:cNvPr id="2" name="Up-Down Arrow 1"/>
            <p:cNvSpPr/>
            <p:nvPr/>
          </p:nvSpPr>
          <p:spPr bwMode="auto">
            <a:xfrm>
              <a:off x="9980612" y="1499033"/>
              <a:ext cx="2057400" cy="4375991"/>
            </a:xfrm>
            <a:custGeom>
              <a:avLst/>
              <a:gdLst>
                <a:gd name="connsiteX0" fmla="*/ 0 w 1935617"/>
                <a:gd name="connsiteY0" fmla="*/ 500802 h 4375991"/>
                <a:gd name="connsiteX1" fmla="*/ 967809 w 1935617"/>
                <a:gd name="connsiteY1" fmla="*/ 0 h 4375991"/>
                <a:gd name="connsiteX2" fmla="*/ 1935617 w 1935617"/>
                <a:gd name="connsiteY2" fmla="*/ 500802 h 4375991"/>
                <a:gd name="connsiteX3" fmla="*/ 1673293 w 1935617"/>
                <a:gd name="connsiteY3" fmla="*/ 500802 h 4375991"/>
                <a:gd name="connsiteX4" fmla="*/ 1673293 w 1935617"/>
                <a:gd name="connsiteY4" fmla="*/ 3875189 h 4375991"/>
                <a:gd name="connsiteX5" fmla="*/ 1935617 w 1935617"/>
                <a:gd name="connsiteY5" fmla="*/ 3875189 h 4375991"/>
                <a:gd name="connsiteX6" fmla="*/ 967809 w 1935617"/>
                <a:gd name="connsiteY6" fmla="*/ 4375991 h 4375991"/>
                <a:gd name="connsiteX7" fmla="*/ 0 w 1935617"/>
                <a:gd name="connsiteY7" fmla="*/ 3875189 h 4375991"/>
                <a:gd name="connsiteX8" fmla="*/ 262324 w 1935617"/>
                <a:gd name="connsiteY8" fmla="*/ 3875189 h 4375991"/>
                <a:gd name="connsiteX9" fmla="*/ 262324 w 1935617"/>
                <a:gd name="connsiteY9" fmla="*/ 500802 h 4375991"/>
                <a:gd name="connsiteX10" fmla="*/ 0 w 1935617"/>
                <a:gd name="connsiteY10" fmla="*/ 500802 h 4375991"/>
                <a:gd name="connsiteX0" fmla="*/ 0 w 1945345"/>
                <a:gd name="connsiteY0" fmla="*/ 500802 h 4375991"/>
                <a:gd name="connsiteX1" fmla="*/ 967809 w 1945345"/>
                <a:gd name="connsiteY1" fmla="*/ 0 h 4375991"/>
                <a:gd name="connsiteX2" fmla="*/ 1945345 w 1945345"/>
                <a:gd name="connsiteY2" fmla="*/ 578623 h 4375991"/>
                <a:gd name="connsiteX3" fmla="*/ 1673293 w 1945345"/>
                <a:gd name="connsiteY3" fmla="*/ 500802 h 4375991"/>
                <a:gd name="connsiteX4" fmla="*/ 1673293 w 1945345"/>
                <a:gd name="connsiteY4" fmla="*/ 3875189 h 4375991"/>
                <a:gd name="connsiteX5" fmla="*/ 1935617 w 1945345"/>
                <a:gd name="connsiteY5" fmla="*/ 3875189 h 4375991"/>
                <a:gd name="connsiteX6" fmla="*/ 967809 w 1945345"/>
                <a:gd name="connsiteY6" fmla="*/ 4375991 h 4375991"/>
                <a:gd name="connsiteX7" fmla="*/ 0 w 1945345"/>
                <a:gd name="connsiteY7" fmla="*/ 3875189 h 4375991"/>
                <a:gd name="connsiteX8" fmla="*/ 262324 w 1945345"/>
                <a:gd name="connsiteY8" fmla="*/ 3875189 h 4375991"/>
                <a:gd name="connsiteX9" fmla="*/ 262324 w 1945345"/>
                <a:gd name="connsiteY9" fmla="*/ 500802 h 4375991"/>
                <a:gd name="connsiteX10" fmla="*/ 0 w 1945345"/>
                <a:gd name="connsiteY10" fmla="*/ 500802 h 4375991"/>
                <a:gd name="connsiteX0" fmla="*/ 38910 w 1945345"/>
                <a:gd name="connsiteY0" fmla="*/ 549440 h 4375991"/>
                <a:gd name="connsiteX1" fmla="*/ 967809 w 1945345"/>
                <a:gd name="connsiteY1" fmla="*/ 0 h 4375991"/>
                <a:gd name="connsiteX2" fmla="*/ 1945345 w 1945345"/>
                <a:gd name="connsiteY2" fmla="*/ 578623 h 4375991"/>
                <a:gd name="connsiteX3" fmla="*/ 1673293 w 1945345"/>
                <a:gd name="connsiteY3" fmla="*/ 500802 h 4375991"/>
                <a:gd name="connsiteX4" fmla="*/ 1673293 w 1945345"/>
                <a:gd name="connsiteY4" fmla="*/ 3875189 h 4375991"/>
                <a:gd name="connsiteX5" fmla="*/ 1935617 w 1945345"/>
                <a:gd name="connsiteY5" fmla="*/ 3875189 h 4375991"/>
                <a:gd name="connsiteX6" fmla="*/ 967809 w 1945345"/>
                <a:gd name="connsiteY6" fmla="*/ 4375991 h 4375991"/>
                <a:gd name="connsiteX7" fmla="*/ 0 w 1945345"/>
                <a:gd name="connsiteY7" fmla="*/ 3875189 h 4375991"/>
                <a:gd name="connsiteX8" fmla="*/ 262324 w 1945345"/>
                <a:gd name="connsiteY8" fmla="*/ 3875189 h 4375991"/>
                <a:gd name="connsiteX9" fmla="*/ 262324 w 1945345"/>
                <a:gd name="connsiteY9" fmla="*/ 500802 h 4375991"/>
                <a:gd name="connsiteX10" fmla="*/ 38910 w 1945345"/>
                <a:gd name="connsiteY10" fmla="*/ 549440 h 4375991"/>
                <a:gd name="connsiteX0" fmla="*/ 38910 w 1945345"/>
                <a:gd name="connsiteY0" fmla="*/ 549440 h 4375991"/>
                <a:gd name="connsiteX1" fmla="*/ 967809 w 1945345"/>
                <a:gd name="connsiteY1" fmla="*/ 0 h 4375991"/>
                <a:gd name="connsiteX2" fmla="*/ 1945345 w 1945345"/>
                <a:gd name="connsiteY2" fmla="*/ 578623 h 4375991"/>
                <a:gd name="connsiteX3" fmla="*/ 1673293 w 1945345"/>
                <a:gd name="connsiteY3" fmla="*/ 500802 h 4375991"/>
                <a:gd name="connsiteX4" fmla="*/ 1673293 w 1945345"/>
                <a:gd name="connsiteY4" fmla="*/ 3875189 h 4375991"/>
                <a:gd name="connsiteX5" fmla="*/ 1916161 w 1945345"/>
                <a:gd name="connsiteY5" fmla="*/ 3807095 h 4375991"/>
                <a:gd name="connsiteX6" fmla="*/ 967809 w 1945345"/>
                <a:gd name="connsiteY6" fmla="*/ 4375991 h 4375991"/>
                <a:gd name="connsiteX7" fmla="*/ 0 w 1945345"/>
                <a:gd name="connsiteY7" fmla="*/ 3875189 h 4375991"/>
                <a:gd name="connsiteX8" fmla="*/ 262324 w 1945345"/>
                <a:gd name="connsiteY8" fmla="*/ 3875189 h 4375991"/>
                <a:gd name="connsiteX9" fmla="*/ 262324 w 1945345"/>
                <a:gd name="connsiteY9" fmla="*/ 500802 h 4375991"/>
                <a:gd name="connsiteX10" fmla="*/ 38910 w 1945345"/>
                <a:gd name="connsiteY10" fmla="*/ 549440 h 4375991"/>
                <a:gd name="connsiteX0" fmla="*/ 0 w 1906435"/>
                <a:gd name="connsiteY0" fmla="*/ 549440 h 4375991"/>
                <a:gd name="connsiteX1" fmla="*/ 928899 w 1906435"/>
                <a:gd name="connsiteY1" fmla="*/ 0 h 4375991"/>
                <a:gd name="connsiteX2" fmla="*/ 1906435 w 1906435"/>
                <a:gd name="connsiteY2" fmla="*/ 578623 h 4375991"/>
                <a:gd name="connsiteX3" fmla="*/ 1634383 w 1906435"/>
                <a:gd name="connsiteY3" fmla="*/ 500802 h 4375991"/>
                <a:gd name="connsiteX4" fmla="*/ 1634383 w 1906435"/>
                <a:gd name="connsiteY4" fmla="*/ 3875189 h 4375991"/>
                <a:gd name="connsiteX5" fmla="*/ 1877251 w 1906435"/>
                <a:gd name="connsiteY5" fmla="*/ 3807095 h 4375991"/>
                <a:gd name="connsiteX6" fmla="*/ 928899 w 1906435"/>
                <a:gd name="connsiteY6" fmla="*/ 4375991 h 4375991"/>
                <a:gd name="connsiteX7" fmla="*/ 9729 w 1906435"/>
                <a:gd name="connsiteY7" fmla="*/ 3826550 h 4375991"/>
                <a:gd name="connsiteX8" fmla="*/ 223414 w 1906435"/>
                <a:gd name="connsiteY8" fmla="*/ 3875189 h 4375991"/>
                <a:gd name="connsiteX9" fmla="*/ 223414 w 1906435"/>
                <a:gd name="connsiteY9" fmla="*/ 500802 h 4375991"/>
                <a:gd name="connsiteX10" fmla="*/ 0 w 1906435"/>
                <a:gd name="connsiteY10" fmla="*/ 549440 h 4375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06435" h="4375991">
                  <a:moveTo>
                    <a:pt x="0" y="549440"/>
                  </a:moveTo>
                  <a:lnTo>
                    <a:pt x="928899" y="0"/>
                  </a:lnTo>
                  <a:lnTo>
                    <a:pt x="1906435" y="578623"/>
                  </a:lnTo>
                  <a:lnTo>
                    <a:pt x="1634383" y="500802"/>
                  </a:lnTo>
                  <a:lnTo>
                    <a:pt x="1634383" y="3875189"/>
                  </a:lnTo>
                  <a:lnTo>
                    <a:pt x="1877251" y="3807095"/>
                  </a:lnTo>
                  <a:lnTo>
                    <a:pt x="928899" y="4375991"/>
                  </a:lnTo>
                  <a:lnTo>
                    <a:pt x="9729" y="3826550"/>
                  </a:lnTo>
                  <a:lnTo>
                    <a:pt x="223414" y="3875189"/>
                  </a:lnTo>
                  <a:lnTo>
                    <a:pt x="223414" y="500802"/>
                  </a:lnTo>
                  <a:lnTo>
                    <a:pt x="0" y="549440"/>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637" fontAlgn="base">
                <a:spcBef>
                  <a:spcPct val="0"/>
                </a:spcBef>
                <a:spcAft>
                  <a:spcPts val="1350"/>
                </a:spcAft>
              </a:pPr>
              <a:r>
                <a:rPr lang="en-US" sz="1100" dirty="0">
                  <a:gradFill>
                    <a:gsLst>
                      <a:gs pos="0">
                        <a:srgbClr val="FFFFFF"/>
                      </a:gs>
                      <a:gs pos="50000">
                        <a:srgbClr val="FFFFFF"/>
                      </a:gs>
                    </a:gsLst>
                    <a:lin ang="5400000" scaled="0"/>
                  </a:gradFill>
                </a:rPr>
                <a:t>COMMON TECHNOLOGIES:</a:t>
              </a:r>
            </a:p>
            <a:p>
              <a:pPr algn="ctr" defTabSz="685637" fontAlgn="base">
                <a:spcBef>
                  <a:spcPct val="0"/>
                </a:spcBef>
                <a:spcAft>
                  <a:spcPts val="1350"/>
                </a:spcAft>
              </a:pPr>
              <a:endParaRPr lang="en-US" sz="1100" dirty="0">
                <a:gradFill>
                  <a:gsLst>
                    <a:gs pos="0">
                      <a:srgbClr val="FFFFFF"/>
                    </a:gs>
                    <a:gs pos="50000">
                      <a:srgbClr val="FFFFFF"/>
                    </a:gs>
                  </a:gsLst>
                  <a:lin ang="5400000" scaled="0"/>
                </a:gradFill>
              </a:endParaRPr>
            </a:p>
            <a:p>
              <a:pPr algn="ctr" defTabSz="685637" fontAlgn="base">
                <a:spcBef>
                  <a:spcPct val="0"/>
                </a:spcBef>
                <a:spcAft>
                  <a:spcPts val="1350"/>
                </a:spcAft>
              </a:pPr>
              <a:r>
                <a:rPr lang="en-US" sz="1100" dirty="0">
                  <a:gradFill>
                    <a:gsLst>
                      <a:gs pos="0">
                        <a:srgbClr val="FFFFFF"/>
                      </a:gs>
                      <a:gs pos="50000">
                        <a:srgbClr val="FFFFFF"/>
                      </a:gs>
                    </a:gsLst>
                    <a:lin ang="5400000" scaled="0"/>
                  </a:gradFill>
                </a:rPr>
                <a:t>Active Directory</a:t>
              </a:r>
            </a:p>
            <a:p>
              <a:pPr algn="ctr" defTabSz="685637" fontAlgn="base">
                <a:spcBef>
                  <a:spcPct val="0"/>
                </a:spcBef>
                <a:spcAft>
                  <a:spcPts val="1350"/>
                </a:spcAft>
              </a:pPr>
              <a:r>
                <a:rPr lang="en-US" sz="1100" dirty="0">
                  <a:gradFill>
                    <a:gsLst>
                      <a:gs pos="0">
                        <a:srgbClr val="FFFFFF"/>
                      </a:gs>
                      <a:gs pos="50000">
                        <a:srgbClr val="FFFFFF"/>
                      </a:gs>
                    </a:gsLst>
                    <a:lin ang="5400000" scaled="0"/>
                  </a:gradFill>
                </a:rPr>
                <a:t>Identity </a:t>
              </a:r>
            </a:p>
            <a:p>
              <a:pPr algn="ctr" defTabSz="685637" fontAlgn="base">
                <a:spcBef>
                  <a:spcPct val="0"/>
                </a:spcBef>
                <a:spcAft>
                  <a:spcPts val="1350"/>
                </a:spcAft>
              </a:pPr>
              <a:r>
                <a:rPr lang="en-US" sz="1100" dirty="0">
                  <a:gradFill>
                    <a:gsLst>
                      <a:gs pos="0">
                        <a:srgbClr val="FFFFFF"/>
                      </a:gs>
                      <a:gs pos="50000">
                        <a:srgbClr val="FFFFFF"/>
                      </a:gs>
                    </a:gsLst>
                    <a:lin ang="5400000" scaled="0"/>
                  </a:gradFill>
                </a:rPr>
                <a:t>Virtualization </a:t>
              </a:r>
            </a:p>
            <a:p>
              <a:pPr algn="ctr" defTabSz="685637" fontAlgn="base">
                <a:spcBef>
                  <a:spcPct val="0"/>
                </a:spcBef>
                <a:spcAft>
                  <a:spcPts val="1350"/>
                </a:spcAft>
              </a:pPr>
              <a:r>
                <a:rPr lang="en-US" sz="1100" dirty="0">
                  <a:gradFill>
                    <a:gsLst>
                      <a:gs pos="0">
                        <a:srgbClr val="FFFFFF"/>
                      </a:gs>
                      <a:gs pos="50000">
                        <a:srgbClr val="FFFFFF"/>
                      </a:gs>
                    </a:gsLst>
                    <a:lin ang="5400000" scaled="0"/>
                  </a:gradFill>
                </a:rPr>
                <a:t>Management </a:t>
              </a:r>
            </a:p>
            <a:p>
              <a:pPr algn="ctr" defTabSz="685637" fontAlgn="base">
                <a:spcBef>
                  <a:spcPct val="0"/>
                </a:spcBef>
                <a:spcAft>
                  <a:spcPts val="1350"/>
                </a:spcAft>
              </a:pPr>
              <a:r>
                <a:rPr lang="en-US" sz="1100" dirty="0">
                  <a:gradFill>
                    <a:gsLst>
                      <a:gs pos="0">
                        <a:srgbClr val="FFFFFF"/>
                      </a:gs>
                      <a:gs pos="50000">
                        <a:srgbClr val="FFFFFF"/>
                      </a:gs>
                    </a:gsLst>
                    <a:lin ang="5400000" scaled="0"/>
                  </a:gradFill>
                </a:rPr>
                <a:t>Development</a:t>
              </a:r>
            </a:p>
            <a:p>
              <a:pPr algn="ctr" defTabSz="685637" fontAlgn="base">
                <a:spcBef>
                  <a:spcPct val="0"/>
                </a:spcBef>
                <a:spcAft>
                  <a:spcPts val="1350"/>
                </a:spcAft>
              </a:pPr>
              <a:endParaRPr lang="en-US" sz="1100" dirty="0">
                <a:gradFill>
                  <a:gsLst>
                    <a:gs pos="0">
                      <a:srgbClr val="FFFFFF"/>
                    </a:gs>
                    <a:gs pos="50000">
                      <a:srgbClr val="FFFFFF"/>
                    </a:gs>
                  </a:gsLst>
                  <a:lin ang="5400000" scaled="0"/>
                </a:gradFill>
              </a:endParaRPr>
            </a:p>
          </p:txBody>
        </p:sp>
        <p:pic>
          <p:nvPicPr>
            <p:cNvPr id="66" name="Picture 65"/>
            <p:cNvPicPr>
              <a:picLocks noChangeAspect="1"/>
            </p:cNvPicPr>
            <p:nvPr/>
          </p:nvPicPr>
          <p:blipFill>
            <a:blip r:embed="rId22" cstate="print">
              <a:extLst>
                <a:ext uri="{BEBA8EAE-BF5A-486C-A8C5-ECC9F3942E4B}">
                  <a14:imgProps xmlns:a14="http://schemas.microsoft.com/office/drawing/2010/main">
                    <a14:imgLayer r:embed="rId2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291547" y="2615184"/>
              <a:ext cx="1393076" cy="288272"/>
            </a:xfrm>
            <a:prstGeom prst="rect">
              <a:avLst/>
            </a:prstGeom>
            <a:effectLst/>
          </p:spPr>
        </p:pic>
      </p:grpSp>
      <p:sp>
        <p:nvSpPr>
          <p:cNvPr id="57"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58"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4"/>
              </a:rPr>
              <a:t>www.rapidbbs.cn</a:t>
            </a:r>
            <a:endParaRPr lang="zh-CN" altLang="en-US" sz="1200" b="0">
              <a:latin typeface="Arial" charset="0"/>
              <a:ea typeface="ＭＳ Ｐゴシック" pitchFamily="34" charset="-128"/>
            </a:endParaRPr>
          </a:p>
        </p:txBody>
      </p:sp>
      <p:pic>
        <p:nvPicPr>
          <p:cNvPr id="59" name="Picture 2">
            <a:hlinkClick r:id="rId24"/>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294175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2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2" presetClass="entr" presetSubtype="1" decel="10000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 calcmode="lin" valueType="num">
                                      <p:cBhvr additive="base">
                                        <p:cTn id="10" dur="1750" fill="hold"/>
                                        <p:tgtEl>
                                          <p:spTgt spid="5"/>
                                        </p:tgtEl>
                                        <p:attrNameLst>
                                          <p:attrName>ppt_x</p:attrName>
                                        </p:attrNameLst>
                                      </p:cBhvr>
                                      <p:tavLst>
                                        <p:tav tm="0">
                                          <p:val>
                                            <p:strVal val="#ppt_x"/>
                                          </p:val>
                                        </p:tav>
                                        <p:tav tm="100000">
                                          <p:val>
                                            <p:strVal val="#ppt_x"/>
                                          </p:val>
                                        </p:tav>
                                      </p:tavLst>
                                    </p:anim>
                                    <p:anim calcmode="lin" valueType="num">
                                      <p:cBhvr additive="base">
                                        <p:cTn id="11" dur="1750" fill="hold"/>
                                        <p:tgtEl>
                                          <p:spTgt spid="5"/>
                                        </p:tgtEl>
                                        <p:attrNameLst>
                                          <p:attrName>ppt_y</p:attrName>
                                        </p:attrNameLst>
                                      </p:cBhvr>
                                      <p:tavLst>
                                        <p:tav tm="0">
                                          <p:val>
                                            <p:strVal val="0-#ppt_h/2"/>
                                          </p:val>
                                        </p:tav>
                                        <p:tav tm="100000">
                                          <p:val>
                                            <p:strVal val="#ppt_y"/>
                                          </p:val>
                                        </p:tav>
                                      </p:tavLst>
                                    </p:anim>
                                  </p:childTnLst>
                                </p:cTn>
                              </p:par>
                              <p:par>
                                <p:cTn id="12" presetID="2" presetClass="entr" presetSubtype="4" decel="100000" fill="hold" nodeType="withEffect">
                                  <p:stCondLst>
                                    <p:cond delay="500"/>
                                  </p:stCondLst>
                                  <p:childTnLst>
                                    <p:set>
                                      <p:cBhvr>
                                        <p:cTn id="13" dur="1" fill="hold">
                                          <p:stCondLst>
                                            <p:cond delay="0"/>
                                          </p:stCondLst>
                                        </p:cTn>
                                        <p:tgtEl>
                                          <p:spTgt spid="93"/>
                                        </p:tgtEl>
                                        <p:attrNameLst>
                                          <p:attrName>style.visibility</p:attrName>
                                        </p:attrNameLst>
                                      </p:cBhvr>
                                      <p:to>
                                        <p:strVal val="visible"/>
                                      </p:to>
                                    </p:set>
                                    <p:anim calcmode="lin" valueType="num">
                                      <p:cBhvr additive="base">
                                        <p:cTn id="14" dur="1250" fill="hold"/>
                                        <p:tgtEl>
                                          <p:spTgt spid="93"/>
                                        </p:tgtEl>
                                        <p:attrNameLst>
                                          <p:attrName>ppt_x</p:attrName>
                                        </p:attrNameLst>
                                      </p:cBhvr>
                                      <p:tavLst>
                                        <p:tav tm="0">
                                          <p:val>
                                            <p:strVal val="#ppt_x"/>
                                          </p:val>
                                        </p:tav>
                                        <p:tav tm="100000">
                                          <p:val>
                                            <p:strVal val="#ppt_x"/>
                                          </p:val>
                                        </p:tav>
                                      </p:tavLst>
                                    </p:anim>
                                    <p:anim calcmode="lin" valueType="num">
                                      <p:cBhvr additive="base">
                                        <p:cTn id="15" dur="1250" fill="hold"/>
                                        <p:tgtEl>
                                          <p:spTgt spid="93"/>
                                        </p:tgtEl>
                                        <p:attrNameLst>
                                          <p:attrName>ppt_y</p:attrName>
                                        </p:attrNameLst>
                                      </p:cBhvr>
                                      <p:tavLst>
                                        <p:tav tm="0">
                                          <p:val>
                                            <p:strVal val="1+#ppt_h/2"/>
                                          </p:val>
                                        </p:tav>
                                        <p:tav tm="100000">
                                          <p:val>
                                            <p:strVal val="#ppt_y"/>
                                          </p:val>
                                        </p:tav>
                                      </p:tavLst>
                                    </p:anim>
                                  </p:childTnLst>
                                </p:cTn>
                              </p:par>
                            </p:childTnLst>
                          </p:cTn>
                        </p:par>
                        <p:par>
                          <p:cTn id="16" fill="hold">
                            <p:stCondLst>
                              <p:cond delay="1750"/>
                            </p:stCondLst>
                            <p:childTnLst>
                              <p:par>
                                <p:cTn id="17" presetID="22" presetClass="entr" presetSubtype="8" fill="hold" nodeType="afterEffect">
                                  <p:stCondLst>
                                    <p:cond delay="0"/>
                                  </p:stCondLst>
                                  <p:childTnLst>
                                    <p:set>
                                      <p:cBhvr>
                                        <p:cTn id="18" dur="1" fill="hold">
                                          <p:stCondLst>
                                            <p:cond delay="0"/>
                                          </p:stCondLst>
                                        </p:cTn>
                                        <p:tgtEl>
                                          <p:spTgt spid="48"/>
                                        </p:tgtEl>
                                        <p:attrNameLst>
                                          <p:attrName>style.visibility</p:attrName>
                                        </p:attrNameLst>
                                      </p:cBhvr>
                                      <p:to>
                                        <p:strVal val="visible"/>
                                      </p:to>
                                    </p:set>
                                    <p:animEffect transition="in" filter="wipe(left)">
                                      <p:cBhvr>
                                        <p:cTn id="19" dur="1250"/>
                                        <p:tgtEl>
                                          <p:spTgt spid="48"/>
                                        </p:tgtEl>
                                      </p:cBhvr>
                                    </p:animEffect>
                                  </p:childTnLst>
                                </p:cTn>
                              </p:par>
                              <p:par>
                                <p:cTn id="20" presetID="10" presetClass="entr" presetSubtype="0" fill="hold" grpId="0" nodeType="withEffect">
                                  <p:stCondLst>
                                    <p:cond delay="700"/>
                                  </p:stCondLst>
                                  <p:childTnLst>
                                    <p:set>
                                      <p:cBhvr>
                                        <p:cTn id="21" dur="1" fill="hold">
                                          <p:stCondLst>
                                            <p:cond delay="0"/>
                                          </p:stCondLst>
                                        </p:cTn>
                                        <p:tgtEl>
                                          <p:spTgt spid="55"/>
                                        </p:tgtEl>
                                        <p:attrNameLst>
                                          <p:attrName>style.visibility</p:attrName>
                                        </p:attrNameLst>
                                      </p:cBhvr>
                                      <p:to>
                                        <p:strVal val="visible"/>
                                      </p:to>
                                    </p:set>
                                    <p:animEffect transition="in" filter="fade">
                                      <p:cBhvr>
                                        <p:cTn id="22" dur="1000"/>
                                        <p:tgtEl>
                                          <p:spTgt spid="55"/>
                                        </p:tgtEl>
                                      </p:cBhvr>
                                    </p:animEffect>
                                  </p:childTnLst>
                                </p:cTn>
                              </p:par>
                              <p:par>
                                <p:cTn id="23" presetID="10" presetClass="entr" presetSubtype="0" fill="hold" grpId="0" nodeType="withEffect">
                                  <p:stCondLst>
                                    <p:cond delay="700"/>
                                  </p:stCondLst>
                                  <p:childTnLst>
                                    <p:set>
                                      <p:cBhvr>
                                        <p:cTn id="24" dur="1" fill="hold">
                                          <p:stCondLst>
                                            <p:cond delay="0"/>
                                          </p:stCondLst>
                                        </p:cTn>
                                        <p:tgtEl>
                                          <p:spTgt spid="56"/>
                                        </p:tgtEl>
                                        <p:attrNameLst>
                                          <p:attrName>style.visibility</p:attrName>
                                        </p:attrNameLst>
                                      </p:cBhvr>
                                      <p:to>
                                        <p:strVal val="visible"/>
                                      </p:to>
                                    </p:set>
                                    <p:animEffect transition="in" filter="fade">
                                      <p:cBhvr>
                                        <p:cTn id="25" dur="1000"/>
                                        <p:tgtEl>
                                          <p:spTgt spid="56"/>
                                        </p:tgtEl>
                                      </p:cBhvr>
                                    </p:animEffect>
                                  </p:childTnLst>
                                </p:cTn>
                              </p:par>
                            </p:childTnLst>
                          </p:cTn>
                        </p:par>
                        <p:par>
                          <p:cTn id="26" fill="hold">
                            <p:stCondLst>
                              <p:cond delay="3450"/>
                            </p:stCondLst>
                            <p:childTnLst>
                              <p:par>
                                <p:cTn id="27" presetID="10" presetClass="entr" presetSubtype="0" fill="hold" grpId="0" nodeType="afterEffect">
                                  <p:stCondLst>
                                    <p:cond delay="0"/>
                                  </p:stCondLst>
                                  <p:childTnLst>
                                    <p:set>
                                      <p:cBhvr>
                                        <p:cTn id="28" dur="1" fill="hold">
                                          <p:stCondLst>
                                            <p:cond delay="0"/>
                                          </p:stCondLst>
                                        </p:cTn>
                                        <p:tgtEl>
                                          <p:spTgt spid="3"/>
                                        </p:tgtEl>
                                        <p:attrNameLst>
                                          <p:attrName>style.visibility</p:attrName>
                                        </p:attrNameLst>
                                      </p:cBhvr>
                                      <p:to>
                                        <p:strVal val="visible"/>
                                      </p:to>
                                    </p:set>
                                    <p:animEffect transition="in" filter="fade">
                                      <p:cBhvr>
                                        <p:cTn id="29" dur="500"/>
                                        <p:tgtEl>
                                          <p:spTgt spid="3"/>
                                        </p:tgtEl>
                                      </p:cBhvr>
                                    </p:animEffect>
                                  </p:childTnLst>
                                </p:cTn>
                              </p:par>
                              <p:par>
                                <p:cTn id="30" presetID="16" presetClass="entr" presetSubtype="42" fill="hold" nodeType="withEffect">
                                  <p:stCondLst>
                                    <p:cond delay="0"/>
                                  </p:stCondLst>
                                  <p:childTnLst>
                                    <p:set>
                                      <p:cBhvr>
                                        <p:cTn id="31" dur="1" fill="hold">
                                          <p:stCondLst>
                                            <p:cond delay="0"/>
                                          </p:stCondLst>
                                        </p:cTn>
                                        <p:tgtEl>
                                          <p:spTgt spid="4"/>
                                        </p:tgtEl>
                                        <p:attrNameLst>
                                          <p:attrName>style.visibility</p:attrName>
                                        </p:attrNameLst>
                                      </p:cBhvr>
                                      <p:to>
                                        <p:strVal val="visible"/>
                                      </p:to>
                                    </p:set>
                                    <p:animEffect transition="in" filter="barn(outHorizontal)">
                                      <p:cBhvr>
                                        <p:cTn id="3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55" grpId="0" animBg="1"/>
      <p:bldP spid="56" grpId="0"/>
      <p:bldP spid="3" grpId="0" animBg="1"/>
    </p:bld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The Enterprise Agreement Supports </a:t>
            </a:r>
            <a:r>
              <a:rPr lang="en-US" i="1" dirty="0"/>
              <a:t>Your</a:t>
            </a:r>
            <a:r>
              <a:rPr lang="en-US" dirty="0"/>
              <a:t> Cloud </a:t>
            </a:r>
          </a:p>
        </p:txBody>
      </p:sp>
      <p:grpSp>
        <p:nvGrpSpPr>
          <p:cNvPr id="38" name="Group 37"/>
          <p:cNvGrpSpPr/>
          <p:nvPr/>
        </p:nvGrpSpPr>
        <p:grpSpPr>
          <a:xfrm>
            <a:off x="1482643" y="2948879"/>
            <a:ext cx="1997537" cy="1995839"/>
            <a:chOff x="1976341" y="3904542"/>
            <a:chExt cx="2662689" cy="2661118"/>
          </a:xfrm>
        </p:grpSpPr>
        <p:sp>
          <p:nvSpPr>
            <p:cNvPr id="12" name="Presentation Title Rectangle"/>
            <p:cNvSpPr txBox="1">
              <a:spLocks/>
            </p:cNvSpPr>
            <p:nvPr/>
          </p:nvSpPr>
          <p:spPr>
            <a:xfrm>
              <a:off x="1976341" y="3904542"/>
              <a:ext cx="2662689" cy="1330559"/>
            </a:xfrm>
            <a:prstGeom prst="rect">
              <a:avLst/>
            </a:prstGeom>
            <a:solidFill>
              <a:schemeClr val="accent5"/>
            </a:solidFill>
            <a:effectLst/>
          </p:spPr>
          <p:txBody>
            <a:bodyPr lIns="91440" tIns="91440" rIns="91440" bIns="91440" anchor="b" anchorCtr="0">
              <a:noAutofit/>
            </a:bodyPr>
            <a:lstStyle>
              <a:defPPr>
                <a:defRPr lang="en-US"/>
              </a:defPPr>
              <a:lvl1pPr>
                <a:lnSpc>
                  <a:spcPct val="90000"/>
                </a:lnSpc>
                <a:spcBef>
                  <a:spcPct val="0"/>
                </a:spcBef>
                <a:buNone/>
                <a:defRPr sz="2000" b="1" i="0" kern="0" cap="none" spc="0" baseline="0">
                  <a:ln w="3175">
                    <a:noFill/>
                  </a:ln>
                  <a:solidFill>
                    <a:schemeClr val="tx1">
                      <a:alpha val="99000"/>
                    </a:schemeClr>
                  </a:solidFill>
                  <a:effectLst/>
                  <a:cs typeface="Arial" charset="0"/>
                </a:defRPr>
              </a:lvl1pPr>
            </a:lstStyle>
            <a:p>
              <a:r>
                <a:rPr lang="en-US" dirty="0">
                  <a:gradFill>
                    <a:gsLst>
                      <a:gs pos="0">
                        <a:schemeClr val="tx1"/>
                      </a:gs>
                      <a:gs pos="86000">
                        <a:schemeClr val="tx1"/>
                      </a:gs>
                    </a:gsLst>
                    <a:lin ang="5400000" scaled="0"/>
                  </a:gradFill>
                </a:rPr>
                <a:t>Value</a:t>
              </a:r>
            </a:p>
          </p:txBody>
        </p:sp>
        <p:sp>
          <p:nvSpPr>
            <p:cNvPr id="18" name="Presentation Title Rectangle"/>
            <p:cNvSpPr txBox="1">
              <a:spLocks/>
            </p:cNvSpPr>
            <p:nvPr/>
          </p:nvSpPr>
          <p:spPr>
            <a:xfrm>
              <a:off x="1976341" y="5235101"/>
              <a:ext cx="2662689" cy="1330559"/>
            </a:xfrm>
            <a:prstGeom prst="rect">
              <a:avLst/>
            </a:prstGeom>
            <a:solidFill>
              <a:schemeClr val="bg2">
                <a:lumMod val="75000"/>
              </a:schemeClr>
            </a:solidFill>
            <a:effectLst/>
          </p:spPr>
          <p:txBody>
            <a:bodyPr lIns="91440" tIns="91440" rIns="91440" bIns="91440" anchor="t" anchorCtr="0">
              <a:noAutofit/>
            </a:bodyPr>
            <a:lstStyle>
              <a:lvl1pPr algn="l" defTabSz="914363"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tileRect/>
                  </a:gradFill>
                  <a:effectLst/>
                  <a:latin typeface="+mj-lt"/>
                  <a:ea typeface="+mn-ea"/>
                  <a:cs typeface="Arial" charset="0"/>
                </a:defRPr>
              </a:lvl1pPr>
            </a:lstStyle>
            <a:p>
              <a:pPr>
                <a:lnSpc>
                  <a:spcPct val="100000"/>
                </a:lnSpc>
                <a:spcBef>
                  <a:spcPts val="450"/>
                </a:spcBef>
                <a:defRPr/>
              </a:pPr>
              <a:r>
                <a:rPr lang="en-US" sz="1400" b="0" kern="0" spc="0" dirty="0">
                  <a:ln>
                    <a:noFill/>
                  </a:ln>
                  <a:gradFill>
                    <a:gsLst>
                      <a:gs pos="0">
                        <a:schemeClr val="tx1"/>
                      </a:gs>
                      <a:gs pos="86000">
                        <a:schemeClr val="tx1"/>
                      </a:gs>
                    </a:gsLst>
                    <a:lin ang="5400000" scaled="0"/>
                  </a:gradFill>
                  <a:cs typeface="+mn-cs"/>
                </a:rPr>
                <a:t>Most cost effective way to purchase and manage licenses </a:t>
              </a:r>
            </a:p>
          </p:txBody>
        </p:sp>
      </p:grpSp>
      <p:grpSp>
        <p:nvGrpSpPr>
          <p:cNvPr id="39" name="Group 38"/>
          <p:cNvGrpSpPr/>
          <p:nvPr/>
        </p:nvGrpSpPr>
        <p:grpSpPr>
          <a:xfrm>
            <a:off x="3571447" y="2948879"/>
            <a:ext cx="1997537" cy="1995839"/>
            <a:chOff x="4760687" y="3904542"/>
            <a:chExt cx="2662689" cy="2661118"/>
          </a:xfrm>
        </p:grpSpPr>
        <p:sp>
          <p:nvSpPr>
            <p:cNvPr id="21" name="Presentation Title Rectangle"/>
            <p:cNvSpPr txBox="1">
              <a:spLocks/>
            </p:cNvSpPr>
            <p:nvPr/>
          </p:nvSpPr>
          <p:spPr>
            <a:xfrm>
              <a:off x="4760687" y="3904542"/>
              <a:ext cx="2662689" cy="1330559"/>
            </a:xfrm>
            <a:prstGeom prst="rect">
              <a:avLst/>
            </a:prstGeom>
            <a:solidFill>
              <a:schemeClr val="accent2"/>
            </a:solidFill>
            <a:effectLst/>
          </p:spPr>
          <p:txBody>
            <a:bodyPr lIns="91440" tIns="91440" rIns="91440" bIns="91440" anchor="b" anchorCtr="0">
              <a:noAutofit/>
            </a:bodyPr>
            <a:lstStyle>
              <a:defPPr>
                <a:defRPr lang="en-US"/>
              </a:defPPr>
              <a:lvl1pPr>
                <a:lnSpc>
                  <a:spcPct val="90000"/>
                </a:lnSpc>
                <a:spcBef>
                  <a:spcPct val="0"/>
                </a:spcBef>
                <a:buNone/>
                <a:defRPr sz="2000" b="1" i="0" kern="0" cap="none" spc="0" baseline="0">
                  <a:ln w="3175">
                    <a:noFill/>
                  </a:ln>
                  <a:solidFill>
                    <a:schemeClr val="tx1">
                      <a:alpha val="99000"/>
                    </a:schemeClr>
                  </a:solidFill>
                  <a:effectLst/>
                  <a:cs typeface="Arial" charset="0"/>
                </a:defRPr>
              </a:lvl1pPr>
            </a:lstStyle>
            <a:p>
              <a:r>
                <a:rPr lang="en-US" dirty="0">
                  <a:gradFill>
                    <a:gsLst>
                      <a:gs pos="0">
                        <a:schemeClr val="tx1"/>
                      </a:gs>
                      <a:gs pos="86000">
                        <a:schemeClr val="tx1"/>
                      </a:gs>
                    </a:gsLst>
                    <a:lin ang="5400000" scaled="0"/>
                  </a:gradFill>
                </a:rPr>
                <a:t>Move Between </a:t>
              </a:r>
              <a:r>
                <a:rPr lang="en-US" dirty="0" smtClean="0">
                  <a:gradFill>
                    <a:gsLst>
                      <a:gs pos="0">
                        <a:schemeClr val="tx1"/>
                      </a:gs>
                      <a:gs pos="86000">
                        <a:schemeClr val="tx1"/>
                      </a:gs>
                    </a:gsLst>
                    <a:lin ang="5400000" scaled="0"/>
                  </a:gradFill>
                </a:rPr>
                <a:t/>
              </a:r>
              <a:br>
                <a:rPr lang="en-US" dirty="0" smtClean="0">
                  <a:gradFill>
                    <a:gsLst>
                      <a:gs pos="0">
                        <a:schemeClr val="tx1"/>
                      </a:gs>
                      <a:gs pos="86000">
                        <a:schemeClr val="tx1"/>
                      </a:gs>
                    </a:gsLst>
                    <a:lin ang="5400000" scaled="0"/>
                  </a:gradFill>
                </a:rPr>
              </a:br>
              <a:r>
                <a:rPr lang="en-US" dirty="0" smtClean="0">
                  <a:gradFill>
                    <a:gsLst>
                      <a:gs pos="0">
                        <a:schemeClr val="tx1"/>
                      </a:gs>
                      <a:gs pos="86000">
                        <a:schemeClr val="tx1"/>
                      </a:gs>
                    </a:gsLst>
                    <a:lin ang="5400000" scaled="0"/>
                  </a:gradFill>
                </a:rPr>
                <a:t>On-Premises </a:t>
              </a:r>
              <a:r>
                <a:rPr lang="en-US" dirty="0">
                  <a:gradFill>
                    <a:gsLst>
                      <a:gs pos="0">
                        <a:schemeClr val="tx1"/>
                      </a:gs>
                      <a:gs pos="86000">
                        <a:schemeClr val="tx1"/>
                      </a:gs>
                    </a:gsLst>
                    <a:lin ang="5400000" scaled="0"/>
                  </a:gradFill>
                </a:rPr>
                <a:t/>
              </a:r>
              <a:br>
                <a:rPr lang="en-US" dirty="0">
                  <a:gradFill>
                    <a:gsLst>
                      <a:gs pos="0">
                        <a:schemeClr val="tx1"/>
                      </a:gs>
                      <a:gs pos="86000">
                        <a:schemeClr val="tx1"/>
                      </a:gs>
                    </a:gsLst>
                    <a:lin ang="5400000" scaled="0"/>
                  </a:gradFill>
                </a:rPr>
              </a:br>
              <a:r>
                <a:rPr lang="en-US" dirty="0">
                  <a:gradFill>
                    <a:gsLst>
                      <a:gs pos="0">
                        <a:schemeClr val="tx1"/>
                      </a:gs>
                      <a:gs pos="86000">
                        <a:schemeClr val="tx1"/>
                      </a:gs>
                    </a:gsLst>
                    <a:lin ang="5400000" scaled="0"/>
                  </a:gradFill>
                </a:rPr>
                <a:t>and Cloud</a:t>
              </a:r>
            </a:p>
          </p:txBody>
        </p:sp>
        <p:sp>
          <p:nvSpPr>
            <p:cNvPr id="22" name="Presentation Title Rectangle"/>
            <p:cNvSpPr txBox="1">
              <a:spLocks/>
            </p:cNvSpPr>
            <p:nvPr/>
          </p:nvSpPr>
          <p:spPr>
            <a:xfrm>
              <a:off x="4760687" y="5235101"/>
              <a:ext cx="2662689" cy="1330559"/>
            </a:xfrm>
            <a:prstGeom prst="rect">
              <a:avLst/>
            </a:prstGeom>
            <a:solidFill>
              <a:schemeClr val="bg2">
                <a:lumMod val="75000"/>
              </a:schemeClr>
            </a:solidFill>
            <a:effectLst/>
          </p:spPr>
          <p:txBody>
            <a:bodyPr lIns="91440" tIns="91440" rIns="91440" bIns="91440" anchor="t" anchorCtr="0">
              <a:noAutofit/>
            </a:bodyPr>
            <a:lstStyle>
              <a:lvl1pPr algn="l" defTabSz="914363"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tileRect/>
                  </a:gradFill>
                  <a:effectLst/>
                  <a:latin typeface="+mj-lt"/>
                  <a:ea typeface="+mn-ea"/>
                  <a:cs typeface="Arial" charset="0"/>
                </a:defRPr>
              </a:lvl1pPr>
            </a:lstStyle>
            <a:p>
              <a:pPr>
                <a:lnSpc>
                  <a:spcPct val="100000"/>
                </a:lnSpc>
                <a:spcBef>
                  <a:spcPts val="450"/>
                </a:spcBef>
                <a:defRPr/>
              </a:pPr>
              <a:r>
                <a:rPr lang="en-US" sz="1400" b="0" kern="0" spc="0" dirty="0">
                  <a:ln>
                    <a:noFill/>
                  </a:ln>
                  <a:gradFill>
                    <a:gsLst>
                      <a:gs pos="0">
                        <a:schemeClr val="tx1"/>
                      </a:gs>
                      <a:gs pos="86000">
                        <a:schemeClr val="tx1"/>
                      </a:gs>
                    </a:gsLst>
                    <a:lin ang="5400000" scaled="0"/>
                  </a:gradFill>
                  <a:cs typeface="+mn-cs"/>
                </a:rPr>
                <a:t>Responsive to changes in business requirements or  expectations</a:t>
              </a:r>
            </a:p>
          </p:txBody>
        </p:sp>
      </p:grpSp>
      <p:grpSp>
        <p:nvGrpSpPr>
          <p:cNvPr id="40" name="Group 39"/>
          <p:cNvGrpSpPr/>
          <p:nvPr/>
        </p:nvGrpSpPr>
        <p:grpSpPr>
          <a:xfrm>
            <a:off x="5665001" y="2952291"/>
            <a:ext cx="1997537" cy="1995839"/>
            <a:chOff x="7551366" y="3909091"/>
            <a:chExt cx="2662689" cy="2661118"/>
          </a:xfrm>
        </p:grpSpPr>
        <p:sp>
          <p:nvSpPr>
            <p:cNvPr id="24" name="Presentation Title Rectangle"/>
            <p:cNvSpPr txBox="1">
              <a:spLocks/>
            </p:cNvSpPr>
            <p:nvPr/>
          </p:nvSpPr>
          <p:spPr>
            <a:xfrm>
              <a:off x="7551366" y="3909091"/>
              <a:ext cx="2662689" cy="1330559"/>
            </a:xfrm>
            <a:prstGeom prst="rect">
              <a:avLst/>
            </a:prstGeom>
            <a:solidFill>
              <a:schemeClr val="accent1"/>
            </a:solidFill>
            <a:effectLst/>
          </p:spPr>
          <p:txBody>
            <a:bodyPr lIns="91440" tIns="91440" rIns="91440" bIns="91440" anchor="b" anchorCtr="0">
              <a:noAutofit/>
            </a:bodyPr>
            <a:lstStyle>
              <a:defPPr>
                <a:defRPr lang="en-US"/>
              </a:defPPr>
              <a:lvl1pPr>
                <a:lnSpc>
                  <a:spcPct val="90000"/>
                </a:lnSpc>
                <a:spcBef>
                  <a:spcPct val="0"/>
                </a:spcBef>
                <a:buNone/>
                <a:defRPr sz="2000" b="1" i="0" kern="0" cap="none" spc="0" baseline="0">
                  <a:ln w="3175">
                    <a:noFill/>
                  </a:ln>
                  <a:solidFill>
                    <a:schemeClr val="tx1">
                      <a:alpha val="99000"/>
                    </a:schemeClr>
                  </a:solidFill>
                  <a:effectLst/>
                  <a:cs typeface="Arial" charset="0"/>
                </a:defRPr>
              </a:lvl1pPr>
            </a:lstStyle>
            <a:p>
              <a:r>
                <a:rPr lang="en-US" dirty="0">
                  <a:gradFill>
                    <a:gsLst>
                      <a:gs pos="0">
                        <a:schemeClr val="tx1"/>
                      </a:gs>
                      <a:gs pos="86000">
                        <a:schemeClr val="tx1"/>
                      </a:gs>
                    </a:gsLst>
                    <a:lin ang="5400000" scaled="0"/>
                  </a:gradFill>
                </a:rPr>
                <a:t>Streamlined Agreement Structure</a:t>
              </a:r>
            </a:p>
          </p:txBody>
        </p:sp>
        <p:sp>
          <p:nvSpPr>
            <p:cNvPr id="25" name="Presentation Title Rectangle"/>
            <p:cNvSpPr txBox="1">
              <a:spLocks/>
            </p:cNvSpPr>
            <p:nvPr/>
          </p:nvSpPr>
          <p:spPr>
            <a:xfrm>
              <a:off x="7551366" y="5239650"/>
              <a:ext cx="2662689" cy="1330559"/>
            </a:xfrm>
            <a:prstGeom prst="rect">
              <a:avLst/>
            </a:prstGeom>
            <a:solidFill>
              <a:schemeClr val="bg2">
                <a:lumMod val="75000"/>
              </a:schemeClr>
            </a:solidFill>
            <a:effectLst/>
          </p:spPr>
          <p:txBody>
            <a:bodyPr lIns="91440" tIns="91440" rIns="91440" bIns="91440" anchor="t" anchorCtr="0">
              <a:noAutofit/>
            </a:bodyPr>
            <a:lstStyle>
              <a:lvl1pPr algn="l" defTabSz="914363"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tileRect/>
                  </a:gradFill>
                  <a:effectLst/>
                  <a:latin typeface="+mj-lt"/>
                  <a:ea typeface="+mn-ea"/>
                  <a:cs typeface="Arial" charset="0"/>
                </a:defRPr>
              </a:lvl1pPr>
            </a:lstStyle>
            <a:p>
              <a:pPr>
                <a:lnSpc>
                  <a:spcPct val="100000"/>
                </a:lnSpc>
                <a:spcBef>
                  <a:spcPts val="450"/>
                </a:spcBef>
                <a:defRPr/>
              </a:pPr>
              <a:r>
                <a:rPr lang="en-US" sz="1400" b="0" kern="0" spc="0" dirty="0">
                  <a:ln>
                    <a:noFill/>
                  </a:ln>
                  <a:gradFill>
                    <a:gsLst>
                      <a:gs pos="0">
                        <a:schemeClr val="tx1"/>
                      </a:gs>
                      <a:gs pos="86000">
                        <a:schemeClr val="tx1"/>
                      </a:gs>
                    </a:gsLst>
                    <a:lin ang="5400000" scaled="0"/>
                  </a:gradFill>
                  <a:cs typeface="+mn-cs"/>
                </a:rPr>
                <a:t>Reduces effort to add </a:t>
              </a:r>
              <a:br>
                <a:rPr lang="en-US" sz="1400" b="0" kern="0" spc="0" dirty="0">
                  <a:ln>
                    <a:noFill/>
                  </a:ln>
                  <a:gradFill>
                    <a:gsLst>
                      <a:gs pos="0">
                        <a:schemeClr val="tx1"/>
                      </a:gs>
                      <a:gs pos="86000">
                        <a:schemeClr val="tx1"/>
                      </a:gs>
                    </a:gsLst>
                    <a:lin ang="5400000" scaled="0"/>
                  </a:gradFill>
                  <a:cs typeface="+mn-cs"/>
                </a:rPr>
              </a:br>
              <a:r>
                <a:rPr lang="en-US" sz="1400" b="0" kern="0" spc="0" dirty="0">
                  <a:ln>
                    <a:noFill/>
                  </a:ln>
                  <a:gradFill>
                    <a:gsLst>
                      <a:gs pos="0">
                        <a:schemeClr val="tx1"/>
                      </a:gs>
                      <a:gs pos="86000">
                        <a:schemeClr val="tx1"/>
                      </a:gs>
                    </a:gsLst>
                    <a:lin ang="5400000" scaled="0"/>
                  </a:gradFill>
                  <a:cs typeface="+mn-cs"/>
                </a:rPr>
                <a:t>to or modify your EA and Enrollments</a:t>
              </a:r>
            </a:p>
          </p:txBody>
        </p:sp>
      </p:grpSp>
      <p:grpSp>
        <p:nvGrpSpPr>
          <p:cNvPr id="37" name="Group 36"/>
          <p:cNvGrpSpPr/>
          <p:nvPr/>
        </p:nvGrpSpPr>
        <p:grpSpPr>
          <a:xfrm>
            <a:off x="5658690" y="868804"/>
            <a:ext cx="1997537" cy="1995839"/>
            <a:chOff x="7542954" y="1158404"/>
            <a:chExt cx="2662689" cy="2661118"/>
          </a:xfrm>
        </p:grpSpPr>
        <p:sp>
          <p:nvSpPr>
            <p:cNvPr id="27" name="Presentation Title Rectangle"/>
            <p:cNvSpPr txBox="1">
              <a:spLocks/>
            </p:cNvSpPr>
            <p:nvPr/>
          </p:nvSpPr>
          <p:spPr>
            <a:xfrm>
              <a:off x="7542954" y="1158404"/>
              <a:ext cx="2662689" cy="1330559"/>
            </a:xfrm>
            <a:prstGeom prst="rect">
              <a:avLst/>
            </a:prstGeom>
            <a:solidFill>
              <a:schemeClr val="accent5"/>
            </a:solidFill>
            <a:effectLst/>
          </p:spPr>
          <p:txBody>
            <a:bodyPr lIns="91440" tIns="91440" rIns="91440" bIns="91440" anchor="b" anchorCtr="0">
              <a:noAutofit/>
            </a:bodyPr>
            <a:lstStyle>
              <a:lvl1pPr algn="l" defTabSz="914363"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tileRect/>
                  </a:gradFill>
                  <a:effectLst/>
                  <a:latin typeface="+mj-lt"/>
                  <a:ea typeface="+mn-ea"/>
                  <a:cs typeface="Arial" charset="0"/>
                </a:defRPr>
              </a:lvl1pPr>
            </a:lstStyle>
            <a:p>
              <a:pPr>
                <a:defRPr/>
              </a:pPr>
              <a:r>
                <a:rPr lang="en-US" sz="1500" kern="0" spc="0" dirty="0">
                  <a:gradFill>
                    <a:gsLst>
                      <a:gs pos="0">
                        <a:schemeClr val="tx1"/>
                      </a:gs>
                      <a:gs pos="86000">
                        <a:schemeClr val="tx1"/>
                      </a:gs>
                    </a:gsLst>
                    <a:lin ang="5400000" scaled="0"/>
                  </a:gradFill>
                  <a:latin typeface="+mn-lt"/>
                </a:rPr>
                <a:t>Cloud Ready When You Are – Transition When it Make Sense</a:t>
              </a:r>
            </a:p>
          </p:txBody>
        </p:sp>
        <p:sp>
          <p:nvSpPr>
            <p:cNvPr id="28" name="Presentation Title Rectangle"/>
            <p:cNvSpPr txBox="1">
              <a:spLocks/>
            </p:cNvSpPr>
            <p:nvPr/>
          </p:nvSpPr>
          <p:spPr>
            <a:xfrm>
              <a:off x="7542954" y="2488963"/>
              <a:ext cx="2662689" cy="1330559"/>
            </a:xfrm>
            <a:prstGeom prst="rect">
              <a:avLst/>
            </a:prstGeom>
            <a:solidFill>
              <a:schemeClr val="bg2">
                <a:lumMod val="75000"/>
              </a:schemeClr>
            </a:solidFill>
            <a:effectLst/>
          </p:spPr>
          <p:txBody>
            <a:bodyPr lIns="91440" tIns="91440" rIns="91440" bIns="91440" anchor="t" anchorCtr="0">
              <a:noAutofit/>
            </a:bodyPr>
            <a:lstStyle>
              <a:lvl1pPr algn="l" defTabSz="914363"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tileRect/>
                  </a:gradFill>
                  <a:effectLst/>
                  <a:latin typeface="+mj-lt"/>
                  <a:ea typeface="+mn-ea"/>
                  <a:cs typeface="Arial" charset="0"/>
                </a:defRPr>
              </a:lvl1pPr>
            </a:lstStyle>
            <a:p>
              <a:pPr>
                <a:lnSpc>
                  <a:spcPct val="100000"/>
                </a:lnSpc>
                <a:spcBef>
                  <a:spcPts val="450"/>
                </a:spcBef>
                <a:defRPr/>
              </a:pPr>
              <a:r>
                <a:rPr lang="en-US" sz="1400" b="0" kern="0" spc="0" dirty="0">
                  <a:ln>
                    <a:noFill/>
                  </a:ln>
                  <a:gradFill>
                    <a:gsLst>
                      <a:gs pos="0">
                        <a:schemeClr val="tx1"/>
                      </a:gs>
                      <a:gs pos="86000">
                        <a:schemeClr val="tx1"/>
                      </a:gs>
                    </a:gsLst>
                    <a:lin ang="5400000" scaled="0"/>
                  </a:gradFill>
                  <a:cs typeface="+mn-cs"/>
                </a:rPr>
                <a:t>License software </a:t>
              </a:r>
              <a:br>
                <a:rPr lang="en-US" sz="1400" b="0" kern="0" spc="0" dirty="0">
                  <a:ln>
                    <a:noFill/>
                  </a:ln>
                  <a:gradFill>
                    <a:gsLst>
                      <a:gs pos="0">
                        <a:schemeClr val="tx1"/>
                      </a:gs>
                      <a:gs pos="86000">
                        <a:schemeClr val="tx1"/>
                      </a:gs>
                    </a:gsLst>
                    <a:lin ang="5400000" scaled="0"/>
                  </a:gradFill>
                  <a:cs typeface="+mn-cs"/>
                </a:rPr>
              </a:br>
              <a:r>
                <a:rPr lang="en-US" sz="1400" b="0" kern="0" spc="0" dirty="0">
                  <a:ln>
                    <a:noFill/>
                  </a:ln>
                  <a:gradFill>
                    <a:gsLst>
                      <a:gs pos="0">
                        <a:schemeClr val="tx1"/>
                      </a:gs>
                      <a:gs pos="86000">
                        <a:schemeClr val="tx1"/>
                      </a:gs>
                    </a:gsLst>
                    <a:lin ang="5400000" scaled="0"/>
                  </a:gradFill>
                  <a:cs typeface="+mn-cs"/>
                </a:rPr>
                <a:t>and cloud services </a:t>
              </a:r>
              <a:br>
                <a:rPr lang="en-US" sz="1400" b="0" kern="0" spc="0" dirty="0">
                  <a:ln>
                    <a:noFill/>
                  </a:ln>
                  <a:gradFill>
                    <a:gsLst>
                      <a:gs pos="0">
                        <a:schemeClr val="tx1"/>
                      </a:gs>
                      <a:gs pos="86000">
                        <a:schemeClr val="tx1"/>
                      </a:gs>
                    </a:gsLst>
                    <a:lin ang="5400000" scaled="0"/>
                  </a:gradFill>
                  <a:cs typeface="+mn-cs"/>
                </a:rPr>
              </a:br>
              <a:r>
                <a:rPr lang="en-US" sz="1400" b="0" kern="0" spc="0" dirty="0">
                  <a:ln>
                    <a:noFill/>
                  </a:ln>
                  <a:gradFill>
                    <a:gsLst>
                      <a:gs pos="0">
                        <a:schemeClr val="tx1"/>
                      </a:gs>
                      <a:gs pos="86000">
                        <a:schemeClr val="tx1"/>
                      </a:gs>
                    </a:gsLst>
                    <a:lin ang="5400000" scaled="0"/>
                  </a:gradFill>
                  <a:cs typeface="+mn-cs"/>
                </a:rPr>
                <a:t>all in one agreement</a:t>
              </a:r>
            </a:p>
          </p:txBody>
        </p:sp>
      </p:grpSp>
      <p:grpSp>
        <p:nvGrpSpPr>
          <p:cNvPr id="36" name="Group 35"/>
          <p:cNvGrpSpPr/>
          <p:nvPr/>
        </p:nvGrpSpPr>
        <p:grpSpPr>
          <a:xfrm>
            <a:off x="3573233" y="868804"/>
            <a:ext cx="1997537" cy="1995839"/>
            <a:chOff x="4763068" y="1158404"/>
            <a:chExt cx="2662689" cy="2661118"/>
          </a:xfrm>
        </p:grpSpPr>
        <p:sp>
          <p:nvSpPr>
            <p:cNvPr id="30" name="Presentation Title Rectangle"/>
            <p:cNvSpPr txBox="1">
              <a:spLocks/>
            </p:cNvSpPr>
            <p:nvPr/>
          </p:nvSpPr>
          <p:spPr>
            <a:xfrm>
              <a:off x="4763068" y="1158404"/>
              <a:ext cx="2662689" cy="1330559"/>
            </a:xfrm>
            <a:prstGeom prst="rect">
              <a:avLst/>
            </a:prstGeom>
            <a:solidFill>
              <a:schemeClr val="accent1"/>
            </a:solidFill>
            <a:effectLst/>
          </p:spPr>
          <p:txBody>
            <a:bodyPr lIns="91440" tIns="91440" rIns="91440" bIns="91440" anchor="b" anchorCtr="0">
              <a:noAutofit/>
            </a:bodyPr>
            <a:lstStyle>
              <a:lvl1pPr algn="l" defTabSz="914363"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tileRect/>
                  </a:gradFill>
                  <a:effectLst/>
                  <a:latin typeface="+mj-lt"/>
                  <a:ea typeface="+mn-ea"/>
                  <a:cs typeface="Arial" charset="0"/>
                </a:defRPr>
              </a:lvl1pPr>
            </a:lstStyle>
            <a:p>
              <a:pPr>
                <a:defRPr/>
              </a:pPr>
              <a:r>
                <a:rPr lang="en-US" sz="1500" kern="0" spc="0" dirty="0">
                  <a:gradFill>
                    <a:gsLst>
                      <a:gs pos="0">
                        <a:schemeClr val="tx1"/>
                      </a:gs>
                      <a:gs pos="86000">
                        <a:schemeClr val="tx1"/>
                      </a:gs>
                    </a:gsLst>
                    <a:lin ang="5400000" scaled="0"/>
                  </a:gradFill>
                  <a:latin typeface="+mn-lt"/>
                </a:rPr>
                <a:t>Flexibility to Add </a:t>
              </a:r>
              <a:br>
                <a:rPr lang="en-US" sz="1500" kern="0" spc="0" dirty="0">
                  <a:gradFill>
                    <a:gsLst>
                      <a:gs pos="0">
                        <a:schemeClr val="tx1"/>
                      </a:gs>
                      <a:gs pos="86000">
                        <a:schemeClr val="tx1"/>
                      </a:gs>
                    </a:gsLst>
                    <a:lin ang="5400000" scaled="0"/>
                  </a:gradFill>
                  <a:latin typeface="+mn-lt"/>
                </a:rPr>
              </a:br>
              <a:r>
                <a:rPr lang="en-US" sz="1500" kern="0" spc="0" dirty="0">
                  <a:gradFill>
                    <a:gsLst>
                      <a:gs pos="0">
                        <a:schemeClr val="tx1"/>
                      </a:gs>
                      <a:gs pos="86000">
                        <a:schemeClr val="tx1"/>
                      </a:gs>
                    </a:gsLst>
                    <a:lin ang="5400000" scaled="0"/>
                  </a:gradFill>
                  <a:latin typeface="+mn-lt"/>
                </a:rPr>
                <a:t>or Adjust Products and Services</a:t>
              </a:r>
            </a:p>
          </p:txBody>
        </p:sp>
        <p:sp>
          <p:nvSpPr>
            <p:cNvPr id="31" name="Presentation Title Rectangle"/>
            <p:cNvSpPr txBox="1">
              <a:spLocks/>
            </p:cNvSpPr>
            <p:nvPr/>
          </p:nvSpPr>
          <p:spPr>
            <a:xfrm>
              <a:off x="4763068" y="2488963"/>
              <a:ext cx="2662689" cy="1330559"/>
            </a:xfrm>
            <a:prstGeom prst="rect">
              <a:avLst/>
            </a:prstGeom>
            <a:solidFill>
              <a:schemeClr val="bg2">
                <a:lumMod val="75000"/>
              </a:schemeClr>
            </a:solidFill>
            <a:effectLst/>
          </p:spPr>
          <p:txBody>
            <a:bodyPr lIns="91440" tIns="91440" rIns="91440" bIns="91440" anchor="t" anchorCtr="0">
              <a:noAutofit/>
            </a:bodyPr>
            <a:lstStyle>
              <a:lvl1pPr algn="l" defTabSz="914363"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tileRect/>
                  </a:gradFill>
                  <a:effectLst/>
                  <a:latin typeface="+mj-lt"/>
                  <a:ea typeface="+mn-ea"/>
                  <a:cs typeface="Arial" charset="0"/>
                </a:defRPr>
              </a:lvl1pPr>
            </a:lstStyle>
            <a:p>
              <a:pPr>
                <a:lnSpc>
                  <a:spcPct val="100000"/>
                </a:lnSpc>
                <a:spcBef>
                  <a:spcPts val="450"/>
                </a:spcBef>
                <a:defRPr/>
              </a:pPr>
              <a:r>
                <a:rPr lang="en-US" sz="1400" b="0" kern="0" spc="0" dirty="0">
                  <a:ln>
                    <a:noFill/>
                  </a:ln>
                  <a:gradFill>
                    <a:gsLst>
                      <a:gs pos="0">
                        <a:schemeClr val="tx1"/>
                      </a:gs>
                      <a:gs pos="86000">
                        <a:schemeClr val="tx1"/>
                      </a:gs>
                    </a:gsLst>
                    <a:lin ang="5400000" scaled="0"/>
                  </a:gradFill>
                  <a:cs typeface="+mn-cs"/>
                </a:rPr>
                <a:t>Match workloads of different types of users when needed</a:t>
              </a:r>
            </a:p>
          </p:txBody>
        </p:sp>
      </p:grpSp>
      <p:grpSp>
        <p:nvGrpSpPr>
          <p:cNvPr id="35" name="Group 34"/>
          <p:cNvGrpSpPr/>
          <p:nvPr/>
        </p:nvGrpSpPr>
        <p:grpSpPr>
          <a:xfrm>
            <a:off x="1482642" y="857327"/>
            <a:ext cx="1997537" cy="1995839"/>
            <a:chOff x="1976340" y="1143101"/>
            <a:chExt cx="2662689" cy="2661118"/>
          </a:xfrm>
        </p:grpSpPr>
        <p:sp>
          <p:nvSpPr>
            <p:cNvPr id="33" name="Presentation Title Rectangle"/>
            <p:cNvSpPr txBox="1">
              <a:spLocks/>
            </p:cNvSpPr>
            <p:nvPr/>
          </p:nvSpPr>
          <p:spPr>
            <a:xfrm>
              <a:off x="1976340" y="1143101"/>
              <a:ext cx="2662689" cy="1330559"/>
            </a:xfrm>
            <a:prstGeom prst="rect">
              <a:avLst/>
            </a:prstGeom>
            <a:solidFill>
              <a:schemeClr val="accent2"/>
            </a:solidFill>
            <a:effectLst/>
          </p:spPr>
          <p:txBody>
            <a:bodyPr lIns="91440" tIns="91440" rIns="91440" bIns="91440" anchor="b" anchorCtr="0">
              <a:noAutofit/>
            </a:bodyPr>
            <a:lstStyle>
              <a:lvl1pPr algn="l" defTabSz="914363"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tileRect/>
                  </a:gradFill>
                  <a:effectLst/>
                  <a:latin typeface="+mj-lt"/>
                  <a:ea typeface="+mn-ea"/>
                  <a:cs typeface="Arial" charset="0"/>
                </a:defRPr>
              </a:lvl1pPr>
            </a:lstStyle>
            <a:p>
              <a:pPr>
                <a:defRPr/>
              </a:pPr>
              <a:r>
                <a:rPr lang="en-US" sz="1500" kern="0" spc="0" dirty="0">
                  <a:gradFill>
                    <a:gsLst>
                      <a:gs pos="0">
                        <a:schemeClr val="tx1"/>
                      </a:gs>
                      <a:gs pos="86000">
                        <a:schemeClr val="tx1"/>
                      </a:gs>
                    </a:gsLst>
                    <a:lin ang="5400000" scaled="0"/>
                  </a:gradFill>
                  <a:latin typeface="+mn-lt"/>
                </a:rPr>
                <a:t>Deployment </a:t>
              </a:r>
              <a:br>
                <a:rPr lang="en-US" sz="1500" kern="0" spc="0" dirty="0">
                  <a:gradFill>
                    <a:gsLst>
                      <a:gs pos="0">
                        <a:schemeClr val="tx1"/>
                      </a:gs>
                      <a:gs pos="86000">
                        <a:schemeClr val="tx1"/>
                      </a:gs>
                    </a:gsLst>
                    <a:lin ang="5400000" scaled="0"/>
                  </a:gradFill>
                  <a:latin typeface="+mn-lt"/>
                </a:rPr>
              </a:br>
              <a:r>
                <a:rPr lang="en-US" sz="1500" kern="0" spc="0" dirty="0">
                  <a:gradFill>
                    <a:gsLst>
                      <a:gs pos="0">
                        <a:schemeClr val="tx1"/>
                      </a:gs>
                      <a:gs pos="86000">
                        <a:schemeClr val="tx1"/>
                      </a:gs>
                    </a:gsLst>
                    <a:lin ang="5400000" scaled="0"/>
                  </a:gradFill>
                  <a:latin typeface="+mn-lt"/>
                </a:rPr>
                <a:t>Choice</a:t>
              </a:r>
            </a:p>
          </p:txBody>
        </p:sp>
        <p:sp>
          <p:nvSpPr>
            <p:cNvPr id="34" name="Presentation Title Rectangle"/>
            <p:cNvSpPr txBox="1">
              <a:spLocks/>
            </p:cNvSpPr>
            <p:nvPr/>
          </p:nvSpPr>
          <p:spPr>
            <a:xfrm>
              <a:off x="1976340" y="2473660"/>
              <a:ext cx="2662689" cy="1330559"/>
            </a:xfrm>
            <a:prstGeom prst="rect">
              <a:avLst/>
            </a:prstGeom>
            <a:solidFill>
              <a:schemeClr val="bg2">
                <a:lumMod val="75000"/>
              </a:schemeClr>
            </a:solidFill>
            <a:effectLst/>
          </p:spPr>
          <p:txBody>
            <a:bodyPr lIns="91440" tIns="91440" rIns="91440" bIns="91440" anchor="t" anchorCtr="0">
              <a:noAutofit/>
            </a:bodyPr>
            <a:lstStyle>
              <a:lvl1pPr algn="l" defTabSz="914363"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tileRect/>
                  </a:gradFill>
                  <a:effectLst/>
                  <a:latin typeface="+mj-lt"/>
                  <a:ea typeface="+mn-ea"/>
                  <a:cs typeface="Arial" charset="0"/>
                </a:defRPr>
              </a:lvl1pPr>
            </a:lstStyle>
            <a:p>
              <a:pPr>
                <a:lnSpc>
                  <a:spcPct val="100000"/>
                </a:lnSpc>
                <a:spcBef>
                  <a:spcPts val="450"/>
                </a:spcBef>
                <a:defRPr/>
              </a:pPr>
              <a:r>
                <a:rPr lang="en-US" sz="1400" b="0" kern="0" spc="0" dirty="0">
                  <a:ln>
                    <a:noFill/>
                  </a:ln>
                  <a:gradFill>
                    <a:gsLst>
                      <a:gs pos="0">
                        <a:schemeClr val="tx1"/>
                      </a:gs>
                      <a:gs pos="86000">
                        <a:schemeClr val="tx1"/>
                      </a:gs>
                    </a:gsLst>
                    <a:lin ang="5400000" scaled="0"/>
                  </a:gradFill>
                  <a:cs typeface="+mn-cs"/>
                </a:rPr>
                <a:t>Deploy software On-Premises , Private and Public cloud </a:t>
              </a:r>
            </a:p>
          </p:txBody>
        </p:sp>
      </p:grpSp>
      <p:sp>
        <p:nvSpPr>
          <p:cNvPr id="23"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6"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pic>
        <p:nvPicPr>
          <p:cNvPr id="29"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784611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35"/>
                                        </p:tgtEl>
                                        <p:attrNameLst>
                                          <p:attrName>style.visibility</p:attrName>
                                        </p:attrNameLst>
                                      </p:cBhvr>
                                      <p:to>
                                        <p:strVal val="visible"/>
                                      </p:to>
                                    </p:set>
                                    <p:anim calcmode="lin" valueType="num">
                                      <p:cBhvr additive="base">
                                        <p:cTn id="7" dur="1000" fill="hold"/>
                                        <p:tgtEl>
                                          <p:spTgt spid="35"/>
                                        </p:tgtEl>
                                        <p:attrNameLst>
                                          <p:attrName>ppt_x</p:attrName>
                                        </p:attrNameLst>
                                      </p:cBhvr>
                                      <p:tavLst>
                                        <p:tav tm="0">
                                          <p:val>
                                            <p:strVal val="1+#ppt_w/2"/>
                                          </p:val>
                                        </p:tav>
                                        <p:tav tm="100000">
                                          <p:val>
                                            <p:strVal val="#ppt_x"/>
                                          </p:val>
                                        </p:tav>
                                      </p:tavLst>
                                    </p:anim>
                                    <p:anim calcmode="lin" valueType="num">
                                      <p:cBhvr additive="base">
                                        <p:cTn id="8" dur="1000" fill="hold"/>
                                        <p:tgtEl>
                                          <p:spTgt spid="35"/>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50"/>
                                  </p:stCondLst>
                                  <p:childTnLst>
                                    <p:set>
                                      <p:cBhvr>
                                        <p:cTn id="10" dur="1" fill="hold">
                                          <p:stCondLst>
                                            <p:cond delay="0"/>
                                          </p:stCondLst>
                                        </p:cTn>
                                        <p:tgtEl>
                                          <p:spTgt spid="36"/>
                                        </p:tgtEl>
                                        <p:attrNameLst>
                                          <p:attrName>style.visibility</p:attrName>
                                        </p:attrNameLst>
                                      </p:cBhvr>
                                      <p:to>
                                        <p:strVal val="visible"/>
                                      </p:to>
                                    </p:set>
                                    <p:anim calcmode="lin" valueType="num">
                                      <p:cBhvr additive="base">
                                        <p:cTn id="11" dur="1000" fill="hold"/>
                                        <p:tgtEl>
                                          <p:spTgt spid="36"/>
                                        </p:tgtEl>
                                        <p:attrNameLst>
                                          <p:attrName>ppt_x</p:attrName>
                                        </p:attrNameLst>
                                      </p:cBhvr>
                                      <p:tavLst>
                                        <p:tav tm="0">
                                          <p:val>
                                            <p:strVal val="1+#ppt_w/2"/>
                                          </p:val>
                                        </p:tav>
                                        <p:tav tm="100000">
                                          <p:val>
                                            <p:strVal val="#ppt_x"/>
                                          </p:val>
                                        </p:tav>
                                      </p:tavLst>
                                    </p:anim>
                                    <p:anim calcmode="lin" valueType="num">
                                      <p:cBhvr additive="base">
                                        <p:cTn id="12" dur="1000" fill="hold"/>
                                        <p:tgtEl>
                                          <p:spTgt spid="36"/>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500"/>
                                  </p:stCondLst>
                                  <p:childTnLst>
                                    <p:set>
                                      <p:cBhvr>
                                        <p:cTn id="14" dur="1" fill="hold">
                                          <p:stCondLst>
                                            <p:cond delay="0"/>
                                          </p:stCondLst>
                                        </p:cTn>
                                        <p:tgtEl>
                                          <p:spTgt spid="37"/>
                                        </p:tgtEl>
                                        <p:attrNameLst>
                                          <p:attrName>style.visibility</p:attrName>
                                        </p:attrNameLst>
                                      </p:cBhvr>
                                      <p:to>
                                        <p:strVal val="visible"/>
                                      </p:to>
                                    </p:set>
                                    <p:anim calcmode="lin" valueType="num">
                                      <p:cBhvr additive="base">
                                        <p:cTn id="15" dur="1000" fill="hold"/>
                                        <p:tgtEl>
                                          <p:spTgt spid="37"/>
                                        </p:tgtEl>
                                        <p:attrNameLst>
                                          <p:attrName>ppt_x</p:attrName>
                                        </p:attrNameLst>
                                      </p:cBhvr>
                                      <p:tavLst>
                                        <p:tav tm="0">
                                          <p:val>
                                            <p:strVal val="1+#ppt_w/2"/>
                                          </p:val>
                                        </p:tav>
                                        <p:tav tm="100000">
                                          <p:val>
                                            <p:strVal val="#ppt_x"/>
                                          </p:val>
                                        </p:tav>
                                      </p:tavLst>
                                    </p:anim>
                                    <p:anim calcmode="lin" valueType="num">
                                      <p:cBhvr additive="base">
                                        <p:cTn id="16" dur="1000" fill="hold"/>
                                        <p:tgtEl>
                                          <p:spTgt spid="37"/>
                                        </p:tgtEl>
                                        <p:attrNameLst>
                                          <p:attrName>ppt_y</p:attrName>
                                        </p:attrNameLst>
                                      </p:cBhvr>
                                      <p:tavLst>
                                        <p:tav tm="0">
                                          <p:val>
                                            <p:strVal val="#ppt_y"/>
                                          </p:val>
                                        </p:tav>
                                        <p:tav tm="100000">
                                          <p:val>
                                            <p:strVal val="#ppt_y"/>
                                          </p:val>
                                        </p:tav>
                                      </p:tavLst>
                                    </p:anim>
                                  </p:childTnLst>
                                </p:cTn>
                              </p:par>
                            </p:childTnLst>
                          </p:cTn>
                        </p:par>
                        <p:par>
                          <p:cTn id="17" fill="hold">
                            <p:stCondLst>
                              <p:cond delay="1500"/>
                            </p:stCondLst>
                            <p:childTnLst>
                              <p:par>
                                <p:cTn id="18" presetID="2" presetClass="entr" presetSubtype="2" decel="100000" fill="hold" nodeType="afterEffect">
                                  <p:stCondLst>
                                    <p:cond delay="0"/>
                                  </p:stCondLst>
                                  <p:childTnLst>
                                    <p:set>
                                      <p:cBhvr>
                                        <p:cTn id="19" dur="1" fill="hold">
                                          <p:stCondLst>
                                            <p:cond delay="0"/>
                                          </p:stCondLst>
                                        </p:cTn>
                                        <p:tgtEl>
                                          <p:spTgt spid="38"/>
                                        </p:tgtEl>
                                        <p:attrNameLst>
                                          <p:attrName>style.visibility</p:attrName>
                                        </p:attrNameLst>
                                      </p:cBhvr>
                                      <p:to>
                                        <p:strVal val="visible"/>
                                      </p:to>
                                    </p:set>
                                    <p:anim calcmode="lin" valueType="num">
                                      <p:cBhvr additive="base">
                                        <p:cTn id="20" dur="1000" fill="hold"/>
                                        <p:tgtEl>
                                          <p:spTgt spid="38"/>
                                        </p:tgtEl>
                                        <p:attrNameLst>
                                          <p:attrName>ppt_x</p:attrName>
                                        </p:attrNameLst>
                                      </p:cBhvr>
                                      <p:tavLst>
                                        <p:tav tm="0">
                                          <p:val>
                                            <p:strVal val="1+#ppt_w/2"/>
                                          </p:val>
                                        </p:tav>
                                        <p:tav tm="100000">
                                          <p:val>
                                            <p:strVal val="#ppt_x"/>
                                          </p:val>
                                        </p:tav>
                                      </p:tavLst>
                                    </p:anim>
                                    <p:anim calcmode="lin" valueType="num">
                                      <p:cBhvr additive="base">
                                        <p:cTn id="21" dur="1000" fill="hold"/>
                                        <p:tgtEl>
                                          <p:spTgt spid="38"/>
                                        </p:tgtEl>
                                        <p:attrNameLst>
                                          <p:attrName>ppt_y</p:attrName>
                                        </p:attrNameLst>
                                      </p:cBhvr>
                                      <p:tavLst>
                                        <p:tav tm="0">
                                          <p:val>
                                            <p:strVal val="#ppt_y"/>
                                          </p:val>
                                        </p:tav>
                                        <p:tav tm="100000">
                                          <p:val>
                                            <p:strVal val="#ppt_y"/>
                                          </p:val>
                                        </p:tav>
                                      </p:tavLst>
                                    </p:anim>
                                  </p:childTnLst>
                                </p:cTn>
                              </p:par>
                              <p:par>
                                <p:cTn id="22" presetID="2" presetClass="entr" presetSubtype="2" decel="100000" fill="hold" nodeType="withEffect">
                                  <p:stCondLst>
                                    <p:cond delay="250"/>
                                  </p:stCondLst>
                                  <p:childTnLst>
                                    <p:set>
                                      <p:cBhvr>
                                        <p:cTn id="23" dur="1" fill="hold">
                                          <p:stCondLst>
                                            <p:cond delay="0"/>
                                          </p:stCondLst>
                                        </p:cTn>
                                        <p:tgtEl>
                                          <p:spTgt spid="39"/>
                                        </p:tgtEl>
                                        <p:attrNameLst>
                                          <p:attrName>style.visibility</p:attrName>
                                        </p:attrNameLst>
                                      </p:cBhvr>
                                      <p:to>
                                        <p:strVal val="visible"/>
                                      </p:to>
                                    </p:set>
                                    <p:anim calcmode="lin" valueType="num">
                                      <p:cBhvr additive="base">
                                        <p:cTn id="24" dur="1000" fill="hold"/>
                                        <p:tgtEl>
                                          <p:spTgt spid="39"/>
                                        </p:tgtEl>
                                        <p:attrNameLst>
                                          <p:attrName>ppt_x</p:attrName>
                                        </p:attrNameLst>
                                      </p:cBhvr>
                                      <p:tavLst>
                                        <p:tav tm="0">
                                          <p:val>
                                            <p:strVal val="1+#ppt_w/2"/>
                                          </p:val>
                                        </p:tav>
                                        <p:tav tm="100000">
                                          <p:val>
                                            <p:strVal val="#ppt_x"/>
                                          </p:val>
                                        </p:tav>
                                      </p:tavLst>
                                    </p:anim>
                                    <p:anim calcmode="lin" valueType="num">
                                      <p:cBhvr additive="base">
                                        <p:cTn id="25" dur="1000" fill="hold"/>
                                        <p:tgtEl>
                                          <p:spTgt spid="39"/>
                                        </p:tgtEl>
                                        <p:attrNameLst>
                                          <p:attrName>ppt_y</p:attrName>
                                        </p:attrNameLst>
                                      </p:cBhvr>
                                      <p:tavLst>
                                        <p:tav tm="0">
                                          <p:val>
                                            <p:strVal val="#ppt_y"/>
                                          </p:val>
                                        </p:tav>
                                        <p:tav tm="100000">
                                          <p:val>
                                            <p:strVal val="#ppt_y"/>
                                          </p:val>
                                        </p:tav>
                                      </p:tavLst>
                                    </p:anim>
                                  </p:childTnLst>
                                </p:cTn>
                              </p:par>
                              <p:par>
                                <p:cTn id="26" presetID="2" presetClass="entr" presetSubtype="2" decel="100000" fill="hold" nodeType="withEffect">
                                  <p:stCondLst>
                                    <p:cond delay="500"/>
                                  </p:stCondLst>
                                  <p:childTnLst>
                                    <p:set>
                                      <p:cBhvr>
                                        <p:cTn id="27" dur="1" fill="hold">
                                          <p:stCondLst>
                                            <p:cond delay="0"/>
                                          </p:stCondLst>
                                        </p:cTn>
                                        <p:tgtEl>
                                          <p:spTgt spid="40"/>
                                        </p:tgtEl>
                                        <p:attrNameLst>
                                          <p:attrName>style.visibility</p:attrName>
                                        </p:attrNameLst>
                                      </p:cBhvr>
                                      <p:to>
                                        <p:strVal val="visible"/>
                                      </p:to>
                                    </p:set>
                                    <p:anim calcmode="lin" valueType="num">
                                      <p:cBhvr additive="base">
                                        <p:cTn id="28" dur="1000" fill="hold"/>
                                        <p:tgtEl>
                                          <p:spTgt spid="40"/>
                                        </p:tgtEl>
                                        <p:attrNameLst>
                                          <p:attrName>ppt_x</p:attrName>
                                        </p:attrNameLst>
                                      </p:cBhvr>
                                      <p:tavLst>
                                        <p:tav tm="0">
                                          <p:val>
                                            <p:strVal val="1+#ppt_w/2"/>
                                          </p:val>
                                        </p:tav>
                                        <p:tav tm="100000">
                                          <p:val>
                                            <p:strVal val="#ppt_x"/>
                                          </p:val>
                                        </p:tav>
                                      </p:tavLst>
                                    </p:anim>
                                    <p:anim calcmode="lin" valueType="num">
                                      <p:cBhvr additive="base">
                                        <p:cTn id="29" dur="1000" fill="hold"/>
                                        <p:tgtEl>
                                          <p:spTgt spid="4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9" name="Picture 58"/>
          <p:cNvPicPr>
            <a:picLocks noChangeAspect="1"/>
          </p:cNvPicPr>
          <p:nvPr/>
        </p:nvPicPr>
        <p:blipFill rotWithShape="1">
          <a:blip r:embed="rId3">
            <a:extLst>
              <a:ext uri="{28A0092B-C50C-407E-A947-70E740481C1C}">
                <a14:useLocalDpi xmlns:a14="http://schemas.microsoft.com/office/drawing/2010/main" val="0"/>
              </a:ext>
            </a:extLst>
          </a:blip>
          <a:srcRect l="6035" r="5765" b="74141"/>
          <a:stretch/>
        </p:blipFill>
        <p:spPr>
          <a:xfrm>
            <a:off x="1599427" y="3600450"/>
            <a:ext cx="5945147" cy="1543050"/>
          </a:xfrm>
          <a:prstGeom prst="rect">
            <a:avLst/>
          </a:prstGeom>
        </p:spPr>
      </p:pic>
      <p:grpSp>
        <p:nvGrpSpPr>
          <p:cNvPr id="34" name="Group 33"/>
          <p:cNvGrpSpPr/>
          <p:nvPr/>
        </p:nvGrpSpPr>
        <p:grpSpPr>
          <a:xfrm>
            <a:off x="2285406" y="1032110"/>
            <a:ext cx="1657781" cy="1673352"/>
            <a:chOff x="3046412" y="1376147"/>
            <a:chExt cx="2209799" cy="2231136"/>
          </a:xfrm>
        </p:grpSpPr>
        <p:sp>
          <p:nvSpPr>
            <p:cNvPr id="60" name="Rectangular Callout 59"/>
            <p:cNvSpPr/>
            <p:nvPr/>
          </p:nvSpPr>
          <p:spPr bwMode="auto">
            <a:xfrm>
              <a:off x="3122612" y="1376147"/>
              <a:ext cx="2133599" cy="2231136"/>
            </a:xfrm>
            <a:prstGeom prst="wedgeRectCallout">
              <a:avLst>
                <a:gd name="adj1" fmla="val 1446"/>
                <a:gd name="adj2" fmla="val 144725"/>
              </a:avLst>
            </a:prstGeom>
            <a:solidFill>
              <a:schemeClr val="bg2">
                <a:lumMod val="75000"/>
              </a:schemeClr>
            </a:solidFill>
            <a:ln w="38100">
              <a:solidFill>
                <a:schemeClr val="accent5"/>
              </a:solid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91440" rIns="91436" bIns="91440" numCol="1" rtlCol="0" anchor="b" anchorCtr="0" compatLnSpc="1">
              <a:prstTxWarp prst="textNoShape">
                <a:avLst/>
              </a:prstTxWarp>
              <a:noAutofit/>
            </a:bodyPr>
            <a:lstStyle/>
            <a:p>
              <a:pPr defTabSz="342931"/>
              <a:r>
                <a:rPr lang="en-US" altLang="zh-CN" sz="1200" dirty="0">
                  <a:gradFill>
                    <a:gsLst>
                      <a:gs pos="0">
                        <a:schemeClr val="tx1"/>
                      </a:gs>
                      <a:gs pos="100000">
                        <a:schemeClr val="tx1"/>
                      </a:gs>
                    </a:gsLst>
                    <a:lin ang="5400000" scaled="0"/>
                  </a:gradFill>
                </a:rPr>
                <a:t>3</a:t>
              </a:r>
              <a:r>
                <a:rPr lang="en-US" altLang="zh-CN" sz="1200" baseline="30000" dirty="0">
                  <a:gradFill>
                    <a:gsLst>
                      <a:gs pos="0">
                        <a:schemeClr val="tx1"/>
                      </a:gs>
                      <a:gs pos="100000">
                        <a:schemeClr val="tx1"/>
                      </a:gs>
                    </a:gsLst>
                    <a:lin ang="5400000" scaled="0"/>
                  </a:gradFill>
                </a:rPr>
                <a:t>rd</a:t>
              </a:r>
              <a:r>
                <a:rPr lang="en-US" altLang="zh-CN" sz="1200" dirty="0">
                  <a:gradFill>
                    <a:gsLst>
                      <a:gs pos="0">
                        <a:schemeClr val="tx1"/>
                      </a:gs>
                      <a:gs pos="100000">
                        <a:schemeClr val="tx1"/>
                      </a:gs>
                    </a:gsLst>
                    <a:lin ang="5400000" scaled="0"/>
                  </a:gradFill>
                </a:rPr>
                <a:t> Party </a:t>
              </a:r>
            </a:p>
            <a:p>
              <a:pPr defTabSz="342931"/>
              <a:r>
                <a:rPr lang="en-US" altLang="zh-CN" sz="1200" dirty="0">
                  <a:gradFill>
                    <a:gsLst>
                      <a:gs pos="0">
                        <a:schemeClr val="tx1"/>
                      </a:gs>
                      <a:gs pos="100000">
                        <a:schemeClr val="tx1"/>
                      </a:gs>
                    </a:gsLst>
                    <a:lin ang="5400000" scaled="0"/>
                  </a:gradFill>
                </a:rPr>
                <a:t>Hosted Datacenter: </a:t>
              </a:r>
            </a:p>
            <a:p>
              <a:pPr defTabSz="342931"/>
              <a:r>
                <a:rPr lang="en-US" altLang="zh-CN" sz="1100" dirty="0">
                  <a:gradFill>
                    <a:gsLst>
                      <a:gs pos="0">
                        <a:schemeClr val="tx1"/>
                      </a:gs>
                      <a:gs pos="100000">
                        <a:schemeClr val="tx1"/>
                      </a:gs>
                    </a:gsLst>
                    <a:lin ang="5400000" scaled="0"/>
                  </a:gradFill>
                </a:rPr>
                <a:t>10 Virtual Servers </a:t>
              </a:r>
              <a:endParaRPr lang="fr-FR" altLang="zh-CN" sz="1100" dirty="0">
                <a:gradFill>
                  <a:gsLst>
                    <a:gs pos="0">
                      <a:schemeClr val="tx1"/>
                    </a:gs>
                    <a:gs pos="100000">
                      <a:schemeClr val="tx1"/>
                    </a:gs>
                  </a:gsLst>
                  <a:lin ang="5400000" scaled="0"/>
                </a:gradFill>
              </a:endParaRPr>
            </a:p>
          </p:txBody>
        </p:sp>
        <p:sp>
          <p:nvSpPr>
            <p:cNvPr id="107" name="Freeform 15"/>
            <p:cNvSpPr>
              <a:spLocks/>
            </p:cNvSpPr>
            <p:nvPr/>
          </p:nvSpPr>
          <p:spPr bwMode="auto">
            <a:xfrm>
              <a:off x="3046412" y="1902560"/>
              <a:ext cx="2157943" cy="1169065"/>
            </a:xfrm>
            <a:custGeom>
              <a:avLst/>
              <a:gdLst>
                <a:gd name="T0" fmla="*/ 84 w 461"/>
                <a:gd name="T1" fmla="*/ 227 h 227"/>
                <a:gd name="T2" fmla="*/ 366 w 461"/>
                <a:gd name="T3" fmla="*/ 227 h 227"/>
                <a:gd name="T4" fmla="*/ 441 w 461"/>
                <a:gd name="T5" fmla="*/ 150 h 227"/>
                <a:gd name="T6" fmla="*/ 349 w 461"/>
                <a:gd name="T7" fmla="*/ 0 h 227"/>
                <a:gd name="T8" fmla="*/ 249 w 461"/>
                <a:gd name="T9" fmla="*/ 62 h 227"/>
                <a:gd name="T10" fmla="*/ 193 w 461"/>
                <a:gd name="T11" fmla="*/ 38 h 227"/>
                <a:gd name="T12" fmla="*/ 120 w 461"/>
                <a:gd name="T13" fmla="*/ 97 h 227"/>
                <a:gd name="T14" fmla="*/ 74 w 461"/>
                <a:gd name="T15" fmla="*/ 98 h 227"/>
                <a:gd name="T16" fmla="*/ 84 w 461"/>
                <a:gd name="T17" fmla="*/ 227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1" h="227">
                  <a:moveTo>
                    <a:pt x="84" y="227"/>
                  </a:moveTo>
                  <a:cubicBezTo>
                    <a:pt x="366" y="227"/>
                    <a:pt x="366" y="227"/>
                    <a:pt x="366" y="227"/>
                  </a:cubicBezTo>
                  <a:cubicBezTo>
                    <a:pt x="366" y="227"/>
                    <a:pt x="422" y="215"/>
                    <a:pt x="441" y="150"/>
                  </a:cubicBezTo>
                  <a:cubicBezTo>
                    <a:pt x="461" y="85"/>
                    <a:pt x="417" y="0"/>
                    <a:pt x="349" y="0"/>
                  </a:cubicBezTo>
                  <a:cubicBezTo>
                    <a:pt x="291" y="0"/>
                    <a:pt x="266" y="31"/>
                    <a:pt x="249" y="62"/>
                  </a:cubicBezTo>
                  <a:cubicBezTo>
                    <a:pt x="249" y="62"/>
                    <a:pt x="226" y="36"/>
                    <a:pt x="193" y="38"/>
                  </a:cubicBezTo>
                  <a:cubicBezTo>
                    <a:pt x="160" y="40"/>
                    <a:pt x="138" y="50"/>
                    <a:pt x="120" y="97"/>
                  </a:cubicBezTo>
                  <a:cubicBezTo>
                    <a:pt x="120" y="97"/>
                    <a:pt x="98" y="89"/>
                    <a:pt x="74" y="98"/>
                  </a:cubicBezTo>
                  <a:cubicBezTo>
                    <a:pt x="32" y="113"/>
                    <a:pt x="0" y="196"/>
                    <a:pt x="84" y="227"/>
                  </a:cubicBezTo>
                </a:path>
              </a:pathLst>
            </a:custGeom>
            <a:solidFill>
              <a:srgbClr val="01A9D0">
                <a:alpha val="80000"/>
              </a:srgbClr>
            </a:solidFill>
            <a:ln>
              <a:noFill/>
            </a:ln>
            <a:extLst/>
          </p:spPr>
          <p:txBody>
            <a:bodyPr vert="horz" wrap="square" lIns="91440" tIns="45720" rIns="91440" bIns="45720" numCol="1" anchor="t" anchorCtr="0" compatLnSpc="1">
              <a:prstTxWarp prst="textNoShape">
                <a:avLst/>
              </a:prstTxWarp>
            </a:bodyPr>
            <a:lstStyle/>
            <a:p>
              <a:endParaRPr lang="en-US" dirty="0"/>
            </a:p>
          </p:txBody>
        </p:sp>
        <p:grpSp>
          <p:nvGrpSpPr>
            <p:cNvPr id="108" name="Group 107"/>
            <p:cNvGrpSpPr/>
            <p:nvPr/>
          </p:nvGrpSpPr>
          <p:grpSpPr>
            <a:xfrm>
              <a:off x="3503612" y="2175362"/>
              <a:ext cx="1371600" cy="1003352"/>
              <a:chOff x="220136" y="2449716"/>
              <a:chExt cx="1371600" cy="1003352"/>
            </a:xfrm>
          </p:grpSpPr>
          <p:sp>
            <p:nvSpPr>
              <p:cNvPr id="109" name="TextBox 108"/>
              <p:cNvSpPr txBox="1"/>
              <p:nvPr/>
            </p:nvSpPr>
            <p:spPr>
              <a:xfrm>
                <a:off x="220136" y="2449716"/>
                <a:ext cx="1007155" cy="1003352"/>
              </a:xfrm>
              <a:prstGeom prst="rect">
                <a:avLst/>
              </a:prstGeom>
              <a:noFill/>
            </p:spPr>
            <p:txBody>
              <a:bodyPr wrap="square" lIns="91440" tIns="91440" rIns="91440" bIns="91440" rtlCol="0">
                <a:spAutoFit/>
              </a:bodyPr>
              <a:lstStyle/>
              <a:p>
                <a:pPr>
                  <a:lnSpc>
                    <a:spcPct val="90000"/>
                  </a:lnSpc>
                  <a:spcBef>
                    <a:spcPct val="20000"/>
                  </a:spcBef>
                  <a:buSzPct val="90000"/>
                </a:pPr>
                <a:r>
                  <a:rPr lang="en-US" sz="4100" b="1" spc="-225" dirty="0">
                    <a:gradFill>
                      <a:gsLst>
                        <a:gs pos="0">
                          <a:schemeClr val="tx1">
                            <a:alpha val="50000"/>
                          </a:schemeClr>
                        </a:gs>
                        <a:gs pos="100000">
                          <a:schemeClr val="tx1">
                            <a:alpha val="50000"/>
                          </a:schemeClr>
                        </a:gs>
                      </a:gsLst>
                      <a:lin ang="5400000" scaled="0"/>
                    </a:gradFill>
                  </a:rPr>
                  <a:t>10</a:t>
                </a:r>
              </a:p>
            </p:txBody>
          </p:sp>
          <p:pic>
            <p:nvPicPr>
              <p:cNvPr id="110" name="Picture 6" descr="\\magnum\Projects\Microsoft\Cloud Power FY12\Design\Icons\PNGs\Server_2.png"/>
              <p:cNvPicPr>
                <a:picLocks noChangeAspect="1" noChangeArrowheads="1"/>
              </p:cNvPicPr>
              <p:nvPr/>
            </p:nvPicPr>
            <p:blipFill>
              <a:blip r:embed="rId4" cstate="email">
                <a:lum bright="100000"/>
                <a:extLst>
                  <a:ext uri="{28A0092B-C50C-407E-A947-70E740481C1C}">
                    <a14:useLocalDpi xmlns:a14="http://schemas.microsoft.com/office/drawing/2010/main"/>
                  </a:ext>
                </a:extLst>
              </a:blip>
              <a:srcRect/>
              <a:stretch>
                <a:fillRect/>
              </a:stretch>
            </p:blipFill>
            <p:spPr bwMode="auto">
              <a:xfrm>
                <a:off x="840672" y="2515145"/>
                <a:ext cx="751064" cy="751258"/>
              </a:xfrm>
              <a:prstGeom prst="rect">
                <a:avLst/>
              </a:prstGeom>
              <a:noFill/>
            </p:spPr>
          </p:pic>
        </p:grpSp>
      </p:grpSp>
      <p:sp>
        <p:nvSpPr>
          <p:cNvPr id="2" name="Title 1"/>
          <p:cNvSpPr>
            <a:spLocks noGrp="1"/>
          </p:cNvSpPr>
          <p:nvPr>
            <p:ph type="title"/>
          </p:nvPr>
        </p:nvSpPr>
        <p:spPr>
          <a:xfrm>
            <a:off x="389436" y="171451"/>
            <a:ext cx="8363938" cy="1101071"/>
          </a:xfrm>
        </p:spPr>
        <p:txBody>
          <a:bodyPr/>
          <a:lstStyle/>
          <a:p>
            <a:r>
              <a:rPr lang="en-US" dirty="0" smtClean="0"/>
              <a:t>Contoso Retail and the Hosted Private Cloud</a:t>
            </a:r>
            <a:r>
              <a:rPr lang="en-US" sz="2600" dirty="0"/>
              <a:t/>
            </a:r>
            <a:br>
              <a:rPr lang="en-US" sz="2600" dirty="0"/>
            </a:br>
            <a:r>
              <a:rPr lang="en-US" sz="1500" kern="0" dirty="0">
                <a:gradFill>
                  <a:gsLst>
                    <a:gs pos="0">
                      <a:schemeClr val="tx1"/>
                    </a:gs>
                    <a:gs pos="86000">
                      <a:schemeClr val="tx1"/>
                    </a:gs>
                  </a:gsLst>
                  <a:lin ang="5400000" scaled="0"/>
                </a:gradFill>
              </a:rPr>
              <a:t>Moved Business Intelligence SQL application a global hosting partner to ensure24/7 access and lower operational costs</a:t>
            </a:r>
            <a:r>
              <a:rPr lang="en-US" sz="1500" kern="0" dirty="0">
                <a:solidFill>
                  <a:schemeClr val="tx1">
                    <a:alpha val="99000"/>
                  </a:schemeClr>
                </a:solidFill>
              </a:rPr>
              <a:t/>
            </a:r>
            <a:br>
              <a:rPr lang="en-US" sz="1500" kern="0" dirty="0">
                <a:solidFill>
                  <a:schemeClr val="tx1">
                    <a:alpha val="99000"/>
                  </a:schemeClr>
                </a:solidFill>
              </a:rPr>
            </a:br>
            <a:endParaRPr lang="en-US" sz="1700" dirty="0">
              <a:solidFill>
                <a:schemeClr val="accent4">
                  <a:lumMod val="40000"/>
                  <a:lumOff val="60000"/>
                </a:schemeClr>
              </a:solidFill>
            </a:endParaRPr>
          </a:p>
        </p:txBody>
      </p:sp>
      <p:grpSp>
        <p:nvGrpSpPr>
          <p:cNvPr id="80" name="Group 79"/>
          <p:cNvGrpSpPr/>
          <p:nvPr/>
        </p:nvGrpSpPr>
        <p:grpSpPr>
          <a:xfrm>
            <a:off x="6858596" y="4371976"/>
            <a:ext cx="1563698" cy="657225"/>
            <a:chOff x="10202055" y="5829300"/>
            <a:chExt cx="2084388" cy="876300"/>
          </a:xfrm>
        </p:grpSpPr>
        <p:sp>
          <p:nvSpPr>
            <p:cNvPr id="81" name="Rectangle 80"/>
            <p:cNvSpPr/>
            <p:nvPr/>
          </p:nvSpPr>
          <p:spPr bwMode="auto">
            <a:xfrm>
              <a:off x="10202055" y="5829300"/>
              <a:ext cx="2084388" cy="876300"/>
            </a:xfrm>
            <a:prstGeom prst="rect">
              <a:avLst/>
            </a:prstGeom>
            <a:solidFill>
              <a:schemeClr val="bg2">
                <a:lumMod val="75000"/>
              </a:schemeClr>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45720" tIns="45720" rIns="45720" bIns="45720" numCol="1" rtlCol="0" anchor="t" anchorCtr="0" compatLnSpc="1">
              <a:prstTxWarp prst="textNoShape">
                <a:avLst/>
              </a:prstTxWarp>
              <a:noAutofit/>
            </a:bodyPr>
            <a:lstStyle/>
            <a:p>
              <a:pPr algn="ctr" defTabSz="342931">
                <a:lnSpc>
                  <a:spcPct val="90000"/>
                </a:lnSpc>
              </a:pPr>
              <a:endParaRPr lang="fr-FR" altLang="zh-CN" sz="700" b="1" dirty="0">
                <a:solidFill>
                  <a:prstClr val="white">
                    <a:alpha val="99000"/>
                  </a:prstClr>
                </a:solidFill>
              </a:endParaRPr>
            </a:p>
          </p:txBody>
        </p:sp>
        <p:sp>
          <p:nvSpPr>
            <p:cNvPr id="82" name="Rectangle 81"/>
            <p:cNvSpPr/>
            <p:nvPr/>
          </p:nvSpPr>
          <p:spPr>
            <a:xfrm>
              <a:off x="10365959" y="5913653"/>
              <a:ext cx="620736" cy="252377"/>
            </a:xfrm>
            <a:prstGeom prst="rect">
              <a:avLst/>
            </a:prstGeom>
          </p:spPr>
          <p:txBody>
            <a:bodyPr wrap="square" lIns="0" rIns="0">
              <a:spAutoFit/>
            </a:bodyPr>
            <a:lstStyle/>
            <a:p>
              <a:pPr algn="ctr" defTabSz="342931">
                <a:lnSpc>
                  <a:spcPct val="90000"/>
                </a:lnSpc>
              </a:pPr>
              <a:r>
                <a:rPr lang="en-US" altLang="zh-CN" sz="700" b="1" dirty="0">
                  <a:solidFill>
                    <a:prstClr val="white">
                      <a:alpha val="99000"/>
                    </a:prstClr>
                  </a:solidFill>
                </a:rPr>
                <a:t>Computers</a:t>
              </a:r>
              <a:endParaRPr lang="fr-FR" altLang="zh-CN" sz="600" b="1" dirty="0">
                <a:solidFill>
                  <a:prstClr val="white">
                    <a:alpha val="99000"/>
                  </a:prstClr>
                </a:solidFill>
              </a:endParaRPr>
            </a:p>
          </p:txBody>
        </p:sp>
        <p:sp>
          <p:nvSpPr>
            <p:cNvPr id="83" name="Rectangle 82"/>
            <p:cNvSpPr/>
            <p:nvPr/>
          </p:nvSpPr>
          <p:spPr>
            <a:xfrm>
              <a:off x="11026751" y="5913653"/>
              <a:ext cx="620736" cy="252377"/>
            </a:xfrm>
            <a:prstGeom prst="rect">
              <a:avLst/>
            </a:prstGeom>
          </p:spPr>
          <p:txBody>
            <a:bodyPr wrap="square" lIns="0" rIns="0">
              <a:spAutoFit/>
            </a:bodyPr>
            <a:lstStyle/>
            <a:p>
              <a:pPr algn="ctr" defTabSz="342931">
                <a:lnSpc>
                  <a:spcPct val="90000"/>
                </a:lnSpc>
              </a:pPr>
              <a:r>
                <a:rPr lang="en-US" altLang="zh-CN" sz="700" b="1" dirty="0">
                  <a:solidFill>
                    <a:prstClr val="white">
                      <a:alpha val="99000"/>
                    </a:prstClr>
                  </a:solidFill>
                </a:rPr>
                <a:t>Kiosks</a:t>
              </a:r>
              <a:endParaRPr lang="fr-FR" altLang="zh-CN" sz="600" b="1" dirty="0">
                <a:solidFill>
                  <a:prstClr val="white">
                    <a:alpha val="99000"/>
                  </a:prstClr>
                </a:solidFill>
              </a:endParaRPr>
            </a:p>
          </p:txBody>
        </p:sp>
        <p:pic>
          <p:nvPicPr>
            <p:cNvPr id="84" name="Picture 8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520683" y="6214464"/>
              <a:ext cx="311289" cy="347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5"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1239422" y="6171043"/>
              <a:ext cx="195394" cy="3907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6" name="Rectangle 85"/>
            <p:cNvSpPr/>
            <p:nvPr/>
          </p:nvSpPr>
          <p:spPr>
            <a:xfrm>
              <a:off x="11589508" y="5913653"/>
              <a:ext cx="620736" cy="252377"/>
            </a:xfrm>
            <a:prstGeom prst="rect">
              <a:avLst/>
            </a:prstGeom>
          </p:spPr>
          <p:txBody>
            <a:bodyPr wrap="square" lIns="0" rIns="0">
              <a:spAutoFit/>
            </a:bodyPr>
            <a:lstStyle/>
            <a:p>
              <a:pPr algn="ctr" defTabSz="342931">
                <a:lnSpc>
                  <a:spcPct val="90000"/>
                </a:lnSpc>
              </a:pPr>
              <a:r>
                <a:rPr lang="en-US" altLang="zh-CN" sz="700" b="1" dirty="0">
                  <a:solidFill>
                    <a:prstClr val="white">
                      <a:alpha val="99000"/>
                    </a:prstClr>
                  </a:solidFill>
                </a:rPr>
                <a:t>Servers</a:t>
              </a:r>
              <a:endParaRPr lang="fr-FR" altLang="zh-CN" sz="600" b="1" dirty="0">
                <a:solidFill>
                  <a:prstClr val="white">
                    <a:alpha val="99000"/>
                  </a:prstClr>
                </a:solidFill>
              </a:endParaRPr>
            </a:p>
          </p:txBody>
        </p:sp>
        <p:pic>
          <p:nvPicPr>
            <p:cNvPr id="87"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auto">
            <a:xfrm>
              <a:off x="11632977" y="6093142"/>
              <a:ext cx="528860" cy="5288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0" name="Group 9"/>
          <p:cNvGrpSpPr/>
          <p:nvPr/>
        </p:nvGrpSpPr>
        <p:grpSpPr>
          <a:xfrm>
            <a:off x="333790" y="1830631"/>
            <a:ext cx="1648213" cy="1712671"/>
            <a:chOff x="444935" y="2440839"/>
            <a:chExt cx="2197045" cy="2283561"/>
          </a:xfrm>
        </p:grpSpPr>
        <p:sp>
          <p:nvSpPr>
            <p:cNvPr id="4" name="Rectangular Callout 3"/>
            <p:cNvSpPr/>
            <p:nvPr/>
          </p:nvSpPr>
          <p:spPr bwMode="auto">
            <a:xfrm>
              <a:off x="508381" y="2493264"/>
              <a:ext cx="2133599" cy="2231136"/>
            </a:xfrm>
            <a:prstGeom prst="wedgeRectCallout">
              <a:avLst>
                <a:gd name="adj1" fmla="val 124232"/>
                <a:gd name="adj2" fmla="val 102999"/>
              </a:avLst>
            </a:prstGeom>
            <a:solidFill>
              <a:schemeClr val="bg2">
                <a:lumMod val="75000"/>
              </a:schemeClr>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91440" rIns="91436" bIns="91440" numCol="1" rtlCol="0" anchor="b" anchorCtr="0" compatLnSpc="1">
              <a:prstTxWarp prst="textNoShape">
                <a:avLst/>
              </a:prstTxWarp>
              <a:noAutofit/>
            </a:bodyPr>
            <a:lstStyle/>
            <a:p>
              <a:pPr defTabSz="342931"/>
              <a:r>
                <a:rPr lang="en-US" altLang="zh-CN" sz="1200" dirty="0">
                  <a:gradFill>
                    <a:gsLst>
                      <a:gs pos="0">
                        <a:schemeClr val="tx1"/>
                      </a:gs>
                      <a:gs pos="100000">
                        <a:schemeClr val="tx1"/>
                      </a:gs>
                    </a:gsLst>
                    <a:lin ang="5400000" scaled="0"/>
                  </a:gradFill>
                </a:rPr>
                <a:t>US Headquarters:</a:t>
              </a:r>
            </a:p>
            <a:p>
              <a:pPr defTabSz="342931"/>
              <a:r>
                <a:rPr lang="en-US" altLang="zh-CN" sz="1100" dirty="0">
                  <a:gradFill>
                    <a:gsLst>
                      <a:gs pos="0">
                        <a:schemeClr val="tx1"/>
                      </a:gs>
                      <a:gs pos="100000">
                        <a:schemeClr val="tx1"/>
                      </a:gs>
                    </a:gsLst>
                    <a:lin ang="5400000" scaled="0"/>
                  </a:gradFill>
                </a:rPr>
                <a:t>50 Servers  </a:t>
              </a:r>
              <a:br>
                <a:rPr lang="en-US" altLang="zh-CN" sz="1100" dirty="0">
                  <a:gradFill>
                    <a:gsLst>
                      <a:gs pos="0">
                        <a:schemeClr val="tx1"/>
                      </a:gs>
                      <a:gs pos="100000">
                        <a:schemeClr val="tx1"/>
                      </a:gs>
                    </a:gsLst>
                    <a:lin ang="5400000" scaled="0"/>
                  </a:gradFill>
                </a:rPr>
              </a:br>
              <a:r>
                <a:rPr lang="fr-FR" altLang="zh-CN" sz="1100" dirty="0">
                  <a:gradFill>
                    <a:gsLst>
                      <a:gs pos="0">
                        <a:schemeClr val="tx1"/>
                      </a:gs>
                      <a:gs pos="100000">
                        <a:schemeClr val="tx1"/>
                      </a:gs>
                    </a:gsLst>
                    <a:lin ang="5400000" scaled="0"/>
                  </a:gradFill>
                </a:rPr>
                <a:t>2000 Computers</a:t>
              </a:r>
            </a:p>
          </p:txBody>
        </p:sp>
        <p:sp>
          <p:nvSpPr>
            <p:cNvPr id="88" name="Freeform 15"/>
            <p:cNvSpPr>
              <a:spLocks/>
            </p:cNvSpPr>
            <p:nvPr/>
          </p:nvSpPr>
          <p:spPr bwMode="auto">
            <a:xfrm>
              <a:off x="444935" y="2666999"/>
              <a:ext cx="2157943" cy="1169065"/>
            </a:xfrm>
            <a:custGeom>
              <a:avLst/>
              <a:gdLst>
                <a:gd name="T0" fmla="*/ 84 w 461"/>
                <a:gd name="T1" fmla="*/ 227 h 227"/>
                <a:gd name="T2" fmla="*/ 366 w 461"/>
                <a:gd name="T3" fmla="*/ 227 h 227"/>
                <a:gd name="T4" fmla="*/ 441 w 461"/>
                <a:gd name="T5" fmla="*/ 150 h 227"/>
                <a:gd name="T6" fmla="*/ 349 w 461"/>
                <a:gd name="T7" fmla="*/ 0 h 227"/>
                <a:gd name="T8" fmla="*/ 249 w 461"/>
                <a:gd name="T9" fmla="*/ 62 h 227"/>
                <a:gd name="T10" fmla="*/ 193 w 461"/>
                <a:gd name="T11" fmla="*/ 38 h 227"/>
                <a:gd name="T12" fmla="*/ 120 w 461"/>
                <a:gd name="T13" fmla="*/ 97 h 227"/>
                <a:gd name="T14" fmla="*/ 74 w 461"/>
                <a:gd name="T15" fmla="*/ 98 h 227"/>
                <a:gd name="T16" fmla="*/ 84 w 461"/>
                <a:gd name="T17" fmla="*/ 227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1" h="227">
                  <a:moveTo>
                    <a:pt x="84" y="227"/>
                  </a:moveTo>
                  <a:cubicBezTo>
                    <a:pt x="366" y="227"/>
                    <a:pt x="366" y="227"/>
                    <a:pt x="366" y="227"/>
                  </a:cubicBezTo>
                  <a:cubicBezTo>
                    <a:pt x="366" y="227"/>
                    <a:pt x="422" y="215"/>
                    <a:pt x="441" y="150"/>
                  </a:cubicBezTo>
                  <a:cubicBezTo>
                    <a:pt x="461" y="85"/>
                    <a:pt x="417" y="0"/>
                    <a:pt x="349" y="0"/>
                  </a:cubicBezTo>
                  <a:cubicBezTo>
                    <a:pt x="291" y="0"/>
                    <a:pt x="266" y="31"/>
                    <a:pt x="249" y="62"/>
                  </a:cubicBezTo>
                  <a:cubicBezTo>
                    <a:pt x="249" y="62"/>
                    <a:pt x="226" y="36"/>
                    <a:pt x="193" y="38"/>
                  </a:cubicBezTo>
                  <a:cubicBezTo>
                    <a:pt x="160" y="40"/>
                    <a:pt x="138" y="50"/>
                    <a:pt x="120" y="97"/>
                  </a:cubicBezTo>
                  <a:cubicBezTo>
                    <a:pt x="120" y="97"/>
                    <a:pt x="98" y="89"/>
                    <a:pt x="74" y="98"/>
                  </a:cubicBezTo>
                  <a:cubicBezTo>
                    <a:pt x="32" y="113"/>
                    <a:pt x="0" y="196"/>
                    <a:pt x="84" y="227"/>
                  </a:cubicBezTo>
                </a:path>
              </a:pathLst>
            </a:custGeom>
            <a:solidFill>
              <a:srgbClr val="01A9D0">
                <a:alpha val="80000"/>
              </a:srgbClr>
            </a:solidFill>
            <a:ln>
              <a:noFill/>
            </a:ln>
            <a:extLst/>
          </p:spPr>
          <p:txBody>
            <a:bodyPr vert="horz" wrap="square" lIns="91440" tIns="45720" rIns="91440" bIns="45720" numCol="1" anchor="t" anchorCtr="0" compatLnSpc="1">
              <a:prstTxWarp prst="textNoShape">
                <a:avLst/>
              </a:prstTxWarp>
            </a:bodyPr>
            <a:lstStyle/>
            <a:p>
              <a:endParaRPr lang="en-US" dirty="0"/>
            </a:p>
          </p:txBody>
        </p:sp>
        <p:grpSp>
          <p:nvGrpSpPr>
            <p:cNvPr id="89" name="Group 88"/>
            <p:cNvGrpSpPr/>
            <p:nvPr/>
          </p:nvGrpSpPr>
          <p:grpSpPr>
            <a:xfrm>
              <a:off x="603892" y="3062955"/>
              <a:ext cx="1819178" cy="1003352"/>
              <a:chOff x="3657842" y="2243593"/>
              <a:chExt cx="1819178" cy="1003352"/>
            </a:xfrm>
          </p:grpSpPr>
          <p:sp>
            <p:nvSpPr>
              <p:cNvPr id="90" name="TextBox 89"/>
              <p:cNvSpPr txBox="1"/>
              <p:nvPr/>
            </p:nvSpPr>
            <p:spPr>
              <a:xfrm>
                <a:off x="3657842" y="2243593"/>
                <a:ext cx="1819178" cy="1003352"/>
              </a:xfrm>
              <a:prstGeom prst="rect">
                <a:avLst/>
              </a:prstGeom>
              <a:noFill/>
            </p:spPr>
            <p:txBody>
              <a:bodyPr wrap="square" lIns="91440" tIns="91440" rIns="91440" bIns="91440" rtlCol="0">
                <a:spAutoFit/>
              </a:bodyPr>
              <a:lstStyle/>
              <a:p>
                <a:pPr>
                  <a:lnSpc>
                    <a:spcPct val="90000"/>
                  </a:lnSpc>
                  <a:spcBef>
                    <a:spcPct val="20000"/>
                  </a:spcBef>
                  <a:buSzPct val="90000"/>
                </a:pPr>
                <a:r>
                  <a:rPr lang="en-US" sz="4100" b="1" spc="-225" dirty="0">
                    <a:gradFill>
                      <a:gsLst>
                        <a:gs pos="0">
                          <a:schemeClr val="tx1">
                            <a:alpha val="50000"/>
                          </a:schemeClr>
                        </a:gs>
                        <a:gs pos="100000">
                          <a:schemeClr val="tx1">
                            <a:alpha val="50000"/>
                          </a:schemeClr>
                        </a:gs>
                      </a:gsLst>
                      <a:lin ang="5400000" scaled="0"/>
                    </a:gradFill>
                  </a:rPr>
                  <a:t>2000</a:t>
                </a:r>
              </a:p>
            </p:txBody>
          </p:sp>
          <p:grpSp>
            <p:nvGrpSpPr>
              <p:cNvPr id="91" name="Group 90"/>
              <p:cNvGrpSpPr/>
              <p:nvPr/>
            </p:nvGrpSpPr>
            <p:grpSpPr>
              <a:xfrm>
                <a:off x="5077662" y="2364126"/>
                <a:ext cx="309416" cy="341562"/>
                <a:chOff x="1094762" y="2658483"/>
                <a:chExt cx="331323" cy="365745"/>
              </a:xfrm>
            </p:grpSpPr>
            <p:sp>
              <p:nvSpPr>
                <p:cNvPr id="92" name="Freeform 46"/>
                <p:cNvSpPr>
                  <a:spLocks noEditPoints="1"/>
                </p:cNvSpPr>
                <p:nvPr/>
              </p:nvSpPr>
              <p:spPr bwMode="auto">
                <a:xfrm>
                  <a:off x="1094762" y="2658483"/>
                  <a:ext cx="331323" cy="269647"/>
                </a:xfrm>
                <a:custGeom>
                  <a:avLst/>
                  <a:gdLst>
                    <a:gd name="T0" fmla="*/ 173 w 179"/>
                    <a:gd name="T1" fmla="*/ 0 h 146"/>
                    <a:gd name="T2" fmla="*/ 6 w 179"/>
                    <a:gd name="T3" fmla="*/ 0 h 146"/>
                    <a:gd name="T4" fmla="*/ 0 w 179"/>
                    <a:gd name="T5" fmla="*/ 6 h 146"/>
                    <a:gd name="T6" fmla="*/ 0 w 179"/>
                    <a:gd name="T7" fmla="*/ 127 h 146"/>
                    <a:gd name="T8" fmla="*/ 6 w 179"/>
                    <a:gd name="T9" fmla="*/ 132 h 146"/>
                    <a:gd name="T10" fmla="*/ 67 w 179"/>
                    <a:gd name="T11" fmla="*/ 132 h 146"/>
                    <a:gd name="T12" fmla="*/ 67 w 179"/>
                    <a:gd name="T13" fmla="*/ 146 h 146"/>
                    <a:gd name="T14" fmla="*/ 113 w 179"/>
                    <a:gd name="T15" fmla="*/ 146 h 146"/>
                    <a:gd name="T16" fmla="*/ 113 w 179"/>
                    <a:gd name="T17" fmla="*/ 132 h 146"/>
                    <a:gd name="T18" fmla="*/ 173 w 179"/>
                    <a:gd name="T19" fmla="*/ 132 h 146"/>
                    <a:gd name="T20" fmla="*/ 179 w 179"/>
                    <a:gd name="T21" fmla="*/ 127 h 146"/>
                    <a:gd name="T22" fmla="*/ 179 w 179"/>
                    <a:gd name="T23" fmla="*/ 6 h 146"/>
                    <a:gd name="T24" fmla="*/ 173 w 179"/>
                    <a:gd name="T25" fmla="*/ 0 h 146"/>
                    <a:gd name="T26" fmla="*/ 165 w 179"/>
                    <a:gd name="T27" fmla="*/ 115 h 146"/>
                    <a:gd name="T28" fmla="*/ 160 w 179"/>
                    <a:gd name="T29" fmla="*/ 120 h 146"/>
                    <a:gd name="T30" fmla="*/ 19 w 179"/>
                    <a:gd name="T31" fmla="*/ 120 h 146"/>
                    <a:gd name="T32" fmla="*/ 14 w 179"/>
                    <a:gd name="T33" fmla="*/ 115 h 146"/>
                    <a:gd name="T34" fmla="*/ 14 w 179"/>
                    <a:gd name="T35" fmla="*/ 18 h 146"/>
                    <a:gd name="T36" fmla="*/ 19 w 179"/>
                    <a:gd name="T37" fmla="*/ 13 h 146"/>
                    <a:gd name="T38" fmla="*/ 160 w 179"/>
                    <a:gd name="T39" fmla="*/ 13 h 146"/>
                    <a:gd name="T40" fmla="*/ 165 w 179"/>
                    <a:gd name="T41" fmla="*/ 18 h 146"/>
                    <a:gd name="T42" fmla="*/ 165 w 179"/>
                    <a:gd name="T43" fmla="*/ 115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9" h="146">
                      <a:moveTo>
                        <a:pt x="173" y="0"/>
                      </a:moveTo>
                      <a:cubicBezTo>
                        <a:pt x="6" y="0"/>
                        <a:pt x="6" y="0"/>
                        <a:pt x="6" y="0"/>
                      </a:cubicBezTo>
                      <a:cubicBezTo>
                        <a:pt x="3" y="0"/>
                        <a:pt x="0" y="3"/>
                        <a:pt x="0" y="6"/>
                      </a:cubicBezTo>
                      <a:cubicBezTo>
                        <a:pt x="0" y="127"/>
                        <a:pt x="0" y="127"/>
                        <a:pt x="0" y="127"/>
                      </a:cubicBezTo>
                      <a:cubicBezTo>
                        <a:pt x="0" y="130"/>
                        <a:pt x="3" y="132"/>
                        <a:pt x="6" y="132"/>
                      </a:cubicBezTo>
                      <a:cubicBezTo>
                        <a:pt x="67" y="132"/>
                        <a:pt x="67" y="132"/>
                        <a:pt x="67" y="132"/>
                      </a:cubicBezTo>
                      <a:cubicBezTo>
                        <a:pt x="67" y="146"/>
                        <a:pt x="67" y="146"/>
                        <a:pt x="67" y="146"/>
                      </a:cubicBezTo>
                      <a:cubicBezTo>
                        <a:pt x="113" y="146"/>
                        <a:pt x="113" y="146"/>
                        <a:pt x="113" y="146"/>
                      </a:cubicBezTo>
                      <a:cubicBezTo>
                        <a:pt x="113" y="132"/>
                        <a:pt x="113" y="132"/>
                        <a:pt x="113" y="132"/>
                      </a:cubicBezTo>
                      <a:cubicBezTo>
                        <a:pt x="173" y="132"/>
                        <a:pt x="173" y="132"/>
                        <a:pt x="173" y="132"/>
                      </a:cubicBezTo>
                      <a:cubicBezTo>
                        <a:pt x="176" y="132"/>
                        <a:pt x="179" y="130"/>
                        <a:pt x="179" y="127"/>
                      </a:cubicBezTo>
                      <a:cubicBezTo>
                        <a:pt x="179" y="6"/>
                        <a:pt x="179" y="6"/>
                        <a:pt x="179" y="6"/>
                      </a:cubicBezTo>
                      <a:cubicBezTo>
                        <a:pt x="179" y="3"/>
                        <a:pt x="176" y="0"/>
                        <a:pt x="173" y="0"/>
                      </a:cubicBezTo>
                      <a:close/>
                      <a:moveTo>
                        <a:pt x="165" y="115"/>
                      </a:moveTo>
                      <a:cubicBezTo>
                        <a:pt x="165" y="118"/>
                        <a:pt x="162" y="120"/>
                        <a:pt x="160" y="120"/>
                      </a:cubicBezTo>
                      <a:cubicBezTo>
                        <a:pt x="19" y="120"/>
                        <a:pt x="19" y="120"/>
                        <a:pt x="19" y="120"/>
                      </a:cubicBezTo>
                      <a:cubicBezTo>
                        <a:pt x="16" y="120"/>
                        <a:pt x="14" y="118"/>
                        <a:pt x="14" y="115"/>
                      </a:cubicBezTo>
                      <a:cubicBezTo>
                        <a:pt x="14" y="18"/>
                        <a:pt x="14" y="18"/>
                        <a:pt x="14" y="18"/>
                      </a:cubicBezTo>
                      <a:cubicBezTo>
                        <a:pt x="14" y="15"/>
                        <a:pt x="16" y="13"/>
                        <a:pt x="19" y="13"/>
                      </a:cubicBezTo>
                      <a:cubicBezTo>
                        <a:pt x="160" y="13"/>
                        <a:pt x="160" y="13"/>
                        <a:pt x="160" y="13"/>
                      </a:cubicBezTo>
                      <a:cubicBezTo>
                        <a:pt x="162" y="13"/>
                        <a:pt x="165" y="15"/>
                        <a:pt x="165" y="18"/>
                      </a:cubicBezTo>
                      <a:lnTo>
                        <a:pt x="165" y="11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Freeform 47"/>
                <p:cNvSpPr>
                  <a:spLocks noEditPoints="1"/>
                </p:cNvSpPr>
                <p:nvPr/>
              </p:nvSpPr>
              <p:spPr bwMode="auto">
                <a:xfrm>
                  <a:off x="1139226" y="2941039"/>
                  <a:ext cx="243830" cy="83189"/>
                </a:xfrm>
                <a:custGeom>
                  <a:avLst/>
                  <a:gdLst>
                    <a:gd name="T0" fmla="*/ 130 w 132"/>
                    <a:gd name="T1" fmla="*/ 0 h 45"/>
                    <a:gd name="T2" fmla="*/ 3 w 132"/>
                    <a:gd name="T3" fmla="*/ 0 h 45"/>
                    <a:gd name="T4" fmla="*/ 0 w 132"/>
                    <a:gd name="T5" fmla="*/ 3 h 45"/>
                    <a:gd name="T6" fmla="*/ 0 w 132"/>
                    <a:gd name="T7" fmla="*/ 43 h 45"/>
                    <a:gd name="T8" fmla="*/ 3 w 132"/>
                    <a:gd name="T9" fmla="*/ 45 h 45"/>
                    <a:gd name="T10" fmla="*/ 130 w 132"/>
                    <a:gd name="T11" fmla="*/ 45 h 45"/>
                    <a:gd name="T12" fmla="*/ 132 w 132"/>
                    <a:gd name="T13" fmla="*/ 43 h 45"/>
                    <a:gd name="T14" fmla="*/ 132 w 132"/>
                    <a:gd name="T15" fmla="*/ 3 h 45"/>
                    <a:gd name="T16" fmla="*/ 130 w 132"/>
                    <a:gd name="T17" fmla="*/ 0 h 45"/>
                    <a:gd name="T18" fmla="*/ 126 w 132"/>
                    <a:gd name="T19" fmla="*/ 14 h 45"/>
                    <a:gd name="T20" fmla="*/ 124 w 132"/>
                    <a:gd name="T21" fmla="*/ 17 h 45"/>
                    <a:gd name="T22" fmla="*/ 80 w 132"/>
                    <a:gd name="T23" fmla="*/ 17 h 45"/>
                    <a:gd name="T24" fmla="*/ 77 w 132"/>
                    <a:gd name="T25" fmla="*/ 14 h 45"/>
                    <a:gd name="T26" fmla="*/ 77 w 132"/>
                    <a:gd name="T27" fmla="*/ 10 h 45"/>
                    <a:gd name="T28" fmla="*/ 80 w 132"/>
                    <a:gd name="T29" fmla="*/ 7 h 45"/>
                    <a:gd name="T30" fmla="*/ 124 w 132"/>
                    <a:gd name="T31" fmla="*/ 7 h 45"/>
                    <a:gd name="T32" fmla="*/ 126 w 132"/>
                    <a:gd name="T33" fmla="*/ 10 h 45"/>
                    <a:gd name="T34" fmla="*/ 126 w 132"/>
                    <a:gd name="T35" fmla="*/ 1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45">
                      <a:moveTo>
                        <a:pt x="130" y="0"/>
                      </a:moveTo>
                      <a:cubicBezTo>
                        <a:pt x="3" y="0"/>
                        <a:pt x="3" y="0"/>
                        <a:pt x="3" y="0"/>
                      </a:cubicBezTo>
                      <a:cubicBezTo>
                        <a:pt x="1" y="0"/>
                        <a:pt x="0" y="1"/>
                        <a:pt x="0" y="3"/>
                      </a:cubicBezTo>
                      <a:cubicBezTo>
                        <a:pt x="0" y="43"/>
                        <a:pt x="0" y="43"/>
                        <a:pt x="0" y="43"/>
                      </a:cubicBezTo>
                      <a:cubicBezTo>
                        <a:pt x="0" y="44"/>
                        <a:pt x="1" y="45"/>
                        <a:pt x="3" y="45"/>
                      </a:cubicBezTo>
                      <a:cubicBezTo>
                        <a:pt x="130" y="45"/>
                        <a:pt x="130" y="45"/>
                        <a:pt x="130" y="45"/>
                      </a:cubicBezTo>
                      <a:cubicBezTo>
                        <a:pt x="131" y="45"/>
                        <a:pt x="132" y="44"/>
                        <a:pt x="132" y="43"/>
                      </a:cubicBezTo>
                      <a:cubicBezTo>
                        <a:pt x="132" y="3"/>
                        <a:pt x="132" y="3"/>
                        <a:pt x="132" y="3"/>
                      </a:cubicBezTo>
                      <a:cubicBezTo>
                        <a:pt x="132" y="1"/>
                        <a:pt x="131" y="0"/>
                        <a:pt x="130" y="0"/>
                      </a:cubicBezTo>
                      <a:close/>
                      <a:moveTo>
                        <a:pt x="126" y="14"/>
                      </a:moveTo>
                      <a:cubicBezTo>
                        <a:pt x="126" y="16"/>
                        <a:pt x="125" y="17"/>
                        <a:pt x="124" y="17"/>
                      </a:cubicBezTo>
                      <a:cubicBezTo>
                        <a:pt x="80" y="17"/>
                        <a:pt x="80" y="17"/>
                        <a:pt x="80" y="17"/>
                      </a:cubicBezTo>
                      <a:cubicBezTo>
                        <a:pt x="78" y="17"/>
                        <a:pt x="77" y="16"/>
                        <a:pt x="77" y="14"/>
                      </a:cubicBezTo>
                      <a:cubicBezTo>
                        <a:pt x="77" y="10"/>
                        <a:pt x="77" y="10"/>
                        <a:pt x="77" y="10"/>
                      </a:cubicBezTo>
                      <a:cubicBezTo>
                        <a:pt x="77" y="8"/>
                        <a:pt x="78" y="7"/>
                        <a:pt x="80" y="7"/>
                      </a:cubicBezTo>
                      <a:cubicBezTo>
                        <a:pt x="124" y="7"/>
                        <a:pt x="124" y="7"/>
                        <a:pt x="124" y="7"/>
                      </a:cubicBezTo>
                      <a:cubicBezTo>
                        <a:pt x="125" y="7"/>
                        <a:pt x="126" y="8"/>
                        <a:pt x="126" y="10"/>
                      </a:cubicBezTo>
                      <a:lnTo>
                        <a:pt x="126" y="1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5" name="Group 4"/>
            <p:cNvGrpSpPr/>
            <p:nvPr/>
          </p:nvGrpSpPr>
          <p:grpSpPr>
            <a:xfrm>
              <a:off x="536517" y="2440839"/>
              <a:ext cx="1747895" cy="1003352"/>
              <a:chOff x="508381" y="2440839"/>
              <a:chExt cx="1747895" cy="1003352"/>
            </a:xfrm>
          </p:grpSpPr>
          <p:sp>
            <p:nvSpPr>
              <p:cNvPr id="96" name="TextBox 95"/>
              <p:cNvSpPr txBox="1"/>
              <p:nvPr/>
            </p:nvSpPr>
            <p:spPr>
              <a:xfrm>
                <a:off x="508381" y="2440839"/>
                <a:ext cx="1366896" cy="1003352"/>
              </a:xfrm>
              <a:prstGeom prst="rect">
                <a:avLst/>
              </a:prstGeom>
              <a:noFill/>
            </p:spPr>
            <p:txBody>
              <a:bodyPr wrap="square" lIns="91440" tIns="91440" rIns="91440" bIns="91440" rtlCol="0">
                <a:spAutoFit/>
              </a:bodyPr>
              <a:lstStyle/>
              <a:p>
                <a:pPr>
                  <a:lnSpc>
                    <a:spcPct val="90000"/>
                  </a:lnSpc>
                  <a:spcBef>
                    <a:spcPct val="20000"/>
                  </a:spcBef>
                  <a:buSzPct val="90000"/>
                </a:pPr>
                <a:r>
                  <a:rPr lang="en-US" sz="4100" b="1" spc="-225" dirty="0">
                    <a:gradFill>
                      <a:gsLst>
                        <a:gs pos="0">
                          <a:schemeClr val="tx1">
                            <a:alpha val="50000"/>
                          </a:schemeClr>
                        </a:gs>
                        <a:gs pos="100000">
                          <a:schemeClr val="tx1">
                            <a:alpha val="50000"/>
                          </a:schemeClr>
                        </a:gs>
                      </a:gsLst>
                      <a:lin ang="5400000" scaled="0"/>
                    </a:gradFill>
                  </a:rPr>
                  <a:t>  50</a:t>
                </a:r>
              </a:p>
            </p:txBody>
          </p:sp>
          <p:pic>
            <p:nvPicPr>
              <p:cNvPr id="97" name="Picture 6" descr="\\magnum\Projects\Microsoft\Cloud Power FY12\Design\Icons\PNGs\Server_2.png"/>
              <p:cNvPicPr>
                <a:picLocks noChangeAspect="1" noChangeArrowheads="1"/>
              </p:cNvPicPr>
              <p:nvPr/>
            </p:nvPicPr>
            <p:blipFill>
              <a:blip r:embed="rId4" cstate="email">
                <a:lum bright="100000"/>
                <a:extLst>
                  <a:ext uri="{28A0092B-C50C-407E-A947-70E740481C1C}">
                    <a14:useLocalDpi xmlns:a14="http://schemas.microsoft.com/office/drawing/2010/main"/>
                  </a:ext>
                </a:extLst>
              </a:blip>
              <a:srcRect/>
              <a:stretch>
                <a:fillRect/>
              </a:stretch>
            </p:blipFill>
            <p:spPr bwMode="auto">
              <a:xfrm>
                <a:off x="1505212" y="2515145"/>
                <a:ext cx="751064" cy="751258"/>
              </a:xfrm>
              <a:prstGeom prst="rect">
                <a:avLst/>
              </a:prstGeom>
              <a:noFill/>
            </p:spPr>
          </p:pic>
        </p:grpSp>
      </p:grpSp>
      <p:grpSp>
        <p:nvGrpSpPr>
          <p:cNvPr id="36" name="Group 35"/>
          <p:cNvGrpSpPr/>
          <p:nvPr/>
        </p:nvGrpSpPr>
        <p:grpSpPr>
          <a:xfrm>
            <a:off x="4343340" y="1005691"/>
            <a:ext cx="1677128" cy="1871358"/>
            <a:chOff x="5789612" y="1340921"/>
            <a:chExt cx="2235588" cy="2495144"/>
          </a:xfrm>
        </p:grpSpPr>
        <p:sp>
          <p:nvSpPr>
            <p:cNvPr id="6" name="Rectangular Callout 5"/>
            <p:cNvSpPr/>
            <p:nvPr/>
          </p:nvSpPr>
          <p:spPr bwMode="auto">
            <a:xfrm>
              <a:off x="5842480" y="1447800"/>
              <a:ext cx="2133599" cy="2388265"/>
            </a:xfrm>
            <a:prstGeom prst="wedgeRectCallout">
              <a:avLst>
                <a:gd name="adj1" fmla="val 19777"/>
                <a:gd name="adj2" fmla="val 114835"/>
              </a:avLst>
            </a:prstGeom>
            <a:solidFill>
              <a:schemeClr val="bg2">
                <a:lumMod val="75000"/>
              </a:schemeClr>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91440" rIns="91436" bIns="91440" numCol="1" rtlCol="0" anchor="b" anchorCtr="0" compatLnSpc="1">
              <a:prstTxWarp prst="textNoShape">
                <a:avLst/>
              </a:prstTxWarp>
              <a:noAutofit/>
            </a:bodyPr>
            <a:lstStyle/>
            <a:p>
              <a:pPr defTabSz="342931"/>
              <a:r>
                <a:rPr lang="en-US" altLang="zh-CN" sz="1200" dirty="0">
                  <a:gradFill>
                    <a:gsLst>
                      <a:gs pos="0">
                        <a:schemeClr val="tx1"/>
                      </a:gs>
                      <a:gs pos="100000">
                        <a:schemeClr val="tx1"/>
                      </a:gs>
                    </a:gsLst>
                    <a:lin ang="5400000" scaled="0"/>
                  </a:gradFill>
                </a:rPr>
                <a:t>Europe </a:t>
              </a:r>
              <a:br>
                <a:rPr lang="en-US" altLang="zh-CN" sz="1200" dirty="0">
                  <a:gradFill>
                    <a:gsLst>
                      <a:gs pos="0">
                        <a:schemeClr val="tx1"/>
                      </a:gs>
                      <a:gs pos="100000">
                        <a:schemeClr val="tx1"/>
                      </a:gs>
                    </a:gsLst>
                    <a:lin ang="5400000" scaled="0"/>
                  </a:gradFill>
                </a:rPr>
              </a:br>
              <a:r>
                <a:rPr lang="en-US" altLang="zh-CN" sz="1200" dirty="0">
                  <a:gradFill>
                    <a:gsLst>
                      <a:gs pos="0">
                        <a:schemeClr val="tx1"/>
                      </a:gs>
                      <a:gs pos="100000">
                        <a:schemeClr val="tx1"/>
                      </a:gs>
                    </a:gsLst>
                    <a:lin ang="5400000" scaled="0"/>
                  </a:gradFill>
                </a:rPr>
                <a:t>Regional Office:</a:t>
              </a:r>
            </a:p>
            <a:p>
              <a:pPr defTabSz="342931"/>
              <a:r>
                <a:rPr lang="en-US" altLang="zh-CN" sz="1100" dirty="0">
                  <a:gradFill>
                    <a:gsLst>
                      <a:gs pos="0">
                        <a:schemeClr val="tx1"/>
                      </a:gs>
                      <a:gs pos="100000">
                        <a:schemeClr val="tx1"/>
                      </a:gs>
                    </a:gsLst>
                    <a:lin ang="5400000" scaled="0"/>
                  </a:gradFill>
                </a:rPr>
                <a:t>10 Servers </a:t>
              </a:r>
              <a:br>
                <a:rPr lang="en-US" altLang="zh-CN" sz="1100" dirty="0">
                  <a:gradFill>
                    <a:gsLst>
                      <a:gs pos="0">
                        <a:schemeClr val="tx1"/>
                      </a:gs>
                      <a:gs pos="100000">
                        <a:schemeClr val="tx1"/>
                      </a:gs>
                    </a:gsLst>
                    <a:lin ang="5400000" scaled="0"/>
                  </a:gradFill>
                </a:rPr>
              </a:br>
              <a:r>
                <a:rPr lang="fr-FR" altLang="zh-CN" sz="1100" dirty="0">
                  <a:gradFill>
                    <a:gsLst>
                      <a:gs pos="0">
                        <a:schemeClr val="tx1"/>
                      </a:gs>
                      <a:gs pos="100000">
                        <a:schemeClr val="tx1"/>
                      </a:gs>
                    </a:gsLst>
                    <a:lin ang="5400000" scaled="0"/>
                  </a:gradFill>
                </a:rPr>
                <a:t>500 Computers</a:t>
              </a:r>
            </a:p>
          </p:txBody>
        </p:sp>
        <p:sp>
          <p:nvSpPr>
            <p:cNvPr id="98" name="Freeform 15"/>
            <p:cNvSpPr>
              <a:spLocks/>
            </p:cNvSpPr>
            <p:nvPr/>
          </p:nvSpPr>
          <p:spPr bwMode="auto">
            <a:xfrm>
              <a:off x="5789612" y="1567081"/>
              <a:ext cx="2157943" cy="1169065"/>
            </a:xfrm>
            <a:custGeom>
              <a:avLst/>
              <a:gdLst>
                <a:gd name="T0" fmla="*/ 84 w 461"/>
                <a:gd name="T1" fmla="*/ 227 h 227"/>
                <a:gd name="T2" fmla="*/ 366 w 461"/>
                <a:gd name="T3" fmla="*/ 227 h 227"/>
                <a:gd name="T4" fmla="*/ 441 w 461"/>
                <a:gd name="T5" fmla="*/ 150 h 227"/>
                <a:gd name="T6" fmla="*/ 349 w 461"/>
                <a:gd name="T7" fmla="*/ 0 h 227"/>
                <a:gd name="T8" fmla="*/ 249 w 461"/>
                <a:gd name="T9" fmla="*/ 62 h 227"/>
                <a:gd name="T10" fmla="*/ 193 w 461"/>
                <a:gd name="T11" fmla="*/ 38 h 227"/>
                <a:gd name="T12" fmla="*/ 120 w 461"/>
                <a:gd name="T13" fmla="*/ 97 h 227"/>
                <a:gd name="T14" fmla="*/ 74 w 461"/>
                <a:gd name="T15" fmla="*/ 98 h 227"/>
                <a:gd name="T16" fmla="*/ 84 w 461"/>
                <a:gd name="T17" fmla="*/ 227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1" h="227">
                  <a:moveTo>
                    <a:pt x="84" y="227"/>
                  </a:moveTo>
                  <a:cubicBezTo>
                    <a:pt x="366" y="227"/>
                    <a:pt x="366" y="227"/>
                    <a:pt x="366" y="227"/>
                  </a:cubicBezTo>
                  <a:cubicBezTo>
                    <a:pt x="366" y="227"/>
                    <a:pt x="422" y="215"/>
                    <a:pt x="441" y="150"/>
                  </a:cubicBezTo>
                  <a:cubicBezTo>
                    <a:pt x="461" y="85"/>
                    <a:pt x="417" y="0"/>
                    <a:pt x="349" y="0"/>
                  </a:cubicBezTo>
                  <a:cubicBezTo>
                    <a:pt x="291" y="0"/>
                    <a:pt x="266" y="31"/>
                    <a:pt x="249" y="62"/>
                  </a:cubicBezTo>
                  <a:cubicBezTo>
                    <a:pt x="249" y="62"/>
                    <a:pt x="226" y="36"/>
                    <a:pt x="193" y="38"/>
                  </a:cubicBezTo>
                  <a:cubicBezTo>
                    <a:pt x="160" y="40"/>
                    <a:pt x="138" y="50"/>
                    <a:pt x="120" y="97"/>
                  </a:cubicBezTo>
                  <a:cubicBezTo>
                    <a:pt x="120" y="97"/>
                    <a:pt x="98" y="89"/>
                    <a:pt x="74" y="98"/>
                  </a:cubicBezTo>
                  <a:cubicBezTo>
                    <a:pt x="32" y="113"/>
                    <a:pt x="0" y="196"/>
                    <a:pt x="84" y="227"/>
                  </a:cubicBezTo>
                </a:path>
              </a:pathLst>
            </a:custGeom>
            <a:solidFill>
              <a:srgbClr val="01A9D0">
                <a:alpha val="80000"/>
              </a:srgbClr>
            </a:solidFill>
            <a:ln>
              <a:noFill/>
            </a:ln>
            <a:extLst/>
          </p:spPr>
          <p:txBody>
            <a:bodyPr vert="horz" wrap="square" lIns="91440" tIns="45720" rIns="91440" bIns="45720" numCol="1" anchor="t" anchorCtr="0" compatLnSpc="1">
              <a:prstTxWarp prst="textNoShape">
                <a:avLst/>
              </a:prstTxWarp>
            </a:bodyPr>
            <a:lstStyle/>
            <a:p>
              <a:endParaRPr lang="en-US" dirty="0"/>
            </a:p>
          </p:txBody>
        </p:sp>
        <p:grpSp>
          <p:nvGrpSpPr>
            <p:cNvPr id="99" name="Group 98"/>
            <p:cNvGrpSpPr/>
            <p:nvPr/>
          </p:nvGrpSpPr>
          <p:grpSpPr>
            <a:xfrm>
              <a:off x="6206022" y="1963037"/>
              <a:ext cx="1819178" cy="1003352"/>
              <a:chOff x="3915295" y="2243593"/>
              <a:chExt cx="1819178" cy="1003352"/>
            </a:xfrm>
          </p:grpSpPr>
          <p:sp>
            <p:nvSpPr>
              <p:cNvPr id="100" name="TextBox 99"/>
              <p:cNvSpPr txBox="1"/>
              <p:nvPr/>
            </p:nvSpPr>
            <p:spPr>
              <a:xfrm>
                <a:off x="3915295" y="2243593"/>
                <a:ext cx="1819178" cy="1003352"/>
              </a:xfrm>
              <a:prstGeom prst="rect">
                <a:avLst/>
              </a:prstGeom>
              <a:noFill/>
            </p:spPr>
            <p:txBody>
              <a:bodyPr wrap="square" lIns="91440" tIns="91440" rIns="91440" bIns="91440" rtlCol="0">
                <a:spAutoFit/>
              </a:bodyPr>
              <a:lstStyle/>
              <a:p>
                <a:pPr>
                  <a:lnSpc>
                    <a:spcPct val="90000"/>
                  </a:lnSpc>
                  <a:spcBef>
                    <a:spcPct val="20000"/>
                  </a:spcBef>
                  <a:buSzPct val="90000"/>
                </a:pPr>
                <a:r>
                  <a:rPr lang="en-US" sz="4100" b="1" spc="-225" dirty="0">
                    <a:gradFill>
                      <a:gsLst>
                        <a:gs pos="0">
                          <a:schemeClr val="tx1">
                            <a:alpha val="50000"/>
                          </a:schemeClr>
                        </a:gs>
                        <a:gs pos="100000">
                          <a:schemeClr val="tx1">
                            <a:alpha val="50000"/>
                          </a:schemeClr>
                        </a:gs>
                      </a:gsLst>
                      <a:lin ang="5400000" scaled="0"/>
                    </a:gradFill>
                  </a:rPr>
                  <a:t>500</a:t>
                </a:r>
              </a:p>
            </p:txBody>
          </p:sp>
          <p:grpSp>
            <p:nvGrpSpPr>
              <p:cNvPr id="101" name="Group 100"/>
              <p:cNvGrpSpPr/>
              <p:nvPr/>
            </p:nvGrpSpPr>
            <p:grpSpPr>
              <a:xfrm>
                <a:off x="4951050" y="2364126"/>
                <a:ext cx="309416" cy="341562"/>
                <a:chOff x="959186" y="2658483"/>
                <a:chExt cx="331323" cy="365745"/>
              </a:xfrm>
            </p:grpSpPr>
            <p:sp>
              <p:nvSpPr>
                <p:cNvPr id="102" name="Freeform 46"/>
                <p:cNvSpPr>
                  <a:spLocks noEditPoints="1"/>
                </p:cNvSpPr>
                <p:nvPr/>
              </p:nvSpPr>
              <p:spPr bwMode="auto">
                <a:xfrm>
                  <a:off x="959186" y="2658483"/>
                  <a:ext cx="331323" cy="269647"/>
                </a:xfrm>
                <a:custGeom>
                  <a:avLst/>
                  <a:gdLst>
                    <a:gd name="T0" fmla="*/ 173 w 179"/>
                    <a:gd name="T1" fmla="*/ 0 h 146"/>
                    <a:gd name="T2" fmla="*/ 6 w 179"/>
                    <a:gd name="T3" fmla="*/ 0 h 146"/>
                    <a:gd name="T4" fmla="*/ 0 w 179"/>
                    <a:gd name="T5" fmla="*/ 6 h 146"/>
                    <a:gd name="T6" fmla="*/ 0 w 179"/>
                    <a:gd name="T7" fmla="*/ 127 h 146"/>
                    <a:gd name="T8" fmla="*/ 6 w 179"/>
                    <a:gd name="T9" fmla="*/ 132 h 146"/>
                    <a:gd name="T10" fmla="*/ 67 w 179"/>
                    <a:gd name="T11" fmla="*/ 132 h 146"/>
                    <a:gd name="T12" fmla="*/ 67 w 179"/>
                    <a:gd name="T13" fmla="*/ 146 h 146"/>
                    <a:gd name="T14" fmla="*/ 113 w 179"/>
                    <a:gd name="T15" fmla="*/ 146 h 146"/>
                    <a:gd name="T16" fmla="*/ 113 w 179"/>
                    <a:gd name="T17" fmla="*/ 132 h 146"/>
                    <a:gd name="T18" fmla="*/ 173 w 179"/>
                    <a:gd name="T19" fmla="*/ 132 h 146"/>
                    <a:gd name="T20" fmla="*/ 179 w 179"/>
                    <a:gd name="T21" fmla="*/ 127 h 146"/>
                    <a:gd name="T22" fmla="*/ 179 w 179"/>
                    <a:gd name="T23" fmla="*/ 6 h 146"/>
                    <a:gd name="T24" fmla="*/ 173 w 179"/>
                    <a:gd name="T25" fmla="*/ 0 h 146"/>
                    <a:gd name="T26" fmla="*/ 165 w 179"/>
                    <a:gd name="T27" fmla="*/ 115 h 146"/>
                    <a:gd name="T28" fmla="*/ 160 w 179"/>
                    <a:gd name="T29" fmla="*/ 120 h 146"/>
                    <a:gd name="T30" fmla="*/ 19 w 179"/>
                    <a:gd name="T31" fmla="*/ 120 h 146"/>
                    <a:gd name="T32" fmla="*/ 14 w 179"/>
                    <a:gd name="T33" fmla="*/ 115 h 146"/>
                    <a:gd name="T34" fmla="*/ 14 w 179"/>
                    <a:gd name="T35" fmla="*/ 18 h 146"/>
                    <a:gd name="T36" fmla="*/ 19 w 179"/>
                    <a:gd name="T37" fmla="*/ 13 h 146"/>
                    <a:gd name="T38" fmla="*/ 160 w 179"/>
                    <a:gd name="T39" fmla="*/ 13 h 146"/>
                    <a:gd name="T40" fmla="*/ 165 w 179"/>
                    <a:gd name="T41" fmla="*/ 18 h 146"/>
                    <a:gd name="T42" fmla="*/ 165 w 179"/>
                    <a:gd name="T43" fmla="*/ 115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9" h="146">
                      <a:moveTo>
                        <a:pt x="173" y="0"/>
                      </a:moveTo>
                      <a:cubicBezTo>
                        <a:pt x="6" y="0"/>
                        <a:pt x="6" y="0"/>
                        <a:pt x="6" y="0"/>
                      </a:cubicBezTo>
                      <a:cubicBezTo>
                        <a:pt x="3" y="0"/>
                        <a:pt x="0" y="3"/>
                        <a:pt x="0" y="6"/>
                      </a:cubicBezTo>
                      <a:cubicBezTo>
                        <a:pt x="0" y="127"/>
                        <a:pt x="0" y="127"/>
                        <a:pt x="0" y="127"/>
                      </a:cubicBezTo>
                      <a:cubicBezTo>
                        <a:pt x="0" y="130"/>
                        <a:pt x="3" y="132"/>
                        <a:pt x="6" y="132"/>
                      </a:cubicBezTo>
                      <a:cubicBezTo>
                        <a:pt x="67" y="132"/>
                        <a:pt x="67" y="132"/>
                        <a:pt x="67" y="132"/>
                      </a:cubicBezTo>
                      <a:cubicBezTo>
                        <a:pt x="67" y="146"/>
                        <a:pt x="67" y="146"/>
                        <a:pt x="67" y="146"/>
                      </a:cubicBezTo>
                      <a:cubicBezTo>
                        <a:pt x="113" y="146"/>
                        <a:pt x="113" y="146"/>
                        <a:pt x="113" y="146"/>
                      </a:cubicBezTo>
                      <a:cubicBezTo>
                        <a:pt x="113" y="132"/>
                        <a:pt x="113" y="132"/>
                        <a:pt x="113" y="132"/>
                      </a:cubicBezTo>
                      <a:cubicBezTo>
                        <a:pt x="173" y="132"/>
                        <a:pt x="173" y="132"/>
                        <a:pt x="173" y="132"/>
                      </a:cubicBezTo>
                      <a:cubicBezTo>
                        <a:pt x="176" y="132"/>
                        <a:pt x="179" y="130"/>
                        <a:pt x="179" y="127"/>
                      </a:cubicBezTo>
                      <a:cubicBezTo>
                        <a:pt x="179" y="6"/>
                        <a:pt x="179" y="6"/>
                        <a:pt x="179" y="6"/>
                      </a:cubicBezTo>
                      <a:cubicBezTo>
                        <a:pt x="179" y="3"/>
                        <a:pt x="176" y="0"/>
                        <a:pt x="173" y="0"/>
                      </a:cubicBezTo>
                      <a:close/>
                      <a:moveTo>
                        <a:pt x="165" y="115"/>
                      </a:moveTo>
                      <a:cubicBezTo>
                        <a:pt x="165" y="118"/>
                        <a:pt x="162" y="120"/>
                        <a:pt x="160" y="120"/>
                      </a:cubicBezTo>
                      <a:cubicBezTo>
                        <a:pt x="19" y="120"/>
                        <a:pt x="19" y="120"/>
                        <a:pt x="19" y="120"/>
                      </a:cubicBezTo>
                      <a:cubicBezTo>
                        <a:pt x="16" y="120"/>
                        <a:pt x="14" y="118"/>
                        <a:pt x="14" y="115"/>
                      </a:cubicBezTo>
                      <a:cubicBezTo>
                        <a:pt x="14" y="18"/>
                        <a:pt x="14" y="18"/>
                        <a:pt x="14" y="18"/>
                      </a:cubicBezTo>
                      <a:cubicBezTo>
                        <a:pt x="14" y="15"/>
                        <a:pt x="16" y="13"/>
                        <a:pt x="19" y="13"/>
                      </a:cubicBezTo>
                      <a:cubicBezTo>
                        <a:pt x="160" y="13"/>
                        <a:pt x="160" y="13"/>
                        <a:pt x="160" y="13"/>
                      </a:cubicBezTo>
                      <a:cubicBezTo>
                        <a:pt x="162" y="13"/>
                        <a:pt x="165" y="15"/>
                        <a:pt x="165" y="18"/>
                      </a:cubicBezTo>
                      <a:lnTo>
                        <a:pt x="165" y="11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 name="Freeform 47"/>
                <p:cNvSpPr>
                  <a:spLocks noEditPoints="1"/>
                </p:cNvSpPr>
                <p:nvPr/>
              </p:nvSpPr>
              <p:spPr bwMode="auto">
                <a:xfrm>
                  <a:off x="1003650" y="2941039"/>
                  <a:ext cx="243830" cy="83189"/>
                </a:xfrm>
                <a:custGeom>
                  <a:avLst/>
                  <a:gdLst>
                    <a:gd name="T0" fmla="*/ 130 w 132"/>
                    <a:gd name="T1" fmla="*/ 0 h 45"/>
                    <a:gd name="T2" fmla="*/ 3 w 132"/>
                    <a:gd name="T3" fmla="*/ 0 h 45"/>
                    <a:gd name="T4" fmla="*/ 0 w 132"/>
                    <a:gd name="T5" fmla="*/ 3 h 45"/>
                    <a:gd name="T6" fmla="*/ 0 w 132"/>
                    <a:gd name="T7" fmla="*/ 43 h 45"/>
                    <a:gd name="T8" fmla="*/ 3 w 132"/>
                    <a:gd name="T9" fmla="*/ 45 h 45"/>
                    <a:gd name="T10" fmla="*/ 130 w 132"/>
                    <a:gd name="T11" fmla="*/ 45 h 45"/>
                    <a:gd name="T12" fmla="*/ 132 w 132"/>
                    <a:gd name="T13" fmla="*/ 43 h 45"/>
                    <a:gd name="T14" fmla="*/ 132 w 132"/>
                    <a:gd name="T15" fmla="*/ 3 h 45"/>
                    <a:gd name="T16" fmla="*/ 130 w 132"/>
                    <a:gd name="T17" fmla="*/ 0 h 45"/>
                    <a:gd name="T18" fmla="*/ 126 w 132"/>
                    <a:gd name="T19" fmla="*/ 14 h 45"/>
                    <a:gd name="T20" fmla="*/ 124 w 132"/>
                    <a:gd name="T21" fmla="*/ 17 h 45"/>
                    <a:gd name="T22" fmla="*/ 80 w 132"/>
                    <a:gd name="T23" fmla="*/ 17 h 45"/>
                    <a:gd name="T24" fmla="*/ 77 w 132"/>
                    <a:gd name="T25" fmla="*/ 14 h 45"/>
                    <a:gd name="T26" fmla="*/ 77 w 132"/>
                    <a:gd name="T27" fmla="*/ 10 h 45"/>
                    <a:gd name="T28" fmla="*/ 80 w 132"/>
                    <a:gd name="T29" fmla="*/ 7 h 45"/>
                    <a:gd name="T30" fmla="*/ 124 w 132"/>
                    <a:gd name="T31" fmla="*/ 7 h 45"/>
                    <a:gd name="T32" fmla="*/ 126 w 132"/>
                    <a:gd name="T33" fmla="*/ 10 h 45"/>
                    <a:gd name="T34" fmla="*/ 126 w 132"/>
                    <a:gd name="T35" fmla="*/ 1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45">
                      <a:moveTo>
                        <a:pt x="130" y="0"/>
                      </a:moveTo>
                      <a:cubicBezTo>
                        <a:pt x="3" y="0"/>
                        <a:pt x="3" y="0"/>
                        <a:pt x="3" y="0"/>
                      </a:cubicBezTo>
                      <a:cubicBezTo>
                        <a:pt x="1" y="0"/>
                        <a:pt x="0" y="1"/>
                        <a:pt x="0" y="3"/>
                      </a:cubicBezTo>
                      <a:cubicBezTo>
                        <a:pt x="0" y="43"/>
                        <a:pt x="0" y="43"/>
                        <a:pt x="0" y="43"/>
                      </a:cubicBezTo>
                      <a:cubicBezTo>
                        <a:pt x="0" y="44"/>
                        <a:pt x="1" y="45"/>
                        <a:pt x="3" y="45"/>
                      </a:cubicBezTo>
                      <a:cubicBezTo>
                        <a:pt x="130" y="45"/>
                        <a:pt x="130" y="45"/>
                        <a:pt x="130" y="45"/>
                      </a:cubicBezTo>
                      <a:cubicBezTo>
                        <a:pt x="131" y="45"/>
                        <a:pt x="132" y="44"/>
                        <a:pt x="132" y="43"/>
                      </a:cubicBezTo>
                      <a:cubicBezTo>
                        <a:pt x="132" y="3"/>
                        <a:pt x="132" y="3"/>
                        <a:pt x="132" y="3"/>
                      </a:cubicBezTo>
                      <a:cubicBezTo>
                        <a:pt x="132" y="1"/>
                        <a:pt x="131" y="0"/>
                        <a:pt x="130" y="0"/>
                      </a:cubicBezTo>
                      <a:close/>
                      <a:moveTo>
                        <a:pt x="126" y="14"/>
                      </a:moveTo>
                      <a:cubicBezTo>
                        <a:pt x="126" y="16"/>
                        <a:pt x="125" y="17"/>
                        <a:pt x="124" y="17"/>
                      </a:cubicBezTo>
                      <a:cubicBezTo>
                        <a:pt x="80" y="17"/>
                        <a:pt x="80" y="17"/>
                        <a:pt x="80" y="17"/>
                      </a:cubicBezTo>
                      <a:cubicBezTo>
                        <a:pt x="78" y="17"/>
                        <a:pt x="77" y="16"/>
                        <a:pt x="77" y="14"/>
                      </a:cubicBezTo>
                      <a:cubicBezTo>
                        <a:pt x="77" y="10"/>
                        <a:pt x="77" y="10"/>
                        <a:pt x="77" y="10"/>
                      </a:cubicBezTo>
                      <a:cubicBezTo>
                        <a:pt x="77" y="8"/>
                        <a:pt x="78" y="7"/>
                        <a:pt x="80" y="7"/>
                      </a:cubicBezTo>
                      <a:cubicBezTo>
                        <a:pt x="124" y="7"/>
                        <a:pt x="124" y="7"/>
                        <a:pt x="124" y="7"/>
                      </a:cubicBezTo>
                      <a:cubicBezTo>
                        <a:pt x="125" y="7"/>
                        <a:pt x="126" y="8"/>
                        <a:pt x="126" y="10"/>
                      </a:cubicBezTo>
                      <a:lnTo>
                        <a:pt x="126" y="1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04" name="Group 103"/>
            <p:cNvGrpSpPr/>
            <p:nvPr/>
          </p:nvGrpSpPr>
          <p:grpSpPr>
            <a:xfrm>
              <a:off x="5881194" y="1340921"/>
              <a:ext cx="1669999" cy="1003352"/>
              <a:chOff x="508381" y="2440839"/>
              <a:chExt cx="1669999" cy="1003352"/>
            </a:xfrm>
          </p:grpSpPr>
          <p:sp>
            <p:nvSpPr>
              <p:cNvPr id="105" name="TextBox 104"/>
              <p:cNvSpPr txBox="1"/>
              <p:nvPr/>
            </p:nvSpPr>
            <p:spPr>
              <a:xfrm>
                <a:off x="508381" y="2440839"/>
                <a:ext cx="1669999" cy="1003352"/>
              </a:xfrm>
              <a:prstGeom prst="rect">
                <a:avLst/>
              </a:prstGeom>
              <a:noFill/>
            </p:spPr>
            <p:txBody>
              <a:bodyPr wrap="square" lIns="91440" tIns="91440" rIns="91440" bIns="91440" rtlCol="0">
                <a:spAutoFit/>
              </a:bodyPr>
              <a:lstStyle/>
              <a:p>
                <a:pPr>
                  <a:lnSpc>
                    <a:spcPct val="90000"/>
                  </a:lnSpc>
                  <a:spcBef>
                    <a:spcPct val="20000"/>
                  </a:spcBef>
                  <a:buSzPct val="90000"/>
                </a:pPr>
                <a:r>
                  <a:rPr lang="en-US" sz="4100" b="1" spc="-225" dirty="0">
                    <a:gradFill>
                      <a:gsLst>
                        <a:gs pos="0">
                          <a:schemeClr val="tx1">
                            <a:alpha val="50000"/>
                          </a:schemeClr>
                        </a:gs>
                        <a:gs pos="100000">
                          <a:schemeClr val="tx1">
                            <a:alpha val="50000"/>
                          </a:schemeClr>
                        </a:gs>
                      </a:gsLst>
                      <a:lin ang="5400000" scaled="0"/>
                    </a:gradFill>
                  </a:rPr>
                  <a:t>10</a:t>
                </a:r>
              </a:p>
            </p:txBody>
          </p:sp>
          <p:pic>
            <p:nvPicPr>
              <p:cNvPr id="106" name="Picture 6" descr="\\magnum\Projects\Microsoft\Cloud Power FY12\Design\Icons\PNGs\Server_2.png"/>
              <p:cNvPicPr>
                <a:picLocks noChangeAspect="1" noChangeArrowheads="1"/>
              </p:cNvPicPr>
              <p:nvPr/>
            </p:nvPicPr>
            <p:blipFill>
              <a:blip r:embed="rId4" cstate="email">
                <a:lum bright="100000"/>
                <a:extLst>
                  <a:ext uri="{28A0092B-C50C-407E-A947-70E740481C1C}">
                    <a14:useLocalDpi xmlns:a14="http://schemas.microsoft.com/office/drawing/2010/main"/>
                  </a:ext>
                </a:extLst>
              </a:blip>
              <a:srcRect/>
              <a:stretch>
                <a:fillRect/>
              </a:stretch>
            </p:blipFill>
            <p:spPr bwMode="auto">
              <a:xfrm>
                <a:off x="1176087" y="2515145"/>
                <a:ext cx="751064" cy="751258"/>
              </a:xfrm>
              <a:prstGeom prst="rect">
                <a:avLst/>
              </a:prstGeom>
              <a:noFill/>
            </p:spPr>
          </p:pic>
        </p:grpSp>
      </p:grpSp>
      <p:grpSp>
        <p:nvGrpSpPr>
          <p:cNvPr id="45" name="Group 44"/>
          <p:cNvGrpSpPr/>
          <p:nvPr/>
        </p:nvGrpSpPr>
        <p:grpSpPr>
          <a:xfrm>
            <a:off x="6280098" y="1552800"/>
            <a:ext cx="1639816" cy="1712854"/>
            <a:chOff x="8371283" y="2070399"/>
            <a:chExt cx="2185852" cy="2283805"/>
          </a:xfrm>
        </p:grpSpPr>
        <p:sp>
          <p:nvSpPr>
            <p:cNvPr id="7" name="Rectangular Callout 6"/>
            <p:cNvSpPr/>
            <p:nvPr/>
          </p:nvSpPr>
          <p:spPr bwMode="auto">
            <a:xfrm>
              <a:off x="8396289" y="2123068"/>
              <a:ext cx="2133599" cy="2231136"/>
            </a:xfrm>
            <a:prstGeom prst="wedgeRectCallout">
              <a:avLst>
                <a:gd name="adj1" fmla="val 9556"/>
                <a:gd name="adj2" fmla="val 40903"/>
              </a:avLst>
            </a:prstGeom>
            <a:solidFill>
              <a:schemeClr val="bg2">
                <a:lumMod val="75000"/>
              </a:schemeClr>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91440" rIns="91436" bIns="91440" numCol="1" rtlCol="0" anchor="b" anchorCtr="0" compatLnSpc="1">
              <a:prstTxWarp prst="textNoShape">
                <a:avLst/>
              </a:prstTxWarp>
              <a:noAutofit/>
            </a:bodyPr>
            <a:lstStyle/>
            <a:p>
              <a:pPr defTabSz="342931"/>
              <a:r>
                <a:rPr lang="en-US" altLang="zh-CN" sz="1200" dirty="0">
                  <a:gradFill>
                    <a:gsLst>
                      <a:gs pos="0">
                        <a:schemeClr val="tx1"/>
                      </a:gs>
                      <a:gs pos="100000">
                        <a:schemeClr val="tx1"/>
                      </a:gs>
                    </a:gsLst>
                    <a:lin ang="5400000" scaled="0"/>
                  </a:gradFill>
                </a:rPr>
                <a:t>Stores: </a:t>
              </a:r>
              <a:r>
                <a:rPr lang="en-US" altLang="zh-CN" sz="1100" dirty="0">
                  <a:gradFill>
                    <a:gsLst>
                      <a:gs pos="0">
                        <a:schemeClr val="tx1"/>
                      </a:gs>
                      <a:gs pos="100000">
                        <a:schemeClr val="tx1"/>
                      </a:gs>
                    </a:gsLst>
                    <a:lin ang="5400000" scaled="0"/>
                  </a:gradFill>
                </a:rPr>
                <a:t/>
              </a:r>
              <a:br>
                <a:rPr lang="en-US" altLang="zh-CN" sz="1100" dirty="0">
                  <a:gradFill>
                    <a:gsLst>
                      <a:gs pos="0">
                        <a:schemeClr val="tx1"/>
                      </a:gs>
                      <a:gs pos="100000">
                        <a:schemeClr val="tx1"/>
                      </a:gs>
                    </a:gsLst>
                    <a:lin ang="5400000" scaled="0"/>
                  </a:gradFill>
                </a:rPr>
              </a:br>
              <a:r>
                <a:rPr lang="en-US" altLang="zh-CN" sz="1100" dirty="0">
                  <a:gradFill>
                    <a:gsLst>
                      <a:gs pos="0">
                        <a:schemeClr val="tx1"/>
                      </a:gs>
                      <a:gs pos="100000">
                        <a:schemeClr val="tx1"/>
                      </a:gs>
                    </a:gsLst>
                    <a:lin ang="5400000" scaled="0"/>
                  </a:gradFill>
                </a:rPr>
                <a:t>2 Servers, 5 Computers and 20 POS kiosks distributed among </a:t>
              </a:r>
              <a:br>
                <a:rPr lang="en-US" altLang="zh-CN" sz="1100" dirty="0">
                  <a:gradFill>
                    <a:gsLst>
                      <a:gs pos="0">
                        <a:schemeClr val="tx1"/>
                      </a:gs>
                      <a:gs pos="100000">
                        <a:schemeClr val="tx1"/>
                      </a:gs>
                    </a:gsLst>
                    <a:lin ang="5400000" scaled="0"/>
                  </a:gradFill>
                </a:rPr>
              </a:br>
              <a:r>
                <a:rPr lang="en-US" altLang="zh-CN" sz="1100" dirty="0">
                  <a:gradFill>
                    <a:gsLst>
                      <a:gs pos="0">
                        <a:schemeClr val="tx1"/>
                      </a:gs>
                      <a:gs pos="100000">
                        <a:schemeClr val="tx1"/>
                      </a:gs>
                    </a:gsLst>
                    <a:lin ang="5400000" scaled="0"/>
                  </a:gradFill>
                </a:rPr>
                <a:t>100 stores</a:t>
              </a:r>
              <a:endParaRPr lang="fr-FR" altLang="zh-CN" sz="900" dirty="0">
                <a:gradFill>
                  <a:gsLst>
                    <a:gs pos="0">
                      <a:schemeClr val="tx1"/>
                    </a:gs>
                    <a:gs pos="100000">
                      <a:schemeClr val="tx1"/>
                    </a:gs>
                  </a:gsLst>
                  <a:lin ang="5400000" scaled="0"/>
                </a:gradFill>
              </a:endParaRPr>
            </a:p>
          </p:txBody>
        </p:sp>
        <p:grpSp>
          <p:nvGrpSpPr>
            <p:cNvPr id="111" name="Group 110"/>
            <p:cNvGrpSpPr/>
            <p:nvPr/>
          </p:nvGrpSpPr>
          <p:grpSpPr>
            <a:xfrm>
              <a:off x="9087819" y="2553642"/>
              <a:ext cx="1469316" cy="1003352"/>
              <a:chOff x="6758696" y="2286000"/>
              <a:chExt cx="1469316" cy="1003352"/>
            </a:xfrm>
          </p:grpSpPr>
          <p:sp>
            <p:nvSpPr>
              <p:cNvPr id="112" name="TextBox 111"/>
              <p:cNvSpPr txBox="1"/>
              <p:nvPr/>
            </p:nvSpPr>
            <p:spPr>
              <a:xfrm>
                <a:off x="6758696" y="2286000"/>
                <a:ext cx="1469316" cy="1003352"/>
              </a:xfrm>
              <a:prstGeom prst="rect">
                <a:avLst/>
              </a:prstGeom>
              <a:noFill/>
            </p:spPr>
            <p:txBody>
              <a:bodyPr wrap="square" lIns="91440" tIns="91440" rIns="91440" bIns="91440" rtlCol="0">
                <a:spAutoFit/>
              </a:bodyPr>
              <a:lstStyle/>
              <a:p>
                <a:pPr>
                  <a:lnSpc>
                    <a:spcPct val="90000"/>
                  </a:lnSpc>
                  <a:spcBef>
                    <a:spcPct val="20000"/>
                  </a:spcBef>
                  <a:buSzPct val="90000"/>
                </a:pPr>
                <a:r>
                  <a:rPr lang="en-US" sz="4100" b="1" spc="-225" dirty="0">
                    <a:gradFill>
                      <a:gsLst>
                        <a:gs pos="0">
                          <a:srgbClr val="005EA4"/>
                        </a:gs>
                        <a:gs pos="100000">
                          <a:srgbClr val="0070C0"/>
                        </a:gs>
                      </a:gsLst>
                      <a:lin ang="5400000" scaled="0"/>
                    </a:gradFill>
                  </a:rPr>
                  <a:t>25</a:t>
                </a:r>
              </a:p>
            </p:txBody>
          </p:sp>
          <p:grpSp>
            <p:nvGrpSpPr>
              <p:cNvPr id="113" name="Group 112"/>
              <p:cNvGrpSpPr/>
              <p:nvPr/>
            </p:nvGrpSpPr>
            <p:grpSpPr>
              <a:xfrm>
                <a:off x="7462923" y="2424417"/>
                <a:ext cx="309416" cy="341563"/>
                <a:chOff x="794598" y="2689988"/>
                <a:chExt cx="331323" cy="365746"/>
              </a:xfrm>
            </p:grpSpPr>
            <p:sp>
              <p:nvSpPr>
                <p:cNvPr id="115" name="Freeform 46"/>
                <p:cNvSpPr>
                  <a:spLocks noEditPoints="1"/>
                </p:cNvSpPr>
                <p:nvPr/>
              </p:nvSpPr>
              <p:spPr bwMode="auto">
                <a:xfrm>
                  <a:off x="794598" y="2689988"/>
                  <a:ext cx="331323" cy="269647"/>
                </a:xfrm>
                <a:custGeom>
                  <a:avLst/>
                  <a:gdLst>
                    <a:gd name="T0" fmla="*/ 173 w 179"/>
                    <a:gd name="T1" fmla="*/ 0 h 146"/>
                    <a:gd name="T2" fmla="*/ 6 w 179"/>
                    <a:gd name="T3" fmla="*/ 0 h 146"/>
                    <a:gd name="T4" fmla="*/ 0 w 179"/>
                    <a:gd name="T5" fmla="*/ 6 h 146"/>
                    <a:gd name="T6" fmla="*/ 0 w 179"/>
                    <a:gd name="T7" fmla="*/ 127 h 146"/>
                    <a:gd name="T8" fmla="*/ 6 w 179"/>
                    <a:gd name="T9" fmla="*/ 132 h 146"/>
                    <a:gd name="T10" fmla="*/ 67 w 179"/>
                    <a:gd name="T11" fmla="*/ 132 h 146"/>
                    <a:gd name="T12" fmla="*/ 67 w 179"/>
                    <a:gd name="T13" fmla="*/ 146 h 146"/>
                    <a:gd name="T14" fmla="*/ 113 w 179"/>
                    <a:gd name="T15" fmla="*/ 146 h 146"/>
                    <a:gd name="T16" fmla="*/ 113 w 179"/>
                    <a:gd name="T17" fmla="*/ 132 h 146"/>
                    <a:gd name="T18" fmla="*/ 173 w 179"/>
                    <a:gd name="T19" fmla="*/ 132 h 146"/>
                    <a:gd name="T20" fmla="*/ 179 w 179"/>
                    <a:gd name="T21" fmla="*/ 127 h 146"/>
                    <a:gd name="T22" fmla="*/ 179 w 179"/>
                    <a:gd name="T23" fmla="*/ 6 h 146"/>
                    <a:gd name="T24" fmla="*/ 173 w 179"/>
                    <a:gd name="T25" fmla="*/ 0 h 146"/>
                    <a:gd name="T26" fmla="*/ 165 w 179"/>
                    <a:gd name="T27" fmla="*/ 115 h 146"/>
                    <a:gd name="T28" fmla="*/ 160 w 179"/>
                    <a:gd name="T29" fmla="*/ 120 h 146"/>
                    <a:gd name="T30" fmla="*/ 19 w 179"/>
                    <a:gd name="T31" fmla="*/ 120 h 146"/>
                    <a:gd name="T32" fmla="*/ 14 w 179"/>
                    <a:gd name="T33" fmla="*/ 115 h 146"/>
                    <a:gd name="T34" fmla="*/ 14 w 179"/>
                    <a:gd name="T35" fmla="*/ 18 h 146"/>
                    <a:gd name="T36" fmla="*/ 19 w 179"/>
                    <a:gd name="T37" fmla="*/ 13 h 146"/>
                    <a:gd name="T38" fmla="*/ 160 w 179"/>
                    <a:gd name="T39" fmla="*/ 13 h 146"/>
                    <a:gd name="T40" fmla="*/ 165 w 179"/>
                    <a:gd name="T41" fmla="*/ 18 h 146"/>
                    <a:gd name="T42" fmla="*/ 165 w 179"/>
                    <a:gd name="T43" fmla="*/ 115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9" h="146">
                      <a:moveTo>
                        <a:pt x="173" y="0"/>
                      </a:moveTo>
                      <a:cubicBezTo>
                        <a:pt x="6" y="0"/>
                        <a:pt x="6" y="0"/>
                        <a:pt x="6" y="0"/>
                      </a:cubicBezTo>
                      <a:cubicBezTo>
                        <a:pt x="3" y="0"/>
                        <a:pt x="0" y="3"/>
                        <a:pt x="0" y="6"/>
                      </a:cubicBezTo>
                      <a:cubicBezTo>
                        <a:pt x="0" y="127"/>
                        <a:pt x="0" y="127"/>
                        <a:pt x="0" y="127"/>
                      </a:cubicBezTo>
                      <a:cubicBezTo>
                        <a:pt x="0" y="130"/>
                        <a:pt x="3" y="132"/>
                        <a:pt x="6" y="132"/>
                      </a:cubicBezTo>
                      <a:cubicBezTo>
                        <a:pt x="67" y="132"/>
                        <a:pt x="67" y="132"/>
                        <a:pt x="67" y="132"/>
                      </a:cubicBezTo>
                      <a:cubicBezTo>
                        <a:pt x="67" y="146"/>
                        <a:pt x="67" y="146"/>
                        <a:pt x="67" y="146"/>
                      </a:cubicBezTo>
                      <a:cubicBezTo>
                        <a:pt x="113" y="146"/>
                        <a:pt x="113" y="146"/>
                        <a:pt x="113" y="146"/>
                      </a:cubicBezTo>
                      <a:cubicBezTo>
                        <a:pt x="113" y="132"/>
                        <a:pt x="113" y="132"/>
                        <a:pt x="113" y="132"/>
                      </a:cubicBezTo>
                      <a:cubicBezTo>
                        <a:pt x="173" y="132"/>
                        <a:pt x="173" y="132"/>
                        <a:pt x="173" y="132"/>
                      </a:cubicBezTo>
                      <a:cubicBezTo>
                        <a:pt x="176" y="132"/>
                        <a:pt x="179" y="130"/>
                        <a:pt x="179" y="127"/>
                      </a:cubicBezTo>
                      <a:cubicBezTo>
                        <a:pt x="179" y="6"/>
                        <a:pt x="179" y="6"/>
                        <a:pt x="179" y="6"/>
                      </a:cubicBezTo>
                      <a:cubicBezTo>
                        <a:pt x="179" y="3"/>
                        <a:pt x="176" y="0"/>
                        <a:pt x="173" y="0"/>
                      </a:cubicBezTo>
                      <a:close/>
                      <a:moveTo>
                        <a:pt x="165" y="115"/>
                      </a:moveTo>
                      <a:cubicBezTo>
                        <a:pt x="165" y="118"/>
                        <a:pt x="162" y="120"/>
                        <a:pt x="160" y="120"/>
                      </a:cubicBezTo>
                      <a:cubicBezTo>
                        <a:pt x="19" y="120"/>
                        <a:pt x="19" y="120"/>
                        <a:pt x="19" y="120"/>
                      </a:cubicBezTo>
                      <a:cubicBezTo>
                        <a:pt x="16" y="120"/>
                        <a:pt x="14" y="118"/>
                        <a:pt x="14" y="115"/>
                      </a:cubicBezTo>
                      <a:cubicBezTo>
                        <a:pt x="14" y="18"/>
                        <a:pt x="14" y="18"/>
                        <a:pt x="14" y="18"/>
                      </a:cubicBezTo>
                      <a:cubicBezTo>
                        <a:pt x="14" y="15"/>
                        <a:pt x="16" y="13"/>
                        <a:pt x="19" y="13"/>
                      </a:cubicBezTo>
                      <a:cubicBezTo>
                        <a:pt x="160" y="13"/>
                        <a:pt x="160" y="13"/>
                        <a:pt x="160" y="13"/>
                      </a:cubicBezTo>
                      <a:cubicBezTo>
                        <a:pt x="162" y="13"/>
                        <a:pt x="165" y="15"/>
                        <a:pt x="165" y="18"/>
                      </a:cubicBezTo>
                      <a:lnTo>
                        <a:pt x="165" y="115"/>
                      </a:lnTo>
                      <a:close/>
                    </a:path>
                  </a:pathLst>
                </a:custGeom>
                <a:solidFill>
                  <a:srgbClr val="01A9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 name="Freeform 47"/>
                <p:cNvSpPr>
                  <a:spLocks noEditPoints="1"/>
                </p:cNvSpPr>
                <p:nvPr/>
              </p:nvSpPr>
              <p:spPr bwMode="auto">
                <a:xfrm>
                  <a:off x="839062" y="2972543"/>
                  <a:ext cx="243830" cy="83191"/>
                </a:xfrm>
                <a:custGeom>
                  <a:avLst/>
                  <a:gdLst>
                    <a:gd name="T0" fmla="*/ 130 w 132"/>
                    <a:gd name="T1" fmla="*/ 0 h 45"/>
                    <a:gd name="T2" fmla="*/ 3 w 132"/>
                    <a:gd name="T3" fmla="*/ 0 h 45"/>
                    <a:gd name="T4" fmla="*/ 0 w 132"/>
                    <a:gd name="T5" fmla="*/ 3 h 45"/>
                    <a:gd name="T6" fmla="*/ 0 w 132"/>
                    <a:gd name="T7" fmla="*/ 43 h 45"/>
                    <a:gd name="T8" fmla="*/ 3 w 132"/>
                    <a:gd name="T9" fmla="*/ 45 h 45"/>
                    <a:gd name="T10" fmla="*/ 130 w 132"/>
                    <a:gd name="T11" fmla="*/ 45 h 45"/>
                    <a:gd name="T12" fmla="*/ 132 w 132"/>
                    <a:gd name="T13" fmla="*/ 43 h 45"/>
                    <a:gd name="T14" fmla="*/ 132 w 132"/>
                    <a:gd name="T15" fmla="*/ 3 h 45"/>
                    <a:gd name="T16" fmla="*/ 130 w 132"/>
                    <a:gd name="T17" fmla="*/ 0 h 45"/>
                    <a:gd name="T18" fmla="*/ 126 w 132"/>
                    <a:gd name="T19" fmla="*/ 14 h 45"/>
                    <a:gd name="T20" fmla="*/ 124 w 132"/>
                    <a:gd name="T21" fmla="*/ 17 h 45"/>
                    <a:gd name="T22" fmla="*/ 80 w 132"/>
                    <a:gd name="T23" fmla="*/ 17 h 45"/>
                    <a:gd name="T24" fmla="*/ 77 w 132"/>
                    <a:gd name="T25" fmla="*/ 14 h 45"/>
                    <a:gd name="T26" fmla="*/ 77 w 132"/>
                    <a:gd name="T27" fmla="*/ 10 h 45"/>
                    <a:gd name="T28" fmla="*/ 80 w 132"/>
                    <a:gd name="T29" fmla="*/ 7 h 45"/>
                    <a:gd name="T30" fmla="*/ 124 w 132"/>
                    <a:gd name="T31" fmla="*/ 7 h 45"/>
                    <a:gd name="T32" fmla="*/ 126 w 132"/>
                    <a:gd name="T33" fmla="*/ 10 h 45"/>
                    <a:gd name="T34" fmla="*/ 126 w 132"/>
                    <a:gd name="T35" fmla="*/ 1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45">
                      <a:moveTo>
                        <a:pt x="130" y="0"/>
                      </a:moveTo>
                      <a:cubicBezTo>
                        <a:pt x="3" y="0"/>
                        <a:pt x="3" y="0"/>
                        <a:pt x="3" y="0"/>
                      </a:cubicBezTo>
                      <a:cubicBezTo>
                        <a:pt x="1" y="0"/>
                        <a:pt x="0" y="1"/>
                        <a:pt x="0" y="3"/>
                      </a:cubicBezTo>
                      <a:cubicBezTo>
                        <a:pt x="0" y="43"/>
                        <a:pt x="0" y="43"/>
                        <a:pt x="0" y="43"/>
                      </a:cubicBezTo>
                      <a:cubicBezTo>
                        <a:pt x="0" y="44"/>
                        <a:pt x="1" y="45"/>
                        <a:pt x="3" y="45"/>
                      </a:cubicBezTo>
                      <a:cubicBezTo>
                        <a:pt x="130" y="45"/>
                        <a:pt x="130" y="45"/>
                        <a:pt x="130" y="45"/>
                      </a:cubicBezTo>
                      <a:cubicBezTo>
                        <a:pt x="131" y="45"/>
                        <a:pt x="132" y="44"/>
                        <a:pt x="132" y="43"/>
                      </a:cubicBezTo>
                      <a:cubicBezTo>
                        <a:pt x="132" y="3"/>
                        <a:pt x="132" y="3"/>
                        <a:pt x="132" y="3"/>
                      </a:cubicBezTo>
                      <a:cubicBezTo>
                        <a:pt x="132" y="1"/>
                        <a:pt x="131" y="0"/>
                        <a:pt x="130" y="0"/>
                      </a:cubicBezTo>
                      <a:close/>
                      <a:moveTo>
                        <a:pt x="126" y="14"/>
                      </a:moveTo>
                      <a:cubicBezTo>
                        <a:pt x="126" y="16"/>
                        <a:pt x="125" y="17"/>
                        <a:pt x="124" y="17"/>
                      </a:cubicBezTo>
                      <a:cubicBezTo>
                        <a:pt x="80" y="17"/>
                        <a:pt x="80" y="17"/>
                        <a:pt x="80" y="17"/>
                      </a:cubicBezTo>
                      <a:cubicBezTo>
                        <a:pt x="78" y="17"/>
                        <a:pt x="77" y="16"/>
                        <a:pt x="77" y="14"/>
                      </a:cubicBezTo>
                      <a:cubicBezTo>
                        <a:pt x="77" y="10"/>
                        <a:pt x="77" y="10"/>
                        <a:pt x="77" y="10"/>
                      </a:cubicBezTo>
                      <a:cubicBezTo>
                        <a:pt x="77" y="8"/>
                        <a:pt x="78" y="7"/>
                        <a:pt x="80" y="7"/>
                      </a:cubicBezTo>
                      <a:cubicBezTo>
                        <a:pt x="124" y="7"/>
                        <a:pt x="124" y="7"/>
                        <a:pt x="124" y="7"/>
                      </a:cubicBezTo>
                      <a:cubicBezTo>
                        <a:pt x="125" y="7"/>
                        <a:pt x="126" y="8"/>
                        <a:pt x="126" y="10"/>
                      </a:cubicBezTo>
                      <a:lnTo>
                        <a:pt x="126" y="14"/>
                      </a:lnTo>
                      <a:close/>
                    </a:path>
                  </a:pathLst>
                </a:custGeom>
                <a:solidFill>
                  <a:srgbClr val="01A9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14"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822448" y="2331663"/>
                <a:ext cx="229281" cy="458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17" name="Group 116"/>
            <p:cNvGrpSpPr/>
            <p:nvPr/>
          </p:nvGrpSpPr>
          <p:grpSpPr>
            <a:xfrm>
              <a:off x="8371283" y="2070399"/>
              <a:ext cx="1034504" cy="1003352"/>
              <a:chOff x="6247691" y="1473651"/>
              <a:chExt cx="1034504" cy="1003352"/>
            </a:xfrm>
          </p:grpSpPr>
          <p:pic>
            <p:nvPicPr>
              <p:cNvPr id="118"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auto">
              <a:xfrm>
                <a:off x="6581882" y="1560239"/>
                <a:ext cx="700313" cy="700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9" name="TextBox 118"/>
              <p:cNvSpPr txBox="1"/>
              <p:nvPr/>
            </p:nvSpPr>
            <p:spPr>
              <a:xfrm>
                <a:off x="6247691" y="1473651"/>
                <a:ext cx="608722" cy="1003352"/>
              </a:xfrm>
              <a:prstGeom prst="rect">
                <a:avLst/>
              </a:prstGeom>
              <a:noFill/>
            </p:spPr>
            <p:txBody>
              <a:bodyPr wrap="square" lIns="91440" tIns="91440" rIns="91440" bIns="91440" rtlCol="0">
                <a:spAutoFit/>
              </a:bodyPr>
              <a:lstStyle/>
              <a:p>
                <a:pPr>
                  <a:lnSpc>
                    <a:spcPct val="90000"/>
                  </a:lnSpc>
                  <a:spcBef>
                    <a:spcPct val="20000"/>
                  </a:spcBef>
                  <a:buSzPct val="90000"/>
                </a:pPr>
                <a:r>
                  <a:rPr lang="en-US" sz="4100" b="1" spc="-225" dirty="0">
                    <a:gradFill>
                      <a:gsLst>
                        <a:gs pos="0">
                          <a:srgbClr val="005EA4"/>
                        </a:gs>
                        <a:gs pos="100000">
                          <a:srgbClr val="0070C0"/>
                        </a:gs>
                      </a:gsLst>
                      <a:lin ang="5400000" scaled="0"/>
                    </a:gradFill>
                  </a:rPr>
                  <a:t>2</a:t>
                </a:r>
              </a:p>
            </p:txBody>
          </p:sp>
        </p:grpSp>
      </p:grpSp>
      <p:grpSp>
        <p:nvGrpSpPr>
          <p:cNvPr id="51" name="Group 50"/>
          <p:cNvGrpSpPr/>
          <p:nvPr/>
        </p:nvGrpSpPr>
        <p:grpSpPr>
          <a:xfrm>
            <a:off x="2294709" y="1033272"/>
            <a:ext cx="1648477" cy="1673352"/>
            <a:chOff x="3046412" y="1381331"/>
            <a:chExt cx="2197397" cy="2231136"/>
          </a:xfrm>
        </p:grpSpPr>
        <p:sp>
          <p:nvSpPr>
            <p:cNvPr id="52" name="Rectangular Callout 51"/>
            <p:cNvSpPr/>
            <p:nvPr/>
          </p:nvSpPr>
          <p:spPr bwMode="auto">
            <a:xfrm>
              <a:off x="3110210" y="1381331"/>
              <a:ext cx="2133599" cy="2231136"/>
            </a:xfrm>
            <a:prstGeom prst="wedgeRectCallout">
              <a:avLst>
                <a:gd name="adj1" fmla="val 130835"/>
                <a:gd name="adj2" fmla="val 132226"/>
              </a:avLst>
            </a:prstGeom>
            <a:solidFill>
              <a:schemeClr val="bg2">
                <a:lumMod val="75000"/>
              </a:schemeClr>
            </a:solidFill>
            <a:ln w="38100">
              <a:solidFill>
                <a:schemeClr val="accent5"/>
              </a:solid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91440" rIns="91436" bIns="91440" numCol="1" rtlCol="0" anchor="b" anchorCtr="0" compatLnSpc="1">
              <a:prstTxWarp prst="textNoShape">
                <a:avLst/>
              </a:prstTxWarp>
              <a:noAutofit/>
            </a:bodyPr>
            <a:lstStyle/>
            <a:p>
              <a:pPr defTabSz="342931"/>
              <a:r>
                <a:rPr lang="en-US" altLang="zh-CN" sz="1200" dirty="0">
                  <a:gradFill>
                    <a:gsLst>
                      <a:gs pos="0">
                        <a:schemeClr val="tx1"/>
                      </a:gs>
                      <a:gs pos="100000">
                        <a:schemeClr val="tx1"/>
                      </a:gs>
                    </a:gsLst>
                    <a:lin ang="5400000" scaled="0"/>
                  </a:gradFill>
                </a:rPr>
                <a:t>3</a:t>
              </a:r>
              <a:r>
                <a:rPr lang="en-US" altLang="zh-CN" sz="1200" baseline="30000" dirty="0">
                  <a:gradFill>
                    <a:gsLst>
                      <a:gs pos="0">
                        <a:schemeClr val="tx1"/>
                      </a:gs>
                      <a:gs pos="100000">
                        <a:schemeClr val="tx1"/>
                      </a:gs>
                    </a:gsLst>
                    <a:lin ang="5400000" scaled="0"/>
                  </a:gradFill>
                </a:rPr>
                <a:t>rd</a:t>
              </a:r>
              <a:r>
                <a:rPr lang="en-US" altLang="zh-CN" sz="1200" dirty="0">
                  <a:gradFill>
                    <a:gsLst>
                      <a:gs pos="0">
                        <a:schemeClr val="tx1"/>
                      </a:gs>
                      <a:gs pos="100000">
                        <a:schemeClr val="tx1"/>
                      </a:gs>
                    </a:gsLst>
                    <a:lin ang="5400000" scaled="0"/>
                  </a:gradFill>
                </a:rPr>
                <a:t> Party </a:t>
              </a:r>
            </a:p>
            <a:p>
              <a:pPr defTabSz="342931"/>
              <a:r>
                <a:rPr lang="en-US" altLang="zh-CN" sz="1200" dirty="0">
                  <a:gradFill>
                    <a:gsLst>
                      <a:gs pos="0">
                        <a:schemeClr val="tx1"/>
                      </a:gs>
                      <a:gs pos="100000">
                        <a:schemeClr val="tx1"/>
                      </a:gs>
                    </a:gsLst>
                    <a:lin ang="5400000" scaled="0"/>
                  </a:gradFill>
                </a:rPr>
                <a:t>Hosted Datacenter: </a:t>
              </a:r>
            </a:p>
            <a:p>
              <a:pPr defTabSz="342931"/>
              <a:r>
                <a:rPr lang="en-US" altLang="zh-CN" sz="1100" dirty="0">
                  <a:gradFill>
                    <a:gsLst>
                      <a:gs pos="0">
                        <a:schemeClr val="tx1"/>
                      </a:gs>
                      <a:gs pos="100000">
                        <a:schemeClr val="tx1"/>
                      </a:gs>
                    </a:gsLst>
                    <a:lin ang="5400000" scaled="0"/>
                  </a:gradFill>
                </a:rPr>
                <a:t>10 Virtual Servers </a:t>
              </a:r>
              <a:endParaRPr lang="fr-FR" altLang="zh-CN" sz="1100" dirty="0">
                <a:gradFill>
                  <a:gsLst>
                    <a:gs pos="0">
                      <a:schemeClr val="tx1"/>
                    </a:gs>
                    <a:gs pos="100000">
                      <a:schemeClr val="tx1"/>
                    </a:gs>
                  </a:gsLst>
                  <a:lin ang="5400000" scaled="0"/>
                </a:gradFill>
              </a:endParaRPr>
            </a:p>
          </p:txBody>
        </p:sp>
        <p:sp>
          <p:nvSpPr>
            <p:cNvPr id="53" name="Freeform 15"/>
            <p:cNvSpPr>
              <a:spLocks/>
            </p:cNvSpPr>
            <p:nvPr/>
          </p:nvSpPr>
          <p:spPr bwMode="auto">
            <a:xfrm>
              <a:off x="3046412" y="1487873"/>
              <a:ext cx="2157943" cy="1169065"/>
            </a:xfrm>
            <a:custGeom>
              <a:avLst/>
              <a:gdLst>
                <a:gd name="T0" fmla="*/ 84 w 461"/>
                <a:gd name="T1" fmla="*/ 227 h 227"/>
                <a:gd name="T2" fmla="*/ 366 w 461"/>
                <a:gd name="T3" fmla="*/ 227 h 227"/>
                <a:gd name="T4" fmla="*/ 441 w 461"/>
                <a:gd name="T5" fmla="*/ 150 h 227"/>
                <a:gd name="T6" fmla="*/ 349 w 461"/>
                <a:gd name="T7" fmla="*/ 0 h 227"/>
                <a:gd name="T8" fmla="*/ 249 w 461"/>
                <a:gd name="T9" fmla="*/ 62 h 227"/>
                <a:gd name="T10" fmla="*/ 193 w 461"/>
                <a:gd name="T11" fmla="*/ 38 h 227"/>
                <a:gd name="T12" fmla="*/ 120 w 461"/>
                <a:gd name="T13" fmla="*/ 97 h 227"/>
                <a:gd name="T14" fmla="*/ 74 w 461"/>
                <a:gd name="T15" fmla="*/ 98 h 227"/>
                <a:gd name="T16" fmla="*/ 84 w 461"/>
                <a:gd name="T17" fmla="*/ 227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1" h="227">
                  <a:moveTo>
                    <a:pt x="84" y="227"/>
                  </a:moveTo>
                  <a:cubicBezTo>
                    <a:pt x="366" y="227"/>
                    <a:pt x="366" y="227"/>
                    <a:pt x="366" y="227"/>
                  </a:cubicBezTo>
                  <a:cubicBezTo>
                    <a:pt x="366" y="227"/>
                    <a:pt x="422" y="215"/>
                    <a:pt x="441" y="150"/>
                  </a:cubicBezTo>
                  <a:cubicBezTo>
                    <a:pt x="461" y="85"/>
                    <a:pt x="417" y="0"/>
                    <a:pt x="349" y="0"/>
                  </a:cubicBezTo>
                  <a:cubicBezTo>
                    <a:pt x="291" y="0"/>
                    <a:pt x="266" y="31"/>
                    <a:pt x="249" y="62"/>
                  </a:cubicBezTo>
                  <a:cubicBezTo>
                    <a:pt x="249" y="62"/>
                    <a:pt x="226" y="36"/>
                    <a:pt x="193" y="38"/>
                  </a:cubicBezTo>
                  <a:cubicBezTo>
                    <a:pt x="160" y="40"/>
                    <a:pt x="138" y="50"/>
                    <a:pt x="120" y="97"/>
                  </a:cubicBezTo>
                  <a:cubicBezTo>
                    <a:pt x="120" y="97"/>
                    <a:pt x="98" y="89"/>
                    <a:pt x="74" y="98"/>
                  </a:cubicBezTo>
                  <a:cubicBezTo>
                    <a:pt x="32" y="113"/>
                    <a:pt x="0" y="196"/>
                    <a:pt x="84" y="227"/>
                  </a:cubicBezTo>
                </a:path>
              </a:pathLst>
            </a:custGeom>
            <a:solidFill>
              <a:srgbClr val="01A9D0">
                <a:alpha val="80000"/>
              </a:srgbClr>
            </a:solidFill>
            <a:ln>
              <a:noFill/>
            </a:ln>
            <a:extLst/>
          </p:spPr>
          <p:txBody>
            <a:bodyPr vert="horz" wrap="square" lIns="91440" tIns="45720" rIns="91440" bIns="45720" numCol="1" anchor="t" anchorCtr="0" compatLnSpc="1">
              <a:prstTxWarp prst="textNoShape">
                <a:avLst/>
              </a:prstTxWarp>
            </a:bodyPr>
            <a:lstStyle/>
            <a:p>
              <a:endParaRPr lang="en-US" dirty="0"/>
            </a:p>
          </p:txBody>
        </p:sp>
        <p:grpSp>
          <p:nvGrpSpPr>
            <p:cNvPr id="54" name="Group 53"/>
            <p:cNvGrpSpPr/>
            <p:nvPr/>
          </p:nvGrpSpPr>
          <p:grpSpPr>
            <a:xfrm>
              <a:off x="3503612" y="1760675"/>
              <a:ext cx="1371600" cy="1003352"/>
              <a:chOff x="220136" y="2035029"/>
              <a:chExt cx="1371600" cy="1003352"/>
            </a:xfrm>
          </p:grpSpPr>
          <p:sp>
            <p:nvSpPr>
              <p:cNvPr id="55" name="TextBox 54"/>
              <p:cNvSpPr txBox="1"/>
              <p:nvPr/>
            </p:nvSpPr>
            <p:spPr>
              <a:xfrm>
                <a:off x="220136" y="2035029"/>
                <a:ext cx="1007155" cy="1003352"/>
              </a:xfrm>
              <a:prstGeom prst="rect">
                <a:avLst/>
              </a:prstGeom>
              <a:noFill/>
            </p:spPr>
            <p:txBody>
              <a:bodyPr wrap="square" lIns="91440" tIns="91440" rIns="91440" bIns="91440" rtlCol="0">
                <a:spAutoFit/>
              </a:bodyPr>
              <a:lstStyle/>
              <a:p>
                <a:pPr>
                  <a:lnSpc>
                    <a:spcPct val="90000"/>
                  </a:lnSpc>
                  <a:spcBef>
                    <a:spcPct val="20000"/>
                  </a:spcBef>
                  <a:buSzPct val="90000"/>
                </a:pPr>
                <a:r>
                  <a:rPr lang="en-US" sz="4100" b="1" spc="-225" dirty="0">
                    <a:gradFill>
                      <a:gsLst>
                        <a:gs pos="0">
                          <a:schemeClr val="tx1">
                            <a:alpha val="50000"/>
                          </a:schemeClr>
                        </a:gs>
                        <a:gs pos="100000">
                          <a:schemeClr val="tx1">
                            <a:alpha val="50000"/>
                          </a:schemeClr>
                        </a:gs>
                      </a:gsLst>
                      <a:lin ang="5400000" scaled="0"/>
                    </a:gradFill>
                  </a:rPr>
                  <a:t>10</a:t>
                </a:r>
              </a:p>
            </p:txBody>
          </p:sp>
          <p:pic>
            <p:nvPicPr>
              <p:cNvPr id="56" name="Picture 6" descr="\\magnum\Projects\Microsoft\Cloud Power FY12\Design\Icons\PNGs\Server_2.png"/>
              <p:cNvPicPr>
                <a:picLocks noChangeAspect="1" noChangeArrowheads="1"/>
              </p:cNvPicPr>
              <p:nvPr/>
            </p:nvPicPr>
            <p:blipFill>
              <a:blip r:embed="rId4" cstate="email">
                <a:lum bright="100000"/>
                <a:extLst>
                  <a:ext uri="{28A0092B-C50C-407E-A947-70E740481C1C}">
                    <a14:useLocalDpi xmlns:a14="http://schemas.microsoft.com/office/drawing/2010/main"/>
                  </a:ext>
                </a:extLst>
              </a:blip>
              <a:srcRect/>
              <a:stretch>
                <a:fillRect/>
              </a:stretch>
            </p:blipFill>
            <p:spPr bwMode="auto">
              <a:xfrm>
                <a:off x="840672" y="2100458"/>
                <a:ext cx="751064" cy="751258"/>
              </a:xfrm>
              <a:prstGeom prst="rect">
                <a:avLst/>
              </a:prstGeom>
              <a:noFill/>
            </p:spPr>
          </p:pic>
        </p:grpSp>
      </p:grpSp>
      <p:sp>
        <p:nvSpPr>
          <p:cNvPr id="57"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58"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8"/>
              </a:rPr>
              <a:t>www.rapidbbs.cn</a:t>
            </a:r>
            <a:endParaRPr lang="zh-CN" altLang="en-US" sz="1200" b="0">
              <a:latin typeface="Arial" charset="0"/>
              <a:ea typeface="ＭＳ Ｐゴシック" pitchFamily="34" charset="-128"/>
            </a:endParaRPr>
          </a:p>
        </p:txBody>
      </p:sp>
      <p:pic>
        <p:nvPicPr>
          <p:cNvPr id="61" name="Picture 2">
            <a:hlinkClick r:id="rId8"/>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790321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0"/>
                                        </p:tgtEl>
                                        <p:attrNameLst>
                                          <p:attrName>style.visibility</p:attrName>
                                        </p:attrNameLst>
                                      </p:cBhvr>
                                      <p:to>
                                        <p:strVal val="visible"/>
                                      </p:to>
                                    </p:set>
                                    <p:animEffect transition="in" filter="fade">
                                      <p:cBhvr>
                                        <p:cTn id="7" dur="500"/>
                                        <p:tgtEl>
                                          <p:spTgt spid="80"/>
                                        </p:tgtEl>
                                      </p:cBhvr>
                                    </p:animEffect>
                                  </p:childTnLst>
                                </p:cTn>
                              </p:par>
                            </p:childTnLst>
                          </p:cTn>
                        </p:par>
                        <p:par>
                          <p:cTn id="8" fill="hold">
                            <p:stCondLst>
                              <p:cond delay="500"/>
                            </p:stCondLst>
                            <p:childTnLst>
                              <p:par>
                                <p:cTn id="9" presetID="42" presetClass="entr" presetSubtype="0" fill="hold" nodeType="afterEffect">
                                  <p:stCondLst>
                                    <p:cond delay="0"/>
                                  </p:stCondLst>
                                  <p:childTnLst>
                                    <p:set>
                                      <p:cBhvr>
                                        <p:cTn id="10" dur="1" fill="hold">
                                          <p:stCondLst>
                                            <p:cond delay="0"/>
                                          </p:stCondLst>
                                        </p:cTn>
                                        <p:tgtEl>
                                          <p:spTgt spid="59"/>
                                        </p:tgtEl>
                                        <p:attrNameLst>
                                          <p:attrName>style.visibility</p:attrName>
                                        </p:attrNameLst>
                                      </p:cBhvr>
                                      <p:to>
                                        <p:strVal val="visible"/>
                                      </p:to>
                                    </p:set>
                                    <p:animEffect transition="in" filter="fade">
                                      <p:cBhvr>
                                        <p:cTn id="11" dur="1000"/>
                                        <p:tgtEl>
                                          <p:spTgt spid="59"/>
                                        </p:tgtEl>
                                      </p:cBhvr>
                                    </p:animEffect>
                                    <p:anim calcmode="lin" valueType="num">
                                      <p:cBhvr>
                                        <p:cTn id="12" dur="1000" fill="hold"/>
                                        <p:tgtEl>
                                          <p:spTgt spid="59"/>
                                        </p:tgtEl>
                                        <p:attrNameLst>
                                          <p:attrName>ppt_x</p:attrName>
                                        </p:attrNameLst>
                                      </p:cBhvr>
                                      <p:tavLst>
                                        <p:tav tm="0">
                                          <p:val>
                                            <p:strVal val="#ppt_x"/>
                                          </p:val>
                                        </p:tav>
                                        <p:tav tm="100000">
                                          <p:val>
                                            <p:strVal val="#ppt_x"/>
                                          </p:val>
                                        </p:tav>
                                      </p:tavLst>
                                    </p:anim>
                                    <p:anim calcmode="lin" valueType="num">
                                      <p:cBhvr>
                                        <p:cTn id="13" dur="1000" fill="hold"/>
                                        <p:tgtEl>
                                          <p:spTgt spid="59"/>
                                        </p:tgtEl>
                                        <p:attrNameLst>
                                          <p:attrName>ppt_y</p:attrName>
                                        </p:attrNameLst>
                                      </p:cBhvr>
                                      <p:tavLst>
                                        <p:tav tm="0">
                                          <p:val>
                                            <p:strVal val="#ppt_y+.1"/>
                                          </p:val>
                                        </p:tav>
                                        <p:tav tm="100000">
                                          <p:val>
                                            <p:strVal val="#ppt_y"/>
                                          </p:val>
                                        </p:tav>
                                      </p:tavLst>
                                    </p:anim>
                                  </p:childTnLst>
                                </p:cTn>
                              </p:par>
                            </p:childTnLst>
                          </p:cTn>
                        </p:par>
                        <p:par>
                          <p:cTn id="14" fill="hold">
                            <p:stCondLst>
                              <p:cond delay="1500"/>
                            </p:stCondLst>
                            <p:childTnLst>
                              <p:par>
                                <p:cTn id="15" presetID="22" presetClass="entr" presetSubtype="4" fill="hold" nodeType="after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wipe(down)">
                                      <p:cBhvr>
                                        <p:cTn id="17" dur="500"/>
                                        <p:tgtEl>
                                          <p:spTgt spid="10"/>
                                        </p:tgtEl>
                                      </p:cBhvr>
                                    </p:animEffect>
                                  </p:childTnLst>
                                </p:cTn>
                              </p:par>
                            </p:childTnLst>
                          </p:cTn>
                        </p:par>
                        <p:par>
                          <p:cTn id="18" fill="hold">
                            <p:stCondLst>
                              <p:cond delay="2000"/>
                            </p:stCondLst>
                            <p:childTnLst>
                              <p:par>
                                <p:cTn id="19" presetID="22" presetClass="entr" presetSubtype="4" fill="hold" nodeType="afterEffect">
                                  <p:stCondLst>
                                    <p:cond delay="0"/>
                                  </p:stCondLst>
                                  <p:childTnLst>
                                    <p:set>
                                      <p:cBhvr>
                                        <p:cTn id="20" dur="1" fill="hold">
                                          <p:stCondLst>
                                            <p:cond delay="0"/>
                                          </p:stCondLst>
                                        </p:cTn>
                                        <p:tgtEl>
                                          <p:spTgt spid="34"/>
                                        </p:tgtEl>
                                        <p:attrNameLst>
                                          <p:attrName>style.visibility</p:attrName>
                                        </p:attrNameLst>
                                      </p:cBhvr>
                                      <p:to>
                                        <p:strVal val="visible"/>
                                      </p:to>
                                    </p:set>
                                    <p:animEffect transition="in" filter="wipe(down)">
                                      <p:cBhvr>
                                        <p:cTn id="21" dur="500"/>
                                        <p:tgtEl>
                                          <p:spTgt spid="34"/>
                                        </p:tgtEl>
                                      </p:cBhvr>
                                    </p:animEffect>
                                  </p:childTnLst>
                                </p:cTn>
                              </p:par>
                            </p:childTnLst>
                          </p:cTn>
                        </p:par>
                        <p:par>
                          <p:cTn id="22" fill="hold">
                            <p:stCondLst>
                              <p:cond delay="2500"/>
                            </p:stCondLst>
                            <p:childTnLst>
                              <p:par>
                                <p:cTn id="23" presetID="22" presetClass="entr" presetSubtype="4" fill="hold" nodeType="afterEffect">
                                  <p:stCondLst>
                                    <p:cond delay="0"/>
                                  </p:stCondLst>
                                  <p:childTnLst>
                                    <p:set>
                                      <p:cBhvr>
                                        <p:cTn id="24" dur="1" fill="hold">
                                          <p:stCondLst>
                                            <p:cond delay="0"/>
                                          </p:stCondLst>
                                        </p:cTn>
                                        <p:tgtEl>
                                          <p:spTgt spid="36"/>
                                        </p:tgtEl>
                                        <p:attrNameLst>
                                          <p:attrName>style.visibility</p:attrName>
                                        </p:attrNameLst>
                                      </p:cBhvr>
                                      <p:to>
                                        <p:strVal val="visible"/>
                                      </p:to>
                                    </p:set>
                                    <p:animEffect transition="in" filter="wipe(down)">
                                      <p:cBhvr>
                                        <p:cTn id="25" dur="500"/>
                                        <p:tgtEl>
                                          <p:spTgt spid="36"/>
                                        </p:tgtEl>
                                      </p:cBhvr>
                                    </p:animEffect>
                                  </p:childTnLst>
                                </p:cTn>
                              </p:par>
                            </p:childTnLst>
                          </p:cTn>
                        </p:par>
                        <p:par>
                          <p:cTn id="26" fill="hold">
                            <p:stCondLst>
                              <p:cond delay="3000"/>
                            </p:stCondLst>
                            <p:childTnLst>
                              <p:par>
                                <p:cTn id="27" presetID="22" presetClass="entr" presetSubtype="4" fill="hold" nodeType="afterEffect">
                                  <p:stCondLst>
                                    <p:cond delay="0"/>
                                  </p:stCondLst>
                                  <p:childTnLst>
                                    <p:set>
                                      <p:cBhvr>
                                        <p:cTn id="28" dur="1" fill="hold">
                                          <p:stCondLst>
                                            <p:cond delay="0"/>
                                          </p:stCondLst>
                                        </p:cTn>
                                        <p:tgtEl>
                                          <p:spTgt spid="45"/>
                                        </p:tgtEl>
                                        <p:attrNameLst>
                                          <p:attrName>style.visibility</p:attrName>
                                        </p:attrNameLst>
                                      </p:cBhvr>
                                      <p:to>
                                        <p:strVal val="visible"/>
                                      </p:to>
                                    </p:set>
                                    <p:animEffect transition="in" filter="wipe(down)">
                                      <p:cBhvr>
                                        <p:cTn id="29" dur="500"/>
                                        <p:tgtEl>
                                          <p:spTgt spid="45"/>
                                        </p:tgtEl>
                                      </p:cBhvr>
                                    </p:animEffect>
                                  </p:childTnLst>
                                </p:cTn>
                              </p:par>
                            </p:childTnLst>
                          </p:cTn>
                        </p:par>
                        <p:par>
                          <p:cTn id="30" fill="hold">
                            <p:stCondLst>
                              <p:cond delay="3500"/>
                            </p:stCondLst>
                            <p:childTnLst>
                              <p:par>
                                <p:cTn id="31" presetID="22" presetClass="entr" presetSubtype="4" fill="hold" nodeType="afterEffect">
                                  <p:stCondLst>
                                    <p:cond delay="0"/>
                                  </p:stCondLst>
                                  <p:childTnLst>
                                    <p:set>
                                      <p:cBhvr>
                                        <p:cTn id="32" dur="1" fill="hold">
                                          <p:stCondLst>
                                            <p:cond delay="0"/>
                                          </p:stCondLst>
                                        </p:cTn>
                                        <p:tgtEl>
                                          <p:spTgt spid="51"/>
                                        </p:tgtEl>
                                        <p:attrNameLst>
                                          <p:attrName>style.visibility</p:attrName>
                                        </p:attrNameLst>
                                      </p:cBhvr>
                                      <p:to>
                                        <p:strVal val="visible"/>
                                      </p:to>
                                    </p:set>
                                    <p:animEffect transition="in" filter="wipe(down)">
                                      <p:cBhvr>
                                        <p:cTn id="33" dur="5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smtClean="0"/>
              <a:t>announcing</a:t>
            </a:r>
            <a:endParaRPr lang="en-US" dirty="0"/>
          </a:p>
        </p:txBody>
      </p:sp>
      <p:sp>
        <p:nvSpPr>
          <p:cNvPr id="3" name="Subtitle 2"/>
          <p:cNvSpPr>
            <a:spLocks noGrp="1"/>
          </p:cNvSpPr>
          <p:nvPr>
            <p:ph type="subTitle" idx="1"/>
          </p:nvPr>
        </p:nvSpPr>
        <p:spPr/>
        <p:txBody>
          <a:bodyPr/>
          <a:lstStyle/>
          <a:p>
            <a:endParaRPr lang="en-US"/>
          </a:p>
        </p:txBody>
      </p:sp>
      <p:sp>
        <p:nvSpPr>
          <p:cNvPr id="2" name="Title 1"/>
          <p:cNvSpPr>
            <a:spLocks noGrp="1"/>
          </p:cNvSpPr>
          <p:nvPr>
            <p:ph type="ctrTitle"/>
          </p:nvPr>
        </p:nvSpPr>
        <p:spPr/>
        <p:txBody>
          <a:bodyPr/>
          <a:lstStyle/>
          <a:p>
            <a:r>
              <a:rPr dirty="0" smtClean="0"/>
              <a:t>Announcement Title</a:t>
            </a:r>
            <a:endParaRPr lang="en-US" dirty="0"/>
          </a:p>
        </p:txBody>
      </p:sp>
      <p:sp useBgFill="1">
        <p:nvSpPr>
          <p:cNvPr id="5" name="MASK bottom"/>
          <p:cNvSpPr/>
          <p:nvPr/>
        </p:nvSpPr>
        <p:spPr bwMode="auto">
          <a:xfrm>
            <a:off x="2914218" y="4514850"/>
            <a:ext cx="6229782" cy="62865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useBgFill="1">
        <p:nvSpPr>
          <p:cNvPr id="6" name="MASK top"/>
          <p:cNvSpPr/>
          <p:nvPr/>
        </p:nvSpPr>
        <p:spPr bwMode="auto">
          <a:xfrm>
            <a:off x="2914218" y="0"/>
            <a:ext cx="6229782" cy="112849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7"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8"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pic>
        <p:nvPicPr>
          <p:cNvPr id="9"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11051059"/>
      </p:ext>
    </p:extLst>
  </p:cSld>
  <p:clrMapOvr>
    <a:masterClrMapping/>
  </p:clrMapOvr>
  <p:transition spd="slow">
    <p:fade/>
  </p:transition>
  <p:timing>
    <p:tnLst>
      <p:par>
        <p:cTn id="1" dur="indefinite" restart="never" nodeType="tmRoot"/>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 name="Group 50"/>
          <p:cNvGrpSpPr/>
          <p:nvPr/>
        </p:nvGrpSpPr>
        <p:grpSpPr>
          <a:xfrm>
            <a:off x="371373" y="1482845"/>
            <a:ext cx="1612050" cy="2784810"/>
            <a:chOff x="495035" y="1977126"/>
            <a:chExt cx="2148840" cy="3713080"/>
          </a:xfrm>
        </p:grpSpPr>
        <p:sp>
          <p:nvSpPr>
            <p:cNvPr id="17" name="Rectangle 16"/>
            <p:cNvSpPr/>
            <p:nvPr/>
          </p:nvSpPr>
          <p:spPr bwMode="auto">
            <a:xfrm>
              <a:off x="495035" y="1977126"/>
              <a:ext cx="2148840" cy="3713080"/>
            </a:xfrm>
            <a:prstGeom prst="rect">
              <a:avLst/>
            </a:prstGeom>
            <a:solidFill>
              <a:schemeClr val="accent1"/>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noAutofit/>
            </a:bodyPr>
            <a:lstStyle/>
            <a:p>
              <a:pPr algn="ctr" defTabSz="342931"/>
              <a:r>
                <a:rPr lang="en-US" altLang="zh-CN" sz="1200" dirty="0">
                  <a:gradFill>
                    <a:gsLst>
                      <a:gs pos="0">
                        <a:schemeClr val="tx1"/>
                      </a:gs>
                      <a:gs pos="86000">
                        <a:schemeClr val="tx1"/>
                      </a:gs>
                    </a:gsLst>
                    <a:lin ang="5400000" scaled="0"/>
                  </a:gradFill>
                </a:rPr>
                <a:t>BEST PRODUCTIVITY EXPERIENCE</a:t>
              </a:r>
            </a:p>
            <a:p>
              <a:pPr algn="ctr" defTabSz="342931">
                <a:lnSpc>
                  <a:spcPct val="90000"/>
                </a:lnSpc>
                <a:spcBef>
                  <a:spcPts val="900"/>
                </a:spcBef>
              </a:pPr>
              <a:r>
                <a:rPr lang="en-US" altLang="zh-CN" sz="1200" dirty="0">
                  <a:gradFill>
                    <a:gsLst>
                      <a:gs pos="0">
                        <a:schemeClr val="tx1"/>
                      </a:gs>
                      <a:gs pos="86000">
                        <a:schemeClr val="tx1"/>
                      </a:gs>
                    </a:gsLst>
                    <a:lin ang="5400000" scaled="0"/>
                  </a:gradFill>
                </a:rPr>
                <a:t>Work together, smarter</a:t>
              </a:r>
            </a:p>
          </p:txBody>
        </p:sp>
        <p:pic>
          <p:nvPicPr>
            <p:cNvPr id="18" name="Picture 1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5035" y="3363795"/>
              <a:ext cx="2146433" cy="1432731"/>
            </a:xfrm>
            <a:prstGeom prst="rect">
              <a:avLst/>
            </a:prstGeom>
            <a:solidFill>
              <a:schemeClr val="bg1">
                <a:lumMod val="20000"/>
                <a:lumOff val="80000"/>
              </a:schemeClr>
            </a:solidFill>
            <a:ln>
              <a:noFill/>
            </a:ln>
          </p:spPr>
        </p:pic>
      </p:grpSp>
      <p:grpSp>
        <p:nvGrpSpPr>
          <p:cNvPr id="52" name="Group 51"/>
          <p:cNvGrpSpPr/>
          <p:nvPr/>
        </p:nvGrpSpPr>
        <p:grpSpPr>
          <a:xfrm>
            <a:off x="2063860" y="1482845"/>
            <a:ext cx="1616900" cy="2784810"/>
            <a:chOff x="2751097" y="1977126"/>
            <a:chExt cx="2155305" cy="3713080"/>
          </a:xfrm>
        </p:grpSpPr>
        <p:sp>
          <p:nvSpPr>
            <p:cNvPr id="21" name="Rectangle 20"/>
            <p:cNvSpPr/>
            <p:nvPr/>
          </p:nvSpPr>
          <p:spPr bwMode="auto">
            <a:xfrm>
              <a:off x="2751097" y="1977126"/>
              <a:ext cx="2148840" cy="3713080"/>
            </a:xfrm>
            <a:prstGeom prst="rect">
              <a:avLst/>
            </a:prstGeom>
            <a:solidFill>
              <a:schemeClr val="accent1"/>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noAutofit/>
            </a:bodyPr>
            <a:lstStyle/>
            <a:p>
              <a:pPr algn="ctr" defTabSz="342931"/>
              <a:r>
                <a:rPr lang="en-US" altLang="zh-CN" sz="1200" dirty="0">
                  <a:gradFill>
                    <a:gsLst>
                      <a:gs pos="0">
                        <a:schemeClr val="tx1"/>
                      </a:gs>
                      <a:gs pos="86000">
                        <a:schemeClr val="tx1"/>
                      </a:gs>
                    </a:gsLst>
                    <a:lin ang="5400000" scaled="0"/>
                  </a:gradFill>
                </a:rPr>
                <a:t>ACCESS </a:t>
              </a:r>
              <a:br>
                <a:rPr lang="en-US" altLang="zh-CN" sz="1200" dirty="0">
                  <a:gradFill>
                    <a:gsLst>
                      <a:gs pos="0">
                        <a:schemeClr val="tx1"/>
                      </a:gs>
                      <a:gs pos="86000">
                        <a:schemeClr val="tx1"/>
                      </a:gs>
                    </a:gsLst>
                    <a:lin ang="5400000" scaled="0"/>
                  </a:gradFill>
                </a:rPr>
              </a:br>
              <a:r>
                <a:rPr lang="en-US" altLang="zh-CN" sz="1200" dirty="0">
                  <a:gradFill>
                    <a:gsLst>
                      <a:gs pos="0">
                        <a:schemeClr val="tx1"/>
                      </a:gs>
                      <a:gs pos="86000">
                        <a:schemeClr val="tx1"/>
                      </a:gs>
                    </a:gsLst>
                    <a:lin ang="5400000" scaled="0"/>
                  </a:gradFill>
                </a:rPr>
                <a:t>ANYWHERE*</a:t>
              </a:r>
            </a:p>
            <a:p>
              <a:pPr algn="ctr" defTabSz="342931">
                <a:lnSpc>
                  <a:spcPct val="90000"/>
                </a:lnSpc>
                <a:spcBef>
                  <a:spcPts val="900"/>
                </a:spcBef>
              </a:pPr>
              <a:r>
                <a:rPr lang="en-US" altLang="zh-CN" sz="1200" dirty="0">
                  <a:gradFill>
                    <a:gsLst>
                      <a:gs pos="0">
                        <a:schemeClr val="tx1"/>
                      </a:gs>
                      <a:gs pos="86000">
                        <a:schemeClr val="tx1"/>
                      </a:gs>
                    </a:gsLst>
                    <a:lin ang="5400000" scaled="0"/>
                  </a:gradFill>
                </a:rPr>
                <a:t>Solve problems</a:t>
              </a:r>
              <a:br>
                <a:rPr lang="en-US" altLang="zh-CN" sz="1200" dirty="0">
                  <a:gradFill>
                    <a:gsLst>
                      <a:gs pos="0">
                        <a:schemeClr val="tx1"/>
                      </a:gs>
                      <a:gs pos="86000">
                        <a:schemeClr val="tx1"/>
                      </a:gs>
                    </a:gsLst>
                    <a:lin ang="5400000" scaled="0"/>
                  </a:gradFill>
                </a:rPr>
              </a:br>
              <a:r>
                <a:rPr lang="en-US" altLang="zh-CN" sz="1200" dirty="0">
                  <a:gradFill>
                    <a:gsLst>
                      <a:gs pos="0">
                        <a:schemeClr val="tx1"/>
                      </a:gs>
                      <a:gs pos="86000">
                        <a:schemeClr val="tx1"/>
                      </a:gs>
                    </a:gsLst>
                    <a:lin ang="5400000" scaled="0"/>
                  </a:gradFill>
                </a:rPr>
                <a:t>from more places</a:t>
              </a:r>
            </a:p>
          </p:txBody>
        </p:sp>
        <p:sp>
          <p:nvSpPr>
            <p:cNvPr id="36" name="Rectangle 35"/>
            <p:cNvSpPr/>
            <p:nvPr/>
          </p:nvSpPr>
          <p:spPr bwMode="auto">
            <a:xfrm>
              <a:off x="2759969" y="3372939"/>
              <a:ext cx="2146433" cy="1432731"/>
            </a:xfrm>
            <a:prstGeom prst="rect">
              <a:avLst/>
            </a:prstGeom>
            <a:solidFill>
              <a:schemeClr val="bg1">
                <a:lumMod val="20000"/>
                <a:lumOff val="8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pic>
          <p:nvPicPr>
            <p:cNvPr id="33" name="Picture 32"/>
            <p:cNvPicPr>
              <a:picLocks noChangeAspect="1" noChangeArrowheads="1"/>
            </p:cNvPicPr>
            <p:nvPr/>
          </p:nvPicPr>
          <p:blipFill>
            <a:blip r:embed="rId4" cstate="print"/>
            <a:stretch>
              <a:fillRect/>
            </a:stretch>
          </p:blipFill>
          <p:spPr bwMode="auto">
            <a:xfrm>
              <a:off x="3185391" y="3633115"/>
              <a:ext cx="1072394" cy="6484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4" name="Picture 33" descr="HTC Touch Diamond 2 - Windows Mobile 6.5 screen.png"/>
            <p:cNvPicPr>
              <a:picLocks noChangeAspect="1"/>
            </p:cNvPicPr>
            <p:nvPr/>
          </p:nvPicPr>
          <p:blipFill>
            <a:blip r:embed="rId5" cstate="print"/>
            <a:stretch>
              <a:fillRect/>
            </a:stretch>
          </p:blipFill>
          <p:spPr>
            <a:xfrm>
              <a:off x="3016104" y="3790338"/>
              <a:ext cx="286803" cy="694146"/>
            </a:xfrm>
            <a:prstGeom prst="rect">
              <a:avLst/>
            </a:prstGeom>
            <a:noFill/>
            <a:ln>
              <a:noFill/>
            </a:ln>
          </p:spPr>
        </p:pic>
        <p:pic>
          <p:nvPicPr>
            <p:cNvPr id="35" name="Picture 3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960812" y="3750631"/>
              <a:ext cx="762000" cy="1274495"/>
            </a:xfrm>
            <a:prstGeom prst="rect">
              <a:avLst/>
            </a:prstGeom>
            <a:noFill/>
            <a:ln>
              <a:noFill/>
            </a:ln>
          </p:spPr>
        </p:pic>
      </p:grpSp>
      <p:grpSp>
        <p:nvGrpSpPr>
          <p:cNvPr id="53" name="Group 52"/>
          <p:cNvGrpSpPr/>
          <p:nvPr/>
        </p:nvGrpSpPr>
        <p:grpSpPr>
          <a:xfrm>
            <a:off x="3756348" y="1482845"/>
            <a:ext cx="1612051" cy="2784810"/>
            <a:chOff x="5007158" y="1977126"/>
            <a:chExt cx="2148841" cy="3713080"/>
          </a:xfrm>
        </p:grpSpPr>
        <p:sp>
          <p:nvSpPr>
            <p:cNvPr id="24" name="Rectangle 23"/>
            <p:cNvSpPr/>
            <p:nvPr/>
          </p:nvSpPr>
          <p:spPr bwMode="auto">
            <a:xfrm>
              <a:off x="5007159" y="1977126"/>
              <a:ext cx="2148840" cy="3713080"/>
            </a:xfrm>
            <a:prstGeom prst="rect">
              <a:avLst/>
            </a:prstGeom>
            <a:solidFill>
              <a:schemeClr val="accent1"/>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noAutofit/>
            </a:bodyPr>
            <a:lstStyle/>
            <a:p>
              <a:pPr algn="ctr" defTabSz="342931"/>
              <a:r>
                <a:rPr lang="en-US" altLang="zh-CN" sz="1200" dirty="0">
                  <a:gradFill>
                    <a:gsLst>
                      <a:gs pos="0">
                        <a:schemeClr val="tx1"/>
                      </a:gs>
                      <a:gs pos="100000">
                        <a:schemeClr val="tx1"/>
                      </a:gs>
                    </a:gsLst>
                    <a:lin ang="5400000" scaled="0"/>
                  </a:gradFill>
                </a:rPr>
                <a:t>WORKS WITH </a:t>
              </a:r>
              <a:br>
                <a:rPr lang="en-US" altLang="zh-CN" sz="1200" dirty="0">
                  <a:gradFill>
                    <a:gsLst>
                      <a:gs pos="0">
                        <a:schemeClr val="tx1"/>
                      </a:gs>
                      <a:gs pos="100000">
                        <a:schemeClr val="tx1"/>
                      </a:gs>
                    </a:gsLst>
                    <a:lin ang="5400000" scaled="0"/>
                  </a:gradFill>
                </a:rPr>
              </a:br>
              <a:r>
                <a:rPr lang="en-US" altLang="zh-CN" sz="1200" dirty="0">
                  <a:gradFill>
                    <a:gsLst>
                      <a:gs pos="0">
                        <a:schemeClr val="tx1"/>
                      </a:gs>
                      <a:gs pos="100000">
                        <a:schemeClr val="tx1"/>
                      </a:gs>
                    </a:gsLst>
                    <a:lin ang="5400000" scaled="0"/>
                  </a:gradFill>
                </a:rPr>
                <a:t>WHAT YOU KNOW</a:t>
              </a:r>
            </a:p>
            <a:p>
              <a:pPr algn="ctr" defTabSz="342931">
                <a:lnSpc>
                  <a:spcPct val="90000"/>
                </a:lnSpc>
                <a:spcBef>
                  <a:spcPts val="900"/>
                </a:spcBef>
              </a:pPr>
              <a:r>
                <a:rPr lang="en-US" altLang="zh-CN" sz="1200" dirty="0">
                  <a:gradFill>
                    <a:gsLst>
                      <a:gs pos="0">
                        <a:schemeClr val="tx1"/>
                      </a:gs>
                      <a:gs pos="100000">
                        <a:schemeClr val="tx1"/>
                      </a:gs>
                    </a:gsLst>
                    <a:lin ang="5400000" scaled="0"/>
                  </a:gradFill>
                </a:rPr>
                <a:t>Familiar </a:t>
              </a:r>
              <a:br>
                <a:rPr lang="en-US" altLang="zh-CN" sz="1200" dirty="0">
                  <a:gradFill>
                    <a:gsLst>
                      <a:gs pos="0">
                        <a:schemeClr val="tx1"/>
                      </a:gs>
                      <a:gs pos="100000">
                        <a:schemeClr val="tx1"/>
                      </a:gs>
                    </a:gsLst>
                    <a:lin ang="5400000" scaled="0"/>
                  </a:gradFill>
                </a:rPr>
              </a:br>
              <a:r>
                <a:rPr lang="en-US" altLang="zh-CN" sz="1200" dirty="0">
                  <a:gradFill>
                    <a:gsLst>
                      <a:gs pos="0">
                        <a:schemeClr val="tx1"/>
                      </a:gs>
                      <a:gs pos="100000">
                        <a:schemeClr val="tx1"/>
                      </a:gs>
                    </a:gsLst>
                    <a:lin ang="5400000" scaled="0"/>
                  </a:gradFill>
                </a:rPr>
                <a:t>tools</a:t>
              </a:r>
            </a:p>
          </p:txBody>
        </p:sp>
        <p:sp>
          <p:nvSpPr>
            <p:cNvPr id="37" name="Rectangle 36"/>
            <p:cNvSpPr/>
            <p:nvPr/>
          </p:nvSpPr>
          <p:spPr bwMode="auto">
            <a:xfrm>
              <a:off x="5007158" y="3372939"/>
              <a:ext cx="2146433" cy="1432731"/>
            </a:xfrm>
            <a:prstGeom prst="rect">
              <a:avLst/>
            </a:prstGeom>
            <a:solidFill>
              <a:schemeClr val="bg1">
                <a:lumMod val="20000"/>
                <a:lumOff val="8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grpSp>
          <p:nvGrpSpPr>
            <p:cNvPr id="40" name="Group 51"/>
            <p:cNvGrpSpPr/>
            <p:nvPr/>
          </p:nvGrpSpPr>
          <p:grpSpPr>
            <a:xfrm>
              <a:off x="5256311" y="3656378"/>
              <a:ext cx="1656728" cy="870822"/>
              <a:chOff x="4901389" y="2237326"/>
              <a:chExt cx="1925844" cy="1012277"/>
            </a:xfrm>
          </p:grpSpPr>
          <p:pic>
            <p:nvPicPr>
              <p:cNvPr id="41" name="Picture 10" descr="\\cmcreate\brandteam\EPRO\TRANSFER\ppt\Word2010_256.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682678" y="2237326"/>
                <a:ext cx="384048" cy="3835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 name="Picture 12" descr="\\cmcreate\brandteam\EPRO\TRANSFER\ppt\Excel2010_256.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921839" y="2237327"/>
                <a:ext cx="384048" cy="3835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16" descr="\\cmcreate\brandteam\EPRO\TRANSFER\ppt\PowerPoint2010_256.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699266" y="2809019"/>
                <a:ext cx="384048" cy="3835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15" descr="\\cmcreate\brandteam\EPRO\TRANSFER\ppt\Outlook2010_256.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441314" y="2237326"/>
                <a:ext cx="384047" cy="3835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14" descr="\\cmcreate\brandteam\EPRO\TRANSFER\ppt\OneNote2010_256.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443185" y="2809019"/>
                <a:ext cx="384048" cy="383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2"/>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auto">
              <a:xfrm>
                <a:off x="4901389" y="2809018"/>
                <a:ext cx="476722" cy="4405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54" name="Group 53"/>
          <p:cNvGrpSpPr/>
          <p:nvPr/>
        </p:nvGrpSpPr>
        <p:grpSpPr>
          <a:xfrm>
            <a:off x="5448835" y="1482845"/>
            <a:ext cx="1612050" cy="2784810"/>
            <a:chOff x="7263221" y="1977126"/>
            <a:chExt cx="2148840" cy="3713080"/>
          </a:xfrm>
        </p:grpSpPr>
        <p:sp>
          <p:nvSpPr>
            <p:cNvPr id="27" name="Rectangle 26"/>
            <p:cNvSpPr/>
            <p:nvPr/>
          </p:nvSpPr>
          <p:spPr bwMode="auto">
            <a:xfrm>
              <a:off x="7263221" y="1977126"/>
              <a:ext cx="2148840" cy="3713080"/>
            </a:xfrm>
            <a:prstGeom prst="rect">
              <a:avLst/>
            </a:prstGeom>
            <a:solidFill>
              <a:schemeClr val="accent1"/>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noAutofit/>
            </a:bodyPr>
            <a:lstStyle/>
            <a:p>
              <a:pPr algn="ctr" defTabSz="342931"/>
              <a:r>
                <a:rPr lang="en-US" altLang="zh-CN" sz="1200" dirty="0">
                  <a:gradFill>
                    <a:gsLst>
                      <a:gs pos="0">
                        <a:schemeClr val="tx1"/>
                      </a:gs>
                      <a:gs pos="100000">
                        <a:schemeClr val="tx1"/>
                      </a:gs>
                    </a:gsLst>
                    <a:lin ang="5400000" scaled="0"/>
                  </a:gradFill>
                </a:rPr>
                <a:t>ROBUST SECURITY AND RELIABILITY</a:t>
              </a:r>
            </a:p>
            <a:p>
              <a:pPr algn="ctr" defTabSz="342931">
                <a:lnSpc>
                  <a:spcPct val="90000"/>
                </a:lnSpc>
                <a:spcBef>
                  <a:spcPts val="900"/>
                </a:spcBef>
              </a:pPr>
              <a:r>
                <a:rPr lang="en-US" altLang="zh-CN" sz="1200" dirty="0">
                  <a:gradFill>
                    <a:gsLst>
                      <a:gs pos="0">
                        <a:schemeClr val="tx1"/>
                      </a:gs>
                      <a:gs pos="100000">
                        <a:schemeClr val="tx1"/>
                      </a:gs>
                    </a:gsLst>
                    <a:lin ang="5400000" scaled="0"/>
                  </a:gradFill>
                </a:rPr>
                <a:t>99.9% uptime. </a:t>
              </a:r>
              <a:br>
                <a:rPr lang="en-US" altLang="zh-CN" sz="1200" dirty="0">
                  <a:gradFill>
                    <a:gsLst>
                      <a:gs pos="0">
                        <a:schemeClr val="tx1"/>
                      </a:gs>
                      <a:gs pos="100000">
                        <a:schemeClr val="tx1"/>
                      </a:gs>
                    </a:gsLst>
                    <a:lin ang="5400000" scaled="0"/>
                  </a:gradFill>
                </a:rPr>
              </a:br>
              <a:r>
                <a:rPr lang="en-US" altLang="zh-CN" sz="1200" dirty="0">
                  <a:gradFill>
                    <a:gsLst>
                      <a:gs pos="0">
                        <a:schemeClr val="tx1"/>
                      </a:gs>
                      <a:gs pos="100000">
                        <a:schemeClr val="tx1"/>
                      </a:gs>
                    </a:gsLst>
                    <a:lin ang="5400000" scaled="0"/>
                  </a:gradFill>
                </a:rPr>
                <a:t>Guaranteed</a:t>
              </a:r>
              <a:r>
                <a:rPr lang="en-US" altLang="zh-CN" sz="1200" dirty="0">
                  <a:solidFill>
                    <a:prstClr val="white">
                      <a:alpha val="99000"/>
                    </a:prstClr>
                  </a:solidFill>
                </a:rPr>
                <a:t>.</a:t>
              </a:r>
            </a:p>
          </p:txBody>
        </p:sp>
        <p:sp>
          <p:nvSpPr>
            <p:cNvPr id="38" name="Rectangle 37"/>
            <p:cNvSpPr/>
            <p:nvPr/>
          </p:nvSpPr>
          <p:spPr bwMode="auto">
            <a:xfrm>
              <a:off x="7265628" y="3372939"/>
              <a:ext cx="2146433" cy="1432731"/>
            </a:xfrm>
            <a:prstGeom prst="rect">
              <a:avLst/>
            </a:prstGeom>
            <a:solidFill>
              <a:schemeClr val="bg1">
                <a:lumMod val="20000"/>
                <a:lumOff val="8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grpSp>
          <p:nvGrpSpPr>
            <p:cNvPr id="47" name="Group 46"/>
            <p:cNvGrpSpPr/>
            <p:nvPr/>
          </p:nvGrpSpPr>
          <p:grpSpPr>
            <a:xfrm>
              <a:off x="7548676" y="3538261"/>
              <a:ext cx="1580336" cy="1102086"/>
              <a:chOff x="7529957" y="3944190"/>
              <a:chExt cx="1580336" cy="1102086"/>
            </a:xfrm>
          </p:grpSpPr>
          <p:pic>
            <p:nvPicPr>
              <p:cNvPr id="48" name="small EDC" descr="new-data-center-photo.png"/>
              <p:cNvPicPr>
                <a:picLocks noChangeAspect="1"/>
              </p:cNvPicPr>
              <p:nvPr/>
            </p:nvPicPr>
            <p:blipFill>
              <a:blip r:embed="rId13" cstate="screen"/>
              <a:stretch>
                <a:fillRect/>
              </a:stretch>
            </p:blipFill>
            <p:spPr>
              <a:xfrm flipH="1">
                <a:off x="7902978" y="4045264"/>
                <a:ext cx="1207315" cy="996583"/>
              </a:xfrm>
              <a:prstGeom prst="rect">
                <a:avLst/>
              </a:prstGeom>
              <a:noFill/>
              <a:ln>
                <a:noFill/>
              </a:ln>
            </p:spPr>
          </p:pic>
          <p:pic>
            <p:nvPicPr>
              <p:cNvPr id="49" name="Picture 48"/>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7529957" y="3944190"/>
                <a:ext cx="653333" cy="1102086"/>
              </a:xfrm>
              <a:prstGeom prst="rect">
                <a:avLst/>
              </a:prstGeom>
            </p:spPr>
          </p:pic>
        </p:grpSp>
      </p:grpSp>
      <p:grpSp>
        <p:nvGrpSpPr>
          <p:cNvPr id="55" name="Group 54"/>
          <p:cNvGrpSpPr/>
          <p:nvPr/>
        </p:nvGrpSpPr>
        <p:grpSpPr>
          <a:xfrm>
            <a:off x="7141324" y="1482845"/>
            <a:ext cx="1622830" cy="2784810"/>
            <a:chOff x="9519285" y="1977126"/>
            <a:chExt cx="2163210" cy="3713080"/>
          </a:xfrm>
        </p:grpSpPr>
        <p:sp>
          <p:nvSpPr>
            <p:cNvPr id="30" name="Rectangle 29"/>
            <p:cNvSpPr/>
            <p:nvPr/>
          </p:nvSpPr>
          <p:spPr bwMode="auto">
            <a:xfrm>
              <a:off x="9519285" y="1977126"/>
              <a:ext cx="2148840" cy="3713080"/>
            </a:xfrm>
            <a:prstGeom prst="rect">
              <a:avLst/>
            </a:prstGeom>
            <a:solidFill>
              <a:schemeClr val="accent1"/>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noAutofit/>
            </a:bodyPr>
            <a:lstStyle/>
            <a:p>
              <a:pPr algn="ctr" defTabSz="342931"/>
              <a:r>
                <a:rPr lang="en-US" altLang="zh-CN" sz="1200" dirty="0">
                  <a:gradFill>
                    <a:gsLst>
                      <a:gs pos="0">
                        <a:schemeClr val="tx1"/>
                      </a:gs>
                      <a:gs pos="100000">
                        <a:schemeClr val="tx1"/>
                      </a:gs>
                    </a:gsLst>
                    <a:lin ang="5400000" scaled="0"/>
                  </a:gradFill>
                </a:rPr>
                <a:t>IT CONTROL </a:t>
              </a:r>
              <a:br>
                <a:rPr lang="en-US" altLang="zh-CN" sz="1200" dirty="0">
                  <a:gradFill>
                    <a:gsLst>
                      <a:gs pos="0">
                        <a:schemeClr val="tx1"/>
                      </a:gs>
                      <a:gs pos="100000">
                        <a:schemeClr val="tx1"/>
                      </a:gs>
                    </a:gsLst>
                    <a:lin ang="5400000" scaled="0"/>
                  </a:gradFill>
                </a:rPr>
              </a:br>
              <a:r>
                <a:rPr lang="en-US" altLang="zh-CN" sz="1200" dirty="0">
                  <a:gradFill>
                    <a:gsLst>
                      <a:gs pos="0">
                        <a:schemeClr val="tx1"/>
                      </a:gs>
                      <a:gs pos="100000">
                        <a:schemeClr val="tx1"/>
                      </a:gs>
                    </a:gsLst>
                    <a:lin ang="5400000" scaled="0"/>
                  </a:gradFill>
                </a:rPr>
                <a:t>AND EFFICIENCY</a:t>
              </a:r>
            </a:p>
            <a:p>
              <a:pPr algn="ctr" defTabSz="342931">
                <a:lnSpc>
                  <a:spcPct val="90000"/>
                </a:lnSpc>
                <a:spcBef>
                  <a:spcPts val="900"/>
                </a:spcBef>
              </a:pPr>
              <a:r>
                <a:rPr lang="en-US" altLang="zh-CN" sz="1200" dirty="0">
                  <a:gradFill>
                    <a:gsLst>
                      <a:gs pos="0">
                        <a:schemeClr val="tx1"/>
                      </a:gs>
                      <a:gs pos="100000">
                        <a:schemeClr val="tx1"/>
                      </a:gs>
                    </a:gsLst>
                    <a:lin ang="5400000" scaled="0"/>
                  </a:gradFill>
                </a:rPr>
                <a:t>Keeps you </a:t>
              </a:r>
              <a:br>
                <a:rPr lang="en-US" altLang="zh-CN" sz="1200" dirty="0">
                  <a:gradFill>
                    <a:gsLst>
                      <a:gs pos="0">
                        <a:schemeClr val="tx1"/>
                      </a:gs>
                      <a:gs pos="100000">
                        <a:schemeClr val="tx1"/>
                      </a:gs>
                    </a:gsLst>
                    <a:lin ang="5400000" scaled="0"/>
                  </a:gradFill>
                </a:rPr>
              </a:br>
              <a:r>
                <a:rPr lang="en-US" altLang="zh-CN" sz="1200" dirty="0">
                  <a:gradFill>
                    <a:gsLst>
                      <a:gs pos="0">
                        <a:schemeClr val="tx1"/>
                      </a:gs>
                      <a:gs pos="100000">
                        <a:schemeClr val="tx1"/>
                      </a:gs>
                    </a:gsLst>
                    <a:lin ang="5400000" scaled="0"/>
                  </a:gradFill>
                </a:rPr>
                <a:t>in control</a:t>
              </a:r>
            </a:p>
          </p:txBody>
        </p:sp>
        <p:sp>
          <p:nvSpPr>
            <p:cNvPr id="39" name="Rectangle 38"/>
            <p:cNvSpPr/>
            <p:nvPr/>
          </p:nvSpPr>
          <p:spPr bwMode="auto">
            <a:xfrm>
              <a:off x="9534525" y="3372939"/>
              <a:ext cx="2146433" cy="1432731"/>
            </a:xfrm>
            <a:prstGeom prst="rect">
              <a:avLst/>
            </a:prstGeom>
            <a:solidFill>
              <a:schemeClr val="bg1">
                <a:lumMod val="20000"/>
                <a:lumOff val="8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pic>
          <p:nvPicPr>
            <p:cNvPr id="50" name="Picture 49"/>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534525" y="3372939"/>
              <a:ext cx="2147970" cy="1431980"/>
            </a:xfrm>
            <a:prstGeom prst="rect">
              <a:avLst/>
            </a:prstGeom>
            <a:noFill/>
            <a:ln>
              <a:noFill/>
            </a:ln>
          </p:spPr>
        </p:pic>
      </p:grpSp>
      <p:sp>
        <p:nvSpPr>
          <p:cNvPr id="4" name="Title 3"/>
          <p:cNvSpPr>
            <a:spLocks noGrp="1"/>
          </p:cNvSpPr>
          <p:nvPr>
            <p:ph type="title"/>
          </p:nvPr>
        </p:nvSpPr>
        <p:spPr/>
        <p:txBody>
          <a:bodyPr/>
          <a:lstStyle/>
          <a:p>
            <a:r>
              <a:rPr lang="en-US" dirty="0" smtClean="0"/>
              <a:t>Office </a:t>
            </a:r>
            <a:r>
              <a:rPr lang="en-US" dirty="0"/>
              <a:t>365</a:t>
            </a:r>
          </a:p>
        </p:txBody>
      </p:sp>
      <p:sp>
        <p:nvSpPr>
          <p:cNvPr id="5" name="Rectangle 4"/>
          <p:cNvSpPr/>
          <p:nvPr/>
        </p:nvSpPr>
        <p:spPr bwMode="auto">
          <a:xfrm>
            <a:off x="371373" y="857251"/>
            <a:ext cx="8382000" cy="568445"/>
          </a:xfrm>
          <a:prstGeom prst="rect">
            <a:avLst/>
          </a:prstGeom>
          <a:solidFill>
            <a:schemeClr val="accent5"/>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3" tIns="102880" rIns="68583" bIns="102880" numCol="1" rtlCol="0" anchor="t" anchorCtr="0" compatLnSpc="1">
            <a:prstTxWarp prst="textNoShape">
              <a:avLst/>
            </a:prstTxWarp>
            <a:noAutofit/>
          </a:bodyPr>
          <a:lstStyle/>
          <a:p>
            <a:pPr marL="345312" indent="-345312">
              <a:lnSpc>
                <a:spcPct val="90000"/>
              </a:lnSpc>
              <a:spcBef>
                <a:spcPct val="20000"/>
              </a:spcBef>
              <a:buSzPct val="90000"/>
              <a:buBlip>
                <a:blip r:embed="rId16"/>
              </a:buBlip>
            </a:pPr>
            <a:endParaRPr lang="en-US" sz="1800" dirty="0">
              <a:gradFill>
                <a:gsLst>
                  <a:gs pos="0">
                    <a:schemeClr val="tx1"/>
                  </a:gs>
                  <a:gs pos="100000">
                    <a:schemeClr val="tx1"/>
                  </a:gs>
                </a:gsLst>
                <a:lin ang="5400000" scaled="0"/>
              </a:gradFill>
            </a:endParaRPr>
          </a:p>
        </p:txBody>
      </p:sp>
      <p:sp>
        <p:nvSpPr>
          <p:cNvPr id="6" name="Rectangle 5"/>
          <p:cNvSpPr/>
          <p:nvPr/>
        </p:nvSpPr>
        <p:spPr>
          <a:xfrm>
            <a:off x="501034" y="938007"/>
            <a:ext cx="8261968" cy="429358"/>
          </a:xfrm>
          <a:prstGeom prst="rect">
            <a:avLst/>
          </a:prstGeom>
        </p:spPr>
        <p:txBody>
          <a:bodyPr wrap="square" lIns="68586" tIns="34294" rIns="68586" bIns="34294">
            <a:spAutoFit/>
          </a:bodyPr>
          <a:lstStyle/>
          <a:p>
            <a:pPr marL="260771" indent="-260771">
              <a:lnSpc>
                <a:spcPct val="90000"/>
              </a:lnSpc>
              <a:buSzPct val="123000"/>
              <a:buBlip>
                <a:blip r:embed="rId16"/>
              </a:buBlip>
            </a:pPr>
            <a:r>
              <a:rPr lang="en-US" sz="1300" dirty="0">
                <a:gradFill>
                  <a:gsLst>
                    <a:gs pos="0">
                      <a:schemeClr val="tx1"/>
                    </a:gs>
                    <a:gs pos="86000">
                      <a:schemeClr val="tx1"/>
                    </a:gs>
                  </a:gsLst>
                  <a:lin ang="5400000" scaled="0"/>
                </a:gradFill>
              </a:rPr>
              <a:t>Bringing together cloud versions of our most trusted communications and collaboration products with </a:t>
            </a:r>
            <a:br>
              <a:rPr lang="en-US" sz="1300" dirty="0">
                <a:gradFill>
                  <a:gsLst>
                    <a:gs pos="0">
                      <a:schemeClr val="tx1"/>
                    </a:gs>
                    <a:gs pos="86000">
                      <a:schemeClr val="tx1"/>
                    </a:gs>
                  </a:gsLst>
                  <a:lin ang="5400000" scaled="0"/>
                </a:gradFill>
              </a:rPr>
            </a:br>
            <a:r>
              <a:rPr lang="en-US" sz="1300" dirty="0">
                <a:gradFill>
                  <a:gsLst>
                    <a:gs pos="0">
                      <a:schemeClr val="tx1"/>
                    </a:gs>
                    <a:gs pos="86000">
                      <a:schemeClr val="tx1"/>
                    </a:gs>
                  </a:gsLst>
                  <a:lin ang="5400000" scaled="0"/>
                </a:gradFill>
              </a:rPr>
              <a:t>the latest version of our desktop suite allowing organizations to save time, money, and drive their business</a:t>
            </a:r>
          </a:p>
        </p:txBody>
      </p:sp>
      <p:grpSp>
        <p:nvGrpSpPr>
          <p:cNvPr id="19" name="Group 18"/>
          <p:cNvGrpSpPr/>
          <p:nvPr/>
        </p:nvGrpSpPr>
        <p:grpSpPr>
          <a:xfrm>
            <a:off x="371904" y="3860182"/>
            <a:ext cx="8373134" cy="984281"/>
            <a:chOff x="495741" y="5146907"/>
            <a:chExt cx="11161271" cy="1312375"/>
          </a:xfrm>
        </p:grpSpPr>
        <p:pic>
          <p:nvPicPr>
            <p:cNvPr id="3" name="Picture 2"/>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495741" y="5146907"/>
              <a:ext cx="11161271" cy="1312375"/>
            </a:xfrm>
            <a:prstGeom prst="rect">
              <a:avLst/>
            </a:prstGeom>
          </p:spPr>
        </p:pic>
        <p:pic>
          <p:nvPicPr>
            <p:cNvPr id="12" name="Picture 11"/>
            <p:cNvPicPr>
              <a:picLocks noChangeAspect="1"/>
            </p:cNvPicPr>
            <p:nvPr/>
          </p:nvPicPr>
          <p:blipFill rotWithShape="1">
            <a:blip r:embed="rId18" cstate="print">
              <a:extLst>
                <a:ext uri="{28A0092B-C50C-407E-A947-70E740481C1C}">
                  <a14:useLocalDpi xmlns:a14="http://schemas.microsoft.com/office/drawing/2010/main" val="0"/>
                </a:ext>
              </a:extLst>
            </a:blip>
            <a:srcRect t="17106" b="16744"/>
            <a:stretch/>
          </p:blipFill>
          <p:spPr>
            <a:xfrm>
              <a:off x="9593253" y="5797367"/>
              <a:ext cx="1861647" cy="431020"/>
            </a:xfrm>
            <a:prstGeom prst="rect">
              <a:avLst/>
            </a:prstGeom>
          </p:spPr>
        </p:pic>
        <p:pic>
          <p:nvPicPr>
            <p:cNvPr id="13" name="Picture 12"/>
            <p:cNvPicPr>
              <a:picLocks noChangeAspect="1" noChangeArrowheads="1"/>
            </p:cNvPicPr>
            <p:nvPr/>
          </p:nvPicPr>
          <p:blipFill>
            <a:blip r:embed="rId19">
              <a:extLst>
                <a:ext uri="{28A0092B-C50C-407E-A947-70E740481C1C}">
                  <a14:useLocalDpi xmlns:a14="http://schemas.microsoft.com/office/drawing/2010/main" val="0"/>
                </a:ext>
              </a:extLst>
            </a:blip>
            <a:stretch>
              <a:fillRect/>
            </a:stretch>
          </p:blipFill>
          <p:spPr bwMode="auto">
            <a:xfrm>
              <a:off x="3833186" y="5814011"/>
              <a:ext cx="2109399" cy="397732"/>
            </a:xfrm>
            <a:prstGeom prst="rect">
              <a:avLst/>
            </a:prstGeom>
            <a:noFill/>
            <a:ln w="9525">
              <a:noFill/>
              <a:miter lim="800000"/>
              <a:headEnd/>
              <a:tailEnd/>
            </a:ln>
          </p:spPr>
        </p:pic>
        <p:pic>
          <p:nvPicPr>
            <p:cNvPr id="14" name="Picture 13"/>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683695" y="5808808"/>
              <a:ext cx="2442595" cy="408138"/>
            </a:xfrm>
            <a:prstGeom prst="rect">
              <a:avLst/>
            </a:prstGeom>
          </p:spPr>
        </p:pic>
        <p:pic>
          <p:nvPicPr>
            <p:cNvPr id="15" name="Picture 14"/>
            <p:cNvPicPr>
              <a:picLocks noChangeAspect="1" noChangeArrowheads="1"/>
            </p:cNvPicPr>
            <p:nvPr/>
          </p:nvPicPr>
          <p:blipFill>
            <a:blip r:embed="rId21" cstate="print">
              <a:extLst>
                <a:ext uri="{28A0092B-C50C-407E-A947-70E740481C1C}">
                  <a14:useLocalDpi xmlns:a14="http://schemas.microsoft.com/office/drawing/2010/main" val="0"/>
                </a:ext>
              </a:extLst>
            </a:blip>
            <a:stretch>
              <a:fillRect/>
            </a:stretch>
          </p:blipFill>
          <p:spPr bwMode="auto">
            <a:xfrm>
              <a:off x="6649481" y="5819062"/>
              <a:ext cx="2236876" cy="387631"/>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6" name="Picture 15"/>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5396369" y="5253726"/>
              <a:ext cx="1370422" cy="436480"/>
            </a:xfrm>
            <a:prstGeom prst="rect">
              <a:avLst/>
            </a:prstGeom>
          </p:spPr>
        </p:pic>
      </p:grpSp>
      <p:sp>
        <p:nvSpPr>
          <p:cNvPr id="56"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57"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3"/>
              </a:rPr>
              <a:t>www.rapidbbs.cn</a:t>
            </a:r>
            <a:endParaRPr lang="zh-CN" altLang="en-US" sz="1200" b="0">
              <a:latin typeface="Arial" charset="0"/>
              <a:ea typeface="ＭＳ Ｐゴシック" pitchFamily="34" charset="-128"/>
            </a:endParaRPr>
          </a:p>
        </p:txBody>
      </p:sp>
      <p:pic>
        <p:nvPicPr>
          <p:cNvPr id="58" name="Picture 2">
            <a:hlinkClick r:id="rId23"/>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706139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wipe(left)">
                                      <p:cBhvr>
                                        <p:cTn id="10" dur="500"/>
                                        <p:tgtEl>
                                          <p:spTgt spid="5"/>
                                        </p:tgtEl>
                                      </p:cBhvr>
                                    </p:animEffect>
                                  </p:childTnLst>
                                </p:cTn>
                              </p:par>
                            </p:childTnLst>
                          </p:cTn>
                        </p:par>
                        <p:par>
                          <p:cTn id="11" fill="hold">
                            <p:stCondLst>
                              <p:cond delay="750"/>
                            </p:stCondLst>
                            <p:childTnLst>
                              <p:par>
                                <p:cTn id="12" presetID="10" presetClass="entr" presetSubtype="0" fill="hold" nodeType="after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fade">
                                      <p:cBhvr>
                                        <p:cTn id="14" dur="500"/>
                                        <p:tgtEl>
                                          <p:spTgt spid="19"/>
                                        </p:tgtEl>
                                      </p:cBhvr>
                                    </p:animEffect>
                                  </p:childTnLst>
                                </p:cTn>
                              </p:par>
                            </p:childTnLst>
                          </p:cTn>
                        </p:par>
                        <p:par>
                          <p:cTn id="15" fill="hold">
                            <p:stCondLst>
                              <p:cond delay="1250"/>
                            </p:stCondLst>
                            <p:childTnLst>
                              <p:par>
                                <p:cTn id="16" presetID="42" presetClass="entr" presetSubtype="0" fill="hold" nodeType="afterEffect">
                                  <p:stCondLst>
                                    <p:cond delay="0"/>
                                  </p:stCondLst>
                                  <p:childTnLst>
                                    <p:set>
                                      <p:cBhvr>
                                        <p:cTn id="17" dur="1" fill="hold">
                                          <p:stCondLst>
                                            <p:cond delay="0"/>
                                          </p:stCondLst>
                                        </p:cTn>
                                        <p:tgtEl>
                                          <p:spTgt spid="51"/>
                                        </p:tgtEl>
                                        <p:attrNameLst>
                                          <p:attrName>style.visibility</p:attrName>
                                        </p:attrNameLst>
                                      </p:cBhvr>
                                      <p:to>
                                        <p:strVal val="visible"/>
                                      </p:to>
                                    </p:set>
                                    <p:animEffect transition="in" filter="fade">
                                      <p:cBhvr>
                                        <p:cTn id="18" dur="1000"/>
                                        <p:tgtEl>
                                          <p:spTgt spid="51"/>
                                        </p:tgtEl>
                                      </p:cBhvr>
                                    </p:animEffect>
                                    <p:anim calcmode="lin" valueType="num">
                                      <p:cBhvr>
                                        <p:cTn id="19" dur="1000" fill="hold"/>
                                        <p:tgtEl>
                                          <p:spTgt spid="51"/>
                                        </p:tgtEl>
                                        <p:attrNameLst>
                                          <p:attrName>ppt_x</p:attrName>
                                        </p:attrNameLst>
                                      </p:cBhvr>
                                      <p:tavLst>
                                        <p:tav tm="0">
                                          <p:val>
                                            <p:strVal val="#ppt_x"/>
                                          </p:val>
                                        </p:tav>
                                        <p:tav tm="100000">
                                          <p:val>
                                            <p:strVal val="#ppt_x"/>
                                          </p:val>
                                        </p:tav>
                                      </p:tavLst>
                                    </p:anim>
                                    <p:anim calcmode="lin" valueType="num">
                                      <p:cBhvr>
                                        <p:cTn id="20" dur="1000" fill="hold"/>
                                        <p:tgtEl>
                                          <p:spTgt spid="51"/>
                                        </p:tgtEl>
                                        <p:attrNameLst>
                                          <p:attrName>ppt_y</p:attrName>
                                        </p:attrNameLst>
                                      </p:cBhvr>
                                      <p:tavLst>
                                        <p:tav tm="0">
                                          <p:val>
                                            <p:strVal val="#ppt_y+.1"/>
                                          </p:val>
                                        </p:tav>
                                        <p:tav tm="100000">
                                          <p:val>
                                            <p:strVal val="#ppt_y"/>
                                          </p:val>
                                        </p:tav>
                                      </p:tavLst>
                                    </p:anim>
                                  </p:childTnLst>
                                </p:cTn>
                              </p:par>
                              <p:par>
                                <p:cTn id="21" presetID="42" presetClass="entr" presetSubtype="0" fill="hold" nodeType="withEffect">
                                  <p:stCondLst>
                                    <p:cond delay="250"/>
                                  </p:stCondLst>
                                  <p:childTnLst>
                                    <p:set>
                                      <p:cBhvr>
                                        <p:cTn id="22" dur="1" fill="hold">
                                          <p:stCondLst>
                                            <p:cond delay="0"/>
                                          </p:stCondLst>
                                        </p:cTn>
                                        <p:tgtEl>
                                          <p:spTgt spid="52"/>
                                        </p:tgtEl>
                                        <p:attrNameLst>
                                          <p:attrName>style.visibility</p:attrName>
                                        </p:attrNameLst>
                                      </p:cBhvr>
                                      <p:to>
                                        <p:strVal val="visible"/>
                                      </p:to>
                                    </p:set>
                                    <p:animEffect transition="in" filter="fade">
                                      <p:cBhvr>
                                        <p:cTn id="23" dur="1000"/>
                                        <p:tgtEl>
                                          <p:spTgt spid="52"/>
                                        </p:tgtEl>
                                      </p:cBhvr>
                                    </p:animEffect>
                                    <p:anim calcmode="lin" valueType="num">
                                      <p:cBhvr>
                                        <p:cTn id="24" dur="1000" fill="hold"/>
                                        <p:tgtEl>
                                          <p:spTgt spid="52"/>
                                        </p:tgtEl>
                                        <p:attrNameLst>
                                          <p:attrName>ppt_x</p:attrName>
                                        </p:attrNameLst>
                                      </p:cBhvr>
                                      <p:tavLst>
                                        <p:tav tm="0">
                                          <p:val>
                                            <p:strVal val="#ppt_x"/>
                                          </p:val>
                                        </p:tav>
                                        <p:tav tm="100000">
                                          <p:val>
                                            <p:strVal val="#ppt_x"/>
                                          </p:val>
                                        </p:tav>
                                      </p:tavLst>
                                    </p:anim>
                                    <p:anim calcmode="lin" valueType="num">
                                      <p:cBhvr>
                                        <p:cTn id="25" dur="1000" fill="hold"/>
                                        <p:tgtEl>
                                          <p:spTgt spid="52"/>
                                        </p:tgtEl>
                                        <p:attrNameLst>
                                          <p:attrName>ppt_y</p:attrName>
                                        </p:attrNameLst>
                                      </p:cBhvr>
                                      <p:tavLst>
                                        <p:tav tm="0">
                                          <p:val>
                                            <p:strVal val="#ppt_y+.1"/>
                                          </p:val>
                                        </p:tav>
                                        <p:tav tm="100000">
                                          <p:val>
                                            <p:strVal val="#ppt_y"/>
                                          </p:val>
                                        </p:tav>
                                      </p:tavLst>
                                    </p:anim>
                                  </p:childTnLst>
                                </p:cTn>
                              </p:par>
                              <p:par>
                                <p:cTn id="26" presetID="42" presetClass="entr" presetSubtype="0" fill="hold" nodeType="withEffect">
                                  <p:stCondLst>
                                    <p:cond delay="500"/>
                                  </p:stCondLst>
                                  <p:childTnLst>
                                    <p:set>
                                      <p:cBhvr>
                                        <p:cTn id="27" dur="1" fill="hold">
                                          <p:stCondLst>
                                            <p:cond delay="0"/>
                                          </p:stCondLst>
                                        </p:cTn>
                                        <p:tgtEl>
                                          <p:spTgt spid="53"/>
                                        </p:tgtEl>
                                        <p:attrNameLst>
                                          <p:attrName>style.visibility</p:attrName>
                                        </p:attrNameLst>
                                      </p:cBhvr>
                                      <p:to>
                                        <p:strVal val="visible"/>
                                      </p:to>
                                    </p:set>
                                    <p:animEffect transition="in" filter="fade">
                                      <p:cBhvr>
                                        <p:cTn id="28" dur="1000"/>
                                        <p:tgtEl>
                                          <p:spTgt spid="53"/>
                                        </p:tgtEl>
                                      </p:cBhvr>
                                    </p:animEffect>
                                    <p:anim calcmode="lin" valueType="num">
                                      <p:cBhvr>
                                        <p:cTn id="29" dur="1000" fill="hold"/>
                                        <p:tgtEl>
                                          <p:spTgt spid="53"/>
                                        </p:tgtEl>
                                        <p:attrNameLst>
                                          <p:attrName>ppt_x</p:attrName>
                                        </p:attrNameLst>
                                      </p:cBhvr>
                                      <p:tavLst>
                                        <p:tav tm="0">
                                          <p:val>
                                            <p:strVal val="#ppt_x"/>
                                          </p:val>
                                        </p:tav>
                                        <p:tav tm="100000">
                                          <p:val>
                                            <p:strVal val="#ppt_x"/>
                                          </p:val>
                                        </p:tav>
                                      </p:tavLst>
                                    </p:anim>
                                    <p:anim calcmode="lin" valueType="num">
                                      <p:cBhvr>
                                        <p:cTn id="30" dur="1000" fill="hold"/>
                                        <p:tgtEl>
                                          <p:spTgt spid="53"/>
                                        </p:tgtEl>
                                        <p:attrNameLst>
                                          <p:attrName>ppt_y</p:attrName>
                                        </p:attrNameLst>
                                      </p:cBhvr>
                                      <p:tavLst>
                                        <p:tav tm="0">
                                          <p:val>
                                            <p:strVal val="#ppt_y+.1"/>
                                          </p:val>
                                        </p:tav>
                                        <p:tav tm="100000">
                                          <p:val>
                                            <p:strVal val="#ppt_y"/>
                                          </p:val>
                                        </p:tav>
                                      </p:tavLst>
                                    </p:anim>
                                  </p:childTnLst>
                                </p:cTn>
                              </p:par>
                              <p:par>
                                <p:cTn id="31" presetID="42" presetClass="entr" presetSubtype="0" fill="hold" nodeType="withEffect">
                                  <p:stCondLst>
                                    <p:cond delay="750"/>
                                  </p:stCondLst>
                                  <p:childTnLst>
                                    <p:set>
                                      <p:cBhvr>
                                        <p:cTn id="32" dur="1" fill="hold">
                                          <p:stCondLst>
                                            <p:cond delay="0"/>
                                          </p:stCondLst>
                                        </p:cTn>
                                        <p:tgtEl>
                                          <p:spTgt spid="54"/>
                                        </p:tgtEl>
                                        <p:attrNameLst>
                                          <p:attrName>style.visibility</p:attrName>
                                        </p:attrNameLst>
                                      </p:cBhvr>
                                      <p:to>
                                        <p:strVal val="visible"/>
                                      </p:to>
                                    </p:set>
                                    <p:animEffect transition="in" filter="fade">
                                      <p:cBhvr>
                                        <p:cTn id="33" dur="1000"/>
                                        <p:tgtEl>
                                          <p:spTgt spid="54"/>
                                        </p:tgtEl>
                                      </p:cBhvr>
                                    </p:animEffect>
                                    <p:anim calcmode="lin" valueType="num">
                                      <p:cBhvr>
                                        <p:cTn id="34" dur="1000" fill="hold"/>
                                        <p:tgtEl>
                                          <p:spTgt spid="54"/>
                                        </p:tgtEl>
                                        <p:attrNameLst>
                                          <p:attrName>ppt_x</p:attrName>
                                        </p:attrNameLst>
                                      </p:cBhvr>
                                      <p:tavLst>
                                        <p:tav tm="0">
                                          <p:val>
                                            <p:strVal val="#ppt_x"/>
                                          </p:val>
                                        </p:tav>
                                        <p:tav tm="100000">
                                          <p:val>
                                            <p:strVal val="#ppt_x"/>
                                          </p:val>
                                        </p:tav>
                                      </p:tavLst>
                                    </p:anim>
                                    <p:anim calcmode="lin" valueType="num">
                                      <p:cBhvr>
                                        <p:cTn id="35" dur="1000" fill="hold"/>
                                        <p:tgtEl>
                                          <p:spTgt spid="54"/>
                                        </p:tgtEl>
                                        <p:attrNameLst>
                                          <p:attrName>ppt_y</p:attrName>
                                        </p:attrNameLst>
                                      </p:cBhvr>
                                      <p:tavLst>
                                        <p:tav tm="0">
                                          <p:val>
                                            <p:strVal val="#ppt_y+.1"/>
                                          </p:val>
                                        </p:tav>
                                        <p:tav tm="100000">
                                          <p:val>
                                            <p:strVal val="#ppt_y"/>
                                          </p:val>
                                        </p:tav>
                                      </p:tavLst>
                                    </p:anim>
                                  </p:childTnLst>
                                </p:cTn>
                              </p:par>
                              <p:par>
                                <p:cTn id="36" presetID="42" presetClass="entr" presetSubtype="0" fill="hold" nodeType="withEffect">
                                  <p:stCondLst>
                                    <p:cond delay="1000"/>
                                  </p:stCondLst>
                                  <p:childTnLst>
                                    <p:set>
                                      <p:cBhvr>
                                        <p:cTn id="37" dur="1" fill="hold">
                                          <p:stCondLst>
                                            <p:cond delay="0"/>
                                          </p:stCondLst>
                                        </p:cTn>
                                        <p:tgtEl>
                                          <p:spTgt spid="55"/>
                                        </p:tgtEl>
                                        <p:attrNameLst>
                                          <p:attrName>style.visibility</p:attrName>
                                        </p:attrNameLst>
                                      </p:cBhvr>
                                      <p:to>
                                        <p:strVal val="visible"/>
                                      </p:to>
                                    </p:set>
                                    <p:animEffect transition="in" filter="fade">
                                      <p:cBhvr>
                                        <p:cTn id="38" dur="1000"/>
                                        <p:tgtEl>
                                          <p:spTgt spid="55"/>
                                        </p:tgtEl>
                                      </p:cBhvr>
                                    </p:animEffect>
                                    <p:anim calcmode="lin" valueType="num">
                                      <p:cBhvr>
                                        <p:cTn id="39" dur="1000" fill="hold"/>
                                        <p:tgtEl>
                                          <p:spTgt spid="55"/>
                                        </p:tgtEl>
                                        <p:attrNameLst>
                                          <p:attrName>ppt_x</p:attrName>
                                        </p:attrNameLst>
                                      </p:cBhvr>
                                      <p:tavLst>
                                        <p:tav tm="0">
                                          <p:val>
                                            <p:strVal val="#ppt_x"/>
                                          </p:val>
                                        </p:tav>
                                        <p:tav tm="100000">
                                          <p:val>
                                            <p:strVal val="#ppt_x"/>
                                          </p:val>
                                        </p:tav>
                                      </p:tavLst>
                                    </p:anim>
                                    <p:anim calcmode="lin" valueType="num">
                                      <p:cBhvr>
                                        <p:cTn id="40" dur="1000" fill="hold"/>
                                        <p:tgtEl>
                                          <p:spTgt spid="5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5085293" y="857250"/>
            <a:ext cx="3668080" cy="4171950"/>
            <a:chOff x="6778625" y="1143000"/>
            <a:chExt cx="4889500" cy="5562600"/>
          </a:xfrm>
        </p:grpSpPr>
        <p:sp>
          <p:nvSpPr>
            <p:cNvPr id="10" name="Rectangle 9"/>
            <p:cNvSpPr/>
            <p:nvPr/>
          </p:nvSpPr>
          <p:spPr bwMode="auto">
            <a:xfrm>
              <a:off x="6778625" y="1143000"/>
              <a:ext cx="4889500" cy="5562600"/>
            </a:xfrm>
            <a:prstGeom prst="rect">
              <a:avLst/>
            </a:prstGeom>
            <a:solidFill>
              <a:schemeClr val="accent1">
                <a:lumMod val="75000"/>
              </a:schemeClr>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91440" rIns="91436" bIns="91440" numCol="1" rtlCol="0" anchor="t" anchorCtr="0" compatLnSpc="1">
              <a:prstTxWarp prst="textNoShape">
                <a:avLst/>
              </a:prstTxWarp>
              <a:noAutofit/>
            </a:bodyPr>
            <a:lstStyle/>
            <a:p>
              <a:pPr algn="ctr" defTabSz="342931"/>
              <a:r>
                <a:rPr lang="en-US" altLang="zh-CN" sz="1500" dirty="0">
                  <a:gradFill>
                    <a:gsLst>
                      <a:gs pos="0">
                        <a:schemeClr val="tx1"/>
                      </a:gs>
                      <a:gs pos="100000">
                        <a:schemeClr val="tx1"/>
                      </a:gs>
                    </a:gsLst>
                    <a:lin ang="5400000" scaled="0"/>
                  </a:gradFill>
                </a:rPr>
                <a:t>Plans by Kiosk Worker Profile</a:t>
              </a:r>
            </a:p>
          </p:txBody>
        </p:sp>
        <p:sp>
          <p:nvSpPr>
            <p:cNvPr id="11" name="Rectangle 10"/>
            <p:cNvSpPr/>
            <p:nvPr/>
          </p:nvSpPr>
          <p:spPr bwMode="auto">
            <a:xfrm>
              <a:off x="6778625" y="2307336"/>
              <a:ext cx="4889500" cy="4398264"/>
            </a:xfrm>
            <a:prstGeom prst="rect">
              <a:avLst/>
            </a:prstGeom>
            <a:solidFill>
              <a:schemeClr val="accent1">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12" name="Rectangle 11"/>
            <p:cNvSpPr/>
            <p:nvPr/>
          </p:nvSpPr>
          <p:spPr bwMode="auto">
            <a:xfrm>
              <a:off x="6778625" y="1669996"/>
              <a:ext cx="4889500" cy="637340"/>
            </a:xfrm>
            <a:prstGeom prst="rect">
              <a:avLst/>
            </a:prstGeom>
            <a:solidFill>
              <a:schemeClr val="accent5"/>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91440" rIns="91436" bIns="91440" numCol="1" rtlCol="0" anchor="ctr" anchorCtr="0" compatLnSpc="1">
              <a:prstTxWarp prst="textNoShape">
                <a:avLst/>
              </a:prstTxWarp>
              <a:noAutofit/>
            </a:bodyPr>
            <a:lstStyle/>
            <a:p>
              <a:pPr algn="ctr" defTabSz="342931"/>
              <a:r>
                <a:rPr lang="en-US" altLang="zh-CN" sz="1200" dirty="0">
                  <a:gradFill>
                    <a:gsLst>
                      <a:gs pos="0">
                        <a:schemeClr val="tx1"/>
                      </a:gs>
                      <a:gs pos="100000">
                        <a:schemeClr val="tx1"/>
                      </a:gs>
                    </a:gsLst>
                    <a:lin ang="5400000" scaled="0"/>
                  </a:gradFill>
                </a:rPr>
                <a:t>Low cost offering to users that do not have </a:t>
              </a:r>
              <a:br>
                <a:rPr lang="en-US" altLang="zh-CN" sz="1200" dirty="0">
                  <a:gradFill>
                    <a:gsLst>
                      <a:gs pos="0">
                        <a:schemeClr val="tx1"/>
                      </a:gs>
                      <a:gs pos="100000">
                        <a:schemeClr val="tx1"/>
                      </a:gs>
                    </a:gsLst>
                    <a:lin ang="5400000" scaled="0"/>
                  </a:gradFill>
                </a:rPr>
              </a:br>
              <a:r>
                <a:rPr lang="en-US" altLang="zh-CN" sz="1200" dirty="0">
                  <a:gradFill>
                    <a:gsLst>
                      <a:gs pos="0">
                        <a:schemeClr val="tx1"/>
                      </a:gs>
                      <a:gs pos="100000">
                        <a:schemeClr val="tx1"/>
                      </a:gs>
                    </a:gsLst>
                    <a:lin ang="5400000" scaled="0"/>
                  </a:gradFill>
                </a:rPr>
                <a:t>messaging and collaboration capabilities today</a:t>
              </a:r>
            </a:p>
          </p:txBody>
        </p:sp>
        <p:sp>
          <p:nvSpPr>
            <p:cNvPr id="13" name="Rectangle 12"/>
            <p:cNvSpPr/>
            <p:nvPr/>
          </p:nvSpPr>
          <p:spPr>
            <a:xfrm>
              <a:off x="6778625" y="2399431"/>
              <a:ext cx="4889500" cy="430887"/>
            </a:xfrm>
            <a:prstGeom prst="rect">
              <a:avLst/>
            </a:prstGeom>
          </p:spPr>
          <p:txBody>
            <a:bodyPr wrap="square">
              <a:spAutoFit/>
            </a:bodyPr>
            <a:lstStyle/>
            <a:p>
              <a:pPr defTabSz="342931">
                <a:spcAft>
                  <a:spcPts val="225"/>
                </a:spcAft>
              </a:pPr>
              <a:r>
                <a:rPr lang="en-US" altLang="zh-CN" sz="1500" dirty="0">
                  <a:gradFill>
                    <a:gsLst>
                      <a:gs pos="0">
                        <a:schemeClr val="tx1"/>
                      </a:gs>
                      <a:gs pos="100000">
                        <a:schemeClr val="tx1"/>
                      </a:gs>
                    </a:gsLst>
                    <a:lin ang="5400000" scaled="0"/>
                  </a:gradFill>
                </a:rPr>
                <a:t>Office 365 Plan K Family</a:t>
              </a:r>
            </a:p>
          </p:txBody>
        </p:sp>
        <p:sp>
          <p:nvSpPr>
            <p:cNvPr id="35" name="Rectangle 34"/>
            <p:cNvSpPr/>
            <p:nvPr/>
          </p:nvSpPr>
          <p:spPr bwMode="auto">
            <a:xfrm>
              <a:off x="7008813" y="3298112"/>
              <a:ext cx="1976123" cy="1024603"/>
            </a:xfrm>
            <a:prstGeom prst="rect">
              <a:avLst/>
            </a:prstGeom>
            <a:solidFill>
              <a:schemeClr val="accent5">
                <a:lumMod val="75000"/>
              </a:schemeClr>
            </a:solidFill>
            <a:ln>
              <a:noFill/>
              <a:headEnd type="none" w="med" len="med"/>
              <a:tailEnd type="none" w="med" len="med"/>
            </a:ln>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r>
                <a:rPr lang="en-US" sz="1100" dirty="0">
                  <a:gradFill>
                    <a:gsLst>
                      <a:gs pos="0">
                        <a:schemeClr val="tx1"/>
                      </a:gs>
                      <a:gs pos="100000">
                        <a:schemeClr val="tx1"/>
                      </a:gs>
                    </a:gsLst>
                    <a:lin ang="5400000" scaled="0"/>
                  </a:gradFill>
                </a:rPr>
                <a:t>Office Web Apps</a:t>
              </a:r>
            </a:p>
          </p:txBody>
        </p:sp>
        <p:sp>
          <p:nvSpPr>
            <p:cNvPr id="36" name="Rectangle 35"/>
            <p:cNvSpPr/>
            <p:nvPr/>
          </p:nvSpPr>
          <p:spPr bwMode="auto">
            <a:xfrm>
              <a:off x="7008813" y="4413356"/>
              <a:ext cx="1976123" cy="1024601"/>
            </a:xfrm>
            <a:prstGeom prst="rect">
              <a:avLst/>
            </a:prstGeom>
            <a:solidFill>
              <a:schemeClr val="accent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100" dirty="0">
                  <a:solidFill>
                    <a:schemeClr val="bg1">
                      <a:alpha val="99000"/>
                    </a:schemeClr>
                  </a:solidFill>
                </a:rPr>
                <a:t>SharePoint Online </a:t>
              </a:r>
            </a:p>
            <a:p>
              <a:pPr algn="ctr"/>
              <a:r>
                <a:rPr lang="en-US" sz="1100" dirty="0">
                  <a:solidFill>
                    <a:schemeClr val="bg1">
                      <a:alpha val="99000"/>
                    </a:schemeClr>
                  </a:solidFill>
                </a:rPr>
                <a:t>Kiosk</a:t>
              </a:r>
            </a:p>
          </p:txBody>
        </p:sp>
        <p:cxnSp>
          <p:nvCxnSpPr>
            <p:cNvPr id="37" name="Straight Connector 36"/>
            <p:cNvCxnSpPr/>
            <p:nvPr/>
          </p:nvCxnSpPr>
          <p:spPr>
            <a:xfrm>
              <a:off x="7030154" y="3252793"/>
              <a:ext cx="4398258" cy="0"/>
            </a:xfrm>
            <a:prstGeom prst="line">
              <a:avLst/>
            </a:prstGeom>
            <a:noFill/>
            <a:ln w="6350" cap="flat" cmpd="sng" algn="ctr">
              <a:solidFill>
                <a:schemeClr val="tx1"/>
              </a:solidFill>
              <a:prstDash val="dash"/>
            </a:ln>
            <a:effectLst/>
          </p:spPr>
        </p:cxnSp>
        <p:sp>
          <p:nvSpPr>
            <p:cNvPr id="38" name="Rectangle 37"/>
            <p:cNvSpPr/>
            <p:nvPr/>
          </p:nvSpPr>
          <p:spPr bwMode="auto">
            <a:xfrm>
              <a:off x="9140429" y="4413356"/>
              <a:ext cx="1066244" cy="2139843"/>
            </a:xfrm>
            <a:prstGeom prst="rect">
              <a:avLst/>
            </a:prstGeom>
            <a:solidFill>
              <a:schemeClr val="accent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100" dirty="0">
                  <a:solidFill>
                    <a:schemeClr val="bg1">
                      <a:alpha val="99000"/>
                    </a:schemeClr>
                  </a:solidFill>
                </a:rPr>
                <a:t>Plan K1</a:t>
              </a:r>
            </a:p>
          </p:txBody>
        </p:sp>
        <p:sp>
          <p:nvSpPr>
            <p:cNvPr id="39" name="Rectangle 38"/>
            <p:cNvSpPr/>
            <p:nvPr/>
          </p:nvSpPr>
          <p:spPr bwMode="auto">
            <a:xfrm>
              <a:off x="10362168" y="3298112"/>
              <a:ext cx="1066244" cy="3255087"/>
            </a:xfrm>
            <a:prstGeom prst="rect">
              <a:avLst/>
            </a:prstGeom>
            <a:solidFill>
              <a:schemeClr val="accent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100" dirty="0">
                  <a:solidFill>
                    <a:schemeClr val="bg1">
                      <a:alpha val="99000"/>
                    </a:schemeClr>
                  </a:solidFill>
                </a:rPr>
                <a:t>Plan K2</a:t>
              </a:r>
            </a:p>
          </p:txBody>
        </p:sp>
        <p:cxnSp>
          <p:nvCxnSpPr>
            <p:cNvPr id="40" name="Straight Connector 39"/>
            <p:cNvCxnSpPr/>
            <p:nvPr/>
          </p:nvCxnSpPr>
          <p:spPr>
            <a:xfrm>
              <a:off x="7008812" y="4368035"/>
              <a:ext cx="3198733" cy="0"/>
            </a:xfrm>
            <a:prstGeom prst="line">
              <a:avLst/>
            </a:prstGeom>
            <a:noFill/>
            <a:ln w="6350" cap="flat" cmpd="sng" algn="ctr">
              <a:solidFill>
                <a:schemeClr val="tx1"/>
              </a:solidFill>
              <a:prstDash val="dash"/>
            </a:ln>
            <a:effectLst/>
          </p:spPr>
        </p:cxnSp>
        <p:sp>
          <p:nvSpPr>
            <p:cNvPr id="41" name="TextBox 30"/>
            <p:cNvSpPr txBox="1"/>
            <p:nvPr/>
          </p:nvSpPr>
          <p:spPr>
            <a:xfrm>
              <a:off x="7025511" y="2895600"/>
              <a:ext cx="1959427" cy="348757"/>
            </a:xfrm>
            <a:prstGeom prst="rect">
              <a:avLst/>
            </a:prstGeom>
            <a:noFill/>
          </p:spPr>
          <p:txBody>
            <a:bodyPr wrap="square" lIns="76156" tIns="38079" rIns="76156" bIns="38079"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637" fontAlgn="base">
                <a:spcBef>
                  <a:spcPct val="0"/>
                </a:spcBef>
                <a:spcAft>
                  <a:spcPct val="0"/>
                </a:spcAft>
              </a:pPr>
              <a:r>
                <a:rPr lang="en-US" sz="1200" dirty="0">
                  <a:gradFill>
                    <a:gsLst>
                      <a:gs pos="0">
                        <a:schemeClr val="tx1"/>
                      </a:gs>
                      <a:gs pos="100000">
                        <a:schemeClr val="tx1"/>
                      </a:gs>
                    </a:gsLst>
                    <a:lin ang="5400000" scaled="0"/>
                  </a:gradFill>
                </a:rPr>
                <a:t>Components</a:t>
              </a:r>
            </a:p>
          </p:txBody>
        </p:sp>
        <p:sp>
          <p:nvSpPr>
            <p:cNvPr id="42" name="Rectangle 41"/>
            <p:cNvSpPr/>
            <p:nvPr/>
          </p:nvSpPr>
          <p:spPr bwMode="auto">
            <a:xfrm>
              <a:off x="7008813" y="5528598"/>
              <a:ext cx="1976123" cy="1011194"/>
            </a:xfrm>
            <a:prstGeom prst="rect">
              <a:avLst/>
            </a:prstGeom>
            <a:solidFill>
              <a:schemeClr val="accent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100" dirty="0">
                  <a:solidFill>
                    <a:schemeClr val="bg1">
                      <a:alpha val="99000"/>
                    </a:schemeClr>
                  </a:solidFill>
                </a:rPr>
                <a:t>Exchange Online</a:t>
              </a:r>
            </a:p>
            <a:p>
              <a:pPr algn="ctr"/>
              <a:r>
                <a:rPr lang="en-US" sz="1100" dirty="0">
                  <a:solidFill>
                    <a:schemeClr val="bg1">
                      <a:alpha val="99000"/>
                    </a:schemeClr>
                  </a:solidFill>
                </a:rPr>
                <a:t>Kiosk</a:t>
              </a:r>
            </a:p>
          </p:txBody>
        </p:sp>
      </p:grpSp>
      <p:sp>
        <p:nvSpPr>
          <p:cNvPr id="33" name="Pentagon 32"/>
          <p:cNvSpPr/>
          <p:nvPr/>
        </p:nvSpPr>
        <p:spPr bwMode="auto">
          <a:xfrm>
            <a:off x="3593475" y="1730502"/>
            <a:ext cx="1600618" cy="3298698"/>
          </a:xfrm>
          <a:prstGeom prst="homePlate">
            <a:avLst/>
          </a:prstGeom>
          <a:gradFill>
            <a:gsLst>
              <a:gs pos="0">
                <a:schemeClr val="tx1">
                  <a:alpha val="0"/>
                </a:schemeClr>
              </a:gs>
              <a:gs pos="100000">
                <a:schemeClr val="tx1"/>
              </a:gs>
            </a:gsLst>
            <a:lin ang="0" scaled="0"/>
          </a:gra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3" tIns="68586" rIns="68583" bIns="68586" numCol="1" rtlCol="0" anchor="t" anchorCtr="0" compatLnSpc="1">
            <a:prstTxWarp prst="textNoShape">
              <a:avLst/>
            </a:prstTxWarp>
            <a:noAutofit/>
          </a:bodyPr>
          <a:lstStyle/>
          <a:p>
            <a:pPr algn="ctr" defTabSz="342931"/>
            <a:endParaRPr lang="en-US" altLang="zh-CN" sz="1500" dirty="0">
              <a:solidFill>
                <a:prstClr val="white">
                  <a:alpha val="99000"/>
                </a:prstClr>
              </a:solidFill>
            </a:endParaRPr>
          </a:p>
        </p:txBody>
      </p:sp>
      <p:sp>
        <p:nvSpPr>
          <p:cNvPr id="4" name="Title 3"/>
          <p:cNvSpPr>
            <a:spLocks noGrp="1"/>
          </p:cNvSpPr>
          <p:nvPr>
            <p:ph type="title"/>
          </p:nvPr>
        </p:nvSpPr>
        <p:spPr/>
        <p:txBody>
          <a:bodyPr/>
          <a:lstStyle/>
          <a:p>
            <a:r>
              <a:rPr lang="en-US" dirty="0"/>
              <a:t>Office 365:  </a:t>
            </a:r>
            <a:r>
              <a:rPr lang="en-US" dirty="0" smtClean="0"/>
              <a:t>Kiosk Plans</a:t>
            </a:r>
            <a:endParaRPr lang="en-US" dirty="0"/>
          </a:p>
        </p:txBody>
      </p:sp>
      <p:grpSp>
        <p:nvGrpSpPr>
          <p:cNvPr id="2" name="Group 1"/>
          <p:cNvGrpSpPr/>
          <p:nvPr/>
        </p:nvGrpSpPr>
        <p:grpSpPr>
          <a:xfrm>
            <a:off x="389438" y="857250"/>
            <a:ext cx="3677131" cy="4191258"/>
            <a:chOff x="519113" y="1143000"/>
            <a:chExt cx="4901565" cy="5588344"/>
          </a:xfrm>
        </p:grpSpPr>
        <p:sp>
          <p:nvSpPr>
            <p:cNvPr id="5" name="Rectangle 4"/>
            <p:cNvSpPr/>
            <p:nvPr/>
          </p:nvSpPr>
          <p:spPr bwMode="auto">
            <a:xfrm>
              <a:off x="519113" y="1143000"/>
              <a:ext cx="4889500" cy="5562600"/>
            </a:xfrm>
            <a:prstGeom prst="rect">
              <a:avLst/>
            </a:prstGeom>
            <a:solidFill>
              <a:schemeClr val="accent1">
                <a:lumMod val="75000"/>
              </a:schemeClr>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91440" rIns="91436" bIns="91440" numCol="1" rtlCol="0" anchor="t" anchorCtr="0" compatLnSpc="1">
              <a:prstTxWarp prst="textNoShape">
                <a:avLst/>
              </a:prstTxWarp>
              <a:noAutofit/>
            </a:bodyPr>
            <a:lstStyle/>
            <a:p>
              <a:pPr algn="ctr" defTabSz="342931"/>
              <a:r>
                <a:rPr lang="en-US" altLang="zh-CN" sz="1500" dirty="0">
                  <a:gradFill>
                    <a:gsLst>
                      <a:gs pos="0">
                        <a:schemeClr val="tx1"/>
                      </a:gs>
                      <a:gs pos="86000">
                        <a:schemeClr val="tx1"/>
                      </a:gs>
                    </a:gsLst>
                    <a:lin ang="5400000" scaled="0"/>
                  </a:gradFill>
                </a:rPr>
                <a:t>Kiosk Worker</a:t>
              </a:r>
            </a:p>
          </p:txBody>
        </p:sp>
        <p:sp>
          <p:nvSpPr>
            <p:cNvPr id="6" name="Rectangle 5"/>
            <p:cNvSpPr/>
            <p:nvPr/>
          </p:nvSpPr>
          <p:spPr bwMode="auto">
            <a:xfrm>
              <a:off x="519113" y="2307336"/>
              <a:ext cx="4889500" cy="1432731"/>
            </a:xfrm>
            <a:prstGeom prst="rect">
              <a:avLst/>
            </a:prstGeom>
            <a:solidFill>
              <a:schemeClr val="accent1">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7" name="Rectangle 6"/>
            <p:cNvSpPr/>
            <p:nvPr/>
          </p:nvSpPr>
          <p:spPr bwMode="auto">
            <a:xfrm>
              <a:off x="519113" y="1669996"/>
              <a:ext cx="4889500" cy="637340"/>
            </a:xfrm>
            <a:prstGeom prst="rect">
              <a:avLst/>
            </a:prstGeom>
            <a:solidFill>
              <a:schemeClr val="accent2"/>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91440" rIns="91436" bIns="91440" numCol="1" rtlCol="0" anchor="ctr" anchorCtr="0" compatLnSpc="1">
              <a:prstTxWarp prst="textNoShape">
                <a:avLst/>
              </a:prstTxWarp>
              <a:noAutofit/>
            </a:bodyPr>
            <a:lstStyle/>
            <a:p>
              <a:pPr algn="ctr" defTabSz="342931"/>
              <a:r>
                <a:rPr lang="en-US" altLang="zh-CN" sz="1200" dirty="0">
                  <a:gradFill>
                    <a:gsLst>
                      <a:gs pos="0">
                        <a:schemeClr val="tx1"/>
                      </a:gs>
                      <a:gs pos="100000">
                        <a:schemeClr val="tx1"/>
                      </a:gs>
                    </a:gsLst>
                    <a:lin ang="5400000" scaled="0"/>
                  </a:gradFill>
                </a:rPr>
                <a:t>Low cost offering to users that do not have </a:t>
              </a:r>
              <a:br>
                <a:rPr lang="en-US" altLang="zh-CN" sz="1200" dirty="0">
                  <a:gradFill>
                    <a:gsLst>
                      <a:gs pos="0">
                        <a:schemeClr val="tx1"/>
                      </a:gs>
                      <a:gs pos="100000">
                        <a:schemeClr val="tx1"/>
                      </a:gs>
                    </a:gsLst>
                    <a:lin ang="5400000" scaled="0"/>
                  </a:gradFill>
                </a:rPr>
              </a:br>
              <a:r>
                <a:rPr lang="en-US" altLang="zh-CN" sz="1200" dirty="0">
                  <a:gradFill>
                    <a:gsLst>
                      <a:gs pos="0">
                        <a:schemeClr val="tx1"/>
                      </a:gs>
                      <a:gs pos="100000">
                        <a:schemeClr val="tx1"/>
                      </a:gs>
                    </a:gsLst>
                    <a:lin ang="5400000" scaled="0"/>
                  </a:gradFill>
                </a:rPr>
                <a:t>messaging and collaboration capabilities today</a:t>
              </a:r>
            </a:p>
          </p:txBody>
        </p:sp>
        <p:pic>
          <p:nvPicPr>
            <p:cNvPr id="8" name="Picture 3" descr="C:\Users\alexbrad\Documents\Logos\DVD_ART35\Artwork_Imagery\Brand Photos\Scenarios\FY09 Office Brand - No_exp\man working office computer phone.png"/>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t="7413" b="7413"/>
            <a:stretch/>
          </p:blipFill>
          <p:spPr bwMode="auto">
            <a:xfrm>
              <a:off x="1331206" y="2307336"/>
              <a:ext cx="3265315" cy="1432732"/>
            </a:xfrm>
            <a:prstGeom prst="rect">
              <a:avLst/>
            </a:prstGeom>
            <a:noFill/>
            <a:ln>
              <a:noFill/>
            </a:ln>
          </p:spPr>
        </p:pic>
        <p:sp>
          <p:nvSpPr>
            <p:cNvPr id="9" name="Rectangle 8"/>
            <p:cNvSpPr/>
            <p:nvPr/>
          </p:nvSpPr>
          <p:spPr>
            <a:xfrm>
              <a:off x="519114" y="3809519"/>
              <a:ext cx="4889500" cy="2921825"/>
            </a:xfrm>
            <a:prstGeom prst="rect">
              <a:avLst/>
            </a:prstGeom>
          </p:spPr>
          <p:txBody>
            <a:bodyPr wrap="square">
              <a:spAutoFit/>
            </a:bodyPr>
            <a:lstStyle/>
            <a:p>
              <a:pPr defTabSz="342931">
                <a:spcAft>
                  <a:spcPts val="225"/>
                </a:spcAft>
              </a:pPr>
              <a:r>
                <a:rPr lang="en-US" altLang="zh-CN" sz="1500" dirty="0">
                  <a:gradFill>
                    <a:gsLst>
                      <a:gs pos="0">
                        <a:schemeClr val="tx1"/>
                      </a:gs>
                      <a:gs pos="100000">
                        <a:schemeClr val="tx1"/>
                      </a:gs>
                    </a:gsLst>
                    <a:lin ang="5400000" scaled="0"/>
                  </a:gradFill>
                </a:rPr>
                <a:t>Office 365 Plan K Family</a:t>
              </a:r>
            </a:p>
            <a:p>
              <a:pPr marL="260771" indent="-260771">
                <a:lnSpc>
                  <a:spcPct val="90000"/>
                </a:lnSpc>
                <a:spcBef>
                  <a:spcPts val="450"/>
                </a:spcBef>
                <a:buSzPct val="100000"/>
                <a:buBlip>
                  <a:blip r:embed="rId4"/>
                </a:buBlip>
              </a:pPr>
              <a:r>
                <a:rPr lang="en-US" altLang="zh-CN" sz="1200" dirty="0">
                  <a:gradFill>
                    <a:gsLst>
                      <a:gs pos="0">
                        <a:schemeClr val="tx1"/>
                      </a:gs>
                      <a:gs pos="100000">
                        <a:schemeClr val="tx1"/>
                      </a:gs>
                    </a:gsLst>
                    <a:lin ang="5400000" scaled="0"/>
                  </a:gradFill>
                </a:rPr>
                <a:t>500 MB mailbox</a:t>
              </a:r>
            </a:p>
            <a:p>
              <a:pPr marL="260771" indent="-260771">
                <a:lnSpc>
                  <a:spcPct val="90000"/>
                </a:lnSpc>
                <a:spcBef>
                  <a:spcPts val="450"/>
                </a:spcBef>
                <a:buSzPct val="100000"/>
                <a:buBlip>
                  <a:blip r:embed="rId4"/>
                </a:buBlip>
              </a:pPr>
              <a:r>
                <a:rPr lang="en-US" altLang="zh-CN" sz="1200" dirty="0">
                  <a:gradFill>
                    <a:gsLst>
                      <a:gs pos="0">
                        <a:schemeClr val="tx1"/>
                      </a:gs>
                      <a:gs pos="100000">
                        <a:schemeClr val="tx1"/>
                      </a:gs>
                    </a:gsLst>
                    <a:lin ang="5400000" scaled="0"/>
                  </a:gradFill>
                </a:rPr>
                <a:t>Outlook Web App only</a:t>
              </a:r>
            </a:p>
            <a:p>
              <a:pPr marL="260771" indent="-260771">
                <a:lnSpc>
                  <a:spcPct val="90000"/>
                </a:lnSpc>
                <a:spcBef>
                  <a:spcPts val="450"/>
                </a:spcBef>
                <a:buSzPct val="100000"/>
                <a:buBlip>
                  <a:blip r:embed="rId4"/>
                </a:buBlip>
              </a:pPr>
              <a:r>
                <a:rPr lang="en-US" altLang="zh-CN" sz="1200" dirty="0">
                  <a:gradFill>
                    <a:gsLst>
                      <a:gs pos="0">
                        <a:schemeClr val="tx1"/>
                      </a:gs>
                      <a:gs pos="100000">
                        <a:schemeClr val="tx1"/>
                      </a:gs>
                    </a:gsLst>
                    <a:lin ang="5400000" scaled="0"/>
                  </a:gradFill>
                </a:rPr>
                <a:t>POP support</a:t>
              </a:r>
            </a:p>
            <a:p>
              <a:pPr marL="260771" indent="-260771">
                <a:lnSpc>
                  <a:spcPct val="90000"/>
                </a:lnSpc>
                <a:spcBef>
                  <a:spcPts val="450"/>
                </a:spcBef>
                <a:buSzPct val="100000"/>
                <a:buBlip>
                  <a:blip r:embed="rId4"/>
                </a:buBlip>
              </a:pPr>
              <a:r>
                <a:rPr lang="en-US" altLang="zh-CN" sz="1200" dirty="0">
                  <a:gradFill>
                    <a:gsLst>
                      <a:gs pos="0">
                        <a:schemeClr val="tx1"/>
                      </a:gs>
                      <a:gs pos="100000">
                        <a:schemeClr val="tx1"/>
                      </a:gs>
                    </a:gsLst>
                    <a:lin ang="5400000" scaled="0"/>
                  </a:gradFill>
                </a:rPr>
                <a:t>Messaging, calendar, contacts</a:t>
              </a:r>
            </a:p>
            <a:p>
              <a:pPr marL="260771" indent="-260771">
                <a:lnSpc>
                  <a:spcPct val="90000"/>
                </a:lnSpc>
                <a:spcBef>
                  <a:spcPts val="450"/>
                </a:spcBef>
                <a:buSzPct val="100000"/>
                <a:buBlip>
                  <a:blip r:embed="rId4"/>
                </a:buBlip>
              </a:pPr>
              <a:r>
                <a:rPr lang="en-US" altLang="zh-CN" sz="1200" dirty="0">
                  <a:gradFill>
                    <a:gsLst>
                      <a:gs pos="0">
                        <a:schemeClr val="tx1"/>
                      </a:gs>
                      <a:gs pos="100000">
                        <a:schemeClr val="tx1"/>
                      </a:gs>
                    </a:gsLst>
                    <a:lin ang="5400000" scaled="0"/>
                  </a:gradFill>
                </a:rPr>
                <a:t>Forefront antivirus and anti-spam</a:t>
              </a:r>
            </a:p>
            <a:p>
              <a:pPr marL="260771" indent="-260771">
                <a:lnSpc>
                  <a:spcPct val="90000"/>
                </a:lnSpc>
                <a:spcBef>
                  <a:spcPts val="450"/>
                </a:spcBef>
                <a:buSzPct val="100000"/>
                <a:buBlip>
                  <a:blip r:embed="rId4"/>
                </a:buBlip>
              </a:pPr>
              <a:r>
                <a:rPr lang="en-US" altLang="zh-CN" sz="1200" dirty="0">
                  <a:gradFill>
                    <a:gsLst>
                      <a:gs pos="0">
                        <a:schemeClr val="tx1"/>
                      </a:gs>
                      <a:gs pos="100000">
                        <a:schemeClr val="tx1"/>
                      </a:gs>
                    </a:gsLst>
                    <a:lin ang="5400000" scaled="0"/>
                  </a:gradFill>
                </a:rPr>
                <a:t>SharePoint Access (0MB storage)</a:t>
              </a:r>
            </a:p>
            <a:p>
              <a:pPr marL="260771" indent="-260771">
                <a:lnSpc>
                  <a:spcPct val="90000"/>
                </a:lnSpc>
                <a:spcBef>
                  <a:spcPts val="450"/>
                </a:spcBef>
                <a:buSzPct val="100000"/>
                <a:buBlip>
                  <a:blip r:embed="rId4"/>
                </a:buBlip>
              </a:pPr>
              <a:r>
                <a:rPr lang="en-US" altLang="zh-CN" sz="1200" dirty="0">
                  <a:gradFill>
                    <a:gsLst>
                      <a:gs pos="0">
                        <a:schemeClr val="tx1"/>
                      </a:gs>
                      <a:gs pos="100000">
                        <a:schemeClr val="tx1"/>
                      </a:gs>
                    </a:gsLst>
                    <a:lin ang="5400000" scaled="0"/>
                  </a:gradFill>
                </a:rPr>
                <a:t>Site search capabilities</a:t>
              </a:r>
            </a:p>
            <a:p>
              <a:pPr marL="260771" indent="-260771">
                <a:lnSpc>
                  <a:spcPct val="90000"/>
                </a:lnSpc>
                <a:spcBef>
                  <a:spcPts val="450"/>
                </a:spcBef>
                <a:buSzPct val="100000"/>
                <a:buBlip>
                  <a:blip r:embed="rId4"/>
                </a:buBlip>
              </a:pPr>
              <a:r>
                <a:rPr lang="en-US" altLang="zh-CN" sz="1200" dirty="0">
                  <a:gradFill>
                    <a:gsLst>
                      <a:gs pos="0">
                        <a:schemeClr val="tx1"/>
                      </a:gs>
                      <a:gs pos="100000">
                        <a:schemeClr val="tx1"/>
                      </a:gs>
                    </a:gsLst>
                    <a:lin ang="5400000" scaled="0"/>
                  </a:gradFill>
                </a:rPr>
                <a:t>Office Web Apps</a:t>
              </a:r>
            </a:p>
          </p:txBody>
        </p:sp>
        <p:pic>
          <p:nvPicPr>
            <p:cNvPr id="21" name="Picture 2" descr="C:\Users\brognier\AppData\Local\Microsoft\Windows\Temporary Internet Files\Content.Outlook\N3DOBEHM\man standing warehouse ordering customer working (2).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22326" b="28426"/>
            <a:stretch/>
          </p:blipFill>
          <p:spPr bwMode="auto">
            <a:xfrm>
              <a:off x="531179" y="2307336"/>
              <a:ext cx="4889499" cy="1432732"/>
            </a:xfrm>
            <a:prstGeom prst="rect">
              <a:avLst/>
            </a:prstGeom>
            <a:noFill/>
            <a:ln>
              <a:noFill/>
            </a:ln>
            <a:extLst>
              <a:ext uri="{909E8E84-426E-40DD-AFC4-6F175D3DCCD1}">
                <a14:hiddenFill xmlns:a14="http://schemas.microsoft.com/office/drawing/2010/main">
                  <a:solidFill>
                    <a:srgbClr val="FFFFFF"/>
                  </a:solidFill>
                </a14:hiddenFill>
              </a:ext>
            </a:extLst>
          </p:spPr>
        </p:pic>
      </p:grpSp>
      <p:sp>
        <p:nvSpPr>
          <p:cNvPr id="24"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5"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6"/>
              </a:rPr>
              <a:t>www.rapidbbs.cn</a:t>
            </a:r>
            <a:endParaRPr lang="zh-CN" altLang="en-US" sz="1200" b="0">
              <a:latin typeface="Arial" charset="0"/>
              <a:ea typeface="ＭＳ Ｐゴシック" pitchFamily="34" charset="-128"/>
            </a:endParaRPr>
          </a:p>
        </p:txBody>
      </p:sp>
      <p:pic>
        <p:nvPicPr>
          <p:cNvPr id="26" name="Picture 2">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18869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3"/>
                                        </p:tgtEl>
                                        <p:attrNameLst>
                                          <p:attrName>style.visibility</p:attrName>
                                        </p:attrNameLst>
                                      </p:cBhvr>
                                      <p:to>
                                        <p:strVal val="visible"/>
                                      </p:to>
                                    </p:set>
                                    <p:animEffect transition="in" filter="wipe(left)">
                                      <p:cBhvr>
                                        <p:cTn id="11" dur="500"/>
                                        <p:tgtEl>
                                          <p:spTgt spid="33"/>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The Enterprise Agreement Supports </a:t>
            </a:r>
            <a:r>
              <a:rPr lang="en-US" i="1" dirty="0"/>
              <a:t>Your</a:t>
            </a:r>
            <a:r>
              <a:rPr lang="en-US" dirty="0"/>
              <a:t> Cloud </a:t>
            </a:r>
          </a:p>
        </p:txBody>
      </p:sp>
      <p:grpSp>
        <p:nvGrpSpPr>
          <p:cNvPr id="38" name="Group 37"/>
          <p:cNvGrpSpPr/>
          <p:nvPr/>
        </p:nvGrpSpPr>
        <p:grpSpPr>
          <a:xfrm>
            <a:off x="1482643" y="2948879"/>
            <a:ext cx="1997537" cy="1995839"/>
            <a:chOff x="1976341" y="3904542"/>
            <a:chExt cx="2662689" cy="2661118"/>
          </a:xfrm>
        </p:grpSpPr>
        <p:sp>
          <p:nvSpPr>
            <p:cNvPr id="12" name="Presentation Title Rectangle"/>
            <p:cNvSpPr txBox="1">
              <a:spLocks/>
            </p:cNvSpPr>
            <p:nvPr/>
          </p:nvSpPr>
          <p:spPr>
            <a:xfrm>
              <a:off x="1976341" y="3904542"/>
              <a:ext cx="2662689" cy="1330559"/>
            </a:xfrm>
            <a:prstGeom prst="rect">
              <a:avLst/>
            </a:prstGeom>
            <a:solidFill>
              <a:schemeClr val="accent5"/>
            </a:solidFill>
            <a:effectLst/>
          </p:spPr>
          <p:txBody>
            <a:bodyPr lIns="91440" tIns="91440" rIns="91440" bIns="91440" anchor="b" anchorCtr="0">
              <a:noAutofit/>
            </a:bodyPr>
            <a:lstStyle>
              <a:defPPr>
                <a:defRPr lang="en-US"/>
              </a:defPPr>
              <a:lvl1pPr>
                <a:lnSpc>
                  <a:spcPct val="90000"/>
                </a:lnSpc>
                <a:spcBef>
                  <a:spcPct val="0"/>
                </a:spcBef>
                <a:buNone/>
                <a:defRPr sz="2000" b="1" i="0" kern="0" cap="none" spc="0" baseline="0">
                  <a:ln w="3175">
                    <a:noFill/>
                  </a:ln>
                  <a:solidFill>
                    <a:schemeClr val="tx1">
                      <a:alpha val="99000"/>
                    </a:schemeClr>
                  </a:solidFill>
                  <a:effectLst/>
                  <a:cs typeface="Arial" charset="0"/>
                </a:defRPr>
              </a:lvl1pPr>
            </a:lstStyle>
            <a:p>
              <a:r>
                <a:rPr lang="en-US" dirty="0">
                  <a:gradFill>
                    <a:gsLst>
                      <a:gs pos="0">
                        <a:schemeClr val="tx1"/>
                      </a:gs>
                      <a:gs pos="100000">
                        <a:schemeClr val="tx1"/>
                      </a:gs>
                    </a:gsLst>
                    <a:lin ang="5400000" scaled="0"/>
                  </a:gradFill>
                </a:rPr>
                <a:t>Value</a:t>
              </a:r>
            </a:p>
          </p:txBody>
        </p:sp>
        <p:sp>
          <p:nvSpPr>
            <p:cNvPr id="18" name="Presentation Title Rectangle"/>
            <p:cNvSpPr txBox="1">
              <a:spLocks/>
            </p:cNvSpPr>
            <p:nvPr/>
          </p:nvSpPr>
          <p:spPr>
            <a:xfrm>
              <a:off x="1976341" y="5235101"/>
              <a:ext cx="2662689" cy="1330559"/>
            </a:xfrm>
            <a:prstGeom prst="rect">
              <a:avLst/>
            </a:prstGeom>
            <a:solidFill>
              <a:schemeClr val="bg2">
                <a:lumMod val="75000"/>
              </a:schemeClr>
            </a:solidFill>
            <a:effectLst/>
          </p:spPr>
          <p:txBody>
            <a:bodyPr lIns="91440" tIns="91440" rIns="91440" bIns="91440" anchor="t" anchorCtr="0">
              <a:noAutofit/>
            </a:bodyPr>
            <a:lstStyle>
              <a:lvl1pPr algn="l" defTabSz="914363"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tileRect/>
                  </a:gradFill>
                  <a:effectLst/>
                  <a:latin typeface="+mj-lt"/>
                  <a:ea typeface="+mn-ea"/>
                  <a:cs typeface="Arial" charset="0"/>
                </a:defRPr>
              </a:lvl1pPr>
            </a:lstStyle>
            <a:p>
              <a:pPr>
                <a:lnSpc>
                  <a:spcPct val="100000"/>
                </a:lnSpc>
                <a:spcBef>
                  <a:spcPts val="450"/>
                </a:spcBef>
                <a:defRPr/>
              </a:pPr>
              <a:r>
                <a:rPr lang="en-US" sz="1400" b="0" kern="0" spc="0" dirty="0">
                  <a:ln>
                    <a:noFill/>
                  </a:ln>
                  <a:gradFill>
                    <a:gsLst>
                      <a:gs pos="0">
                        <a:schemeClr val="tx1"/>
                      </a:gs>
                      <a:gs pos="100000">
                        <a:schemeClr val="tx1"/>
                      </a:gs>
                    </a:gsLst>
                    <a:lin ang="5400000" scaled="0"/>
                  </a:gradFill>
                  <a:cs typeface="+mn-cs"/>
                </a:rPr>
                <a:t>Most cost effective way to purchase and manage licenses </a:t>
              </a:r>
            </a:p>
          </p:txBody>
        </p:sp>
      </p:grpSp>
      <p:grpSp>
        <p:nvGrpSpPr>
          <p:cNvPr id="39" name="Group 38"/>
          <p:cNvGrpSpPr/>
          <p:nvPr/>
        </p:nvGrpSpPr>
        <p:grpSpPr>
          <a:xfrm>
            <a:off x="3571447" y="2948879"/>
            <a:ext cx="1997537" cy="1995839"/>
            <a:chOff x="4760687" y="3904542"/>
            <a:chExt cx="2662689" cy="2661118"/>
          </a:xfrm>
        </p:grpSpPr>
        <p:sp>
          <p:nvSpPr>
            <p:cNvPr id="21" name="Presentation Title Rectangle"/>
            <p:cNvSpPr txBox="1">
              <a:spLocks/>
            </p:cNvSpPr>
            <p:nvPr/>
          </p:nvSpPr>
          <p:spPr>
            <a:xfrm>
              <a:off x="4760687" y="3904542"/>
              <a:ext cx="2662689" cy="1330559"/>
            </a:xfrm>
            <a:prstGeom prst="rect">
              <a:avLst/>
            </a:prstGeom>
            <a:solidFill>
              <a:schemeClr val="accent2"/>
            </a:solidFill>
            <a:effectLst/>
          </p:spPr>
          <p:txBody>
            <a:bodyPr lIns="91440" tIns="91440" rIns="91440" bIns="91440" anchor="b" anchorCtr="0">
              <a:noAutofit/>
            </a:bodyPr>
            <a:lstStyle>
              <a:defPPr>
                <a:defRPr lang="en-US"/>
              </a:defPPr>
              <a:lvl1pPr>
                <a:lnSpc>
                  <a:spcPct val="90000"/>
                </a:lnSpc>
                <a:spcBef>
                  <a:spcPct val="0"/>
                </a:spcBef>
                <a:buNone/>
                <a:defRPr sz="2000" b="1" i="0" kern="0" cap="none" spc="0" baseline="0">
                  <a:ln w="3175">
                    <a:noFill/>
                  </a:ln>
                  <a:solidFill>
                    <a:schemeClr val="tx1">
                      <a:alpha val="99000"/>
                    </a:schemeClr>
                  </a:solidFill>
                  <a:effectLst/>
                  <a:cs typeface="Arial" charset="0"/>
                </a:defRPr>
              </a:lvl1pPr>
            </a:lstStyle>
            <a:p>
              <a:r>
                <a:rPr lang="en-US" dirty="0">
                  <a:gradFill>
                    <a:gsLst>
                      <a:gs pos="0">
                        <a:schemeClr val="tx1"/>
                      </a:gs>
                      <a:gs pos="100000">
                        <a:schemeClr val="tx1"/>
                      </a:gs>
                    </a:gsLst>
                    <a:lin ang="5400000" scaled="0"/>
                  </a:gradFill>
                </a:rPr>
                <a:t>Move Between </a:t>
              </a:r>
              <a:r>
                <a:rPr lang="en-US" dirty="0" smtClean="0">
                  <a:gradFill>
                    <a:gsLst>
                      <a:gs pos="0">
                        <a:schemeClr val="tx1"/>
                      </a:gs>
                      <a:gs pos="100000">
                        <a:schemeClr val="tx1"/>
                      </a:gs>
                    </a:gsLst>
                    <a:lin ang="5400000" scaled="0"/>
                  </a:gradFill>
                </a:rPr>
                <a:t/>
              </a:r>
              <a:br>
                <a:rPr lang="en-US" dirty="0" smtClean="0">
                  <a:gradFill>
                    <a:gsLst>
                      <a:gs pos="0">
                        <a:schemeClr val="tx1"/>
                      </a:gs>
                      <a:gs pos="100000">
                        <a:schemeClr val="tx1"/>
                      </a:gs>
                    </a:gsLst>
                    <a:lin ang="5400000" scaled="0"/>
                  </a:gradFill>
                </a:rPr>
              </a:br>
              <a:r>
                <a:rPr lang="en-US" dirty="0" smtClean="0">
                  <a:gradFill>
                    <a:gsLst>
                      <a:gs pos="0">
                        <a:schemeClr val="tx1"/>
                      </a:gs>
                      <a:gs pos="100000">
                        <a:schemeClr val="tx1"/>
                      </a:gs>
                    </a:gsLst>
                    <a:lin ang="5400000" scaled="0"/>
                  </a:gradFill>
                </a:rPr>
                <a:t>On-Premises </a:t>
              </a:r>
              <a:r>
                <a:rPr lang="en-US" dirty="0">
                  <a:gradFill>
                    <a:gsLst>
                      <a:gs pos="0">
                        <a:schemeClr val="tx1"/>
                      </a:gs>
                      <a:gs pos="100000">
                        <a:schemeClr val="tx1"/>
                      </a:gs>
                    </a:gsLst>
                    <a:lin ang="5400000" scaled="0"/>
                  </a:gradFill>
                </a:rPr>
                <a:t/>
              </a:r>
              <a:br>
                <a:rPr lang="en-US" dirty="0">
                  <a:gradFill>
                    <a:gsLst>
                      <a:gs pos="0">
                        <a:schemeClr val="tx1"/>
                      </a:gs>
                      <a:gs pos="100000">
                        <a:schemeClr val="tx1"/>
                      </a:gs>
                    </a:gsLst>
                    <a:lin ang="5400000" scaled="0"/>
                  </a:gradFill>
                </a:rPr>
              </a:br>
              <a:r>
                <a:rPr lang="en-US" dirty="0">
                  <a:gradFill>
                    <a:gsLst>
                      <a:gs pos="0">
                        <a:schemeClr val="tx1"/>
                      </a:gs>
                      <a:gs pos="100000">
                        <a:schemeClr val="tx1"/>
                      </a:gs>
                    </a:gsLst>
                    <a:lin ang="5400000" scaled="0"/>
                  </a:gradFill>
                </a:rPr>
                <a:t>and Cloud</a:t>
              </a:r>
            </a:p>
          </p:txBody>
        </p:sp>
        <p:sp>
          <p:nvSpPr>
            <p:cNvPr id="22" name="Presentation Title Rectangle"/>
            <p:cNvSpPr txBox="1">
              <a:spLocks/>
            </p:cNvSpPr>
            <p:nvPr/>
          </p:nvSpPr>
          <p:spPr>
            <a:xfrm>
              <a:off x="4760687" y="5235101"/>
              <a:ext cx="2662689" cy="1330559"/>
            </a:xfrm>
            <a:prstGeom prst="rect">
              <a:avLst/>
            </a:prstGeom>
            <a:solidFill>
              <a:schemeClr val="bg2">
                <a:lumMod val="75000"/>
              </a:schemeClr>
            </a:solidFill>
            <a:effectLst/>
          </p:spPr>
          <p:txBody>
            <a:bodyPr lIns="91440" tIns="91440" rIns="91440" bIns="91440" anchor="t" anchorCtr="0">
              <a:noAutofit/>
            </a:bodyPr>
            <a:lstStyle>
              <a:lvl1pPr algn="l" defTabSz="914363"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tileRect/>
                  </a:gradFill>
                  <a:effectLst/>
                  <a:latin typeface="+mj-lt"/>
                  <a:ea typeface="+mn-ea"/>
                  <a:cs typeface="Arial" charset="0"/>
                </a:defRPr>
              </a:lvl1pPr>
            </a:lstStyle>
            <a:p>
              <a:pPr>
                <a:lnSpc>
                  <a:spcPct val="100000"/>
                </a:lnSpc>
                <a:spcBef>
                  <a:spcPts val="450"/>
                </a:spcBef>
                <a:defRPr/>
              </a:pPr>
              <a:r>
                <a:rPr lang="en-US" sz="1400" b="0" kern="0" spc="0" dirty="0">
                  <a:ln>
                    <a:noFill/>
                  </a:ln>
                  <a:gradFill>
                    <a:gsLst>
                      <a:gs pos="0">
                        <a:schemeClr val="tx1"/>
                      </a:gs>
                      <a:gs pos="100000">
                        <a:schemeClr val="tx1"/>
                      </a:gs>
                    </a:gsLst>
                    <a:lin ang="5400000" scaled="0"/>
                  </a:gradFill>
                  <a:cs typeface="+mn-cs"/>
                </a:rPr>
                <a:t>Responsive to changes in business requirements or  expectations</a:t>
              </a:r>
            </a:p>
          </p:txBody>
        </p:sp>
      </p:grpSp>
      <p:grpSp>
        <p:nvGrpSpPr>
          <p:cNvPr id="40" name="Group 39"/>
          <p:cNvGrpSpPr/>
          <p:nvPr/>
        </p:nvGrpSpPr>
        <p:grpSpPr>
          <a:xfrm>
            <a:off x="5665001" y="2952291"/>
            <a:ext cx="1997537" cy="1995839"/>
            <a:chOff x="7551366" y="3909091"/>
            <a:chExt cx="2662689" cy="2661118"/>
          </a:xfrm>
        </p:grpSpPr>
        <p:sp>
          <p:nvSpPr>
            <p:cNvPr id="24" name="Presentation Title Rectangle"/>
            <p:cNvSpPr txBox="1">
              <a:spLocks/>
            </p:cNvSpPr>
            <p:nvPr/>
          </p:nvSpPr>
          <p:spPr>
            <a:xfrm>
              <a:off x="7551366" y="3909091"/>
              <a:ext cx="2662689" cy="1330559"/>
            </a:xfrm>
            <a:prstGeom prst="rect">
              <a:avLst/>
            </a:prstGeom>
            <a:solidFill>
              <a:schemeClr val="accent1"/>
            </a:solidFill>
            <a:effectLst/>
          </p:spPr>
          <p:txBody>
            <a:bodyPr lIns="91440" tIns="91440" rIns="91440" bIns="91440" anchor="b" anchorCtr="0">
              <a:noAutofit/>
            </a:bodyPr>
            <a:lstStyle>
              <a:defPPr>
                <a:defRPr lang="en-US"/>
              </a:defPPr>
              <a:lvl1pPr>
                <a:lnSpc>
                  <a:spcPct val="90000"/>
                </a:lnSpc>
                <a:spcBef>
                  <a:spcPct val="0"/>
                </a:spcBef>
                <a:buNone/>
                <a:defRPr sz="2000" b="1" i="0" kern="0" cap="none" spc="0" baseline="0">
                  <a:ln w="3175">
                    <a:noFill/>
                  </a:ln>
                  <a:solidFill>
                    <a:schemeClr val="tx1">
                      <a:alpha val="99000"/>
                    </a:schemeClr>
                  </a:solidFill>
                  <a:effectLst/>
                  <a:cs typeface="Arial" charset="0"/>
                </a:defRPr>
              </a:lvl1pPr>
            </a:lstStyle>
            <a:p>
              <a:r>
                <a:rPr lang="en-US" dirty="0">
                  <a:gradFill>
                    <a:gsLst>
                      <a:gs pos="0">
                        <a:schemeClr val="tx1"/>
                      </a:gs>
                      <a:gs pos="100000">
                        <a:schemeClr val="tx1"/>
                      </a:gs>
                    </a:gsLst>
                    <a:lin ang="5400000" scaled="0"/>
                  </a:gradFill>
                </a:rPr>
                <a:t>Streamlined Agreement Structure</a:t>
              </a:r>
            </a:p>
          </p:txBody>
        </p:sp>
        <p:sp>
          <p:nvSpPr>
            <p:cNvPr id="25" name="Presentation Title Rectangle"/>
            <p:cNvSpPr txBox="1">
              <a:spLocks/>
            </p:cNvSpPr>
            <p:nvPr/>
          </p:nvSpPr>
          <p:spPr>
            <a:xfrm>
              <a:off x="7551366" y="5239650"/>
              <a:ext cx="2662689" cy="1330559"/>
            </a:xfrm>
            <a:prstGeom prst="rect">
              <a:avLst/>
            </a:prstGeom>
            <a:solidFill>
              <a:schemeClr val="bg2">
                <a:lumMod val="75000"/>
              </a:schemeClr>
            </a:solidFill>
            <a:effectLst/>
          </p:spPr>
          <p:txBody>
            <a:bodyPr lIns="91440" tIns="91440" rIns="91440" bIns="91440" anchor="t" anchorCtr="0">
              <a:noAutofit/>
            </a:bodyPr>
            <a:lstStyle>
              <a:lvl1pPr algn="l" defTabSz="914363"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tileRect/>
                  </a:gradFill>
                  <a:effectLst/>
                  <a:latin typeface="+mj-lt"/>
                  <a:ea typeface="+mn-ea"/>
                  <a:cs typeface="Arial" charset="0"/>
                </a:defRPr>
              </a:lvl1pPr>
            </a:lstStyle>
            <a:p>
              <a:pPr>
                <a:lnSpc>
                  <a:spcPct val="100000"/>
                </a:lnSpc>
                <a:spcBef>
                  <a:spcPts val="450"/>
                </a:spcBef>
                <a:defRPr/>
              </a:pPr>
              <a:r>
                <a:rPr lang="en-US" sz="1400" b="0" kern="0" spc="0" dirty="0">
                  <a:ln>
                    <a:noFill/>
                  </a:ln>
                  <a:gradFill>
                    <a:gsLst>
                      <a:gs pos="0">
                        <a:schemeClr val="tx1"/>
                      </a:gs>
                      <a:gs pos="100000">
                        <a:schemeClr val="tx1"/>
                      </a:gs>
                    </a:gsLst>
                    <a:lin ang="5400000" scaled="0"/>
                  </a:gradFill>
                  <a:cs typeface="+mn-cs"/>
                </a:rPr>
                <a:t>Reduces effort to add </a:t>
              </a:r>
              <a:br>
                <a:rPr lang="en-US" sz="1400" b="0" kern="0" spc="0" dirty="0">
                  <a:ln>
                    <a:noFill/>
                  </a:ln>
                  <a:gradFill>
                    <a:gsLst>
                      <a:gs pos="0">
                        <a:schemeClr val="tx1"/>
                      </a:gs>
                      <a:gs pos="100000">
                        <a:schemeClr val="tx1"/>
                      </a:gs>
                    </a:gsLst>
                    <a:lin ang="5400000" scaled="0"/>
                  </a:gradFill>
                  <a:cs typeface="+mn-cs"/>
                </a:rPr>
              </a:br>
              <a:r>
                <a:rPr lang="en-US" sz="1400" b="0" kern="0" spc="0" dirty="0">
                  <a:ln>
                    <a:noFill/>
                  </a:ln>
                  <a:gradFill>
                    <a:gsLst>
                      <a:gs pos="0">
                        <a:schemeClr val="tx1"/>
                      </a:gs>
                      <a:gs pos="100000">
                        <a:schemeClr val="tx1"/>
                      </a:gs>
                    </a:gsLst>
                    <a:lin ang="5400000" scaled="0"/>
                  </a:gradFill>
                  <a:cs typeface="+mn-cs"/>
                </a:rPr>
                <a:t>to or modify your EA and Enrollments</a:t>
              </a:r>
            </a:p>
          </p:txBody>
        </p:sp>
      </p:grpSp>
      <p:grpSp>
        <p:nvGrpSpPr>
          <p:cNvPr id="37" name="Group 36"/>
          <p:cNvGrpSpPr/>
          <p:nvPr/>
        </p:nvGrpSpPr>
        <p:grpSpPr>
          <a:xfrm>
            <a:off x="5658690" y="868804"/>
            <a:ext cx="1997537" cy="1995839"/>
            <a:chOff x="7542954" y="1158404"/>
            <a:chExt cx="2662689" cy="2661118"/>
          </a:xfrm>
        </p:grpSpPr>
        <p:sp>
          <p:nvSpPr>
            <p:cNvPr id="27" name="Presentation Title Rectangle"/>
            <p:cNvSpPr txBox="1">
              <a:spLocks/>
            </p:cNvSpPr>
            <p:nvPr/>
          </p:nvSpPr>
          <p:spPr>
            <a:xfrm>
              <a:off x="7542954" y="1158404"/>
              <a:ext cx="2662689" cy="1330559"/>
            </a:xfrm>
            <a:prstGeom prst="rect">
              <a:avLst/>
            </a:prstGeom>
            <a:solidFill>
              <a:schemeClr val="accent5"/>
            </a:solidFill>
            <a:effectLst/>
          </p:spPr>
          <p:txBody>
            <a:bodyPr lIns="91440" tIns="91440" rIns="91440" bIns="91440" anchor="b" anchorCtr="0">
              <a:noAutofit/>
            </a:bodyPr>
            <a:lstStyle>
              <a:lvl1pPr algn="l" defTabSz="914363"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tileRect/>
                  </a:gradFill>
                  <a:effectLst/>
                  <a:latin typeface="+mj-lt"/>
                  <a:ea typeface="+mn-ea"/>
                  <a:cs typeface="Arial" charset="0"/>
                </a:defRPr>
              </a:lvl1pPr>
            </a:lstStyle>
            <a:p>
              <a:pPr>
                <a:defRPr/>
              </a:pPr>
              <a:r>
                <a:rPr lang="en-US" sz="1500" kern="0" spc="0" dirty="0">
                  <a:gradFill>
                    <a:gsLst>
                      <a:gs pos="0">
                        <a:schemeClr val="tx1"/>
                      </a:gs>
                      <a:gs pos="100000">
                        <a:schemeClr val="tx1"/>
                      </a:gs>
                    </a:gsLst>
                    <a:lin ang="5400000" scaled="0"/>
                  </a:gradFill>
                  <a:latin typeface="+mn-lt"/>
                </a:rPr>
                <a:t>Cloud Ready When You Are – Transition When it Make Sense</a:t>
              </a:r>
            </a:p>
          </p:txBody>
        </p:sp>
        <p:sp>
          <p:nvSpPr>
            <p:cNvPr id="28" name="Presentation Title Rectangle"/>
            <p:cNvSpPr txBox="1">
              <a:spLocks/>
            </p:cNvSpPr>
            <p:nvPr/>
          </p:nvSpPr>
          <p:spPr>
            <a:xfrm>
              <a:off x="7542954" y="2488963"/>
              <a:ext cx="2662689" cy="1330559"/>
            </a:xfrm>
            <a:prstGeom prst="rect">
              <a:avLst/>
            </a:prstGeom>
            <a:solidFill>
              <a:schemeClr val="bg2">
                <a:lumMod val="75000"/>
              </a:schemeClr>
            </a:solidFill>
            <a:effectLst/>
          </p:spPr>
          <p:txBody>
            <a:bodyPr lIns="91440" tIns="91440" rIns="91440" bIns="91440" anchor="t" anchorCtr="0">
              <a:noAutofit/>
            </a:bodyPr>
            <a:lstStyle>
              <a:lvl1pPr algn="l" defTabSz="914363"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tileRect/>
                  </a:gradFill>
                  <a:effectLst/>
                  <a:latin typeface="+mj-lt"/>
                  <a:ea typeface="+mn-ea"/>
                  <a:cs typeface="Arial" charset="0"/>
                </a:defRPr>
              </a:lvl1pPr>
            </a:lstStyle>
            <a:p>
              <a:pPr>
                <a:lnSpc>
                  <a:spcPct val="100000"/>
                </a:lnSpc>
                <a:spcBef>
                  <a:spcPts val="450"/>
                </a:spcBef>
                <a:defRPr/>
              </a:pPr>
              <a:r>
                <a:rPr lang="en-US" sz="1400" b="0" kern="0" spc="0" dirty="0">
                  <a:ln>
                    <a:noFill/>
                  </a:ln>
                  <a:gradFill>
                    <a:gsLst>
                      <a:gs pos="0">
                        <a:schemeClr val="tx1"/>
                      </a:gs>
                      <a:gs pos="100000">
                        <a:schemeClr val="tx1"/>
                      </a:gs>
                    </a:gsLst>
                    <a:lin ang="5400000" scaled="0"/>
                  </a:gradFill>
                  <a:cs typeface="+mn-cs"/>
                </a:rPr>
                <a:t>License software </a:t>
              </a:r>
              <a:br>
                <a:rPr lang="en-US" sz="1400" b="0" kern="0" spc="0" dirty="0">
                  <a:ln>
                    <a:noFill/>
                  </a:ln>
                  <a:gradFill>
                    <a:gsLst>
                      <a:gs pos="0">
                        <a:schemeClr val="tx1"/>
                      </a:gs>
                      <a:gs pos="100000">
                        <a:schemeClr val="tx1"/>
                      </a:gs>
                    </a:gsLst>
                    <a:lin ang="5400000" scaled="0"/>
                  </a:gradFill>
                  <a:cs typeface="+mn-cs"/>
                </a:rPr>
              </a:br>
              <a:r>
                <a:rPr lang="en-US" sz="1400" b="0" kern="0" spc="0" dirty="0">
                  <a:ln>
                    <a:noFill/>
                  </a:ln>
                  <a:gradFill>
                    <a:gsLst>
                      <a:gs pos="0">
                        <a:schemeClr val="tx1"/>
                      </a:gs>
                      <a:gs pos="100000">
                        <a:schemeClr val="tx1"/>
                      </a:gs>
                    </a:gsLst>
                    <a:lin ang="5400000" scaled="0"/>
                  </a:gradFill>
                  <a:cs typeface="+mn-cs"/>
                </a:rPr>
                <a:t>and cloud services </a:t>
              </a:r>
              <a:br>
                <a:rPr lang="en-US" sz="1400" b="0" kern="0" spc="0" dirty="0">
                  <a:ln>
                    <a:noFill/>
                  </a:ln>
                  <a:gradFill>
                    <a:gsLst>
                      <a:gs pos="0">
                        <a:schemeClr val="tx1"/>
                      </a:gs>
                      <a:gs pos="100000">
                        <a:schemeClr val="tx1"/>
                      </a:gs>
                    </a:gsLst>
                    <a:lin ang="5400000" scaled="0"/>
                  </a:gradFill>
                  <a:cs typeface="+mn-cs"/>
                </a:rPr>
              </a:br>
              <a:r>
                <a:rPr lang="en-US" sz="1400" b="0" kern="0" spc="0" dirty="0">
                  <a:ln>
                    <a:noFill/>
                  </a:ln>
                  <a:gradFill>
                    <a:gsLst>
                      <a:gs pos="0">
                        <a:schemeClr val="tx1"/>
                      </a:gs>
                      <a:gs pos="100000">
                        <a:schemeClr val="tx1"/>
                      </a:gs>
                    </a:gsLst>
                    <a:lin ang="5400000" scaled="0"/>
                  </a:gradFill>
                  <a:cs typeface="+mn-cs"/>
                </a:rPr>
                <a:t>all in one agreement</a:t>
              </a:r>
            </a:p>
          </p:txBody>
        </p:sp>
      </p:grpSp>
      <p:grpSp>
        <p:nvGrpSpPr>
          <p:cNvPr id="36" name="Group 35"/>
          <p:cNvGrpSpPr/>
          <p:nvPr/>
        </p:nvGrpSpPr>
        <p:grpSpPr>
          <a:xfrm>
            <a:off x="3573233" y="868804"/>
            <a:ext cx="1997537" cy="1995839"/>
            <a:chOff x="4763068" y="1158404"/>
            <a:chExt cx="2662689" cy="2661118"/>
          </a:xfrm>
        </p:grpSpPr>
        <p:sp>
          <p:nvSpPr>
            <p:cNvPr id="30" name="Presentation Title Rectangle"/>
            <p:cNvSpPr txBox="1">
              <a:spLocks/>
            </p:cNvSpPr>
            <p:nvPr/>
          </p:nvSpPr>
          <p:spPr>
            <a:xfrm>
              <a:off x="4763068" y="1158404"/>
              <a:ext cx="2662689" cy="1330559"/>
            </a:xfrm>
            <a:prstGeom prst="rect">
              <a:avLst/>
            </a:prstGeom>
            <a:solidFill>
              <a:schemeClr val="accent1"/>
            </a:solidFill>
            <a:effectLst/>
          </p:spPr>
          <p:txBody>
            <a:bodyPr lIns="91440" tIns="91440" rIns="91440" bIns="91440" anchor="b" anchorCtr="0">
              <a:noAutofit/>
            </a:bodyPr>
            <a:lstStyle>
              <a:lvl1pPr algn="l" defTabSz="914363"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tileRect/>
                  </a:gradFill>
                  <a:effectLst/>
                  <a:latin typeface="+mj-lt"/>
                  <a:ea typeface="+mn-ea"/>
                  <a:cs typeface="Arial" charset="0"/>
                </a:defRPr>
              </a:lvl1pPr>
            </a:lstStyle>
            <a:p>
              <a:pPr>
                <a:defRPr/>
              </a:pPr>
              <a:r>
                <a:rPr lang="en-US" sz="1500" kern="0" spc="0" dirty="0">
                  <a:gradFill>
                    <a:gsLst>
                      <a:gs pos="0">
                        <a:schemeClr val="tx1"/>
                      </a:gs>
                      <a:gs pos="100000">
                        <a:schemeClr val="tx1"/>
                      </a:gs>
                    </a:gsLst>
                    <a:lin ang="5400000" scaled="0"/>
                  </a:gradFill>
                  <a:latin typeface="+mn-lt"/>
                </a:rPr>
                <a:t>Flexibility to Add </a:t>
              </a:r>
              <a:br>
                <a:rPr lang="en-US" sz="1500" kern="0" spc="0" dirty="0">
                  <a:gradFill>
                    <a:gsLst>
                      <a:gs pos="0">
                        <a:schemeClr val="tx1"/>
                      </a:gs>
                      <a:gs pos="100000">
                        <a:schemeClr val="tx1"/>
                      </a:gs>
                    </a:gsLst>
                    <a:lin ang="5400000" scaled="0"/>
                  </a:gradFill>
                  <a:latin typeface="+mn-lt"/>
                </a:rPr>
              </a:br>
              <a:r>
                <a:rPr lang="en-US" sz="1500" kern="0" spc="0" dirty="0">
                  <a:gradFill>
                    <a:gsLst>
                      <a:gs pos="0">
                        <a:schemeClr val="tx1"/>
                      </a:gs>
                      <a:gs pos="100000">
                        <a:schemeClr val="tx1"/>
                      </a:gs>
                    </a:gsLst>
                    <a:lin ang="5400000" scaled="0"/>
                  </a:gradFill>
                  <a:latin typeface="+mn-lt"/>
                </a:rPr>
                <a:t>or Adjust Products and Services</a:t>
              </a:r>
            </a:p>
          </p:txBody>
        </p:sp>
        <p:sp>
          <p:nvSpPr>
            <p:cNvPr id="31" name="Presentation Title Rectangle"/>
            <p:cNvSpPr txBox="1">
              <a:spLocks/>
            </p:cNvSpPr>
            <p:nvPr/>
          </p:nvSpPr>
          <p:spPr>
            <a:xfrm>
              <a:off x="4763068" y="2488963"/>
              <a:ext cx="2662689" cy="1330559"/>
            </a:xfrm>
            <a:prstGeom prst="rect">
              <a:avLst/>
            </a:prstGeom>
            <a:solidFill>
              <a:schemeClr val="bg2">
                <a:lumMod val="75000"/>
              </a:schemeClr>
            </a:solidFill>
            <a:effectLst/>
          </p:spPr>
          <p:txBody>
            <a:bodyPr lIns="91440" tIns="91440" rIns="91440" bIns="91440" anchor="t" anchorCtr="0">
              <a:noAutofit/>
            </a:bodyPr>
            <a:lstStyle>
              <a:lvl1pPr algn="l" defTabSz="914363"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tileRect/>
                  </a:gradFill>
                  <a:effectLst/>
                  <a:latin typeface="+mj-lt"/>
                  <a:ea typeface="+mn-ea"/>
                  <a:cs typeface="Arial" charset="0"/>
                </a:defRPr>
              </a:lvl1pPr>
            </a:lstStyle>
            <a:p>
              <a:pPr>
                <a:lnSpc>
                  <a:spcPct val="100000"/>
                </a:lnSpc>
                <a:spcBef>
                  <a:spcPts val="450"/>
                </a:spcBef>
                <a:defRPr/>
              </a:pPr>
              <a:r>
                <a:rPr lang="en-US" sz="1400" b="0" kern="0" spc="0" dirty="0">
                  <a:ln>
                    <a:noFill/>
                  </a:ln>
                  <a:gradFill>
                    <a:gsLst>
                      <a:gs pos="0">
                        <a:schemeClr val="tx1"/>
                      </a:gs>
                      <a:gs pos="100000">
                        <a:schemeClr val="tx1"/>
                      </a:gs>
                    </a:gsLst>
                    <a:lin ang="5400000" scaled="0"/>
                  </a:gradFill>
                  <a:cs typeface="+mn-cs"/>
                </a:rPr>
                <a:t>Match workloads of different types of users when needed</a:t>
              </a:r>
            </a:p>
          </p:txBody>
        </p:sp>
      </p:grpSp>
      <p:grpSp>
        <p:nvGrpSpPr>
          <p:cNvPr id="35" name="Group 34"/>
          <p:cNvGrpSpPr/>
          <p:nvPr/>
        </p:nvGrpSpPr>
        <p:grpSpPr>
          <a:xfrm>
            <a:off x="1482642" y="857327"/>
            <a:ext cx="1997537" cy="1995839"/>
            <a:chOff x="1976340" y="1143101"/>
            <a:chExt cx="2662689" cy="2661118"/>
          </a:xfrm>
        </p:grpSpPr>
        <p:sp>
          <p:nvSpPr>
            <p:cNvPr id="33" name="Presentation Title Rectangle"/>
            <p:cNvSpPr txBox="1">
              <a:spLocks/>
            </p:cNvSpPr>
            <p:nvPr/>
          </p:nvSpPr>
          <p:spPr>
            <a:xfrm>
              <a:off x="1976340" y="1143101"/>
              <a:ext cx="2662689" cy="1330559"/>
            </a:xfrm>
            <a:prstGeom prst="rect">
              <a:avLst/>
            </a:prstGeom>
            <a:solidFill>
              <a:schemeClr val="accent2"/>
            </a:solidFill>
            <a:effectLst/>
          </p:spPr>
          <p:txBody>
            <a:bodyPr lIns="91440" tIns="91440" rIns="91440" bIns="91440" anchor="b" anchorCtr="0">
              <a:noAutofit/>
            </a:bodyPr>
            <a:lstStyle>
              <a:lvl1pPr algn="l" defTabSz="914363"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tileRect/>
                  </a:gradFill>
                  <a:effectLst/>
                  <a:latin typeface="+mj-lt"/>
                  <a:ea typeface="+mn-ea"/>
                  <a:cs typeface="Arial" charset="0"/>
                </a:defRPr>
              </a:lvl1pPr>
            </a:lstStyle>
            <a:p>
              <a:pPr>
                <a:defRPr/>
              </a:pPr>
              <a:r>
                <a:rPr lang="en-US" sz="1500" kern="0" spc="0" dirty="0">
                  <a:gradFill>
                    <a:gsLst>
                      <a:gs pos="0">
                        <a:schemeClr val="tx1"/>
                      </a:gs>
                      <a:gs pos="100000">
                        <a:schemeClr val="tx1"/>
                      </a:gs>
                    </a:gsLst>
                    <a:lin ang="5400000" scaled="0"/>
                  </a:gradFill>
                  <a:latin typeface="+mn-lt"/>
                </a:rPr>
                <a:t>Deployment </a:t>
              </a:r>
              <a:br>
                <a:rPr lang="en-US" sz="1500" kern="0" spc="0" dirty="0">
                  <a:gradFill>
                    <a:gsLst>
                      <a:gs pos="0">
                        <a:schemeClr val="tx1"/>
                      </a:gs>
                      <a:gs pos="100000">
                        <a:schemeClr val="tx1"/>
                      </a:gs>
                    </a:gsLst>
                    <a:lin ang="5400000" scaled="0"/>
                  </a:gradFill>
                  <a:latin typeface="+mn-lt"/>
                </a:rPr>
              </a:br>
              <a:r>
                <a:rPr lang="en-US" sz="1500" kern="0" spc="0" dirty="0">
                  <a:gradFill>
                    <a:gsLst>
                      <a:gs pos="0">
                        <a:schemeClr val="tx1"/>
                      </a:gs>
                      <a:gs pos="100000">
                        <a:schemeClr val="tx1"/>
                      </a:gs>
                    </a:gsLst>
                    <a:lin ang="5400000" scaled="0"/>
                  </a:gradFill>
                  <a:latin typeface="+mn-lt"/>
                </a:rPr>
                <a:t>Choice</a:t>
              </a:r>
            </a:p>
          </p:txBody>
        </p:sp>
        <p:sp>
          <p:nvSpPr>
            <p:cNvPr id="34" name="Presentation Title Rectangle"/>
            <p:cNvSpPr txBox="1">
              <a:spLocks/>
            </p:cNvSpPr>
            <p:nvPr/>
          </p:nvSpPr>
          <p:spPr>
            <a:xfrm>
              <a:off x="1976340" y="2473660"/>
              <a:ext cx="2662689" cy="1330559"/>
            </a:xfrm>
            <a:prstGeom prst="rect">
              <a:avLst/>
            </a:prstGeom>
            <a:solidFill>
              <a:schemeClr val="bg2">
                <a:lumMod val="75000"/>
              </a:schemeClr>
            </a:solidFill>
            <a:effectLst/>
          </p:spPr>
          <p:txBody>
            <a:bodyPr lIns="91440" tIns="91440" rIns="91440" bIns="91440" anchor="t" anchorCtr="0">
              <a:noAutofit/>
            </a:bodyPr>
            <a:lstStyle>
              <a:lvl1pPr algn="l" defTabSz="914363"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tileRect/>
                  </a:gradFill>
                  <a:effectLst/>
                  <a:latin typeface="+mj-lt"/>
                  <a:ea typeface="+mn-ea"/>
                  <a:cs typeface="Arial" charset="0"/>
                </a:defRPr>
              </a:lvl1pPr>
            </a:lstStyle>
            <a:p>
              <a:pPr>
                <a:lnSpc>
                  <a:spcPct val="100000"/>
                </a:lnSpc>
                <a:spcBef>
                  <a:spcPts val="450"/>
                </a:spcBef>
                <a:defRPr/>
              </a:pPr>
              <a:r>
                <a:rPr lang="en-US" sz="1400" b="0" kern="0" spc="0" dirty="0">
                  <a:ln>
                    <a:noFill/>
                  </a:ln>
                  <a:gradFill>
                    <a:gsLst>
                      <a:gs pos="0">
                        <a:schemeClr val="tx1"/>
                      </a:gs>
                      <a:gs pos="100000">
                        <a:schemeClr val="tx1"/>
                      </a:gs>
                    </a:gsLst>
                    <a:lin ang="5400000" scaled="0"/>
                  </a:gradFill>
                  <a:cs typeface="+mn-cs"/>
                </a:rPr>
                <a:t>Deploy software On-Premises , Private and Public cloud </a:t>
              </a:r>
            </a:p>
          </p:txBody>
        </p:sp>
      </p:grpSp>
      <p:sp>
        <p:nvSpPr>
          <p:cNvPr id="23"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6"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pic>
        <p:nvPicPr>
          <p:cNvPr id="29"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686366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35"/>
                                        </p:tgtEl>
                                        <p:attrNameLst>
                                          <p:attrName>style.visibility</p:attrName>
                                        </p:attrNameLst>
                                      </p:cBhvr>
                                      <p:to>
                                        <p:strVal val="visible"/>
                                      </p:to>
                                    </p:set>
                                    <p:anim calcmode="lin" valueType="num">
                                      <p:cBhvr additive="base">
                                        <p:cTn id="7" dur="1000" fill="hold"/>
                                        <p:tgtEl>
                                          <p:spTgt spid="35"/>
                                        </p:tgtEl>
                                        <p:attrNameLst>
                                          <p:attrName>ppt_x</p:attrName>
                                        </p:attrNameLst>
                                      </p:cBhvr>
                                      <p:tavLst>
                                        <p:tav tm="0">
                                          <p:val>
                                            <p:strVal val="1+#ppt_w/2"/>
                                          </p:val>
                                        </p:tav>
                                        <p:tav tm="100000">
                                          <p:val>
                                            <p:strVal val="#ppt_x"/>
                                          </p:val>
                                        </p:tav>
                                      </p:tavLst>
                                    </p:anim>
                                    <p:anim calcmode="lin" valueType="num">
                                      <p:cBhvr additive="base">
                                        <p:cTn id="8" dur="1000" fill="hold"/>
                                        <p:tgtEl>
                                          <p:spTgt spid="35"/>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50"/>
                                  </p:stCondLst>
                                  <p:childTnLst>
                                    <p:set>
                                      <p:cBhvr>
                                        <p:cTn id="10" dur="1" fill="hold">
                                          <p:stCondLst>
                                            <p:cond delay="0"/>
                                          </p:stCondLst>
                                        </p:cTn>
                                        <p:tgtEl>
                                          <p:spTgt spid="36"/>
                                        </p:tgtEl>
                                        <p:attrNameLst>
                                          <p:attrName>style.visibility</p:attrName>
                                        </p:attrNameLst>
                                      </p:cBhvr>
                                      <p:to>
                                        <p:strVal val="visible"/>
                                      </p:to>
                                    </p:set>
                                    <p:anim calcmode="lin" valueType="num">
                                      <p:cBhvr additive="base">
                                        <p:cTn id="11" dur="1000" fill="hold"/>
                                        <p:tgtEl>
                                          <p:spTgt spid="36"/>
                                        </p:tgtEl>
                                        <p:attrNameLst>
                                          <p:attrName>ppt_x</p:attrName>
                                        </p:attrNameLst>
                                      </p:cBhvr>
                                      <p:tavLst>
                                        <p:tav tm="0">
                                          <p:val>
                                            <p:strVal val="1+#ppt_w/2"/>
                                          </p:val>
                                        </p:tav>
                                        <p:tav tm="100000">
                                          <p:val>
                                            <p:strVal val="#ppt_x"/>
                                          </p:val>
                                        </p:tav>
                                      </p:tavLst>
                                    </p:anim>
                                    <p:anim calcmode="lin" valueType="num">
                                      <p:cBhvr additive="base">
                                        <p:cTn id="12" dur="1000" fill="hold"/>
                                        <p:tgtEl>
                                          <p:spTgt spid="36"/>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500"/>
                                  </p:stCondLst>
                                  <p:childTnLst>
                                    <p:set>
                                      <p:cBhvr>
                                        <p:cTn id="14" dur="1" fill="hold">
                                          <p:stCondLst>
                                            <p:cond delay="0"/>
                                          </p:stCondLst>
                                        </p:cTn>
                                        <p:tgtEl>
                                          <p:spTgt spid="37"/>
                                        </p:tgtEl>
                                        <p:attrNameLst>
                                          <p:attrName>style.visibility</p:attrName>
                                        </p:attrNameLst>
                                      </p:cBhvr>
                                      <p:to>
                                        <p:strVal val="visible"/>
                                      </p:to>
                                    </p:set>
                                    <p:anim calcmode="lin" valueType="num">
                                      <p:cBhvr additive="base">
                                        <p:cTn id="15" dur="1000" fill="hold"/>
                                        <p:tgtEl>
                                          <p:spTgt spid="37"/>
                                        </p:tgtEl>
                                        <p:attrNameLst>
                                          <p:attrName>ppt_x</p:attrName>
                                        </p:attrNameLst>
                                      </p:cBhvr>
                                      <p:tavLst>
                                        <p:tav tm="0">
                                          <p:val>
                                            <p:strVal val="1+#ppt_w/2"/>
                                          </p:val>
                                        </p:tav>
                                        <p:tav tm="100000">
                                          <p:val>
                                            <p:strVal val="#ppt_x"/>
                                          </p:val>
                                        </p:tav>
                                      </p:tavLst>
                                    </p:anim>
                                    <p:anim calcmode="lin" valueType="num">
                                      <p:cBhvr additive="base">
                                        <p:cTn id="16" dur="1000" fill="hold"/>
                                        <p:tgtEl>
                                          <p:spTgt spid="37"/>
                                        </p:tgtEl>
                                        <p:attrNameLst>
                                          <p:attrName>ppt_y</p:attrName>
                                        </p:attrNameLst>
                                      </p:cBhvr>
                                      <p:tavLst>
                                        <p:tav tm="0">
                                          <p:val>
                                            <p:strVal val="#ppt_y"/>
                                          </p:val>
                                        </p:tav>
                                        <p:tav tm="100000">
                                          <p:val>
                                            <p:strVal val="#ppt_y"/>
                                          </p:val>
                                        </p:tav>
                                      </p:tavLst>
                                    </p:anim>
                                  </p:childTnLst>
                                </p:cTn>
                              </p:par>
                            </p:childTnLst>
                          </p:cTn>
                        </p:par>
                        <p:par>
                          <p:cTn id="17" fill="hold">
                            <p:stCondLst>
                              <p:cond delay="1500"/>
                            </p:stCondLst>
                            <p:childTnLst>
                              <p:par>
                                <p:cTn id="18" presetID="2" presetClass="entr" presetSubtype="2" decel="100000" fill="hold" nodeType="afterEffect">
                                  <p:stCondLst>
                                    <p:cond delay="0"/>
                                  </p:stCondLst>
                                  <p:childTnLst>
                                    <p:set>
                                      <p:cBhvr>
                                        <p:cTn id="19" dur="1" fill="hold">
                                          <p:stCondLst>
                                            <p:cond delay="0"/>
                                          </p:stCondLst>
                                        </p:cTn>
                                        <p:tgtEl>
                                          <p:spTgt spid="38"/>
                                        </p:tgtEl>
                                        <p:attrNameLst>
                                          <p:attrName>style.visibility</p:attrName>
                                        </p:attrNameLst>
                                      </p:cBhvr>
                                      <p:to>
                                        <p:strVal val="visible"/>
                                      </p:to>
                                    </p:set>
                                    <p:anim calcmode="lin" valueType="num">
                                      <p:cBhvr additive="base">
                                        <p:cTn id="20" dur="1000" fill="hold"/>
                                        <p:tgtEl>
                                          <p:spTgt spid="38"/>
                                        </p:tgtEl>
                                        <p:attrNameLst>
                                          <p:attrName>ppt_x</p:attrName>
                                        </p:attrNameLst>
                                      </p:cBhvr>
                                      <p:tavLst>
                                        <p:tav tm="0">
                                          <p:val>
                                            <p:strVal val="1+#ppt_w/2"/>
                                          </p:val>
                                        </p:tav>
                                        <p:tav tm="100000">
                                          <p:val>
                                            <p:strVal val="#ppt_x"/>
                                          </p:val>
                                        </p:tav>
                                      </p:tavLst>
                                    </p:anim>
                                    <p:anim calcmode="lin" valueType="num">
                                      <p:cBhvr additive="base">
                                        <p:cTn id="21" dur="1000" fill="hold"/>
                                        <p:tgtEl>
                                          <p:spTgt spid="38"/>
                                        </p:tgtEl>
                                        <p:attrNameLst>
                                          <p:attrName>ppt_y</p:attrName>
                                        </p:attrNameLst>
                                      </p:cBhvr>
                                      <p:tavLst>
                                        <p:tav tm="0">
                                          <p:val>
                                            <p:strVal val="#ppt_y"/>
                                          </p:val>
                                        </p:tav>
                                        <p:tav tm="100000">
                                          <p:val>
                                            <p:strVal val="#ppt_y"/>
                                          </p:val>
                                        </p:tav>
                                      </p:tavLst>
                                    </p:anim>
                                  </p:childTnLst>
                                </p:cTn>
                              </p:par>
                              <p:par>
                                <p:cTn id="22" presetID="2" presetClass="entr" presetSubtype="2" decel="100000" fill="hold" nodeType="withEffect">
                                  <p:stCondLst>
                                    <p:cond delay="250"/>
                                  </p:stCondLst>
                                  <p:childTnLst>
                                    <p:set>
                                      <p:cBhvr>
                                        <p:cTn id="23" dur="1" fill="hold">
                                          <p:stCondLst>
                                            <p:cond delay="0"/>
                                          </p:stCondLst>
                                        </p:cTn>
                                        <p:tgtEl>
                                          <p:spTgt spid="39"/>
                                        </p:tgtEl>
                                        <p:attrNameLst>
                                          <p:attrName>style.visibility</p:attrName>
                                        </p:attrNameLst>
                                      </p:cBhvr>
                                      <p:to>
                                        <p:strVal val="visible"/>
                                      </p:to>
                                    </p:set>
                                    <p:anim calcmode="lin" valueType="num">
                                      <p:cBhvr additive="base">
                                        <p:cTn id="24" dur="1000" fill="hold"/>
                                        <p:tgtEl>
                                          <p:spTgt spid="39"/>
                                        </p:tgtEl>
                                        <p:attrNameLst>
                                          <p:attrName>ppt_x</p:attrName>
                                        </p:attrNameLst>
                                      </p:cBhvr>
                                      <p:tavLst>
                                        <p:tav tm="0">
                                          <p:val>
                                            <p:strVal val="1+#ppt_w/2"/>
                                          </p:val>
                                        </p:tav>
                                        <p:tav tm="100000">
                                          <p:val>
                                            <p:strVal val="#ppt_x"/>
                                          </p:val>
                                        </p:tav>
                                      </p:tavLst>
                                    </p:anim>
                                    <p:anim calcmode="lin" valueType="num">
                                      <p:cBhvr additive="base">
                                        <p:cTn id="25" dur="1000" fill="hold"/>
                                        <p:tgtEl>
                                          <p:spTgt spid="39"/>
                                        </p:tgtEl>
                                        <p:attrNameLst>
                                          <p:attrName>ppt_y</p:attrName>
                                        </p:attrNameLst>
                                      </p:cBhvr>
                                      <p:tavLst>
                                        <p:tav tm="0">
                                          <p:val>
                                            <p:strVal val="#ppt_y"/>
                                          </p:val>
                                        </p:tav>
                                        <p:tav tm="100000">
                                          <p:val>
                                            <p:strVal val="#ppt_y"/>
                                          </p:val>
                                        </p:tav>
                                      </p:tavLst>
                                    </p:anim>
                                  </p:childTnLst>
                                </p:cTn>
                              </p:par>
                              <p:par>
                                <p:cTn id="26" presetID="2" presetClass="entr" presetSubtype="2" decel="100000" fill="hold" nodeType="withEffect">
                                  <p:stCondLst>
                                    <p:cond delay="500"/>
                                  </p:stCondLst>
                                  <p:childTnLst>
                                    <p:set>
                                      <p:cBhvr>
                                        <p:cTn id="27" dur="1" fill="hold">
                                          <p:stCondLst>
                                            <p:cond delay="0"/>
                                          </p:stCondLst>
                                        </p:cTn>
                                        <p:tgtEl>
                                          <p:spTgt spid="40"/>
                                        </p:tgtEl>
                                        <p:attrNameLst>
                                          <p:attrName>style.visibility</p:attrName>
                                        </p:attrNameLst>
                                      </p:cBhvr>
                                      <p:to>
                                        <p:strVal val="visible"/>
                                      </p:to>
                                    </p:set>
                                    <p:anim calcmode="lin" valueType="num">
                                      <p:cBhvr additive="base">
                                        <p:cTn id="28" dur="1000" fill="hold"/>
                                        <p:tgtEl>
                                          <p:spTgt spid="40"/>
                                        </p:tgtEl>
                                        <p:attrNameLst>
                                          <p:attrName>ppt_x</p:attrName>
                                        </p:attrNameLst>
                                      </p:cBhvr>
                                      <p:tavLst>
                                        <p:tav tm="0">
                                          <p:val>
                                            <p:strVal val="1+#ppt_w/2"/>
                                          </p:val>
                                        </p:tav>
                                        <p:tav tm="100000">
                                          <p:val>
                                            <p:strVal val="#ppt_x"/>
                                          </p:val>
                                        </p:tav>
                                      </p:tavLst>
                                    </p:anim>
                                    <p:anim calcmode="lin" valueType="num">
                                      <p:cBhvr additive="base">
                                        <p:cTn id="29" dur="1000" fill="hold"/>
                                        <p:tgtEl>
                                          <p:spTgt spid="4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692497"/>
          </a:xfrm>
        </p:spPr>
        <p:txBody>
          <a:bodyPr/>
          <a:lstStyle/>
          <a:p>
            <a:r>
              <a:rPr lang="en-US" dirty="0">
                <a:gradFill flip="none" rotWithShape="1">
                  <a:gsLst>
                    <a:gs pos="0">
                      <a:schemeClr val="tx1"/>
                    </a:gs>
                    <a:gs pos="100000">
                      <a:schemeClr val="tx1"/>
                    </a:gs>
                  </a:gsLst>
                  <a:lin ang="5400000" scaled="0"/>
                  <a:tileRect/>
                </a:gradFill>
              </a:rPr>
              <a:t>Smooth Transition to Cloud Services Over Time</a:t>
            </a:r>
            <a:br>
              <a:rPr lang="en-US" dirty="0">
                <a:gradFill flip="none" rotWithShape="1">
                  <a:gsLst>
                    <a:gs pos="0">
                      <a:schemeClr val="tx1"/>
                    </a:gs>
                    <a:gs pos="100000">
                      <a:schemeClr val="tx1"/>
                    </a:gs>
                  </a:gsLst>
                  <a:lin ang="5400000" scaled="0"/>
                  <a:tileRect/>
                </a:gradFill>
              </a:rPr>
            </a:br>
            <a:r>
              <a:rPr lang="en-US" sz="1700" dirty="0">
                <a:gradFill>
                  <a:gsLst>
                    <a:gs pos="0">
                      <a:schemeClr val="tx1"/>
                    </a:gs>
                    <a:gs pos="100000">
                      <a:schemeClr val="tx1"/>
                    </a:gs>
                  </a:gsLst>
                  <a:lin ang="5400000" scaled="0"/>
                </a:gradFill>
              </a:rPr>
              <a:t>EA flexibility enables the transition to a variety of cloud services optimized to user requirements</a:t>
            </a:r>
          </a:p>
        </p:txBody>
      </p:sp>
      <p:grpSp>
        <p:nvGrpSpPr>
          <p:cNvPr id="3" name="Group 2"/>
          <p:cNvGrpSpPr/>
          <p:nvPr/>
        </p:nvGrpSpPr>
        <p:grpSpPr>
          <a:xfrm>
            <a:off x="381386" y="2268454"/>
            <a:ext cx="1846854" cy="1673352"/>
            <a:chOff x="508381" y="3024605"/>
            <a:chExt cx="2461831" cy="2231136"/>
          </a:xfrm>
        </p:grpSpPr>
        <p:sp>
          <p:nvSpPr>
            <p:cNvPr id="8" name="Rectangle 7"/>
            <p:cNvSpPr/>
            <p:nvPr/>
          </p:nvSpPr>
          <p:spPr bwMode="auto">
            <a:xfrm>
              <a:off x="508381" y="3024605"/>
              <a:ext cx="2461831" cy="2231136"/>
            </a:xfrm>
            <a:prstGeom prst="rect">
              <a:avLst/>
            </a:prstGeom>
            <a:solidFill>
              <a:schemeClr val="bg2">
                <a:lumMod val="75000"/>
              </a:schemeClr>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91440" rIns="91436" bIns="91440" numCol="1" rtlCol="0" anchor="t" anchorCtr="0" compatLnSpc="1">
              <a:prstTxWarp prst="textNoShape">
                <a:avLst/>
              </a:prstTxWarp>
              <a:noAutofit/>
            </a:bodyPr>
            <a:lstStyle/>
            <a:p>
              <a:pPr defTabSz="342931"/>
              <a:r>
                <a:rPr lang="en-US" altLang="zh-CN" sz="1200" dirty="0">
                  <a:gradFill>
                    <a:gsLst>
                      <a:gs pos="0">
                        <a:schemeClr val="tx1"/>
                      </a:gs>
                      <a:gs pos="100000">
                        <a:schemeClr val="tx1"/>
                      </a:gs>
                    </a:gsLst>
                    <a:lin ang="5400000" scaled="0"/>
                  </a:gradFill>
                </a:rPr>
                <a:t>Start:</a:t>
              </a:r>
            </a:p>
            <a:p>
              <a:pPr defTabSz="342931"/>
              <a:r>
                <a:rPr lang="en-US" altLang="zh-CN" sz="1100" dirty="0">
                  <a:gradFill>
                    <a:gsLst>
                      <a:gs pos="0">
                        <a:schemeClr val="tx1"/>
                      </a:gs>
                      <a:gs pos="100000">
                        <a:schemeClr val="tx1"/>
                      </a:gs>
                    </a:gsLst>
                    <a:lin ang="5400000" scaled="0"/>
                  </a:gradFill>
                </a:rPr>
                <a:t>5000 On-Premises Devices</a:t>
              </a:r>
            </a:p>
          </p:txBody>
        </p:sp>
        <p:pic>
          <p:nvPicPr>
            <p:cNvPr id="4" name="Picture 2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7960" y="4313291"/>
              <a:ext cx="2062672" cy="4379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7" name="Group 16"/>
          <p:cNvGrpSpPr/>
          <p:nvPr/>
        </p:nvGrpSpPr>
        <p:grpSpPr>
          <a:xfrm>
            <a:off x="2553651" y="1184148"/>
            <a:ext cx="1846854" cy="1673352"/>
            <a:chOff x="3403981" y="1578864"/>
            <a:chExt cx="2461831" cy="2231136"/>
          </a:xfrm>
        </p:grpSpPr>
        <p:sp>
          <p:nvSpPr>
            <p:cNvPr id="9" name="Rectangle 8"/>
            <p:cNvSpPr/>
            <p:nvPr/>
          </p:nvSpPr>
          <p:spPr bwMode="auto">
            <a:xfrm>
              <a:off x="3403981" y="1578864"/>
              <a:ext cx="2461831" cy="2231136"/>
            </a:xfrm>
            <a:prstGeom prst="rect">
              <a:avLst/>
            </a:prstGeom>
            <a:solidFill>
              <a:schemeClr val="bg2">
                <a:lumMod val="75000"/>
              </a:schemeClr>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91440" rIns="91436" bIns="91440" numCol="1" rtlCol="0" anchor="t" anchorCtr="0" compatLnSpc="1">
              <a:prstTxWarp prst="textNoShape">
                <a:avLst/>
              </a:prstTxWarp>
              <a:noAutofit/>
            </a:bodyPr>
            <a:lstStyle/>
            <a:p>
              <a:pPr defTabSz="342931"/>
              <a:r>
                <a:rPr lang="en-US" altLang="zh-CN" sz="1200" dirty="0">
                  <a:gradFill>
                    <a:gsLst>
                      <a:gs pos="0">
                        <a:schemeClr val="tx1"/>
                      </a:gs>
                      <a:gs pos="100000">
                        <a:schemeClr val="tx1"/>
                      </a:gs>
                    </a:gsLst>
                    <a:lin ang="5400000" scaled="0"/>
                  </a:gradFill>
                </a:rPr>
                <a:t>End Year 1:</a:t>
              </a:r>
            </a:p>
            <a:p>
              <a:pPr defTabSz="342931"/>
              <a:r>
                <a:rPr lang="en-US" altLang="zh-CN" sz="1100" dirty="0">
                  <a:gradFill>
                    <a:gsLst>
                      <a:gs pos="0">
                        <a:schemeClr val="tx1"/>
                      </a:gs>
                      <a:gs pos="100000">
                        <a:schemeClr val="tx1"/>
                      </a:gs>
                    </a:gsLst>
                    <a:lin ang="5400000" scaled="0"/>
                  </a:gradFill>
                </a:rPr>
                <a:t>2500 On-Premises Devices, </a:t>
              </a:r>
              <a:br>
                <a:rPr lang="en-US" altLang="zh-CN" sz="1100" dirty="0">
                  <a:gradFill>
                    <a:gsLst>
                      <a:gs pos="0">
                        <a:schemeClr val="tx1"/>
                      </a:gs>
                      <a:gs pos="100000">
                        <a:schemeClr val="tx1"/>
                      </a:gs>
                    </a:gsLst>
                    <a:lin ang="5400000" scaled="0"/>
                  </a:gradFill>
                </a:rPr>
              </a:br>
              <a:r>
                <a:rPr lang="en-US" altLang="zh-CN" sz="1100" dirty="0">
                  <a:gradFill>
                    <a:gsLst>
                      <a:gs pos="0">
                        <a:schemeClr val="tx1"/>
                      </a:gs>
                      <a:gs pos="100000">
                        <a:schemeClr val="tx1"/>
                      </a:gs>
                    </a:gsLst>
                    <a:lin ang="5400000" scaled="0"/>
                  </a:gradFill>
                </a:rPr>
                <a:t>2500 Users of cloud services</a:t>
              </a:r>
            </a:p>
          </p:txBody>
        </p:sp>
        <p:pic>
          <p:nvPicPr>
            <p:cNvPr id="5" name="Picture 2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89076" y="2615382"/>
              <a:ext cx="1691640" cy="9444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4725918" y="1184148"/>
            <a:ext cx="1846854" cy="1673352"/>
            <a:chOff x="6299581" y="1578864"/>
            <a:chExt cx="2461831" cy="2231136"/>
          </a:xfrm>
        </p:grpSpPr>
        <p:sp>
          <p:nvSpPr>
            <p:cNvPr id="10" name="Rectangle 9"/>
            <p:cNvSpPr/>
            <p:nvPr/>
          </p:nvSpPr>
          <p:spPr bwMode="auto">
            <a:xfrm>
              <a:off x="6299581" y="1578864"/>
              <a:ext cx="2461831" cy="2231136"/>
            </a:xfrm>
            <a:prstGeom prst="rect">
              <a:avLst/>
            </a:prstGeom>
            <a:solidFill>
              <a:schemeClr val="bg2">
                <a:lumMod val="75000"/>
              </a:schemeClr>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91440" rIns="91436" bIns="91440" numCol="1" rtlCol="0" anchor="t" anchorCtr="0" compatLnSpc="1">
              <a:prstTxWarp prst="textNoShape">
                <a:avLst/>
              </a:prstTxWarp>
              <a:noAutofit/>
            </a:bodyPr>
            <a:lstStyle/>
            <a:p>
              <a:pPr defTabSz="342931"/>
              <a:r>
                <a:rPr lang="en-US" altLang="zh-CN" sz="1200" dirty="0">
                  <a:gradFill>
                    <a:gsLst>
                      <a:gs pos="0">
                        <a:schemeClr val="tx1"/>
                      </a:gs>
                      <a:gs pos="100000">
                        <a:schemeClr val="tx1"/>
                      </a:gs>
                    </a:gsLst>
                    <a:lin ang="5400000" scaled="0"/>
                  </a:gradFill>
                </a:rPr>
                <a:t>End Year 2:</a:t>
              </a:r>
            </a:p>
            <a:p>
              <a:pPr defTabSz="342931"/>
              <a:r>
                <a:rPr lang="en-US" altLang="zh-CN" sz="1100" dirty="0">
                  <a:gradFill>
                    <a:gsLst>
                      <a:gs pos="0">
                        <a:schemeClr val="tx1"/>
                      </a:gs>
                      <a:gs pos="100000">
                        <a:schemeClr val="tx1"/>
                      </a:gs>
                    </a:gsLst>
                    <a:lin ang="5400000" scaled="0"/>
                  </a:gradFill>
                </a:rPr>
                <a:t>1500 On-Premises Devices, </a:t>
              </a:r>
              <a:br>
                <a:rPr lang="en-US" altLang="zh-CN" sz="1100" dirty="0">
                  <a:gradFill>
                    <a:gsLst>
                      <a:gs pos="0">
                        <a:schemeClr val="tx1"/>
                      </a:gs>
                      <a:gs pos="100000">
                        <a:schemeClr val="tx1"/>
                      </a:gs>
                    </a:gsLst>
                    <a:lin ang="5400000" scaled="0"/>
                  </a:gradFill>
                </a:rPr>
              </a:br>
              <a:r>
                <a:rPr lang="en-US" altLang="zh-CN" sz="1100" dirty="0">
                  <a:gradFill>
                    <a:gsLst>
                      <a:gs pos="0">
                        <a:schemeClr val="tx1"/>
                      </a:gs>
                      <a:gs pos="100000">
                        <a:schemeClr val="tx1"/>
                      </a:gs>
                    </a:gsLst>
                    <a:lin ang="5400000" scaled="0"/>
                  </a:gradFill>
                </a:rPr>
                <a:t>3500 Users of cloud services</a:t>
              </a:r>
            </a:p>
          </p:txBody>
        </p:sp>
        <p:pic>
          <p:nvPicPr>
            <p:cNvPr id="6" name="Picture 2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75438" y="2493264"/>
              <a:ext cx="1310115" cy="1188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9" name="Group 18"/>
          <p:cNvGrpSpPr/>
          <p:nvPr/>
        </p:nvGrpSpPr>
        <p:grpSpPr>
          <a:xfrm>
            <a:off x="6898183" y="2268454"/>
            <a:ext cx="1846854" cy="1674896"/>
            <a:chOff x="9195182" y="3024606"/>
            <a:chExt cx="2461831" cy="2233194"/>
          </a:xfrm>
        </p:grpSpPr>
        <p:sp>
          <p:nvSpPr>
            <p:cNvPr id="11" name="Rectangle 10"/>
            <p:cNvSpPr/>
            <p:nvPr/>
          </p:nvSpPr>
          <p:spPr bwMode="auto">
            <a:xfrm>
              <a:off x="9195182" y="3024606"/>
              <a:ext cx="2461831" cy="2233194"/>
            </a:xfrm>
            <a:prstGeom prst="rect">
              <a:avLst/>
            </a:prstGeom>
            <a:solidFill>
              <a:schemeClr val="bg2">
                <a:lumMod val="75000"/>
              </a:schemeClr>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91440" rIns="91436" bIns="91440" numCol="1" rtlCol="0" anchor="t" anchorCtr="0" compatLnSpc="1">
              <a:prstTxWarp prst="textNoShape">
                <a:avLst/>
              </a:prstTxWarp>
              <a:noAutofit/>
            </a:bodyPr>
            <a:lstStyle/>
            <a:p>
              <a:pPr defTabSz="342931"/>
              <a:r>
                <a:rPr lang="en-US" altLang="zh-CN" sz="1200" dirty="0">
                  <a:gradFill>
                    <a:gsLst>
                      <a:gs pos="0">
                        <a:schemeClr val="tx1"/>
                      </a:gs>
                      <a:gs pos="100000">
                        <a:schemeClr val="tx1"/>
                      </a:gs>
                    </a:gsLst>
                    <a:lin ang="5400000" scaled="0"/>
                  </a:gradFill>
                </a:rPr>
                <a:t>End Year 3:</a:t>
              </a:r>
            </a:p>
            <a:p>
              <a:pPr defTabSz="342931"/>
              <a:r>
                <a:rPr lang="en-US" altLang="zh-CN" sz="1100" dirty="0">
                  <a:gradFill>
                    <a:gsLst>
                      <a:gs pos="0">
                        <a:schemeClr val="tx1"/>
                      </a:gs>
                      <a:gs pos="100000">
                        <a:schemeClr val="tx1"/>
                      </a:gs>
                    </a:gsLst>
                    <a:lin ang="5400000" scaled="0"/>
                  </a:gradFill>
                </a:rPr>
                <a:t>5000 Users of cloud services</a:t>
              </a:r>
            </a:p>
          </p:txBody>
        </p:sp>
        <p:pic>
          <p:nvPicPr>
            <p:cNvPr id="7" name="Picture 2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600770" y="3938785"/>
              <a:ext cx="1692070" cy="11870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2" name="Freeform 8"/>
          <p:cNvSpPr>
            <a:spLocks/>
          </p:cNvSpPr>
          <p:nvPr/>
        </p:nvSpPr>
        <p:spPr bwMode="auto">
          <a:xfrm rot="21097023">
            <a:off x="1888391" y="2385715"/>
            <a:ext cx="831267" cy="494582"/>
          </a:xfrm>
          <a:custGeom>
            <a:avLst/>
            <a:gdLst>
              <a:gd name="T0" fmla="*/ 371 w 484"/>
              <a:gd name="T1" fmla="*/ 25 h 217"/>
              <a:gd name="T2" fmla="*/ 152 w 484"/>
              <a:gd name="T3" fmla="*/ 108 h 217"/>
              <a:gd name="T4" fmla="*/ 0 w 484"/>
              <a:gd name="T5" fmla="*/ 183 h 217"/>
              <a:gd name="T6" fmla="*/ 22 w 484"/>
              <a:gd name="T7" fmla="*/ 217 h 217"/>
              <a:gd name="T8" fmla="*/ 168 w 484"/>
              <a:gd name="T9" fmla="*/ 145 h 217"/>
              <a:gd name="T10" fmla="*/ 386 w 484"/>
              <a:gd name="T11" fmla="*/ 63 h 217"/>
              <a:gd name="T12" fmla="*/ 393 w 484"/>
              <a:gd name="T13" fmla="*/ 81 h 217"/>
              <a:gd name="T14" fmla="*/ 484 w 484"/>
              <a:gd name="T15" fmla="*/ 0 h 217"/>
              <a:gd name="T16" fmla="*/ 363 w 484"/>
              <a:gd name="T17" fmla="*/ 5 h 217"/>
              <a:gd name="T18" fmla="*/ 371 w 484"/>
              <a:gd name="T19" fmla="*/ 25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4" h="217">
                <a:moveTo>
                  <a:pt x="371" y="25"/>
                </a:moveTo>
                <a:cubicBezTo>
                  <a:pt x="294" y="50"/>
                  <a:pt x="221" y="78"/>
                  <a:pt x="152" y="108"/>
                </a:cubicBezTo>
                <a:cubicBezTo>
                  <a:pt x="97" y="132"/>
                  <a:pt x="47" y="157"/>
                  <a:pt x="0" y="183"/>
                </a:cubicBezTo>
                <a:cubicBezTo>
                  <a:pt x="22" y="217"/>
                  <a:pt x="22" y="217"/>
                  <a:pt x="22" y="217"/>
                </a:cubicBezTo>
                <a:cubicBezTo>
                  <a:pt x="67" y="192"/>
                  <a:pt x="115" y="168"/>
                  <a:pt x="168" y="145"/>
                </a:cubicBezTo>
                <a:cubicBezTo>
                  <a:pt x="236" y="115"/>
                  <a:pt x="309" y="87"/>
                  <a:pt x="386" y="63"/>
                </a:cubicBezTo>
                <a:cubicBezTo>
                  <a:pt x="393" y="81"/>
                  <a:pt x="393" y="81"/>
                  <a:pt x="393" y="81"/>
                </a:cubicBezTo>
                <a:cubicBezTo>
                  <a:pt x="484" y="0"/>
                  <a:pt x="484" y="0"/>
                  <a:pt x="484" y="0"/>
                </a:cubicBezTo>
                <a:cubicBezTo>
                  <a:pt x="363" y="5"/>
                  <a:pt x="363" y="5"/>
                  <a:pt x="363" y="5"/>
                </a:cubicBezTo>
                <a:lnTo>
                  <a:pt x="371" y="25"/>
                </a:lnTo>
                <a:close/>
              </a:path>
            </a:pathLst>
          </a:custGeom>
          <a:gradFill flip="none" rotWithShape="1">
            <a:gsLst>
              <a:gs pos="0">
                <a:schemeClr val="tx1">
                  <a:alpha val="0"/>
                </a:schemeClr>
              </a:gs>
              <a:gs pos="100000">
                <a:schemeClr val="tx1"/>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lIns="68586" tIns="34294" rIns="68586" bIns="34294" rtlCol="0" anchor="ctr"/>
          <a:lstStyle/>
          <a:p>
            <a:pPr algn="ctr" defTabSz="342931"/>
            <a:endParaRPr lang="en-US" sz="900" dirty="0">
              <a:solidFill>
                <a:prstClr val="white"/>
              </a:solidFill>
            </a:endParaRPr>
          </a:p>
        </p:txBody>
      </p:sp>
      <p:sp>
        <p:nvSpPr>
          <p:cNvPr id="13" name="Freeform 9"/>
          <p:cNvSpPr>
            <a:spLocks/>
          </p:cNvSpPr>
          <p:nvPr/>
        </p:nvSpPr>
        <p:spPr bwMode="auto">
          <a:xfrm>
            <a:off x="4179587" y="1961436"/>
            <a:ext cx="784826" cy="198835"/>
          </a:xfrm>
          <a:custGeom>
            <a:avLst/>
            <a:gdLst>
              <a:gd name="T0" fmla="*/ 204 w 319"/>
              <a:gd name="T1" fmla="*/ 19 h 81"/>
              <a:gd name="T2" fmla="*/ 0 w 319"/>
              <a:gd name="T3" fmla="*/ 25 h 81"/>
              <a:gd name="T4" fmla="*/ 1 w 319"/>
              <a:gd name="T5" fmla="*/ 65 h 81"/>
              <a:gd name="T6" fmla="*/ 204 w 319"/>
              <a:gd name="T7" fmla="*/ 59 h 81"/>
              <a:gd name="T8" fmla="*/ 204 w 319"/>
              <a:gd name="T9" fmla="*/ 81 h 81"/>
              <a:gd name="T10" fmla="*/ 319 w 319"/>
              <a:gd name="T11" fmla="*/ 39 h 81"/>
              <a:gd name="T12" fmla="*/ 204 w 319"/>
              <a:gd name="T13" fmla="*/ 0 h 81"/>
              <a:gd name="T14" fmla="*/ 204 w 319"/>
              <a:gd name="T15" fmla="*/ 19 h 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9" h="81">
                <a:moveTo>
                  <a:pt x="204" y="19"/>
                </a:moveTo>
                <a:cubicBezTo>
                  <a:pt x="136" y="19"/>
                  <a:pt x="67" y="21"/>
                  <a:pt x="0" y="25"/>
                </a:cubicBezTo>
                <a:cubicBezTo>
                  <a:pt x="1" y="65"/>
                  <a:pt x="1" y="65"/>
                  <a:pt x="1" y="65"/>
                </a:cubicBezTo>
                <a:cubicBezTo>
                  <a:pt x="68" y="61"/>
                  <a:pt x="136" y="60"/>
                  <a:pt x="204" y="59"/>
                </a:cubicBezTo>
                <a:cubicBezTo>
                  <a:pt x="204" y="81"/>
                  <a:pt x="204" y="81"/>
                  <a:pt x="204" y="81"/>
                </a:cubicBezTo>
                <a:cubicBezTo>
                  <a:pt x="319" y="39"/>
                  <a:pt x="319" y="39"/>
                  <a:pt x="319" y="39"/>
                </a:cubicBezTo>
                <a:cubicBezTo>
                  <a:pt x="204" y="0"/>
                  <a:pt x="204" y="0"/>
                  <a:pt x="204" y="0"/>
                </a:cubicBezTo>
                <a:lnTo>
                  <a:pt x="204" y="19"/>
                </a:lnTo>
                <a:close/>
              </a:path>
            </a:pathLst>
          </a:custGeom>
          <a:gradFill flip="none" rotWithShape="1">
            <a:gsLst>
              <a:gs pos="0">
                <a:schemeClr val="tx1">
                  <a:alpha val="0"/>
                </a:schemeClr>
              </a:gs>
              <a:gs pos="100000">
                <a:schemeClr val="tx1"/>
              </a:gs>
            </a:gsLst>
            <a:lin ang="0" scaled="0"/>
            <a:tileRect/>
          </a:gradFill>
          <a:ln>
            <a:noFill/>
          </a:ln>
        </p:spPr>
        <p:txBody>
          <a:bodyPr vert="horz" wrap="square" lIns="68586" tIns="34294" rIns="68586" bIns="34294" numCol="1" anchor="t" anchorCtr="0" compatLnSpc="1">
            <a:prstTxWarp prst="textNoShape">
              <a:avLst/>
            </a:prstTxWarp>
          </a:bodyPr>
          <a:lstStyle/>
          <a:p>
            <a:endParaRPr lang="en-US" dirty="0">
              <a:solidFill>
                <a:prstClr val="black"/>
              </a:solidFill>
            </a:endParaRPr>
          </a:p>
        </p:txBody>
      </p:sp>
      <p:sp>
        <p:nvSpPr>
          <p:cNvPr id="14" name="Freeform 10"/>
          <p:cNvSpPr>
            <a:spLocks/>
          </p:cNvSpPr>
          <p:nvPr/>
        </p:nvSpPr>
        <p:spPr bwMode="auto">
          <a:xfrm rot="1139065">
            <a:off x="6196895" y="2702323"/>
            <a:ext cx="907493" cy="297656"/>
          </a:xfrm>
          <a:custGeom>
            <a:avLst/>
            <a:gdLst>
              <a:gd name="T0" fmla="*/ 369 w 369"/>
              <a:gd name="T1" fmla="*/ 111 h 121"/>
              <a:gd name="T2" fmla="*/ 269 w 369"/>
              <a:gd name="T3" fmla="*/ 43 h 121"/>
              <a:gd name="T4" fmla="*/ 264 w 369"/>
              <a:gd name="T5" fmla="*/ 61 h 121"/>
              <a:gd name="T6" fmla="*/ 9 w 369"/>
              <a:gd name="T7" fmla="*/ 0 h 121"/>
              <a:gd name="T8" fmla="*/ 0 w 369"/>
              <a:gd name="T9" fmla="*/ 39 h 121"/>
              <a:gd name="T10" fmla="*/ 253 w 369"/>
              <a:gd name="T11" fmla="*/ 99 h 121"/>
              <a:gd name="T12" fmla="*/ 247 w 369"/>
              <a:gd name="T13" fmla="*/ 121 h 121"/>
              <a:gd name="T14" fmla="*/ 369 w 369"/>
              <a:gd name="T15" fmla="*/ 111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9" h="121">
                <a:moveTo>
                  <a:pt x="369" y="111"/>
                </a:moveTo>
                <a:cubicBezTo>
                  <a:pt x="269" y="43"/>
                  <a:pt x="269" y="43"/>
                  <a:pt x="269" y="43"/>
                </a:cubicBezTo>
                <a:cubicBezTo>
                  <a:pt x="264" y="61"/>
                  <a:pt x="264" y="61"/>
                  <a:pt x="264" y="61"/>
                </a:cubicBezTo>
                <a:cubicBezTo>
                  <a:pt x="183" y="37"/>
                  <a:pt x="97" y="17"/>
                  <a:pt x="9" y="0"/>
                </a:cubicBezTo>
                <a:cubicBezTo>
                  <a:pt x="0" y="39"/>
                  <a:pt x="0" y="39"/>
                  <a:pt x="0" y="39"/>
                </a:cubicBezTo>
                <a:cubicBezTo>
                  <a:pt x="88" y="56"/>
                  <a:pt x="172" y="76"/>
                  <a:pt x="253" y="99"/>
                </a:cubicBezTo>
                <a:cubicBezTo>
                  <a:pt x="247" y="121"/>
                  <a:pt x="247" y="121"/>
                  <a:pt x="247" y="121"/>
                </a:cubicBezTo>
                <a:lnTo>
                  <a:pt x="369" y="111"/>
                </a:lnTo>
                <a:close/>
              </a:path>
            </a:pathLst>
          </a:custGeom>
          <a:gradFill flip="none" rotWithShape="1">
            <a:gsLst>
              <a:gs pos="0">
                <a:schemeClr val="tx1">
                  <a:alpha val="0"/>
                </a:schemeClr>
              </a:gs>
              <a:gs pos="100000">
                <a:schemeClr val="tx1"/>
              </a:gs>
            </a:gsLst>
            <a:lin ang="0" scaled="0"/>
            <a:tileRect/>
          </a:gradFill>
          <a:ln>
            <a:noFill/>
          </a:ln>
        </p:spPr>
        <p:txBody>
          <a:bodyPr vert="horz" wrap="square" lIns="68586" tIns="34294" rIns="68586" bIns="34294" numCol="1" anchor="t" anchorCtr="0" compatLnSpc="1">
            <a:prstTxWarp prst="textNoShape">
              <a:avLst/>
            </a:prstTxWarp>
          </a:bodyPr>
          <a:lstStyle/>
          <a:p>
            <a:endParaRPr lang="en-US" dirty="0">
              <a:solidFill>
                <a:prstClr val="black"/>
              </a:solidFill>
            </a:endParaRPr>
          </a:p>
        </p:txBody>
      </p:sp>
      <p:pic>
        <p:nvPicPr>
          <p:cNvPr id="15" name="Picture 14"/>
          <p:cNvPicPr>
            <a:picLocks noChangeAspect="1"/>
          </p:cNvPicPr>
          <p:nvPr/>
        </p:nvPicPr>
        <p:blipFill rotWithShape="1">
          <a:blip r:embed="rId7">
            <a:extLst>
              <a:ext uri="{28A0092B-C50C-407E-A947-70E740481C1C}">
                <a14:useLocalDpi xmlns:a14="http://schemas.microsoft.com/office/drawing/2010/main" val="0"/>
              </a:ext>
            </a:extLst>
          </a:blip>
          <a:srcRect b="70000"/>
          <a:stretch/>
        </p:blipFill>
        <p:spPr>
          <a:xfrm>
            <a:off x="1361965" y="3600450"/>
            <a:ext cx="6420071" cy="1543050"/>
          </a:xfrm>
          <a:prstGeom prst="rect">
            <a:avLst/>
          </a:prstGeom>
        </p:spPr>
      </p:pic>
      <p:sp>
        <p:nvSpPr>
          <p:cNvPr id="20"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1"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8"/>
              </a:rPr>
              <a:t>www.rapidbbs.cn</a:t>
            </a:r>
            <a:endParaRPr lang="zh-CN" altLang="en-US" sz="1200" b="0">
              <a:latin typeface="Arial" charset="0"/>
              <a:ea typeface="ＭＳ Ｐゴシック" pitchFamily="34" charset="-128"/>
            </a:endParaRPr>
          </a:p>
        </p:txBody>
      </p:sp>
      <p:pic>
        <p:nvPicPr>
          <p:cNvPr id="22" name="Picture 2">
            <a:hlinkClick r:id="rId8"/>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173939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1000"/>
                                        <p:tgtEl>
                                          <p:spTgt spid="15"/>
                                        </p:tgtEl>
                                      </p:cBhvr>
                                    </p:animEffect>
                                    <p:anim calcmode="lin" valueType="num">
                                      <p:cBhvr>
                                        <p:cTn id="8" dur="1000" fill="hold"/>
                                        <p:tgtEl>
                                          <p:spTgt spid="15"/>
                                        </p:tgtEl>
                                        <p:attrNameLst>
                                          <p:attrName>ppt_x</p:attrName>
                                        </p:attrNameLst>
                                      </p:cBhvr>
                                      <p:tavLst>
                                        <p:tav tm="0">
                                          <p:val>
                                            <p:strVal val="#ppt_x"/>
                                          </p:val>
                                        </p:tav>
                                        <p:tav tm="100000">
                                          <p:val>
                                            <p:strVal val="#ppt_x"/>
                                          </p:val>
                                        </p:tav>
                                      </p:tavLst>
                                    </p:anim>
                                    <p:anim calcmode="lin" valueType="num">
                                      <p:cBhvr>
                                        <p:cTn id="9" dur="1000" fill="hold"/>
                                        <p:tgtEl>
                                          <p:spTgt spid="15"/>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10" presetClass="entr" presetSubtype="0" fill="hold" nodeType="after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childTnLst>
                          </p:cTn>
                        </p:par>
                        <p:par>
                          <p:cTn id="14" fill="hold">
                            <p:stCondLst>
                              <p:cond delay="1500"/>
                            </p:stCondLst>
                            <p:childTnLst>
                              <p:par>
                                <p:cTn id="15" presetID="22" presetClass="entr" presetSubtype="8" fill="hold" grpId="0" nodeType="after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wipe(left)">
                                      <p:cBhvr>
                                        <p:cTn id="17" dur="500"/>
                                        <p:tgtEl>
                                          <p:spTgt spid="12"/>
                                        </p:tgtEl>
                                      </p:cBhvr>
                                    </p:animEffect>
                                  </p:childTnLst>
                                </p:cTn>
                              </p:par>
                            </p:childTnLst>
                          </p:cTn>
                        </p:par>
                        <p:par>
                          <p:cTn id="18" fill="hold">
                            <p:stCondLst>
                              <p:cond delay="2000"/>
                            </p:stCondLst>
                            <p:childTnLst>
                              <p:par>
                                <p:cTn id="19" presetID="10" presetClass="entr" presetSubtype="0" fill="hold" nodeType="afterEffect">
                                  <p:stCondLst>
                                    <p:cond delay="0"/>
                                  </p:stCondLst>
                                  <p:childTnLst>
                                    <p:set>
                                      <p:cBhvr>
                                        <p:cTn id="20" dur="1" fill="hold">
                                          <p:stCondLst>
                                            <p:cond delay="0"/>
                                          </p:stCondLst>
                                        </p:cTn>
                                        <p:tgtEl>
                                          <p:spTgt spid="17"/>
                                        </p:tgtEl>
                                        <p:attrNameLst>
                                          <p:attrName>style.visibility</p:attrName>
                                        </p:attrNameLst>
                                      </p:cBhvr>
                                      <p:to>
                                        <p:strVal val="visible"/>
                                      </p:to>
                                    </p:set>
                                    <p:animEffect transition="in" filter="fade">
                                      <p:cBhvr>
                                        <p:cTn id="21" dur="500"/>
                                        <p:tgtEl>
                                          <p:spTgt spid="17"/>
                                        </p:tgtEl>
                                      </p:cBhvr>
                                    </p:animEffect>
                                  </p:childTnLst>
                                </p:cTn>
                              </p:par>
                            </p:childTnLst>
                          </p:cTn>
                        </p:par>
                        <p:par>
                          <p:cTn id="22" fill="hold">
                            <p:stCondLst>
                              <p:cond delay="2500"/>
                            </p:stCondLst>
                            <p:childTnLst>
                              <p:par>
                                <p:cTn id="23" presetID="22" presetClass="entr" presetSubtype="8" fill="hold" grpId="0" nodeType="afterEffect">
                                  <p:stCondLst>
                                    <p:cond delay="0"/>
                                  </p:stCondLst>
                                  <p:childTnLst>
                                    <p:set>
                                      <p:cBhvr>
                                        <p:cTn id="24" dur="1" fill="hold">
                                          <p:stCondLst>
                                            <p:cond delay="0"/>
                                          </p:stCondLst>
                                        </p:cTn>
                                        <p:tgtEl>
                                          <p:spTgt spid="13"/>
                                        </p:tgtEl>
                                        <p:attrNameLst>
                                          <p:attrName>style.visibility</p:attrName>
                                        </p:attrNameLst>
                                      </p:cBhvr>
                                      <p:to>
                                        <p:strVal val="visible"/>
                                      </p:to>
                                    </p:set>
                                    <p:animEffect transition="in" filter="wipe(left)">
                                      <p:cBhvr>
                                        <p:cTn id="25" dur="500"/>
                                        <p:tgtEl>
                                          <p:spTgt spid="13"/>
                                        </p:tgtEl>
                                      </p:cBhvr>
                                    </p:animEffect>
                                  </p:childTnLst>
                                </p:cTn>
                              </p:par>
                            </p:childTnLst>
                          </p:cTn>
                        </p:par>
                        <p:par>
                          <p:cTn id="26" fill="hold">
                            <p:stCondLst>
                              <p:cond delay="3000"/>
                            </p:stCondLst>
                            <p:childTnLst>
                              <p:par>
                                <p:cTn id="27" presetID="10" presetClass="entr" presetSubtype="0" fill="hold" nodeType="afterEffect">
                                  <p:stCondLst>
                                    <p:cond delay="0"/>
                                  </p:stCondLst>
                                  <p:childTnLst>
                                    <p:set>
                                      <p:cBhvr>
                                        <p:cTn id="28" dur="1" fill="hold">
                                          <p:stCondLst>
                                            <p:cond delay="0"/>
                                          </p:stCondLst>
                                        </p:cTn>
                                        <p:tgtEl>
                                          <p:spTgt spid="18"/>
                                        </p:tgtEl>
                                        <p:attrNameLst>
                                          <p:attrName>style.visibility</p:attrName>
                                        </p:attrNameLst>
                                      </p:cBhvr>
                                      <p:to>
                                        <p:strVal val="visible"/>
                                      </p:to>
                                    </p:set>
                                    <p:animEffect transition="in" filter="fade">
                                      <p:cBhvr>
                                        <p:cTn id="29" dur="500"/>
                                        <p:tgtEl>
                                          <p:spTgt spid="18"/>
                                        </p:tgtEl>
                                      </p:cBhvr>
                                    </p:animEffect>
                                  </p:childTnLst>
                                </p:cTn>
                              </p:par>
                            </p:childTnLst>
                          </p:cTn>
                        </p:par>
                        <p:par>
                          <p:cTn id="30" fill="hold">
                            <p:stCondLst>
                              <p:cond delay="3500"/>
                            </p:stCondLst>
                            <p:childTnLst>
                              <p:par>
                                <p:cTn id="31" presetID="22" presetClass="entr" presetSubtype="8" fill="hold" grpId="0" nodeType="after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wipe(left)">
                                      <p:cBhvr>
                                        <p:cTn id="33" dur="500"/>
                                        <p:tgtEl>
                                          <p:spTgt spid="14"/>
                                        </p:tgtEl>
                                      </p:cBhvr>
                                    </p:animEffect>
                                  </p:childTnLst>
                                </p:cTn>
                              </p:par>
                            </p:childTnLst>
                          </p:cTn>
                        </p:par>
                        <p:par>
                          <p:cTn id="34" fill="hold">
                            <p:stCondLst>
                              <p:cond delay="4000"/>
                            </p:stCondLst>
                            <p:childTnLst>
                              <p:par>
                                <p:cTn id="35" presetID="10" presetClass="entr" presetSubtype="0" fill="hold" nodeType="afterEffect">
                                  <p:stCondLst>
                                    <p:cond delay="0"/>
                                  </p:stCondLst>
                                  <p:childTnLst>
                                    <p:set>
                                      <p:cBhvr>
                                        <p:cTn id="36" dur="1" fill="hold">
                                          <p:stCondLst>
                                            <p:cond delay="0"/>
                                          </p:stCondLst>
                                        </p:cTn>
                                        <p:tgtEl>
                                          <p:spTgt spid="19"/>
                                        </p:tgtEl>
                                        <p:attrNameLst>
                                          <p:attrName>style.visibility</p:attrName>
                                        </p:attrNameLst>
                                      </p:cBhvr>
                                      <p:to>
                                        <p:strVal val="visible"/>
                                      </p:to>
                                    </p:set>
                                    <p:animEffect transition="in" filter="fade">
                                      <p:cBhvr>
                                        <p:cTn id="3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oso Retail </a:t>
            </a:r>
            <a:r>
              <a:rPr lang="en-US" dirty="0"/>
              <a:t>and </a:t>
            </a:r>
            <a:r>
              <a:rPr lang="en-US" dirty="0" smtClean="0"/>
              <a:t>the Cloud </a:t>
            </a:r>
            <a:endParaRPr lang="en-US" dirty="0"/>
          </a:p>
        </p:txBody>
      </p:sp>
      <p:pic>
        <p:nvPicPr>
          <p:cNvPr id="20" name="Picture 3" descr="C:\Users\v-sacars\Documents\Microsoft\WW Enterprise Marketing\Enterprise Messaging Refresh 2010\Templates and style\Creative\EPG Images\capital markets\capital markets\iStock_000009721611XSmall.jpg"/>
          <p:cNvPicPr>
            <a:picLocks noChangeAspect="1" noChangeArrowheads="1"/>
          </p:cNvPicPr>
          <p:nvPr/>
        </p:nvPicPr>
        <p:blipFill rotWithShape="1">
          <a:blip r:embed="rId3">
            <a:extLst>
              <a:ext uri="{28A0092B-C50C-407E-A947-70E740481C1C}">
                <a14:useLocalDpi xmlns:a14="http://schemas.microsoft.com/office/drawing/2010/main" val="0"/>
              </a:ext>
            </a:extLst>
          </a:blip>
          <a:srcRect r="33647"/>
          <a:stretch/>
        </p:blipFill>
        <p:spPr bwMode="auto">
          <a:xfrm>
            <a:off x="3758212" y="2833556"/>
            <a:ext cx="1714947" cy="171450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5" name="Presentation Title Rectangle"/>
          <p:cNvSpPr txBox="1">
            <a:spLocks/>
          </p:cNvSpPr>
          <p:nvPr/>
        </p:nvSpPr>
        <p:spPr>
          <a:xfrm>
            <a:off x="1960277" y="2833556"/>
            <a:ext cx="1714947" cy="1714500"/>
          </a:xfrm>
          <a:prstGeom prst="rect">
            <a:avLst/>
          </a:prstGeom>
          <a:solidFill>
            <a:schemeClr val="accent1"/>
          </a:solidFill>
          <a:effectLst/>
        </p:spPr>
        <p:txBody>
          <a:bodyPr lIns="68586" tIns="68586" rIns="68586" bIns="68586" anchor="t" anchorCtr="0">
            <a:noAutofit/>
          </a:bodyPr>
          <a:lstStyle>
            <a:lvl1pPr algn="l" defTabSz="914363"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tileRect/>
                </a:gradFill>
                <a:effectLst/>
                <a:latin typeface="+mj-lt"/>
                <a:ea typeface="+mn-ea"/>
                <a:cs typeface="Arial" charset="0"/>
              </a:defRPr>
            </a:lvl1pPr>
          </a:lstStyle>
          <a:p>
            <a:pPr>
              <a:defRPr/>
            </a:pPr>
            <a:r>
              <a:rPr lang="en-US" sz="1800" kern="0" spc="0" dirty="0">
                <a:gradFill>
                  <a:gsLst>
                    <a:gs pos="0">
                      <a:schemeClr val="tx1"/>
                    </a:gs>
                    <a:gs pos="86000">
                      <a:schemeClr val="tx1"/>
                    </a:gs>
                  </a:gsLst>
                  <a:lin ang="5400000" scaled="0"/>
                </a:gradFill>
                <a:latin typeface="Segoe UI Light" pitchFamily="34" charset="0"/>
              </a:rPr>
              <a:t>Gather Intelligence</a:t>
            </a:r>
          </a:p>
          <a:p>
            <a:pPr>
              <a:spcBef>
                <a:spcPts val="450"/>
              </a:spcBef>
              <a:defRPr/>
            </a:pPr>
            <a:r>
              <a:rPr lang="en-US" sz="1400" b="0" kern="0" spc="0" dirty="0">
                <a:gradFill>
                  <a:gsLst>
                    <a:gs pos="0">
                      <a:schemeClr val="tx1"/>
                    </a:gs>
                    <a:gs pos="86000">
                      <a:schemeClr val="tx1"/>
                    </a:gs>
                  </a:gsLst>
                  <a:lin ang="5400000" scaled="0"/>
                </a:gradFill>
                <a:latin typeface="+mn-lt"/>
              </a:rPr>
              <a:t>Easily gather advanced BI data to analyze each retail environments</a:t>
            </a:r>
          </a:p>
        </p:txBody>
      </p:sp>
      <p:sp>
        <p:nvSpPr>
          <p:cNvPr id="10" name="Presentation Title Rectangle"/>
          <p:cNvSpPr txBox="1">
            <a:spLocks/>
          </p:cNvSpPr>
          <p:nvPr/>
        </p:nvSpPr>
        <p:spPr>
          <a:xfrm>
            <a:off x="3758212" y="1046627"/>
            <a:ext cx="1714947" cy="1714500"/>
          </a:xfrm>
          <a:prstGeom prst="rect">
            <a:avLst/>
          </a:prstGeom>
          <a:solidFill>
            <a:schemeClr val="accent1"/>
          </a:solidFill>
          <a:effectLst/>
        </p:spPr>
        <p:txBody>
          <a:bodyPr lIns="68586" tIns="68586" rIns="68586" bIns="68586" anchor="t" anchorCtr="0">
            <a:noAutofit/>
          </a:bodyPr>
          <a:lstStyle>
            <a:defPPr>
              <a:defRPr lang="en-US"/>
            </a:defPPr>
            <a:lvl1pPr marR="0" lvl="0" indent="0" defTabSz="914400" fontAlgn="auto">
              <a:lnSpc>
                <a:spcPct val="90000"/>
              </a:lnSpc>
              <a:spcBef>
                <a:spcPct val="0"/>
              </a:spcBef>
              <a:spcAft>
                <a:spcPts val="0"/>
              </a:spcAft>
              <a:buClrTx/>
              <a:buSzTx/>
              <a:buFontTx/>
              <a:buNone/>
              <a:tabLst/>
              <a:defRPr kumimoji="0" sz="2000" b="0" i="0" u="none" strike="noStrike" kern="0" cap="none" spc="0" normalizeH="0" baseline="0">
                <a:ln w="3175">
                  <a:noFill/>
                </a:ln>
                <a:gradFill flip="none" rotWithShape="1">
                  <a:gsLst>
                    <a:gs pos="4583">
                      <a:srgbClr val="FFFFFF"/>
                    </a:gs>
                    <a:gs pos="100000">
                      <a:srgbClr val="FFFFFF"/>
                    </a:gs>
                  </a:gsLst>
                  <a:lin ang="5400000" scaled="0"/>
                  <a:tileRect/>
                </a:gradFill>
                <a:effectLst/>
                <a:uLnTx/>
                <a:uFillTx/>
                <a:latin typeface="Segoe"/>
                <a:cs typeface="Arial" charset="0"/>
              </a:defRPr>
            </a:lvl1pPr>
          </a:lstStyle>
          <a:p>
            <a:pPr defTabSz="685835">
              <a:defRPr/>
            </a:pPr>
            <a:r>
              <a:rPr lang="en-US" sz="1800" b="1" dirty="0">
                <a:gradFill>
                  <a:gsLst>
                    <a:gs pos="0">
                      <a:schemeClr val="tx1"/>
                    </a:gs>
                    <a:gs pos="86000">
                      <a:schemeClr val="tx1"/>
                    </a:gs>
                  </a:gsLst>
                  <a:lin ang="5400000" scaled="0"/>
                </a:gradFill>
                <a:latin typeface="Segoe UI Light" pitchFamily="34" charset="0"/>
              </a:rPr>
              <a:t>Streamline Infrastructure</a:t>
            </a:r>
          </a:p>
          <a:p>
            <a:pPr defTabSz="685835">
              <a:spcBef>
                <a:spcPts val="450"/>
              </a:spcBef>
              <a:defRPr/>
            </a:pPr>
            <a:r>
              <a:rPr lang="en-US" sz="1400" dirty="0">
                <a:gradFill>
                  <a:gsLst>
                    <a:gs pos="0">
                      <a:schemeClr val="tx1"/>
                    </a:gs>
                    <a:gs pos="86000">
                      <a:schemeClr val="tx1"/>
                    </a:gs>
                  </a:gsLst>
                  <a:lin ang="5400000" scaled="0"/>
                </a:gradFill>
                <a:latin typeface="+mn-lt"/>
              </a:rPr>
              <a:t>Automate the deployment of software to stores</a:t>
            </a:r>
          </a:p>
        </p:txBody>
      </p:sp>
      <p:sp>
        <p:nvSpPr>
          <p:cNvPr id="15" name="Presentation Title Rectangle"/>
          <p:cNvSpPr txBox="1">
            <a:spLocks/>
          </p:cNvSpPr>
          <p:nvPr/>
        </p:nvSpPr>
        <p:spPr>
          <a:xfrm>
            <a:off x="1960277" y="1046627"/>
            <a:ext cx="1714947" cy="1714500"/>
          </a:xfrm>
          <a:prstGeom prst="rect">
            <a:avLst/>
          </a:prstGeom>
          <a:solidFill>
            <a:schemeClr val="accent1"/>
          </a:solidFill>
          <a:effectLst/>
        </p:spPr>
        <p:txBody>
          <a:bodyPr lIns="68586" tIns="68586" rIns="68586" bIns="68586" anchor="t" anchorCtr="0">
            <a:noAutofit/>
          </a:bodyPr>
          <a:lstStyle>
            <a:defPPr>
              <a:defRPr lang="en-US"/>
            </a:defPPr>
            <a:lvl1pPr>
              <a:lnSpc>
                <a:spcPct val="90000"/>
              </a:lnSpc>
              <a:spcBef>
                <a:spcPct val="0"/>
              </a:spcBef>
              <a:buNone/>
              <a:defRPr sz="1700" b="1" i="0" cap="none" spc="0" baseline="0">
                <a:ln w="3175">
                  <a:noFill/>
                </a:ln>
                <a:gradFill flip="none" rotWithShape="1">
                  <a:gsLst>
                    <a:gs pos="4583">
                      <a:srgbClr val="FFFFFF"/>
                    </a:gs>
                    <a:gs pos="100000">
                      <a:srgbClr val="FFFFFF"/>
                    </a:gs>
                  </a:gsLst>
                  <a:lin ang="5400000" scaled="0"/>
                  <a:tileRect/>
                </a:gradFill>
                <a:effectLst/>
                <a:latin typeface="+mj-lt"/>
                <a:cs typeface="Arial" charset="0"/>
              </a:defRPr>
            </a:lvl1pPr>
          </a:lstStyle>
          <a:p>
            <a:pPr>
              <a:defRPr/>
            </a:pPr>
            <a:r>
              <a:rPr lang="en-US" sz="1800" kern="0" dirty="0">
                <a:gradFill>
                  <a:gsLst>
                    <a:gs pos="0">
                      <a:schemeClr val="tx1"/>
                    </a:gs>
                    <a:gs pos="86000">
                      <a:schemeClr val="tx1"/>
                    </a:gs>
                  </a:gsLst>
                  <a:lin ang="5400000" scaled="0"/>
                </a:gradFill>
                <a:latin typeface="Segoe UI Light" pitchFamily="34" charset="0"/>
              </a:rPr>
              <a:t>Control Operating Costs</a:t>
            </a:r>
          </a:p>
          <a:p>
            <a:pPr>
              <a:spcBef>
                <a:spcPts val="450"/>
              </a:spcBef>
              <a:defRPr/>
            </a:pPr>
            <a:r>
              <a:rPr lang="en-US" sz="1400" b="0" kern="0" dirty="0">
                <a:gradFill>
                  <a:gsLst>
                    <a:gs pos="0">
                      <a:schemeClr val="tx1"/>
                    </a:gs>
                    <a:gs pos="86000">
                      <a:schemeClr val="tx1"/>
                    </a:gs>
                  </a:gsLst>
                  <a:lin ang="5400000" scaled="0"/>
                </a:gradFill>
                <a:latin typeface="+mn-lt"/>
              </a:rPr>
              <a:t>Reduce the number of physical severs at each store</a:t>
            </a:r>
          </a:p>
        </p:txBody>
      </p:sp>
      <p:sp>
        <p:nvSpPr>
          <p:cNvPr id="18" name="Presentation Title Rectangle"/>
          <p:cNvSpPr txBox="1">
            <a:spLocks/>
          </p:cNvSpPr>
          <p:nvPr/>
        </p:nvSpPr>
        <p:spPr>
          <a:xfrm>
            <a:off x="5535841" y="1046627"/>
            <a:ext cx="1714947" cy="1714500"/>
          </a:xfrm>
          <a:prstGeom prst="rect">
            <a:avLst/>
          </a:prstGeom>
          <a:solidFill>
            <a:schemeClr val="tx2"/>
          </a:solidFill>
          <a:effectLst/>
        </p:spPr>
        <p:txBody>
          <a:bodyPr lIns="68586" tIns="68586" rIns="68586" bIns="68586" anchor="t" anchorCtr="0">
            <a:noAutofit/>
          </a:bodyPr>
          <a:lstStyle>
            <a:lvl1pPr algn="l" defTabSz="914363"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tileRect/>
                </a:gradFill>
                <a:effectLst/>
                <a:latin typeface="+mj-lt"/>
                <a:ea typeface="+mn-ea"/>
                <a:cs typeface="Arial" charset="0"/>
              </a:defRPr>
            </a:lvl1pPr>
          </a:lstStyle>
          <a:p>
            <a:pPr>
              <a:defRPr/>
            </a:pPr>
            <a:r>
              <a:rPr lang="en-US" sz="1800" kern="0" spc="0" dirty="0">
                <a:gradFill>
                  <a:gsLst>
                    <a:gs pos="0">
                      <a:schemeClr val="tx1"/>
                    </a:gs>
                    <a:gs pos="86000">
                      <a:schemeClr val="tx1"/>
                    </a:gs>
                  </a:gsLst>
                  <a:lin ang="5400000" scaled="0"/>
                </a:gradFill>
                <a:latin typeface="Segoe UI Light" pitchFamily="34" charset="0"/>
              </a:rPr>
              <a:t>Connect All Employees </a:t>
            </a:r>
          </a:p>
          <a:p>
            <a:pPr>
              <a:defRPr/>
            </a:pPr>
            <a:r>
              <a:rPr lang="en-US" sz="1400" b="0" kern="0" spc="0" dirty="0">
                <a:gradFill>
                  <a:gsLst>
                    <a:gs pos="0">
                      <a:schemeClr val="tx1"/>
                    </a:gs>
                    <a:gs pos="86000">
                      <a:schemeClr val="tx1"/>
                    </a:gs>
                  </a:gsLst>
                  <a:lin ang="5400000" scaled="0"/>
                </a:gradFill>
                <a:latin typeface="+mn-lt"/>
              </a:rPr>
              <a:t>Provide access to collaboration tools to easily share best practices and insight</a:t>
            </a:r>
          </a:p>
        </p:txBody>
      </p:sp>
      <p:sp>
        <p:nvSpPr>
          <p:cNvPr id="21" name="Presentation Title Rectangle"/>
          <p:cNvSpPr txBox="1">
            <a:spLocks/>
          </p:cNvSpPr>
          <p:nvPr/>
        </p:nvSpPr>
        <p:spPr>
          <a:xfrm>
            <a:off x="5535841" y="2833556"/>
            <a:ext cx="1714947" cy="1714500"/>
          </a:xfrm>
          <a:prstGeom prst="rect">
            <a:avLst/>
          </a:prstGeom>
          <a:solidFill>
            <a:schemeClr val="tx2"/>
          </a:solidFill>
          <a:effectLst/>
        </p:spPr>
        <p:txBody>
          <a:bodyPr lIns="68586" tIns="68586" rIns="68586" bIns="68586" anchor="t" anchorCtr="0">
            <a:noAutofit/>
          </a:bodyPr>
          <a:lstStyle>
            <a:lvl1pPr algn="l" defTabSz="914363"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tileRect/>
                </a:gradFill>
                <a:effectLst/>
                <a:latin typeface="+mj-lt"/>
                <a:ea typeface="+mn-ea"/>
                <a:cs typeface="Arial" charset="0"/>
              </a:defRPr>
            </a:lvl1pPr>
          </a:lstStyle>
          <a:p>
            <a:pPr>
              <a:defRPr/>
            </a:pPr>
            <a:r>
              <a:rPr lang="en-US" sz="1800" kern="0" spc="0" dirty="0">
                <a:gradFill>
                  <a:gsLst>
                    <a:gs pos="0">
                      <a:schemeClr val="tx1"/>
                    </a:gs>
                    <a:gs pos="86000">
                      <a:schemeClr val="tx1"/>
                    </a:gs>
                  </a:gsLst>
                  <a:lin ang="5400000" scaled="0"/>
                </a:gradFill>
                <a:latin typeface="Segoe UI Light" pitchFamily="34" charset="0"/>
              </a:rPr>
              <a:t>Manage Peak Times</a:t>
            </a:r>
          </a:p>
          <a:p>
            <a:pPr>
              <a:defRPr/>
            </a:pPr>
            <a:r>
              <a:rPr lang="en-US" sz="1400" b="0" kern="0" spc="0" dirty="0">
                <a:gradFill>
                  <a:gsLst>
                    <a:gs pos="0">
                      <a:schemeClr val="tx1"/>
                    </a:gs>
                    <a:gs pos="86000">
                      <a:schemeClr val="tx1"/>
                    </a:gs>
                  </a:gsLst>
                  <a:lin ang="5400000" scaled="0"/>
                </a:gradFill>
                <a:latin typeface="+mn-lt"/>
              </a:rPr>
              <a:t>Provide tools to contractor staff during peak times </a:t>
            </a:r>
          </a:p>
        </p:txBody>
      </p:sp>
      <p:sp>
        <p:nvSpPr>
          <p:cNvPr id="9"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1"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4"/>
              </a:rPr>
              <a:t>www.rapidbbs.cn</a:t>
            </a:r>
            <a:endParaRPr lang="zh-CN" altLang="en-US" sz="1200" b="0">
              <a:latin typeface="Arial" charset="0"/>
              <a:ea typeface="ＭＳ Ｐゴシック" pitchFamily="34" charset="-128"/>
            </a:endParaRPr>
          </a:p>
        </p:txBody>
      </p:sp>
      <p:pic>
        <p:nvPicPr>
          <p:cNvPr id="12" name="Picture 2">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381249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p:txBody>
          <a:bodyPr>
            <a:noAutofit/>
          </a:bodyPr>
          <a:lstStyle/>
          <a:p>
            <a:r>
              <a:rPr lang="en-US" dirty="0"/>
              <a:t>Industry Transformations </a:t>
            </a:r>
          </a:p>
        </p:txBody>
      </p:sp>
      <p:sp>
        <p:nvSpPr>
          <p:cNvPr id="17" name="TextBox 16"/>
          <p:cNvSpPr txBox="1"/>
          <p:nvPr/>
        </p:nvSpPr>
        <p:spPr>
          <a:xfrm>
            <a:off x="57165" y="1228492"/>
            <a:ext cx="5309664" cy="596057"/>
          </a:xfrm>
          <a:prstGeom prst="leftRightArrow">
            <a:avLst>
              <a:gd name="adj1" fmla="val 74383"/>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gradFill>
                  <a:gsLst>
                    <a:gs pos="0">
                      <a:schemeClr val="tx1"/>
                    </a:gs>
                    <a:gs pos="100000">
                      <a:schemeClr val="tx1"/>
                    </a:gs>
                  </a:gsLst>
                  <a:lin ang="5400000" scaled="0"/>
                </a:gradFill>
                <a:latin typeface="Segoe" charset="0"/>
                <a:cs typeface="Segoe" charset="0"/>
              </a:rPr>
              <a:t>The last 50 years of IT</a:t>
            </a:r>
          </a:p>
        </p:txBody>
      </p:sp>
      <p:sp>
        <p:nvSpPr>
          <p:cNvPr id="18" name="TextBox 17"/>
          <p:cNvSpPr txBox="1"/>
          <p:nvPr/>
        </p:nvSpPr>
        <p:spPr>
          <a:xfrm>
            <a:off x="5429480" y="1228492"/>
            <a:ext cx="3657361" cy="596057"/>
          </a:xfrm>
          <a:prstGeom prst="leftRightArrow">
            <a:avLst>
              <a:gd name="adj1" fmla="val 74383"/>
              <a:gd name="adj2"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5" tIns="34288" rIns="68575" bIns="34288" rtlCol="0" anchor="ctr"/>
          <a:lstStyle>
            <a:defPPr>
              <a:defRPr lang="en-US"/>
            </a:defPPr>
            <a:lvl1pPr algn="ctr">
              <a:defRPr>
                <a:solidFill>
                  <a:prstClr val="white"/>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gradFill>
                  <a:gsLst>
                    <a:gs pos="0">
                      <a:schemeClr val="tx1"/>
                    </a:gs>
                    <a:gs pos="100000">
                      <a:schemeClr val="tx1"/>
                    </a:gs>
                  </a:gsLst>
                  <a:lin ang="5400000" scaled="0"/>
                </a:gradFill>
                <a:latin typeface="Segoe" charset="0"/>
                <a:cs typeface="Segoe" charset="0"/>
              </a:rPr>
              <a:t>Today and the future </a:t>
            </a:r>
          </a:p>
        </p:txBody>
      </p:sp>
      <p:grpSp>
        <p:nvGrpSpPr>
          <p:cNvPr id="2" name="Group 1"/>
          <p:cNvGrpSpPr/>
          <p:nvPr/>
        </p:nvGrpSpPr>
        <p:grpSpPr>
          <a:xfrm>
            <a:off x="229441" y="1919451"/>
            <a:ext cx="1371957" cy="2571750"/>
            <a:chOff x="227012" y="2552387"/>
            <a:chExt cx="1828800" cy="3429000"/>
          </a:xfrm>
        </p:grpSpPr>
        <p:sp>
          <p:nvSpPr>
            <p:cNvPr id="11" name="Rectangle 10"/>
            <p:cNvSpPr/>
            <p:nvPr/>
          </p:nvSpPr>
          <p:spPr>
            <a:xfrm>
              <a:off x="227012" y="2552387"/>
              <a:ext cx="1828800" cy="3429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charset="0"/>
                <a:cs typeface="Segoe" charset="0"/>
              </a:endParaRPr>
            </a:p>
          </p:txBody>
        </p:sp>
        <p:sp>
          <p:nvSpPr>
            <p:cNvPr id="15" name="Rectangle 14"/>
            <p:cNvSpPr>
              <a:spLocks noChangeArrowheads="1"/>
            </p:cNvSpPr>
            <p:nvPr/>
          </p:nvSpPr>
          <p:spPr bwMode="auto">
            <a:xfrm>
              <a:off x="227012" y="3973193"/>
              <a:ext cx="1828800" cy="1502975"/>
            </a:xfrm>
            <a:prstGeom prst="rect">
              <a:avLst/>
            </a:prstGeom>
            <a:noFill/>
            <a:ln w="9525">
              <a:noFill/>
              <a:miter lim="800000"/>
              <a:headEnd/>
              <a:tailEnd/>
            </a:ln>
          </p:spPr>
          <p:txBody>
            <a:bodyPr wrap="square" lIns="182864" tIns="45717" rIns="182864" bIns="45717">
              <a:spAutoFit/>
            </a:bodyPr>
            <a:lstStyle/>
            <a:p>
              <a:pPr defTabSz="685778">
                <a:lnSpc>
                  <a:spcPts val="1425"/>
                </a:lnSpc>
              </a:pPr>
              <a:r>
                <a:rPr lang="en-US" sz="1200" b="1" dirty="0">
                  <a:gradFill>
                    <a:gsLst>
                      <a:gs pos="0">
                        <a:schemeClr val="tx1"/>
                      </a:gs>
                      <a:gs pos="100000">
                        <a:schemeClr val="tx1"/>
                      </a:gs>
                    </a:gsLst>
                    <a:lin ang="5400000" scaled="0"/>
                  </a:gradFill>
                  <a:latin typeface="Segoe" charset="0"/>
                  <a:cs typeface="Segoe" charset="0"/>
                </a:rPr>
                <a:t>Mainframe</a:t>
              </a:r>
            </a:p>
            <a:p>
              <a:pPr defTabSz="685778">
                <a:lnSpc>
                  <a:spcPts val="1425"/>
                </a:lnSpc>
              </a:pPr>
              <a:endParaRPr lang="en-US" sz="1200" b="1" dirty="0">
                <a:gradFill>
                  <a:gsLst>
                    <a:gs pos="0">
                      <a:schemeClr val="tx1"/>
                    </a:gs>
                    <a:gs pos="100000">
                      <a:schemeClr val="tx1"/>
                    </a:gs>
                  </a:gsLst>
                  <a:lin ang="5400000" scaled="0"/>
                </a:gradFill>
                <a:latin typeface="Segoe" charset="0"/>
                <a:cs typeface="Segoe" charset="0"/>
              </a:endParaRPr>
            </a:p>
            <a:p>
              <a:pPr defTabSz="685778"/>
              <a:r>
                <a:rPr lang="en-US" sz="1100" dirty="0">
                  <a:gradFill>
                    <a:gsLst>
                      <a:gs pos="0">
                        <a:schemeClr val="tx1"/>
                      </a:gs>
                      <a:gs pos="100000">
                        <a:schemeClr val="tx1"/>
                      </a:gs>
                    </a:gsLst>
                    <a:lin ang="5400000" scaled="0"/>
                  </a:gradFill>
                  <a:latin typeface="Segoe" charset="0"/>
                  <a:cs typeface="Segoe" charset="0"/>
                </a:rPr>
                <a:t>No concept of desktop computing or home use</a:t>
              </a:r>
              <a:endParaRPr lang="en-US" sz="1100" b="1" dirty="0">
                <a:gradFill>
                  <a:gsLst>
                    <a:gs pos="0">
                      <a:schemeClr val="tx1"/>
                    </a:gs>
                    <a:gs pos="100000">
                      <a:schemeClr val="tx1"/>
                    </a:gs>
                  </a:gsLst>
                  <a:lin ang="5400000" scaled="0"/>
                </a:gradFill>
                <a:latin typeface="Segoe" charset="0"/>
                <a:cs typeface="Segoe" charset="0"/>
              </a:endParaRPr>
            </a:p>
          </p:txBody>
        </p:sp>
        <p:pic>
          <p:nvPicPr>
            <p:cNvPr id="19" name="Picture 2" descr="\\MAGNUM\Projects\Microsoft\Cloud Power FY12\Design\Icons\PNGs\Mainframe.png"/>
            <p:cNvPicPr>
              <a:picLocks noChangeAspect="1" noChangeArrowheads="1"/>
            </p:cNvPicPr>
            <p:nvPr/>
          </p:nvPicPr>
          <p:blipFill>
            <a:blip r:embed="rId3" cstate="print">
              <a:lum bright="100000"/>
            </a:blip>
            <a:srcRect t="27017" b="27955"/>
            <a:stretch>
              <a:fillRect/>
            </a:stretch>
          </p:blipFill>
          <p:spPr bwMode="auto">
            <a:xfrm>
              <a:off x="241315" y="2704787"/>
              <a:ext cx="1769418" cy="796735"/>
            </a:xfrm>
            <a:prstGeom prst="rect">
              <a:avLst/>
            </a:prstGeom>
            <a:noFill/>
          </p:spPr>
        </p:pic>
      </p:grpSp>
      <p:grpSp>
        <p:nvGrpSpPr>
          <p:cNvPr id="3" name="Group 2"/>
          <p:cNvGrpSpPr/>
          <p:nvPr/>
        </p:nvGrpSpPr>
        <p:grpSpPr>
          <a:xfrm>
            <a:off x="1772895" y="1862301"/>
            <a:ext cx="1371957" cy="2628900"/>
            <a:chOff x="2170908" y="2476187"/>
            <a:chExt cx="1828800" cy="3505200"/>
          </a:xfrm>
        </p:grpSpPr>
        <p:sp>
          <p:nvSpPr>
            <p:cNvPr id="8" name="Rectangle 7"/>
            <p:cNvSpPr/>
            <p:nvPr/>
          </p:nvSpPr>
          <p:spPr>
            <a:xfrm>
              <a:off x="2170908" y="2552387"/>
              <a:ext cx="1828800" cy="3429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charset="0"/>
                <a:cs typeface="Segoe" charset="0"/>
              </a:endParaRPr>
            </a:p>
          </p:txBody>
        </p:sp>
        <p:sp>
          <p:nvSpPr>
            <p:cNvPr id="14" name="Rectangle 13"/>
            <p:cNvSpPr>
              <a:spLocks noChangeArrowheads="1"/>
            </p:cNvSpPr>
            <p:nvPr/>
          </p:nvSpPr>
          <p:spPr bwMode="auto">
            <a:xfrm>
              <a:off x="2192446" y="3973192"/>
              <a:ext cx="1791492" cy="1504677"/>
            </a:xfrm>
            <a:prstGeom prst="rect">
              <a:avLst/>
            </a:prstGeom>
            <a:noFill/>
            <a:ln w="9525">
              <a:noFill/>
              <a:miter lim="800000"/>
              <a:headEnd/>
              <a:tailEnd/>
            </a:ln>
          </p:spPr>
          <p:txBody>
            <a:bodyPr wrap="square" lIns="182864" tIns="45717" rIns="182864" bIns="45717">
              <a:spAutoFit/>
            </a:bodyPr>
            <a:lstStyle/>
            <a:p>
              <a:pPr defTabSz="685778">
                <a:lnSpc>
                  <a:spcPts val="1425"/>
                </a:lnSpc>
              </a:pPr>
              <a:r>
                <a:rPr lang="en-US" sz="1200" b="1" dirty="0">
                  <a:gradFill>
                    <a:gsLst>
                      <a:gs pos="0">
                        <a:schemeClr val="tx1"/>
                      </a:gs>
                      <a:gs pos="100000">
                        <a:schemeClr val="tx1"/>
                      </a:gs>
                    </a:gsLst>
                    <a:lin ang="5400000" scaled="0"/>
                  </a:gradFill>
                  <a:latin typeface="Segoe" charset="0"/>
                  <a:cs typeface="Segoe" charset="0"/>
                </a:rPr>
                <a:t>Client/Server</a:t>
              </a:r>
            </a:p>
            <a:p>
              <a:pPr defTabSz="685778">
                <a:lnSpc>
                  <a:spcPts val="1425"/>
                </a:lnSpc>
              </a:pPr>
              <a:endParaRPr lang="en-US" sz="1200" b="1" dirty="0">
                <a:gradFill>
                  <a:gsLst>
                    <a:gs pos="0">
                      <a:schemeClr val="tx1"/>
                    </a:gs>
                    <a:gs pos="100000">
                      <a:schemeClr val="tx1"/>
                    </a:gs>
                  </a:gsLst>
                  <a:lin ang="5400000" scaled="0"/>
                </a:gradFill>
                <a:latin typeface="Segoe" charset="0"/>
                <a:cs typeface="Segoe" charset="0"/>
              </a:endParaRPr>
            </a:p>
            <a:p>
              <a:pPr defTabSz="685778"/>
              <a:r>
                <a:rPr lang="en-US" sz="1100" dirty="0">
                  <a:gradFill>
                    <a:gsLst>
                      <a:gs pos="0">
                        <a:schemeClr val="tx1"/>
                      </a:gs>
                      <a:gs pos="100000">
                        <a:schemeClr val="tx1"/>
                      </a:gs>
                    </a:gsLst>
                    <a:lin ang="5400000" scaled="0"/>
                  </a:gradFill>
                  <a:latin typeface="Segoe" charset="0"/>
                  <a:cs typeface="Segoe" charset="0"/>
                </a:rPr>
                <a:t>PCs at work and at home; better access to data</a:t>
              </a:r>
              <a:endParaRPr lang="en-US" sz="1100" b="1" dirty="0">
                <a:gradFill>
                  <a:gsLst>
                    <a:gs pos="0">
                      <a:schemeClr val="tx1"/>
                    </a:gs>
                    <a:gs pos="100000">
                      <a:schemeClr val="tx1"/>
                    </a:gs>
                  </a:gsLst>
                  <a:lin ang="5400000" scaled="0"/>
                </a:gradFill>
                <a:latin typeface="Segoe" charset="0"/>
                <a:cs typeface="Segoe" charset="0"/>
              </a:endParaRPr>
            </a:p>
          </p:txBody>
        </p:sp>
        <p:pic>
          <p:nvPicPr>
            <p:cNvPr id="20" name="Picture 2" descr="\\MAGNUM\Projects\Microsoft\Cloud Power FY12\Design\Icons\PNGs\Client_Server.png"/>
            <p:cNvPicPr>
              <a:picLocks noChangeAspect="1" noChangeArrowheads="1"/>
            </p:cNvPicPr>
            <p:nvPr/>
          </p:nvPicPr>
          <p:blipFill rotWithShape="1">
            <a:blip r:embed="rId4" cstate="print">
              <a:lum bright="100000"/>
            </a:blip>
            <a:srcRect r="-150"/>
            <a:stretch/>
          </p:blipFill>
          <p:spPr bwMode="auto">
            <a:xfrm>
              <a:off x="2384967" y="2476187"/>
              <a:ext cx="1347248" cy="1345220"/>
            </a:xfrm>
            <a:prstGeom prst="rect">
              <a:avLst/>
            </a:prstGeom>
            <a:noFill/>
          </p:spPr>
        </p:pic>
      </p:grpSp>
      <p:grpSp>
        <p:nvGrpSpPr>
          <p:cNvPr id="4" name="Group 3"/>
          <p:cNvGrpSpPr/>
          <p:nvPr/>
        </p:nvGrpSpPr>
        <p:grpSpPr>
          <a:xfrm>
            <a:off x="3316348" y="1862299"/>
            <a:ext cx="1371957" cy="2628902"/>
            <a:chOff x="4113213" y="2476185"/>
            <a:chExt cx="1828800" cy="3505202"/>
          </a:xfrm>
        </p:grpSpPr>
        <p:sp>
          <p:nvSpPr>
            <p:cNvPr id="9" name="Rectangle 8"/>
            <p:cNvSpPr/>
            <p:nvPr/>
          </p:nvSpPr>
          <p:spPr>
            <a:xfrm>
              <a:off x="4113213" y="2552387"/>
              <a:ext cx="1828800" cy="3429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charset="0"/>
                <a:cs typeface="Segoe" charset="0"/>
              </a:endParaRPr>
            </a:p>
          </p:txBody>
        </p:sp>
        <p:sp>
          <p:nvSpPr>
            <p:cNvPr id="13" name="Rectangle 12"/>
            <p:cNvSpPr>
              <a:spLocks noChangeArrowheads="1"/>
            </p:cNvSpPr>
            <p:nvPr/>
          </p:nvSpPr>
          <p:spPr bwMode="auto">
            <a:xfrm>
              <a:off x="4113213" y="3973191"/>
              <a:ext cx="1828800" cy="1964639"/>
            </a:xfrm>
            <a:prstGeom prst="rect">
              <a:avLst/>
            </a:prstGeom>
            <a:noFill/>
            <a:ln w="9525">
              <a:noFill/>
              <a:miter lim="800000"/>
              <a:headEnd/>
              <a:tailEnd/>
            </a:ln>
          </p:spPr>
          <p:txBody>
            <a:bodyPr wrap="square" lIns="182864" tIns="45717" rIns="182864" bIns="45717">
              <a:spAutoFit/>
            </a:bodyPr>
            <a:lstStyle/>
            <a:p>
              <a:pPr defTabSz="685778">
                <a:lnSpc>
                  <a:spcPts val="1425"/>
                </a:lnSpc>
              </a:pPr>
              <a:r>
                <a:rPr lang="en-US" sz="1200" b="1" dirty="0">
                  <a:gradFill>
                    <a:gsLst>
                      <a:gs pos="0">
                        <a:schemeClr val="tx1"/>
                      </a:gs>
                      <a:gs pos="100000">
                        <a:schemeClr val="tx1"/>
                      </a:gs>
                    </a:gsLst>
                    <a:lin ang="5400000" scaled="0"/>
                  </a:gradFill>
                  <a:latin typeface="Segoe" charset="0"/>
                  <a:cs typeface="Segoe" charset="0"/>
                </a:rPr>
                <a:t>Web</a:t>
              </a:r>
            </a:p>
            <a:p>
              <a:pPr defTabSz="685778">
                <a:lnSpc>
                  <a:spcPts val="1425"/>
                </a:lnSpc>
              </a:pPr>
              <a:endParaRPr lang="en-US" sz="1200" b="1" dirty="0">
                <a:gradFill>
                  <a:gsLst>
                    <a:gs pos="0">
                      <a:schemeClr val="tx1"/>
                    </a:gs>
                    <a:gs pos="100000">
                      <a:schemeClr val="tx1"/>
                    </a:gs>
                  </a:gsLst>
                  <a:lin ang="5400000" scaled="0"/>
                </a:gradFill>
                <a:latin typeface="Segoe" charset="0"/>
                <a:cs typeface="Segoe" charset="0"/>
              </a:endParaRPr>
            </a:p>
            <a:p>
              <a:pPr defTabSz="685778"/>
              <a:r>
                <a:rPr lang="en-US" sz="1100" dirty="0">
                  <a:gradFill>
                    <a:gsLst>
                      <a:gs pos="0">
                        <a:schemeClr val="tx1"/>
                      </a:gs>
                      <a:gs pos="100000">
                        <a:schemeClr val="tx1"/>
                      </a:gs>
                    </a:gsLst>
                    <a:lin ang="5400000" scaled="0"/>
                  </a:gradFill>
                  <a:latin typeface="Segoe" charset="0"/>
                  <a:cs typeface="Segoe" charset="0"/>
                </a:rPr>
                <a:t>Dial-up access </a:t>
              </a:r>
              <a:br>
                <a:rPr lang="en-US" sz="1100" dirty="0">
                  <a:gradFill>
                    <a:gsLst>
                      <a:gs pos="0">
                        <a:schemeClr val="tx1"/>
                      </a:gs>
                      <a:gs pos="100000">
                        <a:schemeClr val="tx1"/>
                      </a:gs>
                    </a:gsLst>
                    <a:lin ang="5400000" scaled="0"/>
                  </a:gradFill>
                  <a:latin typeface="Segoe" charset="0"/>
                  <a:cs typeface="Segoe" charset="0"/>
                </a:rPr>
              </a:br>
              <a:r>
                <a:rPr lang="en-US" sz="1100" dirty="0">
                  <a:gradFill>
                    <a:gsLst>
                      <a:gs pos="0">
                        <a:schemeClr val="tx1"/>
                      </a:gs>
                      <a:gs pos="100000">
                        <a:schemeClr val="tx1"/>
                      </a:gs>
                    </a:gsLst>
                    <a:lin ang="5400000" scaled="0"/>
                  </a:gradFill>
                  <a:latin typeface="Segoe" charset="0"/>
                  <a:cs typeface="Segoe" charset="0"/>
                </a:rPr>
                <a:t>to Internet and home access to work assets; </a:t>
              </a:r>
              <a:br>
                <a:rPr lang="en-US" sz="1100" dirty="0">
                  <a:gradFill>
                    <a:gsLst>
                      <a:gs pos="0">
                        <a:schemeClr val="tx1"/>
                      </a:gs>
                      <a:gs pos="100000">
                        <a:schemeClr val="tx1"/>
                      </a:gs>
                    </a:gsLst>
                    <a:lin ang="5400000" scaled="0"/>
                  </a:gradFill>
                  <a:latin typeface="Segoe" charset="0"/>
                  <a:cs typeface="Segoe" charset="0"/>
                </a:rPr>
              </a:br>
              <a:r>
                <a:rPr lang="en-US" sz="1100" dirty="0">
                  <a:gradFill>
                    <a:gsLst>
                      <a:gs pos="0">
                        <a:schemeClr val="tx1"/>
                      </a:gs>
                      <a:gs pos="100000">
                        <a:schemeClr val="tx1"/>
                      </a:gs>
                    </a:gsLst>
                    <a:lin ang="5400000" scaled="0"/>
                  </a:gradFill>
                  <a:latin typeface="Segoe" charset="0"/>
                  <a:cs typeface="Segoe" charset="0"/>
                </a:rPr>
                <a:t>use of web applications</a:t>
              </a:r>
              <a:endParaRPr lang="en-US" sz="1100" b="1" dirty="0">
                <a:gradFill>
                  <a:gsLst>
                    <a:gs pos="0">
                      <a:schemeClr val="tx1"/>
                    </a:gs>
                    <a:gs pos="100000">
                      <a:schemeClr val="tx1"/>
                    </a:gs>
                  </a:gsLst>
                  <a:lin ang="5400000" scaled="0"/>
                </a:gradFill>
                <a:latin typeface="Segoe" charset="0"/>
                <a:cs typeface="Segoe" charset="0"/>
              </a:endParaRPr>
            </a:p>
          </p:txBody>
        </p:sp>
        <p:pic>
          <p:nvPicPr>
            <p:cNvPr id="21" name="Picture 2" descr="\\MAGNUM\Projects\Microsoft\Cloud Power FY12\Design\Icons\PNGs\Web.png"/>
            <p:cNvPicPr>
              <a:picLocks noChangeAspect="1" noChangeArrowheads="1"/>
            </p:cNvPicPr>
            <p:nvPr/>
          </p:nvPicPr>
          <p:blipFill>
            <a:blip r:embed="rId5" cstate="print">
              <a:lum bright="100000"/>
            </a:blip>
            <a:srcRect b="-35006"/>
            <a:stretch>
              <a:fillRect/>
            </a:stretch>
          </p:blipFill>
          <p:spPr bwMode="auto">
            <a:xfrm>
              <a:off x="4367691" y="2476185"/>
              <a:ext cx="1383104" cy="1867275"/>
            </a:xfrm>
            <a:prstGeom prst="rect">
              <a:avLst/>
            </a:prstGeom>
            <a:noFill/>
          </p:spPr>
        </p:pic>
      </p:grpSp>
      <p:grpSp>
        <p:nvGrpSpPr>
          <p:cNvPr id="5" name="Group 4"/>
          <p:cNvGrpSpPr/>
          <p:nvPr/>
        </p:nvGrpSpPr>
        <p:grpSpPr>
          <a:xfrm>
            <a:off x="4859799" y="1919451"/>
            <a:ext cx="1371957" cy="2571750"/>
            <a:chOff x="6323012" y="2552387"/>
            <a:chExt cx="1828800" cy="3429000"/>
          </a:xfrm>
        </p:grpSpPr>
        <p:sp>
          <p:nvSpPr>
            <p:cNvPr id="6" name="Rectangle 5"/>
            <p:cNvSpPr/>
            <p:nvPr/>
          </p:nvSpPr>
          <p:spPr>
            <a:xfrm>
              <a:off x="6323012" y="2552387"/>
              <a:ext cx="1828800" cy="3429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charset="0"/>
                <a:cs typeface="Segoe" charset="0"/>
              </a:endParaRPr>
            </a:p>
          </p:txBody>
        </p:sp>
        <p:sp>
          <p:nvSpPr>
            <p:cNvPr id="12" name="Rectangle 11"/>
            <p:cNvSpPr>
              <a:spLocks noChangeArrowheads="1"/>
            </p:cNvSpPr>
            <p:nvPr/>
          </p:nvSpPr>
          <p:spPr bwMode="auto">
            <a:xfrm>
              <a:off x="6323012" y="3973187"/>
              <a:ext cx="1828800" cy="1733807"/>
            </a:xfrm>
            <a:prstGeom prst="rect">
              <a:avLst/>
            </a:prstGeom>
            <a:solidFill>
              <a:schemeClr val="accent2"/>
            </a:solidFill>
            <a:ln w="9525">
              <a:noFill/>
              <a:miter lim="800000"/>
              <a:headEnd/>
              <a:tailEnd/>
            </a:ln>
          </p:spPr>
          <p:txBody>
            <a:bodyPr wrap="square" lIns="182864" tIns="45717" rIns="182864" bIns="45717">
              <a:spAutoFit/>
            </a:bodyPr>
            <a:lstStyle/>
            <a:p>
              <a:pPr defTabSz="685778">
                <a:lnSpc>
                  <a:spcPts val="1425"/>
                </a:lnSpc>
              </a:pPr>
              <a:r>
                <a:rPr lang="en-US" sz="1200" b="1" dirty="0">
                  <a:gradFill>
                    <a:gsLst>
                      <a:gs pos="0">
                        <a:schemeClr val="tx1"/>
                      </a:gs>
                      <a:gs pos="100000">
                        <a:schemeClr val="tx1"/>
                      </a:gs>
                    </a:gsLst>
                    <a:lin ang="5400000" scaled="0"/>
                  </a:gradFill>
                  <a:latin typeface="Segoe" charset="0"/>
                  <a:cs typeface="Segoe" charset="0"/>
                </a:rPr>
                <a:t>Virtualization</a:t>
              </a:r>
            </a:p>
            <a:p>
              <a:pPr defTabSz="685778">
                <a:lnSpc>
                  <a:spcPts val="1425"/>
                </a:lnSpc>
              </a:pPr>
              <a:endParaRPr lang="en-US" sz="1200" b="1" dirty="0">
                <a:gradFill>
                  <a:gsLst>
                    <a:gs pos="0">
                      <a:schemeClr val="tx1"/>
                    </a:gs>
                    <a:gs pos="100000">
                      <a:schemeClr val="tx1"/>
                    </a:gs>
                  </a:gsLst>
                  <a:lin ang="5400000" scaled="0"/>
                </a:gradFill>
                <a:latin typeface="Segoe" charset="0"/>
                <a:cs typeface="Segoe" charset="0"/>
              </a:endParaRPr>
            </a:p>
            <a:p>
              <a:pPr defTabSz="685778"/>
              <a:r>
                <a:rPr lang="en-US" sz="1100" dirty="0">
                  <a:gradFill>
                    <a:gsLst>
                      <a:gs pos="0">
                        <a:schemeClr val="tx1"/>
                      </a:gs>
                      <a:gs pos="100000">
                        <a:schemeClr val="tx1"/>
                      </a:gs>
                    </a:gsLst>
                    <a:lin ang="5400000" scaled="0"/>
                  </a:gradFill>
                  <a:latin typeface="Segoe" charset="0"/>
                  <a:cs typeface="Segoe" charset="0"/>
                </a:rPr>
                <a:t>Greater IT efficiency  through better utilization of resources </a:t>
              </a:r>
              <a:endParaRPr lang="en-US" sz="1100" b="1" dirty="0">
                <a:gradFill>
                  <a:gsLst>
                    <a:gs pos="0">
                      <a:schemeClr val="tx1"/>
                    </a:gs>
                    <a:gs pos="100000">
                      <a:schemeClr val="tx1"/>
                    </a:gs>
                  </a:gsLst>
                  <a:lin ang="5400000" scaled="0"/>
                </a:gradFill>
                <a:latin typeface="Segoe" charset="0"/>
                <a:cs typeface="Segoe" charset="0"/>
              </a:endParaRPr>
            </a:p>
          </p:txBody>
        </p:sp>
        <p:pic>
          <p:nvPicPr>
            <p:cNvPr id="22" name="Picture 2" descr="\\MAGNUM\Projects\Microsoft\Cloud Power FY12\Design\Icons\PNGs\Virtualized_Servers.png"/>
            <p:cNvPicPr>
              <a:picLocks noChangeAspect="1" noChangeArrowheads="1"/>
            </p:cNvPicPr>
            <p:nvPr/>
          </p:nvPicPr>
          <p:blipFill rotWithShape="1">
            <a:blip r:embed="rId6" cstate="print">
              <a:lum bright="100000"/>
            </a:blip>
            <a:srcRect r="11413"/>
            <a:stretch/>
          </p:blipFill>
          <p:spPr bwMode="auto">
            <a:xfrm>
              <a:off x="6430008" y="2552387"/>
              <a:ext cx="1447800" cy="1308459"/>
            </a:xfrm>
            <a:prstGeom prst="rect">
              <a:avLst/>
            </a:prstGeom>
            <a:noFill/>
          </p:spPr>
        </p:pic>
      </p:grpSp>
      <p:grpSp>
        <p:nvGrpSpPr>
          <p:cNvPr id="24" name="Group 23"/>
          <p:cNvGrpSpPr/>
          <p:nvPr/>
        </p:nvGrpSpPr>
        <p:grpSpPr>
          <a:xfrm>
            <a:off x="6403251" y="1886857"/>
            <a:ext cx="2515255" cy="2604344"/>
            <a:chOff x="8456615" y="2508928"/>
            <a:chExt cx="3352800" cy="3472459"/>
          </a:xfrm>
        </p:grpSpPr>
        <p:sp>
          <p:nvSpPr>
            <p:cNvPr id="10" name="Rectangle 9"/>
            <p:cNvSpPr/>
            <p:nvPr/>
          </p:nvSpPr>
          <p:spPr>
            <a:xfrm>
              <a:off x="8456615" y="2552387"/>
              <a:ext cx="3352800" cy="3429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algn="ctr"/>
              <a:endParaRPr lang="en-US" dirty="0">
                <a:solidFill>
                  <a:prstClr val="white"/>
                </a:solidFill>
                <a:latin typeface="Segoe" charset="0"/>
                <a:cs typeface="Segoe" charset="0"/>
              </a:endParaRPr>
            </a:p>
          </p:txBody>
        </p:sp>
        <p:sp>
          <p:nvSpPr>
            <p:cNvPr id="16" name="Rectangle 15"/>
            <p:cNvSpPr>
              <a:spLocks noChangeArrowheads="1"/>
            </p:cNvSpPr>
            <p:nvPr/>
          </p:nvSpPr>
          <p:spPr bwMode="auto">
            <a:xfrm>
              <a:off x="8532820" y="3973193"/>
              <a:ext cx="3091097" cy="1502975"/>
            </a:xfrm>
            <a:prstGeom prst="rect">
              <a:avLst/>
            </a:prstGeom>
            <a:noFill/>
            <a:ln w="9525">
              <a:noFill/>
              <a:miter lim="800000"/>
              <a:headEnd/>
              <a:tailEnd/>
            </a:ln>
          </p:spPr>
          <p:txBody>
            <a:bodyPr wrap="square" lIns="182864" tIns="45717" rIns="182864" bIns="45717">
              <a:spAutoFit/>
            </a:bodyPr>
            <a:lstStyle/>
            <a:p>
              <a:pPr defTabSz="685778">
                <a:lnSpc>
                  <a:spcPts val="1425"/>
                </a:lnSpc>
              </a:pPr>
              <a:r>
                <a:rPr lang="en-US" sz="1200" b="1" dirty="0">
                  <a:gradFill>
                    <a:gsLst>
                      <a:gs pos="0">
                        <a:schemeClr val="tx1"/>
                      </a:gs>
                      <a:gs pos="100000">
                        <a:schemeClr val="tx1"/>
                      </a:gs>
                    </a:gsLst>
                    <a:lin ang="5400000" scaled="0"/>
                  </a:gradFill>
                  <a:latin typeface="Segoe" charset="0"/>
                  <a:cs typeface="Segoe" charset="0"/>
                </a:rPr>
                <a:t>Cloud</a:t>
              </a:r>
            </a:p>
            <a:p>
              <a:pPr defTabSz="685778">
                <a:lnSpc>
                  <a:spcPts val="1425"/>
                </a:lnSpc>
              </a:pPr>
              <a:endParaRPr lang="en-US" sz="1200" b="1" dirty="0">
                <a:gradFill>
                  <a:gsLst>
                    <a:gs pos="0">
                      <a:schemeClr val="tx1"/>
                    </a:gs>
                    <a:gs pos="100000">
                      <a:schemeClr val="tx1"/>
                    </a:gs>
                  </a:gsLst>
                  <a:lin ang="5400000" scaled="0"/>
                </a:gradFill>
                <a:latin typeface="Segoe" charset="0"/>
                <a:cs typeface="Segoe" charset="0"/>
              </a:endParaRPr>
            </a:p>
            <a:p>
              <a:pPr defTabSz="685778"/>
              <a:r>
                <a:rPr lang="en-US" sz="1100" dirty="0">
                  <a:gradFill>
                    <a:gsLst>
                      <a:gs pos="0">
                        <a:schemeClr val="tx1"/>
                      </a:gs>
                      <a:gs pos="100000">
                        <a:schemeClr val="tx1"/>
                      </a:gs>
                    </a:gsLst>
                    <a:lin ang="5400000" scaled="0"/>
                  </a:gradFill>
                  <a:latin typeface="Segoe" charset="0"/>
                  <a:cs typeface="Segoe" charset="0"/>
                </a:rPr>
                <a:t>Public and private cloud solutions that drive higher agility, focus and superior economics </a:t>
              </a:r>
              <a:endParaRPr lang="en-US" sz="1100" b="1" dirty="0">
                <a:gradFill>
                  <a:gsLst>
                    <a:gs pos="0">
                      <a:schemeClr val="tx1"/>
                    </a:gs>
                    <a:gs pos="100000">
                      <a:schemeClr val="tx1"/>
                    </a:gs>
                  </a:gsLst>
                  <a:lin ang="5400000" scaled="0"/>
                </a:gradFill>
                <a:latin typeface="Segoe" charset="0"/>
                <a:cs typeface="Segoe" charset="0"/>
              </a:endParaRPr>
            </a:p>
          </p:txBody>
        </p:sp>
        <p:pic>
          <p:nvPicPr>
            <p:cNvPr id="23" name="Picture 6" descr="\\MAGNUM\Projects\Microsoft\Cloud Power FY12\Design\ICONS_PNG\Cloud.png"/>
            <p:cNvPicPr>
              <a:picLocks noChangeAspect="1" noChangeArrowheads="1"/>
            </p:cNvPicPr>
            <p:nvPr/>
          </p:nvPicPr>
          <p:blipFill>
            <a:blip r:embed="rId7" cstate="print">
              <a:lum bright="100000"/>
            </a:blip>
            <a:srcRect/>
            <a:stretch>
              <a:fillRect/>
            </a:stretch>
          </p:blipFill>
          <p:spPr bwMode="auto">
            <a:xfrm>
              <a:off x="9475332" y="2508928"/>
              <a:ext cx="1315361" cy="1524000"/>
            </a:xfrm>
            <a:prstGeom prst="rect">
              <a:avLst/>
            </a:prstGeom>
            <a:noFill/>
          </p:spPr>
        </p:pic>
      </p:grpSp>
      <p:sp>
        <p:nvSpPr>
          <p:cNvPr id="25"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6"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8"/>
              </a:rPr>
              <a:t>www.rapidbbs.cn</a:t>
            </a:r>
            <a:endParaRPr lang="zh-CN" altLang="en-US" sz="1200" b="0">
              <a:latin typeface="Arial" charset="0"/>
              <a:ea typeface="ＭＳ Ｐゴシック" pitchFamily="34" charset="-128"/>
            </a:endParaRPr>
          </a:p>
        </p:txBody>
      </p:sp>
      <p:pic>
        <p:nvPicPr>
          <p:cNvPr id="27" name="Picture 2">
            <a:hlinkClick r:id="rId8"/>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70946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naging Services in Multiple Clouds</a:t>
            </a:r>
            <a:endParaRPr lang="en-US" dirty="0"/>
          </a:p>
        </p:txBody>
      </p:sp>
      <p:sp>
        <p:nvSpPr>
          <p:cNvPr id="16" name="Rounded Rectangle 15"/>
          <p:cNvSpPr/>
          <p:nvPr/>
        </p:nvSpPr>
        <p:spPr bwMode="auto">
          <a:xfrm>
            <a:off x="2137306" y="4514851"/>
            <a:ext cx="943623" cy="462191"/>
          </a:xfrm>
          <a:prstGeom prst="roundRect">
            <a:avLst>
              <a:gd name="adj" fmla="val 0"/>
            </a:avLst>
          </a:prstGeom>
          <a:gradFill rotWithShape="1">
            <a:gsLst>
              <a:gs pos="0">
                <a:srgbClr val="8CA923">
                  <a:shade val="45000"/>
                  <a:satMod val="155000"/>
                </a:srgbClr>
              </a:gs>
              <a:gs pos="60000">
                <a:srgbClr val="8CA923">
                  <a:shade val="95000"/>
                  <a:satMod val="150000"/>
                </a:srgbClr>
              </a:gs>
              <a:gs pos="100000">
                <a:srgbClr val="8CA923">
                  <a:tint val="87000"/>
                  <a:satMod val="250000"/>
                </a:srgbClr>
              </a:gs>
            </a:gsLst>
            <a:lin ang="16200000" scaled="0"/>
          </a:gradFill>
          <a:ln w="9525" cap="flat" cmpd="sng" algn="ctr">
            <a:solidFill>
              <a:srgbClr val="8CA923">
                <a:satMod val="150000"/>
              </a:srgbClr>
            </a:solidFill>
            <a:prstDash val="solid"/>
            <a:headEnd type="none" w="med" len="med"/>
            <a:tailEnd type="none" w="med" len="med"/>
          </a:ln>
          <a:effectLst>
            <a:outerShdw blurRad="65500" dist="38100" dir="5400000" rotWithShape="0">
              <a:srgbClr val="000000">
                <a:alpha val="40000"/>
              </a:srgbClr>
            </a:outerShdw>
          </a:effectLst>
        </p:spPr>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defRPr/>
            </a:pPr>
            <a:r>
              <a:rPr lang="en-US" sz="1700" kern="0" dirty="0" err="1">
                <a:gradFill>
                  <a:gsLst>
                    <a:gs pos="0">
                      <a:srgbClr val="FFFFFF"/>
                    </a:gs>
                    <a:gs pos="100000">
                      <a:srgbClr val="FFFFFF"/>
                    </a:gs>
                  </a:gsLst>
                  <a:lin ang="5400000" scaled="0"/>
                </a:gradFill>
              </a:rPr>
              <a:t>Xen</a:t>
            </a:r>
            <a:endParaRPr lang="en-US" sz="1700" kern="0" dirty="0">
              <a:gradFill>
                <a:gsLst>
                  <a:gs pos="0">
                    <a:srgbClr val="FFFFFF"/>
                  </a:gs>
                  <a:gs pos="100000">
                    <a:srgbClr val="FFFFFF"/>
                  </a:gs>
                </a:gsLst>
                <a:lin ang="5400000" scaled="0"/>
              </a:gradFill>
            </a:endParaRPr>
          </a:p>
        </p:txBody>
      </p:sp>
      <p:sp>
        <p:nvSpPr>
          <p:cNvPr id="17" name="Rounded Rectangle 16"/>
          <p:cNvSpPr/>
          <p:nvPr/>
        </p:nvSpPr>
        <p:spPr bwMode="auto">
          <a:xfrm>
            <a:off x="408115" y="1113016"/>
            <a:ext cx="8320424" cy="462191"/>
          </a:xfrm>
          <a:prstGeom prst="roundRect">
            <a:avLst>
              <a:gd name="adj" fmla="val 0"/>
            </a:avLst>
          </a:prstGeom>
          <a:gradFill rotWithShape="1">
            <a:gsLst>
              <a:gs pos="0">
                <a:srgbClr val="F38C37">
                  <a:shade val="45000"/>
                  <a:satMod val="155000"/>
                </a:srgbClr>
              </a:gs>
              <a:gs pos="60000">
                <a:srgbClr val="F38C37">
                  <a:shade val="95000"/>
                  <a:satMod val="150000"/>
                </a:srgbClr>
              </a:gs>
              <a:gs pos="100000">
                <a:srgbClr val="F38C37">
                  <a:tint val="87000"/>
                  <a:satMod val="250000"/>
                </a:srgbClr>
              </a:gs>
            </a:gsLst>
            <a:lin ang="16200000" scaled="0"/>
          </a:gradFill>
          <a:ln w="9525" cap="flat" cmpd="sng" algn="ctr">
            <a:solidFill>
              <a:srgbClr val="F38C37">
                <a:satMod val="150000"/>
              </a:srgbClr>
            </a:solidFill>
            <a:prstDash val="solid"/>
            <a:headEnd type="none" w="med" len="med"/>
            <a:tailEnd type="none" w="med" len="med"/>
          </a:ln>
          <a:effectLst>
            <a:outerShdw blurRad="65500" dist="38100" dir="5400000" rotWithShape="0">
              <a:srgbClr val="000000">
                <a:alpha val="40000"/>
              </a:srgbClr>
            </a:outerShdw>
          </a:effectLst>
        </p:spPr>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defRPr/>
            </a:pPr>
            <a:r>
              <a:rPr lang="en-US" sz="1700" kern="0" dirty="0">
                <a:gradFill>
                  <a:gsLst>
                    <a:gs pos="0">
                      <a:srgbClr val="FFFFFF"/>
                    </a:gs>
                    <a:gs pos="100000">
                      <a:srgbClr val="FFFFFF"/>
                    </a:gs>
                  </a:gsLst>
                  <a:lin ang="5400000" scaled="0"/>
                </a:gradFill>
              </a:rPr>
              <a:t>System Center 2012 - App Controller</a:t>
            </a:r>
          </a:p>
        </p:txBody>
      </p:sp>
      <p:sp>
        <p:nvSpPr>
          <p:cNvPr id="18" name="Rounded Rectangle 17"/>
          <p:cNvSpPr/>
          <p:nvPr/>
        </p:nvSpPr>
        <p:spPr bwMode="auto">
          <a:xfrm>
            <a:off x="208396" y="3924524"/>
            <a:ext cx="2872533" cy="462191"/>
          </a:xfrm>
          <a:prstGeom prst="roundRect">
            <a:avLst>
              <a:gd name="adj" fmla="val 0"/>
            </a:avLst>
          </a:prstGeom>
          <a:gradFill rotWithShape="1">
            <a:gsLst>
              <a:gs pos="0">
                <a:srgbClr val="3A94D2">
                  <a:shade val="45000"/>
                  <a:satMod val="155000"/>
                </a:srgbClr>
              </a:gs>
              <a:gs pos="60000">
                <a:srgbClr val="3A94D2">
                  <a:shade val="95000"/>
                  <a:satMod val="150000"/>
                </a:srgbClr>
              </a:gs>
              <a:gs pos="100000">
                <a:srgbClr val="3A94D2">
                  <a:tint val="87000"/>
                  <a:satMod val="250000"/>
                </a:srgbClr>
              </a:gs>
            </a:gsLst>
            <a:lin ang="16200000" scaled="0"/>
          </a:gradFill>
          <a:ln w="9525" cap="flat" cmpd="sng" algn="ctr">
            <a:solidFill>
              <a:srgbClr val="3A94D2">
                <a:satMod val="150000"/>
              </a:srgbClr>
            </a:solidFill>
            <a:prstDash val="solid"/>
            <a:headEnd type="none" w="med" len="med"/>
            <a:tailEnd type="none" w="med" len="med"/>
          </a:ln>
          <a:effectLst>
            <a:outerShdw blurRad="65500" dist="38100" dir="5400000" rotWithShape="0">
              <a:srgbClr val="000000">
                <a:alpha val="40000"/>
              </a:srgbClr>
            </a:outerShdw>
          </a:effectLst>
        </p:spPr>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defRPr/>
            </a:pPr>
            <a:r>
              <a:rPr lang="en-US" sz="1700" kern="0" dirty="0">
                <a:gradFill>
                  <a:gsLst>
                    <a:gs pos="0">
                      <a:srgbClr val="FFFFFF"/>
                    </a:gs>
                    <a:gs pos="100000">
                      <a:srgbClr val="FFFFFF"/>
                    </a:gs>
                  </a:gsLst>
                  <a:lin ang="5400000" scaled="0"/>
                </a:gradFill>
              </a:rPr>
              <a:t>Virtual Machine Manager</a:t>
            </a:r>
          </a:p>
        </p:txBody>
      </p:sp>
      <p:sp>
        <p:nvSpPr>
          <p:cNvPr id="19" name="Rounded Rectangle 18"/>
          <p:cNvSpPr/>
          <p:nvPr/>
        </p:nvSpPr>
        <p:spPr bwMode="auto">
          <a:xfrm>
            <a:off x="6099187" y="3345017"/>
            <a:ext cx="2857440" cy="462191"/>
          </a:xfrm>
          <a:prstGeom prst="roundRect">
            <a:avLst>
              <a:gd name="adj" fmla="val 0"/>
            </a:avLst>
          </a:prstGeom>
          <a:gradFill rotWithShape="1">
            <a:gsLst>
              <a:gs pos="0">
                <a:srgbClr val="274085">
                  <a:shade val="45000"/>
                  <a:satMod val="155000"/>
                </a:srgbClr>
              </a:gs>
              <a:gs pos="60000">
                <a:srgbClr val="274085">
                  <a:shade val="95000"/>
                  <a:satMod val="150000"/>
                </a:srgbClr>
              </a:gs>
              <a:gs pos="100000">
                <a:srgbClr val="274085">
                  <a:tint val="87000"/>
                  <a:satMod val="250000"/>
                </a:srgbClr>
              </a:gs>
            </a:gsLst>
            <a:lin ang="16200000" scaled="0"/>
          </a:gradFill>
          <a:ln w="9525" cap="flat" cmpd="sng" algn="ctr">
            <a:solidFill>
              <a:srgbClr val="274085">
                <a:satMod val="150000"/>
              </a:srgbClr>
            </a:solidFill>
            <a:prstDash val="solid"/>
            <a:headEnd type="none" w="med" len="med"/>
            <a:tailEnd type="none" w="med" len="med"/>
          </a:ln>
          <a:effectLst>
            <a:outerShdw blurRad="65500" dist="38100" dir="5400000" rotWithShape="0">
              <a:srgbClr val="000000">
                <a:alpha val="40000"/>
              </a:srgbClr>
            </a:outerShdw>
          </a:effectLst>
        </p:spPr>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defRPr/>
            </a:pPr>
            <a:r>
              <a:rPr lang="en-US" sz="1700" kern="0" dirty="0">
                <a:gradFill>
                  <a:gsLst>
                    <a:gs pos="0">
                      <a:srgbClr val="FFFFFF"/>
                    </a:gs>
                    <a:gs pos="100000">
                      <a:srgbClr val="FFFFFF"/>
                    </a:gs>
                  </a:gsLst>
                  <a:lin ang="5400000" scaled="0"/>
                </a:gradFill>
              </a:rPr>
              <a:t>Windows Azure</a:t>
            </a:r>
          </a:p>
        </p:txBody>
      </p:sp>
      <p:sp>
        <p:nvSpPr>
          <p:cNvPr id="20" name="Rounded Rectangle 19"/>
          <p:cNvSpPr/>
          <p:nvPr/>
        </p:nvSpPr>
        <p:spPr bwMode="auto">
          <a:xfrm>
            <a:off x="1172849" y="4514851"/>
            <a:ext cx="943623" cy="462191"/>
          </a:xfrm>
          <a:prstGeom prst="roundRect">
            <a:avLst>
              <a:gd name="adj" fmla="val 0"/>
            </a:avLst>
          </a:prstGeom>
          <a:gradFill rotWithShape="1">
            <a:gsLst>
              <a:gs pos="0">
                <a:srgbClr val="8557C9">
                  <a:shade val="45000"/>
                  <a:satMod val="155000"/>
                </a:srgbClr>
              </a:gs>
              <a:gs pos="60000">
                <a:srgbClr val="8557C9">
                  <a:shade val="95000"/>
                  <a:satMod val="150000"/>
                </a:srgbClr>
              </a:gs>
              <a:gs pos="100000">
                <a:srgbClr val="8557C9">
                  <a:tint val="87000"/>
                  <a:satMod val="250000"/>
                </a:srgbClr>
              </a:gs>
            </a:gsLst>
            <a:lin ang="16200000" scaled="0"/>
          </a:gradFill>
          <a:ln w="9525" cap="flat" cmpd="sng" algn="ctr">
            <a:solidFill>
              <a:srgbClr val="8557C9">
                <a:satMod val="150000"/>
              </a:srgbClr>
            </a:solidFill>
            <a:prstDash val="solid"/>
            <a:headEnd type="none" w="med" len="med"/>
            <a:tailEnd type="none" w="med" len="med"/>
          </a:ln>
          <a:effectLst>
            <a:outerShdw blurRad="65500" dist="38100" dir="5400000" rotWithShape="0">
              <a:srgbClr val="000000">
                <a:alpha val="40000"/>
              </a:srgbClr>
            </a:outerShdw>
          </a:effectLst>
        </p:spPr>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defRPr/>
            </a:pPr>
            <a:r>
              <a:rPr lang="en-US" sz="1700" kern="0" dirty="0" err="1">
                <a:gradFill>
                  <a:gsLst>
                    <a:gs pos="0">
                      <a:srgbClr val="FFFFFF"/>
                    </a:gs>
                    <a:gs pos="100000">
                      <a:srgbClr val="FFFFFF"/>
                    </a:gs>
                  </a:gsLst>
                  <a:lin ang="5400000" scaled="0"/>
                </a:gradFill>
              </a:rPr>
              <a:t>vmware</a:t>
            </a:r>
            <a:endParaRPr lang="en-US" sz="1700" kern="0" dirty="0">
              <a:gradFill>
                <a:gsLst>
                  <a:gs pos="0">
                    <a:srgbClr val="FFFFFF"/>
                  </a:gs>
                  <a:gs pos="100000">
                    <a:srgbClr val="FFFFFF"/>
                  </a:gs>
                </a:gsLst>
                <a:lin ang="5400000" scaled="0"/>
              </a:gradFill>
            </a:endParaRPr>
          </a:p>
        </p:txBody>
      </p:sp>
      <p:sp>
        <p:nvSpPr>
          <p:cNvPr id="21" name="Rounded Rectangle 20"/>
          <p:cNvSpPr/>
          <p:nvPr/>
        </p:nvSpPr>
        <p:spPr bwMode="auto">
          <a:xfrm>
            <a:off x="208394" y="4514851"/>
            <a:ext cx="943623" cy="462191"/>
          </a:xfrm>
          <a:prstGeom prst="roundRect">
            <a:avLst>
              <a:gd name="adj" fmla="val 0"/>
            </a:avLst>
          </a:prstGeom>
          <a:gradFill rotWithShape="1">
            <a:gsLst>
              <a:gs pos="0">
                <a:srgbClr val="FED45C">
                  <a:shade val="45000"/>
                  <a:satMod val="155000"/>
                </a:srgbClr>
              </a:gs>
              <a:gs pos="60000">
                <a:srgbClr val="FED45C">
                  <a:shade val="95000"/>
                  <a:satMod val="150000"/>
                </a:srgbClr>
              </a:gs>
              <a:gs pos="100000">
                <a:srgbClr val="FED45C">
                  <a:tint val="87000"/>
                  <a:satMod val="250000"/>
                </a:srgbClr>
              </a:gs>
            </a:gsLst>
            <a:lin ang="16200000" scaled="0"/>
          </a:gradFill>
          <a:ln w="9525" cap="flat" cmpd="sng" algn="ctr">
            <a:solidFill>
              <a:srgbClr val="FED45C">
                <a:satMod val="150000"/>
              </a:srgbClr>
            </a:solidFill>
            <a:prstDash val="solid"/>
            <a:headEnd type="none" w="med" len="med"/>
            <a:tailEnd type="none" w="med" len="med"/>
          </a:ln>
          <a:effectLst>
            <a:outerShdw blurRad="65500" dist="38100" dir="5400000" rotWithShape="0">
              <a:srgbClr val="000000">
                <a:alpha val="40000"/>
              </a:srgbClr>
            </a:outerShdw>
          </a:effectLst>
        </p:spPr>
        <p:txBody>
          <a:bodyPr vert="horz" wrap="square" lIns="68583" tIns="34292" rIns="68583" bIns="34292" numCol="1" rtlCol="0" anchor="ctr" anchorCtr="0" compatLnSpc="1">
            <a:prstTxWarp prst="textNoShape">
              <a:avLst/>
            </a:prstTxWarp>
          </a:bodyPr>
          <a:lstStyle/>
          <a:p>
            <a:pPr algn="ctr" defTabSz="685637">
              <a:defRPr/>
            </a:pPr>
            <a:r>
              <a:rPr lang="en-US" sz="1700" kern="0" dirty="0">
                <a:gradFill>
                  <a:gsLst>
                    <a:gs pos="0">
                      <a:srgbClr val="000000"/>
                    </a:gs>
                    <a:gs pos="100000">
                      <a:srgbClr val="000000"/>
                    </a:gs>
                  </a:gsLst>
                  <a:lin ang="5400000" scaled="0"/>
                </a:gradFill>
              </a:rPr>
              <a:t>Hyper-V</a:t>
            </a:r>
          </a:p>
        </p:txBody>
      </p:sp>
      <p:sp>
        <p:nvSpPr>
          <p:cNvPr id="23" name="Freeform 22"/>
          <p:cNvSpPr>
            <a:spLocks noChangeAspect="1"/>
          </p:cNvSpPr>
          <p:nvPr/>
        </p:nvSpPr>
        <p:spPr bwMode="auto">
          <a:xfrm>
            <a:off x="3151284" y="2619008"/>
            <a:ext cx="892219" cy="472547"/>
          </a:xfrm>
          <a:custGeom>
            <a:avLst/>
            <a:gdLst/>
            <a:ahLst/>
            <a:cxnLst>
              <a:cxn ang="0">
                <a:pos x="6359" y="0"/>
              </a:cxn>
              <a:cxn ang="0">
                <a:pos x="4385" y="1129"/>
              </a:cxn>
              <a:cxn ang="0">
                <a:pos x="3525" y="915"/>
              </a:cxn>
              <a:cxn ang="0">
                <a:pos x="1888" y="1923"/>
              </a:cxn>
              <a:cxn ang="0">
                <a:pos x="1378" y="1826"/>
              </a:cxn>
              <a:cxn ang="0">
                <a:pos x="0" y="3203"/>
              </a:cxn>
              <a:cxn ang="0">
                <a:pos x="1301" y="4578"/>
              </a:cxn>
              <a:cxn ang="0">
                <a:pos x="1301" y="4581"/>
              </a:cxn>
              <a:cxn ang="0">
                <a:pos x="6359" y="4581"/>
              </a:cxn>
              <a:cxn ang="0">
                <a:pos x="8650" y="2290"/>
              </a:cxn>
              <a:cxn ang="0">
                <a:pos x="6359" y="0"/>
              </a:cxn>
            </a:cxnLst>
            <a:rect l="0" t="0" r="r" b="b"/>
            <a:pathLst>
              <a:path w="8650" h="4581">
                <a:moveTo>
                  <a:pt x="6359" y="0"/>
                </a:moveTo>
                <a:cubicBezTo>
                  <a:pt x="5518" y="0"/>
                  <a:pt x="4783" y="453"/>
                  <a:pt x="4385" y="1129"/>
                </a:cubicBezTo>
                <a:cubicBezTo>
                  <a:pt x="4128" y="993"/>
                  <a:pt x="3836" y="915"/>
                  <a:pt x="3525" y="915"/>
                </a:cubicBezTo>
                <a:cubicBezTo>
                  <a:pt x="2809" y="915"/>
                  <a:pt x="2190" y="1325"/>
                  <a:pt x="1888" y="1923"/>
                </a:cubicBezTo>
                <a:cubicBezTo>
                  <a:pt x="1730" y="1860"/>
                  <a:pt x="1558" y="1826"/>
                  <a:pt x="1378" y="1826"/>
                </a:cubicBezTo>
                <a:cubicBezTo>
                  <a:pt x="617" y="1826"/>
                  <a:pt x="0" y="2442"/>
                  <a:pt x="0" y="3203"/>
                </a:cubicBezTo>
                <a:cubicBezTo>
                  <a:pt x="0" y="3938"/>
                  <a:pt x="576" y="4538"/>
                  <a:pt x="1301" y="4578"/>
                </a:cubicBezTo>
                <a:cubicBezTo>
                  <a:pt x="1301" y="4581"/>
                  <a:pt x="1301" y="4581"/>
                  <a:pt x="1301" y="4581"/>
                </a:cubicBezTo>
                <a:cubicBezTo>
                  <a:pt x="6359" y="4581"/>
                  <a:pt x="6359" y="4581"/>
                  <a:pt x="6359" y="4581"/>
                </a:cubicBezTo>
                <a:cubicBezTo>
                  <a:pt x="7624" y="4581"/>
                  <a:pt x="8650" y="3555"/>
                  <a:pt x="8650" y="2290"/>
                </a:cubicBezTo>
                <a:cubicBezTo>
                  <a:pt x="8650" y="1025"/>
                  <a:pt x="7624" y="0"/>
                  <a:pt x="6359" y="0"/>
                </a:cubicBezTo>
                <a:close/>
              </a:path>
            </a:pathLst>
          </a:custGeom>
          <a:noFill/>
          <a:ln w="31750">
            <a:solidFill>
              <a:schemeClr val="tx1"/>
            </a:solidFill>
          </a:ln>
          <a:extLst/>
        </p:spPr>
        <p:txBody>
          <a:bodyPr vert="horz" wrap="square" lIns="68586" tIns="34294" rIns="68586" bIns="34294"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a:solidFill>
                <a:srgbClr val="FFFFFF"/>
              </a:solidFill>
            </a:endParaRPr>
          </a:p>
        </p:txBody>
      </p:sp>
      <p:sp>
        <p:nvSpPr>
          <p:cNvPr id="24" name="Freeform 23"/>
          <p:cNvSpPr>
            <a:spLocks noChangeAspect="1"/>
          </p:cNvSpPr>
          <p:nvPr/>
        </p:nvSpPr>
        <p:spPr bwMode="auto">
          <a:xfrm>
            <a:off x="4159313" y="2619008"/>
            <a:ext cx="892219" cy="472547"/>
          </a:xfrm>
          <a:custGeom>
            <a:avLst/>
            <a:gdLst/>
            <a:ahLst/>
            <a:cxnLst>
              <a:cxn ang="0">
                <a:pos x="6359" y="0"/>
              </a:cxn>
              <a:cxn ang="0">
                <a:pos x="4385" y="1129"/>
              </a:cxn>
              <a:cxn ang="0">
                <a:pos x="3525" y="915"/>
              </a:cxn>
              <a:cxn ang="0">
                <a:pos x="1888" y="1923"/>
              </a:cxn>
              <a:cxn ang="0">
                <a:pos x="1378" y="1826"/>
              </a:cxn>
              <a:cxn ang="0">
                <a:pos x="0" y="3203"/>
              </a:cxn>
              <a:cxn ang="0">
                <a:pos x="1301" y="4578"/>
              </a:cxn>
              <a:cxn ang="0">
                <a:pos x="1301" y="4581"/>
              </a:cxn>
              <a:cxn ang="0">
                <a:pos x="6359" y="4581"/>
              </a:cxn>
              <a:cxn ang="0">
                <a:pos x="8650" y="2290"/>
              </a:cxn>
              <a:cxn ang="0">
                <a:pos x="6359" y="0"/>
              </a:cxn>
            </a:cxnLst>
            <a:rect l="0" t="0" r="r" b="b"/>
            <a:pathLst>
              <a:path w="8650" h="4581">
                <a:moveTo>
                  <a:pt x="6359" y="0"/>
                </a:moveTo>
                <a:cubicBezTo>
                  <a:pt x="5518" y="0"/>
                  <a:pt x="4783" y="453"/>
                  <a:pt x="4385" y="1129"/>
                </a:cubicBezTo>
                <a:cubicBezTo>
                  <a:pt x="4128" y="993"/>
                  <a:pt x="3836" y="915"/>
                  <a:pt x="3525" y="915"/>
                </a:cubicBezTo>
                <a:cubicBezTo>
                  <a:pt x="2809" y="915"/>
                  <a:pt x="2190" y="1325"/>
                  <a:pt x="1888" y="1923"/>
                </a:cubicBezTo>
                <a:cubicBezTo>
                  <a:pt x="1730" y="1860"/>
                  <a:pt x="1558" y="1826"/>
                  <a:pt x="1378" y="1826"/>
                </a:cubicBezTo>
                <a:cubicBezTo>
                  <a:pt x="617" y="1826"/>
                  <a:pt x="0" y="2442"/>
                  <a:pt x="0" y="3203"/>
                </a:cubicBezTo>
                <a:cubicBezTo>
                  <a:pt x="0" y="3938"/>
                  <a:pt x="576" y="4538"/>
                  <a:pt x="1301" y="4578"/>
                </a:cubicBezTo>
                <a:cubicBezTo>
                  <a:pt x="1301" y="4581"/>
                  <a:pt x="1301" y="4581"/>
                  <a:pt x="1301" y="4581"/>
                </a:cubicBezTo>
                <a:cubicBezTo>
                  <a:pt x="6359" y="4581"/>
                  <a:pt x="6359" y="4581"/>
                  <a:pt x="6359" y="4581"/>
                </a:cubicBezTo>
                <a:cubicBezTo>
                  <a:pt x="7624" y="4581"/>
                  <a:pt x="8650" y="3555"/>
                  <a:pt x="8650" y="2290"/>
                </a:cubicBezTo>
                <a:cubicBezTo>
                  <a:pt x="8650" y="1025"/>
                  <a:pt x="7624" y="0"/>
                  <a:pt x="6359" y="0"/>
                </a:cubicBezTo>
                <a:close/>
              </a:path>
            </a:pathLst>
          </a:custGeom>
          <a:noFill/>
          <a:ln w="31750">
            <a:solidFill>
              <a:schemeClr val="tx1"/>
            </a:solidFill>
          </a:ln>
          <a:extLst/>
        </p:spPr>
        <p:txBody>
          <a:bodyPr vert="horz" wrap="square" lIns="68586" tIns="34294" rIns="68586" bIns="34294"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a:solidFill>
                <a:srgbClr val="FFFFFF"/>
              </a:solidFill>
            </a:endParaRPr>
          </a:p>
        </p:txBody>
      </p:sp>
      <p:sp>
        <p:nvSpPr>
          <p:cNvPr id="30" name="Rounded Rectangle 29"/>
          <p:cNvSpPr/>
          <p:nvPr/>
        </p:nvSpPr>
        <p:spPr bwMode="auto">
          <a:xfrm>
            <a:off x="5068612" y="4514851"/>
            <a:ext cx="943623" cy="462191"/>
          </a:xfrm>
          <a:prstGeom prst="roundRect">
            <a:avLst>
              <a:gd name="adj" fmla="val 0"/>
            </a:avLst>
          </a:prstGeom>
          <a:gradFill rotWithShape="1">
            <a:gsLst>
              <a:gs pos="0">
                <a:srgbClr val="8CA923">
                  <a:shade val="45000"/>
                  <a:satMod val="155000"/>
                </a:srgbClr>
              </a:gs>
              <a:gs pos="60000">
                <a:srgbClr val="8CA923">
                  <a:shade val="95000"/>
                  <a:satMod val="150000"/>
                </a:srgbClr>
              </a:gs>
              <a:gs pos="100000">
                <a:srgbClr val="8CA923">
                  <a:tint val="87000"/>
                  <a:satMod val="250000"/>
                </a:srgbClr>
              </a:gs>
            </a:gsLst>
            <a:lin ang="16200000" scaled="0"/>
          </a:gradFill>
          <a:ln w="9525" cap="flat" cmpd="sng" algn="ctr">
            <a:solidFill>
              <a:srgbClr val="8CA923">
                <a:satMod val="150000"/>
              </a:srgbClr>
            </a:solidFill>
            <a:prstDash val="solid"/>
            <a:headEnd type="none" w="med" len="med"/>
            <a:tailEnd type="none" w="med" len="med"/>
          </a:ln>
          <a:effectLst>
            <a:outerShdw blurRad="65500" dist="38100" dir="5400000" rotWithShape="0">
              <a:srgbClr val="000000">
                <a:alpha val="40000"/>
              </a:srgbClr>
            </a:outerShdw>
          </a:effectLst>
        </p:spPr>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defRPr/>
            </a:pPr>
            <a:r>
              <a:rPr lang="en-US" sz="1700" kern="0" dirty="0" err="1">
                <a:gradFill>
                  <a:gsLst>
                    <a:gs pos="0">
                      <a:srgbClr val="FFFFFF"/>
                    </a:gs>
                    <a:gs pos="100000">
                      <a:srgbClr val="FFFFFF"/>
                    </a:gs>
                  </a:gsLst>
                  <a:lin ang="5400000" scaled="0"/>
                </a:gradFill>
              </a:rPr>
              <a:t>Xen</a:t>
            </a:r>
            <a:endParaRPr lang="en-US" sz="1700" kern="0" dirty="0">
              <a:gradFill>
                <a:gsLst>
                  <a:gs pos="0">
                    <a:srgbClr val="FFFFFF"/>
                  </a:gs>
                  <a:gs pos="100000">
                    <a:srgbClr val="FFFFFF"/>
                  </a:gs>
                </a:gsLst>
                <a:lin ang="5400000" scaled="0"/>
              </a:gradFill>
            </a:endParaRPr>
          </a:p>
        </p:txBody>
      </p:sp>
      <p:sp>
        <p:nvSpPr>
          <p:cNvPr id="31" name="Rounded Rectangle 30"/>
          <p:cNvSpPr/>
          <p:nvPr/>
        </p:nvSpPr>
        <p:spPr bwMode="auto">
          <a:xfrm>
            <a:off x="3163664" y="3924524"/>
            <a:ext cx="2848572" cy="462191"/>
          </a:xfrm>
          <a:prstGeom prst="roundRect">
            <a:avLst>
              <a:gd name="adj" fmla="val 0"/>
            </a:avLst>
          </a:prstGeom>
          <a:gradFill rotWithShape="1">
            <a:gsLst>
              <a:gs pos="0">
                <a:srgbClr val="3A94D2">
                  <a:shade val="45000"/>
                  <a:satMod val="155000"/>
                </a:srgbClr>
              </a:gs>
              <a:gs pos="60000">
                <a:srgbClr val="3A94D2">
                  <a:shade val="95000"/>
                  <a:satMod val="150000"/>
                </a:srgbClr>
              </a:gs>
              <a:gs pos="100000">
                <a:srgbClr val="3A94D2">
                  <a:tint val="87000"/>
                  <a:satMod val="250000"/>
                </a:srgbClr>
              </a:gs>
            </a:gsLst>
            <a:lin ang="16200000" scaled="0"/>
          </a:gradFill>
          <a:ln w="9525" cap="flat" cmpd="sng" algn="ctr">
            <a:solidFill>
              <a:srgbClr val="3A94D2">
                <a:satMod val="150000"/>
              </a:srgbClr>
            </a:solidFill>
            <a:prstDash val="solid"/>
            <a:headEnd type="none" w="med" len="med"/>
            <a:tailEnd type="none" w="med" len="med"/>
          </a:ln>
          <a:effectLst>
            <a:outerShdw blurRad="65500" dist="38100" dir="5400000" rotWithShape="0">
              <a:srgbClr val="000000">
                <a:alpha val="40000"/>
              </a:srgbClr>
            </a:outerShdw>
          </a:effectLst>
        </p:spPr>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defRPr/>
            </a:pPr>
            <a:r>
              <a:rPr lang="en-US" sz="1700" kern="0" dirty="0">
                <a:gradFill>
                  <a:gsLst>
                    <a:gs pos="0">
                      <a:srgbClr val="FFFFFF"/>
                    </a:gs>
                    <a:gs pos="100000">
                      <a:srgbClr val="FFFFFF"/>
                    </a:gs>
                  </a:gsLst>
                  <a:lin ang="5400000" scaled="0"/>
                </a:gradFill>
              </a:rPr>
              <a:t>Virtual Machine Manager</a:t>
            </a:r>
          </a:p>
        </p:txBody>
      </p:sp>
      <p:sp>
        <p:nvSpPr>
          <p:cNvPr id="32" name="Rounded Rectangle 31"/>
          <p:cNvSpPr/>
          <p:nvPr/>
        </p:nvSpPr>
        <p:spPr bwMode="auto">
          <a:xfrm>
            <a:off x="4109782" y="4514851"/>
            <a:ext cx="943623" cy="462191"/>
          </a:xfrm>
          <a:prstGeom prst="roundRect">
            <a:avLst>
              <a:gd name="adj" fmla="val 0"/>
            </a:avLst>
          </a:prstGeom>
          <a:gradFill rotWithShape="1">
            <a:gsLst>
              <a:gs pos="0">
                <a:srgbClr val="8557C9">
                  <a:shade val="45000"/>
                  <a:satMod val="155000"/>
                </a:srgbClr>
              </a:gs>
              <a:gs pos="60000">
                <a:srgbClr val="8557C9">
                  <a:shade val="95000"/>
                  <a:satMod val="150000"/>
                </a:srgbClr>
              </a:gs>
              <a:gs pos="100000">
                <a:srgbClr val="8557C9">
                  <a:tint val="87000"/>
                  <a:satMod val="250000"/>
                </a:srgbClr>
              </a:gs>
            </a:gsLst>
            <a:lin ang="16200000" scaled="0"/>
          </a:gradFill>
          <a:ln w="9525" cap="flat" cmpd="sng" algn="ctr">
            <a:solidFill>
              <a:srgbClr val="8557C9">
                <a:satMod val="150000"/>
              </a:srgbClr>
            </a:solidFill>
            <a:prstDash val="solid"/>
            <a:headEnd type="none" w="med" len="med"/>
            <a:tailEnd type="none" w="med" len="med"/>
          </a:ln>
          <a:effectLst>
            <a:outerShdw blurRad="65500" dist="38100" dir="5400000" rotWithShape="0">
              <a:srgbClr val="000000">
                <a:alpha val="40000"/>
              </a:srgbClr>
            </a:outerShdw>
          </a:effectLst>
        </p:spPr>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defRPr/>
            </a:pPr>
            <a:r>
              <a:rPr lang="en-US" sz="1700" kern="0" dirty="0" err="1">
                <a:gradFill>
                  <a:gsLst>
                    <a:gs pos="0">
                      <a:srgbClr val="FFFFFF"/>
                    </a:gs>
                    <a:gs pos="100000">
                      <a:srgbClr val="FFFFFF"/>
                    </a:gs>
                  </a:gsLst>
                  <a:lin ang="5400000" scaled="0"/>
                </a:gradFill>
              </a:rPr>
              <a:t>vmware</a:t>
            </a:r>
            <a:endParaRPr lang="en-US" sz="1700" kern="0" dirty="0">
              <a:gradFill>
                <a:gsLst>
                  <a:gs pos="0">
                    <a:srgbClr val="FFFFFF"/>
                  </a:gs>
                  <a:gs pos="100000">
                    <a:srgbClr val="FFFFFF"/>
                  </a:gs>
                </a:gsLst>
                <a:lin ang="5400000" scaled="0"/>
              </a:gradFill>
            </a:endParaRPr>
          </a:p>
        </p:txBody>
      </p:sp>
      <p:sp>
        <p:nvSpPr>
          <p:cNvPr id="33" name="Rounded Rectangle 32"/>
          <p:cNvSpPr/>
          <p:nvPr/>
        </p:nvSpPr>
        <p:spPr bwMode="auto">
          <a:xfrm>
            <a:off x="3163664" y="4514851"/>
            <a:ext cx="943623" cy="462191"/>
          </a:xfrm>
          <a:prstGeom prst="roundRect">
            <a:avLst>
              <a:gd name="adj" fmla="val 0"/>
            </a:avLst>
          </a:prstGeom>
          <a:gradFill rotWithShape="1">
            <a:gsLst>
              <a:gs pos="0">
                <a:srgbClr val="FED45C">
                  <a:shade val="45000"/>
                  <a:satMod val="155000"/>
                </a:srgbClr>
              </a:gs>
              <a:gs pos="60000">
                <a:srgbClr val="FED45C">
                  <a:shade val="95000"/>
                  <a:satMod val="150000"/>
                </a:srgbClr>
              </a:gs>
              <a:gs pos="100000">
                <a:srgbClr val="FED45C">
                  <a:tint val="87000"/>
                  <a:satMod val="250000"/>
                </a:srgbClr>
              </a:gs>
            </a:gsLst>
            <a:lin ang="16200000" scaled="0"/>
          </a:gradFill>
          <a:ln w="9525" cap="flat" cmpd="sng" algn="ctr">
            <a:solidFill>
              <a:srgbClr val="FED45C">
                <a:satMod val="150000"/>
              </a:srgbClr>
            </a:solidFill>
            <a:prstDash val="solid"/>
            <a:headEnd type="none" w="med" len="med"/>
            <a:tailEnd type="none" w="med" len="med"/>
          </a:ln>
          <a:effectLst>
            <a:outerShdw blurRad="65500" dist="38100" dir="5400000" rotWithShape="0">
              <a:srgbClr val="000000">
                <a:alpha val="40000"/>
              </a:srgbClr>
            </a:outerShdw>
          </a:effectLst>
        </p:spPr>
        <p:txBody>
          <a:bodyPr vert="horz" wrap="square" lIns="68583" tIns="34292" rIns="68583" bIns="34292" numCol="1" rtlCol="0" anchor="ctr" anchorCtr="0" compatLnSpc="1">
            <a:prstTxWarp prst="textNoShape">
              <a:avLst/>
            </a:prstTxWarp>
          </a:bodyPr>
          <a:lstStyle/>
          <a:p>
            <a:pPr algn="ctr" defTabSz="685637">
              <a:defRPr/>
            </a:pPr>
            <a:r>
              <a:rPr lang="en-US" sz="1700" kern="0" dirty="0">
                <a:gradFill>
                  <a:gsLst>
                    <a:gs pos="0">
                      <a:srgbClr val="000000"/>
                    </a:gs>
                    <a:gs pos="100000">
                      <a:srgbClr val="000000"/>
                    </a:gs>
                  </a:gsLst>
                  <a:lin ang="5400000" scaled="0"/>
                </a:gradFill>
              </a:rPr>
              <a:t>Hyper-V</a:t>
            </a:r>
          </a:p>
        </p:txBody>
      </p:sp>
      <p:sp>
        <p:nvSpPr>
          <p:cNvPr id="34" name="Freeform 33"/>
          <p:cNvSpPr>
            <a:spLocks noChangeAspect="1"/>
          </p:cNvSpPr>
          <p:nvPr/>
        </p:nvSpPr>
        <p:spPr bwMode="auto">
          <a:xfrm>
            <a:off x="5125829" y="2619008"/>
            <a:ext cx="892219" cy="472547"/>
          </a:xfrm>
          <a:custGeom>
            <a:avLst/>
            <a:gdLst/>
            <a:ahLst/>
            <a:cxnLst>
              <a:cxn ang="0">
                <a:pos x="6359" y="0"/>
              </a:cxn>
              <a:cxn ang="0">
                <a:pos x="4385" y="1129"/>
              </a:cxn>
              <a:cxn ang="0">
                <a:pos x="3525" y="915"/>
              </a:cxn>
              <a:cxn ang="0">
                <a:pos x="1888" y="1923"/>
              </a:cxn>
              <a:cxn ang="0">
                <a:pos x="1378" y="1826"/>
              </a:cxn>
              <a:cxn ang="0">
                <a:pos x="0" y="3203"/>
              </a:cxn>
              <a:cxn ang="0">
                <a:pos x="1301" y="4578"/>
              </a:cxn>
              <a:cxn ang="0">
                <a:pos x="1301" y="4581"/>
              </a:cxn>
              <a:cxn ang="0">
                <a:pos x="6359" y="4581"/>
              </a:cxn>
              <a:cxn ang="0">
                <a:pos x="8650" y="2290"/>
              </a:cxn>
              <a:cxn ang="0">
                <a:pos x="6359" y="0"/>
              </a:cxn>
            </a:cxnLst>
            <a:rect l="0" t="0" r="r" b="b"/>
            <a:pathLst>
              <a:path w="8650" h="4581">
                <a:moveTo>
                  <a:pt x="6359" y="0"/>
                </a:moveTo>
                <a:cubicBezTo>
                  <a:pt x="5518" y="0"/>
                  <a:pt x="4783" y="453"/>
                  <a:pt x="4385" y="1129"/>
                </a:cubicBezTo>
                <a:cubicBezTo>
                  <a:pt x="4128" y="993"/>
                  <a:pt x="3836" y="915"/>
                  <a:pt x="3525" y="915"/>
                </a:cubicBezTo>
                <a:cubicBezTo>
                  <a:pt x="2809" y="915"/>
                  <a:pt x="2190" y="1325"/>
                  <a:pt x="1888" y="1923"/>
                </a:cubicBezTo>
                <a:cubicBezTo>
                  <a:pt x="1730" y="1860"/>
                  <a:pt x="1558" y="1826"/>
                  <a:pt x="1378" y="1826"/>
                </a:cubicBezTo>
                <a:cubicBezTo>
                  <a:pt x="617" y="1826"/>
                  <a:pt x="0" y="2442"/>
                  <a:pt x="0" y="3203"/>
                </a:cubicBezTo>
                <a:cubicBezTo>
                  <a:pt x="0" y="3938"/>
                  <a:pt x="576" y="4538"/>
                  <a:pt x="1301" y="4578"/>
                </a:cubicBezTo>
                <a:cubicBezTo>
                  <a:pt x="1301" y="4581"/>
                  <a:pt x="1301" y="4581"/>
                  <a:pt x="1301" y="4581"/>
                </a:cubicBezTo>
                <a:cubicBezTo>
                  <a:pt x="6359" y="4581"/>
                  <a:pt x="6359" y="4581"/>
                  <a:pt x="6359" y="4581"/>
                </a:cubicBezTo>
                <a:cubicBezTo>
                  <a:pt x="7624" y="4581"/>
                  <a:pt x="8650" y="3555"/>
                  <a:pt x="8650" y="2290"/>
                </a:cubicBezTo>
                <a:cubicBezTo>
                  <a:pt x="8650" y="1025"/>
                  <a:pt x="7624" y="0"/>
                  <a:pt x="6359" y="0"/>
                </a:cubicBezTo>
                <a:close/>
              </a:path>
            </a:pathLst>
          </a:custGeom>
          <a:noFill/>
          <a:ln w="31750">
            <a:solidFill>
              <a:schemeClr val="tx1"/>
            </a:solidFill>
          </a:ln>
          <a:extLst/>
        </p:spPr>
        <p:txBody>
          <a:bodyPr vert="horz" wrap="square" lIns="68586" tIns="34294" rIns="68586" bIns="34294"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a:solidFill>
                <a:srgbClr val="FFFFFF"/>
              </a:solidFill>
            </a:endParaRPr>
          </a:p>
        </p:txBody>
      </p:sp>
      <p:sp>
        <p:nvSpPr>
          <p:cNvPr id="35" name="Freeform 34"/>
          <p:cNvSpPr>
            <a:spLocks noChangeAspect="1"/>
          </p:cNvSpPr>
          <p:nvPr/>
        </p:nvSpPr>
        <p:spPr bwMode="auto">
          <a:xfrm>
            <a:off x="217087" y="2619008"/>
            <a:ext cx="892219" cy="472547"/>
          </a:xfrm>
          <a:custGeom>
            <a:avLst/>
            <a:gdLst/>
            <a:ahLst/>
            <a:cxnLst>
              <a:cxn ang="0">
                <a:pos x="6359" y="0"/>
              </a:cxn>
              <a:cxn ang="0">
                <a:pos x="4385" y="1129"/>
              </a:cxn>
              <a:cxn ang="0">
                <a:pos x="3525" y="915"/>
              </a:cxn>
              <a:cxn ang="0">
                <a:pos x="1888" y="1923"/>
              </a:cxn>
              <a:cxn ang="0">
                <a:pos x="1378" y="1826"/>
              </a:cxn>
              <a:cxn ang="0">
                <a:pos x="0" y="3203"/>
              </a:cxn>
              <a:cxn ang="0">
                <a:pos x="1301" y="4578"/>
              </a:cxn>
              <a:cxn ang="0">
                <a:pos x="1301" y="4581"/>
              </a:cxn>
              <a:cxn ang="0">
                <a:pos x="6359" y="4581"/>
              </a:cxn>
              <a:cxn ang="0">
                <a:pos x="8650" y="2290"/>
              </a:cxn>
              <a:cxn ang="0">
                <a:pos x="6359" y="0"/>
              </a:cxn>
            </a:cxnLst>
            <a:rect l="0" t="0" r="r" b="b"/>
            <a:pathLst>
              <a:path w="8650" h="4581">
                <a:moveTo>
                  <a:pt x="6359" y="0"/>
                </a:moveTo>
                <a:cubicBezTo>
                  <a:pt x="5518" y="0"/>
                  <a:pt x="4783" y="453"/>
                  <a:pt x="4385" y="1129"/>
                </a:cubicBezTo>
                <a:cubicBezTo>
                  <a:pt x="4128" y="993"/>
                  <a:pt x="3836" y="915"/>
                  <a:pt x="3525" y="915"/>
                </a:cubicBezTo>
                <a:cubicBezTo>
                  <a:pt x="2809" y="915"/>
                  <a:pt x="2190" y="1325"/>
                  <a:pt x="1888" y="1923"/>
                </a:cubicBezTo>
                <a:cubicBezTo>
                  <a:pt x="1730" y="1860"/>
                  <a:pt x="1558" y="1826"/>
                  <a:pt x="1378" y="1826"/>
                </a:cubicBezTo>
                <a:cubicBezTo>
                  <a:pt x="617" y="1826"/>
                  <a:pt x="0" y="2442"/>
                  <a:pt x="0" y="3203"/>
                </a:cubicBezTo>
                <a:cubicBezTo>
                  <a:pt x="0" y="3938"/>
                  <a:pt x="576" y="4538"/>
                  <a:pt x="1301" y="4578"/>
                </a:cubicBezTo>
                <a:cubicBezTo>
                  <a:pt x="1301" y="4581"/>
                  <a:pt x="1301" y="4581"/>
                  <a:pt x="1301" y="4581"/>
                </a:cubicBezTo>
                <a:cubicBezTo>
                  <a:pt x="6359" y="4581"/>
                  <a:pt x="6359" y="4581"/>
                  <a:pt x="6359" y="4581"/>
                </a:cubicBezTo>
                <a:cubicBezTo>
                  <a:pt x="7624" y="4581"/>
                  <a:pt x="8650" y="3555"/>
                  <a:pt x="8650" y="2290"/>
                </a:cubicBezTo>
                <a:cubicBezTo>
                  <a:pt x="8650" y="1025"/>
                  <a:pt x="7624" y="0"/>
                  <a:pt x="6359" y="0"/>
                </a:cubicBezTo>
                <a:close/>
              </a:path>
            </a:pathLst>
          </a:custGeom>
          <a:noFill/>
          <a:ln w="31750">
            <a:solidFill>
              <a:schemeClr val="tx1"/>
            </a:solidFill>
          </a:ln>
          <a:extLst/>
        </p:spPr>
        <p:txBody>
          <a:bodyPr vert="horz" wrap="square" lIns="68586" tIns="34294" rIns="68586" bIns="34294"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a:solidFill>
                <a:srgbClr val="FFFFFF"/>
              </a:solidFill>
            </a:endParaRPr>
          </a:p>
        </p:txBody>
      </p:sp>
      <p:sp>
        <p:nvSpPr>
          <p:cNvPr id="36" name="Freeform 35"/>
          <p:cNvSpPr>
            <a:spLocks noChangeAspect="1"/>
          </p:cNvSpPr>
          <p:nvPr/>
        </p:nvSpPr>
        <p:spPr bwMode="auto">
          <a:xfrm>
            <a:off x="1223636" y="2619008"/>
            <a:ext cx="892219" cy="472547"/>
          </a:xfrm>
          <a:custGeom>
            <a:avLst/>
            <a:gdLst/>
            <a:ahLst/>
            <a:cxnLst>
              <a:cxn ang="0">
                <a:pos x="6359" y="0"/>
              </a:cxn>
              <a:cxn ang="0">
                <a:pos x="4385" y="1129"/>
              </a:cxn>
              <a:cxn ang="0">
                <a:pos x="3525" y="915"/>
              </a:cxn>
              <a:cxn ang="0">
                <a:pos x="1888" y="1923"/>
              </a:cxn>
              <a:cxn ang="0">
                <a:pos x="1378" y="1826"/>
              </a:cxn>
              <a:cxn ang="0">
                <a:pos x="0" y="3203"/>
              </a:cxn>
              <a:cxn ang="0">
                <a:pos x="1301" y="4578"/>
              </a:cxn>
              <a:cxn ang="0">
                <a:pos x="1301" y="4581"/>
              </a:cxn>
              <a:cxn ang="0">
                <a:pos x="6359" y="4581"/>
              </a:cxn>
              <a:cxn ang="0">
                <a:pos x="8650" y="2290"/>
              </a:cxn>
              <a:cxn ang="0">
                <a:pos x="6359" y="0"/>
              </a:cxn>
            </a:cxnLst>
            <a:rect l="0" t="0" r="r" b="b"/>
            <a:pathLst>
              <a:path w="8650" h="4581">
                <a:moveTo>
                  <a:pt x="6359" y="0"/>
                </a:moveTo>
                <a:cubicBezTo>
                  <a:pt x="5518" y="0"/>
                  <a:pt x="4783" y="453"/>
                  <a:pt x="4385" y="1129"/>
                </a:cubicBezTo>
                <a:cubicBezTo>
                  <a:pt x="4128" y="993"/>
                  <a:pt x="3836" y="915"/>
                  <a:pt x="3525" y="915"/>
                </a:cubicBezTo>
                <a:cubicBezTo>
                  <a:pt x="2809" y="915"/>
                  <a:pt x="2190" y="1325"/>
                  <a:pt x="1888" y="1923"/>
                </a:cubicBezTo>
                <a:cubicBezTo>
                  <a:pt x="1730" y="1860"/>
                  <a:pt x="1558" y="1826"/>
                  <a:pt x="1378" y="1826"/>
                </a:cubicBezTo>
                <a:cubicBezTo>
                  <a:pt x="617" y="1826"/>
                  <a:pt x="0" y="2442"/>
                  <a:pt x="0" y="3203"/>
                </a:cubicBezTo>
                <a:cubicBezTo>
                  <a:pt x="0" y="3938"/>
                  <a:pt x="576" y="4538"/>
                  <a:pt x="1301" y="4578"/>
                </a:cubicBezTo>
                <a:cubicBezTo>
                  <a:pt x="1301" y="4581"/>
                  <a:pt x="1301" y="4581"/>
                  <a:pt x="1301" y="4581"/>
                </a:cubicBezTo>
                <a:cubicBezTo>
                  <a:pt x="6359" y="4581"/>
                  <a:pt x="6359" y="4581"/>
                  <a:pt x="6359" y="4581"/>
                </a:cubicBezTo>
                <a:cubicBezTo>
                  <a:pt x="7624" y="4581"/>
                  <a:pt x="8650" y="3555"/>
                  <a:pt x="8650" y="2290"/>
                </a:cubicBezTo>
                <a:cubicBezTo>
                  <a:pt x="8650" y="1025"/>
                  <a:pt x="7624" y="0"/>
                  <a:pt x="6359" y="0"/>
                </a:cubicBezTo>
                <a:close/>
              </a:path>
            </a:pathLst>
          </a:custGeom>
          <a:noFill/>
          <a:ln w="31750">
            <a:solidFill>
              <a:schemeClr val="tx1"/>
            </a:solidFill>
          </a:ln>
          <a:extLst/>
        </p:spPr>
        <p:txBody>
          <a:bodyPr vert="horz" wrap="square" lIns="68586" tIns="34294" rIns="68586" bIns="34294"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a:solidFill>
                <a:srgbClr val="FFFFFF"/>
              </a:solidFill>
            </a:endParaRPr>
          </a:p>
        </p:txBody>
      </p:sp>
      <p:sp>
        <p:nvSpPr>
          <p:cNvPr id="37" name="Freeform 36"/>
          <p:cNvSpPr>
            <a:spLocks noChangeAspect="1"/>
          </p:cNvSpPr>
          <p:nvPr/>
        </p:nvSpPr>
        <p:spPr bwMode="auto">
          <a:xfrm>
            <a:off x="2190154" y="2619008"/>
            <a:ext cx="892219" cy="472547"/>
          </a:xfrm>
          <a:custGeom>
            <a:avLst/>
            <a:gdLst/>
            <a:ahLst/>
            <a:cxnLst>
              <a:cxn ang="0">
                <a:pos x="6359" y="0"/>
              </a:cxn>
              <a:cxn ang="0">
                <a:pos x="4385" y="1129"/>
              </a:cxn>
              <a:cxn ang="0">
                <a:pos x="3525" y="915"/>
              </a:cxn>
              <a:cxn ang="0">
                <a:pos x="1888" y="1923"/>
              </a:cxn>
              <a:cxn ang="0">
                <a:pos x="1378" y="1826"/>
              </a:cxn>
              <a:cxn ang="0">
                <a:pos x="0" y="3203"/>
              </a:cxn>
              <a:cxn ang="0">
                <a:pos x="1301" y="4578"/>
              </a:cxn>
              <a:cxn ang="0">
                <a:pos x="1301" y="4581"/>
              </a:cxn>
              <a:cxn ang="0">
                <a:pos x="6359" y="4581"/>
              </a:cxn>
              <a:cxn ang="0">
                <a:pos x="8650" y="2290"/>
              </a:cxn>
              <a:cxn ang="0">
                <a:pos x="6359" y="0"/>
              </a:cxn>
            </a:cxnLst>
            <a:rect l="0" t="0" r="r" b="b"/>
            <a:pathLst>
              <a:path w="8650" h="4581">
                <a:moveTo>
                  <a:pt x="6359" y="0"/>
                </a:moveTo>
                <a:cubicBezTo>
                  <a:pt x="5518" y="0"/>
                  <a:pt x="4783" y="453"/>
                  <a:pt x="4385" y="1129"/>
                </a:cubicBezTo>
                <a:cubicBezTo>
                  <a:pt x="4128" y="993"/>
                  <a:pt x="3836" y="915"/>
                  <a:pt x="3525" y="915"/>
                </a:cubicBezTo>
                <a:cubicBezTo>
                  <a:pt x="2809" y="915"/>
                  <a:pt x="2190" y="1325"/>
                  <a:pt x="1888" y="1923"/>
                </a:cubicBezTo>
                <a:cubicBezTo>
                  <a:pt x="1730" y="1860"/>
                  <a:pt x="1558" y="1826"/>
                  <a:pt x="1378" y="1826"/>
                </a:cubicBezTo>
                <a:cubicBezTo>
                  <a:pt x="617" y="1826"/>
                  <a:pt x="0" y="2442"/>
                  <a:pt x="0" y="3203"/>
                </a:cubicBezTo>
                <a:cubicBezTo>
                  <a:pt x="0" y="3938"/>
                  <a:pt x="576" y="4538"/>
                  <a:pt x="1301" y="4578"/>
                </a:cubicBezTo>
                <a:cubicBezTo>
                  <a:pt x="1301" y="4581"/>
                  <a:pt x="1301" y="4581"/>
                  <a:pt x="1301" y="4581"/>
                </a:cubicBezTo>
                <a:cubicBezTo>
                  <a:pt x="6359" y="4581"/>
                  <a:pt x="6359" y="4581"/>
                  <a:pt x="6359" y="4581"/>
                </a:cubicBezTo>
                <a:cubicBezTo>
                  <a:pt x="7624" y="4581"/>
                  <a:pt x="8650" y="3555"/>
                  <a:pt x="8650" y="2290"/>
                </a:cubicBezTo>
                <a:cubicBezTo>
                  <a:pt x="8650" y="1025"/>
                  <a:pt x="7624" y="0"/>
                  <a:pt x="6359" y="0"/>
                </a:cubicBezTo>
                <a:close/>
              </a:path>
            </a:pathLst>
          </a:custGeom>
          <a:noFill/>
          <a:ln w="31750">
            <a:solidFill>
              <a:schemeClr val="tx1"/>
            </a:solidFill>
          </a:ln>
          <a:extLst/>
        </p:spPr>
        <p:txBody>
          <a:bodyPr vert="horz" wrap="square" lIns="68586" tIns="34294" rIns="68586" bIns="34294"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a:solidFill>
                <a:srgbClr val="FFFFFF"/>
              </a:solidFill>
            </a:endParaRPr>
          </a:p>
        </p:txBody>
      </p:sp>
      <p:sp>
        <p:nvSpPr>
          <p:cNvPr id="38" name="Freeform 37"/>
          <p:cNvSpPr>
            <a:spLocks noChangeAspect="1"/>
          </p:cNvSpPr>
          <p:nvPr/>
        </p:nvSpPr>
        <p:spPr bwMode="auto">
          <a:xfrm>
            <a:off x="7081797" y="2619008"/>
            <a:ext cx="892219" cy="472547"/>
          </a:xfrm>
          <a:custGeom>
            <a:avLst/>
            <a:gdLst/>
            <a:ahLst/>
            <a:cxnLst>
              <a:cxn ang="0">
                <a:pos x="6359" y="0"/>
              </a:cxn>
              <a:cxn ang="0">
                <a:pos x="4385" y="1129"/>
              </a:cxn>
              <a:cxn ang="0">
                <a:pos x="3525" y="915"/>
              </a:cxn>
              <a:cxn ang="0">
                <a:pos x="1888" y="1923"/>
              </a:cxn>
              <a:cxn ang="0">
                <a:pos x="1378" y="1826"/>
              </a:cxn>
              <a:cxn ang="0">
                <a:pos x="0" y="3203"/>
              </a:cxn>
              <a:cxn ang="0">
                <a:pos x="1301" y="4578"/>
              </a:cxn>
              <a:cxn ang="0">
                <a:pos x="1301" y="4581"/>
              </a:cxn>
              <a:cxn ang="0">
                <a:pos x="6359" y="4581"/>
              </a:cxn>
              <a:cxn ang="0">
                <a:pos x="8650" y="2290"/>
              </a:cxn>
              <a:cxn ang="0">
                <a:pos x="6359" y="0"/>
              </a:cxn>
            </a:cxnLst>
            <a:rect l="0" t="0" r="r" b="b"/>
            <a:pathLst>
              <a:path w="8650" h="4581">
                <a:moveTo>
                  <a:pt x="6359" y="0"/>
                </a:moveTo>
                <a:cubicBezTo>
                  <a:pt x="5518" y="0"/>
                  <a:pt x="4783" y="453"/>
                  <a:pt x="4385" y="1129"/>
                </a:cubicBezTo>
                <a:cubicBezTo>
                  <a:pt x="4128" y="993"/>
                  <a:pt x="3836" y="915"/>
                  <a:pt x="3525" y="915"/>
                </a:cubicBezTo>
                <a:cubicBezTo>
                  <a:pt x="2809" y="915"/>
                  <a:pt x="2190" y="1325"/>
                  <a:pt x="1888" y="1923"/>
                </a:cubicBezTo>
                <a:cubicBezTo>
                  <a:pt x="1730" y="1860"/>
                  <a:pt x="1558" y="1826"/>
                  <a:pt x="1378" y="1826"/>
                </a:cubicBezTo>
                <a:cubicBezTo>
                  <a:pt x="617" y="1826"/>
                  <a:pt x="0" y="2442"/>
                  <a:pt x="0" y="3203"/>
                </a:cubicBezTo>
                <a:cubicBezTo>
                  <a:pt x="0" y="3938"/>
                  <a:pt x="576" y="4538"/>
                  <a:pt x="1301" y="4578"/>
                </a:cubicBezTo>
                <a:cubicBezTo>
                  <a:pt x="1301" y="4581"/>
                  <a:pt x="1301" y="4581"/>
                  <a:pt x="1301" y="4581"/>
                </a:cubicBezTo>
                <a:cubicBezTo>
                  <a:pt x="6359" y="4581"/>
                  <a:pt x="6359" y="4581"/>
                  <a:pt x="6359" y="4581"/>
                </a:cubicBezTo>
                <a:cubicBezTo>
                  <a:pt x="7624" y="4581"/>
                  <a:pt x="8650" y="3555"/>
                  <a:pt x="8650" y="2290"/>
                </a:cubicBezTo>
                <a:cubicBezTo>
                  <a:pt x="8650" y="1025"/>
                  <a:pt x="7624" y="0"/>
                  <a:pt x="6359" y="0"/>
                </a:cubicBezTo>
                <a:close/>
              </a:path>
            </a:pathLst>
          </a:custGeom>
          <a:noFill/>
          <a:ln w="31750">
            <a:solidFill>
              <a:schemeClr val="tx1"/>
            </a:solidFill>
          </a:ln>
          <a:extLst/>
        </p:spPr>
        <p:txBody>
          <a:bodyPr vert="horz" wrap="square" lIns="68586" tIns="34294" rIns="68586" bIns="34294"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a:solidFill>
                <a:srgbClr val="FFFFFF"/>
              </a:solidFill>
            </a:endParaRPr>
          </a:p>
        </p:txBody>
      </p:sp>
      <p:sp>
        <p:nvSpPr>
          <p:cNvPr id="39" name="Freeform 38"/>
          <p:cNvSpPr>
            <a:spLocks noChangeAspect="1"/>
          </p:cNvSpPr>
          <p:nvPr/>
        </p:nvSpPr>
        <p:spPr bwMode="auto">
          <a:xfrm>
            <a:off x="8064408" y="2619008"/>
            <a:ext cx="892219" cy="472547"/>
          </a:xfrm>
          <a:custGeom>
            <a:avLst/>
            <a:gdLst/>
            <a:ahLst/>
            <a:cxnLst>
              <a:cxn ang="0">
                <a:pos x="6359" y="0"/>
              </a:cxn>
              <a:cxn ang="0">
                <a:pos x="4385" y="1129"/>
              </a:cxn>
              <a:cxn ang="0">
                <a:pos x="3525" y="915"/>
              </a:cxn>
              <a:cxn ang="0">
                <a:pos x="1888" y="1923"/>
              </a:cxn>
              <a:cxn ang="0">
                <a:pos x="1378" y="1826"/>
              </a:cxn>
              <a:cxn ang="0">
                <a:pos x="0" y="3203"/>
              </a:cxn>
              <a:cxn ang="0">
                <a:pos x="1301" y="4578"/>
              </a:cxn>
              <a:cxn ang="0">
                <a:pos x="1301" y="4581"/>
              </a:cxn>
              <a:cxn ang="0">
                <a:pos x="6359" y="4581"/>
              </a:cxn>
              <a:cxn ang="0">
                <a:pos x="8650" y="2290"/>
              </a:cxn>
              <a:cxn ang="0">
                <a:pos x="6359" y="0"/>
              </a:cxn>
            </a:cxnLst>
            <a:rect l="0" t="0" r="r" b="b"/>
            <a:pathLst>
              <a:path w="8650" h="4581">
                <a:moveTo>
                  <a:pt x="6359" y="0"/>
                </a:moveTo>
                <a:cubicBezTo>
                  <a:pt x="5518" y="0"/>
                  <a:pt x="4783" y="453"/>
                  <a:pt x="4385" y="1129"/>
                </a:cubicBezTo>
                <a:cubicBezTo>
                  <a:pt x="4128" y="993"/>
                  <a:pt x="3836" y="915"/>
                  <a:pt x="3525" y="915"/>
                </a:cubicBezTo>
                <a:cubicBezTo>
                  <a:pt x="2809" y="915"/>
                  <a:pt x="2190" y="1325"/>
                  <a:pt x="1888" y="1923"/>
                </a:cubicBezTo>
                <a:cubicBezTo>
                  <a:pt x="1730" y="1860"/>
                  <a:pt x="1558" y="1826"/>
                  <a:pt x="1378" y="1826"/>
                </a:cubicBezTo>
                <a:cubicBezTo>
                  <a:pt x="617" y="1826"/>
                  <a:pt x="0" y="2442"/>
                  <a:pt x="0" y="3203"/>
                </a:cubicBezTo>
                <a:cubicBezTo>
                  <a:pt x="0" y="3938"/>
                  <a:pt x="576" y="4538"/>
                  <a:pt x="1301" y="4578"/>
                </a:cubicBezTo>
                <a:cubicBezTo>
                  <a:pt x="1301" y="4581"/>
                  <a:pt x="1301" y="4581"/>
                  <a:pt x="1301" y="4581"/>
                </a:cubicBezTo>
                <a:cubicBezTo>
                  <a:pt x="6359" y="4581"/>
                  <a:pt x="6359" y="4581"/>
                  <a:pt x="6359" y="4581"/>
                </a:cubicBezTo>
                <a:cubicBezTo>
                  <a:pt x="7624" y="4581"/>
                  <a:pt x="8650" y="3555"/>
                  <a:pt x="8650" y="2290"/>
                </a:cubicBezTo>
                <a:cubicBezTo>
                  <a:pt x="8650" y="1025"/>
                  <a:pt x="7624" y="0"/>
                  <a:pt x="6359" y="0"/>
                </a:cubicBezTo>
                <a:close/>
              </a:path>
            </a:pathLst>
          </a:custGeom>
          <a:noFill/>
          <a:ln w="31750">
            <a:solidFill>
              <a:schemeClr val="tx1"/>
            </a:solidFill>
          </a:ln>
          <a:extLst/>
        </p:spPr>
        <p:txBody>
          <a:bodyPr vert="horz" wrap="square" lIns="68586" tIns="34294" rIns="68586" bIns="34294"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a:solidFill>
                <a:srgbClr val="FFFFFF"/>
              </a:solidFill>
            </a:endParaRPr>
          </a:p>
        </p:txBody>
      </p:sp>
      <p:pic>
        <p:nvPicPr>
          <p:cNvPr id="1029" name="Picture 5" descr="\\cstor01\data\PM Team\Icons\Service_64.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8663" y="1881730"/>
            <a:ext cx="552594" cy="60960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cstor01\data\PM Team\Icons\Service_64.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82457" y="1881730"/>
            <a:ext cx="552594" cy="609600"/>
          </a:xfrm>
          <a:prstGeom prst="rect">
            <a:avLst/>
          </a:prstGeom>
          <a:noFill/>
          <a:extLst>
            <a:ext uri="{909E8E84-426E-40DD-AFC4-6F175D3DCCD1}">
              <a14:hiddenFill xmlns:a14="http://schemas.microsoft.com/office/drawing/2010/main">
                <a:solidFill>
                  <a:srgbClr val="FFFFFF"/>
                </a:solidFill>
              </a14:hiddenFill>
            </a:ext>
          </a:extLst>
        </p:spPr>
      </p:pic>
      <p:pic>
        <p:nvPicPr>
          <p:cNvPr id="1031" name="Picture 7" descr="\\cstor01\data\PM Team\Icons\Service_64.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90153" y="1881730"/>
            <a:ext cx="552594" cy="60960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cstor01\data\PM Team\Icons\Service_64.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56879" y="1881730"/>
            <a:ext cx="552594" cy="609600"/>
          </a:xfrm>
          <a:prstGeom prst="rect">
            <a:avLst/>
          </a:prstGeom>
          <a:noFill/>
          <a:extLst>
            <a:ext uri="{909E8E84-426E-40DD-AFC4-6F175D3DCCD1}">
              <a14:hiddenFill xmlns:a14="http://schemas.microsoft.com/office/drawing/2010/main">
                <a:solidFill>
                  <a:srgbClr val="FFFFFF"/>
                </a:solidFill>
              </a14:hiddenFill>
            </a:ext>
          </a:extLst>
        </p:spPr>
      </p:pic>
      <p:sp>
        <p:nvSpPr>
          <p:cNvPr id="59" name="big cloud"/>
          <p:cNvSpPr>
            <a:spLocks noChangeAspect="1"/>
          </p:cNvSpPr>
          <p:nvPr/>
        </p:nvSpPr>
        <p:spPr bwMode="auto">
          <a:xfrm>
            <a:off x="6101634" y="1686950"/>
            <a:ext cx="2676657" cy="1417639"/>
          </a:xfrm>
          <a:custGeom>
            <a:avLst/>
            <a:gdLst/>
            <a:ahLst/>
            <a:cxnLst>
              <a:cxn ang="0">
                <a:pos x="6359" y="0"/>
              </a:cxn>
              <a:cxn ang="0">
                <a:pos x="4385" y="1129"/>
              </a:cxn>
              <a:cxn ang="0">
                <a:pos x="3525" y="915"/>
              </a:cxn>
              <a:cxn ang="0">
                <a:pos x="1888" y="1923"/>
              </a:cxn>
              <a:cxn ang="0">
                <a:pos x="1378" y="1826"/>
              </a:cxn>
              <a:cxn ang="0">
                <a:pos x="0" y="3203"/>
              </a:cxn>
              <a:cxn ang="0">
                <a:pos x="1301" y="4578"/>
              </a:cxn>
              <a:cxn ang="0">
                <a:pos x="1301" y="4581"/>
              </a:cxn>
              <a:cxn ang="0">
                <a:pos x="6359" y="4581"/>
              </a:cxn>
              <a:cxn ang="0">
                <a:pos x="8650" y="2290"/>
              </a:cxn>
              <a:cxn ang="0">
                <a:pos x="6359" y="0"/>
              </a:cxn>
            </a:cxnLst>
            <a:rect l="0" t="0" r="r" b="b"/>
            <a:pathLst>
              <a:path w="8650" h="4581">
                <a:moveTo>
                  <a:pt x="6359" y="0"/>
                </a:moveTo>
                <a:cubicBezTo>
                  <a:pt x="5518" y="0"/>
                  <a:pt x="4783" y="453"/>
                  <a:pt x="4385" y="1129"/>
                </a:cubicBezTo>
                <a:cubicBezTo>
                  <a:pt x="4128" y="993"/>
                  <a:pt x="3836" y="915"/>
                  <a:pt x="3525" y="915"/>
                </a:cubicBezTo>
                <a:cubicBezTo>
                  <a:pt x="2809" y="915"/>
                  <a:pt x="2190" y="1325"/>
                  <a:pt x="1888" y="1923"/>
                </a:cubicBezTo>
                <a:cubicBezTo>
                  <a:pt x="1730" y="1860"/>
                  <a:pt x="1558" y="1826"/>
                  <a:pt x="1378" y="1826"/>
                </a:cubicBezTo>
                <a:cubicBezTo>
                  <a:pt x="617" y="1826"/>
                  <a:pt x="0" y="2442"/>
                  <a:pt x="0" y="3203"/>
                </a:cubicBezTo>
                <a:cubicBezTo>
                  <a:pt x="0" y="3938"/>
                  <a:pt x="576" y="4538"/>
                  <a:pt x="1301" y="4578"/>
                </a:cubicBezTo>
                <a:cubicBezTo>
                  <a:pt x="1301" y="4581"/>
                  <a:pt x="1301" y="4581"/>
                  <a:pt x="1301" y="4581"/>
                </a:cubicBezTo>
                <a:cubicBezTo>
                  <a:pt x="6359" y="4581"/>
                  <a:pt x="6359" y="4581"/>
                  <a:pt x="6359" y="4581"/>
                </a:cubicBezTo>
                <a:cubicBezTo>
                  <a:pt x="7624" y="4581"/>
                  <a:pt x="8650" y="3555"/>
                  <a:pt x="8650" y="2290"/>
                </a:cubicBezTo>
                <a:cubicBezTo>
                  <a:pt x="8650" y="1025"/>
                  <a:pt x="7624" y="0"/>
                  <a:pt x="6359" y="0"/>
                </a:cubicBezTo>
                <a:close/>
              </a:path>
            </a:pathLst>
          </a:custGeom>
          <a:solidFill>
            <a:schemeClr val="tx1"/>
          </a:solidFill>
          <a:ln>
            <a:noFill/>
          </a:ln>
          <a:extLst/>
        </p:spPr>
        <p:txBody>
          <a:bodyPr vert="horz" wrap="square" lIns="68586" tIns="34294" rIns="68586" bIns="34294" numCol="1"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2400" dirty="0">
                <a:solidFill>
                  <a:srgbClr val="363535"/>
                </a:solidFill>
              </a:rPr>
              <a:t>Public</a:t>
            </a:r>
          </a:p>
        </p:txBody>
      </p:sp>
      <p:pic>
        <p:nvPicPr>
          <p:cNvPr id="1034" name="Picture 10" descr="\\cstor01\data\PM Team\Icons\Service_64.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53399" y="1881730"/>
            <a:ext cx="552594" cy="609600"/>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cstor01\data\PM Team\Icons\VirtualMachine_64.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3305" y="1957930"/>
            <a:ext cx="457319" cy="457200"/>
          </a:xfrm>
          <a:prstGeom prst="rect">
            <a:avLst/>
          </a:prstGeom>
          <a:noFill/>
          <a:extLst>
            <a:ext uri="{909E8E84-426E-40DD-AFC4-6F175D3DCCD1}">
              <a14:hiddenFill xmlns:a14="http://schemas.microsoft.com/office/drawing/2010/main">
                <a:solidFill>
                  <a:srgbClr val="FFFFFF"/>
                </a:solidFill>
              </a14:hiddenFill>
            </a:ext>
          </a:extLst>
        </p:spPr>
      </p:pic>
      <p:pic>
        <p:nvPicPr>
          <p:cNvPr id="1037" name="Picture 13" descr="\\cstor01\data\PM Team\Icons\VirtualMachine_64.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48445" y="1957930"/>
            <a:ext cx="457319" cy="457200"/>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cstor01\data\PM Team\Icons\VirtualMachine_64.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67026" y="1957930"/>
            <a:ext cx="457319" cy="457200"/>
          </a:xfrm>
          <a:prstGeom prst="rect">
            <a:avLst/>
          </a:prstGeom>
          <a:noFill/>
          <a:extLst>
            <a:ext uri="{909E8E84-426E-40DD-AFC4-6F175D3DCCD1}">
              <a14:hiddenFill xmlns:a14="http://schemas.microsoft.com/office/drawing/2010/main">
                <a:solidFill>
                  <a:srgbClr val="FFFFFF"/>
                </a:solidFill>
              </a14:hiddenFill>
            </a:ext>
          </a:extLst>
        </p:spPr>
      </p:pic>
      <p:sp>
        <p:nvSpPr>
          <p:cNvPr id="61" name="big cloud"/>
          <p:cNvSpPr>
            <a:spLocks noChangeAspect="1"/>
          </p:cNvSpPr>
          <p:nvPr/>
        </p:nvSpPr>
        <p:spPr bwMode="auto">
          <a:xfrm>
            <a:off x="389382" y="1686950"/>
            <a:ext cx="2676657" cy="1417639"/>
          </a:xfrm>
          <a:custGeom>
            <a:avLst/>
            <a:gdLst/>
            <a:ahLst/>
            <a:cxnLst>
              <a:cxn ang="0">
                <a:pos x="6359" y="0"/>
              </a:cxn>
              <a:cxn ang="0">
                <a:pos x="4385" y="1129"/>
              </a:cxn>
              <a:cxn ang="0">
                <a:pos x="3525" y="915"/>
              </a:cxn>
              <a:cxn ang="0">
                <a:pos x="1888" y="1923"/>
              </a:cxn>
              <a:cxn ang="0">
                <a:pos x="1378" y="1826"/>
              </a:cxn>
              <a:cxn ang="0">
                <a:pos x="0" y="3203"/>
              </a:cxn>
              <a:cxn ang="0">
                <a:pos x="1301" y="4578"/>
              </a:cxn>
              <a:cxn ang="0">
                <a:pos x="1301" y="4581"/>
              </a:cxn>
              <a:cxn ang="0">
                <a:pos x="6359" y="4581"/>
              </a:cxn>
              <a:cxn ang="0">
                <a:pos x="8650" y="2290"/>
              </a:cxn>
              <a:cxn ang="0">
                <a:pos x="6359" y="0"/>
              </a:cxn>
            </a:cxnLst>
            <a:rect l="0" t="0" r="r" b="b"/>
            <a:pathLst>
              <a:path w="8650" h="4581">
                <a:moveTo>
                  <a:pt x="6359" y="0"/>
                </a:moveTo>
                <a:cubicBezTo>
                  <a:pt x="5518" y="0"/>
                  <a:pt x="4783" y="453"/>
                  <a:pt x="4385" y="1129"/>
                </a:cubicBezTo>
                <a:cubicBezTo>
                  <a:pt x="4128" y="993"/>
                  <a:pt x="3836" y="915"/>
                  <a:pt x="3525" y="915"/>
                </a:cubicBezTo>
                <a:cubicBezTo>
                  <a:pt x="2809" y="915"/>
                  <a:pt x="2190" y="1325"/>
                  <a:pt x="1888" y="1923"/>
                </a:cubicBezTo>
                <a:cubicBezTo>
                  <a:pt x="1730" y="1860"/>
                  <a:pt x="1558" y="1826"/>
                  <a:pt x="1378" y="1826"/>
                </a:cubicBezTo>
                <a:cubicBezTo>
                  <a:pt x="617" y="1826"/>
                  <a:pt x="0" y="2442"/>
                  <a:pt x="0" y="3203"/>
                </a:cubicBezTo>
                <a:cubicBezTo>
                  <a:pt x="0" y="3938"/>
                  <a:pt x="576" y="4538"/>
                  <a:pt x="1301" y="4578"/>
                </a:cubicBezTo>
                <a:cubicBezTo>
                  <a:pt x="1301" y="4581"/>
                  <a:pt x="1301" y="4581"/>
                  <a:pt x="1301" y="4581"/>
                </a:cubicBezTo>
                <a:cubicBezTo>
                  <a:pt x="6359" y="4581"/>
                  <a:pt x="6359" y="4581"/>
                  <a:pt x="6359" y="4581"/>
                </a:cubicBezTo>
                <a:cubicBezTo>
                  <a:pt x="7624" y="4581"/>
                  <a:pt x="8650" y="3555"/>
                  <a:pt x="8650" y="2290"/>
                </a:cubicBezTo>
                <a:cubicBezTo>
                  <a:pt x="8650" y="1025"/>
                  <a:pt x="7624" y="0"/>
                  <a:pt x="6359" y="0"/>
                </a:cubicBezTo>
                <a:close/>
              </a:path>
            </a:pathLst>
          </a:custGeom>
          <a:solidFill>
            <a:schemeClr val="tx1"/>
          </a:solidFill>
          <a:ln>
            <a:noFill/>
          </a:ln>
          <a:extLst/>
        </p:spPr>
        <p:txBody>
          <a:bodyPr vert="horz" wrap="square" lIns="68586" tIns="34294" rIns="68586" bIns="34294" numCol="1"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2700" dirty="0">
                <a:solidFill>
                  <a:srgbClr val="363535"/>
                </a:solidFill>
              </a:rPr>
              <a:t>Private</a:t>
            </a:r>
          </a:p>
        </p:txBody>
      </p:sp>
      <p:sp>
        <p:nvSpPr>
          <p:cNvPr id="62" name="big cloud"/>
          <p:cNvSpPr>
            <a:spLocks noChangeAspect="1"/>
          </p:cNvSpPr>
          <p:nvPr/>
        </p:nvSpPr>
        <p:spPr bwMode="auto">
          <a:xfrm>
            <a:off x="3245508" y="1686950"/>
            <a:ext cx="2676657" cy="1417639"/>
          </a:xfrm>
          <a:custGeom>
            <a:avLst/>
            <a:gdLst/>
            <a:ahLst/>
            <a:cxnLst>
              <a:cxn ang="0">
                <a:pos x="6359" y="0"/>
              </a:cxn>
              <a:cxn ang="0">
                <a:pos x="4385" y="1129"/>
              </a:cxn>
              <a:cxn ang="0">
                <a:pos x="3525" y="915"/>
              </a:cxn>
              <a:cxn ang="0">
                <a:pos x="1888" y="1923"/>
              </a:cxn>
              <a:cxn ang="0">
                <a:pos x="1378" y="1826"/>
              </a:cxn>
              <a:cxn ang="0">
                <a:pos x="0" y="3203"/>
              </a:cxn>
              <a:cxn ang="0">
                <a:pos x="1301" y="4578"/>
              </a:cxn>
              <a:cxn ang="0">
                <a:pos x="1301" y="4581"/>
              </a:cxn>
              <a:cxn ang="0">
                <a:pos x="6359" y="4581"/>
              </a:cxn>
              <a:cxn ang="0">
                <a:pos x="8650" y="2290"/>
              </a:cxn>
              <a:cxn ang="0">
                <a:pos x="6359" y="0"/>
              </a:cxn>
            </a:cxnLst>
            <a:rect l="0" t="0" r="r" b="b"/>
            <a:pathLst>
              <a:path w="8650" h="4581">
                <a:moveTo>
                  <a:pt x="6359" y="0"/>
                </a:moveTo>
                <a:cubicBezTo>
                  <a:pt x="5518" y="0"/>
                  <a:pt x="4783" y="453"/>
                  <a:pt x="4385" y="1129"/>
                </a:cubicBezTo>
                <a:cubicBezTo>
                  <a:pt x="4128" y="993"/>
                  <a:pt x="3836" y="915"/>
                  <a:pt x="3525" y="915"/>
                </a:cubicBezTo>
                <a:cubicBezTo>
                  <a:pt x="2809" y="915"/>
                  <a:pt x="2190" y="1325"/>
                  <a:pt x="1888" y="1923"/>
                </a:cubicBezTo>
                <a:cubicBezTo>
                  <a:pt x="1730" y="1860"/>
                  <a:pt x="1558" y="1826"/>
                  <a:pt x="1378" y="1826"/>
                </a:cubicBezTo>
                <a:cubicBezTo>
                  <a:pt x="617" y="1826"/>
                  <a:pt x="0" y="2442"/>
                  <a:pt x="0" y="3203"/>
                </a:cubicBezTo>
                <a:cubicBezTo>
                  <a:pt x="0" y="3938"/>
                  <a:pt x="576" y="4538"/>
                  <a:pt x="1301" y="4578"/>
                </a:cubicBezTo>
                <a:cubicBezTo>
                  <a:pt x="1301" y="4581"/>
                  <a:pt x="1301" y="4581"/>
                  <a:pt x="1301" y="4581"/>
                </a:cubicBezTo>
                <a:cubicBezTo>
                  <a:pt x="6359" y="4581"/>
                  <a:pt x="6359" y="4581"/>
                  <a:pt x="6359" y="4581"/>
                </a:cubicBezTo>
                <a:cubicBezTo>
                  <a:pt x="7624" y="4581"/>
                  <a:pt x="8650" y="3555"/>
                  <a:pt x="8650" y="2290"/>
                </a:cubicBezTo>
                <a:cubicBezTo>
                  <a:pt x="8650" y="1025"/>
                  <a:pt x="7624" y="0"/>
                  <a:pt x="6359" y="0"/>
                </a:cubicBezTo>
                <a:close/>
              </a:path>
            </a:pathLst>
          </a:custGeom>
          <a:solidFill>
            <a:schemeClr val="tx1"/>
          </a:solidFill>
          <a:ln>
            <a:noFill/>
          </a:ln>
          <a:extLst/>
        </p:spPr>
        <p:txBody>
          <a:bodyPr vert="horz" wrap="square" lIns="68586" tIns="34294" rIns="68586" bIns="34294" numCol="1"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2400" dirty="0">
                <a:solidFill>
                  <a:srgbClr val="363535"/>
                </a:solidFill>
              </a:rPr>
              <a:t>Private</a:t>
            </a:r>
          </a:p>
          <a:p>
            <a:pPr algn="ctr"/>
            <a:r>
              <a:rPr lang="en-US" sz="2400" dirty="0">
                <a:solidFill>
                  <a:srgbClr val="363535"/>
                </a:solidFill>
              </a:rPr>
              <a:t>Public</a:t>
            </a:r>
          </a:p>
        </p:txBody>
      </p:sp>
      <p:pic>
        <p:nvPicPr>
          <p:cNvPr id="63" name="Picture 5" descr="\\cstor01\data\PM Team\Icons\Service_64.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94611" y="1881730"/>
            <a:ext cx="552594" cy="609600"/>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6" descr="\\cstor01\data\PM Team\Icons\Service_64.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98405" y="1881730"/>
            <a:ext cx="552594" cy="609600"/>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7" descr="\\cstor01\data\PM Team\Icons\Service_64.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06100" y="1881730"/>
            <a:ext cx="552594" cy="609600"/>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12" descr="\\cstor01\data\PM Team\Icons\VirtualMachine_64.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59252" y="1957930"/>
            <a:ext cx="457319" cy="457200"/>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13" descr="\\cstor01\data\PM Team\Icons\VirtualMachine_64.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64393" y="1957930"/>
            <a:ext cx="457319" cy="457200"/>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14" descr="\\cstor01\data\PM Team\Icons\VirtualMachine_64.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82974" y="1957930"/>
            <a:ext cx="457319" cy="457200"/>
          </a:xfrm>
          <a:prstGeom prst="rect">
            <a:avLst/>
          </a:prstGeom>
          <a:noFill/>
          <a:extLst>
            <a:ext uri="{909E8E84-426E-40DD-AFC4-6F175D3DCCD1}">
              <a14:hiddenFill xmlns:a14="http://schemas.microsoft.com/office/drawing/2010/main">
                <a:solidFill>
                  <a:srgbClr val="FFFFFF"/>
                </a:solidFill>
              </a14:hiddenFill>
            </a:ext>
          </a:extLst>
        </p:spPr>
      </p:pic>
      <p:sp>
        <p:nvSpPr>
          <p:cNvPr id="69" name="Freeform 68"/>
          <p:cNvSpPr>
            <a:spLocks noChangeAspect="1"/>
          </p:cNvSpPr>
          <p:nvPr/>
        </p:nvSpPr>
        <p:spPr bwMode="auto">
          <a:xfrm>
            <a:off x="6101632" y="2619008"/>
            <a:ext cx="892219" cy="472547"/>
          </a:xfrm>
          <a:custGeom>
            <a:avLst/>
            <a:gdLst/>
            <a:ahLst/>
            <a:cxnLst>
              <a:cxn ang="0">
                <a:pos x="6359" y="0"/>
              </a:cxn>
              <a:cxn ang="0">
                <a:pos x="4385" y="1129"/>
              </a:cxn>
              <a:cxn ang="0">
                <a:pos x="3525" y="915"/>
              </a:cxn>
              <a:cxn ang="0">
                <a:pos x="1888" y="1923"/>
              </a:cxn>
              <a:cxn ang="0">
                <a:pos x="1378" y="1826"/>
              </a:cxn>
              <a:cxn ang="0">
                <a:pos x="0" y="3203"/>
              </a:cxn>
              <a:cxn ang="0">
                <a:pos x="1301" y="4578"/>
              </a:cxn>
              <a:cxn ang="0">
                <a:pos x="1301" y="4581"/>
              </a:cxn>
              <a:cxn ang="0">
                <a:pos x="6359" y="4581"/>
              </a:cxn>
              <a:cxn ang="0">
                <a:pos x="8650" y="2290"/>
              </a:cxn>
              <a:cxn ang="0">
                <a:pos x="6359" y="0"/>
              </a:cxn>
            </a:cxnLst>
            <a:rect l="0" t="0" r="r" b="b"/>
            <a:pathLst>
              <a:path w="8650" h="4581">
                <a:moveTo>
                  <a:pt x="6359" y="0"/>
                </a:moveTo>
                <a:cubicBezTo>
                  <a:pt x="5518" y="0"/>
                  <a:pt x="4783" y="453"/>
                  <a:pt x="4385" y="1129"/>
                </a:cubicBezTo>
                <a:cubicBezTo>
                  <a:pt x="4128" y="993"/>
                  <a:pt x="3836" y="915"/>
                  <a:pt x="3525" y="915"/>
                </a:cubicBezTo>
                <a:cubicBezTo>
                  <a:pt x="2809" y="915"/>
                  <a:pt x="2190" y="1325"/>
                  <a:pt x="1888" y="1923"/>
                </a:cubicBezTo>
                <a:cubicBezTo>
                  <a:pt x="1730" y="1860"/>
                  <a:pt x="1558" y="1826"/>
                  <a:pt x="1378" y="1826"/>
                </a:cubicBezTo>
                <a:cubicBezTo>
                  <a:pt x="617" y="1826"/>
                  <a:pt x="0" y="2442"/>
                  <a:pt x="0" y="3203"/>
                </a:cubicBezTo>
                <a:cubicBezTo>
                  <a:pt x="0" y="3938"/>
                  <a:pt x="576" y="4538"/>
                  <a:pt x="1301" y="4578"/>
                </a:cubicBezTo>
                <a:cubicBezTo>
                  <a:pt x="1301" y="4581"/>
                  <a:pt x="1301" y="4581"/>
                  <a:pt x="1301" y="4581"/>
                </a:cubicBezTo>
                <a:cubicBezTo>
                  <a:pt x="6359" y="4581"/>
                  <a:pt x="6359" y="4581"/>
                  <a:pt x="6359" y="4581"/>
                </a:cubicBezTo>
                <a:cubicBezTo>
                  <a:pt x="7624" y="4581"/>
                  <a:pt x="8650" y="3555"/>
                  <a:pt x="8650" y="2290"/>
                </a:cubicBezTo>
                <a:cubicBezTo>
                  <a:pt x="8650" y="1025"/>
                  <a:pt x="7624" y="0"/>
                  <a:pt x="6359" y="0"/>
                </a:cubicBezTo>
                <a:close/>
              </a:path>
            </a:pathLst>
          </a:custGeom>
          <a:noFill/>
          <a:ln w="31750">
            <a:solidFill>
              <a:schemeClr val="tx1"/>
            </a:solidFill>
          </a:ln>
          <a:extLst/>
        </p:spPr>
        <p:txBody>
          <a:bodyPr vert="horz" wrap="square" lIns="68586" tIns="34294" rIns="68586" bIns="34294"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a:solidFill>
                <a:srgbClr val="FFFFFF"/>
              </a:solidFill>
            </a:endParaRPr>
          </a:p>
        </p:txBody>
      </p:sp>
      <p:pic>
        <p:nvPicPr>
          <p:cNvPr id="70" name="Picture 8" descr="\\cstor01\data\PM Team\Icons\Service_64.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12235" y="1881730"/>
            <a:ext cx="552594" cy="609600"/>
          </a:xfrm>
          <a:prstGeom prst="rect">
            <a:avLst/>
          </a:prstGeom>
          <a:noFill/>
          <a:extLst>
            <a:ext uri="{909E8E84-426E-40DD-AFC4-6F175D3DCCD1}">
              <a14:hiddenFill xmlns:a14="http://schemas.microsoft.com/office/drawing/2010/main">
                <a:solidFill>
                  <a:srgbClr val="FFFFFF"/>
                </a:solidFill>
              </a14:hiddenFill>
            </a:ext>
          </a:extLst>
        </p:spPr>
      </p:pic>
      <p:sp>
        <p:nvSpPr>
          <p:cNvPr id="43" name="Rounded Rectangle 42"/>
          <p:cNvSpPr/>
          <p:nvPr/>
        </p:nvSpPr>
        <p:spPr bwMode="auto">
          <a:xfrm>
            <a:off x="3166745" y="3364750"/>
            <a:ext cx="2848572" cy="462191"/>
          </a:xfrm>
          <a:prstGeom prst="roundRect">
            <a:avLst>
              <a:gd name="adj" fmla="val 0"/>
            </a:avLst>
          </a:prstGeom>
          <a:gradFill rotWithShape="1">
            <a:gsLst>
              <a:gs pos="0">
                <a:srgbClr val="3A94D2">
                  <a:shade val="45000"/>
                  <a:satMod val="155000"/>
                </a:srgbClr>
              </a:gs>
              <a:gs pos="60000">
                <a:srgbClr val="3A94D2">
                  <a:shade val="95000"/>
                  <a:satMod val="150000"/>
                </a:srgbClr>
              </a:gs>
              <a:gs pos="100000">
                <a:srgbClr val="3A94D2">
                  <a:tint val="87000"/>
                  <a:satMod val="250000"/>
                </a:srgbClr>
              </a:gs>
            </a:gsLst>
            <a:lin ang="16200000" scaled="0"/>
          </a:gradFill>
          <a:ln w="9525" cap="flat" cmpd="sng" algn="ctr">
            <a:solidFill>
              <a:srgbClr val="3A94D2">
                <a:satMod val="150000"/>
              </a:srgbClr>
            </a:solidFill>
            <a:prstDash val="solid"/>
            <a:headEnd type="none" w="med" len="med"/>
            <a:tailEnd type="none" w="med" len="med"/>
          </a:ln>
          <a:effectLst>
            <a:outerShdw blurRad="65500" dist="38100" dir="5400000" rotWithShape="0">
              <a:srgbClr val="000000">
                <a:alpha val="40000"/>
              </a:srgbClr>
            </a:outerShdw>
          </a:effectLst>
        </p:spPr>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defRPr/>
            </a:pPr>
            <a:r>
              <a:rPr lang="en-US" sz="1700" kern="0" dirty="0">
                <a:gradFill>
                  <a:gsLst>
                    <a:gs pos="0">
                      <a:srgbClr val="FFFFFF"/>
                    </a:gs>
                    <a:gs pos="100000">
                      <a:srgbClr val="FFFFFF"/>
                    </a:gs>
                  </a:gsLst>
                  <a:lin ang="5400000" scaled="0"/>
                </a:gradFill>
              </a:rPr>
              <a:t>Service Provider Foundation</a:t>
            </a:r>
          </a:p>
        </p:txBody>
      </p:sp>
      <p:sp>
        <p:nvSpPr>
          <p:cNvPr id="44" name="Rounded Rectangle 43"/>
          <p:cNvSpPr/>
          <p:nvPr/>
        </p:nvSpPr>
        <p:spPr bwMode="auto">
          <a:xfrm>
            <a:off x="232356" y="3364750"/>
            <a:ext cx="2848572" cy="462191"/>
          </a:xfrm>
          <a:prstGeom prst="roundRect">
            <a:avLst>
              <a:gd name="adj" fmla="val 0"/>
            </a:avLst>
          </a:prstGeom>
          <a:gradFill rotWithShape="1">
            <a:gsLst>
              <a:gs pos="0">
                <a:srgbClr val="3A94D2">
                  <a:shade val="45000"/>
                  <a:satMod val="155000"/>
                </a:srgbClr>
              </a:gs>
              <a:gs pos="60000">
                <a:srgbClr val="3A94D2">
                  <a:shade val="95000"/>
                  <a:satMod val="150000"/>
                </a:srgbClr>
              </a:gs>
              <a:gs pos="100000">
                <a:srgbClr val="3A94D2">
                  <a:tint val="87000"/>
                  <a:satMod val="250000"/>
                </a:srgbClr>
              </a:gs>
            </a:gsLst>
            <a:lin ang="16200000" scaled="0"/>
          </a:gradFill>
          <a:ln w="9525" cap="flat" cmpd="sng" algn="ctr">
            <a:solidFill>
              <a:srgbClr val="3A94D2">
                <a:satMod val="150000"/>
              </a:srgbClr>
            </a:solidFill>
            <a:prstDash val="solid"/>
            <a:headEnd type="none" w="med" len="med"/>
            <a:tailEnd type="none" w="med" len="med"/>
          </a:ln>
          <a:effectLst>
            <a:outerShdw blurRad="65500" dist="38100" dir="5400000" rotWithShape="0">
              <a:srgbClr val="000000">
                <a:alpha val="40000"/>
              </a:srgbClr>
            </a:outerShdw>
          </a:effectLst>
        </p:spPr>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defRPr/>
            </a:pPr>
            <a:r>
              <a:rPr lang="en-US" sz="1700" kern="0" dirty="0">
                <a:gradFill>
                  <a:gsLst>
                    <a:gs pos="0">
                      <a:srgbClr val="FFFFFF"/>
                    </a:gs>
                    <a:gs pos="100000">
                      <a:srgbClr val="FFFFFF"/>
                    </a:gs>
                  </a:gsLst>
                  <a:lin ang="5400000" scaled="0"/>
                </a:gradFill>
              </a:rPr>
              <a:t>On Premises</a:t>
            </a:r>
          </a:p>
        </p:txBody>
      </p:sp>
      <p:pic>
        <p:nvPicPr>
          <p:cNvPr id="45" name="Picture 14" descr="\\cstor01\data\PM Team\Icons\VirtualMachine_64.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36533" y="1983116"/>
            <a:ext cx="457319" cy="457200"/>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14" descr="\\cstor01\data\PM Team\Icons\VirtualMachine_64.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99308" y="1983116"/>
            <a:ext cx="457319" cy="45720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14" descr="\\cstor01\data\PM Team\Icons\VirtualMachine_64.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39961" y="1983116"/>
            <a:ext cx="457319" cy="457200"/>
          </a:xfrm>
          <a:prstGeom prst="rect">
            <a:avLst/>
          </a:prstGeom>
          <a:noFill/>
          <a:extLst>
            <a:ext uri="{909E8E84-426E-40DD-AFC4-6F175D3DCCD1}">
              <a14:hiddenFill xmlns:a14="http://schemas.microsoft.com/office/drawing/2010/main">
                <a:solidFill>
                  <a:srgbClr val="FFFFFF"/>
                </a:solidFill>
              </a14:hiddenFill>
            </a:ext>
          </a:extLst>
        </p:spPr>
      </p:pic>
      <p:sp>
        <p:nvSpPr>
          <p:cNvPr id="48"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49"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5"/>
              </a:rPr>
              <a:t>www.rapidbbs.cn</a:t>
            </a:r>
            <a:endParaRPr lang="zh-CN" altLang="en-US" sz="1200" b="0">
              <a:latin typeface="Arial" charset="0"/>
              <a:ea typeface="ＭＳ Ｐゴシック" pitchFamily="34" charset="-128"/>
            </a:endParaRPr>
          </a:p>
        </p:txBody>
      </p:sp>
      <p:pic>
        <p:nvPicPr>
          <p:cNvPr id="50" name="Picture 2">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520926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wipe(up)">
                                      <p:cBhvr>
                                        <p:cTn id="7" dur="500"/>
                                        <p:tgtEl>
                                          <p:spTgt spid="30"/>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32"/>
                                        </p:tgtEl>
                                        <p:attrNameLst>
                                          <p:attrName>style.visibility</p:attrName>
                                        </p:attrNameLst>
                                      </p:cBhvr>
                                      <p:to>
                                        <p:strVal val="visible"/>
                                      </p:to>
                                    </p:set>
                                    <p:animEffect transition="in" filter="wipe(up)">
                                      <p:cBhvr>
                                        <p:cTn id="10" dur="500"/>
                                        <p:tgtEl>
                                          <p:spTgt spid="32"/>
                                        </p:tgtEl>
                                      </p:cBhvr>
                                    </p:animEffect>
                                  </p:childTnLst>
                                </p:cTn>
                              </p:par>
                              <p:par>
                                <p:cTn id="11" presetID="22" presetClass="entr" presetSubtype="1"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animEffect transition="in" filter="wipe(up)">
                                      <p:cBhvr>
                                        <p:cTn id="13" dur="500"/>
                                        <p:tgtEl>
                                          <p:spTgt spid="33"/>
                                        </p:tgtEl>
                                      </p:cBhvr>
                                    </p:animEffect>
                                  </p:childTnLst>
                                </p:cTn>
                              </p:par>
                              <p:par>
                                <p:cTn id="14" presetID="22" presetClass="entr" presetSubtype="1" fill="hold" grpId="0" nodeType="withEffect">
                                  <p:stCondLst>
                                    <p:cond delay="0"/>
                                  </p:stCondLst>
                                  <p:childTnLst>
                                    <p:set>
                                      <p:cBhvr>
                                        <p:cTn id="15" dur="1" fill="hold">
                                          <p:stCondLst>
                                            <p:cond delay="0"/>
                                          </p:stCondLst>
                                        </p:cTn>
                                        <p:tgtEl>
                                          <p:spTgt spid="16"/>
                                        </p:tgtEl>
                                        <p:attrNameLst>
                                          <p:attrName>style.visibility</p:attrName>
                                        </p:attrNameLst>
                                      </p:cBhvr>
                                      <p:to>
                                        <p:strVal val="visible"/>
                                      </p:to>
                                    </p:set>
                                    <p:animEffect transition="in" filter="wipe(up)">
                                      <p:cBhvr>
                                        <p:cTn id="16" dur="500"/>
                                        <p:tgtEl>
                                          <p:spTgt spid="16"/>
                                        </p:tgtEl>
                                      </p:cBhvr>
                                    </p:animEffect>
                                  </p:childTnLst>
                                </p:cTn>
                              </p:par>
                              <p:par>
                                <p:cTn id="17" presetID="22" presetClass="entr" presetSubtype="1" fill="hold" grpId="0" nodeType="with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wipe(up)">
                                      <p:cBhvr>
                                        <p:cTn id="19" dur="500"/>
                                        <p:tgtEl>
                                          <p:spTgt spid="20"/>
                                        </p:tgtEl>
                                      </p:cBhvr>
                                    </p:animEffect>
                                  </p:childTnLst>
                                </p:cTn>
                              </p:par>
                              <p:par>
                                <p:cTn id="20" presetID="22" presetClass="entr" presetSubtype="1" fill="hold" grpId="0" nodeType="with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wipe(up)">
                                      <p:cBhvr>
                                        <p:cTn id="22" dur="500"/>
                                        <p:tgtEl>
                                          <p:spTgt spid="21"/>
                                        </p:tgtEl>
                                      </p:cBhvr>
                                    </p:animEffect>
                                  </p:childTnLst>
                                </p:cTn>
                              </p:par>
                            </p:childTnLst>
                          </p:cTn>
                        </p:par>
                      </p:childTnLst>
                    </p:cTn>
                  </p:par>
                  <p:par>
                    <p:cTn id="23" fill="hold">
                      <p:stCondLst>
                        <p:cond delay="indefinite"/>
                      </p:stCondLst>
                      <p:childTnLst>
                        <p:par>
                          <p:cTn id="24" fill="hold">
                            <p:stCondLst>
                              <p:cond delay="0"/>
                            </p:stCondLst>
                            <p:childTnLst>
                              <p:par>
                                <p:cTn id="25" presetID="31" presetClass="exit" presetSubtype="0" fill="hold" grpId="0" nodeType="clickEffect">
                                  <p:stCondLst>
                                    <p:cond delay="0"/>
                                  </p:stCondLst>
                                  <p:childTnLst>
                                    <p:anim calcmode="lin" valueType="num">
                                      <p:cBhvr>
                                        <p:cTn id="26" dur="1000"/>
                                        <p:tgtEl>
                                          <p:spTgt spid="61"/>
                                        </p:tgtEl>
                                        <p:attrNameLst>
                                          <p:attrName>ppt_w</p:attrName>
                                        </p:attrNameLst>
                                      </p:cBhvr>
                                      <p:tavLst>
                                        <p:tav tm="0">
                                          <p:val>
                                            <p:strVal val="ppt_w"/>
                                          </p:val>
                                        </p:tav>
                                        <p:tav tm="100000">
                                          <p:val>
                                            <p:fltVal val="0"/>
                                          </p:val>
                                        </p:tav>
                                      </p:tavLst>
                                    </p:anim>
                                    <p:anim calcmode="lin" valueType="num">
                                      <p:cBhvr>
                                        <p:cTn id="27" dur="1000"/>
                                        <p:tgtEl>
                                          <p:spTgt spid="61"/>
                                        </p:tgtEl>
                                        <p:attrNameLst>
                                          <p:attrName>ppt_h</p:attrName>
                                        </p:attrNameLst>
                                      </p:cBhvr>
                                      <p:tavLst>
                                        <p:tav tm="0">
                                          <p:val>
                                            <p:strVal val="ppt_h"/>
                                          </p:val>
                                        </p:tav>
                                        <p:tav tm="100000">
                                          <p:val>
                                            <p:fltVal val="0"/>
                                          </p:val>
                                        </p:tav>
                                      </p:tavLst>
                                    </p:anim>
                                    <p:anim calcmode="lin" valueType="num">
                                      <p:cBhvr>
                                        <p:cTn id="28" dur="1000"/>
                                        <p:tgtEl>
                                          <p:spTgt spid="61"/>
                                        </p:tgtEl>
                                        <p:attrNameLst>
                                          <p:attrName>style.rotation</p:attrName>
                                        </p:attrNameLst>
                                      </p:cBhvr>
                                      <p:tavLst>
                                        <p:tav tm="0">
                                          <p:val>
                                            <p:fltVal val="0"/>
                                          </p:val>
                                        </p:tav>
                                        <p:tav tm="100000">
                                          <p:val>
                                            <p:fltVal val="90"/>
                                          </p:val>
                                        </p:tav>
                                      </p:tavLst>
                                    </p:anim>
                                    <p:animEffect transition="out" filter="fade">
                                      <p:cBhvr>
                                        <p:cTn id="29" dur="1000"/>
                                        <p:tgtEl>
                                          <p:spTgt spid="61"/>
                                        </p:tgtEl>
                                      </p:cBhvr>
                                    </p:animEffect>
                                    <p:set>
                                      <p:cBhvr>
                                        <p:cTn id="30" dur="1" fill="hold">
                                          <p:stCondLst>
                                            <p:cond delay="999"/>
                                          </p:stCondLst>
                                        </p:cTn>
                                        <p:tgtEl>
                                          <p:spTgt spid="61"/>
                                        </p:tgtEl>
                                        <p:attrNameLst>
                                          <p:attrName>style.visibility</p:attrName>
                                        </p:attrNameLst>
                                      </p:cBhvr>
                                      <p:to>
                                        <p:strVal val="hidden"/>
                                      </p:to>
                                    </p:set>
                                  </p:childTnLst>
                                </p:cTn>
                              </p:par>
                              <p:par>
                                <p:cTn id="31" presetID="31" presetClass="exit" presetSubtype="0" fill="hold" grpId="0" nodeType="withEffect">
                                  <p:stCondLst>
                                    <p:cond delay="0"/>
                                  </p:stCondLst>
                                  <p:childTnLst>
                                    <p:anim calcmode="lin" valueType="num">
                                      <p:cBhvr>
                                        <p:cTn id="32" dur="1000"/>
                                        <p:tgtEl>
                                          <p:spTgt spid="62"/>
                                        </p:tgtEl>
                                        <p:attrNameLst>
                                          <p:attrName>ppt_w</p:attrName>
                                        </p:attrNameLst>
                                      </p:cBhvr>
                                      <p:tavLst>
                                        <p:tav tm="0">
                                          <p:val>
                                            <p:strVal val="ppt_w"/>
                                          </p:val>
                                        </p:tav>
                                        <p:tav tm="100000">
                                          <p:val>
                                            <p:fltVal val="0"/>
                                          </p:val>
                                        </p:tav>
                                      </p:tavLst>
                                    </p:anim>
                                    <p:anim calcmode="lin" valueType="num">
                                      <p:cBhvr>
                                        <p:cTn id="33" dur="1000"/>
                                        <p:tgtEl>
                                          <p:spTgt spid="62"/>
                                        </p:tgtEl>
                                        <p:attrNameLst>
                                          <p:attrName>ppt_h</p:attrName>
                                        </p:attrNameLst>
                                      </p:cBhvr>
                                      <p:tavLst>
                                        <p:tav tm="0">
                                          <p:val>
                                            <p:strVal val="ppt_h"/>
                                          </p:val>
                                        </p:tav>
                                        <p:tav tm="100000">
                                          <p:val>
                                            <p:fltVal val="0"/>
                                          </p:val>
                                        </p:tav>
                                      </p:tavLst>
                                    </p:anim>
                                    <p:anim calcmode="lin" valueType="num">
                                      <p:cBhvr>
                                        <p:cTn id="34" dur="1000"/>
                                        <p:tgtEl>
                                          <p:spTgt spid="62"/>
                                        </p:tgtEl>
                                        <p:attrNameLst>
                                          <p:attrName>style.rotation</p:attrName>
                                        </p:attrNameLst>
                                      </p:cBhvr>
                                      <p:tavLst>
                                        <p:tav tm="0">
                                          <p:val>
                                            <p:fltVal val="0"/>
                                          </p:val>
                                        </p:tav>
                                        <p:tav tm="100000">
                                          <p:val>
                                            <p:fltVal val="90"/>
                                          </p:val>
                                        </p:tav>
                                      </p:tavLst>
                                    </p:anim>
                                    <p:animEffect transition="out" filter="fade">
                                      <p:cBhvr>
                                        <p:cTn id="35" dur="1000"/>
                                        <p:tgtEl>
                                          <p:spTgt spid="62"/>
                                        </p:tgtEl>
                                      </p:cBhvr>
                                    </p:animEffect>
                                    <p:set>
                                      <p:cBhvr>
                                        <p:cTn id="36" dur="1" fill="hold">
                                          <p:stCondLst>
                                            <p:cond delay="999"/>
                                          </p:stCondLst>
                                        </p:cTn>
                                        <p:tgtEl>
                                          <p:spTgt spid="62"/>
                                        </p:tgtEl>
                                        <p:attrNameLst>
                                          <p:attrName>style.visibility</p:attrName>
                                        </p:attrNameLst>
                                      </p:cBhvr>
                                      <p:to>
                                        <p:strVal val="hidden"/>
                                      </p:to>
                                    </p:set>
                                  </p:childTnLst>
                                </p:cTn>
                              </p:par>
                              <p:par>
                                <p:cTn id="37" presetID="31" presetClass="exit" presetSubtype="0" fill="hold" grpId="0" nodeType="withEffect">
                                  <p:stCondLst>
                                    <p:cond delay="0"/>
                                  </p:stCondLst>
                                  <p:childTnLst>
                                    <p:anim calcmode="lin" valueType="num">
                                      <p:cBhvr>
                                        <p:cTn id="38" dur="1000"/>
                                        <p:tgtEl>
                                          <p:spTgt spid="59"/>
                                        </p:tgtEl>
                                        <p:attrNameLst>
                                          <p:attrName>ppt_w</p:attrName>
                                        </p:attrNameLst>
                                      </p:cBhvr>
                                      <p:tavLst>
                                        <p:tav tm="0">
                                          <p:val>
                                            <p:strVal val="ppt_w"/>
                                          </p:val>
                                        </p:tav>
                                        <p:tav tm="100000">
                                          <p:val>
                                            <p:fltVal val="0"/>
                                          </p:val>
                                        </p:tav>
                                      </p:tavLst>
                                    </p:anim>
                                    <p:anim calcmode="lin" valueType="num">
                                      <p:cBhvr>
                                        <p:cTn id="39" dur="1000"/>
                                        <p:tgtEl>
                                          <p:spTgt spid="59"/>
                                        </p:tgtEl>
                                        <p:attrNameLst>
                                          <p:attrName>ppt_h</p:attrName>
                                        </p:attrNameLst>
                                      </p:cBhvr>
                                      <p:tavLst>
                                        <p:tav tm="0">
                                          <p:val>
                                            <p:strVal val="ppt_h"/>
                                          </p:val>
                                        </p:tav>
                                        <p:tav tm="100000">
                                          <p:val>
                                            <p:fltVal val="0"/>
                                          </p:val>
                                        </p:tav>
                                      </p:tavLst>
                                    </p:anim>
                                    <p:anim calcmode="lin" valueType="num">
                                      <p:cBhvr>
                                        <p:cTn id="40" dur="1000"/>
                                        <p:tgtEl>
                                          <p:spTgt spid="59"/>
                                        </p:tgtEl>
                                        <p:attrNameLst>
                                          <p:attrName>style.rotation</p:attrName>
                                        </p:attrNameLst>
                                      </p:cBhvr>
                                      <p:tavLst>
                                        <p:tav tm="0">
                                          <p:val>
                                            <p:fltVal val="0"/>
                                          </p:val>
                                        </p:tav>
                                        <p:tav tm="100000">
                                          <p:val>
                                            <p:fltVal val="90"/>
                                          </p:val>
                                        </p:tav>
                                      </p:tavLst>
                                    </p:anim>
                                    <p:animEffect transition="out" filter="fade">
                                      <p:cBhvr>
                                        <p:cTn id="41" dur="1000"/>
                                        <p:tgtEl>
                                          <p:spTgt spid="59"/>
                                        </p:tgtEl>
                                      </p:cBhvr>
                                    </p:animEffect>
                                    <p:set>
                                      <p:cBhvr>
                                        <p:cTn id="42" dur="1" fill="hold">
                                          <p:stCondLst>
                                            <p:cond delay="999"/>
                                          </p:stCondLst>
                                        </p:cTn>
                                        <p:tgtEl>
                                          <p:spTgt spid="59"/>
                                        </p:tgtEl>
                                        <p:attrNameLst>
                                          <p:attrName>style.visibility</p:attrName>
                                        </p:attrNameLst>
                                      </p:cBhvr>
                                      <p:to>
                                        <p:strVal val="hidden"/>
                                      </p:to>
                                    </p:set>
                                  </p:childTnLst>
                                </p:cTn>
                              </p:par>
                            </p:childTnLst>
                          </p:cTn>
                        </p:par>
                        <p:par>
                          <p:cTn id="43" fill="hold">
                            <p:stCondLst>
                              <p:cond delay="1000"/>
                            </p:stCondLst>
                            <p:childTnLst>
                              <p:par>
                                <p:cTn id="44" presetID="31" presetClass="entr" presetSubtype="0" fill="hold" grpId="0" nodeType="afterEffect">
                                  <p:stCondLst>
                                    <p:cond delay="0"/>
                                  </p:stCondLst>
                                  <p:childTnLst>
                                    <p:set>
                                      <p:cBhvr>
                                        <p:cTn id="45" dur="1" fill="hold">
                                          <p:stCondLst>
                                            <p:cond delay="0"/>
                                          </p:stCondLst>
                                        </p:cTn>
                                        <p:tgtEl>
                                          <p:spTgt spid="37"/>
                                        </p:tgtEl>
                                        <p:attrNameLst>
                                          <p:attrName>style.visibility</p:attrName>
                                        </p:attrNameLst>
                                      </p:cBhvr>
                                      <p:to>
                                        <p:strVal val="visible"/>
                                      </p:to>
                                    </p:set>
                                    <p:anim calcmode="lin" valueType="num">
                                      <p:cBhvr>
                                        <p:cTn id="46" dur="1000" fill="hold"/>
                                        <p:tgtEl>
                                          <p:spTgt spid="37"/>
                                        </p:tgtEl>
                                        <p:attrNameLst>
                                          <p:attrName>ppt_w</p:attrName>
                                        </p:attrNameLst>
                                      </p:cBhvr>
                                      <p:tavLst>
                                        <p:tav tm="0">
                                          <p:val>
                                            <p:fltVal val="0"/>
                                          </p:val>
                                        </p:tav>
                                        <p:tav tm="100000">
                                          <p:val>
                                            <p:strVal val="#ppt_w"/>
                                          </p:val>
                                        </p:tav>
                                      </p:tavLst>
                                    </p:anim>
                                    <p:anim calcmode="lin" valueType="num">
                                      <p:cBhvr>
                                        <p:cTn id="47" dur="1000" fill="hold"/>
                                        <p:tgtEl>
                                          <p:spTgt spid="37"/>
                                        </p:tgtEl>
                                        <p:attrNameLst>
                                          <p:attrName>ppt_h</p:attrName>
                                        </p:attrNameLst>
                                      </p:cBhvr>
                                      <p:tavLst>
                                        <p:tav tm="0">
                                          <p:val>
                                            <p:fltVal val="0"/>
                                          </p:val>
                                        </p:tav>
                                        <p:tav tm="100000">
                                          <p:val>
                                            <p:strVal val="#ppt_h"/>
                                          </p:val>
                                        </p:tav>
                                      </p:tavLst>
                                    </p:anim>
                                    <p:anim calcmode="lin" valueType="num">
                                      <p:cBhvr>
                                        <p:cTn id="48" dur="1000" fill="hold"/>
                                        <p:tgtEl>
                                          <p:spTgt spid="37"/>
                                        </p:tgtEl>
                                        <p:attrNameLst>
                                          <p:attrName>style.rotation</p:attrName>
                                        </p:attrNameLst>
                                      </p:cBhvr>
                                      <p:tavLst>
                                        <p:tav tm="0">
                                          <p:val>
                                            <p:fltVal val="90"/>
                                          </p:val>
                                        </p:tav>
                                        <p:tav tm="100000">
                                          <p:val>
                                            <p:fltVal val="0"/>
                                          </p:val>
                                        </p:tav>
                                      </p:tavLst>
                                    </p:anim>
                                    <p:animEffect transition="in" filter="fade">
                                      <p:cBhvr>
                                        <p:cTn id="49" dur="1000"/>
                                        <p:tgtEl>
                                          <p:spTgt spid="37"/>
                                        </p:tgtEl>
                                      </p:cBhvr>
                                    </p:animEffect>
                                  </p:childTnLst>
                                </p:cTn>
                              </p:par>
                              <p:par>
                                <p:cTn id="50" presetID="31" presetClass="entr" presetSubtype="0" fill="hold" grpId="0" nodeType="withEffect">
                                  <p:stCondLst>
                                    <p:cond delay="0"/>
                                  </p:stCondLst>
                                  <p:childTnLst>
                                    <p:set>
                                      <p:cBhvr>
                                        <p:cTn id="51" dur="1" fill="hold">
                                          <p:stCondLst>
                                            <p:cond delay="0"/>
                                          </p:stCondLst>
                                        </p:cTn>
                                        <p:tgtEl>
                                          <p:spTgt spid="34"/>
                                        </p:tgtEl>
                                        <p:attrNameLst>
                                          <p:attrName>style.visibility</p:attrName>
                                        </p:attrNameLst>
                                      </p:cBhvr>
                                      <p:to>
                                        <p:strVal val="visible"/>
                                      </p:to>
                                    </p:set>
                                    <p:anim calcmode="lin" valueType="num">
                                      <p:cBhvr>
                                        <p:cTn id="52" dur="1000" fill="hold"/>
                                        <p:tgtEl>
                                          <p:spTgt spid="34"/>
                                        </p:tgtEl>
                                        <p:attrNameLst>
                                          <p:attrName>ppt_w</p:attrName>
                                        </p:attrNameLst>
                                      </p:cBhvr>
                                      <p:tavLst>
                                        <p:tav tm="0">
                                          <p:val>
                                            <p:fltVal val="0"/>
                                          </p:val>
                                        </p:tav>
                                        <p:tav tm="100000">
                                          <p:val>
                                            <p:strVal val="#ppt_w"/>
                                          </p:val>
                                        </p:tav>
                                      </p:tavLst>
                                    </p:anim>
                                    <p:anim calcmode="lin" valueType="num">
                                      <p:cBhvr>
                                        <p:cTn id="53" dur="1000" fill="hold"/>
                                        <p:tgtEl>
                                          <p:spTgt spid="34"/>
                                        </p:tgtEl>
                                        <p:attrNameLst>
                                          <p:attrName>ppt_h</p:attrName>
                                        </p:attrNameLst>
                                      </p:cBhvr>
                                      <p:tavLst>
                                        <p:tav tm="0">
                                          <p:val>
                                            <p:fltVal val="0"/>
                                          </p:val>
                                        </p:tav>
                                        <p:tav tm="100000">
                                          <p:val>
                                            <p:strVal val="#ppt_h"/>
                                          </p:val>
                                        </p:tav>
                                      </p:tavLst>
                                    </p:anim>
                                    <p:anim calcmode="lin" valueType="num">
                                      <p:cBhvr>
                                        <p:cTn id="54" dur="1000" fill="hold"/>
                                        <p:tgtEl>
                                          <p:spTgt spid="34"/>
                                        </p:tgtEl>
                                        <p:attrNameLst>
                                          <p:attrName>style.rotation</p:attrName>
                                        </p:attrNameLst>
                                      </p:cBhvr>
                                      <p:tavLst>
                                        <p:tav tm="0">
                                          <p:val>
                                            <p:fltVal val="90"/>
                                          </p:val>
                                        </p:tav>
                                        <p:tav tm="100000">
                                          <p:val>
                                            <p:fltVal val="0"/>
                                          </p:val>
                                        </p:tav>
                                      </p:tavLst>
                                    </p:anim>
                                    <p:animEffect transition="in" filter="fade">
                                      <p:cBhvr>
                                        <p:cTn id="55" dur="1000"/>
                                        <p:tgtEl>
                                          <p:spTgt spid="34"/>
                                        </p:tgtEl>
                                      </p:cBhvr>
                                    </p:animEffect>
                                  </p:childTnLst>
                                </p:cTn>
                              </p:par>
                              <p:par>
                                <p:cTn id="56" presetID="31" presetClass="entr" presetSubtype="0" fill="hold" nodeType="withEffect">
                                  <p:stCondLst>
                                    <p:cond delay="0"/>
                                  </p:stCondLst>
                                  <p:childTnLst>
                                    <p:set>
                                      <p:cBhvr>
                                        <p:cTn id="57" dur="1" fill="hold">
                                          <p:stCondLst>
                                            <p:cond delay="0"/>
                                          </p:stCondLst>
                                        </p:cTn>
                                        <p:tgtEl>
                                          <p:spTgt spid="1032"/>
                                        </p:tgtEl>
                                        <p:attrNameLst>
                                          <p:attrName>style.visibility</p:attrName>
                                        </p:attrNameLst>
                                      </p:cBhvr>
                                      <p:to>
                                        <p:strVal val="visible"/>
                                      </p:to>
                                    </p:set>
                                    <p:anim calcmode="lin" valueType="num">
                                      <p:cBhvr>
                                        <p:cTn id="58" dur="1000" fill="hold"/>
                                        <p:tgtEl>
                                          <p:spTgt spid="1032"/>
                                        </p:tgtEl>
                                        <p:attrNameLst>
                                          <p:attrName>ppt_w</p:attrName>
                                        </p:attrNameLst>
                                      </p:cBhvr>
                                      <p:tavLst>
                                        <p:tav tm="0">
                                          <p:val>
                                            <p:fltVal val="0"/>
                                          </p:val>
                                        </p:tav>
                                        <p:tav tm="100000">
                                          <p:val>
                                            <p:strVal val="#ppt_w"/>
                                          </p:val>
                                        </p:tav>
                                      </p:tavLst>
                                    </p:anim>
                                    <p:anim calcmode="lin" valueType="num">
                                      <p:cBhvr>
                                        <p:cTn id="59" dur="1000" fill="hold"/>
                                        <p:tgtEl>
                                          <p:spTgt spid="1032"/>
                                        </p:tgtEl>
                                        <p:attrNameLst>
                                          <p:attrName>ppt_h</p:attrName>
                                        </p:attrNameLst>
                                      </p:cBhvr>
                                      <p:tavLst>
                                        <p:tav tm="0">
                                          <p:val>
                                            <p:fltVal val="0"/>
                                          </p:val>
                                        </p:tav>
                                        <p:tav tm="100000">
                                          <p:val>
                                            <p:strVal val="#ppt_h"/>
                                          </p:val>
                                        </p:tav>
                                      </p:tavLst>
                                    </p:anim>
                                    <p:anim calcmode="lin" valueType="num">
                                      <p:cBhvr>
                                        <p:cTn id="60" dur="1000" fill="hold"/>
                                        <p:tgtEl>
                                          <p:spTgt spid="1032"/>
                                        </p:tgtEl>
                                        <p:attrNameLst>
                                          <p:attrName>style.rotation</p:attrName>
                                        </p:attrNameLst>
                                      </p:cBhvr>
                                      <p:tavLst>
                                        <p:tav tm="0">
                                          <p:val>
                                            <p:fltVal val="90"/>
                                          </p:val>
                                        </p:tav>
                                        <p:tav tm="100000">
                                          <p:val>
                                            <p:fltVal val="0"/>
                                          </p:val>
                                        </p:tav>
                                      </p:tavLst>
                                    </p:anim>
                                    <p:animEffect transition="in" filter="fade">
                                      <p:cBhvr>
                                        <p:cTn id="61" dur="1000"/>
                                        <p:tgtEl>
                                          <p:spTgt spid="1032"/>
                                        </p:tgtEl>
                                      </p:cBhvr>
                                    </p:animEffect>
                                  </p:childTnLst>
                                </p:cTn>
                              </p:par>
                              <p:par>
                                <p:cTn id="62" presetID="31" presetClass="entr" presetSubtype="0" fill="hold" nodeType="withEffect">
                                  <p:stCondLst>
                                    <p:cond delay="0"/>
                                  </p:stCondLst>
                                  <p:childTnLst>
                                    <p:set>
                                      <p:cBhvr>
                                        <p:cTn id="63" dur="1" fill="hold">
                                          <p:stCondLst>
                                            <p:cond delay="0"/>
                                          </p:stCondLst>
                                        </p:cTn>
                                        <p:tgtEl>
                                          <p:spTgt spid="1038"/>
                                        </p:tgtEl>
                                        <p:attrNameLst>
                                          <p:attrName>style.visibility</p:attrName>
                                        </p:attrNameLst>
                                      </p:cBhvr>
                                      <p:to>
                                        <p:strVal val="visible"/>
                                      </p:to>
                                    </p:set>
                                    <p:anim calcmode="lin" valueType="num">
                                      <p:cBhvr>
                                        <p:cTn id="64" dur="1000" fill="hold"/>
                                        <p:tgtEl>
                                          <p:spTgt spid="1038"/>
                                        </p:tgtEl>
                                        <p:attrNameLst>
                                          <p:attrName>ppt_w</p:attrName>
                                        </p:attrNameLst>
                                      </p:cBhvr>
                                      <p:tavLst>
                                        <p:tav tm="0">
                                          <p:val>
                                            <p:fltVal val="0"/>
                                          </p:val>
                                        </p:tav>
                                        <p:tav tm="100000">
                                          <p:val>
                                            <p:strVal val="#ppt_w"/>
                                          </p:val>
                                        </p:tav>
                                      </p:tavLst>
                                    </p:anim>
                                    <p:anim calcmode="lin" valueType="num">
                                      <p:cBhvr>
                                        <p:cTn id="65" dur="1000" fill="hold"/>
                                        <p:tgtEl>
                                          <p:spTgt spid="1038"/>
                                        </p:tgtEl>
                                        <p:attrNameLst>
                                          <p:attrName>ppt_h</p:attrName>
                                        </p:attrNameLst>
                                      </p:cBhvr>
                                      <p:tavLst>
                                        <p:tav tm="0">
                                          <p:val>
                                            <p:fltVal val="0"/>
                                          </p:val>
                                        </p:tav>
                                        <p:tav tm="100000">
                                          <p:val>
                                            <p:strVal val="#ppt_h"/>
                                          </p:val>
                                        </p:tav>
                                      </p:tavLst>
                                    </p:anim>
                                    <p:anim calcmode="lin" valueType="num">
                                      <p:cBhvr>
                                        <p:cTn id="66" dur="1000" fill="hold"/>
                                        <p:tgtEl>
                                          <p:spTgt spid="1038"/>
                                        </p:tgtEl>
                                        <p:attrNameLst>
                                          <p:attrName>style.rotation</p:attrName>
                                        </p:attrNameLst>
                                      </p:cBhvr>
                                      <p:tavLst>
                                        <p:tav tm="0">
                                          <p:val>
                                            <p:fltVal val="90"/>
                                          </p:val>
                                        </p:tav>
                                        <p:tav tm="100000">
                                          <p:val>
                                            <p:fltVal val="0"/>
                                          </p:val>
                                        </p:tav>
                                      </p:tavLst>
                                    </p:anim>
                                    <p:animEffect transition="in" filter="fade">
                                      <p:cBhvr>
                                        <p:cTn id="67" dur="1000"/>
                                        <p:tgtEl>
                                          <p:spTgt spid="1038"/>
                                        </p:tgtEl>
                                      </p:cBhvr>
                                    </p:animEffect>
                                  </p:childTnLst>
                                </p:cTn>
                              </p:par>
                              <p:par>
                                <p:cTn id="68" presetID="31" presetClass="entr" presetSubtype="0" fill="hold" nodeType="withEffect">
                                  <p:stCondLst>
                                    <p:cond delay="0"/>
                                  </p:stCondLst>
                                  <p:childTnLst>
                                    <p:set>
                                      <p:cBhvr>
                                        <p:cTn id="69" dur="1" fill="hold">
                                          <p:stCondLst>
                                            <p:cond delay="0"/>
                                          </p:stCondLst>
                                        </p:cTn>
                                        <p:tgtEl>
                                          <p:spTgt spid="1030"/>
                                        </p:tgtEl>
                                        <p:attrNameLst>
                                          <p:attrName>style.visibility</p:attrName>
                                        </p:attrNameLst>
                                      </p:cBhvr>
                                      <p:to>
                                        <p:strVal val="visible"/>
                                      </p:to>
                                    </p:set>
                                    <p:anim calcmode="lin" valueType="num">
                                      <p:cBhvr>
                                        <p:cTn id="70" dur="1000" fill="hold"/>
                                        <p:tgtEl>
                                          <p:spTgt spid="1030"/>
                                        </p:tgtEl>
                                        <p:attrNameLst>
                                          <p:attrName>ppt_w</p:attrName>
                                        </p:attrNameLst>
                                      </p:cBhvr>
                                      <p:tavLst>
                                        <p:tav tm="0">
                                          <p:val>
                                            <p:fltVal val="0"/>
                                          </p:val>
                                        </p:tav>
                                        <p:tav tm="100000">
                                          <p:val>
                                            <p:strVal val="#ppt_w"/>
                                          </p:val>
                                        </p:tav>
                                      </p:tavLst>
                                    </p:anim>
                                    <p:anim calcmode="lin" valueType="num">
                                      <p:cBhvr>
                                        <p:cTn id="71" dur="1000" fill="hold"/>
                                        <p:tgtEl>
                                          <p:spTgt spid="1030"/>
                                        </p:tgtEl>
                                        <p:attrNameLst>
                                          <p:attrName>ppt_h</p:attrName>
                                        </p:attrNameLst>
                                      </p:cBhvr>
                                      <p:tavLst>
                                        <p:tav tm="0">
                                          <p:val>
                                            <p:fltVal val="0"/>
                                          </p:val>
                                        </p:tav>
                                        <p:tav tm="100000">
                                          <p:val>
                                            <p:strVal val="#ppt_h"/>
                                          </p:val>
                                        </p:tav>
                                      </p:tavLst>
                                    </p:anim>
                                    <p:anim calcmode="lin" valueType="num">
                                      <p:cBhvr>
                                        <p:cTn id="72" dur="1000" fill="hold"/>
                                        <p:tgtEl>
                                          <p:spTgt spid="1030"/>
                                        </p:tgtEl>
                                        <p:attrNameLst>
                                          <p:attrName>style.rotation</p:attrName>
                                        </p:attrNameLst>
                                      </p:cBhvr>
                                      <p:tavLst>
                                        <p:tav tm="0">
                                          <p:val>
                                            <p:fltVal val="90"/>
                                          </p:val>
                                        </p:tav>
                                        <p:tav tm="100000">
                                          <p:val>
                                            <p:fltVal val="0"/>
                                          </p:val>
                                        </p:tav>
                                      </p:tavLst>
                                    </p:anim>
                                    <p:animEffect transition="in" filter="fade">
                                      <p:cBhvr>
                                        <p:cTn id="73" dur="1000"/>
                                        <p:tgtEl>
                                          <p:spTgt spid="1030"/>
                                        </p:tgtEl>
                                      </p:cBhvr>
                                    </p:animEffect>
                                  </p:childTnLst>
                                </p:cTn>
                              </p:par>
                              <p:par>
                                <p:cTn id="74" presetID="31" presetClass="entr" presetSubtype="0" fill="hold" nodeType="withEffect">
                                  <p:stCondLst>
                                    <p:cond delay="0"/>
                                  </p:stCondLst>
                                  <p:childTnLst>
                                    <p:set>
                                      <p:cBhvr>
                                        <p:cTn id="75" dur="1" fill="hold">
                                          <p:stCondLst>
                                            <p:cond delay="0"/>
                                          </p:stCondLst>
                                        </p:cTn>
                                        <p:tgtEl>
                                          <p:spTgt spid="1036"/>
                                        </p:tgtEl>
                                        <p:attrNameLst>
                                          <p:attrName>style.visibility</p:attrName>
                                        </p:attrNameLst>
                                      </p:cBhvr>
                                      <p:to>
                                        <p:strVal val="visible"/>
                                      </p:to>
                                    </p:set>
                                    <p:anim calcmode="lin" valueType="num">
                                      <p:cBhvr>
                                        <p:cTn id="76" dur="1000" fill="hold"/>
                                        <p:tgtEl>
                                          <p:spTgt spid="1036"/>
                                        </p:tgtEl>
                                        <p:attrNameLst>
                                          <p:attrName>ppt_w</p:attrName>
                                        </p:attrNameLst>
                                      </p:cBhvr>
                                      <p:tavLst>
                                        <p:tav tm="0">
                                          <p:val>
                                            <p:fltVal val="0"/>
                                          </p:val>
                                        </p:tav>
                                        <p:tav tm="100000">
                                          <p:val>
                                            <p:strVal val="#ppt_w"/>
                                          </p:val>
                                        </p:tav>
                                      </p:tavLst>
                                    </p:anim>
                                    <p:anim calcmode="lin" valueType="num">
                                      <p:cBhvr>
                                        <p:cTn id="77" dur="1000" fill="hold"/>
                                        <p:tgtEl>
                                          <p:spTgt spid="1036"/>
                                        </p:tgtEl>
                                        <p:attrNameLst>
                                          <p:attrName>ppt_h</p:attrName>
                                        </p:attrNameLst>
                                      </p:cBhvr>
                                      <p:tavLst>
                                        <p:tav tm="0">
                                          <p:val>
                                            <p:fltVal val="0"/>
                                          </p:val>
                                        </p:tav>
                                        <p:tav tm="100000">
                                          <p:val>
                                            <p:strVal val="#ppt_h"/>
                                          </p:val>
                                        </p:tav>
                                      </p:tavLst>
                                    </p:anim>
                                    <p:anim calcmode="lin" valueType="num">
                                      <p:cBhvr>
                                        <p:cTn id="78" dur="1000" fill="hold"/>
                                        <p:tgtEl>
                                          <p:spTgt spid="1036"/>
                                        </p:tgtEl>
                                        <p:attrNameLst>
                                          <p:attrName>style.rotation</p:attrName>
                                        </p:attrNameLst>
                                      </p:cBhvr>
                                      <p:tavLst>
                                        <p:tav tm="0">
                                          <p:val>
                                            <p:fltVal val="90"/>
                                          </p:val>
                                        </p:tav>
                                        <p:tav tm="100000">
                                          <p:val>
                                            <p:fltVal val="0"/>
                                          </p:val>
                                        </p:tav>
                                      </p:tavLst>
                                    </p:anim>
                                    <p:animEffect transition="in" filter="fade">
                                      <p:cBhvr>
                                        <p:cTn id="79" dur="1000"/>
                                        <p:tgtEl>
                                          <p:spTgt spid="1036"/>
                                        </p:tgtEl>
                                      </p:cBhvr>
                                    </p:animEffect>
                                  </p:childTnLst>
                                </p:cTn>
                              </p:par>
                              <p:par>
                                <p:cTn id="80" presetID="31" presetClass="entr" presetSubtype="0" fill="hold" nodeType="withEffect">
                                  <p:stCondLst>
                                    <p:cond delay="0"/>
                                  </p:stCondLst>
                                  <p:childTnLst>
                                    <p:set>
                                      <p:cBhvr>
                                        <p:cTn id="81" dur="1" fill="hold">
                                          <p:stCondLst>
                                            <p:cond delay="0"/>
                                          </p:stCondLst>
                                        </p:cTn>
                                        <p:tgtEl>
                                          <p:spTgt spid="1029"/>
                                        </p:tgtEl>
                                        <p:attrNameLst>
                                          <p:attrName>style.visibility</p:attrName>
                                        </p:attrNameLst>
                                      </p:cBhvr>
                                      <p:to>
                                        <p:strVal val="visible"/>
                                      </p:to>
                                    </p:set>
                                    <p:anim calcmode="lin" valueType="num">
                                      <p:cBhvr>
                                        <p:cTn id="82" dur="1000" fill="hold"/>
                                        <p:tgtEl>
                                          <p:spTgt spid="1029"/>
                                        </p:tgtEl>
                                        <p:attrNameLst>
                                          <p:attrName>ppt_w</p:attrName>
                                        </p:attrNameLst>
                                      </p:cBhvr>
                                      <p:tavLst>
                                        <p:tav tm="0">
                                          <p:val>
                                            <p:fltVal val="0"/>
                                          </p:val>
                                        </p:tav>
                                        <p:tav tm="100000">
                                          <p:val>
                                            <p:strVal val="#ppt_w"/>
                                          </p:val>
                                        </p:tav>
                                      </p:tavLst>
                                    </p:anim>
                                    <p:anim calcmode="lin" valueType="num">
                                      <p:cBhvr>
                                        <p:cTn id="83" dur="1000" fill="hold"/>
                                        <p:tgtEl>
                                          <p:spTgt spid="1029"/>
                                        </p:tgtEl>
                                        <p:attrNameLst>
                                          <p:attrName>ppt_h</p:attrName>
                                        </p:attrNameLst>
                                      </p:cBhvr>
                                      <p:tavLst>
                                        <p:tav tm="0">
                                          <p:val>
                                            <p:fltVal val="0"/>
                                          </p:val>
                                        </p:tav>
                                        <p:tav tm="100000">
                                          <p:val>
                                            <p:strVal val="#ppt_h"/>
                                          </p:val>
                                        </p:tav>
                                      </p:tavLst>
                                    </p:anim>
                                    <p:anim calcmode="lin" valueType="num">
                                      <p:cBhvr>
                                        <p:cTn id="84" dur="1000" fill="hold"/>
                                        <p:tgtEl>
                                          <p:spTgt spid="1029"/>
                                        </p:tgtEl>
                                        <p:attrNameLst>
                                          <p:attrName>style.rotation</p:attrName>
                                        </p:attrNameLst>
                                      </p:cBhvr>
                                      <p:tavLst>
                                        <p:tav tm="0">
                                          <p:val>
                                            <p:fltVal val="90"/>
                                          </p:val>
                                        </p:tav>
                                        <p:tav tm="100000">
                                          <p:val>
                                            <p:fltVal val="0"/>
                                          </p:val>
                                        </p:tav>
                                      </p:tavLst>
                                    </p:anim>
                                    <p:animEffect transition="in" filter="fade">
                                      <p:cBhvr>
                                        <p:cTn id="85" dur="1000"/>
                                        <p:tgtEl>
                                          <p:spTgt spid="1029"/>
                                        </p:tgtEl>
                                      </p:cBhvr>
                                    </p:animEffect>
                                  </p:childTnLst>
                                </p:cTn>
                              </p:par>
                              <p:par>
                                <p:cTn id="86" presetID="31" presetClass="entr" presetSubtype="0" fill="hold" grpId="0" nodeType="withEffect">
                                  <p:stCondLst>
                                    <p:cond delay="0"/>
                                  </p:stCondLst>
                                  <p:childTnLst>
                                    <p:set>
                                      <p:cBhvr>
                                        <p:cTn id="87" dur="1" fill="hold">
                                          <p:stCondLst>
                                            <p:cond delay="0"/>
                                          </p:stCondLst>
                                        </p:cTn>
                                        <p:tgtEl>
                                          <p:spTgt spid="35"/>
                                        </p:tgtEl>
                                        <p:attrNameLst>
                                          <p:attrName>style.visibility</p:attrName>
                                        </p:attrNameLst>
                                      </p:cBhvr>
                                      <p:to>
                                        <p:strVal val="visible"/>
                                      </p:to>
                                    </p:set>
                                    <p:anim calcmode="lin" valueType="num">
                                      <p:cBhvr>
                                        <p:cTn id="88" dur="1000" fill="hold"/>
                                        <p:tgtEl>
                                          <p:spTgt spid="35"/>
                                        </p:tgtEl>
                                        <p:attrNameLst>
                                          <p:attrName>ppt_w</p:attrName>
                                        </p:attrNameLst>
                                      </p:cBhvr>
                                      <p:tavLst>
                                        <p:tav tm="0">
                                          <p:val>
                                            <p:fltVal val="0"/>
                                          </p:val>
                                        </p:tav>
                                        <p:tav tm="100000">
                                          <p:val>
                                            <p:strVal val="#ppt_w"/>
                                          </p:val>
                                        </p:tav>
                                      </p:tavLst>
                                    </p:anim>
                                    <p:anim calcmode="lin" valueType="num">
                                      <p:cBhvr>
                                        <p:cTn id="89" dur="1000" fill="hold"/>
                                        <p:tgtEl>
                                          <p:spTgt spid="35"/>
                                        </p:tgtEl>
                                        <p:attrNameLst>
                                          <p:attrName>ppt_h</p:attrName>
                                        </p:attrNameLst>
                                      </p:cBhvr>
                                      <p:tavLst>
                                        <p:tav tm="0">
                                          <p:val>
                                            <p:fltVal val="0"/>
                                          </p:val>
                                        </p:tav>
                                        <p:tav tm="100000">
                                          <p:val>
                                            <p:strVal val="#ppt_h"/>
                                          </p:val>
                                        </p:tav>
                                      </p:tavLst>
                                    </p:anim>
                                    <p:anim calcmode="lin" valueType="num">
                                      <p:cBhvr>
                                        <p:cTn id="90" dur="1000" fill="hold"/>
                                        <p:tgtEl>
                                          <p:spTgt spid="35"/>
                                        </p:tgtEl>
                                        <p:attrNameLst>
                                          <p:attrName>style.rotation</p:attrName>
                                        </p:attrNameLst>
                                      </p:cBhvr>
                                      <p:tavLst>
                                        <p:tav tm="0">
                                          <p:val>
                                            <p:fltVal val="90"/>
                                          </p:val>
                                        </p:tav>
                                        <p:tav tm="100000">
                                          <p:val>
                                            <p:fltVal val="0"/>
                                          </p:val>
                                        </p:tav>
                                      </p:tavLst>
                                    </p:anim>
                                    <p:animEffect transition="in" filter="fade">
                                      <p:cBhvr>
                                        <p:cTn id="91" dur="1000"/>
                                        <p:tgtEl>
                                          <p:spTgt spid="35"/>
                                        </p:tgtEl>
                                      </p:cBhvr>
                                    </p:animEffect>
                                  </p:childTnLst>
                                </p:cTn>
                              </p:par>
                              <p:par>
                                <p:cTn id="92" presetID="31" presetClass="entr" presetSubtype="0" fill="hold" grpId="0" nodeType="withEffect">
                                  <p:stCondLst>
                                    <p:cond delay="0"/>
                                  </p:stCondLst>
                                  <p:childTnLst>
                                    <p:set>
                                      <p:cBhvr>
                                        <p:cTn id="93" dur="1" fill="hold">
                                          <p:stCondLst>
                                            <p:cond delay="0"/>
                                          </p:stCondLst>
                                        </p:cTn>
                                        <p:tgtEl>
                                          <p:spTgt spid="39"/>
                                        </p:tgtEl>
                                        <p:attrNameLst>
                                          <p:attrName>style.visibility</p:attrName>
                                        </p:attrNameLst>
                                      </p:cBhvr>
                                      <p:to>
                                        <p:strVal val="visible"/>
                                      </p:to>
                                    </p:set>
                                    <p:anim calcmode="lin" valueType="num">
                                      <p:cBhvr>
                                        <p:cTn id="94" dur="1000" fill="hold"/>
                                        <p:tgtEl>
                                          <p:spTgt spid="39"/>
                                        </p:tgtEl>
                                        <p:attrNameLst>
                                          <p:attrName>ppt_w</p:attrName>
                                        </p:attrNameLst>
                                      </p:cBhvr>
                                      <p:tavLst>
                                        <p:tav tm="0">
                                          <p:val>
                                            <p:fltVal val="0"/>
                                          </p:val>
                                        </p:tav>
                                        <p:tav tm="100000">
                                          <p:val>
                                            <p:strVal val="#ppt_w"/>
                                          </p:val>
                                        </p:tav>
                                      </p:tavLst>
                                    </p:anim>
                                    <p:anim calcmode="lin" valueType="num">
                                      <p:cBhvr>
                                        <p:cTn id="95" dur="1000" fill="hold"/>
                                        <p:tgtEl>
                                          <p:spTgt spid="39"/>
                                        </p:tgtEl>
                                        <p:attrNameLst>
                                          <p:attrName>ppt_h</p:attrName>
                                        </p:attrNameLst>
                                      </p:cBhvr>
                                      <p:tavLst>
                                        <p:tav tm="0">
                                          <p:val>
                                            <p:fltVal val="0"/>
                                          </p:val>
                                        </p:tav>
                                        <p:tav tm="100000">
                                          <p:val>
                                            <p:strVal val="#ppt_h"/>
                                          </p:val>
                                        </p:tav>
                                      </p:tavLst>
                                    </p:anim>
                                    <p:anim calcmode="lin" valueType="num">
                                      <p:cBhvr>
                                        <p:cTn id="96" dur="1000" fill="hold"/>
                                        <p:tgtEl>
                                          <p:spTgt spid="39"/>
                                        </p:tgtEl>
                                        <p:attrNameLst>
                                          <p:attrName>style.rotation</p:attrName>
                                        </p:attrNameLst>
                                      </p:cBhvr>
                                      <p:tavLst>
                                        <p:tav tm="0">
                                          <p:val>
                                            <p:fltVal val="90"/>
                                          </p:val>
                                        </p:tav>
                                        <p:tav tm="100000">
                                          <p:val>
                                            <p:fltVal val="0"/>
                                          </p:val>
                                        </p:tav>
                                      </p:tavLst>
                                    </p:anim>
                                    <p:animEffect transition="in" filter="fade">
                                      <p:cBhvr>
                                        <p:cTn id="97" dur="1000"/>
                                        <p:tgtEl>
                                          <p:spTgt spid="39"/>
                                        </p:tgtEl>
                                      </p:cBhvr>
                                    </p:animEffect>
                                  </p:childTnLst>
                                </p:cTn>
                              </p:par>
                              <p:par>
                                <p:cTn id="98" presetID="31" presetClass="entr" presetSubtype="0" fill="hold" grpId="0" nodeType="withEffect">
                                  <p:stCondLst>
                                    <p:cond delay="0"/>
                                  </p:stCondLst>
                                  <p:childTnLst>
                                    <p:set>
                                      <p:cBhvr>
                                        <p:cTn id="99" dur="1" fill="hold">
                                          <p:stCondLst>
                                            <p:cond delay="0"/>
                                          </p:stCondLst>
                                        </p:cTn>
                                        <p:tgtEl>
                                          <p:spTgt spid="36"/>
                                        </p:tgtEl>
                                        <p:attrNameLst>
                                          <p:attrName>style.visibility</p:attrName>
                                        </p:attrNameLst>
                                      </p:cBhvr>
                                      <p:to>
                                        <p:strVal val="visible"/>
                                      </p:to>
                                    </p:set>
                                    <p:anim calcmode="lin" valueType="num">
                                      <p:cBhvr>
                                        <p:cTn id="100" dur="1000" fill="hold"/>
                                        <p:tgtEl>
                                          <p:spTgt spid="36"/>
                                        </p:tgtEl>
                                        <p:attrNameLst>
                                          <p:attrName>ppt_w</p:attrName>
                                        </p:attrNameLst>
                                      </p:cBhvr>
                                      <p:tavLst>
                                        <p:tav tm="0">
                                          <p:val>
                                            <p:fltVal val="0"/>
                                          </p:val>
                                        </p:tav>
                                        <p:tav tm="100000">
                                          <p:val>
                                            <p:strVal val="#ppt_w"/>
                                          </p:val>
                                        </p:tav>
                                      </p:tavLst>
                                    </p:anim>
                                    <p:anim calcmode="lin" valueType="num">
                                      <p:cBhvr>
                                        <p:cTn id="101" dur="1000" fill="hold"/>
                                        <p:tgtEl>
                                          <p:spTgt spid="36"/>
                                        </p:tgtEl>
                                        <p:attrNameLst>
                                          <p:attrName>ppt_h</p:attrName>
                                        </p:attrNameLst>
                                      </p:cBhvr>
                                      <p:tavLst>
                                        <p:tav tm="0">
                                          <p:val>
                                            <p:fltVal val="0"/>
                                          </p:val>
                                        </p:tav>
                                        <p:tav tm="100000">
                                          <p:val>
                                            <p:strVal val="#ppt_h"/>
                                          </p:val>
                                        </p:tav>
                                      </p:tavLst>
                                    </p:anim>
                                    <p:anim calcmode="lin" valueType="num">
                                      <p:cBhvr>
                                        <p:cTn id="102" dur="1000" fill="hold"/>
                                        <p:tgtEl>
                                          <p:spTgt spid="36"/>
                                        </p:tgtEl>
                                        <p:attrNameLst>
                                          <p:attrName>style.rotation</p:attrName>
                                        </p:attrNameLst>
                                      </p:cBhvr>
                                      <p:tavLst>
                                        <p:tav tm="0">
                                          <p:val>
                                            <p:fltVal val="90"/>
                                          </p:val>
                                        </p:tav>
                                        <p:tav tm="100000">
                                          <p:val>
                                            <p:fltVal val="0"/>
                                          </p:val>
                                        </p:tav>
                                      </p:tavLst>
                                    </p:anim>
                                    <p:animEffect transition="in" filter="fade">
                                      <p:cBhvr>
                                        <p:cTn id="103" dur="1000"/>
                                        <p:tgtEl>
                                          <p:spTgt spid="36"/>
                                        </p:tgtEl>
                                      </p:cBhvr>
                                    </p:animEffect>
                                  </p:childTnLst>
                                </p:cTn>
                              </p:par>
                              <p:par>
                                <p:cTn id="104" presetID="31" presetClass="entr" presetSubtype="0" fill="hold" grpId="0" nodeType="withEffect">
                                  <p:stCondLst>
                                    <p:cond delay="0"/>
                                  </p:stCondLst>
                                  <p:childTnLst>
                                    <p:set>
                                      <p:cBhvr>
                                        <p:cTn id="105" dur="1" fill="hold">
                                          <p:stCondLst>
                                            <p:cond delay="0"/>
                                          </p:stCondLst>
                                        </p:cTn>
                                        <p:tgtEl>
                                          <p:spTgt spid="23"/>
                                        </p:tgtEl>
                                        <p:attrNameLst>
                                          <p:attrName>style.visibility</p:attrName>
                                        </p:attrNameLst>
                                      </p:cBhvr>
                                      <p:to>
                                        <p:strVal val="visible"/>
                                      </p:to>
                                    </p:set>
                                    <p:anim calcmode="lin" valueType="num">
                                      <p:cBhvr>
                                        <p:cTn id="106" dur="1000" fill="hold"/>
                                        <p:tgtEl>
                                          <p:spTgt spid="23"/>
                                        </p:tgtEl>
                                        <p:attrNameLst>
                                          <p:attrName>ppt_w</p:attrName>
                                        </p:attrNameLst>
                                      </p:cBhvr>
                                      <p:tavLst>
                                        <p:tav tm="0">
                                          <p:val>
                                            <p:fltVal val="0"/>
                                          </p:val>
                                        </p:tav>
                                        <p:tav tm="100000">
                                          <p:val>
                                            <p:strVal val="#ppt_w"/>
                                          </p:val>
                                        </p:tav>
                                      </p:tavLst>
                                    </p:anim>
                                    <p:anim calcmode="lin" valueType="num">
                                      <p:cBhvr>
                                        <p:cTn id="107" dur="1000" fill="hold"/>
                                        <p:tgtEl>
                                          <p:spTgt spid="23"/>
                                        </p:tgtEl>
                                        <p:attrNameLst>
                                          <p:attrName>ppt_h</p:attrName>
                                        </p:attrNameLst>
                                      </p:cBhvr>
                                      <p:tavLst>
                                        <p:tav tm="0">
                                          <p:val>
                                            <p:fltVal val="0"/>
                                          </p:val>
                                        </p:tav>
                                        <p:tav tm="100000">
                                          <p:val>
                                            <p:strVal val="#ppt_h"/>
                                          </p:val>
                                        </p:tav>
                                      </p:tavLst>
                                    </p:anim>
                                    <p:anim calcmode="lin" valueType="num">
                                      <p:cBhvr>
                                        <p:cTn id="108" dur="1000" fill="hold"/>
                                        <p:tgtEl>
                                          <p:spTgt spid="23"/>
                                        </p:tgtEl>
                                        <p:attrNameLst>
                                          <p:attrName>style.rotation</p:attrName>
                                        </p:attrNameLst>
                                      </p:cBhvr>
                                      <p:tavLst>
                                        <p:tav tm="0">
                                          <p:val>
                                            <p:fltVal val="90"/>
                                          </p:val>
                                        </p:tav>
                                        <p:tav tm="100000">
                                          <p:val>
                                            <p:fltVal val="0"/>
                                          </p:val>
                                        </p:tav>
                                      </p:tavLst>
                                    </p:anim>
                                    <p:animEffect transition="in" filter="fade">
                                      <p:cBhvr>
                                        <p:cTn id="109" dur="1000"/>
                                        <p:tgtEl>
                                          <p:spTgt spid="23"/>
                                        </p:tgtEl>
                                      </p:cBhvr>
                                    </p:animEffect>
                                  </p:childTnLst>
                                </p:cTn>
                              </p:par>
                              <p:par>
                                <p:cTn id="110" presetID="31" presetClass="entr" presetSubtype="0" fill="hold" grpId="0" nodeType="withEffect">
                                  <p:stCondLst>
                                    <p:cond delay="0"/>
                                  </p:stCondLst>
                                  <p:childTnLst>
                                    <p:set>
                                      <p:cBhvr>
                                        <p:cTn id="111" dur="1" fill="hold">
                                          <p:stCondLst>
                                            <p:cond delay="0"/>
                                          </p:stCondLst>
                                        </p:cTn>
                                        <p:tgtEl>
                                          <p:spTgt spid="24"/>
                                        </p:tgtEl>
                                        <p:attrNameLst>
                                          <p:attrName>style.visibility</p:attrName>
                                        </p:attrNameLst>
                                      </p:cBhvr>
                                      <p:to>
                                        <p:strVal val="visible"/>
                                      </p:to>
                                    </p:set>
                                    <p:anim calcmode="lin" valueType="num">
                                      <p:cBhvr>
                                        <p:cTn id="112" dur="1000" fill="hold"/>
                                        <p:tgtEl>
                                          <p:spTgt spid="24"/>
                                        </p:tgtEl>
                                        <p:attrNameLst>
                                          <p:attrName>ppt_w</p:attrName>
                                        </p:attrNameLst>
                                      </p:cBhvr>
                                      <p:tavLst>
                                        <p:tav tm="0">
                                          <p:val>
                                            <p:fltVal val="0"/>
                                          </p:val>
                                        </p:tav>
                                        <p:tav tm="100000">
                                          <p:val>
                                            <p:strVal val="#ppt_w"/>
                                          </p:val>
                                        </p:tav>
                                      </p:tavLst>
                                    </p:anim>
                                    <p:anim calcmode="lin" valueType="num">
                                      <p:cBhvr>
                                        <p:cTn id="113" dur="1000" fill="hold"/>
                                        <p:tgtEl>
                                          <p:spTgt spid="24"/>
                                        </p:tgtEl>
                                        <p:attrNameLst>
                                          <p:attrName>ppt_h</p:attrName>
                                        </p:attrNameLst>
                                      </p:cBhvr>
                                      <p:tavLst>
                                        <p:tav tm="0">
                                          <p:val>
                                            <p:fltVal val="0"/>
                                          </p:val>
                                        </p:tav>
                                        <p:tav tm="100000">
                                          <p:val>
                                            <p:strVal val="#ppt_h"/>
                                          </p:val>
                                        </p:tav>
                                      </p:tavLst>
                                    </p:anim>
                                    <p:anim calcmode="lin" valueType="num">
                                      <p:cBhvr>
                                        <p:cTn id="114" dur="1000" fill="hold"/>
                                        <p:tgtEl>
                                          <p:spTgt spid="24"/>
                                        </p:tgtEl>
                                        <p:attrNameLst>
                                          <p:attrName>style.rotation</p:attrName>
                                        </p:attrNameLst>
                                      </p:cBhvr>
                                      <p:tavLst>
                                        <p:tav tm="0">
                                          <p:val>
                                            <p:fltVal val="90"/>
                                          </p:val>
                                        </p:tav>
                                        <p:tav tm="100000">
                                          <p:val>
                                            <p:fltVal val="0"/>
                                          </p:val>
                                        </p:tav>
                                      </p:tavLst>
                                    </p:anim>
                                    <p:animEffect transition="in" filter="fade">
                                      <p:cBhvr>
                                        <p:cTn id="115" dur="1000"/>
                                        <p:tgtEl>
                                          <p:spTgt spid="24"/>
                                        </p:tgtEl>
                                      </p:cBhvr>
                                    </p:animEffect>
                                  </p:childTnLst>
                                </p:cTn>
                              </p:par>
                              <p:par>
                                <p:cTn id="116" presetID="31" presetClass="entr" presetSubtype="0" fill="hold" grpId="0" nodeType="withEffect">
                                  <p:stCondLst>
                                    <p:cond delay="0"/>
                                  </p:stCondLst>
                                  <p:childTnLst>
                                    <p:set>
                                      <p:cBhvr>
                                        <p:cTn id="117" dur="1" fill="hold">
                                          <p:stCondLst>
                                            <p:cond delay="0"/>
                                          </p:stCondLst>
                                        </p:cTn>
                                        <p:tgtEl>
                                          <p:spTgt spid="38"/>
                                        </p:tgtEl>
                                        <p:attrNameLst>
                                          <p:attrName>style.visibility</p:attrName>
                                        </p:attrNameLst>
                                      </p:cBhvr>
                                      <p:to>
                                        <p:strVal val="visible"/>
                                      </p:to>
                                    </p:set>
                                    <p:anim calcmode="lin" valueType="num">
                                      <p:cBhvr>
                                        <p:cTn id="118" dur="1000" fill="hold"/>
                                        <p:tgtEl>
                                          <p:spTgt spid="38"/>
                                        </p:tgtEl>
                                        <p:attrNameLst>
                                          <p:attrName>ppt_w</p:attrName>
                                        </p:attrNameLst>
                                      </p:cBhvr>
                                      <p:tavLst>
                                        <p:tav tm="0">
                                          <p:val>
                                            <p:fltVal val="0"/>
                                          </p:val>
                                        </p:tav>
                                        <p:tav tm="100000">
                                          <p:val>
                                            <p:strVal val="#ppt_w"/>
                                          </p:val>
                                        </p:tav>
                                      </p:tavLst>
                                    </p:anim>
                                    <p:anim calcmode="lin" valueType="num">
                                      <p:cBhvr>
                                        <p:cTn id="119" dur="1000" fill="hold"/>
                                        <p:tgtEl>
                                          <p:spTgt spid="38"/>
                                        </p:tgtEl>
                                        <p:attrNameLst>
                                          <p:attrName>ppt_h</p:attrName>
                                        </p:attrNameLst>
                                      </p:cBhvr>
                                      <p:tavLst>
                                        <p:tav tm="0">
                                          <p:val>
                                            <p:fltVal val="0"/>
                                          </p:val>
                                        </p:tav>
                                        <p:tav tm="100000">
                                          <p:val>
                                            <p:strVal val="#ppt_h"/>
                                          </p:val>
                                        </p:tav>
                                      </p:tavLst>
                                    </p:anim>
                                    <p:anim calcmode="lin" valueType="num">
                                      <p:cBhvr>
                                        <p:cTn id="120" dur="1000" fill="hold"/>
                                        <p:tgtEl>
                                          <p:spTgt spid="38"/>
                                        </p:tgtEl>
                                        <p:attrNameLst>
                                          <p:attrName>style.rotation</p:attrName>
                                        </p:attrNameLst>
                                      </p:cBhvr>
                                      <p:tavLst>
                                        <p:tav tm="0">
                                          <p:val>
                                            <p:fltVal val="90"/>
                                          </p:val>
                                        </p:tav>
                                        <p:tav tm="100000">
                                          <p:val>
                                            <p:fltVal val="0"/>
                                          </p:val>
                                        </p:tav>
                                      </p:tavLst>
                                    </p:anim>
                                    <p:animEffect transition="in" filter="fade">
                                      <p:cBhvr>
                                        <p:cTn id="121" dur="1000"/>
                                        <p:tgtEl>
                                          <p:spTgt spid="38"/>
                                        </p:tgtEl>
                                      </p:cBhvr>
                                    </p:animEffect>
                                  </p:childTnLst>
                                </p:cTn>
                              </p:par>
                              <p:par>
                                <p:cTn id="122" presetID="31" presetClass="entr" presetSubtype="0" fill="hold" nodeType="withEffect">
                                  <p:stCondLst>
                                    <p:cond delay="0"/>
                                  </p:stCondLst>
                                  <p:childTnLst>
                                    <p:set>
                                      <p:cBhvr>
                                        <p:cTn id="123" dur="1" fill="hold">
                                          <p:stCondLst>
                                            <p:cond delay="0"/>
                                          </p:stCondLst>
                                        </p:cTn>
                                        <p:tgtEl>
                                          <p:spTgt spid="1034"/>
                                        </p:tgtEl>
                                        <p:attrNameLst>
                                          <p:attrName>style.visibility</p:attrName>
                                        </p:attrNameLst>
                                      </p:cBhvr>
                                      <p:to>
                                        <p:strVal val="visible"/>
                                      </p:to>
                                    </p:set>
                                    <p:anim calcmode="lin" valueType="num">
                                      <p:cBhvr>
                                        <p:cTn id="124" dur="1000" fill="hold"/>
                                        <p:tgtEl>
                                          <p:spTgt spid="1034"/>
                                        </p:tgtEl>
                                        <p:attrNameLst>
                                          <p:attrName>ppt_w</p:attrName>
                                        </p:attrNameLst>
                                      </p:cBhvr>
                                      <p:tavLst>
                                        <p:tav tm="0">
                                          <p:val>
                                            <p:fltVal val="0"/>
                                          </p:val>
                                        </p:tav>
                                        <p:tav tm="100000">
                                          <p:val>
                                            <p:strVal val="#ppt_w"/>
                                          </p:val>
                                        </p:tav>
                                      </p:tavLst>
                                    </p:anim>
                                    <p:anim calcmode="lin" valueType="num">
                                      <p:cBhvr>
                                        <p:cTn id="125" dur="1000" fill="hold"/>
                                        <p:tgtEl>
                                          <p:spTgt spid="1034"/>
                                        </p:tgtEl>
                                        <p:attrNameLst>
                                          <p:attrName>ppt_h</p:attrName>
                                        </p:attrNameLst>
                                      </p:cBhvr>
                                      <p:tavLst>
                                        <p:tav tm="0">
                                          <p:val>
                                            <p:fltVal val="0"/>
                                          </p:val>
                                        </p:tav>
                                        <p:tav tm="100000">
                                          <p:val>
                                            <p:strVal val="#ppt_h"/>
                                          </p:val>
                                        </p:tav>
                                      </p:tavLst>
                                    </p:anim>
                                    <p:anim calcmode="lin" valueType="num">
                                      <p:cBhvr>
                                        <p:cTn id="126" dur="1000" fill="hold"/>
                                        <p:tgtEl>
                                          <p:spTgt spid="1034"/>
                                        </p:tgtEl>
                                        <p:attrNameLst>
                                          <p:attrName>style.rotation</p:attrName>
                                        </p:attrNameLst>
                                      </p:cBhvr>
                                      <p:tavLst>
                                        <p:tav tm="0">
                                          <p:val>
                                            <p:fltVal val="90"/>
                                          </p:val>
                                        </p:tav>
                                        <p:tav tm="100000">
                                          <p:val>
                                            <p:fltVal val="0"/>
                                          </p:val>
                                        </p:tav>
                                      </p:tavLst>
                                    </p:anim>
                                    <p:animEffect transition="in" filter="fade">
                                      <p:cBhvr>
                                        <p:cTn id="127" dur="1000"/>
                                        <p:tgtEl>
                                          <p:spTgt spid="1034"/>
                                        </p:tgtEl>
                                      </p:cBhvr>
                                    </p:animEffect>
                                  </p:childTnLst>
                                </p:cTn>
                              </p:par>
                              <p:par>
                                <p:cTn id="128" presetID="31" presetClass="entr" presetSubtype="0" fill="hold" nodeType="withEffect">
                                  <p:stCondLst>
                                    <p:cond delay="0"/>
                                  </p:stCondLst>
                                  <p:childTnLst>
                                    <p:set>
                                      <p:cBhvr>
                                        <p:cTn id="129" dur="1" fill="hold">
                                          <p:stCondLst>
                                            <p:cond delay="0"/>
                                          </p:stCondLst>
                                        </p:cTn>
                                        <p:tgtEl>
                                          <p:spTgt spid="1031"/>
                                        </p:tgtEl>
                                        <p:attrNameLst>
                                          <p:attrName>style.visibility</p:attrName>
                                        </p:attrNameLst>
                                      </p:cBhvr>
                                      <p:to>
                                        <p:strVal val="visible"/>
                                      </p:to>
                                    </p:set>
                                    <p:anim calcmode="lin" valueType="num">
                                      <p:cBhvr>
                                        <p:cTn id="130" dur="1000" fill="hold"/>
                                        <p:tgtEl>
                                          <p:spTgt spid="1031"/>
                                        </p:tgtEl>
                                        <p:attrNameLst>
                                          <p:attrName>ppt_w</p:attrName>
                                        </p:attrNameLst>
                                      </p:cBhvr>
                                      <p:tavLst>
                                        <p:tav tm="0">
                                          <p:val>
                                            <p:fltVal val="0"/>
                                          </p:val>
                                        </p:tav>
                                        <p:tav tm="100000">
                                          <p:val>
                                            <p:strVal val="#ppt_w"/>
                                          </p:val>
                                        </p:tav>
                                      </p:tavLst>
                                    </p:anim>
                                    <p:anim calcmode="lin" valueType="num">
                                      <p:cBhvr>
                                        <p:cTn id="131" dur="1000" fill="hold"/>
                                        <p:tgtEl>
                                          <p:spTgt spid="1031"/>
                                        </p:tgtEl>
                                        <p:attrNameLst>
                                          <p:attrName>ppt_h</p:attrName>
                                        </p:attrNameLst>
                                      </p:cBhvr>
                                      <p:tavLst>
                                        <p:tav tm="0">
                                          <p:val>
                                            <p:fltVal val="0"/>
                                          </p:val>
                                        </p:tav>
                                        <p:tav tm="100000">
                                          <p:val>
                                            <p:strVal val="#ppt_h"/>
                                          </p:val>
                                        </p:tav>
                                      </p:tavLst>
                                    </p:anim>
                                    <p:anim calcmode="lin" valueType="num">
                                      <p:cBhvr>
                                        <p:cTn id="132" dur="1000" fill="hold"/>
                                        <p:tgtEl>
                                          <p:spTgt spid="1031"/>
                                        </p:tgtEl>
                                        <p:attrNameLst>
                                          <p:attrName>style.rotation</p:attrName>
                                        </p:attrNameLst>
                                      </p:cBhvr>
                                      <p:tavLst>
                                        <p:tav tm="0">
                                          <p:val>
                                            <p:fltVal val="90"/>
                                          </p:val>
                                        </p:tav>
                                        <p:tav tm="100000">
                                          <p:val>
                                            <p:fltVal val="0"/>
                                          </p:val>
                                        </p:tav>
                                      </p:tavLst>
                                    </p:anim>
                                    <p:animEffect transition="in" filter="fade">
                                      <p:cBhvr>
                                        <p:cTn id="133" dur="1000"/>
                                        <p:tgtEl>
                                          <p:spTgt spid="1031"/>
                                        </p:tgtEl>
                                      </p:cBhvr>
                                    </p:animEffect>
                                  </p:childTnLst>
                                </p:cTn>
                              </p:par>
                              <p:par>
                                <p:cTn id="134" presetID="31" presetClass="entr" presetSubtype="0" fill="hold" nodeType="withEffect">
                                  <p:stCondLst>
                                    <p:cond delay="0"/>
                                  </p:stCondLst>
                                  <p:childTnLst>
                                    <p:set>
                                      <p:cBhvr>
                                        <p:cTn id="135" dur="1" fill="hold">
                                          <p:stCondLst>
                                            <p:cond delay="0"/>
                                          </p:stCondLst>
                                        </p:cTn>
                                        <p:tgtEl>
                                          <p:spTgt spid="1037"/>
                                        </p:tgtEl>
                                        <p:attrNameLst>
                                          <p:attrName>style.visibility</p:attrName>
                                        </p:attrNameLst>
                                      </p:cBhvr>
                                      <p:to>
                                        <p:strVal val="visible"/>
                                      </p:to>
                                    </p:set>
                                    <p:anim calcmode="lin" valueType="num">
                                      <p:cBhvr>
                                        <p:cTn id="136" dur="1000" fill="hold"/>
                                        <p:tgtEl>
                                          <p:spTgt spid="1037"/>
                                        </p:tgtEl>
                                        <p:attrNameLst>
                                          <p:attrName>ppt_w</p:attrName>
                                        </p:attrNameLst>
                                      </p:cBhvr>
                                      <p:tavLst>
                                        <p:tav tm="0">
                                          <p:val>
                                            <p:fltVal val="0"/>
                                          </p:val>
                                        </p:tav>
                                        <p:tav tm="100000">
                                          <p:val>
                                            <p:strVal val="#ppt_w"/>
                                          </p:val>
                                        </p:tav>
                                      </p:tavLst>
                                    </p:anim>
                                    <p:anim calcmode="lin" valueType="num">
                                      <p:cBhvr>
                                        <p:cTn id="137" dur="1000" fill="hold"/>
                                        <p:tgtEl>
                                          <p:spTgt spid="1037"/>
                                        </p:tgtEl>
                                        <p:attrNameLst>
                                          <p:attrName>ppt_h</p:attrName>
                                        </p:attrNameLst>
                                      </p:cBhvr>
                                      <p:tavLst>
                                        <p:tav tm="0">
                                          <p:val>
                                            <p:fltVal val="0"/>
                                          </p:val>
                                        </p:tav>
                                        <p:tav tm="100000">
                                          <p:val>
                                            <p:strVal val="#ppt_h"/>
                                          </p:val>
                                        </p:tav>
                                      </p:tavLst>
                                    </p:anim>
                                    <p:anim calcmode="lin" valueType="num">
                                      <p:cBhvr>
                                        <p:cTn id="138" dur="1000" fill="hold"/>
                                        <p:tgtEl>
                                          <p:spTgt spid="1037"/>
                                        </p:tgtEl>
                                        <p:attrNameLst>
                                          <p:attrName>style.rotation</p:attrName>
                                        </p:attrNameLst>
                                      </p:cBhvr>
                                      <p:tavLst>
                                        <p:tav tm="0">
                                          <p:val>
                                            <p:fltVal val="90"/>
                                          </p:val>
                                        </p:tav>
                                        <p:tav tm="100000">
                                          <p:val>
                                            <p:fltVal val="0"/>
                                          </p:val>
                                        </p:tav>
                                      </p:tavLst>
                                    </p:anim>
                                    <p:animEffect transition="in" filter="fade">
                                      <p:cBhvr>
                                        <p:cTn id="139" dur="1000"/>
                                        <p:tgtEl>
                                          <p:spTgt spid="1037"/>
                                        </p:tgtEl>
                                      </p:cBhvr>
                                    </p:animEffect>
                                  </p:childTnLst>
                                </p:cTn>
                              </p:par>
                              <p:par>
                                <p:cTn id="140" presetID="31" presetClass="entr" presetSubtype="0" fill="hold" nodeType="withEffect">
                                  <p:stCondLst>
                                    <p:cond delay="0"/>
                                  </p:stCondLst>
                                  <p:childTnLst>
                                    <p:set>
                                      <p:cBhvr>
                                        <p:cTn id="141" dur="1" fill="hold">
                                          <p:stCondLst>
                                            <p:cond delay="0"/>
                                          </p:stCondLst>
                                        </p:cTn>
                                        <p:tgtEl>
                                          <p:spTgt spid="68"/>
                                        </p:tgtEl>
                                        <p:attrNameLst>
                                          <p:attrName>style.visibility</p:attrName>
                                        </p:attrNameLst>
                                      </p:cBhvr>
                                      <p:to>
                                        <p:strVal val="visible"/>
                                      </p:to>
                                    </p:set>
                                    <p:anim calcmode="lin" valueType="num">
                                      <p:cBhvr>
                                        <p:cTn id="142" dur="1000" fill="hold"/>
                                        <p:tgtEl>
                                          <p:spTgt spid="68"/>
                                        </p:tgtEl>
                                        <p:attrNameLst>
                                          <p:attrName>ppt_w</p:attrName>
                                        </p:attrNameLst>
                                      </p:cBhvr>
                                      <p:tavLst>
                                        <p:tav tm="0">
                                          <p:val>
                                            <p:fltVal val="0"/>
                                          </p:val>
                                        </p:tav>
                                        <p:tav tm="100000">
                                          <p:val>
                                            <p:strVal val="#ppt_w"/>
                                          </p:val>
                                        </p:tav>
                                      </p:tavLst>
                                    </p:anim>
                                    <p:anim calcmode="lin" valueType="num">
                                      <p:cBhvr>
                                        <p:cTn id="143" dur="1000" fill="hold"/>
                                        <p:tgtEl>
                                          <p:spTgt spid="68"/>
                                        </p:tgtEl>
                                        <p:attrNameLst>
                                          <p:attrName>ppt_h</p:attrName>
                                        </p:attrNameLst>
                                      </p:cBhvr>
                                      <p:tavLst>
                                        <p:tav tm="0">
                                          <p:val>
                                            <p:fltVal val="0"/>
                                          </p:val>
                                        </p:tav>
                                        <p:tav tm="100000">
                                          <p:val>
                                            <p:strVal val="#ppt_h"/>
                                          </p:val>
                                        </p:tav>
                                      </p:tavLst>
                                    </p:anim>
                                    <p:anim calcmode="lin" valueType="num">
                                      <p:cBhvr>
                                        <p:cTn id="144" dur="1000" fill="hold"/>
                                        <p:tgtEl>
                                          <p:spTgt spid="68"/>
                                        </p:tgtEl>
                                        <p:attrNameLst>
                                          <p:attrName>style.rotation</p:attrName>
                                        </p:attrNameLst>
                                      </p:cBhvr>
                                      <p:tavLst>
                                        <p:tav tm="0">
                                          <p:val>
                                            <p:fltVal val="90"/>
                                          </p:val>
                                        </p:tav>
                                        <p:tav tm="100000">
                                          <p:val>
                                            <p:fltVal val="0"/>
                                          </p:val>
                                        </p:tav>
                                      </p:tavLst>
                                    </p:anim>
                                    <p:animEffect transition="in" filter="fade">
                                      <p:cBhvr>
                                        <p:cTn id="145" dur="1000"/>
                                        <p:tgtEl>
                                          <p:spTgt spid="68"/>
                                        </p:tgtEl>
                                      </p:cBhvr>
                                    </p:animEffect>
                                  </p:childTnLst>
                                </p:cTn>
                              </p:par>
                              <p:par>
                                <p:cTn id="146" presetID="31" presetClass="entr" presetSubtype="0" fill="hold" nodeType="withEffect">
                                  <p:stCondLst>
                                    <p:cond delay="0"/>
                                  </p:stCondLst>
                                  <p:childTnLst>
                                    <p:set>
                                      <p:cBhvr>
                                        <p:cTn id="147" dur="1" fill="hold">
                                          <p:stCondLst>
                                            <p:cond delay="0"/>
                                          </p:stCondLst>
                                        </p:cTn>
                                        <p:tgtEl>
                                          <p:spTgt spid="64"/>
                                        </p:tgtEl>
                                        <p:attrNameLst>
                                          <p:attrName>style.visibility</p:attrName>
                                        </p:attrNameLst>
                                      </p:cBhvr>
                                      <p:to>
                                        <p:strVal val="visible"/>
                                      </p:to>
                                    </p:set>
                                    <p:anim calcmode="lin" valueType="num">
                                      <p:cBhvr>
                                        <p:cTn id="148" dur="1000" fill="hold"/>
                                        <p:tgtEl>
                                          <p:spTgt spid="64"/>
                                        </p:tgtEl>
                                        <p:attrNameLst>
                                          <p:attrName>ppt_w</p:attrName>
                                        </p:attrNameLst>
                                      </p:cBhvr>
                                      <p:tavLst>
                                        <p:tav tm="0">
                                          <p:val>
                                            <p:fltVal val="0"/>
                                          </p:val>
                                        </p:tav>
                                        <p:tav tm="100000">
                                          <p:val>
                                            <p:strVal val="#ppt_w"/>
                                          </p:val>
                                        </p:tav>
                                      </p:tavLst>
                                    </p:anim>
                                    <p:anim calcmode="lin" valueType="num">
                                      <p:cBhvr>
                                        <p:cTn id="149" dur="1000" fill="hold"/>
                                        <p:tgtEl>
                                          <p:spTgt spid="64"/>
                                        </p:tgtEl>
                                        <p:attrNameLst>
                                          <p:attrName>ppt_h</p:attrName>
                                        </p:attrNameLst>
                                      </p:cBhvr>
                                      <p:tavLst>
                                        <p:tav tm="0">
                                          <p:val>
                                            <p:fltVal val="0"/>
                                          </p:val>
                                        </p:tav>
                                        <p:tav tm="100000">
                                          <p:val>
                                            <p:strVal val="#ppt_h"/>
                                          </p:val>
                                        </p:tav>
                                      </p:tavLst>
                                    </p:anim>
                                    <p:anim calcmode="lin" valueType="num">
                                      <p:cBhvr>
                                        <p:cTn id="150" dur="1000" fill="hold"/>
                                        <p:tgtEl>
                                          <p:spTgt spid="64"/>
                                        </p:tgtEl>
                                        <p:attrNameLst>
                                          <p:attrName>style.rotation</p:attrName>
                                        </p:attrNameLst>
                                      </p:cBhvr>
                                      <p:tavLst>
                                        <p:tav tm="0">
                                          <p:val>
                                            <p:fltVal val="90"/>
                                          </p:val>
                                        </p:tav>
                                        <p:tav tm="100000">
                                          <p:val>
                                            <p:fltVal val="0"/>
                                          </p:val>
                                        </p:tav>
                                      </p:tavLst>
                                    </p:anim>
                                    <p:animEffect transition="in" filter="fade">
                                      <p:cBhvr>
                                        <p:cTn id="151" dur="1000"/>
                                        <p:tgtEl>
                                          <p:spTgt spid="64"/>
                                        </p:tgtEl>
                                      </p:cBhvr>
                                    </p:animEffect>
                                  </p:childTnLst>
                                </p:cTn>
                              </p:par>
                              <p:par>
                                <p:cTn id="152" presetID="31" presetClass="entr" presetSubtype="0" fill="hold" nodeType="withEffect">
                                  <p:stCondLst>
                                    <p:cond delay="0"/>
                                  </p:stCondLst>
                                  <p:childTnLst>
                                    <p:set>
                                      <p:cBhvr>
                                        <p:cTn id="153" dur="1" fill="hold">
                                          <p:stCondLst>
                                            <p:cond delay="0"/>
                                          </p:stCondLst>
                                        </p:cTn>
                                        <p:tgtEl>
                                          <p:spTgt spid="66"/>
                                        </p:tgtEl>
                                        <p:attrNameLst>
                                          <p:attrName>style.visibility</p:attrName>
                                        </p:attrNameLst>
                                      </p:cBhvr>
                                      <p:to>
                                        <p:strVal val="visible"/>
                                      </p:to>
                                    </p:set>
                                    <p:anim calcmode="lin" valueType="num">
                                      <p:cBhvr>
                                        <p:cTn id="154" dur="1000" fill="hold"/>
                                        <p:tgtEl>
                                          <p:spTgt spid="66"/>
                                        </p:tgtEl>
                                        <p:attrNameLst>
                                          <p:attrName>ppt_w</p:attrName>
                                        </p:attrNameLst>
                                      </p:cBhvr>
                                      <p:tavLst>
                                        <p:tav tm="0">
                                          <p:val>
                                            <p:fltVal val="0"/>
                                          </p:val>
                                        </p:tav>
                                        <p:tav tm="100000">
                                          <p:val>
                                            <p:strVal val="#ppt_w"/>
                                          </p:val>
                                        </p:tav>
                                      </p:tavLst>
                                    </p:anim>
                                    <p:anim calcmode="lin" valueType="num">
                                      <p:cBhvr>
                                        <p:cTn id="155" dur="1000" fill="hold"/>
                                        <p:tgtEl>
                                          <p:spTgt spid="66"/>
                                        </p:tgtEl>
                                        <p:attrNameLst>
                                          <p:attrName>ppt_h</p:attrName>
                                        </p:attrNameLst>
                                      </p:cBhvr>
                                      <p:tavLst>
                                        <p:tav tm="0">
                                          <p:val>
                                            <p:fltVal val="0"/>
                                          </p:val>
                                        </p:tav>
                                        <p:tav tm="100000">
                                          <p:val>
                                            <p:strVal val="#ppt_h"/>
                                          </p:val>
                                        </p:tav>
                                      </p:tavLst>
                                    </p:anim>
                                    <p:anim calcmode="lin" valueType="num">
                                      <p:cBhvr>
                                        <p:cTn id="156" dur="1000" fill="hold"/>
                                        <p:tgtEl>
                                          <p:spTgt spid="66"/>
                                        </p:tgtEl>
                                        <p:attrNameLst>
                                          <p:attrName>style.rotation</p:attrName>
                                        </p:attrNameLst>
                                      </p:cBhvr>
                                      <p:tavLst>
                                        <p:tav tm="0">
                                          <p:val>
                                            <p:fltVal val="90"/>
                                          </p:val>
                                        </p:tav>
                                        <p:tav tm="100000">
                                          <p:val>
                                            <p:fltVal val="0"/>
                                          </p:val>
                                        </p:tav>
                                      </p:tavLst>
                                    </p:anim>
                                    <p:animEffect transition="in" filter="fade">
                                      <p:cBhvr>
                                        <p:cTn id="157" dur="1000"/>
                                        <p:tgtEl>
                                          <p:spTgt spid="66"/>
                                        </p:tgtEl>
                                      </p:cBhvr>
                                    </p:animEffect>
                                  </p:childTnLst>
                                </p:cTn>
                              </p:par>
                              <p:par>
                                <p:cTn id="158" presetID="31" presetClass="entr" presetSubtype="0" fill="hold" nodeType="withEffect">
                                  <p:stCondLst>
                                    <p:cond delay="0"/>
                                  </p:stCondLst>
                                  <p:childTnLst>
                                    <p:set>
                                      <p:cBhvr>
                                        <p:cTn id="159" dur="1" fill="hold">
                                          <p:stCondLst>
                                            <p:cond delay="0"/>
                                          </p:stCondLst>
                                        </p:cTn>
                                        <p:tgtEl>
                                          <p:spTgt spid="63"/>
                                        </p:tgtEl>
                                        <p:attrNameLst>
                                          <p:attrName>style.visibility</p:attrName>
                                        </p:attrNameLst>
                                      </p:cBhvr>
                                      <p:to>
                                        <p:strVal val="visible"/>
                                      </p:to>
                                    </p:set>
                                    <p:anim calcmode="lin" valueType="num">
                                      <p:cBhvr>
                                        <p:cTn id="160" dur="1000" fill="hold"/>
                                        <p:tgtEl>
                                          <p:spTgt spid="63"/>
                                        </p:tgtEl>
                                        <p:attrNameLst>
                                          <p:attrName>ppt_w</p:attrName>
                                        </p:attrNameLst>
                                      </p:cBhvr>
                                      <p:tavLst>
                                        <p:tav tm="0">
                                          <p:val>
                                            <p:fltVal val="0"/>
                                          </p:val>
                                        </p:tav>
                                        <p:tav tm="100000">
                                          <p:val>
                                            <p:strVal val="#ppt_w"/>
                                          </p:val>
                                        </p:tav>
                                      </p:tavLst>
                                    </p:anim>
                                    <p:anim calcmode="lin" valueType="num">
                                      <p:cBhvr>
                                        <p:cTn id="161" dur="1000" fill="hold"/>
                                        <p:tgtEl>
                                          <p:spTgt spid="63"/>
                                        </p:tgtEl>
                                        <p:attrNameLst>
                                          <p:attrName>ppt_h</p:attrName>
                                        </p:attrNameLst>
                                      </p:cBhvr>
                                      <p:tavLst>
                                        <p:tav tm="0">
                                          <p:val>
                                            <p:fltVal val="0"/>
                                          </p:val>
                                        </p:tav>
                                        <p:tav tm="100000">
                                          <p:val>
                                            <p:strVal val="#ppt_h"/>
                                          </p:val>
                                        </p:tav>
                                      </p:tavLst>
                                    </p:anim>
                                    <p:anim calcmode="lin" valueType="num">
                                      <p:cBhvr>
                                        <p:cTn id="162" dur="1000" fill="hold"/>
                                        <p:tgtEl>
                                          <p:spTgt spid="63"/>
                                        </p:tgtEl>
                                        <p:attrNameLst>
                                          <p:attrName>style.rotation</p:attrName>
                                        </p:attrNameLst>
                                      </p:cBhvr>
                                      <p:tavLst>
                                        <p:tav tm="0">
                                          <p:val>
                                            <p:fltVal val="90"/>
                                          </p:val>
                                        </p:tav>
                                        <p:tav tm="100000">
                                          <p:val>
                                            <p:fltVal val="0"/>
                                          </p:val>
                                        </p:tav>
                                      </p:tavLst>
                                    </p:anim>
                                    <p:animEffect transition="in" filter="fade">
                                      <p:cBhvr>
                                        <p:cTn id="163" dur="1000"/>
                                        <p:tgtEl>
                                          <p:spTgt spid="63"/>
                                        </p:tgtEl>
                                      </p:cBhvr>
                                    </p:animEffect>
                                  </p:childTnLst>
                                </p:cTn>
                              </p:par>
                              <p:par>
                                <p:cTn id="164" presetID="31" presetClass="entr" presetSubtype="0" fill="hold" nodeType="withEffect">
                                  <p:stCondLst>
                                    <p:cond delay="0"/>
                                  </p:stCondLst>
                                  <p:childTnLst>
                                    <p:set>
                                      <p:cBhvr>
                                        <p:cTn id="165" dur="1" fill="hold">
                                          <p:stCondLst>
                                            <p:cond delay="0"/>
                                          </p:stCondLst>
                                        </p:cTn>
                                        <p:tgtEl>
                                          <p:spTgt spid="65"/>
                                        </p:tgtEl>
                                        <p:attrNameLst>
                                          <p:attrName>style.visibility</p:attrName>
                                        </p:attrNameLst>
                                      </p:cBhvr>
                                      <p:to>
                                        <p:strVal val="visible"/>
                                      </p:to>
                                    </p:set>
                                    <p:anim calcmode="lin" valueType="num">
                                      <p:cBhvr>
                                        <p:cTn id="166" dur="1000" fill="hold"/>
                                        <p:tgtEl>
                                          <p:spTgt spid="65"/>
                                        </p:tgtEl>
                                        <p:attrNameLst>
                                          <p:attrName>ppt_w</p:attrName>
                                        </p:attrNameLst>
                                      </p:cBhvr>
                                      <p:tavLst>
                                        <p:tav tm="0">
                                          <p:val>
                                            <p:fltVal val="0"/>
                                          </p:val>
                                        </p:tav>
                                        <p:tav tm="100000">
                                          <p:val>
                                            <p:strVal val="#ppt_w"/>
                                          </p:val>
                                        </p:tav>
                                      </p:tavLst>
                                    </p:anim>
                                    <p:anim calcmode="lin" valueType="num">
                                      <p:cBhvr>
                                        <p:cTn id="167" dur="1000" fill="hold"/>
                                        <p:tgtEl>
                                          <p:spTgt spid="65"/>
                                        </p:tgtEl>
                                        <p:attrNameLst>
                                          <p:attrName>ppt_h</p:attrName>
                                        </p:attrNameLst>
                                      </p:cBhvr>
                                      <p:tavLst>
                                        <p:tav tm="0">
                                          <p:val>
                                            <p:fltVal val="0"/>
                                          </p:val>
                                        </p:tav>
                                        <p:tav tm="100000">
                                          <p:val>
                                            <p:strVal val="#ppt_h"/>
                                          </p:val>
                                        </p:tav>
                                      </p:tavLst>
                                    </p:anim>
                                    <p:anim calcmode="lin" valueType="num">
                                      <p:cBhvr>
                                        <p:cTn id="168" dur="1000" fill="hold"/>
                                        <p:tgtEl>
                                          <p:spTgt spid="65"/>
                                        </p:tgtEl>
                                        <p:attrNameLst>
                                          <p:attrName>style.rotation</p:attrName>
                                        </p:attrNameLst>
                                      </p:cBhvr>
                                      <p:tavLst>
                                        <p:tav tm="0">
                                          <p:val>
                                            <p:fltVal val="90"/>
                                          </p:val>
                                        </p:tav>
                                        <p:tav tm="100000">
                                          <p:val>
                                            <p:fltVal val="0"/>
                                          </p:val>
                                        </p:tav>
                                      </p:tavLst>
                                    </p:anim>
                                    <p:animEffect transition="in" filter="fade">
                                      <p:cBhvr>
                                        <p:cTn id="169" dur="1000"/>
                                        <p:tgtEl>
                                          <p:spTgt spid="65"/>
                                        </p:tgtEl>
                                      </p:cBhvr>
                                    </p:animEffect>
                                  </p:childTnLst>
                                </p:cTn>
                              </p:par>
                              <p:par>
                                <p:cTn id="170" presetID="31" presetClass="entr" presetSubtype="0" fill="hold" nodeType="withEffect">
                                  <p:stCondLst>
                                    <p:cond delay="0"/>
                                  </p:stCondLst>
                                  <p:childTnLst>
                                    <p:set>
                                      <p:cBhvr>
                                        <p:cTn id="171" dur="1" fill="hold">
                                          <p:stCondLst>
                                            <p:cond delay="0"/>
                                          </p:stCondLst>
                                        </p:cTn>
                                        <p:tgtEl>
                                          <p:spTgt spid="67"/>
                                        </p:tgtEl>
                                        <p:attrNameLst>
                                          <p:attrName>style.visibility</p:attrName>
                                        </p:attrNameLst>
                                      </p:cBhvr>
                                      <p:to>
                                        <p:strVal val="visible"/>
                                      </p:to>
                                    </p:set>
                                    <p:anim calcmode="lin" valueType="num">
                                      <p:cBhvr>
                                        <p:cTn id="172" dur="1000" fill="hold"/>
                                        <p:tgtEl>
                                          <p:spTgt spid="67"/>
                                        </p:tgtEl>
                                        <p:attrNameLst>
                                          <p:attrName>ppt_w</p:attrName>
                                        </p:attrNameLst>
                                      </p:cBhvr>
                                      <p:tavLst>
                                        <p:tav tm="0">
                                          <p:val>
                                            <p:fltVal val="0"/>
                                          </p:val>
                                        </p:tav>
                                        <p:tav tm="100000">
                                          <p:val>
                                            <p:strVal val="#ppt_w"/>
                                          </p:val>
                                        </p:tav>
                                      </p:tavLst>
                                    </p:anim>
                                    <p:anim calcmode="lin" valueType="num">
                                      <p:cBhvr>
                                        <p:cTn id="173" dur="1000" fill="hold"/>
                                        <p:tgtEl>
                                          <p:spTgt spid="67"/>
                                        </p:tgtEl>
                                        <p:attrNameLst>
                                          <p:attrName>ppt_h</p:attrName>
                                        </p:attrNameLst>
                                      </p:cBhvr>
                                      <p:tavLst>
                                        <p:tav tm="0">
                                          <p:val>
                                            <p:fltVal val="0"/>
                                          </p:val>
                                        </p:tav>
                                        <p:tav tm="100000">
                                          <p:val>
                                            <p:strVal val="#ppt_h"/>
                                          </p:val>
                                        </p:tav>
                                      </p:tavLst>
                                    </p:anim>
                                    <p:anim calcmode="lin" valueType="num">
                                      <p:cBhvr>
                                        <p:cTn id="174" dur="1000" fill="hold"/>
                                        <p:tgtEl>
                                          <p:spTgt spid="67"/>
                                        </p:tgtEl>
                                        <p:attrNameLst>
                                          <p:attrName>style.rotation</p:attrName>
                                        </p:attrNameLst>
                                      </p:cBhvr>
                                      <p:tavLst>
                                        <p:tav tm="0">
                                          <p:val>
                                            <p:fltVal val="90"/>
                                          </p:val>
                                        </p:tav>
                                        <p:tav tm="100000">
                                          <p:val>
                                            <p:fltVal val="0"/>
                                          </p:val>
                                        </p:tav>
                                      </p:tavLst>
                                    </p:anim>
                                    <p:animEffect transition="in" filter="fade">
                                      <p:cBhvr>
                                        <p:cTn id="175" dur="1000"/>
                                        <p:tgtEl>
                                          <p:spTgt spid="67"/>
                                        </p:tgtEl>
                                      </p:cBhvr>
                                    </p:animEffect>
                                  </p:childTnLst>
                                </p:cTn>
                              </p:par>
                              <p:par>
                                <p:cTn id="176" presetID="31" presetClass="entr" presetSubtype="0" fill="hold" grpId="0" nodeType="withEffect">
                                  <p:stCondLst>
                                    <p:cond delay="0"/>
                                  </p:stCondLst>
                                  <p:childTnLst>
                                    <p:set>
                                      <p:cBhvr>
                                        <p:cTn id="177" dur="1" fill="hold">
                                          <p:stCondLst>
                                            <p:cond delay="0"/>
                                          </p:stCondLst>
                                        </p:cTn>
                                        <p:tgtEl>
                                          <p:spTgt spid="69"/>
                                        </p:tgtEl>
                                        <p:attrNameLst>
                                          <p:attrName>style.visibility</p:attrName>
                                        </p:attrNameLst>
                                      </p:cBhvr>
                                      <p:to>
                                        <p:strVal val="visible"/>
                                      </p:to>
                                    </p:set>
                                    <p:anim calcmode="lin" valueType="num">
                                      <p:cBhvr>
                                        <p:cTn id="178" dur="1000" fill="hold"/>
                                        <p:tgtEl>
                                          <p:spTgt spid="69"/>
                                        </p:tgtEl>
                                        <p:attrNameLst>
                                          <p:attrName>ppt_w</p:attrName>
                                        </p:attrNameLst>
                                      </p:cBhvr>
                                      <p:tavLst>
                                        <p:tav tm="0">
                                          <p:val>
                                            <p:fltVal val="0"/>
                                          </p:val>
                                        </p:tav>
                                        <p:tav tm="100000">
                                          <p:val>
                                            <p:strVal val="#ppt_w"/>
                                          </p:val>
                                        </p:tav>
                                      </p:tavLst>
                                    </p:anim>
                                    <p:anim calcmode="lin" valueType="num">
                                      <p:cBhvr>
                                        <p:cTn id="179" dur="1000" fill="hold"/>
                                        <p:tgtEl>
                                          <p:spTgt spid="69"/>
                                        </p:tgtEl>
                                        <p:attrNameLst>
                                          <p:attrName>ppt_h</p:attrName>
                                        </p:attrNameLst>
                                      </p:cBhvr>
                                      <p:tavLst>
                                        <p:tav tm="0">
                                          <p:val>
                                            <p:fltVal val="0"/>
                                          </p:val>
                                        </p:tav>
                                        <p:tav tm="100000">
                                          <p:val>
                                            <p:strVal val="#ppt_h"/>
                                          </p:val>
                                        </p:tav>
                                      </p:tavLst>
                                    </p:anim>
                                    <p:anim calcmode="lin" valueType="num">
                                      <p:cBhvr>
                                        <p:cTn id="180" dur="1000" fill="hold"/>
                                        <p:tgtEl>
                                          <p:spTgt spid="69"/>
                                        </p:tgtEl>
                                        <p:attrNameLst>
                                          <p:attrName>style.rotation</p:attrName>
                                        </p:attrNameLst>
                                      </p:cBhvr>
                                      <p:tavLst>
                                        <p:tav tm="0">
                                          <p:val>
                                            <p:fltVal val="90"/>
                                          </p:val>
                                        </p:tav>
                                        <p:tav tm="100000">
                                          <p:val>
                                            <p:fltVal val="0"/>
                                          </p:val>
                                        </p:tav>
                                      </p:tavLst>
                                    </p:anim>
                                    <p:animEffect transition="in" filter="fade">
                                      <p:cBhvr>
                                        <p:cTn id="181" dur="1000"/>
                                        <p:tgtEl>
                                          <p:spTgt spid="69"/>
                                        </p:tgtEl>
                                      </p:cBhvr>
                                    </p:animEffect>
                                  </p:childTnLst>
                                </p:cTn>
                              </p:par>
                              <p:par>
                                <p:cTn id="182" presetID="31" presetClass="entr" presetSubtype="0" fill="hold" nodeType="withEffect">
                                  <p:stCondLst>
                                    <p:cond delay="0"/>
                                  </p:stCondLst>
                                  <p:childTnLst>
                                    <p:set>
                                      <p:cBhvr>
                                        <p:cTn id="183" dur="1" fill="hold">
                                          <p:stCondLst>
                                            <p:cond delay="0"/>
                                          </p:stCondLst>
                                        </p:cTn>
                                        <p:tgtEl>
                                          <p:spTgt spid="70"/>
                                        </p:tgtEl>
                                        <p:attrNameLst>
                                          <p:attrName>style.visibility</p:attrName>
                                        </p:attrNameLst>
                                      </p:cBhvr>
                                      <p:to>
                                        <p:strVal val="visible"/>
                                      </p:to>
                                    </p:set>
                                    <p:anim calcmode="lin" valueType="num">
                                      <p:cBhvr>
                                        <p:cTn id="184" dur="1000" fill="hold"/>
                                        <p:tgtEl>
                                          <p:spTgt spid="70"/>
                                        </p:tgtEl>
                                        <p:attrNameLst>
                                          <p:attrName>ppt_w</p:attrName>
                                        </p:attrNameLst>
                                      </p:cBhvr>
                                      <p:tavLst>
                                        <p:tav tm="0">
                                          <p:val>
                                            <p:fltVal val="0"/>
                                          </p:val>
                                        </p:tav>
                                        <p:tav tm="100000">
                                          <p:val>
                                            <p:strVal val="#ppt_w"/>
                                          </p:val>
                                        </p:tav>
                                      </p:tavLst>
                                    </p:anim>
                                    <p:anim calcmode="lin" valueType="num">
                                      <p:cBhvr>
                                        <p:cTn id="185" dur="1000" fill="hold"/>
                                        <p:tgtEl>
                                          <p:spTgt spid="70"/>
                                        </p:tgtEl>
                                        <p:attrNameLst>
                                          <p:attrName>ppt_h</p:attrName>
                                        </p:attrNameLst>
                                      </p:cBhvr>
                                      <p:tavLst>
                                        <p:tav tm="0">
                                          <p:val>
                                            <p:fltVal val="0"/>
                                          </p:val>
                                        </p:tav>
                                        <p:tav tm="100000">
                                          <p:val>
                                            <p:strVal val="#ppt_h"/>
                                          </p:val>
                                        </p:tav>
                                      </p:tavLst>
                                    </p:anim>
                                    <p:anim calcmode="lin" valueType="num">
                                      <p:cBhvr>
                                        <p:cTn id="186" dur="1000" fill="hold"/>
                                        <p:tgtEl>
                                          <p:spTgt spid="70"/>
                                        </p:tgtEl>
                                        <p:attrNameLst>
                                          <p:attrName>style.rotation</p:attrName>
                                        </p:attrNameLst>
                                      </p:cBhvr>
                                      <p:tavLst>
                                        <p:tav tm="0">
                                          <p:val>
                                            <p:fltVal val="90"/>
                                          </p:val>
                                        </p:tav>
                                        <p:tav tm="100000">
                                          <p:val>
                                            <p:fltVal val="0"/>
                                          </p:val>
                                        </p:tav>
                                      </p:tavLst>
                                    </p:anim>
                                    <p:animEffect transition="in" filter="fade">
                                      <p:cBhvr>
                                        <p:cTn id="187" dur="1000"/>
                                        <p:tgtEl>
                                          <p:spTgt spid="70"/>
                                        </p:tgtEl>
                                      </p:cBhvr>
                                    </p:animEffect>
                                  </p:childTnLst>
                                </p:cTn>
                              </p:par>
                              <p:par>
                                <p:cTn id="188" presetID="31" presetClass="entr" presetSubtype="0" fill="hold" nodeType="withEffect">
                                  <p:stCondLst>
                                    <p:cond delay="0"/>
                                  </p:stCondLst>
                                  <p:childTnLst>
                                    <p:set>
                                      <p:cBhvr>
                                        <p:cTn id="189" dur="1" fill="hold">
                                          <p:stCondLst>
                                            <p:cond delay="0"/>
                                          </p:stCondLst>
                                        </p:cTn>
                                        <p:tgtEl>
                                          <p:spTgt spid="45"/>
                                        </p:tgtEl>
                                        <p:attrNameLst>
                                          <p:attrName>style.visibility</p:attrName>
                                        </p:attrNameLst>
                                      </p:cBhvr>
                                      <p:to>
                                        <p:strVal val="visible"/>
                                      </p:to>
                                    </p:set>
                                    <p:anim calcmode="lin" valueType="num">
                                      <p:cBhvr>
                                        <p:cTn id="190" dur="1000" fill="hold"/>
                                        <p:tgtEl>
                                          <p:spTgt spid="45"/>
                                        </p:tgtEl>
                                        <p:attrNameLst>
                                          <p:attrName>ppt_w</p:attrName>
                                        </p:attrNameLst>
                                      </p:cBhvr>
                                      <p:tavLst>
                                        <p:tav tm="0">
                                          <p:val>
                                            <p:fltVal val="0"/>
                                          </p:val>
                                        </p:tav>
                                        <p:tav tm="100000">
                                          <p:val>
                                            <p:strVal val="#ppt_w"/>
                                          </p:val>
                                        </p:tav>
                                      </p:tavLst>
                                    </p:anim>
                                    <p:anim calcmode="lin" valueType="num">
                                      <p:cBhvr>
                                        <p:cTn id="191" dur="1000" fill="hold"/>
                                        <p:tgtEl>
                                          <p:spTgt spid="45"/>
                                        </p:tgtEl>
                                        <p:attrNameLst>
                                          <p:attrName>ppt_h</p:attrName>
                                        </p:attrNameLst>
                                      </p:cBhvr>
                                      <p:tavLst>
                                        <p:tav tm="0">
                                          <p:val>
                                            <p:fltVal val="0"/>
                                          </p:val>
                                        </p:tav>
                                        <p:tav tm="100000">
                                          <p:val>
                                            <p:strVal val="#ppt_h"/>
                                          </p:val>
                                        </p:tav>
                                      </p:tavLst>
                                    </p:anim>
                                    <p:anim calcmode="lin" valueType="num">
                                      <p:cBhvr>
                                        <p:cTn id="192" dur="1000" fill="hold"/>
                                        <p:tgtEl>
                                          <p:spTgt spid="45"/>
                                        </p:tgtEl>
                                        <p:attrNameLst>
                                          <p:attrName>style.rotation</p:attrName>
                                        </p:attrNameLst>
                                      </p:cBhvr>
                                      <p:tavLst>
                                        <p:tav tm="0">
                                          <p:val>
                                            <p:fltVal val="90"/>
                                          </p:val>
                                        </p:tav>
                                        <p:tav tm="100000">
                                          <p:val>
                                            <p:fltVal val="0"/>
                                          </p:val>
                                        </p:tav>
                                      </p:tavLst>
                                    </p:anim>
                                    <p:animEffect transition="in" filter="fade">
                                      <p:cBhvr>
                                        <p:cTn id="193" dur="1000"/>
                                        <p:tgtEl>
                                          <p:spTgt spid="45"/>
                                        </p:tgtEl>
                                      </p:cBhvr>
                                    </p:animEffect>
                                  </p:childTnLst>
                                </p:cTn>
                              </p:par>
                              <p:par>
                                <p:cTn id="194" presetID="31" presetClass="entr" presetSubtype="0" fill="hold" nodeType="withEffect">
                                  <p:stCondLst>
                                    <p:cond delay="0"/>
                                  </p:stCondLst>
                                  <p:childTnLst>
                                    <p:set>
                                      <p:cBhvr>
                                        <p:cTn id="195" dur="1" fill="hold">
                                          <p:stCondLst>
                                            <p:cond delay="0"/>
                                          </p:stCondLst>
                                        </p:cTn>
                                        <p:tgtEl>
                                          <p:spTgt spid="46"/>
                                        </p:tgtEl>
                                        <p:attrNameLst>
                                          <p:attrName>style.visibility</p:attrName>
                                        </p:attrNameLst>
                                      </p:cBhvr>
                                      <p:to>
                                        <p:strVal val="visible"/>
                                      </p:to>
                                    </p:set>
                                    <p:anim calcmode="lin" valueType="num">
                                      <p:cBhvr>
                                        <p:cTn id="196" dur="1000" fill="hold"/>
                                        <p:tgtEl>
                                          <p:spTgt spid="46"/>
                                        </p:tgtEl>
                                        <p:attrNameLst>
                                          <p:attrName>ppt_w</p:attrName>
                                        </p:attrNameLst>
                                      </p:cBhvr>
                                      <p:tavLst>
                                        <p:tav tm="0">
                                          <p:val>
                                            <p:fltVal val="0"/>
                                          </p:val>
                                        </p:tav>
                                        <p:tav tm="100000">
                                          <p:val>
                                            <p:strVal val="#ppt_w"/>
                                          </p:val>
                                        </p:tav>
                                      </p:tavLst>
                                    </p:anim>
                                    <p:anim calcmode="lin" valueType="num">
                                      <p:cBhvr>
                                        <p:cTn id="197" dur="1000" fill="hold"/>
                                        <p:tgtEl>
                                          <p:spTgt spid="46"/>
                                        </p:tgtEl>
                                        <p:attrNameLst>
                                          <p:attrName>ppt_h</p:attrName>
                                        </p:attrNameLst>
                                      </p:cBhvr>
                                      <p:tavLst>
                                        <p:tav tm="0">
                                          <p:val>
                                            <p:fltVal val="0"/>
                                          </p:val>
                                        </p:tav>
                                        <p:tav tm="100000">
                                          <p:val>
                                            <p:strVal val="#ppt_h"/>
                                          </p:val>
                                        </p:tav>
                                      </p:tavLst>
                                    </p:anim>
                                    <p:anim calcmode="lin" valueType="num">
                                      <p:cBhvr>
                                        <p:cTn id="198" dur="1000" fill="hold"/>
                                        <p:tgtEl>
                                          <p:spTgt spid="46"/>
                                        </p:tgtEl>
                                        <p:attrNameLst>
                                          <p:attrName>style.rotation</p:attrName>
                                        </p:attrNameLst>
                                      </p:cBhvr>
                                      <p:tavLst>
                                        <p:tav tm="0">
                                          <p:val>
                                            <p:fltVal val="90"/>
                                          </p:val>
                                        </p:tav>
                                        <p:tav tm="100000">
                                          <p:val>
                                            <p:fltVal val="0"/>
                                          </p:val>
                                        </p:tav>
                                      </p:tavLst>
                                    </p:anim>
                                    <p:animEffect transition="in" filter="fade">
                                      <p:cBhvr>
                                        <p:cTn id="199" dur="1000"/>
                                        <p:tgtEl>
                                          <p:spTgt spid="46"/>
                                        </p:tgtEl>
                                      </p:cBhvr>
                                    </p:animEffect>
                                  </p:childTnLst>
                                </p:cTn>
                              </p:par>
                              <p:par>
                                <p:cTn id="200" presetID="31" presetClass="entr" presetSubtype="0" fill="hold" nodeType="withEffect">
                                  <p:stCondLst>
                                    <p:cond delay="0"/>
                                  </p:stCondLst>
                                  <p:childTnLst>
                                    <p:set>
                                      <p:cBhvr>
                                        <p:cTn id="201" dur="1" fill="hold">
                                          <p:stCondLst>
                                            <p:cond delay="0"/>
                                          </p:stCondLst>
                                        </p:cTn>
                                        <p:tgtEl>
                                          <p:spTgt spid="47"/>
                                        </p:tgtEl>
                                        <p:attrNameLst>
                                          <p:attrName>style.visibility</p:attrName>
                                        </p:attrNameLst>
                                      </p:cBhvr>
                                      <p:to>
                                        <p:strVal val="visible"/>
                                      </p:to>
                                    </p:set>
                                    <p:anim calcmode="lin" valueType="num">
                                      <p:cBhvr>
                                        <p:cTn id="202" dur="1000" fill="hold"/>
                                        <p:tgtEl>
                                          <p:spTgt spid="47"/>
                                        </p:tgtEl>
                                        <p:attrNameLst>
                                          <p:attrName>ppt_w</p:attrName>
                                        </p:attrNameLst>
                                      </p:cBhvr>
                                      <p:tavLst>
                                        <p:tav tm="0">
                                          <p:val>
                                            <p:fltVal val="0"/>
                                          </p:val>
                                        </p:tav>
                                        <p:tav tm="100000">
                                          <p:val>
                                            <p:strVal val="#ppt_w"/>
                                          </p:val>
                                        </p:tav>
                                      </p:tavLst>
                                    </p:anim>
                                    <p:anim calcmode="lin" valueType="num">
                                      <p:cBhvr>
                                        <p:cTn id="203" dur="1000" fill="hold"/>
                                        <p:tgtEl>
                                          <p:spTgt spid="47"/>
                                        </p:tgtEl>
                                        <p:attrNameLst>
                                          <p:attrName>ppt_h</p:attrName>
                                        </p:attrNameLst>
                                      </p:cBhvr>
                                      <p:tavLst>
                                        <p:tav tm="0">
                                          <p:val>
                                            <p:fltVal val="0"/>
                                          </p:val>
                                        </p:tav>
                                        <p:tav tm="100000">
                                          <p:val>
                                            <p:strVal val="#ppt_h"/>
                                          </p:val>
                                        </p:tav>
                                      </p:tavLst>
                                    </p:anim>
                                    <p:anim calcmode="lin" valueType="num">
                                      <p:cBhvr>
                                        <p:cTn id="204" dur="1000" fill="hold"/>
                                        <p:tgtEl>
                                          <p:spTgt spid="47"/>
                                        </p:tgtEl>
                                        <p:attrNameLst>
                                          <p:attrName>style.rotation</p:attrName>
                                        </p:attrNameLst>
                                      </p:cBhvr>
                                      <p:tavLst>
                                        <p:tav tm="0">
                                          <p:val>
                                            <p:fltVal val="90"/>
                                          </p:val>
                                        </p:tav>
                                        <p:tav tm="100000">
                                          <p:val>
                                            <p:fltVal val="0"/>
                                          </p:val>
                                        </p:tav>
                                      </p:tavLst>
                                    </p:anim>
                                    <p:animEffect transition="in" filter="fade">
                                      <p:cBhvr>
                                        <p:cTn id="205" dur="1000"/>
                                        <p:tgtEl>
                                          <p:spTgt spid="47"/>
                                        </p:tgtEl>
                                      </p:cBhvr>
                                    </p:animEffect>
                                  </p:childTnLst>
                                </p:cTn>
                              </p:par>
                            </p:childTnLst>
                          </p:cTn>
                        </p:par>
                      </p:childTnLst>
                    </p:cTn>
                  </p:par>
                  <p:par>
                    <p:cTn id="206" fill="hold">
                      <p:stCondLst>
                        <p:cond delay="indefinite"/>
                      </p:stCondLst>
                      <p:childTnLst>
                        <p:par>
                          <p:cTn id="207" fill="hold">
                            <p:stCondLst>
                              <p:cond delay="0"/>
                            </p:stCondLst>
                            <p:childTnLst>
                              <p:par>
                                <p:cTn id="208" presetID="47" presetClass="entr" presetSubtype="0" fill="hold" grpId="0" nodeType="clickEffect">
                                  <p:stCondLst>
                                    <p:cond delay="0"/>
                                  </p:stCondLst>
                                  <p:childTnLst>
                                    <p:set>
                                      <p:cBhvr>
                                        <p:cTn id="209" dur="1" fill="hold">
                                          <p:stCondLst>
                                            <p:cond delay="0"/>
                                          </p:stCondLst>
                                        </p:cTn>
                                        <p:tgtEl>
                                          <p:spTgt spid="17"/>
                                        </p:tgtEl>
                                        <p:attrNameLst>
                                          <p:attrName>style.visibility</p:attrName>
                                        </p:attrNameLst>
                                      </p:cBhvr>
                                      <p:to>
                                        <p:strVal val="visible"/>
                                      </p:to>
                                    </p:set>
                                    <p:animEffect transition="in" filter="fade">
                                      <p:cBhvr>
                                        <p:cTn id="210" dur="1000"/>
                                        <p:tgtEl>
                                          <p:spTgt spid="17"/>
                                        </p:tgtEl>
                                      </p:cBhvr>
                                    </p:animEffect>
                                    <p:anim calcmode="lin" valueType="num">
                                      <p:cBhvr>
                                        <p:cTn id="211" dur="1000" fill="hold"/>
                                        <p:tgtEl>
                                          <p:spTgt spid="17"/>
                                        </p:tgtEl>
                                        <p:attrNameLst>
                                          <p:attrName>ppt_x</p:attrName>
                                        </p:attrNameLst>
                                      </p:cBhvr>
                                      <p:tavLst>
                                        <p:tav tm="0">
                                          <p:val>
                                            <p:strVal val="#ppt_x"/>
                                          </p:val>
                                        </p:tav>
                                        <p:tav tm="100000">
                                          <p:val>
                                            <p:strVal val="#ppt_x"/>
                                          </p:val>
                                        </p:tav>
                                      </p:tavLst>
                                    </p:anim>
                                    <p:anim calcmode="lin" valueType="num">
                                      <p:cBhvr>
                                        <p:cTn id="212"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P spid="20" grpId="0" animBg="1"/>
      <p:bldP spid="21" grpId="0" animBg="1"/>
      <p:bldP spid="23" grpId="0" animBg="1"/>
      <p:bldP spid="24" grpId="0" animBg="1"/>
      <p:bldP spid="30" grpId="0" animBg="1"/>
      <p:bldP spid="32" grpId="0" animBg="1"/>
      <p:bldP spid="33" grpId="0" animBg="1"/>
      <p:bldP spid="34" grpId="0" animBg="1"/>
      <p:bldP spid="35" grpId="0" animBg="1"/>
      <p:bldP spid="36" grpId="0" animBg="1"/>
      <p:bldP spid="37" grpId="0" animBg="1"/>
      <p:bldP spid="38" grpId="0" animBg="1"/>
      <p:bldP spid="39" grpId="0" animBg="1"/>
      <p:bldP spid="59" grpId="0" animBg="1"/>
      <p:bldP spid="61" grpId="0" animBg="1"/>
      <p:bldP spid="62" grpId="0" animBg="1"/>
      <p:bldP spid="69" grpId="0" animBg="1"/>
    </p:bld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bwMode="auto">
          <a:xfrm>
            <a:off x="3832779" y="1329706"/>
            <a:ext cx="1410051" cy="1409685"/>
          </a:xfrm>
          <a:prstGeom prst="rect">
            <a:avLst/>
          </a:prstGeom>
          <a:solidFill>
            <a:schemeClr val="accent5"/>
          </a:solidFill>
          <a:ln>
            <a:solidFill>
              <a:schemeClr val="accent5"/>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6" tIns="34294" rIns="34294" bIns="68586" numCol="1" spcCol="0" rtlCol="0" fromWordArt="0" anchor="b" anchorCtr="0" forceAA="0" compatLnSpc="1">
            <a:prstTxWarp prst="textNoShape">
              <a:avLst/>
            </a:prstTxWarp>
            <a:noAutofit/>
          </a:bodyPr>
          <a:lstStyle/>
          <a:p>
            <a:pPr defTabSz="685637" fontAlgn="base">
              <a:spcBef>
                <a:spcPct val="0"/>
              </a:spcBef>
              <a:spcAft>
                <a:spcPct val="0"/>
              </a:spcAft>
            </a:pPr>
            <a:r>
              <a:rPr lang="en-US" spc="-38" dirty="0">
                <a:gradFill>
                  <a:gsLst>
                    <a:gs pos="0">
                      <a:srgbClr val="FFFFFF"/>
                    </a:gs>
                    <a:gs pos="100000">
                      <a:srgbClr val="FFFFFF"/>
                    </a:gs>
                  </a:gsLst>
                  <a:lin ang="5400000" scaled="0"/>
                </a:gradFill>
                <a:ea typeface="Segoe UI" pitchFamily="34" charset="0"/>
                <a:cs typeface="Segoe UI" pitchFamily="34" charset="0"/>
              </a:rPr>
              <a:t>VMM Console</a:t>
            </a:r>
          </a:p>
        </p:txBody>
      </p:sp>
      <p:sp>
        <p:nvSpPr>
          <p:cNvPr id="2" name="Title 1"/>
          <p:cNvSpPr>
            <a:spLocks noGrp="1"/>
          </p:cNvSpPr>
          <p:nvPr>
            <p:ph type="title"/>
          </p:nvPr>
        </p:nvSpPr>
        <p:spPr>
          <a:xfrm>
            <a:off x="389436" y="171450"/>
            <a:ext cx="8363938" cy="457048"/>
          </a:xfrm>
        </p:spPr>
        <p:txBody>
          <a:bodyPr/>
          <a:lstStyle/>
          <a:p>
            <a:r>
              <a:rPr lang="en-US" dirty="0" smtClean="0"/>
              <a:t>System Requirements</a:t>
            </a:r>
            <a:endParaRPr lang="en-US" dirty="0"/>
          </a:p>
        </p:txBody>
      </p:sp>
      <p:sp>
        <p:nvSpPr>
          <p:cNvPr id="9" name="Rectangle 8"/>
          <p:cNvSpPr/>
          <p:nvPr/>
        </p:nvSpPr>
        <p:spPr bwMode="auto">
          <a:xfrm>
            <a:off x="6813519" y="2820607"/>
            <a:ext cx="1410051" cy="1409685"/>
          </a:xfrm>
          <a:prstGeom prst="rect">
            <a:avLst/>
          </a:prstGeom>
          <a:solidFill>
            <a:schemeClr val="accent5"/>
          </a:solidFill>
          <a:ln>
            <a:solidFill>
              <a:schemeClr val="accent5"/>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6" tIns="34294" rIns="34294" bIns="68586" numCol="1" spcCol="0" rtlCol="0" fromWordArt="0" anchor="b" anchorCtr="0" forceAA="0" compatLnSpc="1">
            <a:prstTxWarp prst="textNoShape">
              <a:avLst/>
            </a:prstTxWarp>
            <a:noAutofit/>
          </a:bodyPr>
          <a:lstStyle/>
          <a:p>
            <a:pPr defTabSz="685637" fontAlgn="base">
              <a:spcBef>
                <a:spcPct val="0"/>
              </a:spcBef>
              <a:spcAft>
                <a:spcPct val="0"/>
              </a:spcAft>
            </a:pPr>
            <a:r>
              <a:rPr lang="en-US" spc="-38" dirty="0">
                <a:gradFill>
                  <a:gsLst>
                    <a:gs pos="0">
                      <a:srgbClr val="FFFFFF"/>
                    </a:gs>
                    <a:gs pos="100000">
                      <a:srgbClr val="FFFFFF"/>
                    </a:gs>
                  </a:gsLst>
                  <a:lin ang="5400000" scaled="0"/>
                </a:gradFill>
                <a:ea typeface="Segoe UI" pitchFamily="34" charset="0"/>
                <a:cs typeface="Segoe UI" pitchFamily="34" charset="0"/>
              </a:rPr>
              <a:t>4 GB RAM</a:t>
            </a:r>
          </a:p>
        </p:txBody>
      </p:sp>
      <p:sp>
        <p:nvSpPr>
          <p:cNvPr id="10" name="Rectangle 9"/>
          <p:cNvSpPr/>
          <p:nvPr/>
        </p:nvSpPr>
        <p:spPr bwMode="auto">
          <a:xfrm>
            <a:off x="5326310" y="2820607"/>
            <a:ext cx="1410051" cy="1409685"/>
          </a:xfrm>
          <a:prstGeom prst="rect">
            <a:avLst/>
          </a:prstGeom>
          <a:solidFill>
            <a:schemeClr val="accent5"/>
          </a:solidFill>
          <a:ln>
            <a:solidFill>
              <a:schemeClr val="accent5"/>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6" tIns="34294" rIns="34294" bIns="68586" numCol="1" spcCol="0" rtlCol="0" fromWordArt="0" anchor="b" anchorCtr="0" forceAA="0" compatLnSpc="1">
            <a:prstTxWarp prst="textNoShape">
              <a:avLst/>
            </a:prstTxWarp>
            <a:noAutofit/>
          </a:bodyPr>
          <a:lstStyle/>
          <a:p>
            <a:pPr defTabSz="685637" fontAlgn="base">
              <a:spcBef>
                <a:spcPct val="0"/>
              </a:spcBef>
              <a:spcAft>
                <a:spcPct val="0"/>
              </a:spcAft>
            </a:pPr>
            <a:r>
              <a:rPr lang="en-US" spc="-38" dirty="0">
                <a:gradFill>
                  <a:gsLst>
                    <a:gs pos="0">
                      <a:srgbClr val="FFFFFF"/>
                    </a:gs>
                    <a:gs pos="100000">
                      <a:srgbClr val="FFFFFF"/>
                    </a:gs>
                  </a:gsLst>
                  <a:lin ang="5400000" scaled="0"/>
                </a:gradFill>
                <a:ea typeface="Segoe UI" pitchFamily="34" charset="0"/>
                <a:cs typeface="Segoe UI" pitchFamily="34" charset="0"/>
              </a:rPr>
              <a:t>Dual Core 2.8 GHz</a:t>
            </a:r>
          </a:p>
        </p:txBody>
      </p:sp>
      <p:sp>
        <p:nvSpPr>
          <p:cNvPr id="11" name="Rectangle 10"/>
          <p:cNvSpPr/>
          <p:nvPr/>
        </p:nvSpPr>
        <p:spPr bwMode="auto">
          <a:xfrm>
            <a:off x="6813519" y="1329706"/>
            <a:ext cx="1410051" cy="1409685"/>
          </a:xfrm>
          <a:prstGeom prst="rect">
            <a:avLst/>
          </a:prstGeom>
          <a:solidFill>
            <a:schemeClr val="accent5"/>
          </a:solidFill>
          <a:ln>
            <a:solidFill>
              <a:schemeClr val="accent5"/>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6" tIns="34294" rIns="34294" bIns="68586" numCol="1" spcCol="0" rtlCol="0" fromWordArt="0" anchor="b" anchorCtr="0" forceAA="0" compatLnSpc="1">
            <a:prstTxWarp prst="textNoShape">
              <a:avLst/>
            </a:prstTxWarp>
            <a:noAutofit/>
          </a:bodyPr>
          <a:lstStyle/>
          <a:p>
            <a:pPr defTabSz="685637" fontAlgn="base">
              <a:spcBef>
                <a:spcPct val="0"/>
              </a:spcBef>
              <a:spcAft>
                <a:spcPct val="0"/>
              </a:spcAft>
            </a:pPr>
            <a:r>
              <a:rPr lang="en-US" spc="-38" dirty="0">
                <a:gradFill>
                  <a:gsLst>
                    <a:gs pos="0">
                      <a:srgbClr val="FFFFFF"/>
                    </a:gs>
                    <a:gs pos="100000">
                      <a:srgbClr val="FFFFFF"/>
                    </a:gs>
                  </a:gsLst>
                  <a:lin ang="5400000" scaled="0"/>
                </a:gradFill>
                <a:ea typeface="Segoe UI" pitchFamily="34" charset="0"/>
                <a:cs typeface="Segoe UI" pitchFamily="34" charset="0"/>
              </a:rPr>
              <a:t>1 GB</a:t>
            </a:r>
          </a:p>
        </p:txBody>
      </p:sp>
      <p:sp>
        <p:nvSpPr>
          <p:cNvPr id="12" name="Rectangle 11"/>
          <p:cNvSpPr/>
          <p:nvPr/>
        </p:nvSpPr>
        <p:spPr bwMode="auto">
          <a:xfrm>
            <a:off x="5326310" y="1329706"/>
            <a:ext cx="1410051" cy="1409685"/>
          </a:xfrm>
          <a:prstGeom prst="rect">
            <a:avLst/>
          </a:prstGeom>
          <a:solidFill>
            <a:schemeClr val="accent5"/>
          </a:solidFill>
          <a:ln>
            <a:solidFill>
              <a:schemeClr val="accent5"/>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6" tIns="34294" rIns="34294" bIns="68586" numCol="1" spcCol="0" rtlCol="0" fromWordArt="0" anchor="b" anchorCtr="0" forceAA="0" compatLnSpc="1">
            <a:prstTxWarp prst="textNoShape">
              <a:avLst/>
            </a:prstTxWarp>
            <a:noAutofit/>
          </a:bodyPr>
          <a:lstStyle/>
          <a:p>
            <a:pPr defTabSz="685637" fontAlgn="base">
              <a:spcBef>
                <a:spcPct val="0"/>
              </a:spcBef>
              <a:spcAft>
                <a:spcPct val="0"/>
              </a:spcAft>
            </a:pPr>
            <a:endParaRPr lang="en-US" spc="-38" dirty="0">
              <a:gradFill>
                <a:gsLst>
                  <a:gs pos="0">
                    <a:srgbClr val="FFFFFF"/>
                  </a:gs>
                  <a:gs pos="100000">
                    <a:srgbClr val="FFFFFF"/>
                  </a:gs>
                </a:gsLst>
                <a:lin ang="5400000" scaled="0"/>
              </a:gradFill>
              <a:ea typeface="Segoe UI" pitchFamily="34" charset="0"/>
              <a:cs typeface="Segoe UI" pitchFamily="34" charset="0"/>
            </a:endParaRPr>
          </a:p>
        </p:txBody>
      </p:sp>
      <p:sp>
        <p:nvSpPr>
          <p:cNvPr id="14" name="Freeform 79"/>
          <p:cNvSpPr>
            <a:spLocks noChangeAspect="1" noEditPoints="1"/>
          </p:cNvSpPr>
          <p:nvPr/>
        </p:nvSpPr>
        <p:spPr bwMode="black">
          <a:xfrm>
            <a:off x="7171433" y="1419516"/>
            <a:ext cx="707569" cy="95629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61735" tIns="30867" rIns="61735" bIns="30867" numCol="1" anchor="t" anchorCtr="0" compatLnSpc="1">
            <a:prstTxWarp prst="textNoShape">
              <a:avLst/>
            </a:prstTxWarp>
          </a:bodyPr>
          <a:lstStyle/>
          <a:p>
            <a:endParaRPr lang="en-US" sz="1200">
              <a:solidFill>
                <a:srgbClr val="FFFFFF"/>
              </a:solidFill>
            </a:endParaRPr>
          </a:p>
        </p:txBody>
      </p:sp>
      <p:pic>
        <p:nvPicPr>
          <p:cNvPr id="1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15457" y="2811368"/>
            <a:ext cx="1219518" cy="1219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Rectangle 16"/>
          <p:cNvSpPr/>
          <p:nvPr/>
        </p:nvSpPr>
        <p:spPr bwMode="auto">
          <a:xfrm>
            <a:off x="3832779" y="2820607"/>
            <a:ext cx="1410051" cy="1409685"/>
          </a:xfrm>
          <a:prstGeom prst="rect">
            <a:avLst/>
          </a:prstGeom>
          <a:solidFill>
            <a:schemeClr val="accent5"/>
          </a:solidFill>
          <a:ln>
            <a:solidFill>
              <a:schemeClr val="accent5"/>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6" tIns="34294" rIns="34294" bIns="68586" numCol="1" spcCol="0" rtlCol="0" fromWordArt="0" anchor="b" anchorCtr="0" forceAA="0" compatLnSpc="1">
            <a:prstTxWarp prst="textNoShape">
              <a:avLst/>
            </a:prstTxWarp>
            <a:noAutofit/>
          </a:bodyPr>
          <a:lstStyle/>
          <a:p>
            <a:pPr defTabSz="685637" fontAlgn="base">
              <a:spcBef>
                <a:spcPct val="0"/>
              </a:spcBef>
              <a:spcAft>
                <a:spcPct val="0"/>
              </a:spcAft>
            </a:pPr>
            <a:endParaRPr lang="en-US" spc="-38" dirty="0">
              <a:gradFill>
                <a:gsLst>
                  <a:gs pos="0">
                    <a:srgbClr val="FFFFFF"/>
                  </a:gs>
                  <a:gs pos="100000">
                    <a:srgbClr val="FFFFFF"/>
                  </a:gs>
                </a:gsLst>
                <a:lin ang="5400000" scaled="0"/>
              </a:gradFill>
              <a:ea typeface="Segoe UI" pitchFamily="34" charset="0"/>
              <a:cs typeface="Segoe UI" pitchFamily="34" charset="0"/>
            </a:endParaRPr>
          </a:p>
        </p:txBody>
      </p:sp>
      <p:pic>
        <p:nvPicPr>
          <p:cNvPr id="21" name="Picture 2" descr="\\MAGNUM\Projects\Microsoft\Cloud Power FY12\Design\ICONS_PNG\Server.png"/>
          <p:cNvPicPr>
            <a:picLocks noChangeAspect="1" noChangeArrowheads="1"/>
          </p:cNvPicPr>
          <p:nvPr/>
        </p:nvPicPr>
        <p:blipFill>
          <a:blip r:embed="rId4" cstate="print">
            <a:lum bright="100000"/>
          </a:blip>
          <a:srcRect/>
          <a:stretch>
            <a:fillRect/>
          </a:stretch>
        </p:blipFill>
        <p:spPr bwMode="auto">
          <a:xfrm>
            <a:off x="5345357" y="2683462"/>
            <a:ext cx="1371957" cy="1371600"/>
          </a:xfrm>
          <a:prstGeom prst="rect">
            <a:avLst/>
          </a:prstGeom>
          <a:noFill/>
        </p:spPr>
      </p:pic>
      <p:sp>
        <p:nvSpPr>
          <p:cNvPr id="22" name="Rectangle 21"/>
          <p:cNvSpPr/>
          <p:nvPr/>
        </p:nvSpPr>
        <p:spPr bwMode="auto">
          <a:xfrm>
            <a:off x="848844" y="1329706"/>
            <a:ext cx="1410051" cy="1409685"/>
          </a:xfrm>
          <a:prstGeom prst="rect">
            <a:avLst/>
          </a:prstGeom>
          <a:solidFill>
            <a:schemeClr val="accent5"/>
          </a:solidFill>
          <a:ln>
            <a:solidFill>
              <a:schemeClr val="accent5"/>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6" tIns="34294" rIns="34294" bIns="68586" numCol="1" spcCol="0" rtlCol="0" fromWordArt="0" anchor="b" anchorCtr="0" forceAA="0" compatLnSpc="1">
            <a:prstTxWarp prst="textNoShape">
              <a:avLst/>
            </a:prstTxWarp>
            <a:noAutofit/>
          </a:bodyPr>
          <a:lstStyle/>
          <a:p>
            <a:pPr defTabSz="685637" fontAlgn="base">
              <a:spcBef>
                <a:spcPct val="0"/>
              </a:spcBef>
              <a:spcAft>
                <a:spcPct val="0"/>
              </a:spcAft>
            </a:pPr>
            <a:r>
              <a:rPr lang="en-US" spc="-38" dirty="0">
                <a:gradFill>
                  <a:gsLst>
                    <a:gs pos="0">
                      <a:srgbClr val="FFFFFF"/>
                    </a:gs>
                    <a:gs pos="100000">
                      <a:srgbClr val="FFFFFF"/>
                    </a:gs>
                  </a:gsLst>
                  <a:lin ang="5400000" scaled="0"/>
                </a:gradFill>
                <a:ea typeface="Segoe UI" pitchFamily="34" charset="0"/>
                <a:cs typeface="Segoe UI" pitchFamily="34" charset="0"/>
              </a:rPr>
              <a:t>Windows Server 2008 R2 x64</a:t>
            </a:r>
          </a:p>
        </p:txBody>
      </p:sp>
      <p:sp>
        <p:nvSpPr>
          <p:cNvPr id="23" name="Rectangle 22"/>
          <p:cNvSpPr/>
          <p:nvPr/>
        </p:nvSpPr>
        <p:spPr bwMode="auto">
          <a:xfrm>
            <a:off x="2342375" y="1329706"/>
            <a:ext cx="1410051" cy="1409685"/>
          </a:xfrm>
          <a:prstGeom prst="rect">
            <a:avLst/>
          </a:prstGeom>
          <a:solidFill>
            <a:schemeClr val="accent5"/>
          </a:solidFill>
          <a:ln>
            <a:solidFill>
              <a:schemeClr val="accent5"/>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6" tIns="34294" rIns="34294" bIns="68586" numCol="1" spcCol="0" rtlCol="0" fromWordArt="0" anchor="b" anchorCtr="0" forceAA="0" compatLnSpc="1">
            <a:prstTxWarp prst="textNoShape">
              <a:avLst/>
            </a:prstTxWarp>
            <a:noAutofit/>
          </a:bodyPr>
          <a:lstStyle/>
          <a:p>
            <a:pPr defTabSz="685637" fontAlgn="base">
              <a:spcBef>
                <a:spcPct val="0"/>
              </a:spcBef>
              <a:spcAft>
                <a:spcPct val="0"/>
              </a:spcAft>
            </a:pPr>
            <a:endParaRPr lang="en-US" spc="-38" dirty="0">
              <a:gradFill>
                <a:gsLst>
                  <a:gs pos="0">
                    <a:srgbClr val="FFFFFF"/>
                  </a:gs>
                  <a:gs pos="100000">
                    <a:srgbClr val="FFFFFF"/>
                  </a:gs>
                </a:gsLst>
                <a:lin ang="5400000" scaled="0"/>
              </a:gradFill>
              <a:ea typeface="Segoe UI" pitchFamily="34" charset="0"/>
              <a:cs typeface="Segoe UI" pitchFamily="34" charset="0"/>
            </a:endParaRPr>
          </a:p>
        </p:txBody>
      </p:sp>
      <p:pic>
        <p:nvPicPr>
          <p:cNvPr id="24" name="Picture 2" descr="C:\Users\mitchellg\Desktop\Software.png"/>
          <p:cNvPicPr>
            <a:picLocks noChangeAspect="1" noChangeArrowheads="1"/>
          </p:cNvPicPr>
          <p:nvPr/>
        </p:nvPicPr>
        <p:blipFill>
          <a:blip r:embed="rId5" cstate="print">
            <a:lum bright="100000"/>
          </a:blip>
          <a:srcRect/>
          <a:stretch>
            <a:fillRect/>
          </a:stretch>
        </p:blipFill>
        <p:spPr bwMode="auto">
          <a:xfrm>
            <a:off x="958183" y="1219296"/>
            <a:ext cx="1191373" cy="1191064"/>
          </a:xfrm>
          <a:prstGeom prst="rect">
            <a:avLst/>
          </a:prstGeom>
          <a:noFill/>
        </p:spPr>
      </p:pic>
      <p:sp>
        <p:nvSpPr>
          <p:cNvPr id="25" name="Rectangle 24"/>
          <p:cNvSpPr/>
          <p:nvPr/>
        </p:nvSpPr>
        <p:spPr bwMode="auto">
          <a:xfrm>
            <a:off x="848844" y="2820607"/>
            <a:ext cx="1410051" cy="1409685"/>
          </a:xfrm>
          <a:prstGeom prst="rect">
            <a:avLst/>
          </a:prstGeom>
          <a:solidFill>
            <a:schemeClr val="accent5"/>
          </a:solidFill>
          <a:ln>
            <a:solidFill>
              <a:schemeClr val="accent5"/>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6" tIns="34294" rIns="34294" bIns="68586" numCol="1" spcCol="0" rtlCol="0" fromWordArt="0" anchor="b" anchorCtr="0" forceAA="0" compatLnSpc="1">
            <a:prstTxWarp prst="textNoShape">
              <a:avLst/>
            </a:prstTxWarp>
            <a:noAutofit/>
          </a:bodyPr>
          <a:lstStyle/>
          <a:p>
            <a:pPr defTabSz="685637" fontAlgn="base">
              <a:spcBef>
                <a:spcPct val="0"/>
              </a:spcBef>
              <a:spcAft>
                <a:spcPct val="0"/>
              </a:spcAft>
            </a:pPr>
            <a:r>
              <a:rPr lang="en-US" spc="-38" dirty="0">
                <a:gradFill>
                  <a:gsLst>
                    <a:gs pos="0">
                      <a:srgbClr val="FFFFFF"/>
                    </a:gs>
                    <a:gs pos="100000">
                      <a:srgbClr val="FFFFFF"/>
                    </a:gs>
                  </a:gsLst>
                  <a:lin ang="5400000" scaled="0"/>
                </a:gradFill>
                <a:ea typeface="Segoe UI" pitchFamily="34" charset="0"/>
                <a:cs typeface="Segoe UI" pitchFamily="34" charset="0"/>
              </a:rPr>
              <a:t>.NET 4.0</a:t>
            </a:r>
          </a:p>
          <a:p>
            <a:pPr defTabSz="685637" fontAlgn="base">
              <a:spcBef>
                <a:spcPct val="0"/>
              </a:spcBef>
              <a:spcAft>
                <a:spcPct val="0"/>
              </a:spcAft>
            </a:pPr>
            <a:r>
              <a:rPr lang="en-US" spc="-38" dirty="0">
                <a:gradFill>
                  <a:gsLst>
                    <a:gs pos="0">
                      <a:srgbClr val="FFFFFF"/>
                    </a:gs>
                    <a:gs pos="100000">
                      <a:srgbClr val="FFFFFF"/>
                    </a:gs>
                  </a:gsLst>
                  <a:lin ang="5400000" scaled="0"/>
                </a:gradFill>
                <a:ea typeface="Segoe UI" pitchFamily="34" charset="0"/>
                <a:cs typeface="Segoe UI" pitchFamily="34" charset="0"/>
              </a:rPr>
              <a:t>IIS 7</a:t>
            </a:r>
          </a:p>
        </p:txBody>
      </p:sp>
      <p:pic>
        <p:nvPicPr>
          <p:cNvPr id="26" name="Picture 25" descr="\\MAGNUM\Projects\Microsoft\Cloud Power FY12\Design\ICONS_PNG\Application.png"/>
          <p:cNvPicPr>
            <a:picLocks noChangeAspect="1" noChangeArrowheads="1"/>
          </p:cNvPicPr>
          <p:nvPr/>
        </p:nvPicPr>
        <p:blipFill rotWithShape="1">
          <a:blip r:embed="rId6" cstate="print">
            <a:biLevel thresh="25000"/>
          </a:blip>
          <a:srcRect l="30174" t="36465" r="28608" b="29915"/>
          <a:stretch/>
        </p:blipFill>
        <p:spPr bwMode="auto">
          <a:xfrm>
            <a:off x="958183" y="2805959"/>
            <a:ext cx="1192751" cy="972885"/>
          </a:xfrm>
          <a:prstGeom prst="rect">
            <a:avLst/>
          </a:prstGeom>
          <a:noFill/>
          <a:ln>
            <a:noFill/>
          </a:ln>
        </p:spPr>
      </p:pic>
      <p:sp>
        <p:nvSpPr>
          <p:cNvPr id="27" name="Rectangle 26"/>
          <p:cNvSpPr/>
          <p:nvPr/>
        </p:nvSpPr>
        <p:spPr bwMode="auto">
          <a:xfrm>
            <a:off x="2342375" y="2820607"/>
            <a:ext cx="1410051" cy="1409685"/>
          </a:xfrm>
          <a:prstGeom prst="rect">
            <a:avLst/>
          </a:prstGeom>
          <a:solidFill>
            <a:schemeClr val="accent5"/>
          </a:solidFill>
          <a:ln>
            <a:solidFill>
              <a:schemeClr val="accent5"/>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6" tIns="34294" rIns="34294" bIns="68586" numCol="1" spcCol="0" rtlCol="0" fromWordArt="0" anchor="b" anchorCtr="0" forceAA="0" compatLnSpc="1">
            <a:prstTxWarp prst="textNoShape">
              <a:avLst/>
            </a:prstTxWarp>
            <a:noAutofit/>
          </a:bodyPr>
          <a:lstStyle/>
          <a:p>
            <a:pPr defTabSz="685637" fontAlgn="base">
              <a:spcBef>
                <a:spcPct val="0"/>
              </a:spcBef>
              <a:spcAft>
                <a:spcPct val="0"/>
              </a:spcAft>
            </a:pPr>
            <a:r>
              <a:rPr lang="en-US" spc="-38" dirty="0">
                <a:gradFill>
                  <a:gsLst>
                    <a:gs pos="0">
                      <a:srgbClr val="FFFFFF"/>
                    </a:gs>
                    <a:gs pos="100000">
                      <a:srgbClr val="FFFFFF"/>
                    </a:gs>
                  </a:gsLst>
                  <a:lin ang="5400000" scaled="0"/>
                </a:gradFill>
                <a:ea typeface="Segoe UI" pitchFamily="34" charset="0"/>
                <a:cs typeface="Segoe UI" pitchFamily="34" charset="0"/>
              </a:rPr>
              <a:t>SQL Server 2008 SP2 / R2 SP1</a:t>
            </a:r>
          </a:p>
        </p:txBody>
      </p:sp>
      <p:pic>
        <p:nvPicPr>
          <p:cNvPr id="28" name="Picture 27"/>
          <p:cNvPicPr>
            <a:picLocks noChangeAspect="1"/>
          </p:cNvPicPr>
          <p:nvPr/>
        </p:nvPicPr>
        <p:blipFill rotWithShape="1">
          <a:blip r:embed="rId7" cstate="print">
            <a:extLst>
              <a:ext uri="{28A0092B-C50C-407E-A947-70E740481C1C}">
                <a14:useLocalDpi xmlns:a14="http://schemas.microsoft.com/office/drawing/2010/main" val="0"/>
              </a:ext>
            </a:extLst>
          </a:blip>
          <a:srcRect l="-11712" t="-1" r="-11019" b="-19481"/>
          <a:stretch/>
        </p:blipFill>
        <p:spPr>
          <a:xfrm>
            <a:off x="4091365" y="1390792"/>
            <a:ext cx="1043676" cy="1199741"/>
          </a:xfrm>
          <a:prstGeom prst="rect">
            <a:avLst/>
          </a:prstGeom>
        </p:spPr>
      </p:pic>
      <p:pic>
        <p:nvPicPr>
          <p:cNvPr id="30" name="Picture 29"/>
          <p:cNvPicPr>
            <a:picLocks noChangeAspect="1"/>
          </p:cNvPicPr>
          <p:nvPr/>
        </p:nvPicPr>
        <p:blipFill rotWithShape="1">
          <a:blip r:embed="rId7" cstate="print">
            <a:extLst>
              <a:ext uri="{28A0092B-C50C-407E-A947-70E740481C1C}">
                <a14:useLocalDpi xmlns:a14="http://schemas.microsoft.com/office/drawing/2010/main" val="0"/>
              </a:ext>
            </a:extLst>
          </a:blip>
          <a:srcRect l="-11712" t="-1" r="-11019" b="-19481"/>
          <a:stretch/>
        </p:blipFill>
        <p:spPr>
          <a:xfrm>
            <a:off x="2621418" y="2855323"/>
            <a:ext cx="874321" cy="1005061"/>
          </a:xfrm>
          <a:prstGeom prst="rect">
            <a:avLst/>
          </a:prstGeom>
        </p:spPr>
      </p:pic>
      <p:sp>
        <p:nvSpPr>
          <p:cNvPr id="20"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9"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8"/>
              </a:rPr>
              <a:t>www.rapidbbs.cn</a:t>
            </a:r>
            <a:endParaRPr lang="zh-CN" altLang="en-US" sz="1200" b="0">
              <a:latin typeface="Arial" charset="0"/>
              <a:ea typeface="ＭＳ Ｐゴシック" pitchFamily="34" charset="-128"/>
            </a:endParaRPr>
          </a:p>
        </p:txBody>
      </p:sp>
      <p:pic>
        <p:nvPicPr>
          <p:cNvPr id="31" name="Picture 2">
            <a:hlinkClick r:id="rId8"/>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71626302"/>
      </p:ext>
    </p:extLst>
  </p:cSld>
  <p:clrMapOvr>
    <a:masterClrMapping/>
  </p:clrMapOvr>
  <p:transition spd="slow">
    <p:fade/>
  </p:transition>
  <p:timing>
    <p:tnLst>
      <p:par>
        <p:cTn id="1" dur="indefinite" restart="never" nodeType="tmRoot"/>
      </p:par>
    </p:tn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p:cNvGraphicFramePr>
          <p:nvPr>
            <p:custDataLst>
              <p:tags r:id="rId2"/>
            </p:custDataLst>
            <p:extLst>
              <p:ext uri="{D42A27DB-BD31-4B8C-83A1-F6EECF244321}">
                <p14:modId xmlns:p14="http://schemas.microsoft.com/office/powerpoint/2010/main" val="859484786"/>
              </p:ext>
            </p:extLst>
          </p:nvPr>
        </p:nvGraphicFramePr>
        <p:xfrm>
          <a:off x="1191" y="1192"/>
          <a:ext cx="1191" cy="1190"/>
        </p:xfrm>
        <a:graphic>
          <a:graphicData uri="http://schemas.openxmlformats.org/presentationml/2006/ole">
            <mc:AlternateContent xmlns:mc="http://schemas.openxmlformats.org/markup-compatibility/2006">
              <mc:Choice xmlns:v="urn:schemas-microsoft-com:vml" Requires="v">
                <p:oleObj spid="_x0000_s7192"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1191" y="1192"/>
                        <a:ext cx="1191" cy="119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81000" y="172647"/>
            <a:ext cx="8592696" cy="457049"/>
          </a:xfrm>
        </p:spPr>
        <p:txBody>
          <a:bodyPr>
            <a:noAutofit/>
          </a:bodyPr>
          <a:lstStyle/>
          <a:p>
            <a:r>
              <a:rPr lang="en-US" sz="3100" dirty="0">
                <a:cs typeface="Segoe UI"/>
              </a:rPr>
              <a:t>How Did Customers Migrate To </a:t>
            </a:r>
            <a:r>
              <a:rPr lang="en-US" sz="3100" dirty="0" err="1">
                <a:cs typeface="Segoe UI"/>
              </a:rPr>
              <a:t>Configmgr</a:t>
            </a:r>
            <a:r>
              <a:rPr lang="en-US" sz="3100" dirty="0">
                <a:cs typeface="Segoe UI"/>
              </a:rPr>
              <a:t> 2007?</a:t>
            </a:r>
          </a:p>
        </p:txBody>
      </p:sp>
      <p:sp>
        <p:nvSpPr>
          <p:cNvPr id="26" name="Freeform 25"/>
          <p:cNvSpPr/>
          <p:nvPr>
            <p:custDataLst>
              <p:tags r:id="rId4"/>
            </p:custDataLst>
          </p:nvPr>
        </p:nvSpPr>
        <p:spPr>
          <a:xfrm rot="10800000" flipV="1">
            <a:off x="4572001" y="2809727"/>
            <a:ext cx="2925086" cy="1508760"/>
          </a:xfrm>
          <a:prstGeom prst="rect">
            <a:avLst/>
          </a:prstGeom>
          <a:solidFill>
            <a:schemeClr val="accent2"/>
          </a:solidFill>
          <a:ln>
            <a:noFill/>
          </a:ln>
          <a:effectLst/>
          <a:scene3d>
            <a:camera prst="orthographicFront"/>
            <a:lightRig rig="threePt" dir="t"/>
          </a:scene3d>
          <a:sp3d prstMaterial="plastic"/>
        </p:spPr>
        <p:style>
          <a:lnRef idx="0">
            <a:schemeClr val="lt1">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txBody>
          <a:bodyPr spcFirstLastPara="0" vert="horz" wrap="square" lIns="137172" tIns="68586" rIns="137172" bIns="68586" numCol="1" spcCol="953" anchor="b" anchorCtr="0">
            <a:noAutofit/>
          </a:bodyPr>
          <a:lstStyle/>
          <a:p>
            <a:pPr algn="r" defTabSz="800174">
              <a:lnSpc>
                <a:spcPct val="90000"/>
              </a:lnSpc>
              <a:spcBef>
                <a:spcPct val="0"/>
              </a:spcBef>
              <a:spcAft>
                <a:spcPct val="35000"/>
              </a:spcAft>
            </a:pPr>
            <a:r>
              <a:rPr lang="en-US" sz="1800" dirty="0">
                <a:solidFill>
                  <a:srgbClr val="FFFFFF">
                    <a:alpha val="99000"/>
                  </a:srgbClr>
                </a:solidFill>
              </a:rPr>
              <a:t>Inventory &amp;</a:t>
            </a:r>
            <a:br>
              <a:rPr lang="en-US" sz="1800" dirty="0">
                <a:solidFill>
                  <a:srgbClr val="FFFFFF">
                    <a:alpha val="99000"/>
                  </a:srgbClr>
                </a:solidFill>
              </a:rPr>
            </a:br>
            <a:r>
              <a:rPr lang="en-US" sz="1800" dirty="0">
                <a:solidFill>
                  <a:srgbClr val="FFFFFF">
                    <a:alpha val="99000"/>
                  </a:srgbClr>
                </a:solidFill>
              </a:rPr>
              <a:t>Compliance Data</a:t>
            </a:r>
          </a:p>
        </p:txBody>
      </p:sp>
      <p:sp>
        <p:nvSpPr>
          <p:cNvPr id="28" name="Freeform 27"/>
          <p:cNvSpPr/>
          <p:nvPr>
            <p:custDataLst>
              <p:tags r:id="rId5"/>
            </p:custDataLst>
          </p:nvPr>
        </p:nvSpPr>
        <p:spPr>
          <a:xfrm>
            <a:off x="4572001" y="1308036"/>
            <a:ext cx="2925086" cy="1508760"/>
          </a:xfrm>
          <a:prstGeom prst="rect">
            <a:avLst/>
          </a:prstGeom>
          <a:solidFill>
            <a:schemeClr val="accent3"/>
          </a:solidFill>
          <a:ln>
            <a:noFill/>
          </a:ln>
          <a:effectLst/>
          <a:scene3d>
            <a:camera prst="orthographicFront"/>
            <a:lightRig rig="threePt" dir="t"/>
          </a:scene3d>
          <a:sp3d prstMaterial="plastic"/>
        </p:spPr>
        <p:style>
          <a:lnRef idx="0">
            <a:schemeClr val="lt1">
              <a:hueOff val="0"/>
              <a:satOff val="0"/>
              <a:lumOff val="0"/>
              <a:alphaOff val="0"/>
            </a:schemeClr>
          </a:lnRef>
          <a:fillRef idx="3">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137172" tIns="68586" rIns="137172" bIns="68586" numCol="1" spcCol="953" anchor="t" anchorCtr="0">
            <a:noAutofit/>
          </a:bodyPr>
          <a:lstStyle/>
          <a:p>
            <a:pPr algn="r" defTabSz="800174">
              <a:lnSpc>
                <a:spcPct val="90000"/>
              </a:lnSpc>
              <a:spcBef>
                <a:spcPct val="0"/>
              </a:spcBef>
              <a:spcAft>
                <a:spcPct val="35000"/>
              </a:spcAft>
            </a:pPr>
            <a:r>
              <a:rPr lang="en-US" sz="1800" dirty="0">
                <a:solidFill>
                  <a:srgbClr val="FFFFFF">
                    <a:alpha val="99000"/>
                  </a:srgbClr>
                </a:solidFill>
              </a:rPr>
              <a:t>Deployment Objects</a:t>
            </a:r>
          </a:p>
        </p:txBody>
      </p:sp>
      <p:sp>
        <p:nvSpPr>
          <p:cNvPr id="30" name="Freeform 29"/>
          <p:cNvSpPr/>
          <p:nvPr>
            <p:custDataLst>
              <p:tags r:id="rId6"/>
            </p:custDataLst>
          </p:nvPr>
        </p:nvSpPr>
        <p:spPr>
          <a:xfrm>
            <a:off x="1646916" y="2809728"/>
            <a:ext cx="2925086" cy="1508760"/>
          </a:xfrm>
          <a:prstGeom prst="rect">
            <a:avLst/>
          </a:prstGeom>
          <a:solidFill>
            <a:schemeClr val="accent4"/>
          </a:solidFill>
          <a:ln>
            <a:noFill/>
          </a:ln>
          <a:effectLst/>
          <a:scene3d>
            <a:camera prst="orthographicFront"/>
            <a:lightRig rig="threeP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37172" tIns="68586" rIns="137172" bIns="68586" numCol="1" spcCol="953" anchor="b" anchorCtr="0">
            <a:noAutofit/>
          </a:bodyPr>
          <a:lstStyle/>
          <a:p>
            <a:pPr defTabSz="800174">
              <a:lnSpc>
                <a:spcPct val="90000"/>
              </a:lnSpc>
              <a:spcBef>
                <a:spcPct val="0"/>
              </a:spcBef>
              <a:spcAft>
                <a:spcPct val="35000"/>
              </a:spcAft>
            </a:pPr>
            <a:r>
              <a:rPr lang="en-US" sz="1800" dirty="0">
                <a:solidFill>
                  <a:srgbClr val="FFFFFF">
                    <a:alpha val="99000"/>
                  </a:srgbClr>
                </a:solidFill>
              </a:rPr>
              <a:t>Clients</a:t>
            </a:r>
          </a:p>
        </p:txBody>
      </p:sp>
      <p:sp>
        <p:nvSpPr>
          <p:cNvPr id="32" name="Rectangle 31"/>
          <p:cNvSpPr/>
          <p:nvPr>
            <p:custDataLst>
              <p:tags r:id="rId7"/>
            </p:custDataLst>
          </p:nvPr>
        </p:nvSpPr>
        <p:spPr>
          <a:xfrm rot="10800000" flipV="1">
            <a:off x="1646914" y="1308036"/>
            <a:ext cx="2925086" cy="1508760"/>
          </a:xfrm>
          <a:prstGeom prst="rect">
            <a:avLst/>
          </a:prstGeom>
          <a:solidFill>
            <a:schemeClr val="accent5"/>
          </a:solidFill>
          <a:ln>
            <a:noFill/>
          </a:ln>
          <a:effectLst/>
          <a:scene3d>
            <a:camera prst="orthographicFront"/>
            <a:lightRig rig="threePt" dir="t"/>
          </a:scene3d>
          <a:sp3d prstMaterial="plastic"/>
        </p:spPr>
        <p:style>
          <a:lnRef idx="0">
            <a:schemeClr val="lt1">
              <a:hueOff val="0"/>
              <a:satOff val="0"/>
              <a:lumOff val="0"/>
              <a:alphaOff val="0"/>
            </a:schemeClr>
          </a:lnRef>
          <a:fillRef idx="3">
            <a:schemeClr val="accent5">
              <a:hueOff val="0"/>
              <a:satOff val="0"/>
              <a:lumOff val="0"/>
              <a:alphaOff val="0"/>
            </a:schemeClr>
          </a:fillRef>
          <a:effectRef idx="2">
            <a:schemeClr val="accent5">
              <a:hueOff val="0"/>
              <a:satOff val="0"/>
              <a:lumOff val="0"/>
              <a:alphaOff val="0"/>
            </a:schemeClr>
          </a:effectRef>
          <a:fontRef idx="minor">
            <a:schemeClr val="lt1"/>
          </a:fontRef>
        </p:style>
        <p:txBody>
          <a:bodyPr spcFirstLastPara="0" vert="horz" wrap="square" lIns="137172" tIns="68586" rIns="137172" bIns="68586" numCol="1" spcCol="953" anchor="t" anchorCtr="0">
            <a:noAutofit/>
          </a:bodyPr>
          <a:lstStyle/>
          <a:p>
            <a:pPr defTabSz="800174">
              <a:lnSpc>
                <a:spcPct val="90000"/>
              </a:lnSpc>
              <a:spcBef>
                <a:spcPct val="0"/>
              </a:spcBef>
              <a:spcAft>
                <a:spcPct val="35000"/>
              </a:spcAft>
            </a:pPr>
            <a:r>
              <a:rPr lang="en-US" sz="1800" dirty="0">
                <a:solidFill>
                  <a:srgbClr val="FFFFFF">
                    <a:alpha val="99000"/>
                  </a:srgbClr>
                </a:solidFill>
              </a:rPr>
              <a:t>Server Infrastructure</a:t>
            </a:r>
          </a:p>
        </p:txBody>
      </p:sp>
      <p:sp>
        <p:nvSpPr>
          <p:cNvPr id="24" name="TextBox 23"/>
          <p:cNvSpPr txBox="1"/>
          <p:nvPr>
            <p:custDataLst>
              <p:tags r:id="rId8"/>
            </p:custDataLst>
          </p:nvPr>
        </p:nvSpPr>
        <p:spPr>
          <a:xfrm>
            <a:off x="391008" y="907650"/>
            <a:ext cx="3305226" cy="249299"/>
          </a:xfrm>
          <a:prstGeom prst="rect">
            <a:avLst/>
          </a:prstGeom>
        </p:spPr>
        <p:txBody>
          <a:bodyPr vert="horz" wrap="none" lIns="0" tIns="0" rIns="0" bIns="0" rtlCol="0">
            <a:spAutoFit/>
          </a:bodyPr>
          <a:lstStyle/>
          <a:p>
            <a:pPr>
              <a:lnSpc>
                <a:spcPct val="90000"/>
              </a:lnSpc>
              <a:spcBef>
                <a:spcPct val="20000"/>
              </a:spcBef>
              <a:buClr>
                <a:srgbClr val="777777"/>
              </a:buClr>
              <a:buSzPct val="130000"/>
            </a:pPr>
            <a:r>
              <a:rPr lang="en-US" sz="1800" dirty="0">
                <a:solidFill>
                  <a:srgbClr val="FFFFFF">
                    <a:alpha val="99000"/>
                  </a:srgbClr>
                </a:solidFill>
              </a:rPr>
              <a:t>Majority conducted side-by-side</a:t>
            </a:r>
          </a:p>
        </p:txBody>
      </p:sp>
      <p:sp>
        <p:nvSpPr>
          <p:cNvPr id="25" name="TextBox 24"/>
          <p:cNvSpPr txBox="1"/>
          <p:nvPr>
            <p:custDataLst>
              <p:tags r:id="rId9"/>
            </p:custDataLst>
          </p:nvPr>
        </p:nvSpPr>
        <p:spPr>
          <a:xfrm>
            <a:off x="6216053" y="921598"/>
            <a:ext cx="2060572" cy="249299"/>
          </a:xfrm>
          <a:prstGeom prst="rect">
            <a:avLst/>
          </a:prstGeom>
        </p:spPr>
        <p:txBody>
          <a:bodyPr vert="horz" wrap="none" lIns="0" tIns="0" rIns="0" bIns="0" rtlCol="0">
            <a:spAutoFit/>
          </a:bodyPr>
          <a:lstStyle/>
          <a:p>
            <a:pPr>
              <a:lnSpc>
                <a:spcPct val="90000"/>
              </a:lnSpc>
              <a:spcBef>
                <a:spcPct val="20000"/>
              </a:spcBef>
              <a:buClr>
                <a:srgbClr val="777777"/>
              </a:buClr>
              <a:buSzPct val="130000"/>
            </a:pPr>
            <a:r>
              <a:rPr lang="en-US" sz="1800" dirty="0">
                <a:solidFill>
                  <a:srgbClr val="FFFFFF">
                    <a:alpha val="99000"/>
                  </a:srgbClr>
                </a:solidFill>
              </a:rPr>
              <a:t>Scripts or MCS tools</a:t>
            </a:r>
          </a:p>
        </p:txBody>
      </p:sp>
      <p:sp>
        <p:nvSpPr>
          <p:cNvPr id="27" name="TextBox 26"/>
          <p:cNvSpPr txBox="1"/>
          <p:nvPr>
            <p:custDataLst>
              <p:tags r:id="rId10"/>
            </p:custDataLst>
          </p:nvPr>
        </p:nvSpPr>
        <p:spPr>
          <a:xfrm>
            <a:off x="391008" y="4475614"/>
            <a:ext cx="2812368" cy="249299"/>
          </a:xfrm>
          <a:prstGeom prst="rect">
            <a:avLst/>
          </a:prstGeom>
        </p:spPr>
        <p:txBody>
          <a:bodyPr vert="horz" wrap="none" lIns="0" tIns="0" rIns="0" bIns="0" rtlCol="0">
            <a:spAutoFit/>
          </a:bodyPr>
          <a:lstStyle/>
          <a:p>
            <a:pPr>
              <a:lnSpc>
                <a:spcPct val="90000"/>
              </a:lnSpc>
              <a:spcBef>
                <a:spcPct val="20000"/>
              </a:spcBef>
              <a:buClr>
                <a:srgbClr val="777777"/>
              </a:buClr>
              <a:buSzPct val="130000"/>
            </a:pPr>
            <a:r>
              <a:rPr lang="en-US" sz="1800" dirty="0">
                <a:solidFill>
                  <a:srgbClr val="FFFFFF">
                    <a:alpha val="99000"/>
                  </a:srgbClr>
                </a:solidFill>
              </a:rPr>
              <a:t>Reassigning and Upgrading</a:t>
            </a:r>
          </a:p>
        </p:txBody>
      </p:sp>
      <p:sp>
        <p:nvSpPr>
          <p:cNvPr id="38" name="TextBox 37"/>
          <p:cNvSpPr txBox="1"/>
          <p:nvPr>
            <p:custDataLst>
              <p:tags r:id="rId11"/>
            </p:custDataLst>
          </p:nvPr>
        </p:nvSpPr>
        <p:spPr>
          <a:xfrm>
            <a:off x="5907379" y="4475614"/>
            <a:ext cx="2369246" cy="249299"/>
          </a:xfrm>
          <a:prstGeom prst="rect">
            <a:avLst/>
          </a:prstGeom>
        </p:spPr>
        <p:txBody>
          <a:bodyPr vert="horz" wrap="none" lIns="0" tIns="0" rIns="0" bIns="0" rtlCol="0">
            <a:spAutoFit/>
          </a:bodyPr>
          <a:lstStyle/>
          <a:p>
            <a:pPr>
              <a:lnSpc>
                <a:spcPct val="90000"/>
              </a:lnSpc>
              <a:spcBef>
                <a:spcPct val="20000"/>
              </a:spcBef>
              <a:buClr>
                <a:srgbClr val="777777"/>
              </a:buClr>
              <a:buSzPct val="130000"/>
            </a:pPr>
            <a:r>
              <a:rPr lang="en-US" sz="1800" dirty="0">
                <a:solidFill>
                  <a:srgbClr val="FFFFFF">
                    <a:alpha val="99000"/>
                  </a:srgbClr>
                </a:solidFill>
              </a:rPr>
              <a:t>Regenerate or preserve</a:t>
            </a:r>
          </a:p>
        </p:txBody>
      </p:sp>
      <p:grpSp>
        <p:nvGrpSpPr>
          <p:cNvPr id="1039" name="Group 1038"/>
          <p:cNvGrpSpPr/>
          <p:nvPr>
            <p:custDataLst>
              <p:tags r:id="rId12"/>
            </p:custDataLst>
          </p:nvPr>
        </p:nvGrpSpPr>
        <p:grpSpPr>
          <a:xfrm>
            <a:off x="2195146" y="1787661"/>
            <a:ext cx="1302170" cy="580336"/>
            <a:chOff x="3188650" y="1982119"/>
            <a:chExt cx="1735775" cy="773781"/>
          </a:xfrm>
        </p:grpSpPr>
        <p:grpSp>
          <p:nvGrpSpPr>
            <p:cNvPr id="56" name="Group 55"/>
            <p:cNvGrpSpPr/>
            <p:nvPr/>
          </p:nvGrpSpPr>
          <p:grpSpPr>
            <a:xfrm>
              <a:off x="3188650" y="2016106"/>
              <a:ext cx="623102" cy="705806"/>
              <a:chOff x="3285205" y="2091489"/>
              <a:chExt cx="429991" cy="487064"/>
            </a:xfrm>
          </p:grpSpPr>
          <p:sp>
            <p:nvSpPr>
              <p:cNvPr id="48" name="Freeform 47"/>
              <p:cNvSpPr/>
              <p:nvPr/>
            </p:nvSpPr>
            <p:spPr>
              <a:xfrm>
                <a:off x="3285205" y="2091489"/>
                <a:ext cx="334295" cy="487064"/>
              </a:xfrm>
              <a:custGeom>
                <a:avLst/>
                <a:gdLst/>
                <a:ahLst/>
                <a:cxnLst/>
                <a:rect l="l" t="t" r="r" b="b"/>
                <a:pathLst>
                  <a:path w="334295" h="487064">
                    <a:moveTo>
                      <a:pt x="15277" y="293856"/>
                    </a:moveTo>
                    <a:lnTo>
                      <a:pt x="15277" y="446625"/>
                    </a:lnTo>
                    <a:lnTo>
                      <a:pt x="200397" y="472686"/>
                    </a:lnTo>
                    <a:lnTo>
                      <a:pt x="200397" y="301944"/>
                    </a:lnTo>
                    <a:close/>
                    <a:moveTo>
                      <a:pt x="15277" y="251171"/>
                    </a:moveTo>
                    <a:lnTo>
                      <a:pt x="15277" y="280826"/>
                    </a:lnTo>
                    <a:lnTo>
                      <a:pt x="201296" y="288015"/>
                    </a:lnTo>
                    <a:lnTo>
                      <a:pt x="201296" y="253417"/>
                    </a:lnTo>
                    <a:close/>
                    <a:moveTo>
                      <a:pt x="201296" y="206238"/>
                    </a:moveTo>
                    <a:lnTo>
                      <a:pt x="15726" y="208036"/>
                    </a:lnTo>
                    <a:lnTo>
                      <a:pt x="15726" y="237691"/>
                    </a:lnTo>
                    <a:lnTo>
                      <a:pt x="201296" y="240836"/>
                    </a:lnTo>
                    <a:close/>
                    <a:moveTo>
                      <a:pt x="202195" y="158161"/>
                    </a:moveTo>
                    <a:lnTo>
                      <a:pt x="15726" y="165350"/>
                    </a:lnTo>
                    <a:lnTo>
                      <a:pt x="15726" y="195455"/>
                    </a:lnTo>
                    <a:lnTo>
                      <a:pt x="202195" y="192759"/>
                    </a:lnTo>
                    <a:close/>
                    <a:moveTo>
                      <a:pt x="202644" y="110084"/>
                    </a:moveTo>
                    <a:lnTo>
                      <a:pt x="16625" y="122215"/>
                    </a:lnTo>
                    <a:lnTo>
                      <a:pt x="16625" y="153219"/>
                    </a:lnTo>
                    <a:lnTo>
                      <a:pt x="202644" y="144681"/>
                    </a:lnTo>
                    <a:close/>
                    <a:moveTo>
                      <a:pt x="202644" y="62905"/>
                    </a:moveTo>
                    <a:lnTo>
                      <a:pt x="17074" y="79530"/>
                    </a:lnTo>
                    <a:lnTo>
                      <a:pt x="17074" y="110982"/>
                    </a:lnTo>
                    <a:lnTo>
                      <a:pt x="202644" y="97952"/>
                    </a:lnTo>
                    <a:close/>
                    <a:moveTo>
                      <a:pt x="203093" y="15277"/>
                    </a:moveTo>
                    <a:lnTo>
                      <a:pt x="17524" y="37294"/>
                    </a:lnTo>
                    <a:lnTo>
                      <a:pt x="17524" y="67398"/>
                    </a:lnTo>
                    <a:lnTo>
                      <a:pt x="203093" y="49425"/>
                    </a:lnTo>
                    <a:close/>
                    <a:moveTo>
                      <a:pt x="221965" y="0"/>
                    </a:moveTo>
                    <a:lnTo>
                      <a:pt x="334295" y="35946"/>
                    </a:lnTo>
                    <a:lnTo>
                      <a:pt x="331226" y="316498"/>
                    </a:lnTo>
                    <a:lnTo>
                      <a:pt x="321837" y="324009"/>
                    </a:lnTo>
                    <a:lnTo>
                      <a:pt x="253336" y="325499"/>
                    </a:lnTo>
                    <a:lnTo>
                      <a:pt x="253336" y="462810"/>
                    </a:lnTo>
                    <a:lnTo>
                      <a:pt x="284124" y="462810"/>
                    </a:lnTo>
                    <a:lnTo>
                      <a:pt x="215674" y="487064"/>
                    </a:lnTo>
                    <a:lnTo>
                      <a:pt x="0" y="454713"/>
                    </a:lnTo>
                    <a:lnTo>
                      <a:pt x="0" y="27858"/>
                    </a:lnTo>
                    <a:close/>
                  </a:path>
                </a:pathLst>
              </a:custGeom>
              <a:solidFill>
                <a:schemeClr val="tx1"/>
              </a:solidFill>
              <a:ln w="9525" cap="flat" cmpd="sng" algn="ctr">
                <a:noFill/>
                <a:prstDash val="solid"/>
              </a:ln>
              <a:effectLst/>
            </p:spPr>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defRPr/>
                </a:pPr>
                <a:endParaRPr lang="en-US" sz="1700" kern="0" dirty="0">
                  <a:gradFill>
                    <a:gsLst>
                      <a:gs pos="0">
                        <a:srgbClr val="FFFFFF"/>
                      </a:gs>
                      <a:gs pos="100000">
                        <a:srgbClr val="FFFFFF"/>
                      </a:gs>
                    </a:gsLst>
                    <a:lin ang="5400000" scaled="0"/>
                  </a:gradFill>
                </a:endParaRPr>
              </a:p>
            </p:txBody>
          </p:sp>
          <p:sp>
            <p:nvSpPr>
              <p:cNvPr id="50" name="Freeform 79"/>
              <p:cNvSpPr>
                <a:spLocks noEditPoints="1"/>
              </p:cNvSpPr>
              <p:nvPr/>
            </p:nvSpPr>
            <p:spPr bwMode="auto">
              <a:xfrm rot="16200000">
                <a:off x="3565471" y="2396265"/>
                <a:ext cx="133610" cy="165840"/>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1034" name="Group 1033"/>
            <p:cNvGrpSpPr/>
            <p:nvPr/>
          </p:nvGrpSpPr>
          <p:grpSpPr>
            <a:xfrm>
              <a:off x="4319802" y="1982119"/>
              <a:ext cx="604623" cy="773781"/>
              <a:chOff x="4319802" y="1982119"/>
              <a:chExt cx="604623" cy="773781"/>
            </a:xfrm>
          </p:grpSpPr>
          <p:sp>
            <p:nvSpPr>
              <p:cNvPr id="57" name="Freeform 56"/>
              <p:cNvSpPr/>
              <p:nvPr/>
            </p:nvSpPr>
            <p:spPr>
              <a:xfrm>
                <a:off x="4319802" y="1982119"/>
                <a:ext cx="484428" cy="705804"/>
              </a:xfrm>
              <a:custGeom>
                <a:avLst/>
                <a:gdLst/>
                <a:ahLst/>
                <a:cxnLst/>
                <a:rect l="l" t="t" r="r" b="b"/>
                <a:pathLst>
                  <a:path w="484428" h="705804">
                    <a:moveTo>
                      <a:pt x="22138" y="425827"/>
                    </a:moveTo>
                    <a:lnTo>
                      <a:pt x="22138" y="647204"/>
                    </a:lnTo>
                    <a:lnTo>
                      <a:pt x="290396" y="684969"/>
                    </a:lnTo>
                    <a:lnTo>
                      <a:pt x="290396" y="437547"/>
                    </a:lnTo>
                    <a:close/>
                    <a:moveTo>
                      <a:pt x="22138" y="363972"/>
                    </a:moveTo>
                    <a:lnTo>
                      <a:pt x="22138" y="406945"/>
                    </a:lnTo>
                    <a:lnTo>
                      <a:pt x="291699" y="417362"/>
                    </a:lnTo>
                    <a:lnTo>
                      <a:pt x="291699" y="367226"/>
                    </a:lnTo>
                    <a:close/>
                    <a:moveTo>
                      <a:pt x="291699" y="298859"/>
                    </a:moveTo>
                    <a:lnTo>
                      <a:pt x="22789" y="301465"/>
                    </a:lnTo>
                    <a:lnTo>
                      <a:pt x="22789" y="344438"/>
                    </a:lnTo>
                    <a:lnTo>
                      <a:pt x="291699" y="348995"/>
                    </a:lnTo>
                    <a:close/>
                    <a:moveTo>
                      <a:pt x="293002" y="229191"/>
                    </a:moveTo>
                    <a:lnTo>
                      <a:pt x="22789" y="239609"/>
                    </a:lnTo>
                    <a:lnTo>
                      <a:pt x="22789" y="283234"/>
                    </a:lnTo>
                    <a:lnTo>
                      <a:pt x="293002" y="279327"/>
                    </a:lnTo>
                    <a:close/>
                    <a:moveTo>
                      <a:pt x="293652" y="159523"/>
                    </a:moveTo>
                    <a:lnTo>
                      <a:pt x="24092" y="177102"/>
                    </a:lnTo>
                    <a:lnTo>
                      <a:pt x="24092" y="222030"/>
                    </a:lnTo>
                    <a:lnTo>
                      <a:pt x="293652" y="209657"/>
                    </a:lnTo>
                    <a:close/>
                    <a:moveTo>
                      <a:pt x="293652" y="91156"/>
                    </a:moveTo>
                    <a:lnTo>
                      <a:pt x="24742" y="115247"/>
                    </a:lnTo>
                    <a:lnTo>
                      <a:pt x="24742" y="160824"/>
                    </a:lnTo>
                    <a:lnTo>
                      <a:pt x="293652" y="141942"/>
                    </a:lnTo>
                    <a:close/>
                    <a:moveTo>
                      <a:pt x="294303" y="22138"/>
                    </a:moveTo>
                    <a:lnTo>
                      <a:pt x="25394" y="54043"/>
                    </a:lnTo>
                    <a:lnTo>
                      <a:pt x="25394" y="97666"/>
                    </a:lnTo>
                    <a:lnTo>
                      <a:pt x="294303" y="71622"/>
                    </a:lnTo>
                    <a:close/>
                    <a:moveTo>
                      <a:pt x="321650" y="0"/>
                    </a:moveTo>
                    <a:lnTo>
                      <a:pt x="484428" y="52089"/>
                    </a:lnTo>
                    <a:lnTo>
                      <a:pt x="480348" y="425094"/>
                    </a:lnTo>
                    <a:lnTo>
                      <a:pt x="457910" y="420564"/>
                    </a:lnTo>
                    <a:cubicBezTo>
                      <a:pt x="375129" y="420564"/>
                      <a:pt x="308022" y="487671"/>
                      <a:pt x="308022" y="570452"/>
                    </a:cubicBezTo>
                    <a:cubicBezTo>
                      <a:pt x="308022" y="618337"/>
                      <a:pt x="330476" y="660977"/>
                      <a:pt x="366904" y="686539"/>
                    </a:cubicBezTo>
                    <a:lnTo>
                      <a:pt x="312534" y="705804"/>
                    </a:lnTo>
                    <a:lnTo>
                      <a:pt x="0" y="658924"/>
                    </a:lnTo>
                    <a:lnTo>
                      <a:pt x="0" y="40369"/>
                    </a:lnTo>
                    <a:close/>
                  </a:path>
                </a:pathLst>
              </a:custGeom>
              <a:solidFill>
                <a:schemeClr val="tx1"/>
              </a:solidFill>
              <a:ln w="9525" cap="flat" cmpd="sng" algn="ctr">
                <a:noFill/>
                <a:prstDash val="solid"/>
              </a:ln>
              <a:effectLst/>
            </p:spPr>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defRPr/>
                </a:pPr>
                <a:endParaRPr lang="en-US" sz="1700" kern="0" dirty="0">
                  <a:gradFill>
                    <a:gsLst>
                      <a:gs pos="0">
                        <a:srgbClr val="FFFFFF"/>
                      </a:gs>
                      <a:gs pos="100000">
                        <a:srgbClr val="FFFFFF"/>
                      </a:gs>
                    </a:gsLst>
                    <a:lin ang="5400000" scaled="0"/>
                  </a:gradFill>
                </a:endParaRPr>
              </a:p>
            </p:txBody>
          </p:sp>
          <p:sp>
            <p:nvSpPr>
              <p:cNvPr id="62" name="Freeform 62"/>
              <p:cNvSpPr>
                <a:spLocks noEditPoints="1"/>
              </p:cNvSpPr>
              <p:nvPr/>
            </p:nvSpPr>
            <p:spPr bwMode="black">
              <a:xfrm>
                <a:off x="4642905" y="2417799"/>
                <a:ext cx="269616" cy="26954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305" tIns="41153" rIns="82305" bIns="41153" numCol="1" anchor="t" anchorCtr="0" compatLnSpc="1">
                <a:prstTxWarp prst="textNoShape">
                  <a:avLst/>
                </a:prstTxWarp>
              </a:bodyPr>
              <a:lstStyle/>
              <a:p>
                <a:endParaRPr lang="en-US" sz="1200">
                  <a:solidFill>
                    <a:srgbClr val="FFFFFF"/>
                  </a:solidFill>
                </a:endParaRPr>
              </a:p>
            </p:txBody>
          </p:sp>
          <p:sp>
            <p:nvSpPr>
              <p:cNvPr id="69" name="Freeform 68"/>
              <p:cNvSpPr/>
              <p:nvPr/>
            </p:nvSpPr>
            <p:spPr>
              <a:xfrm>
                <a:off x="4629136" y="2452122"/>
                <a:ext cx="237913" cy="246299"/>
              </a:xfrm>
              <a:custGeom>
                <a:avLst/>
                <a:gdLst>
                  <a:gd name="connsiteX0" fmla="*/ 226219 w 600075"/>
                  <a:gd name="connsiteY0" fmla="*/ 47625 h 640556"/>
                  <a:gd name="connsiteX1" fmla="*/ 145256 w 600075"/>
                  <a:gd name="connsiteY1" fmla="*/ 4763 h 640556"/>
                  <a:gd name="connsiteX2" fmla="*/ 38100 w 600075"/>
                  <a:gd name="connsiteY2" fmla="*/ 130969 h 640556"/>
                  <a:gd name="connsiteX3" fmla="*/ 147638 w 600075"/>
                  <a:gd name="connsiteY3" fmla="*/ 195263 h 640556"/>
                  <a:gd name="connsiteX4" fmla="*/ 0 w 600075"/>
                  <a:gd name="connsiteY4" fmla="*/ 361950 h 640556"/>
                  <a:gd name="connsiteX5" fmla="*/ 219075 w 600075"/>
                  <a:gd name="connsiteY5" fmla="*/ 485775 h 640556"/>
                  <a:gd name="connsiteX6" fmla="*/ 221456 w 600075"/>
                  <a:gd name="connsiteY6" fmla="*/ 640556 h 640556"/>
                  <a:gd name="connsiteX7" fmla="*/ 388144 w 600075"/>
                  <a:gd name="connsiteY7" fmla="*/ 638175 h 640556"/>
                  <a:gd name="connsiteX8" fmla="*/ 388144 w 600075"/>
                  <a:gd name="connsiteY8" fmla="*/ 576263 h 640556"/>
                  <a:gd name="connsiteX9" fmla="*/ 442913 w 600075"/>
                  <a:gd name="connsiteY9" fmla="*/ 600075 h 640556"/>
                  <a:gd name="connsiteX10" fmla="*/ 600075 w 600075"/>
                  <a:gd name="connsiteY10" fmla="*/ 504825 h 640556"/>
                  <a:gd name="connsiteX11" fmla="*/ 540544 w 600075"/>
                  <a:gd name="connsiteY11" fmla="*/ 373856 h 640556"/>
                  <a:gd name="connsiteX12" fmla="*/ 576263 w 600075"/>
                  <a:gd name="connsiteY12" fmla="*/ 328613 h 640556"/>
                  <a:gd name="connsiteX13" fmla="*/ 576263 w 600075"/>
                  <a:gd name="connsiteY13" fmla="*/ 261938 h 640556"/>
                  <a:gd name="connsiteX14" fmla="*/ 471488 w 600075"/>
                  <a:gd name="connsiteY14" fmla="*/ 202406 h 640556"/>
                  <a:gd name="connsiteX15" fmla="*/ 390525 w 600075"/>
                  <a:gd name="connsiteY15" fmla="*/ 0 h 640556"/>
                  <a:gd name="connsiteX16" fmla="*/ 226219 w 600075"/>
                  <a:gd name="connsiteY16" fmla="*/ 47625 h 640556"/>
                  <a:gd name="connsiteX0" fmla="*/ 226219 w 600075"/>
                  <a:gd name="connsiteY0" fmla="*/ 47625 h 640556"/>
                  <a:gd name="connsiteX1" fmla="*/ 145256 w 600075"/>
                  <a:gd name="connsiteY1" fmla="*/ 4763 h 640556"/>
                  <a:gd name="connsiteX2" fmla="*/ 38100 w 600075"/>
                  <a:gd name="connsiteY2" fmla="*/ 130969 h 640556"/>
                  <a:gd name="connsiteX3" fmla="*/ 147638 w 600075"/>
                  <a:gd name="connsiteY3" fmla="*/ 195263 h 640556"/>
                  <a:gd name="connsiteX4" fmla="*/ 0 w 600075"/>
                  <a:gd name="connsiteY4" fmla="*/ 361950 h 640556"/>
                  <a:gd name="connsiteX5" fmla="*/ 219075 w 600075"/>
                  <a:gd name="connsiteY5" fmla="*/ 485775 h 640556"/>
                  <a:gd name="connsiteX6" fmla="*/ 221456 w 600075"/>
                  <a:gd name="connsiteY6" fmla="*/ 640556 h 640556"/>
                  <a:gd name="connsiteX7" fmla="*/ 388144 w 600075"/>
                  <a:gd name="connsiteY7" fmla="*/ 638175 h 640556"/>
                  <a:gd name="connsiteX8" fmla="*/ 388144 w 600075"/>
                  <a:gd name="connsiteY8" fmla="*/ 576263 h 640556"/>
                  <a:gd name="connsiteX9" fmla="*/ 442913 w 600075"/>
                  <a:gd name="connsiteY9" fmla="*/ 600075 h 640556"/>
                  <a:gd name="connsiteX10" fmla="*/ 600075 w 600075"/>
                  <a:gd name="connsiteY10" fmla="*/ 504825 h 640556"/>
                  <a:gd name="connsiteX11" fmla="*/ 540544 w 600075"/>
                  <a:gd name="connsiteY11" fmla="*/ 373856 h 640556"/>
                  <a:gd name="connsiteX12" fmla="*/ 576263 w 600075"/>
                  <a:gd name="connsiteY12" fmla="*/ 328613 h 640556"/>
                  <a:gd name="connsiteX13" fmla="*/ 576263 w 600075"/>
                  <a:gd name="connsiteY13" fmla="*/ 261938 h 640556"/>
                  <a:gd name="connsiteX14" fmla="*/ 471488 w 600075"/>
                  <a:gd name="connsiteY14" fmla="*/ 202406 h 640556"/>
                  <a:gd name="connsiteX15" fmla="*/ 390525 w 600075"/>
                  <a:gd name="connsiteY15" fmla="*/ 0 h 640556"/>
                  <a:gd name="connsiteX16" fmla="*/ 226219 w 600075"/>
                  <a:gd name="connsiteY16" fmla="*/ 47625 h 640556"/>
                  <a:gd name="connsiteX0" fmla="*/ 226219 w 600075"/>
                  <a:gd name="connsiteY0" fmla="*/ 47625 h 640556"/>
                  <a:gd name="connsiteX1" fmla="*/ 145256 w 600075"/>
                  <a:gd name="connsiteY1" fmla="*/ 19050 h 640556"/>
                  <a:gd name="connsiteX2" fmla="*/ 38100 w 600075"/>
                  <a:gd name="connsiteY2" fmla="*/ 130969 h 640556"/>
                  <a:gd name="connsiteX3" fmla="*/ 147638 w 600075"/>
                  <a:gd name="connsiteY3" fmla="*/ 195263 h 640556"/>
                  <a:gd name="connsiteX4" fmla="*/ 0 w 600075"/>
                  <a:gd name="connsiteY4" fmla="*/ 361950 h 640556"/>
                  <a:gd name="connsiteX5" fmla="*/ 219075 w 600075"/>
                  <a:gd name="connsiteY5" fmla="*/ 485775 h 640556"/>
                  <a:gd name="connsiteX6" fmla="*/ 221456 w 600075"/>
                  <a:gd name="connsiteY6" fmla="*/ 640556 h 640556"/>
                  <a:gd name="connsiteX7" fmla="*/ 388144 w 600075"/>
                  <a:gd name="connsiteY7" fmla="*/ 638175 h 640556"/>
                  <a:gd name="connsiteX8" fmla="*/ 388144 w 600075"/>
                  <a:gd name="connsiteY8" fmla="*/ 576263 h 640556"/>
                  <a:gd name="connsiteX9" fmla="*/ 442913 w 600075"/>
                  <a:gd name="connsiteY9" fmla="*/ 600075 h 640556"/>
                  <a:gd name="connsiteX10" fmla="*/ 600075 w 600075"/>
                  <a:gd name="connsiteY10" fmla="*/ 504825 h 640556"/>
                  <a:gd name="connsiteX11" fmla="*/ 540544 w 600075"/>
                  <a:gd name="connsiteY11" fmla="*/ 373856 h 640556"/>
                  <a:gd name="connsiteX12" fmla="*/ 576263 w 600075"/>
                  <a:gd name="connsiteY12" fmla="*/ 328613 h 640556"/>
                  <a:gd name="connsiteX13" fmla="*/ 576263 w 600075"/>
                  <a:gd name="connsiteY13" fmla="*/ 261938 h 640556"/>
                  <a:gd name="connsiteX14" fmla="*/ 471488 w 600075"/>
                  <a:gd name="connsiteY14" fmla="*/ 202406 h 640556"/>
                  <a:gd name="connsiteX15" fmla="*/ 390525 w 600075"/>
                  <a:gd name="connsiteY15" fmla="*/ 0 h 640556"/>
                  <a:gd name="connsiteX16" fmla="*/ 226219 w 600075"/>
                  <a:gd name="connsiteY16" fmla="*/ 47625 h 640556"/>
                  <a:gd name="connsiteX0" fmla="*/ 226219 w 600075"/>
                  <a:gd name="connsiteY0" fmla="*/ 47625 h 640556"/>
                  <a:gd name="connsiteX1" fmla="*/ 145256 w 600075"/>
                  <a:gd name="connsiteY1" fmla="*/ 19050 h 640556"/>
                  <a:gd name="connsiteX2" fmla="*/ 38100 w 600075"/>
                  <a:gd name="connsiteY2" fmla="*/ 130969 h 640556"/>
                  <a:gd name="connsiteX3" fmla="*/ 147638 w 600075"/>
                  <a:gd name="connsiteY3" fmla="*/ 195263 h 640556"/>
                  <a:gd name="connsiteX4" fmla="*/ 0 w 600075"/>
                  <a:gd name="connsiteY4" fmla="*/ 361950 h 640556"/>
                  <a:gd name="connsiteX5" fmla="*/ 219075 w 600075"/>
                  <a:gd name="connsiteY5" fmla="*/ 485775 h 640556"/>
                  <a:gd name="connsiteX6" fmla="*/ 221456 w 600075"/>
                  <a:gd name="connsiteY6" fmla="*/ 640556 h 640556"/>
                  <a:gd name="connsiteX7" fmla="*/ 388144 w 600075"/>
                  <a:gd name="connsiteY7" fmla="*/ 638175 h 640556"/>
                  <a:gd name="connsiteX8" fmla="*/ 388144 w 600075"/>
                  <a:gd name="connsiteY8" fmla="*/ 576263 h 640556"/>
                  <a:gd name="connsiteX9" fmla="*/ 442913 w 600075"/>
                  <a:gd name="connsiteY9" fmla="*/ 600075 h 640556"/>
                  <a:gd name="connsiteX10" fmla="*/ 600075 w 600075"/>
                  <a:gd name="connsiteY10" fmla="*/ 504825 h 640556"/>
                  <a:gd name="connsiteX11" fmla="*/ 540544 w 600075"/>
                  <a:gd name="connsiteY11" fmla="*/ 373856 h 640556"/>
                  <a:gd name="connsiteX12" fmla="*/ 576263 w 600075"/>
                  <a:gd name="connsiteY12" fmla="*/ 328613 h 640556"/>
                  <a:gd name="connsiteX13" fmla="*/ 576263 w 600075"/>
                  <a:gd name="connsiteY13" fmla="*/ 261938 h 640556"/>
                  <a:gd name="connsiteX14" fmla="*/ 471488 w 600075"/>
                  <a:gd name="connsiteY14" fmla="*/ 202406 h 640556"/>
                  <a:gd name="connsiteX15" fmla="*/ 390525 w 600075"/>
                  <a:gd name="connsiteY15" fmla="*/ 0 h 640556"/>
                  <a:gd name="connsiteX16" fmla="*/ 226219 w 600075"/>
                  <a:gd name="connsiteY16" fmla="*/ 47625 h 640556"/>
                  <a:gd name="connsiteX0" fmla="*/ 226219 w 600075"/>
                  <a:gd name="connsiteY0" fmla="*/ 47625 h 640556"/>
                  <a:gd name="connsiteX1" fmla="*/ 145256 w 600075"/>
                  <a:gd name="connsiteY1" fmla="*/ 19050 h 640556"/>
                  <a:gd name="connsiteX2" fmla="*/ 38100 w 600075"/>
                  <a:gd name="connsiteY2" fmla="*/ 130969 h 640556"/>
                  <a:gd name="connsiteX3" fmla="*/ 147638 w 600075"/>
                  <a:gd name="connsiteY3" fmla="*/ 195263 h 640556"/>
                  <a:gd name="connsiteX4" fmla="*/ 0 w 600075"/>
                  <a:gd name="connsiteY4" fmla="*/ 361950 h 640556"/>
                  <a:gd name="connsiteX5" fmla="*/ 219075 w 600075"/>
                  <a:gd name="connsiteY5" fmla="*/ 485775 h 640556"/>
                  <a:gd name="connsiteX6" fmla="*/ 221456 w 600075"/>
                  <a:gd name="connsiteY6" fmla="*/ 640556 h 640556"/>
                  <a:gd name="connsiteX7" fmla="*/ 388144 w 600075"/>
                  <a:gd name="connsiteY7" fmla="*/ 638175 h 640556"/>
                  <a:gd name="connsiteX8" fmla="*/ 388144 w 600075"/>
                  <a:gd name="connsiteY8" fmla="*/ 576263 h 640556"/>
                  <a:gd name="connsiteX9" fmla="*/ 442913 w 600075"/>
                  <a:gd name="connsiteY9" fmla="*/ 600075 h 640556"/>
                  <a:gd name="connsiteX10" fmla="*/ 600075 w 600075"/>
                  <a:gd name="connsiteY10" fmla="*/ 504825 h 640556"/>
                  <a:gd name="connsiteX11" fmla="*/ 540544 w 600075"/>
                  <a:gd name="connsiteY11" fmla="*/ 373856 h 640556"/>
                  <a:gd name="connsiteX12" fmla="*/ 576263 w 600075"/>
                  <a:gd name="connsiteY12" fmla="*/ 328613 h 640556"/>
                  <a:gd name="connsiteX13" fmla="*/ 576263 w 600075"/>
                  <a:gd name="connsiteY13" fmla="*/ 261938 h 640556"/>
                  <a:gd name="connsiteX14" fmla="*/ 471488 w 600075"/>
                  <a:gd name="connsiteY14" fmla="*/ 202406 h 640556"/>
                  <a:gd name="connsiteX15" fmla="*/ 390525 w 600075"/>
                  <a:gd name="connsiteY15" fmla="*/ 0 h 640556"/>
                  <a:gd name="connsiteX16" fmla="*/ 226219 w 600075"/>
                  <a:gd name="connsiteY16" fmla="*/ 47625 h 640556"/>
                  <a:gd name="connsiteX0" fmla="*/ 226219 w 600075"/>
                  <a:gd name="connsiteY0" fmla="*/ 47625 h 640556"/>
                  <a:gd name="connsiteX1" fmla="*/ 145256 w 600075"/>
                  <a:gd name="connsiteY1" fmla="*/ 19050 h 640556"/>
                  <a:gd name="connsiteX2" fmla="*/ 38100 w 600075"/>
                  <a:gd name="connsiteY2" fmla="*/ 130969 h 640556"/>
                  <a:gd name="connsiteX3" fmla="*/ 147638 w 600075"/>
                  <a:gd name="connsiteY3" fmla="*/ 195263 h 640556"/>
                  <a:gd name="connsiteX4" fmla="*/ 0 w 600075"/>
                  <a:gd name="connsiteY4" fmla="*/ 361950 h 640556"/>
                  <a:gd name="connsiteX5" fmla="*/ 219075 w 600075"/>
                  <a:gd name="connsiteY5" fmla="*/ 485775 h 640556"/>
                  <a:gd name="connsiteX6" fmla="*/ 221456 w 600075"/>
                  <a:gd name="connsiteY6" fmla="*/ 640556 h 640556"/>
                  <a:gd name="connsiteX7" fmla="*/ 388144 w 600075"/>
                  <a:gd name="connsiteY7" fmla="*/ 638175 h 640556"/>
                  <a:gd name="connsiteX8" fmla="*/ 388144 w 600075"/>
                  <a:gd name="connsiteY8" fmla="*/ 576263 h 640556"/>
                  <a:gd name="connsiteX9" fmla="*/ 442913 w 600075"/>
                  <a:gd name="connsiteY9" fmla="*/ 600075 h 640556"/>
                  <a:gd name="connsiteX10" fmla="*/ 600075 w 600075"/>
                  <a:gd name="connsiteY10" fmla="*/ 504825 h 640556"/>
                  <a:gd name="connsiteX11" fmla="*/ 540544 w 600075"/>
                  <a:gd name="connsiteY11" fmla="*/ 373856 h 640556"/>
                  <a:gd name="connsiteX12" fmla="*/ 576263 w 600075"/>
                  <a:gd name="connsiteY12" fmla="*/ 328613 h 640556"/>
                  <a:gd name="connsiteX13" fmla="*/ 576263 w 600075"/>
                  <a:gd name="connsiteY13" fmla="*/ 261938 h 640556"/>
                  <a:gd name="connsiteX14" fmla="*/ 471488 w 600075"/>
                  <a:gd name="connsiteY14" fmla="*/ 202406 h 640556"/>
                  <a:gd name="connsiteX15" fmla="*/ 390525 w 600075"/>
                  <a:gd name="connsiteY15" fmla="*/ 0 h 640556"/>
                  <a:gd name="connsiteX16" fmla="*/ 226219 w 600075"/>
                  <a:gd name="connsiteY16" fmla="*/ 47625 h 640556"/>
                  <a:gd name="connsiteX0" fmla="*/ 226219 w 600075"/>
                  <a:gd name="connsiteY0" fmla="*/ 47625 h 640556"/>
                  <a:gd name="connsiteX1" fmla="*/ 145256 w 600075"/>
                  <a:gd name="connsiteY1" fmla="*/ 19050 h 640556"/>
                  <a:gd name="connsiteX2" fmla="*/ 73819 w 600075"/>
                  <a:gd name="connsiteY2" fmla="*/ 135732 h 640556"/>
                  <a:gd name="connsiteX3" fmla="*/ 147638 w 600075"/>
                  <a:gd name="connsiteY3" fmla="*/ 195263 h 640556"/>
                  <a:gd name="connsiteX4" fmla="*/ 0 w 600075"/>
                  <a:gd name="connsiteY4" fmla="*/ 361950 h 640556"/>
                  <a:gd name="connsiteX5" fmla="*/ 219075 w 600075"/>
                  <a:gd name="connsiteY5" fmla="*/ 485775 h 640556"/>
                  <a:gd name="connsiteX6" fmla="*/ 221456 w 600075"/>
                  <a:gd name="connsiteY6" fmla="*/ 640556 h 640556"/>
                  <a:gd name="connsiteX7" fmla="*/ 388144 w 600075"/>
                  <a:gd name="connsiteY7" fmla="*/ 638175 h 640556"/>
                  <a:gd name="connsiteX8" fmla="*/ 388144 w 600075"/>
                  <a:gd name="connsiteY8" fmla="*/ 576263 h 640556"/>
                  <a:gd name="connsiteX9" fmla="*/ 442913 w 600075"/>
                  <a:gd name="connsiteY9" fmla="*/ 600075 h 640556"/>
                  <a:gd name="connsiteX10" fmla="*/ 600075 w 600075"/>
                  <a:gd name="connsiteY10" fmla="*/ 504825 h 640556"/>
                  <a:gd name="connsiteX11" fmla="*/ 540544 w 600075"/>
                  <a:gd name="connsiteY11" fmla="*/ 373856 h 640556"/>
                  <a:gd name="connsiteX12" fmla="*/ 576263 w 600075"/>
                  <a:gd name="connsiteY12" fmla="*/ 328613 h 640556"/>
                  <a:gd name="connsiteX13" fmla="*/ 576263 w 600075"/>
                  <a:gd name="connsiteY13" fmla="*/ 261938 h 640556"/>
                  <a:gd name="connsiteX14" fmla="*/ 471488 w 600075"/>
                  <a:gd name="connsiteY14" fmla="*/ 202406 h 640556"/>
                  <a:gd name="connsiteX15" fmla="*/ 390525 w 600075"/>
                  <a:gd name="connsiteY15" fmla="*/ 0 h 640556"/>
                  <a:gd name="connsiteX16" fmla="*/ 226219 w 600075"/>
                  <a:gd name="connsiteY16" fmla="*/ 47625 h 640556"/>
                  <a:gd name="connsiteX0" fmla="*/ 226219 w 600075"/>
                  <a:gd name="connsiteY0" fmla="*/ 47625 h 640556"/>
                  <a:gd name="connsiteX1" fmla="*/ 145256 w 600075"/>
                  <a:gd name="connsiteY1" fmla="*/ 19050 h 640556"/>
                  <a:gd name="connsiteX2" fmla="*/ 73819 w 600075"/>
                  <a:gd name="connsiteY2" fmla="*/ 135732 h 640556"/>
                  <a:gd name="connsiteX3" fmla="*/ 147638 w 600075"/>
                  <a:gd name="connsiteY3" fmla="*/ 195263 h 640556"/>
                  <a:gd name="connsiteX4" fmla="*/ 0 w 600075"/>
                  <a:gd name="connsiteY4" fmla="*/ 361950 h 640556"/>
                  <a:gd name="connsiteX5" fmla="*/ 219075 w 600075"/>
                  <a:gd name="connsiteY5" fmla="*/ 485775 h 640556"/>
                  <a:gd name="connsiteX6" fmla="*/ 221456 w 600075"/>
                  <a:gd name="connsiteY6" fmla="*/ 640556 h 640556"/>
                  <a:gd name="connsiteX7" fmla="*/ 388144 w 600075"/>
                  <a:gd name="connsiteY7" fmla="*/ 638175 h 640556"/>
                  <a:gd name="connsiteX8" fmla="*/ 388144 w 600075"/>
                  <a:gd name="connsiteY8" fmla="*/ 576263 h 640556"/>
                  <a:gd name="connsiteX9" fmla="*/ 442913 w 600075"/>
                  <a:gd name="connsiteY9" fmla="*/ 600075 h 640556"/>
                  <a:gd name="connsiteX10" fmla="*/ 600075 w 600075"/>
                  <a:gd name="connsiteY10" fmla="*/ 504825 h 640556"/>
                  <a:gd name="connsiteX11" fmla="*/ 540544 w 600075"/>
                  <a:gd name="connsiteY11" fmla="*/ 373856 h 640556"/>
                  <a:gd name="connsiteX12" fmla="*/ 576263 w 600075"/>
                  <a:gd name="connsiteY12" fmla="*/ 328613 h 640556"/>
                  <a:gd name="connsiteX13" fmla="*/ 576263 w 600075"/>
                  <a:gd name="connsiteY13" fmla="*/ 261938 h 640556"/>
                  <a:gd name="connsiteX14" fmla="*/ 471488 w 600075"/>
                  <a:gd name="connsiteY14" fmla="*/ 202406 h 640556"/>
                  <a:gd name="connsiteX15" fmla="*/ 390525 w 600075"/>
                  <a:gd name="connsiteY15" fmla="*/ 0 h 640556"/>
                  <a:gd name="connsiteX16" fmla="*/ 226219 w 600075"/>
                  <a:gd name="connsiteY16" fmla="*/ 47625 h 640556"/>
                  <a:gd name="connsiteX0" fmla="*/ 226219 w 600075"/>
                  <a:gd name="connsiteY0" fmla="*/ 47625 h 640556"/>
                  <a:gd name="connsiteX1" fmla="*/ 145256 w 600075"/>
                  <a:gd name="connsiteY1" fmla="*/ 19050 h 640556"/>
                  <a:gd name="connsiteX2" fmla="*/ 73819 w 600075"/>
                  <a:gd name="connsiteY2" fmla="*/ 135732 h 640556"/>
                  <a:gd name="connsiteX3" fmla="*/ 147638 w 600075"/>
                  <a:gd name="connsiteY3" fmla="*/ 195263 h 640556"/>
                  <a:gd name="connsiteX4" fmla="*/ 0 w 600075"/>
                  <a:gd name="connsiteY4" fmla="*/ 361950 h 640556"/>
                  <a:gd name="connsiteX5" fmla="*/ 219075 w 600075"/>
                  <a:gd name="connsiteY5" fmla="*/ 485775 h 640556"/>
                  <a:gd name="connsiteX6" fmla="*/ 221456 w 600075"/>
                  <a:gd name="connsiteY6" fmla="*/ 640556 h 640556"/>
                  <a:gd name="connsiteX7" fmla="*/ 388144 w 600075"/>
                  <a:gd name="connsiteY7" fmla="*/ 638175 h 640556"/>
                  <a:gd name="connsiteX8" fmla="*/ 388144 w 600075"/>
                  <a:gd name="connsiteY8" fmla="*/ 576263 h 640556"/>
                  <a:gd name="connsiteX9" fmla="*/ 442913 w 600075"/>
                  <a:gd name="connsiteY9" fmla="*/ 600075 h 640556"/>
                  <a:gd name="connsiteX10" fmla="*/ 600075 w 600075"/>
                  <a:gd name="connsiteY10" fmla="*/ 504825 h 640556"/>
                  <a:gd name="connsiteX11" fmla="*/ 540544 w 600075"/>
                  <a:gd name="connsiteY11" fmla="*/ 373856 h 640556"/>
                  <a:gd name="connsiteX12" fmla="*/ 576263 w 600075"/>
                  <a:gd name="connsiteY12" fmla="*/ 328613 h 640556"/>
                  <a:gd name="connsiteX13" fmla="*/ 576263 w 600075"/>
                  <a:gd name="connsiteY13" fmla="*/ 261938 h 640556"/>
                  <a:gd name="connsiteX14" fmla="*/ 471488 w 600075"/>
                  <a:gd name="connsiteY14" fmla="*/ 202406 h 640556"/>
                  <a:gd name="connsiteX15" fmla="*/ 390525 w 600075"/>
                  <a:gd name="connsiteY15" fmla="*/ 0 h 640556"/>
                  <a:gd name="connsiteX16" fmla="*/ 226219 w 600075"/>
                  <a:gd name="connsiteY16" fmla="*/ 47625 h 640556"/>
                  <a:gd name="connsiteX0" fmla="*/ 226219 w 600075"/>
                  <a:gd name="connsiteY0" fmla="*/ 47625 h 640556"/>
                  <a:gd name="connsiteX1" fmla="*/ 145256 w 600075"/>
                  <a:gd name="connsiteY1" fmla="*/ 19050 h 640556"/>
                  <a:gd name="connsiteX2" fmla="*/ 73819 w 600075"/>
                  <a:gd name="connsiteY2" fmla="*/ 135732 h 640556"/>
                  <a:gd name="connsiteX3" fmla="*/ 147638 w 600075"/>
                  <a:gd name="connsiteY3" fmla="*/ 195263 h 640556"/>
                  <a:gd name="connsiteX4" fmla="*/ 0 w 600075"/>
                  <a:gd name="connsiteY4" fmla="*/ 361950 h 640556"/>
                  <a:gd name="connsiteX5" fmla="*/ 219075 w 600075"/>
                  <a:gd name="connsiteY5" fmla="*/ 485775 h 640556"/>
                  <a:gd name="connsiteX6" fmla="*/ 221456 w 600075"/>
                  <a:gd name="connsiteY6" fmla="*/ 640556 h 640556"/>
                  <a:gd name="connsiteX7" fmla="*/ 388144 w 600075"/>
                  <a:gd name="connsiteY7" fmla="*/ 638175 h 640556"/>
                  <a:gd name="connsiteX8" fmla="*/ 388144 w 600075"/>
                  <a:gd name="connsiteY8" fmla="*/ 576263 h 640556"/>
                  <a:gd name="connsiteX9" fmla="*/ 442913 w 600075"/>
                  <a:gd name="connsiteY9" fmla="*/ 600075 h 640556"/>
                  <a:gd name="connsiteX10" fmla="*/ 600075 w 600075"/>
                  <a:gd name="connsiteY10" fmla="*/ 504825 h 640556"/>
                  <a:gd name="connsiteX11" fmla="*/ 540544 w 600075"/>
                  <a:gd name="connsiteY11" fmla="*/ 373856 h 640556"/>
                  <a:gd name="connsiteX12" fmla="*/ 576263 w 600075"/>
                  <a:gd name="connsiteY12" fmla="*/ 328613 h 640556"/>
                  <a:gd name="connsiteX13" fmla="*/ 576263 w 600075"/>
                  <a:gd name="connsiteY13" fmla="*/ 261938 h 640556"/>
                  <a:gd name="connsiteX14" fmla="*/ 471488 w 600075"/>
                  <a:gd name="connsiteY14" fmla="*/ 202406 h 640556"/>
                  <a:gd name="connsiteX15" fmla="*/ 390525 w 600075"/>
                  <a:gd name="connsiteY15" fmla="*/ 0 h 640556"/>
                  <a:gd name="connsiteX16" fmla="*/ 226219 w 600075"/>
                  <a:gd name="connsiteY16" fmla="*/ 47625 h 640556"/>
                  <a:gd name="connsiteX0" fmla="*/ 226755 w 600611"/>
                  <a:gd name="connsiteY0" fmla="*/ 47625 h 640556"/>
                  <a:gd name="connsiteX1" fmla="*/ 145792 w 600611"/>
                  <a:gd name="connsiteY1" fmla="*/ 19050 h 640556"/>
                  <a:gd name="connsiteX2" fmla="*/ 74355 w 600611"/>
                  <a:gd name="connsiteY2" fmla="*/ 135732 h 640556"/>
                  <a:gd name="connsiteX3" fmla="*/ 155317 w 600611"/>
                  <a:gd name="connsiteY3" fmla="*/ 190500 h 640556"/>
                  <a:gd name="connsiteX4" fmla="*/ 536 w 600611"/>
                  <a:gd name="connsiteY4" fmla="*/ 361950 h 640556"/>
                  <a:gd name="connsiteX5" fmla="*/ 219611 w 600611"/>
                  <a:gd name="connsiteY5" fmla="*/ 485775 h 640556"/>
                  <a:gd name="connsiteX6" fmla="*/ 221992 w 600611"/>
                  <a:gd name="connsiteY6" fmla="*/ 640556 h 640556"/>
                  <a:gd name="connsiteX7" fmla="*/ 388680 w 600611"/>
                  <a:gd name="connsiteY7" fmla="*/ 638175 h 640556"/>
                  <a:gd name="connsiteX8" fmla="*/ 388680 w 600611"/>
                  <a:gd name="connsiteY8" fmla="*/ 576263 h 640556"/>
                  <a:gd name="connsiteX9" fmla="*/ 443449 w 600611"/>
                  <a:gd name="connsiteY9" fmla="*/ 600075 h 640556"/>
                  <a:gd name="connsiteX10" fmla="*/ 600611 w 600611"/>
                  <a:gd name="connsiteY10" fmla="*/ 504825 h 640556"/>
                  <a:gd name="connsiteX11" fmla="*/ 541080 w 600611"/>
                  <a:gd name="connsiteY11" fmla="*/ 373856 h 640556"/>
                  <a:gd name="connsiteX12" fmla="*/ 576799 w 600611"/>
                  <a:gd name="connsiteY12" fmla="*/ 328613 h 640556"/>
                  <a:gd name="connsiteX13" fmla="*/ 576799 w 600611"/>
                  <a:gd name="connsiteY13" fmla="*/ 261938 h 640556"/>
                  <a:gd name="connsiteX14" fmla="*/ 472024 w 600611"/>
                  <a:gd name="connsiteY14" fmla="*/ 202406 h 640556"/>
                  <a:gd name="connsiteX15" fmla="*/ 391061 w 600611"/>
                  <a:gd name="connsiteY15" fmla="*/ 0 h 640556"/>
                  <a:gd name="connsiteX16" fmla="*/ 226755 w 600611"/>
                  <a:gd name="connsiteY16" fmla="*/ 47625 h 640556"/>
                  <a:gd name="connsiteX0" fmla="*/ 226755 w 600611"/>
                  <a:gd name="connsiteY0" fmla="*/ 47625 h 640556"/>
                  <a:gd name="connsiteX1" fmla="*/ 145792 w 600611"/>
                  <a:gd name="connsiteY1" fmla="*/ 19050 h 640556"/>
                  <a:gd name="connsiteX2" fmla="*/ 74355 w 600611"/>
                  <a:gd name="connsiteY2" fmla="*/ 135732 h 640556"/>
                  <a:gd name="connsiteX3" fmla="*/ 155317 w 600611"/>
                  <a:gd name="connsiteY3" fmla="*/ 190500 h 640556"/>
                  <a:gd name="connsiteX4" fmla="*/ 536 w 600611"/>
                  <a:gd name="connsiteY4" fmla="*/ 361950 h 640556"/>
                  <a:gd name="connsiteX5" fmla="*/ 219611 w 600611"/>
                  <a:gd name="connsiteY5" fmla="*/ 485775 h 640556"/>
                  <a:gd name="connsiteX6" fmla="*/ 221992 w 600611"/>
                  <a:gd name="connsiteY6" fmla="*/ 640556 h 640556"/>
                  <a:gd name="connsiteX7" fmla="*/ 388680 w 600611"/>
                  <a:gd name="connsiteY7" fmla="*/ 638175 h 640556"/>
                  <a:gd name="connsiteX8" fmla="*/ 388680 w 600611"/>
                  <a:gd name="connsiteY8" fmla="*/ 576263 h 640556"/>
                  <a:gd name="connsiteX9" fmla="*/ 443449 w 600611"/>
                  <a:gd name="connsiteY9" fmla="*/ 600075 h 640556"/>
                  <a:gd name="connsiteX10" fmla="*/ 600611 w 600611"/>
                  <a:gd name="connsiteY10" fmla="*/ 504825 h 640556"/>
                  <a:gd name="connsiteX11" fmla="*/ 541080 w 600611"/>
                  <a:gd name="connsiteY11" fmla="*/ 373856 h 640556"/>
                  <a:gd name="connsiteX12" fmla="*/ 576799 w 600611"/>
                  <a:gd name="connsiteY12" fmla="*/ 328613 h 640556"/>
                  <a:gd name="connsiteX13" fmla="*/ 576799 w 600611"/>
                  <a:gd name="connsiteY13" fmla="*/ 261938 h 640556"/>
                  <a:gd name="connsiteX14" fmla="*/ 472024 w 600611"/>
                  <a:gd name="connsiteY14" fmla="*/ 202406 h 640556"/>
                  <a:gd name="connsiteX15" fmla="*/ 391061 w 600611"/>
                  <a:gd name="connsiteY15" fmla="*/ 0 h 640556"/>
                  <a:gd name="connsiteX16" fmla="*/ 226755 w 600611"/>
                  <a:gd name="connsiteY16" fmla="*/ 47625 h 640556"/>
                  <a:gd name="connsiteX0" fmla="*/ 226755 w 600611"/>
                  <a:gd name="connsiteY0" fmla="*/ 47625 h 640556"/>
                  <a:gd name="connsiteX1" fmla="*/ 145792 w 600611"/>
                  <a:gd name="connsiteY1" fmla="*/ 19050 h 640556"/>
                  <a:gd name="connsiteX2" fmla="*/ 74355 w 600611"/>
                  <a:gd name="connsiteY2" fmla="*/ 135732 h 640556"/>
                  <a:gd name="connsiteX3" fmla="*/ 155317 w 600611"/>
                  <a:gd name="connsiteY3" fmla="*/ 190500 h 640556"/>
                  <a:gd name="connsiteX4" fmla="*/ 536 w 600611"/>
                  <a:gd name="connsiteY4" fmla="*/ 361950 h 640556"/>
                  <a:gd name="connsiteX5" fmla="*/ 219611 w 600611"/>
                  <a:gd name="connsiteY5" fmla="*/ 485775 h 640556"/>
                  <a:gd name="connsiteX6" fmla="*/ 221992 w 600611"/>
                  <a:gd name="connsiteY6" fmla="*/ 640556 h 640556"/>
                  <a:gd name="connsiteX7" fmla="*/ 388680 w 600611"/>
                  <a:gd name="connsiteY7" fmla="*/ 638175 h 640556"/>
                  <a:gd name="connsiteX8" fmla="*/ 388680 w 600611"/>
                  <a:gd name="connsiteY8" fmla="*/ 576263 h 640556"/>
                  <a:gd name="connsiteX9" fmla="*/ 443449 w 600611"/>
                  <a:gd name="connsiteY9" fmla="*/ 600075 h 640556"/>
                  <a:gd name="connsiteX10" fmla="*/ 600611 w 600611"/>
                  <a:gd name="connsiteY10" fmla="*/ 504825 h 640556"/>
                  <a:gd name="connsiteX11" fmla="*/ 541080 w 600611"/>
                  <a:gd name="connsiteY11" fmla="*/ 373856 h 640556"/>
                  <a:gd name="connsiteX12" fmla="*/ 576799 w 600611"/>
                  <a:gd name="connsiteY12" fmla="*/ 328613 h 640556"/>
                  <a:gd name="connsiteX13" fmla="*/ 576799 w 600611"/>
                  <a:gd name="connsiteY13" fmla="*/ 261938 h 640556"/>
                  <a:gd name="connsiteX14" fmla="*/ 472024 w 600611"/>
                  <a:gd name="connsiteY14" fmla="*/ 202406 h 640556"/>
                  <a:gd name="connsiteX15" fmla="*/ 391061 w 600611"/>
                  <a:gd name="connsiteY15" fmla="*/ 0 h 640556"/>
                  <a:gd name="connsiteX16" fmla="*/ 226755 w 600611"/>
                  <a:gd name="connsiteY16" fmla="*/ 47625 h 640556"/>
                  <a:gd name="connsiteX0" fmla="*/ 205408 w 579264"/>
                  <a:gd name="connsiteY0" fmla="*/ 47625 h 640556"/>
                  <a:gd name="connsiteX1" fmla="*/ 124445 w 579264"/>
                  <a:gd name="connsiteY1" fmla="*/ 19050 h 640556"/>
                  <a:gd name="connsiteX2" fmla="*/ 53008 w 579264"/>
                  <a:gd name="connsiteY2" fmla="*/ 135732 h 640556"/>
                  <a:gd name="connsiteX3" fmla="*/ 133970 w 579264"/>
                  <a:gd name="connsiteY3" fmla="*/ 190500 h 640556"/>
                  <a:gd name="connsiteX4" fmla="*/ 620 w 579264"/>
                  <a:gd name="connsiteY4" fmla="*/ 373857 h 640556"/>
                  <a:gd name="connsiteX5" fmla="*/ 198264 w 579264"/>
                  <a:gd name="connsiteY5" fmla="*/ 485775 h 640556"/>
                  <a:gd name="connsiteX6" fmla="*/ 200645 w 579264"/>
                  <a:gd name="connsiteY6" fmla="*/ 640556 h 640556"/>
                  <a:gd name="connsiteX7" fmla="*/ 367333 w 579264"/>
                  <a:gd name="connsiteY7" fmla="*/ 638175 h 640556"/>
                  <a:gd name="connsiteX8" fmla="*/ 367333 w 579264"/>
                  <a:gd name="connsiteY8" fmla="*/ 576263 h 640556"/>
                  <a:gd name="connsiteX9" fmla="*/ 422102 w 579264"/>
                  <a:gd name="connsiteY9" fmla="*/ 600075 h 640556"/>
                  <a:gd name="connsiteX10" fmla="*/ 579264 w 579264"/>
                  <a:gd name="connsiteY10" fmla="*/ 504825 h 640556"/>
                  <a:gd name="connsiteX11" fmla="*/ 519733 w 579264"/>
                  <a:gd name="connsiteY11" fmla="*/ 373856 h 640556"/>
                  <a:gd name="connsiteX12" fmla="*/ 555452 w 579264"/>
                  <a:gd name="connsiteY12" fmla="*/ 328613 h 640556"/>
                  <a:gd name="connsiteX13" fmla="*/ 555452 w 579264"/>
                  <a:gd name="connsiteY13" fmla="*/ 261938 h 640556"/>
                  <a:gd name="connsiteX14" fmla="*/ 450677 w 579264"/>
                  <a:gd name="connsiteY14" fmla="*/ 202406 h 640556"/>
                  <a:gd name="connsiteX15" fmla="*/ 369714 w 579264"/>
                  <a:gd name="connsiteY15" fmla="*/ 0 h 640556"/>
                  <a:gd name="connsiteX16" fmla="*/ 205408 w 579264"/>
                  <a:gd name="connsiteY16" fmla="*/ 47625 h 640556"/>
                  <a:gd name="connsiteX0" fmla="*/ 204788 w 578644"/>
                  <a:gd name="connsiteY0" fmla="*/ 47625 h 640556"/>
                  <a:gd name="connsiteX1" fmla="*/ 123825 w 578644"/>
                  <a:gd name="connsiteY1" fmla="*/ 19050 h 640556"/>
                  <a:gd name="connsiteX2" fmla="*/ 52388 w 578644"/>
                  <a:gd name="connsiteY2" fmla="*/ 135732 h 640556"/>
                  <a:gd name="connsiteX3" fmla="*/ 133350 w 578644"/>
                  <a:gd name="connsiteY3" fmla="*/ 190500 h 640556"/>
                  <a:gd name="connsiteX4" fmla="*/ 0 w 578644"/>
                  <a:gd name="connsiteY4" fmla="*/ 373857 h 640556"/>
                  <a:gd name="connsiteX5" fmla="*/ 197644 w 578644"/>
                  <a:gd name="connsiteY5" fmla="*/ 485775 h 640556"/>
                  <a:gd name="connsiteX6" fmla="*/ 200025 w 578644"/>
                  <a:gd name="connsiteY6" fmla="*/ 640556 h 640556"/>
                  <a:gd name="connsiteX7" fmla="*/ 366713 w 578644"/>
                  <a:gd name="connsiteY7" fmla="*/ 638175 h 640556"/>
                  <a:gd name="connsiteX8" fmla="*/ 366713 w 578644"/>
                  <a:gd name="connsiteY8" fmla="*/ 576263 h 640556"/>
                  <a:gd name="connsiteX9" fmla="*/ 421482 w 578644"/>
                  <a:gd name="connsiteY9" fmla="*/ 600075 h 640556"/>
                  <a:gd name="connsiteX10" fmla="*/ 578644 w 578644"/>
                  <a:gd name="connsiteY10" fmla="*/ 504825 h 640556"/>
                  <a:gd name="connsiteX11" fmla="*/ 519113 w 578644"/>
                  <a:gd name="connsiteY11" fmla="*/ 373856 h 640556"/>
                  <a:gd name="connsiteX12" fmla="*/ 554832 w 578644"/>
                  <a:gd name="connsiteY12" fmla="*/ 328613 h 640556"/>
                  <a:gd name="connsiteX13" fmla="*/ 554832 w 578644"/>
                  <a:gd name="connsiteY13" fmla="*/ 261938 h 640556"/>
                  <a:gd name="connsiteX14" fmla="*/ 450057 w 578644"/>
                  <a:gd name="connsiteY14" fmla="*/ 202406 h 640556"/>
                  <a:gd name="connsiteX15" fmla="*/ 369094 w 578644"/>
                  <a:gd name="connsiteY15" fmla="*/ 0 h 640556"/>
                  <a:gd name="connsiteX16" fmla="*/ 204788 w 578644"/>
                  <a:gd name="connsiteY16" fmla="*/ 47625 h 640556"/>
                  <a:gd name="connsiteX0" fmla="*/ 204788 w 578644"/>
                  <a:gd name="connsiteY0" fmla="*/ 47625 h 640556"/>
                  <a:gd name="connsiteX1" fmla="*/ 123825 w 578644"/>
                  <a:gd name="connsiteY1" fmla="*/ 19050 h 640556"/>
                  <a:gd name="connsiteX2" fmla="*/ 52388 w 578644"/>
                  <a:gd name="connsiteY2" fmla="*/ 135732 h 640556"/>
                  <a:gd name="connsiteX3" fmla="*/ 133350 w 578644"/>
                  <a:gd name="connsiteY3" fmla="*/ 190500 h 640556"/>
                  <a:gd name="connsiteX4" fmla="*/ 0 w 578644"/>
                  <a:gd name="connsiteY4" fmla="*/ 373857 h 640556"/>
                  <a:gd name="connsiteX5" fmla="*/ 197644 w 578644"/>
                  <a:gd name="connsiteY5" fmla="*/ 485775 h 640556"/>
                  <a:gd name="connsiteX6" fmla="*/ 200025 w 578644"/>
                  <a:gd name="connsiteY6" fmla="*/ 640556 h 640556"/>
                  <a:gd name="connsiteX7" fmla="*/ 366713 w 578644"/>
                  <a:gd name="connsiteY7" fmla="*/ 638175 h 640556"/>
                  <a:gd name="connsiteX8" fmla="*/ 366713 w 578644"/>
                  <a:gd name="connsiteY8" fmla="*/ 576263 h 640556"/>
                  <a:gd name="connsiteX9" fmla="*/ 421482 w 578644"/>
                  <a:gd name="connsiteY9" fmla="*/ 600075 h 640556"/>
                  <a:gd name="connsiteX10" fmla="*/ 578644 w 578644"/>
                  <a:gd name="connsiteY10" fmla="*/ 504825 h 640556"/>
                  <a:gd name="connsiteX11" fmla="*/ 519113 w 578644"/>
                  <a:gd name="connsiteY11" fmla="*/ 373856 h 640556"/>
                  <a:gd name="connsiteX12" fmla="*/ 554832 w 578644"/>
                  <a:gd name="connsiteY12" fmla="*/ 328613 h 640556"/>
                  <a:gd name="connsiteX13" fmla="*/ 554832 w 578644"/>
                  <a:gd name="connsiteY13" fmla="*/ 261938 h 640556"/>
                  <a:gd name="connsiteX14" fmla="*/ 450057 w 578644"/>
                  <a:gd name="connsiteY14" fmla="*/ 202406 h 640556"/>
                  <a:gd name="connsiteX15" fmla="*/ 369094 w 578644"/>
                  <a:gd name="connsiteY15" fmla="*/ 0 h 640556"/>
                  <a:gd name="connsiteX16" fmla="*/ 204788 w 578644"/>
                  <a:gd name="connsiteY16" fmla="*/ 47625 h 640556"/>
                  <a:gd name="connsiteX0" fmla="*/ 214313 w 588169"/>
                  <a:gd name="connsiteY0" fmla="*/ 47625 h 640556"/>
                  <a:gd name="connsiteX1" fmla="*/ 133350 w 588169"/>
                  <a:gd name="connsiteY1" fmla="*/ 19050 h 640556"/>
                  <a:gd name="connsiteX2" fmla="*/ 61913 w 588169"/>
                  <a:gd name="connsiteY2" fmla="*/ 135732 h 640556"/>
                  <a:gd name="connsiteX3" fmla="*/ 142875 w 588169"/>
                  <a:gd name="connsiteY3" fmla="*/ 190500 h 640556"/>
                  <a:gd name="connsiteX4" fmla="*/ 0 w 588169"/>
                  <a:gd name="connsiteY4" fmla="*/ 364332 h 640556"/>
                  <a:gd name="connsiteX5" fmla="*/ 207169 w 588169"/>
                  <a:gd name="connsiteY5" fmla="*/ 485775 h 640556"/>
                  <a:gd name="connsiteX6" fmla="*/ 209550 w 588169"/>
                  <a:gd name="connsiteY6" fmla="*/ 640556 h 640556"/>
                  <a:gd name="connsiteX7" fmla="*/ 376238 w 588169"/>
                  <a:gd name="connsiteY7" fmla="*/ 638175 h 640556"/>
                  <a:gd name="connsiteX8" fmla="*/ 376238 w 588169"/>
                  <a:gd name="connsiteY8" fmla="*/ 576263 h 640556"/>
                  <a:gd name="connsiteX9" fmla="*/ 431007 w 588169"/>
                  <a:gd name="connsiteY9" fmla="*/ 600075 h 640556"/>
                  <a:gd name="connsiteX10" fmla="*/ 588169 w 588169"/>
                  <a:gd name="connsiteY10" fmla="*/ 504825 h 640556"/>
                  <a:gd name="connsiteX11" fmla="*/ 528638 w 588169"/>
                  <a:gd name="connsiteY11" fmla="*/ 373856 h 640556"/>
                  <a:gd name="connsiteX12" fmla="*/ 564357 w 588169"/>
                  <a:gd name="connsiteY12" fmla="*/ 328613 h 640556"/>
                  <a:gd name="connsiteX13" fmla="*/ 564357 w 588169"/>
                  <a:gd name="connsiteY13" fmla="*/ 261938 h 640556"/>
                  <a:gd name="connsiteX14" fmla="*/ 459582 w 588169"/>
                  <a:gd name="connsiteY14" fmla="*/ 202406 h 640556"/>
                  <a:gd name="connsiteX15" fmla="*/ 378619 w 588169"/>
                  <a:gd name="connsiteY15" fmla="*/ 0 h 640556"/>
                  <a:gd name="connsiteX16" fmla="*/ 214313 w 588169"/>
                  <a:gd name="connsiteY16" fmla="*/ 47625 h 640556"/>
                  <a:gd name="connsiteX0" fmla="*/ 214313 w 588169"/>
                  <a:gd name="connsiteY0" fmla="*/ 47625 h 640556"/>
                  <a:gd name="connsiteX1" fmla="*/ 133350 w 588169"/>
                  <a:gd name="connsiteY1" fmla="*/ 19050 h 640556"/>
                  <a:gd name="connsiteX2" fmla="*/ 61913 w 588169"/>
                  <a:gd name="connsiteY2" fmla="*/ 135732 h 640556"/>
                  <a:gd name="connsiteX3" fmla="*/ 142875 w 588169"/>
                  <a:gd name="connsiteY3" fmla="*/ 190500 h 640556"/>
                  <a:gd name="connsiteX4" fmla="*/ 0 w 588169"/>
                  <a:gd name="connsiteY4" fmla="*/ 364332 h 640556"/>
                  <a:gd name="connsiteX5" fmla="*/ 207169 w 588169"/>
                  <a:gd name="connsiteY5" fmla="*/ 485775 h 640556"/>
                  <a:gd name="connsiteX6" fmla="*/ 209550 w 588169"/>
                  <a:gd name="connsiteY6" fmla="*/ 640556 h 640556"/>
                  <a:gd name="connsiteX7" fmla="*/ 376238 w 588169"/>
                  <a:gd name="connsiteY7" fmla="*/ 638175 h 640556"/>
                  <a:gd name="connsiteX8" fmla="*/ 376238 w 588169"/>
                  <a:gd name="connsiteY8" fmla="*/ 576263 h 640556"/>
                  <a:gd name="connsiteX9" fmla="*/ 431007 w 588169"/>
                  <a:gd name="connsiteY9" fmla="*/ 600075 h 640556"/>
                  <a:gd name="connsiteX10" fmla="*/ 588169 w 588169"/>
                  <a:gd name="connsiteY10" fmla="*/ 504825 h 640556"/>
                  <a:gd name="connsiteX11" fmla="*/ 528638 w 588169"/>
                  <a:gd name="connsiteY11" fmla="*/ 373856 h 640556"/>
                  <a:gd name="connsiteX12" fmla="*/ 564357 w 588169"/>
                  <a:gd name="connsiteY12" fmla="*/ 328613 h 640556"/>
                  <a:gd name="connsiteX13" fmla="*/ 564357 w 588169"/>
                  <a:gd name="connsiteY13" fmla="*/ 261938 h 640556"/>
                  <a:gd name="connsiteX14" fmla="*/ 459582 w 588169"/>
                  <a:gd name="connsiteY14" fmla="*/ 202406 h 640556"/>
                  <a:gd name="connsiteX15" fmla="*/ 378619 w 588169"/>
                  <a:gd name="connsiteY15" fmla="*/ 0 h 640556"/>
                  <a:gd name="connsiteX16" fmla="*/ 214313 w 588169"/>
                  <a:gd name="connsiteY16" fmla="*/ 47625 h 640556"/>
                  <a:gd name="connsiteX0" fmla="*/ 214313 w 588169"/>
                  <a:gd name="connsiteY0" fmla="*/ 47625 h 640556"/>
                  <a:gd name="connsiteX1" fmla="*/ 133350 w 588169"/>
                  <a:gd name="connsiteY1" fmla="*/ 19050 h 640556"/>
                  <a:gd name="connsiteX2" fmla="*/ 61913 w 588169"/>
                  <a:gd name="connsiteY2" fmla="*/ 135732 h 640556"/>
                  <a:gd name="connsiteX3" fmla="*/ 142875 w 588169"/>
                  <a:gd name="connsiteY3" fmla="*/ 190500 h 640556"/>
                  <a:gd name="connsiteX4" fmla="*/ 0 w 588169"/>
                  <a:gd name="connsiteY4" fmla="*/ 364332 h 640556"/>
                  <a:gd name="connsiteX5" fmla="*/ 207169 w 588169"/>
                  <a:gd name="connsiteY5" fmla="*/ 485775 h 640556"/>
                  <a:gd name="connsiteX6" fmla="*/ 209550 w 588169"/>
                  <a:gd name="connsiteY6" fmla="*/ 640556 h 640556"/>
                  <a:gd name="connsiteX7" fmla="*/ 376238 w 588169"/>
                  <a:gd name="connsiteY7" fmla="*/ 638175 h 640556"/>
                  <a:gd name="connsiteX8" fmla="*/ 376238 w 588169"/>
                  <a:gd name="connsiteY8" fmla="*/ 576263 h 640556"/>
                  <a:gd name="connsiteX9" fmla="*/ 431007 w 588169"/>
                  <a:gd name="connsiteY9" fmla="*/ 600075 h 640556"/>
                  <a:gd name="connsiteX10" fmla="*/ 588169 w 588169"/>
                  <a:gd name="connsiteY10" fmla="*/ 504825 h 640556"/>
                  <a:gd name="connsiteX11" fmla="*/ 528638 w 588169"/>
                  <a:gd name="connsiteY11" fmla="*/ 373856 h 640556"/>
                  <a:gd name="connsiteX12" fmla="*/ 564357 w 588169"/>
                  <a:gd name="connsiteY12" fmla="*/ 328613 h 640556"/>
                  <a:gd name="connsiteX13" fmla="*/ 564357 w 588169"/>
                  <a:gd name="connsiteY13" fmla="*/ 261938 h 640556"/>
                  <a:gd name="connsiteX14" fmla="*/ 459582 w 588169"/>
                  <a:gd name="connsiteY14" fmla="*/ 202406 h 640556"/>
                  <a:gd name="connsiteX15" fmla="*/ 378619 w 588169"/>
                  <a:gd name="connsiteY15" fmla="*/ 0 h 640556"/>
                  <a:gd name="connsiteX16" fmla="*/ 214313 w 588169"/>
                  <a:gd name="connsiteY16" fmla="*/ 47625 h 640556"/>
                  <a:gd name="connsiteX0" fmla="*/ 214313 w 588169"/>
                  <a:gd name="connsiteY0" fmla="*/ 45244 h 638175"/>
                  <a:gd name="connsiteX1" fmla="*/ 133350 w 588169"/>
                  <a:gd name="connsiteY1" fmla="*/ 16669 h 638175"/>
                  <a:gd name="connsiteX2" fmla="*/ 61913 w 588169"/>
                  <a:gd name="connsiteY2" fmla="*/ 133351 h 638175"/>
                  <a:gd name="connsiteX3" fmla="*/ 142875 w 588169"/>
                  <a:gd name="connsiteY3" fmla="*/ 188119 h 638175"/>
                  <a:gd name="connsiteX4" fmla="*/ 0 w 588169"/>
                  <a:gd name="connsiteY4" fmla="*/ 361951 h 638175"/>
                  <a:gd name="connsiteX5" fmla="*/ 207169 w 588169"/>
                  <a:gd name="connsiteY5" fmla="*/ 483394 h 638175"/>
                  <a:gd name="connsiteX6" fmla="*/ 209550 w 588169"/>
                  <a:gd name="connsiteY6" fmla="*/ 638175 h 638175"/>
                  <a:gd name="connsiteX7" fmla="*/ 376238 w 588169"/>
                  <a:gd name="connsiteY7" fmla="*/ 635794 h 638175"/>
                  <a:gd name="connsiteX8" fmla="*/ 376238 w 588169"/>
                  <a:gd name="connsiteY8" fmla="*/ 573882 h 638175"/>
                  <a:gd name="connsiteX9" fmla="*/ 431007 w 588169"/>
                  <a:gd name="connsiteY9" fmla="*/ 597694 h 638175"/>
                  <a:gd name="connsiteX10" fmla="*/ 588169 w 588169"/>
                  <a:gd name="connsiteY10" fmla="*/ 502444 h 638175"/>
                  <a:gd name="connsiteX11" fmla="*/ 528638 w 588169"/>
                  <a:gd name="connsiteY11" fmla="*/ 371475 h 638175"/>
                  <a:gd name="connsiteX12" fmla="*/ 564357 w 588169"/>
                  <a:gd name="connsiteY12" fmla="*/ 326232 h 638175"/>
                  <a:gd name="connsiteX13" fmla="*/ 564357 w 588169"/>
                  <a:gd name="connsiteY13" fmla="*/ 259557 h 638175"/>
                  <a:gd name="connsiteX14" fmla="*/ 459582 w 588169"/>
                  <a:gd name="connsiteY14" fmla="*/ 200025 h 638175"/>
                  <a:gd name="connsiteX15" fmla="*/ 390526 w 588169"/>
                  <a:gd name="connsiteY15" fmla="*/ 0 h 638175"/>
                  <a:gd name="connsiteX16" fmla="*/ 214313 w 588169"/>
                  <a:gd name="connsiteY16" fmla="*/ 45244 h 638175"/>
                  <a:gd name="connsiteX0" fmla="*/ 214313 w 588169"/>
                  <a:gd name="connsiteY0" fmla="*/ 45244 h 638175"/>
                  <a:gd name="connsiteX1" fmla="*/ 133350 w 588169"/>
                  <a:gd name="connsiteY1" fmla="*/ 16669 h 638175"/>
                  <a:gd name="connsiteX2" fmla="*/ 61913 w 588169"/>
                  <a:gd name="connsiteY2" fmla="*/ 133351 h 638175"/>
                  <a:gd name="connsiteX3" fmla="*/ 142875 w 588169"/>
                  <a:gd name="connsiteY3" fmla="*/ 188119 h 638175"/>
                  <a:gd name="connsiteX4" fmla="*/ 0 w 588169"/>
                  <a:gd name="connsiteY4" fmla="*/ 361951 h 638175"/>
                  <a:gd name="connsiteX5" fmla="*/ 207169 w 588169"/>
                  <a:gd name="connsiteY5" fmla="*/ 483394 h 638175"/>
                  <a:gd name="connsiteX6" fmla="*/ 209550 w 588169"/>
                  <a:gd name="connsiteY6" fmla="*/ 638175 h 638175"/>
                  <a:gd name="connsiteX7" fmla="*/ 376238 w 588169"/>
                  <a:gd name="connsiteY7" fmla="*/ 635794 h 638175"/>
                  <a:gd name="connsiteX8" fmla="*/ 376238 w 588169"/>
                  <a:gd name="connsiteY8" fmla="*/ 573882 h 638175"/>
                  <a:gd name="connsiteX9" fmla="*/ 431007 w 588169"/>
                  <a:gd name="connsiteY9" fmla="*/ 597694 h 638175"/>
                  <a:gd name="connsiteX10" fmla="*/ 588169 w 588169"/>
                  <a:gd name="connsiteY10" fmla="*/ 502444 h 638175"/>
                  <a:gd name="connsiteX11" fmla="*/ 528638 w 588169"/>
                  <a:gd name="connsiteY11" fmla="*/ 371475 h 638175"/>
                  <a:gd name="connsiteX12" fmla="*/ 564357 w 588169"/>
                  <a:gd name="connsiteY12" fmla="*/ 326232 h 638175"/>
                  <a:gd name="connsiteX13" fmla="*/ 564357 w 588169"/>
                  <a:gd name="connsiteY13" fmla="*/ 259557 h 638175"/>
                  <a:gd name="connsiteX14" fmla="*/ 459582 w 588169"/>
                  <a:gd name="connsiteY14" fmla="*/ 188119 h 638175"/>
                  <a:gd name="connsiteX15" fmla="*/ 390526 w 588169"/>
                  <a:gd name="connsiteY15" fmla="*/ 0 h 638175"/>
                  <a:gd name="connsiteX16" fmla="*/ 214313 w 588169"/>
                  <a:gd name="connsiteY16" fmla="*/ 45244 h 638175"/>
                  <a:gd name="connsiteX0" fmla="*/ 259557 w 588169"/>
                  <a:gd name="connsiteY0" fmla="*/ 69056 h 638175"/>
                  <a:gd name="connsiteX1" fmla="*/ 133350 w 588169"/>
                  <a:gd name="connsiteY1" fmla="*/ 16669 h 638175"/>
                  <a:gd name="connsiteX2" fmla="*/ 61913 w 588169"/>
                  <a:gd name="connsiteY2" fmla="*/ 133351 h 638175"/>
                  <a:gd name="connsiteX3" fmla="*/ 142875 w 588169"/>
                  <a:gd name="connsiteY3" fmla="*/ 188119 h 638175"/>
                  <a:gd name="connsiteX4" fmla="*/ 0 w 588169"/>
                  <a:gd name="connsiteY4" fmla="*/ 361951 h 638175"/>
                  <a:gd name="connsiteX5" fmla="*/ 207169 w 588169"/>
                  <a:gd name="connsiteY5" fmla="*/ 483394 h 638175"/>
                  <a:gd name="connsiteX6" fmla="*/ 209550 w 588169"/>
                  <a:gd name="connsiteY6" fmla="*/ 638175 h 638175"/>
                  <a:gd name="connsiteX7" fmla="*/ 376238 w 588169"/>
                  <a:gd name="connsiteY7" fmla="*/ 635794 h 638175"/>
                  <a:gd name="connsiteX8" fmla="*/ 376238 w 588169"/>
                  <a:gd name="connsiteY8" fmla="*/ 573882 h 638175"/>
                  <a:gd name="connsiteX9" fmla="*/ 431007 w 588169"/>
                  <a:gd name="connsiteY9" fmla="*/ 597694 h 638175"/>
                  <a:gd name="connsiteX10" fmla="*/ 588169 w 588169"/>
                  <a:gd name="connsiteY10" fmla="*/ 502444 h 638175"/>
                  <a:gd name="connsiteX11" fmla="*/ 528638 w 588169"/>
                  <a:gd name="connsiteY11" fmla="*/ 371475 h 638175"/>
                  <a:gd name="connsiteX12" fmla="*/ 564357 w 588169"/>
                  <a:gd name="connsiteY12" fmla="*/ 326232 h 638175"/>
                  <a:gd name="connsiteX13" fmla="*/ 564357 w 588169"/>
                  <a:gd name="connsiteY13" fmla="*/ 259557 h 638175"/>
                  <a:gd name="connsiteX14" fmla="*/ 459582 w 588169"/>
                  <a:gd name="connsiteY14" fmla="*/ 188119 h 638175"/>
                  <a:gd name="connsiteX15" fmla="*/ 390526 w 588169"/>
                  <a:gd name="connsiteY15" fmla="*/ 0 h 638175"/>
                  <a:gd name="connsiteX16" fmla="*/ 259557 w 588169"/>
                  <a:gd name="connsiteY16" fmla="*/ 69056 h 638175"/>
                  <a:gd name="connsiteX0" fmla="*/ 252413 w 588169"/>
                  <a:gd name="connsiteY0" fmla="*/ 73819 h 638175"/>
                  <a:gd name="connsiteX1" fmla="*/ 133350 w 588169"/>
                  <a:gd name="connsiteY1" fmla="*/ 16669 h 638175"/>
                  <a:gd name="connsiteX2" fmla="*/ 61913 w 588169"/>
                  <a:gd name="connsiteY2" fmla="*/ 133351 h 638175"/>
                  <a:gd name="connsiteX3" fmla="*/ 142875 w 588169"/>
                  <a:gd name="connsiteY3" fmla="*/ 188119 h 638175"/>
                  <a:gd name="connsiteX4" fmla="*/ 0 w 588169"/>
                  <a:gd name="connsiteY4" fmla="*/ 361951 h 638175"/>
                  <a:gd name="connsiteX5" fmla="*/ 207169 w 588169"/>
                  <a:gd name="connsiteY5" fmla="*/ 483394 h 638175"/>
                  <a:gd name="connsiteX6" fmla="*/ 209550 w 588169"/>
                  <a:gd name="connsiteY6" fmla="*/ 638175 h 638175"/>
                  <a:gd name="connsiteX7" fmla="*/ 376238 w 588169"/>
                  <a:gd name="connsiteY7" fmla="*/ 635794 h 638175"/>
                  <a:gd name="connsiteX8" fmla="*/ 376238 w 588169"/>
                  <a:gd name="connsiteY8" fmla="*/ 573882 h 638175"/>
                  <a:gd name="connsiteX9" fmla="*/ 431007 w 588169"/>
                  <a:gd name="connsiteY9" fmla="*/ 597694 h 638175"/>
                  <a:gd name="connsiteX10" fmla="*/ 588169 w 588169"/>
                  <a:gd name="connsiteY10" fmla="*/ 502444 h 638175"/>
                  <a:gd name="connsiteX11" fmla="*/ 528638 w 588169"/>
                  <a:gd name="connsiteY11" fmla="*/ 371475 h 638175"/>
                  <a:gd name="connsiteX12" fmla="*/ 564357 w 588169"/>
                  <a:gd name="connsiteY12" fmla="*/ 326232 h 638175"/>
                  <a:gd name="connsiteX13" fmla="*/ 564357 w 588169"/>
                  <a:gd name="connsiteY13" fmla="*/ 259557 h 638175"/>
                  <a:gd name="connsiteX14" fmla="*/ 459582 w 588169"/>
                  <a:gd name="connsiteY14" fmla="*/ 188119 h 638175"/>
                  <a:gd name="connsiteX15" fmla="*/ 390526 w 588169"/>
                  <a:gd name="connsiteY15" fmla="*/ 0 h 638175"/>
                  <a:gd name="connsiteX16" fmla="*/ 252413 w 588169"/>
                  <a:gd name="connsiteY16" fmla="*/ 73819 h 638175"/>
                  <a:gd name="connsiteX0" fmla="*/ 252413 w 588169"/>
                  <a:gd name="connsiteY0" fmla="*/ 73819 h 638175"/>
                  <a:gd name="connsiteX1" fmla="*/ 140494 w 588169"/>
                  <a:gd name="connsiteY1" fmla="*/ 16669 h 638175"/>
                  <a:gd name="connsiteX2" fmla="*/ 61913 w 588169"/>
                  <a:gd name="connsiteY2" fmla="*/ 133351 h 638175"/>
                  <a:gd name="connsiteX3" fmla="*/ 142875 w 588169"/>
                  <a:gd name="connsiteY3" fmla="*/ 188119 h 638175"/>
                  <a:gd name="connsiteX4" fmla="*/ 0 w 588169"/>
                  <a:gd name="connsiteY4" fmla="*/ 361951 h 638175"/>
                  <a:gd name="connsiteX5" fmla="*/ 207169 w 588169"/>
                  <a:gd name="connsiteY5" fmla="*/ 483394 h 638175"/>
                  <a:gd name="connsiteX6" fmla="*/ 209550 w 588169"/>
                  <a:gd name="connsiteY6" fmla="*/ 638175 h 638175"/>
                  <a:gd name="connsiteX7" fmla="*/ 376238 w 588169"/>
                  <a:gd name="connsiteY7" fmla="*/ 635794 h 638175"/>
                  <a:gd name="connsiteX8" fmla="*/ 376238 w 588169"/>
                  <a:gd name="connsiteY8" fmla="*/ 573882 h 638175"/>
                  <a:gd name="connsiteX9" fmla="*/ 431007 w 588169"/>
                  <a:gd name="connsiteY9" fmla="*/ 597694 h 638175"/>
                  <a:gd name="connsiteX10" fmla="*/ 588169 w 588169"/>
                  <a:gd name="connsiteY10" fmla="*/ 502444 h 638175"/>
                  <a:gd name="connsiteX11" fmla="*/ 528638 w 588169"/>
                  <a:gd name="connsiteY11" fmla="*/ 371475 h 638175"/>
                  <a:gd name="connsiteX12" fmla="*/ 564357 w 588169"/>
                  <a:gd name="connsiteY12" fmla="*/ 326232 h 638175"/>
                  <a:gd name="connsiteX13" fmla="*/ 564357 w 588169"/>
                  <a:gd name="connsiteY13" fmla="*/ 259557 h 638175"/>
                  <a:gd name="connsiteX14" fmla="*/ 459582 w 588169"/>
                  <a:gd name="connsiteY14" fmla="*/ 188119 h 638175"/>
                  <a:gd name="connsiteX15" fmla="*/ 390526 w 588169"/>
                  <a:gd name="connsiteY15" fmla="*/ 0 h 638175"/>
                  <a:gd name="connsiteX16" fmla="*/ 252413 w 588169"/>
                  <a:gd name="connsiteY16" fmla="*/ 73819 h 638175"/>
                  <a:gd name="connsiteX0" fmla="*/ 252413 w 588169"/>
                  <a:gd name="connsiteY0" fmla="*/ 73819 h 647983"/>
                  <a:gd name="connsiteX1" fmla="*/ 140494 w 588169"/>
                  <a:gd name="connsiteY1" fmla="*/ 16669 h 647983"/>
                  <a:gd name="connsiteX2" fmla="*/ 61913 w 588169"/>
                  <a:gd name="connsiteY2" fmla="*/ 133351 h 647983"/>
                  <a:gd name="connsiteX3" fmla="*/ 142875 w 588169"/>
                  <a:gd name="connsiteY3" fmla="*/ 188119 h 647983"/>
                  <a:gd name="connsiteX4" fmla="*/ 0 w 588169"/>
                  <a:gd name="connsiteY4" fmla="*/ 361951 h 647983"/>
                  <a:gd name="connsiteX5" fmla="*/ 207169 w 588169"/>
                  <a:gd name="connsiteY5" fmla="*/ 483394 h 647983"/>
                  <a:gd name="connsiteX6" fmla="*/ 209550 w 588169"/>
                  <a:gd name="connsiteY6" fmla="*/ 638175 h 647983"/>
                  <a:gd name="connsiteX7" fmla="*/ 376238 w 588169"/>
                  <a:gd name="connsiteY7" fmla="*/ 635794 h 647983"/>
                  <a:gd name="connsiteX8" fmla="*/ 376238 w 588169"/>
                  <a:gd name="connsiteY8" fmla="*/ 573882 h 647983"/>
                  <a:gd name="connsiteX9" fmla="*/ 431007 w 588169"/>
                  <a:gd name="connsiteY9" fmla="*/ 597694 h 647983"/>
                  <a:gd name="connsiteX10" fmla="*/ 588169 w 588169"/>
                  <a:gd name="connsiteY10" fmla="*/ 502444 h 647983"/>
                  <a:gd name="connsiteX11" fmla="*/ 528638 w 588169"/>
                  <a:gd name="connsiteY11" fmla="*/ 371475 h 647983"/>
                  <a:gd name="connsiteX12" fmla="*/ 564357 w 588169"/>
                  <a:gd name="connsiteY12" fmla="*/ 326232 h 647983"/>
                  <a:gd name="connsiteX13" fmla="*/ 564357 w 588169"/>
                  <a:gd name="connsiteY13" fmla="*/ 259557 h 647983"/>
                  <a:gd name="connsiteX14" fmla="*/ 459582 w 588169"/>
                  <a:gd name="connsiteY14" fmla="*/ 188119 h 647983"/>
                  <a:gd name="connsiteX15" fmla="*/ 390526 w 588169"/>
                  <a:gd name="connsiteY15" fmla="*/ 0 h 647983"/>
                  <a:gd name="connsiteX16" fmla="*/ 252413 w 588169"/>
                  <a:gd name="connsiteY16" fmla="*/ 73819 h 647983"/>
                  <a:gd name="connsiteX0" fmla="*/ 252413 w 588169"/>
                  <a:gd name="connsiteY0" fmla="*/ 73819 h 651653"/>
                  <a:gd name="connsiteX1" fmla="*/ 140494 w 588169"/>
                  <a:gd name="connsiteY1" fmla="*/ 16669 h 651653"/>
                  <a:gd name="connsiteX2" fmla="*/ 61913 w 588169"/>
                  <a:gd name="connsiteY2" fmla="*/ 133351 h 651653"/>
                  <a:gd name="connsiteX3" fmla="*/ 142875 w 588169"/>
                  <a:gd name="connsiteY3" fmla="*/ 188119 h 651653"/>
                  <a:gd name="connsiteX4" fmla="*/ 0 w 588169"/>
                  <a:gd name="connsiteY4" fmla="*/ 361951 h 651653"/>
                  <a:gd name="connsiteX5" fmla="*/ 207169 w 588169"/>
                  <a:gd name="connsiteY5" fmla="*/ 483394 h 651653"/>
                  <a:gd name="connsiteX6" fmla="*/ 209550 w 588169"/>
                  <a:gd name="connsiteY6" fmla="*/ 638175 h 651653"/>
                  <a:gd name="connsiteX7" fmla="*/ 376238 w 588169"/>
                  <a:gd name="connsiteY7" fmla="*/ 635794 h 651653"/>
                  <a:gd name="connsiteX8" fmla="*/ 376238 w 588169"/>
                  <a:gd name="connsiteY8" fmla="*/ 573882 h 651653"/>
                  <a:gd name="connsiteX9" fmla="*/ 431007 w 588169"/>
                  <a:gd name="connsiteY9" fmla="*/ 597694 h 651653"/>
                  <a:gd name="connsiteX10" fmla="*/ 588169 w 588169"/>
                  <a:gd name="connsiteY10" fmla="*/ 502444 h 651653"/>
                  <a:gd name="connsiteX11" fmla="*/ 528638 w 588169"/>
                  <a:gd name="connsiteY11" fmla="*/ 371475 h 651653"/>
                  <a:gd name="connsiteX12" fmla="*/ 564357 w 588169"/>
                  <a:gd name="connsiteY12" fmla="*/ 326232 h 651653"/>
                  <a:gd name="connsiteX13" fmla="*/ 564357 w 588169"/>
                  <a:gd name="connsiteY13" fmla="*/ 259557 h 651653"/>
                  <a:gd name="connsiteX14" fmla="*/ 459582 w 588169"/>
                  <a:gd name="connsiteY14" fmla="*/ 188119 h 651653"/>
                  <a:gd name="connsiteX15" fmla="*/ 390526 w 588169"/>
                  <a:gd name="connsiteY15" fmla="*/ 0 h 651653"/>
                  <a:gd name="connsiteX16" fmla="*/ 252413 w 588169"/>
                  <a:gd name="connsiteY16" fmla="*/ 73819 h 651653"/>
                  <a:gd name="connsiteX0" fmla="*/ 252413 w 588169"/>
                  <a:gd name="connsiteY0" fmla="*/ 73819 h 643973"/>
                  <a:gd name="connsiteX1" fmla="*/ 140494 w 588169"/>
                  <a:gd name="connsiteY1" fmla="*/ 16669 h 643973"/>
                  <a:gd name="connsiteX2" fmla="*/ 61913 w 588169"/>
                  <a:gd name="connsiteY2" fmla="*/ 133351 h 643973"/>
                  <a:gd name="connsiteX3" fmla="*/ 142875 w 588169"/>
                  <a:gd name="connsiteY3" fmla="*/ 188119 h 643973"/>
                  <a:gd name="connsiteX4" fmla="*/ 0 w 588169"/>
                  <a:gd name="connsiteY4" fmla="*/ 361951 h 643973"/>
                  <a:gd name="connsiteX5" fmla="*/ 207169 w 588169"/>
                  <a:gd name="connsiteY5" fmla="*/ 483394 h 643973"/>
                  <a:gd name="connsiteX6" fmla="*/ 209550 w 588169"/>
                  <a:gd name="connsiteY6" fmla="*/ 621506 h 643973"/>
                  <a:gd name="connsiteX7" fmla="*/ 376238 w 588169"/>
                  <a:gd name="connsiteY7" fmla="*/ 635794 h 643973"/>
                  <a:gd name="connsiteX8" fmla="*/ 376238 w 588169"/>
                  <a:gd name="connsiteY8" fmla="*/ 573882 h 643973"/>
                  <a:gd name="connsiteX9" fmla="*/ 431007 w 588169"/>
                  <a:gd name="connsiteY9" fmla="*/ 597694 h 643973"/>
                  <a:gd name="connsiteX10" fmla="*/ 588169 w 588169"/>
                  <a:gd name="connsiteY10" fmla="*/ 502444 h 643973"/>
                  <a:gd name="connsiteX11" fmla="*/ 528638 w 588169"/>
                  <a:gd name="connsiteY11" fmla="*/ 371475 h 643973"/>
                  <a:gd name="connsiteX12" fmla="*/ 564357 w 588169"/>
                  <a:gd name="connsiteY12" fmla="*/ 326232 h 643973"/>
                  <a:gd name="connsiteX13" fmla="*/ 564357 w 588169"/>
                  <a:gd name="connsiteY13" fmla="*/ 259557 h 643973"/>
                  <a:gd name="connsiteX14" fmla="*/ 459582 w 588169"/>
                  <a:gd name="connsiteY14" fmla="*/ 188119 h 643973"/>
                  <a:gd name="connsiteX15" fmla="*/ 390526 w 588169"/>
                  <a:gd name="connsiteY15" fmla="*/ 0 h 643973"/>
                  <a:gd name="connsiteX16" fmla="*/ 252413 w 588169"/>
                  <a:gd name="connsiteY16" fmla="*/ 73819 h 643973"/>
                  <a:gd name="connsiteX0" fmla="*/ 252413 w 588169"/>
                  <a:gd name="connsiteY0" fmla="*/ 73819 h 647547"/>
                  <a:gd name="connsiteX1" fmla="*/ 140494 w 588169"/>
                  <a:gd name="connsiteY1" fmla="*/ 16669 h 647547"/>
                  <a:gd name="connsiteX2" fmla="*/ 61913 w 588169"/>
                  <a:gd name="connsiteY2" fmla="*/ 133351 h 647547"/>
                  <a:gd name="connsiteX3" fmla="*/ 142875 w 588169"/>
                  <a:gd name="connsiteY3" fmla="*/ 188119 h 647547"/>
                  <a:gd name="connsiteX4" fmla="*/ 0 w 588169"/>
                  <a:gd name="connsiteY4" fmla="*/ 361951 h 647547"/>
                  <a:gd name="connsiteX5" fmla="*/ 207169 w 588169"/>
                  <a:gd name="connsiteY5" fmla="*/ 483394 h 647547"/>
                  <a:gd name="connsiteX6" fmla="*/ 209550 w 588169"/>
                  <a:gd name="connsiteY6" fmla="*/ 621506 h 647547"/>
                  <a:gd name="connsiteX7" fmla="*/ 376238 w 588169"/>
                  <a:gd name="connsiteY7" fmla="*/ 635794 h 647547"/>
                  <a:gd name="connsiteX8" fmla="*/ 376238 w 588169"/>
                  <a:gd name="connsiteY8" fmla="*/ 573882 h 647547"/>
                  <a:gd name="connsiteX9" fmla="*/ 431007 w 588169"/>
                  <a:gd name="connsiteY9" fmla="*/ 597694 h 647547"/>
                  <a:gd name="connsiteX10" fmla="*/ 588169 w 588169"/>
                  <a:gd name="connsiteY10" fmla="*/ 502444 h 647547"/>
                  <a:gd name="connsiteX11" fmla="*/ 528638 w 588169"/>
                  <a:gd name="connsiteY11" fmla="*/ 371475 h 647547"/>
                  <a:gd name="connsiteX12" fmla="*/ 564357 w 588169"/>
                  <a:gd name="connsiteY12" fmla="*/ 326232 h 647547"/>
                  <a:gd name="connsiteX13" fmla="*/ 564357 w 588169"/>
                  <a:gd name="connsiteY13" fmla="*/ 259557 h 647547"/>
                  <a:gd name="connsiteX14" fmla="*/ 459582 w 588169"/>
                  <a:gd name="connsiteY14" fmla="*/ 188119 h 647547"/>
                  <a:gd name="connsiteX15" fmla="*/ 390526 w 588169"/>
                  <a:gd name="connsiteY15" fmla="*/ 0 h 647547"/>
                  <a:gd name="connsiteX16" fmla="*/ 252413 w 588169"/>
                  <a:gd name="connsiteY16" fmla="*/ 73819 h 647547"/>
                  <a:gd name="connsiteX0" fmla="*/ 252413 w 588169"/>
                  <a:gd name="connsiteY0" fmla="*/ 73819 h 647547"/>
                  <a:gd name="connsiteX1" fmla="*/ 140494 w 588169"/>
                  <a:gd name="connsiteY1" fmla="*/ 16669 h 647547"/>
                  <a:gd name="connsiteX2" fmla="*/ 61913 w 588169"/>
                  <a:gd name="connsiteY2" fmla="*/ 133351 h 647547"/>
                  <a:gd name="connsiteX3" fmla="*/ 142875 w 588169"/>
                  <a:gd name="connsiteY3" fmla="*/ 188119 h 647547"/>
                  <a:gd name="connsiteX4" fmla="*/ 0 w 588169"/>
                  <a:gd name="connsiteY4" fmla="*/ 361951 h 647547"/>
                  <a:gd name="connsiteX5" fmla="*/ 207169 w 588169"/>
                  <a:gd name="connsiteY5" fmla="*/ 483394 h 647547"/>
                  <a:gd name="connsiteX6" fmla="*/ 209550 w 588169"/>
                  <a:gd name="connsiteY6" fmla="*/ 621506 h 647547"/>
                  <a:gd name="connsiteX7" fmla="*/ 376238 w 588169"/>
                  <a:gd name="connsiteY7" fmla="*/ 635794 h 647547"/>
                  <a:gd name="connsiteX8" fmla="*/ 376238 w 588169"/>
                  <a:gd name="connsiteY8" fmla="*/ 573882 h 647547"/>
                  <a:gd name="connsiteX9" fmla="*/ 431007 w 588169"/>
                  <a:gd name="connsiteY9" fmla="*/ 597694 h 647547"/>
                  <a:gd name="connsiteX10" fmla="*/ 588169 w 588169"/>
                  <a:gd name="connsiteY10" fmla="*/ 502444 h 647547"/>
                  <a:gd name="connsiteX11" fmla="*/ 528638 w 588169"/>
                  <a:gd name="connsiteY11" fmla="*/ 371475 h 647547"/>
                  <a:gd name="connsiteX12" fmla="*/ 564357 w 588169"/>
                  <a:gd name="connsiteY12" fmla="*/ 326232 h 647547"/>
                  <a:gd name="connsiteX13" fmla="*/ 564357 w 588169"/>
                  <a:gd name="connsiteY13" fmla="*/ 259557 h 647547"/>
                  <a:gd name="connsiteX14" fmla="*/ 459582 w 588169"/>
                  <a:gd name="connsiteY14" fmla="*/ 188119 h 647547"/>
                  <a:gd name="connsiteX15" fmla="*/ 390526 w 588169"/>
                  <a:gd name="connsiteY15" fmla="*/ 0 h 647547"/>
                  <a:gd name="connsiteX16" fmla="*/ 252413 w 588169"/>
                  <a:gd name="connsiteY16" fmla="*/ 73819 h 647547"/>
                  <a:gd name="connsiteX0" fmla="*/ 238125 w 573881"/>
                  <a:gd name="connsiteY0" fmla="*/ 73819 h 647547"/>
                  <a:gd name="connsiteX1" fmla="*/ 126206 w 573881"/>
                  <a:gd name="connsiteY1" fmla="*/ 16669 h 647547"/>
                  <a:gd name="connsiteX2" fmla="*/ 47625 w 573881"/>
                  <a:gd name="connsiteY2" fmla="*/ 133351 h 647547"/>
                  <a:gd name="connsiteX3" fmla="*/ 128587 w 573881"/>
                  <a:gd name="connsiteY3" fmla="*/ 188119 h 647547"/>
                  <a:gd name="connsiteX4" fmla="*/ 0 w 573881"/>
                  <a:gd name="connsiteY4" fmla="*/ 359570 h 647547"/>
                  <a:gd name="connsiteX5" fmla="*/ 192881 w 573881"/>
                  <a:gd name="connsiteY5" fmla="*/ 483394 h 647547"/>
                  <a:gd name="connsiteX6" fmla="*/ 195262 w 573881"/>
                  <a:gd name="connsiteY6" fmla="*/ 621506 h 647547"/>
                  <a:gd name="connsiteX7" fmla="*/ 361950 w 573881"/>
                  <a:gd name="connsiteY7" fmla="*/ 635794 h 647547"/>
                  <a:gd name="connsiteX8" fmla="*/ 361950 w 573881"/>
                  <a:gd name="connsiteY8" fmla="*/ 573882 h 647547"/>
                  <a:gd name="connsiteX9" fmla="*/ 416719 w 573881"/>
                  <a:gd name="connsiteY9" fmla="*/ 597694 h 647547"/>
                  <a:gd name="connsiteX10" fmla="*/ 573881 w 573881"/>
                  <a:gd name="connsiteY10" fmla="*/ 502444 h 647547"/>
                  <a:gd name="connsiteX11" fmla="*/ 514350 w 573881"/>
                  <a:gd name="connsiteY11" fmla="*/ 371475 h 647547"/>
                  <a:gd name="connsiteX12" fmla="*/ 550069 w 573881"/>
                  <a:gd name="connsiteY12" fmla="*/ 326232 h 647547"/>
                  <a:gd name="connsiteX13" fmla="*/ 550069 w 573881"/>
                  <a:gd name="connsiteY13" fmla="*/ 259557 h 647547"/>
                  <a:gd name="connsiteX14" fmla="*/ 445294 w 573881"/>
                  <a:gd name="connsiteY14" fmla="*/ 188119 h 647547"/>
                  <a:gd name="connsiteX15" fmla="*/ 376238 w 573881"/>
                  <a:gd name="connsiteY15" fmla="*/ 0 h 647547"/>
                  <a:gd name="connsiteX16" fmla="*/ 238125 w 573881"/>
                  <a:gd name="connsiteY16" fmla="*/ 73819 h 647547"/>
                  <a:gd name="connsiteX0" fmla="*/ 238125 w 573881"/>
                  <a:gd name="connsiteY0" fmla="*/ 73819 h 647547"/>
                  <a:gd name="connsiteX1" fmla="*/ 126206 w 573881"/>
                  <a:gd name="connsiteY1" fmla="*/ 16669 h 647547"/>
                  <a:gd name="connsiteX2" fmla="*/ 47625 w 573881"/>
                  <a:gd name="connsiteY2" fmla="*/ 133351 h 647547"/>
                  <a:gd name="connsiteX3" fmla="*/ 128587 w 573881"/>
                  <a:gd name="connsiteY3" fmla="*/ 188119 h 647547"/>
                  <a:gd name="connsiteX4" fmla="*/ 0 w 573881"/>
                  <a:gd name="connsiteY4" fmla="*/ 359570 h 647547"/>
                  <a:gd name="connsiteX5" fmla="*/ 197644 w 573881"/>
                  <a:gd name="connsiteY5" fmla="*/ 473869 h 647547"/>
                  <a:gd name="connsiteX6" fmla="*/ 195262 w 573881"/>
                  <a:gd name="connsiteY6" fmla="*/ 621506 h 647547"/>
                  <a:gd name="connsiteX7" fmla="*/ 361950 w 573881"/>
                  <a:gd name="connsiteY7" fmla="*/ 635794 h 647547"/>
                  <a:gd name="connsiteX8" fmla="*/ 361950 w 573881"/>
                  <a:gd name="connsiteY8" fmla="*/ 573882 h 647547"/>
                  <a:gd name="connsiteX9" fmla="*/ 416719 w 573881"/>
                  <a:gd name="connsiteY9" fmla="*/ 597694 h 647547"/>
                  <a:gd name="connsiteX10" fmla="*/ 573881 w 573881"/>
                  <a:gd name="connsiteY10" fmla="*/ 502444 h 647547"/>
                  <a:gd name="connsiteX11" fmla="*/ 514350 w 573881"/>
                  <a:gd name="connsiteY11" fmla="*/ 371475 h 647547"/>
                  <a:gd name="connsiteX12" fmla="*/ 550069 w 573881"/>
                  <a:gd name="connsiteY12" fmla="*/ 326232 h 647547"/>
                  <a:gd name="connsiteX13" fmla="*/ 550069 w 573881"/>
                  <a:gd name="connsiteY13" fmla="*/ 259557 h 647547"/>
                  <a:gd name="connsiteX14" fmla="*/ 445294 w 573881"/>
                  <a:gd name="connsiteY14" fmla="*/ 188119 h 647547"/>
                  <a:gd name="connsiteX15" fmla="*/ 376238 w 573881"/>
                  <a:gd name="connsiteY15" fmla="*/ 0 h 647547"/>
                  <a:gd name="connsiteX16" fmla="*/ 238125 w 573881"/>
                  <a:gd name="connsiteY16" fmla="*/ 73819 h 647547"/>
                  <a:gd name="connsiteX0" fmla="*/ 238125 w 573881"/>
                  <a:gd name="connsiteY0" fmla="*/ 73819 h 646561"/>
                  <a:gd name="connsiteX1" fmla="*/ 126206 w 573881"/>
                  <a:gd name="connsiteY1" fmla="*/ 16669 h 646561"/>
                  <a:gd name="connsiteX2" fmla="*/ 47625 w 573881"/>
                  <a:gd name="connsiteY2" fmla="*/ 133351 h 646561"/>
                  <a:gd name="connsiteX3" fmla="*/ 128587 w 573881"/>
                  <a:gd name="connsiteY3" fmla="*/ 188119 h 646561"/>
                  <a:gd name="connsiteX4" fmla="*/ 0 w 573881"/>
                  <a:gd name="connsiteY4" fmla="*/ 359570 h 646561"/>
                  <a:gd name="connsiteX5" fmla="*/ 197644 w 573881"/>
                  <a:gd name="connsiteY5" fmla="*/ 473869 h 646561"/>
                  <a:gd name="connsiteX6" fmla="*/ 202405 w 573881"/>
                  <a:gd name="connsiteY6" fmla="*/ 619125 h 646561"/>
                  <a:gd name="connsiteX7" fmla="*/ 361950 w 573881"/>
                  <a:gd name="connsiteY7" fmla="*/ 635794 h 646561"/>
                  <a:gd name="connsiteX8" fmla="*/ 361950 w 573881"/>
                  <a:gd name="connsiteY8" fmla="*/ 573882 h 646561"/>
                  <a:gd name="connsiteX9" fmla="*/ 416719 w 573881"/>
                  <a:gd name="connsiteY9" fmla="*/ 597694 h 646561"/>
                  <a:gd name="connsiteX10" fmla="*/ 573881 w 573881"/>
                  <a:gd name="connsiteY10" fmla="*/ 502444 h 646561"/>
                  <a:gd name="connsiteX11" fmla="*/ 514350 w 573881"/>
                  <a:gd name="connsiteY11" fmla="*/ 371475 h 646561"/>
                  <a:gd name="connsiteX12" fmla="*/ 550069 w 573881"/>
                  <a:gd name="connsiteY12" fmla="*/ 326232 h 646561"/>
                  <a:gd name="connsiteX13" fmla="*/ 550069 w 573881"/>
                  <a:gd name="connsiteY13" fmla="*/ 259557 h 646561"/>
                  <a:gd name="connsiteX14" fmla="*/ 445294 w 573881"/>
                  <a:gd name="connsiteY14" fmla="*/ 188119 h 646561"/>
                  <a:gd name="connsiteX15" fmla="*/ 376238 w 573881"/>
                  <a:gd name="connsiteY15" fmla="*/ 0 h 646561"/>
                  <a:gd name="connsiteX16" fmla="*/ 238125 w 573881"/>
                  <a:gd name="connsiteY16" fmla="*/ 73819 h 646561"/>
                  <a:gd name="connsiteX0" fmla="*/ 238125 w 573881"/>
                  <a:gd name="connsiteY0" fmla="*/ 73819 h 646561"/>
                  <a:gd name="connsiteX1" fmla="*/ 126206 w 573881"/>
                  <a:gd name="connsiteY1" fmla="*/ 16669 h 646561"/>
                  <a:gd name="connsiteX2" fmla="*/ 47625 w 573881"/>
                  <a:gd name="connsiteY2" fmla="*/ 133351 h 646561"/>
                  <a:gd name="connsiteX3" fmla="*/ 120836 w 573881"/>
                  <a:gd name="connsiteY3" fmla="*/ 250135 h 646561"/>
                  <a:gd name="connsiteX4" fmla="*/ 0 w 573881"/>
                  <a:gd name="connsiteY4" fmla="*/ 359570 h 646561"/>
                  <a:gd name="connsiteX5" fmla="*/ 197644 w 573881"/>
                  <a:gd name="connsiteY5" fmla="*/ 473869 h 646561"/>
                  <a:gd name="connsiteX6" fmla="*/ 202405 w 573881"/>
                  <a:gd name="connsiteY6" fmla="*/ 619125 h 646561"/>
                  <a:gd name="connsiteX7" fmla="*/ 361950 w 573881"/>
                  <a:gd name="connsiteY7" fmla="*/ 635794 h 646561"/>
                  <a:gd name="connsiteX8" fmla="*/ 361950 w 573881"/>
                  <a:gd name="connsiteY8" fmla="*/ 573882 h 646561"/>
                  <a:gd name="connsiteX9" fmla="*/ 416719 w 573881"/>
                  <a:gd name="connsiteY9" fmla="*/ 597694 h 646561"/>
                  <a:gd name="connsiteX10" fmla="*/ 573881 w 573881"/>
                  <a:gd name="connsiteY10" fmla="*/ 502444 h 646561"/>
                  <a:gd name="connsiteX11" fmla="*/ 514350 w 573881"/>
                  <a:gd name="connsiteY11" fmla="*/ 371475 h 646561"/>
                  <a:gd name="connsiteX12" fmla="*/ 550069 w 573881"/>
                  <a:gd name="connsiteY12" fmla="*/ 326232 h 646561"/>
                  <a:gd name="connsiteX13" fmla="*/ 550069 w 573881"/>
                  <a:gd name="connsiteY13" fmla="*/ 259557 h 646561"/>
                  <a:gd name="connsiteX14" fmla="*/ 445294 w 573881"/>
                  <a:gd name="connsiteY14" fmla="*/ 188119 h 646561"/>
                  <a:gd name="connsiteX15" fmla="*/ 376238 w 573881"/>
                  <a:gd name="connsiteY15" fmla="*/ 0 h 646561"/>
                  <a:gd name="connsiteX16" fmla="*/ 238125 w 573881"/>
                  <a:gd name="connsiteY16" fmla="*/ 73819 h 646561"/>
                  <a:gd name="connsiteX0" fmla="*/ 238125 w 573881"/>
                  <a:gd name="connsiteY0" fmla="*/ 73819 h 646561"/>
                  <a:gd name="connsiteX1" fmla="*/ 126206 w 573881"/>
                  <a:gd name="connsiteY1" fmla="*/ 16669 h 646561"/>
                  <a:gd name="connsiteX2" fmla="*/ 24370 w 573881"/>
                  <a:gd name="connsiteY2" fmla="*/ 187612 h 646561"/>
                  <a:gd name="connsiteX3" fmla="*/ 120836 w 573881"/>
                  <a:gd name="connsiteY3" fmla="*/ 250135 h 646561"/>
                  <a:gd name="connsiteX4" fmla="*/ 0 w 573881"/>
                  <a:gd name="connsiteY4" fmla="*/ 359570 h 646561"/>
                  <a:gd name="connsiteX5" fmla="*/ 197644 w 573881"/>
                  <a:gd name="connsiteY5" fmla="*/ 473869 h 646561"/>
                  <a:gd name="connsiteX6" fmla="*/ 202405 w 573881"/>
                  <a:gd name="connsiteY6" fmla="*/ 619125 h 646561"/>
                  <a:gd name="connsiteX7" fmla="*/ 361950 w 573881"/>
                  <a:gd name="connsiteY7" fmla="*/ 635794 h 646561"/>
                  <a:gd name="connsiteX8" fmla="*/ 361950 w 573881"/>
                  <a:gd name="connsiteY8" fmla="*/ 573882 h 646561"/>
                  <a:gd name="connsiteX9" fmla="*/ 416719 w 573881"/>
                  <a:gd name="connsiteY9" fmla="*/ 597694 h 646561"/>
                  <a:gd name="connsiteX10" fmla="*/ 573881 w 573881"/>
                  <a:gd name="connsiteY10" fmla="*/ 502444 h 646561"/>
                  <a:gd name="connsiteX11" fmla="*/ 514350 w 573881"/>
                  <a:gd name="connsiteY11" fmla="*/ 371475 h 646561"/>
                  <a:gd name="connsiteX12" fmla="*/ 550069 w 573881"/>
                  <a:gd name="connsiteY12" fmla="*/ 326232 h 646561"/>
                  <a:gd name="connsiteX13" fmla="*/ 550069 w 573881"/>
                  <a:gd name="connsiteY13" fmla="*/ 259557 h 646561"/>
                  <a:gd name="connsiteX14" fmla="*/ 445294 w 573881"/>
                  <a:gd name="connsiteY14" fmla="*/ 188119 h 646561"/>
                  <a:gd name="connsiteX15" fmla="*/ 376238 w 573881"/>
                  <a:gd name="connsiteY15" fmla="*/ 0 h 646561"/>
                  <a:gd name="connsiteX16" fmla="*/ 238125 w 573881"/>
                  <a:gd name="connsiteY16" fmla="*/ 73819 h 646561"/>
                  <a:gd name="connsiteX0" fmla="*/ 238125 w 573881"/>
                  <a:gd name="connsiteY0" fmla="*/ 73819 h 646561"/>
                  <a:gd name="connsiteX1" fmla="*/ 149463 w 573881"/>
                  <a:gd name="connsiteY1" fmla="*/ 78683 h 646561"/>
                  <a:gd name="connsiteX2" fmla="*/ 24370 w 573881"/>
                  <a:gd name="connsiteY2" fmla="*/ 187612 h 646561"/>
                  <a:gd name="connsiteX3" fmla="*/ 120836 w 573881"/>
                  <a:gd name="connsiteY3" fmla="*/ 250135 h 646561"/>
                  <a:gd name="connsiteX4" fmla="*/ 0 w 573881"/>
                  <a:gd name="connsiteY4" fmla="*/ 359570 h 646561"/>
                  <a:gd name="connsiteX5" fmla="*/ 197644 w 573881"/>
                  <a:gd name="connsiteY5" fmla="*/ 473869 h 646561"/>
                  <a:gd name="connsiteX6" fmla="*/ 202405 w 573881"/>
                  <a:gd name="connsiteY6" fmla="*/ 619125 h 646561"/>
                  <a:gd name="connsiteX7" fmla="*/ 361950 w 573881"/>
                  <a:gd name="connsiteY7" fmla="*/ 635794 h 646561"/>
                  <a:gd name="connsiteX8" fmla="*/ 361950 w 573881"/>
                  <a:gd name="connsiteY8" fmla="*/ 573882 h 646561"/>
                  <a:gd name="connsiteX9" fmla="*/ 416719 w 573881"/>
                  <a:gd name="connsiteY9" fmla="*/ 597694 h 646561"/>
                  <a:gd name="connsiteX10" fmla="*/ 573881 w 573881"/>
                  <a:gd name="connsiteY10" fmla="*/ 502444 h 646561"/>
                  <a:gd name="connsiteX11" fmla="*/ 514350 w 573881"/>
                  <a:gd name="connsiteY11" fmla="*/ 371475 h 646561"/>
                  <a:gd name="connsiteX12" fmla="*/ 550069 w 573881"/>
                  <a:gd name="connsiteY12" fmla="*/ 326232 h 646561"/>
                  <a:gd name="connsiteX13" fmla="*/ 550069 w 573881"/>
                  <a:gd name="connsiteY13" fmla="*/ 259557 h 646561"/>
                  <a:gd name="connsiteX14" fmla="*/ 445294 w 573881"/>
                  <a:gd name="connsiteY14" fmla="*/ 188119 h 646561"/>
                  <a:gd name="connsiteX15" fmla="*/ 376238 w 573881"/>
                  <a:gd name="connsiteY15" fmla="*/ 0 h 646561"/>
                  <a:gd name="connsiteX16" fmla="*/ 238125 w 573881"/>
                  <a:gd name="connsiteY16" fmla="*/ 73819 h 646561"/>
                  <a:gd name="connsiteX0" fmla="*/ 238125 w 573881"/>
                  <a:gd name="connsiteY0" fmla="*/ 73819 h 646561"/>
                  <a:gd name="connsiteX1" fmla="*/ 149463 w 573881"/>
                  <a:gd name="connsiteY1" fmla="*/ 78683 h 646561"/>
                  <a:gd name="connsiteX2" fmla="*/ 63128 w 573881"/>
                  <a:gd name="connsiteY2" fmla="*/ 210868 h 646561"/>
                  <a:gd name="connsiteX3" fmla="*/ 120836 w 573881"/>
                  <a:gd name="connsiteY3" fmla="*/ 250135 h 646561"/>
                  <a:gd name="connsiteX4" fmla="*/ 0 w 573881"/>
                  <a:gd name="connsiteY4" fmla="*/ 359570 h 646561"/>
                  <a:gd name="connsiteX5" fmla="*/ 197644 w 573881"/>
                  <a:gd name="connsiteY5" fmla="*/ 473869 h 646561"/>
                  <a:gd name="connsiteX6" fmla="*/ 202405 w 573881"/>
                  <a:gd name="connsiteY6" fmla="*/ 619125 h 646561"/>
                  <a:gd name="connsiteX7" fmla="*/ 361950 w 573881"/>
                  <a:gd name="connsiteY7" fmla="*/ 635794 h 646561"/>
                  <a:gd name="connsiteX8" fmla="*/ 361950 w 573881"/>
                  <a:gd name="connsiteY8" fmla="*/ 573882 h 646561"/>
                  <a:gd name="connsiteX9" fmla="*/ 416719 w 573881"/>
                  <a:gd name="connsiteY9" fmla="*/ 597694 h 646561"/>
                  <a:gd name="connsiteX10" fmla="*/ 573881 w 573881"/>
                  <a:gd name="connsiteY10" fmla="*/ 502444 h 646561"/>
                  <a:gd name="connsiteX11" fmla="*/ 514350 w 573881"/>
                  <a:gd name="connsiteY11" fmla="*/ 371475 h 646561"/>
                  <a:gd name="connsiteX12" fmla="*/ 550069 w 573881"/>
                  <a:gd name="connsiteY12" fmla="*/ 326232 h 646561"/>
                  <a:gd name="connsiteX13" fmla="*/ 550069 w 573881"/>
                  <a:gd name="connsiteY13" fmla="*/ 259557 h 646561"/>
                  <a:gd name="connsiteX14" fmla="*/ 445294 w 573881"/>
                  <a:gd name="connsiteY14" fmla="*/ 188119 h 646561"/>
                  <a:gd name="connsiteX15" fmla="*/ 376238 w 573881"/>
                  <a:gd name="connsiteY15" fmla="*/ 0 h 646561"/>
                  <a:gd name="connsiteX16" fmla="*/ 238125 w 573881"/>
                  <a:gd name="connsiteY16" fmla="*/ 73819 h 646561"/>
                  <a:gd name="connsiteX0" fmla="*/ 261379 w 573881"/>
                  <a:gd name="connsiteY0" fmla="*/ 143589 h 646561"/>
                  <a:gd name="connsiteX1" fmla="*/ 149463 w 573881"/>
                  <a:gd name="connsiteY1" fmla="*/ 78683 h 646561"/>
                  <a:gd name="connsiteX2" fmla="*/ 63128 w 573881"/>
                  <a:gd name="connsiteY2" fmla="*/ 210868 h 646561"/>
                  <a:gd name="connsiteX3" fmla="*/ 120836 w 573881"/>
                  <a:gd name="connsiteY3" fmla="*/ 250135 h 646561"/>
                  <a:gd name="connsiteX4" fmla="*/ 0 w 573881"/>
                  <a:gd name="connsiteY4" fmla="*/ 359570 h 646561"/>
                  <a:gd name="connsiteX5" fmla="*/ 197644 w 573881"/>
                  <a:gd name="connsiteY5" fmla="*/ 473869 h 646561"/>
                  <a:gd name="connsiteX6" fmla="*/ 202405 w 573881"/>
                  <a:gd name="connsiteY6" fmla="*/ 619125 h 646561"/>
                  <a:gd name="connsiteX7" fmla="*/ 361950 w 573881"/>
                  <a:gd name="connsiteY7" fmla="*/ 635794 h 646561"/>
                  <a:gd name="connsiteX8" fmla="*/ 361950 w 573881"/>
                  <a:gd name="connsiteY8" fmla="*/ 573882 h 646561"/>
                  <a:gd name="connsiteX9" fmla="*/ 416719 w 573881"/>
                  <a:gd name="connsiteY9" fmla="*/ 597694 h 646561"/>
                  <a:gd name="connsiteX10" fmla="*/ 573881 w 573881"/>
                  <a:gd name="connsiteY10" fmla="*/ 502444 h 646561"/>
                  <a:gd name="connsiteX11" fmla="*/ 514350 w 573881"/>
                  <a:gd name="connsiteY11" fmla="*/ 371475 h 646561"/>
                  <a:gd name="connsiteX12" fmla="*/ 550069 w 573881"/>
                  <a:gd name="connsiteY12" fmla="*/ 326232 h 646561"/>
                  <a:gd name="connsiteX13" fmla="*/ 550069 w 573881"/>
                  <a:gd name="connsiteY13" fmla="*/ 259557 h 646561"/>
                  <a:gd name="connsiteX14" fmla="*/ 445294 w 573881"/>
                  <a:gd name="connsiteY14" fmla="*/ 188119 h 646561"/>
                  <a:gd name="connsiteX15" fmla="*/ 376238 w 573881"/>
                  <a:gd name="connsiteY15" fmla="*/ 0 h 646561"/>
                  <a:gd name="connsiteX16" fmla="*/ 261379 w 573881"/>
                  <a:gd name="connsiteY16" fmla="*/ 143589 h 646561"/>
                  <a:gd name="connsiteX0" fmla="*/ 261379 w 573881"/>
                  <a:gd name="connsiteY0" fmla="*/ 73823 h 576795"/>
                  <a:gd name="connsiteX1" fmla="*/ 149463 w 573881"/>
                  <a:gd name="connsiteY1" fmla="*/ 8917 h 576795"/>
                  <a:gd name="connsiteX2" fmla="*/ 63128 w 573881"/>
                  <a:gd name="connsiteY2" fmla="*/ 141102 h 576795"/>
                  <a:gd name="connsiteX3" fmla="*/ 120836 w 573881"/>
                  <a:gd name="connsiteY3" fmla="*/ 180369 h 576795"/>
                  <a:gd name="connsiteX4" fmla="*/ 0 w 573881"/>
                  <a:gd name="connsiteY4" fmla="*/ 289804 h 576795"/>
                  <a:gd name="connsiteX5" fmla="*/ 197644 w 573881"/>
                  <a:gd name="connsiteY5" fmla="*/ 404103 h 576795"/>
                  <a:gd name="connsiteX6" fmla="*/ 202405 w 573881"/>
                  <a:gd name="connsiteY6" fmla="*/ 549359 h 576795"/>
                  <a:gd name="connsiteX7" fmla="*/ 361950 w 573881"/>
                  <a:gd name="connsiteY7" fmla="*/ 566028 h 576795"/>
                  <a:gd name="connsiteX8" fmla="*/ 361950 w 573881"/>
                  <a:gd name="connsiteY8" fmla="*/ 504116 h 576795"/>
                  <a:gd name="connsiteX9" fmla="*/ 416719 w 573881"/>
                  <a:gd name="connsiteY9" fmla="*/ 527928 h 576795"/>
                  <a:gd name="connsiteX10" fmla="*/ 573881 w 573881"/>
                  <a:gd name="connsiteY10" fmla="*/ 432678 h 576795"/>
                  <a:gd name="connsiteX11" fmla="*/ 514350 w 573881"/>
                  <a:gd name="connsiteY11" fmla="*/ 301709 h 576795"/>
                  <a:gd name="connsiteX12" fmla="*/ 550069 w 573881"/>
                  <a:gd name="connsiteY12" fmla="*/ 256466 h 576795"/>
                  <a:gd name="connsiteX13" fmla="*/ 550069 w 573881"/>
                  <a:gd name="connsiteY13" fmla="*/ 189791 h 576795"/>
                  <a:gd name="connsiteX14" fmla="*/ 445294 w 573881"/>
                  <a:gd name="connsiteY14" fmla="*/ 118353 h 576795"/>
                  <a:gd name="connsiteX15" fmla="*/ 383993 w 573881"/>
                  <a:gd name="connsiteY15" fmla="*/ 0 h 576795"/>
                  <a:gd name="connsiteX16" fmla="*/ 261379 w 573881"/>
                  <a:gd name="connsiteY16" fmla="*/ 73823 h 576795"/>
                  <a:gd name="connsiteX0" fmla="*/ 261379 w 573881"/>
                  <a:gd name="connsiteY0" fmla="*/ 73823 h 576795"/>
                  <a:gd name="connsiteX1" fmla="*/ 149463 w 573881"/>
                  <a:gd name="connsiteY1" fmla="*/ 8917 h 576795"/>
                  <a:gd name="connsiteX2" fmla="*/ 63128 w 573881"/>
                  <a:gd name="connsiteY2" fmla="*/ 141102 h 576795"/>
                  <a:gd name="connsiteX3" fmla="*/ 120836 w 573881"/>
                  <a:gd name="connsiteY3" fmla="*/ 180369 h 576795"/>
                  <a:gd name="connsiteX4" fmla="*/ 0 w 573881"/>
                  <a:gd name="connsiteY4" fmla="*/ 289804 h 576795"/>
                  <a:gd name="connsiteX5" fmla="*/ 197644 w 573881"/>
                  <a:gd name="connsiteY5" fmla="*/ 404103 h 576795"/>
                  <a:gd name="connsiteX6" fmla="*/ 202405 w 573881"/>
                  <a:gd name="connsiteY6" fmla="*/ 549359 h 576795"/>
                  <a:gd name="connsiteX7" fmla="*/ 361950 w 573881"/>
                  <a:gd name="connsiteY7" fmla="*/ 566028 h 576795"/>
                  <a:gd name="connsiteX8" fmla="*/ 361950 w 573881"/>
                  <a:gd name="connsiteY8" fmla="*/ 504116 h 576795"/>
                  <a:gd name="connsiteX9" fmla="*/ 416719 w 573881"/>
                  <a:gd name="connsiteY9" fmla="*/ 527928 h 576795"/>
                  <a:gd name="connsiteX10" fmla="*/ 573881 w 573881"/>
                  <a:gd name="connsiteY10" fmla="*/ 432678 h 576795"/>
                  <a:gd name="connsiteX11" fmla="*/ 514350 w 573881"/>
                  <a:gd name="connsiteY11" fmla="*/ 301709 h 576795"/>
                  <a:gd name="connsiteX12" fmla="*/ 550069 w 573881"/>
                  <a:gd name="connsiteY12" fmla="*/ 256466 h 576795"/>
                  <a:gd name="connsiteX13" fmla="*/ 550069 w 573881"/>
                  <a:gd name="connsiteY13" fmla="*/ 189791 h 576795"/>
                  <a:gd name="connsiteX14" fmla="*/ 429792 w 573881"/>
                  <a:gd name="connsiteY14" fmla="*/ 149361 h 576795"/>
                  <a:gd name="connsiteX15" fmla="*/ 383993 w 573881"/>
                  <a:gd name="connsiteY15" fmla="*/ 0 h 576795"/>
                  <a:gd name="connsiteX16" fmla="*/ 261379 w 573881"/>
                  <a:gd name="connsiteY16" fmla="*/ 73823 h 576795"/>
                  <a:gd name="connsiteX0" fmla="*/ 253628 w 573881"/>
                  <a:gd name="connsiteY0" fmla="*/ 42815 h 576795"/>
                  <a:gd name="connsiteX1" fmla="*/ 149463 w 573881"/>
                  <a:gd name="connsiteY1" fmla="*/ 8917 h 576795"/>
                  <a:gd name="connsiteX2" fmla="*/ 63128 w 573881"/>
                  <a:gd name="connsiteY2" fmla="*/ 141102 h 576795"/>
                  <a:gd name="connsiteX3" fmla="*/ 120836 w 573881"/>
                  <a:gd name="connsiteY3" fmla="*/ 180369 h 576795"/>
                  <a:gd name="connsiteX4" fmla="*/ 0 w 573881"/>
                  <a:gd name="connsiteY4" fmla="*/ 289804 h 576795"/>
                  <a:gd name="connsiteX5" fmla="*/ 197644 w 573881"/>
                  <a:gd name="connsiteY5" fmla="*/ 404103 h 576795"/>
                  <a:gd name="connsiteX6" fmla="*/ 202405 w 573881"/>
                  <a:gd name="connsiteY6" fmla="*/ 549359 h 576795"/>
                  <a:gd name="connsiteX7" fmla="*/ 361950 w 573881"/>
                  <a:gd name="connsiteY7" fmla="*/ 566028 h 576795"/>
                  <a:gd name="connsiteX8" fmla="*/ 361950 w 573881"/>
                  <a:gd name="connsiteY8" fmla="*/ 504116 h 576795"/>
                  <a:gd name="connsiteX9" fmla="*/ 416719 w 573881"/>
                  <a:gd name="connsiteY9" fmla="*/ 527928 h 576795"/>
                  <a:gd name="connsiteX10" fmla="*/ 573881 w 573881"/>
                  <a:gd name="connsiteY10" fmla="*/ 432678 h 576795"/>
                  <a:gd name="connsiteX11" fmla="*/ 514350 w 573881"/>
                  <a:gd name="connsiteY11" fmla="*/ 301709 h 576795"/>
                  <a:gd name="connsiteX12" fmla="*/ 550069 w 573881"/>
                  <a:gd name="connsiteY12" fmla="*/ 256466 h 576795"/>
                  <a:gd name="connsiteX13" fmla="*/ 550069 w 573881"/>
                  <a:gd name="connsiteY13" fmla="*/ 189791 h 576795"/>
                  <a:gd name="connsiteX14" fmla="*/ 429792 w 573881"/>
                  <a:gd name="connsiteY14" fmla="*/ 149361 h 576795"/>
                  <a:gd name="connsiteX15" fmla="*/ 383993 w 573881"/>
                  <a:gd name="connsiteY15" fmla="*/ 0 h 576795"/>
                  <a:gd name="connsiteX16" fmla="*/ 253628 w 573881"/>
                  <a:gd name="connsiteY16" fmla="*/ 42815 h 576795"/>
                  <a:gd name="connsiteX0" fmla="*/ 236898 w 557151"/>
                  <a:gd name="connsiteY0" fmla="*/ 42815 h 576795"/>
                  <a:gd name="connsiteX1" fmla="*/ 132733 w 557151"/>
                  <a:gd name="connsiteY1" fmla="*/ 8917 h 576795"/>
                  <a:gd name="connsiteX2" fmla="*/ 46398 w 557151"/>
                  <a:gd name="connsiteY2" fmla="*/ 141102 h 576795"/>
                  <a:gd name="connsiteX3" fmla="*/ 104106 w 557151"/>
                  <a:gd name="connsiteY3" fmla="*/ 180369 h 576795"/>
                  <a:gd name="connsiteX4" fmla="*/ 0 w 557151"/>
                  <a:gd name="connsiteY4" fmla="*/ 317688 h 576795"/>
                  <a:gd name="connsiteX5" fmla="*/ 180914 w 557151"/>
                  <a:gd name="connsiteY5" fmla="*/ 404103 h 576795"/>
                  <a:gd name="connsiteX6" fmla="*/ 185675 w 557151"/>
                  <a:gd name="connsiteY6" fmla="*/ 549359 h 576795"/>
                  <a:gd name="connsiteX7" fmla="*/ 345220 w 557151"/>
                  <a:gd name="connsiteY7" fmla="*/ 566028 h 576795"/>
                  <a:gd name="connsiteX8" fmla="*/ 345220 w 557151"/>
                  <a:gd name="connsiteY8" fmla="*/ 504116 h 576795"/>
                  <a:gd name="connsiteX9" fmla="*/ 399989 w 557151"/>
                  <a:gd name="connsiteY9" fmla="*/ 527928 h 576795"/>
                  <a:gd name="connsiteX10" fmla="*/ 557151 w 557151"/>
                  <a:gd name="connsiteY10" fmla="*/ 432678 h 576795"/>
                  <a:gd name="connsiteX11" fmla="*/ 497620 w 557151"/>
                  <a:gd name="connsiteY11" fmla="*/ 301709 h 576795"/>
                  <a:gd name="connsiteX12" fmla="*/ 533339 w 557151"/>
                  <a:gd name="connsiteY12" fmla="*/ 256466 h 576795"/>
                  <a:gd name="connsiteX13" fmla="*/ 533339 w 557151"/>
                  <a:gd name="connsiteY13" fmla="*/ 189791 h 576795"/>
                  <a:gd name="connsiteX14" fmla="*/ 413062 w 557151"/>
                  <a:gd name="connsiteY14" fmla="*/ 149361 h 576795"/>
                  <a:gd name="connsiteX15" fmla="*/ 367263 w 557151"/>
                  <a:gd name="connsiteY15" fmla="*/ 0 h 576795"/>
                  <a:gd name="connsiteX16" fmla="*/ 236898 w 557151"/>
                  <a:gd name="connsiteY16" fmla="*/ 42815 h 576795"/>
                  <a:gd name="connsiteX0" fmla="*/ 236898 w 557151"/>
                  <a:gd name="connsiteY0" fmla="*/ 42815 h 576795"/>
                  <a:gd name="connsiteX1" fmla="*/ 132733 w 557151"/>
                  <a:gd name="connsiteY1" fmla="*/ 8917 h 576795"/>
                  <a:gd name="connsiteX2" fmla="*/ 46398 w 557151"/>
                  <a:gd name="connsiteY2" fmla="*/ 141102 h 576795"/>
                  <a:gd name="connsiteX3" fmla="*/ 104106 w 557151"/>
                  <a:gd name="connsiteY3" fmla="*/ 180369 h 576795"/>
                  <a:gd name="connsiteX4" fmla="*/ 0 w 557151"/>
                  <a:gd name="connsiteY4" fmla="*/ 317688 h 576795"/>
                  <a:gd name="connsiteX5" fmla="*/ 175335 w 557151"/>
                  <a:gd name="connsiteY5" fmla="*/ 420830 h 576795"/>
                  <a:gd name="connsiteX6" fmla="*/ 185675 w 557151"/>
                  <a:gd name="connsiteY6" fmla="*/ 549359 h 576795"/>
                  <a:gd name="connsiteX7" fmla="*/ 345220 w 557151"/>
                  <a:gd name="connsiteY7" fmla="*/ 566028 h 576795"/>
                  <a:gd name="connsiteX8" fmla="*/ 345220 w 557151"/>
                  <a:gd name="connsiteY8" fmla="*/ 504116 h 576795"/>
                  <a:gd name="connsiteX9" fmla="*/ 399989 w 557151"/>
                  <a:gd name="connsiteY9" fmla="*/ 527928 h 576795"/>
                  <a:gd name="connsiteX10" fmla="*/ 557151 w 557151"/>
                  <a:gd name="connsiteY10" fmla="*/ 432678 h 576795"/>
                  <a:gd name="connsiteX11" fmla="*/ 497620 w 557151"/>
                  <a:gd name="connsiteY11" fmla="*/ 301709 h 576795"/>
                  <a:gd name="connsiteX12" fmla="*/ 533339 w 557151"/>
                  <a:gd name="connsiteY12" fmla="*/ 256466 h 576795"/>
                  <a:gd name="connsiteX13" fmla="*/ 533339 w 557151"/>
                  <a:gd name="connsiteY13" fmla="*/ 189791 h 576795"/>
                  <a:gd name="connsiteX14" fmla="*/ 413062 w 557151"/>
                  <a:gd name="connsiteY14" fmla="*/ 149361 h 576795"/>
                  <a:gd name="connsiteX15" fmla="*/ 367263 w 557151"/>
                  <a:gd name="connsiteY15" fmla="*/ 0 h 576795"/>
                  <a:gd name="connsiteX16" fmla="*/ 236898 w 557151"/>
                  <a:gd name="connsiteY16" fmla="*/ 42815 h 576795"/>
                  <a:gd name="connsiteX0" fmla="*/ 236898 w 557151"/>
                  <a:gd name="connsiteY0" fmla="*/ 42815 h 576795"/>
                  <a:gd name="connsiteX1" fmla="*/ 132733 w 557151"/>
                  <a:gd name="connsiteY1" fmla="*/ 8917 h 576795"/>
                  <a:gd name="connsiteX2" fmla="*/ 46398 w 557151"/>
                  <a:gd name="connsiteY2" fmla="*/ 141102 h 576795"/>
                  <a:gd name="connsiteX3" fmla="*/ 104106 w 557151"/>
                  <a:gd name="connsiteY3" fmla="*/ 180369 h 576795"/>
                  <a:gd name="connsiteX4" fmla="*/ 0 w 557151"/>
                  <a:gd name="connsiteY4" fmla="*/ 317688 h 576795"/>
                  <a:gd name="connsiteX5" fmla="*/ 175335 w 557151"/>
                  <a:gd name="connsiteY5" fmla="*/ 420830 h 576795"/>
                  <a:gd name="connsiteX6" fmla="*/ 185675 w 557151"/>
                  <a:gd name="connsiteY6" fmla="*/ 549359 h 576795"/>
                  <a:gd name="connsiteX7" fmla="*/ 345220 w 557151"/>
                  <a:gd name="connsiteY7" fmla="*/ 566028 h 576795"/>
                  <a:gd name="connsiteX8" fmla="*/ 345220 w 557151"/>
                  <a:gd name="connsiteY8" fmla="*/ 504116 h 576795"/>
                  <a:gd name="connsiteX9" fmla="*/ 399989 w 557151"/>
                  <a:gd name="connsiteY9" fmla="*/ 527928 h 576795"/>
                  <a:gd name="connsiteX10" fmla="*/ 557151 w 557151"/>
                  <a:gd name="connsiteY10" fmla="*/ 432678 h 576795"/>
                  <a:gd name="connsiteX11" fmla="*/ 497620 w 557151"/>
                  <a:gd name="connsiteY11" fmla="*/ 301709 h 576795"/>
                  <a:gd name="connsiteX12" fmla="*/ 533339 w 557151"/>
                  <a:gd name="connsiteY12" fmla="*/ 256466 h 576795"/>
                  <a:gd name="connsiteX13" fmla="*/ 511033 w 557151"/>
                  <a:gd name="connsiteY13" fmla="*/ 228824 h 576795"/>
                  <a:gd name="connsiteX14" fmla="*/ 413062 w 557151"/>
                  <a:gd name="connsiteY14" fmla="*/ 149361 h 576795"/>
                  <a:gd name="connsiteX15" fmla="*/ 367263 w 557151"/>
                  <a:gd name="connsiteY15" fmla="*/ 0 h 576795"/>
                  <a:gd name="connsiteX16" fmla="*/ 236898 w 557151"/>
                  <a:gd name="connsiteY16" fmla="*/ 42815 h 57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57151" h="576795">
                    <a:moveTo>
                      <a:pt x="236898" y="42815"/>
                    </a:moveTo>
                    <a:cubicBezTo>
                      <a:pt x="209910" y="28528"/>
                      <a:pt x="173214" y="23204"/>
                      <a:pt x="132733" y="8917"/>
                    </a:cubicBezTo>
                    <a:cubicBezTo>
                      <a:pt x="85107" y="43842"/>
                      <a:pt x="46001" y="111733"/>
                      <a:pt x="46398" y="141102"/>
                    </a:cubicBezTo>
                    <a:cubicBezTo>
                      <a:pt x="101564" y="182378"/>
                      <a:pt x="78310" y="161716"/>
                      <a:pt x="104106" y="180369"/>
                    </a:cubicBezTo>
                    <a:cubicBezTo>
                      <a:pt x="87041" y="210929"/>
                      <a:pt x="58341" y="249426"/>
                      <a:pt x="0" y="317688"/>
                    </a:cubicBezTo>
                    <a:cubicBezTo>
                      <a:pt x="51197" y="347851"/>
                      <a:pt x="102310" y="379555"/>
                      <a:pt x="175335" y="420830"/>
                    </a:cubicBezTo>
                    <a:cubicBezTo>
                      <a:pt x="176129" y="472424"/>
                      <a:pt x="184881" y="497765"/>
                      <a:pt x="185675" y="549359"/>
                    </a:cubicBezTo>
                    <a:cubicBezTo>
                      <a:pt x="262669" y="584283"/>
                      <a:pt x="294419" y="581109"/>
                      <a:pt x="345220" y="566028"/>
                    </a:cubicBezTo>
                    <a:lnTo>
                      <a:pt x="345220" y="504116"/>
                    </a:lnTo>
                    <a:lnTo>
                      <a:pt x="399989" y="527928"/>
                    </a:lnTo>
                    <a:lnTo>
                      <a:pt x="557151" y="432678"/>
                    </a:lnTo>
                    <a:lnTo>
                      <a:pt x="497620" y="301709"/>
                    </a:lnTo>
                    <a:cubicBezTo>
                      <a:pt x="509526" y="286628"/>
                      <a:pt x="531104" y="268613"/>
                      <a:pt x="533339" y="256466"/>
                    </a:cubicBezTo>
                    <a:cubicBezTo>
                      <a:pt x="535574" y="244319"/>
                      <a:pt x="518468" y="238038"/>
                      <a:pt x="511033" y="228824"/>
                    </a:cubicBezTo>
                    <a:lnTo>
                      <a:pt x="413062" y="149361"/>
                    </a:lnTo>
                    <a:lnTo>
                      <a:pt x="367263" y="0"/>
                    </a:lnTo>
                    <a:lnTo>
                      <a:pt x="236898" y="42815"/>
                    </a:lnTo>
                    <a:close/>
                  </a:path>
                </a:pathLst>
              </a:custGeom>
              <a:solidFill>
                <a:schemeClr val="accent5"/>
              </a:solidFill>
            </p:spPr>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ea typeface="Segoe UI" pitchFamily="34" charset="0"/>
                  <a:cs typeface="Segoe UI" pitchFamily="34" charset="0"/>
                </a:endParaRPr>
              </a:p>
            </p:txBody>
          </p:sp>
          <p:pic>
            <p:nvPicPr>
              <p:cNvPr id="67" name="Picture 6" descr="\\MAGNUM\Projects\Microsoft\Cloud Power FY12\Design\Icons\PNGs\Web Service.png"/>
              <p:cNvPicPr>
                <a:picLocks noChangeAspect="1" noChangeArrowheads="1"/>
              </p:cNvPicPr>
              <p:nvPr/>
            </p:nvPicPr>
            <p:blipFill>
              <a:blip r:embed="rId25" cstate="print">
                <a:lum bright="100000"/>
              </a:blip>
              <a:srcRect/>
              <a:stretch>
                <a:fillRect/>
              </a:stretch>
            </p:blipFill>
            <p:spPr bwMode="auto">
              <a:xfrm>
                <a:off x="4568027" y="2399504"/>
                <a:ext cx="356398" cy="356396"/>
              </a:xfrm>
              <a:prstGeom prst="rect">
                <a:avLst/>
              </a:prstGeom>
              <a:noFill/>
            </p:spPr>
          </p:pic>
        </p:grpSp>
      </p:grpSp>
      <p:grpSp>
        <p:nvGrpSpPr>
          <p:cNvPr id="1033" name="Group 1032"/>
          <p:cNvGrpSpPr/>
          <p:nvPr>
            <p:custDataLst>
              <p:tags r:id="rId13"/>
            </p:custDataLst>
          </p:nvPr>
        </p:nvGrpSpPr>
        <p:grpSpPr>
          <a:xfrm>
            <a:off x="5803090" y="3068893"/>
            <a:ext cx="462905" cy="529355"/>
            <a:chOff x="7731617" y="3956061"/>
            <a:chExt cx="617046" cy="705806"/>
          </a:xfrm>
        </p:grpSpPr>
        <p:sp>
          <p:nvSpPr>
            <p:cNvPr id="76" name="Freeform 75"/>
            <p:cNvSpPr/>
            <p:nvPr/>
          </p:nvSpPr>
          <p:spPr>
            <a:xfrm>
              <a:off x="7731617" y="3956061"/>
              <a:ext cx="484428" cy="705806"/>
            </a:xfrm>
            <a:custGeom>
              <a:avLst/>
              <a:gdLst/>
              <a:ahLst/>
              <a:cxnLst/>
              <a:rect l="l" t="t" r="r" b="b"/>
              <a:pathLst>
                <a:path w="484428" h="705806">
                  <a:moveTo>
                    <a:pt x="22138" y="425828"/>
                  </a:moveTo>
                  <a:lnTo>
                    <a:pt x="22138" y="647206"/>
                  </a:lnTo>
                  <a:lnTo>
                    <a:pt x="290396" y="684971"/>
                  </a:lnTo>
                  <a:lnTo>
                    <a:pt x="290396" y="437548"/>
                  </a:lnTo>
                  <a:close/>
                  <a:moveTo>
                    <a:pt x="22138" y="363973"/>
                  </a:moveTo>
                  <a:lnTo>
                    <a:pt x="22138" y="406946"/>
                  </a:lnTo>
                  <a:lnTo>
                    <a:pt x="291699" y="417364"/>
                  </a:lnTo>
                  <a:lnTo>
                    <a:pt x="291699" y="367228"/>
                  </a:lnTo>
                  <a:close/>
                  <a:moveTo>
                    <a:pt x="291699" y="298860"/>
                  </a:moveTo>
                  <a:lnTo>
                    <a:pt x="22789" y="301466"/>
                  </a:lnTo>
                  <a:lnTo>
                    <a:pt x="22789" y="344439"/>
                  </a:lnTo>
                  <a:lnTo>
                    <a:pt x="291699" y="348996"/>
                  </a:lnTo>
                  <a:close/>
                  <a:moveTo>
                    <a:pt x="293002" y="229192"/>
                  </a:moveTo>
                  <a:lnTo>
                    <a:pt x="22789" y="239609"/>
                  </a:lnTo>
                  <a:lnTo>
                    <a:pt x="22789" y="283235"/>
                  </a:lnTo>
                  <a:lnTo>
                    <a:pt x="293002" y="279328"/>
                  </a:lnTo>
                  <a:close/>
                  <a:moveTo>
                    <a:pt x="293652" y="159523"/>
                  </a:moveTo>
                  <a:lnTo>
                    <a:pt x="24092" y="177102"/>
                  </a:lnTo>
                  <a:lnTo>
                    <a:pt x="24092" y="222030"/>
                  </a:lnTo>
                  <a:lnTo>
                    <a:pt x="293652" y="209658"/>
                  </a:lnTo>
                  <a:close/>
                  <a:moveTo>
                    <a:pt x="293652" y="91156"/>
                  </a:moveTo>
                  <a:lnTo>
                    <a:pt x="24742" y="115247"/>
                  </a:lnTo>
                  <a:lnTo>
                    <a:pt x="24742" y="160825"/>
                  </a:lnTo>
                  <a:lnTo>
                    <a:pt x="293652" y="141943"/>
                  </a:lnTo>
                  <a:close/>
                  <a:moveTo>
                    <a:pt x="294303" y="22138"/>
                  </a:moveTo>
                  <a:lnTo>
                    <a:pt x="25394" y="54043"/>
                  </a:lnTo>
                  <a:lnTo>
                    <a:pt x="25394" y="97667"/>
                  </a:lnTo>
                  <a:lnTo>
                    <a:pt x="294303" y="71622"/>
                  </a:lnTo>
                  <a:close/>
                  <a:moveTo>
                    <a:pt x="321650" y="0"/>
                  </a:moveTo>
                  <a:lnTo>
                    <a:pt x="484428" y="52090"/>
                  </a:lnTo>
                  <a:lnTo>
                    <a:pt x="481682" y="303119"/>
                  </a:lnTo>
                  <a:cubicBezTo>
                    <a:pt x="424601" y="301242"/>
                    <a:pt x="364564" y="310379"/>
                    <a:pt x="312246" y="334952"/>
                  </a:cubicBezTo>
                  <a:lnTo>
                    <a:pt x="312246" y="680233"/>
                  </a:lnTo>
                  <a:lnTo>
                    <a:pt x="352988" y="691472"/>
                  </a:lnTo>
                  <a:lnTo>
                    <a:pt x="312534" y="705806"/>
                  </a:lnTo>
                  <a:lnTo>
                    <a:pt x="0" y="658926"/>
                  </a:lnTo>
                  <a:lnTo>
                    <a:pt x="0" y="40369"/>
                  </a:lnTo>
                  <a:close/>
                </a:path>
              </a:pathLst>
            </a:custGeom>
            <a:solidFill>
              <a:schemeClr val="tx1"/>
            </a:solidFill>
            <a:ln w="9525" cap="flat" cmpd="sng" algn="ctr">
              <a:noFill/>
              <a:prstDash val="solid"/>
            </a:ln>
            <a:effectLst/>
          </p:spPr>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defRPr/>
              </a:pPr>
              <a:endParaRPr lang="en-US" sz="1700" kern="0" dirty="0">
                <a:gradFill>
                  <a:gsLst>
                    <a:gs pos="0">
                      <a:srgbClr val="FFFFFF"/>
                    </a:gs>
                    <a:gs pos="100000">
                      <a:srgbClr val="FFFFFF"/>
                    </a:gs>
                  </a:gsLst>
                  <a:lin ang="5400000" scaled="0"/>
                </a:gradFill>
              </a:endParaRPr>
            </a:p>
          </p:txBody>
        </p:sp>
        <p:grpSp>
          <p:nvGrpSpPr>
            <p:cNvPr id="78" name="Group 77"/>
            <p:cNvGrpSpPr>
              <a:grpSpLocks noChangeAspect="1"/>
            </p:cNvGrpSpPr>
            <p:nvPr/>
          </p:nvGrpSpPr>
          <p:grpSpPr>
            <a:xfrm>
              <a:off x="8061493" y="4275751"/>
              <a:ext cx="287170" cy="372919"/>
              <a:chOff x="377825" y="1184276"/>
              <a:chExt cx="1020763" cy="1325563"/>
            </a:xfrm>
            <a:solidFill>
              <a:schemeClr val="tx1"/>
            </a:solidFill>
          </p:grpSpPr>
          <p:sp>
            <p:nvSpPr>
              <p:cNvPr id="79" name="Oval 122"/>
              <p:cNvSpPr>
                <a:spLocks noChangeArrowheads="1"/>
              </p:cNvSpPr>
              <p:nvPr/>
            </p:nvSpPr>
            <p:spPr bwMode="auto">
              <a:xfrm>
                <a:off x="395288" y="1184276"/>
                <a:ext cx="985838"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63535"/>
                  </a:solidFill>
                </a:endParaRPr>
              </a:p>
            </p:txBody>
          </p:sp>
          <p:sp>
            <p:nvSpPr>
              <p:cNvPr id="80"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63535"/>
                  </a:solidFill>
                </a:endParaRPr>
              </a:p>
            </p:txBody>
          </p:sp>
        </p:grpSp>
      </p:grpSp>
      <p:pic>
        <p:nvPicPr>
          <p:cNvPr id="44" name="Picture 2" descr="C:\Users\mitchellg\Desktop\Software.png"/>
          <p:cNvPicPr>
            <a:picLocks noChangeAspect="1" noChangeArrowheads="1"/>
          </p:cNvPicPr>
          <p:nvPr>
            <p:custDataLst>
              <p:tags r:id="rId14"/>
            </p:custDataLst>
          </p:nvPr>
        </p:nvPicPr>
        <p:blipFill>
          <a:blip r:embed="rId26" cstate="print">
            <a:lum bright="100000"/>
          </a:blip>
          <a:srcRect/>
          <a:stretch>
            <a:fillRect/>
          </a:stretch>
        </p:blipFill>
        <p:spPr bwMode="auto">
          <a:xfrm>
            <a:off x="5937969" y="1631453"/>
            <a:ext cx="787803" cy="787599"/>
          </a:xfrm>
          <a:prstGeom prst="rect">
            <a:avLst/>
          </a:prstGeom>
          <a:noFill/>
        </p:spPr>
      </p:pic>
      <p:grpSp>
        <p:nvGrpSpPr>
          <p:cNvPr id="83" name="Group 82"/>
          <p:cNvGrpSpPr/>
          <p:nvPr>
            <p:custDataLst>
              <p:tags r:id="rId15"/>
            </p:custDataLst>
          </p:nvPr>
        </p:nvGrpSpPr>
        <p:grpSpPr>
          <a:xfrm flipH="1">
            <a:off x="5509909" y="1785338"/>
            <a:ext cx="398893" cy="479826"/>
            <a:chOff x="3663259" y="1200150"/>
            <a:chExt cx="3699566" cy="4451349"/>
          </a:xfrm>
        </p:grpSpPr>
        <p:sp>
          <p:nvSpPr>
            <p:cNvPr id="84" name="Rectangle 7"/>
            <p:cNvSpPr/>
            <p:nvPr/>
          </p:nvSpPr>
          <p:spPr bwMode="auto">
            <a:xfrm>
              <a:off x="3663259" y="1200150"/>
              <a:ext cx="539747" cy="4444997"/>
            </a:xfrm>
            <a:custGeom>
              <a:avLst/>
              <a:gdLst/>
              <a:ahLst/>
              <a:cxnLst/>
              <a:rect l="l" t="t" r="r" b="b"/>
              <a:pathLst>
                <a:path w="539750" h="4445000">
                  <a:moveTo>
                    <a:pt x="0" y="3082161"/>
                  </a:moveTo>
                  <a:lnTo>
                    <a:pt x="539750" y="3209313"/>
                  </a:lnTo>
                  <a:lnTo>
                    <a:pt x="539750" y="4445000"/>
                  </a:lnTo>
                  <a:lnTo>
                    <a:pt x="0" y="4197350"/>
                  </a:lnTo>
                  <a:close/>
                  <a:moveTo>
                    <a:pt x="539750" y="1327851"/>
                  </a:moveTo>
                  <a:lnTo>
                    <a:pt x="539750" y="3184050"/>
                  </a:lnTo>
                  <a:lnTo>
                    <a:pt x="0" y="3059997"/>
                  </a:lnTo>
                  <a:lnTo>
                    <a:pt x="0" y="1378677"/>
                  </a:lnTo>
                  <a:close/>
                  <a:moveTo>
                    <a:pt x="539750" y="0"/>
                  </a:moveTo>
                  <a:lnTo>
                    <a:pt x="539750" y="1303055"/>
                  </a:lnTo>
                  <a:lnTo>
                    <a:pt x="0" y="1358543"/>
                  </a:lnTo>
                  <a:lnTo>
                    <a:pt x="0" y="158750"/>
                  </a:lnTo>
                  <a:close/>
                </a:path>
              </a:pathLst>
            </a:custGeom>
            <a:solidFill>
              <a:srgbClr val="FFFFFF"/>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defRPr/>
              </a:pPr>
              <a:endParaRPr lang="en-US" sz="1700" kern="0" dirty="0">
                <a:gradFill>
                  <a:gsLst>
                    <a:gs pos="0">
                      <a:srgbClr val="FFFFFF"/>
                    </a:gs>
                    <a:gs pos="100000">
                      <a:srgbClr val="FFFFFF"/>
                    </a:gs>
                  </a:gsLst>
                  <a:lin ang="5400000" scaled="0"/>
                </a:gradFill>
              </a:endParaRPr>
            </a:p>
          </p:txBody>
        </p:sp>
        <p:sp>
          <p:nvSpPr>
            <p:cNvPr id="85" name="Rectangle 8"/>
            <p:cNvSpPr/>
            <p:nvPr/>
          </p:nvSpPr>
          <p:spPr bwMode="auto">
            <a:xfrm>
              <a:off x="4245769" y="1200150"/>
              <a:ext cx="2951954" cy="4451349"/>
            </a:xfrm>
            <a:custGeom>
              <a:avLst/>
              <a:gdLst/>
              <a:ahLst/>
              <a:cxnLst/>
              <a:rect l="l" t="t" r="r" b="b"/>
              <a:pathLst>
                <a:path w="2951956" h="4451350">
                  <a:moveTo>
                    <a:pt x="2946167" y="3820502"/>
                  </a:moveTo>
                  <a:cubicBezTo>
                    <a:pt x="2946001" y="3927400"/>
                    <a:pt x="2945832" y="4033986"/>
                    <a:pt x="2945662" y="4140200"/>
                  </a:cubicBezTo>
                  <a:lnTo>
                    <a:pt x="2558051" y="4181144"/>
                  </a:lnTo>
                  <a:cubicBezTo>
                    <a:pt x="2713475" y="4098720"/>
                    <a:pt x="2846820" y="3974047"/>
                    <a:pt x="2946167" y="3820502"/>
                  </a:cubicBezTo>
                  <a:close/>
                  <a:moveTo>
                    <a:pt x="1056557" y="3145227"/>
                  </a:moveTo>
                  <a:cubicBezTo>
                    <a:pt x="1057290" y="3678625"/>
                    <a:pt x="1384783" y="4127260"/>
                    <a:pt x="1829828" y="4258066"/>
                  </a:cubicBezTo>
                  <a:lnTo>
                    <a:pt x="0" y="4451350"/>
                  </a:lnTo>
                  <a:lnTo>
                    <a:pt x="0" y="3211459"/>
                  </a:lnTo>
                  <a:close/>
                  <a:moveTo>
                    <a:pt x="0" y="1326366"/>
                  </a:moveTo>
                  <a:lnTo>
                    <a:pt x="2950070" y="1329308"/>
                  </a:lnTo>
                  <a:cubicBezTo>
                    <a:pt x="2949477" y="1708283"/>
                    <a:pt x="2948884" y="2089087"/>
                    <a:pt x="2948290" y="2469139"/>
                  </a:cubicBezTo>
                  <a:cubicBezTo>
                    <a:pt x="2759532" y="2177304"/>
                    <a:pt x="2450311" y="1987689"/>
                    <a:pt x="2101056" y="1987689"/>
                  </a:cubicBezTo>
                  <a:cubicBezTo>
                    <a:pt x="1530899" y="1987689"/>
                    <a:pt x="1067433" y="2493023"/>
                    <a:pt x="1057500" y="3120927"/>
                  </a:cubicBezTo>
                  <a:lnTo>
                    <a:pt x="0" y="3187053"/>
                  </a:lnTo>
                  <a:close/>
                  <a:moveTo>
                    <a:pt x="0" y="0"/>
                  </a:moveTo>
                  <a:lnTo>
                    <a:pt x="2951956" y="133350"/>
                  </a:lnTo>
                  <a:cubicBezTo>
                    <a:pt x="2951339" y="520813"/>
                    <a:pt x="2950721" y="913227"/>
                    <a:pt x="2950104" y="1307676"/>
                  </a:cubicBezTo>
                  <a:lnTo>
                    <a:pt x="0" y="1301776"/>
                  </a:lnTo>
                  <a:close/>
                </a:path>
              </a:pathLst>
            </a:custGeom>
            <a:solidFill>
              <a:srgbClr val="FFFFFF"/>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defRPr/>
              </a:pPr>
              <a:endParaRPr lang="en-US" sz="1700" kern="0" dirty="0">
                <a:gradFill>
                  <a:gsLst>
                    <a:gs pos="0">
                      <a:srgbClr val="FFFFFF"/>
                    </a:gs>
                    <a:gs pos="100000">
                      <a:srgbClr val="FFFFFF"/>
                    </a:gs>
                  </a:gsLst>
                  <a:lin ang="5400000" scaled="0"/>
                </a:gradFill>
              </a:endParaRPr>
            </a:p>
          </p:txBody>
        </p:sp>
        <p:sp>
          <p:nvSpPr>
            <p:cNvPr id="86" name="Oval 9"/>
            <p:cNvSpPr/>
            <p:nvPr/>
          </p:nvSpPr>
          <p:spPr bwMode="auto">
            <a:xfrm>
              <a:off x="5330825" y="3219450"/>
              <a:ext cx="2032000" cy="2247900"/>
            </a:xfrm>
            <a:custGeom>
              <a:avLst/>
              <a:gdLst/>
              <a:ahLst/>
              <a:cxnLst/>
              <a:rect l="l" t="t" r="r" b="b"/>
              <a:pathLst>
                <a:path w="2032000" h="2247900">
                  <a:moveTo>
                    <a:pt x="1037431" y="753397"/>
                  </a:moveTo>
                  <a:cubicBezTo>
                    <a:pt x="852436" y="753397"/>
                    <a:pt x="702468" y="919299"/>
                    <a:pt x="702468" y="1123950"/>
                  </a:cubicBezTo>
                  <a:cubicBezTo>
                    <a:pt x="702468" y="1328601"/>
                    <a:pt x="852436" y="1494503"/>
                    <a:pt x="1037431" y="1494503"/>
                  </a:cubicBezTo>
                  <a:cubicBezTo>
                    <a:pt x="1222426" y="1494503"/>
                    <a:pt x="1372394" y="1328601"/>
                    <a:pt x="1372394" y="1123950"/>
                  </a:cubicBezTo>
                  <a:cubicBezTo>
                    <a:pt x="1372394" y="919299"/>
                    <a:pt x="1222426" y="753397"/>
                    <a:pt x="1037431" y="753397"/>
                  </a:cubicBezTo>
                  <a:close/>
                  <a:moveTo>
                    <a:pt x="1016000" y="0"/>
                  </a:moveTo>
                  <a:cubicBezTo>
                    <a:pt x="1577121" y="0"/>
                    <a:pt x="2032000" y="503210"/>
                    <a:pt x="2032000" y="1123950"/>
                  </a:cubicBezTo>
                  <a:cubicBezTo>
                    <a:pt x="2032000" y="1744690"/>
                    <a:pt x="1577121" y="2247900"/>
                    <a:pt x="1016000" y="2247900"/>
                  </a:cubicBezTo>
                  <a:cubicBezTo>
                    <a:pt x="454879" y="2247900"/>
                    <a:pt x="0" y="1744690"/>
                    <a:pt x="0" y="1123950"/>
                  </a:cubicBezTo>
                  <a:cubicBezTo>
                    <a:pt x="0" y="503210"/>
                    <a:pt x="454879" y="0"/>
                    <a:pt x="1016000" y="0"/>
                  </a:cubicBezTo>
                  <a:close/>
                </a:path>
              </a:pathLst>
            </a:custGeom>
            <a:solidFill>
              <a:srgbClr val="FFFFFF"/>
            </a:solidFill>
            <a:ln w="19050" cap="flat" cmpd="sng" algn="ctr">
              <a:solidFill>
                <a:srgbClr val="FFFFFF">
                  <a:lumMod val="95000"/>
                  <a:alpha val="50000"/>
                </a:srgbClr>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defRPr/>
              </a:pPr>
              <a:endParaRPr lang="en-US" sz="1700" kern="0" dirty="0">
                <a:gradFill>
                  <a:gsLst>
                    <a:gs pos="0">
                      <a:srgbClr val="FFFFFF"/>
                    </a:gs>
                    <a:gs pos="100000">
                      <a:srgbClr val="FFFFFF"/>
                    </a:gs>
                  </a:gsLst>
                  <a:lin ang="5400000" scaled="0"/>
                </a:gradFill>
              </a:endParaRPr>
            </a:p>
          </p:txBody>
        </p:sp>
        <p:sp>
          <p:nvSpPr>
            <p:cNvPr id="87" name="Oval 11"/>
            <p:cNvSpPr/>
            <p:nvPr/>
          </p:nvSpPr>
          <p:spPr bwMode="auto">
            <a:xfrm>
              <a:off x="6045199" y="3986018"/>
              <a:ext cx="646114" cy="714764"/>
            </a:xfrm>
            <a:custGeom>
              <a:avLst/>
              <a:gdLst/>
              <a:ahLst/>
              <a:cxnLst/>
              <a:rect l="l" t="t" r="r" b="b"/>
              <a:pathLst>
                <a:path w="669926" h="741106">
                  <a:moveTo>
                    <a:pt x="334963" y="231815"/>
                  </a:moveTo>
                  <a:cubicBezTo>
                    <a:pt x="265699" y="231815"/>
                    <a:pt x="209550" y="293930"/>
                    <a:pt x="209550" y="370553"/>
                  </a:cubicBezTo>
                  <a:cubicBezTo>
                    <a:pt x="209550" y="447176"/>
                    <a:pt x="265699" y="509291"/>
                    <a:pt x="334963" y="509291"/>
                  </a:cubicBezTo>
                  <a:cubicBezTo>
                    <a:pt x="404227" y="509291"/>
                    <a:pt x="460376" y="447176"/>
                    <a:pt x="460376" y="370553"/>
                  </a:cubicBezTo>
                  <a:cubicBezTo>
                    <a:pt x="460376" y="293930"/>
                    <a:pt x="404227" y="231815"/>
                    <a:pt x="334963" y="231815"/>
                  </a:cubicBezTo>
                  <a:close/>
                  <a:moveTo>
                    <a:pt x="334963" y="0"/>
                  </a:moveTo>
                  <a:cubicBezTo>
                    <a:pt x="519958" y="0"/>
                    <a:pt x="669926" y="165902"/>
                    <a:pt x="669926" y="370553"/>
                  </a:cubicBezTo>
                  <a:cubicBezTo>
                    <a:pt x="669926" y="575204"/>
                    <a:pt x="519958" y="741106"/>
                    <a:pt x="334963" y="741106"/>
                  </a:cubicBezTo>
                  <a:cubicBezTo>
                    <a:pt x="149968" y="741106"/>
                    <a:pt x="0" y="575204"/>
                    <a:pt x="0" y="370553"/>
                  </a:cubicBezTo>
                  <a:cubicBezTo>
                    <a:pt x="0" y="165902"/>
                    <a:pt x="149968" y="0"/>
                    <a:pt x="334963" y="0"/>
                  </a:cubicBezTo>
                  <a:close/>
                </a:path>
              </a:pathLst>
            </a:custGeom>
            <a:solidFill>
              <a:srgbClr val="FFFFFF">
                <a:lumMod val="95000"/>
              </a:srgbClr>
            </a:solidFill>
            <a:ln w="9525" cap="flat" cmpd="sng" algn="ctr">
              <a:solidFill>
                <a:srgbClr val="FFFFFF">
                  <a:lumMod val="85000"/>
                  <a:alpha val="50000"/>
                </a:srgbClr>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defRPr/>
              </a:pPr>
              <a:endParaRPr lang="en-US" sz="1700" kern="0" dirty="0">
                <a:gradFill>
                  <a:gsLst>
                    <a:gs pos="0">
                      <a:srgbClr val="FFFFFF"/>
                    </a:gs>
                    <a:gs pos="100000">
                      <a:srgbClr val="FFFFFF"/>
                    </a:gs>
                  </a:gsLst>
                  <a:lin ang="5400000" scaled="0"/>
                </a:gradFill>
              </a:endParaRPr>
            </a:p>
          </p:txBody>
        </p:sp>
      </p:grpSp>
      <p:grpSp>
        <p:nvGrpSpPr>
          <p:cNvPr id="106" name="Group 105"/>
          <p:cNvGrpSpPr/>
          <p:nvPr>
            <p:custDataLst>
              <p:tags r:id="rId16"/>
            </p:custDataLst>
          </p:nvPr>
        </p:nvGrpSpPr>
        <p:grpSpPr>
          <a:xfrm>
            <a:off x="6754941" y="1785286"/>
            <a:ext cx="477683" cy="479933"/>
            <a:chOff x="8886825" y="2044669"/>
            <a:chExt cx="636745" cy="639910"/>
          </a:xfrm>
        </p:grpSpPr>
        <p:sp>
          <p:nvSpPr>
            <p:cNvPr id="90" name="Rectangle 7"/>
            <p:cNvSpPr/>
            <p:nvPr/>
          </p:nvSpPr>
          <p:spPr bwMode="auto">
            <a:xfrm flipH="1">
              <a:off x="9016419" y="2044669"/>
              <a:ext cx="507151" cy="639910"/>
            </a:xfrm>
            <a:custGeom>
              <a:avLst/>
              <a:gdLst/>
              <a:ahLst/>
              <a:cxnLst/>
              <a:rect l="l" t="t" r="r" b="b"/>
              <a:pathLst>
                <a:path w="507151" h="639910">
                  <a:moveTo>
                    <a:pt x="0" y="442141"/>
                  </a:moveTo>
                  <a:lnTo>
                    <a:pt x="0" y="602116"/>
                  </a:lnTo>
                  <a:lnTo>
                    <a:pt x="77428" y="637642"/>
                  </a:lnTo>
                  <a:lnTo>
                    <a:pt x="77428" y="460381"/>
                  </a:lnTo>
                  <a:close/>
                  <a:moveTo>
                    <a:pt x="341087" y="441902"/>
                  </a:moveTo>
                  <a:lnTo>
                    <a:pt x="104513" y="458444"/>
                  </a:lnTo>
                  <a:lnTo>
                    <a:pt x="94158" y="459279"/>
                  </a:lnTo>
                  <a:cubicBezTo>
                    <a:pt x="94148" y="459528"/>
                    <a:pt x="94139" y="459778"/>
                    <a:pt x="94129" y="460027"/>
                  </a:cubicBezTo>
                  <a:lnTo>
                    <a:pt x="83561" y="460689"/>
                  </a:lnTo>
                  <a:lnTo>
                    <a:pt x="83561" y="638554"/>
                  </a:lnTo>
                  <a:lnTo>
                    <a:pt x="87266" y="638162"/>
                  </a:lnTo>
                  <a:cubicBezTo>
                    <a:pt x="87244" y="638745"/>
                    <a:pt x="87221" y="639327"/>
                    <a:pt x="87199" y="639910"/>
                  </a:cubicBezTo>
                  <a:lnTo>
                    <a:pt x="316362" y="613964"/>
                  </a:lnTo>
                  <a:lnTo>
                    <a:pt x="346054" y="610827"/>
                  </a:lnTo>
                  <a:cubicBezTo>
                    <a:pt x="345925" y="610789"/>
                    <a:pt x="345795" y="610751"/>
                    <a:pt x="345686" y="610643"/>
                  </a:cubicBezTo>
                  <a:lnTo>
                    <a:pt x="452214" y="598582"/>
                  </a:lnTo>
                  <a:lnTo>
                    <a:pt x="450519" y="599793"/>
                  </a:lnTo>
                  <a:lnTo>
                    <a:pt x="506122" y="593919"/>
                  </a:lnTo>
                  <a:cubicBezTo>
                    <a:pt x="506123" y="593439"/>
                    <a:pt x="506124" y="592958"/>
                    <a:pt x="506124" y="592477"/>
                  </a:cubicBezTo>
                  <a:lnTo>
                    <a:pt x="507026" y="592375"/>
                  </a:lnTo>
                  <a:lnTo>
                    <a:pt x="507026" y="466943"/>
                  </a:lnTo>
                  <a:lnTo>
                    <a:pt x="481374" y="466943"/>
                  </a:lnTo>
                  <a:lnTo>
                    <a:pt x="481374" y="540801"/>
                  </a:lnTo>
                  <a:close/>
                  <a:moveTo>
                    <a:pt x="481374" y="190666"/>
                  </a:moveTo>
                  <a:lnTo>
                    <a:pt x="481374" y="231845"/>
                  </a:lnTo>
                  <a:lnTo>
                    <a:pt x="507027" y="231845"/>
                  </a:lnTo>
                  <a:cubicBezTo>
                    <a:pt x="507225" y="218764"/>
                    <a:pt x="507159" y="205820"/>
                    <a:pt x="507026" y="193085"/>
                  </a:cubicBezTo>
                  <a:lnTo>
                    <a:pt x="506751" y="193085"/>
                  </a:lnTo>
                  <a:cubicBezTo>
                    <a:pt x="506752" y="192287"/>
                    <a:pt x="506754" y="191489"/>
                    <a:pt x="506755" y="190691"/>
                  </a:cubicBezTo>
                  <a:close/>
                  <a:moveTo>
                    <a:pt x="77428" y="190482"/>
                  </a:moveTo>
                  <a:lnTo>
                    <a:pt x="0" y="197773"/>
                  </a:lnTo>
                  <a:lnTo>
                    <a:pt x="0" y="438961"/>
                  </a:lnTo>
                  <a:lnTo>
                    <a:pt x="77428" y="456757"/>
                  </a:lnTo>
                  <a:close/>
                  <a:moveTo>
                    <a:pt x="83561" y="190269"/>
                  </a:moveTo>
                  <a:lnTo>
                    <a:pt x="83561" y="457189"/>
                  </a:lnTo>
                  <a:lnTo>
                    <a:pt x="83724" y="457178"/>
                  </a:lnTo>
                  <a:lnTo>
                    <a:pt x="83664" y="456319"/>
                  </a:lnTo>
                  <a:lnTo>
                    <a:pt x="336464" y="438642"/>
                  </a:lnTo>
                  <a:lnTo>
                    <a:pt x="209867" y="349394"/>
                  </a:lnTo>
                  <a:lnTo>
                    <a:pt x="435085" y="190620"/>
                  </a:lnTo>
                  <a:close/>
                  <a:moveTo>
                    <a:pt x="77428" y="0"/>
                  </a:moveTo>
                  <a:lnTo>
                    <a:pt x="0" y="22773"/>
                  </a:lnTo>
                  <a:lnTo>
                    <a:pt x="0" y="194885"/>
                  </a:lnTo>
                  <a:lnTo>
                    <a:pt x="77428" y="186925"/>
                  </a:lnTo>
                  <a:close/>
                  <a:moveTo>
                    <a:pt x="83561" y="0"/>
                  </a:moveTo>
                  <a:lnTo>
                    <a:pt x="83561" y="186556"/>
                  </a:lnTo>
                  <a:lnTo>
                    <a:pt x="440849" y="186556"/>
                  </a:lnTo>
                  <a:lnTo>
                    <a:pt x="481374" y="157987"/>
                  </a:lnTo>
                  <a:lnTo>
                    <a:pt x="481374" y="186556"/>
                  </a:lnTo>
                  <a:lnTo>
                    <a:pt x="506762" y="186556"/>
                  </a:lnTo>
                  <a:cubicBezTo>
                    <a:pt x="506850" y="130319"/>
                    <a:pt x="506937" y="74374"/>
                    <a:pt x="507026" y="19130"/>
                  </a:cubicBezTo>
                  <a:close/>
                </a:path>
              </a:pathLst>
            </a:custGeom>
            <a:solidFill>
              <a:srgbClr val="FFFFFF"/>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defRPr/>
              </a:pPr>
              <a:endParaRPr lang="en-US" sz="1700" kern="0" dirty="0">
                <a:gradFill>
                  <a:gsLst>
                    <a:gs pos="0">
                      <a:srgbClr val="FFFFFF"/>
                    </a:gs>
                    <a:gs pos="100000">
                      <a:srgbClr val="FFFFFF"/>
                    </a:gs>
                  </a:gsLst>
                  <a:lin ang="5400000" scaled="0"/>
                </a:gradFill>
              </a:endParaRPr>
            </a:p>
          </p:txBody>
        </p:sp>
        <p:sp>
          <p:nvSpPr>
            <p:cNvPr id="105" name="Right Arrow 104"/>
            <p:cNvSpPr/>
            <p:nvPr/>
          </p:nvSpPr>
          <p:spPr bwMode="auto">
            <a:xfrm>
              <a:off x="8886825" y="2240756"/>
              <a:ext cx="392813" cy="306614"/>
            </a:xfrm>
            <a:prstGeom prst="rightArrow">
              <a:avLst>
                <a:gd name="adj1" fmla="val 61413"/>
                <a:gd name="adj2" fmla="val 70924"/>
              </a:avLst>
            </a:prstGeom>
            <a:solidFill>
              <a:srgbClr val="FFFFFF"/>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kern="0" dirty="0">
                <a:gradFill>
                  <a:gsLst>
                    <a:gs pos="0">
                      <a:srgbClr val="FFFFFF"/>
                    </a:gs>
                    <a:gs pos="100000">
                      <a:srgbClr val="FFFFFF"/>
                    </a:gs>
                  </a:gsLst>
                  <a:lin ang="5400000" scaled="0"/>
                </a:gradFill>
              </a:endParaRPr>
            </a:p>
          </p:txBody>
        </p:sp>
      </p:grpSp>
      <p:pic>
        <p:nvPicPr>
          <p:cNvPr id="1028" name="Picture 4" descr="C:\Users\PPTTRAINEE5\Desktop\W7.png"/>
          <p:cNvPicPr>
            <a:picLocks noChangeAspect="1" noChangeArrowheads="1"/>
          </p:cNvPicPr>
          <p:nvPr>
            <p:custDataLst>
              <p:tags r:id="rId17"/>
            </p:custDataLst>
          </p:nvPr>
        </p:nvPicPr>
        <p:blipFill>
          <a:blip r:embed="rId27">
            <a:extLst>
              <a:ext uri="{BEBA8EAE-BF5A-486C-A8C5-ECC9F3942E4B}">
                <a14:imgProps xmlns:a14="http://schemas.microsoft.com/office/drawing/2010/main">
                  <a14:imgLayer r:embed="rId2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830282" y="1781049"/>
            <a:ext cx="650458" cy="488408"/>
          </a:xfrm>
          <a:prstGeom prst="rect">
            <a:avLst/>
          </a:prstGeom>
          <a:noFill/>
          <a:extLst>
            <a:ext uri="{909E8E84-426E-40DD-AFC4-6F175D3DCCD1}">
              <a14:hiddenFill xmlns:a14="http://schemas.microsoft.com/office/drawing/2010/main">
                <a:solidFill>
                  <a:srgbClr val="FFFFFF"/>
                </a:solidFill>
              </a14:hiddenFill>
            </a:ext>
          </a:extLst>
        </p:spPr>
      </p:pic>
      <p:grpSp>
        <p:nvGrpSpPr>
          <p:cNvPr id="1037" name="Group 1036"/>
          <p:cNvGrpSpPr/>
          <p:nvPr>
            <p:custDataLst>
              <p:tags r:id="rId18"/>
            </p:custDataLst>
          </p:nvPr>
        </p:nvGrpSpPr>
        <p:grpSpPr>
          <a:xfrm>
            <a:off x="2198081" y="3242147"/>
            <a:ext cx="1822752" cy="868985"/>
            <a:chOff x="2798152" y="4322861"/>
            <a:chExt cx="2429703" cy="1158647"/>
          </a:xfrm>
        </p:grpSpPr>
        <p:pic>
          <p:nvPicPr>
            <p:cNvPr id="41" name="Picture 40"/>
            <p:cNvPicPr>
              <a:picLocks noChangeAspect="1"/>
            </p:cNvPicPr>
            <p:nvPr/>
          </p:nvPicPr>
          <p:blipFill>
            <a:blip r:embed="rId29" cstate="print">
              <a:extLst>
                <a:ext uri="{BEBA8EAE-BF5A-486C-A8C5-ECC9F3942E4B}">
                  <a14:imgProps xmlns:a14="http://schemas.microsoft.com/office/drawing/2010/main">
                    <a14:imgLayer r:embed="rId30">
                      <a14:imgEffect>
                        <a14:brightnessContrast bright="100000"/>
                      </a14:imgEffect>
                    </a14:imgLayer>
                  </a14:imgProps>
                </a:ext>
                <a:ext uri="{28A0092B-C50C-407E-A947-70E740481C1C}">
                  <a14:useLocalDpi xmlns:a14="http://schemas.microsoft.com/office/drawing/2010/main"/>
                </a:ext>
              </a:extLst>
            </a:blip>
            <a:stretch>
              <a:fillRect/>
            </a:stretch>
          </p:blipFill>
          <p:spPr>
            <a:xfrm>
              <a:off x="2798152" y="4574592"/>
              <a:ext cx="444079" cy="655184"/>
            </a:xfrm>
            <a:prstGeom prst="rect">
              <a:avLst/>
            </a:prstGeom>
          </p:spPr>
        </p:pic>
        <p:grpSp>
          <p:nvGrpSpPr>
            <p:cNvPr id="1030" name="Group 1029"/>
            <p:cNvGrpSpPr/>
            <p:nvPr/>
          </p:nvGrpSpPr>
          <p:grpSpPr>
            <a:xfrm>
              <a:off x="3484724" y="4322861"/>
              <a:ext cx="1501963" cy="1158647"/>
              <a:chOff x="3168461" y="3817936"/>
              <a:chExt cx="1501963" cy="1158647"/>
            </a:xfrm>
          </p:grpSpPr>
          <p:sp>
            <p:nvSpPr>
              <p:cNvPr id="114" name="Freeform 113"/>
              <p:cNvSpPr/>
              <p:nvPr/>
            </p:nvSpPr>
            <p:spPr>
              <a:xfrm>
                <a:off x="3168461" y="4033838"/>
                <a:ext cx="526469" cy="728662"/>
              </a:xfrm>
              <a:custGeom>
                <a:avLst/>
                <a:gdLst/>
                <a:ahLst/>
                <a:cxnLst/>
                <a:rect l="l" t="t" r="r" b="b"/>
                <a:pathLst>
                  <a:path w="526469" h="728662">
                    <a:moveTo>
                      <a:pt x="18783" y="439617"/>
                    </a:moveTo>
                    <a:lnTo>
                      <a:pt x="18783" y="668164"/>
                    </a:lnTo>
                    <a:lnTo>
                      <a:pt x="246385" y="707152"/>
                    </a:lnTo>
                    <a:lnTo>
                      <a:pt x="246385" y="451717"/>
                    </a:lnTo>
                    <a:close/>
                    <a:moveTo>
                      <a:pt x="18783" y="375759"/>
                    </a:moveTo>
                    <a:lnTo>
                      <a:pt x="18783" y="420124"/>
                    </a:lnTo>
                    <a:lnTo>
                      <a:pt x="247490" y="430879"/>
                    </a:lnTo>
                    <a:lnTo>
                      <a:pt x="247490" y="379120"/>
                    </a:lnTo>
                    <a:close/>
                    <a:moveTo>
                      <a:pt x="247490" y="308539"/>
                    </a:moveTo>
                    <a:lnTo>
                      <a:pt x="19335" y="311228"/>
                    </a:lnTo>
                    <a:lnTo>
                      <a:pt x="19335" y="355593"/>
                    </a:lnTo>
                    <a:lnTo>
                      <a:pt x="247490" y="360298"/>
                    </a:lnTo>
                    <a:close/>
                    <a:moveTo>
                      <a:pt x="248595" y="236614"/>
                    </a:moveTo>
                    <a:lnTo>
                      <a:pt x="19335" y="247369"/>
                    </a:lnTo>
                    <a:lnTo>
                      <a:pt x="19335" y="292406"/>
                    </a:lnTo>
                    <a:lnTo>
                      <a:pt x="248595" y="288373"/>
                    </a:lnTo>
                    <a:close/>
                    <a:moveTo>
                      <a:pt x="249148" y="164689"/>
                    </a:moveTo>
                    <a:lnTo>
                      <a:pt x="20440" y="182838"/>
                    </a:lnTo>
                    <a:lnTo>
                      <a:pt x="20440" y="229220"/>
                    </a:lnTo>
                    <a:lnTo>
                      <a:pt x="249148" y="216448"/>
                    </a:lnTo>
                    <a:close/>
                    <a:moveTo>
                      <a:pt x="249148" y="94108"/>
                    </a:moveTo>
                    <a:lnTo>
                      <a:pt x="20993" y="118979"/>
                    </a:lnTo>
                    <a:lnTo>
                      <a:pt x="20993" y="166033"/>
                    </a:lnTo>
                    <a:lnTo>
                      <a:pt x="249148" y="146539"/>
                    </a:lnTo>
                    <a:close/>
                    <a:moveTo>
                      <a:pt x="249700" y="22855"/>
                    </a:moveTo>
                    <a:lnTo>
                      <a:pt x="21545" y="55793"/>
                    </a:lnTo>
                    <a:lnTo>
                      <a:pt x="21545" y="100830"/>
                    </a:lnTo>
                    <a:lnTo>
                      <a:pt x="249700" y="73942"/>
                    </a:lnTo>
                    <a:close/>
                    <a:moveTo>
                      <a:pt x="272902" y="0"/>
                    </a:moveTo>
                    <a:lnTo>
                      <a:pt x="466826" y="74029"/>
                    </a:lnTo>
                    <a:lnTo>
                      <a:pt x="410557" y="503461"/>
                    </a:lnTo>
                    <a:lnTo>
                      <a:pt x="526469" y="526287"/>
                    </a:lnTo>
                    <a:lnTo>
                      <a:pt x="526469" y="619766"/>
                    </a:lnTo>
                    <a:lnTo>
                      <a:pt x="265168" y="728662"/>
                    </a:lnTo>
                    <a:lnTo>
                      <a:pt x="0" y="680264"/>
                    </a:lnTo>
                    <a:lnTo>
                      <a:pt x="0" y="41676"/>
                    </a:lnTo>
                    <a:close/>
                  </a:path>
                </a:pathLst>
              </a:custGeom>
              <a:solidFill>
                <a:srgbClr val="FFFFFF"/>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defRPr/>
                </a:pPr>
                <a:endParaRPr lang="en-US" sz="1700" kern="0" dirty="0">
                  <a:gradFill>
                    <a:gsLst>
                      <a:gs pos="0">
                        <a:srgbClr val="FFFFFF"/>
                      </a:gs>
                      <a:gs pos="100000">
                        <a:srgbClr val="FFFFFF"/>
                      </a:gs>
                    </a:gsLst>
                    <a:lin ang="5400000" scaled="0"/>
                  </a:gradFill>
                </a:endParaRPr>
              </a:p>
            </p:txBody>
          </p:sp>
          <p:pic>
            <p:nvPicPr>
              <p:cNvPr id="43" name="Picture 6" descr="\\MAGNUM\Projects\Microsoft\Cloud Power FY12\Design\ICONS_PNG\Screen.png"/>
              <p:cNvPicPr>
                <a:picLocks noChangeAspect="1" noChangeArrowheads="1"/>
              </p:cNvPicPr>
              <p:nvPr/>
            </p:nvPicPr>
            <p:blipFill>
              <a:blip r:embed="rId31" cstate="print">
                <a:lum bright="100000"/>
              </a:blip>
              <a:srcRect/>
              <a:stretch>
                <a:fillRect/>
              </a:stretch>
            </p:blipFill>
            <p:spPr bwMode="auto">
              <a:xfrm>
                <a:off x="3409949" y="3817936"/>
                <a:ext cx="1260475" cy="1158647"/>
              </a:xfrm>
              <a:prstGeom prst="rect">
                <a:avLst/>
              </a:prstGeom>
              <a:noFill/>
            </p:spPr>
          </p:pic>
        </p:grpSp>
        <p:grpSp>
          <p:nvGrpSpPr>
            <p:cNvPr id="151" name="Group 150"/>
            <p:cNvGrpSpPr/>
            <p:nvPr/>
          </p:nvGrpSpPr>
          <p:grpSpPr>
            <a:xfrm flipH="1">
              <a:off x="4941080" y="4657196"/>
              <a:ext cx="286775" cy="491796"/>
              <a:chOff x="2838267" y="2766060"/>
              <a:chExt cx="3227253" cy="3570130"/>
            </a:xfrm>
            <a:solidFill>
              <a:schemeClr val="tx1"/>
            </a:solidFill>
          </p:grpSpPr>
          <p:sp>
            <p:nvSpPr>
              <p:cNvPr id="152" name="Rectangle 3"/>
              <p:cNvSpPr/>
              <p:nvPr/>
            </p:nvSpPr>
            <p:spPr bwMode="auto">
              <a:xfrm>
                <a:off x="3268980" y="2766060"/>
                <a:ext cx="2796540" cy="3375660"/>
              </a:xfrm>
              <a:custGeom>
                <a:avLst/>
                <a:gdLst/>
                <a:ahLst/>
                <a:cxnLst/>
                <a:rect l="l" t="t" r="r" b="b"/>
                <a:pathLst>
                  <a:path w="2796540" h="3375660">
                    <a:moveTo>
                      <a:pt x="2261870" y="2791917"/>
                    </a:moveTo>
                    <a:lnTo>
                      <a:pt x="2261870" y="3088640"/>
                    </a:lnTo>
                    <a:lnTo>
                      <a:pt x="2649220" y="3088640"/>
                    </a:lnTo>
                    <a:lnTo>
                      <a:pt x="2649220" y="2791917"/>
                    </a:lnTo>
                    <a:close/>
                    <a:moveTo>
                      <a:pt x="1557021" y="2791917"/>
                    </a:moveTo>
                    <a:lnTo>
                      <a:pt x="1557021" y="3088640"/>
                    </a:lnTo>
                    <a:lnTo>
                      <a:pt x="1944371" y="3088640"/>
                    </a:lnTo>
                    <a:lnTo>
                      <a:pt x="1944371" y="2791917"/>
                    </a:lnTo>
                    <a:close/>
                    <a:moveTo>
                      <a:pt x="852171" y="2791917"/>
                    </a:moveTo>
                    <a:lnTo>
                      <a:pt x="852171" y="3088640"/>
                    </a:lnTo>
                    <a:lnTo>
                      <a:pt x="1239521" y="3088640"/>
                    </a:lnTo>
                    <a:lnTo>
                      <a:pt x="1239521" y="2791917"/>
                    </a:lnTo>
                    <a:close/>
                    <a:moveTo>
                      <a:pt x="147321" y="2791917"/>
                    </a:moveTo>
                    <a:lnTo>
                      <a:pt x="147321" y="3088640"/>
                    </a:lnTo>
                    <a:lnTo>
                      <a:pt x="534671" y="3088640"/>
                    </a:lnTo>
                    <a:lnTo>
                      <a:pt x="534671" y="2791917"/>
                    </a:lnTo>
                    <a:close/>
                    <a:moveTo>
                      <a:pt x="2261870" y="2258517"/>
                    </a:moveTo>
                    <a:lnTo>
                      <a:pt x="2261870" y="2555240"/>
                    </a:lnTo>
                    <a:lnTo>
                      <a:pt x="2649220" y="2555240"/>
                    </a:lnTo>
                    <a:lnTo>
                      <a:pt x="2649220" y="2258517"/>
                    </a:lnTo>
                    <a:close/>
                    <a:moveTo>
                      <a:pt x="1557021" y="2258517"/>
                    </a:moveTo>
                    <a:lnTo>
                      <a:pt x="1557021" y="2555240"/>
                    </a:lnTo>
                    <a:lnTo>
                      <a:pt x="1944371" y="2555240"/>
                    </a:lnTo>
                    <a:lnTo>
                      <a:pt x="1944371" y="2258517"/>
                    </a:lnTo>
                    <a:close/>
                    <a:moveTo>
                      <a:pt x="852171" y="2258517"/>
                    </a:moveTo>
                    <a:lnTo>
                      <a:pt x="852171" y="2555240"/>
                    </a:lnTo>
                    <a:lnTo>
                      <a:pt x="1239521" y="2555240"/>
                    </a:lnTo>
                    <a:lnTo>
                      <a:pt x="1239521" y="2258517"/>
                    </a:lnTo>
                    <a:close/>
                    <a:moveTo>
                      <a:pt x="147321" y="2258517"/>
                    </a:moveTo>
                    <a:lnTo>
                      <a:pt x="147321" y="2555240"/>
                    </a:lnTo>
                    <a:lnTo>
                      <a:pt x="534671" y="2555240"/>
                    </a:lnTo>
                    <a:lnTo>
                      <a:pt x="534671" y="2258517"/>
                    </a:lnTo>
                    <a:close/>
                    <a:moveTo>
                      <a:pt x="2261870" y="1725117"/>
                    </a:moveTo>
                    <a:lnTo>
                      <a:pt x="2261870" y="2021840"/>
                    </a:lnTo>
                    <a:lnTo>
                      <a:pt x="2649220" y="2021840"/>
                    </a:lnTo>
                    <a:lnTo>
                      <a:pt x="2649220" y="1725117"/>
                    </a:lnTo>
                    <a:close/>
                    <a:moveTo>
                      <a:pt x="1557021" y="1725117"/>
                    </a:moveTo>
                    <a:lnTo>
                      <a:pt x="1557021" y="2021840"/>
                    </a:lnTo>
                    <a:lnTo>
                      <a:pt x="1944371" y="2021840"/>
                    </a:lnTo>
                    <a:lnTo>
                      <a:pt x="1944371" y="1725117"/>
                    </a:lnTo>
                    <a:close/>
                    <a:moveTo>
                      <a:pt x="852171" y="1725117"/>
                    </a:moveTo>
                    <a:lnTo>
                      <a:pt x="852171" y="2021840"/>
                    </a:lnTo>
                    <a:lnTo>
                      <a:pt x="1239521" y="2021840"/>
                    </a:lnTo>
                    <a:lnTo>
                      <a:pt x="1239521" y="1725117"/>
                    </a:lnTo>
                    <a:close/>
                    <a:moveTo>
                      <a:pt x="147321" y="1725117"/>
                    </a:moveTo>
                    <a:lnTo>
                      <a:pt x="147321" y="2021840"/>
                    </a:lnTo>
                    <a:lnTo>
                      <a:pt x="534671" y="2021840"/>
                    </a:lnTo>
                    <a:lnTo>
                      <a:pt x="534671" y="1725117"/>
                    </a:lnTo>
                    <a:close/>
                    <a:moveTo>
                      <a:pt x="147320" y="1433017"/>
                    </a:moveTo>
                    <a:lnTo>
                      <a:pt x="147320" y="1524457"/>
                    </a:lnTo>
                    <a:lnTo>
                      <a:pt x="2649220" y="1524457"/>
                    </a:lnTo>
                    <a:lnTo>
                      <a:pt x="2649220" y="1433017"/>
                    </a:lnTo>
                    <a:close/>
                    <a:moveTo>
                      <a:pt x="191262" y="158216"/>
                    </a:moveTo>
                    <a:lnTo>
                      <a:pt x="2605278" y="158216"/>
                    </a:lnTo>
                    <a:lnTo>
                      <a:pt x="2605278" y="1264640"/>
                    </a:lnTo>
                    <a:lnTo>
                      <a:pt x="191262" y="1264640"/>
                    </a:lnTo>
                    <a:close/>
                    <a:moveTo>
                      <a:pt x="147320" y="112217"/>
                    </a:moveTo>
                    <a:lnTo>
                      <a:pt x="147320" y="1310640"/>
                    </a:lnTo>
                    <a:lnTo>
                      <a:pt x="2649220" y="1310640"/>
                    </a:lnTo>
                    <a:lnTo>
                      <a:pt x="2649220" y="112217"/>
                    </a:lnTo>
                    <a:close/>
                    <a:moveTo>
                      <a:pt x="0" y="0"/>
                    </a:moveTo>
                    <a:lnTo>
                      <a:pt x="2796540" y="0"/>
                    </a:lnTo>
                    <a:lnTo>
                      <a:pt x="2796540" y="3375660"/>
                    </a:lnTo>
                    <a:lnTo>
                      <a:pt x="0" y="3375660"/>
                    </a:lnTo>
                    <a:close/>
                  </a:path>
                </a:pathLst>
              </a:custGeom>
              <a:grpFill/>
              <a:ln w="9525" cap="flat" cmpd="sng" algn="ctr">
                <a:noFill/>
                <a:prstDash val="soli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ea typeface="Segoe UI" pitchFamily="34" charset="0"/>
                  <a:cs typeface="Segoe UI" pitchFamily="34" charset="0"/>
                </a:endParaRPr>
              </a:p>
            </p:txBody>
          </p:sp>
          <p:sp>
            <p:nvSpPr>
              <p:cNvPr id="153" name="Rectangle 4"/>
              <p:cNvSpPr/>
              <p:nvPr/>
            </p:nvSpPr>
            <p:spPr bwMode="auto">
              <a:xfrm>
                <a:off x="2838267" y="2766060"/>
                <a:ext cx="386560" cy="3535680"/>
              </a:xfrm>
              <a:custGeom>
                <a:avLst/>
                <a:gdLst>
                  <a:gd name="connsiteX0" fmla="*/ 0 w 356553"/>
                  <a:gd name="connsiteY0" fmla="*/ 0 h 3375660"/>
                  <a:gd name="connsiteX1" fmla="*/ 356553 w 356553"/>
                  <a:gd name="connsiteY1" fmla="*/ 0 h 3375660"/>
                  <a:gd name="connsiteX2" fmla="*/ 356553 w 356553"/>
                  <a:gd name="connsiteY2" fmla="*/ 3375660 h 3375660"/>
                  <a:gd name="connsiteX3" fmla="*/ 0 w 356553"/>
                  <a:gd name="connsiteY3" fmla="*/ 3375660 h 3375660"/>
                  <a:gd name="connsiteX4" fmla="*/ 0 w 356553"/>
                  <a:gd name="connsiteY4" fmla="*/ 0 h 3375660"/>
                  <a:gd name="connsiteX0" fmla="*/ 4763 w 356553"/>
                  <a:gd name="connsiteY0" fmla="*/ 147638 h 3375660"/>
                  <a:gd name="connsiteX1" fmla="*/ 356553 w 356553"/>
                  <a:gd name="connsiteY1" fmla="*/ 0 h 3375660"/>
                  <a:gd name="connsiteX2" fmla="*/ 356553 w 356553"/>
                  <a:gd name="connsiteY2" fmla="*/ 3375660 h 3375660"/>
                  <a:gd name="connsiteX3" fmla="*/ 0 w 356553"/>
                  <a:gd name="connsiteY3" fmla="*/ 3375660 h 3375660"/>
                  <a:gd name="connsiteX4" fmla="*/ 4763 w 356553"/>
                  <a:gd name="connsiteY4" fmla="*/ 147638 h 3375660"/>
                  <a:gd name="connsiteX0" fmla="*/ 27623 w 379413"/>
                  <a:gd name="connsiteY0" fmla="*/ 147638 h 3535680"/>
                  <a:gd name="connsiteX1" fmla="*/ 379413 w 379413"/>
                  <a:gd name="connsiteY1" fmla="*/ 0 h 3535680"/>
                  <a:gd name="connsiteX2" fmla="*/ 379413 w 379413"/>
                  <a:gd name="connsiteY2" fmla="*/ 3375660 h 3535680"/>
                  <a:gd name="connsiteX3" fmla="*/ 0 w 379413"/>
                  <a:gd name="connsiteY3" fmla="*/ 3535680 h 3535680"/>
                  <a:gd name="connsiteX4" fmla="*/ 27623 w 379413"/>
                  <a:gd name="connsiteY4" fmla="*/ 147638 h 3535680"/>
                  <a:gd name="connsiteX0" fmla="*/ 6192 w 379413"/>
                  <a:gd name="connsiteY0" fmla="*/ 150019 h 3535680"/>
                  <a:gd name="connsiteX1" fmla="*/ 379413 w 379413"/>
                  <a:gd name="connsiteY1" fmla="*/ 0 h 3535680"/>
                  <a:gd name="connsiteX2" fmla="*/ 379413 w 379413"/>
                  <a:gd name="connsiteY2" fmla="*/ 3375660 h 3535680"/>
                  <a:gd name="connsiteX3" fmla="*/ 0 w 379413"/>
                  <a:gd name="connsiteY3" fmla="*/ 3535680 h 3535680"/>
                  <a:gd name="connsiteX4" fmla="*/ 6192 w 379413"/>
                  <a:gd name="connsiteY4" fmla="*/ 150019 h 3535680"/>
                  <a:gd name="connsiteX0" fmla="*/ 251 w 382997"/>
                  <a:gd name="connsiteY0" fmla="*/ 150019 h 3535680"/>
                  <a:gd name="connsiteX1" fmla="*/ 382997 w 382997"/>
                  <a:gd name="connsiteY1" fmla="*/ 0 h 3535680"/>
                  <a:gd name="connsiteX2" fmla="*/ 382997 w 382997"/>
                  <a:gd name="connsiteY2" fmla="*/ 3375660 h 3535680"/>
                  <a:gd name="connsiteX3" fmla="*/ 3584 w 382997"/>
                  <a:gd name="connsiteY3" fmla="*/ 3535680 h 3535680"/>
                  <a:gd name="connsiteX4" fmla="*/ 251 w 382997"/>
                  <a:gd name="connsiteY4" fmla="*/ 150019 h 3535680"/>
                  <a:gd name="connsiteX0" fmla="*/ 3811 w 386557"/>
                  <a:gd name="connsiteY0" fmla="*/ 150019 h 3535680"/>
                  <a:gd name="connsiteX1" fmla="*/ 386557 w 386557"/>
                  <a:gd name="connsiteY1" fmla="*/ 0 h 3535680"/>
                  <a:gd name="connsiteX2" fmla="*/ 386557 w 386557"/>
                  <a:gd name="connsiteY2" fmla="*/ 3375660 h 3535680"/>
                  <a:gd name="connsiteX3" fmla="*/ 0 w 386557"/>
                  <a:gd name="connsiteY3" fmla="*/ 3535680 h 3535680"/>
                  <a:gd name="connsiteX4" fmla="*/ 3811 w 386557"/>
                  <a:gd name="connsiteY4" fmla="*/ 150019 h 3535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557" h="3535680">
                    <a:moveTo>
                      <a:pt x="3811" y="150019"/>
                    </a:moveTo>
                    <a:lnTo>
                      <a:pt x="386557" y="0"/>
                    </a:lnTo>
                    <a:lnTo>
                      <a:pt x="386557" y="3375660"/>
                    </a:lnTo>
                    <a:lnTo>
                      <a:pt x="0" y="3535680"/>
                    </a:lnTo>
                    <a:cubicBezTo>
                      <a:pt x="1588" y="2459673"/>
                      <a:pt x="2223" y="1226026"/>
                      <a:pt x="3811" y="150019"/>
                    </a:cubicBezTo>
                    <a:close/>
                  </a:path>
                </a:pathLst>
              </a:custGeom>
              <a:grpFill/>
              <a:ln w="9525" cap="flat" cmpd="sng" algn="ctr">
                <a:noFill/>
                <a:prstDash val="soli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ea typeface="Segoe UI" pitchFamily="34" charset="0"/>
                  <a:cs typeface="Segoe UI" pitchFamily="34" charset="0"/>
                </a:endParaRPr>
              </a:p>
            </p:txBody>
          </p:sp>
          <p:sp>
            <p:nvSpPr>
              <p:cNvPr id="154" name="Rectangle 5"/>
              <p:cNvSpPr/>
              <p:nvPr/>
            </p:nvSpPr>
            <p:spPr bwMode="auto">
              <a:xfrm>
                <a:off x="2857502" y="6165060"/>
                <a:ext cx="3208018" cy="171130"/>
              </a:xfrm>
              <a:custGeom>
                <a:avLst/>
                <a:gdLst>
                  <a:gd name="connsiteX0" fmla="*/ 0 w 2796540"/>
                  <a:gd name="connsiteY0" fmla="*/ 0 h 185420"/>
                  <a:gd name="connsiteX1" fmla="*/ 2796540 w 2796540"/>
                  <a:gd name="connsiteY1" fmla="*/ 0 h 185420"/>
                  <a:gd name="connsiteX2" fmla="*/ 2796540 w 2796540"/>
                  <a:gd name="connsiteY2" fmla="*/ 185420 h 185420"/>
                  <a:gd name="connsiteX3" fmla="*/ 0 w 2796540"/>
                  <a:gd name="connsiteY3" fmla="*/ 185420 h 185420"/>
                  <a:gd name="connsiteX4" fmla="*/ 0 w 2796540"/>
                  <a:gd name="connsiteY4" fmla="*/ 0 h 185420"/>
                  <a:gd name="connsiteX0" fmla="*/ 409575 w 3206115"/>
                  <a:gd name="connsiteY0" fmla="*/ 0 h 185420"/>
                  <a:gd name="connsiteX1" fmla="*/ 3206115 w 3206115"/>
                  <a:gd name="connsiteY1" fmla="*/ 0 h 185420"/>
                  <a:gd name="connsiteX2" fmla="*/ 3206115 w 3206115"/>
                  <a:gd name="connsiteY2" fmla="*/ 185420 h 185420"/>
                  <a:gd name="connsiteX3" fmla="*/ 0 w 3206115"/>
                  <a:gd name="connsiteY3" fmla="*/ 175895 h 185420"/>
                  <a:gd name="connsiteX4" fmla="*/ 409575 w 3206115"/>
                  <a:gd name="connsiteY4" fmla="*/ 0 h 185420"/>
                  <a:gd name="connsiteX0" fmla="*/ 419100 w 3215640"/>
                  <a:gd name="connsiteY0" fmla="*/ 0 h 185420"/>
                  <a:gd name="connsiteX1" fmla="*/ 3215640 w 3215640"/>
                  <a:gd name="connsiteY1" fmla="*/ 0 h 185420"/>
                  <a:gd name="connsiteX2" fmla="*/ 3215640 w 3215640"/>
                  <a:gd name="connsiteY2" fmla="*/ 185420 h 185420"/>
                  <a:gd name="connsiteX3" fmla="*/ 0 w 3215640"/>
                  <a:gd name="connsiteY3" fmla="*/ 161607 h 185420"/>
                  <a:gd name="connsiteX4" fmla="*/ 419100 w 3215640"/>
                  <a:gd name="connsiteY4" fmla="*/ 0 h 185420"/>
                  <a:gd name="connsiteX0" fmla="*/ 419100 w 3215640"/>
                  <a:gd name="connsiteY0" fmla="*/ 0 h 161607"/>
                  <a:gd name="connsiteX1" fmla="*/ 3215640 w 3215640"/>
                  <a:gd name="connsiteY1" fmla="*/ 0 h 161607"/>
                  <a:gd name="connsiteX2" fmla="*/ 3091815 w 3215640"/>
                  <a:gd name="connsiteY2" fmla="*/ 161607 h 161607"/>
                  <a:gd name="connsiteX3" fmla="*/ 0 w 3215640"/>
                  <a:gd name="connsiteY3" fmla="*/ 161607 h 161607"/>
                  <a:gd name="connsiteX4" fmla="*/ 419100 w 3215640"/>
                  <a:gd name="connsiteY4" fmla="*/ 0 h 161607"/>
                  <a:gd name="connsiteX0" fmla="*/ 419100 w 3215640"/>
                  <a:gd name="connsiteY0" fmla="*/ 0 h 166370"/>
                  <a:gd name="connsiteX1" fmla="*/ 3215640 w 3215640"/>
                  <a:gd name="connsiteY1" fmla="*/ 0 h 166370"/>
                  <a:gd name="connsiteX2" fmla="*/ 3091815 w 3215640"/>
                  <a:gd name="connsiteY2" fmla="*/ 161607 h 166370"/>
                  <a:gd name="connsiteX3" fmla="*/ 0 w 3215640"/>
                  <a:gd name="connsiteY3" fmla="*/ 166370 h 166370"/>
                  <a:gd name="connsiteX4" fmla="*/ 419100 w 3215640"/>
                  <a:gd name="connsiteY4" fmla="*/ 0 h 166370"/>
                  <a:gd name="connsiteX0" fmla="*/ 419100 w 3215640"/>
                  <a:gd name="connsiteY0" fmla="*/ 0 h 171132"/>
                  <a:gd name="connsiteX1" fmla="*/ 3215640 w 3215640"/>
                  <a:gd name="connsiteY1" fmla="*/ 0 h 171132"/>
                  <a:gd name="connsiteX2" fmla="*/ 3091816 w 3215640"/>
                  <a:gd name="connsiteY2" fmla="*/ 171132 h 171132"/>
                  <a:gd name="connsiteX3" fmla="*/ 0 w 3215640"/>
                  <a:gd name="connsiteY3" fmla="*/ 166370 h 171132"/>
                  <a:gd name="connsiteX4" fmla="*/ 419100 w 3215640"/>
                  <a:gd name="connsiteY4" fmla="*/ 0 h 1711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5640" h="171132">
                    <a:moveTo>
                      <a:pt x="419100" y="0"/>
                    </a:moveTo>
                    <a:lnTo>
                      <a:pt x="3215640" y="0"/>
                    </a:lnTo>
                    <a:lnTo>
                      <a:pt x="3091816" y="171132"/>
                    </a:lnTo>
                    <a:lnTo>
                      <a:pt x="0" y="166370"/>
                    </a:lnTo>
                    <a:lnTo>
                      <a:pt x="419100" y="0"/>
                    </a:lnTo>
                    <a:close/>
                  </a:path>
                </a:pathLst>
              </a:custGeom>
              <a:grpFill/>
              <a:ln w="9525" cap="flat" cmpd="sng" algn="ctr">
                <a:noFill/>
                <a:prstDash val="soli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ea typeface="Segoe UI" pitchFamily="34" charset="0"/>
                  <a:cs typeface="Segoe UI" pitchFamily="34" charset="0"/>
                </a:endParaRPr>
              </a:p>
            </p:txBody>
          </p:sp>
        </p:grpSp>
      </p:grpSp>
      <p:sp>
        <p:nvSpPr>
          <p:cNvPr id="33" name="Freeform 32"/>
          <p:cNvSpPr/>
          <p:nvPr>
            <p:custDataLst>
              <p:tags r:id="rId19"/>
            </p:custDataLst>
          </p:nvPr>
        </p:nvSpPr>
        <p:spPr>
          <a:xfrm>
            <a:off x="3680171" y="2343150"/>
            <a:ext cx="1783658" cy="958722"/>
          </a:xfrm>
          <a:prstGeom prst="rect">
            <a:avLst/>
          </a:prstGeom>
          <a:solidFill>
            <a:schemeClr val="accent6"/>
          </a:solidFill>
          <a:scene3d>
            <a:camera prst="orthographicFront"/>
            <a:lightRig rig="threePt" dir="t"/>
          </a:scene3d>
          <a:sp3d z="190500" prstMaterial="plastic">
            <a:bevelB w="88900" h="31750" prst="angle"/>
          </a:sp3d>
        </p:spPr>
        <p:style>
          <a:lnRef idx="0">
            <a:schemeClr val="lt1">
              <a:hueOff val="0"/>
              <a:satOff val="0"/>
              <a:lumOff val="0"/>
              <a:alphaOff val="0"/>
            </a:schemeClr>
          </a:lnRef>
          <a:fillRef idx="1">
            <a:schemeClr val="accent2">
              <a:tint val="40000"/>
              <a:hueOff val="0"/>
              <a:satOff val="0"/>
              <a:lumOff val="0"/>
              <a:alphaOff val="0"/>
            </a:schemeClr>
          </a:fillRef>
          <a:effectRef idx="3">
            <a:schemeClr val="accent2">
              <a:tint val="40000"/>
              <a:hueOff val="0"/>
              <a:satOff val="0"/>
              <a:lumOff val="0"/>
              <a:alphaOff val="0"/>
            </a:schemeClr>
          </a:effectRef>
          <a:fontRef idx="minor">
            <a:schemeClr val="dk1">
              <a:hueOff val="0"/>
              <a:satOff val="0"/>
              <a:lumOff val="0"/>
              <a:alphaOff val="0"/>
            </a:schemeClr>
          </a:fontRef>
        </p:style>
        <p:txBody>
          <a:bodyPr spcFirstLastPara="0" vert="horz" wrap="square" lIns="148422" tIns="148422" rIns="148422" bIns="148422" numCol="1" spcCol="953" anchor="ctr" anchorCtr="0">
            <a:noAutofit/>
          </a:bodyPr>
          <a:lstStyle/>
          <a:p>
            <a:pPr algn="ctr" defTabSz="1300282">
              <a:lnSpc>
                <a:spcPct val="90000"/>
              </a:lnSpc>
              <a:spcBef>
                <a:spcPct val="0"/>
              </a:spcBef>
              <a:spcAft>
                <a:spcPct val="35000"/>
              </a:spcAft>
            </a:pPr>
            <a:endParaRPr lang="en-US" sz="2900" b="1" dirty="0">
              <a:solidFill>
                <a:srgbClr val="363535">
                  <a:hueOff val="0"/>
                  <a:satOff val="0"/>
                  <a:lumOff val="0"/>
                  <a:alphaOff val="0"/>
                </a:srgbClr>
              </a:solidFill>
            </a:endParaRPr>
          </a:p>
        </p:txBody>
      </p:sp>
      <p:pic>
        <p:nvPicPr>
          <p:cNvPr id="3078" name="Picture 6" descr="http://blogs.technet.com/blogfiles/systemcenter/WindowsLiveWriter/ConfigurationManager2007ServicePack2Rele_E0E9/system%20center%20configuration%20manager%202007%20v%20bl_2.png"/>
          <p:cNvPicPr>
            <a:picLocks noChangeAspect="1" noChangeArrowheads="1"/>
          </p:cNvPicPr>
          <p:nvPr>
            <p:custDataLst>
              <p:tags r:id="rId20"/>
            </p:custDataLst>
          </p:nvPr>
        </p:nvPicPr>
        <p:blipFill>
          <a:blip r:embed="rId32" cstate="print">
            <a:extLst>
              <a:ext uri="{BEBA8EAE-BF5A-486C-A8C5-ECC9F3942E4B}">
                <a14:imgProps xmlns:a14="http://schemas.microsoft.com/office/drawing/2010/main">
                  <a14:imgLayer r:embed="rId33">
                    <a14:imgEffect>
                      <a14:brightnessContrast bright="100000"/>
                    </a14:imgEffect>
                  </a14:imgLayer>
                </a14:imgProps>
              </a:ext>
            </a:extLst>
          </a:blip>
          <a:stretch>
            <a:fillRect/>
          </a:stretch>
        </p:blipFill>
        <p:spPr bwMode="auto">
          <a:xfrm>
            <a:off x="3794987" y="2409048"/>
            <a:ext cx="1554027" cy="826926"/>
          </a:xfrm>
          <a:prstGeom prst="rect">
            <a:avLst/>
          </a:prstGeom>
          <a:noFill/>
          <a:ln>
            <a:noFill/>
          </a:ln>
        </p:spPr>
      </p:pic>
      <p:sp>
        <p:nvSpPr>
          <p:cNvPr id="47"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49"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4"/>
              </a:rPr>
              <a:t>www.rapidbbs.cn</a:t>
            </a:r>
            <a:endParaRPr lang="zh-CN" altLang="en-US" sz="1200" b="0">
              <a:latin typeface="Arial" charset="0"/>
              <a:ea typeface="ＭＳ Ｐゴシック" pitchFamily="34" charset="-128"/>
            </a:endParaRPr>
          </a:p>
        </p:txBody>
      </p:sp>
      <p:pic>
        <p:nvPicPr>
          <p:cNvPr id="51" name="Picture 2">
            <a:hlinkClick r:id="rId34"/>
          </p:cNvPr>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044012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fade">
                                      <p:cBhvr>
                                        <p:cTn id="12" dur="500"/>
                                        <p:tgtEl>
                                          <p:spTgt spid="2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7"/>
                                        </p:tgtEl>
                                        <p:attrNameLst>
                                          <p:attrName>style.visibility</p:attrName>
                                        </p:attrNameLst>
                                      </p:cBhvr>
                                      <p:to>
                                        <p:strVal val="visible"/>
                                      </p:to>
                                    </p:set>
                                    <p:animEffect transition="in" filter="fade">
                                      <p:cBhvr>
                                        <p:cTn id="17" dur="500"/>
                                        <p:tgtEl>
                                          <p:spTgt spid="2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P spid="25" grpId="0"/>
      <p:bldP spid="27" grpId="0"/>
      <p:bldP spid="38" grpId="0"/>
    </p:bld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Object 53" hidden="1"/>
          <p:cNvGraphicFramePr>
            <a:graphicFrameLocks/>
          </p:cNvGraphicFramePr>
          <p:nvPr>
            <p:custDataLst>
              <p:tags r:id="rId2"/>
            </p:custDataLst>
            <p:extLst>
              <p:ext uri="{D42A27DB-BD31-4B8C-83A1-F6EECF244321}">
                <p14:modId xmlns:p14="http://schemas.microsoft.com/office/powerpoint/2010/main" val="2521376438"/>
              </p:ext>
            </p:extLst>
          </p:nvPr>
        </p:nvGraphicFramePr>
        <p:xfrm>
          <a:off x="1191" y="1192"/>
          <a:ext cx="1191" cy="1190"/>
        </p:xfrm>
        <a:graphic>
          <a:graphicData uri="http://schemas.openxmlformats.org/presentationml/2006/ole">
            <mc:AlternateContent xmlns:mc="http://schemas.openxmlformats.org/markup-compatibility/2006">
              <mc:Choice xmlns:v="urn:schemas-microsoft-com:vml" Requires="v">
                <p:oleObj spid="_x0000_s8216"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191" y="1192"/>
                        <a:ext cx="1191" cy="119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cs typeface="Segoe UI"/>
              </a:rPr>
              <a:t>Objects Supported By Migration</a:t>
            </a:r>
          </a:p>
        </p:txBody>
      </p:sp>
      <p:sp>
        <p:nvSpPr>
          <p:cNvPr id="3" name="Rectangle 2"/>
          <p:cNvSpPr/>
          <p:nvPr>
            <p:custDataLst>
              <p:tags r:id="rId4"/>
            </p:custDataLst>
          </p:nvPr>
        </p:nvSpPr>
        <p:spPr>
          <a:xfrm>
            <a:off x="389438" y="923122"/>
            <a:ext cx="4121745" cy="666773"/>
          </a:xfrm>
          <a:prstGeom prst="rect">
            <a:avLst/>
          </a:prstGeom>
          <a:solidFill>
            <a:schemeClr val="accent2"/>
          </a:solidFill>
          <a:ln>
            <a:noFill/>
          </a:ln>
          <a:effectLst/>
          <a:scene3d>
            <a:camera prst="orthographicFront">
              <a:rot lat="0" lon="0" rev="0"/>
            </a:camera>
            <a:lightRig rig="threePt" dir="t">
              <a:rot lat="0" lon="0" rev="20400000"/>
            </a:lightRig>
          </a:scene3d>
          <a:sp3d>
            <a:contourClr>
              <a:schemeClr val="accent2">
                <a:hueOff val="0"/>
                <a:satOff val="0"/>
                <a:lumOff val="0"/>
                <a:alphaOff val="0"/>
                <a:shade val="25000"/>
                <a:satMod val="150000"/>
              </a:schemeClr>
            </a:contourClr>
          </a:sp3d>
        </p:spPr>
        <p:style>
          <a:lnRef idx="0">
            <a:schemeClr val="lt1">
              <a:hueOff val="0"/>
              <a:satOff val="0"/>
              <a:lumOff val="0"/>
              <a:alphaOff val="0"/>
            </a:schemeClr>
          </a:lnRef>
          <a:fillRef idx="3">
            <a:schemeClr val="accent2">
              <a:hueOff val="0"/>
              <a:satOff val="0"/>
              <a:lumOff val="0"/>
              <a:alphaOff val="0"/>
            </a:schemeClr>
          </a:fillRef>
          <a:effectRef idx="3">
            <a:schemeClr val="accent2">
              <a:hueOff val="0"/>
              <a:satOff val="0"/>
              <a:lumOff val="0"/>
              <a:alphaOff val="0"/>
            </a:schemeClr>
          </a:effectRef>
          <a:fontRef idx="minor">
            <a:schemeClr val="lt1"/>
          </a:fontRef>
        </p:style>
        <p:txBody>
          <a:bodyPr spcFirstLastPara="0" vert="horz" wrap="square" lIns="137172" tIns="68586" rIns="68586" bIns="68586" numCol="1" spcCol="953" anchor="ctr" anchorCtr="0">
            <a:noAutofit/>
          </a:bodyPr>
          <a:lstStyle/>
          <a:p>
            <a:pPr marL="11908" lvl="1">
              <a:spcBef>
                <a:spcPts val="450"/>
              </a:spcBef>
              <a:buSzPct val="90000"/>
            </a:pPr>
            <a:endParaRPr lang="en-US" dirty="0">
              <a:solidFill>
                <a:srgbClr val="FFFFFF">
                  <a:alpha val="99000"/>
                </a:srgbClr>
              </a:solidFill>
            </a:endParaRPr>
          </a:p>
        </p:txBody>
      </p:sp>
      <p:sp>
        <p:nvSpPr>
          <p:cNvPr id="8" name="Rectangle 7"/>
          <p:cNvSpPr/>
          <p:nvPr>
            <p:custDataLst>
              <p:tags r:id="rId5"/>
            </p:custDataLst>
          </p:nvPr>
        </p:nvSpPr>
        <p:spPr>
          <a:xfrm>
            <a:off x="4631630" y="923122"/>
            <a:ext cx="4121745" cy="666773"/>
          </a:xfrm>
          <a:prstGeom prst="rect">
            <a:avLst/>
          </a:prstGeom>
          <a:solidFill>
            <a:schemeClr val="accent5"/>
          </a:solidFill>
          <a:ln>
            <a:noFill/>
          </a:ln>
          <a:effectLst/>
          <a:scene3d>
            <a:camera prst="orthographicFront">
              <a:rot lat="0" lon="0" rev="0"/>
            </a:camera>
            <a:lightRig rig="threePt" dir="t">
              <a:rot lat="0" lon="0" rev="20400000"/>
            </a:lightRig>
          </a:scene3d>
          <a:sp3d>
            <a:contourClr>
              <a:schemeClr val="accent2">
                <a:hueOff val="0"/>
                <a:satOff val="0"/>
                <a:lumOff val="0"/>
                <a:alphaOff val="0"/>
                <a:shade val="25000"/>
                <a:satMod val="150000"/>
              </a:schemeClr>
            </a:contourClr>
          </a:sp3d>
        </p:spPr>
        <p:style>
          <a:lnRef idx="0">
            <a:schemeClr val="lt1">
              <a:hueOff val="0"/>
              <a:satOff val="0"/>
              <a:lumOff val="0"/>
              <a:alphaOff val="0"/>
            </a:schemeClr>
          </a:lnRef>
          <a:fillRef idx="3">
            <a:schemeClr val="accent2">
              <a:hueOff val="0"/>
              <a:satOff val="0"/>
              <a:lumOff val="0"/>
              <a:alphaOff val="0"/>
            </a:schemeClr>
          </a:fillRef>
          <a:effectRef idx="3">
            <a:schemeClr val="accent2">
              <a:hueOff val="0"/>
              <a:satOff val="0"/>
              <a:lumOff val="0"/>
              <a:alphaOff val="0"/>
            </a:schemeClr>
          </a:effectRef>
          <a:fontRef idx="minor">
            <a:schemeClr val="lt1"/>
          </a:fontRef>
        </p:style>
        <p:txBody>
          <a:bodyPr spcFirstLastPara="0" vert="horz" wrap="square" lIns="137172" tIns="68586" rIns="68586" bIns="68586" numCol="1" spcCol="953" anchor="ctr" anchorCtr="0">
            <a:noAutofit/>
          </a:bodyPr>
          <a:lstStyle/>
          <a:p>
            <a:pPr marL="11908" lvl="1">
              <a:spcBef>
                <a:spcPts val="450"/>
              </a:spcBef>
              <a:buSzPct val="90000"/>
            </a:pPr>
            <a:endParaRPr lang="en-US" sz="1100" dirty="0">
              <a:solidFill>
                <a:srgbClr val="FFFFFF">
                  <a:alpha val="99000"/>
                </a:srgbClr>
              </a:solidFill>
            </a:endParaRPr>
          </a:p>
        </p:txBody>
      </p:sp>
      <p:sp>
        <p:nvSpPr>
          <p:cNvPr id="9" name="Rectangle 8"/>
          <p:cNvSpPr/>
          <p:nvPr>
            <p:custDataLst>
              <p:tags r:id="rId6"/>
            </p:custDataLst>
          </p:nvPr>
        </p:nvSpPr>
        <p:spPr>
          <a:xfrm>
            <a:off x="389438" y="1696100"/>
            <a:ext cx="4121745" cy="666773"/>
          </a:xfrm>
          <a:prstGeom prst="rect">
            <a:avLst/>
          </a:prstGeom>
          <a:solidFill>
            <a:schemeClr val="accent3"/>
          </a:solidFill>
          <a:ln>
            <a:noFill/>
          </a:ln>
          <a:effectLst/>
          <a:scene3d>
            <a:camera prst="orthographicFront">
              <a:rot lat="0" lon="0" rev="0"/>
            </a:camera>
            <a:lightRig rig="threePt" dir="t">
              <a:rot lat="0" lon="0" rev="20400000"/>
            </a:lightRig>
          </a:scene3d>
          <a:sp3d>
            <a:contourClr>
              <a:schemeClr val="accent2">
                <a:hueOff val="0"/>
                <a:satOff val="0"/>
                <a:lumOff val="0"/>
                <a:alphaOff val="0"/>
                <a:shade val="25000"/>
                <a:satMod val="150000"/>
              </a:schemeClr>
            </a:contourClr>
          </a:sp3d>
        </p:spPr>
        <p:style>
          <a:lnRef idx="0">
            <a:schemeClr val="lt1">
              <a:hueOff val="0"/>
              <a:satOff val="0"/>
              <a:lumOff val="0"/>
              <a:alphaOff val="0"/>
            </a:schemeClr>
          </a:lnRef>
          <a:fillRef idx="3">
            <a:schemeClr val="accent2">
              <a:hueOff val="0"/>
              <a:satOff val="0"/>
              <a:lumOff val="0"/>
              <a:alphaOff val="0"/>
            </a:schemeClr>
          </a:fillRef>
          <a:effectRef idx="3">
            <a:schemeClr val="accent2">
              <a:hueOff val="0"/>
              <a:satOff val="0"/>
              <a:lumOff val="0"/>
              <a:alphaOff val="0"/>
            </a:schemeClr>
          </a:effectRef>
          <a:fontRef idx="minor">
            <a:schemeClr val="lt1"/>
          </a:fontRef>
        </p:style>
        <p:txBody>
          <a:bodyPr spcFirstLastPara="0" vert="horz" wrap="square" lIns="137172" tIns="68586" rIns="68586" bIns="68586" numCol="1" spcCol="953" anchor="ctr" anchorCtr="0">
            <a:noAutofit/>
          </a:bodyPr>
          <a:lstStyle/>
          <a:p>
            <a:pPr marL="11908" lvl="1">
              <a:spcBef>
                <a:spcPts val="450"/>
              </a:spcBef>
              <a:buSzPct val="90000"/>
            </a:pPr>
            <a:endParaRPr lang="en-US" dirty="0">
              <a:solidFill>
                <a:srgbClr val="FFFFFF">
                  <a:alpha val="99000"/>
                </a:srgbClr>
              </a:solidFill>
            </a:endParaRPr>
          </a:p>
        </p:txBody>
      </p:sp>
      <p:sp>
        <p:nvSpPr>
          <p:cNvPr id="10" name="Rectangle 9"/>
          <p:cNvSpPr/>
          <p:nvPr>
            <p:custDataLst>
              <p:tags r:id="rId7"/>
            </p:custDataLst>
          </p:nvPr>
        </p:nvSpPr>
        <p:spPr>
          <a:xfrm>
            <a:off x="4631630" y="1696100"/>
            <a:ext cx="4121745" cy="666773"/>
          </a:xfrm>
          <a:prstGeom prst="rect">
            <a:avLst/>
          </a:prstGeom>
          <a:solidFill>
            <a:schemeClr val="accent4"/>
          </a:solidFill>
          <a:ln>
            <a:noFill/>
          </a:ln>
          <a:effectLst/>
          <a:scene3d>
            <a:camera prst="orthographicFront">
              <a:rot lat="0" lon="0" rev="0"/>
            </a:camera>
            <a:lightRig rig="threePt" dir="t">
              <a:rot lat="0" lon="0" rev="20400000"/>
            </a:lightRig>
          </a:scene3d>
          <a:sp3d>
            <a:contourClr>
              <a:schemeClr val="accent2">
                <a:hueOff val="0"/>
                <a:satOff val="0"/>
                <a:lumOff val="0"/>
                <a:alphaOff val="0"/>
                <a:shade val="25000"/>
                <a:satMod val="150000"/>
              </a:schemeClr>
            </a:contourClr>
          </a:sp3d>
        </p:spPr>
        <p:style>
          <a:lnRef idx="0">
            <a:schemeClr val="lt1">
              <a:hueOff val="0"/>
              <a:satOff val="0"/>
              <a:lumOff val="0"/>
              <a:alphaOff val="0"/>
            </a:schemeClr>
          </a:lnRef>
          <a:fillRef idx="3">
            <a:schemeClr val="accent2">
              <a:hueOff val="0"/>
              <a:satOff val="0"/>
              <a:lumOff val="0"/>
              <a:alphaOff val="0"/>
            </a:schemeClr>
          </a:fillRef>
          <a:effectRef idx="3">
            <a:schemeClr val="accent2">
              <a:hueOff val="0"/>
              <a:satOff val="0"/>
              <a:lumOff val="0"/>
              <a:alphaOff val="0"/>
            </a:schemeClr>
          </a:effectRef>
          <a:fontRef idx="minor">
            <a:schemeClr val="lt1"/>
          </a:fontRef>
        </p:style>
        <p:txBody>
          <a:bodyPr spcFirstLastPara="0" vert="horz" wrap="square" lIns="137172" tIns="68586" rIns="68586" bIns="68586" numCol="1" spcCol="953" anchor="ctr" anchorCtr="0">
            <a:noAutofit/>
          </a:bodyPr>
          <a:lstStyle/>
          <a:p>
            <a:pPr marL="11908" lvl="1">
              <a:spcBef>
                <a:spcPts val="450"/>
              </a:spcBef>
              <a:buSzPct val="90000"/>
            </a:pPr>
            <a:endParaRPr lang="en-US" sz="1100" dirty="0">
              <a:solidFill>
                <a:srgbClr val="FFFFFF">
                  <a:alpha val="99000"/>
                </a:srgbClr>
              </a:solidFill>
            </a:endParaRPr>
          </a:p>
        </p:txBody>
      </p:sp>
      <p:sp>
        <p:nvSpPr>
          <p:cNvPr id="11" name="Rectangle 10"/>
          <p:cNvSpPr/>
          <p:nvPr>
            <p:custDataLst>
              <p:tags r:id="rId8"/>
            </p:custDataLst>
          </p:nvPr>
        </p:nvSpPr>
        <p:spPr>
          <a:xfrm>
            <a:off x="389438" y="2469077"/>
            <a:ext cx="4121745" cy="666773"/>
          </a:xfrm>
          <a:prstGeom prst="rect">
            <a:avLst/>
          </a:prstGeom>
          <a:solidFill>
            <a:schemeClr val="accent4"/>
          </a:solidFill>
          <a:ln>
            <a:noFill/>
          </a:ln>
          <a:effectLst/>
          <a:scene3d>
            <a:camera prst="orthographicFront">
              <a:rot lat="0" lon="0" rev="0"/>
            </a:camera>
            <a:lightRig rig="threePt" dir="t">
              <a:rot lat="0" lon="0" rev="20400000"/>
            </a:lightRig>
          </a:scene3d>
          <a:sp3d>
            <a:contourClr>
              <a:schemeClr val="accent2">
                <a:hueOff val="0"/>
                <a:satOff val="0"/>
                <a:lumOff val="0"/>
                <a:alphaOff val="0"/>
                <a:shade val="25000"/>
                <a:satMod val="150000"/>
              </a:schemeClr>
            </a:contourClr>
          </a:sp3d>
        </p:spPr>
        <p:style>
          <a:lnRef idx="0">
            <a:schemeClr val="lt1">
              <a:hueOff val="0"/>
              <a:satOff val="0"/>
              <a:lumOff val="0"/>
              <a:alphaOff val="0"/>
            </a:schemeClr>
          </a:lnRef>
          <a:fillRef idx="3">
            <a:schemeClr val="accent2">
              <a:hueOff val="0"/>
              <a:satOff val="0"/>
              <a:lumOff val="0"/>
              <a:alphaOff val="0"/>
            </a:schemeClr>
          </a:fillRef>
          <a:effectRef idx="3">
            <a:schemeClr val="accent2">
              <a:hueOff val="0"/>
              <a:satOff val="0"/>
              <a:lumOff val="0"/>
              <a:alphaOff val="0"/>
            </a:schemeClr>
          </a:effectRef>
          <a:fontRef idx="minor">
            <a:schemeClr val="lt1"/>
          </a:fontRef>
        </p:style>
        <p:txBody>
          <a:bodyPr spcFirstLastPara="0" vert="horz" wrap="square" lIns="137172" tIns="68586" rIns="68586" bIns="68586" numCol="1" spcCol="953" anchor="ctr" anchorCtr="0">
            <a:noAutofit/>
          </a:bodyPr>
          <a:lstStyle/>
          <a:p>
            <a:pPr marL="11908" lvl="1">
              <a:spcBef>
                <a:spcPts val="450"/>
              </a:spcBef>
              <a:buSzPct val="90000"/>
            </a:pPr>
            <a:endParaRPr lang="en-US" dirty="0">
              <a:solidFill>
                <a:srgbClr val="FFFFFF">
                  <a:alpha val="99000"/>
                </a:srgbClr>
              </a:solidFill>
            </a:endParaRPr>
          </a:p>
        </p:txBody>
      </p:sp>
      <p:sp>
        <p:nvSpPr>
          <p:cNvPr id="12" name="Rectangle 11"/>
          <p:cNvSpPr/>
          <p:nvPr>
            <p:custDataLst>
              <p:tags r:id="rId9"/>
            </p:custDataLst>
          </p:nvPr>
        </p:nvSpPr>
        <p:spPr>
          <a:xfrm>
            <a:off x="4631630" y="2469077"/>
            <a:ext cx="4121745" cy="666773"/>
          </a:xfrm>
          <a:prstGeom prst="rect">
            <a:avLst/>
          </a:prstGeom>
          <a:solidFill>
            <a:schemeClr val="accent3"/>
          </a:solidFill>
          <a:ln>
            <a:noFill/>
          </a:ln>
          <a:effectLst/>
          <a:scene3d>
            <a:camera prst="orthographicFront">
              <a:rot lat="0" lon="0" rev="0"/>
            </a:camera>
            <a:lightRig rig="threePt" dir="t">
              <a:rot lat="0" lon="0" rev="20400000"/>
            </a:lightRig>
          </a:scene3d>
          <a:sp3d>
            <a:contourClr>
              <a:schemeClr val="accent2">
                <a:hueOff val="0"/>
                <a:satOff val="0"/>
                <a:lumOff val="0"/>
                <a:alphaOff val="0"/>
                <a:shade val="25000"/>
                <a:satMod val="150000"/>
              </a:schemeClr>
            </a:contourClr>
          </a:sp3d>
        </p:spPr>
        <p:style>
          <a:lnRef idx="0">
            <a:schemeClr val="lt1">
              <a:hueOff val="0"/>
              <a:satOff val="0"/>
              <a:lumOff val="0"/>
              <a:alphaOff val="0"/>
            </a:schemeClr>
          </a:lnRef>
          <a:fillRef idx="3">
            <a:schemeClr val="accent2">
              <a:hueOff val="0"/>
              <a:satOff val="0"/>
              <a:lumOff val="0"/>
              <a:alphaOff val="0"/>
            </a:schemeClr>
          </a:fillRef>
          <a:effectRef idx="3">
            <a:schemeClr val="accent2">
              <a:hueOff val="0"/>
              <a:satOff val="0"/>
              <a:lumOff val="0"/>
              <a:alphaOff val="0"/>
            </a:schemeClr>
          </a:effectRef>
          <a:fontRef idx="minor">
            <a:schemeClr val="lt1"/>
          </a:fontRef>
        </p:style>
        <p:txBody>
          <a:bodyPr spcFirstLastPara="0" vert="horz" wrap="square" lIns="137172" tIns="68586" rIns="68586" bIns="68586" numCol="1" spcCol="953" anchor="ctr" anchorCtr="0">
            <a:noAutofit/>
          </a:bodyPr>
          <a:lstStyle/>
          <a:p>
            <a:pPr marL="11908" lvl="1">
              <a:spcBef>
                <a:spcPts val="450"/>
              </a:spcBef>
              <a:buSzPct val="90000"/>
            </a:pPr>
            <a:endParaRPr lang="en-US" dirty="0">
              <a:solidFill>
                <a:srgbClr val="FFFFFF">
                  <a:alpha val="99000"/>
                </a:srgbClr>
              </a:solidFill>
            </a:endParaRPr>
          </a:p>
        </p:txBody>
      </p:sp>
      <p:sp>
        <p:nvSpPr>
          <p:cNvPr id="13" name="Rectangle 12"/>
          <p:cNvSpPr/>
          <p:nvPr>
            <p:custDataLst>
              <p:tags r:id="rId10"/>
            </p:custDataLst>
          </p:nvPr>
        </p:nvSpPr>
        <p:spPr>
          <a:xfrm>
            <a:off x="389438" y="3242055"/>
            <a:ext cx="4121745" cy="666773"/>
          </a:xfrm>
          <a:prstGeom prst="rect">
            <a:avLst/>
          </a:prstGeom>
          <a:solidFill>
            <a:schemeClr val="accent5"/>
          </a:solidFill>
          <a:ln>
            <a:noFill/>
          </a:ln>
          <a:effectLst/>
          <a:scene3d>
            <a:camera prst="orthographicFront">
              <a:rot lat="0" lon="0" rev="0"/>
            </a:camera>
            <a:lightRig rig="threePt" dir="t">
              <a:rot lat="0" lon="0" rev="20400000"/>
            </a:lightRig>
          </a:scene3d>
          <a:sp3d>
            <a:contourClr>
              <a:schemeClr val="accent2">
                <a:hueOff val="0"/>
                <a:satOff val="0"/>
                <a:lumOff val="0"/>
                <a:alphaOff val="0"/>
                <a:shade val="25000"/>
                <a:satMod val="150000"/>
              </a:schemeClr>
            </a:contourClr>
          </a:sp3d>
        </p:spPr>
        <p:style>
          <a:lnRef idx="0">
            <a:schemeClr val="lt1">
              <a:hueOff val="0"/>
              <a:satOff val="0"/>
              <a:lumOff val="0"/>
              <a:alphaOff val="0"/>
            </a:schemeClr>
          </a:lnRef>
          <a:fillRef idx="3">
            <a:schemeClr val="accent2">
              <a:hueOff val="0"/>
              <a:satOff val="0"/>
              <a:lumOff val="0"/>
              <a:alphaOff val="0"/>
            </a:schemeClr>
          </a:fillRef>
          <a:effectRef idx="3">
            <a:schemeClr val="accent2">
              <a:hueOff val="0"/>
              <a:satOff val="0"/>
              <a:lumOff val="0"/>
              <a:alphaOff val="0"/>
            </a:schemeClr>
          </a:effectRef>
          <a:fontRef idx="minor">
            <a:schemeClr val="lt1"/>
          </a:fontRef>
        </p:style>
        <p:txBody>
          <a:bodyPr spcFirstLastPara="0" vert="horz" wrap="square" lIns="137172" tIns="68586" rIns="68586" bIns="68586" numCol="1" spcCol="953" anchor="ctr" anchorCtr="0">
            <a:noAutofit/>
          </a:bodyPr>
          <a:lstStyle/>
          <a:p>
            <a:pPr marL="11908" lvl="1">
              <a:spcBef>
                <a:spcPts val="450"/>
              </a:spcBef>
              <a:buSzPct val="90000"/>
            </a:pPr>
            <a:endParaRPr lang="en-US" dirty="0">
              <a:solidFill>
                <a:srgbClr val="FFFFFF">
                  <a:alpha val="99000"/>
                </a:srgbClr>
              </a:solidFill>
            </a:endParaRPr>
          </a:p>
        </p:txBody>
      </p:sp>
      <p:sp>
        <p:nvSpPr>
          <p:cNvPr id="14" name="Rectangle 13"/>
          <p:cNvSpPr/>
          <p:nvPr>
            <p:custDataLst>
              <p:tags r:id="rId11"/>
            </p:custDataLst>
          </p:nvPr>
        </p:nvSpPr>
        <p:spPr>
          <a:xfrm>
            <a:off x="4631630" y="3242055"/>
            <a:ext cx="4121745" cy="666773"/>
          </a:xfrm>
          <a:prstGeom prst="rect">
            <a:avLst/>
          </a:prstGeom>
          <a:solidFill>
            <a:schemeClr val="accent2"/>
          </a:solidFill>
          <a:ln>
            <a:noFill/>
          </a:ln>
          <a:effectLst/>
          <a:scene3d>
            <a:camera prst="orthographicFront">
              <a:rot lat="0" lon="0" rev="0"/>
            </a:camera>
            <a:lightRig rig="threePt" dir="t">
              <a:rot lat="0" lon="0" rev="20400000"/>
            </a:lightRig>
          </a:scene3d>
          <a:sp3d>
            <a:contourClr>
              <a:schemeClr val="accent2">
                <a:hueOff val="0"/>
                <a:satOff val="0"/>
                <a:lumOff val="0"/>
                <a:alphaOff val="0"/>
                <a:shade val="25000"/>
                <a:satMod val="150000"/>
              </a:schemeClr>
            </a:contourClr>
          </a:sp3d>
        </p:spPr>
        <p:style>
          <a:lnRef idx="0">
            <a:schemeClr val="lt1">
              <a:hueOff val="0"/>
              <a:satOff val="0"/>
              <a:lumOff val="0"/>
              <a:alphaOff val="0"/>
            </a:schemeClr>
          </a:lnRef>
          <a:fillRef idx="3">
            <a:schemeClr val="accent2">
              <a:hueOff val="0"/>
              <a:satOff val="0"/>
              <a:lumOff val="0"/>
              <a:alphaOff val="0"/>
            </a:schemeClr>
          </a:fillRef>
          <a:effectRef idx="3">
            <a:schemeClr val="accent2">
              <a:hueOff val="0"/>
              <a:satOff val="0"/>
              <a:lumOff val="0"/>
              <a:alphaOff val="0"/>
            </a:schemeClr>
          </a:effectRef>
          <a:fontRef idx="minor">
            <a:schemeClr val="lt1"/>
          </a:fontRef>
        </p:style>
        <p:txBody>
          <a:bodyPr spcFirstLastPara="0" vert="horz" wrap="square" lIns="137172" tIns="68586" rIns="68586" bIns="68586" numCol="1" spcCol="953" anchor="ctr" anchorCtr="0">
            <a:noAutofit/>
          </a:bodyPr>
          <a:lstStyle/>
          <a:p>
            <a:pPr marL="11908" lvl="1">
              <a:spcBef>
                <a:spcPts val="450"/>
              </a:spcBef>
              <a:buSzPct val="90000"/>
            </a:pPr>
            <a:endParaRPr lang="en-US" dirty="0">
              <a:solidFill>
                <a:srgbClr val="FFFFFF">
                  <a:alpha val="99000"/>
                </a:srgbClr>
              </a:solidFill>
            </a:endParaRPr>
          </a:p>
        </p:txBody>
      </p:sp>
      <p:sp>
        <p:nvSpPr>
          <p:cNvPr id="15" name="Rectangle 14"/>
          <p:cNvSpPr/>
          <p:nvPr>
            <p:custDataLst>
              <p:tags r:id="rId12"/>
            </p:custDataLst>
          </p:nvPr>
        </p:nvSpPr>
        <p:spPr>
          <a:xfrm>
            <a:off x="389438" y="4015034"/>
            <a:ext cx="4121745" cy="666773"/>
          </a:xfrm>
          <a:prstGeom prst="rect">
            <a:avLst/>
          </a:prstGeom>
          <a:solidFill>
            <a:schemeClr val="accent6"/>
          </a:solidFill>
          <a:ln>
            <a:noFill/>
          </a:ln>
          <a:effectLst/>
          <a:scene3d>
            <a:camera prst="orthographicFront">
              <a:rot lat="0" lon="0" rev="0"/>
            </a:camera>
            <a:lightRig rig="threePt" dir="t">
              <a:rot lat="0" lon="0" rev="20400000"/>
            </a:lightRig>
          </a:scene3d>
          <a:sp3d>
            <a:contourClr>
              <a:schemeClr val="accent2">
                <a:hueOff val="0"/>
                <a:satOff val="0"/>
                <a:lumOff val="0"/>
                <a:alphaOff val="0"/>
                <a:shade val="25000"/>
                <a:satMod val="150000"/>
              </a:schemeClr>
            </a:contourClr>
          </a:sp3d>
        </p:spPr>
        <p:style>
          <a:lnRef idx="0">
            <a:schemeClr val="lt1">
              <a:hueOff val="0"/>
              <a:satOff val="0"/>
              <a:lumOff val="0"/>
              <a:alphaOff val="0"/>
            </a:schemeClr>
          </a:lnRef>
          <a:fillRef idx="3">
            <a:schemeClr val="accent2">
              <a:hueOff val="0"/>
              <a:satOff val="0"/>
              <a:lumOff val="0"/>
              <a:alphaOff val="0"/>
            </a:schemeClr>
          </a:fillRef>
          <a:effectRef idx="3">
            <a:schemeClr val="accent2">
              <a:hueOff val="0"/>
              <a:satOff val="0"/>
              <a:lumOff val="0"/>
              <a:alphaOff val="0"/>
            </a:schemeClr>
          </a:effectRef>
          <a:fontRef idx="minor">
            <a:schemeClr val="lt1"/>
          </a:fontRef>
        </p:style>
        <p:txBody>
          <a:bodyPr spcFirstLastPara="0" vert="horz" wrap="square" lIns="137172" tIns="68586" rIns="68586" bIns="68586" numCol="1" spcCol="953" anchor="ctr" anchorCtr="0">
            <a:noAutofit/>
          </a:bodyPr>
          <a:lstStyle/>
          <a:p>
            <a:pPr marL="11908" lvl="1">
              <a:spcBef>
                <a:spcPts val="450"/>
              </a:spcBef>
              <a:buSzPct val="90000"/>
            </a:pPr>
            <a:endParaRPr lang="en-US" sz="1100" dirty="0">
              <a:solidFill>
                <a:srgbClr val="363535">
                  <a:alpha val="99000"/>
                </a:srgbClr>
              </a:solidFill>
            </a:endParaRPr>
          </a:p>
        </p:txBody>
      </p:sp>
      <p:grpSp>
        <p:nvGrpSpPr>
          <p:cNvPr id="16" name="Group 15"/>
          <p:cNvGrpSpPr/>
          <p:nvPr>
            <p:custDataLst>
              <p:tags r:id="rId13"/>
            </p:custDataLst>
          </p:nvPr>
        </p:nvGrpSpPr>
        <p:grpSpPr>
          <a:xfrm>
            <a:off x="3706909" y="979838"/>
            <a:ext cx="713432" cy="553342"/>
            <a:chOff x="1048435" y="1210347"/>
            <a:chExt cx="852596" cy="661450"/>
          </a:xfrm>
        </p:grpSpPr>
        <p:pic>
          <p:nvPicPr>
            <p:cNvPr id="24" name="Picture 2" descr="\\MAGNUM\Projects\Microsoft\Cloud Power FY12\Design\ICONS_PNG\Devices.png"/>
            <p:cNvPicPr>
              <a:picLocks noChangeAspect="1" noChangeArrowheads="1"/>
            </p:cNvPicPr>
            <p:nvPr/>
          </p:nvPicPr>
          <p:blipFill>
            <a:blip r:embed="rId26" cstate="print">
              <a:lum bright="100000"/>
            </a:blip>
            <a:srcRect r="54000" b="50000"/>
            <a:stretch>
              <a:fillRect/>
            </a:stretch>
          </p:blipFill>
          <p:spPr bwMode="auto">
            <a:xfrm>
              <a:off x="1406144" y="1210347"/>
              <a:ext cx="494887" cy="537920"/>
            </a:xfrm>
            <a:prstGeom prst="rect">
              <a:avLst/>
            </a:prstGeom>
            <a:noFill/>
            <a:ln>
              <a:noFill/>
            </a:ln>
            <a:effectLst>
              <a:outerShdw blurRad="12700" sx="102000" sy="102000" algn="ctr" rotWithShape="0">
                <a:prstClr val="black">
                  <a:alpha val="40000"/>
                </a:prstClr>
              </a:outerShdw>
            </a:effectLst>
          </p:spPr>
        </p:pic>
        <p:pic>
          <p:nvPicPr>
            <p:cNvPr id="22" name="Picture 2" descr="\\MAGNUM\Projects\Microsoft\Cloud Power FY12\Design\ICONS_PNG\Devices.png"/>
            <p:cNvPicPr>
              <a:picLocks noChangeAspect="1" noChangeArrowheads="1"/>
            </p:cNvPicPr>
            <p:nvPr/>
          </p:nvPicPr>
          <p:blipFill>
            <a:blip r:embed="rId26" cstate="print">
              <a:lum bright="100000"/>
            </a:blip>
            <a:srcRect r="54000" b="50000"/>
            <a:stretch>
              <a:fillRect/>
            </a:stretch>
          </p:blipFill>
          <p:spPr bwMode="auto">
            <a:xfrm>
              <a:off x="1227290" y="1272112"/>
              <a:ext cx="494887" cy="537920"/>
            </a:xfrm>
            <a:prstGeom prst="rect">
              <a:avLst/>
            </a:prstGeom>
            <a:noFill/>
            <a:ln>
              <a:noFill/>
            </a:ln>
            <a:effectLst>
              <a:outerShdw blurRad="12700" sx="102000" sy="102000" algn="ctr" rotWithShape="0">
                <a:prstClr val="black">
                  <a:alpha val="40000"/>
                </a:prstClr>
              </a:outerShdw>
            </a:effectLst>
          </p:spPr>
        </p:pic>
        <p:pic>
          <p:nvPicPr>
            <p:cNvPr id="20" name="Picture 2" descr="\\MAGNUM\Projects\Microsoft\Cloud Power FY12\Design\ICONS_PNG\Devices.png"/>
            <p:cNvPicPr>
              <a:picLocks noChangeAspect="1" noChangeArrowheads="1"/>
            </p:cNvPicPr>
            <p:nvPr/>
          </p:nvPicPr>
          <p:blipFill>
            <a:blip r:embed="rId26" cstate="print">
              <a:lum bright="100000"/>
            </a:blip>
            <a:srcRect r="54000" b="50000"/>
            <a:stretch>
              <a:fillRect/>
            </a:stretch>
          </p:blipFill>
          <p:spPr bwMode="auto">
            <a:xfrm>
              <a:off x="1048435" y="1333877"/>
              <a:ext cx="494887" cy="537920"/>
            </a:xfrm>
            <a:prstGeom prst="rect">
              <a:avLst/>
            </a:prstGeom>
            <a:noFill/>
            <a:ln>
              <a:noFill/>
            </a:ln>
            <a:effectLst>
              <a:outerShdw blurRad="12700" sx="102000" sy="102000" algn="ctr" rotWithShape="0">
                <a:prstClr val="black">
                  <a:alpha val="40000"/>
                </a:prstClr>
              </a:outerShdw>
            </a:effectLst>
          </p:spPr>
        </p:pic>
      </p:grpSp>
      <p:pic>
        <p:nvPicPr>
          <p:cNvPr id="26" name="Picture 40" descr="C:\Users\sakuu\Documents\Ballmer WPC\PNGS\TV.png"/>
          <p:cNvPicPr>
            <a:picLocks noChangeAspect="1" noChangeArrowheads="1"/>
          </p:cNvPicPr>
          <p:nvPr>
            <p:custDataLst>
              <p:tags r:id="rId14"/>
            </p:custDataLst>
          </p:nvPr>
        </p:nvPicPr>
        <p:blipFill>
          <a:blip r:embed="rId27" cstate="print">
            <a:extLst>
              <a:ext uri="{28A0092B-C50C-407E-A947-70E740481C1C}">
                <a14:useLocalDpi xmlns:a14="http://schemas.microsoft.com/office/drawing/2010/main" val="0"/>
              </a:ext>
            </a:extLst>
          </a:blip>
          <a:srcRect/>
          <a:stretch>
            <a:fillRect/>
          </a:stretch>
        </p:blipFill>
        <p:spPr bwMode="auto">
          <a:xfrm>
            <a:off x="3817436" y="1792701"/>
            <a:ext cx="492378" cy="473568"/>
          </a:xfrm>
          <a:prstGeom prst="rect">
            <a:avLst/>
          </a:prstGeom>
          <a:noFill/>
          <a:extLst>
            <a:ext uri="{909E8E84-426E-40DD-AFC4-6F175D3DCCD1}">
              <a14:hiddenFill xmlns:a14="http://schemas.microsoft.com/office/drawing/2010/main">
                <a:solidFill>
                  <a:srgbClr val="FFFFFF"/>
                </a:solidFill>
              </a14:hiddenFill>
            </a:ext>
          </a:extLst>
        </p:spPr>
      </p:pic>
      <p:grpSp>
        <p:nvGrpSpPr>
          <p:cNvPr id="27" name="Group 26"/>
          <p:cNvGrpSpPr/>
          <p:nvPr>
            <p:custDataLst>
              <p:tags r:id="rId15"/>
            </p:custDataLst>
          </p:nvPr>
        </p:nvGrpSpPr>
        <p:grpSpPr>
          <a:xfrm>
            <a:off x="3789564" y="2573863"/>
            <a:ext cx="548120" cy="457200"/>
            <a:chOff x="1116284" y="2176892"/>
            <a:chExt cx="480386" cy="400806"/>
          </a:xfrm>
        </p:grpSpPr>
        <p:pic>
          <p:nvPicPr>
            <p:cNvPr id="28" name="Picture 2" descr="\\MAGNUM\Projects\Microsoft\Cloud Power FY12\Design\ICONS_PNG\Devices.png"/>
            <p:cNvPicPr>
              <a:picLocks noChangeAspect="1" noChangeArrowheads="1"/>
            </p:cNvPicPr>
            <p:nvPr/>
          </p:nvPicPr>
          <p:blipFill>
            <a:blip r:embed="rId26" cstate="print">
              <a:lum bright="100000"/>
            </a:blip>
            <a:srcRect r="54000" b="50000"/>
            <a:stretch>
              <a:fillRect/>
            </a:stretch>
          </p:blipFill>
          <p:spPr bwMode="auto">
            <a:xfrm>
              <a:off x="1180047" y="2176892"/>
              <a:ext cx="352860" cy="383544"/>
            </a:xfrm>
            <a:prstGeom prst="rect">
              <a:avLst/>
            </a:prstGeom>
            <a:noFill/>
            <a:ln>
              <a:noFill/>
            </a:ln>
            <a:effectLst/>
          </p:spPr>
        </p:pic>
        <p:sp>
          <p:nvSpPr>
            <p:cNvPr id="29" name="Rectangle 8"/>
            <p:cNvSpPr/>
            <p:nvPr/>
          </p:nvSpPr>
          <p:spPr bwMode="auto">
            <a:xfrm>
              <a:off x="1116284" y="2194154"/>
              <a:ext cx="480386" cy="383544"/>
            </a:xfrm>
            <a:custGeom>
              <a:avLst/>
              <a:gdLst/>
              <a:ahLst/>
              <a:cxnLst/>
              <a:rect l="l" t="t" r="r" b="b"/>
              <a:pathLst>
                <a:path w="480386" h="383544">
                  <a:moveTo>
                    <a:pt x="411665" y="0"/>
                  </a:moveTo>
                  <a:lnTo>
                    <a:pt x="480386" y="0"/>
                  </a:lnTo>
                  <a:lnTo>
                    <a:pt x="480386" y="383544"/>
                  </a:lnTo>
                  <a:lnTo>
                    <a:pt x="411665" y="383544"/>
                  </a:lnTo>
                  <a:lnTo>
                    <a:pt x="411665" y="363370"/>
                  </a:lnTo>
                  <a:lnTo>
                    <a:pt x="455119" y="363370"/>
                  </a:lnTo>
                  <a:lnTo>
                    <a:pt x="455119" y="20174"/>
                  </a:lnTo>
                  <a:lnTo>
                    <a:pt x="411665" y="20174"/>
                  </a:lnTo>
                  <a:close/>
                  <a:moveTo>
                    <a:pt x="0" y="0"/>
                  </a:moveTo>
                  <a:lnTo>
                    <a:pt x="68722" y="0"/>
                  </a:lnTo>
                  <a:lnTo>
                    <a:pt x="68722" y="20174"/>
                  </a:lnTo>
                  <a:lnTo>
                    <a:pt x="25267" y="20174"/>
                  </a:lnTo>
                  <a:lnTo>
                    <a:pt x="25267" y="363370"/>
                  </a:lnTo>
                  <a:lnTo>
                    <a:pt x="68722" y="363370"/>
                  </a:lnTo>
                  <a:lnTo>
                    <a:pt x="68722" y="383544"/>
                  </a:lnTo>
                  <a:lnTo>
                    <a:pt x="0" y="383544"/>
                  </a:lnTo>
                  <a:close/>
                </a:path>
              </a:pathLst>
            </a:cu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ea typeface="Segoe UI" pitchFamily="34" charset="0"/>
                <a:cs typeface="Segoe UI" pitchFamily="34" charset="0"/>
              </a:endParaRPr>
            </a:p>
          </p:txBody>
        </p:sp>
      </p:grpSp>
      <p:grpSp>
        <p:nvGrpSpPr>
          <p:cNvPr id="30" name="Group 29"/>
          <p:cNvGrpSpPr/>
          <p:nvPr>
            <p:custDataLst>
              <p:tags r:id="rId16"/>
            </p:custDataLst>
          </p:nvPr>
        </p:nvGrpSpPr>
        <p:grpSpPr>
          <a:xfrm>
            <a:off x="3674613" y="3394149"/>
            <a:ext cx="778025" cy="362584"/>
            <a:chOff x="1337975" y="2736293"/>
            <a:chExt cx="633608" cy="295358"/>
          </a:xfrm>
        </p:grpSpPr>
        <p:grpSp>
          <p:nvGrpSpPr>
            <p:cNvPr id="31" name="Group 30"/>
            <p:cNvGrpSpPr/>
            <p:nvPr/>
          </p:nvGrpSpPr>
          <p:grpSpPr>
            <a:xfrm flipH="1">
              <a:off x="1337975" y="2736293"/>
              <a:ext cx="245476" cy="295358"/>
              <a:chOff x="3663259" y="1200150"/>
              <a:chExt cx="3699566" cy="4451349"/>
            </a:xfrm>
          </p:grpSpPr>
          <p:sp>
            <p:nvSpPr>
              <p:cNvPr id="33" name="Rectangle 7"/>
              <p:cNvSpPr/>
              <p:nvPr/>
            </p:nvSpPr>
            <p:spPr bwMode="auto">
              <a:xfrm>
                <a:off x="3663259" y="1200150"/>
                <a:ext cx="539747" cy="4444997"/>
              </a:xfrm>
              <a:custGeom>
                <a:avLst/>
                <a:gdLst/>
                <a:ahLst/>
                <a:cxnLst/>
                <a:rect l="l" t="t" r="r" b="b"/>
                <a:pathLst>
                  <a:path w="539750" h="4445000">
                    <a:moveTo>
                      <a:pt x="0" y="3082161"/>
                    </a:moveTo>
                    <a:lnTo>
                      <a:pt x="539750" y="3209313"/>
                    </a:lnTo>
                    <a:lnTo>
                      <a:pt x="539750" y="4445000"/>
                    </a:lnTo>
                    <a:lnTo>
                      <a:pt x="0" y="4197350"/>
                    </a:lnTo>
                    <a:close/>
                    <a:moveTo>
                      <a:pt x="539750" y="1327851"/>
                    </a:moveTo>
                    <a:lnTo>
                      <a:pt x="539750" y="3184050"/>
                    </a:lnTo>
                    <a:lnTo>
                      <a:pt x="0" y="3059997"/>
                    </a:lnTo>
                    <a:lnTo>
                      <a:pt x="0" y="1378677"/>
                    </a:lnTo>
                    <a:close/>
                    <a:moveTo>
                      <a:pt x="539750" y="0"/>
                    </a:moveTo>
                    <a:lnTo>
                      <a:pt x="539750" y="1303055"/>
                    </a:lnTo>
                    <a:lnTo>
                      <a:pt x="0" y="1358543"/>
                    </a:lnTo>
                    <a:lnTo>
                      <a:pt x="0" y="158750"/>
                    </a:lnTo>
                    <a:close/>
                  </a:path>
                </a:pathLst>
              </a:custGeom>
              <a:solidFill>
                <a:srgbClr val="FFFFFF"/>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defRPr/>
                </a:pPr>
                <a:endParaRPr lang="en-US" sz="1700" kern="0" dirty="0">
                  <a:gradFill>
                    <a:gsLst>
                      <a:gs pos="0">
                        <a:srgbClr val="FFFFFF"/>
                      </a:gs>
                      <a:gs pos="100000">
                        <a:srgbClr val="FFFFFF"/>
                      </a:gs>
                    </a:gsLst>
                    <a:lin ang="5400000" scaled="0"/>
                  </a:gradFill>
                </a:endParaRPr>
              </a:p>
            </p:txBody>
          </p:sp>
          <p:sp>
            <p:nvSpPr>
              <p:cNvPr id="34" name="Rectangle 8"/>
              <p:cNvSpPr/>
              <p:nvPr/>
            </p:nvSpPr>
            <p:spPr bwMode="auto">
              <a:xfrm>
                <a:off x="4245769" y="1200150"/>
                <a:ext cx="2951954" cy="4451349"/>
              </a:xfrm>
              <a:custGeom>
                <a:avLst/>
                <a:gdLst/>
                <a:ahLst/>
                <a:cxnLst/>
                <a:rect l="l" t="t" r="r" b="b"/>
                <a:pathLst>
                  <a:path w="2951956" h="4451350">
                    <a:moveTo>
                      <a:pt x="2946167" y="3820502"/>
                    </a:moveTo>
                    <a:cubicBezTo>
                      <a:pt x="2946001" y="3927400"/>
                      <a:pt x="2945832" y="4033986"/>
                      <a:pt x="2945662" y="4140200"/>
                    </a:cubicBezTo>
                    <a:lnTo>
                      <a:pt x="2558051" y="4181144"/>
                    </a:lnTo>
                    <a:cubicBezTo>
                      <a:pt x="2713475" y="4098720"/>
                      <a:pt x="2846820" y="3974047"/>
                      <a:pt x="2946167" y="3820502"/>
                    </a:cubicBezTo>
                    <a:close/>
                    <a:moveTo>
                      <a:pt x="1056557" y="3145227"/>
                    </a:moveTo>
                    <a:cubicBezTo>
                      <a:pt x="1057290" y="3678625"/>
                      <a:pt x="1384783" y="4127260"/>
                      <a:pt x="1829828" y="4258066"/>
                    </a:cubicBezTo>
                    <a:lnTo>
                      <a:pt x="0" y="4451350"/>
                    </a:lnTo>
                    <a:lnTo>
                      <a:pt x="0" y="3211459"/>
                    </a:lnTo>
                    <a:close/>
                    <a:moveTo>
                      <a:pt x="0" y="1326366"/>
                    </a:moveTo>
                    <a:lnTo>
                      <a:pt x="2950070" y="1329308"/>
                    </a:lnTo>
                    <a:cubicBezTo>
                      <a:pt x="2949477" y="1708283"/>
                      <a:pt x="2948884" y="2089087"/>
                      <a:pt x="2948290" y="2469139"/>
                    </a:cubicBezTo>
                    <a:cubicBezTo>
                      <a:pt x="2759532" y="2177304"/>
                      <a:pt x="2450311" y="1987689"/>
                      <a:pt x="2101056" y="1987689"/>
                    </a:cubicBezTo>
                    <a:cubicBezTo>
                      <a:pt x="1530899" y="1987689"/>
                      <a:pt x="1067433" y="2493023"/>
                      <a:pt x="1057500" y="3120927"/>
                    </a:cubicBezTo>
                    <a:lnTo>
                      <a:pt x="0" y="3187053"/>
                    </a:lnTo>
                    <a:close/>
                    <a:moveTo>
                      <a:pt x="0" y="0"/>
                    </a:moveTo>
                    <a:lnTo>
                      <a:pt x="2951956" y="133350"/>
                    </a:lnTo>
                    <a:cubicBezTo>
                      <a:pt x="2951339" y="520813"/>
                      <a:pt x="2950721" y="913227"/>
                      <a:pt x="2950104" y="1307676"/>
                    </a:cubicBezTo>
                    <a:lnTo>
                      <a:pt x="0" y="1301776"/>
                    </a:lnTo>
                    <a:close/>
                  </a:path>
                </a:pathLst>
              </a:custGeom>
              <a:solidFill>
                <a:srgbClr val="FFFFFF"/>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defRPr/>
                </a:pPr>
                <a:endParaRPr lang="en-US" sz="1700" kern="0" dirty="0">
                  <a:gradFill>
                    <a:gsLst>
                      <a:gs pos="0">
                        <a:srgbClr val="FFFFFF"/>
                      </a:gs>
                      <a:gs pos="100000">
                        <a:srgbClr val="FFFFFF"/>
                      </a:gs>
                    </a:gsLst>
                    <a:lin ang="5400000" scaled="0"/>
                  </a:gradFill>
                </a:endParaRPr>
              </a:p>
            </p:txBody>
          </p:sp>
          <p:sp>
            <p:nvSpPr>
              <p:cNvPr id="35" name="Oval 9"/>
              <p:cNvSpPr/>
              <p:nvPr/>
            </p:nvSpPr>
            <p:spPr bwMode="auto">
              <a:xfrm>
                <a:off x="5330825" y="3219450"/>
                <a:ext cx="2032000" cy="2247900"/>
              </a:xfrm>
              <a:custGeom>
                <a:avLst/>
                <a:gdLst/>
                <a:ahLst/>
                <a:cxnLst/>
                <a:rect l="l" t="t" r="r" b="b"/>
                <a:pathLst>
                  <a:path w="2032000" h="2247900">
                    <a:moveTo>
                      <a:pt x="1037431" y="753397"/>
                    </a:moveTo>
                    <a:cubicBezTo>
                      <a:pt x="852436" y="753397"/>
                      <a:pt x="702468" y="919299"/>
                      <a:pt x="702468" y="1123950"/>
                    </a:cubicBezTo>
                    <a:cubicBezTo>
                      <a:pt x="702468" y="1328601"/>
                      <a:pt x="852436" y="1494503"/>
                      <a:pt x="1037431" y="1494503"/>
                    </a:cubicBezTo>
                    <a:cubicBezTo>
                      <a:pt x="1222426" y="1494503"/>
                      <a:pt x="1372394" y="1328601"/>
                      <a:pt x="1372394" y="1123950"/>
                    </a:cubicBezTo>
                    <a:cubicBezTo>
                      <a:pt x="1372394" y="919299"/>
                      <a:pt x="1222426" y="753397"/>
                      <a:pt x="1037431" y="753397"/>
                    </a:cubicBezTo>
                    <a:close/>
                    <a:moveTo>
                      <a:pt x="1016000" y="0"/>
                    </a:moveTo>
                    <a:cubicBezTo>
                      <a:pt x="1577121" y="0"/>
                      <a:pt x="2032000" y="503210"/>
                      <a:pt x="2032000" y="1123950"/>
                    </a:cubicBezTo>
                    <a:cubicBezTo>
                      <a:pt x="2032000" y="1744690"/>
                      <a:pt x="1577121" y="2247900"/>
                      <a:pt x="1016000" y="2247900"/>
                    </a:cubicBezTo>
                    <a:cubicBezTo>
                      <a:pt x="454879" y="2247900"/>
                      <a:pt x="0" y="1744690"/>
                      <a:pt x="0" y="1123950"/>
                    </a:cubicBezTo>
                    <a:cubicBezTo>
                      <a:pt x="0" y="503210"/>
                      <a:pt x="454879" y="0"/>
                      <a:pt x="1016000" y="0"/>
                    </a:cubicBezTo>
                    <a:close/>
                  </a:path>
                </a:pathLst>
              </a:custGeom>
              <a:solidFill>
                <a:srgbClr val="FFFFFF"/>
              </a:solidFill>
              <a:ln w="19050" cap="flat" cmpd="sng" algn="ctr">
                <a:solidFill>
                  <a:srgbClr val="FFFFFF">
                    <a:lumMod val="95000"/>
                    <a:alpha val="50000"/>
                  </a:srgbClr>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defRPr/>
                </a:pPr>
                <a:endParaRPr lang="en-US" sz="1700" kern="0" dirty="0">
                  <a:gradFill>
                    <a:gsLst>
                      <a:gs pos="0">
                        <a:srgbClr val="FFFFFF"/>
                      </a:gs>
                      <a:gs pos="100000">
                        <a:srgbClr val="FFFFFF"/>
                      </a:gs>
                    </a:gsLst>
                    <a:lin ang="5400000" scaled="0"/>
                  </a:gradFill>
                </a:endParaRPr>
              </a:p>
            </p:txBody>
          </p:sp>
          <p:sp>
            <p:nvSpPr>
              <p:cNvPr id="36" name="Oval 11"/>
              <p:cNvSpPr/>
              <p:nvPr/>
            </p:nvSpPr>
            <p:spPr bwMode="auto">
              <a:xfrm>
                <a:off x="6045199" y="3986018"/>
                <a:ext cx="646114" cy="714764"/>
              </a:xfrm>
              <a:custGeom>
                <a:avLst/>
                <a:gdLst/>
                <a:ahLst/>
                <a:cxnLst/>
                <a:rect l="l" t="t" r="r" b="b"/>
                <a:pathLst>
                  <a:path w="669926" h="741106">
                    <a:moveTo>
                      <a:pt x="334963" y="231815"/>
                    </a:moveTo>
                    <a:cubicBezTo>
                      <a:pt x="265699" y="231815"/>
                      <a:pt x="209550" y="293930"/>
                      <a:pt x="209550" y="370553"/>
                    </a:cubicBezTo>
                    <a:cubicBezTo>
                      <a:pt x="209550" y="447176"/>
                      <a:pt x="265699" y="509291"/>
                      <a:pt x="334963" y="509291"/>
                    </a:cubicBezTo>
                    <a:cubicBezTo>
                      <a:pt x="404227" y="509291"/>
                      <a:pt x="460376" y="447176"/>
                      <a:pt x="460376" y="370553"/>
                    </a:cubicBezTo>
                    <a:cubicBezTo>
                      <a:pt x="460376" y="293930"/>
                      <a:pt x="404227" y="231815"/>
                      <a:pt x="334963" y="231815"/>
                    </a:cubicBezTo>
                    <a:close/>
                    <a:moveTo>
                      <a:pt x="334963" y="0"/>
                    </a:moveTo>
                    <a:cubicBezTo>
                      <a:pt x="519958" y="0"/>
                      <a:pt x="669926" y="165902"/>
                      <a:pt x="669926" y="370553"/>
                    </a:cubicBezTo>
                    <a:cubicBezTo>
                      <a:pt x="669926" y="575204"/>
                      <a:pt x="519958" y="741106"/>
                      <a:pt x="334963" y="741106"/>
                    </a:cubicBezTo>
                    <a:cubicBezTo>
                      <a:pt x="149968" y="741106"/>
                      <a:pt x="0" y="575204"/>
                      <a:pt x="0" y="370553"/>
                    </a:cubicBezTo>
                    <a:cubicBezTo>
                      <a:pt x="0" y="165902"/>
                      <a:pt x="149968" y="0"/>
                      <a:pt x="334963" y="0"/>
                    </a:cubicBezTo>
                    <a:close/>
                  </a:path>
                </a:pathLst>
              </a:custGeom>
              <a:solidFill>
                <a:srgbClr val="FFFFFF">
                  <a:lumMod val="95000"/>
                </a:srgbClr>
              </a:solidFill>
              <a:ln w="9525" cap="flat" cmpd="sng" algn="ctr">
                <a:solidFill>
                  <a:srgbClr val="FFFFFF">
                    <a:lumMod val="85000"/>
                    <a:alpha val="50000"/>
                  </a:srgbClr>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defRPr/>
                </a:pPr>
                <a:endParaRPr lang="en-US" sz="1700" kern="0" dirty="0">
                  <a:gradFill>
                    <a:gsLst>
                      <a:gs pos="0">
                        <a:srgbClr val="FFFFFF"/>
                      </a:gs>
                      <a:gs pos="100000">
                        <a:srgbClr val="FFFFFF"/>
                      </a:gs>
                    </a:gsLst>
                    <a:lin ang="5400000" scaled="0"/>
                  </a:gradFill>
                </a:endParaRPr>
              </a:p>
            </p:txBody>
          </p:sp>
        </p:grpSp>
        <p:pic>
          <p:nvPicPr>
            <p:cNvPr id="32" name="Picture 31" descr="\\MAGNUM\Projects\Microsoft\Cloud Power FY12\Design\ICONS_PNG\Application.png"/>
            <p:cNvPicPr>
              <a:picLocks noChangeAspect="1" noChangeArrowheads="1"/>
            </p:cNvPicPr>
            <p:nvPr/>
          </p:nvPicPr>
          <p:blipFill rotWithShape="1">
            <a:blip r:embed="rId28" cstate="print">
              <a:biLevel thresh="25000"/>
            </a:blip>
            <a:srcRect l="30174" t="36465" r="28608" b="29915"/>
            <a:stretch/>
          </p:blipFill>
          <p:spPr bwMode="auto">
            <a:xfrm>
              <a:off x="1631003" y="2745036"/>
              <a:ext cx="340580" cy="277872"/>
            </a:xfrm>
            <a:prstGeom prst="rect">
              <a:avLst/>
            </a:prstGeom>
            <a:noFill/>
            <a:ln>
              <a:noFill/>
            </a:ln>
          </p:spPr>
        </p:pic>
      </p:grpSp>
      <p:grpSp>
        <p:nvGrpSpPr>
          <p:cNvPr id="37" name="Group 36"/>
          <p:cNvGrpSpPr/>
          <p:nvPr>
            <p:custDataLst>
              <p:tags r:id="rId17"/>
            </p:custDataLst>
          </p:nvPr>
        </p:nvGrpSpPr>
        <p:grpSpPr>
          <a:xfrm>
            <a:off x="3853918" y="4137725"/>
            <a:ext cx="419414" cy="421389"/>
            <a:chOff x="8886825" y="2044669"/>
            <a:chExt cx="636745" cy="639910"/>
          </a:xfrm>
        </p:grpSpPr>
        <p:sp>
          <p:nvSpPr>
            <p:cNvPr id="38" name="Rectangle 7"/>
            <p:cNvSpPr/>
            <p:nvPr/>
          </p:nvSpPr>
          <p:spPr bwMode="auto">
            <a:xfrm flipH="1">
              <a:off x="9016419" y="2044669"/>
              <a:ext cx="507151" cy="639910"/>
            </a:xfrm>
            <a:custGeom>
              <a:avLst/>
              <a:gdLst/>
              <a:ahLst/>
              <a:cxnLst/>
              <a:rect l="l" t="t" r="r" b="b"/>
              <a:pathLst>
                <a:path w="507151" h="639910">
                  <a:moveTo>
                    <a:pt x="0" y="442141"/>
                  </a:moveTo>
                  <a:lnTo>
                    <a:pt x="0" y="602116"/>
                  </a:lnTo>
                  <a:lnTo>
                    <a:pt x="77428" y="637642"/>
                  </a:lnTo>
                  <a:lnTo>
                    <a:pt x="77428" y="460381"/>
                  </a:lnTo>
                  <a:close/>
                  <a:moveTo>
                    <a:pt x="341087" y="441902"/>
                  </a:moveTo>
                  <a:lnTo>
                    <a:pt x="104513" y="458444"/>
                  </a:lnTo>
                  <a:lnTo>
                    <a:pt x="94158" y="459279"/>
                  </a:lnTo>
                  <a:cubicBezTo>
                    <a:pt x="94148" y="459528"/>
                    <a:pt x="94139" y="459778"/>
                    <a:pt x="94129" y="460027"/>
                  </a:cubicBezTo>
                  <a:lnTo>
                    <a:pt x="83561" y="460689"/>
                  </a:lnTo>
                  <a:lnTo>
                    <a:pt x="83561" y="638554"/>
                  </a:lnTo>
                  <a:lnTo>
                    <a:pt x="87266" y="638162"/>
                  </a:lnTo>
                  <a:cubicBezTo>
                    <a:pt x="87244" y="638745"/>
                    <a:pt x="87221" y="639327"/>
                    <a:pt x="87199" y="639910"/>
                  </a:cubicBezTo>
                  <a:lnTo>
                    <a:pt x="316362" y="613964"/>
                  </a:lnTo>
                  <a:lnTo>
                    <a:pt x="346054" y="610827"/>
                  </a:lnTo>
                  <a:cubicBezTo>
                    <a:pt x="345925" y="610789"/>
                    <a:pt x="345795" y="610751"/>
                    <a:pt x="345686" y="610643"/>
                  </a:cubicBezTo>
                  <a:lnTo>
                    <a:pt x="452214" y="598582"/>
                  </a:lnTo>
                  <a:lnTo>
                    <a:pt x="450519" y="599793"/>
                  </a:lnTo>
                  <a:lnTo>
                    <a:pt x="506122" y="593919"/>
                  </a:lnTo>
                  <a:cubicBezTo>
                    <a:pt x="506123" y="593439"/>
                    <a:pt x="506124" y="592958"/>
                    <a:pt x="506124" y="592477"/>
                  </a:cubicBezTo>
                  <a:lnTo>
                    <a:pt x="507026" y="592375"/>
                  </a:lnTo>
                  <a:lnTo>
                    <a:pt x="507026" y="466943"/>
                  </a:lnTo>
                  <a:lnTo>
                    <a:pt x="481374" y="466943"/>
                  </a:lnTo>
                  <a:lnTo>
                    <a:pt x="481374" y="540801"/>
                  </a:lnTo>
                  <a:close/>
                  <a:moveTo>
                    <a:pt x="481374" y="190666"/>
                  </a:moveTo>
                  <a:lnTo>
                    <a:pt x="481374" y="231845"/>
                  </a:lnTo>
                  <a:lnTo>
                    <a:pt x="507027" y="231845"/>
                  </a:lnTo>
                  <a:cubicBezTo>
                    <a:pt x="507225" y="218764"/>
                    <a:pt x="507159" y="205820"/>
                    <a:pt x="507026" y="193085"/>
                  </a:cubicBezTo>
                  <a:lnTo>
                    <a:pt x="506751" y="193085"/>
                  </a:lnTo>
                  <a:cubicBezTo>
                    <a:pt x="506752" y="192287"/>
                    <a:pt x="506754" y="191489"/>
                    <a:pt x="506755" y="190691"/>
                  </a:cubicBezTo>
                  <a:close/>
                  <a:moveTo>
                    <a:pt x="77428" y="190482"/>
                  </a:moveTo>
                  <a:lnTo>
                    <a:pt x="0" y="197773"/>
                  </a:lnTo>
                  <a:lnTo>
                    <a:pt x="0" y="438961"/>
                  </a:lnTo>
                  <a:lnTo>
                    <a:pt x="77428" y="456757"/>
                  </a:lnTo>
                  <a:close/>
                  <a:moveTo>
                    <a:pt x="83561" y="190269"/>
                  </a:moveTo>
                  <a:lnTo>
                    <a:pt x="83561" y="457189"/>
                  </a:lnTo>
                  <a:lnTo>
                    <a:pt x="83724" y="457178"/>
                  </a:lnTo>
                  <a:lnTo>
                    <a:pt x="83664" y="456319"/>
                  </a:lnTo>
                  <a:lnTo>
                    <a:pt x="336464" y="438642"/>
                  </a:lnTo>
                  <a:lnTo>
                    <a:pt x="209867" y="349394"/>
                  </a:lnTo>
                  <a:lnTo>
                    <a:pt x="435085" y="190620"/>
                  </a:lnTo>
                  <a:close/>
                  <a:moveTo>
                    <a:pt x="77428" y="0"/>
                  </a:moveTo>
                  <a:lnTo>
                    <a:pt x="0" y="22773"/>
                  </a:lnTo>
                  <a:lnTo>
                    <a:pt x="0" y="194885"/>
                  </a:lnTo>
                  <a:lnTo>
                    <a:pt x="77428" y="186925"/>
                  </a:lnTo>
                  <a:close/>
                  <a:moveTo>
                    <a:pt x="83561" y="0"/>
                  </a:moveTo>
                  <a:lnTo>
                    <a:pt x="83561" y="186556"/>
                  </a:lnTo>
                  <a:lnTo>
                    <a:pt x="440849" y="186556"/>
                  </a:lnTo>
                  <a:lnTo>
                    <a:pt x="481374" y="157987"/>
                  </a:lnTo>
                  <a:lnTo>
                    <a:pt x="481374" y="186556"/>
                  </a:lnTo>
                  <a:lnTo>
                    <a:pt x="506762" y="186556"/>
                  </a:lnTo>
                  <a:cubicBezTo>
                    <a:pt x="506850" y="130319"/>
                    <a:pt x="506937" y="74374"/>
                    <a:pt x="507026" y="19130"/>
                  </a:cubicBezTo>
                  <a:close/>
                </a:path>
              </a:pathLst>
            </a:custGeom>
            <a:solidFill>
              <a:srgbClr val="FFFFFF"/>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defRPr/>
              </a:pPr>
              <a:endParaRPr lang="en-US" sz="1700" kern="0" dirty="0">
                <a:gradFill>
                  <a:gsLst>
                    <a:gs pos="0">
                      <a:srgbClr val="FFFFFF"/>
                    </a:gs>
                    <a:gs pos="100000">
                      <a:srgbClr val="FFFFFF"/>
                    </a:gs>
                  </a:gsLst>
                  <a:lin ang="5400000" scaled="0"/>
                </a:gradFill>
              </a:endParaRPr>
            </a:p>
          </p:txBody>
        </p:sp>
        <p:sp>
          <p:nvSpPr>
            <p:cNvPr id="39" name="Right Arrow 38"/>
            <p:cNvSpPr/>
            <p:nvPr/>
          </p:nvSpPr>
          <p:spPr bwMode="auto">
            <a:xfrm>
              <a:off x="8886825" y="2240756"/>
              <a:ext cx="392813" cy="306614"/>
            </a:xfrm>
            <a:prstGeom prst="rightArrow">
              <a:avLst>
                <a:gd name="adj1" fmla="val 61413"/>
                <a:gd name="adj2" fmla="val 70924"/>
              </a:avLst>
            </a:prstGeom>
            <a:solidFill>
              <a:srgbClr val="FFFFFF"/>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kern="0" dirty="0">
                <a:gradFill>
                  <a:gsLst>
                    <a:gs pos="0">
                      <a:srgbClr val="FFFFFF"/>
                    </a:gs>
                    <a:gs pos="100000">
                      <a:srgbClr val="FFFFFF"/>
                    </a:gs>
                  </a:gsLst>
                  <a:lin ang="5400000" scaled="0"/>
                </a:gradFill>
              </a:endParaRPr>
            </a:p>
          </p:txBody>
        </p:sp>
      </p:grpSp>
      <p:grpSp>
        <p:nvGrpSpPr>
          <p:cNvPr id="40" name="Group 39"/>
          <p:cNvGrpSpPr/>
          <p:nvPr>
            <p:custDataLst>
              <p:tags r:id="rId18"/>
            </p:custDataLst>
          </p:nvPr>
        </p:nvGrpSpPr>
        <p:grpSpPr>
          <a:xfrm>
            <a:off x="8132754" y="984358"/>
            <a:ext cx="500887" cy="544301"/>
            <a:chOff x="1166806" y="3858054"/>
            <a:chExt cx="352860" cy="383544"/>
          </a:xfrm>
        </p:grpSpPr>
        <p:pic>
          <p:nvPicPr>
            <p:cNvPr id="41" name="Picture 2" descr="\\MAGNUM\Projects\Microsoft\Cloud Power FY12\Design\ICONS_PNG\Devices.png"/>
            <p:cNvPicPr>
              <a:picLocks noChangeAspect="1" noChangeArrowheads="1"/>
            </p:cNvPicPr>
            <p:nvPr/>
          </p:nvPicPr>
          <p:blipFill>
            <a:blip r:embed="rId26" cstate="print">
              <a:lum bright="100000"/>
            </a:blip>
            <a:srcRect r="54000" b="50000"/>
            <a:stretch>
              <a:fillRect/>
            </a:stretch>
          </p:blipFill>
          <p:spPr bwMode="auto">
            <a:xfrm>
              <a:off x="1166806" y="3858054"/>
              <a:ext cx="352860" cy="383544"/>
            </a:xfrm>
            <a:prstGeom prst="rect">
              <a:avLst/>
            </a:prstGeom>
            <a:noFill/>
            <a:ln>
              <a:noFill/>
            </a:ln>
            <a:effectLst/>
          </p:spPr>
        </p:pic>
        <p:pic>
          <p:nvPicPr>
            <p:cNvPr id="42" name="Picture 41"/>
            <p:cNvPicPr>
              <a:picLocks noChangeAspect="1"/>
            </p:cNvPicPr>
            <p:nvPr/>
          </p:nvPicPr>
          <p:blipFill rotWithShape="1">
            <a:blip r:embed="rId29" cstate="print">
              <a:extLst>
                <a:ext uri="{28A0092B-C50C-407E-A947-70E740481C1C}">
                  <a14:useLocalDpi xmlns:a14="http://schemas.microsoft.com/office/drawing/2010/main" val="0"/>
                </a:ext>
              </a:extLst>
            </a:blip>
            <a:srcRect t="-1" r="1153" b="-4317"/>
            <a:stretch/>
          </p:blipFill>
          <p:spPr>
            <a:xfrm>
              <a:off x="1258930" y="3957221"/>
              <a:ext cx="168613" cy="139965"/>
            </a:xfrm>
            <a:prstGeom prst="rect">
              <a:avLst/>
            </a:prstGeom>
          </p:spPr>
        </p:pic>
      </p:grpSp>
      <p:pic>
        <p:nvPicPr>
          <p:cNvPr id="43" name="Picture 4" descr="\\MAGNUM\Projects\Microsoft\Cloud Power FY12\Design\Icons\PNGs\IT_guy.png"/>
          <p:cNvPicPr>
            <a:picLocks noChangeAspect="1" noChangeArrowheads="1"/>
          </p:cNvPicPr>
          <p:nvPr>
            <p:custDataLst>
              <p:tags r:id="rId19"/>
            </p:custDataLst>
          </p:nvPr>
        </p:nvPicPr>
        <p:blipFill>
          <a:blip r:embed="rId30" cstate="print">
            <a:lum bright="100000"/>
          </a:blip>
          <a:stretch>
            <a:fillRect/>
          </a:stretch>
        </p:blipFill>
        <p:spPr bwMode="auto">
          <a:xfrm>
            <a:off x="8098359" y="1744722"/>
            <a:ext cx="569674" cy="569526"/>
          </a:xfrm>
          <a:prstGeom prst="rect">
            <a:avLst/>
          </a:prstGeom>
          <a:noFill/>
        </p:spPr>
      </p:pic>
      <p:grpSp>
        <p:nvGrpSpPr>
          <p:cNvPr id="47" name="Group 46"/>
          <p:cNvGrpSpPr/>
          <p:nvPr>
            <p:custDataLst>
              <p:tags r:id="rId20"/>
            </p:custDataLst>
          </p:nvPr>
        </p:nvGrpSpPr>
        <p:grpSpPr>
          <a:xfrm>
            <a:off x="8165503" y="3343084"/>
            <a:ext cx="435390" cy="475843"/>
            <a:chOff x="1179303" y="5603665"/>
            <a:chExt cx="548263" cy="717370"/>
          </a:xfrm>
        </p:grpSpPr>
        <p:pic>
          <p:nvPicPr>
            <p:cNvPr id="48" name="Picture 2" descr="C:\Users\Suresh\Desktop\28.09.11\Picture1.png"/>
            <p:cNvPicPr>
              <a:picLocks noChangeAspect="1" noChangeArrowheads="1"/>
            </p:cNvPicPr>
            <p:nvPr/>
          </p:nvPicPr>
          <p:blipFill rotWithShape="1">
            <a:blip r:embed="rId31">
              <a:extLst>
                <a:ext uri="{28A0092B-C50C-407E-A947-70E740481C1C}">
                  <a14:useLocalDpi xmlns:a14="http://schemas.microsoft.com/office/drawing/2010/main" val="0"/>
                </a:ext>
              </a:extLst>
            </a:blip>
            <a:srcRect r="6209"/>
            <a:stretch/>
          </p:blipFill>
          <p:spPr bwMode="auto">
            <a:xfrm flipH="1">
              <a:off x="1182276" y="5603665"/>
              <a:ext cx="545290" cy="701323"/>
            </a:xfrm>
            <a:prstGeom prst="rect">
              <a:avLst/>
            </a:prstGeom>
            <a:noFill/>
            <a:extLst>
              <a:ext uri="{909E8E84-426E-40DD-AFC4-6F175D3DCCD1}">
                <a14:hiddenFill xmlns:a14="http://schemas.microsoft.com/office/drawing/2010/main">
                  <a:solidFill>
                    <a:srgbClr val="FFFFFF"/>
                  </a:solidFill>
                </a14:hiddenFill>
              </a:ext>
            </a:extLst>
          </p:spPr>
        </p:pic>
        <p:sp>
          <p:nvSpPr>
            <p:cNvPr id="49" name="Rectangle 29"/>
            <p:cNvSpPr/>
            <p:nvPr/>
          </p:nvSpPr>
          <p:spPr bwMode="auto">
            <a:xfrm flipH="1">
              <a:off x="1179303" y="5893594"/>
              <a:ext cx="461811" cy="427441"/>
            </a:xfrm>
            <a:custGeom>
              <a:avLst/>
              <a:gdLst>
                <a:gd name="connsiteX0" fmla="*/ 0 w 1346480"/>
                <a:gd name="connsiteY0" fmla="*/ 0 h 1017244"/>
                <a:gd name="connsiteX1" fmla="*/ 1346480 w 1346480"/>
                <a:gd name="connsiteY1" fmla="*/ 0 h 1017244"/>
                <a:gd name="connsiteX2" fmla="*/ 1346480 w 1346480"/>
                <a:gd name="connsiteY2" fmla="*/ 1017244 h 1017244"/>
                <a:gd name="connsiteX3" fmla="*/ 0 w 1346480"/>
                <a:gd name="connsiteY3" fmla="*/ 1017244 h 1017244"/>
                <a:gd name="connsiteX4" fmla="*/ 0 w 1346480"/>
                <a:gd name="connsiteY4" fmla="*/ 0 h 1017244"/>
                <a:gd name="connsiteX0" fmla="*/ 0 w 1346480"/>
                <a:gd name="connsiteY0" fmla="*/ 0 h 1196354"/>
                <a:gd name="connsiteX1" fmla="*/ 1346480 w 1346480"/>
                <a:gd name="connsiteY1" fmla="*/ 0 h 1196354"/>
                <a:gd name="connsiteX2" fmla="*/ 1346480 w 1346480"/>
                <a:gd name="connsiteY2" fmla="*/ 1017244 h 1196354"/>
                <a:gd name="connsiteX3" fmla="*/ 9427 w 1346480"/>
                <a:gd name="connsiteY3" fmla="*/ 1196354 h 1196354"/>
                <a:gd name="connsiteX4" fmla="*/ 0 w 1346480"/>
                <a:gd name="connsiteY4" fmla="*/ 0 h 1196354"/>
                <a:gd name="connsiteX0" fmla="*/ 0 w 1346480"/>
                <a:gd name="connsiteY0" fmla="*/ 0 h 1196354"/>
                <a:gd name="connsiteX1" fmla="*/ 1346480 w 1346480"/>
                <a:gd name="connsiteY1" fmla="*/ 0 h 1196354"/>
                <a:gd name="connsiteX2" fmla="*/ 1318200 w 1346480"/>
                <a:gd name="connsiteY2" fmla="*/ 1036097 h 1196354"/>
                <a:gd name="connsiteX3" fmla="*/ 9427 w 1346480"/>
                <a:gd name="connsiteY3" fmla="*/ 1196354 h 1196354"/>
                <a:gd name="connsiteX4" fmla="*/ 0 w 1346480"/>
                <a:gd name="connsiteY4" fmla="*/ 0 h 1196354"/>
                <a:gd name="connsiteX0" fmla="*/ 0 w 1346480"/>
                <a:gd name="connsiteY0" fmla="*/ 0 h 1196354"/>
                <a:gd name="connsiteX1" fmla="*/ 1346480 w 1346480"/>
                <a:gd name="connsiteY1" fmla="*/ 0 h 1196354"/>
                <a:gd name="connsiteX2" fmla="*/ 1337054 w 1346480"/>
                <a:gd name="connsiteY2" fmla="*/ 1026670 h 1196354"/>
                <a:gd name="connsiteX3" fmla="*/ 9427 w 1346480"/>
                <a:gd name="connsiteY3" fmla="*/ 1196354 h 1196354"/>
                <a:gd name="connsiteX4" fmla="*/ 0 w 1346480"/>
                <a:gd name="connsiteY4" fmla="*/ 0 h 1196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6480" h="1196354">
                  <a:moveTo>
                    <a:pt x="0" y="0"/>
                  </a:moveTo>
                  <a:lnTo>
                    <a:pt x="1346480" y="0"/>
                  </a:lnTo>
                  <a:lnTo>
                    <a:pt x="1337054" y="1026670"/>
                  </a:lnTo>
                  <a:lnTo>
                    <a:pt x="9427" y="1196354"/>
                  </a:lnTo>
                  <a:cubicBezTo>
                    <a:pt x="6285" y="797569"/>
                    <a:pt x="3142" y="398785"/>
                    <a:pt x="0" y="0"/>
                  </a:cubicBezTo>
                  <a:close/>
                </a:path>
              </a:pathLst>
            </a:cu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9000"/>
                  </a:srgbClr>
                </a:solidFill>
                <a:ea typeface="Segoe UI" pitchFamily="34" charset="0"/>
                <a:cs typeface="Segoe UI" pitchFamily="34" charset="0"/>
              </a:endParaRPr>
            </a:p>
          </p:txBody>
        </p:sp>
        <p:sp>
          <p:nvSpPr>
            <p:cNvPr id="50" name="Rectangle 99"/>
            <p:cNvSpPr/>
            <p:nvPr/>
          </p:nvSpPr>
          <p:spPr bwMode="auto">
            <a:xfrm flipH="1">
              <a:off x="1183369" y="5643135"/>
              <a:ext cx="452599" cy="158999"/>
            </a:xfrm>
            <a:custGeom>
              <a:avLst/>
              <a:gdLst>
                <a:gd name="connsiteX0" fmla="*/ 0 w 1346480"/>
                <a:gd name="connsiteY0" fmla="*/ 0 h 974329"/>
                <a:gd name="connsiteX1" fmla="*/ 1346480 w 1346480"/>
                <a:gd name="connsiteY1" fmla="*/ 0 h 974329"/>
                <a:gd name="connsiteX2" fmla="*/ 1346480 w 1346480"/>
                <a:gd name="connsiteY2" fmla="*/ 974329 h 974329"/>
                <a:gd name="connsiteX3" fmla="*/ 0 w 1346480"/>
                <a:gd name="connsiteY3" fmla="*/ 974329 h 974329"/>
                <a:gd name="connsiteX4" fmla="*/ 0 w 1346480"/>
                <a:gd name="connsiteY4" fmla="*/ 0 h 974329"/>
                <a:gd name="connsiteX0" fmla="*/ 0 w 1346480"/>
                <a:gd name="connsiteY0" fmla="*/ 0 h 974329"/>
                <a:gd name="connsiteX1" fmla="*/ 1337053 w 1346480"/>
                <a:gd name="connsiteY1" fmla="*/ 197963 h 974329"/>
                <a:gd name="connsiteX2" fmla="*/ 1346480 w 1346480"/>
                <a:gd name="connsiteY2" fmla="*/ 974329 h 974329"/>
                <a:gd name="connsiteX3" fmla="*/ 0 w 1346480"/>
                <a:gd name="connsiteY3" fmla="*/ 974329 h 974329"/>
                <a:gd name="connsiteX4" fmla="*/ 0 w 1346480"/>
                <a:gd name="connsiteY4" fmla="*/ 0 h 974329"/>
                <a:gd name="connsiteX0" fmla="*/ 0 w 1346480"/>
                <a:gd name="connsiteY0" fmla="*/ 0 h 974329"/>
                <a:gd name="connsiteX1" fmla="*/ 1337053 w 1346480"/>
                <a:gd name="connsiteY1" fmla="*/ 103695 h 974329"/>
                <a:gd name="connsiteX2" fmla="*/ 1346480 w 1346480"/>
                <a:gd name="connsiteY2" fmla="*/ 974329 h 974329"/>
                <a:gd name="connsiteX3" fmla="*/ 0 w 1346480"/>
                <a:gd name="connsiteY3" fmla="*/ 974329 h 974329"/>
                <a:gd name="connsiteX4" fmla="*/ 0 w 1346480"/>
                <a:gd name="connsiteY4" fmla="*/ 0 h 974329"/>
                <a:gd name="connsiteX0" fmla="*/ 0 w 1346480"/>
                <a:gd name="connsiteY0" fmla="*/ 0 h 974329"/>
                <a:gd name="connsiteX1" fmla="*/ 1327626 w 1346480"/>
                <a:gd name="connsiteY1" fmla="*/ 75414 h 974329"/>
                <a:gd name="connsiteX2" fmla="*/ 1346480 w 1346480"/>
                <a:gd name="connsiteY2" fmla="*/ 974329 h 974329"/>
                <a:gd name="connsiteX3" fmla="*/ 0 w 1346480"/>
                <a:gd name="connsiteY3" fmla="*/ 974329 h 974329"/>
                <a:gd name="connsiteX4" fmla="*/ 0 w 1346480"/>
                <a:gd name="connsiteY4" fmla="*/ 0 h 974329"/>
                <a:gd name="connsiteX0" fmla="*/ 0 w 1346480"/>
                <a:gd name="connsiteY0" fmla="*/ 0 h 946048"/>
                <a:gd name="connsiteX1" fmla="*/ 1327626 w 1346480"/>
                <a:gd name="connsiteY1" fmla="*/ 47133 h 946048"/>
                <a:gd name="connsiteX2" fmla="*/ 1346480 w 1346480"/>
                <a:gd name="connsiteY2" fmla="*/ 946048 h 946048"/>
                <a:gd name="connsiteX3" fmla="*/ 0 w 1346480"/>
                <a:gd name="connsiteY3" fmla="*/ 946048 h 946048"/>
                <a:gd name="connsiteX4" fmla="*/ 0 w 1346480"/>
                <a:gd name="connsiteY4" fmla="*/ 0 h 946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6480" h="946048">
                  <a:moveTo>
                    <a:pt x="0" y="0"/>
                  </a:moveTo>
                  <a:lnTo>
                    <a:pt x="1327626" y="47133"/>
                  </a:lnTo>
                  <a:lnTo>
                    <a:pt x="1346480" y="946048"/>
                  </a:lnTo>
                  <a:lnTo>
                    <a:pt x="0" y="946048"/>
                  </a:lnTo>
                  <a:lnTo>
                    <a:pt x="0" y="0"/>
                  </a:lnTo>
                  <a:close/>
                </a:path>
              </a:pathLst>
            </a:cu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9000"/>
                  </a:srgbClr>
                </a:solidFill>
                <a:ea typeface="Segoe UI" pitchFamily="34" charset="0"/>
                <a:cs typeface="Segoe UI" pitchFamily="34" charset="0"/>
              </a:endParaRPr>
            </a:p>
          </p:txBody>
        </p:sp>
      </p:grpSp>
      <p:grpSp>
        <p:nvGrpSpPr>
          <p:cNvPr id="51" name="Group 50"/>
          <p:cNvGrpSpPr/>
          <p:nvPr>
            <p:custDataLst>
              <p:tags r:id="rId21"/>
            </p:custDataLst>
          </p:nvPr>
        </p:nvGrpSpPr>
        <p:grpSpPr>
          <a:xfrm>
            <a:off x="8173491" y="2593553"/>
            <a:ext cx="419414" cy="421389"/>
            <a:chOff x="8886825" y="2044669"/>
            <a:chExt cx="636745" cy="639910"/>
          </a:xfrm>
        </p:grpSpPr>
        <p:sp>
          <p:nvSpPr>
            <p:cNvPr id="52" name="Rectangle 7"/>
            <p:cNvSpPr/>
            <p:nvPr/>
          </p:nvSpPr>
          <p:spPr bwMode="auto">
            <a:xfrm flipH="1">
              <a:off x="9016419" y="2044669"/>
              <a:ext cx="507151" cy="639910"/>
            </a:xfrm>
            <a:custGeom>
              <a:avLst/>
              <a:gdLst/>
              <a:ahLst/>
              <a:cxnLst/>
              <a:rect l="l" t="t" r="r" b="b"/>
              <a:pathLst>
                <a:path w="507151" h="639910">
                  <a:moveTo>
                    <a:pt x="0" y="442141"/>
                  </a:moveTo>
                  <a:lnTo>
                    <a:pt x="0" y="602116"/>
                  </a:lnTo>
                  <a:lnTo>
                    <a:pt x="77428" y="637642"/>
                  </a:lnTo>
                  <a:lnTo>
                    <a:pt x="77428" y="460381"/>
                  </a:lnTo>
                  <a:close/>
                  <a:moveTo>
                    <a:pt x="341087" y="441902"/>
                  </a:moveTo>
                  <a:lnTo>
                    <a:pt x="104513" y="458444"/>
                  </a:lnTo>
                  <a:lnTo>
                    <a:pt x="94158" y="459279"/>
                  </a:lnTo>
                  <a:cubicBezTo>
                    <a:pt x="94148" y="459528"/>
                    <a:pt x="94139" y="459778"/>
                    <a:pt x="94129" y="460027"/>
                  </a:cubicBezTo>
                  <a:lnTo>
                    <a:pt x="83561" y="460689"/>
                  </a:lnTo>
                  <a:lnTo>
                    <a:pt x="83561" y="638554"/>
                  </a:lnTo>
                  <a:lnTo>
                    <a:pt x="87266" y="638162"/>
                  </a:lnTo>
                  <a:cubicBezTo>
                    <a:pt x="87244" y="638745"/>
                    <a:pt x="87221" y="639327"/>
                    <a:pt x="87199" y="639910"/>
                  </a:cubicBezTo>
                  <a:lnTo>
                    <a:pt x="316362" y="613964"/>
                  </a:lnTo>
                  <a:lnTo>
                    <a:pt x="346054" y="610827"/>
                  </a:lnTo>
                  <a:cubicBezTo>
                    <a:pt x="345925" y="610789"/>
                    <a:pt x="345795" y="610751"/>
                    <a:pt x="345686" y="610643"/>
                  </a:cubicBezTo>
                  <a:lnTo>
                    <a:pt x="452214" y="598582"/>
                  </a:lnTo>
                  <a:lnTo>
                    <a:pt x="450519" y="599793"/>
                  </a:lnTo>
                  <a:lnTo>
                    <a:pt x="506122" y="593919"/>
                  </a:lnTo>
                  <a:cubicBezTo>
                    <a:pt x="506123" y="593439"/>
                    <a:pt x="506124" y="592958"/>
                    <a:pt x="506124" y="592477"/>
                  </a:cubicBezTo>
                  <a:lnTo>
                    <a:pt x="507026" y="592375"/>
                  </a:lnTo>
                  <a:lnTo>
                    <a:pt x="507026" y="466943"/>
                  </a:lnTo>
                  <a:lnTo>
                    <a:pt x="481374" y="466943"/>
                  </a:lnTo>
                  <a:lnTo>
                    <a:pt x="481374" y="540801"/>
                  </a:lnTo>
                  <a:close/>
                  <a:moveTo>
                    <a:pt x="481374" y="190666"/>
                  </a:moveTo>
                  <a:lnTo>
                    <a:pt x="481374" y="231845"/>
                  </a:lnTo>
                  <a:lnTo>
                    <a:pt x="507027" y="231845"/>
                  </a:lnTo>
                  <a:cubicBezTo>
                    <a:pt x="507225" y="218764"/>
                    <a:pt x="507159" y="205820"/>
                    <a:pt x="507026" y="193085"/>
                  </a:cubicBezTo>
                  <a:lnTo>
                    <a:pt x="506751" y="193085"/>
                  </a:lnTo>
                  <a:cubicBezTo>
                    <a:pt x="506752" y="192287"/>
                    <a:pt x="506754" y="191489"/>
                    <a:pt x="506755" y="190691"/>
                  </a:cubicBezTo>
                  <a:close/>
                  <a:moveTo>
                    <a:pt x="77428" y="190482"/>
                  </a:moveTo>
                  <a:lnTo>
                    <a:pt x="0" y="197773"/>
                  </a:lnTo>
                  <a:lnTo>
                    <a:pt x="0" y="438961"/>
                  </a:lnTo>
                  <a:lnTo>
                    <a:pt x="77428" y="456757"/>
                  </a:lnTo>
                  <a:close/>
                  <a:moveTo>
                    <a:pt x="83561" y="190269"/>
                  </a:moveTo>
                  <a:lnTo>
                    <a:pt x="83561" y="457189"/>
                  </a:lnTo>
                  <a:lnTo>
                    <a:pt x="83724" y="457178"/>
                  </a:lnTo>
                  <a:lnTo>
                    <a:pt x="83664" y="456319"/>
                  </a:lnTo>
                  <a:lnTo>
                    <a:pt x="336464" y="438642"/>
                  </a:lnTo>
                  <a:lnTo>
                    <a:pt x="209867" y="349394"/>
                  </a:lnTo>
                  <a:lnTo>
                    <a:pt x="435085" y="190620"/>
                  </a:lnTo>
                  <a:close/>
                  <a:moveTo>
                    <a:pt x="77428" y="0"/>
                  </a:moveTo>
                  <a:lnTo>
                    <a:pt x="0" y="22773"/>
                  </a:lnTo>
                  <a:lnTo>
                    <a:pt x="0" y="194885"/>
                  </a:lnTo>
                  <a:lnTo>
                    <a:pt x="77428" y="186925"/>
                  </a:lnTo>
                  <a:close/>
                  <a:moveTo>
                    <a:pt x="83561" y="0"/>
                  </a:moveTo>
                  <a:lnTo>
                    <a:pt x="83561" y="186556"/>
                  </a:lnTo>
                  <a:lnTo>
                    <a:pt x="440849" y="186556"/>
                  </a:lnTo>
                  <a:lnTo>
                    <a:pt x="481374" y="157987"/>
                  </a:lnTo>
                  <a:lnTo>
                    <a:pt x="481374" y="186556"/>
                  </a:lnTo>
                  <a:lnTo>
                    <a:pt x="506762" y="186556"/>
                  </a:lnTo>
                  <a:cubicBezTo>
                    <a:pt x="506850" y="130319"/>
                    <a:pt x="506937" y="74374"/>
                    <a:pt x="507026" y="19130"/>
                  </a:cubicBezTo>
                  <a:close/>
                </a:path>
              </a:pathLst>
            </a:custGeom>
            <a:solidFill>
              <a:srgbClr val="FFFFFF"/>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defRPr/>
              </a:pPr>
              <a:endParaRPr lang="en-US" sz="1700" kern="0" dirty="0">
                <a:gradFill>
                  <a:gsLst>
                    <a:gs pos="0">
                      <a:srgbClr val="FFFFFF"/>
                    </a:gs>
                    <a:gs pos="100000">
                      <a:srgbClr val="FFFFFF"/>
                    </a:gs>
                  </a:gsLst>
                  <a:lin ang="5400000" scaled="0"/>
                </a:gradFill>
              </a:endParaRPr>
            </a:p>
          </p:txBody>
        </p:sp>
        <p:sp>
          <p:nvSpPr>
            <p:cNvPr id="53" name="Right Arrow 52"/>
            <p:cNvSpPr/>
            <p:nvPr/>
          </p:nvSpPr>
          <p:spPr bwMode="auto">
            <a:xfrm>
              <a:off x="8886825" y="2240756"/>
              <a:ext cx="392813" cy="306614"/>
            </a:xfrm>
            <a:prstGeom prst="rightArrow">
              <a:avLst>
                <a:gd name="adj1" fmla="val 61413"/>
                <a:gd name="adj2" fmla="val 70924"/>
              </a:avLst>
            </a:prstGeom>
            <a:solidFill>
              <a:srgbClr val="FFFFFF"/>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kern="0" dirty="0">
                <a:gradFill>
                  <a:gsLst>
                    <a:gs pos="0">
                      <a:srgbClr val="FFFFFF"/>
                    </a:gs>
                    <a:gs pos="100000">
                      <a:srgbClr val="FFFFFF"/>
                    </a:gs>
                  </a:gsLst>
                  <a:lin ang="5400000" scaled="0"/>
                </a:gradFill>
              </a:endParaRPr>
            </a:p>
          </p:txBody>
        </p:sp>
      </p:grpSp>
      <p:sp>
        <p:nvSpPr>
          <p:cNvPr id="55" name="Rectangle 54"/>
          <p:cNvSpPr/>
          <p:nvPr/>
        </p:nvSpPr>
        <p:spPr>
          <a:xfrm>
            <a:off x="389437" y="923122"/>
            <a:ext cx="3197660" cy="666773"/>
          </a:xfrm>
          <a:prstGeom prst="rect">
            <a:avLst/>
          </a:prstGeom>
          <a:noFill/>
          <a:ln>
            <a:noFill/>
          </a:ln>
          <a:effectLst/>
          <a:scene3d>
            <a:camera prst="orthographicFront">
              <a:rot lat="0" lon="0" rev="0"/>
            </a:camera>
            <a:lightRig rig="threePt" dir="t">
              <a:rot lat="0" lon="0" rev="20400000"/>
            </a:lightRig>
          </a:scene3d>
          <a:sp3d>
            <a:contourClr>
              <a:schemeClr val="accent2">
                <a:hueOff val="0"/>
                <a:satOff val="0"/>
                <a:lumOff val="0"/>
                <a:alphaOff val="0"/>
                <a:shade val="25000"/>
                <a:satMod val="150000"/>
              </a:schemeClr>
            </a:contourClr>
          </a:sp3d>
        </p:spPr>
        <p:style>
          <a:lnRef idx="0">
            <a:schemeClr val="lt1">
              <a:hueOff val="0"/>
              <a:satOff val="0"/>
              <a:lumOff val="0"/>
              <a:alphaOff val="0"/>
            </a:schemeClr>
          </a:lnRef>
          <a:fillRef idx="3">
            <a:schemeClr val="accent2">
              <a:hueOff val="0"/>
              <a:satOff val="0"/>
              <a:lumOff val="0"/>
              <a:alphaOff val="0"/>
            </a:schemeClr>
          </a:fillRef>
          <a:effectRef idx="3">
            <a:schemeClr val="accent2">
              <a:hueOff val="0"/>
              <a:satOff val="0"/>
              <a:lumOff val="0"/>
              <a:alphaOff val="0"/>
            </a:schemeClr>
          </a:effectRef>
          <a:fontRef idx="minor">
            <a:schemeClr val="lt1"/>
          </a:fontRef>
        </p:style>
        <p:txBody>
          <a:bodyPr spcFirstLastPara="0" vert="horz" wrap="square" lIns="137172" tIns="68586" rIns="68586" bIns="68586" numCol="1" spcCol="953" anchor="ctr" anchorCtr="0">
            <a:noAutofit/>
          </a:bodyPr>
          <a:lstStyle/>
          <a:p>
            <a:pPr marL="11908" lvl="1">
              <a:spcBef>
                <a:spcPts val="450"/>
              </a:spcBef>
              <a:buSzPct val="90000"/>
            </a:pPr>
            <a:r>
              <a:rPr lang="en-US" dirty="0">
                <a:solidFill>
                  <a:srgbClr val="FFFFFF">
                    <a:alpha val="99000"/>
                  </a:srgbClr>
                </a:solidFill>
              </a:rPr>
              <a:t>Collections</a:t>
            </a:r>
          </a:p>
        </p:txBody>
      </p:sp>
      <p:sp>
        <p:nvSpPr>
          <p:cNvPr id="56" name="Rectangle 55"/>
          <p:cNvSpPr/>
          <p:nvPr/>
        </p:nvSpPr>
        <p:spPr>
          <a:xfrm>
            <a:off x="4631629" y="923122"/>
            <a:ext cx="3364310" cy="666773"/>
          </a:xfrm>
          <a:prstGeom prst="rect">
            <a:avLst/>
          </a:prstGeom>
          <a:noFill/>
          <a:ln>
            <a:noFill/>
          </a:ln>
          <a:effectLst/>
          <a:scene3d>
            <a:camera prst="orthographicFront">
              <a:rot lat="0" lon="0" rev="0"/>
            </a:camera>
            <a:lightRig rig="threePt" dir="t">
              <a:rot lat="0" lon="0" rev="20400000"/>
            </a:lightRig>
          </a:scene3d>
          <a:sp3d>
            <a:contourClr>
              <a:schemeClr val="accent2">
                <a:hueOff val="0"/>
                <a:satOff val="0"/>
                <a:lumOff val="0"/>
                <a:alphaOff val="0"/>
                <a:shade val="25000"/>
                <a:satMod val="150000"/>
              </a:schemeClr>
            </a:contourClr>
          </a:sp3d>
        </p:spPr>
        <p:style>
          <a:lnRef idx="0">
            <a:schemeClr val="lt1">
              <a:hueOff val="0"/>
              <a:satOff val="0"/>
              <a:lumOff val="0"/>
              <a:alphaOff val="0"/>
            </a:schemeClr>
          </a:lnRef>
          <a:fillRef idx="3">
            <a:schemeClr val="accent2">
              <a:hueOff val="0"/>
              <a:satOff val="0"/>
              <a:lumOff val="0"/>
              <a:alphaOff val="0"/>
            </a:schemeClr>
          </a:fillRef>
          <a:effectRef idx="3">
            <a:schemeClr val="accent2">
              <a:hueOff val="0"/>
              <a:satOff val="0"/>
              <a:lumOff val="0"/>
              <a:alphaOff val="0"/>
            </a:schemeClr>
          </a:effectRef>
          <a:fontRef idx="minor">
            <a:schemeClr val="lt1"/>
          </a:fontRef>
        </p:style>
        <p:txBody>
          <a:bodyPr spcFirstLastPara="0" vert="horz" wrap="square" lIns="137172" tIns="68586" rIns="68586" bIns="68586" numCol="1" spcCol="953" anchor="ctr" anchorCtr="0">
            <a:noAutofit/>
          </a:bodyPr>
          <a:lstStyle/>
          <a:p>
            <a:pPr marL="11908" lvl="1">
              <a:spcBef>
                <a:spcPts val="450"/>
              </a:spcBef>
              <a:buSzPct val="90000"/>
            </a:pPr>
            <a:r>
              <a:rPr lang="en-US" dirty="0">
                <a:solidFill>
                  <a:srgbClr val="FFFFFF">
                    <a:alpha val="99000"/>
                  </a:srgbClr>
                </a:solidFill>
              </a:rPr>
              <a:t>Operating System Deployment: </a:t>
            </a:r>
          </a:p>
          <a:p>
            <a:pPr marL="207187" lvl="1" indent="-207187">
              <a:spcBef>
                <a:spcPts val="225"/>
              </a:spcBef>
              <a:buSzPct val="90000"/>
              <a:buBlip>
                <a:blip r:embed="rId32"/>
              </a:buBlip>
            </a:pPr>
            <a:r>
              <a:rPr lang="en-US" sz="1100" dirty="0">
                <a:solidFill>
                  <a:srgbClr val="FFFFFF">
                    <a:alpha val="99000"/>
                  </a:srgbClr>
                </a:solidFill>
              </a:rPr>
              <a:t>Boot Images, Driver Packages, Drivers, Images, </a:t>
            </a:r>
            <a:br>
              <a:rPr lang="en-US" sz="1100" dirty="0">
                <a:solidFill>
                  <a:srgbClr val="FFFFFF">
                    <a:alpha val="99000"/>
                  </a:srgbClr>
                </a:solidFill>
              </a:rPr>
            </a:br>
            <a:r>
              <a:rPr lang="en-US" sz="1100" dirty="0">
                <a:solidFill>
                  <a:srgbClr val="FFFFFF">
                    <a:alpha val="99000"/>
                  </a:srgbClr>
                </a:solidFill>
              </a:rPr>
              <a:t>Packages and Task Sequences</a:t>
            </a:r>
          </a:p>
        </p:txBody>
      </p:sp>
      <p:sp>
        <p:nvSpPr>
          <p:cNvPr id="57" name="Rectangle 56"/>
          <p:cNvSpPr/>
          <p:nvPr/>
        </p:nvSpPr>
        <p:spPr>
          <a:xfrm>
            <a:off x="389437" y="1696100"/>
            <a:ext cx="3197660" cy="666773"/>
          </a:xfrm>
          <a:prstGeom prst="rect">
            <a:avLst/>
          </a:prstGeom>
          <a:noFill/>
          <a:ln>
            <a:noFill/>
          </a:ln>
          <a:effectLst/>
          <a:scene3d>
            <a:camera prst="orthographicFront">
              <a:rot lat="0" lon="0" rev="0"/>
            </a:camera>
            <a:lightRig rig="threePt" dir="t">
              <a:rot lat="0" lon="0" rev="20400000"/>
            </a:lightRig>
          </a:scene3d>
          <a:sp3d>
            <a:contourClr>
              <a:schemeClr val="accent2">
                <a:hueOff val="0"/>
                <a:satOff val="0"/>
                <a:lumOff val="0"/>
                <a:alphaOff val="0"/>
                <a:shade val="25000"/>
                <a:satMod val="150000"/>
              </a:schemeClr>
            </a:contourClr>
          </a:sp3d>
        </p:spPr>
        <p:style>
          <a:lnRef idx="0">
            <a:schemeClr val="lt1">
              <a:hueOff val="0"/>
              <a:satOff val="0"/>
              <a:lumOff val="0"/>
              <a:alphaOff val="0"/>
            </a:schemeClr>
          </a:lnRef>
          <a:fillRef idx="3">
            <a:schemeClr val="accent2">
              <a:hueOff val="0"/>
              <a:satOff val="0"/>
              <a:lumOff val="0"/>
              <a:alphaOff val="0"/>
            </a:schemeClr>
          </a:fillRef>
          <a:effectRef idx="3">
            <a:schemeClr val="accent2">
              <a:hueOff val="0"/>
              <a:satOff val="0"/>
              <a:lumOff val="0"/>
              <a:alphaOff val="0"/>
            </a:schemeClr>
          </a:effectRef>
          <a:fontRef idx="minor">
            <a:schemeClr val="lt1"/>
          </a:fontRef>
        </p:style>
        <p:txBody>
          <a:bodyPr spcFirstLastPara="0" vert="horz" wrap="square" lIns="137172" tIns="68586" rIns="68586" bIns="68586" numCol="1" spcCol="953" anchor="ctr" anchorCtr="0">
            <a:noAutofit/>
          </a:bodyPr>
          <a:lstStyle/>
          <a:p>
            <a:pPr marL="11908" lvl="1">
              <a:spcBef>
                <a:spcPts val="450"/>
              </a:spcBef>
              <a:buSzPct val="90000"/>
            </a:pPr>
            <a:r>
              <a:rPr lang="en-US" dirty="0">
                <a:solidFill>
                  <a:srgbClr val="FFFFFF">
                    <a:alpha val="99000"/>
                  </a:srgbClr>
                </a:solidFill>
              </a:rPr>
              <a:t>Advertisements-via </a:t>
            </a:r>
            <a:r>
              <a:rPr lang="en-US" dirty="0" smtClean="0">
                <a:solidFill>
                  <a:srgbClr val="FFFFFF">
                    <a:alpha val="99000"/>
                  </a:srgbClr>
                </a:solidFill>
              </a:rPr>
              <a:t/>
            </a:r>
            <a:br>
              <a:rPr lang="en-US" dirty="0" smtClean="0">
                <a:solidFill>
                  <a:srgbClr val="FFFFFF">
                    <a:alpha val="99000"/>
                  </a:srgbClr>
                </a:solidFill>
              </a:rPr>
            </a:br>
            <a:r>
              <a:rPr lang="en-US" dirty="0" smtClean="0">
                <a:solidFill>
                  <a:srgbClr val="FFFFFF">
                    <a:alpha val="99000"/>
                  </a:srgbClr>
                </a:solidFill>
              </a:rPr>
              <a:t>collection migration</a:t>
            </a:r>
            <a:endParaRPr lang="en-US" dirty="0">
              <a:solidFill>
                <a:srgbClr val="FFFFFF">
                  <a:alpha val="99000"/>
                </a:srgbClr>
              </a:solidFill>
            </a:endParaRPr>
          </a:p>
        </p:txBody>
      </p:sp>
      <p:sp>
        <p:nvSpPr>
          <p:cNvPr id="58" name="Rectangle 57"/>
          <p:cNvSpPr/>
          <p:nvPr/>
        </p:nvSpPr>
        <p:spPr>
          <a:xfrm>
            <a:off x="4631629" y="1696100"/>
            <a:ext cx="3364310" cy="666773"/>
          </a:xfrm>
          <a:prstGeom prst="rect">
            <a:avLst/>
          </a:prstGeom>
          <a:noFill/>
          <a:ln>
            <a:noFill/>
          </a:ln>
          <a:effectLst/>
          <a:scene3d>
            <a:camera prst="orthographicFront">
              <a:rot lat="0" lon="0" rev="0"/>
            </a:camera>
            <a:lightRig rig="threePt" dir="t">
              <a:rot lat="0" lon="0" rev="20400000"/>
            </a:lightRig>
          </a:scene3d>
          <a:sp3d>
            <a:contourClr>
              <a:schemeClr val="accent2">
                <a:hueOff val="0"/>
                <a:satOff val="0"/>
                <a:lumOff val="0"/>
                <a:alphaOff val="0"/>
                <a:shade val="25000"/>
                <a:satMod val="150000"/>
              </a:schemeClr>
            </a:contourClr>
          </a:sp3d>
        </p:spPr>
        <p:style>
          <a:lnRef idx="0">
            <a:schemeClr val="lt1">
              <a:hueOff val="0"/>
              <a:satOff val="0"/>
              <a:lumOff val="0"/>
              <a:alphaOff val="0"/>
            </a:schemeClr>
          </a:lnRef>
          <a:fillRef idx="3">
            <a:schemeClr val="accent2">
              <a:hueOff val="0"/>
              <a:satOff val="0"/>
              <a:lumOff val="0"/>
              <a:alphaOff val="0"/>
            </a:schemeClr>
          </a:fillRef>
          <a:effectRef idx="3">
            <a:schemeClr val="accent2">
              <a:hueOff val="0"/>
              <a:satOff val="0"/>
              <a:lumOff val="0"/>
              <a:alphaOff val="0"/>
            </a:schemeClr>
          </a:effectRef>
          <a:fontRef idx="minor">
            <a:schemeClr val="lt1"/>
          </a:fontRef>
        </p:style>
        <p:txBody>
          <a:bodyPr spcFirstLastPara="0" vert="horz" wrap="square" lIns="137172" tIns="68586" rIns="68586" bIns="68586" numCol="1" spcCol="953" anchor="ctr" anchorCtr="0">
            <a:noAutofit/>
          </a:bodyPr>
          <a:lstStyle/>
          <a:p>
            <a:pPr marL="11908" lvl="1">
              <a:spcBef>
                <a:spcPts val="450"/>
              </a:spcBef>
              <a:buSzPct val="90000"/>
            </a:pPr>
            <a:r>
              <a:rPr lang="en-US" dirty="0">
                <a:solidFill>
                  <a:srgbClr val="FFFFFF">
                    <a:alpha val="99000"/>
                  </a:srgbClr>
                </a:solidFill>
              </a:rPr>
              <a:t>Settings Management</a:t>
            </a:r>
            <a:r>
              <a:rPr lang="en-US" dirty="0" smtClean="0">
                <a:solidFill>
                  <a:srgbClr val="FFFFFF">
                    <a:alpha val="99000"/>
                  </a:srgbClr>
                </a:solidFill>
              </a:rPr>
              <a:t>: </a:t>
            </a:r>
            <a:endParaRPr lang="en-US" dirty="0">
              <a:solidFill>
                <a:srgbClr val="FFFFFF">
                  <a:alpha val="99000"/>
                </a:srgbClr>
              </a:solidFill>
            </a:endParaRPr>
          </a:p>
          <a:p>
            <a:pPr marL="207187" lvl="1" indent="-207187">
              <a:spcBef>
                <a:spcPts val="225"/>
              </a:spcBef>
              <a:buSzPct val="90000"/>
              <a:buBlip>
                <a:blip r:embed="rId32"/>
              </a:buBlip>
            </a:pPr>
            <a:r>
              <a:rPr lang="en-US" sz="1100" dirty="0">
                <a:solidFill>
                  <a:srgbClr val="FFFFFF">
                    <a:alpha val="99000"/>
                  </a:srgbClr>
                </a:solidFill>
              </a:rPr>
              <a:t>Configuration Baselines and Configuration Items</a:t>
            </a:r>
          </a:p>
        </p:txBody>
      </p:sp>
      <p:sp>
        <p:nvSpPr>
          <p:cNvPr id="59" name="Rectangle 58"/>
          <p:cNvSpPr/>
          <p:nvPr/>
        </p:nvSpPr>
        <p:spPr>
          <a:xfrm>
            <a:off x="389437" y="2469077"/>
            <a:ext cx="3197660" cy="666773"/>
          </a:xfrm>
          <a:prstGeom prst="rect">
            <a:avLst/>
          </a:prstGeom>
          <a:noFill/>
          <a:ln>
            <a:noFill/>
          </a:ln>
          <a:effectLst/>
          <a:scene3d>
            <a:camera prst="orthographicFront">
              <a:rot lat="0" lon="0" rev="0"/>
            </a:camera>
            <a:lightRig rig="threePt" dir="t">
              <a:rot lat="0" lon="0" rev="20400000"/>
            </a:lightRig>
          </a:scene3d>
          <a:sp3d>
            <a:contourClr>
              <a:schemeClr val="accent2">
                <a:hueOff val="0"/>
                <a:satOff val="0"/>
                <a:lumOff val="0"/>
                <a:alphaOff val="0"/>
                <a:shade val="25000"/>
                <a:satMod val="150000"/>
              </a:schemeClr>
            </a:contourClr>
          </a:sp3d>
        </p:spPr>
        <p:style>
          <a:lnRef idx="0">
            <a:schemeClr val="lt1">
              <a:hueOff val="0"/>
              <a:satOff val="0"/>
              <a:lumOff val="0"/>
              <a:alphaOff val="0"/>
            </a:schemeClr>
          </a:lnRef>
          <a:fillRef idx="3">
            <a:schemeClr val="accent2">
              <a:hueOff val="0"/>
              <a:satOff val="0"/>
              <a:lumOff val="0"/>
              <a:alphaOff val="0"/>
            </a:schemeClr>
          </a:fillRef>
          <a:effectRef idx="3">
            <a:schemeClr val="accent2">
              <a:hueOff val="0"/>
              <a:satOff val="0"/>
              <a:lumOff val="0"/>
              <a:alphaOff val="0"/>
            </a:schemeClr>
          </a:effectRef>
          <a:fontRef idx="minor">
            <a:schemeClr val="lt1"/>
          </a:fontRef>
        </p:style>
        <p:txBody>
          <a:bodyPr spcFirstLastPara="0" vert="horz" wrap="square" lIns="137172" tIns="68586" rIns="68586" bIns="68586" numCol="1" spcCol="953" anchor="ctr" anchorCtr="0">
            <a:noAutofit/>
          </a:bodyPr>
          <a:lstStyle/>
          <a:p>
            <a:pPr marL="11908" lvl="1">
              <a:spcBef>
                <a:spcPts val="450"/>
              </a:spcBef>
              <a:buSzPct val="90000"/>
            </a:pPr>
            <a:r>
              <a:rPr lang="en-US" dirty="0">
                <a:solidFill>
                  <a:srgbClr val="FFFFFF">
                    <a:alpha val="99000"/>
                  </a:srgbClr>
                </a:solidFill>
              </a:rPr>
              <a:t>Boundaries</a:t>
            </a:r>
          </a:p>
        </p:txBody>
      </p:sp>
      <p:sp>
        <p:nvSpPr>
          <p:cNvPr id="60" name="Rectangle 59"/>
          <p:cNvSpPr/>
          <p:nvPr/>
        </p:nvSpPr>
        <p:spPr>
          <a:xfrm>
            <a:off x="4631629" y="2469077"/>
            <a:ext cx="3364310" cy="666773"/>
          </a:xfrm>
          <a:prstGeom prst="rect">
            <a:avLst/>
          </a:prstGeom>
          <a:noFill/>
          <a:ln>
            <a:noFill/>
          </a:ln>
          <a:effectLst/>
          <a:scene3d>
            <a:camera prst="orthographicFront">
              <a:rot lat="0" lon="0" rev="0"/>
            </a:camera>
            <a:lightRig rig="threePt" dir="t">
              <a:rot lat="0" lon="0" rev="20400000"/>
            </a:lightRig>
          </a:scene3d>
          <a:sp3d>
            <a:contourClr>
              <a:schemeClr val="accent2">
                <a:hueOff val="0"/>
                <a:satOff val="0"/>
                <a:lumOff val="0"/>
                <a:alphaOff val="0"/>
                <a:shade val="25000"/>
                <a:satMod val="150000"/>
              </a:schemeClr>
            </a:contourClr>
          </a:sp3d>
        </p:spPr>
        <p:style>
          <a:lnRef idx="0">
            <a:schemeClr val="lt1">
              <a:hueOff val="0"/>
              <a:satOff val="0"/>
              <a:lumOff val="0"/>
              <a:alphaOff val="0"/>
            </a:schemeClr>
          </a:lnRef>
          <a:fillRef idx="3">
            <a:schemeClr val="accent2">
              <a:hueOff val="0"/>
              <a:satOff val="0"/>
              <a:lumOff val="0"/>
              <a:alphaOff val="0"/>
            </a:schemeClr>
          </a:fillRef>
          <a:effectRef idx="3">
            <a:schemeClr val="accent2">
              <a:hueOff val="0"/>
              <a:satOff val="0"/>
              <a:lumOff val="0"/>
              <a:alphaOff val="0"/>
            </a:schemeClr>
          </a:effectRef>
          <a:fontRef idx="minor">
            <a:schemeClr val="lt1"/>
          </a:fontRef>
        </p:style>
        <p:txBody>
          <a:bodyPr spcFirstLastPara="0" vert="horz" wrap="square" lIns="137172" tIns="68586" rIns="68586" bIns="68586" numCol="1" spcCol="953" anchor="ctr" anchorCtr="0">
            <a:noAutofit/>
          </a:bodyPr>
          <a:lstStyle/>
          <a:p>
            <a:pPr marL="11908" lvl="1">
              <a:spcBef>
                <a:spcPts val="450"/>
              </a:spcBef>
              <a:buSzPct val="90000"/>
            </a:pPr>
            <a:r>
              <a:rPr lang="en-US" dirty="0">
                <a:solidFill>
                  <a:srgbClr val="FFFFFF">
                    <a:alpha val="99000"/>
                  </a:srgbClr>
                </a:solidFill>
              </a:rPr>
              <a:t>Asset Intelligence Customizations </a:t>
            </a:r>
          </a:p>
        </p:txBody>
      </p:sp>
      <p:sp>
        <p:nvSpPr>
          <p:cNvPr id="61" name="Rectangle 60"/>
          <p:cNvSpPr/>
          <p:nvPr/>
        </p:nvSpPr>
        <p:spPr>
          <a:xfrm>
            <a:off x="389437" y="3242055"/>
            <a:ext cx="3197660" cy="666773"/>
          </a:xfrm>
          <a:prstGeom prst="rect">
            <a:avLst/>
          </a:prstGeom>
          <a:noFill/>
          <a:ln>
            <a:noFill/>
          </a:ln>
          <a:effectLst/>
          <a:scene3d>
            <a:camera prst="orthographicFront">
              <a:rot lat="0" lon="0" rev="0"/>
            </a:camera>
            <a:lightRig rig="threePt" dir="t">
              <a:rot lat="0" lon="0" rev="20400000"/>
            </a:lightRig>
          </a:scene3d>
          <a:sp3d>
            <a:contourClr>
              <a:schemeClr val="accent2">
                <a:hueOff val="0"/>
                <a:satOff val="0"/>
                <a:lumOff val="0"/>
                <a:alphaOff val="0"/>
                <a:shade val="25000"/>
                <a:satMod val="150000"/>
              </a:schemeClr>
            </a:contourClr>
          </a:sp3d>
        </p:spPr>
        <p:style>
          <a:lnRef idx="0">
            <a:schemeClr val="lt1">
              <a:hueOff val="0"/>
              <a:satOff val="0"/>
              <a:lumOff val="0"/>
              <a:alphaOff val="0"/>
            </a:schemeClr>
          </a:lnRef>
          <a:fillRef idx="3">
            <a:schemeClr val="accent2">
              <a:hueOff val="0"/>
              <a:satOff val="0"/>
              <a:lumOff val="0"/>
              <a:alphaOff val="0"/>
            </a:schemeClr>
          </a:fillRef>
          <a:effectRef idx="3">
            <a:schemeClr val="accent2">
              <a:hueOff val="0"/>
              <a:satOff val="0"/>
              <a:lumOff val="0"/>
              <a:alphaOff val="0"/>
            </a:schemeClr>
          </a:effectRef>
          <a:fontRef idx="minor">
            <a:schemeClr val="lt1"/>
          </a:fontRef>
        </p:style>
        <p:txBody>
          <a:bodyPr spcFirstLastPara="0" vert="horz" wrap="square" lIns="137172" tIns="68586" rIns="68586" bIns="68586" numCol="1" spcCol="953" anchor="ctr" anchorCtr="0">
            <a:noAutofit/>
          </a:bodyPr>
          <a:lstStyle/>
          <a:p>
            <a:pPr marL="11908" lvl="1">
              <a:spcBef>
                <a:spcPts val="450"/>
              </a:spcBef>
              <a:buSzPct val="90000"/>
            </a:pPr>
            <a:r>
              <a:rPr lang="en-US" dirty="0">
                <a:solidFill>
                  <a:srgbClr val="FFFFFF">
                    <a:alpha val="99000"/>
                  </a:srgbClr>
                </a:solidFill>
              </a:rPr>
              <a:t>Software Distribution Packages </a:t>
            </a:r>
            <a:r>
              <a:rPr lang="en-US" dirty="0" smtClean="0">
                <a:solidFill>
                  <a:srgbClr val="FFFFFF">
                    <a:alpha val="99000"/>
                  </a:srgbClr>
                </a:solidFill>
              </a:rPr>
              <a:t/>
            </a:r>
            <a:br>
              <a:rPr lang="en-US" dirty="0" smtClean="0">
                <a:solidFill>
                  <a:srgbClr val="FFFFFF">
                    <a:alpha val="99000"/>
                  </a:srgbClr>
                </a:solidFill>
              </a:rPr>
            </a:br>
            <a:r>
              <a:rPr lang="en-US" dirty="0" smtClean="0">
                <a:solidFill>
                  <a:srgbClr val="FFFFFF">
                    <a:alpha val="99000"/>
                  </a:srgbClr>
                </a:solidFill>
              </a:rPr>
              <a:t>and </a:t>
            </a:r>
            <a:r>
              <a:rPr lang="en-US" dirty="0">
                <a:solidFill>
                  <a:srgbClr val="FFFFFF">
                    <a:alpha val="99000"/>
                  </a:srgbClr>
                </a:solidFill>
              </a:rPr>
              <a:t>Virtual Application Packages</a:t>
            </a:r>
          </a:p>
        </p:txBody>
      </p:sp>
      <p:sp>
        <p:nvSpPr>
          <p:cNvPr id="62" name="Rectangle 61"/>
          <p:cNvSpPr/>
          <p:nvPr/>
        </p:nvSpPr>
        <p:spPr>
          <a:xfrm>
            <a:off x="4631629" y="3242055"/>
            <a:ext cx="3364310" cy="666773"/>
          </a:xfrm>
          <a:prstGeom prst="rect">
            <a:avLst/>
          </a:prstGeom>
          <a:noFill/>
          <a:ln>
            <a:noFill/>
          </a:ln>
          <a:effectLst/>
          <a:scene3d>
            <a:camera prst="orthographicFront">
              <a:rot lat="0" lon="0" rev="0"/>
            </a:camera>
            <a:lightRig rig="threePt" dir="t">
              <a:rot lat="0" lon="0" rev="20400000"/>
            </a:lightRig>
          </a:scene3d>
          <a:sp3d>
            <a:contourClr>
              <a:schemeClr val="accent2">
                <a:hueOff val="0"/>
                <a:satOff val="0"/>
                <a:lumOff val="0"/>
                <a:alphaOff val="0"/>
                <a:shade val="25000"/>
                <a:satMod val="150000"/>
              </a:schemeClr>
            </a:contourClr>
          </a:sp3d>
        </p:spPr>
        <p:style>
          <a:lnRef idx="0">
            <a:schemeClr val="lt1">
              <a:hueOff val="0"/>
              <a:satOff val="0"/>
              <a:lumOff val="0"/>
              <a:alphaOff val="0"/>
            </a:schemeClr>
          </a:lnRef>
          <a:fillRef idx="3">
            <a:schemeClr val="accent2">
              <a:hueOff val="0"/>
              <a:satOff val="0"/>
              <a:lumOff val="0"/>
              <a:alphaOff val="0"/>
            </a:schemeClr>
          </a:fillRef>
          <a:effectRef idx="3">
            <a:schemeClr val="accent2">
              <a:hueOff val="0"/>
              <a:satOff val="0"/>
              <a:lumOff val="0"/>
              <a:alphaOff val="0"/>
            </a:schemeClr>
          </a:effectRef>
          <a:fontRef idx="minor">
            <a:schemeClr val="lt1"/>
          </a:fontRef>
        </p:style>
        <p:txBody>
          <a:bodyPr spcFirstLastPara="0" vert="horz" wrap="square" lIns="137172" tIns="68586" rIns="68586" bIns="68586" numCol="1" spcCol="953" anchor="ctr" anchorCtr="0">
            <a:noAutofit/>
          </a:bodyPr>
          <a:lstStyle/>
          <a:p>
            <a:pPr marL="11908" lvl="1">
              <a:spcBef>
                <a:spcPts val="450"/>
              </a:spcBef>
              <a:buSzPct val="90000"/>
            </a:pPr>
            <a:r>
              <a:rPr lang="en-US" dirty="0">
                <a:solidFill>
                  <a:srgbClr val="FFFFFF">
                    <a:alpha val="99000"/>
                  </a:srgbClr>
                </a:solidFill>
              </a:rPr>
              <a:t>Software Metering Rules</a:t>
            </a:r>
          </a:p>
        </p:txBody>
      </p:sp>
      <p:sp>
        <p:nvSpPr>
          <p:cNvPr id="63" name="Rectangle 62"/>
          <p:cNvSpPr/>
          <p:nvPr/>
        </p:nvSpPr>
        <p:spPr>
          <a:xfrm>
            <a:off x="389437" y="4015034"/>
            <a:ext cx="3197660" cy="666773"/>
          </a:xfrm>
          <a:prstGeom prst="rect">
            <a:avLst/>
          </a:prstGeom>
          <a:noFill/>
          <a:ln>
            <a:noFill/>
          </a:ln>
          <a:effectLst/>
          <a:scene3d>
            <a:camera prst="orthographicFront">
              <a:rot lat="0" lon="0" rev="0"/>
            </a:camera>
            <a:lightRig rig="threePt" dir="t">
              <a:rot lat="0" lon="0" rev="20400000"/>
            </a:lightRig>
          </a:scene3d>
          <a:sp3d>
            <a:contourClr>
              <a:schemeClr val="accent2">
                <a:hueOff val="0"/>
                <a:satOff val="0"/>
                <a:lumOff val="0"/>
                <a:alphaOff val="0"/>
                <a:shade val="25000"/>
                <a:satMod val="150000"/>
              </a:schemeClr>
            </a:contourClr>
          </a:sp3d>
        </p:spPr>
        <p:style>
          <a:lnRef idx="0">
            <a:schemeClr val="lt1">
              <a:hueOff val="0"/>
              <a:satOff val="0"/>
              <a:lumOff val="0"/>
              <a:alphaOff val="0"/>
            </a:schemeClr>
          </a:lnRef>
          <a:fillRef idx="3">
            <a:schemeClr val="accent2">
              <a:hueOff val="0"/>
              <a:satOff val="0"/>
              <a:lumOff val="0"/>
              <a:alphaOff val="0"/>
            </a:schemeClr>
          </a:fillRef>
          <a:effectRef idx="3">
            <a:schemeClr val="accent2">
              <a:hueOff val="0"/>
              <a:satOff val="0"/>
              <a:lumOff val="0"/>
              <a:alphaOff val="0"/>
            </a:schemeClr>
          </a:effectRef>
          <a:fontRef idx="minor">
            <a:schemeClr val="lt1"/>
          </a:fontRef>
        </p:style>
        <p:txBody>
          <a:bodyPr spcFirstLastPara="0" vert="horz" wrap="square" lIns="137172" tIns="68586" rIns="68586" bIns="68586" numCol="1" spcCol="953" anchor="ctr" anchorCtr="0">
            <a:noAutofit/>
          </a:bodyPr>
          <a:lstStyle/>
          <a:p>
            <a:pPr marL="11908" lvl="1">
              <a:spcBef>
                <a:spcPts val="450"/>
              </a:spcBef>
              <a:buSzPct val="90000"/>
            </a:pPr>
            <a:r>
              <a:rPr lang="en-US" dirty="0">
                <a:solidFill>
                  <a:srgbClr val="363535">
                    <a:alpha val="99000"/>
                  </a:srgbClr>
                </a:solidFill>
              </a:rPr>
              <a:t>Software Update: </a:t>
            </a:r>
            <a:endParaRPr lang="en-US" dirty="0" smtClean="0">
              <a:solidFill>
                <a:srgbClr val="363535">
                  <a:alpha val="99000"/>
                </a:srgbClr>
              </a:solidFill>
            </a:endParaRPr>
          </a:p>
          <a:p>
            <a:pPr marL="207187" lvl="1" indent="-207187">
              <a:spcBef>
                <a:spcPts val="225"/>
              </a:spcBef>
              <a:buSzPct val="90000"/>
              <a:buBlip>
                <a:blip r:embed="rId32"/>
              </a:buBlip>
            </a:pPr>
            <a:r>
              <a:rPr lang="en-US" sz="1100" dirty="0">
                <a:solidFill>
                  <a:srgbClr val="363535">
                    <a:alpha val="99000"/>
                  </a:srgbClr>
                </a:solidFill>
              </a:rPr>
              <a:t>Deployments, Deployment Packages, </a:t>
            </a:r>
            <a:br>
              <a:rPr lang="en-US" sz="1100" dirty="0">
                <a:solidFill>
                  <a:srgbClr val="363535">
                    <a:alpha val="99000"/>
                  </a:srgbClr>
                </a:solidFill>
              </a:rPr>
            </a:br>
            <a:r>
              <a:rPr lang="en-US" sz="1100" dirty="0">
                <a:solidFill>
                  <a:srgbClr val="363535">
                    <a:alpha val="99000"/>
                  </a:srgbClr>
                </a:solidFill>
              </a:rPr>
              <a:t>Templates and Software Update Lists</a:t>
            </a:r>
          </a:p>
        </p:txBody>
      </p:sp>
      <p:sp>
        <p:nvSpPr>
          <p:cNvPr id="64"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65"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3"/>
              </a:rPr>
              <a:t>www.rapidbbs.cn</a:t>
            </a:r>
            <a:endParaRPr lang="zh-CN" altLang="en-US" sz="1200" b="0">
              <a:latin typeface="Arial" charset="0"/>
              <a:ea typeface="ＭＳ Ｐゴシック" pitchFamily="34" charset="-128"/>
            </a:endParaRPr>
          </a:p>
        </p:txBody>
      </p:sp>
      <p:pic>
        <p:nvPicPr>
          <p:cNvPr id="66" name="Picture 2">
            <a:hlinkClick r:id="rId33"/>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70879038"/>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dirty="0" smtClean="0"/>
              <a:t>title</a:t>
            </a:r>
            <a:endParaRPr lang="en-US" dirty="0"/>
          </a:p>
        </p:txBody>
      </p:sp>
      <p:sp>
        <p:nvSpPr>
          <p:cNvPr id="7" name="Subtitle 6"/>
          <p:cNvSpPr>
            <a:spLocks noGrp="1"/>
          </p:cNvSpPr>
          <p:nvPr>
            <p:ph type="subTitle" idx="1"/>
          </p:nvPr>
        </p:nvSpPr>
        <p:spPr/>
        <p:txBody>
          <a:bodyPr/>
          <a:lstStyle/>
          <a:p>
            <a:endParaRPr lang="en-US" dirty="0"/>
          </a:p>
        </p:txBody>
      </p:sp>
      <p:sp>
        <p:nvSpPr>
          <p:cNvPr id="2" name="Title 1"/>
          <p:cNvSpPr>
            <a:spLocks noGrp="1"/>
          </p:cNvSpPr>
          <p:nvPr>
            <p:ph type="ctrTitle"/>
          </p:nvPr>
        </p:nvSpPr>
        <p:spPr/>
        <p:txBody>
          <a:bodyPr/>
          <a:lstStyle/>
          <a:p>
            <a:r>
              <a:rPr dirty="0" smtClean="0"/>
              <a:t>Title</a:t>
            </a:r>
            <a:endParaRPr lang="en-US" dirty="0"/>
          </a:p>
        </p:txBody>
      </p:sp>
      <p:sp useBgFill="1">
        <p:nvSpPr>
          <p:cNvPr id="5" name="MASK bottom"/>
          <p:cNvSpPr/>
          <p:nvPr/>
        </p:nvSpPr>
        <p:spPr bwMode="auto">
          <a:xfrm>
            <a:off x="2914218" y="4514850"/>
            <a:ext cx="6229782" cy="62865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useBgFill="1">
        <p:nvSpPr>
          <p:cNvPr id="6" name="MASK top"/>
          <p:cNvSpPr/>
          <p:nvPr/>
        </p:nvSpPr>
        <p:spPr bwMode="auto">
          <a:xfrm>
            <a:off x="2914218" y="0"/>
            <a:ext cx="6229782" cy="112849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8"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9"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pic>
        <p:nvPicPr>
          <p:cNvPr id="10"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9028537"/>
      </p:ext>
    </p:extLst>
  </p:cSld>
  <p:clrMapOvr>
    <a:masterClrMapping/>
  </p:clrMapOvr>
  <p:transition spd="slow">
    <p:fade/>
  </p:transition>
  <p:timing>
    <p:tnLst>
      <p:par>
        <p:cTn id="1" dur="indefinite" restart="never" nodeType="tmRoot"/>
      </p:par>
    </p:tn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4629165" y="2867891"/>
            <a:ext cx="2723335" cy="1632204"/>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b" anchorCtr="0" compatLnSpc="1">
            <a:prstTxWarp prst="textNoShape">
              <a:avLst/>
            </a:prstTxWarp>
          </a:bodyPr>
          <a:lstStyle/>
          <a:p>
            <a:pPr defTabSz="685637"/>
            <a:r>
              <a:rPr lang="en-US" sz="2100" dirty="0">
                <a:solidFill>
                  <a:srgbClr val="FFFFFF">
                    <a:alpha val="98824"/>
                  </a:srgbClr>
                </a:solidFill>
                <a:latin typeface="Segoe UI" pitchFamily="34" charset="0"/>
                <a:ea typeface="Segoe UI" pitchFamily="34" charset="0"/>
                <a:cs typeface="Segoe UI" pitchFamily="34" charset="0"/>
              </a:rPr>
              <a:t>Infrastructure</a:t>
            </a:r>
          </a:p>
        </p:txBody>
      </p:sp>
      <p:grpSp>
        <p:nvGrpSpPr>
          <p:cNvPr id="8" name="Group 7"/>
          <p:cNvGrpSpPr>
            <a:grpSpLocks noChangeAspect="1"/>
          </p:cNvGrpSpPr>
          <p:nvPr/>
        </p:nvGrpSpPr>
        <p:grpSpPr bwMode="black">
          <a:xfrm>
            <a:off x="5674053" y="3345559"/>
            <a:ext cx="532170" cy="411480"/>
            <a:chOff x="813584" y="4312262"/>
            <a:chExt cx="478309" cy="370027"/>
          </a:xfrm>
        </p:grpSpPr>
        <p:sp>
          <p:nvSpPr>
            <p:cNvPr id="9" name="Freeform 79"/>
            <p:cNvSpPr>
              <a:spLocks/>
            </p:cNvSpPr>
            <p:nvPr/>
          </p:nvSpPr>
          <p:spPr bwMode="black">
            <a:xfrm>
              <a:off x="813584" y="4503897"/>
              <a:ext cx="478309" cy="178392"/>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500"/>
            </a:p>
          </p:txBody>
        </p:sp>
        <p:sp>
          <p:nvSpPr>
            <p:cNvPr id="10" name="Freeform 80"/>
            <p:cNvSpPr>
              <a:spLocks noEditPoints="1"/>
            </p:cNvSpPr>
            <p:nvPr/>
          </p:nvSpPr>
          <p:spPr bwMode="black">
            <a:xfrm>
              <a:off x="813584" y="4312262"/>
              <a:ext cx="478309" cy="176834"/>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500"/>
            </a:p>
          </p:txBody>
        </p:sp>
      </p:grpSp>
      <p:sp>
        <p:nvSpPr>
          <p:cNvPr id="17" name="Rectangle 16"/>
          <p:cNvSpPr/>
          <p:nvPr/>
        </p:nvSpPr>
        <p:spPr bwMode="auto">
          <a:xfrm>
            <a:off x="4629165" y="2875502"/>
            <a:ext cx="2723335" cy="1257300"/>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t" anchorCtr="0" compatLnSpc="1">
            <a:prstTxWarp prst="textNoShape">
              <a:avLst/>
            </a:prstTxWarp>
          </a:bodyPr>
          <a:lstStyle/>
          <a:p>
            <a:pPr defTabSz="685637"/>
            <a:r>
              <a:rPr lang="en-US" dirty="0" smtClean="0">
                <a:solidFill>
                  <a:srgbClr val="FFFFFF">
                    <a:alpha val="98824"/>
                  </a:srgbClr>
                </a:solidFill>
                <a:latin typeface="Segoe UI" pitchFamily="34" charset="0"/>
                <a:ea typeface="Segoe UI" pitchFamily="34" charset="0"/>
                <a:cs typeface="Segoe UI" pitchFamily="34" charset="0"/>
              </a:rPr>
              <a:t>HA VMM Server</a:t>
            </a:r>
          </a:p>
          <a:p>
            <a:pPr defTabSz="685637"/>
            <a:r>
              <a:rPr lang="en-US" dirty="0" smtClean="0">
                <a:solidFill>
                  <a:srgbClr val="FFFFFF">
                    <a:alpha val="98824"/>
                  </a:srgbClr>
                </a:solidFill>
                <a:latin typeface="Segoe UI" pitchFamily="34" charset="0"/>
                <a:ea typeface="Segoe UI" pitchFamily="34" charset="0"/>
                <a:cs typeface="Segoe UI" pitchFamily="34" charset="0"/>
              </a:rPr>
              <a:t>PowerShell (452)</a:t>
            </a:r>
          </a:p>
          <a:p>
            <a:pPr defTabSz="685637"/>
            <a:r>
              <a:rPr lang="en-US" dirty="0" smtClean="0">
                <a:solidFill>
                  <a:srgbClr val="FFFFFF">
                    <a:alpha val="98824"/>
                  </a:srgbClr>
                </a:solidFill>
                <a:latin typeface="Segoe UI" pitchFamily="34" charset="0"/>
                <a:ea typeface="Segoe UI" pitchFamily="34" charset="0"/>
                <a:cs typeface="Segoe UI" pitchFamily="34" charset="0"/>
              </a:rPr>
              <a:t>Upgrade</a:t>
            </a:r>
          </a:p>
          <a:p>
            <a:pPr defTabSz="685637"/>
            <a:r>
              <a:rPr lang="en-US" dirty="0" smtClean="0">
                <a:solidFill>
                  <a:srgbClr val="FFFFFF">
                    <a:alpha val="98824"/>
                  </a:srgbClr>
                </a:solidFill>
                <a:latin typeface="Segoe UI" pitchFamily="34" charset="0"/>
                <a:ea typeface="Segoe UI" pitchFamily="34" charset="0"/>
                <a:cs typeface="Segoe UI" pitchFamily="34" charset="0"/>
              </a:rPr>
              <a:t>Custom Properties</a:t>
            </a:r>
          </a:p>
          <a:p>
            <a:pPr algn="ctr" defTabSz="685637"/>
            <a:endParaRPr lang="en-US" dirty="0" smtClean="0">
              <a:solidFill>
                <a:srgbClr val="FFFFFF">
                  <a:alpha val="98824"/>
                </a:srgbClr>
              </a:solidFill>
              <a:latin typeface="Segoe UI" pitchFamily="34" charset="0"/>
              <a:ea typeface="Segoe UI" pitchFamily="34" charset="0"/>
              <a:cs typeface="Segoe UI" pitchFamily="34" charset="0"/>
            </a:endParaRPr>
          </a:p>
        </p:txBody>
      </p:sp>
      <p:sp>
        <p:nvSpPr>
          <p:cNvPr id="13" name="Rectangle 12"/>
          <p:cNvSpPr/>
          <p:nvPr/>
        </p:nvSpPr>
        <p:spPr bwMode="auto">
          <a:xfrm>
            <a:off x="1620006" y="971551"/>
            <a:ext cx="2723335" cy="1632204"/>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b" anchorCtr="0" compatLnSpc="1">
            <a:prstTxWarp prst="textNoShape">
              <a:avLst/>
            </a:prstTxWarp>
          </a:bodyPr>
          <a:lstStyle/>
          <a:p>
            <a:pPr defTabSz="685637"/>
            <a:r>
              <a:rPr lang="en-US" sz="2100" dirty="0">
                <a:solidFill>
                  <a:srgbClr val="FFFFFF">
                    <a:alpha val="98824"/>
                  </a:srgbClr>
                </a:solidFill>
                <a:latin typeface="Segoe UI" pitchFamily="34" charset="0"/>
                <a:ea typeface="Segoe UI" pitchFamily="34" charset="0"/>
                <a:cs typeface="Segoe UI" pitchFamily="34" charset="0"/>
              </a:rPr>
              <a:t>Services</a:t>
            </a:r>
          </a:p>
        </p:txBody>
      </p:sp>
      <p:sp>
        <p:nvSpPr>
          <p:cNvPr id="14" name="Rectangle 13"/>
          <p:cNvSpPr/>
          <p:nvPr/>
        </p:nvSpPr>
        <p:spPr bwMode="auto">
          <a:xfrm>
            <a:off x="1656591" y="2882646"/>
            <a:ext cx="2723335" cy="1632204"/>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b" anchorCtr="0" compatLnSpc="1">
            <a:prstTxWarp prst="textNoShape">
              <a:avLst/>
            </a:prstTxWarp>
          </a:bodyPr>
          <a:lstStyle/>
          <a:p>
            <a:pPr defTabSz="685637"/>
            <a:r>
              <a:rPr lang="en-US" sz="2100" dirty="0">
                <a:solidFill>
                  <a:srgbClr val="FFFFFF">
                    <a:alpha val="98824"/>
                  </a:srgbClr>
                </a:solidFill>
                <a:latin typeface="Segoe UI" pitchFamily="34" charset="0"/>
                <a:ea typeface="Segoe UI" pitchFamily="34" charset="0"/>
                <a:cs typeface="Segoe UI" pitchFamily="34" charset="0"/>
              </a:rPr>
              <a:t>Fabric</a:t>
            </a:r>
          </a:p>
        </p:txBody>
      </p:sp>
      <p:sp>
        <p:nvSpPr>
          <p:cNvPr id="15" name="Rectangle 14"/>
          <p:cNvSpPr/>
          <p:nvPr/>
        </p:nvSpPr>
        <p:spPr bwMode="auto">
          <a:xfrm>
            <a:off x="4639351" y="971550"/>
            <a:ext cx="2723335" cy="1632204"/>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b" anchorCtr="0" compatLnSpc="1">
            <a:prstTxWarp prst="textNoShape">
              <a:avLst/>
            </a:prstTxWarp>
          </a:bodyPr>
          <a:lstStyle/>
          <a:p>
            <a:pPr defTabSz="685637"/>
            <a:r>
              <a:rPr lang="en-US" sz="2100" dirty="0">
                <a:solidFill>
                  <a:srgbClr val="FFFFFF">
                    <a:alpha val="98824"/>
                  </a:srgbClr>
                </a:solidFill>
                <a:latin typeface="Segoe UI" pitchFamily="34" charset="0"/>
                <a:ea typeface="Segoe UI" pitchFamily="34" charset="0"/>
                <a:cs typeface="Segoe UI" pitchFamily="34" charset="0"/>
              </a:rPr>
              <a:t>Clouds</a:t>
            </a:r>
          </a:p>
        </p:txBody>
      </p:sp>
      <p:sp>
        <p:nvSpPr>
          <p:cNvPr id="3" name="Title 2"/>
          <p:cNvSpPr>
            <a:spLocks noGrp="1"/>
          </p:cNvSpPr>
          <p:nvPr>
            <p:ph type="title"/>
          </p:nvPr>
        </p:nvSpPr>
        <p:spPr/>
        <p:txBody>
          <a:bodyPr/>
          <a:lstStyle/>
          <a:p>
            <a:r>
              <a:rPr lang="en-US" dirty="0" smtClean="0"/>
              <a:t>Overview: System Center 2012 VMM</a:t>
            </a:r>
            <a:endParaRPr lang="en-US" dirty="0"/>
          </a:p>
        </p:txBody>
      </p:sp>
      <p:pic>
        <p:nvPicPr>
          <p:cNvPr id="7" name="Picture 2" descr="C:\Users\chrisw\Desktop\Cloud Services 3.png"/>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5600969" y="1370770"/>
            <a:ext cx="678341" cy="46760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hare 512x512.png"/>
          <p:cNvPicPr>
            <a:picLocks noChangeAspect="1"/>
          </p:cNvPicPr>
          <p:nvPr/>
        </p:nvPicPr>
        <p:blipFill>
          <a:blip r:embed="rId6"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2571228" y="1261673"/>
            <a:ext cx="685979" cy="6858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2" name="Freeform 84"/>
          <p:cNvSpPr>
            <a:spLocks noChangeAspect="1" noEditPoints="1"/>
          </p:cNvSpPr>
          <p:nvPr/>
        </p:nvSpPr>
        <p:spPr bwMode="black">
          <a:xfrm>
            <a:off x="2713375" y="3311269"/>
            <a:ext cx="401688" cy="48006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FFFFF"/>
          </a:solidFill>
          <a:ln>
            <a:solidFill>
              <a:srgbClr val="FFFFFF"/>
            </a:solidFill>
          </a:ln>
        </p:spPr>
        <p:txBody>
          <a:bodyPr vert="horz" wrap="square" lIns="61735" tIns="30867" rIns="61735" bIns="30867" numCol="1" anchor="t" anchorCtr="0" compatLnSpc="1">
            <a:prstTxWarp prst="textNoShape">
              <a:avLst/>
            </a:prstTxWarp>
          </a:bodyPr>
          <a:lstStyle/>
          <a:p>
            <a:endParaRPr lang="en-US" sz="1500"/>
          </a:p>
        </p:txBody>
      </p:sp>
      <p:sp>
        <p:nvSpPr>
          <p:cNvPr id="18" name="Rectangle 17"/>
          <p:cNvSpPr/>
          <p:nvPr/>
        </p:nvSpPr>
        <p:spPr bwMode="auto">
          <a:xfrm>
            <a:off x="1677171" y="2875502"/>
            <a:ext cx="2723335" cy="1257300"/>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t" anchorCtr="0" compatLnSpc="1">
            <a:prstTxWarp prst="textNoShape">
              <a:avLst/>
            </a:prstTxWarp>
          </a:bodyPr>
          <a:lstStyle/>
          <a:p>
            <a:pPr defTabSz="685637"/>
            <a:r>
              <a:rPr lang="en-US" dirty="0" smtClean="0">
                <a:solidFill>
                  <a:srgbClr val="FFFFFF">
                    <a:alpha val="98824"/>
                  </a:srgbClr>
                </a:solidFill>
                <a:latin typeface="Segoe UI" pitchFamily="34" charset="0"/>
                <a:ea typeface="Segoe UI" pitchFamily="34" charset="0"/>
                <a:cs typeface="Segoe UI" pitchFamily="34" charset="0"/>
              </a:rPr>
              <a:t>Server Lifecycle Management</a:t>
            </a:r>
          </a:p>
          <a:p>
            <a:pPr defTabSz="685637"/>
            <a:r>
              <a:rPr lang="en-US" dirty="0" smtClean="0">
                <a:solidFill>
                  <a:srgbClr val="FFFFFF">
                    <a:alpha val="98824"/>
                  </a:srgbClr>
                </a:solidFill>
                <a:latin typeface="Segoe UI" pitchFamily="34" charset="0"/>
                <a:ea typeface="Segoe UI" pitchFamily="34" charset="0"/>
                <a:cs typeface="Segoe UI" pitchFamily="34" charset="0"/>
              </a:rPr>
              <a:t>Multiple Hypervisors</a:t>
            </a:r>
          </a:p>
          <a:p>
            <a:pPr defTabSz="685637"/>
            <a:r>
              <a:rPr lang="en-US" dirty="0" smtClean="0">
                <a:solidFill>
                  <a:srgbClr val="FFFFFF">
                    <a:alpha val="98824"/>
                  </a:srgbClr>
                </a:solidFill>
                <a:latin typeface="Segoe UI" pitchFamily="34" charset="0"/>
                <a:ea typeface="Segoe UI" pitchFamily="34" charset="0"/>
                <a:cs typeface="Segoe UI" pitchFamily="34" charset="0"/>
              </a:rPr>
              <a:t>Network Management</a:t>
            </a:r>
          </a:p>
          <a:p>
            <a:pPr defTabSz="685637"/>
            <a:r>
              <a:rPr lang="en-US" dirty="0" smtClean="0">
                <a:solidFill>
                  <a:srgbClr val="FFFFFF">
                    <a:alpha val="98824"/>
                  </a:srgbClr>
                </a:solidFill>
                <a:latin typeface="Segoe UI" pitchFamily="34" charset="0"/>
                <a:ea typeface="Segoe UI" pitchFamily="34" charset="0"/>
                <a:cs typeface="Segoe UI" pitchFamily="34" charset="0"/>
              </a:rPr>
              <a:t>Storage Management</a:t>
            </a:r>
          </a:p>
          <a:p>
            <a:pPr defTabSz="685637"/>
            <a:r>
              <a:rPr lang="en-US" dirty="0" smtClean="0">
                <a:solidFill>
                  <a:srgbClr val="FFFFFF">
                    <a:alpha val="98824"/>
                  </a:srgbClr>
                </a:solidFill>
                <a:latin typeface="Segoe UI" pitchFamily="34" charset="0"/>
                <a:ea typeface="Segoe UI" pitchFamily="34" charset="0"/>
                <a:cs typeface="Segoe UI" pitchFamily="34" charset="0"/>
              </a:rPr>
              <a:t>Dynamic Optimization</a:t>
            </a:r>
          </a:p>
        </p:txBody>
      </p:sp>
      <p:sp>
        <p:nvSpPr>
          <p:cNvPr id="19" name="Rectangle 18"/>
          <p:cNvSpPr/>
          <p:nvPr/>
        </p:nvSpPr>
        <p:spPr bwMode="auto">
          <a:xfrm>
            <a:off x="1620006" y="971550"/>
            <a:ext cx="2723335" cy="1257300"/>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t" anchorCtr="0" compatLnSpc="1">
            <a:prstTxWarp prst="textNoShape">
              <a:avLst/>
            </a:prstTxWarp>
          </a:bodyPr>
          <a:lstStyle/>
          <a:p>
            <a:pPr defTabSz="685637"/>
            <a:r>
              <a:rPr lang="en-US" dirty="0" smtClean="0">
                <a:solidFill>
                  <a:srgbClr val="FFFFFF">
                    <a:alpha val="98824"/>
                  </a:srgbClr>
                </a:solidFill>
                <a:latin typeface="Segoe UI" pitchFamily="34" charset="0"/>
                <a:ea typeface="Segoe UI" pitchFamily="34" charset="0"/>
                <a:cs typeface="Segoe UI" pitchFamily="34" charset="0"/>
              </a:rPr>
              <a:t>Service Templates</a:t>
            </a:r>
          </a:p>
          <a:p>
            <a:pPr defTabSz="685637"/>
            <a:r>
              <a:rPr lang="en-US" dirty="0" smtClean="0">
                <a:solidFill>
                  <a:srgbClr val="FFFFFF">
                    <a:alpha val="98824"/>
                  </a:srgbClr>
                </a:solidFill>
                <a:latin typeface="Segoe UI" pitchFamily="34" charset="0"/>
                <a:ea typeface="Segoe UI" pitchFamily="34" charset="0"/>
                <a:cs typeface="Segoe UI" pitchFamily="34" charset="0"/>
              </a:rPr>
              <a:t>Application Deployment</a:t>
            </a:r>
          </a:p>
          <a:p>
            <a:pPr defTabSz="685637"/>
            <a:r>
              <a:rPr lang="en-US" dirty="0" smtClean="0">
                <a:solidFill>
                  <a:srgbClr val="FFFFFF">
                    <a:alpha val="98824"/>
                  </a:srgbClr>
                </a:solidFill>
                <a:latin typeface="Segoe UI" pitchFamily="34" charset="0"/>
                <a:ea typeface="Segoe UI" pitchFamily="34" charset="0"/>
                <a:cs typeface="Segoe UI" pitchFamily="34" charset="0"/>
              </a:rPr>
              <a:t>Custom Command Execution</a:t>
            </a:r>
          </a:p>
          <a:p>
            <a:pPr defTabSz="685637"/>
            <a:r>
              <a:rPr lang="en-US" dirty="0" smtClean="0">
                <a:solidFill>
                  <a:srgbClr val="FFFFFF">
                    <a:alpha val="98824"/>
                  </a:srgbClr>
                </a:solidFill>
                <a:latin typeface="Segoe UI" pitchFamily="34" charset="0"/>
                <a:ea typeface="Segoe UI" pitchFamily="34" charset="0"/>
                <a:cs typeface="Segoe UI" pitchFamily="34" charset="0"/>
              </a:rPr>
              <a:t>Image-based Servicing</a:t>
            </a:r>
          </a:p>
          <a:p>
            <a:pPr defTabSz="685637"/>
            <a:endParaRPr lang="en-US" dirty="0" smtClean="0">
              <a:solidFill>
                <a:srgbClr val="FFFFFF">
                  <a:alpha val="98824"/>
                </a:srgbClr>
              </a:solidFill>
              <a:latin typeface="Segoe UI" pitchFamily="34" charset="0"/>
              <a:ea typeface="Segoe UI" pitchFamily="34" charset="0"/>
              <a:cs typeface="Segoe UI" pitchFamily="34" charset="0"/>
            </a:endParaRPr>
          </a:p>
        </p:txBody>
      </p:sp>
      <p:sp>
        <p:nvSpPr>
          <p:cNvPr id="20" name="Rectangle 19"/>
          <p:cNvSpPr/>
          <p:nvPr/>
        </p:nvSpPr>
        <p:spPr bwMode="auto">
          <a:xfrm>
            <a:off x="4639351" y="971550"/>
            <a:ext cx="2723335" cy="1257300"/>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t" anchorCtr="0" compatLnSpc="1">
            <a:prstTxWarp prst="textNoShape">
              <a:avLst/>
            </a:prstTxWarp>
          </a:bodyPr>
          <a:lstStyle/>
          <a:p>
            <a:pPr defTabSz="685637"/>
            <a:r>
              <a:rPr lang="en-US" dirty="0" smtClean="0">
                <a:solidFill>
                  <a:srgbClr val="FFFFFF">
                    <a:alpha val="98824"/>
                  </a:srgbClr>
                </a:solidFill>
                <a:latin typeface="Segoe UI" pitchFamily="34" charset="0"/>
                <a:ea typeface="Segoe UI" pitchFamily="34" charset="0"/>
                <a:cs typeface="Segoe UI" pitchFamily="34" charset="0"/>
              </a:rPr>
              <a:t>Application Owner Usage</a:t>
            </a:r>
          </a:p>
          <a:p>
            <a:pPr defTabSz="685637"/>
            <a:r>
              <a:rPr lang="en-US" dirty="0" smtClean="0">
                <a:solidFill>
                  <a:srgbClr val="FFFFFF">
                    <a:alpha val="98824"/>
                  </a:srgbClr>
                </a:solidFill>
                <a:latin typeface="Segoe UI" pitchFamily="34" charset="0"/>
                <a:ea typeface="Segoe UI" pitchFamily="34" charset="0"/>
                <a:cs typeface="Segoe UI" pitchFamily="34" charset="0"/>
              </a:rPr>
              <a:t>Capacity and Capability</a:t>
            </a:r>
          </a:p>
          <a:p>
            <a:pPr defTabSz="685637"/>
            <a:r>
              <a:rPr lang="en-US" dirty="0" smtClean="0">
                <a:solidFill>
                  <a:srgbClr val="FFFFFF">
                    <a:alpha val="98824"/>
                  </a:srgbClr>
                </a:solidFill>
                <a:latin typeface="Segoe UI" pitchFamily="34" charset="0"/>
                <a:ea typeface="Segoe UI" pitchFamily="34" charset="0"/>
                <a:cs typeface="Segoe UI" pitchFamily="34" charset="0"/>
              </a:rPr>
              <a:t>Delegation and Quota</a:t>
            </a:r>
          </a:p>
        </p:txBody>
      </p:sp>
      <p:sp>
        <p:nvSpPr>
          <p:cNvPr id="21"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2"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7"/>
              </a:rPr>
              <a:t>www.rapidbbs.cn</a:t>
            </a:r>
            <a:endParaRPr lang="zh-CN" altLang="en-US" sz="1200" b="0">
              <a:latin typeface="Arial" charset="0"/>
              <a:ea typeface="ＭＳ Ｐゴシック" pitchFamily="34" charset="-128"/>
            </a:endParaRPr>
          </a:p>
        </p:txBody>
      </p:sp>
      <p:pic>
        <p:nvPicPr>
          <p:cNvPr id="23" name="Picture 2">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1"/>
    </p:custDataLst>
    <p:extLst>
      <p:ext uri="{BB962C8B-B14F-4D97-AF65-F5344CB8AC3E}">
        <p14:creationId xmlns:p14="http://schemas.microsoft.com/office/powerpoint/2010/main" val="6443614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randombar(horizontal)">
                                      <p:cBhvr>
                                        <p:cTn id="7" dur="500"/>
                                        <p:tgtEl>
                                          <p:spTgt spid="17"/>
                                        </p:tgtEl>
                                      </p:cBhvr>
                                    </p:animEffect>
                                  </p:childTnLst>
                                </p:cTn>
                              </p:par>
                              <p:par>
                                <p:cTn id="8" presetID="1" presetClass="exit" presetSubtype="0" fill="hold" nodeType="withEffect">
                                  <p:stCondLst>
                                    <p:cond delay="0"/>
                                  </p:stCondLst>
                                  <p:childTnLst>
                                    <p:set>
                                      <p:cBhvr>
                                        <p:cTn id="9" dur="1" fill="hold">
                                          <p:stCondLst>
                                            <p:cond delay="0"/>
                                          </p:stCondLst>
                                        </p:cTn>
                                        <p:tgtEl>
                                          <p:spTgt spid="8"/>
                                        </p:tgtEl>
                                        <p:attrNameLst>
                                          <p:attrName>style.visibility</p:attrName>
                                        </p:attrNameLst>
                                      </p:cBhvr>
                                      <p:to>
                                        <p:strVal val="hidden"/>
                                      </p:to>
                                    </p:set>
                                  </p:childTnLst>
                                </p:cTn>
                              </p:par>
                            </p:childTnLst>
                          </p:cTn>
                        </p:par>
                      </p:childTnLst>
                    </p:cTn>
                  </p:par>
                  <p:par>
                    <p:cTn id="10" fill="hold">
                      <p:stCondLst>
                        <p:cond delay="indefinite"/>
                      </p:stCondLst>
                      <p:childTnLst>
                        <p:par>
                          <p:cTn id="11" fill="hold">
                            <p:stCondLst>
                              <p:cond delay="0"/>
                            </p:stCondLst>
                            <p:childTnLst>
                              <p:par>
                                <p:cTn id="12" presetID="14" presetClass="entr" presetSubtype="10" fill="hold" grpId="0" nodeType="clickEffect">
                                  <p:stCondLst>
                                    <p:cond delay="0"/>
                                  </p:stCondLst>
                                  <p:childTnLst>
                                    <p:set>
                                      <p:cBhvr>
                                        <p:cTn id="13" dur="1" fill="hold">
                                          <p:stCondLst>
                                            <p:cond delay="0"/>
                                          </p:stCondLst>
                                        </p:cTn>
                                        <p:tgtEl>
                                          <p:spTgt spid="18"/>
                                        </p:tgtEl>
                                        <p:attrNameLst>
                                          <p:attrName>style.visibility</p:attrName>
                                        </p:attrNameLst>
                                      </p:cBhvr>
                                      <p:to>
                                        <p:strVal val="visible"/>
                                      </p:to>
                                    </p:set>
                                    <p:animEffect transition="in" filter="randombar(horizontal)">
                                      <p:cBhvr>
                                        <p:cTn id="14" dur="500"/>
                                        <p:tgtEl>
                                          <p:spTgt spid="18"/>
                                        </p:tgtEl>
                                      </p:cBhvr>
                                    </p:animEffect>
                                  </p:childTnLst>
                                </p:cTn>
                              </p:par>
                              <p:par>
                                <p:cTn id="15" presetID="1" presetClass="exit"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hidden"/>
                                      </p:to>
                                    </p:set>
                                  </p:childTnLst>
                                </p:cTn>
                              </p:par>
                            </p:childTnLst>
                          </p:cTn>
                        </p:par>
                      </p:childTnLst>
                    </p:cTn>
                  </p:par>
                  <p:par>
                    <p:cTn id="17" fill="hold">
                      <p:stCondLst>
                        <p:cond delay="indefinite"/>
                      </p:stCondLst>
                      <p:childTnLst>
                        <p:par>
                          <p:cTn id="18" fill="hold">
                            <p:stCondLst>
                              <p:cond delay="0"/>
                            </p:stCondLst>
                            <p:childTnLst>
                              <p:par>
                                <p:cTn id="19" presetID="14" presetClass="entr" presetSubtype="10" fill="hold" grpId="0" nodeType="clickEffect">
                                  <p:stCondLst>
                                    <p:cond delay="0"/>
                                  </p:stCondLst>
                                  <p:childTnLst>
                                    <p:set>
                                      <p:cBhvr>
                                        <p:cTn id="20" dur="1" fill="hold">
                                          <p:stCondLst>
                                            <p:cond delay="0"/>
                                          </p:stCondLst>
                                        </p:cTn>
                                        <p:tgtEl>
                                          <p:spTgt spid="20"/>
                                        </p:tgtEl>
                                        <p:attrNameLst>
                                          <p:attrName>style.visibility</p:attrName>
                                        </p:attrNameLst>
                                      </p:cBhvr>
                                      <p:to>
                                        <p:strVal val="visible"/>
                                      </p:to>
                                    </p:set>
                                    <p:animEffect transition="in" filter="randombar(horizontal)">
                                      <p:cBhvr>
                                        <p:cTn id="21" dur="500"/>
                                        <p:tgtEl>
                                          <p:spTgt spid="20"/>
                                        </p:tgtEl>
                                      </p:cBhvr>
                                    </p:animEffect>
                                  </p:childTnLst>
                                </p:cTn>
                              </p:par>
                              <p:par>
                                <p:cTn id="22" presetID="10" presetClass="exit" presetSubtype="0" fill="hold" nodeType="withEffect">
                                  <p:stCondLst>
                                    <p:cond delay="0"/>
                                  </p:stCondLst>
                                  <p:childTnLst>
                                    <p:animEffect transition="out" filter="fade">
                                      <p:cBhvr>
                                        <p:cTn id="23" dur="500"/>
                                        <p:tgtEl>
                                          <p:spTgt spid="7"/>
                                        </p:tgtEl>
                                      </p:cBhvr>
                                    </p:animEffect>
                                    <p:set>
                                      <p:cBhvr>
                                        <p:cTn id="24" dur="1" fill="hold">
                                          <p:stCondLst>
                                            <p:cond delay="499"/>
                                          </p:stCondLst>
                                        </p:cTn>
                                        <p:tgtEl>
                                          <p:spTgt spid="7"/>
                                        </p:tgtEl>
                                        <p:attrNameLst>
                                          <p:attrName>style.visibility</p:attrName>
                                        </p:attrNameLst>
                                      </p:cBhvr>
                                      <p:to>
                                        <p:strVal val="hidden"/>
                                      </p:to>
                                    </p:set>
                                  </p:childTnLst>
                                </p:cTn>
                              </p:par>
                            </p:childTnLst>
                          </p:cTn>
                        </p:par>
                      </p:childTnLst>
                    </p:cTn>
                  </p:par>
                  <p:par>
                    <p:cTn id="25" fill="hold">
                      <p:stCondLst>
                        <p:cond delay="indefinite"/>
                      </p:stCondLst>
                      <p:childTnLst>
                        <p:par>
                          <p:cTn id="26" fill="hold">
                            <p:stCondLst>
                              <p:cond delay="0"/>
                            </p:stCondLst>
                            <p:childTnLst>
                              <p:par>
                                <p:cTn id="27" presetID="14" presetClass="entr" presetSubtype="10" fill="hold" grpId="0" nodeType="click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randombar(horizontal)">
                                      <p:cBhvr>
                                        <p:cTn id="29" dur="500"/>
                                        <p:tgtEl>
                                          <p:spTgt spid="19"/>
                                        </p:tgtEl>
                                      </p:cBhvr>
                                    </p:animEffect>
                                  </p:childTnLst>
                                </p:cTn>
                              </p:par>
                              <p:par>
                                <p:cTn id="30" presetID="1" presetClass="exit" presetSubtype="0" fill="hold" nodeType="withEffect">
                                  <p:stCondLst>
                                    <p:cond delay="0"/>
                                  </p:stCondLst>
                                  <p:childTnLst>
                                    <p:set>
                                      <p:cBhvr>
                                        <p:cTn id="31" dur="1" fill="hold">
                                          <p:stCondLst>
                                            <p:cond delay="0"/>
                                          </p:stCondLst>
                                        </p:cTn>
                                        <p:tgtEl>
                                          <p:spTgt spid="1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2" grpId="0" animBg="1"/>
      <p:bldP spid="18" grpId="0"/>
      <p:bldP spid="19" grpId="0"/>
      <p:bldP spid="20" grpId="0"/>
    </p:bld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4" name="Group 33"/>
          <p:cNvGrpSpPr/>
          <p:nvPr/>
        </p:nvGrpSpPr>
        <p:grpSpPr>
          <a:xfrm>
            <a:off x="381000" y="2224523"/>
            <a:ext cx="8382000" cy="1008126"/>
            <a:chOff x="381000" y="3375470"/>
            <a:chExt cx="8382000" cy="1344168"/>
          </a:xfrm>
        </p:grpSpPr>
        <p:grpSp>
          <p:nvGrpSpPr>
            <p:cNvPr id="17" name="Group 16"/>
            <p:cNvGrpSpPr/>
            <p:nvPr/>
          </p:nvGrpSpPr>
          <p:grpSpPr>
            <a:xfrm>
              <a:off x="6751320" y="3375470"/>
              <a:ext cx="2011680" cy="1344168"/>
              <a:chOff x="6751320" y="3380827"/>
              <a:chExt cx="2011680" cy="1344168"/>
            </a:xfrm>
          </p:grpSpPr>
          <p:grpSp>
            <p:nvGrpSpPr>
              <p:cNvPr id="77" name="Group 76"/>
              <p:cNvGrpSpPr/>
              <p:nvPr/>
            </p:nvGrpSpPr>
            <p:grpSpPr>
              <a:xfrm>
                <a:off x="6751320" y="3380827"/>
                <a:ext cx="2011680" cy="1344168"/>
                <a:chOff x="6751320" y="3380827"/>
                <a:chExt cx="2011680" cy="1344168"/>
              </a:xfrm>
            </p:grpSpPr>
            <p:sp>
              <p:nvSpPr>
                <p:cNvPr id="23" name="Rectangle 22"/>
                <p:cNvSpPr/>
                <p:nvPr/>
              </p:nvSpPr>
              <p:spPr bwMode="auto">
                <a:xfrm>
                  <a:off x="6751320" y="3380827"/>
                  <a:ext cx="2011680" cy="1344168"/>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64008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Storage Automation</a:t>
                  </a:r>
                </a:p>
              </p:txBody>
            </p:sp>
            <p:pic>
              <p:nvPicPr>
                <p:cNvPr id="54" name="Picture 8"/>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865423" y="3446993"/>
                  <a:ext cx="708297" cy="5636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83" name="TextBox 82"/>
              <p:cNvSpPr txBox="1"/>
              <p:nvPr/>
            </p:nvSpPr>
            <p:spPr>
              <a:xfrm>
                <a:off x="8412088" y="3380827"/>
                <a:ext cx="267381" cy="615553"/>
              </a:xfrm>
              <a:prstGeom prst="rect">
                <a:avLst/>
              </a:prstGeom>
              <a:noFill/>
            </p:spPr>
            <p:txBody>
              <a:bodyPr wrap="none" lIns="0" tIns="0" rIns="45720" bIns="0" rtlCol="0">
                <a:spAutoFit/>
              </a:bodyPr>
              <a:lstStyle/>
              <a:p>
                <a:r>
                  <a:rPr lang="en-US" sz="3000" b="1" dirty="0">
                    <a:gradFill>
                      <a:gsLst>
                        <a:gs pos="0">
                          <a:srgbClr val="5C8A2E">
                            <a:lumMod val="60000"/>
                            <a:lumOff val="40000"/>
                          </a:srgbClr>
                        </a:gs>
                        <a:gs pos="86000">
                          <a:srgbClr val="5C8A2E">
                            <a:lumMod val="60000"/>
                            <a:lumOff val="40000"/>
                          </a:srgbClr>
                        </a:gs>
                      </a:gsLst>
                      <a:lin ang="5400000" scaled="0"/>
                    </a:gradFill>
                  </a:rPr>
                  <a:t>8</a:t>
                </a:r>
              </a:p>
            </p:txBody>
          </p:sp>
        </p:grpSp>
        <p:grpSp>
          <p:nvGrpSpPr>
            <p:cNvPr id="15" name="Group 14"/>
            <p:cNvGrpSpPr/>
            <p:nvPr/>
          </p:nvGrpSpPr>
          <p:grpSpPr>
            <a:xfrm>
              <a:off x="381000" y="3375470"/>
              <a:ext cx="2011680" cy="1344168"/>
              <a:chOff x="4627880" y="3380827"/>
              <a:chExt cx="2011680" cy="1344168"/>
            </a:xfrm>
          </p:grpSpPr>
          <p:grpSp>
            <p:nvGrpSpPr>
              <p:cNvPr id="74" name="Group 73"/>
              <p:cNvGrpSpPr/>
              <p:nvPr/>
            </p:nvGrpSpPr>
            <p:grpSpPr>
              <a:xfrm>
                <a:off x="4627880" y="3380827"/>
                <a:ext cx="2011680" cy="1344168"/>
                <a:chOff x="4627880" y="3380827"/>
                <a:chExt cx="2011680" cy="1344168"/>
              </a:xfrm>
            </p:grpSpPr>
            <p:sp>
              <p:nvSpPr>
                <p:cNvPr id="22" name="Rectangle 21"/>
                <p:cNvSpPr/>
                <p:nvPr/>
              </p:nvSpPr>
              <p:spPr bwMode="auto">
                <a:xfrm>
                  <a:off x="4627880" y="3380827"/>
                  <a:ext cx="2011680" cy="1344168"/>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64008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SAN Migration</a:t>
                  </a:r>
                </a:p>
                <a:p>
                  <a:pPr defTabSz="685637" fontAlgn="base">
                    <a:spcBef>
                      <a:spcPct val="0"/>
                    </a:spcBef>
                    <a:spcAft>
                      <a:spcPct val="0"/>
                    </a:spcAft>
                  </a:pPr>
                  <a:endParaRPr lang="en-US" sz="1500" dirty="0">
                    <a:gradFill>
                      <a:gsLst>
                        <a:gs pos="0">
                          <a:srgbClr val="FFFFFF"/>
                        </a:gs>
                        <a:gs pos="100000">
                          <a:srgbClr val="FFFFFF"/>
                        </a:gs>
                      </a:gsLst>
                      <a:lin ang="5400000" scaled="0"/>
                    </a:gradFill>
                  </a:endParaRPr>
                </a:p>
              </p:txBody>
            </p:sp>
            <p:pic>
              <p:nvPicPr>
                <p:cNvPr id="51"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760781" y="3446993"/>
                  <a:ext cx="632497" cy="5619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84" name="TextBox 83"/>
              <p:cNvSpPr txBox="1"/>
              <p:nvPr/>
            </p:nvSpPr>
            <p:spPr>
              <a:xfrm>
                <a:off x="6284045" y="3380827"/>
                <a:ext cx="267381" cy="615553"/>
              </a:xfrm>
              <a:prstGeom prst="rect">
                <a:avLst/>
              </a:prstGeom>
              <a:noFill/>
            </p:spPr>
            <p:txBody>
              <a:bodyPr wrap="none" lIns="0" tIns="0" rIns="45720" bIns="0" rtlCol="0">
                <a:spAutoFit/>
              </a:bodyPr>
              <a:lstStyle/>
              <a:p>
                <a:r>
                  <a:rPr lang="en-US" sz="3000" b="1" dirty="0">
                    <a:gradFill>
                      <a:gsLst>
                        <a:gs pos="0">
                          <a:srgbClr val="5C8A2E">
                            <a:lumMod val="60000"/>
                            <a:lumOff val="40000"/>
                          </a:srgbClr>
                        </a:gs>
                        <a:gs pos="86000">
                          <a:srgbClr val="5C8A2E">
                            <a:lumMod val="60000"/>
                            <a:lumOff val="40000"/>
                          </a:srgbClr>
                        </a:gs>
                      </a:gsLst>
                      <a:lin ang="5400000" scaled="0"/>
                    </a:gradFill>
                  </a:rPr>
                  <a:t>5</a:t>
                </a:r>
              </a:p>
            </p:txBody>
          </p:sp>
        </p:grpSp>
        <p:grpSp>
          <p:nvGrpSpPr>
            <p:cNvPr id="31" name="Group 30"/>
            <p:cNvGrpSpPr/>
            <p:nvPr/>
          </p:nvGrpSpPr>
          <p:grpSpPr>
            <a:xfrm>
              <a:off x="4627880" y="3375470"/>
              <a:ext cx="2011680" cy="1344168"/>
              <a:chOff x="6751320" y="1905000"/>
              <a:chExt cx="2011680" cy="1344168"/>
            </a:xfrm>
          </p:grpSpPr>
          <p:grpSp>
            <p:nvGrpSpPr>
              <p:cNvPr id="76" name="Group 75"/>
              <p:cNvGrpSpPr/>
              <p:nvPr/>
            </p:nvGrpSpPr>
            <p:grpSpPr>
              <a:xfrm>
                <a:off x="6751320" y="1905000"/>
                <a:ext cx="2011680" cy="1344168"/>
                <a:chOff x="6751320" y="1905000"/>
                <a:chExt cx="2011680" cy="1344168"/>
              </a:xfrm>
            </p:grpSpPr>
            <p:sp>
              <p:nvSpPr>
                <p:cNvPr id="19" name="Rectangle 18"/>
                <p:cNvSpPr/>
                <p:nvPr/>
              </p:nvSpPr>
              <p:spPr bwMode="auto">
                <a:xfrm>
                  <a:off x="6751320" y="1905000"/>
                  <a:ext cx="2011680" cy="1344168"/>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64008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Cluster Storage Management</a:t>
                  </a:r>
                </a:p>
              </p:txBody>
            </p:sp>
            <p:pic>
              <p:nvPicPr>
                <p:cNvPr id="40" name="Picture 5"/>
                <p:cNvPicPr>
                  <a:picLocks noChangeAspect="1" noChangeArrowheads="1"/>
                </p:cNvPicPr>
                <p:nvPr/>
              </p:nvPicPr>
              <p:blipFill>
                <a:blip r:embed="rId7" cstate="print">
                  <a:extLst>
                    <a:ext uri="{28A0092B-C50C-407E-A947-70E740481C1C}">
                      <a14:useLocalDpi xmlns:a14="http://schemas.microsoft.com/office/drawing/2010/main" val="0"/>
                    </a:ext>
                  </a:extLst>
                </a:blip>
                <a:stretch>
                  <a:fillRect/>
                </a:stretch>
              </p:blipFill>
              <p:spPr bwMode="auto">
                <a:xfrm>
                  <a:off x="6869738" y="1948034"/>
                  <a:ext cx="568845" cy="586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87" name="TextBox 86"/>
              <p:cNvSpPr txBox="1"/>
              <p:nvPr/>
            </p:nvSpPr>
            <p:spPr>
              <a:xfrm>
                <a:off x="8412088" y="1905000"/>
                <a:ext cx="267381" cy="615553"/>
              </a:xfrm>
              <a:prstGeom prst="rect">
                <a:avLst/>
              </a:prstGeom>
              <a:noFill/>
            </p:spPr>
            <p:txBody>
              <a:bodyPr wrap="none" lIns="0" tIns="0" rIns="45720" bIns="0" rtlCol="0">
                <a:spAutoFit/>
              </a:bodyPr>
              <a:lstStyle/>
              <a:p>
                <a:r>
                  <a:rPr lang="en-US" sz="3000" b="1" dirty="0">
                    <a:gradFill>
                      <a:gsLst>
                        <a:gs pos="0">
                          <a:srgbClr val="5C8A2E">
                            <a:lumMod val="60000"/>
                            <a:lumOff val="40000"/>
                          </a:srgbClr>
                        </a:gs>
                        <a:gs pos="86000">
                          <a:srgbClr val="5C8A2E">
                            <a:lumMod val="60000"/>
                            <a:lumOff val="40000"/>
                          </a:srgbClr>
                        </a:gs>
                      </a:gsLst>
                      <a:lin ang="5400000" scaled="0"/>
                    </a:gradFill>
                  </a:rPr>
                  <a:t>7</a:t>
                </a:r>
              </a:p>
            </p:txBody>
          </p:sp>
        </p:grpSp>
        <p:grpSp>
          <p:nvGrpSpPr>
            <p:cNvPr id="7" name="Group 6"/>
            <p:cNvGrpSpPr/>
            <p:nvPr/>
          </p:nvGrpSpPr>
          <p:grpSpPr>
            <a:xfrm>
              <a:off x="2504440" y="3375470"/>
              <a:ext cx="2011680" cy="1344168"/>
              <a:chOff x="4627880" y="1905000"/>
              <a:chExt cx="2011680" cy="1344168"/>
            </a:xfrm>
          </p:grpSpPr>
          <p:grpSp>
            <p:nvGrpSpPr>
              <p:cNvPr id="73" name="Group 72"/>
              <p:cNvGrpSpPr/>
              <p:nvPr/>
            </p:nvGrpSpPr>
            <p:grpSpPr>
              <a:xfrm>
                <a:off x="4627880" y="1905000"/>
                <a:ext cx="2011680" cy="1344168"/>
                <a:chOff x="4627880" y="1905000"/>
                <a:chExt cx="2011680" cy="1344168"/>
              </a:xfrm>
            </p:grpSpPr>
            <p:sp>
              <p:nvSpPr>
                <p:cNvPr id="18" name="Rectangle 17"/>
                <p:cNvSpPr/>
                <p:nvPr/>
              </p:nvSpPr>
              <p:spPr bwMode="auto">
                <a:xfrm>
                  <a:off x="4627880" y="1905000"/>
                  <a:ext cx="2011680" cy="1344168"/>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64008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Array Onboarding</a:t>
                  </a:r>
                </a:p>
              </p:txBody>
            </p:sp>
            <p:pic>
              <p:nvPicPr>
                <p:cNvPr id="36" name="Picture 35" descr="keu.png"/>
                <p:cNvPicPr>
                  <a:picLocks noChangeAspect="1"/>
                </p:cNvPicPr>
                <p:nvPr>
                  <p:custDataLst>
                    <p:tags r:id="rId2"/>
                  </p:custDataLst>
                </p:nvPr>
              </p:nvPicPr>
              <p:blipFill>
                <a:blip r:embed="rId8" cstate="print">
                  <a:grayscl/>
                </a:blip>
                <a:stretch>
                  <a:fillRect/>
                </a:stretch>
              </p:blipFill>
              <p:spPr>
                <a:xfrm>
                  <a:off x="4749962" y="1959792"/>
                  <a:ext cx="516355" cy="571461"/>
                </a:xfrm>
                <a:prstGeom prst="rect">
                  <a:avLst/>
                </a:prstGeom>
                <a:effectLst/>
              </p:spPr>
            </p:pic>
          </p:grpSp>
          <p:sp>
            <p:nvSpPr>
              <p:cNvPr id="88" name="TextBox 87"/>
              <p:cNvSpPr txBox="1"/>
              <p:nvPr/>
            </p:nvSpPr>
            <p:spPr>
              <a:xfrm>
                <a:off x="6284045" y="1905000"/>
                <a:ext cx="267381" cy="615553"/>
              </a:xfrm>
              <a:prstGeom prst="rect">
                <a:avLst/>
              </a:prstGeom>
              <a:noFill/>
            </p:spPr>
            <p:txBody>
              <a:bodyPr wrap="none" lIns="0" tIns="0" rIns="45720" bIns="0" rtlCol="0">
                <a:spAutoFit/>
              </a:bodyPr>
              <a:lstStyle/>
              <a:p>
                <a:r>
                  <a:rPr lang="en-US" sz="3000" b="1" dirty="0">
                    <a:gradFill>
                      <a:gsLst>
                        <a:gs pos="0">
                          <a:srgbClr val="5C8A2E">
                            <a:lumMod val="60000"/>
                            <a:lumOff val="40000"/>
                          </a:srgbClr>
                        </a:gs>
                        <a:gs pos="86000">
                          <a:srgbClr val="5C8A2E">
                            <a:lumMod val="60000"/>
                            <a:lumOff val="40000"/>
                          </a:srgbClr>
                        </a:gs>
                      </a:gsLst>
                      <a:lin ang="5400000" scaled="0"/>
                    </a:gradFill>
                  </a:rPr>
                  <a:t>6</a:t>
                </a:r>
              </a:p>
            </p:txBody>
          </p:sp>
        </p:grpSp>
      </p:grpSp>
      <p:grpSp>
        <p:nvGrpSpPr>
          <p:cNvPr id="8" name="Group 7"/>
          <p:cNvGrpSpPr/>
          <p:nvPr/>
        </p:nvGrpSpPr>
        <p:grpSpPr>
          <a:xfrm>
            <a:off x="381000" y="3327376"/>
            <a:ext cx="8382000" cy="1008126"/>
            <a:chOff x="381000" y="4436501"/>
            <a:chExt cx="8382000" cy="1344168"/>
          </a:xfrm>
        </p:grpSpPr>
        <p:grpSp>
          <p:nvGrpSpPr>
            <p:cNvPr id="35" name="Group 34"/>
            <p:cNvGrpSpPr/>
            <p:nvPr/>
          </p:nvGrpSpPr>
          <p:grpSpPr>
            <a:xfrm>
              <a:off x="381000" y="4436501"/>
              <a:ext cx="8382000" cy="1344168"/>
              <a:chOff x="381000" y="4845941"/>
              <a:chExt cx="8382000" cy="1344168"/>
            </a:xfrm>
          </p:grpSpPr>
          <p:grpSp>
            <p:nvGrpSpPr>
              <p:cNvPr id="28" name="Group 27"/>
              <p:cNvGrpSpPr/>
              <p:nvPr/>
            </p:nvGrpSpPr>
            <p:grpSpPr>
              <a:xfrm>
                <a:off x="6751320" y="4845941"/>
                <a:ext cx="2011680" cy="1344168"/>
                <a:chOff x="6751320" y="4845941"/>
                <a:chExt cx="2011680" cy="1344168"/>
              </a:xfrm>
            </p:grpSpPr>
            <p:sp>
              <p:nvSpPr>
                <p:cNvPr id="27" name="Rectangle 26"/>
                <p:cNvSpPr/>
                <p:nvPr/>
              </p:nvSpPr>
              <p:spPr bwMode="auto">
                <a:xfrm>
                  <a:off x="6751320" y="4845941"/>
                  <a:ext cx="2011680" cy="1344168"/>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64008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Validation</a:t>
                  </a:r>
                </a:p>
              </p:txBody>
            </p:sp>
            <p:sp>
              <p:nvSpPr>
                <p:cNvPr id="79" name="TextBox 78"/>
                <p:cNvSpPr txBox="1"/>
                <p:nvPr/>
              </p:nvSpPr>
              <p:spPr>
                <a:xfrm>
                  <a:off x="8110749" y="4845941"/>
                  <a:ext cx="488595" cy="615553"/>
                </a:xfrm>
                <a:prstGeom prst="rect">
                  <a:avLst/>
                </a:prstGeom>
                <a:noFill/>
              </p:spPr>
              <p:txBody>
                <a:bodyPr wrap="none" lIns="0" tIns="0" rIns="45720" bIns="0" rtlCol="0">
                  <a:spAutoFit/>
                </a:bodyPr>
                <a:lstStyle/>
                <a:p>
                  <a:r>
                    <a:rPr lang="en-US" sz="3000" b="1" dirty="0">
                      <a:gradFill>
                        <a:gsLst>
                          <a:gs pos="0">
                            <a:srgbClr val="5C8A2E">
                              <a:lumMod val="60000"/>
                              <a:lumOff val="40000"/>
                            </a:srgbClr>
                          </a:gs>
                          <a:gs pos="86000">
                            <a:srgbClr val="5C8A2E">
                              <a:lumMod val="60000"/>
                              <a:lumOff val="40000"/>
                            </a:srgbClr>
                          </a:gs>
                        </a:gsLst>
                        <a:lin ang="5400000" scaled="0"/>
                      </a:gradFill>
                    </a:rPr>
                    <a:t>12</a:t>
                  </a:r>
                </a:p>
              </p:txBody>
            </p:sp>
          </p:grpSp>
          <p:grpSp>
            <p:nvGrpSpPr>
              <p:cNvPr id="29" name="Group 28"/>
              <p:cNvGrpSpPr/>
              <p:nvPr/>
            </p:nvGrpSpPr>
            <p:grpSpPr>
              <a:xfrm>
                <a:off x="4627880" y="4845941"/>
                <a:ext cx="2011680" cy="1344168"/>
                <a:chOff x="4627880" y="4845941"/>
                <a:chExt cx="2011680" cy="1344168"/>
              </a:xfrm>
            </p:grpSpPr>
            <p:grpSp>
              <p:nvGrpSpPr>
                <p:cNvPr id="75" name="Group 74"/>
                <p:cNvGrpSpPr/>
                <p:nvPr/>
              </p:nvGrpSpPr>
              <p:grpSpPr>
                <a:xfrm>
                  <a:off x="4627880" y="4845941"/>
                  <a:ext cx="2011680" cy="1344168"/>
                  <a:chOff x="4627880" y="4845941"/>
                  <a:chExt cx="2011680" cy="1344168"/>
                </a:xfrm>
              </p:grpSpPr>
              <p:sp>
                <p:nvSpPr>
                  <p:cNvPr id="26" name="Rectangle 25"/>
                  <p:cNvSpPr/>
                  <p:nvPr/>
                </p:nvSpPr>
                <p:spPr bwMode="auto">
                  <a:xfrm>
                    <a:off x="4627880" y="4845941"/>
                    <a:ext cx="2011680" cy="1344168"/>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64008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Standards Based Management</a:t>
                    </a:r>
                  </a:p>
                </p:txBody>
              </p:sp>
              <p:pic>
                <p:nvPicPr>
                  <p:cNvPr id="63" name="Picture 3" descr="\\SFP\Work\White_Whale\3-22036_Kuleen_Bharadwaj\PPT\3_PlatformVision_Kuleen\SFP_Art\Plane Slide\mon_notie.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733897" y="4914197"/>
                    <a:ext cx="409751" cy="563226"/>
                  </a:xfrm>
                  <a:prstGeom prst="rect">
                    <a:avLst/>
                  </a:prstGeom>
                  <a:noFill/>
                  <a:extLst>
                    <a:ext uri="{909E8E84-426E-40DD-AFC4-6F175D3DCCD1}">
                      <a14:hiddenFill xmlns:a14="http://schemas.microsoft.com/office/drawing/2010/main">
                        <a:solidFill>
                          <a:srgbClr val="FFFFFF"/>
                        </a:solidFill>
                      </a14:hiddenFill>
                    </a:ext>
                  </a:extLst>
                </p:spPr>
              </p:pic>
            </p:grpSp>
            <p:sp>
              <p:nvSpPr>
                <p:cNvPr id="80" name="TextBox 79"/>
                <p:cNvSpPr txBox="1"/>
                <p:nvPr/>
              </p:nvSpPr>
              <p:spPr>
                <a:xfrm>
                  <a:off x="5993097" y="4845941"/>
                  <a:ext cx="488595" cy="615553"/>
                </a:xfrm>
                <a:prstGeom prst="rect">
                  <a:avLst/>
                </a:prstGeom>
                <a:noFill/>
              </p:spPr>
              <p:txBody>
                <a:bodyPr wrap="none" lIns="0" tIns="0" rIns="45720" bIns="0" rtlCol="0">
                  <a:spAutoFit/>
                </a:bodyPr>
                <a:lstStyle/>
                <a:p>
                  <a:r>
                    <a:rPr lang="en-US" sz="3000" b="1" dirty="0">
                      <a:gradFill>
                        <a:gsLst>
                          <a:gs pos="0">
                            <a:srgbClr val="5C8A2E">
                              <a:lumMod val="60000"/>
                              <a:lumOff val="40000"/>
                            </a:srgbClr>
                          </a:gs>
                          <a:gs pos="86000">
                            <a:srgbClr val="5C8A2E">
                              <a:lumMod val="60000"/>
                              <a:lumOff val="40000"/>
                            </a:srgbClr>
                          </a:gs>
                        </a:gsLst>
                        <a:lin ang="5400000" scaled="0"/>
                      </a:gradFill>
                    </a:rPr>
                    <a:t>11</a:t>
                  </a:r>
                </a:p>
              </p:txBody>
            </p:sp>
          </p:grpSp>
          <p:grpSp>
            <p:nvGrpSpPr>
              <p:cNvPr id="12" name="Group 11"/>
              <p:cNvGrpSpPr/>
              <p:nvPr/>
            </p:nvGrpSpPr>
            <p:grpSpPr>
              <a:xfrm>
                <a:off x="2504440" y="4845941"/>
                <a:ext cx="2011680" cy="1344168"/>
                <a:chOff x="2504440" y="4845941"/>
                <a:chExt cx="2011680" cy="1344168"/>
              </a:xfrm>
            </p:grpSpPr>
            <p:grpSp>
              <p:nvGrpSpPr>
                <p:cNvPr id="72" name="Group 71"/>
                <p:cNvGrpSpPr/>
                <p:nvPr/>
              </p:nvGrpSpPr>
              <p:grpSpPr>
                <a:xfrm>
                  <a:off x="2504440" y="4845941"/>
                  <a:ext cx="2011680" cy="1344168"/>
                  <a:chOff x="2504440" y="4845941"/>
                  <a:chExt cx="2011680" cy="1344168"/>
                </a:xfrm>
              </p:grpSpPr>
              <p:sp>
                <p:nvSpPr>
                  <p:cNvPr id="25" name="Rectangle 24"/>
                  <p:cNvSpPr/>
                  <p:nvPr/>
                </p:nvSpPr>
                <p:spPr bwMode="auto">
                  <a:xfrm>
                    <a:off x="2504440" y="4845941"/>
                    <a:ext cx="2011680" cy="1344168"/>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64008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Extensive Array Support</a:t>
                    </a:r>
                  </a:p>
                </p:txBody>
              </p:sp>
              <p:pic>
                <p:nvPicPr>
                  <p:cNvPr id="66" name="Picture 7" descr="\\MAGNUM\Projects\Microsoft\Cloud Power FY12\Design\ICONS_PNG\Physical_Virtual.png"/>
                  <p:cNvPicPr>
                    <a:picLocks noChangeAspect="1" noChangeArrowheads="1"/>
                  </p:cNvPicPr>
                  <p:nvPr/>
                </p:nvPicPr>
                <p:blipFill rotWithShape="1">
                  <a:blip r:embed="rId10" cstate="print">
                    <a:extLst>
                      <a:ext uri="{BEBA8EAE-BF5A-486C-A8C5-ECC9F3942E4B}">
                        <a14:imgProps xmlns:a14="http://schemas.microsoft.com/office/drawing/2010/main">
                          <a14:imgLayer r:embed="rId11">
                            <a14:imgEffect>
                              <a14:brightnessContrast bright="100000"/>
                            </a14:imgEffect>
                          </a14:imgLayer>
                        </a14:imgProps>
                      </a:ext>
                    </a:extLst>
                  </a:blip>
                  <a:srcRect l="7856" t="39072" r="7907" b="5885"/>
                  <a:stretch/>
                </p:blipFill>
                <p:spPr bwMode="auto">
                  <a:xfrm>
                    <a:off x="2572614" y="4914196"/>
                    <a:ext cx="736150" cy="590450"/>
                  </a:xfrm>
                  <a:prstGeom prst="rect">
                    <a:avLst/>
                  </a:prstGeom>
                  <a:noFill/>
                </p:spPr>
              </p:pic>
            </p:grpSp>
            <p:sp>
              <p:nvSpPr>
                <p:cNvPr id="81" name="TextBox 80"/>
                <p:cNvSpPr txBox="1"/>
                <p:nvPr/>
              </p:nvSpPr>
              <p:spPr>
                <a:xfrm>
                  <a:off x="3869657" y="4845941"/>
                  <a:ext cx="488595" cy="615553"/>
                </a:xfrm>
                <a:prstGeom prst="rect">
                  <a:avLst/>
                </a:prstGeom>
                <a:noFill/>
              </p:spPr>
              <p:txBody>
                <a:bodyPr wrap="none" lIns="0" tIns="0" rIns="45720" bIns="0" rtlCol="0">
                  <a:spAutoFit/>
                </a:bodyPr>
                <a:lstStyle/>
                <a:p>
                  <a:r>
                    <a:rPr lang="en-US" sz="3000" b="1" dirty="0">
                      <a:gradFill>
                        <a:gsLst>
                          <a:gs pos="0">
                            <a:srgbClr val="5C8A2E">
                              <a:lumMod val="60000"/>
                              <a:lumOff val="40000"/>
                            </a:srgbClr>
                          </a:gs>
                          <a:gs pos="86000">
                            <a:srgbClr val="5C8A2E">
                              <a:lumMod val="60000"/>
                              <a:lumOff val="40000"/>
                            </a:srgbClr>
                          </a:gs>
                        </a:gsLst>
                        <a:lin ang="5400000" scaled="0"/>
                      </a:gradFill>
                    </a:rPr>
                    <a:t>10</a:t>
                  </a:r>
                </a:p>
              </p:txBody>
            </p:sp>
          </p:grpSp>
          <p:grpSp>
            <p:nvGrpSpPr>
              <p:cNvPr id="11" name="Group 10"/>
              <p:cNvGrpSpPr/>
              <p:nvPr/>
            </p:nvGrpSpPr>
            <p:grpSpPr>
              <a:xfrm>
                <a:off x="381000" y="4845941"/>
                <a:ext cx="2011680" cy="1344168"/>
                <a:chOff x="381000" y="4845941"/>
                <a:chExt cx="2011680" cy="1344168"/>
              </a:xfrm>
            </p:grpSpPr>
            <p:grpSp>
              <p:nvGrpSpPr>
                <p:cNvPr id="69" name="Group 68"/>
                <p:cNvGrpSpPr/>
                <p:nvPr/>
              </p:nvGrpSpPr>
              <p:grpSpPr>
                <a:xfrm>
                  <a:off x="381000" y="4845941"/>
                  <a:ext cx="2011680" cy="1344168"/>
                  <a:chOff x="381000" y="4845941"/>
                  <a:chExt cx="2011680" cy="1344168"/>
                </a:xfrm>
              </p:grpSpPr>
              <p:sp>
                <p:nvSpPr>
                  <p:cNvPr id="24" name="Rectangle 23"/>
                  <p:cNvSpPr/>
                  <p:nvPr/>
                </p:nvSpPr>
                <p:spPr bwMode="auto">
                  <a:xfrm>
                    <a:off x="381000" y="4845941"/>
                    <a:ext cx="2011680" cy="1344168"/>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64008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Scalable Provisioning</a:t>
                    </a:r>
                  </a:p>
                </p:txBody>
              </p:sp>
              <p:pic>
                <p:nvPicPr>
                  <p:cNvPr id="60" name="Picture 108"/>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09403" y="4917301"/>
                    <a:ext cx="404045" cy="5526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82" name="TextBox 81"/>
                <p:cNvSpPr txBox="1"/>
                <p:nvPr/>
              </p:nvSpPr>
              <p:spPr>
                <a:xfrm>
                  <a:off x="2051561" y="4845941"/>
                  <a:ext cx="267381" cy="615553"/>
                </a:xfrm>
                <a:prstGeom prst="rect">
                  <a:avLst/>
                </a:prstGeom>
                <a:noFill/>
              </p:spPr>
              <p:txBody>
                <a:bodyPr wrap="none" lIns="0" tIns="0" rIns="45720" bIns="0" rtlCol="0">
                  <a:spAutoFit/>
                </a:bodyPr>
                <a:lstStyle/>
                <a:p>
                  <a:r>
                    <a:rPr lang="en-US" sz="3000" b="1" dirty="0">
                      <a:gradFill>
                        <a:gsLst>
                          <a:gs pos="0">
                            <a:srgbClr val="5C8A2E">
                              <a:lumMod val="60000"/>
                              <a:lumOff val="40000"/>
                            </a:srgbClr>
                          </a:gs>
                          <a:gs pos="86000">
                            <a:srgbClr val="5C8A2E">
                              <a:lumMod val="60000"/>
                              <a:lumOff val="40000"/>
                            </a:srgbClr>
                          </a:gs>
                        </a:gsLst>
                        <a:lin ang="5400000" scaled="0"/>
                      </a:gradFill>
                    </a:rPr>
                    <a:t>9</a:t>
                  </a:r>
                </a:p>
              </p:txBody>
            </p:sp>
          </p:grpSp>
        </p:grpSp>
        <p:pic>
          <p:nvPicPr>
            <p:cNvPr id="94" name="Picture 4" descr="\\MAGNUM\Projects\Microsoft\Cloud Power FY12\Design\ICONS_PNG\Check_mark.png"/>
            <p:cNvPicPr>
              <a:picLocks noChangeArrowheads="1"/>
            </p:cNvPicPr>
            <p:nvPr/>
          </p:nvPicPr>
          <p:blipFill rotWithShape="1">
            <a:blip r:embed="rId13" cstate="print">
              <a:lum bright="100000"/>
            </a:blip>
            <a:srcRect t="11515"/>
            <a:stretch/>
          </p:blipFill>
          <p:spPr bwMode="auto">
            <a:xfrm>
              <a:off x="6881962" y="4440031"/>
              <a:ext cx="733997" cy="784820"/>
            </a:xfrm>
            <a:prstGeom prst="rect">
              <a:avLst/>
            </a:prstGeom>
            <a:noFill/>
          </p:spPr>
        </p:pic>
      </p:grpSp>
      <p:pic>
        <p:nvPicPr>
          <p:cNvPr id="92" name="Picture 2" descr="\\eventsql\dvd\Online_ART\DVD_ART36\Logos\System Center Virtual Machine Manager 2008 R2\system center virtual machine manager 2008 r2 h rev.png"/>
          <p:cNvPicPr>
            <a:picLocks noChangeAspect="1" noChangeArrowheads="1"/>
          </p:cNvPicPr>
          <p:nvPr/>
        </p:nvPicPr>
        <p:blipFill rotWithShape="1">
          <a:blip r:embed="rId14">
            <a:extLst>
              <a:ext uri="{28A0092B-C50C-407E-A947-70E740481C1C}">
                <a14:useLocalDpi xmlns:a14="http://schemas.microsoft.com/office/drawing/2010/main" val="0"/>
              </a:ext>
            </a:extLst>
          </a:blip>
          <a:srcRect r="16495"/>
          <a:stretch/>
        </p:blipFill>
        <p:spPr bwMode="auto">
          <a:xfrm>
            <a:off x="4243079" y="139992"/>
            <a:ext cx="3072835" cy="77787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389436" y="171451"/>
            <a:ext cx="8363938" cy="457049"/>
          </a:xfrm>
        </p:spPr>
        <p:txBody>
          <a:bodyPr/>
          <a:lstStyle/>
          <a:p>
            <a:r>
              <a:rPr lang="en-US" dirty="0" smtClean="0"/>
              <a:t>The Fantastic 12 of</a:t>
            </a:r>
            <a:endParaRPr lang="en-US" dirty="0"/>
          </a:p>
        </p:txBody>
      </p:sp>
      <p:grpSp>
        <p:nvGrpSpPr>
          <p:cNvPr id="4" name="Group 3"/>
          <p:cNvGrpSpPr/>
          <p:nvPr/>
        </p:nvGrpSpPr>
        <p:grpSpPr>
          <a:xfrm>
            <a:off x="381003" y="1121670"/>
            <a:ext cx="8383301" cy="1008126"/>
            <a:chOff x="507872" y="1495560"/>
            <a:chExt cx="11174824" cy="1344168"/>
          </a:xfrm>
        </p:grpSpPr>
        <p:grpSp>
          <p:nvGrpSpPr>
            <p:cNvPr id="32" name="Group 31"/>
            <p:cNvGrpSpPr/>
            <p:nvPr/>
          </p:nvGrpSpPr>
          <p:grpSpPr>
            <a:xfrm>
              <a:off x="507872" y="1495560"/>
              <a:ext cx="11174824" cy="1344168"/>
              <a:chOff x="381000" y="1905000"/>
              <a:chExt cx="8383301" cy="1344168"/>
            </a:xfrm>
          </p:grpSpPr>
          <p:grpSp>
            <p:nvGrpSpPr>
              <p:cNvPr id="13" name="Group 12"/>
              <p:cNvGrpSpPr/>
              <p:nvPr/>
            </p:nvGrpSpPr>
            <p:grpSpPr>
              <a:xfrm>
                <a:off x="6752621" y="1905000"/>
                <a:ext cx="2011680" cy="1344168"/>
                <a:chOff x="2504440" y="3380827"/>
                <a:chExt cx="2011680" cy="1344168"/>
              </a:xfrm>
            </p:grpSpPr>
            <p:grpSp>
              <p:nvGrpSpPr>
                <p:cNvPr id="71" name="Group 70"/>
                <p:cNvGrpSpPr/>
                <p:nvPr/>
              </p:nvGrpSpPr>
              <p:grpSpPr>
                <a:xfrm>
                  <a:off x="2504440" y="3380827"/>
                  <a:ext cx="2011680" cy="1344168"/>
                  <a:chOff x="2504440" y="3380827"/>
                  <a:chExt cx="2011680" cy="1344168"/>
                </a:xfrm>
              </p:grpSpPr>
              <p:sp>
                <p:nvSpPr>
                  <p:cNvPr id="21" name="Rectangle 20"/>
                  <p:cNvSpPr/>
                  <p:nvPr/>
                </p:nvSpPr>
                <p:spPr bwMode="auto">
                  <a:xfrm>
                    <a:off x="2504440" y="3380827"/>
                    <a:ext cx="2011680" cy="1344168"/>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64008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Rapid Provisioning</a:t>
                    </a:r>
                  </a:p>
                </p:txBody>
              </p:sp>
              <p:pic>
                <p:nvPicPr>
                  <p:cNvPr id="48" name="Picture 174"/>
                  <p:cNvPicPr>
                    <a:picLocks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2620884" y="3446993"/>
                    <a:ext cx="418447" cy="5577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85" name="TextBox 84"/>
                <p:cNvSpPr txBox="1"/>
                <p:nvPr/>
              </p:nvSpPr>
              <p:spPr>
                <a:xfrm>
                  <a:off x="4170996" y="3380827"/>
                  <a:ext cx="267381" cy="615553"/>
                </a:xfrm>
                <a:prstGeom prst="rect">
                  <a:avLst/>
                </a:prstGeom>
                <a:noFill/>
              </p:spPr>
              <p:txBody>
                <a:bodyPr wrap="none" lIns="0" tIns="0" rIns="45720" bIns="0" rtlCol="0">
                  <a:spAutoFit/>
                </a:bodyPr>
                <a:lstStyle/>
                <a:p>
                  <a:r>
                    <a:rPr lang="en-US" sz="3000" b="1" dirty="0">
                      <a:gradFill>
                        <a:gsLst>
                          <a:gs pos="0">
                            <a:srgbClr val="5C8A2E">
                              <a:lumMod val="60000"/>
                              <a:lumOff val="40000"/>
                            </a:srgbClr>
                          </a:gs>
                          <a:gs pos="86000">
                            <a:srgbClr val="5C8A2E">
                              <a:lumMod val="60000"/>
                              <a:lumOff val="40000"/>
                            </a:srgbClr>
                          </a:gs>
                        </a:gsLst>
                        <a:lin ang="5400000" scaled="0"/>
                      </a:gradFill>
                    </a:rPr>
                    <a:t>4</a:t>
                  </a:r>
                </a:p>
              </p:txBody>
            </p:sp>
          </p:grpSp>
          <p:grpSp>
            <p:nvGrpSpPr>
              <p:cNvPr id="10" name="Group 9"/>
              <p:cNvGrpSpPr/>
              <p:nvPr/>
            </p:nvGrpSpPr>
            <p:grpSpPr>
              <a:xfrm>
                <a:off x="4628748" y="1905000"/>
                <a:ext cx="2011680" cy="1344168"/>
                <a:chOff x="381000" y="3380827"/>
                <a:chExt cx="2011680" cy="1344168"/>
              </a:xfrm>
            </p:grpSpPr>
            <p:grpSp>
              <p:nvGrpSpPr>
                <p:cNvPr id="68" name="Group 67"/>
                <p:cNvGrpSpPr/>
                <p:nvPr/>
              </p:nvGrpSpPr>
              <p:grpSpPr>
                <a:xfrm>
                  <a:off x="381000" y="3380827"/>
                  <a:ext cx="2011680" cy="1344168"/>
                  <a:chOff x="381000" y="3380827"/>
                  <a:chExt cx="2011680" cy="1344168"/>
                </a:xfrm>
              </p:grpSpPr>
              <p:sp>
                <p:nvSpPr>
                  <p:cNvPr id="20" name="Rectangle 19"/>
                  <p:cNvSpPr/>
                  <p:nvPr/>
                </p:nvSpPr>
                <p:spPr bwMode="auto">
                  <a:xfrm>
                    <a:off x="381000" y="3380827"/>
                    <a:ext cx="2011680" cy="1344168"/>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64008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Allocation and Assignment</a:t>
                    </a:r>
                  </a:p>
                </p:txBody>
              </p:sp>
              <p:pic>
                <p:nvPicPr>
                  <p:cNvPr id="45" name="Picture 3"/>
                  <p:cNvPicPr>
                    <a:picLocks noChangeAspect="1" noChangeArrowheads="1"/>
                  </p:cNvPicPr>
                  <p:nvPr>
                    <p:custDataLst>
                      <p:tags r:id="rId1"/>
                    </p:custDataLst>
                  </p:nvPr>
                </p:nvPicPr>
                <p:blipFill>
                  <a:blip r:embed="rId16" cstate="print">
                    <a:extLst>
                      <a:ext uri="{28A0092B-C50C-407E-A947-70E740481C1C}">
                        <a14:useLocalDpi xmlns:a14="http://schemas.microsoft.com/office/drawing/2010/main"/>
                      </a:ext>
                    </a:extLst>
                  </a:blip>
                  <a:srcRect/>
                  <a:stretch>
                    <a:fillRect/>
                  </a:stretch>
                </p:blipFill>
                <p:spPr bwMode="auto">
                  <a:xfrm>
                    <a:off x="491132" y="3426657"/>
                    <a:ext cx="323009" cy="580216"/>
                  </a:xfrm>
                  <a:prstGeom prst="rect">
                    <a:avLst/>
                  </a:prstGeom>
                  <a:noFill/>
                  <a:ln>
                    <a:noFill/>
                    <a:headEnd type="none" w="med" len="med"/>
                    <a:tailEnd type="none" w="med" len="med"/>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86" name="TextBox 85"/>
                <p:cNvSpPr txBox="1"/>
                <p:nvPr/>
              </p:nvSpPr>
              <p:spPr>
                <a:xfrm>
                  <a:off x="2051561" y="3380827"/>
                  <a:ext cx="267381" cy="615553"/>
                </a:xfrm>
                <a:prstGeom prst="rect">
                  <a:avLst/>
                </a:prstGeom>
                <a:noFill/>
              </p:spPr>
              <p:txBody>
                <a:bodyPr wrap="none" lIns="0" tIns="0" rIns="45720" bIns="0" rtlCol="0">
                  <a:spAutoFit/>
                </a:bodyPr>
                <a:lstStyle/>
                <a:p>
                  <a:r>
                    <a:rPr lang="en-US" sz="3000" b="1" dirty="0">
                      <a:gradFill>
                        <a:gsLst>
                          <a:gs pos="0">
                            <a:srgbClr val="5C8A2E">
                              <a:lumMod val="60000"/>
                              <a:lumOff val="40000"/>
                            </a:srgbClr>
                          </a:gs>
                          <a:gs pos="86000">
                            <a:srgbClr val="5C8A2E">
                              <a:lumMod val="60000"/>
                              <a:lumOff val="40000"/>
                            </a:srgbClr>
                          </a:gs>
                        </a:gsLst>
                        <a:lin ang="5400000" scaled="0"/>
                      </a:gradFill>
                    </a:rPr>
                    <a:t>3</a:t>
                  </a:r>
                </a:p>
              </p:txBody>
            </p:sp>
          </p:grpSp>
          <p:grpSp>
            <p:nvGrpSpPr>
              <p:cNvPr id="6" name="Group 5"/>
              <p:cNvGrpSpPr/>
              <p:nvPr/>
            </p:nvGrpSpPr>
            <p:grpSpPr>
              <a:xfrm>
                <a:off x="2504874" y="1905000"/>
                <a:ext cx="2011680" cy="1344168"/>
                <a:chOff x="2504440" y="1905000"/>
                <a:chExt cx="2011680" cy="1344168"/>
              </a:xfrm>
            </p:grpSpPr>
            <p:grpSp>
              <p:nvGrpSpPr>
                <p:cNvPr id="70" name="Group 69"/>
                <p:cNvGrpSpPr/>
                <p:nvPr/>
              </p:nvGrpSpPr>
              <p:grpSpPr>
                <a:xfrm>
                  <a:off x="2504440" y="1905000"/>
                  <a:ext cx="2011680" cy="1344168"/>
                  <a:chOff x="2504440" y="1905000"/>
                  <a:chExt cx="2011680" cy="1344168"/>
                </a:xfrm>
              </p:grpSpPr>
              <p:sp>
                <p:nvSpPr>
                  <p:cNvPr id="16" name="Rectangle 15"/>
                  <p:cNvSpPr/>
                  <p:nvPr/>
                </p:nvSpPr>
                <p:spPr bwMode="auto">
                  <a:xfrm>
                    <a:off x="2504440" y="1905000"/>
                    <a:ext cx="2011680" cy="1344168"/>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64008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Storage Classification</a:t>
                    </a:r>
                  </a:p>
                </p:txBody>
              </p:sp>
              <p:pic>
                <p:nvPicPr>
                  <p:cNvPr id="33" name="Picture 32"/>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2625748" y="1959792"/>
                    <a:ext cx="459527" cy="569788"/>
                  </a:xfrm>
                  <a:prstGeom prst="rect">
                    <a:avLst/>
                  </a:prstGeom>
                </p:spPr>
              </p:pic>
            </p:grpSp>
            <p:sp>
              <p:nvSpPr>
                <p:cNvPr id="89" name="TextBox 88"/>
                <p:cNvSpPr txBox="1"/>
                <p:nvPr/>
              </p:nvSpPr>
              <p:spPr>
                <a:xfrm>
                  <a:off x="4170996" y="1905000"/>
                  <a:ext cx="267381" cy="615553"/>
                </a:xfrm>
                <a:prstGeom prst="rect">
                  <a:avLst/>
                </a:prstGeom>
                <a:noFill/>
              </p:spPr>
              <p:txBody>
                <a:bodyPr wrap="none" lIns="0" tIns="0" rIns="45720" bIns="0" rtlCol="0">
                  <a:spAutoFit/>
                </a:bodyPr>
                <a:lstStyle/>
                <a:p>
                  <a:r>
                    <a:rPr lang="en-US" sz="3000" b="1" dirty="0">
                      <a:gradFill>
                        <a:gsLst>
                          <a:gs pos="0">
                            <a:srgbClr val="5C8A2E">
                              <a:lumMod val="60000"/>
                              <a:lumOff val="40000"/>
                            </a:srgbClr>
                          </a:gs>
                          <a:gs pos="86000">
                            <a:srgbClr val="5C8A2E">
                              <a:lumMod val="60000"/>
                              <a:lumOff val="40000"/>
                            </a:srgbClr>
                          </a:gs>
                        </a:gsLst>
                        <a:lin ang="5400000" scaled="0"/>
                      </a:gradFill>
                    </a:rPr>
                    <a:t>2</a:t>
                  </a:r>
                </a:p>
              </p:txBody>
            </p:sp>
          </p:grpSp>
          <p:grpSp>
            <p:nvGrpSpPr>
              <p:cNvPr id="5" name="Group 4"/>
              <p:cNvGrpSpPr/>
              <p:nvPr/>
            </p:nvGrpSpPr>
            <p:grpSpPr>
              <a:xfrm>
                <a:off x="381000" y="1905000"/>
                <a:ext cx="2011680" cy="1344168"/>
                <a:chOff x="381000" y="1905000"/>
                <a:chExt cx="2011680" cy="1344168"/>
              </a:xfrm>
            </p:grpSpPr>
            <p:sp>
              <p:nvSpPr>
                <p:cNvPr id="3" name="Rectangle 2"/>
                <p:cNvSpPr/>
                <p:nvPr/>
              </p:nvSpPr>
              <p:spPr bwMode="auto">
                <a:xfrm>
                  <a:off x="381000" y="1905000"/>
                  <a:ext cx="2011680" cy="1344168"/>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64008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End to End Mapping</a:t>
                  </a:r>
                </a:p>
              </p:txBody>
            </p:sp>
            <p:sp>
              <p:nvSpPr>
                <p:cNvPr id="90" name="TextBox 89"/>
                <p:cNvSpPr txBox="1"/>
                <p:nvPr/>
              </p:nvSpPr>
              <p:spPr>
                <a:xfrm>
                  <a:off x="2051561" y="1905000"/>
                  <a:ext cx="267381" cy="615553"/>
                </a:xfrm>
                <a:prstGeom prst="rect">
                  <a:avLst/>
                </a:prstGeom>
                <a:noFill/>
              </p:spPr>
              <p:txBody>
                <a:bodyPr wrap="none" lIns="0" tIns="0" rIns="45720" bIns="0" rtlCol="0">
                  <a:spAutoFit/>
                </a:bodyPr>
                <a:lstStyle/>
                <a:p>
                  <a:r>
                    <a:rPr lang="en-US" sz="3000" b="1" dirty="0">
                      <a:gradFill>
                        <a:gsLst>
                          <a:gs pos="0">
                            <a:srgbClr val="5C8A2E">
                              <a:lumMod val="60000"/>
                              <a:lumOff val="40000"/>
                            </a:srgbClr>
                          </a:gs>
                          <a:gs pos="86000">
                            <a:srgbClr val="5C8A2E">
                              <a:lumMod val="60000"/>
                              <a:lumOff val="40000"/>
                            </a:srgbClr>
                          </a:gs>
                        </a:gsLst>
                        <a:lin ang="5400000" scaled="0"/>
                      </a:gradFill>
                    </a:rPr>
                    <a:t>1</a:t>
                  </a:r>
                </a:p>
              </p:txBody>
            </p:sp>
          </p:grpSp>
        </p:grpSp>
        <p:sp>
          <p:nvSpPr>
            <p:cNvPr id="78" name="Freeform 84"/>
            <p:cNvSpPr>
              <a:spLocks noEditPoints="1"/>
            </p:cNvSpPr>
            <p:nvPr/>
          </p:nvSpPr>
          <p:spPr bwMode="auto">
            <a:xfrm>
              <a:off x="791381" y="1596211"/>
              <a:ext cx="494141" cy="488814"/>
            </a:xfrm>
            <a:custGeom>
              <a:avLst/>
              <a:gdLst>
                <a:gd name="T0" fmla="*/ 314 w 314"/>
                <a:gd name="T1" fmla="*/ 301 h 311"/>
                <a:gd name="T2" fmla="*/ 189 w 314"/>
                <a:gd name="T3" fmla="*/ 176 h 311"/>
                <a:gd name="T4" fmla="*/ 214 w 314"/>
                <a:gd name="T5" fmla="*/ 107 h 311"/>
                <a:gd name="T6" fmla="*/ 107 w 314"/>
                <a:gd name="T7" fmla="*/ 0 h 311"/>
                <a:gd name="T8" fmla="*/ 0 w 314"/>
                <a:gd name="T9" fmla="*/ 107 h 311"/>
                <a:gd name="T10" fmla="*/ 107 w 314"/>
                <a:gd name="T11" fmla="*/ 215 h 311"/>
                <a:gd name="T12" fmla="*/ 179 w 314"/>
                <a:gd name="T13" fmla="*/ 186 h 311"/>
                <a:gd name="T14" fmla="*/ 304 w 314"/>
                <a:gd name="T15" fmla="*/ 311 h 311"/>
                <a:gd name="T16" fmla="*/ 314 w 314"/>
                <a:gd name="T17" fmla="*/ 301 h 311"/>
                <a:gd name="T18" fmla="*/ 107 w 314"/>
                <a:gd name="T19" fmla="*/ 200 h 311"/>
                <a:gd name="T20" fmla="*/ 14 w 314"/>
                <a:gd name="T21" fmla="*/ 107 h 311"/>
                <a:gd name="T22" fmla="*/ 107 w 314"/>
                <a:gd name="T23" fmla="*/ 15 h 311"/>
                <a:gd name="T24" fmla="*/ 199 w 314"/>
                <a:gd name="T25" fmla="*/ 107 h 311"/>
                <a:gd name="T26" fmla="*/ 107 w 314"/>
                <a:gd name="T27" fmla="*/ 20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4" h="311">
                  <a:moveTo>
                    <a:pt x="314" y="301"/>
                  </a:moveTo>
                  <a:cubicBezTo>
                    <a:pt x="189" y="176"/>
                    <a:pt x="189" y="176"/>
                    <a:pt x="189" y="176"/>
                  </a:cubicBezTo>
                  <a:cubicBezTo>
                    <a:pt x="205" y="157"/>
                    <a:pt x="214" y="133"/>
                    <a:pt x="214" y="107"/>
                  </a:cubicBezTo>
                  <a:cubicBezTo>
                    <a:pt x="214" y="48"/>
                    <a:pt x="166" y="0"/>
                    <a:pt x="107" y="0"/>
                  </a:cubicBezTo>
                  <a:cubicBezTo>
                    <a:pt x="48" y="0"/>
                    <a:pt x="0" y="48"/>
                    <a:pt x="0" y="107"/>
                  </a:cubicBezTo>
                  <a:cubicBezTo>
                    <a:pt x="0" y="167"/>
                    <a:pt x="48" y="215"/>
                    <a:pt x="107" y="215"/>
                  </a:cubicBezTo>
                  <a:cubicBezTo>
                    <a:pt x="135" y="215"/>
                    <a:pt x="160" y="204"/>
                    <a:pt x="179" y="186"/>
                  </a:cubicBezTo>
                  <a:cubicBezTo>
                    <a:pt x="304" y="311"/>
                    <a:pt x="304" y="311"/>
                    <a:pt x="304" y="311"/>
                  </a:cubicBezTo>
                  <a:lnTo>
                    <a:pt x="314" y="301"/>
                  </a:lnTo>
                  <a:close/>
                  <a:moveTo>
                    <a:pt x="107" y="200"/>
                  </a:moveTo>
                  <a:cubicBezTo>
                    <a:pt x="56" y="200"/>
                    <a:pt x="14" y="158"/>
                    <a:pt x="14" y="107"/>
                  </a:cubicBezTo>
                  <a:cubicBezTo>
                    <a:pt x="14" y="57"/>
                    <a:pt x="56" y="15"/>
                    <a:pt x="107" y="15"/>
                  </a:cubicBezTo>
                  <a:cubicBezTo>
                    <a:pt x="158" y="15"/>
                    <a:pt x="199" y="57"/>
                    <a:pt x="199" y="107"/>
                  </a:cubicBezTo>
                  <a:cubicBezTo>
                    <a:pt x="199" y="158"/>
                    <a:pt x="158" y="200"/>
                    <a:pt x="107" y="20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67"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91"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8"/>
              </a:rPr>
              <a:t>www.rapidbbs.cn</a:t>
            </a:r>
            <a:endParaRPr lang="zh-CN" altLang="en-US" sz="1200" b="0">
              <a:latin typeface="Arial" charset="0"/>
              <a:ea typeface="ＭＳ Ｐゴシック" pitchFamily="34" charset="-128"/>
            </a:endParaRPr>
          </a:p>
        </p:txBody>
      </p:sp>
      <p:pic>
        <p:nvPicPr>
          <p:cNvPr id="93" name="Picture 2">
            <a:hlinkClick r:id="rId18"/>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01193323"/>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2000" fill="hold"/>
                                        <p:tgtEl>
                                          <p:spTgt spid="4"/>
                                        </p:tgtEl>
                                        <p:attrNameLst>
                                          <p:attrName>ppt_x</p:attrName>
                                        </p:attrNameLst>
                                      </p:cBhvr>
                                      <p:tavLst>
                                        <p:tav tm="0">
                                          <p:val>
                                            <p:strVal val="1+#ppt_w/2"/>
                                          </p:val>
                                        </p:tav>
                                        <p:tav tm="100000">
                                          <p:val>
                                            <p:strVal val="#ppt_x"/>
                                          </p:val>
                                        </p:tav>
                                      </p:tavLst>
                                    </p:anim>
                                    <p:anim calcmode="lin" valueType="num">
                                      <p:cBhvr additive="base">
                                        <p:cTn id="8" dur="20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2000"/>
                            </p:stCondLst>
                            <p:childTnLst>
                              <p:par>
                                <p:cTn id="10" presetID="2" presetClass="entr" presetSubtype="2" fill="hold" nodeType="afterEffect">
                                  <p:stCondLst>
                                    <p:cond delay="0"/>
                                  </p:stCondLst>
                                  <p:childTnLst>
                                    <p:set>
                                      <p:cBhvr>
                                        <p:cTn id="11" dur="1" fill="hold">
                                          <p:stCondLst>
                                            <p:cond delay="0"/>
                                          </p:stCondLst>
                                        </p:cTn>
                                        <p:tgtEl>
                                          <p:spTgt spid="34"/>
                                        </p:tgtEl>
                                        <p:attrNameLst>
                                          <p:attrName>style.visibility</p:attrName>
                                        </p:attrNameLst>
                                      </p:cBhvr>
                                      <p:to>
                                        <p:strVal val="visible"/>
                                      </p:to>
                                    </p:set>
                                    <p:anim calcmode="lin" valueType="num">
                                      <p:cBhvr additive="base">
                                        <p:cTn id="12" dur="2000" fill="hold"/>
                                        <p:tgtEl>
                                          <p:spTgt spid="34"/>
                                        </p:tgtEl>
                                        <p:attrNameLst>
                                          <p:attrName>ppt_x</p:attrName>
                                        </p:attrNameLst>
                                      </p:cBhvr>
                                      <p:tavLst>
                                        <p:tav tm="0">
                                          <p:val>
                                            <p:strVal val="1+#ppt_w/2"/>
                                          </p:val>
                                        </p:tav>
                                        <p:tav tm="100000">
                                          <p:val>
                                            <p:strVal val="#ppt_x"/>
                                          </p:val>
                                        </p:tav>
                                      </p:tavLst>
                                    </p:anim>
                                    <p:anim calcmode="lin" valueType="num">
                                      <p:cBhvr additive="base">
                                        <p:cTn id="13" dur="2000" fill="hold"/>
                                        <p:tgtEl>
                                          <p:spTgt spid="34"/>
                                        </p:tgtEl>
                                        <p:attrNameLst>
                                          <p:attrName>ppt_y</p:attrName>
                                        </p:attrNameLst>
                                      </p:cBhvr>
                                      <p:tavLst>
                                        <p:tav tm="0">
                                          <p:val>
                                            <p:strVal val="#ppt_y"/>
                                          </p:val>
                                        </p:tav>
                                        <p:tav tm="100000">
                                          <p:val>
                                            <p:strVal val="#ppt_y"/>
                                          </p:val>
                                        </p:tav>
                                      </p:tavLst>
                                    </p:anim>
                                  </p:childTnLst>
                                </p:cTn>
                              </p:par>
                            </p:childTnLst>
                          </p:cTn>
                        </p:par>
                        <p:par>
                          <p:cTn id="14" fill="hold">
                            <p:stCondLst>
                              <p:cond delay="4000"/>
                            </p:stCondLst>
                            <p:childTnLst>
                              <p:par>
                                <p:cTn id="15" presetID="2" presetClass="entr" presetSubtype="2" fill="hold" nodeType="afterEffect">
                                  <p:stCondLst>
                                    <p:cond delay="0"/>
                                  </p:stCondLst>
                                  <p:childTnLst>
                                    <p:set>
                                      <p:cBhvr>
                                        <p:cTn id="16" dur="1" fill="hold">
                                          <p:stCondLst>
                                            <p:cond delay="0"/>
                                          </p:stCondLst>
                                        </p:cTn>
                                        <p:tgtEl>
                                          <p:spTgt spid="8"/>
                                        </p:tgtEl>
                                        <p:attrNameLst>
                                          <p:attrName>style.visibility</p:attrName>
                                        </p:attrNameLst>
                                      </p:cBhvr>
                                      <p:to>
                                        <p:strVal val="visible"/>
                                      </p:to>
                                    </p:set>
                                    <p:anim calcmode="lin" valueType="num">
                                      <p:cBhvr additive="base">
                                        <p:cTn id="17" dur="2000" fill="hold"/>
                                        <p:tgtEl>
                                          <p:spTgt spid="8"/>
                                        </p:tgtEl>
                                        <p:attrNameLst>
                                          <p:attrName>ppt_x</p:attrName>
                                        </p:attrNameLst>
                                      </p:cBhvr>
                                      <p:tavLst>
                                        <p:tav tm="0">
                                          <p:val>
                                            <p:strVal val="1+#ppt_w/2"/>
                                          </p:val>
                                        </p:tav>
                                        <p:tav tm="100000">
                                          <p:val>
                                            <p:strVal val="#ppt_x"/>
                                          </p:val>
                                        </p:tav>
                                      </p:tavLst>
                                    </p:anim>
                                    <p:anim calcmode="lin" valueType="num">
                                      <p:cBhvr additive="base">
                                        <p:cTn id="18" dur="20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376309" y="1428750"/>
            <a:ext cx="25382397" cy="1515618"/>
            <a:chOff x="501613" y="1905000"/>
            <a:chExt cx="33834383" cy="2020824"/>
          </a:xfrm>
        </p:grpSpPr>
        <p:grpSp>
          <p:nvGrpSpPr>
            <p:cNvPr id="2" name="Group 1"/>
            <p:cNvGrpSpPr/>
            <p:nvPr/>
          </p:nvGrpSpPr>
          <p:grpSpPr>
            <a:xfrm>
              <a:off x="501613" y="1905000"/>
              <a:ext cx="33834383" cy="2020824"/>
              <a:chOff x="381000" y="1904999"/>
              <a:chExt cx="25382397" cy="2020824"/>
            </a:xfrm>
          </p:grpSpPr>
          <p:grpSp>
            <p:nvGrpSpPr>
              <p:cNvPr id="143" name="Group 142"/>
              <p:cNvGrpSpPr/>
              <p:nvPr/>
            </p:nvGrpSpPr>
            <p:grpSpPr>
              <a:xfrm>
                <a:off x="381000" y="1904999"/>
                <a:ext cx="25382397" cy="2020824"/>
                <a:chOff x="381000" y="1904999"/>
                <a:chExt cx="25382397" cy="2020824"/>
              </a:xfrm>
            </p:grpSpPr>
            <p:grpSp>
              <p:nvGrpSpPr>
                <p:cNvPr id="144" name="Group 143"/>
                <p:cNvGrpSpPr/>
                <p:nvPr/>
              </p:nvGrpSpPr>
              <p:grpSpPr>
                <a:xfrm>
                  <a:off x="23751717" y="1904999"/>
                  <a:ext cx="2011680" cy="2011680"/>
                  <a:chOff x="23751717" y="1905000"/>
                  <a:chExt cx="2011680" cy="2011680"/>
                </a:xfrm>
              </p:grpSpPr>
              <p:sp>
                <p:nvSpPr>
                  <p:cNvPr id="202" name="Rectangle 201"/>
                  <p:cNvSpPr/>
                  <p:nvPr/>
                </p:nvSpPr>
                <p:spPr bwMode="auto">
                  <a:xfrm>
                    <a:off x="23751717"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 </a:t>
                    </a:r>
                    <a:br>
                      <a:rPr lang="en-US" sz="1500" dirty="0">
                        <a:gradFill>
                          <a:gsLst>
                            <a:gs pos="0">
                              <a:srgbClr val="FFFFFF"/>
                            </a:gs>
                            <a:gs pos="100000">
                              <a:srgbClr val="FFFFFF"/>
                            </a:gs>
                          </a:gsLst>
                          <a:lin ang="5400000" scaled="0"/>
                        </a:gradFill>
                      </a:rPr>
                    </a:br>
                    <a:r>
                      <a:rPr lang="en-US" sz="1500" dirty="0">
                        <a:gradFill>
                          <a:gsLst>
                            <a:gs pos="0">
                              <a:srgbClr val="FFFFFF"/>
                            </a:gs>
                            <a:gs pos="100000">
                              <a:srgbClr val="FFFFFF"/>
                            </a:gs>
                          </a:gsLst>
                          <a:lin ang="5400000" scaled="0"/>
                        </a:gradFill>
                      </a:rPr>
                      <a:t>Validation</a:t>
                    </a:r>
                  </a:p>
                </p:txBody>
              </p:sp>
              <p:sp>
                <p:nvSpPr>
                  <p:cNvPr id="204" name="TextBox 203"/>
                  <p:cNvSpPr txBox="1"/>
                  <p:nvPr/>
                </p:nvSpPr>
                <p:spPr>
                  <a:xfrm>
                    <a:off x="25111146" y="1905000"/>
                    <a:ext cx="488595"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12</a:t>
                    </a:r>
                  </a:p>
                </p:txBody>
              </p:sp>
            </p:grpSp>
            <p:grpSp>
              <p:nvGrpSpPr>
                <p:cNvPr id="145" name="Group 144"/>
                <p:cNvGrpSpPr/>
                <p:nvPr/>
              </p:nvGrpSpPr>
              <p:grpSpPr>
                <a:xfrm>
                  <a:off x="21627110" y="1904999"/>
                  <a:ext cx="2011680" cy="2011680"/>
                  <a:chOff x="21628277" y="1905000"/>
                  <a:chExt cx="2011680" cy="2011680"/>
                </a:xfrm>
              </p:grpSpPr>
              <p:sp>
                <p:nvSpPr>
                  <p:cNvPr id="199" name="Rectangle 198"/>
                  <p:cNvSpPr/>
                  <p:nvPr/>
                </p:nvSpPr>
                <p:spPr bwMode="auto">
                  <a:xfrm>
                    <a:off x="21628277"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Standards Based Management </a:t>
                    </a:r>
                  </a:p>
                </p:txBody>
              </p:sp>
              <p:pic>
                <p:nvPicPr>
                  <p:cNvPr id="200" name="Picture 3" descr="\\SFP\Work\White_Whale\3-22036_Kuleen_Bharadwaj\PPT\3_PlatformVision_Kuleen\SFP_Art\Plane Slide\mon_notie.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1734293" y="2102691"/>
                    <a:ext cx="780649" cy="915763"/>
                  </a:xfrm>
                  <a:prstGeom prst="rect">
                    <a:avLst/>
                  </a:prstGeom>
                  <a:noFill/>
                  <a:extLst>
                    <a:ext uri="{909E8E84-426E-40DD-AFC4-6F175D3DCCD1}">
                      <a14:hiddenFill xmlns:a14="http://schemas.microsoft.com/office/drawing/2010/main">
                        <a:solidFill>
                          <a:srgbClr val="FFFFFF"/>
                        </a:solidFill>
                      </a14:hiddenFill>
                    </a:ext>
                  </a:extLst>
                </p:spPr>
              </p:pic>
              <p:sp>
                <p:nvSpPr>
                  <p:cNvPr id="201" name="TextBox 200"/>
                  <p:cNvSpPr txBox="1"/>
                  <p:nvPr/>
                </p:nvSpPr>
                <p:spPr>
                  <a:xfrm>
                    <a:off x="22993494" y="1905000"/>
                    <a:ext cx="488595"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11</a:t>
                    </a:r>
                  </a:p>
                </p:txBody>
              </p:sp>
            </p:grpSp>
            <p:grpSp>
              <p:nvGrpSpPr>
                <p:cNvPr id="146" name="Group 145"/>
                <p:cNvGrpSpPr/>
                <p:nvPr/>
              </p:nvGrpSpPr>
              <p:grpSpPr>
                <a:xfrm>
                  <a:off x="19502499" y="1904999"/>
                  <a:ext cx="2011680" cy="2011680"/>
                  <a:chOff x="19504837" y="1905000"/>
                  <a:chExt cx="2011680" cy="2011680"/>
                </a:xfrm>
              </p:grpSpPr>
              <p:sp>
                <p:nvSpPr>
                  <p:cNvPr id="196" name="Rectangle 195"/>
                  <p:cNvSpPr/>
                  <p:nvPr/>
                </p:nvSpPr>
                <p:spPr bwMode="auto">
                  <a:xfrm>
                    <a:off x="19504837"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Extensive Array Support </a:t>
                    </a:r>
                  </a:p>
                </p:txBody>
              </p:sp>
              <p:pic>
                <p:nvPicPr>
                  <p:cNvPr id="197" name="Picture 7" descr="\\MAGNUM\Projects\Microsoft\Cloud Power FY12\Design\ICONS_PNG\Physical_Virtual.png"/>
                  <p:cNvPicPr>
                    <a:picLocks noChangeAspect="1" noChangeArrowheads="1"/>
                  </p:cNvPicPr>
                  <p:nvPr/>
                </p:nvPicPr>
                <p:blipFill rotWithShape="1">
                  <a:blip r:embed="rId6" cstate="print">
                    <a:extLst>
                      <a:ext uri="{BEBA8EAE-BF5A-486C-A8C5-ECC9F3942E4B}">
                        <a14:imgProps xmlns:a14="http://schemas.microsoft.com/office/drawing/2010/main">
                          <a14:imgLayer r:embed="rId7">
                            <a14:imgEffect>
                              <a14:brightnessContrast bright="100000"/>
                            </a14:imgEffect>
                          </a14:imgLayer>
                        </a14:imgProps>
                      </a:ext>
                    </a:extLst>
                  </a:blip>
                  <a:srcRect l="7856" t="39072" r="7907" b="5885"/>
                  <a:stretch/>
                </p:blipFill>
                <p:spPr bwMode="auto">
                  <a:xfrm>
                    <a:off x="19529881" y="2070341"/>
                    <a:ext cx="1472548" cy="962205"/>
                  </a:xfrm>
                  <a:prstGeom prst="rect">
                    <a:avLst/>
                  </a:prstGeom>
                  <a:noFill/>
                </p:spPr>
              </p:pic>
              <p:sp>
                <p:nvSpPr>
                  <p:cNvPr id="198" name="TextBox 197"/>
                  <p:cNvSpPr txBox="1"/>
                  <p:nvPr/>
                </p:nvSpPr>
                <p:spPr>
                  <a:xfrm>
                    <a:off x="20870054" y="1905000"/>
                    <a:ext cx="488595"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10</a:t>
                    </a:r>
                  </a:p>
                </p:txBody>
              </p:sp>
            </p:grpSp>
            <p:grpSp>
              <p:nvGrpSpPr>
                <p:cNvPr id="147" name="Group 146"/>
                <p:cNvGrpSpPr/>
                <p:nvPr/>
              </p:nvGrpSpPr>
              <p:grpSpPr>
                <a:xfrm>
                  <a:off x="17377888" y="1904999"/>
                  <a:ext cx="2011680" cy="2011680"/>
                  <a:chOff x="17381397" y="1905000"/>
                  <a:chExt cx="2011680" cy="2011680"/>
                </a:xfrm>
              </p:grpSpPr>
              <p:sp>
                <p:nvSpPr>
                  <p:cNvPr id="193" name="Rectangle 192"/>
                  <p:cNvSpPr/>
                  <p:nvPr/>
                </p:nvSpPr>
                <p:spPr bwMode="auto">
                  <a:xfrm>
                    <a:off x="17381397"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Scalable Provisioning</a:t>
                    </a:r>
                    <a:br>
                      <a:rPr lang="en-US" sz="1500" dirty="0">
                        <a:gradFill>
                          <a:gsLst>
                            <a:gs pos="0">
                              <a:srgbClr val="FFFFFF"/>
                            </a:gs>
                            <a:gs pos="100000">
                              <a:srgbClr val="FFFFFF"/>
                            </a:gs>
                          </a:gsLst>
                          <a:lin ang="5400000" scaled="0"/>
                        </a:gradFill>
                      </a:rPr>
                    </a:br>
                    <a:r>
                      <a:rPr lang="en-US" sz="1500" dirty="0">
                        <a:gradFill>
                          <a:gsLst>
                            <a:gs pos="0">
                              <a:srgbClr val="FFFFFF"/>
                            </a:gs>
                            <a:gs pos="100000">
                              <a:srgbClr val="FFFFFF"/>
                            </a:gs>
                          </a:gsLst>
                          <a:lin ang="5400000" scaled="0"/>
                        </a:gradFill>
                      </a:rPr>
                      <a:t> </a:t>
                    </a:r>
                  </a:p>
                </p:txBody>
              </p:sp>
              <p:pic>
                <p:nvPicPr>
                  <p:cNvPr id="194" name="Picture 108"/>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7504750" y="2104845"/>
                    <a:ext cx="841820" cy="880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5" name="TextBox 194"/>
                  <p:cNvSpPr txBox="1"/>
                  <p:nvPr/>
                </p:nvSpPr>
                <p:spPr>
                  <a:xfrm>
                    <a:off x="19051958"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9</a:t>
                    </a:r>
                  </a:p>
                </p:txBody>
              </p:sp>
            </p:grpSp>
            <p:grpSp>
              <p:nvGrpSpPr>
                <p:cNvPr id="148" name="Group 147"/>
                <p:cNvGrpSpPr/>
                <p:nvPr/>
              </p:nvGrpSpPr>
              <p:grpSpPr>
                <a:xfrm>
                  <a:off x="15253277" y="1904999"/>
                  <a:ext cx="2011680" cy="2011680"/>
                  <a:chOff x="15253277" y="1905000"/>
                  <a:chExt cx="2011680" cy="2011680"/>
                </a:xfrm>
              </p:grpSpPr>
              <p:sp>
                <p:nvSpPr>
                  <p:cNvPr id="190" name="Rectangle 189"/>
                  <p:cNvSpPr/>
                  <p:nvPr/>
                </p:nvSpPr>
                <p:spPr bwMode="auto">
                  <a:xfrm>
                    <a:off x="15253277"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Storage Automation</a:t>
                    </a:r>
                  </a:p>
                </p:txBody>
              </p:sp>
              <p:pic>
                <p:nvPicPr>
                  <p:cNvPr id="191" name="Picture 8"/>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5367380" y="2104845"/>
                    <a:ext cx="1115460" cy="8877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2" name="TextBox 191"/>
                  <p:cNvSpPr txBox="1"/>
                  <p:nvPr/>
                </p:nvSpPr>
                <p:spPr>
                  <a:xfrm>
                    <a:off x="16914045"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8</a:t>
                    </a:r>
                  </a:p>
                </p:txBody>
              </p:sp>
            </p:grpSp>
            <p:grpSp>
              <p:nvGrpSpPr>
                <p:cNvPr id="149" name="Group 148"/>
                <p:cNvGrpSpPr/>
                <p:nvPr/>
              </p:nvGrpSpPr>
              <p:grpSpPr>
                <a:xfrm>
                  <a:off x="8879444" y="1904999"/>
                  <a:ext cx="2011680" cy="2011680"/>
                  <a:chOff x="8877050" y="1905000"/>
                  <a:chExt cx="2011680" cy="2011680"/>
                </a:xfrm>
              </p:grpSpPr>
              <p:sp>
                <p:nvSpPr>
                  <p:cNvPr id="187" name="Rectangle 186"/>
                  <p:cNvSpPr/>
                  <p:nvPr/>
                </p:nvSpPr>
                <p:spPr bwMode="auto">
                  <a:xfrm>
                    <a:off x="8877050"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SAN Migration</a:t>
                    </a:r>
                  </a:p>
                </p:txBody>
              </p:sp>
              <p:pic>
                <p:nvPicPr>
                  <p:cNvPr id="188" name="Picture 2"/>
                  <p:cNvPicPr>
                    <a:picLocks noChangeAspect="1" noChangeArrowheads="1"/>
                  </p:cNvPicPr>
                  <p:nvPr/>
                </p:nvPicPr>
                <p:blipFill>
                  <a:blip r:embed="rId10">
                    <a:extLst>
                      <a:ext uri="{28A0092B-C50C-407E-A947-70E740481C1C}">
                        <a14:useLocalDpi xmlns:a14="http://schemas.microsoft.com/office/drawing/2010/main" val="0"/>
                      </a:ext>
                    </a:extLst>
                  </a:blip>
                  <a:stretch>
                    <a:fillRect/>
                  </a:stretch>
                </p:blipFill>
                <p:spPr bwMode="auto">
                  <a:xfrm>
                    <a:off x="9003772" y="2087593"/>
                    <a:ext cx="1013736" cy="9049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9" name="TextBox 188"/>
                  <p:cNvSpPr txBox="1"/>
                  <p:nvPr/>
                </p:nvSpPr>
                <p:spPr>
                  <a:xfrm>
                    <a:off x="10533215"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5</a:t>
                    </a:r>
                  </a:p>
                </p:txBody>
              </p:sp>
            </p:grpSp>
            <p:grpSp>
              <p:nvGrpSpPr>
                <p:cNvPr id="150" name="Group 149"/>
                <p:cNvGrpSpPr/>
                <p:nvPr/>
              </p:nvGrpSpPr>
              <p:grpSpPr>
                <a:xfrm>
                  <a:off x="6754833" y="1904999"/>
                  <a:ext cx="2011680" cy="2011680"/>
                  <a:chOff x="6752439" y="1905000"/>
                  <a:chExt cx="2011680" cy="2011680"/>
                </a:xfrm>
              </p:grpSpPr>
              <p:sp>
                <p:nvSpPr>
                  <p:cNvPr id="184" name="Rectangle 183"/>
                  <p:cNvSpPr/>
                  <p:nvPr/>
                </p:nvSpPr>
                <p:spPr bwMode="auto">
                  <a:xfrm>
                    <a:off x="6752439"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Rapid Provisioning</a:t>
                    </a:r>
                  </a:p>
                </p:txBody>
              </p:sp>
              <p:pic>
                <p:nvPicPr>
                  <p:cNvPr id="185" name="Picture 174"/>
                  <p:cNvPicPr>
                    <a:picLocks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868882" y="2058656"/>
                    <a:ext cx="727137" cy="966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6" name="TextBox 185"/>
                  <p:cNvSpPr txBox="1"/>
                  <p:nvPr/>
                </p:nvSpPr>
                <p:spPr>
                  <a:xfrm>
                    <a:off x="8418995"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4</a:t>
                    </a:r>
                  </a:p>
                </p:txBody>
              </p:sp>
            </p:grpSp>
            <p:grpSp>
              <p:nvGrpSpPr>
                <p:cNvPr id="151" name="Group 150"/>
                <p:cNvGrpSpPr/>
                <p:nvPr/>
              </p:nvGrpSpPr>
              <p:grpSpPr>
                <a:xfrm>
                  <a:off x="4630222" y="1904999"/>
                  <a:ext cx="2011680" cy="2011680"/>
                  <a:chOff x="4641528" y="1905000"/>
                  <a:chExt cx="2011680" cy="2011680"/>
                </a:xfrm>
              </p:grpSpPr>
              <p:sp>
                <p:nvSpPr>
                  <p:cNvPr id="181" name="Rectangle 180"/>
                  <p:cNvSpPr/>
                  <p:nvPr/>
                </p:nvSpPr>
                <p:spPr bwMode="auto">
                  <a:xfrm>
                    <a:off x="4641528"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Allocation and Assignment</a:t>
                    </a:r>
                  </a:p>
                </p:txBody>
              </p:sp>
              <p:pic>
                <p:nvPicPr>
                  <p:cNvPr id="182" name="Picture 3"/>
                  <p:cNvPicPr>
                    <a:picLocks noChangeAspect="1" noChangeArrowheads="1"/>
                  </p:cNvPicPr>
                  <p:nvPr>
                    <p:custDataLst>
                      <p:tags r:id="rId2"/>
                    </p:custDataLst>
                  </p:nvPr>
                </p:nvPicPr>
                <p:blipFill>
                  <a:blip r:embed="rId12" cstate="print">
                    <a:extLst>
                      <a:ext uri="{28A0092B-C50C-407E-A947-70E740481C1C}">
                        <a14:useLocalDpi xmlns:a14="http://schemas.microsoft.com/office/drawing/2010/main"/>
                      </a:ext>
                    </a:extLst>
                  </a:blip>
                  <a:srcRect/>
                  <a:stretch>
                    <a:fillRect/>
                  </a:stretch>
                </p:blipFill>
                <p:spPr bwMode="auto">
                  <a:xfrm>
                    <a:off x="4751660" y="2024982"/>
                    <a:ext cx="579482" cy="984876"/>
                  </a:xfrm>
                  <a:prstGeom prst="rect">
                    <a:avLst/>
                  </a:prstGeom>
                  <a:noFill/>
                  <a:ln>
                    <a:noFill/>
                    <a:headEnd type="none" w="med" len="med"/>
                    <a:tailEnd type="none" w="med" len="med"/>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3" name="TextBox 182"/>
                  <p:cNvSpPr txBox="1"/>
                  <p:nvPr/>
                </p:nvSpPr>
                <p:spPr>
                  <a:xfrm>
                    <a:off x="6312089"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3</a:t>
                    </a:r>
                  </a:p>
                </p:txBody>
              </p:sp>
            </p:grpSp>
            <p:grpSp>
              <p:nvGrpSpPr>
                <p:cNvPr id="152" name="Group 151"/>
                <p:cNvGrpSpPr/>
                <p:nvPr/>
              </p:nvGrpSpPr>
              <p:grpSpPr>
                <a:xfrm>
                  <a:off x="13128666" y="1904999"/>
                  <a:ext cx="2011680" cy="2011680"/>
                  <a:chOff x="13128666" y="1904999"/>
                  <a:chExt cx="2011680" cy="2011680"/>
                </a:xfrm>
              </p:grpSpPr>
              <p:sp>
                <p:nvSpPr>
                  <p:cNvPr id="178" name="Rectangle 177"/>
                  <p:cNvSpPr/>
                  <p:nvPr/>
                </p:nvSpPr>
                <p:spPr bwMode="auto">
                  <a:xfrm>
                    <a:off x="13128666" y="1904999"/>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Cluster Storage Management</a:t>
                    </a:r>
                  </a:p>
                </p:txBody>
              </p:sp>
              <p:pic>
                <p:nvPicPr>
                  <p:cNvPr id="179" name="Picture 5"/>
                  <p:cNvPicPr>
                    <a:picLocks noChangeAspect="1" noChangeArrowheads="1"/>
                  </p:cNvPicPr>
                  <p:nvPr/>
                </p:nvPicPr>
                <p:blipFill>
                  <a:blip r:embed="rId13" cstate="print">
                    <a:extLst>
                      <a:ext uri="{28A0092B-C50C-407E-A947-70E740481C1C}">
                        <a14:useLocalDpi xmlns:a14="http://schemas.microsoft.com/office/drawing/2010/main" val="0"/>
                      </a:ext>
                    </a:extLst>
                  </a:blip>
                  <a:stretch>
                    <a:fillRect/>
                  </a:stretch>
                </p:blipFill>
                <p:spPr bwMode="auto">
                  <a:xfrm>
                    <a:off x="13247083" y="2034293"/>
                    <a:ext cx="1049312" cy="9755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0" name="TextBox 179"/>
                  <p:cNvSpPr txBox="1"/>
                  <p:nvPr/>
                </p:nvSpPr>
                <p:spPr>
                  <a:xfrm>
                    <a:off x="14789434" y="1904999"/>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7</a:t>
                    </a:r>
                  </a:p>
                </p:txBody>
              </p:sp>
            </p:grpSp>
            <p:grpSp>
              <p:nvGrpSpPr>
                <p:cNvPr id="153" name="Group 152"/>
                <p:cNvGrpSpPr/>
                <p:nvPr/>
              </p:nvGrpSpPr>
              <p:grpSpPr>
                <a:xfrm>
                  <a:off x="11004055" y="1904999"/>
                  <a:ext cx="2011680" cy="2011680"/>
                  <a:chOff x="11001661" y="1904999"/>
                  <a:chExt cx="2011680" cy="2011680"/>
                </a:xfrm>
              </p:grpSpPr>
              <p:sp>
                <p:nvSpPr>
                  <p:cNvPr id="175" name="Rectangle 174"/>
                  <p:cNvSpPr/>
                  <p:nvPr/>
                </p:nvSpPr>
                <p:spPr bwMode="auto">
                  <a:xfrm>
                    <a:off x="11001661" y="1904999"/>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Array Onboarding</a:t>
                    </a:r>
                  </a:p>
                </p:txBody>
              </p:sp>
              <p:pic>
                <p:nvPicPr>
                  <p:cNvPr id="176" name="Picture 175"/>
                  <p:cNvPicPr>
                    <a:picLocks noChangeAspect="1"/>
                  </p:cNvPicPr>
                  <p:nvPr>
                    <p:custDataLst>
                      <p:tags r:id="rId1"/>
                    </p:custDataLst>
                  </p:nvPr>
                </p:nvPicPr>
                <p:blipFill>
                  <a:blip r:embed="rId14">
                    <a:extLst>
                      <a:ext uri="{28A0092B-C50C-407E-A947-70E740481C1C}">
                        <a14:useLocalDpi xmlns:a14="http://schemas.microsoft.com/office/drawing/2010/main" val="0"/>
                      </a:ext>
                    </a:extLst>
                  </a:blip>
                  <a:stretch>
                    <a:fillRect/>
                  </a:stretch>
                </p:blipFill>
                <p:spPr>
                  <a:xfrm>
                    <a:off x="11123743" y="2105711"/>
                    <a:ext cx="710496" cy="875588"/>
                  </a:xfrm>
                  <a:prstGeom prst="rect">
                    <a:avLst/>
                  </a:prstGeom>
                  <a:effectLst/>
                </p:spPr>
              </p:pic>
              <p:sp>
                <p:nvSpPr>
                  <p:cNvPr id="177" name="TextBox 176"/>
                  <p:cNvSpPr txBox="1"/>
                  <p:nvPr/>
                </p:nvSpPr>
                <p:spPr>
                  <a:xfrm>
                    <a:off x="12657826" y="1904999"/>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6</a:t>
                    </a:r>
                  </a:p>
                </p:txBody>
              </p:sp>
            </p:grpSp>
            <p:grpSp>
              <p:nvGrpSpPr>
                <p:cNvPr id="154" name="Group 153"/>
                <p:cNvGrpSpPr/>
                <p:nvPr/>
              </p:nvGrpSpPr>
              <p:grpSpPr>
                <a:xfrm>
                  <a:off x="2505611" y="1904999"/>
                  <a:ext cx="2011680" cy="2011680"/>
                  <a:chOff x="2504440" y="1905000"/>
                  <a:chExt cx="2011680" cy="2011680"/>
                </a:xfrm>
              </p:grpSpPr>
              <p:sp>
                <p:nvSpPr>
                  <p:cNvPr id="172" name="Rectangle 171"/>
                  <p:cNvSpPr/>
                  <p:nvPr/>
                </p:nvSpPr>
                <p:spPr bwMode="auto">
                  <a:xfrm>
                    <a:off x="2504440"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Storage Classification </a:t>
                    </a:r>
                  </a:p>
                </p:txBody>
              </p:sp>
              <p:pic>
                <p:nvPicPr>
                  <p:cNvPr id="173" name="Picture 172"/>
                  <p:cNvPicPr>
                    <a:picLocks/>
                  </p:cNvPicPr>
                  <p:nvPr/>
                </p:nvPicPr>
                <p:blipFill>
                  <a:blip r:embed="rId15">
                    <a:extLst>
                      <a:ext uri="{28A0092B-C50C-407E-A947-70E740481C1C}">
                        <a14:useLocalDpi xmlns:a14="http://schemas.microsoft.com/office/drawing/2010/main" val="0"/>
                      </a:ext>
                    </a:extLst>
                  </a:blip>
                  <a:stretch>
                    <a:fillRect/>
                  </a:stretch>
                </p:blipFill>
                <p:spPr>
                  <a:xfrm>
                    <a:off x="2625747" y="2058657"/>
                    <a:ext cx="693083" cy="926730"/>
                  </a:xfrm>
                  <a:prstGeom prst="rect">
                    <a:avLst/>
                  </a:prstGeom>
                </p:spPr>
              </p:pic>
              <p:sp>
                <p:nvSpPr>
                  <p:cNvPr id="174" name="TextBox 173"/>
                  <p:cNvSpPr txBox="1"/>
                  <p:nvPr/>
                </p:nvSpPr>
                <p:spPr>
                  <a:xfrm>
                    <a:off x="4170996"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2</a:t>
                    </a:r>
                  </a:p>
                </p:txBody>
              </p:sp>
            </p:grpSp>
            <p:grpSp>
              <p:nvGrpSpPr>
                <p:cNvPr id="155" name="Group 154"/>
                <p:cNvGrpSpPr/>
                <p:nvPr/>
              </p:nvGrpSpPr>
              <p:grpSpPr>
                <a:xfrm>
                  <a:off x="381000" y="1904999"/>
                  <a:ext cx="2011680" cy="2020824"/>
                  <a:chOff x="381000" y="1905000"/>
                  <a:chExt cx="2011680" cy="2020824"/>
                </a:xfrm>
              </p:grpSpPr>
              <p:sp>
                <p:nvSpPr>
                  <p:cNvPr id="169" name="Rectangle 168"/>
                  <p:cNvSpPr/>
                  <p:nvPr/>
                </p:nvSpPr>
                <p:spPr bwMode="auto">
                  <a:xfrm>
                    <a:off x="381000" y="1905000"/>
                    <a:ext cx="2011680" cy="2020824"/>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End to End Mapping</a:t>
                    </a:r>
                  </a:p>
                </p:txBody>
              </p:sp>
              <p:sp>
                <p:nvSpPr>
                  <p:cNvPr id="171" name="TextBox 170"/>
                  <p:cNvSpPr txBox="1"/>
                  <p:nvPr/>
                </p:nvSpPr>
                <p:spPr>
                  <a:xfrm>
                    <a:off x="2051561"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1</a:t>
                    </a:r>
                  </a:p>
                </p:txBody>
              </p:sp>
            </p:grpSp>
            <p:grpSp>
              <p:nvGrpSpPr>
                <p:cNvPr id="156" name="Group of Crosshairs" hidden="1"/>
                <p:cNvGrpSpPr/>
                <p:nvPr/>
              </p:nvGrpSpPr>
              <p:grpSpPr>
                <a:xfrm>
                  <a:off x="928053" y="2452052"/>
                  <a:ext cx="24288292" cy="917575"/>
                  <a:chOff x="928053" y="4429828"/>
                  <a:chExt cx="24288292" cy="917575"/>
                </a:xfrm>
              </p:grpSpPr>
              <p:sp>
                <p:nvSpPr>
                  <p:cNvPr id="157" name="Crosshair"/>
                  <p:cNvSpPr>
                    <a:spLocks/>
                  </p:cNvSpPr>
                  <p:nvPr/>
                </p:nvSpPr>
                <p:spPr bwMode="auto">
                  <a:xfrm>
                    <a:off x="928053"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Crosshair"/>
                  <p:cNvSpPr>
                    <a:spLocks/>
                  </p:cNvSpPr>
                  <p:nvPr/>
                </p:nvSpPr>
                <p:spPr bwMode="auto">
                  <a:xfrm>
                    <a:off x="3052664"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Crosshair"/>
                  <p:cNvSpPr>
                    <a:spLocks/>
                  </p:cNvSpPr>
                  <p:nvPr/>
                </p:nvSpPr>
                <p:spPr bwMode="auto">
                  <a:xfrm>
                    <a:off x="5177275"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Crosshair"/>
                  <p:cNvSpPr>
                    <a:spLocks/>
                  </p:cNvSpPr>
                  <p:nvPr/>
                </p:nvSpPr>
                <p:spPr bwMode="auto">
                  <a:xfrm>
                    <a:off x="7301886"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Crosshair"/>
                  <p:cNvSpPr>
                    <a:spLocks/>
                  </p:cNvSpPr>
                  <p:nvPr/>
                </p:nvSpPr>
                <p:spPr bwMode="auto">
                  <a:xfrm>
                    <a:off x="9426497"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Crosshair"/>
                  <p:cNvSpPr>
                    <a:spLocks/>
                  </p:cNvSpPr>
                  <p:nvPr/>
                </p:nvSpPr>
                <p:spPr bwMode="auto">
                  <a:xfrm>
                    <a:off x="11551108"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Crosshair"/>
                  <p:cNvSpPr>
                    <a:spLocks/>
                  </p:cNvSpPr>
                  <p:nvPr/>
                </p:nvSpPr>
                <p:spPr bwMode="auto">
                  <a:xfrm>
                    <a:off x="13675719"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Crosshair"/>
                  <p:cNvSpPr>
                    <a:spLocks/>
                  </p:cNvSpPr>
                  <p:nvPr/>
                </p:nvSpPr>
                <p:spPr bwMode="auto">
                  <a:xfrm>
                    <a:off x="15800330"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Crosshair"/>
                  <p:cNvSpPr>
                    <a:spLocks/>
                  </p:cNvSpPr>
                  <p:nvPr/>
                </p:nvSpPr>
                <p:spPr bwMode="auto">
                  <a:xfrm>
                    <a:off x="17924941"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Crosshair"/>
                  <p:cNvSpPr>
                    <a:spLocks/>
                  </p:cNvSpPr>
                  <p:nvPr/>
                </p:nvSpPr>
                <p:spPr bwMode="auto">
                  <a:xfrm>
                    <a:off x="20049552"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Crosshair"/>
                  <p:cNvSpPr>
                    <a:spLocks/>
                  </p:cNvSpPr>
                  <p:nvPr/>
                </p:nvSpPr>
                <p:spPr bwMode="auto">
                  <a:xfrm>
                    <a:off x="22174163"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Crosshair"/>
                  <p:cNvSpPr>
                    <a:spLocks/>
                  </p:cNvSpPr>
                  <p:nvPr/>
                </p:nvSpPr>
                <p:spPr bwMode="auto">
                  <a:xfrm>
                    <a:off x="24298770"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pic>
            <p:nvPicPr>
              <p:cNvPr id="76" name="Picture 4" descr="\\MAGNUM\Projects\Microsoft\Cloud Power FY12\Design\ICONS_PNG\Check_mark.png"/>
              <p:cNvPicPr>
                <a:picLocks noChangeAspect="1" noChangeArrowheads="1"/>
              </p:cNvPicPr>
              <p:nvPr/>
            </p:nvPicPr>
            <p:blipFill rotWithShape="1">
              <a:blip r:embed="rId16" cstate="print">
                <a:lum bright="100000"/>
              </a:blip>
              <a:srcRect t="11515"/>
              <a:stretch/>
            </p:blipFill>
            <p:spPr bwMode="auto">
              <a:xfrm>
                <a:off x="23849944" y="2024981"/>
                <a:ext cx="1366401" cy="1209050"/>
              </a:xfrm>
              <a:prstGeom prst="rect">
                <a:avLst/>
              </a:prstGeom>
              <a:noFill/>
            </p:spPr>
          </p:pic>
        </p:grpSp>
        <p:sp>
          <p:nvSpPr>
            <p:cNvPr id="74" name="Freeform 84"/>
            <p:cNvSpPr>
              <a:spLocks noEditPoints="1"/>
            </p:cNvSpPr>
            <p:nvPr/>
          </p:nvSpPr>
          <p:spPr bwMode="auto">
            <a:xfrm>
              <a:off x="857440" y="2104814"/>
              <a:ext cx="883431" cy="873907"/>
            </a:xfrm>
            <a:custGeom>
              <a:avLst/>
              <a:gdLst>
                <a:gd name="T0" fmla="*/ 314 w 314"/>
                <a:gd name="T1" fmla="*/ 301 h 311"/>
                <a:gd name="T2" fmla="*/ 189 w 314"/>
                <a:gd name="T3" fmla="*/ 176 h 311"/>
                <a:gd name="T4" fmla="*/ 214 w 314"/>
                <a:gd name="T5" fmla="*/ 107 h 311"/>
                <a:gd name="T6" fmla="*/ 107 w 314"/>
                <a:gd name="T7" fmla="*/ 0 h 311"/>
                <a:gd name="T8" fmla="*/ 0 w 314"/>
                <a:gd name="T9" fmla="*/ 107 h 311"/>
                <a:gd name="T10" fmla="*/ 107 w 314"/>
                <a:gd name="T11" fmla="*/ 215 h 311"/>
                <a:gd name="T12" fmla="*/ 179 w 314"/>
                <a:gd name="T13" fmla="*/ 186 h 311"/>
                <a:gd name="T14" fmla="*/ 304 w 314"/>
                <a:gd name="T15" fmla="*/ 311 h 311"/>
                <a:gd name="T16" fmla="*/ 314 w 314"/>
                <a:gd name="T17" fmla="*/ 301 h 311"/>
                <a:gd name="T18" fmla="*/ 107 w 314"/>
                <a:gd name="T19" fmla="*/ 200 h 311"/>
                <a:gd name="T20" fmla="*/ 14 w 314"/>
                <a:gd name="T21" fmla="*/ 107 h 311"/>
                <a:gd name="T22" fmla="*/ 107 w 314"/>
                <a:gd name="T23" fmla="*/ 15 h 311"/>
                <a:gd name="T24" fmla="*/ 199 w 314"/>
                <a:gd name="T25" fmla="*/ 107 h 311"/>
                <a:gd name="T26" fmla="*/ 107 w 314"/>
                <a:gd name="T27" fmla="*/ 20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4" h="311">
                  <a:moveTo>
                    <a:pt x="314" y="301"/>
                  </a:moveTo>
                  <a:cubicBezTo>
                    <a:pt x="189" y="176"/>
                    <a:pt x="189" y="176"/>
                    <a:pt x="189" y="176"/>
                  </a:cubicBezTo>
                  <a:cubicBezTo>
                    <a:pt x="205" y="157"/>
                    <a:pt x="214" y="133"/>
                    <a:pt x="214" y="107"/>
                  </a:cubicBezTo>
                  <a:cubicBezTo>
                    <a:pt x="214" y="48"/>
                    <a:pt x="166" y="0"/>
                    <a:pt x="107" y="0"/>
                  </a:cubicBezTo>
                  <a:cubicBezTo>
                    <a:pt x="48" y="0"/>
                    <a:pt x="0" y="48"/>
                    <a:pt x="0" y="107"/>
                  </a:cubicBezTo>
                  <a:cubicBezTo>
                    <a:pt x="0" y="167"/>
                    <a:pt x="48" y="215"/>
                    <a:pt x="107" y="215"/>
                  </a:cubicBezTo>
                  <a:cubicBezTo>
                    <a:pt x="135" y="215"/>
                    <a:pt x="160" y="204"/>
                    <a:pt x="179" y="186"/>
                  </a:cubicBezTo>
                  <a:cubicBezTo>
                    <a:pt x="304" y="311"/>
                    <a:pt x="304" y="311"/>
                    <a:pt x="304" y="311"/>
                  </a:cubicBezTo>
                  <a:lnTo>
                    <a:pt x="314" y="301"/>
                  </a:lnTo>
                  <a:close/>
                  <a:moveTo>
                    <a:pt x="107" y="200"/>
                  </a:moveTo>
                  <a:cubicBezTo>
                    <a:pt x="56" y="200"/>
                    <a:pt x="14" y="158"/>
                    <a:pt x="14" y="107"/>
                  </a:cubicBezTo>
                  <a:cubicBezTo>
                    <a:pt x="14" y="57"/>
                    <a:pt x="56" y="15"/>
                    <a:pt x="107" y="15"/>
                  </a:cubicBezTo>
                  <a:cubicBezTo>
                    <a:pt x="158" y="15"/>
                    <a:pt x="199" y="57"/>
                    <a:pt x="199" y="107"/>
                  </a:cubicBezTo>
                  <a:cubicBezTo>
                    <a:pt x="199" y="158"/>
                    <a:pt x="158" y="200"/>
                    <a:pt x="107" y="20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37" name="Rectangle 136"/>
          <p:cNvSpPr/>
          <p:nvPr/>
        </p:nvSpPr>
        <p:spPr bwMode="auto">
          <a:xfrm>
            <a:off x="376306" y="4119185"/>
            <a:ext cx="8372207" cy="478578"/>
          </a:xfrm>
          <a:prstGeom prst="rect">
            <a:avLst/>
          </a:prstGeom>
          <a:solidFill>
            <a:schemeClr val="accent5"/>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defTabSz="685637" fontAlgn="base">
              <a:spcBef>
                <a:spcPct val="0"/>
              </a:spcBef>
              <a:spcAft>
                <a:spcPct val="0"/>
              </a:spcAft>
            </a:pPr>
            <a:r>
              <a:rPr lang="en-US" sz="2100" dirty="0">
                <a:solidFill>
                  <a:schemeClr val="tx1"/>
                </a:solidFill>
              </a:rPr>
              <a:t>Correlation - Block and File Storage to Host Storage</a:t>
            </a:r>
          </a:p>
        </p:txBody>
      </p:sp>
      <p:sp>
        <p:nvSpPr>
          <p:cNvPr id="71" name="Rectangle 70"/>
          <p:cNvSpPr/>
          <p:nvPr/>
        </p:nvSpPr>
        <p:spPr bwMode="auto">
          <a:xfrm>
            <a:off x="378654" y="3552457"/>
            <a:ext cx="8372207" cy="467390"/>
          </a:xfrm>
          <a:prstGeom prst="rect">
            <a:avLst/>
          </a:prstGeom>
          <a:solidFill>
            <a:schemeClr val="accent5"/>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defTabSz="685637" fontAlgn="base">
              <a:spcBef>
                <a:spcPct val="0"/>
              </a:spcBef>
              <a:spcAft>
                <a:spcPct val="0"/>
              </a:spcAft>
            </a:pPr>
            <a:r>
              <a:rPr lang="en-US" sz="2100" dirty="0">
                <a:solidFill>
                  <a:schemeClr val="tx1"/>
                </a:solidFill>
              </a:rPr>
              <a:t>Host Storage – Disk, volume, initiator port, virtual disk</a:t>
            </a:r>
          </a:p>
        </p:txBody>
      </p:sp>
      <p:sp>
        <p:nvSpPr>
          <p:cNvPr id="72" name="Rectangle 71"/>
          <p:cNvSpPr/>
          <p:nvPr/>
        </p:nvSpPr>
        <p:spPr bwMode="auto">
          <a:xfrm>
            <a:off x="376306" y="3017525"/>
            <a:ext cx="8372207" cy="453683"/>
          </a:xfrm>
          <a:prstGeom prst="rect">
            <a:avLst/>
          </a:prstGeom>
          <a:solidFill>
            <a:schemeClr val="accent5"/>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defTabSz="685637" fontAlgn="base">
              <a:spcBef>
                <a:spcPct val="0"/>
              </a:spcBef>
              <a:spcAft>
                <a:spcPct val="0"/>
              </a:spcAft>
            </a:pPr>
            <a:r>
              <a:rPr lang="en-US" sz="2100" dirty="0">
                <a:solidFill>
                  <a:schemeClr val="tx1"/>
                </a:solidFill>
              </a:rPr>
              <a:t>Block and File Storage – Array, pool, logical unit, file server, file share</a:t>
            </a:r>
          </a:p>
        </p:txBody>
      </p:sp>
      <p:sp>
        <p:nvSpPr>
          <p:cNvPr id="3" name="Title 2"/>
          <p:cNvSpPr>
            <a:spLocks noGrp="1"/>
          </p:cNvSpPr>
          <p:nvPr>
            <p:ph type="title"/>
          </p:nvPr>
        </p:nvSpPr>
        <p:spPr>
          <a:xfrm>
            <a:off x="389436" y="171451"/>
            <a:ext cx="8363938" cy="457049"/>
          </a:xfrm>
        </p:spPr>
        <p:txBody>
          <a:bodyPr/>
          <a:lstStyle/>
          <a:p>
            <a:r>
              <a:rPr lang="en-US" dirty="0"/>
              <a:t>The Fantastic 12 of</a:t>
            </a:r>
          </a:p>
        </p:txBody>
      </p:sp>
      <p:pic>
        <p:nvPicPr>
          <p:cNvPr id="75" name="Picture 2" descr="\\eventsql\dvd\Online_ART\DVD_ART36\Logos\System Center Virtual Machine Manager 2008 R2\system center virtual machine manager 2008 r2 h rev.png"/>
          <p:cNvPicPr>
            <a:picLocks noChangeAspect="1" noChangeArrowheads="1"/>
          </p:cNvPicPr>
          <p:nvPr/>
        </p:nvPicPr>
        <p:blipFill rotWithShape="1">
          <a:blip r:embed="rId17">
            <a:extLst>
              <a:ext uri="{28A0092B-C50C-407E-A947-70E740481C1C}">
                <a14:useLocalDpi xmlns:a14="http://schemas.microsoft.com/office/drawing/2010/main" val="0"/>
              </a:ext>
            </a:extLst>
          </a:blip>
          <a:srcRect r="16495"/>
          <a:stretch/>
        </p:blipFill>
        <p:spPr bwMode="auto">
          <a:xfrm>
            <a:off x="4300244" y="139992"/>
            <a:ext cx="3072835" cy="777872"/>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p:cNvGrpSpPr/>
          <p:nvPr/>
        </p:nvGrpSpPr>
        <p:grpSpPr>
          <a:xfrm>
            <a:off x="376303" y="1430417"/>
            <a:ext cx="2011680" cy="1508760"/>
            <a:chOff x="501606" y="1907223"/>
            <a:chExt cx="2681542" cy="2011680"/>
          </a:xfrm>
        </p:grpSpPr>
        <p:grpSp>
          <p:nvGrpSpPr>
            <p:cNvPr id="78" name="Group 77"/>
            <p:cNvGrpSpPr/>
            <p:nvPr/>
          </p:nvGrpSpPr>
          <p:grpSpPr>
            <a:xfrm>
              <a:off x="501606" y="1907223"/>
              <a:ext cx="2681542" cy="2011680"/>
              <a:chOff x="381000" y="1905000"/>
              <a:chExt cx="2011680" cy="2011680"/>
            </a:xfrm>
            <a:solidFill>
              <a:schemeClr val="tx2">
                <a:lumMod val="75000"/>
              </a:schemeClr>
            </a:solidFill>
          </p:grpSpPr>
          <p:sp>
            <p:nvSpPr>
              <p:cNvPr id="79" name="Rectangle 78"/>
              <p:cNvSpPr/>
              <p:nvPr/>
            </p:nvSpPr>
            <p:spPr bwMode="auto">
              <a:xfrm>
                <a:off x="381000" y="1905000"/>
                <a:ext cx="2011680" cy="2011680"/>
              </a:xfrm>
              <a:prstGeom prst="rect">
                <a:avLst/>
              </a:prstGeom>
              <a:solidFill>
                <a:schemeClr val="accent5"/>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End to End Mapping </a:t>
                </a:r>
              </a:p>
            </p:txBody>
          </p:sp>
          <p:sp>
            <p:nvSpPr>
              <p:cNvPr id="80" name="TextBox 79"/>
              <p:cNvSpPr txBox="1"/>
              <p:nvPr/>
            </p:nvSpPr>
            <p:spPr>
              <a:xfrm>
                <a:off x="2051561" y="1905000"/>
                <a:ext cx="267381" cy="615553"/>
              </a:xfrm>
              <a:prstGeom prst="rect">
                <a:avLst/>
              </a:prstGeom>
              <a:solidFill>
                <a:schemeClr val="accent5"/>
              </a:solidFill>
            </p:spPr>
            <p:txBody>
              <a:bodyPr wrap="none" lIns="0" tIns="0" rIns="45720" bIns="0" rtlCol="0">
                <a:spAutoFit/>
              </a:bodyPr>
              <a:lstStyle/>
              <a:p>
                <a:r>
                  <a:rPr lang="en-US" sz="3000" b="1" dirty="0">
                    <a:gradFill>
                      <a:gsLst>
                        <a:gs pos="0">
                          <a:schemeClr val="accent5">
                            <a:lumMod val="60000"/>
                            <a:lumOff val="40000"/>
                          </a:schemeClr>
                        </a:gs>
                        <a:gs pos="86000">
                          <a:schemeClr val="accent5">
                            <a:lumMod val="60000"/>
                            <a:lumOff val="40000"/>
                          </a:schemeClr>
                        </a:gs>
                      </a:gsLst>
                      <a:lin ang="5400000" scaled="0"/>
                    </a:gradFill>
                  </a:rPr>
                  <a:t>1</a:t>
                </a:r>
              </a:p>
            </p:txBody>
          </p:sp>
        </p:grpSp>
        <p:sp>
          <p:nvSpPr>
            <p:cNvPr id="77" name="Freeform 84"/>
            <p:cNvSpPr>
              <a:spLocks noEditPoints="1"/>
            </p:cNvSpPr>
            <p:nvPr/>
          </p:nvSpPr>
          <p:spPr bwMode="auto">
            <a:xfrm>
              <a:off x="1009840" y="2257214"/>
              <a:ext cx="883431" cy="873907"/>
            </a:xfrm>
            <a:custGeom>
              <a:avLst/>
              <a:gdLst>
                <a:gd name="T0" fmla="*/ 314 w 314"/>
                <a:gd name="T1" fmla="*/ 301 h 311"/>
                <a:gd name="T2" fmla="*/ 189 w 314"/>
                <a:gd name="T3" fmla="*/ 176 h 311"/>
                <a:gd name="T4" fmla="*/ 214 w 314"/>
                <a:gd name="T5" fmla="*/ 107 h 311"/>
                <a:gd name="T6" fmla="*/ 107 w 314"/>
                <a:gd name="T7" fmla="*/ 0 h 311"/>
                <a:gd name="T8" fmla="*/ 0 w 314"/>
                <a:gd name="T9" fmla="*/ 107 h 311"/>
                <a:gd name="T10" fmla="*/ 107 w 314"/>
                <a:gd name="T11" fmla="*/ 215 h 311"/>
                <a:gd name="T12" fmla="*/ 179 w 314"/>
                <a:gd name="T13" fmla="*/ 186 h 311"/>
                <a:gd name="T14" fmla="*/ 304 w 314"/>
                <a:gd name="T15" fmla="*/ 311 h 311"/>
                <a:gd name="T16" fmla="*/ 314 w 314"/>
                <a:gd name="T17" fmla="*/ 301 h 311"/>
                <a:gd name="T18" fmla="*/ 107 w 314"/>
                <a:gd name="T19" fmla="*/ 200 h 311"/>
                <a:gd name="T20" fmla="*/ 14 w 314"/>
                <a:gd name="T21" fmla="*/ 107 h 311"/>
                <a:gd name="T22" fmla="*/ 107 w 314"/>
                <a:gd name="T23" fmla="*/ 15 h 311"/>
                <a:gd name="T24" fmla="*/ 199 w 314"/>
                <a:gd name="T25" fmla="*/ 107 h 311"/>
                <a:gd name="T26" fmla="*/ 107 w 314"/>
                <a:gd name="T27" fmla="*/ 20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4" h="311">
                  <a:moveTo>
                    <a:pt x="314" y="301"/>
                  </a:moveTo>
                  <a:cubicBezTo>
                    <a:pt x="189" y="176"/>
                    <a:pt x="189" y="176"/>
                    <a:pt x="189" y="176"/>
                  </a:cubicBezTo>
                  <a:cubicBezTo>
                    <a:pt x="205" y="157"/>
                    <a:pt x="214" y="133"/>
                    <a:pt x="214" y="107"/>
                  </a:cubicBezTo>
                  <a:cubicBezTo>
                    <a:pt x="214" y="48"/>
                    <a:pt x="166" y="0"/>
                    <a:pt x="107" y="0"/>
                  </a:cubicBezTo>
                  <a:cubicBezTo>
                    <a:pt x="48" y="0"/>
                    <a:pt x="0" y="48"/>
                    <a:pt x="0" y="107"/>
                  </a:cubicBezTo>
                  <a:cubicBezTo>
                    <a:pt x="0" y="167"/>
                    <a:pt x="48" y="215"/>
                    <a:pt x="107" y="215"/>
                  </a:cubicBezTo>
                  <a:cubicBezTo>
                    <a:pt x="135" y="215"/>
                    <a:pt x="160" y="204"/>
                    <a:pt x="179" y="186"/>
                  </a:cubicBezTo>
                  <a:cubicBezTo>
                    <a:pt x="304" y="311"/>
                    <a:pt x="304" y="311"/>
                    <a:pt x="304" y="311"/>
                  </a:cubicBezTo>
                  <a:lnTo>
                    <a:pt x="314" y="301"/>
                  </a:lnTo>
                  <a:close/>
                  <a:moveTo>
                    <a:pt x="107" y="200"/>
                  </a:moveTo>
                  <a:cubicBezTo>
                    <a:pt x="56" y="200"/>
                    <a:pt x="14" y="158"/>
                    <a:pt x="14" y="107"/>
                  </a:cubicBezTo>
                  <a:cubicBezTo>
                    <a:pt x="14" y="57"/>
                    <a:pt x="56" y="15"/>
                    <a:pt x="107" y="15"/>
                  </a:cubicBezTo>
                  <a:cubicBezTo>
                    <a:pt x="158" y="15"/>
                    <a:pt x="199" y="57"/>
                    <a:pt x="199" y="107"/>
                  </a:cubicBezTo>
                  <a:cubicBezTo>
                    <a:pt x="199" y="158"/>
                    <a:pt x="158" y="200"/>
                    <a:pt x="107" y="20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81"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82"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8"/>
              </a:rPr>
              <a:t>www.rapidbbs.cn</a:t>
            </a:r>
            <a:endParaRPr lang="zh-CN" altLang="en-US" sz="1200" b="0">
              <a:latin typeface="Arial" charset="0"/>
              <a:ea typeface="ＭＳ Ｐゴシック" pitchFamily="34" charset="-128"/>
            </a:endParaRPr>
          </a:p>
        </p:txBody>
      </p:sp>
      <p:pic>
        <p:nvPicPr>
          <p:cNvPr id="83" name="Picture 2">
            <a:hlinkClick r:id="rId18"/>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4577387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500" fill="hold"/>
                                        <p:tgtEl>
                                          <p:spTgt spid="4"/>
                                        </p:tgtEl>
                                        <p:attrNameLst>
                                          <p:attrName>ppt_x</p:attrName>
                                        </p:attrNameLst>
                                      </p:cBhvr>
                                      <p:tavLst>
                                        <p:tav tm="0">
                                          <p:val>
                                            <p:strVal val="1+#ppt_w/2"/>
                                          </p:val>
                                        </p:tav>
                                        <p:tav tm="100000">
                                          <p:val>
                                            <p:strVal val="#ppt_x"/>
                                          </p:val>
                                        </p:tav>
                                      </p:tavLst>
                                    </p:anim>
                                    <p:anim calcmode="lin" valueType="num">
                                      <p:cBhvr additive="base">
                                        <p:cTn id="8" dur="15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1500"/>
                            </p:stCondLst>
                            <p:childTnLst>
                              <p:par>
                                <p:cTn id="10" presetID="22" presetClass="entr" presetSubtype="4" fill="hold" nodeType="after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wipe(down)">
                                      <p:cBhvr>
                                        <p:cTn id="12" dur="500"/>
                                        <p:tgtEl>
                                          <p:spTgt spid="5"/>
                                        </p:tgtEl>
                                      </p:cBhvr>
                                    </p:animEffect>
                                  </p:childTnLst>
                                </p:cTn>
                              </p:par>
                              <p:par>
                                <p:cTn id="13" presetID="2" presetClass="entr" presetSubtype="2" fill="hold" grpId="0" nodeType="withEffect">
                                  <p:stCondLst>
                                    <p:cond delay="0"/>
                                  </p:stCondLst>
                                  <p:childTnLst>
                                    <p:set>
                                      <p:cBhvr>
                                        <p:cTn id="14" dur="1" fill="hold">
                                          <p:stCondLst>
                                            <p:cond delay="0"/>
                                          </p:stCondLst>
                                        </p:cTn>
                                        <p:tgtEl>
                                          <p:spTgt spid="72"/>
                                        </p:tgtEl>
                                        <p:attrNameLst>
                                          <p:attrName>style.visibility</p:attrName>
                                        </p:attrNameLst>
                                      </p:cBhvr>
                                      <p:to>
                                        <p:strVal val="visible"/>
                                      </p:to>
                                    </p:set>
                                    <p:anim calcmode="lin" valueType="num">
                                      <p:cBhvr additive="base">
                                        <p:cTn id="15" dur="1000" fill="hold"/>
                                        <p:tgtEl>
                                          <p:spTgt spid="72"/>
                                        </p:tgtEl>
                                        <p:attrNameLst>
                                          <p:attrName>ppt_x</p:attrName>
                                        </p:attrNameLst>
                                      </p:cBhvr>
                                      <p:tavLst>
                                        <p:tav tm="0">
                                          <p:val>
                                            <p:strVal val="1+#ppt_w/2"/>
                                          </p:val>
                                        </p:tav>
                                        <p:tav tm="100000">
                                          <p:val>
                                            <p:strVal val="#ppt_x"/>
                                          </p:val>
                                        </p:tav>
                                      </p:tavLst>
                                    </p:anim>
                                    <p:anim calcmode="lin" valueType="num">
                                      <p:cBhvr additive="base">
                                        <p:cTn id="16" dur="1000" fill="hold"/>
                                        <p:tgtEl>
                                          <p:spTgt spid="72"/>
                                        </p:tgtEl>
                                        <p:attrNameLst>
                                          <p:attrName>ppt_y</p:attrName>
                                        </p:attrNameLst>
                                      </p:cBhvr>
                                      <p:tavLst>
                                        <p:tav tm="0">
                                          <p:val>
                                            <p:strVal val="#ppt_y"/>
                                          </p:val>
                                        </p:tav>
                                        <p:tav tm="100000">
                                          <p:val>
                                            <p:strVal val="#ppt_y"/>
                                          </p:val>
                                        </p:tav>
                                      </p:tavLst>
                                    </p:anim>
                                  </p:childTnLst>
                                </p:cTn>
                              </p:par>
                              <p:par>
                                <p:cTn id="17" presetID="2" presetClass="entr" presetSubtype="2" fill="hold" grpId="0" nodeType="withEffect">
                                  <p:stCondLst>
                                    <p:cond delay="250"/>
                                  </p:stCondLst>
                                  <p:childTnLst>
                                    <p:set>
                                      <p:cBhvr>
                                        <p:cTn id="18" dur="1" fill="hold">
                                          <p:stCondLst>
                                            <p:cond delay="0"/>
                                          </p:stCondLst>
                                        </p:cTn>
                                        <p:tgtEl>
                                          <p:spTgt spid="71"/>
                                        </p:tgtEl>
                                        <p:attrNameLst>
                                          <p:attrName>style.visibility</p:attrName>
                                        </p:attrNameLst>
                                      </p:cBhvr>
                                      <p:to>
                                        <p:strVal val="visible"/>
                                      </p:to>
                                    </p:set>
                                    <p:anim calcmode="lin" valueType="num">
                                      <p:cBhvr additive="base">
                                        <p:cTn id="19" dur="1000" fill="hold"/>
                                        <p:tgtEl>
                                          <p:spTgt spid="71"/>
                                        </p:tgtEl>
                                        <p:attrNameLst>
                                          <p:attrName>ppt_x</p:attrName>
                                        </p:attrNameLst>
                                      </p:cBhvr>
                                      <p:tavLst>
                                        <p:tav tm="0">
                                          <p:val>
                                            <p:strVal val="1+#ppt_w/2"/>
                                          </p:val>
                                        </p:tav>
                                        <p:tav tm="100000">
                                          <p:val>
                                            <p:strVal val="#ppt_x"/>
                                          </p:val>
                                        </p:tav>
                                      </p:tavLst>
                                    </p:anim>
                                    <p:anim calcmode="lin" valueType="num">
                                      <p:cBhvr additive="base">
                                        <p:cTn id="20" dur="1000" fill="hold"/>
                                        <p:tgtEl>
                                          <p:spTgt spid="71"/>
                                        </p:tgtEl>
                                        <p:attrNameLst>
                                          <p:attrName>ppt_y</p:attrName>
                                        </p:attrNameLst>
                                      </p:cBhvr>
                                      <p:tavLst>
                                        <p:tav tm="0">
                                          <p:val>
                                            <p:strVal val="#ppt_y"/>
                                          </p:val>
                                        </p:tav>
                                        <p:tav tm="100000">
                                          <p:val>
                                            <p:strVal val="#ppt_y"/>
                                          </p:val>
                                        </p:tav>
                                      </p:tavLst>
                                    </p:anim>
                                  </p:childTnLst>
                                </p:cTn>
                              </p:par>
                              <p:par>
                                <p:cTn id="21" presetID="2" presetClass="entr" presetSubtype="2" fill="hold" grpId="0" nodeType="withEffect">
                                  <p:stCondLst>
                                    <p:cond delay="750"/>
                                  </p:stCondLst>
                                  <p:childTnLst>
                                    <p:set>
                                      <p:cBhvr>
                                        <p:cTn id="22" dur="1" fill="hold">
                                          <p:stCondLst>
                                            <p:cond delay="0"/>
                                          </p:stCondLst>
                                        </p:cTn>
                                        <p:tgtEl>
                                          <p:spTgt spid="137"/>
                                        </p:tgtEl>
                                        <p:attrNameLst>
                                          <p:attrName>style.visibility</p:attrName>
                                        </p:attrNameLst>
                                      </p:cBhvr>
                                      <p:to>
                                        <p:strVal val="visible"/>
                                      </p:to>
                                    </p:set>
                                    <p:anim calcmode="lin" valueType="num">
                                      <p:cBhvr additive="base">
                                        <p:cTn id="23" dur="1000" fill="hold"/>
                                        <p:tgtEl>
                                          <p:spTgt spid="137"/>
                                        </p:tgtEl>
                                        <p:attrNameLst>
                                          <p:attrName>ppt_x</p:attrName>
                                        </p:attrNameLst>
                                      </p:cBhvr>
                                      <p:tavLst>
                                        <p:tav tm="0">
                                          <p:val>
                                            <p:strVal val="1+#ppt_w/2"/>
                                          </p:val>
                                        </p:tav>
                                        <p:tav tm="100000">
                                          <p:val>
                                            <p:strVal val="#ppt_x"/>
                                          </p:val>
                                        </p:tav>
                                      </p:tavLst>
                                    </p:anim>
                                    <p:anim calcmode="lin" valueType="num">
                                      <p:cBhvr additive="base">
                                        <p:cTn id="24" dur="1000" fill="hold"/>
                                        <p:tgtEl>
                                          <p:spTgt spid="13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7" grpId="0" animBg="1"/>
      <p:bldP spid="71" grpId="0" animBg="1"/>
      <p:bldP spid="72" grpId="0" animBg="1"/>
    </p:bld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he Fantastic 12 of</a:t>
            </a:r>
          </a:p>
        </p:txBody>
      </p:sp>
      <p:grpSp>
        <p:nvGrpSpPr>
          <p:cNvPr id="21" name="Group 20"/>
          <p:cNvGrpSpPr/>
          <p:nvPr/>
        </p:nvGrpSpPr>
        <p:grpSpPr>
          <a:xfrm>
            <a:off x="381006" y="1440574"/>
            <a:ext cx="25382397" cy="1508760"/>
            <a:chOff x="381000" y="1904999"/>
            <a:chExt cx="25382397" cy="2011680"/>
          </a:xfrm>
        </p:grpSpPr>
        <p:grpSp>
          <p:nvGrpSpPr>
            <p:cNvPr id="24" name="Group 23"/>
            <p:cNvGrpSpPr/>
            <p:nvPr/>
          </p:nvGrpSpPr>
          <p:grpSpPr>
            <a:xfrm>
              <a:off x="23751717" y="1904999"/>
              <a:ext cx="2011680" cy="2011680"/>
              <a:chOff x="23751717" y="1905000"/>
              <a:chExt cx="2011680" cy="2011680"/>
            </a:xfrm>
          </p:grpSpPr>
          <p:sp>
            <p:nvSpPr>
              <p:cNvPr id="89" name="Rectangle 88"/>
              <p:cNvSpPr/>
              <p:nvPr/>
            </p:nvSpPr>
            <p:spPr bwMode="auto">
              <a:xfrm>
                <a:off x="23751717"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 </a:t>
                </a:r>
                <a:br>
                  <a:rPr lang="en-US" sz="1500" dirty="0">
                    <a:gradFill>
                      <a:gsLst>
                        <a:gs pos="0">
                          <a:srgbClr val="FFFFFF"/>
                        </a:gs>
                        <a:gs pos="100000">
                          <a:srgbClr val="FFFFFF"/>
                        </a:gs>
                      </a:gsLst>
                      <a:lin ang="5400000" scaled="0"/>
                    </a:gradFill>
                  </a:rPr>
                </a:br>
                <a:r>
                  <a:rPr lang="en-US" sz="1500" dirty="0">
                    <a:gradFill>
                      <a:gsLst>
                        <a:gs pos="0">
                          <a:srgbClr val="FFFFFF"/>
                        </a:gs>
                        <a:gs pos="100000">
                          <a:srgbClr val="FFFFFF"/>
                        </a:gs>
                      </a:gsLst>
                      <a:lin ang="5400000" scaled="0"/>
                    </a:gradFill>
                  </a:rPr>
                  <a:t>Validation</a:t>
                </a:r>
              </a:p>
            </p:txBody>
          </p:sp>
          <p:pic>
            <p:nvPicPr>
              <p:cNvPr id="90" name="Picture 147"/>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3834789" y="2130724"/>
                <a:ext cx="1382850" cy="8242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1" name="TextBox 90"/>
              <p:cNvSpPr txBox="1"/>
              <p:nvPr/>
            </p:nvSpPr>
            <p:spPr>
              <a:xfrm>
                <a:off x="25111146" y="1905000"/>
                <a:ext cx="488595"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12</a:t>
                </a:r>
              </a:p>
            </p:txBody>
          </p:sp>
        </p:grpSp>
        <p:grpSp>
          <p:nvGrpSpPr>
            <p:cNvPr id="26" name="Group 25"/>
            <p:cNvGrpSpPr/>
            <p:nvPr/>
          </p:nvGrpSpPr>
          <p:grpSpPr>
            <a:xfrm>
              <a:off x="21627110" y="1904999"/>
              <a:ext cx="2011680" cy="2011680"/>
              <a:chOff x="21628277" y="1905000"/>
              <a:chExt cx="2011680" cy="2011680"/>
            </a:xfrm>
          </p:grpSpPr>
          <p:sp>
            <p:nvSpPr>
              <p:cNvPr id="86" name="Rectangle 85"/>
              <p:cNvSpPr/>
              <p:nvPr/>
            </p:nvSpPr>
            <p:spPr bwMode="auto">
              <a:xfrm>
                <a:off x="21628277"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Standards Based Management </a:t>
                </a:r>
              </a:p>
            </p:txBody>
          </p:sp>
          <p:pic>
            <p:nvPicPr>
              <p:cNvPr id="87" name="Picture 3" descr="\\SFP\Work\White_Whale\3-22036_Kuleen_Bharadwaj\PPT\3_PlatformVision_Kuleen\SFP_Art\Plane Slide\mon_notie.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1734293" y="2102691"/>
                <a:ext cx="780649" cy="915763"/>
              </a:xfrm>
              <a:prstGeom prst="rect">
                <a:avLst/>
              </a:prstGeom>
              <a:noFill/>
              <a:extLst>
                <a:ext uri="{909E8E84-426E-40DD-AFC4-6F175D3DCCD1}">
                  <a14:hiddenFill xmlns:a14="http://schemas.microsoft.com/office/drawing/2010/main">
                    <a:solidFill>
                      <a:srgbClr val="FFFFFF"/>
                    </a:solidFill>
                  </a14:hiddenFill>
                </a:ext>
              </a:extLst>
            </p:spPr>
          </p:pic>
          <p:sp>
            <p:nvSpPr>
              <p:cNvPr id="88" name="TextBox 87"/>
              <p:cNvSpPr txBox="1"/>
              <p:nvPr/>
            </p:nvSpPr>
            <p:spPr>
              <a:xfrm>
                <a:off x="22993494" y="1905000"/>
                <a:ext cx="488595"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11</a:t>
                </a:r>
              </a:p>
            </p:txBody>
          </p:sp>
        </p:grpSp>
        <p:grpSp>
          <p:nvGrpSpPr>
            <p:cNvPr id="27" name="Group 26"/>
            <p:cNvGrpSpPr/>
            <p:nvPr/>
          </p:nvGrpSpPr>
          <p:grpSpPr>
            <a:xfrm>
              <a:off x="19502499" y="1904999"/>
              <a:ext cx="2011680" cy="2011680"/>
              <a:chOff x="19504837" y="1905000"/>
              <a:chExt cx="2011680" cy="2011680"/>
            </a:xfrm>
          </p:grpSpPr>
          <p:sp>
            <p:nvSpPr>
              <p:cNvPr id="83" name="Rectangle 82"/>
              <p:cNvSpPr/>
              <p:nvPr/>
            </p:nvSpPr>
            <p:spPr bwMode="auto">
              <a:xfrm>
                <a:off x="19504837"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Extensive Array Support </a:t>
                </a:r>
              </a:p>
            </p:txBody>
          </p:sp>
          <p:pic>
            <p:nvPicPr>
              <p:cNvPr id="84" name="Picture 7" descr="\\MAGNUM\Projects\Microsoft\Cloud Power FY12\Design\ICONS_PNG\Physical_Virtual.png"/>
              <p:cNvPicPr>
                <a:picLocks noChangeAspect="1" noChangeArrowheads="1"/>
              </p:cNvPicPr>
              <p:nvPr/>
            </p:nvPicPr>
            <p:blipFill rotWithShape="1">
              <a:blip r:embed="rId7" cstate="print">
                <a:extLst>
                  <a:ext uri="{BEBA8EAE-BF5A-486C-A8C5-ECC9F3942E4B}">
                    <a14:imgProps xmlns:a14="http://schemas.microsoft.com/office/drawing/2010/main">
                      <a14:imgLayer r:embed="rId8">
                        <a14:imgEffect>
                          <a14:brightnessContrast bright="100000"/>
                        </a14:imgEffect>
                      </a14:imgLayer>
                    </a14:imgProps>
                  </a:ext>
                </a:extLst>
              </a:blip>
              <a:srcRect l="7856" t="39072" r="7907" b="5885"/>
              <a:stretch/>
            </p:blipFill>
            <p:spPr bwMode="auto">
              <a:xfrm>
                <a:off x="19529881" y="2070341"/>
                <a:ext cx="1472548" cy="962205"/>
              </a:xfrm>
              <a:prstGeom prst="rect">
                <a:avLst/>
              </a:prstGeom>
              <a:noFill/>
            </p:spPr>
          </p:pic>
          <p:sp>
            <p:nvSpPr>
              <p:cNvPr id="85" name="TextBox 84"/>
              <p:cNvSpPr txBox="1"/>
              <p:nvPr/>
            </p:nvSpPr>
            <p:spPr>
              <a:xfrm>
                <a:off x="20870054" y="1905000"/>
                <a:ext cx="488595"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10</a:t>
                </a:r>
              </a:p>
            </p:txBody>
          </p:sp>
        </p:grpSp>
        <p:grpSp>
          <p:nvGrpSpPr>
            <p:cNvPr id="28" name="Group 27"/>
            <p:cNvGrpSpPr/>
            <p:nvPr/>
          </p:nvGrpSpPr>
          <p:grpSpPr>
            <a:xfrm>
              <a:off x="17377888" y="1904999"/>
              <a:ext cx="2011680" cy="2011680"/>
              <a:chOff x="17381397" y="1905000"/>
              <a:chExt cx="2011680" cy="2011680"/>
            </a:xfrm>
          </p:grpSpPr>
          <p:sp>
            <p:nvSpPr>
              <p:cNvPr id="80" name="Rectangle 79"/>
              <p:cNvSpPr/>
              <p:nvPr/>
            </p:nvSpPr>
            <p:spPr bwMode="auto">
              <a:xfrm>
                <a:off x="17381397"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Scalable Provisioning</a:t>
                </a:r>
                <a:br>
                  <a:rPr lang="en-US" sz="1500" dirty="0">
                    <a:gradFill>
                      <a:gsLst>
                        <a:gs pos="0">
                          <a:srgbClr val="FFFFFF"/>
                        </a:gs>
                        <a:gs pos="100000">
                          <a:srgbClr val="FFFFFF"/>
                        </a:gs>
                      </a:gsLst>
                      <a:lin ang="5400000" scaled="0"/>
                    </a:gradFill>
                  </a:rPr>
                </a:br>
                <a:r>
                  <a:rPr lang="en-US" sz="1500" dirty="0">
                    <a:gradFill>
                      <a:gsLst>
                        <a:gs pos="0">
                          <a:srgbClr val="FFFFFF"/>
                        </a:gs>
                        <a:gs pos="100000">
                          <a:srgbClr val="FFFFFF"/>
                        </a:gs>
                      </a:gsLst>
                      <a:lin ang="5400000" scaled="0"/>
                    </a:gradFill>
                  </a:rPr>
                  <a:t> </a:t>
                </a:r>
              </a:p>
            </p:txBody>
          </p:sp>
          <p:pic>
            <p:nvPicPr>
              <p:cNvPr id="81" name="Picture 108"/>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7504751" y="2104845"/>
                <a:ext cx="733161" cy="880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2" name="TextBox 81"/>
              <p:cNvSpPr txBox="1"/>
              <p:nvPr/>
            </p:nvSpPr>
            <p:spPr>
              <a:xfrm>
                <a:off x="19051958"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9</a:t>
                </a:r>
              </a:p>
            </p:txBody>
          </p:sp>
        </p:grpSp>
        <p:grpSp>
          <p:nvGrpSpPr>
            <p:cNvPr id="29" name="Group 28"/>
            <p:cNvGrpSpPr/>
            <p:nvPr/>
          </p:nvGrpSpPr>
          <p:grpSpPr>
            <a:xfrm>
              <a:off x="15253277" y="1904999"/>
              <a:ext cx="2011680" cy="2011680"/>
              <a:chOff x="15253277" y="1905000"/>
              <a:chExt cx="2011680" cy="2011680"/>
            </a:xfrm>
          </p:grpSpPr>
          <p:sp>
            <p:nvSpPr>
              <p:cNvPr id="77" name="Rectangle 76"/>
              <p:cNvSpPr/>
              <p:nvPr/>
            </p:nvSpPr>
            <p:spPr bwMode="auto">
              <a:xfrm>
                <a:off x="15253277"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Storage Automation</a:t>
                </a:r>
              </a:p>
            </p:txBody>
          </p:sp>
          <p:pic>
            <p:nvPicPr>
              <p:cNvPr id="78" name="Picture 8"/>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5367380" y="2104845"/>
                <a:ext cx="980581" cy="8877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9" name="TextBox 78"/>
              <p:cNvSpPr txBox="1"/>
              <p:nvPr/>
            </p:nvSpPr>
            <p:spPr>
              <a:xfrm>
                <a:off x="16914045"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8</a:t>
                </a:r>
              </a:p>
            </p:txBody>
          </p:sp>
        </p:grpSp>
        <p:grpSp>
          <p:nvGrpSpPr>
            <p:cNvPr id="31" name="Group 30"/>
            <p:cNvGrpSpPr/>
            <p:nvPr/>
          </p:nvGrpSpPr>
          <p:grpSpPr>
            <a:xfrm>
              <a:off x="8879444" y="1904999"/>
              <a:ext cx="2011680" cy="2011680"/>
              <a:chOff x="8877050" y="1905000"/>
              <a:chExt cx="2011680" cy="2011680"/>
            </a:xfrm>
          </p:grpSpPr>
          <p:sp>
            <p:nvSpPr>
              <p:cNvPr id="74" name="Rectangle 73"/>
              <p:cNvSpPr/>
              <p:nvPr/>
            </p:nvSpPr>
            <p:spPr bwMode="auto">
              <a:xfrm>
                <a:off x="8877050"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SAN Migration</a:t>
                </a:r>
              </a:p>
            </p:txBody>
          </p:sp>
          <p:pic>
            <p:nvPicPr>
              <p:cNvPr id="75" name="Picture 2"/>
              <p:cNvPicPr>
                <a:picLocks noChangeAspect="1" noChangeArrowheads="1"/>
              </p:cNvPicPr>
              <p:nvPr/>
            </p:nvPicPr>
            <p:blipFill>
              <a:blip r:embed="rId11">
                <a:extLst>
                  <a:ext uri="{28A0092B-C50C-407E-A947-70E740481C1C}">
                    <a14:useLocalDpi xmlns:a14="http://schemas.microsoft.com/office/drawing/2010/main" val="0"/>
                  </a:ext>
                </a:extLst>
              </a:blip>
              <a:stretch>
                <a:fillRect/>
              </a:stretch>
            </p:blipFill>
            <p:spPr bwMode="auto">
              <a:xfrm>
                <a:off x="9003772" y="2087593"/>
                <a:ext cx="1013736" cy="9049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6" name="TextBox 75"/>
              <p:cNvSpPr txBox="1"/>
              <p:nvPr/>
            </p:nvSpPr>
            <p:spPr>
              <a:xfrm>
                <a:off x="10533215"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5</a:t>
                </a:r>
              </a:p>
            </p:txBody>
          </p:sp>
        </p:grpSp>
        <p:grpSp>
          <p:nvGrpSpPr>
            <p:cNvPr id="32" name="Group 31"/>
            <p:cNvGrpSpPr/>
            <p:nvPr/>
          </p:nvGrpSpPr>
          <p:grpSpPr>
            <a:xfrm>
              <a:off x="6754833" y="1904999"/>
              <a:ext cx="2011680" cy="2011680"/>
              <a:chOff x="6752439" y="1905000"/>
              <a:chExt cx="2011680" cy="2011680"/>
            </a:xfrm>
          </p:grpSpPr>
          <p:sp>
            <p:nvSpPr>
              <p:cNvPr id="71" name="Rectangle 70"/>
              <p:cNvSpPr/>
              <p:nvPr/>
            </p:nvSpPr>
            <p:spPr bwMode="auto">
              <a:xfrm>
                <a:off x="6752439"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Rapid Provisioning</a:t>
                </a:r>
                <a:br>
                  <a:rPr lang="en-US" sz="1500" dirty="0">
                    <a:gradFill>
                      <a:gsLst>
                        <a:gs pos="0">
                          <a:srgbClr val="FFFFFF"/>
                        </a:gs>
                        <a:gs pos="100000">
                          <a:srgbClr val="FFFFFF"/>
                        </a:gs>
                      </a:gsLst>
                      <a:lin ang="5400000" scaled="0"/>
                    </a:gradFill>
                  </a:rPr>
                </a:br>
                <a:r>
                  <a:rPr lang="en-US" sz="1500" dirty="0">
                    <a:gradFill>
                      <a:gsLst>
                        <a:gs pos="0">
                          <a:srgbClr val="FFFFFF"/>
                        </a:gs>
                        <a:gs pos="100000">
                          <a:srgbClr val="FFFFFF"/>
                        </a:gs>
                      </a:gsLst>
                      <a:lin ang="5400000" scaled="0"/>
                    </a:gradFill>
                  </a:rPr>
                  <a:t>  </a:t>
                </a:r>
              </a:p>
            </p:txBody>
          </p:sp>
          <p:pic>
            <p:nvPicPr>
              <p:cNvPr id="72" name="Picture 174"/>
              <p:cNvPicPr>
                <a:picLocks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868882" y="2058656"/>
                <a:ext cx="727137" cy="966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3" name="TextBox 72"/>
              <p:cNvSpPr txBox="1"/>
              <p:nvPr/>
            </p:nvSpPr>
            <p:spPr>
              <a:xfrm>
                <a:off x="8418995"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4</a:t>
                </a:r>
              </a:p>
            </p:txBody>
          </p:sp>
        </p:grpSp>
        <p:grpSp>
          <p:nvGrpSpPr>
            <p:cNvPr id="33" name="Group 32"/>
            <p:cNvGrpSpPr/>
            <p:nvPr/>
          </p:nvGrpSpPr>
          <p:grpSpPr>
            <a:xfrm>
              <a:off x="4630222" y="1904999"/>
              <a:ext cx="2011680" cy="2011680"/>
              <a:chOff x="4641528" y="1905000"/>
              <a:chExt cx="2011680" cy="2011680"/>
            </a:xfrm>
          </p:grpSpPr>
          <p:sp>
            <p:nvSpPr>
              <p:cNvPr id="68" name="Rectangle 67"/>
              <p:cNvSpPr/>
              <p:nvPr/>
            </p:nvSpPr>
            <p:spPr bwMode="auto">
              <a:xfrm>
                <a:off x="4641528"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Allocation and Assignment</a:t>
                </a:r>
              </a:p>
            </p:txBody>
          </p:sp>
          <p:pic>
            <p:nvPicPr>
              <p:cNvPr id="69" name="Picture 3"/>
              <p:cNvPicPr>
                <a:picLocks noChangeAspect="1" noChangeArrowheads="1"/>
              </p:cNvPicPr>
              <p:nvPr>
                <p:custDataLst>
                  <p:tags r:id="rId2"/>
                </p:custDataLst>
              </p:nvPr>
            </p:nvPicPr>
            <p:blipFill>
              <a:blip r:embed="rId13" cstate="print">
                <a:extLst>
                  <a:ext uri="{28A0092B-C50C-407E-A947-70E740481C1C}">
                    <a14:useLocalDpi xmlns:a14="http://schemas.microsoft.com/office/drawing/2010/main"/>
                  </a:ext>
                </a:extLst>
              </a:blip>
              <a:srcRect/>
              <a:stretch>
                <a:fillRect/>
              </a:stretch>
            </p:blipFill>
            <p:spPr bwMode="auto">
              <a:xfrm>
                <a:off x="4751660" y="2024982"/>
                <a:ext cx="517620" cy="984876"/>
              </a:xfrm>
              <a:prstGeom prst="rect">
                <a:avLst/>
              </a:prstGeom>
              <a:noFill/>
              <a:ln>
                <a:noFill/>
                <a:headEnd type="none" w="med" len="med"/>
                <a:tailEnd type="none" w="med" len="med"/>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0" name="TextBox 69"/>
              <p:cNvSpPr txBox="1"/>
              <p:nvPr/>
            </p:nvSpPr>
            <p:spPr>
              <a:xfrm>
                <a:off x="6312089"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3</a:t>
                </a:r>
              </a:p>
            </p:txBody>
          </p:sp>
        </p:grpSp>
        <p:grpSp>
          <p:nvGrpSpPr>
            <p:cNvPr id="34" name="Group 33"/>
            <p:cNvGrpSpPr/>
            <p:nvPr/>
          </p:nvGrpSpPr>
          <p:grpSpPr>
            <a:xfrm>
              <a:off x="13128666" y="1904999"/>
              <a:ext cx="2011680" cy="2011680"/>
              <a:chOff x="13128666" y="1904999"/>
              <a:chExt cx="2011680" cy="2011680"/>
            </a:xfrm>
          </p:grpSpPr>
          <p:sp>
            <p:nvSpPr>
              <p:cNvPr id="65" name="Rectangle 64"/>
              <p:cNvSpPr/>
              <p:nvPr/>
            </p:nvSpPr>
            <p:spPr bwMode="auto">
              <a:xfrm>
                <a:off x="13128666" y="1904999"/>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Cluster Storage Management</a:t>
                </a:r>
              </a:p>
            </p:txBody>
          </p:sp>
          <p:pic>
            <p:nvPicPr>
              <p:cNvPr id="66" name="Picture 5"/>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13247083" y="2034293"/>
                <a:ext cx="887423" cy="9755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7" name="TextBox 66"/>
              <p:cNvSpPr txBox="1"/>
              <p:nvPr/>
            </p:nvSpPr>
            <p:spPr>
              <a:xfrm>
                <a:off x="14789434" y="1904999"/>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7</a:t>
                </a:r>
              </a:p>
            </p:txBody>
          </p:sp>
        </p:grpSp>
        <p:grpSp>
          <p:nvGrpSpPr>
            <p:cNvPr id="36" name="Group 35"/>
            <p:cNvGrpSpPr/>
            <p:nvPr/>
          </p:nvGrpSpPr>
          <p:grpSpPr>
            <a:xfrm>
              <a:off x="11004055" y="1904999"/>
              <a:ext cx="2011680" cy="2011680"/>
              <a:chOff x="11001661" y="1904999"/>
              <a:chExt cx="2011680" cy="2011680"/>
            </a:xfrm>
          </p:grpSpPr>
          <p:sp>
            <p:nvSpPr>
              <p:cNvPr id="62" name="Rectangle 61"/>
              <p:cNvSpPr/>
              <p:nvPr/>
            </p:nvSpPr>
            <p:spPr bwMode="auto">
              <a:xfrm>
                <a:off x="11001661" y="1904999"/>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Array Onboarding</a:t>
                </a:r>
              </a:p>
            </p:txBody>
          </p:sp>
          <p:pic>
            <p:nvPicPr>
              <p:cNvPr id="63" name="Picture 62"/>
              <p:cNvPicPr>
                <a:picLocks noChangeAspect="1"/>
              </p:cNvPicPr>
              <p:nvPr>
                <p:custDataLst>
                  <p:tags r:id="rId1"/>
                </p:custDataLst>
              </p:nvPr>
            </p:nvPicPr>
            <p:blipFill>
              <a:blip r:embed="rId15">
                <a:extLst>
                  <a:ext uri="{28A0092B-C50C-407E-A947-70E740481C1C}">
                    <a14:useLocalDpi xmlns:a14="http://schemas.microsoft.com/office/drawing/2010/main" val="0"/>
                  </a:ext>
                </a:extLst>
              </a:blip>
              <a:stretch>
                <a:fillRect/>
              </a:stretch>
            </p:blipFill>
            <p:spPr>
              <a:xfrm>
                <a:off x="11123742" y="2105711"/>
                <a:ext cx="762964" cy="875588"/>
              </a:xfrm>
              <a:prstGeom prst="rect">
                <a:avLst/>
              </a:prstGeom>
              <a:effectLst/>
            </p:spPr>
          </p:pic>
          <p:sp>
            <p:nvSpPr>
              <p:cNvPr id="64" name="TextBox 63"/>
              <p:cNvSpPr txBox="1"/>
              <p:nvPr/>
            </p:nvSpPr>
            <p:spPr>
              <a:xfrm>
                <a:off x="12657826" y="1904999"/>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6</a:t>
                </a:r>
              </a:p>
            </p:txBody>
          </p:sp>
        </p:grpSp>
        <p:grpSp>
          <p:nvGrpSpPr>
            <p:cNvPr id="41" name="Group 40"/>
            <p:cNvGrpSpPr/>
            <p:nvPr/>
          </p:nvGrpSpPr>
          <p:grpSpPr>
            <a:xfrm>
              <a:off x="2505611" y="1904999"/>
              <a:ext cx="2011680" cy="2011680"/>
              <a:chOff x="2504440" y="1905000"/>
              <a:chExt cx="2011680" cy="2011680"/>
            </a:xfrm>
          </p:grpSpPr>
          <p:sp>
            <p:nvSpPr>
              <p:cNvPr id="59" name="Rectangle 58"/>
              <p:cNvSpPr/>
              <p:nvPr/>
            </p:nvSpPr>
            <p:spPr bwMode="auto">
              <a:xfrm>
                <a:off x="2504440"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Storage Classification </a:t>
                </a:r>
              </a:p>
            </p:txBody>
          </p:sp>
          <p:pic>
            <p:nvPicPr>
              <p:cNvPr id="60" name="Picture 59"/>
              <p:cNvPicPr>
                <a:picLocks/>
              </p:cNvPicPr>
              <p:nvPr/>
            </p:nvPicPr>
            <p:blipFill>
              <a:blip r:embed="rId16">
                <a:extLst>
                  <a:ext uri="{28A0092B-C50C-407E-A947-70E740481C1C}">
                    <a14:useLocalDpi xmlns:a14="http://schemas.microsoft.com/office/drawing/2010/main" val="0"/>
                  </a:ext>
                </a:extLst>
              </a:blip>
              <a:stretch>
                <a:fillRect/>
              </a:stretch>
            </p:blipFill>
            <p:spPr>
              <a:xfrm>
                <a:off x="2625747" y="2058656"/>
                <a:ext cx="693189" cy="924012"/>
              </a:xfrm>
              <a:prstGeom prst="rect">
                <a:avLst/>
              </a:prstGeom>
            </p:spPr>
          </p:pic>
          <p:sp>
            <p:nvSpPr>
              <p:cNvPr id="61" name="TextBox 60"/>
              <p:cNvSpPr txBox="1"/>
              <p:nvPr/>
            </p:nvSpPr>
            <p:spPr>
              <a:xfrm>
                <a:off x="4170996"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2</a:t>
                </a:r>
              </a:p>
            </p:txBody>
          </p:sp>
        </p:grpSp>
        <p:grpSp>
          <p:nvGrpSpPr>
            <p:cNvPr id="42" name="Group 41"/>
            <p:cNvGrpSpPr/>
            <p:nvPr/>
          </p:nvGrpSpPr>
          <p:grpSpPr>
            <a:xfrm>
              <a:off x="381000" y="1904999"/>
              <a:ext cx="2011680" cy="2011680"/>
              <a:chOff x="381000" y="1905000"/>
              <a:chExt cx="2011680" cy="2011680"/>
            </a:xfrm>
          </p:grpSpPr>
          <p:sp>
            <p:nvSpPr>
              <p:cNvPr id="56" name="Rectangle 55"/>
              <p:cNvSpPr/>
              <p:nvPr/>
            </p:nvSpPr>
            <p:spPr bwMode="auto">
              <a:xfrm>
                <a:off x="381000"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End to End Mapping</a:t>
                </a:r>
              </a:p>
            </p:txBody>
          </p:sp>
          <p:pic>
            <p:nvPicPr>
              <p:cNvPr id="57" name="Picture 4" descr="\\MAGNUM\Projects\Microsoft\Cloud Power FY12\Design\ICONS_PNG\Check_mark.png"/>
              <p:cNvPicPr>
                <a:picLocks noChangeAspect="1" noChangeArrowheads="1"/>
              </p:cNvPicPr>
              <p:nvPr/>
            </p:nvPicPr>
            <p:blipFill rotWithShape="1">
              <a:blip r:embed="rId17" cstate="print">
                <a:lum bright="100000"/>
              </a:blip>
              <a:srcRect t="11515"/>
              <a:stretch/>
            </p:blipFill>
            <p:spPr bwMode="auto">
              <a:xfrm>
                <a:off x="411681" y="2024234"/>
                <a:ext cx="1073410" cy="1209050"/>
              </a:xfrm>
              <a:prstGeom prst="rect">
                <a:avLst/>
              </a:prstGeom>
              <a:noFill/>
            </p:spPr>
          </p:pic>
          <p:sp>
            <p:nvSpPr>
              <p:cNvPr id="58" name="TextBox 57"/>
              <p:cNvSpPr txBox="1"/>
              <p:nvPr/>
            </p:nvSpPr>
            <p:spPr>
              <a:xfrm>
                <a:off x="2051561"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1</a:t>
                </a:r>
              </a:p>
            </p:txBody>
          </p:sp>
        </p:grpSp>
        <p:grpSp>
          <p:nvGrpSpPr>
            <p:cNvPr id="43" name="Group of Crosshairs" hidden="1"/>
            <p:cNvGrpSpPr/>
            <p:nvPr/>
          </p:nvGrpSpPr>
          <p:grpSpPr>
            <a:xfrm>
              <a:off x="928053" y="2452052"/>
              <a:ext cx="24288292" cy="917575"/>
              <a:chOff x="928053" y="4429828"/>
              <a:chExt cx="24288292" cy="917575"/>
            </a:xfrm>
          </p:grpSpPr>
          <p:sp>
            <p:nvSpPr>
              <p:cNvPr id="44" name="Crosshair"/>
              <p:cNvSpPr>
                <a:spLocks/>
              </p:cNvSpPr>
              <p:nvPr/>
            </p:nvSpPr>
            <p:spPr bwMode="auto">
              <a:xfrm>
                <a:off x="928053"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Crosshair"/>
              <p:cNvSpPr>
                <a:spLocks/>
              </p:cNvSpPr>
              <p:nvPr/>
            </p:nvSpPr>
            <p:spPr bwMode="auto">
              <a:xfrm>
                <a:off x="3052664"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Crosshair"/>
              <p:cNvSpPr>
                <a:spLocks/>
              </p:cNvSpPr>
              <p:nvPr/>
            </p:nvSpPr>
            <p:spPr bwMode="auto">
              <a:xfrm>
                <a:off x="5177275"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Crosshair"/>
              <p:cNvSpPr>
                <a:spLocks/>
              </p:cNvSpPr>
              <p:nvPr/>
            </p:nvSpPr>
            <p:spPr bwMode="auto">
              <a:xfrm>
                <a:off x="7301886"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Crosshair"/>
              <p:cNvSpPr>
                <a:spLocks/>
              </p:cNvSpPr>
              <p:nvPr/>
            </p:nvSpPr>
            <p:spPr bwMode="auto">
              <a:xfrm>
                <a:off x="9426497"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Crosshair"/>
              <p:cNvSpPr>
                <a:spLocks/>
              </p:cNvSpPr>
              <p:nvPr/>
            </p:nvSpPr>
            <p:spPr bwMode="auto">
              <a:xfrm>
                <a:off x="11551108"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Crosshair"/>
              <p:cNvSpPr>
                <a:spLocks/>
              </p:cNvSpPr>
              <p:nvPr/>
            </p:nvSpPr>
            <p:spPr bwMode="auto">
              <a:xfrm>
                <a:off x="13675719"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Crosshair"/>
              <p:cNvSpPr>
                <a:spLocks/>
              </p:cNvSpPr>
              <p:nvPr/>
            </p:nvSpPr>
            <p:spPr bwMode="auto">
              <a:xfrm>
                <a:off x="15800330"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Crosshair"/>
              <p:cNvSpPr>
                <a:spLocks/>
              </p:cNvSpPr>
              <p:nvPr/>
            </p:nvSpPr>
            <p:spPr bwMode="auto">
              <a:xfrm>
                <a:off x="17924941"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Crosshair"/>
              <p:cNvSpPr>
                <a:spLocks/>
              </p:cNvSpPr>
              <p:nvPr/>
            </p:nvSpPr>
            <p:spPr bwMode="auto">
              <a:xfrm>
                <a:off x="20049552"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Crosshair"/>
              <p:cNvSpPr>
                <a:spLocks/>
              </p:cNvSpPr>
              <p:nvPr/>
            </p:nvSpPr>
            <p:spPr bwMode="auto">
              <a:xfrm>
                <a:off x="22174163"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Crosshair"/>
              <p:cNvSpPr>
                <a:spLocks/>
              </p:cNvSpPr>
              <p:nvPr/>
            </p:nvSpPr>
            <p:spPr bwMode="auto">
              <a:xfrm>
                <a:off x="24298770"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grpSp>
        <p:nvGrpSpPr>
          <p:cNvPr id="103" name="Group 102"/>
          <p:cNvGrpSpPr/>
          <p:nvPr/>
        </p:nvGrpSpPr>
        <p:grpSpPr>
          <a:xfrm>
            <a:off x="376307" y="1443037"/>
            <a:ext cx="2021515" cy="1508760"/>
            <a:chOff x="2494605" y="1905000"/>
            <a:chExt cx="2021515" cy="2011680"/>
          </a:xfrm>
          <a:solidFill>
            <a:schemeClr val="accent5"/>
          </a:solidFill>
        </p:grpSpPr>
        <p:sp>
          <p:nvSpPr>
            <p:cNvPr id="121" name="Rectangle 120"/>
            <p:cNvSpPr/>
            <p:nvPr/>
          </p:nvSpPr>
          <p:spPr bwMode="auto">
            <a:xfrm>
              <a:off x="2494605" y="1905000"/>
              <a:ext cx="2021515" cy="2011680"/>
            </a:xfrm>
            <a:prstGeom prst="rect">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Storage Classification </a:t>
              </a:r>
            </a:p>
          </p:txBody>
        </p:sp>
        <p:pic>
          <p:nvPicPr>
            <p:cNvPr id="122" name="Picture 121"/>
            <p:cNvPicPr>
              <a:picLocks/>
            </p:cNvPicPr>
            <p:nvPr/>
          </p:nvPicPr>
          <p:blipFill>
            <a:blip r:embed="rId16">
              <a:extLst>
                <a:ext uri="{28A0092B-C50C-407E-A947-70E740481C1C}">
                  <a14:useLocalDpi xmlns:a14="http://schemas.microsoft.com/office/drawing/2010/main" val="0"/>
                </a:ext>
              </a:extLst>
            </a:blip>
            <a:stretch>
              <a:fillRect/>
            </a:stretch>
          </p:blipFill>
          <p:spPr>
            <a:xfrm>
              <a:off x="2625747" y="2055373"/>
              <a:ext cx="695539" cy="930014"/>
            </a:xfrm>
            <a:prstGeom prst="rect">
              <a:avLst/>
            </a:prstGeom>
            <a:grpFill/>
          </p:spPr>
        </p:pic>
        <p:sp>
          <p:nvSpPr>
            <p:cNvPr id="123" name="TextBox 122"/>
            <p:cNvSpPr txBox="1"/>
            <p:nvPr/>
          </p:nvSpPr>
          <p:spPr>
            <a:xfrm>
              <a:off x="4170996" y="1905000"/>
              <a:ext cx="267381" cy="615553"/>
            </a:xfrm>
            <a:prstGeom prst="rect">
              <a:avLst/>
            </a:prstGeom>
            <a:grpFill/>
          </p:spPr>
          <p:txBody>
            <a:bodyPr wrap="none" lIns="0" tIns="0" rIns="45720" bIns="0" rtlCol="0">
              <a:spAutoFit/>
            </a:bodyPr>
            <a:lstStyle/>
            <a:p>
              <a:r>
                <a:rPr lang="en-US" sz="3000" b="1" dirty="0">
                  <a:gradFill>
                    <a:gsLst>
                      <a:gs pos="0">
                        <a:schemeClr val="accent5">
                          <a:lumMod val="60000"/>
                          <a:lumOff val="40000"/>
                        </a:schemeClr>
                      </a:gs>
                      <a:gs pos="86000">
                        <a:schemeClr val="accent5">
                          <a:lumMod val="60000"/>
                          <a:lumOff val="40000"/>
                        </a:schemeClr>
                      </a:gs>
                    </a:gsLst>
                    <a:lin ang="5400000" scaled="0"/>
                  </a:gradFill>
                </a:rPr>
                <a:t>2</a:t>
              </a:r>
            </a:p>
          </p:txBody>
        </p:sp>
      </p:grpSp>
      <p:sp>
        <p:nvSpPr>
          <p:cNvPr id="92" name="Rectangle 91"/>
          <p:cNvSpPr/>
          <p:nvPr/>
        </p:nvSpPr>
        <p:spPr bwMode="auto">
          <a:xfrm>
            <a:off x="394310" y="3580208"/>
            <a:ext cx="8372207" cy="478578"/>
          </a:xfrm>
          <a:prstGeom prst="rect">
            <a:avLst/>
          </a:prstGeom>
          <a:solidFill>
            <a:schemeClr val="accent5"/>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defTabSz="685637" fontAlgn="base">
              <a:spcBef>
                <a:spcPct val="0"/>
              </a:spcBef>
              <a:spcAft>
                <a:spcPct val="0"/>
              </a:spcAft>
            </a:pPr>
            <a:r>
              <a:rPr lang="en-US" sz="1800" dirty="0">
                <a:solidFill>
                  <a:schemeClr val="tx1"/>
                </a:solidFill>
              </a:rPr>
              <a:t>Assigned to Storage Pool and Inherited by Logical Units and File Shares</a:t>
            </a:r>
          </a:p>
        </p:txBody>
      </p:sp>
      <p:sp>
        <p:nvSpPr>
          <p:cNvPr id="93" name="Rectangle 92"/>
          <p:cNvSpPr/>
          <p:nvPr/>
        </p:nvSpPr>
        <p:spPr bwMode="auto">
          <a:xfrm>
            <a:off x="393922" y="3043740"/>
            <a:ext cx="8372207" cy="478578"/>
          </a:xfrm>
          <a:prstGeom prst="rect">
            <a:avLst/>
          </a:prstGeom>
          <a:solidFill>
            <a:schemeClr val="accent5"/>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defTabSz="685637" fontAlgn="base">
              <a:spcBef>
                <a:spcPct val="0"/>
              </a:spcBef>
              <a:spcAft>
                <a:spcPct val="0"/>
              </a:spcAft>
            </a:pPr>
            <a:r>
              <a:rPr lang="en-US" sz="1800" dirty="0">
                <a:solidFill>
                  <a:schemeClr val="tx1"/>
                </a:solidFill>
              </a:rPr>
              <a:t>Indicates Storage SLA or Performance Guarantee</a:t>
            </a:r>
          </a:p>
        </p:txBody>
      </p:sp>
      <p:sp>
        <p:nvSpPr>
          <p:cNvPr id="96" name="Rectangle 95"/>
          <p:cNvSpPr/>
          <p:nvPr/>
        </p:nvSpPr>
        <p:spPr bwMode="auto">
          <a:xfrm>
            <a:off x="376306" y="4119185"/>
            <a:ext cx="8372207" cy="478578"/>
          </a:xfrm>
          <a:prstGeom prst="rect">
            <a:avLst/>
          </a:prstGeom>
          <a:solidFill>
            <a:schemeClr val="accent5"/>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defTabSz="685637" fontAlgn="base">
              <a:spcBef>
                <a:spcPct val="0"/>
              </a:spcBef>
              <a:spcAft>
                <a:spcPct val="0"/>
              </a:spcAft>
            </a:pPr>
            <a:r>
              <a:rPr lang="en-US" sz="1800" dirty="0">
                <a:solidFill>
                  <a:schemeClr val="tx1"/>
                </a:solidFill>
              </a:rPr>
              <a:t>Placement Based on Classification and Usage</a:t>
            </a:r>
          </a:p>
        </p:txBody>
      </p:sp>
      <p:pic>
        <p:nvPicPr>
          <p:cNvPr id="97" name="Picture 2" descr="\\eventsql\dvd\Online_ART\DVD_ART36\Logos\System Center Virtual Machine Manager 2008 R2\system center virtual machine manager 2008 r2 h rev.png"/>
          <p:cNvPicPr>
            <a:picLocks noChangeAspect="1" noChangeArrowheads="1"/>
          </p:cNvPicPr>
          <p:nvPr/>
        </p:nvPicPr>
        <p:blipFill rotWithShape="1">
          <a:blip r:embed="rId18">
            <a:extLst>
              <a:ext uri="{28A0092B-C50C-407E-A947-70E740481C1C}">
                <a14:useLocalDpi xmlns:a14="http://schemas.microsoft.com/office/drawing/2010/main" val="0"/>
              </a:ext>
            </a:extLst>
          </a:blip>
          <a:srcRect r="16495"/>
          <a:stretch/>
        </p:blipFill>
        <p:spPr bwMode="auto">
          <a:xfrm>
            <a:off x="4300244" y="139992"/>
            <a:ext cx="3072835" cy="777872"/>
          </a:xfrm>
          <a:prstGeom prst="rect">
            <a:avLst/>
          </a:prstGeom>
          <a:noFill/>
          <a:extLst>
            <a:ext uri="{909E8E84-426E-40DD-AFC4-6F175D3DCCD1}">
              <a14:hiddenFill xmlns:a14="http://schemas.microsoft.com/office/drawing/2010/main">
                <a:solidFill>
                  <a:srgbClr val="FFFFFF"/>
                </a:solidFill>
              </a14:hiddenFill>
            </a:ext>
          </a:extLst>
        </p:spPr>
      </p:pic>
      <p:sp>
        <p:nvSpPr>
          <p:cNvPr id="94"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95"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9"/>
              </a:rPr>
              <a:t>www.rapidbbs.cn</a:t>
            </a:r>
            <a:endParaRPr lang="zh-CN" altLang="en-US" sz="1200" b="0">
              <a:latin typeface="Arial" charset="0"/>
              <a:ea typeface="ＭＳ Ｐゴシック" pitchFamily="34" charset="-128"/>
            </a:endParaRPr>
          </a:p>
        </p:txBody>
      </p:sp>
      <p:pic>
        <p:nvPicPr>
          <p:cNvPr id="98" name="Picture 2">
            <a:hlinkClick r:id="rId19"/>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1955997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accel="50000" decel="50000" fill="hold" nodeType="afterEffect">
                                  <p:stCondLst>
                                    <p:cond delay="0"/>
                                  </p:stCondLst>
                                  <p:childTnLst>
                                    <p:animMotion origin="layout" path="M -3.88889E-6 4.44444E-6 L -0.23246 4.44444E-6 " pathEditMode="relative" rAng="0" ptsTypes="AA">
                                      <p:cBhvr>
                                        <p:cTn id="6" dur="1000" fill="hold"/>
                                        <p:tgtEl>
                                          <p:spTgt spid="21"/>
                                        </p:tgtEl>
                                        <p:attrNameLst>
                                          <p:attrName>ppt_x</p:attrName>
                                          <p:attrName>ppt_y</p:attrName>
                                        </p:attrNameLst>
                                      </p:cBhvr>
                                      <p:rCtr x="-11632" y="0"/>
                                    </p:animMotion>
                                  </p:childTnLst>
                                </p:cTn>
                              </p:par>
                            </p:childTnLst>
                          </p:cTn>
                        </p:par>
                        <p:par>
                          <p:cTn id="7" fill="hold">
                            <p:stCondLst>
                              <p:cond delay="1000"/>
                            </p:stCondLst>
                            <p:childTnLst>
                              <p:par>
                                <p:cTn id="8" presetID="22" presetClass="entr" presetSubtype="4" fill="hold" nodeType="afterEffect">
                                  <p:stCondLst>
                                    <p:cond delay="0"/>
                                  </p:stCondLst>
                                  <p:childTnLst>
                                    <p:set>
                                      <p:cBhvr>
                                        <p:cTn id="9" dur="1" fill="hold">
                                          <p:stCondLst>
                                            <p:cond delay="0"/>
                                          </p:stCondLst>
                                        </p:cTn>
                                        <p:tgtEl>
                                          <p:spTgt spid="103"/>
                                        </p:tgtEl>
                                        <p:attrNameLst>
                                          <p:attrName>style.visibility</p:attrName>
                                        </p:attrNameLst>
                                      </p:cBhvr>
                                      <p:to>
                                        <p:strVal val="visible"/>
                                      </p:to>
                                    </p:set>
                                    <p:animEffect transition="in" filter="wipe(down)">
                                      <p:cBhvr>
                                        <p:cTn id="10" dur="500"/>
                                        <p:tgtEl>
                                          <p:spTgt spid="103"/>
                                        </p:tgtEl>
                                      </p:cBhvr>
                                    </p:animEffect>
                                  </p:childTnLst>
                                </p:cTn>
                              </p:par>
                              <p:par>
                                <p:cTn id="11" presetID="2" presetClass="entr" presetSubtype="2" decel="100000" fill="hold" grpId="0" nodeType="withEffect">
                                  <p:stCondLst>
                                    <p:cond delay="0"/>
                                  </p:stCondLst>
                                  <p:childTnLst>
                                    <p:set>
                                      <p:cBhvr>
                                        <p:cTn id="12" dur="1" fill="hold">
                                          <p:stCondLst>
                                            <p:cond delay="0"/>
                                          </p:stCondLst>
                                        </p:cTn>
                                        <p:tgtEl>
                                          <p:spTgt spid="93"/>
                                        </p:tgtEl>
                                        <p:attrNameLst>
                                          <p:attrName>style.visibility</p:attrName>
                                        </p:attrNameLst>
                                      </p:cBhvr>
                                      <p:to>
                                        <p:strVal val="visible"/>
                                      </p:to>
                                    </p:set>
                                    <p:anim calcmode="lin" valueType="num">
                                      <p:cBhvr additive="base">
                                        <p:cTn id="13" dur="1000" fill="hold"/>
                                        <p:tgtEl>
                                          <p:spTgt spid="93"/>
                                        </p:tgtEl>
                                        <p:attrNameLst>
                                          <p:attrName>ppt_x</p:attrName>
                                        </p:attrNameLst>
                                      </p:cBhvr>
                                      <p:tavLst>
                                        <p:tav tm="0">
                                          <p:val>
                                            <p:strVal val="1+#ppt_w/2"/>
                                          </p:val>
                                        </p:tav>
                                        <p:tav tm="100000">
                                          <p:val>
                                            <p:strVal val="#ppt_x"/>
                                          </p:val>
                                        </p:tav>
                                      </p:tavLst>
                                    </p:anim>
                                    <p:anim calcmode="lin" valueType="num">
                                      <p:cBhvr additive="base">
                                        <p:cTn id="14" dur="1000" fill="hold"/>
                                        <p:tgtEl>
                                          <p:spTgt spid="93"/>
                                        </p:tgtEl>
                                        <p:attrNameLst>
                                          <p:attrName>ppt_y</p:attrName>
                                        </p:attrNameLst>
                                      </p:cBhvr>
                                      <p:tavLst>
                                        <p:tav tm="0">
                                          <p:val>
                                            <p:strVal val="#ppt_y"/>
                                          </p:val>
                                        </p:tav>
                                        <p:tav tm="100000">
                                          <p:val>
                                            <p:strVal val="#ppt_y"/>
                                          </p:val>
                                        </p:tav>
                                      </p:tavLst>
                                    </p:anim>
                                  </p:childTnLst>
                                </p:cTn>
                              </p:par>
                              <p:par>
                                <p:cTn id="15" presetID="2" presetClass="entr" presetSubtype="2" decel="100000" fill="hold" grpId="0" nodeType="withEffect">
                                  <p:stCondLst>
                                    <p:cond delay="500"/>
                                  </p:stCondLst>
                                  <p:childTnLst>
                                    <p:set>
                                      <p:cBhvr>
                                        <p:cTn id="16" dur="1" fill="hold">
                                          <p:stCondLst>
                                            <p:cond delay="0"/>
                                          </p:stCondLst>
                                        </p:cTn>
                                        <p:tgtEl>
                                          <p:spTgt spid="92"/>
                                        </p:tgtEl>
                                        <p:attrNameLst>
                                          <p:attrName>style.visibility</p:attrName>
                                        </p:attrNameLst>
                                      </p:cBhvr>
                                      <p:to>
                                        <p:strVal val="visible"/>
                                      </p:to>
                                    </p:set>
                                    <p:anim calcmode="lin" valueType="num">
                                      <p:cBhvr additive="base">
                                        <p:cTn id="17" dur="1000" fill="hold"/>
                                        <p:tgtEl>
                                          <p:spTgt spid="92"/>
                                        </p:tgtEl>
                                        <p:attrNameLst>
                                          <p:attrName>ppt_x</p:attrName>
                                        </p:attrNameLst>
                                      </p:cBhvr>
                                      <p:tavLst>
                                        <p:tav tm="0">
                                          <p:val>
                                            <p:strVal val="1+#ppt_w/2"/>
                                          </p:val>
                                        </p:tav>
                                        <p:tav tm="100000">
                                          <p:val>
                                            <p:strVal val="#ppt_x"/>
                                          </p:val>
                                        </p:tav>
                                      </p:tavLst>
                                    </p:anim>
                                    <p:anim calcmode="lin" valueType="num">
                                      <p:cBhvr additive="base">
                                        <p:cTn id="18" dur="1000" fill="hold"/>
                                        <p:tgtEl>
                                          <p:spTgt spid="92"/>
                                        </p:tgtEl>
                                        <p:attrNameLst>
                                          <p:attrName>ppt_y</p:attrName>
                                        </p:attrNameLst>
                                      </p:cBhvr>
                                      <p:tavLst>
                                        <p:tav tm="0">
                                          <p:val>
                                            <p:strVal val="#ppt_y"/>
                                          </p:val>
                                        </p:tav>
                                        <p:tav tm="100000">
                                          <p:val>
                                            <p:strVal val="#ppt_y"/>
                                          </p:val>
                                        </p:tav>
                                      </p:tavLst>
                                    </p:anim>
                                  </p:childTnLst>
                                </p:cTn>
                              </p:par>
                              <p:par>
                                <p:cTn id="19" presetID="2" presetClass="entr" presetSubtype="2" decel="100000" fill="hold" grpId="0" nodeType="withEffect">
                                  <p:stCondLst>
                                    <p:cond delay="750"/>
                                  </p:stCondLst>
                                  <p:childTnLst>
                                    <p:set>
                                      <p:cBhvr>
                                        <p:cTn id="20" dur="1" fill="hold">
                                          <p:stCondLst>
                                            <p:cond delay="0"/>
                                          </p:stCondLst>
                                        </p:cTn>
                                        <p:tgtEl>
                                          <p:spTgt spid="96"/>
                                        </p:tgtEl>
                                        <p:attrNameLst>
                                          <p:attrName>style.visibility</p:attrName>
                                        </p:attrNameLst>
                                      </p:cBhvr>
                                      <p:to>
                                        <p:strVal val="visible"/>
                                      </p:to>
                                    </p:set>
                                    <p:anim calcmode="lin" valueType="num">
                                      <p:cBhvr additive="base">
                                        <p:cTn id="21" dur="1000" fill="hold"/>
                                        <p:tgtEl>
                                          <p:spTgt spid="96"/>
                                        </p:tgtEl>
                                        <p:attrNameLst>
                                          <p:attrName>ppt_x</p:attrName>
                                        </p:attrNameLst>
                                      </p:cBhvr>
                                      <p:tavLst>
                                        <p:tav tm="0">
                                          <p:val>
                                            <p:strVal val="1+#ppt_w/2"/>
                                          </p:val>
                                        </p:tav>
                                        <p:tav tm="100000">
                                          <p:val>
                                            <p:strVal val="#ppt_x"/>
                                          </p:val>
                                        </p:tav>
                                      </p:tavLst>
                                    </p:anim>
                                    <p:anim calcmode="lin" valueType="num">
                                      <p:cBhvr additive="base">
                                        <p:cTn id="22" dur="1000" fill="hold"/>
                                        <p:tgtEl>
                                          <p:spTgt spid="9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 grpId="0" animBg="1"/>
      <p:bldP spid="93" grpId="0" animBg="1"/>
      <p:bldP spid="96" grpId="0" animBg="1"/>
    </p:bld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he Fantastic 12 of</a:t>
            </a:r>
          </a:p>
        </p:txBody>
      </p:sp>
      <p:grpSp>
        <p:nvGrpSpPr>
          <p:cNvPr id="21" name="Group 20"/>
          <p:cNvGrpSpPr/>
          <p:nvPr/>
        </p:nvGrpSpPr>
        <p:grpSpPr>
          <a:xfrm>
            <a:off x="-1757720" y="1428749"/>
            <a:ext cx="25382397" cy="1508760"/>
            <a:chOff x="381000" y="1904999"/>
            <a:chExt cx="25382397" cy="2011680"/>
          </a:xfrm>
        </p:grpSpPr>
        <p:grpSp>
          <p:nvGrpSpPr>
            <p:cNvPr id="24" name="Group 23"/>
            <p:cNvGrpSpPr/>
            <p:nvPr/>
          </p:nvGrpSpPr>
          <p:grpSpPr>
            <a:xfrm>
              <a:off x="23751717" y="1904999"/>
              <a:ext cx="2011680" cy="2011680"/>
              <a:chOff x="23751717" y="1905000"/>
              <a:chExt cx="2011680" cy="2011680"/>
            </a:xfrm>
          </p:grpSpPr>
          <p:sp>
            <p:nvSpPr>
              <p:cNvPr id="89" name="Rectangle 88"/>
              <p:cNvSpPr/>
              <p:nvPr/>
            </p:nvSpPr>
            <p:spPr bwMode="auto">
              <a:xfrm>
                <a:off x="23751717"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 </a:t>
                </a:r>
                <a:br>
                  <a:rPr lang="en-US" sz="1500" dirty="0">
                    <a:gradFill>
                      <a:gsLst>
                        <a:gs pos="0">
                          <a:srgbClr val="FFFFFF"/>
                        </a:gs>
                        <a:gs pos="100000">
                          <a:srgbClr val="FFFFFF"/>
                        </a:gs>
                      </a:gsLst>
                      <a:lin ang="5400000" scaled="0"/>
                    </a:gradFill>
                  </a:rPr>
                </a:br>
                <a:r>
                  <a:rPr lang="en-US" sz="1500" dirty="0">
                    <a:gradFill>
                      <a:gsLst>
                        <a:gs pos="0">
                          <a:srgbClr val="FFFFFF"/>
                        </a:gs>
                        <a:gs pos="100000">
                          <a:srgbClr val="FFFFFF"/>
                        </a:gs>
                      </a:gsLst>
                      <a:lin ang="5400000" scaled="0"/>
                    </a:gradFill>
                  </a:rPr>
                  <a:t>.</a:t>
                </a:r>
              </a:p>
            </p:txBody>
          </p:sp>
          <p:pic>
            <p:nvPicPr>
              <p:cNvPr id="90" name="Picture 147"/>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3834789" y="2130724"/>
                <a:ext cx="1382850" cy="8242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1" name="TextBox 90"/>
              <p:cNvSpPr txBox="1"/>
              <p:nvPr/>
            </p:nvSpPr>
            <p:spPr>
              <a:xfrm>
                <a:off x="25111146" y="1905000"/>
                <a:ext cx="488595"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12</a:t>
                </a:r>
              </a:p>
            </p:txBody>
          </p:sp>
        </p:grpSp>
        <p:grpSp>
          <p:nvGrpSpPr>
            <p:cNvPr id="26" name="Group 25"/>
            <p:cNvGrpSpPr/>
            <p:nvPr/>
          </p:nvGrpSpPr>
          <p:grpSpPr>
            <a:xfrm>
              <a:off x="21627110" y="1904999"/>
              <a:ext cx="2011680" cy="2011680"/>
              <a:chOff x="21628277" y="1905000"/>
              <a:chExt cx="2011680" cy="2011680"/>
            </a:xfrm>
          </p:grpSpPr>
          <p:sp>
            <p:nvSpPr>
              <p:cNvPr id="86" name="Rectangle 85"/>
              <p:cNvSpPr/>
              <p:nvPr/>
            </p:nvSpPr>
            <p:spPr bwMode="auto">
              <a:xfrm>
                <a:off x="21628277"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Standards Based Management </a:t>
                </a:r>
              </a:p>
            </p:txBody>
          </p:sp>
          <p:pic>
            <p:nvPicPr>
              <p:cNvPr id="87" name="Picture 3" descr="\\SFP\Work\White_Whale\3-22036_Kuleen_Bharadwaj\PPT\3_PlatformVision_Kuleen\SFP_Art\Plane Slide\mon_notie.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1734293" y="2102691"/>
                <a:ext cx="780649" cy="915763"/>
              </a:xfrm>
              <a:prstGeom prst="rect">
                <a:avLst/>
              </a:prstGeom>
              <a:noFill/>
              <a:extLst>
                <a:ext uri="{909E8E84-426E-40DD-AFC4-6F175D3DCCD1}">
                  <a14:hiddenFill xmlns:a14="http://schemas.microsoft.com/office/drawing/2010/main">
                    <a:solidFill>
                      <a:srgbClr val="FFFFFF"/>
                    </a:solidFill>
                  </a14:hiddenFill>
                </a:ext>
              </a:extLst>
            </p:spPr>
          </p:pic>
          <p:sp>
            <p:nvSpPr>
              <p:cNvPr id="88" name="TextBox 87"/>
              <p:cNvSpPr txBox="1"/>
              <p:nvPr/>
            </p:nvSpPr>
            <p:spPr>
              <a:xfrm>
                <a:off x="22993494" y="1905000"/>
                <a:ext cx="488595"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11</a:t>
                </a:r>
              </a:p>
            </p:txBody>
          </p:sp>
        </p:grpSp>
        <p:grpSp>
          <p:nvGrpSpPr>
            <p:cNvPr id="27" name="Group 26"/>
            <p:cNvGrpSpPr/>
            <p:nvPr/>
          </p:nvGrpSpPr>
          <p:grpSpPr>
            <a:xfrm>
              <a:off x="19502499" y="1904999"/>
              <a:ext cx="2011680" cy="2011680"/>
              <a:chOff x="19504837" y="1905000"/>
              <a:chExt cx="2011680" cy="2011680"/>
            </a:xfrm>
          </p:grpSpPr>
          <p:sp>
            <p:nvSpPr>
              <p:cNvPr id="83" name="Rectangle 82"/>
              <p:cNvSpPr/>
              <p:nvPr/>
            </p:nvSpPr>
            <p:spPr bwMode="auto">
              <a:xfrm>
                <a:off x="19504837"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Extensive Array Support </a:t>
                </a:r>
              </a:p>
            </p:txBody>
          </p:sp>
          <p:pic>
            <p:nvPicPr>
              <p:cNvPr id="84" name="Picture 7" descr="\\MAGNUM\Projects\Microsoft\Cloud Power FY12\Design\ICONS_PNG\Physical_Virtual.png"/>
              <p:cNvPicPr>
                <a:picLocks noChangeAspect="1" noChangeArrowheads="1"/>
              </p:cNvPicPr>
              <p:nvPr/>
            </p:nvPicPr>
            <p:blipFill rotWithShape="1">
              <a:blip r:embed="rId8" cstate="print">
                <a:extLst>
                  <a:ext uri="{BEBA8EAE-BF5A-486C-A8C5-ECC9F3942E4B}">
                    <a14:imgProps xmlns:a14="http://schemas.microsoft.com/office/drawing/2010/main">
                      <a14:imgLayer r:embed="rId9">
                        <a14:imgEffect>
                          <a14:brightnessContrast bright="100000"/>
                        </a14:imgEffect>
                      </a14:imgLayer>
                    </a14:imgProps>
                  </a:ext>
                </a:extLst>
              </a:blip>
              <a:srcRect l="7856" t="39072" r="7907" b="5885"/>
              <a:stretch/>
            </p:blipFill>
            <p:spPr bwMode="auto">
              <a:xfrm>
                <a:off x="19529881" y="2070341"/>
                <a:ext cx="1188576" cy="962205"/>
              </a:xfrm>
              <a:prstGeom prst="rect">
                <a:avLst/>
              </a:prstGeom>
              <a:noFill/>
            </p:spPr>
          </p:pic>
          <p:sp>
            <p:nvSpPr>
              <p:cNvPr id="85" name="TextBox 84"/>
              <p:cNvSpPr txBox="1"/>
              <p:nvPr/>
            </p:nvSpPr>
            <p:spPr>
              <a:xfrm>
                <a:off x="20870054" y="1905000"/>
                <a:ext cx="488595"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10</a:t>
                </a:r>
              </a:p>
            </p:txBody>
          </p:sp>
        </p:grpSp>
        <p:grpSp>
          <p:nvGrpSpPr>
            <p:cNvPr id="28" name="Group 27"/>
            <p:cNvGrpSpPr/>
            <p:nvPr/>
          </p:nvGrpSpPr>
          <p:grpSpPr>
            <a:xfrm>
              <a:off x="17377888" y="1904999"/>
              <a:ext cx="2011680" cy="2011680"/>
              <a:chOff x="17381397" y="1905000"/>
              <a:chExt cx="2011680" cy="2011680"/>
            </a:xfrm>
          </p:grpSpPr>
          <p:sp>
            <p:nvSpPr>
              <p:cNvPr id="80" name="Rectangle 79"/>
              <p:cNvSpPr/>
              <p:nvPr/>
            </p:nvSpPr>
            <p:spPr bwMode="auto">
              <a:xfrm>
                <a:off x="17381397"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Scalable Provisioning</a:t>
                </a:r>
                <a:br>
                  <a:rPr lang="en-US" sz="1500" dirty="0">
                    <a:gradFill>
                      <a:gsLst>
                        <a:gs pos="0">
                          <a:srgbClr val="FFFFFF"/>
                        </a:gs>
                        <a:gs pos="100000">
                          <a:srgbClr val="FFFFFF"/>
                        </a:gs>
                      </a:gsLst>
                      <a:lin ang="5400000" scaled="0"/>
                    </a:gradFill>
                  </a:rPr>
                </a:br>
                <a:r>
                  <a:rPr lang="en-US" sz="1500" dirty="0">
                    <a:gradFill>
                      <a:gsLst>
                        <a:gs pos="0">
                          <a:srgbClr val="FFFFFF"/>
                        </a:gs>
                        <a:gs pos="100000">
                          <a:srgbClr val="FFFFFF"/>
                        </a:gs>
                      </a:gsLst>
                      <a:lin ang="5400000" scaled="0"/>
                    </a:gradFill>
                  </a:rPr>
                  <a:t> </a:t>
                </a:r>
              </a:p>
            </p:txBody>
          </p:sp>
          <p:pic>
            <p:nvPicPr>
              <p:cNvPr id="81" name="Picture 108"/>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7504750" y="2104845"/>
                <a:ext cx="699622" cy="880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2" name="TextBox 81"/>
              <p:cNvSpPr txBox="1"/>
              <p:nvPr/>
            </p:nvSpPr>
            <p:spPr>
              <a:xfrm>
                <a:off x="19051958"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9</a:t>
                </a:r>
              </a:p>
            </p:txBody>
          </p:sp>
        </p:grpSp>
        <p:grpSp>
          <p:nvGrpSpPr>
            <p:cNvPr id="29" name="Group 28"/>
            <p:cNvGrpSpPr/>
            <p:nvPr/>
          </p:nvGrpSpPr>
          <p:grpSpPr>
            <a:xfrm>
              <a:off x="15253277" y="1904999"/>
              <a:ext cx="2011680" cy="2011680"/>
              <a:chOff x="15253277" y="1905000"/>
              <a:chExt cx="2011680" cy="2011680"/>
            </a:xfrm>
          </p:grpSpPr>
          <p:sp>
            <p:nvSpPr>
              <p:cNvPr id="77" name="Rectangle 76"/>
              <p:cNvSpPr/>
              <p:nvPr/>
            </p:nvSpPr>
            <p:spPr bwMode="auto">
              <a:xfrm>
                <a:off x="15253277"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Storage Automation</a:t>
                </a:r>
              </a:p>
            </p:txBody>
          </p:sp>
          <p:pic>
            <p:nvPicPr>
              <p:cNvPr id="78" name="Picture 8"/>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5367381" y="2104845"/>
                <a:ext cx="947042" cy="8877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9" name="TextBox 78"/>
              <p:cNvSpPr txBox="1"/>
              <p:nvPr/>
            </p:nvSpPr>
            <p:spPr>
              <a:xfrm>
                <a:off x="16914045"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8</a:t>
                </a:r>
              </a:p>
            </p:txBody>
          </p:sp>
        </p:grpSp>
        <p:grpSp>
          <p:nvGrpSpPr>
            <p:cNvPr id="31" name="Group 30"/>
            <p:cNvGrpSpPr/>
            <p:nvPr/>
          </p:nvGrpSpPr>
          <p:grpSpPr>
            <a:xfrm>
              <a:off x="8879444" y="1904999"/>
              <a:ext cx="2011680" cy="2011680"/>
              <a:chOff x="8877050" y="1905000"/>
              <a:chExt cx="2011680" cy="2011680"/>
            </a:xfrm>
          </p:grpSpPr>
          <p:sp>
            <p:nvSpPr>
              <p:cNvPr id="74" name="Rectangle 73"/>
              <p:cNvSpPr/>
              <p:nvPr/>
            </p:nvSpPr>
            <p:spPr bwMode="auto">
              <a:xfrm>
                <a:off x="8877050"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SAN Migration</a:t>
                </a:r>
              </a:p>
            </p:txBody>
          </p:sp>
          <p:pic>
            <p:nvPicPr>
              <p:cNvPr id="75" name="Picture 2"/>
              <p:cNvPicPr>
                <a:picLocks noChangeAspect="1" noChangeArrowheads="1"/>
              </p:cNvPicPr>
              <p:nvPr/>
            </p:nvPicPr>
            <p:blipFill>
              <a:blip r:embed="rId12">
                <a:extLst>
                  <a:ext uri="{28A0092B-C50C-407E-A947-70E740481C1C}">
                    <a14:useLocalDpi xmlns:a14="http://schemas.microsoft.com/office/drawing/2010/main" val="0"/>
                  </a:ext>
                </a:extLst>
              </a:blip>
              <a:stretch>
                <a:fillRect/>
              </a:stretch>
            </p:blipFill>
            <p:spPr bwMode="auto">
              <a:xfrm>
                <a:off x="9003772" y="2087593"/>
                <a:ext cx="1013736" cy="9049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6" name="TextBox 75"/>
              <p:cNvSpPr txBox="1"/>
              <p:nvPr/>
            </p:nvSpPr>
            <p:spPr>
              <a:xfrm>
                <a:off x="10533215"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5</a:t>
                </a:r>
              </a:p>
            </p:txBody>
          </p:sp>
        </p:grpSp>
        <p:grpSp>
          <p:nvGrpSpPr>
            <p:cNvPr id="32" name="Group 31"/>
            <p:cNvGrpSpPr/>
            <p:nvPr/>
          </p:nvGrpSpPr>
          <p:grpSpPr>
            <a:xfrm>
              <a:off x="6754833" y="1904999"/>
              <a:ext cx="2011680" cy="2011680"/>
              <a:chOff x="6752439" y="1905000"/>
              <a:chExt cx="2011680" cy="2011680"/>
            </a:xfrm>
          </p:grpSpPr>
          <p:sp>
            <p:nvSpPr>
              <p:cNvPr id="71" name="Rectangle 70"/>
              <p:cNvSpPr/>
              <p:nvPr/>
            </p:nvSpPr>
            <p:spPr bwMode="auto">
              <a:xfrm>
                <a:off x="6752439"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Rapid Provisioning</a:t>
                </a:r>
                <a:br>
                  <a:rPr lang="en-US" sz="1500" dirty="0">
                    <a:gradFill>
                      <a:gsLst>
                        <a:gs pos="0">
                          <a:srgbClr val="FFFFFF"/>
                        </a:gs>
                        <a:gs pos="100000">
                          <a:srgbClr val="FFFFFF"/>
                        </a:gs>
                      </a:gsLst>
                      <a:lin ang="5400000" scaled="0"/>
                    </a:gradFill>
                  </a:rPr>
                </a:br>
                <a:r>
                  <a:rPr lang="en-US" sz="1500" dirty="0">
                    <a:gradFill>
                      <a:gsLst>
                        <a:gs pos="0">
                          <a:srgbClr val="FFFFFF"/>
                        </a:gs>
                        <a:gs pos="100000">
                          <a:srgbClr val="FFFFFF"/>
                        </a:gs>
                      </a:gsLst>
                      <a:lin ang="5400000" scaled="0"/>
                    </a:gradFill>
                  </a:rPr>
                  <a:t>  </a:t>
                </a:r>
              </a:p>
            </p:txBody>
          </p:sp>
          <p:pic>
            <p:nvPicPr>
              <p:cNvPr id="72" name="Picture 174"/>
              <p:cNvPicPr>
                <a:picLocks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868881" y="2058656"/>
                <a:ext cx="727137" cy="966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3" name="TextBox 72"/>
              <p:cNvSpPr txBox="1"/>
              <p:nvPr/>
            </p:nvSpPr>
            <p:spPr>
              <a:xfrm>
                <a:off x="8418995"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4</a:t>
                </a:r>
              </a:p>
            </p:txBody>
          </p:sp>
        </p:grpSp>
        <p:grpSp>
          <p:nvGrpSpPr>
            <p:cNvPr id="33" name="Group 32"/>
            <p:cNvGrpSpPr/>
            <p:nvPr/>
          </p:nvGrpSpPr>
          <p:grpSpPr>
            <a:xfrm>
              <a:off x="4630222" y="1904999"/>
              <a:ext cx="2011680" cy="2011680"/>
              <a:chOff x="4641528" y="1905000"/>
              <a:chExt cx="2011680" cy="2011680"/>
            </a:xfrm>
          </p:grpSpPr>
          <p:sp>
            <p:nvSpPr>
              <p:cNvPr id="68" name="Rectangle 67"/>
              <p:cNvSpPr/>
              <p:nvPr/>
            </p:nvSpPr>
            <p:spPr bwMode="auto">
              <a:xfrm>
                <a:off x="4641528"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Allocation and Assignment</a:t>
                </a:r>
              </a:p>
            </p:txBody>
          </p:sp>
          <p:pic>
            <p:nvPicPr>
              <p:cNvPr id="69" name="Picture 3"/>
              <p:cNvPicPr>
                <a:picLocks noChangeArrowheads="1"/>
              </p:cNvPicPr>
              <p:nvPr>
                <p:custDataLst>
                  <p:tags r:id="rId3"/>
                </p:custDataLst>
              </p:nvPr>
            </p:nvPicPr>
            <p:blipFill>
              <a:blip r:embed="rId14" cstate="print">
                <a:extLst>
                  <a:ext uri="{28A0092B-C50C-407E-A947-70E740481C1C}">
                    <a14:useLocalDpi xmlns:a14="http://schemas.microsoft.com/office/drawing/2010/main"/>
                  </a:ext>
                </a:extLst>
              </a:blip>
              <a:srcRect/>
              <a:stretch>
                <a:fillRect/>
              </a:stretch>
            </p:blipFill>
            <p:spPr bwMode="auto">
              <a:xfrm>
                <a:off x="4751660" y="2024982"/>
                <a:ext cx="555643" cy="984876"/>
              </a:xfrm>
              <a:prstGeom prst="rect">
                <a:avLst/>
              </a:prstGeom>
              <a:noFill/>
              <a:ln>
                <a:noFill/>
                <a:headEnd type="none" w="med" len="med"/>
                <a:tailEnd type="none" w="med" len="med"/>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0" name="TextBox 69"/>
              <p:cNvSpPr txBox="1"/>
              <p:nvPr/>
            </p:nvSpPr>
            <p:spPr>
              <a:xfrm>
                <a:off x="6312089"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3</a:t>
                </a:r>
              </a:p>
            </p:txBody>
          </p:sp>
        </p:grpSp>
        <p:grpSp>
          <p:nvGrpSpPr>
            <p:cNvPr id="34" name="Group 33"/>
            <p:cNvGrpSpPr/>
            <p:nvPr/>
          </p:nvGrpSpPr>
          <p:grpSpPr>
            <a:xfrm>
              <a:off x="13128666" y="1904999"/>
              <a:ext cx="2011680" cy="2011680"/>
              <a:chOff x="13128666" y="1904999"/>
              <a:chExt cx="2011680" cy="2011680"/>
            </a:xfrm>
          </p:grpSpPr>
          <p:sp>
            <p:nvSpPr>
              <p:cNvPr id="65" name="Rectangle 64"/>
              <p:cNvSpPr/>
              <p:nvPr/>
            </p:nvSpPr>
            <p:spPr bwMode="auto">
              <a:xfrm>
                <a:off x="13128666" y="1904999"/>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Cluster Storage Management</a:t>
                </a:r>
              </a:p>
            </p:txBody>
          </p:sp>
          <p:pic>
            <p:nvPicPr>
              <p:cNvPr id="66" name="Picture 5"/>
              <p:cNvPicPr>
                <a:picLocks noChangeAspect="1" noChangeArrowheads="1"/>
              </p:cNvPicPr>
              <p:nvPr/>
            </p:nvPicPr>
            <p:blipFill>
              <a:blip r:embed="rId15" cstate="print">
                <a:extLst>
                  <a:ext uri="{28A0092B-C50C-407E-A947-70E740481C1C}">
                    <a14:useLocalDpi xmlns:a14="http://schemas.microsoft.com/office/drawing/2010/main" val="0"/>
                  </a:ext>
                </a:extLst>
              </a:blip>
              <a:stretch>
                <a:fillRect/>
              </a:stretch>
            </p:blipFill>
            <p:spPr bwMode="auto">
              <a:xfrm>
                <a:off x="13247083" y="2034293"/>
                <a:ext cx="952239" cy="9755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7" name="TextBox 66"/>
              <p:cNvSpPr txBox="1"/>
              <p:nvPr/>
            </p:nvSpPr>
            <p:spPr>
              <a:xfrm>
                <a:off x="14789434" y="1904999"/>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7</a:t>
                </a:r>
              </a:p>
            </p:txBody>
          </p:sp>
        </p:grpSp>
        <p:grpSp>
          <p:nvGrpSpPr>
            <p:cNvPr id="36" name="Group 35"/>
            <p:cNvGrpSpPr/>
            <p:nvPr/>
          </p:nvGrpSpPr>
          <p:grpSpPr>
            <a:xfrm>
              <a:off x="11004055" y="1904999"/>
              <a:ext cx="2011680" cy="2011680"/>
              <a:chOff x="11001661" y="1904999"/>
              <a:chExt cx="2011680" cy="2011680"/>
            </a:xfrm>
          </p:grpSpPr>
          <p:sp>
            <p:nvSpPr>
              <p:cNvPr id="62" name="Rectangle 61"/>
              <p:cNvSpPr/>
              <p:nvPr/>
            </p:nvSpPr>
            <p:spPr bwMode="auto">
              <a:xfrm>
                <a:off x="11001661" y="1904999"/>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Array Onboarding</a:t>
                </a:r>
              </a:p>
            </p:txBody>
          </p:sp>
          <p:pic>
            <p:nvPicPr>
              <p:cNvPr id="63" name="Picture 62"/>
              <p:cNvPicPr>
                <a:picLocks noChangeAspect="1"/>
              </p:cNvPicPr>
              <p:nvPr>
                <p:custDataLst>
                  <p:tags r:id="rId2"/>
                </p:custDataLst>
              </p:nvPr>
            </p:nvPicPr>
            <p:blipFill>
              <a:blip r:embed="rId16">
                <a:extLst>
                  <a:ext uri="{28A0092B-C50C-407E-A947-70E740481C1C}">
                    <a14:useLocalDpi xmlns:a14="http://schemas.microsoft.com/office/drawing/2010/main" val="0"/>
                  </a:ext>
                </a:extLst>
              </a:blip>
              <a:stretch>
                <a:fillRect/>
              </a:stretch>
            </p:blipFill>
            <p:spPr>
              <a:xfrm>
                <a:off x="11123743" y="2105711"/>
                <a:ext cx="729425" cy="875588"/>
              </a:xfrm>
              <a:prstGeom prst="rect">
                <a:avLst/>
              </a:prstGeom>
              <a:effectLst/>
            </p:spPr>
          </p:pic>
          <p:sp>
            <p:nvSpPr>
              <p:cNvPr id="64" name="TextBox 63"/>
              <p:cNvSpPr txBox="1"/>
              <p:nvPr/>
            </p:nvSpPr>
            <p:spPr>
              <a:xfrm>
                <a:off x="12657826" y="1904999"/>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6</a:t>
                </a:r>
              </a:p>
            </p:txBody>
          </p:sp>
        </p:grpSp>
        <p:grpSp>
          <p:nvGrpSpPr>
            <p:cNvPr id="41" name="Group 40"/>
            <p:cNvGrpSpPr/>
            <p:nvPr/>
          </p:nvGrpSpPr>
          <p:grpSpPr>
            <a:xfrm>
              <a:off x="2505611" y="1904999"/>
              <a:ext cx="2011680" cy="2011680"/>
              <a:chOff x="2504440" y="1905000"/>
              <a:chExt cx="2011680" cy="2011680"/>
            </a:xfrm>
          </p:grpSpPr>
          <p:sp>
            <p:nvSpPr>
              <p:cNvPr id="59" name="Rectangle 58"/>
              <p:cNvSpPr/>
              <p:nvPr/>
            </p:nvSpPr>
            <p:spPr bwMode="auto">
              <a:xfrm>
                <a:off x="2504440"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Storage Classification </a:t>
                </a:r>
              </a:p>
            </p:txBody>
          </p:sp>
          <p:pic>
            <p:nvPicPr>
              <p:cNvPr id="60" name="Picture 59"/>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2625747" y="2104845"/>
                <a:ext cx="653910" cy="880541"/>
              </a:xfrm>
              <a:prstGeom prst="rect">
                <a:avLst/>
              </a:prstGeom>
            </p:spPr>
          </p:pic>
          <p:sp>
            <p:nvSpPr>
              <p:cNvPr id="61" name="TextBox 60"/>
              <p:cNvSpPr txBox="1"/>
              <p:nvPr/>
            </p:nvSpPr>
            <p:spPr>
              <a:xfrm>
                <a:off x="4170996"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2</a:t>
                </a:r>
              </a:p>
            </p:txBody>
          </p:sp>
        </p:grpSp>
        <p:grpSp>
          <p:nvGrpSpPr>
            <p:cNvPr id="42" name="Group 41"/>
            <p:cNvGrpSpPr/>
            <p:nvPr/>
          </p:nvGrpSpPr>
          <p:grpSpPr>
            <a:xfrm>
              <a:off x="381000" y="1904999"/>
              <a:ext cx="2011680" cy="2011680"/>
              <a:chOff x="381000" y="1905000"/>
              <a:chExt cx="2011680" cy="2011680"/>
            </a:xfrm>
          </p:grpSpPr>
          <p:sp>
            <p:nvSpPr>
              <p:cNvPr id="56" name="Rectangle 55"/>
              <p:cNvSpPr/>
              <p:nvPr/>
            </p:nvSpPr>
            <p:spPr bwMode="auto">
              <a:xfrm>
                <a:off x="381000"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End to End Mapping</a:t>
                </a:r>
              </a:p>
            </p:txBody>
          </p:sp>
          <p:pic>
            <p:nvPicPr>
              <p:cNvPr id="57" name="Picture 4" descr="\\MAGNUM\Projects\Microsoft\Cloud Power FY12\Design\ICONS_PNG\Check_mark.png"/>
              <p:cNvPicPr>
                <a:picLocks noChangeAspect="1" noChangeArrowheads="1"/>
              </p:cNvPicPr>
              <p:nvPr/>
            </p:nvPicPr>
            <p:blipFill rotWithShape="1">
              <a:blip r:embed="rId18" cstate="print">
                <a:lum bright="100000"/>
              </a:blip>
              <a:srcRect t="11515"/>
              <a:stretch/>
            </p:blipFill>
            <p:spPr bwMode="auto">
              <a:xfrm>
                <a:off x="411681" y="2024234"/>
                <a:ext cx="1039871" cy="1209050"/>
              </a:xfrm>
              <a:prstGeom prst="rect">
                <a:avLst/>
              </a:prstGeom>
              <a:noFill/>
            </p:spPr>
          </p:pic>
          <p:sp>
            <p:nvSpPr>
              <p:cNvPr id="58" name="TextBox 57"/>
              <p:cNvSpPr txBox="1"/>
              <p:nvPr/>
            </p:nvSpPr>
            <p:spPr>
              <a:xfrm>
                <a:off x="2051561"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1</a:t>
                </a:r>
              </a:p>
            </p:txBody>
          </p:sp>
        </p:grpSp>
        <p:grpSp>
          <p:nvGrpSpPr>
            <p:cNvPr id="43" name="Group of Crosshairs" hidden="1"/>
            <p:cNvGrpSpPr/>
            <p:nvPr/>
          </p:nvGrpSpPr>
          <p:grpSpPr>
            <a:xfrm>
              <a:off x="928053" y="2452052"/>
              <a:ext cx="24288292" cy="917575"/>
              <a:chOff x="928053" y="4429828"/>
              <a:chExt cx="24288292" cy="917575"/>
            </a:xfrm>
          </p:grpSpPr>
          <p:sp>
            <p:nvSpPr>
              <p:cNvPr id="44" name="Crosshair"/>
              <p:cNvSpPr>
                <a:spLocks/>
              </p:cNvSpPr>
              <p:nvPr/>
            </p:nvSpPr>
            <p:spPr bwMode="auto">
              <a:xfrm>
                <a:off x="928053"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Crosshair"/>
              <p:cNvSpPr>
                <a:spLocks/>
              </p:cNvSpPr>
              <p:nvPr/>
            </p:nvSpPr>
            <p:spPr bwMode="auto">
              <a:xfrm>
                <a:off x="3052664"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Crosshair"/>
              <p:cNvSpPr>
                <a:spLocks/>
              </p:cNvSpPr>
              <p:nvPr/>
            </p:nvSpPr>
            <p:spPr bwMode="auto">
              <a:xfrm>
                <a:off x="5177275"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Crosshair"/>
              <p:cNvSpPr>
                <a:spLocks/>
              </p:cNvSpPr>
              <p:nvPr/>
            </p:nvSpPr>
            <p:spPr bwMode="auto">
              <a:xfrm>
                <a:off x="7301886"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Crosshair"/>
              <p:cNvSpPr>
                <a:spLocks/>
              </p:cNvSpPr>
              <p:nvPr/>
            </p:nvSpPr>
            <p:spPr bwMode="auto">
              <a:xfrm>
                <a:off x="9426497"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Crosshair"/>
              <p:cNvSpPr>
                <a:spLocks/>
              </p:cNvSpPr>
              <p:nvPr/>
            </p:nvSpPr>
            <p:spPr bwMode="auto">
              <a:xfrm>
                <a:off x="11551108"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Crosshair"/>
              <p:cNvSpPr>
                <a:spLocks/>
              </p:cNvSpPr>
              <p:nvPr/>
            </p:nvSpPr>
            <p:spPr bwMode="auto">
              <a:xfrm>
                <a:off x="13675719"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Crosshair"/>
              <p:cNvSpPr>
                <a:spLocks/>
              </p:cNvSpPr>
              <p:nvPr/>
            </p:nvSpPr>
            <p:spPr bwMode="auto">
              <a:xfrm>
                <a:off x="15800330"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Crosshair"/>
              <p:cNvSpPr>
                <a:spLocks/>
              </p:cNvSpPr>
              <p:nvPr/>
            </p:nvSpPr>
            <p:spPr bwMode="auto">
              <a:xfrm>
                <a:off x="17924941"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Crosshair"/>
              <p:cNvSpPr>
                <a:spLocks/>
              </p:cNvSpPr>
              <p:nvPr/>
            </p:nvSpPr>
            <p:spPr bwMode="auto">
              <a:xfrm>
                <a:off x="20049552"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Crosshair"/>
              <p:cNvSpPr>
                <a:spLocks/>
              </p:cNvSpPr>
              <p:nvPr/>
            </p:nvSpPr>
            <p:spPr bwMode="auto">
              <a:xfrm>
                <a:off x="22174163"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Crosshair"/>
              <p:cNvSpPr>
                <a:spLocks/>
              </p:cNvSpPr>
              <p:nvPr/>
            </p:nvSpPr>
            <p:spPr bwMode="auto">
              <a:xfrm>
                <a:off x="24298770"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grpSp>
        <p:nvGrpSpPr>
          <p:cNvPr id="100" name="Group 99"/>
          <p:cNvGrpSpPr/>
          <p:nvPr/>
        </p:nvGrpSpPr>
        <p:grpSpPr>
          <a:xfrm>
            <a:off x="362883" y="1430914"/>
            <a:ext cx="2015689" cy="1508760"/>
            <a:chOff x="4641528" y="1905000"/>
            <a:chExt cx="2015688" cy="2011680"/>
          </a:xfrm>
          <a:solidFill>
            <a:schemeClr val="accent5"/>
          </a:solidFill>
        </p:grpSpPr>
        <p:sp>
          <p:nvSpPr>
            <p:cNvPr id="130" name="Rectangle 129"/>
            <p:cNvSpPr/>
            <p:nvPr/>
          </p:nvSpPr>
          <p:spPr bwMode="auto">
            <a:xfrm>
              <a:off x="4641528" y="1905000"/>
              <a:ext cx="2015688" cy="2011680"/>
            </a:xfrm>
            <a:prstGeom prst="rect">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Allocation and Assignment</a:t>
              </a:r>
            </a:p>
          </p:txBody>
        </p:sp>
        <p:pic>
          <p:nvPicPr>
            <p:cNvPr id="131" name="Picture 3"/>
            <p:cNvPicPr>
              <a:picLocks noChangeAspect="1" noChangeArrowheads="1"/>
            </p:cNvPicPr>
            <p:nvPr>
              <p:custDataLst>
                <p:tags r:id="rId1"/>
              </p:custDataLst>
            </p:nvPr>
          </p:nvPicPr>
          <p:blipFill>
            <a:blip r:embed="rId14" cstate="print">
              <a:extLst>
                <a:ext uri="{28A0092B-C50C-407E-A947-70E740481C1C}">
                  <a14:useLocalDpi xmlns:a14="http://schemas.microsoft.com/office/drawing/2010/main"/>
                </a:ext>
              </a:extLst>
            </a:blip>
            <a:srcRect/>
            <a:stretch>
              <a:fillRect/>
            </a:stretch>
          </p:blipFill>
          <p:spPr bwMode="auto">
            <a:xfrm>
              <a:off x="4751660" y="2024982"/>
              <a:ext cx="554763" cy="984876"/>
            </a:xfrm>
            <a:prstGeom prst="rect">
              <a:avLst/>
            </a:prstGeom>
            <a:grpFill/>
            <a:ln>
              <a:noFill/>
              <a:headEnd type="none" w="med" len="med"/>
              <a:tailEnd type="none" w="med" len="med"/>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2" name="TextBox 131"/>
            <p:cNvSpPr txBox="1"/>
            <p:nvPr/>
          </p:nvSpPr>
          <p:spPr>
            <a:xfrm>
              <a:off x="6312089" y="1905000"/>
              <a:ext cx="267381" cy="615553"/>
            </a:xfrm>
            <a:prstGeom prst="rect">
              <a:avLst/>
            </a:prstGeom>
            <a:grpFill/>
          </p:spPr>
          <p:txBody>
            <a:bodyPr wrap="none" lIns="0" tIns="0" rIns="45720" bIns="0" rtlCol="0">
              <a:spAutoFit/>
            </a:bodyPr>
            <a:lstStyle/>
            <a:p>
              <a:r>
                <a:rPr lang="en-US" sz="3000" b="1" dirty="0">
                  <a:gradFill>
                    <a:gsLst>
                      <a:gs pos="0">
                        <a:schemeClr val="accent5">
                          <a:lumMod val="60000"/>
                          <a:lumOff val="40000"/>
                        </a:schemeClr>
                      </a:gs>
                      <a:gs pos="86000">
                        <a:schemeClr val="accent5">
                          <a:lumMod val="60000"/>
                          <a:lumOff val="40000"/>
                        </a:schemeClr>
                      </a:gs>
                    </a:gsLst>
                    <a:lin ang="5400000" scaled="0"/>
                  </a:gradFill>
                </a:rPr>
                <a:t>3</a:t>
              </a:r>
            </a:p>
          </p:txBody>
        </p:sp>
      </p:grpSp>
      <p:sp>
        <p:nvSpPr>
          <p:cNvPr id="92" name="Rectangle 91"/>
          <p:cNvSpPr/>
          <p:nvPr/>
        </p:nvSpPr>
        <p:spPr bwMode="auto">
          <a:xfrm>
            <a:off x="381003" y="3026668"/>
            <a:ext cx="8372207" cy="411152"/>
          </a:xfrm>
          <a:prstGeom prst="rect">
            <a:avLst/>
          </a:prstGeom>
          <a:solidFill>
            <a:schemeClr val="accent5"/>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defTabSz="685637" fontAlgn="base">
              <a:spcBef>
                <a:spcPct val="0"/>
              </a:spcBef>
              <a:spcAft>
                <a:spcPct val="0"/>
              </a:spcAft>
            </a:pPr>
            <a:r>
              <a:rPr lang="en-US" sz="1800" dirty="0">
                <a:solidFill>
                  <a:schemeClr val="tx1"/>
                </a:solidFill>
              </a:rPr>
              <a:t>Creation of Logical Units (Thick, Thin, Snapshot, Clone) and File Shares</a:t>
            </a:r>
          </a:p>
        </p:txBody>
      </p:sp>
      <p:sp>
        <p:nvSpPr>
          <p:cNvPr id="99" name="Rectangle 98"/>
          <p:cNvSpPr/>
          <p:nvPr/>
        </p:nvSpPr>
        <p:spPr bwMode="auto">
          <a:xfrm>
            <a:off x="381003" y="3503350"/>
            <a:ext cx="8372207" cy="411152"/>
          </a:xfrm>
          <a:prstGeom prst="rect">
            <a:avLst/>
          </a:prstGeom>
          <a:solidFill>
            <a:schemeClr val="accent5"/>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defTabSz="685637" fontAlgn="base">
              <a:spcBef>
                <a:spcPct val="0"/>
              </a:spcBef>
              <a:spcAft>
                <a:spcPct val="0"/>
              </a:spcAft>
            </a:pPr>
            <a:r>
              <a:rPr lang="en-US" sz="1800" dirty="0">
                <a:solidFill>
                  <a:schemeClr val="tx1"/>
                </a:solidFill>
              </a:rPr>
              <a:t>Assignment of Logical Units and File Shares to Hyper-V servers</a:t>
            </a:r>
          </a:p>
        </p:txBody>
      </p:sp>
      <p:sp>
        <p:nvSpPr>
          <p:cNvPr id="101" name="Rectangle 100"/>
          <p:cNvSpPr/>
          <p:nvPr/>
        </p:nvSpPr>
        <p:spPr bwMode="auto">
          <a:xfrm>
            <a:off x="381003" y="3970351"/>
            <a:ext cx="8372207" cy="411152"/>
          </a:xfrm>
          <a:prstGeom prst="rect">
            <a:avLst/>
          </a:prstGeom>
          <a:solidFill>
            <a:schemeClr val="accent5"/>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defTabSz="685637" fontAlgn="base">
              <a:spcBef>
                <a:spcPct val="0"/>
              </a:spcBef>
              <a:spcAft>
                <a:spcPct val="0"/>
              </a:spcAft>
            </a:pPr>
            <a:r>
              <a:rPr lang="en-US" sz="1800" dirty="0">
                <a:solidFill>
                  <a:schemeClr val="tx1"/>
                </a:solidFill>
              </a:rPr>
              <a:t>Allocation of Storage to Host Groups and Clouds</a:t>
            </a:r>
          </a:p>
        </p:txBody>
      </p:sp>
      <p:sp>
        <p:nvSpPr>
          <p:cNvPr id="94" name="Rectangle 93"/>
          <p:cNvSpPr/>
          <p:nvPr/>
        </p:nvSpPr>
        <p:spPr bwMode="auto">
          <a:xfrm>
            <a:off x="393703" y="4446601"/>
            <a:ext cx="8372207" cy="411152"/>
          </a:xfrm>
          <a:prstGeom prst="rect">
            <a:avLst/>
          </a:prstGeom>
          <a:solidFill>
            <a:schemeClr val="accent5"/>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defTabSz="685637" fontAlgn="base">
              <a:spcBef>
                <a:spcPct val="0"/>
              </a:spcBef>
              <a:spcAft>
                <a:spcPct val="0"/>
              </a:spcAft>
            </a:pPr>
            <a:r>
              <a:rPr lang="en-US" sz="1800" dirty="0">
                <a:solidFill>
                  <a:schemeClr val="tx1"/>
                </a:solidFill>
              </a:rPr>
              <a:t>Host Disk Initialization, Partitioning, Volume Formatting</a:t>
            </a:r>
          </a:p>
        </p:txBody>
      </p:sp>
      <p:pic>
        <p:nvPicPr>
          <p:cNvPr id="95" name="Picture 2" descr="\\eventsql\dvd\Online_ART\DVD_ART36\Logos\System Center Virtual Machine Manager 2008 R2\system center virtual machine manager 2008 r2 h rev.png"/>
          <p:cNvPicPr>
            <a:picLocks noChangeAspect="1" noChangeArrowheads="1"/>
          </p:cNvPicPr>
          <p:nvPr/>
        </p:nvPicPr>
        <p:blipFill rotWithShape="1">
          <a:blip r:embed="rId19">
            <a:extLst>
              <a:ext uri="{28A0092B-C50C-407E-A947-70E740481C1C}">
                <a14:useLocalDpi xmlns:a14="http://schemas.microsoft.com/office/drawing/2010/main" val="0"/>
              </a:ext>
            </a:extLst>
          </a:blip>
          <a:srcRect r="16495"/>
          <a:stretch/>
        </p:blipFill>
        <p:spPr bwMode="auto">
          <a:xfrm>
            <a:off x="4300244" y="139992"/>
            <a:ext cx="3072835" cy="777872"/>
          </a:xfrm>
          <a:prstGeom prst="rect">
            <a:avLst/>
          </a:prstGeom>
          <a:noFill/>
          <a:extLst>
            <a:ext uri="{909E8E84-426E-40DD-AFC4-6F175D3DCCD1}">
              <a14:hiddenFill xmlns:a14="http://schemas.microsoft.com/office/drawing/2010/main">
                <a:solidFill>
                  <a:srgbClr val="FFFFFF"/>
                </a:solidFill>
              </a14:hiddenFill>
            </a:ext>
          </a:extLst>
        </p:spPr>
      </p:pic>
      <p:sp>
        <p:nvSpPr>
          <p:cNvPr id="93"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96"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0"/>
              </a:rPr>
              <a:t>www.rapidbbs.cn</a:t>
            </a:r>
            <a:endParaRPr lang="zh-CN" altLang="en-US" sz="1200" b="0">
              <a:latin typeface="Arial" charset="0"/>
              <a:ea typeface="ＭＳ Ｐゴシック" pitchFamily="34" charset="-128"/>
            </a:endParaRPr>
          </a:p>
        </p:txBody>
      </p:sp>
      <p:pic>
        <p:nvPicPr>
          <p:cNvPr id="97" name="Picture 2">
            <a:hlinkClick r:id="rId20"/>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42864098"/>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accel="50000" decel="50000" fill="hold" nodeType="afterEffect">
                                  <p:stCondLst>
                                    <p:cond delay="0"/>
                                  </p:stCondLst>
                                  <p:childTnLst>
                                    <p:animMotion origin="layout" path="M -3.88889E-6 4.44444E-6 L -0.23246 4.44444E-6 " pathEditMode="relative" rAng="0" ptsTypes="AA">
                                      <p:cBhvr>
                                        <p:cTn id="6" dur="1500" fill="hold"/>
                                        <p:tgtEl>
                                          <p:spTgt spid="21"/>
                                        </p:tgtEl>
                                        <p:attrNameLst>
                                          <p:attrName>ppt_x</p:attrName>
                                          <p:attrName>ppt_y</p:attrName>
                                        </p:attrNameLst>
                                      </p:cBhvr>
                                      <p:rCtr x="-11632" y="0"/>
                                    </p:animMotion>
                                  </p:childTnLst>
                                </p:cTn>
                              </p:par>
                            </p:childTnLst>
                          </p:cTn>
                        </p:par>
                        <p:par>
                          <p:cTn id="7" fill="hold">
                            <p:stCondLst>
                              <p:cond delay="1500"/>
                            </p:stCondLst>
                            <p:childTnLst>
                              <p:par>
                                <p:cTn id="8" presetID="22" presetClass="entr" presetSubtype="4" fill="hold" nodeType="afterEffect">
                                  <p:stCondLst>
                                    <p:cond delay="0"/>
                                  </p:stCondLst>
                                  <p:childTnLst>
                                    <p:set>
                                      <p:cBhvr>
                                        <p:cTn id="9" dur="1" fill="hold">
                                          <p:stCondLst>
                                            <p:cond delay="0"/>
                                          </p:stCondLst>
                                        </p:cTn>
                                        <p:tgtEl>
                                          <p:spTgt spid="100"/>
                                        </p:tgtEl>
                                        <p:attrNameLst>
                                          <p:attrName>style.visibility</p:attrName>
                                        </p:attrNameLst>
                                      </p:cBhvr>
                                      <p:to>
                                        <p:strVal val="visible"/>
                                      </p:to>
                                    </p:set>
                                    <p:animEffect transition="in" filter="wipe(down)">
                                      <p:cBhvr>
                                        <p:cTn id="10" dur="500"/>
                                        <p:tgtEl>
                                          <p:spTgt spid="100"/>
                                        </p:tgtEl>
                                      </p:cBhvr>
                                    </p:animEffect>
                                  </p:childTnLst>
                                </p:cTn>
                              </p:par>
                            </p:childTnLst>
                          </p:cTn>
                        </p:par>
                        <p:par>
                          <p:cTn id="11" fill="hold">
                            <p:stCondLst>
                              <p:cond delay="2000"/>
                            </p:stCondLst>
                            <p:childTnLst>
                              <p:par>
                                <p:cTn id="12" presetID="2" presetClass="entr" presetSubtype="2" decel="100000" fill="hold" grpId="0" nodeType="afterEffect">
                                  <p:stCondLst>
                                    <p:cond delay="0"/>
                                  </p:stCondLst>
                                  <p:childTnLst>
                                    <p:set>
                                      <p:cBhvr>
                                        <p:cTn id="13" dur="1" fill="hold">
                                          <p:stCondLst>
                                            <p:cond delay="0"/>
                                          </p:stCondLst>
                                        </p:cTn>
                                        <p:tgtEl>
                                          <p:spTgt spid="92"/>
                                        </p:tgtEl>
                                        <p:attrNameLst>
                                          <p:attrName>style.visibility</p:attrName>
                                        </p:attrNameLst>
                                      </p:cBhvr>
                                      <p:to>
                                        <p:strVal val="visible"/>
                                      </p:to>
                                    </p:set>
                                    <p:anim calcmode="lin" valueType="num">
                                      <p:cBhvr additive="base">
                                        <p:cTn id="14" dur="1000" fill="hold"/>
                                        <p:tgtEl>
                                          <p:spTgt spid="92"/>
                                        </p:tgtEl>
                                        <p:attrNameLst>
                                          <p:attrName>ppt_x</p:attrName>
                                        </p:attrNameLst>
                                      </p:cBhvr>
                                      <p:tavLst>
                                        <p:tav tm="0">
                                          <p:val>
                                            <p:strVal val="1+#ppt_w/2"/>
                                          </p:val>
                                        </p:tav>
                                        <p:tav tm="100000">
                                          <p:val>
                                            <p:strVal val="#ppt_x"/>
                                          </p:val>
                                        </p:tav>
                                      </p:tavLst>
                                    </p:anim>
                                    <p:anim calcmode="lin" valueType="num">
                                      <p:cBhvr additive="base">
                                        <p:cTn id="15" dur="1000" fill="hold"/>
                                        <p:tgtEl>
                                          <p:spTgt spid="92"/>
                                        </p:tgtEl>
                                        <p:attrNameLst>
                                          <p:attrName>ppt_y</p:attrName>
                                        </p:attrNameLst>
                                      </p:cBhvr>
                                      <p:tavLst>
                                        <p:tav tm="0">
                                          <p:val>
                                            <p:strVal val="#ppt_y"/>
                                          </p:val>
                                        </p:tav>
                                        <p:tav tm="100000">
                                          <p:val>
                                            <p:strVal val="#ppt_y"/>
                                          </p:val>
                                        </p:tav>
                                      </p:tavLst>
                                    </p:anim>
                                  </p:childTnLst>
                                </p:cTn>
                              </p:par>
                              <p:par>
                                <p:cTn id="16" presetID="2" presetClass="entr" presetSubtype="2" decel="100000" fill="hold" grpId="0" nodeType="withEffect">
                                  <p:stCondLst>
                                    <p:cond delay="500"/>
                                  </p:stCondLst>
                                  <p:childTnLst>
                                    <p:set>
                                      <p:cBhvr>
                                        <p:cTn id="17" dur="1" fill="hold">
                                          <p:stCondLst>
                                            <p:cond delay="0"/>
                                          </p:stCondLst>
                                        </p:cTn>
                                        <p:tgtEl>
                                          <p:spTgt spid="99"/>
                                        </p:tgtEl>
                                        <p:attrNameLst>
                                          <p:attrName>style.visibility</p:attrName>
                                        </p:attrNameLst>
                                      </p:cBhvr>
                                      <p:to>
                                        <p:strVal val="visible"/>
                                      </p:to>
                                    </p:set>
                                    <p:anim calcmode="lin" valueType="num">
                                      <p:cBhvr additive="base">
                                        <p:cTn id="18" dur="1000" fill="hold"/>
                                        <p:tgtEl>
                                          <p:spTgt spid="99"/>
                                        </p:tgtEl>
                                        <p:attrNameLst>
                                          <p:attrName>ppt_x</p:attrName>
                                        </p:attrNameLst>
                                      </p:cBhvr>
                                      <p:tavLst>
                                        <p:tav tm="0">
                                          <p:val>
                                            <p:strVal val="1+#ppt_w/2"/>
                                          </p:val>
                                        </p:tav>
                                        <p:tav tm="100000">
                                          <p:val>
                                            <p:strVal val="#ppt_x"/>
                                          </p:val>
                                        </p:tav>
                                      </p:tavLst>
                                    </p:anim>
                                    <p:anim calcmode="lin" valueType="num">
                                      <p:cBhvr additive="base">
                                        <p:cTn id="19" dur="1000" fill="hold"/>
                                        <p:tgtEl>
                                          <p:spTgt spid="99"/>
                                        </p:tgtEl>
                                        <p:attrNameLst>
                                          <p:attrName>ppt_y</p:attrName>
                                        </p:attrNameLst>
                                      </p:cBhvr>
                                      <p:tavLst>
                                        <p:tav tm="0">
                                          <p:val>
                                            <p:strVal val="#ppt_y"/>
                                          </p:val>
                                        </p:tav>
                                        <p:tav tm="100000">
                                          <p:val>
                                            <p:strVal val="#ppt_y"/>
                                          </p:val>
                                        </p:tav>
                                      </p:tavLst>
                                    </p:anim>
                                  </p:childTnLst>
                                </p:cTn>
                              </p:par>
                              <p:par>
                                <p:cTn id="20" presetID="2" presetClass="entr" presetSubtype="2" decel="100000" fill="hold" grpId="0" nodeType="withEffect">
                                  <p:stCondLst>
                                    <p:cond delay="1000"/>
                                  </p:stCondLst>
                                  <p:childTnLst>
                                    <p:set>
                                      <p:cBhvr>
                                        <p:cTn id="21" dur="1" fill="hold">
                                          <p:stCondLst>
                                            <p:cond delay="0"/>
                                          </p:stCondLst>
                                        </p:cTn>
                                        <p:tgtEl>
                                          <p:spTgt spid="101"/>
                                        </p:tgtEl>
                                        <p:attrNameLst>
                                          <p:attrName>style.visibility</p:attrName>
                                        </p:attrNameLst>
                                      </p:cBhvr>
                                      <p:to>
                                        <p:strVal val="visible"/>
                                      </p:to>
                                    </p:set>
                                    <p:anim calcmode="lin" valueType="num">
                                      <p:cBhvr additive="base">
                                        <p:cTn id="22" dur="1000" fill="hold"/>
                                        <p:tgtEl>
                                          <p:spTgt spid="101"/>
                                        </p:tgtEl>
                                        <p:attrNameLst>
                                          <p:attrName>ppt_x</p:attrName>
                                        </p:attrNameLst>
                                      </p:cBhvr>
                                      <p:tavLst>
                                        <p:tav tm="0">
                                          <p:val>
                                            <p:strVal val="1+#ppt_w/2"/>
                                          </p:val>
                                        </p:tav>
                                        <p:tav tm="100000">
                                          <p:val>
                                            <p:strVal val="#ppt_x"/>
                                          </p:val>
                                        </p:tav>
                                      </p:tavLst>
                                    </p:anim>
                                    <p:anim calcmode="lin" valueType="num">
                                      <p:cBhvr additive="base">
                                        <p:cTn id="23" dur="1000" fill="hold"/>
                                        <p:tgtEl>
                                          <p:spTgt spid="101"/>
                                        </p:tgtEl>
                                        <p:attrNameLst>
                                          <p:attrName>ppt_y</p:attrName>
                                        </p:attrNameLst>
                                      </p:cBhvr>
                                      <p:tavLst>
                                        <p:tav tm="0">
                                          <p:val>
                                            <p:strVal val="#ppt_y"/>
                                          </p:val>
                                        </p:tav>
                                        <p:tav tm="100000">
                                          <p:val>
                                            <p:strVal val="#ppt_y"/>
                                          </p:val>
                                        </p:tav>
                                      </p:tavLst>
                                    </p:anim>
                                  </p:childTnLst>
                                </p:cTn>
                              </p:par>
                              <p:par>
                                <p:cTn id="24" presetID="2" presetClass="entr" presetSubtype="2" decel="100000" fill="hold" grpId="0" nodeType="withEffect">
                                  <p:stCondLst>
                                    <p:cond delay="1500"/>
                                  </p:stCondLst>
                                  <p:childTnLst>
                                    <p:set>
                                      <p:cBhvr>
                                        <p:cTn id="25" dur="1" fill="hold">
                                          <p:stCondLst>
                                            <p:cond delay="0"/>
                                          </p:stCondLst>
                                        </p:cTn>
                                        <p:tgtEl>
                                          <p:spTgt spid="94"/>
                                        </p:tgtEl>
                                        <p:attrNameLst>
                                          <p:attrName>style.visibility</p:attrName>
                                        </p:attrNameLst>
                                      </p:cBhvr>
                                      <p:to>
                                        <p:strVal val="visible"/>
                                      </p:to>
                                    </p:set>
                                    <p:anim calcmode="lin" valueType="num">
                                      <p:cBhvr additive="base">
                                        <p:cTn id="26" dur="1000" fill="hold"/>
                                        <p:tgtEl>
                                          <p:spTgt spid="94"/>
                                        </p:tgtEl>
                                        <p:attrNameLst>
                                          <p:attrName>ppt_x</p:attrName>
                                        </p:attrNameLst>
                                      </p:cBhvr>
                                      <p:tavLst>
                                        <p:tav tm="0">
                                          <p:val>
                                            <p:strVal val="1+#ppt_w/2"/>
                                          </p:val>
                                        </p:tav>
                                        <p:tav tm="100000">
                                          <p:val>
                                            <p:strVal val="#ppt_x"/>
                                          </p:val>
                                        </p:tav>
                                      </p:tavLst>
                                    </p:anim>
                                    <p:anim calcmode="lin" valueType="num">
                                      <p:cBhvr additive="base">
                                        <p:cTn id="27" dur="1000" fill="hold"/>
                                        <p:tgtEl>
                                          <p:spTgt spid="9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 grpId="0" animBg="1"/>
      <p:bldP spid="99" grpId="0" animBg="1"/>
      <p:bldP spid="101" grpId="0" animBg="1"/>
      <p:bldP spid="94" grpId="0" animBg="1"/>
    </p:bldLst>
  </p:timing>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p:cNvGrpSpPr/>
          <p:nvPr/>
        </p:nvGrpSpPr>
        <p:grpSpPr>
          <a:xfrm>
            <a:off x="-3901377" y="1428749"/>
            <a:ext cx="25382397" cy="1508760"/>
            <a:chOff x="381000" y="1904999"/>
            <a:chExt cx="25382397" cy="2011680"/>
          </a:xfrm>
        </p:grpSpPr>
        <p:grpSp>
          <p:nvGrpSpPr>
            <p:cNvPr id="24" name="Group 23"/>
            <p:cNvGrpSpPr/>
            <p:nvPr/>
          </p:nvGrpSpPr>
          <p:grpSpPr>
            <a:xfrm>
              <a:off x="23751717" y="1904999"/>
              <a:ext cx="2011680" cy="2011680"/>
              <a:chOff x="23751717" y="1905000"/>
              <a:chExt cx="2011680" cy="2011680"/>
            </a:xfrm>
          </p:grpSpPr>
          <p:sp>
            <p:nvSpPr>
              <p:cNvPr id="89" name="Rectangle 88"/>
              <p:cNvSpPr/>
              <p:nvPr/>
            </p:nvSpPr>
            <p:spPr bwMode="auto">
              <a:xfrm>
                <a:off x="23751717"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 </a:t>
                </a:r>
                <a:br>
                  <a:rPr lang="en-US" sz="1500" dirty="0">
                    <a:gradFill>
                      <a:gsLst>
                        <a:gs pos="0">
                          <a:srgbClr val="FFFFFF"/>
                        </a:gs>
                        <a:gs pos="100000">
                          <a:srgbClr val="FFFFFF"/>
                        </a:gs>
                      </a:gsLst>
                      <a:lin ang="5400000" scaled="0"/>
                    </a:gradFill>
                  </a:rPr>
                </a:br>
                <a:r>
                  <a:rPr lang="en-US" sz="1500" dirty="0">
                    <a:gradFill>
                      <a:gsLst>
                        <a:gs pos="0">
                          <a:srgbClr val="FFFFFF"/>
                        </a:gs>
                        <a:gs pos="100000">
                          <a:srgbClr val="FFFFFF"/>
                        </a:gs>
                      </a:gsLst>
                      <a:lin ang="5400000" scaled="0"/>
                    </a:gradFill>
                  </a:rPr>
                  <a:t>.</a:t>
                </a:r>
              </a:p>
            </p:txBody>
          </p:sp>
          <p:pic>
            <p:nvPicPr>
              <p:cNvPr id="90" name="Picture 147"/>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3834789" y="2130724"/>
                <a:ext cx="1197252" cy="8242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1" name="TextBox 90"/>
              <p:cNvSpPr txBox="1"/>
              <p:nvPr/>
            </p:nvSpPr>
            <p:spPr>
              <a:xfrm>
                <a:off x="25111146" y="1905000"/>
                <a:ext cx="488595"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12</a:t>
                </a:r>
              </a:p>
            </p:txBody>
          </p:sp>
        </p:grpSp>
        <p:grpSp>
          <p:nvGrpSpPr>
            <p:cNvPr id="26" name="Group 25"/>
            <p:cNvGrpSpPr/>
            <p:nvPr/>
          </p:nvGrpSpPr>
          <p:grpSpPr>
            <a:xfrm>
              <a:off x="21627110" y="1904999"/>
              <a:ext cx="2011680" cy="2011680"/>
              <a:chOff x="21628277" y="1905000"/>
              <a:chExt cx="2011680" cy="2011680"/>
            </a:xfrm>
          </p:grpSpPr>
          <p:sp>
            <p:nvSpPr>
              <p:cNvPr id="86" name="Rectangle 85"/>
              <p:cNvSpPr/>
              <p:nvPr/>
            </p:nvSpPr>
            <p:spPr bwMode="auto">
              <a:xfrm>
                <a:off x="21628277"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Standards Based Management </a:t>
                </a:r>
              </a:p>
            </p:txBody>
          </p:sp>
          <p:pic>
            <p:nvPicPr>
              <p:cNvPr id="87" name="Picture 3" descr="\\SFP\Work\White_Whale\3-22036_Kuleen_Bharadwaj\PPT\3_PlatformVision_Kuleen\SFP_Art\Plane Slide\mon_notie.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1734293" y="2102691"/>
                <a:ext cx="669330" cy="915763"/>
              </a:xfrm>
              <a:prstGeom prst="rect">
                <a:avLst/>
              </a:prstGeom>
              <a:noFill/>
              <a:extLst>
                <a:ext uri="{909E8E84-426E-40DD-AFC4-6F175D3DCCD1}">
                  <a14:hiddenFill xmlns:a14="http://schemas.microsoft.com/office/drawing/2010/main">
                    <a:solidFill>
                      <a:srgbClr val="FFFFFF"/>
                    </a:solidFill>
                  </a14:hiddenFill>
                </a:ext>
              </a:extLst>
            </p:spPr>
          </p:pic>
          <p:sp>
            <p:nvSpPr>
              <p:cNvPr id="88" name="TextBox 87"/>
              <p:cNvSpPr txBox="1"/>
              <p:nvPr/>
            </p:nvSpPr>
            <p:spPr>
              <a:xfrm>
                <a:off x="22993494" y="1905000"/>
                <a:ext cx="488595"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11</a:t>
                </a:r>
              </a:p>
            </p:txBody>
          </p:sp>
        </p:grpSp>
        <p:grpSp>
          <p:nvGrpSpPr>
            <p:cNvPr id="27" name="Group 26"/>
            <p:cNvGrpSpPr/>
            <p:nvPr/>
          </p:nvGrpSpPr>
          <p:grpSpPr>
            <a:xfrm>
              <a:off x="19502499" y="1904999"/>
              <a:ext cx="2011680" cy="2011680"/>
              <a:chOff x="19504837" y="1905000"/>
              <a:chExt cx="2011680" cy="2011680"/>
            </a:xfrm>
          </p:grpSpPr>
          <p:sp>
            <p:nvSpPr>
              <p:cNvPr id="83" name="Rectangle 82"/>
              <p:cNvSpPr/>
              <p:nvPr/>
            </p:nvSpPr>
            <p:spPr bwMode="auto">
              <a:xfrm>
                <a:off x="19504837"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Extensive Array Support </a:t>
                </a:r>
              </a:p>
            </p:txBody>
          </p:sp>
          <p:pic>
            <p:nvPicPr>
              <p:cNvPr id="84" name="Picture 7" descr="\\MAGNUM\Projects\Microsoft\Cloud Power FY12\Design\ICONS_PNG\Physical_Virtual.png"/>
              <p:cNvPicPr>
                <a:picLocks noChangeAspect="1" noChangeArrowheads="1"/>
              </p:cNvPicPr>
              <p:nvPr/>
            </p:nvPicPr>
            <p:blipFill rotWithShape="1">
              <a:blip r:embed="rId7" cstate="print">
                <a:extLst>
                  <a:ext uri="{BEBA8EAE-BF5A-486C-A8C5-ECC9F3942E4B}">
                    <a14:imgProps xmlns:a14="http://schemas.microsoft.com/office/drawing/2010/main">
                      <a14:imgLayer r:embed="rId8">
                        <a14:imgEffect>
                          <a14:brightnessContrast bright="100000"/>
                        </a14:imgEffect>
                      </a14:imgLayer>
                    </a14:imgProps>
                  </a:ext>
                </a:extLst>
              </a:blip>
              <a:srcRect l="7856" t="39072" r="7907" b="5885"/>
              <a:stretch/>
            </p:blipFill>
            <p:spPr bwMode="auto">
              <a:xfrm>
                <a:off x="19529881" y="2070341"/>
                <a:ext cx="1217132" cy="962205"/>
              </a:xfrm>
              <a:prstGeom prst="rect">
                <a:avLst/>
              </a:prstGeom>
              <a:noFill/>
            </p:spPr>
          </p:pic>
          <p:sp>
            <p:nvSpPr>
              <p:cNvPr id="85" name="TextBox 84"/>
              <p:cNvSpPr txBox="1"/>
              <p:nvPr/>
            </p:nvSpPr>
            <p:spPr>
              <a:xfrm>
                <a:off x="20870054" y="1905000"/>
                <a:ext cx="488595"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10</a:t>
                </a:r>
              </a:p>
            </p:txBody>
          </p:sp>
        </p:grpSp>
        <p:grpSp>
          <p:nvGrpSpPr>
            <p:cNvPr id="28" name="Group 27"/>
            <p:cNvGrpSpPr/>
            <p:nvPr/>
          </p:nvGrpSpPr>
          <p:grpSpPr>
            <a:xfrm>
              <a:off x="17377888" y="1904999"/>
              <a:ext cx="2011680" cy="2011680"/>
              <a:chOff x="17381397" y="1905000"/>
              <a:chExt cx="2011680" cy="2011680"/>
            </a:xfrm>
          </p:grpSpPr>
          <p:sp>
            <p:nvSpPr>
              <p:cNvPr id="80" name="Rectangle 79"/>
              <p:cNvSpPr/>
              <p:nvPr/>
            </p:nvSpPr>
            <p:spPr bwMode="auto">
              <a:xfrm>
                <a:off x="17381397"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Scalable Provisioning</a:t>
                </a:r>
                <a:br>
                  <a:rPr lang="en-US" sz="1500" dirty="0">
                    <a:gradFill>
                      <a:gsLst>
                        <a:gs pos="0">
                          <a:srgbClr val="FFFFFF"/>
                        </a:gs>
                        <a:gs pos="100000">
                          <a:srgbClr val="FFFFFF"/>
                        </a:gs>
                      </a:gsLst>
                      <a:lin ang="5400000" scaled="0"/>
                    </a:gradFill>
                  </a:rPr>
                </a:br>
                <a:r>
                  <a:rPr lang="en-US" sz="1500" dirty="0">
                    <a:gradFill>
                      <a:gsLst>
                        <a:gs pos="0">
                          <a:srgbClr val="FFFFFF"/>
                        </a:gs>
                        <a:gs pos="100000">
                          <a:srgbClr val="FFFFFF"/>
                        </a:gs>
                      </a:gsLst>
                      <a:lin ang="5400000" scaled="0"/>
                    </a:gradFill>
                  </a:rPr>
                  <a:t> </a:t>
                </a:r>
              </a:p>
            </p:txBody>
          </p:sp>
          <p:pic>
            <p:nvPicPr>
              <p:cNvPr id="81" name="Picture 108"/>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7504751" y="2104845"/>
                <a:ext cx="728178" cy="880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2" name="TextBox 81"/>
              <p:cNvSpPr txBox="1"/>
              <p:nvPr/>
            </p:nvSpPr>
            <p:spPr>
              <a:xfrm>
                <a:off x="19051958"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9</a:t>
                </a:r>
              </a:p>
            </p:txBody>
          </p:sp>
        </p:grpSp>
        <p:grpSp>
          <p:nvGrpSpPr>
            <p:cNvPr id="29" name="Group 28"/>
            <p:cNvGrpSpPr/>
            <p:nvPr/>
          </p:nvGrpSpPr>
          <p:grpSpPr>
            <a:xfrm>
              <a:off x="15253277" y="1904999"/>
              <a:ext cx="2011680" cy="2011680"/>
              <a:chOff x="15253277" y="1905000"/>
              <a:chExt cx="2011680" cy="2011680"/>
            </a:xfrm>
          </p:grpSpPr>
          <p:sp>
            <p:nvSpPr>
              <p:cNvPr id="77" name="Rectangle 76"/>
              <p:cNvSpPr/>
              <p:nvPr/>
            </p:nvSpPr>
            <p:spPr bwMode="auto">
              <a:xfrm>
                <a:off x="15253277"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Storage Automation</a:t>
                </a:r>
              </a:p>
            </p:txBody>
          </p:sp>
          <p:pic>
            <p:nvPicPr>
              <p:cNvPr id="78" name="Picture 8"/>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5367380" y="2104845"/>
                <a:ext cx="975598" cy="8877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9" name="TextBox 78"/>
              <p:cNvSpPr txBox="1"/>
              <p:nvPr/>
            </p:nvSpPr>
            <p:spPr>
              <a:xfrm>
                <a:off x="16914045"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8</a:t>
                </a:r>
              </a:p>
            </p:txBody>
          </p:sp>
        </p:grpSp>
        <p:grpSp>
          <p:nvGrpSpPr>
            <p:cNvPr id="31" name="Group 30"/>
            <p:cNvGrpSpPr/>
            <p:nvPr/>
          </p:nvGrpSpPr>
          <p:grpSpPr>
            <a:xfrm>
              <a:off x="8879444" y="1904999"/>
              <a:ext cx="2011680" cy="2011680"/>
              <a:chOff x="8877050" y="1905000"/>
              <a:chExt cx="2011680" cy="2011680"/>
            </a:xfrm>
          </p:grpSpPr>
          <p:sp>
            <p:nvSpPr>
              <p:cNvPr id="74" name="Rectangle 73"/>
              <p:cNvSpPr/>
              <p:nvPr/>
            </p:nvSpPr>
            <p:spPr bwMode="auto">
              <a:xfrm>
                <a:off x="8877050"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SAN Migration</a:t>
                </a:r>
              </a:p>
            </p:txBody>
          </p:sp>
          <p:pic>
            <p:nvPicPr>
              <p:cNvPr id="75" name="Picture 2"/>
              <p:cNvPicPr>
                <a:picLocks noChangeAspect="1" noChangeArrowheads="1"/>
              </p:cNvPicPr>
              <p:nvPr/>
            </p:nvPicPr>
            <p:blipFill>
              <a:blip r:embed="rId11">
                <a:extLst>
                  <a:ext uri="{28A0092B-C50C-407E-A947-70E740481C1C}">
                    <a14:useLocalDpi xmlns:a14="http://schemas.microsoft.com/office/drawing/2010/main" val="0"/>
                  </a:ext>
                </a:extLst>
              </a:blip>
              <a:stretch>
                <a:fillRect/>
              </a:stretch>
            </p:blipFill>
            <p:spPr bwMode="auto">
              <a:xfrm>
                <a:off x="9003772" y="2087593"/>
                <a:ext cx="1013736" cy="9049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6" name="TextBox 75"/>
              <p:cNvSpPr txBox="1"/>
              <p:nvPr/>
            </p:nvSpPr>
            <p:spPr>
              <a:xfrm>
                <a:off x="10533215"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5</a:t>
                </a:r>
              </a:p>
            </p:txBody>
          </p:sp>
        </p:grpSp>
        <p:grpSp>
          <p:nvGrpSpPr>
            <p:cNvPr id="32" name="Group 31"/>
            <p:cNvGrpSpPr/>
            <p:nvPr/>
          </p:nvGrpSpPr>
          <p:grpSpPr>
            <a:xfrm>
              <a:off x="6754833" y="1904999"/>
              <a:ext cx="2011680" cy="2011680"/>
              <a:chOff x="6752439" y="1905000"/>
              <a:chExt cx="2011680" cy="2011680"/>
            </a:xfrm>
          </p:grpSpPr>
          <p:sp>
            <p:nvSpPr>
              <p:cNvPr id="71" name="Rectangle 70"/>
              <p:cNvSpPr/>
              <p:nvPr/>
            </p:nvSpPr>
            <p:spPr bwMode="auto">
              <a:xfrm>
                <a:off x="6752439"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Rapid Provisioning</a:t>
                </a:r>
                <a:br>
                  <a:rPr lang="en-US" sz="1500" dirty="0">
                    <a:gradFill>
                      <a:gsLst>
                        <a:gs pos="0">
                          <a:srgbClr val="FFFFFF"/>
                        </a:gs>
                        <a:gs pos="100000">
                          <a:srgbClr val="FFFFFF"/>
                        </a:gs>
                      </a:gsLst>
                      <a:lin ang="5400000" scaled="0"/>
                    </a:gradFill>
                  </a:rPr>
                </a:br>
                <a:r>
                  <a:rPr lang="en-US" sz="1500" dirty="0">
                    <a:gradFill>
                      <a:gsLst>
                        <a:gs pos="0">
                          <a:srgbClr val="FFFFFF"/>
                        </a:gs>
                        <a:gs pos="100000">
                          <a:srgbClr val="FFFFFF"/>
                        </a:gs>
                      </a:gsLst>
                      <a:lin ang="5400000" scaled="0"/>
                    </a:gradFill>
                  </a:rPr>
                  <a:t>  </a:t>
                </a:r>
              </a:p>
            </p:txBody>
          </p:sp>
          <p:pic>
            <p:nvPicPr>
              <p:cNvPr id="72" name="Picture 174"/>
              <p:cNvPicPr>
                <a:picLocks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868882" y="2024982"/>
                <a:ext cx="752479" cy="9998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3" name="TextBox 72"/>
              <p:cNvSpPr txBox="1"/>
              <p:nvPr/>
            </p:nvSpPr>
            <p:spPr>
              <a:xfrm>
                <a:off x="8418995"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4</a:t>
                </a:r>
              </a:p>
            </p:txBody>
          </p:sp>
        </p:grpSp>
        <p:grpSp>
          <p:nvGrpSpPr>
            <p:cNvPr id="33" name="Group 32"/>
            <p:cNvGrpSpPr/>
            <p:nvPr/>
          </p:nvGrpSpPr>
          <p:grpSpPr>
            <a:xfrm>
              <a:off x="4630222" y="1904999"/>
              <a:ext cx="2011680" cy="2011680"/>
              <a:chOff x="4641528" y="1905000"/>
              <a:chExt cx="2011680" cy="2011680"/>
            </a:xfrm>
          </p:grpSpPr>
          <p:sp>
            <p:nvSpPr>
              <p:cNvPr id="68" name="Rectangle 67"/>
              <p:cNvSpPr/>
              <p:nvPr/>
            </p:nvSpPr>
            <p:spPr bwMode="auto">
              <a:xfrm>
                <a:off x="4641528"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Allocation and Assignment</a:t>
                </a:r>
              </a:p>
            </p:txBody>
          </p:sp>
          <p:pic>
            <p:nvPicPr>
              <p:cNvPr id="69" name="Picture 3"/>
              <p:cNvPicPr>
                <a:picLocks noChangeAspect="1" noChangeArrowheads="1"/>
              </p:cNvPicPr>
              <p:nvPr>
                <p:custDataLst>
                  <p:tags r:id="rId2"/>
                </p:custDataLst>
              </p:nvPr>
            </p:nvPicPr>
            <p:blipFill>
              <a:blip r:embed="rId13" cstate="print">
                <a:extLst>
                  <a:ext uri="{28A0092B-C50C-407E-A947-70E740481C1C}">
                    <a14:useLocalDpi xmlns:a14="http://schemas.microsoft.com/office/drawing/2010/main"/>
                  </a:ext>
                </a:extLst>
              </a:blip>
              <a:srcRect/>
              <a:stretch>
                <a:fillRect/>
              </a:stretch>
            </p:blipFill>
            <p:spPr bwMode="auto">
              <a:xfrm>
                <a:off x="4751660" y="2024982"/>
                <a:ext cx="569802" cy="984876"/>
              </a:xfrm>
              <a:prstGeom prst="rect">
                <a:avLst/>
              </a:prstGeom>
              <a:noFill/>
              <a:ln>
                <a:noFill/>
                <a:headEnd type="none" w="med" len="med"/>
                <a:tailEnd type="none" w="med" len="med"/>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0" name="TextBox 69"/>
              <p:cNvSpPr txBox="1"/>
              <p:nvPr/>
            </p:nvSpPr>
            <p:spPr>
              <a:xfrm>
                <a:off x="6312089"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3</a:t>
                </a:r>
              </a:p>
            </p:txBody>
          </p:sp>
        </p:grpSp>
        <p:grpSp>
          <p:nvGrpSpPr>
            <p:cNvPr id="34" name="Group 33"/>
            <p:cNvGrpSpPr/>
            <p:nvPr/>
          </p:nvGrpSpPr>
          <p:grpSpPr>
            <a:xfrm>
              <a:off x="13128666" y="1904999"/>
              <a:ext cx="2011680" cy="2011680"/>
              <a:chOff x="13128666" y="1904999"/>
              <a:chExt cx="2011680" cy="2011680"/>
            </a:xfrm>
          </p:grpSpPr>
          <p:sp>
            <p:nvSpPr>
              <p:cNvPr id="65" name="Rectangle 64"/>
              <p:cNvSpPr/>
              <p:nvPr/>
            </p:nvSpPr>
            <p:spPr bwMode="auto">
              <a:xfrm>
                <a:off x="13128666" y="1904999"/>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Cluster Storage Management</a:t>
                </a:r>
              </a:p>
            </p:txBody>
          </p:sp>
          <p:pic>
            <p:nvPicPr>
              <p:cNvPr id="66" name="Picture 5"/>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13247083" y="2034293"/>
                <a:ext cx="887423" cy="9755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7" name="TextBox 66"/>
              <p:cNvSpPr txBox="1"/>
              <p:nvPr/>
            </p:nvSpPr>
            <p:spPr>
              <a:xfrm>
                <a:off x="14789434" y="1904999"/>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7</a:t>
                </a:r>
              </a:p>
            </p:txBody>
          </p:sp>
        </p:grpSp>
        <p:grpSp>
          <p:nvGrpSpPr>
            <p:cNvPr id="36" name="Group 35"/>
            <p:cNvGrpSpPr/>
            <p:nvPr/>
          </p:nvGrpSpPr>
          <p:grpSpPr>
            <a:xfrm>
              <a:off x="11004055" y="1904999"/>
              <a:ext cx="2011680" cy="2011680"/>
              <a:chOff x="11001661" y="1904999"/>
              <a:chExt cx="2011680" cy="2011680"/>
            </a:xfrm>
          </p:grpSpPr>
          <p:sp>
            <p:nvSpPr>
              <p:cNvPr id="62" name="Rectangle 61"/>
              <p:cNvSpPr/>
              <p:nvPr/>
            </p:nvSpPr>
            <p:spPr bwMode="auto">
              <a:xfrm>
                <a:off x="11001661" y="1904999"/>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Array Onboarding</a:t>
                </a:r>
              </a:p>
            </p:txBody>
          </p:sp>
          <p:pic>
            <p:nvPicPr>
              <p:cNvPr id="63" name="Picture 62"/>
              <p:cNvPicPr>
                <a:picLocks noChangeAspect="1"/>
              </p:cNvPicPr>
              <p:nvPr>
                <p:custDataLst>
                  <p:tags r:id="rId1"/>
                </p:custDataLst>
              </p:nvPr>
            </p:nvPicPr>
            <p:blipFill>
              <a:blip r:embed="rId15">
                <a:extLst>
                  <a:ext uri="{28A0092B-C50C-407E-A947-70E740481C1C}">
                    <a14:useLocalDpi xmlns:a14="http://schemas.microsoft.com/office/drawing/2010/main" val="0"/>
                  </a:ext>
                </a:extLst>
              </a:blip>
              <a:stretch>
                <a:fillRect/>
              </a:stretch>
            </p:blipFill>
            <p:spPr>
              <a:xfrm>
                <a:off x="11123742" y="2105711"/>
                <a:ext cx="757981" cy="875588"/>
              </a:xfrm>
              <a:prstGeom prst="rect">
                <a:avLst/>
              </a:prstGeom>
              <a:effectLst/>
            </p:spPr>
          </p:pic>
          <p:sp>
            <p:nvSpPr>
              <p:cNvPr id="64" name="TextBox 63"/>
              <p:cNvSpPr txBox="1"/>
              <p:nvPr/>
            </p:nvSpPr>
            <p:spPr>
              <a:xfrm>
                <a:off x="12657826" y="1904999"/>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6</a:t>
                </a:r>
              </a:p>
            </p:txBody>
          </p:sp>
        </p:grpSp>
        <p:grpSp>
          <p:nvGrpSpPr>
            <p:cNvPr id="41" name="Group 40"/>
            <p:cNvGrpSpPr/>
            <p:nvPr/>
          </p:nvGrpSpPr>
          <p:grpSpPr>
            <a:xfrm>
              <a:off x="2505611" y="1904999"/>
              <a:ext cx="2011680" cy="2011680"/>
              <a:chOff x="2504440" y="1905000"/>
              <a:chExt cx="2011680" cy="2011680"/>
            </a:xfrm>
          </p:grpSpPr>
          <p:sp>
            <p:nvSpPr>
              <p:cNvPr id="59" name="Rectangle 58"/>
              <p:cNvSpPr/>
              <p:nvPr/>
            </p:nvSpPr>
            <p:spPr bwMode="auto">
              <a:xfrm>
                <a:off x="2504440"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Storage Classification </a:t>
                </a:r>
              </a:p>
            </p:txBody>
          </p:sp>
          <p:pic>
            <p:nvPicPr>
              <p:cNvPr id="60" name="Picture 59"/>
              <p:cNvPicPr>
                <a:picLocks/>
              </p:cNvPicPr>
              <p:nvPr/>
            </p:nvPicPr>
            <p:blipFill>
              <a:blip r:embed="rId16">
                <a:extLst>
                  <a:ext uri="{28A0092B-C50C-407E-A947-70E740481C1C}">
                    <a14:useLocalDpi xmlns:a14="http://schemas.microsoft.com/office/drawing/2010/main" val="0"/>
                  </a:ext>
                </a:extLst>
              </a:blip>
              <a:stretch>
                <a:fillRect/>
              </a:stretch>
            </p:blipFill>
            <p:spPr>
              <a:xfrm>
                <a:off x="2625747" y="2034295"/>
                <a:ext cx="711303" cy="951092"/>
              </a:xfrm>
              <a:prstGeom prst="rect">
                <a:avLst/>
              </a:prstGeom>
            </p:spPr>
          </p:pic>
          <p:sp>
            <p:nvSpPr>
              <p:cNvPr id="61" name="TextBox 60"/>
              <p:cNvSpPr txBox="1"/>
              <p:nvPr/>
            </p:nvSpPr>
            <p:spPr>
              <a:xfrm>
                <a:off x="4170996"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2</a:t>
                </a:r>
              </a:p>
            </p:txBody>
          </p:sp>
        </p:grpSp>
        <p:grpSp>
          <p:nvGrpSpPr>
            <p:cNvPr id="42" name="Group 41"/>
            <p:cNvGrpSpPr/>
            <p:nvPr/>
          </p:nvGrpSpPr>
          <p:grpSpPr>
            <a:xfrm>
              <a:off x="381000" y="1904999"/>
              <a:ext cx="2011680" cy="2011680"/>
              <a:chOff x="381000" y="1905000"/>
              <a:chExt cx="2011680" cy="2011680"/>
            </a:xfrm>
          </p:grpSpPr>
          <p:sp>
            <p:nvSpPr>
              <p:cNvPr id="56" name="Rectangle 55"/>
              <p:cNvSpPr/>
              <p:nvPr/>
            </p:nvSpPr>
            <p:spPr bwMode="auto">
              <a:xfrm>
                <a:off x="381000"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End to End Mapping</a:t>
                </a:r>
              </a:p>
            </p:txBody>
          </p:sp>
          <p:pic>
            <p:nvPicPr>
              <p:cNvPr id="57" name="Picture 4" descr="\\MAGNUM\Projects\Microsoft\Cloud Power FY12\Design\ICONS_PNG\Check_mark.png"/>
              <p:cNvPicPr>
                <a:picLocks noChangeAspect="1" noChangeArrowheads="1"/>
              </p:cNvPicPr>
              <p:nvPr/>
            </p:nvPicPr>
            <p:blipFill rotWithShape="1">
              <a:blip r:embed="rId17" cstate="print">
                <a:lum bright="100000"/>
              </a:blip>
              <a:srcRect t="11515"/>
              <a:stretch/>
            </p:blipFill>
            <p:spPr bwMode="auto">
              <a:xfrm>
                <a:off x="411681" y="2024234"/>
                <a:ext cx="1125592" cy="1209050"/>
              </a:xfrm>
              <a:prstGeom prst="rect">
                <a:avLst/>
              </a:prstGeom>
              <a:noFill/>
            </p:spPr>
          </p:pic>
          <p:sp>
            <p:nvSpPr>
              <p:cNvPr id="58" name="TextBox 57"/>
              <p:cNvSpPr txBox="1"/>
              <p:nvPr/>
            </p:nvSpPr>
            <p:spPr>
              <a:xfrm>
                <a:off x="2051561"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1</a:t>
                </a:r>
              </a:p>
            </p:txBody>
          </p:sp>
        </p:grpSp>
        <p:grpSp>
          <p:nvGrpSpPr>
            <p:cNvPr id="43" name="Group of Crosshairs" hidden="1"/>
            <p:cNvGrpSpPr/>
            <p:nvPr/>
          </p:nvGrpSpPr>
          <p:grpSpPr>
            <a:xfrm>
              <a:off x="928053" y="2452052"/>
              <a:ext cx="24288292" cy="917575"/>
              <a:chOff x="928053" y="4429828"/>
              <a:chExt cx="24288292" cy="917575"/>
            </a:xfrm>
          </p:grpSpPr>
          <p:sp>
            <p:nvSpPr>
              <p:cNvPr id="44" name="Crosshair"/>
              <p:cNvSpPr>
                <a:spLocks/>
              </p:cNvSpPr>
              <p:nvPr/>
            </p:nvSpPr>
            <p:spPr bwMode="auto">
              <a:xfrm>
                <a:off x="928053"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Crosshair"/>
              <p:cNvSpPr>
                <a:spLocks/>
              </p:cNvSpPr>
              <p:nvPr/>
            </p:nvSpPr>
            <p:spPr bwMode="auto">
              <a:xfrm>
                <a:off x="3052664"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Crosshair"/>
              <p:cNvSpPr>
                <a:spLocks/>
              </p:cNvSpPr>
              <p:nvPr/>
            </p:nvSpPr>
            <p:spPr bwMode="auto">
              <a:xfrm>
                <a:off x="5177275"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Crosshair"/>
              <p:cNvSpPr>
                <a:spLocks/>
              </p:cNvSpPr>
              <p:nvPr/>
            </p:nvSpPr>
            <p:spPr bwMode="auto">
              <a:xfrm>
                <a:off x="7301886"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Crosshair"/>
              <p:cNvSpPr>
                <a:spLocks/>
              </p:cNvSpPr>
              <p:nvPr/>
            </p:nvSpPr>
            <p:spPr bwMode="auto">
              <a:xfrm>
                <a:off x="9426497"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Crosshair"/>
              <p:cNvSpPr>
                <a:spLocks/>
              </p:cNvSpPr>
              <p:nvPr/>
            </p:nvSpPr>
            <p:spPr bwMode="auto">
              <a:xfrm>
                <a:off x="11551108"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Crosshair"/>
              <p:cNvSpPr>
                <a:spLocks/>
              </p:cNvSpPr>
              <p:nvPr/>
            </p:nvSpPr>
            <p:spPr bwMode="auto">
              <a:xfrm>
                <a:off x="13675719"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Crosshair"/>
              <p:cNvSpPr>
                <a:spLocks/>
              </p:cNvSpPr>
              <p:nvPr/>
            </p:nvSpPr>
            <p:spPr bwMode="auto">
              <a:xfrm>
                <a:off x="15800330"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Crosshair"/>
              <p:cNvSpPr>
                <a:spLocks/>
              </p:cNvSpPr>
              <p:nvPr/>
            </p:nvSpPr>
            <p:spPr bwMode="auto">
              <a:xfrm>
                <a:off x="17924941"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Crosshair"/>
              <p:cNvSpPr>
                <a:spLocks/>
              </p:cNvSpPr>
              <p:nvPr/>
            </p:nvSpPr>
            <p:spPr bwMode="auto">
              <a:xfrm>
                <a:off x="20049552"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Crosshair"/>
              <p:cNvSpPr>
                <a:spLocks/>
              </p:cNvSpPr>
              <p:nvPr/>
            </p:nvSpPr>
            <p:spPr bwMode="auto">
              <a:xfrm>
                <a:off x="22174163"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Crosshair"/>
              <p:cNvSpPr>
                <a:spLocks/>
              </p:cNvSpPr>
              <p:nvPr/>
            </p:nvSpPr>
            <p:spPr bwMode="auto">
              <a:xfrm>
                <a:off x="24298770"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sp>
        <p:nvSpPr>
          <p:cNvPr id="92" name="Rectangle 91"/>
          <p:cNvSpPr/>
          <p:nvPr/>
        </p:nvSpPr>
        <p:spPr bwMode="auto">
          <a:xfrm>
            <a:off x="347844" y="3026664"/>
            <a:ext cx="8385513" cy="478578"/>
          </a:xfrm>
          <a:prstGeom prst="rect">
            <a:avLst/>
          </a:prstGeom>
          <a:solidFill>
            <a:schemeClr val="accent5"/>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defTabSz="685637" fontAlgn="base">
              <a:spcBef>
                <a:spcPct val="0"/>
              </a:spcBef>
              <a:spcAft>
                <a:spcPct val="0"/>
              </a:spcAft>
            </a:pPr>
            <a:r>
              <a:rPr lang="en-US" sz="2100" dirty="0">
                <a:solidFill>
                  <a:schemeClr val="tx1"/>
                </a:solidFill>
              </a:rPr>
              <a:t>SAN based VM Creation using Snapshot/Clone</a:t>
            </a:r>
          </a:p>
        </p:txBody>
      </p:sp>
      <p:grpSp>
        <p:nvGrpSpPr>
          <p:cNvPr id="95" name="Group 94"/>
          <p:cNvGrpSpPr/>
          <p:nvPr/>
        </p:nvGrpSpPr>
        <p:grpSpPr>
          <a:xfrm>
            <a:off x="347844" y="1428750"/>
            <a:ext cx="2012058" cy="1510925"/>
            <a:chOff x="6752062" y="1902114"/>
            <a:chExt cx="2012057" cy="2014566"/>
          </a:xfrm>
          <a:solidFill>
            <a:schemeClr val="accent5"/>
          </a:solidFill>
        </p:grpSpPr>
        <p:sp>
          <p:nvSpPr>
            <p:cNvPr id="96" name="Rectangle 95"/>
            <p:cNvSpPr/>
            <p:nvPr/>
          </p:nvSpPr>
          <p:spPr bwMode="auto">
            <a:xfrm>
              <a:off x="6752062" y="1902114"/>
              <a:ext cx="2012057" cy="2014566"/>
            </a:xfrm>
            <a:prstGeom prst="rect">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Rapid Provisioning</a:t>
              </a:r>
              <a:br>
                <a:rPr lang="en-US" sz="1500" dirty="0">
                  <a:gradFill>
                    <a:gsLst>
                      <a:gs pos="0">
                        <a:srgbClr val="FFFFFF"/>
                      </a:gs>
                      <a:gs pos="100000">
                        <a:srgbClr val="FFFFFF"/>
                      </a:gs>
                    </a:gsLst>
                    <a:lin ang="5400000" scaled="0"/>
                  </a:gradFill>
                </a:rPr>
              </a:br>
              <a:r>
                <a:rPr lang="en-US" sz="1500" dirty="0">
                  <a:gradFill>
                    <a:gsLst>
                      <a:gs pos="0">
                        <a:srgbClr val="FFFFFF"/>
                      </a:gs>
                      <a:gs pos="100000">
                        <a:srgbClr val="FFFFFF"/>
                      </a:gs>
                    </a:gsLst>
                    <a:lin ang="5400000" scaled="0"/>
                  </a:gradFill>
                </a:rPr>
                <a:t>  </a:t>
              </a:r>
            </a:p>
          </p:txBody>
        </p:sp>
        <p:pic>
          <p:nvPicPr>
            <p:cNvPr id="97" name="Picture 174"/>
            <p:cNvPicPr>
              <a:picLocks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868881" y="2021348"/>
              <a:ext cx="755213" cy="1003532"/>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8" name="TextBox 97"/>
            <p:cNvSpPr txBox="1"/>
            <p:nvPr/>
          </p:nvSpPr>
          <p:spPr>
            <a:xfrm>
              <a:off x="8418995" y="1905001"/>
              <a:ext cx="267381" cy="615553"/>
            </a:xfrm>
            <a:prstGeom prst="rect">
              <a:avLst/>
            </a:prstGeom>
            <a:grpFill/>
          </p:spPr>
          <p:txBody>
            <a:bodyPr wrap="none" lIns="0" tIns="0" rIns="45720" bIns="0" rtlCol="0">
              <a:spAutoFit/>
            </a:bodyPr>
            <a:lstStyle/>
            <a:p>
              <a:r>
                <a:rPr lang="en-US" sz="3000" b="1" dirty="0">
                  <a:gradFill>
                    <a:gsLst>
                      <a:gs pos="0">
                        <a:schemeClr val="accent5">
                          <a:lumMod val="60000"/>
                          <a:lumOff val="40000"/>
                        </a:schemeClr>
                      </a:gs>
                      <a:gs pos="86000">
                        <a:schemeClr val="accent5">
                          <a:lumMod val="60000"/>
                          <a:lumOff val="40000"/>
                        </a:schemeClr>
                      </a:gs>
                    </a:gsLst>
                    <a:lin ang="5400000" scaled="0"/>
                  </a:gradFill>
                </a:rPr>
                <a:t>4</a:t>
              </a:r>
            </a:p>
          </p:txBody>
        </p:sp>
      </p:grpSp>
      <p:sp>
        <p:nvSpPr>
          <p:cNvPr id="99" name="Rectangle 98"/>
          <p:cNvSpPr/>
          <p:nvPr/>
        </p:nvSpPr>
        <p:spPr bwMode="auto">
          <a:xfrm>
            <a:off x="347844" y="3588995"/>
            <a:ext cx="8385513" cy="478578"/>
          </a:xfrm>
          <a:prstGeom prst="rect">
            <a:avLst/>
          </a:prstGeom>
          <a:solidFill>
            <a:schemeClr val="accent5"/>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defTabSz="685637" fontAlgn="base">
              <a:spcBef>
                <a:spcPct val="0"/>
              </a:spcBef>
              <a:spcAft>
                <a:spcPct val="0"/>
              </a:spcAft>
            </a:pPr>
            <a:r>
              <a:rPr lang="en-US" sz="2100" dirty="0">
                <a:solidFill>
                  <a:schemeClr val="tx1"/>
                </a:solidFill>
              </a:rPr>
              <a:t>VM Creation to Host and Cluster</a:t>
            </a:r>
          </a:p>
        </p:txBody>
      </p:sp>
      <p:sp>
        <p:nvSpPr>
          <p:cNvPr id="101" name="Rectangle 100"/>
          <p:cNvSpPr/>
          <p:nvPr/>
        </p:nvSpPr>
        <p:spPr bwMode="auto">
          <a:xfrm>
            <a:off x="347844" y="4151324"/>
            <a:ext cx="8385513" cy="478578"/>
          </a:xfrm>
          <a:prstGeom prst="rect">
            <a:avLst/>
          </a:prstGeom>
          <a:solidFill>
            <a:schemeClr val="accent5"/>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defTabSz="685637" fontAlgn="base">
              <a:spcBef>
                <a:spcPct val="0"/>
              </a:spcBef>
              <a:spcAft>
                <a:spcPct val="0"/>
              </a:spcAft>
            </a:pPr>
            <a:r>
              <a:rPr lang="en-US" sz="2100" dirty="0">
                <a:solidFill>
                  <a:schemeClr val="tx1"/>
                </a:solidFill>
              </a:rPr>
              <a:t>One VM per LUN</a:t>
            </a:r>
          </a:p>
        </p:txBody>
      </p:sp>
      <p:pic>
        <p:nvPicPr>
          <p:cNvPr id="102" name="Picture 2" descr="\\eventsql\dvd\Online_ART\DVD_ART36\Logos\System Center Virtual Machine Manager 2008 R2\system center virtual machine manager 2008 r2 h rev.png"/>
          <p:cNvPicPr>
            <a:picLocks noChangeAspect="1" noChangeArrowheads="1"/>
          </p:cNvPicPr>
          <p:nvPr/>
        </p:nvPicPr>
        <p:blipFill rotWithShape="1">
          <a:blip r:embed="rId18">
            <a:extLst>
              <a:ext uri="{28A0092B-C50C-407E-A947-70E740481C1C}">
                <a14:useLocalDpi xmlns:a14="http://schemas.microsoft.com/office/drawing/2010/main" val="0"/>
              </a:ext>
            </a:extLst>
          </a:blip>
          <a:srcRect r="16495"/>
          <a:stretch/>
        </p:blipFill>
        <p:spPr bwMode="auto">
          <a:xfrm>
            <a:off x="4300244" y="139992"/>
            <a:ext cx="3072835" cy="77787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smtClean="0"/>
              <a:t>THE FANTASTIC 12 OF</a:t>
            </a:r>
            <a:endParaRPr lang="en-US" dirty="0"/>
          </a:p>
        </p:txBody>
      </p:sp>
      <p:sp>
        <p:nvSpPr>
          <p:cNvPr id="93"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94"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9"/>
              </a:rPr>
              <a:t>www.rapidbbs.cn</a:t>
            </a:r>
            <a:endParaRPr lang="zh-CN" altLang="en-US" sz="1200" b="0">
              <a:latin typeface="Arial" charset="0"/>
              <a:ea typeface="ＭＳ Ｐゴシック" pitchFamily="34" charset="-128"/>
            </a:endParaRPr>
          </a:p>
        </p:txBody>
      </p:sp>
      <p:pic>
        <p:nvPicPr>
          <p:cNvPr id="100" name="Picture 2">
            <a:hlinkClick r:id="rId19"/>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91436571"/>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accel="50000" decel="50000" fill="hold" nodeType="afterEffect">
                                  <p:stCondLst>
                                    <p:cond delay="0"/>
                                  </p:stCondLst>
                                  <p:childTnLst>
                                    <p:animMotion origin="layout" path="M -3.88889E-6 4.44444E-6 L -0.23246 4.44444E-6 " pathEditMode="relative" rAng="0" ptsTypes="AA">
                                      <p:cBhvr>
                                        <p:cTn id="6" dur="1500" fill="hold"/>
                                        <p:tgtEl>
                                          <p:spTgt spid="21"/>
                                        </p:tgtEl>
                                        <p:attrNameLst>
                                          <p:attrName>ppt_x</p:attrName>
                                          <p:attrName>ppt_y</p:attrName>
                                        </p:attrNameLst>
                                      </p:cBhvr>
                                      <p:rCtr x="-11632" y="0"/>
                                    </p:animMotion>
                                  </p:childTnLst>
                                </p:cTn>
                              </p:par>
                            </p:childTnLst>
                          </p:cTn>
                        </p:par>
                        <p:par>
                          <p:cTn id="7" fill="hold">
                            <p:stCondLst>
                              <p:cond delay="1500"/>
                            </p:stCondLst>
                            <p:childTnLst>
                              <p:par>
                                <p:cTn id="8" presetID="22" presetClass="entr" presetSubtype="4" fill="hold" nodeType="afterEffect">
                                  <p:stCondLst>
                                    <p:cond delay="0"/>
                                  </p:stCondLst>
                                  <p:childTnLst>
                                    <p:set>
                                      <p:cBhvr>
                                        <p:cTn id="9" dur="1" fill="hold">
                                          <p:stCondLst>
                                            <p:cond delay="0"/>
                                          </p:stCondLst>
                                        </p:cTn>
                                        <p:tgtEl>
                                          <p:spTgt spid="95"/>
                                        </p:tgtEl>
                                        <p:attrNameLst>
                                          <p:attrName>style.visibility</p:attrName>
                                        </p:attrNameLst>
                                      </p:cBhvr>
                                      <p:to>
                                        <p:strVal val="visible"/>
                                      </p:to>
                                    </p:set>
                                    <p:animEffect transition="in" filter="wipe(down)">
                                      <p:cBhvr>
                                        <p:cTn id="10" dur="500"/>
                                        <p:tgtEl>
                                          <p:spTgt spid="95"/>
                                        </p:tgtEl>
                                      </p:cBhvr>
                                    </p:animEffect>
                                  </p:childTnLst>
                                </p:cTn>
                              </p:par>
                            </p:childTnLst>
                          </p:cTn>
                        </p:par>
                        <p:par>
                          <p:cTn id="11" fill="hold">
                            <p:stCondLst>
                              <p:cond delay="2000"/>
                            </p:stCondLst>
                            <p:childTnLst>
                              <p:par>
                                <p:cTn id="12" presetID="2" presetClass="entr" presetSubtype="2" decel="100000" fill="hold" grpId="0" nodeType="afterEffect">
                                  <p:stCondLst>
                                    <p:cond delay="0"/>
                                  </p:stCondLst>
                                  <p:childTnLst>
                                    <p:set>
                                      <p:cBhvr>
                                        <p:cTn id="13" dur="1" fill="hold">
                                          <p:stCondLst>
                                            <p:cond delay="0"/>
                                          </p:stCondLst>
                                        </p:cTn>
                                        <p:tgtEl>
                                          <p:spTgt spid="92"/>
                                        </p:tgtEl>
                                        <p:attrNameLst>
                                          <p:attrName>style.visibility</p:attrName>
                                        </p:attrNameLst>
                                      </p:cBhvr>
                                      <p:to>
                                        <p:strVal val="visible"/>
                                      </p:to>
                                    </p:set>
                                    <p:anim calcmode="lin" valueType="num">
                                      <p:cBhvr additive="base">
                                        <p:cTn id="14" dur="1000" fill="hold"/>
                                        <p:tgtEl>
                                          <p:spTgt spid="92"/>
                                        </p:tgtEl>
                                        <p:attrNameLst>
                                          <p:attrName>ppt_x</p:attrName>
                                        </p:attrNameLst>
                                      </p:cBhvr>
                                      <p:tavLst>
                                        <p:tav tm="0">
                                          <p:val>
                                            <p:strVal val="1+#ppt_w/2"/>
                                          </p:val>
                                        </p:tav>
                                        <p:tav tm="100000">
                                          <p:val>
                                            <p:strVal val="#ppt_x"/>
                                          </p:val>
                                        </p:tav>
                                      </p:tavLst>
                                    </p:anim>
                                    <p:anim calcmode="lin" valueType="num">
                                      <p:cBhvr additive="base">
                                        <p:cTn id="15" dur="1000" fill="hold"/>
                                        <p:tgtEl>
                                          <p:spTgt spid="92"/>
                                        </p:tgtEl>
                                        <p:attrNameLst>
                                          <p:attrName>ppt_y</p:attrName>
                                        </p:attrNameLst>
                                      </p:cBhvr>
                                      <p:tavLst>
                                        <p:tav tm="0">
                                          <p:val>
                                            <p:strVal val="#ppt_y"/>
                                          </p:val>
                                        </p:tav>
                                        <p:tav tm="100000">
                                          <p:val>
                                            <p:strVal val="#ppt_y"/>
                                          </p:val>
                                        </p:tav>
                                      </p:tavLst>
                                    </p:anim>
                                  </p:childTnLst>
                                </p:cTn>
                              </p:par>
                              <p:par>
                                <p:cTn id="16" presetID="2" presetClass="entr" presetSubtype="2" decel="100000" fill="hold" grpId="0" nodeType="withEffect">
                                  <p:stCondLst>
                                    <p:cond delay="500"/>
                                  </p:stCondLst>
                                  <p:childTnLst>
                                    <p:set>
                                      <p:cBhvr>
                                        <p:cTn id="17" dur="1" fill="hold">
                                          <p:stCondLst>
                                            <p:cond delay="0"/>
                                          </p:stCondLst>
                                        </p:cTn>
                                        <p:tgtEl>
                                          <p:spTgt spid="99"/>
                                        </p:tgtEl>
                                        <p:attrNameLst>
                                          <p:attrName>style.visibility</p:attrName>
                                        </p:attrNameLst>
                                      </p:cBhvr>
                                      <p:to>
                                        <p:strVal val="visible"/>
                                      </p:to>
                                    </p:set>
                                    <p:anim calcmode="lin" valueType="num">
                                      <p:cBhvr additive="base">
                                        <p:cTn id="18" dur="1000" fill="hold"/>
                                        <p:tgtEl>
                                          <p:spTgt spid="99"/>
                                        </p:tgtEl>
                                        <p:attrNameLst>
                                          <p:attrName>ppt_x</p:attrName>
                                        </p:attrNameLst>
                                      </p:cBhvr>
                                      <p:tavLst>
                                        <p:tav tm="0">
                                          <p:val>
                                            <p:strVal val="1+#ppt_w/2"/>
                                          </p:val>
                                        </p:tav>
                                        <p:tav tm="100000">
                                          <p:val>
                                            <p:strVal val="#ppt_x"/>
                                          </p:val>
                                        </p:tav>
                                      </p:tavLst>
                                    </p:anim>
                                    <p:anim calcmode="lin" valueType="num">
                                      <p:cBhvr additive="base">
                                        <p:cTn id="19" dur="1000" fill="hold"/>
                                        <p:tgtEl>
                                          <p:spTgt spid="99"/>
                                        </p:tgtEl>
                                        <p:attrNameLst>
                                          <p:attrName>ppt_y</p:attrName>
                                        </p:attrNameLst>
                                      </p:cBhvr>
                                      <p:tavLst>
                                        <p:tav tm="0">
                                          <p:val>
                                            <p:strVal val="#ppt_y"/>
                                          </p:val>
                                        </p:tav>
                                        <p:tav tm="100000">
                                          <p:val>
                                            <p:strVal val="#ppt_y"/>
                                          </p:val>
                                        </p:tav>
                                      </p:tavLst>
                                    </p:anim>
                                  </p:childTnLst>
                                </p:cTn>
                              </p:par>
                              <p:par>
                                <p:cTn id="20" presetID="2" presetClass="entr" presetSubtype="2" decel="100000" fill="hold" grpId="0" nodeType="withEffect">
                                  <p:stCondLst>
                                    <p:cond delay="1000"/>
                                  </p:stCondLst>
                                  <p:childTnLst>
                                    <p:set>
                                      <p:cBhvr>
                                        <p:cTn id="21" dur="1" fill="hold">
                                          <p:stCondLst>
                                            <p:cond delay="0"/>
                                          </p:stCondLst>
                                        </p:cTn>
                                        <p:tgtEl>
                                          <p:spTgt spid="101"/>
                                        </p:tgtEl>
                                        <p:attrNameLst>
                                          <p:attrName>style.visibility</p:attrName>
                                        </p:attrNameLst>
                                      </p:cBhvr>
                                      <p:to>
                                        <p:strVal val="visible"/>
                                      </p:to>
                                    </p:set>
                                    <p:anim calcmode="lin" valueType="num">
                                      <p:cBhvr additive="base">
                                        <p:cTn id="22" dur="1000" fill="hold"/>
                                        <p:tgtEl>
                                          <p:spTgt spid="101"/>
                                        </p:tgtEl>
                                        <p:attrNameLst>
                                          <p:attrName>ppt_x</p:attrName>
                                        </p:attrNameLst>
                                      </p:cBhvr>
                                      <p:tavLst>
                                        <p:tav tm="0">
                                          <p:val>
                                            <p:strVal val="1+#ppt_w/2"/>
                                          </p:val>
                                        </p:tav>
                                        <p:tav tm="100000">
                                          <p:val>
                                            <p:strVal val="#ppt_x"/>
                                          </p:val>
                                        </p:tav>
                                      </p:tavLst>
                                    </p:anim>
                                    <p:anim calcmode="lin" valueType="num">
                                      <p:cBhvr additive="base">
                                        <p:cTn id="23" dur="1000" fill="hold"/>
                                        <p:tgtEl>
                                          <p:spTgt spid="10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 grpId="0" animBg="1"/>
      <p:bldP spid="99" grpId="0" animBg="1"/>
      <p:bldP spid="101" grpId="0" animBg="1"/>
    </p:bld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p:cNvGrpSpPr/>
          <p:nvPr/>
        </p:nvGrpSpPr>
        <p:grpSpPr>
          <a:xfrm>
            <a:off x="-5992783" y="1428749"/>
            <a:ext cx="25382397" cy="1508760"/>
            <a:chOff x="381000" y="1904999"/>
            <a:chExt cx="25382397" cy="2011680"/>
          </a:xfrm>
        </p:grpSpPr>
        <p:grpSp>
          <p:nvGrpSpPr>
            <p:cNvPr id="24" name="Group 23"/>
            <p:cNvGrpSpPr/>
            <p:nvPr/>
          </p:nvGrpSpPr>
          <p:grpSpPr>
            <a:xfrm>
              <a:off x="23751717" y="1904999"/>
              <a:ext cx="2011680" cy="2011680"/>
              <a:chOff x="23751717" y="1905000"/>
              <a:chExt cx="2011680" cy="2011680"/>
            </a:xfrm>
          </p:grpSpPr>
          <p:sp>
            <p:nvSpPr>
              <p:cNvPr id="89" name="Rectangle 88"/>
              <p:cNvSpPr/>
              <p:nvPr/>
            </p:nvSpPr>
            <p:spPr bwMode="auto">
              <a:xfrm>
                <a:off x="23751717"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 </a:t>
                </a:r>
                <a:br>
                  <a:rPr lang="en-US" sz="1500" dirty="0">
                    <a:gradFill>
                      <a:gsLst>
                        <a:gs pos="0">
                          <a:srgbClr val="FFFFFF"/>
                        </a:gs>
                        <a:gs pos="100000">
                          <a:srgbClr val="FFFFFF"/>
                        </a:gs>
                      </a:gsLst>
                      <a:lin ang="5400000" scaled="0"/>
                    </a:gradFill>
                  </a:rPr>
                </a:br>
                <a:r>
                  <a:rPr lang="en-US" sz="1500" dirty="0">
                    <a:gradFill>
                      <a:gsLst>
                        <a:gs pos="0">
                          <a:srgbClr val="FFFFFF"/>
                        </a:gs>
                        <a:gs pos="100000">
                          <a:srgbClr val="FFFFFF"/>
                        </a:gs>
                      </a:gsLst>
                      <a:lin ang="5400000" scaled="0"/>
                    </a:gradFill>
                  </a:rPr>
                  <a:t>.</a:t>
                </a:r>
              </a:p>
            </p:txBody>
          </p:sp>
          <p:pic>
            <p:nvPicPr>
              <p:cNvPr id="90" name="Picture 147"/>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3834789" y="2130724"/>
                <a:ext cx="1382850" cy="8242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1" name="TextBox 90"/>
              <p:cNvSpPr txBox="1"/>
              <p:nvPr/>
            </p:nvSpPr>
            <p:spPr>
              <a:xfrm>
                <a:off x="25111146" y="1905000"/>
                <a:ext cx="488595"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12</a:t>
                </a:r>
              </a:p>
            </p:txBody>
          </p:sp>
        </p:grpSp>
        <p:grpSp>
          <p:nvGrpSpPr>
            <p:cNvPr id="26" name="Group 25"/>
            <p:cNvGrpSpPr/>
            <p:nvPr/>
          </p:nvGrpSpPr>
          <p:grpSpPr>
            <a:xfrm>
              <a:off x="21627110" y="1904999"/>
              <a:ext cx="2011680" cy="2011680"/>
              <a:chOff x="21628277" y="1905000"/>
              <a:chExt cx="2011680" cy="2011680"/>
            </a:xfrm>
          </p:grpSpPr>
          <p:sp>
            <p:nvSpPr>
              <p:cNvPr id="86" name="Rectangle 85"/>
              <p:cNvSpPr/>
              <p:nvPr/>
            </p:nvSpPr>
            <p:spPr bwMode="auto">
              <a:xfrm>
                <a:off x="21628277"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Standards Based Management </a:t>
                </a:r>
              </a:p>
            </p:txBody>
          </p:sp>
          <p:pic>
            <p:nvPicPr>
              <p:cNvPr id="87" name="Picture 3" descr="\\SFP\Work\White_Whale\3-22036_Kuleen_Bharadwaj\PPT\3_PlatformVision_Kuleen\SFP_Art\Plane Slide\mon_notie.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1734293" y="2102691"/>
                <a:ext cx="780649" cy="915763"/>
              </a:xfrm>
              <a:prstGeom prst="rect">
                <a:avLst/>
              </a:prstGeom>
              <a:noFill/>
              <a:extLst>
                <a:ext uri="{909E8E84-426E-40DD-AFC4-6F175D3DCCD1}">
                  <a14:hiddenFill xmlns:a14="http://schemas.microsoft.com/office/drawing/2010/main">
                    <a:solidFill>
                      <a:srgbClr val="FFFFFF"/>
                    </a:solidFill>
                  </a14:hiddenFill>
                </a:ext>
              </a:extLst>
            </p:spPr>
          </p:pic>
          <p:sp>
            <p:nvSpPr>
              <p:cNvPr id="88" name="TextBox 87"/>
              <p:cNvSpPr txBox="1"/>
              <p:nvPr/>
            </p:nvSpPr>
            <p:spPr>
              <a:xfrm>
                <a:off x="22993494" y="1905000"/>
                <a:ext cx="488595"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11</a:t>
                </a:r>
              </a:p>
            </p:txBody>
          </p:sp>
        </p:grpSp>
        <p:grpSp>
          <p:nvGrpSpPr>
            <p:cNvPr id="27" name="Group 26"/>
            <p:cNvGrpSpPr/>
            <p:nvPr/>
          </p:nvGrpSpPr>
          <p:grpSpPr>
            <a:xfrm>
              <a:off x="19502499" y="1904999"/>
              <a:ext cx="2011680" cy="2011680"/>
              <a:chOff x="19504837" y="1905000"/>
              <a:chExt cx="2011680" cy="2011680"/>
            </a:xfrm>
          </p:grpSpPr>
          <p:sp>
            <p:nvSpPr>
              <p:cNvPr id="83" name="Rectangle 82"/>
              <p:cNvSpPr/>
              <p:nvPr/>
            </p:nvSpPr>
            <p:spPr bwMode="auto">
              <a:xfrm>
                <a:off x="19504837"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Extensive Array Support </a:t>
                </a:r>
              </a:p>
            </p:txBody>
          </p:sp>
          <p:pic>
            <p:nvPicPr>
              <p:cNvPr id="84" name="Picture 7" descr="\\MAGNUM\Projects\Microsoft\Cloud Power FY12\Design\ICONS_PNG\Physical_Virtual.png"/>
              <p:cNvPicPr>
                <a:picLocks noChangeAspect="1" noChangeArrowheads="1"/>
              </p:cNvPicPr>
              <p:nvPr/>
            </p:nvPicPr>
            <p:blipFill rotWithShape="1">
              <a:blip r:embed="rId7" cstate="print">
                <a:extLst>
                  <a:ext uri="{BEBA8EAE-BF5A-486C-A8C5-ECC9F3942E4B}">
                    <a14:imgProps xmlns:a14="http://schemas.microsoft.com/office/drawing/2010/main">
                      <a14:imgLayer r:embed="rId8">
                        <a14:imgEffect>
                          <a14:brightnessContrast bright="100000"/>
                        </a14:imgEffect>
                      </a14:imgLayer>
                    </a14:imgProps>
                  </a:ext>
                </a:extLst>
              </a:blip>
              <a:srcRect l="7856" t="39072" r="7907" b="5885"/>
              <a:stretch/>
            </p:blipFill>
            <p:spPr bwMode="auto">
              <a:xfrm>
                <a:off x="19529881" y="2070341"/>
                <a:ext cx="1340174" cy="962205"/>
              </a:xfrm>
              <a:prstGeom prst="rect">
                <a:avLst/>
              </a:prstGeom>
              <a:noFill/>
            </p:spPr>
          </p:pic>
          <p:sp>
            <p:nvSpPr>
              <p:cNvPr id="85" name="TextBox 84"/>
              <p:cNvSpPr txBox="1"/>
              <p:nvPr/>
            </p:nvSpPr>
            <p:spPr>
              <a:xfrm>
                <a:off x="20870054" y="1905000"/>
                <a:ext cx="488595"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10</a:t>
                </a:r>
              </a:p>
            </p:txBody>
          </p:sp>
        </p:grpSp>
        <p:grpSp>
          <p:nvGrpSpPr>
            <p:cNvPr id="28" name="Group 27"/>
            <p:cNvGrpSpPr/>
            <p:nvPr/>
          </p:nvGrpSpPr>
          <p:grpSpPr>
            <a:xfrm>
              <a:off x="17377888" y="1904999"/>
              <a:ext cx="2011680" cy="2011680"/>
              <a:chOff x="17381397" y="1905000"/>
              <a:chExt cx="2011680" cy="2011680"/>
            </a:xfrm>
          </p:grpSpPr>
          <p:sp>
            <p:nvSpPr>
              <p:cNvPr id="80" name="Rectangle 79"/>
              <p:cNvSpPr/>
              <p:nvPr/>
            </p:nvSpPr>
            <p:spPr bwMode="auto">
              <a:xfrm>
                <a:off x="17381397"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Scalable Provisioning</a:t>
                </a:r>
                <a:br>
                  <a:rPr lang="en-US" sz="1500" dirty="0">
                    <a:gradFill>
                      <a:gsLst>
                        <a:gs pos="0">
                          <a:srgbClr val="FFFFFF"/>
                        </a:gs>
                        <a:gs pos="100000">
                          <a:srgbClr val="FFFFFF"/>
                        </a:gs>
                      </a:gsLst>
                      <a:lin ang="5400000" scaled="0"/>
                    </a:gradFill>
                  </a:rPr>
                </a:br>
                <a:r>
                  <a:rPr lang="en-US" sz="1500" dirty="0">
                    <a:gradFill>
                      <a:gsLst>
                        <a:gs pos="0">
                          <a:srgbClr val="FFFFFF"/>
                        </a:gs>
                        <a:gs pos="100000">
                          <a:srgbClr val="FFFFFF"/>
                        </a:gs>
                      </a:gsLst>
                      <a:lin ang="5400000" scaled="0"/>
                    </a:gradFill>
                  </a:rPr>
                  <a:t> </a:t>
                </a:r>
              </a:p>
            </p:txBody>
          </p:sp>
          <p:pic>
            <p:nvPicPr>
              <p:cNvPr id="81" name="Picture 108"/>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7504750" y="2104845"/>
                <a:ext cx="663806" cy="880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2" name="TextBox 81"/>
              <p:cNvSpPr txBox="1"/>
              <p:nvPr/>
            </p:nvSpPr>
            <p:spPr>
              <a:xfrm>
                <a:off x="19051958"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9</a:t>
                </a:r>
              </a:p>
            </p:txBody>
          </p:sp>
        </p:grpSp>
        <p:grpSp>
          <p:nvGrpSpPr>
            <p:cNvPr id="29" name="Group 28"/>
            <p:cNvGrpSpPr/>
            <p:nvPr/>
          </p:nvGrpSpPr>
          <p:grpSpPr>
            <a:xfrm>
              <a:off x="15253277" y="1904999"/>
              <a:ext cx="2011680" cy="2011680"/>
              <a:chOff x="15253277" y="1905000"/>
              <a:chExt cx="2011680" cy="2011680"/>
            </a:xfrm>
          </p:grpSpPr>
          <p:sp>
            <p:nvSpPr>
              <p:cNvPr id="77" name="Rectangle 76"/>
              <p:cNvSpPr/>
              <p:nvPr/>
            </p:nvSpPr>
            <p:spPr bwMode="auto">
              <a:xfrm>
                <a:off x="15253277"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Storage Automation</a:t>
                </a:r>
              </a:p>
            </p:txBody>
          </p:sp>
          <p:pic>
            <p:nvPicPr>
              <p:cNvPr id="78" name="Picture 8"/>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5367381" y="2104845"/>
                <a:ext cx="1025556" cy="8877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9" name="TextBox 78"/>
              <p:cNvSpPr txBox="1"/>
              <p:nvPr/>
            </p:nvSpPr>
            <p:spPr>
              <a:xfrm>
                <a:off x="16914045"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8</a:t>
                </a:r>
              </a:p>
            </p:txBody>
          </p:sp>
        </p:grpSp>
        <p:grpSp>
          <p:nvGrpSpPr>
            <p:cNvPr id="31" name="Group 30"/>
            <p:cNvGrpSpPr/>
            <p:nvPr/>
          </p:nvGrpSpPr>
          <p:grpSpPr>
            <a:xfrm>
              <a:off x="8879444" y="1904999"/>
              <a:ext cx="2011680" cy="2011680"/>
              <a:chOff x="8877050" y="1905000"/>
              <a:chExt cx="2011680" cy="2011680"/>
            </a:xfrm>
          </p:grpSpPr>
          <p:sp>
            <p:nvSpPr>
              <p:cNvPr id="74" name="Rectangle 73"/>
              <p:cNvSpPr/>
              <p:nvPr/>
            </p:nvSpPr>
            <p:spPr bwMode="auto">
              <a:xfrm>
                <a:off x="8877050"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SAN Migration</a:t>
                </a:r>
              </a:p>
            </p:txBody>
          </p:sp>
          <p:pic>
            <p:nvPicPr>
              <p:cNvPr id="75" name="Picture 2"/>
              <p:cNvPicPr>
                <a:picLocks noChangeAspect="1" noChangeArrowheads="1"/>
              </p:cNvPicPr>
              <p:nvPr/>
            </p:nvPicPr>
            <p:blipFill>
              <a:blip r:embed="rId11">
                <a:extLst>
                  <a:ext uri="{28A0092B-C50C-407E-A947-70E740481C1C}">
                    <a14:useLocalDpi xmlns:a14="http://schemas.microsoft.com/office/drawing/2010/main" val="0"/>
                  </a:ext>
                </a:extLst>
              </a:blip>
              <a:stretch>
                <a:fillRect/>
              </a:stretch>
            </p:blipFill>
            <p:spPr bwMode="auto">
              <a:xfrm>
                <a:off x="9003772" y="2087593"/>
                <a:ext cx="1013736" cy="9049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6" name="TextBox 75"/>
              <p:cNvSpPr txBox="1"/>
              <p:nvPr/>
            </p:nvSpPr>
            <p:spPr>
              <a:xfrm>
                <a:off x="10533215"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5</a:t>
                </a:r>
              </a:p>
            </p:txBody>
          </p:sp>
        </p:grpSp>
        <p:grpSp>
          <p:nvGrpSpPr>
            <p:cNvPr id="32" name="Group 31"/>
            <p:cNvGrpSpPr/>
            <p:nvPr/>
          </p:nvGrpSpPr>
          <p:grpSpPr>
            <a:xfrm>
              <a:off x="6754833" y="1904999"/>
              <a:ext cx="2011680" cy="2011680"/>
              <a:chOff x="6752439" y="1905000"/>
              <a:chExt cx="2011680" cy="2011680"/>
            </a:xfrm>
          </p:grpSpPr>
          <p:sp>
            <p:nvSpPr>
              <p:cNvPr id="71" name="Rectangle 70"/>
              <p:cNvSpPr/>
              <p:nvPr/>
            </p:nvSpPr>
            <p:spPr bwMode="auto">
              <a:xfrm>
                <a:off x="6752439"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Rapid Provisioning</a:t>
                </a:r>
                <a:br>
                  <a:rPr lang="en-US" sz="1500" dirty="0">
                    <a:gradFill>
                      <a:gsLst>
                        <a:gs pos="0">
                          <a:srgbClr val="FFFFFF"/>
                        </a:gs>
                        <a:gs pos="100000">
                          <a:srgbClr val="FFFFFF"/>
                        </a:gs>
                      </a:gsLst>
                      <a:lin ang="5400000" scaled="0"/>
                    </a:gradFill>
                  </a:rPr>
                </a:br>
                <a:r>
                  <a:rPr lang="en-US" sz="1500" dirty="0">
                    <a:gradFill>
                      <a:gsLst>
                        <a:gs pos="0">
                          <a:srgbClr val="FFFFFF"/>
                        </a:gs>
                        <a:gs pos="100000">
                          <a:srgbClr val="FFFFFF"/>
                        </a:gs>
                      </a:gsLst>
                      <a:lin ang="5400000" scaled="0"/>
                    </a:gradFill>
                  </a:rPr>
                  <a:t>  </a:t>
                </a:r>
              </a:p>
            </p:txBody>
          </p:sp>
          <p:pic>
            <p:nvPicPr>
              <p:cNvPr id="72" name="Picture 174"/>
              <p:cNvPicPr>
                <a:picLocks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868882" y="2058656"/>
                <a:ext cx="727137" cy="966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3" name="TextBox 72"/>
              <p:cNvSpPr txBox="1"/>
              <p:nvPr/>
            </p:nvSpPr>
            <p:spPr>
              <a:xfrm>
                <a:off x="8418995"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4</a:t>
                </a:r>
              </a:p>
            </p:txBody>
          </p:sp>
        </p:grpSp>
        <p:grpSp>
          <p:nvGrpSpPr>
            <p:cNvPr id="33" name="Group 32"/>
            <p:cNvGrpSpPr/>
            <p:nvPr/>
          </p:nvGrpSpPr>
          <p:grpSpPr>
            <a:xfrm>
              <a:off x="4630222" y="1904999"/>
              <a:ext cx="2011680" cy="2011680"/>
              <a:chOff x="4641528" y="1905000"/>
              <a:chExt cx="2011680" cy="2011680"/>
            </a:xfrm>
          </p:grpSpPr>
          <p:sp>
            <p:nvSpPr>
              <p:cNvPr id="68" name="Rectangle 67"/>
              <p:cNvSpPr/>
              <p:nvPr/>
            </p:nvSpPr>
            <p:spPr bwMode="auto">
              <a:xfrm>
                <a:off x="4641528"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Allocation and Assignment</a:t>
                </a:r>
              </a:p>
            </p:txBody>
          </p:sp>
          <p:pic>
            <p:nvPicPr>
              <p:cNvPr id="69" name="Picture 3"/>
              <p:cNvPicPr>
                <a:picLocks noChangeAspect="1" noChangeArrowheads="1"/>
              </p:cNvPicPr>
              <p:nvPr>
                <p:custDataLst>
                  <p:tags r:id="rId2"/>
                </p:custDataLst>
              </p:nvPr>
            </p:nvPicPr>
            <p:blipFill>
              <a:blip r:embed="rId13" cstate="print">
                <a:extLst>
                  <a:ext uri="{28A0092B-C50C-407E-A947-70E740481C1C}">
                    <a14:useLocalDpi xmlns:a14="http://schemas.microsoft.com/office/drawing/2010/main"/>
                  </a:ext>
                </a:extLst>
              </a:blip>
              <a:srcRect/>
              <a:stretch>
                <a:fillRect/>
              </a:stretch>
            </p:blipFill>
            <p:spPr bwMode="auto">
              <a:xfrm>
                <a:off x="4751660" y="2024982"/>
                <a:ext cx="562595" cy="984876"/>
              </a:xfrm>
              <a:prstGeom prst="rect">
                <a:avLst/>
              </a:prstGeom>
              <a:noFill/>
              <a:ln>
                <a:noFill/>
                <a:headEnd type="none" w="med" len="med"/>
                <a:tailEnd type="none" w="med" len="med"/>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0" name="TextBox 69"/>
              <p:cNvSpPr txBox="1"/>
              <p:nvPr/>
            </p:nvSpPr>
            <p:spPr>
              <a:xfrm>
                <a:off x="6312089"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3</a:t>
                </a:r>
              </a:p>
            </p:txBody>
          </p:sp>
        </p:grpSp>
        <p:grpSp>
          <p:nvGrpSpPr>
            <p:cNvPr id="34" name="Group 33"/>
            <p:cNvGrpSpPr/>
            <p:nvPr/>
          </p:nvGrpSpPr>
          <p:grpSpPr>
            <a:xfrm>
              <a:off x="13128666" y="1904999"/>
              <a:ext cx="2011680" cy="2011680"/>
              <a:chOff x="13128666" y="1904999"/>
              <a:chExt cx="2011680" cy="2011680"/>
            </a:xfrm>
          </p:grpSpPr>
          <p:sp>
            <p:nvSpPr>
              <p:cNvPr id="65" name="Rectangle 64"/>
              <p:cNvSpPr/>
              <p:nvPr/>
            </p:nvSpPr>
            <p:spPr bwMode="auto">
              <a:xfrm>
                <a:off x="13128666" y="1904999"/>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Cluster Storage Management</a:t>
                </a:r>
              </a:p>
            </p:txBody>
          </p:sp>
          <p:pic>
            <p:nvPicPr>
              <p:cNvPr id="66" name="Picture 5"/>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13247083" y="2034293"/>
                <a:ext cx="887423" cy="9755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7" name="TextBox 66"/>
              <p:cNvSpPr txBox="1"/>
              <p:nvPr/>
            </p:nvSpPr>
            <p:spPr>
              <a:xfrm>
                <a:off x="14789434" y="1904999"/>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7</a:t>
                </a:r>
              </a:p>
            </p:txBody>
          </p:sp>
        </p:grpSp>
        <p:grpSp>
          <p:nvGrpSpPr>
            <p:cNvPr id="36" name="Group 35"/>
            <p:cNvGrpSpPr/>
            <p:nvPr/>
          </p:nvGrpSpPr>
          <p:grpSpPr>
            <a:xfrm>
              <a:off x="11004055" y="1904999"/>
              <a:ext cx="2011680" cy="2011680"/>
              <a:chOff x="11001661" y="1904999"/>
              <a:chExt cx="2011680" cy="2011680"/>
            </a:xfrm>
          </p:grpSpPr>
          <p:sp>
            <p:nvSpPr>
              <p:cNvPr id="62" name="Rectangle 61"/>
              <p:cNvSpPr/>
              <p:nvPr/>
            </p:nvSpPr>
            <p:spPr bwMode="auto">
              <a:xfrm>
                <a:off x="11001661" y="1904999"/>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Array Onboarding</a:t>
                </a:r>
              </a:p>
            </p:txBody>
          </p:sp>
          <p:pic>
            <p:nvPicPr>
              <p:cNvPr id="63" name="Picture 62"/>
              <p:cNvPicPr>
                <a:picLocks noChangeAspect="1"/>
              </p:cNvPicPr>
              <p:nvPr>
                <p:custDataLst>
                  <p:tags r:id="rId1"/>
                </p:custDataLst>
              </p:nvPr>
            </p:nvPicPr>
            <p:blipFill>
              <a:blip r:embed="rId15">
                <a:extLst>
                  <a:ext uri="{28A0092B-C50C-407E-A947-70E740481C1C}">
                    <a14:useLocalDpi xmlns:a14="http://schemas.microsoft.com/office/drawing/2010/main" val="0"/>
                  </a:ext>
                </a:extLst>
              </a:blip>
              <a:stretch>
                <a:fillRect/>
              </a:stretch>
            </p:blipFill>
            <p:spPr>
              <a:xfrm>
                <a:off x="11123743" y="2105711"/>
                <a:ext cx="750774" cy="875588"/>
              </a:xfrm>
              <a:prstGeom prst="rect">
                <a:avLst/>
              </a:prstGeom>
              <a:effectLst/>
            </p:spPr>
          </p:pic>
          <p:sp>
            <p:nvSpPr>
              <p:cNvPr id="64" name="TextBox 63"/>
              <p:cNvSpPr txBox="1"/>
              <p:nvPr/>
            </p:nvSpPr>
            <p:spPr>
              <a:xfrm>
                <a:off x="12657826" y="1904999"/>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6</a:t>
                </a:r>
              </a:p>
            </p:txBody>
          </p:sp>
        </p:grpSp>
        <p:grpSp>
          <p:nvGrpSpPr>
            <p:cNvPr id="41" name="Group 40"/>
            <p:cNvGrpSpPr/>
            <p:nvPr/>
          </p:nvGrpSpPr>
          <p:grpSpPr>
            <a:xfrm>
              <a:off x="2505611" y="1904999"/>
              <a:ext cx="2011680" cy="2011680"/>
              <a:chOff x="2504440" y="1905000"/>
              <a:chExt cx="2011680" cy="2011680"/>
            </a:xfrm>
          </p:grpSpPr>
          <p:sp>
            <p:nvSpPr>
              <p:cNvPr id="59" name="Rectangle 58"/>
              <p:cNvSpPr/>
              <p:nvPr/>
            </p:nvSpPr>
            <p:spPr bwMode="auto">
              <a:xfrm>
                <a:off x="2504440"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Storage Classification </a:t>
                </a:r>
              </a:p>
            </p:txBody>
          </p:sp>
          <p:pic>
            <p:nvPicPr>
              <p:cNvPr id="60" name="Picture 59"/>
              <p:cNvPicPr>
                <a:picLocks/>
              </p:cNvPicPr>
              <p:nvPr/>
            </p:nvPicPr>
            <p:blipFill>
              <a:blip r:embed="rId16">
                <a:extLst>
                  <a:ext uri="{28A0092B-C50C-407E-A947-70E740481C1C}">
                    <a14:useLocalDpi xmlns:a14="http://schemas.microsoft.com/office/drawing/2010/main" val="0"/>
                  </a:ext>
                </a:extLst>
              </a:blip>
              <a:stretch>
                <a:fillRect/>
              </a:stretch>
            </p:blipFill>
            <p:spPr>
              <a:xfrm>
                <a:off x="2625747" y="2104845"/>
                <a:ext cx="658539" cy="880541"/>
              </a:xfrm>
              <a:prstGeom prst="rect">
                <a:avLst/>
              </a:prstGeom>
            </p:spPr>
          </p:pic>
          <p:sp>
            <p:nvSpPr>
              <p:cNvPr id="61" name="TextBox 60"/>
              <p:cNvSpPr txBox="1"/>
              <p:nvPr/>
            </p:nvSpPr>
            <p:spPr>
              <a:xfrm>
                <a:off x="4170996"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2</a:t>
                </a:r>
              </a:p>
            </p:txBody>
          </p:sp>
        </p:grpSp>
        <p:grpSp>
          <p:nvGrpSpPr>
            <p:cNvPr id="42" name="Group 41"/>
            <p:cNvGrpSpPr/>
            <p:nvPr/>
          </p:nvGrpSpPr>
          <p:grpSpPr>
            <a:xfrm>
              <a:off x="381000" y="1904999"/>
              <a:ext cx="2011680" cy="2011680"/>
              <a:chOff x="381000" y="1905000"/>
              <a:chExt cx="2011680" cy="2011680"/>
            </a:xfrm>
          </p:grpSpPr>
          <p:sp>
            <p:nvSpPr>
              <p:cNvPr id="56" name="Rectangle 55"/>
              <p:cNvSpPr/>
              <p:nvPr/>
            </p:nvSpPr>
            <p:spPr bwMode="auto">
              <a:xfrm>
                <a:off x="381000"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End to End Mapping</a:t>
                </a:r>
              </a:p>
            </p:txBody>
          </p:sp>
          <p:pic>
            <p:nvPicPr>
              <p:cNvPr id="57" name="Picture 4" descr="\\MAGNUM\Projects\Microsoft\Cloud Power FY12\Design\ICONS_PNG\Check_mark.png"/>
              <p:cNvPicPr>
                <a:picLocks noChangeAspect="1" noChangeArrowheads="1"/>
              </p:cNvPicPr>
              <p:nvPr/>
            </p:nvPicPr>
            <p:blipFill rotWithShape="1">
              <a:blip r:embed="rId17" cstate="print">
                <a:lum bright="100000"/>
              </a:blip>
              <a:srcRect t="11515"/>
              <a:stretch/>
            </p:blipFill>
            <p:spPr bwMode="auto">
              <a:xfrm>
                <a:off x="411681" y="2024234"/>
                <a:ext cx="1061220" cy="1209050"/>
              </a:xfrm>
              <a:prstGeom prst="rect">
                <a:avLst/>
              </a:prstGeom>
              <a:noFill/>
            </p:spPr>
          </p:pic>
          <p:sp>
            <p:nvSpPr>
              <p:cNvPr id="58" name="TextBox 57"/>
              <p:cNvSpPr txBox="1"/>
              <p:nvPr/>
            </p:nvSpPr>
            <p:spPr>
              <a:xfrm>
                <a:off x="2051561"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1</a:t>
                </a:r>
              </a:p>
            </p:txBody>
          </p:sp>
        </p:grpSp>
        <p:grpSp>
          <p:nvGrpSpPr>
            <p:cNvPr id="43" name="Group of Crosshairs" hidden="1"/>
            <p:cNvGrpSpPr/>
            <p:nvPr/>
          </p:nvGrpSpPr>
          <p:grpSpPr>
            <a:xfrm>
              <a:off x="928053" y="2452052"/>
              <a:ext cx="24288292" cy="917575"/>
              <a:chOff x="928053" y="4429828"/>
              <a:chExt cx="24288292" cy="917575"/>
            </a:xfrm>
          </p:grpSpPr>
          <p:sp>
            <p:nvSpPr>
              <p:cNvPr id="44" name="Crosshair"/>
              <p:cNvSpPr>
                <a:spLocks/>
              </p:cNvSpPr>
              <p:nvPr/>
            </p:nvSpPr>
            <p:spPr bwMode="auto">
              <a:xfrm>
                <a:off x="928053"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Crosshair"/>
              <p:cNvSpPr>
                <a:spLocks/>
              </p:cNvSpPr>
              <p:nvPr/>
            </p:nvSpPr>
            <p:spPr bwMode="auto">
              <a:xfrm>
                <a:off x="3052664"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Crosshair"/>
              <p:cNvSpPr>
                <a:spLocks/>
              </p:cNvSpPr>
              <p:nvPr/>
            </p:nvSpPr>
            <p:spPr bwMode="auto">
              <a:xfrm>
                <a:off x="5177275"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Crosshair"/>
              <p:cNvSpPr>
                <a:spLocks/>
              </p:cNvSpPr>
              <p:nvPr/>
            </p:nvSpPr>
            <p:spPr bwMode="auto">
              <a:xfrm>
                <a:off x="7301886"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Crosshair"/>
              <p:cNvSpPr>
                <a:spLocks/>
              </p:cNvSpPr>
              <p:nvPr/>
            </p:nvSpPr>
            <p:spPr bwMode="auto">
              <a:xfrm>
                <a:off x="9426497"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Crosshair"/>
              <p:cNvSpPr>
                <a:spLocks/>
              </p:cNvSpPr>
              <p:nvPr/>
            </p:nvSpPr>
            <p:spPr bwMode="auto">
              <a:xfrm>
                <a:off x="11551108"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Crosshair"/>
              <p:cNvSpPr>
                <a:spLocks/>
              </p:cNvSpPr>
              <p:nvPr/>
            </p:nvSpPr>
            <p:spPr bwMode="auto">
              <a:xfrm>
                <a:off x="13675719"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Crosshair"/>
              <p:cNvSpPr>
                <a:spLocks/>
              </p:cNvSpPr>
              <p:nvPr/>
            </p:nvSpPr>
            <p:spPr bwMode="auto">
              <a:xfrm>
                <a:off x="15800330"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Crosshair"/>
              <p:cNvSpPr>
                <a:spLocks/>
              </p:cNvSpPr>
              <p:nvPr/>
            </p:nvSpPr>
            <p:spPr bwMode="auto">
              <a:xfrm>
                <a:off x="17924941"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Crosshair"/>
              <p:cNvSpPr>
                <a:spLocks/>
              </p:cNvSpPr>
              <p:nvPr/>
            </p:nvSpPr>
            <p:spPr bwMode="auto">
              <a:xfrm>
                <a:off x="20049552"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Crosshair"/>
              <p:cNvSpPr>
                <a:spLocks/>
              </p:cNvSpPr>
              <p:nvPr/>
            </p:nvSpPr>
            <p:spPr bwMode="auto">
              <a:xfrm>
                <a:off x="22174163"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Crosshair"/>
              <p:cNvSpPr>
                <a:spLocks/>
              </p:cNvSpPr>
              <p:nvPr/>
            </p:nvSpPr>
            <p:spPr bwMode="auto">
              <a:xfrm>
                <a:off x="24298770"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grpSp>
        <p:nvGrpSpPr>
          <p:cNvPr id="98" name="Group 97"/>
          <p:cNvGrpSpPr/>
          <p:nvPr/>
        </p:nvGrpSpPr>
        <p:grpSpPr>
          <a:xfrm>
            <a:off x="380575" y="1428749"/>
            <a:ext cx="2012968" cy="1508760"/>
            <a:chOff x="8877050" y="1905000"/>
            <a:chExt cx="2012967" cy="2011680"/>
          </a:xfrm>
          <a:solidFill>
            <a:schemeClr val="accent5"/>
          </a:solidFill>
        </p:grpSpPr>
        <p:sp>
          <p:nvSpPr>
            <p:cNvPr id="136" name="Rectangle 135"/>
            <p:cNvSpPr/>
            <p:nvPr/>
          </p:nvSpPr>
          <p:spPr bwMode="auto">
            <a:xfrm>
              <a:off x="8877050" y="1905000"/>
              <a:ext cx="2012967" cy="2011680"/>
            </a:xfrm>
            <a:prstGeom prst="rect">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SAN Migration</a:t>
              </a:r>
            </a:p>
          </p:txBody>
        </p:sp>
        <p:pic>
          <p:nvPicPr>
            <p:cNvPr id="137" name="Picture 2"/>
            <p:cNvPicPr>
              <a:picLocks noChangeAspect="1" noChangeArrowheads="1"/>
            </p:cNvPicPr>
            <p:nvPr/>
          </p:nvPicPr>
          <p:blipFill>
            <a:blip r:embed="rId11">
              <a:extLst>
                <a:ext uri="{28A0092B-C50C-407E-A947-70E740481C1C}">
                  <a14:useLocalDpi xmlns:a14="http://schemas.microsoft.com/office/drawing/2010/main" val="0"/>
                </a:ext>
              </a:extLst>
            </a:blip>
            <a:stretch>
              <a:fillRect/>
            </a:stretch>
          </p:blipFill>
          <p:spPr bwMode="auto">
            <a:xfrm>
              <a:off x="9003772" y="2087593"/>
              <a:ext cx="1013736" cy="904983"/>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8" name="TextBox 137"/>
            <p:cNvSpPr txBox="1"/>
            <p:nvPr/>
          </p:nvSpPr>
          <p:spPr>
            <a:xfrm>
              <a:off x="10533215" y="1905000"/>
              <a:ext cx="267381" cy="615553"/>
            </a:xfrm>
            <a:prstGeom prst="rect">
              <a:avLst/>
            </a:prstGeom>
            <a:grpFill/>
          </p:spPr>
          <p:txBody>
            <a:bodyPr wrap="none" lIns="0" tIns="0" rIns="45720" bIns="0" rtlCol="0">
              <a:spAutoFit/>
            </a:bodyPr>
            <a:lstStyle/>
            <a:p>
              <a:r>
                <a:rPr lang="en-US" sz="3000" b="1" dirty="0">
                  <a:gradFill>
                    <a:gsLst>
                      <a:gs pos="0">
                        <a:schemeClr val="accent5">
                          <a:lumMod val="60000"/>
                          <a:lumOff val="40000"/>
                        </a:schemeClr>
                      </a:gs>
                      <a:gs pos="86000">
                        <a:schemeClr val="accent5">
                          <a:lumMod val="60000"/>
                          <a:lumOff val="40000"/>
                        </a:schemeClr>
                      </a:gs>
                    </a:gsLst>
                    <a:lin ang="5400000" scaled="0"/>
                  </a:gradFill>
                </a:rPr>
                <a:t>5</a:t>
              </a:r>
            </a:p>
          </p:txBody>
        </p:sp>
      </p:grpSp>
      <p:sp>
        <p:nvSpPr>
          <p:cNvPr id="92" name="Rectangle 91"/>
          <p:cNvSpPr/>
          <p:nvPr/>
        </p:nvSpPr>
        <p:spPr bwMode="auto">
          <a:xfrm>
            <a:off x="381003" y="3016113"/>
            <a:ext cx="8372207" cy="478578"/>
          </a:xfrm>
          <a:prstGeom prst="rect">
            <a:avLst/>
          </a:prstGeom>
          <a:solidFill>
            <a:schemeClr val="accent5"/>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defTabSz="685637" fontAlgn="base">
              <a:spcBef>
                <a:spcPct val="0"/>
              </a:spcBef>
              <a:spcAft>
                <a:spcPct val="0"/>
              </a:spcAft>
            </a:pPr>
            <a:r>
              <a:rPr lang="en-US" sz="2100" dirty="0">
                <a:solidFill>
                  <a:schemeClr val="tx1"/>
                </a:solidFill>
              </a:rPr>
              <a:t>Unmasking and Masking</a:t>
            </a:r>
          </a:p>
        </p:txBody>
      </p:sp>
      <p:sp>
        <p:nvSpPr>
          <p:cNvPr id="93" name="Rectangle 92"/>
          <p:cNvSpPr/>
          <p:nvPr/>
        </p:nvSpPr>
        <p:spPr bwMode="auto">
          <a:xfrm>
            <a:off x="381003" y="3575469"/>
            <a:ext cx="8372207" cy="478578"/>
          </a:xfrm>
          <a:prstGeom prst="rect">
            <a:avLst/>
          </a:prstGeom>
          <a:solidFill>
            <a:schemeClr val="accent5"/>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defTabSz="685637" fontAlgn="base">
              <a:spcBef>
                <a:spcPct val="0"/>
              </a:spcBef>
              <a:spcAft>
                <a:spcPct val="0"/>
              </a:spcAft>
            </a:pPr>
            <a:r>
              <a:rPr lang="en-US" sz="2100" dirty="0">
                <a:solidFill>
                  <a:schemeClr val="tx1"/>
                </a:solidFill>
              </a:rPr>
              <a:t>iSCSI Initiator Log-On/Log-Off</a:t>
            </a:r>
          </a:p>
        </p:txBody>
      </p:sp>
      <p:sp>
        <p:nvSpPr>
          <p:cNvPr id="94" name="Rectangle 93"/>
          <p:cNvSpPr/>
          <p:nvPr/>
        </p:nvSpPr>
        <p:spPr bwMode="auto">
          <a:xfrm>
            <a:off x="381003" y="4134824"/>
            <a:ext cx="8372207" cy="478578"/>
          </a:xfrm>
          <a:prstGeom prst="rect">
            <a:avLst/>
          </a:prstGeom>
          <a:solidFill>
            <a:schemeClr val="accent5"/>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defTabSz="685637" fontAlgn="base">
              <a:spcBef>
                <a:spcPct val="0"/>
              </a:spcBef>
              <a:spcAft>
                <a:spcPct val="0"/>
              </a:spcAft>
            </a:pPr>
            <a:r>
              <a:rPr lang="en-US" sz="2100" dirty="0">
                <a:solidFill>
                  <a:schemeClr val="tx1"/>
                </a:solidFill>
              </a:rPr>
              <a:t>NPIV vPort Creation/Deletion</a:t>
            </a:r>
          </a:p>
        </p:txBody>
      </p:sp>
      <p:sp>
        <p:nvSpPr>
          <p:cNvPr id="2" name="Title 1"/>
          <p:cNvSpPr>
            <a:spLocks noGrp="1"/>
          </p:cNvSpPr>
          <p:nvPr>
            <p:ph type="title"/>
          </p:nvPr>
        </p:nvSpPr>
        <p:spPr/>
        <p:txBody>
          <a:bodyPr/>
          <a:lstStyle/>
          <a:p>
            <a:r>
              <a:rPr lang="en-US" dirty="0"/>
              <a:t>The Fantastic 12 of</a:t>
            </a:r>
          </a:p>
        </p:txBody>
      </p:sp>
      <p:pic>
        <p:nvPicPr>
          <p:cNvPr id="95" name="Picture 2" descr="\\eventsql\dvd\Online_ART\DVD_ART36\Logos\System Center Virtual Machine Manager 2008 R2\system center virtual machine manager 2008 r2 h rev.png"/>
          <p:cNvPicPr>
            <a:picLocks noChangeAspect="1" noChangeArrowheads="1"/>
          </p:cNvPicPr>
          <p:nvPr/>
        </p:nvPicPr>
        <p:blipFill rotWithShape="1">
          <a:blip r:embed="rId18">
            <a:extLst>
              <a:ext uri="{28A0092B-C50C-407E-A947-70E740481C1C}">
                <a14:useLocalDpi xmlns:a14="http://schemas.microsoft.com/office/drawing/2010/main" val="0"/>
              </a:ext>
            </a:extLst>
          </a:blip>
          <a:srcRect r="16495"/>
          <a:stretch/>
        </p:blipFill>
        <p:spPr bwMode="auto">
          <a:xfrm>
            <a:off x="4300244" y="139992"/>
            <a:ext cx="3072835" cy="777872"/>
          </a:xfrm>
          <a:prstGeom prst="rect">
            <a:avLst/>
          </a:prstGeom>
          <a:noFill/>
          <a:extLst>
            <a:ext uri="{909E8E84-426E-40DD-AFC4-6F175D3DCCD1}">
              <a14:hiddenFill xmlns:a14="http://schemas.microsoft.com/office/drawing/2010/main">
                <a:solidFill>
                  <a:srgbClr val="FFFFFF"/>
                </a:solidFill>
              </a14:hiddenFill>
            </a:ext>
          </a:extLst>
        </p:spPr>
      </p:pic>
      <p:sp>
        <p:nvSpPr>
          <p:cNvPr id="96"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97"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9"/>
              </a:rPr>
              <a:t>www.rapidbbs.cn</a:t>
            </a:r>
            <a:endParaRPr lang="zh-CN" altLang="en-US" sz="1200" b="0">
              <a:latin typeface="Arial" charset="0"/>
              <a:ea typeface="ＭＳ Ｐゴシック" pitchFamily="34" charset="-128"/>
            </a:endParaRPr>
          </a:p>
        </p:txBody>
      </p:sp>
      <p:pic>
        <p:nvPicPr>
          <p:cNvPr id="99" name="Picture 2">
            <a:hlinkClick r:id="rId19"/>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5041291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accel="50000" decel="50000" fill="hold" nodeType="afterEffect">
                                  <p:stCondLst>
                                    <p:cond delay="0"/>
                                  </p:stCondLst>
                                  <p:childTnLst>
                                    <p:animMotion origin="layout" path="M 8.33333E-7 4.44444E-6 L -0.23316 -0.00093 " pathEditMode="relative" rAng="0" ptsTypes="AA">
                                      <p:cBhvr>
                                        <p:cTn id="6" dur="1000" fill="hold"/>
                                        <p:tgtEl>
                                          <p:spTgt spid="21"/>
                                        </p:tgtEl>
                                        <p:attrNameLst>
                                          <p:attrName>ppt_x</p:attrName>
                                          <p:attrName>ppt_y</p:attrName>
                                        </p:attrNameLst>
                                      </p:cBhvr>
                                      <p:rCtr x="-11667" y="-46"/>
                                    </p:animMotion>
                                  </p:childTnLst>
                                </p:cTn>
                              </p:par>
                            </p:childTnLst>
                          </p:cTn>
                        </p:par>
                        <p:par>
                          <p:cTn id="7" fill="hold">
                            <p:stCondLst>
                              <p:cond delay="1000"/>
                            </p:stCondLst>
                            <p:childTnLst>
                              <p:par>
                                <p:cTn id="8" presetID="22" presetClass="entr" presetSubtype="4" fill="hold" nodeType="afterEffect">
                                  <p:stCondLst>
                                    <p:cond delay="0"/>
                                  </p:stCondLst>
                                  <p:childTnLst>
                                    <p:set>
                                      <p:cBhvr>
                                        <p:cTn id="9" dur="1" fill="hold">
                                          <p:stCondLst>
                                            <p:cond delay="0"/>
                                          </p:stCondLst>
                                        </p:cTn>
                                        <p:tgtEl>
                                          <p:spTgt spid="98"/>
                                        </p:tgtEl>
                                        <p:attrNameLst>
                                          <p:attrName>style.visibility</p:attrName>
                                        </p:attrNameLst>
                                      </p:cBhvr>
                                      <p:to>
                                        <p:strVal val="visible"/>
                                      </p:to>
                                    </p:set>
                                    <p:animEffect transition="in" filter="wipe(down)">
                                      <p:cBhvr>
                                        <p:cTn id="10" dur="500"/>
                                        <p:tgtEl>
                                          <p:spTgt spid="98"/>
                                        </p:tgtEl>
                                      </p:cBhvr>
                                    </p:animEffect>
                                  </p:childTnLst>
                                </p:cTn>
                              </p:par>
                              <p:par>
                                <p:cTn id="11" presetID="2" presetClass="entr" presetSubtype="2" decel="100000" fill="hold" grpId="0" nodeType="withEffect">
                                  <p:stCondLst>
                                    <p:cond delay="500"/>
                                  </p:stCondLst>
                                  <p:childTnLst>
                                    <p:set>
                                      <p:cBhvr>
                                        <p:cTn id="12" dur="1" fill="hold">
                                          <p:stCondLst>
                                            <p:cond delay="0"/>
                                          </p:stCondLst>
                                        </p:cTn>
                                        <p:tgtEl>
                                          <p:spTgt spid="92"/>
                                        </p:tgtEl>
                                        <p:attrNameLst>
                                          <p:attrName>style.visibility</p:attrName>
                                        </p:attrNameLst>
                                      </p:cBhvr>
                                      <p:to>
                                        <p:strVal val="visible"/>
                                      </p:to>
                                    </p:set>
                                    <p:anim calcmode="lin" valueType="num">
                                      <p:cBhvr additive="base">
                                        <p:cTn id="13" dur="1000" fill="hold"/>
                                        <p:tgtEl>
                                          <p:spTgt spid="92"/>
                                        </p:tgtEl>
                                        <p:attrNameLst>
                                          <p:attrName>ppt_x</p:attrName>
                                        </p:attrNameLst>
                                      </p:cBhvr>
                                      <p:tavLst>
                                        <p:tav tm="0">
                                          <p:val>
                                            <p:strVal val="1+#ppt_w/2"/>
                                          </p:val>
                                        </p:tav>
                                        <p:tav tm="100000">
                                          <p:val>
                                            <p:strVal val="#ppt_x"/>
                                          </p:val>
                                        </p:tav>
                                      </p:tavLst>
                                    </p:anim>
                                    <p:anim calcmode="lin" valueType="num">
                                      <p:cBhvr additive="base">
                                        <p:cTn id="14" dur="1000" fill="hold"/>
                                        <p:tgtEl>
                                          <p:spTgt spid="92"/>
                                        </p:tgtEl>
                                        <p:attrNameLst>
                                          <p:attrName>ppt_y</p:attrName>
                                        </p:attrNameLst>
                                      </p:cBhvr>
                                      <p:tavLst>
                                        <p:tav tm="0">
                                          <p:val>
                                            <p:strVal val="#ppt_y"/>
                                          </p:val>
                                        </p:tav>
                                        <p:tav tm="100000">
                                          <p:val>
                                            <p:strVal val="#ppt_y"/>
                                          </p:val>
                                        </p:tav>
                                      </p:tavLst>
                                    </p:anim>
                                  </p:childTnLst>
                                </p:cTn>
                              </p:par>
                              <p:par>
                                <p:cTn id="15" presetID="2" presetClass="entr" presetSubtype="2" decel="100000" fill="hold" grpId="0" nodeType="withEffect">
                                  <p:stCondLst>
                                    <p:cond delay="1000"/>
                                  </p:stCondLst>
                                  <p:childTnLst>
                                    <p:set>
                                      <p:cBhvr>
                                        <p:cTn id="16" dur="1" fill="hold">
                                          <p:stCondLst>
                                            <p:cond delay="0"/>
                                          </p:stCondLst>
                                        </p:cTn>
                                        <p:tgtEl>
                                          <p:spTgt spid="93"/>
                                        </p:tgtEl>
                                        <p:attrNameLst>
                                          <p:attrName>style.visibility</p:attrName>
                                        </p:attrNameLst>
                                      </p:cBhvr>
                                      <p:to>
                                        <p:strVal val="visible"/>
                                      </p:to>
                                    </p:set>
                                    <p:anim calcmode="lin" valueType="num">
                                      <p:cBhvr additive="base">
                                        <p:cTn id="17" dur="1000" fill="hold"/>
                                        <p:tgtEl>
                                          <p:spTgt spid="93"/>
                                        </p:tgtEl>
                                        <p:attrNameLst>
                                          <p:attrName>ppt_x</p:attrName>
                                        </p:attrNameLst>
                                      </p:cBhvr>
                                      <p:tavLst>
                                        <p:tav tm="0">
                                          <p:val>
                                            <p:strVal val="1+#ppt_w/2"/>
                                          </p:val>
                                        </p:tav>
                                        <p:tav tm="100000">
                                          <p:val>
                                            <p:strVal val="#ppt_x"/>
                                          </p:val>
                                        </p:tav>
                                      </p:tavLst>
                                    </p:anim>
                                    <p:anim calcmode="lin" valueType="num">
                                      <p:cBhvr additive="base">
                                        <p:cTn id="18" dur="1000" fill="hold"/>
                                        <p:tgtEl>
                                          <p:spTgt spid="93"/>
                                        </p:tgtEl>
                                        <p:attrNameLst>
                                          <p:attrName>ppt_y</p:attrName>
                                        </p:attrNameLst>
                                      </p:cBhvr>
                                      <p:tavLst>
                                        <p:tav tm="0">
                                          <p:val>
                                            <p:strVal val="#ppt_y"/>
                                          </p:val>
                                        </p:tav>
                                        <p:tav tm="100000">
                                          <p:val>
                                            <p:strVal val="#ppt_y"/>
                                          </p:val>
                                        </p:tav>
                                      </p:tavLst>
                                    </p:anim>
                                  </p:childTnLst>
                                </p:cTn>
                              </p:par>
                              <p:par>
                                <p:cTn id="19" presetID="2" presetClass="entr" presetSubtype="2" decel="100000" fill="hold" grpId="0" nodeType="withEffect">
                                  <p:stCondLst>
                                    <p:cond delay="1500"/>
                                  </p:stCondLst>
                                  <p:childTnLst>
                                    <p:set>
                                      <p:cBhvr>
                                        <p:cTn id="20" dur="1" fill="hold">
                                          <p:stCondLst>
                                            <p:cond delay="0"/>
                                          </p:stCondLst>
                                        </p:cTn>
                                        <p:tgtEl>
                                          <p:spTgt spid="94"/>
                                        </p:tgtEl>
                                        <p:attrNameLst>
                                          <p:attrName>style.visibility</p:attrName>
                                        </p:attrNameLst>
                                      </p:cBhvr>
                                      <p:to>
                                        <p:strVal val="visible"/>
                                      </p:to>
                                    </p:set>
                                    <p:anim calcmode="lin" valueType="num">
                                      <p:cBhvr additive="base">
                                        <p:cTn id="21" dur="1000" fill="hold"/>
                                        <p:tgtEl>
                                          <p:spTgt spid="94"/>
                                        </p:tgtEl>
                                        <p:attrNameLst>
                                          <p:attrName>ppt_x</p:attrName>
                                        </p:attrNameLst>
                                      </p:cBhvr>
                                      <p:tavLst>
                                        <p:tav tm="0">
                                          <p:val>
                                            <p:strVal val="1+#ppt_w/2"/>
                                          </p:val>
                                        </p:tav>
                                        <p:tav tm="100000">
                                          <p:val>
                                            <p:strVal val="#ppt_x"/>
                                          </p:val>
                                        </p:tav>
                                      </p:tavLst>
                                    </p:anim>
                                    <p:anim calcmode="lin" valueType="num">
                                      <p:cBhvr additive="base">
                                        <p:cTn id="22" dur="1000" fill="hold"/>
                                        <p:tgtEl>
                                          <p:spTgt spid="9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 grpId="0" animBg="1"/>
      <p:bldP spid="93" grpId="0" animBg="1"/>
      <p:bldP spid="94" grpId="0" animBg="1"/>
    </p:bld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4" name="Group 153"/>
          <p:cNvGrpSpPr/>
          <p:nvPr/>
        </p:nvGrpSpPr>
        <p:grpSpPr>
          <a:xfrm>
            <a:off x="-8110834" y="1428749"/>
            <a:ext cx="25382397" cy="1508760"/>
            <a:chOff x="381000" y="1904999"/>
            <a:chExt cx="25382397" cy="2011680"/>
          </a:xfrm>
        </p:grpSpPr>
        <p:grpSp>
          <p:nvGrpSpPr>
            <p:cNvPr id="155" name="Group 154"/>
            <p:cNvGrpSpPr/>
            <p:nvPr/>
          </p:nvGrpSpPr>
          <p:grpSpPr>
            <a:xfrm>
              <a:off x="23751717" y="1904999"/>
              <a:ext cx="2011680" cy="2011680"/>
              <a:chOff x="23751717" y="1905000"/>
              <a:chExt cx="2011680" cy="2011680"/>
            </a:xfrm>
          </p:grpSpPr>
          <p:sp>
            <p:nvSpPr>
              <p:cNvPr id="213" name="Rectangle 212"/>
              <p:cNvSpPr/>
              <p:nvPr/>
            </p:nvSpPr>
            <p:spPr bwMode="auto">
              <a:xfrm>
                <a:off x="23751717"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 </a:t>
                </a:r>
                <a:br>
                  <a:rPr lang="en-US" sz="1500" dirty="0">
                    <a:gradFill>
                      <a:gsLst>
                        <a:gs pos="0">
                          <a:srgbClr val="FFFFFF"/>
                        </a:gs>
                        <a:gs pos="100000">
                          <a:srgbClr val="FFFFFF"/>
                        </a:gs>
                      </a:gsLst>
                      <a:lin ang="5400000" scaled="0"/>
                    </a:gradFill>
                  </a:rPr>
                </a:br>
                <a:r>
                  <a:rPr lang="en-US" sz="1500" dirty="0">
                    <a:gradFill>
                      <a:gsLst>
                        <a:gs pos="0">
                          <a:srgbClr val="FFFFFF"/>
                        </a:gs>
                        <a:gs pos="100000">
                          <a:srgbClr val="FFFFFF"/>
                        </a:gs>
                      </a:gsLst>
                      <a:lin ang="5400000" scaled="0"/>
                    </a:gradFill>
                  </a:rPr>
                  <a:t>.</a:t>
                </a:r>
              </a:p>
            </p:txBody>
          </p:sp>
          <p:pic>
            <p:nvPicPr>
              <p:cNvPr id="214" name="Picture 147"/>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3834789" y="2130724"/>
                <a:ext cx="1382850" cy="8242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5" name="TextBox 214"/>
              <p:cNvSpPr txBox="1"/>
              <p:nvPr/>
            </p:nvSpPr>
            <p:spPr>
              <a:xfrm>
                <a:off x="25111146" y="1905000"/>
                <a:ext cx="488595"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12</a:t>
                </a:r>
              </a:p>
            </p:txBody>
          </p:sp>
        </p:grpSp>
        <p:grpSp>
          <p:nvGrpSpPr>
            <p:cNvPr id="156" name="Group 155"/>
            <p:cNvGrpSpPr/>
            <p:nvPr/>
          </p:nvGrpSpPr>
          <p:grpSpPr>
            <a:xfrm>
              <a:off x="21627110" y="1904999"/>
              <a:ext cx="2011680" cy="2011680"/>
              <a:chOff x="21628277" y="1905000"/>
              <a:chExt cx="2011680" cy="2011680"/>
            </a:xfrm>
          </p:grpSpPr>
          <p:sp>
            <p:nvSpPr>
              <p:cNvPr id="210" name="Rectangle 209"/>
              <p:cNvSpPr/>
              <p:nvPr/>
            </p:nvSpPr>
            <p:spPr bwMode="auto">
              <a:xfrm>
                <a:off x="21628277"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Standards Based Management </a:t>
                </a:r>
              </a:p>
            </p:txBody>
          </p:sp>
          <p:pic>
            <p:nvPicPr>
              <p:cNvPr id="211" name="Picture 3" descr="\\SFP\Work\White_Whale\3-22036_Kuleen_Bharadwaj\PPT\3_PlatformVision_Kuleen\SFP_Art\Plane Slide\mon_notie.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1734293" y="2102691"/>
                <a:ext cx="780649" cy="915763"/>
              </a:xfrm>
              <a:prstGeom prst="rect">
                <a:avLst/>
              </a:prstGeom>
              <a:noFill/>
              <a:extLst>
                <a:ext uri="{909E8E84-426E-40DD-AFC4-6F175D3DCCD1}">
                  <a14:hiddenFill xmlns:a14="http://schemas.microsoft.com/office/drawing/2010/main">
                    <a:solidFill>
                      <a:srgbClr val="FFFFFF"/>
                    </a:solidFill>
                  </a14:hiddenFill>
                </a:ext>
              </a:extLst>
            </p:spPr>
          </p:pic>
          <p:sp>
            <p:nvSpPr>
              <p:cNvPr id="212" name="TextBox 211"/>
              <p:cNvSpPr txBox="1"/>
              <p:nvPr/>
            </p:nvSpPr>
            <p:spPr>
              <a:xfrm>
                <a:off x="22993494" y="1905000"/>
                <a:ext cx="488595"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11</a:t>
                </a:r>
              </a:p>
            </p:txBody>
          </p:sp>
        </p:grpSp>
        <p:grpSp>
          <p:nvGrpSpPr>
            <p:cNvPr id="157" name="Group 156"/>
            <p:cNvGrpSpPr/>
            <p:nvPr/>
          </p:nvGrpSpPr>
          <p:grpSpPr>
            <a:xfrm>
              <a:off x="19502499" y="1904999"/>
              <a:ext cx="2011680" cy="2011680"/>
              <a:chOff x="19504837" y="1905000"/>
              <a:chExt cx="2011680" cy="2011680"/>
            </a:xfrm>
          </p:grpSpPr>
          <p:sp>
            <p:nvSpPr>
              <p:cNvPr id="207" name="Rectangle 206"/>
              <p:cNvSpPr/>
              <p:nvPr/>
            </p:nvSpPr>
            <p:spPr bwMode="auto">
              <a:xfrm>
                <a:off x="19504837"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Extensive Array Support </a:t>
                </a:r>
              </a:p>
            </p:txBody>
          </p:sp>
          <p:pic>
            <p:nvPicPr>
              <p:cNvPr id="208" name="Picture 7" descr="\\MAGNUM\Projects\Microsoft\Cloud Power FY12\Design\ICONS_PNG\Physical_Virtual.png"/>
              <p:cNvPicPr>
                <a:picLocks noChangeAspect="1" noChangeArrowheads="1"/>
              </p:cNvPicPr>
              <p:nvPr/>
            </p:nvPicPr>
            <p:blipFill rotWithShape="1">
              <a:blip r:embed="rId8" cstate="print">
                <a:extLst>
                  <a:ext uri="{BEBA8EAE-BF5A-486C-A8C5-ECC9F3942E4B}">
                    <a14:imgProps xmlns:a14="http://schemas.microsoft.com/office/drawing/2010/main">
                      <a14:imgLayer r:embed="rId9">
                        <a14:imgEffect>
                          <a14:brightnessContrast bright="100000"/>
                        </a14:imgEffect>
                      </a14:imgLayer>
                    </a14:imgProps>
                  </a:ext>
                </a:extLst>
              </a:blip>
              <a:srcRect l="7856" t="39072" r="7907" b="5885"/>
              <a:stretch/>
            </p:blipFill>
            <p:spPr bwMode="auto">
              <a:xfrm>
                <a:off x="19529881" y="2070341"/>
                <a:ext cx="1472548" cy="962205"/>
              </a:xfrm>
              <a:prstGeom prst="rect">
                <a:avLst/>
              </a:prstGeom>
              <a:noFill/>
            </p:spPr>
          </p:pic>
          <p:sp>
            <p:nvSpPr>
              <p:cNvPr id="209" name="TextBox 208"/>
              <p:cNvSpPr txBox="1"/>
              <p:nvPr/>
            </p:nvSpPr>
            <p:spPr>
              <a:xfrm>
                <a:off x="20870054" y="1905000"/>
                <a:ext cx="488595"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10</a:t>
                </a:r>
              </a:p>
            </p:txBody>
          </p:sp>
        </p:grpSp>
        <p:grpSp>
          <p:nvGrpSpPr>
            <p:cNvPr id="158" name="Group 157"/>
            <p:cNvGrpSpPr/>
            <p:nvPr/>
          </p:nvGrpSpPr>
          <p:grpSpPr>
            <a:xfrm>
              <a:off x="17377888" y="1904999"/>
              <a:ext cx="2011680" cy="2011680"/>
              <a:chOff x="17381397" y="1905000"/>
              <a:chExt cx="2011680" cy="2011680"/>
            </a:xfrm>
          </p:grpSpPr>
          <p:sp>
            <p:nvSpPr>
              <p:cNvPr id="204" name="Rectangle 203"/>
              <p:cNvSpPr/>
              <p:nvPr/>
            </p:nvSpPr>
            <p:spPr bwMode="auto">
              <a:xfrm>
                <a:off x="17381397"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Scalable Provisioning</a:t>
                </a:r>
                <a:br>
                  <a:rPr lang="en-US" sz="1500" dirty="0">
                    <a:gradFill>
                      <a:gsLst>
                        <a:gs pos="0">
                          <a:srgbClr val="FFFFFF"/>
                        </a:gs>
                        <a:gs pos="100000">
                          <a:srgbClr val="FFFFFF"/>
                        </a:gs>
                      </a:gsLst>
                      <a:lin ang="5400000" scaled="0"/>
                    </a:gradFill>
                  </a:rPr>
                </a:br>
                <a:r>
                  <a:rPr lang="en-US" sz="1500" dirty="0">
                    <a:gradFill>
                      <a:gsLst>
                        <a:gs pos="0">
                          <a:srgbClr val="FFFFFF"/>
                        </a:gs>
                        <a:gs pos="100000">
                          <a:srgbClr val="FFFFFF"/>
                        </a:gs>
                      </a:gsLst>
                      <a:lin ang="5400000" scaled="0"/>
                    </a:gradFill>
                  </a:rPr>
                  <a:t> </a:t>
                </a:r>
              </a:p>
            </p:txBody>
          </p:sp>
          <p:pic>
            <p:nvPicPr>
              <p:cNvPr id="205" name="Picture 108"/>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7504750" y="2104845"/>
                <a:ext cx="707433" cy="880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6" name="TextBox 205"/>
              <p:cNvSpPr txBox="1"/>
              <p:nvPr/>
            </p:nvSpPr>
            <p:spPr>
              <a:xfrm>
                <a:off x="19051958"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9</a:t>
                </a:r>
              </a:p>
            </p:txBody>
          </p:sp>
        </p:grpSp>
        <p:grpSp>
          <p:nvGrpSpPr>
            <p:cNvPr id="159" name="Group 158"/>
            <p:cNvGrpSpPr/>
            <p:nvPr/>
          </p:nvGrpSpPr>
          <p:grpSpPr>
            <a:xfrm>
              <a:off x="15253277" y="1904999"/>
              <a:ext cx="2011680" cy="2011680"/>
              <a:chOff x="15253277" y="1905000"/>
              <a:chExt cx="2011680" cy="2011680"/>
            </a:xfrm>
          </p:grpSpPr>
          <p:sp>
            <p:nvSpPr>
              <p:cNvPr id="201" name="Rectangle 200"/>
              <p:cNvSpPr/>
              <p:nvPr/>
            </p:nvSpPr>
            <p:spPr bwMode="auto">
              <a:xfrm>
                <a:off x="15253277"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Storage Automation</a:t>
                </a:r>
              </a:p>
            </p:txBody>
          </p:sp>
          <p:pic>
            <p:nvPicPr>
              <p:cNvPr id="202" name="Picture 8"/>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5367381" y="2104845"/>
                <a:ext cx="1012018" cy="8877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3" name="TextBox 202"/>
              <p:cNvSpPr txBox="1"/>
              <p:nvPr/>
            </p:nvSpPr>
            <p:spPr>
              <a:xfrm>
                <a:off x="16914045"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8</a:t>
                </a:r>
              </a:p>
            </p:txBody>
          </p:sp>
        </p:grpSp>
        <p:grpSp>
          <p:nvGrpSpPr>
            <p:cNvPr id="160" name="Group 159"/>
            <p:cNvGrpSpPr/>
            <p:nvPr/>
          </p:nvGrpSpPr>
          <p:grpSpPr>
            <a:xfrm>
              <a:off x="8879444" y="1904999"/>
              <a:ext cx="2011680" cy="2011680"/>
              <a:chOff x="8877050" y="1905000"/>
              <a:chExt cx="2011680" cy="2011680"/>
            </a:xfrm>
          </p:grpSpPr>
          <p:sp>
            <p:nvSpPr>
              <p:cNvPr id="198" name="Rectangle 197"/>
              <p:cNvSpPr/>
              <p:nvPr/>
            </p:nvSpPr>
            <p:spPr bwMode="auto">
              <a:xfrm>
                <a:off x="8877050"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SAN Migration</a:t>
                </a:r>
              </a:p>
            </p:txBody>
          </p:sp>
          <p:pic>
            <p:nvPicPr>
              <p:cNvPr id="199" name="Picture 2"/>
              <p:cNvPicPr>
                <a:picLocks noChangeAspect="1" noChangeArrowheads="1"/>
              </p:cNvPicPr>
              <p:nvPr/>
            </p:nvPicPr>
            <p:blipFill>
              <a:blip r:embed="rId12">
                <a:extLst>
                  <a:ext uri="{28A0092B-C50C-407E-A947-70E740481C1C}">
                    <a14:useLocalDpi xmlns:a14="http://schemas.microsoft.com/office/drawing/2010/main" val="0"/>
                  </a:ext>
                </a:extLst>
              </a:blip>
              <a:stretch>
                <a:fillRect/>
              </a:stretch>
            </p:blipFill>
            <p:spPr bwMode="auto">
              <a:xfrm>
                <a:off x="9003772" y="2087593"/>
                <a:ext cx="1013736" cy="9049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0" name="TextBox 199"/>
              <p:cNvSpPr txBox="1"/>
              <p:nvPr/>
            </p:nvSpPr>
            <p:spPr>
              <a:xfrm>
                <a:off x="10533215"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5</a:t>
                </a:r>
              </a:p>
            </p:txBody>
          </p:sp>
        </p:grpSp>
        <p:grpSp>
          <p:nvGrpSpPr>
            <p:cNvPr id="161" name="Group 160"/>
            <p:cNvGrpSpPr/>
            <p:nvPr/>
          </p:nvGrpSpPr>
          <p:grpSpPr>
            <a:xfrm>
              <a:off x="6746923" y="1904999"/>
              <a:ext cx="2011680" cy="2011680"/>
              <a:chOff x="6744529" y="1905000"/>
              <a:chExt cx="2011680" cy="2011680"/>
            </a:xfrm>
          </p:grpSpPr>
          <p:sp>
            <p:nvSpPr>
              <p:cNvPr id="195" name="Rectangle 194"/>
              <p:cNvSpPr/>
              <p:nvPr/>
            </p:nvSpPr>
            <p:spPr bwMode="auto">
              <a:xfrm>
                <a:off x="6744529"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Rapid Provisioning</a:t>
                </a:r>
                <a:br>
                  <a:rPr lang="en-US" sz="1500" dirty="0">
                    <a:gradFill>
                      <a:gsLst>
                        <a:gs pos="0">
                          <a:srgbClr val="FFFFFF"/>
                        </a:gs>
                        <a:gs pos="100000">
                          <a:srgbClr val="FFFFFF"/>
                        </a:gs>
                      </a:gsLst>
                      <a:lin ang="5400000" scaled="0"/>
                    </a:gradFill>
                  </a:rPr>
                </a:br>
                <a:r>
                  <a:rPr lang="en-US" sz="1500" dirty="0">
                    <a:gradFill>
                      <a:gsLst>
                        <a:gs pos="0">
                          <a:srgbClr val="FFFFFF"/>
                        </a:gs>
                        <a:gs pos="100000">
                          <a:srgbClr val="FFFFFF"/>
                        </a:gs>
                      </a:gsLst>
                      <a:lin ang="5400000" scaled="0"/>
                    </a:gradFill>
                  </a:rPr>
                  <a:t>  </a:t>
                </a:r>
              </a:p>
            </p:txBody>
          </p:sp>
          <p:pic>
            <p:nvPicPr>
              <p:cNvPr id="196" name="Picture 174"/>
              <p:cNvPicPr>
                <a:picLocks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868882" y="2058656"/>
                <a:ext cx="727137" cy="966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7" name="TextBox 196"/>
              <p:cNvSpPr txBox="1"/>
              <p:nvPr/>
            </p:nvSpPr>
            <p:spPr>
              <a:xfrm>
                <a:off x="8418995"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4</a:t>
                </a:r>
              </a:p>
            </p:txBody>
          </p:sp>
        </p:grpSp>
        <p:grpSp>
          <p:nvGrpSpPr>
            <p:cNvPr id="162" name="Group 161"/>
            <p:cNvGrpSpPr/>
            <p:nvPr/>
          </p:nvGrpSpPr>
          <p:grpSpPr>
            <a:xfrm>
              <a:off x="4630222" y="1904999"/>
              <a:ext cx="2011680" cy="2011680"/>
              <a:chOff x="4641528" y="1905000"/>
              <a:chExt cx="2011680" cy="2011680"/>
            </a:xfrm>
          </p:grpSpPr>
          <p:sp>
            <p:nvSpPr>
              <p:cNvPr id="192" name="Rectangle 191"/>
              <p:cNvSpPr/>
              <p:nvPr/>
            </p:nvSpPr>
            <p:spPr bwMode="auto">
              <a:xfrm>
                <a:off x="4641528"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Allocation and Assignment</a:t>
                </a:r>
              </a:p>
            </p:txBody>
          </p:sp>
          <p:pic>
            <p:nvPicPr>
              <p:cNvPr id="193" name="Picture 3"/>
              <p:cNvPicPr>
                <a:picLocks noChangeAspect="1" noChangeArrowheads="1"/>
              </p:cNvPicPr>
              <p:nvPr>
                <p:custDataLst>
                  <p:tags r:id="rId3"/>
                </p:custDataLst>
              </p:nvPr>
            </p:nvPicPr>
            <p:blipFill>
              <a:blip r:embed="rId14" cstate="print">
                <a:extLst>
                  <a:ext uri="{28A0092B-C50C-407E-A947-70E740481C1C}">
                    <a14:useLocalDpi xmlns:a14="http://schemas.microsoft.com/office/drawing/2010/main"/>
                  </a:ext>
                </a:extLst>
              </a:blip>
              <a:srcRect/>
              <a:stretch>
                <a:fillRect/>
              </a:stretch>
            </p:blipFill>
            <p:spPr bwMode="auto">
              <a:xfrm>
                <a:off x="4751660" y="2024982"/>
                <a:ext cx="549057" cy="984876"/>
              </a:xfrm>
              <a:prstGeom prst="rect">
                <a:avLst/>
              </a:prstGeom>
              <a:noFill/>
              <a:ln>
                <a:noFill/>
                <a:headEnd type="none" w="med" len="med"/>
                <a:tailEnd type="none" w="med" len="med"/>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4" name="TextBox 193"/>
              <p:cNvSpPr txBox="1"/>
              <p:nvPr/>
            </p:nvSpPr>
            <p:spPr>
              <a:xfrm>
                <a:off x="6312089"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3</a:t>
                </a:r>
              </a:p>
            </p:txBody>
          </p:sp>
        </p:grpSp>
        <p:grpSp>
          <p:nvGrpSpPr>
            <p:cNvPr id="163" name="Group 162"/>
            <p:cNvGrpSpPr/>
            <p:nvPr/>
          </p:nvGrpSpPr>
          <p:grpSpPr>
            <a:xfrm>
              <a:off x="13128666" y="1904999"/>
              <a:ext cx="2011680" cy="2011680"/>
              <a:chOff x="13128666" y="1904999"/>
              <a:chExt cx="2011680" cy="2011680"/>
            </a:xfrm>
          </p:grpSpPr>
          <p:sp>
            <p:nvSpPr>
              <p:cNvPr id="189" name="Rectangle 188"/>
              <p:cNvSpPr/>
              <p:nvPr/>
            </p:nvSpPr>
            <p:spPr bwMode="auto">
              <a:xfrm>
                <a:off x="13128666" y="1904999"/>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Cluster Storage Management</a:t>
                </a:r>
              </a:p>
            </p:txBody>
          </p:sp>
          <p:pic>
            <p:nvPicPr>
              <p:cNvPr id="190" name="Picture 5"/>
              <p:cNvPicPr>
                <a:picLocks noChangeAspect="1" noChangeArrowheads="1"/>
              </p:cNvPicPr>
              <p:nvPr/>
            </p:nvPicPr>
            <p:blipFill>
              <a:blip r:embed="rId15" cstate="print">
                <a:extLst>
                  <a:ext uri="{28A0092B-C50C-407E-A947-70E740481C1C}">
                    <a14:useLocalDpi xmlns:a14="http://schemas.microsoft.com/office/drawing/2010/main" val="0"/>
                  </a:ext>
                </a:extLst>
              </a:blip>
              <a:stretch>
                <a:fillRect/>
              </a:stretch>
            </p:blipFill>
            <p:spPr bwMode="auto">
              <a:xfrm>
                <a:off x="13247083" y="2034293"/>
                <a:ext cx="960050" cy="9755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1" name="TextBox 190"/>
              <p:cNvSpPr txBox="1"/>
              <p:nvPr/>
            </p:nvSpPr>
            <p:spPr>
              <a:xfrm>
                <a:off x="14789434" y="1904999"/>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7</a:t>
                </a:r>
              </a:p>
            </p:txBody>
          </p:sp>
        </p:grpSp>
        <p:grpSp>
          <p:nvGrpSpPr>
            <p:cNvPr id="164" name="Group 163"/>
            <p:cNvGrpSpPr/>
            <p:nvPr/>
          </p:nvGrpSpPr>
          <p:grpSpPr>
            <a:xfrm>
              <a:off x="11004055" y="1904999"/>
              <a:ext cx="2011680" cy="2011680"/>
              <a:chOff x="11001661" y="1904999"/>
              <a:chExt cx="2011680" cy="2011680"/>
            </a:xfrm>
          </p:grpSpPr>
          <p:sp>
            <p:nvSpPr>
              <p:cNvPr id="186" name="Rectangle 185"/>
              <p:cNvSpPr/>
              <p:nvPr/>
            </p:nvSpPr>
            <p:spPr bwMode="auto">
              <a:xfrm>
                <a:off x="11001661" y="1904999"/>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Array Onboarding</a:t>
                </a:r>
              </a:p>
            </p:txBody>
          </p:sp>
          <p:pic>
            <p:nvPicPr>
              <p:cNvPr id="187" name="Picture 186"/>
              <p:cNvPicPr>
                <a:picLocks/>
              </p:cNvPicPr>
              <p:nvPr>
                <p:custDataLst>
                  <p:tags r:id="rId2"/>
                </p:custDataLst>
              </p:nvPr>
            </p:nvPicPr>
            <p:blipFill>
              <a:blip r:embed="rId16">
                <a:extLst>
                  <a:ext uri="{28A0092B-C50C-407E-A947-70E740481C1C}">
                    <a14:useLocalDpi xmlns:a14="http://schemas.microsoft.com/office/drawing/2010/main" val="0"/>
                  </a:ext>
                </a:extLst>
              </a:blip>
              <a:stretch>
                <a:fillRect/>
              </a:stretch>
            </p:blipFill>
            <p:spPr>
              <a:xfrm>
                <a:off x="11123742" y="2105711"/>
                <a:ext cx="699698" cy="875588"/>
              </a:xfrm>
              <a:prstGeom prst="rect">
                <a:avLst/>
              </a:prstGeom>
              <a:effectLst/>
            </p:spPr>
          </p:pic>
          <p:sp>
            <p:nvSpPr>
              <p:cNvPr id="188" name="TextBox 187"/>
              <p:cNvSpPr txBox="1"/>
              <p:nvPr/>
            </p:nvSpPr>
            <p:spPr>
              <a:xfrm>
                <a:off x="12657826" y="1904999"/>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6</a:t>
                </a:r>
              </a:p>
            </p:txBody>
          </p:sp>
        </p:grpSp>
        <p:grpSp>
          <p:nvGrpSpPr>
            <p:cNvPr id="165" name="Group 164"/>
            <p:cNvGrpSpPr/>
            <p:nvPr/>
          </p:nvGrpSpPr>
          <p:grpSpPr>
            <a:xfrm>
              <a:off x="2505611" y="1904999"/>
              <a:ext cx="2011680" cy="2011680"/>
              <a:chOff x="2504440" y="1905000"/>
              <a:chExt cx="2011680" cy="2011680"/>
            </a:xfrm>
          </p:grpSpPr>
          <p:sp>
            <p:nvSpPr>
              <p:cNvPr id="183" name="Rectangle 182"/>
              <p:cNvSpPr/>
              <p:nvPr/>
            </p:nvSpPr>
            <p:spPr bwMode="auto">
              <a:xfrm>
                <a:off x="2504440"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Storage Classification </a:t>
                </a:r>
              </a:p>
            </p:txBody>
          </p:sp>
          <p:pic>
            <p:nvPicPr>
              <p:cNvPr id="184" name="Picture 183"/>
              <p:cNvPicPr>
                <a:picLocks/>
              </p:cNvPicPr>
              <p:nvPr/>
            </p:nvPicPr>
            <p:blipFill>
              <a:blip r:embed="rId17">
                <a:extLst>
                  <a:ext uri="{28A0092B-C50C-407E-A947-70E740481C1C}">
                    <a14:useLocalDpi xmlns:a14="http://schemas.microsoft.com/office/drawing/2010/main" val="0"/>
                  </a:ext>
                </a:extLst>
              </a:blip>
              <a:stretch>
                <a:fillRect/>
              </a:stretch>
            </p:blipFill>
            <p:spPr>
              <a:xfrm>
                <a:off x="2625747" y="2104845"/>
                <a:ext cx="658539" cy="880541"/>
              </a:xfrm>
              <a:prstGeom prst="rect">
                <a:avLst/>
              </a:prstGeom>
            </p:spPr>
          </p:pic>
          <p:sp>
            <p:nvSpPr>
              <p:cNvPr id="185" name="TextBox 184"/>
              <p:cNvSpPr txBox="1"/>
              <p:nvPr/>
            </p:nvSpPr>
            <p:spPr>
              <a:xfrm>
                <a:off x="4170996"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2</a:t>
                </a:r>
              </a:p>
            </p:txBody>
          </p:sp>
        </p:grpSp>
        <p:grpSp>
          <p:nvGrpSpPr>
            <p:cNvPr id="166" name="Group 165"/>
            <p:cNvGrpSpPr/>
            <p:nvPr/>
          </p:nvGrpSpPr>
          <p:grpSpPr>
            <a:xfrm>
              <a:off x="381000" y="1904999"/>
              <a:ext cx="2011680" cy="2011680"/>
              <a:chOff x="381000" y="1905000"/>
              <a:chExt cx="2011680" cy="2011680"/>
            </a:xfrm>
          </p:grpSpPr>
          <p:sp>
            <p:nvSpPr>
              <p:cNvPr id="180" name="Rectangle 179"/>
              <p:cNvSpPr/>
              <p:nvPr/>
            </p:nvSpPr>
            <p:spPr bwMode="auto">
              <a:xfrm>
                <a:off x="381000"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End to End Mapping</a:t>
                </a:r>
              </a:p>
            </p:txBody>
          </p:sp>
          <p:pic>
            <p:nvPicPr>
              <p:cNvPr id="181" name="Picture 4" descr="\\MAGNUM\Projects\Microsoft\Cloud Power FY12\Design\ICONS_PNG\Check_mark.png"/>
              <p:cNvPicPr>
                <a:picLocks noChangeAspect="1" noChangeArrowheads="1"/>
              </p:cNvPicPr>
              <p:nvPr/>
            </p:nvPicPr>
            <p:blipFill rotWithShape="1">
              <a:blip r:embed="rId18" cstate="print">
                <a:lum bright="100000"/>
              </a:blip>
              <a:srcRect t="11515"/>
              <a:stretch/>
            </p:blipFill>
            <p:spPr bwMode="auto">
              <a:xfrm>
                <a:off x="411681" y="2024234"/>
                <a:ext cx="1104847" cy="1209050"/>
              </a:xfrm>
              <a:prstGeom prst="rect">
                <a:avLst/>
              </a:prstGeom>
              <a:noFill/>
            </p:spPr>
          </p:pic>
          <p:sp>
            <p:nvSpPr>
              <p:cNvPr id="182" name="TextBox 181"/>
              <p:cNvSpPr txBox="1"/>
              <p:nvPr/>
            </p:nvSpPr>
            <p:spPr>
              <a:xfrm>
                <a:off x="2051561"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1</a:t>
                </a:r>
              </a:p>
            </p:txBody>
          </p:sp>
        </p:grpSp>
        <p:grpSp>
          <p:nvGrpSpPr>
            <p:cNvPr id="167" name="Group of Crosshairs" hidden="1"/>
            <p:cNvGrpSpPr/>
            <p:nvPr/>
          </p:nvGrpSpPr>
          <p:grpSpPr>
            <a:xfrm>
              <a:off x="928053" y="2452052"/>
              <a:ext cx="24288292" cy="917575"/>
              <a:chOff x="928053" y="4429828"/>
              <a:chExt cx="24288292" cy="917575"/>
            </a:xfrm>
          </p:grpSpPr>
          <p:sp>
            <p:nvSpPr>
              <p:cNvPr id="168" name="Crosshair"/>
              <p:cNvSpPr>
                <a:spLocks/>
              </p:cNvSpPr>
              <p:nvPr/>
            </p:nvSpPr>
            <p:spPr bwMode="auto">
              <a:xfrm>
                <a:off x="928053"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Crosshair"/>
              <p:cNvSpPr>
                <a:spLocks/>
              </p:cNvSpPr>
              <p:nvPr/>
            </p:nvSpPr>
            <p:spPr bwMode="auto">
              <a:xfrm>
                <a:off x="3052664"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Crosshair"/>
              <p:cNvSpPr>
                <a:spLocks/>
              </p:cNvSpPr>
              <p:nvPr/>
            </p:nvSpPr>
            <p:spPr bwMode="auto">
              <a:xfrm>
                <a:off x="5177275"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Crosshair"/>
              <p:cNvSpPr>
                <a:spLocks/>
              </p:cNvSpPr>
              <p:nvPr/>
            </p:nvSpPr>
            <p:spPr bwMode="auto">
              <a:xfrm>
                <a:off x="7301886"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Crosshair"/>
              <p:cNvSpPr>
                <a:spLocks/>
              </p:cNvSpPr>
              <p:nvPr/>
            </p:nvSpPr>
            <p:spPr bwMode="auto">
              <a:xfrm>
                <a:off x="9426497"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Crosshair"/>
              <p:cNvSpPr>
                <a:spLocks/>
              </p:cNvSpPr>
              <p:nvPr/>
            </p:nvSpPr>
            <p:spPr bwMode="auto">
              <a:xfrm>
                <a:off x="11551108"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Crosshair"/>
              <p:cNvSpPr>
                <a:spLocks/>
              </p:cNvSpPr>
              <p:nvPr/>
            </p:nvSpPr>
            <p:spPr bwMode="auto">
              <a:xfrm>
                <a:off x="13675719"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Crosshair"/>
              <p:cNvSpPr>
                <a:spLocks/>
              </p:cNvSpPr>
              <p:nvPr/>
            </p:nvSpPr>
            <p:spPr bwMode="auto">
              <a:xfrm>
                <a:off x="15800330"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Crosshair"/>
              <p:cNvSpPr>
                <a:spLocks/>
              </p:cNvSpPr>
              <p:nvPr/>
            </p:nvSpPr>
            <p:spPr bwMode="auto">
              <a:xfrm>
                <a:off x="17924941"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Crosshair"/>
              <p:cNvSpPr>
                <a:spLocks/>
              </p:cNvSpPr>
              <p:nvPr/>
            </p:nvSpPr>
            <p:spPr bwMode="auto">
              <a:xfrm>
                <a:off x="20049552"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Crosshair"/>
              <p:cNvSpPr>
                <a:spLocks/>
              </p:cNvSpPr>
              <p:nvPr/>
            </p:nvSpPr>
            <p:spPr bwMode="auto">
              <a:xfrm>
                <a:off x="22174163"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Crosshair"/>
              <p:cNvSpPr>
                <a:spLocks/>
              </p:cNvSpPr>
              <p:nvPr/>
            </p:nvSpPr>
            <p:spPr bwMode="auto">
              <a:xfrm>
                <a:off x="24298770"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grpSp>
        <p:nvGrpSpPr>
          <p:cNvPr id="2" name="Group 1"/>
          <p:cNvGrpSpPr/>
          <p:nvPr/>
        </p:nvGrpSpPr>
        <p:grpSpPr>
          <a:xfrm>
            <a:off x="381002" y="1428751"/>
            <a:ext cx="2018731" cy="1508759"/>
            <a:chOff x="5801717" y="-567055"/>
            <a:chExt cx="2018732" cy="2011679"/>
          </a:xfrm>
          <a:solidFill>
            <a:schemeClr val="accent5"/>
          </a:solidFill>
        </p:grpSpPr>
        <p:sp>
          <p:nvSpPr>
            <p:cNvPr id="216" name="Rectangle 215"/>
            <p:cNvSpPr/>
            <p:nvPr/>
          </p:nvSpPr>
          <p:spPr bwMode="auto">
            <a:xfrm>
              <a:off x="5801717" y="-567055"/>
              <a:ext cx="2018732" cy="2011679"/>
            </a:xfrm>
            <a:prstGeom prst="rect">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Array Onboarding</a:t>
              </a:r>
            </a:p>
          </p:txBody>
        </p:sp>
        <p:pic>
          <p:nvPicPr>
            <p:cNvPr id="217" name="Picture 216"/>
            <p:cNvPicPr>
              <a:picLocks/>
            </p:cNvPicPr>
            <p:nvPr>
              <p:custDataLst>
                <p:tags r:id="rId1"/>
              </p:custDataLst>
            </p:nvPr>
          </p:nvPicPr>
          <p:blipFill>
            <a:blip r:embed="rId16">
              <a:extLst>
                <a:ext uri="{28A0092B-C50C-407E-A947-70E740481C1C}">
                  <a14:useLocalDpi xmlns:a14="http://schemas.microsoft.com/office/drawing/2010/main" val="0"/>
                </a:ext>
              </a:extLst>
            </a:blip>
            <a:stretch>
              <a:fillRect/>
            </a:stretch>
          </p:blipFill>
          <p:spPr>
            <a:xfrm>
              <a:off x="5926638" y="-366343"/>
              <a:ext cx="699698" cy="875588"/>
            </a:xfrm>
            <a:prstGeom prst="rect">
              <a:avLst/>
            </a:prstGeom>
            <a:grpFill/>
            <a:effectLst/>
          </p:spPr>
        </p:pic>
        <p:sp>
          <p:nvSpPr>
            <p:cNvPr id="218" name="TextBox 217"/>
            <p:cNvSpPr txBox="1"/>
            <p:nvPr/>
          </p:nvSpPr>
          <p:spPr>
            <a:xfrm>
              <a:off x="7460722" y="-567055"/>
              <a:ext cx="267381" cy="615553"/>
            </a:xfrm>
            <a:prstGeom prst="rect">
              <a:avLst/>
            </a:prstGeom>
            <a:grpFill/>
          </p:spPr>
          <p:txBody>
            <a:bodyPr wrap="none" lIns="0" tIns="0" rIns="45720" bIns="0" rtlCol="0">
              <a:spAutoFit/>
            </a:bodyPr>
            <a:lstStyle/>
            <a:p>
              <a:r>
                <a:rPr lang="en-US" sz="3000" b="1" dirty="0">
                  <a:gradFill>
                    <a:gsLst>
                      <a:gs pos="0">
                        <a:schemeClr val="accent5">
                          <a:lumMod val="60000"/>
                          <a:lumOff val="40000"/>
                        </a:schemeClr>
                      </a:gs>
                      <a:gs pos="86000">
                        <a:schemeClr val="accent5">
                          <a:lumMod val="60000"/>
                          <a:lumOff val="40000"/>
                        </a:schemeClr>
                      </a:gs>
                    </a:gsLst>
                    <a:lin ang="5400000" scaled="0"/>
                  </a:gradFill>
                </a:rPr>
                <a:t>6</a:t>
              </a:r>
            </a:p>
          </p:txBody>
        </p:sp>
      </p:grpSp>
      <p:sp>
        <p:nvSpPr>
          <p:cNvPr id="73" name="Rectangle 72"/>
          <p:cNvSpPr/>
          <p:nvPr/>
        </p:nvSpPr>
        <p:spPr bwMode="auto">
          <a:xfrm>
            <a:off x="381003" y="3016113"/>
            <a:ext cx="8372207" cy="478578"/>
          </a:xfrm>
          <a:prstGeom prst="rect">
            <a:avLst/>
          </a:prstGeom>
          <a:solidFill>
            <a:schemeClr val="accent5"/>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defTabSz="685637" fontAlgn="base">
              <a:spcBef>
                <a:spcPct val="0"/>
              </a:spcBef>
              <a:spcAft>
                <a:spcPct val="0"/>
              </a:spcAft>
            </a:pPr>
            <a:r>
              <a:rPr lang="en-US" sz="2100" dirty="0">
                <a:solidFill>
                  <a:schemeClr val="tx1"/>
                </a:solidFill>
              </a:rPr>
              <a:t>Persistent iSCSI Sessions (Explicit or Subnet Match)</a:t>
            </a:r>
          </a:p>
        </p:txBody>
      </p:sp>
      <p:sp>
        <p:nvSpPr>
          <p:cNvPr id="74" name="Rectangle 73"/>
          <p:cNvSpPr/>
          <p:nvPr/>
        </p:nvSpPr>
        <p:spPr bwMode="auto">
          <a:xfrm>
            <a:off x="381003" y="3575469"/>
            <a:ext cx="8372207" cy="478578"/>
          </a:xfrm>
          <a:prstGeom prst="rect">
            <a:avLst/>
          </a:prstGeom>
          <a:solidFill>
            <a:schemeClr val="accent5"/>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defTabSz="685637" fontAlgn="base">
              <a:spcBef>
                <a:spcPct val="0"/>
              </a:spcBef>
              <a:spcAft>
                <a:spcPct val="0"/>
              </a:spcAft>
            </a:pPr>
            <a:r>
              <a:rPr lang="en-US" sz="2100" dirty="0">
                <a:solidFill>
                  <a:schemeClr val="tx1"/>
                </a:solidFill>
              </a:rPr>
              <a:t>Initiator Log-On</a:t>
            </a:r>
          </a:p>
        </p:txBody>
      </p:sp>
      <p:sp>
        <p:nvSpPr>
          <p:cNvPr id="75" name="Rectangle 74"/>
          <p:cNvSpPr/>
          <p:nvPr/>
        </p:nvSpPr>
        <p:spPr bwMode="auto">
          <a:xfrm>
            <a:off x="381003" y="4134824"/>
            <a:ext cx="8372207" cy="478578"/>
          </a:xfrm>
          <a:prstGeom prst="rect">
            <a:avLst/>
          </a:prstGeom>
          <a:solidFill>
            <a:schemeClr val="accent5"/>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defTabSz="685637" fontAlgn="base">
              <a:spcBef>
                <a:spcPct val="0"/>
              </a:spcBef>
              <a:spcAft>
                <a:spcPct val="0"/>
              </a:spcAft>
            </a:pPr>
            <a:r>
              <a:rPr lang="en-US" sz="2100" dirty="0">
                <a:solidFill>
                  <a:schemeClr val="tx1"/>
                </a:solidFill>
              </a:rPr>
              <a:t>SPC per Cluster or per Node in Cluster</a:t>
            </a:r>
          </a:p>
        </p:txBody>
      </p:sp>
      <p:sp>
        <p:nvSpPr>
          <p:cNvPr id="3" name="Title 2"/>
          <p:cNvSpPr>
            <a:spLocks noGrp="1"/>
          </p:cNvSpPr>
          <p:nvPr>
            <p:ph type="title"/>
          </p:nvPr>
        </p:nvSpPr>
        <p:spPr>
          <a:xfrm>
            <a:off x="389436" y="171451"/>
            <a:ext cx="8363938" cy="457049"/>
          </a:xfrm>
        </p:spPr>
        <p:txBody>
          <a:bodyPr/>
          <a:lstStyle/>
          <a:p>
            <a:r>
              <a:rPr lang="en-US" dirty="0"/>
              <a:t>The Fantastic 12 of</a:t>
            </a:r>
          </a:p>
        </p:txBody>
      </p:sp>
      <p:pic>
        <p:nvPicPr>
          <p:cNvPr id="78" name="Picture 2" descr="\\eventsql\dvd\Online_ART\DVD_ART36\Logos\System Center Virtual Machine Manager 2008 R2\system center virtual machine manager 2008 r2 h rev.png"/>
          <p:cNvPicPr>
            <a:picLocks noChangeAspect="1" noChangeArrowheads="1"/>
          </p:cNvPicPr>
          <p:nvPr/>
        </p:nvPicPr>
        <p:blipFill rotWithShape="1">
          <a:blip r:embed="rId19">
            <a:extLst>
              <a:ext uri="{28A0092B-C50C-407E-A947-70E740481C1C}">
                <a14:useLocalDpi xmlns:a14="http://schemas.microsoft.com/office/drawing/2010/main" val="0"/>
              </a:ext>
            </a:extLst>
          </a:blip>
          <a:srcRect r="16495"/>
          <a:stretch/>
        </p:blipFill>
        <p:spPr bwMode="auto">
          <a:xfrm>
            <a:off x="4300244" y="139992"/>
            <a:ext cx="3072835" cy="777872"/>
          </a:xfrm>
          <a:prstGeom prst="rect">
            <a:avLst/>
          </a:prstGeom>
          <a:noFill/>
          <a:extLst>
            <a:ext uri="{909E8E84-426E-40DD-AFC4-6F175D3DCCD1}">
              <a14:hiddenFill xmlns:a14="http://schemas.microsoft.com/office/drawing/2010/main">
                <a:solidFill>
                  <a:srgbClr val="FFFFFF"/>
                </a:solidFill>
              </a14:hiddenFill>
            </a:ext>
          </a:extLst>
        </p:spPr>
      </p:pic>
      <p:sp>
        <p:nvSpPr>
          <p:cNvPr id="76"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77"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0"/>
              </a:rPr>
              <a:t>www.rapidbbs.cn</a:t>
            </a:r>
            <a:endParaRPr lang="zh-CN" altLang="en-US" sz="1200" b="0">
              <a:latin typeface="Arial" charset="0"/>
              <a:ea typeface="ＭＳ Ｐゴシック" pitchFamily="34" charset="-128"/>
            </a:endParaRPr>
          </a:p>
        </p:txBody>
      </p:sp>
      <p:pic>
        <p:nvPicPr>
          <p:cNvPr id="79" name="Picture 2">
            <a:hlinkClick r:id="rId20"/>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67072893"/>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accel="50000" decel="50000" fill="hold" nodeType="afterEffect">
                                  <p:stCondLst>
                                    <p:cond delay="0"/>
                                  </p:stCondLst>
                                  <p:childTnLst>
                                    <p:animMotion origin="layout" path="M -3.88889E-6 4.44444E-6 L -0.23246 4.44444E-6 " pathEditMode="relative" rAng="0" ptsTypes="AA">
                                      <p:cBhvr>
                                        <p:cTn id="6" dur="1000" fill="hold"/>
                                        <p:tgtEl>
                                          <p:spTgt spid="154"/>
                                        </p:tgtEl>
                                        <p:attrNameLst>
                                          <p:attrName>ppt_x</p:attrName>
                                          <p:attrName>ppt_y</p:attrName>
                                        </p:attrNameLst>
                                      </p:cBhvr>
                                      <p:rCtr x="-11632" y="0"/>
                                    </p:animMotion>
                                  </p:childTnLst>
                                </p:cTn>
                              </p:par>
                            </p:childTnLst>
                          </p:cTn>
                        </p:par>
                        <p:par>
                          <p:cTn id="7" fill="hold">
                            <p:stCondLst>
                              <p:cond delay="1000"/>
                            </p:stCondLst>
                            <p:childTnLst>
                              <p:par>
                                <p:cTn id="8" presetID="22" presetClass="entr" presetSubtype="4" fill="hold" nodeType="after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wipe(down)">
                                      <p:cBhvr>
                                        <p:cTn id="10" dur="500"/>
                                        <p:tgtEl>
                                          <p:spTgt spid="2"/>
                                        </p:tgtEl>
                                      </p:cBhvr>
                                    </p:animEffect>
                                  </p:childTnLst>
                                </p:cTn>
                              </p:par>
                              <p:par>
                                <p:cTn id="11" presetID="2" presetClass="entr" presetSubtype="2" decel="100000" fill="hold" grpId="0" nodeType="withEffect">
                                  <p:stCondLst>
                                    <p:cond delay="500"/>
                                  </p:stCondLst>
                                  <p:childTnLst>
                                    <p:set>
                                      <p:cBhvr>
                                        <p:cTn id="12" dur="1" fill="hold">
                                          <p:stCondLst>
                                            <p:cond delay="0"/>
                                          </p:stCondLst>
                                        </p:cTn>
                                        <p:tgtEl>
                                          <p:spTgt spid="73"/>
                                        </p:tgtEl>
                                        <p:attrNameLst>
                                          <p:attrName>style.visibility</p:attrName>
                                        </p:attrNameLst>
                                      </p:cBhvr>
                                      <p:to>
                                        <p:strVal val="visible"/>
                                      </p:to>
                                    </p:set>
                                    <p:anim calcmode="lin" valueType="num">
                                      <p:cBhvr additive="base">
                                        <p:cTn id="13" dur="1000" fill="hold"/>
                                        <p:tgtEl>
                                          <p:spTgt spid="73"/>
                                        </p:tgtEl>
                                        <p:attrNameLst>
                                          <p:attrName>ppt_x</p:attrName>
                                        </p:attrNameLst>
                                      </p:cBhvr>
                                      <p:tavLst>
                                        <p:tav tm="0">
                                          <p:val>
                                            <p:strVal val="1+#ppt_w/2"/>
                                          </p:val>
                                        </p:tav>
                                        <p:tav tm="100000">
                                          <p:val>
                                            <p:strVal val="#ppt_x"/>
                                          </p:val>
                                        </p:tav>
                                      </p:tavLst>
                                    </p:anim>
                                    <p:anim calcmode="lin" valueType="num">
                                      <p:cBhvr additive="base">
                                        <p:cTn id="14" dur="1000" fill="hold"/>
                                        <p:tgtEl>
                                          <p:spTgt spid="73"/>
                                        </p:tgtEl>
                                        <p:attrNameLst>
                                          <p:attrName>ppt_y</p:attrName>
                                        </p:attrNameLst>
                                      </p:cBhvr>
                                      <p:tavLst>
                                        <p:tav tm="0">
                                          <p:val>
                                            <p:strVal val="#ppt_y"/>
                                          </p:val>
                                        </p:tav>
                                        <p:tav tm="100000">
                                          <p:val>
                                            <p:strVal val="#ppt_y"/>
                                          </p:val>
                                        </p:tav>
                                      </p:tavLst>
                                    </p:anim>
                                  </p:childTnLst>
                                </p:cTn>
                              </p:par>
                              <p:par>
                                <p:cTn id="15" presetID="2" presetClass="entr" presetSubtype="2" decel="100000" fill="hold" grpId="0" nodeType="withEffect">
                                  <p:stCondLst>
                                    <p:cond delay="1000"/>
                                  </p:stCondLst>
                                  <p:childTnLst>
                                    <p:set>
                                      <p:cBhvr>
                                        <p:cTn id="16" dur="1" fill="hold">
                                          <p:stCondLst>
                                            <p:cond delay="0"/>
                                          </p:stCondLst>
                                        </p:cTn>
                                        <p:tgtEl>
                                          <p:spTgt spid="74"/>
                                        </p:tgtEl>
                                        <p:attrNameLst>
                                          <p:attrName>style.visibility</p:attrName>
                                        </p:attrNameLst>
                                      </p:cBhvr>
                                      <p:to>
                                        <p:strVal val="visible"/>
                                      </p:to>
                                    </p:set>
                                    <p:anim calcmode="lin" valueType="num">
                                      <p:cBhvr additive="base">
                                        <p:cTn id="17" dur="1000" fill="hold"/>
                                        <p:tgtEl>
                                          <p:spTgt spid="74"/>
                                        </p:tgtEl>
                                        <p:attrNameLst>
                                          <p:attrName>ppt_x</p:attrName>
                                        </p:attrNameLst>
                                      </p:cBhvr>
                                      <p:tavLst>
                                        <p:tav tm="0">
                                          <p:val>
                                            <p:strVal val="1+#ppt_w/2"/>
                                          </p:val>
                                        </p:tav>
                                        <p:tav tm="100000">
                                          <p:val>
                                            <p:strVal val="#ppt_x"/>
                                          </p:val>
                                        </p:tav>
                                      </p:tavLst>
                                    </p:anim>
                                    <p:anim calcmode="lin" valueType="num">
                                      <p:cBhvr additive="base">
                                        <p:cTn id="18" dur="1000" fill="hold"/>
                                        <p:tgtEl>
                                          <p:spTgt spid="74"/>
                                        </p:tgtEl>
                                        <p:attrNameLst>
                                          <p:attrName>ppt_y</p:attrName>
                                        </p:attrNameLst>
                                      </p:cBhvr>
                                      <p:tavLst>
                                        <p:tav tm="0">
                                          <p:val>
                                            <p:strVal val="#ppt_y"/>
                                          </p:val>
                                        </p:tav>
                                        <p:tav tm="100000">
                                          <p:val>
                                            <p:strVal val="#ppt_y"/>
                                          </p:val>
                                        </p:tav>
                                      </p:tavLst>
                                    </p:anim>
                                  </p:childTnLst>
                                </p:cTn>
                              </p:par>
                              <p:par>
                                <p:cTn id="19" presetID="2" presetClass="entr" presetSubtype="2" decel="100000" fill="hold" grpId="0" nodeType="withEffect">
                                  <p:stCondLst>
                                    <p:cond delay="1500"/>
                                  </p:stCondLst>
                                  <p:childTnLst>
                                    <p:set>
                                      <p:cBhvr>
                                        <p:cTn id="20" dur="1" fill="hold">
                                          <p:stCondLst>
                                            <p:cond delay="0"/>
                                          </p:stCondLst>
                                        </p:cTn>
                                        <p:tgtEl>
                                          <p:spTgt spid="75"/>
                                        </p:tgtEl>
                                        <p:attrNameLst>
                                          <p:attrName>style.visibility</p:attrName>
                                        </p:attrNameLst>
                                      </p:cBhvr>
                                      <p:to>
                                        <p:strVal val="visible"/>
                                      </p:to>
                                    </p:set>
                                    <p:anim calcmode="lin" valueType="num">
                                      <p:cBhvr additive="base">
                                        <p:cTn id="21" dur="1000" fill="hold"/>
                                        <p:tgtEl>
                                          <p:spTgt spid="75"/>
                                        </p:tgtEl>
                                        <p:attrNameLst>
                                          <p:attrName>ppt_x</p:attrName>
                                        </p:attrNameLst>
                                      </p:cBhvr>
                                      <p:tavLst>
                                        <p:tav tm="0">
                                          <p:val>
                                            <p:strVal val="1+#ppt_w/2"/>
                                          </p:val>
                                        </p:tav>
                                        <p:tav tm="100000">
                                          <p:val>
                                            <p:strVal val="#ppt_x"/>
                                          </p:val>
                                        </p:tav>
                                      </p:tavLst>
                                    </p:anim>
                                    <p:anim calcmode="lin" valueType="num">
                                      <p:cBhvr additive="base">
                                        <p:cTn id="22" dur="1000" fill="hold"/>
                                        <p:tgtEl>
                                          <p:spTgt spid="7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animBg="1"/>
      <p:bldP spid="74" grpId="0" animBg="1"/>
      <p:bldP spid="75" grpId="0" animBg="1"/>
    </p:bld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382239" y="3017520"/>
            <a:ext cx="8385048" cy="480060"/>
          </a:xfrm>
          <a:prstGeom prst="rect">
            <a:avLst/>
          </a:prstGeom>
          <a:solidFill>
            <a:schemeClr val="accent5"/>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defTabSz="685637" fontAlgn="base">
              <a:spcBef>
                <a:spcPct val="0"/>
              </a:spcBef>
              <a:spcAft>
                <a:spcPct val="0"/>
              </a:spcAft>
            </a:pPr>
            <a:r>
              <a:rPr lang="en-US" sz="2100" dirty="0">
                <a:solidFill>
                  <a:schemeClr val="tx1"/>
                </a:solidFill>
              </a:rPr>
              <a:t>Disk Initialization, Partitioning, and Formatting</a:t>
            </a:r>
          </a:p>
        </p:txBody>
      </p:sp>
      <p:sp>
        <p:nvSpPr>
          <p:cNvPr id="24" name="Rectangle 23"/>
          <p:cNvSpPr/>
          <p:nvPr/>
        </p:nvSpPr>
        <p:spPr bwMode="auto">
          <a:xfrm>
            <a:off x="382239" y="3573018"/>
            <a:ext cx="8385048" cy="480060"/>
          </a:xfrm>
          <a:prstGeom prst="rect">
            <a:avLst/>
          </a:prstGeom>
          <a:solidFill>
            <a:schemeClr val="accent5"/>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defTabSz="685637" fontAlgn="base">
              <a:spcBef>
                <a:spcPct val="0"/>
              </a:spcBef>
              <a:spcAft>
                <a:spcPct val="0"/>
              </a:spcAft>
            </a:pPr>
            <a:r>
              <a:rPr lang="en-US" sz="2100" dirty="0">
                <a:solidFill>
                  <a:schemeClr val="tx1"/>
                </a:solidFill>
              </a:rPr>
              <a:t>Add and Remove Cluster Available Storage</a:t>
            </a:r>
          </a:p>
        </p:txBody>
      </p:sp>
      <p:sp>
        <p:nvSpPr>
          <p:cNvPr id="26" name="Rectangle 25"/>
          <p:cNvSpPr/>
          <p:nvPr/>
        </p:nvSpPr>
        <p:spPr bwMode="auto">
          <a:xfrm>
            <a:off x="382239" y="4135374"/>
            <a:ext cx="8385048" cy="480060"/>
          </a:xfrm>
          <a:prstGeom prst="rect">
            <a:avLst/>
          </a:prstGeom>
          <a:solidFill>
            <a:schemeClr val="accent5"/>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defTabSz="685637" fontAlgn="base">
              <a:spcBef>
                <a:spcPct val="0"/>
              </a:spcBef>
              <a:spcAft>
                <a:spcPct val="0"/>
              </a:spcAft>
            </a:pPr>
            <a:r>
              <a:rPr lang="en-US" sz="2100" dirty="0">
                <a:solidFill>
                  <a:schemeClr val="tx1"/>
                </a:solidFill>
              </a:rPr>
              <a:t>Add and Remove Cluster Shared Storage</a:t>
            </a:r>
          </a:p>
        </p:txBody>
      </p:sp>
      <p:grpSp>
        <p:nvGrpSpPr>
          <p:cNvPr id="16" name="Group 15"/>
          <p:cNvGrpSpPr/>
          <p:nvPr/>
        </p:nvGrpSpPr>
        <p:grpSpPr>
          <a:xfrm>
            <a:off x="-10241281" y="1428749"/>
            <a:ext cx="25382397" cy="1508760"/>
            <a:chOff x="381000" y="1904999"/>
            <a:chExt cx="25382397" cy="2011680"/>
          </a:xfrm>
        </p:grpSpPr>
        <p:grpSp>
          <p:nvGrpSpPr>
            <p:cNvPr id="18" name="Group 17"/>
            <p:cNvGrpSpPr/>
            <p:nvPr/>
          </p:nvGrpSpPr>
          <p:grpSpPr>
            <a:xfrm>
              <a:off x="23751717" y="1904999"/>
              <a:ext cx="2011680" cy="2011680"/>
              <a:chOff x="23751717" y="1905000"/>
              <a:chExt cx="2011680" cy="2011680"/>
            </a:xfrm>
          </p:grpSpPr>
          <p:sp>
            <p:nvSpPr>
              <p:cNvPr id="79" name="Rectangle 78"/>
              <p:cNvSpPr/>
              <p:nvPr/>
            </p:nvSpPr>
            <p:spPr bwMode="auto">
              <a:xfrm>
                <a:off x="23751717"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 </a:t>
                </a:r>
                <a:br>
                  <a:rPr lang="en-US" sz="1500" dirty="0">
                    <a:gradFill>
                      <a:gsLst>
                        <a:gs pos="0">
                          <a:srgbClr val="FFFFFF"/>
                        </a:gs>
                        <a:gs pos="100000">
                          <a:srgbClr val="FFFFFF"/>
                        </a:gs>
                      </a:gsLst>
                      <a:lin ang="5400000" scaled="0"/>
                    </a:gradFill>
                  </a:rPr>
                </a:br>
                <a:r>
                  <a:rPr lang="en-US" sz="1500" dirty="0">
                    <a:gradFill>
                      <a:gsLst>
                        <a:gs pos="0">
                          <a:srgbClr val="FFFFFF"/>
                        </a:gs>
                        <a:gs pos="100000">
                          <a:srgbClr val="FFFFFF"/>
                        </a:gs>
                      </a:gsLst>
                      <a:lin ang="5400000" scaled="0"/>
                    </a:gradFill>
                  </a:rPr>
                  <a:t>.</a:t>
                </a:r>
              </a:p>
            </p:txBody>
          </p:sp>
          <p:pic>
            <p:nvPicPr>
              <p:cNvPr id="80" name="Picture 147"/>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3834789" y="2130724"/>
                <a:ext cx="1382850" cy="8242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1" name="TextBox 80"/>
              <p:cNvSpPr txBox="1"/>
              <p:nvPr/>
            </p:nvSpPr>
            <p:spPr>
              <a:xfrm>
                <a:off x="25111146" y="1905000"/>
                <a:ext cx="488595"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12</a:t>
                </a:r>
              </a:p>
            </p:txBody>
          </p:sp>
        </p:grpSp>
        <p:grpSp>
          <p:nvGrpSpPr>
            <p:cNvPr id="20" name="Group 19"/>
            <p:cNvGrpSpPr/>
            <p:nvPr/>
          </p:nvGrpSpPr>
          <p:grpSpPr>
            <a:xfrm>
              <a:off x="21627110" y="1904999"/>
              <a:ext cx="2011680" cy="2011680"/>
              <a:chOff x="21628277" y="1905000"/>
              <a:chExt cx="2011680" cy="2011680"/>
            </a:xfrm>
          </p:grpSpPr>
          <p:sp>
            <p:nvSpPr>
              <p:cNvPr id="76" name="Rectangle 75"/>
              <p:cNvSpPr/>
              <p:nvPr/>
            </p:nvSpPr>
            <p:spPr bwMode="auto">
              <a:xfrm>
                <a:off x="21628277"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Standards Based Management </a:t>
                </a:r>
              </a:p>
            </p:txBody>
          </p:sp>
          <p:pic>
            <p:nvPicPr>
              <p:cNvPr id="77" name="Picture 3" descr="\\SFP\Work\White_Whale\3-22036_Kuleen_Bharadwaj\PPT\3_PlatformVision_Kuleen\SFP_Art\Plane Slide\mon_notie.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1734293" y="2102691"/>
                <a:ext cx="780649" cy="915763"/>
              </a:xfrm>
              <a:prstGeom prst="rect">
                <a:avLst/>
              </a:prstGeom>
              <a:noFill/>
              <a:extLst>
                <a:ext uri="{909E8E84-426E-40DD-AFC4-6F175D3DCCD1}">
                  <a14:hiddenFill xmlns:a14="http://schemas.microsoft.com/office/drawing/2010/main">
                    <a:solidFill>
                      <a:srgbClr val="FFFFFF"/>
                    </a:solidFill>
                  </a14:hiddenFill>
                </a:ext>
              </a:extLst>
            </p:spPr>
          </p:pic>
          <p:sp>
            <p:nvSpPr>
              <p:cNvPr id="78" name="TextBox 77"/>
              <p:cNvSpPr txBox="1"/>
              <p:nvPr/>
            </p:nvSpPr>
            <p:spPr>
              <a:xfrm>
                <a:off x="22993494" y="1905000"/>
                <a:ext cx="488595"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11</a:t>
                </a:r>
              </a:p>
            </p:txBody>
          </p:sp>
        </p:grpSp>
        <p:grpSp>
          <p:nvGrpSpPr>
            <p:cNvPr id="21" name="Group 20"/>
            <p:cNvGrpSpPr/>
            <p:nvPr/>
          </p:nvGrpSpPr>
          <p:grpSpPr>
            <a:xfrm>
              <a:off x="19502499" y="1904999"/>
              <a:ext cx="2011680" cy="2011680"/>
              <a:chOff x="19504837" y="1905000"/>
              <a:chExt cx="2011680" cy="2011680"/>
            </a:xfrm>
          </p:grpSpPr>
          <p:sp>
            <p:nvSpPr>
              <p:cNvPr id="73" name="Rectangle 72"/>
              <p:cNvSpPr/>
              <p:nvPr/>
            </p:nvSpPr>
            <p:spPr bwMode="auto">
              <a:xfrm>
                <a:off x="19504837"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Extensive Array Support </a:t>
                </a:r>
              </a:p>
            </p:txBody>
          </p:sp>
          <p:pic>
            <p:nvPicPr>
              <p:cNvPr id="74" name="Picture 7" descr="\\MAGNUM\Projects\Microsoft\Cloud Power FY12\Design\ICONS_PNG\Physical_Virtual.png"/>
              <p:cNvPicPr>
                <a:picLocks noChangeAspect="1" noChangeArrowheads="1"/>
              </p:cNvPicPr>
              <p:nvPr/>
            </p:nvPicPr>
            <p:blipFill rotWithShape="1">
              <a:blip r:embed="rId7" cstate="print">
                <a:extLst>
                  <a:ext uri="{BEBA8EAE-BF5A-486C-A8C5-ECC9F3942E4B}">
                    <a14:imgProps xmlns:a14="http://schemas.microsoft.com/office/drawing/2010/main">
                      <a14:imgLayer r:embed="rId8">
                        <a14:imgEffect>
                          <a14:brightnessContrast bright="100000"/>
                        </a14:imgEffect>
                      </a14:imgLayer>
                    </a14:imgProps>
                  </a:ext>
                </a:extLst>
              </a:blip>
              <a:srcRect l="7856" t="39072" r="7907" b="5885"/>
              <a:stretch/>
            </p:blipFill>
            <p:spPr bwMode="auto">
              <a:xfrm>
                <a:off x="19529881" y="2070341"/>
                <a:ext cx="1215306" cy="962205"/>
              </a:xfrm>
              <a:prstGeom prst="rect">
                <a:avLst/>
              </a:prstGeom>
              <a:noFill/>
            </p:spPr>
          </p:pic>
          <p:sp>
            <p:nvSpPr>
              <p:cNvPr id="75" name="TextBox 74"/>
              <p:cNvSpPr txBox="1"/>
              <p:nvPr/>
            </p:nvSpPr>
            <p:spPr>
              <a:xfrm>
                <a:off x="20870054" y="1905000"/>
                <a:ext cx="488595"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10</a:t>
                </a:r>
              </a:p>
            </p:txBody>
          </p:sp>
        </p:grpSp>
        <p:grpSp>
          <p:nvGrpSpPr>
            <p:cNvPr id="22" name="Group 21"/>
            <p:cNvGrpSpPr/>
            <p:nvPr/>
          </p:nvGrpSpPr>
          <p:grpSpPr>
            <a:xfrm>
              <a:off x="17377888" y="1904999"/>
              <a:ext cx="2011680" cy="2011680"/>
              <a:chOff x="17381397" y="1905000"/>
              <a:chExt cx="2011680" cy="2011680"/>
            </a:xfrm>
          </p:grpSpPr>
          <p:sp>
            <p:nvSpPr>
              <p:cNvPr id="70" name="Rectangle 69"/>
              <p:cNvSpPr/>
              <p:nvPr/>
            </p:nvSpPr>
            <p:spPr bwMode="auto">
              <a:xfrm>
                <a:off x="17381397"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Scalable Provisioning</a:t>
                </a:r>
                <a:br>
                  <a:rPr lang="en-US" sz="1500" dirty="0">
                    <a:gradFill>
                      <a:gsLst>
                        <a:gs pos="0">
                          <a:srgbClr val="FFFFFF"/>
                        </a:gs>
                        <a:gs pos="100000">
                          <a:srgbClr val="FFFFFF"/>
                        </a:gs>
                      </a:gsLst>
                      <a:lin ang="5400000" scaled="0"/>
                    </a:gradFill>
                  </a:rPr>
                </a:br>
                <a:r>
                  <a:rPr lang="en-US" sz="1500" dirty="0">
                    <a:gradFill>
                      <a:gsLst>
                        <a:gs pos="0">
                          <a:srgbClr val="FFFFFF"/>
                        </a:gs>
                        <a:gs pos="100000">
                          <a:srgbClr val="FFFFFF"/>
                        </a:gs>
                      </a:gsLst>
                      <a:lin ang="5400000" scaled="0"/>
                    </a:gradFill>
                  </a:rPr>
                  <a:t> </a:t>
                </a:r>
              </a:p>
            </p:txBody>
          </p:sp>
          <p:pic>
            <p:nvPicPr>
              <p:cNvPr id="71" name="Picture 108"/>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7504751" y="2104845"/>
                <a:ext cx="669188" cy="880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2" name="TextBox 71"/>
              <p:cNvSpPr txBox="1"/>
              <p:nvPr/>
            </p:nvSpPr>
            <p:spPr>
              <a:xfrm>
                <a:off x="19051958"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9</a:t>
                </a:r>
              </a:p>
            </p:txBody>
          </p:sp>
        </p:grpSp>
        <p:grpSp>
          <p:nvGrpSpPr>
            <p:cNvPr id="23" name="Group 22"/>
            <p:cNvGrpSpPr/>
            <p:nvPr/>
          </p:nvGrpSpPr>
          <p:grpSpPr>
            <a:xfrm>
              <a:off x="15253277" y="1904999"/>
              <a:ext cx="2011680" cy="2011680"/>
              <a:chOff x="15253277" y="1905000"/>
              <a:chExt cx="2011680" cy="2011680"/>
            </a:xfrm>
          </p:grpSpPr>
          <p:sp>
            <p:nvSpPr>
              <p:cNvPr id="67" name="Rectangle 66"/>
              <p:cNvSpPr/>
              <p:nvPr/>
            </p:nvSpPr>
            <p:spPr bwMode="auto">
              <a:xfrm>
                <a:off x="15253277"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Storage Automation</a:t>
                </a:r>
              </a:p>
            </p:txBody>
          </p:sp>
          <p:pic>
            <p:nvPicPr>
              <p:cNvPr id="68" name="Picture 8"/>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5367380" y="2104845"/>
                <a:ext cx="1030937" cy="8877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9" name="TextBox 68"/>
              <p:cNvSpPr txBox="1"/>
              <p:nvPr/>
            </p:nvSpPr>
            <p:spPr>
              <a:xfrm>
                <a:off x="16914045"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8</a:t>
                </a:r>
              </a:p>
            </p:txBody>
          </p:sp>
        </p:grpSp>
        <p:grpSp>
          <p:nvGrpSpPr>
            <p:cNvPr id="25" name="Group 24"/>
            <p:cNvGrpSpPr/>
            <p:nvPr/>
          </p:nvGrpSpPr>
          <p:grpSpPr>
            <a:xfrm>
              <a:off x="8879444" y="1904999"/>
              <a:ext cx="2011680" cy="2011680"/>
              <a:chOff x="8877050" y="1905000"/>
              <a:chExt cx="2011680" cy="2011680"/>
            </a:xfrm>
          </p:grpSpPr>
          <p:sp>
            <p:nvSpPr>
              <p:cNvPr id="64" name="Rectangle 63"/>
              <p:cNvSpPr/>
              <p:nvPr/>
            </p:nvSpPr>
            <p:spPr bwMode="auto">
              <a:xfrm>
                <a:off x="8877050"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SAN Migration</a:t>
                </a:r>
              </a:p>
            </p:txBody>
          </p:sp>
          <p:pic>
            <p:nvPicPr>
              <p:cNvPr id="65" name="Picture 2"/>
              <p:cNvPicPr>
                <a:picLocks noChangeAspect="1" noChangeArrowheads="1"/>
              </p:cNvPicPr>
              <p:nvPr/>
            </p:nvPicPr>
            <p:blipFill>
              <a:blip r:embed="rId11">
                <a:extLst>
                  <a:ext uri="{28A0092B-C50C-407E-A947-70E740481C1C}">
                    <a14:useLocalDpi xmlns:a14="http://schemas.microsoft.com/office/drawing/2010/main" val="0"/>
                  </a:ext>
                </a:extLst>
              </a:blip>
              <a:stretch>
                <a:fillRect/>
              </a:stretch>
            </p:blipFill>
            <p:spPr bwMode="auto">
              <a:xfrm>
                <a:off x="9003772" y="2087593"/>
                <a:ext cx="1013736" cy="9049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6" name="TextBox 65"/>
              <p:cNvSpPr txBox="1"/>
              <p:nvPr/>
            </p:nvSpPr>
            <p:spPr>
              <a:xfrm>
                <a:off x="10533215"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5</a:t>
                </a:r>
              </a:p>
            </p:txBody>
          </p:sp>
        </p:grpSp>
        <p:grpSp>
          <p:nvGrpSpPr>
            <p:cNvPr id="27" name="Group 26"/>
            <p:cNvGrpSpPr/>
            <p:nvPr/>
          </p:nvGrpSpPr>
          <p:grpSpPr>
            <a:xfrm>
              <a:off x="6754833" y="1904999"/>
              <a:ext cx="2011680" cy="2011680"/>
              <a:chOff x="6752439" y="1905000"/>
              <a:chExt cx="2011680" cy="2011680"/>
            </a:xfrm>
          </p:grpSpPr>
          <p:sp>
            <p:nvSpPr>
              <p:cNvPr id="61" name="Rectangle 60"/>
              <p:cNvSpPr/>
              <p:nvPr/>
            </p:nvSpPr>
            <p:spPr bwMode="auto">
              <a:xfrm>
                <a:off x="6752439"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Rapid Provisioning</a:t>
                </a:r>
                <a:br>
                  <a:rPr lang="en-US" sz="1500" dirty="0">
                    <a:gradFill>
                      <a:gsLst>
                        <a:gs pos="0">
                          <a:srgbClr val="FFFFFF"/>
                        </a:gs>
                        <a:gs pos="100000">
                          <a:srgbClr val="FFFFFF"/>
                        </a:gs>
                      </a:gsLst>
                      <a:lin ang="5400000" scaled="0"/>
                    </a:gradFill>
                  </a:rPr>
                </a:br>
                <a:r>
                  <a:rPr lang="en-US" sz="1500" dirty="0">
                    <a:gradFill>
                      <a:gsLst>
                        <a:gs pos="0">
                          <a:srgbClr val="FFFFFF"/>
                        </a:gs>
                        <a:gs pos="100000">
                          <a:srgbClr val="FFFFFF"/>
                        </a:gs>
                      </a:gsLst>
                      <a:lin ang="5400000" scaled="0"/>
                    </a:gradFill>
                  </a:rPr>
                  <a:t>  </a:t>
                </a:r>
              </a:p>
            </p:txBody>
          </p:sp>
          <p:pic>
            <p:nvPicPr>
              <p:cNvPr id="62" name="Picture 174"/>
              <p:cNvPicPr>
                <a:picLocks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868882" y="2058656"/>
                <a:ext cx="727137" cy="966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3" name="TextBox 62"/>
              <p:cNvSpPr txBox="1"/>
              <p:nvPr/>
            </p:nvSpPr>
            <p:spPr>
              <a:xfrm>
                <a:off x="8418995"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4</a:t>
                </a:r>
              </a:p>
            </p:txBody>
          </p:sp>
        </p:grpSp>
        <p:grpSp>
          <p:nvGrpSpPr>
            <p:cNvPr id="28" name="Group 27"/>
            <p:cNvGrpSpPr/>
            <p:nvPr/>
          </p:nvGrpSpPr>
          <p:grpSpPr>
            <a:xfrm>
              <a:off x="4630222" y="1904999"/>
              <a:ext cx="2011680" cy="2011680"/>
              <a:chOff x="4641528" y="1905000"/>
              <a:chExt cx="2011680" cy="2011680"/>
            </a:xfrm>
          </p:grpSpPr>
          <p:sp>
            <p:nvSpPr>
              <p:cNvPr id="58" name="Rectangle 57"/>
              <p:cNvSpPr/>
              <p:nvPr/>
            </p:nvSpPr>
            <p:spPr bwMode="auto">
              <a:xfrm>
                <a:off x="4641528"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Allocation and Assignment</a:t>
                </a:r>
              </a:p>
            </p:txBody>
          </p:sp>
          <p:pic>
            <p:nvPicPr>
              <p:cNvPr id="59" name="Picture 3"/>
              <p:cNvPicPr>
                <a:picLocks noChangeAspect="1" noChangeArrowheads="1"/>
              </p:cNvPicPr>
              <p:nvPr>
                <p:custDataLst>
                  <p:tags r:id="rId2"/>
                </p:custDataLst>
              </p:nvPr>
            </p:nvPicPr>
            <p:blipFill>
              <a:blip r:embed="rId13" cstate="print">
                <a:extLst>
                  <a:ext uri="{28A0092B-C50C-407E-A947-70E740481C1C}">
                    <a14:useLocalDpi xmlns:a14="http://schemas.microsoft.com/office/drawing/2010/main"/>
                  </a:ext>
                </a:extLst>
              </a:blip>
              <a:srcRect/>
              <a:stretch>
                <a:fillRect/>
              </a:stretch>
            </p:blipFill>
            <p:spPr bwMode="auto">
              <a:xfrm>
                <a:off x="4751660" y="2024982"/>
                <a:ext cx="567976" cy="984876"/>
              </a:xfrm>
              <a:prstGeom prst="rect">
                <a:avLst/>
              </a:prstGeom>
              <a:noFill/>
              <a:ln>
                <a:noFill/>
                <a:headEnd type="none" w="med" len="med"/>
                <a:tailEnd type="none" w="med" len="med"/>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0" name="TextBox 59"/>
              <p:cNvSpPr txBox="1"/>
              <p:nvPr/>
            </p:nvSpPr>
            <p:spPr>
              <a:xfrm>
                <a:off x="6312089"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3</a:t>
                </a:r>
              </a:p>
            </p:txBody>
          </p:sp>
        </p:grpSp>
        <p:grpSp>
          <p:nvGrpSpPr>
            <p:cNvPr id="29" name="Group 28"/>
            <p:cNvGrpSpPr/>
            <p:nvPr/>
          </p:nvGrpSpPr>
          <p:grpSpPr>
            <a:xfrm>
              <a:off x="13128666" y="1904999"/>
              <a:ext cx="2011680" cy="2011680"/>
              <a:chOff x="13128666" y="1904999"/>
              <a:chExt cx="2011680" cy="2011680"/>
            </a:xfrm>
          </p:grpSpPr>
          <p:sp>
            <p:nvSpPr>
              <p:cNvPr id="55" name="Rectangle 54"/>
              <p:cNvSpPr/>
              <p:nvPr/>
            </p:nvSpPr>
            <p:spPr bwMode="auto">
              <a:xfrm>
                <a:off x="13128666" y="1904999"/>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Cluster Storage Management</a:t>
                </a:r>
              </a:p>
            </p:txBody>
          </p:sp>
          <p:pic>
            <p:nvPicPr>
              <p:cNvPr id="56" name="Picture 5"/>
              <p:cNvPicPr>
                <a:picLocks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13247083" y="2034293"/>
                <a:ext cx="884912" cy="9755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7" name="TextBox 56"/>
              <p:cNvSpPr txBox="1"/>
              <p:nvPr/>
            </p:nvSpPr>
            <p:spPr>
              <a:xfrm>
                <a:off x="14789434" y="1904999"/>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7</a:t>
                </a:r>
              </a:p>
            </p:txBody>
          </p:sp>
        </p:grpSp>
        <p:grpSp>
          <p:nvGrpSpPr>
            <p:cNvPr id="30" name="Group 29"/>
            <p:cNvGrpSpPr/>
            <p:nvPr/>
          </p:nvGrpSpPr>
          <p:grpSpPr>
            <a:xfrm>
              <a:off x="11004055" y="1904999"/>
              <a:ext cx="2011680" cy="2011680"/>
              <a:chOff x="11001661" y="1904999"/>
              <a:chExt cx="2011680" cy="2011680"/>
            </a:xfrm>
          </p:grpSpPr>
          <p:sp>
            <p:nvSpPr>
              <p:cNvPr id="52" name="Rectangle 51"/>
              <p:cNvSpPr/>
              <p:nvPr/>
            </p:nvSpPr>
            <p:spPr bwMode="auto">
              <a:xfrm>
                <a:off x="11001661" y="1904999"/>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Array Onboarding</a:t>
                </a:r>
              </a:p>
            </p:txBody>
          </p:sp>
          <p:pic>
            <p:nvPicPr>
              <p:cNvPr id="53" name="Picture 52"/>
              <p:cNvPicPr>
                <a:picLocks noChangeAspect="1"/>
              </p:cNvPicPr>
              <p:nvPr>
                <p:custDataLst>
                  <p:tags r:id="rId1"/>
                </p:custDataLst>
              </p:nvPr>
            </p:nvPicPr>
            <p:blipFill>
              <a:blip r:embed="rId15">
                <a:extLst>
                  <a:ext uri="{28A0092B-C50C-407E-A947-70E740481C1C}">
                    <a14:useLocalDpi xmlns:a14="http://schemas.microsoft.com/office/drawing/2010/main" val="0"/>
                  </a:ext>
                </a:extLst>
              </a:blip>
              <a:stretch>
                <a:fillRect/>
              </a:stretch>
            </p:blipFill>
            <p:spPr>
              <a:xfrm>
                <a:off x="11123742" y="2105711"/>
                <a:ext cx="698991" cy="875588"/>
              </a:xfrm>
              <a:prstGeom prst="rect">
                <a:avLst/>
              </a:prstGeom>
              <a:effectLst/>
            </p:spPr>
          </p:pic>
          <p:sp>
            <p:nvSpPr>
              <p:cNvPr id="54" name="TextBox 53"/>
              <p:cNvSpPr txBox="1"/>
              <p:nvPr/>
            </p:nvSpPr>
            <p:spPr>
              <a:xfrm>
                <a:off x="12657826" y="1904999"/>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6</a:t>
                </a:r>
              </a:p>
            </p:txBody>
          </p:sp>
        </p:grpSp>
        <p:grpSp>
          <p:nvGrpSpPr>
            <p:cNvPr id="31" name="Group 30"/>
            <p:cNvGrpSpPr/>
            <p:nvPr/>
          </p:nvGrpSpPr>
          <p:grpSpPr>
            <a:xfrm>
              <a:off x="2505611" y="1904999"/>
              <a:ext cx="2011680" cy="2011680"/>
              <a:chOff x="2504440" y="1905000"/>
              <a:chExt cx="2011680" cy="2011680"/>
            </a:xfrm>
          </p:grpSpPr>
          <p:sp>
            <p:nvSpPr>
              <p:cNvPr id="49" name="Rectangle 48"/>
              <p:cNvSpPr/>
              <p:nvPr/>
            </p:nvSpPr>
            <p:spPr bwMode="auto">
              <a:xfrm>
                <a:off x="2504440"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Storage Classification </a:t>
                </a:r>
              </a:p>
            </p:txBody>
          </p:sp>
          <p:pic>
            <p:nvPicPr>
              <p:cNvPr id="50" name="Picture 49"/>
              <p:cNvPicPr>
                <a:picLocks/>
              </p:cNvPicPr>
              <p:nvPr/>
            </p:nvPicPr>
            <p:blipFill>
              <a:blip r:embed="rId16">
                <a:extLst>
                  <a:ext uri="{28A0092B-C50C-407E-A947-70E740481C1C}">
                    <a14:useLocalDpi xmlns:a14="http://schemas.microsoft.com/office/drawing/2010/main" val="0"/>
                  </a:ext>
                </a:extLst>
              </a:blip>
              <a:stretch>
                <a:fillRect/>
              </a:stretch>
            </p:blipFill>
            <p:spPr>
              <a:xfrm>
                <a:off x="2625747" y="2104845"/>
                <a:ext cx="658539" cy="880541"/>
              </a:xfrm>
              <a:prstGeom prst="rect">
                <a:avLst/>
              </a:prstGeom>
            </p:spPr>
          </p:pic>
          <p:sp>
            <p:nvSpPr>
              <p:cNvPr id="51" name="TextBox 50"/>
              <p:cNvSpPr txBox="1"/>
              <p:nvPr/>
            </p:nvSpPr>
            <p:spPr>
              <a:xfrm>
                <a:off x="4170996"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2</a:t>
                </a:r>
              </a:p>
            </p:txBody>
          </p:sp>
        </p:grpSp>
        <p:grpSp>
          <p:nvGrpSpPr>
            <p:cNvPr id="32" name="Group 31"/>
            <p:cNvGrpSpPr/>
            <p:nvPr/>
          </p:nvGrpSpPr>
          <p:grpSpPr>
            <a:xfrm>
              <a:off x="381000" y="1904999"/>
              <a:ext cx="2011680" cy="2011680"/>
              <a:chOff x="381000" y="1905000"/>
              <a:chExt cx="2011680" cy="2011680"/>
            </a:xfrm>
          </p:grpSpPr>
          <p:sp>
            <p:nvSpPr>
              <p:cNvPr id="46" name="Rectangle 45"/>
              <p:cNvSpPr/>
              <p:nvPr/>
            </p:nvSpPr>
            <p:spPr bwMode="auto">
              <a:xfrm>
                <a:off x="381000"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End to End Mapping</a:t>
                </a:r>
              </a:p>
            </p:txBody>
          </p:sp>
          <p:pic>
            <p:nvPicPr>
              <p:cNvPr id="47" name="Picture 4" descr="\\MAGNUM\Projects\Microsoft\Cloud Power FY12\Design\ICONS_PNG\Check_mark.png"/>
              <p:cNvPicPr>
                <a:picLocks noChangeAspect="1" noChangeArrowheads="1"/>
              </p:cNvPicPr>
              <p:nvPr/>
            </p:nvPicPr>
            <p:blipFill rotWithShape="1">
              <a:blip r:embed="rId17" cstate="print">
                <a:lum bright="100000"/>
              </a:blip>
              <a:srcRect t="11515"/>
              <a:stretch/>
            </p:blipFill>
            <p:spPr bwMode="auto">
              <a:xfrm>
                <a:off x="411681" y="2024234"/>
                <a:ext cx="1123766" cy="1209050"/>
              </a:xfrm>
              <a:prstGeom prst="rect">
                <a:avLst/>
              </a:prstGeom>
              <a:noFill/>
            </p:spPr>
          </p:pic>
          <p:sp>
            <p:nvSpPr>
              <p:cNvPr id="48" name="TextBox 47"/>
              <p:cNvSpPr txBox="1"/>
              <p:nvPr/>
            </p:nvSpPr>
            <p:spPr>
              <a:xfrm>
                <a:off x="2051561"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1</a:t>
                </a:r>
              </a:p>
            </p:txBody>
          </p:sp>
        </p:grpSp>
        <p:grpSp>
          <p:nvGrpSpPr>
            <p:cNvPr id="33" name="Group of Crosshairs" hidden="1"/>
            <p:cNvGrpSpPr/>
            <p:nvPr/>
          </p:nvGrpSpPr>
          <p:grpSpPr>
            <a:xfrm>
              <a:off x="928053" y="2452052"/>
              <a:ext cx="24288292" cy="917575"/>
              <a:chOff x="928053" y="4429828"/>
              <a:chExt cx="24288292" cy="917575"/>
            </a:xfrm>
          </p:grpSpPr>
          <p:sp>
            <p:nvSpPr>
              <p:cNvPr id="34" name="Crosshair"/>
              <p:cNvSpPr>
                <a:spLocks/>
              </p:cNvSpPr>
              <p:nvPr/>
            </p:nvSpPr>
            <p:spPr bwMode="auto">
              <a:xfrm>
                <a:off x="928053"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5" name="Crosshair"/>
              <p:cNvSpPr>
                <a:spLocks/>
              </p:cNvSpPr>
              <p:nvPr/>
            </p:nvSpPr>
            <p:spPr bwMode="auto">
              <a:xfrm>
                <a:off x="3052664"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6" name="Crosshair"/>
              <p:cNvSpPr>
                <a:spLocks/>
              </p:cNvSpPr>
              <p:nvPr/>
            </p:nvSpPr>
            <p:spPr bwMode="auto">
              <a:xfrm>
                <a:off x="5177275"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7" name="Crosshair"/>
              <p:cNvSpPr>
                <a:spLocks/>
              </p:cNvSpPr>
              <p:nvPr/>
            </p:nvSpPr>
            <p:spPr bwMode="auto">
              <a:xfrm>
                <a:off x="7301886"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8" name="Crosshair"/>
              <p:cNvSpPr>
                <a:spLocks/>
              </p:cNvSpPr>
              <p:nvPr/>
            </p:nvSpPr>
            <p:spPr bwMode="auto">
              <a:xfrm>
                <a:off x="9426497"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9" name="Crosshair"/>
              <p:cNvSpPr>
                <a:spLocks/>
              </p:cNvSpPr>
              <p:nvPr/>
            </p:nvSpPr>
            <p:spPr bwMode="auto">
              <a:xfrm>
                <a:off x="11551108"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0" name="Crosshair"/>
              <p:cNvSpPr>
                <a:spLocks/>
              </p:cNvSpPr>
              <p:nvPr/>
            </p:nvSpPr>
            <p:spPr bwMode="auto">
              <a:xfrm>
                <a:off x="13675719"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1" name="Crosshair"/>
              <p:cNvSpPr>
                <a:spLocks/>
              </p:cNvSpPr>
              <p:nvPr/>
            </p:nvSpPr>
            <p:spPr bwMode="auto">
              <a:xfrm>
                <a:off x="15800330"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Crosshair"/>
              <p:cNvSpPr>
                <a:spLocks/>
              </p:cNvSpPr>
              <p:nvPr/>
            </p:nvSpPr>
            <p:spPr bwMode="auto">
              <a:xfrm>
                <a:off x="17924941"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Crosshair"/>
              <p:cNvSpPr>
                <a:spLocks/>
              </p:cNvSpPr>
              <p:nvPr/>
            </p:nvSpPr>
            <p:spPr bwMode="auto">
              <a:xfrm>
                <a:off x="20049552"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Crosshair"/>
              <p:cNvSpPr>
                <a:spLocks/>
              </p:cNvSpPr>
              <p:nvPr/>
            </p:nvSpPr>
            <p:spPr bwMode="auto">
              <a:xfrm>
                <a:off x="22174163"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Crosshair"/>
              <p:cNvSpPr>
                <a:spLocks/>
              </p:cNvSpPr>
              <p:nvPr/>
            </p:nvSpPr>
            <p:spPr bwMode="auto">
              <a:xfrm>
                <a:off x="24298770"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grpSp>
        <p:nvGrpSpPr>
          <p:cNvPr id="4" name="Group 3"/>
          <p:cNvGrpSpPr/>
          <p:nvPr/>
        </p:nvGrpSpPr>
        <p:grpSpPr>
          <a:xfrm>
            <a:off x="381000" y="1428750"/>
            <a:ext cx="2011680" cy="1508760"/>
            <a:chOff x="2655208" y="2057399"/>
            <a:chExt cx="2011680" cy="2011680"/>
          </a:xfrm>
          <a:solidFill>
            <a:schemeClr val="accent5"/>
          </a:solidFill>
        </p:grpSpPr>
        <p:sp>
          <p:nvSpPr>
            <p:cNvPr id="82" name="Rectangle 81"/>
            <p:cNvSpPr/>
            <p:nvPr/>
          </p:nvSpPr>
          <p:spPr bwMode="auto">
            <a:xfrm>
              <a:off x="2655208" y="2057399"/>
              <a:ext cx="2011680" cy="2011680"/>
            </a:xfrm>
            <a:prstGeom prst="rect">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Cluster Storage Management</a:t>
              </a:r>
            </a:p>
          </p:txBody>
        </p:sp>
        <p:pic>
          <p:nvPicPr>
            <p:cNvPr id="83" name="Picture 5"/>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2773625" y="2186693"/>
              <a:ext cx="887423" cy="975564"/>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4" name="TextBox 83"/>
            <p:cNvSpPr txBox="1"/>
            <p:nvPr/>
          </p:nvSpPr>
          <p:spPr>
            <a:xfrm>
              <a:off x="4315976" y="2057399"/>
              <a:ext cx="267381" cy="615553"/>
            </a:xfrm>
            <a:prstGeom prst="rect">
              <a:avLst/>
            </a:prstGeom>
            <a:grpFill/>
          </p:spPr>
          <p:txBody>
            <a:bodyPr wrap="none" lIns="0" tIns="0" rIns="45720" bIns="0" rtlCol="0">
              <a:spAutoFit/>
            </a:bodyPr>
            <a:lstStyle/>
            <a:p>
              <a:r>
                <a:rPr lang="en-US" sz="3000" b="1" dirty="0">
                  <a:gradFill>
                    <a:gsLst>
                      <a:gs pos="0">
                        <a:schemeClr val="accent5">
                          <a:lumMod val="60000"/>
                          <a:lumOff val="40000"/>
                        </a:schemeClr>
                      </a:gs>
                      <a:gs pos="86000">
                        <a:schemeClr val="accent5">
                          <a:lumMod val="60000"/>
                          <a:lumOff val="40000"/>
                        </a:schemeClr>
                      </a:gs>
                    </a:gsLst>
                    <a:lin ang="5400000" scaled="0"/>
                  </a:gradFill>
                </a:rPr>
                <a:t>7</a:t>
              </a:r>
            </a:p>
          </p:txBody>
        </p:sp>
      </p:grpSp>
      <p:sp>
        <p:nvSpPr>
          <p:cNvPr id="2" name="Title 1"/>
          <p:cNvSpPr>
            <a:spLocks noGrp="1"/>
          </p:cNvSpPr>
          <p:nvPr>
            <p:ph type="title"/>
          </p:nvPr>
        </p:nvSpPr>
        <p:spPr>
          <a:xfrm>
            <a:off x="389436" y="171451"/>
            <a:ext cx="8363938" cy="457049"/>
          </a:xfrm>
        </p:spPr>
        <p:txBody>
          <a:bodyPr/>
          <a:lstStyle/>
          <a:p>
            <a:r>
              <a:rPr lang="en-US" dirty="0"/>
              <a:t>The Fantastic 12 of</a:t>
            </a:r>
          </a:p>
        </p:txBody>
      </p:sp>
      <p:pic>
        <p:nvPicPr>
          <p:cNvPr id="85" name="Picture 2" descr="\\eventsql\dvd\Online_ART\DVD_ART36\Logos\System Center Virtual Machine Manager 2008 R2\system center virtual machine manager 2008 r2 h rev.png"/>
          <p:cNvPicPr>
            <a:picLocks noChangeAspect="1" noChangeArrowheads="1"/>
          </p:cNvPicPr>
          <p:nvPr/>
        </p:nvPicPr>
        <p:blipFill rotWithShape="1">
          <a:blip r:embed="rId18">
            <a:extLst>
              <a:ext uri="{28A0092B-C50C-407E-A947-70E740481C1C}">
                <a14:useLocalDpi xmlns:a14="http://schemas.microsoft.com/office/drawing/2010/main" val="0"/>
              </a:ext>
            </a:extLst>
          </a:blip>
          <a:srcRect r="16495"/>
          <a:stretch/>
        </p:blipFill>
        <p:spPr bwMode="auto">
          <a:xfrm>
            <a:off x="4300244" y="139992"/>
            <a:ext cx="3072835" cy="777872"/>
          </a:xfrm>
          <a:prstGeom prst="rect">
            <a:avLst/>
          </a:prstGeom>
          <a:noFill/>
          <a:extLst>
            <a:ext uri="{909E8E84-426E-40DD-AFC4-6F175D3DCCD1}">
              <a14:hiddenFill xmlns:a14="http://schemas.microsoft.com/office/drawing/2010/main">
                <a:solidFill>
                  <a:srgbClr val="FFFFFF"/>
                </a:solidFill>
              </a14:hiddenFill>
            </a:ext>
          </a:extLst>
        </p:spPr>
      </p:pic>
      <p:sp>
        <p:nvSpPr>
          <p:cNvPr id="86"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87"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9"/>
              </a:rPr>
              <a:t>www.rapidbbs.cn</a:t>
            </a:r>
            <a:endParaRPr lang="zh-CN" altLang="en-US" sz="1200" b="0">
              <a:latin typeface="Arial" charset="0"/>
              <a:ea typeface="ＭＳ Ｐゴシック" pitchFamily="34" charset="-128"/>
            </a:endParaRPr>
          </a:p>
        </p:txBody>
      </p:sp>
      <p:pic>
        <p:nvPicPr>
          <p:cNvPr id="88" name="Picture 2">
            <a:hlinkClick r:id="rId19"/>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5258530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accel="50000" decel="50000" fill="hold" nodeType="afterEffect">
                                  <p:stCondLst>
                                    <p:cond delay="0"/>
                                  </p:stCondLst>
                                  <p:childTnLst>
                                    <p:animMotion origin="layout" path="M -3.88889E-6 4.44444E-6 L -0.23246 4.44444E-6 " pathEditMode="relative" rAng="0" ptsTypes="AA">
                                      <p:cBhvr>
                                        <p:cTn id="6" dur="1000" fill="hold"/>
                                        <p:tgtEl>
                                          <p:spTgt spid="16"/>
                                        </p:tgtEl>
                                        <p:attrNameLst>
                                          <p:attrName>ppt_x</p:attrName>
                                          <p:attrName>ppt_y</p:attrName>
                                        </p:attrNameLst>
                                      </p:cBhvr>
                                      <p:rCtr x="-11632" y="0"/>
                                    </p:animMotion>
                                  </p:childTnLst>
                                </p:cTn>
                              </p:par>
                            </p:childTnLst>
                          </p:cTn>
                        </p:par>
                        <p:par>
                          <p:cTn id="7" fill="hold">
                            <p:stCondLst>
                              <p:cond delay="1000"/>
                            </p:stCondLst>
                            <p:childTnLst>
                              <p:par>
                                <p:cTn id="8" presetID="22" presetClass="entr" presetSubtype="4" fill="hold" nodeType="after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down)">
                                      <p:cBhvr>
                                        <p:cTn id="10" dur="500"/>
                                        <p:tgtEl>
                                          <p:spTgt spid="4"/>
                                        </p:tgtEl>
                                      </p:cBhvr>
                                    </p:animEffect>
                                  </p:childTnLst>
                                </p:cTn>
                              </p:par>
                              <p:par>
                                <p:cTn id="11" presetID="2" presetClass="entr" presetSubtype="2" decel="100000" fill="hold" grpId="0" nodeType="withEffect">
                                  <p:stCondLst>
                                    <p:cond delay="500"/>
                                  </p:stCondLst>
                                  <p:childTnLst>
                                    <p:set>
                                      <p:cBhvr>
                                        <p:cTn id="12" dur="1" fill="hold">
                                          <p:stCondLst>
                                            <p:cond delay="0"/>
                                          </p:stCondLst>
                                        </p:cTn>
                                        <p:tgtEl>
                                          <p:spTgt spid="19"/>
                                        </p:tgtEl>
                                        <p:attrNameLst>
                                          <p:attrName>style.visibility</p:attrName>
                                        </p:attrNameLst>
                                      </p:cBhvr>
                                      <p:to>
                                        <p:strVal val="visible"/>
                                      </p:to>
                                    </p:set>
                                    <p:anim calcmode="lin" valueType="num">
                                      <p:cBhvr additive="base">
                                        <p:cTn id="13" dur="1000" fill="hold"/>
                                        <p:tgtEl>
                                          <p:spTgt spid="19"/>
                                        </p:tgtEl>
                                        <p:attrNameLst>
                                          <p:attrName>ppt_x</p:attrName>
                                        </p:attrNameLst>
                                      </p:cBhvr>
                                      <p:tavLst>
                                        <p:tav tm="0">
                                          <p:val>
                                            <p:strVal val="1+#ppt_w/2"/>
                                          </p:val>
                                        </p:tav>
                                        <p:tav tm="100000">
                                          <p:val>
                                            <p:strVal val="#ppt_x"/>
                                          </p:val>
                                        </p:tav>
                                      </p:tavLst>
                                    </p:anim>
                                    <p:anim calcmode="lin" valueType="num">
                                      <p:cBhvr additive="base">
                                        <p:cTn id="14" dur="1000" fill="hold"/>
                                        <p:tgtEl>
                                          <p:spTgt spid="19"/>
                                        </p:tgtEl>
                                        <p:attrNameLst>
                                          <p:attrName>ppt_y</p:attrName>
                                        </p:attrNameLst>
                                      </p:cBhvr>
                                      <p:tavLst>
                                        <p:tav tm="0">
                                          <p:val>
                                            <p:strVal val="#ppt_y"/>
                                          </p:val>
                                        </p:tav>
                                        <p:tav tm="100000">
                                          <p:val>
                                            <p:strVal val="#ppt_y"/>
                                          </p:val>
                                        </p:tav>
                                      </p:tavLst>
                                    </p:anim>
                                  </p:childTnLst>
                                </p:cTn>
                              </p:par>
                              <p:par>
                                <p:cTn id="15" presetID="2" presetClass="entr" presetSubtype="2" decel="100000" fill="hold" grpId="0" nodeType="withEffect">
                                  <p:stCondLst>
                                    <p:cond delay="1000"/>
                                  </p:stCondLst>
                                  <p:childTnLst>
                                    <p:set>
                                      <p:cBhvr>
                                        <p:cTn id="16" dur="1" fill="hold">
                                          <p:stCondLst>
                                            <p:cond delay="0"/>
                                          </p:stCondLst>
                                        </p:cTn>
                                        <p:tgtEl>
                                          <p:spTgt spid="24"/>
                                        </p:tgtEl>
                                        <p:attrNameLst>
                                          <p:attrName>style.visibility</p:attrName>
                                        </p:attrNameLst>
                                      </p:cBhvr>
                                      <p:to>
                                        <p:strVal val="visible"/>
                                      </p:to>
                                    </p:set>
                                    <p:anim calcmode="lin" valueType="num">
                                      <p:cBhvr additive="base">
                                        <p:cTn id="17" dur="1000" fill="hold"/>
                                        <p:tgtEl>
                                          <p:spTgt spid="24"/>
                                        </p:tgtEl>
                                        <p:attrNameLst>
                                          <p:attrName>ppt_x</p:attrName>
                                        </p:attrNameLst>
                                      </p:cBhvr>
                                      <p:tavLst>
                                        <p:tav tm="0">
                                          <p:val>
                                            <p:strVal val="1+#ppt_w/2"/>
                                          </p:val>
                                        </p:tav>
                                        <p:tav tm="100000">
                                          <p:val>
                                            <p:strVal val="#ppt_x"/>
                                          </p:val>
                                        </p:tav>
                                      </p:tavLst>
                                    </p:anim>
                                    <p:anim calcmode="lin" valueType="num">
                                      <p:cBhvr additive="base">
                                        <p:cTn id="18" dur="1000" fill="hold"/>
                                        <p:tgtEl>
                                          <p:spTgt spid="24"/>
                                        </p:tgtEl>
                                        <p:attrNameLst>
                                          <p:attrName>ppt_y</p:attrName>
                                        </p:attrNameLst>
                                      </p:cBhvr>
                                      <p:tavLst>
                                        <p:tav tm="0">
                                          <p:val>
                                            <p:strVal val="#ppt_y"/>
                                          </p:val>
                                        </p:tav>
                                        <p:tav tm="100000">
                                          <p:val>
                                            <p:strVal val="#ppt_y"/>
                                          </p:val>
                                        </p:tav>
                                      </p:tavLst>
                                    </p:anim>
                                  </p:childTnLst>
                                </p:cTn>
                              </p:par>
                              <p:par>
                                <p:cTn id="19" presetID="2" presetClass="entr" presetSubtype="2" decel="100000" fill="hold" grpId="0" nodeType="withEffect">
                                  <p:stCondLst>
                                    <p:cond delay="1500"/>
                                  </p:stCondLst>
                                  <p:childTnLst>
                                    <p:set>
                                      <p:cBhvr>
                                        <p:cTn id="20" dur="1" fill="hold">
                                          <p:stCondLst>
                                            <p:cond delay="0"/>
                                          </p:stCondLst>
                                        </p:cTn>
                                        <p:tgtEl>
                                          <p:spTgt spid="26"/>
                                        </p:tgtEl>
                                        <p:attrNameLst>
                                          <p:attrName>style.visibility</p:attrName>
                                        </p:attrNameLst>
                                      </p:cBhvr>
                                      <p:to>
                                        <p:strVal val="visible"/>
                                      </p:to>
                                    </p:set>
                                    <p:anim calcmode="lin" valueType="num">
                                      <p:cBhvr additive="base">
                                        <p:cTn id="21" dur="1000" fill="hold"/>
                                        <p:tgtEl>
                                          <p:spTgt spid="26"/>
                                        </p:tgtEl>
                                        <p:attrNameLst>
                                          <p:attrName>ppt_x</p:attrName>
                                        </p:attrNameLst>
                                      </p:cBhvr>
                                      <p:tavLst>
                                        <p:tav tm="0">
                                          <p:val>
                                            <p:strVal val="1+#ppt_w/2"/>
                                          </p:val>
                                        </p:tav>
                                        <p:tav tm="100000">
                                          <p:val>
                                            <p:strVal val="#ppt_x"/>
                                          </p:val>
                                        </p:tav>
                                      </p:tavLst>
                                    </p:anim>
                                    <p:anim calcmode="lin" valueType="num">
                                      <p:cBhvr additive="base">
                                        <p:cTn id="22" dur="1000" fill="hold"/>
                                        <p:tgtEl>
                                          <p:spTgt spid="2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4" grpId="0" animBg="1"/>
      <p:bldP spid="26" grpId="0" animBg="1"/>
    </p:bldLst>
  </p:timing>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381000" y="1428749"/>
            <a:ext cx="2011680" cy="1508760"/>
            <a:chOff x="4782215" y="2057399"/>
            <a:chExt cx="2011680" cy="2011680"/>
          </a:xfrm>
        </p:grpSpPr>
        <p:sp>
          <p:nvSpPr>
            <p:cNvPr id="98" name="Rectangle 97"/>
            <p:cNvSpPr/>
            <p:nvPr/>
          </p:nvSpPr>
          <p:spPr bwMode="auto">
            <a:xfrm>
              <a:off x="4782215" y="2057399"/>
              <a:ext cx="2011680" cy="2011680"/>
            </a:xfrm>
            <a:prstGeom prst="rect">
              <a:avLst/>
            </a:prstGeom>
            <a:solidFill>
              <a:schemeClr val="tx2">
                <a:lumMod val="7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Extensive Array Support </a:t>
              </a:r>
            </a:p>
          </p:txBody>
        </p:sp>
        <p:pic>
          <p:nvPicPr>
            <p:cNvPr id="99" name="Picture 7" descr="\\MAGNUM\Projects\Microsoft\Cloud Power FY12\Design\ICONS_PNG\Physical_Virtual.png"/>
            <p:cNvPicPr>
              <a:picLocks noChangeAspect="1" noChangeArrowheads="1"/>
            </p:cNvPicPr>
            <p:nvPr/>
          </p:nvPicPr>
          <p:blipFill rotWithShape="1">
            <a:blip r:embed="rId5" cstate="print">
              <a:extLst>
                <a:ext uri="{BEBA8EAE-BF5A-486C-A8C5-ECC9F3942E4B}">
                  <a14:imgProps xmlns:a14="http://schemas.microsoft.com/office/drawing/2010/main">
                    <a14:imgLayer r:embed="rId6">
                      <a14:imgEffect>
                        <a14:brightnessContrast bright="100000"/>
                      </a14:imgEffect>
                    </a14:imgLayer>
                  </a14:imgProps>
                </a:ext>
              </a:extLst>
            </a:blip>
            <a:srcRect l="7856" t="39072" r="7907" b="5885"/>
            <a:stretch/>
          </p:blipFill>
          <p:spPr bwMode="auto">
            <a:xfrm>
              <a:off x="4807259" y="2222740"/>
              <a:ext cx="1472548" cy="962205"/>
            </a:xfrm>
            <a:prstGeom prst="rect">
              <a:avLst/>
            </a:prstGeom>
            <a:noFill/>
          </p:spPr>
        </p:pic>
        <p:sp>
          <p:nvSpPr>
            <p:cNvPr id="100" name="TextBox 99"/>
            <p:cNvSpPr txBox="1"/>
            <p:nvPr/>
          </p:nvSpPr>
          <p:spPr>
            <a:xfrm>
              <a:off x="6147432" y="2057399"/>
              <a:ext cx="488595" cy="615553"/>
            </a:xfrm>
            <a:prstGeom prst="rect">
              <a:avLst/>
            </a:prstGeom>
            <a:noFill/>
          </p:spPr>
          <p:txBody>
            <a:bodyPr wrap="none" lIns="0" tIns="0" rIns="45720" bIns="0" rtlCol="0">
              <a:spAutoFit/>
            </a:bodyPr>
            <a:lstStyle/>
            <a:p>
              <a:r>
                <a:rPr lang="en-US" sz="3000" b="1" dirty="0">
                  <a:gradFill>
                    <a:gsLst>
                      <a:gs pos="0">
                        <a:schemeClr val="accent5">
                          <a:lumMod val="60000"/>
                          <a:lumOff val="40000"/>
                        </a:schemeClr>
                      </a:gs>
                      <a:gs pos="86000">
                        <a:schemeClr val="accent5">
                          <a:lumMod val="60000"/>
                          <a:lumOff val="40000"/>
                        </a:schemeClr>
                      </a:gs>
                    </a:gsLst>
                    <a:lin ang="5400000" scaled="0"/>
                  </a:gradFill>
                </a:rPr>
                <a:t>10</a:t>
              </a:r>
            </a:p>
          </p:txBody>
        </p:sp>
      </p:grpSp>
      <p:sp>
        <p:nvSpPr>
          <p:cNvPr id="89" name="Rectangle 88"/>
          <p:cNvSpPr/>
          <p:nvPr/>
        </p:nvSpPr>
        <p:spPr bwMode="auto">
          <a:xfrm>
            <a:off x="378407" y="3025179"/>
            <a:ext cx="8385048" cy="480060"/>
          </a:xfrm>
          <a:prstGeom prst="rect">
            <a:avLst/>
          </a:prstGeom>
          <a:solidFill>
            <a:schemeClr val="accent5"/>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defTabSz="685637" fontAlgn="base">
              <a:spcBef>
                <a:spcPct val="0"/>
              </a:spcBef>
              <a:spcAft>
                <a:spcPct val="0"/>
              </a:spcAft>
            </a:pPr>
            <a:r>
              <a:rPr lang="en-US" sz="2100" dirty="0">
                <a:solidFill>
                  <a:schemeClr val="tx1"/>
                </a:solidFill>
              </a:rPr>
              <a:t>VMM Tested – NetApp, EMC, HP, Dell EQL, LSI</a:t>
            </a:r>
          </a:p>
        </p:txBody>
      </p:sp>
      <p:sp>
        <p:nvSpPr>
          <p:cNvPr id="90" name="Rectangle 89"/>
          <p:cNvSpPr/>
          <p:nvPr/>
        </p:nvSpPr>
        <p:spPr bwMode="auto">
          <a:xfrm>
            <a:off x="378407" y="3594396"/>
            <a:ext cx="8385048" cy="480060"/>
          </a:xfrm>
          <a:prstGeom prst="rect">
            <a:avLst/>
          </a:prstGeom>
          <a:solidFill>
            <a:schemeClr val="accent5"/>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defTabSz="685637" fontAlgn="base">
              <a:spcBef>
                <a:spcPct val="0"/>
              </a:spcBef>
              <a:spcAft>
                <a:spcPct val="0"/>
              </a:spcAft>
            </a:pPr>
            <a:r>
              <a:rPr lang="en-US" sz="2100" dirty="0">
                <a:solidFill>
                  <a:schemeClr val="tx1"/>
                </a:solidFill>
              </a:rPr>
              <a:t>Partner Testing – Hitachi, Fujitsu, Dell, IBM, StarWind</a:t>
            </a:r>
          </a:p>
        </p:txBody>
      </p:sp>
      <p:sp>
        <p:nvSpPr>
          <p:cNvPr id="91" name="Rectangle 90"/>
          <p:cNvSpPr/>
          <p:nvPr/>
        </p:nvSpPr>
        <p:spPr bwMode="auto">
          <a:xfrm>
            <a:off x="378407" y="4160645"/>
            <a:ext cx="8385048" cy="480060"/>
          </a:xfrm>
          <a:prstGeom prst="rect">
            <a:avLst/>
          </a:prstGeom>
          <a:solidFill>
            <a:schemeClr val="accent5"/>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defTabSz="685637" fontAlgn="base">
              <a:spcBef>
                <a:spcPct val="0"/>
              </a:spcBef>
              <a:spcAft>
                <a:spcPct val="0"/>
              </a:spcAft>
            </a:pPr>
            <a:r>
              <a:rPr lang="en-US" sz="2100" dirty="0">
                <a:solidFill>
                  <a:schemeClr val="tx1"/>
                </a:solidFill>
              </a:rPr>
              <a:t>(Development in Progress for Others)</a:t>
            </a:r>
          </a:p>
        </p:txBody>
      </p:sp>
      <p:grpSp>
        <p:nvGrpSpPr>
          <p:cNvPr id="2" name="Group 1"/>
          <p:cNvGrpSpPr/>
          <p:nvPr/>
        </p:nvGrpSpPr>
        <p:grpSpPr>
          <a:xfrm>
            <a:off x="-14491680" y="1428749"/>
            <a:ext cx="25382397" cy="1508760"/>
            <a:chOff x="-14491684" y="1904999"/>
            <a:chExt cx="25382397" cy="2011680"/>
          </a:xfrm>
        </p:grpSpPr>
        <p:grpSp>
          <p:nvGrpSpPr>
            <p:cNvPr id="22" name="Group 21"/>
            <p:cNvGrpSpPr/>
            <p:nvPr/>
          </p:nvGrpSpPr>
          <p:grpSpPr>
            <a:xfrm>
              <a:off x="-14491684" y="1904999"/>
              <a:ext cx="25382397" cy="2011680"/>
              <a:chOff x="381000" y="1904999"/>
              <a:chExt cx="25382397" cy="2011680"/>
            </a:xfrm>
          </p:grpSpPr>
          <p:grpSp>
            <p:nvGrpSpPr>
              <p:cNvPr id="23" name="Group 22"/>
              <p:cNvGrpSpPr/>
              <p:nvPr/>
            </p:nvGrpSpPr>
            <p:grpSpPr>
              <a:xfrm>
                <a:off x="23751717" y="1904999"/>
                <a:ext cx="2011680" cy="2011680"/>
                <a:chOff x="23751717" y="1905000"/>
                <a:chExt cx="2011680" cy="2011680"/>
              </a:xfrm>
            </p:grpSpPr>
            <p:sp>
              <p:nvSpPr>
                <p:cNvPr id="83" name="Rectangle 82"/>
                <p:cNvSpPr/>
                <p:nvPr/>
              </p:nvSpPr>
              <p:spPr bwMode="auto">
                <a:xfrm>
                  <a:off x="23751717"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 </a:t>
                  </a:r>
                  <a:br>
                    <a:rPr lang="en-US" sz="1500" dirty="0">
                      <a:gradFill>
                        <a:gsLst>
                          <a:gs pos="0">
                            <a:srgbClr val="FFFFFF"/>
                          </a:gs>
                          <a:gs pos="100000">
                            <a:srgbClr val="FFFFFF"/>
                          </a:gs>
                        </a:gsLst>
                        <a:lin ang="5400000" scaled="0"/>
                      </a:gradFill>
                    </a:rPr>
                  </a:br>
                  <a:r>
                    <a:rPr lang="en-US" sz="1500" dirty="0">
                      <a:gradFill>
                        <a:gsLst>
                          <a:gs pos="0">
                            <a:srgbClr val="FFFFFF"/>
                          </a:gs>
                          <a:gs pos="100000">
                            <a:srgbClr val="FFFFFF"/>
                          </a:gs>
                        </a:gsLst>
                        <a:lin ang="5400000" scaled="0"/>
                      </a:gradFill>
                    </a:rPr>
                    <a:t>Validation</a:t>
                  </a:r>
                </a:p>
              </p:txBody>
            </p:sp>
            <p:sp>
              <p:nvSpPr>
                <p:cNvPr id="85" name="TextBox 84"/>
                <p:cNvSpPr txBox="1"/>
                <p:nvPr/>
              </p:nvSpPr>
              <p:spPr>
                <a:xfrm>
                  <a:off x="25111146" y="1905000"/>
                  <a:ext cx="488595"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12</a:t>
                  </a:r>
                </a:p>
              </p:txBody>
            </p:sp>
          </p:grpSp>
          <p:grpSp>
            <p:nvGrpSpPr>
              <p:cNvPr id="24" name="Group 23"/>
              <p:cNvGrpSpPr/>
              <p:nvPr/>
            </p:nvGrpSpPr>
            <p:grpSpPr>
              <a:xfrm>
                <a:off x="21627110" y="1904999"/>
                <a:ext cx="2011680" cy="2011680"/>
                <a:chOff x="21628277" y="1905000"/>
                <a:chExt cx="2011680" cy="2011680"/>
              </a:xfrm>
            </p:grpSpPr>
            <p:sp>
              <p:nvSpPr>
                <p:cNvPr id="80" name="Rectangle 79"/>
                <p:cNvSpPr/>
                <p:nvPr/>
              </p:nvSpPr>
              <p:spPr bwMode="auto">
                <a:xfrm>
                  <a:off x="21628277"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Standards Based Management </a:t>
                  </a:r>
                </a:p>
              </p:txBody>
            </p:sp>
            <p:pic>
              <p:nvPicPr>
                <p:cNvPr id="81" name="Picture 3" descr="\\SFP\Work\White_Whale\3-22036_Kuleen_Bharadwaj\PPT\3_PlatformVision_Kuleen\SFP_Art\Plane Slide\mon_notie.png"/>
                <p:cNvPicPr>
                  <a:picLocks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1734293" y="2102691"/>
                  <a:ext cx="617381" cy="915763"/>
                </a:xfrm>
                <a:prstGeom prst="rect">
                  <a:avLst/>
                </a:prstGeom>
                <a:noFill/>
                <a:extLst>
                  <a:ext uri="{909E8E84-426E-40DD-AFC4-6F175D3DCCD1}">
                    <a14:hiddenFill xmlns:a14="http://schemas.microsoft.com/office/drawing/2010/main">
                      <a:solidFill>
                        <a:srgbClr val="FFFFFF"/>
                      </a:solidFill>
                    </a14:hiddenFill>
                  </a:ext>
                </a:extLst>
              </p:spPr>
            </p:pic>
            <p:sp>
              <p:nvSpPr>
                <p:cNvPr id="82" name="TextBox 81"/>
                <p:cNvSpPr txBox="1"/>
                <p:nvPr/>
              </p:nvSpPr>
              <p:spPr>
                <a:xfrm>
                  <a:off x="22993494" y="1905000"/>
                  <a:ext cx="488595"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11</a:t>
                  </a:r>
                </a:p>
              </p:txBody>
            </p:sp>
          </p:grpSp>
          <p:grpSp>
            <p:nvGrpSpPr>
              <p:cNvPr id="25" name="Group 24"/>
              <p:cNvGrpSpPr/>
              <p:nvPr/>
            </p:nvGrpSpPr>
            <p:grpSpPr>
              <a:xfrm>
                <a:off x="19502499" y="1904999"/>
                <a:ext cx="2011680" cy="2011680"/>
                <a:chOff x="19504837" y="1905000"/>
                <a:chExt cx="2011680" cy="2011680"/>
              </a:xfrm>
            </p:grpSpPr>
            <p:sp>
              <p:nvSpPr>
                <p:cNvPr id="77" name="Rectangle 76"/>
                <p:cNvSpPr/>
                <p:nvPr/>
              </p:nvSpPr>
              <p:spPr bwMode="auto">
                <a:xfrm>
                  <a:off x="19504837"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Extensive Array Support </a:t>
                  </a:r>
                </a:p>
              </p:txBody>
            </p:sp>
            <p:pic>
              <p:nvPicPr>
                <p:cNvPr id="78" name="Picture 7" descr="\\MAGNUM\Projects\Microsoft\Cloud Power FY12\Design\ICONS_PNG\Physical_Virtual.png"/>
                <p:cNvPicPr>
                  <a:picLocks noChangeArrowheads="1"/>
                </p:cNvPicPr>
                <p:nvPr/>
              </p:nvPicPr>
              <p:blipFill rotWithShape="1">
                <a:blip r:embed="rId5" cstate="print">
                  <a:extLst>
                    <a:ext uri="{BEBA8EAE-BF5A-486C-A8C5-ECC9F3942E4B}">
                      <a14:imgProps xmlns:a14="http://schemas.microsoft.com/office/drawing/2010/main">
                        <a14:imgLayer r:embed="rId6">
                          <a14:imgEffect>
                            <a14:brightnessContrast bright="100000"/>
                          </a14:imgEffect>
                        </a14:imgLayer>
                      </a14:imgProps>
                    </a:ext>
                  </a:extLst>
                </a:blip>
                <a:srcRect l="7856" t="39072" r="7907" b="5885"/>
                <a:stretch/>
              </p:blipFill>
              <p:spPr bwMode="auto">
                <a:xfrm>
                  <a:off x="19529881" y="2070341"/>
                  <a:ext cx="1221042" cy="962205"/>
                </a:xfrm>
                <a:prstGeom prst="rect">
                  <a:avLst/>
                </a:prstGeom>
                <a:noFill/>
              </p:spPr>
            </p:pic>
            <p:sp>
              <p:nvSpPr>
                <p:cNvPr id="79" name="TextBox 78"/>
                <p:cNvSpPr txBox="1"/>
                <p:nvPr/>
              </p:nvSpPr>
              <p:spPr>
                <a:xfrm>
                  <a:off x="20870054" y="1905000"/>
                  <a:ext cx="488595"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10</a:t>
                  </a:r>
                </a:p>
              </p:txBody>
            </p:sp>
          </p:grpSp>
          <p:grpSp>
            <p:nvGrpSpPr>
              <p:cNvPr id="26" name="Group 25"/>
              <p:cNvGrpSpPr/>
              <p:nvPr/>
            </p:nvGrpSpPr>
            <p:grpSpPr>
              <a:xfrm>
                <a:off x="17377888" y="1904999"/>
                <a:ext cx="2011680" cy="2011680"/>
                <a:chOff x="17381397" y="1905000"/>
                <a:chExt cx="2011680" cy="2011680"/>
              </a:xfrm>
            </p:grpSpPr>
            <p:sp>
              <p:nvSpPr>
                <p:cNvPr id="74" name="Rectangle 73"/>
                <p:cNvSpPr/>
                <p:nvPr/>
              </p:nvSpPr>
              <p:spPr bwMode="auto">
                <a:xfrm>
                  <a:off x="17381397"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Scalable Provisioning </a:t>
                  </a:r>
                  <a:br>
                    <a:rPr lang="en-US" sz="1500" dirty="0">
                      <a:gradFill>
                        <a:gsLst>
                          <a:gs pos="0">
                            <a:srgbClr val="FFFFFF"/>
                          </a:gs>
                          <a:gs pos="100000">
                            <a:srgbClr val="FFFFFF"/>
                          </a:gs>
                        </a:gsLst>
                        <a:lin ang="5400000" scaled="0"/>
                      </a:gradFill>
                    </a:rPr>
                  </a:br>
                  <a:r>
                    <a:rPr lang="en-US" sz="1500" dirty="0">
                      <a:gradFill>
                        <a:gsLst>
                          <a:gs pos="0">
                            <a:srgbClr val="FFFFFF"/>
                          </a:gs>
                          <a:gs pos="100000">
                            <a:srgbClr val="FFFFFF"/>
                          </a:gs>
                        </a:gsLst>
                        <a:lin ang="5400000" scaled="0"/>
                      </a:gradFill>
                    </a:rPr>
                    <a:t> </a:t>
                  </a:r>
                </a:p>
              </p:txBody>
            </p:sp>
            <p:pic>
              <p:nvPicPr>
                <p:cNvPr id="75" name="Picture 108"/>
                <p:cNvPicPr>
                  <a:picLocks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7504750" y="2104845"/>
                  <a:ext cx="692838" cy="880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6" name="TextBox 75"/>
                <p:cNvSpPr txBox="1"/>
                <p:nvPr/>
              </p:nvSpPr>
              <p:spPr>
                <a:xfrm>
                  <a:off x="19051958"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9</a:t>
                  </a:r>
                </a:p>
              </p:txBody>
            </p:sp>
          </p:grpSp>
          <p:grpSp>
            <p:nvGrpSpPr>
              <p:cNvPr id="27" name="Group 26"/>
              <p:cNvGrpSpPr/>
              <p:nvPr/>
            </p:nvGrpSpPr>
            <p:grpSpPr>
              <a:xfrm>
                <a:off x="15253277" y="1904999"/>
                <a:ext cx="2011680" cy="2011680"/>
                <a:chOff x="15253277" y="1905000"/>
                <a:chExt cx="2011680" cy="2011680"/>
              </a:xfrm>
            </p:grpSpPr>
            <p:sp>
              <p:nvSpPr>
                <p:cNvPr id="71" name="Rectangle 70"/>
                <p:cNvSpPr/>
                <p:nvPr/>
              </p:nvSpPr>
              <p:spPr bwMode="auto">
                <a:xfrm>
                  <a:off x="15253277"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Storage Automation</a:t>
                  </a:r>
                </a:p>
              </p:txBody>
            </p:sp>
            <p:pic>
              <p:nvPicPr>
                <p:cNvPr id="72" name="Picture 8"/>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5367380" y="2104845"/>
                  <a:ext cx="1115460" cy="8877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3" name="TextBox 72"/>
                <p:cNvSpPr txBox="1"/>
                <p:nvPr/>
              </p:nvSpPr>
              <p:spPr>
                <a:xfrm>
                  <a:off x="16914045"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8</a:t>
                  </a:r>
                </a:p>
              </p:txBody>
            </p:sp>
          </p:grpSp>
          <p:grpSp>
            <p:nvGrpSpPr>
              <p:cNvPr id="29" name="Group 28"/>
              <p:cNvGrpSpPr/>
              <p:nvPr/>
            </p:nvGrpSpPr>
            <p:grpSpPr>
              <a:xfrm>
                <a:off x="8879444" y="1904999"/>
                <a:ext cx="2011680" cy="2011680"/>
                <a:chOff x="8877050" y="1905000"/>
                <a:chExt cx="2011680" cy="2011680"/>
              </a:xfrm>
            </p:grpSpPr>
            <p:sp>
              <p:nvSpPr>
                <p:cNvPr id="68" name="Rectangle 67"/>
                <p:cNvSpPr/>
                <p:nvPr/>
              </p:nvSpPr>
              <p:spPr bwMode="auto">
                <a:xfrm>
                  <a:off x="8877050"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SAN Migration</a:t>
                  </a:r>
                </a:p>
              </p:txBody>
            </p:sp>
            <p:pic>
              <p:nvPicPr>
                <p:cNvPr id="69" name="Picture 2"/>
                <p:cNvPicPr>
                  <a:picLocks noChangeAspect="1" noChangeArrowheads="1"/>
                </p:cNvPicPr>
                <p:nvPr/>
              </p:nvPicPr>
              <p:blipFill>
                <a:blip r:embed="rId10">
                  <a:extLst>
                    <a:ext uri="{28A0092B-C50C-407E-A947-70E740481C1C}">
                      <a14:useLocalDpi xmlns:a14="http://schemas.microsoft.com/office/drawing/2010/main" val="0"/>
                    </a:ext>
                  </a:extLst>
                </a:blip>
                <a:stretch>
                  <a:fillRect/>
                </a:stretch>
              </p:blipFill>
              <p:spPr bwMode="auto">
                <a:xfrm>
                  <a:off x="9003772" y="2087593"/>
                  <a:ext cx="1013736" cy="9049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0" name="TextBox 69"/>
                <p:cNvSpPr txBox="1"/>
                <p:nvPr/>
              </p:nvSpPr>
              <p:spPr>
                <a:xfrm>
                  <a:off x="10533215"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5</a:t>
                  </a:r>
                </a:p>
              </p:txBody>
            </p:sp>
          </p:grpSp>
          <p:grpSp>
            <p:nvGrpSpPr>
              <p:cNvPr id="30" name="Group 29"/>
              <p:cNvGrpSpPr/>
              <p:nvPr/>
            </p:nvGrpSpPr>
            <p:grpSpPr>
              <a:xfrm>
                <a:off x="6754833" y="1904999"/>
                <a:ext cx="2011680" cy="2011680"/>
                <a:chOff x="6752439" y="1905000"/>
                <a:chExt cx="2011680" cy="2011680"/>
              </a:xfrm>
            </p:grpSpPr>
            <p:sp>
              <p:nvSpPr>
                <p:cNvPr id="65" name="Rectangle 64"/>
                <p:cNvSpPr/>
                <p:nvPr/>
              </p:nvSpPr>
              <p:spPr bwMode="auto">
                <a:xfrm>
                  <a:off x="6752439"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Rapid Provisioning</a:t>
                  </a:r>
                  <a:br>
                    <a:rPr lang="en-US" sz="1500" dirty="0">
                      <a:gradFill>
                        <a:gsLst>
                          <a:gs pos="0">
                            <a:srgbClr val="FFFFFF"/>
                          </a:gs>
                          <a:gs pos="100000">
                            <a:srgbClr val="FFFFFF"/>
                          </a:gs>
                        </a:gsLst>
                        <a:lin ang="5400000" scaled="0"/>
                      </a:gradFill>
                    </a:rPr>
                  </a:br>
                  <a:r>
                    <a:rPr lang="en-US" sz="1500" dirty="0">
                      <a:gradFill>
                        <a:gsLst>
                          <a:gs pos="0">
                            <a:srgbClr val="FFFFFF"/>
                          </a:gs>
                          <a:gs pos="100000">
                            <a:srgbClr val="FFFFFF"/>
                          </a:gs>
                        </a:gsLst>
                        <a:lin ang="5400000" scaled="0"/>
                      </a:gradFill>
                    </a:rPr>
                    <a:t>  </a:t>
                  </a:r>
                </a:p>
              </p:txBody>
            </p:sp>
            <p:pic>
              <p:nvPicPr>
                <p:cNvPr id="66" name="Picture 174"/>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868882" y="2058656"/>
                  <a:ext cx="965199" cy="966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7" name="TextBox 66"/>
                <p:cNvSpPr txBox="1"/>
                <p:nvPr/>
              </p:nvSpPr>
              <p:spPr>
                <a:xfrm>
                  <a:off x="8418995"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4</a:t>
                  </a:r>
                </a:p>
              </p:txBody>
            </p:sp>
          </p:grpSp>
          <p:grpSp>
            <p:nvGrpSpPr>
              <p:cNvPr id="31" name="Group 30"/>
              <p:cNvGrpSpPr/>
              <p:nvPr/>
            </p:nvGrpSpPr>
            <p:grpSpPr>
              <a:xfrm>
                <a:off x="4630222" y="1904999"/>
                <a:ext cx="2011680" cy="2011680"/>
                <a:chOff x="4641528" y="1905000"/>
                <a:chExt cx="2011680" cy="2011680"/>
              </a:xfrm>
            </p:grpSpPr>
            <p:sp>
              <p:nvSpPr>
                <p:cNvPr id="62" name="Rectangle 61"/>
                <p:cNvSpPr/>
                <p:nvPr/>
              </p:nvSpPr>
              <p:spPr bwMode="auto">
                <a:xfrm>
                  <a:off x="4641528"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Allocation and Assignment</a:t>
                  </a:r>
                </a:p>
              </p:txBody>
            </p:sp>
            <p:pic>
              <p:nvPicPr>
                <p:cNvPr id="63" name="Picture 3"/>
                <p:cNvPicPr>
                  <a:picLocks noChangeAspect="1" noChangeArrowheads="1"/>
                </p:cNvPicPr>
                <p:nvPr>
                  <p:custDataLst>
                    <p:tags r:id="rId2"/>
                  </p:custDataLst>
                </p:nvPr>
              </p:nvPicPr>
              <p:blipFill>
                <a:blip r:embed="rId12" cstate="print">
                  <a:extLst>
                    <a:ext uri="{28A0092B-C50C-407E-A947-70E740481C1C}">
                      <a14:useLocalDpi xmlns:a14="http://schemas.microsoft.com/office/drawing/2010/main"/>
                    </a:ext>
                  </a:extLst>
                </a:blip>
                <a:srcRect/>
                <a:stretch>
                  <a:fillRect/>
                </a:stretch>
              </p:blipFill>
              <p:spPr bwMode="auto">
                <a:xfrm>
                  <a:off x="4751660" y="2024982"/>
                  <a:ext cx="679554" cy="984876"/>
                </a:xfrm>
                <a:prstGeom prst="rect">
                  <a:avLst/>
                </a:prstGeom>
                <a:solidFill>
                  <a:schemeClr val="accent1"/>
                </a:solidFill>
                <a:ln>
                  <a:noFill/>
                  <a:headEnd type="none" w="med" len="med"/>
                  <a:tailEnd type="none" w="med" len="med"/>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4" name="TextBox 63"/>
                <p:cNvSpPr txBox="1"/>
                <p:nvPr/>
              </p:nvSpPr>
              <p:spPr>
                <a:xfrm>
                  <a:off x="6312089"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3</a:t>
                  </a:r>
                </a:p>
              </p:txBody>
            </p:sp>
          </p:grpSp>
          <p:grpSp>
            <p:nvGrpSpPr>
              <p:cNvPr id="32" name="Group 31"/>
              <p:cNvGrpSpPr/>
              <p:nvPr/>
            </p:nvGrpSpPr>
            <p:grpSpPr>
              <a:xfrm>
                <a:off x="13128666" y="1904999"/>
                <a:ext cx="2011680" cy="2011680"/>
                <a:chOff x="13128666" y="1904999"/>
                <a:chExt cx="2011680" cy="2011680"/>
              </a:xfrm>
            </p:grpSpPr>
            <p:sp>
              <p:nvSpPr>
                <p:cNvPr id="59" name="Rectangle 58"/>
                <p:cNvSpPr/>
                <p:nvPr/>
              </p:nvSpPr>
              <p:spPr bwMode="auto">
                <a:xfrm>
                  <a:off x="13128666" y="1904999"/>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Cluster Storage Management</a:t>
                  </a:r>
                </a:p>
              </p:txBody>
            </p:sp>
            <p:pic>
              <p:nvPicPr>
                <p:cNvPr id="60" name="Picture 5"/>
                <p:cNvPicPr>
                  <a:picLocks noChangeArrowheads="1"/>
                </p:cNvPicPr>
                <p:nvPr/>
              </p:nvPicPr>
              <p:blipFill>
                <a:blip r:embed="rId13" cstate="print">
                  <a:extLst>
                    <a:ext uri="{28A0092B-C50C-407E-A947-70E740481C1C}">
                      <a14:useLocalDpi xmlns:a14="http://schemas.microsoft.com/office/drawing/2010/main" val="0"/>
                    </a:ext>
                  </a:extLst>
                </a:blip>
                <a:stretch>
                  <a:fillRect/>
                </a:stretch>
              </p:blipFill>
              <p:spPr bwMode="auto">
                <a:xfrm>
                  <a:off x="13247083" y="2034293"/>
                  <a:ext cx="884912" cy="9755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1" name="TextBox 60"/>
                <p:cNvSpPr txBox="1"/>
                <p:nvPr/>
              </p:nvSpPr>
              <p:spPr>
                <a:xfrm>
                  <a:off x="14789434" y="1904999"/>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7</a:t>
                  </a:r>
                </a:p>
              </p:txBody>
            </p:sp>
          </p:grpSp>
          <p:grpSp>
            <p:nvGrpSpPr>
              <p:cNvPr id="34" name="Group 33"/>
              <p:cNvGrpSpPr/>
              <p:nvPr/>
            </p:nvGrpSpPr>
            <p:grpSpPr>
              <a:xfrm>
                <a:off x="11004055" y="1904999"/>
                <a:ext cx="2011680" cy="2011680"/>
                <a:chOff x="11001661" y="1904999"/>
                <a:chExt cx="2011680" cy="2011680"/>
              </a:xfrm>
            </p:grpSpPr>
            <p:sp>
              <p:nvSpPr>
                <p:cNvPr id="56" name="Rectangle 55"/>
                <p:cNvSpPr/>
                <p:nvPr/>
              </p:nvSpPr>
              <p:spPr bwMode="auto">
                <a:xfrm>
                  <a:off x="11001661" y="1904999"/>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Array Onboarding</a:t>
                  </a:r>
                </a:p>
              </p:txBody>
            </p:sp>
            <p:pic>
              <p:nvPicPr>
                <p:cNvPr id="57" name="Picture 56"/>
                <p:cNvPicPr>
                  <a:picLocks noChangeAspect="1"/>
                </p:cNvPicPr>
                <p:nvPr>
                  <p:custDataLst>
                    <p:tags r:id="rId1"/>
                  </p:custDataLst>
                </p:nvPr>
              </p:nvPicPr>
              <p:blipFill>
                <a:blip r:embed="rId14">
                  <a:extLst>
                    <a:ext uri="{28A0092B-C50C-407E-A947-70E740481C1C}">
                      <a14:useLocalDpi xmlns:a14="http://schemas.microsoft.com/office/drawing/2010/main" val="0"/>
                    </a:ext>
                  </a:extLst>
                </a:blip>
                <a:stretch>
                  <a:fillRect/>
                </a:stretch>
              </p:blipFill>
              <p:spPr>
                <a:xfrm>
                  <a:off x="11123742" y="2105711"/>
                  <a:ext cx="883759" cy="875588"/>
                </a:xfrm>
                <a:prstGeom prst="rect">
                  <a:avLst/>
                </a:prstGeom>
                <a:effectLst/>
              </p:spPr>
            </p:pic>
            <p:sp>
              <p:nvSpPr>
                <p:cNvPr id="58" name="TextBox 57"/>
                <p:cNvSpPr txBox="1"/>
                <p:nvPr/>
              </p:nvSpPr>
              <p:spPr>
                <a:xfrm>
                  <a:off x="12657826" y="1904999"/>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6</a:t>
                  </a:r>
                </a:p>
              </p:txBody>
            </p:sp>
          </p:grpSp>
          <p:grpSp>
            <p:nvGrpSpPr>
              <p:cNvPr id="35" name="Group 34"/>
              <p:cNvGrpSpPr/>
              <p:nvPr/>
            </p:nvGrpSpPr>
            <p:grpSpPr>
              <a:xfrm>
                <a:off x="2505611" y="1904999"/>
                <a:ext cx="2011680" cy="2011680"/>
                <a:chOff x="2504440" y="1905000"/>
                <a:chExt cx="2011680" cy="2011680"/>
              </a:xfrm>
            </p:grpSpPr>
            <p:sp>
              <p:nvSpPr>
                <p:cNvPr id="53" name="Rectangle 52"/>
                <p:cNvSpPr/>
                <p:nvPr/>
              </p:nvSpPr>
              <p:spPr bwMode="auto">
                <a:xfrm>
                  <a:off x="2504440"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Storage Classification </a:t>
                  </a:r>
                </a:p>
              </p:txBody>
            </p:sp>
            <p:pic>
              <p:nvPicPr>
                <p:cNvPr id="54" name="Picture 53"/>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625747" y="2104845"/>
                  <a:ext cx="880541" cy="880541"/>
                </a:xfrm>
                <a:prstGeom prst="rect">
                  <a:avLst/>
                </a:prstGeom>
              </p:spPr>
            </p:pic>
            <p:sp>
              <p:nvSpPr>
                <p:cNvPr id="55" name="TextBox 54"/>
                <p:cNvSpPr txBox="1"/>
                <p:nvPr/>
              </p:nvSpPr>
              <p:spPr>
                <a:xfrm>
                  <a:off x="4170996"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2</a:t>
                  </a:r>
                </a:p>
              </p:txBody>
            </p:sp>
          </p:grpSp>
          <p:grpSp>
            <p:nvGrpSpPr>
              <p:cNvPr id="36" name="Group 35"/>
              <p:cNvGrpSpPr/>
              <p:nvPr/>
            </p:nvGrpSpPr>
            <p:grpSpPr>
              <a:xfrm>
                <a:off x="381000" y="1904999"/>
                <a:ext cx="2011680" cy="2011680"/>
                <a:chOff x="381000" y="1905000"/>
                <a:chExt cx="2011680" cy="2011680"/>
              </a:xfrm>
            </p:grpSpPr>
            <p:sp>
              <p:nvSpPr>
                <p:cNvPr id="50" name="Rectangle 49"/>
                <p:cNvSpPr/>
                <p:nvPr/>
              </p:nvSpPr>
              <p:spPr bwMode="auto">
                <a:xfrm>
                  <a:off x="381000"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End to End Mapping</a:t>
                  </a:r>
                </a:p>
              </p:txBody>
            </p:sp>
            <p:pic>
              <p:nvPicPr>
                <p:cNvPr id="51" name="Picture 4" descr="\\MAGNUM\Projects\Microsoft\Cloud Power FY12\Design\ICONS_PNG\Check_mark.png"/>
                <p:cNvPicPr>
                  <a:picLocks noChangeAspect="1" noChangeArrowheads="1"/>
                </p:cNvPicPr>
                <p:nvPr/>
              </p:nvPicPr>
              <p:blipFill rotWithShape="1">
                <a:blip r:embed="rId16" cstate="print">
                  <a:lum bright="100000"/>
                </a:blip>
                <a:srcRect t="11515"/>
                <a:stretch/>
              </p:blipFill>
              <p:spPr bwMode="auto">
                <a:xfrm>
                  <a:off x="411681" y="2024234"/>
                  <a:ext cx="1366401" cy="1209050"/>
                </a:xfrm>
                <a:prstGeom prst="rect">
                  <a:avLst/>
                </a:prstGeom>
                <a:noFill/>
              </p:spPr>
            </p:pic>
            <p:sp>
              <p:nvSpPr>
                <p:cNvPr id="52" name="TextBox 51"/>
                <p:cNvSpPr txBox="1"/>
                <p:nvPr/>
              </p:nvSpPr>
              <p:spPr>
                <a:xfrm>
                  <a:off x="2051561"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1</a:t>
                  </a:r>
                </a:p>
              </p:txBody>
            </p:sp>
          </p:grpSp>
          <p:grpSp>
            <p:nvGrpSpPr>
              <p:cNvPr id="37" name="Group of Crosshairs" hidden="1"/>
              <p:cNvGrpSpPr/>
              <p:nvPr/>
            </p:nvGrpSpPr>
            <p:grpSpPr>
              <a:xfrm>
                <a:off x="928053" y="2452052"/>
                <a:ext cx="24288292" cy="917575"/>
                <a:chOff x="928053" y="4429828"/>
                <a:chExt cx="24288292" cy="917575"/>
              </a:xfrm>
            </p:grpSpPr>
            <p:sp>
              <p:nvSpPr>
                <p:cNvPr id="38" name="Crosshair"/>
                <p:cNvSpPr>
                  <a:spLocks/>
                </p:cNvSpPr>
                <p:nvPr/>
              </p:nvSpPr>
              <p:spPr bwMode="auto">
                <a:xfrm>
                  <a:off x="928053"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9" name="Crosshair"/>
                <p:cNvSpPr>
                  <a:spLocks/>
                </p:cNvSpPr>
                <p:nvPr/>
              </p:nvSpPr>
              <p:spPr bwMode="auto">
                <a:xfrm>
                  <a:off x="3052664"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0" name="Crosshair"/>
                <p:cNvSpPr>
                  <a:spLocks/>
                </p:cNvSpPr>
                <p:nvPr/>
              </p:nvSpPr>
              <p:spPr bwMode="auto">
                <a:xfrm>
                  <a:off x="5177275"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1" name="Crosshair"/>
                <p:cNvSpPr>
                  <a:spLocks/>
                </p:cNvSpPr>
                <p:nvPr/>
              </p:nvSpPr>
              <p:spPr bwMode="auto">
                <a:xfrm>
                  <a:off x="7301886"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Crosshair"/>
                <p:cNvSpPr>
                  <a:spLocks/>
                </p:cNvSpPr>
                <p:nvPr/>
              </p:nvSpPr>
              <p:spPr bwMode="auto">
                <a:xfrm>
                  <a:off x="9426497"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Crosshair"/>
                <p:cNvSpPr>
                  <a:spLocks/>
                </p:cNvSpPr>
                <p:nvPr/>
              </p:nvSpPr>
              <p:spPr bwMode="auto">
                <a:xfrm>
                  <a:off x="11551108"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Crosshair"/>
                <p:cNvSpPr>
                  <a:spLocks/>
                </p:cNvSpPr>
                <p:nvPr/>
              </p:nvSpPr>
              <p:spPr bwMode="auto">
                <a:xfrm>
                  <a:off x="13675719"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Crosshair"/>
                <p:cNvSpPr>
                  <a:spLocks/>
                </p:cNvSpPr>
                <p:nvPr/>
              </p:nvSpPr>
              <p:spPr bwMode="auto">
                <a:xfrm>
                  <a:off x="15800330"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Crosshair"/>
                <p:cNvSpPr>
                  <a:spLocks/>
                </p:cNvSpPr>
                <p:nvPr/>
              </p:nvSpPr>
              <p:spPr bwMode="auto">
                <a:xfrm>
                  <a:off x="17924941"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Crosshair"/>
                <p:cNvSpPr>
                  <a:spLocks/>
                </p:cNvSpPr>
                <p:nvPr/>
              </p:nvSpPr>
              <p:spPr bwMode="auto">
                <a:xfrm>
                  <a:off x="20049552"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Crosshair"/>
                <p:cNvSpPr>
                  <a:spLocks/>
                </p:cNvSpPr>
                <p:nvPr/>
              </p:nvSpPr>
              <p:spPr bwMode="auto">
                <a:xfrm>
                  <a:off x="22174163"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Crosshair"/>
                <p:cNvSpPr>
                  <a:spLocks/>
                </p:cNvSpPr>
                <p:nvPr/>
              </p:nvSpPr>
              <p:spPr bwMode="auto">
                <a:xfrm>
                  <a:off x="24298770"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pic>
          <p:nvPicPr>
            <p:cNvPr id="92" name="Picture 4" descr="\\MAGNUM\Projects\Microsoft\Cloud Power FY12\Design\ICONS_PNG\Check_mark.png"/>
            <p:cNvPicPr>
              <a:picLocks noChangeArrowheads="1"/>
            </p:cNvPicPr>
            <p:nvPr/>
          </p:nvPicPr>
          <p:blipFill rotWithShape="1">
            <a:blip r:embed="rId16" cstate="print">
              <a:lum bright="100000"/>
            </a:blip>
            <a:srcRect t="11515"/>
            <a:stretch/>
          </p:blipFill>
          <p:spPr bwMode="auto">
            <a:xfrm>
              <a:off x="8879033" y="2160577"/>
              <a:ext cx="1118145" cy="1209050"/>
            </a:xfrm>
            <a:prstGeom prst="rect">
              <a:avLst/>
            </a:prstGeom>
            <a:noFill/>
          </p:spPr>
        </p:pic>
      </p:grpSp>
      <p:grpSp>
        <p:nvGrpSpPr>
          <p:cNvPr id="93" name="Group 92"/>
          <p:cNvGrpSpPr/>
          <p:nvPr/>
        </p:nvGrpSpPr>
        <p:grpSpPr>
          <a:xfrm>
            <a:off x="371683" y="1428749"/>
            <a:ext cx="2028898" cy="1508760"/>
            <a:chOff x="4764997" y="2057399"/>
            <a:chExt cx="2028898" cy="2011680"/>
          </a:xfrm>
          <a:solidFill>
            <a:schemeClr val="accent5"/>
          </a:solidFill>
        </p:grpSpPr>
        <p:sp>
          <p:nvSpPr>
            <p:cNvPr id="94" name="Rectangle 93"/>
            <p:cNvSpPr/>
            <p:nvPr/>
          </p:nvSpPr>
          <p:spPr bwMode="auto">
            <a:xfrm>
              <a:off x="4764997" y="2057399"/>
              <a:ext cx="2028898" cy="2011680"/>
            </a:xfrm>
            <a:prstGeom prst="rect">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Extensive Array Support </a:t>
              </a:r>
            </a:p>
          </p:txBody>
        </p:sp>
        <p:pic>
          <p:nvPicPr>
            <p:cNvPr id="95" name="Picture 7" descr="\\MAGNUM\Projects\Microsoft\Cloud Power FY12\Design\ICONS_PNG\Physical_Virtual.png"/>
            <p:cNvPicPr>
              <a:picLocks noChangeArrowheads="1"/>
            </p:cNvPicPr>
            <p:nvPr/>
          </p:nvPicPr>
          <p:blipFill rotWithShape="1">
            <a:blip r:embed="rId5" cstate="print">
              <a:extLst>
                <a:ext uri="{BEBA8EAE-BF5A-486C-A8C5-ECC9F3942E4B}">
                  <a14:imgProps xmlns:a14="http://schemas.microsoft.com/office/drawing/2010/main">
                    <a14:imgLayer r:embed="rId6">
                      <a14:imgEffect>
                        <a14:brightnessContrast bright="100000"/>
                      </a14:imgEffect>
                    </a14:imgLayer>
                  </a14:imgProps>
                </a:ext>
              </a:extLst>
            </a:blip>
            <a:srcRect l="7856" t="39072" r="7907" b="5885"/>
            <a:stretch/>
          </p:blipFill>
          <p:spPr bwMode="auto">
            <a:xfrm>
              <a:off x="4807259" y="2222740"/>
              <a:ext cx="1221042" cy="962205"/>
            </a:xfrm>
            <a:prstGeom prst="rect">
              <a:avLst/>
            </a:prstGeom>
            <a:grpFill/>
          </p:spPr>
        </p:pic>
        <p:sp>
          <p:nvSpPr>
            <p:cNvPr id="96" name="TextBox 95"/>
            <p:cNvSpPr txBox="1"/>
            <p:nvPr/>
          </p:nvSpPr>
          <p:spPr>
            <a:xfrm>
              <a:off x="6147432" y="2057399"/>
              <a:ext cx="488595" cy="615553"/>
            </a:xfrm>
            <a:prstGeom prst="rect">
              <a:avLst/>
            </a:prstGeom>
            <a:grpFill/>
          </p:spPr>
          <p:txBody>
            <a:bodyPr wrap="none" lIns="0" tIns="0" rIns="45720" bIns="0" rtlCol="0">
              <a:spAutoFit/>
            </a:bodyPr>
            <a:lstStyle/>
            <a:p>
              <a:r>
                <a:rPr lang="en-US" sz="3000" b="1" dirty="0">
                  <a:gradFill>
                    <a:gsLst>
                      <a:gs pos="0">
                        <a:schemeClr val="accent5">
                          <a:lumMod val="60000"/>
                          <a:lumOff val="40000"/>
                        </a:schemeClr>
                      </a:gs>
                      <a:gs pos="86000">
                        <a:schemeClr val="accent5">
                          <a:lumMod val="60000"/>
                          <a:lumOff val="40000"/>
                        </a:schemeClr>
                      </a:gs>
                    </a:gsLst>
                    <a:lin ang="5400000" scaled="0"/>
                  </a:gradFill>
                </a:rPr>
                <a:t>10</a:t>
              </a:r>
            </a:p>
          </p:txBody>
        </p:sp>
      </p:grpSp>
      <p:pic>
        <p:nvPicPr>
          <p:cNvPr id="87" name="Picture 2" descr="\\eventsql\dvd\Online_ART\DVD_ART36\Logos\System Center Virtual Machine Manager 2008 R2\system center virtual machine manager 2008 r2 h rev.png"/>
          <p:cNvPicPr>
            <a:picLocks noChangeAspect="1" noChangeArrowheads="1"/>
          </p:cNvPicPr>
          <p:nvPr/>
        </p:nvPicPr>
        <p:blipFill rotWithShape="1">
          <a:blip r:embed="rId17">
            <a:extLst>
              <a:ext uri="{28A0092B-C50C-407E-A947-70E740481C1C}">
                <a14:useLocalDpi xmlns:a14="http://schemas.microsoft.com/office/drawing/2010/main" val="0"/>
              </a:ext>
            </a:extLst>
          </a:blip>
          <a:srcRect r="16495"/>
          <a:stretch/>
        </p:blipFill>
        <p:spPr bwMode="auto">
          <a:xfrm>
            <a:off x="4300244" y="139992"/>
            <a:ext cx="3072835" cy="777872"/>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a:xfrm>
            <a:off x="389436" y="171451"/>
            <a:ext cx="8363938" cy="457049"/>
          </a:xfrm>
        </p:spPr>
        <p:txBody>
          <a:bodyPr/>
          <a:lstStyle/>
          <a:p>
            <a:r>
              <a:rPr lang="en-US" dirty="0"/>
              <a:t>The Fantastic 12 of</a:t>
            </a:r>
          </a:p>
        </p:txBody>
      </p:sp>
      <p:sp>
        <p:nvSpPr>
          <p:cNvPr id="84"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86"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8"/>
              </a:rPr>
              <a:t>www.rapidbbs.cn</a:t>
            </a:r>
            <a:endParaRPr lang="zh-CN" altLang="en-US" sz="1200" b="0">
              <a:latin typeface="Arial" charset="0"/>
              <a:ea typeface="ＭＳ Ｐゴシック" pitchFamily="34" charset="-128"/>
            </a:endParaRPr>
          </a:p>
        </p:txBody>
      </p:sp>
      <p:pic>
        <p:nvPicPr>
          <p:cNvPr id="88" name="Picture 2">
            <a:hlinkClick r:id="rId18"/>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1088648"/>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accel="50000" decel="50000" fill="hold" nodeType="afterEffect">
                                  <p:stCondLst>
                                    <p:cond delay="0"/>
                                  </p:stCondLst>
                                  <p:childTnLst>
                                    <p:animMotion origin="layout" path="M -5E-6 4.9711E-6 L -0.46441 -0.00024 " pathEditMode="relative" rAng="0" ptsTypes="AA">
                                      <p:cBhvr>
                                        <p:cTn id="6" dur="1000" fill="hold"/>
                                        <p:tgtEl>
                                          <p:spTgt spid="2"/>
                                        </p:tgtEl>
                                        <p:attrNameLst>
                                          <p:attrName>ppt_x</p:attrName>
                                          <p:attrName>ppt_y</p:attrName>
                                        </p:attrNameLst>
                                      </p:cBhvr>
                                      <p:rCtr x="-23212" y="-23"/>
                                    </p:animMotion>
                                  </p:childTnLst>
                                </p:cTn>
                              </p:par>
                            </p:childTnLst>
                          </p:cTn>
                        </p:par>
                        <p:par>
                          <p:cTn id="7" fill="hold">
                            <p:stCondLst>
                              <p:cond delay="1000"/>
                            </p:stCondLst>
                            <p:childTnLst>
                              <p:par>
                                <p:cTn id="8" presetID="22" presetClass="entr" presetSubtype="4" fill="hold" nodeType="afterEffect">
                                  <p:stCondLst>
                                    <p:cond delay="0"/>
                                  </p:stCondLst>
                                  <p:childTnLst>
                                    <p:set>
                                      <p:cBhvr>
                                        <p:cTn id="9" dur="1" fill="hold">
                                          <p:stCondLst>
                                            <p:cond delay="0"/>
                                          </p:stCondLst>
                                        </p:cTn>
                                        <p:tgtEl>
                                          <p:spTgt spid="93"/>
                                        </p:tgtEl>
                                        <p:attrNameLst>
                                          <p:attrName>style.visibility</p:attrName>
                                        </p:attrNameLst>
                                      </p:cBhvr>
                                      <p:to>
                                        <p:strVal val="visible"/>
                                      </p:to>
                                    </p:set>
                                    <p:animEffect transition="in" filter="wipe(down)">
                                      <p:cBhvr>
                                        <p:cTn id="10" dur="500"/>
                                        <p:tgtEl>
                                          <p:spTgt spid="93"/>
                                        </p:tgtEl>
                                      </p:cBhvr>
                                    </p:animEffect>
                                  </p:childTnLst>
                                </p:cTn>
                              </p:par>
                            </p:childTnLst>
                          </p:cTn>
                        </p:par>
                        <p:par>
                          <p:cTn id="11" fill="hold">
                            <p:stCondLst>
                              <p:cond delay="1500"/>
                            </p:stCondLst>
                            <p:childTnLst>
                              <p:par>
                                <p:cTn id="12" presetID="22" presetClass="entr" presetSubtype="4" fill="hold" nodeType="after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wipe(down)">
                                      <p:cBhvr>
                                        <p:cTn id="14" dur="500"/>
                                        <p:tgtEl>
                                          <p:spTgt spid="4"/>
                                        </p:tgtEl>
                                      </p:cBhvr>
                                    </p:animEffect>
                                  </p:childTnLst>
                                </p:cTn>
                              </p:par>
                              <p:par>
                                <p:cTn id="15" presetID="2" presetClass="entr" presetSubtype="2" decel="100000" fill="hold" grpId="0" nodeType="withEffect">
                                  <p:stCondLst>
                                    <p:cond delay="500"/>
                                  </p:stCondLst>
                                  <p:childTnLst>
                                    <p:set>
                                      <p:cBhvr>
                                        <p:cTn id="16" dur="1" fill="hold">
                                          <p:stCondLst>
                                            <p:cond delay="0"/>
                                          </p:stCondLst>
                                        </p:cTn>
                                        <p:tgtEl>
                                          <p:spTgt spid="89"/>
                                        </p:tgtEl>
                                        <p:attrNameLst>
                                          <p:attrName>style.visibility</p:attrName>
                                        </p:attrNameLst>
                                      </p:cBhvr>
                                      <p:to>
                                        <p:strVal val="visible"/>
                                      </p:to>
                                    </p:set>
                                    <p:anim calcmode="lin" valueType="num">
                                      <p:cBhvr additive="base">
                                        <p:cTn id="17" dur="1000" fill="hold"/>
                                        <p:tgtEl>
                                          <p:spTgt spid="89"/>
                                        </p:tgtEl>
                                        <p:attrNameLst>
                                          <p:attrName>ppt_x</p:attrName>
                                        </p:attrNameLst>
                                      </p:cBhvr>
                                      <p:tavLst>
                                        <p:tav tm="0">
                                          <p:val>
                                            <p:strVal val="1+#ppt_w/2"/>
                                          </p:val>
                                        </p:tav>
                                        <p:tav tm="100000">
                                          <p:val>
                                            <p:strVal val="#ppt_x"/>
                                          </p:val>
                                        </p:tav>
                                      </p:tavLst>
                                    </p:anim>
                                    <p:anim calcmode="lin" valueType="num">
                                      <p:cBhvr additive="base">
                                        <p:cTn id="18" dur="1000" fill="hold"/>
                                        <p:tgtEl>
                                          <p:spTgt spid="89"/>
                                        </p:tgtEl>
                                        <p:attrNameLst>
                                          <p:attrName>ppt_y</p:attrName>
                                        </p:attrNameLst>
                                      </p:cBhvr>
                                      <p:tavLst>
                                        <p:tav tm="0">
                                          <p:val>
                                            <p:strVal val="#ppt_y"/>
                                          </p:val>
                                        </p:tav>
                                        <p:tav tm="100000">
                                          <p:val>
                                            <p:strVal val="#ppt_y"/>
                                          </p:val>
                                        </p:tav>
                                      </p:tavLst>
                                    </p:anim>
                                  </p:childTnLst>
                                </p:cTn>
                              </p:par>
                              <p:par>
                                <p:cTn id="19" presetID="2" presetClass="entr" presetSubtype="2" decel="100000" fill="hold" grpId="0" nodeType="withEffect">
                                  <p:stCondLst>
                                    <p:cond delay="1000"/>
                                  </p:stCondLst>
                                  <p:childTnLst>
                                    <p:set>
                                      <p:cBhvr>
                                        <p:cTn id="20" dur="1" fill="hold">
                                          <p:stCondLst>
                                            <p:cond delay="0"/>
                                          </p:stCondLst>
                                        </p:cTn>
                                        <p:tgtEl>
                                          <p:spTgt spid="90"/>
                                        </p:tgtEl>
                                        <p:attrNameLst>
                                          <p:attrName>style.visibility</p:attrName>
                                        </p:attrNameLst>
                                      </p:cBhvr>
                                      <p:to>
                                        <p:strVal val="visible"/>
                                      </p:to>
                                    </p:set>
                                    <p:anim calcmode="lin" valueType="num">
                                      <p:cBhvr additive="base">
                                        <p:cTn id="21" dur="1000" fill="hold"/>
                                        <p:tgtEl>
                                          <p:spTgt spid="90"/>
                                        </p:tgtEl>
                                        <p:attrNameLst>
                                          <p:attrName>ppt_x</p:attrName>
                                        </p:attrNameLst>
                                      </p:cBhvr>
                                      <p:tavLst>
                                        <p:tav tm="0">
                                          <p:val>
                                            <p:strVal val="1+#ppt_w/2"/>
                                          </p:val>
                                        </p:tav>
                                        <p:tav tm="100000">
                                          <p:val>
                                            <p:strVal val="#ppt_x"/>
                                          </p:val>
                                        </p:tav>
                                      </p:tavLst>
                                    </p:anim>
                                    <p:anim calcmode="lin" valueType="num">
                                      <p:cBhvr additive="base">
                                        <p:cTn id="22" dur="1000" fill="hold"/>
                                        <p:tgtEl>
                                          <p:spTgt spid="90"/>
                                        </p:tgtEl>
                                        <p:attrNameLst>
                                          <p:attrName>ppt_y</p:attrName>
                                        </p:attrNameLst>
                                      </p:cBhvr>
                                      <p:tavLst>
                                        <p:tav tm="0">
                                          <p:val>
                                            <p:strVal val="#ppt_y"/>
                                          </p:val>
                                        </p:tav>
                                        <p:tav tm="100000">
                                          <p:val>
                                            <p:strVal val="#ppt_y"/>
                                          </p:val>
                                        </p:tav>
                                      </p:tavLst>
                                    </p:anim>
                                  </p:childTnLst>
                                </p:cTn>
                              </p:par>
                              <p:par>
                                <p:cTn id="23" presetID="2" presetClass="entr" presetSubtype="2" decel="100000" fill="hold" grpId="0" nodeType="withEffect">
                                  <p:stCondLst>
                                    <p:cond delay="1500"/>
                                  </p:stCondLst>
                                  <p:childTnLst>
                                    <p:set>
                                      <p:cBhvr>
                                        <p:cTn id="24" dur="1" fill="hold">
                                          <p:stCondLst>
                                            <p:cond delay="0"/>
                                          </p:stCondLst>
                                        </p:cTn>
                                        <p:tgtEl>
                                          <p:spTgt spid="91"/>
                                        </p:tgtEl>
                                        <p:attrNameLst>
                                          <p:attrName>style.visibility</p:attrName>
                                        </p:attrNameLst>
                                      </p:cBhvr>
                                      <p:to>
                                        <p:strVal val="visible"/>
                                      </p:to>
                                    </p:set>
                                    <p:anim calcmode="lin" valueType="num">
                                      <p:cBhvr additive="base">
                                        <p:cTn id="25" dur="1000" fill="hold"/>
                                        <p:tgtEl>
                                          <p:spTgt spid="91"/>
                                        </p:tgtEl>
                                        <p:attrNameLst>
                                          <p:attrName>ppt_x</p:attrName>
                                        </p:attrNameLst>
                                      </p:cBhvr>
                                      <p:tavLst>
                                        <p:tav tm="0">
                                          <p:val>
                                            <p:strVal val="1+#ppt_w/2"/>
                                          </p:val>
                                        </p:tav>
                                        <p:tav tm="100000">
                                          <p:val>
                                            <p:strVal val="#ppt_x"/>
                                          </p:val>
                                        </p:tav>
                                      </p:tavLst>
                                    </p:anim>
                                    <p:anim calcmode="lin" valueType="num">
                                      <p:cBhvr additive="base">
                                        <p:cTn id="26" dur="1000" fill="hold"/>
                                        <p:tgtEl>
                                          <p:spTgt spid="9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animBg="1"/>
      <p:bldP spid="90" grpId="0" animBg="1"/>
      <p:bldP spid="91"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6"/>
            <a:ext cx="8363938" cy="457049"/>
          </a:xfrm>
        </p:spPr>
        <p:txBody>
          <a:bodyPr/>
          <a:lstStyle/>
          <a:p>
            <a:r>
              <a:rPr lang="en-US" dirty="0" smtClean="0">
                <a:solidFill>
                  <a:schemeClr val="tx1">
                    <a:lumMod val="85000"/>
                  </a:schemeClr>
                </a:solidFill>
                <a:latin typeface="Segoe UI" pitchFamily="34" charset="0"/>
                <a:ea typeface="Segoe UI" pitchFamily="34" charset="0"/>
                <a:cs typeface="Segoe UI" pitchFamily="34" charset="0"/>
              </a:rPr>
              <a:t>New platform/new applications</a:t>
            </a:r>
            <a:endParaRPr lang="en-US" dirty="0">
              <a:solidFill>
                <a:schemeClr val="tx1">
                  <a:lumMod val="85000"/>
                </a:schemeClr>
              </a:solidFill>
              <a:latin typeface="Segoe UI" pitchFamily="34" charset="0"/>
              <a:ea typeface="Segoe UI" pitchFamily="34" charset="0"/>
              <a:cs typeface="Segoe UI" pitchFamily="34" charset="0"/>
            </a:endParaRPr>
          </a:p>
        </p:txBody>
      </p:sp>
      <p:sp>
        <p:nvSpPr>
          <p:cNvPr id="7" name="TextBox 6"/>
          <p:cNvSpPr txBox="1"/>
          <p:nvPr/>
        </p:nvSpPr>
        <p:spPr>
          <a:xfrm>
            <a:off x="423254" y="619680"/>
            <a:ext cx="2615435" cy="346249"/>
          </a:xfrm>
          <a:prstGeom prst="rect">
            <a:avLst/>
          </a:prstGeom>
          <a:noFill/>
        </p:spPr>
        <p:txBody>
          <a:bodyPr wrap="none" lIns="68571" tIns="34286" rIns="68571" bIns="34286" rtlCol="0">
            <a:spAutoFit/>
          </a:bodyPr>
          <a:lstStyle/>
          <a:p>
            <a:pPr defTabSz="685693"/>
            <a:r>
              <a:rPr lang="en-US" sz="1800" dirty="0">
                <a:solidFill>
                  <a:srgbClr val="949699"/>
                </a:solidFill>
                <a:latin typeface="+mj-lt"/>
                <a:ea typeface="Verdana" pitchFamily="34" charset="0"/>
                <a:cs typeface="Verdana" pitchFamily="34" charset="0"/>
              </a:rPr>
              <a:t>Scheduling a service call</a:t>
            </a:r>
          </a:p>
        </p:txBody>
      </p:sp>
      <p:grpSp>
        <p:nvGrpSpPr>
          <p:cNvPr id="2057" name="Group 2056"/>
          <p:cNvGrpSpPr/>
          <p:nvPr/>
        </p:nvGrpSpPr>
        <p:grpSpPr>
          <a:xfrm>
            <a:off x="6231457" y="1076938"/>
            <a:ext cx="2760881" cy="3075398"/>
            <a:chOff x="11145717" y="1476942"/>
            <a:chExt cx="3680216" cy="4100531"/>
          </a:xfrm>
        </p:grpSpPr>
        <p:sp>
          <p:nvSpPr>
            <p:cNvPr id="2054" name="Rectangle 2053"/>
            <p:cNvSpPr/>
            <p:nvPr>
              <p:custDataLst>
                <p:tags r:id="rId4"/>
              </p:custDataLst>
            </p:nvPr>
          </p:nvSpPr>
          <p:spPr bwMode="auto">
            <a:xfrm>
              <a:off x="11145717" y="1476942"/>
              <a:ext cx="3680216" cy="4100531"/>
            </a:xfrm>
            <a:prstGeom prst="rect">
              <a:avLst/>
            </a:prstGeom>
            <a:solidFill>
              <a:srgbClr val="FF8C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0" tIns="45720" rIns="68580" bIns="45720" numCol="1" rtlCol="0" anchor="b" anchorCtr="0" compatLnSpc="1">
              <a:prstTxWarp prst="textNoShape">
                <a:avLst/>
              </a:prstTxWarp>
            </a:bodyPr>
            <a:lstStyle/>
            <a:p>
              <a:pPr defTabSz="685495"/>
              <a:endParaRPr lang="en-US" sz="1100" dirty="0">
                <a:solidFill>
                  <a:srgbClr val="000000">
                    <a:alpha val="98824"/>
                  </a:srgbClr>
                </a:solidFill>
                <a:latin typeface="Segoe UI" pitchFamily="34" charset="0"/>
                <a:ea typeface="Segoe UI" pitchFamily="34" charset="0"/>
                <a:cs typeface="Segoe UI" pitchFamily="34" charset="0"/>
              </a:endParaRPr>
            </a:p>
          </p:txBody>
        </p:sp>
        <p:pic>
          <p:nvPicPr>
            <p:cNvPr id="2080" name="Picture 32" descr="C:\Users\v-jtobey.REDMOND\AppData\Local\MetroStyleAddIn\Icons\Cloud (1).wmf"/>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3691349" y="3393474"/>
              <a:ext cx="1018396" cy="826476"/>
            </a:xfrm>
            <a:prstGeom prst="rect">
              <a:avLst/>
            </a:prstGeom>
            <a:noFill/>
            <a:extLst>
              <a:ext uri="{909E8E84-426E-40DD-AFC4-6F175D3DCCD1}">
                <a14:hiddenFill xmlns:a14="http://schemas.microsoft.com/office/drawing/2010/main">
                  <a:solidFill>
                    <a:srgbClr val="FFFFFF"/>
                  </a:solidFill>
                </a14:hiddenFill>
              </a:ext>
            </a:extLst>
          </p:spPr>
        </p:pic>
        <p:sp>
          <p:nvSpPr>
            <p:cNvPr id="2053" name="TextBox 2052"/>
            <p:cNvSpPr txBox="1"/>
            <p:nvPr/>
          </p:nvSpPr>
          <p:spPr>
            <a:xfrm>
              <a:off x="13011172" y="3609602"/>
              <a:ext cx="1784474" cy="689420"/>
            </a:xfrm>
            <a:prstGeom prst="rect">
              <a:avLst/>
            </a:prstGeom>
            <a:noFill/>
          </p:spPr>
          <p:txBody>
            <a:bodyPr wrap="square" lIns="91440" tIns="91440" rIns="91440" bIns="91440" rtlCol="0">
              <a:spAutoFit/>
            </a:bodyPr>
            <a:lstStyle/>
            <a:p>
              <a:pPr>
                <a:lnSpc>
                  <a:spcPct val="90000"/>
                </a:lnSpc>
                <a:spcBef>
                  <a:spcPct val="20000"/>
                </a:spcBef>
                <a:buSzPct val="90000"/>
              </a:pPr>
              <a:r>
                <a:rPr lang="en-US" sz="1200" dirty="0">
                  <a:solidFill>
                    <a:schemeClr val="bg1">
                      <a:alpha val="99000"/>
                    </a:schemeClr>
                  </a:solidFill>
                </a:rPr>
                <a:t>On-premises cloud</a:t>
              </a:r>
            </a:p>
          </p:txBody>
        </p:sp>
        <p:pic>
          <p:nvPicPr>
            <p:cNvPr id="2081" name="Picture 33" descr="C:\Users\v-jtobey.REDMOND\AppData\Local\MetroStyleAddIn\Icons\Computing.wmf"/>
            <p:cNvPicPr>
              <a:picLocks noChangeAspect="1" noChangeArrowheads="1"/>
            </p:cNvPicPr>
            <p:nvPr>
              <p:custDataLst>
                <p:tags r:id="rId5"/>
              </p:custDataLst>
            </p:nvPr>
          </p:nvPicPr>
          <p:blipFill>
            <a:blip r:embed="rId12">
              <a:extLst>
                <a:ext uri="{28A0092B-C50C-407E-A947-70E740481C1C}">
                  <a14:useLocalDpi xmlns:a14="http://schemas.microsoft.com/office/drawing/2010/main" val="0"/>
                </a:ext>
              </a:extLst>
            </a:blip>
            <a:srcRect t="7580" b="7580"/>
            <a:stretch>
              <a:fillRect/>
            </a:stretch>
          </p:blipFill>
          <p:spPr bwMode="auto">
            <a:xfrm>
              <a:off x="13958347" y="4459910"/>
              <a:ext cx="650965" cy="650970"/>
            </a:xfrm>
            <a:prstGeom prst="rect">
              <a:avLst/>
            </a:prstGeom>
            <a:noFill/>
            <a:extLst>
              <a:ext uri="{909E8E84-426E-40DD-AFC4-6F175D3DCCD1}">
                <a14:hiddenFill xmlns:a14="http://schemas.microsoft.com/office/drawing/2010/main">
                  <a:solidFill>
                    <a:srgbClr val="FFFFFF"/>
                  </a:solidFill>
                </a14:hiddenFill>
              </a:ext>
            </a:extLst>
          </p:spPr>
        </p:pic>
        <p:sp>
          <p:nvSpPr>
            <p:cNvPr id="86" name="Rectangle 85"/>
            <p:cNvSpPr/>
            <p:nvPr>
              <p:custDataLst>
                <p:tags r:id="rId6"/>
              </p:custDataLst>
            </p:nvPr>
          </p:nvSpPr>
          <p:spPr bwMode="auto">
            <a:xfrm>
              <a:off x="11256985" y="3354972"/>
              <a:ext cx="1524000" cy="995252"/>
            </a:xfrm>
            <a:prstGeom prst="rect">
              <a:avLst/>
            </a:prstGeom>
            <a:solidFill>
              <a:srgbClr val="BAD80A"/>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0" tIns="45720" rIns="68580" bIns="45720" numCol="1" rtlCol="0" anchor="b" anchorCtr="0" compatLnSpc="1">
              <a:prstTxWarp prst="textNoShape">
                <a:avLst/>
              </a:prstTxWarp>
            </a:bodyPr>
            <a:lstStyle/>
            <a:p>
              <a:pPr defTabSz="685495"/>
              <a:r>
                <a:rPr lang="en-US" sz="1100" dirty="0">
                  <a:solidFill>
                    <a:srgbClr val="000000">
                      <a:alpha val="98824"/>
                    </a:srgbClr>
                  </a:solidFill>
                  <a:latin typeface="Segoe UI" pitchFamily="34" charset="0"/>
                  <a:ea typeface="Segoe UI" pitchFamily="34" charset="0"/>
                  <a:cs typeface="Segoe UI" pitchFamily="34" charset="0"/>
                </a:rPr>
                <a:t>Event processing Alert Generation</a:t>
              </a:r>
            </a:p>
          </p:txBody>
        </p:sp>
        <p:sp>
          <p:nvSpPr>
            <p:cNvPr id="87" name="Rectangle 86"/>
            <p:cNvSpPr/>
            <p:nvPr>
              <p:custDataLst>
                <p:tags r:id="rId7"/>
              </p:custDataLst>
            </p:nvPr>
          </p:nvSpPr>
          <p:spPr bwMode="auto">
            <a:xfrm>
              <a:off x="11276012" y="4444025"/>
              <a:ext cx="1524000" cy="1060076"/>
            </a:xfrm>
            <a:prstGeom prst="rect">
              <a:avLst/>
            </a:prstGeom>
            <a:solidFill>
              <a:srgbClr val="BAD80A"/>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0" tIns="45720" rIns="68580" bIns="45720" numCol="1" rtlCol="0" anchor="b" anchorCtr="0" compatLnSpc="1">
              <a:prstTxWarp prst="textNoShape">
                <a:avLst/>
              </a:prstTxWarp>
            </a:bodyPr>
            <a:lstStyle/>
            <a:p>
              <a:pPr defTabSz="685495"/>
              <a:r>
                <a:rPr lang="en-US" sz="1100" dirty="0">
                  <a:solidFill>
                    <a:srgbClr val="000000">
                      <a:alpha val="98824"/>
                    </a:srgbClr>
                  </a:solidFill>
                  <a:latin typeface="Segoe UI" pitchFamily="34" charset="0"/>
                  <a:ea typeface="Segoe UI" pitchFamily="34" charset="0"/>
                  <a:cs typeface="Segoe UI" pitchFamily="34" charset="0"/>
                </a:rPr>
                <a:t>Analysis: Near real-time + historic processing</a:t>
              </a:r>
            </a:p>
          </p:txBody>
        </p:sp>
        <p:sp>
          <p:nvSpPr>
            <p:cNvPr id="88" name="Rectangle 87"/>
            <p:cNvSpPr/>
            <p:nvPr>
              <p:custDataLst>
                <p:tags r:id="rId8"/>
              </p:custDataLst>
            </p:nvPr>
          </p:nvSpPr>
          <p:spPr bwMode="auto">
            <a:xfrm>
              <a:off x="11256985" y="2250414"/>
              <a:ext cx="1524000" cy="1030757"/>
            </a:xfrm>
            <a:prstGeom prst="rect">
              <a:avLst/>
            </a:prstGeom>
            <a:solidFill>
              <a:srgbClr val="BAD80A"/>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0" tIns="45720" rIns="68580" bIns="45720" numCol="1" rtlCol="0" anchor="b" anchorCtr="0" compatLnSpc="1">
              <a:prstTxWarp prst="textNoShape">
                <a:avLst/>
              </a:prstTxWarp>
            </a:bodyPr>
            <a:lstStyle/>
            <a:p>
              <a:pPr defTabSz="685495"/>
              <a:r>
                <a:rPr lang="en-US" sz="1100" dirty="0">
                  <a:solidFill>
                    <a:srgbClr val="000000">
                      <a:alpha val="98824"/>
                    </a:srgbClr>
                  </a:solidFill>
                  <a:latin typeface="Segoe UI" pitchFamily="34" charset="0"/>
                  <a:ea typeface="Segoe UI" pitchFamily="34" charset="0"/>
                  <a:cs typeface="Segoe UI" pitchFamily="34" charset="0"/>
                </a:rPr>
                <a:t>Fleet scheduling</a:t>
              </a:r>
            </a:p>
          </p:txBody>
        </p:sp>
        <p:sp>
          <p:nvSpPr>
            <p:cNvPr id="89" name="TextBox 88"/>
            <p:cNvSpPr txBox="1"/>
            <p:nvPr/>
          </p:nvSpPr>
          <p:spPr>
            <a:xfrm>
              <a:off x="13011172" y="4686488"/>
              <a:ext cx="1469905" cy="467820"/>
            </a:xfrm>
            <a:prstGeom prst="rect">
              <a:avLst/>
            </a:prstGeom>
            <a:noFill/>
          </p:spPr>
          <p:txBody>
            <a:bodyPr wrap="square" lIns="91440" tIns="91440" rIns="91440" bIns="91440" rtlCol="0">
              <a:spAutoFit/>
            </a:bodyPr>
            <a:lstStyle/>
            <a:p>
              <a:pPr>
                <a:lnSpc>
                  <a:spcPct val="90000"/>
                </a:lnSpc>
                <a:spcBef>
                  <a:spcPct val="20000"/>
                </a:spcBef>
                <a:buSzPct val="90000"/>
              </a:pPr>
              <a:r>
                <a:rPr lang="en-US" sz="1200" dirty="0">
                  <a:solidFill>
                    <a:schemeClr val="bg1">
                      <a:alpha val="99000"/>
                    </a:schemeClr>
                  </a:solidFill>
                </a:rPr>
                <a:t>Analysts</a:t>
              </a:r>
            </a:p>
          </p:txBody>
        </p:sp>
        <p:pic>
          <p:nvPicPr>
            <p:cNvPr id="2082" name="Picture 34" descr="C:\Users\v-jtobey.REDMOND\AppData\Local\MetroStyleAddIn\Icons\Office.wmf"/>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3958347" y="2247216"/>
              <a:ext cx="615905" cy="999132"/>
            </a:xfrm>
            <a:prstGeom prst="rect">
              <a:avLst/>
            </a:prstGeom>
            <a:noFill/>
            <a:extLst>
              <a:ext uri="{909E8E84-426E-40DD-AFC4-6F175D3DCCD1}">
                <a14:hiddenFill xmlns:a14="http://schemas.microsoft.com/office/drawing/2010/main">
                  <a:solidFill>
                    <a:srgbClr val="FFFFFF"/>
                  </a:solidFill>
                </a14:hiddenFill>
              </a:ext>
            </a:extLst>
          </p:spPr>
        </p:pic>
        <p:sp>
          <p:nvSpPr>
            <p:cNvPr id="91" name="TextBox 90"/>
            <p:cNvSpPr txBox="1"/>
            <p:nvPr/>
          </p:nvSpPr>
          <p:spPr>
            <a:xfrm>
              <a:off x="13021196" y="2477937"/>
              <a:ext cx="937149" cy="911019"/>
            </a:xfrm>
            <a:prstGeom prst="rect">
              <a:avLst/>
            </a:prstGeom>
            <a:noFill/>
          </p:spPr>
          <p:txBody>
            <a:bodyPr wrap="square" lIns="91440" tIns="91440" rIns="91440" bIns="91440" rtlCol="0">
              <a:spAutoFit/>
            </a:bodyPr>
            <a:lstStyle/>
            <a:p>
              <a:pPr>
                <a:lnSpc>
                  <a:spcPct val="90000"/>
                </a:lnSpc>
                <a:spcBef>
                  <a:spcPct val="20000"/>
                </a:spcBef>
                <a:buSzPct val="90000"/>
              </a:pPr>
              <a:r>
                <a:rPr lang="en-US" sz="1200" dirty="0">
                  <a:solidFill>
                    <a:schemeClr val="bg1">
                      <a:alpha val="99000"/>
                    </a:schemeClr>
                  </a:solidFill>
                </a:rPr>
                <a:t>Brick and Mortar</a:t>
              </a:r>
            </a:p>
          </p:txBody>
        </p:sp>
      </p:grpSp>
      <p:grpSp>
        <p:nvGrpSpPr>
          <p:cNvPr id="2065" name="Group 2064"/>
          <p:cNvGrpSpPr/>
          <p:nvPr/>
        </p:nvGrpSpPr>
        <p:grpSpPr>
          <a:xfrm>
            <a:off x="2440628" y="1138733"/>
            <a:ext cx="2763312" cy="3075398"/>
            <a:chOff x="6438884" y="2143513"/>
            <a:chExt cx="3683457" cy="4100531"/>
          </a:xfrm>
        </p:grpSpPr>
        <p:sp>
          <p:nvSpPr>
            <p:cNvPr id="96" name="Rectangle 95"/>
            <p:cNvSpPr/>
            <p:nvPr>
              <p:custDataLst>
                <p:tags r:id="rId2"/>
              </p:custDataLst>
            </p:nvPr>
          </p:nvSpPr>
          <p:spPr bwMode="auto">
            <a:xfrm>
              <a:off x="6438884" y="2143513"/>
              <a:ext cx="3683457" cy="4100531"/>
            </a:xfrm>
            <a:prstGeom prst="rect">
              <a:avLst/>
            </a:prstGeom>
            <a:solidFill>
              <a:srgbClr val="68217A"/>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0" tIns="45720" rIns="68580" bIns="45720" numCol="1" rtlCol="0" anchor="b" anchorCtr="0" compatLnSpc="1">
              <a:prstTxWarp prst="textNoShape">
                <a:avLst/>
              </a:prstTxWarp>
            </a:bodyPr>
            <a:lstStyle/>
            <a:p>
              <a:pPr defTabSz="685495"/>
              <a:endParaRPr lang="en-US" sz="1100" dirty="0">
                <a:solidFill>
                  <a:srgbClr val="FFFFFF">
                    <a:alpha val="98824"/>
                  </a:srgbClr>
                </a:solidFill>
                <a:latin typeface="Segoe UI" pitchFamily="34" charset="0"/>
                <a:ea typeface="Segoe UI" pitchFamily="34" charset="0"/>
                <a:cs typeface="Segoe UI" pitchFamily="34" charset="0"/>
              </a:endParaRPr>
            </a:p>
          </p:txBody>
        </p:sp>
        <p:grpSp>
          <p:nvGrpSpPr>
            <p:cNvPr id="2064" name="Group 2063"/>
            <p:cNvGrpSpPr/>
            <p:nvPr/>
          </p:nvGrpSpPr>
          <p:grpSpPr>
            <a:xfrm>
              <a:off x="6538262" y="3744752"/>
              <a:ext cx="3549282" cy="2434329"/>
              <a:chOff x="6538262" y="3744752"/>
              <a:chExt cx="3549282" cy="2434329"/>
            </a:xfrm>
          </p:grpSpPr>
          <p:pic>
            <p:nvPicPr>
              <p:cNvPr id="2086" name="Picture 38" descr="C:\Users\v-jtobey.REDMOND\AppData\Local\MetroStyleAddIn\Icons\Device 1.wmf"/>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035095" y="5099992"/>
                <a:ext cx="810861" cy="756985"/>
              </a:xfrm>
              <a:prstGeom prst="rect">
                <a:avLst/>
              </a:prstGeom>
              <a:noFill/>
              <a:extLst>
                <a:ext uri="{909E8E84-426E-40DD-AFC4-6F175D3DCCD1}">
                  <a14:hiddenFill xmlns:a14="http://schemas.microsoft.com/office/drawing/2010/main">
                    <a:solidFill>
                      <a:srgbClr val="FFFFFF"/>
                    </a:solidFill>
                  </a14:hiddenFill>
                </a:ext>
              </a:extLst>
            </p:spPr>
          </p:pic>
          <p:sp>
            <p:nvSpPr>
              <p:cNvPr id="101" name="TextBox 100"/>
              <p:cNvSpPr txBox="1"/>
              <p:nvPr/>
            </p:nvSpPr>
            <p:spPr>
              <a:xfrm>
                <a:off x="8182044" y="5154684"/>
                <a:ext cx="1159127" cy="689420"/>
              </a:xfrm>
              <a:prstGeom prst="rect">
                <a:avLst/>
              </a:prstGeom>
              <a:noFill/>
            </p:spPr>
            <p:txBody>
              <a:bodyPr wrap="square" lIns="91440" tIns="91440" rIns="91440" bIns="91440" rtlCol="0">
                <a:spAutoFit/>
              </a:bodyPr>
              <a:lstStyle/>
              <a:p>
                <a:pPr>
                  <a:lnSpc>
                    <a:spcPct val="90000"/>
                  </a:lnSpc>
                  <a:spcBef>
                    <a:spcPct val="20000"/>
                  </a:spcBef>
                  <a:buSzPct val="90000"/>
                </a:pPr>
                <a:r>
                  <a:rPr lang="en-US" sz="1200" dirty="0">
                    <a:solidFill>
                      <a:schemeClr val="tx1">
                        <a:alpha val="99000"/>
                      </a:schemeClr>
                    </a:solidFill>
                  </a:rPr>
                  <a:t>Embedded Mobile</a:t>
                </a:r>
              </a:p>
            </p:txBody>
          </p:sp>
          <p:pic>
            <p:nvPicPr>
              <p:cNvPr id="2087" name="Picture 39" descr="C:\Users\v-jtobey.REDMOND\AppData\Local\MetroStyleAddIn\Icons\Data Download.wmf"/>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988743" y="3744752"/>
                <a:ext cx="1098801" cy="941829"/>
              </a:xfrm>
              <a:prstGeom prst="rect">
                <a:avLst/>
              </a:prstGeom>
              <a:noFill/>
              <a:extLst>
                <a:ext uri="{909E8E84-426E-40DD-AFC4-6F175D3DCCD1}">
                  <a14:hiddenFill xmlns:a14="http://schemas.microsoft.com/office/drawing/2010/main">
                    <a:solidFill>
                      <a:srgbClr val="FFFFFF"/>
                    </a:solidFill>
                  </a14:hiddenFill>
                </a:ext>
              </a:extLst>
            </p:spPr>
          </p:pic>
          <p:sp>
            <p:nvSpPr>
              <p:cNvPr id="2062" name="Rectangle 2061"/>
              <p:cNvSpPr/>
              <p:nvPr>
                <p:custDataLst>
                  <p:tags r:id="rId3"/>
                </p:custDataLst>
              </p:nvPr>
            </p:nvSpPr>
            <p:spPr bwMode="auto">
              <a:xfrm>
                <a:off x="6538262" y="4655081"/>
                <a:ext cx="1524000" cy="1524000"/>
              </a:xfrm>
              <a:prstGeom prst="rect">
                <a:avLst/>
              </a:prstGeom>
              <a:solidFill>
                <a:srgbClr val="00B29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0" tIns="45720" rIns="68580" bIns="45720" numCol="1" rtlCol="0" anchor="b" anchorCtr="0" compatLnSpc="1">
                <a:prstTxWarp prst="textNoShape">
                  <a:avLst/>
                </a:prstTxWarp>
              </a:bodyPr>
              <a:lstStyle/>
              <a:p>
                <a:pPr defTabSz="685495"/>
                <a:r>
                  <a:rPr lang="en-US" sz="1100" dirty="0">
                    <a:solidFill>
                      <a:srgbClr val="000000">
                        <a:alpha val="98824"/>
                      </a:srgbClr>
                    </a:solidFill>
                    <a:latin typeface="Segoe UI" pitchFamily="34" charset="0"/>
                    <a:ea typeface="Segoe UI" pitchFamily="34" charset="0"/>
                    <a:cs typeface="Segoe UI" pitchFamily="34" charset="0"/>
                  </a:rPr>
                  <a:t>Appointment  &amp; notification service</a:t>
                </a:r>
              </a:p>
            </p:txBody>
          </p:sp>
          <p:sp>
            <p:nvSpPr>
              <p:cNvPr id="107" name="TextBox 106"/>
              <p:cNvSpPr txBox="1"/>
              <p:nvPr/>
            </p:nvSpPr>
            <p:spPr>
              <a:xfrm>
                <a:off x="8166843" y="4144016"/>
                <a:ext cx="1159127" cy="689420"/>
              </a:xfrm>
              <a:prstGeom prst="rect">
                <a:avLst/>
              </a:prstGeom>
              <a:noFill/>
            </p:spPr>
            <p:txBody>
              <a:bodyPr wrap="square" lIns="91440" tIns="91440" rIns="91440" bIns="91440" rtlCol="0">
                <a:spAutoFit/>
              </a:bodyPr>
              <a:lstStyle/>
              <a:p>
                <a:pPr>
                  <a:lnSpc>
                    <a:spcPct val="90000"/>
                  </a:lnSpc>
                  <a:spcBef>
                    <a:spcPct val="20000"/>
                  </a:spcBef>
                  <a:buSzPct val="90000"/>
                </a:pPr>
                <a:r>
                  <a:rPr lang="en-US" sz="1200" dirty="0">
                    <a:solidFill>
                      <a:schemeClr val="tx1">
                        <a:alpha val="99000"/>
                      </a:schemeClr>
                    </a:solidFill>
                  </a:rPr>
                  <a:t>Public cloud</a:t>
                </a:r>
              </a:p>
            </p:txBody>
          </p:sp>
        </p:grpSp>
      </p:grpSp>
      <p:grpSp>
        <p:nvGrpSpPr>
          <p:cNvPr id="2066" name="Group 2065"/>
          <p:cNvGrpSpPr/>
          <p:nvPr/>
        </p:nvGrpSpPr>
        <p:grpSpPr>
          <a:xfrm>
            <a:off x="197225" y="1127059"/>
            <a:ext cx="1506957" cy="3075398"/>
            <a:chOff x="-2011993" y="1808353"/>
            <a:chExt cx="2008753" cy="4100531"/>
          </a:xfrm>
        </p:grpSpPr>
        <p:sp>
          <p:nvSpPr>
            <p:cNvPr id="2058" name="Rectangle 2057"/>
            <p:cNvSpPr/>
            <p:nvPr>
              <p:custDataLst>
                <p:tags r:id="rId1"/>
              </p:custDataLst>
            </p:nvPr>
          </p:nvSpPr>
          <p:spPr bwMode="auto">
            <a:xfrm>
              <a:off x="-2011993" y="1808353"/>
              <a:ext cx="1990549" cy="4100531"/>
            </a:xfrm>
            <a:prstGeom prst="rect">
              <a:avLst/>
            </a:prstGeom>
            <a:solidFill>
              <a:srgbClr val="00BCF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0" tIns="45720" rIns="68580" bIns="45720" numCol="1" rtlCol="0" anchor="b" anchorCtr="0" compatLnSpc="1">
              <a:prstTxWarp prst="textNoShape">
                <a:avLst/>
              </a:prstTxWarp>
            </a:bodyPr>
            <a:lstStyle/>
            <a:p>
              <a:pPr defTabSz="685495"/>
              <a:endParaRPr lang="en-US" sz="1100" dirty="0">
                <a:solidFill>
                  <a:srgbClr val="000000">
                    <a:alpha val="98824"/>
                  </a:srgbClr>
                </a:solidFill>
                <a:latin typeface="Segoe UI" pitchFamily="34" charset="0"/>
                <a:ea typeface="Segoe UI" pitchFamily="34" charset="0"/>
                <a:cs typeface="Segoe UI" pitchFamily="34" charset="0"/>
              </a:endParaRPr>
            </a:p>
          </p:txBody>
        </p:sp>
        <p:pic>
          <p:nvPicPr>
            <p:cNvPr id="2084" name="Picture 36" descr="C:\Users\v-jtobey.REDMOND\AppData\Local\MetroStyleAddIn\Icons\Passion.wmf"/>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770146" y="4579515"/>
              <a:ext cx="431390" cy="823564"/>
            </a:xfrm>
            <a:prstGeom prst="rect">
              <a:avLst/>
            </a:prstGeom>
            <a:noFill/>
            <a:extLst>
              <a:ext uri="{909E8E84-426E-40DD-AFC4-6F175D3DCCD1}">
                <a14:hiddenFill xmlns:a14="http://schemas.microsoft.com/office/drawing/2010/main">
                  <a:solidFill>
                    <a:srgbClr val="FFFFFF"/>
                  </a:solidFill>
                </a14:hiddenFill>
              </a:ext>
            </a:extLst>
          </p:spPr>
        </p:pic>
        <p:pic>
          <p:nvPicPr>
            <p:cNvPr id="2085" name="Picture 37" descr="C:\Users\v-jtobey.REDMOND\AppData\Local\MetroStyleAddIn\Icons\PC.wmf"/>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872092" y="2547201"/>
              <a:ext cx="1115325" cy="676954"/>
            </a:xfrm>
            <a:prstGeom prst="rect">
              <a:avLst/>
            </a:prstGeom>
            <a:noFill/>
            <a:extLst>
              <a:ext uri="{909E8E84-426E-40DD-AFC4-6F175D3DCCD1}">
                <a14:hiddenFill xmlns:a14="http://schemas.microsoft.com/office/drawing/2010/main">
                  <a:solidFill>
                    <a:srgbClr val="FFFFFF"/>
                  </a:solidFill>
                </a14:hiddenFill>
              </a:ext>
            </a:extLst>
          </p:spPr>
        </p:pic>
        <p:sp>
          <p:nvSpPr>
            <p:cNvPr id="2059" name="TextBox 2058"/>
            <p:cNvSpPr txBox="1"/>
            <p:nvPr/>
          </p:nvSpPr>
          <p:spPr>
            <a:xfrm>
              <a:off x="-756766" y="2893205"/>
              <a:ext cx="659056" cy="467820"/>
            </a:xfrm>
            <a:prstGeom prst="rect">
              <a:avLst/>
            </a:prstGeom>
            <a:noFill/>
          </p:spPr>
          <p:txBody>
            <a:bodyPr wrap="square" lIns="91440" tIns="91440" rIns="91440" bIns="91440" rtlCol="0">
              <a:spAutoFit/>
            </a:bodyPr>
            <a:lstStyle/>
            <a:p>
              <a:pPr>
                <a:lnSpc>
                  <a:spcPct val="90000"/>
                </a:lnSpc>
                <a:spcBef>
                  <a:spcPct val="20000"/>
                </a:spcBef>
                <a:buSzPct val="90000"/>
              </a:pPr>
              <a:r>
                <a:rPr lang="en-US" sz="1200" dirty="0">
                  <a:solidFill>
                    <a:schemeClr val="bg1">
                      <a:alpha val="99000"/>
                    </a:schemeClr>
                  </a:solidFill>
                </a:rPr>
                <a:t>PC</a:t>
              </a:r>
            </a:p>
          </p:txBody>
        </p:sp>
        <p:sp>
          <p:nvSpPr>
            <p:cNvPr id="102" name="TextBox 101"/>
            <p:cNvSpPr txBox="1"/>
            <p:nvPr/>
          </p:nvSpPr>
          <p:spPr>
            <a:xfrm>
              <a:off x="-1182700" y="4739864"/>
              <a:ext cx="1179460" cy="689420"/>
            </a:xfrm>
            <a:prstGeom prst="rect">
              <a:avLst/>
            </a:prstGeom>
            <a:noFill/>
          </p:spPr>
          <p:txBody>
            <a:bodyPr wrap="square" lIns="91440" tIns="91440" rIns="91440" bIns="91440" rtlCol="0">
              <a:spAutoFit/>
            </a:bodyPr>
            <a:lstStyle/>
            <a:p>
              <a:pPr>
                <a:lnSpc>
                  <a:spcPct val="90000"/>
                </a:lnSpc>
                <a:spcBef>
                  <a:spcPct val="20000"/>
                </a:spcBef>
                <a:buSzPct val="90000"/>
              </a:pPr>
              <a:r>
                <a:rPr lang="en-US" sz="1200" dirty="0">
                  <a:solidFill>
                    <a:schemeClr val="bg1">
                      <a:alpha val="99000"/>
                    </a:schemeClr>
                  </a:solidFill>
                </a:rPr>
                <a:t>Happy customers</a:t>
              </a:r>
            </a:p>
          </p:txBody>
        </p:sp>
        <p:pic>
          <p:nvPicPr>
            <p:cNvPr id="2088" name="Picture 40" descr="C:\Users\v-jtobey.REDMOND\AppData\Local\MetroStyleAddIn\Icons\Device 3.wmf"/>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822988" y="3427664"/>
              <a:ext cx="568314" cy="1102332"/>
            </a:xfrm>
            <a:prstGeom prst="rect">
              <a:avLst/>
            </a:prstGeom>
            <a:noFill/>
            <a:extLst>
              <a:ext uri="{909E8E84-426E-40DD-AFC4-6F175D3DCCD1}">
                <a14:hiddenFill xmlns:a14="http://schemas.microsoft.com/office/drawing/2010/main">
                  <a:solidFill>
                    <a:srgbClr val="FFFFFF"/>
                  </a:solidFill>
                </a14:hiddenFill>
              </a:ext>
            </a:extLst>
          </p:spPr>
        </p:pic>
        <p:sp>
          <p:nvSpPr>
            <p:cNvPr id="110" name="TextBox 109"/>
            <p:cNvSpPr txBox="1"/>
            <p:nvPr/>
          </p:nvSpPr>
          <p:spPr>
            <a:xfrm>
              <a:off x="-1098447" y="4146831"/>
              <a:ext cx="1032916" cy="467820"/>
            </a:xfrm>
            <a:prstGeom prst="rect">
              <a:avLst/>
            </a:prstGeom>
            <a:noFill/>
          </p:spPr>
          <p:txBody>
            <a:bodyPr wrap="square" lIns="91440" tIns="91440" rIns="91440" bIns="91440" rtlCol="0">
              <a:spAutoFit/>
            </a:bodyPr>
            <a:lstStyle/>
            <a:p>
              <a:pPr>
                <a:lnSpc>
                  <a:spcPct val="90000"/>
                </a:lnSpc>
                <a:spcBef>
                  <a:spcPct val="20000"/>
                </a:spcBef>
                <a:buSzPct val="90000"/>
              </a:pPr>
              <a:r>
                <a:rPr lang="en-US" sz="1200" dirty="0">
                  <a:solidFill>
                    <a:schemeClr val="bg1">
                      <a:alpha val="99000"/>
                    </a:schemeClr>
                  </a:solidFill>
                </a:rPr>
                <a:t>Mobile</a:t>
              </a:r>
            </a:p>
          </p:txBody>
        </p:sp>
      </p:grpSp>
      <p:sp>
        <p:nvSpPr>
          <p:cNvPr id="126" name="Freeform 87"/>
          <p:cNvSpPr>
            <a:spLocks noEditPoints="1"/>
          </p:cNvSpPr>
          <p:nvPr/>
        </p:nvSpPr>
        <p:spPr bwMode="auto">
          <a:xfrm rot="10800000">
            <a:off x="1626428" y="2676439"/>
            <a:ext cx="1235580" cy="126365"/>
          </a:xfrm>
          <a:custGeom>
            <a:avLst/>
            <a:gdLst>
              <a:gd name="T0" fmla="*/ 0 w 385"/>
              <a:gd name="T1" fmla="*/ 46 h 107"/>
              <a:gd name="T2" fmla="*/ 37 w 385"/>
              <a:gd name="T3" fmla="*/ 46 h 107"/>
              <a:gd name="T4" fmla="*/ 37 w 385"/>
              <a:gd name="T5" fmla="*/ 61 h 107"/>
              <a:gd name="T6" fmla="*/ 0 w 385"/>
              <a:gd name="T7" fmla="*/ 61 h 107"/>
              <a:gd name="T8" fmla="*/ 0 w 385"/>
              <a:gd name="T9" fmla="*/ 46 h 107"/>
              <a:gd name="T10" fmla="*/ 74 w 385"/>
              <a:gd name="T11" fmla="*/ 61 h 107"/>
              <a:gd name="T12" fmla="*/ 111 w 385"/>
              <a:gd name="T13" fmla="*/ 61 h 107"/>
              <a:gd name="T14" fmla="*/ 111 w 385"/>
              <a:gd name="T15" fmla="*/ 46 h 107"/>
              <a:gd name="T16" fmla="*/ 74 w 385"/>
              <a:gd name="T17" fmla="*/ 46 h 107"/>
              <a:gd name="T18" fmla="*/ 74 w 385"/>
              <a:gd name="T19" fmla="*/ 61 h 107"/>
              <a:gd name="T20" fmla="*/ 222 w 385"/>
              <a:gd name="T21" fmla="*/ 61 h 107"/>
              <a:gd name="T22" fmla="*/ 259 w 385"/>
              <a:gd name="T23" fmla="*/ 61 h 107"/>
              <a:gd name="T24" fmla="*/ 259 w 385"/>
              <a:gd name="T25" fmla="*/ 46 h 107"/>
              <a:gd name="T26" fmla="*/ 222 w 385"/>
              <a:gd name="T27" fmla="*/ 46 h 107"/>
              <a:gd name="T28" fmla="*/ 222 w 385"/>
              <a:gd name="T29" fmla="*/ 61 h 107"/>
              <a:gd name="T30" fmla="*/ 148 w 385"/>
              <a:gd name="T31" fmla="*/ 61 h 107"/>
              <a:gd name="T32" fmla="*/ 185 w 385"/>
              <a:gd name="T33" fmla="*/ 61 h 107"/>
              <a:gd name="T34" fmla="*/ 185 w 385"/>
              <a:gd name="T35" fmla="*/ 46 h 107"/>
              <a:gd name="T36" fmla="*/ 148 w 385"/>
              <a:gd name="T37" fmla="*/ 46 h 107"/>
              <a:gd name="T38" fmla="*/ 148 w 385"/>
              <a:gd name="T39" fmla="*/ 61 h 107"/>
              <a:gd name="T40" fmla="*/ 382 w 385"/>
              <a:gd name="T41" fmla="*/ 48 h 107"/>
              <a:gd name="T42" fmla="*/ 334 w 385"/>
              <a:gd name="T43" fmla="*/ 0 h 107"/>
              <a:gd name="T44" fmla="*/ 324 w 385"/>
              <a:gd name="T45" fmla="*/ 11 h 107"/>
              <a:gd name="T46" fmla="*/ 359 w 385"/>
              <a:gd name="T47" fmla="*/ 46 h 107"/>
              <a:gd name="T48" fmla="*/ 296 w 385"/>
              <a:gd name="T49" fmla="*/ 46 h 107"/>
              <a:gd name="T50" fmla="*/ 296 w 385"/>
              <a:gd name="T51" fmla="*/ 61 h 107"/>
              <a:gd name="T52" fmla="*/ 359 w 385"/>
              <a:gd name="T53" fmla="*/ 61 h 107"/>
              <a:gd name="T54" fmla="*/ 324 w 385"/>
              <a:gd name="T55" fmla="*/ 96 h 107"/>
              <a:gd name="T56" fmla="*/ 334 w 385"/>
              <a:gd name="T57" fmla="*/ 107 h 107"/>
              <a:gd name="T58" fmla="*/ 382 w 385"/>
              <a:gd name="T59" fmla="*/ 59 h 107"/>
              <a:gd name="T60" fmla="*/ 382 w 385"/>
              <a:gd name="T61" fmla="*/ 4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5" h="107">
                <a:moveTo>
                  <a:pt x="0" y="46"/>
                </a:moveTo>
                <a:cubicBezTo>
                  <a:pt x="37" y="46"/>
                  <a:pt x="37" y="46"/>
                  <a:pt x="37" y="46"/>
                </a:cubicBezTo>
                <a:cubicBezTo>
                  <a:pt x="37" y="61"/>
                  <a:pt x="37" y="61"/>
                  <a:pt x="37" y="61"/>
                </a:cubicBezTo>
                <a:cubicBezTo>
                  <a:pt x="0" y="61"/>
                  <a:pt x="0" y="61"/>
                  <a:pt x="0" y="61"/>
                </a:cubicBezTo>
                <a:lnTo>
                  <a:pt x="0" y="46"/>
                </a:lnTo>
                <a:close/>
                <a:moveTo>
                  <a:pt x="74" y="61"/>
                </a:moveTo>
                <a:cubicBezTo>
                  <a:pt x="111" y="61"/>
                  <a:pt x="111" y="61"/>
                  <a:pt x="111" y="61"/>
                </a:cubicBezTo>
                <a:cubicBezTo>
                  <a:pt x="111" y="46"/>
                  <a:pt x="111" y="46"/>
                  <a:pt x="111" y="46"/>
                </a:cubicBezTo>
                <a:cubicBezTo>
                  <a:pt x="74" y="46"/>
                  <a:pt x="74" y="46"/>
                  <a:pt x="74" y="46"/>
                </a:cubicBezTo>
                <a:lnTo>
                  <a:pt x="74" y="61"/>
                </a:lnTo>
                <a:close/>
                <a:moveTo>
                  <a:pt x="222" y="61"/>
                </a:moveTo>
                <a:cubicBezTo>
                  <a:pt x="259" y="61"/>
                  <a:pt x="259" y="61"/>
                  <a:pt x="259" y="61"/>
                </a:cubicBezTo>
                <a:cubicBezTo>
                  <a:pt x="259" y="46"/>
                  <a:pt x="259" y="46"/>
                  <a:pt x="259" y="46"/>
                </a:cubicBezTo>
                <a:cubicBezTo>
                  <a:pt x="222" y="46"/>
                  <a:pt x="222" y="46"/>
                  <a:pt x="222" y="46"/>
                </a:cubicBezTo>
                <a:lnTo>
                  <a:pt x="222" y="61"/>
                </a:lnTo>
                <a:close/>
                <a:moveTo>
                  <a:pt x="148" y="61"/>
                </a:moveTo>
                <a:cubicBezTo>
                  <a:pt x="185" y="61"/>
                  <a:pt x="185" y="61"/>
                  <a:pt x="185" y="61"/>
                </a:cubicBezTo>
                <a:cubicBezTo>
                  <a:pt x="185" y="46"/>
                  <a:pt x="185" y="46"/>
                  <a:pt x="185" y="46"/>
                </a:cubicBezTo>
                <a:cubicBezTo>
                  <a:pt x="148" y="46"/>
                  <a:pt x="148" y="46"/>
                  <a:pt x="148" y="46"/>
                </a:cubicBezTo>
                <a:lnTo>
                  <a:pt x="148" y="61"/>
                </a:lnTo>
                <a:close/>
                <a:moveTo>
                  <a:pt x="382" y="48"/>
                </a:moveTo>
                <a:cubicBezTo>
                  <a:pt x="334" y="0"/>
                  <a:pt x="334" y="0"/>
                  <a:pt x="334" y="0"/>
                </a:cubicBezTo>
                <a:cubicBezTo>
                  <a:pt x="324" y="11"/>
                  <a:pt x="324" y="11"/>
                  <a:pt x="324" y="11"/>
                </a:cubicBezTo>
                <a:cubicBezTo>
                  <a:pt x="359" y="46"/>
                  <a:pt x="359" y="46"/>
                  <a:pt x="359" y="46"/>
                </a:cubicBezTo>
                <a:cubicBezTo>
                  <a:pt x="296" y="46"/>
                  <a:pt x="296" y="46"/>
                  <a:pt x="296" y="46"/>
                </a:cubicBezTo>
                <a:cubicBezTo>
                  <a:pt x="296" y="61"/>
                  <a:pt x="296" y="61"/>
                  <a:pt x="296" y="61"/>
                </a:cubicBezTo>
                <a:cubicBezTo>
                  <a:pt x="359" y="61"/>
                  <a:pt x="359" y="61"/>
                  <a:pt x="359" y="61"/>
                </a:cubicBezTo>
                <a:cubicBezTo>
                  <a:pt x="324" y="96"/>
                  <a:pt x="324" y="96"/>
                  <a:pt x="324" y="96"/>
                </a:cubicBezTo>
                <a:cubicBezTo>
                  <a:pt x="334" y="107"/>
                  <a:pt x="334" y="107"/>
                  <a:pt x="334" y="107"/>
                </a:cubicBezTo>
                <a:cubicBezTo>
                  <a:pt x="382" y="59"/>
                  <a:pt x="382" y="59"/>
                  <a:pt x="382" y="59"/>
                </a:cubicBezTo>
                <a:cubicBezTo>
                  <a:pt x="385" y="56"/>
                  <a:pt x="385" y="51"/>
                  <a:pt x="382" y="48"/>
                </a:cubicBezTo>
                <a:close/>
              </a:path>
            </a:pathLst>
          </a:custGeom>
          <a:solidFill>
            <a:srgbClr val="FFFF00"/>
          </a:solidFill>
          <a:ln>
            <a:noFill/>
          </a:ln>
        </p:spPr>
        <p:txBody>
          <a:bodyPr vert="horz" wrap="square" lIns="68571" tIns="34286" rIns="68571" bIns="34286" numCol="1" anchor="t" anchorCtr="0" compatLnSpc="1">
            <a:prstTxWarp prst="textNoShape">
              <a:avLst/>
            </a:prstTxWarp>
          </a:bodyPr>
          <a:lstStyle/>
          <a:p>
            <a:endParaRPr lang="en-US"/>
          </a:p>
        </p:txBody>
      </p:sp>
      <p:sp>
        <p:nvSpPr>
          <p:cNvPr id="2067" name="TextBox 2066"/>
          <p:cNvSpPr txBox="1"/>
          <p:nvPr/>
        </p:nvSpPr>
        <p:spPr>
          <a:xfrm>
            <a:off x="1635230" y="2745106"/>
            <a:ext cx="1250779" cy="304699"/>
          </a:xfrm>
          <a:prstGeom prst="rect">
            <a:avLst/>
          </a:prstGeom>
          <a:noFill/>
        </p:spPr>
        <p:txBody>
          <a:bodyPr wrap="square" lIns="68571" tIns="68571" rIns="68571" bIns="68571" rtlCol="0">
            <a:spAutoFit/>
          </a:bodyPr>
          <a:lstStyle/>
          <a:p>
            <a:pPr>
              <a:lnSpc>
                <a:spcPct val="90000"/>
              </a:lnSpc>
              <a:spcBef>
                <a:spcPct val="20000"/>
              </a:spcBef>
              <a:buSzPct val="90000"/>
            </a:pPr>
            <a:r>
              <a:rPr lang="en-US" sz="1200" dirty="0">
                <a:solidFill>
                  <a:srgbClr val="FFFF00">
                    <a:alpha val="99000"/>
                  </a:srgbClr>
                </a:solidFill>
              </a:rPr>
              <a:t>6</a:t>
            </a:r>
            <a:r>
              <a:rPr lang="en-US" sz="1200" dirty="0">
                <a:solidFill>
                  <a:schemeClr val="tx1">
                    <a:alpha val="99000"/>
                  </a:schemeClr>
                </a:solidFill>
              </a:rPr>
              <a:t>. </a:t>
            </a:r>
            <a:r>
              <a:rPr lang="en-US" sz="1200" dirty="0">
                <a:solidFill>
                  <a:srgbClr val="FFFF00">
                    <a:alpha val="99000"/>
                  </a:srgbClr>
                </a:solidFill>
              </a:rPr>
              <a:t>Notification</a:t>
            </a:r>
          </a:p>
        </p:txBody>
      </p:sp>
      <p:sp>
        <p:nvSpPr>
          <p:cNvPr id="135" name="Freeform 87"/>
          <p:cNvSpPr>
            <a:spLocks noEditPoints="1"/>
          </p:cNvSpPr>
          <p:nvPr/>
        </p:nvSpPr>
        <p:spPr bwMode="auto">
          <a:xfrm>
            <a:off x="1661899" y="1744196"/>
            <a:ext cx="1235580" cy="126365"/>
          </a:xfrm>
          <a:custGeom>
            <a:avLst/>
            <a:gdLst>
              <a:gd name="T0" fmla="*/ 0 w 385"/>
              <a:gd name="T1" fmla="*/ 46 h 107"/>
              <a:gd name="T2" fmla="*/ 37 w 385"/>
              <a:gd name="T3" fmla="*/ 46 h 107"/>
              <a:gd name="T4" fmla="*/ 37 w 385"/>
              <a:gd name="T5" fmla="*/ 61 h 107"/>
              <a:gd name="T6" fmla="*/ 0 w 385"/>
              <a:gd name="T7" fmla="*/ 61 h 107"/>
              <a:gd name="T8" fmla="*/ 0 w 385"/>
              <a:gd name="T9" fmla="*/ 46 h 107"/>
              <a:gd name="T10" fmla="*/ 74 w 385"/>
              <a:gd name="T11" fmla="*/ 61 h 107"/>
              <a:gd name="T12" fmla="*/ 111 w 385"/>
              <a:gd name="T13" fmla="*/ 61 h 107"/>
              <a:gd name="T14" fmla="*/ 111 w 385"/>
              <a:gd name="T15" fmla="*/ 46 h 107"/>
              <a:gd name="T16" fmla="*/ 74 w 385"/>
              <a:gd name="T17" fmla="*/ 46 h 107"/>
              <a:gd name="T18" fmla="*/ 74 w 385"/>
              <a:gd name="T19" fmla="*/ 61 h 107"/>
              <a:gd name="T20" fmla="*/ 222 w 385"/>
              <a:gd name="T21" fmla="*/ 61 h 107"/>
              <a:gd name="T22" fmla="*/ 259 w 385"/>
              <a:gd name="T23" fmla="*/ 61 h 107"/>
              <a:gd name="T24" fmla="*/ 259 w 385"/>
              <a:gd name="T25" fmla="*/ 46 h 107"/>
              <a:gd name="T26" fmla="*/ 222 w 385"/>
              <a:gd name="T27" fmla="*/ 46 h 107"/>
              <a:gd name="T28" fmla="*/ 222 w 385"/>
              <a:gd name="T29" fmla="*/ 61 h 107"/>
              <a:gd name="T30" fmla="*/ 148 w 385"/>
              <a:gd name="T31" fmla="*/ 61 h 107"/>
              <a:gd name="T32" fmla="*/ 185 w 385"/>
              <a:gd name="T33" fmla="*/ 61 h 107"/>
              <a:gd name="T34" fmla="*/ 185 w 385"/>
              <a:gd name="T35" fmla="*/ 46 h 107"/>
              <a:gd name="T36" fmla="*/ 148 w 385"/>
              <a:gd name="T37" fmla="*/ 46 h 107"/>
              <a:gd name="T38" fmla="*/ 148 w 385"/>
              <a:gd name="T39" fmla="*/ 61 h 107"/>
              <a:gd name="T40" fmla="*/ 382 w 385"/>
              <a:gd name="T41" fmla="*/ 48 h 107"/>
              <a:gd name="T42" fmla="*/ 334 w 385"/>
              <a:gd name="T43" fmla="*/ 0 h 107"/>
              <a:gd name="T44" fmla="*/ 324 w 385"/>
              <a:gd name="T45" fmla="*/ 11 h 107"/>
              <a:gd name="T46" fmla="*/ 359 w 385"/>
              <a:gd name="T47" fmla="*/ 46 h 107"/>
              <a:gd name="T48" fmla="*/ 296 w 385"/>
              <a:gd name="T49" fmla="*/ 46 h 107"/>
              <a:gd name="T50" fmla="*/ 296 w 385"/>
              <a:gd name="T51" fmla="*/ 61 h 107"/>
              <a:gd name="T52" fmla="*/ 359 w 385"/>
              <a:gd name="T53" fmla="*/ 61 h 107"/>
              <a:gd name="T54" fmla="*/ 324 w 385"/>
              <a:gd name="T55" fmla="*/ 96 h 107"/>
              <a:gd name="T56" fmla="*/ 334 w 385"/>
              <a:gd name="T57" fmla="*/ 107 h 107"/>
              <a:gd name="T58" fmla="*/ 382 w 385"/>
              <a:gd name="T59" fmla="*/ 59 h 107"/>
              <a:gd name="T60" fmla="*/ 382 w 385"/>
              <a:gd name="T61" fmla="*/ 4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5" h="107">
                <a:moveTo>
                  <a:pt x="0" y="46"/>
                </a:moveTo>
                <a:cubicBezTo>
                  <a:pt x="37" y="46"/>
                  <a:pt x="37" y="46"/>
                  <a:pt x="37" y="46"/>
                </a:cubicBezTo>
                <a:cubicBezTo>
                  <a:pt x="37" y="61"/>
                  <a:pt x="37" y="61"/>
                  <a:pt x="37" y="61"/>
                </a:cubicBezTo>
                <a:cubicBezTo>
                  <a:pt x="0" y="61"/>
                  <a:pt x="0" y="61"/>
                  <a:pt x="0" y="61"/>
                </a:cubicBezTo>
                <a:lnTo>
                  <a:pt x="0" y="46"/>
                </a:lnTo>
                <a:close/>
                <a:moveTo>
                  <a:pt x="74" y="61"/>
                </a:moveTo>
                <a:cubicBezTo>
                  <a:pt x="111" y="61"/>
                  <a:pt x="111" y="61"/>
                  <a:pt x="111" y="61"/>
                </a:cubicBezTo>
                <a:cubicBezTo>
                  <a:pt x="111" y="46"/>
                  <a:pt x="111" y="46"/>
                  <a:pt x="111" y="46"/>
                </a:cubicBezTo>
                <a:cubicBezTo>
                  <a:pt x="74" y="46"/>
                  <a:pt x="74" y="46"/>
                  <a:pt x="74" y="46"/>
                </a:cubicBezTo>
                <a:lnTo>
                  <a:pt x="74" y="61"/>
                </a:lnTo>
                <a:close/>
                <a:moveTo>
                  <a:pt x="222" y="61"/>
                </a:moveTo>
                <a:cubicBezTo>
                  <a:pt x="259" y="61"/>
                  <a:pt x="259" y="61"/>
                  <a:pt x="259" y="61"/>
                </a:cubicBezTo>
                <a:cubicBezTo>
                  <a:pt x="259" y="46"/>
                  <a:pt x="259" y="46"/>
                  <a:pt x="259" y="46"/>
                </a:cubicBezTo>
                <a:cubicBezTo>
                  <a:pt x="222" y="46"/>
                  <a:pt x="222" y="46"/>
                  <a:pt x="222" y="46"/>
                </a:cubicBezTo>
                <a:lnTo>
                  <a:pt x="222" y="61"/>
                </a:lnTo>
                <a:close/>
                <a:moveTo>
                  <a:pt x="148" y="61"/>
                </a:moveTo>
                <a:cubicBezTo>
                  <a:pt x="185" y="61"/>
                  <a:pt x="185" y="61"/>
                  <a:pt x="185" y="61"/>
                </a:cubicBezTo>
                <a:cubicBezTo>
                  <a:pt x="185" y="46"/>
                  <a:pt x="185" y="46"/>
                  <a:pt x="185" y="46"/>
                </a:cubicBezTo>
                <a:cubicBezTo>
                  <a:pt x="148" y="46"/>
                  <a:pt x="148" y="46"/>
                  <a:pt x="148" y="46"/>
                </a:cubicBezTo>
                <a:lnTo>
                  <a:pt x="148" y="61"/>
                </a:lnTo>
                <a:close/>
                <a:moveTo>
                  <a:pt x="382" y="48"/>
                </a:moveTo>
                <a:cubicBezTo>
                  <a:pt x="334" y="0"/>
                  <a:pt x="334" y="0"/>
                  <a:pt x="334" y="0"/>
                </a:cubicBezTo>
                <a:cubicBezTo>
                  <a:pt x="324" y="11"/>
                  <a:pt x="324" y="11"/>
                  <a:pt x="324" y="11"/>
                </a:cubicBezTo>
                <a:cubicBezTo>
                  <a:pt x="359" y="46"/>
                  <a:pt x="359" y="46"/>
                  <a:pt x="359" y="46"/>
                </a:cubicBezTo>
                <a:cubicBezTo>
                  <a:pt x="296" y="46"/>
                  <a:pt x="296" y="46"/>
                  <a:pt x="296" y="46"/>
                </a:cubicBezTo>
                <a:cubicBezTo>
                  <a:pt x="296" y="61"/>
                  <a:pt x="296" y="61"/>
                  <a:pt x="296" y="61"/>
                </a:cubicBezTo>
                <a:cubicBezTo>
                  <a:pt x="359" y="61"/>
                  <a:pt x="359" y="61"/>
                  <a:pt x="359" y="61"/>
                </a:cubicBezTo>
                <a:cubicBezTo>
                  <a:pt x="324" y="96"/>
                  <a:pt x="324" y="96"/>
                  <a:pt x="324" y="96"/>
                </a:cubicBezTo>
                <a:cubicBezTo>
                  <a:pt x="334" y="107"/>
                  <a:pt x="334" y="107"/>
                  <a:pt x="334" y="107"/>
                </a:cubicBezTo>
                <a:cubicBezTo>
                  <a:pt x="382" y="59"/>
                  <a:pt x="382" y="59"/>
                  <a:pt x="382" y="59"/>
                </a:cubicBezTo>
                <a:cubicBezTo>
                  <a:pt x="385" y="56"/>
                  <a:pt x="385" y="51"/>
                  <a:pt x="382" y="48"/>
                </a:cubicBezTo>
                <a:close/>
              </a:path>
            </a:pathLst>
          </a:custGeom>
          <a:solidFill>
            <a:srgbClr val="FFFF00"/>
          </a:solidFill>
          <a:ln>
            <a:noFill/>
          </a:ln>
        </p:spPr>
        <p:txBody>
          <a:bodyPr vert="horz" wrap="square" lIns="68571" tIns="34286" rIns="68571" bIns="34286" numCol="1" anchor="t" anchorCtr="0" compatLnSpc="1">
            <a:prstTxWarp prst="textNoShape">
              <a:avLst/>
            </a:prstTxWarp>
          </a:bodyPr>
          <a:lstStyle/>
          <a:p>
            <a:endParaRPr lang="en-US"/>
          </a:p>
        </p:txBody>
      </p:sp>
      <p:sp>
        <p:nvSpPr>
          <p:cNvPr id="2073" name="TextBox 2072"/>
          <p:cNvSpPr txBox="1"/>
          <p:nvPr/>
        </p:nvSpPr>
        <p:spPr>
          <a:xfrm>
            <a:off x="1633311" y="1832511"/>
            <a:ext cx="1569747" cy="304699"/>
          </a:xfrm>
          <a:prstGeom prst="rect">
            <a:avLst/>
          </a:prstGeom>
          <a:noFill/>
          <a:ln>
            <a:noFill/>
          </a:ln>
        </p:spPr>
        <p:txBody>
          <a:bodyPr wrap="square" lIns="68571" tIns="68571" rIns="68571" bIns="68571" rtlCol="0">
            <a:spAutoFit/>
          </a:bodyPr>
          <a:lstStyle/>
          <a:p>
            <a:pPr>
              <a:lnSpc>
                <a:spcPct val="90000"/>
              </a:lnSpc>
              <a:spcBef>
                <a:spcPct val="20000"/>
              </a:spcBef>
              <a:buSzPct val="90000"/>
            </a:pPr>
            <a:r>
              <a:rPr lang="en-US" sz="1200" dirty="0">
                <a:solidFill>
                  <a:srgbClr val="FFFF00">
                    <a:alpha val="99000"/>
                  </a:srgbClr>
                </a:solidFill>
              </a:rPr>
              <a:t>1. Schedule service</a:t>
            </a:r>
          </a:p>
        </p:txBody>
      </p:sp>
      <p:sp>
        <p:nvSpPr>
          <p:cNvPr id="134" name="Freeform 87"/>
          <p:cNvSpPr>
            <a:spLocks noEditPoints="1"/>
          </p:cNvSpPr>
          <p:nvPr/>
        </p:nvSpPr>
        <p:spPr bwMode="auto">
          <a:xfrm>
            <a:off x="4908611" y="1520461"/>
            <a:ext cx="1235580" cy="126365"/>
          </a:xfrm>
          <a:custGeom>
            <a:avLst/>
            <a:gdLst>
              <a:gd name="T0" fmla="*/ 0 w 385"/>
              <a:gd name="T1" fmla="*/ 46 h 107"/>
              <a:gd name="T2" fmla="*/ 37 w 385"/>
              <a:gd name="T3" fmla="*/ 46 h 107"/>
              <a:gd name="T4" fmla="*/ 37 w 385"/>
              <a:gd name="T5" fmla="*/ 61 h 107"/>
              <a:gd name="T6" fmla="*/ 0 w 385"/>
              <a:gd name="T7" fmla="*/ 61 h 107"/>
              <a:gd name="T8" fmla="*/ 0 w 385"/>
              <a:gd name="T9" fmla="*/ 46 h 107"/>
              <a:gd name="T10" fmla="*/ 74 w 385"/>
              <a:gd name="T11" fmla="*/ 61 h 107"/>
              <a:gd name="T12" fmla="*/ 111 w 385"/>
              <a:gd name="T13" fmla="*/ 61 h 107"/>
              <a:gd name="T14" fmla="*/ 111 w 385"/>
              <a:gd name="T15" fmla="*/ 46 h 107"/>
              <a:gd name="T16" fmla="*/ 74 w 385"/>
              <a:gd name="T17" fmla="*/ 46 h 107"/>
              <a:gd name="T18" fmla="*/ 74 w 385"/>
              <a:gd name="T19" fmla="*/ 61 h 107"/>
              <a:gd name="T20" fmla="*/ 222 w 385"/>
              <a:gd name="T21" fmla="*/ 61 h 107"/>
              <a:gd name="T22" fmla="*/ 259 w 385"/>
              <a:gd name="T23" fmla="*/ 61 h 107"/>
              <a:gd name="T24" fmla="*/ 259 w 385"/>
              <a:gd name="T25" fmla="*/ 46 h 107"/>
              <a:gd name="T26" fmla="*/ 222 w 385"/>
              <a:gd name="T27" fmla="*/ 46 h 107"/>
              <a:gd name="T28" fmla="*/ 222 w 385"/>
              <a:gd name="T29" fmla="*/ 61 h 107"/>
              <a:gd name="T30" fmla="*/ 148 w 385"/>
              <a:gd name="T31" fmla="*/ 61 h 107"/>
              <a:gd name="T32" fmla="*/ 185 w 385"/>
              <a:gd name="T33" fmla="*/ 61 h 107"/>
              <a:gd name="T34" fmla="*/ 185 w 385"/>
              <a:gd name="T35" fmla="*/ 46 h 107"/>
              <a:gd name="T36" fmla="*/ 148 w 385"/>
              <a:gd name="T37" fmla="*/ 46 h 107"/>
              <a:gd name="T38" fmla="*/ 148 w 385"/>
              <a:gd name="T39" fmla="*/ 61 h 107"/>
              <a:gd name="T40" fmla="*/ 382 w 385"/>
              <a:gd name="T41" fmla="*/ 48 h 107"/>
              <a:gd name="T42" fmla="*/ 334 w 385"/>
              <a:gd name="T43" fmla="*/ 0 h 107"/>
              <a:gd name="T44" fmla="*/ 324 w 385"/>
              <a:gd name="T45" fmla="*/ 11 h 107"/>
              <a:gd name="T46" fmla="*/ 359 w 385"/>
              <a:gd name="T47" fmla="*/ 46 h 107"/>
              <a:gd name="T48" fmla="*/ 296 w 385"/>
              <a:gd name="T49" fmla="*/ 46 h 107"/>
              <a:gd name="T50" fmla="*/ 296 w 385"/>
              <a:gd name="T51" fmla="*/ 61 h 107"/>
              <a:gd name="T52" fmla="*/ 359 w 385"/>
              <a:gd name="T53" fmla="*/ 61 h 107"/>
              <a:gd name="T54" fmla="*/ 324 w 385"/>
              <a:gd name="T55" fmla="*/ 96 h 107"/>
              <a:gd name="T56" fmla="*/ 334 w 385"/>
              <a:gd name="T57" fmla="*/ 107 h 107"/>
              <a:gd name="T58" fmla="*/ 382 w 385"/>
              <a:gd name="T59" fmla="*/ 59 h 107"/>
              <a:gd name="T60" fmla="*/ 382 w 385"/>
              <a:gd name="T61" fmla="*/ 4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5" h="107">
                <a:moveTo>
                  <a:pt x="0" y="46"/>
                </a:moveTo>
                <a:cubicBezTo>
                  <a:pt x="37" y="46"/>
                  <a:pt x="37" y="46"/>
                  <a:pt x="37" y="46"/>
                </a:cubicBezTo>
                <a:cubicBezTo>
                  <a:pt x="37" y="61"/>
                  <a:pt x="37" y="61"/>
                  <a:pt x="37" y="61"/>
                </a:cubicBezTo>
                <a:cubicBezTo>
                  <a:pt x="0" y="61"/>
                  <a:pt x="0" y="61"/>
                  <a:pt x="0" y="61"/>
                </a:cubicBezTo>
                <a:lnTo>
                  <a:pt x="0" y="46"/>
                </a:lnTo>
                <a:close/>
                <a:moveTo>
                  <a:pt x="74" y="61"/>
                </a:moveTo>
                <a:cubicBezTo>
                  <a:pt x="111" y="61"/>
                  <a:pt x="111" y="61"/>
                  <a:pt x="111" y="61"/>
                </a:cubicBezTo>
                <a:cubicBezTo>
                  <a:pt x="111" y="46"/>
                  <a:pt x="111" y="46"/>
                  <a:pt x="111" y="46"/>
                </a:cubicBezTo>
                <a:cubicBezTo>
                  <a:pt x="74" y="46"/>
                  <a:pt x="74" y="46"/>
                  <a:pt x="74" y="46"/>
                </a:cubicBezTo>
                <a:lnTo>
                  <a:pt x="74" y="61"/>
                </a:lnTo>
                <a:close/>
                <a:moveTo>
                  <a:pt x="222" y="61"/>
                </a:moveTo>
                <a:cubicBezTo>
                  <a:pt x="259" y="61"/>
                  <a:pt x="259" y="61"/>
                  <a:pt x="259" y="61"/>
                </a:cubicBezTo>
                <a:cubicBezTo>
                  <a:pt x="259" y="46"/>
                  <a:pt x="259" y="46"/>
                  <a:pt x="259" y="46"/>
                </a:cubicBezTo>
                <a:cubicBezTo>
                  <a:pt x="222" y="46"/>
                  <a:pt x="222" y="46"/>
                  <a:pt x="222" y="46"/>
                </a:cubicBezTo>
                <a:lnTo>
                  <a:pt x="222" y="61"/>
                </a:lnTo>
                <a:close/>
                <a:moveTo>
                  <a:pt x="148" y="61"/>
                </a:moveTo>
                <a:cubicBezTo>
                  <a:pt x="185" y="61"/>
                  <a:pt x="185" y="61"/>
                  <a:pt x="185" y="61"/>
                </a:cubicBezTo>
                <a:cubicBezTo>
                  <a:pt x="185" y="46"/>
                  <a:pt x="185" y="46"/>
                  <a:pt x="185" y="46"/>
                </a:cubicBezTo>
                <a:cubicBezTo>
                  <a:pt x="148" y="46"/>
                  <a:pt x="148" y="46"/>
                  <a:pt x="148" y="46"/>
                </a:cubicBezTo>
                <a:lnTo>
                  <a:pt x="148" y="61"/>
                </a:lnTo>
                <a:close/>
                <a:moveTo>
                  <a:pt x="382" y="48"/>
                </a:moveTo>
                <a:cubicBezTo>
                  <a:pt x="334" y="0"/>
                  <a:pt x="334" y="0"/>
                  <a:pt x="334" y="0"/>
                </a:cubicBezTo>
                <a:cubicBezTo>
                  <a:pt x="324" y="11"/>
                  <a:pt x="324" y="11"/>
                  <a:pt x="324" y="11"/>
                </a:cubicBezTo>
                <a:cubicBezTo>
                  <a:pt x="359" y="46"/>
                  <a:pt x="359" y="46"/>
                  <a:pt x="359" y="46"/>
                </a:cubicBezTo>
                <a:cubicBezTo>
                  <a:pt x="296" y="46"/>
                  <a:pt x="296" y="46"/>
                  <a:pt x="296" y="46"/>
                </a:cubicBezTo>
                <a:cubicBezTo>
                  <a:pt x="296" y="61"/>
                  <a:pt x="296" y="61"/>
                  <a:pt x="296" y="61"/>
                </a:cubicBezTo>
                <a:cubicBezTo>
                  <a:pt x="359" y="61"/>
                  <a:pt x="359" y="61"/>
                  <a:pt x="359" y="61"/>
                </a:cubicBezTo>
                <a:cubicBezTo>
                  <a:pt x="324" y="96"/>
                  <a:pt x="324" y="96"/>
                  <a:pt x="324" y="96"/>
                </a:cubicBezTo>
                <a:cubicBezTo>
                  <a:pt x="334" y="107"/>
                  <a:pt x="334" y="107"/>
                  <a:pt x="334" y="107"/>
                </a:cubicBezTo>
                <a:cubicBezTo>
                  <a:pt x="382" y="59"/>
                  <a:pt x="382" y="59"/>
                  <a:pt x="382" y="59"/>
                </a:cubicBezTo>
                <a:cubicBezTo>
                  <a:pt x="385" y="56"/>
                  <a:pt x="385" y="51"/>
                  <a:pt x="382" y="48"/>
                </a:cubicBezTo>
                <a:close/>
              </a:path>
            </a:pathLst>
          </a:custGeom>
          <a:solidFill>
            <a:srgbClr val="FFFF00"/>
          </a:solidFill>
          <a:ln>
            <a:noFill/>
          </a:ln>
        </p:spPr>
        <p:txBody>
          <a:bodyPr vert="horz" wrap="square" lIns="68571" tIns="34286" rIns="68571" bIns="34286" numCol="1" anchor="t" anchorCtr="0" compatLnSpc="1">
            <a:prstTxWarp prst="textNoShape">
              <a:avLst/>
            </a:prstTxWarp>
          </a:bodyPr>
          <a:lstStyle/>
          <a:p>
            <a:endParaRPr lang="en-US"/>
          </a:p>
        </p:txBody>
      </p:sp>
      <p:sp>
        <p:nvSpPr>
          <p:cNvPr id="2075" name="TextBox 2074"/>
          <p:cNvSpPr txBox="1"/>
          <p:nvPr/>
        </p:nvSpPr>
        <p:spPr>
          <a:xfrm>
            <a:off x="4908611" y="1630359"/>
            <a:ext cx="1193177" cy="304699"/>
          </a:xfrm>
          <a:prstGeom prst="rect">
            <a:avLst/>
          </a:prstGeom>
          <a:noFill/>
        </p:spPr>
        <p:txBody>
          <a:bodyPr wrap="square" lIns="68571" tIns="68571" rIns="68571" bIns="68571" rtlCol="0">
            <a:spAutoFit/>
          </a:bodyPr>
          <a:lstStyle/>
          <a:p>
            <a:pPr>
              <a:lnSpc>
                <a:spcPct val="90000"/>
              </a:lnSpc>
              <a:spcBef>
                <a:spcPct val="20000"/>
              </a:spcBef>
              <a:buSzPct val="90000"/>
            </a:pPr>
            <a:r>
              <a:rPr lang="en-US" sz="1200" dirty="0">
                <a:solidFill>
                  <a:srgbClr val="FFFF00">
                    <a:alpha val="99000"/>
                  </a:srgbClr>
                </a:solidFill>
              </a:rPr>
              <a:t>2. Service call</a:t>
            </a:r>
          </a:p>
        </p:txBody>
      </p:sp>
      <p:sp>
        <p:nvSpPr>
          <p:cNvPr id="125" name="Freeform 87"/>
          <p:cNvSpPr>
            <a:spLocks noEditPoints="1"/>
          </p:cNvSpPr>
          <p:nvPr/>
        </p:nvSpPr>
        <p:spPr bwMode="auto">
          <a:xfrm rot="10800000">
            <a:off x="4936921" y="3719821"/>
            <a:ext cx="1235580" cy="126365"/>
          </a:xfrm>
          <a:custGeom>
            <a:avLst/>
            <a:gdLst>
              <a:gd name="T0" fmla="*/ 0 w 385"/>
              <a:gd name="T1" fmla="*/ 46 h 107"/>
              <a:gd name="T2" fmla="*/ 37 w 385"/>
              <a:gd name="T3" fmla="*/ 46 h 107"/>
              <a:gd name="T4" fmla="*/ 37 w 385"/>
              <a:gd name="T5" fmla="*/ 61 h 107"/>
              <a:gd name="T6" fmla="*/ 0 w 385"/>
              <a:gd name="T7" fmla="*/ 61 h 107"/>
              <a:gd name="T8" fmla="*/ 0 w 385"/>
              <a:gd name="T9" fmla="*/ 46 h 107"/>
              <a:gd name="T10" fmla="*/ 74 w 385"/>
              <a:gd name="T11" fmla="*/ 61 h 107"/>
              <a:gd name="T12" fmla="*/ 111 w 385"/>
              <a:gd name="T13" fmla="*/ 61 h 107"/>
              <a:gd name="T14" fmla="*/ 111 w 385"/>
              <a:gd name="T15" fmla="*/ 46 h 107"/>
              <a:gd name="T16" fmla="*/ 74 w 385"/>
              <a:gd name="T17" fmla="*/ 46 h 107"/>
              <a:gd name="T18" fmla="*/ 74 w 385"/>
              <a:gd name="T19" fmla="*/ 61 h 107"/>
              <a:gd name="T20" fmla="*/ 222 w 385"/>
              <a:gd name="T21" fmla="*/ 61 h 107"/>
              <a:gd name="T22" fmla="*/ 259 w 385"/>
              <a:gd name="T23" fmla="*/ 61 h 107"/>
              <a:gd name="T24" fmla="*/ 259 w 385"/>
              <a:gd name="T25" fmla="*/ 46 h 107"/>
              <a:gd name="T26" fmla="*/ 222 w 385"/>
              <a:gd name="T27" fmla="*/ 46 h 107"/>
              <a:gd name="T28" fmla="*/ 222 w 385"/>
              <a:gd name="T29" fmla="*/ 61 h 107"/>
              <a:gd name="T30" fmla="*/ 148 w 385"/>
              <a:gd name="T31" fmla="*/ 61 h 107"/>
              <a:gd name="T32" fmla="*/ 185 w 385"/>
              <a:gd name="T33" fmla="*/ 61 h 107"/>
              <a:gd name="T34" fmla="*/ 185 w 385"/>
              <a:gd name="T35" fmla="*/ 46 h 107"/>
              <a:gd name="T36" fmla="*/ 148 w 385"/>
              <a:gd name="T37" fmla="*/ 46 h 107"/>
              <a:gd name="T38" fmla="*/ 148 w 385"/>
              <a:gd name="T39" fmla="*/ 61 h 107"/>
              <a:gd name="T40" fmla="*/ 382 w 385"/>
              <a:gd name="T41" fmla="*/ 48 h 107"/>
              <a:gd name="T42" fmla="*/ 334 w 385"/>
              <a:gd name="T43" fmla="*/ 0 h 107"/>
              <a:gd name="T44" fmla="*/ 324 w 385"/>
              <a:gd name="T45" fmla="*/ 11 h 107"/>
              <a:gd name="T46" fmla="*/ 359 w 385"/>
              <a:gd name="T47" fmla="*/ 46 h 107"/>
              <a:gd name="T48" fmla="*/ 296 w 385"/>
              <a:gd name="T49" fmla="*/ 46 h 107"/>
              <a:gd name="T50" fmla="*/ 296 w 385"/>
              <a:gd name="T51" fmla="*/ 61 h 107"/>
              <a:gd name="T52" fmla="*/ 359 w 385"/>
              <a:gd name="T53" fmla="*/ 61 h 107"/>
              <a:gd name="T54" fmla="*/ 324 w 385"/>
              <a:gd name="T55" fmla="*/ 96 h 107"/>
              <a:gd name="T56" fmla="*/ 334 w 385"/>
              <a:gd name="T57" fmla="*/ 107 h 107"/>
              <a:gd name="T58" fmla="*/ 382 w 385"/>
              <a:gd name="T59" fmla="*/ 59 h 107"/>
              <a:gd name="T60" fmla="*/ 382 w 385"/>
              <a:gd name="T61" fmla="*/ 4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5" h="107">
                <a:moveTo>
                  <a:pt x="0" y="46"/>
                </a:moveTo>
                <a:cubicBezTo>
                  <a:pt x="37" y="46"/>
                  <a:pt x="37" y="46"/>
                  <a:pt x="37" y="46"/>
                </a:cubicBezTo>
                <a:cubicBezTo>
                  <a:pt x="37" y="61"/>
                  <a:pt x="37" y="61"/>
                  <a:pt x="37" y="61"/>
                </a:cubicBezTo>
                <a:cubicBezTo>
                  <a:pt x="0" y="61"/>
                  <a:pt x="0" y="61"/>
                  <a:pt x="0" y="61"/>
                </a:cubicBezTo>
                <a:lnTo>
                  <a:pt x="0" y="46"/>
                </a:lnTo>
                <a:close/>
                <a:moveTo>
                  <a:pt x="74" y="61"/>
                </a:moveTo>
                <a:cubicBezTo>
                  <a:pt x="111" y="61"/>
                  <a:pt x="111" y="61"/>
                  <a:pt x="111" y="61"/>
                </a:cubicBezTo>
                <a:cubicBezTo>
                  <a:pt x="111" y="46"/>
                  <a:pt x="111" y="46"/>
                  <a:pt x="111" y="46"/>
                </a:cubicBezTo>
                <a:cubicBezTo>
                  <a:pt x="74" y="46"/>
                  <a:pt x="74" y="46"/>
                  <a:pt x="74" y="46"/>
                </a:cubicBezTo>
                <a:lnTo>
                  <a:pt x="74" y="61"/>
                </a:lnTo>
                <a:close/>
                <a:moveTo>
                  <a:pt x="222" y="61"/>
                </a:moveTo>
                <a:cubicBezTo>
                  <a:pt x="259" y="61"/>
                  <a:pt x="259" y="61"/>
                  <a:pt x="259" y="61"/>
                </a:cubicBezTo>
                <a:cubicBezTo>
                  <a:pt x="259" y="46"/>
                  <a:pt x="259" y="46"/>
                  <a:pt x="259" y="46"/>
                </a:cubicBezTo>
                <a:cubicBezTo>
                  <a:pt x="222" y="46"/>
                  <a:pt x="222" y="46"/>
                  <a:pt x="222" y="46"/>
                </a:cubicBezTo>
                <a:lnTo>
                  <a:pt x="222" y="61"/>
                </a:lnTo>
                <a:close/>
                <a:moveTo>
                  <a:pt x="148" y="61"/>
                </a:moveTo>
                <a:cubicBezTo>
                  <a:pt x="185" y="61"/>
                  <a:pt x="185" y="61"/>
                  <a:pt x="185" y="61"/>
                </a:cubicBezTo>
                <a:cubicBezTo>
                  <a:pt x="185" y="46"/>
                  <a:pt x="185" y="46"/>
                  <a:pt x="185" y="46"/>
                </a:cubicBezTo>
                <a:cubicBezTo>
                  <a:pt x="148" y="46"/>
                  <a:pt x="148" y="46"/>
                  <a:pt x="148" y="46"/>
                </a:cubicBezTo>
                <a:lnTo>
                  <a:pt x="148" y="61"/>
                </a:lnTo>
                <a:close/>
                <a:moveTo>
                  <a:pt x="382" y="48"/>
                </a:moveTo>
                <a:cubicBezTo>
                  <a:pt x="334" y="0"/>
                  <a:pt x="334" y="0"/>
                  <a:pt x="334" y="0"/>
                </a:cubicBezTo>
                <a:cubicBezTo>
                  <a:pt x="324" y="11"/>
                  <a:pt x="324" y="11"/>
                  <a:pt x="324" y="11"/>
                </a:cubicBezTo>
                <a:cubicBezTo>
                  <a:pt x="359" y="46"/>
                  <a:pt x="359" y="46"/>
                  <a:pt x="359" y="46"/>
                </a:cubicBezTo>
                <a:cubicBezTo>
                  <a:pt x="296" y="46"/>
                  <a:pt x="296" y="46"/>
                  <a:pt x="296" y="46"/>
                </a:cubicBezTo>
                <a:cubicBezTo>
                  <a:pt x="296" y="61"/>
                  <a:pt x="296" y="61"/>
                  <a:pt x="296" y="61"/>
                </a:cubicBezTo>
                <a:cubicBezTo>
                  <a:pt x="359" y="61"/>
                  <a:pt x="359" y="61"/>
                  <a:pt x="359" y="61"/>
                </a:cubicBezTo>
                <a:cubicBezTo>
                  <a:pt x="324" y="96"/>
                  <a:pt x="324" y="96"/>
                  <a:pt x="324" y="96"/>
                </a:cubicBezTo>
                <a:cubicBezTo>
                  <a:pt x="334" y="107"/>
                  <a:pt x="334" y="107"/>
                  <a:pt x="334" y="107"/>
                </a:cubicBezTo>
                <a:cubicBezTo>
                  <a:pt x="382" y="59"/>
                  <a:pt x="382" y="59"/>
                  <a:pt x="382" y="59"/>
                </a:cubicBezTo>
                <a:cubicBezTo>
                  <a:pt x="385" y="56"/>
                  <a:pt x="385" y="51"/>
                  <a:pt x="382" y="48"/>
                </a:cubicBezTo>
                <a:close/>
              </a:path>
            </a:pathLst>
          </a:custGeom>
          <a:solidFill>
            <a:srgbClr val="FFFF00"/>
          </a:solidFill>
          <a:ln>
            <a:noFill/>
          </a:ln>
        </p:spPr>
        <p:txBody>
          <a:bodyPr vert="horz" wrap="square" lIns="68571" tIns="34286" rIns="68571" bIns="34286" numCol="1" anchor="t" anchorCtr="0" compatLnSpc="1">
            <a:prstTxWarp prst="textNoShape">
              <a:avLst/>
            </a:prstTxWarp>
          </a:bodyPr>
          <a:lstStyle/>
          <a:p>
            <a:endParaRPr lang="en-US"/>
          </a:p>
        </p:txBody>
      </p:sp>
      <p:sp>
        <p:nvSpPr>
          <p:cNvPr id="2071" name="TextBox 2070"/>
          <p:cNvSpPr txBox="1"/>
          <p:nvPr/>
        </p:nvSpPr>
        <p:spPr>
          <a:xfrm>
            <a:off x="4928120" y="3820202"/>
            <a:ext cx="1501549" cy="304699"/>
          </a:xfrm>
          <a:prstGeom prst="rect">
            <a:avLst/>
          </a:prstGeom>
          <a:noFill/>
        </p:spPr>
        <p:txBody>
          <a:bodyPr wrap="square" lIns="68571" tIns="68571" rIns="68571" bIns="68571" rtlCol="0">
            <a:spAutoFit/>
          </a:bodyPr>
          <a:lstStyle/>
          <a:p>
            <a:pPr>
              <a:lnSpc>
                <a:spcPct val="90000"/>
              </a:lnSpc>
              <a:spcBef>
                <a:spcPct val="20000"/>
              </a:spcBef>
              <a:buSzPct val="90000"/>
            </a:pPr>
            <a:r>
              <a:rPr lang="en-US" sz="1200" dirty="0">
                <a:solidFill>
                  <a:srgbClr val="FFFF00">
                    <a:alpha val="99000"/>
                  </a:srgbClr>
                </a:solidFill>
              </a:rPr>
              <a:t>3. Dynamic dispatch</a:t>
            </a:r>
          </a:p>
        </p:txBody>
      </p:sp>
      <p:sp>
        <p:nvSpPr>
          <p:cNvPr id="124" name="Freeform 87"/>
          <p:cNvSpPr>
            <a:spLocks noEditPoints="1"/>
          </p:cNvSpPr>
          <p:nvPr/>
        </p:nvSpPr>
        <p:spPr bwMode="auto">
          <a:xfrm>
            <a:off x="4968754" y="3356098"/>
            <a:ext cx="1235580" cy="126365"/>
          </a:xfrm>
          <a:custGeom>
            <a:avLst/>
            <a:gdLst>
              <a:gd name="T0" fmla="*/ 0 w 385"/>
              <a:gd name="T1" fmla="*/ 46 h 107"/>
              <a:gd name="T2" fmla="*/ 37 w 385"/>
              <a:gd name="T3" fmla="*/ 46 h 107"/>
              <a:gd name="T4" fmla="*/ 37 w 385"/>
              <a:gd name="T5" fmla="*/ 61 h 107"/>
              <a:gd name="T6" fmla="*/ 0 w 385"/>
              <a:gd name="T7" fmla="*/ 61 h 107"/>
              <a:gd name="T8" fmla="*/ 0 w 385"/>
              <a:gd name="T9" fmla="*/ 46 h 107"/>
              <a:gd name="T10" fmla="*/ 74 w 385"/>
              <a:gd name="T11" fmla="*/ 61 h 107"/>
              <a:gd name="T12" fmla="*/ 111 w 385"/>
              <a:gd name="T13" fmla="*/ 61 h 107"/>
              <a:gd name="T14" fmla="*/ 111 w 385"/>
              <a:gd name="T15" fmla="*/ 46 h 107"/>
              <a:gd name="T16" fmla="*/ 74 w 385"/>
              <a:gd name="T17" fmla="*/ 46 h 107"/>
              <a:gd name="T18" fmla="*/ 74 w 385"/>
              <a:gd name="T19" fmla="*/ 61 h 107"/>
              <a:gd name="T20" fmla="*/ 222 w 385"/>
              <a:gd name="T21" fmla="*/ 61 h 107"/>
              <a:gd name="T22" fmla="*/ 259 w 385"/>
              <a:gd name="T23" fmla="*/ 61 h 107"/>
              <a:gd name="T24" fmla="*/ 259 w 385"/>
              <a:gd name="T25" fmla="*/ 46 h 107"/>
              <a:gd name="T26" fmla="*/ 222 w 385"/>
              <a:gd name="T27" fmla="*/ 46 h 107"/>
              <a:gd name="T28" fmla="*/ 222 w 385"/>
              <a:gd name="T29" fmla="*/ 61 h 107"/>
              <a:gd name="T30" fmla="*/ 148 w 385"/>
              <a:gd name="T31" fmla="*/ 61 h 107"/>
              <a:gd name="T32" fmla="*/ 185 w 385"/>
              <a:gd name="T33" fmla="*/ 61 h 107"/>
              <a:gd name="T34" fmla="*/ 185 w 385"/>
              <a:gd name="T35" fmla="*/ 46 h 107"/>
              <a:gd name="T36" fmla="*/ 148 w 385"/>
              <a:gd name="T37" fmla="*/ 46 h 107"/>
              <a:gd name="T38" fmla="*/ 148 w 385"/>
              <a:gd name="T39" fmla="*/ 61 h 107"/>
              <a:gd name="T40" fmla="*/ 382 w 385"/>
              <a:gd name="T41" fmla="*/ 48 h 107"/>
              <a:gd name="T42" fmla="*/ 334 w 385"/>
              <a:gd name="T43" fmla="*/ 0 h 107"/>
              <a:gd name="T44" fmla="*/ 324 w 385"/>
              <a:gd name="T45" fmla="*/ 11 h 107"/>
              <a:gd name="T46" fmla="*/ 359 w 385"/>
              <a:gd name="T47" fmla="*/ 46 h 107"/>
              <a:gd name="T48" fmla="*/ 296 w 385"/>
              <a:gd name="T49" fmla="*/ 46 h 107"/>
              <a:gd name="T50" fmla="*/ 296 w 385"/>
              <a:gd name="T51" fmla="*/ 61 h 107"/>
              <a:gd name="T52" fmla="*/ 359 w 385"/>
              <a:gd name="T53" fmla="*/ 61 h 107"/>
              <a:gd name="T54" fmla="*/ 324 w 385"/>
              <a:gd name="T55" fmla="*/ 96 h 107"/>
              <a:gd name="T56" fmla="*/ 334 w 385"/>
              <a:gd name="T57" fmla="*/ 107 h 107"/>
              <a:gd name="T58" fmla="*/ 382 w 385"/>
              <a:gd name="T59" fmla="*/ 59 h 107"/>
              <a:gd name="T60" fmla="*/ 382 w 385"/>
              <a:gd name="T61" fmla="*/ 4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5" h="107">
                <a:moveTo>
                  <a:pt x="0" y="46"/>
                </a:moveTo>
                <a:cubicBezTo>
                  <a:pt x="37" y="46"/>
                  <a:pt x="37" y="46"/>
                  <a:pt x="37" y="46"/>
                </a:cubicBezTo>
                <a:cubicBezTo>
                  <a:pt x="37" y="61"/>
                  <a:pt x="37" y="61"/>
                  <a:pt x="37" y="61"/>
                </a:cubicBezTo>
                <a:cubicBezTo>
                  <a:pt x="0" y="61"/>
                  <a:pt x="0" y="61"/>
                  <a:pt x="0" y="61"/>
                </a:cubicBezTo>
                <a:lnTo>
                  <a:pt x="0" y="46"/>
                </a:lnTo>
                <a:close/>
                <a:moveTo>
                  <a:pt x="74" y="61"/>
                </a:moveTo>
                <a:cubicBezTo>
                  <a:pt x="111" y="61"/>
                  <a:pt x="111" y="61"/>
                  <a:pt x="111" y="61"/>
                </a:cubicBezTo>
                <a:cubicBezTo>
                  <a:pt x="111" y="46"/>
                  <a:pt x="111" y="46"/>
                  <a:pt x="111" y="46"/>
                </a:cubicBezTo>
                <a:cubicBezTo>
                  <a:pt x="74" y="46"/>
                  <a:pt x="74" y="46"/>
                  <a:pt x="74" y="46"/>
                </a:cubicBezTo>
                <a:lnTo>
                  <a:pt x="74" y="61"/>
                </a:lnTo>
                <a:close/>
                <a:moveTo>
                  <a:pt x="222" y="61"/>
                </a:moveTo>
                <a:cubicBezTo>
                  <a:pt x="259" y="61"/>
                  <a:pt x="259" y="61"/>
                  <a:pt x="259" y="61"/>
                </a:cubicBezTo>
                <a:cubicBezTo>
                  <a:pt x="259" y="46"/>
                  <a:pt x="259" y="46"/>
                  <a:pt x="259" y="46"/>
                </a:cubicBezTo>
                <a:cubicBezTo>
                  <a:pt x="222" y="46"/>
                  <a:pt x="222" y="46"/>
                  <a:pt x="222" y="46"/>
                </a:cubicBezTo>
                <a:lnTo>
                  <a:pt x="222" y="61"/>
                </a:lnTo>
                <a:close/>
                <a:moveTo>
                  <a:pt x="148" y="61"/>
                </a:moveTo>
                <a:cubicBezTo>
                  <a:pt x="185" y="61"/>
                  <a:pt x="185" y="61"/>
                  <a:pt x="185" y="61"/>
                </a:cubicBezTo>
                <a:cubicBezTo>
                  <a:pt x="185" y="46"/>
                  <a:pt x="185" y="46"/>
                  <a:pt x="185" y="46"/>
                </a:cubicBezTo>
                <a:cubicBezTo>
                  <a:pt x="148" y="46"/>
                  <a:pt x="148" y="46"/>
                  <a:pt x="148" y="46"/>
                </a:cubicBezTo>
                <a:lnTo>
                  <a:pt x="148" y="61"/>
                </a:lnTo>
                <a:close/>
                <a:moveTo>
                  <a:pt x="382" y="48"/>
                </a:moveTo>
                <a:cubicBezTo>
                  <a:pt x="334" y="0"/>
                  <a:pt x="334" y="0"/>
                  <a:pt x="334" y="0"/>
                </a:cubicBezTo>
                <a:cubicBezTo>
                  <a:pt x="324" y="11"/>
                  <a:pt x="324" y="11"/>
                  <a:pt x="324" y="11"/>
                </a:cubicBezTo>
                <a:cubicBezTo>
                  <a:pt x="359" y="46"/>
                  <a:pt x="359" y="46"/>
                  <a:pt x="359" y="46"/>
                </a:cubicBezTo>
                <a:cubicBezTo>
                  <a:pt x="296" y="46"/>
                  <a:pt x="296" y="46"/>
                  <a:pt x="296" y="46"/>
                </a:cubicBezTo>
                <a:cubicBezTo>
                  <a:pt x="296" y="61"/>
                  <a:pt x="296" y="61"/>
                  <a:pt x="296" y="61"/>
                </a:cubicBezTo>
                <a:cubicBezTo>
                  <a:pt x="359" y="61"/>
                  <a:pt x="359" y="61"/>
                  <a:pt x="359" y="61"/>
                </a:cubicBezTo>
                <a:cubicBezTo>
                  <a:pt x="324" y="96"/>
                  <a:pt x="324" y="96"/>
                  <a:pt x="324" y="96"/>
                </a:cubicBezTo>
                <a:cubicBezTo>
                  <a:pt x="334" y="107"/>
                  <a:pt x="334" y="107"/>
                  <a:pt x="334" y="107"/>
                </a:cubicBezTo>
                <a:cubicBezTo>
                  <a:pt x="382" y="59"/>
                  <a:pt x="382" y="59"/>
                  <a:pt x="382" y="59"/>
                </a:cubicBezTo>
                <a:cubicBezTo>
                  <a:pt x="385" y="56"/>
                  <a:pt x="385" y="51"/>
                  <a:pt x="382" y="48"/>
                </a:cubicBezTo>
                <a:close/>
              </a:path>
            </a:pathLst>
          </a:custGeom>
          <a:solidFill>
            <a:srgbClr val="FFFF00"/>
          </a:solidFill>
          <a:ln>
            <a:noFill/>
          </a:ln>
        </p:spPr>
        <p:txBody>
          <a:bodyPr vert="horz" wrap="square" lIns="68571" tIns="34286" rIns="68571" bIns="34286" numCol="1" anchor="t" anchorCtr="0" compatLnSpc="1">
            <a:prstTxWarp prst="textNoShape">
              <a:avLst/>
            </a:prstTxWarp>
          </a:bodyPr>
          <a:lstStyle/>
          <a:p>
            <a:endParaRPr lang="en-US"/>
          </a:p>
        </p:txBody>
      </p:sp>
      <p:sp>
        <p:nvSpPr>
          <p:cNvPr id="2077" name="TextBox 2076"/>
          <p:cNvSpPr txBox="1"/>
          <p:nvPr/>
        </p:nvSpPr>
        <p:spPr>
          <a:xfrm>
            <a:off x="4925353" y="3462163"/>
            <a:ext cx="1349910" cy="304699"/>
          </a:xfrm>
          <a:prstGeom prst="rect">
            <a:avLst/>
          </a:prstGeom>
          <a:noFill/>
        </p:spPr>
        <p:txBody>
          <a:bodyPr wrap="square" lIns="68571" tIns="68571" rIns="68571" bIns="68571" rtlCol="0">
            <a:spAutoFit/>
          </a:bodyPr>
          <a:lstStyle/>
          <a:p>
            <a:pPr>
              <a:lnSpc>
                <a:spcPct val="90000"/>
              </a:lnSpc>
              <a:spcBef>
                <a:spcPct val="20000"/>
              </a:spcBef>
              <a:buSzPct val="90000"/>
            </a:pPr>
            <a:r>
              <a:rPr lang="en-US" sz="1200" dirty="0">
                <a:solidFill>
                  <a:srgbClr val="FFFF00">
                    <a:alpha val="99000"/>
                  </a:srgbClr>
                </a:solidFill>
              </a:rPr>
              <a:t>4. GPS Telemetry</a:t>
            </a:r>
          </a:p>
        </p:txBody>
      </p:sp>
      <p:sp>
        <p:nvSpPr>
          <p:cNvPr id="123" name="Freeform 87"/>
          <p:cNvSpPr>
            <a:spLocks noEditPoints="1"/>
          </p:cNvSpPr>
          <p:nvPr/>
        </p:nvSpPr>
        <p:spPr bwMode="auto">
          <a:xfrm rot="10800000">
            <a:off x="4917783" y="1949490"/>
            <a:ext cx="1235580" cy="126365"/>
          </a:xfrm>
          <a:custGeom>
            <a:avLst/>
            <a:gdLst>
              <a:gd name="T0" fmla="*/ 0 w 385"/>
              <a:gd name="T1" fmla="*/ 46 h 107"/>
              <a:gd name="T2" fmla="*/ 37 w 385"/>
              <a:gd name="T3" fmla="*/ 46 h 107"/>
              <a:gd name="T4" fmla="*/ 37 w 385"/>
              <a:gd name="T5" fmla="*/ 61 h 107"/>
              <a:gd name="T6" fmla="*/ 0 w 385"/>
              <a:gd name="T7" fmla="*/ 61 h 107"/>
              <a:gd name="T8" fmla="*/ 0 w 385"/>
              <a:gd name="T9" fmla="*/ 46 h 107"/>
              <a:gd name="T10" fmla="*/ 74 w 385"/>
              <a:gd name="T11" fmla="*/ 61 h 107"/>
              <a:gd name="T12" fmla="*/ 111 w 385"/>
              <a:gd name="T13" fmla="*/ 61 h 107"/>
              <a:gd name="T14" fmla="*/ 111 w 385"/>
              <a:gd name="T15" fmla="*/ 46 h 107"/>
              <a:gd name="T16" fmla="*/ 74 w 385"/>
              <a:gd name="T17" fmla="*/ 46 h 107"/>
              <a:gd name="T18" fmla="*/ 74 w 385"/>
              <a:gd name="T19" fmla="*/ 61 h 107"/>
              <a:gd name="T20" fmla="*/ 222 w 385"/>
              <a:gd name="T21" fmla="*/ 61 h 107"/>
              <a:gd name="T22" fmla="*/ 259 w 385"/>
              <a:gd name="T23" fmla="*/ 61 h 107"/>
              <a:gd name="T24" fmla="*/ 259 w 385"/>
              <a:gd name="T25" fmla="*/ 46 h 107"/>
              <a:gd name="T26" fmla="*/ 222 w 385"/>
              <a:gd name="T27" fmla="*/ 46 h 107"/>
              <a:gd name="T28" fmla="*/ 222 w 385"/>
              <a:gd name="T29" fmla="*/ 61 h 107"/>
              <a:gd name="T30" fmla="*/ 148 w 385"/>
              <a:gd name="T31" fmla="*/ 61 h 107"/>
              <a:gd name="T32" fmla="*/ 185 w 385"/>
              <a:gd name="T33" fmla="*/ 61 h 107"/>
              <a:gd name="T34" fmla="*/ 185 w 385"/>
              <a:gd name="T35" fmla="*/ 46 h 107"/>
              <a:gd name="T36" fmla="*/ 148 w 385"/>
              <a:gd name="T37" fmla="*/ 46 h 107"/>
              <a:gd name="T38" fmla="*/ 148 w 385"/>
              <a:gd name="T39" fmla="*/ 61 h 107"/>
              <a:gd name="T40" fmla="*/ 382 w 385"/>
              <a:gd name="T41" fmla="*/ 48 h 107"/>
              <a:gd name="T42" fmla="*/ 334 w 385"/>
              <a:gd name="T43" fmla="*/ 0 h 107"/>
              <a:gd name="T44" fmla="*/ 324 w 385"/>
              <a:gd name="T45" fmla="*/ 11 h 107"/>
              <a:gd name="T46" fmla="*/ 359 w 385"/>
              <a:gd name="T47" fmla="*/ 46 h 107"/>
              <a:gd name="T48" fmla="*/ 296 w 385"/>
              <a:gd name="T49" fmla="*/ 46 h 107"/>
              <a:gd name="T50" fmla="*/ 296 w 385"/>
              <a:gd name="T51" fmla="*/ 61 h 107"/>
              <a:gd name="T52" fmla="*/ 359 w 385"/>
              <a:gd name="T53" fmla="*/ 61 h 107"/>
              <a:gd name="T54" fmla="*/ 324 w 385"/>
              <a:gd name="T55" fmla="*/ 96 h 107"/>
              <a:gd name="T56" fmla="*/ 334 w 385"/>
              <a:gd name="T57" fmla="*/ 107 h 107"/>
              <a:gd name="T58" fmla="*/ 382 w 385"/>
              <a:gd name="T59" fmla="*/ 59 h 107"/>
              <a:gd name="T60" fmla="*/ 382 w 385"/>
              <a:gd name="T61" fmla="*/ 4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5" h="107">
                <a:moveTo>
                  <a:pt x="0" y="46"/>
                </a:moveTo>
                <a:cubicBezTo>
                  <a:pt x="37" y="46"/>
                  <a:pt x="37" y="46"/>
                  <a:pt x="37" y="46"/>
                </a:cubicBezTo>
                <a:cubicBezTo>
                  <a:pt x="37" y="61"/>
                  <a:pt x="37" y="61"/>
                  <a:pt x="37" y="61"/>
                </a:cubicBezTo>
                <a:cubicBezTo>
                  <a:pt x="0" y="61"/>
                  <a:pt x="0" y="61"/>
                  <a:pt x="0" y="61"/>
                </a:cubicBezTo>
                <a:lnTo>
                  <a:pt x="0" y="46"/>
                </a:lnTo>
                <a:close/>
                <a:moveTo>
                  <a:pt x="74" y="61"/>
                </a:moveTo>
                <a:cubicBezTo>
                  <a:pt x="111" y="61"/>
                  <a:pt x="111" y="61"/>
                  <a:pt x="111" y="61"/>
                </a:cubicBezTo>
                <a:cubicBezTo>
                  <a:pt x="111" y="46"/>
                  <a:pt x="111" y="46"/>
                  <a:pt x="111" y="46"/>
                </a:cubicBezTo>
                <a:cubicBezTo>
                  <a:pt x="74" y="46"/>
                  <a:pt x="74" y="46"/>
                  <a:pt x="74" y="46"/>
                </a:cubicBezTo>
                <a:lnTo>
                  <a:pt x="74" y="61"/>
                </a:lnTo>
                <a:close/>
                <a:moveTo>
                  <a:pt x="222" y="61"/>
                </a:moveTo>
                <a:cubicBezTo>
                  <a:pt x="259" y="61"/>
                  <a:pt x="259" y="61"/>
                  <a:pt x="259" y="61"/>
                </a:cubicBezTo>
                <a:cubicBezTo>
                  <a:pt x="259" y="46"/>
                  <a:pt x="259" y="46"/>
                  <a:pt x="259" y="46"/>
                </a:cubicBezTo>
                <a:cubicBezTo>
                  <a:pt x="222" y="46"/>
                  <a:pt x="222" y="46"/>
                  <a:pt x="222" y="46"/>
                </a:cubicBezTo>
                <a:lnTo>
                  <a:pt x="222" y="61"/>
                </a:lnTo>
                <a:close/>
                <a:moveTo>
                  <a:pt x="148" y="61"/>
                </a:moveTo>
                <a:cubicBezTo>
                  <a:pt x="185" y="61"/>
                  <a:pt x="185" y="61"/>
                  <a:pt x="185" y="61"/>
                </a:cubicBezTo>
                <a:cubicBezTo>
                  <a:pt x="185" y="46"/>
                  <a:pt x="185" y="46"/>
                  <a:pt x="185" y="46"/>
                </a:cubicBezTo>
                <a:cubicBezTo>
                  <a:pt x="148" y="46"/>
                  <a:pt x="148" y="46"/>
                  <a:pt x="148" y="46"/>
                </a:cubicBezTo>
                <a:lnTo>
                  <a:pt x="148" y="61"/>
                </a:lnTo>
                <a:close/>
                <a:moveTo>
                  <a:pt x="382" y="48"/>
                </a:moveTo>
                <a:cubicBezTo>
                  <a:pt x="334" y="0"/>
                  <a:pt x="334" y="0"/>
                  <a:pt x="334" y="0"/>
                </a:cubicBezTo>
                <a:cubicBezTo>
                  <a:pt x="324" y="11"/>
                  <a:pt x="324" y="11"/>
                  <a:pt x="324" y="11"/>
                </a:cubicBezTo>
                <a:cubicBezTo>
                  <a:pt x="359" y="46"/>
                  <a:pt x="359" y="46"/>
                  <a:pt x="359" y="46"/>
                </a:cubicBezTo>
                <a:cubicBezTo>
                  <a:pt x="296" y="46"/>
                  <a:pt x="296" y="46"/>
                  <a:pt x="296" y="46"/>
                </a:cubicBezTo>
                <a:cubicBezTo>
                  <a:pt x="296" y="61"/>
                  <a:pt x="296" y="61"/>
                  <a:pt x="296" y="61"/>
                </a:cubicBezTo>
                <a:cubicBezTo>
                  <a:pt x="359" y="61"/>
                  <a:pt x="359" y="61"/>
                  <a:pt x="359" y="61"/>
                </a:cubicBezTo>
                <a:cubicBezTo>
                  <a:pt x="324" y="96"/>
                  <a:pt x="324" y="96"/>
                  <a:pt x="324" y="96"/>
                </a:cubicBezTo>
                <a:cubicBezTo>
                  <a:pt x="334" y="107"/>
                  <a:pt x="334" y="107"/>
                  <a:pt x="334" y="107"/>
                </a:cubicBezTo>
                <a:cubicBezTo>
                  <a:pt x="382" y="59"/>
                  <a:pt x="382" y="59"/>
                  <a:pt x="382" y="59"/>
                </a:cubicBezTo>
                <a:cubicBezTo>
                  <a:pt x="385" y="56"/>
                  <a:pt x="385" y="51"/>
                  <a:pt x="382" y="48"/>
                </a:cubicBezTo>
                <a:close/>
              </a:path>
            </a:pathLst>
          </a:custGeom>
          <a:solidFill>
            <a:srgbClr val="FFFF00"/>
          </a:solidFill>
          <a:ln>
            <a:noFill/>
          </a:ln>
        </p:spPr>
        <p:txBody>
          <a:bodyPr vert="horz" wrap="square" lIns="68571" tIns="34286" rIns="68571" bIns="34286" numCol="1" anchor="t" anchorCtr="0" compatLnSpc="1">
            <a:prstTxWarp prst="textNoShape">
              <a:avLst/>
            </a:prstTxWarp>
          </a:bodyPr>
          <a:lstStyle/>
          <a:p>
            <a:endParaRPr lang="en-US"/>
          </a:p>
        </p:txBody>
      </p:sp>
      <p:sp>
        <p:nvSpPr>
          <p:cNvPr id="2079" name="TextBox 2078"/>
          <p:cNvSpPr txBox="1"/>
          <p:nvPr/>
        </p:nvSpPr>
        <p:spPr>
          <a:xfrm>
            <a:off x="4917783" y="2038287"/>
            <a:ext cx="1456845" cy="304699"/>
          </a:xfrm>
          <a:prstGeom prst="rect">
            <a:avLst/>
          </a:prstGeom>
          <a:noFill/>
        </p:spPr>
        <p:txBody>
          <a:bodyPr wrap="square" lIns="68571" tIns="68571" rIns="68571" bIns="68571" rtlCol="0">
            <a:spAutoFit/>
          </a:bodyPr>
          <a:lstStyle/>
          <a:p>
            <a:pPr>
              <a:lnSpc>
                <a:spcPct val="90000"/>
              </a:lnSpc>
              <a:spcBef>
                <a:spcPct val="20000"/>
              </a:spcBef>
              <a:buSzPct val="90000"/>
            </a:pPr>
            <a:r>
              <a:rPr lang="en-US" sz="1200" dirty="0">
                <a:solidFill>
                  <a:srgbClr val="FFFF00">
                    <a:alpha val="99000"/>
                  </a:srgbClr>
                </a:solidFill>
              </a:rPr>
              <a:t>5. Notification</a:t>
            </a:r>
          </a:p>
        </p:txBody>
      </p:sp>
      <p:sp>
        <p:nvSpPr>
          <p:cNvPr id="43"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44"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9"/>
              </a:rPr>
              <a:t>www.rapidbbs.cn</a:t>
            </a:r>
            <a:endParaRPr lang="zh-CN" altLang="en-US" sz="1200" b="0">
              <a:latin typeface="Arial" charset="0"/>
              <a:ea typeface="ＭＳ Ｐゴシック" pitchFamily="34" charset="-128"/>
            </a:endParaRPr>
          </a:p>
        </p:txBody>
      </p:sp>
      <p:pic>
        <p:nvPicPr>
          <p:cNvPr id="45" name="Picture 2">
            <a:hlinkClick r:id="rId19"/>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6597728"/>
      </p:ext>
    </p:extLst>
  </p:cSld>
  <p:clrMapOvr>
    <a:masterClrMapping/>
  </p:clrMapOvr>
  <p:transition advClick="0">
    <p:fade/>
  </p:transition>
  <p:timing>
    <p:tnLst>
      <p:par>
        <p:cTn id="1" dur="indefinite" restart="never" nodeType="tmRoot"/>
      </p:par>
    </p:tn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he Fantastic 12 of</a:t>
            </a:r>
          </a:p>
        </p:txBody>
      </p:sp>
      <p:sp>
        <p:nvSpPr>
          <p:cNvPr id="19" name="Rectangle 18"/>
          <p:cNvSpPr/>
          <p:nvPr/>
        </p:nvSpPr>
        <p:spPr bwMode="auto">
          <a:xfrm>
            <a:off x="378407" y="3025179"/>
            <a:ext cx="8385048" cy="480060"/>
          </a:xfrm>
          <a:prstGeom prst="rect">
            <a:avLst/>
          </a:prstGeom>
          <a:solidFill>
            <a:schemeClr val="accent5"/>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defTabSz="685637" fontAlgn="base">
              <a:spcBef>
                <a:spcPct val="0"/>
              </a:spcBef>
              <a:spcAft>
                <a:spcPct val="0"/>
              </a:spcAft>
            </a:pPr>
            <a:r>
              <a:rPr lang="en-US" sz="2100" dirty="0">
                <a:solidFill>
                  <a:schemeClr val="tx1"/>
                </a:solidFill>
              </a:rPr>
              <a:t>SMI-S 1.3/1.4 Providers</a:t>
            </a:r>
          </a:p>
        </p:txBody>
      </p:sp>
      <p:sp>
        <p:nvSpPr>
          <p:cNvPr id="24" name="Rectangle 23"/>
          <p:cNvSpPr/>
          <p:nvPr/>
        </p:nvSpPr>
        <p:spPr bwMode="auto">
          <a:xfrm>
            <a:off x="378407" y="3594396"/>
            <a:ext cx="8385048" cy="480060"/>
          </a:xfrm>
          <a:prstGeom prst="rect">
            <a:avLst/>
          </a:prstGeom>
          <a:solidFill>
            <a:schemeClr val="accent5"/>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defTabSz="685637" fontAlgn="base">
              <a:spcBef>
                <a:spcPct val="0"/>
              </a:spcBef>
              <a:spcAft>
                <a:spcPct val="0"/>
              </a:spcAft>
            </a:pPr>
            <a:r>
              <a:rPr lang="en-US" sz="2100" dirty="0">
                <a:solidFill>
                  <a:schemeClr val="tx1"/>
                </a:solidFill>
              </a:rPr>
              <a:t>Attendance at SMI Lab </a:t>
            </a:r>
            <a:r>
              <a:rPr lang="en-US" sz="2100" dirty="0" err="1">
                <a:solidFill>
                  <a:schemeClr val="tx1"/>
                </a:solidFill>
              </a:rPr>
              <a:t>Plugfests</a:t>
            </a:r>
            <a:endParaRPr lang="en-US" sz="2100" dirty="0">
              <a:solidFill>
                <a:schemeClr val="tx1"/>
              </a:solidFill>
            </a:endParaRPr>
          </a:p>
        </p:txBody>
      </p:sp>
      <p:sp>
        <p:nvSpPr>
          <p:cNvPr id="26" name="Rectangle 25"/>
          <p:cNvSpPr/>
          <p:nvPr/>
        </p:nvSpPr>
        <p:spPr bwMode="auto">
          <a:xfrm>
            <a:off x="378407" y="4160645"/>
            <a:ext cx="8385048" cy="480060"/>
          </a:xfrm>
          <a:prstGeom prst="rect">
            <a:avLst/>
          </a:prstGeom>
          <a:solidFill>
            <a:schemeClr val="accent5"/>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defTabSz="685637" fontAlgn="base">
              <a:spcBef>
                <a:spcPct val="0"/>
              </a:spcBef>
              <a:spcAft>
                <a:spcPct val="0"/>
              </a:spcAft>
            </a:pPr>
            <a:r>
              <a:rPr lang="en-US" sz="2100" dirty="0">
                <a:solidFill>
                  <a:schemeClr val="tx1"/>
                </a:solidFill>
              </a:rPr>
              <a:t>SMI-S Supported in Windows Server 2012</a:t>
            </a:r>
          </a:p>
        </p:txBody>
      </p:sp>
      <p:grpSp>
        <p:nvGrpSpPr>
          <p:cNvPr id="16" name="Group 15"/>
          <p:cNvGrpSpPr/>
          <p:nvPr/>
        </p:nvGrpSpPr>
        <p:grpSpPr>
          <a:xfrm>
            <a:off x="-18738055" y="1428749"/>
            <a:ext cx="25382397" cy="1508760"/>
            <a:chOff x="381000" y="1904999"/>
            <a:chExt cx="25382397" cy="2011680"/>
          </a:xfrm>
        </p:grpSpPr>
        <p:grpSp>
          <p:nvGrpSpPr>
            <p:cNvPr id="18" name="Group 17"/>
            <p:cNvGrpSpPr/>
            <p:nvPr/>
          </p:nvGrpSpPr>
          <p:grpSpPr>
            <a:xfrm>
              <a:off x="23751717" y="1904999"/>
              <a:ext cx="2011680" cy="2011680"/>
              <a:chOff x="23751717" y="1905000"/>
              <a:chExt cx="2011680" cy="2011680"/>
            </a:xfrm>
          </p:grpSpPr>
          <p:sp>
            <p:nvSpPr>
              <p:cNvPr id="79" name="Rectangle 78"/>
              <p:cNvSpPr/>
              <p:nvPr/>
            </p:nvSpPr>
            <p:spPr bwMode="auto">
              <a:xfrm>
                <a:off x="23751717"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 </a:t>
                </a:r>
                <a:br>
                  <a:rPr lang="en-US" sz="1500" dirty="0">
                    <a:gradFill>
                      <a:gsLst>
                        <a:gs pos="0">
                          <a:srgbClr val="FFFFFF"/>
                        </a:gs>
                        <a:gs pos="100000">
                          <a:srgbClr val="FFFFFF"/>
                        </a:gs>
                      </a:gsLst>
                      <a:lin ang="5400000" scaled="0"/>
                    </a:gradFill>
                  </a:rPr>
                </a:br>
                <a:r>
                  <a:rPr lang="en-US" sz="1500" dirty="0">
                    <a:gradFill>
                      <a:gsLst>
                        <a:gs pos="0">
                          <a:srgbClr val="FFFFFF"/>
                        </a:gs>
                        <a:gs pos="100000">
                          <a:srgbClr val="FFFFFF"/>
                        </a:gs>
                      </a:gsLst>
                      <a:lin ang="5400000" scaled="0"/>
                    </a:gradFill>
                  </a:rPr>
                  <a:t>Validation</a:t>
                </a:r>
              </a:p>
            </p:txBody>
          </p:sp>
          <p:sp>
            <p:nvSpPr>
              <p:cNvPr id="81" name="TextBox 80"/>
              <p:cNvSpPr txBox="1"/>
              <p:nvPr/>
            </p:nvSpPr>
            <p:spPr>
              <a:xfrm>
                <a:off x="25111146" y="1905000"/>
                <a:ext cx="488595"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12</a:t>
                </a:r>
              </a:p>
            </p:txBody>
          </p:sp>
        </p:grpSp>
        <p:grpSp>
          <p:nvGrpSpPr>
            <p:cNvPr id="20" name="Group 19"/>
            <p:cNvGrpSpPr/>
            <p:nvPr/>
          </p:nvGrpSpPr>
          <p:grpSpPr>
            <a:xfrm>
              <a:off x="21627110" y="1904999"/>
              <a:ext cx="2011680" cy="2011680"/>
              <a:chOff x="21628277" y="1905000"/>
              <a:chExt cx="2011680" cy="2011680"/>
            </a:xfrm>
          </p:grpSpPr>
          <p:sp>
            <p:nvSpPr>
              <p:cNvPr id="76" name="Rectangle 75"/>
              <p:cNvSpPr/>
              <p:nvPr/>
            </p:nvSpPr>
            <p:spPr bwMode="auto">
              <a:xfrm>
                <a:off x="21628277"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Standards Based Management </a:t>
                </a:r>
              </a:p>
            </p:txBody>
          </p:sp>
          <p:pic>
            <p:nvPicPr>
              <p:cNvPr id="77" name="Picture 3" descr="\\SFP\Work\White_Whale\3-22036_Kuleen_Bharadwaj\PPT\3_PlatformVision_Kuleen\SFP_Art\Plane Slide\mon_notie.png"/>
              <p:cNvPicPr>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1734293" y="2102691"/>
                <a:ext cx="617381" cy="915763"/>
              </a:xfrm>
              <a:prstGeom prst="rect">
                <a:avLst/>
              </a:prstGeom>
              <a:noFill/>
              <a:extLst>
                <a:ext uri="{909E8E84-426E-40DD-AFC4-6F175D3DCCD1}">
                  <a14:hiddenFill xmlns:a14="http://schemas.microsoft.com/office/drawing/2010/main">
                    <a:solidFill>
                      <a:srgbClr val="FFFFFF"/>
                    </a:solidFill>
                  </a14:hiddenFill>
                </a:ext>
              </a:extLst>
            </p:spPr>
          </p:pic>
          <p:sp>
            <p:nvSpPr>
              <p:cNvPr id="78" name="TextBox 77"/>
              <p:cNvSpPr txBox="1"/>
              <p:nvPr/>
            </p:nvSpPr>
            <p:spPr>
              <a:xfrm>
                <a:off x="22993494" y="1905000"/>
                <a:ext cx="488595"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11</a:t>
                </a:r>
              </a:p>
            </p:txBody>
          </p:sp>
        </p:grpSp>
        <p:grpSp>
          <p:nvGrpSpPr>
            <p:cNvPr id="21" name="Group 20"/>
            <p:cNvGrpSpPr/>
            <p:nvPr/>
          </p:nvGrpSpPr>
          <p:grpSpPr>
            <a:xfrm>
              <a:off x="19502499" y="1904999"/>
              <a:ext cx="2011680" cy="2011680"/>
              <a:chOff x="19504837" y="1905000"/>
              <a:chExt cx="2011680" cy="2011680"/>
            </a:xfrm>
          </p:grpSpPr>
          <p:sp>
            <p:nvSpPr>
              <p:cNvPr id="73" name="Rectangle 72"/>
              <p:cNvSpPr/>
              <p:nvPr/>
            </p:nvSpPr>
            <p:spPr bwMode="auto">
              <a:xfrm>
                <a:off x="19504837"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Extensive Array Support </a:t>
                </a:r>
              </a:p>
            </p:txBody>
          </p:sp>
          <p:pic>
            <p:nvPicPr>
              <p:cNvPr id="74" name="Picture 7" descr="\\MAGNUM\Projects\Microsoft\Cloud Power FY12\Design\ICONS_PNG\Physical_Virtual.png"/>
              <p:cNvPicPr>
                <a:picLocks noChangeArrowheads="1"/>
              </p:cNvPicPr>
              <p:nvPr/>
            </p:nvPicPr>
            <p:blipFill rotWithShape="1">
              <a:blip r:embed="rId6" cstate="print">
                <a:extLst>
                  <a:ext uri="{BEBA8EAE-BF5A-486C-A8C5-ECC9F3942E4B}">
                    <a14:imgProps xmlns:a14="http://schemas.microsoft.com/office/drawing/2010/main">
                      <a14:imgLayer r:embed="rId7">
                        <a14:imgEffect>
                          <a14:brightnessContrast bright="100000"/>
                        </a14:imgEffect>
                      </a14:imgLayer>
                    </a14:imgProps>
                  </a:ext>
                </a:extLst>
              </a:blip>
              <a:srcRect l="7856" t="39072" r="7907" b="5885"/>
              <a:stretch/>
            </p:blipFill>
            <p:spPr bwMode="auto">
              <a:xfrm>
                <a:off x="19529881" y="2070341"/>
                <a:ext cx="1221042" cy="962205"/>
              </a:xfrm>
              <a:prstGeom prst="rect">
                <a:avLst/>
              </a:prstGeom>
              <a:noFill/>
            </p:spPr>
          </p:pic>
          <p:sp>
            <p:nvSpPr>
              <p:cNvPr id="75" name="TextBox 74"/>
              <p:cNvSpPr txBox="1"/>
              <p:nvPr/>
            </p:nvSpPr>
            <p:spPr>
              <a:xfrm>
                <a:off x="20870054" y="1905000"/>
                <a:ext cx="488595"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10</a:t>
                </a:r>
              </a:p>
            </p:txBody>
          </p:sp>
        </p:grpSp>
        <p:grpSp>
          <p:nvGrpSpPr>
            <p:cNvPr id="22" name="Group 21"/>
            <p:cNvGrpSpPr/>
            <p:nvPr/>
          </p:nvGrpSpPr>
          <p:grpSpPr>
            <a:xfrm>
              <a:off x="17377888" y="1904999"/>
              <a:ext cx="2011680" cy="2011680"/>
              <a:chOff x="17381397" y="1905000"/>
              <a:chExt cx="2011680" cy="2011680"/>
            </a:xfrm>
          </p:grpSpPr>
          <p:sp>
            <p:nvSpPr>
              <p:cNvPr id="70" name="Rectangle 69"/>
              <p:cNvSpPr/>
              <p:nvPr/>
            </p:nvSpPr>
            <p:spPr bwMode="auto">
              <a:xfrm>
                <a:off x="17381397"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Scalable Provisioning</a:t>
                </a:r>
                <a:br>
                  <a:rPr lang="en-US" sz="1500" dirty="0">
                    <a:gradFill>
                      <a:gsLst>
                        <a:gs pos="0">
                          <a:srgbClr val="FFFFFF"/>
                        </a:gs>
                        <a:gs pos="100000">
                          <a:srgbClr val="FFFFFF"/>
                        </a:gs>
                      </a:gsLst>
                      <a:lin ang="5400000" scaled="0"/>
                    </a:gradFill>
                  </a:rPr>
                </a:br>
                <a:r>
                  <a:rPr lang="en-US" sz="1500" dirty="0">
                    <a:gradFill>
                      <a:gsLst>
                        <a:gs pos="0">
                          <a:srgbClr val="FFFFFF"/>
                        </a:gs>
                        <a:gs pos="100000">
                          <a:srgbClr val="FFFFFF"/>
                        </a:gs>
                      </a:gsLst>
                      <a:lin ang="5400000" scaled="0"/>
                    </a:gradFill>
                  </a:rPr>
                  <a:t> </a:t>
                </a:r>
              </a:p>
            </p:txBody>
          </p:sp>
          <p:pic>
            <p:nvPicPr>
              <p:cNvPr id="71" name="Picture 108"/>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7504750" y="2104845"/>
                <a:ext cx="841820" cy="880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2" name="TextBox 71"/>
              <p:cNvSpPr txBox="1"/>
              <p:nvPr/>
            </p:nvSpPr>
            <p:spPr>
              <a:xfrm>
                <a:off x="19051958"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9</a:t>
                </a:r>
              </a:p>
            </p:txBody>
          </p:sp>
        </p:grpSp>
        <p:grpSp>
          <p:nvGrpSpPr>
            <p:cNvPr id="23" name="Group 22"/>
            <p:cNvGrpSpPr/>
            <p:nvPr/>
          </p:nvGrpSpPr>
          <p:grpSpPr>
            <a:xfrm>
              <a:off x="15253277" y="1904999"/>
              <a:ext cx="2011680" cy="2011680"/>
              <a:chOff x="15253277" y="1905000"/>
              <a:chExt cx="2011680" cy="2011680"/>
            </a:xfrm>
          </p:grpSpPr>
          <p:sp>
            <p:nvSpPr>
              <p:cNvPr id="67" name="Rectangle 66"/>
              <p:cNvSpPr/>
              <p:nvPr/>
            </p:nvSpPr>
            <p:spPr bwMode="auto">
              <a:xfrm>
                <a:off x="15253277"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Storage Automation</a:t>
                </a:r>
              </a:p>
            </p:txBody>
          </p:sp>
          <p:pic>
            <p:nvPicPr>
              <p:cNvPr id="68" name="Picture 8"/>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5367380" y="2104845"/>
                <a:ext cx="1115460" cy="8877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9" name="TextBox 68"/>
              <p:cNvSpPr txBox="1"/>
              <p:nvPr/>
            </p:nvSpPr>
            <p:spPr>
              <a:xfrm>
                <a:off x="16914045"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8</a:t>
                </a:r>
              </a:p>
            </p:txBody>
          </p:sp>
        </p:grpSp>
        <p:grpSp>
          <p:nvGrpSpPr>
            <p:cNvPr id="25" name="Group 24"/>
            <p:cNvGrpSpPr/>
            <p:nvPr/>
          </p:nvGrpSpPr>
          <p:grpSpPr>
            <a:xfrm>
              <a:off x="8879444" y="1904999"/>
              <a:ext cx="2011680" cy="2011680"/>
              <a:chOff x="8877050" y="1905000"/>
              <a:chExt cx="2011680" cy="2011680"/>
            </a:xfrm>
          </p:grpSpPr>
          <p:sp>
            <p:nvSpPr>
              <p:cNvPr id="64" name="Rectangle 63"/>
              <p:cNvSpPr/>
              <p:nvPr/>
            </p:nvSpPr>
            <p:spPr bwMode="auto">
              <a:xfrm>
                <a:off x="8877050"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SAN Migration</a:t>
                </a:r>
              </a:p>
            </p:txBody>
          </p:sp>
          <p:pic>
            <p:nvPicPr>
              <p:cNvPr id="65" name="Picture 2"/>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001324" y="2087593"/>
                <a:ext cx="1018632" cy="9049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6" name="TextBox 65"/>
              <p:cNvSpPr txBox="1"/>
              <p:nvPr/>
            </p:nvSpPr>
            <p:spPr>
              <a:xfrm>
                <a:off x="10533215"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5</a:t>
                </a:r>
              </a:p>
            </p:txBody>
          </p:sp>
        </p:grpSp>
        <p:grpSp>
          <p:nvGrpSpPr>
            <p:cNvPr id="27" name="Group 26"/>
            <p:cNvGrpSpPr/>
            <p:nvPr/>
          </p:nvGrpSpPr>
          <p:grpSpPr>
            <a:xfrm>
              <a:off x="6754833" y="1904999"/>
              <a:ext cx="2011680" cy="2011680"/>
              <a:chOff x="6752439" y="1905000"/>
              <a:chExt cx="2011680" cy="2011680"/>
            </a:xfrm>
          </p:grpSpPr>
          <p:sp>
            <p:nvSpPr>
              <p:cNvPr id="61" name="Rectangle 60"/>
              <p:cNvSpPr/>
              <p:nvPr/>
            </p:nvSpPr>
            <p:spPr bwMode="auto">
              <a:xfrm>
                <a:off x="6752439"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Rapid Provisioning</a:t>
                </a:r>
                <a:br>
                  <a:rPr lang="en-US" sz="1500" dirty="0">
                    <a:gradFill>
                      <a:gsLst>
                        <a:gs pos="0">
                          <a:srgbClr val="FFFFFF"/>
                        </a:gs>
                        <a:gs pos="100000">
                          <a:srgbClr val="FFFFFF"/>
                        </a:gs>
                      </a:gsLst>
                      <a:lin ang="5400000" scaled="0"/>
                    </a:gradFill>
                  </a:rPr>
                </a:br>
                <a:r>
                  <a:rPr lang="en-US" sz="1500" dirty="0">
                    <a:gradFill>
                      <a:gsLst>
                        <a:gs pos="0">
                          <a:srgbClr val="FFFFFF"/>
                        </a:gs>
                        <a:gs pos="100000">
                          <a:srgbClr val="FFFFFF"/>
                        </a:gs>
                      </a:gsLst>
                      <a:lin ang="5400000" scaled="0"/>
                    </a:gradFill>
                  </a:rPr>
                  <a:t>  </a:t>
                </a:r>
              </a:p>
            </p:txBody>
          </p:sp>
          <p:pic>
            <p:nvPicPr>
              <p:cNvPr id="62" name="Picture 174"/>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868882" y="2058656"/>
                <a:ext cx="965199" cy="966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3" name="TextBox 62"/>
              <p:cNvSpPr txBox="1"/>
              <p:nvPr/>
            </p:nvSpPr>
            <p:spPr>
              <a:xfrm>
                <a:off x="8418995"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4</a:t>
                </a:r>
              </a:p>
            </p:txBody>
          </p:sp>
        </p:grpSp>
        <p:grpSp>
          <p:nvGrpSpPr>
            <p:cNvPr id="28" name="Group 27"/>
            <p:cNvGrpSpPr/>
            <p:nvPr/>
          </p:nvGrpSpPr>
          <p:grpSpPr>
            <a:xfrm>
              <a:off x="4630222" y="1904999"/>
              <a:ext cx="2011680" cy="2011680"/>
              <a:chOff x="4641528" y="1905000"/>
              <a:chExt cx="2011680" cy="2011680"/>
            </a:xfrm>
          </p:grpSpPr>
          <p:sp>
            <p:nvSpPr>
              <p:cNvPr id="58" name="Rectangle 57"/>
              <p:cNvSpPr/>
              <p:nvPr/>
            </p:nvSpPr>
            <p:spPr bwMode="auto">
              <a:xfrm>
                <a:off x="4641528"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Allocation and Assignment</a:t>
                </a:r>
              </a:p>
            </p:txBody>
          </p:sp>
          <p:pic>
            <p:nvPicPr>
              <p:cNvPr id="59" name="Picture 3"/>
              <p:cNvPicPr>
                <a:picLocks noChangeAspect="1" noChangeArrowheads="1"/>
              </p:cNvPicPr>
              <p:nvPr>
                <p:custDataLst>
                  <p:tags r:id="rId2"/>
                </p:custDataLst>
              </p:nvPr>
            </p:nvPicPr>
            <p:blipFill>
              <a:blip r:embed="rId12" cstate="print">
                <a:extLst>
                  <a:ext uri="{28A0092B-C50C-407E-A947-70E740481C1C}">
                    <a14:useLocalDpi xmlns:a14="http://schemas.microsoft.com/office/drawing/2010/main"/>
                  </a:ext>
                </a:extLst>
              </a:blip>
              <a:srcRect/>
              <a:stretch>
                <a:fillRect/>
              </a:stretch>
            </p:blipFill>
            <p:spPr bwMode="auto">
              <a:xfrm>
                <a:off x="4751660" y="2024982"/>
                <a:ext cx="679554" cy="984876"/>
              </a:xfrm>
              <a:prstGeom prst="rect">
                <a:avLst/>
              </a:prstGeom>
              <a:solidFill>
                <a:schemeClr val="accent1"/>
              </a:solidFill>
              <a:ln>
                <a:noFill/>
                <a:headEnd type="none" w="med" len="med"/>
                <a:tailEnd type="none" w="med" len="med"/>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0" name="TextBox 59"/>
              <p:cNvSpPr txBox="1"/>
              <p:nvPr/>
            </p:nvSpPr>
            <p:spPr>
              <a:xfrm>
                <a:off x="6312089"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3</a:t>
                </a:r>
              </a:p>
            </p:txBody>
          </p:sp>
        </p:grpSp>
        <p:grpSp>
          <p:nvGrpSpPr>
            <p:cNvPr id="29" name="Group 28"/>
            <p:cNvGrpSpPr/>
            <p:nvPr/>
          </p:nvGrpSpPr>
          <p:grpSpPr>
            <a:xfrm>
              <a:off x="13128666" y="1904999"/>
              <a:ext cx="2011680" cy="2011680"/>
              <a:chOff x="13128666" y="1904999"/>
              <a:chExt cx="2011680" cy="2011680"/>
            </a:xfrm>
          </p:grpSpPr>
          <p:sp>
            <p:nvSpPr>
              <p:cNvPr id="55" name="Rectangle 54"/>
              <p:cNvSpPr/>
              <p:nvPr/>
            </p:nvSpPr>
            <p:spPr bwMode="auto">
              <a:xfrm>
                <a:off x="13128666" y="1904999"/>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Cluster Storage Management</a:t>
                </a:r>
              </a:p>
            </p:txBody>
          </p:sp>
          <p:pic>
            <p:nvPicPr>
              <p:cNvPr id="56" name="Picture 5"/>
              <p:cNvPicPr>
                <a:picLocks noChangeAspect="1" noChangeArrowheads="1"/>
              </p:cNvPicPr>
              <p:nvPr/>
            </p:nvPicPr>
            <p:blipFill>
              <a:blip r:embed="rId13" cstate="print">
                <a:extLst>
                  <a:ext uri="{28A0092B-C50C-407E-A947-70E740481C1C}">
                    <a14:useLocalDpi xmlns:a14="http://schemas.microsoft.com/office/drawing/2010/main" val="0"/>
                  </a:ext>
                </a:extLst>
              </a:blip>
              <a:stretch>
                <a:fillRect/>
              </a:stretch>
            </p:blipFill>
            <p:spPr bwMode="auto">
              <a:xfrm>
                <a:off x="13247083" y="2034293"/>
                <a:ext cx="1049312" cy="9755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7" name="TextBox 56"/>
              <p:cNvSpPr txBox="1"/>
              <p:nvPr/>
            </p:nvSpPr>
            <p:spPr>
              <a:xfrm>
                <a:off x="14789434" y="1904999"/>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7</a:t>
                </a:r>
              </a:p>
            </p:txBody>
          </p:sp>
        </p:grpSp>
        <p:grpSp>
          <p:nvGrpSpPr>
            <p:cNvPr id="30" name="Group 29"/>
            <p:cNvGrpSpPr/>
            <p:nvPr/>
          </p:nvGrpSpPr>
          <p:grpSpPr>
            <a:xfrm>
              <a:off x="11004055" y="1904999"/>
              <a:ext cx="2011680" cy="2011680"/>
              <a:chOff x="11001661" y="1904999"/>
              <a:chExt cx="2011680" cy="2011680"/>
            </a:xfrm>
          </p:grpSpPr>
          <p:sp>
            <p:nvSpPr>
              <p:cNvPr id="52" name="Rectangle 51"/>
              <p:cNvSpPr/>
              <p:nvPr/>
            </p:nvSpPr>
            <p:spPr bwMode="auto">
              <a:xfrm>
                <a:off x="11001661" y="1904999"/>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Array Onboarding</a:t>
                </a:r>
              </a:p>
            </p:txBody>
          </p:sp>
          <p:pic>
            <p:nvPicPr>
              <p:cNvPr id="53" name="Picture 52" descr="keu.png"/>
              <p:cNvPicPr>
                <a:picLocks noChangeAspect="1"/>
              </p:cNvPicPr>
              <p:nvPr>
                <p:custDataLst>
                  <p:tags r:id="rId1"/>
                </p:custDataLst>
              </p:nvPr>
            </p:nvPicPr>
            <p:blipFill>
              <a:blip r:embed="rId14" cstate="print">
                <a:grayscl/>
              </a:blip>
              <a:stretch>
                <a:fillRect/>
              </a:stretch>
            </p:blipFill>
            <p:spPr>
              <a:xfrm>
                <a:off x="11123742" y="2101626"/>
                <a:ext cx="883759" cy="883759"/>
              </a:xfrm>
              <a:prstGeom prst="rect">
                <a:avLst/>
              </a:prstGeom>
              <a:effectLst/>
            </p:spPr>
          </p:pic>
          <p:sp>
            <p:nvSpPr>
              <p:cNvPr id="54" name="TextBox 53"/>
              <p:cNvSpPr txBox="1"/>
              <p:nvPr/>
            </p:nvSpPr>
            <p:spPr>
              <a:xfrm>
                <a:off x="12657826" y="1904999"/>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6</a:t>
                </a:r>
              </a:p>
            </p:txBody>
          </p:sp>
        </p:grpSp>
        <p:grpSp>
          <p:nvGrpSpPr>
            <p:cNvPr id="31" name="Group 30"/>
            <p:cNvGrpSpPr/>
            <p:nvPr/>
          </p:nvGrpSpPr>
          <p:grpSpPr>
            <a:xfrm>
              <a:off x="2505611" y="1904999"/>
              <a:ext cx="2011680" cy="2011680"/>
              <a:chOff x="2504440" y="1905000"/>
              <a:chExt cx="2011680" cy="2011680"/>
            </a:xfrm>
          </p:grpSpPr>
          <p:sp>
            <p:nvSpPr>
              <p:cNvPr id="49" name="Rectangle 48"/>
              <p:cNvSpPr/>
              <p:nvPr/>
            </p:nvSpPr>
            <p:spPr bwMode="auto">
              <a:xfrm>
                <a:off x="2504440"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Storage Classification </a:t>
                </a:r>
              </a:p>
            </p:txBody>
          </p:sp>
          <p:pic>
            <p:nvPicPr>
              <p:cNvPr id="50" name="Picture 49"/>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625747" y="2104845"/>
                <a:ext cx="880541" cy="880541"/>
              </a:xfrm>
              <a:prstGeom prst="rect">
                <a:avLst/>
              </a:prstGeom>
            </p:spPr>
          </p:pic>
          <p:sp>
            <p:nvSpPr>
              <p:cNvPr id="51" name="TextBox 50"/>
              <p:cNvSpPr txBox="1"/>
              <p:nvPr/>
            </p:nvSpPr>
            <p:spPr>
              <a:xfrm>
                <a:off x="4170996"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2</a:t>
                </a:r>
              </a:p>
            </p:txBody>
          </p:sp>
        </p:grpSp>
        <p:grpSp>
          <p:nvGrpSpPr>
            <p:cNvPr id="32" name="Group 31"/>
            <p:cNvGrpSpPr/>
            <p:nvPr/>
          </p:nvGrpSpPr>
          <p:grpSpPr>
            <a:xfrm>
              <a:off x="381000" y="1904999"/>
              <a:ext cx="2011680" cy="2011680"/>
              <a:chOff x="381000" y="1905000"/>
              <a:chExt cx="2011680" cy="2011680"/>
            </a:xfrm>
          </p:grpSpPr>
          <p:sp>
            <p:nvSpPr>
              <p:cNvPr id="46" name="Rectangle 45"/>
              <p:cNvSpPr/>
              <p:nvPr/>
            </p:nvSpPr>
            <p:spPr bwMode="auto">
              <a:xfrm>
                <a:off x="381000"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End to End Mapping</a:t>
                </a:r>
              </a:p>
            </p:txBody>
          </p:sp>
          <p:pic>
            <p:nvPicPr>
              <p:cNvPr id="47" name="Picture 4" descr="\\MAGNUM\Projects\Microsoft\Cloud Power FY12\Design\ICONS_PNG\Check_mark.png"/>
              <p:cNvPicPr>
                <a:picLocks noChangeAspect="1" noChangeArrowheads="1"/>
              </p:cNvPicPr>
              <p:nvPr/>
            </p:nvPicPr>
            <p:blipFill rotWithShape="1">
              <a:blip r:embed="rId16" cstate="print">
                <a:lum bright="100000"/>
              </a:blip>
              <a:srcRect t="11515"/>
              <a:stretch/>
            </p:blipFill>
            <p:spPr bwMode="auto">
              <a:xfrm>
                <a:off x="411681" y="2024234"/>
                <a:ext cx="1366401" cy="1209050"/>
              </a:xfrm>
              <a:prstGeom prst="rect">
                <a:avLst/>
              </a:prstGeom>
              <a:noFill/>
            </p:spPr>
          </p:pic>
          <p:sp>
            <p:nvSpPr>
              <p:cNvPr id="48" name="TextBox 47"/>
              <p:cNvSpPr txBox="1"/>
              <p:nvPr/>
            </p:nvSpPr>
            <p:spPr>
              <a:xfrm>
                <a:off x="2051561"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1</a:t>
                </a:r>
              </a:p>
            </p:txBody>
          </p:sp>
        </p:grpSp>
        <p:grpSp>
          <p:nvGrpSpPr>
            <p:cNvPr id="33" name="Group of Crosshairs" hidden="1"/>
            <p:cNvGrpSpPr/>
            <p:nvPr/>
          </p:nvGrpSpPr>
          <p:grpSpPr>
            <a:xfrm>
              <a:off x="928053" y="2452052"/>
              <a:ext cx="24288292" cy="917575"/>
              <a:chOff x="928053" y="4429828"/>
              <a:chExt cx="24288292" cy="917575"/>
            </a:xfrm>
          </p:grpSpPr>
          <p:sp>
            <p:nvSpPr>
              <p:cNvPr id="34" name="Crosshair"/>
              <p:cNvSpPr>
                <a:spLocks/>
              </p:cNvSpPr>
              <p:nvPr/>
            </p:nvSpPr>
            <p:spPr bwMode="auto">
              <a:xfrm>
                <a:off x="928053"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5" name="Crosshair"/>
              <p:cNvSpPr>
                <a:spLocks/>
              </p:cNvSpPr>
              <p:nvPr/>
            </p:nvSpPr>
            <p:spPr bwMode="auto">
              <a:xfrm>
                <a:off x="3052664"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6" name="Crosshair"/>
              <p:cNvSpPr>
                <a:spLocks/>
              </p:cNvSpPr>
              <p:nvPr/>
            </p:nvSpPr>
            <p:spPr bwMode="auto">
              <a:xfrm>
                <a:off x="5177275"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7" name="Crosshair"/>
              <p:cNvSpPr>
                <a:spLocks/>
              </p:cNvSpPr>
              <p:nvPr/>
            </p:nvSpPr>
            <p:spPr bwMode="auto">
              <a:xfrm>
                <a:off x="7301886"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8" name="Crosshair"/>
              <p:cNvSpPr>
                <a:spLocks/>
              </p:cNvSpPr>
              <p:nvPr/>
            </p:nvSpPr>
            <p:spPr bwMode="auto">
              <a:xfrm>
                <a:off x="9426497"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9" name="Crosshair"/>
              <p:cNvSpPr>
                <a:spLocks/>
              </p:cNvSpPr>
              <p:nvPr/>
            </p:nvSpPr>
            <p:spPr bwMode="auto">
              <a:xfrm>
                <a:off x="11551108"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0" name="Crosshair"/>
              <p:cNvSpPr>
                <a:spLocks/>
              </p:cNvSpPr>
              <p:nvPr/>
            </p:nvSpPr>
            <p:spPr bwMode="auto">
              <a:xfrm>
                <a:off x="13675719"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1" name="Crosshair"/>
              <p:cNvSpPr>
                <a:spLocks/>
              </p:cNvSpPr>
              <p:nvPr/>
            </p:nvSpPr>
            <p:spPr bwMode="auto">
              <a:xfrm>
                <a:off x="15800330"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Crosshair"/>
              <p:cNvSpPr>
                <a:spLocks/>
              </p:cNvSpPr>
              <p:nvPr/>
            </p:nvSpPr>
            <p:spPr bwMode="auto">
              <a:xfrm>
                <a:off x="17924941"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Crosshair"/>
              <p:cNvSpPr>
                <a:spLocks/>
              </p:cNvSpPr>
              <p:nvPr/>
            </p:nvSpPr>
            <p:spPr bwMode="auto">
              <a:xfrm>
                <a:off x="20049552"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Crosshair"/>
              <p:cNvSpPr>
                <a:spLocks/>
              </p:cNvSpPr>
              <p:nvPr/>
            </p:nvSpPr>
            <p:spPr bwMode="auto">
              <a:xfrm>
                <a:off x="22174163"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Crosshair"/>
              <p:cNvSpPr>
                <a:spLocks/>
              </p:cNvSpPr>
              <p:nvPr/>
            </p:nvSpPr>
            <p:spPr bwMode="auto">
              <a:xfrm>
                <a:off x="24298770"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grpSp>
        <p:nvGrpSpPr>
          <p:cNvPr id="2" name="Group 1"/>
          <p:cNvGrpSpPr/>
          <p:nvPr/>
        </p:nvGrpSpPr>
        <p:grpSpPr>
          <a:xfrm>
            <a:off x="371684" y="1429658"/>
            <a:ext cx="2028711" cy="1508760"/>
            <a:chOff x="2647484" y="2057399"/>
            <a:chExt cx="2028711" cy="2011680"/>
          </a:xfrm>
          <a:solidFill>
            <a:schemeClr val="accent5"/>
          </a:solidFill>
        </p:grpSpPr>
        <p:sp>
          <p:nvSpPr>
            <p:cNvPr id="85" name="Rectangle 84"/>
            <p:cNvSpPr/>
            <p:nvPr/>
          </p:nvSpPr>
          <p:spPr bwMode="auto">
            <a:xfrm>
              <a:off x="2647484" y="2057399"/>
              <a:ext cx="2028711" cy="2011680"/>
            </a:xfrm>
            <a:prstGeom prst="rect">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Standards Based Management </a:t>
              </a:r>
            </a:p>
          </p:txBody>
        </p:sp>
        <p:pic>
          <p:nvPicPr>
            <p:cNvPr id="86" name="Picture 3" descr="\\SFP\Work\White_Whale\3-22036_Kuleen_Bharadwaj\PPT\3_PlatformVision_Kuleen\SFP_Art\Plane Slide\mon_notie.png"/>
            <p:cNvPicPr>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770531" y="2255090"/>
              <a:ext cx="617381" cy="915763"/>
            </a:xfrm>
            <a:prstGeom prst="rect">
              <a:avLst/>
            </a:prstGeom>
            <a:grpFill/>
            <a:extLst/>
          </p:spPr>
        </p:pic>
        <p:sp>
          <p:nvSpPr>
            <p:cNvPr id="87" name="TextBox 86"/>
            <p:cNvSpPr txBox="1"/>
            <p:nvPr/>
          </p:nvSpPr>
          <p:spPr>
            <a:xfrm>
              <a:off x="4029732" y="2057399"/>
              <a:ext cx="488595" cy="615553"/>
            </a:xfrm>
            <a:prstGeom prst="rect">
              <a:avLst/>
            </a:prstGeom>
            <a:grpFill/>
          </p:spPr>
          <p:txBody>
            <a:bodyPr wrap="none" lIns="0" tIns="0" rIns="45720" bIns="0" rtlCol="0">
              <a:spAutoFit/>
            </a:bodyPr>
            <a:lstStyle/>
            <a:p>
              <a:r>
                <a:rPr lang="en-US" sz="3000" b="1" dirty="0">
                  <a:gradFill>
                    <a:gsLst>
                      <a:gs pos="0">
                        <a:schemeClr val="accent5">
                          <a:lumMod val="60000"/>
                          <a:lumOff val="40000"/>
                        </a:schemeClr>
                      </a:gs>
                      <a:gs pos="85000">
                        <a:schemeClr val="accent5">
                          <a:lumMod val="60000"/>
                          <a:lumOff val="40000"/>
                        </a:schemeClr>
                      </a:gs>
                    </a:gsLst>
                    <a:lin ang="5400000" scaled="0"/>
                  </a:gradFill>
                </a:rPr>
                <a:t>11</a:t>
              </a:r>
            </a:p>
          </p:txBody>
        </p:sp>
      </p:grpSp>
      <p:pic>
        <p:nvPicPr>
          <p:cNvPr id="83" name="Picture 4" descr="\\MAGNUM\Projects\Microsoft\Cloud Power FY12\Design\ICONS_PNG\Check_mark.png"/>
          <p:cNvPicPr>
            <a:picLocks noChangeArrowheads="1"/>
          </p:cNvPicPr>
          <p:nvPr/>
        </p:nvPicPr>
        <p:blipFill rotWithShape="1">
          <a:blip r:embed="rId16" cstate="print">
            <a:lum bright="100000"/>
          </a:blip>
          <a:srcRect t="11515"/>
          <a:stretch/>
        </p:blipFill>
        <p:spPr bwMode="auto">
          <a:xfrm>
            <a:off x="4632661" y="1656988"/>
            <a:ext cx="1118145" cy="906788"/>
          </a:xfrm>
          <a:prstGeom prst="rect">
            <a:avLst/>
          </a:prstGeom>
          <a:noFill/>
        </p:spPr>
      </p:pic>
      <p:pic>
        <p:nvPicPr>
          <p:cNvPr id="80" name="Picture 2" descr="\\eventsql\dvd\Online_ART\DVD_ART36\Logos\System Center Virtual Machine Manager 2008 R2\system center virtual machine manager 2008 r2 h rev.png"/>
          <p:cNvPicPr>
            <a:picLocks noChangeAspect="1" noChangeArrowheads="1"/>
          </p:cNvPicPr>
          <p:nvPr/>
        </p:nvPicPr>
        <p:blipFill rotWithShape="1">
          <a:blip r:embed="rId17">
            <a:extLst>
              <a:ext uri="{28A0092B-C50C-407E-A947-70E740481C1C}">
                <a14:useLocalDpi xmlns:a14="http://schemas.microsoft.com/office/drawing/2010/main" val="0"/>
              </a:ext>
            </a:extLst>
          </a:blip>
          <a:srcRect r="16495"/>
          <a:stretch/>
        </p:blipFill>
        <p:spPr bwMode="auto">
          <a:xfrm>
            <a:off x="4300244" y="139992"/>
            <a:ext cx="3072835" cy="777872"/>
          </a:xfrm>
          <a:prstGeom prst="rect">
            <a:avLst/>
          </a:prstGeom>
          <a:noFill/>
          <a:extLst>
            <a:ext uri="{909E8E84-426E-40DD-AFC4-6F175D3DCCD1}">
              <a14:hiddenFill xmlns:a14="http://schemas.microsoft.com/office/drawing/2010/main">
                <a:solidFill>
                  <a:srgbClr val="FFFFFF"/>
                </a:solidFill>
              </a14:hiddenFill>
            </a:ext>
          </a:extLst>
        </p:spPr>
      </p:pic>
      <p:sp>
        <p:nvSpPr>
          <p:cNvPr id="82"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84"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8"/>
              </a:rPr>
              <a:t>www.rapidbbs.cn</a:t>
            </a:r>
            <a:endParaRPr lang="zh-CN" altLang="en-US" sz="1200" b="0">
              <a:latin typeface="Arial" charset="0"/>
              <a:ea typeface="ＭＳ Ｐゴシック" pitchFamily="34" charset="-128"/>
            </a:endParaRPr>
          </a:p>
        </p:txBody>
      </p:sp>
      <p:pic>
        <p:nvPicPr>
          <p:cNvPr id="88" name="Picture 2">
            <a:hlinkClick r:id="rId18"/>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53754723"/>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accel="50000" decel="50000" fill="hold" nodeType="afterEffect">
                                  <p:stCondLst>
                                    <p:cond delay="0"/>
                                  </p:stCondLst>
                                  <p:childTnLst>
                                    <p:animMotion origin="layout" path="M -3.88889E-6 4.44444E-6 L -0.23246 4.44444E-6 " pathEditMode="relative" rAng="0" ptsTypes="AA">
                                      <p:cBhvr>
                                        <p:cTn id="6" dur="1000" fill="hold"/>
                                        <p:tgtEl>
                                          <p:spTgt spid="16"/>
                                        </p:tgtEl>
                                        <p:attrNameLst>
                                          <p:attrName>ppt_x</p:attrName>
                                          <p:attrName>ppt_y</p:attrName>
                                        </p:attrNameLst>
                                      </p:cBhvr>
                                      <p:rCtr x="-11632" y="0"/>
                                    </p:animMotion>
                                  </p:childTnLst>
                                </p:cTn>
                              </p:par>
                              <p:par>
                                <p:cTn id="7" presetID="35" presetClass="path" presetSubtype="0" accel="50000" decel="50000" fill="hold" nodeType="withEffect">
                                  <p:stCondLst>
                                    <p:cond delay="0"/>
                                  </p:stCondLst>
                                  <p:childTnLst>
                                    <p:animMotion origin="layout" path="M 0 0 L -0.25 0 E" pathEditMode="relative" ptsTypes="">
                                      <p:cBhvr>
                                        <p:cTn id="8" dur="1000" fill="hold"/>
                                        <p:tgtEl>
                                          <p:spTgt spid="83"/>
                                        </p:tgtEl>
                                        <p:attrNameLst>
                                          <p:attrName>ppt_x</p:attrName>
                                          <p:attrName>ppt_y</p:attrName>
                                        </p:attrNameLst>
                                      </p:cBhvr>
                                    </p:animMotion>
                                  </p:childTnLst>
                                </p:cTn>
                              </p:par>
                            </p:childTnLst>
                          </p:cTn>
                        </p:par>
                        <p:par>
                          <p:cTn id="9" fill="hold">
                            <p:stCondLst>
                              <p:cond delay="1000"/>
                            </p:stCondLst>
                            <p:childTnLst>
                              <p:par>
                                <p:cTn id="10" presetID="22" presetClass="entr" presetSubtype="4" fill="hold" nodeType="after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down)">
                                      <p:cBhvr>
                                        <p:cTn id="12" dur="500"/>
                                        <p:tgtEl>
                                          <p:spTgt spid="2"/>
                                        </p:tgtEl>
                                      </p:cBhvr>
                                    </p:animEffect>
                                  </p:childTnLst>
                                </p:cTn>
                              </p:par>
                              <p:par>
                                <p:cTn id="13" presetID="2" presetClass="entr" presetSubtype="2" decel="100000" fill="hold" grpId="0" nodeType="withEffect">
                                  <p:stCondLst>
                                    <p:cond delay="500"/>
                                  </p:stCondLst>
                                  <p:childTnLst>
                                    <p:set>
                                      <p:cBhvr>
                                        <p:cTn id="14" dur="1" fill="hold">
                                          <p:stCondLst>
                                            <p:cond delay="0"/>
                                          </p:stCondLst>
                                        </p:cTn>
                                        <p:tgtEl>
                                          <p:spTgt spid="19"/>
                                        </p:tgtEl>
                                        <p:attrNameLst>
                                          <p:attrName>style.visibility</p:attrName>
                                        </p:attrNameLst>
                                      </p:cBhvr>
                                      <p:to>
                                        <p:strVal val="visible"/>
                                      </p:to>
                                    </p:set>
                                    <p:anim calcmode="lin" valueType="num">
                                      <p:cBhvr additive="base">
                                        <p:cTn id="15" dur="1000" fill="hold"/>
                                        <p:tgtEl>
                                          <p:spTgt spid="19"/>
                                        </p:tgtEl>
                                        <p:attrNameLst>
                                          <p:attrName>ppt_x</p:attrName>
                                        </p:attrNameLst>
                                      </p:cBhvr>
                                      <p:tavLst>
                                        <p:tav tm="0">
                                          <p:val>
                                            <p:strVal val="1+#ppt_w/2"/>
                                          </p:val>
                                        </p:tav>
                                        <p:tav tm="100000">
                                          <p:val>
                                            <p:strVal val="#ppt_x"/>
                                          </p:val>
                                        </p:tav>
                                      </p:tavLst>
                                    </p:anim>
                                    <p:anim calcmode="lin" valueType="num">
                                      <p:cBhvr additive="base">
                                        <p:cTn id="16" dur="1000" fill="hold"/>
                                        <p:tgtEl>
                                          <p:spTgt spid="19"/>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1000"/>
                                  </p:stCondLst>
                                  <p:childTnLst>
                                    <p:set>
                                      <p:cBhvr>
                                        <p:cTn id="18" dur="1" fill="hold">
                                          <p:stCondLst>
                                            <p:cond delay="0"/>
                                          </p:stCondLst>
                                        </p:cTn>
                                        <p:tgtEl>
                                          <p:spTgt spid="24"/>
                                        </p:tgtEl>
                                        <p:attrNameLst>
                                          <p:attrName>style.visibility</p:attrName>
                                        </p:attrNameLst>
                                      </p:cBhvr>
                                      <p:to>
                                        <p:strVal val="visible"/>
                                      </p:to>
                                    </p:set>
                                    <p:anim calcmode="lin" valueType="num">
                                      <p:cBhvr additive="base">
                                        <p:cTn id="19" dur="1000" fill="hold"/>
                                        <p:tgtEl>
                                          <p:spTgt spid="24"/>
                                        </p:tgtEl>
                                        <p:attrNameLst>
                                          <p:attrName>ppt_x</p:attrName>
                                        </p:attrNameLst>
                                      </p:cBhvr>
                                      <p:tavLst>
                                        <p:tav tm="0">
                                          <p:val>
                                            <p:strVal val="1+#ppt_w/2"/>
                                          </p:val>
                                        </p:tav>
                                        <p:tav tm="100000">
                                          <p:val>
                                            <p:strVal val="#ppt_x"/>
                                          </p:val>
                                        </p:tav>
                                      </p:tavLst>
                                    </p:anim>
                                    <p:anim calcmode="lin" valueType="num">
                                      <p:cBhvr additive="base">
                                        <p:cTn id="20" dur="1000" fill="hold"/>
                                        <p:tgtEl>
                                          <p:spTgt spid="24"/>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1500"/>
                                  </p:stCondLst>
                                  <p:childTnLst>
                                    <p:set>
                                      <p:cBhvr>
                                        <p:cTn id="22" dur="1" fill="hold">
                                          <p:stCondLst>
                                            <p:cond delay="0"/>
                                          </p:stCondLst>
                                        </p:cTn>
                                        <p:tgtEl>
                                          <p:spTgt spid="26"/>
                                        </p:tgtEl>
                                        <p:attrNameLst>
                                          <p:attrName>style.visibility</p:attrName>
                                        </p:attrNameLst>
                                      </p:cBhvr>
                                      <p:to>
                                        <p:strVal val="visible"/>
                                      </p:to>
                                    </p:set>
                                    <p:anim calcmode="lin" valueType="num">
                                      <p:cBhvr additive="base">
                                        <p:cTn id="23" dur="1000" fill="hold"/>
                                        <p:tgtEl>
                                          <p:spTgt spid="26"/>
                                        </p:tgtEl>
                                        <p:attrNameLst>
                                          <p:attrName>ppt_x</p:attrName>
                                        </p:attrNameLst>
                                      </p:cBhvr>
                                      <p:tavLst>
                                        <p:tav tm="0">
                                          <p:val>
                                            <p:strVal val="1+#ppt_w/2"/>
                                          </p:val>
                                        </p:tav>
                                        <p:tav tm="100000">
                                          <p:val>
                                            <p:strVal val="#ppt_x"/>
                                          </p:val>
                                        </p:tav>
                                      </p:tavLst>
                                    </p:anim>
                                    <p:anim calcmode="lin" valueType="num">
                                      <p:cBhvr additive="base">
                                        <p:cTn id="24" dur="1000" fill="hold"/>
                                        <p:tgtEl>
                                          <p:spTgt spid="2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4" grpId="0" animBg="1"/>
      <p:bldP spid="26" grpId="0" animBg="1"/>
    </p:bldLst>
  </p:timing>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bwMode="auto">
          <a:xfrm>
            <a:off x="378407" y="3024378"/>
            <a:ext cx="8385048" cy="480060"/>
          </a:xfrm>
          <a:prstGeom prst="rect">
            <a:avLst/>
          </a:prstGeom>
          <a:solidFill>
            <a:schemeClr val="accent5"/>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defTabSz="685637" fontAlgn="base">
              <a:spcBef>
                <a:spcPct val="0"/>
              </a:spcBef>
              <a:spcAft>
                <a:spcPct val="0"/>
              </a:spcAft>
            </a:pPr>
            <a:r>
              <a:rPr lang="en-US" sz="1800" dirty="0">
                <a:solidFill>
                  <a:schemeClr val="tx1"/>
                </a:solidFill>
              </a:rPr>
              <a:t>Test Harness Developed by VMM Team</a:t>
            </a:r>
          </a:p>
        </p:txBody>
      </p:sp>
      <p:sp>
        <p:nvSpPr>
          <p:cNvPr id="26" name="Rectangle 25"/>
          <p:cNvSpPr/>
          <p:nvPr/>
        </p:nvSpPr>
        <p:spPr bwMode="auto">
          <a:xfrm>
            <a:off x="378407" y="3593592"/>
            <a:ext cx="8385048" cy="480060"/>
          </a:xfrm>
          <a:prstGeom prst="rect">
            <a:avLst/>
          </a:prstGeom>
          <a:solidFill>
            <a:schemeClr val="accent5"/>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defTabSz="685637" fontAlgn="base">
              <a:spcBef>
                <a:spcPct val="0"/>
              </a:spcBef>
              <a:spcAft>
                <a:spcPct val="0"/>
              </a:spcAft>
            </a:pPr>
            <a:r>
              <a:rPr lang="en-US" sz="1800" dirty="0">
                <a:solidFill>
                  <a:schemeClr val="tx1"/>
                </a:solidFill>
              </a:rPr>
              <a:t>Provided to All Partners</a:t>
            </a:r>
          </a:p>
        </p:txBody>
      </p:sp>
      <p:sp>
        <p:nvSpPr>
          <p:cNvPr id="82" name="Rectangle 81"/>
          <p:cNvSpPr/>
          <p:nvPr/>
        </p:nvSpPr>
        <p:spPr bwMode="auto">
          <a:xfrm>
            <a:off x="378407" y="4162806"/>
            <a:ext cx="8385048" cy="480060"/>
          </a:xfrm>
          <a:prstGeom prst="rect">
            <a:avLst/>
          </a:prstGeom>
          <a:solidFill>
            <a:schemeClr val="accent5"/>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defTabSz="685637" fontAlgn="base">
              <a:spcBef>
                <a:spcPct val="0"/>
              </a:spcBef>
              <a:spcAft>
                <a:spcPct val="0"/>
              </a:spcAft>
            </a:pPr>
            <a:r>
              <a:rPr lang="en-US" sz="1800" dirty="0">
                <a:solidFill>
                  <a:schemeClr val="tx1"/>
                </a:solidFill>
              </a:rPr>
              <a:t>Primitives and End to End Scenarios (Functionality and Scale)</a:t>
            </a:r>
          </a:p>
        </p:txBody>
      </p:sp>
      <p:grpSp>
        <p:nvGrpSpPr>
          <p:cNvPr id="6" name="Group 5"/>
          <p:cNvGrpSpPr/>
          <p:nvPr/>
        </p:nvGrpSpPr>
        <p:grpSpPr>
          <a:xfrm>
            <a:off x="-20863458" y="1428749"/>
            <a:ext cx="25382397" cy="1508760"/>
            <a:chOff x="-20863462" y="1904999"/>
            <a:chExt cx="25382397" cy="2011680"/>
          </a:xfrm>
        </p:grpSpPr>
        <p:grpSp>
          <p:nvGrpSpPr>
            <p:cNvPr id="16" name="Group 15"/>
            <p:cNvGrpSpPr/>
            <p:nvPr/>
          </p:nvGrpSpPr>
          <p:grpSpPr>
            <a:xfrm>
              <a:off x="-20863462" y="1904999"/>
              <a:ext cx="25382397" cy="2011680"/>
              <a:chOff x="381000" y="1904999"/>
              <a:chExt cx="25382397" cy="2011680"/>
            </a:xfrm>
          </p:grpSpPr>
          <p:grpSp>
            <p:nvGrpSpPr>
              <p:cNvPr id="18" name="Group 17"/>
              <p:cNvGrpSpPr/>
              <p:nvPr/>
            </p:nvGrpSpPr>
            <p:grpSpPr>
              <a:xfrm>
                <a:off x="23751717" y="1904999"/>
                <a:ext cx="2011680" cy="2011680"/>
                <a:chOff x="23751717" y="1905000"/>
                <a:chExt cx="2011680" cy="2011680"/>
              </a:xfrm>
            </p:grpSpPr>
            <p:sp>
              <p:nvSpPr>
                <p:cNvPr id="79" name="Rectangle 78"/>
                <p:cNvSpPr/>
                <p:nvPr/>
              </p:nvSpPr>
              <p:spPr bwMode="auto">
                <a:xfrm>
                  <a:off x="23751717"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 </a:t>
                  </a:r>
                  <a:br>
                    <a:rPr lang="en-US" sz="1500" dirty="0">
                      <a:gradFill>
                        <a:gsLst>
                          <a:gs pos="0">
                            <a:srgbClr val="FFFFFF"/>
                          </a:gs>
                          <a:gs pos="100000">
                            <a:srgbClr val="FFFFFF"/>
                          </a:gs>
                        </a:gsLst>
                        <a:lin ang="5400000" scaled="0"/>
                      </a:gradFill>
                    </a:rPr>
                  </a:br>
                  <a:r>
                    <a:rPr lang="en-US" sz="1500" dirty="0">
                      <a:gradFill>
                        <a:gsLst>
                          <a:gs pos="0">
                            <a:srgbClr val="FFFFFF"/>
                          </a:gs>
                          <a:gs pos="100000">
                            <a:srgbClr val="FFFFFF"/>
                          </a:gs>
                        </a:gsLst>
                        <a:lin ang="5400000" scaled="0"/>
                      </a:gradFill>
                    </a:rPr>
                    <a:t>Validation</a:t>
                  </a:r>
                </a:p>
              </p:txBody>
            </p:sp>
            <p:sp>
              <p:nvSpPr>
                <p:cNvPr id="81" name="TextBox 80"/>
                <p:cNvSpPr txBox="1"/>
                <p:nvPr/>
              </p:nvSpPr>
              <p:spPr>
                <a:xfrm>
                  <a:off x="25111146" y="1905000"/>
                  <a:ext cx="488595"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12</a:t>
                  </a:r>
                </a:p>
              </p:txBody>
            </p:sp>
          </p:grpSp>
          <p:grpSp>
            <p:nvGrpSpPr>
              <p:cNvPr id="20" name="Group 19"/>
              <p:cNvGrpSpPr/>
              <p:nvPr/>
            </p:nvGrpSpPr>
            <p:grpSpPr>
              <a:xfrm>
                <a:off x="21627110" y="1904999"/>
                <a:ext cx="2011680" cy="2011680"/>
                <a:chOff x="21628277" y="1905000"/>
                <a:chExt cx="2011680" cy="2011680"/>
              </a:xfrm>
            </p:grpSpPr>
            <p:sp>
              <p:nvSpPr>
                <p:cNvPr id="76" name="Rectangle 75"/>
                <p:cNvSpPr/>
                <p:nvPr/>
              </p:nvSpPr>
              <p:spPr bwMode="auto">
                <a:xfrm>
                  <a:off x="21628277"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Standards Based Management </a:t>
                  </a:r>
                </a:p>
              </p:txBody>
            </p:sp>
            <p:pic>
              <p:nvPicPr>
                <p:cNvPr id="77" name="Picture 3" descr="\\SFP\Work\White_Whale\3-22036_Kuleen_Bharadwaj\PPT\3_PlatformVision_Kuleen\SFP_Art\Plane Slide\mon_notie.png"/>
                <p:cNvPicPr>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1734293" y="2102691"/>
                  <a:ext cx="617381" cy="915763"/>
                </a:xfrm>
                <a:prstGeom prst="rect">
                  <a:avLst/>
                </a:prstGeom>
                <a:noFill/>
                <a:extLst>
                  <a:ext uri="{909E8E84-426E-40DD-AFC4-6F175D3DCCD1}">
                    <a14:hiddenFill xmlns:a14="http://schemas.microsoft.com/office/drawing/2010/main">
                      <a:solidFill>
                        <a:srgbClr val="FFFFFF"/>
                      </a:solidFill>
                    </a14:hiddenFill>
                  </a:ext>
                </a:extLst>
              </p:spPr>
            </p:pic>
            <p:sp>
              <p:nvSpPr>
                <p:cNvPr id="78" name="TextBox 77"/>
                <p:cNvSpPr txBox="1"/>
                <p:nvPr/>
              </p:nvSpPr>
              <p:spPr>
                <a:xfrm>
                  <a:off x="22993494" y="1905000"/>
                  <a:ext cx="488595"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11</a:t>
                  </a:r>
                </a:p>
              </p:txBody>
            </p:sp>
          </p:grpSp>
          <p:grpSp>
            <p:nvGrpSpPr>
              <p:cNvPr id="21" name="Group 20"/>
              <p:cNvGrpSpPr/>
              <p:nvPr/>
            </p:nvGrpSpPr>
            <p:grpSpPr>
              <a:xfrm>
                <a:off x="19502499" y="1904999"/>
                <a:ext cx="2011680" cy="2011680"/>
                <a:chOff x="19504837" y="1905000"/>
                <a:chExt cx="2011680" cy="2011680"/>
              </a:xfrm>
            </p:grpSpPr>
            <p:sp>
              <p:nvSpPr>
                <p:cNvPr id="73" name="Rectangle 72"/>
                <p:cNvSpPr/>
                <p:nvPr/>
              </p:nvSpPr>
              <p:spPr bwMode="auto">
                <a:xfrm>
                  <a:off x="19504837"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Extensive Array Support </a:t>
                  </a:r>
                </a:p>
              </p:txBody>
            </p:sp>
            <p:pic>
              <p:nvPicPr>
                <p:cNvPr id="74" name="Picture 7" descr="\\MAGNUM\Projects\Microsoft\Cloud Power FY12\Design\ICONS_PNG\Physical_Virtual.png"/>
                <p:cNvPicPr>
                  <a:picLocks noChangeAspect="1" noChangeArrowheads="1"/>
                </p:cNvPicPr>
                <p:nvPr/>
              </p:nvPicPr>
              <p:blipFill rotWithShape="1">
                <a:blip r:embed="rId6" cstate="print">
                  <a:extLst>
                    <a:ext uri="{BEBA8EAE-BF5A-486C-A8C5-ECC9F3942E4B}">
                      <a14:imgProps xmlns:a14="http://schemas.microsoft.com/office/drawing/2010/main">
                        <a14:imgLayer r:embed="rId7">
                          <a14:imgEffect>
                            <a14:brightnessContrast bright="100000"/>
                          </a14:imgEffect>
                        </a14:imgLayer>
                      </a14:imgProps>
                    </a:ext>
                  </a:extLst>
                </a:blip>
                <a:srcRect l="7856" t="39072" r="7907" b="5885"/>
                <a:stretch/>
              </p:blipFill>
              <p:spPr bwMode="auto">
                <a:xfrm>
                  <a:off x="19529881" y="2070341"/>
                  <a:ext cx="1472548" cy="962205"/>
                </a:xfrm>
                <a:prstGeom prst="rect">
                  <a:avLst/>
                </a:prstGeom>
                <a:noFill/>
              </p:spPr>
            </p:pic>
            <p:sp>
              <p:nvSpPr>
                <p:cNvPr id="75" name="TextBox 74"/>
                <p:cNvSpPr txBox="1"/>
                <p:nvPr/>
              </p:nvSpPr>
              <p:spPr>
                <a:xfrm>
                  <a:off x="20870054" y="1905000"/>
                  <a:ext cx="488595"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10</a:t>
                  </a:r>
                </a:p>
              </p:txBody>
            </p:sp>
          </p:grpSp>
          <p:grpSp>
            <p:nvGrpSpPr>
              <p:cNvPr id="22" name="Group 21"/>
              <p:cNvGrpSpPr/>
              <p:nvPr/>
            </p:nvGrpSpPr>
            <p:grpSpPr>
              <a:xfrm>
                <a:off x="17377888" y="1904999"/>
                <a:ext cx="2011680" cy="2011680"/>
                <a:chOff x="17381397" y="1905000"/>
                <a:chExt cx="2011680" cy="2011680"/>
              </a:xfrm>
            </p:grpSpPr>
            <p:sp>
              <p:nvSpPr>
                <p:cNvPr id="70" name="Rectangle 69"/>
                <p:cNvSpPr/>
                <p:nvPr/>
              </p:nvSpPr>
              <p:spPr bwMode="auto">
                <a:xfrm>
                  <a:off x="17381397"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Scalable Provisioning</a:t>
                  </a:r>
                  <a:br>
                    <a:rPr lang="en-US" sz="1500" dirty="0">
                      <a:gradFill>
                        <a:gsLst>
                          <a:gs pos="0">
                            <a:srgbClr val="FFFFFF"/>
                          </a:gs>
                          <a:gs pos="100000">
                            <a:srgbClr val="FFFFFF"/>
                          </a:gs>
                        </a:gsLst>
                        <a:lin ang="5400000" scaled="0"/>
                      </a:gradFill>
                    </a:rPr>
                  </a:br>
                  <a:r>
                    <a:rPr lang="en-US" sz="1500" dirty="0">
                      <a:gradFill>
                        <a:gsLst>
                          <a:gs pos="0">
                            <a:srgbClr val="FFFFFF"/>
                          </a:gs>
                          <a:gs pos="100000">
                            <a:srgbClr val="FFFFFF"/>
                          </a:gs>
                        </a:gsLst>
                        <a:lin ang="5400000" scaled="0"/>
                      </a:gradFill>
                    </a:rPr>
                    <a:t> </a:t>
                  </a:r>
                </a:p>
              </p:txBody>
            </p:sp>
            <p:pic>
              <p:nvPicPr>
                <p:cNvPr id="71" name="Picture 108"/>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7504750" y="2104845"/>
                  <a:ext cx="841820" cy="880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2" name="TextBox 71"/>
                <p:cNvSpPr txBox="1"/>
                <p:nvPr/>
              </p:nvSpPr>
              <p:spPr>
                <a:xfrm>
                  <a:off x="19051958"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9</a:t>
                  </a:r>
                </a:p>
              </p:txBody>
            </p:sp>
          </p:grpSp>
          <p:grpSp>
            <p:nvGrpSpPr>
              <p:cNvPr id="23" name="Group 22"/>
              <p:cNvGrpSpPr/>
              <p:nvPr/>
            </p:nvGrpSpPr>
            <p:grpSpPr>
              <a:xfrm>
                <a:off x="15253277" y="1904999"/>
                <a:ext cx="2011680" cy="2011680"/>
                <a:chOff x="15253277" y="1905000"/>
                <a:chExt cx="2011680" cy="2011680"/>
              </a:xfrm>
            </p:grpSpPr>
            <p:sp>
              <p:nvSpPr>
                <p:cNvPr id="67" name="Rectangle 66"/>
                <p:cNvSpPr/>
                <p:nvPr/>
              </p:nvSpPr>
              <p:spPr bwMode="auto">
                <a:xfrm>
                  <a:off x="15253277"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Storage Automation</a:t>
                  </a:r>
                </a:p>
              </p:txBody>
            </p:sp>
            <p:pic>
              <p:nvPicPr>
                <p:cNvPr id="68" name="Picture 8"/>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5367380" y="2104845"/>
                  <a:ext cx="1115460" cy="8877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9" name="TextBox 68"/>
                <p:cNvSpPr txBox="1"/>
                <p:nvPr/>
              </p:nvSpPr>
              <p:spPr>
                <a:xfrm>
                  <a:off x="16914045"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8</a:t>
                  </a:r>
                </a:p>
              </p:txBody>
            </p:sp>
          </p:grpSp>
          <p:grpSp>
            <p:nvGrpSpPr>
              <p:cNvPr id="25" name="Group 24"/>
              <p:cNvGrpSpPr/>
              <p:nvPr/>
            </p:nvGrpSpPr>
            <p:grpSpPr>
              <a:xfrm>
                <a:off x="8879444" y="1904999"/>
                <a:ext cx="2011680" cy="2011680"/>
                <a:chOff x="8877050" y="1905000"/>
                <a:chExt cx="2011680" cy="2011680"/>
              </a:xfrm>
            </p:grpSpPr>
            <p:sp>
              <p:nvSpPr>
                <p:cNvPr id="64" name="Rectangle 63"/>
                <p:cNvSpPr/>
                <p:nvPr/>
              </p:nvSpPr>
              <p:spPr bwMode="auto">
                <a:xfrm>
                  <a:off x="8877050"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SAN Migration</a:t>
                  </a:r>
                </a:p>
              </p:txBody>
            </p:sp>
            <p:pic>
              <p:nvPicPr>
                <p:cNvPr id="65" name="Picture 2"/>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001324" y="2087593"/>
                  <a:ext cx="1018632" cy="9049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6" name="TextBox 65"/>
                <p:cNvSpPr txBox="1"/>
                <p:nvPr/>
              </p:nvSpPr>
              <p:spPr>
                <a:xfrm>
                  <a:off x="10533215"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5</a:t>
                  </a:r>
                </a:p>
              </p:txBody>
            </p:sp>
          </p:grpSp>
          <p:grpSp>
            <p:nvGrpSpPr>
              <p:cNvPr id="27" name="Group 26"/>
              <p:cNvGrpSpPr/>
              <p:nvPr/>
            </p:nvGrpSpPr>
            <p:grpSpPr>
              <a:xfrm>
                <a:off x="6754833" y="1904999"/>
                <a:ext cx="2011680" cy="2011680"/>
                <a:chOff x="6752439" y="1905000"/>
                <a:chExt cx="2011680" cy="2011680"/>
              </a:xfrm>
            </p:grpSpPr>
            <p:sp>
              <p:nvSpPr>
                <p:cNvPr id="61" name="Rectangle 60"/>
                <p:cNvSpPr/>
                <p:nvPr/>
              </p:nvSpPr>
              <p:spPr bwMode="auto">
                <a:xfrm>
                  <a:off x="6752439"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Rapid Provisioning</a:t>
                  </a:r>
                  <a:br>
                    <a:rPr lang="en-US" sz="1500" dirty="0">
                      <a:gradFill>
                        <a:gsLst>
                          <a:gs pos="0">
                            <a:srgbClr val="FFFFFF"/>
                          </a:gs>
                          <a:gs pos="100000">
                            <a:srgbClr val="FFFFFF"/>
                          </a:gs>
                        </a:gsLst>
                        <a:lin ang="5400000" scaled="0"/>
                      </a:gradFill>
                    </a:rPr>
                  </a:br>
                  <a:r>
                    <a:rPr lang="en-US" sz="1500" dirty="0">
                      <a:gradFill>
                        <a:gsLst>
                          <a:gs pos="0">
                            <a:srgbClr val="FFFFFF"/>
                          </a:gs>
                          <a:gs pos="100000">
                            <a:srgbClr val="FFFFFF"/>
                          </a:gs>
                        </a:gsLst>
                        <a:lin ang="5400000" scaled="0"/>
                      </a:gradFill>
                    </a:rPr>
                    <a:t>  </a:t>
                  </a:r>
                </a:p>
              </p:txBody>
            </p:sp>
            <p:pic>
              <p:nvPicPr>
                <p:cNvPr id="62" name="Picture 174"/>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868882" y="2058656"/>
                  <a:ext cx="965199" cy="966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3" name="TextBox 62"/>
                <p:cNvSpPr txBox="1"/>
                <p:nvPr/>
              </p:nvSpPr>
              <p:spPr>
                <a:xfrm>
                  <a:off x="8418995"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4</a:t>
                  </a:r>
                </a:p>
              </p:txBody>
            </p:sp>
          </p:grpSp>
          <p:grpSp>
            <p:nvGrpSpPr>
              <p:cNvPr id="28" name="Group 27"/>
              <p:cNvGrpSpPr/>
              <p:nvPr/>
            </p:nvGrpSpPr>
            <p:grpSpPr>
              <a:xfrm>
                <a:off x="4630222" y="1904999"/>
                <a:ext cx="2011680" cy="2011680"/>
                <a:chOff x="4641528" y="1905000"/>
                <a:chExt cx="2011680" cy="2011680"/>
              </a:xfrm>
            </p:grpSpPr>
            <p:sp>
              <p:nvSpPr>
                <p:cNvPr id="58" name="Rectangle 57"/>
                <p:cNvSpPr/>
                <p:nvPr/>
              </p:nvSpPr>
              <p:spPr bwMode="auto">
                <a:xfrm>
                  <a:off x="4641528"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Allocation and Assignment</a:t>
                  </a:r>
                </a:p>
              </p:txBody>
            </p:sp>
            <p:pic>
              <p:nvPicPr>
                <p:cNvPr id="59" name="Picture 3"/>
                <p:cNvPicPr>
                  <a:picLocks noChangeAspect="1" noChangeArrowheads="1"/>
                </p:cNvPicPr>
                <p:nvPr>
                  <p:custDataLst>
                    <p:tags r:id="rId2"/>
                  </p:custDataLst>
                </p:nvPr>
              </p:nvPicPr>
              <p:blipFill>
                <a:blip r:embed="rId12" cstate="print">
                  <a:extLst>
                    <a:ext uri="{28A0092B-C50C-407E-A947-70E740481C1C}">
                      <a14:useLocalDpi xmlns:a14="http://schemas.microsoft.com/office/drawing/2010/main"/>
                    </a:ext>
                  </a:extLst>
                </a:blip>
                <a:srcRect/>
                <a:stretch>
                  <a:fillRect/>
                </a:stretch>
              </p:blipFill>
              <p:spPr bwMode="auto">
                <a:xfrm>
                  <a:off x="4751660" y="2024982"/>
                  <a:ext cx="679554" cy="984876"/>
                </a:xfrm>
                <a:prstGeom prst="rect">
                  <a:avLst/>
                </a:prstGeom>
                <a:noFill/>
                <a:ln>
                  <a:noFill/>
                  <a:headEnd type="none" w="med" len="med"/>
                  <a:tailEnd type="none" w="med" len="med"/>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0" name="TextBox 59"/>
                <p:cNvSpPr txBox="1"/>
                <p:nvPr/>
              </p:nvSpPr>
              <p:spPr>
                <a:xfrm>
                  <a:off x="6312089"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3</a:t>
                  </a:r>
                </a:p>
              </p:txBody>
            </p:sp>
          </p:grpSp>
          <p:grpSp>
            <p:nvGrpSpPr>
              <p:cNvPr id="29" name="Group 28"/>
              <p:cNvGrpSpPr/>
              <p:nvPr/>
            </p:nvGrpSpPr>
            <p:grpSpPr>
              <a:xfrm>
                <a:off x="13128666" y="1904999"/>
                <a:ext cx="2011680" cy="2011680"/>
                <a:chOff x="13128666" y="1904999"/>
                <a:chExt cx="2011680" cy="2011680"/>
              </a:xfrm>
            </p:grpSpPr>
            <p:sp>
              <p:nvSpPr>
                <p:cNvPr id="55" name="Rectangle 54"/>
                <p:cNvSpPr/>
                <p:nvPr/>
              </p:nvSpPr>
              <p:spPr bwMode="auto">
                <a:xfrm>
                  <a:off x="13128666" y="1904999"/>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Cluster Storage Management</a:t>
                  </a:r>
                </a:p>
              </p:txBody>
            </p:sp>
            <p:pic>
              <p:nvPicPr>
                <p:cNvPr id="56" name="Picture 5"/>
                <p:cNvPicPr>
                  <a:picLocks noChangeAspect="1" noChangeArrowheads="1"/>
                </p:cNvPicPr>
                <p:nvPr/>
              </p:nvPicPr>
              <p:blipFill>
                <a:blip r:embed="rId13" cstate="print">
                  <a:extLst>
                    <a:ext uri="{28A0092B-C50C-407E-A947-70E740481C1C}">
                      <a14:useLocalDpi xmlns:a14="http://schemas.microsoft.com/office/drawing/2010/main" val="0"/>
                    </a:ext>
                  </a:extLst>
                </a:blip>
                <a:stretch>
                  <a:fillRect/>
                </a:stretch>
              </p:blipFill>
              <p:spPr bwMode="auto">
                <a:xfrm>
                  <a:off x="13247083" y="2034293"/>
                  <a:ext cx="1049312" cy="9755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7" name="TextBox 56"/>
                <p:cNvSpPr txBox="1"/>
                <p:nvPr/>
              </p:nvSpPr>
              <p:spPr>
                <a:xfrm>
                  <a:off x="14789434" y="1904999"/>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7</a:t>
                  </a:r>
                </a:p>
              </p:txBody>
            </p:sp>
          </p:grpSp>
          <p:grpSp>
            <p:nvGrpSpPr>
              <p:cNvPr id="30" name="Group 29"/>
              <p:cNvGrpSpPr/>
              <p:nvPr/>
            </p:nvGrpSpPr>
            <p:grpSpPr>
              <a:xfrm>
                <a:off x="11004055" y="1904999"/>
                <a:ext cx="2011680" cy="2011680"/>
                <a:chOff x="11001661" y="1904999"/>
                <a:chExt cx="2011680" cy="2011680"/>
              </a:xfrm>
            </p:grpSpPr>
            <p:sp>
              <p:nvSpPr>
                <p:cNvPr id="52" name="Rectangle 51"/>
                <p:cNvSpPr/>
                <p:nvPr/>
              </p:nvSpPr>
              <p:spPr bwMode="auto">
                <a:xfrm>
                  <a:off x="11001661" y="1904999"/>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Array Onboarding</a:t>
                  </a:r>
                </a:p>
              </p:txBody>
            </p:sp>
            <p:pic>
              <p:nvPicPr>
                <p:cNvPr id="53" name="Picture 52" descr="keu.png"/>
                <p:cNvPicPr>
                  <a:picLocks noChangeAspect="1"/>
                </p:cNvPicPr>
                <p:nvPr>
                  <p:custDataLst>
                    <p:tags r:id="rId1"/>
                  </p:custDataLst>
                </p:nvPr>
              </p:nvPicPr>
              <p:blipFill>
                <a:blip r:embed="rId14" cstate="print">
                  <a:grayscl/>
                </a:blip>
                <a:stretch>
                  <a:fillRect/>
                </a:stretch>
              </p:blipFill>
              <p:spPr>
                <a:xfrm>
                  <a:off x="11123742" y="2101626"/>
                  <a:ext cx="883759" cy="883759"/>
                </a:xfrm>
                <a:prstGeom prst="rect">
                  <a:avLst/>
                </a:prstGeom>
                <a:effectLst/>
              </p:spPr>
            </p:pic>
            <p:sp>
              <p:nvSpPr>
                <p:cNvPr id="54" name="TextBox 53"/>
                <p:cNvSpPr txBox="1"/>
                <p:nvPr/>
              </p:nvSpPr>
              <p:spPr>
                <a:xfrm>
                  <a:off x="12657826" y="1904999"/>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6</a:t>
                  </a:r>
                </a:p>
              </p:txBody>
            </p:sp>
          </p:grpSp>
          <p:grpSp>
            <p:nvGrpSpPr>
              <p:cNvPr id="31" name="Group 30"/>
              <p:cNvGrpSpPr/>
              <p:nvPr/>
            </p:nvGrpSpPr>
            <p:grpSpPr>
              <a:xfrm>
                <a:off x="2505611" y="1904999"/>
                <a:ext cx="2011680" cy="2011680"/>
                <a:chOff x="2504440" y="1905000"/>
                <a:chExt cx="2011680" cy="2011680"/>
              </a:xfrm>
            </p:grpSpPr>
            <p:sp>
              <p:nvSpPr>
                <p:cNvPr id="49" name="Rectangle 48"/>
                <p:cNvSpPr/>
                <p:nvPr/>
              </p:nvSpPr>
              <p:spPr bwMode="auto">
                <a:xfrm>
                  <a:off x="2504440"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Storage Classification </a:t>
                  </a:r>
                </a:p>
              </p:txBody>
            </p:sp>
            <p:pic>
              <p:nvPicPr>
                <p:cNvPr id="50" name="Picture 49"/>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625747" y="2104845"/>
                  <a:ext cx="880541" cy="880541"/>
                </a:xfrm>
                <a:prstGeom prst="rect">
                  <a:avLst/>
                </a:prstGeom>
              </p:spPr>
            </p:pic>
            <p:sp>
              <p:nvSpPr>
                <p:cNvPr id="51" name="TextBox 50"/>
                <p:cNvSpPr txBox="1"/>
                <p:nvPr/>
              </p:nvSpPr>
              <p:spPr>
                <a:xfrm>
                  <a:off x="4170996"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2</a:t>
                  </a:r>
                </a:p>
              </p:txBody>
            </p:sp>
          </p:grpSp>
          <p:grpSp>
            <p:nvGrpSpPr>
              <p:cNvPr id="32" name="Group 31"/>
              <p:cNvGrpSpPr/>
              <p:nvPr/>
            </p:nvGrpSpPr>
            <p:grpSpPr>
              <a:xfrm>
                <a:off x="381000" y="1904999"/>
                <a:ext cx="2011680" cy="2011680"/>
                <a:chOff x="381000" y="1905000"/>
                <a:chExt cx="2011680" cy="2011680"/>
              </a:xfrm>
            </p:grpSpPr>
            <p:sp>
              <p:nvSpPr>
                <p:cNvPr id="46" name="Rectangle 45"/>
                <p:cNvSpPr/>
                <p:nvPr/>
              </p:nvSpPr>
              <p:spPr bwMode="auto">
                <a:xfrm>
                  <a:off x="381000"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End to End Mapping</a:t>
                  </a:r>
                </a:p>
              </p:txBody>
            </p:sp>
            <p:pic>
              <p:nvPicPr>
                <p:cNvPr id="47" name="Picture 4" descr="\\MAGNUM\Projects\Microsoft\Cloud Power FY12\Design\ICONS_PNG\Check_mark.png"/>
                <p:cNvPicPr>
                  <a:picLocks noChangeAspect="1" noChangeArrowheads="1"/>
                </p:cNvPicPr>
                <p:nvPr/>
              </p:nvPicPr>
              <p:blipFill rotWithShape="1">
                <a:blip r:embed="rId16" cstate="print">
                  <a:lum bright="100000"/>
                </a:blip>
                <a:srcRect t="11515"/>
                <a:stretch/>
              </p:blipFill>
              <p:spPr bwMode="auto">
                <a:xfrm>
                  <a:off x="411681" y="2024234"/>
                  <a:ext cx="1366401" cy="1209050"/>
                </a:xfrm>
                <a:prstGeom prst="rect">
                  <a:avLst/>
                </a:prstGeom>
                <a:noFill/>
              </p:spPr>
            </p:pic>
            <p:sp>
              <p:nvSpPr>
                <p:cNvPr id="48" name="TextBox 47"/>
                <p:cNvSpPr txBox="1"/>
                <p:nvPr/>
              </p:nvSpPr>
              <p:spPr>
                <a:xfrm>
                  <a:off x="2051561" y="1905000"/>
                  <a:ext cx="267381" cy="615553"/>
                </a:xfrm>
                <a:prstGeom prst="rect">
                  <a:avLst/>
                </a:prstGeom>
                <a:noFill/>
              </p:spPr>
              <p:txBody>
                <a:bodyPr wrap="none" lIns="0" tIns="0" rIns="45720" bIns="0" rtlCol="0">
                  <a:spAutoFit/>
                </a:bodyPr>
                <a:lstStyle/>
                <a:p>
                  <a:r>
                    <a:rPr lang="en-US" sz="3000" b="1" dirty="0">
                      <a:gradFill>
                        <a:gsLst>
                          <a:gs pos="0">
                            <a:schemeClr val="accent4">
                              <a:lumMod val="60000"/>
                              <a:lumOff val="40000"/>
                            </a:schemeClr>
                          </a:gs>
                          <a:gs pos="86000">
                            <a:schemeClr val="accent4">
                              <a:lumMod val="60000"/>
                              <a:lumOff val="40000"/>
                            </a:schemeClr>
                          </a:gs>
                        </a:gsLst>
                        <a:lin ang="5400000" scaled="0"/>
                      </a:gradFill>
                    </a:rPr>
                    <a:t>1</a:t>
                  </a:r>
                </a:p>
              </p:txBody>
            </p:sp>
          </p:grpSp>
          <p:grpSp>
            <p:nvGrpSpPr>
              <p:cNvPr id="33" name="Group of Crosshairs" hidden="1"/>
              <p:cNvGrpSpPr/>
              <p:nvPr/>
            </p:nvGrpSpPr>
            <p:grpSpPr>
              <a:xfrm>
                <a:off x="928053" y="2452052"/>
                <a:ext cx="24288292" cy="917575"/>
                <a:chOff x="928053" y="4429828"/>
                <a:chExt cx="24288292" cy="917575"/>
              </a:xfrm>
            </p:grpSpPr>
            <p:sp>
              <p:nvSpPr>
                <p:cNvPr id="34" name="Crosshair"/>
                <p:cNvSpPr>
                  <a:spLocks/>
                </p:cNvSpPr>
                <p:nvPr/>
              </p:nvSpPr>
              <p:spPr bwMode="auto">
                <a:xfrm>
                  <a:off x="928053"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5" name="Crosshair"/>
                <p:cNvSpPr>
                  <a:spLocks/>
                </p:cNvSpPr>
                <p:nvPr/>
              </p:nvSpPr>
              <p:spPr bwMode="auto">
                <a:xfrm>
                  <a:off x="3052664"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6" name="Crosshair"/>
                <p:cNvSpPr>
                  <a:spLocks/>
                </p:cNvSpPr>
                <p:nvPr/>
              </p:nvSpPr>
              <p:spPr bwMode="auto">
                <a:xfrm>
                  <a:off x="5177275"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7" name="Crosshair"/>
                <p:cNvSpPr>
                  <a:spLocks/>
                </p:cNvSpPr>
                <p:nvPr/>
              </p:nvSpPr>
              <p:spPr bwMode="auto">
                <a:xfrm>
                  <a:off x="7301886"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8" name="Crosshair"/>
                <p:cNvSpPr>
                  <a:spLocks/>
                </p:cNvSpPr>
                <p:nvPr/>
              </p:nvSpPr>
              <p:spPr bwMode="auto">
                <a:xfrm>
                  <a:off x="9426497"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9" name="Crosshair"/>
                <p:cNvSpPr>
                  <a:spLocks/>
                </p:cNvSpPr>
                <p:nvPr/>
              </p:nvSpPr>
              <p:spPr bwMode="auto">
                <a:xfrm>
                  <a:off x="11551108"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0" name="Crosshair"/>
                <p:cNvSpPr>
                  <a:spLocks/>
                </p:cNvSpPr>
                <p:nvPr/>
              </p:nvSpPr>
              <p:spPr bwMode="auto">
                <a:xfrm>
                  <a:off x="13675719"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1" name="Crosshair"/>
                <p:cNvSpPr>
                  <a:spLocks/>
                </p:cNvSpPr>
                <p:nvPr/>
              </p:nvSpPr>
              <p:spPr bwMode="auto">
                <a:xfrm>
                  <a:off x="15800330"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Crosshair"/>
                <p:cNvSpPr>
                  <a:spLocks/>
                </p:cNvSpPr>
                <p:nvPr/>
              </p:nvSpPr>
              <p:spPr bwMode="auto">
                <a:xfrm>
                  <a:off x="17924941"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Crosshair"/>
                <p:cNvSpPr>
                  <a:spLocks/>
                </p:cNvSpPr>
                <p:nvPr/>
              </p:nvSpPr>
              <p:spPr bwMode="auto">
                <a:xfrm>
                  <a:off x="20049552"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Crosshair"/>
                <p:cNvSpPr>
                  <a:spLocks/>
                </p:cNvSpPr>
                <p:nvPr/>
              </p:nvSpPr>
              <p:spPr bwMode="auto">
                <a:xfrm>
                  <a:off x="22174163"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Crosshair"/>
                <p:cNvSpPr>
                  <a:spLocks/>
                </p:cNvSpPr>
                <p:nvPr/>
              </p:nvSpPr>
              <p:spPr bwMode="auto">
                <a:xfrm>
                  <a:off x="24298770"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pic>
          <p:nvPicPr>
            <p:cNvPr id="86" name="Picture 4" descr="\\MAGNUM\Projects\Microsoft\Cloud Power FY12\Design\ICONS_PNG\Check_mark.png"/>
            <p:cNvPicPr>
              <a:picLocks noChangeArrowheads="1"/>
            </p:cNvPicPr>
            <p:nvPr/>
          </p:nvPicPr>
          <p:blipFill rotWithShape="1">
            <a:blip r:embed="rId16" cstate="print">
              <a:lum bright="100000"/>
            </a:blip>
            <a:srcRect t="11515"/>
            <a:stretch/>
          </p:blipFill>
          <p:spPr bwMode="auto">
            <a:xfrm>
              <a:off x="2507255" y="2212775"/>
              <a:ext cx="1118145" cy="1209050"/>
            </a:xfrm>
            <a:prstGeom prst="rect">
              <a:avLst/>
            </a:prstGeom>
            <a:noFill/>
          </p:spPr>
        </p:pic>
      </p:grpSp>
      <p:grpSp>
        <p:nvGrpSpPr>
          <p:cNvPr id="5" name="Group 4"/>
          <p:cNvGrpSpPr/>
          <p:nvPr/>
        </p:nvGrpSpPr>
        <p:grpSpPr>
          <a:xfrm>
            <a:off x="382648" y="1428750"/>
            <a:ext cx="2011680" cy="1508760"/>
            <a:chOff x="382648" y="1905000"/>
            <a:chExt cx="2011680" cy="2011680"/>
          </a:xfrm>
          <a:solidFill>
            <a:schemeClr val="accent5"/>
          </a:solidFill>
        </p:grpSpPr>
        <p:grpSp>
          <p:nvGrpSpPr>
            <p:cNvPr id="4" name="Group 3"/>
            <p:cNvGrpSpPr/>
            <p:nvPr/>
          </p:nvGrpSpPr>
          <p:grpSpPr>
            <a:xfrm>
              <a:off x="382648" y="1905000"/>
              <a:ext cx="2011680" cy="2011680"/>
              <a:chOff x="6727613" y="786630"/>
              <a:chExt cx="2011680" cy="2011680"/>
            </a:xfrm>
            <a:grpFill/>
          </p:grpSpPr>
          <p:sp>
            <p:nvSpPr>
              <p:cNvPr id="83" name="Rectangle 82"/>
              <p:cNvSpPr/>
              <p:nvPr/>
            </p:nvSpPr>
            <p:spPr bwMode="auto">
              <a:xfrm>
                <a:off x="6727613" y="786630"/>
                <a:ext cx="2011680" cy="2011680"/>
              </a:xfrm>
              <a:prstGeom prst="rect">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 </a:t>
                </a:r>
                <a:br>
                  <a:rPr lang="en-US" sz="1500" dirty="0">
                    <a:gradFill>
                      <a:gsLst>
                        <a:gs pos="0">
                          <a:srgbClr val="FFFFFF"/>
                        </a:gs>
                        <a:gs pos="100000">
                          <a:srgbClr val="FFFFFF"/>
                        </a:gs>
                      </a:gsLst>
                      <a:lin ang="5400000" scaled="0"/>
                    </a:gradFill>
                  </a:rPr>
                </a:br>
                <a:r>
                  <a:rPr lang="en-US" sz="1500" dirty="0">
                    <a:gradFill>
                      <a:gsLst>
                        <a:gs pos="0">
                          <a:srgbClr val="FFFFFF"/>
                        </a:gs>
                        <a:gs pos="100000">
                          <a:srgbClr val="FFFFFF"/>
                        </a:gs>
                      </a:gsLst>
                      <a:lin ang="5400000" scaled="0"/>
                    </a:gradFill>
                  </a:rPr>
                  <a:t>Validation</a:t>
                </a:r>
              </a:p>
            </p:txBody>
          </p:sp>
          <p:sp>
            <p:nvSpPr>
              <p:cNvPr id="88" name="TextBox 87"/>
              <p:cNvSpPr txBox="1"/>
              <p:nvPr/>
            </p:nvSpPr>
            <p:spPr>
              <a:xfrm>
                <a:off x="8087042" y="786630"/>
                <a:ext cx="488595" cy="615553"/>
              </a:xfrm>
              <a:prstGeom prst="rect">
                <a:avLst/>
              </a:prstGeom>
              <a:grpFill/>
            </p:spPr>
            <p:txBody>
              <a:bodyPr wrap="none" lIns="0" tIns="0" rIns="45720" bIns="0" rtlCol="0">
                <a:spAutoFit/>
              </a:bodyPr>
              <a:lstStyle/>
              <a:p>
                <a:r>
                  <a:rPr lang="en-US" sz="3000" b="1" dirty="0">
                    <a:gradFill>
                      <a:gsLst>
                        <a:gs pos="0">
                          <a:schemeClr val="accent5">
                            <a:lumMod val="60000"/>
                            <a:lumOff val="40000"/>
                          </a:schemeClr>
                        </a:gs>
                        <a:gs pos="86000">
                          <a:schemeClr val="accent5">
                            <a:lumMod val="60000"/>
                            <a:lumOff val="40000"/>
                          </a:schemeClr>
                        </a:gs>
                      </a:gsLst>
                      <a:lin ang="5400000" scaled="0"/>
                    </a:gradFill>
                  </a:rPr>
                  <a:t>12</a:t>
                </a:r>
              </a:p>
            </p:txBody>
          </p:sp>
        </p:grpSp>
        <p:pic>
          <p:nvPicPr>
            <p:cNvPr id="87" name="Picture 4" descr="\\MAGNUM\Projects\Microsoft\Cloud Power FY12\Design\ICONS_PNG\Check_mark.png"/>
            <p:cNvPicPr>
              <a:picLocks noChangeAspect="1" noChangeArrowheads="1"/>
            </p:cNvPicPr>
            <p:nvPr/>
          </p:nvPicPr>
          <p:blipFill rotWithShape="1">
            <a:blip r:embed="rId16" cstate="print">
              <a:lum bright="100000"/>
            </a:blip>
            <a:srcRect t="11515"/>
            <a:stretch/>
          </p:blipFill>
          <p:spPr bwMode="auto">
            <a:xfrm>
              <a:off x="382651" y="2212775"/>
              <a:ext cx="1118490" cy="1209050"/>
            </a:xfrm>
            <a:prstGeom prst="rect">
              <a:avLst/>
            </a:prstGeom>
            <a:grpFill/>
          </p:spPr>
        </p:pic>
      </p:grpSp>
      <p:pic>
        <p:nvPicPr>
          <p:cNvPr id="85" name="Picture 2" descr="\\eventsql\dvd\Online_ART\DVD_ART36\Logos\System Center Virtual Machine Manager 2008 R2\system center virtual machine manager 2008 r2 h rev.png"/>
          <p:cNvPicPr>
            <a:picLocks noChangeAspect="1" noChangeArrowheads="1"/>
          </p:cNvPicPr>
          <p:nvPr/>
        </p:nvPicPr>
        <p:blipFill rotWithShape="1">
          <a:blip r:embed="rId17">
            <a:extLst>
              <a:ext uri="{28A0092B-C50C-407E-A947-70E740481C1C}">
                <a14:useLocalDpi xmlns:a14="http://schemas.microsoft.com/office/drawing/2010/main" val="0"/>
              </a:ext>
            </a:extLst>
          </a:blip>
          <a:srcRect r="16495"/>
          <a:stretch/>
        </p:blipFill>
        <p:spPr bwMode="auto">
          <a:xfrm>
            <a:off x="4300244" y="139992"/>
            <a:ext cx="3072835" cy="77787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389436" y="171451"/>
            <a:ext cx="8363938" cy="457049"/>
          </a:xfrm>
        </p:spPr>
        <p:txBody>
          <a:bodyPr/>
          <a:lstStyle/>
          <a:p>
            <a:r>
              <a:rPr lang="en-US" dirty="0"/>
              <a:t>The Fantastic 12 of</a:t>
            </a:r>
          </a:p>
        </p:txBody>
      </p:sp>
      <p:sp>
        <p:nvSpPr>
          <p:cNvPr id="80"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84"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8"/>
              </a:rPr>
              <a:t>www.rapidbbs.cn</a:t>
            </a:r>
            <a:endParaRPr lang="zh-CN" altLang="en-US" sz="1200" b="0">
              <a:latin typeface="Arial" charset="0"/>
              <a:ea typeface="ＭＳ Ｐゴシック" pitchFamily="34" charset="-128"/>
            </a:endParaRPr>
          </a:p>
        </p:txBody>
      </p:sp>
      <p:pic>
        <p:nvPicPr>
          <p:cNvPr id="89" name="Picture 2">
            <a:hlinkClick r:id="rId18"/>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3209038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accel="50000" decel="50000" fill="hold" nodeType="afterEffect">
                                  <p:stCondLst>
                                    <p:cond delay="0"/>
                                  </p:stCondLst>
                                  <p:childTnLst>
                                    <p:animMotion origin="layout" path="M -3.88889E-6 4.44444E-6 L -0.23246 4.44444E-6 " pathEditMode="relative" rAng="0" ptsTypes="AA">
                                      <p:cBhvr>
                                        <p:cTn id="6" dur="1000" fill="hold"/>
                                        <p:tgtEl>
                                          <p:spTgt spid="6"/>
                                        </p:tgtEl>
                                        <p:attrNameLst>
                                          <p:attrName>ppt_x</p:attrName>
                                          <p:attrName>ppt_y</p:attrName>
                                        </p:attrNameLst>
                                      </p:cBhvr>
                                      <p:rCtr x="-11632" y="0"/>
                                    </p:animMotion>
                                  </p:childTnLst>
                                </p:cTn>
                              </p:par>
                            </p:childTnLst>
                          </p:cTn>
                        </p:par>
                        <p:par>
                          <p:cTn id="7" fill="hold">
                            <p:stCondLst>
                              <p:cond delay="1000"/>
                            </p:stCondLst>
                            <p:childTnLst>
                              <p:par>
                                <p:cTn id="8" presetID="22" presetClass="entr" presetSubtype="4" fill="hold" nodeType="after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wipe(down)">
                                      <p:cBhvr>
                                        <p:cTn id="10" dur="500"/>
                                        <p:tgtEl>
                                          <p:spTgt spid="5"/>
                                        </p:tgtEl>
                                      </p:cBhvr>
                                    </p:animEffect>
                                  </p:childTnLst>
                                </p:cTn>
                              </p:par>
                            </p:childTnLst>
                          </p:cTn>
                        </p:par>
                        <p:par>
                          <p:cTn id="11" fill="hold">
                            <p:stCondLst>
                              <p:cond delay="1500"/>
                            </p:stCondLst>
                            <p:childTnLst>
                              <p:par>
                                <p:cTn id="12" presetID="2" presetClass="entr" presetSubtype="2" fill="hold" grpId="0" nodeType="afterEffect">
                                  <p:stCondLst>
                                    <p:cond delay="0"/>
                                  </p:stCondLst>
                                  <p:childTnLst>
                                    <p:set>
                                      <p:cBhvr>
                                        <p:cTn id="13" dur="1" fill="hold">
                                          <p:stCondLst>
                                            <p:cond delay="0"/>
                                          </p:stCondLst>
                                        </p:cTn>
                                        <p:tgtEl>
                                          <p:spTgt spid="24"/>
                                        </p:tgtEl>
                                        <p:attrNameLst>
                                          <p:attrName>style.visibility</p:attrName>
                                        </p:attrNameLst>
                                      </p:cBhvr>
                                      <p:to>
                                        <p:strVal val="visible"/>
                                      </p:to>
                                    </p:set>
                                    <p:anim calcmode="lin" valueType="num">
                                      <p:cBhvr additive="base">
                                        <p:cTn id="14" dur="1000" fill="hold"/>
                                        <p:tgtEl>
                                          <p:spTgt spid="24"/>
                                        </p:tgtEl>
                                        <p:attrNameLst>
                                          <p:attrName>ppt_x</p:attrName>
                                        </p:attrNameLst>
                                      </p:cBhvr>
                                      <p:tavLst>
                                        <p:tav tm="0">
                                          <p:val>
                                            <p:strVal val="1+#ppt_w/2"/>
                                          </p:val>
                                        </p:tav>
                                        <p:tav tm="100000">
                                          <p:val>
                                            <p:strVal val="#ppt_x"/>
                                          </p:val>
                                        </p:tav>
                                      </p:tavLst>
                                    </p:anim>
                                    <p:anim calcmode="lin" valueType="num">
                                      <p:cBhvr additive="base">
                                        <p:cTn id="15" dur="1000" fill="hold"/>
                                        <p:tgtEl>
                                          <p:spTgt spid="24"/>
                                        </p:tgtEl>
                                        <p:attrNameLst>
                                          <p:attrName>ppt_y</p:attrName>
                                        </p:attrNameLst>
                                      </p:cBhvr>
                                      <p:tavLst>
                                        <p:tav tm="0">
                                          <p:val>
                                            <p:strVal val="#ppt_y"/>
                                          </p:val>
                                        </p:tav>
                                        <p:tav tm="100000">
                                          <p:val>
                                            <p:strVal val="#ppt_y"/>
                                          </p:val>
                                        </p:tav>
                                      </p:tavLst>
                                    </p:anim>
                                  </p:childTnLst>
                                </p:cTn>
                              </p:par>
                              <p:par>
                                <p:cTn id="16" presetID="2" presetClass="entr" presetSubtype="2" fill="hold" grpId="0" nodeType="withEffect">
                                  <p:stCondLst>
                                    <p:cond delay="500"/>
                                  </p:stCondLst>
                                  <p:childTnLst>
                                    <p:set>
                                      <p:cBhvr>
                                        <p:cTn id="17" dur="1" fill="hold">
                                          <p:stCondLst>
                                            <p:cond delay="0"/>
                                          </p:stCondLst>
                                        </p:cTn>
                                        <p:tgtEl>
                                          <p:spTgt spid="26"/>
                                        </p:tgtEl>
                                        <p:attrNameLst>
                                          <p:attrName>style.visibility</p:attrName>
                                        </p:attrNameLst>
                                      </p:cBhvr>
                                      <p:to>
                                        <p:strVal val="visible"/>
                                      </p:to>
                                    </p:set>
                                    <p:anim calcmode="lin" valueType="num">
                                      <p:cBhvr additive="base">
                                        <p:cTn id="18" dur="1000" fill="hold"/>
                                        <p:tgtEl>
                                          <p:spTgt spid="26"/>
                                        </p:tgtEl>
                                        <p:attrNameLst>
                                          <p:attrName>ppt_x</p:attrName>
                                        </p:attrNameLst>
                                      </p:cBhvr>
                                      <p:tavLst>
                                        <p:tav tm="0">
                                          <p:val>
                                            <p:strVal val="1+#ppt_w/2"/>
                                          </p:val>
                                        </p:tav>
                                        <p:tav tm="100000">
                                          <p:val>
                                            <p:strVal val="#ppt_x"/>
                                          </p:val>
                                        </p:tav>
                                      </p:tavLst>
                                    </p:anim>
                                    <p:anim calcmode="lin" valueType="num">
                                      <p:cBhvr additive="base">
                                        <p:cTn id="19" dur="1000" fill="hold"/>
                                        <p:tgtEl>
                                          <p:spTgt spid="26"/>
                                        </p:tgtEl>
                                        <p:attrNameLst>
                                          <p:attrName>ppt_y</p:attrName>
                                        </p:attrNameLst>
                                      </p:cBhvr>
                                      <p:tavLst>
                                        <p:tav tm="0">
                                          <p:val>
                                            <p:strVal val="#ppt_y"/>
                                          </p:val>
                                        </p:tav>
                                        <p:tav tm="100000">
                                          <p:val>
                                            <p:strVal val="#ppt_y"/>
                                          </p:val>
                                        </p:tav>
                                      </p:tavLst>
                                    </p:anim>
                                  </p:childTnLst>
                                </p:cTn>
                              </p:par>
                              <p:par>
                                <p:cTn id="20" presetID="2" presetClass="entr" presetSubtype="2" decel="100000" fill="hold" grpId="0" nodeType="withEffect">
                                  <p:stCondLst>
                                    <p:cond delay="1000"/>
                                  </p:stCondLst>
                                  <p:childTnLst>
                                    <p:set>
                                      <p:cBhvr>
                                        <p:cTn id="21" dur="1" fill="hold">
                                          <p:stCondLst>
                                            <p:cond delay="0"/>
                                          </p:stCondLst>
                                        </p:cTn>
                                        <p:tgtEl>
                                          <p:spTgt spid="82"/>
                                        </p:tgtEl>
                                        <p:attrNameLst>
                                          <p:attrName>style.visibility</p:attrName>
                                        </p:attrNameLst>
                                      </p:cBhvr>
                                      <p:to>
                                        <p:strVal val="visible"/>
                                      </p:to>
                                    </p:set>
                                    <p:anim calcmode="lin" valueType="num">
                                      <p:cBhvr additive="base">
                                        <p:cTn id="22" dur="1000" fill="hold"/>
                                        <p:tgtEl>
                                          <p:spTgt spid="82"/>
                                        </p:tgtEl>
                                        <p:attrNameLst>
                                          <p:attrName>ppt_x</p:attrName>
                                        </p:attrNameLst>
                                      </p:cBhvr>
                                      <p:tavLst>
                                        <p:tav tm="0">
                                          <p:val>
                                            <p:strVal val="1+#ppt_w/2"/>
                                          </p:val>
                                        </p:tav>
                                        <p:tav tm="100000">
                                          <p:val>
                                            <p:strVal val="#ppt_x"/>
                                          </p:val>
                                        </p:tav>
                                      </p:tavLst>
                                    </p:anim>
                                    <p:anim calcmode="lin" valueType="num">
                                      <p:cBhvr additive="base">
                                        <p:cTn id="23" dur="1000" fill="hold"/>
                                        <p:tgtEl>
                                          <p:spTgt spid="8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6" grpId="0" animBg="1"/>
      <p:bldP spid="82" grpId="0" animBg="1"/>
    </p:bldLst>
  </p:timing>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What We Heard from You</a:t>
            </a:r>
            <a:endParaRPr lang="en-US" dirty="0"/>
          </a:p>
        </p:txBody>
      </p:sp>
      <p:sp>
        <p:nvSpPr>
          <p:cNvPr id="6" name="Rectangle 5"/>
          <p:cNvSpPr/>
          <p:nvPr/>
        </p:nvSpPr>
        <p:spPr bwMode="auto">
          <a:xfrm>
            <a:off x="1313602" y="1628775"/>
            <a:ext cx="2000771" cy="188595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t" anchorCtr="0" compatLnSpc="1">
            <a:prstTxWarp prst="textNoShape">
              <a:avLst/>
            </a:prstTxWarp>
          </a:bodyPr>
          <a:lstStyle/>
          <a:p>
            <a:pPr defTabSz="685637"/>
            <a:r>
              <a:rPr lang="en-US" sz="1700" dirty="0">
                <a:solidFill>
                  <a:srgbClr val="FFFFFF">
                    <a:alpha val="98824"/>
                  </a:srgbClr>
                </a:solidFill>
                <a:latin typeface="Segoe UI" pitchFamily="34" charset="0"/>
                <a:ea typeface="Segoe UI" pitchFamily="34" charset="0"/>
                <a:cs typeface="Segoe UI" pitchFamily="34" charset="0"/>
              </a:rPr>
              <a:t>“I don’t have enough visibility into storage from the management tools.”</a:t>
            </a:r>
          </a:p>
        </p:txBody>
      </p:sp>
      <p:sp>
        <p:nvSpPr>
          <p:cNvPr id="7" name="Rectangle 6"/>
          <p:cNvSpPr/>
          <p:nvPr/>
        </p:nvSpPr>
        <p:spPr bwMode="auto">
          <a:xfrm>
            <a:off x="3542555" y="1628775"/>
            <a:ext cx="2000771" cy="188595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t" anchorCtr="0" compatLnSpc="1">
            <a:prstTxWarp prst="textNoShape">
              <a:avLst/>
            </a:prstTxWarp>
          </a:bodyPr>
          <a:lstStyle/>
          <a:p>
            <a:pPr defTabSz="685637"/>
            <a:r>
              <a:rPr lang="en-US" sz="1700" dirty="0">
                <a:solidFill>
                  <a:srgbClr val="FFFFFF">
                    <a:alpha val="98824"/>
                  </a:srgbClr>
                </a:solidFill>
                <a:latin typeface="Segoe UI" pitchFamily="34" charset="0"/>
                <a:ea typeface="Segoe UI" pitchFamily="34" charset="0"/>
                <a:cs typeface="Segoe UI" pitchFamily="34" charset="0"/>
              </a:rPr>
              <a:t>“I want to show how virtual machines and virtualization hosts relate to the underlying storage environment.”</a:t>
            </a:r>
          </a:p>
        </p:txBody>
      </p:sp>
      <p:sp>
        <p:nvSpPr>
          <p:cNvPr id="9" name="Rectangle 8"/>
          <p:cNvSpPr/>
          <p:nvPr/>
        </p:nvSpPr>
        <p:spPr bwMode="auto">
          <a:xfrm>
            <a:off x="5771510" y="1628775"/>
            <a:ext cx="2000771" cy="188595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t" anchorCtr="0" compatLnSpc="1">
            <a:prstTxWarp prst="textNoShape">
              <a:avLst/>
            </a:prstTxWarp>
          </a:bodyPr>
          <a:lstStyle/>
          <a:p>
            <a:pPr defTabSz="685637"/>
            <a:r>
              <a:rPr lang="en-US" sz="1700" dirty="0">
                <a:solidFill>
                  <a:srgbClr val="FFFFFF">
                    <a:alpha val="98824"/>
                  </a:srgbClr>
                </a:solidFill>
                <a:latin typeface="Segoe UI" pitchFamily="34" charset="0"/>
                <a:ea typeface="Segoe UI" pitchFamily="34" charset="0"/>
                <a:cs typeface="Segoe UI" pitchFamily="34" charset="0"/>
              </a:rPr>
              <a:t>“Troubleshooting storage issues is problematic - my storage team does not know much about my virtual environment.”</a:t>
            </a:r>
          </a:p>
        </p:txBody>
      </p:sp>
      <p:sp>
        <p:nvSpPr>
          <p:cNvPr id="8"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0"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pic>
        <p:nvPicPr>
          <p:cNvPr id="11"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14252659"/>
      </p:ext>
    </p:extLst>
  </p:cSld>
  <p:clrMapOvr>
    <a:masterClrMapping/>
  </p:clrMapOvr>
  <p:transition>
    <p:fade/>
  </p:transition>
  <p:timing>
    <p:tnLst>
      <p:par>
        <p:cTn id="1" dur="indefinite" restart="never" nodeType="tmRoot"/>
      </p:par>
    </p:tnLst>
  </p:timing>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rk Blue"/>
          <p:cNvSpPr/>
          <p:nvPr/>
        </p:nvSpPr>
        <p:spPr bwMode="auto">
          <a:xfrm>
            <a:off x="1207608" y="342900"/>
            <a:ext cx="2174552" cy="655884"/>
          </a:xfrm>
          <a:prstGeom prst="roundRect">
            <a:avLst>
              <a:gd name="adj" fmla="val 0"/>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700" dirty="0">
                <a:solidFill>
                  <a:schemeClr val="tx1">
                    <a:alpha val="99000"/>
                  </a:schemeClr>
                </a:solidFill>
                <a:latin typeface="Segoe UI" pitchFamily="34" charset="0"/>
                <a:ea typeface="Segoe UI" pitchFamily="34" charset="0"/>
                <a:cs typeface="Segoe UI" pitchFamily="34" charset="0"/>
              </a:rPr>
              <a:t>Enhanced SAS Support</a:t>
            </a:r>
          </a:p>
        </p:txBody>
      </p:sp>
      <p:sp>
        <p:nvSpPr>
          <p:cNvPr id="4" name="White"/>
          <p:cNvSpPr/>
          <p:nvPr/>
        </p:nvSpPr>
        <p:spPr bwMode="auto">
          <a:xfrm>
            <a:off x="1207608" y="1200150"/>
            <a:ext cx="2174552" cy="3429000"/>
          </a:xfrm>
          <a:prstGeom prst="roundRect">
            <a:avLst>
              <a:gd name="adj" fmla="val 0"/>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700" dirty="0">
                <a:solidFill>
                  <a:schemeClr val="bg2">
                    <a:alpha val="99000"/>
                  </a:schemeClr>
                </a:solidFill>
                <a:latin typeface="Segoe UI" pitchFamily="34" charset="0"/>
                <a:ea typeface="Segoe UI" pitchFamily="34" charset="0"/>
                <a:cs typeface="Segoe UI" pitchFamily="34" charset="0"/>
              </a:rPr>
              <a:t>Management of SAS connected storage including discovery and provisioning</a:t>
            </a:r>
          </a:p>
        </p:txBody>
      </p:sp>
      <p:sp>
        <p:nvSpPr>
          <p:cNvPr id="6" name="Red"/>
          <p:cNvSpPr/>
          <p:nvPr/>
        </p:nvSpPr>
        <p:spPr bwMode="auto">
          <a:xfrm>
            <a:off x="5829627" y="342900"/>
            <a:ext cx="2057936" cy="2057400"/>
          </a:xfrm>
          <a:prstGeom prst="roundRect">
            <a:avLst>
              <a:gd name="adj" fmla="val 0"/>
            </a:avLst>
          </a:prstGeom>
          <a:solidFill>
            <a:schemeClr val="accent3"/>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700" dirty="0">
                <a:solidFill>
                  <a:schemeClr val="tx1">
                    <a:alpha val="99000"/>
                  </a:schemeClr>
                </a:solidFill>
                <a:latin typeface="Segoe UI" pitchFamily="34" charset="0"/>
                <a:ea typeface="Segoe UI" pitchFamily="34" charset="0"/>
                <a:cs typeface="Segoe UI" pitchFamily="34" charset="0"/>
              </a:rPr>
              <a:t>Storage Provisioning</a:t>
            </a:r>
          </a:p>
        </p:txBody>
      </p:sp>
      <p:sp>
        <p:nvSpPr>
          <p:cNvPr id="7" name="Orange"/>
          <p:cNvSpPr/>
          <p:nvPr/>
        </p:nvSpPr>
        <p:spPr bwMode="auto">
          <a:xfrm>
            <a:off x="3600197" y="2571750"/>
            <a:ext cx="2057936" cy="2057400"/>
          </a:xfrm>
          <a:prstGeom prst="roundRect">
            <a:avLst>
              <a:gd name="adj" fmla="val 0"/>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700" dirty="0">
                <a:solidFill>
                  <a:srgbClr val="FFFFFF">
                    <a:alpha val="98824"/>
                  </a:srgbClr>
                </a:solidFill>
                <a:latin typeface="Segoe UI" pitchFamily="34" charset="0"/>
                <a:ea typeface="Segoe UI" pitchFamily="34" charset="0"/>
                <a:cs typeface="Segoe UI" pitchFamily="34" charset="0"/>
              </a:rPr>
              <a:t>Attach/Detach</a:t>
            </a:r>
          </a:p>
        </p:txBody>
      </p:sp>
      <p:sp>
        <p:nvSpPr>
          <p:cNvPr id="8" name="Light Blue"/>
          <p:cNvSpPr/>
          <p:nvPr/>
        </p:nvSpPr>
        <p:spPr bwMode="auto">
          <a:xfrm>
            <a:off x="3600197" y="342900"/>
            <a:ext cx="2057936" cy="2057400"/>
          </a:xfrm>
          <a:prstGeom prst="roundRect">
            <a:avLst>
              <a:gd name="adj" fmla="val 0"/>
            </a:avLst>
          </a:prstGeom>
          <a:solidFill>
            <a:schemeClr val="accent6"/>
          </a:soli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700" dirty="0">
                <a:solidFill>
                  <a:schemeClr val="tx1">
                    <a:alpha val="99000"/>
                  </a:schemeClr>
                </a:solidFill>
                <a:latin typeface="Segoe UI" pitchFamily="34" charset="0"/>
                <a:ea typeface="Segoe UI" pitchFamily="34" charset="0"/>
                <a:cs typeface="Segoe UI" pitchFamily="34" charset="0"/>
              </a:rPr>
              <a:t>Discovery of SAS array connected to servers</a:t>
            </a:r>
          </a:p>
        </p:txBody>
      </p:sp>
      <p:sp>
        <p:nvSpPr>
          <p:cNvPr id="9" name="Dark Gray"/>
          <p:cNvSpPr/>
          <p:nvPr/>
        </p:nvSpPr>
        <p:spPr bwMode="auto">
          <a:xfrm>
            <a:off x="5829627" y="342900"/>
            <a:ext cx="2057936" cy="171450"/>
          </a:xfrm>
          <a:prstGeom prst="roundRect">
            <a:avLst>
              <a:gd name="adj" fmla="val 0"/>
            </a:avLst>
          </a:prstGeom>
          <a:solidFill>
            <a:schemeClr val="bg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200" dirty="0">
                <a:solidFill>
                  <a:schemeClr val="tx1">
                    <a:alpha val="99000"/>
                  </a:schemeClr>
                </a:solidFill>
                <a:latin typeface="Segoe UI" pitchFamily="34" charset="0"/>
                <a:ea typeface="Segoe UI" pitchFamily="34" charset="0"/>
                <a:cs typeface="Segoe UI" pitchFamily="34" charset="0"/>
              </a:rPr>
              <a:t>**NEW in SP1**</a:t>
            </a:r>
          </a:p>
        </p:txBody>
      </p:sp>
      <p:sp>
        <p:nvSpPr>
          <p:cNvPr id="10" name="Dark Gray"/>
          <p:cNvSpPr/>
          <p:nvPr/>
        </p:nvSpPr>
        <p:spPr bwMode="auto">
          <a:xfrm>
            <a:off x="3600197" y="2571750"/>
            <a:ext cx="2057936" cy="171450"/>
          </a:xfrm>
          <a:prstGeom prst="roundRect">
            <a:avLst>
              <a:gd name="adj" fmla="val 0"/>
            </a:avLst>
          </a:prstGeom>
          <a:solidFill>
            <a:schemeClr val="bg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200" dirty="0">
                <a:solidFill>
                  <a:schemeClr val="tx1">
                    <a:alpha val="99000"/>
                  </a:schemeClr>
                </a:solidFill>
                <a:latin typeface="Segoe UI" pitchFamily="34" charset="0"/>
                <a:ea typeface="Segoe UI" pitchFamily="34" charset="0"/>
                <a:cs typeface="Segoe UI" pitchFamily="34" charset="0"/>
              </a:rPr>
              <a:t>**NEW in SP1**</a:t>
            </a:r>
          </a:p>
        </p:txBody>
      </p:sp>
      <p:sp>
        <p:nvSpPr>
          <p:cNvPr id="20" name="Dark Gray"/>
          <p:cNvSpPr/>
          <p:nvPr/>
        </p:nvSpPr>
        <p:spPr bwMode="auto">
          <a:xfrm>
            <a:off x="3600197" y="342900"/>
            <a:ext cx="2057936" cy="171450"/>
          </a:xfrm>
          <a:prstGeom prst="roundRect">
            <a:avLst>
              <a:gd name="adj" fmla="val 0"/>
            </a:avLst>
          </a:prstGeom>
          <a:solidFill>
            <a:schemeClr val="bg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200" dirty="0">
                <a:solidFill>
                  <a:schemeClr val="tx1">
                    <a:alpha val="99000"/>
                  </a:schemeClr>
                </a:solidFill>
                <a:latin typeface="Segoe UI" pitchFamily="34" charset="0"/>
                <a:ea typeface="Segoe UI" pitchFamily="34" charset="0"/>
                <a:cs typeface="Segoe UI" pitchFamily="34" charset="0"/>
              </a:rPr>
              <a:t>**NEW in SP1**</a:t>
            </a:r>
          </a:p>
        </p:txBody>
      </p:sp>
      <p:sp>
        <p:nvSpPr>
          <p:cNvPr id="21" name="Green"/>
          <p:cNvSpPr/>
          <p:nvPr/>
        </p:nvSpPr>
        <p:spPr bwMode="auto">
          <a:xfrm>
            <a:off x="5829627" y="2571750"/>
            <a:ext cx="2057936" cy="2057400"/>
          </a:xfrm>
          <a:prstGeom prst="roundRect">
            <a:avLst>
              <a:gd name="adj" fmla="val 0"/>
            </a:avLst>
          </a:prstGeom>
          <a:solidFill>
            <a:schemeClr val="accent5"/>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700" dirty="0">
                <a:solidFill>
                  <a:schemeClr val="tx1">
                    <a:alpha val="99000"/>
                  </a:schemeClr>
                </a:solidFill>
                <a:latin typeface="Segoe UI" pitchFamily="34" charset="0"/>
                <a:ea typeface="Segoe UI" pitchFamily="34" charset="0"/>
                <a:cs typeface="Segoe UI" pitchFamily="34" charset="0"/>
              </a:rPr>
              <a:t>HP P2000</a:t>
            </a:r>
          </a:p>
          <a:p>
            <a:pPr algn="ctr" defTabSz="685637" fontAlgn="base">
              <a:spcBef>
                <a:spcPct val="0"/>
              </a:spcBef>
              <a:spcAft>
                <a:spcPct val="0"/>
              </a:spcAft>
            </a:pPr>
            <a:r>
              <a:rPr lang="en-US" sz="1700" dirty="0">
                <a:solidFill>
                  <a:schemeClr val="tx1">
                    <a:alpha val="99000"/>
                  </a:schemeClr>
                </a:solidFill>
                <a:latin typeface="Segoe UI" pitchFamily="34" charset="0"/>
                <a:ea typeface="Segoe UI" pitchFamily="34" charset="0"/>
                <a:cs typeface="Segoe UI" pitchFamily="34" charset="0"/>
              </a:rPr>
              <a:t>LSI </a:t>
            </a:r>
            <a:r>
              <a:rPr lang="en-US" sz="1700" dirty="0" err="1">
                <a:solidFill>
                  <a:schemeClr val="tx1">
                    <a:alpha val="99000"/>
                  </a:schemeClr>
                </a:solidFill>
                <a:latin typeface="Segoe UI" pitchFamily="34" charset="0"/>
                <a:ea typeface="Segoe UI" pitchFamily="34" charset="0"/>
                <a:cs typeface="Segoe UI" pitchFamily="34" charset="0"/>
              </a:rPr>
              <a:t>Engenio</a:t>
            </a:r>
            <a:endParaRPr lang="en-US" sz="1700" dirty="0">
              <a:solidFill>
                <a:schemeClr val="tx1">
                  <a:alpha val="99000"/>
                </a:schemeClr>
              </a:solidFill>
              <a:latin typeface="Segoe UI" pitchFamily="34" charset="0"/>
              <a:ea typeface="Segoe UI" pitchFamily="34" charset="0"/>
              <a:cs typeface="Segoe UI" pitchFamily="34" charset="0"/>
            </a:endParaRPr>
          </a:p>
        </p:txBody>
      </p:sp>
      <p:sp>
        <p:nvSpPr>
          <p:cNvPr id="22" name="Dark Gray"/>
          <p:cNvSpPr/>
          <p:nvPr/>
        </p:nvSpPr>
        <p:spPr bwMode="auto">
          <a:xfrm>
            <a:off x="5829627" y="2571750"/>
            <a:ext cx="2057936" cy="171450"/>
          </a:xfrm>
          <a:prstGeom prst="roundRect">
            <a:avLst>
              <a:gd name="adj" fmla="val 0"/>
            </a:avLst>
          </a:prstGeom>
          <a:solidFill>
            <a:schemeClr val="bg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200" dirty="0">
                <a:solidFill>
                  <a:schemeClr val="tx1">
                    <a:alpha val="99000"/>
                  </a:schemeClr>
                </a:solidFill>
                <a:latin typeface="Segoe UI" pitchFamily="34" charset="0"/>
                <a:ea typeface="Segoe UI" pitchFamily="34" charset="0"/>
                <a:cs typeface="Segoe UI" pitchFamily="34" charset="0"/>
              </a:rPr>
              <a:t>**NEW in SP1**</a:t>
            </a:r>
          </a:p>
        </p:txBody>
      </p:sp>
      <p:sp>
        <p:nvSpPr>
          <p:cNvPr id="12"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3"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
              </a:rPr>
              <a:t>www.rapidbbs.cn</a:t>
            </a:r>
            <a:endParaRPr lang="zh-CN" altLang="en-US" sz="1200" b="0">
              <a:latin typeface="Arial" charset="0"/>
              <a:ea typeface="ＭＳ Ｐゴシック" pitchFamily="34" charset="-128"/>
            </a:endParaRPr>
          </a:p>
        </p:txBody>
      </p:sp>
      <p:pic>
        <p:nvPicPr>
          <p:cNvPr id="14" name="Picture 2">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924839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20" grpId="0" animBg="1"/>
      <p:bldP spid="22" grpId="0" animBg="1"/>
    </p:bldLst>
  </p:timing>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rk Blue"/>
          <p:cNvSpPr/>
          <p:nvPr/>
        </p:nvSpPr>
        <p:spPr bwMode="auto">
          <a:xfrm>
            <a:off x="1891504" y="685800"/>
            <a:ext cx="3134541" cy="655884"/>
          </a:xfrm>
          <a:prstGeom prst="roundRect">
            <a:avLst>
              <a:gd name="adj" fmla="val 0"/>
            </a:avLst>
          </a:prstGeom>
          <a:solidFill>
            <a:schemeClr val="accent3"/>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500" dirty="0">
                <a:solidFill>
                  <a:schemeClr val="tx1">
                    <a:alpha val="99000"/>
                  </a:schemeClr>
                </a:solidFill>
                <a:latin typeface="Segoe UI" pitchFamily="34" charset="0"/>
                <a:ea typeface="Segoe UI" pitchFamily="34" charset="0"/>
                <a:cs typeface="Segoe UI" pitchFamily="34" charset="0"/>
              </a:rPr>
              <a:t>Hypervisor</a:t>
            </a:r>
          </a:p>
        </p:txBody>
      </p:sp>
      <p:sp>
        <p:nvSpPr>
          <p:cNvPr id="7" name="Orange"/>
          <p:cNvSpPr/>
          <p:nvPr/>
        </p:nvSpPr>
        <p:spPr bwMode="auto">
          <a:xfrm>
            <a:off x="1891503" y="3429000"/>
            <a:ext cx="962276" cy="1371600"/>
          </a:xfrm>
          <a:prstGeom prst="roundRect">
            <a:avLst>
              <a:gd name="adj" fmla="val 0"/>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100" dirty="0">
                <a:solidFill>
                  <a:srgbClr val="FFFFFF">
                    <a:alpha val="98824"/>
                  </a:srgbClr>
                </a:solidFill>
                <a:latin typeface="Segoe UI" pitchFamily="34" charset="0"/>
                <a:ea typeface="Segoe UI" pitchFamily="34" charset="0"/>
                <a:cs typeface="Segoe UI" pitchFamily="34" charset="0"/>
              </a:rPr>
              <a:t>Hyper-V WMI</a:t>
            </a:r>
          </a:p>
        </p:txBody>
      </p:sp>
      <p:sp>
        <p:nvSpPr>
          <p:cNvPr id="8" name="Light Blue"/>
          <p:cNvSpPr/>
          <p:nvPr/>
        </p:nvSpPr>
        <p:spPr bwMode="auto">
          <a:xfrm>
            <a:off x="1891503" y="1495426"/>
            <a:ext cx="962276" cy="1777365"/>
          </a:xfrm>
          <a:prstGeom prst="roundRect">
            <a:avLst>
              <a:gd name="adj" fmla="val 0"/>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100" dirty="0">
                <a:solidFill>
                  <a:srgbClr val="FFFFFF">
                    <a:alpha val="98824"/>
                  </a:srgbClr>
                </a:solidFill>
                <a:latin typeface="Segoe UI" pitchFamily="34" charset="0"/>
                <a:ea typeface="Segoe UI" pitchFamily="34" charset="0"/>
                <a:cs typeface="Segoe UI" pitchFamily="34" charset="0"/>
              </a:rPr>
              <a:t>Host Agent</a:t>
            </a:r>
          </a:p>
        </p:txBody>
      </p:sp>
      <p:sp>
        <p:nvSpPr>
          <p:cNvPr id="23" name="Light Blue"/>
          <p:cNvSpPr/>
          <p:nvPr/>
        </p:nvSpPr>
        <p:spPr bwMode="auto">
          <a:xfrm>
            <a:off x="2977635" y="1543050"/>
            <a:ext cx="962276" cy="342900"/>
          </a:xfrm>
          <a:prstGeom prst="roundRect">
            <a:avLst>
              <a:gd name="adj" fmla="val 0"/>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100" dirty="0">
                <a:solidFill>
                  <a:schemeClr val="tx1">
                    <a:alpha val="99000"/>
                  </a:schemeClr>
                </a:solidFill>
                <a:latin typeface="Segoe UI" pitchFamily="34" charset="0"/>
                <a:ea typeface="Segoe UI" pitchFamily="34" charset="0"/>
                <a:cs typeface="Segoe UI" pitchFamily="34" charset="0"/>
              </a:rPr>
              <a:t>FC</a:t>
            </a:r>
          </a:p>
        </p:txBody>
      </p:sp>
      <p:sp>
        <p:nvSpPr>
          <p:cNvPr id="24" name="Light Blue"/>
          <p:cNvSpPr/>
          <p:nvPr/>
        </p:nvSpPr>
        <p:spPr bwMode="auto">
          <a:xfrm>
            <a:off x="2977635" y="2007870"/>
            <a:ext cx="962276" cy="342900"/>
          </a:xfrm>
          <a:prstGeom prst="roundRect">
            <a:avLst>
              <a:gd name="adj" fmla="val 0"/>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100" dirty="0" err="1">
                <a:solidFill>
                  <a:schemeClr val="tx1">
                    <a:alpha val="99000"/>
                  </a:schemeClr>
                </a:solidFill>
                <a:latin typeface="Segoe UI" pitchFamily="34" charset="0"/>
                <a:ea typeface="Segoe UI" pitchFamily="34" charset="0"/>
                <a:cs typeface="Segoe UI" pitchFamily="34" charset="0"/>
              </a:rPr>
              <a:t>iSCSI</a:t>
            </a:r>
            <a:endParaRPr lang="en-US" sz="1100" dirty="0">
              <a:solidFill>
                <a:schemeClr val="tx1">
                  <a:alpha val="99000"/>
                </a:schemeClr>
              </a:solidFill>
              <a:latin typeface="Segoe UI" pitchFamily="34" charset="0"/>
              <a:ea typeface="Segoe UI" pitchFamily="34" charset="0"/>
              <a:cs typeface="Segoe UI" pitchFamily="34" charset="0"/>
            </a:endParaRPr>
          </a:p>
        </p:txBody>
      </p:sp>
      <p:sp>
        <p:nvSpPr>
          <p:cNvPr id="25" name="Light Blue"/>
          <p:cNvSpPr/>
          <p:nvPr/>
        </p:nvSpPr>
        <p:spPr bwMode="auto">
          <a:xfrm>
            <a:off x="2977635" y="2472690"/>
            <a:ext cx="962276" cy="342900"/>
          </a:xfrm>
          <a:prstGeom prst="roundRect">
            <a:avLst>
              <a:gd name="adj" fmla="val 0"/>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100" dirty="0">
                <a:solidFill>
                  <a:schemeClr val="tx1">
                    <a:alpha val="99000"/>
                  </a:schemeClr>
                </a:solidFill>
                <a:latin typeface="Segoe UI" pitchFamily="34" charset="0"/>
                <a:ea typeface="Segoe UI" pitchFamily="34" charset="0"/>
                <a:cs typeface="Segoe UI" pitchFamily="34" charset="0"/>
              </a:rPr>
              <a:t>SAS</a:t>
            </a:r>
          </a:p>
        </p:txBody>
      </p:sp>
      <p:sp>
        <p:nvSpPr>
          <p:cNvPr id="26" name="Light Blue"/>
          <p:cNvSpPr/>
          <p:nvPr/>
        </p:nvSpPr>
        <p:spPr bwMode="auto">
          <a:xfrm>
            <a:off x="2977635" y="3707130"/>
            <a:ext cx="962276" cy="342900"/>
          </a:xfrm>
          <a:prstGeom prst="roundRect">
            <a:avLst>
              <a:gd name="adj" fmla="val 0"/>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100" dirty="0">
                <a:solidFill>
                  <a:schemeClr val="tx1">
                    <a:alpha val="99000"/>
                  </a:schemeClr>
                </a:solidFill>
                <a:latin typeface="Segoe UI" pitchFamily="34" charset="0"/>
                <a:ea typeface="Segoe UI" pitchFamily="34" charset="0"/>
                <a:cs typeface="Segoe UI" pitchFamily="34" charset="0"/>
              </a:rPr>
              <a:t>Pass through</a:t>
            </a:r>
          </a:p>
        </p:txBody>
      </p:sp>
      <p:sp>
        <p:nvSpPr>
          <p:cNvPr id="27" name="Light Blue"/>
          <p:cNvSpPr/>
          <p:nvPr/>
        </p:nvSpPr>
        <p:spPr bwMode="auto">
          <a:xfrm>
            <a:off x="2977635" y="4171950"/>
            <a:ext cx="962276" cy="342900"/>
          </a:xfrm>
          <a:prstGeom prst="roundRect">
            <a:avLst>
              <a:gd name="adj" fmla="val 0"/>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100" dirty="0">
                <a:solidFill>
                  <a:schemeClr val="tx1">
                    <a:alpha val="99000"/>
                  </a:schemeClr>
                </a:solidFill>
                <a:latin typeface="Segoe UI" pitchFamily="34" charset="0"/>
                <a:ea typeface="Segoe UI" pitchFamily="34" charset="0"/>
                <a:cs typeface="Segoe UI" pitchFamily="34" charset="0"/>
              </a:rPr>
              <a:t>VHD</a:t>
            </a:r>
          </a:p>
        </p:txBody>
      </p:sp>
      <p:sp>
        <p:nvSpPr>
          <p:cNvPr id="29" name="Dark Gray"/>
          <p:cNvSpPr/>
          <p:nvPr/>
        </p:nvSpPr>
        <p:spPr bwMode="auto">
          <a:xfrm>
            <a:off x="4067044" y="1555257"/>
            <a:ext cx="962276" cy="342900"/>
          </a:xfrm>
          <a:prstGeom prst="roundRect">
            <a:avLst>
              <a:gd name="adj" fmla="val 0"/>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100" dirty="0">
                <a:solidFill>
                  <a:schemeClr val="bg2">
                    <a:alpha val="99000"/>
                  </a:schemeClr>
                </a:solidFill>
                <a:latin typeface="Segoe UI" pitchFamily="34" charset="0"/>
                <a:ea typeface="Segoe UI" pitchFamily="34" charset="0"/>
                <a:cs typeface="Segoe UI" pitchFamily="34" charset="0"/>
              </a:rPr>
              <a:t>Port, </a:t>
            </a:r>
            <a:r>
              <a:rPr lang="en-US" sz="1100" dirty="0" err="1">
                <a:solidFill>
                  <a:schemeClr val="bg2">
                    <a:alpha val="99000"/>
                  </a:schemeClr>
                </a:solidFill>
                <a:latin typeface="Segoe UI" pitchFamily="34" charset="0"/>
                <a:ea typeface="Segoe UI" pitchFamily="34" charset="0"/>
                <a:cs typeface="Segoe UI" pitchFamily="34" charset="0"/>
              </a:rPr>
              <a:t>vPort</a:t>
            </a:r>
            <a:endParaRPr lang="en-US" sz="1100" dirty="0">
              <a:solidFill>
                <a:schemeClr val="bg2">
                  <a:alpha val="99000"/>
                </a:schemeClr>
              </a:solidFill>
              <a:latin typeface="Segoe UI" pitchFamily="34" charset="0"/>
              <a:ea typeface="Segoe UI" pitchFamily="34" charset="0"/>
              <a:cs typeface="Segoe UI" pitchFamily="34" charset="0"/>
            </a:endParaRPr>
          </a:p>
        </p:txBody>
      </p:sp>
      <p:sp>
        <p:nvSpPr>
          <p:cNvPr id="30" name="Dark Gray"/>
          <p:cNvSpPr/>
          <p:nvPr/>
        </p:nvSpPr>
        <p:spPr bwMode="auto">
          <a:xfrm>
            <a:off x="4063768" y="2000250"/>
            <a:ext cx="962276" cy="342900"/>
          </a:xfrm>
          <a:prstGeom prst="roundRect">
            <a:avLst>
              <a:gd name="adj" fmla="val 0"/>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100" dirty="0">
                <a:solidFill>
                  <a:schemeClr val="bg2">
                    <a:alpha val="99000"/>
                  </a:schemeClr>
                </a:solidFill>
                <a:latin typeface="Segoe UI" pitchFamily="34" charset="0"/>
                <a:ea typeface="Segoe UI" pitchFamily="34" charset="0"/>
                <a:cs typeface="Segoe UI" pitchFamily="34" charset="0"/>
              </a:rPr>
              <a:t>IQN</a:t>
            </a:r>
          </a:p>
        </p:txBody>
      </p:sp>
      <p:sp>
        <p:nvSpPr>
          <p:cNvPr id="31" name="Dark Gray"/>
          <p:cNvSpPr/>
          <p:nvPr/>
        </p:nvSpPr>
        <p:spPr bwMode="auto">
          <a:xfrm>
            <a:off x="4063768" y="2935605"/>
            <a:ext cx="962276" cy="342900"/>
          </a:xfrm>
          <a:prstGeom prst="roundRect">
            <a:avLst>
              <a:gd name="adj" fmla="val 0"/>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100" dirty="0">
                <a:solidFill>
                  <a:schemeClr val="bg2">
                    <a:alpha val="99000"/>
                  </a:schemeClr>
                </a:solidFill>
                <a:latin typeface="Segoe UI" pitchFamily="34" charset="0"/>
                <a:ea typeface="Segoe UI" pitchFamily="34" charset="0"/>
                <a:cs typeface="Segoe UI" pitchFamily="34" charset="0"/>
              </a:rPr>
              <a:t>Disk/Volume</a:t>
            </a:r>
          </a:p>
        </p:txBody>
      </p:sp>
      <p:sp>
        <p:nvSpPr>
          <p:cNvPr id="32" name="Dark Blue"/>
          <p:cNvSpPr/>
          <p:nvPr/>
        </p:nvSpPr>
        <p:spPr bwMode="auto">
          <a:xfrm>
            <a:off x="5839156" y="685800"/>
            <a:ext cx="3134541" cy="655884"/>
          </a:xfrm>
          <a:prstGeom prst="roundRect">
            <a:avLst>
              <a:gd name="adj" fmla="val 0"/>
            </a:avLst>
          </a:prstGeom>
          <a:solidFill>
            <a:schemeClr val="accent5"/>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500" dirty="0">
                <a:solidFill>
                  <a:schemeClr val="tx1">
                    <a:alpha val="99000"/>
                  </a:schemeClr>
                </a:solidFill>
                <a:latin typeface="Segoe UI" pitchFamily="34" charset="0"/>
                <a:ea typeface="Segoe UI" pitchFamily="34" charset="0"/>
                <a:cs typeface="Segoe UI" pitchFamily="34" charset="0"/>
              </a:rPr>
              <a:t>Storage</a:t>
            </a:r>
          </a:p>
        </p:txBody>
      </p:sp>
      <p:sp>
        <p:nvSpPr>
          <p:cNvPr id="33" name="Orange"/>
          <p:cNvSpPr/>
          <p:nvPr/>
        </p:nvSpPr>
        <p:spPr bwMode="auto">
          <a:xfrm>
            <a:off x="8011420" y="3429000"/>
            <a:ext cx="962276" cy="1371600"/>
          </a:xfrm>
          <a:prstGeom prst="roundRect">
            <a:avLst>
              <a:gd name="adj" fmla="val 0"/>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100" dirty="0">
                <a:solidFill>
                  <a:srgbClr val="FFFFFF">
                    <a:alpha val="98824"/>
                  </a:srgbClr>
                </a:solidFill>
                <a:latin typeface="Segoe UI" pitchFamily="34" charset="0"/>
                <a:ea typeface="Segoe UI" pitchFamily="34" charset="0"/>
                <a:cs typeface="Segoe UI" pitchFamily="34" charset="0"/>
              </a:rPr>
              <a:t>File Storage</a:t>
            </a:r>
          </a:p>
        </p:txBody>
      </p:sp>
      <p:sp>
        <p:nvSpPr>
          <p:cNvPr id="34" name="Light Blue"/>
          <p:cNvSpPr/>
          <p:nvPr/>
        </p:nvSpPr>
        <p:spPr bwMode="auto">
          <a:xfrm>
            <a:off x="8011420" y="1485900"/>
            <a:ext cx="962276" cy="1786890"/>
          </a:xfrm>
          <a:prstGeom prst="roundRect">
            <a:avLst>
              <a:gd name="adj" fmla="val 0"/>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100" dirty="0">
                <a:solidFill>
                  <a:srgbClr val="FFFFFF">
                    <a:alpha val="98824"/>
                  </a:srgbClr>
                </a:solidFill>
                <a:latin typeface="Segoe UI" pitchFamily="34" charset="0"/>
                <a:ea typeface="Segoe UI" pitchFamily="34" charset="0"/>
                <a:cs typeface="Segoe UI" pitchFamily="34" charset="0"/>
              </a:rPr>
              <a:t>Block Storage</a:t>
            </a:r>
          </a:p>
        </p:txBody>
      </p:sp>
      <p:sp>
        <p:nvSpPr>
          <p:cNvPr id="35" name="Light Blue"/>
          <p:cNvSpPr/>
          <p:nvPr/>
        </p:nvSpPr>
        <p:spPr bwMode="auto">
          <a:xfrm>
            <a:off x="6925287" y="1543050"/>
            <a:ext cx="962276" cy="342900"/>
          </a:xfrm>
          <a:prstGeom prst="roundRect">
            <a:avLst>
              <a:gd name="adj" fmla="val 0"/>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100" dirty="0">
                <a:solidFill>
                  <a:schemeClr val="tx1">
                    <a:alpha val="99000"/>
                  </a:schemeClr>
                </a:solidFill>
                <a:latin typeface="Segoe UI" pitchFamily="34" charset="0"/>
                <a:ea typeface="Segoe UI" pitchFamily="34" charset="0"/>
                <a:cs typeface="Segoe UI" pitchFamily="34" charset="0"/>
              </a:rPr>
              <a:t>Pool</a:t>
            </a:r>
          </a:p>
        </p:txBody>
      </p:sp>
      <p:sp>
        <p:nvSpPr>
          <p:cNvPr id="36" name="Light Blue"/>
          <p:cNvSpPr/>
          <p:nvPr/>
        </p:nvSpPr>
        <p:spPr bwMode="auto">
          <a:xfrm>
            <a:off x="5839154" y="2007870"/>
            <a:ext cx="962276" cy="342900"/>
          </a:xfrm>
          <a:prstGeom prst="roundRect">
            <a:avLst>
              <a:gd name="adj" fmla="val 0"/>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100" dirty="0">
                <a:solidFill>
                  <a:schemeClr val="bg2">
                    <a:alpha val="99000"/>
                  </a:schemeClr>
                </a:solidFill>
                <a:latin typeface="Segoe UI" pitchFamily="34" charset="0"/>
                <a:ea typeface="Segoe UI" pitchFamily="34" charset="0"/>
                <a:cs typeface="Segoe UI" pitchFamily="34" charset="0"/>
              </a:rPr>
              <a:t>Initiator ID</a:t>
            </a:r>
          </a:p>
        </p:txBody>
      </p:sp>
      <p:sp>
        <p:nvSpPr>
          <p:cNvPr id="37" name="Light Blue"/>
          <p:cNvSpPr/>
          <p:nvPr/>
        </p:nvSpPr>
        <p:spPr bwMode="auto">
          <a:xfrm>
            <a:off x="6925287" y="2472690"/>
            <a:ext cx="962276" cy="342900"/>
          </a:xfrm>
          <a:prstGeom prst="roundRect">
            <a:avLst>
              <a:gd name="adj" fmla="val 0"/>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100" dirty="0">
                <a:solidFill>
                  <a:schemeClr val="tx1">
                    <a:alpha val="99000"/>
                  </a:schemeClr>
                </a:solidFill>
                <a:latin typeface="Segoe UI" pitchFamily="34" charset="0"/>
                <a:ea typeface="Segoe UI" pitchFamily="34" charset="0"/>
                <a:cs typeface="Segoe UI" pitchFamily="34" charset="0"/>
              </a:rPr>
              <a:t>Target port</a:t>
            </a:r>
          </a:p>
        </p:txBody>
      </p:sp>
      <p:sp>
        <p:nvSpPr>
          <p:cNvPr id="38" name="Light Blue"/>
          <p:cNvSpPr/>
          <p:nvPr/>
        </p:nvSpPr>
        <p:spPr bwMode="auto">
          <a:xfrm>
            <a:off x="6925287" y="3707130"/>
            <a:ext cx="962276" cy="342900"/>
          </a:xfrm>
          <a:prstGeom prst="roundRect">
            <a:avLst>
              <a:gd name="adj" fmla="val 0"/>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100" dirty="0">
                <a:solidFill>
                  <a:schemeClr val="tx1">
                    <a:alpha val="99000"/>
                  </a:schemeClr>
                </a:solidFill>
                <a:latin typeface="Segoe UI" pitchFamily="34" charset="0"/>
                <a:ea typeface="Segoe UI" pitchFamily="34" charset="0"/>
                <a:cs typeface="Segoe UI" pitchFamily="34" charset="0"/>
              </a:rPr>
              <a:t>File system</a:t>
            </a:r>
          </a:p>
        </p:txBody>
      </p:sp>
      <p:sp>
        <p:nvSpPr>
          <p:cNvPr id="39" name="Light Blue"/>
          <p:cNvSpPr/>
          <p:nvPr/>
        </p:nvSpPr>
        <p:spPr bwMode="auto">
          <a:xfrm>
            <a:off x="5842429" y="4171950"/>
            <a:ext cx="962276" cy="342900"/>
          </a:xfrm>
          <a:prstGeom prst="roundRect">
            <a:avLst>
              <a:gd name="adj" fmla="val 0"/>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100" dirty="0">
                <a:solidFill>
                  <a:schemeClr val="bg2">
                    <a:alpha val="99000"/>
                  </a:schemeClr>
                </a:solidFill>
                <a:latin typeface="Segoe UI" pitchFamily="34" charset="0"/>
                <a:ea typeface="Segoe UI" pitchFamily="34" charset="0"/>
                <a:cs typeface="Segoe UI" pitchFamily="34" charset="0"/>
              </a:rPr>
              <a:t>Permission</a:t>
            </a:r>
          </a:p>
        </p:txBody>
      </p:sp>
      <p:sp>
        <p:nvSpPr>
          <p:cNvPr id="40" name="Dark Gray"/>
          <p:cNvSpPr/>
          <p:nvPr/>
        </p:nvSpPr>
        <p:spPr bwMode="auto">
          <a:xfrm>
            <a:off x="5842429" y="1555257"/>
            <a:ext cx="962276" cy="342900"/>
          </a:xfrm>
          <a:prstGeom prst="roundRect">
            <a:avLst>
              <a:gd name="adj" fmla="val 0"/>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100" dirty="0">
                <a:solidFill>
                  <a:schemeClr val="bg2">
                    <a:alpha val="99000"/>
                  </a:schemeClr>
                </a:solidFill>
                <a:latin typeface="Segoe UI" pitchFamily="34" charset="0"/>
                <a:ea typeface="Segoe UI" pitchFamily="34" charset="0"/>
                <a:cs typeface="Segoe UI" pitchFamily="34" charset="0"/>
              </a:rPr>
              <a:t>LUN</a:t>
            </a:r>
          </a:p>
        </p:txBody>
      </p:sp>
      <p:sp>
        <p:nvSpPr>
          <p:cNvPr id="43" name="Light Blue"/>
          <p:cNvSpPr/>
          <p:nvPr/>
        </p:nvSpPr>
        <p:spPr bwMode="auto">
          <a:xfrm>
            <a:off x="2980762" y="2929890"/>
            <a:ext cx="962276" cy="342900"/>
          </a:xfrm>
          <a:prstGeom prst="roundRect">
            <a:avLst>
              <a:gd name="adj" fmla="val 0"/>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100" dirty="0">
                <a:solidFill>
                  <a:schemeClr val="tx1">
                    <a:alpha val="99000"/>
                  </a:schemeClr>
                </a:solidFill>
                <a:latin typeface="Segoe UI" pitchFamily="34" charset="0"/>
                <a:ea typeface="Segoe UI" pitchFamily="34" charset="0"/>
                <a:cs typeface="Segoe UI" pitchFamily="34" charset="0"/>
              </a:rPr>
              <a:t>VDS</a:t>
            </a:r>
          </a:p>
        </p:txBody>
      </p:sp>
      <p:sp>
        <p:nvSpPr>
          <p:cNvPr id="44" name="Light Blue"/>
          <p:cNvSpPr/>
          <p:nvPr/>
        </p:nvSpPr>
        <p:spPr bwMode="auto">
          <a:xfrm>
            <a:off x="5839154" y="2935605"/>
            <a:ext cx="962276" cy="342900"/>
          </a:xfrm>
          <a:prstGeom prst="roundRect">
            <a:avLst>
              <a:gd name="adj" fmla="val 0"/>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100" dirty="0">
                <a:solidFill>
                  <a:schemeClr val="bg2">
                    <a:alpha val="99000"/>
                  </a:schemeClr>
                </a:solidFill>
                <a:latin typeface="Segoe UI" pitchFamily="34" charset="0"/>
                <a:ea typeface="Segoe UI" pitchFamily="34" charset="0"/>
                <a:cs typeface="Segoe UI" pitchFamily="34" charset="0"/>
              </a:rPr>
              <a:t>Storage group</a:t>
            </a:r>
          </a:p>
        </p:txBody>
      </p:sp>
      <p:sp>
        <p:nvSpPr>
          <p:cNvPr id="46" name="Dark Gray"/>
          <p:cNvSpPr/>
          <p:nvPr/>
        </p:nvSpPr>
        <p:spPr bwMode="auto">
          <a:xfrm>
            <a:off x="5842429" y="3707130"/>
            <a:ext cx="962276" cy="342900"/>
          </a:xfrm>
          <a:prstGeom prst="roundRect">
            <a:avLst>
              <a:gd name="adj" fmla="val 0"/>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100" dirty="0">
                <a:solidFill>
                  <a:schemeClr val="bg2">
                    <a:alpha val="99000"/>
                  </a:schemeClr>
                </a:solidFill>
                <a:latin typeface="Segoe UI" pitchFamily="34" charset="0"/>
                <a:ea typeface="Segoe UI" pitchFamily="34" charset="0"/>
                <a:cs typeface="Segoe UI" pitchFamily="34" charset="0"/>
              </a:rPr>
              <a:t>File share</a:t>
            </a:r>
          </a:p>
        </p:txBody>
      </p:sp>
      <p:sp>
        <p:nvSpPr>
          <p:cNvPr id="47" name="Dark Gray"/>
          <p:cNvSpPr/>
          <p:nvPr/>
        </p:nvSpPr>
        <p:spPr bwMode="auto">
          <a:xfrm>
            <a:off x="4067044" y="2472690"/>
            <a:ext cx="962276" cy="342900"/>
          </a:xfrm>
          <a:prstGeom prst="roundRect">
            <a:avLst>
              <a:gd name="adj" fmla="val 0"/>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100" dirty="0">
                <a:solidFill>
                  <a:schemeClr val="bg2">
                    <a:alpha val="99000"/>
                  </a:schemeClr>
                </a:solidFill>
                <a:latin typeface="Segoe UI" pitchFamily="34" charset="0"/>
                <a:ea typeface="Segoe UI" pitchFamily="34" charset="0"/>
                <a:cs typeface="Segoe UI" pitchFamily="34" charset="0"/>
              </a:rPr>
              <a:t>Port</a:t>
            </a:r>
          </a:p>
        </p:txBody>
      </p:sp>
      <p:sp>
        <p:nvSpPr>
          <p:cNvPr id="57" name="Dark Gray"/>
          <p:cNvSpPr/>
          <p:nvPr/>
        </p:nvSpPr>
        <p:spPr bwMode="auto">
          <a:xfrm>
            <a:off x="-1190" y="1287216"/>
            <a:ext cx="1438160" cy="655884"/>
          </a:xfrm>
          <a:prstGeom prst="roundRect">
            <a:avLst>
              <a:gd name="adj" fmla="val 0"/>
            </a:avLst>
          </a:prstGeom>
          <a:solidFill>
            <a:schemeClr val="bg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700" dirty="0">
                <a:solidFill>
                  <a:schemeClr val="tx1">
                    <a:alpha val="99000"/>
                  </a:schemeClr>
                </a:solidFill>
                <a:latin typeface="Segoe UI" pitchFamily="34" charset="0"/>
                <a:ea typeface="Segoe UI" pitchFamily="34" charset="0"/>
                <a:cs typeface="Segoe UI" pitchFamily="34" charset="0"/>
              </a:rPr>
              <a:t>Discovery</a:t>
            </a:r>
          </a:p>
          <a:p>
            <a:pPr algn="ctr" defTabSz="685637" fontAlgn="base">
              <a:spcBef>
                <a:spcPct val="0"/>
              </a:spcBef>
              <a:spcAft>
                <a:spcPct val="0"/>
              </a:spcAft>
            </a:pPr>
            <a:r>
              <a:rPr lang="en-US" sz="1700" dirty="0">
                <a:solidFill>
                  <a:schemeClr val="tx1">
                    <a:alpha val="99000"/>
                  </a:schemeClr>
                </a:solidFill>
                <a:latin typeface="Segoe UI" pitchFamily="34" charset="0"/>
                <a:ea typeface="Segoe UI" pitchFamily="34" charset="0"/>
                <a:cs typeface="Segoe UI" pitchFamily="34" charset="0"/>
              </a:rPr>
              <a:t>Level 1</a:t>
            </a:r>
          </a:p>
        </p:txBody>
      </p:sp>
      <p:sp>
        <p:nvSpPr>
          <p:cNvPr id="58" name="Dark Gray"/>
          <p:cNvSpPr/>
          <p:nvPr/>
        </p:nvSpPr>
        <p:spPr bwMode="auto">
          <a:xfrm>
            <a:off x="-1190" y="2030166"/>
            <a:ext cx="1438160" cy="655884"/>
          </a:xfrm>
          <a:prstGeom prst="roundRect">
            <a:avLst>
              <a:gd name="adj" fmla="val 0"/>
            </a:avLst>
          </a:prstGeom>
          <a:solidFill>
            <a:schemeClr val="bg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700" dirty="0">
                <a:solidFill>
                  <a:schemeClr val="tx1">
                    <a:alpha val="99000"/>
                  </a:schemeClr>
                </a:solidFill>
                <a:latin typeface="Segoe UI" pitchFamily="34" charset="0"/>
                <a:ea typeface="Segoe UI" pitchFamily="34" charset="0"/>
                <a:cs typeface="Segoe UI" pitchFamily="34" charset="0"/>
              </a:rPr>
              <a:t>Discovery</a:t>
            </a:r>
          </a:p>
          <a:p>
            <a:pPr algn="ctr" defTabSz="685637" fontAlgn="base">
              <a:spcBef>
                <a:spcPct val="0"/>
              </a:spcBef>
              <a:spcAft>
                <a:spcPct val="0"/>
              </a:spcAft>
            </a:pPr>
            <a:r>
              <a:rPr lang="en-US" sz="1700" dirty="0">
                <a:solidFill>
                  <a:schemeClr val="tx1">
                    <a:alpha val="99000"/>
                  </a:schemeClr>
                </a:solidFill>
                <a:latin typeface="Segoe UI" pitchFamily="34" charset="0"/>
                <a:ea typeface="Segoe UI" pitchFamily="34" charset="0"/>
                <a:cs typeface="Segoe UI" pitchFamily="34" charset="0"/>
              </a:rPr>
              <a:t>Level 2</a:t>
            </a:r>
          </a:p>
        </p:txBody>
      </p:sp>
      <p:sp>
        <p:nvSpPr>
          <p:cNvPr id="60" name="Dark Gray"/>
          <p:cNvSpPr/>
          <p:nvPr/>
        </p:nvSpPr>
        <p:spPr bwMode="auto">
          <a:xfrm>
            <a:off x="-1190" y="2773116"/>
            <a:ext cx="1438160" cy="655884"/>
          </a:xfrm>
          <a:prstGeom prst="roundRect">
            <a:avLst>
              <a:gd name="adj" fmla="val 0"/>
            </a:avLst>
          </a:prstGeom>
          <a:solidFill>
            <a:schemeClr val="bg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700" dirty="0">
                <a:solidFill>
                  <a:schemeClr val="tx1">
                    <a:alpha val="99000"/>
                  </a:schemeClr>
                </a:solidFill>
                <a:latin typeface="Segoe UI" pitchFamily="34" charset="0"/>
                <a:ea typeface="Segoe UI" pitchFamily="34" charset="0"/>
                <a:cs typeface="Segoe UI" pitchFamily="34" charset="0"/>
              </a:rPr>
              <a:t>Mapping</a:t>
            </a:r>
          </a:p>
          <a:p>
            <a:pPr algn="ctr" defTabSz="685637" fontAlgn="base">
              <a:spcBef>
                <a:spcPct val="0"/>
              </a:spcBef>
              <a:spcAft>
                <a:spcPct val="0"/>
              </a:spcAft>
            </a:pPr>
            <a:r>
              <a:rPr lang="en-US" sz="1700" dirty="0">
                <a:solidFill>
                  <a:schemeClr val="tx1">
                    <a:alpha val="99000"/>
                  </a:schemeClr>
                </a:solidFill>
                <a:latin typeface="Segoe UI" pitchFamily="34" charset="0"/>
                <a:ea typeface="Segoe UI" pitchFamily="34" charset="0"/>
                <a:cs typeface="Segoe UI" pitchFamily="34" charset="0"/>
              </a:rPr>
              <a:t>Port to Port</a:t>
            </a:r>
          </a:p>
        </p:txBody>
      </p:sp>
      <p:sp>
        <p:nvSpPr>
          <p:cNvPr id="61" name="Dark Gray"/>
          <p:cNvSpPr/>
          <p:nvPr/>
        </p:nvSpPr>
        <p:spPr bwMode="auto">
          <a:xfrm>
            <a:off x="-1190" y="3516066"/>
            <a:ext cx="1438160" cy="655884"/>
          </a:xfrm>
          <a:prstGeom prst="roundRect">
            <a:avLst>
              <a:gd name="adj" fmla="val 0"/>
            </a:avLst>
          </a:prstGeom>
          <a:solidFill>
            <a:schemeClr val="bg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700" dirty="0">
                <a:solidFill>
                  <a:schemeClr val="tx1">
                    <a:alpha val="99000"/>
                  </a:schemeClr>
                </a:solidFill>
                <a:latin typeface="Segoe UI" pitchFamily="34" charset="0"/>
                <a:ea typeface="Segoe UI" pitchFamily="34" charset="0"/>
                <a:cs typeface="Segoe UI" pitchFamily="34" charset="0"/>
              </a:rPr>
              <a:t>Mapping</a:t>
            </a:r>
          </a:p>
          <a:p>
            <a:pPr algn="ctr" defTabSz="685637" fontAlgn="base">
              <a:spcBef>
                <a:spcPct val="0"/>
              </a:spcBef>
              <a:spcAft>
                <a:spcPct val="0"/>
              </a:spcAft>
            </a:pPr>
            <a:r>
              <a:rPr lang="en-US" sz="1700" dirty="0">
                <a:solidFill>
                  <a:schemeClr val="tx1">
                    <a:alpha val="99000"/>
                  </a:schemeClr>
                </a:solidFill>
                <a:latin typeface="Segoe UI" pitchFamily="34" charset="0"/>
                <a:ea typeface="Segoe UI" pitchFamily="34" charset="0"/>
                <a:cs typeface="Segoe UI" pitchFamily="34" charset="0"/>
              </a:rPr>
              <a:t>Disk to LUN</a:t>
            </a:r>
          </a:p>
        </p:txBody>
      </p:sp>
      <p:sp>
        <p:nvSpPr>
          <p:cNvPr id="41"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42"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
              </a:rPr>
              <a:t>www.rapidbbs.cn</a:t>
            </a:r>
            <a:endParaRPr lang="zh-CN" altLang="en-US" sz="1200" b="0">
              <a:latin typeface="Arial" charset="0"/>
              <a:ea typeface="ＭＳ Ｐゴシック" pitchFamily="34" charset="-128"/>
            </a:endParaRPr>
          </a:p>
        </p:txBody>
      </p:sp>
      <p:pic>
        <p:nvPicPr>
          <p:cNvPr id="45" name="Picture 2">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624219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grpId="0" nodeType="click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wipe(right)">
                                      <p:cBhvr>
                                        <p:cTn id="7" dur="500"/>
                                        <p:tgtEl>
                                          <p:spTgt spid="57"/>
                                        </p:tgtEl>
                                      </p:cBhvr>
                                    </p:animEffect>
                                  </p:childTnLst>
                                </p:cTn>
                              </p:par>
                            </p:childTnLst>
                          </p:cTn>
                        </p:par>
                        <p:par>
                          <p:cTn id="8" fill="hold">
                            <p:stCondLst>
                              <p:cond delay="500"/>
                            </p:stCondLst>
                            <p:childTnLst>
                              <p:par>
                                <p:cTn id="9" presetID="22" presetClass="entr" presetSubtype="2" fill="hold" grpId="0" nodeType="afterEffect">
                                  <p:stCondLst>
                                    <p:cond delay="0"/>
                                  </p:stCondLst>
                                  <p:childTnLst>
                                    <p:set>
                                      <p:cBhvr>
                                        <p:cTn id="10" dur="1" fill="hold">
                                          <p:stCondLst>
                                            <p:cond delay="0"/>
                                          </p:stCondLst>
                                        </p:cTn>
                                        <p:tgtEl>
                                          <p:spTgt spid="35"/>
                                        </p:tgtEl>
                                        <p:attrNameLst>
                                          <p:attrName>style.visibility</p:attrName>
                                        </p:attrNameLst>
                                      </p:cBhvr>
                                      <p:to>
                                        <p:strVal val="visible"/>
                                      </p:to>
                                    </p:set>
                                    <p:animEffect transition="in" filter="wipe(right)">
                                      <p:cBhvr>
                                        <p:cTn id="11" dur="500"/>
                                        <p:tgtEl>
                                          <p:spTgt spid="35"/>
                                        </p:tgtEl>
                                      </p:cBhvr>
                                    </p:animEffect>
                                  </p:childTnLst>
                                </p:cTn>
                              </p:par>
                              <p:par>
                                <p:cTn id="12" presetID="22" presetClass="entr" presetSubtype="2" fill="hold" grpId="0" nodeType="withEffect">
                                  <p:stCondLst>
                                    <p:cond delay="0"/>
                                  </p:stCondLst>
                                  <p:childTnLst>
                                    <p:set>
                                      <p:cBhvr>
                                        <p:cTn id="13" dur="1" fill="hold">
                                          <p:stCondLst>
                                            <p:cond delay="0"/>
                                          </p:stCondLst>
                                        </p:cTn>
                                        <p:tgtEl>
                                          <p:spTgt spid="37"/>
                                        </p:tgtEl>
                                        <p:attrNameLst>
                                          <p:attrName>style.visibility</p:attrName>
                                        </p:attrNameLst>
                                      </p:cBhvr>
                                      <p:to>
                                        <p:strVal val="visible"/>
                                      </p:to>
                                    </p:set>
                                    <p:animEffect transition="in" filter="wipe(right)">
                                      <p:cBhvr>
                                        <p:cTn id="14" dur="500"/>
                                        <p:tgtEl>
                                          <p:spTgt spid="37"/>
                                        </p:tgtEl>
                                      </p:cBhvr>
                                    </p:animEffect>
                                  </p:childTnLst>
                                </p:cTn>
                              </p:par>
                              <p:par>
                                <p:cTn id="15" presetID="22" presetClass="entr" presetSubtype="2" fill="hold" grpId="0" nodeType="withEffect">
                                  <p:stCondLst>
                                    <p:cond delay="0"/>
                                  </p:stCondLst>
                                  <p:childTnLst>
                                    <p:set>
                                      <p:cBhvr>
                                        <p:cTn id="16" dur="1" fill="hold">
                                          <p:stCondLst>
                                            <p:cond delay="0"/>
                                          </p:stCondLst>
                                        </p:cTn>
                                        <p:tgtEl>
                                          <p:spTgt spid="38"/>
                                        </p:tgtEl>
                                        <p:attrNameLst>
                                          <p:attrName>style.visibility</p:attrName>
                                        </p:attrNameLst>
                                      </p:cBhvr>
                                      <p:to>
                                        <p:strVal val="visible"/>
                                      </p:to>
                                    </p:set>
                                    <p:animEffect transition="in" filter="wipe(right)">
                                      <p:cBhvr>
                                        <p:cTn id="17" dur="500"/>
                                        <p:tgtEl>
                                          <p:spTgt spid="38"/>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2" fill="hold" grpId="0" nodeType="clickEffect">
                                  <p:stCondLst>
                                    <p:cond delay="0"/>
                                  </p:stCondLst>
                                  <p:childTnLst>
                                    <p:set>
                                      <p:cBhvr>
                                        <p:cTn id="21" dur="1" fill="hold">
                                          <p:stCondLst>
                                            <p:cond delay="0"/>
                                          </p:stCondLst>
                                        </p:cTn>
                                        <p:tgtEl>
                                          <p:spTgt spid="58"/>
                                        </p:tgtEl>
                                        <p:attrNameLst>
                                          <p:attrName>style.visibility</p:attrName>
                                        </p:attrNameLst>
                                      </p:cBhvr>
                                      <p:to>
                                        <p:strVal val="visible"/>
                                      </p:to>
                                    </p:set>
                                    <p:animEffect transition="in" filter="wipe(right)">
                                      <p:cBhvr>
                                        <p:cTn id="22" dur="500"/>
                                        <p:tgtEl>
                                          <p:spTgt spid="58"/>
                                        </p:tgtEl>
                                      </p:cBhvr>
                                    </p:animEffect>
                                  </p:childTnLst>
                                </p:cTn>
                              </p:par>
                            </p:childTnLst>
                          </p:cTn>
                        </p:par>
                        <p:par>
                          <p:cTn id="23" fill="hold">
                            <p:stCondLst>
                              <p:cond delay="500"/>
                            </p:stCondLst>
                            <p:childTnLst>
                              <p:par>
                                <p:cTn id="24" presetID="22" presetClass="entr" presetSubtype="2" fill="hold" grpId="0" nodeType="afterEffect">
                                  <p:stCondLst>
                                    <p:cond delay="0"/>
                                  </p:stCondLst>
                                  <p:childTnLst>
                                    <p:set>
                                      <p:cBhvr>
                                        <p:cTn id="25" dur="1" fill="hold">
                                          <p:stCondLst>
                                            <p:cond delay="0"/>
                                          </p:stCondLst>
                                        </p:cTn>
                                        <p:tgtEl>
                                          <p:spTgt spid="36"/>
                                        </p:tgtEl>
                                        <p:attrNameLst>
                                          <p:attrName>style.visibility</p:attrName>
                                        </p:attrNameLst>
                                      </p:cBhvr>
                                      <p:to>
                                        <p:strVal val="visible"/>
                                      </p:to>
                                    </p:set>
                                    <p:animEffect transition="in" filter="wipe(right)">
                                      <p:cBhvr>
                                        <p:cTn id="26" dur="500"/>
                                        <p:tgtEl>
                                          <p:spTgt spid="36"/>
                                        </p:tgtEl>
                                      </p:cBhvr>
                                    </p:animEffect>
                                  </p:childTnLst>
                                </p:cTn>
                              </p:par>
                              <p:par>
                                <p:cTn id="27" presetID="22" presetClass="entr" presetSubtype="2" fill="hold" grpId="0" nodeType="withEffect">
                                  <p:stCondLst>
                                    <p:cond delay="0"/>
                                  </p:stCondLst>
                                  <p:childTnLst>
                                    <p:set>
                                      <p:cBhvr>
                                        <p:cTn id="28" dur="1" fill="hold">
                                          <p:stCondLst>
                                            <p:cond delay="0"/>
                                          </p:stCondLst>
                                        </p:cTn>
                                        <p:tgtEl>
                                          <p:spTgt spid="39"/>
                                        </p:tgtEl>
                                        <p:attrNameLst>
                                          <p:attrName>style.visibility</p:attrName>
                                        </p:attrNameLst>
                                      </p:cBhvr>
                                      <p:to>
                                        <p:strVal val="visible"/>
                                      </p:to>
                                    </p:set>
                                    <p:animEffect transition="in" filter="wipe(right)">
                                      <p:cBhvr>
                                        <p:cTn id="29" dur="500"/>
                                        <p:tgtEl>
                                          <p:spTgt spid="39"/>
                                        </p:tgtEl>
                                      </p:cBhvr>
                                    </p:animEffect>
                                  </p:childTnLst>
                                </p:cTn>
                              </p:par>
                              <p:par>
                                <p:cTn id="30" presetID="22" presetClass="entr" presetSubtype="2" fill="hold" grpId="0" nodeType="withEffect">
                                  <p:stCondLst>
                                    <p:cond delay="0"/>
                                  </p:stCondLst>
                                  <p:childTnLst>
                                    <p:set>
                                      <p:cBhvr>
                                        <p:cTn id="31" dur="1" fill="hold">
                                          <p:stCondLst>
                                            <p:cond delay="0"/>
                                          </p:stCondLst>
                                        </p:cTn>
                                        <p:tgtEl>
                                          <p:spTgt spid="40"/>
                                        </p:tgtEl>
                                        <p:attrNameLst>
                                          <p:attrName>style.visibility</p:attrName>
                                        </p:attrNameLst>
                                      </p:cBhvr>
                                      <p:to>
                                        <p:strVal val="visible"/>
                                      </p:to>
                                    </p:set>
                                    <p:animEffect transition="in" filter="wipe(right)">
                                      <p:cBhvr>
                                        <p:cTn id="32" dur="500"/>
                                        <p:tgtEl>
                                          <p:spTgt spid="40"/>
                                        </p:tgtEl>
                                      </p:cBhvr>
                                    </p:animEffect>
                                  </p:childTnLst>
                                </p:cTn>
                              </p:par>
                              <p:par>
                                <p:cTn id="33" presetID="22" presetClass="entr" presetSubtype="2" fill="hold" grpId="0" nodeType="withEffect">
                                  <p:stCondLst>
                                    <p:cond delay="0"/>
                                  </p:stCondLst>
                                  <p:childTnLst>
                                    <p:set>
                                      <p:cBhvr>
                                        <p:cTn id="34" dur="1" fill="hold">
                                          <p:stCondLst>
                                            <p:cond delay="0"/>
                                          </p:stCondLst>
                                        </p:cTn>
                                        <p:tgtEl>
                                          <p:spTgt spid="44"/>
                                        </p:tgtEl>
                                        <p:attrNameLst>
                                          <p:attrName>style.visibility</p:attrName>
                                        </p:attrNameLst>
                                      </p:cBhvr>
                                      <p:to>
                                        <p:strVal val="visible"/>
                                      </p:to>
                                    </p:set>
                                    <p:animEffect transition="in" filter="wipe(right)">
                                      <p:cBhvr>
                                        <p:cTn id="35" dur="500"/>
                                        <p:tgtEl>
                                          <p:spTgt spid="44"/>
                                        </p:tgtEl>
                                      </p:cBhvr>
                                    </p:animEffect>
                                  </p:childTnLst>
                                </p:cTn>
                              </p:par>
                              <p:par>
                                <p:cTn id="36" presetID="22" presetClass="entr" presetSubtype="2" fill="hold" grpId="0" nodeType="withEffect">
                                  <p:stCondLst>
                                    <p:cond delay="0"/>
                                  </p:stCondLst>
                                  <p:childTnLst>
                                    <p:set>
                                      <p:cBhvr>
                                        <p:cTn id="37" dur="1" fill="hold">
                                          <p:stCondLst>
                                            <p:cond delay="0"/>
                                          </p:stCondLst>
                                        </p:cTn>
                                        <p:tgtEl>
                                          <p:spTgt spid="46"/>
                                        </p:tgtEl>
                                        <p:attrNameLst>
                                          <p:attrName>style.visibility</p:attrName>
                                        </p:attrNameLst>
                                      </p:cBhvr>
                                      <p:to>
                                        <p:strVal val="visible"/>
                                      </p:to>
                                    </p:set>
                                    <p:animEffect transition="in" filter="wipe(right)">
                                      <p:cBhvr>
                                        <p:cTn id="38" dur="500"/>
                                        <p:tgtEl>
                                          <p:spTgt spid="46"/>
                                        </p:tgtEl>
                                      </p:cBhvr>
                                    </p:animEffect>
                                  </p:childTnLst>
                                </p:cTn>
                              </p:par>
                            </p:childTnLst>
                          </p:cTn>
                        </p:par>
                      </p:childTnLst>
                    </p:cTn>
                  </p:par>
                  <p:par>
                    <p:cTn id="39" fill="hold">
                      <p:stCondLst>
                        <p:cond delay="indefinite"/>
                      </p:stCondLst>
                      <p:childTnLst>
                        <p:par>
                          <p:cTn id="40" fill="hold">
                            <p:stCondLst>
                              <p:cond delay="0"/>
                            </p:stCondLst>
                            <p:childTnLst>
                              <p:par>
                                <p:cTn id="41" presetID="22" presetClass="entr" presetSubtype="8" fill="hold" grpId="0" nodeType="clickEffect">
                                  <p:stCondLst>
                                    <p:cond delay="0"/>
                                  </p:stCondLst>
                                  <p:childTnLst>
                                    <p:set>
                                      <p:cBhvr>
                                        <p:cTn id="42" dur="1" fill="hold">
                                          <p:stCondLst>
                                            <p:cond delay="0"/>
                                          </p:stCondLst>
                                        </p:cTn>
                                        <p:tgtEl>
                                          <p:spTgt spid="60"/>
                                        </p:tgtEl>
                                        <p:attrNameLst>
                                          <p:attrName>style.visibility</p:attrName>
                                        </p:attrNameLst>
                                      </p:cBhvr>
                                      <p:to>
                                        <p:strVal val="visible"/>
                                      </p:to>
                                    </p:set>
                                    <p:animEffect transition="in" filter="wipe(left)">
                                      <p:cBhvr>
                                        <p:cTn id="43" dur="500"/>
                                        <p:tgtEl>
                                          <p:spTgt spid="60"/>
                                        </p:tgtEl>
                                      </p:cBhvr>
                                    </p:animEffect>
                                  </p:childTnLst>
                                </p:cTn>
                              </p:par>
                            </p:childTnLst>
                          </p:cTn>
                        </p:par>
                        <p:par>
                          <p:cTn id="44" fill="hold">
                            <p:stCondLst>
                              <p:cond delay="500"/>
                            </p:stCondLst>
                            <p:childTnLst>
                              <p:par>
                                <p:cTn id="45" presetID="22" presetClass="entr" presetSubtype="8" fill="hold" grpId="0" nodeType="afterEffect">
                                  <p:stCondLst>
                                    <p:cond delay="0"/>
                                  </p:stCondLst>
                                  <p:childTnLst>
                                    <p:set>
                                      <p:cBhvr>
                                        <p:cTn id="46" dur="1" fill="hold">
                                          <p:stCondLst>
                                            <p:cond delay="0"/>
                                          </p:stCondLst>
                                        </p:cTn>
                                        <p:tgtEl>
                                          <p:spTgt spid="29"/>
                                        </p:tgtEl>
                                        <p:attrNameLst>
                                          <p:attrName>style.visibility</p:attrName>
                                        </p:attrNameLst>
                                      </p:cBhvr>
                                      <p:to>
                                        <p:strVal val="visible"/>
                                      </p:to>
                                    </p:set>
                                    <p:animEffect transition="in" filter="wipe(left)">
                                      <p:cBhvr>
                                        <p:cTn id="47" dur="500"/>
                                        <p:tgtEl>
                                          <p:spTgt spid="29"/>
                                        </p:tgtEl>
                                      </p:cBhvr>
                                    </p:animEffect>
                                  </p:childTnLst>
                                </p:cTn>
                              </p:par>
                              <p:par>
                                <p:cTn id="48" presetID="22" presetClass="entr" presetSubtype="8" fill="hold" grpId="0" nodeType="withEffect">
                                  <p:stCondLst>
                                    <p:cond delay="0"/>
                                  </p:stCondLst>
                                  <p:childTnLst>
                                    <p:set>
                                      <p:cBhvr>
                                        <p:cTn id="49" dur="1" fill="hold">
                                          <p:stCondLst>
                                            <p:cond delay="0"/>
                                          </p:stCondLst>
                                        </p:cTn>
                                        <p:tgtEl>
                                          <p:spTgt spid="30"/>
                                        </p:tgtEl>
                                        <p:attrNameLst>
                                          <p:attrName>style.visibility</p:attrName>
                                        </p:attrNameLst>
                                      </p:cBhvr>
                                      <p:to>
                                        <p:strVal val="visible"/>
                                      </p:to>
                                    </p:set>
                                    <p:animEffect transition="in" filter="wipe(left)">
                                      <p:cBhvr>
                                        <p:cTn id="50" dur="500"/>
                                        <p:tgtEl>
                                          <p:spTgt spid="30"/>
                                        </p:tgtEl>
                                      </p:cBhvr>
                                    </p:animEffect>
                                  </p:childTnLst>
                                </p:cTn>
                              </p:par>
                              <p:par>
                                <p:cTn id="51" presetID="22" presetClass="entr" presetSubtype="8" fill="hold" grpId="0" nodeType="withEffect">
                                  <p:stCondLst>
                                    <p:cond delay="0"/>
                                  </p:stCondLst>
                                  <p:childTnLst>
                                    <p:set>
                                      <p:cBhvr>
                                        <p:cTn id="52" dur="1" fill="hold">
                                          <p:stCondLst>
                                            <p:cond delay="0"/>
                                          </p:stCondLst>
                                        </p:cTn>
                                        <p:tgtEl>
                                          <p:spTgt spid="47"/>
                                        </p:tgtEl>
                                        <p:attrNameLst>
                                          <p:attrName>style.visibility</p:attrName>
                                        </p:attrNameLst>
                                      </p:cBhvr>
                                      <p:to>
                                        <p:strVal val="visible"/>
                                      </p:to>
                                    </p:set>
                                    <p:animEffect transition="in" filter="wipe(left)">
                                      <p:cBhvr>
                                        <p:cTn id="53" dur="500"/>
                                        <p:tgtEl>
                                          <p:spTgt spid="47"/>
                                        </p:tgtEl>
                                      </p:cBhvr>
                                    </p:animEffect>
                                  </p:childTnLst>
                                </p:cTn>
                              </p:par>
                              <p:par>
                                <p:cTn id="54" presetID="22" presetClass="entr" presetSubtype="8" fill="hold" grpId="0" nodeType="withEffect">
                                  <p:stCondLst>
                                    <p:cond delay="0"/>
                                  </p:stCondLst>
                                  <p:childTnLst>
                                    <p:set>
                                      <p:cBhvr>
                                        <p:cTn id="55" dur="1" fill="hold">
                                          <p:stCondLst>
                                            <p:cond delay="0"/>
                                          </p:stCondLst>
                                        </p:cTn>
                                        <p:tgtEl>
                                          <p:spTgt spid="23"/>
                                        </p:tgtEl>
                                        <p:attrNameLst>
                                          <p:attrName>style.visibility</p:attrName>
                                        </p:attrNameLst>
                                      </p:cBhvr>
                                      <p:to>
                                        <p:strVal val="visible"/>
                                      </p:to>
                                    </p:set>
                                    <p:animEffect transition="in" filter="wipe(left)">
                                      <p:cBhvr>
                                        <p:cTn id="56" dur="500"/>
                                        <p:tgtEl>
                                          <p:spTgt spid="23"/>
                                        </p:tgtEl>
                                      </p:cBhvr>
                                    </p:animEffect>
                                  </p:childTnLst>
                                </p:cTn>
                              </p:par>
                              <p:par>
                                <p:cTn id="57" presetID="22" presetClass="entr" presetSubtype="8" fill="hold" grpId="0" nodeType="withEffect">
                                  <p:stCondLst>
                                    <p:cond delay="0"/>
                                  </p:stCondLst>
                                  <p:childTnLst>
                                    <p:set>
                                      <p:cBhvr>
                                        <p:cTn id="58" dur="1" fill="hold">
                                          <p:stCondLst>
                                            <p:cond delay="0"/>
                                          </p:stCondLst>
                                        </p:cTn>
                                        <p:tgtEl>
                                          <p:spTgt spid="24"/>
                                        </p:tgtEl>
                                        <p:attrNameLst>
                                          <p:attrName>style.visibility</p:attrName>
                                        </p:attrNameLst>
                                      </p:cBhvr>
                                      <p:to>
                                        <p:strVal val="visible"/>
                                      </p:to>
                                    </p:set>
                                    <p:animEffect transition="in" filter="wipe(left)">
                                      <p:cBhvr>
                                        <p:cTn id="59" dur="500"/>
                                        <p:tgtEl>
                                          <p:spTgt spid="24"/>
                                        </p:tgtEl>
                                      </p:cBhvr>
                                    </p:animEffect>
                                  </p:childTnLst>
                                </p:cTn>
                              </p:par>
                              <p:par>
                                <p:cTn id="60" presetID="22" presetClass="entr" presetSubtype="8"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wipe(left)">
                                      <p:cBhvr>
                                        <p:cTn id="62" dur="500"/>
                                        <p:tgtEl>
                                          <p:spTgt spid="25"/>
                                        </p:tgtEl>
                                      </p:cBhvr>
                                    </p:animEffect>
                                  </p:childTnLst>
                                </p:cTn>
                              </p:par>
                            </p:childTnLst>
                          </p:cTn>
                        </p:par>
                      </p:childTnLst>
                    </p:cTn>
                  </p:par>
                  <p:par>
                    <p:cTn id="63" fill="hold">
                      <p:stCondLst>
                        <p:cond delay="indefinite"/>
                      </p:stCondLst>
                      <p:childTnLst>
                        <p:par>
                          <p:cTn id="64" fill="hold">
                            <p:stCondLst>
                              <p:cond delay="0"/>
                            </p:stCondLst>
                            <p:childTnLst>
                              <p:par>
                                <p:cTn id="65" presetID="24" presetClass="emph" presetSubtype="0" fill="hold" grpId="1" nodeType="clickEffect">
                                  <p:stCondLst>
                                    <p:cond delay="0"/>
                                  </p:stCondLst>
                                  <p:childTnLst>
                                    <p:animClr clrSpc="hsl" dir="cw">
                                      <p:cBhvr override="childStyle">
                                        <p:cTn id="66" dur="500" fill="hold"/>
                                        <p:tgtEl>
                                          <p:spTgt spid="44"/>
                                        </p:tgtEl>
                                        <p:attrNameLst>
                                          <p:attrName>style.color</p:attrName>
                                        </p:attrNameLst>
                                      </p:cBhvr>
                                      <p:by>
                                        <p:hsl h="0" s="-12549" l="-25098"/>
                                      </p:by>
                                    </p:animClr>
                                    <p:animClr clrSpc="hsl" dir="cw">
                                      <p:cBhvr>
                                        <p:cTn id="67" dur="500" fill="hold"/>
                                        <p:tgtEl>
                                          <p:spTgt spid="44"/>
                                        </p:tgtEl>
                                        <p:attrNameLst>
                                          <p:attrName>fillcolor</p:attrName>
                                        </p:attrNameLst>
                                      </p:cBhvr>
                                      <p:by>
                                        <p:hsl h="0" s="-12549" l="-25098"/>
                                      </p:by>
                                    </p:animClr>
                                    <p:animClr clrSpc="hsl" dir="cw">
                                      <p:cBhvr>
                                        <p:cTn id="68" dur="500" fill="hold"/>
                                        <p:tgtEl>
                                          <p:spTgt spid="44"/>
                                        </p:tgtEl>
                                        <p:attrNameLst>
                                          <p:attrName>stroke.color</p:attrName>
                                        </p:attrNameLst>
                                      </p:cBhvr>
                                      <p:by>
                                        <p:hsl h="0" s="-12549" l="-25098"/>
                                      </p:by>
                                    </p:animClr>
                                    <p:set>
                                      <p:cBhvr>
                                        <p:cTn id="69" dur="500" fill="hold"/>
                                        <p:tgtEl>
                                          <p:spTgt spid="44"/>
                                        </p:tgtEl>
                                        <p:attrNameLst>
                                          <p:attrName>fill.type</p:attrName>
                                        </p:attrNameLst>
                                      </p:cBhvr>
                                      <p:to>
                                        <p:strVal val="solid"/>
                                      </p:to>
                                    </p:set>
                                  </p:childTnLst>
                                </p:cTn>
                              </p:par>
                              <p:par>
                                <p:cTn id="70" presetID="24" presetClass="emph" presetSubtype="0" fill="hold" grpId="1" nodeType="withEffect">
                                  <p:stCondLst>
                                    <p:cond delay="0"/>
                                  </p:stCondLst>
                                  <p:childTnLst>
                                    <p:animClr clrSpc="hsl" dir="cw">
                                      <p:cBhvr override="childStyle">
                                        <p:cTn id="71" dur="500" fill="hold"/>
                                        <p:tgtEl>
                                          <p:spTgt spid="29"/>
                                        </p:tgtEl>
                                        <p:attrNameLst>
                                          <p:attrName>style.color</p:attrName>
                                        </p:attrNameLst>
                                      </p:cBhvr>
                                      <p:by>
                                        <p:hsl h="0" s="-12549" l="-25098"/>
                                      </p:by>
                                    </p:animClr>
                                    <p:animClr clrSpc="hsl" dir="cw">
                                      <p:cBhvr>
                                        <p:cTn id="72" dur="500" fill="hold"/>
                                        <p:tgtEl>
                                          <p:spTgt spid="29"/>
                                        </p:tgtEl>
                                        <p:attrNameLst>
                                          <p:attrName>fillcolor</p:attrName>
                                        </p:attrNameLst>
                                      </p:cBhvr>
                                      <p:by>
                                        <p:hsl h="0" s="-12549" l="-25098"/>
                                      </p:by>
                                    </p:animClr>
                                    <p:animClr clrSpc="hsl" dir="cw">
                                      <p:cBhvr>
                                        <p:cTn id="73" dur="500" fill="hold"/>
                                        <p:tgtEl>
                                          <p:spTgt spid="29"/>
                                        </p:tgtEl>
                                        <p:attrNameLst>
                                          <p:attrName>stroke.color</p:attrName>
                                        </p:attrNameLst>
                                      </p:cBhvr>
                                      <p:by>
                                        <p:hsl h="0" s="-12549" l="-25098"/>
                                      </p:by>
                                    </p:animClr>
                                    <p:set>
                                      <p:cBhvr>
                                        <p:cTn id="74" dur="500" fill="hold"/>
                                        <p:tgtEl>
                                          <p:spTgt spid="29"/>
                                        </p:tgtEl>
                                        <p:attrNameLst>
                                          <p:attrName>fill.type</p:attrName>
                                        </p:attrNameLst>
                                      </p:cBhvr>
                                      <p:to>
                                        <p:strVal val="solid"/>
                                      </p:to>
                                    </p:set>
                                  </p:childTnLst>
                                </p:cTn>
                              </p:par>
                              <p:par>
                                <p:cTn id="75" presetID="24" presetClass="emph" presetSubtype="0" fill="hold" grpId="1" nodeType="withEffect">
                                  <p:stCondLst>
                                    <p:cond delay="0"/>
                                  </p:stCondLst>
                                  <p:childTnLst>
                                    <p:animClr clrSpc="hsl" dir="cw">
                                      <p:cBhvr override="childStyle">
                                        <p:cTn id="76" dur="500" fill="hold"/>
                                        <p:tgtEl>
                                          <p:spTgt spid="30"/>
                                        </p:tgtEl>
                                        <p:attrNameLst>
                                          <p:attrName>style.color</p:attrName>
                                        </p:attrNameLst>
                                      </p:cBhvr>
                                      <p:by>
                                        <p:hsl h="0" s="-12549" l="-25098"/>
                                      </p:by>
                                    </p:animClr>
                                    <p:animClr clrSpc="hsl" dir="cw">
                                      <p:cBhvr>
                                        <p:cTn id="77" dur="500" fill="hold"/>
                                        <p:tgtEl>
                                          <p:spTgt spid="30"/>
                                        </p:tgtEl>
                                        <p:attrNameLst>
                                          <p:attrName>fillcolor</p:attrName>
                                        </p:attrNameLst>
                                      </p:cBhvr>
                                      <p:by>
                                        <p:hsl h="0" s="-12549" l="-25098"/>
                                      </p:by>
                                    </p:animClr>
                                    <p:animClr clrSpc="hsl" dir="cw">
                                      <p:cBhvr>
                                        <p:cTn id="78" dur="500" fill="hold"/>
                                        <p:tgtEl>
                                          <p:spTgt spid="30"/>
                                        </p:tgtEl>
                                        <p:attrNameLst>
                                          <p:attrName>stroke.color</p:attrName>
                                        </p:attrNameLst>
                                      </p:cBhvr>
                                      <p:by>
                                        <p:hsl h="0" s="-12549" l="-25098"/>
                                      </p:by>
                                    </p:animClr>
                                    <p:set>
                                      <p:cBhvr>
                                        <p:cTn id="79" dur="500" fill="hold"/>
                                        <p:tgtEl>
                                          <p:spTgt spid="30"/>
                                        </p:tgtEl>
                                        <p:attrNameLst>
                                          <p:attrName>fill.type</p:attrName>
                                        </p:attrNameLst>
                                      </p:cBhvr>
                                      <p:to>
                                        <p:strVal val="solid"/>
                                      </p:to>
                                    </p:set>
                                  </p:childTnLst>
                                </p:cTn>
                              </p:par>
                              <p:par>
                                <p:cTn id="80" presetID="24" presetClass="emph" presetSubtype="0" fill="hold" grpId="1" nodeType="withEffect">
                                  <p:stCondLst>
                                    <p:cond delay="0"/>
                                  </p:stCondLst>
                                  <p:childTnLst>
                                    <p:animClr clrSpc="hsl" dir="cw">
                                      <p:cBhvr override="childStyle">
                                        <p:cTn id="81" dur="500" fill="hold"/>
                                        <p:tgtEl>
                                          <p:spTgt spid="47"/>
                                        </p:tgtEl>
                                        <p:attrNameLst>
                                          <p:attrName>style.color</p:attrName>
                                        </p:attrNameLst>
                                      </p:cBhvr>
                                      <p:by>
                                        <p:hsl h="0" s="-12549" l="-25098"/>
                                      </p:by>
                                    </p:animClr>
                                    <p:animClr clrSpc="hsl" dir="cw">
                                      <p:cBhvr>
                                        <p:cTn id="82" dur="500" fill="hold"/>
                                        <p:tgtEl>
                                          <p:spTgt spid="47"/>
                                        </p:tgtEl>
                                        <p:attrNameLst>
                                          <p:attrName>fillcolor</p:attrName>
                                        </p:attrNameLst>
                                      </p:cBhvr>
                                      <p:by>
                                        <p:hsl h="0" s="-12549" l="-25098"/>
                                      </p:by>
                                    </p:animClr>
                                    <p:animClr clrSpc="hsl" dir="cw">
                                      <p:cBhvr>
                                        <p:cTn id="83" dur="500" fill="hold"/>
                                        <p:tgtEl>
                                          <p:spTgt spid="47"/>
                                        </p:tgtEl>
                                        <p:attrNameLst>
                                          <p:attrName>stroke.color</p:attrName>
                                        </p:attrNameLst>
                                      </p:cBhvr>
                                      <p:by>
                                        <p:hsl h="0" s="-12549" l="-25098"/>
                                      </p:by>
                                    </p:animClr>
                                    <p:set>
                                      <p:cBhvr>
                                        <p:cTn id="84" dur="500" fill="hold"/>
                                        <p:tgtEl>
                                          <p:spTgt spid="47"/>
                                        </p:tgtEl>
                                        <p:attrNameLst>
                                          <p:attrName>fill.type</p:attrName>
                                        </p:attrNameLst>
                                      </p:cBhvr>
                                      <p:to>
                                        <p:strVal val="solid"/>
                                      </p:to>
                                    </p:set>
                                  </p:childTnLst>
                                </p:cTn>
                              </p:par>
                            </p:childTnLst>
                          </p:cTn>
                        </p:par>
                      </p:childTnLst>
                    </p:cTn>
                  </p:par>
                  <p:par>
                    <p:cTn id="85" fill="hold">
                      <p:stCondLst>
                        <p:cond delay="indefinite"/>
                      </p:stCondLst>
                      <p:childTnLst>
                        <p:par>
                          <p:cTn id="86" fill="hold">
                            <p:stCondLst>
                              <p:cond delay="0"/>
                            </p:stCondLst>
                            <p:childTnLst>
                              <p:par>
                                <p:cTn id="87" presetID="22" presetClass="entr" presetSubtype="8" fill="hold" grpId="0" nodeType="clickEffect">
                                  <p:stCondLst>
                                    <p:cond delay="0"/>
                                  </p:stCondLst>
                                  <p:childTnLst>
                                    <p:set>
                                      <p:cBhvr>
                                        <p:cTn id="88" dur="1" fill="hold">
                                          <p:stCondLst>
                                            <p:cond delay="0"/>
                                          </p:stCondLst>
                                        </p:cTn>
                                        <p:tgtEl>
                                          <p:spTgt spid="43"/>
                                        </p:tgtEl>
                                        <p:attrNameLst>
                                          <p:attrName>style.visibility</p:attrName>
                                        </p:attrNameLst>
                                      </p:cBhvr>
                                      <p:to>
                                        <p:strVal val="visible"/>
                                      </p:to>
                                    </p:set>
                                    <p:animEffect transition="in" filter="wipe(left)">
                                      <p:cBhvr>
                                        <p:cTn id="89" dur="500"/>
                                        <p:tgtEl>
                                          <p:spTgt spid="43"/>
                                        </p:tgtEl>
                                      </p:cBhvr>
                                    </p:animEffect>
                                  </p:childTnLst>
                                </p:cTn>
                              </p:par>
                              <p:par>
                                <p:cTn id="90" presetID="22" presetClass="entr" presetSubtype="8" fill="hold" grpId="0" nodeType="withEffect">
                                  <p:stCondLst>
                                    <p:cond delay="0"/>
                                  </p:stCondLst>
                                  <p:childTnLst>
                                    <p:set>
                                      <p:cBhvr>
                                        <p:cTn id="91" dur="1" fill="hold">
                                          <p:stCondLst>
                                            <p:cond delay="0"/>
                                          </p:stCondLst>
                                        </p:cTn>
                                        <p:tgtEl>
                                          <p:spTgt spid="31"/>
                                        </p:tgtEl>
                                        <p:attrNameLst>
                                          <p:attrName>style.visibility</p:attrName>
                                        </p:attrNameLst>
                                      </p:cBhvr>
                                      <p:to>
                                        <p:strVal val="visible"/>
                                      </p:to>
                                    </p:set>
                                    <p:animEffect transition="in" filter="wipe(left)">
                                      <p:cBhvr>
                                        <p:cTn id="92" dur="500"/>
                                        <p:tgtEl>
                                          <p:spTgt spid="31"/>
                                        </p:tgtEl>
                                      </p:cBhvr>
                                    </p:animEffect>
                                  </p:childTnLst>
                                </p:cTn>
                              </p:par>
                              <p:par>
                                <p:cTn id="93" presetID="22" presetClass="entr" presetSubtype="8" fill="hold" grpId="0" nodeType="withEffect">
                                  <p:stCondLst>
                                    <p:cond delay="0"/>
                                  </p:stCondLst>
                                  <p:childTnLst>
                                    <p:set>
                                      <p:cBhvr>
                                        <p:cTn id="94" dur="1" fill="hold">
                                          <p:stCondLst>
                                            <p:cond delay="0"/>
                                          </p:stCondLst>
                                        </p:cTn>
                                        <p:tgtEl>
                                          <p:spTgt spid="26"/>
                                        </p:tgtEl>
                                        <p:attrNameLst>
                                          <p:attrName>style.visibility</p:attrName>
                                        </p:attrNameLst>
                                      </p:cBhvr>
                                      <p:to>
                                        <p:strVal val="visible"/>
                                      </p:to>
                                    </p:set>
                                    <p:animEffect transition="in" filter="wipe(left)">
                                      <p:cBhvr>
                                        <p:cTn id="95" dur="500"/>
                                        <p:tgtEl>
                                          <p:spTgt spid="26"/>
                                        </p:tgtEl>
                                      </p:cBhvr>
                                    </p:animEffect>
                                  </p:childTnLst>
                                </p:cTn>
                              </p:par>
                              <p:par>
                                <p:cTn id="96" presetID="22" presetClass="entr" presetSubtype="8" fill="hold" grpId="0" nodeType="withEffect">
                                  <p:stCondLst>
                                    <p:cond delay="0"/>
                                  </p:stCondLst>
                                  <p:childTnLst>
                                    <p:set>
                                      <p:cBhvr>
                                        <p:cTn id="97" dur="1" fill="hold">
                                          <p:stCondLst>
                                            <p:cond delay="0"/>
                                          </p:stCondLst>
                                        </p:cTn>
                                        <p:tgtEl>
                                          <p:spTgt spid="27"/>
                                        </p:tgtEl>
                                        <p:attrNameLst>
                                          <p:attrName>style.visibility</p:attrName>
                                        </p:attrNameLst>
                                      </p:cBhvr>
                                      <p:to>
                                        <p:strVal val="visible"/>
                                      </p:to>
                                    </p:set>
                                    <p:animEffect transition="in" filter="wipe(left)">
                                      <p:cBhvr>
                                        <p:cTn id="98" dur="500"/>
                                        <p:tgtEl>
                                          <p:spTgt spid="27"/>
                                        </p:tgtEl>
                                      </p:cBhvr>
                                    </p:animEffect>
                                  </p:childTnLst>
                                </p:cTn>
                              </p:par>
                              <p:par>
                                <p:cTn id="99" presetID="22" presetClass="entr" presetSubtype="8" fill="hold" grpId="0" nodeType="withEffect">
                                  <p:stCondLst>
                                    <p:cond delay="0"/>
                                  </p:stCondLst>
                                  <p:childTnLst>
                                    <p:set>
                                      <p:cBhvr>
                                        <p:cTn id="100" dur="1" fill="hold">
                                          <p:stCondLst>
                                            <p:cond delay="0"/>
                                          </p:stCondLst>
                                        </p:cTn>
                                        <p:tgtEl>
                                          <p:spTgt spid="61"/>
                                        </p:tgtEl>
                                        <p:attrNameLst>
                                          <p:attrName>style.visibility</p:attrName>
                                        </p:attrNameLst>
                                      </p:cBhvr>
                                      <p:to>
                                        <p:strVal val="visible"/>
                                      </p:to>
                                    </p:set>
                                    <p:animEffect transition="in" filter="wipe(left)">
                                      <p:cBhvr>
                                        <p:cTn id="101" dur="500"/>
                                        <p:tgtEl>
                                          <p:spTgt spid="61"/>
                                        </p:tgtEl>
                                      </p:cBhvr>
                                    </p:animEffect>
                                  </p:childTnLst>
                                </p:cTn>
                              </p:par>
                            </p:childTnLst>
                          </p:cTn>
                        </p:par>
                      </p:childTnLst>
                    </p:cTn>
                  </p:par>
                  <p:par>
                    <p:cTn id="102" fill="hold">
                      <p:stCondLst>
                        <p:cond delay="indefinite"/>
                      </p:stCondLst>
                      <p:childTnLst>
                        <p:par>
                          <p:cTn id="103" fill="hold">
                            <p:stCondLst>
                              <p:cond delay="0"/>
                            </p:stCondLst>
                            <p:childTnLst>
                              <p:par>
                                <p:cTn id="104" presetID="24" presetClass="emph" presetSubtype="0" fill="hold" grpId="1" nodeType="clickEffect">
                                  <p:stCondLst>
                                    <p:cond delay="0"/>
                                  </p:stCondLst>
                                  <p:childTnLst>
                                    <p:animClr clrSpc="hsl" dir="cw">
                                      <p:cBhvr override="childStyle">
                                        <p:cTn id="105" dur="500" fill="hold"/>
                                        <p:tgtEl>
                                          <p:spTgt spid="40"/>
                                        </p:tgtEl>
                                        <p:attrNameLst>
                                          <p:attrName>style.color</p:attrName>
                                        </p:attrNameLst>
                                      </p:cBhvr>
                                      <p:by>
                                        <p:hsl h="0" s="-12549" l="-25098"/>
                                      </p:by>
                                    </p:animClr>
                                    <p:animClr clrSpc="hsl" dir="cw">
                                      <p:cBhvr>
                                        <p:cTn id="106" dur="500" fill="hold"/>
                                        <p:tgtEl>
                                          <p:spTgt spid="40"/>
                                        </p:tgtEl>
                                        <p:attrNameLst>
                                          <p:attrName>fillcolor</p:attrName>
                                        </p:attrNameLst>
                                      </p:cBhvr>
                                      <p:by>
                                        <p:hsl h="0" s="-12549" l="-25098"/>
                                      </p:by>
                                    </p:animClr>
                                    <p:animClr clrSpc="hsl" dir="cw">
                                      <p:cBhvr>
                                        <p:cTn id="107" dur="500" fill="hold"/>
                                        <p:tgtEl>
                                          <p:spTgt spid="40"/>
                                        </p:tgtEl>
                                        <p:attrNameLst>
                                          <p:attrName>stroke.color</p:attrName>
                                        </p:attrNameLst>
                                      </p:cBhvr>
                                      <p:by>
                                        <p:hsl h="0" s="-12549" l="-25098"/>
                                      </p:by>
                                    </p:animClr>
                                    <p:set>
                                      <p:cBhvr>
                                        <p:cTn id="108" dur="500" fill="hold"/>
                                        <p:tgtEl>
                                          <p:spTgt spid="40"/>
                                        </p:tgtEl>
                                        <p:attrNameLst>
                                          <p:attrName>fill.type</p:attrName>
                                        </p:attrNameLst>
                                      </p:cBhvr>
                                      <p:to>
                                        <p:strVal val="solid"/>
                                      </p:to>
                                    </p:set>
                                  </p:childTnLst>
                                </p:cTn>
                              </p:par>
                              <p:par>
                                <p:cTn id="109" presetID="24" presetClass="emph" presetSubtype="0" fill="hold" grpId="1" nodeType="withEffect">
                                  <p:stCondLst>
                                    <p:cond delay="0"/>
                                  </p:stCondLst>
                                  <p:childTnLst>
                                    <p:animClr clrSpc="hsl" dir="cw">
                                      <p:cBhvr override="childStyle">
                                        <p:cTn id="110" dur="500" fill="hold"/>
                                        <p:tgtEl>
                                          <p:spTgt spid="31"/>
                                        </p:tgtEl>
                                        <p:attrNameLst>
                                          <p:attrName>style.color</p:attrName>
                                        </p:attrNameLst>
                                      </p:cBhvr>
                                      <p:by>
                                        <p:hsl h="0" s="-12549" l="-25098"/>
                                      </p:by>
                                    </p:animClr>
                                    <p:animClr clrSpc="hsl" dir="cw">
                                      <p:cBhvr>
                                        <p:cTn id="111" dur="500" fill="hold"/>
                                        <p:tgtEl>
                                          <p:spTgt spid="31"/>
                                        </p:tgtEl>
                                        <p:attrNameLst>
                                          <p:attrName>fillcolor</p:attrName>
                                        </p:attrNameLst>
                                      </p:cBhvr>
                                      <p:by>
                                        <p:hsl h="0" s="-12549" l="-25098"/>
                                      </p:by>
                                    </p:animClr>
                                    <p:animClr clrSpc="hsl" dir="cw">
                                      <p:cBhvr>
                                        <p:cTn id="112" dur="500" fill="hold"/>
                                        <p:tgtEl>
                                          <p:spTgt spid="31"/>
                                        </p:tgtEl>
                                        <p:attrNameLst>
                                          <p:attrName>stroke.color</p:attrName>
                                        </p:attrNameLst>
                                      </p:cBhvr>
                                      <p:by>
                                        <p:hsl h="0" s="-12549" l="-25098"/>
                                      </p:by>
                                    </p:animClr>
                                    <p:set>
                                      <p:cBhvr>
                                        <p:cTn id="113" dur="500" fill="hold"/>
                                        <p:tgtEl>
                                          <p:spTgt spid="31"/>
                                        </p:tgtEl>
                                        <p:attrNameLst>
                                          <p:attrName>fill.type</p:attrName>
                                        </p:attrNameLst>
                                      </p:cBhvr>
                                      <p:to>
                                        <p:strVal val="solid"/>
                                      </p:to>
                                    </p:set>
                                  </p:childTnLst>
                                </p:cTn>
                              </p:par>
                              <p:par>
                                <p:cTn id="114" presetID="24" presetClass="emph" presetSubtype="0" fill="hold" grpId="1" nodeType="withEffect">
                                  <p:stCondLst>
                                    <p:cond delay="0"/>
                                  </p:stCondLst>
                                  <p:childTnLst>
                                    <p:animClr clrSpc="hsl" dir="cw">
                                      <p:cBhvr override="childStyle">
                                        <p:cTn id="115" dur="500" fill="hold"/>
                                        <p:tgtEl>
                                          <p:spTgt spid="26"/>
                                        </p:tgtEl>
                                        <p:attrNameLst>
                                          <p:attrName>style.color</p:attrName>
                                        </p:attrNameLst>
                                      </p:cBhvr>
                                      <p:by>
                                        <p:hsl h="0" s="-12549" l="-25098"/>
                                      </p:by>
                                    </p:animClr>
                                    <p:animClr clrSpc="hsl" dir="cw">
                                      <p:cBhvr>
                                        <p:cTn id="116" dur="500" fill="hold"/>
                                        <p:tgtEl>
                                          <p:spTgt spid="26"/>
                                        </p:tgtEl>
                                        <p:attrNameLst>
                                          <p:attrName>fillcolor</p:attrName>
                                        </p:attrNameLst>
                                      </p:cBhvr>
                                      <p:by>
                                        <p:hsl h="0" s="-12549" l="-25098"/>
                                      </p:by>
                                    </p:animClr>
                                    <p:animClr clrSpc="hsl" dir="cw">
                                      <p:cBhvr>
                                        <p:cTn id="117" dur="500" fill="hold"/>
                                        <p:tgtEl>
                                          <p:spTgt spid="26"/>
                                        </p:tgtEl>
                                        <p:attrNameLst>
                                          <p:attrName>stroke.color</p:attrName>
                                        </p:attrNameLst>
                                      </p:cBhvr>
                                      <p:by>
                                        <p:hsl h="0" s="-12549" l="-25098"/>
                                      </p:by>
                                    </p:animClr>
                                    <p:set>
                                      <p:cBhvr>
                                        <p:cTn id="118" dur="500" fill="hold"/>
                                        <p:tgtEl>
                                          <p:spTgt spid="26"/>
                                        </p:tgtEl>
                                        <p:attrNameLst>
                                          <p:attrName>fill.type</p:attrName>
                                        </p:attrNameLst>
                                      </p:cBhvr>
                                      <p:to>
                                        <p:strVal val="solid"/>
                                      </p:to>
                                    </p:set>
                                  </p:childTnLst>
                                </p:cTn>
                              </p:par>
                              <p:par>
                                <p:cTn id="119" presetID="24" presetClass="emph" presetSubtype="0" fill="hold" grpId="1" nodeType="withEffect">
                                  <p:stCondLst>
                                    <p:cond delay="0"/>
                                  </p:stCondLst>
                                  <p:childTnLst>
                                    <p:animClr clrSpc="hsl" dir="cw">
                                      <p:cBhvr override="childStyle">
                                        <p:cTn id="120" dur="500" fill="hold"/>
                                        <p:tgtEl>
                                          <p:spTgt spid="27"/>
                                        </p:tgtEl>
                                        <p:attrNameLst>
                                          <p:attrName>style.color</p:attrName>
                                        </p:attrNameLst>
                                      </p:cBhvr>
                                      <p:by>
                                        <p:hsl h="0" s="-12549" l="-25098"/>
                                      </p:by>
                                    </p:animClr>
                                    <p:animClr clrSpc="hsl" dir="cw">
                                      <p:cBhvr>
                                        <p:cTn id="121" dur="500" fill="hold"/>
                                        <p:tgtEl>
                                          <p:spTgt spid="27"/>
                                        </p:tgtEl>
                                        <p:attrNameLst>
                                          <p:attrName>fillcolor</p:attrName>
                                        </p:attrNameLst>
                                      </p:cBhvr>
                                      <p:by>
                                        <p:hsl h="0" s="-12549" l="-25098"/>
                                      </p:by>
                                    </p:animClr>
                                    <p:animClr clrSpc="hsl" dir="cw">
                                      <p:cBhvr>
                                        <p:cTn id="122" dur="500" fill="hold"/>
                                        <p:tgtEl>
                                          <p:spTgt spid="27"/>
                                        </p:tgtEl>
                                        <p:attrNameLst>
                                          <p:attrName>stroke.color</p:attrName>
                                        </p:attrNameLst>
                                      </p:cBhvr>
                                      <p:by>
                                        <p:hsl h="0" s="-12549" l="-25098"/>
                                      </p:by>
                                    </p:animClr>
                                    <p:set>
                                      <p:cBhvr>
                                        <p:cTn id="123" dur="500" fill="hold"/>
                                        <p:tgtEl>
                                          <p:spTgt spid="27"/>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25" grpId="0" animBg="1"/>
      <p:bldP spid="26" grpId="0" animBg="1"/>
      <p:bldP spid="26" grpId="1" animBg="1"/>
      <p:bldP spid="27" grpId="0" animBg="1"/>
      <p:bldP spid="27" grpId="1" animBg="1"/>
      <p:bldP spid="29" grpId="0" animBg="1"/>
      <p:bldP spid="29" grpId="1" animBg="1"/>
      <p:bldP spid="30" grpId="0" animBg="1"/>
      <p:bldP spid="30" grpId="1" animBg="1"/>
      <p:bldP spid="31" grpId="0" animBg="1"/>
      <p:bldP spid="31" grpId="1" animBg="1"/>
      <p:bldP spid="35" grpId="0" animBg="1"/>
      <p:bldP spid="36" grpId="0" animBg="1"/>
      <p:bldP spid="37" grpId="0" animBg="1"/>
      <p:bldP spid="38" grpId="0" animBg="1"/>
      <p:bldP spid="39" grpId="0" animBg="1"/>
      <p:bldP spid="40" grpId="0" animBg="1"/>
      <p:bldP spid="40" grpId="1" animBg="1"/>
      <p:bldP spid="43" grpId="0" animBg="1"/>
      <p:bldP spid="44" grpId="0" animBg="1"/>
      <p:bldP spid="44" grpId="1" animBg="1"/>
      <p:bldP spid="46" grpId="0" animBg="1"/>
      <p:bldP spid="47" grpId="0" animBg="1"/>
      <p:bldP spid="47" grpId="1" animBg="1"/>
      <p:bldP spid="57" grpId="0" animBg="1"/>
      <p:bldP spid="58" grpId="0" animBg="1"/>
      <p:bldP spid="60" grpId="0" animBg="1"/>
      <p:bldP spid="61" grpId="0" animBg="1"/>
    </p:bldLst>
  </p:timing>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2" name="Group 51"/>
          <p:cNvGrpSpPr/>
          <p:nvPr/>
        </p:nvGrpSpPr>
        <p:grpSpPr>
          <a:xfrm>
            <a:off x="3194120" y="3917324"/>
            <a:ext cx="2752344" cy="726948"/>
            <a:chOff x="3194120" y="5292344"/>
            <a:chExt cx="2752344" cy="969264"/>
          </a:xfrm>
        </p:grpSpPr>
        <p:sp>
          <p:nvSpPr>
            <p:cNvPr id="26" name="Rectangle 25"/>
            <p:cNvSpPr/>
            <p:nvPr/>
          </p:nvSpPr>
          <p:spPr bwMode="auto">
            <a:xfrm>
              <a:off x="3194120" y="5292344"/>
              <a:ext cx="2752344" cy="969264"/>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68680" tIns="0" rIns="91440" bIns="0" numCol="1" spcCol="0" rtlCol="0" fromWordArt="0" anchor="ctr" anchorCtr="0" forceAA="0" compatLnSpc="1">
              <a:prstTxWarp prst="textNoShape">
                <a:avLst/>
              </a:prstTxWarp>
              <a:noAutofit/>
            </a:bodyPr>
            <a:lstStyle/>
            <a:p>
              <a:pPr marL="215523" defTabSz="685637" fontAlgn="base">
                <a:spcBef>
                  <a:spcPct val="0"/>
                </a:spcBef>
                <a:spcAft>
                  <a:spcPct val="0"/>
                </a:spcAft>
              </a:pPr>
              <a:r>
                <a:rPr lang="en-US" sz="1500" dirty="0">
                  <a:gradFill>
                    <a:gsLst>
                      <a:gs pos="0">
                        <a:srgbClr val="FFFFFF"/>
                      </a:gs>
                      <a:gs pos="100000">
                        <a:srgbClr val="FFFFFF"/>
                      </a:gs>
                    </a:gsLst>
                    <a:lin ang="5400000" scaled="0"/>
                  </a:gradFill>
                </a:rPr>
                <a:t>Standards Based Management</a:t>
              </a:r>
            </a:p>
          </p:txBody>
        </p:sp>
        <p:pic>
          <p:nvPicPr>
            <p:cNvPr id="63" name="Picture 3" descr="\\SFP\Work\White_Whale\3-22036_Kuleen_Bharadwaj\PPT\3_PlatformVision_Kuleen\SFP_Art\Plane Slide\mon_notie.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444706" y="5457021"/>
              <a:ext cx="384151" cy="56322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0" name="Group 49"/>
          <p:cNvGrpSpPr/>
          <p:nvPr/>
        </p:nvGrpSpPr>
        <p:grpSpPr>
          <a:xfrm>
            <a:off x="377586" y="3917324"/>
            <a:ext cx="2752344" cy="726948"/>
            <a:chOff x="377586" y="5292344"/>
            <a:chExt cx="2752344" cy="969264"/>
          </a:xfrm>
        </p:grpSpPr>
        <p:sp>
          <p:nvSpPr>
            <p:cNvPr id="25" name="Rectangle 24"/>
            <p:cNvSpPr/>
            <p:nvPr/>
          </p:nvSpPr>
          <p:spPr bwMode="auto">
            <a:xfrm>
              <a:off x="377586" y="5292344"/>
              <a:ext cx="2752344" cy="969264"/>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68680" tIns="0" rIns="91440" bIns="0" numCol="1" spcCol="0" rtlCol="0" fromWordArt="0" anchor="ctr" anchorCtr="0" forceAA="0" compatLnSpc="1">
              <a:prstTxWarp prst="textNoShape">
                <a:avLst/>
              </a:prstTxWarp>
              <a:noAutofit/>
            </a:bodyPr>
            <a:lstStyle/>
            <a:p>
              <a:pPr marL="175039" defTabSz="685637" fontAlgn="base">
                <a:spcBef>
                  <a:spcPct val="0"/>
                </a:spcBef>
                <a:spcAft>
                  <a:spcPct val="0"/>
                </a:spcAft>
              </a:pPr>
              <a:r>
                <a:rPr lang="en-US" sz="1500" dirty="0">
                  <a:gradFill>
                    <a:gsLst>
                      <a:gs pos="0">
                        <a:srgbClr val="FFFFFF"/>
                      </a:gs>
                      <a:gs pos="100000">
                        <a:srgbClr val="FFFFFF"/>
                      </a:gs>
                    </a:gsLst>
                    <a:lin ang="5400000" scaled="0"/>
                  </a:gradFill>
                </a:rPr>
                <a:t>Extensive Array Support</a:t>
              </a:r>
            </a:p>
          </p:txBody>
        </p:sp>
        <p:pic>
          <p:nvPicPr>
            <p:cNvPr id="66" name="Picture 7" descr="\\MAGNUM\Projects\Microsoft\Cloud Power FY12\Design\ICONS_PNG\Physical_Virtual.png"/>
            <p:cNvPicPr>
              <a:picLocks noChangeAspect="1" noChangeArrowheads="1"/>
            </p:cNvPicPr>
            <p:nvPr/>
          </p:nvPicPr>
          <p:blipFill rotWithShape="1">
            <a:blip r:embed="rId6" cstate="print">
              <a:extLst>
                <a:ext uri="{BEBA8EAE-BF5A-486C-A8C5-ECC9F3942E4B}">
                  <a14:imgProps xmlns:a14="http://schemas.microsoft.com/office/drawing/2010/main">
                    <a14:imgLayer r:embed="rId7">
                      <a14:imgEffect>
                        <a14:brightnessContrast bright="100000"/>
                      </a14:imgEffect>
                    </a14:imgLayer>
                  </a14:imgProps>
                </a:ext>
              </a:extLst>
            </a:blip>
            <a:srcRect l="7856" t="39072" r="7907" b="5885"/>
            <a:stretch/>
          </p:blipFill>
          <p:spPr bwMode="auto">
            <a:xfrm>
              <a:off x="473097" y="5498805"/>
              <a:ext cx="618495" cy="535551"/>
            </a:xfrm>
            <a:prstGeom prst="rect">
              <a:avLst/>
            </a:prstGeom>
            <a:noFill/>
          </p:spPr>
        </p:pic>
      </p:grpSp>
      <p:grpSp>
        <p:nvGrpSpPr>
          <p:cNvPr id="49" name="Group 48"/>
          <p:cNvGrpSpPr/>
          <p:nvPr/>
        </p:nvGrpSpPr>
        <p:grpSpPr>
          <a:xfrm>
            <a:off x="6024539" y="3147809"/>
            <a:ext cx="2752344" cy="726948"/>
            <a:chOff x="6024539" y="4328948"/>
            <a:chExt cx="2752344" cy="969264"/>
          </a:xfrm>
        </p:grpSpPr>
        <p:sp>
          <p:nvSpPr>
            <p:cNvPr id="24" name="Rectangle 23"/>
            <p:cNvSpPr/>
            <p:nvPr/>
          </p:nvSpPr>
          <p:spPr bwMode="auto">
            <a:xfrm>
              <a:off x="6024539" y="4328948"/>
              <a:ext cx="2752344" cy="969264"/>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68680" tIns="0" rIns="91440" bIns="0" numCol="1" spcCol="0" rtlCol="0" fromWordArt="0" anchor="ctr" anchorCtr="0" forceAA="0" compatLnSpc="1">
              <a:prstTxWarp prst="textNoShape">
                <a:avLst/>
              </a:prstTxWarp>
              <a:noAutofit/>
            </a:bodyPr>
            <a:lstStyle/>
            <a:p>
              <a:pPr marL="39294" defTabSz="685637" fontAlgn="base">
                <a:spcBef>
                  <a:spcPct val="0"/>
                </a:spcBef>
                <a:spcAft>
                  <a:spcPct val="0"/>
                </a:spcAft>
              </a:pPr>
              <a:r>
                <a:rPr lang="en-US" sz="1500" dirty="0">
                  <a:gradFill>
                    <a:gsLst>
                      <a:gs pos="0">
                        <a:srgbClr val="FFFFFF"/>
                      </a:gs>
                      <a:gs pos="100000">
                        <a:srgbClr val="FFFFFF"/>
                      </a:gs>
                    </a:gsLst>
                    <a:lin ang="5400000" scaled="0"/>
                  </a:gradFill>
                </a:rPr>
                <a:t>   Scalable Provisioning</a:t>
              </a:r>
            </a:p>
          </p:txBody>
        </p:sp>
        <p:pic>
          <p:nvPicPr>
            <p:cNvPr id="60" name="Picture 108"/>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166198" y="4532442"/>
              <a:ext cx="406573" cy="5526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47" name="Group 46"/>
          <p:cNvGrpSpPr/>
          <p:nvPr/>
        </p:nvGrpSpPr>
        <p:grpSpPr>
          <a:xfrm>
            <a:off x="3194120" y="3147809"/>
            <a:ext cx="2752344" cy="726948"/>
            <a:chOff x="3194120" y="4329191"/>
            <a:chExt cx="2752344" cy="969264"/>
          </a:xfrm>
        </p:grpSpPr>
        <p:sp>
          <p:nvSpPr>
            <p:cNvPr id="23" name="Rectangle 22"/>
            <p:cNvSpPr/>
            <p:nvPr/>
          </p:nvSpPr>
          <p:spPr bwMode="auto">
            <a:xfrm>
              <a:off x="3194120" y="4329191"/>
              <a:ext cx="2752344" cy="969264"/>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68680" tIns="0" rIns="91440" bIns="0" numCol="1" spcCol="0" rtlCol="0" fromWordArt="0" anchor="ctr" anchorCtr="0" forceAA="0" compatLnSpc="1">
              <a:prstTxWarp prst="textNoShape">
                <a:avLst/>
              </a:prstTxWarp>
              <a:noAutofit/>
            </a:bodyPr>
            <a:lstStyle/>
            <a:p>
              <a:pPr marL="39294" defTabSz="685637" fontAlgn="base">
                <a:spcBef>
                  <a:spcPct val="0"/>
                </a:spcBef>
                <a:spcAft>
                  <a:spcPct val="0"/>
                </a:spcAft>
              </a:pPr>
              <a:r>
                <a:rPr lang="en-US" sz="1500" dirty="0">
                  <a:gradFill>
                    <a:gsLst>
                      <a:gs pos="0">
                        <a:srgbClr val="FFFFFF"/>
                      </a:gs>
                      <a:gs pos="100000">
                        <a:srgbClr val="FFFFFF"/>
                      </a:gs>
                    </a:gsLst>
                    <a:lin ang="5400000" scaled="0"/>
                  </a:gradFill>
                </a:rPr>
                <a:t>   Storage Automation</a:t>
              </a:r>
            </a:p>
          </p:txBody>
        </p:sp>
        <p:pic>
          <p:nvPicPr>
            <p:cNvPr id="54" name="Picture 8"/>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302058" y="4528547"/>
              <a:ext cx="640080" cy="5094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43" name="Group 42"/>
          <p:cNvGrpSpPr/>
          <p:nvPr/>
        </p:nvGrpSpPr>
        <p:grpSpPr>
          <a:xfrm>
            <a:off x="3194120" y="2378294"/>
            <a:ext cx="2752344" cy="726948"/>
            <a:chOff x="3194120" y="3366037"/>
            <a:chExt cx="2752344" cy="969264"/>
          </a:xfrm>
        </p:grpSpPr>
        <p:sp>
          <p:nvSpPr>
            <p:cNvPr id="22" name="Rectangle 21"/>
            <p:cNvSpPr/>
            <p:nvPr/>
          </p:nvSpPr>
          <p:spPr bwMode="auto">
            <a:xfrm>
              <a:off x="3194120" y="3366037"/>
              <a:ext cx="2752344" cy="969264"/>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68680" tIns="0" rIns="91440" bIns="0" numCol="1" spcCol="0" rtlCol="0" fromWordArt="0" anchor="ctr" anchorCtr="0" forceAA="0" compatLnSpc="1">
              <a:prstTxWarp prst="textNoShape">
                <a:avLst/>
              </a:prstTxWarp>
              <a:noAutofit/>
            </a:bodyPr>
            <a:lstStyle/>
            <a:p>
              <a:pPr marL="39294" defTabSz="685637" fontAlgn="base">
                <a:spcBef>
                  <a:spcPct val="0"/>
                </a:spcBef>
                <a:spcAft>
                  <a:spcPct val="0"/>
                </a:spcAft>
              </a:pPr>
              <a:r>
                <a:rPr lang="en-US" sz="1500" dirty="0">
                  <a:gradFill>
                    <a:gsLst>
                      <a:gs pos="0">
                        <a:srgbClr val="FFFFFF"/>
                      </a:gs>
                      <a:gs pos="100000">
                        <a:srgbClr val="FFFFFF"/>
                      </a:gs>
                    </a:gsLst>
                    <a:lin ang="5400000" scaled="0"/>
                  </a:gradFill>
                </a:rPr>
                <a:t>   SAN Migration</a:t>
              </a:r>
            </a:p>
          </p:txBody>
        </p:sp>
        <p:pic>
          <p:nvPicPr>
            <p:cNvPr id="51" name="Picture 2"/>
            <p:cNvPicPr>
              <a:picLocks noChangeAspect="1" noChangeArrowheads="1"/>
            </p:cNvPicPr>
            <p:nvPr/>
          </p:nvPicPr>
          <p:blipFill>
            <a:blip r:embed="rId10">
              <a:extLst>
                <a:ext uri="{28A0092B-C50C-407E-A947-70E740481C1C}">
                  <a14:useLocalDpi xmlns:a14="http://schemas.microsoft.com/office/drawing/2010/main" val="0"/>
                </a:ext>
              </a:extLst>
            </a:blip>
            <a:stretch>
              <a:fillRect/>
            </a:stretch>
          </p:blipFill>
          <p:spPr bwMode="auto">
            <a:xfrm>
              <a:off x="3285961" y="3537214"/>
              <a:ext cx="661115" cy="5901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46" name="Group 45"/>
          <p:cNvGrpSpPr/>
          <p:nvPr/>
        </p:nvGrpSpPr>
        <p:grpSpPr>
          <a:xfrm>
            <a:off x="377586" y="3147809"/>
            <a:ext cx="2752344" cy="726948"/>
            <a:chOff x="377586" y="4328948"/>
            <a:chExt cx="2752344" cy="969264"/>
          </a:xfrm>
        </p:grpSpPr>
        <p:sp>
          <p:nvSpPr>
            <p:cNvPr id="19" name="Rectangle 18"/>
            <p:cNvSpPr/>
            <p:nvPr/>
          </p:nvSpPr>
          <p:spPr bwMode="auto">
            <a:xfrm>
              <a:off x="377586" y="4328948"/>
              <a:ext cx="2752344" cy="969264"/>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68680" tIns="0" rIns="91440" bIns="0" numCol="1" spcCol="0" rtlCol="0" fromWordArt="0" anchor="ctr" anchorCtr="0" forceAA="0" compatLnSpc="1">
              <a:prstTxWarp prst="textNoShape">
                <a:avLst/>
              </a:prstTxWarp>
              <a:noAutofit/>
            </a:bodyPr>
            <a:lstStyle/>
            <a:p>
              <a:pPr marL="175039" indent="-127409" defTabSz="685637" fontAlgn="base">
                <a:spcBef>
                  <a:spcPct val="0"/>
                </a:spcBef>
                <a:spcAft>
                  <a:spcPct val="0"/>
                </a:spcAft>
              </a:pPr>
              <a:r>
                <a:rPr lang="en-US" sz="1500" dirty="0">
                  <a:gradFill>
                    <a:gsLst>
                      <a:gs pos="0">
                        <a:srgbClr val="FFFFFF"/>
                      </a:gs>
                      <a:gs pos="100000">
                        <a:srgbClr val="FFFFFF"/>
                      </a:gs>
                    </a:gsLst>
                    <a:lin ang="5400000" scaled="0"/>
                  </a:gradFill>
                </a:rPr>
                <a:t>  Cluster Storage   Management</a:t>
              </a:r>
            </a:p>
          </p:txBody>
        </p:sp>
        <p:pic>
          <p:nvPicPr>
            <p:cNvPr id="40" name="Picture 5"/>
            <p:cNvPicPr>
              <a:picLocks noChangeAspect="1" noChangeArrowheads="1"/>
            </p:cNvPicPr>
            <p:nvPr/>
          </p:nvPicPr>
          <p:blipFill>
            <a:blip r:embed="rId11" cstate="print">
              <a:extLst>
                <a:ext uri="{28A0092B-C50C-407E-A947-70E740481C1C}">
                  <a14:useLocalDpi xmlns:a14="http://schemas.microsoft.com/office/drawing/2010/main" val="0"/>
                </a:ext>
              </a:extLst>
            </a:blip>
            <a:stretch>
              <a:fillRect/>
            </a:stretch>
          </p:blipFill>
          <p:spPr bwMode="auto">
            <a:xfrm>
              <a:off x="541299" y="4547276"/>
              <a:ext cx="470523" cy="586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44" name="Group 43"/>
          <p:cNvGrpSpPr/>
          <p:nvPr/>
        </p:nvGrpSpPr>
        <p:grpSpPr>
          <a:xfrm>
            <a:off x="6024539" y="2378294"/>
            <a:ext cx="2752344" cy="726948"/>
            <a:chOff x="6024539" y="3365551"/>
            <a:chExt cx="2752344" cy="969264"/>
          </a:xfrm>
        </p:grpSpPr>
        <p:sp>
          <p:nvSpPr>
            <p:cNvPr id="18" name="Rectangle 17"/>
            <p:cNvSpPr/>
            <p:nvPr/>
          </p:nvSpPr>
          <p:spPr bwMode="auto">
            <a:xfrm>
              <a:off x="6024539" y="3365551"/>
              <a:ext cx="2752344" cy="969264"/>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68680" tIns="0" rIns="91440" bIns="0" numCol="1" spcCol="0" rtlCol="0" fromWordArt="0" anchor="ctr" anchorCtr="0" forceAA="0" compatLnSpc="1">
              <a:prstTxWarp prst="textNoShape">
                <a:avLst/>
              </a:prstTxWarp>
              <a:noAutofit/>
            </a:bodyPr>
            <a:lstStyle/>
            <a:p>
              <a:pPr marL="39294" defTabSz="685637" fontAlgn="base">
                <a:spcBef>
                  <a:spcPct val="0"/>
                </a:spcBef>
                <a:spcAft>
                  <a:spcPct val="0"/>
                </a:spcAft>
              </a:pPr>
              <a:r>
                <a:rPr lang="en-US" sz="1500" dirty="0">
                  <a:gradFill>
                    <a:gsLst>
                      <a:gs pos="0">
                        <a:srgbClr val="FFFFFF"/>
                      </a:gs>
                      <a:gs pos="100000">
                        <a:srgbClr val="FFFFFF"/>
                      </a:gs>
                    </a:gsLst>
                    <a:lin ang="5400000" scaled="0"/>
                  </a:gradFill>
                </a:rPr>
                <a:t>   Array Onboarding</a:t>
              </a:r>
            </a:p>
          </p:txBody>
        </p:sp>
        <p:pic>
          <p:nvPicPr>
            <p:cNvPr id="36" name="Picture 35"/>
            <p:cNvPicPr>
              <a:picLocks noChangeAspect="1"/>
            </p:cNvPicPr>
            <p:nvPr>
              <p:custDataLst>
                <p:tags r:id="rId2"/>
              </p:custDataLst>
            </p:nvPr>
          </p:nvPicPr>
          <p:blipFill>
            <a:blip r:embed="rId12">
              <a:extLst>
                <a:ext uri="{28A0092B-C50C-407E-A947-70E740481C1C}">
                  <a14:useLocalDpi xmlns:a14="http://schemas.microsoft.com/office/drawing/2010/main" val="0"/>
                </a:ext>
              </a:extLst>
            </a:blip>
            <a:stretch>
              <a:fillRect/>
            </a:stretch>
          </p:blipFill>
          <p:spPr>
            <a:xfrm>
              <a:off x="6173238" y="3546547"/>
              <a:ext cx="456697" cy="566177"/>
            </a:xfrm>
            <a:prstGeom prst="rect">
              <a:avLst/>
            </a:prstGeom>
            <a:effectLst/>
          </p:spPr>
        </p:pic>
      </p:grpSp>
      <p:grpSp>
        <p:nvGrpSpPr>
          <p:cNvPr id="42" name="Group 41"/>
          <p:cNvGrpSpPr/>
          <p:nvPr/>
        </p:nvGrpSpPr>
        <p:grpSpPr>
          <a:xfrm>
            <a:off x="377586" y="2378294"/>
            <a:ext cx="2752344" cy="726948"/>
            <a:chOff x="377586" y="3365551"/>
            <a:chExt cx="2752344" cy="969264"/>
          </a:xfrm>
        </p:grpSpPr>
        <p:sp>
          <p:nvSpPr>
            <p:cNvPr id="21" name="Rectangle 20"/>
            <p:cNvSpPr/>
            <p:nvPr/>
          </p:nvSpPr>
          <p:spPr bwMode="auto">
            <a:xfrm>
              <a:off x="377586" y="3365551"/>
              <a:ext cx="2752344" cy="969264"/>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68680" tIns="0" rIns="91440" bIns="0" numCol="1" spcCol="0" rtlCol="0" fromWordArt="0" anchor="ctr"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   Rapid Provisioning</a:t>
              </a:r>
              <a:br>
                <a:rPr lang="en-US" sz="1500" dirty="0">
                  <a:gradFill>
                    <a:gsLst>
                      <a:gs pos="0">
                        <a:srgbClr val="FFFFFF"/>
                      </a:gs>
                      <a:gs pos="100000">
                        <a:srgbClr val="FFFFFF"/>
                      </a:gs>
                    </a:gsLst>
                    <a:lin ang="5400000" scaled="0"/>
                  </a:gradFill>
                </a:rPr>
              </a:br>
              <a:r>
                <a:rPr lang="en-US" sz="1500" dirty="0">
                  <a:gradFill>
                    <a:gsLst>
                      <a:gs pos="0">
                        <a:srgbClr val="FFFFFF"/>
                      </a:gs>
                      <a:gs pos="100000">
                        <a:srgbClr val="FFFFFF"/>
                      </a:gs>
                    </a:gsLst>
                    <a:lin ang="5400000" scaled="0"/>
                  </a:gradFill>
                </a:rPr>
                <a:t>  </a:t>
              </a:r>
            </a:p>
          </p:txBody>
        </p:sp>
        <p:pic>
          <p:nvPicPr>
            <p:cNvPr id="48" name="Picture 174"/>
            <p:cNvPicPr>
              <a:picLocks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70457" y="3566264"/>
              <a:ext cx="418447" cy="5606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41" name="Group 40"/>
          <p:cNvGrpSpPr/>
          <p:nvPr/>
        </p:nvGrpSpPr>
        <p:grpSpPr>
          <a:xfrm>
            <a:off x="6024539" y="1608779"/>
            <a:ext cx="2752344" cy="726948"/>
            <a:chOff x="6024539" y="2402153"/>
            <a:chExt cx="2752344" cy="969264"/>
          </a:xfrm>
        </p:grpSpPr>
        <p:sp>
          <p:nvSpPr>
            <p:cNvPr id="20" name="Rectangle 19"/>
            <p:cNvSpPr/>
            <p:nvPr/>
          </p:nvSpPr>
          <p:spPr bwMode="auto">
            <a:xfrm>
              <a:off x="6024539" y="2402153"/>
              <a:ext cx="2752344" cy="969264"/>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68680" tIns="0" rIns="91440" bIns="0" numCol="1" spcCol="0" rtlCol="0" fromWordArt="0" anchor="ctr" anchorCtr="0" forceAA="0" compatLnSpc="1">
              <a:prstTxWarp prst="textNoShape">
                <a:avLst/>
              </a:prstTxWarp>
              <a:noAutofit/>
            </a:bodyPr>
            <a:lstStyle/>
            <a:p>
              <a:pPr marL="175039" defTabSz="685637" fontAlgn="base">
                <a:spcBef>
                  <a:spcPct val="0"/>
                </a:spcBef>
                <a:spcAft>
                  <a:spcPct val="0"/>
                </a:spcAft>
              </a:pPr>
              <a:r>
                <a:rPr lang="en-US" sz="1500" dirty="0">
                  <a:gradFill>
                    <a:gsLst>
                      <a:gs pos="0">
                        <a:srgbClr val="FFFFFF"/>
                      </a:gs>
                      <a:gs pos="100000">
                        <a:srgbClr val="FFFFFF"/>
                      </a:gs>
                    </a:gsLst>
                    <a:lin ang="5400000" scaled="0"/>
                  </a:gradFill>
                </a:rPr>
                <a:t>Allocation and Assignment</a:t>
              </a:r>
            </a:p>
          </p:txBody>
        </p:sp>
        <p:pic>
          <p:nvPicPr>
            <p:cNvPr id="45" name="Picture 3"/>
            <p:cNvPicPr>
              <a:picLocks noChangeAspect="1" noChangeArrowheads="1"/>
            </p:cNvPicPr>
            <p:nvPr>
              <p:custDataLst>
                <p:tags r:id="rId1"/>
              </p:custDataLst>
            </p:nvPr>
          </p:nvPicPr>
          <p:blipFill>
            <a:blip r:embed="rId14" cstate="print">
              <a:extLst>
                <a:ext uri="{28A0092B-C50C-407E-A947-70E740481C1C}">
                  <a14:useLocalDpi xmlns:a14="http://schemas.microsoft.com/office/drawing/2010/main"/>
                </a:ext>
              </a:extLst>
            </a:blip>
            <a:srcRect/>
            <a:stretch>
              <a:fillRect/>
            </a:stretch>
          </p:blipFill>
          <p:spPr bwMode="auto">
            <a:xfrm>
              <a:off x="6220698" y="2569888"/>
              <a:ext cx="294908" cy="580216"/>
            </a:xfrm>
            <a:prstGeom prst="rect">
              <a:avLst/>
            </a:prstGeom>
            <a:noFill/>
            <a:ln>
              <a:noFill/>
              <a:headEnd type="none" w="med" len="med"/>
              <a:tailEnd type="none" w="med" len="med"/>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39" name="Group 38"/>
          <p:cNvGrpSpPr/>
          <p:nvPr/>
        </p:nvGrpSpPr>
        <p:grpSpPr>
          <a:xfrm>
            <a:off x="3194120" y="1608779"/>
            <a:ext cx="2752344" cy="726948"/>
            <a:chOff x="3194120" y="2402883"/>
            <a:chExt cx="2752344" cy="969264"/>
          </a:xfrm>
        </p:grpSpPr>
        <p:sp>
          <p:nvSpPr>
            <p:cNvPr id="16" name="Rectangle 15"/>
            <p:cNvSpPr/>
            <p:nvPr/>
          </p:nvSpPr>
          <p:spPr bwMode="auto">
            <a:xfrm>
              <a:off x="3194120" y="2402883"/>
              <a:ext cx="2752344" cy="969264"/>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68680" tIns="0" rIns="91440" bIns="0" numCol="1" spcCol="0" rtlCol="0" fromWordArt="0" anchor="ctr" anchorCtr="0" forceAA="0" compatLnSpc="1">
              <a:prstTxWarp prst="textNoShape">
                <a:avLst/>
              </a:prstTxWarp>
              <a:noAutofit/>
            </a:bodyPr>
            <a:lstStyle/>
            <a:p>
              <a:pPr marL="39294" defTabSz="685637" fontAlgn="base">
                <a:spcBef>
                  <a:spcPct val="0"/>
                </a:spcBef>
                <a:spcAft>
                  <a:spcPct val="0"/>
                </a:spcAft>
              </a:pPr>
              <a:r>
                <a:rPr lang="en-US" sz="1500" dirty="0">
                  <a:gradFill>
                    <a:gsLst>
                      <a:gs pos="0">
                        <a:srgbClr val="FFFFFF"/>
                      </a:gs>
                      <a:gs pos="100000">
                        <a:srgbClr val="FFFFFF"/>
                      </a:gs>
                    </a:gsLst>
                    <a:lin ang="5400000" scaled="0"/>
                  </a:gradFill>
                </a:rPr>
                <a:t>   Storage Classification </a:t>
              </a:r>
            </a:p>
          </p:txBody>
        </p:sp>
        <p:pic>
          <p:nvPicPr>
            <p:cNvPr id="33" name="Picture 32"/>
            <p:cNvPicPr>
              <a:picLocks/>
            </p:cNvPicPr>
            <p:nvPr/>
          </p:nvPicPr>
          <p:blipFill>
            <a:blip r:embed="rId15">
              <a:extLst>
                <a:ext uri="{28A0092B-C50C-407E-A947-70E740481C1C}">
                  <a14:useLocalDpi xmlns:a14="http://schemas.microsoft.com/office/drawing/2010/main" val="0"/>
                </a:ext>
              </a:extLst>
            </a:blip>
            <a:stretch>
              <a:fillRect/>
            </a:stretch>
          </p:blipFill>
          <p:spPr>
            <a:xfrm>
              <a:off x="3364568" y="2569888"/>
              <a:ext cx="425307" cy="569788"/>
            </a:xfrm>
            <a:prstGeom prst="rect">
              <a:avLst/>
            </a:prstGeom>
          </p:spPr>
        </p:pic>
      </p:grpSp>
      <p:grpSp>
        <p:nvGrpSpPr>
          <p:cNvPr id="37" name="Group 36"/>
          <p:cNvGrpSpPr/>
          <p:nvPr/>
        </p:nvGrpSpPr>
        <p:grpSpPr>
          <a:xfrm>
            <a:off x="377586" y="1608779"/>
            <a:ext cx="2752344" cy="726948"/>
            <a:chOff x="377586" y="2402154"/>
            <a:chExt cx="2752344" cy="969264"/>
          </a:xfrm>
        </p:grpSpPr>
        <p:sp>
          <p:nvSpPr>
            <p:cNvPr id="3" name="Rectangle 2"/>
            <p:cNvSpPr/>
            <p:nvPr/>
          </p:nvSpPr>
          <p:spPr bwMode="auto">
            <a:xfrm>
              <a:off x="377586" y="2402154"/>
              <a:ext cx="2752344" cy="969264"/>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68680" tIns="0" rIns="91440" bIns="0" numCol="1" spcCol="0" rtlCol="0" fromWordArt="0" anchor="ctr"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   End to End Mapping</a:t>
              </a:r>
            </a:p>
          </p:txBody>
        </p:sp>
        <p:pic>
          <p:nvPicPr>
            <p:cNvPr id="30" name="Picture 4" descr="\\MAGNUM\Projects\Microsoft\Cloud Power FY12\Design\ICONS_PNG\Check_mark.png"/>
            <p:cNvPicPr>
              <a:picLocks noChangeAspect="1" noChangeArrowheads="1"/>
            </p:cNvPicPr>
            <p:nvPr/>
          </p:nvPicPr>
          <p:blipFill rotWithShape="1">
            <a:blip r:embed="rId16" cstate="print">
              <a:lum bright="100000"/>
            </a:blip>
            <a:srcRect t="11515"/>
            <a:stretch/>
          </p:blipFill>
          <p:spPr bwMode="auto">
            <a:xfrm>
              <a:off x="515567" y="2595927"/>
              <a:ext cx="569374" cy="632988"/>
            </a:xfrm>
            <a:prstGeom prst="rect">
              <a:avLst/>
            </a:prstGeom>
            <a:noFill/>
          </p:spPr>
        </p:pic>
      </p:grpSp>
      <p:sp>
        <p:nvSpPr>
          <p:cNvPr id="103" name="Crosshair" hidden="1"/>
          <p:cNvSpPr>
            <a:spLocks/>
          </p:cNvSpPr>
          <p:nvPr/>
        </p:nvSpPr>
        <p:spPr bwMode="auto">
          <a:xfrm>
            <a:off x="1525159" y="1800803"/>
            <a:ext cx="457200" cy="342900"/>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68586" tIns="34294" rIns="68586" bIns="34294" numCol="1" anchor="t" anchorCtr="0" compatLnSpc="1">
            <a:prstTxWarp prst="textNoShape">
              <a:avLst/>
            </a:prstTxWarp>
          </a:bodyPr>
          <a:lstStyle/>
          <a:p>
            <a:endParaRPr lang="en-US" dirty="0"/>
          </a:p>
        </p:txBody>
      </p:sp>
      <p:sp>
        <p:nvSpPr>
          <p:cNvPr id="104" name="Crosshair" hidden="1"/>
          <p:cNvSpPr>
            <a:spLocks/>
          </p:cNvSpPr>
          <p:nvPr/>
        </p:nvSpPr>
        <p:spPr bwMode="auto">
          <a:xfrm>
            <a:off x="1525159" y="2570318"/>
            <a:ext cx="457200" cy="342900"/>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68586" tIns="34294" rIns="68586" bIns="34294" numCol="1" anchor="t" anchorCtr="0" compatLnSpc="1">
            <a:prstTxWarp prst="textNoShape">
              <a:avLst/>
            </a:prstTxWarp>
          </a:bodyPr>
          <a:lstStyle/>
          <a:p>
            <a:endParaRPr lang="en-US" dirty="0"/>
          </a:p>
        </p:txBody>
      </p:sp>
      <p:sp>
        <p:nvSpPr>
          <p:cNvPr id="105" name="Crosshair" hidden="1"/>
          <p:cNvSpPr>
            <a:spLocks/>
          </p:cNvSpPr>
          <p:nvPr/>
        </p:nvSpPr>
        <p:spPr bwMode="auto">
          <a:xfrm>
            <a:off x="1525159" y="3339833"/>
            <a:ext cx="457200" cy="342900"/>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68586" tIns="34294" rIns="68586" bIns="34294" numCol="1" anchor="t" anchorCtr="0" compatLnSpc="1">
            <a:prstTxWarp prst="textNoShape">
              <a:avLst/>
            </a:prstTxWarp>
          </a:bodyPr>
          <a:lstStyle/>
          <a:p>
            <a:endParaRPr lang="en-US" dirty="0"/>
          </a:p>
        </p:txBody>
      </p:sp>
      <p:sp>
        <p:nvSpPr>
          <p:cNvPr id="106" name="Crosshair" hidden="1"/>
          <p:cNvSpPr>
            <a:spLocks/>
          </p:cNvSpPr>
          <p:nvPr/>
        </p:nvSpPr>
        <p:spPr bwMode="auto">
          <a:xfrm>
            <a:off x="1525159" y="4109348"/>
            <a:ext cx="457200" cy="342900"/>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68586" tIns="34294" rIns="68586" bIns="34294" numCol="1" anchor="t" anchorCtr="0" compatLnSpc="1">
            <a:prstTxWarp prst="textNoShape">
              <a:avLst/>
            </a:prstTxWarp>
          </a:bodyPr>
          <a:lstStyle/>
          <a:p>
            <a:endParaRPr lang="en-US" dirty="0"/>
          </a:p>
        </p:txBody>
      </p:sp>
      <p:sp>
        <p:nvSpPr>
          <p:cNvPr id="108" name="Crosshair" hidden="1"/>
          <p:cNvSpPr>
            <a:spLocks/>
          </p:cNvSpPr>
          <p:nvPr/>
        </p:nvSpPr>
        <p:spPr bwMode="auto">
          <a:xfrm>
            <a:off x="4341692" y="1800803"/>
            <a:ext cx="457200" cy="342900"/>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68586" tIns="34294" rIns="68586" bIns="34294" numCol="1" anchor="t" anchorCtr="0" compatLnSpc="1">
            <a:prstTxWarp prst="textNoShape">
              <a:avLst/>
            </a:prstTxWarp>
          </a:bodyPr>
          <a:lstStyle/>
          <a:p>
            <a:endParaRPr lang="en-US" dirty="0"/>
          </a:p>
        </p:txBody>
      </p:sp>
      <p:sp>
        <p:nvSpPr>
          <p:cNvPr id="109" name="Crosshair" hidden="1"/>
          <p:cNvSpPr>
            <a:spLocks/>
          </p:cNvSpPr>
          <p:nvPr/>
        </p:nvSpPr>
        <p:spPr bwMode="auto">
          <a:xfrm>
            <a:off x="4341692" y="2570318"/>
            <a:ext cx="457200" cy="342900"/>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68586" tIns="34294" rIns="68586" bIns="34294" numCol="1" anchor="t" anchorCtr="0" compatLnSpc="1">
            <a:prstTxWarp prst="textNoShape">
              <a:avLst/>
            </a:prstTxWarp>
          </a:bodyPr>
          <a:lstStyle/>
          <a:p>
            <a:endParaRPr lang="en-US" dirty="0"/>
          </a:p>
        </p:txBody>
      </p:sp>
      <p:sp>
        <p:nvSpPr>
          <p:cNvPr id="110" name="Crosshair" hidden="1"/>
          <p:cNvSpPr>
            <a:spLocks/>
          </p:cNvSpPr>
          <p:nvPr/>
        </p:nvSpPr>
        <p:spPr bwMode="auto">
          <a:xfrm>
            <a:off x="4341692" y="3339833"/>
            <a:ext cx="457200" cy="342900"/>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68586" tIns="34294" rIns="68586" bIns="34294" numCol="1" anchor="t" anchorCtr="0" compatLnSpc="1">
            <a:prstTxWarp prst="textNoShape">
              <a:avLst/>
            </a:prstTxWarp>
          </a:bodyPr>
          <a:lstStyle/>
          <a:p>
            <a:endParaRPr lang="en-US" dirty="0"/>
          </a:p>
        </p:txBody>
      </p:sp>
      <p:sp>
        <p:nvSpPr>
          <p:cNvPr id="111" name="Crosshair" hidden="1"/>
          <p:cNvSpPr>
            <a:spLocks/>
          </p:cNvSpPr>
          <p:nvPr/>
        </p:nvSpPr>
        <p:spPr bwMode="auto">
          <a:xfrm>
            <a:off x="4341692" y="4109348"/>
            <a:ext cx="457200" cy="342900"/>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68586" tIns="34294" rIns="68586" bIns="34294" numCol="1" anchor="t" anchorCtr="0" compatLnSpc="1">
            <a:prstTxWarp prst="textNoShape">
              <a:avLst/>
            </a:prstTxWarp>
          </a:bodyPr>
          <a:lstStyle/>
          <a:p>
            <a:endParaRPr lang="en-US" dirty="0"/>
          </a:p>
        </p:txBody>
      </p:sp>
      <p:sp>
        <p:nvSpPr>
          <p:cNvPr id="113" name="Crosshair" hidden="1"/>
          <p:cNvSpPr>
            <a:spLocks/>
          </p:cNvSpPr>
          <p:nvPr/>
        </p:nvSpPr>
        <p:spPr bwMode="auto">
          <a:xfrm>
            <a:off x="7172111" y="1800803"/>
            <a:ext cx="457200" cy="342900"/>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68586" tIns="34294" rIns="68586" bIns="34294" numCol="1" anchor="t" anchorCtr="0" compatLnSpc="1">
            <a:prstTxWarp prst="textNoShape">
              <a:avLst/>
            </a:prstTxWarp>
          </a:bodyPr>
          <a:lstStyle/>
          <a:p>
            <a:endParaRPr lang="en-US" dirty="0"/>
          </a:p>
        </p:txBody>
      </p:sp>
      <p:sp>
        <p:nvSpPr>
          <p:cNvPr id="114" name="Crosshair" hidden="1"/>
          <p:cNvSpPr>
            <a:spLocks/>
          </p:cNvSpPr>
          <p:nvPr/>
        </p:nvSpPr>
        <p:spPr bwMode="auto">
          <a:xfrm>
            <a:off x="7172111" y="2570318"/>
            <a:ext cx="457200" cy="342900"/>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68586" tIns="34294" rIns="68586" bIns="34294" numCol="1" anchor="t" anchorCtr="0" compatLnSpc="1">
            <a:prstTxWarp prst="textNoShape">
              <a:avLst/>
            </a:prstTxWarp>
          </a:bodyPr>
          <a:lstStyle/>
          <a:p>
            <a:endParaRPr lang="en-US" dirty="0"/>
          </a:p>
        </p:txBody>
      </p:sp>
      <p:sp>
        <p:nvSpPr>
          <p:cNvPr id="115" name="Crosshair" hidden="1"/>
          <p:cNvSpPr>
            <a:spLocks/>
          </p:cNvSpPr>
          <p:nvPr/>
        </p:nvSpPr>
        <p:spPr bwMode="auto">
          <a:xfrm>
            <a:off x="7172111" y="3339833"/>
            <a:ext cx="457200" cy="342900"/>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68586" tIns="34294" rIns="68586" bIns="34294" numCol="1" anchor="t" anchorCtr="0" compatLnSpc="1">
            <a:prstTxWarp prst="textNoShape">
              <a:avLst/>
            </a:prstTxWarp>
          </a:bodyPr>
          <a:lstStyle/>
          <a:p>
            <a:endParaRPr lang="en-US" dirty="0"/>
          </a:p>
        </p:txBody>
      </p:sp>
      <p:sp>
        <p:nvSpPr>
          <p:cNvPr id="116" name="Crosshair" hidden="1"/>
          <p:cNvSpPr>
            <a:spLocks/>
          </p:cNvSpPr>
          <p:nvPr/>
        </p:nvSpPr>
        <p:spPr bwMode="auto">
          <a:xfrm>
            <a:off x="7172111" y="4109348"/>
            <a:ext cx="457200" cy="342900"/>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68586" tIns="34294" rIns="68586" bIns="34294" numCol="1" anchor="t" anchorCtr="0" compatLnSpc="1">
            <a:prstTxWarp prst="textNoShape">
              <a:avLst/>
            </a:prstTxWarp>
          </a:bodyPr>
          <a:lstStyle/>
          <a:p>
            <a:endParaRPr lang="en-US" dirty="0"/>
          </a:p>
        </p:txBody>
      </p:sp>
      <p:sp>
        <p:nvSpPr>
          <p:cNvPr id="94" name="Title 3"/>
          <p:cNvSpPr txBox="1">
            <a:spLocks/>
          </p:cNvSpPr>
          <p:nvPr/>
        </p:nvSpPr>
        <p:spPr>
          <a:xfrm>
            <a:off x="393581" y="1087571"/>
            <a:ext cx="8383302" cy="480060"/>
          </a:xfrm>
          <a:prstGeom prst="rect">
            <a:avLst/>
          </a:prstGeom>
          <a:solidFill>
            <a:schemeClr val="accent5"/>
          </a:solidFill>
        </p:spPr>
        <p:txBody>
          <a:bodyPr vert="horz" wrap="square" lIns="68586" tIns="0" rIns="0" bIns="0" rtlCol="0" anchor="ctr" anchorCtr="0">
            <a:no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bg1"/>
                    </a:gs>
                    <a:gs pos="86000">
                      <a:schemeClr val="bg1"/>
                    </a:gs>
                  </a:gsLst>
                  <a:lin ang="5400000" scaled="0"/>
                  <a:tileRect/>
                </a:gradFill>
                <a:effectLst/>
                <a:latin typeface="+mj-lt"/>
                <a:ea typeface="+mn-ea"/>
                <a:cs typeface="Arial" charset="0"/>
              </a:defRPr>
            </a:lvl1pPr>
          </a:lstStyle>
          <a:p>
            <a:r>
              <a:rPr lang="en-US" sz="2100" dirty="0">
                <a:gradFill flip="none" rotWithShape="1">
                  <a:gsLst>
                    <a:gs pos="0">
                      <a:srgbClr val="FFFFFF"/>
                    </a:gs>
                    <a:gs pos="86000">
                      <a:srgbClr val="FFFFFF"/>
                    </a:gs>
                  </a:gsLst>
                  <a:lin ang="5400000" scaled="0"/>
                  <a:tileRect/>
                </a:gradFill>
              </a:rPr>
              <a:t>Private Cloud-Ready Storage Automation Platform</a:t>
            </a:r>
          </a:p>
        </p:txBody>
      </p:sp>
      <p:sp>
        <p:nvSpPr>
          <p:cNvPr id="117" name="Title 3"/>
          <p:cNvSpPr txBox="1">
            <a:spLocks/>
          </p:cNvSpPr>
          <p:nvPr/>
        </p:nvSpPr>
        <p:spPr>
          <a:xfrm>
            <a:off x="377587" y="1087571"/>
            <a:ext cx="2752344" cy="480060"/>
          </a:xfrm>
          <a:prstGeom prst="rect">
            <a:avLst/>
          </a:prstGeom>
          <a:solidFill>
            <a:schemeClr val="accent5"/>
          </a:solidFill>
        </p:spPr>
        <p:txBody>
          <a:bodyPr vert="horz" wrap="square" lIns="68586" tIns="0" rIns="0" bIns="0" rtlCol="0" anchor="ctr" anchorCtr="0">
            <a:no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bg1"/>
                    </a:gs>
                    <a:gs pos="86000">
                      <a:schemeClr val="bg1"/>
                    </a:gs>
                  </a:gsLst>
                  <a:lin ang="5400000" scaled="0"/>
                  <a:tileRect/>
                </a:gradFill>
                <a:effectLst/>
                <a:latin typeface="+mj-lt"/>
                <a:ea typeface="+mn-ea"/>
                <a:cs typeface="Arial" charset="0"/>
              </a:defRPr>
            </a:lvl1pPr>
          </a:lstStyle>
          <a:p>
            <a:r>
              <a:rPr lang="en-US" sz="1500" spc="0" dirty="0">
                <a:gradFill flip="none" rotWithShape="1">
                  <a:gsLst>
                    <a:gs pos="0">
                      <a:srgbClr val="FFFFFF"/>
                    </a:gs>
                    <a:gs pos="86000">
                      <a:srgbClr val="FFFFFF"/>
                    </a:gs>
                  </a:gsLst>
                  <a:lin ang="5400000" scaled="0"/>
                  <a:tileRect/>
                </a:gradFill>
              </a:rPr>
              <a:t>Breakthrough Insight</a:t>
            </a:r>
          </a:p>
        </p:txBody>
      </p:sp>
      <p:sp>
        <p:nvSpPr>
          <p:cNvPr id="118" name="Title 3"/>
          <p:cNvSpPr txBox="1">
            <a:spLocks/>
          </p:cNvSpPr>
          <p:nvPr/>
        </p:nvSpPr>
        <p:spPr>
          <a:xfrm>
            <a:off x="3194121" y="1087571"/>
            <a:ext cx="2752344" cy="480060"/>
          </a:xfrm>
          <a:prstGeom prst="rect">
            <a:avLst/>
          </a:prstGeom>
          <a:solidFill>
            <a:schemeClr val="accent5"/>
          </a:solidFill>
        </p:spPr>
        <p:txBody>
          <a:bodyPr vert="horz" wrap="square" lIns="68586" tIns="0" rIns="0" bIns="0" rtlCol="0" anchor="ctr" anchorCtr="0">
            <a:no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bg1"/>
                    </a:gs>
                    <a:gs pos="86000">
                      <a:schemeClr val="bg1"/>
                    </a:gs>
                  </a:gsLst>
                  <a:lin ang="5400000" scaled="0"/>
                  <a:tileRect/>
                </a:gradFill>
                <a:effectLst/>
                <a:latin typeface="+mj-lt"/>
                <a:ea typeface="+mn-ea"/>
                <a:cs typeface="Arial" charset="0"/>
              </a:defRPr>
            </a:lvl1pPr>
          </a:lstStyle>
          <a:p>
            <a:r>
              <a:rPr lang="en-US" sz="1500" spc="0" dirty="0">
                <a:gradFill flip="none" rotWithShape="1">
                  <a:gsLst>
                    <a:gs pos="0">
                      <a:srgbClr val="FFFFFF"/>
                    </a:gs>
                    <a:gs pos="86000">
                      <a:srgbClr val="FFFFFF"/>
                    </a:gs>
                  </a:gsLst>
                  <a:lin ang="5400000" scaled="0"/>
                  <a:tileRect/>
                </a:gradFill>
              </a:rPr>
              <a:t>Storage and Your Terms</a:t>
            </a:r>
          </a:p>
        </p:txBody>
      </p:sp>
      <p:sp>
        <p:nvSpPr>
          <p:cNvPr id="119" name="Title 3"/>
          <p:cNvSpPr txBox="1">
            <a:spLocks/>
          </p:cNvSpPr>
          <p:nvPr/>
        </p:nvSpPr>
        <p:spPr>
          <a:xfrm>
            <a:off x="6024539" y="1087571"/>
            <a:ext cx="2752344" cy="480060"/>
          </a:xfrm>
          <a:prstGeom prst="rect">
            <a:avLst/>
          </a:prstGeom>
          <a:solidFill>
            <a:schemeClr val="accent5"/>
          </a:solidFill>
        </p:spPr>
        <p:txBody>
          <a:bodyPr vert="horz" wrap="square" lIns="68586" tIns="0" rIns="0" bIns="0" rtlCol="0" anchor="ctr" anchorCtr="0">
            <a:no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bg1"/>
                    </a:gs>
                    <a:gs pos="86000">
                      <a:schemeClr val="bg1"/>
                    </a:gs>
                  </a:gsLst>
                  <a:lin ang="5400000" scaled="0"/>
                  <a:tileRect/>
                </a:gradFill>
                <a:effectLst/>
                <a:latin typeface="+mj-lt"/>
                <a:ea typeface="+mn-ea"/>
                <a:cs typeface="Arial" charset="0"/>
              </a:defRPr>
            </a:lvl1pPr>
          </a:lstStyle>
          <a:p>
            <a:r>
              <a:rPr lang="en-US" sz="1500" spc="0" dirty="0">
                <a:gradFill flip="none" rotWithShape="1">
                  <a:gsLst>
                    <a:gs pos="0">
                      <a:srgbClr val="FFFFFF"/>
                    </a:gs>
                    <a:gs pos="86000">
                      <a:srgbClr val="FFFFFF"/>
                    </a:gs>
                  </a:gsLst>
                  <a:lin ang="5400000" scaled="0"/>
                  <a:tileRect/>
                </a:gradFill>
              </a:rPr>
              <a:t>Ease of Use</a:t>
            </a:r>
          </a:p>
        </p:txBody>
      </p:sp>
      <p:grpSp>
        <p:nvGrpSpPr>
          <p:cNvPr id="4" name="Group 3"/>
          <p:cNvGrpSpPr/>
          <p:nvPr/>
        </p:nvGrpSpPr>
        <p:grpSpPr>
          <a:xfrm>
            <a:off x="6024539" y="3917324"/>
            <a:ext cx="2752344" cy="726948"/>
            <a:chOff x="6024539" y="5223099"/>
            <a:chExt cx="2752344" cy="969264"/>
          </a:xfrm>
        </p:grpSpPr>
        <p:sp>
          <p:nvSpPr>
            <p:cNvPr id="27" name="Rectangle 26"/>
            <p:cNvSpPr/>
            <p:nvPr/>
          </p:nvSpPr>
          <p:spPr bwMode="auto">
            <a:xfrm>
              <a:off x="6024539" y="5223099"/>
              <a:ext cx="2752344" cy="969264"/>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68680" tIns="0" rIns="91440" bIns="0" numCol="1" spcCol="0" rtlCol="0" fromWordArt="0" anchor="ctr" anchorCtr="0" forceAA="0" compatLnSpc="1">
              <a:prstTxWarp prst="textNoShape">
                <a:avLst/>
              </a:prstTxWarp>
              <a:noAutofit/>
            </a:bodyPr>
            <a:lstStyle/>
            <a:p>
              <a:pPr marL="39294" defTabSz="685637" fontAlgn="base">
                <a:spcBef>
                  <a:spcPct val="0"/>
                </a:spcBef>
                <a:spcAft>
                  <a:spcPct val="0"/>
                </a:spcAft>
              </a:pPr>
              <a:r>
                <a:rPr lang="en-US" sz="1500" dirty="0">
                  <a:gradFill>
                    <a:gsLst>
                      <a:gs pos="0">
                        <a:srgbClr val="FFFFFF"/>
                      </a:gs>
                      <a:gs pos="100000">
                        <a:srgbClr val="FFFFFF"/>
                      </a:gs>
                    </a:gsLst>
                    <a:lin ang="5400000" scaled="0"/>
                  </a:gradFill>
                </a:rPr>
                <a:t>   Validation</a:t>
              </a:r>
            </a:p>
          </p:txBody>
        </p:sp>
        <p:pic>
          <p:nvPicPr>
            <p:cNvPr id="56" name="Picture 4" descr="\\MAGNUM\Projects\Microsoft\Cloud Power FY12\Design\ICONS_PNG\Check_mark.png"/>
            <p:cNvPicPr>
              <a:picLocks noChangeArrowheads="1"/>
            </p:cNvPicPr>
            <p:nvPr/>
          </p:nvPicPr>
          <p:blipFill rotWithShape="1">
            <a:blip r:embed="rId16" cstate="print">
              <a:lum bright="100000"/>
            </a:blip>
            <a:srcRect t="11515"/>
            <a:stretch/>
          </p:blipFill>
          <p:spPr bwMode="auto">
            <a:xfrm>
              <a:off x="6093824" y="5391237"/>
              <a:ext cx="569362" cy="632988"/>
            </a:xfrm>
            <a:prstGeom prst="rect">
              <a:avLst/>
            </a:prstGeom>
            <a:noFill/>
          </p:spPr>
        </p:pic>
      </p:grpSp>
      <p:sp>
        <p:nvSpPr>
          <p:cNvPr id="5" name="Title 4"/>
          <p:cNvSpPr>
            <a:spLocks noGrp="1"/>
          </p:cNvSpPr>
          <p:nvPr>
            <p:ph type="title"/>
          </p:nvPr>
        </p:nvSpPr>
        <p:spPr/>
        <p:txBody>
          <a:bodyPr/>
          <a:lstStyle/>
          <a:p>
            <a:r>
              <a:rPr lang="en-US" dirty="0"/>
              <a:t>The Fantastic 12 of</a:t>
            </a:r>
          </a:p>
        </p:txBody>
      </p:sp>
      <p:pic>
        <p:nvPicPr>
          <p:cNvPr id="57" name="Picture 2" descr="\\eventsql\dvd\Online_ART\DVD_ART36\Logos\System Center Virtual Machine Manager 2008 R2\system center virtual machine manager 2008 r2 h rev.png"/>
          <p:cNvPicPr>
            <a:picLocks noChangeAspect="1" noChangeArrowheads="1"/>
          </p:cNvPicPr>
          <p:nvPr/>
        </p:nvPicPr>
        <p:blipFill rotWithShape="1">
          <a:blip r:embed="rId17">
            <a:extLst>
              <a:ext uri="{28A0092B-C50C-407E-A947-70E740481C1C}">
                <a14:useLocalDpi xmlns:a14="http://schemas.microsoft.com/office/drawing/2010/main" val="0"/>
              </a:ext>
            </a:extLst>
          </a:blip>
          <a:srcRect r="16495"/>
          <a:stretch/>
        </p:blipFill>
        <p:spPr bwMode="auto">
          <a:xfrm>
            <a:off x="4300244" y="139992"/>
            <a:ext cx="3072835" cy="777872"/>
          </a:xfrm>
          <a:prstGeom prst="rect">
            <a:avLst/>
          </a:prstGeom>
          <a:noFill/>
          <a:extLst>
            <a:ext uri="{909E8E84-426E-40DD-AFC4-6F175D3DCCD1}">
              <a14:hiddenFill xmlns:a14="http://schemas.microsoft.com/office/drawing/2010/main">
                <a:solidFill>
                  <a:srgbClr val="FFFFFF"/>
                </a:solidFill>
              </a14:hiddenFill>
            </a:ext>
          </a:extLst>
        </p:spPr>
      </p:pic>
      <p:sp>
        <p:nvSpPr>
          <p:cNvPr id="58"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59"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8"/>
              </a:rPr>
              <a:t>www.rapidbbs.cn</a:t>
            </a:r>
            <a:endParaRPr lang="zh-CN" altLang="en-US" sz="1200" b="0">
              <a:latin typeface="Arial" charset="0"/>
              <a:ea typeface="ＭＳ Ｐゴシック" pitchFamily="34" charset="-128"/>
            </a:endParaRPr>
          </a:p>
        </p:txBody>
      </p:sp>
      <p:pic>
        <p:nvPicPr>
          <p:cNvPr id="61" name="Picture 2">
            <a:hlinkClick r:id="rId18"/>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44814400"/>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94"/>
                                        </p:tgtEl>
                                        <p:attrNameLst>
                                          <p:attrName>style.visibility</p:attrName>
                                        </p:attrNameLst>
                                      </p:cBhvr>
                                      <p:to>
                                        <p:strVal val="visible"/>
                                      </p:to>
                                    </p:set>
                                    <p:anim calcmode="lin" valueType="num">
                                      <p:cBhvr additive="base">
                                        <p:cTn id="7" dur="1500" fill="hold"/>
                                        <p:tgtEl>
                                          <p:spTgt spid="94"/>
                                        </p:tgtEl>
                                        <p:attrNameLst>
                                          <p:attrName>ppt_x</p:attrName>
                                        </p:attrNameLst>
                                      </p:cBhvr>
                                      <p:tavLst>
                                        <p:tav tm="0">
                                          <p:val>
                                            <p:strVal val="1+#ppt_w/2"/>
                                          </p:val>
                                        </p:tav>
                                        <p:tav tm="100000">
                                          <p:val>
                                            <p:strVal val="#ppt_x"/>
                                          </p:val>
                                        </p:tav>
                                      </p:tavLst>
                                    </p:anim>
                                    <p:anim calcmode="lin" valueType="num">
                                      <p:cBhvr additive="base">
                                        <p:cTn id="8" dur="1500" fill="hold"/>
                                        <p:tgtEl>
                                          <p:spTgt spid="94"/>
                                        </p:tgtEl>
                                        <p:attrNameLst>
                                          <p:attrName>ppt_y</p:attrName>
                                        </p:attrNameLst>
                                      </p:cBhvr>
                                      <p:tavLst>
                                        <p:tav tm="0">
                                          <p:val>
                                            <p:strVal val="#ppt_y"/>
                                          </p:val>
                                        </p:tav>
                                        <p:tav tm="100000">
                                          <p:val>
                                            <p:strVal val="#ppt_y"/>
                                          </p:val>
                                        </p:tav>
                                      </p:tavLst>
                                    </p:anim>
                                  </p:childTnLst>
                                </p:cTn>
                              </p:par>
                            </p:childTnLst>
                          </p:cTn>
                        </p:par>
                        <p:par>
                          <p:cTn id="9" fill="hold">
                            <p:stCondLst>
                              <p:cond delay="1500"/>
                            </p:stCondLst>
                            <p:childTnLst>
                              <p:par>
                                <p:cTn id="10" presetID="2" presetClass="entr" presetSubtype="2" decel="100000" fill="hold" nodeType="afterEffect">
                                  <p:stCondLst>
                                    <p:cond delay="0"/>
                                  </p:stCondLst>
                                  <p:childTnLst>
                                    <p:set>
                                      <p:cBhvr>
                                        <p:cTn id="11" dur="1" fill="hold">
                                          <p:stCondLst>
                                            <p:cond delay="0"/>
                                          </p:stCondLst>
                                        </p:cTn>
                                        <p:tgtEl>
                                          <p:spTgt spid="37"/>
                                        </p:tgtEl>
                                        <p:attrNameLst>
                                          <p:attrName>style.visibility</p:attrName>
                                        </p:attrNameLst>
                                      </p:cBhvr>
                                      <p:to>
                                        <p:strVal val="visible"/>
                                      </p:to>
                                    </p:set>
                                    <p:anim calcmode="lin" valueType="num">
                                      <p:cBhvr additive="base">
                                        <p:cTn id="12" dur="1500" fill="hold"/>
                                        <p:tgtEl>
                                          <p:spTgt spid="37"/>
                                        </p:tgtEl>
                                        <p:attrNameLst>
                                          <p:attrName>ppt_x</p:attrName>
                                        </p:attrNameLst>
                                      </p:cBhvr>
                                      <p:tavLst>
                                        <p:tav tm="0">
                                          <p:val>
                                            <p:strVal val="1+#ppt_w/2"/>
                                          </p:val>
                                        </p:tav>
                                        <p:tav tm="100000">
                                          <p:val>
                                            <p:strVal val="#ppt_x"/>
                                          </p:val>
                                        </p:tav>
                                      </p:tavLst>
                                    </p:anim>
                                    <p:anim calcmode="lin" valueType="num">
                                      <p:cBhvr additive="base">
                                        <p:cTn id="13" dur="1500" fill="hold"/>
                                        <p:tgtEl>
                                          <p:spTgt spid="37"/>
                                        </p:tgtEl>
                                        <p:attrNameLst>
                                          <p:attrName>ppt_y</p:attrName>
                                        </p:attrNameLst>
                                      </p:cBhvr>
                                      <p:tavLst>
                                        <p:tav tm="0">
                                          <p:val>
                                            <p:strVal val="#ppt_y"/>
                                          </p:val>
                                        </p:tav>
                                        <p:tav tm="100000">
                                          <p:val>
                                            <p:strVal val="#ppt_y"/>
                                          </p:val>
                                        </p:tav>
                                      </p:tavLst>
                                    </p:anim>
                                  </p:childTnLst>
                                </p:cTn>
                              </p:par>
                              <p:par>
                                <p:cTn id="14" presetID="2" presetClass="entr" presetSubtype="2" decel="100000" fill="hold" nodeType="withEffect">
                                  <p:stCondLst>
                                    <p:cond delay="500"/>
                                  </p:stCondLst>
                                  <p:childTnLst>
                                    <p:set>
                                      <p:cBhvr>
                                        <p:cTn id="15" dur="1" fill="hold">
                                          <p:stCondLst>
                                            <p:cond delay="0"/>
                                          </p:stCondLst>
                                        </p:cTn>
                                        <p:tgtEl>
                                          <p:spTgt spid="39"/>
                                        </p:tgtEl>
                                        <p:attrNameLst>
                                          <p:attrName>style.visibility</p:attrName>
                                        </p:attrNameLst>
                                      </p:cBhvr>
                                      <p:to>
                                        <p:strVal val="visible"/>
                                      </p:to>
                                    </p:set>
                                    <p:anim calcmode="lin" valueType="num">
                                      <p:cBhvr additive="base">
                                        <p:cTn id="16" dur="1000" fill="hold"/>
                                        <p:tgtEl>
                                          <p:spTgt spid="39"/>
                                        </p:tgtEl>
                                        <p:attrNameLst>
                                          <p:attrName>ppt_x</p:attrName>
                                        </p:attrNameLst>
                                      </p:cBhvr>
                                      <p:tavLst>
                                        <p:tav tm="0">
                                          <p:val>
                                            <p:strVal val="1+#ppt_w/2"/>
                                          </p:val>
                                        </p:tav>
                                        <p:tav tm="100000">
                                          <p:val>
                                            <p:strVal val="#ppt_x"/>
                                          </p:val>
                                        </p:tav>
                                      </p:tavLst>
                                    </p:anim>
                                    <p:anim calcmode="lin" valueType="num">
                                      <p:cBhvr additive="base">
                                        <p:cTn id="17" dur="1000" fill="hold"/>
                                        <p:tgtEl>
                                          <p:spTgt spid="39"/>
                                        </p:tgtEl>
                                        <p:attrNameLst>
                                          <p:attrName>ppt_y</p:attrName>
                                        </p:attrNameLst>
                                      </p:cBhvr>
                                      <p:tavLst>
                                        <p:tav tm="0">
                                          <p:val>
                                            <p:strVal val="#ppt_y"/>
                                          </p:val>
                                        </p:tav>
                                        <p:tav tm="100000">
                                          <p:val>
                                            <p:strVal val="#ppt_y"/>
                                          </p:val>
                                        </p:tav>
                                      </p:tavLst>
                                    </p:anim>
                                  </p:childTnLst>
                                </p:cTn>
                              </p:par>
                              <p:par>
                                <p:cTn id="18" presetID="2" presetClass="entr" presetSubtype="2" decel="100000" fill="hold" nodeType="withEffect">
                                  <p:stCondLst>
                                    <p:cond delay="1000"/>
                                  </p:stCondLst>
                                  <p:childTnLst>
                                    <p:set>
                                      <p:cBhvr>
                                        <p:cTn id="19" dur="1" fill="hold">
                                          <p:stCondLst>
                                            <p:cond delay="0"/>
                                          </p:stCondLst>
                                        </p:cTn>
                                        <p:tgtEl>
                                          <p:spTgt spid="41"/>
                                        </p:tgtEl>
                                        <p:attrNameLst>
                                          <p:attrName>style.visibility</p:attrName>
                                        </p:attrNameLst>
                                      </p:cBhvr>
                                      <p:to>
                                        <p:strVal val="visible"/>
                                      </p:to>
                                    </p:set>
                                    <p:anim calcmode="lin" valueType="num">
                                      <p:cBhvr additive="base">
                                        <p:cTn id="20" dur="500" fill="hold"/>
                                        <p:tgtEl>
                                          <p:spTgt spid="41"/>
                                        </p:tgtEl>
                                        <p:attrNameLst>
                                          <p:attrName>ppt_x</p:attrName>
                                        </p:attrNameLst>
                                      </p:cBhvr>
                                      <p:tavLst>
                                        <p:tav tm="0">
                                          <p:val>
                                            <p:strVal val="1+#ppt_w/2"/>
                                          </p:val>
                                        </p:tav>
                                        <p:tav tm="100000">
                                          <p:val>
                                            <p:strVal val="#ppt_x"/>
                                          </p:val>
                                        </p:tav>
                                      </p:tavLst>
                                    </p:anim>
                                    <p:anim calcmode="lin" valueType="num">
                                      <p:cBhvr additive="base">
                                        <p:cTn id="21" dur="500" fill="hold"/>
                                        <p:tgtEl>
                                          <p:spTgt spid="41"/>
                                        </p:tgtEl>
                                        <p:attrNameLst>
                                          <p:attrName>ppt_y</p:attrName>
                                        </p:attrNameLst>
                                      </p:cBhvr>
                                      <p:tavLst>
                                        <p:tav tm="0">
                                          <p:val>
                                            <p:strVal val="#ppt_y"/>
                                          </p:val>
                                        </p:tav>
                                        <p:tav tm="100000">
                                          <p:val>
                                            <p:strVal val="#ppt_y"/>
                                          </p:val>
                                        </p:tav>
                                      </p:tavLst>
                                    </p:anim>
                                  </p:childTnLst>
                                </p:cTn>
                              </p:par>
                            </p:childTnLst>
                          </p:cTn>
                        </p:par>
                        <p:par>
                          <p:cTn id="22" fill="hold">
                            <p:stCondLst>
                              <p:cond delay="3000"/>
                            </p:stCondLst>
                            <p:childTnLst>
                              <p:par>
                                <p:cTn id="23" presetID="2" presetClass="entr" presetSubtype="2" decel="100000" fill="hold" nodeType="afterEffect">
                                  <p:stCondLst>
                                    <p:cond delay="0"/>
                                  </p:stCondLst>
                                  <p:childTnLst>
                                    <p:set>
                                      <p:cBhvr>
                                        <p:cTn id="24" dur="1" fill="hold">
                                          <p:stCondLst>
                                            <p:cond delay="0"/>
                                          </p:stCondLst>
                                        </p:cTn>
                                        <p:tgtEl>
                                          <p:spTgt spid="42"/>
                                        </p:tgtEl>
                                        <p:attrNameLst>
                                          <p:attrName>style.visibility</p:attrName>
                                        </p:attrNameLst>
                                      </p:cBhvr>
                                      <p:to>
                                        <p:strVal val="visible"/>
                                      </p:to>
                                    </p:set>
                                    <p:anim calcmode="lin" valueType="num">
                                      <p:cBhvr additive="base">
                                        <p:cTn id="25" dur="1500" fill="hold"/>
                                        <p:tgtEl>
                                          <p:spTgt spid="42"/>
                                        </p:tgtEl>
                                        <p:attrNameLst>
                                          <p:attrName>ppt_x</p:attrName>
                                        </p:attrNameLst>
                                      </p:cBhvr>
                                      <p:tavLst>
                                        <p:tav tm="0">
                                          <p:val>
                                            <p:strVal val="1+#ppt_w/2"/>
                                          </p:val>
                                        </p:tav>
                                        <p:tav tm="100000">
                                          <p:val>
                                            <p:strVal val="#ppt_x"/>
                                          </p:val>
                                        </p:tav>
                                      </p:tavLst>
                                    </p:anim>
                                    <p:anim calcmode="lin" valueType="num">
                                      <p:cBhvr additive="base">
                                        <p:cTn id="26" dur="1500" fill="hold"/>
                                        <p:tgtEl>
                                          <p:spTgt spid="42"/>
                                        </p:tgtEl>
                                        <p:attrNameLst>
                                          <p:attrName>ppt_y</p:attrName>
                                        </p:attrNameLst>
                                      </p:cBhvr>
                                      <p:tavLst>
                                        <p:tav tm="0">
                                          <p:val>
                                            <p:strVal val="#ppt_y"/>
                                          </p:val>
                                        </p:tav>
                                        <p:tav tm="100000">
                                          <p:val>
                                            <p:strVal val="#ppt_y"/>
                                          </p:val>
                                        </p:tav>
                                      </p:tavLst>
                                    </p:anim>
                                  </p:childTnLst>
                                </p:cTn>
                              </p:par>
                              <p:par>
                                <p:cTn id="27" presetID="2" presetClass="entr" presetSubtype="2" decel="100000" fill="hold" nodeType="withEffect">
                                  <p:stCondLst>
                                    <p:cond delay="500"/>
                                  </p:stCondLst>
                                  <p:childTnLst>
                                    <p:set>
                                      <p:cBhvr>
                                        <p:cTn id="28" dur="1" fill="hold">
                                          <p:stCondLst>
                                            <p:cond delay="0"/>
                                          </p:stCondLst>
                                        </p:cTn>
                                        <p:tgtEl>
                                          <p:spTgt spid="43"/>
                                        </p:tgtEl>
                                        <p:attrNameLst>
                                          <p:attrName>style.visibility</p:attrName>
                                        </p:attrNameLst>
                                      </p:cBhvr>
                                      <p:to>
                                        <p:strVal val="visible"/>
                                      </p:to>
                                    </p:set>
                                    <p:anim calcmode="lin" valueType="num">
                                      <p:cBhvr additive="base">
                                        <p:cTn id="29" dur="1000" fill="hold"/>
                                        <p:tgtEl>
                                          <p:spTgt spid="43"/>
                                        </p:tgtEl>
                                        <p:attrNameLst>
                                          <p:attrName>ppt_x</p:attrName>
                                        </p:attrNameLst>
                                      </p:cBhvr>
                                      <p:tavLst>
                                        <p:tav tm="0">
                                          <p:val>
                                            <p:strVal val="1+#ppt_w/2"/>
                                          </p:val>
                                        </p:tav>
                                        <p:tav tm="100000">
                                          <p:val>
                                            <p:strVal val="#ppt_x"/>
                                          </p:val>
                                        </p:tav>
                                      </p:tavLst>
                                    </p:anim>
                                    <p:anim calcmode="lin" valueType="num">
                                      <p:cBhvr additive="base">
                                        <p:cTn id="30" dur="1000" fill="hold"/>
                                        <p:tgtEl>
                                          <p:spTgt spid="43"/>
                                        </p:tgtEl>
                                        <p:attrNameLst>
                                          <p:attrName>ppt_y</p:attrName>
                                        </p:attrNameLst>
                                      </p:cBhvr>
                                      <p:tavLst>
                                        <p:tav tm="0">
                                          <p:val>
                                            <p:strVal val="#ppt_y"/>
                                          </p:val>
                                        </p:tav>
                                        <p:tav tm="100000">
                                          <p:val>
                                            <p:strVal val="#ppt_y"/>
                                          </p:val>
                                        </p:tav>
                                      </p:tavLst>
                                    </p:anim>
                                  </p:childTnLst>
                                </p:cTn>
                              </p:par>
                              <p:par>
                                <p:cTn id="31" presetID="2" presetClass="entr" presetSubtype="2" decel="100000" fill="hold" nodeType="withEffect">
                                  <p:stCondLst>
                                    <p:cond delay="1000"/>
                                  </p:stCondLst>
                                  <p:childTnLst>
                                    <p:set>
                                      <p:cBhvr>
                                        <p:cTn id="32" dur="1" fill="hold">
                                          <p:stCondLst>
                                            <p:cond delay="0"/>
                                          </p:stCondLst>
                                        </p:cTn>
                                        <p:tgtEl>
                                          <p:spTgt spid="44"/>
                                        </p:tgtEl>
                                        <p:attrNameLst>
                                          <p:attrName>style.visibility</p:attrName>
                                        </p:attrNameLst>
                                      </p:cBhvr>
                                      <p:to>
                                        <p:strVal val="visible"/>
                                      </p:to>
                                    </p:set>
                                    <p:anim calcmode="lin" valueType="num">
                                      <p:cBhvr additive="base">
                                        <p:cTn id="33" dur="500" fill="hold"/>
                                        <p:tgtEl>
                                          <p:spTgt spid="44"/>
                                        </p:tgtEl>
                                        <p:attrNameLst>
                                          <p:attrName>ppt_x</p:attrName>
                                        </p:attrNameLst>
                                      </p:cBhvr>
                                      <p:tavLst>
                                        <p:tav tm="0">
                                          <p:val>
                                            <p:strVal val="1+#ppt_w/2"/>
                                          </p:val>
                                        </p:tav>
                                        <p:tav tm="100000">
                                          <p:val>
                                            <p:strVal val="#ppt_x"/>
                                          </p:val>
                                        </p:tav>
                                      </p:tavLst>
                                    </p:anim>
                                    <p:anim calcmode="lin" valueType="num">
                                      <p:cBhvr additive="base">
                                        <p:cTn id="34" dur="500" fill="hold"/>
                                        <p:tgtEl>
                                          <p:spTgt spid="44"/>
                                        </p:tgtEl>
                                        <p:attrNameLst>
                                          <p:attrName>ppt_y</p:attrName>
                                        </p:attrNameLst>
                                      </p:cBhvr>
                                      <p:tavLst>
                                        <p:tav tm="0">
                                          <p:val>
                                            <p:strVal val="#ppt_y"/>
                                          </p:val>
                                        </p:tav>
                                        <p:tav tm="100000">
                                          <p:val>
                                            <p:strVal val="#ppt_y"/>
                                          </p:val>
                                        </p:tav>
                                      </p:tavLst>
                                    </p:anim>
                                  </p:childTnLst>
                                </p:cTn>
                              </p:par>
                            </p:childTnLst>
                          </p:cTn>
                        </p:par>
                        <p:par>
                          <p:cTn id="35" fill="hold">
                            <p:stCondLst>
                              <p:cond delay="4500"/>
                            </p:stCondLst>
                            <p:childTnLst>
                              <p:par>
                                <p:cTn id="36" presetID="2" presetClass="entr" presetSubtype="2" decel="100000" fill="hold" nodeType="afterEffect">
                                  <p:stCondLst>
                                    <p:cond delay="0"/>
                                  </p:stCondLst>
                                  <p:childTnLst>
                                    <p:set>
                                      <p:cBhvr>
                                        <p:cTn id="37" dur="1" fill="hold">
                                          <p:stCondLst>
                                            <p:cond delay="0"/>
                                          </p:stCondLst>
                                        </p:cTn>
                                        <p:tgtEl>
                                          <p:spTgt spid="46"/>
                                        </p:tgtEl>
                                        <p:attrNameLst>
                                          <p:attrName>style.visibility</p:attrName>
                                        </p:attrNameLst>
                                      </p:cBhvr>
                                      <p:to>
                                        <p:strVal val="visible"/>
                                      </p:to>
                                    </p:set>
                                    <p:anim calcmode="lin" valueType="num">
                                      <p:cBhvr additive="base">
                                        <p:cTn id="38" dur="1500" fill="hold"/>
                                        <p:tgtEl>
                                          <p:spTgt spid="46"/>
                                        </p:tgtEl>
                                        <p:attrNameLst>
                                          <p:attrName>ppt_x</p:attrName>
                                        </p:attrNameLst>
                                      </p:cBhvr>
                                      <p:tavLst>
                                        <p:tav tm="0">
                                          <p:val>
                                            <p:strVal val="1+#ppt_w/2"/>
                                          </p:val>
                                        </p:tav>
                                        <p:tav tm="100000">
                                          <p:val>
                                            <p:strVal val="#ppt_x"/>
                                          </p:val>
                                        </p:tav>
                                      </p:tavLst>
                                    </p:anim>
                                    <p:anim calcmode="lin" valueType="num">
                                      <p:cBhvr additive="base">
                                        <p:cTn id="39" dur="1500" fill="hold"/>
                                        <p:tgtEl>
                                          <p:spTgt spid="46"/>
                                        </p:tgtEl>
                                        <p:attrNameLst>
                                          <p:attrName>ppt_y</p:attrName>
                                        </p:attrNameLst>
                                      </p:cBhvr>
                                      <p:tavLst>
                                        <p:tav tm="0">
                                          <p:val>
                                            <p:strVal val="#ppt_y"/>
                                          </p:val>
                                        </p:tav>
                                        <p:tav tm="100000">
                                          <p:val>
                                            <p:strVal val="#ppt_y"/>
                                          </p:val>
                                        </p:tav>
                                      </p:tavLst>
                                    </p:anim>
                                  </p:childTnLst>
                                </p:cTn>
                              </p:par>
                              <p:par>
                                <p:cTn id="40" presetID="2" presetClass="entr" presetSubtype="2" decel="100000" fill="hold" nodeType="withEffect">
                                  <p:stCondLst>
                                    <p:cond delay="500"/>
                                  </p:stCondLst>
                                  <p:childTnLst>
                                    <p:set>
                                      <p:cBhvr>
                                        <p:cTn id="41" dur="1" fill="hold">
                                          <p:stCondLst>
                                            <p:cond delay="0"/>
                                          </p:stCondLst>
                                        </p:cTn>
                                        <p:tgtEl>
                                          <p:spTgt spid="47"/>
                                        </p:tgtEl>
                                        <p:attrNameLst>
                                          <p:attrName>style.visibility</p:attrName>
                                        </p:attrNameLst>
                                      </p:cBhvr>
                                      <p:to>
                                        <p:strVal val="visible"/>
                                      </p:to>
                                    </p:set>
                                    <p:anim calcmode="lin" valueType="num">
                                      <p:cBhvr additive="base">
                                        <p:cTn id="42" dur="1000" fill="hold"/>
                                        <p:tgtEl>
                                          <p:spTgt spid="47"/>
                                        </p:tgtEl>
                                        <p:attrNameLst>
                                          <p:attrName>ppt_x</p:attrName>
                                        </p:attrNameLst>
                                      </p:cBhvr>
                                      <p:tavLst>
                                        <p:tav tm="0">
                                          <p:val>
                                            <p:strVal val="1+#ppt_w/2"/>
                                          </p:val>
                                        </p:tav>
                                        <p:tav tm="100000">
                                          <p:val>
                                            <p:strVal val="#ppt_x"/>
                                          </p:val>
                                        </p:tav>
                                      </p:tavLst>
                                    </p:anim>
                                    <p:anim calcmode="lin" valueType="num">
                                      <p:cBhvr additive="base">
                                        <p:cTn id="43" dur="1000" fill="hold"/>
                                        <p:tgtEl>
                                          <p:spTgt spid="47"/>
                                        </p:tgtEl>
                                        <p:attrNameLst>
                                          <p:attrName>ppt_y</p:attrName>
                                        </p:attrNameLst>
                                      </p:cBhvr>
                                      <p:tavLst>
                                        <p:tav tm="0">
                                          <p:val>
                                            <p:strVal val="#ppt_y"/>
                                          </p:val>
                                        </p:tav>
                                        <p:tav tm="100000">
                                          <p:val>
                                            <p:strVal val="#ppt_y"/>
                                          </p:val>
                                        </p:tav>
                                      </p:tavLst>
                                    </p:anim>
                                  </p:childTnLst>
                                </p:cTn>
                              </p:par>
                              <p:par>
                                <p:cTn id="44" presetID="2" presetClass="entr" presetSubtype="2" decel="100000" fill="hold" nodeType="withEffect">
                                  <p:stCondLst>
                                    <p:cond delay="1000"/>
                                  </p:stCondLst>
                                  <p:childTnLst>
                                    <p:set>
                                      <p:cBhvr>
                                        <p:cTn id="45" dur="1" fill="hold">
                                          <p:stCondLst>
                                            <p:cond delay="0"/>
                                          </p:stCondLst>
                                        </p:cTn>
                                        <p:tgtEl>
                                          <p:spTgt spid="49"/>
                                        </p:tgtEl>
                                        <p:attrNameLst>
                                          <p:attrName>style.visibility</p:attrName>
                                        </p:attrNameLst>
                                      </p:cBhvr>
                                      <p:to>
                                        <p:strVal val="visible"/>
                                      </p:to>
                                    </p:set>
                                    <p:anim calcmode="lin" valueType="num">
                                      <p:cBhvr additive="base">
                                        <p:cTn id="46" dur="500" fill="hold"/>
                                        <p:tgtEl>
                                          <p:spTgt spid="49"/>
                                        </p:tgtEl>
                                        <p:attrNameLst>
                                          <p:attrName>ppt_x</p:attrName>
                                        </p:attrNameLst>
                                      </p:cBhvr>
                                      <p:tavLst>
                                        <p:tav tm="0">
                                          <p:val>
                                            <p:strVal val="1+#ppt_w/2"/>
                                          </p:val>
                                        </p:tav>
                                        <p:tav tm="100000">
                                          <p:val>
                                            <p:strVal val="#ppt_x"/>
                                          </p:val>
                                        </p:tav>
                                      </p:tavLst>
                                    </p:anim>
                                    <p:anim calcmode="lin" valueType="num">
                                      <p:cBhvr additive="base">
                                        <p:cTn id="47" dur="500" fill="hold"/>
                                        <p:tgtEl>
                                          <p:spTgt spid="49"/>
                                        </p:tgtEl>
                                        <p:attrNameLst>
                                          <p:attrName>ppt_y</p:attrName>
                                        </p:attrNameLst>
                                      </p:cBhvr>
                                      <p:tavLst>
                                        <p:tav tm="0">
                                          <p:val>
                                            <p:strVal val="#ppt_y"/>
                                          </p:val>
                                        </p:tav>
                                        <p:tav tm="100000">
                                          <p:val>
                                            <p:strVal val="#ppt_y"/>
                                          </p:val>
                                        </p:tav>
                                      </p:tavLst>
                                    </p:anim>
                                  </p:childTnLst>
                                </p:cTn>
                              </p:par>
                            </p:childTnLst>
                          </p:cTn>
                        </p:par>
                        <p:par>
                          <p:cTn id="48" fill="hold">
                            <p:stCondLst>
                              <p:cond delay="6000"/>
                            </p:stCondLst>
                            <p:childTnLst>
                              <p:par>
                                <p:cTn id="49" presetID="2" presetClass="entr" presetSubtype="2" decel="100000" fill="hold" nodeType="afterEffect">
                                  <p:stCondLst>
                                    <p:cond delay="0"/>
                                  </p:stCondLst>
                                  <p:childTnLst>
                                    <p:set>
                                      <p:cBhvr>
                                        <p:cTn id="50" dur="1" fill="hold">
                                          <p:stCondLst>
                                            <p:cond delay="0"/>
                                          </p:stCondLst>
                                        </p:cTn>
                                        <p:tgtEl>
                                          <p:spTgt spid="50"/>
                                        </p:tgtEl>
                                        <p:attrNameLst>
                                          <p:attrName>style.visibility</p:attrName>
                                        </p:attrNameLst>
                                      </p:cBhvr>
                                      <p:to>
                                        <p:strVal val="visible"/>
                                      </p:to>
                                    </p:set>
                                    <p:anim calcmode="lin" valueType="num">
                                      <p:cBhvr additive="base">
                                        <p:cTn id="51" dur="1500" fill="hold"/>
                                        <p:tgtEl>
                                          <p:spTgt spid="50"/>
                                        </p:tgtEl>
                                        <p:attrNameLst>
                                          <p:attrName>ppt_x</p:attrName>
                                        </p:attrNameLst>
                                      </p:cBhvr>
                                      <p:tavLst>
                                        <p:tav tm="0">
                                          <p:val>
                                            <p:strVal val="1+#ppt_w/2"/>
                                          </p:val>
                                        </p:tav>
                                        <p:tav tm="100000">
                                          <p:val>
                                            <p:strVal val="#ppt_x"/>
                                          </p:val>
                                        </p:tav>
                                      </p:tavLst>
                                    </p:anim>
                                    <p:anim calcmode="lin" valueType="num">
                                      <p:cBhvr additive="base">
                                        <p:cTn id="52" dur="1500" fill="hold"/>
                                        <p:tgtEl>
                                          <p:spTgt spid="50"/>
                                        </p:tgtEl>
                                        <p:attrNameLst>
                                          <p:attrName>ppt_y</p:attrName>
                                        </p:attrNameLst>
                                      </p:cBhvr>
                                      <p:tavLst>
                                        <p:tav tm="0">
                                          <p:val>
                                            <p:strVal val="#ppt_y"/>
                                          </p:val>
                                        </p:tav>
                                        <p:tav tm="100000">
                                          <p:val>
                                            <p:strVal val="#ppt_y"/>
                                          </p:val>
                                        </p:tav>
                                      </p:tavLst>
                                    </p:anim>
                                  </p:childTnLst>
                                </p:cTn>
                              </p:par>
                              <p:par>
                                <p:cTn id="53" presetID="2" presetClass="entr" presetSubtype="2" decel="100000" fill="hold" nodeType="withEffect">
                                  <p:stCondLst>
                                    <p:cond delay="500"/>
                                  </p:stCondLst>
                                  <p:childTnLst>
                                    <p:set>
                                      <p:cBhvr>
                                        <p:cTn id="54" dur="1" fill="hold">
                                          <p:stCondLst>
                                            <p:cond delay="0"/>
                                          </p:stCondLst>
                                        </p:cTn>
                                        <p:tgtEl>
                                          <p:spTgt spid="52"/>
                                        </p:tgtEl>
                                        <p:attrNameLst>
                                          <p:attrName>style.visibility</p:attrName>
                                        </p:attrNameLst>
                                      </p:cBhvr>
                                      <p:to>
                                        <p:strVal val="visible"/>
                                      </p:to>
                                    </p:set>
                                    <p:anim calcmode="lin" valueType="num">
                                      <p:cBhvr additive="base">
                                        <p:cTn id="55" dur="1000" fill="hold"/>
                                        <p:tgtEl>
                                          <p:spTgt spid="52"/>
                                        </p:tgtEl>
                                        <p:attrNameLst>
                                          <p:attrName>ppt_x</p:attrName>
                                        </p:attrNameLst>
                                      </p:cBhvr>
                                      <p:tavLst>
                                        <p:tav tm="0">
                                          <p:val>
                                            <p:strVal val="1+#ppt_w/2"/>
                                          </p:val>
                                        </p:tav>
                                        <p:tav tm="100000">
                                          <p:val>
                                            <p:strVal val="#ppt_x"/>
                                          </p:val>
                                        </p:tav>
                                      </p:tavLst>
                                    </p:anim>
                                    <p:anim calcmode="lin" valueType="num">
                                      <p:cBhvr additive="base">
                                        <p:cTn id="56" dur="1000" fill="hold"/>
                                        <p:tgtEl>
                                          <p:spTgt spid="52"/>
                                        </p:tgtEl>
                                        <p:attrNameLst>
                                          <p:attrName>ppt_y</p:attrName>
                                        </p:attrNameLst>
                                      </p:cBhvr>
                                      <p:tavLst>
                                        <p:tav tm="0">
                                          <p:val>
                                            <p:strVal val="#ppt_y"/>
                                          </p:val>
                                        </p:tav>
                                        <p:tav tm="100000">
                                          <p:val>
                                            <p:strVal val="#ppt_y"/>
                                          </p:val>
                                        </p:tav>
                                      </p:tavLst>
                                    </p:anim>
                                  </p:childTnLst>
                                </p:cTn>
                              </p:par>
                              <p:par>
                                <p:cTn id="57" presetID="2" presetClass="entr" presetSubtype="2" fill="hold" nodeType="withEffect">
                                  <p:stCondLst>
                                    <p:cond delay="1000"/>
                                  </p:stCondLst>
                                  <p:childTnLst>
                                    <p:set>
                                      <p:cBhvr>
                                        <p:cTn id="58" dur="1" fill="hold">
                                          <p:stCondLst>
                                            <p:cond delay="0"/>
                                          </p:stCondLst>
                                        </p:cTn>
                                        <p:tgtEl>
                                          <p:spTgt spid="4"/>
                                        </p:tgtEl>
                                        <p:attrNameLst>
                                          <p:attrName>style.visibility</p:attrName>
                                        </p:attrNameLst>
                                      </p:cBhvr>
                                      <p:to>
                                        <p:strVal val="visible"/>
                                      </p:to>
                                    </p:set>
                                    <p:anim calcmode="lin" valueType="num">
                                      <p:cBhvr additive="base">
                                        <p:cTn id="59" dur="500" fill="hold"/>
                                        <p:tgtEl>
                                          <p:spTgt spid="4"/>
                                        </p:tgtEl>
                                        <p:attrNameLst>
                                          <p:attrName>ppt_x</p:attrName>
                                        </p:attrNameLst>
                                      </p:cBhvr>
                                      <p:tavLst>
                                        <p:tav tm="0">
                                          <p:val>
                                            <p:strVal val="1+#ppt_w/2"/>
                                          </p:val>
                                        </p:tav>
                                        <p:tav tm="100000">
                                          <p:val>
                                            <p:strVal val="#ppt_x"/>
                                          </p:val>
                                        </p:tav>
                                      </p:tavLst>
                                    </p:anim>
                                    <p:anim calcmode="lin" valueType="num">
                                      <p:cBhvr additive="base">
                                        <p:cTn id="60" dur="500" fill="hold"/>
                                        <p:tgtEl>
                                          <p:spTgt spid="4"/>
                                        </p:tgtEl>
                                        <p:attrNameLst>
                                          <p:attrName>ppt_y</p:attrName>
                                        </p:attrNameLst>
                                      </p:cBhvr>
                                      <p:tavLst>
                                        <p:tav tm="0">
                                          <p:val>
                                            <p:strVal val="#ppt_y"/>
                                          </p:val>
                                        </p:tav>
                                        <p:tav tm="100000">
                                          <p:val>
                                            <p:strVal val="#ppt_y"/>
                                          </p:val>
                                        </p:tav>
                                      </p:tavLst>
                                    </p:anim>
                                  </p:childTnLst>
                                </p:cTn>
                              </p:par>
                            </p:childTnLst>
                          </p:cTn>
                        </p:par>
                      </p:childTnLst>
                    </p:cTn>
                  </p:par>
                  <p:par>
                    <p:cTn id="61" fill="hold">
                      <p:stCondLst>
                        <p:cond delay="indefinite"/>
                      </p:stCondLst>
                      <p:childTnLst>
                        <p:par>
                          <p:cTn id="62" fill="hold">
                            <p:stCondLst>
                              <p:cond delay="0"/>
                            </p:stCondLst>
                            <p:childTnLst>
                              <p:par>
                                <p:cTn id="63" presetID="2" presetClass="exit" presetSubtype="8" accel="100000" fill="hold" grpId="1" nodeType="clickEffect">
                                  <p:stCondLst>
                                    <p:cond delay="0"/>
                                  </p:stCondLst>
                                  <p:childTnLst>
                                    <p:anim calcmode="lin" valueType="num">
                                      <p:cBhvr additive="base">
                                        <p:cTn id="64" dur="1500"/>
                                        <p:tgtEl>
                                          <p:spTgt spid="94"/>
                                        </p:tgtEl>
                                        <p:attrNameLst>
                                          <p:attrName>ppt_x</p:attrName>
                                        </p:attrNameLst>
                                      </p:cBhvr>
                                      <p:tavLst>
                                        <p:tav tm="0">
                                          <p:val>
                                            <p:strVal val="ppt_x"/>
                                          </p:val>
                                        </p:tav>
                                        <p:tav tm="100000">
                                          <p:val>
                                            <p:strVal val="0-ppt_w/2"/>
                                          </p:val>
                                        </p:tav>
                                      </p:tavLst>
                                    </p:anim>
                                    <p:anim calcmode="lin" valueType="num">
                                      <p:cBhvr additive="base">
                                        <p:cTn id="65" dur="1500"/>
                                        <p:tgtEl>
                                          <p:spTgt spid="94"/>
                                        </p:tgtEl>
                                        <p:attrNameLst>
                                          <p:attrName>ppt_y</p:attrName>
                                        </p:attrNameLst>
                                      </p:cBhvr>
                                      <p:tavLst>
                                        <p:tav tm="0">
                                          <p:val>
                                            <p:strVal val="ppt_y"/>
                                          </p:val>
                                        </p:tav>
                                        <p:tav tm="100000">
                                          <p:val>
                                            <p:strVal val="ppt_y"/>
                                          </p:val>
                                        </p:tav>
                                      </p:tavLst>
                                    </p:anim>
                                    <p:set>
                                      <p:cBhvr>
                                        <p:cTn id="66" dur="1" fill="hold">
                                          <p:stCondLst>
                                            <p:cond delay="1499"/>
                                          </p:stCondLst>
                                        </p:cTn>
                                        <p:tgtEl>
                                          <p:spTgt spid="94"/>
                                        </p:tgtEl>
                                        <p:attrNameLst>
                                          <p:attrName>style.visibility</p:attrName>
                                        </p:attrNameLst>
                                      </p:cBhvr>
                                      <p:to>
                                        <p:strVal val="hidden"/>
                                      </p:to>
                                    </p:set>
                                  </p:childTnLst>
                                </p:cTn>
                              </p:par>
                              <p:par>
                                <p:cTn id="67" presetID="2" presetClass="entr" presetSubtype="2" decel="100000" fill="hold" grpId="0" nodeType="withEffect">
                                  <p:stCondLst>
                                    <p:cond delay="1000"/>
                                  </p:stCondLst>
                                  <p:childTnLst>
                                    <p:set>
                                      <p:cBhvr>
                                        <p:cTn id="68" dur="1" fill="hold">
                                          <p:stCondLst>
                                            <p:cond delay="0"/>
                                          </p:stCondLst>
                                        </p:cTn>
                                        <p:tgtEl>
                                          <p:spTgt spid="117"/>
                                        </p:tgtEl>
                                        <p:attrNameLst>
                                          <p:attrName>style.visibility</p:attrName>
                                        </p:attrNameLst>
                                      </p:cBhvr>
                                      <p:to>
                                        <p:strVal val="visible"/>
                                      </p:to>
                                    </p:set>
                                    <p:anim calcmode="lin" valueType="num">
                                      <p:cBhvr additive="base">
                                        <p:cTn id="69" dur="1500" fill="hold"/>
                                        <p:tgtEl>
                                          <p:spTgt spid="117"/>
                                        </p:tgtEl>
                                        <p:attrNameLst>
                                          <p:attrName>ppt_x</p:attrName>
                                        </p:attrNameLst>
                                      </p:cBhvr>
                                      <p:tavLst>
                                        <p:tav tm="0">
                                          <p:val>
                                            <p:strVal val="1+#ppt_w/2"/>
                                          </p:val>
                                        </p:tav>
                                        <p:tav tm="100000">
                                          <p:val>
                                            <p:strVal val="#ppt_x"/>
                                          </p:val>
                                        </p:tav>
                                      </p:tavLst>
                                    </p:anim>
                                    <p:anim calcmode="lin" valueType="num">
                                      <p:cBhvr additive="base">
                                        <p:cTn id="70" dur="1500" fill="hold"/>
                                        <p:tgtEl>
                                          <p:spTgt spid="117"/>
                                        </p:tgtEl>
                                        <p:attrNameLst>
                                          <p:attrName>ppt_y</p:attrName>
                                        </p:attrNameLst>
                                      </p:cBhvr>
                                      <p:tavLst>
                                        <p:tav tm="0">
                                          <p:val>
                                            <p:strVal val="#ppt_y"/>
                                          </p:val>
                                        </p:tav>
                                        <p:tav tm="100000">
                                          <p:val>
                                            <p:strVal val="#ppt_y"/>
                                          </p:val>
                                        </p:tav>
                                      </p:tavLst>
                                    </p:anim>
                                  </p:childTnLst>
                                </p:cTn>
                              </p:par>
                              <p:par>
                                <p:cTn id="71" presetID="2" presetClass="entr" presetSubtype="2" decel="100000" fill="hold" grpId="0" nodeType="withEffect">
                                  <p:stCondLst>
                                    <p:cond delay="1500"/>
                                  </p:stCondLst>
                                  <p:childTnLst>
                                    <p:set>
                                      <p:cBhvr>
                                        <p:cTn id="72" dur="1" fill="hold">
                                          <p:stCondLst>
                                            <p:cond delay="0"/>
                                          </p:stCondLst>
                                        </p:cTn>
                                        <p:tgtEl>
                                          <p:spTgt spid="118"/>
                                        </p:tgtEl>
                                        <p:attrNameLst>
                                          <p:attrName>style.visibility</p:attrName>
                                        </p:attrNameLst>
                                      </p:cBhvr>
                                      <p:to>
                                        <p:strVal val="visible"/>
                                      </p:to>
                                    </p:set>
                                    <p:anim calcmode="lin" valueType="num">
                                      <p:cBhvr additive="base">
                                        <p:cTn id="73" dur="1000" fill="hold"/>
                                        <p:tgtEl>
                                          <p:spTgt spid="118"/>
                                        </p:tgtEl>
                                        <p:attrNameLst>
                                          <p:attrName>ppt_x</p:attrName>
                                        </p:attrNameLst>
                                      </p:cBhvr>
                                      <p:tavLst>
                                        <p:tav tm="0">
                                          <p:val>
                                            <p:strVal val="1+#ppt_w/2"/>
                                          </p:val>
                                        </p:tav>
                                        <p:tav tm="100000">
                                          <p:val>
                                            <p:strVal val="#ppt_x"/>
                                          </p:val>
                                        </p:tav>
                                      </p:tavLst>
                                    </p:anim>
                                    <p:anim calcmode="lin" valueType="num">
                                      <p:cBhvr additive="base">
                                        <p:cTn id="74" dur="1000" fill="hold"/>
                                        <p:tgtEl>
                                          <p:spTgt spid="118"/>
                                        </p:tgtEl>
                                        <p:attrNameLst>
                                          <p:attrName>ppt_y</p:attrName>
                                        </p:attrNameLst>
                                      </p:cBhvr>
                                      <p:tavLst>
                                        <p:tav tm="0">
                                          <p:val>
                                            <p:strVal val="#ppt_y"/>
                                          </p:val>
                                        </p:tav>
                                        <p:tav tm="100000">
                                          <p:val>
                                            <p:strVal val="#ppt_y"/>
                                          </p:val>
                                        </p:tav>
                                      </p:tavLst>
                                    </p:anim>
                                  </p:childTnLst>
                                </p:cTn>
                              </p:par>
                              <p:par>
                                <p:cTn id="75" presetID="2" presetClass="entr" presetSubtype="2" decel="100000" fill="hold" grpId="0" nodeType="withEffect">
                                  <p:stCondLst>
                                    <p:cond delay="2000"/>
                                  </p:stCondLst>
                                  <p:childTnLst>
                                    <p:set>
                                      <p:cBhvr>
                                        <p:cTn id="76" dur="1" fill="hold">
                                          <p:stCondLst>
                                            <p:cond delay="0"/>
                                          </p:stCondLst>
                                        </p:cTn>
                                        <p:tgtEl>
                                          <p:spTgt spid="119"/>
                                        </p:tgtEl>
                                        <p:attrNameLst>
                                          <p:attrName>style.visibility</p:attrName>
                                        </p:attrNameLst>
                                      </p:cBhvr>
                                      <p:to>
                                        <p:strVal val="visible"/>
                                      </p:to>
                                    </p:set>
                                    <p:anim calcmode="lin" valueType="num">
                                      <p:cBhvr additive="base">
                                        <p:cTn id="77" dur="500" fill="hold"/>
                                        <p:tgtEl>
                                          <p:spTgt spid="119"/>
                                        </p:tgtEl>
                                        <p:attrNameLst>
                                          <p:attrName>ppt_x</p:attrName>
                                        </p:attrNameLst>
                                      </p:cBhvr>
                                      <p:tavLst>
                                        <p:tav tm="0">
                                          <p:val>
                                            <p:strVal val="1+#ppt_w/2"/>
                                          </p:val>
                                        </p:tav>
                                        <p:tav tm="100000">
                                          <p:val>
                                            <p:strVal val="#ppt_x"/>
                                          </p:val>
                                        </p:tav>
                                      </p:tavLst>
                                    </p:anim>
                                    <p:anim calcmode="lin" valueType="num">
                                      <p:cBhvr additive="base">
                                        <p:cTn id="78" dur="500" fill="hold"/>
                                        <p:tgtEl>
                                          <p:spTgt spid="119"/>
                                        </p:tgtEl>
                                        <p:attrNameLst>
                                          <p:attrName>ppt_y</p:attrName>
                                        </p:attrNameLst>
                                      </p:cBhvr>
                                      <p:tavLst>
                                        <p:tav tm="0">
                                          <p:val>
                                            <p:strVal val="#ppt_y"/>
                                          </p:val>
                                        </p:tav>
                                        <p:tav tm="100000">
                                          <p:val>
                                            <p:strVal val="#ppt_y"/>
                                          </p:val>
                                        </p:tav>
                                      </p:tavLst>
                                    </p:anim>
                                  </p:childTnLst>
                                </p:cTn>
                              </p:par>
                              <p:par>
                                <p:cTn id="79" presetID="42" presetClass="path" presetSubtype="0" accel="50000" decel="50000" fill="hold" nodeType="withEffect">
                                  <p:stCondLst>
                                    <p:cond delay="1000"/>
                                  </p:stCondLst>
                                  <p:childTnLst>
                                    <p:animMotion origin="layout" path="M 0.00312 -0.00208 L -0.30868 0.14861 " pathEditMode="relative" rAng="0" ptsTypes="AA">
                                      <p:cBhvr>
                                        <p:cTn id="80" dur="1500" fill="hold"/>
                                        <p:tgtEl>
                                          <p:spTgt spid="39"/>
                                        </p:tgtEl>
                                        <p:attrNameLst>
                                          <p:attrName>ppt_x</p:attrName>
                                          <p:attrName>ppt_y</p:attrName>
                                        </p:attrNameLst>
                                      </p:cBhvr>
                                      <p:rCtr x="-15590" y="7523"/>
                                    </p:animMotion>
                                  </p:childTnLst>
                                </p:cTn>
                              </p:par>
                              <p:par>
                                <p:cTn id="81" presetID="42" presetClass="path" presetSubtype="0" accel="50000" decel="50000" fill="hold" nodeType="withEffect">
                                  <p:stCondLst>
                                    <p:cond delay="1000"/>
                                  </p:stCondLst>
                                  <p:childTnLst>
                                    <p:animMotion origin="layout" path="M 0.00122 -3.33333E-6 L -0.61927 0.29723 " pathEditMode="relative" rAng="0" ptsTypes="AA">
                                      <p:cBhvr>
                                        <p:cTn id="82" dur="1500" fill="hold"/>
                                        <p:tgtEl>
                                          <p:spTgt spid="41"/>
                                        </p:tgtEl>
                                        <p:attrNameLst>
                                          <p:attrName>ppt_x</p:attrName>
                                          <p:attrName>ppt_y</p:attrName>
                                        </p:attrNameLst>
                                      </p:cBhvr>
                                      <p:rCtr x="-31024" y="14861"/>
                                    </p:animMotion>
                                  </p:childTnLst>
                                </p:cTn>
                              </p:par>
                              <p:par>
                                <p:cTn id="83" presetID="42" presetClass="path" presetSubtype="0" accel="50000" decel="50000" fill="hold" nodeType="withEffect">
                                  <p:stCondLst>
                                    <p:cond delay="1000"/>
                                  </p:stCondLst>
                                  <p:childTnLst>
                                    <p:animMotion origin="layout" path="M -0.00069 -0.00116 L 0.61875 0.14931 " pathEditMode="relative" rAng="0" ptsTypes="AA">
                                      <p:cBhvr>
                                        <p:cTn id="84" dur="1500" fill="hold"/>
                                        <p:tgtEl>
                                          <p:spTgt spid="42"/>
                                        </p:tgtEl>
                                        <p:attrNameLst>
                                          <p:attrName>ppt_x</p:attrName>
                                          <p:attrName>ppt_y</p:attrName>
                                        </p:attrNameLst>
                                      </p:cBhvr>
                                      <p:rCtr x="30972" y="7523"/>
                                    </p:animMotion>
                                  </p:childTnLst>
                                </p:cTn>
                              </p:par>
                              <p:par>
                                <p:cTn id="85" presetID="42" presetClass="path" presetSubtype="0" accel="50000" decel="50000" fill="hold" nodeType="withEffect">
                                  <p:stCondLst>
                                    <p:cond delay="1000"/>
                                  </p:stCondLst>
                                  <p:childTnLst>
                                    <p:animMotion origin="layout" path="M -0.00035 0.00023 L 0.31076 -0.14977 " pathEditMode="relative" rAng="0" ptsTypes="AA">
                                      <p:cBhvr>
                                        <p:cTn id="86" dur="1500" fill="hold"/>
                                        <p:tgtEl>
                                          <p:spTgt spid="43"/>
                                        </p:tgtEl>
                                        <p:attrNameLst>
                                          <p:attrName>ppt_x</p:attrName>
                                          <p:attrName>ppt_y</p:attrName>
                                        </p:attrNameLst>
                                      </p:cBhvr>
                                      <p:rCtr x="15556" y="-7500"/>
                                    </p:animMotion>
                                  </p:childTnLst>
                                </p:cTn>
                              </p:par>
                              <p:par>
                                <p:cTn id="87" presetID="42" presetClass="path" presetSubtype="0" accel="50000" decel="50000" fill="hold" nodeType="withEffect">
                                  <p:stCondLst>
                                    <p:cond delay="1000"/>
                                  </p:stCondLst>
                                  <p:childTnLst>
                                    <p:animMotion origin="layout" path="M 0.00122 -0.00185 L 0.62014 0.14907 " pathEditMode="relative" rAng="0" ptsTypes="AA">
                                      <p:cBhvr>
                                        <p:cTn id="88" dur="1500" fill="hold"/>
                                        <p:tgtEl>
                                          <p:spTgt spid="46"/>
                                        </p:tgtEl>
                                        <p:attrNameLst>
                                          <p:attrName>ppt_x</p:attrName>
                                          <p:attrName>ppt_y</p:attrName>
                                        </p:attrNameLst>
                                      </p:cBhvr>
                                      <p:rCtr x="30937" y="7546"/>
                                    </p:animMotion>
                                  </p:childTnLst>
                                </p:cTn>
                              </p:par>
                              <p:par>
                                <p:cTn id="89" presetID="42" presetClass="path" presetSubtype="0" accel="50000" decel="50000" fill="hold" nodeType="withEffect">
                                  <p:stCondLst>
                                    <p:cond delay="1000"/>
                                  </p:stCondLst>
                                  <p:childTnLst>
                                    <p:animMotion origin="layout" path="M -2.77778E-7 2.59259E-6 L -0.3099 -0.15255 " pathEditMode="relative" rAng="0" ptsTypes="AA">
                                      <p:cBhvr>
                                        <p:cTn id="90" dur="1500" fill="hold"/>
                                        <p:tgtEl>
                                          <p:spTgt spid="49"/>
                                        </p:tgtEl>
                                        <p:attrNameLst>
                                          <p:attrName>ppt_x</p:attrName>
                                          <p:attrName>ppt_y</p:attrName>
                                        </p:attrNameLst>
                                      </p:cBhvr>
                                      <p:rCtr x="-15503" y="-7639"/>
                                    </p:animMotion>
                                  </p:childTnLst>
                                </p:cTn>
                              </p:par>
                              <p:par>
                                <p:cTn id="91" presetID="42" presetClass="path" presetSubtype="0" accel="50000" decel="50000" fill="hold" nodeType="withEffect">
                                  <p:stCondLst>
                                    <p:cond delay="1000"/>
                                  </p:stCondLst>
                                  <p:childTnLst>
                                    <p:animMotion origin="layout" path="M 0.00069 0.00023 L 0.30885 -0.45047 " pathEditMode="relative" rAng="0" ptsTypes="AA">
                                      <p:cBhvr>
                                        <p:cTn id="92" dur="1500" fill="hold"/>
                                        <p:tgtEl>
                                          <p:spTgt spid="50"/>
                                        </p:tgtEl>
                                        <p:attrNameLst>
                                          <p:attrName>ppt_x</p:attrName>
                                          <p:attrName>ppt_y</p:attrName>
                                        </p:attrNameLst>
                                      </p:cBhvr>
                                      <p:rCtr x="15399" y="-22546"/>
                                    </p:animMotion>
                                  </p:childTnLst>
                                </p:cTn>
                              </p:par>
                              <p:par>
                                <p:cTn id="93" presetID="42" presetClass="path" presetSubtype="0" accel="50000" decel="50000" fill="hold" nodeType="withEffect">
                                  <p:stCondLst>
                                    <p:cond delay="1000"/>
                                  </p:stCondLst>
                                  <p:childTnLst>
                                    <p:animMotion origin="layout" path="M 0.00261 -0.00046 L -0.61684 0.00023 " pathEditMode="relative" rAng="0" ptsTypes="AA">
                                      <p:cBhvr>
                                        <p:cTn id="94" dur="1500" fill="hold"/>
                                        <p:tgtEl>
                                          <p:spTgt spid="4"/>
                                        </p:tgtEl>
                                        <p:attrNameLst>
                                          <p:attrName>ppt_x</p:attrName>
                                          <p:attrName>ppt_y</p:attrName>
                                        </p:attrNameLst>
                                      </p:cBhvr>
                                      <p:rCtr x="-30972"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4" grpId="0" animBg="1"/>
      <p:bldP spid="94" grpId="1" animBg="1"/>
      <p:bldP spid="117" grpId="0" animBg="1"/>
      <p:bldP spid="118" grpId="0" animBg="1"/>
      <p:bldP spid="119" grpId="0" animBg="1"/>
    </p:bldLst>
  </p:timing>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381001" y="574557"/>
            <a:ext cx="8387962" cy="457076"/>
          </a:xfrm>
          <a:prstGeom prst="rect">
            <a:avLst/>
          </a:prstGeom>
          <a:solidFill>
            <a:schemeClr val="accent1"/>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3" tIns="102880" rIns="68583" bIns="102880" numCol="1" rtlCol="0" anchor="t" anchorCtr="0" compatLnSpc="1">
            <a:prstTxWarp prst="textNoShape">
              <a:avLst/>
            </a:prstTxWarp>
            <a:spAutoFit/>
          </a:bodyPr>
          <a:lstStyle/>
          <a:p>
            <a:pPr marL="345312" indent="-345312">
              <a:lnSpc>
                <a:spcPct val="90000"/>
              </a:lnSpc>
              <a:spcBef>
                <a:spcPct val="20000"/>
              </a:spcBef>
              <a:buSzPct val="90000"/>
              <a:buBlip>
                <a:blip r:embed="rId3"/>
              </a:buBlip>
            </a:pPr>
            <a:endParaRPr lang="en-US" sz="1800" dirty="0">
              <a:gradFill>
                <a:gsLst>
                  <a:gs pos="0">
                    <a:schemeClr val="tx1"/>
                  </a:gs>
                  <a:gs pos="100000">
                    <a:schemeClr val="tx1"/>
                  </a:gs>
                </a:gsLst>
                <a:lin ang="5400000" scaled="0"/>
              </a:gradFill>
            </a:endParaRPr>
          </a:p>
        </p:txBody>
      </p:sp>
      <p:sp>
        <p:nvSpPr>
          <p:cNvPr id="2" name="Title 1"/>
          <p:cNvSpPr>
            <a:spLocks noGrp="1"/>
          </p:cNvSpPr>
          <p:nvPr>
            <p:ph type="title"/>
          </p:nvPr>
        </p:nvSpPr>
        <p:spPr/>
        <p:txBody>
          <a:bodyPr/>
          <a:lstStyle/>
          <a:p>
            <a:r>
              <a:rPr lang="en-US" dirty="0"/>
              <a:t>Related Content</a:t>
            </a:r>
          </a:p>
        </p:txBody>
      </p:sp>
      <p:sp>
        <p:nvSpPr>
          <p:cNvPr id="4" name="Rectangle 3"/>
          <p:cNvSpPr/>
          <p:nvPr/>
        </p:nvSpPr>
        <p:spPr bwMode="auto">
          <a:xfrm>
            <a:off x="386962" y="3439807"/>
            <a:ext cx="8382000" cy="1246495"/>
          </a:xfrm>
          <a:prstGeom prst="rect">
            <a:avLst/>
          </a:prstGeom>
          <a:solidFill>
            <a:schemeClr val="accent4"/>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3" tIns="102880" rIns="68583" bIns="102880" numCol="1" rtlCol="0" anchor="t" anchorCtr="0" compatLnSpc="1">
            <a:prstTxWarp prst="textNoShape">
              <a:avLst/>
            </a:prstTxWarp>
            <a:spAutoFit/>
          </a:bodyPr>
          <a:lstStyle/>
          <a:p>
            <a:pPr lvl="0">
              <a:lnSpc>
                <a:spcPct val="90000"/>
              </a:lnSpc>
              <a:spcBef>
                <a:spcPct val="20000"/>
              </a:spcBef>
              <a:buSzPct val="90000"/>
            </a:pPr>
            <a:endParaRPr lang="en-US" sz="900" dirty="0">
              <a:gradFill>
                <a:gsLst>
                  <a:gs pos="0">
                    <a:schemeClr val="tx1"/>
                  </a:gs>
                  <a:gs pos="100000">
                    <a:schemeClr val="tx1"/>
                  </a:gs>
                </a:gsLst>
                <a:lin ang="5400000" scaled="0"/>
              </a:gradFill>
            </a:endParaRPr>
          </a:p>
          <a:p>
            <a:pPr lvl="0">
              <a:lnSpc>
                <a:spcPct val="90000"/>
              </a:lnSpc>
              <a:spcBef>
                <a:spcPct val="20000"/>
              </a:spcBef>
              <a:buSzPct val="90000"/>
            </a:pPr>
            <a:endParaRPr lang="en-US" sz="900" dirty="0">
              <a:gradFill>
                <a:gsLst>
                  <a:gs pos="0">
                    <a:schemeClr val="tx1"/>
                  </a:gs>
                  <a:gs pos="100000">
                    <a:schemeClr val="tx1"/>
                  </a:gs>
                </a:gsLst>
                <a:lin ang="5400000" scaled="0"/>
              </a:gradFill>
            </a:endParaRPr>
          </a:p>
          <a:p>
            <a:pPr lvl="0">
              <a:lnSpc>
                <a:spcPct val="90000"/>
              </a:lnSpc>
              <a:spcBef>
                <a:spcPct val="20000"/>
              </a:spcBef>
              <a:buSzPct val="90000"/>
            </a:pPr>
            <a:endParaRPr lang="en-US" sz="900" dirty="0">
              <a:gradFill>
                <a:gsLst>
                  <a:gs pos="0">
                    <a:schemeClr val="tx1"/>
                  </a:gs>
                  <a:gs pos="100000">
                    <a:schemeClr val="tx1"/>
                  </a:gs>
                </a:gsLst>
                <a:lin ang="5400000" scaled="0"/>
              </a:gradFill>
            </a:endParaRPr>
          </a:p>
          <a:p>
            <a:pPr lvl="0">
              <a:lnSpc>
                <a:spcPct val="90000"/>
              </a:lnSpc>
              <a:spcBef>
                <a:spcPct val="20000"/>
              </a:spcBef>
              <a:buSzPct val="90000"/>
            </a:pPr>
            <a:endParaRPr lang="en-US" sz="900" dirty="0">
              <a:gradFill>
                <a:gsLst>
                  <a:gs pos="0">
                    <a:schemeClr val="tx1"/>
                  </a:gs>
                  <a:gs pos="100000">
                    <a:schemeClr val="tx1"/>
                  </a:gs>
                </a:gsLst>
                <a:lin ang="5400000" scaled="0"/>
              </a:gradFill>
            </a:endParaRPr>
          </a:p>
          <a:p>
            <a:pPr lvl="0">
              <a:lnSpc>
                <a:spcPct val="90000"/>
              </a:lnSpc>
              <a:spcBef>
                <a:spcPct val="20000"/>
              </a:spcBef>
              <a:buSzPct val="90000"/>
            </a:pPr>
            <a:endParaRPr lang="en-US" sz="900" dirty="0">
              <a:gradFill>
                <a:gsLst>
                  <a:gs pos="0">
                    <a:schemeClr val="tx1"/>
                  </a:gs>
                  <a:gs pos="100000">
                    <a:schemeClr val="tx1"/>
                  </a:gs>
                </a:gsLst>
                <a:lin ang="5400000" scaled="0"/>
              </a:gradFill>
            </a:endParaRPr>
          </a:p>
          <a:p>
            <a:pPr lvl="0">
              <a:lnSpc>
                <a:spcPct val="90000"/>
              </a:lnSpc>
              <a:spcBef>
                <a:spcPct val="20000"/>
              </a:spcBef>
              <a:buSzPct val="90000"/>
            </a:pPr>
            <a:endParaRPr lang="en-US" sz="900" dirty="0">
              <a:gradFill>
                <a:gsLst>
                  <a:gs pos="0">
                    <a:schemeClr val="tx1"/>
                  </a:gs>
                  <a:gs pos="100000">
                    <a:schemeClr val="tx1"/>
                  </a:gs>
                </a:gsLst>
                <a:lin ang="5400000" scaled="0"/>
              </a:gradFill>
            </a:endParaRPr>
          </a:p>
          <a:p>
            <a:pPr lvl="0">
              <a:lnSpc>
                <a:spcPct val="90000"/>
              </a:lnSpc>
              <a:spcBef>
                <a:spcPct val="20000"/>
              </a:spcBef>
              <a:buSzPct val="90000"/>
            </a:pPr>
            <a:endParaRPr lang="en-US" sz="900" dirty="0">
              <a:gradFill>
                <a:gsLst>
                  <a:gs pos="0">
                    <a:schemeClr val="tx1"/>
                  </a:gs>
                  <a:gs pos="100000">
                    <a:schemeClr val="tx1"/>
                  </a:gs>
                </a:gsLst>
                <a:lin ang="5400000" scaled="0"/>
              </a:gradFill>
            </a:endParaRPr>
          </a:p>
        </p:txBody>
      </p:sp>
      <p:sp>
        <p:nvSpPr>
          <p:cNvPr id="8" name="Rectangle 7"/>
          <p:cNvSpPr/>
          <p:nvPr/>
        </p:nvSpPr>
        <p:spPr>
          <a:xfrm>
            <a:off x="501034" y="571501"/>
            <a:ext cx="8261968" cy="2063642"/>
          </a:xfrm>
          <a:prstGeom prst="rect">
            <a:avLst/>
          </a:prstGeom>
        </p:spPr>
        <p:txBody>
          <a:bodyPr wrap="square" lIns="68586" tIns="34294" rIns="68586" bIns="34294">
            <a:spAutoFit/>
          </a:bodyPr>
          <a:lstStyle/>
          <a:p>
            <a:pPr lvl="0">
              <a:lnSpc>
                <a:spcPct val="90000"/>
              </a:lnSpc>
              <a:spcBef>
                <a:spcPct val="20000"/>
              </a:spcBef>
              <a:buSzPct val="105000"/>
            </a:pPr>
            <a:r>
              <a:rPr lang="en-US" sz="1200" dirty="0">
                <a:solidFill>
                  <a:schemeClr val="tx1">
                    <a:alpha val="99000"/>
                  </a:schemeClr>
                </a:solidFill>
              </a:rPr>
              <a:t>Breakout Sessions</a:t>
            </a:r>
          </a:p>
          <a:p>
            <a:pPr marL="302446" indent="-302446">
              <a:lnSpc>
                <a:spcPct val="90000"/>
              </a:lnSpc>
              <a:spcBef>
                <a:spcPct val="20000"/>
              </a:spcBef>
              <a:buSzPct val="105000"/>
              <a:buBlip>
                <a:blip r:embed="rId3"/>
              </a:buBlip>
            </a:pPr>
            <a:r>
              <a:rPr lang="en-US" sz="1200" dirty="0">
                <a:solidFill>
                  <a:schemeClr val="tx1">
                    <a:alpha val="99000"/>
                  </a:schemeClr>
                </a:solidFill>
              </a:rPr>
              <a:t>MGT314 - What's New in System Center 2012 SP1 - Virtual Machine Manager</a:t>
            </a:r>
          </a:p>
          <a:p>
            <a:pPr marL="302446" indent="-302446">
              <a:lnSpc>
                <a:spcPct val="90000"/>
              </a:lnSpc>
              <a:spcBef>
                <a:spcPct val="20000"/>
              </a:spcBef>
              <a:buSzPct val="105000"/>
              <a:buBlip>
                <a:blip r:embed="rId3"/>
              </a:buBlip>
            </a:pPr>
            <a:r>
              <a:rPr lang="en-US" sz="1200" dirty="0">
                <a:solidFill>
                  <a:schemeClr val="tx1">
                    <a:alpha val="99000"/>
                  </a:schemeClr>
                </a:solidFill>
              </a:rPr>
              <a:t>MGT316 - Overview of Microsoft System Center 2012 SP1 - Storage Management</a:t>
            </a:r>
          </a:p>
          <a:p>
            <a:pPr marL="302446" indent="-302446">
              <a:lnSpc>
                <a:spcPct val="90000"/>
              </a:lnSpc>
              <a:spcBef>
                <a:spcPct val="20000"/>
              </a:spcBef>
              <a:buSzPct val="105000"/>
              <a:buBlip>
                <a:blip r:embed="rId3"/>
              </a:buBlip>
            </a:pPr>
            <a:r>
              <a:rPr lang="en-US" sz="1200" dirty="0">
                <a:solidFill>
                  <a:schemeClr val="tx1">
                    <a:alpha val="99000"/>
                  </a:schemeClr>
                </a:solidFill>
              </a:rPr>
              <a:t>MGT317 - Overview of Microsoft System Center 2012 SP1 - Virtual Machine Manager Services</a:t>
            </a:r>
          </a:p>
          <a:p>
            <a:pPr marL="302446" indent="-302446">
              <a:lnSpc>
                <a:spcPct val="90000"/>
              </a:lnSpc>
              <a:spcBef>
                <a:spcPct val="20000"/>
              </a:spcBef>
              <a:buSzPct val="105000"/>
              <a:buBlip>
                <a:blip r:embed="rId3"/>
              </a:buBlip>
            </a:pPr>
            <a:r>
              <a:rPr lang="en-US" sz="1200" dirty="0">
                <a:solidFill>
                  <a:schemeClr val="tx1">
                    <a:alpha val="99000"/>
                  </a:schemeClr>
                </a:solidFill>
              </a:rPr>
              <a:t>VIR306   - Hyper-V Over SMB 3.0, Remote File Storage Support in Windows Server 2012, Hyper-V</a:t>
            </a:r>
          </a:p>
          <a:p>
            <a:pPr marL="302446" indent="-302446">
              <a:lnSpc>
                <a:spcPct val="90000"/>
              </a:lnSpc>
              <a:spcBef>
                <a:spcPct val="20000"/>
              </a:spcBef>
              <a:buSzPct val="105000"/>
              <a:buBlip>
                <a:blip r:embed="rId3"/>
              </a:buBlip>
            </a:pPr>
            <a:r>
              <a:rPr lang="en-US" sz="1200" dirty="0">
                <a:solidFill>
                  <a:schemeClr val="tx1">
                    <a:alpha val="99000"/>
                  </a:schemeClr>
                </a:solidFill>
              </a:rPr>
              <a:t>MGT320 - Microsoft System Center Virtual Machine Manager 2012: Zero to Cluster to Cloud</a:t>
            </a:r>
          </a:p>
          <a:p>
            <a:pPr marL="302446" indent="-302446">
              <a:lnSpc>
                <a:spcPct val="90000"/>
              </a:lnSpc>
              <a:spcBef>
                <a:spcPct val="20000"/>
              </a:spcBef>
              <a:buSzPct val="105000"/>
              <a:buBlip>
                <a:blip r:embed="rId3"/>
              </a:buBlip>
            </a:pPr>
            <a:r>
              <a:rPr lang="en-US" sz="1200" dirty="0">
                <a:solidFill>
                  <a:schemeClr val="tx1">
                    <a:alpha val="99000"/>
                  </a:schemeClr>
                </a:solidFill>
              </a:rPr>
              <a:t>MGT321 - Service Template Creation from the Ground Up</a:t>
            </a:r>
          </a:p>
          <a:p>
            <a:pPr marL="302446" indent="-302446">
              <a:lnSpc>
                <a:spcPct val="90000"/>
              </a:lnSpc>
              <a:spcBef>
                <a:spcPct val="20000"/>
              </a:spcBef>
              <a:buSzPct val="105000"/>
              <a:buBlip>
                <a:blip r:embed="rId3"/>
              </a:buBlip>
            </a:pPr>
            <a:r>
              <a:rPr lang="en-US" sz="1200" dirty="0">
                <a:solidFill>
                  <a:schemeClr val="tx1">
                    <a:alpha val="99000"/>
                  </a:schemeClr>
                </a:solidFill>
              </a:rPr>
              <a:t>MGT326 - Building a Hosted Cloud Using Microsoft System Center 2012 and Windows Server 2012</a:t>
            </a:r>
          </a:p>
          <a:p>
            <a:pPr marL="302446" indent="-302446">
              <a:lnSpc>
                <a:spcPct val="90000"/>
              </a:lnSpc>
              <a:spcBef>
                <a:spcPct val="20000"/>
              </a:spcBef>
              <a:buSzPct val="105000"/>
              <a:buBlip>
                <a:blip r:embed="rId3"/>
              </a:buBlip>
            </a:pPr>
            <a:r>
              <a:rPr lang="en-US" sz="1200" dirty="0">
                <a:solidFill>
                  <a:schemeClr val="tx1">
                    <a:alpha val="99000"/>
                  </a:schemeClr>
                </a:solidFill>
              </a:rPr>
              <a:t>VIR303   – An Overview of Hyper-V Networking on Windows Server 2012</a:t>
            </a:r>
          </a:p>
          <a:p>
            <a:pPr marL="302446" indent="-302446">
              <a:lnSpc>
                <a:spcPct val="90000"/>
              </a:lnSpc>
              <a:spcBef>
                <a:spcPct val="20000"/>
              </a:spcBef>
              <a:buSzPct val="105000"/>
              <a:buBlip>
                <a:blip r:embed="rId3"/>
              </a:buBlip>
            </a:pPr>
            <a:r>
              <a:rPr lang="en-US" sz="1200" dirty="0">
                <a:solidFill>
                  <a:schemeClr val="tx1">
                    <a:alpha val="99000"/>
                  </a:schemeClr>
                </a:solidFill>
              </a:rPr>
              <a:t>WSV301 - Building Hosted Private and Public Cloud using Windows Server 2012 </a:t>
            </a:r>
          </a:p>
        </p:txBody>
      </p:sp>
      <p:sp>
        <p:nvSpPr>
          <p:cNvPr id="9" name="Rectangle 8"/>
          <p:cNvSpPr/>
          <p:nvPr/>
        </p:nvSpPr>
        <p:spPr>
          <a:xfrm>
            <a:off x="501034" y="3438181"/>
            <a:ext cx="8261968" cy="1214179"/>
          </a:xfrm>
          <a:prstGeom prst="rect">
            <a:avLst/>
          </a:prstGeom>
        </p:spPr>
        <p:txBody>
          <a:bodyPr wrap="square" lIns="68586" tIns="34294" rIns="68586" bIns="34294">
            <a:spAutoFit/>
          </a:bodyPr>
          <a:lstStyle/>
          <a:p>
            <a:pPr>
              <a:lnSpc>
                <a:spcPct val="90000"/>
              </a:lnSpc>
              <a:spcBef>
                <a:spcPct val="20000"/>
              </a:spcBef>
              <a:buSzPct val="105000"/>
            </a:pPr>
            <a:r>
              <a:rPr lang="en-US" sz="1200" dirty="0">
                <a:solidFill>
                  <a:schemeClr val="tx1">
                    <a:alpha val="99000"/>
                  </a:schemeClr>
                </a:solidFill>
              </a:rPr>
              <a:t>Other Sessions</a:t>
            </a:r>
          </a:p>
          <a:p>
            <a:pPr marL="302446" indent="-302446">
              <a:lnSpc>
                <a:spcPct val="90000"/>
              </a:lnSpc>
              <a:spcBef>
                <a:spcPct val="20000"/>
              </a:spcBef>
              <a:buSzPct val="105000"/>
              <a:buBlip>
                <a:blip r:embed="rId3"/>
              </a:buBlip>
            </a:pPr>
            <a:r>
              <a:rPr lang="en-US" sz="1200" dirty="0">
                <a:solidFill>
                  <a:schemeClr val="tx1">
                    <a:alpha val="99000"/>
                  </a:schemeClr>
                </a:solidFill>
              </a:rPr>
              <a:t>MGT41-HOL- Microsoft System Center 2012 Virtual Machine Manager Infrastructure Components Management</a:t>
            </a:r>
          </a:p>
          <a:p>
            <a:pPr marL="302446" indent="-302446">
              <a:lnSpc>
                <a:spcPct val="90000"/>
              </a:lnSpc>
              <a:spcBef>
                <a:spcPct val="20000"/>
              </a:spcBef>
              <a:buSzPct val="105000"/>
              <a:buBlip>
                <a:blip r:embed="rId3"/>
              </a:buBlip>
            </a:pPr>
            <a:r>
              <a:rPr lang="en-US" sz="1200" dirty="0">
                <a:solidFill>
                  <a:schemeClr val="tx1">
                    <a:alpha val="99000"/>
                  </a:schemeClr>
                </a:solidFill>
              </a:rPr>
              <a:t>MGT42-HOL - Microsoft System Center 2012 Virtual Machine Manager and App Controller Creating, Deploying, and Managing Service Templates</a:t>
            </a:r>
          </a:p>
          <a:p>
            <a:pPr marL="302446" indent="-302446">
              <a:lnSpc>
                <a:spcPct val="90000"/>
              </a:lnSpc>
              <a:spcBef>
                <a:spcPct val="20000"/>
              </a:spcBef>
              <a:buSzPct val="105000"/>
              <a:buBlip>
                <a:blip r:embed="rId3"/>
              </a:buBlip>
            </a:pPr>
            <a:r>
              <a:rPr lang="en-US" sz="1200" dirty="0">
                <a:solidFill>
                  <a:schemeClr val="tx1">
                    <a:alpha val="99000"/>
                  </a:schemeClr>
                </a:solidFill>
              </a:rPr>
              <a:t>MGT53-HOL - Microsoft System Center 2012 Application Self-Service and Managing Applications across Clouds</a:t>
            </a:r>
          </a:p>
          <a:p>
            <a:pPr marL="302446" indent="-302446">
              <a:lnSpc>
                <a:spcPct val="90000"/>
              </a:lnSpc>
              <a:spcBef>
                <a:spcPct val="20000"/>
              </a:spcBef>
              <a:buSzPct val="105000"/>
              <a:buBlip>
                <a:blip r:embed="rId3"/>
              </a:buBlip>
            </a:pPr>
            <a:r>
              <a:rPr lang="en-US" sz="1200" dirty="0">
                <a:solidFill>
                  <a:schemeClr val="tx1">
                    <a:alpha val="99000"/>
                  </a:schemeClr>
                </a:solidFill>
              </a:rPr>
              <a:t>PRC03 - Pre-Conference Seminar - Private Cloud Immersion</a:t>
            </a:r>
          </a:p>
        </p:txBody>
      </p:sp>
      <p:sp>
        <p:nvSpPr>
          <p:cNvPr id="13" name="Left Mask"/>
          <p:cNvSpPr/>
          <p:nvPr/>
        </p:nvSpPr>
        <p:spPr bwMode="hidden">
          <a:xfrm>
            <a:off x="0" y="0"/>
            <a:ext cx="381000" cy="5143500"/>
          </a:xfrm>
          <a:prstGeom prst="rect">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5" name="Picture 2" descr="C:\Users\Jordan\Desktop\TechEd_2012\TechEd-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black">
          <a:xfrm>
            <a:off x="386962" y="4492889"/>
            <a:ext cx="698151" cy="322326"/>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p:nvSpPr>
        <p:spPr bwMode="auto">
          <a:xfrm>
            <a:off x="386962" y="2794771"/>
            <a:ext cx="8382000" cy="577081"/>
          </a:xfrm>
          <a:prstGeom prst="rect">
            <a:avLst/>
          </a:prstGeom>
          <a:solidFill>
            <a:schemeClr val="accent3"/>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3" tIns="102880" rIns="68583" bIns="102880" numCol="1" rtlCol="0" anchor="t" anchorCtr="0" compatLnSpc="1">
            <a:prstTxWarp prst="textNoShape">
              <a:avLst/>
            </a:prstTxWarp>
            <a:spAutoFit/>
          </a:bodyPr>
          <a:lstStyle/>
          <a:p>
            <a:pPr marL="302446" indent="-302446">
              <a:lnSpc>
                <a:spcPct val="90000"/>
              </a:lnSpc>
              <a:spcBef>
                <a:spcPct val="20000"/>
              </a:spcBef>
              <a:buSzPct val="105000"/>
              <a:buBlip>
                <a:blip r:embed="rId3"/>
              </a:buBlip>
            </a:pPr>
            <a:r>
              <a:rPr lang="en-US" sz="1200" dirty="0">
                <a:solidFill>
                  <a:schemeClr val="tx1">
                    <a:alpha val="99000"/>
                  </a:schemeClr>
                </a:solidFill>
              </a:rPr>
              <a:t>Windows Server 2012, Hyper-V, Networking, Storage (TLC)</a:t>
            </a:r>
          </a:p>
          <a:p>
            <a:pPr marL="302446" indent="-302446">
              <a:lnSpc>
                <a:spcPct val="90000"/>
              </a:lnSpc>
              <a:spcBef>
                <a:spcPct val="20000"/>
              </a:spcBef>
              <a:buSzPct val="105000"/>
              <a:buBlip>
                <a:blip r:embed="rId3"/>
              </a:buBlip>
            </a:pPr>
            <a:r>
              <a:rPr lang="en-US" sz="1200" dirty="0">
                <a:solidFill>
                  <a:schemeClr val="tx1">
                    <a:alpha val="99000"/>
                  </a:schemeClr>
                </a:solidFill>
              </a:rPr>
              <a:t>System Center (TLC)</a:t>
            </a:r>
          </a:p>
        </p:txBody>
      </p:sp>
      <p:sp>
        <p:nvSpPr>
          <p:cNvPr id="11"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2"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5"/>
              </a:rPr>
              <a:t>www.rapidbbs.cn</a:t>
            </a:r>
            <a:endParaRPr lang="zh-CN" altLang="en-US" sz="1200" b="0">
              <a:latin typeface="Arial" charset="0"/>
              <a:ea typeface="ＭＳ Ｐゴシック" pitchFamily="34" charset="-128"/>
            </a:endParaRPr>
          </a:p>
        </p:txBody>
      </p:sp>
      <p:pic>
        <p:nvPicPr>
          <p:cNvPr id="14" name="Picture 2">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17559948"/>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2" presetClass="entr" presetSubtype="8" decel="10000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anim calcmode="lin" valueType="num">
                                      <p:cBhvr additive="base">
                                        <p:cTn id="9" dur="1000" fill="hold"/>
                                        <p:tgtEl>
                                          <p:spTgt spid="3"/>
                                        </p:tgtEl>
                                        <p:attrNameLst>
                                          <p:attrName>ppt_x</p:attrName>
                                        </p:attrNameLst>
                                      </p:cBhvr>
                                      <p:tavLst>
                                        <p:tav tm="0">
                                          <p:val>
                                            <p:strVal val="0-#ppt_w/2"/>
                                          </p:val>
                                        </p:tav>
                                        <p:tav tm="100000">
                                          <p:val>
                                            <p:strVal val="#ppt_x"/>
                                          </p:val>
                                        </p:tav>
                                      </p:tavLst>
                                    </p:anim>
                                    <p:anim calcmode="lin" valueType="num">
                                      <p:cBhvr additive="base">
                                        <p:cTn id="10" dur="1000" fill="hold"/>
                                        <p:tgtEl>
                                          <p:spTgt spid="3"/>
                                        </p:tgtEl>
                                        <p:attrNameLst>
                                          <p:attrName>ppt_y</p:attrName>
                                        </p:attrNameLst>
                                      </p:cBhvr>
                                      <p:tavLst>
                                        <p:tav tm="0">
                                          <p:val>
                                            <p:strVal val="#ppt_y"/>
                                          </p:val>
                                        </p:tav>
                                        <p:tav tm="100000">
                                          <p:val>
                                            <p:strVal val="#ppt_y"/>
                                          </p:val>
                                        </p:tav>
                                      </p:tavLst>
                                    </p:anim>
                                  </p:childTnLst>
                                </p:cTn>
                              </p:par>
                              <p:par>
                                <p:cTn id="11" presetID="2" presetClass="entr" presetSubtype="8" decel="100000" fill="hold" grpId="0" nodeType="withEffect">
                                  <p:stCondLst>
                                    <p:cond delay="250"/>
                                  </p:stCondLst>
                                  <p:childTnLst>
                                    <p:set>
                                      <p:cBhvr>
                                        <p:cTn id="12" dur="1" fill="hold">
                                          <p:stCondLst>
                                            <p:cond delay="0"/>
                                          </p:stCondLst>
                                        </p:cTn>
                                        <p:tgtEl>
                                          <p:spTgt spid="8"/>
                                        </p:tgtEl>
                                        <p:attrNameLst>
                                          <p:attrName>style.visibility</p:attrName>
                                        </p:attrNameLst>
                                      </p:cBhvr>
                                      <p:to>
                                        <p:strVal val="visible"/>
                                      </p:to>
                                    </p:set>
                                    <p:anim calcmode="lin" valueType="num">
                                      <p:cBhvr additive="base">
                                        <p:cTn id="13" dur="1000" fill="hold"/>
                                        <p:tgtEl>
                                          <p:spTgt spid="8"/>
                                        </p:tgtEl>
                                        <p:attrNameLst>
                                          <p:attrName>ppt_x</p:attrName>
                                        </p:attrNameLst>
                                      </p:cBhvr>
                                      <p:tavLst>
                                        <p:tav tm="0">
                                          <p:val>
                                            <p:strVal val="0-#ppt_w/2"/>
                                          </p:val>
                                        </p:tav>
                                        <p:tav tm="100000">
                                          <p:val>
                                            <p:strVal val="#ppt_x"/>
                                          </p:val>
                                        </p:tav>
                                      </p:tavLst>
                                    </p:anim>
                                    <p:anim calcmode="lin" valueType="num">
                                      <p:cBhvr additive="base">
                                        <p:cTn id="14" dur="1000" fill="hold"/>
                                        <p:tgtEl>
                                          <p:spTgt spid="8"/>
                                        </p:tgtEl>
                                        <p:attrNameLst>
                                          <p:attrName>ppt_y</p:attrName>
                                        </p:attrNameLst>
                                      </p:cBhvr>
                                      <p:tavLst>
                                        <p:tav tm="0">
                                          <p:val>
                                            <p:strVal val="#ppt_y"/>
                                          </p:val>
                                        </p:tav>
                                        <p:tav tm="100000">
                                          <p:val>
                                            <p:strVal val="#ppt_y"/>
                                          </p:val>
                                        </p:tav>
                                      </p:tavLst>
                                    </p:anim>
                                  </p:childTnLst>
                                </p:cTn>
                              </p:par>
                            </p:childTnLst>
                          </p:cTn>
                        </p:par>
                        <p:par>
                          <p:cTn id="15" fill="hold">
                            <p:stCondLst>
                              <p:cond delay="1250"/>
                            </p:stCondLst>
                            <p:childTnLst>
                              <p:par>
                                <p:cTn id="16" presetID="2" presetClass="entr" presetSubtype="8" decel="100000" fill="hold" grpId="0" nodeType="afterEffect">
                                  <p:stCondLst>
                                    <p:cond delay="0"/>
                                  </p:stCondLst>
                                  <p:childTnLst>
                                    <p:set>
                                      <p:cBhvr>
                                        <p:cTn id="17" dur="1" fill="hold">
                                          <p:stCondLst>
                                            <p:cond delay="0"/>
                                          </p:stCondLst>
                                        </p:cTn>
                                        <p:tgtEl>
                                          <p:spTgt spid="4"/>
                                        </p:tgtEl>
                                        <p:attrNameLst>
                                          <p:attrName>style.visibility</p:attrName>
                                        </p:attrNameLst>
                                      </p:cBhvr>
                                      <p:to>
                                        <p:strVal val="visible"/>
                                      </p:to>
                                    </p:set>
                                    <p:anim calcmode="lin" valueType="num">
                                      <p:cBhvr additive="base">
                                        <p:cTn id="18" dur="1000" fill="hold"/>
                                        <p:tgtEl>
                                          <p:spTgt spid="4"/>
                                        </p:tgtEl>
                                        <p:attrNameLst>
                                          <p:attrName>ppt_x</p:attrName>
                                        </p:attrNameLst>
                                      </p:cBhvr>
                                      <p:tavLst>
                                        <p:tav tm="0">
                                          <p:val>
                                            <p:strVal val="0-#ppt_w/2"/>
                                          </p:val>
                                        </p:tav>
                                        <p:tav tm="100000">
                                          <p:val>
                                            <p:strVal val="#ppt_x"/>
                                          </p:val>
                                        </p:tav>
                                      </p:tavLst>
                                    </p:anim>
                                    <p:anim calcmode="lin" valueType="num">
                                      <p:cBhvr additive="base">
                                        <p:cTn id="19" dur="1000" fill="hold"/>
                                        <p:tgtEl>
                                          <p:spTgt spid="4"/>
                                        </p:tgtEl>
                                        <p:attrNameLst>
                                          <p:attrName>ppt_y</p:attrName>
                                        </p:attrNameLst>
                                      </p:cBhvr>
                                      <p:tavLst>
                                        <p:tav tm="0">
                                          <p:val>
                                            <p:strVal val="#ppt_y"/>
                                          </p:val>
                                        </p:tav>
                                        <p:tav tm="100000">
                                          <p:val>
                                            <p:strVal val="#ppt_y"/>
                                          </p:val>
                                        </p:tav>
                                      </p:tavLst>
                                    </p:anim>
                                  </p:childTnLst>
                                </p:cTn>
                              </p:par>
                              <p:par>
                                <p:cTn id="20" presetID="2" presetClass="entr" presetSubtype="8" decel="100000" fill="hold" grpId="0" nodeType="withEffect">
                                  <p:stCondLst>
                                    <p:cond delay="250"/>
                                  </p:stCondLst>
                                  <p:childTnLst>
                                    <p:set>
                                      <p:cBhvr>
                                        <p:cTn id="21" dur="1" fill="hold">
                                          <p:stCondLst>
                                            <p:cond delay="0"/>
                                          </p:stCondLst>
                                        </p:cTn>
                                        <p:tgtEl>
                                          <p:spTgt spid="9"/>
                                        </p:tgtEl>
                                        <p:attrNameLst>
                                          <p:attrName>style.visibility</p:attrName>
                                        </p:attrNameLst>
                                      </p:cBhvr>
                                      <p:to>
                                        <p:strVal val="visible"/>
                                      </p:to>
                                    </p:set>
                                    <p:anim calcmode="lin" valueType="num">
                                      <p:cBhvr additive="base">
                                        <p:cTn id="22" dur="1000" fill="hold"/>
                                        <p:tgtEl>
                                          <p:spTgt spid="9"/>
                                        </p:tgtEl>
                                        <p:attrNameLst>
                                          <p:attrName>ppt_x</p:attrName>
                                        </p:attrNameLst>
                                      </p:cBhvr>
                                      <p:tavLst>
                                        <p:tav tm="0">
                                          <p:val>
                                            <p:strVal val="0-#ppt_w/2"/>
                                          </p:val>
                                        </p:tav>
                                        <p:tav tm="100000">
                                          <p:val>
                                            <p:strVal val="#ppt_x"/>
                                          </p:val>
                                        </p:tav>
                                      </p:tavLst>
                                    </p:anim>
                                    <p:anim calcmode="lin" valueType="num">
                                      <p:cBhvr additive="base">
                                        <p:cTn id="23" dur="1000" fill="hold"/>
                                        <p:tgtEl>
                                          <p:spTgt spid="9"/>
                                        </p:tgtEl>
                                        <p:attrNameLst>
                                          <p:attrName>ppt_y</p:attrName>
                                        </p:attrNameLst>
                                      </p:cBhvr>
                                      <p:tavLst>
                                        <p:tav tm="0">
                                          <p:val>
                                            <p:strVal val="#ppt_y"/>
                                          </p:val>
                                        </p:tav>
                                        <p:tav tm="100000">
                                          <p:val>
                                            <p:strVal val="#ppt_y"/>
                                          </p:val>
                                        </p:tav>
                                      </p:tavLst>
                                    </p:anim>
                                  </p:childTnLst>
                                </p:cTn>
                              </p:par>
                            </p:childTnLst>
                          </p:cTn>
                        </p:par>
                        <p:par>
                          <p:cTn id="24" fill="hold">
                            <p:stCondLst>
                              <p:cond delay="2500"/>
                            </p:stCondLst>
                            <p:childTnLst>
                              <p:par>
                                <p:cTn id="25" presetID="1" presetClass="exit" presetSubtype="0" fill="hold" grpId="1" nodeType="afterEffect">
                                  <p:stCondLst>
                                    <p:cond delay="0"/>
                                  </p:stCondLst>
                                  <p:childTnLst>
                                    <p:set>
                                      <p:cBhvr>
                                        <p:cTn id="26" dur="1" fill="hold">
                                          <p:stCondLst>
                                            <p:cond delay="0"/>
                                          </p:stCondLst>
                                        </p:cTn>
                                        <p:tgtEl>
                                          <p:spTgt spid="13"/>
                                        </p:tgtEl>
                                        <p:attrNameLst>
                                          <p:attrName>style.visibility</p:attrName>
                                        </p:attrNameLst>
                                      </p:cBhvr>
                                      <p:to>
                                        <p:strVal val="hidden"/>
                                      </p:to>
                                    </p:set>
                                  </p:childTnLst>
                                </p:cTn>
                              </p:par>
                            </p:childTnLst>
                          </p:cTn>
                        </p:par>
                        <p:par>
                          <p:cTn id="27" fill="hold">
                            <p:stCondLst>
                              <p:cond delay="2500"/>
                            </p:stCondLst>
                            <p:childTnLst>
                              <p:par>
                                <p:cTn id="28" presetID="2" presetClass="entr" presetSubtype="8" decel="100000" fill="hold" grpId="0" nodeType="afterEffect">
                                  <p:stCondLst>
                                    <p:cond delay="0"/>
                                  </p:stCondLst>
                                  <p:childTnLst>
                                    <p:set>
                                      <p:cBhvr>
                                        <p:cTn id="29" dur="1" fill="hold">
                                          <p:stCondLst>
                                            <p:cond delay="0"/>
                                          </p:stCondLst>
                                        </p:cTn>
                                        <p:tgtEl>
                                          <p:spTgt spid="10"/>
                                        </p:tgtEl>
                                        <p:attrNameLst>
                                          <p:attrName>style.visibility</p:attrName>
                                        </p:attrNameLst>
                                      </p:cBhvr>
                                      <p:to>
                                        <p:strVal val="visible"/>
                                      </p:to>
                                    </p:set>
                                    <p:anim calcmode="lin" valueType="num">
                                      <p:cBhvr additive="base">
                                        <p:cTn id="30" dur="1000" fill="hold"/>
                                        <p:tgtEl>
                                          <p:spTgt spid="10"/>
                                        </p:tgtEl>
                                        <p:attrNameLst>
                                          <p:attrName>ppt_x</p:attrName>
                                        </p:attrNameLst>
                                      </p:cBhvr>
                                      <p:tavLst>
                                        <p:tav tm="0">
                                          <p:val>
                                            <p:strVal val="0-#ppt_w/2"/>
                                          </p:val>
                                        </p:tav>
                                        <p:tav tm="100000">
                                          <p:val>
                                            <p:strVal val="#ppt_x"/>
                                          </p:val>
                                        </p:tav>
                                      </p:tavLst>
                                    </p:anim>
                                    <p:anim calcmode="lin" valueType="num">
                                      <p:cBhvr additive="base">
                                        <p:cTn id="31" dur="10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8" grpId="0"/>
      <p:bldP spid="9" grpId="0"/>
      <p:bldP spid="13" grpId="0" animBg="1"/>
      <p:bldP spid="13" grpId="1" animBg="1"/>
      <p:bldP spid="10" grpId="0" animBg="1"/>
    </p:bldLst>
  </p:timing>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3134833" y="2351057"/>
            <a:ext cx="1295400" cy="476340"/>
          </a:xfrm>
          <a:prstGeom prst="rect">
            <a:avLst/>
          </a:prstGeom>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100" dirty="0">
                <a:gradFill>
                  <a:gsLst>
                    <a:gs pos="0">
                      <a:srgbClr val="000000"/>
                    </a:gs>
                    <a:gs pos="100000">
                      <a:srgbClr val="000000"/>
                    </a:gs>
                  </a:gsLst>
                  <a:lin ang="5400000" scaled="0"/>
                </a:gradFill>
              </a:rPr>
              <a:t>Application Profile Level  Pre-Install GCE</a:t>
            </a:r>
          </a:p>
        </p:txBody>
      </p:sp>
      <p:sp>
        <p:nvSpPr>
          <p:cNvPr id="7" name="Rectangle 6"/>
          <p:cNvSpPr/>
          <p:nvPr/>
        </p:nvSpPr>
        <p:spPr>
          <a:xfrm>
            <a:off x="3168680" y="3941116"/>
            <a:ext cx="1295400" cy="488155"/>
          </a:xfrm>
          <a:prstGeom prst="rect">
            <a:avLst/>
          </a:prstGeom>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100" dirty="0">
                <a:gradFill>
                  <a:gsLst>
                    <a:gs pos="0">
                      <a:srgbClr val="000000"/>
                    </a:gs>
                    <a:gs pos="100000">
                      <a:srgbClr val="000000"/>
                    </a:gs>
                  </a:gsLst>
                  <a:lin ang="5400000" scaled="0"/>
                </a:gradFill>
              </a:rPr>
              <a:t>Application Profile Level Post-Install GCE</a:t>
            </a:r>
          </a:p>
        </p:txBody>
      </p:sp>
      <p:sp>
        <p:nvSpPr>
          <p:cNvPr id="8" name="Rectangle 7"/>
          <p:cNvSpPr/>
          <p:nvPr/>
        </p:nvSpPr>
        <p:spPr>
          <a:xfrm>
            <a:off x="4708442" y="2373785"/>
            <a:ext cx="1295400" cy="449015"/>
          </a:xfrm>
          <a:prstGeom prst="rect">
            <a:avLst/>
          </a:prstGeom>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100" dirty="0">
                <a:gradFill>
                  <a:gsLst>
                    <a:gs pos="0">
                      <a:srgbClr val="000000"/>
                    </a:gs>
                    <a:gs pos="100000">
                      <a:srgbClr val="000000"/>
                    </a:gs>
                  </a:gsLst>
                  <a:lin ang="5400000" scaled="0"/>
                </a:gradFill>
              </a:rPr>
              <a:t>Application Pre-Install GCE</a:t>
            </a:r>
          </a:p>
        </p:txBody>
      </p:sp>
      <p:sp>
        <p:nvSpPr>
          <p:cNvPr id="9" name="Rectangle 8"/>
          <p:cNvSpPr/>
          <p:nvPr/>
        </p:nvSpPr>
        <p:spPr>
          <a:xfrm>
            <a:off x="4708442" y="3952907"/>
            <a:ext cx="1295400" cy="456400"/>
          </a:xfrm>
          <a:prstGeom prst="rect">
            <a:avLst/>
          </a:prstGeom>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100" dirty="0">
                <a:gradFill>
                  <a:gsLst>
                    <a:gs pos="0">
                      <a:srgbClr val="000000"/>
                    </a:gs>
                    <a:gs pos="100000">
                      <a:srgbClr val="000000"/>
                    </a:gs>
                  </a:gsLst>
                  <a:lin ang="5400000" scaled="0"/>
                </a:gradFill>
              </a:rPr>
              <a:t>Application Post-Install GCE</a:t>
            </a:r>
          </a:p>
        </p:txBody>
      </p:sp>
      <p:sp>
        <p:nvSpPr>
          <p:cNvPr id="11" name="Rectangle 10"/>
          <p:cNvSpPr/>
          <p:nvPr/>
        </p:nvSpPr>
        <p:spPr>
          <a:xfrm>
            <a:off x="91366" y="815781"/>
            <a:ext cx="1295400" cy="502040"/>
          </a:xfrm>
          <a:prstGeom prst="rect">
            <a:avLst/>
          </a:prstGeom>
        </p:spPr>
        <p:style>
          <a:lnRef idx="1">
            <a:schemeClr val="accent2"/>
          </a:lnRef>
          <a:fillRef idx="3">
            <a:schemeClr val="accent2"/>
          </a:fillRef>
          <a:effectRef idx="2">
            <a:schemeClr val="accent2"/>
          </a:effectRef>
          <a:fontRef idx="minor">
            <a:schemeClr val="lt1"/>
          </a:fontRef>
        </p:style>
        <p:txBody>
          <a:bodyPr lIns="68586" tIns="34294" rIns="68586" bIns="34294" rtlCol="0" anchor="ctr"/>
          <a:lstStyle/>
          <a:p>
            <a:pPr algn="ctr"/>
            <a:r>
              <a:rPr lang="en-US" sz="1100" dirty="0"/>
              <a:t>Select Tier Based on Deployment Order</a:t>
            </a:r>
          </a:p>
        </p:txBody>
      </p:sp>
      <p:sp>
        <p:nvSpPr>
          <p:cNvPr id="13" name="Rectangle 12"/>
          <p:cNvSpPr/>
          <p:nvPr/>
        </p:nvSpPr>
        <p:spPr>
          <a:xfrm>
            <a:off x="1612354" y="833116"/>
            <a:ext cx="1295400" cy="476340"/>
          </a:xfrm>
          <a:prstGeom prst="rect">
            <a:avLst/>
          </a:prstGeom>
        </p:spPr>
        <p:style>
          <a:lnRef idx="1">
            <a:schemeClr val="accent2"/>
          </a:lnRef>
          <a:fillRef idx="3">
            <a:schemeClr val="accent2"/>
          </a:fillRef>
          <a:effectRef idx="2">
            <a:schemeClr val="accent2"/>
          </a:effectRef>
          <a:fontRef idx="minor">
            <a:schemeClr val="lt1"/>
          </a:fontRef>
        </p:style>
        <p:txBody>
          <a:bodyPr lIns="68586" tIns="34294" rIns="68586" bIns="34294" rtlCol="0" anchor="ctr"/>
          <a:lstStyle/>
          <a:p>
            <a:pPr algn="ctr"/>
            <a:r>
              <a:rPr lang="en-US" sz="1100" dirty="0"/>
              <a:t>Create New VM from Template</a:t>
            </a:r>
          </a:p>
        </p:txBody>
      </p:sp>
      <p:sp>
        <p:nvSpPr>
          <p:cNvPr id="14" name="Rectangle 13"/>
          <p:cNvSpPr/>
          <p:nvPr/>
        </p:nvSpPr>
        <p:spPr>
          <a:xfrm>
            <a:off x="1612354" y="4001306"/>
            <a:ext cx="1295400" cy="376530"/>
          </a:xfrm>
          <a:prstGeom prst="rect">
            <a:avLst/>
          </a:prstGeom>
        </p:spPr>
        <p:style>
          <a:lnRef idx="1">
            <a:schemeClr val="accent2"/>
          </a:lnRef>
          <a:fillRef idx="3">
            <a:schemeClr val="accent2"/>
          </a:fillRef>
          <a:effectRef idx="2">
            <a:schemeClr val="accent2"/>
          </a:effectRef>
          <a:fontRef idx="minor">
            <a:schemeClr val="lt1"/>
          </a:fontRef>
        </p:style>
        <p:txBody>
          <a:bodyPr lIns="68586" tIns="34294" rIns="68586" bIns="34294" rtlCol="0" anchor="ctr"/>
          <a:lstStyle/>
          <a:p>
            <a:pPr algn="ctr"/>
            <a:r>
              <a:rPr lang="en-US" sz="1100" dirty="0"/>
              <a:t>Add to Load Balancer</a:t>
            </a:r>
          </a:p>
        </p:txBody>
      </p:sp>
      <p:sp>
        <p:nvSpPr>
          <p:cNvPr id="16" name="Rectangle 15"/>
          <p:cNvSpPr/>
          <p:nvPr/>
        </p:nvSpPr>
        <p:spPr>
          <a:xfrm>
            <a:off x="4708442" y="3130520"/>
            <a:ext cx="1295400" cy="456400"/>
          </a:xfrm>
          <a:prstGeom prst="rect">
            <a:avLst/>
          </a:prstGeom>
        </p:spPr>
        <p:style>
          <a:lnRef idx="1">
            <a:schemeClr val="accent2"/>
          </a:lnRef>
          <a:fillRef idx="3">
            <a:schemeClr val="accent2"/>
          </a:fillRef>
          <a:effectRef idx="2">
            <a:schemeClr val="accent2"/>
          </a:effectRef>
          <a:fontRef idx="minor">
            <a:schemeClr val="lt1"/>
          </a:fontRef>
        </p:style>
        <p:txBody>
          <a:bodyPr lIns="68586" tIns="34294" rIns="68586" bIns="34294" rtlCol="0" anchor="ctr"/>
          <a:lstStyle/>
          <a:p>
            <a:pPr algn="ctr"/>
            <a:r>
              <a:rPr lang="en-US" sz="1100" dirty="0"/>
              <a:t>Install Application</a:t>
            </a:r>
          </a:p>
        </p:txBody>
      </p:sp>
      <p:cxnSp>
        <p:nvCxnSpPr>
          <p:cNvPr id="19" name="Straight Connector 18"/>
          <p:cNvCxnSpPr/>
          <p:nvPr/>
        </p:nvCxnSpPr>
        <p:spPr>
          <a:xfrm>
            <a:off x="1506244" y="38840"/>
            <a:ext cx="0" cy="5064156"/>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2998434" y="50492"/>
            <a:ext cx="0" cy="5064156"/>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4572000" y="57150"/>
            <a:ext cx="0" cy="5064156"/>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1567048" y="178665"/>
            <a:ext cx="1129877" cy="288539"/>
          </a:xfrm>
          <a:prstGeom prst="rect">
            <a:avLst/>
          </a:prstGeom>
          <a:noFill/>
        </p:spPr>
        <p:txBody>
          <a:bodyPr wrap="none" lIns="68586" tIns="34294" rIns="68586" bIns="34294" rtlCol="0">
            <a:spAutoFit/>
          </a:bodyPr>
          <a:lstStyle/>
          <a:p>
            <a:r>
              <a:rPr lang="en-US" dirty="0" smtClean="0"/>
              <a:t>Per Machine</a:t>
            </a:r>
          </a:p>
        </p:txBody>
      </p:sp>
      <p:sp>
        <p:nvSpPr>
          <p:cNvPr id="24" name="TextBox 23"/>
          <p:cNvSpPr txBox="1"/>
          <p:nvPr/>
        </p:nvSpPr>
        <p:spPr>
          <a:xfrm>
            <a:off x="3134834" y="180202"/>
            <a:ext cx="1192410" cy="288539"/>
          </a:xfrm>
          <a:prstGeom prst="rect">
            <a:avLst/>
          </a:prstGeom>
          <a:noFill/>
        </p:spPr>
        <p:txBody>
          <a:bodyPr wrap="none" lIns="68586" tIns="34294" rIns="68586" bIns="34294" rtlCol="0">
            <a:spAutoFit/>
          </a:bodyPr>
          <a:lstStyle/>
          <a:p>
            <a:r>
              <a:rPr lang="en-US" dirty="0" smtClean="0"/>
              <a:t>Per Guest OS</a:t>
            </a:r>
            <a:endParaRPr lang="en-US" dirty="0"/>
          </a:p>
        </p:txBody>
      </p:sp>
      <p:sp>
        <p:nvSpPr>
          <p:cNvPr id="25" name="TextBox 24"/>
          <p:cNvSpPr txBox="1"/>
          <p:nvPr/>
        </p:nvSpPr>
        <p:spPr>
          <a:xfrm>
            <a:off x="4708444" y="173775"/>
            <a:ext cx="1358364" cy="288539"/>
          </a:xfrm>
          <a:prstGeom prst="rect">
            <a:avLst/>
          </a:prstGeom>
          <a:noFill/>
        </p:spPr>
        <p:txBody>
          <a:bodyPr wrap="none" lIns="68586" tIns="34294" rIns="68586" bIns="34294" rtlCol="0">
            <a:spAutoFit/>
          </a:bodyPr>
          <a:lstStyle/>
          <a:p>
            <a:r>
              <a:rPr lang="en-US" dirty="0" smtClean="0"/>
              <a:t>Per Application</a:t>
            </a:r>
            <a:endParaRPr lang="en-US" dirty="0"/>
          </a:p>
        </p:txBody>
      </p:sp>
      <p:sp>
        <p:nvSpPr>
          <p:cNvPr id="27" name="Rectangle 26"/>
          <p:cNvSpPr/>
          <p:nvPr/>
        </p:nvSpPr>
        <p:spPr>
          <a:xfrm>
            <a:off x="7445595" y="3886202"/>
            <a:ext cx="1295400" cy="278953"/>
          </a:xfrm>
          <a:prstGeom prst="rect">
            <a:avLst/>
          </a:prstGeom>
        </p:spPr>
        <p:style>
          <a:lnRef idx="1">
            <a:schemeClr val="accent2"/>
          </a:lnRef>
          <a:fillRef idx="3">
            <a:schemeClr val="accent2"/>
          </a:fillRef>
          <a:effectRef idx="2">
            <a:schemeClr val="accent2"/>
          </a:effectRef>
          <a:fontRef idx="minor">
            <a:schemeClr val="lt1"/>
          </a:fontRef>
        </p:style>
        <p:txBody>
          <a:bodyPr lIns="68586" tIns="34294" rIns="68586" bIns="34294" rtlCol="0" anchor="ctr"/>
          <a:lstStyle/>
          <a:p>
            <a:pPr algn="ctr"/>
            <a:r>
              <a:rPr lang="en-US" sz="1100" dirty="0"/>
              <a:t>Built-In Step</a:t>
            </a:r>
          </a:p>
        </p:txBody>
      </p:sp>
      <p:sp>
        <p:nvSpPr>
          <p:cNvPr id="29" name="Rectangle 28"/>
          <p:cNvSpPr/>
          <p:nvPr/>
        </p:nvSpPr>
        <p:spPr>
          <a:xfrm>
            <a:off x="7453185" y="4276069"/>
            <a:ext cx="1295400" cy="298790"/>
          </a:xfrm>
          <a:prstGeom prst="rect">
            <a:avLst/>
          </a:prstGeom>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100" dirty="0">
                <a:gradFill>
                  <a:gsLst>
                    <a:gs pos="0">
                      <a:srgbClr val="000000"/>
                    </a:gs>
                    <a:gs pos="100000">
                      <a:srgbClr val="000000"/>
                    </a:gs>
                  </a:gsLst>
                  <a:lin ang="5400000" scaled="0"/>
                </a:gradFill>
              </a:rPr>
              <a:t>Generic Command Executes in Guest</a:t>
            </a:r>
          </a:p>
        </p:txBody>
      </p:sp>
      <p:cxnSp>
        <p:nvCxnSpPr>
          <p:cNvPr id="36" name="Straight Arrow Connector 35"/>
          <p:cNvCxnSpPr/>
          <p:nvPr/>
        </p:nvCxnSpPr>
        <p:spPr>
          <a:xfrm>
            <a:off x="1386766" y="1072903"/>
            <a:ext cx="225588"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13" idx="2"/>
            <a:endCxn id="49" idx="0"/>
          </p:cNvCxnSpPr>
          <p:nvPr/>
        </p:nvCxnSpPr>
        <p:spPr>
          <a:xfrm>
            <a:off x="2260054" y="1309456"/>
            <a:ext cx="0" cy="26034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a:stCxn id="6" idx="3"/>
            <a:endCxn id="8" idx="1"/>
          </p:cNvCxnSpPr>
          <p:nvPr/>
        </p:nvCxnSpPr>
        <p:spPr>
          <a:xfrm>
            <a:off x="4430234" y="2589228"/>
            <a:ext cx="278209" cy="906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stCxn id="8" idx="2"/>
            <a:endCxn id="16" idx="0"/>
          </p:cNvCxnSpPr>
          <p:nvPr/>
        </p:nvCxnSpPr>
        <p:spPr>
          <a:xfrm>
            <a:off x="5356142" y="2822799"/>
            <a:ext cx="0" cy="30772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a:stCxn id="16" idx="2"/>
            <a:endCxn id="9" idx="0"/>
          </p:cNvCxnSpPr>
          <p:nvPr/>
        </p:nvCxnSpPr>
        <p:spPr>
          <a:xfrm>
            <a:off x="5356142" y="3586920"/>
            <a:ext cx="0" cy="36598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a:stCxn id="9" idx="1"/>
            <a:endCxn id="7" idx="3"/>
          </p:cNvCxnSpPr>
          <p:nvPr/>
        </p:nvCxnSpPr>
        <p:spPr>
          <a:xfrm flipH="1">
            <a:off x="4464081" y="4181107"/>
            <a:ext cx="244362" cy="408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a:stCxn id="7" idx="1"/>
            <a:endCxn id="14" idx="3"/>
          </p:cNvCxnSpPr>
          <p:nvPr/>
        </p:nvCxnSpPr>
        <p:spPr>
          <a:xfrm flipH="1">
            <a:off x="2907755" y="4185194"/>
            <a:ext cx="260926" cy="4379"/>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a:stCxn id="14" idx="1"/>
            <a:endCxn id="41" idx="3"/>
          </p:cNvCxnSpPr>
          <p:nvPr/>
        </p:nvCxnSpPr>
        <p:spPr>
          <a:xfrm flipH="1" flipV="1">
            <a:off x="1386766" y="4187636"/>
            <a:ext cx="225588" cy="193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76" name="TextBox 75"/>
          <p:cNvSpPr txBox="1"/>
          <p:nvPr/>
        </p:nvSpPr>
        <p:spPr>
          <a:xfrm>
            <a:off x="307260" y="178665"/>
            <a:ext cx="1018134" cy="288539"/>
          </a:xfrm>
          <a:prstGeom prst="rect">
            <a:avLst/>
          </a:prstGeom>
          <a:noFill/>
        </p:spPr>
        <p:txBody>
          <a:bodyPr wrap="none" lIns="68586" tIns="34294" rIns="68586" bIns="34294" rtlCol="0">
            <a:spAutoFit/>
          </a:bodyPr>
          <a:lstStyle/>
          <a:p>
            <a:r>
              <a:rPr lang="en-US" dirty="0" smtClean="0"/>
              <a:t>Per Service</a:t>
            </a:r>
            <a:endParaRPr lang="en-US" dirty="0"/>
          </a:p>
        </p:txBody>
      </p:sp>
      <p:sp>
        <p:nvSpPr>
          <p:cNvPr id="81" name="Rectangle 80"/>
          <p:cNvSpPr/>
          <p:nvPr/>
        </p:nvSpPr>
        <p:spPr>
          <a:xfrm>
            <a:off x="7292340" y="3771900"/>
            <a:ext cx="1600200" cy="914400"/>
          </a:xfrm>
          <a:prstGeom prst="rect">
            <a:avLst/>
          </a:prstGeom>
          <a:noFill/>
          <a:ln w="6350">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endParaRPr lang="en-US"/>
          </a:p>
        </p:txBody>
      </p:sp>
      <p:sp>
        <p:nvSpPr>
          <p:cNvPr id="49" name="Rectangle 48"/>
          <p:cNvSpPr/>
          <p:nvPr/>
        </p:nvSpPr>
        <p:spPr>
          <a:xfrm>
            <a:off x="1612354" y="1569803"/>
            <a:ext cx="1295400" cy="476340"/>
          </a:xfrm>
          <a:prstGeom prst="rect">
            <a:avLst/>
          </a:prstGeom>
        </p:spPr>
        <p:style>
          <a:lnRef idx="1">
            <a:schemeClr val="accent2"/>
          </a:lnRef>
          <a:fillRef idx="3">
            <a:schemeClr val="accent2"/>
          </a:fillRef>
          <a:effectRef idx="2">
            <a:schemeClr val="accent2"/>
          </a:effectRef>
          <a:fontRef idx="minor">
            <a:schemeClr val="lt1"/>
          </a:fontRef>
        </p:style>
        <p:txBody>
          <a:bodyPr lIns="68586" tIns="34294" rIns="68586" bIns="34294" rtlCol="0" anchor="ctr"/>
          <a:lstStyle/>
          <a:p>
            <a:pPr algn="ctr"/>
            <a:r>
              <a:rPr lang="en-US" sz="1100" dirty="0"/>
              <a:t>Power On and Wait for VM</a:t>
            </a:r>
          </a:p>
        </p:txBody>
      </p:sp>
      <p:sp>
        <p:nvSpPr>
          <p:cNvPr id="53" name="Rectangle 52"/>
          <p:cNvSpPr/>
          <p:nvPr/>
        </p:nvSpPr>
        <p:spPr>
          <a:xfrm>
            <a:off x="3134833" y="1571581"/>
            <a:ext cx="1295400" cy="476340"/>
          </a:xfrm>
          <a:prstGeom prst="rect">
            <a:avLst/>
          </a:prstGeom>
        </p:spPr>
        <p:style>
          <a:lnRef idx="1">
            <a:schemeClr val="accent2"/>
          </a:lnRef>
          <a:fillRef idx="3">
            <a:schemeClr val="accent2"/>
          </a:fillRef>
          <a:effectRef idx="2">
            <a:schemeClr val="accent2"/>
          </a:effectRef>
          <a:fontRef idx="minor">
            <a:schemeClr val="lt1"/>
          </a:fontRef>
        </p:style>
        <p:txBody>
          <a:bodyPr lIns="68586" tIns="34294" rIns="68586" bIns="34294" rtlCol="0" anchor="ctr"/>
          <a:lstStyle/>
          <a:p>
            <a:pPr algn="ctr"/>
            <a:r>
              <a:rPr lang="en-US" sz="1100" dirty="0"/>
              <a:t>Install VMM guest agent</a:t>
            </a:r>
          </a:p>
        </p:txBody>
      </p:sp>
      <p:cxnSp>
        <p:nvCxnSpPr>
          <p:cNvPr id="55" name="Straight Arrow Connector 54"/>
          <p:cNvCxnSpPr>
            <a:stCxn id="49" idx="3"/>
            <a:endCxn id="53" idx="1"/>
          </p:cNvCxnSpPr>
          <p:nvPr/>
        </p:nvCxnSpPr>
        <p:spPr>
          <a:xfrm>
            <a:off x="2907756" y="1807974"/>
            <a:ext cx="227079" cy="177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a:stCxn id="53" idx="2"/>
            <a:endCxn id="6" idx="0"/>
          </p:cNvCxnSpPr>
          <p:nvPr/>
        </p:nvCxnSpPr>
        <p:spPr>
          <a:xfrm>
            <a:off x="3782533" y="2047922"/>
            <a:ext cx="0" cy="30313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41" name="Rectangle 40"/>
          <p:cNvSpPr/>
          <p:nvPr/>
        </p:nvSpPr>
        <p:spPr>
          <a:xfrm>
            <a:off x="91366" y="3999371"/>
            <a:ext cx="1295400" cy="376530"/>
          </a:xfrm>
          <a:prstGeom prst="rect">
            <a:avLst/>
          </a:prstGeom>
        </p:spPr>
        <p:style>
          <a:lnRef idx="1">
            <a:schemeClr val="accent2"/>
          </a:lnRef>
          <a:fillRef idx="3">
            <a:schemeClr val="accent2"/>
          </a:fillRef>
          <a:effectRef idx="2">
            <a:schemeClr val="accent2"/>
          </a:effectRef>
          <a:fontRef idx="minor">
            <a:schemeClr val="lt1"/>
          </a:fontRef>
        </p:style>
        <p:txBody>
          <a:bodyPr lIns="68586" tIns="34294" rIns="68586" bIns="34294" rtlCol="0" anchor="ctr"/>
          <a:lstStyle/>
          <a:p>
            <a:pPr algn="ctr"/>
            <a:r>
              <a:rPr lang="en-US" sz="1100" dirty="0"/>
              <a:t>Done</a:t>
            </a:r>
          </a:p>
        </p:txBody>
      </p:sp>
      <p:graphicFrame>
        <p:nvGraphicFramePr>
          <p:cNvPr id="34" name="Content Placeholder 3"/>
          <p:cNvGraphicFramePr>
            <a:graphicFrameLocks/>
          </p:cNvGraphicFramePr>
          <p:nvPr>
            <p:extLst>
              <p:ext uri="{D42A27DB-BD31-4B8C-83A1-F6EECF244321}">
                <p14:modId xmlns:p14="http://schemas.microsoft.com/office/powerpoint/2010/main" val="2565801530"/>
              </p:ext>
            </p:extLst>
          </p:nvPr>
        </p:nvGraphicFramePr>
        <p:xfrm>
          <a:off x="7170248" y="55986"/>
          <a:ext cx="1913880" cy="173507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5"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7"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9"/>
              </a:rPr>
              <a:t>www.rapidbbs.cn</a:t>
            </a:r>
            <a:endParaRPr lang="zh-CN" altLang="en-US" sz="1200" b="0">
              <a:latin typeface="Arial" charset="0"/>
              <a:ea typeface="ＭＳ Ｐゴシック" pitchFamily="34" charset="-128"/>
            </a:endParaRPr>
          </a:p>
        </p:txBody>
      </p:sp>
      <p:pic>
        <p:nvPicPr>
          <p:cNvPr id="38" name="Picture 2">
            <a:hlinkClick r:id="rId9"/>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1"/>
    </p:custDataLst>
    <p:extLst>
      <p:ext uri="{BB962C8B-B14F-4D97-AF65-F5344CB8AC3E}">
        <p14:creationId xmlns:p14="http://schemas.microsoft.com/office/powerpoint/2010/main" val="19921722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6"/>
                                        </p:tgtEl>
                                        <p:attrNameLst>
                                          <p:attrName>style.visibility</p:attrName>
                                        </p:attrNameLst>
                                      </p:cBhvr>
                                      <p:to>
                                        <p:strVal val="visible"/>
                                      </p:to>
                                    </p:set>
                                    <p:animEffect transition="in" filter="fade">
                                      <p:cBhvr>
                                        <p:cTn id="12" dur="500"/>
                                        <p:tgtEl>
                                          <p:spTgt spid="36"/>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par>
                                <p:cTn id="16" presetID="10" presetClass="entr" presetSubtype="0" fill="hold" nodeType="withEffect">
                                  <p:stCondLst>
                                    <p:cond delay="0"/>
                                  </p:stCondLst>
                                  <p:childTnLst>
                                    <p:set>
                                      <p:cBhvr>
                                        <p:cTn id="17" dur="1" fill="hold">
                                          <p:stCondLst>
                                            <p:cond delay="0"/>
                                          </p:stCondLst>
                                        </p:cTn>
                                        <p:tgtEl>
                                          <p:spTgt spid="40"/>
                                        </p:tgtEl>
                                        <p:attrNameLst>
                                          <p:attrName>style.visibility</p:attrName>
                                        </p:attrNameLst>
                                      </p:cBhvr>
                                      <p:to>
                                        <p:strVal val="visible"/>
                                      </p:to>
                                    </p:set>
                                    <p:animEffect transition="in" filter="fade">
                                      <p:cBhvr>
                                        <p:cTn id="18" dur="500"/>
                                        <p:tgtEl>
                                          <p:spTgt spid="40"/>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49"/>
                                        </p:tgtEl>
                                        <p:attrNameLst>
                                          <p:attrName>style.visibility</p:attrName>
                                        </p:attrNameLst>
                                      </p:cBhvr>
                                      <p:to>
                                        <p:strVal val="visible"/>
                                      </p:to>
                                    </p:set>
                                    <p:animEffect transition="in" filter="fade">
                                      <p:cBhvr>
                                        <p:cTn id="21" dur="500"/>
                                        <p:tgtEl>
                                          <p:spTgt spid="49"/>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55"/>
                                        </p:tgtEl>
                                        <p:attrNameLst>
                                          <p:attrName>style.visibility</p:attrName>
                                        </p:attrNameLst>
                                      </p:cBhvr>
                                      <p:to>
                                        <p:strVal val="visible"/>
                                      </p:to>
                                    </p:set>
                                    <p:animEffect transition="in" filter="fade">
                                      <p:cBhvr>
                                        <p:cTn id="26" dur="500"/>
                                        <p:tgtEl>
                                          <p:spTgt spid="55"/>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53"/>
                                        </p:tgtEl>
                                        <p:attrNameLst>
                                          <p:attrName>style.visibility</p:attrName>
                                        </p:attrNameLst>
                                      </p:cBhvr>
                                      <p:to>
                                        <p:strVal val="visible"/>
                                      </p:to>
                                    </p:set>
                                    <p:animEffect transition="in" filter="fade">
                                      <p:cBhvr>
                                        <p:cTn id="29" dur="500"/>
                                        <p:tgtEl>
                                          <p:spTgt spid="53"/>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56"/>
                                        </p:tgtEl>
                                        <p:attrNameLst>
                                          <p:attrName>style.visibility</p:attrName>
                                        </p:attrNameLst>
                                      </p:cBhvr>
                                      <p:to>
                                        <p:strVal val="visible"/>
                                      </p:to>
                                    </p:set>
                                    <p:animEffect transition="in" filter="fade">
                                      <p:cBhvr>
                                        <p:cTn id="34" dur="500"/>
                                        <p:tgtEl>
                                          <p:spTgt spid="56"/>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6"/>
                                        </p:tgtEl>
                                        <p:attrNameLst>
                                          <p:attrName>style.visibility</p:attrName>
                                        </p:attrNameLst>
                                      </p:cBhvr>
                                      <p:to>
                                        <p:strVal val="visible"/>
                                      </p:to>
                                    </p:set>
                                    <p:animEffect transition="in" filter="fade">
                                      <p:cBhvr>
                                        <p:cTn id="37" dur="500"/>
                                        <p:tgtEl>
                                          <p:spTgt spid="6"/>
                                        </p:tgtEl>
                                      </p:cBhvr>
                                    </p:animEffect>
                                  </p:childTnLst>
                                </p:cTn>
                              </p:par>
                              <p:par>
                                <p:cTn id="38" presetID="10" presetClass="entr" presetSubtype="0" fill="hold" nodeType="withEffect">
                                  <p:stCondLst>
                                    <p:cond delay="0"/>
                                  </p:stCondLst>
                                  <p:childTnLst>
                                    <p:set>
                                      <p:cBhvr>
                                        <p:cTn id="39" dur="1" fill="hold">
                                          <p:stCondLst>
                                            <p:cond delay="0"/>
                                          </p:stCondLst>
                                        </p:cTn>
                                        <p:tgtEl>
                                          <p:spTgt spid="42"/>
                                        </p:tgtEl>
                                        <p:attrNameLst>
                                          <p:attrName>style.visibility</p:attrName>
                                        </p:attrNameLst>
                                      </p:cBhvr>
                                      <p:to>
                                        <p:strVal val="visible"/>
                                      </p:to>
                                    </p:set>
                                    <p:animEffect transition="in" filter="fade">
                                      <p:cBhvr>
                                        <p:cTn id="40" dur="500"/>
                                        <p:tgtEl>
                                          <p:spTgt spid="42"/>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8"/>
                                        </p:tgtEl>
                                        <p:attrNameLst>
                                          <p:attrName>style.visibility</p:attrName>
                                        </p:attrNameLst>
                                      </p:cBhvr>
                                      <p:to>
                                        <p:strVal val="visible"/>
                                      </p:to>
                                    </p:set>
                                    <p:animEffect transition="in" filter="fade">
                                      <p:cBhvr>
                                        <p:cTn id="43" dur="500"/>
                                        <p:tgtEl>
                                          <p:spTgt spid="8"/>
                                        </p:tgtEl>
                                      </p:cBhvr>
                                    </p:animEffect>
                                  </p:childTnLst>
                                </p:cTn>
                              </p:par>
                              <p:par>
                                <p:cTn id="44" presetID="10" presetClass="entr" presetSubtype="0" fill="hold" nodeType="withEffect">
                                  <p:stCondLst>
                                    <p:cond delay="0"/>
                                  </p:stCondLst>
                                  <p:childTnLst>
                                    <p:set>
                                      <p:cBhvr>
                                        <p:cTn id="45" dur="1" fill="hold">
                                          <p:stCondLst>
                                            <p:cond delay="0"/>
                                          </p:stCondLst>
                                        </p:cTn>
                                        <p:tgtEl>
                                          <p:spTgt spid="44"/>
                                        </p:tgtEl>
                                        <p:attrNameLst>
                                          <p:attrName>style.visibility</p:attrName>
                                        </p:attrNameLst>
                                      </p:cBhvr>
                                      <p:to>
                                        <p:strVal val="visible"/>
                                      </p:to>
                                    </p:set>
                                    <p:animEffect transition="in" filter="fade">
                                      <p:cBhvr>
                                        <p:cTn id="46" dur="500"/>
                                        <p:tgtEl>
                                          <p:spTgt spid="44"/>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500"/>
                                        <p:tgtEl>
                                          <p:spTgt spid="16"/>
                                        </p:tgtEl>
                                      </p:cBhvr>
                                    </p:animEffect>
                                  </p:childTnLst>
                                </p:cTn>
                              </p:par>
                              <p:par>
                                <p:cTn id="50" presetID="10" presetClass="entr" presetSubtype="0" fill="hold" nodeType="withEffect">
                                  <p:stCondLst>
                                    <p:cond delay="0"/>
                                  </p:stCondLst>
                                  <p:childTnLst>
                                    <p:set>
                                      <p:cBhvr>
                                        <p:cTn id="51" dur="1" fill="hold">
                                          <p:stCondLst>
                                            <p:cond delay="0"/>
                                          </p:stCondLst>
                                        </p:cTn>
                                        <p:tgtEl>
                                          <p:spTgt spid="48"/>
                                        </p:tgtEl>
                                        <p:attrNameLst>
                                          <p:attrName>style.visibility</p:attrName>
                                        </p:attrNameLst>
                                      </p:cBhvr>
                                      <p:to>
                                        <p:strVal val="visible"/>
                                      </p:to>
                                    </p:set>
                                    <p:animEffect transition="in" filter="fade">
                                      <p:cBhvr>
                                        <p:cTn id="52" dur="500"/>
                                        <p:tgtEl>
                                          <p:spTgt spid="48"/>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9"/>
                                        </p:tgtEl>
                                        <p:attrNameLst>
                                          <p:attrName>style.visibility</p:attrName>
                                        </p:attrNameLst>
                                      </p:cBhvr>
                                      <p:to>
                                        <p:strVal val="visible"/>
                                      </p:to>
                                    </p:set>
                                    <p:animEffect transition="in" filter="fade">
                                      <p:cBhvr>
                                        <p:cTn id="55" dur="500"/>
                                        <p:tgtEl>
                                          <p:spTgt spid="9"/>
                                        </p:tgtEl>
                                      </p:cBhvr>
                                    </p:animEffect>
                                  </p:childTnLst>
                                </p:cTn>
                              </p:par>
                              <p:par>
                                <p:cTn id="56" presetID="10" presetClass="entr" presetSubtype="0" fill="hold" nodeType="withEffect">
                                  <p:stCondLst>
                                    <p:cond delay="0"/>
                                  </p:stCondLst>
                                  <p:childTnLst>
                                    <p:set>
                                      <p:cBhvr>
                                        <p:cTn id="57" dur="1" fill="hold">
                                          <p:stCondLst>
                                            <p:cond delay="0"/>
                                          </p:stCondLst>
                                        </p:cTn>
                                        <p:tgtEl>
                                          <p:spTgt spid="52"/>
                                        </p:tgtEl>
                                        <p:attrNameLst>
                                          <p:attrName>style.visibility</p:attrName>
                                        </p:attrNameLst>
                                      </p:cBhvr>
                                      <p:to>
                                        <p:strVal val="visible"/>
                                      </p:to>
                                    </p:set>
                                    <p:animEffect transition="in" filter="fade">
                                      <p:cBhvr>
                                        <p:cTn id="58" dur="500"/>
                                        <p:tgtEl>
                                          <p:spTgt spid="52"/>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7"/>
                                        </p:tgtEl>
                                        <p:attrNameLst>
                                          <p:attrName>style.visibility</p:attrName>
                                        </p:attrNameLst>
                                      </p:cBhvr>
                                      <p:to>
                                        <p:strVal val="visible"/>
                                      </p:to>
                                    </p:set>
                                    <p:animEffect transition="in" filter="fade">
                                      <p:cBhvr>
                                        <p:cTn id="61" dur="500"/>
                                        <p:tgtEl>
                                          <p:spTgt spid="7"/>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nodeType="clickEffect">
                                  <p:stCondLst>
                                    <p:cond delay="0"/>
                                  </p:stCondLst>
                                  <p:childTnLst>
                                    <p:set>
                                      <p:cBhvr>
                                        <p:cTn id="65" dur="1" fill="hold">
                                          <p:stCondLst>
                                            <p:cond delay="0"/>
                                          </p:stCondLst>
                                        </p:cTn>
                                        <p:tgtEl>
                                          <p:spTgt spid="58"/>
                                        </p:tgtEl>
                                        <p:attrNameLst>
                                          <p:attrName>style.visibility</p:attrName>
                                        </p:attrNameLst>
                                      </p:cBhvr>
                                      <p:to>
                                        <p:strVal val="visible"/>
                                      </p:to>
                                    </p:set>
                                    <p:animEffect transition="in" filter="fade">
                                      <p:cBhvr>
                                        <p:cTn id="66" dur="500"/>
                                        <p:tgtEl>
                                          <p:spTgt spid="58"/>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14"/>
                                        </p:tgtEl>
                                        <p:attrNameLst>
                                          <p:attrName>style.visibility</p:attrName>
                                        </p:attrNameLst>
                                      </p:cBhvr>
                                      <p:to>
                                        <p:strVal val="visible"/>
                                      </p:to>
                                    </p:set>
                                    <p:animEffect transition="in" filter="fade">
                                      <p:cBhvr>
                                        <p:cTn id="69" dur="500"/>
                                        <p:tgtEl>
                                          <p:spTgt spid="14"/>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nodeType="clickEffect">
                                  <p:stCondLst>
                                    <p:cond delay="0"/>
                                  </p:stCondLst>
                                  <p:childTnLst>
                                    <p:set>
                                      <p:cBhvr>
                                        <p:cTn id="73" dur="1" fill="hold">
                                          <p:stCondLst>
                                            <p:cond delay="0"/>
                                          </p:stCondLst>
                                        </p:cTn>
                                        <p:tgtEl>
                                          <p:spTgt spid="64"/>
                                        </p:tgtEl>
                                        <p:attrNameLst>
                                          <p:attrName>style.visibility</p:attrName>
                                        </p:attrNameLst>
                                      </p:cBhvr>
                                      <p:to>
                                        <p:strVal val="visible"/>
                                      </p:to>
                                    </p:set>
                                    <p:animEffect transition="in" filter="fade">
                                      <p:cBhvr>
                                        <p:cTn id="74" dur="500"/>
                                        <p:tgtEl>
                                          <p:spTgt spid="64"/>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41"/>
                                        </p:tgtEl>
                                        <p:attrNameLst>
                                          <p:attrName>style.visibility</p:attrName>
                                        </p:attrNameLst>
                                      </p:cBhvr>
                                      <p:to>
                                        <p:strVal val="visible"/>
                                      </p:to>
                                    </p:set>
                                    <p:animEffect transition="in" filter="fade">
                                      <p:cBhvr>
                                        <p:cTn id="77"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1" grpId="0" animBg="1"/>
      <p:bldP spid="13" grpId="0" animBg="1"/>
      <p:bldP spid="14" grpId="0" animBg="1"/>
      <p:bldP spid="16" grpId="0" animBg="1"/>
      <p:bldP spid="49" grpId="0" animBg="1"/>
      <p:bldP spid="53" grpId="0" animBg="1"/>
      <p:bldP spid="41" grpId="0" animBg="1"/>
    </p:bldLst>
  </p:timing>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4708442" y="1268885"/>
            <a:ext cx="1295400" cy="449015"/>
          </a:xfrm>
          <a:prstGeom prst="rect">
            <a:avLst/>
          </a:prstGeom>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100" dirty="0">
                <a:gradFill>
                  <a:gsLst>
                    <a:gs pos="0">
                      <a:srgbClr val="000000"/>
                    </a:gs>
                    <a:gs pos="100000">
                      <a:srgbClr val="000000"/>
                    </a:gs>
                  </a:gsLst>
                  <a:lin ang="5400000" scaled="0"/>
                </a:gradFill>
              </a:rPr>
              <a:t>Application Pre-Service GCE</a:t>
            </a:r>
          </a:p>
        </p:txBody>
      </p:sp>
      <p:sp>
        <p:nvSpPr>
          <p:cNvPr id="9" name="Rectangle 8"/>
          <p:cNvSpPr/>
          <p:nvPr/>
        </p:nvSpPr>
        <p:spPr>
          <a:xfrm>
            <a:off x="4708442" y="2919399"/>
            <a:ext cx="1295400" cy="456400"/>
          </a:xfrm>
          <a:prstGeom prst="rect">
            <a:avLst/>
          </a:prstGeom>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100" dirty="0">
                <a:gradFill>
                  <a:gsLst>
                    <a:gs pos="0">
                      <a:srgbClr val="000000"/>
                    </a:gs>
                    <a:gs pos="100000">
                      <a:srgbClr val="000000"/>
                    </a:gs>
                  </a:gsLst>
                  <a:lin ang="5400000" scaled="0"/>
                </a:gradFill>
              </a:rPr>
              <a:t>Application Post-Service GCE</a:t>
            </a:r>
          </a:p>
        </p:txBody>
      </p:sp>
      <p:sp>
        <p:nvSpPr>
          <p:cNvPr id="10" name="Rectangle 9"/>
          <p:cNvSpPr/>
          <p:nvPr/>
        </p:nvSpPr>
        <p:spPr>
          <a:xfrm>
            <a:off x="6172200" y="2919399"/>
            <a:ext cx="1295400" cy="456400"/>
          </a:xfrm>
          <a:prstGeom prst="rect">
            <a:avLst/>
          </a:prstGeom>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100" dirty="0">
                <a:gradFill>
                  <a:gsLst>
                    <a:gs pos="0">
                      <a:srgbClr val="000000"/>
                    </a:gs>
                    <a:gs pos="100000">
                      <a:srgbClr val="000000"/>
                    </a:gs>
                  </a:gsLst>
                  <a:lin ang="5400000" scaled="0"/>
                </a:gradFill>
              </a:rPr>
              <a:t>Application Post-Uninstall GCE</a:t>
            </a:r>
          </a:p>
        </p:txBody>
      </p:sp>
      <p:sp>
        <p:nvSpPr>
          <p:cNvPr id="11" name="Rectangle 10"/>
          <p:cNvSpPr/>
          <p:nvPr/>
        </p:nvSpPr>
        <p:spPr>
          <a:xfrm>
            <a:off x="91366" y="598650"/>
            <a:ext cx="1295400" cy="377190"/>
          </a:xfrm>
          <a:prstGeom prst="rect">
            <a:avLst/>
          </a:prstGeom>
        </p:spPr>
        <p:style>
          <a:lnRef idx="1">
            <a:schemeClr val="accent2"/>
          </a:lnRef>
          <a:fillRef idx="3">
            <a:schemeClr val="accent2"/>
          </a:fillRef>
          <a:effectRef idx="2">
            <a:schemeClr val="accent2"/>
          </a:effectRef>
          <a:fontRef idx="minor">
            <a:schemeClr val="lt1"/>
          </a:fontRef>
        </p:style>
        <p:txBody>
          <a:bodyPr lIns="68586" tIns="34294" rIns="68586" bIns="34294" rtlCol="0" anchor="ctr"/>
          <a:lstStyle/>
          <a:p>
            <a:pPr algn="ctr"/>
            <a:r>
              <a:rPr lang="en-US" sz="1100" dirty="0"/>
              <a:t>Select Tier Based on Servicing Order</a:t>
            </a:r>
          </a:p>
        </p:txBody>
      </p:sp>
      <p:sp>
        <p:nvSpPr>
          <p:cNvPr id="12" name="Rectangle 11"/>
          <p:cNvSpPr/>
          <p:nvPr/>
        </p:nvSpPr>
        <p:spPr>
          <a:xfrm>
            <a:off x="91366" y="1260434"/>
            <a:ext cx="1295400" cy="486441"/>
          </a:xfrm>
          <a:prstGeom prst="rect">
            <a:avLst/>
          </a:prstGeom>
        </p:spPr>
        <p:style>
          <a:lnRef idx="1">
            <a:schemeClr val="accent2"/>
          </a:lnRef>
          <a:fillRef idx="3">
            <a:schemeClr val="accent2"/>
          </a:fillRef>
          <a:effectRef idx="2">
            <a:schemeClr val="accent2"/>
          </a:effectRef>
          <a:fontRef idx="minor">
            <a:schemeClr val="lt1"/>
          </a:fontRef>
        </p:style>
        <p:txBody>
          <a:bodyPr lIns="68586" tIns="34294" rIns="68586" bIns="34294" rtlCol="0" anchor="ctr"/>
          <a:lstStyle/>
          <a:p>
            <a:pPr algn="ctr"/>
            <a:r>
              <a:rPr lang="en-US" sz="1100" dirty="0"/>
              <a:t>Select Machine Based on Upgrade Domain</a:t>
            </a:r>
          </a:p>
        </p:txBody>
      </p:sp>
      <p:sp>
        <p:nvSpPr>
          <p:cNvPr id="13" name="Rectangle 12"/>
          <p:cNvSpPr/>
          <p:nvPr/>
        </p:nvSpPr>
        <p:spPr>
          <a:xfrm>
            <a:off x="1612354" y="1314452"/>
            <a:ext cx="1295400" cy="357881"/>
          </a:xfrm>
          <a:prstGeom prst="rect">
            <a:avLst/>
          </a:prstGeom>
        </p:spPr>
        <p:style>
          <a:lnRef idx="1">
            <a:schemeClr val="accent2"/>
          </a:lnRef>
          <a:fillRef idx="3">
            <a:schemeClr val="accent2"/>
          </a:fillRef>
          <a:effectRef idx="2">
            <a:schemeClr val="accent2"/>
          </a:effectRef>
          <a:fontRef idx="minor">
            <a:schemeClr val="lt1"/>
          </a:fontRef>
        </p:style>
        <p:txBody>
          <a:bodyPr lIns="68586" tIns="34294" rIns="68586" bIns="34294" rtlCol="0" anchor="ctr"/>
          <a:lstStyle/>
          <a:p>
            <a:pPr algn="ctr"/>
            <a:r>
              <a:rPr lang="en-US" sz="1100" dirty="0"/>
              <a:t>Remove from Load Balancer</a:t>
            </a:r>
          </a:p>
        </p:txBody>
      </p:sp>
      <p:sp>
        <p:nvSpPr>
          <p:cNvPr id="14" name="Rectangle 13"/>
          <p:cNvSpPr/>
          <p:nvPr/>
        </p:nvSpPr>
        <p:spPr>
          <a:xfrm>
            <a:off x="1612354" y="2981773"/>
            <a:ext cx="1295400" cy="342300"/>
          </a:xfrm>
          <a:prstGeom prst="rect">
            <a:avLst/>
          </a:prstGeom>
        </p:spPr>
        <p:style>
          <a:lnRef idx="1">
            <a:schemeClr val="accent2"/>
          </a:lnRef>
          <a:fillRef idx="3">
            <a:schemeClr val="accent2"/>
          </a:fillRef>
          <a:effectRef idx="2">
            <a:schemeClr val="accent2"/>
          </a:effectRef>
          <a:fontRef idx="minor">
            <a:schemeClr val="lt1"/>
          </a:fontRef>
        </p:style>
        <p:txBody>
          <a:bodyPr lIns="68586" tIns="34294" rIns="68586" bIns="34294" rtlCol="0" anchor="ctr"/>
          <a:lstStyle/>
          <a:p>
            <a:pPr algn="ctr"/>
            <a:r>
              <a:rPr lang="en-US" sz="1100" dirty="0"/>
              <a:t>Add to Load Balancer</a:t>
            </a:r>
          </a:p>
        </p:txBody>
      </p:sp>
      <p:sp>
        <p:nvSpPr>
          <p:cNvPr id="16" name="Rectangle 15"/>
          <p:cNvSpPr/>
          <p:nvPr/>
        </p:nvSpPr>
        <p:spPr>
          <a:xfrm>
            <a:off x="4708442" y="2077962"/>
            <a:ext cx="1295400" cy="456400"/>
          </a:xfrm>
          <a:prstGeom prst="rect">
            <a:avLst/>
          </a:prstGeom>
        </p:spPr>
        <p:style>
          <a:lnRef idx="1">
            <a:schemeClr val="accent2"/>
          </a:lnRef>
          <a:fillRef idx="3">
            <a:schemeClr val="accent2"/>
          </a:fillRef>
          <a:effectRef idx="2">
            <a:schemeClr val="accent2"/>
          </a:effectRef>
          <a:fontRef idx="minor">
            <a:schemeClr val="lt1"/>
          </a:fontRef>
        </p:style>
        <p:txBody>
          <a:bodyPr lIns="68586" tIns="34294" rIns="68586" bIns="34294" rtlCol="0" anchor="ctr"/>
          <a:lstStyle/>
          <a:p>
            <a:pPr algn="ctr"/>
            <a:r>
              <a:rPr lang="en-US" sz="1100" dirty="0"/>
              <a:t>Apply Application Level Changes</a:t>
            </a:r>
          </a:p>
        </p:txBody>
      </p:sp>
      <p:sp>
        <p:nvSpPr>
          <p:cNvPr id="17" name="Rectangle 16"/>
          <p:cNvSpPr/>
          <p:nvPr/>
        </p:nvSpPr>
        <p:spPr>
          <a:xfrm>
            <a:off x="6172200" y="2077962"/>
            <a:ext cx="1295400" cy="456400"/>
          </a:xfrm>
          <a:prstGeom prst="rect">
            <a:avLst/>
          </a:prstGeom>
        </p:spPr>
        <p:style>
          <a:lnRef idx="1">
            <a:schemeClr val="accent2"/>
          </a:lnRef>
          <a:fillRef idx="3">
            <a:schemeClr val="accent2"/>
          </a:fillRef>
          <a:effectRef idx="2">
            <a:schemeClr val="accent2"/>
          </a:effectRef>
          <a:fontRef idx="minor">
            <a:schemeClr val="lt1"/>
          </a:fontRef>
        </p:style>
        <p:txBody>
          <a:bodyPr lIns="68586" tIns="34294" rIns="68586" bIns="34294" rtlCol="0" anchor="ctr"/>
          <a:lstStyle/>
          <a:p>
            <a:pPr algn="ctr"/>
            <a:r>
              <a:rPr lang="en-US" sz="1100" dirty="0"/>
              <a:t>Uninstall Application</a:t>
            </a:r>
          </a:p>
        </p:txBody>
      </p:sp>
      <p:cxnSp>
        <p:nvCxnSpPr>
          <p:cNvPr id="19" name="Straight Connector 18"/>
          <p:cNvCxnSpPr/>
          <p:nvPr/>
        </p:nvCxnSpPr>
        <p:spPr>
          <a:xfrm>
            <a:off x="1506244" y="38840"/>
            <a:ext cx="0" cy="5064156"/>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2998434" y="50492"/>
            <a:ext cx="0" cy="5064156"/>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4572000" y="57150"/>
            <a:ext cx="0" cy="5064156"/>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1619813" y="178665"/>
            <a:ext cx="1129877" cy="288539"/>
          </a:xfrm>
          <a:prstGeom prst="rect">
            <a:avLst/>
          </a:prstGeom>
          <a:noFill/>
        </p:spPr>
        <p:txBody>
          <a:bodyPr wrap="none" lIns="68586" tIns="34294" rIns="68586" bIns="34294" rtlCol="0">
            <a:spAutoFit/>
          </a:bodyPr>
          <a:lstStyle/>
          <a:p>
            <a:r>
              <a:rPr lang="en-US" dirty="0" smtClean="0"/>
              <a:t>Per Machine</a:t>
            </a:r>
          </a:p>
        </p:txBody>
      </p:sp>
      <p:sp>
        <p:nvSpPr>
          <p:cNvPr id="24" name="TextBox 23"/>
          <p:cNvSpPr txBox="1"/>
          <p:nvPr/>
        </p:nvSpPr>
        <p:spPr>
          <a:xfrm>
            <a:off x="3134834" y="180202"/>
            <a:ext cx="1192410" cy="288539"/>
          </a:xfrm>
          <a:prstGeom prst="rect">
            <a:avLst/>
          </a:prstGeom>
          <a:noFill/>
        </p:spPr>
        <p:txBody>
          <a:bodyPr wrap="none" lIns="68586" tIns="34294" rIns="68586" bIns="34294" rtlCol="0">
            <a:spAutoFit/>
          </a:bodyPr>
          <a:lstStyle/>
          <a:p>
            <a:r>
              <a:rPr lang="en-US" dirty="0" smtClean="0"/>
              <a:t>Per Guest OS</a:t>
            </a:r>
            <a:endParaRPr lang="en-US" dirty="0"/>
          </a:p>
        </p:txBody>
      </p:sp>
      <p:sp>
        <p:nvSpPr>
          <p:cNvPr id="25" name="TextBox 24"/>
          <p:cNvSpPr txBox="1"/>
          <p:nvPr/>
        </p:nvSpPr>
        <p:spPr>
          <a:xfrm>
            <a:off x="4708442" y="172006"/>
            <a:ext cx="1358364" cy="288539"/>
          </a:xfrm>
          <a:prstGeom prst="rect">
            <a:avLst/>
          </a:prstGeom>
          <a:noFill/>
        </p:spPr>
        <p:txBody>
          <a:bodyPr wrap="none" lIns="68586" tIns="34294" rIns="68586" bIns="34294" rtlCol="0">
            <a:spAutoFit/>
          </a:bodyPr>
          <a:lstStyle/>
          <a:p>
            <a:r>
              <a:rPr lang="en-US" dirty="0" smtClean="0"/>
              <a:t>Per Application</a:t>
            </a:r>
            <a:endParaRPr lang="en-US" dirty="0"/>
          </a:p>
        </p:txBody>
      </p:sp>
      <p:sp>
        <p:nvSpPr>
          <p:cNvPr id="27" name="Rectangle 26"/>
          <p:cNvSpPr/>
          <p:nvPr/>
        </p:nvSpPr>
        <p:spPr>
          <a:xfrm>
            <a:off x="7398335" y="4026349"/>
            <a:ext cx="1295400" cy="278953"/>
          </a:xfrm>
          <a:prstGeom prst="rect">
            <a:avLst/>
          </a:prstGeom>
        </p:spPr>
        <p:style>
          <a:lnRef idx="1">
            <a:schemeClr val="accent2"/>
          </a:lnRef>
          <a:fillRef idx="3">
            <a:schemeClr val="accent2"/>
          </a:fillRef>
          <a:effectRef idx="2">
            <a:schemeClr val="accent2"/>
          </a:effectRef>
          <a:fontRef idx="minor">
            <a:schemeClr val="lt1"/>
          </a:fontRef>
        </p:style>
        <p:txBody>
          <a:bodyPr lIns="68586" tIns="34294" rIns="68586" bIns="34294" rtlCol="0" anchor="ctr"/>
          <a:lstStyle/>
          <a:p>
            <a:pPr algn="ctr"/>
            <a:r>
              <a:rPr lang="en-US" sz="1100" dirty="0"/>
              <a:t>Built-In Step</a:t>
            </a:r>
          </a:p>
        </p:txBody>
      </p:sp>
      <p:sp>
        <p:nvSpPr>
          <p:cNvPr id="29" name="Rectangle 28"/>
          <p:cNvSpPr/>
          <p:nvPr/>
        </p:nvSpPr>
        <p:spPr>
          <a:xfrm>
            <a:off x="7420340" y="4414186"/>
            <a:ext cx="1295400" cy="328670"/>
          </a:xfrm>
          <a:prstGeom prst="rect">
            <a:avLst/>
          </a:prstGeom>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100" dirty="0">
                <a:gradFill>
                  <a:gsLst>
                    <a:gs pos="0">
                      <a:srgbClr val="000000"/>
                    </a:gs>
                    <a:gs pos="100000">
                      <a:srgbClr val="000000"/>
                    </a:gs>
                  </a:gsLst>
                  <a:lin ang="5400000" scaled="0"/>
                </a:gradFill>
              </a:rPr>
              <a:t>Generic Command Executes in Guest</a:t>
            </a:r>
          </a:p>
        </p:txBody>
      </p:sp>
      <p:cxnSp>
        <p:nvCxnSpPr>
          <p:cNvPr id="33" name="Straight Arrow Connector 32"/>
          <p:cNvCxnSpPr>
            <a:stCxn id="11" idx="2"/>
            <a:endCxn id="12" idx="0"/>
          </p:cNvCxnSpPr>
          <p:nvPr/>
        </p:nvCxnSpPr>
        <p:spPr>
          <a:xfrm>
            <a:off x="739066" y="975841"/>
            <a:ext cx="0" cy="284594"/>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a:stCxn id="12" idx="3"/>
          </p:cNvCxnSpPr>
          <p:nvPr/>
        </p:nvCxnSpPr>
        <p:spPr>
          <a:xfrm>
            <a:off x="1386766" y="1503655"/>
            <a:ext cx="225588" cy="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13" idx="3"/>
            <a:endCxn id="8" idx="1"/>
          </p:cNvCxnSpPr>
          <p:nvPr/>
        </p:nvCxnSpPr>
        <p:spPr>
          <a:xfrm>
            <a:off x="2907754" y="1493392"/>
            <a:ext cx="1800688"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stCxn id="8" idx="2"/>
            <a:endCxn id="16" idx="0"/>
          </p:cNvCxnSpPr>
          <p:nvPr/>
        </p:nvCxnSpPr>
        <p:spPr>
          <a:xfrm>
            <a:off x="5356142" y="1717900"/>
            <a:ext cx="0" cy="36006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6" name="Elbow Connector 45"/>
          <p:cNvCxnSpPr>
            <a:stCxn id="8" idx="3"/>
            <a:endCxn id="41" idx="1"/>
          </p:cNvCxnSpPr>
          <p:nvPr/>
        </p:nvCxnSpPr>
        <p:spPr>
          <a:xfrm flipV="1">
            <a:off x="6003842" y="1490700"/>
            <a:ext cx="168358" cy="2692"/>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a:stCxn id="16" idx="2"/>
            <a:endCxn id="9" idx="0"/>
          </p:cNvCxnSpPr>
          <p:nvPr/>
        </p:nvCxnSpPr>
        <p:spPr>
          <a:xfrm>
            <a:off x="5356142" y="2534362"/>
            <a:ext cx="0" cy="38503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a:stCxn id="17" idx="2"/>
            <a:endCxn id="10" idx="0"/>
          </p:cNvCxnSpPr>
          <p:nvPr/>
        </p:nvCxnSpPr>
        <p:spPr>
          <a:xfrm>
            <a:off x="6819900" y="2534362"/>
            <a:ext cx="0" cy="38503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a:stCxn id="9" idx="1"/>
            <a:endCxn id="14" idx="3"/>
          </p:cNvCxnSpPr>
          <p:nvPr/>
        </p:nvCxnSpPr>
        <p:spPr>
          <a:xfrm flipH="1">
            <a:off x="2907754" y="3147599"/>
            <a:ext cx="1800688" cy="53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stCxn id="10" idx="1"/>
            <a:endCxn id="9" idx="3"/>
          </p:cNvCxnSpPr>
          <p:nvPr/>
        </p:nvCxnSpPr>
        <p:spPr>
          <a:xfrm flipH="1">
            <a:off x="6003842" y="3147598"/>
            <a:ext cx="168358"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76" name="TextBox 75"/>
          <p:cNvSpPr txBox="1"/>
          <p:nvPr/>
        </p:nvSpPr>
        <p:spPr>
          <a:xfrm>
            <a:off x="307050" y="178665"/>
            <a:ext cx="1018134" cy="288539"/>
          </a:xfrm>
          <a:prstGeom prst="rect">
            <a:avLst/>
          </a:prstGeom>
          <a:noFill/>
        </p:spPr>
        <p:txBody>
          <a:bodyPr wrap="none" lIns="68586" tIns="34294" rIns="68586" bIns="34294" rtlCol="0">
            <a:spAutoFit/>
          </a:bodyPr>
          <a:lstStyle/>
          <a:p>
            <a:r>
              <a:rPr lang="en-US" dirty="0" smtClean="0"/>
              <a:t>Per Service</a:t>
            </a:r>
            <a:endParaRPr lang="en-US" dirty="0"/>
          </a:p>
        </p:txBody>
      </p:sp>
      <p:sp>
        <p:nvSpPr>
          <p:cNvPr id="81" name="Rectangle 80"/>
          <p:cNvSpPr/>
          <p:nvPr/>
        </p:nvSpPr>
        <p:spPr>
          <a:xfrm>
            <a:off x="7191741" y="3913574"/>
            <a:ext cx="1752600" cy="906077"/>
          </a:xfrm>
          <a:prstGeom prst="rect">
            <a:avLst/>
          </a:prstGeom>
          <a:noFill/>
          <a:ln w="6350">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endParaRPr lang="en-US"/>
          </a:p>
        </p:txBody>
      </p:sp>
      <p:sp>
        <p:nvSpPr>
          <p:cNvPr id="18" name="TextBox 17"/>
          <p:cNvSpPr txBox="1"/>
          <p:nvPr/>
        </p:nvSpPr>
        <p:spPr>
          <a:xfrm>
            <a:off x="7444947" y="19568"/>
            <a:ext cx="1699054" cy="288539"/>
          </a:xfrm>
          <a:prstGeom prst="rect">
            <a:avLst/>
          </a:prstGeom>
          <a:solidFill>
            <a:schemeClr val="accent2"/>
          </a:solidFill>
          <a:ln>
            <a:solidFill>
              <a:schemeClr val="accent1"/>
            </a:solidFill>
          </a:ln>
        </p:spPr>
        <p:txBody>
          <a:bodyPr wrap="square" lIns="68586" tIns="34294" rIns="68586" bIns="34294" rtlCol="0">
            <a:spAutoFit/>
          </a:bodyPr>
          <a:lstStyle/>
          <a:p>
            <a:r>
              <a:rPr lang="en-US" dirty="0" smtClean="0">
                <a:solidFill>
                  <a:schemeClr val="bg1"/>
                </a:solidFill>
              </a:rPr>
              <a:t>In-Place Updating</a:t>
            </a:r>
            <a:endParaRPr lang="en-US" dirty="0">
              <a:solidFill>
                <a:schemeClr val="bg1"/>
              </a:solidFill>
            </a:endParaRPr>
          </a:p>
        </p:txBody>
      </p:sp>
      <p:sp>
        <p:nvSpPr>
          <p:cNvPr id="49" name="Rectangle 48"/>
          <p:cNvSpPr/>
          <p:nvPr/>
        </p:nvSpPr>
        <p:spPr>
          <a:xfrm>
            <a:off x="91366" y="2981579"/>
            <a:ext cx="1295400" cy="342300"/>
          </a:xfrm>
          <a:prstGeom prst="rect">
            <a:avLst/>
          </a:prstGeom>
        </p:spPr>
        <p:style>
          <a:lnRef idx="1">
            <a:schemeClr val="accent2"/>
          </a:lnRef>
          <a:fillRef idx="3">
            <a:schemeClr val="accent2"/>
          </a:fillRef>
          <a:effectRef idx="2">
            <a:schemeClr val="accent2"/>
          </a:effectRef>
          <a:fontRef idx="minor">
            <a:schemeClr val="lt1"/>
          </a:fontRef>
        </p:style>
        <p:txBody>
          <a:bodyPr lIns="68586" tIns="34294" rIns="68586" bIns="34294" rtlCol="0" anchor="ctr"/>
          <a:lstStyle/>
          <a:p>
            <a:pPr algn="ctr"/>
            <a:r>
              <a:rPr lang="en-US" sz="1100" dirty="0"/>
              <a:t>Done</a:t>
            </a:r>
          </a:p>
        </p:txBody>
      </p:sp>
      <p:cxnSp>
        <p:nvCxnSpPr>
          <p:cNvPr id="51" name="Straight Arrow Connector 50"/>
          <p:cNvCxnSpPr>
            <a:stCxn id="14" idx="1"/>
            <a:endCxn id="49" idx="3"/>
          </p:cNvCxnSpPr>
          <p:nvPr/>
        </p:nvCxnSpPr>
        <p:spPr>
          <a:xfrm flipH="1" flipV="1">
            <a:off x="1386766" y="3152730"/>
            <a:ext cx="225588" cy="194"/>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41" name="Rectangle 40"/>
          <p:cNvSpPr/>
          <p:nvPr/>
        </p:nvSpPr>
        <p:spPr>
          <a:xfrm>
            <a:off x="6172200" y="1262500"/>
            <a:ext cx="1295400" cy="456400"/>
          </a:xfrm>
          <a:prstGeom prst="rect">
            <a:avLst/>
          </a:prstGeom>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100" dirty="0">
                <a:gradFill>
                  <a:gsLst>
                    <a:gs pos="0">
                      <a:srgbClr val="000000"/>
                    </a:gs>
                    <a:gs pos="100000">
                      <a:srgbClr val="000000"/>
                    </a:gs>
                  </a:gsLst>
                  <a:lin ang="5400000" scaled="0"/>
                </a:gradFill>
              </a:rPr>
              <a:t>Application Pre-Uninstall GCE</a:t>
            </a:r>
          </a:p>
        </p:txBody>
      </p:sp>
      <p:cxnSp>
        <p:nvCxnSpPr>
          <p:cNvPr id="45" name="Straight Arrow Connector 44"/>
          <p:cNvCxnSpPr>
            <a:stCxn id="41" idx="2"/>
            <a:endCxn id="17" idx="0"/>
          </p:cNvCxnSpPr>
          <p:nvPr/>
        </p:nvCxnSpPr>
        <p:spPr>
          <a:xfrm>
            <a:off x="6819900" y="1718900"/>
            <a:ext cx="0" cy="35906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56" name="Rectangle 55"/>
          <p:cNvSpPr/>
          <p:nvPr/>
        </p:nvSpPr>
        <p:spPr>
          <a:xfrm>
            <a:off x="7646773" y="2922089"/>
            <a:ext cx="1295400" cy="456400"/>
          </a:xfrm>
          <a:prstGeom prst="rect">
            <a:avLst/>
          </a:prstGeom>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100" dirty="0">
                <a:gradFill>
                  <a:gsLst>
                    <a:gs pos="0">
                      <a:srgbClr val="000000"/>
                    </a:gs>
                    <a:gs pos="100000">
                      <a:srgbClr val="000000"/>
                    </a:gs>
                  </a:gsLst>
                  <a:lin ang="5400000" scaled="0"/>
                </a:gradFill>
              </a:rPr>
              <a:t>Application Post-install GCE</a:t>
            </a:r>
          </a:p>
        </p:txBody>
      </p:sp>
      <p:sp>
        <p:nvSpPr>
          <p:cNvPr id="57" name="Rectangle 56"/>
          <p:cNvSpPr/>
          <p:nvPr/>
        </p:nvSpPr>
        <p:spPr>
          <a:xfrm>
            <a:off x="7646773" y="2080653"/>
            <a:ext cx="1295400" cy="456400"/>
          </a:xfrm>
          <a:prstGeom prst="rect">
            <a:avLst/>
          </a:prstGeom>
        </p:spPr>
        <p:style>
          <a:lnRef idx="1">
            <a:schemeClr val="accent2"/>
          </a:lnRef>
          <a:fillRef idx="3">
            <a:schemeClr val="accent2"/>
          </a:fillRef>
          <a:effectRef idx="2">
            <a:schemeClr val="accent2"/>
          </a:effectRef>
          <a:fontRef idx="minor">
            <a:schemeClr val="lt1"/>
          </a:fontRef>
        </p:style>
        <p:txBody>
          <a:bodyPr lIns="68586" tIns="34294" rIns="68586" bIns="34294" rtlCol="0" anchor="ctr"/>
          <a:lstStyle/>
          <a:p>
            <a:pPr algn="ctr"/>
            <a:r>
              <a:rPr lang="en-US" sz="1100" dirty="0"/>
              <a:t>Install Application</a:t>
            </a:r>
          </a:p>
        </p:txBody>
      </p:sp>
      <p:cxnSp>
        <p:nvCxnSpPr>
          <p:cNvPr id="59" name="Elbow Connector 58"/>
          <p:cNvCxnSpPr>
            <a:endCxn id="63" idx="1"/>
          </p:cNvCxnSpPr>
          <p:nvPr/>
        </p:nvCxnSpPr>
        <p:spPr>
          <a:xfrm flipV="1">
            <a:off x="7478415" y="1493393"/>
            <a:ext cx="168358" cy="2693"/>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a:stCxn id="57" idx="2"/>
            <a:endCxn id="56" idx="0"/>
          </p:cNvCxnSpPr>
          <p:nvPr/>
        </p:nvCxnSpPr>
        <p:spPr>
          <a:xfrm>
            <a:off x="8294473" y="2537054"/>
            <a:ext cx="0" cy="38503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a:stCxn id="56" idx="1"/>
          </p:cNvCxnSpPr>
          <p:nvPr/>
        </p:nvCxnSpPr>
        <p:spPr>
          <a:xfrm flipH="1" flipV="1">
            <a:off x="7478416" y="3150290"/>
            <a:ext cx="168357" cy="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a:xfrm>
            <a:off x="7646773" y="1265193"/>
            <a:ext cx="1295400" cy="456400"/>
          </a:xfrm>
          <a:prstGeom prst="rect">
            <a:avLst/>
          </a:prstGeom>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100" dirty="0">
                <a:gradFill>
                  <a:gsLst>
                    <a:gs pos="0">
                      <a:srgbClr val="000000"/>
                    </a:gs>
                    <a:gs pos="100000">
                      <a:srgbClr val="000000"/>
                    </a:gs>
                  </a:gsLst>
                  <a:lin ang="5400000" scaled="0"/>
                </a:gradFill>
              </a:rPr>
              <a:t>Application Pre-install GCE</a:t>
            </a:r>
          </a:p>
        </p:txBody>
      </p:sp>
      <p:cxnSp>
        <p:nvCxnSpPr>
          <p:cNvPr id="64" name="Straight Arrow Connector 63"/>
          <p:cNvCxnSpPr>
            <a:stCxn id="63" idx="2"/>
            <a:endCxn id="57" idx="0"/>
          </p:cNvCxnSpPr>
          <p:nvPr/>
        </p:nvCxnSpPr>
        <p:spPr>
          <a:xfrm>
            <a:off x="8294473" y="1721591"/>
            <a:ext cx="0" cy="35906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42"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43"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4"/>
              </a:rPr>
              <a:t>www.rapidbbs.cn</a:t>
            </a:r>
            <a:endParaRPr lang="zh-CN" altLang="en-US" sz="1200" b="0">
              <a:latin typeface="Arial" charset="0"/>
              <a:ea typeface="ＭＳ Ｐゴシック" pitchFamily="34" charset="-128"/>
            </a:endParaRPr>
          </a:p>
        </p:txBody>
      </p:sp>
      <p:pic>
        <p:nvPicPr>
          <p:cNvPr id="47" name="Picture 2">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1"/>
    </p:custDataLst>
    <p:extLst>
      <p:ext uri="{BB962C8B-B14F-4D97-AF65-F5344CB8AC3E}">
        <p14:creationId xmlns:p14="http://schemas.microsoft.com/office/powerpoint/2010/main" val="22238230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3"/>
                                        </p:tgtEl>
                                        <p:attrNameLst>
                                          <p:attrName>style.visibility</p:attrName>
                                        </p:attrNameLst>
                                      </p:cBhvr>
                                      <p:to>
                                        <p:strVal val="visible"/>
                                      </p:to>
                                    </p:set>
                                    <p:animEffect transition="in" filter="fade">
                                      <p:cBhvr>
                                        <p:cTn id="12" dur="500"/>
                                        <p:tgtEl>
                                          <p:spTgt spid="33"/>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36"/>
                                        </p:tgtEl>
                                        <p:attrNameLst>
                                          <p:attrName>style.visibility</p:attrName>
                                        </p:attrNameLst>
                                      </p:cBhvr>
                                      <p:to>
                                        <p:strVal val="visible"/>
                                      </p:to>
                                    </p:set>
                                    <p:animEffect transition="in" filter="fade">
                                      <p:cBhvr>
                                        <p:cTn id="20" dur="500"/>
                                        <p:tgtEl>
                                          <p:spTgt spid="36"/>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500"/>
                                        <p:tgtEl>
                                          <p:spTgt spid="13"/>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500"/>
                                        <p:tgtEl>
                                          <p:spTgt spid="4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fade">
                                      <p:cBhvr>
                                        <p:cTn id="31" dur="500"/>
                                        <p:tgtEl>
                                          <p:spTgt spid="8"/>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44"/>
                                        </p:tgtEl>
                                        <p:attrNameLst>
                                          <p:attrName>style.visibility</p:attrName>
                                        </p:attrNameLst>
                                      </p:cBhvr>
                                      <p:to>
                                        <p:strVal val="visible"/>
                                      </p:to>
                                    </p:set>
                                    <p:animEffect transition="in" filter="fade">
                                      <p:cBhvr>
                                        <p:cTn id="36" dur="500"/>
                                        <p:tgtEl>
                                          <p:spTgt spid="44"/>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6"/>
                                        </p:tgtEl>
                                        <p:attrNameLst>
                                          <p:attrName>style.visibility</p:attrName>
                                        </p:attrNameLst>
                                      </p:cBhvr>
                                      <p:to>
                                        <p:strVal val="visible"/>
                                      </p:to>
                                    </p:set>
                                    <p:animEffect transition="in" filter="fade">
                                      <p:cBhvr>
                                        <p:cTn id="39" dur="500"/>
                                        <p:tgtEl>
                                          <p:spTgt spid="16"/>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48"/>
                                        </p:tgtEl>
                                        <p:attrNameLst>
                                          <p:attrName>style.visibility</p:attrName>
                                        </p:attrNameLst>
                                      </p:cBhvr>
                                      <p:to>
                                        <p:strVal val="visible"/>
                                      </p:to>
                                    </p:set>
                                    <p:animEffect transition="in" filter="fade">
                                      <p:cBhvr>
                                        <p:cTn id="44" dur="500"/>
                                        <p:tgtEl>
                                          <p:spTgt spid="48"/>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9"/>
                                        </p:tgtEl>
                                        <p:attrNameLst>
                                          <p:attrName>style.visibility</p:attrName>
                                        </p:attrNameLst>
                                      </p:cBhvr>
                                      <p:to>
                                        <p:strVal val="visible"/>
                                      </p:to>
                                    </p:set>
                                    <p:animEffect transition="in" filter="fade">
                                      <p:cBhvr>
                                        <p:cTn id="47" dur="500"/>
                                        <p:tgtEl>
                                          <p:spTgt spid="9"/>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46"/>
                                        </p:tgtEl>
                                        <p:attrNameLst>
                                          <p:attrName>style.visibility</p:attrName>
                                        </p:attrNameLst>
                                      </p:cBhvr>
                                      <p:to>
                                        <p:strVal val="visible"/>
                                      </p:to>
                                    </p:set>
                                    <p:animEffect transition="in" filter="fade">
                                      <p:cBhvr>
                                        <p:cTn id="52" dur="500"/>
                                        <p:tgtEl>
                                          <p:spTgt spid="46"/>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41"/>
                                        </p:tgtEl>
                                        <p:attrNameLst>
                                          <p:attrName>style.visibility</p:attrName>
                                        </p:attrNameLst>
                                      </p:cBhvr>
                                      <p:to>
                                        <p:strVal val="visible"/>
                                      </p:to>
                                    </p:set>
                                    <p:animEffect transition="in" filter="fade">
                                      <p:cBhvr>
                                        <p:cTn id="55" dur="500"/>
                                        <p:tgtEl>
                                          <p:spTgt spid="41"/>
                                        </p:tgtEl>
                                      </p:cBhvr>
                                    </p:animEffect>
                                  </p:childTnLst>
                                </p:cTn>
                              </p:par>
                              <p:par>
                                <p:cTn id="56" presetID="10" presetClass="entr" presetSubtype="0" fill="hold" nodeType="withEffect">
                                  <p:stCondLst>
                                    <p:cond delay="0"/>
                                  </p:stCondLst>
                                  <p:childTnLst>
                                    <p:set>
                                      <p:cBhvr>
                                        <p:cTn id="57" dur="1" fill="hold">
                                          <p:stCondLst>
                                            <p:cond delay="0"/>
                                          </p:stCondLst>
                                        </p:cTn>
                                        <p:tgtEl>
                                          <p:spTgt spid="45"/>
                                        </p:tgtEl>
                                        <p:attrNameLst>
                                          <p:attrName>style.visibility</p:attrName>
                                        </p:attrNameLst>
                                      </p:cBhvr>
                                      <p:to>
                                        <p:strVal val="visible"/>
                                      </p:to>
                                    </p:set>
                                    <p:animEffect transition="in" filter="fade">
                                      <p:cBhvr>
                                        <p:cTn id="58" dur="500"/>
                                        <p:tgtEl>
                                          <p:spTgt spid="45"/>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par>
                                <p:cTn id="62" presetID="10" presetClass="entr" presetSubtype="0" fill="hold" nodeType="withEffect">
                                  <p:stCondLst>
                                    <p:cond delay="0"/>
                                  </p:stCondLst>
                                  <p:childTnLst>
                                    <p:set>
                                      <p:cBhvr>
                                        <p:cTn id="63" dur="1" fill="hold">
                                          <p:stCondLst>
                                            <p:cond delay="0"/>
                                          </p:stCondLst>
                                        </p:cTn>
                                        <p:tgtEl>
                                          <p:spTgt spid="50"/>
                                        </p:tgtEl>
                                        <p:attrNameLst>
                                          <p:attrName>style.visibility</p:attrName>
                                        </p:attrNameLst>
                                      </p:cBhvr>
                                      <p:to>
                                        <p:strVal val="visible"/>
                                      </p:to>
                                    </p:set>
                                    <p:animEffect transition="in" filter="fade">
                                      <p:cBhvr>
                                        <p:cTn id="64" dur="500"/>
                                        <p:tgtEl>
                                          <p:spTgt spid="50"/>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0"/>
                                        </p:tgtEl>
                                        <p:attrNameLst>
                                          <p:attrName>style.visibility</p:attrName>
                                        </p:attrNameLst>
                                      </p:cBhvr>
                                      <p:to>
                                        <p:strVal val="visible"/>
                                      </p:to>
                                    </p:set>
                                    <p:animEffect transition="in" filter="fade">
                                      <p:cBhvr>
                                        <p:cTn id="67" dur="500"/>
                                        <p:tgtEl>
                                          <p:spTgt spid="10"/>
                                        </p:tgtEl>
                                      </p:cBhvr>
                                    </p:animEffect>
                                  </p:childTnLst>
                                </p:cTn>
                              </p:par>
                              <p:par>
                                <p:cTn id="68" presetID="10" presetClass="entr" presetSubtype="0" fill="hold" nodeType="withEffect">
                                  <p:stCondLst>
                                    <p:cond delay="0"/>
                                  </p:stCondLst>
                                  <p:childTnLst>
                                    <p:set>
                                      <p:cBhvr>
                                        <p:cTn id="69" dur="1" fill="hold">
                                          <p:stCondLst>
                                            <p:cond delay="0"/>
                                          </p:stCondLst>
                                        </p:cTn>
                                        <p:tgtEl>
                                          <p:spTgt spid="54"/>
                                        </p:tgtEl>
                                        <p:attrNameLst>
                                          <p:attrName>style.visibility</p:attrName>
                                        </p:attrNameLst>
                                      </p:cBhvr>
                                      <p:to>
                                        <p:strVal val="visible"/>
                                      </p:to>
                                    </p:set>
                                    <p:animEffect transition="in" filter="fade">
                                      <p:cBhvr>
                                        <p:cTn id="70" dur="500"/>
                                        <p:tgtEl>
                                          <p:spTgt spid="54"/>
                                        </p:tgtEl>
                                      </p:cBhvr>
                                    </p:animEffect>
                                  </p:childTnLst>
                                </p:cTn>
                              </p:par>
                              <p:par>
                                <p:cTn id="71" presetID="10" presetClass="entr" presetSubtype="0" fill="hold" nodeType="withEffect">
                                  <p:stCondLst>
                                    <p:cond delay="0"/>
                                  </p:stCondLst>
                                  <p:childTnLst>
                                    <p:set>
                                      <p:cBhvr>
                                        <p:cTn id="72" dur="1" fill="hold">
                                          <p:stCondLst>
                                            <p:cond delay="0"/>
                                          </p:stCondLst>
                                        </p:cTn>
                                        <p:tgtEl>
                                          <p:spTgt spid="59"/>
                                        </p:tgtEl>
                                        <p:attrNameLst>
                                          <p:attrName>style.visibility</p:attrName>
                                        </p:attrNameLst>
                                      </p:cBhvr>
                                      <p:to>
                                        <p:strVal val="visible"/>
                                      </p:to>
                                    </p:set>
                                    <p:animEffect transition="in" filter="fade">
                                      <p:cBhvr>
                                        <p:cTn id="73" dur="500"/>
                                        <p:tgtEl>
                                          <p:spTgt spid="59"/>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63"/>
                                        </p:tgtEl>
                                        <p:attrNameLst>
                                          <p:attrName>style.visibility</p:attrName>
                                        </p:attrNameLst>
                                      </p:cBhvr>
                                      <p:to>
                                        <p:strVal val="visible"/>
                                      </p:to>
                                    </p:set>
                                    <p:animEffect transition="in" filter="fade">
                                      <p:cBhvr>
                                        <p:cTn id="76" dur="500"/>
                                        <p:tgtEl>
                                          <p:spTgt spid="63"/>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57"/>
                                        </p:tgtEl>
                                        <p:attrNameLst>
                                          <p:attrName>style.visibility</p:attrName>
                                        </p:attrNameLst>
                                      </p:cBhvr>
                                      <p:to>
                                        <p:strVal val="visible"/>
                                      </p:to>
                                    </p:set>
                                    <p:animEffect transition="in" filter="fade">
                                      <p:cBhvr>
                                        <p:cTn id="79" dur="500"/>
                                        <p:tgtEl>
                                          <p:spTgt spid="57"/>
                                        </p:tgtEl>
                                      </p:cBhvr>
                                    </p:animEffect>
                                  </p:childTnLst>
                                </p:cTn>
                              </p:par>
                              <p:par>
                                <p:cTn id="80" presetID="10" presetClass="entr" presetSubtype="0" fill="hold" nodeType="withEffect">
                                  <p:stCondLst>
                                    <p:cond delay="0"/>
                                  </p:stCondLst>
                                  <p:childTnLst>
                                    <p:set>
                                      <p:cBhvr>
                                        <p:cTn id="81" dur="1" fill="hold">
                                          <p:stCondLst>
                                            <p:cond delay="0"/>
                                          </p:stCondLst>
                                        </p:cTn>
                                        <p:tgtEl>
                                          <p:spTgt spid="64"/>
                                        </p:tgtEl>
                                        <p:attrNameLst>
                                          <p:attrName>style.visibility</p:attrName>
                                        </p:attrNameLst>
                                      </p:cBhvr>
                                      <p:to>
                                        <p:strVal val="visible"/>
                                      </p:to>
                                    </p:set>
                                    <p:animEffect transition="in" filter="fade">
                                      <p:cBhvr>
                                        <p:cTn id="82" dur="500"/>
                                        <p:tgtEl>
                                          <p:spTgt spid="64"/>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56"/>
                                        </p:tgtEl>
                                        <p:attrNameLst>
                                          <p:attrName>style.visibility</p:attrName>
                                        </p:attrNameLst>
                                      </p:cBhvr>
                                      <p:to>
                                        <p:strVal val="visible"/>
                                      </p:to>
                                    </p:set>
                                    <p:animEffect transition="in" filter="fade">
                                      <p:cBhvr>
                                        <p:cTn id="85" dur="500"/>
                                        <p:tgtEl>
                                          <p:spTgt spid="56"/>
                                        </p:tgtEl>
                                      </p:cBhvr>
                                    </p:animEffect>
                                  </p:childTnLst>
                                </p:cTn>
                              </p:par>
                              <p:par>
                                <p:cTn id="86" presetID="10" presetClass="entr" presetSubtype="0" fill="hold" nodeType="withEffect">
                                  <p:stCondLst>
                                    <p:cond delay="0"/>
                                  </p:stCondLst>
                                  <p:childTnLst>
                                    <p:set>
                                      <p:cBhvr>
                                        <p:cTn id="87" dur="1" fill="hold">
                                          <p:stCondLst>
                                            <p:cond delay="0"/>
                                          </p:stCondLst>
                                        </p:cTn>
                                        <p:tgtEl>
                                          <p:spTgt spid="61"/>
                                        </p:tgtEl>
                                        <p:attrNameLst>
                                          <p:attrName>style.visibility</p:attrName>
                                        </p:attrNameLst>
                                      </p:cBhvr>
                                      <p:to>
                                        <p:strVal val="visible"/>
                                      </p:to>
                                    </p:set>
                                    <p:animEffect transition="in" filter="fade">
                                      <p:cBhvr>
                                        <p:cTn id="88" dur="500"/>
                                        <p:tgtEl>
                                          <p:spTgt spid="61"/>
                                        </p:tgtEl>
                                      </p:cBhvr>
                                    </p:animEffect>
                                  </p:childTnLst>
                                </p:cTn>
                              </p:par>
                              <p:par>
                                <p:cTn id="89" presetID="10" presetClass="entr" presetSubtype="0" fill="hold" nodeType="withEffect">
                                  <p:stCondLst>
                                    <p:cond delay="0"/>
                                  </p:stCondLst>
                                  <p:childTnLst>
                                    <p:set>
                                      <p:cBhvr>
                                        <p:cTn id="90" dur="1" fill="hold">
                                          <p:stCondLst>
                                            <p:cond delay="0"/>
                                          </p:stCondLst>
                                        </p:cTn>
                                        <p:tgtEl>
                                          <p:spTgt spid="62"/>
                                        </p:tgtEl>
                                        <p:attrNameLst>
                                          <p:attrName>style.visibility</p:attrName>
                                        </p:attrNameLst>
                                      </p:cBhvr>
                                      <p:to>
                                        <p:strVal val="visible"/>
                                      </p:to>
                                    </p:set>
                                    <p:animEffect transition="in" filter="fade">
                                      <p:cBhvr>
                                        <p:cTn id="91" dur="500"/>
                                        <p:tgtEl>
                                          <p:spTgt spid="62"/>
                                        </p:tgtEl>
                                      </p:cBhvr>
                                    </p:animEffect>
                                  </p:childTnLst>
                                </p:cTn>
                              </p:par>
                            </p:childTnLst>
                          </p:cTn>
                        </p:par>
                      </p:childTnLst>
                    </p:cTn>
                  </p:par>
                  <p:par>
                    <p:cTn id="92" fill="hold">
                      <p:stCondLst>
                        <p:cond delay="indefinite"/>
                      </p:stCondLst>
                      <p:childTnLst>
                        <p:par>
                          <p:cTn id="93" fill="hold">
                            <p:stCondLst>
                              <p:cond delay="0"/>
                            </p:stCondLst>
                            <p:childTnLst>
                              <p:par>
                                <p:cTn id="94" presetID="10" presetClass="entr" presetSubtype="0" fill="hold" nodeType="clickEffect">
                                  <p:stCondLst>
                                    <p:cond delay="0"/>
                                  </p:stCondLst>
                                  <p:childTnLst>
                                    <p:set>
                                      <p:cBhvr>
                                        <p:cTn id="95" dur="1" fill="hold">
                                          <p:stCondLst>
                                            <p:cond delay="0"/>
                                          </p:stCondLst>
                                        </p:cTn>
                                        <p:tgtEl>
                                          <p:spTgt spid="52"/>
                                        </p:tgtEl>
                                        <p:attrNameLst>
                                          <p:attrName>style.visibility</p:attrName>
                                        </p:attrNameLst>
                                      </p:cBhvr>
                                      <p:to>
                                        <p:strVal val="visible"/>
                                      </p:to>
                                    </p:set>
                                    <p:animEffect transition="in" filter="fade">
                                      <p:cBhvr>
                                        <p:cTn id="96" dur="500"/>
                                        <p:tgtEl>
                                          <p:spTgt spid="52"/>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14"/>
                                        </p:tgtEl>
                                        <p:attrNameLst>
                                          <p:attrName>style.visibility</p:attrName>
                                        </p:attrNameLst>
                                      </p:cBhvr>
                                      <p:to>
                                        <p:strVal val="visible"/>
                                      </p:to>
                                    </p:set>
                                    <p:animEffect transition="in" filter="fade">
                                      <p:cBhvr>
                                        <p:cTn id="99" dur="500"/>
                                        <p:tgtEl>
                                          <p:spTgt spid="14"/>
                                        </p:tgtEl>
                                      </p:cBhvr>
                                    </p:animEffect>
                                  </p:childTnLst>
                                </p:cTn>
                              </p:par>
                            </p:childTnLst>
                          </p:cTn>
                        </p:par>
                      </p:childTnLst>
                    </p:cTn>
                  </p:par>
                  <p:par>
                    <p:cTn id="100" fill="hold">
                      <p:stCondLst>
                        <p:cond delay="indefinite"/>
                      </p:stCondLst>
                      <p:childTnLst>
                        <p:par>
                          <p:cTn id="101" fill="hold">
                            <p:stCondLst>
                              <p:cond delay="0"/>
                            </p:stCondLst>
                            <p:childTnLst>
                              <p:par>
                                <p:cTn id="102" presetID="10" presetClass="entr" presetSubtype="0" fill="hold" grpId="0" nodeType="clickEffect">
                                  <p:stCondLst>
                                    <p:cond delay="0"/>
                                  </p:stCondLst>
                                  <p:childTnLst>
                                    <p:set>
                                      <p:cBhvr>
                                        <p:cTn id="103" dur="1" fill="hold">
                                          <p:stCondLst>
                                            <p:cond delay="0"/>
                                          </p:stCondLst>
                                        </p:cTn>
                                        <p:tgtEl>
                                          <p:spTgt spid="49"/>
                                        </p:tgtEl>
                                        <p:attrNameLst>
                                          <p:attrName>style.visibility</p:attrName>
                                        </p:attrNameLst>
                                      </p:cBhvr>
                                      <p:to>
                                        <p:strVal val="visible"/>
                                      </p:to>
                                    </p:set>
                                    <p:animEffect transition="in" filter="fade">
                                      <p:cBhvr>
                                        <p:cTn id="104" dur="500"/>
                                        <p:tgtEl>
                                          <p:spTgt spid="49"/>
                                        </p:tgtEl>
                                      </p:cBhvr>
                                    </p:animEffect>
                                  </p:childTnLst>
                                </p:cTn>
                              </p:par>
                              <p:par>
                                <p:cTn id="105" presetID="10" presetClass="entr" presetSubtype="0" fill="hold" nodeType="withEffect">
                                  <p:stCondLst>
                                    <p:cond delay="0"/>
                                  </p:stCondLst>
                                  <p:childTnLst>
                                    <p:set>
                                      <p:cBhvr>
                                        <p:cTn id="106" dur="1" fill="hold">
                                          <p:stCondLst>
                                            <p:cond delay="0"/>
                                          </p:stCondLst>
                                        </p:cTn>
                                        <p:tgtEl>
                                          <p:spTgt spid="51"/>
                                        </p:tgtEl>
                                        <p:attrNameLst>
                                          <p:attrName>style.visibility</p:attrName>
                                        </p:attrNameLst>
                                      </p:cBhvr>
                                      <p:to>
                                        <p:strVal val="visible"/>
                                      </p:to>
                                    </p:set>
                                    <p:animEffect transition="in" filter="fade">
                                      <p:cBhvr>
                                        <p:cTn id="107" dur="5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2" grpId="0" animBg="1"/>
      <p:bldP spid="13" grpId="0" animBg="1"/>
      <p:bldP spid="14" grpId="0" animBg="1"/>
      <p:bldP spid="16" grpId="0" animBg="1"/>
      <p:bldP spid="17" grpId="0" animBg="1"/>
      <p:bldP spid="49" grpId="0" animBg="1"/>
      <p:bldP spid="41" grpId="0" animBg="1"/>
      <p:bldP spid="56" grpId="0" animBg="1"/>
      <p:bldP spid="57" grpId="0" animBg="1"/>
      <p:bldP spid="63" grpId="0" animBg="1"/>
    </p:bldLst>
  </p:timing>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3140608" y="2498234"/>
            <a:ext cx="1295400" cy="476340"/>
          </a:xfrm>
          <a:prstGeom prst="rect">
            <a:avLst/>
          </a:prstGeom>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100" dirty="0">
                <a:gradFill>
                  <a:gsLst>
                    <a:gs pos="0">
                      <a:srgbClr val="000000"/>
                    </a:gs>
                    <a:gs pos="100000">
                      <a:srgbClr val="000000"/>
                    </a:gs>
                  </a:gsLst>
                  <a:lin ang="5400000" scaled="0"/>
                </a:gradFill>
              </a:rPr>
              <a:t>Application Profile Level  Pre-Install GCE</a:t>
            </a:r>
          </a:p>
        </p:txBody>
      </p:sp>
      <p:sp>
        <p:nvSpPr>
          <p:cNvPr id="7" name="Rectangle 6"/>
          <p:cNvSpPr/>
          <p:nvPr/>
        </p:nvSpPr>
        <p:spPr>
          <a:xfrm>
            <a:off x="3132404" y="4395335"/>
            <a:ext cx="1295400" cy="443777"/>
          </a:xfrm>
          <a:prstGeom prst="rect">
            <a:avLst/>
          </a:prstGeom>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100" dirty="0">
                <a:gradFill>
                  <a:gsLst>
                    <a:gs pos="0">
                      <a:srgbClr val="000000"/>
                    </a:gs>
                    <a:gs pos="100000">
                      <a:srgbClr val="000000"/>
                    </a:gs>
                  </a:gsLst>
                  <a:lin ang="5400000" scaled="0"/>
                </a:gradFill>
              </a:rPr>
              <a:t>Application Profile Level Post-Install GCE</a:t>
            </a:r>
          </a:p>
        </p:txBody>
      </p:sp>
      <p:sp>
        <p:nvSpPr>
          <p:cNvPr id="8" name="Rectangle 7"/>
          <p:cNvSpPr/>
          <p:nvPr/>
        </p:nvSpPr>
        <p:spPr>
          <a:xfrm>
            <a:off x="4706644" y="2572445"/>
            <a:ext cx="1295400" cy="337352"/>
          </a:xfrm>
          <a:prstGeom prst="rect">
            <a:avLst/>
          </a:prstGeom>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100" dirty="0">
                <a:gradFill>
                  <a:gsLst>
                    <a:gs pos="0">
                      <a:srgbClr val="000000"/>
                    </a:gs>
                    <a:gs pos="100000">
                      <a:srgbClr val="000000"/>
                    </a:gs>
                  </a:gsLst>
                  <a:lin ang="5400000" scaled="0"/>
                </a:gradFill>
              </a:rPr>
              <a:t>Application Level Pre-Install GCE</a:t>
            </a:r>
          </a:p>
        </p:txBody>
      </p:sp>
      <p:sp>
        <p:nvSpPr>
          <p:cNvPr id="9" name="Rectangle 8"/>
          <p:cNvSpPr/>
          <p:nvPr/>
        </p:nvSpPr>
        <p:spPr>
          <a:xfrm>
            <a:off x="4706644" y="3486844"/>
            <a:ext cx="1295400" cy="342900"/>
          </a:xfrm>
          <a:prstGeom prst="rect">
            <a:avLst/>
          </a:prstGeom>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100" dirty="0">
                <a:gradFill>
                  <a:gsLst>
                    <a:gs pos="0">
                      <a:srgbClr val="000000"/>
                    </a:gs>
                    <a:gs pos="100000">
                      <a:srgbClr val="000000"/>
                    </a:gs>
                  </a:gsLst>
                  <a:lin ang="5400000" scaled="0"/>
                </a:gradFill>
              </a:rPr>
              <a:t>Application Level Post-Install GCE</a:t>
            </a:r>
          </a:p>
        </p:txBody>
      </p:sp>
      <p:sp>
        <p:nvSpPr>
          <p:cNvPr id="11" name="Rectangle 10"/>
          <p:cNvSpPr/>
          <p:nvPr/>
        </p:nvSpPr>
        <p:spPr>
          <a:xfrm>
            <a:off x="91366" y="628650"/>
            <a:ext cx="1295400" cy="342900"/>
          </a:xfrm>
          <a:prstGeom prst="rect">
            <a:avLst/>
          </a:prstGeom>
        </p:spPr>
        <p:style>
          <a:lnRef idx="1">
            <a:schemeClr val="accent2"/>
          </a:lnRef>
          <a:fillRef idx="3">
            <a:schemeClr val="accent2"/>
          </a:fillRef>
          <a:effectRef idx="2">
            <a:schemeClr val="accent2"/>
          </a:effectRef>
          <a:fontRef idx="minor">
            <a:schemeClr val="lt1"/>
          </a:fontRef>
        </p:style>
        <p:txBody>
          <a:bodyPr lIns="68586" tIns="34294" rIns="68586" bIns="34294" rtlCol="0" anchor="ctr"/>
          <a:lstStyle/>
          <a:p>
            <a:pPr algn="ctr"/>
            <a:r>
              <a:rPr lang="en-US" sz="1100" dirty="0"/>
              <a:t>Select Tier Based on Servicing Order</a:t>
            </a:r>
          </a:p>
        </p:txBody>
      </p:sp>
      <p:sp>
        <p:nvSpPr>
          <p:cNvPr id="12" name="Rectangle 11"/>
          <p:cNvSpPr/>
          <p:nvPr/>
        </p:nvSpPr>
        <p:spPr>
          <a:xfrm>
            <a:off x="91366" y="1085851"/>
            <a:ext cx="1295400" cy="442219"/>
          </a:xfrm>
          <a:prstGeom prst="rect">
            <a:avLst/>
          </a:prstGeom>
        </p:spPr>
        <p:style>
          <a:lnRef idx="1">
            <a:schemeClr val="accent2"/>
          </a:lnRef>
          <a:fillRef idx="3">
            <a:schemeClr val="accent2"/>
          </a:fillRef>
          <a:effectRef idx="2">
            <a:schemeClr val="accent2"/>
          </a:effectRef>
          <a:fontRef idx="minor">
            <a:schemeClr val="lt1"/>
          </a:fontRef>
        </p:style>
        <p:txBody>
          <a:bodyPr lIns="68586" tIns="34294" rIns="68586" bIns="34294" rtlCol="0" anchor="ctr"/>
          <a:lstStyle/>
          <a:p>
            <a:pPr algn="ctr"/>
            <a:r>
              <a:rPr lang="en-US" sz="1100" dirty="0"/>
              <a:t>Select Machine Based on Upgrade Domain</a:t>
            </a:r>
          </a:p>
        </p:txBody>
      </p:sp>
      <p:sp>
        <p:nvSpPr>
          <p:cNvPr id="13" name="Rectangle 12"/>
          <p:cNvSpPr/>
          <p:nvPr/>
        </p:nvSpPr>
        <p:spPr>
          <a:xfrm>
            <a:off x="1612354" y="1128714"/>
            <a:ext cx="1295400" cy="357881"/>
          </a:xfrm>
          <a:prstGeom prst="rect">
            <a:avLst/>
          </a:prstGeom>
        </p:spPr>
        <p:style>
          <a:lnRef idx="1">
            <a:schemeClr val="accent2"/>
          </a:lnRef>
          <a:fillRef idx="3">
            <a:schemeClr val="accent2"/>
          </a:fillRef>
          <a:effectRef idx="2">
            <a:schemeClr val="accent2"/>
          </a:effectRef>
          <a:fontRef idx="minor">
            <a:schemeClr val="lt1"/>
          </a:fontRef>
        </p:style>
        <p:txBody>
          <a:bodyPr lIns="68586" tIns="34294" rIns="68586" bIns="34294" rtlCol="0" anchor="ctr"/>
          <a:lstStyle/>
          <a:p>
            <a:pPr algn="ctr"/>
            <a:r>
              <a:rPr lang="en-US" sz="1100" dirty="0"/>
              <a:t>Remove from Load Balancer</a:t>
            </a:r>
          </a:p>
        </p:txBody>
      </p:sp>
      <p:sp>
        <p:nvSpPr>
          <p:cNvPr id="14" name="Rectangle 13"/>
          <p:cNvSpPr/>
          <p:nvPr/>
        </p:nvSpPr>
        <p:spPr>
          <a:xfrm>
            <a:off x="1612354" y="4433149"/>
            <a:ext cx="1295400" cy="342900"/>
          </a:xfrm>
          <a:prstGeom prst="rect">
            <a:avLst/>
          </a:prstGeom>
        </p:spPr>
        <p:style>
          <a:lnRef idx="1">
            <a:schemeClr val="accent2"/>
          </a:lnRef>
          <a:fillRef idx="3">
            <a:schemeClr val="accent2"/>
          </a:fillRef>
          <a:effectRef idx="2">
            <a:schemeClr val="accent2"/>
          </a:effectRef>
          <a:fontRef idx="minor">
            <a:schemeClr val="lt1"/>
          </a:fontRef>
        </p:style>
        <p:txBody>
          <a:bodyPr lIns="68586" tIns="34294" rIns="68586" bIns="34294" rtlCol="0" anchor="ctr"/>
          <a:lstStyle/>
          <a:p>
            <a:pPr algn="ctr"/>
            <a:r>
              <a:rPr lang="en-US" sz="1100" dirty="0"/>
              <a:t>Add to Load Balancer</a:t>
            </a:r>
          </a:p>
        </p:txBody>
      </p:sp>
      <p:sp>
        <p:nvSpPr>
          <p:cNvPr id="16" name="Rectangle 15"/>
          <p:cNvSpPr/>
          <p:nvPr/>
        </p:nvSpPr>
        <p:spPr>
          <a:xfrm>
            <a:off x="4706644" y="3029644"/>
            <a:ext cx="1295400" cy="342900"/>
          </a:xfrm>
          <a:prstGeom prst="rect">
            <a:avLst/>
          </a:prstGeom>
        </p:spPr>
        <p:style>
          <a:lnRef idx="1">
            <a:schemeClr val="accent2"/>
          </a:lnRef>
          <a:fillRef idx="3">
            <a:schemeClr val="accent2"/>
          </a:fillRef>
          <a:effectRef idx="2">
            <a:schemeClr val="accent2"/>
          </a:effectRef>
          <a:fontRef idx="minor">
            <a:schemeClr val="lt1"/>
          </a:fontRef>
        </p:style>
        <p:txBody>
          <a:bodyPr lIns="68586" tIns="34294" rIns="68586" bIns="34294" rtlCol="0" anchor="ctr"/>
          <a:lstStyle/>
          <a:p>
            <a:pPr algn="ctr"/>
            <a:r>
              <a:rPr lang="en-US" sz="1100" dirty="0"/>
              <a:t>Install Application</a:t>
            </a:r>
          </a:p>
        </p:txBody>
      </p:sp>
      <p:cxnSp>
        <p:nvCxnSpPr>
          <p:cNvPr id="19" name="Straight Connector 18"/>
          <p:cNvCxnSpPr/>
          <p:nvPr/>
        </p:nvCxnSpPr>
        <p:spPr>
          <a:xfrm>
            <a:off x="1506244" y="38840"/>
            <a:ext cx="0" cy="5064156"/>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2998434" y="50492"/>
            <a:ext cx="0" cy="5064156"/>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4572000" y="57150"/>
            <a:ext cx="0" cy="5064156"/>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1619813" y="171451"/>
            <a:ext cx="1129877" cy="288539"/>
          </a:xfrm>
          <a:prstGeom prst="rect">
            <a:avLst/>
          </a:prstGeom>
          <a:noFill/>
        </p:spPr>
        <p:txBody>
          <a:bodyPr wrap="none" lIns="68586" tIns="34294" rIns="68586" bIns="34294" rtlCol="0">
            <a:spAutoFit/>
          </a:bodyPr>
          <a:lstStyle/>
          <a:p>
            <a:r>
              <a:rPr lang="en-US" dirty="0" smtClean="0"/>
              <a:t>Per Machine</a:t>
            </a:r>
            <a:endParaRPr lang="en-US" dirty="0"/>
          </a:p>
        </p:txBody>
      </p:sp>
      <p:sp>
        <p:nvSpPr>
          <p:cNvPr id="24" name="TextBox 23"/>
          <p:cNvSpPr txBox="1"/>
          <p:nvPr/>
        </p:nvSpPr>
        <p:spPr>
          <a:xfrm>
            <a:off x="3134834" y="171451"/>
            <a:ext cx="1192410" cy="288539"/>
          </a:xfrm>
          <a:prstGeom prst="rect">
            <a:avLst/>
          </a:prstGeom>
          <a:noFill/>
        </p:spPr>
        <p:txBody>
          <a:bodyPr wrap="none" lIns="68586" tIns="34294" rIns="68586" bIns="34294" rtlCol="0">
            <a:spAutoFit/>
          </a:bodyPr>
          <a:lstStyle/>
          <a:p>
            <a:r>
              <a:rPr lang="en-US" dirty="0" smtClean="0"/>
              <a:t>Per Guest OS</a:t>
            </a:r>
            <a:endParaRPr lang="en-US" dirty="0"/>
          </a:p>
        </p:txBody>
      </p:sp>
      <p:sp>
        <p:nvSpPr>
          <p:cNvPr id="25" name="TextBox 24"/>
          <p:cNvSpPr txBox="1"/>
          <p:nvPr/>
        </p:nvSpPr>
        <p:spPr>
          <a:xfrm>
            <a:off x="4724400" y="171451"/>
            <a:ext cx="1358364" cy="288539"/>
          </a:xfrm>
          <a:prstGeom prst="rect">
            <a:avLst/>
          </a:prstGeom>
          <a:noFill/>
        </p:spPr>
        <p:txBody>
          <a:bodyPr wrap="none" lIns="68586" tIns="34294" rIns="68586" bIns="34294" rtlCol="0">
            <a:spAutoFit/>
          </a:bodyPr>
          <a:lstStyle/>
          <a:p>
            <a:r>
              <a:rPr lang="en-US" dirty="0" smtClean="0"/>
              <a:t>Per Application</a:t>
            </a:r>
            <a:endParaRPr lang="en-US" dirty="0"/>
          </a:p>
        </p:txBody>
      </p:sp>
      <p:sp>
        <p:nvSpPr>
          <p:cNvPr id="27" name="Rectangle 26"/>
          <p:cNvSpPr/>
          <p:nvPr/>
        </p:nvSpPr>
        <p:spPr>
          <a:xfrm>
            <a:off x="6988395" y="4226049"/>
            <a:ext cx="1295400" cy="278953"/>
          </a:xfrm>
          <a:prstGeom prst="rect">
            <a:avLst/>
          </a:prstGeom>
        </p:spPr>
        <p:style>
          <a:lnRef idx="1">
            <a:schemeClr val="accent2"/>
          </a:lnRef>
          <a:fillRef idx="3">
            <a:schemeClr val="accent2"/>
          </a:fillRef>
          <a:effectRef idx="2">
            <a:schemeClr val="accent2"/>
          </a:effectRef>
          <a:fontRef idx="minor">
            <a:schemeClr val="lt1"/>
          </a:fontRef>
        </p:style>
        <p:txBody>
          <a:bodyPr lIns="68586" tIns="34294" rIns="68586" bIns="34294" rtlCol="0" anchor="ctr"/>
          <a:lstStyle/>
          <a:p>
            <a:pPr algn="ctr"/>
            <a:r>
              <a:rPr lang="en-US" sz="1100" dirty="0"/>
              <a:t>Built-In Step</a:t>
            </a:r>
          </a:p>
        </p:txBody>
      </p:sp>
      <p:sp>
        <p:nvSpPr>
          <p:cNvPr id="29" name="Rectangle 28"/>
          <p:cNvSpPr/>
          <p:nvPr/>
        </p:nvSpPr>
        <p:spPr>
          <a:xfrm>
            <a:off x="6988395" y="4601548"/>
            <a:ext cx="1295400" cy="298790"/>
          </a:xfrm>
          <a:prstGeom prst="rect">
            <a:avLst/>
          </a:prstGeom>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100" dirty="0">
                <a:gradFill>
                  <a:gsLst>
                    <a:gs pos="0">
                      <a:srgbClr val="000000"/>
                    </a:gs>
                    <a:gs pos="100000">
                      <a:srgbClr val="000000"/>
                    </a:gs>
                  </a:gsLst>
                  <a:lin ang="5400000" scaled="0"/>
                </a:gradFill>
              </a:rPr>
              <a:t>Generic Command Executes in Guest</a:t>
            </a:r>
          </a:p>
        </p:txBody>
      </p:sp>
      <p:cxnSp>
        <p:nvCxnSpPr>
          <p:cNvPr id="33" name="Straight Arrow Connector 32"/>
          <p:cNvCxnSpPr>
            <a:endCxn id="12" idx="0"/>
          </p:cNvCxnSpPr>
          <p:nvPr/>
        </p:nvCxnSpPr>
        <p:spPr>
          <a:xfrm>
            <a:off x="727045" y="971550"/>
            <a:ext cx="12022" cy="1143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a:stCxn id="12" idx="3"/>
          </p:cNvCxnSpPr>
          <p:nvPr/>
        </p:nvCxnSpPr>
        <p:spPr>
          <a:xfrm>
            <a:off x="1386766" y="1306960"/>
            <a:ext cx="225588"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47" idx="3"/>
            <a:endCxn id="6" idx="1"/>
          </p:cNvCxnSpPr>
          <p:nvPr/>
        </p:nvCxnSpPr>
        <p:spPr>
          <a:xfrm flipV="1">
            <a:off x="2906274" y="2736405"/>
            <a:ext cx="234334" cy="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a:stCxn id="6" idx="3"/>
            <a:endCxn id="8" idx="1"/>
          </p:cNvCxnSpPr>
          <p:nvPr/>
        </p:nvCxnSpPr>
        <p:spPr>
          <a:xfrm>
            <a:off x="4436008" y="2736403"/>
            <a:ext cx="270636" cy="471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stCxn id="8" idx="2"/>
            <a:endCxn id="16" idx="0"/>
          </p:cNvCxnSpPr>
          <p:nvPr/>
        </p:nvCxnSpPr>
        <p:spPr>
          <a:xfrm>
            <a:off x="5354344" y="2909798"/>
            <a:ext cx="0" cy="11984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a:stCxn id="16" idx="2"/>
            <a:endCxn id="9" idx="0"/>
          </p:cNvCxnSpPr>
          <p:nvPr/>
        </p:nvCxnSpPr>
        <p:spPr>
          <a:xfrm>
            <a:off x="5354344" y="3372544"/>
            <a:ext cx="0" cy="1143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a:stCxn id="7" idx="1"/>
            <a:endCxn id="14" idx="3"/>
          </p:cNvCxnSpPr>
          <p:nvPr/>
        </p:nvCxnSpPr>
        <p:spPr>
          <a:xfrm flipH="1" flipV="1">
            <a:off x="2907754" y="4604600"/>
            <a:ext cx="224650" cy="1262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flipV="1">
            <a:off x="1381524" y="4604600"/>
            <a:ext cx="225588" cy="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76" name="TextBox 75"/>
          <p:cNvSpPr txBox="1"/>
          <p:nvPr/>
        </p:nvSpPr>
        <p:spPr>
          <a:xfrm>
            <a:off x="320251" y="180202"/>
            <a:ext cx="1018134" cy="288539"/>
          </a:xfrm>
          <a:prstGeom prst="rect">
            <a:avLst/>
          </a:prstGeom>
          <a:noFill/>
        </p:spPr>
        <p:txBody>
          <a:bodyPr wrap="none" lIns="68586" tIns="34294" rIns="68586" bIns="34294" rtlCol="0">
            <a:spAutoFit/>
          </a:bodyPr>
          <a:lstStyle/>
          <a:p>
            <a:r>
              <a:rPr lang="en-US" dirty="0" smtClean="0"/>
              <a:t>Per Service</a:t>
            </a:r>
            <a:endParaRPr lang="en-US" dirty="0"/>
          </a:p>
        </p:txBody>
      </p:sp>
      <p:sp>
        <p:nvSpPr>
          <p:cNvPr id="81" name="Rectangle 80"/>
          <p:cNvSpPr/>
          <p:nvPr/>
        </p:nvSpPr>
        <p:spPr>
          <a:xfrm>
            <a:off x="6705601" y="4111749"/>
            <a:ext cx="1828800" cy="917453"/>
          </a:xfrm>
          <a:prstGeom prst="rect">
            <a:avLst/>
          </a:prstGeom>
          <a:noFill/>
          <a:ln w="6350">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endParaRPr lang="en-US"/>
          </a:p>
        </p:txBody>
      </p:sp>
      <p:sp>
        <p:nvSpPr>
          <p:cNvPr id="47" name="Rectangle 46"/>
          <p:cNvSpPr/>
          <p:nvPr/>
        </p:nvSpPr>
        <p:spPr>
          <a:xfrm>
            <a:off x="1610874" y="2557465"/>
            <a:ext cx="1295400" cy="357881"/>
          </a:xfrm>
          <a:prstGeom prst="rect">
            <a:avLst/>
          </a:prstGeom>
        </p:spPr>
        <p:style>
          <a:lnRef idx="1">
            <a:schemeClr val="accent2"/>
          </a:lnRef>
          <a:fillRef idx="3">
            <a:schemeClr val="accent2"/>
          </a:fillRef>
          <a:effectRef idx="2">
            <a:schemeClr val="accent2"/>
          </a:effectRef>
          <a:fontRef idx="minor">
            <a:schemeClr val="lt1"/>
          </a:fontRef>
        </p:style>
        <p:txBody>
          <a:bodyPr lIns="68586" tIns="34294" rIns="68586" bIns="34294" rtlCol="0" anchor="ctr"/>
          <a:lstStyle/>
          <a:p>
            <a:pPr algn="ctr"/>
            <a:r>
              <a:rPr lang="en-US" sz="1100" dirty="0"/>
              <a:t>Customize New OS</a:t>
            </a:r>
          </a:p>
        </p:txBody>
      </p:sp>
      <p:sp>
        <p:nvSpPr>
          <p:cNvPr id="55" name="Rectangle 54"/>
          <p:cNvSpPr/>
          <p:nvPr/>
        </p:nvSpPr>
        <p:spPr>
          <a:xfrm>
            <a:off x="4706644" y="1600896"/>
            <a:ext cx="1295400" cy="357881"/>
          </a:xfrm>
          <a:prstGeom prst="rect">
            <a:avLst/>
          </a:prstGeom>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100" dirty="0">
                <a:gradFill>
                  <a:gsLst>
                    <a:gs pos="0">
                      <a:srgbClr val="000000"/>
                    </a:gs>
                    <a:gs pos="100000">
                      <a:srgbClr val="000000"/>
                    </a:gs>
                  </a:gsLst>
                  <a:lin ang="5400000" scaled="0"/>
                </a:gradFill>
              </a:rPr>
              <a:t>Application Level  Store State GCE</a:t>
            </a:r>
          </a:p>
        </p:txBody>
      </p:sp>
      <p:sp>
        <p:nvSpPr>
          <p:cNvPr id="56" name="Rectangle 55"/>
          <p:cNvSpPr/>
          <p:nvPr/>
        </p:nvSpPr>
        <p:spPr>
          <a:xfrm>
            <a:off x="1612354" y="1600896"/>
            <a:ext cx="1295400" cy="357881"/>
          </a:xfrm>
          <a:prstGeom prst="rect">
            <a:avLst/>
          </a:prstGeom>
        </p:spPr>
        <p:style>
          <a:lnRef idx="1">
            <a:schemeClr val="accent2"/>
          </a:lnRef>
          <a:fillRef idx="3">
            <a:schemeClr val="accent2"/>
          </a:fillRef>
          <a:effectRef idx="2">
            <a:schemeClr val="accent2"/>
          </a:effectRef>
          <a:fontRef idx="minor">
            <a:schemeClr val="lt1"/>
          </a:fontRef>
        </p:style>
        <p:txBody>
          <a:bodyPr lIns="68586" tIns="34294" rIns="68586" bIns="34294" rtlCol="0" anchor="ctr"/>
          <a:lstStyle/>
          <a:p>
            <a:pPr algn="ctr"/>
            <a:r>
              <a:rPr lang="en-US" sz="1100" dirty="0"/>
              <a:t>Add Data Disk to Machine</a:t>
            </a:r>
          </a:p>
        </p:txBody>
      </p:sp>
      <p:sp>
        <p:nvSpPr>
          <p:cNvPr id="57" name="Rectangle 56"/>
          <p:cNvSpPr/>
          <p:nvPr/>
        </p:nvSpPr>
        <p:spPr>
          <a:xfrm>
            <a:off x="4706644" y="2058096"/>
            <a:ext cx="1295400" cy="357881"/>
          </a:xfrm>
          <a:prstGeom prst="rect">
            <a:avLst/>
          </a:prstGeom>
        </p:spPr>
        <p:style>
          <a:lnRef idx="1">
            <a:schemeClr val="accent2"/>
          </a:lnRef>
          <a:fillRef idx="3">
            <a:schemeClr val="accent2"/>
          </a:fillRef>
          <a:effectRef idx="2">
            <a:schemeClr val="accent2"/>
          </a:effectRef>
          <a:fontRef idx="minor">
            <a:schemeClr val="lt1"/>
          </a:fontRef>
        </p:style>
        <p:txBody>
          <a:bodyPr lIns="68586" tIns="34294" rIns="68586" bIns="34294" rtlCol="0" anchor="ctr"/>
          <a:lstStyle/>
          <a:p>
            <a:pPr algn="ctr"/>
            <a:r>
              <a:rPr lang="en-US" sz="1100" dirty="0"/>
              <a:t>Server App-V Backup State</a:t>
            </a:r>
          </a:p>
        </p:txBody>
      </p:sp>
      <p:sp>
        <p:nvSpPr>
          <p:cNvPr id="59" name="Rectangle 58"/>
          <p:cNvSpPr/>
          <p:nvPr/>
        </p:nvSpPr>
        <p:spPr>
          <a:xfrm>
            <a:off x="1612354" y="2058096"/>
            <a:ext cx="1295400" cy="357881"/>
          </a:xfrm>
          <a:prstGeom prst="rect">
            <a:avLst/>
          </a:prstGeom>
        </p:spPr>
        <p:style>
          <a:lnRef idx="1">
            <a:schemeClr val="accent2"/>
          </a:lnRef>
          <a:fillRef idx="3">
            <a:schemeClr val="accent2"/>
          </a:fillRef>
          <a:effectRef idx="2">
            <a:schemeClr val="accent2"/>
          </a:effectRef>
          <a:fontRef idx="minor">
            <a:schemeClr val="lt1"/>
          </a:fontRef>
        </p:style>
        <p:txBody>
          <a:bodyPr lIns="68586" tIns="34294" rIns="68586" bIns="34294" rtlCol="0" anchor="ctr"/>
          <a:lstStyle/>
          <a:p>
            <a:pPr algn="ctr"/>
            <a:r>
              <a:rPr lang="en-US" sz="1100" dirty="0"/>
              <a:t>Swap OS Disk</a:t>
            </a:r>
          </a:p>
        </p:txBody>
      </p:sp>
      <p:sp>
        <p:nvSpPr>
          <p:cNvPr id="61" name="Rectangle 60"/>
          <p:cNvSpPr/>
          <p:nvPr/>
        </p:nvSpPr>
        <p:spPr>
          <a:xfrm>
            <a:off x="4706644" y="4433845"/>
            <a:ext cx="1295400" cy="357881"/>
          </a:xfrm>
          <a:prstGeom prst="rect">
            <a:avLst/>
          </a:prstGeom>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100" dirty="0">
                <a:gradFill>
                  <a:gsLst>
                    <a:gs pos="0">
                      <a:srgbClr val="000000"/>
                    </a:gs>
                    <a:gs pos="100000">
                      <a:srgbClr val="000000"/>
                    </a:gs>
                  </a:gsLst>
                  <a:lin ang="5400000" scaled="0"/>
                </a:gradFill>
              </a:rPr>
              <a:t>Application Level  Apply State GCE</a:t>
            </a:r>
          </a:p>
        </p:txBody>
      </p:sp>
      <p:cxnSp>
        <p:nvCxnSpPr>
          <p:cNvPr id="37" name="Straight Arrow Connector 36"/>
          <p:cNvCxnSpPr>
            <a:stCxn id="13" idx="2"/>
            <a:endCxn id="56" idx="0"/>
          </p:cNvCxnSpPr>
          <p:nvPr/>
        </p:nvCxnSpPr>
        <p:spPr>
          <a:xfrm>
            <a:off x="2260054" y="1486594"/>
            <a:ext cx="0" cy="1143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a:stCxn id="56" idx="3"/>
            <a:endCxn id="55" idx="1"/>
          </p:cNvCxnSpPr>
          <p:nvPr/>
        </p:nvCxnSpPr>
        <p:spPr>
          <a:xfrm>
            <a:off x="2907754" y="1779835"/>
            <a:ext cx="1798890"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stCxn id="55" idx="3"/>
            <a:endCxn id="57" idx="3"/>
          </p:cNvCxnSpPr>
          <p:nvPr/>
        </p:nvCxnSpPr>
        <p:spPr>
          <a:xfrm>
            <a:off x="6002045" y="1779836"/>
            <a:ext cx="9527" cy="457200"/>
          </a:xfrm>
          <a:prstGeom prst="bentConnector3">
            <a:avLst>
              <a:gd name="adj1" fmla="val 1800000"/>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a:stCxn id="57" idx="1"/>
            <a:endCxn id="59" idx="3"/>
          </p:cNvCxnSpPr>
          <p:nvPr/>
        </p:nvCxnSpPr>
        <p:spPr>
          <a:xfrm flipH="1">
            <a:off x="2907754" y="2237035"/>
            <a:ext cx="1798890"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a:stCxn id="59" idx="2"/>
            <a:endCxn id="47" idx="0"/>
          </p:cNvCxnSpPr>
          <p:nvPr/>
        </p:nvCxnSpPr>
        <p:spPr>
          <a:xfrm flipH="1">
            <a:off x="2258575" y="2415976"/>
            <a:ext cx="1480" cy="1414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a:stCxn id="9" idx="2"/>
            <a:endCxn id="46" idx="0"/>
          </p:cNvCxnSpPr>
          <p:nvPr/>
        </p:nvCxnSpPr>
        <p:spPr>
          <a:xfrm>
            <a:off x="5354344" y="3829746"/>
            <a:ext cx="0" cy="11360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a:stCxn id="61" idx="1"/>
            <a:endCxn id="7" idx="3"/>
          </p:cNvCxnSpPr>
          <p:nvPr/>
        </p:nvCxnSpPr>
        <p:spPr>
          <a:xfrm flipH="1">
            <a:off x="4427804" y="4612785"/>
            <a:ext cx="278840" cy="443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a:xfrm>
            <a:off x="7067011" y="29574"/>
            <a:ext cx="2000791" cy="288539"/>
          </a:xfrm>
          <a:prstGeom prst="rect">
            <a:avLst/>
          </a:prstGeom>
          <a:solidFill>
            <a:schemeClr val="accent2"/>
          </a:solidFill>
          <a:ln>
            <a:solidFill>
              <a:schemeClr val="accent1"/>
            </a:solidFill>
          </a:ln>
        </p:spPr>
        <p:txBody>
          <a:bodyPr wrap="square" lIns="68586" tIns="34294" rIns="68586" bIns="34294" rtlCol="0">
            <a:spAutoFit/>
          </a:bodyPr>
          <a:lstStyle/>
          <a:p>
            <a:r>
              <a:rPr lang="en-US" dirty="0" smtClean="0">
                <a:solidFill>
                  <a:schemeClr val="bg1"/>
                </a:solidFill>
              </a:rPr>
              <a:t>Image Based Updating</a:t>
            </a:r>
            <a:endParaRPr lang="en-US" dirty="0">
              <a:solidFill>
                <a:schemeClr val="bg1"/>
              </a:solidFill>
            </a:endParaRPr>
          </a:p>
        </p:txBody>
      </p:sp>
      <p:sp>
        <p:nvSpPr>
          <p:cNvPr id="52" name="Rectangle 51"/>
          <p:cNvSpPr/>
          <p:nvPr/>
        </p:nvSpPr>
        <p:spPr>
          <a:xfrm>
            <a:off x="91366" y="4476011"/>
            <a:ext cx="1295400" cy="257175"/>
          </a:xfrm>
          <a:prstGeom prst="rect">
            <a:avLst/>
          </a:prstGeom>
        </p:spPr>
        <p:style>
          <a:lnRef idx="1">
            <a:schemeClr val="accent2"/>
          </a:lnRef>
          <a:fillRef idx="3">
            <a:schemeClr val="accent2"/>
          </a:fillRef>
          <a:effectRef idx="2">
            <a:schemeClr val="accent2"/>
          </a:effectRef>
          <a:fontRef idx="minor">
            <a:schemeClr val="lt1"/>
          </a:fontRef>
        </p:style>
        <p:txBody>
          <a:bodyPr lIns="68586" tIns="34294" rIns="68586" bIns="34294" rtlCol="0" anchor="ctr"/>
          <a:lstStyle/>
          <a:p>
            <a:pPr algn="ctr"/>
            <a:r>
              <a:rPr lang="en-US" sz="1100" dirty="0"/>
              <a:t>Done</a:t>
            </a:r>
          </a:p>
        </p:txBody>
      </p:sp>
      <p:sp>
        <p:nvSpPr>
          <p:cNvPr id="46" name="Rectangle 45"/>
          <p:cNvSpPr/>
          <p:nvPr/>
        </p:nvSpPr>
        <p:spPr>
          <a:xfrm>
            <a:off x="4706644" y="3943350"/>
            <a:ext cx="1295400" cy="342900"/>
          </a:xfrm>
          <a:prstGeom prst="rect">
            <a:avLst/>
          </a:prstGeom>
        </p:spPr>
        <p:style>
          <a:lnRef idx="1">
            <a:schemeClr val="accent2"/>
          </a:lnRef>
          <a:fillRef idx="3">
            <a:schemeClr val="accent2"/>
          </a:fillRef>
          <a:effectRef idx="2">
            <a:schemeClr val="accent2"/>
          </a:effectRef>
          <a:fontRef idx="minor">
            <a:schemeClr val="lt1"/>
          </a:fontRef>
        </p:style>
        <p:txBody>
          <a:bodyPr lIns="68586" tIns="34294" rIns="68586" bIns="34294" rtlCol="0" anchor="ctr"/>
          <a:lstStyle/>
          <a:p>
            <a:pPr algn="ctr"/>
            <a:r>
              <a:rPr lang="en-US" sz="1100" dirty="0"/>
              <a:t>Server App-V Restore State</a:t>
            </a:r>
          </a:p>
        </p:txBody>
      </p:sp>
      <p:cxnSp>
        <p:nvCxnSpPr>
          <p:cNvPr id="49" name="Straight Arrow Connector 48"/>
          <p:cNvCxnSpPr>
            <a:stCxn id="46" idx="2"/>
            <a:endCxn id="61" idx="0"/>
          </p:cNvCxnSpPr>
          <p:nvPr/>
        </p:nvCxnSpPr>
        <p:spPr>
          <a:xfrm>
            <a:off x="5354344" y="4286251"/>
            <a:ext cx="0" cy="14759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53"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54"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4"/>
              </a:rPr>
              <a:t>www.rapidbbs.cn</a:t>
            </a:r>
            <a:endParaRPr lang="zh-CN" altLang="en-US" sz="1200" b="0">
              <a:latin typeface="Arial" charset="0"/>
              <a:ea typeface="ＭＳ Ｐゴシック" pitchFamily="34" charset="-128"/>
            </a:endParaRPr>
          </a:p>
        </p:txBody>
      </p:sp>
      <p:pic>
        <p:nvPicPr>
          <p:cNvPr id="60" name="Picture 2">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1"/>
    </p:custDataLst>
    <p:extLst>
      <p:ext uri="{BB962C8B-B14F-4D97-AF65-F5344CB8AC3E}">
        <p14:creationId xmlns:p14="http://schemas.microsoft.com/office/powerpoint/2010/main" val="36883139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500" fill="hold"/>
                                        <p:tgtEl>
                                          <p:spTgt spid="11"/>
                                        </p:tgtEl>
                                        <p:attrNameLst>
                                          <p:attrName>ppt_w</p:attrName>
                                        </p:attrNameLst>
                                      </p:cBhvr>
                                      <p:tavLst>
                                        <p:tav tm="0">
                                          <p:val>
                                            <p:fltVal val="0"/>
                                          </p:val>
                                        </p:tav>
                                        <p:tav tm="100000">
                                          <p:val>
                                            <p:strVal val="#ppt_w"/>
                                          </p:val>
                                        </p:tav>
                                      </p:tavLst>
                                    </p:anim>
                                    <p:anim calcmode="lin" valueType="num">
                                      <p:cBhvr>
                                        <p:cTn id="8" dur="500" fill="hold"/>
                                        <p:tgtEl>
                                          <p:spTgt spid="11"/>
                                        </p:tgtEl>
                                        <p:attrNameLst>
                                          <p:attrName>ppt_h</p:attrName>
                                        </p:attrNameLst>
                                      </p:cBhvr>
                                      <p:tavLst>
                                        <p:tav tm="0">
                                          <p:val>
                                            <p:fltVal val="0"/>
                                          </p:val>
                                        </p:tav>
                                        <p:tav tm="100000">
                                          <p:val>
                                            <p:strVal val="#ppt_h"/>
                                          </p:val>
                                        </p:tav>
                                      </p:tavLst>
                                    </p:anim>
                                    <p:animEffect transition="in" filter="fade">
                                      <p:cBhvr>
                                        <p:cTn id="9" dur="500"/>
                                        <p:tgtEl>
                                          <p:spTgt spid="11"/>
                                        </p:tgtEl>
                                      </p:cBhvr>
                                    </p:animEffect>
                                  </p:childTnLst>
                                </p:cTn>
                              </p:par>
                              <p:par>
                                <p:cTn id="10" presetID="53" presetClass="entr" presetSubtype="16" fill="hold" nodeType="withEffect">
                                  <p:stCondLst>
                                    <p:cond delay="0"/>
                                  </p:stCondLst>
                                  <p:childTnLst>
                                    <p:set>
                                      <p:cBhvr>
                                        <p:cTn id="11" dur="1" fill="hold">
                                          <p:stCondLst>
                                            <p:cond delay="0"/>
                                          </p:stCondLst>
                                        </p:cTn>
                                        <p:tgtEl>
                                          <p:spTgt spid="33"/>
                                        </p:tgtEl>
                                        <p:attrNameLst>
                                          <p:attrName>style.visibility</p:attrName>
                                        </p:attrNameLst>
                                      </p:cBhvr>
                                      <p:to>
                                        <p:strVal val="visible"/>
                                      </p:to>
                                    </p:set>
                                    <p:anim calcmode="lin" valueType="num">
                                      <p:cBhvr>
                                        <p:cTn id="12" dur="500" fill="hold"/>
                                        <p:tgtEl>
                                          <p:spTgt spid="33"/>
                                        </p:tgtEl>
                                        <p:attrNameLst>
                                          <p:attrName>ppt_w</p:attrName>
                                        </p:attrNameLst>
                                      </p:cBhvr>
                                      <p:tavLst>
                                        <p:tav tm="0">
                                          <p:val>
                                            <p:fltVal val="0"/>
                                          </p:val>
                                        </p:tav>
                                        <p:tav tm="100000">
                                          <p:val>
                                            <p:strVal val="#ppt_w"/>
                                          </p:val>
                                        </p:tav>
                                      </p:tavLst>
                                    </p:anim>
                                    <p:anim calcmode="lin" valueType="num">
                                      <p:cBhvr>
                                        <p:cTn id="13" dur="500" fill="hold"/>
                                        <p:tgtEl>
                                          <p:spTgt spid="33"/>
                                        </p:tgtEl>
                                        <p:attrNameLst>
                                          <p:attrName>ppt_h</p:attrName>
                                        </p:attrNameLst>
                                      </p:cBhvr>
                                      <p:tavLst>
                                        <p:tav tm="0">
                                          <p:val>
                                            <p:fltVal val="0"/>
                                          </p:val>
                                        </p:tav>
                                        <p:tav tm="100000">
                                          <p:val>
                                            <p:strVal val="#ppt_h"/>
                                          </p:val>
                                        </p:tav>
                                      </p:tavLst>
                                    </p:anim>
                                    <p:animEffect transition="in" filter="fade">
                                      <p:cBhvr>
                                        <p:cTn id="14" dur="500"/>
                                        <p:tgtEl>
                                          <p:spTgt spid="33"/>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 calcmode="lin" valueType="num">
                                      <p:cBhvr>
                                        <p:cTn id="17" dur="500" fill="hold"/>
                                        <p:tgtEl>
                                          <p:spTgt spid="12"/>
                                        </p:tgtEl>
                                        <p:attrNameLst>
                                          <p:attrName>ppt_w</p:attrName>
                                        </p:attrNameLst>
                                      </p:cBhvr>
                                      <p:tavLst>
                                        <p:tav tm="0">
                                          <p:val>
                                            <p:fltVal val="0"/>
                                          </p:val>
                                        </p:tav>
                                        <p:tav tm="100000">
                                          <p:val>
                                            <p:strVal val="#ppt_w"/>
                                          </p:val>
                                        </p:tav>
                                      </p:tavLst>
                                    </p:anim>
                                    <p:anim calcmode="lin" valueType="num">
                                      <p:cBhvr>
                                        <p:cTn id="18" dur="500" fill="hold"/>
                                        <p:tgtEl>
                                          <p:spTgt spid="12"/>
                                        </p:tgtEl>
                                        <p:attrNameLst>
                                          <p:attrName>ppt_h</p:attrName>
                                        </p:attrNameLst>
                                      </p:cBhvr>
                                      <p:tavLst>
                                        <p:tav tm="0">
                                          <p:val>
                                            <p:fltVal val="0"/>
                                          </p:val>
                                        </p:tav>
                                        <p:tav tm="100000">
                                          <p:val>
                                            <p:strVal val="#ppt_h"/>
                                          </p:val>
                                        </p:tav>
                                      </p:tavLst>
                                    </p:anim>
                                    <p:animEffect transition="in" filter="fade">
                                      <p:cBhvr>
                                        <p:cTn id="19" dur="500"/>
                                        <p:tgtEl>
                                          <p:spTgt spid="12"/>
                                        </p:tgtEl>
                                      </p:cBhvr>
                                    </p:animEffect>
                                  </p:childTnLst>
                                </p:cTn>
                              </p:par>
                              <p:par>
                                <p:cTn id="20" presetID="53" presetClass="entr" presetSubtype="16" fill="hold" nodeType="withEffect">
                                  <p:stCondLst>
                                    <p:cond delay="0"/>
                                  </p:stCondLst>
                                  <p:childTnLst>
                                    <p:set>
                                      <p:cBhvr>
                                        <p:cTn id="21" dur="1" fill="hold">
                                          <p:stCondLst>
                                            <p:cond delay="0"/>
                                          </p:stCondLst>
                                        </p:cTn>
                                        <p:tgtEl>
                                          <p:spTgt spid="36"/>
                                        </p:tgtEl>
                                        <p:attrNameLst>
                                          <p:attrName>style.visibility</p:attrName>
                                        </p:attrNameLst>
                                      </p:cBhvr>
                                      <p:to>
                                        <p:strVal val="visible"/>
                                      </p:to>
                                    </p:set>
                                    <p:anim calcmode="lin" valueType="num">
                                      <p:cBhvr>
                                        <p:cTn id="22" dur="500" fill="hold"/>
                                        <p:tgtEl>
                                          <p:spTgt spid="36"/>
                                        </p:tgtEl>
                                        <p:attrNameLst>
                                          <p:attrName>ppt_w</p:attrName>
                                        </p:attrNameLst>
                                      </p:cBhvr>
                                      <p:tavLst>
                                        <p:tav tm="0">
                                          <p:val>
                                            <p:fltVal val="0"/>
                                          </p:val>
                                        </p:tav>
                                        <p:tav tm="100000">
                                          <p:val>
                                            <p:strVal val="#ppt_w"/>
                                          </p:val>
                                        </p:tav>
                                      </p:tavLst>
                                    </p:anim>
                                    <p:anim calcmode="lin" valueType="num">
                                      <p:cBhvr>
                                        <p:cTn id="23" dur="500" fill="hold"/>
                                        <p:tgtEl>
                                          <p:spTgt spid="36"/>
                                        </p:tgtEl>
                                        <p:attrNameLst>
                                          <p:attrName>ppt_h</p:attrName>
                                        </p:attrNameLst>
                                      </p:cBhvr>
                                      <p:tavLst>
                                        <p:tav tm="0">
                                          <p:val>
                                            <p:fltVal val="0"/>
                                          </p:val>
                                        </p:tav>
                                        <p:tav tm="100000">
                                          <p:val>
                                            <p:strVal val="#ppt_h"/>
                                          </p:val>
                                        </p:tav>
                                      </p:tavLst>
                                    </p:anim>
                                    <p:animEffect transition="in" filter="fade">
                                      <p:cBhvr>
                                        <p:cTn id="24" dur="500"/>
                                        <p:tgtEl>
                                          <p:spTgt spid="36"/>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anim calcmode="lin" valueType="num">
                                      <p:cBhvr>
                                        <p:cTn id="27" dur="500" fill="hold"/>
                                        <p:tgtEl>
                                          <p:spTgt spid="13"/>
                                        </p:tgtEl>
                                        <p:attrNameLst>
                                          <p:attrName>ppt_w</p:attrName>
                                        </p:attrNameLst>
                                      </p:cBhvr>
                                      <p:tavLst>
                                        <p:tav tm="0">
                                          <p:val>
                                            <p:fltVal val="0"/>
                                          </p:val>
                                        </p:tav>
                                        <p:tav tm="100000">
                                          <p:val>
                                            <p:strVal val="#ppt_w"/>
                                          </p:val>
                                        </p:tav>
                                      </p:tavLst>
                                    </p:anim>
                                    <p:anim calcmode="lin" valueType="num">
                                      <p:cBhvr>
                                        <p:cTn id="28" dur="500" fill="hold"/>
                                        <p:tgtEl>
                                          <p:spTgt spid="13"/>
                                        </p:tgtEl>
                                        <p:attrNameLst>
                                          <p:attrName>ppt_h</p:attrName>
                                        </p:attrNameLst>
                                      </p:cBhvr>
                                      <p:tavLst>
                                        <p:tav tm="0">
                                          <p:val>
                                            <p:fltVal val="0"/>
                                          </p:val>
                                        </p:tav>
                                        <p:tav tm="100000">
                                          <p:val>
                                            <p:strVal val="#ppt_h"/>
                                          </p:val>
                                        </p:tav>
                                      </p:tavLst>
                                    </p:anim>
                                    <p:animEffect transition="in" filter="fade">
                                      <p:cBhvr>
                                        <p:cTn id="29" dur="500"/>
                                        <p:tgtEl>
                                          <p:spTgt spid="13"/>
                                        </p:tgtEl>
                                      </p:cBhvr>
                                    </p:animEffect>
                                  </p:childTnLst>
                                </p:cTn>
                              </p:par>
                            </p:childTnLst>
                          </p:cTn>
                        </p:par>
                      </p:childTnLst>
                    </p:cTn>
                  </p:par>
                  <p:par>
                    <p:cTn id="30" fill="hold">
                      <p:stCondLst>
                        <p:cond delay="indefinite"/>
                      </p:stCondLst>
                      <p:childTnLst>
                        <p:par>
                          <p:cTn id="31" fill="hold">
                            <p:stCondLst>
                              <p:cond delay="0"/>
                            </p:stCondLst>
                            <p:childTnLst>
                              <p:par>
                                <p:cTn id="32" presetID="53" presetClass="entr" presetSubtype="16" fill="hold" nodeType="clickEffect">
                                  <p:stCondLst>
                                    <p:cond delay="0"/>
                                  </p:stCondLst>
                                  <p:childTnLst>
                                    <p:set>
                                      <p:cBhvr>
                                        <p:cTn id="33" dur="1" fill="hold">
                                          <p:stCondLst>
                                            <p:cond delay="0"/>
                                          </p:stCondLst>
                                        </p:cTn>
                                        <p:tgtEl>
                                          <p:spTgt spid="37"/>
                                        </p:tgtEl>
                                        <p:attrNameLst>
                                          <p:attrName>style.visibility</p:attrName>
                                        </p:attrNameLst>
                                      </p:cBhvr>
                                      <p:to>
                                        <p:strVal val="visible"/>
                                      </p:to>
                                    </p:set>
                                    <p:anim calcmode="lin" valueType="num">
                                      <p:cBhvr>
                                        <p:cTn id="34" dur="500" fill="hold"/>
                                        <p:tgtEl>
                                          <p:spTgt spid="37"/>
                                        </p:tgtEl>
                                        <p:attrNameLst>
                                          <p:attrName>ppt_w</p:attrName>
                                        </p:attrNameLst>
                                      </p:cBhvr>
                                      <p:tavLst>
                                        <p:tav tm="0">
                                          <p:val>
                                            <p:fltVal val="0"/>
                                          </p:val>
                                        </p:tav>
                                        <p:tav tm="100000">
                                          <p:val>
                                            <p:strVal val="#ppt_w"/>
                                          </p:val>
                                        </p:tav>
                                      </p:tavLst>
                                    </p:anim>
                                    <p:anim calcmode="lin" valueType="num">
                                      <p:cBhvr>
                                        <p:cTn id="35" dur="500" fill="hold"/>
                                        <p:tgtEl>
                                          <p:spTgt spid="37"/>
                                        </p:tgtEl>
                                        <p:attrNameLst>
                                          <p:attrName>ppt_h</p:attrName>
                                        </p:attrNameLst>
                                      </p:cBhvr>
                                      <p:tavLst>
                                        <p:tav tm="0">
                                          <p:val>
                                            <p:fltVal val="0"/>
                                          </p:val>
                                        </p:tav>
                                        <p:tav tm="100000">
                                          <p:val>
                                            <p:strVal val="#ppt_h"/>
                                          </p:val>
                                        </p:tav>
                                      </p:tavLst>
                                    </p:anim>
                                    <p:animEffect transition="in" filter="fade">
                                      <p:cBhvr>
                                        <p:cTn id="36" dur="500"/>
                                        <p:tgtEl>
                                          <p:spTgt spid="37"/>
                                        </p:tgtEl>
                                      </p:cBhvr>
                                    </p:animEffect>
                                  </p:childTnLst>
                                </p:cTn>
                              </p:par>
                              <p:par>
                                <p:cTn id="37" presetID="53" presetClass="entr" presetSubtype="16" fill="hold" grpId="0" nodeType="withEffect">
                                  <p:stCondLst>
                                    <p:cond delay="0"/>
                                  </p:stCondLst>
                                  <p:childTnLst>
                                    <p:set>
                                      <p:cBhvr>
                                        <p:cTn id="38" dur="1" fill="hold">
                                          <p:stCondLst>
                                            <p:cond delay="0"/>
                                          </p:stCondLst>
                                        </p:cTn>
                                        <p:tgtEl>
                                          <p:spTgt spid="56"/>
                                        </p:tgtEl>
                                        <p:attrNameLst>
                                          <p:attrName>style.visibility</p:attrName>
                                        </p:attrNameLst>
                                      </p:cBhvr>
                                      <p:to>
                                        <p:strVal val="visible"/>
                                      </p:to>
                                    </p:set>
                                    <p:anim calcmode="lin" valueType="num">
                                      <p:cBhvr>
                                        <p:cTn id="39" dur="500" fill="hold"/>
                                        <p:tgtEl>
                                          <p:spTgt spid="56"/>
                                        </p:tgtEl>
                                        <p:attrNameLst>
                                          <p:attrName>ppt_w</p:attrName>
                                        </p:attrNameLst>
                                      </p:cBhvr>
                                      <p:tavLst>
                                        <p:tav tm="0">
                                          <p:val>
                                            <p:fltVal val="0"/>
                                          </p:val>
                                        </p:tav>
                                        <p:tav tm="100000">
                                          <p:val>
                                            <p:strVal val="#ppt_w"/>
                                          </p:val>
                                        </p:tav>
                                      </p:tavLst>
                                    </p:anim>
                                    <p:anim calcmode="lin" valueType="num">
                                      <p:cBhvr>
                                        <p:cTn id="40" dur="500" fill="hold"/>
                                        <p:tgtEl>
                                          <p:spTgt spid="56"/>
                                        </p:tgtEl>
                                        <p:attrNameLst>
                                          <p:attrName>ppt_h</p:attrName>
                                        </p:attrNameLst>
                                      </p:cBhvr>
                                      <p:tavLst>
                                        <p:tav tm="0">
                                          <p:val>
                                            <p:fltVal val="0"/>
                                          </p:val>
                                        </p:tav>
                                        <p:tav tm="100000">
                                          <p:val>
                                            <p:strVal val="#ppt_h"/>
                                          </p:val>
                                        </p:tav>
                                      </p:tavLst>
                                    </p:anim>
                                    <p:animEffect transition="in" filter="fade">
                                      <p:cBhvr>
                                        <p:cTn id="41" dur="500"/>
                                        <p:tgtEl>
                                          <p:spTgt spid="56"/>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45"/>
                                        </p:tgtEl>
                                        <p:attrNameLst>
                                          <p:attrName>style.visibility</p:attrName>
                                        </p:attrNameLst>
                                      </p:cBhvr>
                                      <p:to>
                                        <p:strVal val="visible"/>
                                      </p:to>
                                    </p:set>
                                    <p:anim calcmode="lin" valueType="num">
                                      <p:cBhvr>
                                        <p:cTn id="46" dur="500" fill="hold"/>
                                        <p:tgtEl>
                                          <p:spTgt spid="45"/>
                                        </p:tgtEl>
                                        <p:attrNameLst>
                                          <p:attrName>ppt_w</p:attrName>
                                        </p:attrNameLst>
                                      </p:cBhvr>
                                      <p:tavLst>
                                        <p:tav tm="0">
                                          <p:val>
                                            <p:fltVal val="0"/>
                                          </p:val>
                                        </p:tav>
                                        <p:tav tm="100000">
                                          <p:val>
                                            <p:strVal val="#ppt_w"/>
                                          </p:val>
                                        </p:tav>
                                      </p:tavLst>
                                    </p:anim>
                                    <p:anim calcmode="lin" valueType="num">
                                      <p:cBhvr>
                                        <p:cTn id="47" dur="500" fill="hold"/>
                                        <p:tgtEl>
                                          <p:spTgt spid="45"/>
                                        </p:tgtEl>
                                        <p:attrNameLst>
                                          <p:attrName>ppt_h</p:attrName>
                                        </p:attrNameLst>
                                      </p:cBhvr>
                                      <p:tavLst>
                                        <p:tav tm="0">
                                          <p:val>
                                            <p:fltVal val="0"/>
                                          </p:val>
                                        </p:tav>
                                        <p:tav tm="100000">
                                          <p:val>
                                            <p:strVal val="#ppt_h"/>
                                          </p:val>
                                        </p:tav>
                                      </p:tavLst>
                                    </p:anim>
                                    <p:animEffect transition="in" filter="fade">
                                      <p:cBhvr>
                                        <p:cTn id="48" dur="500"/>
                                        <p:tgtEl>
                                          <p:spTgt spid="45"/>
                                        </p:tgtEl>
                                      </p:cBhvr>
                                    </p:animEffect>
                                  </p:childTnLst>
                                </p:cTn>
                              </p:par>
                              <p:par>
                                <p:cTn id="49" presetID="53" presetClass="entr" presetSubtype="16" fill="hold" grpId="0" nodeType="withEffect">
                                  <p:stCondLst>
                                    <p:cond delay="0"/>
                                  </p:stCondLst>
                                  <p:childTnLst>
                                    <p:set>
                                      <p:cBhvr>
                                        <p:cTn id="50" dur="1" fill="hold">
                                          <p:stCondLst>
                                            <p:cond delay="0"/>
                                          </p:stCondLst>
                                        </p:cTn>
                                        <p:tgtEl>
                                          <p:spTgt spid="55"/>
                                        </p:tgtEl>
                                        <p:attrNameLst>
                                          <p:attrName>style.visibility</p:attrName>
                                        </p:attrNameLst>
                                      </p:cBhvr>
                                      <p:to>
                                        <p:strVal val="visible"/>
                                      </p:to>
                                    </p:set>
                                    <p:anim calcmode="lin" valueType="num">
                                      <p:cBhvr>
                                        <p:cTn id="51" dur="500" fill="hold"/>
                                        <p:tgtEl>
                                          <p:spTgt spid="55"/>
                                        </p:tgtEl>
                                        <p:attrNameLst>
                                          <p:attrName>ppt_w</p:attrName>
                                        </p:attrNameLst>
                                      </p:cBhvr>
                                      <p:tavLst>
                                        <p:tav tm="0">
                                          <p:val>
                                            <p:fltVal val="0"/>
                                          </p:val>
                                        </p:tav>
                                        <p:tav tm="100000">
                                          <p:val>
                                            <p:strVal val="#ppt_w"/>
                                          </p:val>
                                        </p:tav>
                                      </p:tavLst>
                                    </p:anim>
                                    <p:anim calcmode="lin" valueType="num">
                                      <p:cBhvr>
                                        <p:cTn id="52" dur="500" fill="hold"/>
                                        <p:tgtEl>
                                          <p:spTgt spid="55"/>
                                        </p:tgtEl>
                                        <p:attrNameLst>
                                          <p:attrName>ppt_h</p:attrName>
                                        </p:attrNameLst>
                                      </p:cBhvr>
                                      <p:tavLst>
                                        <p:tav tm="0">
                                          <p:val>
                                            <p:fltVal val="0"/>
                                          </p:val>
                                        </p:tav>
                                        <p:tav tm="100000">
                                          <p:val>
                                            <p:strVal val="#ppt_h"/>
                                          </p:val>
                                        </p:tav>
                                      </p:tavLst>
                                    </p:anim>
                                    <p:animEffect transition="in" filter="fade">
                                      <p:cBhvr>
                                        <p:cTn id="53" dur="500"/>
                                        <p:tgtEl>
                                          <p:spTgt spid="55"/>
                                        </p:tgtEl>
                                      </p:cBhvr>
                                    </p:animEffect>
                                  </p:childTnLst>
                                </p:cTn>
                              </p:par>
                            </p:childTnLst>
                          </p:cTn>
                        </p:par>
                      </p:childTnLst>
                    </p:cTn>
                  </p:par>
                  <p:par>
                    <p:cTn id="54" fill="hold">
                      <p:stCondLst>
                        <p:cond delay="indefinite"/>
                      </p:stCondLst>
                      <p:childTnLst>
                        <p:par>
                          <p:cTn id="55" fill="hold">
                            <p:stCondLst>
                              <p:cond delay="0"/>
                            </p:stCondLst>
                            <p:childTnLst>
                              <p:par>
                                <p:cTn id="56" presetID="53" presetClass="entr" presetSubtype="16" fill="hold" nodeType="clickEffect">
                                  <p:stCondLst>
                                    <p:cond delay="0"/>
                                  </p:stCondLst>
                                  <p:childTnLst>
                                    <p:set>
                                      <p:cBhvr>
                                        <p:cTn id="57" dur="1" fill="hold">
                                          <p:stCondLst>
                                            <p:cond delay="0"/>
                                          </p:stCondLst>
                                        </p:cTn>
                                        <p:tgtEl>
                                          <p:spTgt spid="51"/>
                                        </p:tgtEl>
                                        <p:attrNameLst>
                                          <p:attrName>style.visibility</p:attrName>
                                        </p:attrNameLst>
                                      </p:cBhvr>
                                      <p:to>
                                        <p:strVal val="visible"/>
                                      </p:to>
                                    </p:set>
                                    <p:anim calcmode="lin" valueType="num">
                                      <p:cBhvr>
                                        <p:cTn id="58" dur="500" fill="hold"/>
                                        <p:tgtEl>
                                          <p:spTgt spid="51"/>
                                        </p:tgtEl>
                                        <p:attrNameLst>
                                          <p:attrName>ppt_w</p:attrName>
                                        </p:attrNameLst>
                                      </p:cBhvr>
                                      <p:tavLst>
                                        <p:tav tm="0">
                                          <p:val>
                                            <p:fltVal val="0"/>
                                          </p:val>
                                        </p:tav>
                                        <p:tav tm="100000">
                                          <p:val>
                                            <p:strVal val="#ppt_w"/>
                                          </p:val>
                                        </p:tav>
                                      </p:tavLst>
                                    </p:anim>
                                    <p:anim calcmode="lin" valueType="num">
                                      <p:cBhvr>
                                        <p:cTn id="59" dur="500" fill="hold"/>
                                        <p:tgtEl>
                                          <p:spTgt spid="51"/>
                                        </p:tgtEl>
                                        <p:attrNameLst>
                                          <p:attrName>ppt_h</p:attrName>
                                        </p:attrNameLst>
                                      </p:cBhvr>
                                      <p:tavLst>
                                        <p:tav tm="0">
                                          <p:val>
                                            <p:fltVal val="0"/>
                                          </p:val>
                                        </p:tav>
                                        <p:tav tm="100000">
                                          <p:val>
                                            <p:strVal val="#ppt_h"/>
                                          </p:val>
                                        </p:tav>
                                      </p:tavLst>
                                    </p:anim>
                                    <p:animEffect transition="in" filter="fade">
                                      <p:cBhvr>
                                        <p:cTn id="60" dur="500"/>
                                        <p:tgtEl>
                                          <p:spTgt spid="51"/>
                                        </p:tgtEl>
                                      </p:cBhvr>
                                    </p:animEffect>
                                  </p:childTnLst>
                                </p:cTn>
                              </p:par>
                              <p:par>
                                <p:cTn id="61" presetID="53" presetClass="entr" presetSubtype="16" fill="hold" grpId="0" nodeType="withEffect">
                                  <p:stCondLst>
                                    <p:cond delay="0"/>
                                  </p:stCondLst>
                                  <p:childTnLst>
                                    <p:set>
                                      <p:cBhvr>
                                        <p:cTn id="62" dur="1" fill="hold">
                                          <p:stCondLst>
                                            <p:cond delay="0"/>
                                          </p:stCondLst>
                                        </p:cTn>
                                        <p:tgtEl>
                                          <p:spTgt spid="57"/>
                                        </p:tgtEl>
                                        <p:attrNameLst>
                                          <p:attrName>style.visibility</p:attrName>
                                        </p:attrNameLst>
                                      </p:cBhvr>
                                      <p:to>
                                        <p:strVal val="visible"/>
                                      </p:to>
                                    </p:set>
                                    <p:anim calcmode="lin" valueType="num">
                                      <p:cBhvr>
                                        <p:cTn id="63" dur="500" fill="hold"/>
                                        <p:tgtEl>
                                          <p:spTgt spid="57"/>
                                        </p:tgtEl>
                                        <p:attrNameLst>
                                          <p:attrName>ppt_w</p:attrName>
                                        </p:attrNameLst>
                                      </p:cBhvr>
                                      <p:tavLst>
                                        <p:tav tm="0">
                                          <p:val>
                                            <p:fltVal val="0"/>
                                          </p:val>
                                        </p:tav>
                                        <p:tav tm="100000">
                                          <p:val>
                                            <p:strVal val="#ppt_w"/>
                                          </p:val>
                                        </p:tav>
                                      </p:tavLst>
                                    </p:anim>
                                    <p:anim calcmode="lin" valueType="num">
                                      <p:cBhvr>
                                        <p:cTn id="64" dur="500" fill="hold"/>
                                        <p:tgtEl>
                                          <p:spTgt spid="57"/>
                                        </p:tgtEl>
                                        <p:attrNameLst>
                                          <p:attrName>ppt_h</p:attrName>
                                        </p:attrNameLst>
                                      </p:cBhvr>
                                      <p:tavLst>
                                        <p:tav tm="0">
                                          <p:val>
                                            <p:fltVal val="0"/>
                                          </p:val>
                                        </p:tav>
                                        <p:tav tm="100000">
                                          <p:val>
                                            <p:strVal val="#ppt_h"/>
                                          </p:val>
                                        </p:tav>
                                      </p:tavLst>
                                    </p:anim>
                                    <p:animEffect transition="in" filter="fade">
                                      <p:cBhvr>
                                        <p:cTn id="65" dur="500"/>
                                        <p:tgtEl>
                                          <p:spTgt spid="57"/>
                                        </p:tgtEl>
                                      </p:cBhvr>
                                    </p:animEffect>
                                  </p:childTnLst>
                                </p:cTn>
                              </p:par>
                            </p:childTnLst>
                          </p:cTn>
                        </p:par>
                      </p:childTnLst>
                    </p:cTn>
                  </p:par>
                  <p:par>
                    <p:cTn id="66" fill="hold">
                      <p:stCondLst>
                        <p:cond delay="indefinite"/>
                      </p:stCondLst>
                      <p:childTnLst>
                        <p:par>
                          <p:cTn id="67" fill="hold">
                            <p:stCondLst>
                              <p:cond delay="0"/>
                            </p:stCondLst>
                            <p:childTnLst>
                              <p:par>
                                <p:cTn id="68" presetID="53" presetClass="entr" presetSubtype="16" fill="hold" nodeType="clickEffect">
                                  <p:stCondLst>
                                    <p:cond delay="0"/>
                                  </p:stCondLst>
                                  <p:childTnLst>
                                    <p:set>
                                      <p:cBhvr>
                                        <p:cTn id="69" dur="1" fill="hold">
                                          <p:stCondLst>
                                            <p:cond delay="0"/>
                                          </p:stCondLst>
                                        </p:cTn>
                                        <p:tgtEl>
                                          <p:spTgt spid="66"/>
                                        </p:tgtEl>
                                        <p:attrNameLst>
                                          <p:attrName>style.visibility</p:attrName>
                                        </p:attrNameLst>
                                      </p:cBhvr>
                                      <p:to>
                                        <p:strVal val="visible"/>
                                      </p:to>
                                    </p:set>
                                    <p:anim calcmode="lin" valueType="num">
                                      <p:cBhvr>
                                        <p:cTn id="70" dur="500" fill="hold"/>
                                        <p:tgtEl>
                                          <p:spTgt spid="66"/>
                                        </p:tgtEl>
                                        <p:attrNameLst>
                                          <p:attrName>ppt_w</p:attrName>
                                        </p:attrNameLst>
                                      </p:cBhvr>
                                      <p:tavLst>
                                        <p:tav tm="0">
                                          <p:val>
                                            <p:fltVal val="0"/>
                                          </p:val>
                                        </p:tav>
                                        <p:tav tm="100000">
                                          <p:val>
                                            <p:strVal val="#ppt_w"/>
                                          </p:val>
                                        </p:tav>
                                      </p:tavLst>
                                    </p:anim>
                                    <p:anim calcmode="lin" valueType="num">
                                      <p:cBhvr>
                                        <p:cTn id="71" dur="500" fill="hold"/>
                                        <p:tgtEl>
                                          <p:spTgt spid="66"/>
                                        </p:tgtEl>
                                        <p:attrNameLst>
                                          <p:attrName>ppt_h</p:attrName>
                                        </p:attrNameLst>
                                      </p:cBhvr>
                                      <p:tavLst>
                                        <p:tav tm="0">
                                          <p:val>
                                            <p:fltVal val="0"/>
                                          </p:val>
                                        </p:tav>
                                        <p:tav tm="100000">
                                          <p:val>
                                            <p:strVal val="#ppt_h"/>
                                          </p:val>
                                        </p:tav>
                                      </p:tavLst>
                                    </p:anim>
                                    <p:animEffect transition="in" filter="fade">
                                      <p:cBhvr>
                                        <p:cTn id="72" dur="500"/>
                                        <p:tgtEl>
                                          <p:spTgt spid="66"/>
                                        </p:tgtEl>
                                      </p:cBhvr>
                                    </p:animEffect>
                                  </p:childTnLst>
                                </p:cTn>
                              </p:par>
                              <p:par>
                                <p:cTn id="73" presetID="53" presetClass="entr" presetSubtype="16" fill="hold" grpId="0" nodeType="withEffect">
                                  <p:stCondLst>
                                    <p:cond delay="0"/>
                                  </p:stCondLst>
                                  <p:childTnLst>
                                    <p:set>
                                      <p:cBhvr>
                                        <p:cTn id="74" dur="1" fill="hold">
                                          <p:stCondLst>
                                            <p:cond delay="0"/>
                                          </p:stCondLst>
                                        </p:cTn>
                                        <p:tgtEl>
                                          <p:spTgt spid="59"/>
                                        </p:tgtEl>
                                        <p:attrNameLst>
                                          <p:attrName>style.visibility</p:attrName>
                                        </p:attrNameLst>
                                      </p:cBhvr>
                                      <p:to>
                                        <p:strVal val="visible"/>
                                      </p:to>
                                    </p:set>
                                    <p:anim calcmode="lin" valueType="num">
                                      <p:cBhvr>
                                        <p:cTn id="75" dur="500" fill="hold"/>
                                        <p:tgtEl>
                                          <p:spTgt spid="59"/>
                                        </p:tgtEl>
                                        <p:attrNameLst>
                                          <p:attrName>ppt_w</p:attrName>
                                        </p:attrNameLst>
                                      </p:cBhvr>
                                      <p:tavLst>
                                        <p:tav tm="0">
                                          <p:val>
                                            <p:fltVal val="0"/>
                                          </p:val>
                                        </p:tav>
                                        <p:tav tm="100000">
                                          <p:val>
                                            <p:strVal val="#ppt_w"/>
                                          </p:val>
                                        </p:tav>
                                      </p:tavLst>
                                    </p:anim>
                                    <p:anim calcmode="lin" valueType="num">
                                      <p:cBhvr>
                                        <p:cTn id="76" dur="500" fill="hold"/>
                                        <p:tgtEl>
                                          <p:spTgt spid="59"/>
                                        </p:tgtEl>
                                        <p:attrNameLst>
                                          <p:attrName>ppt_h</p:attrName>
                                        </p:attrNameLst>
                                      </p:cBhvr>
                                      <p:tavLst>
                                        <p:tav tm="0">
                                          <p:val>
                                            <p:fltVal val="0"/>
                                          </p:val>
                                        </p:tav>
                                        <p:tav tm="100000">
                                          <p:val>
                                            <p:strVal val="#ppt_h"/>
                                          </p:val>
                                        </p:tav>
                                      </p:tavLst>
                                    </p:anim>
                                    <p:animEffect transition="in" filter="fade">
                                      <p:cBhvr>
                                        <p:cTn id="77" dur="500"/>
                                        <p:tgtEl>
                                          <p:spTgt spid="59"/>
                                        </p:tgtEl>
                                      </p:cBhvr>
                                    </p:animEffect>
                                  </p:childTnLst>
                                </p:cTn>
                              </p:par>
                            </p:childTnLst>
                          </p:cTn>
                        </p:par>
                      </p:childTnLst>
                    </p:cTn>
                  </p:par>
                  <p:par>
                    <p:cTn id="78" fill="hold">
                      <p:stCondLst>
                        <p:cond delay="indefinite"/>
                      </p:stCondLst>
                      <p:childTnLst>
                        <p:par>
                          <p:cTn id="79" fill="hold">
                            <p:stCondLst>
                              <p:cond delay="0"/>
                            </p:stCondLst>
                            <p:childTnLst>
                              <p:par>
                                <p:cTn id="80" presetID="53" presetClass="entr" presetSubtype="16" fill="hold" nodeType="clickEffect">
                                  <p:stCondLst>
                                    <p:cond delay="0"/>
                                  </p:stCondLst>
                                  <p:childTnLst>
                                    <p:set>
                                      <p:cBhvr>
                                        <p:cTn id="81" dur="1" fill="hold">
                                          <p:stCondLst>
                                            <p:cond delay="0"/>
                                          </p:stCondLst>
                                        </p:cTn>
                                        <p:tgtEl>
                                          <p:spTgt spid="68"/>
                                        </p:tgtEl>
                                        <p:attrNameLst>
                                          <p:attrName>style.visibility</p:attrName>
                                        </p:attrNameLst>
                                      </p:cBhvr>
                                      <p:to>
                                        <p:strVal val="visible"/>
                                      </p:to>
                                    </p:set>
                                    <p:anim calcmode="lin" valueType="num">
                                      <p:cBhvr>
                                        <p:cTn id="82" dur="500" fill="hold"/>
                                        <p:tgtEl>
                                          <p:spTgt spid="68"/>
                                        </p:tgtEl>
                                        <p:attrNameLst>
                                          <p:attrName>ppt_w</p:attrName>
                                        </p:attrNameLst>
                                      </p:cBhvr>
                                      <p:tavLst>
                                        <p:tav tm="0">
                                          <p:val>
                                            <p:fltVal val="0"/>
                                          </p:val>
                                        </p:tav>
                                        <p:tav tm="100000">
                                          <p:val>
                                            <p:strVal val="#ppt_w"/>
                                          </p:val>
                                        </p:tav>
                                      </p:tavLst>
                                    </p:anim>
                                    <p:anim calcmode="lin" valueType="num">
                                      <p:cBhvr>
                                        <p:cTn id="83" dur="500" fill="hold"/>
                                        <p:tgtEl>
                                          <p:spTgt spid="68"/>
                                        </p:tgtEl>
                                        <p:attrNameLst>
                                          <p:attrName>ppt_h</p:attrName>
                                        </p:attrNameLst>
                                      </p:cBhvr>
                                      <p:tavLst>
                                        <p:tav tm="0">
                                          <p:val>
                                            <p:fltVal val="0"/>
                                          </p:val>
                                        </p:tav>
                                        <p:tav tm="100000">
                                          <p:val>
                                            <p:strVal val="#ppt_h"/>
                                          </p:val>
                                        </p:tav>
                                      </p:tavLst>
                                    </p:anim>
                                    <p:animEffect transition="in" filter="fade">
                                      <p:cBhvr>
                                        <p:cTn id="84" dur="500"/>
                                        <p:tgtEl>
                                          <p:spTgt spid="68"/>
                                        </p:tgtEl>
                                      </p:cBhvr>
                                    </p:animEffect>
                                  </p:childTnLst>
                                </p:cTn>
                              </p:par>
                              <p:par>
                                <p:cTn id="85" presetID="53" presetClass="entr" presetSubtype="16" fill="hold" grpId="0" nodeType="withEffect">
                                  <p:stCondLst>
                                    <p:cond delay="0"/>
                                  </p:stCondLst>
                                  <p:childTnLst>
                                    <p:set>
                                      <p:cBhvr>
                                        <p:cTn id="86" dur="1" fill="hold">
                                          <p:stCondLst>
                                            <p:cond delay="0"/>
                                          </p:stCondLst>
                                        </p:cTn>
                                        <p:tgtEl>
                                          <p:spTgt spid="47"/>
                                        </p:tgtEl>
                                        <p:attrNameLst>
                                          <p:attrName>style.visibility</p:attrName>
                                        </p:attrNameLst>
                                      </p:cBhvr>
                                      <p:to>
                                        <p:strVal val="visible"/>
                                      </p:to>
                                    </p:set>
                                    <p:anim calcmode="lin" valueType="num">
                                      <p:cBhvr>
                                        <p:cTn id="87" dur="500" fill="hold"/>
                                        <p:tgtEl>
                                          <p:spTgt spid="47"/>
                                        </p:tgtEl>
                                        <p:attrNameLst>
                                          <p:attrName>ppt_w</p:attrName>
                                        </p:attrNameLst>
                                      </p:cBhvr>
                                      <p:tavLst>
                                        <p:tav tm="0">
                                          <p:val>
                                            <p:fltVal val="0"/>
                                          </p:val>
                                        </p:tav>
                                        <p:tav tm="100000">
                                          <p:val>
                                            <p:strVal val="#ppt_w"/>
                                          </p:val>
                                        </p:tav>
                                      </p:tavLst>
                                    </p:anim>
                                    <p:anim calcmode="lin" valueType="num">
                                      <p:cBhvr>
                                        <p:cTn id="88" dur="500" fill="hold"/>
                                        <p:tgtEl>
                                          <p:spTgt spid="47"/>
                                        </p:tgtEl>
                                        <p:attrNameLst>
                                          <p:attrName>ppt_h</p:attrName>
                                        </p:attrNameLst>
                                      </p:cBhvr>
                                      <p:tavLst>
                                        <p:tav tm="0">
                                          <p:val>
                                            <p:fltVal val="0"/>
                                          </p:val>
                                        </p:tav>
                                        <p:tav tm="100000">
                                          <p:val>
                                            <p:strVal val="#ppt_h"/>
                                          </p:val>
                                        </p:tav>
                                      </p:tavLst>
                                    </p:anim>
                                    <p:animEffect transition="in" filter="fade">
                                      <p:cBhvr>
                                        <p:cTn id="89" dur="500"/>
                                        <p:tgtEl>
                                          <p:spTgt spid="47"/>
                                        </p:tgtEl>
                                      </p:cBhvr>
                                    </p:animEffect>
                                  </p:childTnLst>
                                </p:cTn>
                              </p:par>
                            </p:childTnLst>
                          </p:cTn>
                        </p:par>
                      </p:childTnLst>
                    </p:cTn>
                  </p:par>
                  <p:par>
                    <p:cTn id="90" fill="hold">
                      <p:stCondLst>
                        <p:cond delay="indefinite"/>
                      </p:stCondLst>
                      <p:childTnLst>
                        <p:par>
                          <p:cTn id="91" fill="hold">
                            <p:stCondLst>
                              <p:cond delay="0"/>
                            </p:stCondLst>
                            <p:childTnLst>
                              <p:par>
                                <p:cTn id="92" presetID="53" presetClass="entr" presetSubtype="16" fill="hold" nodeType="clickEffect">
                                  <p:stCondLst>
                                    <p:cond delay="0"/>
                                  </p:stCondLst>
                                  <p:childTnLst>
                                    <p:set>
                                      <p:cBhvr>
                                        <p:cTn id="93" dur="1" fill="hold">
                                          <p:stCondLst>
                                            <p:cond delay="0"/>
                                          </p:stCondLst>
                                        </p:cTn>
                                        <p:tgtEl>
                                          <p:spTgt spid="40"/>
                                        </p:tgtEl>
                                        <p:attrNameLst>
                                          <p:attrName>style.visibility</p:attrName>
                                        </p:attrNameLst>
                                      </p:cBhvr>
                                      <p:to>
                                        <p:strVal val="visible"/>
                                      </p:to>
                                    </p:set>
                                    <p:anim calcmode="lin" valueType="num">
                                      <p:cBhvr>
                                        <p:cTn id="94" dur="500" fill="hold"/>
                                        <p:tgtEl>
                                          <p:spTgt spid="40"/>
                                        </p:tgtEl>
                                        <p:attrNameLst>
                                          <p:attrName>ppt_w</p:attrName>
                                        </p:attrNameLst>
                                      </p:cBhvr>
                                      <p:tavLst>
                                        <p:tav tm="0">
                                          <p:val>
                                            <p:fltVal val="0"/>
                                          </p:val>
                                        </p:tav>
                                        <p:tav tm="100000">
                                          <p:val>
                                            <p:strVal val="#ppt_w"/>
                                          </p:val>
                                        </p:tav>
                                      </p:tavLst>
                                    </p:anim>
                                    <p:anim calcmode="lin" valueType="num">
                                      <p:cBhvr>
                                        <p:cTn id="95" dur="500" fill="hold"/>
                                        <p:tgtEl>
                                          <p:spTgt spid="40"/>
                                        </p:tgtEl>
                                        <p:attrNameLst>
                                          <p:attrName>ppt_h</p:attrName>
                                        </p:attrNameLst>
                                      </p:cBhvr>
                                      <p:tavLst>
                                        <p:tav tm="0">
                                          <p:val>
                                            <p:fltVal val="0"/>
                                          </p:val>
                                        </p:tav>
                                        <p:tav tm="100000">
                                          <p:val>
                                            <p:strVal val="#ppt_h"/>
                                          </p:val>
                                        </p:tav>
                                      </p:tavLst>
                                    </p:anim>
                                    <p:animEffect transition="in" filter="fade">
                                      <p:cBhvr>
                                        <p:cTn id="96" dur="500"/>
                                        <p:tgtEl>
                                          <p:spTgt spid="40"/>
                                        </p:tgtEl>
                                      </p:cBhvr>
                                    </p:animEffect>
                                  </p:childTnLst>
                                </p:cTn>
                              </p:par>
                              <p:par>
                                <p:cTn id="97" presetID="53" presetClass="entr" presetSubtype="16" fill="hold" grpId="0" nodeType="withEffect">
                                  <p:stCondLst>
                                    <p:cond delay="0"/>
                                  </p:stCondLst>
                                  <p:childTnLst>
                                    <p:set>
                                      <p:cBhvr>
                                        <p:cTn id="98" dur="1" fill="hold">
                                          <p:stCondLst>
                                            <p:cond delay="0"/>
                                          </p:stCondLst>
                                        </p:cTn>
                                        <p:tgtEl>
                                          <p:spTgt spid="6"/>
                                        </p:tgtEl>
                                        <p:attrNameLst>
                                          <p:attrName>style.visibility</p:attrName>
                                        </p:attrNameLst>
                                      </p:cBhvr>
                                      <p:to>
                                        <p:strVal val="visible"/>
                                      </p:to>
                                    </p:set>
                                    <p:anim calcmode="lin" valueType="num">
                                      <p:cBhvr>
                                        <p:cTn id="99" dur="500" fill="hold"/>
                                        <p:tgtEl>
                                          <p:spTgt spid="6"/>
                                        </p:tgtEl>
                                        <p:attrNameLst>
                                          <p:attrName>ppt_w</p:attrName>
                                        </p:attrNameLst>
                                      </p:cBhvr>
                                      <p:tavLst>
                                        <p:tav tm="0">
                                          <p:val>
                                            <p:fltVal val="0"/>
                                          </p:val>
                                        </p:tav>
                                        <p:tav tm="100000">
                                          <p:val>
                                            <p:strVal val="#ppt_w"/>
                                          </p:val>
                                        </p:tav>
                                      </p:tavLst>
                                    </p:anim>
                                    <p:anim calcmode="lin" valueType="num">
                                      <p:cBhvr>
                                        <p:cTn id="100" dur="500" fill="hold"/>
                                        <p:tgtEl>
                                          <p:spTgt spid="6"/>
                                        </p:tgtEl>
                                        <p:attrNameLst>
                                          <p:attrName>ppt_h</p:attrName>
                                        </p:attrNameLst>
                                      </p:cBhvr>
                                      <p:tavLst>
                                        <p:tav tm="0">
                                          <p:val>
                                            <p:fltVal val="0"/>
                                          </p:val>
                                        </p:tav>
                                        <p:tav tm="100000">
                                          <p:val>
                                            <p:strVal val="#ppt_h"/>
                                          </p:val>
                                        </p:tav>
                                      </p:tavLst>
                                    </p:anim>
                                    <p:animEffect transition="in" filter="fade">
                                      <p:cBhvr>
                                        <p:cTn id="101" dur="500"/>
                                        <p:tgtEl>
                                          <p:spTgt spid="6"/>
                                        </p:tgtEl>
                                      </p:cBhvr>
                                    </p:animEffect>
                                  </p:childTnLst>
                                </p:cTn>
                              </p:par>
                              <p:par>
                                <p:cTn id="102" presetID="53" presetClass="entr" presetSubtype="16" fill="hold" nodeType="withEffect">
                                  <p:stCondLst>
                                    <p:cond delay="0"/>
                                  </p:stCondLst>
                                  <p:childTnLst>
                                    <p:set>
                                      <p:cBhvr>
                                        <p:cTn id="103" dur="1" fill="hold">
                                          <p:stCondLst>
                                            <p:cond delay="0"/>
                                          </p:stCondLst>
                                        </p:cTn>
                                        <p:tgtEl>
                                          <p:spTgt spid="42"/>
                                        </p:tgtEl>
                                        <p:attrNameLst>
                                          <p:attrName>style.visibility</p:attrName>
                                        </p:attrNameLst>
                                      </p:cBhvr>
                                      <p:to>
                                        <p:strVal val="visible"/>
                                      </p:to>
                                    </p:set>
                                    <p:anim calcmode="lin" valueType="num">
                                      <p:cBhvr>
                                        <p:cTn id="104" dur="500" fill="hold"/>
                                        <p:tgtEl>
                                          <p:spTgt spid="42"/>
                                        </p:tgtEl>
                                        <p:attrNameLst>
                                          <p:attrName>ppt_w</p:attrName>
                                        </p:attrNameLst>
                                      </p:cBhvr>
                                      <p:tavLst>
                                        <p:tav tm="0">
                                          <p:val>
                                            <p:fltVal val="0"/>
                                          </p:val>
                                        </p:tav>
                                        <p:tav tm="100000">
                                          <p:val>
                                            <p:strVal val="#ppt_w"/>
                                          </p:val>
                                        </p:tav>
                                      </p:tavLst>
                                    </p:anim>
                                    <p:anim calcmode="lin" valueType="num">
                                      <p:cBhvr>
                                        <p:cTn id="105" dur="500" fill="hold"/>
                                        <p:tgtEl>
                                          <p:spTgt spid="42"/>
                                        </p:tgtEl>
                                        <p:attrNameLst>
                                          <p:attrName>ppt_h</p:attrName>
                                        </p:attrNameLst>
                                      </p:cBhvr>
                                      <p:tavLst>
                                        <p:tav tm="0">
                                          <p:val>
                                            <p:fltVal val="0"/>
                                          </p:val>
                                        </p:tav>
                                        <p:tav tm="100000">
                                          <p:val>
                                            <p:strVal val="#ppt_h"/>
                                          </p:val>
                                        </p:tav>
                                      </p:tavLst>
                                    </p:anim>
                                    <p:animEffect transition="in" filter="fade">
                                      <p:cBhvr>
                                        <p:cTn id="106" dur="500"/>
                                        <p:tgtEl>
                                          <p:spTgt spid="42"/>
                                        </p:tgtEl>
                                      </p:cBhvr>
                                    </p:animEffect>
                                  </p:childTnLst>
                                </p:cTn>
                              </p:par>
                              <p:par>
                                <p:cTn id="107" presetID="53" presetClass="entr" presetSubtype="16" fill="hold" grpId="0" nodeType="withEffect">
                                  <p:stCondLst>
                                    <p:cond delay="0"/>
                                  </p:stCondLst>
                                  <p:childTnLst>
                                    <p:set>
                                      <p:cBhvr>
                                        <p:cTn id="108" dur="1" fill="hold">
                                          <p:stCondLst>
                                            <p:cond delay="0"/>
                                          </p:stCondLst>
                                        </p:cTn>
                                        <p:tgtEl>
                                          <p:spTgt spid="8"/>
                                        </p:tgtEl>
                                        <p:attrNameLst>
                                          <p:attrName>style.visibility</p:attrName>
                                        </p:attrNameLst>
                                      </p:cBhvr>
                                      <p:to>
                                        <p:strVal val="visible"/>
                                      </p:to>
                                    </p:set>
                                    <p:anim calcmode="lin" valueType="num">
                                      <p:cBhvr>
                                        <p:cTn id="109" dur="500" fill="hold"/>
                                        <p:tgtEl>
                                          <p:spTgt spid="8"/>
                                        </p:tgtEl>
                                        <p:attrNameLst>
                                          <p:attrName>ppt_w</p:attrName>
                                        </p:attrNameLst>
                                      </p:cBhvr>
                                      <p:tavLst>
                                        <p:tav tm="0">
                                          <p:val>
                                            <p:fltVal val="0"/>
                                          </p:val>
                                        </p:tav>
                                        <p:tav tm="100000">
                                          <p:val>
                                            <p:strVal val="#ppt_w"/>
                                          </p:val>
                                        </p:tav>
                                      </p:tavLst>
                                    </p:anim>
                                    <p:anim calcmode="lin" valueType="num">
                                      <p:cBhvr>
                                        <p:cTn id="110" dur="500" fill="hold"/>
                                        <p:tgtEl>
                                          <p:spTgt spid="8"/>
                                        </p:tgtEl>
                                        <p:attrNameLst>
                                          <p:attrName>ppt_h</p:attrName>
                                        </p:attrNameLst>
                                      </p:cBhvr>
                                      <p:tavLst>
                                        <p:tav tm="0">
                                          <p:val>
                                            <p:fltVal val="0"/>
                                          </p:val>
                                        </p:tav>
                                        <p:tav tm="100000">
                                          <p:val>
                                            <p:strVal val="#ppt_h"/>
                                          </p:val>
                                        </p:tav>
                                      </p:tavLst>
                                    </p:anim>
                                    <p:animEffect transition="in" filter="fade">
                                      <p:cBhvr>
                                        <p:cTn id="111" dur="500"/>
                                        <p:tgtEl>
                                          <p:spTgt spid="8"/>
                                        </p:tgtEl>
                                      </p:cBhvr>
                                    </p:animEffect>
                                  </p:childTnLst>
                                </p:cTn>
                              </p:par>
                              <p:par>
                                <p:cTn id="112" presetID="53" presetClass="entr" presetSubtype="16" fill="hold" nodeType="withEffect">
                                  <p:stCondLst>
                                    <p:cond delay="0"/>
                                  </p:stCondLst>
                                  <p:childTnLst>
                                    <p:set>
                                      <p:cBhvr>
                                        <p:cTn id="113" dur="1" fill="hold">
                                          <p:stCondLst>
                                            <p:cond delay="0"/>
                                          </p:stCondLst>
                                        </p:cTn>
                                        <p:tgtEl>
                                          <p:spTgt spid="44"/>
                                        </p:tgtEl>
                                        <p:attrNameLst>
                                          <p:attrName>style.visibility</p:attrName>
                                        </p:attrNameLst>
                                      </p:cBhvr>
                                      <p:to>
                                        <p:strVal val="visible"/>
                                      </p:to>
                                    </p:set>
                                    <p:anim calcmode="lin" valueType="num">
                                      <p:cBhvr>
                                        <p:cTn id="114" dur="500" fill="hold"/>
                                        <p:tgtEl>
                                          <p:spTgt spid="44"/>
                                        </p:tgtEl>
                                        <p:attrNameLst>
                                          <p:attrName>ppt_w</p:attrName>
                                        </p:attrNameLst>
                                      </p:cBhvr>
                                      <p:tavLst>
                                        <p:tav tm="0">
                                          <p:val>
                                            <p:fltVal val="0"/>
                                          </p:val>
                                        </p:tav>
                                        <p:tav tm="100000">
                                          <p:val>
                                            <p:strVal val="#ppt_w"/>
                                          </p:val>
                                        </p:tav>
                                      </p:tavLst>
                                    </p:anim>
                                    <p:anim calcmode="lin" valueType="num">
                                      <p:cBhvr>
                                        <p:cTn id="115" dur="500" fill="hold"/>
                                        <p:tgtEl>
                                          <p:spTgt spid="44"/>
                                        </p:tgtEl>
                                        <p:attrNameLst>
                                          <p:attrName>ppt_h</p:attrName>
                                        </p:attrNameLst>
                                      </p:cBhvr>
                                      <p:tavLst>
                                        <p:tav tm="0">
                                          <p:val>
                                            <p:fltVal val="0"/>
                                          </p:val>
                                        </p:tav>
                                        <p:tav tm="100000">
                                          <p:val>
                                            <p:strVal val="#ppt_h"/>
                                          </p:val>
                                        </p:tav>
                                      </p:tavLst>
                                    </p:anim>
                                    <p:animEffect transition="in" filter="fade">
                                      <p:cBhvr>
                                        <p:cTn id="116" dur="500"/>
                                        <p:tgtEl>
                                          <p:spTgt spid="44"/>
                                        </p:tgtEl>
                                      </p:cBhvr>
                                    </p:animEffect>
                                  </p:childTnLst>
                                </p:cTn>
                              </p:par>
                              <p:par>
                                <p:cTn id="117" presetID="53" presetClass="entr" presetSubtype="16" fill="hold" grpId="0" nodeType="withEffect">
                                  <p:stCondLst>
                                    <p:cond delay="0"/>
                                  </p:stCondLst>
                                  <p:childTnLst>
                                    <p:set>
                                      <p:cBhvr>
                                        <p:cTn id="118" dur="1" fill="hold">
                                          <p:stCondLst>
                                            <p:cond delay="0"/>
                                          </p:stCondLst>
                                        </p:cTn>
                                        <p:tgtEl>
                                          <p:spTgt spid="16"/>
                                        </p:tgtEl>
                                        <p:attrNameLst>
                                          <p:attrName>style.visibility</p:attrName>
                                        </p:attrNameLst>
                                      </p:cBhvr>
                                      <p:to>
                                        <p:strVal val="visible"/>
                                      </p:to>
                                    </p:set>
                                    <p:anim calcmode="lin" valueType="num">
                                      <p:cBhvr>
                                        <p:cTn id="119" dur="500" fill="hold"/>
                                        <p:tgtEl>
                                          <p:spTgt spid="16"/>
                                        </p:tgtEl>
                                        <p:attrNameLst>
                                          <p:attrName>ppt_w</p:attrName>
                                        </p:attrNameLst>
                                      </p:cBhvr>
                                      <p:tavLst>
                                        <p:tav tm="0">
                                          <p:val>
                                            <p:fltVal val="0"/>
                                          </p:val>
                                        </p:tav>
                                        <p:tav tm="100000">
                                          <p:val>
                                            <p:strVal val="#ppt_w"/>
                                          </p:val>
                                        </p:tav>
                                      </p:tavLst>
                                    </p:anim>
                                    <p:anim calcmode="lin" valueType="num">
                                      <p:cBhvr>
                                        <p:cTn id="120" dur="500" fill="hold"/>
                                        <p:tgtEl>
                                          <p:spTgt spid="16"/>
                                        </p:tgtEl>
                                        <p:attrNameLst>
                                          <p:attrName>ppt_h</p:attrName>
                                        </p:attrNameLst>
                                      </p:cBhvr>
                                      <p:tavLst>
                                        <p:tav tm="0">
                                          <p:val>
                                            <p:fltVal val="0"/>
                                          </p:val>
                                        </p:tav>
                                        <p:tav tm="100000">
                                          <p:val>
                                            <p:strVal val="#ppt_h"/>
                                          </p:val>
                                        </p:tav>
                                      </p:tavLst>
                                    </p:anim>
                                    <p:animEffect transition="in" filter="fade">
                                      <p:cBhvr>
                                        <p:cTn id="121" dur="500"/>
                                        <p:tgtEl>
                                          <p:spTgt spid="16"/>
                                        </p:tgtEl>
                                      </p:cBhvr>
                                    </p:animEffect>
                                  </p:childTnLst>
                                </p:cTn>
                              </p:par>
                              <p:par>
                                <p:cTn id="122" presetID="53" presetClass="entr" presetSubtype="16" fill="hold" nodeType="withEffect">
                                  <p:stCondLst>
                                    <p:cond delay="0"/>
                                  </p:stCondLst>
                                  <p:childTnLst>
                                    <p:set>
                                      <p:cBhvr>
                                        <p:cTn id="123" dur="1" fill="hold">
                                          <p:stCondLst>
                                            <p:cond delay="0"/>
                                          </p:stCondLst>
                                        </p:cTn>
                                        <p:tgtEl>
                                          <p:spTgt spid="48"/>
                                        </p:tgtEl>
                                        <p:attrNameLst>
                                          <p:attrName>style.visibility</p:attrName>
                                        </p:attrNameLst>
                                      </p:cBhvr>
                                      <p:to>
                                        <p:strVal val="visible"/>
                                      </p:to>
                                    </p:set>
                                    <p:anim calcmode="lin" valueType="num">
                                      <p:cBhvr>
                                        <p:cTn id="124" dur="500" fill="hold"/>
                                        <p:tgtEl>
                                          <p:spTgt spid="48"/>
                                        </p:tgtEl>
                                        <p:attrNameLst>
                                          <p:attrName>ppt_w</p:attrName>
                                        </p:attrNameLst>
                                      </p:cBhvr>
                                      <p:tavLst>
                                        <p:tav tm="0">
                                          <p:val>
                                            <p:fltVal val="0"/>
                                          </p:val>
                                        </p:tav>
                                        <p:tav tm="100000">
                                          <p:val>
                                            <p:strVal val="#ppt_w"/>
                                          </p:val>
                                        </p:tav>
                                      </p:tavLst>
                                    </p:anim>
                                    <p:anim calcmode="lin" valueType="num">
                                      <p:cBhvr>
                                        <p:cTn id="125" dur="500" fill="hold"/>
                                        <p:tgtEl>
                                          <p:spTgt spid="48"/>
                                        </p:tgtEl>
                                        <p:attrNameLst>
                                          <p:attrName>ppt_h</p:attrName>
                                        </p:attrNameLst>
                                      </p:cBhvr>
                                      <p:tavLst>
                                        <p:tav tm="0">
                                          <p:val>
                                            <p:fltVal val="0"/>
                                          </p:val>
                                        </p:tav>
                                        <p:tav tm="100000">
                                          <p:val>
                                            <p:strVal val="#ppt_h"/>
                                          </p:val>
                                        </p:tav>
                                      </p:tavLst>
                                    </p:anim>
                                    <p:animEffect transition="in" filter="fade">
                                      <p:cBhvr>
                                        <p:cTn id="126" dur="500"/>
                                        <p:tgtEl>
                                          <p:spTgt spid="48"/>
                                        </p:tgtEl>
                                      </p:cBhvr>
                                    </p:animEffect>
                                  </p:childTnLst>
                                </p:cTn>
                              </p:par>
                              <p:par>
                                <p:cTn id="127" presetID="53" presetClass="entr" presetSubtype="16" fill="hold" grpId="0" nodeType="withEffect">
                                  <p:stCondLst>
                                    <p:cond delay="0"/>
                                  </p:stCondLst>
                                  <p:childTnLst>
                                    <p:set>
                                      <p:cBhvr>
                                        <p:cTn id="128" dur="1" fill="hold">
                                          <p:stCondLst>
                                            <p:cond delay="0"/>
                                          </p:stCondLst>
                                        </p:cTn>
                                        <p:tgtEl>
                                          <p:spTgt spid="9"/>
                                        </p:tgtEl>
                                        <p:attrNameLst>
                                          <p:attrName>style.visibility</p:attrName>
                                        </p:attrNameLst>
                                      </p:cBhvr>
                                      <p:to>
                                        <p:strVal val="visible"/>
                                      </p:to>
                                    </p:set>
                                    <p:anim calcmode="lin" valueType="num">
                                      <p:cBhvr>
                                        <p:cTn id="129" dur="500" fill="hold"/>
                                        <p:tgtEl>
                                          <p:spTgt spid="9"/>
                                        </p:tgtEl>
                                        <p:attrNameLst>
                                          <p:attrName>ppt_w</p:attrName>
                                        </p:attrNameLst>
                                      </p:cBhvr>
                                      <p:tavLst>
                                        <p:tav tm="0">
                                          <p:val>
                                            <p:fltVal val="0"/>
                                          </p:val>
                                        </p:tav>
                                        <p:tav tm="100000">
                                          <p:val>
                                            <p:strVal val="#ppt_w"/>
                                          </p:val>
                                        </p:tav>
                                      </p:tavLst>
                                    </p:anim>
                                    <p:anim calcmode="lin" valueType="num">
                                      <p:cBhvr>
                                        <p:cTn id="130" dur="500" fill="hold"/>
                                        <p:tgtEl>
                                          <p:spTgt spid="9"/>
                                        </p:tgtEl>
                                        <p:attrNameLst>
                                          <p:attrName>ppt_h</p:attrName>
                                        </p:attrNameLst>
                                      </p:cBhvr>
                                      <p:tavLst>
                                        <p:tav tm="0">
                                          <p:val>
                                            <p:fltVal val="0"/>
                                          </p:val>
                                        </p:tav>
                                        <p:tav tm="100000">
                                          <p:val>
                                            <p:strVal val="#ppt_h"/>
                                          </p:val>
                                        </p:tav>
                                      </p:tavLst>
                                    </p:anim>
                                    <p:animEffect transition="in" filter="fade">
                                      <p:cBhvr>
                                        <p:cTn id="131" dur="500"/>
                                        <p:tgtEl>
                                          <p:spTgt spid="9"/>
                                        </p:tgtEl>
                                      </p:cBhvr>
                                    </p:animEffect>
                                  </p:childTnLst>
                                </p:cTn>
                              </p:par>
                            </p:childTnLst>
                          </p:cTn>
                        </p:par>
                      </p:childTnLst>
                    </p:cTn>
                  </p:par>
                  <p:par>
                    <p:cTn id="132" fill="hold">
                      <p:stCondLst>
                        <p:cond delay="indefinite"/>
                      </p:stCondLst>
                      <p:childTnLst>
                        <p:par>
                          <p:cTn id="133" fill="hold">
                            <p:stCondLst>
                              <p:cond delay="0"/>
                            </p:stCondLst>
                            <p:childTnLst>
                              <p:par>
                                <p:cTn id="134" presetID="53" presetClass="entr" presetSubtype="16" fill="hold" nodeType="clickEffect">
                                  <p:stCondLst>
                                    <p:cond delay="0"/>
                                  </p:stCondLst>
                                  <p:childTnLst>
                                    <p:set>
                                      <p:cBhvr>
                                        <p:cTn id="135" dur="1" fill="hold">
                                          <p:stCondLst>
                                            <p:cond delay="0"/>
                                          </p:stCondLst>
                                        </p:cTn>
                                        <p:tgtEl>
                                          <p:spTgt spid="70"/>
                                        </p:tgtEl>
                                        <p:attrNameLst>
                                          <p:attrName>style.visibility</p:attrName>
                                        </p:attrNameLst>
                                      </p:cBhvr>
                                      <p:to>
                                        <p:strVal val="visible"/>
                                      </p:to>
                                    </p:set>
                                    <p:anim calcmode="lin" valueType="num">
                                      <p:cBhvr>
                                        <p:cTn id="136" dur="500" fill="hold"/>
                                        <p:tgtEl>
                                          <p:spTgt spid="70"/>
                                        </p:tgtEl>
                                        <p:attrNameLst>
                                          <p:attrName>ppt_w</p:attrName>
                                        </p:attrNameLst>
                                      </p:cBhvr>
                                      <p:tavLst>
                                        <p:tav tm="0">
                                          <p:val>
                                            <p:fltVal val="0"/>
                                          </p:val>
                                        </p:tav>
                                        <p:tav tm="100000">
                                          <p:val>
                                            <p:strVal val="#ppt_w"/>
                                          </p:val>
                                        </p:tav>
                                      </p:tavLst>
                                    </p:anim>
                                    <p:anim calcmode="lin" valueType="num">
                                      <p:cBhvr>
                                        <p:cTn id="137" dur="500" fill="hold"/>
                                        <p:tgtEl>
                                          <p:spTgt spid="70"/>
                                        </p:tgtEl>
                                        <p:attrNameLst>
                                          <p:attrName>ppt_h</p:attrName>
                                        </p:attrNameLst>
                                      </p:cBhvr>
                                      <p:tavLst>
                                        <p:tav tm="0">
                                          <p:val>
                                            <p:fltVal val="0"/>
                                          </p:val>
                                        </p:tav>
                                        <p:tav tm="100000">
                                          <p:val>
                                            <p:strVal val="#ppt_h"/>
                                          </p:val>
                                        </p:tav>
                                      </p:tavLst>
                                    </p:anim>
                                    <p:animEffect transition="in" filter="fade">
                                      <p:cBhvr>
                                        <p:cTn id="138" dur="500"/>
                                        <p:tgtEl>
                                          <p:spTgt spid="70"/>
                                        </p:tgtEl>
                                      </p:cBhvr>
                                    </p:animEffect>
                                  </p:childTnLst>
                                </p:cTn>
                              </p:par>
                              <p:par>
                                <p:cTn id="139" presetID="53" presetClass="entr" presetSubtype="16" fill="hold" grpId="0" nodeType="withEffect">
                                  <p:stCondLst>
                                    <p:cond delay="0"/>
                                  </p:stCondLst>
                                  <p:childTnLst>
                                    <p:set>
                                      <p:cBhvr>
                                        <p:cTn id="140" dur="1" fill="hold">
                                          <p:stCondLst>
                                            <p:cond delay="0"/>
                                          </p:stCondLst>
                                        </p:cTn>
                                        <p:tgtEl>
                                          <p:spTgt spid="46"/>
                                        </p:tgtEl>
                                        <p:attrNameLst>
                                          <p:attrName>style.visibility</p:attrName>
                                        </p:attrNameLst>
                                      </p:cBhvr>
                                      <p:to>
                                        <p:strVal val="visible"/>
                                      </p:to>
                                    </p:set>
                                    <p:anim calcmode="lin" valueType="num">
                                      <p:cBhvr>
                                        <p:cTn id="141" dur="500" fill="hold"/>
                                        <p:tgtEl>
                                          <p:spTgt spid="46"/>
                                        </p:tgtEl>
                                        <p:attrNameLst>
                                          <p:attrName>ppt_w</p:attrName>
                                        </p:attrNameLst>
                                      </p:cBhvr>
                                      <p:tavLst>
                                        <p:tav tm="0">
                                          <p:val>
                                            <p:fltVal val="0"/>
                                          </p:val>
                                        </p:tav>
                                        <p:tav tm="100000">
                                          <p:val>
                                            <p:strVal val="#ppt_w"/>
                                          </p:val>
                                        </p:tav>
                                      </p:tavLst>
                                    </p:anim>
                                    <p:anim calcmode="lin" valueType="num">
                                      <p:cBhvr>
                                        <p:cTn id="142" dur="500" fill="hold"/>
                                        <p:tgtEl>
                                          <p:spTgt spid="46"/>
                                        </p:tgtEl>
                                        <p:attrNameLst>
                                          <p:attrName>ppt_h</p:attrName>
                                        </p:attrNameLst>
                                      </p:cBhvr>
                                      <p:tavLst>
                                        <p:tav tm="0">
                                          <p:val>
                                            <p:fltVal val="0"/>
                                          </p:val>
                                        </p:tav>
                                        <p:tav tm="100000">
                                          <p:val>
                                            <p:strVal val="#ppt_h"/>
                                          </p:val>
                                        </p:tav>
                                      </p:tavLst>
                                    </p:anim>
                                    <p:animEffect transition="in" filter="fade">
                                      <p:cBhvr>
                                        <p:cTn id="143" dur="500"/>
                                        <p:tgtEl>
                                          <p:spTgt spid="46"/>
                                        </p:tgtEl>
                                      </p:cBhvr>
                                    </p:animEffect>
                                  </p:childTnLst>
                                </p:cTn>
                              </p:par>
                            </p:childTnLst>
                          </p:cTn>
                        </p:par>
                      </p:childTnLst>
                    </p:cTn>
                  </p:par>
                  <p:par>
                    <p:cTn id="144" fill="hold">
                      <p:stCondLst>
                        <p:cond delay="indefinite"/>
                      </p:stCondLst>
                      <p:childTnLst>
                        <p:par>
                          <p:cTn id="145" fill="hold">
                            <p:stCondLst>
                              <p:cond delay="0"/>
                            </p:stCondLst>
                            <p:childTnLst>
                              <p:par>
                                <p:cTn id="146" presetID="53" presetClass="entr" presetSubtype="16" fill="hold" nodeType="clickEffect">
                                  <p:stCondLst>
                                    <p:cond delay="0"/>
                                  </p:stCondLst>
                                  <p:childTnLst>
                                    <p:set>
                                      <p:cBhvr>
                                        <p:cTn id="147" dur="1" fill="hold">
                                          <p:stCondLst>
                                            <p:cond delay="0"/>
                                          </p:stCondLst>
                                        </p:cTn>
                                        <p:tgtEl>
                                          <p:spTgt spid="49"/>
                                        </p:tgtEl>
                                        <p:attrNameLst>
                                          <p:attrName>style.visibility</p:attrName>
                                        </p:attrNameLst>
                                      </p:cBhvr>
                                      <p:to>
                                        <p:strVal val="visible"/>
                                      </p:to>
                                    </p:set>
                                    <p:anim calcmode="lin" valueType="num">
                                      <p:cBhvr>
                                        <p:cTn id="148" dur="500" fill="hold"/>
                                        <p:tgtEl>
                                          <p:spTgt spid="49"/>
                                        </p:tgtEl>
                                        <p:attrNameLst>
                                          <p:attrName>ppt_w</p:attrName>
                                        </p:attrNameLst>
                                      </p:cBhvr>
                                      <p:tavLst>
                                        <p:tav tm="0">
                                          <p:val>
                                            <p:fltVal val="0"/>
                                          </p:val>
                                        </p:tav>
                                        <p:tav tm="100000">
                                          <p:val>
                                            <p:strVal val="#ppt_w"/>
                                          </p:val>
                                        </p:tav>
                                      </p:tavLst>
                                    </p:anim>
                                    <p:anim calcmode="lin" valueType="num">
                                      <p:cBhvr>
                                        <p:cTn id="149" dur="500" fill="hold"/>
                                        <p:tgtEl>
                                          <p:spTgt spid="49"/>
                                        </p:tgtEl>
                                        <p:attrNameLst>
                                          <p:attrName>ppt_h</p:attrName>
                                        </p:attrNameLst>
                                      </p:cBhvr>
                                      <p:tavLst>
                                        <p:tav tm="0">
                                          <p:val>
                                            <p:fltVal val="0"/>
                                          </p:val>
                                        </p:tav>
                                        <p:tav tm="100000">
                                          <p:val>
                                            <p:strVal val="#ppt_h"/>
                                          </p:val>
                                        </p:tav>
                                      </p:tavLst>
                                    </p:anim>
                                    <p:animEffect transition="in" filter="fade">
                                      <p:cBhvr>
                                        <p:cTn id="150" dur="500"/>
                                        <p:tgtEl>
                                          <p:spTgt spid="49"/>
                                        </p:tgtEl>
                                      </p:cBhvr>
                                    </p:animEffect>
                                  </p:childTnLst>
                                </p:cTn>
                              </p:par>
                              <p:par>
                                <p:cTn id="151" presetID="53" presetClass="entr" presetSubtype="16" fill="hold" grpId="0" nodeType="withEffect">
                                  <p:stCondLst>
                                    <p:cond delay="0"/>
                                  </p:stCondLst>
                                  <p:childTnLst>
                                    <p:set>
                                      <p:cBhvr>
                                        <p:cTn id="152" dur="1" fill="hold">
                                          <p:stCondLst>
                                            <p:cond delay="0"/>
                                          </p:stCondLst>
                                        </p:cTn>
                                        <p:tgtEl>
                                          <p:spTgt spid="61"/>
                                        </p:tgtEl>
                                        <p:attrNameLst>
                                          <p:attrName>style.visibility</p:attrName>
                                        </p:attrNameLst>
                                      </p:cBhvr>
                                      <p:to>
                                        <p:strVal val="visible"/>
                                      </p:to>
                                    </p:set>
                                    <p:anim calcmode="lin" valueType="num">
                                      <p:cBhvr>
                                        <p:cTn id="153" dur="500" fill="hold"/>
                                        <p:tgtEl>
                                          <p:spTgt spid="61"/>
                                        </p:tgtEl>
                                        <p:attrNameLst>
                                          <p:attrName>ppt_w</p:attrName>
                                        </p:attrNameLst>
                                      </p:cBhvr>
                                      <p:tavLst>
                                        <p:tav tm="0">
                                          <p:val>
                                            <p:fltVal val="0"/>
                                          </p:val>
                                        </p:tav>
                                        <p:tav tm="100000">
                                          <p:val>
                                            <p:strVal val="#ppt_w"/>
                                          </p:val>
                                        </p:tav>
                                      </p:tavLst>
                                    </p:anim>
                                    <p:anim calcmode="lin" valueType="num">
                                      <p:cBhvr>
                                        <p:cTn id="154" dur="500" fill="hold"/>
                                        <p:tgtEl>
                                          <p:spTgt spid="61"/>
                                        </p:tgtEl>
                                        <p:attrNameLst>
                                          <p:attrName>ppt_h</p:attrName>
                                        </p:attrNameLst>
                                      </p:cBhvr>
                                      <p:tavLst>
                                        <p:tav tm="0">
                                          <p:val>
                                            <p:fltVal val="0"/>
                                          </p:val>
                                        </p:tav>
                                        <p:tav tm="100000">
                                          <p:val>
                                            <p:strVal val="#ppt_h"/>
                                          </p:val>
                                        </p:tav>
                                      </p:tavLst>
                                    </p:anim>
                                    <p:animEffect transition="in" filter="fade">
                                      <p:cBhvr>
                                        <p:cTn id="155" dur="500"/>
                                        <p:tgtEl>
                                          <p:spTgt spid="61"/>
                                        </p:tgtEl>
                                      </p:cBhvr>
                                    </p:animEffect>
                                  </p:childTnLst>
                                </p:cTn>
                              </p:par>
                              <p:par>
                                <p:cTn id="156" presetID="53" presetClass="entr" presetSubtype="16" fill="hold" nodeType="withEffect">
                                  <p:stCondLst>
                                    <p:cond delay="0"/>
                                  </p:stCondLst>
                                  <p:childTnLst>
                                    <p:set>
                                      <p:cBhvr>
                                        <p:cTn id="157" dur="1" fill="hold">
                                          <p:stCondLst>
                                            <p:cond delay="0"/>
                                          </p:stCondLst>
                                        </p:cTn>
                                        <p:tgtEl>
                                          <p:spTgt spid="72"/>
                                        </p:tgtEl>
                                        <p:attrNameLst>
                                          <p:attrName>style.visibility</p:attrName>
                                        </p:attrNameLst>
                                      </p:cBhvr>
                                      <p:to>
                                        <p:strVal val="visible"/>
                                      </p:to>
                                    </p:set>
                                    <p:anim calcmode="lin" valueType="num">
                                      <p:cBhvr>
                                        <p:cTn id="158" dur="500" fill="hold"/>
                                        <p:tgtEl>
                                          <p:spTgt spid="72"/>
                                        </p:tgtEl>
                                        <p:attrNameLst>
                                          <p:attrName>ppt_w</p:attrName>
                                        </p:attrNameLst>
                                      </p:cBhvr>
                                      <p:tavLst>
                                        <p:tav tm="0">
                                          <p:val>
                                            <p:fltVal val="0"/>
                                          </p:val>
                                        </p:tav>
                                        <p:tav tm="100000">
                                          <p:val>
                                            <p:strVal val="#ppt_w"/>
                                          </p:val>
                                        </p:tav>
                                      </p:tavLst>
                                    </p:anim>
                                    <p:anim calcmode="lin" valueType="num">
                                      <p:cBhvr>
                                        <p:cTn id="159" dur="500" fill="hold"/>
                                        <p:tgtEl>
                                          <p:spTgt spid="72"/>
                                        </p:tgtEl>
                                        <p:attrNameLst>
                                          <p:attrName>ppt_h</p:attrName>
                                        </p:attrNameLst>
                                      </p:cBhvr>
                                      <p:tavLst>
                                        <p:tav tm="0">
                                          <p:val>
                                            <p:fltVal val="0"/>
                                          </p:val>
                                        </p:tav>
                                        <p:tav tm="100000">
                                          <p:val>
                                            <p:strVal val="#ppt_h"/>
                                          </p:val>
                                        </p:tav>
                                      </p:tavLst>
                                    </p:anim>
                                    <p:animEffect transition="in" filter="fade">
                                      <p:cBhvr>
                                        <p:cTn id="160" dur="500"/>
                                        <p:tgtEl>
                                          <p:spTgt spid="72"/>
                                        </p:tgtEl>
                                      </p:cBhvr>
                                    </p:animEffect>
                                  </p:childTnLst>
                                </p:cTn>
                              </p:par>
                              <p:par>
                                <p:cTn id="161" presetID="53" presetClass="entr" presetSubtype="16" fill="hold" grpId="0" nodeType="withEffect">
                                  <p:stCondLst>
                                    <p:cond delay="0"/>
                                  </p:stCondLst>
                                  <p:childTnLst>
                                    <p:set>
                                      <p:cBhvr>
                                        <p:cTn id="162" dur="1" fill="hold">
                                          <p:stCondLst>
                                            <p:cond delay="0"/>
                                          </p:stCondLst>
                                        </p:cTn>
                                        <p:tgtEl>
                                          <p:spTgt spid="7"/>
                                        </p:tgtEl>
                                        <p:attrNameLst>
                                          <p:attrName>style.visibility</p:attrName>
                                        </p:attrNameLst>
                                      </p:cBhvr>
                                      <p:to>
                                        <p:strVal val="visible"/>
                                      </p:to>
                                    </p:set>
                                    <p:anim calcmode="lin" valueType="num">
                                      <p:cBhvr>
                                        <p:cTn id="163" dur="500" fill="hold"/>
                                        <p:tgtEl>
                                          <p:spTgt spid="7"/>
                                        </p:tgtEl>
                                        <p:attrNameLst>
                                          <p:attrName>ppt_w</p:attrName>
                                        </p:attrNameLst>
                                      </p:cBhvr>
                                      <p:tavLst>
                                        <p:tav tm="0">
                                          <p:val>
                                            <p:fltVal val="0"/>
                                          </p:val>
                                        </p:tav>
                                        <p:tav tm="100000">
                                          <p:val>
                                            <p:strVal val="#ppt_w"/>
                                          </p:val>
                                        </p:tav>
                                      </p:tavLst>
                                    </p:anim>
                                    <p:anim calcmode="lin" valueType="num">
                                      <p:cBhvr>
                                        <p:cTn id="164" dur="500" fill="hold"/>
                                        <p:tgtEl>
                                          <p:spTgt spid="7"/>
                                        </p:tgtEl>
                                        <p:attrNameLst>
                                          <p:attrName>ppt_h</p:attrName>
                                        </p:attrNameLst>
                                      </p:cBhvr>
                                      <p:tavLst>
                                        <p:tav tm="0">
                                          <p:val>
                                            <p:fltVal val="0"/>
                                          </p:val>
                                        </p:tav>
                                        <p:tav tm="100000">
                                          <p:val>
                                            <p:strVal val="#ppt_h"/>
                                          </p:val>
                                        </p:tav>
                                      </p:tavLst>
                                    </p:anim>
                                    <p:animEffect transition="in" filter="fade">
                                      <p:cBhvr>
                                        <p:cTn id="165" dur="500"/>
                                        <p:tgtEl>
                                          <p:spTgt spid="7"/>
                                        </p:tgtEl>
                                      </p:cBhvr>
                                    </p:animEffect>
                                  </p:childTnLst>
                                </p:cTn>
                              </p:par>
                            </p:childTnLst>
                          </p:cTn>
                        </p:par>
                      </p:childTnLst>
                    </p:cTn>
                  </p:par>
                  <p:par>
                    <p:cTn id="166" fill="hold">
                      <p:stCondLst>
                        <p:cond delay="indefinite"/>
                      </p:stCondLst>
                      <p:childTnLst>
                        <p:par>
                          <p:cTn id="167" fill="hold">
                            <p:stCondLst>
                              <p:cond delay="0"/>
                            </p:stCondLst>
                            <p:childTnLst>
                              <p:par>
                                <p:cTn id="168" presetID="53" presetClass="entr" presetSubtype="16" fill="hold" grpId="0" nodeType="clickEffect">
                                  <p:stCondLst>
                                    <p:cond delay="0"/>
                                  </p:stCondLst>
                                  <p:childTnLst>
                                    <p:set>
                                      <p:cBhvr>
                                        <p:cTn id="169" dur="1" fill="hold">
                                          <p:stCondLst>
                                            <p:cond delay="0"/>
                                          </p:stCondLst>
                                        </p:cTn>
                                        <p:tgtEl>
                                          <p:spTgt spid="14"/>
                                        </p:tgtEl>
                                        <p:attrNameLst>
                                          <p:attrName>style.visibility</p:attrName>
                                        </p:attrNameLst>
                                      </p:cBhvr>
                                      <p:to>
                                        <p:strVal val="visible"/>
                                      </p:to>
                                    </p:set>
                                    <p:anim calcmode="lin" valueType="num">
                                      <p:cBhvr>
                                        <p:cTn id="170" dur="500" fill="hold"/>
                                        <p:tgtEl>
                                          <p:spTgt spid="14"/>
                                        </p:tgtEl>
                                        <p:attrNameLst>
                                          <p:attrName>ppt_w</p:attrName>
                                        </p:attrNameLst>
                                      </p:cBhvr>
                                      <p:tavLst>
                                        <p:tav tm="0">
                                          <p:val>
                                            <p:fltVal val="0"/>
                                          </p:val>
                                        </p:tav>
                                        <p:tav tm="100000">
                                          <p:val>
                                            <p:strVal val="#ppt_w"/>
                                          </p:val>
                                        </p:tav>
                                      </p:tavLst>
                                    </p:anim>
                                    <p:anim calcmode="lin" valueType="num">
                                      <p:cBhvr>
                                        <p:cTn id="171" dur="500" fill="hold"/>
                                        <p:tgtEl>
                                          <p:spTgt spid="14"/>
                                        </p:tgtEl>
                                        <p:attrNameLst>
                                          <p:attrName>ppt_h</p:attrName>
                                        </p:attrNameLst>
                                      </p:cBhvr>
                                      <p:tavLst>
                                        <p:tav tm="0">
                                          <p:val>
                                            <p:fltVal val="0"/>
                                          </p:val>
                                        </p:tav>
                                        <p:tav tm="100000">
                                          <p:val>
                                            <p:strVal val="#ppt_h"/>
                                          </p:val>
                                        </p:tav>
                                      </p:tavLst>
                                    </p:anim>
                                    <p:animEffect transition="in" filter="fade">
                                      <p:cBhvr>
                                        <p:cTn id="172" dur="500"/>
                                        <p:tgtEl>
                                          <p:spTgt spid="14"/>
                                        </p:tgtEl>
                                      </p:cBhvr>
                                    </p:animEffect>
                                  </p:childTnLst>
                                </p:cTn>
                              </p:par>
                              <p:par>
                                <p:cTn id="173" presetID="53" presetClass="entr" presetSubtype="16" fill="hold" nodeType="withEffect">
                                  <p:stCondLst>
                                    <p:cond delay="0"/>
                                  </p:stCondLst>
                                  <p:childTnLst>
                                    <p:set>
                                      <p:cBhvr>
                                        <p:cTn id="174" dur="1" fill="hold">
                                          <p:stCondLst>
                                            <p:cond delay="0"/>
                                          </p:stCondLst>
                                        </p:cTn>
                                        <p:tgtEl>
                                          <p:spTgt spid="58"/>
                                        </p:tgtEl>
                                        <p:attrNameLst>
                                          <p:attrName>style.visibility</p:attrName>
                                        </p:attrNameLst>
                                      </p:cBhvr>
                                      <p:to>
                                        <p:strVal val="visible"/>
                                      </p:to>
                                    </p:set>
                                    <p:anim calcmode="lin" valueType="num">
                                      <p:cBhvr>
                                        <p:cTn id="175" dur="500" fill="hold"/>
                                        <p:tgtEl>
                                          <p:spTgt spid="58"/>
                                        </p:tgtEl>
                                        <p:attrNameLst>
                                          <p:attrName>ppt_w</p:attrName>
                                        </p:attrNameLst>
                                      </p:cBhvr>
                                      <p:tavLst>
                                        <p:tav tm="0">
                                          <p:val>
                                            <p:fltVal val="0"/>
                                          </p:val>
                                        </p:tav>
                                        <p:tav tm="100000">
                                          <p:val>
                                            <p:strVal val="#ppt_w"/>
                                          </p:val>
                                        </p:tav>
                                      </p:tavLst>
                                    </p:anim>
                                    <p:anim calcmode="lin" valueType="num">
                                      <p:cBhvr>
                                        <p:cTn id="176" dur="500" fill="hold"/>
                                        <p:tgtEl>
                                          <p:spTgt spid="58"/>
                                        </p:tgtEl>
                                        <p:attrNameLst>
                                          <p:attrName>ppt_h</p:attrName>
                                        </p:attrNameLst>
                                      </p:cBhvr>
                                      <p:tavLst>
                                        <p:tav tm="0">
                                          <p:val>
                                            <p:fltVal val="0"/>
                                          </p:val>
                                        </p:tav>
                                        <p:tav tm="100000">
                                          <p:val>
                                            <p:strVal val="#ppt_h"/>
                                          </p:val>
                                        </p:tav>
                                      </p:tavLst>
                                    </p:anim>
                                    <p:animEffect transition="in" filter="fade">
                                      <p:cBhvr>
                                        <p:cTn id="177" dur="500"/>
                                        <p:tgtEl>
                                          <p:spTgt spid="58"/>
                                        </p:tgtEl>
                                      </p:cBhvr>
                                    </p:animEffect>
                                  </p:childTnLst>
                                </p:cTn>
                              </p:par>
                            </p:childTnLst>
                          </p:cTn>
                        </p:par>
                      </p:childTnLst>
                    </p:cTn>
                  </p:par>
                  <p:par>
                    <p:cTn id="178" fill="hold">
                      <p:stCondLst>
                        <p:cond delay="indefinite"/>
                      </p:stCondLst>
                      <p:childTnLst>
                        <p:par>
                          <p:cTn id="179" fill="hold">
                            <p:stCondLst>
                              <p:cond delay="0"/>
                            </p:stCondLst>
                            <p:childTnLst>
                              <p:par>
                                <p:cTn id="180" presetID="53" presetClass="entr" presetSubtype="16" fill="hold" grpId="0" nodeType="clickEffect">
                                  <p:stCondLst>
                                    <p:cond delay="0"/>
                                  </p:stCondLst>
                                  <p:childTnLst>
                                    <p:set>
                                      <p:cBhvr>
                                        <p:cTn id="181" dur="1" fill="hold">
                                          <p:stCondLst>
                                            <p:cond delay="0"/>
                                          </p:stCondLst>
                                        </p:cTn>
                                        <p:tgtEl>
                                          <p:spTgt spid="52"/>
                                        </p:tgtEl>
                                        <p:attrNameLst>
                                          <p:attrName>style.visibility</p:attrName>
                                        </p:attrNameLst>
                                      </p:cBhvr>
                                      <p:to>
                                        <p:strVal val="visible"/>
                                      </p:to>
                                    </p:set>
                                    <p:anim calcmode="lin" valueType="num">
                                      <p:cBhvr>
                                        <p:cTn id="182" dur="500" fill="hold"/>
                                        <p:tgtEl>
                                          <p:spTgt spid="52"/>
                                        </p:tgtEl>
                                        <p:attrNameLst>
                                          <p:attrName>ppt_w</p:attrName>
                                        </p:attrNameLst>
                                      </p:cBhvr>
                                      <p:tavLst>
                                        <p:tav tm="0">
                                          <p:val>
                                            <p:fltVal val="0"/>
                                          </p:val>
                                        </p:tav>
                                        <p:tav tm="100000">
                                          <p:val>
                                            <p:strVal val="#ppt_w"/>
                                          </p:val>
                                        </p:tav>
                                      </p:tavLst>
                                    </p:anim>
                                    <p:anim calcmode="lin" valueType="num">
                                      <p:cBhvr>
                                        <p:cTn id="183" dur="500" fill="hold"/>
                                        <p:tgtEl>
                                          <p:spTgt spid="52"/>
                                        </p:tgtEl>
                                        <p:attrNameLst>
                                          <p:attrName>ppt_h</p:attrName>
                                        </p:attrNameLst>
                                      </p:cBhvr>
                                      <p:tavLst>
                                        <p:tav tm="0">
                                          <p:val>
                                            <p:fltVal val="0"/>
                                          </p:val>
                                        </p:tav>
                                        <p:tav tm="100000">
                                          <p:val>
                                            <p:strVal val="#ppt_h"/>
                                          </p:val>
                                        </p:tav>
                                      </p:tavLst>
                                    </p:anim>
                                    <p:animEffect transition="in" filter="fade">
                                      <p:cBhvr>
                                        <p:cTn id="184" dur="500"/>
                                        <p:tgtEl>
                                          <p:spTgt spid="52"/>
                                        </p:tgtEl>
                                      </p:cBhvr>
                                    </p:animEffect>
                                  </p:childTnLst>
                                </p:cTn>
                              </p:par>
                              <p:par>
                                <p:cTn id="185" presetID="53" presetClass="entr" presetSubtype="16" fill="hold" nodeType="withEffect">
                                  <p:stCondLst>
                                    <p:cond delay="0"/>
                                  </p:stCondLst>
                                  <p:childTnLst>
                                    <p:set>
                                      <p:cBhvr>
                                        <p:cTn id="186" dur="1" fill="hold">
                                          <p:stCondLst>
                                            <p:cond delay="0"/>
                                          </p:stCondLst>
                                        </p:cTn>
                                        <p:tgtEl>
                                          <p:spTgt spid="64"/>
                                        </p:tgtEl>
                                        <p:attrNameLst>
                                          <p:attrName>style.visibility</p:attrName>
                                        </p:attrNameLst>
                                      </p:cBhvr>
                                      <p:to>
                                        <p:strVal val="visible"/>
                                      </p:to>
                                    </p:set>
                                    <p:anim calcmode="lin" valueType="num">
                                      <p:cBhvr>
                                        <p:cTn id="187" dur="500" fill="hold"/>
                                        <p:tgtEl>
                                          <p:spTgt spid="64"/>
                                        </p:tgtEl>
                                        <p:attrNameLst>
                                          <p:attrName>ppt_w</p:attrName>
                                        </p:attrNameLst>
                                      </p:cBhvr>
                                      <p:tavLst>
                                        <p:tav tm="0">
                                          <p:val>
                                            <p:fltVal val="0"/>
                                          </p:val>
                                        </p:tav>
                                        <p:tav tm="100000">
                                          <p:val>
                                            <p:strVal val="#ppt_w"/>
                                          </p:val>
                                        </p:tav>
                                      </p:tavLst>
                                    </p:anim>
                                    <p:anim calcmode="lin" valueType="num">
                                      <p:cBhvr>
                                        <p:cTn id="188" dur="500" fill="hold"/>
                                        <p:tgtEl>
                                          <p:spTgt spid="64"/>
                                        </p:tgtEl>
                                        <p:attrNameLst>
                                          <p:attrName>ppt_h</p:attrName>
                                        </p:attrNameLst>
                                      </p:cBhvr>
                                      <p:tavLst>
                                        <p:tav tm="0">
                                          <p:val>
                                            <p:fltVal val="0"/>
                                          </p:val>
                                        </p:tav>
                                        <p:tav tm="100000">
                                          <p:val>
                                            <p:strVal val="#ppt_h"/>
                                          </p:val>
                                        </p:tav>
                                      </p:tavLst>
                                    </p:anim>
                                    <p:animEffect transition="in" filter="fade">
                                      <p:cBhvr>
                                        <p:cTn id="189" dur="50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1" grpId="0" animBg="1"/>
      <p:bldP spid="12" grpId="0" animBg="1"/>
      <p:bldP spid="13" grpId="0" animBg="1"/>
      <p:bldP spid="14" grpId="0" animBg="1"/>
      <p:bldP spid="16" grpId="0" animBg="1"/>
      <p:bldP spid="47" grpId="0" animBg="1"/>
      <p:bldP spid="55" grpId="0" animBg="1"/>
      <p:bldP spid="56" grpId="0" animBg="1"/>
      <p:bldP spid="57" grpId="0" animBg="1"/>
      <p:bldP spid="59" grpId="0" animBg="1"/>
      <p:bldP spid="61" grpId="0" animBg="1"/>
      <p:bldP spid="52" grpId="0" animBg="1"/>
      <p:bldP spid="46"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lumMod val="85000"/>
                  </a:schemeClr>
                </a:solidFill>
              </a:rPr>
              <a:t>Key concepts</a:t>
            </a:r>
            <a:endParaRPr lang="en-US" dirty="0">
              <a:solidFill>
                <a:schemeClr val="tx1">
                  <a:lumMod val="85000"/>
                </a:schemeClr>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3538725989"/>
              </p:ext>
            </p:extLst>
          </p:nvPr>
        </p:nvGraphicFramePr>
        <p:xfrm>
          <a:off x="457200" y="1200151"/>
          <a:ext cx="8229600" cy="339447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5"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8"/>
              </a:rPr>
              <a:t>www.rapidbbs.cn</a:t>
            </a:r>
            <a:endParaRPr lang="zh-CN" altLang="en-US" sz="1200" b="0">
              <a:latin typeface="Arial" charset="0"/>
              <a:ea typeface="ＭＳ Ｐゴシック" pitchFamily="34" charset="-128"/>
            </a:endParaRPr>
          </a:p>
        </p:txBody>
      </p:sp>
      <p:pic>
        <p:nvPicPr>
          <p:cNvPr id="7" name="Picture 2">
            <a:hlinkClick r:id="rId8"/>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2">
            <a:hlinkClick r:id="rId8"/>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143000" y="2804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859054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43"/>
          <p:cNvSpPr>
            <a:spLocks noGrp="1"/>
          </p:cNvSpPr>
          <p:nvPr>
            <p:ph type="title"/>
          </p:nvPr>
        </p:nvSpPr>
        <p:spPr>
          <a:xfrm>
            <a:off x="389436" y="171451"/>
            <a:ext cx="8363938" cy="415499"/>
          </a:xfrm>
        </p:spPr>
        <p:txBody>
          <a:bodyPr/>
          <a:lstStyle/>
          <a:p>
            <a:r>
              <a:rPr lang="en-US" sz="3000" dirty="0"/>
              <a:t>System Center 2012 Configuration Manager</a:t>
            </a:r>
          </a:p>
        </p:txBody>
      </p:sp>
      <p:grpSp>
        <p:nvGrpSpPr>
          <p:cNvPr id="2" name="Group 1"/>
          <p:cNvGrpSpPr/>
          <p:nvPr/>
        </p:nvGrpSpPr>
        <p:grpSpPr>
          <a:xfrm>
            <a:off x="402540" y="1393770"/>
            <a:ext cx="2675317" cy="3291840"/>
            <a:chOff x="536581" y="1858360"/>
            <a:chExt cx="3566160" cy="4389120"/>
          </a:xfrm>
        </p:grpSpPr>
        <p:sp>
          <p:nvSpPr>
            <p:cNvPr id="78" name="TextBox 77"/>
            <p:cNvSpPr txBox="1"/>
            <p:nvPr/>
          </p:nvSpPr>
          <p:spPr>
            <a:xfrm>
              <a:off x="536581" y="2120751"/>
              <a:ext cx="3566160" cy="492443"/>
            </a:xfrm>
            <a:prstGeom prst="rect">
              <a:avLst/>
            </a:prstGeom>
            <a:noFill/>
          </p:spPr>
          <p:txBody>
            <a:bodyPr wrap="square" rtlCol="0">
              <a:spAutoFit/>
            </a:bodyPr>
            <a:lstStyle/>
            <a:p>
              <a:pPr algn="ctr"/>
              <a:r>
                <a:rPr lang="en-US" sz="1800" b="1" dirty="0">
                  <a:solidFill>
                    <a:srgbClr val="FFFFFF"/>
                  </a:solidFill>
                  <a:latin typeface="Segoe Semibold" pitchFamily="34" charset="0"/>
                  <a:cs typeface="Arial" pitchFamily="34" charset="0"/>
                </a:rPr>
                <a:t>Empower Users</a:t>
              </a:r>
            </a:p>
          </p:txBody>
        </p:sp>
        <p:sp>
          <p:nvSpPr>
            <p:cNvPr id="33" name="Rectangle 32"/>
            <p:cNvSpPr/>
            <p:nvPr/>
          </p:nvSpPr>
          <p:spPr bwMode="auto">
            <a:xfrm>
              <a:off x="536581" y="1858360"/>
              <a:ext cx="3566160" cy="4389120"/>
            </a:xfrm>
            <a:prstGeom prst="rect">
              <a:avLst/>
            </a:prstGeom>
            <a:ln w="12700">
              <a:solidFill>
                <a:srgbClr val="FFFFFF"/>
              </a:solidFill>
              <a:prstDash val="sysDot"/>
            </a:ln>
          </p:spPr>
          <p:txBody>
            <a:bodyPr vert="horz" wrap="square" lIns="137160" tIns="137160" rIns="45720" bIns="137160" numCol="1" rtlCol="0" anchor="t" anchorCtr="0" compatLnSpc="1">
              <a:prstTxWarp prst="textNoShape">
                <a:avLst/>
              </a:prstTxWarp>
            </a:bodyPr>
            <a:lstStyle/>
            <a:p>
              <a:pPr algn="ctr" defTabSz="685754" fontAlgn="base">
                <a:spcBef>
                  <a:spcPct val="0"/>
                </a:spcBef>
                <a:spcAft>
                  <a:spcPct val="0"/>
                </a:spcAft>
                <a:defRPr/>
              </a:pPr>
              <a:endParaRPr lang="en-US" kern="0" dirty="0">
                <a:solidFill>
                  <a:srgbClr val="FFFFFF"/>
                </a:solidFill>
                <a:latin typeface="Segoe Light"/>
                <a:ea typeface="Segoe UI" pitchFamily="34" charset="0"/>
                <a:cs typeface="Segoe UI" pitchFamily="34" charset="0"/>
              </a:endParaRPr>
            </a:p>
          </p:txBody>
        </p:sp>
        <p:sp>
          <p:nvSpPr>
            <p:cNvPr id="34" name="Rectangle 33"/>
            <p:cNvSpPr/>
            <p:nvPr/>
          </p:nvSpPr>
          <p:spPr>
            <a:xfrm>
              <a:off x="823698" y="4546420"/>
              <a:ext cx="2991926" cy="1354217"/>
            </a:xfrm>
            <a:prstGeom prst="rect">
              <a:avLst/>
            </a:prstGeom>
          </p:spPr>
          <p:txBody>
            <a:bodyPr wrap="square">
              <a:spAutoFit/>
            </a:bodyPr>
            <a:lstStyle/>
            <a:p>
              <a:pPr algn="ctr"/>
              <a:r>
                <a:rPr lang="en-US" sz="1500" dirty="0">
                  <a:solidFill>
                    <a:srgbClr val="FFFFFF"/>
                  </a:solidFill>
                  <a:latin typeface="Segoe" pitchFamily="34" charset="0"/>
                  <a:cs typeface="Arial" pitchFamily="34" charset="0"/>
                </a:rPr>
                <a:t>Empower people to be more productive from almost anywhere on almost any device. </a:t>
              </a:r>
            </a:p>
          </p:txBody>
        </p:sp>
        <p:grpSp>
          <p:nvGrpSpPr>
            <p:cNvPr id="14" name="Group 13"/>
            <p:cNvGrpSpPr/>
            <p:nvPr/>
          </p:nvGrpSpPr>
          <p:grpSpPr>
            <a:xfrm>
              <a:off x="1557324" y="2734553"/>
              <a:ext cx="1524674" cy="1388894"/>
              <a:chOff x="1573530" y="2777697"/>
              <a:chExt cx="1304930" cy="1188720"/>
            </a:xfrm>
          </p:grpSpPr>
          <p:pic>
            <p:nvPicPr>
              <p:cNvPr id="30" name="Picture 3" descr="\\MAGNUM\Projects\Microsoft\Cloud Power FY12\Design\ICONS_PNG\User.png"/>
              <p:cNvPicPr>
                <a:picLocks noChangeAspect="1" noChangeArrowheads="1"/>
              </p:cNvPicPr>
              <p:nvPr/>
            </p:nvPicPr>
            <p:blipFill>
              <a:blip r:embed="rId3" cstate="print">
                <a:biLevel thresh="25000"/>
              </a:blip>
              <a:srcRect/>
              <a:stretch>
                <a:fillRect/>
              </a:stretch>
            </p:blipFill>
            <p:spPr bwMode="auto">
              <a:xfrm>
                <a:off x="1573530" y="2777697"/>
                <a:ext cx="1188720" cy="1188720"/>
              </a:xfrm>
              <a:prstGeom prst="rect">
                <a:avLst/>
              </a:prstGeom>
              <a:noFill/>
            </p:spPr>
          </p:pic>
          <p:pic>
            <p:nvPicPr>
              <p:cNvPr id="13" name="Picture 12"/>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flipH="1">
                <a:off x="2466980" y="3041789"/>
                <a:ext cx="411480" cy="608143"/>
              </a:xfrm>
              <a:prstGeom prst="rect">
                <a:avLst/>
              </a:prstGeom>
            </p:spPr>
          </p:pic>
        </p:grpSp>
      </p:grpSp>
      <p:grpSp>
        <p:nvGrpSpPr>
          <p:cNvPr id="4" name="Group 3"/>
          <p:cNvGrpSpPr/>
          <p:nvPr/>
        </p:nvGrpSpPr>
        <p:grpSpPr>
          <a:xfrm>
            <a:off x="6060317" y="1393770"/>
            <a:ext cx="2675317" cy="3291840"/>
            <a:chOff x="8078317" y="1858360"/>
            <a:chExt cx="3566160" cy="4389120"/>
          </a:xfrm>
        </p:grpSpPr>
        <p:sp>
          <p:nvSpPr>
            <p:cNvPr id="79" name="TextBox 78"/>
            <p:cNvSpPr txBox="1"/>
            <p:nvPr/>
          </p:nvSpPr>
          <p:spPr>
            <a:xfrm>
              <a:off x="8091732" y="2120751"/>
              <a:ext cx="3539331" cy="861775"/>
            </a:xfrm>
            <a:prstGeom prst="rect">
              <a:avLst/>
            </a:prstGeom>
            <a:noFill/>
          </p:spPr>
          <p:txBody>
            <a:bodyPr wrap="square" rtlCol="0">
              <a:spAutoFit/>
            </a:bodyPr>
            <a:lstStyle/>
            <a:p>
              <a:pPr algn="ctr"/>
              <a:r>
                <a:rPr lang="en-US" sz="1800" b="1" dirty="0">
                  <a:solidFill>
                    <a:srgbClr val="FFFFFF"/>
                  </a:solidFill>
                  <a:latin typeface="Segoe Semibold" pitchFamily="34" charset="0"/>
                  <a:cs typeface="Arial" pitchFamily="34" charset="0"/>
                </a:rPr>
                <a:t>Simplify Administration</a:t>
              </a:r>
            </a:p>
          </p:txBody>
        </p:sp>
        <p:sp>
          <p:nvSpPr>
            <p:cNvPr id="43" name="Rectangle 42"/>
            <p:cNvSpPr/>
            <p:nvPr/>
          </p:nvSpPr>
          <p:spPr>
            <a:xfrm>
              <a:off x="8078317" y="4546420"/>
              <a:ext cx="3566160" cy="738664"/>
            </a:xfrm>
            <a:prstGeom prst="rect">
              <a:avLst/>
            </a:prstGeom>
          </p:spPr>
          <p:txBody>
            <a:bodyPr wrap="square">
              <a:spAutoFit/>
            </a:bodyPr>
            <a:lstStyle/>
            <a:p>
              <a:pPr algn="ctr"/>
              <a:r>
                <a:rPr lang="en-US" sz="1500" dirty="0">
                  <a:solidFill>
                    <a:srgbClr val="FFFFFF"/>
                  </a:solidFill>
                  <a:latin typeface="Segoe" pitchFamily="34" charset="0"/>
                  <a:cs typeface="Arial" pitchFamily="34" charset="0"/>
                </a:rPr>
                <a:t>Improve IT effectiveness </a:t>
              </a:r>
              <a:br>
                <a:rPr lang="en-US" sz="1500" dirty="0">
                  <a:solidFill>
                    <a:srgbClr val="FFFFFF"/>
                  </a:solidFill>
                  <a:latin typeface="Segoe" pitchFamily="34" charset="0"/>
                  <a:cs typeface="Arial" pitchFamily="34" charset="0"/>
                </a:rPr>
              </a:br>
              <a:r>
                <a:rPr lang="en-US" sz="1500" dirty="0">
                  <a:solidFill>
                    <a:srgbClr val="FFFFFF"/>
                  </a:solidFill>
                  <a:latin typeface="Segoe" pitchFamily="34" charset="0"/>
                  <a:cs typeface="Arial" pitchFamily="34" charset="0"/>
                </a:rPr>
                <a:t>and efficiency.</a:t>
              </a:r>
            </a:p>
          </p:txBody>
        </p:sp>
        <p:sp>
          <p:nvSpPr>
            <p:cNvPr id="36" name="Rectangle 35"/>
            <p:cNvSpPr/>
            <p:nvPr/>
          </p:nvSpPr>
          <p:spPr bwMode="auto">
            <a:xfrm>
              <a:off x="8078317" y="1858360"/>
              <a:ext cx="3566160" cy="4389120"/>
            </a:xfrm>
            <a:prstGeom prst="rect">
              <a:avLst/>
            </a:prstGeom>
            <a:ln w="12700">
              <a:solidFill>
                <a:srgbClr val="FFFFFF"/>
              </a:solidFill>
              <a:prstDash val="sysDot"/>
            </a:ln>
          </p:spPr>
          <p:txBody>
            <a:bodyPr vert="horz" wrap="square" lIns="137160" tIns="137160" rIns="45720" bIns="137160" numCol="1" rtlCol="0" anchor="t" anchorCtr="0" compatLnSpc="1">
              <a:prstTxWarp prst="textNoShape">
                <a:avLst/>
              </a:prstTxWarp>
            </a:bodyPr>
            <a:lstStyle/>
            <a:p>
              <a:pPr algn="ctr" defTabSz="685754" fontAlgn="base">
                <a:spcBef>
                  <a:spcPct val="0"/>
                </a:spcBef>
                <a:spcAft>
                  <a:spcPct val="0"/>
                </a:spcAft>
                <a:defRPr/>
              </a:pPr>
              <a:endParaRPr lang="en-US" kern="0" dirty="0">
                <a:solidFill>
                  <a:srgbClr val="FFFFFF"/>
                </a:solidFill>
                <a:latin typeface="Segoe Light"/>
                <a:ea typeface="Segoe UI" pitchFamily="34" charset="0"/>
                <a:cs typeface="Segoe UI" pitchFamily="34" charset="0"/>
              </a:endParaRPr>
            </a:p>
          </p:txBody>
        </p:sp>
        <p:pic>
          <p:nvPicPr>
            <p:cNvPr id="15" name="Picture 14"/>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8850924" y="3204584"/>
              <a:ext cx="724565" cy="896249"/>
            </a:xfrm>
            <a:prstGeom prst="rect">
              <a:avLst/>
            </a:prstGeom>
          </p:spPr>
        </p:pic>
        <p:grpSp>
          <p:nvGrpSpPr>
            <p:cNvPr id="19" name="Group 18"/>
            <p:cNvGrpSpPr/>
            <p:nvPr/>
          </p:nvGrpSpPr>
          <p:grpSpPr>
            <a:xfrm>
              <a:off x="9570411" y="3028765"/>
              <a:ext cx="1021601" cy="798337"/>
              <a:chOff x="9570411" y="2856637"/>
              <a:chExt cx="1021601" cy="798337"/>
            </a:xfrm>
          </p:grpSpPr>
          <p:pic>
            <p:nvPicPr>
              <p:cNvPr id="16" name="Picture 15"/>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9570411" y="2856637"/>
                <a:ext cx="1021601" cy="798337"/>
              </a:xfrm>
              <a:prstGeom prst="rect">
                <a:avLst/>
              </a:prstGeom>
            </p:spPr>
          </p:pic>
          <p:cxnSp>
            <p:nvCxnSpPr>
              <p:cNvPr id="18" name="Straight Connector 17"/>
              <p:cNvCxnSpPr/>
              <p:nvPr/>
            </p:nvCxnSpPr>
            <p:spPr>
              <a:xfrm>
                <a:off x="9763539" y="3200400"/>
                <a:ext cx="453887"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56" name="Straight Connector 55"/>
              <p:cNvCxnSpPr/>
              <p:nvPr/>
            </p:nvCxnSpPr>
            <p:spPr>
              <a:xfrm>
                <a:off x="9763539" y="3276600"/>
                <a:ext cx="453887"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57" name="Straight Connector 56"/>
              <p:cNvCxnSpPr/>
              <p:nvPr/>
            </p:nvCxnSpPr>
            <p:spPr>
              <a:xfrm>
                <a:off x="9763539" y="3352800"/>
                <a:ext cx="453887"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58" name="Straight Connector 57"/>
              <p:cNvCxnSpPr/>
              <p:nvPr/>
            </p:nvCxnSpPr>
            <p:spPr>
              <a:xfrm>
                <a:off x="9763539" y="3429000"/>
                <a:ext cx="453887"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nvGrpSpPr>
          <p:cNvPr id="3" name="Group 2"/>
          <p:cNvGrpSpPr/>
          <p:nvPr/>
        </p:nvGrpSpPr>
        <p:grpSpPr>
          <a:xfrm>
            <a:off x="3230414" y="1393770"/>
            <a:ext cx="2675317" cy="3291840"/>
            <a:chOff x="4306096" y="1858360"/>
            <a:chExt cx="3566160" cy="4389120"/>
          </a:xfrm>
        </p:grpSpPr>
        <p:sp>
          <p:nvSpPr>
            <p:cNvPr id="75" name="TextBox 74"/>
            <p:cNvSpPr txBox="1"/>
            <p:nvPr/>
          </p:nvSpPr>
          <p:spPr>
            <a:xfrm>
              <a:off x="4306097" y="2120751"/>
              <a:ext cx="3566159" cy="492443"/>
            </a:xfrm>
            <a:prstGeom prst="rect">
              <a:avLst/>
            </a:prstGeom>
            <a:noFill/>
          </p:spPr>
          <p:txBody>
            <a:bodyPr wrap="square" rtlCol="0">
              <a:spAutoFit/>
            </a:bodyPr>
            <a:lstStyle/>
            <a:p>
              <a:pPr algn="ctr"/>
              <a:r>
                <a:rPr lang="en-US" sz="1800" b="1" dirty="0">
                  <a:solidFill>
                    <a:srgbClr val="FFFFFF"/>
                  </a:solidFill>
                  <a:latin typeface="Segoe Semibold" pitchFamily="34" charset="0"/>
                  <a:cs typeface="Arial" pitchFamily="34" charset="0"/>
                </a:rPr>
                <a:t>Unify Infrastructure</a:t>
              </a:r>
            </a:p>
          </p:txBody>
        </p:sp>
        <p:sp>
          <p:nvSpPr>
            <p:cNvPr id="42" name="Rectangle 41"/>
            <p:cNvSpPr/>
            <p:nvPr/>
          </p:nvSpPr>
          <p:spPr>
            <a:xfrm>
              <a:off x="4306097" y="4546420"/>
              <a:ext cx="3566159" cy="1046440"/>
            </a:xfrm>
            <a:prstGeom prst="rect">
              <a:avLst/>
            </a:prstGeom>
          </p:spPr>
          <p:txBody>
            <a:bodyPr wrap="square">
              <a:spAutoFit/>
            </a:bodyPr>
            <a:lstStyle/>
            <a:p>
              <a:pPr algn="ctr"/>
              <a:r>
                <a:rPr lang="en-US" sz="1500" dirty="0">
                  <a:solidFill>
                    <a:srgbClr val="FFFFFF"/>
                  </a:solidFill>
                  <a:latin typeface="Segoe" pitchFamily="34" charset="0"/>
                  <a:cs typeface="Arial" pitchFamily="34" charset="0"/>
                </a:rPr>
                <a:t>Reduce costs by unifying </a:t>
              </a:r>
              <a:br>
                <a:rPr lang="en-US" sz="1500" dirty="0">
                  <a:solidFill>
                    <a:srgbClr val="FFFFFF"/>
                  </a:solidFill>
                  <a:latin typeface="Segoe" pitchFamily="34" charset="0"/>
                  <a:cs typeface="Arial" pitchFamily="34" charset="0"/>
                </a:rPr>
              </a:br>
              <a:r>
                <a:rPr lang="en-US" sz="1500" dirty="0">
                  <a:solidFill>
                    <a:srgbClr val="FFFFFF"/>
                  </a:solidFill>
                  <a:latin typeface="Segoe" pitchFamily="34" charset="0"/>
                  <a:cs typeface="Arial" pitchFamily="34" charset="0"/>
                </a:rPr>
                <a:t>IT management </a:t>
              </a:r>
              <a:br>
                <a:rPr lang="en-US" sz="1500" dirty="0">
                  <a:solidFill>
                    <a:srgbClr val="FFFFFF"/>
                  </a:solidFill>
                  <a:latin typeface="Segoe" pitchFamily="34" charset="0"/>
                  <a:cs typeface="Arial" pitchFamily="34" charset="0"/>
                </a:rPr>
              </a:br>
              <a:r>
                <a:rPr lang="en-US" sz="1500" dirty="0">
                  <a:solidFill>
                    <a:srgbClr val="FFFFFF"/>
                  </a:solidFill>
                  <a:latin typeface="Segoe" pitchFamily="34" charset="0"/>
                  <a:cs typeface="Arial" pitchFamily="34" charset="0"/>
                </a:rPr>
                <a:t>infrastructure.</a:t>
              </a:r>
            </a:p>
          </p:txBody>
        </p:sp>
        <p:sp>
          <p:nvSpPr>
            <p:cNvPr id="35" name="Rectangle 34"/>
            <p:cNvSpPr/>
            <p:nvPr/>
          </p:nvSpPr>
          <p:spPr bwMode="auto">
            <a:xfrm>
              <a:off x="4306096" y="1858360"/>
              <a:ext cx="3566160" cy="4389120"/>
            </a:xfrm>
            <a:prstGeom prst="rect">
              <a:avLst/>
            </a:prstGeom>
            <a:ln w="12700">
              <a:solidFill>
                <a:srgbClr val="FFFFFF"/>
              </a:solidFill>
              <a:prstDash val="sysDot"/>
            </a:ln>
          </p:spPr>
          <p:txBody>
            <a:bodyPr vert="horz" wrap="square" lIns="137160" tIns="137160" rIns="45720" bIns="137160" numCol="1" rtlCol="0" anchor="t" anchorCtr="0" compatLnSpc="1">
              <a:prstTxWarp prst="textNoShape">
                <a:avLst/>
              </a:prstTxWarp>
            </a:bodyPr>
            <a:lstStyle/>
            <a:p>
              <a:pPr algn="ctr" defTabSz="685754" fontAlgn="base">
                <a:spcBef>
                  <a:spcPct val="0"/>
                </a:spcBef>
                <a:spcAft>
                  <a:spcPct val="0"/>
                </a:spcAft>
                <a:defRPr/>
              </a:pPr>
              <a:endParaRPr lang="en-US" kern="0" dirty="0">
                <a:solidFill>
                  <a:srgbClr val="FFFFFF"/>
                </a:solidFill>
                <a:latin typeface="Segoe Light"/>
                <a:ea typeface="Segoe UI" pitchFamily="34" charset="0"/>
                <a:cs typeface="Segoe UI" pitchFamily="34" charset="0"/>
              </a:endParaRPr>
            </a:p>
          </p:txBody>
        </p:sp>
        <p:pic>
          <p:nvPicPr>
            <p:cNvPr id="37" name="Picture 36"/>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677697" y="2856637"/>
              <a:ext cx="640080" cy="412108"/>
            </a:xfrm>
            <a:prstGeom prst="rect">
              <a:avLst/>
            </a:prstGeom>
          </p:spPr>
        </p:pic>
        <p:pic>
          <p:nvPicPr>
            <p:cNvPr id="45" name="Picture 44"/>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037617" y="3736066"/>
              <a:ext cx="640080" cy="412108"/>
            </a:xfrm>
            <a:prstGeom prst="rect">
              <a:avLst/>
            </a:prstGeom>
          </p:spPr>
        </p:pic>
        <p:pic>
          <p:nvPicPr>
            <p:cNvPr id="47" name="Picture 46"/>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341431" y="3736066"/>
              <a:ext cx="640080" cy="412108"/>
            </a:xfrm>
            <a:prstGeom prst="rect">
              <a:avLst/>
            </a:prstGeom>
          </p:spPr>
        </p:pic>
        <p:cxnSp>
          <p:nvCxnSpPr>
            <p:cNvPr id="51" name="Straight Connector 50"/>
            <p:cNvCxnSpPr/>
            <p:nvPr/>
          </p:nvCxnSpPr>
          <p:spPr>
            <a:xfrm>
              <a:off x="6415928" y="3200400"/>
              <a:ext cx="182880" cy="365760"/>
            </a:xfrm>
            <a:prstGeom prst="line">
              <a:avLst/>
            </a:prstGeom>
            <a:noFill/>
            <a:ln w="19050" cap="rnd" cmpd="sng" algn="ctr">
              <a:solidFill>
                <a:srgbClr val="FFFFFF"/>
              </a:solidFill>
              <a:prstDash val="sysDot"/>
              <a:headEnd type="none"/>
              <a:tailEnd type="none"/>
            </a:ln>
            <a:effectLst/>
          </p:spPr>
        </p:cxnSp>
        <p:cxnSp>
          <p:nvCxnSpPr>
            <p:cNvPr id="54" name="Straight Connector 53"/>
            <p:cNvCxnSpPr/>
            <p:nvPr/>
          </p:nvCxnSpPr>
          <p:spPr>
            <a:xfrm flipH="1" flipV="1">
              <a:off x="5745483" y="3942120"/>
              <a:ext cx="457200" cy="1"/>
            </a:xfrm>
            <a:prstGeom prst="line">
              <a:avLst/>
            </a:prstGeom>
            <a:noFill/>
            <a:ln w="19050" cap="rnd" cmpd="sng" algn="ctr">
              <a:solidFill>
                <a:srgbClr val="FFFFFF"/>
              </a:solidFill>
              <a:prstDash val="sysDot"/>
              <a:headEnd type="none"/>
              <a:tailEnd type="none"/>
            </a:ln>
            <a:effectLst/>
          </p:spPr>
        </p:cxnSp>
        <p:cxnSp>
          <p:nvCxnSpPr>
            <p:cNvPr id="59" name="Straight Connector 58"/>
            <p:cNvCxnSpPr/>
            <p:nvPr/>
          </p:nvCxnSpPr>
          <p:spPr>
            <a:xfrm flipH="1">
              <a:off x="5378132" y="3200400"/>
              <a:ext cx="182880" cy="365760"/>
            </a:xfrm>
            <a:prstGeom prst="line">
              <a:avLst/>
            </a:prstGeom>
            <a:noFill/>
            <a:ln w="19050" cap="rnd" cmpd="sng" algn="ctr">
              <a:solidFill>
                <a:srgbClr val="FFFFFF"/>
              </a:solidFill>
              <a:prstDash val="sysDot"/>
              <a:headEnd type="none"/>
              <a:tailEnd type="none"/>
            </a:ln>
            <a:effectLst/>
          </p:spPr>
        </p:cxnSp>
      </p:grpSp>
      <p:sp>
        <p:nvSpPr>
          <p:cNvPr id="31"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2"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8"/>
              </a:rPr>
              <a:t>www.rapidbbs.cn</a:t>
            </a:r>
            <a:endParaRPr lang="zh-CN" altLang="en-US" sz="1200" b="0">
              <a:latin typeface="Arial" charset="0"/>
              <a:ea typeface="ＭＳ Ｐゴシック" pitchFamily="34" charset="-128"/>
            </a:endParaRPr>
          </a:p>
        </p:txBody>
      </p:sp>
      <p:pic>
        <p:nvPicPr>
          <p:cNvPr id="38" name="Picture 2">
            <a:hlinkClick r:id="rId8"/>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56878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1000"/>
                                        <p:tgtEl>
                                          <p:spTgt spid="3"/>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6461" y="157279"/>
            <a:ext cx="8525904" cy="830997"/>
          </a:xfrm>
        </p:spPr>
        <p:txBody>
          <a:bodyPr/>
          <a:lstStyle/>
          <a:p>
            <a:r>
              <a:rPr lang="en-US" sz="3000" dirty="0">
                <a:solidFill>
                  <a:srgbClr val="FFFFFF"/>
                </a:solidFill>
              </a:rPr>
              <a:t>Building Your Compliance Management Solution With Configuration Manager 2012</a:t>
            </a:r>
          </a:p>
        </p:txBody>
      </p:sp>
      <p:sp>
        <p:nvSpPr>
          <p:cNvPr id="14" name="Rectangle 13"/>
          <p:cNvSpPr/>
          <p:nvPr/>
        </p:nvSpPr>
        <p:spPr>
          <a:xfrm flipH="1">
            <a:off x="332271" y="1772739"/>
            <a:ext cx="2606719" cy="946406"/>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102880" tIns="68586" rIns="68586" bIns="102880" rtlCol="0" anchor="t" anchorCtr="0">
            <a:spAutoFit/>
          </a:bodyPr>
          <a:lstStyle/>
          <a:p>
            <a:pPr>
              <a:buClr>
                <a:schemeClr val="tx2"/>
              </a:buClr>
            </a:pPr>
            <a:r>
              <a:rPr lang="en-US" b="1" dirty="0">
                <a:solidFill>
                  <a:srgbClr val="FFFFFF"/>
                </a:solidFill>
                <a:latin typeface="Segoe Semibold" pitchFamily="34" charset="0"/>
                <a:ea typeface="Segoe UI" pitchFamily="34" charset="0"/>
                <a:cs typeface="Segoe UI" pitchFamily="34" charset="0"/>
              </a:rPr>
              <a:t>Software </a:t>
            </a:r>
            <a:r>
              <a:rPr lang="en-US" b="1" dirty="0" smtClean="0">
                <a:solidFill>
                  <a:srgbClr val="FFFFFF"/>
                </a:solidFill>
                <a:latin typeface="Segoe Semibold" pitchFamily="34" charset="0"/>
                <a:ea typeface="Segoe UI" pitchFamily="34" charset="0"/>
                <a:cs typeface="Segoe UI" pitchFamily="34" charset="0"/>
              </a:rPr>
              <a:t>Updates</a:t>
            </a:r>
            <a:endParaRPr lang="en-US" b="1" dirty="0">
              <a:solidFill>
                <a:srgbClr val="FFFFFF"/>
              </a:solidFill>
              <a:latin typeface="Segoe Semibold" pitchFamily="34" charset="0"/>
              <a:ea typeface="Segoe UI" pitchFamily="34" charset="0"/>
              <a:cs typeface="Segoe UI" pitchFamily="34" charset="0"/>
            </a:endParaRPr>
          </a:p>
          <a:p>
            <a:pPr marL="214332" indent="-214332">
              <a:buClr>
                <a:schemeClr val="tx2"/>
              </a:buClr>
              <a:buFont typeface="Wingdings" pitchFamily="2" charset="2"/>
              <a:buChar char="§"/>
            </a:pPr>
            <a:r>
              <a:rPr lang="en-US" sz="1200" dirty="0">
                <a:solidFill>
                  <a:srgbClr val="FFFFFF"/>
                </a:solidFill>
                <a:latin typeface="Segoe UI" pitchFamily="34" charset="0"/>
                <a:ea typeface="Segoe UI" pitchFamily="34" charset="0"/>
                <a:cs typeface="Segoe UI" pitchFamily="34" charset="0"/>
              </a:rPr>
              <a:t>Planning and setup</a:t>
            </a:r>
          </a:p>
          <a:p>
            <a:pPr marL="214332" indent="-214332">
              <a:buClr>
                <a:schemeClr val="tx2"/>
              </a:buClr>
              <a:buFont typeface="Wingdings" pitchFamily="2" charset="2"/>
              <a:buChar char="§"/>
            </a:pPr>
            <a:r>
              <a:rPr lang="en-US" sz="1200" dirty="0">
                <a:solidFill>
                  <a:srgbClr val="FFFFFF"/>
                </a:solidFill>
                <a:latin typeface="Segoe UI" pitchFamily="34" charset="0"/>
                <a:ea typeface="Segoe UI" pitchFamily="34" charset="0"/>
                <a:cs typeface="Segoe UI" pitchFamily="34" charset="0"/>
              </a:rPr>
              <a:t>Targeting and Delegation</a:t>
            </a:r>
          </a:p>
          <a:p>
            <a:pPr marL="214332" indent="-214332">
              <a:buClr>
                <a:schemeClr val="tx2"/>
              </a:buClr>
              <a:buFont typeface="Wingdings" pitchFamily="2" charset="2"/>
              <a:buChar char="§"/>
            </a:pPr>
            <a:r>
              <a:rPr lang="en-US" sz="1200" dirty="0">
                <a:solidFill>
                  <a:srgbClr val="FFFFFF"/>
                </a:solidFill>
                <a:latin typeface="Segoe UI" pitchFamily="34" charset="0"/>
                <a:ea typeface="Segoe UI" pitchFamily="34" charset="0"/>
                <a:cs typeface="Segoe UI" pitchFamily="34" charset="0"/>
              </a:rPr>
              <a:t>Maximizing productivity</a:t>
            </a:r>
          </a:p>
        </p:txBody>
      </p:sp>
      <p:sp>
        <p:nvSpPr>
          <p:cNvPr id="15" name="Rectangle 14"/>
          <p:cNvSpPr/>
          <p:nvPr/>
        </p:nvSpPr>
        <p:spPr>
          <a:xfrm>
            <a:off x="326462" y="1441980"/>
            <a:ext cx="2606719" cy="308610"/>
          </a:xfrm>
          <a:prstGeom prst="rect">
            <a:avLst/>
          </a:prstGeom>
          <a:solidFill>
            <a:schemeClr val="accent1"/>
          </a:solidFill>
          <a:ln w="12700">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86" tIns="34294" rIns="34294" bIns="34294" rtlCol="0" anchor="ctr"/>
          <a:lstStyle/>
          <a:p>
            <a:r>
              <a:rPr lang="en-US" dirty="0">
                <a:solidFill>
                  <a:srgbClr val="FFFFFF"/>
                </a:solidFill>
                <a:latin typeface="+mj-lt"/>
              </a:rPr>
              <a:t>Plan and Configure</a:t>
            </a:r>
          </a:p>
        </p:txBody>
      </p:sp>
      <p:sp>
        <p:nvSpPr>
          <p:cNvPr id="22" name="Rectangle 21"/>
          <p:cNvSpPr/>
          <p:nvPr/>
        </p:nvSpPr>
        <p:spPr>
          <a:xfrm flipH="1">
            <a:off x="332271" y="2765050"/>
            <a:ext cx="2606719" cy="900247"/>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102880" tIns="68586" rIns="68586" bIns="68586" rtlCol="0" anchor="t" anchorCtr="0">
            <a:noAutofit/>
          </a:bodyPr>
          <a:lstStyle/>
          <a:p>
            <a:pPr>
              <a:buClr>
                <a:schemeClr val="tx2"/>
              </a:buClr>
            </a:pPr>
            <a:r>
              <a:rPr lang="en-US" b="1" dirty="0">
                <a:solidFill>
                  <a:srgbClr val="FFFFFF"/>
                </a:solidFill>
                <a:latin typeface="Segoe Semibold" pitchFamily="34" charset="0"/>
                <a:ea typeface="Segoe UI" pitchFamily="34" charset="0"/>
                <a:cs typeface="Segoe UI" pitchFamily="34" charset="0"/>
              </a:rPr>
              <a:t>Settings Management</a:t>
            </a:r>
          </a:p>
          <a:p>
            <a:pPr marL="214332" indent="-214332">
              <a:buClr>
                <a:schemeClr val="tx2"/>
              </a:buClr>
              <a:buFont typeface="Wingdings" pitchFamily="2" charset="2"/>
              <a:buChar char="§"/>
            </a:pPr>
            <a:r>
              <a:rPr lang="en-US" sz="1200" dirty="0">
                <a:solidFill>
                  <a:srgbClr val="FFFFFF"/>
                </a:solidFill>
                <a:latin typeface="Segoe UI" pitchFamily="34" charset="0"/>
                <a:ea typeface="Segoe UI" pitchFamily="34" charset="0"/>
                <a:cs typeface="Segoe UI" pitchFamily="34" charset="0"/>
              </a:rPr>
              <a:t>Define standards</a:t>
            </a:r>
          </a:p>
          <a:p>
            <a:pPr marL="214332" indent="-214332">
              <a:buClr>
                <a:schemeClr val="tx2"/>
              </a:buClr>
              <a:buFont typeface="Wingdings" pitchFamily="2" charset="2"/>
              <a:buChar char="§"/>
            </a:pPr>
            <a:r>
              <a:rPr lang="en-US" sz="1200" dirty="0">
                <a:solidFill>
                  <a:srgbClr val="FFFFFF"/>
                </a:solidFill>
                <a:latin typeface="Segoe UI" pitchFamily="34" charset="0"/>
                <a:ea typeface="Segoe UI" pitchFamily="34" charset="0"/>
                <a:cs typeface="Segoe UI" pitchFamily="34" charset="0"/>
              </a:rPr>
              <a:t>Create baselines and CIs</a:t>
            </a:r>
          </a:p>
        </p:txBody>
      </p:sp>
      <p:sp>
        <p:nvSpPr>
          <p:cNvPr id="18" name="Rectangle 17"/>
          <p:cNvSpPr/>
          <p:nvPr/>
        </p:nvSpPr>
        <p:spPr>
          <a:xfrm>
            <a:off x="3264777" y="1441980"/>
            <a:ext cx="2606719" cy="308610"/>
          </a:xfrm>
          <a:prstGeom prst="rect">
            <a:avLst/>
          </a:prstGeom>
          <a:solidFill>
            <a:schemeClr val="accent3"/>
          </a:solidFill>
          <a:ln w="12700">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86" tIns="34294" rIns="34294" bIns="34294" rtlCol="0" anchor="ctr"/>
          <a:lstStyle/>
          <a:p>
            <a:r>
              <a:rPr lang="en-US" dirty="0">
                <a:solidFill>
                  <a:srgbClr val="FFFFFF"/>
                </a:solidFill>
                <a:latin typeface="+mj-lt"/>
              </a:rPr>
              <a:t>Assessing </a:t>
            </a:r>
            <a:r>
              <a:rPr lang="en-US" dirty="0" smtClean="0">
                <a:solidFill>
                  <a:srgbClr val="FFFFFF"/>
                </a:solidFill>
                <a:latin typeface="+mj-lt"/>
              </a:rPr>
              <a:t>Compliance</a:t>
            </a:r>
            <a:endParaRPr lang="en-US" dirty="0">
              <a:solidFill>
                <a:srgbClr val="FFFFFF"/>
              </a:solidFill>
              <a:latin typeface="+mj-lt"/>
            </a:endParaRPr>
          </a:p>
        </p:txBody>
      </p:sp>
      <p:sp>
        <p:nvSpPr>
          <p:cNvPr id="23" name="Rectangle 22"/>
          <p:cNvSpPr/>
          <p:nvPr/>
        </p:nvSpPr>
        <p:spPr>
          <a:xfrm flipH="1">
            <a:off x="3264777" y="1772737"/>
            <a:ext cx="2606719" cy="934872"/>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102880" tIns="68586" rIns="68586" bIns="102880" rtlCol="0" anchor="t" anchorCtr="0">
            <a:noAutofit/>
          </a:bodyPr>
          <a:lstStyle/>
          <a:p>
            <a:pPr>
              <a:buClr>
                <a:schemeClr val="tx2"/>
              </a:buClr>
            </a:pPr>
            <a:r>
              <a:rPr lang="en-US" b="1" dirty="0">
                <a:solidFill>
                  <a:srgbClr val="FFFFFF"/>
                </a:solidFill>
                <a:latin typeface="Segoe Semibold" pitchFamily="34" charset="0"/>
                <a:ea typeface="Segoe UI" pitchFamily="34" charset="0"/>
                <a:cs typeface="Segoe UI" pitchFamily="34" charset="0"/>
              </a:rPr>
              <a:t>Software </a:t>
            </a:r>
            <a:r>
              <a:rPr lang="en-US" b="1" dirty="0" smtClean="0">
                <a:solidFill>
                  <a:srgbClr val="FFFFFF"/>
                </a:solidFill>
                <a:latin typeface="Segoe Semibold" pitchFamily="34" charset="0"/>
                <a:ea typeface="Segoe UI" pitchFamily="34" charset="0"/>
                <a:cs typeface="Segoe UI" pitchFamily="34" charset="0"/>
              </a:rPr>
              <a:t>Updates</a:t>
            </a:r>
            <a:endParaRPr lang="en-US" b="1" dirty="0">
              <a:solidFill>
                <a:srgbClr val="FFFFFF"/>
              </a:solidFill>
              <a:latin typeface="Segoe Semibold" pitchFamily="34" charset="0"/>
              <a:ea typeface="Segoe UI" pitchFamily="34" charset="0"/>
              <a:cs typeface="Segoe UI" pitchFamily="34" charset="0"/>
            </a:endParaRPr>
          </a:p>
          <a:p>
            <a:pPr marL="214332" indent="-214332">
              <a:buClr>
                <a:schemeClr val="tx2"/>
              </a:buClr>
              <a:buFont typeface="Wingdings" pitchFamily="2" charset="2"/>
              <a:buChar char="§"/>
            </a:pPr>
            <a:r>
              <a:rPr lang="en-US" sz="1200" dirty="0">
                <a:solidFill>
                  <a:srgbClr val="FFFFFF"/>
                </a:solidFill>
                <a:latin typeface="Segoe UI" pitchFamily="34" charset="0"/>
                <a:ea typeface="Segoe UI" pitchFamily="34" charset="0"/>
                <a:cs typeface="Segoe UI" pitchFamily="34" charset="0"/>
              </a:rPr>
              <a:t>Scanning for compliance</a:t>
            </a:r>
          </a:p>
          <a:p>
            <a:pPr marL="214332" indent="-214332">
              <a:buClr>
                <a:schemeClr val="tx2"/>
              </a:buClr>
              <a:buFont typeface="Wingdings" pitchFamily="2" charset="2"/>
              <a:buChar char="§"/>
            </a:pPr>
            <a:r>
              <a:rPr lang="en-US" sz="1200" dirty="0">
                <a:solidFill>
                  <a:srgbClr val="FFFFFF"/>
                </a:solidFill>
                <a:latin typeface="Segoe UI" pitchFamily="34" charset="0"/>
                <a:ea typeface="Segoe UI" pitchFamily="34" charset="0"/>
                <a:cs typeface="Segoe UI" pitchFamily="34" charset="0"/>
              </a:rPr>
              <a:t>Measuring compliance</a:t>
            </a:r>
          </a:p>
        </p:txBody>
      </p:sp>
      <p:sp>
        <p:nvSpPr>
          <p:cNvPr id="24" name="Rectangle 23"/>
          <p:cNvSpPr/>
          <p:nvPr/>
        </p:nvSpPr>
        <p:spPr>
          <a:xfrm flipH="1">
            <a:off x="3264777" y="2765050"/>
            <a:ext cx="2606719" cy="900247"/>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102880" tIns="68586" rIns="68586" bIns="68586" rtlCol="0" anchor="t" anchorCtr="0">
            <a:noAutofit/>
          </a:bodyPr>
          <a:lstStyle/>
          <a:p>
            <a:pPr>
              <a:buClr>
                <a:schemeClr val="tx2"/>
              </a:buClr>
            </a:pPr>
            <a:r>
              <a:rPr lang="en-US" b="1" dirty="0">
                <a:solidFill>
                  <a:srgbClr val="FFFFFF"/>
                </a:solidFill>
                <a:latin typeface="Segoe Semibold" pitchFamily="34" charset="0"/>
                <a:ea typeface="Segoe UI" pitchFamily="34" charset="0"/>
                <a:cs typeface="Segoe UI" pitchFamily="34" charset="0"/>
              </a:rPr>
              <a:t>Settings Management</a:t>
            </a:r>
          </a:p>
          <a:p>
            <a:pPr marL="214332" indent="-214332">
              <a:buClr>
                <a:schemeClr val="tx2"/>
              </a:buClr>
              <a:buFont typeface="Wingdings" pitchFamily="2" charset="2"/>
              <a:buChar char="§"/>
            </a:pPr>
            <a:r>
              <a:rPr lang="en-US" sz="1200" dirty="0">
                <a:solidFill>
                  <a:srgbClr val="FFFFFF"/>
                </a:solidFill>
                <a:latin typeface="Segoe UI" pitchFamily="34" charset="0"/>
                <a:ea typeface="Segoe UI" pitchFamily="34" charset="0"/>
                <a:cs typeface="Segoe UI" pitchFamily="34" charset="0"/>
              </a:rPr>
              <a:t>Deploy compliance baselines to collections of users or systems</a:t>
            </a:r>
          </a:p>
        </p:txBody>
      </p:sp>
      <p:sp>
        <p:nvSpPr>
          <p:cNvPr id="21" name="Rectangle 20"/>
          <p:cNvSpPr/>
          <p:nvPr/>
        </p:nvSpPr>
        <p:spPr>
          <a:xfrm>
            <a:off x="6197280" y="1441980"/>
            <a:ext cx="2606720" cy="308610"/>
          </a:xfrm>
          <a:prstGeom prst="rect">
            <a:avLst/>
          </a:prstGeom>
          <a:solidFill>
            <a:schemeClr val="accent6"/>
          </a:solidFill>
          <a:ln w="12700">
            <a:solidFill>
              <a:schemeClr val="accent6"/>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86" tIns="34294" rIns="34294" bIns="34294" rtlCol="0" anchor="ctr"/>
          <a:lstStyle/>
          <a:p>
            <a:r>
              <a:rPr lang="en-US" dirty="0">
                <a:solidFill>
                  <a:srgbClr val="FFFFFF"/>
                </a:solidFill>
                <a:latin typeface="+mj-lt"/>
              </a:rPr>
              <a:t>Remediating N</a:t>
            </a:r>
            <a:r>
              <a:rPr lang="en-US" dirty="0" smtClean="0">
                <a:solidFill>
                  <a:srgbClr val="FFFFFF"/>
                </a:solidFill>
                <a:latin typeface="+mj-lt"/>
              </a:rPr>
              <a:t>on-compliance</a:t>
            </a:r>
            <a:endParaRPr lang="en-US" dirty="0">
              <a:solidFill>
                <a:srgbClr val="FFFFFF"/>
              </a:solidFill>
              <a:latin typeface="+mj-lt"/>
            </a:endParaRPr>
          </a:p>
        </p:txBody>
      </p:sp>
      <p:sp>
        <p:nvSpPr>
          <p:cNvPr id="26" name="Rectangle 25"/>
          <p:cNvSpPr/>
          <p:nvPr/>
        </p:nvSpPr>
        <p:spPr>
          <a:xfrm flipH="1">
            <a:off x="6197281" y="1772737"/>
            <a:ext cx="2606719" cy="934872"/>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102880" tIns="68586" rIns="68586" bIns="68586" rtlCol="0" anchor="t" anchorCtr="0">
            <a:noAutofit/>
          </a:bodyPr>
          <a:lstStyle/>
          <a:p>
            <a:pPr>
              <a:buClr>
                <a:schemeClr val="tx2"/>
              </a:buClr>
            </a:pPr>
            <a:r>
              <a:rPr lang="en-US" b="1" dirty="0">
                <a:solidFill>
                  <a:srgbClr val="FFFFFF"/>
                </a:solidFill>
                <a:latin typeface="Segoe Semibold" pitchFamily="34" charset="0"/>
                <a:ea typeface="Segoe UI" pitchFamily="34" charset="0"/>
                <a:cs typeface="Segoe UI" pitchFamily="34" charset="0"/>
              </a:rPr>
              <a:t>Software updates</a:t>
            </a:r>
          </a:p>
          <a:p>
            <a:pPr marL="214332" indent="-214332">
              <a:buClr>
                <a:schemeClr val="tx2"/>
              </a:buClr>
              <a:buFont typeface="Wingdings" pitchFamily="2" charset="2"/>
              <a:buChar char="§"/>
            </a:pPr>
            <a:r>
              <a:rPr lang="en-US" sz="1200" dirty="0">
                <a:solidFill>
                  <a:srgbClr val="FFFFFF"/>
                </a:solidFill>
                <a:latin typeface="Segoe UI" pitchFamily="34" charset="0"/>
                <a:ea typeface="Segoe UI" pitchFamily="34" charset="0"/>
                <a:cs typeface="Segoe UI" pitchFamily="34" charset="0"/>
              </a:rPr>
              <a:t>Deploying monthly updates</a:t>
            </a:r>
          </a:p>
          <a:p>
            <a:pPr marL="214332" indent="-214332">
              <a:buClr>
                <a:schemeClr val="tx2"/>
              </a:buClr>
              <a:buFont typeface="Wingdings" pitchFamily="2" charset="2"/>
              <a:buChar char="§"/>
            </a:pPr>
            <a:r>
              <a:rPr lang="en-US" sz="1200" dirty="0">
                <a:solidFill>
                  <a:srgbClr val="FFFFFF"/>
                </a:solidFill>
                <a:latin typeface="Segoe UI" pitchFamily="34" charset="0"/>
                <a:ea typeface="Segoe UI" pitchFamily="34" charset="0"/>
                <a:cs typeface="Segoe UI" pitchFamily="34" charset="0"/>
              </a:rPr>
              <a:t>Monitoring ongoing compliance</a:t>
            </a:r>
          </a:p>
        </p:txBody>
      </p:sp>
      <p:sp>
        <p:nvSpPr>
          <p:cNvPr id="27" name="Rectangle 26"/>
          <p:cNvSpPr/>
          <p:nvPr/>
        </p:nvSpPr>
        <p:spPr>
          <a:xfrm flipH="1">
            <a:off x="6197281" y="2765050"/>
            <a:ext cx="2606719" cy="946406"/>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102880" tIns="68586" rIns="68586" bIns="102880" rtlCol="0" anchor="t" anchorCtr="0">
            <a:spAutoFit/>
          </a:bodyPr>
          <a:lstStyle/>
          <a:p>
            <a:pPr>
              <a:buClr>
                <a:schemeClr val="tx2"/>
              </a:buClr>
            </a:pPr>
            <a:r>
              <a:rPr lang="en-US" b="1" dirty="0">
                <a:solidFill>
                  <a:srgbClr val="FFFFFF"/>
                </a:solidFill>
                <a:latin typeface="Segoe Semibold" pitchFamily="34" charset="0"/>
                <a:ea typeface="Segoe UI" pitchFamily="34" charset="0"/>
                <a:cs typeface="Segoe UI" pitchFamily="34" charset="0"/>
              </a:rPr>
              <a:t>Settings Management</a:t>
            </a:r>
          </a:p>
          <a:p>
            <a:pPr marL="214332" indent="-214332">
              <a:buClr>
                <a:schemeClr val="tx2"/>
              </a:buClr>
              <a:buFont typeface="Wingdings" pitchFamily="2" charset="2"/>
              <a:buChar char="§"/>
            </a:pPr>
            <a:r>
              <a:rPr lang="en-US" sz="1200" dirty="0">
                <a:solidFill>
                  <a:srgbClr val="FFFFFF"/>
                </a:solidFill>
                <a:latin typeface="Segoe UI" pitchFamily="34" charset="0"/>
                <a:ea typeface="Segoe UI" pitchFamily="34" charset="0"/>
                <a:cs typeface="Segoe UI" pitchFamily="34" charset="0"/>
              </a:rPr>
              <a:t>Monitor drift from desired state</a:t>
            </a:r>
          </a:p>
          <a:p>
            <a:pPr marL="214332" indent="-214332">
              <a:buClr>
                <a:schemeClr val="tx2"/>
              </a:buClr>
              <a:buFont typeface="Wingdings" pitchFamily="2" charset="2"/>
              <a:buChar char="§"/>
            </a:pPr>
            <a:r>
              <a:rPr lang="en-US" sz="1200" dirty="0">
                <a:solidFill>
                  <a:srgbClr val="FFFFFF"/>
                </a:solidFill>
                <a:latin typeface="Segoe UI" pitchFamily="34" charset="0"/>
                <a:ea typeface="Segoe UI" pitchFamily="34" charset="0"/>
                <a:cs typeface="Segoe UI" pitchFamily="34" charset="0"/>
              </a:rPr>
              <a:t>Remediate issues impacting setting of desired state</a:t>
            </a:r>
          </a:p>
        </p:txBody>
      </p:sp>
      <p:sp>
        <p:nvSpPr>
          <p:cNvPr id="28" name="Right Arrow 27"/>
          <p:cNvSpPr/>
          <p:nvPr/>
        </p:nvSpPr>
        <p:spPr>
          <a:xfrm>
            <a:off x="2938990" y="1856179"/>
            <a:ext cx="379840" cy="767988"/>
          </a:xfrm>
          <a:prstGeom prst="rightArrow">
            <a:avLst>
              <a:gd name="adj1" fmla="val 100000"/>
              <a:gd name="adj2" fmla="val 100000"/>
            </a:avLst>
          </a:prstGeom>
          <a:solidFill>
            <a:schemeClr val="accent1"/>
          </a:solidFill>
          <a:ln w="12700">
            <a:solidFill>
              <a:schemeClr val="tx1"/>
            </a:solidFill>
            <a:prstDash val="sysDot"/>
          </a:ln>
        </p:spPr>
        <p:txBody>
          <a:bodyPr vert="horz" wrap="square" lIns="102880" tIns="102880" rIns="68576" bIns="102880" numCol="1" rtlCol="0" anchor="ctr" anchorCtr="0" compatLnSpc="1">
            <a:prstTxWarp prst="textNoShape">
              <a:avLst/>
            </a:prstTxWarp>
          </a:bodyPr>
          <a:lstStyle/>
          <a:p>
            <a:pPr algn="ctr" defTabSz="685754"/>
            <a:endParaRPr lang="en-US" sz="2100" kern="0">
              <a:solidFill>
                <a:srgbClr val="FFFFFF"/>
              </a:solidFill>
              <a:latin typeface="+mj-lt"/>
              <a:ea typeface="Segoe UI" pitchFamily="34" charset="0"/>
              <a:cs typeface="Segoe UI" pitchFamily="34" charset="0"/>
            </a:endParaRPr>
          </a:p>
        </p:txBody>
      </p:sp>
      <p:sp>
        <p:nvSpPr>
          <p:cNvPr id="37" name="Right Arrow 36"/>
          <p:cNvSpPr/>
          <p:nvPr/>
        </p:nvSpPr>
        <p:spPr>
          <a:xfrm>
            <a:off x="5870280" y="1846490"/>
            <a:ext cx="414591" cy="787369"/>
          </a:xfrm>
          <a:prstGeom prst="rightArrow">
            <a:avLst>
              <a:gd name="adj1" fmla="val 100000"/>
              <a:gd name="adj2" fmla="val 100000"/>
            </a:avLst>
          </a:prstGeom>
          <a:solidFill>
            <a:schemeClr val="accent3"/>
          </a:solidFill>
          <a:ln w="12700">
            <a:solidFill>
              <a:schemeClr val="tx1"/>
            </a:solidFill>
            <a:prstDash val="sysDot"/>
          </a:ln>
        </p:spPr>
        <p:txBody>
          <a:bodyPr vert="horz" wrap="square" lIns="102880" tIns="102880" rIns="68576" bIns="102880" numCol="1" rtlCol="0" anchor="ctr" anchorCtr="0" compatLnSpc="1">
            <a:prstTxWarp prst="textNoShape">
              <a:avLst/>
            </a:prstTxWarp>
          </a:bodyPr>
          <a:lstStyle/>
          <a:p>
            <a:pPr algn="ctr" defTabSz="685754"/>
            <a:endParaRPr lang="en-US" sz="2100" kern="0">
              <a:solidFill>
                <a:srgbClr val="FFFFFF"/>
              </a:solidFill>
              <a:latin typeface="+mj-lt"/>
              <a:ea typeface="Segoe UI" pitchFamily="34" charset="0"/>
              <a:cs typeface="Segoe UI" pitchFamily="34" charset="0"/>
            </a:endParaRPr>
          </a:p>
        </p:txBody>
      </p:sp>
      <p:sp>
        <p:nvSpPr>
          <p:cNvPr id="17" name="Rectangle 16"/>
          <p:cNvSpPr/>
          <p:nvPr/>
        </p:nvSpPr>
        <p:spPr>
          <a:xfrm flipH="1">
            <a:off x="326462" y="3770957"/>
            <a:ext cx="2606719" cy="900247"/>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102880" tIns="68586" rIns="68586" bIns="68586" rtlCol="0" anchor="t" anchorCtr="0">
            <a:noAutofit/>
          </a:bodyPr>
          <a:lstStyle/>
          <a:p>
            <a:pPr>
              <a:buClr>
                <a:schemeClr val="tx2"/>
              </a:buClr>
            </a:pPr>
            <a:r>
              <a:rPr lang="en-US" b="1" dirty="0" smtClean="0">
                <a:solidFill>
                  <a:srgbClr val="FFFFFF"/>
                </a:solidFill>
                <a:latin typeface="Segoe Semibold" pitchFamily="34" charset="0"/>
                <a:ea typeface="Segoe UI" pitchFamily="34" charset="0"/>
                <a:cs typeface="Segoe UI" pitchFamily="34" charset="0"/>
              </a:rPr>
              <a:t>Endpoint Protection</a:t>
            </a:r>
            <a:endParaRPr lang="en-US" b="1" dirty="0">
              <a:solidFill>
                <a:srgbClr val="FFFFFF"/>
              </a:solidFill>
              <a:latin typeface="Segoe Semibold" pitchFamily="34" charset="0"/>
              <a:ea typeface="Segoe UI" pitchFamily="34" charset="0"/>
              <a:cs typeface="Segoe UI" pitchFamily="34" charset="0"/>
            </a:endParaRPr>
          </a:p>
          <a:p>
            <a:pPr marL="214332" indent="-214332">
              <a:buClr>
                <a:schemeClr val="tx2"/>
              </a:buClr>
              <a:buFont typeface="Wingdings" pitchFamily="2" charset="2"/>
              <a:buChar char="§"/>
            </a:pPr>
            <a:r>
              <a:rPr lang="en-US" sz="1200" dirty="0">
                <a:solidFill>
                  <a:srgbClr val="FFFFFF"/>
                </a:solidFill>
                <a:latin typeface="Segoe UI" pitchFamily="34" charset="0"/>
                <a:ea typeface="Segoe UI" pitchFamily="34" charset="0"/>
                <a:cs typeface="Segoe UI" pitchFamily="34" charset="0"/>
              </a:rPr>
              <a:t>Enable the product</a:t>
            </a:r>
          </a:p>
          <a:p>
            <a:pPr marL="214332" indent="-214332">
              <a:buClr>
                <a:schemeClr val="tx2"/>
              </a:buClr>
              <a:buFont typeface="Wingdings" pitchFamily="2" charset="2"/>
              <a:buChar char="§"/>
            </a:pPr>
            <a:r>
              <a:rPr lang="en-US" sz="1200" dirty="0">
                <a:solidFill>
                  <a:srgbClr val="FFFFFF"/>
                </a:solidFill>
                <a:latin typeface="Segoe UI" pitchFamily="34" charset="0"/>
                <a:ea typeface="Segoe UI" pitchFamily="34" charset="0"/>
                <a:cs typeface="Segoe UI" pitchFamily="34" charset="0"/>
              </a:rPr>
              <a:t>Define standards for protection (AM Policy, Definitions, Alerts)</a:t>
            </a:r>
          </a:p>
        </p:txBody>
      </p:sp>
      <p:sp>
        <p:nvSpPr>
          <p:cNvPr id="19" name="Rectangle 18"/>
          <p:cNvSpPr/>
          <p:nvPr/>
        </p:nvSpPr>
        <p:spPr>
          <a:xfrm flipH="1">
            <a:off x="3264777" y="3770956"/>
            <a:ext cx="2606719" cy="900247"/>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102880" tIns="68586" rIns="68586" bIns="68586" rtlCol="0" anchor="t" anchorCtr="0">
            <a:noAutofit/>
          </a:bodyPr>
          <a:lstStyle/>
          <a:p>
            <a:pPr>
              <a:buClr>
                <a:schemeClr val="tx2"/>
              </a:buClr>
            </a:pPr>
            <a:r>
              <a:rPr lang="en-US" b="1" dirty="0" smtClean="0">
                <a:solidFill>
                  <a:srgbClr val="FFFFFF"/>
                </a:solidFill>
                <a:latin typeface="Segoe Semibold" pitchFamily="34" charset="0"/>
                <a:ea typeface="Segoe UI" pitchFamily="34" charset="0"/>
                <a:cs typeface="Segoe UI" pitchFamily="34" charset="0"/>
              </a:rPr>
              <a:t>Endpoint Protection</a:t>
            </a:r>
          </a:p>
          <a:p>
            <a:pPr marL="214332" indent="-214332">
              <a:buClr>
                <a:schemeClr val="tx2"/>
              </a:buClr>
              <a:buFont typeface="Wingdings" pitchFamily="2" charset="2"/>
              <a:buChar char="§"/>
            </a:pPr>
            <a:r>
              <a:rPr lang="en-US" sz="1200" dirty="0">
                <a:solidFill>
                  <a:srgbClr val="FFFFFF"/>
                </a:solidFill>
                <a:latin typeface="Segoe UI" pitchFamily="34" charset="0"/>
                <a:ea typeface="Segoe UI" pitchFamily="34" charset="0"/>
                <a:cs typeface="Segoe UI" pitchFamily="34" charset="0"/>
              </a:rPr>
              <a:t>Enable and deploy EP client</a:t>
            </a:r>
          </a:p>
          <a:p>
            <a:pPr marL="214332" indent="-214332">
              <a:buClr>
                <a:schemeClr val="tx2"/>
              </a:buClr>
              <a:buFont typeface="Wingdings" pitchFamily="2" charset="2"/>
              <a:buChar char="§"/>
            </a:pPr>
            <a:r>
              <a:rPr lang="en-US" sz="1200" dirty="0">
                <a:solidFill>
                  <a:srgbClr val="FFFFFF"/>
                </a:solidFill>
                <a:latin typeface="Segoe UI" pitchFamily="34" charset="0"/>
                <a:ea typeface="Segoe UI" pitchFamily="34" charset="0"/>
                <a:cs typeface="Segoe UI" pitchFamily="34" charset="0"/>
              </a:rPr>
              <a:t>Actively monitor for malware based on AM policy</a:t>
            </a:r>
          </a:p>
        </p:txBody>
      </p:sp>
      <p:sp>
        <p:nvSpPr>
          <p:cNvPr id="20" name="Rectangle 19"/>
          <p:cNvSpPr/>
          <p:nvPr/>
        </p:nvSpPr>
        <p:spPr>
          <a:xfrm flipH="1">
            <a:off x="6197281" y="3775169"/>
            <a:ext cx="2606719" cy="1131072"/>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102880" tIns="68586" rIns="68586" bIns="102880" rtlCol="0" anchor="t" anchorCtr="0">
            <a:spAutoFit/>
          </a:bodyPr>
          <a:lstStyle/>
          <a:p>
            <a:pPr>
              <a:buClr>
                <a:schemeClr val="tx2"/>
              </a:buClr>
            </a:pPr>
            <a:r>
              <a:rPr lang="en-US" b="1" dirty="0" smtClean="0">
                <a:solidFill>
                  <a:srgbClr val="FFFFFF"/>
                </a:solidFill>
                <a:latin typeface="Segoe Semibold" pitchFamily="34" charset="0"/>
                <a:ea typeface="Segoe UI" pitchFamily="34" charset="0"/>
                <a:cs typeface="Segoe UI" pitchFamily="34" charset="0"/>
              </a:rPr>
              <a:t>Endpoint Protection </a:t>
            </a:r>
          </a:p>
          <a:p>
            <a:pPr marL="214332" indent="-214332">
              <a:buClr>
                <a:schemeClr val="tx2"/>
              </a:buClr>
              <a:buFont typeface="Wingdings" pitchFamily="2" charset="2"/>
              <a:buChar char="§"/>
            </a:pPr>
            <a:r>
              <a:rPr lang="en-US" sz="1200" dirty="0">
                <a:solidFill>
                  <a:srgbClr val="FFFFFF"/>
                </a:solidFill>
                <a:latin typeface="Segoe UI" pitchFamily="34" charset="0"/>
                <a:ea typeface="Segoe UI" pitchFamily="34" charset="0"/>
                <a:cs typeface="Segoe UI" pitchFamily="34" charset="0"/>
              </a:rPr>
              <a:t>Clients remediate malware and rapidly report state</a:t>
            </a:r>
          </a:p>
          <a:p>
            <a:pPr marL="214332" indent="-214332">
              <a:buClr>
                <a:schemeClr val="tx2"/>
              </a:buClr>
              <a:buFont typeface="Wingdings" pitchFamily="2" charset="2"/>
              <a:buChar char="§"/>
            </a:pPr>
            <a:r>
              <a:rPr lang="en-US" sz="1200" dirty="0">
                <a:solidFill>
                  <a:srgbClr val="FFFFFF"/>
                </a:solidFill>
                <a:latin typeface="Segoe UI" pitchFamily="34" charset="0"/>
                <a:ea typeface="Segoe UI" pitchFamily="34" charset="0"/>
                <a:cs typeface="Segoe UI" pitchFamily="34" charset="0"/>
              </a:rPr>
              <a:t>Admin intervenes where required</a:t>
            </a:r>
          </a:p>
        </p:txBody>
      </p:sp>
      <p:sp>
        <p:nvSpPr>
          <p:cNvPr id="25" name="Right Arrow 24"/>
          <p:cNvSpPr/>
          <p:nvPr/>
        </p:nvSpPr>
        <p:spPr>
          <a:xfrm>
            <a:off x="2941798" y="2831177"/>
            <a:ext cx="379840" cy="767988"/>
          </a:xfrm>
          <a:prstGeom prst="rightArrow">
            <a:avLst>
              <a:gd name="adj1" fmla="val 100000"/>
              <a:gd name="adj2" fmla="val 100000"/>
            </a:avLst>
          </a:prstGeom>
          <a:solidFill>
            <a:schemeClr val="accent1"/>
          </a:solidFill>
          <a:ln w="12700">
            <a:solidFill>
              <a:schemeClr val="tx1"/>
            </a:solidFill>
            <a:prstDash val="sysDot"/>
          </a:ln>
        </p:spPr>
        <p:txBody>
          <a:bodyPr vert="horz" wrap="square" lIns="102880" tIns="102880" rIns="68576" bIns="102880" numCol="1" rtlCol="0" anchor="ctr" anchorCtr="0" compatLnSpc="1">
            <a:prstTxWarp prst="textNoShape">
              <a:avLst/>
            </a:prstTxWarp>
          </a:bodyPr>
          <a:lstStyle/>
          <a:p>
            <a:pPr algn="ctr" defTabSz="685754"/>
            <a:endParaRPr lang="en-US" sz="2100" kern="0">
              <a:solidFill>
                <a:srgbClr val="FFFFFF"/>
              </a:solidFill>
              <a:latin typeface="+mj-lt"/>
              <a:ea typeface="Segoe UI" pitchFamily="34" charset="0"/>
              <a:cs typeface="Segoe UI" pitchFamily="34" charset="0"/>
            </a:endParaRPr>
          </a:p>
        </p:txBody>
      </p:sp>
      <p:sp>
        <p:nvSpPr>
          <p:cNvPr id="29" name="Right Arrow 28"/>
          <p:cNvSpPr/>
          <p:nvPr/>
        </p:nvSpPr>
        <p:spPr>
          <a:xfrm>
            <a:off x="2933180" y="3837085"/>
            <a:ext cx="379840" cy="767988"/>
          </a:xfrm>
          <a:prstGeom prst="rightArrow">
            <a:avLst>
              <a:gd name="adj1" fmla="val 100000"/>
              <a:gd name="adj2" fmla="val 100000"/>
            </a:avLst>
          </a:prstGeom>
          <a:solidFill>
            <a:schemeClr val="accent1"/>
          </a:solidFill>
          <a:ln w="12700">
            <a:solidFill>
              <a:schemeClr val="tx1"/>
            </a:solidFill>
            <a:prstDash val="sysDot"/>
          </a:ln>
        </p:spPr>
        <p:txBody>
          <a:bodyPr vert="horz" wrap="square" lIns="102880" tIns="102880" rIns="68576" bIns="102880" numCol="1" rtlCol="0" anchor="ctr" anchorCtr="0" compatLnSpc="1">
            <a:prstTxWarp prst="textNoShape">
              <a:avLst/>
            </a:prstTxWarp>
          </a:bodyPr>
          <a:lstStyle/>
          <a:p>
            <a:pPr algn="ctr" defTabSz="685754"/>
            <a:endParaRPr lang="en-US" sz="2100" kern="0">
              <a:solidFill>
                <a:srgbClr val="FFFFFF"/>
              </a:solidFill>
              <a:latin typeface="+mj-lt"/>
              <a:ea typeface="Segoe UI" pitchFamily="34" charset="0"/>
              <a:cs typeface="Segoe UI" pitchFamily="34" charset="0"/>
            </a:endParaRPr>
          </a:p>
        </p:txBody>
      </p:sp>
      <p:sp>
        <p:nvSpPr>
          <p:cNvPr id="30" name="Right Arrow 29"/>
          <p:cNvSpPr/>
          <p:nvPr/>
        </p:nvSpPr>
        <p:spPr>
          <a:xfrm>
            <a:off x="5870280" y="2821489"/>
            <a:ext cx="414591" cy="787369"/>
          </a:xfrm>
          <a:prstGeom prst="rightArrow">
            <a:avLst>
              <a:gd name="adj1" fmla="val 100000"/>
              <a:gd name="adj2" fmla="val 100000"/>
            </a:avLst>
          </a:prstGeom>
          <a:solidFill>
            <a:schemeClr val="accent3"/>
          </a:solidFill>
          <a:ln w="12700">
            <a:solidFill>
              <a:schemeClr val="tx1"/>
            </a:solidFill>
            <a:prstDash val="sysDot"/>
          </a:ln>
        </p:spPr>
        <p:txBody>
          <a:bodyPr vert="horz" wrap="square" lIns="102880" tIns="102880" rIns="68576" bIns="102880" numCol="1" rtlCol="0" anchor="ctr" anchorCtr="0" compatLnSpc="1">
            <a:prstTxWarp prst="textNoShape">
              <a:avLst/>
            </a:prstTxWarp>
          </a:bodyPr>
          <a:lstStyle/>
          <a:p>
            <a:pPr algn="ctr" defTabSz="685754"/>
            <a:endParaRPr lang="en-US" sz="2100" kern="0">
              <a:solidFill>
                <a:srgbClr val="FFFFFF"/>
              </a:solidFill>
              <a:latin typeface="+mj-lt"/>
              <a:ea typeface="Segoe UI" pitchFamily="34" charset="0"/>
              <a:cs typeface="Segoe UI" pitchFamily="34" charset="0"/>
            </a:endParaRPr>
          </a:p>
        </p:txBody>
      </p:sp>
      <p:sp>
        <p:nvSpPr>
          <p:cNvPr id="31" name="Right Arrow 30"/>
          <p:cNvSpPr/>
          <p:nvPr/>
        </p:nvSpPr>
        <p:spPr>
          <a:xfrm>
            <a:off x="5871496" y="3827395"/>
            <a:ext cx="414591" cy="787369"/>
          </a:xfrm>
          <a:prstGeom prst="rightArrow">
            <a:avLst>
              <a:gd name="adj1" fmla="val 100000"/>
              <a:gd name="adj2" fmla="val 100000"/>
            </a:avLst>
          </a:prstGeom>
          <a:solidFill>
            <a:schemeClr val="accent3"/>
          </a:solidFill>
          <a:ln w="12700">
            <a:solidFill>
              <a:schemeClr val="tx1"/>
            </a:solidFill>
            <a:prstDash val="sysDot"/>
          </a:ln>
        </p:spPr>
        <p:txBody>
          <a:bodyPr vert="horz" wrap="square" lIns="102880" tIns="102880" rIns="68576" bIns="102880" numCol="1" rtlCol="0" anchor="ctr" anchorCtr="0" compatLnSpc="1">
            <a:prstTxWarp prst="textNoShape">
              <a:avLst/>
            </a:prstTxWarp>
          </a:bodyPr>
          <a:lstStyle/>
          <a:p>
            <a:pPr algn="ctr" defTabSz="685754"/>
            <a:endParaRPr lang="en-US" sz="2100" kern="0">
              <a:solidFill>
                <a:srgbClr val="FFFFFF"/>
              </a:solidFill>
              <a:latin typeface="+mj-lt"/>
              <a:ea typeface="Segoe UI" pitchFamily="34" charset="0"/>
              <a:cs typeface="Segoe UI" pitchFamily="34" charset="0"/>
            </a:endParaRPr>
          </a:p>
        </p:txBody>
      </p:sp>
      <p:sp>
        <p:nvSpPr>
          <p:cNvPr id="32"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3"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
              </a:rPr>
              <a:t>www.rapidbbs.cn</a:t>
            </a:r>
            <a:endParaRPr lang="zh-CN" altLang="en-US" sz="1200" b="0">
              <a:latin typeface="Arial" charset="0"/>
              <a:ea typeface="ＭＳ Ｐゴシック" pitchFamily="34" charset="-128"/>
            </a:endParaRPr>
          </a:p>
        </p:txBody>
      </p:sp>
      <p:pic>
        <p:nvPicPr>
          <p:cNvPr id="34" name="Picture 2">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841391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8"/>
                                        </p:tgtEl>
                                        <p:attrNameLst>
                                          <p:attrName>style.visibility</p:attrName>
                                        </p:attrNameLst>
                                      </p:cBhvr>
                                      <p:to>
                                        <p:strVal val="visible"/>
                                      </p:to>
                                    </p:set>
                                    <p:animEffect transition="in" filter="fade">
                                      <p:cBhvr>
                                        <p:cTn id="10" dur="500"/>
                                        <p:tgtEl>
                                          <p:spTgt spid="28"/>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500"/>
                                        <p:tgtEl>
                                          <p:spTgt spid="2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7"/>
                                        </p:tgtEl>
                                        <p:attrNameLst>
                                          <p:attrName>style.visibility</p:attrName>
                                        </p:attrNameLst>
                                      </p:cBhvr>
                                      <p:to>
                                        <p:strVal val="visible"/>
                                      </p:to>
                                    </p:set>
                                    <p:animEffect transition="in" filter="fade">
                                      <p:cBhvr>
                                        <p:cTn id="18" dur="500"/>
                                        <p:tgtEl>
                                          <p:spTgt spid="37"/>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500"/>
                                        <p:tgtEl>
                                          <p:spTgt spid="26"/>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22"/>
                                        </p:tgtEl>
                                        <p:attrNameLst>
                                          <p:attrName>style.visibility</p:attrName>
                                        </p:attrNameLst>
                                      </p:cBhvr>
                                      <p:to>
                                        <p:strVal val="visible"/>
                                      </p:to>
                                    </p:set>
                                    <p:animEffect transition="in" filter="fade">
                                      <p:cBhvr>
                                        <p:cTn id="28" dur="500"/>
                                        <p:tgtEl>
                                          <p:spTgt spid="22"/>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5"/>
                                        </p:tgtEl>
                                        <p:attrNameLst>
                                          <p:attrName>style.visibility</p:attrName>
                                        </p:attrNameLst>
                                      </p:cBhvr>
                                      <p:to>
                                        <p:strVal val="visible"/>
                                      </p:to>
                                    </p:set>
                                    <p:animEffect transition="in" filter="fade">
                                      <p:cBhvr>
                                        <p:cTn id="31" dur="500"/>
                                        <p:tgtEl>
                                          <p:spTgt spid="25"/>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24"/>
                                        </p:tgtEl>
                                        <p:attrNameLst>
                                          <p:attrName>style.visibility</p:attrName>
                                        </p:attrNameLst>
                                      </p:cBhvr>
                                      <p:to>
                                        <p:strVal val="visible"/>
                                      </p:to>
                                    </p:set>
                                    <p:animEffect transition="in" filter="fade">
                                      <p:cBhvr>
                                        <p:cTn id="36" dur="500"/>
                                        <p:tgtEl>
                                          <p:spTgt spid="24"/>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30"/>
                                        </p:tgtEl>
                                        <p:attrNameLst>
                                          <p:attrName>style.visibility</p:attrName>
                                        </p:attrNameLst>
                                      </p:cBhvr>
                                      <p:to>
                                        <p:strVal val="visible"/>
                                      </p:to>
                                    </p:set>
                                    <p:animEffect transition="in" filter="fade">
                                      <p:cBhvr>
                                        <p:cTn id="39" dur="500"/>
                                        <p:tgtEl>
                                          <p:spTgt spid="30"/>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500"/>
                                        <p:tgtEl>
                                          <p:spTgt spid="27"/>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7"/>
                                        </p:tgtEl>
                                        <p:attrNameLst>
                                          <p:attrName>style.visibility</p:attrName>
                                        </p:attrNameLst>
                                      </p:cBhvr>
                                      <p:to>
                                        <p:strVal val="visible"/>
                                      </p:to>
                                    </p:set>
                                    <p:animEffect transition="in" filter="fade">
                                      <p:cBhvr>
                                        <p:cTn id="49" dur="500"/>
                                        <p:tgtEl>
                                          <p:spTgt spid="17"/>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29"/>
                                        </p:tgtEl>
                                        <p:attrNameLst>
                                          <p:attrName>style.visibility</p:attrName>
                                        </p:attrNameLst>
                                      </p:cBhvr>
                                      <p:to>
                                        <p:strVal val="visible"/>
                                      </p:to>
                                    </p:set>
                                    <p:animEffect transition="in" filter="fade">
                                      <p:cBhvr>
                                        <p:cTn id="52" dur="500"/>
                                        <p:tgtEl>
                                          <p:spTgt spid="29"/>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19"/>
                                        </p:tgtEl>
                                        <p:attrNameLst>
                                          <p:attrName>style.visibility</p:attrName>
                                        </p:attrNameLst>
                                      </p:cBhvr>
                                      <p:to>
                                        <p:strVal val="visible"/>
                                      </p:to>
                                    </p:set>
                                    <p:animEffect transition="in" filter="fade">
                                      <p:cBhvr>
                                        <p:cTn id="57" dur="500"/>
                                        <p:tgtEl>
                                          <p:spTgt spid="19"/>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31"/>
                                        </p:tgtEl>
                                        <p:attrNameLst>
                                          <p:attrName>style.visibility</p:attrName>
                                        </p:attrNameLst>
                                      </p:cBhvr>
                                      <p:to>
                                        <p:strVal val="visible"/>
                                      </p:to>
                                    </p:set>
                                    <p:animEffect transition="in" filter="fade">
                                      <p:cBhvr>
                                        <p:cTn id="60" dur="500"/>
                                        <p:tgtEl>
                                          <p:spTgt spid="31"/>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grpId="0" nodeType="clickEffect">
                                  <p:stCondLst>
                                    <p:cond delay="0"/>
                                  </p:stCondLst>
                                  <p:childTnLst>
                                    <p:set>
                                      <p:cBhvr>
                                        <p:cTn id="64" dur="1" fill="hold">
                                          <p:stCondLst>
                                            <p:cond delay="0"/>
                                          </p:stCondLst>
                                        </p:cTn>
                                        <p:tgtEl>
                                          <p:spTgt spid="20"/>
                                        </p:tgtEl>
                                        <p:attrNameLst>
                                          <p:attrName>style.visibility</p:attrName>
                                        </p:attrNameLst>
                                      </p:cBhvr>
                                      <p:to>
                                        <p:strVal val="visible"/>
                                      </p:to>
                                    </p:set>
                                    <p:animEffect transition="in" filter="fade">
                                      <p:cBhvr>
                                        <p:cTn id="65"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22" grpId="0" animBg="1"/>
      <p:bldP spid="23" grpId="0" animBg="1"/>
      <p:bldP spid="24" grpId="0" animBg="1"/>
      <p:bldP spid="26" grpId="0" animBg="1"/>
      <p:bldP spid="27" grpId="0" animBg="1"/>
      <p:bldP spid="28" grpId="0" animBg="1"/>
      <p:bldP spid="37" grpId="0" animBg="1"/>
      <p:bldP spid="17" grpId="0" animBg="1"/>
      <p:bldP spid="19" grpId="0" animBg="1"/>
      <p:bldP spid="20" grpId="0" animBg="1"/>
      <p:bldP spid="25" grpId="0" animBg="1"/>
      <p:bldP spid="29" grpId="0" animBg="1"/>
      <p:bldP spid="30" grpId="0" animBg="1"/>
      <p:bldP spid="31" grpId="0" animBg="1"/>
    </p:bldLst>
  </p:timing>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6461" y="157279"/>
            <a:ext cx="8525904" cy="457049"/>
          </a:xfrm>
        </p:spPr>
        <p:txBody>
          <a:bodyPr/>
          <a:lstStyle/>
          <a:p>
            <a:r>
              <a:rPr lang="en-US" dirty="0" smtClean="0"/>
              <a:t>Plan and Configure: Administration</a:t>
            </a:r>
            <a:endParaRPr lang="en-US" dirty="0"/>
          </a:p>
        </p:txBody>
      </p:sp>
      <p:grpSp>
        <p:nvGrpSpPr>
          <p:cNvPr id="8" name="Group 7"/>
          <p:cNvGrpSpPr/>
          <p:nvPr/>
        </p:nvGrpSpPr>
        <p:grpSpPr>
          <a:xfrm>
            <a:off x="326462" y="891262"/>
            <a:ext cx="2743915" cy="4068224"/>
            <a:chOff x="435167" y="1188347"/>
            <a:chExt cx="3657601" cy="5424299"/>
          </a:xfrm>
        </p:grpSpPr>
        <p:sp>
          <p:nvSpPr>
            <p:cNvPr id="3" name="Rectangle 2"/>
            <p:cNvSpPr/>
            <p:nvPr/>
          </p:nvSpPr>
          <p:spPr>
            <a:xfrm>
              <a:off x="435168" y="1188347"/>
              <a:ext cx="3657600" cy="344200"/>
            </a:xfrm>
            <a:prstGeom prst="rect">
              <a:avLst/>
            </a:prstGeom>
            <a:solidFill>
              <a:schemeClr val="accent1"/>
            </a:solidFill>
            <a:ln w="12700">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Ins="45720" rtlCol="0" anchor="ctr"/>
            <a:lstStyle/>
            <a:p>
              <a:r>
                <a:rPr lang="en-US" sz="1500" dirty="0">
                  <a:solidFill>
                    <a:srgbClr val="FFFFFF"/>
                  </a:solidFill>
                  <a:latin typeface="+mj-lt"/>
                </a:rPr>
                <a:t>Collections</a:t>
              </a:r>
            </a:p>
          </p:txBody>
        </p:sp>
        <p:sp>
          <p:nvSpPr>
            <p:cNvPr id="4" name="Rectangle 3"/>
            <p:cNvSpPr/>
            <p:nvPr/>
          </p:nvSpPr>
          <p:spPr>
            <a:xfrm flipH="1">
              <a:off x="435167" y="1583446"/>
              <a:ext cx="3657600" cy="5029200"/>
            </a:xfrm>
            <a:prstGeom prst="rect">
              <a:avLst/>
            </a:prstGeom>
            <a:noFill/>
            <a:ln w="12700" cap="flat" cmpd="sng" algn="ctr">
              <a:solidFill>
                <a:srgbClr val="FFFFFF"/>
              </a:solidFill>
              <a:prstDash val="sysDot"/>
            </a:ln>
            <a:effectLst/>
          </p:spPr>
          <p:txBody>
            <a:bodyPr lIns="137160" tIns="91440" rtlCol="0" anchor="t" anchorCtr="0"/>
            <a:lstStyle/>
            <a:p>
              <a:pPr marL="175039" indent="-175039" defTabSz="685862">
                <a:buFont typeface="Arial" pitchFamily="34" charset="0"/>
                <a:buChar char="•"/>
                <a:defRPr/>
              </a:pPr>
              <a:endParaRPr lang="en-US" sz="1200" kern="0" dirty="0">
                <a:solidFill>
                  <a:srgbClr val="FFFFFF"/>
                </a:solidFill>
                <a:latin typeface="Segoe UI" pitchFamily="34" charset="0"/>
                <a:ea typeface="Segoe UI" pitchFamily="34" charset="0"/>
                <a:cs typeface="Segoe UI" pitchFamily="34" charset="0"/>
              </a:endParaRPr>
            </a:p>
          </p:txBody>
        </p:sp>
        <p:pic>
          <p:nvPicPr>
            <p:cNvPr id="19" name="Picture 18" descr="Screen Clippi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05165" y="1641257"/>
              <a:ext cx="2036876" cy="1920240"/>
            </a:xfrm>
            <a:prstGeom prst="rect">
              <a:avLst/>
            </a:prstGeom>
            <a:solidFill>
              <a:srgbClr val="FFFFFF">
                <a:shade val="85000"/>
              </a:srgbClr>
            </a:solidFill>
            <a:ln w="190500" cap="rnd">
              <a:noFill/>
            </a:ln>
            <a:effectLst>
              <a:outerShdw blurRad="36195" dist="12700" dir="11400000" algn="tl" rotWithShape="0">
                <a:srgbClr val="000000">
                  <a:alpha val="33000"/>
                </a:srgbClr>
              </a:outerShdw>
            </a:effectLst>
          </p:spPr>
        </p:pic>
        <p:sp>
          <p:nvSpPr>
            <p:cNvPr id="24" name="Rectangle 23"/>
            <p:cNvSpPr/>
            <p:nvPr/>
          </p:nvSpPr>
          <p:spPr>
            <a:xfrm flipH="1">
              <a:off x="1031358" y="3793072"/>
              <a:ext cx="2413590" cy="697627"/>
            </a:xfrm>
            <a:prstGeom prst="rect">
              <a:avLst/>
            </a:prstGeom>
            <a:noFill/>
            <a:ln w="12700" cap="flat" cmpd="sng" algn="ctr">
              <a:solidFill>
                <a:srgbClr val="FFFFFF"/>
              </a:solidFill>
              <a:prstDash val="sysDot"/>
            </a:ln>
            <a:effectLst/>
          </p:spPr>
          <p:txBody>
            <a:bodyPr lIns="91440" tIns="91440" rIns="91440" bIns="91440" rtlCol="0" anchor="ctr" anchorCtr="0">
              <a:spAutoFit/>
            </a:bodyPr>
            <a:lstStyle/>
            <a:p>
              <a:pPr algn="ctr" defTabSz="685862">
                <a:defRPr/>
              </a:pPr>
              <a:r>
                <a:rPr lang="en-US" sz="1100" kern="0" dirty="0">
                  <a:solidFill>
                    <a:srgbClr val="FFFFFF"/>
                  </a:solidFill>
                  <a:ea typeface="Segoe UI" pitchFamily="34" charset="0"/>
                </a:rPr>
                <a:t>Build collections through dynamic queries</a:t>
              </a:r>
            </a:p>
          </p:txBody>
        </p:sp>
        <p:cxnSp>
          <p:nvCxnSpPr>
            <p:cNvPr id="28" name="Straight Connector 27"/>
            <p:cNvCxnSpPr>
              <a:stCxn id="24" idx="2"/>
            </p:cNvCxnSpPr>
            <p:nvPr/>
          </p:nvCxnSpPr>
          <p:spPr>
            <a:xfrm>
              <a:off x="2238154" y="4490699"/>
              <a:ext cx="1" cy="416163"/>
            </a:xfrm>
            <a:prstGeom prst="line">
              <a:avLst/>
            </a:prstGeom>
            <a:noFill/>
            <a:ln w="25400" cap="rnd" cmpd="sng" algn="ctr">
              <a:solidFill>
                <a:srgbClr val="FFFFFF"/>
              </a:solidFill>
              <a:prstDash val="sysDot"/>
              <a:headEnd type="none"/>
              <a:tailEnd type="triangle" w="lg" len="lg"/>
            </a:ln>
            <a:effectLst/>
          </p:spPr>
        </p:cxnSp>
        <p:sp>
          <p:nvSpPr>
            <p:cNvPr id="29" name="Rectangle 28"/>
            <p:cNvSpPr/>
            <p:nvPr/>
          </p:nvSpPr>
          <p:spPr>
            <a:xfrm flipH="1">
              <a:off x="1031358" y="4974710"/>
              <a:ext cx="2413590" cy="697627"/>
            </a:xfrm>
            <a:prstGeom prst="rect">
              <a:avLst/>
            </a:prstGeom>
            <a:noFill/>
            <a:ln w="12700" cap="flat" cmpd="sng" algn="ctr">
              <a:solidFill>
                <a:srgbClr val="FFFFFF"/>
              </a:solidFill>
              <a:prstDash val="sysDot"/>
            </a:ln>
            <a:effectLst/>
          </p:spPr>
          <p:txBody>
            <a:bodyPr lIns="91440" tIns="91440" rIns="91440" bIns="91440" rtlCol="0" anchor="ctr" anchorCtr="0">
              <a:spAutoFit/>
            </a:bodyPr>
            <a:lstStyle/>
            <a:p>
              <a:pPr algn="ctr" defTabSz="685862">
                <a:defRPr/>
              </a:pPr>
              <a:r>
                <a:rPr lang="en-US" sz="1100" kern="0" dirty="0">
                  <a:solidFill>
                    <a:srgbClr val="FFFFFF"/>
                  </a:solidFill>
                  <a:ea typeface="Segoe UI" pitchFamily="34" charset="0"/>
                </a:rPr>
                <a:t>All Windows 7 Desktops in North America</a:t>
              </a:r>
            </a:p>
          </p:txBody>
        </p:sp>
        <p:cxnSp>
          <p:nvCxnSpPr>
            <p:cNvPr id="43" name="Straight Connector 42"/>
            <p:cNvCxnSpPr/>
            <p:nvPr/>
          </p:nvCxnSpPr>
          <p:spPr>
            <a:xfrm>
              <a:off x="2238153" y="3608772"/>
              <a:ext cx="0" cy="182880"/>
            </a:xfrm>
            <a:prstGeom prst="line">
              <a:avLst/>
            </a:prstGeom>
            <a:noFill/>
            <a:ln w="25400" cap="rnd" cmpd="sng" algn="ctr">
              <a:solidFill>
                <a:srgbClr val="FFFFFF"/>
              </a:solidFill>
              <a:prstDash val="sysDot"/>
              <a:headEnd type="none"/>
              <a:tailEnd type="none" w="lg" len="lg"/>
            </a:ln>
            <a:effectLst/>
          </p:spPr>
        </p:cxnSp>
        <p:pic>
          <p:nvPicPr>
            <p:cNvPr id="48" name="Picture 47"/>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746972" y="2084690"/>
              <a:ext cx="548640" cy="678639"/>
            </a:xfrm>
            <a:prstGeom prst="rect">
              <a:avLst/>
            </a:prstGeom>
          </p:spPr>
        </p:pic>
      </p:grpSp>
      <p:grpSp>
        <p:nvGrpSpPr>
          <p:cNvPr id="6" name="Group 5"/>
          <p:cNvGrpSpPr/>
          <p:nvPr/>
        </p:nvGrpSpPr>
        <p:grpSpPr>
          <a:xfrm>
            <a:off x="3194720" y="891260"/>
            <a:ext cx="2743915" cy="4091340"/>
            <a:chOff x="4258516" y="1188347"/>
            <a:chExt cx="3657600" cy="5455118"/>
          </a:xfrm>
        </p:grpSpPr>
        <p:sp>
          <p:nvSpPr>
            <p:cNvPr id="10" name="Rectangle 9"/>
            <p:cNvSpPr/>
            <p:nvPr/>
          </p:nvSpPr>
          <p:spPr>
            <a:xfrm>
              <a:off x="4258516" y="1188347"/>
              <a:ext cx="3657600" cy="344200"/>
            </a:xfrm>
            <a:prstGeom prst="rect">
              <a:avLst/>
            </a:prstGeom>
            <a:solidFill>
              <a:schemeClr val="accent3"/>
            </a:solidFill>
            <a:ln w="12700">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Ins="45720" rtlCol="0" anchor="ctr"/>
            <a:lstStyle/>
            <a:p>
              <a:r>
                <a:rPr lang="en-US" sz="1500" dirty="0">
                  <a:solidFill>
                    <a:srgbClr val="FFFFFF"/>
                  </a:solidFill>
                  <a:latin typeface="+mj-lt"/>
                </a:rPr>
                <a:t>Role-based Access</a:t>
              </a:r>
            </a:p>
          </p:txBody>
        </p:sp>
        <p:sp>
          <p:nvSpPr>
            <p:cNvPr id="11" name="Rectangle 10"/>
            <p:cNvSpPr/>
            <p:nvPr/>
          </p:nvSpPr>
          <p:spPr>
            <a:xfrm flipH="1">
              <a:off x="4258516" y="1583446"/>
              <a:ext cx="3657600" cy="5029200"/>
            </a:xfrm>
            <a:prstGeom prst="rect">
              <a:avLst/>
            </a:prstGeom>
            <a:noFill/>
            <a:ln w="12700" cap="flat" cmpd="sng" algn="ctr">
              <a:solidFill>
                <a:srgbClr val="FFFFFF"/>
              </a:solidFill>
              <a:prstDash val="sysDot"/>
            </a:ln>
            <a:effectLst/>
          </p:spPr>
          <p:txBody>
            <a:bodyPr lIns="137160" tIns="91440" rtlCol="0" anchor="t" anchorCtr="0"/>
            <a:lstStyle/>
            <a:p>
              <a:pPr marL="175039" indent="-175039" defTabSz="685862">
                <a:buFont typeface="Arial" pitchFamily="34" charset="0"/>
                <a:buChar char="•"/>
                <a:defRPr/>
              </a:pPr>
              <a:endParaRPr lang="en-US" sz="1200" kern="0" dirty="0">
                <a:solidFill>
                  <a:srgbClr val="FFFFFF"/>
                </a:solidFill>
                <a:latin typeface="Segoe UI" pitchFamily="34" charset="0"/>
                <a:ea typeface="Segoe UI" pitchFamily="34" charset="0"/>
                <a:cs typeface="Segoe UI" pitchFamily="34" charset="0"/>
              </a:endParaRPr>
            </a:p>
          </p:txBody>
        </p:sp>
        <p:pic>
          <p:nvPicPr>
            <p:cNvPr id="20" name="Picture 19" descr="Screen Clippi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117589" y="1641257"/>
              <a:ext cx="2343111" cy="1920240"/>
            </a:xfrm>
            <a:prstGeom prst="rect">
              <a:avLst/>
            </a:prstGeom>
            <a:solidFill>
              <a:srgbClr val="FFFFFF">
                <a:shade val="85000"/>
              </a:srgbClr>
            </a:solidFill>
            <a:ln w="190500" cap="rnd">
              <a:noFill/>
            </a:ln>
            <a:effectLst>
              <a:outerShdw blurRad="36195" dist="12700" dir="11400000" algn="tl" rotWithShape="0">
                <a:srgbClr val="000000">
                  <a:alpha val="33000"/>
                </a:srgbClr>
              </a:outerShdw>
            </a:effectLst>
          </p:spPr>
        </p:pic>
        <p:sp>
          <p:nvSpPr>
            <p:cNvPr id="31" name="Rectangle 30"/>
            <p:cNvSpPr/>
            <p:nvPr/>
          </p:nvSpPr>
          <p:spPr>
            <a:xfrm flipH="1">
              <a:off x="4375478" y="3787945"/>
              <a:ext cx="3450083" cy="923329"/>
            </a:xfrm>
            <a:prstGeom prst="rect">
              <a:avLst/>
            </a:prstGeom>
            <a:noFill/>
            <a:ln w="12700" cap="flat" cmpd="sng" algn="ctr">
              <a:solidFill>
                <a:srgbClr val="FFFFFF"/>
              </a:solidFill>
              <a:prstDash val="sysDot"/>
            </a:ln>
            <a:effectLst/>
          </p:spPr>
          <p:txBody>
            <a:bodyPr wrap="square" lIns="91440" tIns="91440" rIns="91440" bIns="91440" rtlCol="0" anchor="ctr" anchorCtr="0">
              <a:spAutoFit/>
            </a:bodyPr>
            <a:lstStyle/>
            <a:p>
              <a:pPr algn="ctr" defTabSz="685862">
                <a:defRPr/>
              </a:pPr>
              <a:r>
                <a:rPr lang="en-US" sz="1100" kern="0" dirty="0">
                  <a:solidFill>
                    <a:srgbClr val="FFFFFF"/>
                  </a:solidFill>
                  <a:ea typeface="Segoe UI" pitchFamily="34" charset="0"/>
                </a:rPr>
                <a:t>Create SUM administrators and assign to collections for which they need to manage updates</a:t>
              </a:r>
            </a:p>
          </p:txBody>
        </p:sp>
        <p:cxnSp>
          <p:nvCxnSpPr>
            <p:cNvPr id="32" name="Straight Connector 31"/>
            <p:cNvCxnSpPr/>
            <p:nvPr/>
          </p:nvCxnSpPr>
          <p:spPr>
            <a:xfrm>
              <a:off x="6089650" y="4692332"/>
              <a:ext cx="0" cy="274320"/>
            </a:xfrm>
            <a:prstGeom prst="line">
              <a:avLst/>
            </a:prstGeom>
            <a:noFill/>
            <a:ln w="25400" cap="rnd" cmpd="sng" algn="ctr">
              <a:solidFill>
                <a:srgbClr val="FFFFFF"/>
              </a:solidFill>
              <a:prstDash val="sysDot"/>
              <a:headEnd type="none"/>
              <a:tailEnd type="triangle" w="lg" len="lg"/>
            </a:ln>
            <a:effectLst/>
          </p:spPr>
        </p:cxnSp>
        <p:sp>
          <p:nvSpPr>
            <p:cNvPr id="35" name="Rectangle 34"/>
            <p:cNvSpPr/>
            <p:nvPr/>
          </p:nvSpPr>
          <p:spPr>
            <a:xfrm flipH="1">
              <a:off x="4375479" y="6027912"/>
              <a:ext cx="3450081" cy="615553"/>
            </a:xfrm>
            <a:prstGeom prst="rect">
              <a:avLst/>
            </a:prstGeom>
            <a:noFill/>
            <a:ln w="12700" cap="flat" cmpd="sng" algn="ctr">
              <a:noFill/>
              <a:prstDash val="sysDot"/>
            </a:ln>
            <a:effectLst/>
          </p:spPr>
          <p:txBody>
            <a:bodyPr wrap="square" lIns="91440" tIns="91440" rIns="91440" bIns="91440" rtlCol="0" anchor="ctr" anchorCtr="0">
              <a:spAutoFit/>
            </a:bodyPr>
            <a:lstStyle/>
            <a:p>
              <a:pPr defTabSz="685862">
                <a:defRPr/>
              </a:pPr>
              <a:r>
                <a:rPr lang="en-US" sz="900" kern="0" dirty="0">
                  <a:solidFill>
                    <a:srgbClr val="FFFFFF"/>
                  </a:solidFill>
                  <a:ea typeface="Segoe UI" pitchFamily="34" charset="0"/>
                </a:rPr>
                <a:t>Note: for multiple SUM admins you can also use scopes to further secure console objects</a:t>
              </a:r>
            </a:p>
          </p:txBody>
        </p:sp>
        <p:cxnSp>
          <p:nvCxnSpPr>
            <p:cNvPr id="44" name="Straight Connector 43"/>
            <p:cNvCxnSpPr/>
            <p:nvPr/>
          </p:nvCxnSpPr>
          <p:spPr>
            <a:xfrm>
              <a:off x="6094412" y="3608772"/>
              <a:ext cx="0" cy="182880"/>
            </a:xfrm>
            <a:prstGeom prst="line">
              <a:avLst/>
            </a:prstGeom>
            <a:noFill/>
            <a:ln w="25400" cap="rnd" cmpd="sng" algn="ctr">
              <a:solidFill>
                <a:srgbClr val="FFFFFF"/>
              </a:solidFill>
              <a:prstDash val="sysDot"/>
              <a:headEnd type="none"/>
              <a:tailEnd type="none" w="lg" len="lg"/>
            </a:ln>
            <a:effectLst/>
          </p:spPr>
        </p:cxnSp>
        <p:pic>
          <p:nvPicPr>
            <p:cNvPr id="47" name="Picture 46"/>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5809366" y="5108510"/>
              <a:ext cx="548640" cy="678639"/>
            </a:xfrm>
            <a:prstGeom prst="rect">
              <a:avLst/>
            </a:prstGeom>
          </p:spPr>
        </p:pic>
        <p:pic>
          <p:nvPicPr>
            <p:cNvPr id="49" name="Picture 48"/>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4475960" y="2084690"/>
              <a:ext cx="548640" cy="678639"/>
            </a:xfrm>
            <a:prstGeom prst="rect">
              <a:avLst/>
            </a:prstGeom>
          </p:spPr>
        </p:pic>
      </p:grpSp>
      <p:grpSp>
        <p:nvGrpSpPr>
          <p:cNvPr id="7" name="Group 6"/>
          <p:cNvGrpSpPr/>
          <p:nvPr/>
        </p:nvGrpSpPr>
        <p:grpSpPr>
          <a:xfrm>
            <a:off x="6060941" y="891262"/>
            <a:ext cx="2743915" cy="4068224"/>
            <a:chOff x="8079149" y="1188347"/>
            <a:chExt cx="3657600" cy="5424299"/>
          </a:xfrm>
        </p:grpSpPr>
        <p:sp>
          <p:nvSpPr>
            <p:cNvPr id="16" name="Rectangle 15"/>
            <p:cNvSpPr/>
            <p:nvPr/>
          </p:nvSpPr>
          <p:spPr>
            <a:xfrm>
              <a:off x="8079149" y="1188347"/>
              <a:ext cx="3657600" cy="3442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500" dirty="0">
                  <a:latin typeface="+mj-lt"/>
                </a:rPr>
                <a:t>Create Templates</a:t>
              </a:r>
            </a:p>
          </p:txBody>
        </p:sp>
        <p:sp>
          <p:nvSpPr>
            <p:cNvPr id="17" name="Rectangle 16"/>
            <p:cNvSpPr/>
            <p:nvPr/>
          </p:nvSpPr>
          <p:spPr>
            <a:xfrm flipH="1">
              <a:off x="8079149" y="1583446"/>
              <a:ext cx="3657600" cy="5029200"/>
            </a:xfrm>
            <a:prstGeom prst="rect">
              <a:avLst/>
            </a:prstGeom>
            <a:noFill/>
            <a:ln w="12700" cap="flat" cmpd="sng" algn="ctr">
              <a:solidFill>
                <a:srgbClr val="FFFFFF"/>
              </a:solidFill>
              <a:prstDash val="sysDot"/>
            </a:ln>
            <a:effectLst/>
          </p:spPr>
          <p:txBody>
            <a:bodyPr lIns="137160" tIns="91440" rtlCol="0" anchor="t" anchorCtr="0"/>
            <a:lstStyle/>
            <a:p>
              <a:pPr marL="175039" indent="-175039" defTabSz="685862">
                <a:buFont typeface="Arial" pitchFamily="34" charset="0"/>
                <a:buChar char="•"/>
                <a:defRPr/>
              </a:pPr>
              <a:endParaRPr lang="en-US" sz="1200" kern="0" dirty="0">
                <a:solidFill>
                  <a:srgbClr val="FFFFFF"/>
                </a:solidFill>
                <a:latin typeface="Segoe UI" pitchFamily="34" charset="0"/>
                <a:ea typeface="Segoe UI" pitchFamily="34" charset="0"/>
                <a:cs typeface="Segoe UI" pitchFamily="34" charset="0"/>
              </a:endParaRPr>
            </a:p>
          </p:txBody>
        </p:sp>
        <p:pic>
          <p:nvPicPr>
            <p:cNvPr id="22" name="Picture 21" descr="Screen Clippi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972457" y="1641257"/>
              <a:ext cx="2182816" cy="1920240"/>
            </a:xfrm>
            <a:prstGeom prst="rect">
              <a:avLst/>
            </a:prstGeom>
            <a:solidFill>
              <a:srgbClr val="FFFFFF">
                <a:shade val="85000"/>
              </a:srgbClr>
            </a:solidFill>
            <a:ln w="190500" cap="rnd">
              <a:noFill/>
            </a:ln>
            <a:effectLst>
              <a:outerShdw blurRad="36195" dist="12700" dir="11400000" algn="tl" rotWithShape="0">
                <a:srgbClr val="000000">
                  <a:alpha val="33000"/>
                </a:srgbClr>
              </a:outerShdw>
            </a:effectLst>
          </p:spPr>
        </p:pic>
        <p:sp>
          <p:nvSpPr>
            <p:cNvPr id="37" name="Rectangle 36"/>
            <p:cNvSpPr/>
            <p:nvPr/>
          </p:nvSpPr>
          <p:spPr>
            <a:xfrm flipH="1">
              <a:off x="8155172" y="3675091"/>
              <a:ext cx="3498112" cy="1149032"/>
            </a:xfrm>
            <a:prstGeom prst="rect">
              <a:avLst/>
            </a:prstGeom>
            <a:noFill/>
            <a:ln w="12700" cap="flat" cmpd="sng" algn="ctr">
              <a:solidFill>
                <a:srgbClr val="FFFFFF"/>
              </a:solidFill>
              <a:prstDash val="sysDot"/>
            </a:ln>
            <a:effectLst/>
          </p:spPr>
          <p:txBody>
            <a:bodyPr wrap="square" lIns="91440" tIns="91440" rIns="91440" bIns="91440" rtlCol="0" anchor="ctr" anchorCtr="0">
              <a:spAutoFit/>
            </a:bodyPr>
            <a:lstStyle/>
            <a:p>
              <a:pPr algn="ctr" defTabSz="685862">
                <a:defRPr/>
              </a:pPr>
              <a:r>
                <a:rPr lang="en-US" sz="1100" kern="0" dirty="0">
                  <a:solidFill>
                    <a:srgbClr val="FFFFFF"/>
                  </a:solidFill>
                  <a:ea typeface="Segoe UI" pitchFamily="34" charset="0"/>
                </a:rPr>
                <a:t>SUM Admin goes through the distribute software updates wizard and saves his default settings for deployments</a:t>
              </a:r>
            </a:p>
          </p:txBody>
        </p:sp>
        <p:sp>
          <p:nvSpPr>
            <p:cNvPr id="39" name="Rectangle 38"/>
            <p:cNvSpPr/>
            <p:nvPr/>
          </p:nvSpPr>
          <p:spPr>
            <a:xfrm flipH="1">
              <a:off x="8270277" y="5164503"/>
              <a:ext cx="3275345" cy="1210588"/>
            </a:xfrm>
            <a:prstGeom prst="rect">
              <a:avLst/>
            </a:prstGeom>
            <a:noFill/>
            <a:ln w="12700" cap="flat" cmpd="sng" algn="ctr">
              <a:solidFill>
                <a:srgbClr val="FFFFFF"/>
              </a:solidFill>
              <a:prstDash val="sysDot"/>
            </a:ln>
            <a:effectLst/>
          </p:spPr>
          <p:txBody>
            <a:bodyPr wrap="square" lIns="91440" tIns="91440" rIns="91440" bIns="91440" numCol="2" rtlCol="0" anchor="ctr" anchorCtr="0">
              <a:spAutoFit/>
            </a:bodyPr>
            <a:lstStyle/>
            <a:p>
              <a:pPr defTabSz="685862">
                <a:defRPr/>
              </a:pPr>
              <a:r>
                <a:rPr lang="en-US" sz="1100" kern="0" dirty="0">
                  <a:solidFill>
                    <a:srgbClr val="FFFFFF"/>
                  </a:solidFill>
                  <a:ea typeface="Segoe UI" pitchFamily="34" charset="0"/>
                </a:rPr>
                <a:t>Template</a:t>
              </a:r>
            </a:p>
            <a:p>
              <a:pPr marL="128599" indent="-128599" defTabSz="685862">
                <a:buClr>
                  <a:schemeClr val="tx2"/>
                </a:buClr>
                <a:buFont typeface="Wingdings" pitchFamily="2" charset="2"/>
                <a:buChar char="§"/>
                <a:defRPr/>
              </a:pPr>
              <a:r>
                <a:rPr lang="en-US" sz="900" kern="0" dirty="0">
                  <a:solidFill>
                    <a:srgbClr val="FFFFFF"/>
                  </a:solidFill>
                  <a:ea typeface="Segoe UI" pitchFamily="34" charset="0"/>
                </a:rPr>
                <a:t>Collection</a:t>
              </a:r>
            </a:p>
            <a:p>
              <a:pPr marL="128599" indent="-128599" defTabSz="685862">
                <a:buClr>
                  <a:schemeClr val="tx2"/>
                </a:buClr>
                <a:buFont typeface="Wingdings" pitchFamily="2" charset="2"/>
                <a:buChar char="§"/>
                <a:defRPr/>
              </a:pPr>
              <a:r>
                <a:rPr lang="en-US" sz="900" kern="0" dirty="0">
                  <a:solidFill>
                    <a:srgbClr val="FFFFFF"/>
                  </a:solidFill>
                  <a:ea typeface="Segoe UI" pitchFamily="34" charset="0"/>
                </a:rPr>
                <a:t>Deployment</a:t>
              </a:r>
            </a:p>
            <a:p>
              <a:pPr marL="128599" indent="-128599" defTabSz="685862">
                <a:buClr>
                  <a:schemeClr val="tx2"/>
                </a:buClr>
                <a:buFont typeface="Wingdings" pitchFamily="2" charset="2"/>
                <a:buChar char="§"/>
                <a:defRPr/>
              </a:pPr>
              <a:r>
                <a:rPr lang="en-US" sz="900" kern="0" dirty="0">
                  <a:solidFill>
                    <a:srgbClr val="FFFFFF"/>
                  </a:solidFill>
                  <a:ea typeface="Segoe UI" pitchFamily="34" charset="0"/>
                </a:rPr>
                <a:t>Schedule</a:t>
              </a:r>
            </a:p>
            <a:p>
              <a:pPr marL="128599" indent="-128599" defTabSz="685862">
                <a:buClr>
                  <a:schemeClr val="tx2"/>
                </a:buClr>
                <a:buFont typeface="Wingdings" pitchFamily="2" charset="2"/>
                <a:buChar char="§"/>
                <a:defRPr/>
              </a:pPr>
              <a:r>
                <a:rPr lang="en-US" sz="900" kern="0" dirty="0">
                  <a:solidFill>
                    <a:srgbClr val="FFFFFF"/>
                  </a:solidFill>
                  <a:ea typeface="Segoe UI" pitchFamily="34" charset="0"/>
                </a:rPr>
                <a:t>User Experience</a:t>
              </a:r>
            </a:p>
            <a:p>
              <a:pPr marL="128599" indent="-128599" defTabSz="685862">
                <a:buClr>
                  <a:schemeClr val="tx2"/>
                </a:buClr>
                <a:buFont typeface="Wingdings" pitchFamily="2" charset="2"/>
                <a:buChar char="§"/>
                <a:defRPr/>
              </a:pPr>
              <a:r>
                <a:rPr lang="en-US" sz="900" kern="0" dirty="0">
                  <a:solidFill>
                    <a:srgbClr val="FFFFFF"/>
                  </a:solidFill>
                  <a:ea typeface="Segoe UI" pitchFamily="34" charset="0"/>
                </a:rPr>
                <a:t>Alerts</a:t>
              </a:r>
            </a:p>
            <a:p>
              <a:pPr marL="128599" indent="-128599" defTabSz="685862">
                <a:buClr>
                  <a:schemeClr val="tx2"/>
                </a:buClr>
                <a:buFont typeface="Wingdings" pitchFamily="2" charset="2"/>
                <a:buChar char="§"/>
                <a:defRPr/>
              </a:pPr>
              <a:r>
                <a:rPr lang="en-US" sz="900" kern="0" dirty="0">
                  <a:solidFill>
                    <a:srgbClr val="FFFFFF"/>
                  </a:solidFill>
                  <a:ea typeface="Segoe UI" pitchFamily="34" charset="0"/>
                </a:rPr>
                <a:t>Download settings</a:t>
              </a:r>
            </a:p>
          </p:txBody>
        </p:sp>
        <p:cxnSp>
          <p:nvCxnSpPr>
            <p:cNvPr id="45" name="Straight Connector 44"/>
            <p:cNvCxnSpPr/>
            <p:nvPr/>
          </p:nvCxnSpPr>
          <p:spPr>
            <a:xfrm>
              <a:off x="9907949" y="3608772"/>
              <a:ext cx="0" cy="182880"/>
            </a:xfrm>
            <a:prstGeom prst="line">
              <a:avLst/>
            </a:prstGeom>
            <a:noFill/>
            <a:ln w="25400" cap="rnd" cmpd="sng" algn="ctr">
              <a:solidFill>
                <a:srgbClr val="FFFFFF"/>
              </a:solidFill>
              <a:prstDash val="sysDot"/>
              <a:headEnd type="none"/>
              <a:tailEnd type="none" w="lg" len="lg"/>
            </a:ln>
            <a:effectLst/>
          </p:spPr>
        </p:cxnSp>
        <p:cxnSp>
          <p:nvCxnSpPr>
            <p:cNvPr id="46" name="Straight Connector 45"/>
            <p:cNvCxnSpPr/>
            <p:nvPr/>
          </p:nvCxnSpPr>
          <p:spPr>
            <a:xfrm>
              <a:off x="9904412" y="4709424"/>
              <a:ext cx="0" cy="274320"/>
            </a:xfrm>
            <a:prstGeom prst="line">
              <a:avLst/>
            </a:prstGeom>
            <a:noFill/>
            <a:ln w="25400" cap="rnd" cmpd="sng" algn="ctr">
              <a:solidFill>
                <a:srgbClr val="FFFFFF"/>
              </a:solidFill>
              <a:prstDash val="sysDot"/>
              <a:headEnd type="none"/>
              <a:tailEnd type="triangle" w="lg" len="lg"/>
            </a:ln>
            <a:effectLst/>
          </p:spPr>
        </p:cxnSp>
        <p:pic>
          <p:nvPicPr>
            <p:cNvPr id="50" name="Picture 49"/>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8334356" y="2084690"/>
              <a:ext cx="548640" cy="678639"/>
            </a:xfrm>
            <a:prstGeom prst="rect">
              <a:avLst/>
            </a:prstGeom>
          </p:spPr>
        </p:pic>
      </p:grpSp>
      <p:sp>
        <p:nvSpPr>
          <p:cNvPr id="33"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4"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6"/>
              </a:rPr>
              <a:t>www.rapidbbs.cn</a:t>
            </a:r>
            <a:endParaRPr lang="zh-CN" altLang="en-US" sz="1200" b="0">
              <a:latin typeface="Arial" charset="0"/>
              <a:ea typeface="ＭＳ Ｐゴシック" pitchFamily="34" charset="-128"/>
            </a:endParaRPr>
          </a:p>
        </p:txBody>
      </p:sp>
      <p:pic>
        <p:nvPicPr>
          <p:cNvPr id="36" name="Picture 2">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408465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326462" y="1735889"/>
            <a:ext cx="2612529" cy="2223315"/>
            <a:chOff x="435168" y="2314518"/>
            <a:chExt cx="3482465" cy="2964420"/>
          </a:xfrm>
        </p:grpSpPr>
        <p:sp>
          <p:nvSpPr>
            <p:cNvPr id="4" name="Rectangle 3"/>
            <p:cNvSpPr/>
            <p:nvPr/>
          </p:nvSpPr>
          <p:spPr>
            <a:xfrm flipH="1">
              <a:off x="442913" y="2755529"/>
              <a:ext cx="3474720" cy="1333699"/>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137160" tIns="91440" bIns="137160" rtlCol="0" anchor="t" anchorCtr="0">
              <a:spAutoFit/>
            </a:bodyPr>
            <a:lstStyle/>
            <a:p>
              <a:r>
                <a:rPr lang="en-US" b="1" dirty="0">
                  <a:solidFill>
                    <a:srgbClr val="FFFFFF"/>
                  </a:solidFill>
                  <a:latin typeface="Segoe Semibold" pitchFamily="34" charset="0"/>
                  <a:ea typeface="Segoe UI" pitchFamily="34" charset="0"/>
                  <a:cs typeface="Segoe UI" pitchFamily="34" charset="0"/>
                </a:rPr>
                <a:t>Software updates</a:t>
              </a:r>
            </a:p>
            <a:p>
              <a:pPr marL="214332" indent="-214332">
                <a:buClr>
                  <a:schemeClr val="tx2"/>
                </a:buClr>
                <a:buFont typeface="Wingdings" pitchFamily="2" charset="2"/>
                <a:buChar char="§"/>
              </a:pPr>
              <a:r>
                <a:rPr lang="en-US" sz="1200" dirty="0">
                  <a:solidFill>
                    <a:prstClr val="white"/>
                  </a:solidFill>
                  <a:latin typeface="Segoe UI" pitchFamily="34" charset="0"/>
                  <a:ea typeface="Segoe UI" pitchFamily="34" charset="0"/>
                  <a:cs typeface="Segoe UI" pitchFamily="34" charset="0"/>
                </a:rPr>
                <a:t>Planning and setup</a:t>
              </a:r>
            </a:p>
            <a:p>
              <a:pPr marL="214332" indent="-214332">
                <a:buClr>
                  <a:schemeClr val="tx2"/>
                </a:buClr>
                <a:buFont typeface="Wingdings" pitchFamily="2" charset="2"/>
                <a:buChar char="§"/>
              </a:pPr>
              <a:r>
                <a:rPr lang="en-US" sz="1200" dirty="0">
                  <a:solidFill>
                    <a:prstClr val="white"/>
                  </a:solidFill>
                  <a:latin typeface="Segoe UI" pitchFamily="34" charset="0"/>
                  <a:ea typeface="Segoe UI" pitchFamily="34" charset="0"/>
                  <a:cs typeface="Segoe UI" pitchFamily="34" charset="0"/>
                </a:rPr>
                <a:t>Targeting and Delegation</a:t>
              </a:r>
            </a:p>
            <a:p>
              <a:pPr marL="214332" indent="-214332">
                <a:buClr>
                  <a:schemeClr val="tx2"/>
                </a:buClr>
                <a:buFont typeface="Wingdings" pitchFamily="2" charset="2"/>
                <a:buChar char="§"/>
              </a:pPr>
              <a:r>
                <a:rPr lang="en-US" sz="1200" dirty="0">
                  <a:solidFill>
                    <a:prstClr val="white"/>
                  </a:solidFill>
                  <a:latin typeface="Segoe UI" pitchFamily="34" charset="0"/>
                  <a:ea typeface="Segoe UI" pitchFamily="34" charset="0"/>
                  <a:cs typeface="Segoe UI" pitchFamily="34" charset="0"/>
                </a:rPr>
                <a:t>Maximizing productivity</a:t>
              </a:r>
            </a:p>
          </p:txBody>
        </p:sp>
        <p:sp>
          <p:nvSpPr>
            <p:cNvPr id="5" name="Rectangle 4"/>
            <p:cNvSpPr/>
            <p:nvPr/>
          </p:nvSpPr>
          <p:spPr>
            <a:xfrm>
              <a:off x="435168" y="2314518"/>
              <a:ext cx="3474720" cy="411480"/>
            </a:xfrm>
            <a:prstGeom prst="rect">
              <a:avLst/>
            </a:prstGeom>
            <a:solidFill>
              <a:schemeClr val="accent1"/>
            </a:solidFill>
            <a:ln w="12700">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Ins="45720" rtlCol="0" anchor="ctr"/>
            <a:lstStyle/>
            <a:p>
              <a:r>
                <a:rPr lang="en-US" sz="1500" dirty="0">
                  <a:solidFill>
                    <a:srgbClr val="FFFFFF"/>
                  </a:solidFill>
                  <a:latin typeface="+mj-lt"/>
                </a:rPr>
                <a:t>Plan and Configure</a:t>
              </a:r>
            </a:p>
          </p:txBody>
        </p:sp>
        <p:sp>
          <p:nvSpPr>
            <p:cNvPr id="6" name="Rectangle 5"/>
            <p:cNvSpPr/>
            <p:nvPr/>
          </p:nvSpPr>
          <p:spPr>
            <a:xfrm flipH="1">
              <a:off x="442913" y="4078609"/>
              <a:ext cx="3474720" cy="1200329"/>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137160" tIns="91440" bIns="91440" rtlCol="0" anchor="t" anchorCtr="0">
              <a:noAutofit/>
            </a:bodyPr>
            <a:lstStyle/>
            <a:p>
              <a:r>
                <a:rPr lang="en-US" b="1" dirty="0">
                  <a:solidFill>
                    <a:srgbClr val="FFFFFF"/>
                  </a:solidFill>
                  <a:latin typeface="Segoe Semibold" pitchFamily="34" charset="0"/>
                  <a:ea typeface="Segoe UI" pitchFamily="34" charset="0"/>
                  <a:cs typeface="Segoe UI" pitchFamily="34" charset="0"/>
                </a:rPr>
                <a:t>Settings Management</a:t>
              </a:r>
            </a:p>
            <a:p>
              <a:pPr marL="214332" indent="-214332">
                <a:buClr>
                  <a:schemeClr val="tx2"/>
                </a:buClr>
                <a:buFont typeface="Wingdings" pitchFamily="2" charset="2"/>
                <a:buChar char="§"/>
              </a:pPr>
              <a:r>
                <a:rPr lang="en-US" sz="1200" dirty="0">
                  <a:solidFill>
                    <a:prstClr val="white"/>
                  </a:solidFill>
                  <a:latin typeface="Segoe UI" pitchFamily="34" charset="0"/>
                  <a:ea typeface="Segoe UI" pitchFamily="34" charset="0"/>
                  <a:cs typeface="Segoe UI" pitchFamily="34" charset="0"/>
                </a:rPr>
                <a:t>Define standards</a:t>
              </a:r>
            </a:p>
            <a:p>
              <a:pPr marL="214332" indent="-214332">
                <a:buClr>
                  <a:schemeClr val="tx2"/>
                </a:buClr>
                <a:buFont typeface="Wingdings" pitchFamily="2" charset="2"/>
                <a:buChar char="§"/>
              </a:pPr>
              <a:r>
                <a:rPr lang="en-US" sz="1200" dirty="0">
                  <a:solidFill>
                    <a:prstClr val="white"/>
                  </a:solidFill>
                  <a:latin typeface="Segoe UI" pitchFamily="34" charset="0"/>
                  <a:ea typeface="Segoe UI" pitchFamily="34" charset="0"/>
                  <a:cs typeface="Segoe UI" pitchFamily="34" charset="0"/>
                </a:rPr>
                <a:t>Create baselines and C</a:t>
              </a:r>
              <a:r>
                <a:rPr lang="en-US" sz="1200" dirty="0">
                  <a:solidFill>
                    <a:srgbClr val="FFFFFF"/>
                  </a:solidFill>
                  <a:latin typeface="Segoe UI" pitchFamily="34" charset="0"/>
                  <a:ea typeface="Segoe UI" pitchFamily="34" charset="0"/>
                  <a:cs typeface="Segoe UI" pitchFamily="34" charset="0"/>
                </a:rPr>
                <a:t>Is</a:t>
              </a:r>
            </a:p>
          </p:txBody>
        </p:sp>
      </p:grpSp>
      <p:sp>
        <p:nvSpPr>
          <p:cNvPr id="8" name="Rectangle 7"/>
          <p:cNvSpPr/>
          <p:nvPr/>
        </p:nvSpPr>
        <p:spPr>
          <a:xfrm>
            <a:off x="3264777" y="1735889"/>
            <a:ext cx="2606719" cy="30861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34294" bIns="34294" rtlCol="0" anchor="ctr"/>
          <a:lstStyle/>
          <a:p>
            <a:r>
              <a:rPr lang="en-US" sz="1500" dirty="0">
                <a:solidFill>
                  <a:srgbClr val="FFFFFF"/>
                </a:solidFill>
                <a:latin typeface="+mj-lt"/>
              </a:rPr>
              <a:t>Assessing Compliance</a:t>
            </a:r>
          </a:p>
        </p:txBody>
      </p:sp>
      <p:sp>
        <p:nvSpPr>
          <p:cNvPr id="9" name="Rectangle 8"/>
          <p:cNvSpPr/>
          <p:nvPr/>
        </p:nvSpPr>
        <p:spPr>
          <a:xfrm flipH="1">
            <a:off x="3264777" y="2066645"/>
            <a:ext cx="2606719" cy="934872"/>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102880" tIns="68586" rIns="68586" bIns="102880" rtlCol="0" anchor="t" anchorCtr="0">
            <a:noAutofit/>
          </a:bodyPr>
          <a:lstStyle/>
          <a:p>
            <a:r>
              <a:rPr lang="en-US" b="1" dirty="0">
                <a:solidFill>
                  <a:srgbClr val="FFFFFF"/>
                </a:solidFill>
                <a:latin typeface="Segoe Semibold" pitchFamily="34" charset="0"/>
                <a:ea typeface="Segoe UI" pitchFamily="34" charset="0"/>
                <a:cs typeface="Segoe UI" pitchFamily="34" charset="0"/>
              </a:rPr>
              <a:t>Software updates</a:t>
            </a:r>
          </a:p>
          <a:p>
            <a:pPr marL="214332" indent="-214332">
              <a:buClr>
                <a:schemeClr val="tx2"/>
              </a:buClr>
              <a:buFont typeface="Wingdings" pitchFamily="2" charset="2"/>
              <a:buChar char="§"/>
            </a:pPr>
            <a:r>
              <a:rPr lang="en-US" sz="1200" dirty="0">
                <a:solidFill>
                  <a:prstClr val="white"/>
                </a:solidFill>
                <a:latin typeface="Segoe UI" pitchFamily="34" charset="0"/>
                <a:ea typeface="Segoe UI" pitchFamily="34" charset="0"/>
                <a:cs typeface="Segoe UI" pitchFamily="34" charset="0"/>
              </a:rPr>
              <a:t>Scanning for compliance</a:t>
            </a:r>
          </a:p>
          <a:p>
            <a:pPr marL="214332" indent="-214332">
              <a:buClr>
                <a:schemeClr val="tx2"/>
              </a:buClr>
              <a:buFont typeface="Wingdings" pitchFamily="2" charset="2"/>
              <a:buChar char="§"/>
            </a:pPr>
            <a:r>
              <a:rPr lang="en-US" sz="1200" dirty="0">
                <a:solidFill>
                  <a:prstClr val="white"/>
                </a:solidFill>
                <a:latin typeface="Segoe UI" pitchFamily="34" charset="0"/>
                <a:ea typeface="Segoe UI" pitchFamily="34" charset="0"/>
                <a:cs typeface="Segoe UI" pitchFamily="34" charset="0"/>
              </a:rPr>
              <a:t>Measuring compliance</a:t>
            </a:r>
          </a:p>
          <a:p>
            <a:pPr marL="214332" indent="-214332">
              <a:buClr>
                <a:schemeClr val="tx2"/>
              </a:buClr>
              <a:buFont typeface="Wingdings" pitchFamily="2" charset="2"/>
              <a:buChar char="§"/>
            </a:pPr>
            <a:r>
              <a:rPr lang="en-US" sz="1200" dirty="0">
                <a:solidFill>
                  <a:prstClr val="white"/>
                </a:solidFill>
                <a:latin typeface="Segoe UI" pitchFamily="34" charset="0"/>
                <a:ea typeface="Segoe UI" pitchFamily="34" charset="0"/>
                <a:cs typeface="Segoe UI" pitchFamily="34" charset="0"/>
              </a:rPr>
              <a:t>Remediation strategy</a:t>
            </a:r>
          </a:p>
        </p:txBody>
      </p:sp>
      <p:sp>
        <p:nvSpPr>
          <p:cNvPr id="10" name="Rectangle 9"/>
          <p:cNvSpPr/>
          <p:nvPr/>
        </p:nvSpPr>
        <p:spPr>
          <a:xfrm flipH="1">
            <a:off x="3264777" y="3058958"/>
            <a:ext cx="2606719" cy="900247"/>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102880" tIns="68586" rIns="68586" bIns="68586" rtlCol="0" anchor="t" anchorCtr="0">
            <a:noAutofit/>
          </a:bodyPr>
          <a:lstStyle/>
          <a:p>
            <a:r>
              <a:rPr lang="en-US" b="1" dirty="0">
                <a:solidFill>
                  <a:srgbClr val="FFFFFF"/>
                </a:solidFill>
                <a:latin typeface="Segoe Semibold" pitchFamily="34" charset="0"/>
                <a:ea typeface="Segoe UI" pitchFamily="34" charset="0"/>
                <a:cs typeface="Segoe UI" pitchFamily="34" charset="0"/>
              </a:rPr>
              <a:t>Settings Management</a:t>
            </a:r>
          </a:p>
          <a:p>
            <a:pPr marL="214332" indent="-214332">
              <a:buClr>
                <a:schemeClr val="tx2"/>
              </a:buClr>
              <a:buFont typeface="Wingdings" pitchFamily="2" charset="2"/>
              <a:buChar char="§"/>
            </a:pPr>
            <a:r>
              <a:rPr lang="en-US" sz="1200" dirty="0">
                <a:solidFill>
                  <a:prstClr val="white"/>
                </a:solidFill>
                <a:latin typeface="Segoe UI" pitchFamily="34" charset="0"/>
                <a:ea typeface="Segoe UI" pitchFamily="34" charset="0"/>
                <a:cs typeface="Segoe UI" pitchFamily="34" charset="0"/>
              </a:rPr>
              <a:t>Deploy compliance baselines to collections of users or syst</a:t>
            </a:r>
            <a:r>
              <a:rPr lang="en-US" sz="1200" dirty="0">
                <a:solidFill>
                  <a:srgbClr val="FFFFFF"/>
                </a:solidFill>
                <a:latin typeface="Segoe UI" pitchFamily="34" charset="0"/>
                <a:ea typeface="Segoe UI" pitchFamily="34" charset="0"/>
                <a:cs typeface="Segoe UI" pitchFamily="34" charset="0"/>
              </a:rPr>
              <a:t>ems</a:t>
            </a:r>
          </a:p>
        </p:txBody>
      </p:sp>
      <p:grpSp>
        <p:nvGrpSpPr>
          <p:cNvPr id="11" name="Group 10"/>
          <p:cNvGrpSpPr/>
          <p:nvPr/>
        </p:nvGrpSpPr>
        <p:grpSpPr>
          <a:xfrm>
            <a:off x="6197280" y="1735890"/>
            <a:ext cx="2788286" cy="1265629"/>
            <a:chOff x="8260889" y="2314518"/>
            <a:chExt cx="3474720" cy="1687505"/>
          </a:xfrm>
        </p:grpSpPr>
        <p:sp>
          <p:nvSpPr>
            <p:cNvPr id="12" name="Rectangle 11"/>
            <p:cNvSpPr/>
            <p:nvPr/>
          </p:nvSpPr>
          <p:spPr>
            <a:xfrm>
              <a:off x="8260889" y="2314518"/>
              <a:ext cx="3474720" cy="411480"/>
            </a:xfrm>
            <a:prstGeom prst="rect">
              <a:avLst/>
            </a:prstGeom>
            <a:solidFill>
              <a:schemeClr val="accent6"/>
            </a:solidFill>
            <a:ln w="12700">
              <a:solidFill>
                <a:schemeClr val="accent6"/>
              </a:solidFill>
              <a:prstDash val="solid"/>
            </a:ln>
          </p:spPr>
          <p:style>
            <a:lnRef idx="2">
              <a:schemeClr val="accent1">
                <a:shade val="50000"/>
              </a:schemeClr>
            </a:lnRef>
            <a:fillRef idx="1">
              <a:schemeClr val="accent1"/>
            </a:fillRef>
            <a:effectRef idx="0">
              <a:schemeClr val="accent1"/>
            </a:effectRef>
            <a:fontRef idx="minor">
              <a:schemeClr val="lt1"/>
            </a:fontRef>
          </p:style>
          <p:txBody>
            <a:bodyPr rIns="45720" rtlCol="0" anchor="ctr"/>
            <a:lstStyle/>
            <a:p>
              <a:r>
                <a:rPr lang="en-US" sz="1500" dirty="0">
                  <a:solidFill>
                    <a:srgbClr val="FFFFFF"/>
                  </a:solidFill>
                  <a:latin typeface="+mj-lt"/>
                </a:rPr>
                <a:t>Remediating Non-compliance</a:t>
              </a:r>
            </a:p>
          </p:txBody>
        </p:sp>
        <p:sp>
          <p:nvSpPr>
            <p:cNvPr id="13" name="Rectangle 12"/>
            <p:cNvSpPr/>
            <p:nvPr/>
          </p:nvSpPr>
          <p:spPr>
            <a:xfrm flipH="1">
              <a:off x="8260889" y="2755527"/>
              <a:ext cx="3474720" cy="1246496"/>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137160" tIns="91440" bIns="91440" rtlCol="0" anchor="t" anchorCtr="0">
              <a:noAutofit/>
            </a:bodyPr>
            <a:lstStyle/>
            <a:p>
              <a:r>
                <a:rPr lang="en-US" b="1" dirty="0">
                  <a:solidFill>
                    <a:srgbClr val="FFFFFF"/>
                  </a:solidFill>
                  <a:latin typeface="Segoe Semibold" pitchFamily="34" charset="0"/>
                  <a:ea typeface="Segoe UI" pitchFamily="34" charset="0"/>
                  <a:cs typeface="Segoe UI" pitchFamily="34" charset="0"/>
                </a:rPr>
                <a:t>Software updates</a:t>
              </a:r>
            </a:p>
            <a:p>
              <a:pPr marL="214332" indent="-214332">
                <a:buClr>
                  <a:schemeClr val="tx2"/>
                </a:buClr>
                <a:buFont typeface="Wingdings" pitchFamily="2" charset="2"/>
                <a:buChar char="§"/>
              </a:pPr>
              <a:r>
                <a:rPr lang="en-US" sz="1200" dirty="0">
                  <a:solidFill>
                    <a:prstClr val="white"/>
                  </a:solidFill>
                  <a:latin typeface="Segoe UI" pitchFamily="34" charset="0"/>
                  <a:ea typeface="Segoe UI" pitchFamily="34" charset="0"/>
                  <a:cs typeface="Segoe UI" pitchFamily="34" charset="0"/>
                </a:rPr>
                <a:t>Deploying monthly updates</a:t>
              </a:r>
            </a:p>
            <a:p>
              <a:pPr marL="214332" indent="-214332">
                <a:buClr>
                  <a:schemeClr val="tx2"/>
                </a:buClr>
                <a:buFont typeface="Wingdings" pitchFamily="2" charset="2"/>
                <a:buChar char="§"/>
              </a:pPr>
              <a:r>
                <a:rPr lang="en-US" sz="1200" dirty="0">
                  <a:solidFill>
                    <a:prstClr val="white"/>
                  </a:solidFill>
                  <a:latin typeface="Segoe UI" pitchFamily="34" charset="0"/>
                  <a:ea typeface="Segoe UI" pitchFamily="34" charset="0"/>
                  <a:cs typeface="Segoe UI" pitchFamily="34" charset="0"/>
                </a:rPr>
                <a:t>Monitoring o</a:t>
              </a:r>
              <a:r>
                <a:rPr lang="en-US" sz="1200" dirty="0">
                  <a:solidFill>
                    <a:srgbClr val="FFFFFF"/>
                  </a:solidFill>
                  <a:latin typeface="Segoe UI" pitchFamily="34" charset="0"/>
                  <a:ea typeface="Segoe UI" pitchFamily="34" charset="0"/>
                  <a:cs typeface="Segoe UI" pitchFamily="34" charset="0"/>
                </a:rPr>
                <a:t>ngoing compliance</a:t>
              </a:r>
            </a:p>
          </p:txBody>
        </p:sp>
      </p:grpSp>
      <p:sp>
        <p:nvSpPr>
          <p:cNvPr id="15" name="Right Arrow 14"/>
          <p:cNvSpPr/>
          <p:nvPr/>
        </p:nvSpPr>
        <p:spPr>
          <a:xfrm>
            <a:off x="2998986" y="3058957"/>
            <a:ext cx="205794" cy="860372"/>
          </a:xfrm>
          <a:prstGeom prst="rightArrow">
            <a:avLst>
              <a:gd name="adj1" fmla="val 100000"/>
              <a:gd name="adj2" fmla="val 100000"/>
            </a:avLst>
          </a:prstGeom>
          <a:solidFill>
            <a:schemeClr val="accent1"/>
          </a:solidFill>
          <a:ln w="12700">
            <a:solidFill>
              <a:schemeClr val="tx1"/>
            </a:solidFill>
            <a:prstDash val="sysDot"/>
          </a:ln>
        </p:spPr>
        <p:txBody>
          <a:bodyPr vert="horz" wrap="square" lIns="102880" tIns="102880" rIns="68576" bIns="102880" numCol="1" rtlCol="0" anchor="ctr" anchorCtr="0" compatLnSpc="1">
            <a:prstTxWarp prst="textNoShape">
              <a:avLst/>
            </a:prstTxWarp>
          </a:bodyPr>
          <a:lstStyle/>
          <a:p>
            <a:pPr algn="ctr" defTabSz="685754"/>
            <a:endParaRPr lang="en-US" sz="2100" kern="0">
              <a:solidFill>
                <a:srgbClr val="FFFFFF"/>
              </a:solidFill>
              <a:latin typeface="+mj-lt"/>
              <a:ea typeface="Segoe UI" pitchFamily="34" charset="0"/>
              <a:cs typeface="Segoe UI" pitchFamily="34" charset="0"/>
            </a:endParaRPr>
          </a:p>
        </p:txBody>
      </p:sp>
      <p:sp>
        <p:nvSpPr>
          <p:cNvPr id="17" name="Right Arrow 16"/>
          <p:cNvSpPr/>
          <p:nvPr/>
        </p:nvSpPr>
        <p:spPr>
          <a:xfrm>
            <a:off x="5931491" y="1735888"/>
            <a:ext cx="205794" cy="1265630"/>
          </a:xfrm>
          <a:prstGeom prst="rightArrow">
            <a:avLst>
              <a:gd name="adj1" fmla="val 100000"/>
              <a:gd name="adj2" fmla="val 100000"/>
            </a:avLst>
          </a:prstGeom>
          <a:solidFill>
            <a:schemeClr val="accent3"/>
          </a:solidFill>
          <a:ln w="12700">
            <a:solidFill>
              <a:schemeClr val="tx1"/>
            </a:solidFill>
            <a:prstDash val="sysDot"/>
          </a:ln>
        </p:spPr>
        <p:txBody>
          <a:bodyPr vert="horz" wrap="square" lIns="102880" tIns="102880" rIns="68576" bIns="102880" numCol="1" rtlCol="0" anchor="ctr" anchorCtr="0" compatLnSpc="1">
            <a:prstTxWarp prst="textNoShape">
              <a:avLst/>
            </a:prstTxWarp>
          </a:bodyPr>
          <a:lstStyle/>
          <a:p>
            <a:pPr algn="ctr" defTabSz="685754"/>
            <a:endParaRPr lang="en-US" sz="2100" kern="0">
              <a:solidFill>
                <a:srgbClr val="FFFFFF"/>
              </a:solidFill>
              <a:latin typeface="Segoe Light"/>
              <a:ea typeface="Segoe UI" pitchFamily="34" charset="0"/>
            </a:endParaRPr>
          </a:p>
        </p:txBody>
      </p:sp>
      <p:sp>
        <p:nvSpPr>
          <p:cNvPr id="18" name="Right Arrow 17"/>
          <p:cNvSpPr/>
          <p:nvPr/>
        </p:nvSpPr>
        <p:spPr>
          <a:xfrm>
            <a:off x="2998986" y="1735888"/>
            <a:ext cx="205794" cy="1265630"/>
          </a:xfrm>
          <a:prstGeom prst="rightArrow">
            <a:avLst>
              <a:gd name="adj1" fmla="val 100000"/>
              <a:gd name="adj2" fmla="val 100000"/>
            </a:avLst>
          </a:prstGeom>
          <a:solidFill>
            <a:schemeClr val="accent1"/>
          </a:solidFill>
          <a:ln w="12700">
            <a:solidFill>
              <a:schemeClr val="tx1"/>
            </a:solidFill>
            <a:prstDash val="sysDot"/>
          </a:ln>
        </p:spPr>
        <p:txBody>
          <a:bodyPr vert="horz" wrap="square" lIns="102880" tIns="102880" rIns="68576" bIns="102880" numCol="1" rtlCol="0" anchor="ctr" anchorCtr="0" compatLnSpc="1">
            <a:prstTxWarp prst="textNoShape">
              <a:avLst/>
            </a:prstTxWarp>
          </a:bodyPr>
          <a:lstStyle/>
          <a:p>
            <a:pPr algn="ctr" defTabSz="685754"/>
            <a:endParaRPr lang="en-US" sz="2100" kern="0">
              <a:solidFill>
                <a:srgbClr val="FFFFFF"/>
              </a:solidFill>
              <a:latin typeface="Segoe Light"/>
              <a:ea typeface="Segoe UI" pitchFamily="34" charset="0"/>
            </a:endParaRPr>
          </a:p>
        </p:txBody>
      </p:sp>
      <p:sp>
        <p:nvSpPr>
          <p:cNvPr id="20" name="Title 1"/>
          <p:cNvSpPr>
            <a:spLocks noGrp="1"/>
          </p:cNvSpPr>
          <p:nvPr>
            <p:ph type="title"/>
          </p:nvPr>
        </p:nvSpPr>
        <p:spPr>
          <a:xfrm>
            <a:off x="326461" y="157279"/>
            <a:ext cx="8525904" cy="747897"/>
          </a:xfrm>
        </p:spPr>
        <p:txBody>
          <a:bodyPr/>
          <a:lstStyle/>
          <a:p>
            <a:r>
              <a:rPr lang="en-US" sz="2700"/>
              <a:t>BUILDING YOUR COMPLIANCE MANAGEMENT SOLUTION </a:t>
            </a:r>
            <a:br>
              <a:rPr lang="en-US" sz="2700"/>
            </a:br>
            <a:r>
              <a:rPr lang="en-US" sz="2700"/>
              <a:t>WITH CONFIGURATION MANAGER 2012</a:t>
            </a:r>
            <a:endParaRPr lang="en-US" sz="2700" dirty="0"/>
          </a:p>
        </p:txBody>
      </p:sp>
      <p:sp>
        <p:nvSpPr>
          <p:cNvPr id="16"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9"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
              </a:rPr>
              <a:t>www.rapidbbs.cn</a:t>
            </a:r>
            <a:endParaRPr lang="zh-CN" altLang="en-US" sz="1200" b="0">
              <a:latin typeface="Arial" charset="0"/>
              <a:ea typeface="ＭＳ Ｐゴシック" pitchFamily="34" charset="-128"/>
            </a:endParaRPr>
          </a:p>
        </p:txBody>
      </p:sp>
      <p:pic>
        <p:nvPicPr>
          <p:cNvPr id="21" name="Picture 2">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407646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withEffect">
                                  <p:stCondLst>
                                    <p:cond delay="0"/>
                                  </p:stCondLst>
                                  <p:childTnLst>
                                    <p:animEffect transition="out" filter="fade">
                                      <p:cBhvr>
                                        <p:cTn id="6" dur="500"/>
                                        <p:tgtEl>
                                          <p:spTgt spid="18"/>
                                        </p:tgtEl>
                                      </p:cBhvr>
                                    </p:animEffect>
                                    <p:set>
                                      <p:cBhvr>
                                        <p:cTn id="7" dur="1" fill="hold">
                                          <p:stCondLst>
                                            <p:cond delay="499"/>
                                          </p:stCondLst>
                                        </p:cTn>
                                        <p:tgtEl>
                                          <p:spTgt spid="18"/>
                                        </p:tgtEl>
                                        <p:attrNameLst>
                                          <p:attrName>style.visibility</p:attrName>
                                        </p:attrNameLst>
                                      </p:cBhvr>
                                      <p:to>
                                        <p:strVal val="hidden"/>
                                      </p:to>
                                    </p:set>
                                  </p:childTnLst>
                                </p:cTn>
                              </p:par>
                              <p:par>
                                <p:cTn id="8" presetID="10" presetClass="entr" presetSubtype="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5" grpId="0" animBg="1"/>
      <p:bldP spid="18" grpId="0" animBg="1"/>
    </p:bldLst>
  </p:timing>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4" name="AutoShape 2"/>
          <p:cNvSpPr>
            <a:spLocks noChangeArrowheads="1"/>
          </p:cNvSpPr>
          <p:nvPr/>
        </p:nvSpPr>
        <p:spPr bwMode="auto">
          <a:xfrm rot="-5400000">
            <a:off x="-21779" y="2165820"/>
            <a:ext cx="3771900" cy="1269060"/>
          </a:xfrm>
          <a:custGeom>
            <a:avLst/>
            <a:gdLst>
              <a:gd name="T0" fmla="*/ 4693469 w 21600"/>
              <a:gd name="T1" fmla="*/ 800894 h 21600"/>
              <a:gd name="T2" fmla="*/ 2438400 w 21600"/>
              <a:gd name="T3" fmla="*/ 1601787 h 21600"/>
              <a:gd name="T4" fmla="*/ 183332 w 21600"/>
              <a:gd name="T5" fmla="*/ 800894 h 21600"/>
              <a:gd name="T6" fmla="*/ 2438400 w 21600"/>
              <a:gd name="T7" fmla="*/ 0 h 21600"/>
              <a:gd name="T8" fmla="*/ 0 60000 65536"/>
              <a:gd name="T9" fmla="*/ 0 60000 65536"/>
              <a:gd name="T10" fmla="*/ 0 60000 65536"/>
              <a:gd name="T11" fmla="*/ 0 60000 65536"/>
              <a:gd name="T12" fmla="*/ 2612 w 21600"/>
              <a:gd name="T13" fmla="*/ 2612 h 21600"/>
              <a:gd name="T14" fmla="*/ 18988 w 21600"/>
              <a:gd name="T15" fmla="*/ 18988 h 21600"/>
            </a:gdLst>
            <a:ahLst/>
            <a:cxnLst>
              <a:cxn ang="T8">
                <a:pos x="T0" y="T1"/>
              </a:cxn>
              <a:cxn ang="T9">
                <a:pos x="T2" y="T3"/>
              </a:cxn>
              <a:cxn ang="T10">
                <a:pos x="T4" y="T5"/>
              </a:cxn>
              <a:cxn ang="T11">
                <a:pos x="T6" y="T7"/>
              </a:cxn>
            </a:cxnLst>
            <a:rect l="T12" t="T13" r="T14" b="T15"/>
            <a:pathLst>
              <a:path w="21600" h="21600">
                <a:moveTo>
                  <a:pt x="0" y="0"/>
                </a:moveTo>
                <a:lnTo>
                  <a:pt x="1624" y="21600"/>
                </a:lnTo>
                <a:lnTo>
                  <a:pt x="19976" y="21600"/>
                </a:lnTo>
                <a:lnTo>
                  <a:pt x="21600" y="0"/>
                </a:lnTo>
                <a:close/>
              </a:path>
            </a:pathLst>
          </a:custGeom>
          <a:solidFill>
            <a:schemeClr val="bg1">
              <a:alpha val="10196"/>
            </a:schemeClr>
          </a:solidFill>
          <a:ln w="9525">
            <a:noFill/>
            <a:miter lim="800000"/>
            <a:headEnd/>
            <a:tailEnd/>
          </a:ln>
        </p:spPr>
        <p:txBody>
          <a:bodyPr vert="eaVert" lIns="68586" tIns="0" rIns="68586" bIns="0" anchor="ctr"/>
          <a:lstStyle/>
          <a:p>
            <a:pPr algn="ctr"/>
            <a:endParaRPr lang="en-US" sz="1200" dirty="0">
              <a:solidFill>
                <a:srgbClr val="3DB5F1"/>
              </a:solidFill>
            </a:endParaRPr>
          </a:p>
          <a:p>
            <a:pPr algn="ctr"/>
            <a:endParaRPr lang="en-US" sz="1200" dirty="0">
              <a:solidFill>
                <a:srgbClr val="3DB5F1"/>
              </a:solidFill>
            </a:endParaRPr>
          </a:p>
          <a:p>
            <a:pPr algn="ctr"/>
            <a:r>
              <a:rPr lang="en-US" sz="1200" dirty="0">
                <a:solidFill>
                  <a:srgbClr val="3DB5F1"/>
                </a:solidFill>
              </a:rPr>
              <a:t>Self Service</a:t>
            </a:r>
          </a:p>
        </p:txBody>
      </p:sp>
      <p:sp>
        <p:nvSpPr>
          <p:cNvPr id="125955" name="AutoShape 3"/>
          <p:cNvSpPr>
            <a:spLocks noChangeArrowheads="1"/>
          </p:cNvSpPr>
          <p:nvPr/>
        </p:nvSpPr>
        <p:spPr bwMode="auto">
          <a:xfrm rot="-5400000">
            <a:off x="2512679" y="2107689"/>
            <a:ext cx="3771900" cy="1271024"/>
          </a:xfrm>
          <a:custGeom>
            <a:avLst/>
            <a:gdLst>
              <a:gd name="T0" fmla="*/ 4693469 w 21600"/>
              <a:gd name="T1" fmla="*/ 800100 h 21600"/>
              <a:gd name="T2" fmla="*/ 2438400 w 21600"/>
              <a:gd name="T3" fmla="*/ 1600200 h 21600"/>
              <a:gd name="T4" fmla="*/ 183332 w 21600"/>
              <a:gd name="T5" fmla="*/ 800100 h 21600"/>
              <a:gd name="T6" fmla="*/ 2438400 w 21600"/>
              <a:gd name="T7" fmla="*/ 0 h 21600"/>
              <a:gd name="T8" fmla="*/ 0 60000 65536"/>
              <a:gd name="T9" fmla="*/ 0 60000 65536"/>
              <a:gd name="T10" fmla="*/ 0 60000 65536"/>
              <a:gd name="T11" fmla="*/ 0 60000 65536"/>
              <a:gd name="T12" fmla="*/ 2612 w 21600"/>
              <a:gd name="T13" fmla="*/ 2612 h 21600"/>
              <a:gd name="T14" fmla="*/ 18988 w 21600"/>
              <a:gd name="T15" fmla="*/ 18988 h 21600"/>
            </a:gdLst>
            <a:ahLst/>
            <a:cxnLst>
              <a:cxn ang="T8">
                <a:pos x="T0" y="T1"/>
              </a:cxn>
              <a:cxn ang="T9">
                <a:pos x="T2" y="T3"/>
              </a:cxn>
              <a:cxn ang="T10">
                <a:pos x="T4" y="T5"/>
              </a:cxn>
              <a:cxn ang="T11">
                <a:pos x="T6" y="T7"/>
              </a:cxn>
            </a:cxnLst>
            <a:rect l="T12" t="T13" r="T14" b="T15"/>
            <a:pathLst>
              <a:path w="21600" h="21600">
                <a:moveTo>
                  <a:pt x="0" y="0"/>
                </a:moveTo>
                <a:lnTo>
                  <a:pt x="1624" y="21600"/>
                </a:lnTo>
                <a:lnTo>
                  <a:pt x="19976" y="21600"/>
                </a:lnTo>
                <a:lnTo>
                  <a:pt x="21600" y="0"/>
                </a:lnTo>
                <a:close/>
              </a:path>
            </a:pathLst>
          </a:custGeom>
          <a:solidFill>
            <a:schemeClr val="bg1">
              <a:alpha val="10196"/>
            </a:schemeClr>
          </a:solidFill>
          <a:ln w="9525">
            <a:noFill/>
            <a:miter lim="800000"/>
            <a:headEnd/>
            <a:tailEnd/>
          </a:ln>
        </p:spPr>
        <p:txBody>
          <a:bodyPr vert="eaVert" lIns="137172" tIns="0" rIns="68586" bIns="0" anchor="ctr"/>
          <a:lstStyle/>
          <a:p>
            <a:pPr algn="ctr"/>
            <a:endParaRPr lang="en-US" sz="1200" dirty="0">
              <a:solidFill>
                <a:srgbClr val="3DB5F1"/>
              </a:solidFill>
            </a:endParaRPr>
          </a:p>
          <a:p>
            <a:pPr algn="ctr"/>
            <a:r>
              <a:rPr lang="en-US" sz="1200" dirty="0">
                <a:solidFill>
                  <a:srgbClr val="3DB5F1"/>
                </a:solidFill>
              </a:rPr>
              <a:t>Service Delivery and Automation</a:t>
            </a:r>
          </a:p>
        </p:txBody>
      </p:sp>
      <p:sp>
        <p:nvSpPr>
          <p:cNvPr id="45061" name="Title 1"/>
          <p:cNvSpPr>
            <a:spLocks noGrp="1"/>
          </p:cNvSpPr>
          <p:nvPr>
            <p:ph type="title"/>
          </p:nvPr>
        </p:nvSpPr>
        <p:spPr>
          <a:xfrm>
            <a:off x="389436" y="171451"/>
            <a:ext cx="8363938" cy="415499"/>
          </a:xfrm>
        </p:spPr>
        <p:txBody>
          <a:bodyPr/>
          <a:lstStyle/>
          <a:p>
            <a:pPr eaLnBrk="1" hangingPunct="1"/>
            <a:r>
              <a:rPr lang="en-US" sz="3000" dirty="0"/>
              <a:t>SYSTEM CENTER HELPS DELIVER IT AS A SERVICE</a:t>
            </a:r>
          </a:p>
        </p:txBody>
      </p:sp>
      <p:sp>
        <p:nvSpPr>
          <p:cNvPr id="64" name="Freeform 132"/>
          <p:cNvSpPr>
            <a:spLocks/>
          </p:cNvSpPr>
          <p:nvPr/>
        </p:nvSpPr>
        <p:spPr bwMode="gray">
          <a:xfrm>
            <a:off x="4021103" y="2283142"/>
            <a:ext cx="755053" cy="177404"/>
          </a:xfrm>
          <a:custGeom>
            <a:avLst/>
            <a:gdLst>
              <a:gd name="T0" fmla="*/ 2147483647 w 364"/>
              <a:gd name="T1" fmla="*/ 2147483647 h 86"/>
              <a:gd name="T2" fmla="*/ 2147483647 w 364"/>
              <a:gd name="T3" fmla="*/ 2147483647 h 86"/>
              <a:gd name="T4" fmla="*/ 2147483647 w 364"/>
              <a:gd name="T5" fmla="*/ 2147483647 h 86"/>
              <a:gd name="T6" fmla="*/ 2147483647 w 364"/>
              <a:gd name="T7" fmla="*/ 2147483647 h 86"/>
              <a:gd name="T8" fmla="*/ 2147483647 w 364"/>
              <a:gd name="T9" fmla="*/ 2147483647 h 86"/>
              <a:gd name="T10" fmla="*/ 2147483647 w 364"/>
              <a:gd name="T11" fmla="*/ 2147483647 h 86"/>
              <a:gd name="T12" fmla="*/ 2147483647 w 364"/>
              <a:gd name="T13" fmla="*/ 2147483647 h 86"/>
              <a:gd name="T14" fmla="*/ 2147483647 w 364"/>
              <a:gd name="T15" fmla="*/ 2147483647 h 86"/>
              <a:gd name="T16" fmla="*/ 2147483647 w 364"/>
              <a:gd name="T17" fmla="*/ 2147483647 h 86"/>
              <a:gd name="T18" fmla="*/ 2147483647 w 364"/>
              <a:gd name="T19" fmla="*/ 2147483647 h 86"/>
              <a:gd name="T20" fmla="*/ 2147483647 w 364"/>
              <a:gd name="T21" fmla="*/ 2147483647 h 86"/>
              <a:gd name="T22" fmla="*/ 2147483647 w 364"/>
              <a:gd name="T23" fmla="*/ 2147483647 h 86"/>
              <a:gd name="T24" fmla="*/ 2147483647 w 364"/>
              <a:gd name="T25" fmla="*/ 2147483647 h 86"/>
              <a:gd name="T26" fmla="*/ 2147483647 w 364"/>
              <a:gd name="T27" fmla="*/ 2147483647 h 86"/>
              <a:gd name="T28" fmla="*/ 0 w 364"/>
              <a:gd name="T29" fmla="*/ 2147483647 h 86"/>
              <a:gd name="T30" fmla="*/ 2147483647 w 364"/>
              <a:gd name="T31" fmla="*/ 2147483647 h 86"/>
              <a:gd name="T32" fmla="*/ 2147483647 w 364"/>
              <a:gd name="T33" fmla="*/ 2147483647 h 86"/>
              <a:gd name="T34" fmla="*/ 2147483647 w 364"/>
              <a:gd name="T35" fmla="*/ 0 h 86"/>
              <a:gd name="T36" fmla="*/ 2147483647 w 364"/>
              <a:gd name="T37" fmla="*/ 2147483647 h 86"/>
              <a:gd name="T38" fmla="*/ 2147483647 w 364"/>
              <a:gd name="T39" fmla="*/ 2147483647 h 86"/>
              <a:gd name="T40" fmla="*/ 2147483647 w 364"/>
              <a:gd name="T41" fmla="*/ 2147483647 h 86"/>
              <a:gd name="T42" fmla="*/ 2147483647 w 364"/>
              <a:gd name="T43" fmla="*/ 2147483647 h 86"/>
              <a:gd name="T44" fmla="*/ 2147483647 w 364"/>
              <a:gd name="T45" fmla="*/ 2147483647 h 86"/>
              <a:gd name="T46" fmla="*/ 2147483647 w 364"/>
              <a:gd name="T47" fmla="*/ 0 h 86"/>
              <a:gd name="T48" fmla="*/ 2147483647 w 364"/>
              <a:gd name="T49" fmla="*/ 2147483647 h 86"/>
              <a:gd name="T50" fmla="*/ 2147483647 w 364"/>
              <a:gd name="T51" fmla="*/ 2147483647 h 86"/>
              <a:gd name="T52" fmla="*/ 2147483647 w 364"/>
              <a:gd name="T53" fmla="*/ 2147483647 h 86"/>
              <a:gd name="T54" fmla="*/ 2147483647 w 364"/>
              <a:gd name="T55" fmla="*/ 2147483647 h 86"/>
              <a:gd name="T56" fmla="*/ 2147483647 w 364"/>
              <a:gd name="T57" fmla="*/ 2147483647 h 86"/>
              <a:gd name="T58" fmla="*/ 2147483647 w 364"/>
              <a:gd name="T59" fmla="*/ 2147483647 h 86"/>
              <a:gd name="T60" fmla="*/ 2147483647 w 364"/>
              <a:gd name="T61" fmla="*/ 2147483647 h 86"/>
              <a:gd name="T62" fmla="*/ 2147483647 w 364"/>
              <a:gd name="T63" fmla="*/ 2147483647 h 86"/>
              <a:gd name="T64" fmla="*/ 2147483647 w 364"/>
              <a:gd name="T65" fmla="*/ 2147483647 h 86"/>
              <a:gd name="T66" fmla="*/ 2147483647 w 364"/>
              <a:gd name="T67" fmla="*/ 2147483647 h 86"/>
              <a:gd name="T68" fmla="*/ 2147483647 w 364"/>
              <a:gd name="T69" fmla="*/ 2147483647 h 86"/>
              <a:gd name="T70" fmla="*/ 2147483647 w 364"/>
              <a:gd name="T71" fmla="*/ 2147483647 h 86"/>
              <a:gd name="T72" fmla="*/ 2147483647 w 364"/>
              <a:gd name="T73" fmla="*/ 2147483647 h 86"/>
              <a:gd name="T74" fmla="*/ 2147483647 w 364"/>
              <a:gd name="T75" fmla="*/ 2147483647 h 86"/>
              <a:gd name="T76" fmla="*/ 2147483647 w 364"/>
              <a:gd name="T77" fmla="*/ 2147483647 h 86"/>
              <a:gd name="T78" fmla="*/ 2147483647 w 364"/>
              <a:gd name="T79" fmla="*/ 2147483647 h 86"/>
              <a:gd name="T80" fmla="*/ 2147483647 w 364"/>
              <a:gd name="T81" fmla="*/ 2147483647 h 86"/>
              <a:gd name="T82" fmla="*/ 2147483647 w 364"/>
              <a:gd name="T83" fmla="*/ 2147483647 h 86"/>
              <a:gd name="T84" fmla="*/ 2147483647 w 364"/>
              <a:gd name="T85" fmla="*/ 2147483647 h 86"/>
              <a:gd name="T86" fmla="*/ 2147483647 w 364"/>
              <a:gd name="T87" fmla="*/ 2147483647 h 86"/>
              <a:gd name="T88" fmla="*/ 2147483647 w 364"/>
              <a:gd name="T89" fmla="*/ 2147483647 h 86"/>
              <a:gd name="T90" fmla="*/ 2147483647 w 364"/>
              <a:gd name="T91" fmla="*/ 2147483647 h 86"/>
              <a:gd name="T92" fmla="*/ 2147483647 w 364"/>
              <a:gd name="T93" fmla="*/ 2147483647 h 86"/>
              <a:gd name="T94" fmla="*/ 2147483647 w 364"/>
              <a:gd name="T95" fmla="*/ 2147483647 h 86"/>
              <a:gd name="T96" fmla="*/ 2147483647 w 364"/>
              <a:gd name="T97" fmla="*/ 2147483647 h 86"/>
              <a:gd name="T98" fmla="*/ 2147483647 w 364"/>
              <a:gd name="T99" fmla="*/ 2147483647 h 86"/>
              <a:gd name="T100" fmla="*/ 2147483647 w 364"/>
              <a:gd name="T101" fmla="*/ 2147483647 h 86"/>
              <a:gd name="T102" fmla="*/ 2147483647 w 364"/>
              <a:gd name="T103" fmla="*/ 2147483647 h 86"/>
              <a:gd name="T104" fmla="*/ 2147483647 w 364"/>
              <a:gd name="T105" fmla="*/ 2147483647 h 86"/>
              <a:gd name="T106" fmla="*/ 2147483647 w 364"/>
              <a:gd name="T107" fmla="*/ 2147483647 h 86"/>
              <a:gd name="T108" fmla="*/ 2147483647 w 364"/>
              <a:gd name="T109" fmla="*/ 2147483647 h 86"/>
              <a:gd name="T110" fmla="*/ 2147483647 w 364"/>
              <a:gd name="T111" fmla="*/ 2147483647 h 86"/>
              <a:gd name="T112" fmla="*/ 2147483647 w 364"/>
              <a:gd name="T113" fmla="*/ 2147483647 h 86"/>
              <a:gd name="T114" fmla="*/ 2147483647 w 364"/>
              <a:gd name="T115" fmla="*/ 2147483647 h 8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64"/>
              <a:gd name="T175" fmla="*/ 0 h 86"/>
              <a:gd name="T176" fmla="*/ 364 w 364"/>
              <a:gd name="T177" fmla="*/ 86 h 8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64" h="86">
                <a:moveTo>
                  <a:pt x="296" y="6"/>
                </a:moveTo>
                <a:lnTo>
                  <a:pt x="334" y="44"/>
                </a:lnTo>
                <a:lnTo>
                  <a:pt x="296" y="82"/>
                </a:lnTo>
                <a:lnTo>
                  <a:pt x="326" y="82"/>
                </a:lnTo>
                <a:lnTo>
                  <a:pt x="364" y="44"/>
                </a:lnTo>
                <a:lnTo>
                  <a:pt x="326" y="6"/>
                </a:lnTo>
                <a:lnTo>
                  <a:pt x="296" y="6"/>
                </a:lnTo>
                <a:lnTo>
                  <a:pt x="180" y="56"/>
                </a:lnTo>
                <a:lnTo>
                  <a:pt x="178" y="54"/>
                </a:lnTo>
                <a:lnTo>
                  <a:pt x="154" y="54"/>
                </a:lnTo>
                <a:lnTo>
                  <a:pt x="152" y="58"/>
                </a:lnTo>
                <a:lnTo>
                  <a:pt x="162" y="64"/>
                </a:lnTo>
                <a:lnTo>
                  <a:pt x="158" y="70"/>
                </a:lnTo>
                <a:lnTo>
                  <a:pt x="148" y="64"/>
                </a:lnTo>
                <a:lnTo>
                  <a:pt x="138" y="70"/>
                </a:lnTo>
                <a:lnTo>
                  <a:pt x="128" y="74"/>
                </a:lnTo>
                <a:lnTo>
                  <a:pt x="128" y="86"/>
                </a:lnTo>
                <a:lnTo>
                  <a:pt x="120" y="86"/>
                </a:lnTo>
                <a:lnTo>
                  <a:pt x="120" y="74"/>
                </a:lnTo>
                <a:lnTo>
                  <a:pt x="114" y="72"/>
                </a:lnTo>
                <a:lnTo>
                  <a:pt x="108" y="70"/>
                </a:lnTo>
                <a:lnTo>
                  <a:pt x="100" y="76"/>
                </a:lnTo>
                <a:lnTo>
                  <a:pt x="96" y="72"/>
                </a:lnTo>
                <a:lnTo>
                  <a:pt x="102" y="64"/>
                </a:lnTo>
                <a:lnTo>
                  <a:pt x="96" y="56"/>
                </a:lnTo>
                <a:lnTo>
                  <a:pt x="96" y="54"/>
                </a:lnTo>
                <a:lnTo>
                  <a:pt x="70" y="54"/>
                </a:lnTo>
                <a:lnTo>
                  <a:pt x="68" y="58"/>
                </a:lnTo>
                <a:lnTo>
                  <a:pt x="78" y="64"/>
                </a:lnTo>
                <a:lnTo>
                  <a:pt x="74" y="70"/>
                </a:lnTo>
                <a:lnTo>
                  <a:pt x="64" y="64"/>
                </a:lnTo>
                <a:lnTo>
                  <a:pt x="56" y="70"/>
                </a:lnTo>
                <a:lnTo>
                  <a:pt x="46" y="74"/>
                </a:lnTo>
                <a:lnTo>
                  <a:pt x="44" y="86"/>
                </a:lnTo>
                <a:lnTo>
                  <a:pt x="36" y="86"/>
                </a:lnTo>
                <a:lnTo>
                  <a:pt x="36" y="74"/>
                </a:lnTo>
                <a:lnTo>
                  <a:pt x="30" y="72"/>
                </a:lnTo>
                <a:lnTo>
                  <a:pt x="24" y="70"/>
                </a:lnTo>
                <a:lnTo>
                  <a:pt x="16" y="76"/>
                </a:lnTo>
                <a:lnTo>
                  <a:pt x="12" y="72"/>
                </a:lnTo>
                <a:lnTo>
                  <a:pt x="18" y="64"/>
                </a:lnTo>
                <a:lnTo>
                  <a:pt x="14" y="56"/>
                </a:lnTo>
                <a:lnTo>
                  <a:pt x="10" y="50"/>
                </a:lnTo>
                <a:lnTo>
                  <a:pt x="0" y="50"/>
                </a:lnTo>
                <a:lnTo>
                  <a:pt x="0" y="42"/>
                </a:lnTo>
                <a:lnTo>
                  <a:pt x="10" y="40"/>
                </a:lnTo>
                <a:lnTo>
                  <a:pt x="10" y="34"/>
                </a:lnTo>
                <a:lnTo>
                  <a:pt x="14" y="28"/>
                </a:lnTo>
                <a:lnTo>
                  <a:pt x="4" y="20"/>
                </a:lnTo>
                <a:lnTo>
                  <a:pt x="8" y="16"/>
                </a:lnTo>
                <a:lnTo>
                  <a:pt x="18" y="20"/>
                </a:lnTo>
                <a:lnTo>
                  <a:pt x="26" y="14"/>
                </a:lnTo>
                <a:lnTo>
                  <a:pt x="36" y="12"/>
                </a:lnTo>
                <a:lnTo>
                  <a:pt x="38" y="0"/>
                </a:lnTo>
                <a:lnTo>
                  <a:pt x="44" y="0"/>
                </a:lnTo>
                <a:lnTo>
                  <a:pt x="46" y="12"/>
                </a:lnTo>
                <a:lnTo>
                  <a:pt x="52" y="14"/>
                </a:lnTo>
                <a:lnTo>
                  <a:pt x="58" y="16"/>
                </a:lnTo>
                <a:lnTo>
                  <a:pt x="64" y="8"/>
                </a:lnTo>
                <a:lnTo>
                  <a:pt x="70" y="14"/>
                </a:lnTo>
                <a:lnTo>
                  <a:pt x="64" y="22"/>
                </a:lnTo>
                <a:lnTo>
                  <a:pt x="68" y="28"/>
                </a:lnTo>
                <a:lnTo>
                  <a:pt x="70" y="32"/>
                </a:lnTo>
                <a:lnTo>
                  <a:pt x="96" y="32"/>
                </a:lnTo>
                <a:lnTo>
                  <a:pt x="96" y="28"/>
                </a:lnTo>
                <a:lnTo>
                  <a:pt x="88" y="20"/>
                </a:lnTo>
                <a:lnTo>
                  <a:pt x="92" y="16"/>
                </a:lnTo>
                <a:lnTo>
                  <a:pt x="102" y="20"/>
                </a:lnTo>
                <a:lnTo>
                  <a:pt x="110" y="14"/>
                </a:lnTo>
                <a:lnTo>
                  <a:pt x="120" y="12"/>
                </a:lnTo>
                <a:lnTo>
                  <a:pt x="122" y="0"/>
                </a:lnTo>
                <a:lnTo>
                  <a:pt x="128" y="0"/>
                </a:lnTo>
                <a:lnTo>
                  <a:pt x="128" y="12"/>
                </a:lnTo>
                <a:lnTo>
                  <a:pt x="136" y="14"/>
                </a:lnTo>
                <a:lnTo>
                  <a:pt x="142" y="16"/>
                </a:lnTo>
                <a:lnTo>
                  <a:pt x="148" y="8"/>
                </a:lnTo>
                <a:lnTo>
                  <a:pt x="154" y="14"/>
                </a:lnTo>
                <a:lnTo>
                  <a:pt x="148" y="22"/>
                </a:lnTo>
                <a:lnTo>
                  <a:pt x="152" y="28"/>
                </a:lnTo>
                <a:lnTo>
                  <a:pt x="154" y="32"/>
                </a:lnTo>
                <a:lnTo>
                  <a:pt x="178" y="32"/>
                </a:lnTo>
                <a:lnTo>
                  <a:pt x="180" y="28"/>
                </a:lnTo>
                <a:lnTo>
                  <a:pt x="172" y="20"/>
                </a:lnTo>
                <a:lnTo>
                  <a:pt x="174" y="16"/>
                </a:lnTo>
                <a:lnTo>
                  <a:pt x="186" y="20"/>
                </a:lnTo>
                <a:lnTo>
                  <a:pt x="194" y="14"/>
                </a:lnTo>
                <a:lnTo>
                  <a:pt x="204" y="12"/>
                </a:lnTo>
                <a:lnTo>
                  <a:pt x="206" y="0"/>
                </a:lnTo>
                <a:lnTo>
                  <a:pt x="212" y="0"/>
                </a:lnTo>
                <a:lnTo>
                  <a:pt x="212" y="12"/>
                </a:lnTo>
                <a:lnTo>
                  <a:pt x="218" y="14"/>
                </a:lnTo>
                <a:lnTo>
                  <a:pt x="224" y="16"/>
                </a:lnTo>
                <a:lnTo>
                  <a:pt x="232" y="8"/>
                </a:lnTo>
                <a:lnTo>
                  <a:pt x="238" y="14"/>
                </a:lnTo>
                <a:lnTo>
                  <a:pt x="232" y="22"/>
                </a:lnTo>
                <a:lnTo>
                  <a:pt x="236" y="28"/>
                </a:lnTo>
                <a:lnTo>
                  <a:pt x="238" y="32"/>
                </a:lnTo>
                <a:lnTo>
                  <a:pt x="276" y="32"/>
                </a:lnTo>
                <a:lnTo>
                  <a:pt x="250" y="6"/>
                </a:lnTo>
                <a:lnTo>
                  <a:pt x="280" y="6"/>
                </a:lnTo>
                <a:lnTo>
                  <a:pt x="320" y="44"/>
                </a:lnTo>
                <a:lnTo>
                  <a:pt x="280" y="82"/>
                </a:lnTo>
                <a:lnTo>
                  <a:pt x="250" y="82"/>
                </a:lnTo>
                <a:lnTo>
                  <a:pt x="278" y="54"/>
                </a:lnTo>
                <a:lnTo>
                  <a:pt x="238" y="54"/>
                </a:lnTo>
                <a:lnTo>
                  <a:pt x="236" y="58"/>
                </a:lnTo>
                <a:lnTo>
                  <a:pt x="244" y="64"/>
                </a:lnTo>
                <a:lnTo>
                  <a:pt x="242" y="70"/>
                </a:lnTo>
                <a:lnTo>
                  <a:pt x="230" y="64"/>
                </a:lnTo>
                <a:lnTo>
                  <a:pt x="222" y="70"/>
                </a:lnTo>
                <a:lnTo>
                  <a:pt x="212" y="74"/>
                </a:lnTo>
                <a:lnTo>
                  <a:pt x="210" y="86"/>
                </a:lnTo>
                <a:lnTo>
                  <a:pt x="204" y="86"/>
                </a:lnTo>
                <a:lnTo>
                  <a:pt x="204" y="74"/>
                </a:lnTo>
                <a:lnTo>
                  <a:pt x="198" y="72"/>
                </a:lnTo>
                <a:lnTo>
                  <a:pt x="192" y="70"/>
                </a:lnTo>
                <a:lnTo>
                  <a:pt x="184" y="76"/>
                </a:lnTo>
                <a:lnTo>
                  <a:pt x="178" y="72"/>
                </a:lnTo>
                <a:lnTo>
                  <a:pt x="184" y="64"/>
                </a:lnTo>
                <a:lnTo>
                  <a:pt x="180" y="56"/>
                </a:lnTo>
                <a:lnTo>
                  <a:pt x="296" y="6"/>
                </a:lnTo>
                <a:lnTo>
                  <a:pt x="26" y="50"/>
                </a:lnTo>
                <a:lnTo>
                  <a:pt x="26" y="44"/>
                </a:lnTo>
                <a:lnTo>
                  <a:pt x="26" y="38"/>
                </a:lnTo>
                <a:lnTo>
                  <a:pt x="28" y="32"/>
                </a:lnTo>
                <a:lnTo>
                  <a:pt x="34" y="28"/>
                </a:lnTo>
                <a:lnTo>
                  <a:pt x="40" y="28"/>
                </a:lnTo>
                <a:lnTo>
                  <a:pt x="46" y="28"/>
                </a:lnTo>
                <a:lnTo>
                  <a:pt x="50" y="30"/>
                </a:lnTo>
                <a:lnTo>
                  <a:pt x="54" y="36"/>
                </a:lnTo>
                <a:lnTo>
                  <a:pt x="56" y="42"/>
                </a:lnTo>
                <a:lnTo>
                  <a:pt x="56" y="48"/>
                </a:lnTo>
                <a:lnTo>
                  <a:pt x="52" y="52"/>
                </a:lnTo>
                <a:lnTo>
                  <a:pt x="48" y="56"/>
                </a:lnTo>
                <a:lnTo>
                  <a:pt x="42" y="58"/>
                </a:lnTo>
                <a:lnTo>
                  <a:pt x="36" y="58"/>
                </a:lnTo>
                <a:lnTo>
                  <a:pt x="30" y="54"/>
                </a:lnTo>
                <a:lnTo>
                  <a:pt x="26" y="50"/>
                </a:lnTo>
                <a:lnTo>
                  <a:pt x="296" y="6"/>
                </a:lnTo>
                <a:lnTo>
                  <a:pt x="110" y="50"/>
                </a:lnTo>
                <a:lnTo>
                  <a:pt x="108" y="44"/>
                </a:lnTo>
                <a:lnTo>
                  <a:pt x="110" y="38"/>
                </a:lnTo>
                <a:lnTo>
                  <a:pt x="112" y="32"/>
                </a:lnTo>
                <a:lnTo>
                  <a:pt x="118" y="28"/>
                </a:lnTo>
                <a:lnTo>
                  <a:pt x="124" y="28"/>
                </a:lnTo>
                <a:lnTo>
                  <a:pt x="128" y="28"/>
                </a:lnTo>
                <a:lnTo>
                  <a:pt x="134" y="30"/>
                </a:lnTo>
                <a:lnTo>
                  <a:pt x="138" y="36"/>
                </a:lnTo>
                <a:lnTo>
                  <a:pt x="140" y="42"/>
                </a:lnTo>
                <a:lnTo>
                  <a:pt x="138" y="48"/>
                </a:lnTo>
                <a:lnTo>
                  <a:pt x="136" y="52"/>
                </a:lnTo>
                <a:lnTo>
                  <a:pt x="132" y="56"/>
                </a:lnTo>
                <a:lnTo>
                  <a:pt x="126" y="58"/>
                </a:lnTo>
                <a:lnTo>
                  <a:pt x="120" y="58"/>
                </a:lnTo>
                <a:lnTo>
                  <a:pt x="114" y="54"/>
                </a:lnTo>
                <a:lnTo>
                  <a:pt x="110" y="50"/>
                </a:lnTo>
                <a:lnTo>
                  <a:pt x="296" y="6"/>
                </a:lnTo>
                <a:lnTo>
                  <a:pt x="194" y="50"/>
                </a:lnTo>
                <a:lnTo>
                  <a:pt x="192" y="44"/>
                </a:lnTo>
                <a:lnTo>
                  <a:pt x="194" y="38"/>
                </a:lnTo>
                <a:lnTo>
                  <a:pt x="196" y="32"/>
                </a:lnTo>
                <a:lnTo>
                  <a:pt x="200" y="28"/>
                </a:lnTo>
                <a:lnTo>
                  <a:pt x="206" y="28"/>
                </a:lnTo>
                <a:lnTo>
                  <a:pt x="212" y="28"/>
                </a:lnTo>
                <a:lnTo>
                  <a:pt x="218" y="30"/>
                </a:lnTo>
                <a:lnTo>
                  <a:pt x="222" y="36"/>
                </a:lnTo>
                <a:lnTo>
                  <a:pt x="222" y="42"/>
                </a:lnTo>
                <a:lnTo>
                  <a:pt x="222" y="48"/>
                </a:lnTo>
                <a:lnTo>
                  <a:pt x="220" y="52"/>
                </a:lnTo>
                <a:lnTo>
                  <a:pt x="214" y="56"/>
                </a:lnTo>
                <a:lnTo>
                  <a:pt x="208" y="58"/>
                </a:lnTo>
                <a:lnTo>
                  <a:pt x="202" y="58"/>
                </a:lnTo>
                <a:lnTo>
                  <a:pt x="198" y="54"/>
                </a:lnTo>
                <a:lnTo>
                  <a:pt x="194" y="50"/>
                </a:lnTo>
                <a:lnTo>
                  <a:pt x="296" y="6"/>
                </a:lnTo>
                <a:close/>
              </a:path>
            </a:pathLst>
          </a:custGeom>
          <a:solidFill>
            <a:srgbClr val="FFFFFF"/>
          </a:solidFill>
          <a:ln w="9525">
            <a:noFill/>
            <a:round/>
            <a:headEnd/>
            <a:tailEnd/>
          </a:ln>
        </p:spPr>
        <p:txBody>
          <a:bodyPr lIns="91432" tIns="45716" rIns="91432" bIns="45716"/>
          <a:lstStyle/>
          <a:p>
            <a:pPr defTabSz="684673"/>
            <a:endParaRPr lang="en-US">
              <a:solidFill>
                <a:srgbClr val="FFFFFF"/>
              </a:solidFill>
              <a:cs typeface="Arial" charset="0"/>
            </a:endParaRPr>
          </a:p>
        </p:txBody>
      </p:sp>
      <p:grpSp>
        <p:nvGrpSpPr>
          <p:cNvPr id="4" name="Group 167"/>
          <p:cNvGrpSpPr>
            <a:grpSpLocks/>
          </p:cNvGrpSpPr>
          <p:nvPr/>
        </p:nvGrpSpPr>
        <p:grpSpPr bwMode="auto">
          <a:xfrm>
            <a:off x="1620029" y="2393395"/>
            <a:ext cx="488283" cy="401241"/>
            <a:chOff x="2830513" y="1652588"/>
            <a:chExt cx="419100" cy="346075"/>
          </a:xfrm>
        </p:grpSpPr>
        <p:sp>
          <p:nvSpPr>
            <p:cNvPr id="68" name="AutoShape 3"/>
            <p:cNvSpPr>
              <a:spLocks noChangeAspect="1" noChangeArrowheads="1" noTextEdit="1"/>
            </p:cNvSpPr>
            <p:nvPr/>
          </p:nvSpPr>
          <p:spPr bwMode="auto">
            <a:xfrm>
              <a:off x="2830513" y="1652588"/>
              <a:ext cx="419100" cy="346075"/>
            </a:xfrm>
            <a:prstGeom prst="rect">
              <a:avLst/>
            </a:prstGeom>
            <a:noFill/>
            <a:ln w="9525">
              <a:noFill/>
              <a:miter lim="800000"/>
              <a:headEnd/>
              <a:tailEnd/>
            </a:ln>
          </p:spPr>
          <p:txBody>
            <a:bodyPr/>
            <a:lstStyle/>
            <a:p>
              <a:pPr defTabSz="684673">
                <a:defRPr/>
              </a:pPr>
              <a:endParaRPr lang="en-US" sz="1100" kern="0">
                <a:solidFill>
                  <a:srgbClr val="FFFFFF"/>
                </a:solidFill>
                <a:latin typeface="Segoe Light" charset="0"/>
                <a:cs typeface="Arial" charset="0"/>
              </a:endParaRPr>
            </a:p>
          </p:txBody>
        </p:sp>
        <p:sp>
          <p:nvSpPr>
            <p:cNvPr id="45112" name="Freeform 5"/>
            <p:cNvSpPr>
              <a:spLocks/>
            </p:cNvSpPr>
            <p:nvPr/>
          </p:nvSpPr>
          <p:spPr bwMode="auto">
            <a:xfrm>
              <a:off x="2856068" y="1684423"/>
              <a:ext cx="161507" cy="224897"/>
            </a:xfrm>
            <a:custGeom>
              <a:avLst/>
              <a:gdLst>
                <a:gd name="T0" fmla="*/ 2147483647 w 102"/>
                <a:gd name="T1" fmla="*/ 2147483647 h 142"/>
                <a:gd name="T2" fmla="*/ 2147483647 w 102"/>
                <a:gd name="T3" fmla="*/ 2147483647 h 142"/>
                <a:gd name="T4" fmla="*/ 2147483647 w 102"/>
                <a:gd name="T5" fmla="*/ 2147483647 h 142"/>
                <a:gd name="T6" fmla="*/ 0 w 102"/>
                <a:gd name="T7" fmla="*/ 2147483647 h 142"/>
                <a:gd name="T8" fmla="*/ 0 w 102"/>
                <a:gd name="T9" fmla="*/ 2147483647 h 142"/>
                <a:gd name="T10" fmla="*/ 2147483647 w 102"/>
                <a:gd name="T11" fmla="*/ 2147483647 h 142"/>
                <a:gd name="T12" fmla="*/ 2147483647 w 102"/>
                <a:gd name="T13" fmla="*/ 0 h 142"/>
                <a:gd name="T14" fmla="*/ 2147483647 w 102"/>
                <a:gd name="T15" fmla="*/ 0 h 142"/>
                <a:gd name="T16" fmla="*/ 2147483647 w 102"/>
                <a:gd name="T17" fmla="*/ 2147483647 h 142"/>
                <a:gd name="T18" fmla="*/ 2147483647 w 102"/>
                <a:gd name="T19" fmla="*/ 2147483647 h 142"/>
                <a:gd name="T20" fmla="*/ 2147483647 w 102"/>
                <a:gd name="T21" fmla="*/ 2147483647 h 142"/>
                <a:gd name="T22" fmla="*/ 2147483647 w 102"/>
                <a:gd name="T23" fmla="*/ 2147483647 h 142"/>
                <a:gd name="T24" fmla="*/ 2147483647 w 102"/>
                <a:gd name="T25" fmla="*/ 2147483647 h 142"/>
                <a:gd name="T26" fmla="*/ 2147483647 w 102"/>
                <a:gd name="T27" fmla="*/ 2147483647 h 142"/>
                <a:gd name="T28" fmla="*/ 2147483647 w 102"/>
                <a:gd name="T29" fmla="*/ 2147483647 h 142"/>
                <a:gd name="T30" fmla="*/ 2147483647 w 102"/>
                <a:gd name="T31" fmla="*/ 2147483647 h 142"/>
                <a:gd name="T32" fmla="*/ 2147483647 w 102"/>
                <a:gd name="T33" fmla="*/ 2147483647 h 142"/>
                <a:gd name="T34" fmla="*/ 2147483647 w 102"/>
                <a:gd name="T35" fmla="*/ 2147483647 h 142"/>
                <a:gd name="T36" fmla="*/ 2147483647 w 102"/>
                <a:gd name="T37" fmla="*/ 2147483647 h 142"/>
                <a:gd name="T38" fmla="*/ 2147483647 w 102"/>
                <a:gd name="T39" fmla="*/ 2147483647 h 142"/>
                <a:gd name="T40" fmla="*/ 2147483647 w 102"/>
                <a:gd name="T41" fmla="*/ 2147483647 h 142"/>
                <a:gd name="T42" fmla="*/ 2147483647 w 102"/>
                <a:gd name="T43" fmla="*/ 2147483647 h 142"/>
                <a:gd name="T44" fmla="*/ 2147483647 w 102"/>
                <a:gd name="T45" fmla="*/ 2147483647 h 142"/>
                <a:gd name="T46" fmla="*/ 2147483647 w 102"/>
                <a:gd name="T47" fmla="*/ 2147483647 h 142"/>
                <a:gd name="T48" fmla="*/ 2147483647 w 102"/>
                <a:gd name="T49" fmla="*/ 2147483647 h 142"/>
                <a:gd name="T50" fmla="*/ 2147483647 w 102"/>
                <a:gd name="T51" fmla="*/ 2147483647 h 142"/>
                <a:gd name="T52" fmla="*/ 2147483647 w 102"/>
                <a:gd name="T53" fmla="*/ 2147483647 h 142"/>
                <a:gd name="T54" fmla="*/ 2147483647 w 102"/>
                <a:gd name="T55" fmla="*/ 2147483647 h 142"/>
                <a:gd name="T56" fmla="*/ 2147483647 w 102"/>
                <a:gd name="T57" fmla="*/ 2147483647 h 142"/>
                <a:gd name="T58" fmla="*/ 2147483647 w 102"/>
                <a:gd name="T59" fmla="*/ 2147483647 h 142"/>
                <a:gd name="T60" fmla="*/ 2147483647 w 102"/>
                <a:gd name="T61" fmla="*/ 2147483647 h 142"/>
                <a:gd name="T62" fmla="*/ 2147483647 w 102"/>
                <a:gd name="T63" fmla="*/ 2147483647 h 142"/>
                <a:gd name="T64" fmla="*/ 2147483647 w 102"/>
                <a:gd name="T65" fmla="*/ 2147483647 h 142"/>
                <a:gd name="T66" fmla="*/ 2147483647 w 102"/>
                <a:gd name="T67" fmla="*/ 2147483647 h 142"/>
                <a:gd name="T68" fmla="*/ 2147483647 w 102"/>
                <a:gd name="T69" fmla="*/ 2147483647 h 142"/>
                <a:gd name="T70" fmla="*/ 2147483647 w 102"/>
                <a:gd name="T71" fmla="*/ 2147483647 h 142"/>
                <a:gd name="T72" fmla="*/ 2147483647 w 102"/>
                <a:gd name="T73" fmla="*/ 2147483647 h 142"/>
                <a:gd name="T74" fmla="*/ 2147483647 w 102"/>
                <a:gd name="T75" fmla="*/ 2147483647 h 142"/>
                <a:gd name="T76" fmla="*/ 2147483647 w 102"/>
                <a:gd name="T77" fmla="*/ 2147483647 h 142"/>
                <a:gd name="T78" fmla="*/ 2147483647 w 102"/>
                <a:gd name="T79" fmla="*/ 2147483647 h 142"/>
                <a:gd name="T80" fmla="*/ 2147483647 w 102"/>
                <a:gd name="T81" fmla="*/ 2147483647 h 142"/>
                <a:gd name="T82" fmla="*/ 2147483647 w 102"/>
                <a:gd name="T83" fmla="*/ 2147483647 h 142"/>
                <a:gd name="T84" fmla="*/ 2147483647 w 102"/>
                <a:gd name="T85" fmla="*/ 2147483647 h 142"/>
                <a:gd name="T86" fmla="*/ 2147483647 w 102"/>
                <a:gd name="T87" fmla="*/ 2147483647 h 142"/>
                <a:gd name="T88" fmla="*/ 2147483647 w 102"/>
                <a:gd name="T89" fmla="*/ 2147483647 h 142"/>
                <a:gd name="T90" fmla="*/ 2147483647 w 102"/>
                <a:gd name="T91" fmla="*/ 2147483647 h 142"/>
                <a:gd name="T92" fmla="*/ 2147483647 w 102"/>
                <a:gd name="T93" fmla="*/ 2147483647 h 142"/>
                <a:gd name="T94" fmla="*/ 2147483647 w 102"/>
                <a:gd name="T95" fmla="*/ 2147483647 h 142"/>
                <a:gd name="T96" fmla="*/ 2147483647 w 102"/>
                <a:gd name="T97" fmla="*/ 2147483647 h 142"/>
                <a:gd name="T98" fmla="*/ 2147483647 w 102"/>
                <a:gd name="T99" fmla="*/ 2147483647 h 142"/>
                <a:gd name="T100" fmla="*/ 2147483647 w 102"/>
                <a:gd name="T101" fmla="*/ 2147483647 h 142"/>
                <a:gd name="T102" fmla="*/ 2147483647 w 102"/>
                <a:gd name="T103" fmla="*/ 2147483647 h 142"/>
                <a:gd name="T104" fmla="*/ 2147483647 w 102"/>
                <a:gd name="T105" fmla="*/ 2147483647 h 142"/>
                <a:gd name="T106" fmla="*/ 2147483647 w 102"/>
                <a:gd name="T107" fmla="*/ 2147483647 h 142"/>
                <a:gd name="T108" fmla="*/ 2147483647 w 102"/>
                <a:gd name="T109" fmla="*/ 2147483647 h 142"/>
                <a:gd name="T110" fmla="*/ 2147483647 w 102"/>
                <a:gd name="T111" fmla="*/ 2147483647 h 142"/>
                <a:gd name="T112" fmla="*/ 2147483647 w 102"/>
                <a:gd name="T113" fmla="*/ 2147483647 h 142"/>
                <a:gd name="T114" fmla="*/ 2147483647 w 102"/>
                <a:gd name="T115" fmla="*/ 2147483647 h 142"/>
                <a:gd name="T116" fmla="*/ 2147483647 w 102"/>
                <a:gd name="T117" fmla="*/ 2147483647 h 142"/>
                <a:gd name="T118" fmla="*/ 2147483647 w 102"/>
                <a:gd name="T119" fmla="*/ 2147483647 h 142"/>
                <a:gd name="T120" fmla="*/ 2147483647 w 102"/>
                <a:gd name="T121" fmla="*/ 2147483647 h 14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02"/>
                <a:gd name="T184" fmla="*/ 0 h 142"/>
                <a:gd name="T185" fmla="*/ 102 w 102"/>
                <a:gd name="T186" fmla="*/ 142 h 14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02" h="142">
                  <a:moveTo>
                    <a:pt x="94" y="142"/>
                  </a:moveTo>
                  <a:lnTo>
                    <a:pt x="6" y="142"/>
                  </a:lnTo>
                  <a:lnTo>
                    <a:pt x="2" y="140"/>
                  </a:lnTo>
                  <a:lnTo>
                    <a:pt x="0" y="134"/>
                  </a:lnTo>
                  <a:lnTo>
                    <a:pt x="0" y="8"/>
                  </a:lnTo>
                  <a:lnTo>
                    <a:pt x="2" y="2"/>
                  </a:lnTo>
                  <a:lnTo>
                    <a:pt x="6" y="0"/>
                  </a:lnTo>
                  <a:lnTo>
                    <a:pt x="94" y="0"/>
                  </a:lnTo>
                  <a:lnTo>
                    <a:pt x="100" y="2"/>
                  </a:lnTo>
                  <a:lnTo>
                    <a:pt x="102" y="8"/>
                  </a:lnTo>
                  <a:lnTo>
                    <a:pt x="102" y="134"/>
                  </a:lnTo>
                  <a:lnTo>
                    <a:pt x="100" y="140"/>
                  </a:lnTo>
                  <a:lnTo>
                    <a:pt x="94" y="142"/>
                  </a:lnTo>
                  <a:lnTo>
                    <a:pt x="86" y="74"/>
                  </a:lnTo>
                  <a:lnTo>
                    <a:pt x="88" y="72"/>
                  </a:lnTo>
                  <a:lnTo>
                    <a:pt x="90" y="70"/>
                  </a:lnTo>
                  <a:lnTo>
                    <a:pt x="88" y="66"/>
                  </a:lnTo>
                  <a:lnTo>
                    <a:pt x="86" y="66"/>
                  </a:lnTo>
                  <a:lnTo>
                    <a:pt x="18" y="66"/>
                  </a:lnTo>
                  <a:lnTo>
                    <a:pt x="14" y="66"/>
                  </a:lnTo>
                  <a:lnTo>
                    <a:pt x="14" y="70"/>
                  </a:lnTo>
                  <a:lnTo>
                    <a:pt x="14" y="72"/>
                  </a:lnTo>
                  <a:lnTo>
                    <a:pt x="18" y="74"/>
                  </a:lnTo>
                  <a:lnTo>
                    <a:pt x="86" y="74"/>
                  </a:lnTo>
                  <a:lnTo>
                    <a:pt x="94" y="142"/>
                  </a:lnTo>
                  <a:lnTo>
                    <a:pt x="86" y="48"/>
                  </a:lnTo>
                  <a:lnTo>
                    <a:pt x="88" y="46"/>
                  </a:lnTo>
                  <a:lnTo>
                    <a:pt x="90" y="44"/>
                  </a:lnTo>
                  <a:lnTo>
                    <a:pt x="88" y="40"/>
                  </a:lnTo>
                  <a:lnTo>
                    <a:pt x="86" y="40"/>
                  </a:lnTo>
                  <a:lnTo>
                    <a:pt x="18" y="40"/>
                  </a:lnTo>
                  <a:lnTo>
                    <a:pt x="14" y="40"/>
                  </a:lnTo>
                  <a:lnTo>
                    <a:pt x="14" y="44"/>
                  </a:lnTo>
                  <a:lnTo>
                    <a:pt x="14" y="46"/>
                  </a:lnTo>
                  <a:lnTo>
                    <a:pt x="18" y="48"/>
                  </a:lnTo>
                  <a:lnTo>
                    <a:pt x="86" y="48"/>
                  </a:lnTo>
                  <a:lnTo>
                    <a:pt x="94" y="142"/>
                  </a:lnTo>
                  <a:lnTo>
                    <a:pt x="86" y="100"/>
                  </a:lnTo>
                  <a:lnTo>
                    <a:pt x="18" y="100"/>
                  </a:lnTo>
                  <a:lnTo>
                    <a:pt x="14" y="100"/>
                  </a:lnTo>
                  <a:lnTo>
                    <a:pt x="14" y="96"/>
                  </a:lnTo>
                  <a:lnTo>
                    <a:pt x="14" y="94"/>
                  </a:lnTo>
                  <a:lnTo>
                    <a:pt x="18" y="92"/>
                  </a:lnTo>
                  <a:lnTo>
                    <a:pt x="86" y="92"/>
                  </a:lnTo>
                  <a:lnTo>
                    <a:pt x="88" y="94"/>
                  </a:lnTo>
                  <a:lnTo>
                    <a:pt x="90" y="96"/>
                  </a:lnTo>
                  <a:lnTo>
                    <a:pt x="88" y="100"/>
                  </a:lnTo>
                  <a:lnTo>
                    <a:pt x="86" y="100"/>
                  </a:lnTo>
                  <a:lnTo>
                    <a:pt x="94" y="142"/>
                  </a:lnTo>
                  <a:lnTo>
                    <a:pt x="86" y="128"/>
                  </a:lnTo>
                  <a:lnTo>
                    <a:pt x="18" y="128"/>
                  </a:lnTo>
                  <a:lnTo>
                    <a:pt x="14" y="126"/>
                  </a:lnTo>
                  <a:lnTo>
                    <a:pt x="14" y="124"/>
                  </a:lnTo>
                  <a:lnTo>
                    <a:pt x="14" y="120"/>
                  </a:lnTo>
                  <a:lnTo>
                    <a:pt x="18" y="120"/>
                  </a:lnTo>
                  <a:lnTo>
                    <a:pt x="86" y="120"/>
                  </a:lnTo>
                  <a:lnTo>
                    <a:pt x="88" y="120"/>
                  </a:lnTo>
                  <a:lnTo>
                    <a:pt x="90" y="124"/>
                  </a:lnTo>
                  <a:lnTo>
                    <a:pt x="88" y="126"/>
                  </a:lnTo>
                  <a:lnTo>
                    <a:pt x="86" y="128"/>
                  </a:lnTo>
                  <a:lnTo>
                    <a:pt x="94" y="142"/>
                  </a:lnTo>
                  <a:close/>
                </a:path>
              </a:pathLst>
            </a:custGeom>
            <a:solidFill>
              <a:srgbClr val="FFFFFF"/>
            </a:solidFill>
            <a:ln w="9525">
              <a:noFill/>
              <a:round/>
              <a:headEnd/>
              <a:tailEnd/>
            </a:ln>
          </p:spPr>
          <p:txBody>
            <a:bodyPr/>
            <a:lstStyle/>
            <a:p>
              <a:pPr defTabSz="684673"/>
              <a:endParaRPr lang="en-US" sz="1100">
                <a:solidFill>
                  <a:srgbClr val="FFFFFF"/>
                </a:solidFill>
                <a:cs typeface="Arial" charset="0"/>
              </a:endParaRPr>
            </a:p>
          </p:txBody>
        </p:sp>
        <p:sp>
          <p:nvSpPr>
            <p:cNvPr id="45113" name="Freeform 6"/>
            <p:cNvSpPr>
              <a:spLocks/>
            </p:cNvSpPr>
            <p:nvPr/>
          </p:nvSpPr>
          <p:spPr bwMode="auto">
            <a:xfrm>
              <a:off x="2830513" y="1652588"/>
              <a:ext cx="419100" cy="346075"/>
            </a:xfrm>
            <a:custGeom>
              <a:avLst/>
              <a:gdLst>
                <a:gd name="T0" fmla="*/ 2147483647 w 264"/>
                <a:gd name="T1" fmla="*/ 2147483647 h 218"/>
                <a:gd name="T2" fmla="*/ 2147483647 w 264"/>
                <a:gd name="T3" fmla="*/ 2147483647 h 218"/>
                <a:gd name="T4" fmla="*/ 2147483647 w 264"/>
                <a:gd name="T5" fmla="*/ 2147483647 h 218"/>
                <a:gd name="T6" fmla="*/ 2147483647 w 264"/>
                <a:gd name="T7" fmla="*/ 2147483647 h 218"/>
                <a:gd name="T8" fmla="*/ 2147483647 w 264"/>
                <a:gd name="T9" fmla="*/ 2147483647 h 218"/>
                <a:gd name="T10" fmla="*/ 2147483647 w 264"/>
                <a:gd name="T11" fmla="*/ 2147483647 h 218"/>
                <a:gd name="T12" fmla="*/ 2147483647 w 264"/>
                <a:gd name="T13" fmla="*/ 2147483647 h 218"/>
                <a:gd name="T14" fmla="*/ 2147483647 w 264"/>
                <a:gd name="T15" fmla="*/ 2147483647 h 218"/>
                <a:gd name="T16" fmla="*/ 2147483647 w 264"/>
                <a:gd name="T17" fmla="*/ 2147483647 h 218"/>
                <a:gd name="T18" fmla="*/ 2147483647 w 264"/>
                <a:gd name="T19" fmla="*/ 2147483647 h 218"/>
                <a:gd name="T20" fmla="*/ 2147483647 w 264"/>
                <a:gd name="T21" fmla="*/ 2147483647 h 218"/>
                <a:gd name="T22" fmla="*/ 2147483647 w 264"/>
                <a:gd name="T23" fmla="*/ 2147483647 h 218"/>
                <a:gd name="T24" fmla="*/ 2147483647 w 264"/>
                <a:gd name="T25" fmla="*/ 2147483647 h 218"/>
                <a:gd name="T26" fmla="*/ 2147483647 w 264"/>
                <a:gd name="T27" fmla="*/ 2147483647 h 218"/>
                <a:gd name="T28" fmla="*/ 2147483647 w 264"/>
                <a:gd name="T29" fmla="*/ 2147483647 h 218"/>
                <a:gd name="T30" fmla="*/ 2147483647 w 264"/>
                <a:gd name="T31" fmla="*/ 2147483647 h 218"/>
                <a:gd name="T32" fmla="*/ 2147483647 w 264"/>
                <a:gd name="T33" fmla="*/ 2147483647 h 218"/>
                <a:gd name="T34" fmla="*/ 2147483647 w 264"/>
                <a:gd name="T35" fmla="*/ 2147483647 h 218"/>
                <a:gd name="T36" fmla="*/ 2147483647 w 264"/>
                <a:gd name="T37" fmla="*/ 2147483647 h 218"/>
                <a:gd name="T38" fmla="*/ 2147483647 w 264"/>
                <a:gd name="T39" fmla="*/ 2147483647 h 218"/>
                <a:gd name="T40" fmla="*/ 2147483647 w 264"/>
                <a:gd name="T41" fmla="*/ 2147483647 h 218"/>
                <a:gd name="T42" fmla="*/ 2147483647 w 264"/>
                <a:gd name="T43" fmla="*/ 2147483647 h 218"/>
                <a:gd name="T44" fmla="*/ 2147483647 w 264"/>
                <a:gd name="T45" fmla="*/ 2147483647 h 218"/>
                <a:gd name="T46" fmla="*/ 2147483647 w 264"/>
                <a:gd name="T47" fmla="*/ 2147483647 h 218"/>
                <a:gd name="T48" fmla="*/ 2147483647 w 264"/>
                <a:gd name="T49" fmla="*/ 2147483647 h 218"/>
                <a:gd name="T50" fmla="*/ 2147483647 w 264"/>
                <a:gd name="T51" fmla="*/ 2147483647 h 218"/>
                <a:gd name="T52" fmla="*/ 2147483647 w 264"/>
                <a:gd name="T53" fmla="*/ 2147483647 h 218"/>
                <a:gd name="T54" fmla="*/ 2147483647 w 264"/>
                <a:gd name="T55" fmla="*/ 2147483647 h 218"/>
                <a:gd name="T56" fmla="*/ 2147483647 w 264"/>
                <a:gd name="T57" fmla="*/ 2147483647 h 218"/>
                <a:gd name="T58" fmla="*/ 2147483647 w 264"/>
                <a:gd name="T59" fmla="*/ 2147483647 h 218"/>
                <a:gd name="T60" fmla="*/ 2147483647 w 264"/>
                <a:gd name="T61" fmla="*/ 2147483647 h 218"/>
                <a:gd name="T62" fmla="*/ 2147483647 w 264"/>
                <a:gd name="T63" fmla="*/ 2147483647 h 218"/>
                <a:gd name="T64" fmla="*/ 2147483647 w 264"/>
                <a:gd name="T65" fmla="*/ 2147483647 h 218"/>
                <a:gd name="T66" fmla="*/ 2147483647 w 264"/>
                <a:gd name="T67" fmla="*/ 2147483647 h 218"/>
                <a:gd name="T68" fmla="*/ 0 w 264"/>
                <a:gd name="T69" fmla="*/ 2147483647 h 218"/>
                <a:gd name="T70" fmla="*/ 2147483647 w 264"/>
                <a:gd name="T71" fmla="*/ 2147483647 h 218"/>
                <a:gd name="T72" fmla="*/ 2147483647 w 264"/>
                <a:gd name="T73" fmla="*/ 0 h 218"/>
                <a:gd name="T74" fmla="*/ 2147483647 w 264"/>
                <a:gd name="T75" fmla="*/ 2147483647 h 218"/>
                <a:gd name="T76" fmla="*/ 2147483647 w 264"/>
                <a:gd name="T77" fmla="*/ 2147483647 h 218"/>
                <a:gd name="T78" fmla="*/ 2147483647 w 264"/>
                <a:gd name="T79" fmla="*/ 2147483647 h 218"/>
                <a:gd name="T80" fmla="*/ 2147483647 w 264"/>
                <a:gd name="T81" fmla="*/ 2147483647 h 21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64"/>
                <a:gd name="T124" fmla="*/ 0 h 218"/>
                <a:gd name="T125" fmla="*/ 264 w 264"/>
                <a:gd name="T126" fmla="*/ 218 h 21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64" h="218">
                  <a:moveTo>
                    <a:pt x="238" y="116"/>
                  </a:moveTo>
                  <a:lnTo>
                    <a:pt x="172" y="108"/>
                  </a:lnTo>
                  <a:lnTo>
                    <a:pt x="198" y="168"/>
                  </a:lnTo>
                  <a:lnTo>
                    <a:pt x="206" y="144"/>
                  </a:lnTo>
                  <a:lnTo>
                    <a:pt x="254" y="180"/>
                  </a:lnTo>
                  <a:lnTo>
                    <a:pt x="256" y="180"/>
                  </a:lnTo>
                  <a:lnTo>
                    <a:pt x="260" y="178"/>
                  </a:lnTo>
                  <a:lnTo>
                    <a:pt x="262" y="176"/>
                  </a:lnTo>
                  <a:lnTo>
                    <a:pt x="262" y="174"/>
                  </a:lnTo>
                  <a:lnTo>
                    <a:pt x="264" y="172"/>
                  </a:lnTo>
                  <a:lnTo>
                    <a:pt x="262" y="168"/>
                  </a:lnTo>
                  <a:lnTo>
                    <a:pt x="216" y="134"/>
                  </a:lnTo>
                  <a:lnTo>
                    <a:pt x="238" y="116"/>
                  </a:lnTo>
                  <a:lnTo>
                    <a:pt x="156" y="14"/>
                  </a:lnTo>
                  <a:lnTo>
                    <a:pt x="176" y="14"/>
                  </a:lnTo>
                  <a:lnTo>
                    <a:pt x="176" y="16"/>
                  </a:lnTo>
                  <a:lnTo>
                    <a:pt x="156" y="16"/>
                  </a:lnTo>
                  <a:lnTo>
                    <a:pt x="156" y="14"/>
                  </a:lnTo>
                  <a:lnTo>
                    <a:pt x="238" y="116"/>
                  </a:lnTo>
                  <a:lnTo>
                    <a:pt x="156" y="18"/>
                  </a:lnTo>
                  <a:lnTo>
                    <a:pt x="176" y="18"/>
                  </a:lnTo>
                  <a:lnTo>
                    <a:pt x="176" y="32"/>
                  </a:lnTo>
                  <a:lnTo>
                    <a:pt x="156" y="32"/>
                  </a:lnTo>
                  <a:lnTo>
                    <a:pt x="156" y="18"/>
                  </a:lnTo>
                  <a:lnTo>
                    <a:pt x="238" y="116"/>
                  </a:lnTo>
                  <a:lnTo>
                    <a:pt x="142" y="30"/>
                  </a:lnTo>
                  <a:lnTo>
                    <a:pt x="118" y="30"/>
                  </a:lnTo>
                  <a:lnTo>
                    <a:pt x="118" y="28"/>
                  </a:lnTo>
                  <a:lnTo>
                    <a:pt x="142" y="28"/>
                  </a:lnTo>
                  <a:lnTo>
                    <a:pt x="142" y="30"/>
                  </a:lnTo>
                  <a:lnTo>
                    <a:pt x="238" y="116"/>
                  </a:lnTo>
                  <a:lnTo>
                    <a:pt x="192" y="30"/>
                  </a:lnTo>
                  <a:lnTo>
                    <a:pt x="198" y="22"/>
                  </a:lnTo>
                  <a:lnTo>
                    <a:pt x="192" y="16"/>
                  </a:lnTo>
                  <a:lnTo>
                    <a:pt x="198" y="16"/>
                  </a:lnTo>
                  <a:lnTo>
                    <a:pt x="200" y="20"/>
                  </a:lnTo>
                  <a:lnTo>
                    <a:pt x="202" y="16"/>
                  </a:lnTo>
                  <a:lnTo>
                    <a:pt x="206" y="16"/>
                  </a:lnTo>
                  <a:lnTo>
                    <a:pt x="202" y="22"/>
                  </a:lnTo>
                  <a:lnTo>
                    <a:pt x="208" y="30"/>
                  </a:lnTo>
                  <a:lnTo>
                    <a:pt x="202" y="30"/>
                  </a:lnTo>
                  <a:lnTo>
                    <a:pt x="200" y="26"/>
                  </a:lnTo>
                  <a:lnTo>
                    <a:pt x="196" y="30"/>
                  </a:lnTo>
                  <a:lnTo>
                    <a:pt x="192" y="30"/>
                  </a:lnTo>
                  <a:lnTo>
                    <a:pt x="238" y="116"/>
                  </a:lnTo>
                  <a:lnTo>
                    <a:pt x="216" y="40"/>
                  </a:lnTo>
                  <a:lnTo>
                    <a:pt x="8" y="40"/>
                  </a:lnTo>
                  <a:lnTo>
                    <a:pt x="8" y="196"/>
                  </a:lnTo>
                  <a:lnTo>
                    <a:pt x="10" y="202"/>
                  </a:lnTo>
                  <a:lnTo>
                    <a:pt x="12" y="206"/>
                  </a:lnTo>
                  <a:lnTo>
                    <a:pt x="18" y="210"/>
                  </a:lnTo>
                  <a:lnTo>
                    <a:pt x="24" y="210"/>
                  </a:lnTo>
                  <a:lnTo>
                    <a:pt x="202" y="210"/>
                  </a:lnTo>
                  <a:lnTo>
                    <a:pt x="208" y="210"/>
                  </a:lnTo>
                  <a:lnTo>
                    <a:pt x="212" y="206"/>
                  </a:lnTo>
                  <a:lnTo>
                    <a:pt x="216" y="202"/>
                  </a:lnTo>
                  <a:lnTo>
                    <a:pt x="216" y="196"/>
                  </a:lnTo>
                  <a:lnTo>
                    <a:pt x="216" y="162"/>
                  </a:lnTo>
                  <a:lnTo>
                    <a:pt x="224" y="168"/>
                  </a:lnTo>
                  <a:lnTo>
                    <a:pt x="224" y="196"/>
                  </a:lnTo>
                  <a:lnTo>
                    <a:pt x="222" y="204"/>
                  </a:lnTo>
                  <a:lnTo>
                    <a:pt x="218" y="212"/>
                  </a:lnTo>
                  <a:lnTo>
                    <a:pt x="210" y="216"/>
                  </a:lnTo>
                  <a:lnTo>
                    <a:pt x="202" y="218"/>
                  </a:lnTo>
                  <a:lnTo>
                    <a:pt x="24" y="218"/>
                  </a:lnTo>
                  <a:lnTo>
                    <a:pt x="14" y="216"/>
                  </a:lnTo>
                  <a:lnTo>
                    <a:pt x="8" y="212"/>
                  </a:lnTo>
                  <a:lnTo>
                    <a:pt x="2" y="204"/>
                  </a:lnTo>
                  <a:lnTo>
                    <a:pt x="0" y="196"/>
                  </a:lnTo>
                  <a:lnTo>
                    <a:pt x="0" y="24"/>
                  </a:lnTo>
                  <a:lnTo>
                    <a:pt x="2" y="14"/>
                  </a:lnTo>
                  <a:lnTo>
                    <a:pt x="8" y="8"/>
                  </a:lnTo>
                  <a:lnTo>
                    <a:pt x="14" y="2"/>
                  </a:lnTo>
                  <a:lnTo>
                    <a:pt x="24" y="0"/>
                  </a:lnTo>
                  <a:lnTo>
                    <a:pt x="202" y="0"/>
                  </a:lnTo>
                  <a:lnTo>
                    <a:pt x="210" y="2"/>
                  </a:lnTo>
                  <a:lnTo>
                    <a:pt x="218" y="8"/>
                  </a:lnTo>
                  <a:lnTo>
                    <a:pt x="222" y="14"/>
                  </a:lnTo>
                  <a:lnTo>
                    <a:pt x="224" y="24"/>
                  </a:lnTo>
                  <a:lnTo>
                    <a:pt x="224" y="108"/>
                  </a:lnTo>
                  <a:lnTo>
                    <a:pt x="216" y="106"/>
                  </a:lnTo>
                  <a:lnTo>
                    <a:pt x="216" y="40"/>
                  </a:lnTo>
                  <a:lnTo>
                    <a:pt x="238" y="116"/>
                  </a:lnTo>
                  <a:close/>
                </a:path>
              </a:pathLst>
            </a:custGeom>
            <a:solidFill>
              <a:srgbClr val="FFFFFF"/>
            </a:solidFill>
            <a:ln w="9525">
              <a:noFill/>
              <a:round/>
              <a:headEnd/>
              <a:tailEnd/>
            </a:ln>
          </p:spPr>
          <p:txBody>
            <a:bodyPr/>
            <a:lstStyle/>
            <a:p>
              <a:pPr defTabSz="684673"/>
              <a:endParaRPr lang="en-US" sz="1100">
                <a:solidFill>
                  <a:srgbClr val="FFFFFF"/>
                </a:solidFill>
                <a:cs typeface="Arial" charset="0"/>
              </a:endParaRPr>
            </a:p>
          </p:txBody>
        </p:sp>
      </p:grpSp>
      <p:grpSp>
        <p:nvGrpSpPr>
          <p:cNvPr id="5" name="Group 11"/>
          <p:cNvGrpSpPr>
            <a:grpSpLocks/>
          </p:cNvGrpSpPr>
          <p:nvPr/>
        </p:nvGrpSpPr>
        <p:grpSpPr bwMode="auto">
          <a:xfrm>
            <a:off x="5257980" y="971552"/>
            <a:ext cx="1909069" cy="1232297"/>
            <a:chOff x="4294" y="1066"/>
            <a:chExt cx="1604" cy="1350"/>
          </a:xfrm>
        </p:grpSpPr>
        <p:sp>
          <p:nvSpPr>
            <p:cNvPr id="77" name="Right Arrow 76"/>
            <p:cNvSpPr>
              <a:spLocks noChangeArrowheads="1"/>
            </p:cNvSpPr>
            <p:nvPr/>
          </p:nvSpPr>
          <p:spPr bwMode="auto">
            <a:xfrm>
              <a:off x="4294" y="1066"/>
              <a:ext cx="1604" cy="1350"/>
            </a:xfrm>
            <a:prstGeom prst="rightArrow">
              <a:avLst>
                <a:gd name="adj1" fmla="val 50000"/>
                <a:gd name="adj2" fmla="val 49985"/>
              </a:avLst>
            </a:prstGeom>
            <a:gradFill rotWithShape="1">
              <a:gsLst>
                <a:gs pos="0">
                  <a:schemeClr val="bg1">
                    <a:gamma/>
                    <a:tint val="0"/>
                    <a:invGamma/>
                    <a:alpha val="0"/>
                  </a:schemeClr>
                </a:gs>
                <a:gs pos="100000">
                  <a:schemeClr val="bg1">
                    <a:alpha val="50000"/>
                  </a:schemeClr>
                </a:gs>
              </a:gsLst>
              <a:lin ang="0" scaled="1"/>
            </a:gradFill>
            <a:ln w="9525" algn="ctr">
              <a:noFill/>
              <a:miter lim="800000"/>
              <a:headEnd/>
              <a:tailEnd/>
            </a:ln>
          </p:spPr>
          <p:txBody>
            <a:bodyPr lIns="109833" tIns="0" rIns="0" bIns="54916" anchor="ctr"/>
            <a:lstStyle/>
            <a:p>
              <a:pPr defTabSz="822797">
                <a:defRPr/>
              </a:pPr>
              <a:endParaRPr lang="en-US" sz="1200" b="1">
                <a:solidFill>
                  <a:prstClr val="black"/>
                </a:solidFill>
              </a:endParaRPr>
            </a:p>
          </p:txBody>
        </p:sp>
        <p:sp>
          <p:nvSpPr>
            <p:cNvPr id="45109" name="Text Box 13"/>
            <p:cNvSpPr txBox="1">
              <a:spLocks noChangeArrowheads="1"/>
            </p:cNvSpPr>
            <p:nvPr/>
          </p:nvSpPr>
          <p:spPr bwMode="auto">
            <a:xfrm>
              <a:off x="4584" y="1800"/>
              <a:ext cx="879" cy="149"/>
            </a:xfrm>
            <a:prstGeom prst="rect">
              <a:avLst/>
            </a:prstGeom>
            <a:noFill/>
            <a:ln w="9525">
              <a:noFill/>
              <a:miter lim="800000"/>
              <a:headEnd/>
              <a:tailEnd/>
            </a:ln>
          </p:spPr>
          <p:txBody>
            <a:bodyPr lIns="109833" tIns="0" rIns="109833" bIns="54916" anchor="ctr"/>
            <a:lstStyle/>
            <a:p>
              <a:pPr algn="ctr" defTabSz="822797"/>
              <a:r>
                <a:rPr lang="en-US" sz="1100" dirty="0">
                  <a:solidFill>
                    <a:srgbClr val="FFFFFF"/>
                  </a:solidFill>
                </a:rPr>
                <a:t>Deploy</a:t>
              </a:r>
            </a:p>
          </p:txBody>
        </p:sp>
        <p:sp>
          <p:nvSpPr>
            <p:cNvPr id="45110" name="Text Box 14"/>
            <p:cNvSpPr txBox="1">
              <a:spLocks noChangeArrowheads="1"/>
            </p:cNvSpPr>
            <p:nvPr/>
          </p:nvSpPr>
          <p:spPr bwMode="auto">
            <a:xfrm>
              <a:off x="4584" y="1559"/>
              <a:ext cx="879" cy="149"/>
            </a:xfrm>
            <a:prstGeom prst="rect">
              <a:avLst/>
            </a:prstGeom>
            <a:noFill/>
            <a:ln w="9525">
              <a:noFill/>
              <a:miter lim="800000"/>
              <a:headEnd/>
              <a:tailEnd/>
            </a:ln>
          </p:spPr>
          <p:txBody>
            <a:bodyPr lIns="109833" tIns="0" rIns="109833" bIns="54916" anchor="ctr"/>
            <a:lstStyle/>
            <a:p>
              <a:pPr algn="ctr" defTabSz="822797"/>
              <a:r>
                <a:rPr lang="en-US" sz="1100" dirty="0">
                  <a:solidFill>
                    <a:srgbClr val="FFFFFF"/>
                  </a:solidFill>
                </a:rPr>
                <a:t>Configure</a:t>
              </a:r>
            </a:p>
          </p:txBody>
        </p:sp>
      </p:grpSp>
      <p:grpSp>
        <p:nvGrpSpPr>
          <p:cNvPr id="7" name="Group 43"/>
          <p:cNvGrpSpPr>
            <a:grpSpLocks/>
          </p:cNvGrpSpPr>
          <p:nvPr/>
        </p:nvGrpSpPr>
        <p:grpSpPr bwMode="auto">
          <a:xfrm>
            <a:off x="2336854" y="2103835"/>
            <a:ext cx="1404113" cy="1278731"/>
            <a:chOff x="1824" y="1824"/>
            <a:chExt cx="1275" cy="1074"/>
          </a:xfrm>
        </p:grpSpPr>
        <p:sp>
          <p:nvSpPr>
            <p:cNvPr id="45105" name="Text Box 44"/>
            <p:cNvSpPr txBox="1">
              <a:spLocks noChangeArrowheads="1"/>
            </p:cNvSpPr>
            <p:nvPr/>
          </p:nvSpPr>
          <p:spPr bwMode="auto">
            <a:xfrm>
              <a:off x="2063" y="2208"/>
              <a:ext cx="684" cy="316"/>
            </a:xfrm>
            <a:prstGeom prst="rect">
              <a:avLst/>
            </a:prstGeom>
            <a:noFill/>
            <a:ln w="9525" algn="ctr">
              <a:noFill/>
              <a:miter lim="800000"/>
              <a:headEnd/>
              <a:tailEnd/>
            </a:ln>
          </p:spPr>
          <p:txBody>
            <a:bodyPr lIns="109833" tIns="0" rIns="0" bIns="54916" anchor="ctr"/>
            <a:lstStyle/>
            <a:p>
              <a:pPr algn="ctr" defTabSz="822797"/>
              <a:r>
                <a:rPr lang="en-US" sz="1200">
                  <a:solidFill>
                    <a:srgbClr val="FFFFFF"/>
                  </a:solidFill>
                </a:rPr>
                <a:t>Service Model</a:t>
              </a:r>
            </a:p>
          </p:txBody>
        </p:sp>
        <p:sp>
          <p:nvSpPr>
            <p:cNvPr id="3" name="Right Arrow 57"/>
            <p:cNvSpPr>
              <a:spLocks noChangeArrowheads="1"/>
            </p:cNvSpPr>
            <p:nvPr/>
          </p:nvSpPr>
          <p:spPr bwMode="auto">
            <a:xfrm rot="10800000" flipH="1">
              <a:off x="1824" y="1824"/>
              <a:ext cx="1275" cy="1074"/>
            </a:xfrm>
            <a:prstGeom prst="rightArrow">
              <a:avLst>
                <a:gd name="adj1" fmla="val 50000"/>
                <a:gd name="adj2" fmla="val 59358"/>
              </a:avLst>
            </a:prstGeom>
            <a:gradFill rotWithShape="1">
              <a:gsLst>
                <a:gs pos="0">
                  <a:schemeClr val="bg1">
                    <a:gamma/>
                    <a:tint val="0"/>
                    <a:invGamma/>
                    <a:alpha val="0"/>
                  </a:schemeClr>
                </a:gs>
                <a:gs pos="100000">
                  <a:schemeClr val="bg1">
                    <a:alpha val="50000"/>
                  </a:schemeClr>
                </a:gs>
              </a:gsLst>
              <a:lin ang="0" scaled="1"/>
            </a:gradFill>
            <a:ln w="9525" algn="ctr">
              <a:noFill/>
              <a:miter lim="800000"/>
              <a:headEnd/>
              <a:tailEnd/>
            </a:ln>
            <a:effectLst/>
          </p:spPr>
          <p:txBody>
            <a:bodyPr rot="10800000" lIns="109833" tIns="0" rIns="0" bIns="54916" anchor="ctr"/>
            <a:lstStyle/>
            <a:p>
              <a:pPr defTabSz="822797">
                <a:defRPr/>
              </a:pPr>
              <a:endParaRPr lang="en-US" sz="1200" b="1">
                <a:solidFill>
                  <a:prstClr val="black"/>
                </a:solidFill>
              </a:endParaRPr>
            </a:p>
          </p:txBody>
        </p:sp>
        <p:sp>
          <p:nvSpPr>
            <p:cNvPr id="45107" name="Freeform 262"/>
            <p:cNvSpPr>
              <a:spLocks/>
            </p:cNvSpPr>
            <p:nvPr/>
          </p:nvSpPr>
          <p:spPr bwMode="gray">
            <a:xfrm>
              <a:off x="2683" y="2269"/>
              <a:ext cx="196" cy="184"/>
            </a:xfrm>
            <a:custGeom>
              <a:avLst/>
              <a:gdLst>
                <a:gd name="T0" fmla="*/ 202954 w 210"/>
                <a:gd name="T1" fmla="*/ 2670 h 206"/>
                <a:gd name="T2" fmla="*/ 5799 w 210"/>
                <a:gd name="T3" fmla="*/ 136164 h 206"/>
                <a:gd name="T4" fmla="*/ 0 w 210"/>
                <a:gd name="T5" fmla="*/ 138835 h 206"/>
                <a:gd name="T6" fmla="*/ 5799 w 210"/>
                <a:gd name="T7" fmla="*/ 141505 h 206"/>
                <a:gd name="T8" fmla="*/ 295734 w 210"/>
                <a:gd name="T9" fmla="*/ 224272 h 206"/>
                <a:gd name="T10" fmla="*/ 301533 w 210"/>
                <a:gd name="T11" fmla="*/ 226942 h 206"/>
                <a:gd name="T12" fmla="*/ 298633 w 210"/>
                <a:gd name="T13" fmla="*/ 221601 h 206"/>
                <a:gd name="T14" fmla="*/ 205854 w 210"/>
                <a:gd name="T15" fmla="*/ 8009 h 206"/>
                <a:gd name="T16" fmla="*/ 202954 w 210"/>
                <a:gd name="T17" fmla="*/ 0 h 206"/>
                <a:gd name="T18" fmla="*/ 202954 w 210"/>
                <a:gd name="T19" fmla="*/ 8009 h 206"/>
                <a:gd name="T20" fmla="*/ 165263 w 210"/>
                <a:gd name="T21" fmla="*/ 130825 h 206"/>
                <a:gd name="T22" fmla="*/ 168162 w 210"/>
                <a:gd name="T23" fmla="*/ 133495 h 206"/>
                <a:gd name="T24" fmla="*/ 295734 w 210"/>
                <a:gd name="T25" fmla="*/ 218931 h 206"/>
                <a:gd name="T26" fmla="*/ 298633 w 210"/>
                <a:gd name="T27" fmla="*/ 216262 h 206"/>
                <a:gd name="T28" fmla="*/ 84081 w 210"/>
                <a:gd name="T29" fmla="*/ 269660 h 206"/>
                <a:gd name="T30" fmla="*/ 89880 w 210"/>
                <a:gd name="T31" fmla="*/ 272330 h 206"/>
                <a:gd name="T32" fmla="*/ 8698 w 210"/>
                <a:gd name="T33" fmla="*/ 136164 h 206"/>
                <a:gd name="T34" fmla="*/ 5799 w 210"/>
                <a:gd name="T35" fmla="*/ 141505 h 206"/>
                <a:gd name="T36" fmla="*/ 168162 w 210"/>
                <a:gd name="T37" fmla="*/ 130825 h 206"/>
                <a:gd name="T38" fmla="*/ 165263 w 210"/>
                <a:gd name="T39" fmla="*/ 128155 h 206"/>
                <a:gd name="T40" fmla="*/ 86980 w 210"/>
                <a:gd name="T41" fmla="*/ 266990 h 206"/>
                <a:gd name="T42" fmla="*/ 92779 w 210"/>
                <a:gd name="T43" fmla="*/ 269660 h 206"/>
                <a:gd name="T44" fmla="*/ 171061 w 210"/>
                <a:gd name="T45" fmla="*/ 128155 h 206"/>
                <a:gd name="T46" fmla="*/ 173961 w 210"/>
                <a:gd name="T47" fmla="*/ 125485 h 206"/>
                <a:gd name="T48" fmla="*/ 168162 w 210"/>
                <a:gd name="T49" fmla="*/ 125485 h 206"/>
                <a:gd name="T50" fmla="*/ 5799 w 210"/>
                <a:gd name="T51" fmla="*/ 136164 h 206"/>
                <a:gd name="T52" fmla="*/ 2899 w 210"/>
                <a:gd name="T53" fmla="*/ 136164 h 206"/>
                <a:gd name="T54" fmla="*/ 2899 w 210"/>
                <a:gd name="T55" fmla="*/ 138835 h 206"/>
                <a:gd name="T56" fmla="*/ 84081 w 210"/>
                <a:gd name="T57" fmla="*/ 275000 h 206"/>
                <a:gd name="T58" fmla="*/ 86980 w 210"/>
                <a:gd name="T59" fmla="*/ 275000 h 206"/>
                <a:gd name="T60" fmla="*/ 298633 w 210"/>
                <a:gd name="T61" fmla="*/ 221601 h 206"/>
                <a:gd name="T62" fmla="*/ 304432 w 210"/>
                <a:gd name="T63" fmla="*/ 218931 h 206"/>
                <a:gd name="T64" fmla="*/ 298633 w 210"/>
                <a:gd name="T65" fmla="*/ 216262 h 206"/>
                <a:gd name="T66" fmla="*/ 171061 w 210"/>
                <a:gd name="T67" fmla="*/ 128155 h 206"/>
                <a:gd name="T68" fmla="*/ 171061 w 210"/>
                <a:gd name="T69" fmla="*/ 130825 h 206"/>
                <a:gd name="T70" fmla="*/ 208753 w 210"/>
                <a:gd name="T71" fmla="*/ 8009 h 206"/>
                <a:gd name="T72" fmla="*/ 202954 w 210"/>
                <a:gd name="T73" fmla="*/ 8009 h 206"/>
                <a:gd name="T74" fmla="*/ 292834 w 210"/>
                <a:gd name="T75" fmla="*/ 224272 h 206"/>
                <a:gd name="T76" fmla="*/ 295734 w 210"/>
                <a:gd name="T77" fmla="*/ 218931 h 206"/>
                <a:gd name="T78" fmla="*/ 5799 w 210"/>
                <a:gd name="T79" fmla="*/ 136164 h 206"/>
                <a:gd name="T80" fmla="*/ 8698 w 210"/>
                <a:gd name="T81" fmla="*/ 141505 h 206"/>
                <a:gd name="T82" fmla="*/ 205854 w 210"/>
                <a:gd name="T83" fmla="*/ 5340 h 206"/>
                <a:gd name="T84" fmla="*/ 202954 w 210"/>
                <a:gd name="T85" fmla="*/ 2670 h 20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10"/>
                <a:gd name="T130" fmla="*/ 0 h 206"/>
                <a:gd name="T131" fmla="*/ 210 w 210"/>
                <a:gd name="T132" fmla="*/ 206 h 20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10" h="206">
                  <a:moveTo>
                    <a:pt x="140" y="2"/>
                  </a:moveTo>
                  <a:lnTo>
                    <a:pt x="4" y="102"/>
                  </a:lnTo>
                  <a:lnTo>
                    <a:pt x="0" y="104"/>
                  </a:lnTo>
                  <a:lnTo>
                    <a:pt x="4" y="106"/>
                  </a:lnTo>
                  <a:lnTo>
                    <a:pt x="204" y="168"/>
                  </a:lnTo>
                  <a:lnTo>
                    <a:pt x="208" y="170"/>
                  </a:lnTo>
                  <a:lnTo>
                    <a:pt x="206" y="166"/>
                  </a:lnTo>
                  <a:lnTo>
                    <a:pt x="142" y="6"/>
                  </a:lnTo>
                  <a:lnTo>
                    <a:pt x="140" y="0"/>
                  </a:lnTo>
                  <a:lnTo>
                    <a:pt x="140" y="6"/>
                  </a:lnTo>
                  <a:lnTo>
                    <a:pt x="114" y="98"/>
                  </a:lnTo>
                  <a:lnTo>
                    <a:pt x="116" y="100"/>
                  </a:lnTo>
                  <a:lnTo>
                    <a:pt x="204" y="164"/>
                  </a:lnTo>
                  <a:lnTo>
                    <a:pt x="206" y="162"/>
                  </a:lnTo>
                  <a:lnTo>
                    <a:pt x="58" y="202"/>
                  </a:lnTo>
                  <a:lnTo>
                    <a:pt x="62" y="204"/>
                  </a:lnTo>
                  <a:lnTo>
                    <a:pt x="6" y="102"/>
                  </a:lnTo>
                  <a:lnTo>
                    <a:pt x="4" y="106"/>
                  </a:lnTo>
                  <a:lnTo>
                    <a:pt x="116" y="98"/>
                  </a:lnTo>
                  <a:lnTo>
                    <a:pt x="114" y="96"/>
                  </a:lnTo>
                  <a:lnTo>
                    <a:pt x="60" y="200"/>
                  </a:lnTo>
                  <a:lnTo>
                    <a:pt x="64" y="202"/>
                  </a:lnTo>
                  <a:lnTo>
                    <a:pt x="118" y="96"/>
                  </a:lnTo>
                  <a:lnTo>
                    <a:pt x="120" y="94"/>
                  </a:lnTo>
                  <a:lnTo>
                    <a:pt x="116" y="94"/>
                  </a:lnTo>
                  <a:lnTo>
                    <a:pt x="4" y="102"/>
                  </a:lnTo>
                  <a:lnTo>
                    <a:pt x="2" y="102"/>
                  </a:lnTo>
                  <a:lnTo>
                    <a:pt x="2" y="104"/>
                  </a:lnTo>
                  <a:lnTo>
                    <a:pt x="58" y="206"/>
                  </a:lnTo>
                  <a:lnTo>
                    <a:pt x="60" y="206"/>
                  </a:lnTo>
                  <a:lnTo>
                    <a:pt x="206" y="166"/>
                  </a:lnTo>
                  <a:lnTo>
                    <a:pt x="210" y="164"/>
                  </a:lnTo>
                  <a:lnTo>
                    <a:pt x="206" y="162"/>
                  </a:lnTo>
                  <a:lnTo>
                    <a:pt x="118" y="96"/>
                  </a:lnTo>
                  <a:lnTo>
                    <a:pt x="118" y="98"/>
                  </a:lnTo>
                  <a:lnTo>
                    <a:pt x="144" y="6"/>
                  </a:lnTo>
                  <a:lnTo>
                    <a:pt x="140" y="6"/>
                  </a:lnTo>
                  <a:lnTo>
                    <a:pt x="202" y="168"/>
                  </a:lnTo>
                  <a:lnTo>
                    <a:pt x="204" y="164"/>
                  </a:lnTo>
                  <a:lnTo>
                    <a:pt x="4" y="102"/>
                  </a:lnTo>
                  <a:lnTo>
                    <a:pt x="6" y="106"/>
                  </a:lnTo>
                  <a:lnTo>
                    <a:pt x="142" y="4"/>
                  </a:lnTo>
                  <a:lnTo>
                    <a:pt x="140" y="2"/>
                  </a:lnTo>
                  <a:close/>
                </a:path>
              </a:pathLst>
            </a:custGeom>
            <a:solidFill>
              <a:schemeClr val="bg1"/>
            </a:solidFill>
            <a:ln w="9525">
              <a:noFill/>
              <a:miter lim="800000"/>
              <a:headEnd/>
              <a:tailEnd/>
            </a:ln>
          </p:spPr>
          <p:txBody>
            <a:bodyPr anchor="ctr"/>
            <a:lstStyle/>
            <a:p>
              <a:pPr defTabSz="684673"/>
              <a:endParaRPr lang="en-US">
                <a:solidFill>
                  <a:srgbClr val="FFFFFF"/>
                </a:solidFill>
                <a:cs typeface="Arial" charset="0"/>
              </a:endParaRPr>
            </a:p>
          </p:txBody>
        </p:sp>
      </p:grpSp>
      <p:grpSp>
        <p:nvGrpSpPr>
          <p:cNvPr id="45066" name="Group 6"/>
          <p:cNvGrpSpPr>
            <a:grpSpLocks/>
          </p:cNvGrpSpPr>
          <p:nvPr/>
        </p:nvGrpSpPr>
        <p:grpSpPr bwMode="auto">
          <a:xfrm>
            <a:off x="8346074" y="2228851"/>
            <a:ext cx="601423" cy="1521619"/>
            <a:chOff x="6518" y="1519"/>
            <a:chExt cx="976" cy="2465"/>
          </a:xfrm>
        </p:grpSpPr>
        <p:pic>
          <p:nvPicPr>
            <p:cNvPr id="45103" name="Picture 5" descr="\\192.168.10.9\Shared\Design\Microsoft Events Presentation Resource DVD\DVD_ART36\Artwork_Imagery\Icons - Illustrations\People\White silhouettes\man person.png"/>
            <p:cNvPicPr>
              <a:picLocks noChangeAspect="1" noChangeArrowheads="1"/>
            </p:cNvPicPr>
            <p:nvPr/>
          </p:nvPicPr>
          <p:blipFill>
            <a:blip r:embed="rId3" cstate="print"/>
            <a:srcRect/>
            <a:stretch>
              <a:fillRect/>
            </a:stretch>
          </p:blipFill>
          <p:spPr bwMode="auto">
            <a:xfrm>
              <a:off x="6518" y="1519"/>
              <a:ext cx="976" cy="2279"/>
            </a:xfrm>
            <a:prstGeom prst="rect">
              <a:avLst/>
            </a:prstGeom>
            <a:noFill/>
            <a:ln w="9525">
              <a:noFill/>
              <a:miter lim="800000"/>
              <a:headEnd/>
              <a:tailEnd/>
            </a:ln>
          </p:spPr>
        </p:pic>
        <p:sp>
          <p:nvSpPr>
            <p:cNvPr id="45104" name="Oval 8"/>
            <p:cNvSpPr>
              <a:spLocks noChangeArrowheads="1"/>
            </p:cNvSpPr>
            <p:nvPr/>
          </p:nvSpPr>
          <p:spPr bwMode="auto">
            <a:xfrm>
              <a:off x="6623" y="3168"/>
              <a:ext cx="816" cy="816"/>
            </a:xfrm>
            <a:prstGeom prst="ellipse">
              <a:avLst/>
            </a:prstGeom>
            <a:solidFill>
              <a:srgbClr val="3F7C37">
                <a:alpha val="89803"/>
              </a:srgbClr>
            </a:solidFill>
            <a:ln w="9525">
              <a:noFill/>
              <a:round/>
              <a:headEnd/>
              <a:tailEnd/>
            </a:ln>
          </p:spPr>
          <p:txBody>
            <a:bodyPr lIns="0" rIns="0" anchor="ctr"/>
            <a:lstStyle/>
            <a:p>
              <a:pPr algn="ctr"/>
              <a:r>
                <a:rPr lang="en-US" sz="800" dirty="0">
                  <a:solidFill>
                    <a:srgbClr val="FFFFFF"/>
                  </a:solidFill>
                </a:rPr>
                <a:t>DC Admin</a:t>
              </a:r>
            </a:p>
          </p:txBody>
        </p:sp>
      </p:grpSp>
      <p:grpSp>
        <p:nvGrpSpPr>
          <p:cNvPr id="16" name="Group 53"/>
          <p:cNvGrpSpPr>
            <a:grpSpLocks/>
          </p:cNvGrpSpPr>
          <p:nvPr/>
        </p:nvGrpSpPr>
        <p:grpSpPr bwMode="auto">
          <a:xfrm>
            <a:off x="5086484" y="3450431"/>
            <a:ext cx="1909069" cy="1234440"/>
            <a:chOff x="4271" y="2496"/>
            <a:chExt cx="1603" cy="1349"/>
          </a:xfrm>
        </p:grpSpPr>
        <p:sp>
          <p:nvSpPr>
            <p:cNvPr id="58" name="Right Arrow 57"/>
            <p:cNvSpPr>
              <a:spLocks noChangeArrowheads="1"/>
            </p:cNvSpPr>
            <p:nvPr/>
          </p:nvSpPr>
          <p:spPr bwMode="auto">
            <a:xfrm flipH="1">
              <a:off x="4271" y="2496"/>
              <a:ext cx="1603" cy="1349"/>
            </a:xfrm>
            <a:prstGeom prst="rightArrow">
              <a:avLst>
                <a:gd name="adj1" fmla="val 50000"/>
                <a:gd name="adj2" fmla="val 59414"/>
              </a:avLst>
            </a:prstGeom>
            <a:gradFill rotWithShape="1">
              <a:gsLst>
                <a:gs pos="0">
                  <a:schemeClr val="bg1">
                    <a:gamma/>
                    <a:tint val="0"/>
                    <a:invGamma/>
                    <a:alpha val="0"/>
                  </a:schemeClr>
                </a:gs>
                <a:gs pos="100000">
                  <a:schemeClr val="bg1">
                    <a:alpha val="50000"/>
                  </a:schemeClr>
                </a:gs>
              </a:gsLst>
              <a:lin ang="0" scaled="1"/>
            </a:gradFill>
            <a:ln w="9525" algn="ctr">
              <a:noFill/>
              <a:miter lim="800000"/>
              <a:headEnd/>
              <a:tailEnd/>
            </a:ln>
            <a:effectLst/>
          </p:spPr>
          <p:txBody>
            <a:bodyPr lIns="109833" tIns="0" rIns="0" bIns="54916" anchor="ctr"/>
            <a:lstStyle/>
            <a:p>
              <a:pPr defTabSz="822797">
                <a:defRPr/>
              </a:pPr>
              <a:endParaRPr lang="en-US" sz="1200" b="1">
                <a:solidFill>
                  <a:prstClr val="black"/>
                </a:solidFill>
              </a:endParaRPr>
            </a:p>
          </p:txBody>
        </p:sp>
        <p:sp>
          <p:nvSpPr>
            <p:cNvPr id="45099" name="Text Box 56"/>
            <p:cNvSpPr txBox="1">
              <a:spLocks noChangeArrowheads="1"/>
            </p:cNvSpPr>
            <p:nvPr/>
          </p:nvSpPr>
          <p:spPr bwMode="auto">
            <a:xfrm>
              <a:off x="4705" y="3240"/>
              <a:ext cx="878" cy="147"/>
            </a:xfrm>
            <a:prstGeom prst="rect">
              <a:avLst/>
            </a:prstGeom>
            <a:noFill/>
            <a:ln w="9525" algn="ctr">
              <a:noFill/>
              <a:miter lim="800000"/>
              <a:headEnd/>
              <a:tailEnd/>
            </a:ln>
          </p:spPr>
          <p:txBody>
            <a:bodyPr lIns="109833" tIns="0" rIns="0" bIns="54916" anchor="ctr"/>
            <a:lstStyle/>
            <a:p>
              <a:pPr algn="ctr" defTabSz="822797"/>
              <a:r>
                <a:rPr lang="en-US" sz="1100" dirty="0">
                  <a:solidFill>
                    <a:srgbClr val="FFFFFF"/>
                  </a:solidFill>
                </a:rPr>
                <a:t>Operate</a:t>
              </a:r>
            </a:p>
          </p:txBody>
        </p:sp>
        <p:sp>
          <p:nvSpPr>
            <p:cNvPr id="45100" name="Text Box 57"/>
            <p:cNvSpPr txBox="1">
              <a:spLocks noChangeArrowheads="1"/>
            </p:cNvSpPr>
            <p:nvPr/>
          </p:nvSpPr>
          <p:spPr bwMode="auto">
            <a:xfrm>
              <a:off x="4705" y="2978"/>
              <a:ext cx="878" cy="148"/>
            </a:xfrm>
            <a:prstGeom prst="rect">
              <a:avLst/>
            </a:prstGeom>
            <a:noFill/>
            <a:ln w="9525" algn="ctr">
              <a:noFill/>
              <a:miter lim="800000"/>
              <a:headEnd/>
              <a:tailEnd/>
            </a:ln>
          </p:spPr>
          <p:txBody>
            <a:bodyPr lIns="109833" tIns="0" rIns="0" bIns="54916" anchor="ctr"/>
            <a:lstStyle/>
            <a:p>
              <a:pPr algn="ctr" defTabSz="822797"/>
              <a:r>
                <a:rPr lang="en-US" sz="1100" dirty="0">
                  <a:solidFill>
                    <a:srgbClr val="FFFFFF"/>
                  </a:solidFill>
                </a:rPr>
                <a:t>Monitor</a:t>
              </a:r>
            </a:p>
          </p:txBody>
        </p:sp>
      </p:grpSp>
      <p:grpSp>
        <p:nvGrpSpPr>
          <p:cNvPr id="17" name="Group 84"/>
          <p:cNvGrpSpPr>
            <a:grpSpLocks/>
          </p:cNvGrpSpPr>
          <p:nvPr/>
        </p:nvGrpSpPr>
        <p:grpSpPr bwMode="auto">
          <a:xfrm>
            <a:off x="7086065" y="1200151"/>
            <a:ext cx="1038495" cy="3380185"/>
            <a:chOff x="6114" y="624"/>
            <a:chExt cx="989" cy="3223"/>
          </a:xfrm>
        </p:grpSpPr>
        <p:sp>
          <p:nvSpPr>
            <p:cNvPr id="84" name="Rectangle 83"/>
            <p:cNvSpPr/>
            <p:nvPr/>
          </p:nvSpPr>
          <p:spPr>
            <a:xfrm>
              <a:off x="6280" y="2899"/>
              <a:ext cx="658" cy="188"/>
            </a:xfrm>
            <a:prstGeom prst="rect">
              <a:avLst/>
            </a:prstGeom>
            <a:noFill/>
            <a:ln w="3175" cap="flat" cmpd="sng" algn="ctr">
              <a:noFill/>
              <a:prstDash val="solid"/>
            </a:ln>
            <a:effectLst/>
          </p:spPr>
          <p:txBody>
            <a:bodyPr lIns="121899" tIns="60949" rIns="121899" bIns="60949" anchor="b"/>
            <a:lstStyle/>
            <a:p>
              <a:pPr algn="ctr" defTabSz="685835">
                <a:defRPr/>
              </a:pPr>
              <a:r>
                <a:rPr lang="en-US" sz="900" kern="0" dirty="0">
                  <a:solidFill>
                    <a:srgbClr val="FFFFFF">
                      <a:alpha val="99000"/>
                    </a:srgbClr>
                  </a:solidFill>
                  <a:latin typeface="Segoe UI"/>
                  <a:cs typeface="Arial" charset="0"/>
                </a:rPr>
                <a:t>Virtual</a:t>
              </a:r>
            </a:p>
          </p:txBody>
        </p:sp>
        <p:sp>
          <p:nvSpPr>
            <p:cNvPr id="85" name="Rectangle 84"/>
            <p:cNvSpPr/>
            <p:nvPr/>
          </p:nvSpPr>
          <p:spPr>
            <a:xfrm>
              <a:off x="6278" y="3676"/>
              <a:ext cx="661" cy="171"/>
            </a:xfrm>
            <a:prstGeom prst="rect">
              <a:avLst/>
            </a:prstGeom>
            <a:noFill/>
            <a:ln w="3175" cap="flat" cmpd="sng" algn="ctr">
              <a:noFill/>
              <a:prstDash val="solid"/>
            </a:ln>
            <a:effectLst/>
          </p:spPr>
          <p:txBody>
            <a:bodyPr lIns="121899" tIns="60949" rIns="121899" bIns="60949" anchor="b"/>
            <a:lstStyle/>
            <a:p>
              <a:pPr algn="ctr" defTabSz="685835">
                <a:defRPr/>
              </a:pPr>
              <a:r>
                <a:rPr lang="en-US" sz="900" kern="0" dirty="0">
                  <a:solidFill>
                    <a:srgbClr val="FFFFFF">
                      <a:alpha val="99000"/>
                    </a:srgbClr>
                  </a:solidFill>
                  <a:latin typeface="Segoe UI"/>
                  <a:cs typeface="Arial" charset="0"/>
                </a:rPr>
                <a:t>Physical</a:t>
              </a:r>
            </a:p>
          </p:txBody>
        </p:sp>
        <p:pic>
          <p:nvPicPr>
            <p:cNvPr id="45092" name="Picture 140"/>
            <p:cNvPicPr>
              <a:picLocks noChangeAspect="1"/>
            </p:cNvPicPr>
            <p:nvPr/>
          </p:nvPicPr>
          <p:blipFill>
            <a:blip r:embed="rId4" cstate="print"/>
            <a:srcRect/>
            <a:stretch>
              <a:fillRect/>
            </a:stretch>
          </p:blipFill>
          <p:spPr bwMode="auto">
            <a:xfrm>
              <a:off x="6291" y="2369"/>
              <a:ext cx="635" cy="675"/>
            </a:xfrm>
            <a:prstGeom prst="rect">
              <a:avLst/>
            </a:prstGeom>
            <a:noFill/>
            <a:ln w="9525">
              <a:noFill/>
              <a:miter lim="800000"/>
              <a:headEnd/>
              <a:tailEnd/>
            </a:ln>
          </p:spPr>
        </p:pic>
        <p:pic>
          <p:nvPicPr>
            <p:cNvPr id="45093" name="Picture 2"/>
            <p:cNvPicPr>
              <a:picLocks noChangeAspect="1" noChangeArrowheads="1"/>
            </p:cNvPicPr>
            <p:nvPr/>
          </p:nvPicPr>
          <p:blipFill>
            <a:blip r:embed="rId5" cstate="print"/>
            <a:srcRect/>
            <a:stretch>
              <a:fillRect/>
            </a:stretch>
          </p:blipFill>
          <p:spPr bwMode="auto">
            <a:xfrm>
              <a:off x="6411" y="3199"/>
              <a:ext cx="395" cy="545"/>
            </a:xfrm>
            <a:prstGeom prst="rect">
              <a:avLst/>
            </a:prstGeom>
            <a:noFill/>
            <a:ln w="9525">
              <a:noFill/>
              <a:miter lim="800000"/>
              <a:headEnd/>
              <a:tailEnd/>
            </a:ln>
          </p:spPr>
        </p:pic>
        <p:sp>
          <p:nvSpPr>
            <p:cNvPr id="81" name="Rectangle 80"/>
            <p:cNvSpPr/>
            <p:nvPr/>
          </p:nvSpPr>
          <p:spPr>
            <a:xfrm>
              <a:off x="6114" y="1257"/>
              <a:ext cx="989" cy="173"/>
            </a:xfrm>
            <a:prstGeom prst="rect">
              <a:avLst/>
            </a:prstGeom>
            <a:noFill/>
            <a:ln w="3175" cap="flat" cmpd="sng" algn="ctr">
              <a:noFill/>
              <a:prstDash val="solid"/>
            </a:ln>
            <a:effectLst/>
          </p:spPr>
          <p:txBody>
            <a:bodyPr lIns="0" tIns="60949" rIns="0" bIns="60949" anchor="b"/>
            <a:lstStyle>
              <a:defPPr>
                <a:defRPr lang="en-US"/>
              </a:defPPr>
              <a:lvl1pPr algn="l" rtl="0" fontAlgn="base">
                <a:spcBef>
                  <a:spcPct val="0"/>
                </a:spcBef>
                <a:spcAft>
                  <a:spcPct val="0"/>
                </a:spcAft>
                <a:defRPr kern="1200">
                  <a:solidFill>
                    <a:schemeClr val="tx1"/>
                  </a:solidFill>
                  <a:latin typeface="Segoe UI" pitchFamily="34" charset="0"/>
                  <a:ea typeface="+mn-ea"/>
                  <a:cs typeface="Segoe UI" pitchFamily="34" charset="0"/>
                </a:defRPr>
              </a:lvl1pPr>
              <a:lvl2pPr marL="457200" algn="l" rtl="0" fontAlgn="base">
                <a:spcBef>
                  <a:spcPct val="0"/>
                </a:spcBef>
                <a:spcAft>
                  <a:spcPct val="0"/>
                </a:spcAft>
                <a:defRPr kern="1200">
                  <a:solidFill>
                    <a:schemeClr val="tx1"/>
                  </a:solidFill>
                  <a:latin typeface="Segoe UI" pitchFamily="34" charset="0"/>
                  <a:ea typeface="+mn-ea"/>
                  <a:cs typeface="Segoe UI" pitchFamily="34" charset="0"/>
                </a:defRPr>
              </a:lvl2pPr>
              <a:lvl3pPr marL="914400" algn="l" rtl="0" fontAlgn="base">
                <a:spcBef>
                  <a:spcPct val="0"/>
                </a:spcBef>
                <a:spcAft>
                  <a:spcPct val="0"/>
                </a:spcAft>
                <a:defRPr kern="1200">
                  <a:solidFill>
                    <a:schemeClr val="tx1"/>
                  </a:solidFill>
                  <a:latin typeface="Segoe UI" pitchFamily="34" charset="0"/>
                  <a:ea typeface="+mn-ea"/>
                  <a:cs typeface="Segoe UI" pitchFamily="34" charset="0"/>
                </a:defRPr>
              </a:lvl3pPr>
              <a:lvl4pPr marL="1371600" algn="l" rtl="0" fontAlgn="base">
                <a:spcBef>
                  <a:spcPct val="0"/>
                </a:spcBef>
                <a:spcAft>
                  <a:spcPct val="0"/>
                </a:spcAft>
                <a:defRPr kern="1200">
                  <a:solidFill>
                    <a:schemeClr val="tx1"/>
                  </a:solidFill>
                  <a:latin typeface="Segoe UI" pitchFamily="34" charset="0"/>
                  <a:ea typeface="+mn-ea"/>
                  <a:cs typeface="Segoe UI" pitchFamily="34" charset="0"/>
                </a:defRPr>
              </a:lvl4pPr>
              <a:lvl5pPr marL="1828800" algn="l" rtl="0" fontAlgn="base">
                <a:spcBef>
                  <a:spcPct val="0"/>
                </a:spcBef>
                <a:spcAft>
                  <a:spcPct val="0"/>
                </a:spcAft>
                <a:defRPr kern="1200">
                  <a:solidFill>
                    <a:schemeClr val="tx1"/>
                  </a:solidFill>
                  <a:latin typeface="Segoe UI" pitchFamily="34" charset="0"/>
                  <a:ea typeface="+mn-ea"/>
                  <a:cs typeface="Segoe UI" pitchFamily="34" charset="0"/>
                </a:defRPr>
              </a:lvl5pPr>
              <a:lvl6pPr marL="2286000" algn="l" defTabSz="914400" rtl="0" eaLnBrk="1" latinLnBrk="0" hangingPunct="1">
                <a:defRPr kern="1200">
                  <a:solidFill>
                    <a:schemeClr val="tx1"/>
                  </a:solidFill>
                  <a:latin typeface="Segoe UI" pitchFamily="34" charset="0"/>
                  <a:ea typeface="+mn-ea"/>
                  <a:cs typeface="Segoe UI" pitchFamily="34" charset="0"/>
                </a:defRPr>
              </a:lvl6pPr>
              <a:lvl7pPr marL="2743200" algn="l" defTabSz="914400" rtl="0" eaLnBrk="1" latinLnBrk="0" hangingPunct="1">
                <a:defRPr kern="1200">
                  <a:solidFill>
                    <a:schemeClr val="tx1"/>
                  </a:solidFill>
                  <a:latin typeface="Segoe UI" pitchFamily="34" charset="0"/>
                  <a:ea typeface="+mn-ea"/>
                  <a:cs typeface="Segoe UI" pitchFamily="34" charset="0"/>
                </a:defRPr>
              </a:lvl7pPr>
              <a:lvl8pPr marL="3200400" algn="l" defTabSz="914400" rtl="0" eaLnBrk="1" latinLnBrk="0" hangingPunct="1">
                <a:defRPr kern="1200">
                  <a:solidFill>
                    <a:schemeClr val="tx1"/>
                  </a:solidFill>
                  <a:latin typeface="Segoe UI" pitchFamily="34" charset="0"/>
                  <a:ea typeface="+mn-ea"/>
                  <a:cs typeface="Segoe UI" pitchFamily="34" charset="0"/>
                </a:defRPr>
              </a:lvl8pPr>
              <a:lvl9pPr marL="3657600" algn="l" defTabSz="914400" rtl="0" eaLnBrk="1" latinLnBrk="0" hangingPunct="1">
                <a:defRPr kern="1200">
                  <a:solidFill>
                    <a:schemeClr val="tx1"/>
                  </a:solidFill>
                  <a:latin typeface="Segoe UI" pitchFamily="34" charset="0"/>
                  <a:ea typeface="+mn-ea"/>
                  <a:cs typeface="Segoe UI" pitchFamily="34" charset="0"/>
                </a:defRPr>
              </a:lvl9pPr>
            </a:lstStyle>
            <a:p>
              <a:pPr algn="ctr" defTabSz="685835">
                <a:defRPr/>
              </a:pPr>
              <a:r>
                <a:rPr lang="en-US" sz="900" kern="0" dirty="0">
                  <a:solidFill>
                    <a:srgbClr val="FFFFFF">
                      <a:alpha val="99000"/>
                    </a:srgbClr>
                  </a:solidFill>
                  <a:latin typeface="Segoe UI"/>
                  <a:cs typeface="Arial" charset="0"/>
                </a:rPr>
                <a:t>Public</a:t>
              </a:r>
              <a:r>
                <a:rPr lang="en-US" sz="1100" kern="0" dirty="0">
                  <a:solidFill>
                    <a:srgbClr val="FFFFFF">
                      <a:alpha val="99000"/>
                    </a:srgbClr>
                  </a:solidFill>
                  <a:latin typeface="Segoe UI"/>
                  <a:cs typeface="Arial" charset="0"/>
                </a:rPr>
                <a:t> </a:t>
              </a:r>
              <a:r>
                <a:rPr lang="en-US" sz="900" kern="0" dirty="0">
                  <a:solidFill>
                    <a:srgbClr val="FFFFFF">
                      <a:alpha val="99000"/>
                    </a:srgbClr>
                  </a:solidFill>
                  <a:latin typeface="Segoe UI"/>
                  <a:cs typeface="Arial" charset="0"/>
                </a:rPr>
                <a:t>Cloud</a:t>
              </a:r>
            </a:p>
          </p:txBody>
        </p:sp>
        <p:sp>
          <p:nvSpPr>
            <p:cNvPr id="86" name="Rectangle 85"/>
            <p:cNvSpPr/>
            <p:nvPr/>
          </p:nvSpPr>
          <p:spPr>
            <a:xfrm>
              <a:off x="6223" y="2227"/>
              <a:ext cx="868" cy="141"/>
            </a:xfrm>
            <a:prstGeom prst="rect">
              <a:avLst/>
            </a:prstGeom>
            <a:noFill/>
            <a:ln w="3175" cap="flat" cmpd="sng" algn="ctr">
              <a:noFill/>
              <a:prstDash val="solid"/>
            </a:ln>
            <a:effectLst/>
          </p:spPr>
          <p:txBody>
            <a:bodyPr lIns="121899" tIns="60949" rIns="121899" bIns="60949" anchor="b"/>
            <a:lstStyle>
              <a:defPPr>
                <a:defRPr lang="en-US"/>
              </a:defPPr>
              <a:lvl1pPr algn="l" rtl="0" fontAlgn="base">
                <a:spcBef>
                  <a:spcPct val="0"/>
                </a:spcBef>
                <a:spcAft>
                  <a:spcPct val="0"/>
                </a:spcAft>
                <a:defRPr kern="1200">
                  <a:solidFill>
                    <a:schemeClr val="tx1"/>
                  </a:solidFill>
                  <a:latin typeface="Segoe UI" pitchFamily="34" charset="0"/>
                  <a:ea typeface="+mn-ea"/>
                  <a:cs typeface="Segoe UI" pitchFamily="34" charset="0"/>
                </a:defRPr>
              </a:lvl1pPr>
              <a:lvl2pPr marL="457200" algn="l" rtl="0" fontAlgn="base">
                <a:spcBef>
                  <a:spcPct val="0"/>
                </a:spcBef>
                <a:spcAft>
                  <a:spcPct val="0"/>
                </a:spcAft>
                <a:defRPr kern="1200">
                  <a:solidFill>
                    <a:schemeClr val="tx1"/>
                  </a:solidFill>
                  <a:latin typeface="Segoe UI" pitchFamily="34" charset="0"/>
                  <a:ea typeface="+mn-ea"/>
                  <a:cs typeface="Segoe UI" pitchFamily="34" charset="0"/>
                </a:defRPr>
              </a:lvl2pPr>
              <a:lvl3pPr marL="914400" algn="l" rtl="0" fontAlgn="base">
                <a:spcBef>
                  <a:spcPct val="0"/>
                </a:spcBef>
                <a:spcAft>
                  <a:spcPct val="0"/>
                </a:spcAft>
                <a:defRPr kern="1200">
                  <a:solidFill>
                    <a:schemeClr val="tx1"/>
                  </a:solidFill>
                  <a:latin typeface="Segoe UI" pitchFamily="34" charset="0"/>
                  <a:ea typeface="+mn-ea"/>
                  <a:cs typeface="Segoe UI" pitchFamily="34" charset="0"/>
                </a:defRPr>
              </a:lvl3pPr>
              <a:lvl4pPr marL="1371600" algn="l" rtl="0" fontAlgn="base">
                <a:spcBef>
                  <a:spcPct val="0"/>
                </a:spcBef>
                <a:spcAft>
                  <a:spcPct val="0"/>
                </a:spcAft>
                <a:defRPr kern="1200">
                  <a:solidFill>
                    <a:schemeClr val="tx1"/>
                  </a:solidFill>
                  <a:latin typeface="Segoe UI" pitchFamily="34" charset="0"/>
                  <a:ea typeface="+mn-ea"/>
                  <a:cs typeface="Segoe UI" pitchFamily="34" charset="0"/>
                </a:defRPr>
              </a:lvl4pPr>
              <a:lvl5pPr marL="1828800" algn="l" rtl="0" fontAlgn="base">
                <a:spcBef>
                  <a:spcPct val="0"/>
                </a:spcBef>
                <a:spcAft>
                  <a:spcPct val="0"/>
                </a:spcAft>
                <a:defRPr kern="1200">
                  <a:solidFill>
                    <a:schemeClr val="tx1"/>
                  </a:solidFill>
                  <a:latin typeface="Segoe UI" pitchFamily="34" charset="0"/>
                  <a:ea typeface="+mn-ea"/>
                  <a:cs typeface="Segoe UI" pitchFamily="34" charset="0"/>
                </a:defRPr>
              </a:lvl5pPr>
              <a:lvl6pPr marL="2286000" algn="l" defTabSz="914400" rtl="0" eaLnBrk="1" latinLnBrk="0" hangingPunct="1">
                <a:defRPr kern="1200">
                  <a:solidFill>
                    <a:schemeClr val="tx1"/>
                  </a:solidFill>
                  <a:latin typeface="Segoe UI" pitchFamily="34" charset="0"/>
                  <a:ea typeface="+mn-ea"/>
                  <a:cs typeface="Segoe UI" pitchFamily="34" charset="0"/>
                </a:defRPr>
              </a:lvl6pPr>
              <a:lvl7pPr marL="2743200" algn="l" defTabSz="914400" rtl="0" eaLnBrk="1" latinLnBrk="0" hangingPunct="1">
                <a:defRPr kern="1200">
                  <a:solidFill>
                    <a:schemeClr val="tx1"/>
                  </a:solidFill>
                  <a:latin typeface="Segoe UI" pitchFamily="34" charset="0"/>
                  <a:ea typeface="+mn-ea"/>
                  <a:cs typeface="Segoe UI" pitchFamily="34" charset="0"/>
                </a:defRPr>
              </a:lvl7pPr>
              <a:lvl8pPr marL="3200400" algn="l" defTabSz="914400" rtl="0" eaLnBrk="1" latinLnBrk="0" hangingPunct="1">
                <a:defRPr kern="1200">
                  <a:solidFill>
                    <a:schemeClr val="tx1"/>
                  </a:solidFill>
                  <a:latin typeface="Segoe UI" pitchFamily="34" charset="0"/>
                  <a:ea typeface="+mn-ea"/>
                  <a:cs typeface="Segoe UI" pitchFamily="34" charset="0"/>
                </a:defRPr>
              </a:lvl8pPr>
              <a:lvl9pPr marL="3657600" algn="l" defTabSz="914400" rtl="0" eaLnBrk="1" latinLnBrk="0" hangingPunct="1">
                <a:defRPr kern="1200">
                  <a:solidFill>
                    <a:schemeClr val="tx1"/>
                  </a:solidFill>
                  <a:latin typeface="Segoe UI" pitchFamily="34" charset="0"/>
                  <a:ea typeface="+mn-ea"/>
                  <a:cs typeface="Segoe UI" pitchFamily="34" charset="0"/>
                </a:defRPr>
              </a:lvl9pPr>
            </a:lstStyle>
            <a:p>
              <a:pPr algn="ctr" defTabSz="685835">
                <a:defRPr/>
              </a:pPr>
              <a:r>
                <a:rPr lang="en-US" sz="900" kern="0" dirty="0">
                  <a:solidFill>
                    <a:srgbClr val="FFFFFF">
                      <a:alpha val="99000"/>
                    </a:srgbClr>
                  </a:solidFill>
                  <a:latin typeface="Segoe UI"/>
                  <a:cs typeface="Arial" charset="0"/>
                </a:rPr>
                <a:t>Private Cloud</a:t>
              </a:r>
            </a:p>
          </p:txBody>
        </p:sp>
        <p:pic>
          <p:nvPicPr>
            <p:cNvPr id="45096" name="Picture 90"/>
            <p:cNvPicPr>
              <a:picLocks noChangeAspect="1"/>
            </p:cNvPicPr>
            <p:nvPr/>
          </p:nvPicPr>
          <p:blipFill>
            <a:blip r:embed="rId6" cstate="print"/>
            <a:srcRect/>
            <a:stretch>
              <a:fillRect/>
            </a:stretch>
          </p:blipFill>
          <p:spPr bwMode="auto">
            <a:xfrm>
              <a:off x="6255" y="1540"/>
              <a:ext cx="708" cy="720"/>
            </a:xfrm>
            <a:prstGeom prst="rect">
              <a:avLst/>
            </a:prstGeom>
            <a:noFill/>
            <a:ln w="9525">
              <a:noFill/>
              <a:miter lim="800000"/>
              <a:headEnd/>
              <a:tailEnd/>
            </a:ln>
          </p:spPr>
        </p:pic>
        <p:pic>
          <p:nvPicPr>
            <p:cNvPr id="45097" name="Picture 91"/>
            <p:cNvPicPr>
              <a:picLocks noChangeAspect="1"/>
            </p:cNvPicPr>
            <p:nvPr/>
          </p:nvPicPr>
          <p:blipFill>
            <a:blip r:embed="rId7" cstate="print"/>
            <a:srcRect/>
            <a:stretch>
              <a:fillRect/>
            </a:stretch>
          </p:blipFill>
          <p:spPr bwMode="auto">
            <a:xfrm>
              <a:off x="6272" y="624"/>
              <a:ext cx="672" cy="682"/>
            </a:xfrm>
            <a:prstGeom prst="rect">
              <a:avLst/>
            </a:prstGeom>
            <a:noFill/>
            <a:ln w="9525">
              <a:noFill/>
              <a:miter lim="800000"/>
              <a:headEnd/>
              <a:tailEnd/>
            </a:ln>
          </p:spPr>
        </p:pic>
      </p:grpSp>
      <p:sp>
        <p:nvSpPr>
          <p:cNvPr id="8" name="TextBox 7"/>
          <p:cNvSpPr txBox="1"/>
          <p:nvPr/>
        </p:nvSpPr>
        <p:spPr>
          <a:xfrm>
            <a:off x="5530227" y="2256422"/>
            <a:ext cx="1422586" cy="207749"/>
          </a:xfrm>
          <a:prstGeom prst="rect">
            <a:avLst/>
          </a:prstGeom>
          <a:noFill/>
        </p:spPr>
        <p:txBody>
          <a:bodyPr wrap="none" lIns="68586" tIns="34294" rIns="68586" bIns="34294">
            <a:spAutoFit/>
          </a:bodyPr>
          <a:lstStyle/>
          <a:p>
            <a:pPr>
              <a:defRPr/>
            </a:pPr>
            <a:r>
              <a:rPr lang="en-US" sz="900" dirty="0">
                <a:solidFill>
                  <a:srgbClr val="EEECE1"/>
                </a:solidFill>
              </a:rPr>
              <a:t>Virtual Machine Manager</a:t>
            </a:r>
          </a:p>
        </p:txBody>
      </p:sp>
      <p:sp>
        <p:nvSpPr>
          <p:cNvPr id="60" name="TextBox 59"/>
          <p:cNvSpPr txBox="1"/>
          <p:nvPr/>
        </p:nvSpPr>
        <p:spPr>
          <a:xfrm>
            <a:off x="5530227" y="2544077"/>
            <a:ext cx="1185970" cy="207749"/>
          </a:xfrm>
          <a:prstGeom prst="rect">
            <a:avLst/>
          </a:prstGeom>
          <a:noFill/>
        </p:spPr>
        <p:txBody>
          <a:bodyPr wrap="none" lIns="68586" tIns="34294" rIns="68586" bIns="34294">
            <a:spAutoFit/>
          </a:bodyPr>
          <a:lstStyle/>
          <a:p>
            <a:pPr>
              <a:defRPr/>
            </a:pPr>
            <a:r>
              <a:rPr lang="en-US" sz="900" dirty="0">
                <a:solidFill>
                  <a:prstClr val="white">
                    <a:lumMod val="85000"/>
                  </a:prstClr>
                </a:solidFill>
              </a:rPr>
              <a:t>Operations Manager</a:t>
            </a:r>
          </a:p>
        </p:txBody>
      </p:sp>
      <p:sp>
        <p:nvSpPr>
          <p:cNvPr id="61" name="TextBox 60"/>
          <p:cNvSpPr txBox="1"/>
          <p:nvPr/>
        </p:nvSpPr>
        <p:spPr>
          <a:xfrm>
            <a:off x="1516299" y="1637111"/>
            <a:ext cx="882587" cy="207749"/>
          </a:xfrm>
          <a:prstGeom prst="rect">
            <a:avLst/>
          </a:prstGeom>
          <a:noFill/>
        </p:spPr>
        <p:txBody>
          <a:bodyPr wrap="none" lIns="68586" tIns="34294" rIns="68586" bIns="34294">
            <a:spAutoFit/>
          </a:bodyPr>
          <a:lstStyle/>
          <a:p>
            <a:pPr>
              <a:defRPr/>
            </a:pPr>
            <a:r>
              <a:rPr lang="en-US" sz="900" dirty="0">
                <a:solidFill>
                  <a:prstClr val="white">
                    <a:lumMod val="85000"/>
                  </a:prstClr>
                </a:solidFill>
              </a:rPr>
              <a:t>App Controller</a:t>
            </a:r>
          </a:p>
        </p:txBody>
      </p:sp>
      <p:sp>
        <p:nvSpPr>
          <p:cNvPr id="62" name="TextBox 61"/>
          <p:cNvSpPr txBox="1"/>
          <p:nvPr/>
        </p:nvSpPr>
        <p:spPr>
          <a:xfrm>
            <a:off x="1528328" y="3603732"/>
            <a:ext cx="986152" cy="207749"/>
          </a:xfrm>
          <a:prstGeom prst="rect">
            <a:avLst/>
          </a:prstGeom>
          <a:noFill/>
        </p:spPr>
        <p:txBody>
          <a:bodyPr wrap="none" lIns="68586" tIns="34294" rIns="68586" bIns="34294">
            <a:spAutoFit/>
          </a:bodyPr>
          <a:lstStyle/>
          <a:p>
            <a:pPr>
              <a:defRPr/>
            </a:pPr>
            <a:r>
              <a:rPr lang="en-US" sz="900" dirty="0">
                <a:solidFill>
                  <a:prstClr val="white">
                    <a:lumMod val="85000"/>
                  </a:prstClr>
                </a:solidFill>
              </a:rPr>
              <a:t>Service Manager</a:t>
            </a:r>
          </a:p>
        </p:txBody>
      </p:sp>
      <p:sp>
        <p:nvSpPr>
          <p:cNvPr id="63" name="TextBox 62"/>
          <p:cNvSpPr txBox="1"/>
          <p:nvPr/>
        </p:nvSpPr>
        <p:spPr>
          <a:xfrm>
            <a:off x="4073714" y="3612305"/>
            <a:ext cx="986152" cy="207749"/>
          </a:xfrm>
          <a:prstGeom prst="rect">
            <a:avLst/>
          </a:prstGeom>
          <a:noFill/>
        </p:spPr>
        <p:txBody>
          <a:bodyPr wrap="none" lIns="68586" tIns="34294" rIns="68586" bIns="34294">
            <a:spAutoFit/>
          </a:bodyPr>
          <a:lstStyle/>
          <a:p>
            <a:pPr>
              <a:defRPr/>
            </a:pPr>
            <a:r>
              <a:rPr lang="en-US" sz="900" dirty="0">
                <a:solidFill>
                  <a:prstClr val="white">
                    <a:lumMod val="85000"/>
                  </a:prstClr>
                </a:solidFill>
              </a:rPr>
              <a:t>Service Manager</a:t>
            </a:r>
          </a:p>
        </p:txBody>
      </p:sp>
      <p:sp>
        <p:nvSpPr>
          <p:cNvPr id="65" name="TextBox 64"/>
          <p:cNvSpPr txBox="1"/>
          <p:nvPr/>
        </p:nvSpPr>
        <p:spPr>
          <a:xfrm>
            <a:off x="4078715" y="1652060"/>
            <a:ext cx="774644" cy="207749"/>
          </a:xfrm>
          <a:prstGeom prst="rect">
            <a:avLst/>
          </a:prstGeom>
          <a:noFill/>
        </p:spPr>
        <p:txBody>
          <a:bodyPr wrap="none" lIns="68586" tIns="34294" rIns="68586" bIns="34294">
            <a:spAutoFit/>
          </a:bodyPr>
          <a:lstStyle/>
          <a:p>
            <a:pPr>
              <a:defRPr/>
            </a:pPr>
            <a:r>
              <a:rPr lang="en-US" sz="900" dirty="0">
                <a:solidFill>
                  <a:srgbClr val="EEECE1"/>
                </a:solidFill>
              </a:rPr>
              <a:t>Orchestrator</a:t>
            </a:r>
          </a:p>
        </p:txBody>
      </p:sp>
      <p:sp>
        <p:nvSpPr>
          <p:cNvPr id="66" name="TextBox 65"/>
          <p:cNvSpPr txBox="1"/>
          <p:nvPr/>
        </p:nvSpPr>
        <p:spPr>
          <a:xfrm>
            <a:off x="5530226" y="2840304"/>
            <a:ext cx="1474377" cy="207749"/>
          </a:xfrm>
          <a:prstGeom prst="rect">
            <a:avLst/>
          </a:prstGeom>
          <a:noFill/>
        </p:spPr>
        <p:txBody>
          <a:bodyPr wrap="square" lIns="68586" tIns="34294" rIns="68586" bIns="34294">
            <a:spAutoFit/>
          </a:bodyPr>
          <a:lstStyle/>
          <a:p>
            <a:pPr>
              <a:defRPr/>
            </a:pPr>
            <a:r>
              <a:rPr lang="en-US" sz="900" dirty="0">
                <a:solidFill>
                  <a:srgbClr val="EEECE1"/>
                </a:solidFill>
              </a:rPr>
              <a:t>Configuration Manager</a:t>
            </a:r>
          </a:p>
        </p:txBody>
      </p:sp>
      <p:pic>
        <p:nvPicPr>
          <p:cNvPr id="9" name="Picture 8"/>
          <p:cNvPicPr>
            <a:picLocks/>
          </p:cNvPicPr>
          <p:nvPr/>
        </p:nvPicPr>
        <p:blipFill>
          <a:blip r:embed="rId8" cstate="print"/>
          <a:srcRect/>
          <a:stretch>
            <a:fillRect/>
          </a:stretch>
        </p:blipFill>
        <p:spPr bwMode="auto">
          <a:xfrm>
            <a:off x="1288354" y="1621036"/>
            <a:ext cx="274391" cy="274320"/>
          </a:xfrm>
          <a:prstGeom prst="rect">
            <a:avLst/>
          </a:prstGeom>
          <a:noFill/>
          <a:ln w="9525">
            <a:noFill/>
            <a:miter lim="800000"/>
            <a:headEnd/>
            <a:tailEnd/>
          </a:ln>
        </p:spPr>
      </p:pic>
      <p:pic>
        <p:nvPicPr>
          <p:cNvPr id="11" name="Picture 10"/>
          <p:cNvPicPr>
            <a:picLocks/>
          </p:cNvPicPr>
          <p:nvPr/>
        </p:nvPicPr>
        <p:blipFill>
          <a:blip r:embed="rId9" cstate="print"/>
          <a:srcRect/>
          <a:stretch>
            <a:fillRect/>
          </a:stretch>
        </p:blipFill>
        <p:spPr bwMode="auto">
          <a:xfrm>
            <a:off x="3835764" y="1618774"/>
            <a:ext cx="274391" cy="274320"/>
          </a:xfrm>
          <a:prstGeom prst="rect">
            <a:avLst/>
          </a:prstGeom>
          <a:noFill/>
          <a:ln w="9525">
            <a:noFill/>
            <a:miter lim="800000"/>
            <a:headEnd/>
            <a:tailEnd/>
          </a:ln>
        </p:spPr>
      </p:pic>
      <p:pic>
        <p:nvPicPr>
          <p:cNvPr id="12" name="Picture 11"/>
          <p:cNvPicPr>
            <a:picLocks/>
          </p:cNvPicPr>
          <p:nvPr/>
        </p:nvPicPr>
        <p:blipFill>
          <a:blip r:embed="rId10" cstate="print"/>
          <a:srcRect/>
          <a:stretch>
            <a:fillRect/>
          </a:stretch>
        </p:blipFill>
        <p:spPr bwMode="auto">
          <a:xfrm>
            <a:off x="3831240" y="3579019"/>
            <a:ext cx="274391" cy="274320"/>
          </a:xfrm>
          <a:prstGeom prst="rect">
            <a:avLst/>
          </a:prstGeom>
          <a:noFill/>
          <a:ln w="9525">
            <a:noFill/>
            <a:miter lim="800000"/>
            <a:headEnd/>
            <a:tailEnd/>
          </a:ln>
        </p:spPr>
      </p:pic>
      <p:pic>
        <p:nvPicPr>
          <p:cNvPr id="57" name="Picture 56"/>
          <p:cNvPicPr>
            <a:picLocks/>
          </p:cNvPicPr>
          <p:nvPr/>
        </p:nvPicPr>
        <p:blipFill>
          <a:blip r:embed="rId10" cstate="print"/>
          <a:srcRect/>
          <a:stretch>
            <a:fillRect/>
          </a:stretch>
        </p:blipFill>
        <p:spPr bwMode="auto">
          <a:xfrm>
            <a:off x="1292404" y="3557587"/>
            <a:ext cx="274391" cy="274320"/>
          </a:xfrm>
          <a:prstGeom prst="rect">
            <a:avLst/>
          </a:prstGeom>
          <a:noFill/>
          <a:ln w="9525">
            <a:noFill/>
            <a:miter lim="800000"/>
            <a:headEnd/>
            <a:tailEnd/>
          </a:ln>
        </p:spPr>
      </p:pic>
      <p:pic>
        <p:nvPicPr>
          <p:cNvPr id="13" name="Picture 12"/>
          <p:cNvPicPr>
            <a:picLocks/>
          </p:cNvPicPr>
          <p:nvPr/>
        </p:nvPicPr>
        <p:blipFill>
          <a:blip r:embed="rId11" cstate="print"/>
          <a:srcRect/>
          <a:stretch>
            <a:fillRect/>
          </a:stretch>
        </p:blipFill>
        <p:spPr bwMode="auto">
          <a:xfrm>
            <a:off x="5284062" y="2223135"/>
            <a:ext cx="274391" cy="274320"/>
          </a:xfrm>
          <a:prstGeom prst="rect">
            <a:avLst/>
          </a:prstGeom>
          <a:noFill/>
          <a:ln w="9525">
            <a:noFill/>
            <a:miter lim="800000"/>
            <a:headEnd/>
            <a:tailEnd/>
          </a:ln>
        </p:spPr>
      </p:pic>
      <p:pic>
        <p:nvPicPr>
          <p:cNvPr id="67" name="Picture 66"/>
          <p:cNvPicPr>
            <a:picLocks/>
          </p:cNvPicPr>
          <p:nvPr/>
        </p:nvPicPr>
        <p:blipFill>
          <a:blip r:embed="rId12" cstate="print"/>
          <a:srcRect/>
          <a:stretch>
            <a:fillRect/>
          </a:stretch>
        </p:blipFill>
        <p:spPr bwMode="auto">
          <a:xfrm>
            <a:off x="5284062" y="2807018"/>
            <a:ext cx="274391" cy="274320"/>
          </a:xfrm>
          <a:prstGeom prst="rect">
            <a:avLst/>
          </a:prstGeom>
          <a:noFill/>
          <a:ln w="9525">
            <a:noFill/>
            <a:miter lim="800000"/>
            <a:headEnd/>
            <a:tailEnd/>
          </a:ln>
        </p:spPr>
      </p:pic>
      <p:pic>
        <p:nvPicPr>
          <p:cNvPr id="15" name="Picture 14"/>
          <p:cNvPicPr>
            <a:picLocks/>
          </p:cNvPicPr>
          <p:nvPr/>
        </p:nvPicPr>
        <p:blipFill>
          <a:blip r:embed="rId13" cstate="print"/>
          <a:srcRect/>
          <a:stretch>
            <a:fillRect/>
          </a:stretch>
        </p:blipFill>
        <p:spPr bwMode="auto">
          <a:xfrm>
            <a:off x="5284062" y="2510790"/>
            <a:ext cx="274391" cy="274320"/>
          </a:xfrm>
          <a:prstGeom prst="rect">
            <a:avLst/>
          </a:prstGeom>
          <a:noFill/>
          <a:ln w="9525">
            <a:noFill/>
            <a:miter lim="800000"/>
            <a:headEnd/>
            <a:tailEnd/>
          </a:ln>
        </p:spPr>
      </p:pic>
      <p:pic>
        <p:nvPicPr>
          <p:cNvPr id="88" name="Picture 4" descr="C:\MAX\Branding\SC Brand Guide Graphics\SCDPM_256.png"/>
          <p:cNvPicPr>
            <a:picLocks noChangeArrowheads="1"/>
          </p:cNvPicPr>
          <p:nvPr/>
        </p:nvPicPr>
        <p:blipFill rotWithShape="1">
          <a:blip r:embed="rId14" cstate="print"/>
          <a:srcRect l="1886" r="1857" b="3333"/>
          <a:stretch/>
        </p:blipFill>
        <p:spPr bwMode="auto">
          <a:xfrm>
            <a:off x="5284062" y="3103245"/>
            <a:ext cx="274391" cy="274320"/>
          </a:xfrm>
          <a:prstGeom prst="rect">
            <a:avLst/>
          </a:prstGeom>
          <a:solidFill>
            <a:schemeClr val="accent5">
              <a:lumMod val="75000"/>
            </a:schemeClr>
          </a:solidFill>
          <a:effectLst/>
          <a:extLst/>
        </p:spPr>
      </p:pic>
      <p:sp>
        <p:nvSpPr>
          <p:cNvPr id="89" name="TextBox 88"/>
          <p:cNvSpPr txBox="1"/>
          <p:nvPr/>
        </p:nvSpPr>
        <p:spPr>
          <a:xfrm>
            <a:off x="5530227" y="3133793"/>
            <a:ext cx="1474378" cy="207749"/>
          </a:xfrm>
          <a:prstGeom prst="rect">
            <a:avLst/>
          </a:prstGeom>
          <a:noFill/>
        </p:spPr>
        <p:txBody>
          <a:bodyPr wrap="square" lIns="68586" tIns="34294" rIns="68586" bIns="34294">
            <a:spAutoFit/>
          </a:bodyPr>
          <a:lstStyle/>
          <a:p>
            <a:pPr>
              <a:defRPr/>
            </a:pPr>
            <a:r>
              <a:rPr lang="en-US" sz="900" dirty="0">
                <a:solidFill>
                  <a:srgbClr val="EEECE1"/>
                </a:solidFill>
              </a:rPr>
              <a:t>Data Protection Manager</a:t>
            </a:r>
          </a:p>
        </p:txBody>
      </p:sp>
      <p:grpSp>
        <p:nvGrpSpPr>
          <p:cNvPr id="59" name="Group 58"/>
          <p:cNvGrpSpPr/>
          <p:nvPr/>
        </p:nvGrpSpPr>
        <p:grpSpPr>
          <a:xfrm>
            <a:off x="290067" y="2135981"/>
            <a:ext cx="659738" cy="1639493"/>
            <a:chOff x="5525641" y="2209800"/>
            <a:chExt cx="1485900" cy="3629025"/>
          </a:xfrm>
        </p:grpSpPr>
        <p:pic>
          <p:nvPicPr>
            <p:cNvPr id="69" name="Picture 6" descr="\\192.168.10.9\Shared\Design\Microsoft Events Presentation Resource DVD\DVD_ART36\Artwork_Imagery\Icons - Illustrations\People\White silhouettes\woman person 3.png"/>
            <p:cNvPicPr>
              <a:picLocks noChangeAspect="1" noChangeArrowheads="1"/>
            </p:cNvPicPr>
            <p:nvPr/>
          </p:nvPicPr>
          <p:blipFill>
            <a:blip r:embed="rId15" cstate="print"/>
            <a:srcRect/>
            <a:stretch>
              <a:fillRect/>
            </a:stretch>
          </p:blipFill>
          <p:spPr bwMode="auto">
            <a:xfrm>
              <a:off x="5525641" y="2209800"/>
              <a:ext cx="1485900" cy="3459811"/>
            </a:xfrm>
            <a:prstGeom prst="rect">
              <a:avLst/>
            </a:prstGeom>
            <a:noFill/>
            <a:ln w="9525">
              <a:noFill/>
              <a:miter lim="800000"/>
              <a:headEnd/>
              <a:tailEnd/>
            </a:ln>
          </p:spPr>
        </p:pic>
        <p:sp>
          <p:nvSpPr>
            <p:cNvPr id="70" name="Oval 8"/>
            <p:cNvSpPr>
              <a:spLocks noChangeArrowheads="1"/>
            </p:cNvSpPr>
            <p:nvPr/>
          </p:nvSpPr>
          <p:spPr bwMode="auto">
            <a:xfrm>
              <a:off x="5705836" y="4713167"/>
              <a:ext cx="1125511" cy="1125658"/>
            </a:xfrm>
            <a:prstGeom prst="ellipse">
              <a:avLst/>
            </a:prstGeom>
            <a:solidFill>
              <a:srgbClr val="21639F">
                <a:alpha val="89803"/>
              </a:srgbClr>
            </a:solidFill>
            <a:ln w="9525">
              <a:noFill/>
              <a:round/>
              <a:headEnd/>
              <a:tailEnd/>
            </a:ln>
          </p:spPr>
          <p:txBody>
            <a:bodyPr wrap="none" anchor="ctr"/>
            <a:lstStyle/>
            <a:p>
              <a:pPr algn="ctr"/>
              <a:r>
                <a:rPr lang="en-US" sz="800" dirty="0">
                  <a:solidFill>
                    <a:srgbClr val="FFFFFF"/>
                  </a:solidFill>
                </a:rPr>
                <a:t>App</a:t>
              </a:r>
            </a:p>
            <a:p>
              <a:pPr algn="ctr"/>
              <a:r>
                <a:rPr lang="en-US" sz="800" dirty="0">
                  <a:solidFill>
                    <a:srgbClr val="FFFFFF"/>
                  </a:solidFill>
                </a:rPr>
                <a:t>Owner</a:t>
              </a:r>
            </a:p>
          </p:txBody>
        </p:sp>
      </p:grpSp>
      <p:sp>
        <p:nvSpPr>
          <p:cNvPr id="76" name="Rectangle 75"/>
          <p:cNvSpPr/>
          <p:nvPr/>
        </p:nvSpPr>
        <p:spPr>
          <a:xfrm>
            <a:off x="856282" y="4800600"/>
            <a:ext cx="2362815" cy="171450"/>
          </a:xfrm>
          <a:prstGeom prst="rect">
            <a:avLst/>
          </a:prstGeom>
          <a:solidFill>
            <a:schemeClr val="accent1">
              <a:lumMod val="75000"/>
            </a:schemeClr>
          </a:solidFill>
        </p:spPr>
        <p:style>
          <a:lnRef idx="1">
            <a:schemeClr val="accent1"/>
          </a:lnRef>
          <a:fillRef idx="3">
            <a:schemeClr val="accent1"/>
          </a:fillRef>
          <a:effectRef idx="2">
            <a:schemeClr val="accent1"/>
          </a:effectRef>
          <a:fontRef idx="minor">
            <a:schemeClr val="lt1"/>
          </a:fontRef>
        </p:style>
        <p:txBody>
          <a:bodyPr lIns="68586" tIns="34294" rIns="68586" bIns="34294" rtlCol="0" anchor="ctr"/>
          <a:lstStyle/>
          <a:p>
            <a:pPr algn="ctr"/>
            <a:r>
              <a:rPr lang="en-US" sz="1200" dirty="0">
                <a:solidFill>
                  <a:srgbClr val="FFFFFF"/>
                </a:solidFill>
              </a:rPr>
              <a:t>Application Management</a:t>
            </a:r>
          </a:p>
        </p:txBody>
      </p:sp>
      <p:sp>
        <p:nvSpPr>
          <p:cNvPr id="78" name="Rectangle 77"/>
          <p:cNvSpPr/>
          <p:nvPr/>
        </p:nvSpPr>
        <p:spPr>
          <a:xfrm>
            <a:off x="3248871" y="4800600"/>
            <a:ext cx="2362815" cy="171450"/>
          </a:xfrm>
          <a:prstGeom prst="rect">
            <a:avLst/>
          </a:prstGeom>
          <a:solidFill>
            <a:schemeClr val="accent1">
              <a:lumMod val="75000"/>
            </a:schemeClr>
          </a:solidFill>
        </p:spPr>
        <p:style>
          <a:lnRef idx="1">
            <a:schemeClr val="accent1"/>
          </a:lnRef>
          <a:fillRef idx="3">
            <a:schemeClr val="accent1"/>
          </a:fillRef>
          <a:effectRef idx="2">
            <a:schemeClr val="accent1"/>
          </a:effectRef>
          <a:fontRef idx="minor">
            <a:schemeClr val="lt1"/>
          </a:fontRef>
        </p:style>
        <p:txBody>
          <a:bodyPr lIns="68586" tIns="34294" rIns="68586" bIns="34294" rtlCol="0" anchor="ctr"/>
          <a:lstStyle/>
          <a:p>
            <a:pPr algn="ctr"/>
            <a:r>
              <a:rPr lang="en-US" sz="1200" dirty="0">
                <a:solidFill>
                  <a:srgbClr val="FFFFFF"/>
                </a:solidFill>
              </a:rPr>
              <a:t>Service Delivery and Automation</a:t>
            </a:r>
          </a:p>
        </p:txBody>
      </p:sp>
      <p:sp>
        <p:nvSpPr>
          <p:cNvPr id="79" name="Rectangle 78"/>
          <p:cNvSpPr/>
          <p:nvPr/>
        </p:nvSpPr>
        <p:spPr>
          <a:xfrm>
            <a:off x="5658133" y="4800600"/>
            <a:ext cx="2362815" cy="171450"/>
          </a:xfrm>
          <a:prstGeom prst="rect">
            <a:avLst/>
          </a:prstGeom>
          <a:solidFill>
            <a:schemeClr val="accent1">
              <a:lumMod val="75000"/>
            </a:schemeClr>
          </a:solidFill>
        </p:spPr>
        <p:style>
          <a:lnRef idx="1">
            <a:schemeClr val="accent1"/>
          </a:lnRef>
          <a:fillRef idx="3">
            <a:schemeClr val="accent1"/>
          </a:fillRef>
          <a:effectRef idx="2">
            <a:schemeClr val="accent1"/>
          </a:effectRef>
          <a:fontRef idx="minor">
            <a:schemeClr val="lt1"/>
          </a:fontRef>
        </p:style>
        <p:txBody>
          <a:bodyPr lIns="68586" tIns="34294" rIns="68586" bIns="34294" rtlCol="0" anchor="ctr"/>
          <a:lstStyle/>
          <a:p>
            <a:pPr algn="ctr"/>
            <a:r>
              <a:rPr lang="en-US" sz="1200" dirty="0">
                <a:solidFill>
                  <a:srgbClr val="FFFFFF"/>
                </a:solidFill>
              </a:rPr>
              <a:t>Infrastructure Management</a:t>
            </a:r>
          </a:p>
        </p:txBody>
      </p:sp>
      <p:sp>
        <p:nvSpPr>
          <p:cNvPr id="56"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71"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6"/>
              </a:rPr>
              <a:t>www.rapidbbs.cn</a:t>
            </a:r>
            <a:endParaRPr lang="zh-CN" altLang="en-US" sz="1200" b="0">
              <a:latin typeface="Arial" charset="0"/>
              <a:ea typeface="ＭＳ Ｐゴシック" pitchFamily="34" charset="-128"/>
            </a:endParaRPr>
          </a:p>
        </p:txBody>
      </p:sp>
      <p:pic>
        <p:nvPicPr>
          <p:cNvPr id="72" name="Picture 2">
            <a:hlinkClick r:id="rId16"/>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414981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5954"/>
                                        </p:tgtEl>
                                        <p:attrNameLst>
                                          <p:attrName>style.visibility</p:attrName>
                                        </p:attrNameLst>
                                      </p:cBhvr>
                                      <p:to>
                                        <p:strVal val="visible"/>
                                      </p:to>
                                    </p:set>
                                    <p:animEffect transition="in" filter="fade">
                                      <p:cBhvr>
                                        <p:cTn id="7" dur="500"/>
                                        <p:tgtEl>
                                          <p:spTgt spid="125954"/>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wipe(left)">
                                      <p:cBhvr>
                                        <p:cTn id="15" dur="500"/>
                                        <p:tgtEl>
                                          <p:spTgt spid="7"/>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25955"/>
                                        </p:tgtEl>
                                        <p:attrNameLst>
                                          <p:attrName>style.visibility</p:attrName>
                                        </p:attrNameLst>
                                      </p:cBhvr>
                                      <p:to>
                                        <p:strVal val="visible"/>
                                      </p:to>
                                    </p:set>
                                    <p:animEffect transition="in" filter="fade">
                                      <p:cBhvr>
                                        <p:cTn id="20" dur="500"/>
                                        <p:tgtEl>
                                          <p:spTgt spid="125955"/>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64"/>
                                        </p:tgtEl>
                                        <p:attrNameLst>
                                          <p:attrName>style.visibility</p:attrName>
                                        </p:attrNameLst>
                                      </p:cBhvr>
                                      <p:to>
                                        <p:strVal val="visible"/>
                                      </p:to>
                                    </p:set>
                                    <p:animEffect transition="in" filter="fade">
                                      <p:cBhvr>
                                        <p:cTn id="23" dur="500"/>
                                        <p:tgtEl>
                                          <p:spTgt spid="64"/>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8" fill="hold" nodeType="clickEffect">
                                  <p:stCondLst>
                                    <p:cond delay="0"/>
                                  </p:stCondLst>
                                  <p:childTnLst>
                                    <p:set>
                                      <p:cBhvr>
                                        <p:cTn id="27" dur="1" fill="hold">
                                          <p:stCondLst>
                                            <p:cond delay="0"/>
                                          </p:stCondLst>
                                        </p:cTn>
                                        <p:tgtEl>
                                          <p:spTgt spid="5"/>
                                        </p:tgtEl>
                                        <p:attrNameLst>
                                          <p:attrName>style.visibility</p:attrName>
                                        </p:attrNameLst>
                                      </p:cBhvr>
                                      <p:to>
                                        <p:strVal val="visible"/>
                                      </p:to>
                                    </p:set>
                                    <p:animEffect transition="in" filter="wipe(left)">
                                      <p:cBhvr>
                                        <p:cTn id="28" dur="500"/>
                                        <p:tgtEl>
                                          <p:spTgt spid="5"/>
                                        </p:tgtEl>
                                      </p:cBhvr>
                                    </p:animEffect>
                                  </p:childTnLst>
                                </p:cTn>
                              </p:par>
                            </p:childTnLst>
                          </p:cTn>
                        </p:par>
                        <p:par>
                          <p:cTn id="29" fill="hold">
                            <p:stCondLst>
                              <p:cond delay="500"/>
                            </p:stCondLst>
                            <p:childTnLst>
                              <p:par>
                                <p:cTn id="30" presetID="10" presetClass="entr" presetSubtype="0" fill="hold" nodeType="after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fade">
                                      <p:cBhvr>
                                        <p:cTn id="32" dur="500"/>
                                        <p:tgtEl>
                                          <p:spTgt spid="17"/>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2" fill="hold" nodeType="clickEffect">
                                  <p:stCondLst>
                                    <p:cond delay="0"/>
                                  </p:stCondLst>
                                  <p:childTnLst>
                                    <p:set>
                                      <p:cBhvr>
                                        <p:cTn id="36" dur="1" fill="hold">
                                          <p:stCondLst>
                                            <p:cond delay="0"/>
                                          </p:stCondLst>
                                        </p:cTn>
                                        <p:tgtEl>
                                          <p:spTgt spid="16"/>
                                        </p:tgtEl>
                                        <p:attrNameLst>
                                          <p:attrName>style.visibility</p:attrName>
                                        </p:attrNameLst>
                                      </p:cBhvr>
                                      <p:to>
                                        <p:strVal val="visible"/>
                                      </p:to>
                                    </p:set>
                                    <p:animEffect transition="in" filter="wipe(right)">
                                      <p:cBhvr>
                                        <p:cTn id="37" dur="500"/>
                                        <p:tgtEl>
                                          <p:spTgt spid="16"/>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61"/>
                                        </p:tgtEl>
                                        <p:attrNameLst>
                                          <p:attrName>style.visibility</p:attrName>
                                        </p:attrNameLst>
                                      </p:cBhvr>
                                      <p:to>
                                        <p:strVal val="visible"/>
                                      </p:to>
                                    </p:set>
                                    <p:animEffect transition="in" filter="fade">
                                      <p:cBhvr>
                                        <p:cTn id="42" dur="500"/>
                                        <p:tgtEl>
                                          <p:spTgt spid="61"/>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62"/>
                                        </p:tgtEl>
                                        <p:attrNameLst>
                                          <p:attrName>style.visibility</p:attrName>
                                        </p:attrNameLst>
                                      </p:cBhvr>
                                      <p:to>
                                        <p:strVal val="visible"/>
                                      </p:to>
                                    </p:set>
                                    <p:animEffect transition="in" filter="fade">
                                      <p:cBhvr>
                                        <p:cTn id="45" dur="500"/>
                                        <p:tgtEl>
                                          <p:spTgt spid="62"/>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63"/>
                                        </p:tgtEl>
                                        <p:attrNameLst>
                                          <p:attrName>style.visibility</p:attrName>
                                        </p:attrNameLst>
                                      </p:cBhvr>
                                      <p:to>
                                        <p:strVal val="visible"/>
                                      </p:to>
                                    </p:set>
                                    <p:animEffect transition="in" filter="fade">
                                      <p:cBhvr>
                                        <p:cTn id="48" dur="500"/>
                                        <p:tgtEl>
                                          <p:spTgt spid="6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65"/>
                                        </p:tgtEl>
                                        <p:attrNameLst>
                                          <p:attrName>style.visibility</p:attrName>
                                        </p:attrNameLst>
                                      </p:cBhvr>
                                      <p:to>
                                        <p:strVal val="visible"/>
                                      </p:to>
                                    </p:set>
                                    <p:animEffect transition="in" filter="fade">
                                      <p:cBhvr>
                                        <p:cTn id="51" dur="500"/>
                                        <p:tgtEl>
                                          <p:spTgt spid="65"/>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8"/>
                                        </p:tgtEl>
                                        <p:attrNameLst>
                                          <p:attrName>style.visibility</p:attrName>
                                        </p:attrNameLst>
                                      </p:cBhvr>
                                      <p:to>
                                        <p:strVal val="visible"/>
                                      </p:to>
                                    </p:set>
                                    <p:animEffect transition="in" filter="fade">
                                      <p:cBhvr>
                                        <p:cTn id="54" dur="500"/>
                                        <p:tgtEl>
                                          <p:spTgt spid="8"/>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60"/>
                                        </p:tgtEl>
                                        <p:attrNameLst>
                                          <p:attrName>style.visibility</p:attrName>
                                        </p:attrNameLst>
                                      </p:cBhvr>
                                      <p:to>
                                        <p:strVal val="visible"/>
                                      </p:to>
                                    </p:set>
                                    <p:animEffect transition="in" filter="fade">
                                      <p:cBhvr>
                                        <p:cTn id="57" dur="500"/>
                                        <p:tgtEl>
                                          <p:spTgt spid="60"/>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66"/>
                                        </p:tgtEl>
                                        <p:attrNameLst>
                                          <p:attrName>style.visibility</p:attrName>
                                        </p:attrNameLst>
                                      </p:cBhvr>
                                      <p:to>
                                        <p:strVal val="visible"/>
                                      </p:to>
                                    </p:set>
                                    <p:animEffect transition="in" filter="fade">
                                      <p:cBhvr>
                                        <p:cTn id="60" dur="500"/>
                                        <p:tgtEl>
                                          <p:spTgt spid="66"/>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89"/>
                                        </p:tgtEl>
                                        <p:attrNameLst>
                                          <p:attrName>style.visibility</p:attrName>
                                        </p:attrNameLst>
                                      </p:cBhvr>
                                      <p:to>
                                        <p:strVal val="visible"/>
                                      </p:to>
                                    </p:set>
                                    <p:animEffect transition="in" filter="fade">
                                      <p:cBhvr>
                                        <p:cTn id="63" dur="500"/>
                                        <p:tgtEl>
                                          <p:spTgt spid="89"/>
                                        </p:tgtEl>
                                      </p:cBhvr>
                                    </p:animEffect>
                                  </p:childTnLst>
                                </p:cTn>
                              </p:par>
                              <p:par>
                                <p:cTn id="64" presetID="10" presetClass="entr" presetSubtype="0" fill="hold" nodeType="withEffect">
                                  <p:stCondLst>
                                    <p:cond delay="0"/>
                                  </p:stCondLst>
                                  <p:childTnLst>
                                    <p:set>
                                      <p:cBhvr>
                                        <p:cTn id="65" dur="1" fill="hold">
                                          <p:stCondLst>
                                            <p:cond delay="0"/>
                                          </p:stCondLst>
                                        </p:cTn>
                                        <p:tgtEl>
                                          <p:spTgt spid="9"/>
                                        </p:tgtEl>
                                        <p:attrNameLst>
                                          <p:attrName>style.visibility</p:attrName>
                                        </p:attrNameLst>
                                      </p:cBhvr>
                                      <p:to>
                                        <p:strVal val="visible"/>
                                      </p:to>
                                    </p:set>
                                    <p:animEffect transition="in" filter="fade">
                                      <p:cBhvr>
                                        <p:cTn id="66" dur="500"/>
                                        <p:tgtEl>
                                          <p:spTgt spid="9"/>
                                        </p:tgtEl>
                                      </p:cBhvr>
                                    </p:animEffect>
                                  </p:childTnLst>
                                </p:cTn>
                              </p:par>
                              <p:par>
                                <p:cTn id="67" presetID="10" presetClass="entr" presetSubtype="0" fill="hold" nodeType="withEffect">
                                  <p:stCondLst>
                                    <p:cond delay="0"/>
                                  </p:stCondLst>
                                  <p:childTnLst>
                                    <p:set>
                                      <p:cBhvr>
                                        <p:cTn id="68" dur="1" fill="hold">
                                          <p:stCondLst>
                                            <p:cond delay="0"/>
                                          </p:stCondLst>
                                        </p:cTn>
                                        <p:tgtEl>
                                          <p:spTgt spid="11"/>
                                        </p:tgtEl>
                                        <p:attrNameLst>
                                          <p:attrName>style.visibility</p:attrName>
                                        </p:attrNameLst>
                                      </p:cBhvr>
                                      <p:to>
                                        <p:strVal val="visible"/>
                                      </p:to>
                                    </p:set>
                                    <p:animEffect transition="in" filter="fade">
                                      <p:cBhvr>
                                        <p:cTn id="69" dur="500"/>
                                        <p:tgtEl>
                                          <p:spTgt spid="11"/>
                                        </p:tgtEl>
                                      </p:cBhvr>
                                    </p:animEffect>
                                  </p:childTnLst>
                                </p:cTn>
                              </p:par>
                              <p:par>
                                <p:cTn id="70" presetID="10" presetClass="entr" presetSubtype="0" fill="hold" nodeType="withEffect">
                                  <p:stCondLst>
                                    <p:cond delay="0"/>
                                  </p:stCondLst>
                                  <p:childTnLst>
                                    <p:set>
                                      <p:cBhvr>
                                        <p:cTn id="71" dur="1" fill="hold">
                                          <p:stCondLst>
                                            <p:cond delay="0"/>
                                          </p:stCondLst>
                                        </p:cTn>
                                        <p:tgtEl>
                                          <p:spTgt spid="13"/>
                                        </p:tgtEl>
                                        <p:attrNameLst>
                                          <p:attrName>style.visibility</p:attrName>
                                        </p:attrNameLst>
                                      </p:cBhvr>
                                      <p:to>
                                        <p:strVal val="visible"/>
                                      </p:to>
                                    </p:set>
                                    <p:animEffect transition="in" filter="fade">
                                      <p:cBhvr>
                                        <p:cTn id="72" dur="500"/>
                                        <p:tgtEl>
                                          <p:spTgt spid="13"/>
                                        </p:tgtEl>
                                      </p:cBhvr>
                                    </p:animEffect>
                                  </p:childTnLst>
                                </p:cTn>
                              </p:par>
                              <p:par>
                                <p:cTn id="73" presetID="10" presetClass="entr" presetSubtype="0" fill="hold" nodeType="withEffect">
                                  <p:stCondLst>
                                    <p:cond delay="0"/>
                                  </p:stCondLst>
                                  <p:childTnLst>
                                    <p:set>
                                      <p:cBhvr>
                                        <p:cTn id="74" dur="1" fill="hold">
                                          <p:stCondLst>
                                            <p:cond delay="0"/>
                                          </p:stCondLst>
                                        </p:cTn>
                                        <p:tgtEl>
                                          <p:spTgt spid="88"/>
                                        </p:tgtEl>
                                        <p:attrNameLst>
                                          <p:attrName>style.visibility</p:attrName>
                                        </p:attrNameLst>
                                      </p:cBhvr>
                                      <p:to>
                                        <p:strVal val="visible"/>
                                      </p:to>
                                    </p:set>
                                    <p:animEffect transition="in" filter="fade">
                                      <p:cBhvr>
                                        <p:cTn id="75" dur="500"/>
                                        <p:tgtEl>
                                          <p:spTgt spid="88"/>
                                        </p:tgtEl>
                                      </p:cBhvr>
                                    </p:animEffect>
                                  </p:childTnLst>
                                </p:cTn>
                              </p:par>
                              <p:par>
                                <p:cTn id="76" presetID="10" presetClass="entr" presetSubtype="0" fill="hold" nodeType="withEffect">
                                  <p:stCondLst>
                                    <p:cond delay="0"/>
                                  </p:stCondLst>
                                  <p:childTnLst>
                                    <p:set>
                                      <p:cBhvr>
                                        <p:cTn id="77" dur="1" fill="hold">
                                          <p:stCondLst>
                                            <p:cond delay="0"/>
                                          </p:stCondLst>
                                        </p:cTn>
                                        <p:tgtEl>
                                          <p:spTgt spid="15"/>
                                        </p:tgtEl>
                                        <p:attrNameLst>
                                          <p:attrName>style.visibility</p:attrName>
                                        </p:attrNameLst>
                                      </p:cBhvr>
                                      <p:to>
                                        <p:strVal val="visible"/>
                                      </p:to>
                                    </p:set>
                                    <p:animEffect transition="in" filter="fade">
                                      <p:cBhvr>
                                        <p:cTn id="78" dur="500"/>
                                        <p:tgtEl>
                                          <p:spTgt spid="15"/>
                                        </p:tgtEl>
                                      </p:cBhvr>
                                    </p:animEffect>
                                  </p:childTnLst>
                                </p:cTn>
                              </p:par>
                              <p:par>
                                <p:cTn id="79" presetID="10" presetClass="entr" presetSubtype="0" fill="hold" nodeType="withEffect">
                                  <p:stCondLst>
                                    <p:cond delay="0"/>
                                  </p:stCondLst>
                                  <p:childTnLst>
                                    <p:set>
                                      <p:cBhvr>
                                        <p:cTn id="80" dur="1" fill="hold">
                                          <p:stCondLst>
                                            <p:cond delay="0"/>
                                          </p:stCondLst>
                                        </p:cTn>
                                        <p:tgtEl>
                                          <p:spTgt spid="67"/>
                                        </p:tgtEl>
                                        <p:attrNameLst>
                                          <p:attrName>style.visibility</p:attrName>
                                        </p:attrNameLst>
                                      </p:cBhvr>
                                      <p:to>
                                        <p:strVal val="visible"/>
                                      </p:to>
                                    </p:set>
                                    <p:animEffect transition="in" filter="fade">
                                      <p:cBhvr>
                                        <p:cTn id="81" dur="500"/>
                                        <p:tgtEl>
                                          <p:spTgt spid="67"/>
                                        </p:tgtEl>
                                      </p:cBhvr>
                                    </p:animEffect>
                                  </p:childTnLst>
                                </p:cTn>
                              </p:par>
                              <p:par>
                                <p:cTn id="82" presetID="10" presetClass="entr" presetSubtype="0" fill="hold" nodeType="withEffect">
                                  <p:stCondLst>
                                    <p:cond delay="0"/>
                                  </p:stCondLst>
                                  <p:childTnLst>
                                    <p:set>
                                      <p:cBhvr>
                                        <p:cTn id="83" dur="1" fill="hold">
                                          <p:stCondLst>
                                            <p:cond delay="0"/>
                                          </p:stCondLst>
                                        </p:cTn>
                                        <p:tgtEl>
                                          <p:spTgt spid="57"/>
                                        </p:tgtEl>
                                        <p:attrNameLst>
                                          <p:attrName>style.visibility</p:attrName>
                                        </p:attrNameLst>
                                      </p:cBhvr>
                                      <p:to>
                                        <p:strVal val="visible"/>
                                      </p:to>
                                    </p:set>
                                    <p:animEffect transition="in" filter="fade">
                                      <p:cBhvr>
                                        <p:cTn id="84" dur="500"/>
                                        <p:tgtEl>
                                          <p:spTgt spid="57"/>
                                        </p:tgtEl>
                                      </p:cBhvr>
                                    </p:animEffect>
                                  </p:childTnLst>
                                </p:cTn>
                              </p:par>
                              <p:par>
                                <p:cTn id="85" presetID="10" presetClass="entr" presetSubtype="0" fill="hold" nodeType="withEffect">
                                  <p:stCondLst>
                                    <p:cond delay="0"/>
                                  </p:stCondLst>
                                  <p:childTnLst>
                                    <p:set>
                                      <p:cBhvr>
                                        <p:cTn id="86" dur="1" fill="hold">
                                          <p:stCondLst>
                                            <p:cond delay="0"/>
                                          </p:stCondLst>
                                        </p:cTn>
                                        <p:tgtEl>
                                          <p:spTgt spid="12"/>
                                        </p:tgtEl>
                                        <p:attrNameLst>
                                          <p:attrName>style.visibility</p:attrName>
                                        </p:attrNameLst>
                                      </p:cBhvr>
                                      <p:to>
                                        <p:strVal val="visible"/>
                                      </p:to>
                                    </p:set>
                                    <p:animEffect transition="in" filter="fade">
                                      <p:cBhvr>
                                        <p:cTn id="87" dur="500"/>
                                        <p:tgtEl>
                                          <p:spTgt spid="12"/>
                                        </p:tgtEl>
                                      </p:cBhvr>
                                    </p:animEffect>
                                  </p:childTnLst>
                                </p:cTn>
                              </p:par>
                            </p:childTnLst>
                          </p:cTn>
                        </p:par>
                      </p:childTnLst>
                    </p:cTn>
                  </p:par>
                  <p:par>
                    <p:cTn id="88" fill="hold">
                      <p:stCondLst>
                        <p:cond delay="indefinite"/>
                      </p:stCondLst>
                      <p:childTnLst>
                        <p:par>
                          <p:cTn id="89" fill="hold">
                            <p:stCondLst>
                              <p:cond delay="0"/>
                            </p:stCondLst>
                            <p:childTnLst>
                              <p:par>
                                <p:cTn id="90" presetID="1" presetClass="entr" presetSubtype="0" fill="hold" grpId="0" nodeType="clickEffect">
                                  <p:stCondLst>
                                    <p:cond delay="0"/>
                                  </p:stCondLst>
                                  <p:childTnLst>
                                    <p:set>
                                      <p:cBhvr>
                                        <p:cTn id="91" dur="1" fill="hold">
                                          <p:stCondLst>
                                            <p:cond delay="0"/>
                                          </p:stCondLst>
                                        </p:cTn>
                                        <p:tgtEl>
                                          <p:spTgt spid="76"/>
                                        </p:tgtEl>
                                        <p:attrNameLst>
                                          <p:attrName>style.visibility</p:attrName>
                                        </p:attrNameLst>
                                      </p:cBhvr>
                                      <p:to>
                                        <p:strVal val="visible"/>
                                      </p:to>
                                    </p:set>
                                  </p:childTnLst>
                                </p:cTn>
                              </p:par>
                              <p:par>
                                <p:cTn id="92" presetID="1" presetClass="entr" presetSubtype="0" fill="hold" grpId="0" nodeType="withEffect">
                                  <p:stCondLst>
                                    <p:cond delay="0"/>
                                  </p:stCondLst>
                                  <p:childTnLst>
                                    <p:set>
                                      <p:cBhvr>
                                        <p:cTn id="93" dur="1" fill="hold">
                                          <p:stCondLst>
                                            <p:cond delay="0"/>
                                          </p:stCondLst>
                                        </p:cTn>
                                        <p:tgtEl>
                                          <p:spTgt spid="78"/>
                                        </p:tgtEl>
                                        <p:attrNameLst>
                                          <p:attrName>style.visibility</p:attrName>
                                        </p:attrNameLst>
                                      </p:cBhvr>
                                      <p:to>
                                        <p:strVal val="visible"/>
                                      </p:to>
                                    </p:set>
                                  </p:childTnLst>
                                </p:cTn>
                              </p:par>
                              <p:par>
                                <p:cTn id="94" presetID="1" presetClass="entr" presetSubtype="0" fill="hold" grpId="0" nodeType="withEffect">
                                  <p:stCondLst>
                                    <p:cond delay="0"/>
                                  </p:stCondLst>
                                  <p:childTnLst>
                                    <p:set>
                                      <p:cBhvr>
                                        <p:cTn id="95" dur="1" fill="hold">
                                          <p:stCondLst>
                                            <p:cond delay="0"/>
                                          </p:stCondLst>
                                        </p:cTn>
                                        <p:tgtEl>
                                          <p:spTgt spid="7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5954" grpId="0" animBg="1"/>
      <p:bldP spid="125955" grpId="0" animBg="1"/>
      <p:bldP spid="64" grpId="0" animBg="1"/>
      <p:bldP spid="8" grpId="0"/>
      <p:bldP spid="60" grpId="0"/>
      <p:bldP spid="61" grpId="0"/>
      <p:bldP spid="62" grpId="0"/>
      <p:bldP spid="63" grpId="0"/>
      <p:bldP spid="65" grpId="0"/>
      <p:bldP spid="66" grpId="0"/>
      <p:bldP spid="89" grpId="0"/>
      <p:bldP spid="76" grpId="0" animBg="1"/>
      <p:bldP spid="78" grpId="0" animBg="1"/>
      <p:bldP spid="79" grpId="0" animBg="1"/>
    </p:bldLst>
  </p:timing>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4629165" y="2867891"/>
            <a:ext cx="2723335" cy="1632204"/>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b" anchorCtr="0" compatLnSpc="1">
            <a:prstTxWarp prst="textNoShape">
              <a:avLst/>
            </a:prstTxWarp>
          </a:bodyPr>
          <a:lstStyle/>
          <a:p>
            <a:pPr defTabSz="685637"/>
            <a:r>
              <a:rPr lang="en-US" sz="2100" dirty="0">
                <a:solidFill>
                  <a:srgbClr val="FFFFFF">
                    <a:alpha val="98824"/>
                  </a:srgbClr>
                </a:solidFill>
                <a:latin typeface="Segoe UI" pitchFamily="34" charset="0"/>
                <a:ea typeface="Segoe UI" pitchFamily="34" charset="0"/>
                <a:cs typeface="Segoe UI" pitchFamily="34" charset="0"/>
              </a:rPr>
              <a:t>Infrastructure</a:t>
            </a:r>
          </a:p>
        </p:txBody>
      </p:sp>
      <p:grpSp>
        <p:nvGrpSpPr>
          <p:cNvPr id="8" name="Group 7"/>
          <p:cNvGrpSpPr>
            <a:grpSpLocks noChangeAspect="1"/>
          </p:cNvGrpSpPr>
          <p:nvPr/>
        </p:nvGrpSpPr>
        <p:grpSpPr bwMode="black">
          <a:xfrm>
            <a:off x="5674053" y="3345559"/>
            <a:ext cx="532170" cy="411480"/>
            <a:chOff x="813584" y="4312262"/>
            <a:chExt cx="478309" cy="370027"/>
          </a:xfrm>
        </p:grpSpPr>
        <p:sp>
          <p:nvSpPr>
            <p:cNvPr id="9" name="Freeform 79"/>
            <p:cNvSpPr>
              <a:spLocks/>
            </p:cNvSpPr>
            <p:nvPr/>
          </p:nvSpPr>
          <p:spPr bwMode="black">
            <a:xfrm>
              <a:off x="813584" y="4503897"/>
              <a:ext cx="478309" cy="178392"/>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500"/>
            </a:p>
          </p:txBody>
        </p:sp>
        <p:sp>
          <p:nvSpPr>
            <p:cNvPr id="10" name="Freeform 80"/>
            <p:cNvSpPr>
              <a:spLocks noEditPoints="1"/>
            </p:cNvSpPr>
            <p:nvPr/>
          </p:nvSpPr>
          <p:spPr bwMode="black">
            <a:xfrm>
              <a:off x="813584" y="4312262"/>
              <a:ext cx="478309" cy="176834"/>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500"/>
            </a:p>
          </p:txBody>
        </p:sp>
      </p:grpSp>
      <p:sp>
        <p:nvSpPr>
          <p:cNvPr id="17" name="Rectangle 16"/>
          <p:cNvSpPr/>
          <p:nvPr/>
        </p:nvSpPr>
        <p:spPr bwMode="auto">
          <a:xfrm>
            <a:off x="4629165" y="2875502"/>
            <a:ext cx="2723335" cy="1257300"/>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t" anchorCtr="0" compatLnSpc="1">
            <a:prstTxWarp prst="textNoShape">
              <a:avLst/>
            </a:prstTxWarp>
          </a:bodyPr>
          <a:lstStyle/>
          <a:p>
            <a:pPr defTabSz="685637"/>
            <a:r>
              <a:rPr lang="en-US" dirty="0" smtClean="0">
                <a:solidFill>
                  <a:srgbClr val="FFFFFF">
                    <a:alpha val="98824"/>
                  </a:srgbClr>
                </a:solidFill>
                <a:latin typeface="Segoe UI" pitchFamily="34" charset="0"/>
                <a:ea typeface="Segoe UI" pitchFamily="34" charset="0"/>
                <a:cs typeface="Segoe UI" pitchFamily="34" charset="0"/>
              </a:rPr>
              <a:t>HA VMM Server</a:t>
            </a:r>
          </a:p>
          <a:p>
            <a:pPr defTabSz="685637"/>
            <a:r>
              <a:rPr lang="en-US" dirty="0" smtClean="0">
                <a:solidFill>
                  <a:srgbClr val="FFFFFF">
                    <a:alpha val="98824"/>
                  </a:srgbClr>
                </a:solidFill>
                <a:latin typeface="Segoe UI" pitchFamily="34" charset="0"/>
                <a:ea typeface="Segoe UI" pitchFamily="34" charset="0"/>
                <a:cs typeface="Segoe UI" pitchFamily="34" charset="0"/>
              </a:rPr>
              <a:t>PowerShell</a:t>
            </a:r>
          </a:p>
          <a:p>
            <a:pPr defTabSz="685637"/>
            <a:r>
              <a:rPr lang="en-US" dirty="0" smtClean="0">
                <a:solidFill>
                  <a:srgbClr val="FFFFFF">
                    <a:alpha val="98824"/>
                  </a:srgbClr>
                </a:solidFill>
                <a:latin typeface="Segoe UI" pitchFamily="34" charset="0"/>
                <a:ea typeface="Segoe UI" pitchFamily="34" charset="0"/>
                <a:cs typeface="Segoe UI" pitchFamily="34" charset="0"/>
              </a:rPr>
              <a:t>Upgrade</a:t>
            </a:r>
          </a:p>
          <a:p>
            <a:pPr defTabSz="685637"/>
            <a:r>
              <a:rPr lang="en-US" dirty="0" smtClean="0">
                <a:solidFill>
                  <a:srgbClr val="FFFFFF">
                    <a:alpha val="98824"/>
                  </a:srgbClr>
                </a:solidFill>
                <a:latin typeface="Segoe UI" pitchFamily="34" charset="0"/>
                <a:ea typeface="Segoe UI" pitchFamily="34" charset="0"/>
                <a:cs typeface="Segoe UI" pitchFamily="34" charset="0"/>
              </a:rPr>
              <a:t>Custom Properties</a:t>
            </a:r>
          </a:p>
          <a:p>
            <a:pPr algn="ctr" defTabSz="685637"/>
            <a:endParaRPr lang="en-US" dirty="0" smtClean="0">
              <a:solidFill>
                <a:srgbClr val="FFFFFF">
                  <a:alpha val="98824"/>
                </a:srgbClr>
              </a:solidFill>
              <a:latin typeface="Segoe UI" pitchFamily="34" charset="0"/>
              <a:ea typeface="Segoe UI" pitchFamily="34" charset="0"/>
              <a:cs typeface="Segoe UI" pitchFamily="34" charset="0"/>
            </a:endParaRPr>
          </a:p>
        </p:txBody>
      </p:sp>
      <p:sp>
        <p:nvSpPr>
          <p:cNvPr id="13" name="Rectangle 12"/>
          <p:cNvSpPr/>
          <p:nvPr/>
        </p:nvSpPr>
        <p:spPr bwMode="auto">
          <a:xfrm>
            <a:off x="1620006" y="971551"/>
            <a:ext cx="2723335" cy="1632204"/>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b" anchorCtr="0" compatLnSpc="1">
            <a:prstTxWarp prst="textNoShape">
              <a:avLst/>
            </a:prstTxWarp>
          </a:bodyPr>
          <a:lstStyle/>
          <a:p>
            <a:pPr defTabSz="685637"/>
            <a:r>
              <a:rPr lang="en-US" sz="2100" dirty="0">
                <a:solidFill>
                  <a:srgbClr val="FFFFFF">
                    <a:alpha val="98824"/>
                  </a:srgbClr>
                </a:solidFill>
                <a:latin typeface="Segoe UI" pitchFamily="34" charset="0"/>
                <a:ea typeface="Segoe UI" pitchFamily="34" charset="0"/>
                <a:cs typeface="Segoe UI" pitchFamily="34" charset="0"/>
              </a:rPr>
              <a:t>Services</a:t>
            </a:r>
          </a:p>
        </p:txBody>
      </p:sp>
      <p:sp>
        <p:nvSpPr>
          <p:cNvPr id="14" name="Rectangle 13"/>
          <p:cNvSpPr/>
          <p:nvPr/>
        </p:nvSpPr>
        <p:spPr bwMode="auto">
          <a:xfrm>
            <a:off x="1656591" y="2882646"/>
            <a:ext cx="2723335" cy="1632204"/>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b" anchorCtr="0" compatLnSpc="1">
            <a:prstTxWarp prst="textNoShape">
              <a:avLst/>
            </a:prstTxWarp>
          </a:bodyPr>
          <a:lstStyle/>
          <a:p>
            <a:pPr defTabSz="685637"/>
            <a:r>
              <a:rPr lang="en-US" sz="2100" dirty="0">
                <a:solidFill>
                  <a:srgbClr val="FFFFFF">
                    <a:alpha val="98824"/>
                  </a:srgbClr>
                </a:solidFill>
                <a:latin typeface="Segoe UI" pitchFamily="34" charset="0"/>
                <a:ea typeface="Segoe UI" pitchFamily="34" charset="0"/>
                <a:cs typeface="Segoe UI" pitchFamily="34" charset="0"/>
              </a:rPr>
              <a:t>Fabric</a:t>
            </a:r>
          </a:p>
        </p:txBody>
      </p:sp>
      <p:sp>
        <p:nvSpPr>
          <p:cNvPr id="15" name="Rectangle 14"/>
          <p:cNvSpPr/>
          <p:nvPr/>
        </p:nvSpPr>
        <p:spPr bwMode="auto">
          <a:xfrm>
            <a:off x="4639351" y="971550"/>
            <a:ext cx="2723335" cy="1632204"/>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b" anchorCtr="0" compatLnSpc="1">
            <a:prstTxWarp prst="textNoShape">
              <a:avLst/>
            </a:prstTxWarp>
          </a:bodyPr>
          <a:lstStyle/>
          <a:p>
            <a:pPr defTabSz="685637"/>
            <a:r>
              <a:rPr lang="en-US" sz="2100" dirty="0">
                <a:solidFill>
                  <a:srgbClr val="FFFFFF">
                    <a:alpha val="98824"/>
                  </a:srgbClr>
                </a:solidFill>
                <a:latin typeface="Segoe UI" pitchFamily="34" charset="0"/>
                <a:ea typeface="Segoe UI" pitchFamily="34" charset="0"/>
                <a:cs typeface="Segoe UI" pitchFamily="34" charset="0"/>
              </a:rPr>
              <a:t>Clouds</a:t>
            </a:r>
          </a:p>
        </p:txBody>
      </p:sp>
      <p:sp>
        <p:nvSpPr>
          <p:cNvPr id="3" name="Title 2"/>
          <p:cNvSpPr>
            <a:spLocks noGrp="1"/>
          </p:cNvSpPr>
          <p:nvPr>
            <p:ph type="title"/>
          </p:nvPr>
        </p:nvSpPr>
        <p:spPr/>
        <p:txBody>
          <a:bodyPr/>
          <a:lstStyle/>
          <a:p>
            <a:r>
              <a:rPr lang="en-US" dirty="0" smtClean="0"/>
              <a:t>Overview: System Center 2012 VMM</a:t>
            </a:r>
            <a:endParaRPr lang="en-US" dirty="0"/>
          </a:p>
        </p:txBody>
      </p:sp>
      <p:pic>
        <p:nvPicPr>
          <p:cNvPr id="7" name="Picture 2" descr="C:\Users\chrisw\Desktop\Cloud Services 3.png"/>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5600969" y="1370770"/>
            <a:ext cx="678341" cy="46760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hare 512x512.png"/>
          <p:cNvPicPr>
            <a:picLocks noChangeAspect="1"/>
          </p:cNvPicPr>
          <p:nvPr/>
        </p:nvPicPr>
        <p:blipFill>
          <a:blip r:embed="rId5"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2571228" y="1261673"/>
            <a:ext cx="685979" cy="6858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2" name="Freeform 84"/>
          <p:cNvSpPr>
            <a:spLocks noChangeAspect="1" noEditPoints="1"/>
          </p:cNvSpPr>
          <p:nvPr/>
        </p:nvSpPr>
        <p:spPr bwMode="black">
          <a:xfrm>
            <a:off x="2713375" y="3311269"/>
            <a:ext cx="401688" cy="48006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FFFFF"/>
          </a:solidFill>
          <a:ln>
            <a:solidFill>
              <a:srgbClr val="FFFFFF"/>
            </a:solidFill>
          </a:ln>
        </p:spPr>
        <p:txBody>
          <a:bodyPr vert="horz" wrap="square" lIns="61735" tIns="30867" rIns="61735" bIns="30867" numCol="1" anchor="t" anchorCtr="0" compatLnSpc="1">
            <a:prstTxWarp prst="textNoShape">
              <a:avLst/>
            </a:prstTxWarp>
          </a:bodyPr>
          <a:lstStyle/>
          <a:p>
            <a:endParaRPr lang="en-US" sz="1500"/>
          </a:p>
        </p:txBody>
      </p:sp>
      <p:sp>
        <p:nvSpPr>
          <p:cNvPr id="18" name="Rectangle 17"/>
          <p:cNvSpPr/>
          <p:nvPr/>
        </p:nvSpPr>
        <p:spPr bwMode="auto">
          <a:xfrm>
            <a:off x="1677171" y="2875502"/>
            <a:ext cx="2723335" cy="1257300"/>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t" anchorCtr="0" compatLnSpc="1">
            <a:prstTxWarp prst="textNoShape">
              <a:avLst/>
            </a:prstTxWarp>
          </a:bodyPr>
          <a:lstStyle/>
          <a:p>
            <a:pPr defTabSz="685637"/>
            <a:r>
              <a:rPr lang="en-US" dirty="0" smtClean="0">
                <a:solidFill>
                  <a:srgbClr val="FFFFFF">
                    <a:alpha val="98824"/>
                  </a:srgbClr>
                </a:solidFill>
                <a:latin typeface="Segoe UI" pitchFamily="34" charset="0"/>
                <a:ea typeface="Segoe UI" pitchFamily="34" charset="0"/>
                <a:cs typeface="Segoe UI" pitchFamily="34" charset="0"/>
              </a:rPr>
              <a:t>Server Lifecycle Management</a:t>
            </a:r>
          </a:p>
          <a:p>
            <a:pPr defTabSz="685637"/>
            <a:r>
              <a:rPr lang="en-US" dirty="0" smtClean="0">
                <a:solidFill>
                  <a:srgbClr val="FFFFFF">
                    <a:alpha val="98824"/>
                  </a:srgbClr>
                </a:solidFill>
                <a:latin typeface="Segoe UI" pitchFamily="34" charset="0"/>
                <a:ea typeface="Segoe UI" pitchFamily="34" charset="0"/>
                <a:cs typeface="Segoe UI" pitchFamily="34" charset="0"/>
              </a:rPr>
              <a:t>Multiple Hypervisors</a:t>
            </a:r>
          </a:p>
          <a:p>
            <a:pPr defTabSz="685637"/>
            <a:r>
              <a:rPr lang="en-US" dirty="0" smtClean="0">
                <a:solidFill>
                  <a:srgbClr val="FFFFFF">
                    <a:alpha val="98824"/>
                  </a:srgbClr>
                </a:solidFill>
                <a:latin typeface="Segoe UI" pitchFamily="34" charset="0"/>
                <a:ea typeface="Segoe UI" pitchFamily="34" charset="0"/>
                <a:cs typeface="Segoe UI" pitchFamily="34" charset="0"/>
              </a:rPr>
              <a:t>Network Management</a:t>
            </a:r>
          </a:p>
          <a:p>
            <a:pPr defTabSz="685637"/>
            <a:r>
              <a:rPr lang="en-US" dirty="0" smtClean="0">
                <a:solidFill>
                  <a:srgbClr val="FFFFFF">
                    <a:alpha val="98824"/>
                  </a:srgbClr>
                </a:solidFill>
                <a:latin typeface="Segoe UI" pitchFamily="34" charset="0"/>
                <a:ea typeface="Segoe UI" pitchFamily="34" charset="0"/>
                <a:cs typeface="Segoe UI" pitchFamily="34" charset="0"/>
              </a:rPr>
              <a:t>Storage Management</a:t>
            </a:r>
          </a:p>
          <a:p>
            <a:pPr defTabSz="685637"/>
            <a:r>
              <a:rPr lang="en-US" dirty="0" smtClean="0">
                <a:solidFill>
                  <a:srgbClr val="FFFFFF">
                    <a:alpha val="98824"/>
                  </a:srgbClr>
                </a:solidFill>
                <a:latin typeface="Segoe UI" pitchFamily="34" charset="0"/>
                <a:ea typeface="Segoe UI" pitchFamily="34" charset="0"/>
                <a:cs typeface="Segoe UI" pitchFamily="34" charset="0"/>
              </a:rPr>
              <a:t>Dynamic Optimization</a:t>
            </a:r>
          </a:p>
        </p:txBody>
      </p:sp>
      <p:sp>
        <p:nvSpPr>
          <p:cNvPr id="19" name="Rectangle 18"/>
          <p:cNvSpPr/>
          <p:nvPr/>
        </p:nvSpPr>
        <p:spPr bwMode="auto">
          <a:xfrm>
            <a:off x="1620006" y="971550"/>
            <a:ext cx="2723335" cy="1257300"/>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t" anchorCtr="0" compatLnSpc="1">
            <a:prstTxWarp prst="textNoShape">
              <a:avLst/>
            </a:prstTxWarp>
          </a:bodyPr>
          <a:lstStyle/>
          <a:p>
            <a:pPr defTabSz="685637"/>
            <a:r>
              <a:rPr lang="en-US" dirty="0" smtClean="0">
                <a:solidFill>
                  <a:srgbClr val="FFFFFF">
                    <a:alpha val="98824"/>
                  </a:srgbClr>
                </a:solidFill>
                <a:latin typeface="Segoe UI" pitchFamily="34" charset="0"/>
                <a:ea typeface="Segoe UI" pitchFamily="34" charset="0"/>
                <a:cs typeface="Segoe UI" pitchFamily="34" charset="0"/>
              </a:rPr>
              <a:t>Service Templates</a:t>
            </a:r>
          </a:p>
          <a:p>
            <a:pPr defTabSz="685637"/>
            <a:r>
              <a:rPr lang="en-US" dirty="0" smtClean="0">
                <a:solidFill>
                  <a:srgbClr val="FFFFFF">
                    <a:alpha val="98824"/>
                  </a:srgbClr>
                </a:solidFill>
                <a:latin typeface="Segoe UI" pitchFamily="34" charset="0"/>
                <a:ea typeface="Segoe UI" pitchFamily="34" charset="0"/>
                <a:cs typeface="Segoe UI" pitchFamily="34" charset="0"/>
              </a:rPr>
              <a:t>Application Deployment</a:t>
            </a:r>
          </a:p>
          <a:p>
            <a:pPr defTabSz="685637"/>
            <a:r>
              <a:rPr lang="en-US" dirty="0" smtClean="0">
                <a:solidFill>
                  <a:srgbClr val="FFFFFF">
                    <a:alpha val="98824"/>
                  </a:srgbClr>
                </a:solidFill>
                <a:latin typeface="Segoe UI" pitchFamily="34" charset="0"/>
                <a:ea typeface="Segoe UI" pitchFamily="34" charset="0"/>
                <a:cs typeface="Segoe UI" pitchFamily="34" charset="0"/>
              </a:rPr>
              <a:t>Custom Command Execution</a:t>
            </a:r>
          </a:p>
          <a:p>
            <a:pPr defTabSz="685637"/>
            <a:r>
              <a:rPr lang="en-US" dirty="0" smtClean="0">
                <a:solidFill>
                  <a:srgbClr val="FFFFFF">
                    <a:alpha val="98824"/>
                  </a:srgbClr>
                </a:solidFill>
                <a:latin typeface="Segoe UI" pitchFamily="34" charset="0"/>
                <a:ea typeface="Segoe UI" pitchFamily="34" charset="0"/>
                <a:cs typeface="Segoe UI" pitchFamily="34" charset="0"/>
              </a:rPr>
              <a:t>Image-based Servicing</a:t>
            </a:r>
          </a:p>
          <a:p>
            <a:pPr defTabSz="685637"/>
            <a:endParaRPr lang="en-US" dirty="0" smtClean="0">
              <a:solidFill>
                <a:srgbClr val="FFFFFF">
                  <a:alpha val="98824"/>
                </a:srgbClr>
              </a:solidFill>
              <a:latin typeface="Segoe UI" pitchFamily="34" charset="0"/>
              <a:ea typeface="Segoe UI" pitchFamily="34" charset="0"/>
              <a:cs typeface="Segoe UI" pitchFamily="34" charset="0"/>
            </a:endParaRPr>
          </a:p>
        </p:txBody>
      </p:sp>
      <p:sp>
        <p:nvSpPr>
          <p:cNvPr id="20" name="Rectangle 19"/>
          <p:cNvSpPr/>
          <p:nvPr/>
        </p:nvSpPr>
        <p:spPr bwMode="auto">
          <a:xfrm>
            <a:off x="4639351" y="971550"/>
            <a:ext cx="2723335" cy="1257300"/>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t" anchorCtr="0" compatLnSpc="1">
            <a:prstTxWarp prst="textNoShape">
              <a:avLst/>
            </a:prstTxWarp>
          </a:bodyPr>
          <a:lstStyle/>
          <a:p>
            <a:pPr defTabSz="685637"/>
            <a:r>
              <a:rPr lang="en-US" dirty="0" smtClean="0">
                <a:solidFill>
                  <a:srgbClr val="FFFFFF">
                    <a:alpha val="98824"/>
                  </a:srgbClr>
                </a:solidFill>
                <a:latin typeface="Segoe UI" pitchFamily="34" charset="0"/>
                <a:ea typeface="Segoe UI" pitchFamily="34" charset="0"/>
                <a:cs typeface="Segoe UI" pitchFamily="34" charset="0"/>
              </a:rPr>
              <a:t>Application Owner Usage</a:t>
            </a:r>
          </a:p>
          <a:p>
            <a:pPr defTabSz="685637"/>
            <a:r>
              <a:rPr lang="en-US" dirty="0" smtClean="0">
                <a:solidFill>
                  <a:srgbClr val="FFFFFF">
                    <a:alpha val="98824"/>
                  </a:srgbClr>
                </a:solidFill>
                <a:latin typeface="Segoe UI" pitchFamily="34" charset="0"/>
                <a:ea typeface="Segoe UI" pitchFamily="34" charset="0"/>
                <a:cs typeface="Segoe UI" pitchFamily="34" charset="0"/>
              </a:rPr>
              <a:t>Capacity and Capability</a:t>
            </a:r>
          </a:p>
          <a:p>
            <a:pPr defTabSz="685637"/>
            <a:r>
              <a:rPr lang="en-US" dirty="0" smtClean="0">
                <a:solidFill>
                  <a:srgbClr val="FFFFFF">
                    <a:alpha val="98824"/>
                  </a:srgbClr>
                </a:solidFill>
                <a:latin typeface="Segoe UI" pitchFamily="34" charset="0"/>
                <a:ea typeface="Segoe UI" pitchFamily="34" charset="0"/>
                <a:cs typeface="Segoe UI" pitchFamily="34" charset="0"/>
              </a:rPr>
              <a:t>Delegation and Quota</a:t>
            </a:r>
          </a:p>
        </p:txBody>
      </p:sp>
      <p:sp>
        <p:nvSpPr>
          <p:cNvPr id="21"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2"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6"/>
              </a:rPr>
              <a:t>www.rapidbbs.cn</a:t>
            </a:r>
            <a:endParaRPr lang="zh-CN" altLang="en-US" sz="1200" b="0">
              <a:latin typeface="Arial" charset="0"/>
              <a:ea typeface="ＭＳ Ｐゴシック" pitchFamily="34" charset="-128"/>
            </a:endParaRPr>
          </a:p>
        </p:txBody>
      </p:sp>
      <p:pic>
        <p:nvPicPr>
          <p:cNvPr id="23" name="Picture 2">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27984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up)">
                                      <p:cBhvr>
                                        <p:cTn id="7" dur="500"/>
                                        <p:tgtEl>
                                          <p:spTgt spid="17"/>
                                        </p:tgtEl>
                                      </p:cBhvr>
                                    </p:animEffect>
                                  </p:childTnLst>
                                </p:cTn>
                              </p:par>
                              <p:par>
                                <p:cTn id="8" presetID="22" presetClass="exit" presetSubtype="1" fill="hold" nodeType="withEffect">
                                  <p:stCondLst>
                                    <p:cond delay="0"/>
                                  </p:stCondLst>
                                  <p:childTnLst>
                                    <p:animEffect transition="out" filter="wipe(up)">
                                      <p:cBhvr>
                                        <p:cTn id="9" dur="500"/>
                                        <p:tgtEl>
                                          <p:spTgt spid="8"/>
                                        </p:tgtEl>
                                      </p:cBhvr>
                                    </p:animEffect>
                                    <p:set>
                                      <p:cBhvr>
                                        <p:cTn id="10" dur="1" fill="hold">
                                          <p:stCondLst>
                                            <p:cond delay="499"/>
                                          </p:stCondLst>
                                        </p:cTn>
                                        <p:tgtEl>
                                          <p:spTgt spid="8"/>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22" presetClass="entr" presetSubtype="1" fill="hold" grpId="0" nodeType="click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wipe(up)">
                                      <p:cBhvr>
                                        <p:cTn id="15" dur="500"/>
                                        <p:tgtEl>
                                          <p:spTgt spid="18"/>
                                        </p:tgtEl>
                                      </p:cBhvr>
                                    </p:animEffect>
                                  </p:childTnLst>
                                </p:cTn>
                              </p:par>
                              <p:par>
                                <p:cTn id="16" presetID="22" presetClass="exit" presetSubtype="1" fill="hold" grpId="0" nodeType="withEffect">
                                  <p:stCondLst>
                                    <p:cond delay="0"/>
                                  </p:stCondLst>
                                  <p:childTnLst>
                                    <p:animEffect transition="out" filter="wipe(up)">
                                      <p:cBhvr>
                                        <p:cTn id="17" dur="500"/>
                                        <p:tgtEl>
                                          <p:spTgt spid="12"/>
                                        </p:tgtEl>
                                      </p:cBhvr>
                                    </p:animEffect>
                                    <p:set>
                                      <p:cBhvr>
                                        <p:cTn id="18" dur="1" fill="hold">
                                          <p:stCondLst>
                                            <p:cond delay="499"/>
                                          </p:stCondLst>
                                        </p:cTn>
                                        <p:tgtEl>
                                          <p:spTgt spid="12"/>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22" presetClass="entr" presetSubtype="1" fill="hold" grpId="0" nodeType="click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wipe(up)">
                                      <p:cBhvr>
                                        <p:cTn id="23" dur="500"/>
                                        <p:tgtEl>
                                          <p:spTgt spid="20"/>
                                        </p:tgtEl>
                                      </p:cBhvr>
                                    </p:animEffect>
                                  </p:childTnLst>
                                </p:cTn>
                              </p:par>
                              <p:par>
                                <p:cTn id="24" presetID="22" presetClass="exit" presetSubtype="1" fill="hold" nodeType="withEffect">
                                  <p:stCondLst>
                                    <p:cond delay="0"/>
                                  </p:stCondLst>
                                  <p:childTnLst>
                                    <p:animEffect transition="out" filter="wipe(up)">
                                      <p:cBhvr>
                                        <p:cTn id="25" dur="500"/>
                                        <p:tgtEl>
                                          <p:spTgt spid="7"/>
                                        </p:tgtEl>
                                      </p:cBhvr>
                                    </p:animEffect>
                                    <p:set>
                                      <p:cBhvr>
                                        <p:cTn id="26" dur="1" fill="hold">
                                          <p:stCondLst>
                                            <p:cond delay="499"/>
                                          </p:stCondLst>
                                        </p:cTn>
                                        <p:tgtEl>
                                          <p:spTgt spid="7"/>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22" presetClass="entr" presetSubtype="1" fill="hold" grpId="0" nodeType="click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wipe(up)">
                                      <p:cBhvr>
                                        <p:cTn id="31" dur="500"/>
                                        <p:tgtEl>
                                          <p:spTgt spid="19"/>
                                        </p:tgtEl>
                                      </p:cBhvr>
                                    </p:animEffect>
                                  </p:childTnLst>
                                </p:cTn>
                              </p:par>
                              <p:par>
                                <p:cTn id="32" presetID="22" presetClass="exit" presetSubtype="1" fill="hold" nodeType="withEffect">
                                  <p:stCondLst>
                                    <p:cond delay="0"/>
                                  </p:stCondLst>
                                  <p:childTnLst>
                                    <p:animEffect transition="out" filter="wipe(up)">
                                      <p:cBhvr>
                                        <p:cTn id="33" dur="500"/>
                                        <p:tgtEl>
                                          <p:spTgt spid="11"/>
                                        </p:tgtEl>
                                      </p:cBhvr>
                                    </p:animEffect>
                                    <p:set>
                                      <p:cBhvr>
                                        <p:cTn id="34" dur="1" fill="hold">
                                          <p:stCondLst>
                                            <p:cond delay="499"/>
                                          </p:stCondLst>
                                        </p:cTn>
                                        <p:tgtEl>
                                          <p:spTgt spid="1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2" grpId="0" animBg="1"/>
      <p:bldP spid="18" grpId="0"/>
      <p:bldP spid="19" grpId="0"/>
      <p:bldP spid="20" grpId="0"/>
    </p:bldLst>
  </p:timing>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Themes: System Center 2012 SP1 VMM</a:t>
            </a:r>
            <a:endParaRPr lang="en-US"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453664745"/>
              </p:ext>
            </p:extLst>
          </p:nvPr>
        </p:nvGraphicFramePr>
        <p:xfrm>
          <a:off x="913448" y="971550"/>
          <a:ext cx="7145611" cy="35433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16" descr="Users  alt 512x512.png"/>
          <p:cNvPicPr>
            <a:picLocks noChangeAspect="1"/>
          </p:cNvPicPr>
          <p:nvPr/>
        </p:nvPicPr>
        <p:blipFill>
          <a:blip r:embed="rId8"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2628395" y="1257300"/>
            <a:ext cx="750289" cy="7500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nvGrpSpPr>
          <p:cNvPr id="7" name="Group 6"/>
          <p:cNvGrpSpPr>
            <a:grpSpLocks noChangeAspect="1"/>
          </p:cNvGrpSpPr>
          <p:nvPr/>
        </p:nvGrpSpPr>
        <p:grpSpPr bwMode="black">
          <a:xfrm>
            <a:off x="5600968" y="1426607"/>
            <a:ext cx="675884" cy="411480"/>
            <a:chOff x="10387012" y="4179358"/>
            <a:chExt cx="974726" cy="593725"/>
          </a:xfrm>
          <a:solidFill>
            <a:srgbClr val="FFFFFF"/>
          </a:solidFill>
        </p:grpSpPr>
        <p:sp>
          <p:nvSpPr>
            <p:cNvPr id="8"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9"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0"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1"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2"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grpSp>
      <p:pic>
        <p:nvPicPr>
          <p:cNvPr id="13" name="Picture 24" descr="Windows 512x512.png"/>
          <p:cNvPicPr>
            <a:picLocks noChangeAspect="1"/>
          </p:cNvPicPr>
          <p:nvPr/>
        </p:nvPicPr>
        <p:blipFill>
          <a:blip r:embed="rId9"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2628394" y="3078957"/>
            <a:ext cx="750289" cy="7500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4" name="Picture 22"/>
          <p:cNvPicPr>
            <a:picLocks noChangeAspect="1" noChangeArrowheads="1"/>
          </p:cNvPicPr>
          <p:nvPr/>
        </p:nvPicPr>
        <p:blipFill>
          <a:blip r:embed="rId10">
            <a:lum bright="70000" contrast="-70000"/>
            <a:extLst>
              <a:ext uri="{BEBA8EAE-BF5A-486C-A8C5-ECC9F3942E4B}">
                <a14:imgProps xmlns:a14="http://schemas.microsoft.com/office/drawing/2010/main">
                  <a14:imgLayer r:embed="rId11">
                    <a14:imgEffect>
                      <a14:artisticPaintStrokes/>
                    </a14:imgEffect>
                  </a14:imgLayer>
                </a14:imgProps>
              </a:ext>
              <a:ext uri="{28A0092B-C50C-407E-A947-70E740481C1C}">
                <a14:useLocalDpi xmlns:a14="http://schemas.microsoft.com/office/drawing/2010/main" val="0"/>
              </a:ext>
            </a:extLst>
          </a:blip>
          <a:srcRect/>
          <a:stretch>
            <a:fillRect/>
          </a:stretch>
        </p:blipFill>
        <p:spPr bwMode="auto">
          <a:xfrm>
            <a:off x="5658132" y="3213973"/>
            <a:ext cx="645912" cy="4800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Rectangle 15"/>
          <p:cNvSpPr/>
          <p:nvPr/>
        </p:nvSpPr>
        <p:spPr bwMode="auto">
          <a:xfrm>
            <a:off x="4629165" y="2875502"/>
            <a:ext cx="2723335" cy="1257300"/>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t" anchorCtr="0" compatLnSpc="1">
            <a:prstTxWarp prst="textNoShape">
              <a:avLst/>
            </a:prstTxWarp>
          </a:bodyPr>
          <a:lstStyle/>
          <a:p>
            <a:pPr defTabSz="685637"/>
            <a:r>
              <a:rPr lang="en-US" dirty="0" smtClean="0">
                <a:solidFill>
                  <a:srgbClr val="FFFFFF">
                    <a:alpha val="98824"/>
                  </a:srgbClr>
                </a:solidFill>
                <a:latin typeface="Segoe UI" pitchFamily="34" charset="0"/>
                <a:ea typeface="Segoe UI" pitchFamily="34" charset="0"/>
                <a:cs typeface="Segoe UI" pitchFamily="34" charset="0"/>
              </a:rPr>
              <a:t>Increase Scale</a:t>
            </a:r>
          </a:p>
          <a:p>
            <a:pPr defTabSz="685637"/>
            <a:r>
              <a:rPr lang="en-US" dirty="0" smtClean="0">
                <a:solidFill>
                  <a:srgbClr val="FFFFFF">
                    <a:alpha val="98824"/>
                  </a:srgbClr>
                </a:solidFill>
                <a:latin typeface="Segoe UI" pitchFamily="34" charset="0"/>
                <a:ea typeface="Segoe UI" pitchFamily="34" charset="0"/>
                <a:cs typeface="Segoe UI" pitchFamily="34" charset="0"/>
              </a:rPr>
              <a:t>Increase Performance</a:t>
            </a:r>
          </a:p>
          <a:p>
            <a:pPr defTabSz="685637"/>
            <a:r>
              <a:rPr lang="en-US" dirty="0" smtClean="0">
                <a:solidFill>
                  <a:srgbClr val="FFFFFF">
                    <a:alpha val="98824"/>
                  </a:srgbClr>
                </a:solidFill>
                <a:latin typeface="Segoe UI" pitchFamily="34" charset="0"/>
                <a:ea typeface="Segoe UI" pitchFamily="34" charset="0"/>
                <a:cs typeface="Segoe UI" pitchFamily="34" charset="0"/>
              </a:rPr>
              <a:t>Decrease Latency</a:t>
            </a:r>
          </a:p>
          <a:p>
            <a:pPr algn="ctr" defTabSz="685637"/>
            <a:endParaRPr lang="en-US" dirty="0" smtClean="0">
              <a:solidFill>
                <a:srgbClr val="FFFFFF">
                  <a:alpha val="98824"/>
                </a:srgbClr>
              </a:solidFill>
              <a:latin typeface="Segoe UI" pitchFamily="34" charset="0"/>
              <a:ea typeface="Segoe UI" pitchFamily="34" charset="0"/>
              <a:cs typeface="Segoe UI" pitchFamily="34" charset="0"/>
            </a:endParaRPr>
          </a:p>
        </p:txBody>
      </p:sp>
      <p:sp>
        <p:nvSpPr>
          <p:cNvPr id="17" name="Rectangle 16"/>
          <p:cNvSpPr/>
          <p:nvPr/>
        </p:nvSpPr>
        <p:spPr bwMode="auto">
          <a:xfrm>
            <a:off x="1677171" y="2875502"/>
            <a:ext cx="2723335" cy="1257300"/>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t" anchorCtr="0" compatLnSpc="1">
            <a:prstTxWarp prst="textNoShape">
              <a:avLst/>
            </a:prstTxWarp>
          </a:bodyPr>
          <a:lstStyle/>
          <a:p>
            <a:pPr defTabSz="685637"/>
            <a:r>
              <a:rPr lang="en-US" dirty="0" smtClean="0">
                <a:solidFill>
                  <a:srgbClr val="FFFFFF">
                    <a:alpha val="98824"/>
                  </a:srgbClr>
                </a:solidFill>
                <a:latin typeface="Segoe UI" pitchFamily="34" charset="0"/>
                <a:ea typeface="Segoe UI" pitchFamily="34" charset="0"/>
                <a:cs typeface="Segoe UI" pitchFamily="34" charset="0"/>
              </a:rPr>
              <a:t>Large VMs</a:t>
            </a:r>
          </a:p>
          <a:p>
            <a:pPr defTabSz="685637"/>
            <a:r>
              <a:rPr lang="en-US" dirty="0" smtClean="0">
                <a:solidFill>
                  <a:srgbClr val="FFFFFF">
                    <a:alpha val="98824"/>
                  </a:srgbClr>
                </a:solidFill>
                <a:latin typeface="Segoe UI" pitchFamily="34" charset="0"/>
                <a:ea typeface="Segoe UI" pitchFamily="34" charset="0"/>
                <a:cs typeface="Segoe UI" pitchFamily="34" charset="0"/>
              </a:rPr>
              <a:t>Live Migration Enhancements</a:t>
            </a:r>
          </a:p>
          <a:p>
            <a:pPr defTabSz="685637"/>
            <a:r>
              <a:rPr lang="en-US" dirty="0" smtClean="0">
                <a:solidFill>
                  <a:srgbClr val="FFFFFF">
                    <a:alpha val="98824"/>
                  </a:srgbClr>
                </a:solidFill>
                <a:latin typeface="Segoe UI" pitchFamily="34" charset="0"/>
                <a:ea typeface="Segoe UI" pitchFamily="34" charset="0"/>
                <a:cs typeface="Segoe UI" pitchFamily="34" charset="0"/>
              </a:rPr>
              <a:t>Network Virtualization</a:t>
            </a:r>
          </a:p>
          <a:p>
            <a:pPr defTabSz="685637"/>
            <a:r>
              <a:rPr lang="en-US" dirty="0" smtClean="0">
                <a:solidFill>
                  <a:srgbClr val="FFFFFF">
                    <a:alpha val="98824"/>
                  </a:srgbClr>
                </a:solidFill>
                <a:latin typeface="Segoe UI" pitchFamily="34" charset="0"/>
                <a:ea typeface="Segoe UI" pitchFamily="34" charset="0"/>
                <a:cs typeface="Segoe UI" pitchFamily="34" charset="0"/>
              </a:rPr>
              <a:t>Storage Management</a:t>
            </a:r>
          </a:p>
        </p:txBody>
      </p:sp>
      <p:sp>
        <p:nvSpPr>
          <p:cNvPr id="18" name="Rectangle 17"/>
          <p:cNvSpPr/>
          <p:nvPr/>
        </p:nvSpPr>
        <p:spPr bwMode="auto">
          <a:xfrm>
            <a:off x="1620006" y="971550"/>
            <a:ext cx="2723335" cy="1257300"/>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t" anchorCtr="0" compatLnSpc="1">
            <a:prstTxWarp prst="textNoShape">
              <a:avLst/>
            </a:prstTxWarp>
          </a:bodyPr>
          <a:lstStyle/>
          <a:p>
            <a:pPr defTabSz="685637"/>
            <a:r>
              <a:rPr lang="en-US" dirty="0" smtClean="0">
                <a:solidFill>
                  <a:srgbClr val="FFFFFF">
                    <a:alpha val="98824"/>
                  </a:srgbClr>
                </a:solidFill>
                <a:latin typeface="Segoe UI" pitchFamily="34" charset="0"/>
                <a:ea typeface="Segoe UI" pitchFamily="34" charset="0"/>
                <a:cs typeface="Segoe UI" pitchFamily="34" charset="0"/>
              </a:rPr>
              <a:t>Tenant Administrator</a:t>
            </a:r>
          </a:p>
          <a:p>
            <a:pPr defTabSz="685637"/>
            <a:r>
              <a:rPr lang="en-US" dirty="0" smtClean="0">
                <a:solidFill>
                  <a:srgbClr val="FFFFFF">
                    <a:alpha val="98824"/>
                  </a:srgbClr>
                </a:solidFill>
                <a:latin typeface="Segoe UI" pitchFamily="34" charset="0"/>
                <a:ea typeface="Segoe UI" pitchFamily="34" charset="0"/>
                <a:cs typeface="Segoe UI" pitchFamily="34" charset="0"/>
              </a:rPr>
              <a:t>VM Network Isolation</a:t>
            </a:r>
          </a:p>
          <a:p>
            <a:pPr defTabSz="685637"/>
            <a:r>
              <a:rPr lang="en-US" dirty="0" smtClean="0">
                <a:solidFill>
                  <a:srgbClr val="FFFFFF">
                    <a:alpha val="98824"/>
                  </a:srgbClr>
                </a:solidFill>
                <a:latin typeface="Segoe UI" pitchFamily="34" charset="0"/>
                <a:ea typeface="Segoe UI" pitchFamily="34" charset="0"/>
                <a:cs typeface="Segoe UI" pitchFamily="34" charset="0"/>
              </a:rPr>
              <a:t>Service Deployment </a:t>
            </a:r>
          </a:p>
          <a:p>
            <a:pPr defTabSz="685637"/>
            <a:endParaRPr lang="en-US" dirty="0" smtClean="0">
              <a:solidFill>
                <a:srgbClr val="FFFFFF">
                  <a:alpha val="98824"/>
                </a:srgbClr>
              </a:solidFill>
              <a:latin typeface="Segoe UI" pitchFamily="34" charset="0"/>
              <a:ea typeface="Segoe UI" pitchFamily="34" charset="0"/>
              <a:cs typeface="Segoe UI" pitchFamily="34" charset="0"/>
            </a:endParaRPr>
          </a:p>
          <a:p>
            <a:pPr defTabSz="685637"/>
            <a:endParaRPr lang="en-US" dirty="0" smtClean="0">
              <a:solidFill>
                <a:srgbClr val="FFFFFF">
                  <a:alpha val="98824"/>
                </a:srgbClr>
              </a:solidFill>
              <a:latin typeface="Segoe UI" pitchFamily="34" charset="0"/>
              <a:ea typeface="Segoe UI" pitchFamily="34" charset="0"/>
              <a:cs typeface="Segoe UI" pitchFamily="34" charset="0"/>
            </a:endParaRPr>
          </a:p>
        </p:txBody>
      </p:sp>
      <p:sp>
        <p:nvSpPr>
          <p:cNvPr id="19" name="Rectangle 18"/>
          <p:cNvSpPr/>
          <p:nvPr/>
        </p:nvSpPr>
        <p:spPr bwMode="auto">
          <a:xfrm>
            <a:off x="4639351" y="971550"/>
            <a:ext cx="2723335" cy="1257300"/>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t" anchorCtr="0" compatLnSpc="1">
            <a:prstTxWarp prst="textNoShape">
              <a:avLst/>
            </a:prstTxWarp>
          </a:bodyPr>
          <a:lstStyle/>
          <a:p>
            <a:pPr defTabSz="685637"/>
            <a:r>
              <a:rPr lang="en-US" dirty="0" smtClean="0">
                <a:solidFill>
                  <a:srgbClr val="FFFFFF">
                    <a:alpha val="98824"/>
                  </a:srgbClr>
                </a:solidFill>
                <a:latin typeface="Segoe UI" pitchFamily="34" charset="0"/>
                <a:ea typeface="Segoe UI" pitchFamily="34" charset="0"/>
                <a:cs typeface="Segoe UI" pitchFamily="34" charset="0"/>
              </a:rPr>
              <a:t>UI Add-ins</a:t>
            </a:r>
          </a:p>
          <a:p>
            <a:pPr defTabSz="685637"/>
            <a:r>
              <a:rPr lang="en-US" dirty="0" smtClean="0">
                <a:solidFill>
                  <a:srgbClr val="FFFFFF">
                    <a:alpha val="98824"/>
                  </a:srgbClr>
                </a:solidFill>
                <a:latin typeface="Segoe UI" pitchFamily="34" charset="0"/>
                <a:ea typeface="Segoe UI" pitchFamily="34" charset="0"/>
                <a:cs typeface="Segoe UI" pitchFamily="34" charset="0"/>
              </a:rPr>
              <a:t>Service Templates</a:t>
            </a:r>
          </a:p>
          <a:p>
            <a:pPr defTabSz="685637"/>
            <a:r>
              <a:rPr lang="en-US" dirty="0" smtClean="0">
                <a:solidFill>
                  <a:srgbClr val="FFFFFF">
                    <a:alpha val="98824"/>
                  </a:srgbClr>
                </a:solidFill>
                <a:latin typeface="Segoe UI" pitchFamily="34" charset="0"/>
                <a:ea typeface="Segoe UI" pitchFamily="34" charset="0"/>
                <a:cs typeface="Segoe UI" pitchFamily="34" charset="0"/>
              </a:rPr>
              <a:t>Server Hardware Providers</a:t>
            </a:r>
          </a:p>
          <a:p>
            <a:pPr defTabSz="685637"/>
            <a:r>
              <a:rPr lang="en-US" dirty="0" smtClean="0">
                <a:solidFill>
                  <a:srgbClr val="FFFFFF">
                    <a:alpha val="98824"/>
                  </a:srgbClr>
                </a:solidFill>
                <a:latin typeface="Segoe UI" pitchFamily="34" charset="0"/>
                <a:ea typeface="Segoe UI" pitchFamily="34" charset="0"/>
                <a:cs typeface="Segoe UI" pitchFamily="34" charset="0"/>
              </a:rPr>
              <a:t>Load Balancer Providers</a:t>
            </a:r>
          </a:p>
          <a:p>
            <a:pPr defTabSz="685637"/>
            <a:r>
              <a:rPr lang="en-US" dirty="0" smtClean="0">
                <a:solidFill>
                  <a:srgbClr val="FFFFFF">
                    <a:alpha val="98824"/>
                  </a:srgbClr>
                </a:solidFill>
                <a:latin typeface="Segoe UI" pitchFamily="34" charset="0"/>
                <a:ea typeface="Segoe UI" pitchFamily="34" charset="0"/>
                <a:cs typeface="Segoe UI" pitchFamily="34" charset="0"/>
              </a:rPr>
              <a:t>Storage automation</a:t>
            </a:r>
          </a:p>
          <a:p>
            <a:pPr defTabSz="685637"/>
            <a:endParaRPr lang="en-US" dirty="0" smtClean="0">
              <a:solidFill>
                <a:srgbClr val="FFFFFF">
                  <a:alpha val="98824"/>
                </a:srgbClr>
              </a:solidFill>
              <a:latin typeface="Segoe UI" pitchFamily="34" charset="0"/>
              <a:ea typeface="Segoe UI" pitchFamily="34" charset="0"/>
              <a:cs typeface="Segoe UI" pitchFamily="34" charset="0"/>
            </a:endParaRPr>
          </a:p>
          <a:p>
            <a:pPr defTabSz="685637"/>
            <a:endParaRPr lang="en-US" dirty="0" smtClean="0">
              <a:solidFill>
                <a:srgbClr val="FFFFFF">
                  <a:alpha val="98824"/>
                </a:srgbClr>
              </a:solidFill>
              <a:latin typeface="Segoe UI" pitchFamily="34" charset="0"/>
              <a:ea typeface="Segoe UI" pitchFamily="34" charset="0"/>
              <a:cs typeface="Segoe UI" pitchFamily="34" charset="0"/>
            </a:endParaRPr>
          </a:p>
        </p:txBody>
      </p:sp>
      <p:sp>
        <p:nvSpPr>
          <p:cNvPr id="20" name="Rectangle 19"/>
          <p:cNvSpPr/>
          <p:nvPr/>
        </p:nvSpPr>
        <p:spPr>
          <a:xfrm>
            <a:off x="570458" y="4800601"/>
            <a:ext cx="8025950" cy="266610"/>
          </a:xfrm>
          <a:prstGeom prst="rect">
            <a:avLst/>
          </a:prstGeom>
          <a:solidFill>
            <a:schemeClr val="accent1"/>
          </a:solidFill>
        </p:spPr>
        <p:txBody>
          <a:bodyPr lIns="68586" tIns="34294" rIns="68586" bIns="34294">
            <a:spAutoFit/>
          </a:bodyPr>
          <a:lstStyle/>
          <a:p>
            <a:pPr marL="302446" indent="-302446">
              <a:lnSpc>
                <a:spcPct val="90000"/>
              </a:lnSpc>
              <a:spcBef>
                <a:spcPct val="20000"/>
              </a:spcBef>
              <a:buSzPct val="105000"/>
              <a:buBlip>
                <a:blip r:embed="rId12"/>
              </a:buBlip>
            </a:pPr>
            <a:r>
              <a:rPr lang="en-US" dirty="0">
                <a:solidFill>
                  <a:schemeClr val="tx1">
                    <a:alpha val="99000"/>
                  </a:schemeClr>
                </a:solidFill>
              </a:rPr>
              <a:t>MGT314 - What's New in System Center 2012 SP1 - Virtual Machine Manager</a:t>
            </a:r>
          </a:p>
        </p:txBody>
      </p:sp>
      <p:sp>
        <p:nvSpPr>
          <p:cNvPr id="21"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2"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3"/>
              </a:rPr>
              <a:t>www.rapidbbs.cn</a:t>
            </a:r>
            <a:endParaRPr lang="zh-CN" altLang="en-US" sz="1200" b="0">
              <a:latin typeface="Arial" charset="0"/>
              <a:ea typeface="ＭＳ Ｐゴシック" pitchFamily="34" charset="-128"/>
            </a:endParaRPr>
          </a:p>
        </p:txBody>
      </p:sp>
      <p:pic>
        <p:nvPicPr>
          <p:cNvPr id="23" name="Picture 2">
            <a:hlinkClick r:id="rId13"/>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530664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xit" presetSubtype="1" fill="hold" nodeType="clickEffect">
                                  <p:stCondLst>
                                    <p:cond delay="0"/>
                                  </p:stCondLst>
                                  <p:childTnLst>
                                    <p:animEffect transition="out" filter="wipe(up)">
                                      <p:cBhvr>
                                        <p:cTn id="6" dur="500"/>
                                        <p:tgtEl>
                                          <p:spTgt spid="14"/>
                                        </p:tgtEl>
                                      </p:cBhvr>
                                    </p:animEffect>
                                    <p:set>
                                      <p:cBhvr>
                                        <p:cTn id="7" dur="1" fill="hold">
                                          <p:stCondLst>
                                            <p:cond delay="499"/>
                                          </p:stCondLst>
                                        </p:cTn>
                                        <p:tgtEl>
                                          <p:spTgt spid="14"/>
                                        </p:tgtEl>
                                        <p:attrNameLst>
                                          <p:attrName>style.visibility</p:attrName>
                                        </p:attrNameLst>
                                      </p:cBhvr>
                                      <p:to>
                                        <p:strVal val="hidden"/>
                                      </p:to>
                                    </p:set>
                                  </p:childTnLst>
                                </p:cTn>
                              </p:par>
                              <p:par>
                                <p:cTn id="8" presetID="22" presetClass="entr" presetSubtype="1"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wipe(up)">
                                      <p:cBhvr>
                                        <p:cTn id="10" dur="500"/>
                                        <p:tgtEl>
                                          <p:spTgt spid="16"/>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xit" presetSubtype="1" fill="hold" nodeType="clickEffect">
                                  <p:stCondLst>
                                    <p:cond delay="0"/>
                                  </p:stCondLst>
                                  <p:childTnLst>
                                    <p:animEffect transition="out" filter="wipe(up)">
                                      <p:cBhvr>
                                        <p:cTn id="14" dur="500"/>
                                        <p:tgtEl>
                                          <p:spTgt spid="13"/>
                                        </p:tgtEl>
                                      </p:cBhvr>
                                    </p:animEffect>
                                    <p:set>
                                      <p:cBhvr>
                                        <p:cTn id="15" dur="1" fill="hold">
                                          <p:stCondLst>
                                            <p:cond delay="499"/>
                                          </p:stCondLst>
                                        </p:cTn>
                                        <p:tgtEl>
                                          <p:spTgt spid="13"/>
                                        </p:tgtEl>
                                        <p:attrNameLst>
                                          <p:attrName>style.visibility</p:attrName>
                                        </p:attrNameLst>
                                      </p:cBhvr>
                                      <p:to>
                                        <p:strVal val="hidden"/>
                                      </p:to>
                                    </p:set>
                                  </p:childTnLst>
                                </p:cTn>
                              </p:par>
                              <p:par>
                                <p:cTn id="16" presetID="22" presetClass="entr" presetSubtype="1" fill="hold" grpId="0" nodeType="withEffect">
                                  <p:stCondLst>
                                    <p:cond delay="0"/>
                                  </p:stCondLst>
                                  <p:childTnLst>
                                    <p:set>
                                      <p:cBhvr>
                                        <p:cTn id="17" dur="1" fill="hold">
                                          <p:stCondLst>
                                            <p:cond delay="0"/>
                                          </p:stCondLst>
                                        </p:cTn>
                                        <p:tgtEl>
                                          <p:spTgt spid="17"/>
                                        </p:tgtEl>
                                        <p:attrNameLst>
                                          <p:attrName>style.visibility</p:attrName>
                                        </p:attrNameLst>
                                      </p:cBhvr>
                                      <p:to>
                                        <p:strVal val="visible"/>
                                      </p:to>
                                    </p:set>
                                    <p:animEffect transition="in" filter="wipe(up)">
                                      <p:cBhvr>
                                        <p:cTn id="18" dur="500"/>
                                        <p:tgtEl>
                                          <p:spTgt spid="17"/>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xit" presetSubtype="1" fill="hold" nodeType="clickEffect">
                                  <p:stCondLst>
                                    <p:cond delay="0"/>
                                  </p:stCondLst>
                                  <p:childTnLst>
                                    <p:animEffect transition="out" filter="wipe(up)">
                                      <p:cBhvr>
                                        <p:cTn id="22" dur="500"/>
                                        <p:tgtEl>
                                          <p:spTgt spid="7"/>
                                        </p:tgtEl>
                                      </p:cBhvr>
                                    </p:animEffect>
                                    <p:set>
                                      <p:cBhvr>
                                        <p:cTn id="23" dur="1" fill="hold">
                                          <p:stCondLst>
                                            <p:cond delay="499"/>
                                          </p:stCondLst>
                                        </p:cTn>
                                        <p:tgtEl>
                                          <p:spTgt spid="7"/>
                                        </p:tgtEl>
                                        <p:attrNameLst>
                                          <p:attrName>style.visibility</p:attrName>
                                        </p:attrNameLst>
                                      </p:cBhvr>
                                      <p:to>
                                        <p:strVal val="hidden"/>
                                      </p:to>
                                    </p:set>
                                  </p:childTnLst>
                                </p:cTn>
                              </p:par>
                              <p:par>
                                <p:cTn id="24" presetID="22" presetClass="entr" presetSubtype="1" fill="hold" grpId="0" nodeType="withEffect">
                                  <p:stCondLst>
                                    <p:cond delay="0"/>
                                  </p:stCondLst>
                                  <p:childTnLst>
                                    <p:set>
                                      <p:cBhvr>
                                        <p:cTn id="25" dur="1" fill="hold">
                                          <p:stCondLst>
                                            <p:cond delay="0"/>
                                          </p:stCondLst>
                                        </p:cTn>
                                        <p:tgtEl>
                                          <p:spTgt spid="19"/>
                                        </p:tgtEl>
                                        <p:attrNameLst>
                                          <p:attrName>style.visibility</p:attrName>
                                        </p:attrNameLst>
                                      </p:cBhvr>
                                      <p:to>
                                        <p:strVal val="visible"/>
                                      </p:to>
                                    </p:set>
                                    <p:animEffect transition="in" filter="wipe(up)">
                                      <p:cBhvr>
                                        <p:cTn id="26" dur="500"/>
                                        <p:tgtEl>
                                          <p:spTgt spid="19"/>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xit" presetSubtype="1" fill="hold" nodeType="clickEffect">
                                  <p:stCondLst>
                                    <p:cond delay="0"/>
                                  </p:stCondLst>
                                  <p:childTnLst>
                                    <p:animEffect transition="out" filter="wipe(up)">
                                      <p:cBhvr>
                                        <p:cTn id="30" dur="500"/>
                                        <p:tgtEl>
                                          <p:spTgt spid="6"/>
                                        </p:tgtEl>
                                      </p:cBhvr>
                                    </p:animEffect>
                                    <p:set>
                                      <p:cBhvr>
                                        <p:cTn id="31" dur="1" fill="hold">
                                          <p:stCondLst>
                                            <p:cond delay="499"/>
                                          </p:stCondLst>
                                        </p:cTn>
                                        <p:tgtEl>
                                          <p:spTgt spid="6"/>
                                        </p:tgtEl>
                                        <p:attrNameLst>
                                          <p:attrName>style.visibility</p:attrName>
                                        </p:attrNameLst>
                                      </p:cBhvr>
                                      <p:to>
                                        <p:strVal val="hidden"/>
                                      </p:to>
                                    </p:set>
                                  </p:childTnLst>
                                </p:cTn>
                              </p:par>
                              <p:par>
                                <p:cTn id="32" presetID="22" presetClass="entr" presetSubtype="1" fill="hold" grpId="0" nodeType="withEffect">
                                  <p:stCondLst>
                                    <p:cond delay="0"/>
                                  </p:stCondLst>
                                  <p:childTnLst>
                                    <p:set>
                                      <p:cBhvr>
                                        <p:cTn id="33" dur="1" fill="hold">
                                          <p:stCondLst>
                                            <p:cond delay="0"/>
                                          </p:stCondLst>
                                        </p:cTn>
                                        <p:tgtEl>
                                          <p:spTgt spid="18"/>
                                        </p:tgtEl>
                                        <p:attrNameLst>
                                          <p:attrName>style.visibility</p:attrName>
                                        </p:attrNameLst>
                                      </p:cBhvr>
                                      <p:to>
                                        <p:strVal val="visible"/>
                                      </p:to>
                                    </p:set>
                                    <p:animEffect transition="in" filter="wipe(up)">
                                      <p:cBhvr>
                                        <p:cTn id="3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p:bldP spid="18" grpId="0"/>
      <p:bldP spid="19" grpId="0"/>
    </p:bldLst>
  </p:timing>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6"/>
          <p:cNvSpPr>
            <a:spLocks noGrp="1"/>
          </p:cNvSpPr>
          <p:nvPr>
            <p:ph type="title"/>
          </p:nvPr>
        </p:nvSpPr>
        <p:spPr/>
        <p:txBody>
          <a:bodyPr/>
          <a:lstStyle/>
          <a:p>
            <a:r>
              <a:rPr lang="en-US" dirty="0" smtClean="0"/>
              <a:t>PROVISION INFRASTRUCTURE</a:t>
            </a:r>
          </a:p>
        </p:txBody>
      </p:sp>
      <p:pic>
        <p:nvPicPr>
          <p:cNvPr id="6" name="Picture 2"/>
          <p:cNvPicPr>
            <a:picLocks noChangeAspect="1" noChangeArrowheads="1"/>
          </p:cNvPicPr>
          <p:nvPr/>
        </p:nvPicPr>
        <p:blipFill>
          <a:blip r:embed="rId3" cstate="print"/>
          <a:srcRect/>
          <a:stretch>
            <a:fillRect/>
          </a:stretch>
        </p:blipFill>
        <p:spPr bwMode="auto">
          <a:xfrm>
            <a:off x="7114647" y="3015855"/>
            <a:ext cx="559740" cy="772715"/>
          </a:xfrm>
          <a:prstGeom prst="rect">
            <a:avLst/>
          </a:prstGeom>
          <a:noFill/>
          <a:ln w="9525">
            <a:noFill/>
            <a:miter lim="800000"/>
            <a:headEnd/>
            <a:tailEnd/>
          </a:ln>
        </p:spPr>
      </p:pic>
      <p:grpSp>
        <p:nvGrpSpPr>
          <p:cNvPr id="2" name="Group 4"/>
          <p:cNvGrpSpPr>
            <a:grpSpLocks/>
          </p:cNvGrpSpPr>
          <p:nvPr/>
        </p:nvGrpSpPr>
        <p:grpSpPr bwMode="auto">
          <a:xfrm>
            <a:off x="1626819" y="2201466"/>
            <a:ext cx="819363" cy="1113234"/>
            <a:chOff x="310197" y="2086450"/>
            <a:chExt cx="2137972" cy="2600173"/>
          </a:xfrm>
        </p:grpSpPr>
        <p:pic>
          <p:nvPicPr>
            <p:cNvPr id="53270" name="Picture 20"/>
            <p:cNvPicPr>
              <a:picLocks noChangeAspect="1"/>
            </p:cNvPicPr>
            <p:nvPr/>
          </p:nvPicPr>
          <p:blipFill>
            <a:blip r:embed="rId4" cstate="print"/>
            <a:srcRect/>
            <a:stretch>
              <a:fillRect/>
            </a:stretch>
          </p:blipFill>
          <p:spPr bwMode="auto">
            <a:xfrm>
              <a:off x="310197" y="2086450"/>
              <a:ext cx="1436442" cy="1473168"/>
            </a:xfrm>
            <a:prstGeom prst="rect">
              <a:avLst/>
            </a:prstGeom>
            <a:noFill/>
            <a:ln w="9525">
              <a:noFill/>
              <a:miter lim="800000"/>
              <a:headEnd/>
              <a:tailEnd/>
            </a:ln>
          </p:spPr>
        </p:pic>
        <p:grpSp>
          <p:nvGrpSpPr>
            <p:cNvPr id="53271" name="Group 13"/>
            <p:cNvGrpSpPr>
              <a:grpSpLocks/>
            </p:cNvGrpSpPr>
            <p:nvPr/>
          </p:nvGrpSpPr>
          <p:grpSpPr bwMode="auto">
            <a:xfrm>
              <a:off x="531812" y="2823034"/>
              <a:ext cx="1916357" cy="1863589"/>
              <a:chOff x="1142722" y="3752198"/>
              <a:chExt cx="1151885" cy="956735"/>
            </a:xfrm>
          </p:grpSpPr>
          <p:pic>
            <p:nvPicPr>
              <p:cNvPr id="11" name="Picture 2" descr="D:\Projects\Microsoft\DPM PartnerVideo\images\platform.png"/>
              <p:cNvPicPr>
                <a:picLocks noChangeAspect="1" noChangeArrowheads="1"/>
              </p:cNvPicPr>
              <p:nvPr/>
            </p:nvPicPr>
            <p:blipFill>
              <a:blip r:embed="rId5" cstate="print">
                <a:duotone>
                  <a:srgbClr val="5082B9">
                    <a:shade val="45000"/>
                    <a:satMod val="135000"/>
                  </a:srgbClr>
                  <a:prstClr val="white"/>
                </a:duotone>
                <a:lum bright="-30000"/>
              </a:blip>
              <a:srcRect/>
              <a:stretch>
                <a:fillRect/>
              </a:stretch>
            </p:blipFill>
            <p:spPr bwMode="auto">
              <a:xfrm>
                <a:off x="1142722" y="3896830"/>
                <a:ext cx="1151885" cy="812103"/>
              </a:xfrm>
              <a:prstGeom prst="rect">
                <a:avLst/>
              </a:prstGeom>
              <a:noFill/>
              <a:effectLst>
                <a:outerShdw blurRad="50800" dist="38100" dir="2700000" algn="tl" rotWithShape="0">
                  <a:prstClr val="black">
                    <a:alpha val="40000"/>
                  </a:prstClr>
                </a:outerShdw>
              </a:effectLst>
            </p:spPr>
          </p:pic>
          <p:pic>
            <p:nvPicPr>
              <p:cNvPr id="53273" name="Picture 5"/>
              <p:cNvPicPr>
                <a:picLocks noChangeAspect="1"/>
              </p:cNvPicPr>
              <p:nvPr/>
            </p:nvPicPr>
            <p:blipFill>
              <a:blip r:embed="rId6" cstate="print"/>
              <a:srcRect/>
              <a:stretch>
                <a:fillRect/>
              </a:stretch>
            </p:blipFill>
            <p:spPr bwMode="auto">
              <a:xfrm>
                <a:off x="1441222" y="3752198"/>
                <a:ext cx="554884" cy="724552"/>
              </a:xfrm>
              <a:prstGeom prst="rect">
                <a:avLst/>
              </a:prstGeom>
              <a:noFill/>
              <a:ln w="9525">
                <a:noFill/>
                <a:miter lim="800000"/>
                <a:headEnd/>
                <a:tailEnd/>
              </a:ln>
            </p:spPr>
          </p:pic>
        </p:grpSp>
      </p:grpSp>
      <p:pic>
        <p:nvPicPr>
          <p:cNvPr id="21" name="Picture 2"/>
          <p:cNvPicPr>
            <a:picLocks noChangeAspect="1" noChangeArrowheads="1"/>
          </p:cNvPicPr>
          <p:nvPr/>
        </p:nvPicPr>
        <p:blipFill>
          <a:blip r:embed="rId7" cstate="print"/>
          <a:srcRect/>
          <a:stretch>
            <a:fillRect/>
          </a:stretch>
        </p:blipFill>
        <p:spPr bwMode="auto">
          <a:xfrm>
            <a:off x="8344884" y="2593181"/>
            <a:ext cx="578794" cy="200025"/>
          </a:xfrm>
          <a:prstGeom prst="rect">
            <a:avLst/>
          </a:prstGeom>
          <a:noFill/>
          <a:ln w="9525">
            <a:noFill/>
            <a:miter lim="800000"/>
            <a:headEnd/>
            <a:tailEnd/>
          </a:ln>
        </p:spPr>
      </p:pic>
      <p:pic>
        <p:nvPicPr>
          <p:cNvPr id="23" name="Citrix Logo"/>
          <p:cNvPicPr>
            <a:picLocks noChangeAspect="1"/>
          </p:cNvPicPr>
          <p:nvPr/>
        </p:nvPicPr>
        <p:blipFill>
          <a:blip r:embed="rId8" cstate="print"/>
          <a:srcRect/>
          <a:stretch>
            <a:fillRect/>
          </a:stretch>
        </p:blipFill>
        <p:spPr bwMode="auto">
          <a:xfrm>
            <a:off x="7431437" y="2545556"/>
            <a:ext cx="741953" cy="286941"/>
          </a:xfrm>
          <a:prstGeom prst="rect">
            <a:avLst/>
          </a:prstGeom>
          <a:noFill/>
          <a:ln w="9525">
            <a:noFill/>
            <a:miter lim="800000"/>
            <a:headEnd/>
            <a:tailEnd/>
          </a:ln>
        </p:spPr>
      </p:pic>
      <p:pic>
        <p:nvPicPr>
          <p:cNvPr id="24" name="vmware logo"/>
          <p:cNvPicPr>
            <a:picLocks noChangeAspect="1"/>
          </p:cNvPicPr>
          <p:nvPr/>
        </p:nvPicPr>
        <p:blipFill>
          <a:blip r:embed="rId9" cstate="print"/>
          <a:srcRect/>
          <a:stretch>
            <a:fillRect/>
          </a:stretch>
        </p:blipFill>
        <p:spPr bwMode="auto">
          <a:xfrm>
            <a:off x="6746649" y="2527697"/>
            <a:ext cx="1198081" cy="332184"/>
          </a:xfrm>
          <a:prstGeom prst="rect">
            <a:avLst/>
          </a:prstGeom>
          <a:noFill/>
          <a:ln w="9525">
            <a:noFill/>
            <a:miter lim="800000"/>
            <a:headEnd/>
            <a:tailEnd/>
          </a:ln>
        </p:spPr>
      </p:pic>
      <p:sp>
        <p:nvSpPr>
          <p:cNvPr id="4" name="TextBox 3"/>
          <p:cNvSpPr txBox="1">
            <a:spLocks noChangeArrowheads="1"/>
          </p:cNvSpPr>
          <p:nvPr/>
        </p:nvSpPr>
        <p:spPr bwMode="auto">
          <a:xfrm>
            <a:off x="6910998" y="3708799"/>
            <a:ext cx="1146183" cy="242372"/>
          </a:xfrm>
          <a:prstGeom prst="rect">
            <a:avLst/>
          </a:prstGeom>
          <a:noFill/>
          <a:ln w="9525">
            <a:noFill/>
            <a:miter lim="800000"/>
            <a:headEnd/>
            <a:tailEnd/>
          </a:ln>
        </p:spPr>
        <p:txBody>
          <a:bodyPr wrap="none" lIns="68586" tIns="34294" rIns="68586" bIns="34294">
            <a:spAutoFit/>
          </a:bodyPr>
          <a:lstStyle/>
          <a:p>
            <a:r>
              <a:rPr lang="en-US" sz="1100" dirty="0">
                <a:solidFill>
                  <a:srgbClr val="FFFFFF"/>
                </a:solidFill>
              </a:rPr>
              <a:t>Physical Servers</a:t>
            </a:r>
          </a:p>
        </p:txBody>
      </p:sp>
      <p:sp>
        <p:nvSpPr>
          <p:cNvPr id="26" name="TextBox 25"/>
          <p:cNvSpPr txBox="1">
            <a:spLocks noChangeArrowheads="1"/>
          </p:cNvSpPr>
          <p:nvPr/>
        </p:nvSpPr>
        <p:spPr bwMode="auto">
          <a:xfrm>
            <a:off x="6871697" y="2114552"/>
            <a:ext cx="1062533" cy="242372"/>
          </a:xfrm>
          <a:prstGeom prst="rect">
            <a:avLst/>
          </a:prstGeom>
          <a:noFill/>
          <a:ln w="9525">
            <a:noFill/>
            <a:miter lim="800000"/>
            <a:headEnd/>
            <a:tailEnd/>
          </a:ln>
        </p:spPr>
        <p:txBody>
          <a:bodyPr wrap="none" lIns="68586" tIns="34294" rIns="68586" bIns="34294">
            <a:spAutoFit/>
          </a:bodyPr>
          <a:lstStyle/>
          <a:p>
            <a:r>
              <a:rPr lang="en-US" sz="1100">
                <a:solidFill>
                  <a:srgbClr val="FFFFFF"/>
                </a:solidFill>
              </a:rPr>
              <a:t>Virtual Servers</a:t>
            </a:r>
          </a:p>
        </p:txBody>
      </p:sp>
      <p:pic>
        <p:nvPicPr>
          <p:cNvPr id="32" name="Picture 31"/>
          <p:cNvPicPr>
            <a:picLocks noChangeAspect="1"/>
          </p:cNvPicPr>
          <p:nvPr/>
        </p:nvPicPr>
        <p:blipFill>
          <a:blip r:embed="rId10" cstate="print"/>
          <a:srcRect/>
          <a:stretch>
            <a:fillRect/>
          </a:stretch>
        </p:blipFill>
        <p:spPr bwMode="auto">
          <a:xfrm>
            <a:off x="6822869" y="1250158"/>
            <a:ext cx="1038495" cy="1156097"/>
          </a:xfrm>
          <a:prstGeom prst="rect">
            <a:avLst/>
          </a:prstGeom>
          <a:noFill/>
          <a:ln w="9525">
            <a:noFill/>
            <a:miter lim="800000"/>
            <a:headEnd/>
            <a:tailEnd/>
          </a:ln>
        </p:spPr>
      </p:pic>
      <p:pic>
        <p:nvPicPr>
          <p:cNvPr id="53259" name="Picture 5" descr="\\192.168.10.9\Shared\Design\Microsoft Events Presentation Resource DVD\DVD_ART36\Artwork_Imagery\Icons - Illustrations\People\White silhouettes\man person.png"/>
          <p:cNvPicPr>
            <a:picLocks noChangeAspect="1" noChangeArrowheads="1"/>
          </p:cNvPicPr>
          <p:nvPr/>
        </p:nvPicPr>
        <p:blipFill>
          <a:blip r:embed="rId11" cstate="print"/>
          <a:srcRect/>
          <a:stretch>
            <a:fillRect/>
          </a:stretch>
        </p:blipFill>
        <p:spPr bwMode="auto">
          <a:xfrm>
            <a:off x="513293" y="1839517"/>
            <a:ext cx="689551" cy="1522809"/>
          </a:xfrm>
          <a:prstGeom prst="rect">
            <a:avLst/>
          </a:prstGeom>
          <a:noFill/>
          <a:ln w="9525">
            <a:noFill/>
            <a:miter lim="800000"/>
            <a:headEnd/>
            <a:tailEnd/>
          </a:ln>
        </p:spPr>
      </p:pic>
      <p:sp>
        <p:nvSpPr>
          <p:cNvPr id="53260" name="Oval 8"/>
          <p:cNvSpPr>
            <a:spLocks noChangeArrowheads="1"/>
          </p:cNvSpPr>
          <p:nvPr/>
        </p:nvSpPr>
        <p:spPr bwMode="auto">
          <a:xfrm>
            <a:off x="587132" y="2940844"/>
            <a:ext cx="576413" cy="545306"/>
          </a:xfrm>
          <a:prstGeom prst="ellipse">
            <a:avLst/>
          </a:prstGeom>
          <a:solidFill>
            <a:srgbClr val="3F7C37">
              <a:alpha val="89803"/>
            </a:srgbClr>
          </a:solidFill>
          <a:ln w="9525">
            <a:noFill/>
            <a:round/>
            <a:headEnd/>
            <a:tailEnd/>
          </a:ln>
        </p:spPr>
        <p:txBody>
          <a:bodyPr wrap="none" lIns="68586" tIns="34294" rIns="68586" bIns="34294" anchor="ctr"/>
          <a:lstStyle/>
          <a:p>
            <a:pPr algn="ctr"/>
            <a:r>
              <a:rPr lang="en-US" sz="900" dirty="0">
                <a:solidFill>
                  <a:srgbClr val="FFFFFF"/>
                </a:solidFill>
              </a:rPr>
              <a:t>DC Admin</a:t>
            </a:r>
          </a:p>
        </p:txBody>
      </p:sp>
      <p:pic>
        <p:nvPicPr>
          <p:cNvPr id="46" name="Picture 2" descr="\\MAGNUM\Projects\Microsoft\Cloud Power FY12\Design\Icons\PNGs\SC.png"/>
          <p:cNvPicPr>
            <a:picLocks noChangeAspect="1" noChangeArrowheads="1"/>
          </p:cNvPicPr>
          <p:nvPr/>
        </p:nvPicPr>
        <p:blipFill>
          <a:blip r:embed="rId12" cstate="print">
            <a:lum bright="100000"/>
          </a:blip>
          <a:srcRect t="38493" b="38992"/>
          <a:stretch>
            <a:fillRect/>
          </a:stretch>
        </p:blipFill>
        <p:spPr bwMode="auto">
          <a:xfrm>
            <a:off x="1404113" y="3225405"/>
            <a:ext cx="1176644" cy="264319"/>
          </a:xfrm>
          <a:prstGeom prst="rect">
            <a:avLst/>
          </a:prstGeom>
          <a:noFill/>
          <a:ln w="9525">
            <a:noFill/>
            <a:miter lim="800000"/>
            <a:headEnd/>
            <a:tailEnd/>
          </a:ln>
        </p:spPr>
      </p:pic>
      <p:grpSp>
        <p:nvGrpSpPr>
          <p:cNvPr id="5" name="Group 11"/>
          <p:cNvGrpSpPr>
            <a:grpSpLocks/>
          </p:cNvGrpSpPr>
          <p:nvPr/>
        </p:nvGrpSpPr>
        <p:grpSpPr bwMode="auto">
          <a:xfrm>
            <a:off x="3559707" y="1771651"/>
            <a:ext cx="2555747" cy="2072879"/>
            <a:chOff x="4294" y="1066"/>
            <a:chExt cx="1604" cy="1350"/>
          </a:xfrm>
        </p:grpSpPr>
        <p:sp>
          <p:nvSpPr>
            <p:cNvPr id="28" name="Right Arrow 27"/>
            <p:cNvSpPr>
              <a:spLocks noChangeArrowheads="1"/>
            </p:cNvSpPr>
            <p:nvPr/>
          </p:nvSpPr>
          <p:spPr bwMode="auto">
            <a:xfrm>
              <a:off x="4294" y="1066"/>
              <a:ext cx="1604" cy="1350"/>
            </a:xfrm>
            <a:prstGeom prst="rightArrow">
              <a:avLst>
                <a:gd name="adj1" fmla="val 50000"/>
                <a:gd name="adj2" fmla="val 49985"/>
              </a:avLst>
            </a:prstGeom>
            <a:gradFill rotWithShape="1">
              <a:gsLst>
                <a:gs pos="0">
                  <a:schemeClr val="bg1">
                    <a:gamma/>
                    <a:tint val="0"/>
                    <a:invGamma/>
                    <a:alpha val="0"/>
                  </a:schemeClr>
                </a:gs>
                <a:gs pos="100000">
                  <a:schemeClr val="bg1">
                    <a:alpha val="50000"/>
                  </a:schemeClr>
                </a:gs>
              </a:gsLst>
              <a:lin ang="0" scaled="1"/>
            </a:gradFill>
            <a:ln w="9525" algn="ctr">
              <a:noFill/>
              <a:miter lim="800000"/>
              <a:headEnd/>
              <a:tailEnd/>
            </a:ln>
          </p:spPr>
          <p:txBody>
            <a:bodyPr lIns="109833" tIns="0" rIns="0" bIns="54916" anchor="ctr"/>
            <a:lstStyle/>
            <a:p>
              <a:pPr defTabSz="822797">
                <a:defRPr/>
              </a:pPr>
              <a:endParaRPr lang="en-US" sz="1200" b="1">
                <a:solidFill>
                  <a:prstClr val="black"/>
                </a:solidFill>
              </a:endParaRPr>
            </a:p>
          </p:txBody>
        </p:sp>
        <p:sp>
          <p:nvSpPr>
            <p:cNvPr id="53268" name="Text Box 13"/>
            <p:cNvSpPr txBox="1">
              <a:spLocks noChangeArrowheads="1"/>
            </p:cNvSpPr>
            <p:nvPr/>
          </p:nvSpPr>
          <p:spPr bwMode="auto">
            <a:xfrm>
              <a:off x="4656" y="1777"/>
              <a:ext cx="879" cy="149"/>
            </a:xfrm>
            <a:prstGeom prst="rect">
              <a:avLst/>
            </a:prstGeom>
            <a:noFill/>
            <a:ln w="9525">
              <a:noFill/>
              <a:miter lim="800000"/>
              <a:headEnd/>
              <a:tailEnd/>
            </a:ln>
          </p:spPr>
          <p:txBody>
            <a:bodyPr lIns="109833" tIns="0" rIns="109833" bIns="54916" anchor="ctr"/>
            <a:lstStyle/>
            <a:p>
              <a:pPr algn="ctr" defTabSz="822797"/>
              <a:r>
                <a:rPr lang="en-US" sz="1200" dirty="0">
                  <a:solidFill>
                    <a:srgbClr val="FFFFFF"/>
                  </a:solidFill>
                </a:rPr>
                <a:t>Deploy</a:t>
              </a:r>
            </a:p>
          </p:txBody>
        </p:sp>
        <p:sp>
          <p:nvSpPr>
            <p:cNvPr id="53269" name="Text Box 14"/>
            <p:cNvSpPr txBox="1">
              <a:spLocks noChangeArrowheads="1"/>
            </p:cNvSpPr>
            <p:nvPr/>
          </p:nvSpPr>
          <p:spPr bwMode="auto">
            <a:xfrm>
              <a:off x="4656" y="1551"/>
              <a:ext cx="879" cy="149"/>
            </a:xfrm>
            <a:prstGeom prst="rect">
              <a:avLst/>
            </a:prstGeom>
            <a:noFill/>
            <a:ln w="9525">
              <a:noFill/>
              <a:miter lim="800000"/>
              <a:headEnd/>
              <a:tailEnd/>
            </a:ln>
          </p:spPr>
          <p:txBody>
            <a:bodyPr lIns="109833" tIns="0" rIns="109833" bIns="54916" anchor="ctr"/>
            <a:lstStyle/>
            <a:p>
              <a:pPr algn="ctr" defTabSz="822797"/>
              <a:r>
                <a:rPr lang="en-US" sz="1200" dirty="0">
                  <a:solidFill>
                    <a:srgbClr val="FFFFFF"/>
                  </a:solidFill>
                </a:rPr>
                <a:t>Configure</a:t>
              </a:r>
            </a:p>
          </p:txBody>
        </p:sp>
      </p:grpSp>
      <p:sp>
        <p:nvSpPr>
          <p:cNvPr id="34" name="TextBox 33"/>
          <p:cNvSpPr txBox="1">
            <a:spLocks noChangeArrowheads="1"/>
          </p:cNvSpPr>
          <p:nvPr/>
        </p:nvSpPr>
        <p:spPr bwMode="auto">
          <a:xfrm>
            <a:off x="3559706" y="2049067"/>
            <a:ext cx="1423167" cy="207169"/>
          </a:xfrm>
          <a:prstGeom prst="rect">
            <a:avLst/>
          </a:prstGeom>
          <a:noFill/>
          <a:ln w="9525">
            <a:noFill/>
            <a:miter lim="800000"/>
            <a:headEnd/>
            <a:tailEnd/>
          </a:ln>
        </p:spPr>
        <p:txBody>
          <a:bodyPr wrap="none" lIns="68586" tIns="34294" rIns="68586" bIns="34294">
            <a:spAutoFit/>
          </a:bodyPr>
          <a:lstStyle/>
          <a:p>
            <a:r>
              <a:rPr lang="en-US" sz="900">
                <a:solidFill>
                  <a:srgbClr val="EEECE1"/>
                </a:solidFill>
              </a:rPr>
              <a:t>Virtual Machine Manager</a:t>
            </a:r>
          </a:p>
        </p:txBody>
      </p:sp>
      <p:sp>
        <p:nvSpPr>
          <p:cNvPr id="35" name="TextBox 34"/>
          <p:cNvSpPr txBox="1">
            <a:spLocks noChangeArrowheads="1"/>
          </p:cNvSpPr>
          <p:nvPr/>
        </p:nvSpPr>
        <p:spPr bwMode="auto">
          <a:xfrm>
            <a:off x="3541843" y="3369470"/>
            <a:ext cx="1323129" cy="208360"/>
          </a:xfrm>
          <a:prstGeom prst="rect">
            <a:avLst/>
          </a:prstGeom>
          <a:noFill/>
          <a:ln w="9525">
            <a:noFill/>
            <a:miter lim="800000"/>
            <a:headEnd/>
            <a:tailEnd/>
          </a:ln>
        </p:spPr>
        <p:txBody>
          <a:bodyPr wrap="none" lIns="68586" tIns="34294" rIns="68586" bIns="34294">
            <a:spAutoFit/>
          </a:bodyPr>
          <a:lstStyle/>
          <a:p>
            <a:r>
              <a:rPr lang="en-US" sz="900">
                <a:solidFill>
                  <a:srgbClr val="EEECE1"/>
                </a:solidFill>
              </a:rPr>
              <a:t>Configuration Manager</a:t>
            </a:r>
          </a:p>
        </p:txBody>
      </p:sp>
      <p:pic>
        <p:nvPicPr>
          <p:cNvPr id="31" name="Picture 30"/>
          <p:cNvPicPr>
            <a:picLocks/>
          </p:cNvPicPr>
          <p:nvPr/>
        </p:nvPicPr>
        <p:blipFill>
          <a:blip r:embed="rId13" cstate="print"/>
          <a:srcRect/>
          <a:stretch>
            <a:fillRect/>
          </a:stretch>
        </p:blipFill>
        <p:spPr bwMode="auto">
          <a:xfrm>
            <a:off x="3300081" y="2031207"/>
            <a:ext cx="275106" cy="233363"/>
          </a:xfrm>
          <a:prstGeom prst="rect">
            <a:avLst/>
          </a:prstGeom>
          <a:noFill/>
          <a:ln w="9525">
            <a:noFill/>
            <a:miter lim="800000"/>
            <a:headEnd/>
            <a:tailEnd/>
          </a:ln>
        </p:spPr>
      </p:pic>
      <p:pic>
        <p:nvPicPr>
          <p:cNvPr id="33" name="Picture 32"/>
          <p:cNvPicPr>
            <a:picLocks/>
          </p:cNvPicPr>
          <p:nvPr/>
        </p:nvPicPr>
        <p:blipFill>
          <a:blip r:embed="rId14" cstate="print"/>
          <a:srcRect/>
          <a:stretch>
            <a:fillRect/>
          </a:stretch>
        </p:blipFill>
        <p:spPr bwMode="auto">
          <a:xfrm>
            <a:off x="3282219" y="3362326"/>
            <a:ext cx="273915" cy="232172"/>
          </a:xfrm>
          <a:prstGeom prst="rect">
            <a:avLst/>
          </a:prstGeom>
          <a:noFill/>
          <a:ln w="9525">
            <a:noFill/>
            <a:miter lim="800000"/>
            <a:headEnd/>
            <a:tailEnd/>
          </a:ln>
        </p:spPr>
      </p:pic>
      <p:sp>
        <p:nvSpPr>
          <p:cNvPr id="27" name="Rectangle 26"/>
          <p:cNvSpPr/>
          <p:nvPr/>
        </p:nvSpPr>
        <p:spPr>
          <a:xfrm>
            <a:off x="570458" y="4800601"/>
            <a:ext cx="8025950" cy="266610"/>
          </a:xfrm>
          <a:prstGeom prst="rect">
            <a:avLst/>
          </a:prstGeom>
          <a:solidFill>
            <a:schemeClr val="accent1"/>
          </a:solidFill>
        </p:spPr>
        <p:txBody>
          <a:bodyPr lIns="68586" tIns="34294" rIns="68586" bIns="34294">
            <a:spAutoFit/>
          </a:bodyPr>
          <a:lstStyle/>
          <a:p>
            <a:pPr marL="302446" indent="-302446">
              <a:lnSpc>
                <a:spcPct val="90000"/>
              </a:lnSpc>
              <a:spcBef>
                <a:spcPct val="20000"/>
              </a:spcBef>
              <a:buSzPct val="105000"/>
              <a:buBlip>
                <a:blip r:embed="rId15"/>
              </a:buBlip>
            </a:pPr>
            <a:r>
              <a:rPr lang="en-US" dirty="0" smtClean="0">
                <a:solidFill>
                  <a:schemeClr val="tx1">
                    <a:alpha val="99000"/>
                  </a:schemeClr>
                </a:solidFill>
              </a:rPr>
              <a:t>MGT320 </a:t>
            </a:r>
            <a:r>
              <a:rPr lang="en-US" dirty="0">
                <a:solidFill>
                  <a:schemeClr val="tx1">
                    <a:alpha val="99000"/>
                  </a:schemeClr>
                </a:solidFill>
              </a:rPr>
              <a:t>- Microsoft System Center Virtual Machine Manager 2012: Zero to Cluster to </a:t>
            </a:r>
            <a:r>
              <a:rPr lang="en-US" dirty="0" smtClean="0">
                <a:solidFill>
                  <a:schemeClr val="tx1">
                    <a:alpha val="99000"/>
                  </a:schemeClr>
                </a:solidFill>
              </a:rPr>
              <a:t>Cloud</a:t>
            </a:r>
            <a:endParaRPr lang="en-US" dirty="0">
              <a:solidFill>
                <a:schemeClr val="tx1">
                  <a:alpha val="99000"/>
                </a:schemeClr>
              </a:solidFill>
            </a:endParaRPr>
          </a:p>
        </p:txBody>
      </p:sp>
      <p:sp>
        <p:nvSpPr>
          <p:cNvPr id="29"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0"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6"/>
              </a:rPr>
              <a:t>www.rapidbbs.cn</a:t>
            </a:r>
            <a:endParaRPr lang="zh-CN" altLang="en-US" sz="1200" b="0">
              <a:latin typeface="Arial" charset="0"/>
              <a:ea typeface="ＭＳ Ｐゴシック" pitchFamily="34" charset="-128"/>
            </a:endParaRPr>
          </a:p>
        </p:txBody>
      </p:sp>
      <p:pic>
        <p:nvPicPr>
          <p:cNvPr id="36" name="Picture 2">
            <a:hlinkClick r:id="rId16"/>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286141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500"/>
                                        <p:tgtEl>
                                          <p:spTgt spid="46"/>
                                        </p:tgtEl>
                                      </p:cBhvr>
                                    </p:animEffect>
                                  </p:childTnLst>
                                </p:cTn>
                              </p:par>
                              <p:par>
                                <p:cTn id="8" presetID="10" presetClass="entr" presetSubtype="0" fill="hold"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wipe(left)">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500"/>
                                        <p:tgtEl>
                                          <p:spTgt spid="6"/>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5"/>
                                        </p:tgtEl>
                                        <p:attrNameLst>
                                          <p:attrName>style.visibility</p:attrName>
                                        </p:attrNameLst>
                                      </p:cBhvr>
                                      <p:to>
                                        <p:strVal val="visible"/>
                                      </p:to>
                                    </p:set>
                                    <p:animEffect transition="in" filter="fade">
                                      <p:cBhvr>
                                        <p:cTn id="23" dur="500"/>
                                        <p:tgtEl>
                                          <p:spTgt spid="35"/>
                                        </p:tgtEl>
                                      </p:cBhvr>
                                    </p:animEffect>
                                  </p:childTnLst>
                                </p:cTn>
                              </p:par>
                              <p:par>
                                <p:cTn id="24" presetID="10" presetClass="entr" presetSubtype="0" fill="hold" nodeType="withEffect">
                                  <p:stCondLst>
                                    <p:cond delay="0"/>
                                  </p:stCondLst>
                                  <p:childTnLst>
                                    <p:set>
                                      <p:cBhvr>
                                        <p:cTn id="25" dur="1" fill="hold">
                                          <p:stCondLst>
                                            <p:cond delay="0"/>
                                          </p:stCondLst>
                                        </p:cTn>
                                        <p:tgtEl>
                                          <p:spTgt spid="33"/>
                                        </p:tgtEl>
                                        <p:attrNameLst>
                                          <p:attrName>style.visibility</p:attrName>
                                        </p:attrNameLst>
                                      </p:cBhvr>
                                      <p:to>
                                        <p:strVal val="visible"/>
                                      </p:to>
                                    </p:set>
                                    <p:animEffect transition="in" filter="fade">
                                      <p:cBhvr>
                                        <p:cTn id="26" dur="500"/>
                                        <p:tgtEl>
                                          <p:spTgt spid="33"/>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4"/>
                                        </p:tgtEl>
                                        <p:attrNameLst>
                                          <p:attrName>style.visibility</p:attrName>
                                        </p:attrNameLst>
                                      </p:cBhvr>
                                      <p:to>
                                        <p:strVal val="visible"/>
                                      </p:to>
                                    </p:set>
                                    <p:animEffect transition="in" filter="fade">
                                      <p:cBhvr>
                                        <p:cTn id="29" dur="500"/>
                                        <p:tgtEl>
                                          <p:spTgt spid="4"/>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32"/>
                                        </p:tgtEl>
                                        <p:attrNameLst>
                                          <p:attrName>style.visibility</p:attrName>
                                        </p:attrNameLst>
                                      </p:cBhvr>
                                      <p:to>
                                        <p:strVal val="visible"/>
                                      </p:to>
                                    </p:set>
                                    <p:animEffect transition="in" filter="fade">
                                      <p:cBhvr>
                                        <p:cTn id="34" dur="500"/>
                                        <p:tgtEl>
                                          <p:spTgt spid="32"/>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34"/>
                                        </p:tgtEl>
                                        <p:attrNameLst>
                                          <p:attrName>style.visibility</p:attrName>
                                        </p:attrNameLst>
                                      </p:cBhvr>
                                      <p:to>
                                        <p:strVal val="visible"/>
                                      </p:to>
                                    </p:set>
                                    <p:animEffect transition="in" filter="fade">
                                      <p:cBhvr>
                                        <p:cTn id="37" dur="500"/>
                                        <p:tgtEl>
                                          <p:spTgt spid="34"/>
                                        </p:tgtEl>
                                      </p:cBhvr>
                                    </p:animEffect>
                                  </p:childTnLst>
                                </p:cTn>
                              </p:par>
                              <p:par>
                                <p:cTn id="38" presetID="10" presetClass="entr" presetSubtype="0" fill="hold" nodeType="withEffect">
                                  <p:stCondLst>
                                    <p:cond delay="0"/>
                                  </p:stCondLst>
                                  <p:childTnLst>
                                    <p:set>
                                      <p:cBhvr>
                                        <p:cTn id="39" dur="1" fill="hold">
                                          <p:stCondLst>
                                            <p:cond delay="0"/>
                                          </p:stCondLst>
                                        </p:cTn>
                                        <p:tgtEl>
                                          <p:spTgt spid="31"/>
                                        </p:tgtEl>
                                        <p:attrNameLst>
                                          <p:attrName>style.visibility</p:attrName>
                                        </p:attrNameLst>
                                      </p:cBhvr>
                                      <p:to>
                                        <p:strVal val="visible"/>
                                      </p:to>
                                    </p:set>
                                    <p:animEffect transition="in" filter="fade">
                                      <p:cBhvr>
                                        <p:cTn id="40" dur="500"/>
                                        <p:tgtEl>
                                          <p:spTgt spid="31"/>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26"/>
                                        </p:tgtEl>
                                        <p:attrNameLst>
                                          <p:attrName>style.visibility</p:attrName>
                                        </p:attrNameLst>
                                      </p:cBhvr>
                                      <p:to>
                                        <p:strVal val="visible"/>
                                      </p:to>
                                    </p:set>
                                    <p:animEffect transition="in" filter="fade">
                                      <p:cBhvr>
                                        <p:cTn id="43" dur="500"/>
                                        <p:tgtEl>
                                          <p:spTgt spid="26"/>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24"/>
                                        </p:tgtEl>
                                        <p:attrNameLst>
                                          <p:attrName>style.visibility</p:attrName>
                                        </p:attrNameLst>
                                      </p:cBhvr>
                                      <p:to>
                                        <p:strVal val="visible"/>
                                      </p:to>
                                    </p:set>
                                    <p:animEffect transition="in" filter="fade">
                                      <p:cBhvr>
                                        <p:cTn id="48" dur="500"/>
                                        <p:tgtEl>
                                          <p:spTgt spid="24"/>
                                        </p:tgtEl>
                                      </p:cBhvr>
                                    </p:animEffect>
                                  </p:childTnLst>
                                </p:cTn>
                              </p:par>
                            </p:childTnLst>
                          </p:cTn>
                        </p:par>
                      </p:childTnLst>
                    </p:cTn>
                  </p:par>
                  <p:par>
                    <p:cTn id="49" fill="hold">
                      <p:stCondLst>
                        <p:cond delay="indefinite"/>
                      </p:stCondLst>
                      <p:childTnLst>
                        <p:par>
                          <p:cTn id="50" fill="hold">
                            <p:stCondLst>
                              <p:cond delay="0"/>
                            </p:stCondLst>
                            <p:childTnLst>
                              <p:par>
                                <p:cTn id="51" presetID="42" presetClass="path" presetSubtype="0" accel="50000" decel="50000" fill="hold" nodeType="clickEffect">
                                  <p:stCondLst>
                                    <p:cond delay="0"/>
                                  </p:stCondLst>
                                  <p:childTnLst>
                                    <p:animMotion origin="layout" path="M 1.79153E-6 -1.11111E-6 L -0.07831 -0.00139 " pathEditMode="relative" rAng="0" ptsTypes="AA">
                                      <p:cBhvr>
                                        <p:cTn id="52" dur="2000" fill="hold"/>
                                        <p:tgtEl>
                                          <p:spTgt spid="24"/>
                                        </p:tgtEl>
                                        <p:attrNameLst>
                                          <p:attrName>ppt_x</p:attrName>
                                          <p:attrName>ppt_y</p:attrName>
                                        </p:attrNameLst>
                                      </p:cBhvr>
                                      <p:rCtr x="-3922" y="-69"/>
                                    </p:animMotion>
                                  </p:childTnLst>
                                </p:cTn>
                              </p:par>
                            </p:childTnLst>
                          </p:cTn>
                        </p:par>
                        <p:par>
                          <p:cTn id="53" fill="hold">
                            <p:stCondLst>
                              <p:cond delay="2000"/>
                            </p:stCondLst>
                            <p:childTnLst>
                              <p:par>
                                <p:cTn id="54" presetID="10" presetClass="entr" presetSubtype="0" fill="hold" nodeType="after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fade">
                                      <p:cBhvr>
                                        <p:cTn id="56" dur="500"/>
                                        <p:tgtEl>
                                          <p:spTgt spid="21"/>
                                        </p:tgtEl>
                                      </p:cBhvr>
                                    </p:animEffect>
                                  </p:childTnLst>
                                </p:cTn>
                              </p:par>
                            </p:childTnLst>
                          </p:cTn>
                        </p:par>
                        <p:par>
                          <p:cTn id="57" fill="hold">
                            <p:stCondLst>
                              <p:cond delay="2500"/>
                            </p:stCondLst>
                            <p:childTnLst>
                              <p:par>
                                <p:cTn id="58" presetID="10" presetClass="entr" presetSubtype="0" fill="hold" nodeType="afterEffect">
                                  <p:stCondLst>
                                    <p:cond delay="0"/>
                                  </p:stCondLst>
                                  <p:childTnLst>
                                    <p:set>
                                      <p:cBhvr>
                                        <p:cTn id="59" dur="1" fill="hold">
                                          <p:stCondLst>
                                            <p:cond delay="0"/>
                                          </p:stCondLst>
                                        </p:cTn>
                                        <p:tgtEl>
                                          <p:spTgt spid="23"/>
                                        </p:tgtEl>
                                        <p:attrNameLst>
                                          <p:attrName>style.visibility</p:attrName>
                                        </p:attrNameLst>
                                      </p:cBhvr>
                                      <p:to>
                                        <p:strVal val="visible"/>
                                      </p:to>
                                    </p:set>
                                    <p:animEffect transition="in" filter="fade">
                                      <p:cBhvr>
                                        <p:cTn id="60"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26" grpId="0"/>
      <p:bldP spid="34" grpId="0"/>
      <p:bldP spid="35" grpId="0"/>
    </p:bldLst>
  </p:timing>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Power Optimization Example</a:t>
            </a:r>
            <a:endParaRPr lang="en-US" dirty="0"/>
          </a:p>
        </p:txBody>
      </p:sp>
      <p:grpSp>
        <p:nvGrpSpPr>
          <p:cNvPr id="23" name="Group 22"/>
          <p:cNvGrpSpPr/>
          <p:nvPr/>
        </p:nvGrpSpPr>
        <p:grpSpPr>
          <a:xfrm>
            <a:off x="914400" y="1238250"/>
            <a:ext cx="1371600" cy="3371850"/>
            <a:chOff x="914400" y="1642531"/>
            <a:chExt cx="1371600" cy="4495800"/>
          </a:xfrm>
        </p:grpSpPr>
        <p:sp>
          <p:nvSpPr>
            <p:cNvPr id="5" name="Rectangle 4"/>
            <p:cNvSpPr/>
            <p:nvPr/>
          </p:nvSpPr>
          <p:spPr>
            <a:xfrm>
              <a:off x="914400" y="1642531"/>
              <a:ext cx="1371600" cy="4495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914400" y="1642531"/>
              <a:ext cx="1371600" cy="762000"/>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Host Reserve (10%)</a:t>
              </a:r>
              <a:endParaRPr lang="en-US" dirty="0"/>
            </a:p>
          </p:txBody>
        </p:sp>
      </p:grpSp>
      <p:grpSp>
        <p:nvGrpSpPr>
          <p:cNvPr id="22" name="Group 21"/>
          <p:cNvGrpSpPr/>
          <p:nvPr/>
        </p:nvGrpSpPr>
        <p:grpSpPr>
          <a:xfrm>
            <a:off x="2895600" y="1225549"/>
            <a:ext cx="1371600" cy="3390900"/>
            <a:chOff x="2590800" y="1634064"/>
            <a:chExt cx="1371600" cy="4521200"/>
          </a:xfrm>
        </p:grpSpPr>
        <p:sp>
          <p:nvSpPr>
            <p:cNvPr id="6" name="Rectangle 5"/>
            <p:cNvSpPr/>
            <p:nvPr/>
          </p:nvSpPr>
          <p:spPr>
            <a:xfrm>
              <a:off x="2590800" y="1659464"/>
              <a:ext cx="1371600" cy="4495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2590800" y="1634064"/>
              <a:ext cx="1371600" cy="762000"/>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Host Reserve (10%)</a:t>
              </a:r>
              <a:endParaRPr lang="en-US" dirty="0"/>
            </a:p>
          </p:txBody>
        </p:sp>
      </p:grpSp>
      <p:grpSp>
        <p:nvGrpSpPr>
          <p:cNvPr id="21" name="Group 20"/>
          <p:cNvGrpSpPr/>
          <p:nvPr/>
        </p:nvGrpSpPr>
        <p:grpSpPr>
          <a:xfrm>
            <a:off x="4953000" y="1231900"/>
            <a:ext cx="1371600" cy="3397250"/>
            <a:chOff x="4953000" y="1642531"/>
            <a:chExt cx="1371600" cy="4529667"/>
          </a:xfrm>
        </p:grpSpPr>
        <p:sp>
          <p:nvSpPr>
            <p:cNvPr id="7" name="Rectangle 6"/>
            <p:cNvSpPr/>
            <p:nvPr/>
          </p:nvSpPr>
          <p:spPr>
            <a:xfrm>
              <a:off x="4953000" y="1642531"/>
              <a:ext cx="1371600" cy="4529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4953000" y="1642531"/>
              <a:ext cx="1371600" cy="762000"/>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Host Reserve (10%)</a:t>
              </a:r>
              <a:endParaRPr lang="en-US" dirty="0"/>
            </a:p>
          </p:txBody>
        </p:sp>
      </p:grpSp>
      <p:grpSp>
        <p:nvGrpSpPr>
          <p:cNvPr id="20" name="Group 19"/>
          <p:cNvGrpSpPr/>
          <p:nvPr/>
        </p:nvGrpSpPr>
        <p:grpSpPr>
          <a:xfrm>
            <a:off x="6934200" y="1231900"/>
            <a:ext cx="1371600" cy="3397250"/>
            <a:chOff x="6934200" y="1642532"/>
            <a:chExt cx="1371600" cy="4529666"/>
          </a:xfrm>
        </p:grpSpPr>
        <p:sp>
          <p:nvSpPr>
            <p:cNvPr id="8" name="Rectangle 7"/>
            <p:cNvSpPr/>
            <p:nvPr/>
          </p:nvSpPr>
          <p:spPr>
            <a:xfrm>
              <a:off x="6934200" y="1642532"/>
              <a:ext cx="1371600" cy="452966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6934200" y="1642532"/>
              <a:ext cx="1371600" cy="762000"/>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Host Reserve (10%)</a:t>
              </a:r>
              <a:endParaRPr lang="en-US" dirty="0"/>
            </a:p>
          </p:txBody>
        </p:sp>
      </p:grpSp>
      <p:sp>
        <p:nvSpPr>
          <p:cNvPr id="24" name="Rectangle 23"/>
          <p:cNvSpPr/>
          <p:nvPr/>
        </p:nvSpPr>
        <p:spPr>
          <a:xfrm>
            <a:off x="914400" y="1231901"/>
            <a:ext cx="1371600" cy="1333501"/>
          </a:xfrm>
          <a:prstGeom prst="rect">
            <a:avLst/>
          </a:prstGeom>
          <a:solidFill>
            <a:srgbClr val="FFC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endParaRPr lang="en-US" dirty="0" smtClean="0"/>
          </a:p>
          <a:p>
            <a:pPr algn="ctr"/>
            <a:endParaRPr lang="en-US" dirty="0"/>
          </a:p>
          <a:p>
            <a:pPr algn="ctr"/>
            <a:endParaRPr lang="en-US" dirty="0" smtClean="0"/>
          </a:p>
          <a:p>
            <a:pPr algn="ctr"/>
            <a:r>
              <a:rPr lang="en-US" sz="1200" dirty="0"/>
              <a:t>Dynamic Optimization Threshold (30%)</a:t>
            </a:r>
          </a:p>
        </p:txBody>
      </p:sp>
      <p:sp>
        <p:nvSpPr>
          <p:cNvPr id="25" name="Rectangle 24"/>
          <p:cNvSpPr/>
          <p:nvPr/>
        </p:nvSpPr>
        <p:spPr>
          <a:xfrm>
            <a:off x="2895600" y="1225551"/>
            <a:ext cx="1371600" cy="1333501"/>
          </a:xfrm>
          <a:prstGeom prst="rect">
            <a:avLst/>
          </a:prstGeom>
          <a:solidFill>
            <a:srgbClr val="FFC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endParaRPr lang="en-US" dirty="0" smtClean="0"/>
          </a:p>
          <a:p>
            <a:pPr algn="ctr"/>
            <a:endParaRPr lang="en-US" dirty="0"/>
          </a:p>
          <a:p>
            <a:pPr algn="ctr"/>
            <a:endParaRPr lang="en-US" dirty="0" smtClean="0"/>
          </a:p>
          <a:p>
            <a:pPr algn="ctr"/>
            <a:r>
              <a:rPr lang="en-US" sz="1200" dirty="0"/>
              <a:t>Dynamic Optimization Threshold (30%)</a:t>
            </a:r>
          </a:p>
        </p:txBody>
      </p:sp>
      <p:sp>
        <p:nvSpPr>
          <p:cNvPr id="26" name="Rectangle 25"/>
          <p:cNvSpPr/>
          <p:nvPr/>
        </p:nvSpPr>
        <p:spPr>
          <a:xfrm>
            <a:off x="4953000" y="1225551"/>
            <a:ext cx="1371600" cy="1333501"/>
          </a:xfrm>
          <a:prstGeom prst="rect">
            <a:avLst/>
          </a:prstGeom>
          <a:solidFill>
            <a:srgbClr val="FFC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endParaRPr lang="en-US" dirty="0" smtClean="0"/>
          </a:p>
          <a:p>
            <a:pPr algn="ctr"/>
            <a:endParaRPr lang="en-US" dirty="0"/>
          </a:p>
          <a:p>
            <a:pPr algn="ctr"/>
            <a:endParaRPr lang="en-US" dirty="0" smtClean="0"/>
          </a:p>
          <a:p>
            <a:pPr algn="ctr"/>
            <a:r>
              <a:rPr lang="en-US" sz="1200" dirty="0"/>
              <a:t>Dynamic Optimization Threshold (30%)</a:t>
            </a:r>
          </a:p>
        </p:txBody>
      </p:sp>
      <p:sp>
        <p:nvSpPr>
          <p:cNvPr id="27" name="Rectangle 26"/>
          <p:cNvSpPr/>
          <p:nvPr/>
        </p:nvSpPr>
        <p:spPr>
          <a:xfrm>
            <a:off x="6934200" y="1238251"/>
            <a:ext cx="1371600" cy="1333501"/>
          </a:xfrm>
          <a:prstGeom prst="rect">
            <a:avLst/>
          </a:prstGeom>
          <a:solidFill>
            <a:srgbClr val="FFC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endParaRPr lang="en-US" dirty="0" smtClean="0"/>
          </a:p>
          <a:p>
            <a:pPr algn="ctr"/>
            <a:endParaRPr lang="en-US" dirty="0"/>
          </a:p>
          <a:p>
            <a:pPr algn="ctr"/>
            <a:endParaRPr lang="en-US" dirty="0" smtClean="0"/>
          </a:p>
          <a:p>
            <a:pPr algn="ctr"/>
            <a:r>
              <a:rPr lang="en-US" sz="1200" dirty="0"/>
              <a:t>Dynamic Optimization Threshold (30%)</a:t>
            </a:r>
          </a:p>
        </p:txBody>
      </p:sp>
      <p:sp>
        <p:nvSpPr>
          <p:cNvPr id="2" name="Rectangle 1"/>
          <p:cNvSpPr/>
          <p:nvPr/>
        </p:nvSpPr>
        <p:spPr bwMode="auto">
          <a:xfrm>
            <a:off x="914400" y="1225549"/>
            <a:ext cx="1371600" cy="1974851"/>
          </a:xfrm>
          <a:prstGeom prst="rect">
            <a:avLst/>
          </a:prstGeom>
          <a:solidFill>
            <a:schemeClr val="accent2">
              <a:alpha val="50000"/>
            </a:schemeClr>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dirty="0" smtClean="0">
              <a:gradFill>
                <a:gsLst>
                  <a:gs pos="0">
                    <a:srgbClr val="FFFFFF"/>
                  </a:gs>
                  <a:gs pos="100000">
                    <a:srgbClr val="FFFFFF"/>
                  </a:gs>
                </a:gsLst>
                <a:lin ang="5400000" scaled="0"/>
              </a:gradFill>
            </a:endParaRPr>
          </a:p>
          <a:p>
            <a:pPr algn="ctr" defTabSz="685637" fontAlgn="base">
              <a:spcBef>
                <a:spcPct val="0"/>
              </a:spcBef>
              <a:spcAft>
                <a:spcPct val="0"/>
              </a:spcAft>
            </a:pPr>
            <a:endParaRPr lang="en-US" dirty="0">
              <a:gradFill>
                <a:gsLst>
                  <a:gs pos="0">
                    <a:srgbClr val="FFFFFF"/>
                  </a:gs>
                  <a:gs pos="100000">
                    <a:srgbClr val="FFFFFF"/>
                  </a:gs>
                </a:gsLst>
                <a:lin ang="5400000" scaled="0"/>
              </a:gradFill>
            </a:endParaRPr>
          </a:p>
          <a:p>
            <a:pPr algn="ctr" defTabSz="685637" fontAlgn="base">
              <a:spcBef>
                <a:spcPct val="0"/>
              </a:spcBef>
              <a:spcAft>
                <a:spcPct val="0"/>
              </a:spcAft>
            </a:pPr>
            <a:endParaRPr lang="en-US" dirty="0" smtClean="0">
              <a:gradFill>
                <a:gsLst>
                  <a:gs pos="0">
                    <a:srgbClr val="FFFFFF"/>
                  </a:gs>
                  <a:gs pos="100000">
                    <a:srgbClr val="FFFFFF"/>
                  </a:gs>
                </a:gsLst>
                <a:lin ang="5400000" scaled="0"/>
              </a:gradFill>
            </a:endParaRPr>
          </a:p>
          <a:p>
            <a:pPr algn="ctr" defTabSz="685637" fontAlgn="base">
              <a:spcBef>
                <a:spcPct val="0"/>
              </a:spcBef>
              <a:spcAft>
                <a:spcPct val="0"/>
              </a:spcAft>
            </a:pPr>
            <a:endParaRPr lang="en-US" dirty="0">
              <a:gradFill>
                <a:gsLst>
                  <a:gs pos="0">
                    <a:srgbClr val="FFFFFF"/>
                  </a:gs>
                  <a:gs pos="100000">
                    <a:srgbClr val="FFFFFF"/>
                  </a:gs>
                </a:gsLst>
                <a:lin ang="5400000" scaled="0"/>
              </a:gradFill>
            </a:endParaRPr>
          </a:p>
          <a:p>
            <a:pPr algn="ctr" defTabSz="685637" fontAlgn="base">
              <a:spcBef>
                <a:spcPct val="0"/>
              </a:spcBef>
              <a:spcAft>
                <a:spcPct val="0"/>
              </a:spcAft>
            </a:pPr>
            <a:endParaRPr lang="en-US" dirty="0" smtClean="0">
              <a:gradFill>
                <a:gsLst>
                  <a:gs pos="0">
                    <a:srgbClr val="FFFFFF"/>
                  </a:gs>
                  <a:gs pos="100000">
                    <a:srgbClr val="FFFFFF"/>
                  </a:gs>
                </a:gsLst>
                <a:lin ang="5400000" scaled="0"/>
              </a:gradFill>
            </a:endParaRPr>
          </a:p>
          <a:p>
            <a:pPr algn="ctr" defTabSz="685637" fontAlgn="base">
              <a:spcBef>
                <a:spcPct val="0"/>
              </a:spcBef>
              <a:spcAft>
                <a:spcPct val="0"/>
              </a:spcAft>
            </a:pPr>
            <a:endParaRPr lang="en-US" dirty="0">
              <a:gradFill>
                <a:gsLst>
                  <a:gs pos="0">
                    <a:srgbClr val="FFFFFF"/>
                  </a:gs>
                  <a:gs pos="100000">
                    <a:srgbClr val="FFFFFF"/>
                  </a:gs>
                </a:gsLst>
                <a:lin ang="5400000" scaled="0"/>
              </a:gradFill>
            </a:endParaRPr>
          </a:p>
          <a:p>
            <a:pPr algn="ctr" defTabSz="685637" fontAlgn="base">
              <a:spcBef>
                <a:spcPct val="0"/>
              </a:spcBef>
              <a:spcAft>
                <a:spcPct val="0"/>
              </a:spcAft>
            </a:pPr>
            <a:r>
              <a:rPr lang="en-US" sz="1200" dirty="0">
                <a:gradFill>
                  <a:gsLst>
                    <a:gs pos="0">
                      <a:srgbClr val="FFFFFF"/>
                    </a:gs>
                    <a:gs pos="100000">
                      <a:srgbClr val="FFFFFF"/>
                    </a:gs>
                  </a:gsLst>
                  <a:lin ang="5400000" scaled="0"/>
                </a:gradFill>
              </a:rPr>
              <a:t>Power Optimization Threshold (40%)</a:t>
            </a:r>
          </a:p>
        </p:txBody>
      </p:sp>
      <p:sp>
        <p:nvSpPr>
          <p:cNvPr id="34" name="Rectangle 33"/>
          <p:cNvSpPr/>
          <p:nvPr/>
        </p:nvSpPr>
        <p:spPr bwMode="auto">
          <a:xfrm>
            <a:off x="2895600" y="1217719"/>
            <a:ext cx="1371600" cy="1974851"/>
          </a:xfrm>
          <a:prstGeom prst="rect">
            <a:avLst/>
          </a:prstGeom>
          <a:solidFill>
            <a:schemeClr val="accent2">
              <a:alpha val="50000"/>
            </a:schemeClr>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dirty="0" smtClean="0">
              <a:gradFill>
                <a:gsLst>
                  <a:gs pos="0">
                    <a:srgbClr val="FFFFFF"/>
                  </a:gs>
                  <a:gs pos="100000">
                    <a:srgbClr val="FFFFFF"/>
                  </a:gs>
                </a:gsLst>
                <a:lin ang="5400000" scaled="0"/>
              </a:gradFill>
            </a:endParaRPr>
          </a:p>
          <a:p>
            <a:pPr algn="ctr" defTabSz="685637" fontAlgn="base">
              <a:spcBef>
                <a:spcPct val="0"/>
              </a:spcBef>
              <a:spcAft>
                <a:spcPct val="0"/>
              </a:spcAft>
            </a:pPr>
            <a:endParaRPr lang="en-US" dirty="0">
              <a:gradFill>
                <a:gsLst>
                  <a:gs pos="0">
                    <a:srgbClr val="FFFFFF"/>
                  </a:gs>
                  <a:gs pos="100000">
                    <a:srgbClr val="FFFFFF"/>
                  </a:gs>
                </a:gsLst>
                <a:lin ang="5400000" scaled="0"/>
              </a:gradFill>
            </a:endParaRPr>
          </a:p>
          <a:p>
            <a:pPr algn="ctr" defTabSz="685637" fontAlgn="base">
              <a:spcBef>
                <a:spcPct val="0"/>
              </a:spcBef>
              <a:spcAft>
                <a:spcPct val="0"/>
              </a:spcAft>
            </a:pPr>
            <a:endParaRPr lang="en-US" dirty="0" smtClean="0">
              <a:gradFill>
                <a:gsLst>
                  <a:gs pos="0">
                    <a:srgbClr val="FFFFFF"/>
                  </a:gs>
                  <a:gs pos="100000">
                    <a:srgbClr val="FFFFFF"/>
                  </a:gs>
                </a:gsLst>
                <a:lin ang="5400000" scaled="0"/>
              </a:gradFill>
            </a:endParaRPr>
          </a:p>
          <a:p>
            <a:pPr algn="ctr" defTabSz="685637" fontAlgn="base">
              <a:spcBef>
                <a:spcPct val="0"/>
              </a:spcBef>
              <a:spcAft>
                <a:spcPct val="0"/>
              </a:spcAft>
            </a:pPr>
            <a:endParaRPr lang="en-US" dirty="0">
              <a:gradFill>
                <a:gsLst>
                  <a:gs pos="0">
                    <a:srgbClr val="FFFFFF"/>
                  </a:gs>
                  <a:gs pos="100000">
                    <a:srgbClr val="FFFFFF"/>
                  </a:gs>
                </a:gsLst>
                <a:lin ang="5400000" scaled="0"/>
              </a:gradFill>
            </a:endParaRPr>
          </a:p>
          <a:p>
            <a:pPr algn="ctr" defTabSz="685637" fontAlgn="base">
              <a:spcBef>
                <a:spcPct val="0"/>
              </a:spcBef>
              <a:spcAft>
                <a:spcPct val="0"/>
              </a:spcAft>
            </a:pPr>
            <a:endParaRPr lang="en-US" dirty="0" smtClean="0">
              <a:gradFill>
                <a:gsLst>
                  <a:gs pos="0">
                    <a:srgbClr val="FFFFFF"/>
                  </a:gs>
                  <a:gs pos="100000">
                    <a:srgbClr val="FFFFFF"/>
                  </a:gs>
                </a:gsLst>
                <a:lin ang="5400000" scaled="0"/>
              </a:gradFill>
            </a:endParaRPr>
          </a:p>
          <a:p>
            <a:pPr algn="ctr" defTabSz="685637" fontAlgn="base">
              <a:spcBef>
                <a:spcPct val="0"/>
              </a:spcBef>
              <a:spcAft>
                <a:spcPct val="0"/>
              </a:spcAft>
            </a:pPr>
            <a:endParaRPr lang="en-US" dirty="0">
              <a:gradFill>
                <a:gsLst>
                  <a:gs pos="0">
                    <a:srgbClr val="FFFFFF"/>
                  </a:gs>
                  <a:gs pos="100000">
                    <a:srgbClr val="FFFFFF"/>
                  </a:gs>
                </a:gsLst>
                <a:lin ang="5400000" scaled="0"/>
              </a:gradFill>
            </a:endParaRPr>
          </a:p>
          <a:p>
            <a:pPr algn="ctr" defTabSz="685637" fontAlgn="base">
              <a:spcBef>
                <a:spcPct val="0"/>
              </a:spcBef>
              <a:spcAft>
                <a:spcPct val="0"/>
              </a:spcAft>
            </a:pPr>
            <a:r>
              <a:rPr lang="en-US" sz="1200" dirty="0">
                <a:gradFill>
                  <a:gsLst>
                    <a:gs pos="0">
                      <a:srgbClr val="FFFFFF"/>
                    </a:gs>
                    <a:gs pos="100000">
                      <a:srgbClr val="FFFFFF"/>
                    </a:gs>
                  </a:gsLst>
                  <a:lin ang="5400000" scaled="0"/>
                </a:gradFill>
              </a:rPr>
              <a:t>Power Optimization Threshold (40%)</a:t>
            </a:r>
          </a:p>
        </p:txBody>
      </p:sp>
      <p:sp>
        <p:nvSpPr>
          <p:cNvPr id="35" name="Rectangle 34"/>
          <p:cNvSpPr/>
          <p:nvPr/>
        </p:nvSpPr>
        <p:spPr bwMode="auto">
          <a:xfrm>
            <a:off x="4953000" y="1225548"/>
            <a:ext cx="1371600" cy="1974851"/>
          </a:xfrm>
          <a:prstGeom prst="rect">
            <a:avLst/>
          </a:prstGeom>
          <a:solidFill>
            <a:schemeClr val="accent2">
              <a:alpha val="50000"/>
            </a:schemeClr>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dirty="0" smtClean="0">
              <a:gradFill>
                <a:gsLst>
                  <a:gs pos="0">
                    <a:srgbClr val="FFFFFF"/>
                  </a:gs>
                  <a:gs pos="100000">
                    <a:srgbClr val="FFFFFF"/>
                  </a:gs>
                </a:gsLst>
                <a:lin ang="5400000" scaled="0"/>
              </a:gradFill>
            </a:endParaRPr>
          </a:p>
          <a:p>
            <a:pPr algn="ctr" defTabSz="685637" fontAlgn="base">
              <a:spcBef>
                <a:spcPct val="0"/>
              </a:spcBef>
              <a:spcAft>
                <a:spcPct val="0"/>
              </a:spcAft>
            </a:pPr>
            <a:endParaRPr lang="en-US" dirty="0">
              <a:gradFill>
                <a:gsLst>
                  <a:gs pos="0">
                    <a:srgbClr val="FFFFFF"/>
                  </a:gs>
                  <a:gs pos="100000">
                    <a:srgbClr val="FFFFFF"/>
                  </a:gs>
                </a:gsLst>
                <a:lin ang="5400000" scaled="0"/>
              </a:gradFill>
            </a:endParaRPr>
          </a:p>
          <a:p>
            <a:pPr algn="ctr" defTabSz="685637" fontAlgn="base">
              <a:spcBef>
                <a:spcPct val="0"/>
              </a:spcBef>
              <a:spcAft>
                <a:spcPct val="0"/>
              </a:spcAft>
            </a:pPr>
            <a:endParaRPr lang="en-US" dirty="0" smtClean="0">
              <a:gradFill>
                <a:gsLst>
                  <a:gs pos="0">
                    <a:srgbClr val="FFFFFF"/>
                  </a:gs>
                  <a:gs pos="100000">
                    <a:srgbClr val="FFFFFF"/>
                  </a:gs>
                </a:gsLst>
                <a:lin ang="5400000" scaled="0"/>
              </a:gradFill>
            </a:endParaRPr>
          </a:p>
          <a:p>
            <a:pPr algn="ctr" defTabSz="685637" fontAlgn="base">
              <a:spcBef>
                <a:spcPct val="0"/>
              </a:spcBef>
              <a:spcAft>
                <a:spcPct val="0"/>
              </a:spcAft>
            </a:pPr>
            <a:endParaRPr lang="en-US" dirty="0">
              <a:gradFill>
                <a:gsLst>
                  <a:gs pos="0">
                    <a:srgbClr val="FFFFFF"/>
                  </a:gs>
                  <a:gs pos="100000">
                    <a:srgbClr val="FFFFFF"/>
                  </a:gs>
                </a:gsLst>
                <a:lin ang="5400000" scaled="0"/>
              </a:gradFill>
            </a:endParaRPr>
          </a:p>
          <a:p>
            <a:pPr algn="ctr" defTabSz="685637" fontAlgn="base">
              <a:spcBef>
                <a:spcPct val="0"/>
              </a:spcBef>
              <a:spcAft>
                <a:spcPct val="0"/>
              </a:spcAft>
            </a:pPr>
            <a:endParaRPr lang="en-US" dirty="0" smtClean="0">
              <a:gradFill>
                <a:gsLst>
                  <a:gs pos="0">
                    <a:srgbClr val="FFFFFF"/>
                  </a:gs>
                  <a:gs pos="100000">
                    <a:srgbClr val="FFFFFF"/>
                  </a:gs>
                </a:gsLst>
                <a:lin ang="5400000" scaled="0"/>
              </a:gradFill>
            </a:endParaRPr>
          </a:p>
          <a:p>
            <a:pPr algn="ctr" defTabSz="685637" fontAlgn="base">
              <a:spcBef>
                <a:spcPct val="0"/>
              </a:spcBef>
              <a:spcAft>
                <a:spcPct val="0"/>
              </a:spcAft>
            </a:pPr>
            <a:endParaRPr lang="en-US" dirty="0">
              <a:gradFill>
                <a:gsLst>
                  <a:gs pos="0">
                    <a:srgbClr val="FFFFFF"/>
                  </a:gs>
                  <a:gs pos="100000">
                    <a:srgbClr val="FFFFFF"/>
                  </a:gs>
                </a:gsLst>
                <a:lin ang="5400000" scaled="0"/>
              </a:gradFill>
            </a:endParaRPr>
          </a:p>
          <a:p>
            <a:pPr algn="ctr" defTabSz="685637" fontAlgn="base">
              <a:spcBef>
                <a:spcPct val="0"/>
              </a:spcBef>
              <a:spcAft>
                <a:spcPct val="0"/>
              </a:spcAft>
            </a:pPr>
            <a:r>
              <a:rPr lang="en-US" sz="1200" dirty="0">
                <a:gradFill>
                  <a:gsLst>
                    <a:gs pos="0">
                      <a:srgbClr val="FFFFFF"/>
                    </a:gs>
                    <a:gs pos="100000">
                      <a:srgbClr val="FFFFFF"/>
                    </a:gs>
                  </a:gsLst>
                  <a:lin ang="5400000" scaled="0"/>
                </a:gradFill>
              </a:rPr>
              <a:t>Power Optimization Threshold (40%)</a:t>
            </a:r>
          </a:p>
        </p:txBody>
      </p:sp>
      <p:sp>
        <p:nvSpPr>
          <p:cNvPr id="36" name="Rectangle 35"/>
          <p:cNvSpPr/>
          <p:nvPr/>
        </p:nvSpPr>
        <p:spPr bwMode="auto">
          <a:xfrm>
            <a:off x="6934200" y="1225549"/>
            <a:ext cx="1371600" cy="1974851"/>
          </a:xfrm>
          <a:prstGeom prst="rect">
            <a:avLst/>
          </a:prstGeom>
          <a:solidFill>
            <a:schemeClr val="accent2">
              <a:alpha val="50000"/>
            </a:schemeClr>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dirty="0" smtClean="0">
              <a:gradFill>
                <a:gsLst>
                  <a:gs pos="0">
                    <a:srgbClr val="FFFFFF"/>
                  </a:gs>
                  <a:gs pos="100000">
                    <a:srgbClr val="FFFFFF"/>
                  </a:gs>
                </a:gsLst>
                <a:lin ang="5400000" scaled="0"/>
              </a:gradFill>
            </a:endParaRPr>
          </a:p>
          <a:p>
            <a:pPr algn="ctr" defTabSz="685637" fontAlgn="base">
              <a:spcBef>
                <a:spcPct val="0"/>
              </a:spcBef>
              <a:spcAft>
                <a:spcPct val="0"/>
              </a:spcAft>
            </a:pPr>
            <a:endParaRPr lang="en-US" dirty="0">
              <a:gradFill>
                <a:gsLst>
                  <a:gs pos="0">
                    <a:srgbClr val="FFFFFF"/>
                  </a:gs>
                  <a:gs pos="100000">
                    <a:srgbClr val="FFFFFF"/>
                  </a:gs>
                </a:gsLst>
                <a:lin ang="5400000" scaled="0"/>
              </a:gradFill>
            </a:endParaRPr>
          </a:p>
          <a:p>
            <a:pPr algn="ctr" defTabSz="685637" fontAlgn="base">
              <a:spcBef>
                <a:spcPct val="0"/>
              </a:spcBef>
              <a:spcAft>
                <a:spcPct val="0"/>
              </a:spcAft>
            </a:pPr>
            <a:endParaRPr lang="en-US" dirty="0" smtClean="0">
              <a:gradFill>
                <a:gsLst>
                  <a:gs pos="0">
                    <a:srgbClr val="FFFFFF"/>
                  </a:gs>
                  <a:gs pos="100000">
                    <a:srgbClr val="FFFFFF"/>
                  </a:gs>
                </a:gsLst>
                <a:lin ang="5400000" scaled="0"/>
              </a:gradFill>
            </a:endParaRPr>
          </a:p>
          <a:p>
            <a:pPr algn="ctr" defTabSz="685637" fontAlgn="base">
              <a:spcBef>
                <a:spcPct val="0"/>
              </a:spcBef>
              <a:spcAft>
                <a:spcPct val="0"/>
              </a:spcAft>
            </a:pPr>
            <a:endParaRPr lang="en-US" dirty="0">
              <a:gradFill>
                <a:gsLst>
                  <a:gs pos="0">
                    <a:srgbClr val="FFFFFF"/>
                  </a:gs>
                  <a:gs pos="100000">
                    <a:srgbClr val="FFFFFF"/>
                  </a:gs>
                </a:gsLst>
                <a:lin ang="5400000" scaled="0"/>
              </a:gradFill>
            </a:endParaRPr>
          </a:p>
          <a:p>
            <a:pPr algn="ctr" defTabSz="685637" fontAlgn="base">
              <a:spcBef>
                <a:spcPct val="0"/>
              </a:spcBef>
              <a:spcAft>
                <a:spcPct val="0"/>
              </a:spcAft>
            </a:pPr>
            <a:endParaRPr lang="en-US" dirty="0" smtClean="0">
              <a:gradFill>
                <a:gsLst>
                  <a:gs pos="0">
                    <a:srgbClr val="FFFFFF"/>
                  </a:gs>
                  <a:gs pos="100000">
                    <a:srgbClr val="FFFFFF"/>
                  </a:gs>
                </a:gsLst>
                <a:lin ang="5400000" scaled="0"/>
              </a:gradFill>
            </a:endParaRPr>
          </a:p>
          <a:p>
            <a:pPr algn="ctr" defTabSz="685637" fontAlgn="base">
              <a:spcBef>
                <a:spcPct val="0"/>
              </a:spcBef>
              <a:spcAft>
                <a:spcPct val="0"/>
              </a:spcAft>
            </a:pPr>
            <a:endParaRPr lang="en-US" dirty="0">
              <a:gradFill>
                <a:gsLst>
                  <a:gs pos="0">
                    <a:srgbClr val="FFFFFF"/>
                  </a:gs>
                  <a:gs pos="100000">
                    <a:srgbClr val="FFFFFF"/>
                  </a:gs>
                </a:gsLst>
                <a:lin ang="5400000" scaled="0"/>
              </a:gradFill>
            </a:endParaRPr>
          </a:p>
          <a:p>
            <a:pPr algn="ctr" defTabSz="685637" fontAlgn="base">
              <a:spcBef>
                <a:spcPct val="0"/>
              </a:spcBef>
              <a:spcAft>
                <a:spcPct val="0"/>
              </a:spcAft>
            </a:pPr>
            <a:r>
              <a:rPr lang="en-US" sz="1200" dirty="0">
                <a:gradFill>
                  <a:gsLst>
                    <a:gs pos="0">
                      <a:srgbClr val="FFFFFF"/>
                    </a:gs>
                    <a:gs pos="100000">
                      <a:srgbClr val="FFFFFF"/>
                    </a:gs>
                  </a:gsLst>
                  <a:lin ang="5400000" scaled="0"/>
                </a:gradFill>
              </a:rPr>
              <a:t>Power Optimization Threshold (40%)</a:t>
            </a:r>
          </a:p>
        </p:txBody>
      </p:sp>
      <p:sp>
        <p:nvSpPr>
          <p:cNvPr id="37" name="Rectangle 36"/>
          <p:cNvSpPr/>
          <p:nvPr/>
        </p:nvSpPr>
        <p:spPr>
          <a:xfrm>
            <a:off x="4953000" y="4000501"/>
            <a:ext cx="1371600" cy="622299"/>
          </a:xfrm>
          <a:prstGeom prst="rect">
            <a:avLst/>
          </a:prstGeom>
          <a:solidFill>
            <a:schemeClr val="bg1">
              <a:lumMod val="85000"/>
              <a:alpha val="5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r>
              <a:rPr lang="en-US" dirty="0" smtClean="0"/>
              <a:t>VM</a:t>
            </a:r>
            <a:endParaRPr lang="en-US" dirty="0"/>
          </a:p>
        </p:txBody>
      </p:sp>
      <p:sp>
        <p:nvSpPr>
          <p:cNvPr id="38" name="Rectangle 37"/>
          <p:cNvSpPr/>
          <p:nvPr/>
        </p:nvSpPr>
        <p:spPr>
          <a:xfrm>
            <a:off x="914400" y="3348224"/>
            <a:ext cx="1371600" cy="622299"/>
          </a:xfrm>
          <a:prstGeom prst="rect">
            <a:avLst/>
          </a:prstGeom>
          <a:solidFill>
            <a:schemeClr val="bg1">
              <a:lumMod val="85000"/>
              <a:alpha val="5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r>
              <a:rPr lang="en-US" dirty="0" smtClean="0"/>
              <a:t>VM</a:t>
            </a:r>
            <a:endParaRPr lang="en-US" dirty="0"/>
          </a:p>
        </p:txBody>
      </p:sp>
      <p:sp>
        <p:nvSpPr>
          <p:cNvPr id="39" name="Rectangle 38"/>
          <p:cNvSpPr/>
          <p:nvPr/>
        </p:nvSpPr>
        <p:spPr>
          <a:xfrm>
            <a:off x="6934200" y="4008179"/>
            <a:ext cx="1371600" cy="622299"/>
          </a:xfrm>
          <a:prstGeom prst="rect">
            <a:avLst/>
          </a:prstGeom>
          <a:solidFill>
            <a:schemeClr val="bg1">
              <a:lumMod val="85000"/>
              <a:alpha val="5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r>
              <a:rPr lang="en-US" dirty="0" smtClean="0"/>
              <a:t>VM</a:t>
            </a:r>
            <a:endParaRPr lang="en-US" dirty="0"/>
          </a:p>
        </p:txBody>
      </p:sp>
      <p:sp>
        <p:nvSpPr>
          <p:cNvPr id="40" name="Rectangle 39"/>
          <p:cNvSpPr/>
          <p:nvPr/>
        </p:nvSpPr>
        <p:spPr>
          <a:xfrm>
            <a:off x="2895600" y="3987802"/>
            <a:ext cx="1371600" cy="622299"/>
          </a:xfrm>
          <a:prstGeom prst="rect">
            <a:avLst/>
          </a:prstGeom>
          <a:solidFill>
            <a:schemeClr val="bg1">
              <a:lumMod val="85000"/>
              <a:alpha val="5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r>
              <a:rPr lang="en-US" dirty="0" smtClean="0"/>
              <a:t>VM</a:t>
            </a:r>
            <a:endParaRPr lang="en-US" dirty="0"/>
          </a:p>
        </p:txBody>
      </p:sp>
      <p:sp>
        <p:nvSpPr>
          <p:cNvPr id="41" name="Rectangle 40"/>
          <p:cNvSpPr/>
          <p:nvPr/>
        </p:nvSpPr>
        <p:spPr>
          <a:xfrm>
            <a:off x="914400" y="3982486"/>
            <a:ext cx="1371600" cy="622299"/>
          </a:xfrm>
          <a:prstGeom prst="rect">
            <a:avLst/>
          </a:prstGeom>
          <a:solidFill>
            <a:schemeClr val="bg1">
              <a:lumMod val="85000"/>
              <a:alpha val="5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r>
              <a:rPr lang="en-US" dirty="0" smtClean="0"/>
              <a:t>VM</a:t>
            </a:r>
            <a:endParaRPr lang="en-US" dirty="0"/>
          </a:p>
        </p:txBody>
      </p:sp>
      <p:sp>
        <p:nvSpPr>
          <p:cNvPr id="29" name="Rectangle 28"/>
          <p:cNvSpPr/>
          <p:nvPr/>
        </p:nvSpPr>
        <p:spPr>
          <a:xfrm>
            <a:off x="6934200" y="3378202"/>
            <a:ext cx="1371600" cy="622299"/>
          </a:xfrm>
          <a:prstGeom prst="rect">
            <a:avLst/>
          </a:prstGeom>
          <a:solidFill>
            <a:schemeClr val="bg1">
              <a:lumMod val="85000"/>
              <a:alpha val="5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r>
              <a:rPr lang="en-US" dirty="0" smtClean="0"/>
              <a:t>VM</a:t>
            </a:r>
            <a:endParaRPr lang="en-US" dirty="0"/>
          </a:p>
        </p:txBody>
      </p:sp>
      <p:sp>
        <p:nvSpPr>
          <p:cNvPr id="30"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1"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pic>
        <p:nvPicPr>
          <p:cNvPr id="32"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130209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4"/>
                                        </p:tgtEl>
                                        <p:attrNameLst>
                                          <p:attrName>style.visibility</p:attrName>
                                        </p:attrNameLst>
                                      </p:cBhvr>
                                      <p:to>
                                        <p:strVal val="visible"/>
                                      </p:to>
                                    </p:set>
                                    <p:animEffect transition="in" filter="fade">
                                      <p:cBhvr>
                                        <p:cTn id="10" dur="500"/>
                                        <p:tgtEl>
                                          <p:spTgt spid="3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5"/>
                                        </p:tgtEl>
                                        <p:attrNameLst>
                                          <p:attrName>style.visibility</p:attrName>
                                        </p:attrNameLst>
                                      </p:cBhvr>
                                      <p:to>
                                        <p:strVal val="visible"/>
                                      </p:to>
                                    </p:set>
                                    <p:animEffect transition="in" filter="fade">
                                      <p:cBhvr>
                                        <p:cTn id="13" dur="500"/>
                                        <p:tgtEl>
                                          <p:spTgt spid="3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38"/>
                                        </p:tgtEl>
                                        <p:attrNameLst>
                                          <p:attrName>style.visibility</p:attrName>
                                        </p:attrNameLst>
                                      </p:cBhvr>
                                      <p:to>
                                        <p:strVal val="visible"/>
                                      </p:to>
                                    </p:set>
                                    <p:animEffect transition="in" filter="fade">
                                      <p:cBhvr>
                                        <p:cTn id="21" dur="500"/>
                                        <p:tgtEl>
                                          <p:spTgt spid="3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41"/>
                                        </p:tgtEl>
                                        <p:attrNameLst>
                                          <p:attrName>style.visibility</p:attrName>
                                        </p:attrNameLst>
                                      </p:cBhvr>
                                      <p:to>
                                        <p:strVal val="visible"/>
                                      </p:to>
                                    </p:set>
                                    <p:animEffect transition="in" filter="fade">
                                      <p:cBhvr>
                                        <p:cTn id="24" dur="500"/>
                                        <p:tgtEl>
                                          <p:spTgt spid="41"/>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40"/>
                                        </p:tgtEl>
                                        <p:attrNameLst>
                                          <p:attrName>style.visibility</p:attrName>
                                        </p:attrNameLst>
                                      </p:cBhvr>
                                      <p:to>
                                        <p:strVal val="visible"/>
                                      </p:to>
                                    </p:set>
                                    <p:animEffect transition="in" filter="fade">
                                      <p:cBhvr>
                                        <p:cTn id="27" dur="500"/>
                                        <p:tgtEl>
                                          <p:spTgt spid="40"/>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7"/>
                                        </p:tgtEl>
                                        <p:attrNameLst>
                                          <p:attrName>style.visibility</p:attrName>
                                        </p:attrNameLst>
                                      </p:cBhvr>
                                      <p:to>
                                        <p:strVal val="visible"/>
                                      </p:to>
                                    </p:set>
                                    <p:animEffect transition="in" filter="fade">
                                      <p:cBhvr>
                                        <p:cTn id="30" dur="500"/>
                                        <p:tgtEl>
                                          <p:spTgt spid="37"/>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39"/>
                                        </p:tgtEl>
                                        <p:attrNameLst>
                                          <p:attrName>style.visibility</p:attrName>
                                        </p:attrNameLst>
                                      </p:cBhvr>
                                      <p:to>
                                        <p:strVal val="visible"/>
                                      </p:to>
                                    </p:set>
                                    <p:animEffect transition="in" filter="fade">
                                      <p:cBhvr>
                                        <p:cTn id="33" dur="500"/>
                                        <p:tgtEl>
                                          <p:spTgt spid="39"/>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29"/>
                                        </p:tgtEl>
                                        <p:attrNameLst>
                                          <p:attrName>style.visibility</p:attrName>
                                        </p:attrNameLst>
                                      </p:cBhvr>
                                      <p:to>
                                        <p:strVal val="visible"/>
                                      </p:to>
                                    </p:set>
                                    <p:animEffect transition="in" filter="fade">
                                      <p:cBhvr>
                                        <p:cTn id="36" dur="500"/>
                                        <p:tgtEl>
                                          <p:spTgt spid="29"/>
                                        </p:tgtEl>
                                      </p:cBhvr>
                                    </p:animEffect>
                                  </p:childTnLst>
                                </p:cTn>
                              </p:par>
                            </p:childTnLst>
                          </p:cTn>
                        </p:par>
                      </p:childTnLst>
                    </p:cTn>
                  </p:par>
                  <p:par>
                    <p:cTn id="37" fill="hold">
                      <p:stCondLst>
                        <p:cond delay="indefinite"/>
                      </p:stCondLst>
                      <p:childTnLst>
                        <p:par>
                          <p:cTn id="38" fill="hold">
                            <p:stCondLst>
                              <p:cond delay="0"/>
                            </p:stCondLst>
                            <p:childTnLst>
                              <p:par>
                                <p:cTn id="39" presetID="42" presetClass="path" presetSubtype="0" accel="50000" decel="50000" fill="hold" grpId="1" nodeType="clickEffect">
                                  <p:stCondLst>
                                    <p:cond delay="0"/>
                                  </p:stCondLst>
                                  <p:childTnLst>
                                    <p:animMotion origin="layout" path="M 2.08333E-7 -2.59259E-6 L 0.44375 -0.00023 " pathEditMode="relative" rAng="0" ptsTypes="AA">
                                      <p:cBhvr>
                                        <p:cTn id="40" dur="2000" fill="hold"/>
                                        <p:tgtEl>
                                          <p:spTgt spid="38"/>
                                        </p:tgtEl>
                                        <p:attrNameLst>
                                          <p:attrName>ppt_x</p:attrName>
                                          <p:attrName>ppt_y</p:attrName>
                                        </p:attrNameLst>
                                      </p:cBhvr>
                                      <p:rCtr x="22187" y="-23"/>
                                    </p:animMotion>
                                  </p:childTnLst>
                                </p:cTn>
                              </p:par>
                              <p:par>
                                <p:cTn id="41" presetID="42" presetClass="path" presetSubtype="0" accel="50000" decel="50000" fill="hold" grpId="1" nodeType="withEffect">
                                  <p:stCondLst>
                                    <p:cond delay="0"/>
                                  </p:stCondLst>
                                  <p:childTnLst>
                                    <p:animMotion origin="layout" path="M 2.08333E-7 -2.22222E-6 L 0.21888 -0.12361 " pathEditMode="relative" rAng="0" ptsTypes="AA">
                                      <p:cBhvr>
                                        <p:cTn id="42" dur="2000" fill="hold"/>
                                        <p:tgtEl>
                                          <p:spTgt spid="41"/>
                                        </p:tgtEl>
                                        <p:attrNameLst>
                                          <p:attrName>ppt_x</p:attrName>
                                          <p:attrName>ppt_y</p:attrName>
                                        </p:attrNameLst>
                                      </p:cBhvr>
                                      <p:rCtr x="10938" y="-6181"/>
                                    </p:animMotion>
                                  </p:childTnLst>
                                </p:cTn>
                              </p:par>
                            </p:childTnLst>
                          </p:cTn>
                        </p:par>
                      </p:childTnLst>
                    </p:cTn>
                  </p:par>
                  <p:par>
                    <p:cTn id="43" fill="hold">
                      <p:stCondLst>
                        <p:cond delay="indefinite"/>
                      </p:stCondLst>
                      <p:childTnLst>
                        <p:par>
                          <p:cTn id="44" fill="hold">
                            <p:stCondLst>
                              <p:cond delay="0"/>
                            </p:stCondLst>
                            <p:childTnLst>
                              <p:par>
                                <p:cTn id="45" presetID="9" presetClass="emph" presetSubtype="0" grpId="1" nodeType="clickEffect">
                                  <p:stCondLst>
                                    <p:cond delay="0"/>
                                  </p:stCondLst>
                                  <p:childTnLst>
                                    <p:set>
                                      <p:cBhvr rctx="PPT">
                                        <p:cTn id="46" dur="indefinite"/>
                                        <p:tgtEl>
                                          <p:spTgt spid="2"/>
                                        </p:tgtEl>
                                        <p:attrNameLst>
                                          <p:attrName>style.opacity</p:attrName>
                                        </p:attrNameLst>
                                      </p:cBhvr>
                                      <p:to>
                                        <p:strVal val="0.5"/>
                                      </p:to>
                                    </p:set>
                                    <p:animEffect filter="image" prLst="opacity: 0.5">
                                      <p:cBhvr rctx="IE">
                                        <p:cTn id="47" dur="indefinite"/>
                                        <p:tgtEl>
                                          <p:spTgt spid="2"/>
                                        </p:tgtEl>
                                      </p:cBhvr>
                                    </p:animEffect>
                                  </p:childTnLst>
                                </p:cTn>
                              </p:par>
                              <p:par>
                                <p:cTn id="48" presetID="9" presetClass="emph" presetSubtype="0" nodeType="withEffect">
                                  <p:stCondLst>
                                    <p:cond delay="0"/>
                                  </p:stCondLst>
                                  <p:childTnLst>
                                    <p:set>
                                      <p:cBhvr rctx="PPT">
                                        <p:cTn id="49" dur="indefinite"/>
                                        <p:tgtEl>
                                          <p:spTgt spid="23"/>
                                        </p:tgtEl>
                                        <p:attrNameLst>
                                          <p:attrName>style.opacity</p:attrName>
                                        </p:attrNameLst>
                                      </p:cBhvr>
                                      <p:to>
                                        <p:strVal val="0.5"/>
                                      </p:to>
                                    </p:set>
                                    <p:animEffect filter="image" prLst="opacity: 0.5">
                                      <p:cBhvr rctx="IE">
                                        <p:cTn id="50" dur="indefinite"/>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34" grpId="0" animBg="1"/>
      <p:bldP spid="35" grpId="0" animBg="1"/>
      <p:bldP spid="36" grpId="0" animBg="1"/>
      <p:bldP spid="37" grpId="0" animBg="1"/>
      <p:bldP spid="38" grpId="0" animBg="1"/>
      <p:bldP spid="38" grpId="1" animBg="1"/>
      <p:bldP spid="39" grpId="0" animBg="1"/>
      <p:bldP spid="40" grpId="0" animBg="1"/>
      <p:bldP spid="41" grpId="0" animBg="1"/>
      <p:bldP spid="41" grpId="1" animBg="1"/>
      <p:bldP spid="29" grpId="0" animBg="1"/>
    </p:bldLst>
  </p:timing>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19"/>
          <p:cNvSpPr>
            <a:spLocks noChangeArrowheads="1"/>
          </p:cNvSpPr>
          <p:nvPr/>
        </p:nvSpPr>
        <p:spPr bwMode="auto">
          <a:xfrm>
            <a:off x="2456900" y="1028700"/>
            <a:ext cx="2057936" cy="3429000"/>
          </a:xfrm>
          <a:prstGeom prst="rect">
            <a:avLst/>
          </a:prstGeom>
          <a:solidFill>
            <a:schemeClr val="bg1">
              <a:alpha val="10196"/>
            </a:schemeClr>
          </a:solidFill>
          <a:ln w="9525">
            <a:noFill/>
            <a:miter lim="800000"/>
            <a:headEnd/>
            <a:tailEnd/>
          </a:ln>
        </p:spPr>
        <p:txBody>
          <a:bodyPr wrap="none" lIns="68586" tIns="34294" rIns="68586" bIns="34294" anchor="ctr"/>
          <a:lstStyle/>
          <a:p>
            <a:endParaRPr lang="en-US" dirty="0"/>
          </a:p>
        </p:txBody>
      </p:sp>
      <p:sp>
        <p:nvSpPr>
          <p:cNvPr id="50179" name="Rectangle 22"/>
          <p:cNvSpPr>
            <a:spLocks noGrp="1"/>
          </p:cNvSpPr>
          <p:nvPr>
            <p:ph type="title"/>
          </p:nvPr>
        </p:nvSpPr>
        <p:spPr>
          <a:xfrm>
            <a:off x="389437" y="171451"/>
            <a:ext cx="8584261" cy="803297"/>
          </a:xfrm>
        </p:spPr>
        <p:txBody>
          <a:bodyPr/>
          <a:lstStyle/>
          <a:p>
            <a:r>
              <a:rPr lang="en-US" sz="2900" dirty="0"/>
              <a:t>TRANSFORM YOUR DATACENTER INTO A PRIVATE CLOUD</a:t>
            </a:r>
          </a:p>
        </p:txBody>
      </p:sp>
      <p:sp>
        <p:nvSpPr>
          <p:cNvPr id="50180" name="Rectangle 24"/>
          <p:cNvSpPr>
            <a:spLocks noChangeArrowheads="1"/>
          </p:cNvSpPr>
          <p:nvPr/>
        </p:nvSpPr>
        <p:spPr bwMode="auto">
          <a:xfrm>
            <a:off x="2456900" y="1085850"/>
            <a:ext cx="2057936" cy="285750"/>
          </a:xfrm>
          <a:prstGeom prst="rect">
            <a:avLst/>
          </a:prstGeom>
          <a:solidFill>
            <a:srgbClr val="002C56">
              <a:alpha val="85097"/>
            </a:srgbClr>
          </a:solidFill>
          <a:ln w="9525">
            <a:noFill/>
            <a:miter lim="800000"/>
            <a:headEnd/>
            <a:tailEnd/>
          </a:ln>
        </p:spPr>
        <p:txBody>
          <a:bodyPr wrap="none" lIns="68586" tIns="34294" rIns="68586" bIns="34294" anchor="ctr"/>
          <a:lstStyle/>
          <a:p>
            <a:pPr algn="ctr"/>
            <a:r>
              <a:rPr lang="en-US" dirty="0" smtClean="0">
                <a:solidFill>
                  <a:srgbClr val="3DB5F1"/>
                </a:solidFill>
              </a:rPr>
              <a:t>HETEROGENEITY</a:t>
            </a:r>
            <a:endParaRPr lang="en-US" dirty="0">
              <a:solidFill>
                <a:srgbClr val="3DB5F1"/>
              </a:solidFill>
            </a:endParaRPr>
          </a:p>
        </p:txBody>
      </p:sp>
      <p:sp>
        <p:nvSpPr>
          <p:cNvPr id="50181" name="Rectangle 76"/>
          <p:cNvSpPr>
            <a:spLocks noChangeArrowheads="1"/>
          </p:cNvSpPr>
          <p:nvPr/>
        </p:nvSpPr>
        <p:spPr bwMode="auto">
          <a:xfrm>
            <a:off x="2571229" y="1485901"/>
            <a:ext cx="1886441" cy="515541"/>
          </a:xfrm>
          <a:prstGeom prst="rect">
            <a:avLst/>
          </a:prstGeom>
          <a:noFill/>
          <a:ln w="9525">
            <a:noFill/>
            <a:miter lim="800000"/>
            <a:headEnd/>
            <a:tailEnd/>
          </a:ln>
        </p:spPr>
        <p:txBody>
          <a:bodyPr lIns="0" tIns="0" rIns="0" bIns="0"/>
          <a:lstStyle/>
          <a:p>
            <a:pPr marL="0" lvl="1" defTabSz="684673">
              <a:lnSpc>
                <a:spcPct val="115000"/>
              </a:lnSpc>
              <a:spcAft>
                <a:spcPts val="450"/>
              </a:spcAft>
              <a:buClr>
                <a:srgbClr val="003366"/>
              </a:buClr>
              <a:buSzPct val="100000"/>
              <a:tabLst>
                <a:tab pos="3426933" algn="r"/>
              </a:tabLst>
            </a:pPr>
            <a:r>
              <a:rPr lang="en-US" sz="1100" dirty="0">
                <a:solidFill>
                  <a:srgbClr val="FFFFFF"/>
                </a:solidFill>
              </a:rPr>
              <a:t>Create cloud abstractions across virtualized infrastructure from Microsoft, VMware, and Citrix.</a:t>
            </a:r>
          </a:p>
        </p:txBody>
      </p:sp>
      <p:sp>
        <p:nvSpPr>
          <p:cNvPr id="50182" name="Rectangle 19"/>
          <p:cNvSpPr>
            <a:spLocks noChangeArrowheads="1"/>
          </p:cNvSpPr>
          <p:nvPr/>
        </p:nvSpPr>
        <p:spPr bwMode="auto">
          <a:xfrm>
            <a:off x="227469" y="1028700"/>
            <a:ext cx="2057936" cy="3429000"/>
          </a:xfrm>
          <a:prstGeom prst="rect">
            <a:avLst/>
          </a:prstGeom>
          <a:solidFill>
            <a:schemeClr val="bg1">
              <a:alpha val="10196"/>
            </a:schemeClr>
          </a:solidFill>
          <a:ln w="9525">
            <a:noFill/>
            <a:miter lim="800000"/>
            <a:headEnd/>
            <a:tailEnd/>
          </a:ln>
        </p:spPr>
        <p:txBody>
          <a:bodyPr wrap="none" lIns="68586" tIns="34294" rIns="68586" bIns="34294" anchor="ctr"/>
          <a:lstStyle/>
          <a:p>
            <a:endParaRPr lang="en-US" dirty="0"/>
          </a:p>
        </p:txBody>
      </p:sp>
      <p:sp>
        <p:nvSpPr>
          <p:cNvPr id="50183" name="Rectangle 24"/>
          <p:cNvSpPr>
            <a:spLocks noChangeArrowheads="1"/>
          </p:cNvSpPr>
          <p:nvPr/>
        </p:nvSpPr>
        <p:spPr bwMode="auto">
          <a:xfrm>
            <a:off x="227469" y="1085850"/>
            <a:ext cx="2057936" cy="285750"/>
          </a:xfrm>
          <a:prstGeom prst="rect">
            <a:avLst/>
          </a:prstGeom>
          <a:solidFill>
            <a:srgbClr val="002C56">
              <a:alpha val="85097"/>
            </a:srgbClr>
          </a:solidFill>
          <a:ln w="9525">
            <a:noFill/>
            <a:miter lim="800000"/>
            <a:headEnd/>
            <a:tailEnd/>
          </a:ln>
        </p:spPr>
        <p:txBody>
          <a:bodyPr wrap="none" lIns="68586" tIns="34294" rIns="68586" bIns="34294" anchor="ctr"/>
          <a:lstStyle/>
          <a:p>
            <a:pPr algn="ctr"/>
            <a:r>
              <a:rPr lang="en-US" dirty="0" smtClean="0">
                <a:solidFill>
                  <a:srgbClr val="3DB5F1"/>
                </a:solidFill>
              </a:rPr>
              <a:t>ABSTRACTION</a:t>
            </a:r>
            <a:endParaRPr lang="en-US" dirty="0">
              <a:solidFill>
                <a:srgbClr val="3DB5F1"/>
              </a:solidFill>
            </a:endParaRPr>
          </a:p>
        </p:txBody>
      </p:sp>
      <p:sp>
        <p:nvSpPr>
          <p:cNvPr id="50184" name="Rectangle 76"/>
          <p:cNvSpPr>
            <a:spLocks noChangeArrowheads="1"/>
          </p:cNvSpPr>
          <p:nvPr/>
        </p:nvSpPr>
        <p:spPr bwMode="auto">
          <a:xfrm>
            <a:off x="341800" y="1485901"/>
            <a:ext cx="1886441" cy="754856"/>
          </a:xfrm>
          <a:prstGeom prst="rect">
            <a:avLst/>
          </a:prstGeom>
          <a:noFill/>
          <a:ln w="9525">
            <a:noFill/>
            <a:miter lim="800000"/>
            <a:headEnd/>
            <a:tailEnd/>
          </a:ln>
        </p:spPr>
        <p:txBody>
          <a:bodyPr lIns="0" tIns="0" rIns="0" bIns="0"/>
          <a:lstStyle/>
          <a:p>
            <a:pPr marL="0" lvl="1" defTabSz="684673">
              <a:lnSpc>
                <a:spcPct val="115000"/>
              </a:lnSpc>
              <a:spcAft>
                <a:spcPts val="450"/>
              </a:spcAft>
              <a:buClr>
                <a:srgbClr val="003366"/>
              </a:buClr>
              <a:buSzPct val="100000"/>
              <a:tabLst>
                <a:tab pos="3426933" algn="r"/>
              </a:tabLst>
            </a:pPr>
            <a:r>
              <a:rPr lang="en-US" sz="1100" dirty="0">
                <a:solidFill>
                  <a:srgbClr val="FFFFFF"/>
                </a:solidFill>
              </a:rPr>
              <a:t>Take the underlying infrastructure of networking, storage, and compute, and abstract those resources into clouds.</a:t>
            </a:r>
          </a:p>
        </p:txBody>
      </p:sp>
      <p:sp>
        <p:nvSpPr>
          <p:cNvPr id="50185" name="Rectangle 19"/>
          <p:cNvSpPr>
            <a:spLocks noChangeArrowheads="1"/>
          </p:cNvSpPr>
          <p:nvPr/>
        </p:nvSpPr>
        <p:spPr bwMode="auto">
          <a:xfrm>
            <a:off x="4686330" y="1028700"/>
            <a:ext cx="2057936" cy="3429000"/>
          </a:xfrm>
          <a:prstGeom prst="rect">
            <a:avLst/>
          </a:prstGeom>
          <a:solidFill>
            <a:schemeClr val="bg1">
              <a:alpha val="10196"/>
            </a:schemeClr>
          </a:solidFill>
          <a:ln w="9525">
            <a:noFill/>
            <a:miter lim="800000"/>
            <a:headEnd/>
            <a:tailEnd/>
          </a:ln>
        </p:spPr>
        <p:txBody>
          <a:bodyPr wrap="none" lIns="68586" tIns="34294" rIns="68586" bIns="34294" anchor="ctr"/>
          <a:lstStyle/>
          <a:p>
            <a:endParaRPr lang="en-US" dirty="0"/>
          </a:p>
        </p:txBody>
      </p:sp>
      <p:sp>
        <p:nvSpPr>
          <p:cNvPr id="50186" name="Rectangle 24"/>
          <p:cNvSpPr>
            <a:spLocks noChangeArrowheads="1"/>
          </p:cNvSpPr>
          <p:nvPr/>
        </p:nvSpPr>
        <p:spPr bwMode="auto">
          <a:xfrm>
            <a:off x="4686330" y="1085850"/>
            <a:ext cx="2057936" cy="285750"/>
          </a:xfrm>
          <a:prstGeom prst="rect">
            <a:avLst/>
          </a:prstGeom>
          <a:solidFill>
            <a:srgbClr val="002C56">
              <a:alpha val="85097"/>
            </a:srgbClr>
          </a:solidFill>
          <a:ln w="9525">
            <a:noFill/>
            <a:miter lim="800000"/>
            <a:headEnd/>
            <a:tailEnd/>
          </a:ln>
        </p:spPr>
        <p:txBody>
          <a:bodyPr wrap="none" lIns="68586" tIns="34294" rIns="68586" bIns="34294" anchor="ctr"/>
          <a:lstStyle/>
          <a:p>
            <a:pPr algn="ctr"/>
            <a:r>
              <a:rPr lang="en-US" dirty="0">
                <a:solidFill>
                  <a:srgbClr val="3DB5F1"/>
                </a:solidFill>
              </a:rPr>
              <a:t>ACCESS</a:t>
            </a:r>
          </a:p>
        </p:txBody>
      </p:sp>
      <p:sp>
        <p:nvSpPr>
          <p:cNvPr id="50187" name="Rectangle 76"/>
          <p:cNvSpPr>
            <a:spLocks noChangeArrowheads="1"/>
          </p:cNvSpPr>
          <p:nvPr/>
        </p:nvSpPr>
        <p:spPr bwMode="auto">
          <a:xfrm>
            <a:off x="4800661" y="1485901"/>
            <a:ext cx="1886441" cy="515541"/>
          </a:xfrm>
          <a:prstGeom prst="rect">
            <a:avLst/>
          </a:prstGeom>
          <a:noFill/>
          <a:ln w="9525">
            <a:noFill/>
            <a:miter lim="800000"/>
            <a:headEnd/>
            <a:tailEnd/>
          </a:ln>
        </p:spPr>
        <p:txBody>
          <a:bodyPr lIns="0" tIns="0" rIns="0" bIns="0"/>
          <a:lstStyle/>
          <a:p>
            <a:pPr marL="0" lvl="1" defTabSz="684673">
              <a:lnSpc>
                <a:spcPct val="115000"/>
              </a:lnSpc>
              <a:spcAft>
                <a:spcPts val="450"/>
              </a:spcAft>
              <a:buClr>
                <a:srgbClr val="003366"/>
              </a:buClr>
              <a:buSzPct val="100000"/>
              <a:tabLst>
                <a:tab pos="3426933" algn="r"/>
              </a:tabLst>
            </a:pPr>
            <a:r>
              <a:rPr lang="en-US" sz="1100" dirty="0">
                <a:solidFill>
                  <a:srgbClr val="FFFFFF"/>
                </a:solidFill>
              </a:rPr>
              <a:t>Manage resource utilization and service creation by delegating self-service access to cloud resources.</a:t>
            </a:r>
          </a:p>
        </p:txBody>
      </p:sp>
      <p:sp>
        <p:nvSpPr>
          <p:cNvPr id="50188" name="Rectangle 19"/>
          <p:cNvSpPr>
            <a:spLocks noChangeArrowheads="1"/>
          </p:cNvSpPr>
          <p:nvPr/>
        </p:nvSpPr>
        <p:spPr bwMode="auto">
          <a:xfrm>
            <a:off x="6915761" y="1028700"/>
            <a:ext cx="2057936" cy="3429000"/>
          </a:xfrm>
          <a:prstGeom prst="rect">
            <a:avLst/>
          </a:prstGeom>
          <a:solidFill>
            <a:schemeClr val="bg1">
              <a:alpha val="10196"/>
            </a:schemeClr>
          </a:solidFill>
          <a:ln w="9525">
            <a:noFill/>
            <a:miter lim="800000"/>
            <a:headEnd/>
            <a:tailEnd/>
          </a:ln>
        </p:spPr>
        <p:txBody>
          <a:bodyPr wrap="none" lIns="68586" tIns="34294" rIns="68586" bIns="34294" anchor="ctr"/>
          <a:lstStyle/>
          <a:p>
            <a:endParaRPr lang="en-US" dirty="0"/>
          </a:p>
        </p:txBody>
      </p:sp>
      <p:sp>
        <p:nvSpPr>
          <p:cNvPr id="50189" name="Rectangle 24"/>
          <p:cNvSpPr>
            <a:spLocks noChangeArrowheads="1"/>
          </p:cNvSpPr>
          <p:nvPr/>
        </p:nvSpPr>
        <p:spPr bwMode="auto">
          <a:xfrm>
            <a:off x="6915761" y="1085850"/>
            <a:ext cx="2057936" cy="285750"/>
          </a:xfrm>
          <a:prstGeom prst="rect">
            <a:avLst/>
          </a:prstGeom>
          <a:solidFill>
            <a:srgbClr val="002C56">
              <a:alpha val="85097"/>
            </a:srgbClr>
          </a:solidFill>
          <a:ln w="9525">
            <a:noFill/>
            <a:miter lim="800000"/>
            <a:headEnd/>
            <a:tailEnd/>
          </a:ln>
        </p:spPr>
        <p:txBody>
          <a:bodyPr wrap="none" lIns="68586" tIns="34294" rIns="68586" bIns="34294" anchor="ctr"/>
          <a:lstStyle/>
          <a:p>
            <a:pPr algn="ctr"/>
            <a:r>
              <a:rPr lang="en-US" dirty="0">
                <a:solidFill>
                  <a:srgbClr val="3DB5F1"/>
                </a:solidFill>
              </a:rPr>
              <a:t>CONTROL</a:t>
            </a:r>
          </a:p>
        </p:txBody>
      </p:sp>
      <p:sp>
        <p:nvSpPr>
          <p:cNvPr id="50190" name="Rectangle 76"/>
          <p:cNvSpPr>
            <a:spLocks noChangeArrowheads="1"/>
          </p:cNvSpPr>
          <p:nvPr/>
        </p:nvSpPr>
        <p:spPr bwMode="auto">
          <a:xfrm>
            <a:off x="7030091" y="1485901"/>
            <a:ext cx="1829276" cy="515541"/>
          </a:xfrm>
          <a:prstGeom prst="rect">
            <a:avLst/>
          </a:prstGeom>
          <a:noFill/>
          <a:ln w="9525">
            <a:noFill/>
            <a:miter lim="800000"/>
            <a:headEnd/>
            <a:tailEnd/>
          </a:ln>
        </p:spPr>
        <p:txBody>
          <a:bodyPr lIns="0" tIns="0" rIns="0" bIns="0"/>
          <a:lstStyle/>
          <a:p>
            <a:pPr marL="0" lvl="1" defTabSz="684673">
              <a:lnSpc>
                <a:spcPct val="115000"/>
              </a:lnSpc>
              <a:spcAft>
                <a:spcPts val="450"/>
              </a:spcAft>
              <a:buClr>
                <a:srgbClr val="003366"/>
              </a:buClr>
              <a:buSzPct val="100000"/>
              <a:tabLst>
                <a:tab pos="3426933" algn="r"/>
              </a:tabLst>
            </a:pPr>
            <a:r>
              <a:rPr lang="en-US" sz="1100" dirty="0">
                <a:solidFill>
                  <a:srgbClr val="FFFFFF"/>
                </a:solidFill>
              </a:rPr>
              <a:t>Standardize application deployment by using templates.</a:t>
            </a:r>
          </a:p>
        </p:txBody>
      </p:sp>
      <p:grpSp>
        <p:nvGrpSpPr>
          <p:cNvPr id="3" name="Group 2"/>
          <p:cNvGrpSpPr/>
          <p:nvPr/>
        </p:nvGrpSpPr>
        <p:grpSpPr>
          <a:xfrm>
            <a:off x="571054" y="2634854"/>
            <a:ext cx="1370766" cy="1579960"/>
            <a:chOff x="3589338" y="3629025"/>
            <a:chExt cx="1827212" cy="2106613"/>
          </a:xfrm>
        </p:grpSpPr>
        <p:pic>
          <p:nvPicPr>
            <p:cNvPr id="50192" name="Picture 34"/>
            <p:cNvPicPr>
              <a:picLocks noChangeAspect="1"/>
            </p:cNvPicPr>
            <p:nvPr/>
          </p:nvPicPr>
          <p:blipFill>
            <a:blip r:embed="rId3" cstate="print"/>
            <a:srcRect/>
            <a:stretch>
              <a:fillRect/>
            </a:stretch>
          </p:blipFill>
          <p:spPr bwMode="auto">
            <a:xfrm>
              <a:off x="3589338" y="5060950"/>
              <a:ext cx="565150" cy="587375"/>
            </a:xfrm>
            <a:prstGeom prst="rect">
              <a:avLst/>
            </a:prstGeom>
            <a:noFill/>
            <a:ln w="9525">
              <a:noFill/>
              <a:miter lim="800000"/>
              <a:headEnd/>
              <a:tailEnd/>
            </a:ln>
          </p:spPr>
        </p:pic>
        <p:pic>
          <p:nvPicPr>
            <p:cNvPr id="50193" name="Picture 35"/>
            <p:cNvPicPr>
              <a:picLocks noChangeAspect="1"/>
            </p:cNvPicPr>
            <p:nvPr/>
          </p:nvPicPr>
          <p:blipFill>
            <a:blip r:embed="rId3" cstate="print"/>
            <a:srcRect/>
            <a:stretch>
              <a:fillRect/>
            </a:stretch>
          </p:blipFill>
          <p:spPr bwMode="auto">
            <a:xfrm>
              <a:off x="3871913" y="4989513"/>
              <a:ext cx="566737" cy="587375"/>
            </a:xfrm>
            <a:prstGeom prst="rect">
              <a:avLst/>
            </a:prstGeom>
            <a:noFill/>
            <a:ln w="9525">
              <a:noFill/>
              <a:miter lim="800000"/>
              <a:headEnd/>
              <a:tailEnd/>
            </a:ln>
          </p:spPr>
        </p:pic>
        <p:pic>
          <p:nvPicPr>
            <p:cNvPr id="50194" name="Picture 36"/>
            <p:cNvPicPr>
              <a:picLocks noChangeAspect="1"/>
            </p:cNvPicPr>
            <p:nvPr/>
          </p:nvPicPr>
          <p:blipFill>
            <a:blip r:embed="rId4" cstate="print"/>
            <a:srcRect/>
            <a:stretch>
              <a:fillRect/>
            </a:stretch>
          </p:blipFill>
          <p:spPr bwMode="auto">
            <a:xfrm>
              <a:off x="4646613" y="4875213"/>
              <a:ext cx="769937" cy="860425"/>
            </a:xfrm>
            <a:prstGeom prst="rect">
              <a:avLst/>
            </a:prstGeom>
            <a:noFill/>
            <a:ln w="9525">
              <a:noFill/>
              <a:miter lim="800000"/>
              <a:headEnd/>
              <a:tailEnd/>
            </a:ln>
          </p:spPr>
        </p:pic>
        <p:pic>
          <p:nvPicPr>
            <p:cNvPr id="50195" name="Picture 37"/>
            <p:cNvPicPr>
              <a:picLocks noChangeAspect="1"/>
            </p:cNvPicPr>
            <p:nvPr/>
          </p:nvPicPr>
          <p:blipFill>
            <a:blip r:embed="rId5" cstate="print"/>
            <a:srcRect/>
            <a:stretch>
              <a:fillRect/>
            </a:stretch>
          </p:blipFill>
          <p:spPr bwMode="auto">
            <a:xfrm>
              <a:off x="3871913" y="3629025"/>
              <a:ext cx="1327150" cy="800100"/>
            </a:xfrm>
            <a:prstGeom prst="rect">
              <a:avLst/>
            </a:prstGeom>
            <a:noFill/>
            <a:ln w="9525">
              <a:noFill/>
              <a:miter lim="800000"/>
              <a:headEnd/>
              <a:tailEnd/>
            </a:ln>
          </p:spPr>
        </p:pic>
      </p:grpSp>
      <p:grpSp>
        <p:nvGrpSpPr>
          <p:cNvPr id="4" name="Group 3"/>
          <p:cNvGrpSpPr/>
          <p:nvPr/>
        </p:nvGrpSpPr>
        <p:grpSpPr>
          <a:xfrm>
            <a:off x="5080530" y="2708077"/>
            <a:ext cx="1288592" cy="1433513"/>
            <a:chOff x="6772275" y="3589338"/>
            <a:chExt cx="1717675" cy="1911350"/>
          </a:xfrm>
        </p:grpSpPr>
        <p:pic>
          <p:nvPicPr>
            <p:cNvPr id="50199" name="Picture 45"/>
            <p:cNvPicPr>
              <a:picLocks noChangeAspect="1"/>
            </p:cNvPicPr>
            <p:nvPr/>
          </p:nvPicPr>
          <p:blipFill>
            <a:blip r:embed="rId6" cstate="print"/>
            <a:srcRect/>
            <a:stretch>
              <a:fillRect/>
            </a:stretch>
          </p:blipFill>
          <p:spPr bwMode="auto">
            <a:xfrm>
              <a:off x="6772275" y="4872038"/>
              <a:ext cx="457200" cy="609600"/>
            </a:xfrm>
            <a:prstGeom prst="rect">
              <a:avLst/>
            </a:prstGeom>
            <a:noFill/>
            <a:ln w="9525">
              <a:noFill/>
              <a:miter lim="800000"/>
              <a:headEnd/>
              <a:tailEnd/>
            </a:ln>
          </p:spPr>
        </p:pic>
        <p:pic>
          <p:nvPicPr>
            <p:cNvPr id="50200" name="Picture 46"/>
            <p:cNvPicPr>
              <a:picLocks noChangeAspect="1"/>
            </p:cNvPicPr>
            <p:nvPr/>
          </p:nvPicPr>
          <p:blipFill>
            <a:blip r:embed="rId5" cstate="print"/>
            <a:srcRect/>
            <a:stretch>
              <a:fillRect/>
            </a:stretch>
          </p:blipFill>
          <p:spPr bwMode="auto">
            <a:xfrm>
              <a:off x="6931025" y="3589338"/>
              <a:ext cx="1327150" cy="800100"/>
            </a:xfrm>
            <a:prstGeom prst="rect">
              <a:avLst/>
            </a:prstGeom>
            <a:noFill/>
            <a:ln w="9525">
              <a:noFill/>
              <a:miter lim="800000"/>
              <a:headEnd/>
              <a:tailEnd/>
            </a:ln>
          </p:spPr>
        </p:pic>
        <p:pic>
          <p:nvPicPr>
            <p:cNvPr id="50201" name="Picture 48"/>
            <p:cNvPicPr>
              <a:picLocks noChangeAspect="1"/>
            </p:cNvPicPr>
            <p:nvPr/>
          </p:nvPicPr>
          <p:blipFill>
            <a:blip r:embed="rId6" cstate="print"/>
            <a:srcRect/>
            <a:stretch>
              <a:fillRect/>
            </a:stretch>
          </p:blipFill>
          <p:spPr bwMode="auto">
            <a:xfrm>
              <a:off x="8032750" y="4891088"/>
              <a:ext cx="457200" cy="609600"/>
            </a:xfrm>
            <a:prstGeom prst="rect">
              <a:avLst/>
            </a:prstGeom>
            <a:noFill/>
            <a:ln w="9525">
              <a:noFill/>
              <a:miter lim="800000"/>
              <a:headEnd/>
              <a:tailEnd/>
            </a:ln>
          </p:spPr>
        </p:pic>
        <p:pic>
          <p:nvPicPr>
            <p:cNvPr id="50202" name="Picture 50"/>
            <p:cNvPicPr>
              <a:picLocks noChangeAspect="1"/>
            </p:cNvPicPr>
            <p:nvPr/>
          </p:nvPicPr>
          <p:blipFill>
            <a:blip r:embed="rId6" cstate="print"/>
            <a:srcRect/>
            <a:stretch>
              <a:fillRect/>
            </a:stretch>
          </p:blipFill>
          <p:spPr bwMode="auto">
            <a:xfrm>
              <a:off x="7366000" y="4875213"/>
              <a:ext cx="457200" cy="609600"/>
            </a:xfrm>
            <a:prstGeom prst="rect">
              <a:avLst/>
            </a:prstGeom>
            <a:noFill/>
            <a:ln w="9525">
              <a:noFill/>
              <a:miter lim="800000"/>
              <a:headEnd/>
              <a:tailEnd/>
            </a:ln>
          </p:spPr>
        </p:pic>
        <p:cxnSp>
          <p:nvCxnSpPr>
            <p:cNvPr id="44" name="Straight Connector 43"/>
            <p:cNvCxnSpPr/>
            <p:nvPr/>
          </p:nvCxnSpPr>
          <p:spPr>
            <a:xfrm flipV="1">
              <a:off x="7021513" y="4183063"/>
              <a:ext cx="207962" cy="649287"/>
            </a:xfrm>
            <a:prstGeom prst="line">
              <a:avLst/>
            </a:prstGeom>
            <a:ln cap="rnd">
              <a:solidFill>
                <a:schemeClr val="bg1"/>
              </a:solidFill>
              <a:prstDash val="dash"/>
            </a:ln>
            <a:effectLst/>
          </p:spPr>
          <p:style>
            <a:lnRef idx="2">
              <a:schemeClr val="accent1"/>
            </a:lnRef>
            <a:fillRef idx="0">
              <a:schemeClr val="accent1"/>
            </a:fillRef>
            <a:effectRef idx="1">
              <a:schemeClr val="accent1"/>
            </a:effectRef>
            <a:fontRef idx="minor">
              <a:schemeClr val="tx1"/>
            </a:fontRef>
          </p:style>
        </p:cxnSp>
        <p:cxnSp>
          <p:nvCxnSpPr>
            <p:cNvPr id="52" name="Straight Connector 51"/>
            <p:cNvCxnSpPr/>
            <p:nvPr/>
          </p:nvCxnSpPr>
          <p:spPr>
            <a:xfrm flipH="1" flipV="1">
              <a:off x="7940675" y="4241800"/>
              <a:ext cx="320675" cy="649288"/>
            </a:xfrm>
            <a:prstGeom prst="line">
              <a:avLst/>
            </a:prstGeom>
            <a:ln cap="rnd">
              <a:solidFill>
                <a:schemeClr val="bg1"/>
              </a:solidFill>
              <a:prstDash val="dash"/>
            </a:ln>
            <a:effectLst/>
          </p:spPr>
          <p:style>
            <a:lnRef idx="2">
              <a:schemeClr val="accent1"/>
            </a:lnRef>
            <a:fillRef idx="0">
              <a:schemeClr val="accent1"/>
            </a:fillRef>
            <a:effectRef idx="1">
              <a:schemeClr val="accent1"/>
            </a:effectRef>
            <a:fontRef idx="minor">
              <a:schemeClr val="tx1"/>
            </a:fontRef>
          </p:style>
        </p:cxnSp>
        <p:pic>
          <p:nvPicPr>
            <p:cNvPr id="50205" name="Picture 2"/>
            <p:cNvPicPr>
              <a:picLocks noChangeAspect="1" noChangeArrowheads="1"/>
            </p:cNvPicPr>
            <p:nvPr/>
          </p:nvPicPr>
          <p:blipFill>
            <a:blip r:embed="rId7" cstate="print"/>
            <a:srcRect/>
            <a:stretch>
              <a:fillRect/>
            </a:stretch>
          </p:blipFill>
          <p:spPr bwMode="auto">
            <a:xfrm>
              <a:off x="7389813" y="4389438"/>
              <a:ext cx="454025" cy="501650"/>
            </a:xfrm>
            <a:prstGeom prst="rect">
              <a:avLst/>
            </a:prstGeom>
            <a:noFill/>
            <a:ln w="9525">
              <a:noFill/>
              <a:miter lim="800000"/>
              <a:headEnd/>
              <a:tailEnd/>
            </a:ln>
          </p:spPr>
        </p:pic>
      </p:grpSp>
      <p:grpSp>
        <p:nvGrpSpPr>
          <p:cNvPr id="5" name="Group 4"/>
          <p:cNvGrpSpPr/>
          <p:nvPr/>
        </p:nvGrpSpPr>
        <p:grpSpPr>
          <a:xfrm>
            <a:off x="7289716" y="2712838"/>
            <a:ext cx="1302883" cy="1423988"/>
            <a:chOff x="9717088" y="3597275"/>
            <a:chExt cx="1736725" cy="1898650"/>
          </a:xfrm>
        </p:grpSpPr>
        <p:pic>
          <p:nvPicPr>
            <p:cNvPr id="50196" name="Picture 39"/>
            <p:cNvPicPr>
              <a:picLocks noChangeAspect="1"/>
            </p:cNvPicPr>
            <p:nvPr/>
          </p:nvPicPr>
          <p:blipFill>
            <a:blip r:embed="rId6" cstate="print"/>
            <a:srcRect/>
            <a:stretch>
              <a:fillRect/>
            </a:stretch>
          </p:blipFill>
          <p:spPr bwMode="auto">
            <a:xfrm>
              <a:off x="9717088" y="4872038"/>
              <a:ext cx="457200" cy="609600"/>
            </a:xfrm>
            <a:prstGeom prst="rect">
              <a:avLst/>
            </a:prstGeom>
            <a:noFill/>
            <a:ln w="9525">
              <a:noFill/>
              <a:miter lim="800000"/>
              <a:headEnd/>
              <a:tailEnd/>
            </a:ln>
          </p:spPr>
        </p:pic>
        <p:pic>
          <p:nvPicPr>
            <p:cNvPr id="50197" name="Picture 40"/>
            <p:cNvPicPr>
              <a:picLocks noChangeAspect="1"/>
            </p:cNvPicPr>
            <p:nvPr/>
          </p:nvPicPr>
          <p:blipFill>
            <a:blip r:embed="rId5" cstate="print"/>
            <a:srcRect/>
            <a:stretch>
              <a:fillRect/>
            </a:stretch>
          </p:blipFill>
          <p:spPr bwMode="auto">
            <a:xfrm>
              <a:off x="9898063" y="3597275"/>
              <a:ext cx="1327150" cy="800100"/>
            </a:xfrm>
            <a:prstGeom prst="rect">
              <a:avLst/>
            </a:prstGeom>
            <a:noFill/>
            <a:ln w="9525">
              <a:noFill/>
              <a:miter lim="800000"/>
              <a:headEnd/>
              <a:tailEnd/>
            </a:ln>
          </p:spPr>
        </p:pic>
        <p:pic>
          <p:nvPicPr>
            <p:cNvPr id="50198" name="Picture 42"/>
            <p:cNvPicPr>
              <a:picLocks noChangeAspect="1"/>
            </p:cNvPicPr>
            <p:nvPr/>
          </p:nvPicPr>
          <p:blipFill>
            <a:blip r:embed="rId6" cstate="print"/>
            <a:srcRect/>
            <a:stretch>
              <a:fillRect/>
            </a:stretch>
          </p:blipFill>
          <p:spPr bwMode="auto">
            <a:xfrm>
              <a:off x="10996613" y="4872038"/>
              <a:ext cx="457200" cy="609600"/>
            </a:xfrm>
            <a:prstGeom prst="rect">
              <a:avLst/>
            </a:prstGeom>
            <a:noFill/>
            <a:ln w="9525">
              <a:noFill/>
              <a:miter lim="800000"/>
              <a:headEnd/>
              <a:tailEnd/>
            </a:ln>
          </p:spPr>
        </p:pic>
        <p:pic>
          <p:nvPicPr>
            <p:cNvPr id="50206" name="Picture 3"/>
            <p:cNvPicPr>
              <a:picLocks noChangeAspect="1" noChangeArrowheads="1"/>
            </p:cNvPicPr>
            <p:nvPr/>
          </p:nvPicPr>
          <p:blipFill>
            <a:blip r:embed="rId8" cstate="print"/>
            <a:srcRect/>
            <a:stretch>
              <a:fillRect/>
            </a:stretch>
          </p:blipFill>
          <p:spPr bwMode="auto">
            <a:xfrm>
              <a:off x="10255250" y="4724400"/>
              <a:ext cx="674688" cy="771525"/>
            </a:xfrm>
            <a:prstGeom prst="rect">
              <a:avLst/>
            </a:prstGeom>
            <a:noFill/>
            <a:ln w="9525">
              <a:noFill/>
              <a:miter lim="800000"/>
              <a:headEnd/>
              <a:tailEnd/>
            </a:ln>
          </p:spPr>
        </p:pic>
      </p:grpSp>
      <p:grpSp>
        <p:nvGrpSpPr>
          <p:cNvPr id="2" name="Group 1"/>
          <p:cNvGrpSpPr/>
          <p:nvPr/>
        </p:nvGrpSpPr>
        <p:grpSpPr>
          <a:xfrm>
            <a:off x="2823305" y="2770847"/>
            <a:ext cx="1325126" cy="1307974"/>
            <a:chOff x="761164" y="3654424"/>
            <a:chExt cx="1766374" cy="1743965"/>
          </a:xfrm>
        </p:grpSpPr>
        <p:grpSp>
          <p:nvGrpSpPr>
            <p:cNvPr id="50191" name="Group 1"/>
            <p:cNvGrpSpPr>
              <a:grpSpLocks/>
            </p:cNvGrpSpPr>
            <p:nvPr/>
          </p:nvGrpSpPr>
          <p:grpSpPr bwMode="auto">
            <a:xfrm>
              <a:off x="1049338" y="3654424"/>
              <a:ext cx="1325562" cy="1236663"/>
              <a:chOff x="1084215" y="3569025"/>
              <a:chExt cx="1326350" cy="1236433"/>
            </a:xfrm>
          </p:grpSpPr>
          <p:cxnSp>
            <p:nvCxnSpPr>
              <p:cNvPr id="24" name="Straight Connector 23"/>
              <p:cNvCxnSpPr/>
              <p:nvPr/>
            </p:nvCxnSpPr>
            <p:spPr>
              <a:xfrm flipV="1">
                <a:off x="1084215" y="4189623"/>
                <a:ext cx="277977" cy="591985"/>
              </a:xfrm>
              <a:prstGeom prst="line">
                <a:avLst/>
              </a:prstGeom>
              <a:ln cap="rnd">
                <a:solidFill>
                  <a:schemeClr val="bg1"/>
                </a:solidFill>
                <a:prstDash val="dash"/>
              </a:ln>
              <a:effectLs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p:nvCxnSpPr>
            <p:spPr>
              <a:xfrm flipV="1">
                <a:off x="1710062" y="4156291"/>
                <a:ext cx="0" cy="649167"/>
              </a:xfrm>
              <a:prstGeom prst="line">
                <a:avLst/>
              </a:prstGeom>
              <a:ln cap="rnd">
                <a:solidFill>
                  <a:schemeClr val="bg1"/>
                </a:solidFill>
                <a:prstDash val="dash"/>
              </a:ln>
              <a:effectLs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p:nvCxnSpPr>
            <p:spPr>
              <a:xfrm flipH="1" flipV="1">
                <a:off x="1988039" y="4156291"/>
                <a:ext cx="319278" cy="649167"/>
              </a:xfrm>
              <a:prstGeom prst="line">
                <a:avLst/>
              </a:prstGeom>
              <a:ln cap="rnd">
                <a:solidFill>
                  <a:schemeClr val="bg1"/>
                </a:solidFill>
                <a:prstDash val="dash"/>
              </a:ln>
              <a:effectLst/>
            </p:spPr>
            <p:style>
              <a:lnRef idx="2">
                <a:schemeClr val="accent1"/>
              </a:lnRef>
              <a:fillRef idx="0">
                <a:schemeClr val="accent1"/>
              </a:fillRef>
              <a:effectRef idx="1">
                <a:schemeClr val="accent1"/>
              </a:effectRef>
              <a:fontRef idx="minor">
                <a:schemeClr val="tx1"/>
              </a:fontRef>
            </p:style>
          </p:cxnSp>
          <p:pic>
            <p:nvPicPr>
              <p:cNvPr id="50213" name="Picture 27"/>
              <p:cNvPicPr>
                <a:picLocks noChangeAspect="1"/>
              </p:cNvPicPr>
              <p:nvPr/>
            </p:nvPicPr>
            <p:blipFill>
              <a:blip r:embed="rId5" cstate="print"/>
              <a:srcRect/>
              <a:stretch>
                <a:fillRect/>
              </a:stretch>
            </p:blipFill>
            <p:spPr bwMode="auto">
              <a:xfrm>
                <a:off x="1084215" y="3569025"/>
                <a:ext cx="1326350" cy="800936"/>
              </a:xfrm>
              <a:prstGeom prst="rect">
                <a:avLst/>
              </a:prstGeom>
              <a:noFill/>
              <a:ln w="9525">
                <a:noFill/>
                <a:miter lim="800000"/>
                <a:headEnd/>
                <a:tailEnd/>
              </a:ln>
            </p:spPr>
          </p:pic>
        </p:grpSp>
        <p:pic>
          <p:nvPicPr>
            <p:cNvPr id="54" name="Picture 53"/>
            <p:cNvPicPr>
              <a:picLocks noChangeAspect="1"/>
            </p:cNvPicPr>
            <p:nvPr/>
          </p:nvPicPr>
          <p:blipFill>
            <a:blip r:embed="rId9" cstate="print">
              <a:duotone>
                <a:prstClr val="black"/>
                <a:srgbClr val="D9C3A5">
                  <a:tint val="50000"/>
                  <a:satMod val="180000"/>
                </a:srgbClr>
              </a:duotone>
              <a:extLst/>
            </a:blip>
            <a:stretch>
              <a:fillRect/>
            </a:stretch>
          </p:blipFill>
          <p:spPr>
            <a:xfrm>
              <a:off x="2015889" y="4871877"/>
              <a:ext cx="511649" cy="525975"/>
            </a:xfrm>
            <a:prstGeom prst="rect">
              <a:avLst/>
            </a:prstGeom>
          </p:spPr>
        </p:pic>
        <p:pic>
          <p:nvPicPr>
            <p:cNvPr id="55" name="Picture 54"/>
            <p:cNvPicPr>
              <a:picLocks noChangeAspect="1"/>
            </p:cNvPicPr>
            <p:nvPr/>
          </p:nvPicPr>
          <p:blipFill>
            <a:blip r:embed="rId9" cstate="print">
              <a:duotone>
                <a:prstClr val="black"/>
                <a:schemeClr val="accent1">
                  <a:tint val="45000"/>
                  <a:satMod val="400000"/>
                </a:schemeClr>
              </a:duotone>
              <a:extLst/>
            </a:blip>
            <a:stretch>
              <a:fillRect/>
            </a:stretch>
          </p:blipFill>
          <p:spPr>
            <a:xfrm>
              <a:off x="1381446" y="4871877"/>
              <a:ext cx="511649" cy="525975"/>
            </a:xfrm>
            <a:prstGeom prst="rect">
              <a:avLst/>
            </a:prstGeom>
          </p:spPr>
        </p:pic>
        <p:pic>
          <p:nvPicPr>
            <p:cNvPr id="56" name="Picture 55"/>
            <p:cNvPicPr>
              <a:picLocks noChangeAspect="1"/>
            </p:cNvPicPr>
            <p:nvPr/>
          </p:nvPicPr>
          <p:blipFill>
            <a:blip r:embed="rId9" cstate="print"/>
            <a:srcRect/>
            <a:stretch>
              <a:fillRect/>
            </a:stretch>
          </p:blipFill>
          <p:spPr bwMode="auto">
            <a:xfrm>
              <a:off x="761164" y="4871339"/>
              <a:ext cx="511175" cy="527050"/>
            </a:xfrm>
            <a:prstGeom prst="rect">
              <a:avLst/>
            </a:prstGeom>
            <a:noFill/>
            <a:ln w="9525">
              <a:noFill/>
              <a:miter lim="800000"/>
              <a:headEnd/>
              <a:tailEnd/>
            </a:ln>
          </p:spPr>
        </p:pic>
      </p:grpSp>
      <p:sp>
        <p:nvSpPr>
          <p:cNvPr id="42"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43"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0"/>
              </a:rPr>
              <a:t>www.rapidbbs.cn</a:t>
            </a:r>
            <a:endParaRPr lang="zh-CN" altLang="en-US" sz="1200" b="0">
              <a:latin typeface="Arial" charset="0"/>
              <a:ea typeface="ＭＳ Ｐゴシック" pitchFamily="34" charset="-128"/>
            </a:endParaRPr>
          </a:p>
        </p:txBody>
      </p:sp>
      <p:pic>
        <p:nvPicPr>
          <p:cNvPr id="45" name="Picture 2">
            <a:hlinkClick r:id="rId10"/>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8853423"/>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6"/>
          <p:cNvSpPr txBox="1">
            <a:spLocks/>
          </p:cNvSpPr>
          <p:nvPr/>
        </p:nvSpPr>
        <p:spPr bwMode="auto">
          <a:xfrm>
            <a:off x="107505" y="3697840"/>
            <a:ext cx="8928993" cy="1014896"/>
          </a:xfrm>
          <a:prstGeom prst="rect">
            <a:avLst/>
          </a:prstGeom>
          <a:noFill/>
          <a:ln w="9525">
            <a:noFill/>
            <a:miter lim="800000"/>
            <a:headEnd/>
            <a:tailEnd/>
          </a:ln>
        </p:spPr>
        <p:txBody>
          <a:bodyPr vert="horz" wrap="square" lIns="91412" tIns="45706" rIns="91412" bIns="45706" numCol="1" anchor="b" anchorCtr="0" compatLnSpc="1">
            <a:prstTxWarp prst="textNoShape">
              <a:avLst/>
            </a:prstTxWarp>
          </a:bodyPr>
          <a:lstStyle>
            <a:lvl1pPr marL="342900" indent="-342900" algn="l" rtl="0" eaLnBrk="1" fontAlgn="base" hangingPunct="1">
              <a:spcBef>
                <a:spcPct val="20000"/>
              </a:spcBef>
              <a:spcAft>
                <a:spcPct val="0"/>
              </a:spcAft>
              <a:buFont typeface="Arial" charset="0"/>
              <a:buChar char="•"/>
              <a:defRPr sz="2800" kern="1200">
                <a:solidFill>
                  <a:schemeClr val="tx1"/>
                </a:solidFill>
                <a:latin typeface="Segoe UI" pitchFamily="34" charset="0"/>
                <a:ea typeface="Segoe UI" pitchFamily="34" charset="0"/>
                <a:cs typeface="Segoe UI" pitchFamily="34" charset="0"/>
              </a:defRPr>
            </a:lvl1pPr>
            <a:lvl2pPr marL="742950" indent="-285750" algn="l" rtl="0" eaLnBrk="1" fontAlgn="base" hangingPunct="1">
              <a:spcBef>
                <a:spcPct val="20000"/>
              </a:spcBef>
              <a:spcAft>
                <a:spcPct val="0"/>
              </a:spcAft>
              <a:buFont typeface="Arial" charset="0"/>
              <a:buChar char="–"/>
              <a:defRPr sz="2400" kern="1200">
                <a:solidFill>
                  <a:schemeClr val="tx1"/>
                </a:solidFill>
                <a:latin typeface="Segoe UI" pitchFamily="34" charset="0"/>
                <a:ea typeface="Segoe UI" pitchFamily="34" charset="0"/>
                <a:cs typeface="Segoe UI" pitchFamily="34" charset="0"/>
              </a:defRPr>
            </a:lvl2pPr>
            <a:lvl3pPr marL="1143000" indent="-228600" algn="l" rtl="0" eaLnBrk="1" fontAlgn="base" hangingPunct="1">
              <a:spcBef>
                <a:spcPct val="20000"/>
              </a:spcBef>
              <a:spcAft>
                <a:spcPct val="0"/>
              </a:spcAft>
              <a:buFont typeface="Arial" charset="0"/>
              <a:buChar char="•"/>
              <a:defRPr sz="2000" kern="1200">
                <a:solidFill>
                  <a:schemeClr val="tx1"/>
                </a:solidFill>
                <a:latin typeface="Segoe UI" pitchFamily="34" charset="0"/>
                <a:ea typeface="Segoe UI" pitchFamily="34" charset="0"/>
                <a:cs typeface="Segoe UI" pitchFamily="34" charset="0"/>
              </a:defRPr>
            </a:lvl3pPr>
            <a:lvl4pPr marL="1600200" indent="-228600" algn="l" rtl="0" eaLnBrk="1" fontAlgn="base" hangingPunct="1">
              <a:spcBef>
                <a:spcPct val="20000"/>
              </a:spcBef>
              <a:spcAft>
                <a:spcPct val="0"/>
              </a:spcAft>
              <a:buFont typeface="Arial" charset="0"/>
              <a:buChar char="–"/>
              <a:defRPr sz="1800" kern="1200">
                <a:solidFill>
                  <a:schemeClr val="tx1"/>
                </a:solidFill>
                <a:latin typeface="Segoe UI" pitchFamily="34" charset="0"/>
                <a:ea typeface="Segoe UI" pitchFamily="34" charset="0"/>
                <a:cs typeface="Segoe UI" pitchFamily="34" charset="0"/>
              </a:defRPr>
            </a:lvl4pPr>
            <a:lvl5pPr marL="2057400" indent="-228600" algn="l" rtl="0" eaLnBrk="1" fontAlgn="base" hangingPunct="1">
              <a:spcBef>
                <a:spcPct val="20000"/>
              </a:spcBef>
              <a:spcAft>
                <a:spcPct val="0"/>
              </a:spcAft>
              <a:buFont typeface="Arial" charset="0"/>
              <a:buChar char="»"/>
              <a:defRPr sz="1800" kern="1200">
                <a:solidFill>
                  <a:schemeClr val="tx1"/>
                </a:solidFill>
                <a:latin typeface="Segoe UI" pitchFamily="34" charset="0"/>
                <a:ea typeface="Segoe UI" pitchFamily="34" charset="0"/>
                <a:cs typeface="Segoe UI"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254952" lvl="1" indent="-254952">
              <a:lnSpc>
                <a:spcPct val="90000"/>
              </a:lnSpc>
              <a:buClr>
                <a:schemeClr val="accent5"/>
              </a:buClr>
              <a:buSzPct val="90000"/>
              <a:buBlip>
                <a:blip r:embed="rId3"/>
              </a:buBlip>
            </a:pPr>
            <a:r>
              <a:rPr lang="en-GB" sz="1500" dirty="0">
                <a:gradFill>
                  <a:gsLst>
                    <a:gs pos="0">
                      <a:schemeClr val="tx1"/>
                    </a:gs>
                    <a:gs pos="86000">
                      <a:schemeClr val="tx1"/>
                    </a:gs>
                  </a:gsLst>
                  <a:lin ang="5400000" scaled="0"/>
                </a:gradFill>
                <a:latin typeface="+mn-lt"/>
                <a:ea typeface="+mn-ea"/>
                <a:cs typeface="+mn-cs"/>
              </a:rPr>
              <a:t>Synchronicity encourages dependency, avoid dependency if at all possible</a:t>
            </a:r>
          </a:p>
          <a:p>
            <a:pPr marL="254952" lvl="1" indent="-254952">
              <a:lnSpc>
                <a:spcPct val="90000"/>
              </a:lnSpc>
              <a:buClr>
                <a:schemeClr val="accent5"/>
              </a:buClr>
              <a:buSzPct val="90000"/>
              <a:buBlip>
                <a:blip r:embed="rId3"/>
              </a:buBlip>
            </a:pPr>
            <a:r>
              <a:rPr lang="en-GB" sz="1500" dirty="0">
                <a:gradFill>
                  <a:gsLst>
                    <a:gs pos="0">
                      <a:schemeClr val="tx1"/>
                    </a:gs>
                    <a:gs pos="86000">
                      <a:schemeClr val="tx1"/>
                    </a:gs>
                  </a:gsLst>
                  <a:lin ang="5400000" scaled="0"/>
                </a:gradFill>
                <a:latin typeface="+mn-lt"/>
                <a:ea typeface="+mn-ea"/>
                <a:cs typeface="+mn-cs"/>
              </a:rPr>
              <a:t>Loosely couple “process” from “process-trigger”</a:t>
            </a:r>
          </a:p>
          <a:p>
            <a:pPr marL="254952" lvl="1" indent="-254952">
              <a:lnSpc>
                <a:spcPct val="90000"/>
              </a:lnSpc>
              <a:buClr>
                <a:schemeClr val="accent5"/>
              </a:buClr>
              <a:buSzPct val="90000"/>
              <a:buBlip>
                <a:blip r:embed="rId3"/>
              </a:buBlip>
            </a:pPr>
            <a:r>
              <a:rPr lang="en-GB" sz="1500" dirty="0">
                <a:gradFill>
                  <a:gsLst>
                    <a:gs pos="0">
                      <a:schemeClr val="tx1"/>
                    </a:gs>
                    <a:gs pos="86000">
                      <a:schemeClr val="tx1"/>
                    </a:gs>
                  </a:gsLst>
                  <a:lin ang="5400000" scaled="0"/>
                </a:gradFill>
                <a:latin typeface="+mn-lt"/>
                <a:ea typeface="+mn-ea"/>
                <a:cs typeface="+mn-cs"/>
              </a:rPr>
              <a:t>And try to process “as soon as possible.”</a:t>
            </a:r>
          </a:p>
        </p:txBody>
      </p:sp>
      <p:sp>
        <p:nvSpPr>
          <p:cNvPr id="9" name="Content Placeholder 5"/>
          <p:cNvSpPr txBox="1">
            <a:spLocks/>
          </p:cNvSpPr>
          <p:nvPr/>
        </p:nvSpPr>
        <p:spPr bwMode="auto">
          <a:xfrm>
            <a:off x="107504" y="123478"/>
            <a:ext cx="8928992" cy="648072"/>
          </a:xfrm>
          <a:prstGeom prst="rect">
            <a:avLst/>
          </a:prstGeom>
          <a:noFill/>
          <a:ln w="9525">
            <a:noFill/>
            <a:miter lim="800000"/>
            <a:headEnd/>
            <a:tailEnd/>
          </a:ln>
        </p:spPr>
        <p:txBody>
          <a:bodyPr vert="horz" wrap="square" lIns="91412" tIns="45706" rIns="91412" bIns="45706" numCol="1" anchor="ctr" anchorCtr="0" compatLnSpc="1">
            <a:prstTxWarp prst="textNoShape">
              <a:avLst/>
            </a:prstTxWarp>
          </a:bodyPr>
          <a:lstStyle>
            <a:lvl1pPr marL="342900" indent="-342900" algn="l" rtl="0" eaLnBrk="1" fontAlgn="base" hangingPunct="1">
              <a:spcBef>
                <a:spcPct val="20000"/>
              </a:spcBef>
              <a:spcAft>
                <a:spcPct val="0"/>
              </a:spcAft>
              <a:buFont typeface="Arial" charset="0"/>
              <a:buChar char="•"/>
              <a:defRPr sz="2800" kern="1200">
                <a:solidFill>
                  <a:schemeClr val="tx1"/>
                </a:solidFill>
                <a:latin typeface="Segoe UI" pitchFamily="34" charset="0"/>
                <a:ea typeface="Segoe UI" pitchFamily="34" charset="0"/>
                <a:cs typeface="Segoe UI" pitchFamily="34" charset="0"/>
              </a:defRPr>
            </a:lvl1pPr>
            <a:lvl2pPr marL="742950" indent="-285750" algn="l" rtl="0" eaLnBrk="1" fontAlgn="base" hangingPunct="1">
              <a:spcBef>
                <a:spcPct val="20000"/>
              </a:spcBef>
              <a:spcAft>
                <a:spcPct val="0"/>
              </a:spcAft>
              <a:buFont typeface="Arial" charset="0"/>
              <a:buChar char="–"/>
              <a:defRPr sz="2400" kern="1200">
                <a:solidFill>
                  <a:schemeClr val="tx1"/>
                </a:solidFill>
                <a:latin typeface="Segoe UI" pitchFamily="34" charset="0"/>
                <a:ea typeface="Segoe UI" pitchFamily="34" charset="0"/>
                <a:cs typeface="Segoe UI" pitchFamily="34" charset="0"/>
              </a:defRPr>
            </a:lvl2pPr>
            <a:lvl3pPr marL="1143000" indent="-228600" algn="l" rtl="0" eaLnBrk="1" fontAlgn="base" hangingPunct="1">
              <a:spcBef>
                <a:spcPct val="20000"/>
              </a:spcBef>
              <a:spcAft>
                <a:spcPct val="0"/>
              </a:spcAft>
              <a:buFont typeface="Arial" charset="0"/>
              <a:buChar char="•"/>
              <a:defRPr sz="2000" kern="1200">
                <a:solidFill>
                  <a:schemeClr val="tx1"/>
                </a:solidFill>
                <a:latin typeface="Segoe UI" pitchFamily="34" charset="0"/>
                <a:ea typeface="Segoe UI" pitchFamily="34" charset="0"/>
                <a:cs typeface="Segoe UI" pitchFamily="34" charset="0"/>
              </a:defRPr>
            </a:lvl3pPr>
            <a:lvl4pPr marL="1600200" indent="-228600" algn="l" rtl="0" eaLnBrk="1" fontAlgn="base" hangingPunct="1">
              <a:spcBef>
                <a:spcPct val="20000"/>
              </a:spcBef>
              <a:spcAft>
                <a:spcPct val="0"/>
              </a:spcAft>
              <a:buFont typeface="Arial" charset="0"/>
              <a:buChar char="–"/>
              <a:defRPr sz="1800" kern="1200">
                <a:solidFill>
                  <a:schemeClr val="tx1"/>
                </a:solidFill>
                <a:latin typeface="Segoe UI" pitchFamily="34" charset="0"/>
                <a:ea typeface="Segoe UI" pitchFamily="34" charset="0"/>
                <a:cs typeface="Segoe UI" pitchFamily="34" charset="0"/>
              </a:defRPr>
            </a:lvl4pPr>
            <a:lvl5pPr marL="2057400" indent="-228600" algn="l" rtl="0" eaLnBrk="1" fontAlgn="base" hangingPunct="1">
              <a:spcBef>
                <a:spcPct val="20000"/>
              </a:spcBef>
              <a:spcAft>
                <a:spcPct val="0"/>
              </a:spcAft>
              <a:buFont typeface="Arial" charset="0"/>
              <a:buChar char="»"/>
              <a:defRPr sz="1800" kern="1200">
                <a:solidFill>
                  <a:schemeClr val="tx1"/>
                </a:solidFill>
                <a:latin typeface="Segoe UI" pitchFamily="34" charset="0"/>
                <a:ea typeface="Segoe UI" pitchFamily="34" charset="0"/>
                <a:cs typeface="Segoe UI"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buNone/>
            </a:pPr>
            <a:r>
              <a:rPr lang="en-GB" sz="3300" dirty="0">
                <a:solidFill>
                  <a:schemeClr val="tx1">
                    <a:lumMod val="85000"/>
                  </a:schemeClr>
                </a:solidFill>
              </a:rPr>
              <a:t>Asap </a:t>
            </a:r>
            <a:r>
              <a:rPr lang="en-GB" sz="3300" dirty="0" err="1">
                <a:solidFill>
                  <a:schemeClr val="tx1">
                    <a:lumMod val="85000"/>
                  </a:schemeClr>
                </a:solidFill>
              </a:rPr>
              <a:t>asynchronicity</a:t>
            </a:r>
            <a:endParaRPr lang="en-GB" sz="3300" dirty="0">
              <a:solidFill>
                <a:schemeClr val="tx1">
                  <a:lumMod val="85000"/>
                </a:schemeClr>
              </a:solidFill>
            </a:endParaRPr>
          </a:p>
        </p:txBody>
      </p:sp>
      <p:pic>
        <p:nvPicPr>
          <p:cNvPr id="9219" name="Picture 3" descr="C:\Users\hatayt\Pictures\DVD_ART36\Artwork_Imagery\Icons - Illustrations\_ xMAC STYLE\linked.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91680" y="843758"/>
            <a:ext cx="1800000" cy="1800000"/>
          </a:xfrm>
          <a:prstGeom prst="rect">
            <a:avLst/>
          </a:prstGeom>
          <a:noFill/>
          <a:extLst>
            <a:ext uri="{909E8E84-426E-40DD-AFC4-6F175D3DCCD1}">
              <a14:hiddenFill xmlns:a14="http://schemas.microsoft.com/office/drawing/2010/main">
                <a:solidFill>
                  <a:srgbClr val="FFFFFF"/>
                </a:solidFill>
              </a14:hiddenFill>
            </a:ext>
          </a:extLst>
        </p:spPr>
      </p:pic>
      <p:pic>
        <p:nvPicPr>
          <p:cNvPr id="9220" name="Picture 4" descr="C:\Users\hatayt\Pictures\DVD_ART36\Artwork_Imagery\Icons - Illustrations\_ xMAC STYLE\broken link.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20272" y="843758"/>
            <a:ext cx="1800000" cy="1800000"/>
          </a:xfrm>
          <a:prstGeom prst="rect">
            <a:avLst/>
          </a:prstGeom>
          <a:noFill/>
          <a:extLst>
            <a:ext uri="{909E8E84-426E-40DD-AFC4-6F175D3DCCD1}">
              <a14:hiddenFill xmlns:a14="http://schemas.microsoft.com/office/drawing/2010/main">
                <a:solidFill>
                  <a:srgbClr val="FFFFFF"/>
                </a:solidFill>
              </a14:hiddenFill>
            </a:ext>
          </a:extLst>
        </p:spPr>
      </p:pic>
      <p:sp>
        <p:nvSpPr>
          <p:cNvPr id="18" name="Right Arrow 17"/>
          <p:cNvSpPr/>
          <p:nvPr/>
        </p:nvSpPr>
        <p:spPr>
          <a:xfrm>
            <a:off x="3809616" y="1511054"/>
            <a:ext cx="978408" cy="484632"/>
          </a:xfrm>
          <a:prstGeom prst="rightArrow">
            <a:avLst/>
          </a:prstGeom>
        </p:spPr>
        <p:style>
          <a:lnRef idx="1">
            <a:schemeClr val="accent6"/>
          </a:lnRef>
          <a:fillRef idx="3">
            <a:schemeClr val="accent6"/>
          </a:fillRef>
          <a:effectRef idx="2">
            <a:schemeClr val="accent6"/>
          </a:effectRef>
          <a:fontRef idx="minor">
            <a:schemeClr val="lt1"/>
          </a:fontRef>
        </p:style>
        <p:txBody>
          <a:bodyPr lIns="91412" tIns="45706" rIns="91412" bIns="45706" rtlCol="0" anchor="ctr"/>
          <a:lstStyle/>
          <a:p>
            <a:pPr algn="ctr"/>
            <a:endParaRPr lang="en-GB"/>
          </a:p>
        </p:txBody>
      </p:sp>
      <p:pic>
        <p:nvPicPr>
          <p:cNvPr id="20" name="Picture 3" descr="C:\Users\hatayt\Pictures\DVD_ART36\Artwork_Imagery\Icons - Illustrations\_ WINDOWS SERVER ICONS\Documents\Window Application program.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115616" y="2895846"/>
            <a:ext cx="661170" cy="5400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21" name="Picture 4" descr="C:\Users\hatayt\Pictures\DVD_ART36\Artwork_Imagery\Icons - Illustrations\_ xMAC STYLE\gears process.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244899" y="2895846"/>
            <a:ext cx="540000" cy="5400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22" name="Right Arrow 21"/>
          <p:cNvSpPr/>
          <p:nvPr/>
        </p:nvSpPr>
        <p:spPr>
          <a:xfrm>
            <a:off x="1848834" y="3015615"/>
            <a:ext cx="360000" cy="360000"/>
          </a:xfrm>
          <a:prstGeom prst="rightArrow">
            <a:avLst/>
          </a:prstGeom>
        </p:spPr>
        <p:style>
          <a:lnRef idx="1">
            <a:schemeClr val="accent6"/>
          </a:lnRef>
          <a:fillRef idx="3">
            <a:schemeClr val="accent6"/>
          </a:fillRef>
          <a:effectRef idx="2">
            <a:schemeClr val="accent6"/>
          </a:effectRef>
          <a:fontRef idx="minor">
            <a:schemeClr val="lt1"/>
          </a:fontRef>
        </p:style>
        <p:txBody>
          <a:bodyPr lIns="91412" tIns="45706" rIns="91412" bIns="45706" rtlCol="0" anchor="ctr"/>
          <a:lstStyle/>
          <a:p>
            <a:pPr algn="ctr"/>
            <a:endParaRPr lang="en-GB"/>
          </a:p>
        </p:txBody>
      </p:sp>
      <p:sp>
        <p:nvSpPr>
          <p:cNvPr id="23" name="Right Arrow 22"/>
          <p:cNvSpPr/>
          <p:nvPr/>
        </p:nvSpPr>
        <p:spPr>
          <a:xfrm>
            <a:off x="2856946" y="3015615"/>
            <a:ext cx="360000" cy="360000"/>
          </a:xfrm>
          <a:prstGeom prst="rightArrow">
            <a:avLst/>
          </a:prstGeom>
        </p:spPr>
        <p:style>
          <a:lnRef idx="1">
            <a:schemeClr val="accent6"/>
          </a:lnRef>
          <a:fillRef idx="3">
            <a:schemeClr val="accent6"/>
          </a:fillRef>
          <a:effectRef idx="2">
            <a:schemeClr val="accent6"/>
          </a:effectRef>
          <a:fontRef idx="minor">
            <a:schemeClr val="lt1"/>
          </a:fontRef>
        </p:style>
        <p:txBody>
          <a:bodyPr lIns="91412" tIns="45706" rIns="91412" bIns="45706" rtlCol="0" anchor="ctr"/>
          <a:lstStyle/>
          <a:p>
            <a:pPr algn="ctr"/>
            <a:endParaRPr lang="en-GB"/>
          </a:p>
        </p:txBody>
      </p:sp>
      <p:pic>
        <p:nvPicPr>
          <p:cNvPr id="24" name="Picture 2" descr="C:\Users\hatayt\Pictures\DVD_ART36\Artwork_Imagery\Icons - Illustrations\_ SUPER VISTA STYLE\database.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216946" y="2895846"/>
            <a:ext cx="540000" cy="5400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33" name="Picture 3" descr="C:\Users\hatayt\Pictures\DVD_ART36\Artwork_Imagery\Icons - Illustrations\_ WINDOWS SERVER ICONS\Documents\Window Application program.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716016" y="2895846"/>
            <a:ext cx="661170" cy="5400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35" name="Left-Right Arrow 34"/>
          <p:cNvSpPr/>
          <p:nvPr/>
        </p:nvSpPr>
        <p:spPr>
          <a:xfrm>
            <a:off x="5449234" y="3015615"/>
            <a:ext cx="360000" cy="360000"/>
          </a:xfrm>
          <a:prstGeom prst="leftRightArrow">
            <a:avLst>
              <a:gd name="adj1" fmla="val 50000"/>
              <a:gd name="adj2" fmla="val 29149"/>
            </a:avLst>
          </a:prstGeom>
        </p:spPr>
        <p:style>
          <a:lnRef idx="1">
            <a:schemeClr val="accent6"/>
          </a:lnRef>
          <a:fillRef idx="3">
            <a:schemeClr val="accent6"/>
          </a:fillRef>
          <a:effectRef idx="2">
            <a:schemeClr val="accent6"/>
          </a:effectRef>
          <a:fontRef idx="minor">
            <a:schemeClr val="lt1"/>
          </a:fontRef>
        </p:style>
        <p:txBody>
          <a:bodyPr lIns="91412" tIns="45706" rIns="91412" bIns="45706" rtlCol="0" anchor="ctr"/>
          <a:lstStyle/>
          <a:p>
            <a:pPr algn="ctr"/>
            <a:endParaRPr lang="en-GB"/>
          </a:p>
        </p:txBody>
      </p:sp>
      <p:pic>
        <p:nvPicPr>
          <p:cNvPr id="38" name="Picture 2" descr="C:\Users\hatayt\Pictures\DVD_ART36\Artwork_Imagery\Icons - Illustrations\_ SUPER VISTA STYLE\database.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868144" y="2931550"/>
            <a:ext cx="540000" cy="5400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39" name="Picture 4" descr="C:\Users\hatayt\Pictures\DVD_ART36\Artwork_Imagery\Icons - Illustrations\_ xMAC STYLE\gears process.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76256" y="2925615"/>
            <a:ext cx="540000" cy="5400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42" name="Left-Right Arrow 41"/>
          <p:cNvSpPr/>
          <p:nvPr/>
        </p:nvSpPr>
        <p:spPr>
          <a:xfrm>
            <a:off x="6444209" y="3021550"/>
            <a:ext cx="360000" cy="360000"/>
          </a:xfrm>
          <a:prstGeom prst="leftRightArrow">
            <a:avLst>
              <a:gd name="adj1" fmla="val 50000"/>
              <a:gd name="adj2" fmla="val 29149"/>
            </a:avLst>
          </a:prstGeom>
        </p:spPr>
        <p:style>
          <a:lnRef idx="1">
            <a:schemeClr val="accent6"/>
          </a:lnRef>
          <a:fillRef idx="3">
            <a:schemeClr val="accent6"/>
          </a:fillRef>
          <a:effectRef idx="2">
            <a:schemeClr val="accent6"/>
          </a:effectRef>
          <a:fontRef idx="minor">
            <a:schemeClr val="lt1"/>
          </a:fontRef>
        </p:style>
        <p:txBody>
          <a:bodyPr lIns="91412" tIns="45706" rIns="91412" bIns="45706" rtlCol="0" anchor="ctr"/>
          <a:lstStyle/>
          <a:p>
            <a:pPr algn="ctr"/>
            <a:endParaRPr lang="en-GB"/>
          </a:p>
        </p:txBody>
      </p:sp>
      <p:sp>
        <p:nvSpPr>
          <p:cNvPr id="17"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9"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9"/>
              </a:rPr>
              <a:t>www.rapidbbs.cn</a:t>
            </a:r>
            <a:endParaRPr lang="zh-CN" altLang="en-US" sz="1200" b="0">
              <a:latin typeface="Arial" charset="0"/>
              <a:ea typeface="ＭＳ Ｐゴシック" pitchFamily="34" charset="-128"/>
            </a:endParaRPr>
          </a:p>
        </p:txBody>
      </p:sp>
      <p:pic>
        <p:nvPicPr>
          <p:cNvPr id="25" name="Picture 2">
            <a:hlinkClick r:id="rId9"/>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34813924"/>
      </p:ext>
    </p:extLst>
  </p:cSld>
  <p:clrMapOvr>
    <a:masterClrMapping/>
  </p:clrMapOvr>
  <p:transition spd="slow" advClick="0">
    <p:cover/>
  </p:transition>
  <p:timing>
    <p:tnLst>
      <p:par>
        <p:cTn id="1" dur="indefinite" restart="never" nodeType="tmRoot"/>
      </p:par>
    </p:tnLst>
  </p:timing>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343052"/>
            <a:ext cx="8363938" cy="457049"/>
          </a:xfrm>
        </p:spPr>
        <p:txBody>
          <a:bodyPr/>
          <a:lstStyle/>
          <a:p>
            <a:r>
              <a:rPr lang="en-US" dirty="0" smtClean="0"/>
              <a:t>Agenda</a:t>
            </a:r>
            <a:endParaRPr lang="en-US" dirty="0"/>
          </a:p>
        </p:txBody>
      </p:sp>
      <p:grpSp>
        <p:nvGrpSpPr>
          <p:cNvPr id="35" name="Group 34"/>
          <p:cNvGrpSpPr/>
          <p:nvPr/>
        </p:nvGrpSpPr>
        <p:grpSpPr>
          <a:xfrm>
            <a:off x="207787" y="1273015"/>
            <a:ext cx="1645920" cy="1645920"/>
            <a:chOff x="505363" y="2350887"/>
            <a:chExt cx="2193989" cy="2194560"/>
          </a:xfrm>
        </p:grpSpPr>
        <p:sp>
          <p:nvSpPr>
            <p:cNvPr id="3" name="Rectangle 2"/>
            <p:cNvSpPr>
              <a:spLocks noChangeAspect="1"/>
            </p:cNvSpPr>
            <p:nvPr/>
          </p:nvSpPr>
          <p:spPr bwMode="auto">
            <a:xfrm>
              <a:off x="505363" y="2350887"/>
              <a:ext cx="2193989" cy="2194560"/>
            </a:xfrm>
            <a:prstGeom prst="rect">
              <a:avLst/>
            </a:prstGeom>
            <a:solidFill>
              <a:schemeClr val="accent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0" bIns="27432" numCol="1" rtlCol="0" anchor="b" anchorCtr="0" compatLnSpc="1">
              <a:prstTxWarp prst="textNoShape">
                <a:avLst/>
              </a:prstTxWarp>
            </a:bodyPr>
            <a:lstStyle/>
            <a:p>
              <a:pPr lvl="0" algn="ctr"/>
              <a:r>
                <a:rPr lang="en-US" dirty="0" smtClean="0">
                  <a:gradFill>
                    <a:gsLst>
                      <a:gs pos="0">
                        <a:schemeClr val="tx1"/>
                      </a:gs>
                      <a:gs pos="86000">
                        <a:schemeClr val="tx1"/>
                      </a:gs>
                    </a:gsLst>
                    <a:lin ang="5400000" scaled="0"/>
                  </a:gradFill>
                </a:rPr>
                <a:t>What’s new in System Center 2012</a:t>
              </a:r>
              <a:endParaRPr lang="en-US" sz="800" dirty="0"/>
            </a:p>
          </p:txBody>
        </p:sp>
        <p:pic>
          <p:nvPicPr>
            <p:cNvPr id="29" name="Picture 28" descr="C:\Users\chrisw\Desktop\Cloud Services 3.png"/>
            <p:cNvPicPr>
              <a:picLocks noChangeAspect="1" noChangeArrowheads="1"/>
            </p:cNvPicPr>
            <p:nvPr/>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705141" y="2631095"/>
              <a:ext cx="1530614" cy="1055934"/>
            </a:xfrm>
            <a:prstGeom prst="rect">
              <a:avLst/>
            </a:prstGeom>
            <a:noFill/>
            <a:extLst>
              <a:ext uri="{909E8E84-426E-40DD-AFC4-6F175D3DCCD1}">
                <a14:hiddenFill xmlns:a14="http://schemas.microsoft.com/office/drawing/2010/main">
                  <a:solidFill>
                    <a:srgbClr val="FFFFFF"/>
                  </a:solidFill>
                </a14:hiddenFill>
              </a:ext>
            </a:extLst>
          </p:spPr>
        </p:pic>
        <p:grpSp>
          <p:nvGrpSpPr>
            <p:cNvPr id="30" name="Group 29"/>
            <p:cNvGrpSpPr/>
            <p:nvPr/>
          </p:nvGrpSpPr>
          <p:grpSpPr>
            <a:xfrm>
              <a:off x="1147916" y="3030332"/>
              <a:ext cx="603285" cy="609600"/>
              <a:chOff x="481345" y="3333750"/>
              <a:chExt cx="925519" cy="914400"/>
            </a:xfrm>
            <a:solidFill>
              <a:srgbClr val="7030A0"/>
            </a:solidFill>
          </p:grpSpPr>
          <p:sp>
            <p:nvSpPr>
              <p:cNvPr id="31" name="Freeform 104"/>
              <p:cNvSpPr>
                <a:spLocks noEditPoints="1"/>
              </p:cNvSpPr>
              <p:nvPr/>
            </p:nvSpPr>
            <p:spPr bwMode="auto">
              <a:xfrm>
                <a:off x="481345" y="3800549"/>
                <a:ext cx="474387" cy="447601"/>
              </a:xfrm>
              <a:custGeom>
                <a:avLst/>
                <a:gdLst>
                  <a:gd name="T0" fmla="*/ 37 w 61"/>
                  <a:gd name="T1" fmla="*/ 43 h 61"/>
                  <a:gd name="T2" fmla="*/ 18 w 61"/>
                  <a:gd name="T3" fmla="*/ 37 h 61"/>
                  <a:gd name="T4" fmla="*/ 24 w 61"/>
                  <a:gd name="T5" fmla="*/ 18 h 61"/>
                  <a:gd name="T6" fmla="*/ 43 w 61"/>
                  <a:gd name="T7" fmla="*/ 24 h 61"/>
                  <a:gd name="T8" fmla="*/ 37 w 61"/>
                  <a:gd name="T9" fmla="*/ 43 h 61"/>
                  <a:gd name="T10" fmla="*/ 61 w 61"/>
                  <a:gd name="T11" fmla="*/ 28 h 61"/>
                  <a:gd name="T12" fmla="*/ 58 w 61"/>
                  <a:gd name="T13" fmla="*/ 18 h 61"/>
                  <a:gd name="T14" fmla="*/ 50 w 61"/>
                  <a:gd name="T15" fmla="*/ 19 h 61"/>
                  <a:gd name="T16" fmla="*/ 47 w 61"/>
                  <a:gd name="T17" fmla="*/ 15 h 61"/>
                  <a:gd name="T18" fmla="*/ 50 w 61"/>
                  <a:gd name="T19" fmla="*/ 7 h 61"/>
                  <a:gd name="T20" fmla="*/ 41 w 61"/>
                  <a:gd name="T21" fmla="*/ 2 h 61"/>
                  <a:gd name="T22" fmla="*/ 36 w 61"/>
                  <a:gd name="T23" fmla="*/ 9 h 61"/>
                  <a:gd name="T24" fmla="*/ 30 w 61"/>
                  <a:gd name="T25" fmla="*/ 8 h 61"/>
                  <a:gd name="T26" fmla="*/ 27 w 61"/>
                  <a:gd name="T27" fmla="*/ 0 h 61"/>
                  <a:gd name="T28" fmla="*/ 17 w 61"/>
                  <a:gd name="T29" fmla="*/ 3 h 61"/>
                  <a:gd name="T30" fmla="*/ 18 w 61"/>
                  <a:gd name="T31" fmla="*/ 11 h 61"/>
                  <a:gd name="T32" fmla="*/ 15 w 61"/>
                  <a:gd name="T33" fmla="*/ 14 h 61"/>
                  <a:gd name="T34" fmla="*/ 7 w 61"/>
                  <a:gd name="T35" fmla="*/ 11 h 61"/>
                  <a:gd name="T36" fmla="*/ 2 w 61"/>
                  <a:gd name="T37" fmla="*/ 20 h 61"/>
                  <a:gd name="T38" fmla="*/ 8 w 61"/>
                  <a:gd name="T39" fmla="*/ 25 h 61"/>
                  <a:gd name="T40" fmla="*/ 7 w 61"/>
                  <a:gd name="T41" fmla="*/ 30 h 61"/>
                  <a:gd name="T42" fmla="*/ 0 w 61"/>
                  <a:gd name="T43" fmla="*/ 33 h 61"/>
                  <a:gd name="T44" fmla="*/ 2 w 61"/>
                  <a:gd name="T45" fmla="*/ 43 h 61"/>
                  <a:gd name="T46" fmla="*/ 11 w 61"/>
                  <a:gd name="T47" fmla="*/ 42 h 61"/>
                  <a:gd name="T48" fmla="*/ 14 w 61"/>
                  <a:gd name="T49" fmla="*/ 47 h 61"/>
                  <a:gd name="T50" fmla="*/ 11 w 61"/>
                  <a:gd name="T51" fmla="*/ 54 h 61"/>
                  <a:gd name="T52" fmla="*/ 20 w 61"/>
                  <a:gd name="T53" fmla="*/ 59 h 61"/>
                  <a:gd name="T54" fmla="*/ 25 w 61"/>
                  <a:gd name="T55" fmla="*/ 53 h 61"/>
                  <a:gd name="T56" fmla="*/ 30 w 61"/>
                  <a:gd name="T57" fmla="*/ 53 h 61"/>
                  <a:gd name="T58" fmla="*/ 33 w 61"/>
                  <a:gd name="T59" fmla="*/ 61 h 61"/>
                  <a:gd name="T60" fmla="*/ 43 w 61"/>
                  <a:gd name="T61" fmla="*/ 58 h 61"/>
                  <a:gd name="T62" fmla="*/ 42 w 61"/>
                  <a:gd name="T63" fmla="*/ 50 h 61"/>
                  <a:gd name="T64" fmla="*/ 46 w 61"/>
                  <a:gd name="T65" fmla="*/ 47 h 61"/>
                  <a:gd name="T66" fmla="*/ 54 w 61"/>
                  <a:gd name="T67" fmla="*/ 50 h 61"/>
                  <a:gd name="T68" fmla="*/ 59 w 61"/>
                  <a:gd name="T69" fmla="*/ 41 h 61"/>
                  <a:gd name="T70" fmla="*/ 52 w 61"/>
                  <a:gd name="T71" fmla="*/ 36 h 61"/>
                  <a:gd name="T72" fmla="*/ 53 w 61"/>
                  <a:gd name="T73" fmla="*/ 31 h 61"/>
                  <a:gd name="T74" fmla="*/ 61 w 61"/>
                  <a:gd name="T75" fmla="*/ 28 h 61"/>
                  <a:gd name="T76" fmla="*/ 28 w 61"/>
                  <a:gd name="T77" fmla="*/ 26 h 61"/>
                  <a:gd name="T78" fmla="*/ 26 w 61"/>
                  <a:gd name="T79" fmla="*/ 33 h 61"/>
                  <a:gd name="T80" fmla="*/ 33 w 61"/>
                  <a:gd name="T81" fmla="*/ 35 h 61"/>
                  <a:gd name="T82" fmla="*/ 35 w 61"/>
                  <a:gd name="T83" fmla="*/ 28 h 61"/>
                  <a:gd name="T84" fmla="*/ 28 w 61"/>
                  <a:gd name="T85" fmla="*/ 2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 h="61">
                    <a:moveTo>
                      <a:pt x="37" y="43"/>
                    </a:moveTo>
                    <a:cubicBezTo>
                      <a:pt x="30" y="47"/>
                      <a:pt x="21" y="44"/>
                      <a:pt x="18" y="37"/>
                    </a:cubicBezTo>
                    <a:cubicBezTo>
                      <a:pt x="14" y="30"/>
                      <a:pt x="17" y="21"/>
                      <a:pt x="24" y="18"/>
                    </a:cubicBezTo>
                    <a:cubicBezTo>
                      <a:pt x="31" y="14"/>
                      <a:pt x="39" y="17"/>
                      <a:pt x="43" y="24"/>
                    </a:cubicBezTo>
                    <a:cubicBezTo>
                      <a:pt x="47" y="31"/>
                      <a:pt x="44" y="40"/>
                      <a:pt x="37" y="43"/>
                    </a:cubicBezTo>
                    <a:moveTo>
                      <a:pt x="61" y="28"/>
                    </a:moveTo>
                    <a:cubicBezTo>
                      <a:pt x="58" y="18"/>
                      <a:pt x="58" y="18"/>
                      <a:pt x="58" y="18"/>
                    </a:cubicBezTo>
                    <a:cubicBezTo>
                      <a:pt x="50" y="19"/>
                      <a:pt x="50" y="19"/>
                      <a:pt x="50" y="19"/>
                    </a:cubicBezTo>
                    <a:cubicBezTo>
                      <a:pt x="49" y="17"/>
                      <a:pt x="48" y="16"/>
                      <a:pt x="47" y="15"/>
                    </a:cubicBezTo>
                    <a:cubicBezTo>
                      <a:pt x="50" y="7"/>
                      <a:pt x="50" y="7"/>
                      <a:pt x="50" y="7"/>
                    </a:cubicBezTo>
                    <a:cubicBezTo>
                      <a:pt x="41" y="2"/>
                      <a:pt x="41" y="2"/>
                      <a:pt x="41" y="2"/>
                    </a:cubicBezTo>
                    <a:cubicBezTo>
                      <a:pt x="36" y="9"/>
                      <a:pt x="36" y="9"/>
                      <a:pt x="36" y="9"/>
                    </a:cubicBezTo>
                    <a:cubicBezTo>
                      <a:pt x="34" y="8"/>
                      <a:pt x="32" y="8"/>
                      <a:pt x="30" y="8"/>
                    </a:cubicBezTo>
                    <a:cubicBezTo>
                      <a:pt x="27" y="0"/>
                      <a:pt x="27" y="0"/>
                      <a:pt x="27" y="0"/>
                    </a:cubicBezTo>
                    <a:cubicBezTo>
                      <a:pt x="17" y="3"/>
                      <a:pt x="17" y="3"/>
                      <a:pt x="17" y="3"/>
                    </a:cubicBezTo>
                    <a:cubicBezTo>
                      <a:pt x="18" y="11"/>
                      <a:pt x="18" y="11"/>
                      <a:pt x="18" y="11"/>
                    </a:cubicBezTo>
                    <a:cubicBezTo>
                      <a:pt x="17" y="12"/>
                      <a:pt x="16" y="13"/>
                      <a:pt x="15" y="14"/>
                    </a:cubicBezTo>
                    <a:cubicBezTo>
                      <a:pt x="7" y="11"/>
                      <a:pt x="7" y="11"/>
                      <a:pt x="7" y="11"/>
                    </a:cubicBezTo>
                    <a:cubicBezTo>
                      <a:pt x="2" y="20"/>
                      <a:pt x="2" y="20"/>
                      <a:pt x="2" y="20"/>
                    </a:cubicBezTo>
                    <a:cubicBezTo>
                      <a:pt x="8" y="25"/>
                      <a:pt x="8" y="25"/>
                      <a:pt x="8" y="25"/>
                    </a:cubicBezTo>
                    <a:cubicBezTo>
                      <a:pt x="8" y="27"/>
                      <a:pt x="7" y="28"/>
                      <a:pt x="7" y="30"/>
                    </a:cubicBezTo>
                    <a:cubicBezTo>
                      <a:pt x="0" y="33"/>
                      <a:pt x="0" y="33"/>
                      <a:pt x="0" y="33"/>
                    </a:cubicBezTo>
                    <a:cubicBezTo>
                      <a:pt x="2" y="43"/>
                      <a:pt x="2" y="43"/>
                      <a:pt x="2" y="43"/>
                    </a:cubicBezTo>
                    <a:cubicBezTo>
                      <a:pt x="11" y="42"/>
                      <a:pt x="11" y="42"/>
                      <a:pt x="11" y="42"/>
                    </a:cubicBezTo>
                    <a:cubicBezTo>
                      <a:pt x="12" y="44"/>
                      <a:pt x="13" y="45"/>
                      <a:pt x="14" y="47"/>
                    </a:cubicBezTo>
                    <a:cubicBezTo>
                      <a:pt x="11" y="54"/>
                      <a:pt x="11" y="54"/>
                      <a:pt x="11" y="54"/>
                    </a:cubicBezTo>
                    <a:cubicBezTo>
                      <a:pt x="20" y="59"/>
                      <a:pt x="20" y="59"/>
                      <a:pt x="20" y="59"/>
                    </a:cubicBezTo>
                    <a:cubicBezTo>
                      <a:pt x="25" y="53"/>
                      <a:pt x="25" y="53"/>
                      <a:pt x="25" y="53"/>
                    </a:cubicBezTo>
                    <a:cubicBezTo>
                      <a:pt x="26" y="53"/>
                      <a:pt x="28" y="53"/>
                      <a:pt x="30" y="53"/>
                    </a:cubicBezTo>
                    <a:cubicBezTo>
                      <a:pt x="33" y="61"/>
                      <a:pt x="33" y="61"/>
                      <a:pt x="33" y="61"/>
                    </a:cubicBezTo>
                    <a:cubicBezTo>
                      <a:pt x="43" y="58"/>
                      <a:pt x="43" y="58"/>
                      <a:pt x="43" y="58"/>
                    </a:cubicBezTo>
                    <a:cubicBezTo>
                      <a:pt x="42" y="50"/>
                      <a:pt x="42" y="50"/>
                      <a:pt x="42" y="50"/>
                    </a:cubicBezTo>
                    <a:cubicBezTo>
                      <a:pt x="44" y="49"/>
                      <a:pt x="45" y="48"/>
                      <a:pt x="46" y="47"/>
                    </a:cubicBezTo>
                    <a:cubicBezTo>
                      <a:pt x="54" y="50"/>
                      <a:pt x="54" y="50"/>
                      <a:pt x="54" y="50"/>
                    </a:cubicBezTo>
                    <a:cubicBezTo>
                      <a:pt x="59" y="41"/>
                      <a:pt x="59" y="41"/>
                      <a:pt x="59" y="41"/>
                    </a:cubicBezTo>
                    <a:cubicBezTo>
                      <a:pt x="52" y="36"/>
                      <a:pt x="52" y="36"/>
                      <a:pt x="52" y="36"/>
                    </a:cubicBezTo>
                    <a:cubicBezTo>
                      <a:pt x="53" y="34"/>
                      <a:pt x="53" y="33"/>
                      <a:pt x="53" y="31"/>
                    </a:cubicBezTo>
                    <a:lnTo>
                      <a:pt x="61" y="28"/>
                    </a:lnTo>
                    <a:close/>
                    <a:moveTo>
                      <a:pt x="28" y="26"/>
                    </a:moveTo>
                    <a:cubicBezTo>
                      <a:pt x="25" y="27"/>
                      <a:pt x="24" y="30"/>
                      <a:pt x="26" y="33"/>
                    </a:cubicBezTo>
                    <a:cubicBezTo>
                      <a:pt x="27" y="35"/>
                      <a:pt x="30" y="36"/>
                      <a:pt x="33" y="35"/>
                    </a:cubicBezTo>
                    <a:cubicBezTo>
                      <a:pt x="35" y="34"/>
                      <a:pt x="36" y="31"/>
                      <a:pt x="35" y="28"/>
                    </a:cubicBezTo>
                    <a:cubicBezTo>
                      <a:pt x="34" y="26"/>
                      <a:pt x="31" y="25"/>
                      <a:pt x="28"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104"/>
              <p:cNvSpPr>
                <a:spLocks noEditPoints="1"/>
              </p:cNvSpPr>
              <p:nvPr/>
            </p:nvSpPr>
            <p:spPr bwMode="auto">
              <a:xfrm>
                <a:off x="762396" y="3333750"/>
                <a:ext cx="644468" cy="609600"/>
              </a:xfrm>
              <a:custGeom>
                <a:avLst/>
                <a:gdLst>
                  <a:gd name="T0" fmla="*/ 37 w 61"/>
                  <a:gd name="T1" fmla="*/ 43 h 61"/>
                  <a:gd name="T2" fmla="*/ 18 w 61"/>
                  <a:gd name="T3" fmla="*/ 37 h 61"/>
                  <a:gd name="T4" fmla="*/ 24 w 61"/>
                  <a:gd name="T5" fmla="*/ 18 h 61"/>
                  <a:gd name="T6" fmla="*/ 43 w 61"/>
                  <a:gd name="T7" fmla="*/ 24 h 61"/>
                  <a:gd name="T8" fmla="*/ 37 w 61"/>
                  <a:gd name="T9" fmla="*/ 43 h 61"/>
                  <a:gd name="T10" fmla="*/ 61 w 61"/>
                  <a:gd name="T11" fmla="*/ 28 h 61"/>
                  <a:gd name="T12" fmla="*/ 58 w 61"/>
                  <a:gd name="T13" fmla="*/ 18 h 61"/>
                  <a:gd name="T14" fmla="*/ 50 w 61"/>
                  <a:gd name="T15" fmla="*/ 19 h 61"/>
                  <a:gd name="T16" fmla="*/ 47 w 61"/>
                  <a:gd name="T17" fmla="*/ 15 h 61"/>
                  <a:gd name="T18" fmla="*/ 50 w 61"/>
                  <a:gd name="T19" fmla="*/ 7 h 61"/>
                  <a:gd name="T20" fmla="*/ 41 w 61"/>
                  <a:gd name="T21" fmla="*/ 2 h 61"/>
                  <a:gd name="T22" fmla="*/ 36 w 61"/>
                  <a:gd name="T23" fmla="*/ 9 h 61"/>
                  <a:gd name="T24" fmla="*/ 30 w 61"/>
                  <a:gd name="T25" fmla="*/ 8 h 61"/>
                  <a:gd name="T26" fmla="*/ 27 w 61"/>
                  <a:gd name="T27" fmla="*/ 0 h 61"/>
                  <a:gd name="T28" fmla="*/ 17 w 61"/>
                  <a:gd name="T29" fmla="*/ 3 h 61"/>
                  <a:gd name="T30" fmla="*/ 18 w 61"/>
                  <a:gd name="T31" fmla="*/ 11 h 61"/>
                  <a:gd name="T32" fmla="*/ 15 w 61"/>
                  <a:gd name="T33" fmla="*/ 14 h 61"/>
                  <a:gd name="T34" fmla="*/ 7 w 61"/>
                  <a:gd name="T35" fmla="*/ 11 h 61"/>
                  <a:gd name="T36" fmla="*/ 2 w 61"/>
                  <a:gd name="T37" fmla="*/ 20 h 61"/>
                  <a:gd name="T38" fmla="*/ 8 w 61"/>
                  <a:gd name="T39" fmla="*/ 25 h 61"/>
                  <a:gd name="T40" fmla="*/ 7 w 61"/>
                  <a:gd name="T41" fmla="*/ 30 h 61"/>
                  <a:gd name="T42" fmla="*/ 0 w 61"/>
                  <a:gd name="T43" fmla="*/ 33 h 61"/>
                  <a:gd name="T44" fmla="*/ 2 w 61"/>
                  <a:gd name="T45" fmla="*/ 43 h 61"/>
                  <a:gd name="T46" fmla="*/ 11 w 61"/>
                  <a:gd name="T47" fmla="*/ 42 h 61"/>
                  <a:gd name="T48" fmla="*/ 14 w 61"/>
                  <a:gd name="T49" fmla="*/ 47 h 61"/>
                  <a:gd name="T50" fmla="*/ 11 w 61"/>
                  <a:gd name="T51" fmla="*/ 54 h 61"/>
                  <a:gd name="T52" fmla="*/ 20 w 61"/>
                  <a:gd name="T53" fmla="*/ 59 h 61"/>
                  <a:gd name="T54" fmla="*/ 25 w 61"/>
                  <a:gd name="T55" fmla="*/ 53 h 61"/>
                  <a:gd name="T56" fmla="*/ 30 w 61"/>
                  <a:gd name="T57" fmla="*/ 53 h 61"/>
                  <a:gd name="T58" fmla="*/ 33 w 61"/>
                  <a:gd name="T59" fmla="*/ 61 h 61"/>
                  <a:gd name="T60" fmla="*/ 43 w 61"/>
                  <a:gd name="T61" fmla="*/ 58 h 61"/>
                  <a:gd name="T62" fmla="*/ 42 w 61"/>
                  <a:gd name="T63" fmla="*/ 50 h 61"/>
                  <a:gd name="T64" fmla="*/ 46 w 61"/>
                  <a:gd name="T65" fmla="*/ 47 h 61"/>
                  <a:gd name="T66" fmla="*/ 54 w 61"/>
                  <a:gd name="T67" fmla="*/ 50 h 61"/>
                  <a:gd name="T68" fmla="*/ 59 w 61"/>
                  <a:gd name="T69" fmla="*/ 41 h 61"/>
                  <a:gd name="T70" fmla="*/ 52 w 61"/>
                  <a:gd name="T71" fmla="*/ 36 h 61"/>
                  <a:gd name="T72" fmla="*/ 53 w 61"/>
                  <a:gd name="T73" fmla="*/ 31 h 61"/>
                  <a:gd name="T74" fmla="*/ 61 w 61"/>
                  <a:gd name="T75" fmla="*/ 28 h 61"/>
                  <a:gd name="T76" fmla="*/ 28 w 61"/>
                  <a:gd name="T77" fmla="*/ 26 h 61"/>
                  <a:gd name="T78" fmla="*/ 26 w 61"/>
                  <a:gd name="T79" fmla="*/ 33 h 61"/>
                  <a:gd name="T80" fmla="*/ 33 w 61"/>
                  <a:gd name="T81" fmla="*/ 35 h 61"/>
                  <a:gd name="T82" fmla="*/ 35 w 61"/>
                  <a:gd name="T83" fmla="*/ 28 h 61"/>
                  <a:gd name="T84" fmla="*/ 28 w 61"/>
                  <a:gd name="T85" fmla="*/ 2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 h="61">
                    <a:moveTo>
                      <a:pt x="37" y="43"/>
                    </a:moveTo>
                    <a:cubicBezTo>
                      <a:pt x="30" y="47"/>
                      <a:pt x="21" y="44"/>
                      <a:pt x="18" y="37"/>
                    </a:cubicBezTo>
                    <a:cubicBezTo>
                      <a:pt x="14" y="30"/>
                      <a:pt x="17" y="21"/>
                      <a:pt x="24" y="18"/>
                    </a:cubicBezTo>
                    <a:cubicBezTo>
                      <a:pt x="31" y="14"/>
                      <a:pt x="39" y="17"/>
                      <a:pt x="43" y="24"/>
                    </a:cubicBezTo>
                    <a:cubicBezTo>
                      <a:pt x="47" y="31"/>
                      <a:pt x="44" y="40"/>
                      <a:pt x="37" y="43"/>
                    </a:cubicBezTo>
                    <a:moveTo>
                      <a:pt x="61" y="28"/>
                    </a:moveTo>
                    <a:cubicBezTo>
                      <a:pt x="58" y="18"/>
                      <a:pt x="58" y="18"/>
                      <a:pt x="58" y="18"/>
                    </a:cubicBezTo>
                    <a:cubicBezTo>
                      <a:pt x="50" y="19"/>
                      <a:pt x="50" y="19"/>
                      <a:pt x="50" y="19"/>
                    </a:cubicBezTo>
                    <a:cubicBezTo>
                      <a:pt x="49" y="17"/>
                      <a:pt x="48" y="16"/>
                      <a:pt x="47" y="15"/>
                    </a:cubicBezTo>
                    <a:cubicBezTo>
                      <a:pt x="50" y="7"/>
                      <a:pt x="50" y="7"/>
                      <a:pt x="50" y="7"/>
                    </a:cubicBezTo>
                    <a:cubicBezTo>
                      <a:pt x="41" y="2"/>
                      <a:pt x="41" y="2"/>
                      <a:pt x="41" y="2"/>
                    </a:cubicBezTo>
                    <a:cubicBezTo>
                      <a:pt x="36" y="9"/>
                      <a:pt x="36" y="9"/>
                      <a:pt x="36" y="9"/>
                    </a:cubicBezTo>
                    <a:cubicBezTo>
                      <a:pt x="34" y="8"/>
                      <a:pt x="32" y="8"/>
                      <a:pt x="30" y="8"/>
                    </a:cubicBezTo>
                    <a:cubicBezTo>
                      <a:pt x="27" y="0"/>
                      <a:pt x="27" y="0"/>
                      <a:pt x="27" y="0"/>
                    </a:cubicBezTo>
                    <a:cubicBezTo>
                      <a:pt x="17" y="3"/>
                      <a:pt x="17" y="3"/>
                      <a:pt x="17" y="3"/>
                    </a:cubicBezTo>
                    <a:cubicBezTo>
                      <a:pt x="18" y="11"/>
                      <a:pt x="18" y="11"/>
                      <a:pt x="18" y="11"/>
                    </a:cubicBezTo>
                    <a:cubicBezTo>
                      <a:pt x="17" y="12"/>
                      <a:pt x="16" y="13"/>
                      <a:pt x="15" y="14"/>
                    </a:cubicBezTo>
                    <a:cubicBezTo>
                      <a:pt x="7" y="11"/>
                      <a:pt x="7" y="11"/>
                      <a:pt x="7" y="11"/>
                    </a:cubicBezTo>
                    <a:cubicBezTo>
                      <a:pt x="2" y="20"/>
                      <a:pt x="2" y="20"/>
                      <a:pt x="2" y="20"/>
                    </a:cubicBezTo>
                    <a:cubicBezTo>
                      <a:pt x="8" y="25"/>
                      <a:pt x="8" y="25"/>
                      <a:pt x="8" y="25"/>
                    </a:cubicBezTo>
                    <a:cubicBezTo>
                      <a:pt x="8" y="27"/>
                      <a:pt x="7" y="28"/>
                      <a:pt x="7" y="30"/>
                    </a:cubicBezTo>
                    <a:cubicBezTo>
                      <a:pt x="0" y="33"/>
                      <a:pt x="0" y="33"/>
                      <a:pt x="0" y="33"/>
                    </a:cubicBezTo>
                    <a:cubicBezTo>
                      <a:pt x="2" y="43"/>
                      <a:pt x="2" y="43"/>
                      <a:pt x="2" y="43"/>
                    </a:cubicBezTo>
                    <a:cubicBezTo>
                      <a:pt x="11" y="42"/>
                      <a:pt x="11" y="42"/>
                      <a:pt x="11" y="42"/>
                    </a:cubicBezTo>
                    <a:cubicBezTo>
                      <a:pt x="12" y="44"/>
                      <a:pt x="13" y="45"/>
                      <a:pt x="14" y="47"/>
                    </a:cubicBezTo>
                    <a:cubicBezTo>
                      <a:pt x="11" y="54"/>
                      <a:pt x="11" y="54"/>
                      <a:pt x="11" y="54"/>
                    </a:cubicBezTo>
                    <a:cubicBezTo>
                      <a:pt x="20" y="59"/>
                      <a:pt x="20" y="59"/>
                      <a:pt x="20" y="59"/>
                    </a:cubicBezTo>
                    <a:cubicBezTo>
                      <a:pt x="25" y="53"/>
                      <a:pt x="25" y="53"/>
                      <a:pt x="25" y="53"/>
                    </a:cubicBezTo>
                    <a:cubicBezTo>
                      <a:pt x="26" y="53"/>
                      <a:pt x="28" y="53"/>
                      <a:pt x="30" y="53"/>
                    </a:cubicBezTo>
                    <a:cubicBezTo>
                      <a:pt x="33" y="61"/>
                      <a:pt x="33" y="61"/>
                      <a:pt x="33" y="61"/>
                    </a:cubicBezTo>
                    <a:cubicBezTo>
                      <a:pt x="43" y="58"/>
                      <a:pt x="43" y="58"/>
                      <a:pt x="43" y="58"/>
                    </a:cubicBezTo>
                    <a:cubicBezTo>
                      <a:pt x="42" y="50"/>
                      <a:pt x="42" y="50"/>
                      <a:pt x="42" y="50"/>
                    </a:cubicBezTo>
                    <a:cubicBezTo>
                      <a:pt x="44" y="49"/>
                      <a:pt x="45" y="48"/>
                      <a:pt x="46" y="47"/>
                    </a:cubicBezTo>
                    <a:cubicBezTo>
                      <a:pt x="54" y="50"/>
                      <a:pt x="54" y="50"/>
                      <a:pt x="54" y="50"/>
                    </a:cubicBezTo>
                    <a:cubicBezTo>
                      <a:pt x="59" y="41"/>
                      <a:pt x="59" y="41"/>
                      <a:pt x="59" y="41"/>
                    </a:cubicBezTo>
                    <a:cubicBezTo>
                      <a:pt x="52" y="36"/>
                      <a:pt x="52" y="36"/>
                      <a:pt x="52" y="36"/>
                    </a:cubicBezTo>
                    <a:cubicBezTo>
                      <a:pt x="53" y="34"/>
                      <a:pt x="53" y="33"/>
                      <a:pt x="53" y="31"/>
                    </a:cubicBezTo>
                    <a:lnTo>
                      <a:pt x="61" y="28"/>
                    </a:lnTo>
                    <a:close/>
                    <a:moveTo>
                      <a:pt x="28" y="26"/>
                    </a:moveTo>
                    <a:cubicBezTo>
                      <a:pt x="25" y="27"/>
                      <a:pt x="24" y="30"/>
                      <a:pt x="26" y="33"/>
                    </a:cubicBezTo>
                    <a:cubicBezTo>
                      <a:pt x="27" y="35"/>
                      <a:pt x="30" y="36"/>
                      <a:pt x="33" y="35"/>
                    </a:cubicBezTo>
                    <a:cubicBezTo>
                      <a:pt x="35" y="34"/>
                      <a:pt x="36" y="31"/>
                      <a:pt x="35" y="28"/>
                    </a:cubicBezTo>
                    <a:cubicBezTo>
                      <a:pt x="34" y="26"/>
                      <a:pt x="31" y="25"/>
                      <a:pt x="28"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6" name="Group 35"/>
          <p:cNvGrpSpPr/>
          <p:nvPr/>
        </p:nvGrpSpPr>
        <p:grpSpPr>
          <a:xfrm>
            <a:off x="1960130" y="1287473"/>
            <a:ext cx="1703740" cy="1645920"/>
            <a:chOff x="2797321" y="2364740"/>
            <a:chExt cx="2271062" cy="2194560"/>
          </a:xfrm>
        </p:grpSpPr>
        <p:sp>
          <p:nvSpPr>
            <p:cNvPr id="9" name="Rectangle 8"/>
            <p:cNvSpPr/>
            <p:nvPr/>
          </p:nvSpPr>
          <p:spPr bwMode="auto">
            <a:xfrm>
              <a:off x="2797321" y="2364740"/>
              <a:ext cx="2271062" cy="219456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23" fontAlgn="base">
                <a:lnSpc>
                  <a:spcPct val="90000"/>
                </a:lnSpc>
                <a:spcBef>
                  <a:spcPct val="0"/>
                </a:spcBef>
                <a:spcAft>
                  <a:spcPct val="0"/>
                </a:spcAft>
              </a:pPr>
              <a:endParaRPr lang="en-US" sz="1800" dirty="0">
                <a:solidFill>
                  <a:schemeClr val="bg1"/>
                </a:solidFill>
              </a:endParaRPr>
            </a:p>
            <a:p>
              <a:pPr algn="ctr" defTabSz="914023" fontAlgn="base">
                <a:lnSpc>
                  <a:spcPct val="90000"/>
                </a:lnSpc>
                <a:spcBef>
                  <a:spcPct val="0"/>
                </a:spcBef>
                <a:spcAft>
                  <a:spcPct val="0"/>
                </a:spcAft>
              </a:pPr>
              <a:endParaRPr lang="en-US" sz="1800" dirty="0">
                <a:solidFill>
                  <a:schemeClr val="bg1"/>
                </a:solidFill>
              </a:endParaRPr>
            </a:p>
            <a:p>
              <a:pPr algn="ctr" defTabSz="914023" fontAlgn="base">
                <a:lnSpc>
                  <a:spcPct val="90000"/>
                </a:lnSpc>
                <a:spcBef>
                  <a:spcPct val="0"/>
                </a:spcBef>
                <a:spcAft>
                  <a:spcPct val="0"/>
                </a:spcAft>
              </a:pPr>
              <a:endParaRPr lang="en-US" sz="1800" dirty="0">
                <a:solidFill>
                  <a:schemeClr val="bg1"/>
                </a:solidFill>
              </a:endParaRPr>
            </a:p>
            <a:p>
              <a:pPr algn="ctr" defTabSz="914023" fontAlgn="base">
                <a:lnSpc>
                  <a:spcPct val="90000"/>
                </a:lnSpc>
                <a:spcBef>
                  <a:spcPct val="0"/>
                </a:spcBef>
                <a:spcAft>
                  <a:spcPct val="0"/>
                </a:spcAft>
              </a:pPr>
              <a:endParaRPr lang="en-US" sz="1800" dirty="0">
                <a:solidFill>
                  <a:schemeClr val="bg1"/>
                </a:solidFill>
              </a:endParaRPr>
            </a:p>
            <a:p>
              <a:pPr algn="ctr" defTabSz="914023" fontAlgn="base">
                <a:lnSpc>
                  <a:spcPct val="90000"/>
                </a:lnSpc>
                <a:spcBef>
                  <a:spcPct val="0"/>
                </a:spcBef>
                <a:spcAft>
                  <a:spcPct val="0"/>
                </a:spcAft>
              </a:pPr>
              <a:endParaRPr lang="en-US" sz="1500" dirty="0">
                <a:solidFill>
                  <a:schemeClr val="bg1"/>
                </a:solidFill>
              </a:endParaRPr>
            </a:p>
            <a:p>
              <a:pPr lvl="0" algn="ctr"/>
              <a:r>
                <a:rPr lang="en-US" dirty="0" smtClean="0">
                  <a:gradFill>
                    <a:gsLst>
                      <a:gs pos="0">
                        <a:schemeClr val="tx1"/>
                      </a:gs>
                      <a:gs pos="86000">
                        <a:schemeClr val="tx1"/>
                      </a:gs>
                    </a:gsLst>
                    <a:lin ang="5400000" scaled="0"/>
                  </a:gradFill>
                </a:rPr>
                <a:t>SM 10 -&gt; SM 2012</a:t>
              </a:r>
              <a:endParaRPr lang="en-US" sz="800" dirty="0"/>
            </a:p>
          </p:txBody>
        </p:sp>
        <p:sp>
          <p:nvSpPr>
            <p:cNvPr id="27" name="Freeform 15"/>
            <p:cNvSpPr>
              <a:spLocks noEditPoints="1"/>
            </p:cNvSpPr>
            <p:nvPr/>
          </p:nvSpPr>
          <p:spPr bwMode="black">
            <a:xfrm>
              <a:off x="3266047" y="2631095"/>
              <a:ext cx="1069791" cy="1055934"/>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rgbClr val="FFFFFF"/>
            </a:solidFill>
            <a:ln>
              <a:noFill/>
            </a:ln>
          </p:spPr>
          <p:txBody>
            <a:bodyPr vert="horz" wrap="square" lIns="0" tIns="54861" rIns="109721" bIns="54861" numCol="1" anchor="t" anchorCtr="0" compatLnSpc="1">
              <a:prstTxWarp prst="textNoShape">
                <a:avLst/>
              </a:prstTxWarp>
            </a:bodyPr>
            <a:lstStyle/>
            <a:p>
              <a:pPr algn="ctr"/>
              <a:endParaRPr lang="en-US" sz="1600">
                <a:solidFill>
                  <a:schemeClr val="bg1"/>
                </a:solidFill>
              </a:endParaRPr>
            </a:p>
          </p:txBody>
        </p:sp>
      </p:grpSp>
      <p:grpSp>
        <p:nvGrpSpPr>
          <p:cNvPr id="37" name="Group 36"/>
          <p:cNvGrpSpPr/>
          <p:nvPr/>
        </p:nvGrpSpPr>
        <p:grpSpPr>
          <a:xfrm>
            <a:off x="3745114" y="1278730"/>
            <a:ext cx="3456472" cy="1645920"/>
            <a:chOff x="5068383" y="2350887"/>
            <a:chExt cx="4607429" cy="2194560"/>
          </a:xfrm>
        </p:grpSpPr>
        <p:grpSp>
          <p:nvGrpSpPr>
            <p:cNvPr id="7" name="Group 6"/>
            <p:cNvGrpSpPr/>
            <p:nvPr/>
          </p:nvGrpSpPr>
          <p:grpSpPr>
            <a:xfrm>
              <a:off x="5068383" y="2350887"/>
              <a:ext cx="4607429" cy="2194560"/>
              <a:chOff x="2742485" y="2364740"/>
              <a:chExt cx="2193989" cy="2194560"/>
            </a:xfrm>
            <a:solidFill>
              <a:srgbClr val="FF0000"/>
            </a:solidFill>
          </p:grpSpPr>
          <p:sp>
            <p:nvSpPr>
              <p:cNvPr id="20" name="Rectangle 19"/>
              <p:cNvSpPr>
                <a:spLocks noChangeAspect="1"/>
              </p:cNvSpPr>
              <p:nvPr/>
            </p:nvSpPr>
            <p:spPr bwMode="auto">
              <a:xfrm>
                <a:off x="2742485" y="2364740"/>
                <a:ext cx="2193989" cy="21945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0" bIns="27432" numCol="1" rtlCol="0" anchor="b" anchorCtr="0" compatLnSpc="1">
                <a:prstTxWarp prst="textNoShape">
                  <a:avLst/>
                </a:prstTxWarp>
              </a:bodyPr>
              <a:lstStyle/>
              <a:p>
                <a:pPr algn="ctr" defTabSz="914023" fontAlgn="base">
                  <a:lnSpc>
                    <a:spcPct val="90000"/>
                  </a:lnSpc>
                  <a:spcBef>
                    <a:spcPct val="0"/>
                  </a:spcBef>
                  <a:spcAft>
                    <a:spcPct val="0"/>
                  </a:spcAft>
                </a:pPr>
                <a:endParaRPr lang="en-US" dirty="0">
                  <a:solidFill>
                    <a:schemeClr val="bg1"/>
                  </a:solidFill>
                </a:endParaRPr>
              </a:p>
            </p:txBody>
          </p:sp>
          <p:grpSp>
            <p:nvGrpSpPr>
              <p:cNvPr id="21" name="Group 20"/>
              <p:cNvGrpSpPr/>
              <p:nvPr/>
            </p:nvGrpSpPr>
            <p:grpSpPr bwMode="black">
              <a:xfrm>
                <a:off x="3229369" y="2746000"/>
                <a:ext cx="1220222" cy="743243"/>
                <a:chOff x="10387012" y="4179366"/>
                <a:chExt cx="974739" cy="593718"/>
              </a:xfrm>
              <a:grpFill/>
            </p:grpSpPr>
            <p:sp>
              <p:nvSpPr>
                <p:cNvPr id="22" name="Freeform 26"/>
                <p:cNvSpPr>
                  <a:spLocks/>
                </p:cNvSpPr>
                <p:nvPr/>
              </p:nvSpPr>
              <p:spPr bwMode="black">
                <a:xfrm>
                  <a:off x="10506088" y="4258734"/>
                  <a:ext cx="706439"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0" tIns="45720" rIns="91440" bIns="45720" numCol="1" anchor="t" anchorCtr="0" compatLnSpc="1">
                  <a:prstTxWarp prst="textNoShape">
                    <a:avLst/>
                  </a:prstTxWarp>
                </a:bodyPr>
                <a:lstStyle/>
                <a:p>
                  <a:pPr algn="ctr"/>
                  <a:endParaRPr lang="en-US" sz="1600">
                    <a:solidFill>
                      <a:schemeClr val="bg1"/>
                    </a:solidFill>
                  </a:endParaRPr>
                </a:p>
              </p:txBody>
            </p:sp>
            <p:sp>
              <p:nvSpPr>
                <p:cNvPr id="23" name="Freeform 27"/>
                <p:cNvSpPr>
                  <a:spLocks/>
                </p:cNvSpPr>
                <p:nvPr/>
              </p:nvSpPr>
              <p:spPr bwMode="black">
                <a:xfrm>
                  <a:off x="10615627" y="4179366"/>
                  <a:ext cx="657226"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0" tIns="45720" rIns="91440" bIns="45720" numCol="1" anchor="t" anchorCtr="0" compatLnSpc="1">
                  <a:prstTxWarp prst="textNoShape">
                    <a:avLst/>
                  </a:prstTxWarp>
                </a:bodyPr>
                <a:lstStyle/>
                <a:p>
                  <a:pPr algn="ctr"/>
                  <a:endParaRPr lang="en-US" sz="1600">
                    <a:solidFill>
                      <a:schemeClr val="bg1"/>
                    </a:solidFill>
                  </a:endParaRPr>
                </a:p>
              </p:txBody>
            </p:sp>
            <p:sp>
              <p:nvSpPr>
                <p:cNvPr id="24" name="Freeform 28"/>
                <p:cNvSpPr>
                  <a:spLocks/>
                </p:cNvSpPr>
                <p:nvPr/>
              </p:nvSpPr>
              <p:spPr bwMode="black">
                <a:xfrm>
                  <a:off x="10536252" y="4544494"/>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0" tIns="45720" rIns="91440" bIns="45720" numCol="1" anchor="t" anchorCtr="0" compatLnSpc="1">
                  <a:prstTxWarp prst="textNoShape">
                    <a:avLst/>
                  </a:prstTxWarp>
                </a:bodyPr>
                <a:lstStyle/>
                <a:p>
                  <a:pPr algn="ctr"/>
                  <a:endParaRPr lang="en-US" sz="1600">
                    <a:solidFill>
                      <a:schemeClr val="bg1"/>
                    </a:solidFill>
                  </a:endParaRPr>
                </a:p>
              </p:txBody>
            </p:sp>
            <p:sp>
              <p:nvSpPr>
                <p:cNvPr id="25" name="Freeform 29"/>
                <p:cNvSpPr>
                  <a:spLocks/>
                </p:cNvSpPr>
                <p:nvPr/>
              </p:nvSpPr>
              <p:spPr bwMode="black">
                <a:xfrm>
                  <a:off x="11207763" y="4239687"/>
                  <a:ext cx="153988" cy="319089"/>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0" tIns="45720" rIns="91440" bIns="45720" numCol="1" anchor="t" anchorCtr="0" compatLnSpc="1">
                  <a:prstTxWarp prst="textNoShape">
                    <a:avLst/>
                  </a:prstTxWarp>
                </a:bodyPr>
                <a:lstStyle/>
                <a:p>
                  <a:pPr algn="ctr"/>
                  <a:endParaRPr lang="en-US" sz="1600">
                    <a:solidFill>
                      <a:schemeClr val="bg1"/>
                    </a:solidFill>
                  </a:endParaRPr>
                </a:p>
              </p:txBody>
            </p:sp>
            <p:sp>
              <p:nvSpPr>
                <p:cNvPr id="2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0" tIns="45720" rIns="91440" bIns="45720" numCol="1" anchor="t" anchorCtr="0" compatLnSpc="1">
                  <a:prstTxWarp prst="textNoShape">
                    <a:avLst/>
                  </a:prstTxWarp>
                </a:bodyPr>
                <a:lstStyle/>
                <a:p>
                  <a:pPr algn="ctr"/>
                  <a:endParaRPr lang="en-US" sz="1600">
                    <a:solidFill>
                      <a:schemeClr val="bg1"/>
                    </a:solidFill>
                  </a:endParaRPr>
                </a:p>
              </p:txBody>
            </p:sp>
          </p:grpSp>
        </p:grpSp>
        <p:sp>
          <p:nvSpPr>
            <p:cNvPr id="33" name="Freeform 14"/>
            <p:cNvSpPr>
              <a:spLocks noEditPoints="1"/>
            </p:cNvSpPr>
            <p:nvPr/>
          </p:nvSpPr>
          <p:spPr bwMode="black">
            <a:xfrm>
              <a:off x="8568707" y="2699985"/>
              <a:ext cx="824288" cy="824287"/>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chemeClr val="bg1"/>
                </a:solidFill>
              </a:endParaRPr>
            </a:p>
          </p:txBody>
        </p:sp>
        <p:sp>
          <p:nvSpPr>
            <p:cNvPr id="34" name="Rectangle 33"/>
            <p:cNvSpPr/>
            <p:nvPr/>
          </p:nvSpPr>
          <p:spPr>
            <a:xfrm>
              <a:off x="5463880" y="4033352"/>
              <a:ext cx="3816462" cy="400109"/>
            </a:xfrm>
            <a:prstGeom prst="rect">
              <a:avLst/>
            </a:prstGeom>
          </p:spPr>
          <p:txBody>
            <a:bodyPr wrap="none">
              <a:spAutoFit/>
            </a:bodyPr>
            <a:lstStyle/>
            <a:p>
              <a:pPr algn="ctr" defTabSz="914023" fontAlgn="base">
                <a:lnSpc>
                  <a:spcPct val="90000"/>
                </a:lnSpc>
                <a:spcBef>
                  <a:spcPct val="0"/>
                </a:spcBef>
                <a:spcAft>
                  <a:spcPct val="0"/>
                </a:spcAft>
              </a:pPr>
              <a:r>
                <a:rPr lang="en-US" sz="1500" dirty="0">
                  <a:solidFill>
                    <a:srgbClr val="FFFFFF"/>
                  </a:solidFill>
                </a:rPr>
                <a:t>Opalis 6.3 -&gt; Orchestrator 2012</a:t>
              </a:r>
            </a:p>
          </p:txBody>
        </p:sp>
      </p:grpSp>
      <p:grpSp>
        <p:nvGrpSpPr>
          <p:cNvPr id="54" name="Group 53"/>
          <p:cNvGrpSpPr/>
          <p:nvPr/>
        </p:nvGrpSpPr>
        <p:grpSpPr>
          <a:xfrm>
            <a:off x="7294596" y="1273015"/>
            <a:ext cx="1645920" cy="1645920"/>
            <a:chOff x="9723593" y="2422162"/>
            <a:chExt cx="2193989" cy="2194560"/>
          </a:xfrm>
        </p:grpSpPr>
        <p:sp>
          <p:nvSpPr>
            <p:cNvPr id="38" name="Rectangle 37"/>
            <p:cNvSpPr>
              <a:spLocks noChangeAspect="1"/>
            </p:cNvSpPr>
            <p:nvPr/>
          </p:nvSpPr>
          <p:spPr bwMode="auto">
            <a:xfrm>
              <a:off x="9723593" y="2422162"/>
              <a:ext cx="2193989" cy="2194560"/>
            </a:xfrm>
            <a:prstGeom prst="rect">
              <a:avLst/>
            </a:prstGeom>
            <a:solidFill>
              <a:srgbClr val="551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0" bIns="27432" numCol="1" rtlCol="0" anchor="b" anchorCtr="0" compatLnSpc="1">
              <a:prstTxWarp prst="textNoShape">
                <a:avLst/>
              </a:prstTxWarp>
            </a:bodyPr>
            <a:lstStyle/>
            <a:p>
              <a:pPr algn="ctr" defTabSz="914023" fontAlgn="base">
                <a:lnSpc>
                  <a:spcPct val="90000"/>
                </a:lnSpc>
                <a:spcBef>
                  <a:spcPct val="0"/>
                </a:spcBef>
                <a:spcAft>
                  <a:spcPct val="0"/>
                </a:spcAft>
              </a:pPr>
              <a:r>
                <a:rPr lang="en-US" sz="1500" dirty="0">
                  <a:solidFill>
                    <a:srgbClr val="FFFFFF"/>
                  </a:solidFill>
                </a:rPr>
                <a:t>Better together</a:t>
              </a:r>
            </a:p>
          </p:txBody>
        </p:sp>
        <p:pic>
          <p:nvPicPr>
            <p:cNvPr id="39" name="Picture 48" descr="C:\Users\sakuu\Documents\Ballmer MGX 2011\Tile Icons\Calendar Engineering.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black">
            <a:xfrm>
              <a:off x="10520726" y="2623451"/>
              <a:ext cx="834579" cy="881552"/>
            </a:xfrm>
            <a:prstGeom prst="rect">
              <a:avLst/>
            </a:prstGeom>
            <a:noFill/>
            <a:extLst>
              <a:ext uri="{909E8E84-426E-40DD-AFC4-6F175D3DCCD1}">
                <a14:hiddenFill xmlns:a14="http://schemas.microsoft.com/office/drawing/2010/main">
                  <a:solidFill>
                    <a:srgbClr val="FFFFFF"/>
                  </a:solidFill>
                </a14:hiddenFill>
              </a:ext>
            </a:extLst>
          </p:spPr>
        </p:pic>
      </p:grpSp>
      <p:sp>
        <p:nvSpPr>
          <p:cNvPr id="55" name="Red"/>
          <p:cNvSpPr/>
          <p:nvPr/>
        </p:nvSpPr>
        <p:spPr bwMode="auto">
          <a:xfrm>
            <a:off x="4286175" y="3314701"/>
            <a:ext cx="3029739" cy="1330357"/>
          </a:xfrm>
          <a:prstGeom prst="roundRect">
            <a:avLst>
              <a:gd name="adj" fmla="val 0"/>
            </a:avLst>
          </a:prstGeom>
          <a:solidFill>
            <a:schemeClr val="accent5"/>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p:txBody>
      </p:sp>
      <p:graphicFrame>
        <p:nvGraphicFramePr>
          <p:cNvPr id="56" name="Diagram 55"/>
          <p:cNvGraphicFramePr/>
          <p:nvPr>
            <p:extLst>
              <p:ext uri="{D42A27DB-BD31-4B8C-83A1-F6EECF244321}">
                <p14:modId xmlns:p14="http://schemas.microsoft.com/office/powerpoint/2010/main" val="3668042330"/>
              </p:ext>
            </p:extLst>
          </p:nvPr>
        </p:nvGraphicFramePr>
        <p:xfrm>
          <a:off x="4457888" y="3443788"/>
          <a:ext cx="2829710" cy="1071062"/>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57" name="Icon-Ideas"/>
          <p:cNvSpPr>
            <a:spLocks noEditPoints="1"/>
          </p:cNvSpPr>
          <p:nvPr/>
        </p:nvSpPr>
        <p:spPr bwMode="auto">
          <a:xfrm>
            <a:off x="4303276" y="3796272"/>
            <a:ext cx="876104" cy="775728"/>
          </a:xfrm>
          <a:custGeom>
            <a:avLst/>
            <a:gdLst>
              <a:gd name="T0" fmla="*/ 751 w 3306"/>
              <a:gd name="T1" fmla="*/ 1653 h 2928"/>
              <a:gd name="T2" fmla="*/ 1178 w 3306"/>
              <a:gd name="T3" fmla="*/ 2807 h 2928"/>
              <a:gd name="T4" fmla="*/ 2006 w 3306"/>
              <a:gd name="T5" fmla="*/ 2928 h 2928"/>
              <a:gd name="T6" fmla="*/ 2127 w 3306"/>
              <a:gd name="T7" fmla="*/ 2420 h 2928"/>
              <a:gd name="T8" fmla="*/ 1653 w 3306"/>
              <a:gd name="T9" fmla="*/ 751 h 2928"/>
              <a:gd name="T10" fmla="*/ 1421 w 3306"/>
              <a:gd name="T11" fmla="*/ 2685 h 2928"/>
              <a:gd name="T12" fmla="*/ 1653 w 3306"/>
              <a:gd name="T13" fmla="*/ 2555 h 2928"/>
              <a:gd name="T14" fmla="*/ 1884 w 3306"/>
              <a:gd name="T15" fmla="*/ 2685 h 2928"/>
              <a:gd name="T16" fmla="*/ 994 w 3306"/>
              <a:gd name="T17" fmla="*/ 1653 h 2928"/>
              <a:gd name="T18" fmla="*/ 2312 w 3306"/>
              <a:gd name="T19" fmla="*/ 1653 h 2928"/>
              <a:gd name="T20" fmla="*/ 1532 w 3306"/>
              <a:gd name="T21" fmla="*/ 501 h 2928"/>
              <a:gd name="T22" fmla="*/ 1653 w 3306"/>
              <a:gd name="T23" fmla="*/ 0 h 2928"/>
              <a:gd name="T24" fmla="*/ 1774 w 3306"/>
              <a:gd name="T25" fmla="*/ 501 h 2928"/>
              <a:gd name="T26" fmla="*/ 1532 w 3306"/>
              <a:gd name="T27" fmla="*/ 501 h 2928"/>
              <a:gd name="T28" fmla="*/ 2382 w 3306"/>
              <a:gd name="T29" fmla="*/ 752 h 2928"/>
              <a:gd name="T30" fmla="*/ 2822 w 3306"/>
              <a:gd name="T31" fmla="*/ 484 h 2928"/>
              <a:gd name="T32" fmla="*/ 2553 w 3306"/>
              <a:gd name="T33" fmla="*/ 924 h 2928"/>
              <a:gd name="T34" fmla="*/ 2382 w 3306"/>
              <a:gd name="T35" fmla="*/ 924 h 2928"/>
              <a:gd name="T36" fmla="*/ 924 w 3306"/>
              <a:gd name="T37" fmla="*/ 2554 h 2928"/>
              <a:gd name="T38" fmla="*/ 570 w 3306"/>
              <a:gd name="T39" fmla="*/ 2858 h 2928"/>
              <a:gd name="T40" fmla="*/ 484 w 3306"/>
              <a:gd name="T41" fmla="*/ 2650 h 2928"/>
              <a:gd name="T42" fmla="*/ 924 w 3306"/>
              <a:gd name="T43" fmla="*/ 2382 h 2928"/>
              <a:gd name="T44" fmla="*/ 3185 w 3306"/>
              <a:gd name="T45" fmla="*/ 1775 h 2928"/>
              <a:gd name="T46" fmla="*/ 2684 w 3306"/>
              <a:gd name="T47" fmla="*/ 1653 h 2928"/>
              <a:gd name="T48" fmla="*/ 3185 w 3306"/>
              <a:gd name="T49" fmla="*/ 1532 h 2928"/>
              <a:gd name="T50" fmla="*/ 500 w 3306"/>
              <a:gd name="T51" fmla="*/ 1775 h 2928"/>
              <a:gd name="T52" fmla="*/ 0 w 3306"/>
              <a:gd name="T53" fmla="*/ 1653 h 2928"/>
              <a:gd name="T54" fmla="*/ 500 w 3306"/>
              <a:gd name="T55" fmla="*/ 1532 h 2928"/>
              <a:gd name="T56" fmla="*/ 500 w 3306"/>
              <a:gd name="T57" fmla="*/ 1775 h 2928"/>
              <a:gd name="T58" fmla="*/ 2822 w 3306"/>
              <a:gd name="T59" fmla="*/ 2822 h 2928"/>
              <a:gd name="T60" fmla="*/ 2650 w 3306"/>
              <a:gd name="T61" fmla="*/ 2822 h 2928"/>
              <a:gd name="T62" fmla="*/ 2382 w 3306"/>
              <a:gd name="T63" fmla="*/ 2382 h 2928"/>
              <a:gd name="T64" fmla="*/ 2822 w 3306"/>
              <a:gd name="T65" fmla="*/ 2650 h 2928"/>
              <a:gd name="T66" fmla="*/ 484 w 3306"/>
              <a:gd name="T67" fmla="*/ 484 h 2928"/>
              <a:gd name="T68" fmla="*/ 924 w 3306"/>
              <a:gd name="T69" fmla="*/ 752 h 2928"/>
              <a:gd name="T70" fmla="*/ 838 w 3306"/>
              <a:gd name="T71" fmla="*/ 960 h 2928"/>
              <a:gd name="T72" fmla="*/ 484 w 3306"/>
              <a:gd name="T73" fmla="*/ 656 h 2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306" h="2928">
                <a:moveTo>
                  <a:pt x="1653" y="751"/>
                </a:moveTo>
                <a:cubicBezTo>
                  <a:pt x="1155" y="751"/>
                  <a:pt x="751" y="1156"/>
                  <a:pt x="751" y="1653"/>
                </a:cubicBezTo>
                <a:cubicBezTo>
                  <a:pt x="751" y="1977"/>
                  <a:pt x="922" y="2260"/>
                  <a:pt x="1178" y="2420"/>
                </a:cubicBezTo>
                <a:cubicBezTo>
                  <a:pt x="1178" y="2807"/>
                  <a:pt x="1178" y="2807"/>
                  <a:pt x="1178" y="2807"/>
                </a:cubicBezTo>
                <a:cubicBezTo>
                  <a:pt x="1178" y="2874"/>
                  <a:pt x="1233" y="2928"/>
                  <a:pt x="1300" y="2928"/>
                </a:cubicBezTo>
                <a:cubicBezTo>
                  <a:pt x="2006" y="2928"/>
                  <a:pt x="2006" y="2928"/>
                  <a:pt x="2006" y="2928"/>
                </a:cubicBezTo>
                <a:cubicBezTo>
                  <a:pt x="2073" y="2928"/>
                  <a:pt x="2127" y="2874"/>
                  <a:pt x="2127" y="2807"/>
                </a:cubicBezTo>
                <a:cubicBezTo>
                  <a:pt x="2127" y="2420"/>
                  <a:pt x="2127" y="2420"/>
                  <a:pt x="2127" y="2420"/>
                </a:cubicBezTo>
                <a:cubicBezTo>
                  <a:pt x="2384" y="2260"/>
                  <a:pt x="2555" y="1977"/>
                  <a:pt x="2555" y="1653"/>
                </a:cubicBezTo>
                <a:cubicBezTo>
                  <a:pt x="2555" y="1156"/>
                  <a:pt x="2150" y="751"/>
                  <a:pt x="1653" y="751"/>
                </a:cubicBezTo>
                <a:close/>
                <a:moveTo>
                  <a:pt x="1884" y="2685"/>
                </a:moveTo>
                <a:cubicBezTo>
                  <a:pt x="1421" y="2685"/>
                  <a:pt x="1421" y="2685"/>
                  <a:pt x="1421" y="2685"/>
                </a:cubicBezTo>
                <a:cubicBezTo>
                  <a:pt x="1421" y="2525"/>
                  <a:pt x="1421" y="2525"/>
                  <a:pt x="1421" y="2525"/>
                </a:cubicBezTo>
                <a:cubicBezTo>
                  <a:pt x="1495" y="2544"/>
                  <a:pt x="1573" y="2555"/>
                  <a:pt x="1653" y="2555"/>
                </a:cubicBezTo>
                <a:cubicBezTo>
                  <a:pt x="1733" y="2555"/>
                  <a:pt x="1810" y="2544"/>
                  <a:pt x="1884" y="2525"/>
                </a:cubicBezTo>
                <a:lnTo>
                  <a:pt x="1884" y="2685"/>
                </a:lnTo>
                <a:close/>
                <a:moveTo>
                  <a:pt x="1653" y="2312"/>
                </a:moveTo>
                <a:cubicBezTo>
                  <a:pt x="1289" y="2312"/>
                  <a:pt x="994" y="2016"/>
                  <a:pt x="994" y="1653"/>
                </a:cubicBezTo>
                <a:cubicBezTo>
                  <a:pt x="994" y="1290"/>
                  <a:pt x="1289" y="994"/>
                  <a:pt x="1653" y="994"/>
                </a:cubicBezTo>
                <a:cubicBezTo>
                  <a:pt x="2016" y="994"/>
                  <a:pt x="2312" y="1290"/>
                  <a:pt x="2312" y="1653"/>
                </a:cubicBezTo>
                <a:cubicBezTo>
                  <a:pt x="2312" y="2016"/>
                  <a:pt x="2016" y="2312"/>
                  <a:pt x="1653" y="2312"/>
                </a:cubicBezTo>
                <a:close/>
                <a:moveTo>
                  <a:pt x="1532" y="501"/>
                </a:moveTo>
                <a:cubicBezTo>
                  <a:pt x="1532" y="121"/>
                  <a:pt x="1532" y="121"/>
                  <a:pt x="1532" y="121"/>
                </a:cubicBezTo>
                <a:cubicBezTo>
                  <a:pt x="1532" y="54"/>
                  <a:pt x="1586" y="0"/>
                  <a:pt x="1653" y="0"/>
                </a:cubicBezTo>
                <a:cubicBezTo>
                  <a:pt x="1720" y="0"/>
                  <a:pt x="1774" y="54"/>
                  <a:pt x="1774" y="121"/>
                </a:cubicBezTo>
                <a:cubicBezTo>
                  <a:pt x="1774" y="501"/>
                  <a:pt x="1774" y="501"/>
                  <a:pt x="1774" y="501"/>
                </a:cubicBezTo>
                <a:cubicBezTo>
                  <a:pt x="1774" y="568"/>
                  <a:pt x="1720" y="622"/>
                  <a:pt x="1653" y="622"/>
                </a:cubicBezTo>
                <a:cubicBezTo>
                  <a:pt x="1586" y="622"/>
                  <a:pt x="1532" y="568"/>
                  <a:pt x="1532" y="501"/>
                </a:cubicBezTo>
                <a:close/>
                <a:moveTo>
                  <a:pt x="2382" y="924"/>
                </a:moveTo>
                <a:cubicBezTo>
                  <a:pt x="2334" y="877"/>
                  <a:pt x="2334" y="800"/>
                  <a:pt x="2382" y="752"/>
                </a:cubicBezTo>
                <a:cubicBezTo>
                  <a:pt x="2650" y="484"/>
                  <a:pt x="2650" y="484"/>
                  <a:pt x="2650" y="484"/>
                </a:cubicBezTo>
                <a:cubicBezTo>
                  <a:pt x="2697" y="437"/>
                  <a:pt x="2774" y="437"/>
                  <a:pt x="2822" y="484"/>
                </a:cubicBezTo>
                <a:cubicBezTo>
                  <a:pt x="2869" y="531"/>
                  <a:pt x="2869" y="608"/>
                  <a:pt x="2822" y="656"/>
                </a:cubicBezTo>
                <a:cubicBezTo>
                  <a:pt x="2553" y="924"/>
                  <a:pt x="2553" y="924"/>
                  <a:pt x="2553" y="924"/>
                </a:cubicBezTo>
                <a:cubicBezTo>
                  <a:pt x="2530" y="948"/>
                  <a:pt x="2499" y="960"/>
                  <a:pt x="2468" y="960"/>
                </a:cubicBezTo>
                <a:cubicBezTo>
                  <a:pt x="2436" y="960"/>
                  <a:pt x="2405" y="948"/>
                  <a:pt x="2382" y="924"/>
                </a:cubicBezTo>
                <a:close/>
                <a:moveTo>
                  <a:pt x="924" y="2382"/>
                </a:moveTo>
                <a:cubicBezTo>
                  <a:pt x="971" y="2429"/>
                  <a:pt x="971" y="2506"/>
                  <a:pt x="924" y="2554"/>
                </a:cubicBezTo>
                <a:cubicBezTo>
                  <a:pt x="656" y="2822"/>
                  <a:pt x="656" y="2822"/>
                  <a:pt x="656" y="2822"/>
                </a:cubicBezTo>
                <a:cubicBezTo>
                  <a:pt x="632" y="2846"/>
                  <a:pt x="600" y="2858"/>
                  <a:pt x="570" y="2858"/>
                </a:cubicBezTo>
                <a:cubicBezTo>
                  <a:pt x="539" y="2858"/>
                  <a:pt x="507" y="2846"/>
                  <a:pt x="484" y="2822"/>
                </a:cubicBezTo>
                <a:cubicBezTo>
                  <a:pt x="436" y="2775"/>
                  <a:pt x="436" y="2698"/>
                  <a:pt x="484" y="2650"/>
                </a:cubicBezTo>
                <a:cubicBezTo>
                  <a:pt x="752" y="2382"/>
                  <a:pt x="752" y="2382"/>
                  <a:pt x="752" y="2382"/>
                </a:cubicBezTo>
                <a:cubicBezTo>
                  <a:pt x="800" y="2335"/>
                  <a:pt x="877" y="2335"/>
                  <a:pt x="924" y="2382"/>
                </a:cubicBezTo>
                <a:close/>
                <a:moveTo>
                  <a:pt x="3306" y="1653"/>
                </a:moveTo>
                <a:cubicBezTo>
                  <a:pt x="3306" y="1720"/>
                  <a:pt x="3252" y="1775"/>
                  <a:pt x="3185" y="1775"/>
                </a:cubicBezTo>
                <a:cubicBezTo>
                  <a:pt x="2805" y="1775"/>
                  <a:pt x="2805" y="1775"/>
                  <a:pt x="2805" y="1775"/>
                </a:cubicBezTo>
                <a:cubicBezTo>
                  <a:pt x="2738" y="1775"/>
                  <a:pt x="2684" y="1720"/>
                  <a:pt x="2684" y="1653"/>
                </a:cubicBezTo>
                <a:cubicBezTo>
                  <a:pt x="2684" y="1586"/>
                  <a:pt x="2738" y="1532"/>
                  <a:pt x="2805" y="1532"/>
                </a:cubicBezTo>
                <a:cubicBezTo>
                  <a:pt x="3185" y="1532"/>
                  <a:pt x="3185" y="1532"/>
                  <a:pt x="3185" y="1532"/>
                </a:cubicBezTo>
                <a:cubicBezTo>
                  <a:pt x="3252" y="1532"/>
                  <a:pt x="3306" y="1586"/>
                  <a:pt x="3306" y="1653"/>
                </a:cubicBezTo>
                <a:close/>
                <a:moveTo>
                  <a:pt x="500" y="1775"/>
                </a:moveTo>
                <a:cubicBezTo>
                  <a:pt x="121" y="1775"/>
                  <a:pt x="121" y="1775"/>
                  <a:pt x="121" y="1775"/>
                </a:cubicBezTo>
                <a:cubicBezTo>
                  <a:pt x="54" y="1775"/>
                  <a:pt x="0" y="1720"/>
                  <a:pt x="0" y="1653"/>
                </a:cubicBezTo>
                <a:cubicBezTo>
                  <a:pt x="0" y="1586"/>
                  <a:pt x="54" y="1532"/>
                  <a:pt x="121" y="1532"/>
                </a:cubicBezTo>
                <a:cubicBezTo>
                  <a:pt x="500" y="1532"/>
                  <a:pt x="500" y="1532"/>
                  <a:pt x="500" y="1532"/>
                </a:cubicBezTo>
                <a:cubicBezTo>
                  <a:pt x="568" y="1532"/>
                  <a:pt x="622" y="1586"/>
                  <a:pt x="622" y="1653"/>
                </a:cubicBezTo>
                <a:cubicBezTo>
                  <a:pt x="622" y="1720"/>
                  <a:pt x="568" y="1775"/>
                  <a:pt x="500" y="1775"/>
                </a:cubicBezTo>
                <a:close/>
                <a:moveTo>
                  <a:pt x="2822" y="2650"/>
                </a:moveTo>
                <a:cubicBezTo>
                  <a:pt x="2869" y="2698"/>
                  <a:pt x="2869" y="2775"/>
                  <a:pt x="2822" y="2822"/>
                </a:cubicBezTo>
                <a:cubicBezTo>
                  <a:pt x="2798" y="2846"/>
                  <a:pt x="2767" y="2857"/>
                  <a:pt x="2736" y="2857"/>
                </a:cubicBezTo>
                <a:cubicBezTo>
                  <a:pt x="2705" y="2857"/>
                  <a:pt x="2674" y="2846"/>
                  <a:pt x="2650" y="2822"/>
                </a:cubicBezTo>
                <a:cubicBezTo>
                  <a:pt x="2382" y="2554"/>
                  <a:pt x="2382" y="2554"/>
                  <a:pt x="2382" y="2554"/>
                </a:cubicBezTo>
                <a:cubicBezTo>
                  <a:pt x="2334" y="2506"/>
                  <a:pt x="2334" y="2429"/>
                  <a:pt x="2382" y="2382"/>
                </a:cubicBezTo>
                <a:cubicBezTo>
                  <a:pt x="2429" y="2335"/>
                  <a:pt x="2506" y="2335"/>
                  <a:pt x="2553" y="2382"/>
                </a:cubicBezTo>
                <a:lnTo>
                  <a:pt x="2822" y="2650"/>
                </a:lnTo>
                <a:close/>
                <a:moveTo>
                  <a:pt x="484" y="656"/>
                </a:moveTo>
                <a:cubicBezTo>
                  <a:pt x="436" y="608"/>
                  <a:pt x="436" y="531"/>
                  <a:pt x="484" y="484"/>
                </a:cubicBezTo>
                <a:cubicBezTo>
                  <a:pt x="531" y="437"/>
                  <a:pt x="608" y="437"/>
                  <a:pt x="656" y="484"/>
                </a:cubicBezTo>
                <a:cubicBezTo>
                  <a:pt x="924" y="752"/>
                  <a:pt x="924" y="752"/>
                  <a:pt x="924" y="752"/>
                </a:cubicBezTo>
                <a:cubicBezTo>
                  <a:pt x="971" y="800"/>
                  <a:pt x="971" y="877"/>
                  <a:pt x="924" y="924"/>
                </a:cubicBezTo>
                <a:cubicBezTo>
                  <a:pt x="900" y="948"/>
                  <a:pt x="869" y="960"/>
                  <a:pt x="838" y="960"/>
                </a:cubicBezTo>
                <a:cubicBezTo>
                  <a:pt x="807" y="960"/>
                  <a:pt x="776" y="948"/>
                  <a:pt x="752" y="924"/>
                </a:cubicBezTo>
                <a:lnTo>
                  <a:pt x="484" y="65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6" tIns="34294" rIns="68586" bIns="34294" numCol="1" anchor="t" anchorCtr="0" compatLnSpc="1">
            <a:prstTxWarp prst="textNoShape">
              <a:avLst/>
            </a:prstTxWarp>
          </a:bodyPr>
          <a:lstStyle/>
          <a:p>
            <a:endParaRPr lang="en-US"/>
          </a:p>
        </p:txBody>
      </p:sp>
      <p:sp>
        <p:nvSpPr>
          <p:cNvPr id="58" name="TextBox 57"/>
          <p:cNvSpPr txBox="1"/>
          <p:nvPr/>
        </p:nvSpPr>
        <p:spPr>
          <a:xfrm>
            <a:off x="5054104" y="3829050"/>
            <a:ext cx="2172266" cy="470898"/>
          </a:xfrm>
          <a:prstGeom prst="rect">
            <a:avLst/>
          </a:prstGeom>
          <a:noFill/>
        </p:spPr>
        <p:txBody>
          <a:bodyPr wrap="square" lIns="68586" tIns="68586" rIns="68586" bIns="68586" rtlCol="0">
            <a:spAutoFit/>
          </a:bodyPr>
          <a:lstStyle/>
          <a:p>
            <a:pPr>
              <a:lnSpc>
                <a:spcPct val="90000"/>
              </a:lnSpc>
              <a:spcBef>
                <a:spcPct val="20000"/>
              </a:spcBef>
              <a:buClr>
                <a:srgbClr val="84A8D8"/>
              </a:buClr>
              <a:buSzPct val="100000"/>
            </a:pPr>
            <a:r>
              <a:rPr lang="en-US" sz="2400" dirty="0">
                <a:solidFill>
                  <a:schemeClr val="tx1">
                    <a:alpha val="99000"/>
                  </a:schemeClr>
                </a:solidFill>
              </a:rPr>
              <a:t>Key Takeaways</a:t>
            </a:r>
          </a:p>
        </p:txBody>
      </p:sp>
      <p:sp>
        <p:nvSpPr>
          <p:cNvPr id="40"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41"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1"/>
              </a:rPr>
              <a:t>www.rapidbbs.cn</a:t>
            </a:r>
            <a:endParaRPr lang="zh-CN" altLang="en-US" sz="1200" b="0">
              <a:latin typeface="Arial" charset="0"/>
              <a:ea typeface="ＭＳ Ｐゴシック" pitchFamily="34" charset="-128"/>
            </a:endParaRPr>
          </a:p>
        </p:txBody>
      </p:sp>
      <p:pic>
        <p:nvPicPr>
          <p:cNvPr id="42" name="Picture 2">
            <a:hlinkClick r:id="rId11"/>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317240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58"/>
                                        </p:tgtEl>
                                        <p:attrNameLst>
                                          <p:attrName>style.visibility</p:attrName>
                                        </p:attrNameLst>
                                      </p:cBhvr>
                                      <p:to>
                                        <p:strVal val="hidden"/>
                                      </p:to>
                                    </p:set>
                                  </p:childTnLst>
                                </p:cTn>
                              </p:par>
                              <p:par>
                                <p:cTn id="7" presetID="42" presetClass="entr" presetSubtype="0" fill="hold" grpId="0" nodeType="withEffect">
                                  <p:stCondLst>
                                    <p:cond delay="0"/>
                                  </p:stCondLst>
                                  <p:childTnLst>
                                    <p:set>
                                      <p:cBhvr>
                                        <p:cTn id="8" dur="1" fill="hold">
                                          <p:stCondLst>
                                            <p:cond delay="0"/>
                                          </p:stCondLst>
                                        </p:cTn>
                                        <p:tgtEl>
                                          <p:spTgt spid="56"/>
                                        </p:tgtEl>
                                        <p:attrNameLst>
                                          <p:attrName>style.visibility</p:attrName>
                                        </p:attrNameLst>
                                      </p:cBhvr>
                                      <p:to>
                                        <p:strVal val="visible"/>
                                      </p:to>
                                    </p:set>
                                    <p:animEffect transition="in" filter="fade">
                                      <p:cBhvr>
                                        <p:cTn id="9" dur="1000"/>
                                        <p:tgtEl>
                                          <p:spTgt spid="56"/>
                                        </p:tgtEl>
                                      </p:cBhvr>
                                    </p:animEffect>
                                    <p:anim calcmode="lin" valueType="num">
                                      <p:cBhvr>
                                        <p:cTn id="10" dur="1000" fill="hold"/>
                                        <p:tgtEl>
                                          <p:spTgt spid="56"/>
                                        </p:tgtEl>
                                        <p:attrNameLst>
                                          <p:attrName>ppt_x</p:attrName>
                                        </p:attrNameLst>
                                      </p:cBhvr>
                                      <p:tavLst>
                                        <p:tav tm="0">
                                          <p:val>
                                            <p:strVal val="#ppt_x"/>
                                          </p:val>
                                        </p:tav>
                                        <p:tav tm="100000">
                                          <p:val>
                                            <p:strVal val="#ppt_x"/>
                                          </p:val>
                                        </p:tav>
                                      </p:tavLst>
                                    </p:anim>
                                    <p:anim calcmode="lin" valueType="num">
                                      <p:cBhvr>
                                        <p:cTn id="11" dur="1000" fill="hold"/>
                                        <p:tgtEl>
                                          <p:spTgt spid="5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6" grpId="0">
        <p:bldAsOne/>
      </p:bldGraphic>
      <p:bldP spid="58" grpId="0"/>
    </p:bldLst>
  </p:timing>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Box 25"/>
          <p:cNvSpPr txBox="1"/>
          <p:nvPr/>
        </p:nvSpPr>
        <p:spPr>
          <a:xfrm>
            <a:off x="1668036" y="3311115"/>
            <a:ext cx="2903964" cy="596528"/>
          </a:xfrm>
          <a:prstGeom prst="rect">
            <a:avLst/>
          </a:prstGeom>
          <a:solidFill>
            <a:schemeClr val="accent1"/>
          </a:solidFill>
        </p:spPr>
        <p:txBody>
          <a:bodyPr wrap="square" lIns="68586" tIns="34294" rIns="68586" bIns="34294" rtlCol="0">
            <a:noAutofit/>
          </a:bodyPr>
          <a:lstStyle/>
          <a:p>
            <a:pPr algn="ctr" defTabSz="685862"/>
            <a:endParaRPr lang="en-US" sz="1100" b="1" dirty="0">
              <a:solidFill>
                <a:srgbClr val="FFFFFF"/>
              </a:solidFill>
            </a:endParaRPr>
          </a:p>
        </p:txBody>
      </p:sp>
      <p:sp>
        <p:nvSpPr>
          <p:cNvPr id="27" name="TextBox 26"/>
          <p:cNvSpPr txBox="1"/>
          <p:nvPr/>
        </p:nvSpPr>
        <p:spPr bwMode="black">
          <a:xfrm>
            <a:off x="1770922" y="3470879"/>
            <a:ext cx="2675305" cy="276999"/>
          </a:xfrm>
          <a:prstGeom prst="rect">
            <a:avLst/>
          </a:prstGeom>
          <a:noFill/>
        </p:spPr>
        <p:txBody>
          <a:bodyPr wrap="square" lIns="61735" tIns="0" rIns="0" bIns="0" rtlCol="0">
            <a:spAutoFit/>
          </a:bodyPr>
          <a:lstStyle/>
          <a:p>
            <a:r>
              <a:rPr lang="en-US" sz="1800" dirty="0"/>
              <a:t>Emily: Application Owner</a:t>
            </a:r>
          </a:p>
        </p:txBody>
      </p:sp>
      <p:sp>
        <p:nvSpPr>
          <p:cNvPr id="22" name="TextBox 21"/>
          <p:cNvSpPr txBox="1"/>
          <p:nvPr/>
        </p:nvSpPr>
        <p:spPr>
          <a:xfrm>
            <a:off x="4229012" y="1200151"/>
            <a:ext cx="3246953" cy="596528"/>
          </a:xfrm>
          <a:prstGeom prst="rect">
            <a:avLst/>
          </a:prstGeom>
          <a:solidFill>
            <a:schemeClr val="accent1"/>
          </a:solidFill>
        </p:spPr>
        <p:txBody>
          <a:bodyPr wrap="square" lIns="68586" tIns="34294" rIns="68586" bIns="34294" rtlCol="0">
            <a:noAutofit/>
          </a:bodyPr>
          <a:lstStyle/>
          <a:p>
            <a:pPr algn="ctr" defTabSz="685862"/>
            <a:endParaRPr lang="en-US" sz="1100" b="1" dirty="0">
              <a:solidFill>
                <a:srgbClr val="FFFFFF"/>
              </a:solidFill>
            </a:endParaRPr>
          </a:p>
        </p:txBody>
      </p:sp>
      <p:sp>
        <p:nvSpPr>
          <p:cNvPr id="23" name="TextBox 22"/>
          <p:cNvSpPr txBox="1"/>
          <p:nvPr/>
        </p:nvSpPr>
        <p:spPr bwMode="black">
          <a:xfrm>
            <a:off x="4274732" y="1359914"/>
            <a:ext cx="3201233" cy="276999"/>
          </a:xfrm>
          <a:prstGeom prst="rect">
            <a:avLst/>
          </a:prstGeom>
          <a:noFill/>
        </p:spPr>
        <p:txBody>
          <a:bodyPr wrap="square" lIns="61735" tIns="0" rIns="0" bIns="0" rtlCol="0">
            <a:spAutoFit/>
          </a:bodyPr>
          <a:lstStyle/>
          <a:p>
            <a:r>
              <a:rPr lang="en-US" sz="1800" dirty="0"/>
              <a:t>Jeff: Datacenter Administrator</a:t>
            </a:r>
          </a:p>
        </p:txBody>
      </p:sp>
      <p:sp>
        <p:nvSpPr>
          <p:cNvPr id="2" name="Title 1"/>
          <p:cNvSpPr>
            <a:spLocks noGrp="1"/>
          </p:cNvSpPr>
          <p:nvPr>
            <p:ph type="title"/>
          </p:nvPr>
        </p:nvSpPr>
        <p:spPr/>
        <p:txBody>
          <a:bodyPr/>
          <a:lstStyle/>
          <a:p>
            <a:r>
              <a:rPr lang="en-US" dirty="0" smtClean="0"/>
              <a:t>Datacenter Characters – An Introduction</a:t>
            </a:r>
            <a:endParaRPr lang="en-US" dirty="0"/>
          </a:p>
        </p:txBody>
      </p:sp>
      <p:grpSp>
        <p:nvGrpSpPr>
          <p:cNvPr id="12" name="Group 11"/>
          <p:cNvGrpSpPr/>
          <p:nvPr/>
        </p:nvGrpSpPr>
        <p:grpSpPr>
          <a:xfrm>
            <a:off x="7373079" y="696943"/>
            <a:ext cx="1371958" cy="2617759"/>
            <a:chOff x="10582063" y="2140949"/>
            <a:chExt cx="1137071" cy="2213188"/>
          </a:xfrm>
        </p:grpSpPr>
        <p:grpSp>
          <p:nvGrpSpPr>
            <p:cNvPr id="13" name="Group 6"/>
            <p:cNvGrpSpPr>
              <a:grpSpLocks/>
            </p:cNvGrpSpPr>
            <p:nvPr/>
          </p:nvGrpSpPr>
          <p:grpSpPr bwMode="auto">
            <a:xfrm>
              <a:off x="10582063" y="2140949"/>
              <a:ext cx="1016073" cy="2213188"/>
              <a:chOff x="6677" y="1051"/>
              <a:chExt cx="1237" cy="2689"/>
            </a:xfrm>
          </p:grpSpPr>
          <p:pic>
            <p:nvPicPr>
              <p:cNvPr id="15" name="Picture 5"/>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677" y="1051"/>
                <a:ext cx="785" cy="2689"/>
              </a:xfrm>
              <a:prstGeom prst="rect">
                <a:avLst/>
              </a:prstGeom>
              <a:noFill/>
              <a:ln>
                <a:noFill/>
              </a:ln>
            </p:spPr>
          </p:pic>
          <p:sp>
            <p:nvSpPr>
              <p:cNvPr id="16" name="Oval 8"/>
              <p:cNvSpPr>
                <a:spLocks noChangeArrowheads="1"/>
              </p:cNvSpPr>
              <p:nvPr/>
            </p:nvSpPr>
            <p:spPr bwMode="auto">
              <a:xfrm>
                <a:off x="7122" y="2305"/>
                <a:ext cx="792" cy="792"/>
              </a:xfrm>
              <a:prstGeom prst="ellipse">
                <a:avLst/>
              </a:prstGeom>
              <a:solidFill>
                <a:schemeClr val="accent2">
                  <a:lumMod val="75000"/>
                  <a:alpha val="90000"/>
                </a:schemeClr>
              </a:solidFill>
              <a:ln w="9525">
                <a:noFill/>
                <a:round/>
                <a:headEnd/>
                <a:tailEnd/>
              </a:ln>
            </p:spPr>
            <p:txBody>
              <a:bodyPr lIns="0" rIns="0" anchor="ctr"/>
              <a:lstStyle/>
              <a:p>
                <a:pPr algn="ctr"/>
                <a:r>
                  <a:rPr lang="en-US" sz="800" dirty="0"/>
                  <a:t>DC</a:t>
                </a:r>
              </a:p>
              <a:p>
                <a:pPr algn="ctr"/>
                <a:r>
                  <a:rPr lang="en-US" sz="800" dirty="0"/>
                  <a:t>Admin</a:t>
                </a:r>
              </a:p>
            </p:txBody>
          </p:sp>
        </p:grpSp>
        <p:pic>
          <p:nvPicPr>
            <p:cNvPr id="14" name="Picture 5"/>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10904463" y="2499513"/>
              <a:ext cx="814671" cy="566390"/>
            </a:xfrm>
            <a:prstGeom prst="rect">
              <a:avLst/>
            </a:prstGeom>
            <a:noFill/>
            <a:ln w="9525">
              <a:noFill/>
              <a:miter lim="800000"/>
              <a:headEnd/>
              <a:tailEnd/>
            </a:ln>
            <a:effectLst/>
          </p:spPr>
        </p:pic>
      </p:grpSp>
      <p:grpSp>
        <p:nvGrpSpPr>
          <p:cNvPr id="17" name="Group 16"/>
          <p:cNvGrpSpPr/>
          <p:nvPr/>
        </p:nvGrpSpPr>
        <p:grpSpPr>
          <a:xfrm>
            <a:off x="618097" y="2100283"/>
            <a:ext cx="1200463" cy="2357419"/>
            <a:chOff x="436975" y="2034557"/>
            <a:chExt cx="1135928" cy="2228825"/>
          </a:xfrm>
        </p:grpSpPr>
        <p:pic>
          <p:nvPicPr>
            <p:cNvPr id="18" name="Picture 6"/>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1020872" y="2034557"/>
              <a:ext cx="552031" cy="2228825"/>
            </a:xfrm>
            <a:prstGeom prst="rect">
              <a:avLst/>
            </a:prstGeom>
            <a:noFill/>
            <a:ln w="9525">
              <a:noFill/>
              <a:miter lim="800000"/>
              <a:headEnd/>
              <a:tailEnd/>
            </a:ln>
          </p:spPr>
        </p:pic>
        <p:pic>
          <p:nvPicPr>
            <p:cNvPr id="19" name="Picture 2"/>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436975" y="2498613"/>
              <a:ext cx="813816" cy="56579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Oval 8"/>
            <p:cNvSpPr>
              <a:spLocks noChangeArrowheads="1"/>
            </p:cNvSpPr>
            <p:nvPr/>
          </p:nvSpPr>
          <p:spPr bwMode="auto">
            <a:xfrm>
              <a:off x="487792" y="3150253"/>
              <a:ext cx="667512" cy="667512"/>
            </a:xfrm>
            <a:prstGeom prst="ellipse">
              <a:avLst/>
            </a:prstGeom>
            <a:solidFill>
              <a:schemeClr val="accent4">
                <a:lumMod val="75000"/>
                <a:alpha val="89803"/>
              </a:schemeClr>
            </a:solidFill>
            <a:ln w="9525">
              <a:noFill/>
              <a:round/>
              <a:headEnd/>
              <a:tailEnd/>
            </a:ln>
          </p:spPr>
          <p:txBody>
            <a:bodyPr wrap="none" anchor="ctr"/>
            <a:lstStyle/>
            <a:p>
              <a:pPr algn="ctr"/>
              <a:r>
                <a:rPr lang="en-US" sz="800" dirty="0"/>
                <a:t>App</a:t>
              </a:r>
            </a:p>
            <a:p>
              <a:pPr algn="ctr"/>
              <a:r>
                <a:rPr lang="en-US" sz="800" dirty="0"/>
                <a:t>Owner</a:t>
              </a:r>
            </a:p>
          </p:txBody>
        </p:sp>
      </p:grpSp>
      <p:sp>
        <p:nvSpPr>
          <p:cNvPr id="21"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4"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7"/>
              </a:rPr>
              <a:t>www.rapidbbs.cn</a:t>
            </a:r>
            <a:endParaRPr lang="zh-CN" altLang="en-US" sz="1200" b="0">
              <a:latin typeface="Arial" charset="0"/>
              <a:ea typeface="ＭＳ Ｐゴシック" pitchFamily="34" charset="-128"/>
            </a:endParaRPr>
          </a:p>
        </p:txBody>
      </p:sp>
      <p:pic>
        <p:nvPicPr>
          <p:cNvPr id="25" name="Picture 2">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72984213"/>
      </p:ext>
    </p:extLst>
  </p:cSld>
  <p:clrMapOvr>
    <a:masterClrMapping/>
  </p:clrMapOvr>
  <p:transition>
    <p:fade/>
  </p:transition>
  <p:timing>
    <p:tnLst>
      <p:par>
        <p:cTn id="1" dur="indefinite" restart="never" nodeType="tmRoot"/>
      </p:par>
    </p:tnLst>
  </p:timing>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389436" y="171451"/>
            <a:ext cx="8363938" cy="457049"/>
          </a:xfrm>
          <a:prstGeom prst="rect">
            <a:avLst/>
          </a:prstGeom>
        </p:spPr>
        <p:txBody>
          <a:bodyPr lIns="68586" tIns="34294" rIns="68586" bIns="34294"/>
          <a:lst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IN" dirty="0" smtClean="0"/>
              <a:t>APPLICATION OR SERVICE OWNER </a:t>
            </a:r>
            <a:r>
              <a:rPr lang="en-IN" sz="2700" dirty="0"/>
              <a:t>(BUSINESS)</a:t>
            </a:r>
            <a:endParaRPr lang="en-IN" sz="2700" dirty="0">
              <a:solidFill>
                <a:schemeClr val="accent2">
                  <a:alpha val="99000"/>
                </a:schemeClr>
              </a:solidFill>
            </a:endParaRPr>
          </a:p>
        </p:txBody>
      </p:sp>
      <p:sp>
        <p:nvSpPr>
          <p:cNvPr id="7" name="Rectangle 6"/>
          <p:cNvSpPr/>
          <p:nvPr/>
        </p:nvSpPr>
        <p:spPr>
          <a:xfrm>
            <a:off x="815261" y="1324741"/>
            <a:ext cx="1468653" cy="392415"/>
          </a:xfrm>
          <a:prstGeom prst="rect">
            <a:avLst/>
          </a:prstGeom>
        </p:spPr>
        <p:txBody>
          <a:bodyPr wrap="square" lIns="68586" tIns="34294" rIns="68586" bIns="34294">
            <a:spAutoFit/>
          </a:bodyPr>
          <a:lstStyle/>
          <a:p>
            <a:r>
              <a:rPr lang="en-US" sz="2100" b="1" dirty="0"/>
              <a:t>Situation:</a:t>
            </a: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7623" y="1828801"/>
            <a:ext cx="1273770" cy="24989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66" name="Group 65"/>
          <p:cNvGrpSpPr/>
          <p:nvPr/>
        </p:nvGrpSpPr>
        <p:grpSpPr>
          <a:xfrm>
            <a:off x="2301548" y="1222685"/>
            <a:ext cx="6345303" cy="596528"/>
            <a:chOff x="3198811" y="1630246"/>
            <a:chExt cx="8458201" cy="795371"/>
          </a:xfrm>
        </p:grpSpPr>
        <p:sp>
          <p:nvSpPr>
            <p:cNvPr id="24" name="TextBox 23"/>
            <p:cNvSpPr txBox="1"/>
            <p:nvPr/>
          </p:nvSpPr>
          <p:spPr>
            <a:xfrm>
              <a:off x="3198811" y="1630246"/>
              <a:ext cx="8458201" cy="795371"/>
            </a:xfrm>
            <a:prstGeom prst="rect">
              <a:avLst/>
            </a:prstGeom>
            <a:solidFill>
              <a:schemeClr val="accent1"/>
            </a:solidFill>
          </p:spPr>
          <p:txBody>
            <a:bodyPr wrap="square" rtlCol="0">
              <a:noAutofit/>
            </a:bodyPr>
            <a:lstStyle/>
            <a:p>
              <a:pPr algn="ctr" defTabSz="685862"/>
              <a:endParaRPr lang="en-US" sz="1100" b="1" dirty="0">
                <a:solidFill>
                  <a:srgbClr val="FFFFFF"/>
                </a:solidFill>
              </a:endParaRPr>
            </a:p>
          </p:txBody>
        </p:sp>
        <p:sp>
          <p:nvSpPr>
            <p:cNvPr id="20" name="TextBox 19"/>
            <p:cNvSpPr txBox="1"/>
            <p:nvPr/>
          </p:nvSpPr>
          <p:spPr bwMode="black">
            <a:xfrm>
              <a:off x="3586649" y="1843265"/>
              <a:ext cx="7820245" cy="369332"/>
            </a:xfrm>
            <a:prstGeom prst="rect">
              <a:avLst/>
            </a:prstGeom>
            <a:noFill/>
          </p:spPr>
          <p:txBody>
            <a:bodyPr wrap="square" lIns="82305" tIns="0" rIns="0" bIns="0" rtlCol="0">
              <a:spAutoFit/>
            </a:bodyPr>
            <a:lstStyle/>
            <a:p>
              <a:r>
                <a:rPr lang="en-US" sz="1800" dirty="0"/>
                <a:t>We are heavily dependent on IT to increase revenue</a:t>
              </a:r>
            </a:p>
          </p:txBody>
        </p:sp>
        <p:pic>
          <p:nvPicPr>
            <p:cNvPr id="22" name="Picture 45" descr="C:\Users\sakuu\Documents\Ballmer MGX 2011\Tile Icons\Quotes 2.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black">
            <a:xfrm>
              <a:off x="10734291" y="1727895"/>
              <a:ext cx="310653" cy="242490"/>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46" descr="C:\Users\sakuu\Documents\Ballmer MGX 2011\Tile Icons\Quotes.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black">
            <a:xfrm>
              <a:off x="3329694" y="1727895"/>
              <a:ext cx="256968" cy="20058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 name="Group 8"/>
          <p:cNvGrpSpPr/>
          <p:nvPr/>
        </p:nvGrpSpPr>
        <p:grpSpPr>
          <a:xfrm>
            <a:off x="6171386" y="1940953"/>
            <a:ext cx="2475463" cy="596528"/>
            <a:chOff x="3105308" y="2481229"/>
            <a:chExt cx="3299758" cy="795371"/>
          </a:xfrm>
        </p:grpSpPr>
        <p:sp>
          <p:nvSpPr>
            <p:cNvPr id="30" name="TextBox 29"/>
            <p:cNvSpPr txBox="1"/>
            <p:nvPr/>
          </p:nvSpPr>
          <p:spPr>
            <a:xfrm>
              <a:off x="3105308" y="2481229"/>
              <a:ext cx="3299758" cy="795371"/>
            </a:xfrm>
            <a:prstGeom prst="rect">
              <a:avLst/>
            </a:prstGeom>
            <a:solidFill>
              <a:schemeClr val="accent1"/>
            </a:solidFill>
          </p:spPr>
          <p:txBody>
            <a:bodyPr wrap="square" rtlCol="0">
              <a:noAutofit/>
            </a:bodyPr>
            <a:lstStyle/>
            <a:p>
              <a:pPr algn="ctr" defTabSz="685862"/>
              <a:endParaRPr lang="en-US" sz="1100" b="1" dirty="0">
                <a:solidFill>
                  <a:srgbClr val="FFFFFF"/>
                </a:solidFill>
              </a:endParaRPr>
            </a:p>
          </p:txBody>
        </p:sp>
        <p:sp>
          <p:nvSpPr>
            <p:cNvPr id="31" name="TextBox 30"/>
            <p:cNvSpPr txBox="1"/>
            <p:nvPr/>
          </p:nvSpPr>
          <p:spPr bwMode="black">
            <a:xfrm>
              <a:off x="3379568" y="2694248"/>
              <a:ext cx="2788117" cy="369332"/>
            </a:xfrm>
            <a:prstGeom prst="rect">
              <a:avLst/>
            </a:prstGeom>
            <a:noFill/>
          </p:spPr>
          <p:txBody>
            <a:bodyPr wrap="square" lIns="82305" tIns="0" rIns="0" bIns="0" rtlCol="0">
              <a:spAutoFit/>
            </a:bodyPr>
            <a:lstStyle/>
            <a:p>
              <a:r>
                <a:rPr lang="en-US" sz="1800" dirty="0"/>
                <a:t>IT Slows me down</a:t>
              </a:r>
            </a:p>
          </p:txBody>
        </p:sp>
        <p:pic>
          <p:nvPicPr>
            <p:cNvPr id="32" name="Picture 45" descr="C:\Users\sakuu\Documents\Ballmer MGX 2011\Tile Icons\Quotes 2.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black">
            <a:xfrm>
              <a:off x="6012359" y="2578878"/>
              <a:ext cx="310653" cy="242490"/>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46" descr="C:\Users\sakuu\Documents\Ballmer MGX 2011\Tile Icons\Quotes.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black">
            <a:xfrm>
              <a:off x="3122613" y="2578878"/>
              <a:ext cx="256968" cy="200585"/>
            </a:xfrm>
            <a:prstGeom prst="rect">
              <a:avLst/>
            </a:prstGeom>
            <a:noFill/>
            <a:extLst>
              <a:ext uri="{909E8E84-426E-40DD-AFC4-6F175D3DCCD1}">
                <a14:hiddenFill xmlns:a14="http://schemas.microsoft.com/office/drawing/2010/main">
                  <a:solidFill>
                    <a:srgbClr val="FFFFFF"/>
                  </a:solidFill>
                </a14:hiddenFill>
              </a:ext>
            </a:extLst>
          </p:spPr>
        </p:pic>
      </p:grpSp>
      <p:sp>
        <p:nvSpPr>
          <p:cNvPr id="35" name="TextBox 34"/>
          <p:cNvSpPr txBox="1"/>
          <p:nvPr/>
        </p:nvSpPr>
        <p:spPr>
          <a:xfrm>
            <a:off x="2301549" y="2686051"/>
            <a:ext cx="6345302" cy="1716733"/>
          </a:xfrm>
          <a:prstGeom prst="rect">
            <a:avLst/>
          </a:prstGeom>
          <a:solidFill>
            <a:srgbClr val="F6AE1E"/>
          </a:solidFill>
        </p:spPr>
        <p:txBody>
          <a:bodyPr wrap="square" lIns="68586" tIns="34294" rIns="68586" bIns="34294" rtlCol="0">
            <a:noAutofit/>
          </a:bodyPr>
          <a:lstStyle/>
          <a:p>
            <a:pPr algn="ctr" defTabSz="685862"/>
            <a:endParaRPr lang="en-US" sz="1100" b="1" dirty="0">
              <a:solidFill>
                <a:srgbClr val="FFFFFF"/>
              </a:solidFill>
            </a:endParaRPr>
          </a:p>
        </p:txBody>
      </p:sp>
      <p:sp>
        <p:nvSpPr>
          <p:cNvPr id="36" name="TextBox 35"/>
          <p:cNvSpPr txBox="1"/>
          <p:nvPr/>
        </p:nvSpPr>
        <p:spPr bwMode="black">
          <a:xfrm>
            <a:off x="2358713" y="3088333"/>
            <a:ext cx="6184593" cy="1080296"/>
          </a:xfrm>
          <a:prstGeom prst="rect">
            <a:avLst/>
          </a:prstGeom>
          <a:noFill/>
        </p:spPr>
        <p:txBody>
          <a:bodyPr wrap="square" lIns="61735" tIns="0" rIns="0" bIns="0" rtlCol="0">
            <a:spAutoFit/>
          </a:bodyPr>
          <a:lstStyle/>
          <a:p>
            <a:pPr marL="257198" indent="-257198">
              <a:lnSpc>
                <a:spcPct val="130000"/>
              </a:lnSpc>
              <a:buFont typeface="Arial" pitchFamily="34" charset="0"/>
              <a:buChar char="•"/>
            </a:pPr>
            <a:r>
              <a:rPr lang="en-US" sz="1800" dirty="0"/>
              <a:t>Business often views themselves as held “hostage” by IT </a:t>
            </a:r>
          </a:p>
          <a:p>
            <a:pPr marL="257198" indent="-257198">
              <a:lnSpc>
                <a:spcPct val="130000"/>
              </a:lnSpc>
              <a:buFont typeface="Arial" pitchFamily="34" charset="0"/>
              <a:buChar char="•"/>
            </a:pPr>
            <a:r>
              <a:rPr lang="en-US" sz="1800" dirty="0"/>
              <a:t>They cannot introduce new IT solutions </a:t>
            </a:r>
          </a:p>
          <a:p>
            <a:pPr marL="257198" indent="-257198">
              <a:lnSpc>
                <a:spcPct val="130000"/>
              </a:lnSpc>
              <a:buFont typeface="Arial" pitchFamily="34" charset="0"/>
              <a:buChar char="•"/>
            </a:pPr>
            <a:r>
              <a:rPr lang="en-US" sz="1800" dirty="0"/>
              <a:t>Very high cost of operations</a:t>
            </a:r>
          </a:p>
        </p:txBody>
      </p:sp>
      <p:grpSp>
        <p:nvGrpSpPr>
          <p:cNvPr id="59" name="Group 58"/>
          <p:cNvGrpSpPr/>
          <p:nvPr/>
        </p:nvGrpSpPr>
        <p:grpSpPr>
          <a:xfrm>
            <a:off x="2306008" y="1934158"/>
            <a:ext cx="3758591" cy="596528"/>
            <a:chOff x="572840" y="2481228"/>
            <a:chExt cx="5010149" cy="795371"/>
          </a:xfrm>
        </p:grpSpPr>
        <p:sp>
          <p:nvSpPr>
            <p:cNvPr id="61" name="TextBox 60"/>
            <p:cNvSpPr txBox="1"/>
            <p:nvPr/>
          </p:nvSpPr>
          <p:spPr>
            <a:xfrm>
              <a:off x="572840" y="2481228"/>
              <a:ext cx="5010149" cy="795371"/>
            </a:xfrm>
            <a:prstGeom prst="rect">
              <a:avLst/>
            </a:prstGeom>
            <a:solidFill>
              <a:schemeClr val="accent1"/>
            </a:solidFill>
          </p:spPr>
          <p:txBody>
            <a:bodyPr wrap="square" rtlCol="0">
              <a:noAutofit/>
            </a:bodyPr>
            <a:lstStyle/>
            <a:p>
              <a:pPr algn="ctr" defTabSz="685862"/>
              <a:endParaRPr lang="en-US" sz="1100" b="1" dirty="0">
                <a:solidFill>
                  <a:srgbClr val="FFFFFF"/>
                </a:solidFill>
              </a:endParaRPr>
            </a:p>
          </p:txBody>
        </p:sp>
        <p:sp>
          <p:nvSpPr>
            <p:cNvPr id="62" name="TextBox 61"/>
            <p:cNvSpPr txBox="1"/>
            <p:nvPr/>
          </p:nvSpPr>
          <p:spPr bwMode="black">
            <a:xfrm>
              <a:off x="999501" y="2694247"/>
              <a:ext cx="4221540" cy="369332"/>
            </a:xfrm>
            <a:prstGeom prst="rect">
              <a:avLst/>
            </a:prstGeom>
            <a:noFill/>
          </p:spPr>
          <p:txBody>
            <a:bodyPr wrap="square" lIns="82305" tIns="0" rIns="0" bIns="0" rtlCol="0">
              <a:spAutoFit/>
            </a:bodyPr>
            <a:lstStyle/>
            <a:p>
              <a:r>
                <a:rPr lang="en-US" sz="1800" dirty="0"/>
                <a:t>IT takes it forever to do it</a:t>
              </a:r>
            </a:p>
          </p:txBody>
        </p:sp>
        <p:pic>
          <p:nvPicPr>
            <p:cNvPr id="63" name="Picture 45" descr="C:\Users\sakuu\Documents\Ballmer MGX 2011\Tile Icons\Quotes 2.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black">
            <a:xfrm>
              <a:off x="4687641" y="2578877"/>
              <a:ext cx="310653" cy="242490"/>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46" descr="C:\Users\sakuu\Documents\Ballmer MGX 2011\Tile Icons\Quotes.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black">
            <a:xfrm>
              <a:off x="696873" y="2578877"/>
              <a:ext cx="256968" cy="200585"/>
            </a:xfrm>
            <a:prstGeom prst="rect">
              <a:avLst/>
            </a:prstGeom>
            <a:noFill/>
            <a:extLst>
              <a:ext uri="{909E8E84-426E-40DD-AFC4-6F175D3DCCD1}">
                <a14:hiddenFill xmlns:a14="http://schemas.microsoft.com/office/drawing/2010/main">
                  <a:solidFill>
                    <a:srgbClr val="FFFFFF"/>
                  </a:solidFill>
                </a14:hiddenFill>
              </a:ext>
            </a:extLst>
          </p:spPr>
        </p:pic>
      </p:grpSp>
      <p:sp>
        <p:nvSpPr>
          <p:cNvPr id="4" name="Rectangle 3"/>
          <p:cNvSpPr/>
          <p:nvPr/>
        </p:nvSpPr>
        <p:spPr>
          <a:xfrm>
            <a:off x="2530206" y="2745434"/>
            <a:ext cx="2812382" cy="346249"/>
          </a:xfrm>
          <a:prstGeom prst="rect">
            <a:avLst/>
          </a:prstGeom>
          <a:grpFill/>
        </p:spPr>
        <p:txBody>
          <a:bodyPr wrap="square" lIns="68586" tIns="34294" rIns="68586" bIns="34294">
            <a:spAutoFit/>
          </a:bodyPr>
          <a:lstStyle/>
          <a:p>
            <a:r>
              <a:rPr lang="en-US" sz="1800" b="1" dirty="0"/>
              <a:t>Traditional</a:t>
            </a:r>
            <a:r>
              <a:rPr lang="en-US" sz="1800" dirty="0"/>
              <a:t> </a:t>
            </a:r>
            <a:r>
              <a:rPr lang="en-US" sz="1800" b="1" dirty="0"/>
              <a:t>Datacenter</a:t>
            </a:r>
          </a:p>
        </p:txBody>
      </p:sp>
      <p:sp>
        <p:nvSpPr>
          <p:cNvPr id="25"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6"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6"/>
              </a:rPr>
              <a:t>www.rapidbbs.cn</a:t>
            </a:r>
            <a:endParaRPr lang="zh-CN" altLang="en-US" sz="1200" b="0">
              <a:latin typeface="Arial" charset="0"/>
              <a:ea typeface="ＭＳ Ｐゴシック" pitchFamily="34" charset="-128"/>
            </a:endParaRPr>
          </a:p>
        </p:txBody>
      </p:sp>
      <p:pic>
        <p:nvPicPr>
          <p:cNvPr id="27" name="Picture 2">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412996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36" grpId="0"/>
      <p:bldP spid="4" grpId="0" animBg="1"/>
    </p:bldLst>
  </p:timing>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389436" y="171451"/>
            <a:ext cx="8363938" cy="457049"/>
          </a:xfrm>
          <a:prstGeom prst="rect">
            <a:avLst/>
          </a:prstGeom>
        </p:spPr>
        <p:txBody>
          <a:bodyPr lIns="68586" tIns="34294" rIns="68586" bIns="34294"/>
          <a:lst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smtClean="0"/>
              <a:t>DATACENTER SERVICE PROVIDER (IT)</a:t>
            </a:r>
            <a:endParaRPr lang="en-US">
              <a:solidFill>
                <a:schemeClr val="accent2">
                  <a:alpha val="99000"/>
                </a:schemeClr>
              </a:solidFill>
            </a:endParaRPr>
          </a:p>
        </p:txBody>
      </p:sp>
      <p:sp>
        <p:nvSpPr>
          <p:cNvPr id="7" name="Rectangle 6"/>
          <p:cNvSpPr/>
          <p:nvPr/>
        </p:nvSpPr>
        <p:spPr>
          <a:xfrm>
            <a:off x="538075" y="1150636"/>
            <a:ext cx="1518670" cy="392415"/>
          </a:xfrm>
          <a:prstGeom prst="rect">
            <a:avLst/>
          </a:prstGeom>
        </p:spPr>
        <p:txBody>
          <a:bodyPr wrap="square" lIns="68586" tIns="34294" rIns="68586" bIns="34294">
            <a:spAutoFit/>
          </a:bodyPr>
          <a:lstStyle/>
          <a:p>
            <a:r>
              <a:rPr lang="en-US" sz="2100" b="1" dirty="0"/>
              <a:t>Situation: </a:t>
            </a:r>
          </a:p>
        </p:txBody>
      </p:sp>
      <p:grpSp>
        <p:nvGrpSpPr>
          <p:cNvPr id="13" name="Group 12"/>
          <p:cNvGrpSpPr/>
          <p:nvPr/>
        </p:nvGrpSpPr>
        <p:grpSpPr>
          <a:xfrm>
            <a:off x="688555" y="1828800"/>
            <a:ext cx="1217710" cy="2557042"/>
            <a:chOff x="10582063" y="2140949"/>
            <a:chExt cx="1137071" cy="2213188"/>
          </a:xfrm>
        </p:grpSpPr>
        <p:grpSp>
          <p:nvGrpSpPr>
            <p:cNvPr id="14" name="Group 6"/>
            <p:cNvGrpSpPr>
              <a:grpSpLocks/>
            </p:cNvGrpSpPr>
            <p:nvPr/>
          </p:nvGrpSpPr>
          <p:grpSpPr bwMode="auto">
            <a:xfrm>
              <a:off x="10582063" y="2140949"/>
              <a:ext cx="1016073" cy="2213188"/>
              <a:chOff x="6677" y="1051"/>
              <a:chExt cx="1237" cy="2689"/>
            </a:xfrm>
          </p:grpSpPr>
          <p:pic>
            <p:nvPicPr>
              <p:cNvPr id="16" name="Picture 5"/>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677" y="1051"/>
                <a:ext cx="785" cy="2689"/>
              </a:xfrm>
              <a:prstGeom prst="rect">
                <a:avLst/>
              </a:prstGeom>
              <a:noFill/>
              <a:ln>
                <a:noFill/>
              </a:ln>
            </p:spPr>
          </p:pic>
          <p:sp>
            <p:nvSpPr>
              <p:cNvPr id="17" name="Oval 8"/>
              <p:cNvSpPr>
                <a:spLocks noChangeArrowheads="1"/>
              </p:cNvSpPr>
              <p:nvPr/>
            </p:nvSpPr>
            <p:spPr bwMode="auto">
              <a:xfrm>
                <a:off x="7122" y="2305"/>
                <a:ext cx="792" cy="792"/>
              </a:xfrm>
              <a:prstGeom prst="ellipse">
                <a:avLst/>
              </a:prstGeom>
              <a:solidFill>
                <a:schemeClr val="accent2">
                  <a:lumMod val="75000"/>
                  <a:alpha val="90000"/>
                </a:schemeClr>
              </a:solidFill>
              <a:ln w="9525">
                <a:noFill/>
                <a:round/>
                <a:headEnd/>
                <a:tailEnd/>
              </a:ln>
            </p:spPr>
            <p:txBody>
              <a:bodyPr lIns="0" rIns="0" anchor="ctr"/>
              <a:lstStyle/>
              <a:p>
                <a:pPr algn="ctr"/>
                <a:r>
                  <a:rPr lang="en-US" sz="800" dirty="0"/>
                  <a:t>DC</a:t>
                </a:r>
              </a:p>
              <a:p>
                <a:pPr algn="ctr"/>
                <a:r>
                  <a:rPr lang="en-US" sz="800" dirty="0"/>
                  <a:t>Admin</a:t>
                </a:r>
              </a:p>
            </p:txBody>
          </p:sp>
        </p:grpSp>
        <p:pic>
          <p:nvPicPr>
            <p:cNvPr id="15" name="Picture 5"/>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10904463" y="2499513"/>
              <a:ext cx="814671" cy="566390"/>
            </a:xfrm>
            <a:prstGeom prst="rect">
              <a:avLst/>
            </a:prstGeom>
            <a:noFill/>
            <a:ln w="9525">
              <a:noFill/>
              <a:miter lim="800000"/>
              <a:headEnd/>
              <a:tailEnd/>
            </a:ln>
            <a:effectLst/>
          </p:spPr>
        </p:pic>
      </p:grpSp>
      <p:grpSp>
        <p:nvGrpSpPr>
          <p:cNvPr id="18" name="Group 17"/>
          <p:cNvGrpSpPr/>
          <p:nvPr/>
        </p:nvGrpSpPr>
        <p:grpSpPr>
          <a:xfrm>
            <a:off x="2301548" y="1222685"/>
            <a:ext cx="6345303" cy="596528"/>
            <a:chOff x="3198811" y="1630246"/>
            <a:chExt cx="8458201" cy="795371"/>
          </a:xfrm>
        </p:grpSpPr>
        <p:sp>
          <p:nvSpPr>
            <p:cNvPr id="19" name="TextBox 18"/>
            <p:cNvSpPr txBox="1"/>
            <p:nvPr/>
          </p:nvSpPr>
          <p:spPr>
            <a:xfrm>
              <a:off x="3198811" y="1630246"/>
              <a:ext cx="8458201" cy="795371"/>
            </a:xfrm>
            <a:prstGeom prst="rect">
              <a:avLst/>
            </a:prstGeom>
            <a:solidFill>
              <a:schemeClr val="accent1"/>
            </a:solidFill>
          </p:spPr>
          <p:txBody>
            <a:bodyPr wrap="square" rtlCol="0">
              <a:noAutofit/>
            </a:bodyPr>
            <a:lstStyle/>
            <a:p>
              <a:pPr algn="ctr" defTabSz="685862"/>
              <a:endParaRPr lang="en-US" sz="1100" b="1" dirty="0">
                <a:solidFill>
                  <a:srgbClr val="FFFFFF"/>
                </a:solidFill>
              </a:endParaRPr>
            </a:p>
          </p:txBody>
        </p:sp>
        <p:sp>
          <p:nvSpPr>
            <p:cNvPr id="20" name="TextBox 19"/>
            <p:cNvSpPr txBox="1"/>
            <p:nvPr/>
          </p:nvSpPr>
          <p:spPr bwMode="black">
            <a:xfrm>
              <a:off x="3586649" y="1843265"/>
              <a:ext cx="7594571" cy="369332"/>
            </a:xfrm>
            <a:prstGeom prst="rect">
              <a:avLst/>
            </a:prstGeom>
            <a:noFill/>
          </p:spPr>
          <p:txBody>
            <a:bodyPr wrap="square" lIns="82305" tIns="0" rIns="0" bIns="0" rtlCol="0">
              <a:spAutoFit/>
            </a:bodyPr>
            <a:lstStyle/>
            <a:p>
              <a:r>
                <a:rPr lang="en-US" sz="1800" dirty="0"/>
                <a:t>Server sprawl due to dedicated server per application</a:t>
              </a:r>
            </a:p>
          </p:txBody>
        </p:sp>
        <p:pic>
          <p:nvPicPr>
            <p:cNvPr id="21" name="Picture 45" descr="C:\Users\sakuu\Documents\Ballmer MGX 2011\Tile Icons\Quotes 2.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black">
            <a:xfrm>
              <a:off x="10943841" y="1727895"/>
              <a:ext cx="310653" cy="24249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46" descr="C:\Users\sakuu\Documents\Ballmer MGX 2011\Tile Icons\Quotes.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black">
            <a:xfrm>
              <a:off x="3292317" y="1727895"/>
              <a:ext cx="256968" cy="20058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3" name="Group 22"/>
          <p:cNvGrpSpPr/>
          <p:nvPr/>
        </p:nvGrpSpPr>
        <p:grpSpPr>
          <a:xfrm>
            <a:off x="6171386" y="1940953"/>
            <a:ext cx="2475463" cy="596528"/>
            <a:chOff x="3105308" y="2481229"/>
            <a:chExt cx="3299758" cy="795371"/>
          </a:xfrm>
        </p:grpSpPr>
        <p:sp>
          <p:nvSpPr>
            <p:cNvPr id="24" name="TextBox 23"/>
            <p:cNvSpPr txBox="1"/>
            <p:nvPr/>
          </p:nvSpPr>
          <p:spPr>
            <a:xfrm>
              <a:off x="3105308" y="2481229"/>
              <a:ext cx="3299758" cy="795371"/>
            </a:xfrm>
            <a:prstGeom prst="rect">
              <a:avLst/>
            </a:prstGeom>
            <a:solidFill>
              <a:schemeClr val="accent1"/>
            </a:solidFill>
          </p:spPr>
          <p:txBody>
            <a:bodyPr wrap="square" rtlCol="0">
              <a:noAutofit/>
            </a:bodyPr>
            <a:lstStyle/>
            <a:p>
              <a:pPr algn="ctr" defTabSz="685862"/>
              <a:endParaRPr lang="en-US" sz="1100" b="1" dirty="0">
                <a:solidFill>
                  <a:srgbClr val="FFFFFF"/>
                </a:solidFill>
              </a:endParaRPr>
            </a:p>
          </p:txBody>
        </p:sp>
        <p:sp>
          <p:nvSpPr>
            <p:cNvPr id="25" name="TextBox 24"/>
            <p:cNvSpPr txBox="1"/>
            <p:nvPr/>
          </p:nvSpPr>
          <p:spPr bwMode="black">
            <a:xfrm>
              <a:off x="3379568" y="2694248"/>
              <a:ext cx="2788117" cy="369332"/>
            </a:xfrm>
            <a:prstGeom prst="rect">
              <a:avLst/>
            </a:prstGeom>
            <a:noFill/>
          </p:spPr>
          <p:txBody>
            <a:bodyPr wrap="square" lIns="82305" tIns="0" rIns="0" bIns="0" rtlCol="0">
              <a:spAutoFit/>
            </a:bodyPr>
            <a:lstStyle/>
            <a:p>
              <a:r>
                <a:rPr lang="en-US" sz="1800" dirty="0"/>
                <a:t>IT budget is less</a:t>
              </a:r>
            </a:p>
          </p:txBody>
        </p:sp>
        <p:pic>
          <p:nvPicPr>
            <p:cNvPr id="26" name="Picture 45" descr="C:\Users\sakuu\Documents\Ballmer MGX 2011\Tile Icons\Quotes 2.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black">
            <a:xfrm>
              <a:off x="5773948" y="2578878"/>
              <a:ext cx="310653" cy="24249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46" descr="C:\Users\sakuu\Documents\Ballmer MGX 2011\Tile Icons\Quotes.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black">
            <a:xfrm>
              <a:off x="3122613" y="2578878"/>
              <a:ext cx="256968" cy="200585"/>
            </a:xfrm>
            <a:prstGeom prst="rect">
              <a:avLst/>
            </a:prstGeom>
            <a:noFill/>
            <a:extLst>
              <a:ext uri="{909E8E84-426E-40DD-AFC4-6F175D3DCCD1}">
                <a14:hiddenFill xmlns:a14="http://schemas.microsoft.com/office/drawing/2010/main">
                  <a:solidFill>
                    <a:srgbClr val="FFFFFF"/>
                  </a:solidFill>
                </a14:hiddenFill>
              </a:ext>
            </a:extLst>
          </p:spPr>
        </p:pic>
      </p:grpSp>
      <p:sp>
        <p:nvSpPr>
          <p:cNvPr id="28" name="TextBox 27"/>
          <p:cNvSpPr txBox="1"/>
          <p:nvPr/>
        </p:nvSpPr>
        <p:spPr>
          <a:xfrm>
            <a:off x="2301549" y="2686051"/>
            <a:ext cx="6345302" cy="1716733"/>
          </a:xfrm>
          <a:prstGeom prst="rect">
            <a:avLst/>
          </a:prstGeom>
          <a:solidFill>
            <a:srgbClr val="F6AE1E"/>
          </a:solidFill>
        </p:spPr>
        <p:txBody>
          <a:bodyPr wrap="square" lIns="68586" tIns="34294" rIns="68586" bIns="34294" rtlCol="0">
            <a:noAutofit/>
          </a:bodyPr>
          <a:lstStyle/>
          <a:p>
            <a:pPr algn="ctr" defTabSz="685862"/>
            <a:endParaRPr lang="en-US" sz="1100" b="1" dirty="0">
              <a:solidFill>
                <a:srgbClr val="FFFFFF"/>
              </a:solidFill>
            </a:endParaRPr>
          </a:p>
        </p:txBody>
      </p:sp>
      <p:sp>
        <p:nvSpPr>
          <p:cNvPr id="29" name="TextBox 28"/>
          <p:cNvSpPr txBox="1"/>
          <p:nvPr/>
        </p:nvSpPr>
        <p:spPr bwMode="black">
          <a:xfrm>
            <a:off x="2285405" y="3088334"/>
            <a:ext cx="6288138" cy="1329595"/>
          </a:xfrm>
          <a:prstGeom prst="rect">
            <a:avLst/>
          </a:prstGeom>
          <a:noFill/>
        </p:spPr>
        <p:txBody>
          <a:bodyPr wrap="square" lIns="61735" tIns="0" rIns="0" bIns="0" rtlCol="0">
            <a:spAutoFit/>
          </a:bodyPr>
          <a:lstStyle/>
          <a:p>
            <a:pPr marL="257198" indent="-257198">
              <a:lnSpc>
                <a:spcPct val="120000"/>
              </a:lnSpc>
              <a:buFont typeface="Arial" pitchFamily="34" charset="0"/>
              <a:buChar char="•"/>
            </a:pPr>
            <a:r>
              <a:rPr lang="en-US" sz="1800" dirty="0"/>
              <a:t>Multiple tools and manual processes result in long request fulfillment times, </a:t>
            </a:r>
          </a:p>
          <a:p>
            <a:pPr marL="257198" indent="-257198">
              <a:lnSpc>
                <a:spcPct val="120000"/>
              </a:lnSpc>
              <a:buFont typeface="Arial" pitchFamily="34" charset="0"/>
              <a:buChar char="•"/>
            </a:pPr>
            <a:r>
              <a:rPr lang="en-US" sz="1800" dirty="0"/>
              <a:t>High operations costs and complex maintenance protocols Less-than-secure environments.</a:t>
            </a:r>
          </a:p>
        </p:txBody>
      </p:sp>
      <p:grpSp>
        <p:nvGrpSpPr>
          <p:cNvPr id="30" name="Group 29"/>
          <p:cNvGrpSpPr/>
          <p:nvPr/>
        </p:nvGrpSpPr>
        <p:grpSpPr>
          <a:xfrm>
            <a:off x="2306008" y="1934158"/>
            <a:ext cx="3758591" cy="596528"/>
            <a:chOff x="572840" y="2481228"/>
            <a:chExt cx="5010149" cy="795371"/>
          </a:xfrm>
        </p:grpSpPr>
        <p:sp>
          <p:nvSpPr>
            <p:cNvPr id="31" name="TextBox 30"/>
            <p:cNvSpPr txBox="1"/>
            <p:nvPr/>
          </p:nvSpPr>
          <p:spPr>
            <a:xfrm>
              <a:off x="572840" y="2481228"/>
              <a:ext cx="5010149" cy="795371"/>
            </a:xfrm>
            <a:prstGeom prst="rect">
              <a:avLst/>
            </a:prstGeom>
            <a:solidFill>
              <a:schemeClr val="accent1"/>
            </a:solidFill>
          </p:spPr>
          <p:txBody>
            <a:bodyPr wrap="square" rtlCol="0">
              <a:noAutofit/>
            </a:bodyPr>
            <a:lstStyle/>
            <a:p>
              <a:pPr algn="ctr" defTabSz="685862"/>
              <a:endParaRPr lang="en-US" sz="1100" b="1" dirty="0">
                <a:solidFill>
                  <a:srgbClr val="FFFFFF"/>
                </a:solidFill>
              </a:endParaRPr>
            </a:p>
          </p:txBody>
        </p:sp>
        <p:sp>
          <p:nvSpPr>
            <p:cNvPr id="32" name="TextBox 31"/>
            <p:cNvSpPr txBox="1"/>
            <p:nvPr/>
          </p:nvSpPr>
          <p:spPr bwMode="black">
            <a:xfrm>
              <a:off x="999501" y="2694247"/>
              <a:ext cx="4221540" cy="369332"/>
            </a:xfrm>
            <a:prstGeom prst="rect">
              <a:avLst/>
            </a:prstGeom>
            <a:noFill/>
          </p:spPr>
          <p:txBody>
            <a:bodyPr wrap="square" lIns="82305" tIns="0" rIns="0" bIns="0" rtlCol="0">
              <a:spAutoFit/>
            </a:bodyPr>
            <a:lstStyle/>
            <a:p>
              <a:r>
                <a:rPr lang="en-US" sz="1800" dirty="0"/>
                <a:t>Infrastructure is complex</a:t>
              </a:r>
            </a:p>
          </p:txBody>
        </p:sp>
        <p:pic>
          <p:nvPicPr>
            <p:cNvPr id="33" name="Picture 45" descr="C:\Users\sakuu\Documents\Ballmer MGX 2011\Tile Icons\Quotes 2.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black">
            <a:xfrm>
              <a:off x="4687641" y="2578877"/>
              <a:ext cx="310653" cy="242490"/>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46" descr="C:\Users\sakuu\Documents\Ballmer MGX 2011\Tile Icons\Quotes.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black">
            <a:xfrm>
              <a:off x="696873" y="2578877"/>
              <a:ext cx="256968" cy="200585"/>
            </a:xfrm>
            <a:prstGeom prst="rect">
              <a:avLst/>
            </a:prstGeom>
            <a:noFill/>
            <a:extLst>
              <a:ext uri="{909E8E84-426E-40DD-AFC4-6F175D3DCCD1}">
                <a14:hiddenFill xmlns:a14="http://schemas.microsoft.com/office/drawing/2010/main">
                  <a:solidFill>
                    <a:srgbClr val="FFFFFF"/>
                  </a:solidFill>
                </a14:hiddenFill>
              </a:ext>
            </a:extLst>
          </p:spPr>
        </p:pic>
      </p:grpSp>
      <p:sp>
        <p:nvSpPr>
          <p:cNvPr id="35" name="Rectangle 34"/>
          <p:cNvSpPr/>
          <p:nvPr/>
        </p:nvSpPr>
        <p:spPr>
          <a:xfrm>
            <a:off x="2530206" y="2745434"/>
            <a:ext cx="2812382" cy="346249"/>
          </a:xfrm>
          <a:prstGeom prst="rect">
            <a:avLst/>
          </a:prstGeom>
          <a:grpFill/>
        </p:spPr>
        <p:txBody>
          <a:bodyPr wrap="square" lIns="68586" tIns="34294" rIns="68586" bIns="34294">
            <a:spAutoFit/>
          </a:bodyPr>
          <a:lstStyle/>
          <a:p>
            <a:r>
              <a:rPr lang="en-US" sz="1800" b="1" dirty="0"/>
              <a:t>Traditional</a:t>
            </a:r>
            <a:r>
              <a:rPr lang="en-US" sz="1800" dirty="0"/>
              <a:t> </a:t>
            </a:r>
            <a:r>
              <a:rPr lang="en-US" sz="1800" b="1" dirty="0"/>
              <a:t>Datacenter</a:t>
            </a:r>
          </a:p>
        </p:txBody>
      </p:sp>
      <p:sp>
        <p:nvSpPr>
          <p:cNvPr id="36"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7"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7"/>
              </a:rPr>
              <a:t>www.rapidbbs.cn</a:t>
            </a:r>
            <a:endParaRPr lang="zh-CN" altLang="en-US" sz="1200" b="0">
              <a:latin typeface="Arial" charset="0"/>
              <a:ea typeface="ＭＳ Ｐゴシック" pitchFamily="34" charset="-128"/>
            </a:endParaRPr>
          </a:p>
        </p:txBody>
      </p:sp>
      <p:pic>
        <p:nvPicPr>
          <p:cNvPr id="38" name="Picture 2">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521474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p:bldP spid="35" grpId="0" animBg="1"/>
    </p:bldLst>
  </p:timing>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utomate Datacenter – Why?</a:t>
            </a:r>
            <a:endParaRPr lang="en-US" dirty="0"/>
          </a:p>
        </p:txBody>
      </p:sp>
      <p:grpSp>
        <p:nvGrpSpPr>
          <p:cNvPr id="42" name="Group 41"/>
          <p:cNvGrpSpPr/>
          <p:nvPr/>
        </p:nvGrpSpPr>
        <p:grpSpPr>
          <a:xfrm>
            <a:off x="705493" y="2990849"/>
            <a:ext cx="6068719" cy="893700"/>
            <a:chOff x="940412" y="3988488"/>
            <a:chExt cx="8089518" cy="1191600"/>
          </a:xfrm>
        </p:grpSpPr>
        <p:sp>
          <p:nvSpPr>
            <p:cNvPr id="16" name="Rectangle 37"/>
            <p:cNvSpPr>
              <a:spLocks noChangeArrowheads="1"/>
            </p:cNvSpPr>
            <p:nvPr/>
          </p:nvSpPr>
          <p:spPr bwMode="auto">
            <a:xfrm>
              <a:off x="940412" y="3988488"/>
              <a:ext cx="8089518" cy="1191103"/>
            </a:xfrm>
            <a:prstGeom prst="rect">
              <a:avLst/>
            </a:prstGeom>
            <a:solidFill>
              <a:schemeClr val="accent1"/>
            </a:solidFill>
            <a:ln w="9525" algn="ctr">
              <a:noFill/>
              <a:miter lim="800000"/>
              <a:headEnd/>
              <a:tailEnd/>
            </a:ln>
            <a:effectLst>
              <a:outerShdw dist="23000" dir="5400000" rotWithShape="0">
                <a:srgbClr val="000000">
                  <a:alpha val="34999"/>
                </a:srgbClr>
              </a:outerShdw>
            </a:effectLst>
          </p:spPr>
          <p:txBody>
            <a:bodyPr anchor="ctr"/>
            <a:lstStyle/>
            <a:p>
              <a:pPr algn="ctr">
                <a:defRPr/>
              </a:pPr>
              <a:endParaRPr lang="en-US" dirty="0">
                <a:latin typeface="+mn-lt"/>
                <a:cs typeface="+mn-cs"/>
              </a:endParaRPr>
            </a:p>
          </p:txBody>
        </p:sp>
        <p:grpSp>
          <p:nvGrpSpPr>
            <p:cNvPr id="22" name="Group 21"/>
            <p:cNvGrpSpPr/>
            <p:nvPr/>
          </p:nvGrpSpPr>
          <p:grpSpPr>
            <a:xfrm>
              <a:off x="940412" y="3988488"/>
              <a:ext cx="1191600" cy="1191600"/>
              <a:chOff x="-1296988" y="3648324"/>
              <a:chExt cx="1191600" cy="1191600"/>
            </a:xfrm>
          </p:grpSpPr>
          <p:sp>
            <p:nvSpPr>
              <p:cNvPr id="35" name="Rectangle 34"/>
              <p:cNvSpPr/>
              <p:nvPr/>
            </p:nvSpPr>
            <p:spPr bwMode="auto">
              <a:xfrm>
                <a:off x="-1296988" y="3648324"/>
                <a:ext cx="1191600" cy="11916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defTabSz="685637" fontAlgn="base">
                  <a:spcBef>
                    <a:spcPct val="0"/>
                  </a:spcBef>
                  <a:spcAft>
                    <a:spcPct val="0"/>
                  </a:spcAft>
                </a:pPr>
                <a:endParaRPr lang="en-NZ" sz="1200"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pic>
            <p:nvPicPr>
              <p:cNvPr id="10" name="Picture 5" descr="\\MAGNUM\Projects\Microsoft\Cloud Power FY12\Design\Icons\PNGs\Stop_watch.png"/>
              <p:cNvPicPr>
                <a:picLocks noChangeAspect="1" noChangeArrowheads="1"/>
              </p:cNvPicPr>
              <p:nvPr/>
            </p:nvPicPr>
            <p:blipFill>
              <a:blip r:embed="rId3" cstate="print">
                <a:lum bright="100000"/>
              </a:blip>
              <a:stretch>
                <a:fillRect/>
              </a:stretch>
            </p:blipFill>
            <p:spPr bwMode="auto">
              <a:xfrm>
                <a:off x="-1185752" y="3786924"/>
                <a:ext cx="969127" cy="914400"/>
              </a:xfrm>
              <a:prstGeom prst="rect">
                <a:avLst/>
              </a:prstGeom>
              <a:solidFill>
                <a:schemeClr val="accent2"/>
              </a:solidFill>
            </p:spPr>
          </p:pic>
        </p:grpSp>
        <p:sp>
          <p:nvSpPr>
            <p:cNvPr id="20" name="Text Placeholder 2"/>
            <p:cNvSpPr txBox="1">
              <a:spLocks/>
            </p:cNvSpPr>
            <p:nvPr/>
          </p:nvSpPr>
          <p:spPr>
            <a:xfrm>
              <a:off x="2305765" y="4138437"/>
              <a:ext cx="6654697" cy="861774"/>
            </a:xfrm>
            <a:prstGeom prst="rect">
              <a:avLst/>
            </a:prstGeom>
            <a:solidFill>
              <a:schemeClr val="accent1"/>
            </a:solidFill>
          </p:spPr>
          <p:txBody>
            <a:bodyPr vert="horz" wrap="square" lIns="0" tIns="0" rIns="0" bIns="0" rtlCol="0">
              <a:spAutoFit/>
            </a:bodyPr>
            <a:lstStyle>
              <a:lvl1pPr marL="460375" indent="-460375" algn="l" defTabSz="914363" rtl="0" eaLnBrk="1" latinLnBrk="0" hangingPunct="1">
                <a:lnSpc>
                  <a:spcPct val="90000"/>
                </a:lnSpc>
                <a:spcBef>
                  <a:spcPct val="20000"/>
                </a:spcBef>
                <a:buSzPct val="90000"/>
                <a:buFontTx/>
                <a:buBlip>
                  <a:blip r:embed="rId4"/>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4"/>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4"/>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100" dirty="0"/>
                <a:t>Manage complex IT infrastructure</a:t>
              </a:r>
            </a:p>
            <a:p>
              <a:r>
                <a:rPr lang="en-US" sz="2100" dirty="0"/>
                <a:t>Manage everything from Infra to Apps</a:t>
              </a:r>
            </a:p>
          </p:txBody>
        </p:sp>
      </p:grpSp>
      <p:grpSp>
        <p:nvGrpSpPr>
          <p:cNvPr id="31" name="Group 30"/>
          <p:cNvGrpSpPr/>
          <p:nvPr/>
        </p:nvGrpSpPr>
        <p:grpSpPr>
          <a:xfrm>
            <a:off x="7487409" y="2771021"/>
            <a:ext cx="685979" cy="1600020"/>
            <a:chOff x="10123508" y="1429390"/>
            <a:chExt cx="1754353" cy="4266720"/>
          </a:xfrm>
        </p:grpSpPr>
        <p:pic>
          <p:nvPicPr>
            <p:cNvPr id="32" name="Picture 3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flipH="1">
              <a:off x="10123508" y="1429390"/>
              <a:ext cx="1089005" cy="4266720"/>
            </a:xfrm>
            <a:prstGeom prst="rect">
              <a:avLst/>
            </a:prstGeom>
            <a:effectLst>
              <a:outerShdw blurRad="76200" dist="152400" dir="18900000" sy="23000" kx="-1200000" algn="bl" rotWithShape="0">
                <a:prstClr val="black">
                  <a:alpha val="13000"/>
                </a:prstClr>
              </a:outerShdw>
            </a:effectLst>
          </p:spPr>
        </p:pic>
        <p:pic>
          <p:nvPicPr>
            <p:cNvPr id="33" name="Picture 32" descr="Jeff_Tag_Large.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547164" y="2219397"/>
              <a:ext cx="1330697" cy="1022736"/>
            </a:xfrm>
            <a:prstGeom prst="rect">
              <a:avLst/>
            </a:prstGeom>
            <a:noFill/>
            <a:ln w="9525">
              <a:noFill/>
              <a:miter lim="800000"/>
              <a:headEnd/>
              <a:tailEnd/>
            </a:ln>
            <a:effectLst/>
          </p:spPr>
        </p:pic>
      </p:grpSp>
      <p:grpSp>
        <p:nvGrpSpPr>
          <p:cNvPr id="43" name="Group 42"/>
          <p:cNvGrpSpPr/>
          <p:nvPr/>
        </p:nvGrpSpPr>
        <p:grpSpPr>
          <a:xfrm>
            <a:off x="705493" y="4000500"/>
            <a:ext cx="6068719" cy="893700"/>
            <a:chOff x="940412" y="5334000"/>
            <a:chExt cx="8089518" cy="1191600"/>
          </a:xfrm>
        </p:grpSpPr>
        <p:grpSp>
          <p:nvGrpSpPr>
            <p:cNvPr id="25" name="Group 24"/>
            <p:cNvGrpSpPr/>
            <p:nvPr/>
          </p:nvGrpSpPr>
          <p:grpSpPr>
            <a:xfrm>
              <a:off x="940412" y="5335032"/>
              <a:ext cx="8089518" cy="1190568"/>
              <a:chOff x="989012" y="5335032"/>
              <a:chExt cx="7632699" cy="1294368"/>
            </a:xfrm>
            <a:solidFill>
              <a:schemeClr val="accent1"/>
            </a:solidFill>
          </p:grpSpPr>
          <p:sp>
            <p:nvSpPr>
              <p:cNvPr id="14" name="Rectangle 37"/>
              <p:cNvSpPr>
                <a:spLocks noChangeArrowheads="1"/>
              </p:cNvSpPr>
              <p:nvPr/>
            </p:nvSpPr>
            <p:spPr bwMode="auto">
              <a:xfrm>
                <a:off x="989012" y="5335032"/>
                <a:ext cx="7632699" cy="1294368"/>
              </a:xfrm>
              <a:prstGeom prst="rect">
                <a:avLst/>
              </a:prstGeom>
              <a:grpFill/>
              <a:ln w="9525" algn="ctr">
                <a:noFill/>
                <a:miter lim="800000"/>
                <a:headEnd/>
                <a:tailEnd/>
              </a:ln>
              <a:effectLst>
                <a:outerShdw dist="23000" dir="5400000" rotWithShape="0">
                  <a:srgbClr val="000000">
                    <a:alpha val="34999"/>
                  </a:srgbClr>
                </a:outerShdw>
              </a:effectLst>
            </p:spPr>
            <p:txBody>
              <a:bodyPr anchor="ctr"/>
              <a:lstStyle/>
              <a:p>
                <a:pPr algn="ctr">
                  <a:defRPr/>
                </a:pPr>
                <a:endParaRPr lang="en-US" dirty="0">
                  <a:latin typeface="+mn-lt"/>
                  <a:cs typeface="+mn-cs"/>
                </a:endParaRPr>
              </a:p>
            </p:txBody>
          </p:sp>
          <p:sp>
            <p:nvSpPr>
              <p:cNvPr id="12" name="Freeform 14"/>
              <p:cNvSpPr>
                <a:spLocks noEditPoints="1"/>
              </p:cNvSpPr>
              <p:nvPr/>
            </p:nvSpPr>
            <p:spPr bwMode="black">
              <a:xfrm>
                <a:off x="7770812" y="5642718"/>
                <a:ext cx="641761" cy="678997"/>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grp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606"/>
                <a:endParaRPr lang="en-US" spc="-92">
                  <a:solidFill>
                    <a:schemeClr val="tx1">
                      <a:lumMod val="50000"/>
                    </a:schemeClr>
                  </a:solidFill>
                  <a:latin typeface="Segoe Light" pitchFamily="34" charset="0"/>
                </a:endParaRPr>
              </a:p>
            </p:txBody>
          </p:sp>
          <p:sp>
            <p:nvSpPr>
              <p:cNvPr id="19" name="Text Placeholder 2"/>
              <p:cNvSpPr txBox="1">
                <a:spLocks/>
              </p:cNvSpPr>
              <p:nvPr/>
            </p:nvSpPr>
            <p:spPr>
              <a:xfrm>
                <a:off x="2301541" y="5545812"/>
                <a:ext cx="6254625" cy="843218"/>
              </a:xfrm>
              <a:prstGeom prst="rect">
                <a:avLst/>
              </a:prstGeom>
              <a:grpFill/>
            </p:spPr>
            <p:txBody>
              <a:bodyPr vert="horz" wrap="square" lIns="0" tIns="0" rIns="0" bIns="0" rtlCol="0">
                <a:spAutoFit/>
              </a:bodyPr>
              <a:lstStyle>
                <a:lvl1pPr marL="460375" indent="-460375" algn="l" defTabSz="914363" rtl="0" eaLnBrk="1" latinLnBrk="0" hangingPunct="1">
                  <a:lnSpc>
                    <a:spcPct val="90000"/>
                  </a:lnSpc>
                  <a:spcBef>
                    <a:spcPct val="20000"/>
                  </a:spcBef>
                  <a:buSzPct val="90000"/>
                  <a:buFontTx/>
                  <a:buBlip>
                    <a:blip r:embed="rId4"/>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4"/>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4"/>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100" dirty="0"/>
                  <a:t>If you want MORE with less – you need AUTOMATION</a:t>
                </a:r>
                <a:endParaRPr lang="en-US" dirty="0"/>
              </a:p>
            </p:txBody>
          </p:sp>
        </p:grpSp>
        <p:grpSp>
          <p:nvGrpSpPr>
            <p:cNvPr id="29" name="Group 28"/>
            <p:cNvGrpSpPr/>
            <p:nvPr/>
          </p:nvGrpSpPr>
          <p:grpSpPr>
            <a:xfrm>
              <a:off x="940412" y="5334000"/>
              <a:ext cx="1191600" cy="1191600"/>
              <a:chOff x="-1191600" y="4782372"/>
              <a:chExt cx="1191600" cy="1191600"/>
            </a:xfrm>
          </p:grpSpPr>
          <p:sp>
            <p:nvSpPr>
              <p:cNvPr id="38" name="Rectangle 37"/>
              <p:cNvSpPr/>
              <p:nvPr/>
            </p:nvSpPr>
            <p:spPr bwMode="auto">
              <a:xfrm>
                <a:off x="-1191600" y="4782372"/>
                <a:ext cx="1191600" cy="11916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defTabSz="685637" fontAlgn="base">
                  <a:spcBef>
                    <a:spcPct val="0"/>
                  </a:spcBef>
                  <a:spcAft>
                    <a:spcPct val="0"/>
                  </a:spcAft>
                </a:pPr>
                <a:endParaRPr lang="en-NZ" sz="1200"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pic>
            <p:nvPicPr>
              <p:cNvPr id="26" name="Picture 6" descr="\\MAGNUM\Projects\Microsoft\Cloud Power FY12\Design\ICONS_PNG\Continuous_Availability.png"/>
              <p:cNvPicPr>
                <a:picLocks noChangeAspect="1" noChangeArrowheads="1"/>
              </p:cNvPicPr>
              <p:nvPr/>
            </p:nvPicPr>
            <p:blipFill>
              <a:blip r:embed="rId7" cstate="print">
                <a:lum bright="100000"/>
              </a:blip>
              <a:srcRect/>
              <a:stretch>
                <a:fillRect/>
              </a:stretch>
            </p:blipFill>
            <p:spPr bwMode="auto">
              <a:xfrm>
                <a:off x="-1171029" y="4825722"/>
                <a:ext cx="1171029" cy="1104900"/>
              </a:xfrm>
              <a:prstGeom prst="rect">
                <a:avLst/>
              </a:prstGeom>
              <a:solidFill>
                <a:schemeClr val="accent4"/>
              </a:solidFill>
            </p:spPr>
          </p:pic>
        </p:grpSp>
      </p:grpSp>
      <p:grpSp>
        <p:nvGrpSpPr>
          <p:cNvPr id="40" name="Group 39"/>
          <p:cNvGrpSpPr/>
          <p:nvPr/>
        </p:nvGrpSpPr>
        <p:grpSpPr>
          <a:xfrm>
            <a:off x="705493" y="971549"/>
            <a:ext cx="6068719" cy="893328"/>
            <a:chOff x="940412" y="1295399"/>
            <a:chExt cx="8089518" cy="1191104"/>
          </a:xfrm>
        </p:grpSpPr>
        <p:sp>
          <p:nvSpPr>
            <p:cNvPr id="13" name="Rectangle 37"/>
            <p:cNvSpPr>
              <a:spLocks noChangeArrowheads="1"/>
            </p:cNvSpPr>
            <p:nvPr/>
          </p:nvSpPr>
          <p:spPr bwMode="auto">
            <a:xfrm>
              <a:off x="940412" y="1295400"/>
              <a:ext cx="8089518" cy="1191103"/>
            </a:xfrm>
            <a:prstGeom prst="rect">
              <a:avLst/>
            </a:prstGeom>
            <a:solidFill>
              <a:schemeClr val="accent1"/>
            </a:solidFill>
            <a:ln w="9525" algn="ctr">
              <a:noFill/>
              <a:miter lim="800000"/>
              <a:headEnd/>
              <a:tailEnd/>
            </a:ln>
            <a:effectLst>
              <a:outerShdw dist="23000" dir="5400000" rotWithShape="0">
                <a:srgbClr val="000000">
                  <a:alpha val="34999"/>
                </a:srgbClr>
              </a:outerShdw>
            </a:effectLst>
          </p:spPr>
          <p:txBody>
            <a:bodyPr anchor="ctr"/>
            <a:lstStyle/>
            <a:p>
              <a:pPr algn="ctr">
                <a:defRPr/>
              </a:pPr>
              <a:endParaRPr lang="en-US" dirty="0">
                <a:latin typeface="+mn-lt"/>
                <a:cs typeface="+mn-cs"/>
              </a:endParaRPr>
            </a:p>
          </p:txBody>
        </p:sp>
        <p:sp>
          <p:nvSpPr>
            <p:cNvPr id="17" name="Text Placeholder 2"/>
            <p:cNvSpPr txBox="1">
              <a:spLocks/>
            </p:cNvSpPr>
            <p:nvPr/>
          </p:nvSpPr>
          <p:spPr>
            <a:xfrm>
              <a:off x="2305765" y="1460064"/>
              <a:ext cx="4118790" cy="861774"/>
            </a:xfrm>
            <a:prstGeom prst="rect">
              <a:avLst/>
            </a:prstGeom>
            <a:solidFill>
              <a:schemeClr val="accent1"/>
            </a:solidFill>
          </p:spPr>
          <p:txBody>
            <a:bodyPr vert="horz" wrap="square" lIns="0" tIns="0" rIns="0" bIns="0" rtlCol="0">
              <a:spAutoFit/>
            </a:bodyPr>
            <a:lstStyle>
              <a:lvl1pPr marL="460375" indent="-460375" algn="l" defTabSz="914363" rtl="0" eaLnBrk="1" latinLnBrk="0" hangingPunct="1">
                <a:lnSpc>
                  <a:spcPct val="90000"/>
                </a:lnSpc>
                <a:spcBef>
                  <a:spcPct val="20000"/>
                </a:spcBef>
                <a:buSzPct val="90000"/>
                <a:buFontTx/>
                <a:buBlip>
                  <a:blip r:embed="rId4"/>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4"/>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4"/>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100" dirty="0"/>
                <a:t>Avoid delays</a:t>
              </a:r>
            </a:p>
            <a:p>
              <a:r>
                <a:rPr lang="en-US" sz="2100" dirty="0"/>
                <a:t>Avoid human error</a:t>
              </a:r>
              <a:endParaRPr lang="en-US" dirty="0"/>
            </a:p>
          </p:txBody>
        </p:sp>
        <p:grpSp>
          <p:nvGrpSpPr>
            <p:cNvPr id="9" name="Group 8"/>
            <p:cNvGrpSpPr/>
            <p:nvPr/>
          </p:nvGrpSpPr>
          <p:grpSpPr>
            <a:xfrm>
              <a:off x="940412" y="1295399"/>
              <a:ext cx="1191217" cy="1191103"/>
              <a:chOff x="-702267" y="1629728"/>
              <a:chExt cx="1191217" cy="1191103"/>
            </a:xfrm>
          </p:grpSpPr>
          <p:sp>
            <p:nvSpPr>
              <p:cNvPr id="28" name="Rectangle 27"/>
              <p:cNvSpPr/>
              <p:nvPr/>
            </p:nvSpPr>
            <p:spPr bwMode="auto">
              <a:xfrm>
                <a:off x="-702267" y="1629728"/>
                <a:ext cx="1191217" cy="1191103"/>
              </a:xfrm>
              <a:prstGeom prst="rect">
                <a:avLst/>
              </a:prstGeom>
              <a:solidFill>
                <a:srgbClr val="59D0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defTabSz="685637" fontAlgn="base">
                  <a:spcBef>
                    <a:spcPct val="0"/>
                  </a:spcBef>
                  <a:spcAft>
                    <a:spcPct val="0"/>
                  </a:spcAft>
                </a:pPr>
                <a:endParaRPr lang="en-NZ" sz="1200"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pic>
            <p:nvPicPr>
              <p:cNvPr id="7" name="Picture 5" descr="\\MAGNUM\Projects\Microsoft\Cloud Power FY12\Design\Icons\PNGs\Stop_watch.png"/>
              <p:cNvPicPr>
                <a:picLocks noChangeAspect="1" noChangeArrowheads="1"/>
              </p:cNvPicPr>
              <p:nvPr/>
            </p:nvPicPr>
            <p:blipFill>
              <a:blip r:embed="rId8" cstate="print">
                <a:lum bright="100000"/>
              </a:blip>
              <a:srcRect/>
              <a:stretch>
                <a:fillRect/>
              </a:stretch>
            </p:blipFill>
            <p:spPr bwMode="auto">
              <a:xfrm>
                <a:off x="-591222" y="1753793"/>
                <a:ext cx="969127" cy="914400"/>
              </a:xfrm>
              <a:prstGeom prst="rect">
                <a:avLst/>
              </a:prstGeom>
              <a:solidFill>
                <a:srgbClr val="59D01E"/>
              </a:solidFill>
            </p:spPr>
          </p:pic>
        </p:grpSp>
      </p:grpSp>
      <p:grpSp>
        <p:nvGrpSpPr>
          <p:cNvPr id="41" name="Group 40"/>
          <p:cNvGrpSpPr/>
          <p:nvPr/>
        </p:nvGrpSpPr>
        <p:grpSpPr>
          <a:xfrm>
            <a:off x="705493" y="1980831"/>
            <a:ext cx="6068719" cy="894067"/>
            <a:chOff x="940412" y="2590311"/>
            <a:chExt cx="8089518" cy="1192089"/>
          </a:xfrm>
        </p:grpSpPr>
        <p:sp>
          <p:nvSpPr>
            <p:cNvPr id="27" name="Rectangle 37"/>
            <p:cNvSpPr>
              <a:spLocks noChangeArrowheads="1"/>
            </p:cNvSpPr>
            <p:nvPr/>
          </p:nvSpPr>
          <p:spPr bwMode="auto">
            <a:xfrm>
              <a:off x="940412" y="2590311"/>
              <a:ext cx="8089518" cy="1192089"/>
            </a:xfrm>
            <a:prstGeom prst="rect">
              <a:avLst/>
            </a:prstGeom>
            <a:solidFill>
              <a:schemeClr val="accent1"/>
            </a:solidFill>
            <a:ln w="9525" algn="ctr">
              <a:noFill/>
              <a:miter lim="800000"/>
              <a:headEnd/>
              <a:tailEnd/>
            </a:ln>
            <a:effectLst>
              <a:outerShdw dist="23000" dir="5400000" rotWithShape="0">
                <a:srgbClr val="000000">
                  <a:alpha val="34999"/>
                </a:srgbClr>
              </a:outerShdw>
            </a:effectLst>
          </p:spPr>
          <p:txBody>
            <a:bodyPr anchor="ctr"/>
            <a:lstStyle/>
            <a:p>
              <a:pPr algn="ctr">
                <a:defRPr/>
              </a:pPr>
              <a:endParaRPr lang="en-US" dirty="0">
                <a:latin typeface="+mn-lt"/>
                <a:cs typeface="+mn-cs"/>
              </a:endParaRPr>
            </a:p>
          </p:txBody>
        </p:sp>
        <p:sp>
          <p:nvSpPr>
            <p:cNvPr id="18" name="Text Placeholder 2"/>
            <p:cNvSpPr txBox="1">
              <a:spLocks/>
            </p:cNvSpPr>
            <p:nvPr/>
          </p:nvSpPr>
          <p:spPr>
            <a:xfrm>
              <a:off x="2285576" y="2743200"/>
              <a:ext cx="5730747" cy="861774"/>
            </a:xfrm>
            <a:prstGeom prst="rect">
              <a:avLst/>
            </a:prstGeom>
            <a:solidFill>
              <a:schemeClr val="accent1"/>
            </a:solidFill>
          </p:spPr>
          <p:txBody>
            <a:bodyPr vert="horz" wrap="square" lIns="0" tIns="0" rIns="0" bIns="0" rtlCol="0">
              <a:spAutoFit/>
            </a:bodyPr>
            <a:lstStyle>
              <a:lvl1pPr marL="460375" indent="-460375" algn="l" defTabSz="914363" rtl="0" eaLnBrk="1" latinLnBrk="0" hangingPunct="1">
                <a:lnSpc>
                  <a:spcPct val="90000"/>
                </a:lnSpc>
                <a:spcBef>
                  <a:spcPct val="20000"/>
                </a:spcBef>
                <a:buSzPct val="90000"/>
                <a:buFontTx/>
                <a:buBlip>
                  <a:blip r:embed="rId4"/>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4"/>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4"/>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100" dirty="0"/>
                <a:t>Decrease management cost</a:t>
              </a:r>
            </a:p>
            <a:p>
              <a:r>
                <a:rPr lang="en-US" sz="2100" dirty="0"/>
                <a:t>Ensure standards</a:t>
              </a:r>
            </a:p>
          </p:txBody>
        </p:sp>
        <p:grpSp>
          <p:nvGrpSpPr>
            <p:cNvPr id="21" name="Group 20"/>
            <p:cNvGrpSpPr/>
            <p:nvPr/>
          </p:nvGrpSpPr>
          <p:grpSpPr>
            <a:xfrm>
              <a:off x="940412" y="2590800"/>
              <a:ext cx="1191600" cy="1191600"/>
              <a:chOff x="988629" y="2641986"/>
              <a:chExt cx="1191600" cy="1191600"/>
            </a:xfrm>
          </p:grpSpPr>
          <p:sp>
            <p:nvSpPr>
              <p:cNvPr id="30" name="Rectangle 29"/>
              <p:cNvSpPr/>
              <p:nvPr/>
            </p:nvSpPr>
            <p:spPr bwMode="auto">
              <a:xfrm>
                <a:off x="988629" y="2641986"/>
                <a:ext cx="1191600" cy="1191600"/>
              </a:xfrm>
              <a:prstGeom prst="rect">
                <a:avLst/>
              </a:prstGeom>
              <a:solidFill>
                <a:srgbClr val="F6AE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defTabSz="685637" fontAlgn="base">
                  <a:spcBef>
                    <a:spcPct val="0"/>
                  </a:spcBef>
                  <a:spcAft>
                    <a:spcPct val="0"/>
                  </a:spcAft>
                </a:pPr>
                <a:endParaRPr lang="en-NZ" sz="1200"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pic>
            <p:nvPicPr>
              <p:cNvPr id="11" name="Picture 30" descr="Reduced-Cost.png"/>
              <p:cNvPicPr>
                <a:picLocks noChangeAspect="1"/>
              </p:cNvPicPr>
              <p:nvPr/>
            </p:nvPicPr>
            <p:blipFill>
              <a:blip r:embed="rId9" cstate="print"/>
              <a:srcRect l="10599" r="12095"/>
              <a:stretch>
                <a:fillRect/>
              </a:stretch>
            </p:blipFill>
            <p:spPr bwMode="auto">
              <a:xfrm>
                <a:off x="1218316" y="2780586"/>
                <a:ext cx="732225" cy="914400"/>
              </a:xfrm>
              <a:prstGeom prst="rect">
                <a:avLst/>
              </a:prstGeom>
              <a:solidFill>
                <a:srgbClr val="F6AE1E"/>
              </a:solidFill>
              <a:ln w="9525">
                <a:noFill/>
                <a:miter lim="800000"/>
                <a:headEnd/>
                <a:tailEnd/>
              </a:ln>
            </p:spPr>
          </p:pic>
        </p:grpSp>
      </p:grpSp>
      <p:sp>
        <p:nvSpPr>
          <p:cNvPr id="34"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6"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0"/>
              </a:rPr>
              <a:t>www.rapidbbs.cn</a:t>
            </a:r>
            <a:endParaRPr lang="zh-CN" altLang="en-US" sz="1200" b="0">
              <a:latin typeface="Arial" charset="0"/>
              <a:ea typeface="ＭＳ Ｐゴシック" pitchFamily="34" charset="-128"/>
            </a:endParaRPr>
          </a:p>
        </p:txBody>
      </p:sp>
      <p:pic>
        <p:nvPicPr>
          <p:cNvPr id="37" name="Picture 2">
            <a:hlinkClick r:id="rId10"/>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206447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1"/>
          <p:cNvSpPr txBox="1">
            <a:spLocks/>
          </p:cNvSpPr>
          <p:nvPr/>
        </p:nvSpPr>
        <p:spPr>
          <a:xfrm>
            <a:off x="398963" y="171601"/>
            <a:ext cx="8363938" cy="1218795"/>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dirty="0" smtClean="0"/>
              <a:t>TRADITIONAL DATACENTER OPERATIONS</a:t>
            </a:r>
            <a:endParaRPr lang="en-US" dirty="0"/>
          </a:p>
        </p:txBody>
      </p:sp>
      <p:grpSp>
        <p:nvGrpSpPr>
          <p:cNvPr id="32" name="Group 31"/>
          <p:cNvGrpSpPr/>
          <p:nvPr/>
        </p:nvGrpSpPr>
        <p:grpSpPr>
          <a:xfrm>
            <a:off x="284633" y="742951"/>
            <a:ext cx="8403238" cy="4344351"/>
            <a:chOff x="0" y="925975"/>
            <a:chExt cx="9144000" cy="5486400"/>
          </a:xfrm>
        </p:grpSpPr>
        <p:grpSp>
          <p:nvGrpSpPr>
            <p:cNvPr id="33" name="Group 32"/>
            <p:cNvGrpSpPr/>
            <p:nvPr/>
          </p:nvGrpSpPr>
          <p:grpSpPr>
            <a:xfrm>
              <a:off x="4572000" y="925975"/>
              <a:ext cx="4572000" cy="5486400"/>
              <a:chOff x="4572000" y="925975"/>
              <a:chExt cx="4572000" cy="5486400"/>
            </a:xfrm>
          </p:grpSpPr>
          <p:sp>
            <p:nvSpPr>
              <p:cNvPr id="45" name="Rectangle 44"/>
              <p:cNvSpPr/>
              <p:nvPr/>
            </p:nvSpPr>
            <p:spPr>
              <a:xfrm flipH="1">
                <a:off x="4572000" y="925975"/>
                <a:ext cx="4572000" cy="5486400"/>
              </a:xfrm>
              <a:prstGeom prst="rect">
                <a:avLst/>
              </a:prstGeom>
              <a:gradFill>
                <a:gsLst>
                  <a:gs pos="0">
                    <a:schemeClr val="accent1"/>
                  </a:gs>
                  <a:gs pos="81000">
                    <a:schemeClr val="accent1">
                      <a:alpha val="0"/>
                    </a:schemeClr>
                  </a:gs>
                  <a:gs pos="100000">
                    <a:srgbClr val="00B0F0">
                      <a:alpha val="0"/>
                      <a:lumMod val="0"/>
                      <a:lumOff val="100000"/>
                    </a:srgbClr>
                  </a:gs>
                </a:gsLst>
                <a:lin ang="0" scaled="0"/>
              </a:gradFill>
              <a:ln>
                <a:noFill/>
              </a:ln>
              <a:effectLst/>
            </p:spPr>
            <p:style>
              <a:lnRef idx="1">
                <a:schemeClr val="accent6"/>
              </a:lnRef>
              <a:fillRef idx="2">
                <a:schemeClr val="accent6"/>
              </a:fillRef>
              <a:effectRef idx="1">
                <a:schemeClr val="accent6"/>
              </a:effectRef>
              <a:fontRef idx="minor">
                <a:schemeClr val="dk1"/>
              </a:fontRef>
            </p:style>
            <p:txBody>
              <a:bodyPr lIns="182880" tIns="182880" rIns="182880" bIns="182880" rtlCol="0" anchor="t"/>
              <a:lstStyle/>
              <a:p>
                <a:pPr marL="1714657" algn="ctr">
                  <a:lnSpc>
                    <a:spcPts val="1650"/>
                  </a:lnSpc>
                </a:pPr>
                <a:endParaRPr lang="en-US" sz="2100" b="1" dirty="0">
                  <a:solidFill>
                    <a:schemeClr val="tx1"/>
                  </a:solidFill>
                </a:endParaRPr>
              </a:p>
            </p:txBody>
          </p:sp>
          <p:sp>
            <p:nvSpPr>
              <p:cNvPr id="52" name="Rectangle 51"/>
              <p:cNvSpPr/>
              <p:nvPr/>
            </p:nvSpPr>
            <p:spPr>
              <a:xfrm flipH="1">
                <a:off x="4572000" y="925975"/>
                <a:ext cx="4572000" cy="523684"/>
              </a:xfrm>
              <a:prstGeom prst="rect">
                <a:avLst/>
              </a:prstGeom>
              <a:gradFill>
                <a:gsLst>
                  <a:gs pos="0">
                    <a:schemeClr val="accent1"/>
                  </a:gs>
                  <a:gs pos="81000">
                    <a:schemeClr val="accent1">
                      <a:alpha val="0"/>
                    </a:schemeClr>
                  </a:gs>
                  <a:gs pos="100000">
                    <a:srgbClr val="00B0F0">
                      <a:alpha val="0"/>
                      <a:lumMod val="100000"/>
                    </a:srgbClr>
                  </a:gs>
                </a:gsLst>
                <a:lin ang="0" scaled="0"/>
              </a:gradFill>
              <a:ln>
                <a:noFill/>
              </a:ln>
              <a:effectLst/>
            </p:spPr>
            <p:style>
              <a:lnRef idx="1">
                <a:schemeClr val="accent6"/>
              </a:lnRef>
              <a:fillRef idx="2">
                <a:schemeClr val="accent6"/>
              </a:fillRef>
              <a:effectRef idx="1">
                <a:schemeClr val="accent6"/>
              </a:effectRef>
              <a:fontRef idx="minor">
                <a:schemeClr val="dk1"/>
              </a:fontRef>
            </p:style>
            <p:txBody>
              <a:bodyPr lIns="182880" tIns="182880" rIns="182880" bIns="182880" rtlCol="0" anchor="t"/>
              <a:lstStyle/>
              <a:p>
                <a:pPr marL="1714657" algn="ctr">
                  <a:lnSpc>
                    <a:spcPts val="1650"/>
                  </a:lnSpc>
                </a:pPr>
                <a:endParaRPr lang="en-US" sz="2100" b="1" dirty="0">
                  <a:solidFill>
                    <a:schemeClr val="tx1"/>
                  </a:solidFill>
                </a:endParaRPr>
              </a:p>
            </p:txBody>
          </p:sp>
          <p:sp>
            <p:nvSpPr>
              <p:cNvPr id="54" name="Rectangle 53"/>
              <p:cNvSpPr/>
              <p:nvPr/>
            </p:nvSpPr>
            <p:spPr>
              <a:xfrm>
                <a:off x="5228612" y="1142496"/>
                <a:ext cx="3779999" cy="343338"/>
              </a:xfrm>
              <a:prstGeom prst="rect">
                <a:avLst/>
              </a:prstGeom>
            </p:spPr>
            <p:txBody>
              <a:bodyPr wrap="square">
                <a:spAutoFit/>
              </a:bodyPr>
              <a:lstStyle/>
              <a:p>
                <a:pPr marL="1191" lvl="2" algn="r" fontAlgn="base">
                  <a:lnSpc>
                    <a:spcPts val="1350"/>
                  </a:lnSpc>
                  <a:buClr>
                    <a:schemeClr val="accent2"/>
                  </a:buClr>
                  <a:buSzPct val="100000"/>
                  <a:tabLst>
                    <a:tab pos="3429314" algn="r"/>
                  </a:tabLst>
                  <a:defRPr/>
                </a:pPr>
                <a:r>
                  <a:rPr lang="en-US" sz="2400" b="1" dirty="0">
                    <a:latin typeface="Segoe" pitchFamily="34" charset="0"/>
                    <a:sym typeface="Wingdings" pitchFamily="2" charset="2"/>
                  </a:rPr>
                  <a:t>IT</a:t>
                </a:r>
                <a:endParaRPr lang="en-US" sz="2400" dirty="0">
                  <a:latin typeface="Segoe" pitchFamily="34" charset="0"/>
                  <a:sym typeface="Wingdings" pitchFamily="2" charset="2"/>
                </a:endParaRPr>
              </a:p>
            </p:txBody>
          </p:sp>
        </p:grpSp>
        <p:grpSp>
          <p:nvGrpSpPr>
            <p:cNvPr id="34" name="Group 33"/>
            <p:cNvGrpSpPr/>
            <p:nvPr/>
          </p:nvGrpSpPr>
          <p:grpSpPr>
            <a:xfrm>
              <a:off x="0" y="925975"/>
              <a:ext cx="4572000" cy="5486400"/>
              <a:chOff x="0" y="925975"/>
              <a:chExt cx="4572000" cy="5486400"/>
            </a:xfrm>
          </p:grpSpPr>
          <p:sp>
            <p:nvSpPr>
              <p:cNvPr id="38" name="Rectangle 37"/>
              <p:cNvSpPr/>
              <p:nvPr/>
            </p:nvSpPr>
            <p:spPr>
              <a:xfrm>
                <a:off x="0" y="925975"/>
                <a:ext cx="4572000" cy="5486400"/>
              </a:xfrm>
              <a:prstGeom prst="rect">
                <a:avLst/>
              </a:prstGeom>
              <a:gradFill>
                <a:gsLst>
                  <a:gs pos="0">
                    <a:schemeClr val="accent1"/>
                  </a:gs>
                  <a:gs pos="83000">
                    <a:schemeClr val="accent1">
                      <a:alpha val="0"/>
                    </a:schemeClr>
                  </a:gs>
                  <a:gs pos="100000">
                    <a:schemeClr val="accent1">
                      <a:alpha val="0"/>
                    </a:schemeClr>
                  </a:gs>
                </a:gsLst>
                <a:lin ang="0" scaled="0"/>
              </a:gradFill>
              <a:ln>
                <a:noFill/>
              </a:ln>
              <a:effectLst/>
            </p:spPr>
            <p:style>
              <a:lnRef idx="1">
                <a:schemeClr val="accent6"/>
              </a:lnRef>
              <a:fillRef idx="2">
                <a:schemeClr val="accent6"/>
              </a:fillRef>
              <a:effectRef idx="1">
                <a:schemeClr val="accent6"/>
              </a:effectRef>
              <a:fontRef idx="minor">
                <a:schemeClr val="dk1"/>
              </a:fontRef>
            </p:style>
            <p:txBody>
              <a:bodyPr lIns="182880" tIns="182880" rIns="182880" bIns="182880" rtlCol="0" anchor="t"/>
              <a:lstStyle/>
              <a:p>
                <a:pPr marL="1714657" algn="ctr">
                  <a:lnSpc>
                    <a:spcPts val="1650"/>
                  </a:lnSpc>
                </a:pPr>
                <a:endParaRPr lang="en-US" sz="2100" b="1" dirty="0">
                  <a:solidFill>
                    <a:schemeClr val="tx1"/>
                  </a:solidFill>
                </a:endParaRPr>
              </a:p>
            </p:txBody>
          </p:sp>
          <p:sp>
            <p:nvSpPr>
              <p:cNvPr id="39" name="Rectangle 38"/>
              <p:cNvSpPr/>
              <p:nvPr/>
            </p:nvSpPr>
            <p:spPr>
              <a:xfrm>
                <a:off x="0" y="925975"/>
                <a:ext cx="4572000" cy="523684"/>
              </a:xfrm>
              <a:prstGeom prst="rect">
                <a:avLst/>
              </a:prstGeom>
              <a:gradFill>
                <a:gsLst>
                  <a:gs pos="0">
                    <a:schemeClr val="accent1"/>
                  </a:gs>
                  <a:gs pos="81000">
                    <a:schemeClr val="accent1">
                      <a:alpha val="0"/>
                    </a:schemeClr>
                  </a:gs>
                  <a:gs pos="100000">
                    <a:schemeClr val="accent1">
                      <a:alpha val="0"/>
                    </a:schemeClr>
                  </a:gs>
                </a:gsLst>
                <a:lin ang="0" scaled="0"/>
              </a:gradFill>
              <a:ln>
                <a:noFill/>
              </a:ln>
              <a:effectLst/>
            </p:spPr>
            <p:style>
              <a:lnRef idx="1">
                <a:schemeClr val="accent6"/>
              </a:lnRef>
              <a:fillRef idx="2">
                <a:schemeClr val="accent6"/>
              </a:fillRef>
              <a:effectRef idx="1">
                <a:schemeClr val="accent6"/>
              </a:effectRef>
              <a:fontRef idx="minor">
                <a:schemeClr val="dk1"/>
              </a:fontRef>
            </p:style>
            <p:txBody>
              <a:bodyPr lIns="182880" tIns="182880" rIns="182880" bIns="182880" rtlCol="0" anchor="t"/>
              <a:lstStyle/>
              <a:p>
                <a:pPr marL="1714657" algn="ctr">
                  <a:lnSpc>
                    <a:spcPts val="1650"/>
                  </a:lnSpc>
                </a:pPr>
                <a:endParaRPr lang="en-US" sz="2100" b="1" dirty="0">
                  <a:solidFill>
                    <a:schemeClr val="tx1"/>
                  </a:solidFill>
                </a:endParaRPr>
              </a:p>
            </p:txBody>
          </p:sp>
          <p:sp>
            <p:nvSpPr>
              <p:cNvPr id="44" name="Rectangle 43"/>
              <p:cNvSpPr/>
              <p:nvPr/>
            </p:nvSpPr>
            <p:spPr>
              <a:xfrm>
                <a:off x="132503" y="1142496"/>
                <a:ext cx="3779999" cy="343338"/>
              </a:xfrm>
              <a:prstGeom prst="rect">
                <a:avLst/>
              </a:prstGeom>
            </p:spPr>
            <p:txBody>
              <a:bodyPr wrap="square">
                <a:spAutoFit/>
              </a:bodyPr>
              <a:lstStyle/>
              <a:p>
                <a:pPr marL="1191" lvl="2" fontAlgn="base">
                  <a:lnSpc>
                    <a:spcPts val="1350"/>
                  </a:lnSpc>
                  <a:buClr>
                    <a:schemeClr val="accent2"/>
                  </a:buClr>
                  <a:buSzPct val="100000"/>
                  <a:tabLst>
                    <a:tab pos="3429314" algn="r"/>
                  </a:tabLst>
                  <a:defRPr/>
                </a:pPr>
                <a:r>
                  <a:rPr lang="en-US" sz="2400" b="1" dirty="0">
                    <a:latin typeface="Segoe" pitchFamily="34" charset="0"/>
                    <a:sym typeface="Wingdings" pitchFamily="2" charset="2"/>
                  </a:rPr>
                  <a:t>Business</a:t>
                </a:r>
              </a:p>
            </p:txBody>
          </p:sp>
        </p:grpSp>
        <p:grpSp>
          <p:nvGrpSpPr>
            <p:cNvPr id="35" name="Group 34"/>
            <p:cNvGrpSpPr/>
            <p:nvPr/>
          </p:nvGrpSpPr>
          <p:grpSpPr>
            <a:xfrm>
              <a:off x="3136922" y="2442008"/>
              <a:ext cx="2870157" cy="3072016"/>
              <a:chOff x="3237527" y="2372558"/>
              <a:chExt cx="2870157" cy="3072016"/>
            </a:xfrm>
          </p:grpSpPr>
          <p:sp>
            <p:nvSpPr>
              <p:cNvPr id="36" name="Freeform 10"/>
              <p:cNvSpPr>
                <a:spLocks/>
              </p:cNvSpPr>
              <p:nvPr/>
            </p:nvSpPr>
            <p:spPr bwMode="auto">
              <a:xfrm rot="16373751">
                <a:off x="2637841" y="2972244"/>
                <a:ext cx="2940748" cy="1741375"/>
              </a:xfrm>
              <a:custGeom>
                <a:avLst/>
                <a:gdLst/>
                <a:ahLst/>
                <a:cxnLst>
                  <a:cxn ang="0">
                    <a:pos x="1634" y="679"/>
                  </a:cxn>
                  <a:cxn ang="0">
                    <a:pos x="1607" y="570"/>
                  </a:cxn>
                  <a:cxn ang="0">
                    <a:pos x="1566" y="467"/>
                  </a:cxn>
                  <a:cxn ang="0">
                    <a:pos x="1511" y="372"/>
                  </a:cxn>
                  <a:cxn ang="0">
                    <a:pos x="1445" y="284"/>
                  </a:cxn>
                  <a:cxn ang="0">
                    <a:pos x="1369" y="207"/>
                  </a:cxn>
                  <a:cxn ang="0">
                    <a:pos x="1283" y="140"/>
                  </a:cxn>
                  <a:cxn ang="0">
                    <a:pos x="1187" y="85"/>
                  </a:cxn>
                  <a:cxn ang="0">
                    <a:pos x="1086" y="43"/>
                  </a:cxn>
                  <a:cxn ang="0">
                    <a:pos x="976" y="14"/>
                  </a:cxn>
                  <a:cxn ang="0">
                    <a:pos x="863" y="1"/>
                  </a:cxn>
                  <a:cxn ang="0">
                    <a:pos x="781" y="1"/>
                  </a:cxn>
                  <a:cxn ang="0">
                    <a:pos x="657" y="16"/>
                  </a:cxn>
                  <a:cxn ang="0">
                    <a:pos x="540" y="50"/>
                  </a:cxn>
                  <a:cxn ang="0">
                    <a:pos x="431" y="100"/>
                  </a:cxn>
                  <a:cxn ang="0">
                    <a:pos x="330" y="164"/>
                  </a:cxn>
                  <a:cxn ang="0">
                    <a:pos x="242" y="242"/>
                  </a:cxn>
                  <a:cxn ang="0">
                    <a:pos x="164" y="330"/>
                  </a:cxn>
                  <a:cxn ang="0">
                    <a:pos x="99" y="431"/>
                  </a:cxn>
                  <a:cxn ang="0">
                    <a:pos x="50" y="540"/>
                  </a:cxn>
                  <a:cxn ang="0">
                    <a:pos x="16" y="657"/>
                  </a:cxn>
                  <a:cxn ang="0">
                    <a:pos x="1" y="781"/>
                  </a:cxn>
                  <a:cxn ang="0">
                    <a:pos x="1" y="856"/>
                  </a:cxn>
                  <a:cxn ang="0">
                    <a:pos x="10" y="951"/>
                  </a:cxn>
                  <a:cxn ang="0">
                    <a:pos x="389" y="941"/>
                  </a:cxn>
                  <a:cxn ang="0">
                    <a:pos x="375" y="853"/>
                  </a:cxn>
                  <a:cxn ang="0">
                    <a:pos x="375" y="801"/>
                  </a:cxn>
                  <a:cxn ang="0">
                    <a:pos x="383" y="733"/>
                  </a:cxn>
                  <a:cxn ang="0">
                    <a:pos x="401" y="669"/>
                  </a:cxn>
                  <a:cxn ang="0">
                    <a:pos x="429" y="609"/>
                  </a:cxn>
                  <a:cxn ang="0">
                    <a:pos x="464" y="554"/>
                  </a:cxn>
                  <a:cxn ang="0">
                    <a:pos x="505" y="505"/>
                  </a:cxn>
                  <a:cxn ang="0">
                    <a:pos x="554" y="464"/>
                  </a:cxn>
                  <a:cxn ang="0">
                    <a:pos x="609" y="429"/>
                  </a:cxn>
                  <a:cxn ang="0">
                    <a:pos x="669" y="401"/>
                  </a:cxn>
                  <a:cxn ang="0">
                    <a:pos x="733" y="383"/>
                  </a:cxn>
                  <a:cxn ang="0">
                    <a:pos x="800" y="375"/>
                  </a:cxn>
                  <a:cxn ang="0">
                    <a:pos x="843" y="374"/>
                  </a:cxn>
                  <a:cxn ang="0">
                    <a:pos x="901" y="381"/>
                  </a:cxn>
                  <a:cxn ang="0">
                    <a:pos x="957" y="394"/>
                  </a:cxn>
                  <a:cxn ang="0">
                    <a:pos x="1008" y="413"/>
                  </a:cxn>
                  <a:cxn ang="0">
                    <a:pos x="1057" y="440"/>
                  </a:cxn>
                  <a:cxn ang="0">
                    <a:pos x="1103" y="471"/>
                  </a:cxn>
                  <a:cxn ang="0">
                    <a:pos x="1144" y="509"/>
                  </a:cxn>
                  <a:cxn ang="0">
                    <a:pos x="1180" y="550"/>
                  </a:cxn>
                  <a:cxn ang="0">
                    <a:pos x="1211" y="596"/>
                  </a:cxn>
                  <a:cxn ang="0">
                    <a:pos x="1237" y="645"/>
                  </a:cxn>
                  <a:cxn ang="0">
                    <a:pos x="1255" y="699"/>
                  </a:cxn>
                  <a:cxn ang="0">
                    <a:pos x="1272" y="793"/>
                  </a:cxn>
                  <a:cxn ang="0">
                    <a:pos x="1709" y="716"/>
                  </a:cxn>
                </a:cxnLst>
                <a:rect l="0" t="0" r="r" b="b"/>
                <a:pathLst>
                  <a:path w="1709" h="1018">
                    <a:moveTo>
                      <a:pt x="1640" y="716"/>
                    </a:moveTo>
                    <a:lnTo>
                      <a:pt x="1640" y="716"/>
                    </a:lnTo>
                    <a:lnTo>
                      <a:pt x="1634" y="679"/>
                    </a:lnTo>
                    <a:lnTo>
                      <a:pt x="1627" y="642"/>
                    </a:lnTo>
                    <a:lnTo>
                      <a:pt x="1617" y="606"/>
                    </a:lnTo>
                    <a:lnTo>
                      <a:pt x="1607" y="570"/>
                    </a:lnTo>
                    <a:lnTo>
                      <a:pt x="1594" y="535"/>
                    </a:lnTo>
                    <a:lnTo>
                      <a:pt x="1581" y="501"/>
                    </a:lnTo>
                    <a:lnTo>
                      <a:pt x="1566" y="467"/>
                    </a:lnTo>
                    <a:lnTo>
                      <a:pt x="1549" y="434"/>
                    </a:lnTo>
                    <a:lnTo>
                      <a:pt x="1531" y="402"/>
                    </a:lnTo>
                    <a:lnTo>
                      <a:pt x="1511" y="372"/>
                    </a:lnTo>
                    <a:lnTo>
                      <a:pt x="1490" y="341"/>
                    </a:lnTo>
                    <a:lnTo>
                      <a:pt x="1468" y="313"/>
                    </a:lnTo>
                    <a:lnTo>
                      <a:pt x="1445" y="284"/>
                    </a:lnTo>
                    <a:lnTo>
                      <a:pt x="1421" y="257"/>
                    </a:lnTo>
                    <a:lnTo>
                      <a:pt x="1395" y="232"/>
                    </a:lnTo>
                    <a:lnTo>
                      <a:pt x="1369" y="207"/>
                    </a:lnTo>
                    <a:lnTo>
                      <a:pt x="1342" y="184"/>
                    </a:lnTo>
                    <a:lnTo>
                      <a:pt x="1312" y="161"/>
                    </a:lnTo>
                    <a:lnTo>
                      <a:pt x="1283" y="140"/>
                    </a:lnTo>
                    <a:lnTo>
                      <a:pt x="1252" y="120"/>
                    </a:lnTo>
                    <a:lnTo>
                      <a:pt x="1220" y="102"/>
                    </a:lnTo>
                    <a:lnTo>
                      <a:pt x="1187" y="85"/>
                    </a:lnTo>
                    <a:lnTo>
                      <a:pt x="1155" y="69"/>
                    </a:lnTo>
                    <a:lnTo>
                      <a:pt x="1120" y="55"/>
                    </a:lnTo>
                    <a:lnTo>
                      <a:pt x="1086" y="43"/>
                    </a:lnTo>
                    <a:lnTo>
                      <a:pt x="1050" y="32"/>
                    </a:lnTo>
                    <a:lnTo>
                      <a:pt x="1014" y="22"/>
                    </a:lnTo>
                    <a:lnTo>
                      <a:pt x="976" y="14"/>
                    </a:lnTo>
                    <a:lnTo>
                      <a:pt x="939" y="8"/>
                    </a:lnTo>
                    <a:lnTo>
                      <a:pt x="901" y="3"/>
                    </a:lnTo>
                    <a:lnTo>
                      <a:pt x="863" y="1"/>
                    </a:lnTo>
                    <a:lnTo>
                      <a:pt x="823" y="0"/>
                    </a:lnTo>
                    <a:lnTo>
                      <a:pt x="823" y="0"/>
                    </a:lnTo>
                    <a:lnTo>
                      <a:pt x="781" y="1"/>
                    </a:lnTo>
                    <a:lnTo>
                      <a:pt x="739" y="4"/>
                    </a:lnTo>
                    <a:lnTo>
                      <a:pt x="698" y="10"/>
                    </a:lnTo>
                    <a:lnTo>
                      <a:pt x="657" y="16"/>
                    </a:lnTo>
                    <a:lnTo>
                      <a:pt x="618" y="26"/>
                    </a:lnTo>
                    <a:lnTo>
                      <a:pt x="578" y="37"/>
                    </a:lnTo>
                    <a:lnTo>
                      <a:pt x="540" y="50"/>
                    </a:lnTo>
                    <a:lnTo>
                      <a:pt x="503" y="65"/>
                    </a:lnTo>
                    <a:lnTo>
                      <a:pt x="467" y="81"/>
                    </a:lnTo>
                    <a:lnTo>
                      <a:pt x="431" y="100"/>
                    </a:lnTo>
                    <a:lnTo>
                      <a:pt x="397" y="119"/>
                    </a:lnTo>
                    <a:lnTo>
                      <a:pt x="363" y="141"/>
                    </a:lnTo>
                    <a:lnTo>
                      <a:pt x="330" y="164"/>
                    </a:lnTo>
                    <a:lnTo>
                      <a:pt x="300" y="188"/>
                    </a:lnTo>
                    <a:lnTo>
                      <a:pt x="270" y="214"/>
                    </a:lnTo>
                    <a:lnTo>
                      <a:pt x="242" y="242"/>
                    </a:lnTo>
                    <a:lnTo>
                      <a:pt x="214" y="270"/>
                    </a:lnTo>
                    <a:lnTo>
                      <a:pt x="188" y="300"/>
                    </a:lnTo>
                    <a:lnTo>
                      <a:pt x="164" y="330"/>
                    </a:lnTo>
                    <a:lnTo>
                      <a:pt x="141" y="363"/>
                    </a:lnTo>
                    <a:lnTo>
                      <a:pt x="119" y="397"/>
                    </a:lnTo>
                    <a:lnTo>
                      <a:pt x="99" y="431"/>
                    </a:lnTo>
                    <a:lnTo>
                      <a:pt x="81" y="467"/>
                    </a:lnTo>
                    <a:lnTo>
                      <a:pt x="64" y="503"/>
                    </a:lnTo>
                    <a:lnTo>
                      <a:pt x="50" y="540"/>
                    </a:lnTo>
                    <a:lnTo>
                      <a:pt x="37" y="579"/>
                    </a:lnTo>
                    <a:lnTo>
                      <a:pt x="26" y="618"/>
                    </a:lnTo>
                    <a:lnTo>
                      <a:pt x="16" y="657"/>
                    </a:lnTo>
                    <a:lnTo>
                      <a:pt x="10" y="698"/>
                    </a:lnTo>
                    <a:lnTo>
                      <a:pt x="4" y="739"/>
                    </a:lnTo>
                    <a:lnTo>
                      <a:pt x="1" y="781"/>
                    </a:lnTo>
                    <a:lnTo>
                      <a:pt x="0" y="824"/>
                    </a:lnTo>
                    <a:lnTo>
                      <a:pt x="0" y="824"/>
                    </a:lnTo>
                    <a:lnTo>
                      <a:pt x="1" y="856"/>
                    </a:lnTo>
                    <a:lnTo>
                      <a:pt x="2" y="888"/>
                    </a:lnTo>
                    <a:lnTo>
                      <a:pt x="5" y="920"/>
                    </a:lnTo>
                    <a:lnTo>
                      <a:pt x="10" y="951"/>
                    </a:lnTo>
                    <a:lnTo>
                      <a:pt x="204" y="717"/>
                    </a:lnTo>
                    <a:lnTo>
                      <a:pt x="389" y="941"/>
                    </a:lnTo>
                    <a:lnTo>
                      <a:pt x="389" y="941"/>
                    </a:lnTo>
                    <a:lnTo>
                      <a:pt x="383" y="912"/>
                    </a:lnTo>
                    <a:lnTo>
                      <a:pt x="378" y="883"/>
                    </a:lnTo>
                    <a:lnTo>
                      <a:pt x="375" y="853"/>
                    </a:lnTo>
                    <a:lnTo>
                      <a:pt x="374" y="824"/>
                    </a:lnTo>
                    <a:lnTo>
                      <a:pt x="374" y="824"/>
                    </a:lnTo>
                    <a:lnTo>
                      <a:pt x="375" y="801"/>
                    </a:lnTo>
                    <a:lnTo>
                      <a:pt x="376" y="778"/>
                    </a:lnTo>
                    <a:lnTo>
                      <a:pt x="379" y="755"/>
                    </a:lnTo>
                    <a:lnTo>
                      <a:pt x="383" y="733"/>
                    </a:lnTo>
                    <a:lnTo>
                      <a:pt x="388" y="711"/>
                    </a:lnTo>
                    <a:lnTo>
                      <a:pt x="394" y="690"/>
                    </a:lnTo>
                    <a:lnTo>
                      <a:pt x="401" y="669"/>
                    </a:lnTo>
                    <a:lnTo>
                      <a:pt x="409" y="649"/>
                    </a:lnTo>
                    <a:lnTo>
                      <a:pt x="419" y="629"/>
                    </a:lnTo>
                    <a:lnTo>
                      <a:pt x="429" y="609"/>
                    </a:lnTo>
                    <a:lnTo>
                      <a:pt x="439" y="591"/>
                    </a:lnTo>
                    <a:lnTo>
                      <a:pt x="450" y="572"/>
                    </a:lnTo>
                    <a:lnTo>
                      <a:pt x="464" y="554"/>
                    </a:lnTo>
                    <a:lnTo>
                      <a:pt x="477" y="538"/>
                    </a:lnTo>
                    <a:lnTo>
                      <a:pt x="491" y="522"/>
                    </a:lnTo>
                    <a:lnTo>
                      <a:pt x="505" y="505"/>
                    </a:lnTo>
                    <a:lnTo>
                      <a:pt x="522" y="491"/>
                    </a:lnTo>
                    <a:lnTo>
                      <a:pt x="538" y="477"/>
                    </a:lnTo>
                    <a:lnTo>
                      <a:pt x="554" y="464"/>
                    </a:lnTo>
                    <a:lnTo>
                      <a:pt x="572" y="451"/>
                    </a:lnTo>
                    <a:lnTo>
                      <a:pt x="590" y="440"/>
                    </a:lnTo>
                    <a:lnTo>
                      <a:pt x="609" y="429"/>
                    </a:lnTo>
                    <a:lnTo>
                      <a:pt x="629" y="419"/>
                    </a:lnTo>
                    <a:lnTo>
                      <a:pt x="648" y="409"/>
                    </a:lnTo>
                    <a:lnTo>
                      <a:pt x="669" y="401"/>
                    </a:lnTo>
                    <a:lnTo>
                      <a:pt x="690" y="394"/>
                    </a:lnTo>
                    <a:lnTo>
                      <a:pt x="711" y="388"/>
                    </a:lnTo>
                    <a:lnTo>
                      <a:pt x="733" y="383"/>
                    </a:lnTo>
                    <a:lnTo>
                      <a:pt x="754" y="379"/>
                    </a:lnTo>
                    <a:lnTo>
                      <a:pt x="777" y="376"/>
                    </a:lnTo>
                    <a:lnTo>
                      <a:pt x="800" y="375"/>
                    </a:lnTo>
                    <a:lnTo>
                      <a:pt x="823" y="374"/>
                    </a:lnTo>
                    <a:lnTo>
                      <a:pt x="823" y="374"/>
                    </a:lnTo>
                    <a:lnTo>
                      <a:pt x="843" y="374"/>
                    </a:lnTo>
                    <a:lnTo>
                      <a:pt x="863" y="376"/>
                    </a:lnTo>
                    <a:lnTo>
                      <a:pt x="881" y="377"/>
                    </a:lnTo>
                    <a:lnTo>
                      <a:pt x="901" y="381"/>
                    </a:lnTo>
                    <a:lnTo>
                      <a:pt x="920" y="384"/>
                    </a:lnTo>
                    <a:lnTo>
                      <a:pt x="938" y="389"/>
                    </a:lnTo>
                    <a:lnTo>
                      <a:pt x="957" y="394"/>
                    </a:lnTo>
                    <a:lnTo>
                      <a:pt x="974" y="400"/>
                    </a:lnTo>
                    <a:lnTo>
                      <a:pt x="992" y="407"/>
                    </a:lnTo>
                    <a:lnTo>
                      <a:pt x="1008" y="413"/>
                    </a:lnTo>
                    <a:lnTo>
                      <a:pt x="1026" y="422"/>
                    </a:lnTo>
                    <a:lnTo>
                      <a:pt x="1042" y="431"/>
                    </a:lnTo>
                    <a:lnTo>
                      <a:pt x="1057" y="440"/>
                    </a:lnTo>
                    <a:lnTo>
                      <a:pt x="1074" y="449"/>
                    </a:lnTo>
                    <a:lnTo>
                      <a:pt x="1088" y="460"/>
                    </a:lnTo>
                    <a:lnTo>
                      <a:pt x="1103" y="471"/>
                    </a:lnTo>
                    <a:lnTo>
                      <a:pt x="1117" y="483"/>
                    </a:lnTo>
                    <a:lnTo>
                      <a:pt x="1131" y="495"/>
                    </a:lnTo>
                    <a:lnTo>
                      <a:pt x="1144" y="509"/>
                    </a:lnTo>
                    <a:lnTo>
                      <a:pt x="1157" y="522"/>
                    </a:lnTo>
                    <a:lnTo>
                      <a:pt x="1169" y="536"/>
                    </a:lnTo>
                    <a:lnTo>
                      <a:pt x="1180" y="550"/>
                    </a:lnTo>
                    <a:lnTo>
                      <a:pt x="1191" y="565"/>
                    </a:lnTo>
                    <a:lnTo>
                      <a:pt x="1202" y="581"/>
                    </a:lnTo>
                    <a:lnTo>
                      <a:pt x="1211" y="596"/>
                    </a:lnTo>
                    <a:lnTo>
                      <a:pt x="1220" y="612"/>
                    </a:lnTo>
                    <a:lnTo>
                      <a:pt x="1228" y="629"/>
                    </a:lnTo>
                    <a:lnTo>
                      <a:pt x="1237" y="645"/>
                    </a:lnTo>
                    <a:lnTo>
                      <a:pt x="1243" y="663"/>
                    </a:lnTo>
                    <a:lnTo>
                      <a:pt x="1250" y="680"/>
                    </a:lnTo>
                    <a:lnTo>
                      <a:pt x="1255" y="699"/>
                    </a:lnTo>
                    <a:lnTo>
                      <a:pt x="1260" y="717"/>
                    </a:lnTo>
                    <a:lnTo>
                      <a:pt x="1209" y="717"/>
                    </a:lnTo>
                    <a:lnTo>
                      <a:pt x="1272" y="793"/>
                    </a:lnTo>
                    <a:lnTo>
                      <a:pt x="1459" y="1018"/>
                    </a:lnTo>
                    <a:lnTo>
                      <a:pt x="1646" y="793"/>
                    </a:lnTo>
                    <a:lnTo>
                      <a:pt x="1709" y="716"/>
                    </a:lnTo>
                    <a:lnTo>
                      <a:pt x="1640" y="716"/>
                    </a:lnTo>
                    <a:close/>
                  </a:path>
                </a:pathLst>
              </a:custGeom>
              <a:gradFill flip="none" rotWithShape="1">
                <a:gsLst>
                  <a:gs pos="0">
                    <a:srgbClr val="00B0F0"/>
                  </a:gs>
                  <a:gs pos="50000">
                    <a:srgbClr val="00B0F0"/>
                  </a:gs>
                  <a:gs pos="100000">
                    <a:srgbClr val="00B0F0"/>
                  </a:gs>
                </a:gsLst>
                <a:lin ang="16200000" scaled="1"/>
                <a:tileRect/>
              </a:gradFill>
              <a:ln>
                <a:noFill/>
                <a:headEnd type="none" w="med" len="med"/>
                <a:tailEnd type="none" w="med" len="med"/>
              </a:ln>
              <a:effectLst>
                <a:outerShdw blurRad="184150" dist="241300" dir="11520000" sx="110000" sy="110000" algn="ctr">
                  <a:srgbClr val="000000">
                    <a:alpha val="18000"/>
                  </a:srgbClr>
                </a:outerShdw>
              </a:effectLst>
              <a:scene3d>
                <a:camera prst="perspectiveFront" fov="5100000">
                  <a:rot lat="0" lon="0" rev="0"/>
                </a:camera>
                <a:lightRig rig="contrasting" dir="t"/>
              </a:scene3d>
              <a:sp3d extrusionH="107950" contourW="12700" prstMaterial="softEdge">
                <a:bevelT w="82550" h="63500" prst="divot"/>
                <a:bevelB/>
                <a:extrusionClr>
                  <a:schemeClr val="accent1">
                    <a:lumMod val="20000"/>
                    <a:lumOff val="80000"/>
                  </a:schemeClr>
                </a:extrusionClr>
                <a:contourClr>
                  <a:srgbClr val="00B0F0"/>
                </a:contourClr>
              </a:sp3d>
            </p:spPr>
            <p:txBody>
              <a:bodyPr vert="horz" wrap="square" lIns="91436" tIns="45720" rIns="91436" bIns="45718" numCol="1" rtlCol="0" anchor="ctr" anchorCtr="0" compatLnSpc="1">
                <a:prstTxWarp prst="textNoShape">
                  <a:avLst/>
                </a:prstTxWarp>
              </a:bodyPr>
              <a:lstStyle/>
              <a:p>
                <a:pPr algn="ctr" defTabSz="685637">
                  <a:lnSpc>
                    <a:spcPct val="90000"/>
                  </a:lnSpc>
                </a:pPr>
                <a:endParaRPr lang="en-US" sz="2100" kern="0" dirty="0">
                  <a:latin typeface="Segoe" charset="0"/>
                  <a:ea typeface="ＭＳ Ｐゴシック" pitchFamily="-109" charset="-128"/>
                  <a:cs typeface="ＭＳ Ｐゴシック" pitchFamily="-109" charset="-128"/>
                </a:endParaRPr>
              </a:p>
            </p:txBody>
          </p:sp>
          <p:sp>
            <p:nvSpPr>
              <p:cNvPr id="37" name="Freeform 11"/>
              <p:cNvSpPr>
                <a:spLocks/>
              </p:cNvSpPr>
              <p:nvPr/>
            </p:nvSpPr>
            <p:spPr bwMode="auto">
              <a:xfrm rot="16373751">
                <a:off x="3855655" y="3192544"/>
                <a:ext cx="2913216" cy="1590843"/>
              </a:xfrm>
              <a:custGeom>
                <a:avLst/>
                <a:gdLst/>
                <a:ahLst/>
                <a:cxnLst>
                  <a:cxn ang="0">
                    <a:pos x="1318" y="76"/>
                  </a:cxn>
                  <a:cxn ang="0">
                    <a:pos x="1319" y="106"/>
                  </a:cxn>
                  <a:cxn ang="0">
                    <a:pos x="1313" y="175"/>
                  </a:cxn>
                  <a:cxn ang="0">
                    <a:pos x="1299" y="240"/>
                  </a:cxn>
                  <a:cxn ang="0">
                    <a:pos x="1274" y="301"/>
                  </a:cxn>
                  <a:cxn ang="0">
                    <a:pos x="1242" y="358"/>
                  </a:cxn>
                  <a:cxn ang="0">
                    <a:pos x="1202" y="408"/>
                  </a:cxn>
                  <a:cxn ang="0">
                    <a:pos x="1155" y="453"/>
                  </a:cxn>
                  <a:cxn ang="0">
                    <a:pos x="1102" y="490"/>
                  </a:cxn>
                  <a:cxn ang="0">
                    <a:pos x="1044" y="521"/>
                  </a:cxn>
                  <a:cxn ang="0">
                    <a:pos x="982" y="542"/>
                  </a:cxn>
                  <a:cxn ang="0">
                    <a:pos x="915" y="554"/>
                  </a:cxn>
                  <a:cxn ang="0">
                    <a:pos x="869" y="556"/>
                  </a:cxn>
                  <a:cxn ang="0">
                    <a:pos x="772" y="545"/>
                  </a:cxn>
                  <a:cxn ang="0">
                    <a:pos x="682" y="516"/>
                  </a:cxn>
                  <a:cxn ang="0">
                    <a:pos x="601" y="467"/>
                  </a:cxn>
                  <a:cxn ang="0">
                    <a:pos x="534" y="405"/>
                  </a:cxn>
                  <a:cxn ang="0">
                    <a:pos x="479" y="330"/>
                  </a:cxn>
                  <a:cxn ang="0">
                    <a:pos x="435" y="224"/>
                  </a:cxn>
                  <a:cxn ang="0">
                    <a:pos x="0" y="302"/>
                  </a:cxn>
                  <a:cxn ang="0">
                    <a:pos x="78" y="335"/>
                  </a:cxn>
                  <a:cxn ang="0">
                    <a:pos x="113" y="432"/>
                  </a:cxn>
                  <a:cxn ang="0">
                    <a:pos x="159" y="523"/>
                  </a:cxn>
                  <a:cxn ang="0">
                    <a:pos x="215" y="607"/>
                  </a:cxn>
                  <a:cxn ang="0">
                    <a:pos x="282" y="684"/>
                  </a:cxn>
                  <a:cxn ang="0">
                    <a:pos x="356" y="751"/>
                  </a:cxn>
                  <a:cxn ang="0">
                    <a:pos x="440" y="810"/>
                  </a:cxn>
                  <a:cxn ang="0">
                    <a:pos x="529" y="857"/>
                  </a:cxn>
                  <a:cxn ang="0">
                    <a:pos x="625" y="894"/>
                  </a:cxn>
                  <a:cxn ang="0">
                    <a:pos x="727" y="918"/>
                  </a:cxn>
                  <a:cxn ang="0">
                    <a:pos x="833" y="929"/>
                  </a:cxn>
                  <a:cxn ang="0">
                    <a:pos x="912" y="929"/>
                  </a:cxn>
                  <a:cxn ang="0">
                    <a:pos x="1036" y="914"/>
                  </a:cxn>
                  <a:cxn ang="0">
                    <a:pos x="1153" y="880"/>
                  </a:cxn>
                  <a:cxn ang="0">
                    <a:pos x="1262" y="830"/>
                  </a:cxn>
                  <a:cxn ang="0">
                    <a:pos x="1362" y="766"/>
                  </a:cxn>
                  <a:cxn ang="0">
                    <a:pos x="1451" y="688"/>
                  </a:cxn>
                  <a:cxn ang="0">
                    <a:pos x="1529" y="600"/>
                  </a:cxn>
                  <a:cxn ang="0">
                    <a:pos x="1593" y="499"/>
                  </a:cxn>
                  <a:cxn ang="0">
                    <a:pos x="1642" y="390"/>
                  </a:cxn>
                  <a:cxn ang="0">
                    <a:pos x="1676" y="273"/>
                  </a:cxn>
                  <a:cxn ang="0">
                    <a:pos x="1692" y="149"/>
                  </a:cxn>
                  <a:cxn ang="0">
                    <a:pos x="1692" y="76"/>
                  </a:cxn>
                </a:cxnLst>
                <a:rect l="0" t="0" r="r" b="b"/>
                <a:pathLst>
                  <a:path w="1693" h="930">
                    <a:moveTo>
                      <a:pt x="1692" y="76"/>
                    </a:moveTo>
                    <a:lnTo>
                      <a:pt x="1505" y="301"/>
                    </a:lnTo>
                    <a:lnTo>
                      <a:pt x="1318" y="76"/>
                    </a:lnTo>
                    <a:lnTo>
                      <a:pt x="1318" y="76"/>
                    </a:lnTo>
                    <a:lnTo>
                      <a:pt x="1319" y="106"/>
                    </a:lnTo>
                    <a:lnTo>
                      <a:pt x="1319" y="106"/>
                    </a:lnTo>
                    <a:lnTo>
                      <a:pt x="1318" y="129"/>
                    </a:lnTo>
                    <a:lnTo>
                      <a:pt x="1317" y="152"/>
                    </a:lnTo>
                    <a:lnTo>
                      <a:pt x="1313" y="175"/>
                    </a:lnTo>
                    <a:lnTo>
                      <a:pt x="1310" y="197"/>
                    </a:lnTo>
                    <a:lnTo>
                      <a:pt x="1304" y="219"/>
                    </a:lnTo>
                    <a:lnTo>
                      <a:pt x="1299" y="240"/>
                    </a:lnTo>
                    <a:lnTo>
                      <a:pt x="1291" y="261"/>
                    </a:lnTo>
                    <a:lnTo>
                      <a:pt x="1284" y="281"/>
                    </a:lnTo>
                    <a:lnTo>
                      <a:pt x="1274" y="301"/>
                    </a:lnTo>
                    <a:lnTo>
                      <a:pt x="1264" y="321"/>
                    </a:lnTo>
                    <a:lnTo>
                      <a:pt x="1253" y="339"/>
                    </a:lnTo>
                    <a:lnTo>
                      <a:pt x="1242" y="358"/>
                    </a:lnTo>
                    <a:lnTo>
                      <a:pt x="1229" y="376"/>
                    </a:lnTo>
                    <a:lnTo>
                      <a:pt x="1216" y="392"/>
                    </a:lnTo>
                    <a:lnTo>
                      <a:pt x="1202" y="408"/>
                    </a:lnTo>
                    <a:lnTo>
                      <a:pt x="1187" y="425"/>
                    </a:lnTo>
                    <a:lnTo>
                      <a:pt x="1171" y="439"/>
                    </a:lnTo>
                    <a:lnTo>
                      <a:pt x="1155" y="453"/>
                    </a:lnTo>
                    <a:lnTo>
                      <a:pt x="1138" y="466"/>
                    </a:lnTo>
                    <a:lnTo>
                      <a:pt x="1121" y="479"/>
                    </a:lnTo>
                    <a:lnTo>
                      <a:pt x="1102" y="490"/>
                    </a:lnTo>
                    <a:lnTo>
                      <a:pt x="1084" y="501"/>
                    </a:lnTo>
                    <a:lnTo>
                      <a:pt x="1064" y="511"/>
                    </a:lnTo>
                    <a:lnTo>
                      <a:pt x="1044" y="521"/>
                    </a:lnTo>
                    <a:lnTo>
                      <a:pt x="1023" y="529"/>
                    </a:lnTo>
                    <a:lnTo>
                      <a:pt x="1003" y="536"/>
                    </a:lnTo>
                    <a:lnTo>
                      <a:pt x="982" y="542"/>
                    </a:lnTo>
                    <a:lnTo>
                      <a:pt x="960" y="547"/>
                    </a:lnTo>
                    <a:lnTo>
                      <a:pt x="938" y="551"/>
                    </a:lnTo>
                    <a:lnTo>
                      <a:pt x="915" y="554"/>
                    </a:lnTo>
                    <a:lnTo>
                      <a:pt x="892" y="555"/>
                    </a:lnTo>
                    <a:lnTo>
                      <a:pt x="869" y="556"/>
                    </a:lnTo>
                    <a:lnTo>
                      <a:pt x="869" y="556"/>
                    </a:lnTo>
                    <a:lnTo>
                      <a:pt x="836" y="555"/>
                    </a:lnTo>
                    <a:lnTo>
                      <a:pt x="804" y="552"/>
                    </a:lnTo>
                    <a:lnTo>
                      <a:pt x="772" y="545"/>
                    </a:lnTo>
                    <a:lnTo>
                      <a:pt x="741" y="537"/>
                    </a:lnTo>
                    <a:lnTo>
                      <a:pt x="711" y="528"/>
                    </a:lnTo>
                    <a:lnTo>
                      <a:pt x="682" y="516"/>
                    </a:lnTo>
                    <a:lnTo>
                      <a:pt x="654" y="501"/>
                    </a:lnTo>
                    <a:lnTo>
                      <a:pt x="628" y="485"/>
                    </a:lnTo>
                    <a:lnTo>
                      <a:pt x="601" y="467"/>
                    </a:lnTo>
                    <a:lnTo>
                      <a:pt x="577" y="449"/>
                    </a:lnTo>
                    <a:lnTo>
                      <a:pt x="554" y="427"/>
                    </a:lnTo>
                    <a:lnTo>
                      <a:pt x="534" y="405"/>
                    </a:lnTo>
                    <a:lnTo>
                      <a:pt x="514" y="381"/>
                    </a:lnTo>
                    <a:lnTo>
                      <a:pt x="495" y="356"/>
                    </a:lnTo>
                    <a:lnTo>
                      <a:pt x="479" y="330"/>
                    </a:lnTo>
                    <a:lnTo>
                      <a:pt x="465" y="301"/>
                    </a:lnTo>
                    <a:lnTo>
                      <a:pt x="500" y="301"/>
                    </a:lnTo>
                    <a:lnTo>
                      <a:pt x="435" y="224"/>
                    </a:lnTo>
                    <a:lnTo>
                      <a:pt x="250" y="0"/>
                    </a:lnTo>
                    <a:lnTo>
                      <a:pt x="56" y="234"/>
                    </a:lnTo>
                    <a:lnTo>
                      <a:pt x="0" y="302"/>
                    </a:lnTo>
                    <a:lnTo>
                      <a:pt x="69" y="302"/>
                    </a:lnTo>
                    <a:lnTo>
                      <a:pt x="69" y="302"/>
                    </a:lnTo>
                    <a:lnTo>
                      <a:pt x="78" y="335"/>
                    </a:lnTo>
                    <a:lnTo>
                      <a:pt x="89" y="368"/>
                    </a:lnTo>
                    <a:lnTo>
                      <a:pt x="100" y="401"/>
                    </a:lnTo>
                    <a:lnTo>
                      <a:pt x="113" y="432"/>
                    </a:lnTo>
                    <a:lnTo>
                      <a:pt x="127" y="463"/>
                    </a:lnTo>
                    <a:lnTo>
                      <a:pt x="142" y="494"/>
                    </a:lnTo>
                    <a:lnTo>
                      <a:pt x="159" y="523"/>
                    </a:lnTo>
                    <a:lnTo>
                      <a:pt x="177" y="552"/>
                    </a:lnTo>
                    <a:lnTo>
                      <a:pt x="196" y="580"/>
                    </a:lnTo>
                    <a:lnTo>
                      <a:pt x="215" y="607"/>
                    </a:lnTo>
                    <a:lnTo>
                      <a:pt x="236" y="634"/>
                    </a:lnTo>
                    <a:lnTo>
                      <a:pt x="259" y="659"/>
                    </a:lnTo>
                    <a:lnTo>
                      <a:pt x="282" y="684"/>
                    </a:lnTo>
                    <a:lnTo>
                      <a:pt x="306" y="707"/>
                    </a:lnTo>
                    <a:lnTo>
                      <a:pt x="331" y="730"/>
                    </a:lnTo>
                    <a:lnTo>
                      <a:pt x="356" y="751"/>
                    </a:lnTo>
                    <a:lnTo>
                      <a:pt x="384" y="771"/>
                    </a:lnTo>
                    <a:lnTo>
                      <a:pt x="411" y="791"/>
                    </a:lnTo>
                    <a:lnTo>
                      <a:pt x="440" y="810"/>
                    </a:lnTo>
                    <a:lnTo>
                      <a:pt x="469" y="826"/>
                    </a:lnTo>
                    <a:lnTo>
                      <a:pt x="499" y="843"/>
                    </a:lnTo>
                    <a:lnTo>
                      <a:pt x="529" y="857"/>
                    </a:lnTo>
                    <a:lnTo>
                      <a:pt x="561" y="870"/>
                    </a:lnTo>
                    <a:lnTo>
                      <a:pt x="593" y="883"/>
                    </a:lnTo>
                    <a:lnTo>
                      <a:pt x="625" y="894"/>
                    </a:lnTo>
                    <a:lnTo>
                      <a:pt x="659" y="903"/>
                    </a:lnTo>
                    <a:lnTo>
                      <a:pt x="693" y="911"/>
                    </a:lnTo>
                    <a:lnTo>
                      <a:pt x="727" y="918"/>
                    </a:lnTo>
                    <a:lnTo>
                      <a:pt x="762" y="923"/>
                    </a:lnTo>
                    <a:lnTo>
                      <a:pt x="797" y="927"/>
                    </a:lnTo>
                    <a:lnTo>
                      <a:pt x="833" y="929"/>
                    </a:lnTo>
                    <a:lnTo>
                      <a:pt x="869" y="930"/>
                    </a:lnTo>
                    <a:lnTo>
                      <a:pt x="869" y="930"/>
                    </a:lnTo>
                    <a:lnTo>
                      <a:pt x="912" y="929"/>
                    </a:lnTo>
                    <a:lnTo>
                      <a:pt x="953" y="926"/>
                    </a:lnTo>
                    <a:lnTo>
                      <a:pt x="995" y="920"/>
                    </a:lnTo>
                    <a:lnTo>
                      <a:pt x="1036" y="914"/>
                    </a:lnTo>
                    <a:lnTo>
                      <a:pt x="1075" y="904"/>
                    </a:lnTo>
                    <a:lnTo>
                      <a:pt x="1114" y="893"/>
                    </a:lnTo>
                    <a:lnTo>
                      <a:pt x="1153" y="880"/>
                    </a:lnTo>
                    <a:lnTo>
                      <a:pt x="1190" y="865"/>
                    </a:lnTo>
                    <a:lnTo>
                      <a:pt x="1226" y="849"/>
                    </a:lnTo>
                    <a:lnTo>
                      <a:pt x="1262" y="830"/>
                    </a:lnTo>
                    <a:lnTo>
                      <a:pt x="1296" y="811"/>
                    </a:lnTo>
                    <a:lnTo>
                      <a:pt x="1330" y="789"/>
                    </a:lnTo>
                    <a:lnTo>
                      <a:pt x="1362" y="766"/>
                    </a:lnTo>
                    <a:lnTo>
                      <a:pt x="1393" y="742"/>
                    </a:lnTo>
                    <a:lnTo>
                      <a:pt x="1423" y="716"/>
                    </a:lnTo>
                    <a:lnTo>
                      <a:pt x="1451" y="688"/>
                    </a:lnTo>
                    <a:lnTo>
                      <a:pt x="1478" y="660"/>
                    </a:lnTo>
                    <a:lnTo>
                      <a:pt x="1505" y="630"/>
                    </a:lnTo>
                    <a:lnTo>
                      <a:pt x="1529" y="600"/>
                    </a:lnTo>
                    <a:lnTo>
                      <a:pt x="1552" y="567"/>
                    </a:lnTo>
                    <a:lnTo>
                      <a:pt x="1573" y="533"/>
                    </a:lnTo>
                    <a:lnTo>
                      <a:pt x="1593" y="499"/>
                    </a:lnTo>
                    <a:lnTo>
                      <a:pt x="1612" y="463"/>
                    </a:lnTo>
                    <a:lnTo>
                      <a:pt x="1628" y="427"/>
                    </a:lnTo>
                    <a:lnTo>
                      <a:pt x="1642" y="390"/>
                    </a:lnTo>
                    <a:lnTo>
                      <a:pt x="1655" y="351"/>
                    </a:lnTo>
                    <a:lnTo>
                      <a:pt x="1666" y="312"/>
                    </a:lnTo>
                    <a:lnTo>
                      <a:pt x="1676" y="273"/>
                    </a:lnTo>
                    <a:lnTo>
                      <a:pt x="1683" y="232"/>
                    </a:lnTo>
                    <a:lnTo>
                      <a:pt x="1688" y="191"/>
                    </a:lnTo>
                    <a:lnTo>
                      <a:pt x="1692" y="149"/>
                    </a:lnTo>
                    <a:lnTo>
                      <a:pt x="1693" y="106"/>
                    </a:lnTo>
                    <a:lnTo>
                      <a:pt x="1693" y="106"/>
                    </a:lnTo>
                    <a:lnTo>
                      <a:pt x="1692" y="76"/>
                    </a:lnTo>
                    <a:lnTo>
                      <a:pt x="1692" y="76"/>
                    </a:lnTo>
                    <a:close/>
                  </a:path>
                </a:pathLst>
              </a:custGeom>
              <a:gradFill flip="none" rotWithShape="1">
                <a:gsLst>
                  <a:gs pos="98000">
                    <a:schemeClr val="accent2">
                      <a:lumMod val="75000"/>
                    </a:schemeClr>
                  </a:gs>
                  <a:gs pos="50000">
                    <a:schemeClr val="accent2">
                      <a:lumMod val="75000"/>
                    </a:schemeClr>
                  </a:gs>
                  <a:gs pos="0">
                    <a:schemeClr val="accent2">
                      <a:lumMod val="40000"/>
                      <a:lumOff val="60000"/>
                    </a:schemeClr>
                  </a:gs>
                </a:gsLst>
                <a:lin ang="16200000" scaled="1"/>
                <a:tileRect/>
              </a:gradFill>
              <a:ln>
                <a:noFill/>
                <a:headEnd type="none" w="med" len="med"/>
                <a:tailEnd type="none" w="med" len="med"/>
              </a:ln>
              <a:effectLst>
                <a:outerShdw blurRad="184150" dist="241300" dir="11520000" sx="110000" sy="110000" algn="ctr">
                  <a:srgbClr val="000000">
                    <a:alpha val="18000"/>
                  </a:srgbClr>
                </a:outerShdw>
              </a:effectLst>
              <a:scene3d>
                <a:camera prst="perspectiveFront" fov="5100000">
                  <a:rot lat="0" lon="0" rev="0"/>
                </a:camera>
                <a:lightRig rig="flood" dir="t">
                  <a:rot lat="0" lon="0" rev="13800000"/>
                </a:lightRig>
              </a:scene3d>
              <a:sp3d extrusionH="107950" prstMaterial="plastic">
                <a:bevelT w="82550" h="63500" prst="divot"/>
                <a:bevelB/>
              </a:sp3d>
            </p:spPr>
            <p:txBody>
              <a:bodyPr vert="horz" wrap="square" lIns="91436" tIns="45720" rIns="91436" bIns="45718" numCol="1" rtlCol="0" anchor="ctr" anchorCtr="0" compatLnSpc="1">
                <a:prstTxWarp prst="textNoShape">
                  <a:avLst/>
                </a:prstTxWarp>
              </a:bodyPr>
              <a:lstStyle/>
              <a:p>
                <a:pPr algn="ctr" defTabSz="685637">
                  <a:lnSpc>
                    <a:spcPct val="90000"/>
                  </a:lnSpc>
                </a:pPr>
                <a:endParaRPr lang="en-US" sz="2100" kern="0" dirty="0">
                  <a:latin typeface="Segoe" charset="0"/>
                  <a:ea typeface="ＭＳ Ｐゴシック" pitchFamily="-109" charset="-128"/>
                  <a:cs typeface="ＭＳ Ｐゴシック" pitchFamily="-109" charset="-128"/>
                </a:endParaRPr>
              </a:p>
            </p:txBody>
          </p:sp>
        </p:grpSp>
      </p:grpSp>
      <p:grpSp>
        <p:nvGrpSpPr>
          <p:cNvPr id="55" name="Group 54"/>
          <p:cNvGrpSpPr/>
          <p:nvPr/>
        </p:nvGrpSpPr>
        <p:grpSpPr>
          <a:xfrm>
            <a:off x="4011277" y="2555187"/>
            <a:ext cx="1018042" cy="1487195"/>
            <a:chOff x="3887922" y="3134507"/>
            <a:chExt cx="1357036" cy="1982926"/>
          </a:xfrm>
        </p:grpSpPr>
        <p:pic>
          <p:nvPicPr>
            <p:cNvPr id="56" name="Picture 7" descr="\\MAGNUM\Projects\Microsoft\Cloud Power FY12\Design\ICONS_PNG\Lower_Energy_Costs.png"/>
            <p:cNvPicPr>
              <a:picLocks noChangeAspect="1" noChangeArrowheads="1"/>
            </p:cNvPicPr>
            <p:nvPr/>
          </p:nvPicPr>
          <p:blipFill>
            <a:blip r:embed="rId3" cstate="print">
              <a:biLevel thresh="25000"/>
              <a:extLst>
                <a:ext uri="{BEBA8EAE-BF5A-486C-A8C5-ECC9F3942E4B}">
                  <a14:imgProps xmlns:a14="http://schemas.microsoft.com/office/drawing/2010/main">
                    <a14:imgLayer r:embed="rId4">
                      <a14:imgEffect>
                        <a14:saturation sat="0"/>
                      </a14:imgEffect>
                    </a14:imgLayer>
                  </a14:imgProps>
                </a:ext>
              </a:extLst>
            </a:blip>
            <a:srcRect/>
            <a:stretch>
              <a:fillRect/>
            </a:stretch>
          </p:blipFill>
          <p:spPr bwMode="auto">
            <a:xfrm rot="10800000">
              <a:off x="3931528" y="3134507"/>
              <a:ext cx="1236572" cy="1236572"/>
            </a:xfrm>
            <a:prstGeom prst="rect">
              <a:avLst/>
            </a:prstGeom>
            <a:noFill/>
          </p:spPr>
        </p:pic>
        <p:sp>
          <p:nvSpPr>
            <p:cNvPr id="57" name="TextBox 56"/>
            <p:cNvSpPr txBox="1"/>
            <p:nvPr/>
          </p:nvSpPr>
          <p:spPr>
            <a:xfrm>
              <a:off x="3887922" y="4070993"/>
              <a:ext cx="1357036" cy="1046440"/>
            </a:xfrm>
            <a:prstGeom prst="rect">
              <a:avLst/>
            </a:prstGeom>
            <a:noFill/>
          </p:spPr>
          <p:txBody>
            <a:bodyPr wrap="square" rtlCol="0">
              <a:spAutoFit/>
            </a:bodyPr>
            <a:lstStyle/>
            <a:p>
              <a:pPr marL="1191" lvl="2" algn="ctr" fontAlgn="base">
                <a:buClr>
                  <a:schemeClr val="accent2"/>
                </a:buClr>
                <a:buSzPct val="100000"/>
                <a:tabLst>
                  <a:tab pos="3429314" algn="r"/>
                </a:tabLst>
                <a:defRPr/>
              </a:pPr>
              <a:r>
                <a:rPr lang="en-US" sz="1500" i="1" dirty="0">
                  <a:latin typeface="Segoe" pitchFamily="34" charset="0"/>
                </a:rPr>
                <a:t>Increased </a:t>
              </a:r>
              <a:br>
                <a:rPr lang="en-US" sz="1500" i="1" dirty="0">
                  <a:latin typeface="Segoe" pitchFamily="34" charset="0"/>
                </a:rPr>
              </a:br>
              <a:r>
                <a:rPr lang="en-US" sz="1500" i="1" dirty="0">
                  <a:latin typeface="Segoe" pitchFamily="34" charset="0"/>
                </a:rPr>
                <a:t>IT costs</a:t>
              </a:r>
            </a:p>
          </p:txBody>
        </p:sp>
      </p:grpSp>
      <p:grpSp>
        <p:nvGrpSpPr>
          <p:cNvPr id="58" name="Group 57"/>
          <p:cNvGrpSpPr/>
          <p:nvPr/>
        </p:nvGrpSpPr>
        <p:grpSpPr>
          <a:xfrm>
            <a:off x="2228241" y="1257302"/>
            <a:ext cx="1641251" cy="1394225"/>
            <a:chOff x="1654005" y="1438571"/>
            <a:chExt cx="2187765" cy="1858967"/>
          </a:xfrm>
        </p:grpSpPr>
        <p:grpSp>
          <p:nvGrpSpPr>
            <p:cNvPr id="59" name="Group 58"/>
            <p:cNvGrpSpPr/>
            <p:nvPr/>
          </p:nvGrpSpPr>
          <p:grpSpPr>
            <a:xfrm>
              <a:off x="1654005" y="1438571"/>
              <a:ext cx="1900890" cy="1528130"/>
              <a:chOff x="917266" y="2003124"/>
              <a:chExt cx="1900890" cy="1528130"/>
            </a:xfrm>
          </p:grpSpPr>
          <p:sp>
            <p:nvSpPr>
              <p:cNvPr id="61" name="TextBox 60"/>
              <p:cNvSpPr txBox="1"/>
              <p:nvPr/>
            </p:nvSpPr>
            <p:spPr>
              <a:xfrm>
                <a:off x="917266" y="2792590"/>
                <a:ext cx="1900890" cy="738664"/>
              </a:xfrm>
              <a:prstGeom prst="rect">
                <a:avLst/>
              </a:prstGeom>
              <a:noFill/>
            </p:spPr>
            <p:txBody>
              <a:bodyPr wrap="square" rtlCol="0">
                <a:spAutoFit/>
              </a:bodyPr>
              <a:lstStyle/>
              <a:p>
                <a:pPr marL="1191" lvl="2" algn="ctr" fontAlgn="base">
                  <a:buClr>
                    <a:schemeClr val="accent2"/>
                  </a:buClr>
                  <a:buSzPct val="100000"/>
                  <a:tabLst>
                    <a:tab pos="3429314" algn="r"/>
                  </a:tabLst>
                  <a:defRPr/>
                </a:pPr>
                <a:r>
                  <a:rPr lang="en-US" sz="1500" dirty="0">
                    <a:latin typeface="Segoe" pitchFamily="34" charset="0"/>
                  </a:rPr>
                  <a:t>Request Initiated</a:t>
                </a:r>
              </a:p>
            </p:txBody>
          </p:sp>
          <p:pic>
            <p:nvPicPr>
              <p:cNvPr id="62" name="Picture 2" descr="\\MAGNUM\Projects\Microsoft\Cloud Power FY12\Design\ICONS_PNG\Browser.png"/>
              <p:cNvPicPr>
                <a:picLocks noChangeAspect="1" noChangeArrowheads="1"/>
              </p:cNvPicPr>
              <p:nvPr/>
            </p:nvPicPr>
            <p:blipFill>
              <a:blip r:embed="rId5" cstate="print">
                <a:biLevel thresh="50000"/>
              </a:blip>
              <a:srcRect/>
              <a:stretch>
                <a:fillRect/>
              </a:stretch>
            </p:blipFill>
            <p:spPr bwMode="auto">
              <a:xfrm>
                <a:off x="1404161" y="2003124"/>
                <a:ext cx="927100" cy="927100"/>
              </a:xfrm>
              <a:prstGeom prst="rect">
                <a:avLst/>
              </a:prstGeom>
              <a:noFill/>
            </p:spPr>
          </p:pic>
        </p:grpSp>
        <p:sp>
          <p:nvSpPr>
            <p:cNvPr id="60" name="Oval 59"/>
            <p:cNvSpPr/>
            <p:nvPr/>
          </p:nvSpPr>
          <p:spPr bwMode="auto">
            <a:xfrm flipV="1">
              <a:off x="3690870" y="3146638"/>
              <a:ext cx="150900" cy="150900"/>
            </a:xfrm>
            <a:prstGeom prst="ellipse">
              <a:avLst/>
            </a:prstGeom>
            <a:solidFill>
              <a:schemeClr val="bg2">
                <a:alpha val="70000"/>
              </a:schemeClr>
            </a:solidFill>
            <a:ln w="6350">
              <a:solidFill>
                <a:schemeClr val="bg1"/>
              </a:solidFill>
              <a:headEnd type="none" w="med" len="med"/>
              <a:tailEnd type="none" w="med" len="med"/>
            </a:ln>
            <a:effectLst/>
            <a:scene3d>
              <a:camera prst="orthographicFront"/>
              <a:lightRig rig="threePt" dir="t"/>
            </a:scene3d>
            <a:sp3d>
              <a:bevelT w="152400" h="50800" prst="softRound"/>
            </a:sp3d>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lnSpc>
                  <a:spcPct val="95000"/>
                </a:lnSpc>
              </a:pPr>
              <a:endParaRPr lang="en-US" sz="1500" dirty="0">
                <a:ln>
                  <a:solidFill>
                    <a:srgbClr val="FFFFFF">
                      <a:alpha val="0"/>
                    </a:srgbClr>
                  </a:solidFill>
                </a:ln>
                <a:solidFill>
                  <a:schemeClr val="tx1"/>
                </a:solidFill>
                <a:effectLst>
                  <a:outerShdw blurRad="38100" dist="38100" dir="2700000" algn="tl">
                    <a:srgbClr val="000000">
                      <a:alpha val="43137"/>
                    </a:srgbClr>
                  </a:outerShdw>
                </a:effectLst>
              </a:endParaRPr>
            </a:p>
          </p:txBody>
        </p:sp>
      </p:grpSp>
      <p:grpSp>
        <p:nvGrpSpPr>
          <p:cNvPr id="63" name="Group 62"/>
          <p:cNvGrpSpPr/>
          <p:nvPr/>
        </p:nvGrpSpPr>
        <p:grpSpPr>
          <a:xfrm>
            <a:off x="3742623" y="800101"/>
            <a:ext cx="1426039" cy="1470164"/>
            <a:chOff x="3621555" y="1030835"/>
            <a:chExt cx="1900890" cy="1960218"/>
          </a:xfrm>
        </p:grpSpPr>
        <p:sp>
          <p:nvSpPr>
            <p:cNvPr id="64" name="TextBox 63"/>
            <p:cNvSpPr txBox="1"/>
            <p:nvPr/>
          </p:nvSpPr>
          <p:spPr>
            <a:xfrm>
              <a:off x="3621555" y="1876379"/>
              <a:ext cx="1900890" cy="738664"/>
            </a:xfrm>
            <a:prstGeom prst="rect">
              <a:avLst/>
            </a:prstGeom>
            <a:noFill/>
          </p:spPr>
          <p:txBody>
            <a:bodyPr wrap="square" rtlCol="0">
              <a:spAutoFit/>
            </a:bodyPr>
            <a:lstStyle/>
            <a:p>
              <a:pPr marL="1191" lvl="2" algn="ctr" fontAlgn="base">
                <a:buClr>
                  <a:schemeClr val="accent2"/>
                </a:buClr>
                <a:buSzPct val="100000"/>
                <a:tabLst>
                  <a:tab pos="3429314" algn="r"/>
                </a:tabLst>
                <a:defRPr/>
              </a:pPr>
              <a:r>
                <a:rPr lang="en-US" sz="1500" dirty="0">
                  <a:latin typeface="Segoe" pitchFamily="34" charset="0"/>
                </a:rPr>
                <a:t>IT receives request</a:t>
              </a:r>
            </a:p>
          </p:txBody>
        </p:sp>
        <p:pic>
          <p:nvPicPr>
            <p:cNvPr id="65" name="Picture 4" descr="\\MAGNUM\Projects\Microsoft\Cloud Power FY12\Design\Icons\PNGs\IT_guy.png"/>
            <p:cNvPicPr>
              <a:picLocks noChangeAspect="1" noChangeArrowheads="1"/>
            </p:cNvPicPr>
            <p:nvPr/>
          </p:nvPicPr>
          <p:blipFill>
            <a:blip r:embed="rId6" cstate="print">
              <a:biLevel thresh="50000"/>
            </a:blip>
            <a:srcRect/>
            <a:stretch>
              <a:fillRect/>
            </a:stretch>
          </p:blipFill>
          <p:spPr bwMode="auto">
            <a:xfrm>
              <a:off x="4114800" y="1030835"/>
              <a:ext cx="914400" cy="914400"/>
            </a:xfrm>
            <a:prstGeom prst="rect">
              <a:avLst/>
            </a:prstGeom>
            <a:noFill/>
          </p:spPr>
        </p:pic>
        <p:sp>
          <p:nvSpPr>
            <p:cNvPr id="66" name="Oval 65"/>
            <p:cNvSpPr/>
            <p:nvPr/>
          </p:nvSpPr>
          <p:spPr bwMode="auto">
            <a:xfrm flipV="1">
              <a:off x="4474363" y="2840153"/>
              <a:ext cx="150900" cy="150900"/>
            </a:xfrm>
            <a:prstGeom prst="ellipse">
              <a:avLst/>
            </a:prstGeom>
            <a:solidFill>
              <a:schemeClr val="bg2">
                <a:alpha val="70000"/>
              </a:schemeClr>
            </a:solidFill>
            <a:ln w="6350">
              <a:solidFill>
                <a:schemeClr val="bg1"/>
              </a:solidFill>
              <a:headEnd type="none" w="med" len="med"/>
              <a:tailEnd type="none" w="med" len="med"/>
            </a:ln>
            <a:effectLst/>
            <a:scene3d>
              <a:camera prst="orthographicFront"/>
              <a:lightRig rig="threePt" dir="t"/>
            </a:scene3d>
            <a:sp3d>
              <a:bevelT w="152400" h="50800" prst="softRound"/>
            </a:sp3d>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lnSpc>
                  <a:spcPct val="95000"/>
                </a:lnSpc>
              </a:pPr>
              <a:endParaRPr lang="en-US" sz="1500" dirty="0">
                <a:ln>
                  <a:solidFill>
                    <a:srgbClr val="FFFFFF">
                      <a:alpha val="0"/>
                    </a:srgbClr>
                  </a:solidFill>
                </a:ln>
                <a:solidFill>
                  <a:schemeClr val="tx1"/>
                </a:solidFill>
                <a:effectLst>
                  <a:outerShdw blurRad="38100" dist="38100" dir="2700000" algn="tl">
                    <a:srgbClr val="000000">
                      <a:alpha val="43137"/>
                    </a:srgbClr>
                  </a:outerShdw>
                </a:effectLst>
              </a:endParaRPr>
            </a:p>
          </p:txBody>
        </p:sp>
      </p:grpSp>
      <p:grpSp>
        <p:nvGrpSpPr>
          <p:cNvPr id="67" name="Group 66"/>
          <p:cNvGrpSpPr/>
          <p:nvPr/>
        </p:nvGrpSpPr>
        <p:grpSpPr>
          <a:xfrm>
            <a:off x="4975238" y="1314450"/>
            <a:ext cx="1426039" cy="1333822"/>
            <a:chOff x="5129208" y="1519109"/>
            <a:chExt cx="1900890" cy="1778429"/>
          </a:xfrm>
        </p:grpSpPr>
        <p:sp>
          <p:nvSpPr>
            <p:cNvPr id="68" name="TextBox 67"/>
            <p:cNvSpPr txBox="1"/>
            <p:nvPr/>
          </p:nvSpPr>
          <p:spPr>
            <a:xfrm>
              <a:off x="5129208" y="2357309"/>
              <a:ext cx="1900890" cy="276999"/>
            </a:xfrm>
            <a:prstGeom prst="rect">
              <a:avLst/>
            </a:prstGeom>
            <a:noFill/>
          </p:spPr>
          <p:txBody>
            <a:bodyPr wrap="square" rtlCol="0">
              <a:spAutoFit/>
            </a:bodyPr>
            <a:lstStyle/>
            <a:p>
              <a:pPr marL="1191" lvl="2" algn="ctr" fontAlgn="base">
                <a:lnSpc>
                  <a:spcPts val="900"/>
                </a:lnSpc>
                <a:buClr>
                  <a:schemeClr val="accent2"/>
                </a:buClr>
                <a:buSzPct val="100000"/>
                <a:tabLst>
                  <a:tab pos="3429314" algn="r"/>
                </a:tabLst>
                <a:defRPr/>
              </a:pPr>
              <a:r>
                <a:rPr lang="en-US" sz="1500" dirty="0">
                  <a:latin typeface="Segoe" pitchFamily="34" charset="0"/>
                </a:rPr>
                <a:t>Provisioning</a:t>
              </a:r>
            </a:p>
          </p:txBody>
        </p:sp>
        <p:pic>
          <p:nvPicPr>
            <p:cNvPr id="69" name="Picture 9" descr="\\MAGNUM\Projects\Microsoft\Cloud Power FY12\Design\Icons\PNGs\Optimized.png"/>
            <p:cNvPicPr>
              <a:picLocks noChangeAspect="1" noChangeArrowheads="1"/>
            </p:cNvPicPr>
            <p:nvPr/>
          </p:nvPicPr>
          <p:blipFill>
            <a:blip r:embed="rId7" cstate="print">
              <a:biLevel thresh="50000"/>
            </a:blip>
            <a:srcRect/>
            <a:stretch>
              <a:fillRect/>
            </a:stretch>
          </p:blipFill>
          <p:spPr bwMode="auto">
            <a:xfrm>
              <a:off x="5675710" y="1519109"/>
              <a:ext cx="807885" cy="807885"/>
            </a:xfrm>
            <a:prstGeom prst="rect">
              <a:avLst/>
            </a:prstGeom>
            <a:noFill/>
          </p:spPr>
        </p:pic>
        <p:sp>
          <p:nvSpPr>
            <p:cNvPr id="70" name="Oval 69"/>
            <p:cNvSpPr/>
            <p:nvPr/>
          </p:nvSpPr>
          <p:spPr bwMode="auto">
            <a:xfrm flipV="1">
              <a:off x="5302833" y="3146638"/>
              <a:ext cx="150900" cy="150900"/>
            </a:xfrm>
            <a:prstGeom prst="ellipse">
              <a:avLst/>
            </a:prstGeom>
            <a:solidFill>
              <a:schemeClr val="bg2">
                <a:alpha val="70000"/>
              </a:schemeClr>
            </a:solidFill>
            <a:ln w="6350">
              <a:solidFill>
                <a:schemeClr val="bg1"/>
              </a:solidFill>
              <a:headEnd type="none" w="med" len="med"/>
              <a:tailEnd type="none" w="med" len="med"/>
            </a:ln>
            <a:effectLst/>
            <a:scene3d>
              <a:camera prst="orthographicFront"/>
              <a:lightRig rig="threePt" dir="t"/>
            </a:scene3d>
            <a:sp3d>
              <a:bevelT w="152400" h="50800" prst="softRound"/>
            </a:sp3d>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lnSpc>
                  <a:spcPct val="95000"/>
                </a:lnSpc>
              </a:pPr>
              <a:endParaRPr lang="en-US" sz="1500" dirty="0">
                <a:ln>
                  <a:solidFill>
                    <a:srgbClr val="FFFFFF">
                      <a:alpha val="0"/>
                    </a:srgbClr>
                  </a:solidFill>
                </a:ln>
                <a:solidFill>
                  <a:schemeClr val="tx1"/>
                </a:solidFill>
                <a:effectLst>
                  <a:outerShdw blurRad="38100" dist="38100" dir="2700000" algn="tl">
                    <a:srgbClr val="000000">
                      <a:alpha val="43137"/>
                    </a:srgbClr>
                  </a:outerShdw>
                </a:effectLst>
              </a:endParaRPr>
            </a:p>
          </p:txBody>
        </p:sp>
      </p:grpSp>
      <p:grpSp>
        <p:nvGrpSpPr>
          <p:cNvPr id="71" name="Group 70"/>
          <p:cNvGrpSpPr/>
          <p:nvPr/>
        </p:nvGrpSpPr>
        <p:grpSpPr>
          <a:xfrm>
            <a:off x="5371386" y="1885951"/>
            <a:ext cx="1887365" cy="1187699"/>
            <a:chOff x="5553226" y="2243813"/>
            <a:chExt cx="2515831" cy="1583597"/>
          </a:xfrm>
        </p:grpSpPr>
        <p:pic>
          <p:nvPicPr>
            <p:cNvPr id="72" name="Picture 5" descr="\\MAGNUM\Projects\Microsoft\Cloud Power FY12\Design\ICONS_PNG\Multi_tenancy.png"/>
            <p:cNvPicPr>
              <a:picLocks noChangeAspect="1" noChangeArrowheads="1"/>
            </p:cNvPicPr>
            <p:nvPr/>
          </p:nvPicPr>
          <p:blipFill>
            <a:blip r:embed="rId8" cstate="print">
              <a:biLevel thresh="50000"/>
            </a:blip>
            <a:srcRect/>
            <a:stretch>
              <a:fillRect/>
            </a:stretch>
          </p:blipFill>
          <p:spPr bwMode="auto">
            <a:xfrm>
              <a:off x="6700532" y="2243813"/>
              <a:ext cx="914400" cy="914400"/>
            </a:xfrm>
            <a:prstGeom prst="rect">
              <a:avLst/>
            </a:prstGeom>
            <a:noFill/>
          </p:spPr>
        </p:pic>
        <p:sp>
          <p:nvSpPr>
            <p:cNvPr id="73" name="TextBox 72"/>
            <p:cNvSpPr txBox="1"/>
            <p:nvPr/>
          </p:nvSpPr>
          <p:spPr>
            <a:xfrm>
              <a:off x="6168167" y="3088747"/>
              <a:ext cx="1900890" cy="738663"/>
            </a:xfrm>
            <a:prstGeom prst="rect">
              <a:avLst/>
            </a:prstGeom>
            <a:noFill/>
          </p:spPr>
          <p:txBody>
            <a:bodyPr wrap="square" rtlCol="0">
              <a:spAutoFit/>
            </a:bodyPr>
            <a:lstStyle/>
            <a:p>
              <a:pPr marL="1191" lvl="2" algn="ctr" fontAlgn="base">
                <a:buClr>
                  <a:schemeClr val="accent2"/>
                </a:buClr>
                <a:buSzPct val="100000"/>
                <a:tabLst>
                  <a:tab pos="3429314" algn="r"/>
                </a:tabLst>
                <a:defRPr/>
              </a:pPr>
              <a:r>
                <a:rPr lang="en-US" sz="1500" dirty="0">
                  <a:latin typeface="Segoe" pitchFamily="34" charset="0"/>
                </a:rPr>
                <a:t>“Silos” of resources</a:t>
              </a:r>
            </a:p>
          </p:txBody>
        </p:sp>
        <p:sp>
          <p:nvSpPr>
            <p:cNvPr id="74" name="Oval 73"/>
            <p:cNvSpPr/>
            <p:nvPr/>
          </p:nvSpPr>
          <p:spPr bwMode="auto">
            <a:xfrm flipV="1">
              <a:off x="5553226" y="3598051"/>
              <a:ext cx="150900" cy="150900"/>
            </a:xfrm>
            <a:prstGeom prst="ellipse">
              <a:avLst/>
            </a:prstGeom>
            <a:solidFill>
              <a:schemeClr val="bg2">
                <a:alpha val="70000"/>
              </a:schemeClr>
            </a:solidFill>
            <a:ln w="6350">
              <a:solidFill>
                <a:schemeClr val="bg1"/>
              </a:solidFill>
              <a:headEnd type="none" w="med" len="med"/>
              <a:tailEnd type="none" w="med" len="med"/>
            </a:ln>
            <a:effectLst/>
            <a:scene3d>
              <a:camera prst="orthographicFront"/>
              <a:lightRig rig="threePt" dir="t"/>
            </a:scene3d>
            <a:sp3d>
              <a:bevelT w="152400" h="50800" prst="softRound"/>
            </a:sp3d>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lnSpc>
                  <a:spcPct val="95000"/>
                </a:lnSpc>
              </a:pPr>
              <a:endParaRPr lang="en-US" sz="1500" dirty="0">
                <a:ln>
                  <a:solidFill>
                    <a:srgbClr val="FFFFFF">
                      <a:alpha val="0"/>
                    </a:srgbClr>
                  </a:solidFill>
                </a:ln>
                <a:solidFill>
                  <a:schemeClr val="tx1"/>
                </a:solidFill>
                <a:effectLst>
                  <a:outerShdw blurRad="38100" dist="38100" dir="2700000" algn="tl">
                    <a:srgbClr val="000000">
                      <a:alpha val="43137"/>
                    </a:srgbClr>
                  </a:outerShdw>
                </a:effectLst>
              </a:endParaRPr>
            </a:p>
          </p:txBody>
        </p:sp>
      </p:grpSp>
      <p:grpSp>
        <p:nvGrpSpPr>
          <p:cNvPr id="75" name="Group 74"/>
          <p:cNvGrpSpPr/>
          <p:nvPr/>
        </p:nvGrpSpPr>
        <p:grpSpPr>
          <a:xfrm>
            <a:off x="5191754" y="3091300"/>
            <a:ext cx="2633002" cy="1418988"/>
            <a:chOff x="5553226" y="3751038"/>
            <a:chExt cx="3509755" cy="1891984"/>
          </a:xfrm>
        </p:grpSpPr>
        <p:sp>
          <p:nvSpPr>
            <p:cNvPr id="76" name="TextBox 75"/>
            <p:cNvSpPr txBox="1"/>
            <p:nvPr/>
          </p:nvSpPr>
          <p:spPr>
            <a:xfrm>
              <a:off x="5826184" y="4596582"/>
              <a:ext cx="3236797" cy="1046440"/>
            </a:xfrm>
            <a:prstGeom prst="rect">
              <a:avLst/>
            </a:prstGeom>
            <a:noFill/>
          </p:spPr>
          <p:txBody>
            <a:bodyPr wrap="square" rtlCol="0">
              <a:spAutoFit/>
            </a:bodyPr>
            <a:lstStyle/>
            <a:p>
              <a:pPr marL="1191" lvl="2" algn="ctr" fontAlgn="base">
                <a:buClr>
                  <a:schemeClr val="accent2"/>
                </a:buClr>
                <a:buSzPct val="100000"/>
                <a:tabLst>
                  <a:tab pos="3429314" algn="r"/>
                </a:tabLst>
                <a:defRPr/>
              </a:pPr>
              <a:r>
                <a:rPr lang="en-US" sz="1500" dirty="0">
                  <a:latin typeface="Segoe" pitchFamily="34" charset="0"/>
                </a:rPr>
                <a:t>Deployment and registration of management tools</a:t>
              </a:r>
            </a:p>
          </p:txBody>
        </p:sp>
        <p:pic>
          <p:nvPicPr>
            <p:cNvPr id="77" name="Picture 4" descr="\\MAGNUM\Projects\Microsoft\Cloud Power FY12\Design\Icons\PNGs\IT_guy.png"/>
            <p:cNvPicPr>
              <a:picLocks noChangeAspect="1" noChangeArrowheads="1"/>
            </p:cNvPicPr>
            <p:nvPr/>
          </p:nvPicPr>
          <p:blipFill>
            <a:blip r:embed="rId6" cstate="print">
              <a:biLevel thresh="50000"/>
            </a:blip>
            <a:srcRect/>
            <a:stretch>
              <a:fillRect/>
            </a:stretch>
          </p:blipFill>
          <p:spPr bwMode="auto">
            <a:xfrm>
              <a:off x="6987382" y="3751038"/>
              <a:ext cx="914400" cy="914400"/>
            </a:xfrm>
            <a:prstGeom prst="rect">
              <a:avLst/>
            </a:prstGeom>
            <a:noFill/>
          </p:spPr>
        </p:pic>
        <p:sp>
          <p:nvSpPr>
            <p:cNvPr id="78" name="Oval 77"/>
            <p:cNvSpPr/>
            <p:nvPr/>
          </p:nvSpPr>
          <p:spPr bwMode="auto">
            <a:xfrm flipV="1">
              <a:off x="5553226" y="4289184"/>
              <a:ext cx="150900" cy="150900"/>
            </a:xfrm>
            <a:prstGeom prst="ellipse">
              <a:avLst/>
            </a:prstGeom>
            <a:solidFill>
              <a:schemeClr val="bg2">
                <a:alpha val="70000"/>
              </a:schemeClr>
            </a:solidFill>
            <a:ln w="6350">
              <a:solidFill>
                <a:schemeClr val="bg1"/>
              </a:solidFill>
              <a:headEnd type="none" w="med" len="med"/>
              <a:tailEnd type="none" w="med" len="med"/>
            </a:ln>
            <a:effectLst/>
            <a:scene3d>
              <a:camera prst="orthographicFront"/>
              <a:lightRig rig="threePt" dir="t"/>
            </a:scene3d>
            <a:sp3d>
              <a:bevelT w="152400" h="50800" prst="softRound"/>
            </a:sp3d>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lnSpc>
                  <a:spcPct val="95000"/>
                </a:lnSpc>
              </a:pPr>
              <a:endParaRPr lang="en-US" sz="1500" dirty="0">
                <a:ln>
                  <a:solidFill>
                    <a:srgbClr val="FFFFFF">
                      <a:alpha val="0"/>
                    </a:srgbClr>
                  </a:solidFill>
                </a:ln>
                <a:solidFill>
                  <a:schemeClr val="tx1"/>
                </a:solidFill>
                <a:effectLst>
                  <a:outerShdw blurRad="38100" dist="38100" dir="2700000" algn="tl">
                    <a:srgbClr val="000000">
                      <a:alpha val="43137"/>
                    </a:srgbClr>
                  </a:outerShdw>
                </a:effectLst>
              </a:endParaRPr>
            </a:p>
          </p:txBody>
        </p:sp>
      </p:grpSp>
      <p:grpSp>
        <p:nvGrpSpPr>
          <p:cNvPr id="79" name="Group 78"/>
          <p:cNvGrpSpPr/>
          <p:nvPr/>
        </p:nvGrpSpPr>
        <p:grpSpPr>
          <a:xfrm>
            <a:off x="4591861" y="3910137"/>
            <a:ext cx="2097288" cy="1158713"/>
            <a:chOff x="4753579" y="4842821"/>
            <a:chExt cx="2795656" cy="1544950"/>
          </a:xfrm>
        </p:grpSpPr>
        <p:pic>
          <p:nvPicPr>
            <p:cNvPr id="80" name="Picture 4" descr="\\MAGNUM\Projects\Microsoft\Cloud Power FY12\Design\Icons\PNGs\IT_guy.png"/>
            <p:cNvPicPr>
              <a:picLocks noChangeAspect="1" noChangeArrowheads="1"/>
            </p:cNvPicPr>
            <p:nvPr/>
          </p:nvPicPr>
          <p:blipFill>
            <a:blip r:embed="rId9" cstate="print">
              <a:biLevel thresh="50000"/>
            </a:blip>
            <a:stretch>
              <a:fillRect/>
            </a:stretch>
          </p:blipFill>
          <p:spPr bwMode="auto">
            <a:xfrm>
              <a:off x="4753579" y="5395954"/>
              <a:ext cx="950065" cy="950065"/>
            </a:xfrm>
            <a:prstGeom prst="rect">
              <a:avLst/>
            </a:prstGeom>
            <a:noFill/>
          </p:spPr>
        </p:pic>
        <p:sp>
          <p:nvSpPr>
            <p:cNvPr id="81" name="TextBox 80"/>
            <p:cNvSpPr txBox="1"/>
            <p:nvPr/>
          </p:nvSpPr>
          <p:spPr>
            <a:xfrm>
              <a:off x="5184304" y="5649107"/>
              <a:ext cx="2364931" cy="738664"/>
            </a:xfrm>
            <a:prstGeom prst="rect">
              <a:avLst/>
            </a:prstGeom>
            <a:noFill/>
          </p:spPr>
          <p:txBody>
            <a:bodyPr wrap="square" rtlCol="0">
              <a:spAutoFit/>
            </a:bodyPr>
            <a:lstStyle/>
            <a:p>
              <a:pPr marL="1191" lvl="2" algn="ctr" fontAlgn="base">
                <a:buClr>
                  <a:schemeClr val="accent2"/>
                </a:buClr>
                <a:buSzPct val="100000"/>
                <a:tabLst>
                  <a:tab pos="3429314" algn="r"/>
                </a:tabLst>
                <a:defRPr/>
              </a:pPr>
              <a:r>
                <a:rPr lang="en-US" sz="1500" dirty="0">
                  <a:latin typeface="Segoe" pitchFamily="34" charset="0"/>
                </a:rPr>
                <a:t>Ongoing maintenance</a:t>
              </a:r>
            </a:p>
          </p:txBody>
        </p:sp>
        <p:sp>
          <p:nvSpPr>
            <p:cNvPr id="82" name="Oval 81"/>
            <p:cNvSpPr/>
            <p:nvPr/>
          </p:nvSpPr>
          <p:spPr bwMode="auto">
            <a:xfrm flipV="1">
              <a:off x="5077712" y="4842821"/>
              <a:ext cx="150900" cy="150900"/>
            </a:xfrm>
            <a:prstGeom prst="ellipse">
              <a:avLst/>
            </a:prstGeom>
            <a:solidFill>
              <a:schemeClr val="bg2">
                <a:alpha val="70000"/>
              </a:schemeClr>
            </a:solidFill>
            <a:ln w="6350">
              <a:solidFill>
                <a:schemeClr val="bg1"/>
              </a:solidFill>
              <a:headEnd type="none" w="med" len="med"/>
              <a:tailEnd type="none" w="med" len="med"/>
            </a:ln>
            <a:effectLst/>
            <a:scene3d>
              <a:camera prst="orthographicFront"/>
              <a:lightRig rig="threePt" dir="t"/>
            </a:scene3d>
            <a:sp3d>
              <a:bevelT w="152400" h="50800" prst="softRound"/>
            </a:sp3d>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lnSpc>
                  <a:spcPct val="95000"/>
                </a:lnSpc>
              </a:pPr>
              <a:endParaRPr lang="en-US" sz="1500" dirty="0">
                <a:ln>
                  <a:solidFill>
                    <a:srgbClr val="FFFFFF">
                      <a:alpha val="0"/>
                    </a:srgbClr>
                  </a:solidFill>
                </a:ln>
                <a:solidFill>
                  <a:schemeClr val="tx1"/>
                </a:solidFill>
                <a:effectLst>
                  <a:outerShdw blurRad="38100" dist="38100" dir="2700000" algn="tl">
                    <a:srgbClr val="000000">
                      <a:alpha val="43137"/>
                    </a:srgbClr>
                  </a:outerShdw>
                </a:effectLst>
              </a:endParaRPr>
            </a:p>
          </p:txBody>
        </p:sp>
      </p:grpSp>
      <p:grpSp>
        <p:nvGrpSpPr>
          <p:cNvPr id="83" name="Group 82"/>
          <p:cNvGrpSpPr/>
          <p:nvPr/>
        </p:nvGrpSpPr>
        <p:grpSpPr>
          <a:xfrm>
            <a:off x="2060050" y="3776813"/>
            <a:ext cx="1847776" cy="906957"/>
            <a:chOff x="1378710" y="4665061"/>
            <a:chExt cx="2463060" cy="1209277"/>
          </a:xfrm>
        </p:grpSpPr>
        <p:pic>
          <p:nvPicPr>
            <p:cNvPr id="84" name="Picture 5" descr="\\MAGNUM\Projects\Microsoft\Cloud Power FY12\Design\ICONS_PNG\Scale.png"/>
            <p:cNvPicPr>
              <a:picLocks noChangeAspect="1" noChangeArrowheads="1"/>
            </p:cNvPicPr>
            <p:nvPr/>
          </p:nvPicPr>
          <p:blipFill>
            <a:blip r:embed="rId10" cstate="print">
              <a:biLevel thresh="50000"/>
            </a:blip>
            <a:srcRect/>
            <a:stretch>
              <a:fillRect/>
            </a:stretch>
          </p:blipFill>
          <p:spPr bwMode="auto">
            <a:xfrm>
              <a:off x="2081940" y="4689182"/>
              <a:ext cx="978917" cy="978917"/>
            </a:xfrm>
            <a:prstGeom prst="rect">
              <a:avLst/>
            </a:prstGeom>
            <a:noFill/>
          </p:spPr>
        </p:pic>
        <p:sp>
          <p:nvSpPr>
            <p:cNvPr id="85" name="TextBox 84"/>
            <p:cNvSpPr txBox="1"/>
            <p:nvPr/>
          </p:nvSpPr>
          <p:spPr>
            <a:xfrm>
              <a:off x="1378710" y="5597339"/>
              <a:ext cx="2429361" cy="276999"/>
            </a:xfrm>
            <a:prstGeom prst="rect">
              <a:avLst/>
            </a:prstGeom>
            <a:noFill/>
          </p:spPr>
          <p:txBody>
            <a:bodyPr wrap="square" rtlCol="0">
              <a:spAutoFit/>
            </a:bodyPr>
            <a:lstStyle/>
            <a:p>
              <a:pPr marL="1191" lvl="2" algn="ctr" fontAlgn="base">
                <a:lnSpc>
                  <a:spcPts val="900"/>
                </a:lnSpc>
                <a:buClr>
                  <a:schemeClr val="accent2"/>
                </a:buClr>
                <a:buSzPct val="100000"/>
                <a:tabLst>
                  <a:tab pos="3429314" algn="r"/>
                </a:tabLst>
                <a:defRPr/>
              </a:pPr>
              <a:r>
                <a:rPr lang="en-US" sz="1500" dirty="0">
                  <a:latin typeface="Segoe" pitchFamily="34" charset="0"/>
                </a:rPr>
                <a:t>Overprovisioning</a:t>
              </a:r>
            </a:p>
          </p:txBody>
        </p:sp>
        <p:sp>
          <p:nvSpPr>
            <p:cNvPr id="86" name="Oval 85"/>
            <p:cNvSpPr/>
            <p:nvPr/>
          </p:nvSpPr>
          <p:spPr bwMode="auto">
            <a:xfrm flipV="1">
              <a:off x="3690870" y="4665061"/>
              <a:ext cx="150900" cy="150900"/>
            </a:xfrm>
            <a:prstGeom prst="ellipse">
              <a:avLst/>
            </a:prstGeom>
            <a:solidFill>
              <a:schemeClr val="bg2">
                <a:alpha val="70000"/>
              </a:schemeClr>
            </a:solidFill>
            <a:ln w="6350">
              <a:solidFill>
                <a:schemeClr val="bg1"/>
              </a:solidFill>
              <a:headEnd type="none" w="med" len="med"/>
              <a:tailEnd type="none" w="med" len="med"/>
            </a:ln>
            <a:effectLst/>
            <a:scene3d>
              <a:camera prst="orthographicFront"/>
              <a:lightRig rig="threePt" dir="t"/>
            </a:scene3d>
            <a:sp3d>
              <a:bevelT w="152400" h="50800" prst="softRound"/>
            </a:sp3d>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lnSpc>
                  <a:spcPct val="95000"/>
                </a:lnSpc>
              </a:pPr>
              <a:endParaRPr lang="en-US" sz="1500" dirty="0">
                <a:ln>
                  <a:solidFill>
                    <a:srgbClr val="FFFFFF">
                      <a:alpha val="0"/>
                    </a:srgbClr>
                  </a:solidFill>
                </a:ln>
                <a:solidFill>
                  <a:schemeClr val="tx1"/>
                </a:solidFill>
                <a:effectLst>
                  <a:outerShdw blurRad="38100" dist="38100" dir="2700000" algn="tl">
                    <a:srgbClr val="000000">
                      <a:alpha val="43137"/>
                    </a:srgbClr>
                  </a:outerShdw>
                </a:effectLst>
              </a:endParaRPr>
            </a:p>
          </p:txBody>
        </p:sp>
      </p:grpSp>
      <p:grpSp>
        <p:nvGrpSpPr>
          <p:cNvPr id="87" name="Group 86"/>
          <p:cNvGrpSpPr/>
          <p:nvPr/>
        </p:nvGrpSpPr>
        <p:grpSpPr>
          <a:xfrm>
            <a:off x="1648658" y="2599565"/>
            <a:ext cx="2038684" cy="975017"/>
            <a:chOff x="830330" y="3095390"/>
            <a:chExt cx="2717538" cy="1300021"/>
          </a:xfrm>
        </p:grpSpPr>
        <p:pic>
          <p:nvPicPr>
            <p:cNvPr id="88" name="Picture 5" descr="\\MAGNUM\Projects\Microsoft\Cloud Power FY12\Design\ICONS_PNG\Increase.png"/>
            <p:cNvPicPr>
              <a:picLocks noChangeAspect="1" noChangeArrowheads="1"/>
            </p:cNvPicPr>
            <p:nvPr/>
          </p:nvPicPr>
          <p:blipFill>
            <a:blip r:embed="rId11" cstate="print">
              <a:biLevel thresh="50000"/>
            </a:blip>
            <a:srcRect/>
            <a:stretch>
              <a:fillRect/>
            </a:stretch>
          </p:blipFill>
          <p:spPr bwMode="auto">
            <a:xfrm>
              <a:off x="1442590" y="3095390"/>
              <a:ext cx="1067225" cy="1067225"/>
            </a:xfrm>
            <a:prstGeom prst="rect">
              <a:avLst/>
            </a:prstGeom>
            <a:noFill/>
          </p:spPr>
        </p:pic>
        <p:sp>
          <p:nvSpPr>
            <p:cNvPr id="89" name="TextBox 88"/>
            <p:cNvSpPr txBox="1"/>
            <p:nvPr/>
          </p:nvSpPr>
          <p:spPr>
            <a:xfrm>
              <a:off x="830330" y="4118413"/>
              <a:ext cx="2237670" cy="276998"/>
            </a:xfrm>
            <a:prstGeom prst="rect">
              <a:avLst/>
            </a:prstGeom>
            <a:noFill/>
          </p:spPr>
          <p:txBody>
            <a:bodyPr wrap="square" rtlCol="0">
              <a:spAutoFit/>
            </a:bodyPr>
            <a:lstStyle/>
            <a:p>
              <a:pPr marL="1191" lvl="2" algn="ctr" fontAlgn="base">
                <a:lnSpc>
                  <a:spcPts val="900"/>
                </a:lnSpc>
                <a:buClr>
                  <a:schemeClr val="accent2"/>
                </a:buClr>
                <a:buSzPct val="100000"/>
                <a:tabLst>
                  <a:tab pos="3429314" algn="r"/>
                </a:tabLst>
                <a:defRPr/>
              </a:pPr>
              <a:r>
                <a:rPr lang="en-US" sz="1500" dirty="0">
                  <a:latin typeface="Segoe" pitchFamily="34" charset="0"/>
                </a:rPr>
                <a:t>Oversubscription</a:t>
              </a:r>
            </a:p>
          </p:txBody>
        </p:sp>
        <p:sp>
          <p:nvSpPr>
            <p:cNvPr id="90" name="Oval 89"/>
            <p:cNvSpPr/>
            <p:nvPr/>
          </p:nvSpPr>
          <p:spPr bwMode="auto">
            <a:xfrm flipV="1">
              <a:off x="3396968" y="3897263"/>
              <a:ext cx="150900" cy="150900"/>
            </a:xfrm>
            <a:prstGeom prst="ellipse">
              <a:avLst/>
            </a:prstGeom>
            <a:solidFill>
              <a:schemeClr val="bg2">
                <a:alpha val="70000"/>
              </a:schemeClr>
            </a:solidFill>
            <a:ln w="6350">
              <a:solidFill>
                <a:schemeClr val="bg1"/>
              </a:solidFill>
              <a:headEnd type="none" w="med" len="med"/>
              <a:tailEnd type="none" w="med" len="med"/>
            </a:ln>
            <a:effectLst/>
            <a:scene3d>
              <a:camera prst="orthographicFront"/>
              <a:lightRig rig="threePt" dir="t"/>
            </a:scene3d>
            <a:sp3d>
              <a:bevelT w="152400" h="50800" prst="softRound"/>
            </a:sp3d>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lnSpc>
                  <a:spcPct val="95000"/>
                </a:lnSpc>
              </a:pPr>
              <a:endParaRPr lang="en-US" sz="1500" dirty="0">
                <a:ln>
                  <a:solidFill>
                    <a:srgbClr val="FFFFFF">
                      <a:alpha val="0"/>
                    </a:srgbClr>
                  </a:solidFill>
                </a:ln>
                <a:solidFill>
                  <a:schemeClr val="tx1"/>
                </a:solidFill>
                <a:effectLst>
                  <a:outerShdw blurRad="38100" dist="38100" dir="2700000" algn="tl">
                    <a:srgbClr val="000000">
                      <a:alpha val="43137"/>
                    </a:srgbClr>
                  </a:outerShdw>
                </a:effectLst>
              </a:endParaRPr>
            </a:p>
          </p:txBody>
        </p:sp>
      </p:grpSp>
      <p:grpSp>
        <p:nvGrpSpPr>
          <p:cNvPr id="91" name="Group 90"/>
          <p:cNvGrpSpPr/>
          <p:nvPr/>
        </p:nvGrpSpPr>
        <p:grpSpPr>
          <a:xfrm>
            <a:off x="45722" y="3371850"/>
            <a:ext cx="810561" cy="1603336"/>
            <a:chOff x="251953" y="-76513"/>
            <a:chExt cx="1135928" cy="2228825"/>
          </a:xfrm>
        </p:grpSpPr>
        <p:pic>
          <p:nvPicPr>
            <p:cNvPr id="92" name="Picture 6"/>
            <p:cNvPicPr>
              <a:picLocks noChangeAspect="1" noChangeArrowheads="1"/>
            </p:cNvPicPr>
            <p:nvPr/>
          </p:nvPicPr>
          <p:blipFill>
            <a:blip r:embed="rId12">
              <a:extLst>
                <a:ext uri="{28A0092B-C50C-407E-A947-70E740481C1C}">
                  <a14:useLocalDpi xmlns:a14="http://schemas.microsoft.com/office/drawing/2010/main" val="0"/>
                </a:ext>
              </a:extLst>
            </a:blip>
            <a:stretch>
              <a:fillRect/>
            </a:stretch>
          </p:blipFill>
          <p:spPr bwMode="auto">
            <a:xfrm>
              <a:off x="835850" y="-76513"/>
              <a:ext cx="552031" cy="2228825"/>
            </a:xfrm>
            <a:prstGeom prst="rect">
              <a:avLst/>
            </a:prstGeom>
            <a:effectLst>
              <a:outerShdw blurRad="76200" dist="152400" dir="18900000" sy="23000" kx="-1200000" algn="bl" rotWithShape="0">
                <a:prstClr val="black">
                  <a:alpha val="13000"/>
                </a:prstClr>
              </a:outerShdw>
            </a:effectLst>
          </p:spPr>
        </p:pic>
        <p:pic>
          <p:nvPicPr>
            <p:cNvPr id="93" name="Picture 2"/>
            <p:cNvPicPr>
              <a:picLocks noChangeAspect="1" noChangeArrowheads="1"/>
            </p:cNvPicPr>
            <p:nvPr/>
          </p:nvPicPr>
          <p:blipFill>
            <a:blip r:embed="rId13" cstate="print">
              <a:extLst>
                <a:ext uri="{28A0092B-C50C-407E-A947-70E740481C1C}">
                  <a14:useLocalDpi xmlns:a14="http://schemas.microsoft.com/office/drawing/2010/main" val="0"/>
                </a:ext>
              </a:extLst>
            </a:blip>
            <a:stretch>
              <a:fillRect/>
            </a:stretch>
          </p:blipFill>
          <p:spPr bwMode="auto">
            <a:xfrm>
              <a:off x="251953" y="387543"/>
              <a:ext cx="813816" cy="56579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4" name="Group 3"/>
          <p:cNvGrpSpPr/>
          <p:nvPr/>
        </p:nvGrpSpPr>
        <p:grpSpPr>
          <a:xfrm>
            <a:off x="8402048" y="3372030"/>
            <a:ext cx="685979" cy="1600020"/>
            <a:chOff x="10123508" y="1429390"/>
            <a:chExt cx="1754353" cy="4266720"/>
          </a:xfrm>
        </p:grpSpPr>
        <p:pic>
          <p:nvPicPr>
            <p:cNvPr id="5" name="Picture 4"/>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flipH="1">
              <a:off x="10123508" y="1429390"/>
              <a:ext cx="1089005" cy="4266720"/>
            </a:xfrm>
            <a:prstGeom prst="rect">
              <a:avLst/>
            </a:prstGeom>
            <a:effectLst>
              <a:outerShdw blurRad="76200" dist="152400" dir="18900000" sy="23000" kx="-1200000" algn="bl" rotWithShape="0">
                <a:prstClr val="black">
                  <a:alpha val="13000"/>
                </a:prstClr>
              </a:outerShdw>
            </a:effectLst>
          </p:spPr>
        </p:pic>
        <p:pic>
          <p:nvPicPr>
            <p:cNvPr id="6" name="Picture 5" descr="Jeff_Tag_Large.png"/>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0547164" y="2219397"/>
              <a:ext cx="1330697" cy="1022736"/>
            </a:xfrm>
            <a:prstGeom prst="rect">
              <a:avLst/>
            </a:prstGeom>
            <a:noFill/>
            <a:ln w="9525">
              <a:noFill/>
              <a:miter lim="800000"/>
              <a:headEnd/>
              <a:tailEnd/>
            </a:ln>
            <a:effectLst/>
          </p:spPr>
        </p:pic>
      </p:grpSp>
      <p:sp>
        <p:nvSpPr>
          <p:cNvPr id="94"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95"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6"/>
              </a:rPr>
              <a:t>www.rapidbbs.cn</a:t>
            </a:r>
            <a:endParaRPr lang="zh-CN" altLang="en-US" sz="1200" b="0">
              <a:latin typeface="Arial" charset="0"/>
              <a:ea typeface="ＭＳ Ｐゴシック" pitchFamily="34" charset="-128"/>
            </a:endParaRPr>
          </a:p>
        </p:txBody>
      </p:sp>
      <p:pic>
        <p:nvPicPr>
          <p:cNvPr id="96" name="Picture 2">
            <a:hlinkClick r:id="rId16"/>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728449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with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barn(outVertical)">
                                      <p:cBhvr>
                                        <p:cTn id="7" dur="500"/>
                                        <p:tgtEl>
                                          <p:spTgt spid="32"/>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58"/>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nodeType="clickEffect">
                                  <p:stCondLst>
                                    <p:cond delay="0"/>
                                  </p:stCondLst>
                                  <p:childTnLst>
                                    <p:set>
                                      <p:cBhvr>
                                        <p:cTn id="15" dur="1" fill="hold">
                                          <p:stCondLst>
                                            <p:cond delay="0"/>
                                          </p:stCondLst>
                                        </p:cTn>
                                        <p:tgtEl>
                                          <p:spTgt spid="63"/>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nodeType="clickEffect">
                                  <p:stCondLst>
                                    <p:cond delay="0"/>
                                  </p:stCondLst>
                                  <p:childTnLst>
                                    <p:set>
                                      <p:cBhvr>
                                        <p:cTn id="19" dur="1" fill="hold">
                                          <p:stCondLst>
                                            <p:cond delay="0"/>
                                          </p:stCondLst>
                                        </p:cTn>
                                        <p:tgtEl>
                                          <p:spTgt spid="67"/>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nodeType="clickEffect">
                                  <p:stCondLst>
                                    <p:cond delay="0"/>
                                  </p:stCondLst>
                                  <p:childTnLst>
                                    <p:set>
                                      <p:cBhvr>
                                        <p:cTn id="23" dur="1" fill="hold">
                                          <p:stCondLst>
                                            <p:cond delay="0"/>
                                          </p:stCondLst>
                                        </p:cTn>
                                        <p:tgtEl>
                                          <p:spTgt spid="71"/>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nodeType="clickEffect">
                                  <p:stCondLst>
                                    <p:cond delay="0"/>
                                  </p:stCondLst>
                                  <p:childTnLst>
                                    <p:set>
                                      <p:cBhvr>
                                        <p:cTn id="27" dur="1" fill="hold">
                                          <p:stCondLst>
                                            <p:cond delay="0"/>
                                          </p:stCondLst>
                                        </p:cTn>
                                        <p:tgtEl>
                                          <p:spTgt spid="75"/>
                                        </p:tgtEl>
                                        <p:attrNameLst>
                                          <p:attrName>style.visibility</p:attrName>
                                        </p:attrNameLst>
                                      </p:cBhvr>
                                      <p:to>
                                        <p:strVal val="visible"/>
                                      </p:to>
                                    </p:se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nodeType="clickEffect">
                                  <p:stCondLst>
                                    <p:cond delay="0"/>
                                  </p:stCondLst>
                                  <p:childTnLst>
                                    <p:set>
                                      <p:cBhvr>
                                        <p:cTn id="31" dur="1" fill="hold">
                                          <p:stCondLst>
                                            <p:cond delay="0"/>
                                          </p:stCondLst>
                                        </p:cTn>
                                        <p:tgtEl>
                                          <p:spTgt spid="79"/>
                                        </p:tgtEl>
                                        <p:attrNameLst>
                                          <p:attrName>style.visibility</p:attrName>
                                        </p:attrNameLst>
                                      </p:cBhvr>
                                      <p:to>
                                        <p:strVal val="visible"/>
                                      </p:to>
                                    </p:set>
                                  </p:childTnLst>
                                </p:cTn>
                              </p:par>
                            </p:childTnLst>
                          </p:cTn>
                        </p:par>
                      </p:childTnLst>
                    </p:cTn>
                  </p:par>
                  <p:par>
                    <p:cTn id="32" fill="hold">
                      <p:stCondLst>
                        <p:cond delay="indefinite"/>
                      </p:stCondLst>
                      <p:childTnLst>
                        <p:par>
                          <p:cTn id="33" fill="hold">
                            <p:stCondLst>
                              <p:cond delay="0"/>
                            </p:stCondLst>
                            <p:childTnLst>
                              <p:par>
                                <p:cTn id="34" presetID="1" presetClass="entr" presetSubtype="0" fill="hold" nodeType="clickEffect">
                                  <p:stCondLst>
                                    <p:cond delay="0"/>
                                  </p:stCondLst>
                                  <p:childTnLst>
                                    <p:set>
                                      <p:cBhvr>
                                        <p:cTn id="35" dur="1" fill="hold">
                                          <p:stCondLst>
                                            <p:cond delay="0"/>
                                          </p:stCondLst>
                                        </p:cTn>
                                        <p:tgtEl>
                                          <p:spTgt spid="83"/>
                                        </p:tgtEl>
                                        <p:attrNameLst>
                                          <p:attrName>style.visibility</p:attrName>
                                        </p:attrNameLst>
                                      </p:cBhvr>
                                      <p:to>
                                        <p:strVal val="visible"/>
                                      </p:to>
                                    </p:set>
                                  </p:childTnLst>
                                </p:cTn>
                              </p:par>
                            </p:childTnLst>
                          </p:cTn>
                        </p:par>
                      </p:childTnLst>
                    </p:cTn>
                  </p:par>
                  <p:par>
                    <p:cTn id="36" fill="hold">
                      <p:stCondLst>
                        <p:cond delay="indefinite"/>
                      </p:stCondLst>
                      <p:childTnLst>
                        <p:par>
                          <p:cTn id="37" fill="hold">
                            <p:stCondLst>
                              <p:cond delay="0"/>
                            </p:stCondLst>
                            <p:childTnLst>
                              <p:par>
                                <p:cTn id="38" presetID="1" presetClass="entr" presetSubtype="0" fill="hold" nodeType="clickEffect">
                                  <p:stCondLst>
                                    <p:cond delay="0"/>
                                  </p:stCondLst>
                                  <p:childTnLst>
                                    <p:set>
                                      <p:cBhvr>
                                        <p:cTn id="39" dur="1" fill="hold">
                                          <p:stCondLst>
                                            <p:cond delay="0"/>
                                          </p:stCondLst>
                                        </p:cTn>
                                        <p:tgtEl>
                                          <p:spTgt spid="87"/>
                                        </p:tgtEl>
                                        <p:attrNameLst>
                                          <p:attrName>style.visibility</p:attrName>
                                        </p:attrNameLst>
                                      </p:cBhvr>
                                      <p:to>
                                        <p:strVal val="visible"/>
                                      </p:to>
                                    </p:set>
                                  </p:childTnLst>
                                </p:cTn>
                              </p:par>
                            </p:childTnLst>
                          </p:cTn>
                        </p:par>
                        <p:par>
                          <p:cTn id="40" fill="hold">
                            <p:stCondLst>
                              <p:cond delay="0"/>
                            </p:stCondLst>
                            <p:childTnLst>
                              <p:par>
                                <p:cTn id="41" presetID="53" presetClass="entr" presetSubtype="16" fill="hold" nodeType="afterEffect">
                                  <p:stCondLst>
                                    <p:cond delay="0"/>
                                  </p:stCondLst>
                                  <p:childTnLst>
                                    <p:set>
                                      <p:cBhvr>
                                        <p:cTn id="42" dur="1" fill="hold">
                                          <p:stCondLst>
                                            <p:cond delay="0"/>
                                          </p:stCondLst>
                                        </p:cTn>
                                        <p:tgtEl>
                                          <p:spTgt spid="55"/>
                                        </p:tgtEl>
                                        <p:attrNameLst>
                                          <p:attrName>style.visibility</p:attrName>
                                        </p:attrNameLst>
                                      </p:cBhvr>
                                      <p:to>
                                        <p:strVal val="visible"/>
                                      </p:to>
                                    </p:set>
                                    <p:anim calcmode="lin" valueType="num">
                                      <p:cBhvr>
                                        <p:cTn id="43" dur="500" fill="hold"/>
                                        <p:tgtEl>
                                          <p:spTgt spid="55"/>
                                        </p:tgtEl>
                                        <p:attrNameLst>
                                          <p:attrName>ppt_w</p:attrName>
                                        </p:attrNameLst>
                                      </p:cBhvr>
                                      <p:tavLst>
                                        <p:tav tm="0">
                                          <p:val>
                                            <p:fltVal val="0"/>
                                          </p:val>
                                        </p:tav>
                                        <p:tav tm="100000">
                                          <p:val>
                                            <p:strVal val="#ppt_w"/>
                                          </p:val>
                                        </p:tav>
                                      </p:tavLst>
                                    </p:anim>
                                    <p:anim calcmode="lin" valueType="num">
                                      <p:cBhvr>
                                        <p:cTn id="44" dur="500" fill="hold"/>
                                        <p:tgtEl>
                                          <p:spTgt spid="55"/>
                                        </p:tgtEl>
                                        <p:attrNameLst>
                                          <p:attrName>ppt_h</p:attrName>
                                        </p:attrNameLst>
                                      </p:cBhvr>
                                      <p:tavLst>
                                        <p:tav tm="0">
                                          <p:val>
                                            <p:fltVal val="0"/>
                                          </p:val>
                                        </p:tav>
                                        <p:tav tm="100000">
                                          <p:val>
                                            <p:strVal val="#ppt_h"/>
                                          </p:val>
                                        </p:tav>
                                      </p:tavLst>
                                    </p:anim>
                                    <p:animEffect transition="in" filter="fade">
                                      <p:cBhvr>
                                        <p:cTn id="45"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20" name="Title 1"/>
          <p:cNvSpPr>
            <a:spLocks noGrp="1"/>
          </p:cNvSpPr>
          <p:nvPr>
            <p:ph type="title"/>
          </p:nvPr>
        </p:nvSpPr>
        <p:spPr>
          <a:xfrm>
            <a:off x="294971" y="68581"/>
            <a:ext cx="8229362" cy="789447"/>
          </a:xfrm>
        </p:spPr>
        <p:txBody>
          <a:bodyPr/>
          <a:lstStyle/>
          <a:p>
            <a:r>
              <a:rPr lang="en-US" sz="3000" dirty="0"/>
              <a:t>Automation in Datacenter – How?</a:t>
            </a:r>
            <a:br>
              <a:rPr lang="en-US" sz="3000" dirty="0"/>
            </a:br>
            <a:r>
              <a:rPr lang="en-US" sz="2700" dirty="0">
                <a:gradFill flip="none" rotWithShape="1">
                  <a:gsLst>
                    <a:gs pos="5417">
                      <a:srgbClr val="C1F7AA"/>
                    </a:gs>
                    <a:gs pos="98000">
                      <a:srgbClr val="C1F7AA"/>
                    </a:gs>
                  </a:gsLst>
                  <a:lin ang="5400000" scaled="0"/>
                  <a:tileRect/>
                </a:gradFill>
              </a:rPr>
              <a:t>System Center 2012 tie together to deliver IT as a Service</a:t>
            </a:r>
          </a:p>
        </p:txBody>
      </p:sp>
      <p:grpSp>
        <p:nvGrpSpPr>
          <p:cNvPr id="6" name="Group 5"/>
          <p:cNvGrpSpPr/>
          <p:nvPr/>
        </p:nvGrpSpPr>
        <p:grpSpPr>
          <a:xfrm>
            <a:off x="7938615" y="1605713"/>
            <a:ext cx="853025" cy="1659891"/>
            <a:chOff x="10582063" y="2140949"/>
            <a:chExt cx="1137071" cy="2213188"/>
          </a:xfrm>
        </p:grpSpPr>
        <p:grpSp>
          <p:nvGrpSpPr>
            <p:cNvPr id="69" name="Group 6"/>
            <p:cNvGrpSpPr>
              <a:grpSpLocks/>
            </p:cNvGrpSpPr>
            <p:nvPr/>
          </p:nvGrpSpPr>
          <p:grpSpPr bwMode="auto">
            <a:xfrm>
              <a:off x="10582063" y="2140949"/>
              <a:ext cx="1016073" cy="2213188"/>
              <a:chOff x="6677" y="1051"/>
              <a:chExt cx="1237" cy="2689"/>
            </a:xfrm>
          </p:grpSpPr>
          <p:pic>
            <p:nvPicPr>
              <p:cNvPr id="80" name="Picture 5"/>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677" y="1051"/>
                <a:ext cx="785" cy="2689"/>
              </a:xfrm>
              <a:prstGeom prst="rect">
                <a:avLst/>
              </a:prstGeom>
              <a:noFill/>
              <a:ln>
                <a:noFill/>
              </a:ln>
            </p:spPr>
          </p:pic>
          <p:sp>
            <p:nvSpPr>
              <p:cNvPr id="82" name="Oval 8"/>
              <p:cNvSpPr>
                <a:spLocks noChangeArrowheads="1"/>
              </p:cNvSpPr>
              <p:nvPr/>
            </p:nvSpPr>
            <p:spPr bwMode="auto">
              <a:xfrm>
                <a:off x="7122" y="2305"/>
                <a:ext cx="792" cy="792"/>
              </a:xfrm>
              <a:prstGeom prst="ellipse">
                <a:avLst/>
              </a:prstGeom>
              <a:solidFill>
                <a:schemeClr val="accent2">
                  <a:lumMod val="75000"/>
                  <a:alpha val="90000"/>
                </a:schemeClr>
              </a:solidFill>
              <a:ln w="9525">
                <a:noFill/>
                <a:round/>
                <a:headEnd/>
                <a:tailEnd/>
              </a:ln>
            </p:spPr>
            <p:txBody>
              <a:bodyPr lIns="0" rIns="0" anchor="ctr"/>
              <a:lstStyle/>
              <a:p>
                <a:pPr algn="ctr"/>
                <a:r>
                  <a:rPr lang="en-US" sz="800" dirty="0"/>
                  <a:t>DC</a:t>
                </a:r>
              </a:p>
              <a:p>
                <a:pPr algn="ctr"/>
                <a:r>
                  <a:rPr lang="en-US" sz="800" dirty="0"/>
                  <a:t>Admin</a:t>
                </a:r>
              </a:p>
            </p:txBody>
          </p:sp>
        </p:grpSp>
        <p:pic>
          <p:nvPicPr>
            <p:cNvPr id="83" name="Picture 5"/>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10904463" y="2499513"/>
              <a:ext cx="814671" cy="566390"/>
            </a:xfrm>
            <a:prstGeom prst="rect">
              <a:avLst/>
            </a:prstGeom>
            <a:noFill/>
            <a:ln w="9525">
              <a:noFill/>
              <a:miter lim="800000"/>
              <a:headEnd/>
              <a:tailEnd/>
            </a:ln>
            <a:effectLst/>
          </p:spPr>
        </p:pic>
      </p:grpSp>
      <p:sp>
        <p:nvSpPr>
          <p:cNvPr id="91" name="TextBox 90"/>
          <p:cNvSpPr txBox="1"/>
          <p:nvPr/>
        </p:nvSpPr>
        <p:spPr>
          <a:xfrm>
            <a:off x="253388" y="4043225"/>
            <a:ext cx="8611054" cy="459419"/>
          </a:xfrm>
          <a:prstGeom prst="rect">
            <a:avLst/>
          </a:prstGeom>
          <a:solidFill>
            <a:schemeClr val="tx2"/>
          </a:solidFill>
        </p:spPr>
        <p:txBody>
          <a:bodyPr wrap="square" lIns="68586" tIns="34294" rIns="68586" bIns="34294" rtlCol="0">
            <a:noAutofit/>
          </a:bodyPr>
          <a:lstStyle/>
          <a:p>
            <a:pPr algn="ctr"/>
            <a:endParaRPr lang="en-US" dirty="0"/>
          </a:p>
        </p:txBody>
      </p:sp>
      <p:sp>
        <p:nvSpPr>
          <p:cNvPr id="92" name="AutoShape 3"/>
          <p:cNvSpPr>
            <a:spLocks noChangeArrowheads="1"/>
          </p:cNvSpPr>
          <p:nvPr/>
        </p:nvSpPr>
        <p:spPr bwMode="auto">
          <a:xfrm rot="-5400000">
            <a:off x="3613224" y="1654258"/>
            <a:ext cx="1655491" cy="1364036"/>
          </a:xfrm>
          <a:custGeom>
            <a:avLst/>
            <a:gdLst>
              <a:gd name="T0" fmla="*/ 4693469 w 21600"/>
              <a:gd name="T1" fmla="*/ 800100 h 21600"/>
              <a:gd name="T2" fmla="*/ 2438400 w 21600"/>
              <a:gd name="T3" fmla="*/ 1600200 h 21600"/>
              <a:gd name="T4" fmla="*/ 183332 w 21600"/>
              <a:gd name="T5" fmla="*/ 800100 h 21600"/>
              <a:gd name="T6" fmla="*/ 2438400 w 21600"/>
              <a:gd name="T7" fmla="*/ 0 h 21600"/>
              <a:gd name="T8" fmla="*/ 0 60000 65536"/>
              <a:gd name="T9" fmla="*/ 0 60000 65536"/>
              <a:gd name="T10" fmla="*/ 0 60000 65536"/>
              <a:gd name="T11" fmla="*/ 0 60000 65536"/>
              <a:gd name="T12" fmla="*/ 2612 w 21600"/>
              <a:gd name="T13" fmla="*/ 2612 h 21600"/>
              <a:gd name="T14" fmla="*/ 18988 w 21600"/>
              <a:gd name="T15" fmla="*/ 18988 h 21600"/>
            </a:gdLst>
            <a:ahLst/>
            <a:cxnLst>
              <a:cxn ang="T8">
                <a:pos x="T0" y="T1"/>
              </a:cxn>
              <a:cxn ang="T9">
                <a:pos x="T2" y="T3"/>
              </a:cxn>
              <a:cxn ang="T10">
                <a:pos x="T4" y="T5"/>
              </a:cxn>
              <a:cxn ang="T11">
                <a:pos x="T6" y="T7"/>
              </a:cxn>
            </a:cxnLst>
            <a:rect l="T12" t="T13" r="T14" b="T15"/>
            <a:pathLst>
              <a:path w="21600" h="21600">
                <a:moveTo>
                  <a:pt x="0" y="0"/>
                </a:moveTo>
                <a:lnTo>
                  <a:pt x="1624" y="21600"/>
                </a:lnTo>
                <a:lnTo>
                  <a:pt x="19976" y="21600"/>
                </a:lnTo>
                <a:lnTo>
                  <a:pt x="21600" y="0"/>
                </a:lnTo>
                <a:close/>
              </a:path>
            </a:pathLst>
          </a:custGeom>
          <a:solidFill>
            <a:schemeClr val="accent1">
              <a:alpha val="50000"/>
            </a:schemeClr>
          </a:solidFill>
          <a:ln w="9525">
            <a:noFill/>
            <a:miter lim="800000"/>
            <a:headEnd/>
            <a:tailEnd/>
          </a:ln>
        </p:spPr>
        <p:txBody>
          <a:bodyPr vert="eaVert" lIns="68586" tIns="0" rIns="68586" bIns="0" anchor="ctr"/>
          <a:lstStyle/>
          <a:p>
            <a:pPr algn="ctr"/>
            <a:endParaRPr lang="en-US" sz="1200" dirty="0"/>
          </a:p>
        </p:txBody>
      </p:sp>
      <p:grpSp>
        <p:nvGrpSpPr>
          <p:cNvPr id="93" name="Group 92"/>
          <p:cNvGrpSpPr/>
          <p:nvPr/>
        </p:nvGrpSpPr>
        <p:grpSpPr>
          <a:xfrm>
            <a:off x="1295230" y="1428749"/>
            <a:ext cx="1370242" cy="1795462"/>
            <a:chOff x="1606523" y="1904997"/>
            <a:chExt cx="1826514" cy="2393949"/>
          </a:xfrm>
        </p:grpSpPr>
        <p:sp>
          <p:nvSpPr>
            <p:cNvPr id="94" name="AutoShape 3"/>
            <p:cNvSpPr>
              <a:spLocks noChangeArrowheads="1"/>
            </p:cNvSpPr>
            <p:nvPr/>
          </p:nvSpPr>
          <p:spPr bwMode="auto">
            <a:xfrm rot="-5400000">
              <a:off x="1411983" y="2205913"/>
              <a:ext cx="2207321" cy="1818241"/>
            </a:xfrm>
            <a:custGeom>
              <a:avLst/>
              <a:gdLst>
                <a:gd name="T0" fmla="*/ 4693469 w 21600"/>
                <a:gd name="T1" fmla="*/ 800100 h 21600"/>
                <a:gd name="T2" fmla="*/ 2438400 w 21600"/>
                <a:gd name="T3" fmla="*/ 1600200 h 21600"/>
                <a:gd name="T4" fmla="*/ 183332 w 21600"/>
                <a:gd name="T5" fmla="*/ 800100 h 21600"/>
                <a:gd name="T6" fmla="*/ 2438400 w 21600"/>
                <a:gd name="T7" fmla="*/ 0 h 21600"/>
                <a:gd name="T8" fmla="*/ 0 60000 65536"/>
                <a:gd name="T9" fmla="*/ 0 60000 65536"/>
                <a:gd name="T10" fmla="*/ 0 60000 65536"/>
                <a:gd name="T11" fmla="*/ 0 60000 65536"/>
                <a:gd name="T12" fmla="*/ 2612 w 21600"/>
                <a:gd name="T13" fmla="*/ 2612 h 21600"/>
                <a:gd name="T14" fmla="*/ 18988 w 21600"/>
                <a:gd name="T15" fmla="*/ 18988 h 21600"/>
              </a:gdLst>
              <a:ahLst/>
              <a:cxnLst>
                <a:cxn ang="T8">
                  <a:pos x="T0" y="T1"/>
                </a:cxn>
                <a:cxn ang="T9">
                  <a:pos x="T2" y="T3"/>
                </a:cxn>
                <a:cxn ang="T10">
                  <a:pos x="T4" y="T5"/>
                </a:cxn>
                <a:cxn ang="T11">
                  <a:pos x="T6" y="T7"/>
                </a:cxn>
              </a:cxnLst>
              <a:rect l="T12" t="T13" r="T14" b="T15"/>
              <a:pathLst>
                <a:path w="21600" h="21600">
                  <a:moveTo>
                    <a:pt x="0" y="0"/>
                  </a:moveTo>
                  <a:lnTo>
                    <a:pt x="1624" y="21600"/>
                  </a:lnTo>
                  <a:lnTo>
                    <a:pt x="19976" y="21600"/>
                  </a:lnTo>
                  <a:lnTo>
                    <a:pt x="21600" y="0"/>
                  </a:lnTo>
                  <a:close/>
                </a:path>
              </a:pathLst>
            </a:custGeom>
            <a:solidFill>
              <a:schemeClr val="accent1">
                <a:alpha val="50000"/>
              </a:schemeClr>
            </a:solidFill>
            <a:ln w="9525">
              <a:noFill/>
              <a:miter lim="800000"/>
              <a:headEnd/>
              <a:tailEnd/>
            </a:ln>
          </p:spPr>
          <p:txBody>
            <a:bodyPr vert="eaVert" tIns="0" bIns="0" anchor="ctr"/>
            <a:lstStyle/>
            <a:p>
              <a:pPr algn="ctr"/>
              <a:endParaRPr lang="en-US" sz="1200" dirty="0"/>
            </a:p>
          </p:txBody>
        </p:sp>
        <p:sp>
          <p:nvSpPr>
            <p:cNvPr id="95" name="AutoShape 2"/>
            <p:cNvSpPr>
              <a:spLocks noChangeArrowheads="1"/>
            </p:cNvSpPr>
            <p:nvPr/>
          </p:nvSpPr>
          <p:spPr bwMode="auto">
            <a:xfrm rot="-5400000">
              <a:off x="1390242" y="2256152"/>
              <a:ext cx="2393949" cy="1691640"/>
            </a:xfrm>
            <a:custGeom>
              <a:avLst/>
              <a:gdLst>
                <a:gd name="T0" fmla="*/ 4693469 w 21600"/>
                <a:gd name="T1" fmla="*/ 800894 h 21600"/>
                <a:gd name="T2" fmla="*/ 2438400 w 21600"/>
                <a:gd name="T3" fmla="*/ 1601787 h 21600"/>
                <a:gd name="T4" fmla="*/ 183332 w 21600"/>
                <a:gd name="T5" fmla="*/ 800894 h 21600"/>
                <a:gd name="T6" fmla="*/ 2438400 w 21600"/>
                <a:gd name="T7" fmla="*/ 0 h 21600"/>
                <a:gd name="T8" fmla="*/ 0 60000 65536"/>
                <a:gd name="T9" fmla="*/ 0 60000 65536"/>
                <a:gd name="T10" fmla="*/ 0 60000 65536"/>
                <a:gd name="T11" fmla="*/ 0 60000 65536"/>
                <a:gd name="T12" fmla="*/ 2612 w 21600"/>
                <a:gd name="T13" fmla="*/ 2612 h 21600"/>
                <a:gd name="T14" fmla="*/ 18988 w 21600"/>
                <a:gd name="T15" fmla="*/ 18988 h 21600"/>
              </a:gdLst>
              <a:ahLst/>
              <a:cxnLst>
                <a:cxn ang="T8">
                  <a:pos x="T0" y="T1"/>
                </a:cxn>
                <a:cxn ang="T9">
                  <a:pos x="T2" y="T3"/>
                </a:cxn>
                <a:cxn ang="T10">
                  <a:pos x="T4" y="T5"/>
                </a:cxn>
                <a:cxn ang="T11">
                  <a:pos x="T6" y="T7"/>
                </a:cxn>
              </a:cxnLst>
              <a:rect l="T12" t="T13" r="T14" b="T15"/>
              <a:pathLst>
                <a:path w="21600" h="21600">
                  <a:moveTo>
                    <a:pt x="0" y="0"/>
                  </a:moveTo>
                  <a:lnTo>
                    <a:pt x="1624" y="21600"/>
                  </a:lnTo>
                  <a:lnTo>
                    <a:pt x="19976" y="21600"/>
                  </a:lnTo>
                  <a:lnTo>
                    <a:pt x="21600" y="0"/>
                  </a:lnTo>
                  <a:close/>
                </a:path>
              </a:pathLst>
            </a:custGeom>
            <a:solidFill>
              <a:schemeClr val="accent1">
                <a:alpha val="77000"/>
              </a:schemeClr>
            </a:solidFill>
            <a:ln w="9525">
              <a:noFill/>
              <a:miter lim="800000"/>
              <a:headEnd/>
              <a:tailEnd/>
            </a:ln>
          </p:spPr>
          <p:txBody>
            <a:bodyPr vert="eaVert" tIns="0" bIns="0" anchor="ctr"/>
            <a:lstStyle/>
            <a:p>
              <a:pPr algn="ctr"/>
              <a:endParaRPr lang="en-US" sz="1200" dirty="0"/>
            </a:p>
            <a:p>
              <a:pPr algn="ctr"/>
              <a:endParaRPr lang="en-US" sz="1200" dirty="0"/>
            </a:p>
            <a:p>
              <a:pPr algn="ctr"/>
              <a:r>
                <a:rPr lang="en-US" sz="1200" dirty="0"/>
                <a:t>Self-Service</a:t>
              </a:r>
            </a:p>
          </p:txBody>
        </p:sp>
        <p:grpSp>
          <p:nvGrpSpPr>
            <p:cNvPr id="96" name="Group 167"/>
            <p:cNvGrpSpPr>
              <a:grpSpLocks/>
            </p:cNvGrpSpPr>
            <p:nvPr/>
          </p:nvGrpSpPr>
          <p:grpSpPr bwMode="auto">
            <a:xfrm>
              <a:off x="2261779" y="2600505"/>
              <a:ext cx="650875" cy="534988"/>
              <a:chOff x="2830513" y="1652588"/>
              <a:chExt cx="419100" cy="346075"/>
            </a:xfrm>
          </p:grpSpPr>
          <p:sp>
            <p:nvSpPr>
              <p:cNvPr id="97" name="AutoShape 3"/>
              <p:cNvSpPr>
                <a:spLocks noChangeAspect="1" noChangeArrowheads="1" noTextEdit="1"/>
              </p:cNvSpPr>
              <p:nvPr/>
            </p:nvSpPr>
            <p:spPr bwMode="auto">
              <a:xfrm>
                <a:off x="2830513" y="1652588"/>
                <a:ext cx="419100" cy="346075"/>
              </a:xfrm>
              <a:prstGeom prst="rect">
                <a:avLst/>
              </a:prstGeom>
              <a:noFill/>
              <a:ln w="9525">
                <a:noFill/>
                <a:miter lim="800000"/>
                <a:headEnd/>
                <a:tailEnd/>
              </a:ln>
            </p:spPr>
            <p:txBody>
              <a:bodyPr/>
              <a:lstStyle/>
              <a:p>
                <a:pPr defTabSz="684673">
                  <a:defRPr/>
                </a:pPr>
                <a:endParaRPr lang="en-US" sz="1100" kern="0" dirty="0">
                  <a:solidFill>
                    <a:srgbClr val="FFFFFF"/>
                  </a:solidFill>
                  <a:latin typeface="+mj-lt"/>
                  <a:cs typeface="Arial" charset="0"/>
                </a:endParaRPr>
              </a:p>
            </p:txBody>
          </p:sp>
          <p:sp>
            <p:nvSpPr>
              <p:cNvPr id="98" name="Freeform 5"/>
              <p:cNvSpPr>
                <a:spLocks/>
              </p:cNvSpPr>
              <p:nvPr/>
            </p:nvSpPr>
            <p:spPr bwMode="auto">
              <a:xfrm>
                <a:off x="2856068" y="1684423"/>
                <a:ext cx="161507" cy="224897"/>
              </a:xfrm>
              <a:custGeom>
                <a:avLst/>
                <a:gdLst>
                  <a:gd name="T0" fmla="*/ 2147483647 w 102"/>
                  <a:gd name="T1" fmla="*/ 2147483647 h 142"/>
                  <a:gd name="T2" fmla="*/ 2147483647 w 102"/>
                  <a:gd name="T3" fmla="*/ 2147483647 h 142"/>
                  <a:gd name="T4" fmla="*/ 2147483647 w 102"/>
                  <a:gd name="T5" fmla="*/ 2147483647 h 142"/>
                  <a:gd name="T6" fmla="*/ 0 w 102"/>
                  <a:gd name="T7" fmla="*/ 2147483647 h 142"/>
                  <a:gd name="T8" fmla="*/ 0 w 102"/>
                  <a:gd name="T9" fmla="*/ 2147483647 h 142"/>
                  <a:gd name="T10" fmla="*/ 2147483647 w 102"/>
                  <a:gd name="T11" fmla="*/ 2147483647 h 142"/>
                  <a:gd name="T12" fmla="*/ 2147483647 w 102"/>
                  <a:gd name="T13" fmla="*/ 0 h 142"/>
                  <a:gd name="T14" fmla="*/ 2147483647 w 102"/>
                  <a:gd name="T15" fmla="*/ 0 h 142"/>
                  <a:gd name="T16" fmla="*/ 2147483647 w 102"/>
                  <a:gd name="T17" fmla="*/ 2147483647 h 142"/>
                  <a:gd name="T18" fmla="*/ 2147483647 w 102"/>
                  <a:gd name="T19" fmla="*/ 2147483647 h 142"/>
                  <a:gd name="T20" fmla="*/ 2147483647 w 102"/>
                  <a:gd name="T21" fmla="*/ 2147483647 h 142"/>
                  <a:gd name="T22" fmla="*/ 2147483647 w 102"/>
                  <a:gd name="T23" fmla="*/ 2147483647 h 142"/>
                  <a:gd name="T24" fmla="*/ 2147483647 w 102"/>
                  <a:gd name="T25" fmla="*/ 2147483647 h 142"/>
                  <a:gd name="T26" fmla="*/ 2147483647 w 102"/>
                  <a:gd name="T27" fmla="*/ 2147483647 h 142"/>
                  <a:gd name="T28" fmla="*/ 2147483647 w 102"/>
                  <a:gd name="T29" fmla="*/ 2147483647 h 142"/>
                  <a:gd name="T30" fmla="*/ 2147483647 w 102"/>
                  <a:gd name="T31" fmla="*/ 2147483647 h 142"/>
                  <a:gd name="T32" fmla="*/ 2147483647 w 102"/>
                  <a:gd name="T33" fmla="*/ 2147483647 h 142"/>
                  <a:gd name="T34" fmla="*/ 2147483647 w 102"/>
                  <a:gd name="T35" fmla="*/ 2147483647 h 142"/>
                  <a:gd name="T36" fmla="*/ 2147483647 w 102"/>
                  <a:gd name="T37" fmla="*/ 2147483647 h 142"/>
                  <a:gd name="T38" fmla="*/ 2147483647 w 102"/>
                  <a:gd name="T39" fmla="*/ 2147483647 h 142"/>
                  <a:gd name="T40" fmla="*/ 2147483647 w 102"/>
                  <a:gd name="T41" fmla="*/ 2147483647 h 142"/>
                  <a:gd name="T42" fmla="*/ 2147483647 w 102"/>
                  <a:gd name="T43" fmla="*/ 2147483647 h 142"/>
                  <a:gd name="T44" fmla="*/ 2147483647 w 102"/>
                  <a:gd name="T45" fmla="*/ 2147483647 h 142"/>
                  <a:gd name="T46" fmla="*/ 2147483647 w 102"/>
                  <a:gd name="T47" fmla="*/ 2147483647 h 142"/>
                  <a:gd name="T48" fmla="*/ 2147483647 w 102"/>
                  <a:gd name="T49" fmla="*/ 2147483647 h 142"/>
                  <a:gd name="T50" fmla="*/ 2147483647 w 102"/>
                  <a:gd name="T51" fmla="*/ 2147483647 h 142"/>
                  <a:gd name="T52" fmla="*/ 2147483647 w 102"/>
                  <a:gd name="T53" fmla="*/ 2147483647 h 142"/>
                  <a:gd name="T54" fmla="*/ 2147483647 w 102"/>
                  <a:gd name="T55" fmla="*/ 2147483647 h 142"/>
                  <a:gd name="T56" fmla="*/ 2147483647 w 102"/>
                  <a:gd name="T57" fmla="*/ 2147483647 h 142"/>
                  <a:gd name="T58" fmla="*/ 2147483647 w 102"/>
                  <a:gd name="T59" fmla="*/ 2147483647 h 142"/>
                  <a:gd name="T60" fmla="*/ 2147483647 w 102"/>
                  <a:gd name="T61" fmla="*/ 2147483647 h 142"/>
                  <a:gd name="T62" fmla="*/ 2147483647 w 102"/>
                  <a:gd name="T63" fmla="*/ 2147483647 h 142"/>
                  <a:gd name="T64" fmla="*/ 2147483647 w 102"/>
                  <a:gd name="T65" fmla="*/ 2147483647 h 142"/>
                  <a:gd name="T66" fmla="*/ 2147483647 w 102"/>
                  <a:gd name="T67" fmla="*/ 2147483647 h 142"/>
                  <a:gd name="T68" fmla="*/ 2147483647 w 102"/>
                  <a:gd name="T69" fmla="*/ 2147483647 h 142"/>
                  <a:gd name="T70" fmla="*/ 2147483647 w 102"/>
                  <a:gd name="T71" fmla="*/ 2147483647 h 142"/>
                  <a:gd name="T72" fmla="*/ 2147483647 w 102"/>
                  <a:gd name="T73" fmla="*/ 2147483647 h 142"/>
                  <a:gd name="T74" fmla="*/ 2147483647 w 102"/>
                  <a:gd name="T75" fmla="*/ 2147483647 h 142"/>
                  <a:gd name="T76" fmla="*/ 2147483647 w 102"/>
                  <a:gd name="T77" fmla="*/ 2147483647 h 142"/>
                  <a:gd name="T78" fmla="*/ 2147483647 w 102"/>
                  <a:gd name="T79" fmla="*/ 2147483647 h 142"/>
                  <a:gd name="T80" fmla="*/ 2147483647 w 102"/>
                  <a:gd name="T81" fmla="*/ 2147483647 h 142"/>
                  <a:gd name="T82" fmla="*/ 2147483647 w 102"/>
                  <a:gd name="T83" fmla="*/ 2147483647 h 142"/>
                  <a:gd name="T84" fmla="*/ 2147483647 w 102"/>
                  <a:gd name="T85" fmla="*/ 2147483647 h 142"/>
                  <a:gd name="T86" fmla="*/ 2147483647 w 102"/>
                  <a:gd name="T87" fmla="*/ 2147483647 h 142"/>
                  <a:gd name="T88" fmla="*/ 2147483647 w 102"/>
                  <a:gd name="T89" fmla="*/ 2147483647 h 142"/>
                  <a:gd name="T90" fmla="*/ 2147483647 w 102"/>
                  <a:gd name="T91" fmla="*/ 2147483647 h 142"/>
                  <a:gd name="T92" fmla="*/ 2147483647 w 102"/>
                  <a:gd name="T93" fmla="*/ 2147483647 h 142"/>
                  <a:gd name="T94" fmla="*/ 2147483647 w 102"/>
                  <a:gd name="T95" fmla="*/ 2147483647 h 142"/>
                  <a:gd name="T96" fmla="*/ 2147483647 w 102"/>
                  <a:gd name="T97" fmla="*/ 2147483647 h 142"/>
                  <a:gd name="T98" fmla="*/ 2147483647 w 102"/>
                  <a:gd name="T99" fmla="*/ 2147483647 h 142"/>
                  <a:gd name="T100" fmla="*/ 2147483647 w 102"/>
                  <a:gd name="T101" fmla="*/ 2147483647 h 142"/>
                  <a:gd name="T102" fmla="*/ 2147483647 w 102"/>
                  <a:gd name="T103" fmla="*/ 2147483647 h 142"/>
                  <a:gd name="T104" fmla="*/ 2147483647 w 102"/>
                  <a:gd name="T105" fmla="*/ 2147483647 h 142"/>
                  <a:gd name="T106" fmla="*/ 2147483647 w 102"/>
                  <a:gd name="T107" fmla="*/ 2147483647 h 142"/>
                  <a:gd name="T108" fmla="*/ 2147483647 w 102"/>
                  <a:gd name="T109" fmla="*/ 2147483647 h 142"/>
                  <a:gd name="T110" fmla="*/ 2147483647 w 102"/>
                  <a:gd name="T111" fmla="*/ 2147483647 h 142"/>
                  <a:gd name="T112" fmla="*/ 2147483647 w 102"/>
                  <a:gd name="T113" fmla="*/ 2147483647 h 142"/>
                  <a:gd name="T114" fmla="*/ 2147483647 w 102"/>
                  <a:gd name="T115" fmla="*/ 2147483647 h 142"/>
                  <a:gd name="T116" fmla="*/ 2147483647 w 102"/>
                  <a:gd name="T117" fmla="*/ 2147483647 h 142"/>
                  <a:gd name="T118" fmla="*/ 2147483647 w 102"/>
                  <a:gd name="T119" fmla="*/ 2147483647 h 142"/>
                  <a:gd name="T120" fmla="*/ 2147483647 w 102"/>
                  <a:gd name="T121" fmla="*/ 2147483647 h 14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02"/>
                  <a:gd name="T184" fmla="*/ 0 h 142"/>
                  <a:gd name="T185" fmla="*/ 102 w 102"/>
                  <a:gd name="T186" fmla="*/ 142 h 14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02" h="142">
                    <a:moveTo>
                      <a:pt x="94" y="142"/>
                    </a:moveTo>
                    <a:lnTo>
                      <a:pt x="6" y="142"/>
                    </a:lnTo>
                    <a:lnTo>
                      <a:pt x="2" y="140"/>
                    </a:lnTo>
                    <a:lnTo>
                      <a:pt x="0" y="134"/>
                    </a:lnTo>
                    <a:lnTo>
                      <a:pt x="0" y="8"/>
                    </a:lnTo>
                    <a:lnTo>
                      <a:pt x="2" y="2"/>
                    </a:lnTo>
                    <a:lnTo>
                      <a:pt x="6" y="0"/>
                    </a:lnTo>
                    <a:lnTo>
                      <a:pt x="94" y="0"/>
                    </a:lnTo>
                    <a:lnTo>
                      <a:pt x="100" y="2"/>
                    </a:lnTo>
                    <a:lnTo>
                      <a:pt x="102" y="8"/>
                    </a:lnTo>
                    <a:lnTo>
                      <a:pt x="102" y="134"/>
                    </a:lnTo>
                    <a:lnTo>
                      <a:pt x="100" y="140"/>
                    </a:lnTo>
                    <a:lnTo>
                      <a:pt x="94" y="142"/>
                    </a:lnTo>
                    <a:lnTo>
                      <a:pt x="86" y="74"/>
                    </a:lnTo>
                    <a:lnTo>
                      <a:pt x="88" y="72"/>
                    </a:lnTo>
                    <a:lnTo>
                      <a:pt x="90" y="70"/>
                    </a:lnTo>
                    <a:lnTo>
                      <a:pt x="88" y="66"/>
                    </a:lnTo>
                    <a:lnTo>
                      <a:pt x="86" y="66"/>
                    </a:lnTo>
                    <a:lnTo>
                      <a:pt x="18" y="66"/>
                    </a:lnTo>
                    <a:lnTo>
                      <a:pt x="14" y="66"/>
                    </a:lnTo>
                    <a:lnTo>
                      <a:pt x="14" y="70"/>
                    </a:lnTo>
                    <a:lnTo>
                      <a:pt x="14" y="72"/>
                    </a:lnTo>
                    <a:lnTo>
                      <a:pt x="18" y="74"/>
                    </a:lnTo>
                    <a:lnTo>
                      <a:pt x="86" y="74"/>
                    </a:lnTo>
                    <a:lnTo>
                      <a:pt x="94" y="142"/>
                    </a:lnTo>
                    <a:lnTo>
                      <a:pt x="86" y="48"/>
                    </a:lnTo>
                    <a:lnTo>
                      <a:pt x="88" y="46"/>
                    </a:lnTo>
                    <a:lnTo>
                      <a:pt x="90" y="44"/>
                    </a:lnTo>
                    <a:lnTo>
                      <a:pt x="88" y="40"/>
                    </a:lnTo>
                    <a:lnTo>
                      <a:pt x="86" y="40"/>
                    </a:lnTo>
                    <a:lnTo>
                      <a:pt x="18" y="40"/>
                    </a:lnTo>
                    <a:lnTo>
                      <a:pt x="14" y="40"/>
                    </a:lnTo>
                    <a:lnTo>
                      <a:pt x="14" y="44"/>
                    </a:lnTo>
                    <a:lnTo>
                      <a:pt x="14" y="46"/>
                    </a:lnTo>
                    <a:lnTo>
                      <a:pt x="18" y="48"/>
                    </a:lnTo>
                    <a:lnTo>
                      <a:pt x="86" y="48"/>
                    </a:lnTo>
                    <a:lnTo>
                      <a:pt x="94" y="142"/>
                    </a:lnTo>
                    <a:lnTo>
                      <a:pt x="86" y="100"/>
                    </a:lnTo>
                    <a:lnTo>
                      <a:pt x="18" y="100"/>
                    </a:lnTo>
                    <a:lnTo>
                      <a:pt x="14" y="100"/>
                    </a:lnTo>
                    <a:lnTo>
                      <a:pt x="14" y="96"/>
                    </a:lnTo>
                    <a:lnTo>
                      <a:pt x="14" y="94"/>
                    </a:lnTo>
                    <a:lnTo>
                      <a:pt x="18" y="92"/>
                    </a:lnTo>
                    <a:lnTo>
                      <a:pt x="86" y="92"/>
                    </a:lnTo>
                    <a:lnTo>
                      <a:pt x="88" y="94"/>
                    </a:lnTo>
                    <a:lnTo>
                      <a:pt x="90" y="96"/>
                    </a:lnTo>
                    <a:lnTo>
                      <a:pt x="88" y="100"/>
                    </a:lnTo>
                    <a:lnTo>
                      <a:pt x="86" y="100"/>
                    </a:lnTo>
                    <a:lnTo>
                      <a:pt x="94" y="142"/>
                    </a:lnTo>
                    <a:lnTo>
                      <a:pt x="86" y="128"/>
                    </a:lnTo>
                    <a:lnTo>
                      <a:pt x="18" y="128"/>
                    </a:lnTo>
                    <a:lnTo>
                      <a:pt x="14" y="126"/>
                    </a:lnTo>
                    <a:lnTo>
                      <a:pt x="14" y="124"/>
                    </a:lnTo>
                    <a:lnTo>
                      <a:pt x="14" y="120"/>
                    </a:lnTo>
                    <a:lnTo>
                      <a:pt x="18" y="120"/>
                    </a:lnTo>
                    <a:lnTo>
                      <a:pt x="86" y="120"/>
                    </a:lnTo>
                    <a:lnTo>
                      <a:pt x="88" y="120"/>
                    </a:lnTo>
                    <a:lnTo>
                      <a:pt x="90" y="124"/>
                    </a:lnTo>
                    <a:lnTo>
                      <a:pt x="88" y="126"/>
                    </a:lnTo>
                    <a:lnTo>
                      <a:pt x="86" y="128"/>
                    </a:lnTo>
                    <a:lnTo>
                      <a:pt x="94" y="142"/>
                    </a:lnTo>
                    <a:close/>
                  </a:path>
                </a:pathLst>
              </a:custGeom>
              <a:solidFill>
                <a:srgbClr val="FFFFFF"/>
              </a:solidFill>
              <a:ln w="9525">
                <a:noFill/>
                <a:round/>
                <a:headEnd/>
                <a:tailEnd/>
              </a:ln>
            </p:spPr>
            <p:txBody>
              <a:bodyPr/>
              <a:lstStyle/>
              <a:p>
                <a:pPr defTabSz="684673"/>
                <a:endParaRPr lang="en-US" sz="1100" dirty="0">
                  <a:solidFill>
                    <a:srgbClr val="FFFFFF"/>
                  </a:solidFill>
                  <a:latin typeface="+mj-lt"/>
                  <a:cs typeface="Arial" charset="0"/>
                </a:endParaRPr>
              </a:p>
            </p:txBody>
          </p:sp>
          <p:sp>
            <p:nvSpPr>
              <p:cNvPr id="99" name="Freeform 6"/>
              <p:cNvSpPr>
                <a:spLocks/>
              </p:cNvSpPr>
              <p:nvPr/>
            </p:nvSpPr>
            <p:spPr bwMode="auto">
              <a:xfrm>
                <a:off x="2830513" y="1652588"/>
                <a:ext cx="419100" cy="346075"/>
              </a:xfrm>
              <a:custGeom>
                <a:avLst/>
                <a:gdLst>
                  <a:gd name="T0" fmla="*/ 2147483647 w 264"/>
                  <a:gd name="T1" fmla="*/ 2147483647 h 218"/>
                  <a:gd name="T2" fmla="*/ 2147483647 w 264"/>
                  <a:gd name="T3" fmla="*/ 2147483647 h 218"/>
                  <a:gd name="T4" fmla="*/ 2147483647 w 264"/>
                  <a:gd name="T5" fmla="*/ 2147483647 h 218"/>
                  <a:gd name="T6" fmla="*/ 2147483647 w 264"/>
                  <a:gd name="T7" fmla="*/ 2147483647 h 218"/>
                  <a:gd name="T8" fmla="*/ 2147483647 w 264"/>
                  <a:gd name="T9" fmla="*/ 2147483647 h 218"/>
                  <a:gd name="T10" fmla="*/ 2147483647 w 264"/>
                  <a:gd name="T11" fmla="*/ 2147483647 h 218"/>
                  <a:gd name="T12" fmla="*/ 2147483647 w 264"/>
                  <a:gd name="T13" fmla="*/ 2147483647 h 218"/>
                  <a:gd name="T14" fmla="*/ 2147483647 w 264"/>
                  <a:gd name="T15" fmla="*/ 2147483647 h 218"/>
                  <a:gd name="T16" fmla="*/ 2147483647 w 264"/>
                  <a:gd name="T17" fmla="*/ 2147483647 h 218"/>
                  <a:gd name="T18" fmla="*/ 2147483647 w 264"/>
                  <a:gd name="T19" fmla="*/ 2147483647 h 218"/>
                  <a:gd name="T20" fmla="*/ 2147483647 w 264"/>
                  <a:gd name="T21" fmla="*/ 2147483647 h 218"/>
                  <a:gd name="T22" fmla="*/ 2147483647 w 264"/>
                  <a:gd name="T23" fmla="*/ 2147483647 h 218"/>
                  <a:gd name="T24" fmla="*/ 2147483647 w 264"/>
                  <a:gd name="T25" fmla="*/ 2147483647 h 218"/>
                  <a:gd name="T26" fmla="*/ 2147483647 w 264"/>
                  <a:gd name="T27" fmla="*/ 2147483647 h 218"/>
                  <a:gd name="T28" fmla="*/ 2147483647 w 264"/>
                  <a:gd name="T29" fmla="*/ 2147483647 h 218"/>
                  <a:gd name="T30" fmla="*/ 2147483647 w 264"/>
                  <a:gd name="T31" fmla="*/ 2147483647 h 218"/>
                  <a:gd name="T32" fmla="*/ 2147483647 w 264"/>
                  <a:gd name="T33" fmla="*/ 2147483647 h 218"/>
                  <a:gd name="T34" fmla="*/ 2147483647 w 264"/>
                  <a:gd name="T35" fmla="*/ 2147483647 h 218"/>
                  <a:gd name="T36" fmla="*/ 2147483647 w 264"/>
                  <a:gd name="T37" fmla="*/ 2147483647 h 218"/>
                  <a:gd name="T38" fmla="*/ 2147483647 w 264"/>
                  <a:gd name="T39" fmla="*/ 2147483647 h 218"/>
                  <a:gd name="T40" fmla="*/ 2147483647 w 264"/>
                  <a:gd name="T41" fmla="*/ 2147483647 h 218"/>
                  <a:gd name="T42" fmla="*/ 2147483647 w 264"/>
                  <a:gd name="T43" fmla="*/ 2147483647 h 218"/>
                  <a:gd name="T44" fmla="*/ 2147483647 w 264"/>
                  <a:gd name="T45" fmla="*/ 2147483647 h 218"/>
                  <a:gd name="T46" fmla="*/ 2147483647 w 264"/>
                  <a:gd name="T47" fmla="*/ 2147483647 h 218"/>
                  <a:gd name="T48" fmla="*/ 2147483647 w 264"/>
                  <a:gd name="T49" fmla="*/ 2147483647 h 218"/>
                  <a:gd name="T50" fmla="*/ 2147483647 w 264"/>
                  <a:gd name="T51" fmla="*/ 2147483647 h 218"/>
                  <a:gd name="T52" fmla="*/ 2147483647 w 264"/>
                  <a:gd name="T53" fmla="*/ 2147483647 h 218"/>
                  <a:gd name="T54" fmla="*/ 2147483647 w 264"/>
                  <a:gd name="T55" fmla="*/ 2147483647 h 218"/>
                  <a:gd name="T56" fmla="*/ 2147483647 w 264"/>
                  <a:gd name="T57" fmla="*/ 2147483647 h 218"/>
                  <a:gd name="T58" fmla="*/ 2147483647 w 264"/>
                  <a:gd name="T59" fmla="*/ 2147483647 h 218"/>
                  <a:gd name="T60" fmla="*/ 2147483647 w 264"/>
                  <a:gd name="T61" fmla="*/ 2147483647 h 218"/>
                  <a:gd name="T62" fmla="*/ 2147483647 w 264"/>
                  <a:gd name="T63" fmla="*/ 2147483647 h 218"/>
                  <a:gd name="T64" fmla="*/ 2147483647 w 264"/>
                  <a:gd name="T65" fmla="*/ 2147483647 h 218"/>
                  <a:gd name="T66" fmla="*/ 2147483647 w 264"/>
                  <a:gd name="T67" fmla="*/ 2147483647 h 218"/>
                  <a:gd name="T68" fmla="*/ 0 w 264"/>
                  <a:gd name="T69" fmla="*/ 2147483647 h 218"/>
                  <a:gd name="T70" fmla="*/ 2147483647 w 264"/>
                  <a:gd name="T71" fmla="*/ 2147483647 h 218"/>
                  <a:gd name="T72" fmla="*/ 2147483647 w 264"/>
                  <a:gd name="T73" fmla="*/ 0 h 218"/>
                  <a:gd name="T74" fmla="*/ 2147483647 w 264"/>
                  <a:gd name="T75" fmla="*/ 2147483647 h 218"/>
                  <a:gd name="T76" fmla="*/ 2147483647 w 264"/>
                  <a:gd name="T77" fmla="*/ 2147483647 h 218"/>
                  <a:gd name="T78" fmla="*/ 2147483647 w 264"/>
                  <a:gd name="T79" fmla="*/ 2147483647 h 218"/>
                  <a:gd name="T80" fmla="*/ 2147483647 w 264"/>
                  <a:gd name="T81" fmla="*/ 2147483647 h 21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64"/>
                  <a:gd name="T124" fmla="*/ 0 h 218"/>
                  <a:gd name="T125" fmla="*/ 264 w 264"/>
                  <a:gd name="T126" fmla="*/ 218 h 21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64" h="218">
                    <a:moveTo>
                      <a:pt x="238" y="116"/>
                    </a:moveTo>
                    <a:lnTo>
                      <a:pt x="172" y="108"/>
                    </a:lnTo>
                    <a:lnTo>
                      <a:pt x="198" y="168"/>
                    </a:lnTo>
                    <a:lnTo>
                      <a:pt x="206" y="144"/>
                    </a:lnTo>
                    <a:lnTo>
                      <a:pt x="254" y="180"/>
                    </a:lnTo>
                    <a:lnTo>
                      <a:pt x="256" y="180"/>
                    </a:lnTo>
                    <a:lnTo>
                      <a:pt x="260" y="178"/>
                    </a:lnTo>
                    <a:lnTo>
                      <a:pt x="262" y="176"/>
                    </a:lnTo>
                    <a:lnTo>
                      <a:pt x="262" y="174"/>
                    </a:lnTo>
                    <a:lnTo>
                      <a:pt x="264" y="172"/>
                    </a:lnTo>
                    <a:lnTo>
                      <a:pt x="262" y="168"/>
                    </a:lnTo>
                    <a:lnTo>
                      <a:pt x="216" y="134"/>
                    </a:lnTo>
                    <a:lnTo>
                      <a:pt x="238" y="116"/>
                    </a:lnTo>
                    <a:lnTo>
                      <a:pt x="156" y="14"/>
                    </a:lnTo>
                    <a:lnTo>
                      <a:pt x="176" y="14"/>
                    </a:lnTo>
                    <a:lnTo>
                      <a:pt x="176" y="16"/>
                    </a:lnTo>
                    <a:lnTo>
                      <a:pt x="156" y="16"/>
                    </a:lnTo>
                    <a:lnTo>
                      <a:pt x="156" y="14"/>
                    </a:lnTo>
                    <a:lnTo>
                      <a:pt x="238" y="116"/>
                    </a:lnTo>
                    <a:lnTo>
                      <a:pt x="156" y="18"/>
                    </a:lnTo>
                    <a:lnTo>
                      <a:pt x="176" y="18"/>
                    </a:lnTo>
                    <a:lnTo>
                      <a:pt x="176" y="32"/>
                    </a:lnTo>
                    <a:lnTo>
                      <a:pt x="156" y="32"/>
                    </a:lnTo>
                    <a:lnTo>
                      <a:pt x="156" y="18"/>
                    </a:lnTo>
                    <a:lnTo>
                      <a:pt x="238" y="116"/>
                    </a:lnTo>
                    <a:lnTo>
                      <a:pt x="142" y="30"/>
                    </a:lnTo>
                    <a:lnTo>
                      <a:pt x="118" y="30"/>
                    </a:lnTo>
                    <a:lnTo>
                      <a:pt x="118" y="28"/>
                    </a:lnTo>
                    <a:lnTo>
                      <a:pt x="142" y="28"/>
                    </a:lnTo>
                    <a:lnTo>
                      <a:pt x="142" y="30"/>
                    </a:lnTo>
                    <a:lnTo>
                      <a:pt x="238" y="116"/>
                    </a:lnTo>
                    <a:lnTo>
                      <a:pt x="192" y="30"/>
                    </a:lnTo>
                    <a:lnTo>
                      <a:pt x="198" y="22"/>
                    </a:lnTo>
                    <a:lnTo>
                      <a:pt x="192" y="16"/>
                    </a:lnTo>
                    <a:lnTo>
                      <a:pt x="198" y="16"/>
                    </a:lnTo>
                    <a:lnTo>
                      <a:pt x="200" y="20"/>
                    </a:lnTo>
                    <a:lnTo>
                      <a:pt x="202" y="16"/>
                    </a:lnTo>
                    <a:lnTo>
                      <a:pt x="206" y="16"/>
                    </a:lnTo>
                    <a:lnTo>
                      <a:pt x="202" y="22"/>
                    </a:lnTo>
                    <a:lnTo>
                      <a:pt x="208" y="30"/>
                    </a:lnTo>
                    <a:lnTo>
                      <a:pt x="202" y="30"/>
                    </a:lnTo>
                    <a:lnTo>
                      <a:pt x="200" y="26"/>
                    </a:lnTo>
                    <a:lnTo>
                      <a:pt x="196" y="30"/>
                    </a:lnTo>
                    <a:lnTo>
                      <a:pt x="192" y="30"/>
                    </a:lnTo>
                    <a:lnTo>
                      <a:pt x="238" y="116"/>
                    </a:lnTo>
                    <a:lnTo>
                      <a:pt x="216" y="40"/>
                    </a:lnTo>
                    <a:lnTo>
                      <a:pt x="8" y="40"/>
                    </a:lnTo>
                    <a:lnTo>
                      <a:pt x="8" y="196"/>
                    </a:lnTo>
                    <a:lnTo>
                      <a:pt x="10" y="202"/>
                    </a:lnTo>
                    <a:lnTo>
                      <a:pt x="12" y="206"/>
                    </a:lnTo>
                    <a:lnTo>
                      <a:pt x="18" y="210"/>
                    </a:lnTo>
                    <a:lnTo>
                      <a:pt x="24" y="210"/>
                    </a:lnTo>
                    <a:lnTo>
                      <a:pt x="202" y="210"/>
                    </a:lnTo>
                    <a:lnTo>
                      <a:pt x="208" y="210"/>
                    </a:lnTo>
                    <a:lnTo>
                      <a:pt x="212" y="206"/>
                    </a:lnTo>
                    <a:lnTo>
                      <a:pt x="216" y="202"/>
                    </a:lnTo>
                    <a:lnTo>
                      <a:pt x="216" y="196"/>
                    </a:lnTo>
                    <a:lnTo>
                      <a:pt x="216" y="162"/>
                    </a:lnTo>
                    <a:lnTo>
                      <a:pt x="224" y="168"/>
                    </a:lnTo>
                    <a:lnTo>
                      <a:pt x="224" y="196"/>
                    </a:lnTo>
                    <a:lnTo>
                      <a:pt x="222" y="204"/>
                    </a:lnTo>
                    <a:lnTo>
                      <a:pt x="218" y="212"/>
                    </a:lnTo>
                    <a:lnTo>
                      <a:pt x="210" y="216"/>
                    </a:lnTo>
                    <a:lnTo>
                      <a:pt x="202" y="218"/>
                    </a:lnTo>
                    <a:lnTo>
                      <a:pt x="24" y="218"/>
                    </a:lnTo>
                    <a:lnTo>
                      <a:pt x="14" y="216"/>
                    </a:lnTo>
                    <a:lnTo>
                      <a:pt x="8" y="212"/>
                    </a:lnTo>
                    <a:lnTo>
                      <a:pt x="2" y="204"/>
                    </a:lnTo>
                    <a:lnTo>
                      <a:pt x="0" y="196"/>
                    </a:lnTo>
                    <a:lnTo>
                      <a:pt x="0" y="24"/>
                    </a:lnTo>
                    <a:lnTo>
                      <a:pt x="2" y="14"/>
                    </a:lnTo>
                    <a:lnTo>
                      <a:pt x="8" y="8"/>
                    </a:lnTo>
                    <a:lnTo>
                      <a:pt x="14" y="2"/>
                    </a:lnTo>
                    <a:lnTo>
                      <a:pt x="24" y="0"/>
                    </a:lnTo>
                    <a:lnTo>
                      <a:pt x="202" y="0"/>
                    </a:lnTo>
                    <a:lnTo>
                      <a:pt x="210" y="2"/>
                    </a:lnTo>
                    <a:lnTo>
                      <a:pt x="218" y="8"/>
                    </a:lnTo>
                    <a:lnTo>
                      <a:pt x="222" y="14"/>
                    </a:lnTo>
                    <a:lnTo>
                      <a:pt x="224" y="24"/>
                    </a:lnTo>
                    <a:lnTo>
                      <a:pt x="224" y="108"/>
                    </a:lnTo>
                    <a:lnTo>
                      <a:pt x="216" y="106"/>
                    </a:lnTo>
                    <a:lnTo>
                      <a:pt x="216" y="40"/>
                    </a:lnTo>
                    <a:lnTo>
                      <a:pt x="238" y="116"/>
                    </a:lnTo>
                    <a:close/>
                  </a:path>
                </a:pathLst>
              </a:custGeom>
              <a:solidFill>
                <a:srgbClr val="FFFFFF"/>
              </a:solidFill>
              <a:ln w="9525">
                <a:noFill/>
                <a:round/>
                <a:headEnd/>
                <a:tailEnd/>
              </a:ln>
            </p:spPr>
            <p:txBody>
              <a:bodyPr/>
              <a:lstStyle/>
              <a:p>
                <a:pPr defTabSz="684673"/>
                <a:endParaRPr lang="en-US" sz="1100" dirty="0">
                  <a:solidFill>
                    <a:srgbClr val="FFFFFF"/>
                  </a:solidFill>
                  <a:latin typeface="+mj-lt"/>
                  <a:cs typeface="Arial" charset="0"/>
                </a:endParaRPr>
              </a:p>
            </p:txBody>
          </p:sp>
        </p:grpSp>
      </p:grpSp>
      <p:grpSp>
        <p:nvGrpSpPr>
          <p:cNvPr id="100" name="Group 84"/>
          <p:cNvGrpSpPr>
            <a:grpSpLocks/>
          </p:cNvGrpSpPr>
          <p:nvPr/>
        </p:nvGrpSpPr>
        <p:grpSpPr bwMode="auto">
          <a:xfrm>
            <a:off x="6506980" y="696805"/>
            <a:ext cx="1038495" cy="3221821"/>
            <a:chOff x="6273" y="-34"/>
            <a:chExt cx="989" cy="3072"/>
          </a:xfrm>
        </p:grpSpPr>
        <p:sp>
          <p:nvSpPr>
            <p:cNvPr id="101" name="Rectangle 100"/>
            <p:cNvSpPr/>
            <p:nvPr/>
          </p:nvSpPr>
          <p:spPr>
            <a:xfrm>
              <a:off x="6438" y="2136"/>
              <a:ext cx="658" cy="188"/>
            </a:xfrm>
            <a:prstGeom prst="rect">
              <a:avLst/>
            </a:prstGeom>
            <a:noFill/>
            <a:ln w="3175" cap="flat" cmpd="sng" algn="ctr">
              <a:noFill/>
              <a:prstDash val="solid"/>
            </a:ln>
            <a:effectLst/>
          </p:spPr>
          <p:txBody>
            <a:bodyPr lIns="121899" tIns="60949" rIns="121899" bIns="60949" anchor="b"/>
            <a:lstStyle/>
            <a:p>
              <a:pPr algn="ctr" defTabSz="685835">
                <a:defRPr/>
              </a:pPr>
              <a:r>
                <a:rPr lang="en-US" sz="900" kern="0" dirty="0">
                  <a:solidFill>
                    <a:schemeClr val="bg2">
                      <a:alpha val="99000"/>
                    </a:schemeClr>
                  </a:solidFill>
                  <a:cs typeface="Arial" charset="0"/>
                </a:rPr>
                <a:t>Virtual</a:t>
              </a:r>
            </a:p>
          </p:txBody>
        </p:sp>
        <p:sp>
          <p:nvSpPr>
            <p:cNvPr id="102" name="Rectangle 101"/>
            <p:cNvSpPr/>
            <p:nvPr/>
          </p:nvSpPr>
          <p:spPr>
            <a:xfrm>
              <a:off x="6437" y="2867"/>
              <a:ext cx="661" cy="171"/>
            </a:xfrm>
            <a:prstGeom prst="rect">
              <a:avLst/>
            </a:prstGeom>
            <a:noFill/>
            <a:ln w="3175" cap="flat" cmpd="sng" algn="ctr">
              <a:noFill/>
              <a:prstDash val="solid"/>
            </a:ln>
            <a:effectLst/>
          </p:spPr>
          <p:txBody>
            <a:bodyPr lIns="121899" tIns="60949" rIns="121899" bIns="60949" anchor="b"/>
            <a:lstStyle/>
            <a:p>
              <a:pPr algn="ctr" defTabSz="685835">
                <a:defRPr/>
              </a:pPr>
              <a:r>
                <a:rPr lang="en-US" sz="900" kern="0" dirty="0">
                  <a:solidFill>
                    <a:schemeClr val="bg2">
                      <a:alpha val="99000"/>
                    </a:schemeClr>
                  </a:solidFill>
                  <a:cs typeface="Arial" charset="0"/>
                </a:rPr>
                <a:t>Physical</a:t>
              </a:r>
            </a:p>
          </p:txBody>
        </p:sp>
        <p:pic>
          <p:nvPicPr>
            <p:cNvPr id="103" name="Picture 140"/>
            <p:cNvPicPr>
              <a:picLocks noChangeAspect="1"/>
            </p:cNvPicPr>
            <p:nvPr/>
          </p:nvPicPr>
          <p:blipFill>
            <a:blip r:embed="rId5" cstate="print">
              <a:duotone>
                <a:prstClr val="black"/>
                <a:schemeClr val="accent1">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Lst>
            </a:blip>
            <a:srcRect/>
            <a:stretch>
              <a:fillRect/>
            </a:stretch>
          </p:blipFill>
          <p:spPr bwMode="auto">
            <a:xfrm>
              <a:off x="6450" y="1568"/>
              <a:ext cx="635" cy="675"/>
            </a:xfrm>
            <a:prstGeom prst="rect">
              <a:avLst/>
            </a:prstGeom>
            <a:noFill/>
            <a:ln w="9525">
              <a:noFill/>
              <a:miter lim="800000"/>
              <a:headEnd/>
              <a:tailEnd/>
            </a:ln>
          </p:spPr>
        </p:pic>
        <p:pic>
          <p:nvPicPr>
            <p:cNvPr id="104" name="Picture 2"/>
            <p:cNvPicPr>
              <a:picLocks noChangeAspect="1" noChangeArrowheads="1"/>
            </p:cNvPicPr>
            <p:nvPr/>
          </p:nvPicPr>
          <p:blipFill>
            <a:blip r:embed="rId7" cstate="print">
              <a:duotone>
                <a:prstClr val="black"/>
                <a:schemeClr val="accent1">
                  <a:tint val="45000"/>
                  <a:satMod val="400000"/>
                </a:schemeClr>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6570" y="2338"/>
              <a:ext cx="395" cy="545"/>
            </a:xfrm>
            <a:prstGeom prst="rect">
              <a:avLst/>
            </a:prstGeom>
            <a:noFill/>
            <a:ln w="9525">
              <a:noFill/>
              <a:miter lim="800000"/>
              <a:headEnd/>
              <a:tailEnd/>
            </a:ln>
          </p:spPr>
        </p:pic>
        <p:sp>
          <p:nvSpPr>
            <p:cNvPr id="105" name="Rectangle 104"/>
            <p:cNvSpPr/>
            <p:nvPr/>
          </p:nvSpPr>
          <p:spPr>
            <a:xfrm>
              <a:off x="6273" y="599"/>
              <a:ext cx="989" cy="173"/>
            </a:xfrm>
            <a:prstGeom prst="rect">
              <a:avLst/>
            </a:prstGeom>
            <a:noFill/>
            <a:ln w="3175" cap="flat" cmpd="sng" algn="ctr">
              <a:noFill/>
              <a:prstDash val="solid"/>
            </a:ln>
            <a:effectLst/>
          </p:spPr>
          <p:txBody>
            <a:bodyPr lIns="0" tIns="60949" rIns="0" bIns="60949" anchor="b"/>
            <a:lstStyle>
              <a:defPPr>
                <a:defRPr lang="en-US"/>
              </a:defPPr>
              <a:lvl1pPr algn="l" rtl="0" fontAlgn="base">
                <a:spcBef>
                  <a:spcPct val="0"/>
                </a:spcBef>
                <a:spcAft>
                  <a:spcPct val="0"/>
                </a:spcAft>
                <a:defRPr kern="1200">
                  <a:solidFill>
                    <a:schemeClr val="tx1"/>
                  </a:solidFill>
                  <a:latin typeface="Segoe UI" pitchFamily="34" charset="0"/>
                  <a:ea typeface="+mn-ea"/>
                  <a:cs typeface="Segoe UI" pitchFamily="34" charset="0"/>
                </a:defRPr>
              </a:lvl1pPr>
              <a:lvl2pPr marL="457200" algn="l" rtl="0" fontAlgn="base">
                <a:spcBef>
                  <a:spcPct val="0"/>
                </a:spcBef>
                <a:spcAft>
                  <a:spcPct val="0"/>
                </a:spcAft>
                <a:defRPr kern="1200">
                  <a:solidFill>
                    <a:schemeClr val="tx1"/>
                  </a:solidFill>
                  <a:latin typeface="Segoe UI" pitchFamily="34" charset="0"/>
                  <a:ea typeface="+mn-ea"/>
                  <a:cs typeface="Segoe UI" pitchFamily="34" charset="0"/>
                </a:defRPr>
              </a:lvl2pPr>
              <a:lvl3pPr marL="914400" algn="l" rtl="0" fontAlgn="base">
                <a:spcBef>
                  <a:spcPct val="0"/>
                </a:spcBef>
                <a:spcAft>
                  <a:spcPct val="0"/>
                </a:spcAft>
                <a:defRPr kern="1200">
                  <a:solidFill>
                    <a:schemeClr val="tx1"/>
                  </a:solidFill>
                  <a:latin typeface="Segoe UI" pitchFamily="34" charset="0"/>
                  <a:ea typeface="+mn-ea"/>
                  <a:cs typeface="Segoe UI" pitchFamily="34" charset="0"/>
                </a:defRPr>
              </a:lvl3pPr>
              <a:lvl4pPr marL="1371600" algn="l" rtl="0" fontAlgn="base">
                <a:spcBef>
                  <a:spcPct val="0"/>
                </a:spcBef>
                <a:spcAft>
                  <a:spcPct val="0"/>
                </a:spcAft>
                <a:defRPr kern="1200">
                  <a:solidFill>
                    <a:schemeClr val="tx1"/>
                  </a:solidFill>
                  <a:latin typeface="Segoe UI" pitchFamily="34" charset="0"/>
                  <a:ea typeface="+mn-ea"/>
                  <a:cs typeface="Segoe UI" pitchFamily="34" charset="0"/>
                </a:defRPr>
              </a:lvl4pPr>
              <a:lvl5pPr marL="1828800" algn="l" rtl="0" fontAlgn="base">
                <a:spcBef>
                  <a:spcPct val="0"/>
                </a:spcBef>
                <a:spcAft>
                  <a:spcPct val="0"/>
                </a:spcAft>
                <a:defRPr kern="1200">
                  <a:solidFill>
                    <a:schemeClr val="tx1"/>
                  </a:solidFill>
                  <a:latin typeface="Segoe UI" pitchFamily="34" charset="0"/>
                  <a:ea typeface="+mn-ea"/>
                  <a:cs typeface="Segoe UI" pitchFamily="34" charset="0"/>
                </a:defRPr>
              </a:lvl5pPr>
              <a:lvl6pPr marL="2286000" algn="l" defTabSz="914400" rtl="0" eaLnBrk="1" latinLnBrk="0" hangingPunct="1">
                <a:defRPr kern="1200">
                  <a:solidFill>
                    <a:schemeClr val="tx1"/>
                  </a:solidFill>
                  <a:latin typeface="Segoe UI" pitchFamily="34" charset="0"/>
                  <a:ea typeface="+mn-ea"/>
                  <a:cs typeface="Segoe UI" pitchFamily="34" charset="0"/>
                </a:defRPr>
              </a:lvl6pPr>
              <a:lvl7pPr marL="2743200" algn="l" defTabSz="914400" rtl="0" eaLnBrk="1" latinLnBrk="0" hangingPunct="1">
                <a:defRPr kern="1200">
                  <a:solidFill>
                    <a:schemeClr val="tx1"/>
                  </a:solidFill>
                  <a:latin typeface="Segoe UI" pitchFamily="34" charset="0"/>
                  <a:ea typeface="+mn-ea"/>
                  <a:cs typeface="Segoe UI" pitchFamily="34" charset="0"/>
                </a:defRPr>
              </a:lvl7pPr>
              <a:lvl8pPr marL="3200400" algn="l" defTabSz="914400" rtl="0" eaLnBrk="1" latinLnBrk="0" hangingPunct="1">
                <a:defRPr kern="1200">
                  <a:solidFill>
                    <a:schemeClr val="tx1"/>
                  </a:solidFill>
                  <a:latin typeface="Segoe UI" pitchFamily="34" charset="0"/>
                  <a:ea typeface="+mn-ea"/>
                  <a:cs typeface="Segoe UI" pitchFamily="34" charset="0"/>
                </a:defRPr>
              </a:lvl8pPr>
              <a:lvl9pPr marL="3657600" algn="l" defTabSz="914400" rtl="0" eaLnBrk="1" latinLnBrk="0" hangingPunct="1">
                <a:defRPr kern="1200">
                  <a:solidFill>
                    <a:schemeClr val="tx1"/>
                  </a:solidFill>
                  <a:latin typeface="Segoe UI" pitchFamily="34" charset="0"/>
                  <a:ea typeface="+mn-ea"/>
                  <a:cs typeface="Segoe UI" pitchFamily="34" charset="0"/>
                </a:defRPr>
              </a:lvl9pPr>
            </a:lstStyle>
            <a:p>
              <a:pPr algn="ctr" defTabSz="685835">
                <a:defRPr/>
              </a:pPr>
              <a:r>
                <a:rPr lang="en-US" sz="900" kern="0" dirty="0">
                  <a:solidFill>
                    <a:schemeClr val="bg2">
                      <a:alpha val="99000"/>
                    </a:schemeClr>
                  </a:solidFill>
                  <a:latin typeface="+mn-lt"/>
                  <a:cs typeface="Arial" charset="0"/>
                </a:rPr>
                <a:t>Public Cloud</a:t>
              </a:r>
            </a:p>
          </p:txBody>
        </p:sp>
        <p:sp>
          <p:nvSpPr>
            <p:cNvPr id="106" name="Rectangle 105"/>
            <p:cNvSpPr/>
            <p:nvPr/>
          </p:nvSpPr>
          <p:spPr>
            <a:xfrm>
              <a:off x="6333" y="1503"/>
              <a:ext cx="868" cy="141"/>
            </a:xfrm>
            <a:prstGeom prst="rect">
              <a:avLst/>
            </a:prstGeom>
            <a:noFill/>
            <a:ln w="3175" cap="flat" cmpd="sng" algn="ctr">
              <a:noFill/>
              <a:prstDash val="solid"/>
            </a:ln>
            <a:effectLst/>
          </p:spPr>
          <p:txBody>
            <a:bodyPr lIns="121899" tIns="60949" rIns="121899" bIns="60949" anchor="b"/>
            <a:lstStyle>
              <a:defPPr>
                <a:defRPr lang="en-US"/>
              </a:defPPr>
              <a:lvl1pPr algn="l" rtl="0" fontAlgn="base">
                <a:spcBef>
                  <a:spcPct val="0"/>
                </a:spcBef>
                <a:spcAft>
                  <a:spcPct val="0"/>
                </a:spcAft>
                <a:defRPr kern="1200">
                  <a:solidFill>
                    <a:schemeClr val="tx1"/>
                  </a:solidFill>
                  <a:latin typeface="Segoe UI" pitchFamily="34" charset="0"/>
                  <a:ea typeface="+mn-ea"/>
                  <a:cs typeface="Segoe UI" pitchFamily="34" charset="0"/>
                </a:defRPr>
              </a:lvl1pPr>
              <a:lvl2pPr marL="457200" algn="l" rtl="0" fontAlgn="base">
                <a:spcBef>
                  <a:spcPct val="0"/>
                </a:spcBef>
                <a:spcAft>
                  <a:spcPct val="0"/>
                </a:spcAft>
                <a:defRPr kern="1200">
                  <a:solidFill>
                    <a:schemeClr val="tx1"/>
                  </a:solidFill>
                  <a:latin typeface="Segoe UI" pitchFamily="34" charset="0"/>
                  <a:ea typeface="+mn-ea"/>
                  <a:cs typeface="Segoe UI" pitchFamily="34" charset="0"/>
                </a:defRPr>
              </a:lvl2pPr>
              <a:lvl3pPr marL="914400" algn="l" rtl="0" fontAlgn="base">
                <a:spcBef>
                  <a:spcPct val="0"/>
                </a:spcBef>
                <a:spcAft>
                  <a:spcPct val="0"/>
                </a:spcAft>
                <a:defRPr kern="1200">
                  <a:solidFill>
                    <a:schemeClr val="tx1"/>
                  </a:solidFill>
                  <a:latin typeface="Segoe UI" pitchFamily="34" charset="0"/>
                  <a:ea typeface="+mn-ea"/>
                  <a:cs typeface="Segoe UI" pitchFamily="34" charset="0"/>
                </a:defRPr>
              </a:lvl3pPr>
              <a:lvl4pPr marL="1371600" algn="l" rtl="0" fontAlgn="base">
                <a:spcBef>
                  <a:spcPct val="0"/>
                </a:spcBef>
                <a:spcAft>
                  <a:spcPct val="0"/>
                </a:spcAft>
                <a:defRPr kern="1200">
                  <a:solidFill>
                    <a:schemeClr val="tx1"/>
                  </a:solidFill>
                  <a:latin typeface="Segoe UI" pitchFamily="34" charset="0"/>
                  <a:ea typeface="+mn-ea"/>
                  <a:cs typeface="Segoe UI" pitchFamily="34" charset="0"/>
                </a:defRPr>
              </a:lvl4pPr>
              <a:lvl5pPr marL="1828800" algn="l" rtl="0" fontAlgn="base">
                <a:spcBef>
                  <a:spcPct val="0"/>
                </a:spcBef>
                <a:spcAft>
                  <a:spcPct val="0"/>
                </a:spcAft>
                <a:defRPr kern="1200">
                  <a:solidFill>
                    <a:schemeClr val="tx1"/>
                  </a:solidFill>
                  <a:latin typeface="Segoe UI" pitchFamily="34" charset="0"/>
                  <a:ea typeface="+mn-ea"/>
                  <a:cs typeface="Segoe UI" pitchFamily="34" charset="0"/>
                </a:defRPr>
              </a:lvl5pPr>
              <a:lvl6pPr marL="2286000" algn="l" defTabSz="914400" rtl="0" eaLnBrk="1" latinLnBrk="0" hangingPunct="1">
                <a:defRPr kern="1200">
                  <a:solidFill>
                    <a:schemeClr val="tx1"/>
                  </a:solidFill>
                  <a:latin typeface="Segoe UI" pitchFamily="34" charset="0"/>
                  <a:ea typeface="+mn-ea"/>
                  <a:cs typeface="Segoe UI" pitchFamily="34" charset="0"/>
                </a:defRPr>
              </a:lvl6pPr>
              <a:lvl7pPr marL="2743200" algn="l" defTabSz="914400" rtl="0" eaLnBrk="1" latinLnBrk="0" hangingPunct="1">
                <a:defRPr kern="1200">
                  <a:solidFill>
                    <a:schemeClr val="tx1"/>
                  </a:solidFill>
                  <a:latin typeface="Segoe UI" pitchFamily="34" charset="0"/>
                  <a:ea typeface="+mn-ea"/>
                  <a:cs typeface="Segoe UI" pitchFamily="34" charset="0"/>
                </a:defRPr>
              </a:lvl7pPr>
              <a:lvl8pPr marL="3200400" algn="l" defTabSz="914400" rtl="0" eaLnBrk="1" latinLnBrk="0" hangingPunct="1">
                <a:defRPr kern="1200">
                  <a:solidFill>
                    <a:schemeClr val="tx1"/>
                  </a:solidFill>
                  <a:latin typeface="Segoe UI" pitchFamily="34" charset="0"/>
                  <a:ea typeface="+mn-ea"/>
                  <a:cs typeface="Segoe UI" pitchFamily="34" charset="0"/>
                </a:defRPr>
              </a:lvl8pPr>
              <a:lvl9pPr marL="3657600" algn="l" defTabSz="914400" rtl="0" eaLnBrk="1" latinLnBrk="0" hangingPunct="1">
                <a:defRPr kern="1200">
                  <a:solidFill>
                    <a:schemeClr val="tx1"/>
                  </a:solidFill>
                  <a:latin typeface="Segoe UI" pitchFamily="34" charset="0"/>
                  <a:ea typeface="+mn-ea"/>
                  <a:cs typeface="Segoe UI" pitchFamily="34" charset="0"/>
                </a:defRPr>
              </a:lvl9pPr>
            </a:lstStyle>
            <a:p>
              <a:pPr algn="ctr" defTabSz="685835">
                <a:defRPr/>
              </a:pPr>
              <a:r>
                <a:rPr lang="en-US" sz="900" kern="0" dirty="0">
                  <a:solidFill>
                    <a:schemeClr val="bg2">
                      <a:alpha val="99000"/>
                    </a:schemeClr>
                  </a:solidFill>
                  <a:latin typeface="+mn-lt"/>
                  <a:cs typeface="Arial" charset="0"/>
                </a:rPr>
                <a:t>Private Cloud</a:t>
              </a:r>
            </a:p>
          </p:txBody>
        </p:sp>
        <p:pic>
          <p:nvPicPr>
            <p:cNvPr id="107" name="Picture 90"/>
            <p:cNvPicPr>
              <a:picLocks noChangeAspect="1"/>
            </p:cNvPicPr>
            <p:nvPr/>
          </p:nvPicPr>
          <p:blipFill>
            <a:blip r:embed="rId9" cstate="print">
              <a:duotone>
                <a:prstClr val="black"/>
                <a:schemeClr val="accent1">
                  <a:tint val="45000"/>
                  <a:satMod val="400000"/>
                </a:schemeClr>
              </a:duotone>
              <a:extLst>
                <a:ext uri="{BEBA8EAE-BF5A-486C-A8C5-ECC9F3942E4B}">
                  <a14:imgProps xmlns:a14="http://schemas.microsoft.com/office/drawing/2010/main">
                    <a14:imgLayer r:embed="rId10">
                      <a14:imgEffect>
                        <a14:brightnessContrast bright="100000"/>
                      </a14:imgEffect>
                    </a14:imgLayer>
                  </a14:imgProps>
                </a:ext>
              </a:extLst>
            </a:blip>
            <a:srcRect/>
            <a:stretch>
              <a:fillRect/>
            </a:stretch>
          </p:blipFill>
          <p:spPr bwMode="auto">
            <a:xfrm>
              <a:off x="6413" y="810"/>
              <a:ext cx="708" cy="720"/>
            </a:xfrm>
            <a:prstGeom prst="rect">
              <a:avLst/>
            </a:prstGeom>
            <a:noFill/>
            <a:ln w="9525">
              <a:noFill/>
              <a:miter lim="800000"/>
              <a:headEnd/>
              <a:tailEnd/>
            </a:ln>
          </p:spPr>
        </p:pic>
        <p:pic>
          <p:nvPicPr>
            <p:cNvPr id="108" name="Picture 91"/>
            <p:cNvPicPr>
              <a:picLocks noChangeAspect="1"/>
            </p:cNvPicPr>
            <p:nvPr/>
          </p:nvPicPr>
          <p:blipFill>
            <a:blip r:embed="rId11" cstate="print">
              <a:duotone>
                <a:prstClr val="black"/>
                <a:schemeClr val="accent1">
                  <a:tint val="45000"/>
                  <a:satMod val="400000"/>
                </a:schemeClr>
              </a:duotone>
              <a:extLst>
                <a:ext uri="{BEBA8EAE-BF5A-486C-A8C5-ECC9F3942E4B}">
                  <a14:imgProps xmlns:a14="http://schemas.microsoft.com/office/drawing/2010/main">
                    <a14:imgLayer r:embed="rId12">
                      <a14:imgEffect>
                        <a14:brightnessContrast bright="100000"/>
                      </a14:imgEffect>
                    </a14:imgLayer>
                  </a14:imgProps>
                </a:ext>
              </a:extLst>
            </a:blip>
            <a:srcRect/>
            <a:stretch>
              <a:fillRect/>
            </a:stretch>
          </p:blipFill>
          <p:spPr bwMode="auto">
            <a:xfrm>
              <a:off x="6432" y="-34"/>
              <a:ext cx="672" cy="682"/>
            </a:xfrm>
            <a:prstGeom prst="rect">
              <a:avLst/>
            </a:prstGeom>
            <a:noFill/>
            <a:ln w="9525">
              <a:noFill/>
              <a:miter lim="800000"/>
              <a:headEnd/>
              <a:tailEnd/>
            </a:ln>
          </p:spPr>
        </p:pic>
      </p:grpSp>
      <p:pic>
        <p:nvPicPr>
          <p:cNvPr id="109" name="Picture 4"/>
          <p:cNvPicPr>
            <a:picLocks noChangeAspect="1" noChangeArrowheads="1"/>
          </p:cNvPicPr>
          <p:nvPr/>
        </p:nvPicPr>
        <p:blipFill>
          <a:blip r:embed="rId13" cstate="print">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val="0"/>
              </a:ext>
            </a:extLst>
          </a:blip>
          <a:stretch>
            <a:fillRect/>
          </a:stretch>
        </p:blipFill>
        <p:spPr bwMode="auto">
          <a:xfrm>
            <a:off x="5252597" y="2042320"/>
            <a:ext cx="968572" cy="211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0" name="Picture 5"/>
          <p:cNvPicPr>
            <a:picLocks noChangeAspect="1" noChangeArrowheads="1"/>
          </p:cNvPicPr>
          <p:nvPr/>
        </p:nvPicPr>
        <p:blipFill>
          <a:blip r:embed="rId15" cstate="print">
            <a:extLst>
              <a:ext uri="{BEBA8EAE-BF5A-486C-A8C5-ECC9F3942E4B}">
                <a14:imgProps xmlns:a14="http://schemas.microsoft.com/office/drawing/2010/main">
                  <a14:imgLayer r:embed="rId16">
                    <a14:imgEffect>
                      <a14:brightnessContrast bright="100000"/>
                    </a14:imgEffect>
                  </a14:imgLayer>
                </a14:imgProps>
              </a:ext>
              <a:ext uri="{28A0092B-C50C-407E-A947-70E740481C1C}">
                <a14:useLocalDpi xmlns:a14="http://schemas.microsoft.com/office/drawing/2010/main" val="0"/>
              </a:ext>
            </a:extLst>
          </a:blip>
          <a:stretch>
            <a:fillRect/>
          </a:stretch>
        </p:blipFill>
        <p:spPr bwMode="auto">
          <a:xfrm>
            <a:off x="5251925" y="2357558"/>
            <a:ext cx="965414" cy="171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1" name="AutoShape 3"/>
          <p:cNvSpPr>
            <a:spLocks noChangeArrowheads="1"/>
          </p:cNvSpPr>
          <p:nvPr/>
        </p:nvSpPr>
        <p:spPr bwMode="auto">
          <a:xfrm rot="-5400000">
            <a:off x="3589743" y="1690969"/>
            <a:ext cx="1795462" cy="1271024"/>
          </a:xfrm>
          <a:custGeom>
            <a:avLst/>
            <a:gdLst>
              <a:gd name="T0" fmla="*/ 4693469 w 21600"/>
              <a:gd name="T1" fmla="*/ 800100 h 21600"/>
              <a:gd name="T2" fmla="*/ 2438400 w 21600"/>
              <a:gd name="T3" fmla="*/ 1600200 h 21600"/>
              <a:gd name="T4" fmla="*/ 183332 w 21600"/>
              <a:gd name="T5" fmla="*/ 800100 h 21600"/>
              <a:gd name="T6" fmla="*/ 2438400 w 21600"/>
              <a:gd name="T7" fmla="*/ 0 h 21600"/>
              <a:gd name="T8" fmla="*/ 0 60000 65536"/>
              <a:gd name="T9" fmla="*/ 0 60000 65536"/>
              <a:gd name="T10" fmla="*/ 0 60000 65536"/>
              <a:gd name="T11" fmla="*/ 0 60000 65536"/>
              <a:gd name="T12" fmla="*/ 2612 w 21600"/>
              <a:gd name="T13" fmla="*/ 2612 h 21600"/>
              <a:gd name="T14" fmla="*/ 18988 w 21600"/>
              <a:gd name="T15" fmla="*/ 18988 h 21600"/>
            </a:gdLst>
            <a:ahLst/>
            <a:cxnLst>
              <a:cxn ang="T8">
                <a:pos x="T0" y="T1"/>
              </a:cxn>
              <a:cxn ang="T9">
                <a:pos x="T2" y="T3"/>
              </a:cxn>
              <a:cxn ang="T10">
                <a:pos x="T4" y="T5"/>
              </a:cxn>
              <a:cxn ang="T11">
                <a:pos x="T6" y="T7"/>
              </a:cxn>
            </a:cxnLst>
            <a:rect l="T12" t="T13" r="T14" b="T15"/>
            <a:pathLst>
              <a:path w="21600" h="21600">
                <a:moveTo>
                  <a:pt x="0" y="0"/>
                </a:moveTo>
                <a:lnTo>
                  <a:pt x="1624" y="21600"/>
                </a:lnTo>
                <a:lnTo>
                  <a:pt x="19976" y="21600"/>
                </a:lnTo>
                <a:lnTo>
                  <a:pt x="21600" y="0"/>
                </a:lnTo>
                <a:close/>
              </a:path>
            </a:pathLst>
          </a:custGeom>
          <a:solidFill>
            <a:schemeClr val="accent1">
              <a:alpha val="77000"/>
            </a:schemeClr>
          </a:solidFill>
          <a:ln w="9525">
            <a:noFill/>
            <a:miter lim="800000"/>
            <a:headEnd/>
            <a:tailEnd/>
          </a:ln>
        </p:spPr>
        <p:txBody>
          <a:bodyPr vert="eaVert" lIns="68586" tIns="0" rIns="68586" bIns="0" anchor="ctr"/>
          <a:lstStyle/>
          <a:p>
            <a:pPr algn="ctr"/>
            <a:endParaRPr lang="en-US" sz="1200" dirty="0"/>
          </a:p>
          <a:p>
            <a:pPr algn="ctr"/>
            <a:r>
              <a:rPr lang="en-US" sz="1200" dirty="0"/>
              <a:t>Service Delivery and Automation</a:t>
            </a:r>
          </a:p>
        </p:txBody>
      </p:sp>
      <p:sp>
        <p:nvSpPr>
          <p:cNvPr id="112" name="Freeform 132"/>
          <p:cNvSpPr>
            <a:spLocks/>
          </p:cNvSpPr>
          <p:nvPr/>
        </p:nvSpPr>
        <p:spPr bwMode="gray">
          <a:xfrm>
            <a:off x="4109947" y="1949839"/>
            <a:ext cx="755053" cy="177404"/>
          </a:xfrm>
          <a:custGeom>
            <a:avLst/>
            <a:gdLst>
              <a:gd name="T0" fmla="*/ 2147483647 w 364"/>
              <a:gd name="T1" fmla="*/ 2147483647 h 86"/>
              <a:gd name="T2" fmla="*/ 2147483647 w 364"/>
              <a:gd name="T3" fmla="*/ 2147483647 h 86"/>
              <a:gd name="T4" fmla="*/ 2147483647 w 364"/>
              <a:gd name="T5" fmla="*/ 2147483647 h 86"/>
              <a:gd name="T6" fmla="*/ 2147483647 w 364"/>
              <a:gd name="T7" fmla="*/ 2147483647 h 86"/>
              <a:gd name="T8" fmla="*/ 2147483647 w 364"/>
              <a:gd name="T9" fmla="*/ 2147483647 h 86"/>
              <a:gd name="T10" fmla="*/ 2147483647 w 364"/>
              <a:gd name="T11" fmla="*/ 2147483647 h 86"/>
              <a:gd name="T12" fmla="*/ 2147483647 w 364"/>
              <a:gd name="T13" fmla="*/ 2147483647 h 86"/>
              <a:gd name="T14" fmla="*/ 2147483647 w 364"/>
              <a:gd name="T15" fmla="*/ 2147483647 h 86"/>
              <a:gd name="T16" fmla="*/ 2147483647 w 364"/>
              <a:gd name="T17" fmla="*/ 2147483647 h 86"/>
              <a:gd name="T18" fmla="*/ 2147483647 w 364"/>
              <a:gd name="T19" fmla="*/ 2147483647 h 86"/>
              <a:gd name="T20" fmla="*/ 2147483647 w 364"/>
              <a:gd name="T21" fmla="*/ 2147483647 h 86"/>
              <a:gd name="T22" fmla="*/ 2147483647 w 364"/>
              <a:gd name="T23" fmla="*/ 2147483647 h 86"/>
              <a:gd name="T24" fmla="*/ 2147483647 w 364"/>
              <a:gd name="T25" fmla="*/ 2147483647 h 86"/>
              <a:gd name="T26" fmla="*/ 2147483647 w 364"/>
              <a:gd name="T27" fmla="*/ 2147483647 h 86"/>
              <a:gd name="T28" fmla="*/ 0 w 364"/>
              <a:gd name="T29" fmla="*/ 2147483647 h 86"/>
              <a:gd name="T30" fmla="*/ 2147483647 w 364"/>
              <a:gd name="T31" fmla="*/ 2147483647 h 86"/>
              <a:gd name="T32" fmla="*/ 2147483647 w 364"/>
              <a:gd name="T33" fmla="*/ 2147483647 h 86"/>
              <a:gd name="T34" fmla="*/ 2147483647 w 364"/>
              <a:gd name="T35" fmla="*/ 0 h 86"/>
              <a:gd name="T36" fmla="*/ 2147483647 w 364"/>
              <a:gd name="T37" fmla="*/ 2147483647 h 86"/>
              <a:gd name="T38" fmla="*/ 2147483647 w 364"/>
              <a:gd name="T39" fmla="*/ 2147483647 h 86"/>
              <a:gd name="T40" fmla="*/ 2147483647 w 364"/>
              <a:gd name="T41" fmla="*/ 2147483647 h 86"/>
              <a:gd name="T42" fmla="*/ 2147483647 w 364"/>
              <a:gd name="T43" fmla="*/ 2147483647 h 86"/>
              <a:gd name="T44" fmla="*/ 2147483647 w 364"/>
              <a:gd name="T45" fmla="*/ 2147483647 h 86"/>
              <a:gd name="T46" fmla="*/ 2147483647 w 364"/>
              <a:gd name="T47" fmla="*/ 0 h 86"/>
              <a:gd name="T48" fmla="*/ 2147483647 w 364"/>
              <a:gd name="T49" fmla="*/ 2147483647 h 86"/>
              <a:gd name="T50" fmla="*/ 2147483647 w 364"/>
              <a:gd name="T51" fmla="*/ 2147483647 h 86"/>
              <a:gd name="T52" fmla="*/ 2147483647 w 364"/>
              <a:gd name="T53" fmla="*/ 2147483647 h 86"/>
              <a:gd name="T54" fmla="*/ 2147483647 w 364"/>
              <a:gd name="T55" fmla="*/ 2147483647 h 86"/>
              <a:gd name="T56" fmla="*/ 2147483647 w 364"/>
              <a:gd name="T57" fmla="*/ 2147483647 h 86"/>
              <a:gd name="T58" fmla="*/ 2147483647 w 364"/>
              <a:gd name="T59" fmla="*/ 2147483647 h 86"/>
              <a:gd name="T60" fmla="*/ 2147483647 w 364"/>
              <a:gd name="T61" fmla="*/ 2147483647 h 86"/>
              <a:gd name="T62" fmla="*/ 2147483647 w 364"/>
              <a:gd name="T63" fmla="*/ 2147483647 h 86"/>
              <a:gd name="T64" fmla="*/ 2147483647 w 364"/>
              <a:gd name="T65" fmla="*/ 2147483647 h 86"/>
              <a:gd name="T66" fmla="*/ 2147483647 w 364"/>
              <a:gd name="T67" fmla="*/ 2147483647 h 86"/>
              <a:gd name="T68" fmla="*/ 2147483647 w 364"/>
              <a:gd name="T69" fmla="*/ 2147483647 h 86"/>
              <a:gd name="T70" fmla="*/ 2147483647 w 364"/>
              <a:gd name="T71" fmla="*/ 2147483647 h 86"/>
              <a:gd name="T72" fmla="*/ 2147483647 w 364"/>
              <a:gd name="T73" fmla="*/ 2147483647 h 86"/>
              <a:gd name="T74" fmla="*/ 2147483647 w 364"/>
              <a:gd name="T75" fmla="*/ 2147483647 h 86"/>
              <a:gd name="T76" fmla="*/ 2147483647 w 364"/>
              <a:gd name="T77" fmla="*/ 2147483647 h 86"/>
              <a:gd name="T78" fmla="*/ 2147483647 w 364"/>
              <a:gd name="T79" fmla="*/ 2147483647 h 86"/>
              <a:gd name="T80" fmla="*/ 2147483647 w 364"/>
              <a:gd name="T81" fmla="*/ 2147483647 h 86"/>
              <a:gd name="T82" fmla="*/ 2147483647 w 364"/>
              <a:gd name="T83" fmla="*/ 2147483647 h 86"/>
              <a:gd name="T84" fmla="*/ 2147483647 w 364"/>
              <a:gd name="T85" fmla="*/ 2147483647 h 86"/>
              <a:gd name="T86" fmla="*/ 2147483647 w 364"/>
              <a:gd name="T87" fmla="*/ 2147483647 h 86"/>
              <a:gd name="T88" fmla="*/ 2147483647 w 364"/>
              <a:gd name="T89" fmla="*/ 2147483647 h 86"/>
              <a:gd name="T90" fmla="*/ 2147483647 w 364"/>
              <a:gd name="T91" fmla="*/ 2147483647 h 86"/>
              <a:gd name="T92" fmla="*/ 2147483647 w 364"/>
              <a:gd name="T93" fmla="*/ 2147483647 h 86"/>
              <a:gd name="T94" fmla="*/ 2147483647 w 364"/>
              <a:gd name="T95" fmla="*/ 2147483647 h 86"/>
              <a:gd name="T96" fmla="*/ 2147483647 w 364"/>
              <a:gd name="T97" fmla="*/ 2147483647 h 86"/>
              <a:gd name="T98" fmla="*/ 2147483647 w 364"/>
              <a:gd name="T99" fmla="*/ 2147483647 h 86"/>
              <a:gd name="T100" fmla="*/ 2147483647 w 364"/>
              <a:gd name="T101" fmla="*/ 2147483647 h 86"/>
              <a:gd name="T102" fmla="*/ 2147483647 w 364"/>
              <a:gd name="T103" fmla="*/ 2147483647 h 86"/>
              <a:gd name="T104" fmla="*/ 2147483647 w 364"/>
              <a:gd name="T105" fmla="*/ 2147483647 h 86"/>
              <a:gd name="T106" fmla="*/ 2147483647 w 364"/>
              <a:gd name="T107" fmla="*/ 2147483647 h 86"/>
              <a:gd name="T108" fmla="*/ 2147483647 w 364"/>
              <a:gd name="T109" fmla="*/ 2147483647 h 86"/>
              <a:gd name="T110" fmla="*/ 2147483647 w 364"/>
              <a:gd name="T111" fmla="*/ 2147483647 h 86"/>
              <a:gd name="T112" fmla="*/ 2147483647 w 364"/>
              <a:gd name="T113" fmla="*/ 2147483647 h 86"/>
              <a:gd name="T114" fmla="*/ 2147483647 w 364"/>
              <a:gd name="T115" fmla="*/ 2147483647 h 8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64"/>
              <a:gd name="T175" fmla="*/ 0 h 86"/>
              <a:gd name="T176" fmla="*/ 364 w 364"/>
              <a:gd name="T177" fmla="*/ 86 h 8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64" h="86">
                <a:moveTo>
                  <a:pt x="296" y="6"/>
                </a:moveTo>
                <a:lnTo>
                  <a:pt x="334" y="44"/>
                </a:lnTo>
                <a:lnTo>
                  <a:pt x="296" y="82"/>
                </a:lnTo>
                <a:lnTo>
                  <a:pt x="326" y="82"/>
                </a:lnTo>
                <a:lnTo>
                  <a:pt x="364" y="44"/>
                </a:lnTo>
                <a:lnTo>
                  <a:pt x="326" y="6"/>
                </a:lnTo>
                <a:lnTo>
                  <a:pt x="296" y="6"/>
                </a:lnTo>
                <a:lnTo>
                  <a:pt x="180" y="56"/>
                </a:lnTo>
                <a:lnTo>
                  <a:pt x="178" y="54"/>
                </a:lnTo>
                <a:lnTo>
                  <a:pt x="154" y="54"/>
                </a:lnTo>
                <a:lnTo>
                  <a:pt x="152" y="58"/>
                </a:lnTo>
                <a:lnTo>
                  <a:pt x="162" y="64"/>
                </a:lnTo>
                <a:lnTo>
                  <a:pt x="158" y="70"/>
                </a:lnTo>
                <a:lnTo>
                  <a:pt x="148" y="64"/>
                </a:lnTo>
                <a:lnTo>
                  <a:pt x="138" y="70"/>
                </a:lnTo>
                <a:lnTo>
                  <a:pt x="128" y="74"/>
                </a:lnTo>
                <a:lnTo>
                  <a:pt x="128" y="86"/>
                </a:lnTo>
                <a:lnTo>
                  <a:pt x="120" y="86"/>
                </a:lnTo>
                <a:lnTo>
                  <a:pt x="120" y="74"/>
                </a:lnTo>
                <a:lnTo>
                  <a:pt x="114" y="72"/>
                </a:lnTo>
                <a:lnTo>
                  <a:pt x="108" y="70"/>
                </a:lnTo>
                <a:lnTo>
                  <a:pt x="100" y="76"/>
                </a:lnTo>
                <a:lnTo>
                  <a:pt x="96" y="72"/>
                </a:lnTo>
                <a:lnTo>
                  <a:pt x="102" y="64"/>
                </a:lnTo>
                <a:lnTo>
                  <a:pt x="96" y="56"/>
                </a:lnTo>
                <a:lnTo>
                  <a:pt x="96" y="54"/>
                </a:lnTo>
                <a:lnTo>
                  <a:pt x="70" y="54"/>
                </a:lnTo>
                <a:lnTo>
                  <a:pt x="68" y="58"/>
                </a:lnTo>
                <a:lnTo>
                  <a:pt x="78" y="64"/>
                </a:lnTo>
                <a:lnTo>
                  <a:pt x="74" y="70"/>
                </a:lnTo>
                <a:lnTo>
                  <a:pt x="64" y="64"/>
                </a:lnTo>
                <a:lnTo>
                  <a:pt x="56" y="70"/>
                </a:lnTo>
                <a:lnTo>
                  <a:pt x="46" y="74"/>
                </a:lnTo>
                <a:lnTo>
                  <a:pt x="44" y="86"/>
                </a:lnTo>
                <a:lnTo>
                  <a:pt x="36" y="86"/>
                </a:lnTo>
                <a:lnTo>
                  <a:pt x="36" y="74"/>
                </a:lnTo>
                <a:lnTo>
                  <a:pt x="30" y="72"/>
                </a:lnTo>
                <a:lnTo>
                  <a:pt x="24" y="70"/>
                </a:lnTo>
                <a:lnTo>
                  <a:pt x="16" y="76"/>
                </a:lnTo>
                <a:lnTo>
                  <a:pt x="12" y="72"/>
                </a:lnTo>
                <a:lnTo>
                  <a:pt x="18" y="64"/>
                </a:lnTo>
                <a:lnTo>
                  <a:pt x="14" y="56"/>
                </a:lnTo>
                <a:lnTo>
                  <a:pt x="10" y="50"/>
                </a:lnTo>
                <a:lnTo>
                  <a:pt x="0" y="50"/>
                </a:lnTo>
                <a:lnTo>
                  <a:pt x="0" y="42"/>
                </a:lnTo>
                <a:lnTo>
                  <a:pt x="10" y="40"/>
                </a:lnTo>
                <a:lnTo>
                  <a:pt x="10" y="34"/>
                </a:lnTo>
                <a:lnTo>
                  <a:pt x="14" y="28"/>
                </a:lnTo>
                <a:lnTo>
                  <a:pt x="4" y="20"/>
                </a:lnTo>
                <a:lnTo>
                  <a:pt x="8" y="16"/>
                </a:lnTo>
                <a:lnTo>
                  <a:pt x="18" y="20"/>
                </a:lnTo>
                <a:lnTo>
                  <a:pt x="26" y="14"/>
                </a:lnTo>
                <a:lnTo>
                  <a:pt x="36" y="12"/>
                </a:lnTo>
                <a:lnTo>
                  <a:pt x="38" y="0"/>
                </a:lnTo>
                <a:lnTo>
                  <a:pt x="44" y="0"/>
                </a:lnTo>
                <a:lnTo>
                  <a:pt x="46" y="12"/>
                </a:lnTo>
                <a:lnTo>
                  <a:pt x="52" y="14"/>
                </a:lnTo>
                <a:lnTo>
                  <a:pt x="58" y="16"/>
                </a:lnTo>
                <a:lnTo>
                  <a:pt x="64" y="8"/>
                </a:lnTo>
                <a:lnTo>
                  <a:pt x="70" y="14"/>
                </a:lnTo>
                <a:lnTo>
                  <a:pt x="64" y="22"/>
                </a:lnTo>
                <a:lnTo>
                  <a:pt x="68" y="28"/>
                </a:lnTo>
                <a:lnTo>
                  <a:pt x="70" y="32"/>
                </a:lnTo>
                <a:lnTo>
                  <a:pt x="96" y="32"/>
                </a:lnTo>
                <a:lnTo>
                  <a:pt x="96" y="28"/>
                </a:lnTo>
                <a:lnTo>
                  <a:pt x="88" y="20"/>
                </a:lnTo>
                <a:lnTo>
                  <a:pt x="92" y="16"/>
                </a:lnTo>
                <a:lnTo>
                  <a:pt x="102" y="20"/>
                </a:lnTo>
                <a:lnTo>
                  <a:pt x="110" y="14"/>
                </a:lnTo>
                <a:lnTo>
                  <a:pt x="120" y="12"/>
                </a:lnTo>
                <a:lnTo>
                  <a:pt x="122" y="0"/>
                </a:lnTo>
                <a:lnTo>
                  <a:pt x="128" y="0"/>
                </a:lnTo>
                <a:lnTo>
                  <a:pt x="128" y="12"/>
                </a:lnTo>
                <a:lnTo>
                  <a:pt x="136" y="14"/>
                </a:lnTo>
                <a:lnTo>
                  <a:pt x="142" y="16"/>
                </a:lnTo>
                <a:lnTo>
                  <a:pt x="148" y="8"/>
                </a:lnTo>
                <a:lnTo>
                  <a:pt x="154" y="14"/>
                </a:lnTo>
                <a:lnTo>
                  <a:pt x="148" y="22"/>
                </a:lnTo>
                <a:lnTo>
                  <a:pt x="152" y="28"/>
                </a:lnTo>
                <a:lnTo>
                  <a:pt x="154" y="32"/>
                </a:lnTo>
                <a:lnTo>
                  <a:pt x="178" y="32"/>
                </a:lnTo>
                <a:lnTo>
                  <a:pt x="180" y="28"/>
                </a:lnTo>
                <a:lnTo>
                  <a:pt x="172" y="20"/>
                </a:lnTo>
                <a:lnTo>
                  <a:pt x="174" y="16"/>
                </a:lnTo>
                <a:lnTo>
                  <a:pt x="186" y="20"/>
                </a:lnTo>
                <a:lnTo>
                  <a:pt x="194" y="14"/>
                </a:lnTo>
                <a:lnTo>
                  <a:pt x="204" y="12"/>
                </a:lnTo>
                <a:lnTo>
                  <a:pt x="206" y="0"/>
                </a:lnTo>
                <a:lnTo>
                  <a:pt x="212" y="0"/>
                </a:lnTo>
                <a:lnTo>
                  <a:pt x="212" y="12"/>
                </a:lnTo>
                <a:lnTo>
                  <a:pt x="218" y="14"/>
                </a:lnTo>
                <a:lnTo>
                  <a:pt x="224" y="16"/>
                </a:lnTo>
                <a:lnTo>
                  <a:pt x="232" y="8"/>
                </a:lnTo>
                <a:lnTo>
                  <a:pt x="238" y="14"/>
                </a:lnTo>
                <a:lnTo>
                  <a:pt x="232" y="22"/>
                </a:lnTo>
                <a:lnTo>
                  <a:pt x="236" y="28"/>
                </a:lnTo>
                <a:lnTo>
                  <a:pt x="238" y="32"/>
                </a:lnTo>
                <a:lnTo>
                  <a:pt x="276" y="32"/>
                </a:lnTo>
                <a:lnTo>
                  <a:pt x="250" y="6"/>
                </a:lnTo>
                <a:lnTo>
                  <a:pt x="280" y="6"/>
                </a:lnTo>
                <a:lnTo>
                  <a:pt x="320" y="44"/>
                </a:lnTo>
                <a:lnTo>
                  <a:pt x="280" y="82"/>
                </a:lnTo>
                <a:lnTo>
                  <a:pt x="250" y="82"/>
                </a:lnTo>
                <a:lnTo>
                  <a:pt x="278" y="54"/>
                </a:lnTo>
                <a:lnTo>
                  <a:pt x="238" y="54"/>
                </a:lnTo>
                <a:lnTo>
                  <a:pt x="236" y="58"/>
                </a:lnTo>
                <a:lnTo>
                  <a:pt x="244" y="64"/>
                </a:lnTo>
                <a:lnTo>
                  <a:pt x="242" y="70"/>
                </a:lnTo>
                <a:lnTo>
                  <a:pt x="230" y="64"/>
                </a:lnTo>
                <a:lnTo>
                  <a:pt x="222" y="70"/>
                </a:lnTo>
                <a:lnTo>
                  <a:pt x="212" y="74"/>
                </a:lnTo>
                <a:lnTo>
                  <a:pt x="210" y="86"/>
                </a:lnTo>
                <a:lnTo>
                  <a:pt x="204" y="86"/>
                </a:lnTo>
                <a:lnTo>
                  <a:pt x="204" y="74"/>
                </a:lnTo>
                <a:lnTo>
                  <a:pt x="198" y="72"/>
                </a:lnTo>
                <a:lnTo>
                  <a:pt x="192" y="70"/>
                </a:lnTo>
                <a:lnTo>
                  <a:pt x="184" y="76"/>
                </a:lnTo>
                <a:lnTo>
                  <a:pt x="178" y="72"/>
                </a:lnTo>
                <a:lnTo>
                  <a:pt x="184" y="64"/>
                </a:lnTo>
                <a:lnTo>
                  <a:pt x="180" y="56"/>
                </a:lnTo>
                <a:lnTo>
                  <a:pt x="296" y="6"/>
                </a:lnTo>
                <a:lnTo>
                  <a:pt x="26" y="50"/>
                </a:lnTo>
                <a:lnTo>
                  <a:pt x="26" y="44"/>
                </a:lnTo>
                <a:lnTo>
                  <a:pt x="26" y="38"/>
                </a:lnTo>
                <a:lnTo>
                  <a:pt x="28" y="32"/>
                </a:lnTo>
                <a:lnTo>
                  <a:pt x="34" y="28"/>
                </a:lnTo>
                <a:lnTo>
                  <a:pt x="40" y="28"/>
                </a:lnTo>
                <a:lnTo>
                  <a:pt x="46" y="28"/>
                </a:lnTo>
                <a:lnTo>
                  <a:pt x="50" y="30"/>
                </a:lnTo>
                <a:lnTo>
                  <a:pt x="54" y="36"/>
                </a:lnTo>
                <a:lnTo>
                  <a:pt x="56" y="42"/>
                </a:lnTo>
                <a:lnTo>
                  <a:pt x="56" y="48"/>
                </a:lnTo>
                <a:lnTo>
                  <a:pt x="52" y="52"/>
                </a:lnTo>
                <a:lnTo>
                  <a:pt x="48" y="56"/>
                </a:lnTo>
                <a:lnTo>
                  <a:pt x="42" y="58"/>
                </a:lnTo>
                <a:lnTo>
                  <a:pt x="36" y="58"/>
                </a:lnTo>
                <a:lnTo>
                  <a:pt x="30" y="54"/>
                </a:lnTo>
                <a:lnTo>
                  <a:pt x="26" y="50"/>
                </a:lnTo>
                <a:lnTo>
                  <a:pt x="296" y="6"/>
                </a:lnTo>
                <a:lnTo>
                  <a:pt x="110" y="50"/>
                </a:lnTo>
                <a:lnTo>
                  <a:pt x="108" y="44"/>
                </a:lnTo>
                <a:lnTo>
                  <a:pt x="110" y="38"/>
                </a:lnTo>
                <a:lnTo>
                  <a:pt x="112" y="32"/>
                </a:lnTo>
                <a:lnTo>
                  <a:pt x="118" y="28"/>
                </a:lnTo>
                <a:lnTo>
                  <a:pt x="124" y="28"/>
                </a:lnTo>
                <a:lnTo>
                  <a:pt x="128" y="28"/>
                </a:lnTo>
                <a:lnTo>
                  <a:pt x="134" y="30"/>
                </a:lnTo>
                <a:lnTo>
                  <a:pt x="138" y="36"/>
                </a:lnTo>
                <a:lnTo>
                  <a:pt x="140" y="42"/>
                </a:lnTo>
                <a:lnTo>
                  <a:pt x="138" y="48"/>
                </a:lnTo>
                <a:lnTo>
                  <a:pt x="136" y="52"/>
                </a:lnTo>
                <a:lnTo>
                  <a:pt x="132" y="56"/>
                </a:lnTo>
                <a:lnTo>
                  <a:pt x="126" y="58"/>
                </a:lnTo>
                <a:lnTo>
                  <a:pt x="120" y="58"/>
                </a:lnTo>
                <a:lnTo>
                  <a:pt x="114" y="54"/>
                </a:lnTo>
                <a:lnTo>
                  <a:pt x="110" y="50"/>
                </a:lnTo>
                <a:lnTo>
                  <a:pt x="296" y="6"/>
                </a:lnTo>
                <a:lnTo>
                  <a:pt x="194" y="50"/>
                </a:lnTo>
                <a:lnTo>
                  <a:pt x="192" y="44"/>
                </a:lnTo>
                <a:lnTo>
                  <a:pt x="194" y="38"/>
                </a:lnTo>
                <a:lnTo>
                  <a:pt x="196" y="32"/>
                </a:lnTo>
                <a:lnTo>
                  <a:pt x="200" y="28"/>
                </a:lnTo>
                <a:lnTo>
                  <a:pt x="206" y="28"/>
                </a:lnTo>
                <a:lnTo>
                  <a:pt x="212" y="28"/>
                </a:lnTo>
                <a:lnTo>
                  <a:pt x="218" y="30"/>
                </a:lnTo>
                <a:lnTo>
                  <a:pt x="222" y="36"/>
                </a:lnTo>
                <a:lnTo>
                  <a:pt x="222" y="42"/>
                </a:lnTo>
                <a:lnTo>
                  <a:pt x="222" y="48"/>
                </a:lnTo>
                <a:lnTo>
                  <a:pt x="220" y="52"/>
                </a:lnTo>
                <a:lnTo>
                  <a:pt x="214" y="56"/>
                </a:lnTo>
                <a:lnTo>
                  <a:pt x="208" y="58"/>
                </a:lnTo>
                <a:lnTo>
                  <a:pt x="202" y="58"/>
                </a:lnTo>
                <a:lnTo>
                  <a:pt x="198" y="54"/>
                </a:lnTo>
                <a:lnTo>
                  <a:pt x="194" y="50"/>
                </a:lnTo>
                <a:lnTo>
                  <a:pt x="296" y="6"/>
                </a:lnTo>
                <a:close/>
              </a:path>
            </a:pathLst>
          </a:custGeom>
          <a:solidFill>
            <a:srgbClr val="FFFFFF"/>
          </a:solidFill>
          <a:ln w="9525">
            <a:noFill/>
            <a:round/>
            <a:headEnd/>
            <a:tailEnd/>
          </a:ln>
        </p:spPr>
        <p:txBody>
          <a:bodyPr lIns="91432" tIns="45716" rIns="91432" bIns="45716"/>
          <a:lstStyle/>
          <a:p>
            <a:pPr defTabSz="684673"/>
            <a:endParaRPr lang="en-US" dirty="0">
              <a:solidFill>
                <a:srgbClr val="FFFFFF"/>
              </a:solidFill>
              <a:latin typeface="+mj-lt"/>
              <a:cs typeface="Arial" charset="0"/>
            </a:endParaRPr>
          </a:p>
        </p:txBody>
      </p:sp>
      <p:grpSp>
        <p:nvGrpSpPr>
          <p:cNvPr id="14" name="Group 13"/>
          <p:cNvGrpSpPr/>
          <p:nvPr/>
        </p:nvGrpSpPr>
        <p:grpSpPr>
          <a:xfrm>
            <a:off x="327817" y="1525919"/>
            <a:ext cx="852168" cy="1671619"/>
            <a:chOff x="436975" y="2034557"/>
            <a:chExt cx="1135928" cy="2228825"/>
          </a:xfrm>
        </p:grpSpPr>
        <p:pic>
          <p:nvPicPr>
            <p:cNvPr id="87" name="Picture 6"/>
            <p:cNvPicPr>
              <a:picLocks noChangeAspect="1" noChangeArrowheads="1"/>
            </p:cNvPicPr>
            <p:nvPr/>
          </p:nvPicPr>
          <p:blipFill>
            <a:blip r:embed="rId17">
              <a:extLst>
                <a:ext uri="{28A0092B-C50C-407E-A947-70E740481C1C}">
                  <a14:useLocalDpi xmlns:a14="http://schemas.microsoft.com/office/drawing/2010/main" val="0"/>
                </a:ext>
              </a:extLst>
            </a:blip>
            <a:stretch>
              <a:fillRect/>
            </a:stretch>
          </p:blipFill>
          <p:spPr bwMode="auto">
            <a:xfrm>
              <a:off x="1020872" y="2034557"/>
              <a:ext cx="552031" cy="2228825"/>
            </a:xfrm>
            <a:prstGeom prst="rect">
              <a:avLst/>
            </a:prstGeom>
            <a:noFill/>
            <a:ln w="9525">
              <a:noFill/>
              <a:miter lim="800000"/>
              <a:headEnd/>
              <a:tailEnd/>
            </a:ln>
          </p:spPr>
        </p:pic>
        <p:pic>
          <p:nvPicPr>
            <p:cNvPr id="90" name="Picture 2"/>
            <p:cNvPicPr>
              <a:picLocks noChangeAspect="1" noChangeArrowheads="1"/>
            </p:cNvPicPr>
            <p:nvPr/>
          </p:nvPicPr>
          <p:blipFill>
            <a:blip r:embed="rId18" cstate="print">
              <a:extLst>
                <a:ext uri="{28A0092B-C50C-407E-A947-70E740481C1C}">
                  <a14:useLocalDpi xmlns:a14="http://schemas.microsoft.com/office/drawing/2010/main" val="0"/>
                </a:ext>
              </a:extLst>
            </a:blip>
            <a:stretch>
              <a:fillRect/>
            </a:stretch>
          </p:blipFill>
          <p:spPr bwMode="auto">
            <a:xfrm>
              <a:off x="436975" y="2498613"/>
              <a:ext cx="813816" cy="56579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3" name="Oval 8"/>
            <p:cNvSpPr>
              <a:spLocks noChangeArrowheads="1"/>
            </p:cNvSpPr>
            <p:nvPr/>
          </p:nvSpPr>
          <p:spPr bwMode="auto">
            <a:xfrm>
              <a:off x="487792" y="3150253"/>
              <a:ext cx="667512" cy="667512"/>
            </a:xfrm>
            <a:prstGeom prst="ellipse">
              <a:avLst/>
            </a:prstGeom>
            <a:solidFill>
              <a:schemeClr val="accent4">
                <a:lumMod val="75000"/>
                <a:alpha val="89803"/>
              </a:schemeClr>
            </a:solidFill>
            <a:ln w="9525">
              <a:noFill/>
              <a:round/>
              <a:headEnd/>
              <a:tailEnd/>
            </a:ln>
          </p:spPr>
          <p:txBody>
            <a:bodyPr wrap="none" anchor="ctr"/>
            <a:lstStyle/>
            <a:p>
              <a:pPr algn="ctr"/>
              <a:r>
                <a:rPr lang="en-US" sz="800" dirty="0"/>
                <a:t>App</a:t>
              </a:r>
            </a:p>
            <a:p>
              <a:pPr algn="ctr"/>
              <a:r>
                <a:rPr lang="en-US" sz="800" dirty="0"/>
                <a:t>Owner</a:t>
              </a:r>
            </a:p>
          </p:txBody>
        </p:sp>
      </p:grpSp>
      <p:sp>
        <p:nvSpPr>
          <p:cNvPr id="114" name="Right Arrow 57"/>
          <p:cNvSpPr>
            <a:spLocks noChangeArrowheads="1"/>
          </p:cNvSpPr>
          <p:nvPr/>
        </p:nvSpPr>
        <p:spPr bwMode="auto">
          <a:xfrm rot="10800000" flipH="1">
            <a:off x="5122986" y="1528819"/>
            <a:ext cx="1351252" cy="451327"/>
          </a:xfrm>
          <a:prstGeom prst="rightArrow">
            <a:avLst>
              <a:gd name="adj1" fmla="val 74055"/>
              <a:gd name="adj2" fmla="val 51049"/>
            </a:avLst>
          </a:prstGeom>
          <a:solidFill>
            <a:schemeClr val="accent1">
              <a:lumMod val="75000"/>
            </a:schemeClr>
          </a:solidFill>
          <a:ln w="9525" algn="ctr">
            <a:noFill/>
            <a:miter lim="800000"/>
            <a:headEnd/>
            <a:tailEnd/>
          </a:ln>
          <a:effectLst/>
        </p:spPr>
        <p:txBody>
          <a:bodyPr rot="10800000" lIns="82383" tIns="0" rIns="0" bIns="0" anchor="ctr"/>
          <a:lstStyle/>
          <a:p>
            <a:pPr algn="ctr" defTabSz="822797"/>
            <a:r>
              <a:rPr lang="en-US" sz="900" b="1" dirty="0"/>
              <a:t>CONFIGURE</a:t>
            </a:r>
          </a:p>
          <a:p>
            <a:pPr algn="ctr" defTabSz="822797"/>
            <a:r>
              <a:rPr lang="en-US" sz="900" b="1" dirty="0"/>
              <a:t>DEPLOY</a:t>
            </a:r>
          </a:p>
        </p:txBody>
      </p:sp>
      <p:sp>
        <p:nvSpPr>
          <p:cNvPr id="115" name="Right Arrow 57"/>
          <p:cNvSpPr>
            <a:spLocks noChangeArrowheads="1"/>
          </p:cNvSpPr>
          <p:nvPr/>
        </p:nvSpPr>
        <p:spPr bwMode="auto">
          <a:xfrm rot="10800000">
            <a:off x="4989915" y="2632746"/>
            <a:ext cx="1251749" cy="434977"/>
          </a:xfrm>
          <a:prstGeom prst="rightArrow">
            <a:avLst>
              <a:gd name="adj1" fmla="val 79717"/>
              <a:gd name="adj2" fmla="val 59358"/>
            </a:avLst>
          </a:prstGeom>
          <a:solidFill>
            <a:schemeClr val="accent1">
              <a:lumMod val="75000"/>
            </a:schemeClr>
          </a:solidFill>
          <a:ln w="9525" algn="ctr">
            <a:noFill/>
            <a:miter lim="800000"/>
            <a:headEnd/>
            <a:tailEnd/>
          </a:ln>
          <a:effectLst/>
        </p:spPr>
        <p:txBody>
          <a:bodyPr rot="10800000" lIns="82383" tIns="0" rIns="0" bIns="0" anchor="ctr"/>
          <a:lstStyle/>
          <a:p>
            <a:pPr algn="ctr" defTabSz="822797"/>
            <a:r>
              <a:rPr lang="en-US" sz="900" b="1" dirty="0"/>
              <a:t>MONITOR</a:t>
            </a:r>
          </a:p>
          <a:p>
            <a:pPr algn="ctr" defTabSz="822797"/>
            <a:r>
              <a:rPr lang="en-US" sz="900" b="1" dirty="0"/>
              <a:t>OPERATE</a:t>
            </a:r>
          </a:p>
        </p:txBody>
      </p:sp>
      <p:sp>
        <p:nvSpPr>
          <p:cNvPr id="116" name="Rectangle 115"/>
          <p:cNvSpPr/>
          <p:nvPr/>
        </p:nvSpPr>
        <p:spPr>
          <a:xfrm>
            <a:off x="385084" y="4101482"/>
            <a:ext cx="2743915" cy="342900"/>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lIns="68586" tIns="34294" rIns="68586" bIns="34294" rtlCol="0" anchor="ctr"/>
          <a:lstStyle/>
          <a:p>
            <a:pPr algn="ctr"/>
            <a:r>
              <a:rPr lang="en-US" sz="1200" dirty="0"/>
              <a:t>APPLICATION MANAGEMENT</a:t>
            </a:r>
          </a:p>
        </p:txBody>
      </p:sp>
      <p:sp>
        <p:nvSpPr>
          <p:cNvPr id="117" name="Rectangle 116"/>
          <p:cNvSpPr/>
          <p:nvPr/>
        </p:nvSpPr>
        <p:spPr>
          <a:xfrm>
            <a:off x="3216405" y="4101482"/>
            <a:ext cx="2743915" cy="3429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68586" tIns="34294" rIns="68586" bIns="34294" rtlCol="0" anchor="ctr"/>
          <a:lstStyle/>
          <a:p>
            <a:pPr algn="ctr"/>
            <a:r>
              <a:rPr lang="en-US" sz="1200" dirty="0"/>
              <a:t>SERVICE DELIVERY AND AUTOMATION</a:t>
            </a:r>
          </a:p>
        </p:txBody>
      </p:sp>
      <p:sp>
        <p:nvSpPr>
          <p:cNvPr id="118" name="Rectangle 117"/>
          <p:cNvSpPr/>
          <p:nvPr/>
        </p:nvSpPr>
        <p:spPr>
          <a:xfrm>
            <a:off x="6047726" y="4101482"/>
            <a:ext cx="2743915" cy="342900"/>
          </a:xfrm>
          <a:prstGeom prst="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6" tIns="34294" rIns="68586" bIns="34294" rtlCol="0" anchor="ctr"/>
          <a:lstStyle/>
          <a:p>
            <a:pPr algn="ctr"/>
            <a:r>
              <a:rPr lang="en-US" sz="1200" dirty="0"/>
              <a:t>INFRASTRUCTURE MANAGEMENT</a:t>
            </a:r>
          </a:p>
        </p:txBody>
      </p:sp>
      <p:sp>
        <p:nvSpPr>
          <p:cNvPr id="119" name="Right Arrow 57"/>
          <p:cNvSpPr>
            <a:spLocks noChangeArrowheads="1"/>
          </p:cNvSpPr>
          <p:nvPr/>
        </p:nvSpPr>
        <p:spPr bwMode="auto">
          <a:xfrm rot="10800000" flipH="1">
            <a:off x="2663210" y="2233615"/>
            <a:ext cx="1200320" cy="305991"/>
          </a:xfrm>
          <a:prstGeom prst="rightArrow">
            <a:avLst>
              <a:gd name="adj1" fmla="val 67408"/>
              <a:gd name="adj2" fmla="val 59358"/>
            </a:avLst>
          </a:prstGeom>
          <a:solidFill>
            <a:schemeClr val="accent1">
              <a:lumMod val="75000"/>
            </a:schemeClr>
          </a:solidFill>
          <a:ln w="9525" algn="ctr">
            <a:noFill/>
            <a:miter lim="800000"/>
            <a:headEnd/>
            <a:tailEnd/>
          </a:ln>
          <a:effectLst/>
        </p:spPr>
        <p:txBody>
          <a:bodyPr rot="10800000" lIns="82383" tIns="0" rIns="0" bIns="0" anchor="ctr"/>
          <a:lstStyle/>
          <a:p>
            <a:pPr algn="ctr" defTabSz="822797"/>
            <a:r>
              <a:rPr lang="en-US" sz="900" b="1" dirty="0"/>
              <a:t>SERVICE MODEL</a:t>
            </a:r>
          </a:p>
        </p:txBody>
      </p:sp>
      <p:sp>
        <p:nvSpPr>
          <p:cNvPr id="40"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41"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9"/>
              </a:rPr>
              <a:t>www.rapidbbs.cn</a:t>
            </a:r>
            <a:endParaRPr lang="zh-CN" altLang="en-US" sz="1200" b="0">
              <a:latin typeface="Arial" charset="0"/>
              <a:ea typeface="ＭＳ Ｐゴシック" pitchFamily="34" charset="-128"/>
            </a:endParaRPr>
          </a:p>
        </p:txBody>
      </p:sp>
      <p:pic>
        <p:nvPicPr>
          <p:cNvPr id="42" name="Picture 2">
            <a:hlinkClick r:id="rId19"/>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874115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3"/>
                                        </p:tgtEl>
                                        <p:attrNameLst>
                                          <p:attrName>style.visibility</p:attrName>
                                        </p:attrNameLst>
                                      </p:cBhvr>
                                      <p:to>
                                        <p:strVal val="visible"/>
                                      </p:to>
                                    </p:set>
                                    <p:animEffect transition="in" filter="fade">
                                      <p:cBhvr>
                                        <p:cTn id="7" dur="500"/>
                                        <p:tgtEl>
                                          <p:spTgt spid="9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19"/>
                                        </p:tgtEl>
                                        <p:attrNameLst>
                                          <p:attrName>style.visibility</p:attrName>
                                        </p:attrNameLst>
                                      </p:cBhvr>
                                      <p:to>
                                        <p:strVal val="visible"/>
                                      </p:to>
                                    </p:set>
                                    <p:animEffect transition="in" filter="wipe(left)">
                                      <p:cBhvr>
                                        <p:cTn id="11" dur="500"/>
                                        <p:tgtEl>
                                          <p:spTgt spid="119"/>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11"/>
                                        </p:tgtEl>
                                        <p:attrNameLst>
                                          <p:attrName>style.visibility</p:attrName>
                                        </p:attrNameLst>
                                      </p:cBhvr>
                                      <p:to>
                                        <p:strVal val="visible"/>
                                      </p:to>
                                    </p:set>
                                    <p:animEffect transition="in" filter="fade">
                                      <p:cBhvr>
                                        <p:cTn id="16" dur="500"/>
                                        <p:tgtEl>
                                          <p:spTgt spid="111"/>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12"/>
                                        </p:tgtEl>
                                        <p:attrNameLst>
                                          <p:attrName>style.visibility</p:attrName>
                                        </p:attrNameLst>
                                      </p:cBhvr>
                                      <p:to>
                                        <p:strVal val="visible"/>
                                      </p:to>
                                    </p:set>
                                    <p:animEffect transition="in" filter="fade">
                                      <p:cBhvr>
                                        <p:cTn id="19" dur="500"/>
                                        <p:tgtEl>
                                          <p:spTgt spid="11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92"/>
                                        </p:tgtEl>
                                        <p:attrNameLst>
                                          <p:attrName>style.visibility</p:attrName>
                                        </p:attrNameLst>
                                      </p:cBhvr>
                                      <p:to>
                                        <p:strVal val="visible"/>
                                      </p:to>
                                    </p:set>
                                    <p:animEffect transition="in" filter="fade">
                                      <p:cBhvr>
                                        <p:cTn id="22" dur="500"/>
                                        <p:tgtEl>
                                          <p:spTgt spid="92"/>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114"/>
                                        </p:tgtEl>
                                        <p:attrNameLst>
                                          <p:attrName>style.visibility</p:attrName>
                                        </p:attrNameLst>
                                      </p:cBhvr>
                                      <p:to>
                                        <p:strVal val="visible"/>
                                      </p:to>
                                    </p:set>
                                    <p:animEffect transition="in" filter="wipe(left)">
                                      <p:cBhvr>
                                        <p:cTn id="27" dur="500"/>
                                        <p:tgtEl>
                                          <p:spTgt spid="114"/>
                                        </p:tgtEl>
                                      </p:cBhvr>
                                    </p:animEffect>
                                  </p:childTnLst>
                                </p:cTn>
                              </p:par>
                            </p:childTnLst>
                          </p:cTn>
                        </p:par>
                        <p:par>
                          <p:cTn id="28" fill="hold">
                            <p:stCondLst>
                              <p:cond delay="500"/>
                            </p:stCondLst>
                            <p:childTnLst>
                              <p:par>
                                <p:cTn id="29" presetID="10" presetClass="entr" presetSubtype="0" fill="hold" nodeType="afterEffect">
                                  <p:stCondLst>
                                    <p:cond delay="0"/>
                                  </p:stCondLst>
                                  <p:childTnLst>
                                    <p:set>
                                      <p:cBhvr>
                                        <p:cTn id="30" dur="1" fill="hold">
                                          <p:stCondLst>
                                            <p:cond delay="0"/>
                                          </p:stCondLst>
                                        </p:cTn>
                                        <p:tgtEl>
                                          <p:spTgt spid="100"/>
                                        </p:tgtEl>
                                        <p:attrNameLst>
                                          <p:attrName>style.visibility</p:attrName>
                                        </p:attrNameLst>
                                      </p:cBhvr>
                                      <p:to>
                                        <p:strVal val="visible"/>
                                      </p:to>
                                    </p:set>
                                    <p:animEffect transition="in" filter="fade">
                                      <p:cBhvr>
                                        <p:cTn id="31" dur="500"/>
                                        <p:tgtEl>
                                          <p:spTgt spid="100"/>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2" fill="hold" grpId="0" nodeType="clickEffect">
                                  <p:stCondLst>
                                    <p:cond delay="0"/>
                                  </p:stCondLst>
                                  <p:childTnLst>
                                    <p:set>
                                      <p:cBhvr>
                                        <p:cTn id="35" dur="1" fill="hold">
                                          <p:stCondLst>
                                            <p:cond delay="0"/>
                                          </p:stCondLst>
                                        </p:cTn>
                                        <p:tgtEl>
                                          <p:spTgt spid="115"/>
                                        </p:tgtEl>
                                        <p:attrNameLst>
                                          <p:attrName>style.visibility</p:attrName>
                                        </p:attrNameLst>
                                      </p:cBhvr>
                                      <p:to>
                                        <p:strVal val="visible"/>
                                      </p:to>
                                    </p:set>
                                    <p:animEffect transition="in" filter="wipe(right)">
                                      <p:cBhvr>
                                        <p:cTn id="36" dur="500"/>
                                        <p:tgtEl>
                                          <p:spTgt spid="115"/>
                                        </p:tgtEl>
                                      </p:cBhvr>
                                    </p:animEffect>
                                  </p:childTnLst>
                                </p:cTn>
                              </p:par>
                            </p:childTnLst>
                          </p:cTn>
                        </p:par>
                        <p:par>
                          <p:cTn id="37" fill="hold">
                            <p:stCondLst>
                              <p:cond delay="500"/>
                            </p:stCondLst>
                            <p:childTnLst>
                              <p:par>
                                <p:cTn id="38" presetID="10" presetClass="entr" presetSubtype="0" fill="hold" nodeType="afterEffect">
                                  <p:stCondLst>
                                    <p:cond delay="0"/>
                                  </p:stCondLst>
                                  <p:childTnLst>
                                    <p:set>
                                      <p:cBhvr>
                                        <p:cTn id="39" dur="1" fill="hold">
                                          <p:stCondLst>
                                            <p:cond delay="0"/>
                                          </p:stCondLst>
                                        </p:cTn>
                                        <p:tgtEl>
                                          <p:spTgt spid="110"/>
                                        </p:tgtEl>
                                        <p:attrNameLst>
                                          <p:attrName>style.visibility</p:attrName>
                                        </p:attrNameLst>
                                      </p:cBhvr>
                                      <p:to>
                                        <p:strVal val="visible"/>
                                      </p:to>
                                    </p:set>
                                    <p:animEffect transition="in" filter="fade">
                                      <p:cBhvr>
                                        <p:cTn id="40" dur="500"/>
                                        <p:tgtEl>
                                          <p:spTgt spid="110"/>
                                        </p:tgtEl>
                                      </p:cBhvr>
                                    </p:animEffect>
                                  </p:childTnLst>
                                </p:cTn>
                              </p:par>
                              <p:par>
                                <p:cTn id="41" presetID="10" presetClass="entr" presetSubtype="0" fill="hold" nodeType="withEffect">
                                  <p:stCondLst>
                                    <p:cond delay="0"/>
                                  </p:stCondLst>
                                  <p:childTnLst>
                                    <p:set>
                                      <p:cBhvr>
                                        <p:cTn id="42" dur="1" fill="hold">
                                          <p:stCondLst>
                                            <p:cond delay="0"/>
                                          </p:stCondLst>
                                        </p:cTn>
                                        <p:tgtEl>
                                          <p:spTgt spid="109"/>
                                        </p:tgtEl>
                                        <p:attrNameLst>
                                          <p:attrName>style.visibility</p:attrName>
                                        </p:attrNameLst>
                                      </p:cBhvr>
                                      <p:to>
                                        <p:strVal val="visible"/>
                                      </p:to>
                                    </p:set>
                                    <p:animEffect transition="in" filter="fade">
                                      <p:cBhvr>
                                        <p:cTn id="43" dur="500"/>
                                        <p:tgtEl>
                                          <p:spTgt spid="109"/>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116"/>
                                        </p:tgtEl>
                                        <p:attrNameLst>
                                          <p:attrName>style.visibility</p:attrName>
                                        </p:attrNameLst>
                                      </p:cBhvr>
                                      <p:to>
                                        <p:strVal val="visible"/>
                                      </p:to>
                                    </p:set>
                                    <p:animEffect transition="in" filter="fade">
                                      <p:cBhvr>
                                        <p:cTn id="48" dur="500"/>
                                        <p:tgtEl>
                                          <p:spTgt spid="116"/>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17"/>
                                        </p:tgtEl>
                                        <p:attrNameLst>
                                          <p:attrName>style.visibility</p:attrName>
                                        </p:attrNameLst>
                                      </p:cBhvr>
                                      <p:to>
                                        <p:strVal val="visible"/>
                                      </p:to>
                                    </p:set>
                                    <p:animEffect transition="in" filter="fade">
                                      <p:cBhvr>
                                        <p:cTn id="51" dur="500"/>
                                        <p:tgtEl>
                                          <p:spTgt spid="117"/>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91"/>
                                        </p:tgtEl>
                                        <p:attrNameLst>
                                          <p:attrName>style.visibility</p:attrName>
                                        </p:attrNameLst>
                                      </p:cBhvr>
                                      <p:to>
                                        <p:strVal val="visible"/>
                                      </p:to>
                                    </p:set>
                                    <p:animEffect transition="in" filter="fade">
                                      <p:cBhvr>
                                        <p:cTn id="54" dur="500"/>
                                        <p:tgtEl>
                                          <p:spTgt spid="91"/>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118"/>
                                        </p:tgtEl>
                                        <p:attrNameLst>
                                          <p:attrName>style.visibility</p:attrName>
                                        </p:attrNameLst>
                                      </p:cBhvr>
                                      <p:to>
                                        <p:strVal val="visible"/>
                                      </p:to>
                                    </p:set>
                                    <p:animEffect transition="in" filter="fade">
                                      <p:cBhvr>
                                        <p:cTn id="57" dur="500"/>
                                        <p:tgtEl>
                                          <p:spTgt spid="1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1" grpId="0" animBg="1"/>
      <p:bldP spid="92" grpId="0" animBg="1"/>
      <p:bldP spid="111" grpId="0" animBg="1"/>
      <p:bldP spid="112" grpId="0" animBg="1"/>
      <p:bldP spid="114" grpId="0" animBg="1"/>
      <p:bldP spid="115" grpId="0" animBg="1"/>
      <p:bldP spid="116" grpId="0" animBg="1"/>
      <p:bldP spid="117" grpId="0" animBg="1"/>
      <p:bldP spid="118" grpId="0" animBg="1"/>
      <p:bldP spid="119" grpId="0" animBg="1"/>
    </p:bldLst>
  </p:timing>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TextBox 54"/>
          <p:cNvSpPr txBox="1"/>
          <p:nvPr/>
        </p:nvSpPr>
        <p:spPr>
          <a:xfrm>
            <a:off x="3022249" y="1565810"/>
            <a:ext cx="5394633" cy="2816165"/>
          </a:xfrm>
          <a:prstGeom prst="rect">
            <a:avLst/>
          </a:prstGeom>
          <a:solidFill>
            <a:schemeClr val="accent1"/>
          </a:solidFill>
        </p:spPr>
        <p:txBody>
          <a:bodyPr wrap="square" lIns="68586" tIns="34294" rIns="68586" bIns="34294" rtlCol="0">
            <a:noAutofit/>
          </a:bodyPr>
          <a:lstStyle/>
          <a:p>
            <a:pPr algn="ctr" defTabSz="685862"/>
            <a:endParaRPr lang="en-US" sz="1100" b="1" dirty="0">
              <a:solidFill>
                <a:srgbClr val="FFFFFF"/>
              </a:solidFill>
            </a:endParaRPr>
          </a:p>
        </p:txBody>
      </p:sp>
      <p:sp>
        <p:nvSpPr>
          <p:cNvPr id="37" name="TextBox 36"/>
          <p:cNvSpPr txBox="1"/>
          <p:nvPr/>
        </p:nvSpPr>
        <p:spPr>
          <a:xfrm>
            <a:off x="378718" y="1565810"/>
            <a:ext cx="2529200" cy="2816165"/>
          </a:xfrm>
          <a:prstGeom prst="rect">
            <a:avLst/>
          </a:prstGeom>
          <a:solidFill>
            <a:schemeClr val="accent1"/>
          </a:solidFill>
        </p:spPr>
        <p:txBody>
          <a:bodyPr wrap="square" lIns="68586" tIns="34294" rIns="68586" bIns="34294" rtlCol="0">
            <a:noAutofit/>
          </a:bodyPr>
          <a:lstStyle/>
          <a:p>
            <a:pPr algn="ctr" defTabSz="685862"/>
            <a:endParaRPr lang="en-US" sz="1100" b="1" dirty="0">
              <a:solidFill>
                <a:srgbClr val="FFFFFF"/>
              </a:solidFill>
            </a:endParaRPr>
          </a:p>
        </p:txBody>
      </p:sp>
      <p:sp>
        <p:nvSpPr>
          <p:cNvPr id="2" name="Title 1"/>
          <p:cNvSpPr>
            <a:spLocks noGrp="1"/>
          </p:cNvSpPr>
          <p:nvPr>
            <p:ph type="title"/>
          </p:nvPr>
        </p:nvSpPr>
        <p:spPr/>
        <p:txBody>
          <a:bodyPr/>
          <a:lstStyle/>
          <a:p>
            <a:r>
              <a:rPr lang="en-US" dirty="0" smtClean="0"/>
              <a:t>Virtual Machine Manager 2012</a:t>
            </a:r>
            <a:endParaRPr lang="en-US" dirty="0"/>
          </a:p>
        </p:txBody>
      </p:sp>
      <p:sp>
        <p:nvSpPr>
          <p:cNvPr id="3" name="Text Placeholder 2"/>
          <p:cNvSpPr>
            <a:spLocks noGrp="1"/>
          </p:cNvSpPr>
          <p:nvPr>
            <p:ph type="body" sz="quarter" idx="10"/>
          </p:nvPr>
        </p:nvSpPr>
        <p:spPr>
          <a:xfrm>
            <a:off x="3142877" y="1789273"/>
            <a:ext cx="5144840" cy="2520690"/>
          </a:xfrm>
        </p:spPr>
        <p:txBody>
          <a:bodyPr/>
          <a:lstStyle/>
          <a:p>
            <a:r>
              <a:rPr lang="en-US" dirty="0" smtClean="0"/>
              <a:t>Provision Infrastructure</a:t>
            </a:r>
          </a:p>
          <a:p>
            <a:pPr lvl="1"/>
            <a:r>
              <a:rPr lang="en-US" dirty="0" smtClean="0"/>
              <a:t>Bare Metal Provisioning</a:t>
            </a:r>
          </a:p>
          <a:p>
            <a:pPr lvl="1"/>
            <a:r>
              <a:rPr lang="en-US" dirty="0" smtClean="0"/>
              <a:t>Zero to Hyper-V Cluster</a:t>
            </a:r>
          </a:p>
          <a:p>
            <a:r>
              <a:rPr lang="en-US" dirty="0" smtClean="0"/>
              <a:t>Dynamic Optimization of Infrastructure</a:t>
            </a:r>
          </a:p>
          <a:p>
            <a:r>
              <a:rPr lang="en-US" dirty="0" smtClean="0"/>
              <a:t>Create consistency through Service templates</a:t>
            </a:r>
          </a:p>
        </p:txBody>
      </p:sp>
      <p:grpSp>
        <p:nvGrpSpPr>
          <p:cNvPr id="28" name="Group 27"/>
          <p:cNvGrpSpPr/>
          <p:nvPr/>
        </p:nvGrpSpPr>
        <p:grpSpPr>
          <a:xfrm>
            <a:off x="398098" y="951244"/>
            <a:ext cx="2509821" cy="538838"/>
            <a:chOff x="2321819" y="3534890"/>
            <a:chExt cx="3345556" cy="718451"/>
          </a:xfrm>
        </p:grpSpPr>
        <p:sp>
          <p:nvSpPr>
            <p:cNvPr id="29" name="Rounded Rectangle 5"/>
            <p:cNvSpPr>
              <a:spLocks noChangeArrowheads="1"/>
            </p:cNvSpPr>
            <p:nvPr/>
          </p:nvSpPr>
          <p:spPr bwMode="auto">
            <a:xfrm>
              <a:off x="2321819" y="3534890"/>
              <a:ext cx="723899" cy="707024"/>
            </a:xfrm>
            <a:prstGeom prst="roundRect">
              <a:avLst>
                <a:gd name="adj" fmla="val 0"/>
              </a:avLst>
            </a:prstGeom>
            <a:solidFill>
              <a:schemeClr val="accent1"/>
            </a:solidFill>
            <a:ln w="9525" algn="ctr">
              <a:noFill/>
              <a:round/>
              <a:headEnd/>
              <a:tailEnd/>
            </a:ln>
            <a:effectLst/>
          </p:spPr>
          <p:txBody>
            <a:bodyPr anchor="ctr"/>
            <a:lstStyle/>
            <a:p>
              <a:pPr fontAlgn="base">
                <a:spcBef>
                  <a:spcPct val="0"/>
                </a:spcBef>
                <a:spcAft>
                  <a:spcPct val="0"/>
                </a:spcAft>
              </a:pPr>
              <a:endParaRPr lang="en-US" dirty="0">
                <a:solidFill>
                  <a:srgbClr val="FFFFFF"/>
                </a:solidFill>
                <a:cs typeface="Segoe UI" pitchFamily="34" charset="0"/>
              </a:endParaRPr>
            </a:p>
          </p:txBody>
        </p:sp>
        <p:pic>
          <p:nvPicPr>
            <p:cNvPr id="30" name="Picture 29"/>
            <p:cNvPicPr>
              <a:picLocks noChangeAspect="1"/>
            </p:cNvPicPr>
            <p:nvPr/>
          </p:nvPicPr>
          <p:blipFill rotWithShape="1">
            <a:blip r:embed="rId3">
              <a:extLst>
                <a:ext uri="{28A0092B-C50C-407E-A947-70E740481C1C}">
                  <a14:useLocalDpi xmlns:a14="http://schemas.microsoft.com/office/drawing/2010/main" val="0"/>
                </a:ext>
              </a:extLst>
            </a:blip>
            <a:srcRect l="-11712" t="-1" r="-11019" b="-19481"/>
            <a:stretch/>
          </p:blipFill>
          <p:spPr>
            <a:xfrm>
              <a:off x="2391236" y="3580614"/>
              <a:ext cx="585065" cy="672727"/>
            </a:xfrm>
            <a:prstGeom prst="rect">
              <a:avLst/>
            </a:prstGeom>
          </p:spPr>
        </p:pic>
        <p:sp>
          <p:nvSpPr>
            <p:cNvPr id="31" name="Rounded Rectangle 5"/>
            <p:cNvSpPr>
              <a:spLocks noChangeArrowheads="1"/>
            </p:cNvSpPr>
            <p:nvPr/>
          </p:nvSpPr>
          <p:spPr bwMode="auto">
            <a:xfrm>
              <a:off x="3074602" y="3534890"/>
              <a:ext cx="2592773" cy="707024"/>
            </a:xfrm>
            <a:prstGeom prst="roundRect">
              <a:avLst>
                <a:gd name="adj" fmla="val 0"/>
              </a:avLst>
            </a:prstGeom>
            <a:solidFill>
              <a:schemeClr val="accent1"/>
            </a:solidFill>
            <a:ln w="9525" algn="ctr">
              <a:noFill/>
              <a:round/>
              <a:headEnd/>
              <a:tailEnd/>
            </a:ln>
            <a:effectLst/>
          </p:spPr>
          <p:txBody>
            <a:bodyPr anchor="ctr"/>
            <a:lstStyle/>
            <a:p>
              <a:pPr fontAlgn="base">
                <a:spcBef>
                  <a:spcPct val="0"/>
                </a:spcBef>
                <a:spcAft>
                  <a:spcPct val="0"/>
                </a:spcAft>
              </a:pPr>
              <a:r>
                <a:rPr lang="en-US" sz="1100" dirty="0">
                  <a:solidFill>
                    <a:srgbClr val="FFFFFF"/>
                  </a:solidFill>
                  <a:cs typeface="Segoe UI" pitchFamily="34" charset="0"/>
                </a:rPr>
                <a:t>VIRTUAL MACHINE MANAGER</a:t>
              </a:r>
            </a:p>
          </p:txBody>
        </p:sp>
      </p:grpSp>
      <p:grpSp>
        <p:nvGrpSpPr>
          <p:cNvPr id="10" name="Group 9"/>
          <p:cNvGrpSpPr/>
          <p:nvPr/>
        </p:nvGrpSpPr>
        <p:grpSpPr>
          <a:xfrm>
            <a:off x="730875" y="1485901"/>
            <a:ext cx="1824885" cy="2758554"/>
            <a:chOff x="872979" y="1981200"/>
            <a:chExt cx="2432547" cy="3683688"/>
          </a:xfrm>
        </p:grpSpPr>
        <p:pic>
          <p:nvPicPr>
            <p:cNvPr id="42" name="Picture 41"/>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370012" y="1981200"/>
              <a:ext cx="1335441" cy="1487121"/>
            </a:xfrm>
            <a:prstGeom prst="rect">
              <a:avLst/>
            </a:prstGeom>
          </p:spPr>
        </p:pic>
        <p:grpSp>
          <p:nvGrpSpPr>
            <p:cNvPr id="9" name="Group 8"/>
            <p:cNvGrpSpPr/>
            <p:nvPr/>
          </p:nvGrpSpPr>
          <p:grpSpPr>
            <a:xfrm>
              <a:off x="872979" y="3196434"/>
              <a:ext cx="2432547" cy="2468454"/>
              <a:chOff x="872979" y="3196434"/>
              <a:chExt cx="2432547" cy="2468454"/>
            </a:xfrm>
          </p:grpSpPr>
          <p:pic>
            <p:nvPicPr>
              <p:cNvPr id="32" name="Picture 2"/>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bwMode="auto">
              <a:xfrm>
                <a:off x="1535751" y="4419600"/>
                <a:ext cx="748661" cy="1029095"/>
              </a:xfrm>
              <a:prstGeom prst="rect">
                <a:avLst/>
              </a:prstGeom>
              <a:noFill/>
              <a:ln w="9525">
                <a:noFill/>
                <a:miter lim="800000"/>
                <a:headEnd/>
                <a:tailEnd/>
              </a:ln>
              <a:effectLst/>
            </p:spPr>
          </p:pic>
          <p:grpSp>
            <p:nvGrpSpPr>
              <p:cNvPr id="43" name="Group 29"/>
              <p:cNvGrpSpPr>
                <a:grpSpLocks/>
              </p:cNvGrpSpPr>
              <p:nvPr/>
            </p:nvGrpSpPr>
            <p:grpSpPr bwMode="auto">
              <a:xfrm>
                <a:off x="872979" y="3528831"/>
                <a:ext cx="763156" cy="1018580"/>
                <a:chOff x="2783" y="3216"/>
                <a:chExt cx="864" cy="1004"/>
              </a:xfrm>
            </p:grpSpPr>
            <p:pic>
              <p:nvPicPr>
                <p:cNvPr id="44" name="Hyper-V logo"/>
                <p:cNvPicPr>
                  <a:picLocks noChangeAspect="1" noChangeArrowheads="1"/>
                </p:cNvPicPr>
                <p:nvPr/>
              </p:nvPicPr>
              <p:blipFill>
                <a:blip r:embed="rId8" cstate="print"/>
                <a:srcRect/>
                <a:stretch>
                  <a:fillRect/>
                </a:stretch>
              </p:blipFill>
              <p:spPr bwMode="auto">
                <a:xfrm>
                  <a:off x="2783" y="3216"/>
                  <a:ext cx="864" cy="721"/>
                </a:xfrm>
                <a:prstGeom prst="rect">
                  <a:avLst/>
                </a:prstGeom>
                <a:noFill/>
                <a:ln w="9525">
                  <a:noFill/>
                  <a:miter lim="800000"/>
                  <a:headEnd/>
                  <a:tailEnd/>
                </a:ln>
              </p:spPr>
            </p:pic>
            <p:sp>
              <p:nvSpPr>
                <p:cNvPr id="45" name="Text Box 14"/>
                <p:cNvSpPr txBox="1">
                  <a:spLocks noChangeArrowheads="1"/>
                </p:cNvSpPr>
                <p:nvPr/>
              </p:nvSpPr>
              <p:spPr bwMode="auto">
                <a:xfrm>
                  <a:off x="2794" y="3936"/>
                  <a:ext cx="845" cy="284"/>
                </a:xfrm>
                <a:prstGeom prst="rect">
                  <a:avLst/>
                </a:prstGeom>
                <a:noFill/>
                <a:ln w="9525" algn="ctr">
                  <a:noFill/>
                  <a:miter lim="800000"/>
                  <a:headEnd/>
                  <a:tailEnd/>
                </a:ln>
              </p:spPr>
              <p:txBody>
                <a:bodyPr wrap="none">
                  <a:spAutoFit/>
                </a:bodyPr>
                <a:lstStyle/>
                <a:p>
                  <a:pPr algn="ctr" defTabSz="684673" fontAlgn="base">
                    <a:spcBef>
                      <a:spcPct val="0"/>
                    </a:spcBef>
                    <a:spcAft>
                      <a:spcPct val="0"/>
                    </a:spcAft>
                  </a:pPr>
                  <a:r>
                    <a:rPr lang="en-US" sz="800" b="1" dirty="0">
                      <a:solidFill>
                        <a:srgbClr val="FFFFFF"/>
                      </a:solidFill>
                      <a:latin typeface="Segoe UI" pitchFamily="34" charset="0"/>
                      <a:cs typeface="Segoe UI" pitchFamily="34" charset="0"/>
                    </a:rPr>
                    <a:t>Storage</a:t>
                  </a:r>
                </a:p>
              </p:txBody>
            </p:sp>
          </p:grpSp>
          <p:grpSp>
            <p:nvGrpSpPr>
              <p:cNvPr id="46" name="Group 8"/>
              <p:cNvGrpSpPr>
                <a:grpSpLocks/>
              </p:cNvGrpSpPr>
              <p:nvPr/>
            </p:nvGrpSpPr>
            <p:grpSpPr bwMode="auto">
              <a:xfrm>
                <a:off x="2391001" y="3548084"/>
                <a:ext cx="914525" cy="1068775"/>
                <a:chOff x="7618413" y="4602472"/>
                <a:chExt cx="1798637" cy="1743770"/>
              </a:xfrm>
            </p:grpSpPr>
            <p:pic>
              <p:nvPicPr>
                <p:cNvPr id="47" name="Picture 6"/>
                <p:cNvPicPr>
                  <a:picLocks noChangeAspect="1" noChangeArrowheads="1"/>
                </p:cNvPicPr>
                <p:nvPr/>
              </p:nvPicPr>
              <p:blipFill>
                <a:blip r:embed="rId9" cstate="print"/>
                <a:srcRect/>
                <a:stretch>
                  <a:fillRect/>
                </a:stretch>
              </p:blipFill>
              <p:spPr bwMode="auto">
                <a:xfrm>
                  <a:off x="7618413" y="4602472"/>
                  <a:ext cx="1798637" cy="1353519"/>
                </a:xfrm>
                <a:prstGeom prst="rect">
                  <a:avLst/>
                </a:prstGeom>
                <a:noFill/>
                <a:ln w="9525">
                  <a:noFill/>
                  <a:miter lim="800000"/>
                  <a:headEnd/>
                  <a:tailEnd/>
                </a:ln>
              </p:spPr>
            </p:pic>
            <p:sp>
              <p:nvSpPr>
                <p:cNvPr id="48" name="Text Box 14"/>
                <p:cNvSpPr txBox="1">
                  <a:spLocks noChangeArrowheads="1"/>
                </p:cNvSpPr>
                <p:nvPr/>
              </p:nvSpPr>
              <p:spPr bwMode="auto">
                <a:xfrm>
                  <a:off x="7740346" y="5876847"/>
                  <a:ext cx="1585188" cy="469395"/>
                </a:xfrm>
                <a:prstGeom prst="rect">
                  <a:avLst/>
                </a:prstGeom>
                <a:noFill/>
                <a:ln w="9525" algn="ctr">
                  <a:noFill/>
                  <a:miter lim="800000"/>
                  <a:headEnd/>
                  <a:tailEnd/>
                </a:ln>
              </p:spPr>
              <p:txBody>
                <a:bodyPr wrap="none">
                  <a:spAutoFit/>
                </a:bodyPr>
                <a:lstStyle/>
                <a:p>
                  <a:pPr algn="ctr" defTabSz="684673" fontAlgn="base">
                    <a:spcBef>
                      <a:spcPct val="0"/>
                    </a:spcBef>
                    <a:spcAft>
                      <a:spcPct val="0"/>
                    </a:spcAft>
                  </a:pPr>
                  <a:r>
                    <a:rPr lang="en-US" sz="800" b="1" dirty="0">
                      <a:solidFill>
                        <a:srgbClr val="FFFFFF"/>
                      </a:solidFill>
                      <a:latin typeface="Segoe UI" pitchFamily="34" charset="0"/>
                      <a:cs typeface="Segoe UI" pitchFamily="34" charset="0"/>
                    </a:rPr>
                    <a:t>Network</a:t>
                  </a:r>
                </a:p>
              </p:txBody>
            </p:sp>
          </p:grpSp>
          <p:sp>
            <p:nvSpPr>
              <p:cNvPr id="49" name="TextBox 48"/>
              <p:cNvSpPr txBox="1"/>
              <p:nvPr/>
            </p:nvSpPr>
            <p:spPr>
              <a:xfrm>
                <a:off x="1512533" y="3196434"/>
                <a:ext cx="1184205" cy="287697"/>
              </a:xfrm>
              <a:prstGeom prst="rect">
                <a:avLst/>
              </a:prstGeom>
              <a:noFill/>
            </p:spPr>
            <p:txBody>
              <a:bodyPr wrap="none" rtlCol="0">
                <a:spAutoFit/>
              </a:bodyPr>
              <a:lstStyle/>
              <a:p>
                <a:pPr fontAlgn="base">
                  <a:spcBef>
                    <a:spcPct val="0"/>
                  </a:spcBef>
                  <a:spcAft>
                    <a:spcPct val="0"/>
                  </a:spcAft>
                </a:pPr>
                <a:r>
                  <a:rPr lang="en-US" sz="800" b="1" dirty="0">
                    <a:latin typeface="Segoe UI" pitchFamily="34" charset="0"/>
                    <a:cs typeface="Segoe UI" pitchFamily="34" charset="0"/>
                  </a:rPr>
                  <a:t>Virtual Servers</a:t>
                </a:r>
              </a:p>
            </p:txBody>
          </p:sp>
          <p:sp>
            <p:nvSpPr>
              <p:cNvPr id="50" name="TextBox 49"/>
              <p:cNvSpPr txBox="1"/>
              <p:nvPr/>
            </p:nvSpPr>
            <p:spPr>
              <a:xfrm>
                <a:off x="1340385" y="5377191"/>
                <a:ext cx="1267538" cy="287697"/>
              </a:xfrm>
              <a:prstGeom prst="rect">
                <a:avLst/>
              </a:prstGeom>
              <a:noFill/>
            </p:spPr>
            <p:txBody>
              <a:bodyPr wrap="none" rtlCol="0">
                <a:spAutoFit/>
              </a:bodyPr>
              <a:lstStyle/>
              <a:p>
                <a:pPr fontAlgn="base">
                  <a:spcBef>
                    <a:spcPct val="0"/>
                  </a:spcBef>
                  <a:spcAft>
                    <a:spcPct val="0"/>
                  </a:spcAft>
                </a:pPr>
                <a:r>
                  <a:rPr lang="en-US" sz="800" b="1" dirty="0">
                    <a:latin typeface="Segoe UI" pitchFamily="34" charset="0"/>
                    <a:cs typeface="Segoe UI" pitchFamily="34" charset="0"/>
                  </a:rPr>
                  <a:t>Physical Servers</a:t>
                </a:r>
              </a:p>
            </p:txBody>
          </p:sp>
        </p:grpSp>
      </p:grpSp>
      <p:grpSp>
        <p:nvGrpSpPr>
          <p:cNvPr id="12" name="Group 11"/>
          <p:cNvGrpSpPr/>
          <p:nvPr/>
        </p:nvGrpSpPr>
        <p:grpSpPr>
          <a:xfrm>
            <a:off x="957339" y="2093002"/>
            <a:ext cx="1371957" cy="1969531"/>
            <a:chOff x="11274425" y="490877"/>
            <a:chExt cx="1828800" cy="2626042"/>
          </a:xfrm>
        </p:grpSpPr>
        <p:sp>
          <p:nvSpPr>
            <p:cNvPr id="51" name="TextBox 50"/>
            <p:cNvSpPr txBox="1"/>
            <p:nvPr/>
          </p:nvSpPr>
          <p:spPr>
            <a:xfrm>
              <a:off x="11426031" y="2316700"/>
              <a:ext cx="1525588" cy="800219"/>
            </a:xfrm>
            <a:prstGeom prst="rect">
              <a:avLst/>
            </a:prstGeom>
            <a:noFill/>
          </p:spPr>
          <p:txBody>
            <a:bodyPr wrap="square" rtlCol="0">
              <a:spAutoFit/>
            </a:bodyPr>
            <a:lstStyle/>
            <a:p>
              <a:pPr algn="ctr"/>
              <a:r>
                <a:rPr lang="en-US" sz="1100" b="1" dirty="0">
                  <a:solidFill>
                    <a:srgbClr val="FFFFFF"/>
                  </a:solidFill>
                </a:rPr>
                <a:t>DYNAMIC OPTIMIZATION</a:t>
              </a:r>
            </a:p>
          </p:txBody>
        </p:sp>
        <p:pic>
          <p:nvPicPr>
            <p:cNvPr id="52" name="Picture 9" descr="\\MAGNUM\Projects\Microsoft\Cloud Power FY12\Design\Icons\PNGs\Optimized.png"/>
            <p:cNvPicPr>
              <a:picLocks noChangeAspect="1" noChangeArrowheads="1"/>
            </p:cNvPicPr>
            <p:nvPr/>
          </p:nvPicPr>
          <p:blipFill>
            <a:blip r:embed="rId10" cstate="print">
              <a:lum bright="100000"/>
            </a:blip>
            <a:srcRect/>
            <a:stretch>
              <a:fillRect/>
            </a:stretch>
          </p:blipFill>
          <p:spPr bwMode="auto">
            <a:xfrm>
              <a:off x="11274425" y="490877"/>
              <a:ext cx="1828800" cy="1828800"/>
            </a:xfrm>
            <a:prstGeom prst="rect">
              <a:avLst/>
            </a:prstGeom>
            <a:noFill/>
          </p:spPr>
        </p:pic>
      </p:grpSp>
      <p:grpSp>
        <p:nvGrpSpPr>
          <p:cNvPr id="11" name="Group 10"/>
          <p:cNvGrpSpPr/>
          <p:nvPr/>
        </p:nvGrpSpPr>
        <p:grpSpPr>
          <a:xfrm>
            <a:off x="941349" y="2053785"/>
            <a:ext cx="1446230" cy="1878688"/>
            <a:chOff x="11642682" y="1026179"/>
            <a:chExt cx="1927805" cy="2504917"/>
          </a:xfrm>
        </p:grpSpPr>
        <p:sp>
          <p:nvSpPr>
            <p:cNvPr id="53" name="TextBox 52"/>
            <p:cNvSpPr txBox="1"/>
            <p:nvPr/>
          </p:nvSpPr>
          <p:spPr>
            <a:xfrm>
              <a:off x="11642682" y="2956580"/>
              <a:ext cx="1927805" cy="574516"/>
            </a:xfrm>
            <a:prstGeom prst="rect">
              <a:avLst/>
            </a:prstGeom>
            <a:noFill/>
          </p:spPr>
          <p:txBody>
            <a:bodyPr wrap="none" rtlCol="0">
              <a:spAutoFit/>
            </a:bodyPr>
            <a:lstStyle/>
            <a:p>
              <a:pPr algn="ctr"/>
              <a:r>
                <a:rPr lang="en-US" sz="1100" b="1" dirty="0">
                  <a:solidFill>
                    <a:srgbClr val="FFFFFF"/>
                  </a:solidFill>
                </a:rPr>
                <a:t>SERVICE LIFECYCLE</a:t>
              </a:r>
              <a:br>
                <a:rPr lang="en-US" sz="1100" b="1" dirty="0">
                  <a:solidFill>
                    <a:srgbClr val="FFFFFF"/>
                  </a:solidFill>
                </a:rPr>
              </a:br>
              <a:r>
                <a:rPr lang="en-US" sz="1100" b="1" dirty="0">
                  <a:solidFill>
                    <a:srgbClr val="FFFFFF"/>
                  </a:solidFill>
                </a:rPr>
                <a:t>MANAGEMENT</a:t>
              </a:r>
            </a:p>
          </p:txBody>
        </p:sp>
        <p:pic>
          <p:nvPicPr>
            <p:cNvPr id="54" name="Picture 3" descr="\\MAGNUM\Projects\Microsoft\Cloud Power FY12\Design\ICONS_PNG\Service_Lifecycle_Management.png"/>
            <p:cNvPicPr>
              <a:picLocks noChangeAspect="1" noChangeArrowheads="1"/>
            </p:cNvPicPr>
            <p:nvPr/>
          </p:nvPicPr>
          <p:blipFill>
            <a:blip r:embed="rId11" cstate="print">
              <a:lum bright="100000"/>
            </a:blip>
            <a:srcRect/>
            <a:stretch>
              <a:fillRect/>
            </a:stretch>
          </p:blipFill>
          <p:spPr bwMode="auto">
            <a:xfrm>
              <a:off x="11657013" y="1026179"/>
              <a:ext cx="1828800" cy="1828800"/>
            </a:xfrm>
            <a:prstGeom prst="rect">
              <a:avLst/>
            </a:prstGeom>
            <a:noFill/>
          </p:spPr>
        </p:pic>
      </p:grpSp>
      <p:grpSp>
        <p:nvGrpSpPr>
          <p:cNvPr id="56" name="Group 6"/>
          <p:cNvGrpSpPr>
            <a:grpSpLocks/>
          </p:cNvGrpSpPr>
          <p:nvPr/>
        </p:nvGrpSpPr>
        <p:grpSpPr bwMode="auto">
          <a:xfrm>
            <a:off x="7938616" y="1605713"/>
            <a:ext cx="762253" cy="1659891"/>
            <a:chOff x="6677" y="1051"/>
            <a:chExt cx="1237" cy="2689"/>
          </a:xfrm>
        </p:grpSpPr>
        <p:pic>
          <p:nvPicPr>
            <p:cNvPr id="57" name="Picture 5"/>
            <p:cNvPicPr>
              <a:picLocks noChangeAspect="1" noChangeArrowheads="1"/>
            </p:cNvPicPr>
            <p:nvPr/>
          </p:nvPicPr>
          <p:blipFill>
            <a:blip r:embed="rId12">
              <a:extLst>
                <a:ext uri="{28A0092B-C50C-407E-A947-70E740481C1C}">
                  <a14:useLocalDpi xmlns:a14="http://schemas.microsoft.com/office/drawing/2010/main" val="0"/>
                </a:ext>
              </a:extLst>
            </a:blip>
            <a:stretch>
              <a:fillRect/>
            </a:stretch>
          </p:blipFill>
          <p:spPr bwMode="auto">
            <a:xfrm>
              <a:off x="6677" y="1051"/>
              <a:ext cx="785" cy="2689"/>
            </a:xfrm>
            <a:prstGeom prst="rect">
              <a:avLst/>
            </a:prstGeom>
            <a:noFill/>
            <a:ln>
              <a:noFill/>
            </a:ln>
          </p:spPr>
        </p:pic>
        <p:sp>
          <p:nvSpPr>
            <p:cNvPr id="58" name="Oval 8"/>
            <p:cNvSpPr>
              <a:spLocks noChangeArrowheads="1"/>
            </p:cNvSpPr>
            <p:nvPr/>
          </p:nvSpPr>
          <p:spPr bwMode="auto">
            <a:xfrm>
              <a:off x="7122" y="2305"/>
              <a:ext cx="792" cy="792"/>
            </a:xfrm>
            <a:prstGeom prst="ellipse">
              <a:avLst/>
            </a:prstGeom>
            <a:solidFill>
              <a:schemeClr val="accent2">
                <a:lumMod val="75000"/>
                <a:alpha val="90000"/>
              </a:schemeClr>
            </a:solidFill>
            <a:ln w="9525">
              <a:noFill/>
              <a:round/>
              <a:headEnd/>
              <a:tailEnd/>
            </a:ln>
          </p:spPr>
          <p:txBody>
            <a:bodyPr lIns="0" rIns="0" anchor="ctr"/>
            <a:lstStyle/>
            <a:p>
              <a:pPr algn="ctr"/>
              <a:r>
                <a:rPr lang="en-US" sz="800" dirty="0"/>
                <a:t>DC</a:t>
              </a:r>
              <a:br>
                <a:rPr lang="en-US" sz="800" dirty="0"/>
              </a:br>
              <a:r>
                <a:rPr lang="en-US" sz="800" dirty="0"/>
                <a:t>Admin</a:t>
              </a:r>
            </a:p>
          </p:txBody>
        </p:sp>
      </p:grpSp>
      <p:pic>
        <p:nvPicPr>
          <p:cNvPr id="59" name="Picture 5"/>
          <p:cNvPicPr>
            <a:picLocks noChangeAspect="1" noChangeArrowheads="1"/>
          </p:cNvPicPr>
          <p:nvPr/>
        </p:nvPicPr>
        <p:blipFill>
          <a:blip r:embed="rId13" cstate="print">
            <a:extLst>
              <a:ext uri="{28A0092B-C50C-407E-A947-70E740481C1C}">
                <a14:useLocalDpi xmlns:a14="http://schemas.microsoft.com/office/drawing/2010/main" val="0"/>
              </a:ext>
            </a:extLst>
          </a:blip>
          <a:stretch>
            <a:fillRect/>
          </a:stretch>
        </p:blipFill>
        <p:spPr bwMode="auto">
          <a:xfrm>
            <a:off x="8180478" y="1874636"/>
            <a:ext cx="611162" cy="424793"/>
          </a:xfrm>
          <a:prstGeom prst="rect">
            <a:avLst/>
          </a:prstGeom>
          <a:noFill/>
          <a:ln w="9525">
            <a:noFill/>
            <a:miter lim="800000"/>
            <a:headEnd/>
            <a:tailEnd/>
          </a:ln>
          <a:effectLst/>
        </p:spPr>
      </p:pic>
      <p:sp>
        <p:nvSpPr>
          <p:cNvPr id="33"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4"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4"/>
              </a:rPr>
              <a:t>www.rapidbbs.cn</a:t>
            </a:r>
            <a:endParaRPr lang="zh-CN" altLang="en-US" sz="1200" b="0">
              <a:latin typeface="Arial" charset="0"/>
              <a:ea typeface="ＭＳ Ｐゴシック" pitchFamily="34" charset="-128"/>
            </a:endParaRPr>
          </a:p>
        </p:txBody>
      </p:sp>
      <p:pic>
        <p:nvPicPr>
          <p:cNvPr id="35" name="Picture 2">
            <a:hlinkClick r:id="rId14"/>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979369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12"/>
                                        </p:tgtEl>
                                        <p:attrNameLst>
                                          <p:attrName>style.visibility</p:attrName>
                                        </p:attrNameLst>
                                      </p:cBhvr>
                                      <p:to>
                                        <p:strVal val="visible"/>
                                      </p:to>
                                    </p:set>
                                  </p:childTnLst>
                                </p:cTn>
                              </p:par>
                              <p:par>
                                <p:cTn id="18" presetID="1" presetClass="entr" presetSubtype="0" fill="hold" nodeType="withEffect">
                                  <p:stCondLst>
                                    <p:cond delay="0"/>
                                  </p:stCondLst>
                                  <p:childTnLst>
                                    <p:set>
                                      <p:cBhvr>
                                        <p:cTn id="19" dur="1" fill="hold">
                                          <p:stCondLst>
                                            <p:cond delay="0"/>
                                          </p:stCondLst>
                                        </p:cTn>
                                        <p:tgtEl>
                                          <p:spTgt spid="3">
                                            <p:txEl>
                                              <p:pRg st="3" end="3"/>
                                            </p:txEl>
                                          </p:spTgt>
                                        </p:tgtEl>
                                        <p:attrNameLst>
                                          <p:attrName>style.visibility</p:attrName>
                                        </p:attrNameLst>
                                      </p:cBhvr>
                                      <p:to>
                                        <p:strVal val="visible"/>
                                      </p:to>
                                    </p:set>
                                  </p:childTnLst>
                                </p:cTn>
                              </p:par>
                              <p:par>
                                <p:cTn id="20" presetID="1" presetClass="exit" presetSubtype="0" fill="hold" nodeType="withEffect">
                                  <p:stCondLst>
                                    <p:cond delay="0"/>
                                  </p:stCondLst>
                                  <p:childTnLst>
                                    <p:set>
                                      <p:cBhvr>
                                        <p:cTn id="21" dur="1" fill="hold">
                                          <p:stCondLst>
                                            <p:cond delay="0"/>
                                          </p:stCondLst>
                                        </p:cTn>
                                        <p:tgtEl>
                                          <p:spTgt spid="10"/>
                                        </p:tgtEl>
                                        <p:attrNameLst>
                                          <p:attrName>style.visibility</p:attrName>
                                        </p:attrNameLst>
                                      </p:cBhvr>
                                      <p:to>
                                        <p:strVal val="hidden"/>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nodeType="clickEffect">
                                  <p:stCondLst>
                                    <p:cond delay="0"/>
                                  </p:stCondLst>
                                  <p:childTnLst>
                                    <p:set>
                                      <p:cBhvr>
                                        <p:cTn id="25" dur="1" fill="hold">
                                          <p:stCondLst>
                                            <p:cond delay="0"/>
                                          </p:stCondLst>
                                        </p:cTn>
                                        <p:tgtEl>
                                          <p:spTgt spid="11"/>
                                        </p:tgtEl>
                                        <p:attrNameLst>
                                          <p:attrName>style.visibility</p:attrName>
                                        </p:attrNameLst>
                                      </p:cBhvr>
                                      <p:to>
                                        <p:strVal val="visible"/>
                                      </p:to>
                                    </p:set>
                                  </p:childTnLst>
                                </p:cTn>
                              </p:par>
                              <p:par>
                                <p:cTn id="26" presetID="1" presetClass="entr" presetSubtype="0" fill="hold" nodeType="withEffect">
                                  <p:stCondLst>
                                    <p:cond delay="0"/>
                                  </p:stCondLst>
                                  <p:childTnLst>
                                    <p:set>
                                      <p:cBhvr>
                                        <p:cTn id="27" dur="1" fill="hold">
                                          <p:stCondLst>
                                            <p:cond delay="0"/>
                                          </p:stCondLst>
                                        </p:cTn>
                                        <p:tgtEl>
                                          <p:spTgt spid="3">
                                            <p:txEl>
                                              <p:pRg st="4" end="4"/>
                                            </p:txEl>
                                          </p:spTgt>
                                        </p:tgtEl>
                                        <p:attrNameLst>
                                          <p:attrName>style.visibility</p:attrName>
                                        </p:attrNameLst>
                                      </p:cBhvr>
                                      <p:to>
                                        <p:strVal val="visible"/>
                                      </p:to>
                                    </p:set>
                                  </p:childTnLst>
                                </p:cTn>
                              </p:par>
                              <p:par>
                                <p:cTn id="28" presetID="1" presetClass="exit" presetSubtype="0" fill="hold" nodeType="withEffect">
                                  <p:stCondLst>
                                    <p:cond delay="0"/>
                                  </p:stCondLst>
                                  <p:childTnLst>
                                    <p:set>
                                      <p:cBhvr>
                                        <p:cTn id="29" dur="1" fill="hold">
                                          <p:stCondLst>
                                            <p:cond delay="0"/>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le 1"/>
          <p:cNvSpPr>
            <a:spLocks noGrp="1"/>
          </p:cNvSpPr>
          <p:nvPr>
            <p:ph type="title" idx="4294967295"/>
          </p:nvPr>
        </p:nvSpPr>
        <p:spPr>
          <a:xfrm>
            <a:off x="457319" y="263129"/>
            <a:ext cx="8402048" cy="457049"/>
          </a:xfrm>
        </p:spPr>
        <p:txBody>
          <a:bodyPr/>
          <a:lstStyle/>
          <a:p>
            <a:r>
              <a:rPr lang="en-US" dirty="0" smtClean="0"/>
              <a:t>Provision Infrastructure</a:t>
            </a:r>
          </a:p>
        </p:txBody>
      </p:sp>
      <p:grpSp>
        <p:nvGrpSpPr>
          <p:cNvPr id="22" name="Group 11"/>
          <p:cNvGrpSpPr>
            <a:grpSpLocks/>
          </p:cNvGrpSpPr>
          <p:nvPr/>
        </p:nvGrpSpPr>
        <p:grpSpPr bwMode="auto">
          <a:xfrm>
            <a:off x="3602278" y="1963402"/>
            <a:ext cx="3513731" cy="1259204"/>
            <a:chOff x="4294" y="1374"/>
            <a:chExt cx="2205" cy="820"/>
          </a:xfrm>
          <a:solidFill>
            <a:schemeClr val="accent5"/>
          </a:solidFill>
        </p:grpSpPr>
        <p:sp>
          <p:nvSpPr>
            <p:cNvPr id="25" name="Right Arrow 24"/>
            <p:cNvSpPr>
              <a:spLocks noChangeArrowheads="1"/>
            </p:cNvSpPr>
            <p:nvPr/>
          </p:nvSpPr>
          <p:spPr bwMode="auto">
            <a:xfrm rot="10800000">
              <a:off x="4294" y="1374"/>
              <a:ext cx="2205" cy="820"/>
            </a:xfrm>
            <a:prstGeom prst="rightArrow">
              <a:avLst>
                <a:gd name="adj1" fmla="val 69926"/>
                <a:gd name="adj2" fmla="val 49985"/>
              </a:avLst>
            </a:prstGeom>
            <a:solidFill>
              <a:schemeClr val="accent5"/>
            </a:solidFill>
            <a:ln w="9525" algn="ctr">
              <a:noFill/>
              <a:miter lim="800000"/>
              <a:headEnd/>
              <a:tailEnd/>
            </a:ln>
          </p:spPr>
          <p:txBody>
            <a:bodyPr lIns="109833" tIns="0" rIns="0" bIns="54916" anchor="ctr"/>
            <a:lstStyle/>
            <a:p>
              <a:pPr defTabSz="822797" fontAlgn="base">
                <a:spcBef>
                  <a:spcPct val="0"/>
                </a:spcBef>
                <a:spcAft>
                  <a:spcPct val="0"/>
                </a:spcAft>
              </a:pPr>
              <a:endParaRPr lang="en-US" b="1" dirty="0">
                <a:solidFill>
                  <a:prstClr val="black"/>
                </a:solidFill>
                <a:latin typeface="Segoe UI" pitchFamily="34" charset="0"/>
                <a:cs typeface="Segoe UI" pitchFamily="34" charset="0"/>
              </a:endParaRPr>
            </a:p>
          </p:txBody>
        </p:sp>
        <p:sp>
          <p:nvSpPr>
            <p:cNvPr id="27" name="Text Box 13"/>
            <p:cNvSpPr txBox="1">
              <a:spLocks noChangeArrowheads="1"/>
            </p:cNvSpPr>
            <p:nvPr/>
          </p:nvSpPr>
          <p:spPr bwMode="auto">
            <a:xfrm>
              <a:off x="4637" y="1611"/>
              <a:ext cx="879" cy="149"/>
            </a:xfrm>
            <a:prstGeom prst="rect">
              <a:avLst/>
            </a:prstGeom>
            <a:grpFill/>
            <a:ln w="9525">
              <a:noFill/>
              <a:miter lim="800000"/>
              <a:headEnd/>
              <a:tailEnd/>
            </a:ln>
          </p:spPr>
          <p:txBody>
            <a:bodyPr lIns="109833" tIns="0" rIns="109833" bIns="54916" anchor="ctr"/>
            <a:lstStyle/>
            <a:p>
              <a:pPr defTabSz="822797" fontAlgn="base">
                <a:spcBef>
                  <a:spcPct val="0"/>
                </a:spcBef>
                <a:spcAft>
                  <a:spcPct val="0"/>
                </a:spcAft>
              </a:pPr>
              <a:r>
                <a:rPr lang="en-US" b="1" dirty="0" smtClean="0">
                  <a:solidFill>
                    <a:prstClr val="white"/>
                  </a:solidFill>
                  <a:latin typeface="Segoe UI" pitchFamily="34" charset="0"/>
                  <a:cs typeface="Segoe UI" pitchFamily="34" charset="0"/>
                </a:rPr>
                <a:t>Deploy</a:t>
              </a:r>
              <a:endParaRPr lang="en-US" b="1" dirty="0">
                <a:solidFill>
                  <a:prstClr val="white"/>
                </a:solidFill>
                <a:latin typeface="Segoe UI" pitchFamily="34" charset="0"/>
                <a:cs typeface="Segoe UI" pitchFamily="34" charset="0"/>
              </a:endParaRPr>
            </a:p>
          </p:txBody>
        </p:sp>
        <p:sp>
          <p:nvSpPr>
            <p:cNvPr id="31" name="Text Box 14"/>
            <p:cNvSpPr txBox="1">
              <a:spLocks noChangeArrowheads="1"/>
            </p:cNvSpPr>
            <p:nvPr/>
          </p:nvSpPr>
          <p:spPr bwMode="auto">
            <a:xfrm>
              <a:off x="4639" y="1820"/>
              <a:ext cx="879" cy="149"/>
            </a:xfrm>
            <a:prstGeom prst="rect">
              <a:avLst/>
            </a:prstGeom>
            <a:grpFill/>
            <a:ln w="9525">
              <a:noFill/>
              <a:miter lim="800000"/>
              <a:headEnd/>
              <a:tailEnd/>
            </a:ln>
          </p:spPr>
          <p:txBody>
            <a:bodyPr lIns="109833" tIns="0" rIns="109833" bIns="54916" anchor="ctr"/>
            <a:lstStyle/>
            <a:p>
              <a:pPr defTabSz="822797" fontAlgn="base">
                <a:spcBef>
                  <a:spcPct val="0"/>
                </a:spcBef>
                <a:spcAft>
                  <a:spcPct val="0"/>
                </a:spcAft>
              </a:pPr>
              <a:r>
                <a:rPr lang="en-US" b="1" dirty="0">
                  <a:solidFill>
                    <a:prstClr val="white"/>
                  </a:solidFill>
                  <a:latin typeface="Segoe UI" pitchFamily="34" charset="0"/>
                  <a:cs typeface="Segoe UI" pitchFamily="34" charset="0"/>
                </a:rPr>
                <a:t>Configure</a:t>
              </a:r>
            </a:p>
          </p:txBody>
        </p:sp>
      </p:grpSp>
      <p:pic>
        <p:nvPicPr>
          <p:cNvPr id="33" name="Picture 2"/>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bwMode="auto">
          <a:xfrm>
            <a:off x="966355" y="2835323"/>
            <a:ext cx="780593" cy="1072709"/>
          </a:xfrm>
          <a:prstGeom prst="rect">
            <a:avLst/>
          </a:prstGeom>
          <a:noFill/>
          <a:ln w="9525">
            <a:noFill/>
            <a:miter lim="800000"/>
            <a:headEnd/>
            <a:tailEnd/>
          </a:ln>
          <a:effectLst/>
        </p:spPr>
      </p:pic>
      <p:grpSp>
        <p:nvGrpSpPr>
          <p:cNvPr id="34" name="Group 33"/>
          <p:cNvGrpSpPr/>
          <p:nvPr/>
        </p:nvGrpSpPr>
        <p:grpSpPr>
          <a:xfrm>
            <a:off x="6399427" y="1645559"/>
            <a:ext cx="1287939" cy="1685729"/>
            <a:chOff x="310198" y="2179790"/>
            <a:chExt cx="2137971" cy="2506833"/>
          </a:xfrm>
        </p:grpSpPr>
        <p:pic>
          <p:nvPicPr>
            <p:cNvPr id="35" name="Picture 2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bwMode="auto">
            <a:xfrm>
              <a:off x="310198" y="2179790"/>
              <a:ext cx="1436441" cy="1286488"/>
            </a:xfrm>
            <a:prstGeom prst="rect">
              <a:avLst/>
            </a:prstGeom>
            <a:noFill/>
            <a:ln w="9525">
              <a:noFill/>
              <a:miter lim="800000"/>
              <a:headEnd/>
              <a:tailEnd/>
            </a:ln>
          </p:spPr>
        </p:pic>
        <p:grpSp>
          <p:nvGrpSpPr>
            <p:cNvPr id="36" name="Group 35"/>
            <p:cNvGrpSpPr/>
            <p:nvPr/>
          </p:nvGrpSpPr>
          <p:grpSpPr>
            <a:xfrm>
              <a:off x="531812" y="2882212"/>
              <a:ext cx="1916357" cy="1804411"/>
              <a:chOff x="1142722" y="3782579"/>
              <a:chExt cx="1151885" cy="926354"/>
            </a:xfrm>
          </p:grpSpPr>
          <p:pic>
            <p:nvPicPr>
              <p:cNvPr id="37" name="Picture 2" descr="D:\Projects\Microsoft\DPM PartnerVideo\images\platform.png"/>
              <p:cNvPicPr>
                <a:picLocks noChangeAspect="1" noChangeArrowheads="1"/>
              </p:cNvPicPr>
              <p:nvPr/>
            </p:nvPicPr>
            <p:blipFill>
              <a:blip r:embed="rId6" cstate="print">
                <a:duotone>
                  <a:schemeClr val="accent1">
                    <a:shade val="45000"/>
                    <a:satMod val="135000"/>
                  </a:schemeClr>
                  <a:prstClr val="white"/>
                </a:duotone>
                <a:extLst>
                  <a:ext uri="{BEBA8EAE-BF5A-486C-A8C5-ECC9F3942E4B}">
                    <a14:imgProps xmlns:a14="http://schemas.microsoft.com/office/drawing/2010/main">
                      <a14:imgLayer r:embed="rId7">
                        <a14:imgEffect>
                          <a14:saturation sat="0"/>
                        </a14:imgEffect>
                      </a14:imgLayer>
                    </a14:imgProps>
                  </a:ext>
                </a:extLst>
              </a:blip>
              <a:srcRect/>
              <a:stretch>
                <a:fillRect/>
              </a:stretch>
            </p:blipFill>
            <p:spPr bwMode="auto">
              <a:xfrm>
                <a:off x="1142722" y="3896830"/>
                <a:ext cx="1151885" cy="812103"/>
              </a:xfrm>
              <a:prstGeom prst="rect">
                <a:avLst/>
              </a:prstGeom>
              <a:noFill/>
              <a:effectLst>
                <a:outerShdw blurRad="50800" dist="38100" dir="2700000" algn="tl" rotWithShape="0">
                  <a:prstClr val="black">
                    <a:alpha val="40000"/>
                  </a:prstClr>
                </a:outerShdw>
              </a:effectLst>
            </p:spPr>
          </p:pic>
          <p:pic>
            <p:nvPicPr>
              <p:cNvPr id="38" name="Picture 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bwMode="auto">
              <a:xfrm>
                <a:off x="1441222" y="3782579"/>
                <a:ext cx="554884" cy="663791"/>
              </a:xfrm>
              <a:prstGeom prst="rect">
                <a:avLst/>
              </a:prstGeom>
              <a:noFill/>
              <a:ln w="9525">
                <a:noFill/>
                <a:miter lim="800000"/>
                <a:headEnd/>
                <a:tailEnd/>
              </a:ln>
            </p:spPr>
          </p:pic>
        </p:grpSp>
      </p:grpSp>
      <p:pic>
        <p:nvPicPr>
          <p:cNvPr id="40" name="Picture 2"/>
          <p:cNvPicPr>
            <a:picLocks noChangeAspect="1" noChangeArrowheads="1"/>
          </p:cNvPicPr>
          <p:nvPr/>
        </p:nvPicPr>
        <p:blipFill>
          <a:blip r:embed="rId9" cstate="print">
            <a:alphaModFix/>
            <a:extLst>
              <a:ext uri="{BEBA8EAE-BF5A-486C-A8C5-ECC9F3942E4B}">
                <a14:imgProps xmlns:a14="http://schemas.microsoft.com/office/drawing/2010/main">
                  <a14:imgLayer r:embed="rId10">
                    <a14:imgEffect>
                      <a14:brightnessContrast bright="100000"/>
                    </a14:imgEffect>
                  </a14:imgLayer>
                </a14:imgProps>
              </a:ext>
            </a:extLst>
          </a:blip>
          <a:srcRect/>
          <a:stretch>
            <a:fillRect/>
          </a:stretch>
        </p:blipFill>
        <p:spPr bwMode="auto">
          <a:xfrm>
            <a:off x="389554" y="2479845"/>
            <a:ext cx="689768" cy="239561"/>
          </a:xfrm>
          <a:prstGeom prst="rect">
            <a:avLst/>
          </a:prstGeom>
          <a:noFill/>
          <a:ln w="9525">
            <a:noFill/>
            <a:miter lim="800000"/>
            <a:headEnd/>
            <a:tailEnd/>
          </a:ln>
          <a:effectLst/>
        </p:spPr>
      </p:pic>
      <p:pic>
        <p:nvPicPr>
          <p:cNvPr id="41" name="Citrix Logo"/>
          <p:cNvPicPr>
            <a:picLocks noChangeAspect="1"/>
          </p:cNvPicPr>
          <p:nvPr/>
        </p:nvPicPr>
        <p:blipFill>
          <a:blip r:embed="rId11" cstate="print">
            <a:alphaModFix/>
            <a:extLst>
              <a:ext uri="{BEBA8EAE-BF5A-486C-A8C5-ECC9F3942E4B}">
                <a14:imgProps xmlns:a14="http://schemas.microsoft.com/office/drawing/2010/main">
                  <a14:imgLayer r:embed="rId12">
                    <a14:imgEffect>
                      <a14:brightnessContrast bright="100000"/>
                    </a14:imgEffect>
                  </a14:imgLayer>
                </a14:imgProps>
              </a:ext>
            </a:extLst>
          </a:blip>
          <a:srcRect/>
          <a:stretch>
            <a:fillRect/>
          </a:stretch>
        </p:blipFill>
        <p:spPr bwMode="auto">
          <a:xfrm>
            <a:off x="2367342" y="2421281"/>
            <a:ext cx="885256" cy="341409"/>
          </a:xfrm>
          <a:prstGeom prst="rect">
            <a:avLst/>
          </a:prstGeom>
          <a:noFill/>
          <a:ln w="9525">
            <a:noFill/>
            <a:miter lim="800000"/>
            <a:headEnd/>
            <a:tailEnd/>
          </a:ln>
          <a:effectLst/>
        </p:spPr>
      </p:pic>
      <p:pic>
        <p:nvPicPr>
          <p:cNvPr id="42" name="vmware logo"/>
          <p:cNvPicPr>
            <a:picLocks noChangeAspect="1"/>
          </p:cNvPicPr>
          <p:nvPr/>
        </p:nvPicPr>
        <p:blipFill>
          <a:blip r:embed="rId13" cstate="print">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val="0"/>
              </a:ext>
            </a:extLst>
          </a:blip>
          <a:stretch>
            <a:fillRect/>
          </a:stretch>
        </p:blipFill>
        <p:spPr bwMode="auto">
          <a:xfrm>
            <a:off x="312641" y="2526923"/>
            <a:ext cx="843595" cy="138139"/>
          </a:xfrm>
          <a:prstGeom prst="rect">
            <a:avLst/>
          </a:prstGeom>
          <a:noFill/>
          <a:ln w="9525">
            <a:noFill/>
            <a:miter lim="800000"/>
            <a:headEnd/>
            <a:tailEnd/>
          </a:ln>
          <a:effectLst/>
        </p:spPr>
      </p:pic>
      <p:sp>
        <p:nvSpPr>
          <p:cNvPr id="43" name="TextBox 42"/>
          <p:cNvSpPr txBox="1"/>
          <p:nvPr/>
        </p:nvSpPr>
        <p:spPr>
          <a:xfrm>
            <a:off x="709136" y="3820579"/>
            <a:ext cx="1295028" cy="253916"/>
          </a:xfrm>
          <a:prstGeom prst="rect">
            <a:avLst/>
          </a:prstGeom>
          <a:noFill/>
        </p:spPr>
        <p:txBody>
          <a:bodyPr wrap="none" lIns="68586" tIns="34294" rIns="68586" bIns="34294" rtlCol="0">
            <a:spAutoFit/>
          </a:bodyPr>
          <a:lstStyle/>
          <a:p>
            <a:pPr fontAlgn="base">
              <a:spcBef>
                <a:spcPct val="0"/>
              </a:spcBef>
              <a:spcAft>
                <a:spcPct val="0"/>
              </a:spcAft>
            </a:pPr>
            <a:r>
              <a:rPr lang="en-US" sz="1200" b="1" dirty="0">
                <a:latin typeface="Segoe UI" pitchFamily="34" charset="0"/>
                <a:cs typeface="Segoe UI" pitchFamily="34" charset="0"/>
              </a:rPr>
              <a:t>Physical Servers</a:t>
            </a:r>
          </a:p>
        </p:txBody>
      </p:sp>
      <p:sp>
        <p:nvSpPr>
          <p:cNvPr id="44" name="TextBox 43"/>
          <p:cNvSpPr txBox="1"/>
          <p:nvPr/>
        </p:nvSpPr>
        <p:spPr>
          <a:xfrm>
            <a:off x="754270" y="1976293"/>
            <a:ext cx="1204760" cy="253916"/>
          </a:xfrm>
          <a:prstGeom prst="rect">
            <a:avLst/>
          </a:prstGeom>
          <a:noFill/>
        </p:spPr>
        <p:txBody>
          <a:bodyPr wrap="none" lIns="68586" tIns="34294" rIns="68586" bIns="34294" rtlCol="0">
            <a:spAutoFit/>
          </a:bodyPr>
          <a:lstStyle/>
          <a:p>
            <a:pPr fontAlgn="base">
              <a:spcBef>
                <a:spcPct val="0"/>
              </a:spcBef>
              <a:spcAft>
                <a:spcPct val="0"/>
              </a:spcAft>
            </a:pPr>
            <a:r>
              <a:rPr lang="en-US" sz="1200" b="1" dirty="0">
                <a:latin typeface="Segoe UI" pitchFamily="34" charset="0"/>
                <a:cs typeface="Segoe UI" pitchFamily="34" charset="0"/>
              </a:rPr>
              <a:t>Virtual Servers</a:t>
            </a:r>
          </a:p>
        </p:txBody>
      </p:sp>
      <p:pic>
        <p:nvPicPr>
          <p:cNvPr id="45" name="Picture 44"/>
          <p:cNvPicPr>
            <a:picLocks noChangeAspect="1"/>
          </p:cNvPicPr>
          <p:nvPr/>
        </p:nvPicPr>
        <p:blipFill>
          <a:blip r:embed="rId15" cstate="print">
            <a:extLst>
              <a:ext uri="{BEBA8EAE-BF5A-486C-A8C5-ECC9F3942E4B}">
                <a14:imgProps xmlns:a14="http://schemas.microsoft.com/office/drawing/2010/main">
                  <a14:imgLayer r:embed="rId1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45107" y="881681"/>
            <a:ext cx="1223091" cy="1361655"/>
          </a:xfrm>
          <a:prstGeom prst="rect">
            <a:avLst/>
          </a:prstGeom>
        </p:spPr>
      </p:pic>
      <p:pic>
        <p:nvPicPr>
          <p:cNvPr id="47" name="Picture 2"/>
          <p:cNvPicPr>
            <a:picLocks noChangeAspect="1" noChangeArrowheads="1"/>
          </p:cNvPicPr>
          <p:nvPr/>
        </p:nvPicPr>
        <p:blipFill>
          <a:blip r:embed="rId17" cstate="print">
            <a:extLst>
              <a:ext uri="{BEBA8EAE-BF5A-486C-A8C5-ECC9F3942E4B}">
                <a14:imgProps xmlns:a14="http://schemas.microsoft.com/office/drawing/2010/main">
                  <a14:imgLayer r:embed="rId18">
                    <a14:imgEffect>
                      <a14:brightnessContrast bright="100000"/>
                    </a14:imgEffect>
                  </a14:imgLayer>
                </a14:imgProps>
              </a:ext>
              <a:ext uri="{28A0092B-C50C-407E-A947-70E740481C1C}">
                <a14:useLocalDpi xmlns:a14="http://schemas.microsoft.com/office/drawing/2010/main" val="0"/>
              </a:ext>
            </a:extLst>
          </a:blip>
          <a:stretch>
            <a:fillRect/>
          </a:stretch>
        </p:blipFill>
        <p:spPr bwMode="auto">
          <a:xfrm>
            <a:off x="6341280" y="3278463"/>
            <a:ext cx="1457718" cy="318131"/>
          </a:xfrm>
          <a:prstGeom prst="rect">
            <a:avLst/>
          </a:prstGeom>
          <a:noFill/>
        </p:spPr>
      </p:pic>
      <p:sp>
        <p:nvSpPr>
          <p:cNvPr id="48" name="TextBox 47"/>
          <p:cNvSpPr txBox="1"/>
          <p:nvPr/>
        </p:nvSpPr>
        <p:spPr>
          <a:xfrm>
            <a:off x="4268344" y="1727405"/>
            <a:ext cx="1750497" cy="415497"/>
          </a:xfrm>
          <a:prstGeom prst="rect">
            <a:avLst/>
          </a:prstGeom>
          <a:noFill/>
        </p:spPr>
        <p:txBody>
          <a:bodyPr wrap="none" lIns="68586" tIns="34294" rIns="68586" bIns="34294" rtlCol="0">
            <a:spAutoFit/>
          </a:bodyPr>
          <a:lstStyle/>
          <a:p>
            <a:pPr fontAlgn="base">
              <a:spcBef>
                <a:spcPct val="0"/>
              </a:spcBef>
              <a:spcAft>
                <a:spcPct val="0"/>
              </a:spcAft>
            </a:pPr>
            <a:r>
              <a:rPr lang="en-US" sz="1100" dirty="0">
                <a:solidFill>
                  <a:schemeClr val="bg2"/>
                </a:solidFill>
                <a:latin typeface="Segoe UI" pitchFamily="34" charset="0"/>
                <a:cs typeface="Segoe UI" pitchFamily="34" charset="0"/>
              </a:rPr>
              <a:t>Microsoft System Center</a:t>
            </a:r>
            <a:br>
              <a:rPr lang="en-US" sz="1100" dirty="0">
                <a:solidFill>
                  <a:schemeClr val="bg2"/>
                </a:solidFill>
                <a:latin typeface="Segoe UI" pitchFamily="34" charset="0"/>
                <a:cs typeface="Segoe UI" pitchFamily="34" charset="0"/>
              </a:rPr>
            </a:br>
            <a:r>
              <a:rPr lang="en-US" sz="1100" dirty="0">
                <a:solidFill>
                  <a:schemeClr val="bg2"/>
                </a:solidFill>
                <a:latin typeface="Segoe UI" pitchFamily="34" charset="0"/>
                <a:cs typeface="Segoe UI" pitchFamily="34" charset="0"/>
              </a:rPr>
              <a:t>Virtual Machine Manager</a:t>
            </a:r>
          </a:p>
        </p:txBody>
      </p:sp>
      <p:sp>
        <p:nvSpPr>
          <p:cNvPr id="49" name="TextBox 48"/>
          <p:cNvSpPr txBox="1"/>
          <p:nvPr/>
        </p:nvSpPr>
        <p:spPr>
          <a:xfrm>
            <a:off x="4268344" y="3071879"/>
            <a:ext cx="1695611" cy="415497"/>
          </a:xfrm>
          <a:prstGeom prst="rect">
            <a:avLst/>
          </a:prstGeom>
          <a:noFill/>
        </p:spPr>
        <p:txBody>
          <a:bodyPr wrap="none" lIns="68586" tIns="34294" rIns="68586" bIns="34294" rtlCol="0">
            <a:spAutoFit/>
          </a:bodyPr>
          <a:lstStyle/>
          <a:p>
            <a:pPr fontAlgn="base">
              <a:spcBef>
                <a:spcPct val="0"/>
              </a:spcBef>
              <a:spcAft>
                <a:spcPct val="0"/>
              </a:spcAft>
            </a:pPr>
            <a:r>
              <a:rPr lang="en-US" sz="1100" dirty="0">
                <a:solidFill>
                  <a:schemeClr val="bg2"/>
                </a:solidFill>
                <a:latin typeface="Segoe UI" pitchFamily="34" charset="0"/>
                <a:cs typeface="Segoe UI" pitchFamily="34" charset="0"/>
              </a:rPr>
              <a:t>Microsoft System Center</a:t>
            </a:r>
            <a:br>
              <a:rPr lang="en-US" sz="1100" dirty="0">
                <a:solidFill>
                  <a:schemeClr val="bg2"/>
                </a:solidFill>
                <a:latin typeface="Segoe UI" pitchFamily="34" charset="0"/>
                <a:cs typeface="Segoe UI" pitchFamily="34" charset="0"/>
              </a:rPr>
            </a:br>
            <a:r>
              <a:rPr lang="en-US" sz="1100" dirty="0">
                <a:solidFill>
                  <a:schemeClr val="bg2"/>
                </a:solidFill>
                <a:latin typeface="Segoe UI" pitchFamily="34" charset="0"/>
                <a:cs typeface="Segoe UI" pitchFamily="34" charset="0"/>
              </a:rPr>
              <a:t>Configuration Manager</a:t>
            </a:r>
          </a:p>
        </p:txBody>
      </p:sp>
      <p:grpSp>
        <p:nvGrpSpPr>
          <p:cNvPr id="2" name="Group 1"/>
          <p:cNvGrpSpPr/>
          <p:nvPr/>
        </p:nvGrpSpPr>
        <p:grpSpPr>
          <a:xfrm>
            <a:off x="7938615" y="1605713"/>
            <a:ext cx="853025" cy="1659891"/>
            <a:chOff x="10582063" y="2140949"/>
            <a:chExt cx="1137071" cy="2213188"/>
          </a:xfrm>
        </p:grpSpPr>
        <p:grpSp>
          <p:nvGrpSpPr>
            <p:cNvPr id="50" name="Group 6"/>
            <p:cNvGrpSpPr>
              <a:grpSpLocks/>
            </p:cNvGrpSpPr>
            <p:nvPr/>
          </p:nvGrpSpPr>
          <p:grpSpPr bwMode="auto">
            <a:xfrm>
              <a:off x="10582063" y="2140949"/>
              <a:ext cx="1016073" cy="2213188"/>
              <a:chOff x="6677" y="1051"/>
              <a:chExt cx="1237" cy="2689"/>
            </a:xfrm>
          </p:grpSpPr>
          <p:pic>
            <p:nvPicPr>
              <p:cNvPr id="51" name="Picture 5"/>
              <p:cNvPicPr>
                <a:picLocks noChangeAspect="1" noChangeArrowheads="1"/>
              </p:cNvPicPr>
              <p:nvPr/>
            </p:nvPicPr>
            <p:blipFill>
              <a:blip r:embed="rId19">
                <a:extLst>
                  <a:ext uri="{28A0092B-C50C-407E-A947-70E740481C1C}">
                    <a14:useLocalDpi xmlns:a14="http://schemas.microsoft.com/office/drawing/2010/main" val="0"/>
                  </a:ext>
                </a:extLst>
              </a:blip>
              <a:stretch>
                <a:fillRect/>
              </a:stretch>
            </p:blipFill>
            <p:spPr bwMode="auto">
              <a:xfrm>
                <a:off x="6677" y="1051"/>
                <a:ext cx="785" cy="2689"/>
              </a:xfrm>
              <a:prstGeom prst="rect">
                <a:avLst/>
              </a:prstGeom>
              <a:noFill/>
              <a:ln>
                <a:noFill/>
              </a:ln>
            </p:spPr>
          </p:pic>
          <p:sp>
            <p:nvSpPr>
              <p:cNvPr id="52" name="Oval 8"/>
              <p:cNvSpPr>
                <a:spLocks noChangeArrowheads="1"/>
              </p:cNvSpPr>
              <p:nvPr/>
            </p:nvSpPr>
            <p:spPr bwMode="auto">
              <a:xfrm>
                <a:off x="7122" y="2305"/>
                <a:ext cx="792" cy="792"/>
              </a:xfrm>
              <a:prstGeom prst="ellipse">
                <a:avLst/>
              </a:prstGeom>
              <a:solidFill>
                <a:schemeClr val="accent2">
                  <a:lumMod val="75000"/>
                  <a:alpha val="90000"/>
                </a:schemeClr>
              </a:solidFill>
              <a:ln w="9525">
                <a:noFill/>
                <a:round/>
                <a:headEnd/>
                <a:tailEnd/>
              </a:ln>
            </p:spPr>
            <p:txBody>
              <a:bodyPr lIns="0" rIns="0" anchor="ctr"/>
              <a:lstStyle/>
              <a:p>
                <a:pPr algn="ctr"/>
                <a:r>
                  <a:rPr lang="en-US" sz="800" dirty="0"/>
                  <a:t>DC</a:t>
                </a:r>
                <a:br>
                  <a:rPr lang="en-US" sz="800" dirty="0"/>
                </a:br>
                <a:r>
                  <a:rPr lang="en-US" sz="800" dirty="0"/>
                  <a:t>Admin</a:t>
                </a:r>
              </a:p>
            </p:txBody>
          </p:sp>
        </p:grpSp>
        <p:pic>
          <p:nvPicPr>
            <p:cNvPr id="53" name="Picture 5"/>
            <p:cNvPicPr>
              <a:picLocks noChangeAspect="1" noChangeArrowheads="1"/>
            </p:cNvPicPr>
            <p:nvPr/>
          </p:nvPicPr>
          <p:blipFill>
            <a:blip r:embed="rId20" cstate="print">
              <a:extLst>
                <a:ext uri="{28A0092B-C50C-407E-A947-70E740481C1C}">
                  <a14:useLocalDpi xmlns:a14="http://schemas.microsoft.com/office/drawing/2010/main" val="0"/>
                </a:ext>
              </a:extLst>
            </a:blip>
            <a:stretch>
              <a:fillRect/>
            </a:stretch>
          </p:blipFill>
          <p:spPr bwMode="auto">
            <a:xfrm>
              <a:off x="10904463" y="2499513"/>
              <a:ext cx="814671" cy="566390"/>
            </a:xfrm>
            <a:prstGeom prst="rect">
              <a:avLst/>
            </a:prstGeom>
            <a:noFill/>
            <a:ln w="9525">
              <a:noFill/>
              <a:miter lim="800000"/>
              <a:headEnd/>
              <a:tailEnd/>
            </a:ln>
            <a:effectLst/>
          </p:spPr>
        </p:pic>
      </p:grpSp>
      <p:sp>
        <p:nvSpPr>
          <p:cNvPr id="28"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9"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1"/>
              </a:rPr>
              <a:t>www.rapidbbs.cn</a:t>
            </a:r>
            <a:endParaRPr lang="zh-CN" altLang="en-US" sz="1200" b="0">
              <a:latin typeface="Arial" charset="0"/>
              <a:ea typeface="ＭＳ Ｐゴシック" pitchFamily="34" charset="-128"/>
            </a:endParaRPr>
          </a:p>
        </p:txBody>
      </p:sp>
      <p:pic>
        <p:nvPicPr>
          <p:cNvPr id="30" name="Picture 2">
            <a:hlinkClick r:id="rId21"/>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770048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500"/>
                                        <p:tgtEl>
                                          <p:spTgt spid="47"/>
                                        </p:tgtEl>
                                      </p:cBhvr>
                                    </p:animEffect>
                                  </p:childTnLst>
                                </p:cTn>
                              </p:par>
                              <p:par>
                                <p:cTn id="8" presetID="10" presetClass="entr" presetSubtype="0" fill="hold" nodeType="withEffect">
                                  <p:stCondLst>
                                    <p:cond delay="0"/>
                                  </p:stCondLst>
                                  <p:childTnLst>
                                    <p:set>
                                      <p:cBhvr>
                                        <p:cTn id="9" dur="1" fill="hold">
                                          <p:stCondLst>
                                            <p:cond delay="0"/>
                                          </p:stCondLst>
                                        </p:cTn>
                                        <p:tgtEl>
                                          <p:spTgt spid="34"/>
                                        </p:tgtEl>
                                        <p:attrNameLst>
                                          <p:attrName>style.visibility</p:attrName>
                                        </p:attrNameLst>
                                      </p:cBhvr>
                                      <p:to>
                                        <p:strVal val="visible"/>
                                      </p:to>
                                    </p:set>
                                    <p:animEffect transition="in" filter="fade">
                                      <p:cBhvr>
                                        <p:cTn id="10" dur="500"/>
                                        <p:tgtEl>
                                          <p:spTgt spid="34"/>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2" fill="hold" nodeType="clickEffect">
                                  <p:stCondLst>
                                    <p:cond delay="0"/>
                                  </p:stCondLst>
                                  <p:childTnLst>
                                    <p:set>
                                      <p:cBhvr>
                                        <p:cTn id="14" dur="1" fill="hold">
                                          <p:stCondLst>
                                            <p:cond delay="0"/>
                                          </p:stCondLst>
                                        </p:cTn>
                                        <p:tgtEl>
                                          <p:spTgt spid="22"/>
                                        </p:tgtEl>
                                        <p:attrNameLst>
                                          <p:attrName>style.visibility</p:attrName>
                                        </p:attrNameLst>
                                      </p:cBhvr>
                                      <p:to>
                                        <p:strVal val="visible"/>
                                      </p:to>
                                    </p:set>
                                    <p:animEffect transition="in" filter="wipe(right)">
                                      <p:cBhvr>
                                        <p:cTn id="15" dur="500"/>
                                        <p:tgtEl>
                                          <p:spTgt spid="22"/>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33"/>
                                        </p:tgtEl>
                                        <p:attrNameLst>
                                          <p:attrName>style.visibility</p:attrName>
                                        </p:attrNameLst>
                                      </p:cBhvr>
                                      <p:to>
                                        <p:strVal val="visible"/>
                                      </p:to>
                                    </p:set>
                                    <p:animEffect transition="in" filter="fade">
                                      <p:cBhvr>
                                        <p:cTn id="20" dur="500"/>
                                        <p:tgtEl>
                                          <p:spTgt spid="3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49"/>
                                        </p:tgtEl>
                                        <p:attrNameLst>
                                          <p:attrName>style.visibility</p:attrName>
                                        </p:attrNameLst>
                                      </p:cBhvr>
                                      <p:to>
                                        <p:strVal val="visible"/>
                                      </p:to>
                                    </p:set>
                                    <p:animEffect transition="in" filter="fade">
                                      <p:cBhvr>
                                        <p:cTn id="23" dur="500"/>
                                        <p:tgtEl>
                                          <p:spTgt spid="4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43"/>
                                        </p:tgtEl>
                                        <p:attrNameLst>
                                          <p:attrName>style.visibility</p:attrName>
                                        </p:attrNameLst>
                                      </p:cBhvr>
                                      <p:to>
                                        <p:strVal val="visible"/>
                                      </p:to>
                                    </p:set>
                                    <p:animEffect transition="in" filter="fade">
                                      <p:cBhvr>
                                        <p:cTn id="26" dur="500"/>
                                        <p:tgtEl>
                                          <p:spTgt spid="43"/>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45"/>
                                        </p:tgtEl>
                                        <p:attrNameLst>
                                          <p:attrName>style.visibility</p:attrName>
                                        </p:attrNameLst>
                                      </p:cBhvr>
                                      <p:to>
                                        <p:strVal val="visible"/>
                                      </p:to>
                                    </p:set>
                                    <p:animEffect transition="in" filter="fade">
                                      <p:cBhvr>
                                        <p:cTn id="31" dur="500"/>
                                        <p:tgtEl>
                                          <p:spTgt spid="45"/>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8"/>
                                        </p:tgtEl>
                                        <p:attrNameLst>
                                          <p:attrName>style.visibility</p:attrName>
                                        </p:attrNameLst>
                                      </p:cBhvr>
                                      <p:to>
                                        <p:strVal val="visible"/>
                                      </p:to>
                                    </p:set>
                                    <p:animEffect transition="in" filter="fade">
                                      <p:cBhvr>
                                        <p:cTn id="34" dur="500"/>
                                        <p:tgtEl>
                                          <p:spTgt spid="48"/>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44"/>
                                        </p:tgtEl>
                                        <p:attrNameLst>
                                          <p:attrName>style.visibility</p:attrName>
                                        </p:attrNameLst>
                                      </p:cBhvr>
                                      <p:to>
                                        <p:strVal val="visible"/>
                                      </p:to>
                                    </p:set>
                                    <p:animEffect transition="in" filter="fade">
                                      <p:cBhvr>
                                        <p:cTn id="37" dur="500"/>
                                        <p:tgtEl>
                                          <p:spTgt spid="44"/>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42"/>
                                        </p:tgtEl>
                                        <p:attrNameLst>
                                          <p:attrName>style.visibility</p:attrName>
                                        </p:attrNameLst>
                                      </p:cBhvr>
                                      <p:to>
                                        <p:strVal val="visible"/>
                                      </p:to>
                                    </p:set>
                                    <p:animEffect transition="in" filter="fade">
                                      <p:cBhvr>
                                        <p:cTn id="42" dur="500"/>
                                        <p:tgtEl>
                                          <p:spTgt spid="42"/>
                                        </p:tgtEl>
                                      </p:cBhvr>
                                    </p:animEffect>
                                  </p:childTnLst>
                                </p:cTn>
                              </p:par>
                            </p:childTnLst>
                          </p:cTn>
                        </p:par>
                      </p:childTnLst>
                    </p:cTn>
                  </p:par>
                  <p:par>
                    <p:cTn id="43" fill="hold">
                      <p:stCondLst>
                        <p:cond delay="indefinite"/>
                      </p:stCondLst>
                      <p:childTnLst>
                        <p:par>
                          <p:cTn id="44" fill="hold">
                            <p:stCondLst>
                              <p:cond delay="0"/>
                            </p:stCondLst>
                            <p:childTnLst>
                              <p:par>
                                <p:cTn id="45" presetID="42" presetClass="path" presetSubtype="0" accel="50000" decel="50000" fill="hold" nodeType="clickEffect">
                                  <p:stCondLst>
                                    <p:cond delay="0"/>
                                  </p:stCondLst>
                                  <p:childTnLst>
                                    <p:animMotion origin="layout" path="M 1.45833E-6 3.17919E-6 L 0.11224 -0.00162 " pathEditMode="relative" rAng="0" ptsTypes="AA">
                                      <p:cBhvr>
                                        <p:cTn id="46" dur="2000" fill="hold"/>
                                        <p:tgtEl>
                                          <p:spTgt spid="42"/>
                                        </p:tgtEl>
                                        <p:attrNameLst>
                                          <p:attrName>ppt_x</p:attrName>
                                          <p:attrName>ppt_y</p:attrName>
                                        </p:attrNameLst>
                                      </p:cBhvr>
                                      <p:rCtr x="5612" y="-92"/>
                                    </p:animMotion>
                                  </p:childTnLst>
                                </p:cTn>
                              </p:par>
                            </p:childTnLst>
                          </p:cTn>
                        </p:par>
                        <p:par>
                          <p:cTn id="47" fill="hold">
                            <p:stCondLst>
                              <p:cond delay="2000"/>
                            </p:stCondLst>
                            <p:childTnLst>
                              <p:par>
                                <p:cTn id="48" presetID="10" presetClass="entr" presetSubtype="0" fill="hold" nodeType="afterEffect">
                                  <p:stCondLst>
                                    <p:cond delay="0"/>
                                  </p:stCondLst>
                                  <p:childTnLst>
                                    <p:set>
                                      <p:cBhvr>
                                        <p:cTn id="49" dur="1" fill="hold">
                                          <p:stCondLst>
                                            <p:cond delay="0"/>
                                          </p:stCondLst>
                                        </p:cTn>
                                        <p:tgtEl>
                                          <p:spTgt spid="40"/>
                                        </p:tgtEl>
                                        <p:attrNameLst>
                                          <p:attrName>style.visibility</p:attrName>
                                        </p:attrNameLst>
                                      </p:cBhvr>
                                      <p:to>
                                        <p:strVal val="visible"/>
                                      </p:to>
                                    </p:set>
                                    <p:animEffect transition="in" filter="fade">
                                      <p:cBhvr>
                                        <p:cTn id="50" dur="500"/>
                                        <p:tgtEl>
                                          <p:spTgt spid="40"/>
                                        </p:tgtEl>
                                      </p:cBhvr>
                                    </p:animEffect>
                                  </p:childTnLst>
                                </p:cTn>
                              </p:par>
                            </p:childTnLst>
                          </p:cTn>
                        </p:par>
                        <p:par>
                          <p:cTn id="51" fill="hold">
                            <p:stCondLst>
                              <p:cond delay="2500"/>
                            </p:stCondLst>
                            <p:childTnLst>
                              <p:par>
                                <p:cTn id="52" presetID="10" presetClass="entr" presetSubtype="0" fill="hold" nodeType="afterEffect">
                                  <p:stCondLst>
                                    <p:cond delay="0"/>
                                  </p:stCondLst>
                                  <p:childTnLst>
                                    <p:set>
                                      <p:cBhvr>
                                        <p:cTn id="53" dur="1" fill="hold">
                                          <p:stCondLst>
                                            <p:cond delay="0"/>
                                          </p:stCondLst>
                                        </p:cTn>
                                        <p:tgtEl>
                                          <p:spTgt spid="41"/>
                                        </p:tgtEl>
                                        <p:attrNameLst>
                                          <p:attrName>style.visibility</p:attrName>
                                        </p:attrNameLst>
                                      </p:cBhvr>
                                      <p:to>
                                        <p:strVal val="visible"/>
                                      </p:to>
                                    </p:set>
                                    <p:animEffect transition="in" filter="fade">
                                      <p:cBhvr>
                                        <p:cTn id="54"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p:bldP spid="44" grpId="0"/>
      <p:bldP spid="48" grpId="0"/>
      <p:bldP spid="49" grpId="0"/>
    </p:bldLst>
  </p:timing>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auto">
          <a:xfrm>
            <a:off x="5199623" y="2518002"/>
            <a:ext cx="1387440" cy="907595"/>
          </a:xfrm>
          <a:prstGeom prst="rect">
            <a:avLst/>
          </a:prstGeom>
          <a:noFill/>
          <a:ln w="9525">
            <a:noFill/>
            <a:miter lim="800000"/>
            <a:headEnd/>
            <a:tailEnd/>
          </a:ln>
        </p:spPr>
      </p:pic>
      <p:pic>
        <p:nvPicPr>
          <p:cNvPr id="6" name="Picture 8"/>
          <p:cNvPicPr>
            <a:picLocks noChangeAspect="1"/>
          </p:cNvPicPr>
          <p:nvPr/>
        </p:nvPicPr>
        <p:blipFill>
          <a:blip r:embed="rId4">
            <a:extLst>
              <a:ext uri="{BEBA8EAE-BF5A-486C-A8C5-ECC9F3942E4B}">
                <a14:imgProps xmlns:a14="http://schemas.microsoft.com/office/drawing/2010/main">
                  <a14:imgLayer r:embed="rId5">
                    <a14:imgEffect>
                      <a14:brightnessContrast contrast="100000"/>
                    </a14:imgEffect>
                  </a14:imgLayer>
                </a14:imgProps>
              </a:ext>
              <a:ext uri="{28A0092B-C50C-407E-A947-70E740481C1C}">
                <a14:useLocalDpi xmlns:a14="http://schemas.microsoft.com/office/drawing/2010/main" val="0"/>
              </a:ext>
            </a:extLst>
          </a:blip>
          <a:stretch>
            <a:fillRect/>
          </a:stretch>
        </p:blipFill>
        <p:spPr bwMode="auto">
          <a:xfrm>
            <a:off x="5201409" y="2514601"/>
            <a:ext cx="1386248" cy="907256"/>
          </a:xfrm>
          <a:prstGeom prst="rect">
            <a:avLst/>
          </a:prstGeom>
          <a:noFill/>
          <a:ln w="9525">
            <a:noFill/>
            <a:miter lim="800000"/>
            <a:headEnd/>
            <a:tailEnd/>
          </a:ln>
        </p:spPr>
      </p:pic>
      <p:pic>
        <p:nvPicPr>
          <p:cNvPr id="13318" name="Picture 21"/>
          <p:cNvPicPr>
            <a:picLocks noChangeAspect="1"/>
          </p:cNvPicPr>
          <p:nvPr/>
        </p:nvPicPr>
        <p:blipFill>
          <a:blip r:embed="rId6">
            <a:extLst>
              <a:ext uri="{28A0092B-C50C-407E-A947-70E740481C1C}">
                <a14:useLocalDpi xmlns:a14="http://schemas.microsoft.com/office/drawing/2010/main" val="0"/>
              </a:ext>
            </a:extLst>
          </a:blip>
          <a:stretch>
            <a:fillRect/>
          </a:stretch>
        </p:blipFill>
        <p:spPr bwMode="auto">
          <a:xfrm>
            <a:off x="4232678" y="4286249"/>
            <a:ext cx="968555" cy="600075"/>
          </a:xfrm>
          <a:prstGeom prst="rect">
            <a:avLst/>
          </a:prstGeom>
          <a:noFill/>
          <a:ln w="9525">
            <a:noFill/>
            <a:miter lim="800000"/>
            <a:headEnd/>
            <a:tailEnd/>
          </a:ln>
        </p:spPr>
      </p:pic>
      <p:pic>
        <p:nvPicPr>
          <p:cNvPr id="290831" name="Picture 20"/>
          <p:cNvPicPr>
            <a:picLocks noChangeAspect="1"/>
          </p:cNvPicPr>
          <p:nvPr/>
        </p:nvPicPr>
        <p:blipFill>
          <a:blip r:embed="rId7">
            <a:extLst>
              <a:ext uri="{28A0092B-C50C-407E-A947-70E740481C1C}">
                <a14:useLocalDpi xmlns:a14="http://schemas.microsoft.com/office/drawing/2010/main" val="0"/>
              </a:ext>
            </a:extLst>
          </a:blip>
          <a:stretch>
            <a:fillRect/>
          </a:stretch>
        </p:blipFill>
        <p:spPr bwMode="auto">
          <a:xfrm>
            <a:off x="2190674" y="4339607"/>
            <a:ext cx="965858" cy="603504"/>
          </a:xfrm>
          <a:prstGeom prst="rect">
            <a:avLst/>
          </a:prstGeom>
          <a:noFill/>
          <a:ln>
            <a:noFill/>
          </a:ln>
        </p:spPr>
      </p:pic>
      <p:pic>
        <p:nvPicPr>
          <p:cNvPr id="290857" name="Picture 20"/>
          <p:cNvPicPr>
            <a:picLocks noChangeAspect="1"/>
          </p:cNvPicPr>
          <p:nvPr/>
        </p:nvPicPr>
        <p:blipFill>
          <a:blip r:embed="rId8">
            <a:extLst>
              <a:ext uri="{28A0092B-C50C-407E-A947-70E740481C1C}">
                <a14:useLocalDpi xmlns:a14="http://schemas.microsoft.com/office/drawing/2010/main" val="0"/>
              </a:ext>
            </a:extLst>
          </a:blip>
          <a:stretch>
            <a:fillRect/>
          </a:stretch>
        </p:blipFill>
        <p:spPr bwMode="auto">
          <a:xfrm>
            <a:off x="6327439" y="4286249"/>
            <a:ext cx="974090" cy="603504"/>
          </a:xfrm>
          <a:prstGeom prst="rect">
            <a:avLst/>
          </a:prstGeom>
          <a:noFill/>
          <a:ln w="9525">
            <a:noFill/>
            <a:miter lim="800000"/>
            <a:headEnd/>
            <a:tailEnd/>
          </a:ln>
        </p:spPr>
      </p:pic>
      <p:pic>
        <p:nvPicPr>
          <p:cNvPr id="15362"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auto">
          <a:xfrm>
            <a:off x="969421" y="2518002"/>
            <a:ext cx="1387440" cy="907595"/>
          </a:xfrm>
          <a:prstGeom prst="rect">
            <a:avLst/>
          </a:prstGeom>
          <a:noFill/>
          <a:ln w="9525">
            <a:noFill/>
            <a:miter lim="800000"/>
            <a:headEnd/>
            <a:tailEnd/>
          </a:ln>
        </p:spPr>
      </p:pic>
      <p:pic>
        <p:nvPicPr>
          <p:cNvPr id="290839"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auto">
          <a:xfrm>
            <a:off x="969421" y="2975204"/>
            <a:ext cx="1387440" cy="907595"/>
          </a:xfrm>
          <a:prstGeom prst="rect">
            <a:avLst/>
          </a:prstGeom>
          <a:noFill/>
          <a:ln w="9525">
            <a:noFill/>
            <a:miter lim="800000"/>
            <a:headEnd/>
            <a:tailEnd/>
          </a:ln>
        </p:spPr>
      </p:pic>
      <p:pic>
        <p:nvPicPr>
          <p:cNvPr id="290822" name="Picture 8"/>
          <p:cNvPicPr>
            <a:picLocks noChangeAspect="1"/>
          </p:cNvPicPr>
          <p:nvPr/>
        </p:nvPicPr>
        <p:blipFill>
          <a:blip r:embed="rId4">
            <a:extLst>
              <a:ext uri="{BEBA8EAE-BF5A-486C-A8C5-ECC9F3942E4B}">
                <a14:imgProps xmlns:a14="http://schemas.microsoft.com/office/drawing/2010/main">
                  <a14:imgLayer r:embed="rId5">
                    <a14:imgEffect>
                      <a14:brightnessContrast contrast="100000"/>
                    </a14:imgEffect>
                  </a14:imgLayer>
                </a14:imgProps>
              </a:ext>
              <a:ext uri="{28A0092B-C50C-407E-A947-70E740481C1C}">
                <a14:useLocalDpi xmlns:a14="http://schemas.microsoft.com/office/drawing/2010/main" val="0"/>
              </a:ext>
            </a:extLst>
          </a:blip>
          <a:stretch>
            <a:fillRect/>
          </a:stretch>
        </p:blipFill>
        <p:spPr bwMode="auto">
          <a:xfrm>
            <a:off x="971208" y="2514601"/>
            <a:ext cx="1386248" cy="907256"/>
          </a:xfrm>
          <a:prstGeom prst="rect">
            <a:avLst/>
          </a:prstGeom>
          <a:noFill/>
          <a:ln w="9525">
            <a:noFill/>
            <a:miter lim="800000"/>
            <a:headEnd/>
            <a:tailEnd/>
          </a:ln>
        </p:spPr>
      </p:pic>
      <p:pic>
        <p:nvPicPr>
          <p:cNvPr id="290842" name="Picture 8"/>
          <p:cNvPicPr>
            <a:picLocks noChangeAspect="1"/>
          </p:cNvPicPr>
          <p:nvPr/>
        </p:nvPicPr>
        <p:blipFill>
          <a:blip r:embed="rId4">
            <a:extLst>
              <a:ext uri="{BEBA8EAE-BF5A-486C-A8C5-ECC9F3942E4B}">
                <a14:imgProps xmlns:a14="http://schemas.microsoft.com/office/drawing/2010/main">
                  <a14:imgLayer r:embed="rId5">
                    <a14:imgEffect>
                      <a14:brightnessContrast contrast="100000"/>
                    </a14:imgEffect>
                  </a14:imgLayer>
                </a14:imgProps>
              </a:ext>
              <a:ext uri="{28A0092B-C50C-407E-A947-70E740481C1C}">
                <a14:useLocalDpi xmlns:a14="http://schemas.microsoft.com/office/drawing/2010/main" val="0"/>
              </a:ext>
            </a:extLst>
          </a:blip>
          <a:stretch>
            <a:fillRect/>
          </a:stretch>
        </p:blipFill>
        <p:spPr bwMode="auto">
          <a:xfrm>
            <a:off x="971208" y="2971801"/>
            <a:ext cx="1386248" cy="907256"/>
          </a:xfrm>
          <a:prstGeom prst="rect">
            <a:avLst/>
          </a:prstGeom>
          <a:noFill/>
          <a:ln w="9525">
            <a:noFill/>
            <a:miter lim="800000"/>
            <a:headEnd/>
            <a:tailEnd/>
          </a:ln>
        </p:spPr>
      </p:pic>
      <p:sp>
        <p:nvSpPr>
          <p:cNvPr id="13315" name="Title 1"/>
          <p:cNvSpPr>
            <a:spLocks noGrp="1"/>
          </p:cNvSpPr>
          <p:nvPr>
            <p:ph type="title" idx="4294967295"/>
          </p:nvPr>
        </p:nvSpPr>
        <p:spPr>
          <a:xfrm>
            <a:off x="381100" y="171450"/>
            <a:ext cx="8363938" cy="457048"/>
          </a:xfrm>
        </p:spPr>
        <p:txBody>
          <a:bodyPr/>
          <a:lstStyle/>
          <a:p>
            <a:r>
              <a:rPr lang="en-US" dirty="0" smtClean="0"/>
              <a:t>Dynamically Optimized </a:t>
            </a:r>
            <a:r>
              <a:rPr lang="en-US" dirty="0"/>
              <a:t>Infrastructure</a:t>
            </a:r>
            <a:endParaRPr lang="en-US" dirty="0" smtClean="0"/>
          </a:p>
        </p:txBody>
      </p:sp>
      <p:pic>
        <p:nvPicPr>
          <p:cNvPr id="13316" name="Picture 4"/>
          <p:cNvPicPr>
            <a:picLocks noChangeAspect="1"/>
          </p:cNvPicPr>
          <p:nvPr/>
        </p:nvPicPr>
        <p:blipFill>
          <a:blip r:embed="rId9">
            <a:extLst>
              <a:ext uri="{28A0092B-C50C-407E-A947-70E740481C1C}">
                <a14:useLocalDpi xmlns:a14="http://schemas.microsoft.com/office/drawing/2010/main" val="0"/>
              </a:ext>
            </a:extLst>
          </a:blip>
          <a:stretch>
            <a:fillRect/>
          </a:stretch>
        </p:blipFill>
        <p:spPr bwMode="auto">
          <a:xfrm>
            <a:off x="950784" y="3774283"/>
            <a:ext cx="1385412" cy="964406"/>
          </a:xfrm>
          <a:prstGeom prst="rect">
            <a:avLst/>
          </a:prstGeom>
          <a:noFill/>
          <a:ln w="9525">
            <a:noFill/>
            <a:miter lim="800000"/>
            <a:headEnd/>
            <a:tailEnd/>
          </a:ln>
        </p:spPr>
      </p:pic>
      <p:pic>
        <p:nvPicPr>
          <p:cNvPr id="290841" name="Picture 21"/>
          <p:cNvPicPr>
            <a:picLocks noChangeAspect="1"/>
          </p:cNvPicPr>
          <p:nvPr/>
        </p:nvPicPr>
        <p:blipFill>
          <a:blip r:embed="rId10">
            <a:extLst>
              <a:ext uri="{28A0092B-C50C-407E-A947-70E740481C1C}">
                <a14:useLocalDpi xmlns:a14="http://schemas.microsoft.com/office/drawing/2010/main" val="0"/>
              </a:ext>
            </a:extLst>
          </a:blip>
          <a:stretch>
            <a:fillRect/>
          </a:stretch>
        </p:blipFill>
        <p:spPr bwMode="auto">
          <a:xfrm>
            <a:off x="2190624" y="4342819"/>
            <a:ext cx="974089" cy="603504"/>
          </a:xfrm>
          <a:prstGeom prst="rect">
            <a:avLst/>
          </a:prstGeom>
          <a:noFill/>
          <a:ln w="9525">
            <a:noFill/>
            <a:miter lim="800000"/>
            <a:headEnd/>
            <a:tailEnd/>
          </a:ln>
        </p:spPr>
      </p:pic>
      <p:sp>
        <p:nvSpPr>
          <p:cNvPr id="13321" name="Rounded Rectangle 5"/>
          <p:cNvSpPr>
            <a:spLocks noChangeArrowheads="1"/>
          </p:cNvSpPr>
          <p:nvPr/>
        </p:nvSpPr>
        <p:spPr bwMode="auto">
          <a:xfrm>
            <a:off x="401347" y="1184232"/>
            <a:ext cx="3179923" cy="530268"/>
          </a:xfrm>
          <a:prstGeom prst="roundRect">
            <a:avLst>
              <a:gd name="adj" fmla="val 0"/>
            </a:avLst>
          </a:prstGeom>
          <a:solidFill>
            <a:schemeClr val="accent1"/>
          </a:solidFill>
          <a:ln w="9525" algn="ctr">
            <a:noFill/>
            <a:round/>
            <a:headEnd/>
            <a:tailEnd/>
          </a:ln>
          <a:effectLst/>
        </p:spPr>
        <p:txBody>
          <a:bodyPr lIns="68586" tIns="34294" rIns="68586" bIns="34294" anchor="ctr"/>
          <a:lstStyle/>
          <a:p>
            <a:pPr fontAlgn="base">
              <a:spcBef>
                <a:spcPct val="0"/>
              </a:spcBef>
              <a:spcAft>
                <a:spcPct val="0"/>
              </a:spcAft>
            </a:pPr>
            <a:r>
              <a:rPr lang="en-US" dirty="0" smtClean="0">
                <a:solidFill>
                  <a:srgbClr val="FFFFFF"/>
                </a:solidFill>
                <a:cs typeface="Segoe UI" pitchFamily="34" charset="0"/>
              </a:rPr>
              <a:t> VIRTUAL MACHINE MANAGER</a:t>
            </a:r>
            <a:endParaRPr lang="en-US" dirty="0">
              <a:solidFill>
                <a:srgbClr val="FFFFFF"/>
              </a:solidFill>
              <a:cs typeface="Segoe UI" pitchFamily="34" charset="0"/>
            </a:endParaRPr>
          </a:p>
        </p:txBody>
      </p:sp>
      <p:sp>
        <p:nvSpPr>
          <p:cNvPr id="290844" name="AutoShape 28"/>
          <p:cNvSpPr>
            <a:spLocks noChangeArrowheads="1"/>
          </p:cNvSpPr>
          <p:nvPr/>
        </p:nvSpPr>
        <p:spPr bwMode="auto">
          <a:xfrm rot="5400000">
            <a:off x="1285124" y="1857308"/>
            <a:ext cx="800100" cy="514484"/>
          </a:xfrm>
          <a:prstGeom prst="rightArrow">
            <a:avLst>
              <a:gd name="adj1" fmla="val 49537"/>
              <a:gd name="adj2" fmla="val 61113"/>
            </a:avLst>
          </a:prstGeom>
          <a:gradFill rotWithShape="1">
            <a:gsLst>
              <a:gs pos="0">
                <a:srgbClr val="FFFFFF">
                  <a:alpha val="0"/>
                </a:srgbClr>
              </a:gs>
              <a:gs pos="100000">
                <a:srgbClr val="00B0F0"/>
              </a:gs>
            </a:gsLst>
            <a:lin ang="0" scaled="1"/>
          </a:gradFill>
          <a:ln w="9525">
            <a:noFill/>
            <a:miter lim="800000"/>
            <a:headEnd/>
            <a:tailEnd/>
          </a:ln>
        </p:spPr>
        <p:txBody>
          <a:bodyPr wrap="none" lIns="68586" tIns="34294" rIns="68586" bIns="34294" anchor="ctr"/>
          <a:lstStyle/>
          <a:p>
            <a:pPr>
              <a:defRPr/>
            </a:pPr>
            <a:endParaRPr lang="en-US" dirty="0">
              <a:solidFill>
                <a:prstClr val="black"/>
              </a:solidFill>
              <a:cs typeface="Segoe UI" pitchFamily="34" charset="0"/>
            </a:endParaRPr>
          </a:p>
        </p:txBody>
      </p:sp>
      <p:pic>
        <p:nvPicPr>
          <p:cNvPr id="13323" name="Picture 4"/>
          <p:cNvPicPr>
            <a:picLocks noChangeAspect="1"/>
          </p:cNvPicPr>
          <p:nvPr/>
        </p:nvPicPr>
        <p:blipFill>
          <a:blip r:embed="rId9">
            <a:extLst>
              <a:ext uri="{28A0092B-C50C-407E-A947-70E740481C1C}">
                <a14:useLocalDpi xmlns:a14="http://schemas.microsoft.com/office/drawing/2010/main" val="0"/>
              </a:ext>
            </a:extLst>
          </a:blip>
          <a:stretch>
            <a:fillRect/>
          </a:stretch>
        </p:blipFill>
        <p:spPr bwMode="auto">
          <a:xfrm>
            <a:off x="3028967" y="3771901"/>
            <a:ext cx="1385412" cy="964406"/>
          </a:xfrm>
          <a:prstGeom prst="rect">
            <a:avLst/>
          </a:prstGeom>
          <a:noFill/>
          <a:ln w="9525">
            <a:noFill/>
            <a:miter lim="800000"/>
            <a:headEnd/>
            <a:tailEnd/>
          </a:ln>
        </p:spPr>
      </p:pic>
      <p:pic>
        <p:nvPicPr>
          <p:cNvPr id="290850"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auto">
          <a:xfrm>
            <a:off x="3071423" y="3425650"/>
            <a:ext cx="1386249" cy="906815"/>
          </a:xfrm>
          <a:prstGeom prst="rect">
            <a:avLst/>
          </a:prstGeom>
          <a:noFill/>
          <a:ln w="9525">
            <a:noFill/>
            <a:miter lim="800000"/>
            <a:headEnd/>
            <a:tailEnd/>
          </a:ln>
        </p:spPr>
      </p:pic>
      <p:pic>
        <p:nvPicPr>
          <p:cNvPr id="290854" name="Picture 21"/>
          <p:cNvPicPr>
            <a:picLocks noChangeAspect="1"/>
          </p:cNvPicPr>
          <p:nvPr/>
        </p:nvPicPr>
        <p:blipFill>
          <a:blip r:embed="rId10">
            <a:extLst>
              <a:ext uri="{28A0092B-C50C-407E-A947-70E740481C1C}">
                <a14:useLocalDpi xmlns:a14="http://schemas.microsoft.com/office/drawing/2010/main" val="0"/>
              </a:ext>
            </a:extLst>
          </a:blip>
          <a:stretch>
            <a:fillRect/>
          </a:stretch>
        </p:blipFill>
        <p:spPr bwMode="auto">
          <a:xfrm>
            <a:off x="6324675" y="4286233"/>
            <a:ext cx="974089" cy="603504"/>
          </a:xfrm>
          <a:prstGeom prst="rect">
            <a:avLst/>
          </a:prstGeom>
          <a:noFill/>
          <a:ln w="9525">
            <a:noFill/>
            <a:miter lim="800000"/>
            <a:headEnd/>
            <a:tailEnd/>
          </a:ln>
        </p:spPr>
      </p:pic>
      <p:pic>
        <p:nvPicPr>
          <p:cNvPr id="13326" name="Picture 4"/>
          <p:cNvPicPr>
            <a:picLocks noChangeAspect="1"/>
          </p:cNvPicPr>
          <p:nvPr/>
        </p:nvPicPr>
        <p:blipFill>
          <a:blip r:embed="rId9">
            <a:extLst>
              <a:ext uri="{28A0092B-C50C-407E-A947-70E740481C1C}">
                <a14:useLocalDpi xmlns:a14="http://schemas.microsoft.com/office/drawing/2010/main" val="0"/>
              </a:ext>
            </a:extLst>
          </a:blip>
          <a:stretch>
            <a:fillRect/>
          </a:stretch>
        </p:blipFill>
        <p:spPr bwMode="auto">
          <a:xfrm>
            <a:off x="5201232" y="3771901"/>
            <a:ext cx="1385412" cy="964406"/>
          </a:xfrm>
          <a:prstGeom prst="rect">
            <a:avLst/>
          </a:prstGeom>
          <a:noFill/>
          <a:ln w="9525">
            <a:noFill/>
            <a:miter lim="800000"/>
            <a:headEnd/>
            <a:tailEnd/>
          </a:ln>
        </p:spPr>
      </p:pic>
      <p:pic>
        <p:nvPicPr>
          <p:cNvPr id="290856" name="Picture 18"/>
          <p:cNvPicPr>
            <a:picLocks noChangeAspect="1"/>
          </p:cNvPicPr>
          <p:nvPr/>
        </p:nvPicPr>
        <p:blipFill>
          <a:blip r:embed="rId11">
            <a:extLst>
              <a:ext uri="{28A0092B-C50C-407E-A947-70E740481C1C}">
                <a14:useLocalDpi xmlns:a14="http://schemas.microsoft.com/office/drawing/2010/main" val="0"/>
              </a:ext>
            </a:extLst>
          </a:blip>
          <a:stretch>
            <a:fillRect/>
          </a:stretch>
        </p:blipFill>
        <p:spPr bwMode="auto">
          <a:xfrm>
            <a:off x="6955931" y="4263408"/>
            <a:ext cx="360304" cy="328613"/>
          </a:xfrm>
          <a:prstGeom prst="rect">
            <a:avLst/>
          </a:prstGeom>
          <a:noFill/>
          <a:ln w="9525">
            <a:noFill/>
            <a:miter lim="800000"/>
            <a:headEnd/>
            <a:tailEnd/>
          </a:ln>
        </p:spPr>
      </p:pic>
      <p:pic>
        <p:nvPicPr>
          <p:cNvPr id="290859"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auto">
          <a:xfrm>
            <a:off x="5200815" y="3432794"/>
            <a:ext cx="1386249" cy="906815"/>
          </a:xfrm>
          <a:prstGeom prst="rect">
            <a:avLst/>
          </a:prstGeom>
          <a:noFill/>
          <a:ln w="9525">
            <a:noFill/>
            <a:miter lim="800000"/>
            <a:headEnd/>
            <a:tailEnd/>
          </a:ln>
        </p:spPr>
      </p:pic>
      <p:pic>
        <p:nvPicPr>
          <p:cNvPr id="290837"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auto">
          <a:xfrm>
            <a:off x="969421" y="3425260"/>
            <a:ext cx="1387440" cy="907595"/>
          </a:xfrm>
          <a:prstGeom prst="rect">
            <a:avLst/>
          </a:prstGeom>
          <a:noFill/>
          <a:ln w="9525">
            <a:noFill/>
            <a:miter lim="800000"/>
            <a:headEnd/>
            <a:tailEnd/>
          </a:ln>
        </p:spPr>
      </p:pic>
      <p:pic>
        <p:nvPicPr>
          <p:cNvPr id="2"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auto">
          <a:xfrm>
            <a:off x="5199623" y="2975204"/>
            <a:ext cx="1387440" cy="907595"/>
          </a:xfrm>
          <a:prstGeom prst="rect">
            <a:avLst/>
          </a:prstGeom>
          <a:noFill/>
          <a:ln w="9525">
            <a:noFill/>
            <a:miter lim="800000"/>
            <a:headEnd/>
            <a:tailEnd/>
          </a:ln>
        </p:spPr>
      </p:pic>
      <p:pic>
        <p:nvPicPr>
          <p:cNvPr id="3"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auto">
          <a:xfrm>
            <a:off x="3069042" y="2975204"/>
            <a:ext cx="1387439" cy="907594"/>
          </a:xfrm>
          <a:prstGeom prst="rect">
            <a:avLst/>
          </a:prstGeom>
          <a:noFill/>
          <a:ln w="9525">
            <a:noFill/>
            <a:miter lim="800000"/>
            <a:headEnd/>
            <a:tailEnd/>
          </a:ln>
        </p:spPr>
      </p:pic>
      <p:sp>
        <p:nvSpPr>
          <p:cNvPr id="5" name="AutoShape 28"/>
          <p:cNvSpPr>
            <a:spLocks noChangeArrowheads="1"/>
          </p:cNvSpPr>
          <p:nvPr/>
        </p:nvSpPr>
        <p:spPr bwMode="auto">
          <a:xfrm rot="1800000">
            <a:off x="2859437" y="2163366"/>
            <a:ext cx="2029353" cy="514350"/>
          </a:xfrm>
          <a:prstGeom prst="rightArrow">
            <a:avLst>
              <a:gd name="adj1" fmla="val 50473"/>
              <a:gd name="adj2" fmla="val 66928"/>
            </a:avLst>
          </a:prstGeom>
          <a:gradFill rotWithShape="1">
            <a:gsLst>
              <a:gs pos="0">
                <a:srgbClr val="FFFFFF">
                  <a:alpha val="0"/>
                </a:srgbClr>
              </a:gs>
              <a:gs pos="100000">
                <a:srgbClr val="00B0F0"/>
              </a:gs>
            </a:gsLst>
            <a:lin ang="0" scaled="1"/>
          </a:gradFill>
          <a:ln w="9525">
            <a:noFill/>
            <a:miter lim="800000"/>
            <a:headEnd/>
            <a:tailEnd/>
          </a:ln>
        </p:spPr>
        <p:txBody>
          <a:bodyPr vert="eaVert" wrap="none" lIns="68586" tIns="34294" rIns="68586" bIns="34294" anchor="ctr"/>
          <a:lstStyle/>
          <a:p>
            <a:pPr>
              <a:defRPr/>
            </a:pPr>
            <a:endParaRPr lang="en-US" dirty="0">
              <a:solidFill>
                <a:prstClr val="black"/>
              </a:solidFill>
              <a:cs typeface="Segoe UI" pitchFamily="34" charset="0"/>
            </a:endParaRPr>
          </a:p>
        </p:txBody>
      </p:sp>
      <p:sp>
        <p:nvSpPr>
          <p:cNvPr id="28" name="Line 21"/>
          <p:cNvSpPr>
            <a:spLocks noChangeShapeType="1"/>
          </p:cNvSpPr>
          <p:nvPr/>
        </p:nvSpPr>
        <p:spPr bwMode="auto">
          <a:xfrm flipH="1">
            <a:off x="4171846" y="2237185"/>
            <a:ext cx="3428702" cy="0"/>
          </a:xfrm>
          <a:prstGeom prst="line">
            <a:avLst/>
          </a:prstGeom>
          <a:noFill/>
          <a:ln w="12700">
            <a:solidFill>
              <a:schemeClr val="bg2">
                <a:lumMod val="60000"/>
                <a:lumOff val="40000"/>
                <a:alpha val="50000"/>
              </a:schemeClr>
            </a:solidFill>
            <a:round/>
            <a:headEnd/>
            <a:tailEnd/>
          </a:ln>
          <a:effectLst/>
        </p:spPr>
        <p:txBody>
          <a:bodyPr lIns="68586" tIns="34294" rIns="68586" bIns="34294"/>
          <a:lstStyle/>
          <a:p>
            <a:pPr fontAlgn="base">
              <a:spcBef>
                <a:spcPct val="0"/>
              </a:spcBef>
              <a:spcAft>
                <a:spcPct val="0"/>
              </a:spcAft>
            </a:pPr>
            <a:endParaRPr lang="en-US" dirty="0">
              <a:solidFill>
                <a:prstClr val="black"/>
              </a:solidFill>
              <a:latin typeface="Segoe UI" pitchFamily="34" charset="0"/>
              <a:cs typeface="Segoe UI" pitchFamily="34" charset="0"/>
            </a:endParaRPr>
          </a:p>
        </p:txBody>
      </p:sp>
      <p:sp>
        <p:nvSpPr>
          <p:cNvPr id="29" name="Line 22"/>
          <p:cNvSpPr>
            <a:spLocks noChangeShapeType="1"/>
          </p:cNvSpPr>
          <p:nvPr/>
        </p:nvSpPr>
        <p:spPr bwMode="auto">
          <a:xfrm flipH="1">
            <a:off x="4171846" y="2065735"/>
            <a:ext cx="3428702" cy="0"/>
          </a:xfrm>
          <a:prstGeom prst="line">
            <a:avLst/>
          </a:prstGeom>
          <a:noFill/>
          <a:ln w="12700">
            <a:solidFill>
              <a:srgbClr val="FFFFFF">
                <a:alpha val="50000"/>
              </a:srgbClr>
            </a:solidFill>
            <a:round/>
            <a:headEnd/>
            <a:tailEnd/>
          </a:ln>
          <a:effectLst/>
        </p:spPr>
        <p:txBody>
          <a:bodyPr lIns="68586" tIns="34294" rIns="68586" bIns="34294"/>
          <a:lstStyle/>
          <a:p>
            <a:pPr fontAlgn="base">
              <a:spcBef>
                <a:spcPct val="0"/>
              </a:spcBef>
              <a:spcAft>
                <a:spcPct val="0"/>
              </a:spcAft>
            </a:pPr>
            <a:endParaRPr lang="en-US" dirty="0">
              <a:solidFill>
                <a:prstClr val="black"/>
              </a:solidFill>
              <a:latin typeface="Segoe UI" pitchFamily="34" charset="0"/>
              <a:cs typeface="Segoe UI" pitchFamily="34" charset="0"/>
            </a:endParaRPr>
          </a:p>
        </p:txBody>
      </p:sp>
      <p:sp>
        <p:nvSpPr>
          <p:cNvPr id="30" name="Line 23"/>
          <p:cNvSpPr>
            <a:spLocks noChangeShapeType="1"/>
          </p:cNvSpPr>
          <p:nvPr/>
        </p:nvSpPr>
        <p:spPr bwMode="auto">
          <a:xfrm flipH="1">
            <a:off x="4171846" y="1894285"/>
            <a:ext cx="3428702" cy="0"/>
          </a:xfrm>
          <a:prstGeom prst="line">
            <a:avLst/>
          </a:prstGeom>
          <a:noFill/>
          <a:ln w="12700">
            <a:solidFill>
              <a:srgbClr val="FFFFFF">
                <a:alpha val="50000"/>
              </a:srgbClr>
            </a:solidFill>
            <a:round/>
            <a:headEnd/>
            <a:tailEnd/>
          </a:ln>
          <a:effectLst/>
        </p:spPr>
        <p:txBody>
          <a:bodyPr lIns="68586" tIns="34294" rIns="68586" bIns="34294"/>
          <a:lstStyle/>
          <a:p>
            <a:pPr fontAlgn="base">
              <a:spcBef>
                <a:spcPct val="0"/>
              </a:spcBef>
              <a:spcAft>
                <a:spcPct val="0"/>
              </a:spcAft>
            </a:pPr>
            <a:endParaRPr lang="en-US" dirty="0">
              <a:solidFill>
                <a:prstClr val="black"/>
              </a:solidFill>
              <a:latin typeface="Segoe UI" pitchFamily="34" charset="0"/>
              <a:cs typeface="Segoe UI" pitchFamily="34" charset="0"/>
            </a:endParaRPr>
          </a:p>
        </p:txBody>
      </p:sp>
      <p:sp>
        <p:nvSpPr>
          <p:cNvPr id="31" name="Line 24"/>
          <p:cNvSpPr>
            <a:spLocks noChangeShapeType="1"/>
          </p:cNvSpPr>
          <p:nvPr/>
        </p:nvSpPr>
        <p:spPr bwMode="auto">
          <a:xfrm flipH="1">
            <a:off x="4171846" y="1722835"/>
            <a:ext cx="3428702" cy="0"/>
          </a:xfrm>
          <a:prstGeom prst="line">
            <a:avLst/>
          </a:prstGeom>
          <a:noFill/>
          <a:ln w="12700">
            <a:solidFill>
              <a:srgbClr val="FFFFFF">
                <a:alpha val="50000"/>
              </a:srgbClr>
            </a:solidFill>
            <a:round/>
            <a:headEnd/>
            <a:tailEnd/>
          </a:ln>
          <a:effectLst/>
        </p:spPr>
        <p:txBody>
          <a:bodyPr lIns="68586" tIns="34294" rIns="68586" bIns="34294"/>
          <a:lstStyle/>
          <a:p>
            <a:pPr fontAlgn="base">
              <a:spcBef>
                <a:spcPct val="0"/>
              </a:spcBef>
              <a:spcAft>
                <a:spcPct val="0"/>
              </a:spcAft>
            </a:pPr>
            <a:endParaRPr lang="en-US" dirty="0">
              <a:solidFill>
                <a:prstClr val="black"/>
              </a:solidFill>
              <a:latin typeface="Segoe UI" pitchFamily="34" charset="0"/>
              <a:cs typeface="Segoe UI" pitchFamily="34" charset="0"/>
            </a:endParaRPr>
          </a:p>
        </p:txBody>
      </p:sp>
      <p:sp>
        <p:nvSpPr>
          <p:cNvPr id="32" name="Line 25"/>
          <p:cNvSpPr>
            <a:spLocks noChangeShapeType="1"/>
          </p:cNvSpPr>
          <p:nvPr/>
        </p:nvSpPr>
        <p:spPr bwMode="auto">
          <a:xfrm flipH="1">
            <a:off x="4171846" y="1551385"/>
            <a:ext cx="3428702" cy="0"/>
          </a:xfrm>
          <a:prstGeom prst="line">
            <a:avLst/>
          </a:prstGeom>
          <a:noFill/>
          <a:ln w="12700">
            <a:solidFill>
              <a:srgbClr val="FFFFFF">
                <a:alpha val="50000"/>
              </a:srgbClr>
            </a:solidFill>
            <a:round/>
            <a:headEnd/>
            <a:tailEnd/>
          </a:ln>
          <a:effectLst/>
        </p:spPr>
        <p:txBody>
          <a:bodyPr lIns="68586" tIns="34294" rIns="68586" bIns="34294"/>
          <a:lstStyle/>
          <a:p>
            <a:pPr fontAlgn="base">
              <a:spcBef>
                <a:spcPct val="0"/>
              </a:spcBef>
              <a:spcAft>
                <a:spcPct val="0"/>
              </a:spcAft>
            </a:pPr>
            <a:endParaRPr lang="en-US" dirty="0">
              <a:solidFill>
                <a:prstClr val="black"/>
              </a:solidFill>
              <a:latin typeface="Segoe UI" pitchFamily="34" charset="0"/>
              <a:cs typeface="Segoe UI" pitchFamily="34" charset="0"/>
            </a:endParaRPr>
          </a:p>
        </p:txBody>
      </p:sp>
      <p:sp>
        <p:nvSpPr>
          <p:cNvPr id="33" name="Line 26"/>
          <p:cNvSpPr>
            <a:spLocks noChangeShapeType="1"/>
          </p:cNvSpPr>
          <p:nvPr/>
        </p:nvSpPr>
        <p:spPr bwMode="auto">
          <a:xfrm flipH="1">
            <a:off x="4171846" y="1379935"/>
            <a:ext cx="3428702" cy="0"/>
          </a:xfrm>
          <a:prstGeom prst="line">
            <a:avLst/>
          </a:prstGeom>
          <a:noFill/>
          <a:ln w="12700">
            <a:solidFill>
              <a:srgbClr val="FFFFFF">
                <a:alpha val="50000"/>
              </a:srgbClr>
            </a:solidFill>
            <a:round/>
            <a:headEnd/>
            <a:tailEnd/>
          </a:ln>
          <a:effectLst/>
        </p:spPr>
        <p:txBody>
          <a:bodyPr lIns="68586" tIns="34294" rIns="68586" bIns="34294"/>
          <a:lstStyle/>
          <a:p>
            <a:pPr fontAlgn="base">
              <a:spcBef>
                <a:spcPct val="0"/>
              </a:spcBef>
              <a:spcAft>
                <a:spcPct val="0"/>
              </a:spcAft>
            </a:pPr>
            <a:endParaRPr lang="en-US" dirty="0">
              <a:solidFill>
                <a:prstClr val="black"/>
              </a:solidFill>
              <a:latin typeface="Segoe UI" pitchFamily="34" charset="0"/>
              <a:cs typeface="Segoe UI" pitchFamily="34" charset="0"/>
            </a:endParaRPr>
          </a:p>
        </p:txBody>
      </p:sp>
      <p:sp>
        <p:nvSpPr>
          <p:cNvPr id="34" name="Line 27"/>
          <p:cNvSpPr>
            <a:spLocks noChangeShapeType="1"/>
          </p:cNvSpPr>
          <p:nvPr/>
        </p:nvSpPr>
        <p:spPr bwMode="auto">
          <a:xfrm flipH="1">
            <a:off x="4171846" y="1208485"/>
            <a:ext cx="3428702" cy="0"/>
          </a:xfrm>
          <a:prstGeom prst="line">
            <a:avLst/>
          </a:prstGeom>
          <a:noFill/>
          <a:ln w="12700">
            <a:solidFill>
              <a:srgbClr val="FFFFFF">
                <a:alpha val="50000"/>
              </a:srgbClr>
            </a:solidFill>
            <a:round/>
            <a:headEnd/>
            <a:tailEnd/>
          </a:ln>
          <a:effectLst/>
        </p:spPr>
        <p:txBody>
          <a:bodyPr lIns="68586" tIns="34294" rIns="68586" bIns="34294"/>
          <a:lstStyle/>
          <a:p>
            <a:pPr fontAlgn="base">
              <a:spcBef>
                <a:spcPct val="0"/>
              </a:spcBef>
              <a:spcAft>
                <a:spcPct val="0"/>
              </a:spcAft>
            </a:pPr>
            <a:endParaRPr lang="en-US" dirty="0">
              <a:solidFill>
                <a:prstClr val="black"/>
              </a:solidFill>
              <a:latin typeface="Segoe UI" pitchFamily="34" charset="0"/>
              <a:cs typeface="Segoe UI" pitchFamily="34" charset="0"/>
            </a:endParaRPr>
          </a:p>
        </p:txBody>
      </p:sp>
      <p:sp>
        <p:nvSpPr>
          <p:cNvPr id="35" name="Line 28"/>
          <p:cNvSpPr>
            <a:spLocks noChangeShapeType="1"/>
          </p:cNvSpPr>
          <p:nvPr/>
        </p:nvSpPr>
        <p:spPr bwMode="auto">
          <a:xfrm flipH="1">
            <a:off x="4171846" y="1037035"/>
            <a:ext cx="3428702" cy="0"/>
          </a:xfrm>
          <a:prstGeom prst="line">
            <a:avLst/>
          </a:prstGeom>
          <a:noFill/>
          <a:ln w="12700">
            <a:solidFill>
              <a:srgbClr val="FFFFFF">
                <a:alpha val="50000"/>
              </a:srgbClr>
            </a:solidFill>
            <a:round/>
            <a:headEnd/>
            <a:tailEnd/>
          </a:ln>
          <a:effectLst/>
        </p:spPr>
        <p:txBody>
          <a:bodyPr lIns="68586" tIns="34294" rIns="68586" bIns="34294"/>
          <a:lstStyle/>
          <a:p>
            <a:pPr fontAlgn="base">
              <a:spcBef>
                <a:spcPct val="0"/>
              </a:spcBef>
              <a:spcAft>
                <a:spcPct val="0"/>
              </a:spcAft>
            </a:pPr>
            <a:endParaRPr lang="en-US" dirty="0">
              <a:solidFill>
                <a:prstClr val="black"/>
              </a:solidFill>
              <a:latin typeface="Segoe UI" pitchFamily="34" charset="0"/>
              <a:cs typeface="Segoe UI" pitchFamily="34" charset="0"/>
            </a:endParaRPr>
          </a:p>
        </p:txBody>
      </p:sp>
      <p:sp>
        <p:nvSpPr>
          <p:cNvPr id="36" name="Line 29"/>
          <p:cNvSpPr>
            <a:spLocks noChangeShapeType="1"/>
          </p:cNvSpPr>
          <p:nvPr/>
        </p:nvSpPr>
        <p:spPr bwMode="auto">
          <a:xfrm flipH="1">
            <a:off x="4173038" y="1314450"/>
            <a:ext cx="3428703" cy="0"/>
          </a:xfrm>
          <a:prstGeom prst="line">
            <a:avLst/>
          </a:prstGeom>
          <a:noFill/>
          <a:ln w="25400">
            <a:solidFill>
              <a:schemeClr val="accent5">
                <a:alpha val="50000"/>
              </a:schemeClr>
            </a:solidFill>
            <a:prstDash val="dash"/>
            <a:round/>
            <a:headEnd/>
            <a:tailEnd/>
          </a:ln>
          <a:effectLst/>
        </p:spPr>
        <p:txBody>
          <a:bodyPr lIns="68586" tIns="34294" rIns="68586" bIns="34294"/>
          <a:lstStyle/>
          <a:p>
            <a:pPr fontAlgn="base">
              <a:spcBef>
                <a:spcPct val="0"/>
              </a:spcBef>
              <a:spcAft>
                <a:spcPct val="0"/>
              </a:spcAft>
            </a:pPr>
            <a:endParaRPr lang="en-US" dirty="0">
              <a:solidFill>
                <a:prstClr val="black"/>
              </a:solidFill>
              <a:latin typeface="Segoe UI" pitchFamily="34" charset="0"/>
              <a:cs typeface="Segoe UI" pitchFamily="34" charset="0"/>
            </a:endParaRPr>
          </a:p>
        </p:txBody>
      </p:sp>
      <p:sp>
        <p:nvSpPr>
          <p:cNvPr id="37" name="Line 20"/>
          <p:cNvSpPr>
            <a:spLocks noChangeShapeType="1"/>
          </p:cNvSpPr>
          <p:nvPr/>
        </p:nvSpPr>
        <p:spPr bwMode="auto">
          <a:xfrm>
            <a:off x="4171846" y="914400"/>
            <a:ext cx="0" cy="1314450"/>
          </a:xfrm>
          <a:prstGeom prst="line">
            <a:avLst/>
          </a:prstGeom>
          <a:noFill/>
          <a:ln w="12700">
            <a:solidFill>
              <a:schemeClr val="bg2">
                <a:lumMod val="60000"/>
                <a:lumOff val="40000"/>
                <a:alpha val="50000"/>
              </a:schemeClr>
            </a:solidFill>
            <a:round/>
            <a:headEnd/>
            <a:tailEnd/>
          </a:ln>
          <a:effectLst/>
        </p:spPr>
        <p:txBody>
          <a:bodyPr lIns="68586" tIns="34294" rIns="68586" bIns="34294"/>
          <a:lstStyle/>
          <a:p>
            <a:pPr fontAlgn="base">
              <a:spcBef>
                <a:spcPct val="0"/>
              </a:spcBef>
              <a:spcAft>
                <a:spcPct val="0"/>
              </a:spcAft>
            </a:pPr>
            <a:endParaRPr lang="en-US" dirty="0">
              <a:solidFill>
                <a:prstClr val="black"/>
              </a:solidFill>
              <a:latin typeface="Segoe UI" pitchFamily="34" charset="0"/>
              <a:cs typeface="Segoe UI" pitchFamily="34" charset="0"/>
            </a:endParaRPr>
          </a:p>
        </p:txBody>
      </p:sp>
      <p:sp>
        <p:nvSpPr>
          <p:cNvPr id="40" name="Text Box 34"/>
          <p:cNvSpPr txBox="1">
            <a:spLocks noChangeArrowheads="1"/>
          </p:cNvSpPr>
          <p:nvPr/>
        </p:nvSpPr>
        <p:spPr bwMode="auto">
          <a:xfrm rot="-5400000">
            <a:off x="3253328" y="1452791"/>
            <a:ext cx="1494057" cy="242435"/>
          </a:xfrm>
          <a:prstGeom prst="rect">
            <a:avLst/>
          </a:prstGeom>
          <a:noFill/>
          <a:ln w="9525">
            <a:noFill/>
            <a:miter lim="800000"/>
            <a:headEnd/>
            <a:tailEnd/>
          </a:ln>
          <a:effectLst/>
        </p:spPr>
        <p:txBody>
          <a:bodyPr wrap="none" lIns="68586" tIns="34294" rIns="68586" bIns="34294">
            <a:spAutoFit/>
          </a:bodyPr>
          <a:lstStyle/>
          <a:p>
            <a:pPr algn="ctr" fontAlgn="base">
              <a:spcBef>
                <a:spcPct val="0"/>
              </a:spcBef>
              <a:spcAft>
                <a:spcPct val="0"/>
              </a:spcAft>
            </a:pPr>
            <a:r>
              <a:rPr lang="en-US" sz="1100" b="1" dirty="0">
                <a:solidFill>
                  <a:schemeClr val="bg2"/>
                </a:solidFill>
                <a:latin typeface="Segoe UI" pitchFamily="34" charset="0"/>
                <a:cs typeface="Segoe UI" pitchFamily="34" charset="0"/>
              </a:rPr>
              <a:t>Resource Utilization</a:t>
            </a:r>
          </a:p>
        </p:txBody>
      </p:sp>
      <p:sp>
        <p:nvSpPr>
          <p:cNvPr id="41" name="Text Box 35"/>
          <p:cNvSpPr txBox="1">
            <a:spLocks noChangeArrowheads="1"/>
          </p:cNvSpPr>
          <p:nvPr/>
        </p:nvSpPr>
        <p:spPr bwMode="auto">
          <a:xfrm rot="-21600000">
            <a:off x="5435823" y="2221966"/>
            <a:ext cx="899562" cy="242372"/>
          </a:xfrm>
          <a:prstGeom prst="rect">
            <a:avLst/>
          </a:prstGeom>
          <a:noFill/>
          <a:ln w="9525">
            <a:noFill/>
            <a:miter lim="800000"/>
            <a:headEnd/>
            <a:tailEnd/>
          </a:ln>
          <a:effectLst/>
        </p:spPr>
        <p:txBody>
          <a:bodyPr wrap="none" lIns="68586" tIns="34294" rIns="68586" bIns="34294">
            <a:spAutoFit/>
          </a:bodyPr>
          <a:lstStyle/>
          <a:p>
            <a:pPr algn="ctr" fontAlgn="base">
              <a:spcBef>
                <a:spcPct val="0"/>
              </a:spcBef>
              <a:spcAft>
                <a:spcPct val="0"/>
              </a:spcAft>
            </a:pPr>
            <a:r>
              <a:rPr lang="en-US" sz="1100" dirty="0">
                <a:latin typeface="Segoe UI" pitchFamily="34" charset="0"/>
                <a:cs typeface="Segoe UI" pitchFamily="34" charset="0"/>
              </a:rPr>
              <a:t>Time of Day</a:t>
            </a:r>
          </a:p>
        </p:txBody>
      </p:sp>
      <p:sp>
        <p:nvSpPr>
          <p:cNvPr id="43" name="TextBox 42"/>
          <p:cNvSpPr txBox="1"/>
          <p:nvPr/>
        </p:nvSpPr>
        <p:spPr>
          <a:xfrm>
            <a:off x="6936699" y="1060534"/>
            <a:ext cx="1849335" cy="253916"/>
          </a:xfrm>
          <a:prstGeom prst="rect">
            <a:avLst/>
          </a:prstGeom>
          <a:noFill/>
        </p:spPr>
        <p:txBody>
          <a:bodyPr wrap="none" lIns="68586" tIns="34294" rIns="68586" bIns="34294" rtlCol="0">
            <a:spAutoFit/>
          </a:bodyPr>
          <a:lstStyle/>
          <a:p>
            <a:pPr fontAlgn="base">
              <a:spcBef>
                <a:spcPct val="0"/>
              </a:spcBef>
              <a:spcAft>
                <a:spcPct val="0"/>
              </a:spcAft>
            </a:pPr>
            <a:r>
              <a:rPr lang="en-US" sz="1200" b="1" dirty="0">
                <a:latin typeface="Segoe UI" pitchFamily="34" charset="0"/>
                <a:cs typeface="Segoe UI" pitchFamily="34" charset="0"/>
              </a:rPr>
              <a:t>Optimization Threshold</a:t>
            </a:r>
          </a:p>
        </p:txBody>
      </p:sp>
      <p:cxnSp>
        <p:nvCxnSpPr>
          <p:cNvPr id="42" name="Straight Connector 41"/>
          <p:cNvCxnSpPr/>
          <p:nvPr/>
        </p:nvCxnSpPr>
        <p:spPr>
          <a:xfrm flipV="1">
            <a:off x="4173037" y="1233049"/>
            <a:ext cx="392612" cy="257174"/>
          </a:xfrm>
          <a:prstGeom prst="line">
            <a:avLst/>
          </a:prstGeom>
          <a:ln>
            <a:solidFill>
              <a:srgbClr val="FF0000"/>
            </a:solidFill>
          </a:ln>
          <a:effectLs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p:nvCxnSpPr>
        <p:spPr>
          <a:xfrm>
            <a:off x="4159145" y="1918848"/>
            <a:ext cx="406504" cy="228600"/>
          </a:xfrm>
          <a:prstGeom prst="lin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p:nvCxnSpPr>
        <p:spPr>
          <a:xfrm>
            <a:off x="4159145" y="1786986"/>
            <a:ext cx="406504" cy="189012"/>
          </a:xfrm>
          <a:prstGeom prst="line">
            <a:avLst/>
          </a:prstGeom>
          <a:ln>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6" name="Straight Connector 45"/>
          <p:cNvCxnSpPr/>
          <p:nvPr/>
        </p:nvCxnSpPr>
        <p:spPr>
          <a:xfrm>
            <a:off x="4565651" y="1233048"/>
            <a:ext cx="692329" cy="457200"/>
          </a:xfrm>
          <a:prstGeom prst="line">
            <a:avLst/>
          </a:prstGeom>
          <a:ln>
            <a:solidFill>
              <a:srgbClr val="FF0000"/>
            </a:solidFill>
          </a:ln>
          <a:effectLst/>
        </p:spPr>
        <p:style>
          <a:lnRef idx="2">
            <a:schemeClr val="accent1"/>
          </a:lnRef>
          <a:fillRef idx="0">
            <a:schemeClr val="accent1"/>
          </a:fillRef>
          <a:effectRef idx="1">
            <a:schemeClr val="accent1"/>
          </a:effectRef>
          <a:fontRef idx="minor">
            <a:schemeClr val="tx1"/>
          </a:fontRef>
        </p:style>
      </p:cxnSp>
      <p:cxnSp>
        <p:nvCxnSpPr>
          <p:cNvPr id="47" name="Straight Connector 46"/>
          <p:cNvCxnSpPr/>
          <p:nvPr/>
        </p:nvCxnSpPr>
        <p:spPr>
          <a:xfrm flipV="1">
            <a:off x="4565651" y="1881492"/>
            <a:ext cx="692329" cy="265956"/>
          </a:xfrm>
          <a:prstGeom prst="lin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48" name="Straight Connector 47"/>
          <p:cNvCxnSpPr/>
          <p:nvPr/>
        </p:nvCxnSpPr>
        <p:spPr>
          <a:xfrm flipV="1">
            <a:off x="4565651" y="1490224"/>
            <a:ext cx="692329" cy="485775"/>
          </a:xfrm>
          <a:prstGeom prst="line">
            <a:avLst/>
          </a:prstGeom>
          <a:ln>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9" name="Straight Connector 48"/>
          <p:cNvCxnSpPr/>
          <p:nvPr/>
        </p:nvCxnSpPr>
        <p:spPr>
          <a:xfrm flipV="1">
            <a:off x="5257978" y="1410013"/>
            <a:ext cx="677842" cy="273689"/>
          </a:xfrm>
          <a:prstGeom prst="line">
            <a:avLst/>
          </a:prstGeom>
          <a:ln>
            <a:solidFill>
              <a:srgbClr val="FF0000"/>
            </a:solidFill>
          </a:ln>
          <a:effectLst/>
        </p:spPr>
        <p:style>
          <a:lnRef idx="2">
            <a:schemeClr val="accent1"/>
          </a:lnRef>
          <a:fillRef idx="0">
            <a:schemeClr val="accent1"/>
          </a:fillRef>
          <a:effectRef idx="1">
            <a:schemeClr val="accent1"/>
          </a:effectRef>
          <a:fontRef idx="minor">
            <a:schemeClr val="tx1"/>
          </a:fontRef>
        </p:style>
      </p:cxnSp>
      <p:cxnSp>
        <p:nvCxnSpPr>
          <p:cNvPr id="50" name="Straight Connector 49"/>
          <p:cNvCxnSpPr/>
          <p:nvPr/>
        </p:nvCxnSpPr>
        <p:spPr>
          <a:xfrm>
            <a:off x="5257978" y="1880722"/>
            <a:ext cx="677842" cy="38127"/>
          </a:xfrm>
          <a:prstGeom prst="lin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51" name="Straight Connector 50"/>
          <p:cNvCxnSpPr/>
          <p:nvPr/>
        </p:nvCxnSpPr>
        <p:spPr>
          <a:xfrm flipV="1">
            <a:off x="5257979" y="1037035"/>
            <a:ext cx="656801" cy="453188"/>
          </a:xfrm>
          <a:prstGeom prst="line">
            <a:avLst/>
          </a:prstGeom>
          <a:ln>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52" name="Straight Connector 51"/>
          <p:cNvCxnSpPr/>
          <p:nvPr/>
        </p:nvCxnSpPr>
        <p:spPr>
          <a:xfrm>
            <a:off x="5927286" y="1410012"/>
            <a:ext cx="708607" cy="670322"/>
          </a:xfrm>
          <a:prstGeom prst="line">
            <a:avLst/>
          </a:prstGeom>
          <a:ln>
            <a:solidFill>
              <a:srgbClr val="FF0000"/>
            </a:solidFill>
          </a:ln>
          <a:effectLst/>
        </p:spPr>
        <p:style>
          <a:lnRef idx="2">
            <a:schemeClr val="accent1"/>
          </a:lnRef>
          <a:fillRef idx="0">
            <a:schemeClr val="accent1"/>
          </a:fillRef>
          <a:effectRef idx="1">
            <a:schemeClr val="accent1"/>
          </a:effectRef>
          <a:fontRef idx="minor">
            <a:schemeClr val="tx1"/>
          </a:fontRef>
        </p:style>
      </p:cxnSp>
      <p:cxnSp>
        <p:nvCxnSpPr>
          <p:cNvPr id="53" name="Straight Connector 52"/>
          <p:cNvCxnSpPr/>
          <p:nvPr/>
        </p:nvCxnSpPr>
        <p:spPr>
          <a:xfrm flipV="1">
            <a:off x="5935820" y="1551387"/>
            <a:ext cx="694115" cy="367462"/>
          </a:xfrm>
          <a:prstGeom prst="lin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54" name="Straight Connector 53"/>
          <p:cNvCxnSpPr/>
          <p:nvPr/>
        </p:nvCxnSpPr>
        <p:spPr>
          <a:xfrm>
            <a:off x="5915528" y="1041786"/>
            <a:ext cx="722102" cy="419862"/>
          </a:xfrm>
          <a:prstGeom prst="line">
            <a:avLst/>
          </a:prstGeom>
          <a:ln>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55" name="Straight Connector 54"/>
          <p:cNvCxnSpPr/>
          <p:nvPr/>
        </p:nvCxnSpPr>
        <p:spPr>
          <a:xfrm flipV="1">
            <a:off x="6624079" y="1759618"/>
            <a:ext cx="692132" cy="307181"/>
          </a:xfrm>
          <a:prstGeom prst="line">
            <a:avLst/>
          </a:prstGeom>
          <a:ln>
            <a:solidFill>
              <a:srgbClr val="FF0000"/>
            </a:solidFill>
          </a:ln>
          <a:effectLst/>
        </p:spPr>
        <p:style>
          <a:lnRef idx="2">
            <a:schemeClr val="accent1"/>
          </a:lnRef>
          <a:fillRef idx="0">
            <a:schemeClr val="accent1"/>
          </a:fillRef>
          <a:effectRef idx="1">
            <a:schemeClr val="accent1"/>
          </a:effectRef>
          <a:fontRef idx="minor">
            <a:schemeClr val="tx1"/>
          </a:fontRef>
        </p:style>
      </p:cxnSp>
      <p:cxnSp>
        <p:nvCxnSpPr>
          <p:cNvPr id="56" name="Straight Connector 55"/>
          <p:cNvCxnSpPr/>
          <p:nvPr/>
        </p:nvCxnSpPr>
        <p:spPr>
          <a:xfrm>
            <a:off x="6629935" y="1559435"/>
            <a:ext cx="715157" cy="371475"/>
          </a:xfrm>
          <a:prstGeom prst="lin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57" name="Straight Connector 56"/>
          <p:cNvCxnSpPr/>
          <p:nvPr/>
        </p:nvCxnSpPr>
        <p:spPr>
          <a:xfrm>
            <a:off x="6628744" y="1461648"/>
            <a:ext cx="687467" cy="0"/>
          </a:xfrm>
          <a:prstGeom prst="line">
            <a:avLst/>
          </a:prstGeom>
          <a:ln>
            <a:solidFill>
              <a:schemeClr val="accent3"/>
            </a:solidFill>
          </a:ln>
          <a:effectLst/>
        </p:spPr>
        <p:style>
          <a:lnRef idx="2">
            <a:schemeClr val="accent1"/>
          </a:lnRef>
          <a:fillRef idx="0">
            <a:schemeClr val="accent1"/>
          </a:fillRef>
          <a:effectRef idx="1">
            <a:schemeClr val="accent1"/>
          </a:effectRef>
          <a:fontRef idx="minor">
            <a:schemeClr val="tx1"/>
          </a:fontRef>
        </p:style>
      </p:cxnSp>
      <p:pic>
        <p:nvPicPr>
          <p:cNvPr id="59" name="Picture 7" descr="\\MAGNUM\Projects\Microsoft\Cloud Power FY12\Design\ICONS_PNG\Rich_user_experience.png"/>
          <p:cNvPicPr>
            <a:picLocks noChangeAspect="1" noChangeArrowheads="1"/>
          </p:cNvPicPr>
          <p:nvPr/>
        </p:nvPicPr>
        <p:blipFill>
          <a:blip r:embed="rId12" cstate="print">
            <a:lum bright="100000"/>
          </a:blip>
          <a:srcRect/>
          <a:stretch>
            <a:fillRect/>
          </a:stretch>
        </p:blipFill>
        <p:spPr bwMode="auto">
          <a:xfrm>
            <a:off x="2899928" y="1184234"/>
            <a:ext cx="554976" cy="554831"/>
          </a:xfrm>
          <a:prstGeom prst="rect">
            <a:avLst/>
          </a:prstGeom>
          <a:noFill/>
        </p:spPr>
      </p:pic>
      <p:pic>
        <p:nvPicPr>
          <p:cNvPr id="290830" name="Picture 18"/>
          <p:cNvPicPr>
            <a:picLocks noChangeAspect="1"/>
          </p:cNvPicPr>
          <p:nvPr/>
        </p:nvPicPr>
        <p:blipFill>
          <a:blip r:embed="rId11">
            <a:extLst>
              <a:ext uri="{28A0092B-C50C-407E-A947-70E740481C1C}">
                <a14:useLocalDpi xmlns:a14="http://schemas.microsoft.com/office/drawing/2010/main" val="0"/>
              </a:ext>
            </a:extLst>
          </a:blip>
          <a:stretch>
            <a:fillRect/>
          </a:stretch>
        </p:blipFill>
        <p:spPr bwMode="auto">
          <a:xfrm>
            <a:off x="2822429" y="4315346"/>
            <a:ext cx="359164" cy="327573"/>
          </a:xfrm>
          <a:prstGeom prst="rect">
            <a:avLst/>
          </a:prstGeom>
          <a:noFill/>
          <a:ln w="9525">
            <a:noFill/>
            <a:miter lim="800000"/>
            <a:headEnd/>
            <a:tailEnd/>
          </a:ln>
        </p:spPr>
      </p:pic>
      <p:grpSp>
        <p:nvGrpSpPr>
          <p:cNvPr id="58" name="Group 57"/>
          <p:cNvGrpSpPr/>
          <p:nvPr/>
        </p:nvGrpSpPr>
        <p:grpSpPr>
          <a:xfrm>
            <a:off x="7938615" y="1605713"/>
            <a:ext cx="853025" cy="1659891"/>
            <a:chOff x="10582063" y="2140949"/>
            <a:chExt cx="1137071" cy="2213188"/>
          </a:xfrm>
        </p:grpSpPr>
        <p:grpSp>
          <p:nvGrpSpPr>
            <p:cNvPr id="60" name="Group 6"/>
            <p:cNvGrpSpPr>
              <a:grpSpLocks/>
            </p:cNvGrpSpPr>
            <p:nvPr/>
          </p:nvGrpSpPr>
          <p:grpSpPr bwMode="auto">
            <a:xfrm>
              <a:off x="10582063" y="2140949"/>
              <a:ext cx="1016073" cy="2213188"/>
              <a:chOff x="6677" y="1051"/>
              <a:chExt cx="1237" cy="2689"/>
            </a:xfrm>
          </p:grpSpPr>
          <p:pic>
            <p:nvPicPr>
              <p:cNvPr id="62" name="Picture 5"/>
              <p:cNvPicPr>
                <a:picLocks noChangeAspect="1" noChangeArrowheads="1"/>
              </p:cNvPicPr>
              <p:nvPr/>
            </p:nvPicPr>
            <p:blipFill>
              <a:blip r:embed="rId13">
                <a:extLst>
                  <a:ext uri="{28A0092B-C50C-407E-A947-70E740481C1C}">
                    <a14:useLocalDpi xmlns:a14="http://schemas.microsoft.com/office/drawing/2010/main" val="0"/>
                  </a:ext>
                </a:extLst>
              </a:blip>
              <a:stretch>
                <a:fillRect/>
              </a:stretch>
            </p:blipFill>
            <p:spPr bwMode="auto">
              <a:xfrm>
                <a:off x="6677" y="1051"/>
                <a:ext cx="785" cy="2689"/>
              </a:xfrm>
              <a:prstGeom prst="rect">
                <a:avLst/>
              </a:prstGeom>
              <a:noFill/>
              <a:ln>
                <a:noFill/>
              </a:ln>
            </p:spPr>
          </p:pic>
          <p:sp>
            <p:nvSpPr>
              <p:cNvPr id="63" name="Oval 8"/>
              <p:cNvSpPr>
                <a:spLocks noChangeArrowheads="1"/>
              </p:cNvSpPr>
              <p:nvPr/>
            </p:nvSpPr>
            <p:spPr bwMode="auto">
              <a:xfrm>
                <a:off x="7122" y="2305"/>
                <a:ext cx="792" cy="792"/>
              </a:xfrm>
              <a:prstGeom prst="ellipse">
                <a:avLst/>
              </a:prstGeom>
              <a:solidFill>
                <a:schemeClr val="accent2">
                  <a:lumMod val="75000"/>
                  <a:alpha val="90000"/>
                </a:schemeClr>
              </a:solidFill>
              <a:ln w="9525">
                <a:noFill/>
                <a:round/>
                <a:headEnd/>
                <a:tailEnd/>
              </a:ln>
            </p:spPr>
            <p:txBody>
              <a:bodyPr lIns="0" rIns="0" anchor="ctr"/>
              <a:lstStyle/>
              <a:p>
                <a:pPr algn="ctr"/>
                <a:r>
                  <a:rPr lang="en-US" sz="800" dirty="0"/>
                  <a:t>DC</a:t>
                </a:r>
                <a:br>
                  <a:rPr lang="en-US" sz="800" dirty="0"/>
                </a:br>
                <a:r>
                  <a:rPr lang="en-US" sz="800" dirty="0"/>
                  <a:t>Admin</a:t>
                </a:r>
              </a:p>
            </p:txBody>
          </p:sp>
        </p:grpSp>
        <p:pic>
          <p:nvPicPr>
            <p:cNvPr id="61" name="Picture 5"/>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10904463" y="2499513"/>
              <a:ext cx="814671" cy="566390"/>
            </a:xfrm>
            <a:prstGeom prst="rect">
              <a:avLst/>
            </a:prstGeom>
            <a:noFill/>
            <a:ln w="9525">
              <a:noFill/>
              <a:miter lim="800000"/>
              <a:headEnd/>
              <a:tailEnd/>
            </a:ln>
            <a:effectLst/>
          </p:spPr>
        </p:pic>
      </p:grpSp>
      <p:sp>
        <p:nvSpPr>
          <p:cNvPr id="64"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65"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5"/>
              </a:rPr>
              <a:t>www.rapidbbs.cn</a:t>
            </a:r>
            <a:endParaRPr lang="zh-CN" altLang="en-US" sz="1200" b="0">
              <a:latin typeface="Arial" charset="0"/>
              <a:ea typeface="ＭＳ Ｐゴシック" pitchFamily="34" charset="-128"/>
            </a:endParaRPr>
          </a:p>
        </p:txBody>
      </p:sp>
      <p:pic>
        <p:nvPicPr>
          <p:cNvPr id="66" name="Picture 2">
            <a:hlinkClick r:id="rId15"/>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93357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wipe(left)">
                                      <p:cBhvr>
                                        <p:cTn id="7" dur="500"/>
                                        <p:tgtEl>
                                          <p:spTgt spid="42"/>
                                        </p:tgtEl>
                                      </p:cBhvr>
                                    </p:animEffect>
                                  </p:childTnLst>
                                </p:cTn>
                              </p:par>
                              <p:par>
                                <p:cTn id="8" presetID="22" presetClass="entr" presetSubtype="8" fill="hold"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wipe(left)">
                                      <p:cBhvr>
                                        <p:cTn id="10" dur="500"/>
                                        <p:tgtEl>
                                          <p:spTgt spid="44"/>
                                        </p:tgtEl>
                                      </p:cBhvr>
                                    </p:animEffect>
                                  </p:childTnLst>
                                </p:cTn>
                              </p:par>
                              <p:par>
                                <p:cTn id="11" presetID="22" presetClass="entr" presetSubtype="8" fill="hold" nodeType="withEffect">
                                  <p:stCondLst>
                                    <p:cond delay="0"/>
                                  </p:stCondLst>
                                  <p:childTnLst>
                                    <p:set>
                                      <p:cBhvr>
                                        <p:cTn id="12" dur="1" fill="hold">
                                          <p:stCondLst>
                                            <p:cond delay="0"/>
                                          </p:stCondLst>
                                        </p:cTn>
                                        <p:tgtEl>
                                          <p:spTgt spid="45"/>
                                        </p:tgtEl>
                                        <p:attrNameLst>
                                          <p:attrName>style.visibility</p:attrName>
                                        </p:attrNameLst>
                                      </p:cBhvr>
                                      <p:to>
                                        <p:strVal val="visible"/>
                                      </p:to>
                                    </p:set>
                                    <p:animEffect transition="in" filter="wipe(left)">
                                      <p:cBhvr>
                                        <p:cTn id="13" dur="500"/>
                                        <p:tgtEl>
                                          <p:spTgt spid="45"/>
                                        </p:tgtEl>
                                      </p:cBhvr>
                                    </p:animEffect>
                                  </p:childTnLst>
                                </p:cTn>
                              </p:par>
                              <p:par>
                                <p:cTn id="14" presetID="10" presetClass="entr" presetSubtype="0" fill="hold" nodeType="withEffect">
                                  <p:stCondLst>
                                    <p:cond delay="0"/>
                                  </p:stCondLst>
                                  <p:childTnLst>
                                    <p:set>
                                      <p:cBhvr>
                                        <p:cTn id="15" dur="1" fill="hold">
                                          <p:stCondLst>
                                            <p:cond delay="0"/>
                                          </p:stCondLst>
                                        </p:cTn>
                                        <p:tgtEl>
                                          <p:spTgt spid="290822"/>
                                        </p:tgtEl>
                                        <p:attrNameLst>
                                          <p:attrName>style.visibility</p:attrName>
                                        </p:attrNameLst>
                                      </p:cBhvr>
                                      <p:to>
                                        <p:strVal val="visible"/>
                                      </p:to>
                                    </p:set>
                                    <p:animEffect transition="in" filter="fade">
                                      <p:cBhvr>
                                        <p:cTn id="16" dur="500"/>
                                        <p:tgtEl>
                                          <p:spTgt spid="290822"/>
                                        </p:tgtEl>
                                      </p:cBhvr>
                                    </p:animEffect>
                                  </p:childTnLst>
                                </p:cTn>
                              </p:par>
                              <p:par>
                                <p:cTn id="17" presetID="10" presetClass="entr" presetSubtype="0" fill="hold" nodeType="withEffect">
                                  <p:stCondLst>
                                    <p:cond delay="0"/>
                                  </p:stCondLst>
                                  <p:childTnLst>
                                    <p:set>
                                      <p:cBhvr>
                                        <p:cTn id="18" dur="1" fill="hold">
                                          <p:stCondLst>
                                            <p:cond delay="0"/>
                                          </p:stCondLst>
                                        </p:cTn>
                                        <p:tgtEl>
                                          <p:spTgt spid="290842"/>
                                        </p:tgtEl>
                                        <p:attrNameLst>
                                          <p:attrName>style.visibility</p:attrName>
                                        </p:attrNameLst>
                                      </p:cBhvr>
                                      <p:to>
                                        <p:strVal val="visible"/>
                                      </p:to>
                                    </p:set>
                                    <p:animEffect transition="in" filter="fade">
                                      <p:cBhvr>
                                        <p:cTn id="19" dur="500"/>
                                        <p:tgtEl>
                                          <p:spTgt spid="290842"/>
                                        </p:tgtEl>
                                      </p:cBhvr>
                                    </p:animEffect>
                                  </p:childTnLst>
                                </p:cTn>
                              </p:par>
                            </p:childTnLst>
                          </p:cTn>
                        </p:par>
                        <p:par>
                          <p:cTn id="20" fill="hold">
                            <p:stCondLst>
                              <p:cond delay="500"/>
                            </p:stCondLst>
                            <p:childTnLst>
                              <p:par>
                                <p:cTn id="21" presetID="10" presetClass="entr" presetSubtype="0" fill="hold" nodeType="afterEffect">
                                  <p:stCondLst>
                                    <p:cond delay="0"/>
                                  </p:stCondLst>
                                  <p:childTnLst>
                                    <p:set>
                                      <p:cBhvr>
                                        <p:cTn id="22" dur="1" fill="hold">
                                          <p:stCondLst>
                                            <p:cond delay="0"/>
                                          </p:stCondLst>
                                        </p:cTn>
                                        <p:tgtEl>
                                          <p:spTgt spid="290831"/>
                                        </p:tgtEl>
                                        <p:attrNameLst>
                                          <p:attrName>style.visibility</p:attrName>
                                        </p:attrNameLst>
                                      </p:cBhvr>
                                      <p:to>
                                        <p:strVal val="visible"/>
                                      </p:to>
                                    </p:set>
                                    <p:animEffect transition="in" filter="fade">
                                      <p:cBhvr>
                                        <p:cTn id="23" dur="500"/>
                                        <p:tgtEl>
                                          <p:spTgt spid="290831"/>
                                        </p:tgtEl>
                                      </p:cBhvr>
                                    </p:animEffect>
                                  </p:childTnLst>
                                </p:cTn>
                              </p:par>
                              <p:par>
                                <p:cTn id="24" presetID="10" presetClass="exit" presetSubtype="0" fill="hold" nodeType="withEffect">
                                  <p:stCondLst>
                                    <p:cond delay="0"/>
                                  </p:stCondLst>
                                  <p:childTnLst>
                                    <p:animEffect transition="out" filter="fade">
                                      <p:cBhvr>
                                        <p:cTn id="25" dur="500"/>
                                        <p:tgtEl>
                                          <p:spTgt spid="290841"/>
                                        </p:tgtEl>
                                      </p:cBhvr>
                                    </p:animEffect>
                                    <p:set>
                                      <p:cBhvr>
                                        <p:cTn id="26" dur="1" fill="hold">
                                          <p:stCondLst>
                                            <p:cond delay="499"/>
                                          </p:stCondLst>
                                        </p:cTn>
                                        <p:tgtEl>
                                          <p:spTgt spid="290841"/>
                                        </p:tgtEl>
                                        <p:attrNameLst>
                                          <p:attrName>style.visibility</p:attrName>
                                        </p:attrNameLst>
                                      </p:cBhvr>
                                      <p:to>
                                        <p:strVal val="hidden"/>
                                      </p:to>
                                    </p:set>
                                  </p:childTnLst>
                                </p:cTn>
                              </p:par>
                            </p:childTnLst>
                          </p:cTn>
                        </p:par>
                        <p:par>
                          <p:cTn id="27" fill="hold">
                            <p:stCondLst>
                              <p:cond delay="1000"/>
                            </p:stCondLst>
                            <p:childTnLst>
                              <p:par>
                                <p:cTn id="28" presetID="10" presetClass="entr" presetSubtype="0" fill="hold" nodeType="afterEffect">
                                  <p:stCondLst>
                                    <p:cond delay="0"/>
                                  </p:stCondLst>
                                  <p:childTnLst>
                                    <p:set>
                                      <p:cBhvr>
                                        <p:cTn id="29" dur="1" fill="hold">
                                          <p:stCondLst>
                                            <p:cond delay="0"/>
                                          </p:stCondLst>
                                        </p:cTn>
                                        <p:tgtEl>
                                          <p:spTgt spid="290830"/>
                                        </p:tgtEl>
                                        <p:attrNameLst>
                                          <p:attrName>style.visibility</p:attrName>
                                        </p:attrNameLst>
                                      </p:cBhvr>
                                      <p:to>
                                        <p:strVal val="visible"/>
                                      </p:to>
                                    </p:set>
                                    <p:animEffect transition="in" filter="fade">
                                      <p:cBhvr>
                                        <p:cTn id="30" dur="500"/>
                                        <p:tgtEl>
                                          <p:spTgt spid="290830"/>
                                        </p:tgtEl>
                                      </p:cBhvr>
                                    </p:animEffect>
                                  </p:childTnLst>
                                </p:cTn>
                              </p:par>
                              <p:par>
                                <p:cTn id="31" presetID="10" presetClass="exit" presetSubtype="0" fill="hold" nodeType="withEffect">
                                  <p:stCondLst>
                                    <p:cond delay="0"/>
                                  </p:stCondLst>
                                  <p:childTnLst>
                                    <p:animEffect transition="out" filter="fade">
                                      <p:cBhvr>
                                        <p:cTn id="32" dur="500"/>
                                        <p:tgtEl>
                                          <p:spTgt spid="15362"/>
                                        </p:tgtEl>
                                      </p:cBhvr>
                                    </p:animEffect>
                                    <p:set>
                                      <p:cBhvr>
                                        <p:cTn id="33" dur="1" fill="hold">
                                          <p:stCondLst>
                                            <p:cond delay="499"/>
                                          </p:stCondLst>
                                        </p:cTn>
                                        <p:tgtEl>
                                          <p:spTgt spid="15362"/>
                                        </p:tgtEl>
                                        <p:attrNameLst>
                                          <p:attrName>style.visibility</p:attrName>
                                        </p:attrNameLst>
                                      </p:cBhvr>
                                      <p:to>
                                        <p:strVal val="hidden"/>
                                      </p:to>
                                    </p:set>
                                  </p:childTnLst>
                                </p:cTn>
                              </p:par>
                              <p:par>
                                <p:cTn id="34" presetID="10" presetClass="exit" presetSubtype="0" fill="hold" nodeType="withEffect">
                                  <p:stCondLst>
                                    <p:cond delay="0"/>
                                  </p:stCondLst>
                                  <p:childTnLst>
                                    <p:animEffect transition="out" filter="fade">
                                      <p:cBhvr>
                                        <p:cTn id="35" dur="500"/>
                                        <p:tgtEl>
                                          <p:spTgt spid="290839"/>
                                        </p:tgtEl>
                                      </p:cBhvr>
                                    </p:animEffect>
                                    <p:set>
                                      <p:cBhvr>
                                        <p:cTn id="36" dur="1" fill="hold">
                                          <p:stCondLst>
                                            <p:cond delay="499"/>
                                          </p:stCondLst>
                                        </p:cTn>
                                        <p:tgtEl>
                                          <p:spTgt spid="290839"/>
                                        </p:tgtEl>
                                        <p:attrNameLst>
                                          <p:attrName>style.visibility</p:attrName>
                                        </p:attrNameLst>
                                      </p:cBhvr>
                                      <p:to>
                                        <p:strVal val="hidden"/>
                                      </p:to>
                                    </p:set>
                                  </p:childTnLst>
                                </p:cTn>
                              </p:par>
                            </p:childTnLst>
                          </p:cTn>
                        </p:par>
                      </p:childTnLst>
                    </p:cTn>
                  </p:par>
                  <p:par>
                    <p:cTn id="37" fill="hold">
                      <p:stCondLst>
                        <p:cond delay="indefinite"/>
                      </p:stCondLst>
                      <p:childTnLst>
                        <p:par>
                          <p:cTn id="38" fill="hold">
                            <p:stCondLst>
                              <p:cond delay="0"/>
                            </p:stCondLst>
                            <p:childTnLst>
                              <p:par>
                                <p:cTn id="39" presetID="22" presetClass="entr" presetSubtype="1" fill="hold" grpId="0" nodeType="clickEffect">
                                  <p:stCondLst>
                                    <p:cond delay="0"/>
                                  </p:stCondLst>
                                  <p:childTnLst>
                                    <p:set>
                                      <p:cBhvr>
                                        <p:cTn id="40" dur="1" fill="hold">
                                          <p:stCondLst>
                                            <p:cond delay="0"/>
                                          </p:stCondLst>
                                        </p:cTn>
                                        <p:tgtEl>
                                          <p:spTgt spid="290844"/>
                                        </p:tgtEl>
                                        <p:attrNameLst>
                                          <p:attrName>style.visibility</p:attrName>
                                        </p:attrNameLst>
                                      </p:cBhvr>
                                      <p:to>
                                        <p:strVal val="visible"/>
                                      </p:to>
                                    </p:set>
                                    <p:animEffect transition="in" filter="wipe(up)">
                                      <p:cBhvr>
                                        <p:cTn id="41" dur="500"/>
                                        <p:tgtEl>
                                          <p:spTgt spid="290844"/>
                                        </p:tgtEl>
                                      </p:cBhvr>
                                    </p:animEffect>
                                  </p:childTnLst>
                                </p:cTn>
                              </p:par>
                            </p:childTnLst>
                          </p:cTn>
                        </p:par>
                        <p:par>
                          <p:cTn id="42" fill="hold">
                            <p:stCondLst>
                              <p:cond delay="500"/>
                            </p:stCondLst>
                            <p:childTnLst>
                              <p:par>
                                <p:cTn id="43" presetID="10" presetClass="exit" presetSubtype="0" fill="hold" grpId="1" nodeType="afterEffect">
                                  <p:stCondLst>
                                    <p:cond delay="0"/>
                                  </p:stCondLst>
                                  <p:childTnLst>
                                    <p:animEffect transition="out" filter="fade">
                                      <p:cBhvr>
                                        <p:cTn id="44" dur="500"/>
                                        <p:tgtEl>
                                          <p:spTgt spid="290844"/>
                                        </p:tgtEl>
                                      </p:cBhvr>
                                    </p:animEffect>
                                    <p:set>
                                      <p:cBhvr>
                                        <p:cTn id="45" dur="1" fill="hold">
                                          <p:stCondLst>
                                            <p:cond delay="499"/>
                                          </p:stCondLst>
                                        </p:cTn>
                                        <p:tgtEl>
                                          <p:spTgt spid="290844"/>
                                        </p:tgtEl>
                                        <p:attrNameLst>
                                          <p:attrName>style.visibility</p:attrName>
                                        </p:attrNameLst>
                                      </p:cBhvr>
                                      <p:to>
                                        <p:strVal val="hidden"/>
                                      </p:to>
                                    </p:set>
                                  </p:childTnLst>
                                </p:cTn>
                              </p:par>
                              <p:par>
                                <p:cTn id="46" presetID="63" presetClass="path" presetSubtype="0" accel="50000" decel="50000" fill="hold" nodeType="withEffect">
                                  <p:stCondLst>
                                    <p:cond delay="0"/>
                                  </p:stCondLst>
                                  <p:childTnLst>
                                    <p:animMotion origin="layout" path="M -1.04167E-6 -2.22222E-6 L 0.23047 -2.22222E-6 " pathEditMode="relative" rAng="0" ptsTypes="AA">
                                      <p:cBhvr>
                                        <p:cTn id="47" dur="2000" fill="hold"/>
                                        <p:tgtEl>
                                          <p:spTgt spid="290842"/>
                                        </p:tgtEl>
                                        <p:attrNameLst>
                                          <p:attrName>ppt_x</p:attrName>
                                          <p:attrName>ppt_y</p:attrName>
                                        </p:attrNameLst>
                                      </p:cBhvr>
                                      <p:rCtr x="115" y="0"/>
                                    </p:animMotion>
                                  </p:childTnLst>
                                </p:cTn>
                              </p:par>
                            </p:childTnLst>
                          </p:cTn>
                        </p:par>
                        <p:par>
                          <p:cTn id="48" fill="hold">
                            <p:stCondLst>
                              <p:cond delay="2500"/>
                            </p:stCondLst>
                            <p:childTnLst>
                              <p:par>
                                <p:cTn id="49" presetID="10" presetClass="entr" presetSubtype="0" fill="hold" nodeType="afterEffect">
                                  <p:stCondLst>
                                    <p:cond delay="0"/>
                                  </p:stCondLst>
                                  <p:childTnLst>
                                    <p:set>
                                      <p:cBhvr>
                                        <p:cTn id="50" dur="1" fill="hold">
                                          <p:stCondLst>
                                            <p:cond delay="0"/>
                                          </p:stCondLst>
                                        </p:cTn>
                                        <p:tgtEl>
                                          <p:spTgt spid="3"/>
                                        </p:tgtEl>
                                        <p:attrNameLst>
                                          <p:attrName>style.visibility</p:attrName>
                                        </p:attrNameLst>
                                      </p:cBhvr>
                                      <p:to>
                                        <p:strVal val="visible"/>
                                      </p:to>
                                    </p:set>
                                    <p:animEffect transition="in" filter="fade">
                                      <p:cBhvr>
                                        <p:cTn id="51" dur="500"/>
                                        <p:tgtEl>
                                          <p:spTgt spid="3"/>
                                        </p:tgtEl>
                                      </p:cBhvr>
                                    </p:animEffect>
                                  </p:childTnLst>
                                </p:cTn>
                              </p:par>
                              <p:par>
                                <p:cTn id="52" presetID="10" presetClass="exit" presetSubtype="0" fill="hold" nodeType="withEffect">
                                  <p:stCondLst>
                                    <p:cond delay="0"/>
                                  </p:stCondLst>
                                  <p:childTnLst>
                                    <p:animEffect transition="out" filter="fade">
                                      <p:cBhvr>
                                        <p:cTn id="53" dur="500"/>
                                        <p:tgtEl>
                                          <p:spTgt spid="290842"/>
                                        </p:tgtEl>
                                      </p:cBhvr>
                                    </p:animEffect>
                                    <p:set>
                                      <p:cBhvr>
                                        <p:cTn id="54" dur="1" fill="hold">
                                          <p:stCondLst>
                                            <p:cond delay="499"/>
                                          </p:stCondLst>
                                        </p:cTn>
                                        <p:tgtEl>
                                          <p:spTgt spid="290842"/>
                                        </p:tgtEl>
                                        <p:attrNameLst>
                                          <p:attrName>style.visibility</p:attrName>
                                        </p:attrNameLst>
                                      </p:cBhvr>
                                      <p:to>
                                        <p:strVal val="hidden"/>
                                      </p:to>
                                    </p:set>
                                  </p:childTnLst>
                                </p:cTn>
                              </p:par>
                            </p:childTnLst>
                          </p:cTn>
                        </p:par>
                        <p:par>
                          <p:cTn id="55" fill="hold">
                            <p:stCondLst>
                              <p:cond delay="3000"/>
                            </p:stCondLst>
                            <p:childTnLst>
                              <p:par>
                                <p:cTn id="56" presetID="63" presetClass="path" presetSubtype="0" accel="50000" decel="50000" fill="hold" nodeType="afterEffect">
                                  <p:stCondLst>
                                    <p:cond delay="0"/>
                                  </p:stCondLst>
                                  <p:childTnLst>
                                    <p:animMotion origin="layout" path="M -1.04167E-6 -3.33333E-6 L 0.46172 -3.33333E-6 " pathEditMode="relative" rAng="0" ptsTypes="AA">
                                      <p:cBhvr>
                                        <p:cTn id="57" dur="2000" fill="hold"/>
                                        <p:tgtEl>
                                          <p:spTgt spid="290822"/>
                                        </p:tgtEl>
                                        <p:attrNameLst>
                                          <p:attrName>ppt_x</p:attrName>
                                          <p:attrName>ppt_y</p:attrName>
                                        </p:attrNameLst>
                                      </p:cBhvr>
                                      <p:rCtr x="231" y="0"/>
                                    </p:animMotion>
                                  </p:childTnLst>
                                </p:cTn>
                              </p:par>
                            </p:childTnLst>
                          </p:cTn>
                        </p:par>
                        <p:par>
                          <p:cTn id="58" fill="hold">
                            <p:stCondLst>
                              <p:cond delay="5000"/>
                            </p:stCondLst>
                            <p:childTnLst>
                              <p:par>
                                <p:cTn id="59" presetID="10" presetClass="entr" presetSubtype="0" fill="hold" nodeType="afterEffect">
                                  <p:stCondLst>
                                    <p:cond delay="0"/>
                                  </p:stCondLst>
                                  <p:childTnLst>
                                    <p:set>
                                      <p:cBhvr>
                                        <p:cTn id="60" dur="1" fill="hold">
                                          <p:stCondLst>
                                            <p:cond delay="0"/>
                                          </p:stCondLst>
                                        </p:cTn>
                                        <p:tgtEl>
                                          <p:spTgt spid="4"/>
                                        </p:tgtEl>
                                        <p:attrNameLst>
                                          <p:attrName>style.visibility</p:attrName>
                                        </p:attrNameLst>
                                      </p:cBhvr>
                                      <p:to>
                                        <p:strVal val="visible"/>
                                      </p:to>
                                    </p:set>
                                    <p:animEffect transition="in" filter="fade">
                                      <p:cBhvr>
                                        <p:cTn id="61" dur="500"/>
                                        <p:tgtEl>
                                          <p:spTgt spid="4"/>
                                        </p:tgtEl>
                                      </p:cBhvr>
                                    </p:animEffect>
                                  </p:childTnLst>
                                </p:cTn>
                              </p:par>
                              <p:par>
                                <p:cTn id="62" presetID="10" presetClass="exit" presetSubtype="0" fill="hold" nodeType="withEffect">
                                  <p:stCondLst>
                                    <p:cond delay="0"/>
                                  </p:stCondLst>
                                  <p:childTnLst>
                                    <p:animEffect transition="out" filter="fade">
                                      <p:cBhvr>
                                        <p:cTn id="63" dur="500"/>
                                        <p:tgtEl>
                                          <p:spTgt spid="290822"/>
                                        </p:tgtEl>
                                      </p:cBhvr>
                                    </p:animEffect>
                                    <p:set>
                                      <p:cBhvr>
                                        <p:cTn id="64" dur="1" fill="hold">
                                          <p:stCondLst>
                                            <p:cond delay="499"/>
                                          </p:stCondLst>
                                        </p:cTn>
                                        <p:tgtEl>
                                          <p:spTgt spid="290822"/>
                                        </p:tgtEl>
                                        <p:attrNameLst>
                                          <p:attrName>style.visibility</p:attrName>
                                        </p:attrNameLst>
                                      </p:cBhvr>
                                      <p:to>
                                        <p:strVal val="hidden"/>
                                      </p:to>
                                    </p:set>
                                  </p:childTnLst>
                                </p:cTn>
                              </p:par>
                              <p:par>
                                <p:cTn id="65" presetID="10" presetClass="exit" presetSubtype="0" fill="hold" nodeType="withEffect">
                                  <p:stCondLst>
                                    <p:cond delay="0"/>
                                  </p:stCondLst>
                                  <p:childTnLst>
                                    <p:animEffect transition="out" filter="fade">
                                      <p:cBhvr>
                                        <p:cTn id="66" dur="500"/>
                                        <p:tgtEl>
                                          <p:spTgt spid="290831"/>
                                        </p:tgtEl>
                                      </p:cBhvr>
                                    </p:animEffect>
                                    <p:set>
                                      <p:cBhvr>
                                        <p:cTn id="67" dur="1" fill="hold">
                                          <p:stCondLst>
                                            <p:cond delay="499"/>
                                          </p:stCondLst>
                                        </p:cTn>
                                        <p:tgtEl>
                                          <p:spTgt spid="290831"/>
                                        </p:tgtEl>
                                        <p:attrNameLst>
                                          <p:attrName>style.visibility</p:attrName>
                                        </p:attrNameLst>
                                      </p:cBhvr>
                                      <p:to>
                                        <p:strVal val="hidden"/>
                                      </p:to>
                                    </p:set>
                                  </p:childTnLst>
                                </p:cTn>
                              </p:par>
                              <p:par>
                                <p:cTn id="68" presetID="10" presetClass="exit" presetSubtype="0" fill="hold" nodeType="withEffect">
                                  <p:stCondLst>
                                    <p:cond delay="0"/>
                                  </p:stCondLst>
                                  <p:childTnLst>
                                    <p:animEffect transition="out" filter="fade">
                                      <p:cBhvr>
                                        <p:cTn id="69" dur="500"/>
                                        <p:tgtEl>
                                          <p:spTgt spid="290830"/>
                                        </p:tgtEl>
                                      </p:cBhvr>
                                    </p:animEffect>
                                    <p:set>
                                      <p:cBhvr>
                                        <p:cTn id="70" dur="1" fill="hold">
                                          <p:stCondLst>
                                            <p:cond delay="499"/>
                                          </p:stCondLst>
                                        </p:cTn>
                                        <p:tgtEl>
                                          <p:spTgt spid="290830"/>
                                        </p:tgtEl>
                                        <p:attrNameLst>
                                          <p:attrName>style.visibility</p:attrName>
                                        </p:attrNameLst>
                                      </p:cBhvr>
                                      <p:to>
                                        <p:strVal val="hidden"/>
                                      </p:to>
                                    </p:set>
                                  </p:childTnLst>
                                </p:cTn>
                              </p:par>
                              <p:par>
                                <p:cTn id="71" presetID="10" presetClass="entr" presetSubtype="0" fill="hold" nodeType="withEffect">
                                  <p:stCondLst>
                                    <p:cond delay="0"/>
                                  </p:stCondLst>
                                  <p:childTnLst>
                                    <p:set>
                                      <p:cBhvr>
                                        <p:cTn id="72" dur="1" fill="hold">
                                          <p:stCondLst>
                                            <p:cond delay="0"/>
                                          </p:stCondLst>
                                        </p:cTn>
                                        <p:tgtEl>
                                          <p:spTgt spid="290841"/>
                                        </p:tgtEl>
                                        <p:attrNameLst>
                                          <p:attrName>style.visibility</p:attrName>
                                        </p:attrNameLst>
                                      </p:cBhvr>
                                      <p:to>
                                        <p:strVal val="visible"/>
                                      </p:to>
                                    </p:set>
                                    <p:animEffect transition="in" filter="fade">
                                      <p:cBhvr>
                                        <p:cTn id="73" dur="500"/>
                                        <p:tgtEl>
                                          <p:spTgt spid="290841"/>
                                        </p:tgtEl>
                                      </p:cBhvr>
                                    </p:animEffect>
                                  </p:childTnLst>
                                </p:cTn>
                              </p:par>
                            </p:childTnLst>
                          </p:cTn>
                        </p:par>
                      </p:childTnLst>
                    </p:cTn>
                  </p:par>
                  <p:par>
                    <p:cTn id="74" fill="hold">
                      <p:stCondLst>
                        <p:cond delay="indefinite"/>
                      </p:stCondLst>
                      <p:childTnLst>
                        <p:par>
                          <p:cTn id="75" fill="hold">
                            <p:stCondLst>
                              <p:cond delay="0"/>
                            </p:stCondLst>
                            <p:childTnLst>
                              <p:par>
                                <p:cTn id="76" presetID="22" presetClass="entr" presetSubtype="8" fill="hold" nodeType="clickEffect">
                                  <p:stCondLst>
                                    <p:cond delay="0"/>
                                  </p:stCondLst>
                                  <p:childTnLst>
                                    <p:set>
                                      <p:cBhvr>
                                        <p:cTn id="77" dur="1" fill="hold">
                                          <p:stCondLst>
                                            <p:cond delay="0"/>
                                          </p:stCondLst>
                                        </p:cTn>
                                        <p:tgtEl>
                                          <p:spTgt spid="46"/>
                                        </p:tgtEl>
                                        <p:attrNameLst>
                                          <p:attrName>style.visibility</p:attrName>
                                        </p:attrNameLst>
                                      </p:cBhvr>
                                      <p:to>
                                        <p:strVal val="visible"/>
                                      </p:to>
                                    </p:set>
                                    <p:animEffect transition="in" filter="wipe(left)">
                                      <p:cBhvr>
                                        <p:cTn id="78" dur="500"/>
                                        <p:tgtEl>
                                          <p:spTgt spid="46"/>
                                        </p:tgtEl>
                                      </p:cBhvr>
                                    </p:animEffect>
                                  </p:childTnLst>
                                </p:cTn>
                              </p:par>
                              <p:par>
                                <p:cTn id="79" presetID="22" presetClass="entr" presetSubtype="8" fill="hold" nodeType="withEffect">
                                  <p:stCondLst>
                                    <p:cond delay="0"/>
                                  </p:stCondLst>
                                  <p:childTnLst>
                                    <p:set>
                                      <p:cBhvr>
                                        <p:cTn id="80" dur="1" fill="hold">
                                          <p:stCondLst>
                                            <p:cond delay="0"/>
                                          </p:stCondLst>
                                        </p:cTn>
                                        <p:tgtEl>
                                          <p:spTgt spid="47"/>
                                        </p:tgtEl>
                                        <p:attrNameLst>
                                          <p:attrName>style.visibility</p:attrName>
                                        </p:attrNameLst>
                                      </p:cBhvr>
                                      <p:to>
                                        <p:strVal val="visible"/>
                                      </p:to>
                                    </p:set>
                                    <p:animEffect transition="in" filter="wipe(left)">
                                      <p:cBhvr>
                                        <p:cTn id="81" dur="500"/>
                                        <p:tgtEl>
                                          <p:spTgt spid="47"/>
                                        </p:tgtEl>
                                      </p:cBhvr>
                                    </p:animEffect>
                                  </p:childTnLst>
                                </p:cTn>
                              </p:par>
                              <p:par>
                                <p:cTn id="82" presetID="22" presetClass="entr" presetSubtype="8" fill="hold" nodeType="withEffect">
                                  <p:stCondLst>
                                    <p:cond delay="0"/>
                                  </p:stCondLst>
                                  <p:childTnLst>
                                    <p:set>
                                      <p:cBhvr>
                                        <p:cTn id="83" dur="1" fill="hold">
                                          <p:stCondLst>
                                            <p:cond delay="0"/>
                                          </p:stCondLst>
                                        </p:cTn>
                                        <p:tgtEl>
                                          <p:spTgt spid="48"/>
                                        </p:tgtEl>
                                        <p:attrNameLst>
                                          <p:attrName>style.visibility</p:attrName>
                                        </p:attrNameLst>
                                      </p:cBhvr>
                                      <p:to>
                                        <p:strVal val="visible"/>
                                      </p:to>
                                    </p:set>
                                    <p:animEffect transition="in" filter="wipe(left)">
                                      <p:cBhvr>
                                        <p:cTn id="84" dur="500"/>
                                        <p:tgtEl>
                                          <p:spTgt spid="48"/>
                                        </p:tgtEl>
                                      </p:cBhvr>
                                    </p:animEffect>
                                  </p:childTnLst>
                                </p:cTn>
                              </p:par>
                            </p:childTnLst>
                          </p:cTn>
                        </p:par>
                        <p:par>
                          <p:cTn id="85" fill="hold">
                            <p:stCondLst>
                              <p:cond delay="500"/>
                            </p:stCondLst>
                            <p:childTnLst>
                              <p:par>
                                <p:cTn id="86" presetID="22" presetClass="entr" presetSubtype="8" fill="hold" nodeType="afterEffect">
                                  <p:stCondLst>
                                    <p:cond delay="0"/>
                                  </p:stCondLst>
                                  <p:childTnLst>
                                    <p:set>
                                      <p:cBhvr>
                                        <p:cTn id="87" dur="1" fill="hold">
                                          <p:stCondLst>
                                            <p:cond delay="0"/>
                                          </p:stCondLst>
                                        </p:cTn>
                                        <p:tgtEl>
                                          <p:spTgt spid="49"/>
                                        </p:tgtEl>
                                        <p:attrNameLst>
                                          <p:attrName>style.visibility</p:attrName>
                                        </p:attrNameLst>
                                      </p:cBhvr>
                                      <p:to>
                                        <p:strVal val="visible"/>
                                      </p:to>
                                    </p:set>
                                    <p:animEffect transition="in" filter="wipe(left)">
                                      <p:cBhvr>
                                        <p:cTn id="88" dur="500"/>
                                        <p:tgtEl>
                                          <p:spTgt spid="49"/>
                                        </p:tgtEl>
                                      </p:cBhvr>
                                    </p:animEffect>
                                  </p:childTnLst>
                                </p:cTn>
                              </p:par>
                              <p:par>
                                <p:cTn id="89" presetID="22" presetClass="entr" presetSubtype="8" fill="hold" nodeType="withEffect">
                                  <p:stCondLst>
                                    <p:cond delay="0"/>
                                  </p:stCondLst>
                                  <p:childTnLst>
                                    <p:set>
                                      <p:cBhvr>
                                        <p:cTn id="90" dur="1" fill="hold">
                                          <p:stCondLst>
                                            <p:cond delay="0"/>
                                          </p:stCondLst>
                                        </p:cTn>
                                        <p:tgtEl>
                                          <p:spTgt spid="50"/>
                                        </p:tgtEl>
                                        <p:attrNameLst>
                                          <p:attrName>style.visibility</p:attrName>
                                        </p:attrNameLst>
                                      </p:cBhvr>
                                      <p:to>
                                        <p:strVal val="visible"/>
                                      </p:to>
                                    </p:set>
                                    <p:animEffect transition="in" filter="wipe(left)">
                                      <p:cBhvr>
                                        <p:cTn id="91" dur="500"/>
                                        <p:tgtEl>
                                          <p:spTgt spid="50"/>
                                        </p:tgtEl>
                                      </p:cBhvr>
                                    </p:animEffect>
                                  </p:childTnLst>
                                </p:cTn>
                              </p:par>
                              <p:par>
                                <p:cTn id="92" presetID="22" presetClass="entr" presetSubtype="8" fill="hold" nodeType="withEffect">
                                  <p:stCondLst>
                                    <p:cond delay="0"/>
                                  </p:stCondLst>
                                  <p:childTnLst>
                                    <p:set>
                                      <p:cBhvr>
                                        <p:cTn id="93" dur="1" fill="hold">
                                          <p:stCondLst>
                                            <p:cond delay="0"/>
                                          </p:stCondLst>
                                        </p:cTn>
                                        <p:tgtEl>
                                          <p:spTgt spid="51"/>
                                        </p:tgtEl>
                                        <p:attrNameLst>
                                          <p:attrName>style.visibility</p:attrName>
                                        </p:attrNameLst>
                                      </p:cBhvr>
                                      <p:to>
                                        <p:strVal val="visible"/>
                                      </p:to>
                                    </p:set>
                                    <p:animEffect transition="in" filter="wipe(left)">
                                      <p:cBhvr>
                                        <p:cTn id="94" dur="500"/>
                                        <p:tgtEl>
                                          <p:spTgt spid="51"/>
                                        </p:tgtEl>
                                      </p:cBhvr>
                                    </p:animEffect>
                                  </p:childTnLst>
                                </p:cTn>
                              </p:par>
                              <p:par>
                                <p:cTn id="95" presetID="10" presetClass="entr" presetSubtype="0" fill="hold" nodeType="withEffect">
                                  <p:stCondLst>
                                    <p:cond delay="0"/>
                                  </p:stCondLst>
                                  <p:childTnLst>
                                    <p:set>
                                      <p:cBhvr>
                                        <p:cTn id="96" dur="1" fill="hold">
                                          <p:stCondLst>
                                            <p:cond delay="0"/>
                                          </p:stCondLst>
                                        </p:cTn>
                                        <p:tgtEl>
                                          <p:spTgt spid="6"/>
                                        </p:tgtEl>
                                        <p:attrNameLst>
                                          <p:attrName>style.visibility</p:attrName>
                                        </p:attrNameLst>
                                      </p:cBhvr>
                                      <p:to>
                                        <p:strVal val="visible"/>
                                      </p:to>
                                    </p:set>
                                    <p:animEffect transition="in" filter="fade">
                                      <p:cBhvr>
                                        <p:cTn id="97" dur="500"/>
                                        <p:tgtEl>
                                          <p:spTgt spid="6"/>
                                        </p:tgtEl>
                                      </p:cBhvr>
                                    </p:animEffect>
                                  </p:childTnLst>
                                </p:cTn>
                              </p:par>
                            </p:childTnLst>
                          </p:cTn>
                        </p:par>
                        <p:par>
                          <p:cTn id="98" fill="hold">
                            <p:stCondLst>
                              <p:cond delay="1000"/>
                            </p:stCondLst>
                            <p:childTnLst>
                              <p:par>
                                <p:cTn id="99" presetID="10" presetClass="entr" presetSubtype="0" fill="hold" nodeType="afterEffect">
                                  <p:stCondLst>
                                    <p:cond delay="0"/>
                                  </p:stCondLst>
                                  <p:childTnLst>
                                    <p:set>
                                      <p:cBhvr>
                                        <p:cTn id="100" dur="1" fill="hold">
                                          <p:stCondLst>
                                            <p:cond delay="0"/>
                                          </p:stCondLst>
                                        </p:cTn>
                                        <p:tgtEl>
                                          <p:spTgt spid="290857"/>
                                        </p:tgtEl>
                                        <p:attrNameLst>
                                          <p:attrName>style.visibility</p:attrName>
                                        </p:attrNameLst>
                                      </p:cBhvr>
                                      <p:to>
                                        <p:strVal val="visible"/>
                                      </p:to>
                                    </p:set>
                                    <p:animEffect transition="in" filter="fade">
                                      <p:cBhvr>
                                        <p:cTn id="101" dur="500"/>
                                        <p:tgtEl>
                                          <p:spTgt spid="290857"/>
                                        </p:tgtEl>
                                      </p:cBhvr>
                                    </p:animEffect>
                                  </p:childTnLst>
                                </p:cTn>
                              </p:par>
                              <p:par>
                                <p:cTn id="102" presetID="10" presetClass="entr" presetSubtype="0" fill="hold" nodeType="withEffect">
                                  <p:stCondLst>
                                    <p:cond delay="0"/>
                                  </p:stCondLst>
                                  <p:childTnLst>
                                    <p:set>
                                      <p:cBhvr>
                                        <p:cTn id="103" dur="1" fill="hold">
                                          <p:stCondLst>
                                            <p:cond delay="0"/>
                                          </p:stCondLst>
                                        </p:cTn>
                                        <p:tgtEl>
                                          <p:spTgt spid="290856"/>
                                        </p:tgtEl>
                                        <p:attrNameLst>
                                          <p:attrName>style.visibility</p:attrName>
                                        </p:attrNameLst>
                                      </p:cBhvr>
                                      <p:to>
                                        <p:strVal val="visible"/>
                                      </p:to>
                                    </p:set>
                                    <p:animEffect transition="in" filter="fade">
                                      <p:cBhvr>
                                        <p:cTn id="104" dur="500"/>
                                        <p:tgtEl>
                                          <p:spTgt spid="290856"/>
                                        </p:tgtEl>
                                      </p:cBhvr>
                                    </p:animEffect>
                                  </p:childTnLst>
                                </p:cTn>
                              </p:par>
                            </p:childTnLst>
                          </p:cTn>
                        </p:par>
                      </p:childTnLst>
                    </p:cTn>
                  </p:par>
                  <p:par>
                    <p:cTn id="105" fill="hold">
                      <p:stCondLst>
                        <p:cond delay="indefinite"/>
                      </p:stCondLst>
                      <p:childTnLst>
                        <p:par>
                          <p:cTn id="106" fill="hold">
                            <p:stCondLst>
                              <p:cond delay="0"/>
                            </p:stCondLst>
                            <p:childTnLst>
                              <p:par>
                                <p:cTn id="107" presetID="22" presetClass="entr" presetSubtype="1" fill="hold" grpId="0" nodeType="clickEffect">
                                  <p:stCondLst>
                                    <p:cond delay="0"/>
                                  </p:stCondLst>
                                  <p:childTnLst>
                                    <p:set>
                                      <p:cBhvr>
                                        <p:cTn id="108" dur="1" fill="hold">
                                          <p:stCondLst>
                                            <p:cond delay="0"/>
                                          </p:stCondLst>
                                        </p:cTn>
                                        <p:tgtEl>
                                          <p:spTgt spid="5"/>
                                        </p:tgtEl>
                                        <p:attrNameLst>
                                          <p:attrName>style.visibility</p:attrName>
                                        </p:attrNameLst>
                                      </p:cBhvr>
                                      <p:to>
                                        <p:strVal val="visible"/>
                                      </p:to>
                                    </p:set>
                                    <p:animEffect transition="in" filter="wipe(up)">
                                      <p:cBhvr>
                                        <p:cTn id="109" dur="500"/>
                                        <p:tgtEl>
                                          <p:spTgt spid="5"/>
                                        </p:tgtEl>
                                      </p:cBhvr>
                                    </p:animEffect>
                                  </p:childTnLst>
                                </p:cTn>
                              </p:par>
                              <p:par>
                                <p:cTn id="110" presetID="10" presetClass="exit" presetSubtype="0" fill="hold" nodeType="withEffect">
                                  <p:stCondLst>
                                    <p:cond delay="0"/>
                                  </p:stCondLst>
                                  <p:childTnLst>
                                    <p:animEffect transition="out" filter="fade">
                                      <p:cBhvr>
                                        <p:cTn id="111" dur="500"/>
                                        <p:tgtEl>
                                          <p:spTgt spid="290854"/>
                                        </p:tgtEl>
                                      </p:cBhvr>
                                    </p:animEffect>
                                    <p:set>
                                      <p:cBhvr>
                                        <p:cTn id="112" dur="1" fill="hold">
                                          <p:stCondLst>
                                            <p:cond delay="499"/>
                                          </p:stCondLst>
                                        </p:cTn>
                                        <p:tgtEl>
                                          <p:spTgt spid="290854"/>
                                        </p:tgtEl>
                                        <p:attrNameLst>
                                          <p:attrName>style.visibility</p:attrName>
                                        </p:attrNameLst>
                                      </p:cBhvr>
                                      <p:to>
                                        <p:strVal val="hidden"/>
                                      </p:to>
                                    </p:set>
                                  </p:childTnLst>
                                </p:cTn>
                              </p:par>
                              <p:par>
                                <p:cTn id="113" presetID="10" presetClass="exit" presetSubtype="0" fill="hold" nodeType="withEffect">
                                  <p:stCondLst>
                                    <p:cond delay="0"/>
                                  </p:stCondLst>
                                  <p:childTnLst>
                                    <p:animEffect transition="out" filter="fade">
                                      <p:cBhvr>
                                        <p:cTn id="114" dur="500"/>
                                        <p:tgtEl>
                                          <p:spTgt spid="4"/>
                                        </p:tgtEl>
                                      </p:cBhvr>
                                    </p:animEffect>
                                    <p:set>
                                      <p:cBhvr>
                                        <p:cTn id="115" dur="1" fill="hold">
                                          <p:stCondLst>
                                            <p:cond delay="499"/>
                                          </p:stCondLst>
                                        </p:cTn>
                                        <p:tgtEl>
                                          <p:spTgt spid="4"/>
                                        </p:tgtEl>
                                        <p:attrNameLst>
                                          <p:attrName>style.visibility</p:attrName>
                                        </p:attrNameLst>
                                      </p:cBhvr>
                                      <p:to>
                                        <p:strVal val="hidden"/>
                                      </p:to>
                                    </p:set>
                                  </p:childTnLst>
                                </p:cTn>
                              </p:par>
                            </p:childTnLst>
                          </p:cTn>
                        </p:par>
                        <p:par>
                          <p:cTn id="116" fill="hold">
                            <p:stCondLst>
                              <p:cond delay="500"/>
                            </p:stCondLst>
                            <p:childTnLst>
                              <p:par>
                                <p:cTn id="117" presetID="63" presetClass="path" presetSubtype="0" accel="50000" decel="50000" fill="hold" nodeType="afterEffect">
                                  <p:stCondLst>
                                    <p:cond delay="0"/>
                                  </p:stCondLst>
                                  <p:childTnLst>
                                    <p:animMotion origin="layout" path="M -0.00078 -3.33333E-6 L -0.46406 0.08959 " pathEditMode="relative" rAng="0" ptsTypes="AA">
                                      <p:cBhvr>
                                        <p:cTn id="118" dur="2000" fill="hold"/>
                                        <p:tgtEl>
                                          <p:spTgt spid="6"/>
                                        </p:tgtEl>
                                        <p:attrNameLst>
                                          <p:attrName>ppt_x</p:attrName>
                                          <p:attrName>ppt_y</p:attrName>
                                        </p:attrNameLst>
                                      </p:cBhvr>
                                      <p:rCtr x="-232" y="45"/>
                                    </p:animMotion>
                                  </p:childTnLst>
                                </p:cTn>
                              </p:par>
                            </p:childTnLst>
                          </p:cTn>
                        </p:par>
                        <p:par>
                          <p:cTn id="119" fill="hold">
                            <p:stCondLst>
                              <p:cond delay="2500"/>
                            </p:stCondLst>
                            <p:childTnLst>
                              <p:par>
                                <p:cTn id="120" presetID="10" presetClass="exit" presetSubtype="0" fill="hold" grpId="1" nodeType="afterEffect">
                                  <p:stCondLst>
                                    <p:cond delay="0"/>
                                  </p:stCondLst>
                                  <p:childTnLst>
                                    <p:animEffect transition="out" filter="fade">
                                      <p:cBhvr>
                                        <p:cTn id="121" dur="500"/>
                                        <p:tgtEl>
                                          <p:spTgt spid="5"/>
                                        </p:tgtEl>
                                      </p:cBhvr>
                                    </p:animEffect>
                                    <p:set>
                                      <p:cBhvr>
                                        <p:cTn id="122" dur="1" fill="hold">
                                          <p:stCondLst>
                                            <p:cond delay="499"/>
                                          </p:stCondLst>
                                        </p:cTn>
                                        <p:tgtEl>
                                          <p:spTgt spid="5"/>
                                        </p:tgtEl>
                                        <p:attrNameLst>
                                          <p:attrName>style.visibility</p:attrName>
                                        </p:attrNameLst>
                                      </p:cBhvr>
                                      <p:to>
                                        <p:strVal val="hidden"/>
                                      </p:to>
                                    </p:set>
                                  </p:childTnLst>
                                </p:cTn>
                              </p:par>
                            </p:childTnLst>
                          </p:cTn>
                        </p:par>
                        <p:par>
                          <p:cTn id="123" fill="hold">
                            <p:stCondLst>
                              <p:cond delay="3000"/>
                            </p:stCondLst>
                            <p:childTnLst>
                              <p:par>
                                <p:cTn id="124" presetID="10" presetClass="exit" presetSubtype="0" fill="hold" nodeType="afterEffect">
                                  <p:stCondLst>
                                    <p:cond delay="0"/>
                                  </p:stCondLst>
                                  <p:childTnLst>
                                    <p:animEffect transition="out" filter="fade">
                                      <p:cBhvr>
                                        <p:cTn id="125" dur="500"/>
                                        <p:tgtEl>
                                          <p:spTgt spid="6"/>
                                        </p:tgtEl>
                                      </p:cBhvr>
                                    </p:animEffect>
                                    <p:set>
                                      <p:cBhvr>
                                        <p:cTn id="126" dur="1" fill="hold">
                                          <p:stCondLst>
                                            <p:cond delay="499"/>
                                          </p:stCondLst>
                                        </p:cTn>
                                        <p:tgtEl>
                                          <p:spTgt spid="6"/>
                                        </p:tgtEl>
                                        <p:attrNameLst>
                                          <p:attrName>style.visibility</p:attrName>
                                        </p:attrNameLst>
                                      </p:cBhvr>
                                      <p:to>
                                        <p:strVal val="hidden"/>
                                      </p:to>
                                    </p:set>
                                  </p:childTnLst>
                                </p:cTn>
                              </p:par>
                              <p:par>
                                <p:cTn id="127" presetID="10" presetClass="entr" presetSubtype="0" fill="hold" nodeType="withEffect">
                                  <p:stCondLst>
                                    <p:cond delay="0"/>
                                  </p:stCondLst>
                                  <p:childTnLst>
                                    <p:set>
                                      <p:cBhvr>
                                        <p:cTn id="128" dur="1" fill="hold">
                                          <p:stCondLst>
                                            <p:cond delay="0"/>
                                          </p:stCondLst>
                                        </p:cTn>
                                        <p:tgtEl>
                                          <p:spTgt spid="290839"/>
                                        </p:tgtEl>
                                        <p:attrNameLst>
                                          <p:attrName>style.visibility</p:attrName>
                                        </p:attrNameLst>
                                      </p:cBhvr>
                                      <p:to>
                                        <p:strVal val="visible"/>
                                      </p:to>
                                    </p:set>
                                    <p:animEffect transition="in" filter="fade">
                                      <p:cBhvr>
                                        <p:cTn id="129" dur="500"/>
                                        <p:tgtEl>
                                          <p:spTgt spid="290839"/>
                                        </p:tgtEl>
                                      </p:cBhvr>
                                    </p:animEffect>
                                  </p:childTnLst>
                                </p:cTn>
                              </p:par>
                              <p:par>
                                <p:cTn id="130" presetID="10" presetClass="exit" presetSubtype="0" fill="hold" nodeType="withEffect">
                                  <p:stCondLst>
                                    <p:cond delay="0"/>
                                  </p:stCondLst>
                                  <p:childTnLst>
                                    <p:animEffect transition="out" filter="fade">
                                      <p:cBhvr>
                                        <p:cTn id="131" dur="500"/>
                                        <p:tgtEl>
                                          <p:spTgt spid="290856"/>
                                        </p:tgtEl>
                                      </p:cBhvr>
                                    </p:animEffect>
                                    <p:set>
                                      <p:cBhvr>
                                        <p:cTn id="132" dur="1" fill="hold">
                                          <p:stCondLst>
                                            <p:cond delay="499"/>
                                          </p:stCondLst>
                                        </p:cTn>
                                        <p:tgtEl>
                                          <p:spTgt spid="290856"/>
                                        </p:tgtEl>
                                        <p:attrNameLst>
                                          <p:attrName>style.visibility</p:attrName>
                                        </p:attrNameLst>
                                      </p:cBhvr>
                                      <p:to>
                                        <p:strVal val="hidden"/>
                                      </p:to>
                                    </p:set>
                                  </p:childTnLst>
                                </p:cTn>
                              </p:par>
                              <p:par>
                                <p:cTn id="133" presetID="10" presetClass="exit" presetSubtype="0" fill="hold" nodeType="withEffect">
                                  <p:stCondLst>
                                    <p:cond delay="0"/>
                                  </p:stCondLst>
                                  <p:childTnLst>
                                    <p:animEffect transition="out" filter="fade">
                                      <p:cBhvr>
                                        <p:cTn id="134" dur="500"/>
                                        <p:tgtEl>
                                          <p:spTgt spid="290857"/>
                                        </p:tgtEl>
                                      </p:cBhvr>
                                    </p:animEffect>
                                    <p:set>
                                      <p:cBhvr>
                                        <p:cTn id="135" dur="1" fill="hold">
                                          <p:stCondLst>
                                            <p:cond delay="499"/>
                                          </p:stCondLst>
                                        </p:cTn>
                                        <p:tgtEl>
                                          <p:spTgt spid="290857"/>
                                        </p:tgtEl>
                                        <p:attrNameLst>
                                          <p:attrName>style.visibility</p:attrName>
                                        </p:attrNameLst>
                                      </p:cBhvr>
                                      <p:to>
                                        <p:strVal val="hidden"/>
                                      </p:to>
                                    </p:set>
                                  </p:childTnLst>
                                </p:cTn>
                              </p:par>
                              <p:par>
                                <p:cTn id="136" presetID="10" presetClass="entr" presetSubtype="0" fill="hold" nodeType="withEffect">
                                  <p:stCondLst>
                                    <p:cond delay="0"/>
                                  </p:stCondLst>
                                  <p:childTnLst>
                                    <p:set>
                                      <p:cBhvr>
                                        <p:cTn id="137" dur="1" fill="hold">
                                          <p:stCondLst>
                                            <p:cond delay="0"/>
                                          </p:stCondLst>
                                        </p:cTn>
                                        <p:tgtEl>
                                          <p:spTgt spid="290854"/>
                                        </p:tgtEl>
                                        <p:attrNameLst>
                                          <p:attrName>style.visibility</p:attrName>
                                        </p:attrNameLst>
                                      </p:cBhvr>
                                      <p:to>
                                        <p:strVal val="visible"/>
                                      </p:to>
                                    </p:set>
                                    <p:animEffect transition="in" filter="fade">
                                      <p:cBhvr>
                                        <p:cTn id="138" dur="500"/>
                                        <p:tgtEl>
                                          <p:spTgt spid="290854"/>
                                        </p:tgtEl>
                                      </p:cBhvr>
                                    </p:animEffect>
                                  </p:childTnLst>
                                </p:cTn>
                              </p:par>
                            </p:childTnLst>
                          </p:cTn>
                        </p:par>
                        <p:par>
                          <p:cTn id="139" fill="hold">
                            <p:stCondLst>
                              <p:cond delay="3500"/>
                            </p:stCondLst>
                            <p:childTnLst>
                              <p:par>
                                <p:cTn id="140" presetID="22" presetClass="entr" presetSubtype="8" fill="hold" nodeType="afterEffect">
                                  <p:stCondLst>
                                    <p:cond delay="0"/>
                                  </p:stCondLst>
                                  <p:childTnLst>
                                    <p:set>
                                      <p:cBhvr>
                                        <p:cTn id="141" dur="1" fill="hold">
                                          <p:stCondLst>
                                            <p:cond delay="0"/>
                                          </p:stCondLst>
                                        </p:cTn>
                                        <p:tgtEl>
                                          <p:spTgt spid="52"/>
                                        </p:tgtEl>
                                        <p:attrNameLst>
                                          <p:attrName>style.visibility</p:attrName>
                                        </p:attrNameLst>
                                      </p:cBhvr>
                                      <p:to>
                                        <p:strVal val="visible"/>
                                      </p:to>
                                    </p:set>
                                    <p:animEffect transition="in" filter="wipe(left)">
                                      <p:cBhvr>
                                        <p:cTn id="142" dur="500"/>
                                        <p:tgtEl>
                                          <p:spTgt spid="52"/>
                                        </p:tgtEl>
                                      </p:cBhvr>
                                    </p:animEffect>
                                  </p:childTnLst>
                                </p:cTn>
                              </p:par>
                              <p:par>
                                <p:cTn id="143" presetID="22" presetClass="entr" presetSubtype="8" fill="hold" nodeType="withEffect">
                                  <p:stCondLst>
                                    <p:cond delay="0"/>
                                  </p:stCondLst>
                                  <p:childTnLst>
                                    <p:set>
                                      <p:cBhvr>
                                        <p:cTn id="144" dur="1" fill="hold">
                                          <p:stCondLst>
                                            <p:cond delay="0"/>
                                          </p:stCondLst>
                                        </p:cTn>
                                        <p:tgtEl>
                                          <p:spTgt spid="53"/>
                                        </p:tgtEl>
                                        <p:attrNameLst>
                                          <p:attrName>style.visibility</p:attrName>
                                        </p:attrNameLst>
                                      </p:cBhvr>
                                      <p:to>
                                        <p:strVal val="visible"/>
                                      </p:to>
                                    </p:set>
                                    <p:animEffect transition="in" filter="wipe(left)">
                                      <p:cBhvr>
                                        <p:cTn id="145" dur="500"/>
                                        <p:tgtEl>
                                          <p:spTgt spid="53"/>
                                        </p:tgtEl>
                                      </p:cBhvr>
                                    </p:animEffect>
                                  </p:childTnLst>
                                </p:cTn>
                              </p:par>
                              <p:par>
                                <p:cTn id="146" presetID="22" presetClass="entr" presetSubtype="8" fill="hold" nodeType="withEffect">
                                  <p:stCondLst>
                                    <p:cond delay="0"/>
                                  </p:stCondLst>
                                  <p:childTnLst>
                                    <p:set>
                                      <p:cBhvr>
                                        <p:cTn id="147" dur="1" fill="hold">
                                          <p:stCondLst>
                                            <p:cond delay="0"/>
                                          </p:stCondLst>
                                        </p:cTn>
                                        <p:tgtEl>
                                          <p:spTgt spid="54"/>
                                        </p:tgtEl>
                                        <p:attrNameLst>
                                          <p:attrName>style.visibility</p:attrName>
                                        </p:attrNameLst>
                                      </p:cBhvr>
                                      <p:to>
                                        <p:strVal val="visible"/>
                                      </p:to>
                                    </p:set>
                                    <p:animEffect transition="in" filter="wipe(left)">
                                      <p:cBhvr>
                                        <p:cTn id="148" dur="500"/>
                                        <p:tgtEl>
                                          <p:spTgt spid="54"/>
                                        </p:tgtEl>
                                      </p:cBhvr>
                                    </p:animEffect>
                                  </p:childTnLst>
                                </p:cTn>
                              </p:par>
                            </p:childTnLst>
                          </p:cTn>
                        </p:par>
                        <p:par>
                          <p:cTn id="149" fill="hold">
                            <p:stCondLst>
                              <p:cond delay="4000"/>
                            </p:stCondLst>
                            <p:childTnLst>
                              <p:par>
                                <p:cTn id="150" presetID="22" presetClass="entr" presetSubtype="8" fill="hold" nodeType="afterEffect">
                                  <p:stCondLst>
                                    <p:cond delay="0"/>
                                  </p:stCondLst>
                                  <p:childTnLst>
                                    <p:set>
                                      <p:cBhvr>
                                        <p:cTn id="151" dur="1" fill="hold">
                                          <p:stCondLst>
                                            <p:cond delay="0"/>
                                          </p:stCondLst>
                                        </p:cTn>
                                        <p:tgtEl>
                                          <p:spTgt spid="55"/>
                                        </p:tgtEl>
                                        <p:attrNameLst>
                                          <p:attrName>style.visibility</p:attrName>
                                        </p:attrNameLst>
                                      </p:cBhvr>
                                      <p:to>
                                        <p:strVal val="visible"/>
                                      </p:to>
                                    </p:set>
                                    <p:animEffect transition="in" filter="wipe(left)">
                                      <p:cBhvr>
                                        <p:cTn id="152" dur="500"/>
                                        <p:tgtEl>
                                          <p:spTgt spid="55"/>
                                        </p:tgtEl>
                                      </p:cBhvr>
                                    </p:animEffect>
                                  </p:childTnLst>
                                </p:cTn>
                              </p:par>
                              <p:par>
                                <p:cTn id="153" presetID="22" presetClass="entr" presetSubtype="8" fill="hold" nodeType="withEffect">
                                  <p:stCondLst>
                                    <p:cond delay="0"/>
                                  </p:stCondLst>
                                  <p:childTnLst>
                                    <p:set>
                                      <p:cBhvr>
                                        <p:cTn id="154" dur="1" fill="hold">
                                          <p:stCondLst>
                                            <p:cond delay="0"/>
                                          </p:stCondLst>
                                        </p:cTn>
                                        <p:tgtEl>
                                          <p:spTgt spid="56"/>
                                        </p:tgtEl>
                                        <p:attrNameLst>
                                          <p:attrName>style.visibility</p:attrName>
                                        </p:attrNameLst>
                                      </p:cBhvr>
                                      <p:to>
                                        <p:strVal val="visible"/>
                                      </p:to>
                                    </p:set>
                                    <p:animEffect transition="in" filter="wipe(left)">
                                      <p:cBhvr>
                                        <p:cTn id="155" dur="500"/>
                                        <p:tgtEl>
                                          <p:spTgt spid="56"/>
                                        </p:tgtEl>
                                      </p:cBhvr>
                                    </p:animEffect>
                                  </p:childTnLst>
                                </p:cTn>
                              </p:par>
                              <p:par>
                                <p:cTn id="156" presetID="22" presetClass="entr" presetSubtype="8" fill="hold" nodeType="withEffect">
                                  <p:stCondLst>
                                    <p:cond delay="0"/>
                                  </p:stCondLst>
                                  <p:childTnLst>
                                    <p:set>
                                      <p:cBhvr>
                                        <p:cTn id="157" dur="1" fill="hold">
                                          <p:stCondLst>
                                            <p:cond delay="0"/>
                                          </p:stCondLst>
                                        </p:cTn>
                                        <p:tgtEl>
                                          <p:spTgt spid="57"/>
                                        </p:tgtEl>
                                        <p:attrNameLst>
                                          <p:attrName>style.visibility</p:attrName>
                                        </p:attrNameLst>
                                      </p:cBhvr>
                                      <p:to>
                                        <p:strVal val="visible"/>
                                      </p:to>
                                    </p:set>
                                    <p:animEffect transition="in" filter="wipe(left)">
                                      <p:cBhvr>
                                        <p:cTn id="158"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0844" grpId="0" animBg="1"/>
      <p:bldP spid="290844" grpId="1" animBg="1"/>
      <p:bldP spid="5" grpId="0" animBg="1"/>
      <p:bldP spid="5" grpId="1"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nn-NO" dirty="0">
                <a:solidFill>
                  <a:schemeClr val="tx1">
                    <a:lumMod val="85000"/>
                  </a:schemeClr>
                </a:solidFill>
              </a:rPr>
              <a:t>Adaptive insightful experience</a:t>
            </a:r>
            <a:endParaRPr lang="en-US" dirty="0">
              <a:solidFill>
                <a:schemeClr val="tx1">
                  <a:lumMod val="85000"/>
                </a:schemeClr>
              </a:solidFill>
            </a:endParaRPr>
          </a:p>
        </p:txBody>
      </p:sp>
      <p:sp>
        <p:nvSpPr>
          <p:cNvPr id="12" name="Rectangle 11"/>
          <p:cNvSpPr/>
          <p:nvPr>
            <p:custDataLst>
              <p:tags r:id="rId1"/>
            </p:custDataLst>
          </p:nvPr>
        </p:nvSpPr>
        <p:spPr bwMode="auto">
          <a:xfrm>
            <a:off x="856288" y="1257300"/>
            <a:ext cx="2229431" cy="3086100"/>
          </a:xfrm>
          <a:prstGeom prst="rect">
            <a:avLst/>
          </a:prstGeom>
          <a:solidFill>
            <a:srgbClr val="B4009E"/>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51430" tIns="34286" rIns="51430" bIns="34286" numCol="1" rtlCol="0" anchor="b" anchorCtr="0" compatLnSpc="1">
            <a:prstTxWarp prst="textNoShape">
              <a:avLst/>
            </a:prstTxWarp>
          </a:bodyPr>
          <a:lstStyle/>
          <a:p>
            <a:pPr defTabSz="685495"/>
            <a:r>
              <a:rPr lang="en-US" sz="1100" dirty="0">
                <a:solidFill>
                  <a:srgbClr val="FFFFFF">
                    <a:alpha val="98824"/>
                  </a:srgbClr>
                </a:solidFill>
                <a:latin typeface="Segoe UI" pitchFamily="34" charset="0"/>
                <a:ea typeface="Segoe UI" pitchFamily="34" charset="0"/>
                <a:cs typeface="Segoe UI" pitchFamily="34" charset="0"/>
              </a:rPr>
              <a:t>Generation &lt;&lt;ME&gt;&gt;</a:t>
            </a:r>
          </a:p>
        </p:txBody>
      </p:sp>
      <p:sp>
        <p:nvSpPr>
          <p:cNvPr id="18" name="Rectangle 17"/>
          <p:cNvSpPr/>
          <p:nvPr>
            <p:custDataLst>
              <p:tags r:id="rId2"/>
            </p:custDataLst>
          </p:nvPr>
        </p:nvSpPr>
        <p:spPr bwMode="auto">
          <a:xfrm>
            <a:off x="3251933" y="1258933"/>
            <a:ext cx="1543452" cy="1485900"/>
          </a:xfrm>
          <a:prstGeom prst="rect">
            <a:avLst/>
          </a:prstGeom>
          <a:solidFill>
            <a:srgbClr val="B4009E"/>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9524" tIns="46667" rIns="69524" bIns="46667" numCol="1" rtlCol="0" anchor="b" anchorCtr="0" compatLnSpc="1">
            <a:prstTxWarp prst="textNoShape">
              <a:avLst/>
            </a:prstTxWarp>
          </a:bodyPr>
          <a:lstStyle/>
          <a:p>
            <a:pPr defTabSz="685495"/>
            <a:r>
              <a:rPr lang="en-US" sz="1500" dirty="0">
                <a:solidFill>
                  <a:srgbClr val="FFFFFF">
                    <a:alpha val="98824"/>
                  </a:srgbClr>
                </a:solidFill>
                <a:latin typeface="Segoe UI" pitchFamily="34" charset="0"/>
                <a:ea typeface="Segoe UI" pitchFamily="34" charset="0"/>
                <a:cs typeface="Segoe UI" pitchFamily="34" charset="0"/>
              </a:rPr>
              <a:t>Social group behavior</a:t>
            </a:r>
          </a:p>
        </p:txBody>
      </p:sp>
      <p:sp>
        <p:nvSpPr>
          <p:cNvPr id="19" name="Rectangle 18"/>
          <p:cNvSpPr/>
          <p:nvPr>
            <p:custDataLst>
              <p:tags r:id="rId3"/>
            </p:custDataLst>
          </p:nvPr>
        </p:nvSpPr>
        <p:spPr bwMode="auto">
          <a:xfrm>
            <a:off x="3241825" y="2884443"/>
            <a:ext cx="1543452" cy="1436098"/>
          </a:xfrm>
          <a:prstGeom prst="rect">
            <a:avLst/>
          </a:prstGeom>
          <a:solidFill>
            <a:srgbClr val="B4009E"/>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9524" tIns="46667" rIns="69524" bIns="46667" numCol="1" rtlCol="0" anchor="b" anchorCtr="0" compatLnSpc="1">
            <a:prstTxWarp prst="textNoShape">
              <a:avLst/>
            </a:prstTxWarp>
          </a:bodyPr>
          <a:lstStyle/>
          <a:p>
            <a:pPr defTabSz="685495"/>
            <a:r>
              <a:rPr lang="en-US" sz="1500" dirty="0">
                <a:solidFill>
                  <a:srgbClr val="FFFFFF">
                    <a:alpha val="98824"/>
                  </a:srgbClr>
                </a:solidFill>
                <a:latin typeface="Segoe UI" pitchFamily="34" charset="0"/>
                <a:ea typeface="Segoe UI" pitchFamily="34" charset="0"/>
                <a:cs typeface="Segoe UI" pitchFamily="34" charset="0"/>
              </a:rPr>
              <a:t>User preferences</a:t>
            </a:r>
          </a:p>
        </p:txBody>
      </p:sp>
      <p:sp>
        <p:nvSpPr>
          <p:cNvPr id="20" name="Rectangle 19"/>
          <p:cNvSpPr/>
          <p:nvPr>
            <p:custDataLst>
              <p:tags r:id="rId4"/>
            </p:custDataLst>
          </p:nvPr>
        </p:nvSpPr>
        <p:spPr bwMode="auto">
          <a:xfrm>
            <a:off x="4946357" y="1258933"/>
            <a:ext cx="1543452" cy="1485900"/>
          </a:xfrm>
          <a:prstGeom prst="rect">
            <a:avLst/>
          </a:prstGeom>
          <a:solidFill>
            <a:srgbClr val="B4009E"/>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9524" tIns="46667" rIns="69524" bIns="46667" numCol="1" rtlCol="0" anchor="b" anchorCtr="0" compatLnSpc="1">
            <a:prstTxWarp prst="textNoShape">
              <a:avLst/>
            </a:prstTxWarp>
          </a:bodyPr>
          <a:lstStyle/>
          <a:p>
            <a:pPr defTabSz="685495"/>
            <a:r>
              <a:rPr lang="en-US" sz="1500" dirty="0">
                <a:solidFill>
                  <a:srgbClr val="FFFFFF">
                    <a:alpha val="98824"/>
                  </a:srgbClr>
                </a:solidFill>
                <a:latin typeface="Segoe UI" pitchFamily="34" charset="0"/>
                <a:ea typeface="Segoe UI" pitchFamily="34" charset="0"/>
                <a:cs typeface="Segoe UI" pitchFamily="34" charset="0"/>
              </a:rPr>
              <a:t>Right information at the right time</a:t>
            </a:r>
          </a:p>
        </p:txBody>
      </p:sp>
      <p:sp>
        <p:nvSpPr>
          <p:cNvPr id="21" name="Rectangle 20"/>
          <p:cNvSpPr/>
          <p:nvPr>
            <p:custDataLst>
              <p:tags r:id="rId5"/>
            </p:custDataLst>
          </p:nvPr>
        </p:nvSpPr>
        <p:spPr bwMode="auto">
          <a:xfrm>
            <a:off x="4950814" y="2884443"/>
            <a:ext cx="1543452" cy="1436098"/>
          </a:xfrm>
          <a:prstGeom prst="rect">
            <a:avLst/>
          </a:prstGeom>
          <a:solidFill>
            <a:srgbClr val="B4009E"/>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9524" tIns="46667" rIns="69524" bIns="46667" numCol="1" rtlCol="0" anchor="b" anchorCtr="0" compatLnSpc="1">
            <a:prstTxWarp prst="textNoShape">
              <a:avLst/>
            </a:prstTxWarp>
          </a:bodyPr>
          <a:lstStyle/>
          <a:p>
            <a:pPr defTabSz="685495"/>
            <a:r>
              <a:rPr lang="en-US" sz="1500" dirty="0">
                <a:solidFill>
                  <a:srgbClr val="FFFFFF">
                    <a:alpha val="98824"/>
                  </a:srgbClr>
                </a:solidFill>
                <a:latin typeface="Segoe UI" pitchFamily="34" charset="0"/>
                <a:ea typeface="Segoe UI" pitchFamily="34" charset="0"/>
                <a:cs typeface="Segoe UI" pitchFamily="34" charset="0"/>
              </a:rPr>
              <a:t>User behavior</a:t>
            </a:r>
          </a:p>
        </p:txBody>
      </p:sp>
      <p:sp>
        <p:nvSpPr>
          <p:cNvPr id="23" name="Rectangle 22"/>
          <p:cNvSpPr/>
          <p:nvPr>
            <p:custDataLst>
              <p:tags r:id="rId6"/>
            </p:custDataLst>
          </p:nvPr>
        </p:nvSpPr>
        <p:spPr bwMode="auto">
          <a:xfrm>
            <a:off x="6608596" y="1257306"/>
            <a:ext cx="1543452" cy="1487533"/>
          </a:xfrm>
          <a:prstGeom prst="rect">
            <a:avLst/>
          </a:prstGeom>
          <a:solidFill>
            <a:srgbClr val="B4009E"/>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9524" tIns="46667" rIns="69524" bIns="46667" numCol="1" rtlCol="0" anchor="b" anchorCtr="0" compatLnSpc="1">
            <a:prstTxWarp prst="textNoShape">
              <a:avLst/>
            </a:prstTxWarp>
          </a:bodyPr>
          <a:lstStyle/>
          <a:p>
            <a:pPr defTabSz="685495"/>
            <a:r>
              <a:rPr lang="en-US" sz="1500" dirty="0">
                <a:solidFill>
                  <a:srgbClr val="FFFFFF">
                    <a:alpha val="98824"/>
                  </a:srgbClr>
                </a:solidFill>
                <a:latin typeface="Segoe UI" pitchFamily="34" charset="0"/>
                <a:ea typeface="Segoe UI" pitchFamily="34" charset="0"/>
                <a:cs typeface="Segoe UI" pitchFamily="34" charset="0"/>
              </a:rPr>
              <a:t>User intent</a:t>
            </a:r>
          </a:p>
        </p:txBody>
      </p:sp>
      <p:sp>
        <p:nvSpPr>
          <p:cNvPr id="9"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0"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9"/>
              </a:rPr>
              <a:t>www.rapidbbs.cn</a:t>
            </a:r>
            <a:endParaRPr lang="zh-CN" altLang="en-US" sz="1200" b="0">
              <a:latin typeface="Arial" charset="0"/>
              <a:ea typeface="ＭＳ Ｐゴシック" pitchFamily="34" charset="-128"/>
            </a:endParaRPr>
          </a:p>
        </p:txBody>
      </p:sp>
      <p:pic>
        <p:nvPicPr>
          <p:cNvPr id="11" name="Picture 2">
            <a:hlinkClick r:id="rId9"/>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80819090"/>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par>
    </p:tnLst>
  </p:timing>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 name="Rectangle 140"/>
          <p:cNvSpPr>
            <a:spLocks noChangeArrowheads="1"/>
          </p:cNvSpPr>
          <p:nvPr/>
        </p:nvSpPr>
        <p:spPr bwMode="auto">
          <a:xfrm>
            <a:off x="529380" y="3371851"/>
            <a:ext cx="8117414" cy="1106091"/>
          </a:xfrm>
          <a:prstGeom prst="rect">
            <a:avLst/>
          </a:prstGeom>
          <a:solidFill>
            <a:schemeClr val="tx2">
              <a:alpha val="90000"/>
            </a:schemeClr>
          </a:solidFill>
          <a:ln w="9525" algn="ctr">
            <a:noFill/>
            <a:miter lim="800000"/>
            <a:headEnd/>
            <a:tailEnd/>
          </a:ln>
          <a:effectLst/>
        </p:spPr>
        <p:txBody>
          <a:bodyPr lIns="68586" tIns="34294" rIns="68586" bIns="34294" anchor="ctr"/>
          <a:lstStyle/>
          <a:p>
            <a:pPr algn="ctr">
              <a:defRPr/>
            </a:pPr>
            <a:endParaRPr lang="en-US" dirty="0">
              <a:solidFill>
                <a:schemeClr val="lt1"/>
              </a:solidFill>
              <a:latin typeface="+mn-lt"/>
              <a:cs typeface="+mn-cs"/>
            </a:endParaRPr>
          </a:p>
        </p:txBody>
      </p:sp>
      <p:pic>
        <p:nvPicPr>
          <p:cNvPr id="20" name="Picture 19" descr="Library.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34892" y="3232922"/>
            <a:ext cx="921588" cy="920244"/>
          </a:xfrm>
          <a:prstGeom prst="rect">
            <a:avLst/>
          </a:prstGeom>
        </p:spPr>
      </p:pic>
      <p:sp>
        <p:nvSpPr>
          <p:cNvPr id="62" name="Rectangle 61"/>
          <p:cNvSpPr>
            <a:spLocks noChangeArrowheads="1"/>
          </p:cNvSpPr>
          <p:nvPr/>
        </p:nvSpPr>
        <p:spPr bwMode="auto">
          <a:xfrm>
            <a:off x="529380" y="942976"/>
            <a:ext cx="8117414" cy="2105025"/>
          </a:xfrm>
          <a:prstGeom prst="rect">
            <a:avLst/>
          </a:prstGeom>
          <a:solidFill>
            <a:schemeClr val="bg2"/>
          </a:solidFill>
          <a:ln w="9525" algn="ctr">
            <a:noFill/>
            <a:miter lim="800000"/>
            <a:headEnd/>
            <a:tailEnd/>
          </a:ln>
          <a:effectLst/>
        </p:spPr>
        <p:txBody>
          <a:bodyPr lIns="68586" tIns="34294" rIns="68586" bIns="34294" anchor="ctr"/>
          <a:lstStyle/>
          <a:p>
            <a:pPr algn="ctr">
              <a:defRPr/>
            </a:pPr>
            <a:endParaRPr lang="en-US" dirty="0">
              <a:solidFill>
                <a:schemeClr val="lt1"/>
              </a:solidFill>
              <a:latin typeface="+mn-lt"/>
              <a:cs typeface="+mn-cs"/>
            </a:endParaRPr>
          </a:p>
        </p:txBody>
      </p:sp>
      <p:sp>
        <p:nvSpPr>
          <p:cNvPr id="106" name="Rectangle 105"/>
          <p:cNvSpPr>
            <a:spLocks noChangeArrowheads="1"/>
          </p:cNvSpPr>
          <p:nvPr/>
        </p:nvSpPr>
        <p:spPr bwMode="auto">
          <a:xfrm>
            <a:off x="529380" y="942975"/>
            <a:ext cx="8117414" cy="285750"/>
          </a:xfrm>
          <a:prstGeom prst="rect">
            <a:avLst/>
          </a:prstGeom>
          <a:solidFill>
            <a:schemeClr val="accent1"/>
          </a:solidFill>
          <a:ln w="9525" algn="ctr">
            <a:noFill/>
            <a:miter lim="800000"/>
            <a:headEnd/>
            <a:tailEnd/>
          </a:ln>
          <a:effectLst/>
        </p:spPr>
        <p:txBody>
          <a:bodyPr lIns="68586" tIns="34294" rIns="68586" bIns="34294" anchor="ctr"/>
          <a:lstStyle/>
          <a:p>
            <a:pPr algn="ctr"/>
            <a:endParaRPr lang="en-US" b="1" dirty="0">
              <a:solidFill>
                <a:srgbClr val="FFFFFF"/>
              </a:solidFill>
            </a:endParaRPr>
          </a:p>
        </p:txBody>
      </p:sp>
      <p:sp>
        <p:nvSpPr>
          <p:cNvPr id="2" name="Title 1"/>
          <p:cNvSpPr>
            <a:spLocks noGrp="1"/>
          </p:cNvSpPr>
          <p:nvPr>
            <p:ph type="title" idx="4294967295"/>
          </p:nvPr>
        </p:nvSpPr>
        <p:spPr>
          <a:xfrm>
            <a:off x="381100" y="171450"/>
            <a:ext cx="8363938" cy="457048"/>
          </a:xfrm>
        </p:spPr>
        <p:txBody>
          <a:bodyPr/>
          <a:lstStyle/>
          <a:p>
            <a:r>
              <a:rPr lang="en-US" dirty="0" smtClean="0"/>
              <a:t>Standardize Services</a:t>
            </a:r>
          </a:p>
        </p:txBody>
      </p:sp>
      <p:sp>
        <p:nvSpPr>
          <p:cNvPr id="65" name="Rectangle 64"/>
          <p:cNvSpPr>
            <a:spLocks noChangeArrowheads="1"/>
          </p:cNvSpPr>
          <p:nvPr/>
        </p:nvSpPr>
        <p:spPr bwMode="auto">
          <a:xfrm>
            <a:off x="6131539" y="1371600"/>
            <a:ext cx="2057936" cy="1543050"/>
          </a:xfrm>
          <a:prstGeom prst="rect">
            <a:avLst/>
          </a:prstGeom>
          <a:solidFill>
            <a:schemeClr val="accent1"/>
          </a:solidFill>
          <a:ln w="9525" algn="ctr">
            <a:noFill/>
            <a:miter lim="800000"/>
            <a:headEnd/>
            <a:tailEnd/>
          </a:ln>
          <a:effectLst/>
        </p:spPr>
        <p:txBody>
          <a:bodyPr lIns="68586" tIns="34294" rIns="68586" bIns="34294" anchor="ctr"/>
          <a:lstStyle/>
          <a:p>
            <a:pPr algn="ctr">
              <a:defRPr/>
            </a:pPr>
            <a:endParaRPr lang="en-US" dirty="0">
              <a:solidFill>
                <a:schemeClr val="lt1"/>
              </a:solidFill>
              <a:latin typeface="+mn-lt"/>
              <a:cs typeface="+mn-cs"/>
            </a:endParaRPr>
          </a:p>
        </p:txBody>
      </p:sp>
      <p:sp>
        <p:nvSpPr>
          <p:cNvPr id="68" name="Rectangle 67"/>
          <p:cNvSpPr>
            <a:spLocks noChangeArrowheads="1"/>
          </p:cNvSpPr>
          <p:nvPr/>
        </p:nvSpPr>
        <p:spPr bwMode="auto">
          <a:xfrm>
            <a:off x="6245869" y="1657350"/>
            <a:ext cx="1829276" cy="228600"/>
          </a:xfrm>
          <a:prstGeom prst="rect">
            <a:avLst/>
          </a:prstGeom>
          <a:solidFill>
            <a:schemeClr val="accent1">
              <a:lumMod val="75000"/>
            </a:schemeClr>
          </a:solidFill>
          <a:ln w="9525" algn="ctr">
            <a:noFill/>
            <a:miter lim="800000"/>
            <a:headEnd/>
            <a:tailEnd/>
          </a:ln>
          <a:effectLst/>
        </p:spPr>
        <p:txBody>
          <a:bodyPr lIns="68586" tIns="34294" rIns="68586" bIns="34294" anchor="ctr"/>
          <a:lstStyle/>
          <a:p>
            <a:pPr algn="ctr"/>
            <a:r>
              <a:rPr lang="en-US" sz="900" b="1" dirty="0">
                <a:solidFill>
                  <a:srgbClr val="FFFFFF"/>
                </a:solidFill>
                <a:cs typeface="Arial" pitchFamily="34" charset="0"/>
              </a:rPr>
              <a:t>      Scale-out and health policy</a:t>
            </a:r>
          </a:p>
        </p:txBody>
      </p:sp>
      <p:sp>
        <p:nvSpPr>
          <p:cNvPr id="69" name="TextBox 68"/>
          <p:cNvSpPr txBox="1"/>
          <p:nvPr/>
        </p:nvSpPr>
        <p:spPr>
          <a:xfrm>
            <a:off x="2275291" y="975124"/>
            <a:ext cx="4230202" cy="253603"/>
          </a:xfrm>
          <a:prstGeom prst="rect">
            <a:avLst/>
          </a:prstGeom>
          <a:noFill/>
        </p:spPr>
        <p:txBody>
          <a:bodyPr lIns="68586" tIns="34294" rIns="68586" bIns="34294">
            <a:spAutoFit/>
          </a:bodyPr>
          <a:lstStyle/>
          <a:p>
            <a:pPr algn="ctr"/>
            <a:r>
              <a:rPr lang="en-US" sz="1200" dirty="0">
                <a:cs typeface="Arial" pitchFamily="34" charset="0"/>
              </a:rPr>
              <a:t>Service Template (Multi-Tier .NET Application)</a:t>
            </a:r>
          </a:p>
        </p:txBody>
      </p:sp>
      <p:sp>
        <p:nvSpPr>
          <p:cNvPr id="84" name="Rectangle 83"/>
          <p:cNvSpPr>
            <a:spLocks noChangeArrowheads="1"/>
          </p:cNvSpPr>
          <p:nvPr/>
        </p:nvSpPr>
        <p:spPr bwMode="auto">
          <a:xfrm>
            <a:off x="6245870" y="1943100"/>
            <a:ext cx="1835231" cy="857250"/>
          </a:xfrm>
          <a:prstGeom prst="rect">
            <a:avLst/>
          </a:prstGeom>
          <a:solidFill>
            <a:schemeClr val="accent1">
              <a:lumMod val="75000"/>
            </a:schemeClr>
          </a:solidFill>
          <a:ln w="9525" algn="ctr">
            <a:noFill/>
            <a:miter lim="800000"/>
            <a:headEnd/>
            <a:tailEnd/>
          </a:ln>
          <a:effectLst/>
        </p:spPr>
        <p:txBody>
          <a:bodyPr lIns="68586" tIns="34294" rIns="68586" bIns="34294" anchor="ctr"/>
          <a:lstStyle/>
          <a:p>
            <a:pPr algn="ctr">
              <a:defRPr/>
            </a:pPr>
            <a:endParaRPr lang="en-US" dirty="0">
              <a:solidFill>
                <a:schemeClr val="lt1"/>
              </a:solidFill>
              <a:latin typeface="+mn-lt"/>
              <a:cs typeface="+mn-cs"/>
            </a:endParaRPr>
          </a:p>
        </p:txBody>
      </p:sp>
      <p:pic>
        <p:nvPicPr>
          <p:cNvPr id="50204" name="Picture 84" descr="app.ai"/>
          <p:cNvPicPr>
            <a:picLocks noChangeAspect="1"/>
          </p:cNvPicPr>
          <p:nvPr/>
        </p:nvPicPr>
        <p:blipFill>
          <a:blip r:embed="rId4"/>
          <a:srcRect/>
          <a:stretch>
            <a:fillRect/>
          </a:stretch>
        </p:blipFill>
        <p:spPr bwMode="auto">
          <a:xfrm>
            <a:off x="6931847" y="2057402"/>
            <a:ext cx="519248" cy="592931"/>
          </a:xfrm>
          <a:prstGeom prst="rect">
            <a:avLst/>
          </a:prstGeom>
          <a:noFill/>
          <a:ln w="9525">
            <a:noFill/>
            <a:miter lim="800000"/>
            <a:headEnd/>
            <a:tailEnd/>
          </a:ln>
          <a:effectLst/>
        </p:spPr>
      </p:pic>
      <p:pic>
        <p:nvPicPr>
          <p:cNvPr id="50205" name="Picture 117" descr="page.ai"/>
          <p:cNvPicPr>
            <a:picLocks noChangeAspect="1"/>
          </p:cNvPicPr>
          <p:nvPr/>
        </p:nvPicPr>
        <p:blipFill>
          <a:blip r:embed="rId5"/>
          <a:srcRect/>
          <a:stretch>
            <a:fillRect/>
          </a:stretch>
        </p:blipFill>
        <p:spPr bwMode="auto">
          <a:xfrm>
            <a:off x="6338762" y="2085977"/>
            <a:ext cx="469228" cy="535781"/>
          </a:xfrm>
          <a:prstGeom prst="rect">
            <a:avLst/>
          </a:prstGeom>
          <a:noFill/>
          <a:ln w="9525">
            <a:noFill/>
            <a:miter lim="800000"/>
            <a:headEnd/>
            <a:tailEnd/>
          </a:ln>
          <a:effectLst/>
        </p:spPr>
      </p:pic>
      <p:sp>
        <p:nvSpPr>
          <p:cNvPr id="87" name="TextBox 86"/>
          <p:cNvSpPr txBox="1"/>
          <p:nvPr/>
        </p:nvSpPr>
        <p:spPr>
          <a:xfrm>
            <a:off x="6245869" y="1943101"/>
            <a:ext cx="1829276" cy="223148"/>
          </a:xfrm>
          <a:prstGeom prst="rect">
            <a:avLst/>
          </a:prstGeom>
          <a:noFill/>
        </p:spPr>
        <p:txBody>
          <a:bodyPr lIns="68586" tIns="34294" rIns="68586" bIns="34294">
            <a:spAutoFit/>
          </a:bodyPr>
          <a:lstStyle/>
          <a:p>
            <a:pPr algn="ctr"/>
            <a:r>
              <a:rPr lang="en-US" sz="1000" dirty="0">
                <a:cs typeface="Arial" pitchFamily="34" charset="0"/>
              </a:rPr>
              <a:t>Microsoft SQL Server</a:t>
            </a:r>
            <a:r>
              <a:rPr lang="en-US" sz="1000" baseline="30000" dirty="0">
                <a:cs typeface="Arial" pitchFamily="34" charset="0"/>
              </a:rPr>
              <a:t>®</a:t>
            </a:r>
          </a:p>
        </p:txBody>
      </p:sp>
      <p:sp>
        <p:nvSpPr>
          <p:cNvPr id="88" name="TextBox 87"/>
          <p:cNvSpPr txBox="1">
            <a:spLocks noChangeArrowheads="1"/>
          </p:cNvSpPr>
          <p:nvPr/>
        </p:nvSpPr>
        <p:spPr bwMode="auto">
          <a:xfrm>
            <a:off x="6303034" y="2583657"/>
            <a:ext cx="540685" cy="184547"/>
          </a:xfrm>
          <a:prstGeom prst="rect">
            <a:avLst/>
          </a:prstGeom>
          <a:noFill/>
          <a:ln w="9525">
            <a:noFill/>
            <a:miter lim="800000"/>
            <a:headEnd/>
            <a:tailEnd/>
          </a:ln>
          <a:effectLst/>
        </p:spPr>
        <p:txBody>
          <a:bodyPr wrap="none" lIns="68586" tIns="34294" rIns="68586" bIns="34294" anchor="ctr"/>
          <a:lstStyle/>
          <a:p>
            <a:pPr algn="ctr"/>
            <a:r>
              <a:rPr lang="en-US" sz="700" dirty="0">
                <a:solidFill>
                  <a:schemeClr val="bg1"/>
                </a:solidFill>
                <a:cs typeface="Arial" pitchFamily="34" charset="0"/>
              </a:rPr>
              <a:t>HW profile</a:t>
            </a:r>
          </a:p>
        </p:txBody>
      </p:sp>
      <p:sp>
        <p:nvSpPr>
          <p:cNvPr id="89" name="TextBox 88"/>
          <p:cNvSpPr txBox="1">
            <a:spLocks noChangeArrowheads="1"/>
          </p:cNvSpPr>
          <p:nvPr/>
        </p:nvSpPr>
        <p:spPr bwMode="auto">
          <a:xfrm>
            <a:off x="6955667" y="2583657"/>
            <a:ext cx="464465" cy="184547"/>
          </a:xfrm>
          <a:prstGeom prst="rect">
            <a:avLst/>
          </a:prstGeom>
          <a:noFill/>
          <a:ln w="9525">
            <a:noFill/>
            <a:miter lim="800000"/>
            <a:headEnd/>
            <a:tailEnd/>
          </a:ln>
          <a:effectLst/>
        </p:spPr>
        <p:txBody>
          <a:bodyPr wrap="none" lIns="68586" tIns="34294" rIns="68586" bIns="34294" anchor="ctr"/>
          <a:lstStyle/>
          <a:p>
            <a:pPr algn="ctr"/>
            <a:r>
              <a:rPr lang="en-US" sz="700" dirty="0">
                <a:solidFill>
                  <a:schemeClr val="bg1"/>
                </a:solidFill>
                <a:cs typeface="Arial" pitchFamily="34" charset="0"/>
              </a:rPr>
              <a:t>OS profile</a:t>
            </a:r>
          </a:p>
        </p:txBody>
      </p:sp>
      <p:sp>
        <p:nvSpPr>
          <p:cNvPr id="90" name="TextBox 89"/>
          <p:cNvSpPr txBox="1">
            <a:spLocks noChangeArrowheads="1"/>
          </p:cNvSpPr>
          <p:nvPr/>
        </p:nvSpPr>
        <p:spPr bwMode="auto">
          <a:xfrm>
            <a:off x="7532078" y="2578895"/>
            <a:ext cx="485902" cy="189310"/>
          </a:xfrm>
          <a:prstGeom prst="rect">
            <a:avLst/>
          </a:prstGeom>
          <a:noFill/>
          <a:ln w="9525">
            <a:noFill/>
            <a:miter lim="800000"/>
            <a:headEnd/>
            <a:tailEnd/>
          </a:ln>
          <a:effectLst/>
        </p:spPr>
        <p:txBody>
          <a:bodyPr wrap="none" lIns="68586" tIns="34294" rIns="68586" bIns="34294" anchor="ctr"/>
          <a:lstStyle/>
          <a:p>
            <a:pPr algn="ctr"/>
            <a:r>
              <a:rPr lang="en-US" sz="700" dirty="0">
                <a:solidFill>
                  <a:schemeClr val="bg1"/>
                </a:solidFill>
                <a:cs typeface="Arial" pitchFamily="34" charset="0"/>
              </a:rPr>
              <a:t>SQL profile</a:t>
            </a:r>
          </a:p>
        </p:txBody>
      </p:sp>
      <p:pic>
        <p:nvPicPr>
          <p:cNvPr id="50212" name="Picture 92" descr="app.ai"/>
          <p:cNvPicPr>
            <a:picLocks noChangeAspect="1"/>
          </p:cNvPicPr>
          <p:nvPr/>
        </p:nvPicPr>
        <p:blipFill>
          <a:blip r:embed="rId4"/>
          <a:srcRect/>
          <a:stretch>
            <a:fillRect/>
          </a:stretch>
        </p:blipFill>
        <p:spPr bwMode="auto">
          <a:xfrm rot="1078840">
            <a:off x="6131539" y="1485900"/>
            <a:ext cx="398963" cy="456010"/>
          </a:xfrm>
          <a:prstGeom prst="rect">
            <a:avLst/>
          </a:prstGeom>
          <a:noFill/>
          <a:ln w="9525">
            <a:noFill/>
            <a:miter lim="800000"/>
            <a:headEnd/>
            <a:tailEnd/>
          </a:ln>
          <a:effectLst/>
        </p:spPr>
      </p:pic>
      <p:sp>
        <p:nvSpPr>
          <p:cNvPr id="96" name="TextBox 95"/>
          <p:cNvSpPr txBox="1"/>
          <p:nvPr/>
        </p:nvSpPr>
        <p:spPr>
          <a:xfrm>
            <a:off x="6245869" y="1371601"/>
            <a:ext cx="1834040" cy="253604"/>
          </a:xfrm>
          <a:prstGeom prst="rect">
            <a:avLst/>
          </a:prstGeom>
          <a:noFill/>
        </p:spPr>
        <p:txBody>
          <a:bodyPr lIns="68586" tIns="34294" rIns="68586" bIns="34294">
            <a:spAutoFit/>
          </a:bodyPr>
          <a:lstStyle/>
          <a:p>
            <a:pPr algn="ctr"/>
            <a:r>
              <a:rPr lang="en-US" sz="1200" b="1" dirty="0">
                <a:cs typeface="Arial" pitchFamily="34" charset="0"/>
              </a:rPr>
              <a:t>Data Tier</a:t>
            </a:r>
          </a:p>
        </p:txBody>
      </p:sp>
      <p:sp>
        <p:nvSpPr>
          <p:cNvPr id="101" name="Rectangular Callout 100"/>
          <p:cNvSpPr>
            <a:spLocks noChangeArrowheads="1"/>
          </p:cNvSpPr>
          <p:nvPr/>
        </p:nvSpPr>
        <p:spPr bwMode="auto">
          <a:xfrm>
            <a:off x="7160507" y="3446861"/>
            <a:ext cx="1174262" cy="881897"/>
          </a:xfrm>
          <a:prstGeom prst="wedgeRectCallout">
            <a:avLst>
              <a:gd name="adj1" fmla="val 3315"/>
              <a:gd name="adj2" fmla="val -148231"/>
            </a:avLst>
          </a:prstGeom>
          <a:solidFill>
            <a:schemeClr val="accent1"/>
          </a:solidFill>
          <a:ln w="6350" algn="ctr">
            <a:noFill/>
            <a:round/>
            <a:headEnd/>
            <a:tailEnd/>
          </a:ln>
          <a:effectLst/>
        </p:spPr>
        <p:txBody>
          <a:bodyPr lIns="68586" tIns="34294" rIns="68586" bIns="34294" anchor="ctr"/>
          <a:lstStyle/>
          <a:p>
            <a:pPr algn="ctr">
              <a:defRPr/>
            </a:pPr>
            <a:endParaRPr lang="en-US" sz="800" dirty="0">
              <a:solidFill>
                <a:schemeClr val="lt1"/>
              </a:solidFill>
            </a:endParaRPr>
          </a:p>
        </p:txBody>
      </p:sp>
      <p:pic>
        <p:nvPicPr>
          <p:cNvPr id="50224" name="Picture 104" descr="app.ai"/>
          <p:cNvPicPr>
            <a:picLocks noChangeAspect="1"/>
          </p:cNvPicPr>
          <p:nvPr/>
        </p:nvPicPr>
        <p:blipFill>
          <a:blip r:embed="rId4"/>
          <a:srcRect/>
          <a:stretch>
            <a:fillRect/>
          </a:stretch>
        </p:blipFill>
        <p:spPr bwMode="auto">
          <a:xfrm rot="1078840">
            <a:off x="7876854" y="3549973"/>
            <a:ext cx="297734" cy="340519"/>
          </a:xfrm>
          <a:prstGeom prst="rect">
            <a:avLst/>
          </a:prstGeom>
          <a:noFill/>
          <a:ln w="9525">
            <a:noFill/>
            <a:miter lim="800000"/>
            <a:headEnd/>
            <a:tailEnd/>
          </a:ln>
          <a:effectLst/>
        </p:spPr>
      </p:pic>
      <p:sp>
        <p:nvSpPr>
          <p:cNvPr id="116" name="TextBox 115"/>
          <p:cNvSpPr txBox="1"/>
          <p:nvPr/>
        </p:nvSpPr>
        <p:spPr>
          <a:xfrm>
            <a:off x="7122398" y="3913258"/>
            <a:ext cx="658587" cy="577079"/>
          </a:xfrm>
          <a:prstGeom prst="rect">
            <a:avLst/>
          </a:prstGeom>
          <a:noFill/>
        </p:spPr>
        <p:txBody>
          <a:bodyPr lIns="68586" tIns="34294" rIns="68586" bIns="34294">
            <a:spAutoFit/>
          </a:bodyPr>
          <a:lstStyle/>
          <a:p>
            <a:pPr algn="ctr">
              <a:defRPr/>
            </a:pPr>
            <a:r>
              <a:rPr lang="en-US" sz="800" dirty="0">
                <a:solidFill>
                  <a:schemeClr val="bg1"/>
                </a:solidFill>
                <a:cs typeface="Arial"/>
              </a:rPr>
              <a:t>SQL Server Data Tier Applications</a:t>
            </a:r>
          </a:p>
        </p:txBody>
      </p:sp>
      <p:sp>
        <p:nvSpPr>
          <p:cNvPr id="117" name="TextBox 116"/>
          <p:cNvSpPr txBox="1"/>
          <p:nvPr/>
        </p:nvSpPr>
        <p:spPr>
          <a:xfrm>
            <a:off x="7633309" y="3913259"/>
            <a:ext cx="784827" cy="196206"/>
          </a:xfrm>
          <a:prstGeom prst="rect">
            <a:avLst/>
          </a:prstGeom>
          <a:noFill/>
        </p:spPr>
        <p:txBody>
          <a:bodyPr lIns="68586" tIns="34294" rIns="68586" bIns="34294">
            <a:spAutoFit/>
          </a:bodyPr>
          <a:lstStyle/>
          <a:p>
            <a:pPr algn="ctr">
              <a:defRPr/>
            </a:pPr>
            <a:r>
              <a:rPr lang="en-US" sz="800" dirty="0">
                <a:solidFill>
                  <a:schemeClr val="bg1"/>
                </a:solidFill>
                <a:cs typeface="Arial"/>
              </a:rPr>
              <a:t>Configuration</a:t>
            </a:r>
          </a:p>
        </p:txBody>
      </p:sp>
      <p:sp>
        <p:nvSpPr>
          <p:cNvPr id="134" name="Down Arrow 133"/>
          <p:cNvSpPr>
            <a:spLocks noChangeArrowheads="1"/>
          </p:cNvSpPr>
          <p:nvPr/>
        </p:nvSpPr>
        <p:spPr bwMode="auto">
          <a:xfrm>
            <a:off x="3997320" y="3048001"/>
            <a:ext cx="796735" cy="352425"/>
          </a:xfrm>
          <a:prstGeom prst="downArrow">
            <a:avLst>
              <a:gd name="adj1" fmla="val 50000"/>
              <a:gd name="adj2" fmla="val 50000"/>
            </a:avLst>
          </a:prstGeom>
          <a:solidFill>
            <a:schemeClr val="accent5"/>
          </a:solidFill>
          <a:ln w="9525" algn="ctr">
            <a:noFill/>
            <a:miter lim="800000"/>
            <a:headEnd/>
            <a:tailEnd/>
          </a:ln>
          <a:effectLst/>
        </p:spPr>
        <p:txBody>
          <a:bodyPr lIns="68586" tIns="34294" rIns="68586" bIns="34294" anchor="ctr"/>
          <a:lstStyle/>
          <a:p>
            <a:pPr algn="ctr">
              <a:defRPr/>
            </a:pPr>
            <a:endParaRPr lang="en-US" sz="800" dirty="0">
              <a:solidFill>
                <a:schemeClr val="lt1"/>
              </a:solidFill>
            </a:endParaRPr>
          </a:p>
        </p:txBody>
      </p:sp>
      <p:pic>
        <p:nvPicPr>
          <p:cNvPr id="50238" name="Picture 136"/>
          <p:cNvPicPr>
            <a:picLocks noChangeAspect="1"/>
          </p:cNvPicPr>
          <p:nvPr/>
        </p:nvPicPr>
        <p:blipFill>
          <a:blip r:embed="rId6"/>
          <a:srcRect/>
          <a:stretch>
            <a:fillRect/>
          </a:stretch>
        </p:blipFill>
        <p:spPr bwMode="auto">
          <a:xfrm>
            <a:off x="7551133" y="2097882"/>
            <a:ext cx="447792" cy="510779"/>
          </a:xfrm>
          <a:prstGeom prst="rect">
            <a:avLst/>
          </a:prstGeom>
          <a:noFill/>
          <a:ln w="9525">
            <a:noFill/>
            <a:miter lim="800000"/>
            <a:headEnd/>
            <a:tailEnd/>
          </a:ln>
          <a:effectLst/>
        </p:spPr>
      </p:pic>
      <p:sp>
        <p:nvSpPr>
          <p:cNvPr id="139" name="Flowchart: Magnetic Disk 138"/>
          <p:cNvSpPr/>
          <p:nvPr/>
        </p:nvSpPr>
        <p:spPr>
          <a:xfrm>
            <a:off x="7376066" y="3562159"/>
            <a:ext cx="175067" cy="295275"/>
          </a:xfrm>
          <a:prstGeom prst="flowChartMagneticDisk">
            <a:avLst/>
          </a:prstGeom>
          <a:solidFill>
            <a:schemeClr val="tx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anchor="ctr"/>
          <a:lstStyle/>
          <a:p>
            <a:pPr algn="ctr">
              <a:defRPr/>
            </a:pPr>
            <a:endParaRPr lang="en-US" dirty="0"/>
          </a:p>
        </p:txBody>
      </p:sp>
      <p:sp>
        <p:nvSpPr>
          <p:cNvPr id="4" name="Rectangle 64"/>
          <p:cNvSpPr>
            <a:spLocks noChangeArrowheads="1"/>
          </p:cNvSpPr>
          <p:nvPr/>
        </p:nvSpPr>
        <p:spPr bwMode="auto">
          <a:xfrm>
            <a:off x="3444789" y="1371600"/>
            <a:ext cx="2057936" cy="1543050"/>
          </a:xfrm>
          <a:prstGeom prst="rect">
            <a:avLst/>
          </a:prstGeom>
          <a:solidFill>
            <a:schemeClr val="accent1"/>
          </a:solidFill>
          <a:ln w="9525" algn="ctr">
            <a:noFill/>
            <a:miter lim="800000"/>
            <a:headEnd/>
            <a:tailEnd/>
          </a:ln>
          <a:effectLst/>
        </p:spPr>
        <p:txBody>
          <a:bodyPr lIns="68586" tIns="34294" rIns="68586" bIns="34294" anchor="ctr"/>
          <a:lstStyle/>
          <a:p>
            <a:pPr algn="ctr">
              <a:defRPr/>
            </a:pPr>
            <a:endParaRPr lang="en-US" dirty="0">
              <a:solidFill>
                <a:schemeClr val="lt1"/>
              </a:solidFill>
              <a:latin typeface="+mn-lt"/>
              <a:cs typeface="+mn-cs"/>
            </a:endParaRPr>
          </a:p>
        </p:txBody>
      </p:sp>
      <p:sp>
        <p:nvSpPr>
          <p:cNvPr id="5" name="Rectangle 67"/>
          <p:cNvSpPr>
            <a:spLocks noChangeArrowheads="1"/>
          </p:cNvSpPr>
          <p:nvPr/>
        </p:nvSpPr>
        <p:spPr bwMode="auto">
          <a:xfrm>
            <a:off x="3559119" y="1657350"/>
            <a:ext cx="1829276" cy="228600"/>
          </a:xfrm>
          <a:prstGeom prst="rect">
            <a:avLst/>
          </a:prstGeom>
          <a:solidFill>
            <a:schemeClr val="accent1">
              <a:lumMod val="75000"/>
            </a:schemeClr>
          </a:solidFill>
          <a:ln w="9525" algn="ctr">
            <a:noFill/>
            <a:miter lim="800000"/>
            <a:headEnd/>
            <a:tailEnd/>
          </a:ln>
          <a:effectLst/>
        </p:spPr>
        <p:txBody>
          <a:bodyPr lIns="68586" tIns="34294" rIns="68586" bIns="34294" anchor="ctr"/>
          <a:lstStyle/>
          <a:p>
            <a:pPr algn="ctr"/>
            <a:r>
              <a:rPr lang="en-US" sz="900" b="1" dirty="0">
                <a:solidFill>
                  <a:srgbClr val="FFFFFF"/>
                </a:solidFill>
                <a:cs typeface="Arial" pitchFamily="34" charset="0"/>
              </a:rPr>
              <a:t>      Scale-out and health policy</a:t>
            </a:r>
          </a:p>
        </p:txBody>
      </p:sp>
      <p:sp>
        <p:nvSpPr>
          <p:cNvPr id="126" name="TextBox 61"/>
          <p:cNvSpPr txBox="1">
            <a:spLocks noChangeArrowheads="1"/>
          </p:cNvSpPr>
          <p:nvPr/>
        </p:nvSpPr>
        <p:spPr bwMode="auto">
          <a:xfrm>
            <a:off x="3739482" y="4065986"/>
            <a:ext cx="1312411" cy="277415"/>
          </a:xfrm>
          <a:prstGeom prst="rect">
            <a:avLst/>
          </a:prstGeom>
          <a:noFill/>
          <a:ln w="9525">
            <a:noFill/>
            <a:miter lim="800000"/>
            <a:headEnd/>
            <a:tailEnd/>
          </a:ln>
          <a:effectLst/>
        </p:spPr>
        <p:txBody>
          <a:bodyPr lIns="68586" tIns="34294" rIns="68586" bIns="34294" anchor="ctr"/>
          <a:lstStyle/>
          <a:p>
            <a:pPr algn="ctr" defTabSz="684673">
              <a:buClr>
                <a:schemeClr val="tx1"/>
              </a:buClr>
            </a:pPr>
            <a:r>
              <a:rPr lang="en-US" sz="1100" dirty="0"/>
              <a:t>Service Template Library</a:t>
            </a:r>
          </a:p>
        </p:txBody>
      </p:sp>
      <p:sp>
        <p:nvSpPr>
          <p:cNvPr id="6" name="Rectangle 83"/>
          <p:cNvSpPr>
            <a:spLocks noChangeArrowheads="1"/>
          </p:cNvSpPr>
          <p:nvPr/>
        </p:nvSpPr>
        <p:spPr bwMode="auto">
          <a:xfrm>
            <a:off x="3559120" y="1943100"/>
            <a:ext cx="1835231" cy="857250"/>
          </a:xfrm>
          <a:prstGeom prst="rect">
            <a:avLst/>
          </a:prstGeom>
          <a:solidFill>
            <a:schemeClr val="accent1">
              <a:lumMod val="75000"/>
            </a:schemeClr>
          </a:solidFill>
          <a:ln w="9525" algn="ctr">
            <a:noFill/>
            <a:miter lim="800000"/>
            <a:headEnd/>
            <a:tailEnd/>
          </a:ln>
          <a:effectLst/>
        </p:spPr>
        <p:txBody>
          <a:bodyPr lIns="68586" tIns="34294" rIns="68586" bIns="34294" anchor="ctr"/>
          <a:lstStyle/>
          <a:p>
            <a:pPr algn="ctr">
              <a:defRPr/>
            </a:pPr>
            <a:endParaRPr lang="en-US" dirty="0">
              <a:solidFill>
                <a:schemeClr val="lt1"/>
              </a:solidFill>
              <a:latin typeface="+mn-lt"/>
              <a:cs typeface="+mn-cs"/>
            </a:endParaRPr>
          </a:p>
        </p:txBody>
      </p:sp>
      <p:pic>
        <p:nvPicPr>
          <p:cNvPr id="50252" name="Picture 84" descr="app.ai"/>
          <p:cNvPicPr>
            <a:picLocks noChangeAspect="1"/>
          </p:cNvPicPr>
          <p:nvPr/>
        </p:nvPicPr>
        <p:blipFill>
          <a:blip r:embed="rId4"/>
          <a:srcRect/>
          <a:stretch>
            <a:fillRect/>
          </a:stretch>
        </p:blipFill>
        <p:spPr bwMode="auto">
          <a:xfrm>
            <a:off x="4245097" y="2057402"/>
            <a:ext cx="519248" cy="592931"/>
          </a:xfrm>
          <a:prstGeom prst="rect">
            <a:avLst/>
          </a:prstGeom>
          <a:noFill/>
          <a:ln w="9525">
            <a:noFill/>
            <a:miter lim="800000"/>
            <a:headEnd/>
            <a:tailEnd/>
          </a:ln>
          <a:effectLst/>
        </p:spPr>
      </p:pic>
      <p:pic>
        <p:nvPicPr>
          <p:cNvPr id="50253" name="Picture 117" descr="page.ai"/>
          <p:cNvPicPr>
            <a:picLocks noChangeAspect="1"/>
          </p:cNvPicPr>
          <p:nvPr/>
        </p:nvPicPr>
        <p:blipFill>
          <a:blip r:embed="rId5"/>
          <a:srcRect/>
          <a:stretch>
            <a:fillRect/>
          </a:stretch>
        </p:blipFill>
        <p:spPr bwMode="auto">
          <a:xfrm>
            <a:off x="3652012" y="2085977"/>
            <a:ext cx="469228" cy="535781"/>
          </a:xfrm>
          <a:prstGeom prst="rect">
            <a:avLst/>
          </a:prstGeom>
          <a:noFill/>
          <a:ln w="9525">
            <a:noFill/>
            <a:miter lim="800000"/>
            <a:headEnd/>
            <a:tailEnd/>
          </a:ln>
          <a:effectLst/>
        </p:spPr>
      </p:pic>
      <p:sp>
        <p:nvSpPr>
          <p:cNvPr id="7" name="TextBox 86"/>
          <p:cNvSpPr txBox="1"/>
          <p:nvPr/>
        </p:nvSpPr>
        <p:spPr>
          <a:xfrm>
            <a:off x="3559119" y="1943101"/>
            <a:ext cx="1829276" cy="223148"/>
          </a:xfrm>
          <a:prstGeom prst="rect">
            <a:avLst/>
          </a:prstGeom>
          <a:noFill/>
        </p:spPr>
        <p:txBody>
          <a:bodyPr lIns="68586" tIns="34294" rIns="68586" bIns="34294">
            <a:spAutoFit/>
          </a:bodyPr>
          <a:lstStyle/>
          <a:p>
            <a:pPr algn="ctr"/>
            <a:r>
              <a:rPr lang="en-US" sz="1000" dirty="0">
                <a:cs typeface="Arial" pitchFamily="34" charset="0"/>
              </a:rPr>
              <a:t>Application Server</a:t>
            </a:r>
          </a:p>
        </p:txBody>
      </p:sp>
      <p:sp>
        <p:nvSpPr>
          <p:cNvPr id="8" name="TextBox 87"/>
          <p:cNvSpPr txBox="1">
            <a:spLocks noChangeArrowheads="1"/>
          </p:cNvSpPr>
          <p:nvPr/>
        </p:nvSpPr>
        <p:spPr bwMode="auto">
          <a:xfrm>
            <a:off x="3616285" y="2583657"/>
            <a:ext cx="540685" cy="184547"/>
          </a:xfrm>
          <a:prstGeom prst="rect">
            <a:avLst/>
          </a:prstGeom>
          <a:noFill/>
          <a:ln w="9525">
            <a:noFill/>
            <a:miter lim="800000"/>
            <a:headEnd/>
            <a:tailEnd/>
          </a:ln>
          <a:effectLst/>
        </p:spPr>
        <p:txBody>
          <a:bodyPr wrap="none" lIns="68586" tIns="34294" rIns="68586" bIns="34294" anchor="ctr"/>
          <a:lstStyle/>
          <a:p>
            <a:pPr algn="ctr"/>
            <a:r>
              <a:rPr lang="en-US" sz="700" dirty="0">
                <a:solidFill>
                  <a:schemeClr val="bg1"/>
                </a:solidFill>
                <a:cs typeface="Arial" pitchFamily="34" charset="0"/>
              </a:rPr>
              <a:t>HW profile</a:t>
            </a:r>
          </a:p>
        </p:txBody>
      </p:sp>
      <p:sp>
        <p:nvSpPr>
          <p:cNvPr id="9" name="TextBox 88"/>
          <p:cNvSpPr txBox="1">
            <a:spLocks noChangeArrowheads="1"/>
          </p:cNvSpPr>
          <p:nvPr/>
        </p:nvSpPr>
        <p:spPr bwMode="auto">
          <a:xfrm>
            <a:off x="4268917" y="2583657"/>
            <a:ext cx="464465" cy="184547"/>
          </a:xfrm>
          <a:prstGeom prst="rect">
            <a:avLst/>
          </a:prstGeom>
          <a:noFill/>
          <a:ln w="9525">
            <a:noFill/>
            <a:miter lim="800000"/>
            <a:headEnd/>
            <a:tailEnd/>
          </a:ln>
          <a:effectLst/>
        </p:spPr>
        <p:txBody>
          <a:bodyPr wrap="none" lIns="68586" tIns="34294" rIns="68586" bIns="34294" anchor="ctr"/>
          <a:lstStyle/>
          <a:p>
            <a:pPr algn="ctr"/>
            <a:r>
              <a:rPr lang="en-US" sz="700" dirty="0">
                <a:solidFill>
                  <a:schemeClr val="bg1"/>
                </a:solidFill>
                <a:cs typeface="Arial" pitchFamily="34" charset="0"/>
              </a:rPr>
              <a:t>OS profile</a:t>
            </a:r>
          </a:p>
        </p:txBody>
      </p:sp>
      <p:sp>
        <p:nvSpPr>
          <p:cNvPr id="10" name="TextBox 89"/>
          <p:cNvSpPr txBox="1">
            <a:spLocks noChangeArrowheads="1"/>
          </p:cNvSpPr>
          <p:nvPr/>
        </p:nvSpPr>
        <p:spPr bwMode="auto">
          <a:xfrm>
            <a:off x="4845329" y="2578895"/>
            <a:ext cx="485902" cy="189310"/>
          </a:xfrm>
          <a:prstGeom prst="rect">
            <a:avLst/>
          </a:prstGeom>
          <a:noFill/>
          <a:ln w="9525">
            <a:noFill/>
            <a:miter lim="800000"/>
            <a:headEnd/>
            <a:tailEnd/>
          </a:ln>
          <a:effectLst/>
        </p:spPr>
        <p:txBody>
          <a:bodyPr wrap="none" lIns="68586" tIns="34294" rIns="68586" bIns="34294" anchor="ctr"/>
          <a:lstStyle/>
          <a:p>
            <a:pPr algn="ctr"/>
            <a:r>
              <a:rPr lang="en-US" sz="700" dirty="0">
                <a:solidFill>
                  <a:schemeClr val="bg1"/>
                </a:solidFill>
                <a:cs typeface="Arial" pitchFamily="34" charset="0"/>
              </a:rPr>
              <a:t>App profile</a:t>
            </a:r>
          </a:p>
        </p:txBody>
      </p:sp>
      <p:pic>
        <p:nvPicPr>
          <p:cNvPr id="50258" name="Picture 92" descr="app.ai"/>
          <p:cNvPicPr>
            <a:picLocks noChangeAspect="1"/>
          </p:cNvPicPr>
          <p:nvPr/>
        </p:nvPicPr>
        <p:blipFill>
          <a:blip r:embed="rId4"/>
          <a:srcRect/>
          <a:stretch>
            <a:fillRect/>
          </a:stretch>
        </p:blipFill>
        <p:spPr bwMode="auto">
          <a:xfrm rot="1078840">
            <a:off x="3444790" y="1485900"/>
            <a:ext cx="398963" cy="456010"/>
          </a:xfrm>
          <a:prstGeom prst="rect">
            <a:avLst/>
          </a:prstGeom>
          <a:noFill/>
          <a:ln w="9525">
            <a:noFill/>
            <a:miter lim="800000"/>
            <a:headEnd/>
            <a:tailEnd/>
          </a:ln>
          <a:effectLst/>
        </p:spPr>
      </p:pic>
      <p:sp>
        <p:nvSpPr>
          <p:cNvPr id="11" name="TextBox 95"/>
          <p:cNvSpPr txBox="1"/>
          <p:nvPr/>
        </p:nvSpPr>
        <p:spPr>
          <a:xfrm>
            <a:off x="3559119" y="1371601"/>
            <a:ext cx="1834040" cy="253604"/>
          </a:xfrm>
          <a:prstGeom prst="rect">
            <a:avLst/>
          </a:prstGeom>
          <a:noFill/>
        </p:spPr>
        <p:txBody>
          <a:bodyPr lIns="68586" tIns="34294" rIns="68586" bIns="34294">
            <a:spAutoFit/>
          </a:bodyPr>
          <a:lstStyle/>
          <a:p>
            <a:pPr algn="ctr"/>
            <a:r>
              <a:rPr lang="en-US" sz="1200" b="1" dirty="0">
                <a:cs typeface="Arial" pitchFamily="34" charset="0"/>
              </a:rPr>
              <a:t>Application Tier</a:t>
            </a:r>
          </a:p>
        </p:txBody>
      </p:sp>
      <p:pic>
        <p:nvPicPr>
          <p:cNvPr id="50260" name="Picture 136"/>
          <p:cNvPicPr>
            <a:picLocks noChangeAspect="1"/>
          </p:cNvPicPr>
          <p:nvPr/>
        </p:nvPicPr>
        <p:blipFill>
          <a:blip r:embed="rId6"/>
          <a:srcRect/>
          <a:stretch>
            <a:fillRect/>
          </a:stretch>
        </p:blipFill>
        <p:spPr bwMode="auto">
          <a:xfrm>
            <a:off x="4864384" y="2097882"/>
            <a:ext cx="447792" cy="510779"/>
          </a:xfrm>
          <a:prstGeom prst="rect">
            <a:avLst/>
          </a:prstGeom>
          <a:noFill/>
          <a:ln w="9525">
            <a:noFill/>
            <a:miter lim="800000"/>
            <a:headEnd/>
            <a:tailEnd/>
          </a:ln>
          <a:effectLst/>
        </p:spPr>
      </p:pic>
      <p:sp>
        <p:nvSpPr>
          <p:cNvPr id="12" name="Rectangle 64"/>
          <p:cNvSpPr>
            <a:spLocks noChangeArrowheads="1"/>
          </p:cNvSpPr>
          <p:nvPr/>
        </p:nvSpPr>
        <p:spPr bwMode="auto">
          <a:xfrm>
            <a:off x="872369" y="1371600"/>
            <a:ext cx="2057936" cy="1543050"/>
          </a:xfrm>
          <a:prstGeom prst="rect">
            <a:avLst/>
          </a:prstGeom>
          <a:solidFill>
            <a:schemeClr val="accent1"/>
          </a:solidFill>
          <a:ln w="9525" algn="ctr">
            <a:noFill/>
            <a:miter lim="800000"/>
            <a:headEnd/>
            <a:tailEnd/>
          </a:ln>
          <a:effectLst/>
        </p:spPr>
        <p:txBody>
          <a:bodyPr lIns="68586" tIns="34294" rIns="68586" bIns="34294" anchor="ctr"/>
          <a:lstStyle/>
          <a:p>
            <a:pPr algn="ctr">
              <a:defRPr/>
            </a:pPr>
            <a:endParaRPr lang="en-US" dirty="0">
              <a:solidFill>
                <a:schemeClr val="lt1"/>
              </a:solidFill>
              <a:latin typeface="+mn-lt"/>
              <a:cs typeface="+mn-cs"/>
            </a:endParaRPr>
          </a:p>
        </p:txBody>
      </p:sp>
      <p:sp>
        <p:nvSpPr>
          <p:cNvPr id="13" name="Rectangle 67"/>
          <p:cNvSpPr>
            <a:spLocks noChangeArrowheads="1"/>
          </p:cNvSpPr>
          <p:nvPr/>
        </p:nvSpPr>
        <p:spPr bwMode="auto">
          <a:xfrm>
            <a:off x="986699" y="1657350"/>
            <a:ext cx="1829276" cy="228600"/>
          </a:xfrm>
          <a:prstGeom prst="rect">
            <a:avLst/>
          </a:prstGeom>
          <a:solidFill>
            <a:schemeClr val="accent1">
              <a:lumMod val="75000"/>
            </a:schemeClr>
          </a:solidFill>
          <a:ln w="9525" algn="ctr">
            <a:noFill/>
            <a:miter lim="800000"/>
            <a:headEnd/>
            <a:tailEnd/>
          </a:ln>
          <a:effectLst/>
        </p:spPr>
        <p:txBody>
          <a:bodyPr lIns="68586" tIns="34294" rIns="68586" bIns="34294" anchor="ctr"/>
          <a:lstStyle/>
          <a:p>
            <a:pPr algn="ctr"/>
            <a:r>
              <a:rPr lang="en-US" sz="900" b="1" dirty="0">
                <a:solidFill>
                  <a:srgbClr val="FFFFFF"/>
                </a:solidFill>
                <a:cs typeface="Arial" pitchFamily="34" charset="0"/>
              </a:rPr>
              <a:t>      Scale-out and health policy</a:t>
            </a:r>
          </a:p>
        </p:txBody>
      </p:sp>
      <p:sp>
        <p:nvSpPr>
          <p:cNvPr id="14" name="Rectangle 83"/>
          <p:cNvSpPr>
            <a:spLocks noChangeArrowheads="1"/>
          </p:cNvSpPr>
          <p:nvPr/>
        </p:nvSpPr>
        <p:spPr bwMode="auto">
          <a:xfrm>
            <a:off x="986700" y="1943100"/>
            <a:ext cx="1835231" cy="857250"/>
          </a:xfrm>
          <a:prstGeom prst="rect">
            <a:avLst/>
          </a:prstGeom>
          <a:solidFill>
            <a:schemeClr val="accent1">
              <a:lumMod val="75000"/>
            </a:schemeClr>
          </a:solidFill>
          <a:ln w="9525" algn="ctr">
            <a:noFill/>
            <a:miter lim="800000"/>
            <a:headEnd/>
            <a:tailEnd/>
          </a:ln>
          <a:effectLst/>
        </p:spPr>
        <p:txBody>
          <a:bodyPr lIns="68586" tIns="34294" rIns="68586" bIns="34294" anchor="ctr"/>
          <a:lstStyle/>
          <a:p>
            <a:pPr algn="ctr">
              <a:defRPr/>
            </a:pPr>
            <a:endParaRPr lang="en-US" dirty="0">
              <a:solidFill>
                <a:schemeClr val="lt1"/>
              </a:solidFill>
              <a:latin typeface="+mn-lt"/>
              <a:cs typeface="+mn-cs"/>
            </a:endParaRPr>
          </a:p>
        </p:txBody>
      </p:sp>
      <p:pic>
        <p:nvPicPr>
          <p:cNvPr id="50264" name="Picture 84" descr="app.ai"/>
          <p:cNvPicPr>
            <a:picLocks noChangeAspect="1"/>
          </p:cNvPicPr>
          <p:nvPr/>
        </p:nvPicPr>
        <p:blipFill>
          <a:blip r:embed="rId4"/>
          <a:srcRect/>
          <a:stretch>
            <a:fillRect/>
          </a:stretch>
        </p:blipFill>
        <p:spPr bwMode="auto">
          <a:xfrm>
            <a:off x="1672677" y="2057402"/>
            <a:ext cx="519248" cy="592931"/>
          </a:xfrm>
          <a:prstGeom prst="rect">
            <a:avLst/>
          </a:prstGeom>
          <a:noFill/>
          <a:ln w="9525">
            <a:noFill/>
            <a:miter lim="800000"/>
            <a:headEnd/>
            <a:tailEnd/>
          </a:ln>
          <a:effectLst/>
        </p:spPr>
      </p:pic>
      <p:pic>
        <p:nvPicPr>
          <p:cNvPr id="50265" name="Picture 117" descr="page.ai"/>
          <p:cNvPicPr>
            <a:picLocks noChangeAspect="1"/>
          </p:cNvPicPr>
          <p:nvPr/>
        </p:nvPicPr>
        <p:blipFill>
          <a:blip r:embed="rId5"/>
          <a:srcRect/>
          <a:stretch>
            <a:fillRect/>
          </a:stretch>
        </p:blipFill>
        <p:spPr bwMode="auto">
          <a:xfrm>
            <a:off x="1079592" y="2085977"/>
            <a:ext cx="469228" cy="535781"/>
          </a:xfrm>
          <a:prstGeom prst="rect">
            <a:avLst/>
          </a:prstGeom>
          <a:noFill/>
          <a:ln w="9525">
            <a:noFill/>
            <a:miter lim="800000"/>
            <a:headEnd/>
            <a:tailEnd/>
          </a:ln>
          <a:effectLst/>
        </p:spPr>
      </p:pic>
      <p:sp>
        <p:nvSpPr>
          <p:cNvPr id="15" name="TextBox 86"/>
          <p:cNvSpPr txBox="1"/>
          <p:nvPr/>
        </p:nvSpPr>
        <p:spPr>
          <a:xfrm>
            <a:off x="986699" y="1943101"/>
            <a:ext cx="1829276" cy="223148"/>
          </a:xfrm>
          <a:prstGeom prst="rect">
            <a:avLst/>
          </a:prstGeom>
          <a:noFill/>
        </p:spPr>
        <p:txBody>
          <a:bodyPr lIns="68586" tIns="34294" rIns="68586" bIns="34294">
            <a:spAutoFit/>
          </a:bodyPr>
          <a:lstStyle/>
          <a:p>
            <a:pPr algn="ctr"/>
            <a:r>
              <a:rPr lang="en-US" sz="1000" dirty="0">
                <a:cs typeface="Arial" pitchFamily="34" charset="0"/>
              </a:rPr>
              <a:t>Internet Information Services</a:t>
            </a:r>
          </a:p>
        </p:txBody>
      </p:sp>
      <p:sp>
        <p:nvSpPr>
          <p:cNvPr id="16" name="TextBox 87"/>
          <p:cNvSpPr txBox="1">
            <a:spLocks noChangeArrowheads="1"/>
          </p:cNvSpPr>
          <p:nvPr/>
        </p:nvSpPr>
        <p:spPr bwMode="auto">
          <a:xfrm>
            <a:off x="1043865" y="2583657"/>
            <a:ext cx="540685" cy="184547"/>
          </a:xfrm>
          <a:prstGeom prst="rect">
            <a:avLst/>
          </a:prstGeom>
          <a:noFill/>
          <a:ln w="9525">
            <a:noFill/>
            <a:miter lim="800000"/>
            <a:headEnd/>
            <a:tailEnd/>
          </a:ln>
          <a:effectLst/>
        </p:spPr>
        <p:txBody>
          <a:bodyPr wrap="none" lIns="68586" tIns="34294" rIns="68586" bIns="34294" anchor="ctr"/>
          <a:lstStyle/>
          <a:p>
            <a:pPr algn="ctr"/>
            <a:r>
              <a:rPr lang="en-US" sz="700" dirty="0">
                <a:solidFill>
                  <a:schemeClr val="bg1"/>
                </a:solidFill>
                <a:cs typeface="Arial" pitchFamily="34" charset="0"/>
              </a:rPr>
              <a:t>HW profile</a:t>
            </a:r>
          </a:p>
        </p:txBody>
      </p:sp>
      <p:sp>
        <p:nvSpPr>
          <p:cNvPr id="17" name="TextBox 88"/>
          <p:cNvSpPr txBox="1">
            <a:spLocks noChangeArrowheads="1"/>
          </p:cNvSpPr>
          <p:nvPr/>
        </p:nvSpPr>
        <p:spPr bwMode="auto">
          <a:xfrm>
            <a:off x="1696498" y="2583657"/>
            <a:ext cx="464465" cy="184547"/>
          </a:xfrm>
          <a:prstGeom prst="rect">
            <a:avLst/>
          </a:prstGeom>
          <a:noFill/>
          <a:ln w="9525">
            <a:noFill/>
            <a:miter lim="800000"/>
            <a:headEnd/>
            <a:tailEnd/>
          </a:ln>
          <a:effectLst/>
        </p:spPr>
        <p:txBody>
          <a:bodyPr wrap="none" lIns="68586" tIns="34294" rIns="68586" bIns="34294" anchor="ctr"/>
          <a:lstStyle/>
          <a:p>
            <a:pPr algn="ctr"/>
            <a:r>
              <a:rPr lang="en-US" sz="700" dirty="0">
                <a:solidFill>
                  <a:schemeClr val="bg1"/>
                </a:solidFill>
                <a:cs typeface="Arial" pitchFamily="34" charset="0"/>
              </a:rPr>
              <a:t>OS profile</a:t>
            </a:r>
          </a:p>
        </p:txBody>
      </p:sp>
      <p:sp>
        <p:nvSpPr>
          <p:cNvPr id="18" name="TextBox 89"/>
          <p:cNvSpPr txBox="1">
            <a:spLocks noChangeArrowheads="1"/>
          </p:cNvSpPr>
          <p:nvPr/>
        </p:nvSpPr>
        <p:spPr bwMode="auto">
          <a:xfrm>
            <a:off x="2272909" y="2578895"/>
            <a:ext cx="485902" cy="189310"/>
          </a:xfrm>
          <a:prstGeom prst="rect">
            <a:avLst/>
          </a:prstGeom>
          <a:noFill/>
          <a:ln w="9525">
            <a:noFill/>
            <a:miter lim="800000"/>
            <a:headEnd/>
            <a:tailEnd/>
          </a:ln>
          <a:effectLst/>
        </p:spPr>
        <p:txBody>
          <a:bodyPr wrap="none" lIns="68586" tIns="34294" rIns="68586" bIns="34294" anchor="ctr"/>
          <a:lstStyle/>
          <a:p>
            <a:pPr algn="ctr"/>
            <a:r>
              <a:rPr lang="en-US" sz="700" dirty="0">
                <a:solidFill>
                  <a:schemeClr val="bg1"/>
                </a:solidFill>
                <a:cs typeface="Arial" pitchFamily="34" charset="0"/>
              </a:rPr>
              <a:t>App profile</a:t>
            </a:r>
          </a:p>
        </p:txBody>
      </p:sp>
      <p:pic>
        <p:nvPicPr>
          <p:cNvPr id="50270" name="Picture 92" descr="app.ai"/>
          <p:cNvPicPr>
            <a:picLocks noChangeAspect="1"/>
          </p:cNvPicPr>
          <p:nvPr/>
        </p:nvPicPr>
        <p:blipFill>
          <a:blip r:embed="rId4"/>
          <a:srcRect/>
          <a:stretch>
            <a:fillRect/>
          </a:stretch>
        </p:blipFill>
        <p:spPr bwMode="auto">
          <a:xfrm rot="1078840">
            <a:off x="872369" y="1485900"/>
            <a:ext cx="398963" cy="456010"/>
          </a:xfrm>
          <a:prstGeom prst="rect">
            <a:avLst/>
          </a:prstGeom>
          <a:noFill/>
          <a:ln w="9525">
            <a:noFill/>
            <a:miter lim="800000"/>
            <a:headEnd/>
            <a:tailEnd/>
          </a:ln>
          <a:effectLst/>
        </p:spPr>
      </p:pic>
      <p:sp>
        <p:nvSpPr>
          <p:cNvPr id="19" name="TextBox 95"/>
          <p:cNvSpPr txBox="1"/>
          <p:nvPr/>
        </p:nvSpPr>
        <p:spPr>
          <a:xfrm>
            <a:off x="986699" y="1371601"/>
            <a:ext cx="1834040" cy="253604"/>
          </a:xfrm>
          <a:prstGeom prst="rect">
            <a:avLst/>
          </a:prstGeom>
          <a:noFill/>
        </p:spPr>
        <p:txBody>
          <a:bodyPr lIns="68586" tIns="34294" rIns="68586" bIns="34294">
            <a:spAutoFit/>
          </a:bodyPr>
          <a:lstStyle/>
          <a:p>
            <a:pPr algn="ctr"/>
            <a:r>
              <a:rPr lang="en-US" sz="1200" b="1" dirty="0">
                <a:cs typeface="Arial" pitchFamily="34" charset="0"/>
              </a:rPr>
              <a:t>Web Tier</a:t>
            </a:r>
          </a:p>
        </p:txBody>
      </p:sp>
      <p:pic>
        <p:nvPicPr>
          <p:cNvPr id="50272" name="Picture 136"/>
          <p:cNvPicPr>
            <a:picLocks noChangeAspect="1"/>
          </p:cNvPicPr>
          <p:nvPr/>
        </p:nvPicPr>
        <p:blipFill>
          <a:blip r:embed="rId6"/>
          <a:srcRect/>
          <a:stretch>
            <a:fillRect/>
          </a:stretch>
        </p:blipFill>
        <p:spPr bwMode="auto">
          <a:xfrm>
            <a:off x="2291964" y="2097882"/>
            <a:ext cx="447792" cy="510779"/>
          </a:xfrm>
          <a:prstGeom prst="rect">
            <a:avLst/>
          </a:prstGeom>
          <a:noFill/>
          <a:ln w="9525">
            <a:noFill/>
            <a:miter lim="800000"/>
            <a:headEnd/>
            <a:tailEnd/>
          </a:ln>
          <a:effectLst/>
        </p:spPr>
      </p:pic>
      <p:sp>
        <p:nvSpPr>
          <p:cNvPr id="97" name="Rectangular Callout 96"/>
          <p:cNvSpPr>
            <a:spLocks noChangeArrowheads="1"/>
          </p:cNvSpPr>
          <p:nvPr/>
        </p:nvSpPr>
        <p:spPr bwMode="auto">
          <a:xfrm>
            <a:off x="800913" y="3446858"/>
            <a:ext cx="843182" cy="884682"/>
          </a:xfrm>
          <a:prstGeom prst="wedgeRectCallout">
            <a:avLst>
              <a:gd name="adj1" fmla="val 8168"/>
              <a:gd name="adj2" fmla="val -152228"/>
            </a:avLst>
          </a:prstGeom>
          <a:solidFill>
            <a:srgbClr val="00AEEF"/>
          </a:solidFill>
          <a:ln w="6350" algn="ctr">
            <a:noFill/>
            <a:miter lim="800000"/>
            <a:headEnd/>
            <a:tailEnd/>
          </a:ln>
          <a:effectLst/>
        </p:spPr>
        <p:txBody>
          <a:bodyPr lIns="68586" tIns="34294" rIns="68586" bIns="34294" anchor="ctr"/>
          <a:lstStyle/>
          <a:p>
            <a:pPr algn="ctr">
              <a:defRPr/>
            </a:pPr>
            <a:endParaRPr lang="en-US" dirty="0">
              <a:solidFill>
                <a:schemeClr val="lt1"/>
              </a:solidFill>
              <a:latin typeface="+mn-lt"/>
              <a:cs typeface="+mn-cs"/>
            </a:endParaRPr>
          </a:p>
        </p:txBody>
      </p:sp>
      <p:sp>
        <p:nvSpPr>
          <p:cNvPr id="98" name="Rectangular Callout 97"/>
          <p:cNvSpPr>
            <a:spLocks noChangeArrowheads="1"/>
          </p:cNvSpPr>
          <p:nvPr/>
        </p:nvSpPr>
        <p:spPr bwMode="auto">
          <a:xfrm>
            <a:off x="1739371" y="3446861"/>
            <a:ext cx="431119" cy="889079"/>
          </a:xfrm>
          <a:prstGeom prst="wedgeRectCallout">
            <a:avLst>
              <a:gd name="adj1" fmla="val -9185"/>
              <a:gd name="adj2" fmla="val -146491"/>
            </a:avLst>
          </a:prstGeom>
          <a:solidFill>
            <a:srgbClr val="00AEEF"/>
          </a:solidFill>
          <a:ln w="6350" algn="ctr">
            <a:noFill/>
            <a:round/>
            <a:headEnd/>
            <a:tailEnd/>
          </a:ln>
          <a:effectLst/>
        </p:spPr>
        <p:txBody>
          <a:bodyPr lIns="68586" tIns="34294" rIns="68586" bIns="34294" anchor="ctr"/>
          <a:lstStyle/>
          <a:p>
            <a:pPr algn="ctr">
              <a:defRPr/>
            </a:pPr>
            <a:endParaRPr lang="en-US" sz="800" dirty="0">
              <a:solidFill>
                <a:schemeClr val="lt1"/>
              </a:solidFill>
            </a:endParaRPr>
          </a:p>
        </p:txBody>
      </p:sp>
      <p:sp>
        <p:nvSpPr>
          <p:cNvPr id="99" name="Rectangular Callout 98"/>
          <p:cNvSpPr>
            <a:spLocks noChangeArrowheads="1"/>
          </p:cNvSpPr>
          <p:nvPr/>
        </p:nvSpPr>
        <p:spPr bwMode="auto">
          <a:xfrm>
            <a:off x="2265763" y="3446860"/>
            <a:ext cx="1127815" cy="881898"/>
          </a:xfrm>
          <a:prstGeom prst="wedgeRectCallout">
            <a:avLst>
              <a:gd name="adj1" fmla="val -15671"/>
              <a:gd name="adj2" fmla="val -142296"/>
            </a:avLst>
          </a:prstGeom>
          <a:solidFill>
            <a:srgbClr val="00AEEF"/>
          </a:solidFill>
          <a:ln w="6350" algn="ctr">
            <a:noFill/>
            <a:round/>
            <a:headEnd/>
            <a:tailEnd/>
          </a:ln>
          <a:effectLst/>
        </p:spPr>
        <p:txBody>
          <a:bodyPr lIns="68586" tIns="34294" rIns="68586" bIns="34294" anchor="ctr"/>
          <a:lstStyle/>
          <a:p>
            <a:pPr algn="ctr">
              <a:defRPr/>
            </a:pPr>
            <a:endParaRPr lang="en-US" sz="800" dirty="0">
              <a:solidFill>
                <a:schemeClr val="lt1"/>
              </a:solidFill>
            </a:endParaRPr>
          </a:p>
        </p:txBody>
      </p:sp>
      <p:pic>
        <p:nvPicPr>
          <p:cNvPr id="50221" name="Picture 21" descr="app.ai"/>
          <p:cNvPicPr>
            <a:picLocks noChangeAspect="1"/>
          </p:cNvPicPr>
          <p:nvPr/>
        </p:nvPicPr>
        <p:blipFill>
          <a:blip r:embed="rId4"/>
          <a:srcRect/>
          <a:stretch>
            <a:fillRect/>
          </a:stretch>
        </p:blipFill>
        <p:spPr bwMode="auto">
          <a:xfrm rot="1078840">
            <a:off x="1821673" y="3517758"/>
            <a:ext cx="297734" cy="339328"/>
          </a:xfrm>
          <a:prstGeom prst="rect">
            <a:avLst/>
          </a:prstGeom>
          <a:noFill/>
          <a:ln w="9525">
            <a:noFill/>
            <a:miter lim="800000"/>
            <a:headEnd/>
            <a:tailEnd/>
          </a:ln>
          <a:effectLst/>
        </p:spPr>
      </p:pic>
      <p:pic>
        <p:nvPicPr>
          <p:cNvPr id="50222" name="Picture 102" descr="app.ai"/>
          <p:cNvPicPr>
            <a:picLocks noChangeAspect="1"/>
          </p:cNvPicPr>
          <p:nvPr/>
        </p:nvPicPr>
        <p:blipFill>
          <a:blip r:embed="rId4"/>
          <a:srcRect/>
          <a:stretch>
            <a:fillRect/>
          </a:stretch>
        </p:blipFill>
        <p:spPr bwMode="auto">
          <a:xfrm rot="1078840">
            <a:off x="2923281" y="3550001"/>
            <a:ext cx="297734" cy="339329"/>
          </a:xfrm>
          <a:prstGeom prst="rect">
            <a:avLst/>
          </a:prstGeom>
          <a:noFill/>
          <a:ln w="9525">
            <a:noFill/>
            <a:miter lim="800000"/>
            <a:headEnd/>
            <a:tailEnd/>
          </a:ln>
          <a:effectLst/>
        </p:spPr>
      </p:pic>
      <p:pic>
        <p:nvPicPr>
          <p:cNvPr id="50225" name="Picture 107" descr="device.ai"/>
          <p:cNvPicPr>
            <a:picLocks noChangeAspect="1"/>
          </p:cNvPicPr>
          <p:nvPr/>
        </p:nvPicPr>
        <p:blipFill>
          <a:blip r:embed="rId7"/>
          <a:srcRect/>
          <a:stretch>
            <a:fillRect/>
          </a:stretch>
        </p:blipFill>
        <p:spPr bwMode="auto">
          <a:xfrm>
            <a:off x="896918" y="3487993"/>
            <a:ext cx="621668" cy="419405"/>
          </a:xfrm>
          <a:prstGeom prst="rect">
            <a:avLst/>
          </a:prstGeom>
          <a:noFill/>
          <a:ln w="9525">
            <a:noFill/>
            <a:miter lim="800000"/>
            <a:headEnd/>
            <a:tailEnd/>
          </a:ln>
          <a:effectLst/>
        </p:spPr>
      </p:pic>
      <p:sp>
        <p:nvSpPr>
          <p:cNvPr id="110" name="TextBox 109"/>
          <p:cNvSpPr txBox="1"/>
          <p:nvPr/>
        </p:nvSpPr>
        <p:spPr>
          <a:xfrm>
            <a:off x="829496" y="3913856"/>
            <a:ext cx="786017" cy="196206"/>
          </a:xfrm>
          <a:prstGeom prst="rect">
            <a:avLst/>
          </a:prstGeom>
          <a:noFill/>
        </p:spPr>
        <p:txBody>
          <a:bodyPr lIns="68586" tIns="34294" rIns="68586" bIns="34294">
            <a:spAutoFit/>
          </a:bodyPr>
          <a:lstStyle/>
          <a:p>
            <a:pPr algn="ctr">
              <a:defRPr/>
            </a:pPr>
            <a:r>
              <a:rPr lang="en-US" sz="800" dirty="0">
                <a:solidFill>
                  <a:schemeClr val="bg1"/>
                </a:solidFill>
                <a:cs typeface="Arial"/>
              </a:rPr>
              <a:t>W2K8R2.VHD</a:t>
            </a:r>
          </a:p>
        </p:txBody>
      </p:sp>
      <p:sp>
        <p:nvSpPr>
          <p:cNvPr id="111" name="TextBox 110"/>
          <p:cNvSpPr txBox="1">
            <a:spLocks noChangeArrowheads="1"/>
          </p:cNvSpPr>
          <p:nvPr/>
        </p:nvSpPr>
        <p:spPr bwMode="auto">
          <a:xfrm>
            <a:off x="1729843" y="3856705"/>
            <a:ext cx="457319" cy="297656"/>
          </a:xfrm>
          <a:prstGeom prst="rect">
            <a:avLst/>
          </a:prstGeom>
          <a:noFill/>
          <a:ln w="9525">
            <a:noFill/>
            <a:miter lim="800000"/>
            <a:headEnd/>
            <a:tailEnd/>
          </a:ln>
          <a:effectLst/>
        </p:spPr>
        <p:txBody>
          <a:bodyPr wrap="none" lIns="68586" tIns="34294" rIns="68586" bIns="34294" anchor="ctr"/>
          <a:lstStyle/>
          <a:p>
            <a:pPr algn="ctr">
              <a:defRPr/>
            </a:pPr>
            <a:r>
              <a:rPr lang="en-US" sz="800" dirty="0">
                <a:solidFill>
                  <a:schemeClr val="bg1"/>
                </a:solidFill>
                <a:cs typeface="Arial"/>
              </a:rPr>
              <a:t>OS </a:t>
            </a:r>
            <a:br>
              <a:rPr lang="en-US" sz="800" dirty="0">
                <a:solidFill>
                  <a:schemeClr val="bg1"/>
                </a:solidFill>
                <a:cs typeface="Arial"/>
              </a:rPr>
            </a:br>
            <a:r>
              <a:rPr lang="en-US" sz="800" dirty="0">
                <a:solidFill>
                  <a:schemeClr val="bg1"/>
                </a:solidFill>
                <a:cs typeface="Arial"/>
              </a:rPr>
              <a:t>Settings</a:t>
            </a:r>
          </a:p>
        </p:txBody>
      </p:sp>
      <p:sp>
        <p:nvSpPr>
          <p:cNvPr id="112" name="TextBox 111"/>
          <p:cNvSpPr txBox="1"/>
          <p:nvPr/>
        </p:nvSpPr>
        <p:spPr>
          <a:xfrm>
            <a:off x="2215745" y="3856706"/>
            <a:ext cx="658587" cy="323164"/>
          </a:xfrm>
          <a:prstGeom prst="rect">
            <a:avLst/>
          </a:prstGeom>
          <a:noFill/>
        </p:spPr>
        <p:txBody>
          <a:bodyPr lIns="68586" tIns="34294" rIns="68586" bIns="34294">
            <a:spAutoFit/>
          </a:bodyPr>
          <a:lstStyle/>
          <a:p>
            <a:pPr algn="ctr"/>
            <a:r>
              <a:rPr lang="en-US" sz="800" dirty="0">
                <a:solidFill>
                  <a:schemeClr val="bg1"/>
                </a:solidFill>
                <a:cs typeface="Arial" pitchFamily="34" charset="0"/>
              </a:rPr>
              <a:t>MSDeploy </a:t>
            </a:r>
          </a:p>
          <a:p>
            <a:pPr algn="ctr"/>
            <a:r>
              <a:rPr lang="en-US" sz="800" dirty="0">
                <a:solidFill>
                  <a:schemeClr val="bg1"/>
                </a:solidFill>
                <a:cs typeface="Arial" pitchFamily="34" charset="0"/>
              </a:rPr>
              <a:t>Package</a:t>
            </a:r>
          </a:p>
        </p:txBody>
      </p:sp>
      <p:sp>
        <p:nvSpPr>
          <p:cNvPr id="113" name="TextBox 112"/>
          <p:cNvSpPr txBox="1"/>
          <p:nvPr/>
        </p:nvSpPr>
        <p:spPr>
          <a:xfrm>
            <a:off x="2727847" y="3919213"/>
            <a:ext cx="716943" cy="323164"/>
          </a:xfrm>
          <a:prstGeom prst="rect">
            <a:avLst/>
          </a:prstGeom>
          <a:noFill/>
        </p:spPr>
        <p:txBody>
          <a:bodyPr wrap="square" lIns="68586" tIns="34294" rIns="68586" bIns="34294">
            <a:spAutoFit/>
          </a:bodyPr>
          <a:lstStyle/>
          <a:p>
            <a:pPr algn="ctr">
              <a:defRPr/>
            </a:pPr>
            <a:r>
              <a:rPr lang="en-US" sz="800" dirty="0">
                <a:solidFill>
                  <a:schemeClr val="bg1"/>
                </a:solidFill>
                <a:cs typeface="Arial"/>
              </a:rPr>
              <a:t>Configuration</a:t>
            </a:r>
          </a:p>
        </p:txBody>
      </p:sp>
      <p:pic>
        <p:nvPicPr>
          <p:cNvPr id="50241" name="Picture 139"/>
          <p:cNvPicPr>
            <a:picLocks noChangeAspect="1"/>
          </p:cNvPicPr>
          <p:nvPr/>
        </p:nvPicPr>
        <p:blipFill>
          <a:blip r:embed="rId8"/>
          <a:srcRect/>
          <a:stretch>
            <a:fillRect/>
          </a:stretch>
        </p:blipFill>
        <p:spPr bwMode="auto">
          <a:xfrm>
            <a:off x="2358657" y="3486152"/>
            <a:ext cx="369190" cy="375047"/>
          </a:xfrm>
          <a:prstGeom prst="rect">
            <a:avLst/>
          </a:prstGeom>
          <a:noFill/>
          <a:ln w="9525">
            <a:noFill/>
            <a:miter lim="800000"/>
            <a:headEnd/>
            <a:tailEnd/>
          </a:ln>
          <a:effectLst/>
        </p:spPr>
      </p:pic>
      <p:sp>
        <p:nvSpPr>
          <p:cNvPr id="100" name="Rectangular Callout 99"/>
          <p:cNvSpPr>
            <a:spLocks noChangeArrowheads="1"/>
          </p:cNvSpPr>
          <p:nvPr/>
        </p:nvSpPr>
        <p:spPr bwMode="auto">
          <a:xfrm>
            <a:off x="5312175" y="3446861"/>
            <a:ext cx="1151634" cy="881897"/>
          </a:xfrm>
          <a:prstGeom prst="wedgeRectCallout">
            <a:avLst>
              <a:gd name="adj1" fmla="val -61428"/>
              <a:gd name="adj2" fmla="val -146841"/>
            </a:avLst>
          </a:prstGeom>
          <a:solidFill>
            <a:schemeClr val="accent1"/>
          </a:solidFill>
          <a:ln w="6350" algn="ctr">
            <a:noFill/>
            <a:round/>
            <a:headEnd/>
            <a:tailEnd/>
          </a:ln>
          <a:effectLst/>
        </p:spPr>
        <p:txBody>
          <a:bodyPr lIns="68586" tIns="34294" rIns="68586" bIns="34294" anchor="ctr"/>
          <a:lstStyle/>
          <a:p>
            <a:pPr algn="ctr">
              <a:defRPr/>
            </a:pPr>
            <a:endParaRPr lang="en-US" sz="800" dirty="0">
              <a:solidFill>
                <a:schemeClr val="lt1"/>
              </a:solidFill>
            </a:endParaRPr>
          </a:p>
        </p:txBody>
      </p:sp>
      <p:pic>
        <p:nvPicPr>
          <p:cNvPr id="50223" name="Picture 103" descr="app.ai"/>
          <p:cNvPicPr>
            <a:picLocks noChangeAspect="1"/>
          </p:cNvPicPr>
          <p:nvPr/>
        </p:nvPicPr>
        <p:blipFill>
          <a:blip r:embed="rId4"/>
          <a:srcRect/>
          <a:stretch>
            <a:fillRect/>
          </a:stretch>
        </p:blipFill>
        <p:spPr bwMode="auto">
          <a:xfrm rot="1078840">
            <a:off x="5463900" y="3539537"/>
            <a:ext cx="297734" cy="340519"/>
          </a:xfrm>
          <a:prstGeom prst="rect">
            <a:avLst/>
          </a:prstGeom>
          <a:noFill/>
          <a:ln w="9525">
            <a:noFill/>
            <a:miter lim="800000"/>
            <a:headEnd/>
            <a:tailEnd/>
          </a:ln>
          <a:effectLst/>
        </p:spPr>
      </p:pic>
      <p:sp>
        <p:nvSpPr>
          <p:cNvPr id="114" name="TextBox 113"/>
          <p:cNvSpPr txBox="1"/>
          <p:nvPr/>
        </p:nvSpPr>
        <p:spPr>
          <a:xfrm>
            <a:off x="5828373" y="3913258"/>
            <a:ext cx="710466" cy="450122"/>
          </a:xfrm>
          <a:prstGeom prst="rect">
            <a:avLst/>
          </a:prstGeom>
          <a:noFill/>
        </p:spPr>
        <p:txBody>
          <a:bodyPr wrap="square" lIns="68586" tIns="34294" rIns="68586" bIns="34294">
            <a:spAutoFit/>
          </a:bodyPr>
          <a:lstStyle/>
          <a:p>
            <a:pPr algn="ctr">
              <a:defRPr/>
            </a:pPr>
            <a:r>
              <a:rPr lang="en-US" sz="800" dirty="0">
                <a:solidFill>
                  <a:schemeClr val="bg1"/>
                </a:solidFill>
                <a:cs typeface="Arial"/>
              </a:rPr>
              <a:t>Application Virtualization</a:t>
            </a:r>
          </a:p>
        </p:txBody>
      </p:sp>
      <p:sp>
        <p:nvSpPr>
          <p:cNvPr id="115" name="TextBox 114"/>
          <p:cNvSpPr txBox="1"/>
          <p:nvPr/>
        </p:nvSpPr>
        <p:spPr>
          <a:xfrm>
            <a:off x="5226430" y="3913259"/>
            <a:ext cx="796735" cy="196206"/>
          </a:xfrm>
          <a:prstGeom prst="rect">
            <a:avLst/>
          </a:prstGeom>
          <a:noFill/>
        </p:spPr>
        <p:txBody>
          <a:bodyPr lIns="68586" tIns="34294" rIns="68586" bIns="34294">
            <a:spAutoFit/>
          </a:bodyPr>
          <a:lstStyle/>
          <a:p>
            <a:pPr algn="ctr">
              <a:defRPr/>
            </a:pPr>
            <a:r>
              <a:rPr lang="en-US" sz="800" dirty="0">
                <a:solidFill>
                  <a:schemeClr val="bg1"/>
                </a:solidFill>
                <a:cs typeface="Arial"/>
              </a:rPr>
              <a:t>Configuration</a:t>
            </a:r>
          </a:p>
        </p:txBody>
      </p:sp>
      <p:pic>
        <p:nvPicPr>
          <p:cNvPr id="50239" name="Picture 137"/>
          <p:cNvPicPr>
            <a:picLocks noChangeAspect="1"/>
          </p:cNvPicPr>
          <p:nvPr/>
        </p:nvPicPr>
        <p:blipFill>
          <a:blip r:embed="rId6"/>
          <a:srcRect/>
          <a:stretch>
            <a:fillRect/>
          </a:stretch>
        </p:blipFill>
        <p:spPr bwMode="auto">
          <a:xfrm>
            <a:off x="6019591" y="3526896"/>
            <a:ext cx="344180" cy="392906"/>
          </a:xfrm>
          <a:prstGeom prst="rect">
            <a:avLst/>
          </a:prstGeom>
          <a:noFill/>
          <a:ln w="9525">
            <a:noFill/>
            <a:miter lim="800000"/>
            <a:headEnd/>
            <a:tailEnd/>
          </a:ln>
          <a:effectLst/>
        </p:spPr>
      </p:pic>
      <p:sp>
        <p:nvSpPr>
          <p:cNvPr id="50246" name="TextBox 71"/>
          <p:cNvSpPr txBox="1">
            <a:spLocks noChangeArrowheads="1"/>
          </p:cNvSpPr>
          <p:nvPr/>
        </p:nvSpPr>
        <p:spPr bwMode="auto">
          <a:xfrm>
            <a:off x="3785396" y="3993353"/>
            <a:ext cx="1087324" cy="288539"/>
          </a:xfrm>
          <a:prstGeom prst="rect">
            <a:avLst/>
          </a:prstGeom>
          <a:noFill/>
          <a:ln w="9525">
            <a:noFill/>
            <a:miter lim="800000"/>
            <a:headEnd/>
            <a:tailEnd/>
          </a:ln>
          <a:effectLst/>
        </p:spPr>
        <p:txBody>
          <a:bodyPr lIns="68586" tIns="34294" rIns="68586" bIns="34294">
            <a:spAutoFit/>
          </a:bodyPr>
          <a:lstStyle/>
          <a:p>
            <a:pPr algn="ctr" defTabSz="684673">
              <a:buClr>
                <a:schemeClr val="tx1"/>
              </a:buClr>
            </a:pPr>
            <a:endParaRPr lang="en-US" i="1" dirty="0"/>
          </a:p>
        </p:txBody>
      </p:sp>
      <p:grpSp>
        <p:nvGrpSpPr>
          <p:cNvPr id="70" name="Group 69"/>
          <p:cNvGrpSpPr/>
          <p:nvPr/>
        </p:nvGrpSpPr>
        <p:grpSpPr>
          <a:xfrm>
            <a:off x="8287719" y="3246770"/>
            <a:ext cx="853025" cy="1659891"/>
            <a:chOff x="10582063" y="2140949"/>
            <a:chExt cx="1137071" cy="2213188"/>
          </a:xfrm>
        </p:grpSpPr>
        <p:grpSp>
          <p:nvGrpSpPr>
            <p:cNvPr id="71" name="Group 6"/>
            <p:cNvGrpSpPr>
              <a:grpSpLocks/>
            </p:cNvGrpSpPr>
            <p:nvPr/>
          </p:nvGrpSpPr>
          <p:grpSpPr bwMode="auto">
            <a:xfrm>
              <a:off x="10582063" y="2140949"/>
              <a:ext cx="1016073" cy="2213188"/>
              <a:chOff x="6677" y="1051"/>
              <a:chExt cx="1237" cy="2689"/>
            </a:xfrm>
          </p:grpSpPr>
          <p:pic>
            <p:nvPicPr>
              <p:cNvPr id="73" name="Picture 5"/>
              <p:cNvPicPr>
                <a:picLocks noChangeAspect="1" noChangeArrowheads="1"/>
              </p:cNvPicPr>
              <p:nvPr/>
            </p:nvPicPr>
            <p:blipFill>
              <a:blip r:embed="rId9">
                <a:extLst>
                  <a:ext uri="{28A0092B-C50C-407E-A947-70E740481C1C}">
                    <a14:useLocalDpi xmlns:a14="http://schemas.microsoft.com/office/drawing/2010/main" val="0"/>
                  </a:ext>
                </a:extLst>
              </a:blip>
              <a:stretch>
                <a:fillRect/>
              </a:stretch>
            </p:blipFill>
            <p:spPr bwMode="auto">
              <a:xfrm>
                <a:off x="6677" y="1051"/>
                <a:ext cx="785" cy="2689"/>
              </a:xfrm>
              <a:prstGeom prst="rect">
                <a:avLst/>
              </a:prstGeom>
              <a:noFill/>
              <a:ln>
                <a:noFill/>
              </a:ln>
            </p:spPr>
          </p:pic>
          <p:sp>
            <p:nvSpPr>
              <p:cNvPr id="74" name="Oval 8"/>
              <p:cNvSpPr>
                <a:spLocks noChangeArrowheads="1"/>
              </p:cNvSpPr>
              <p:nvPr/>
            </p:nvSpPr>
            <p:spPr bwMode="auto">
              <a:xfrm>
                <a:off x="7122" y="2305"/>
                <a:ext cx="792" cy="792"/>
              </a:xfrm>
              <a:prstGeom prst="ellipse">
                <a:avLst/>
              </a:prstGeom>
              <a:solidFill>
                <a:schemeClr val="accent2">
                  <a:lumMod val="75000"/>
                  <a:alpha val="90000"/>
                </a:schemeClr>
              </a:solidFill>
              <a:ln w="9525">
                <a:noFill/>
                <a:round/>
                <a:headEnd/>
                <a:tailEnd/>
              </a:ln>
            </p:spPr>
            <p:txBody>
              <a:bodyPr lIns="0" rIns="0" anchor="ctr"/>
              <a:lstStyle/>
              <a:p>
                <a:pPr algn="ctr"/>
                <a:r>
                  <a:rPr lang="en-US" sz="800" dirty="0"/>
                  <a:t>DC</a:t>
                </a:r>
                <a:br>
                  <a:rPr lang="en-US" sz="800" dirty="0"/>
                </a:br>
                <a:r>
                  <a:rPr lang="en-US" sz="800" dirty="0"/>
                  <a:t>Admin</a:t>
                </a:r>
              </a:p>
            </p:txBody>
          </p:sp>
        </p:grpSp>
        <p:pic>
          <p:nvPicPr>
            <p:cNvPr id="72" name="Picture 5"/>
            <p:cNvPicPr>
              <a:picLocks noChangeAspect="1" noChangeArrowheads="1"/>
            </p:cNvPicPr>
            <p:nvPr/>
          </p:nvPicPr>
          <p:blipFill>
            <a:blip r:embed="rId10" cstate="print">
              <a:extLst>
                <a:ext uri="{28A0092B-C50C-407E-A947-70E740481C1C}">
                  <a14:useLocalDpi xmlns:a14="http://schemas.microsoft.com/office/drawing/2010/main" val="0"/>
                </a:ext>
              </a:extLst>
            </a:blip>
            <a:stretch>
              <a:fillRect/>
            </a:stretch>
          </p:blipFill>
          <p:spPr bwMode="auto">
            <a:xfrm>
              <a:off x="10904463" y="2499513"/>
              <a:ext cx="814671" cy="566390"/>
            </a:xfrm>
            <a:prstGeom prst="rect">
              <a:avLst/>
            </a:prstGeom>
            <a:noFill/>
            <a:ln w="9525">
              <a:noFill/>
              <a:miter lim="800000"/>
              <a:headEnd/>
              <a:tailEnd/>
            </a:ln>
            <a:effectLst/>
          </p:spPr>
        </p:pic>
      </p:grpSp>
      <p:sp>
        <p:nvSpPr>
          <p:cNvPr id="75"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76"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1"/>
              </a:rPr>
              <a:t>www.rapidbbs.cn</a:t>
            </a:r>
            <a:endParaRPr lang="zh-CN" altLang="en-US" sz="1200" b="0">
              <a:latin typeface="Arial" charset="0"/>
              <a:ea typeface="ＭＳ Ｐゴシック" pitchFamily="34" charset="-128"/>
            </a:endParaRPr>
          </a:p>
        </p:txBody>
      </p:sp>
      <p:pic>
        <p:nvPicPr>
          <p:cNvPr id="77" name="Picture 2">
            <a:hlinkClick r:id="rId11"/>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42757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6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96"/>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50270"/>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50258"/>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50212"/>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68"/>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15"/>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7"/>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87"/>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4"/>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6"/>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84"/>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50265"/>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6"/>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97"/>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50225"/>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110"/>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nodeType="clickEffect">
                                  <p:stCondLst>
                                    <p:cond delay="0"/>
                                  </p:stCondLst>
                                  <p:childTnLst>
                                    <p:set>
                                      <p:cBhvr>
                                        <p:cTn id="68" dur="1" fill="hold">
                                          <p:stCondLst>
                                            <p:cond delay="0"/>
                                          </p:stCondLst>
                                        </p:cTn>
                                        <p:tgtEl>
                                          <p:spTgt spid="50264"/>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17"/>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98"/>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50221"/>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111"/>
                                        </p:tgtEl>
                                        <p:attrNameLst>
                                          <p:attrName>style.visibility</p:attrName>
                                        </p:attrNameLst>
                                      </p:cBhvr>
                                      <p:to>
                                        <p:strVal val="visible"/>
                                      </p:to>
                                    </p:set>
                                  </p:childTnLst>
                                </p:cTn>
                              </p:par>
                            </p:childTnLst>
                          </p:cTn>
                        </p:par>
                      </p:childTnLst>
                    </p:cTn>
                  </p:par>
                  <p:par>
                    <p:cTn id="77" fill="hold">
                      <p:stCondLst>
                        <p:cond delay="indefinite"/>
                      </p:stCondLst>
                      <p:childTnLst>
                        <p:par>
                          <p:cTn id="78" fill="hold">
                            <p:stCondLst>
                              <p:cond delay="0"/>
                            </p:stCondLst>
                            <p:childTnLst>
                              <p:par>
                                <p:cTn id="79" presetID="1" presetClass="entr" presetSubtype="0" fill="hold" nodeType="clickEffect">
                                  <p:stCondLst>
                                    <p:cond delay="0"/>
                                  </p:stCondLst>
                                  <p:childTnLst>
                                    <p:set>
                                      <p:cBhvr>
                                        <p:cTn id="80" dur="1" fill="hold">
                                          <p:stCondLst>
                                            <p:cond delay="0"/>
                                          </p:stCondLst>
                                        </p:cTn>
                                        <p:tgtEl>
                                          <p:spTgt spid="50272"/>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18"/>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99"/>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50241"/>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112"/>
                                        </p:tgtEl>
                                        <p:attrNameLst>
                                          <p:attrName>style.visibility</p:attrName>
                                        </p:attrNameLst>
                                      </p:cBhvr>
                                      <p:to>
                                        <p:strVal val="visible"/>
                                      </p:to>
                                    </p:set>
                                  </p:childTnLst>
                                </p:cTn>
                              </p:par>
                              <p:par>
                                <p:cTn id="89" presetID="1" presetClass="entr" presetSubtype="0" fill="hold" nodeType="withEffect">
                                  <p:stCondLst>
                                    <p:cond delay="0"/>
                                  </p:stCondLst>
                                  <p:childTnLst>
                                    <p:set>
                                      <p:cBhvr>
                                        <p:cTn id="90" dur="1" fill="hold">
                                          <p:stCondLst>
                                            <p:cond delay="0"/>
                                          </p:stCondLst>
                                        </p:cTn>
                                        <p:tgtEl>
                                          <p:spTgt spid="50222"/>
                                        </p:tgtEl>
                                        <p:attrNameLst>
                                          <p:attrName>style.visibility</p:attrName>
                                        </p:attrNameLst>
                                      </p:cBhvr>
                                      <p:to>
                                        <p:strVal val="visible"/>
                                      </p:to>
                                    </p:set>
                                  </p:childTnLst>
                                </p:cTn>
                              </p:par>
                              <p:par>
                                <p:cTn id="91" presetID="1" presetClass="entr" presetSubtype="0" fill="hold" grpId="0" nodeType="withEffect">
                                  <p:stCondLst>
                                    <p:cond delay="0"/>
                                  </p:stCondLst>
                                  <p:childTnLst>
                                    <p:set>
                                      <p:cBhvr>
                                        <p:cTn id="92" dur="1" fill="hold">
                                          <p:stCondLst>
                                            <p:cond delay="0"/>
                                          </p:stCondLst>
                                        </p:cTn>
                                        <p:tgtEl>
                                          <p:spTgt spid="113"/>
                                        </p:tgtEl>
                                        <p:attrNameLst>
                                          <p:attrName>style.visibility</p:attrName>
                                        </p:attrNameLst>
                                      </p:cBhvr>
                                      <p:to>
                                        <p:strVal val="visible"/>
                                      </p:to>
                                    </p:set>
                                  </p:childTnLst>
                                </p:cTn>
                              </p:par>
                            </p:childTnLst>
                          </p:cTn>
                        </p:par>
                      </p:childTnLst>
                    </p:cTn>
                  </p:par>
                  <p:par>
                    <p:cTn id="93" fill="hold">
                      <p:stCondLst>
                        <p:cond delay="indefinite"/>
                      </p:stCondLst>
                      <p:childTnLst>
                        <p:par>
                          <p:cTn id="94" fill="hold">
                            <p:stCondLst>
                              <p:cond delay="0"/>
                            </p:stCondLst>
                            <p:childTnLst>
                              <p:par>
                                <p:cTn id="95" presetID="1" presetClass="entr" presetSubtype="0" fill="hold" nodeType="clickEffect">
                                  <p:stCondLst>
                                    <p:cond delay="0"/>
                                  </p:stCondLst>
                                  <p:childTnLst>
                                    <p:set>
                                      <p:cBhvr>
                                        <p:cTn id="96" dur="1" fill="hold">
                                          <p:stCondLst>
                                            <p:cond delay="0"/>
                                          </p:stCondLst>
                                        </p:cTn>
                                        <p:tgtEl>
                                          <p:spTgt spid="50253"/>
                                        </p:tgtEl>
                                        <p:attrNameLst>
                                          <p:attrName>style.visibility</p:attrName>
                                        </p:attrNameLst>
                                      </p:cBhvr>
                                      <p:to>
                                        <p:strVal val="visible"/>
                                      </p:to>
                                    </p:set>
                                  </p:childTnLst>
                                </p:cTn>
                              </p:par>
                              <p:par>
                                <p:cTn id="97" presetID="1" presetClass="entr" presetSubtype="0" fill="hold" grpId="0" nodeType="withEffect">
                                  <p:stCondLst>
                                    <p:cond delay="0"/>
                                  </p:stCondLst>
                                  <p:childTnLst>
                                    <p:set>
                                      <p:cBhvr>
                                        <p:cTn id="98" dur="1" fill="hold">
                                          <p:stCondLst>
                                            <p:cond delay="0"/>
                                          </p:stCondLst>
                                        </p:cTn>
                                        <p:tgtEl>
                                          <p:spTgt spid="8"/>
                                        </p:tgtEl>
                                        <p:attrNameLst>
                                          <p:attrName>style.visibility</p:attrName>
                                        </p:attrNameLst>
                                      </p:cBhvr>
                                      <p:to>
                                        <p:strVal val="visible"/>
                                      </p:to>
                                    </p:set>
                                  </p:childTnLst>
                                </p:cTn>
                              </p:par>
                            </p:childTnLst>
                          </p:cTn>
                        </p:par>
                      </p:childTnLst>
                    </p:cTn>
                  </p:par>
                  <p:par>
                    <p:cTn id="99" fill="hold">
                      <p:stCondLst>
                        <p:cond delay="indefinite"/>
                      </p:stCondLst>
                      <p:childTnLst>
                        <p:par>
                          <p:cTn id="100" fill="hold">
                            <p:stCondLst>
                              <p:cond delay="0"/>
                            </p:stCondLst>
                            <p:childTnLst>
                              <p:par>
                                <p:cTn id="101" presetID="1" presetClass="entr" presetSubtype="0" fill="hold" grpId="0" nodeType="clickEffect">
                                  <p:stCondLst>
                                    <p:cond delay="0"/>
                                  </p:stCondLst>
                                  <p:childTnLst>
                                    <p:set>
                                      <p:cBhvr>
                                        <p:cTn id="102" dur="1" fill="hold">
                                          <p:stCondLst>
                                            <p:cond delay="0"/>
                                          </p:stCondLst>
                                        </p:cTn>
                                        <p:tgtEl>
                                          <p:spTgt spid="9"/>
                                        </p:tgtEl>
                                        <p:attrNameLst>
                                          <p:attrName>style.visibility</p:attrName>
                                        </p:attrNameLst>
                                      </p:cBhvr>
                                      <p:to>
                                        <p:strVal val="visible"/>
                                      </p:to>
                                    </p:set>
                                  </p:childTnLst>
                                </p:cTn>
                              </p:par>
                              <p:par>
                                <p:cTn id="103" presetID="1" presetClass="entr" presetSubtype="0" fill="hold" nodeType="withEffect">
                                  <p:stCondLst>
                                    <p:cond delay="0"/>
                                  </p:stCondLst>
                                  <p:childTnLst>
                                    <p:set>
                                      <p:cBhvr>
                                        <p:cTn id="104" dur="1" fill="hold">
                                          <p:stCondLst>
                                            <p:cond delay="0"/>
                                          </p:stCondLst>
                                        </p:cTn>
                                        <p:tgtEl>
                                          <p:spTgt spid="50252"/>
                                        </p:tgtEl>
                                        <p:attrNameLst>
                                          <p:attrName>style.visibility</p:attrName>
                                        </p:attrNameLst>
                                      </p:cBhvr>
                                      <p:to>
                                        <p:strVal val="visible"/>
                                      </p:to>
                                    </p:set>
                                  </p:childTnLst>
                                </p:cTn>
                              </p:par>
                            </p:childTnLst>
                          </p:cTn>
                        </p:par>
                      </p:childTnLst>
                    </p:cTn>
                  </p:par>
                  <p:par>
                    <p:cTn id="105" fill="hold">
                      <p:stCondLst>
                        <p:cond delay="indefinite"/>
                      </p:stCondLst>
                      <p:childTnLst>
                        <p:par>
                          <p:cTn id="106" fill="hold">
                            <p:stCondLst>
                              <p:cond delay="0"/>
                            </p:stCondLst>
                            <p:childTnLst>
                              <p:par>
                                <p:cTn id="107" presetID="1" presetClass="entr" presetSubtype="0" fill="hold" nodeType="clickEffect">
                                  <p:stCondLst>
                                    <p:cond delay="0"/>
                                  </p:stCondLst>
                                  <p:childTnLst>
                                    <p:set>
                                      <p:cBhvr>
                                        <p:cTn id="108" dur="1" fill="hold">
                                          <p:stCondLst>
                                            <p:cond delay="0"/>
                                          </p:stCondLst>
                                        </p:cTn>
                                        <p:tgtEl>
                                          <p:spTgt spid="50260"/>
                                        </p:tgtEl>
                                        <p:attrNameLst>
                                          <p:attrName>style.visibility</p:attrName>
                                        </p:attrNameLst>
                                      </p:cBhvr>
                                      <p:to>
                                        <p:strVal val="visible"/>
                                      </p:to>
                                    </p:set>
                                  </p:childTnLst>
                                </p:cTn>
                              </p:par>
                              <p:par>
                                <p:cTn id="109" presetID="1" presetClass="entr" presetSubtype="0" fill="hold" grpId="0" nodeType="withEffect">
                                  <p:stCondLst>
                                    <p:cond delay="0"/>
                                  </p:stCondLst>
                                  <p:childTnLst>
                                    <p:set>
                                      <p:cBhvr>
                                        <p:cTn id="110" dur="1" fill="hold">
                                          <p:stCondLst>
                                            <p:cond delay="0"/>
                                          </p:stCondLst>
                                        </p:cTn>
                                        <p:tgtEl>
                                          <p:spTgt spid="10"/>
                                        </p:tgtEl>
                                        <p:attrNameLst>
                                          <p:attrName>style.visibility</p:attrName>
                                        </p:attrNameLst>
                                      </p:cBhvr>
                                      <p:to>
                                        <p:strVal val="visible"/>
                                      </p:to>
                                    </p:set>
                                  </p:childTnLst>
                                </p:cTn>
                              </p:par>
                              <p:par>
                                <p:cTn id="111" presetID="1" presetClass="entr" presetSubtype="0" fill="hold" grpId="0" nodeType="withEffect">
                                  <p:stCondLst>
                                    <p:cond delay="0"/>
                                  </p:stCondLst>
                                  <p:childTnLst>
                                    <p:set>
                                      <p:cBhvr>
                                        <p:cTn id="112" dur="1" fill="hold">
                                          <p:stCondLst>
                                            <p:cond delay="0"/>
                                          </p:stCondLst>
                                        </p:cTn>
                                        <p:tgtEl>
                                          <p:spTgt spid="100"/>
                                        </p:tgtEl>
                                        <p:attrNameLst>
                                          <p:attrName>style.visibility</p:attrName>
                                        </p:attrNameLst>
                                      </p:cBhvr>
                                      <p:to>
                                        <p:strVal val="visible"/>
                                      </p:to>
                                    </p:set>
                                  </p:childTnLst>
                                </p:cTn>
                              </p:par>
                              <p:par>
                                <p:cTn id="113" presetID="1" presetClass="entr" presetSubtype="0" fill="hold" nodeType="withEffect">
                                  <p:stCondLst>
                                    <p:cond delay="0"/>
                                  </p:stCondLst>
                                  <p:childTnLst>
                                    <p:set>
                                      <p:cBhvr>
                                        <p:cTn id="114" dur="1" fill="hold">
                                          <p:stCondLst>
                                            <p:cond delay="0"/>
                                          </p:stCondLst>
                                        </p:cTn>
                                        <p:tgtEl>
                                          <p:spTgt spid="50223"/>
                                        </p:tgtEl>
                                        <p:attrNameLst>
                                          <p:attrName>style.visibility</p:attrName>
                                        </p:attrNameLst>
                                      </p:cBhvr>
                                      <p:to>
                                        <p:strVal val="visible"/>
                                      </p:to>
                                    </p:set>
                                  </p:childTnLst>
                                </p:cTn>
                              </p:par>
                              <p:par>
                                <p:cTn id="115" presetID="1" presetClass="entr" presetSubtype="0" fill="hold" grpId="0" nodeType="withEffect">
                                  <p:stCondLst>
                                    <p:cond delay="0"/>
                                  </p:stCondLst>
                                  <p:childTnLst>
                                    <p:set>
                                      <p:cBhvr>
                                        <p:cTn id="116" dur="1" fill="hold">
                                          <p:stCondLst>
                                            <p:cond delay="0"/>
                                          </p:stCondLst>
                                        </p:cTn>
                                        <p:tgtEl>
                                          <p:spTgt spid="115"/>
                                        </p:tgtEl>
                                        <p:attrNameLst>
                                          <p:attrName>style.visibility</p:attrName>
                                        </p:attrNameLst>
                                      </p:cBhvr>
                                      <p:to>
                                        <p:strVal val="visible"/>
                                      </p:to>
                                    </p:set>
                                  </p:childTnLst>
                                </p:cTn>
                              </p:par>
                              <p:par>
                                <p:cTn id="117" presetID="1" presetClass="entr" presetSubtype="0" fill="hold" nodeType="withEffect">
                                  <p:stCondLst>
                                    <p:cond delay="0"/>
                                  </p:stCondLst>
                                  <p:childTnLst>
                                    <p:set>
                                      <p:cBhvr>
                                        <p:cTn id="118" dur="1" fill="hold">
                                          <p:stCondLst>
                                            <p:cond delay="0"/>
                                          </p:stCondLst>
                                        </p:cTn>
                                        <p:tgtEl>
                                          <p:spTgt spid="50239"/>
                                        </p:tgtEl>
                                        <p:attrNameLst>
                                          <p:attrName>style.visibility</p:attrName>
                                        </p:attrNameLst>
                                      </p:cBhvr>
                                      <p:to>
                                        <p:strVal val="visible"/>
                                      </p:to>
                                    </p:set>
                                  </p:childTnLst>
                                </p:cTn>
                              </p:par>
                              <p:par>
                                <p:cTn id="119" presetID="1" presetClass="entr" presetSubtype="0" fill="hold" grpId="0" nodeType="withEffect">
                                  <p:stCondLst>
                                    <p:cond delay="0"/>
                                  </p:stCondLst>
                                  <p:childTnLst>
                                    <p:set>
                                      <p:cBhvr>
                                        <p:cTn id="120" dur="1" fill="hold">
                                          <p:stCondLst>
                                            <p:cond delay="0"/>
                                          </p:stCondLst>
                                        </p:cTn>
                                        <p:tgtEl>
                                          <p:spTgt spid="114"/>
                                        </p:tgtEl>
                                        <p:attrNameLst>
                                          <p:attrName>style.visibility</p:attrName>
                                        </p:attrNameLst>
                                      </p:cBhvr>
                                      <p:to>
                                        <p:strVal val="visible"/>
                                      </p:to>
                                    </p:set>
                                  </p:childTnLst>
                                </p:cTn>
                              </p:par>
                            </p:childTnLst>
                          </p:cTn>
                        </p:par>
                      </p:childTnLst>
                    </p:cTn>
                  </p:par>
                  <p:par>
                    <p:cTn id="121" fill="hold">
                      <p:stCondLst>
                        <p:cond delay="indefinite"/>
                      </p:stCondLst>
                      <p:childTnLst>
                        <p:par>
                          <p:cTn id="122" fill="hold">
                            <p:stCondLst>
                              <p:cond delay="0"/>
                            </p:stCondLst>
                            <p:childTnLst>
                              <p:par>
                                <p:cTn id="123" presetID="1" presetClass="entr" presetSubtype="0" fill="hold" nodeType="clickEffect">
                                  <p:stCondLst>
                                    <p:cond delay="0"/>
                                  </p:stCondLst>
                                  <p:childTnLst>
                                    <p:set>
                                      <p:cBhvr>
                                        <p:cTn id="124" dur="1" fill="hold">
                                          <p:stCondLst>
                                            <p:cond delay="0"/>
                                          </p:stCondLst>
                                        </p:cTn>
                                        <p:tgtEl>
                                          <p:spTgt spid="50205"/>
                                        </p:tgtEl>
                                        <p:attrNameLst>
                                          <p:attrName>style.visibility</p:attrName>
                                        </p:attrNameLst>
                                      </p:cBhvr>
                                      <p:to>
                                        <p:strVal val="visible"/>
                                      </p:to>
                                    </p:set>
                                  </p:childTnLst>
                                </p:cTn>
                              </p:par>
                              <p:par>
                                <p:cTn id="125" presetID="1" presetClass="entr" presetSubtype="0" fill="hold" grpId="0" nodeType="withEffect">
                                  <p:stCondLst>
                                    <p:cond delay="0"/>
                                  </p:stCondLst>
                                  <p:childTnLst>
                                    <p:set>
                                      <p:cBhvr>
                                        <p:cTn id="126" dur="1" fill="hold">
                                          <p:stCondLst>
                                            <p:cond delay="0"/>
                                          </p:stCondLst>
                                        </p:cTn>
                                        <p:tgtEl>
                                          <p:spTgt spid="88"/>
                                        </p:tgtEl>
                                        <p:attrNameLst>
                                          <p:attrName>style.visibility</p:attrName>
                                        </p:attrNameLst>
                                      </p:cBhvr>
                                      <p:to>
                                        <p:strVal val="visible"/>
                                      </p:to>
                                    </p:set>
                                  </p:childTnLst>
                                </p:cTn>
                              </p:par>
                              <p:par>
                                <p:cTn id="127" presetID="1" presetClass="entr" presetSubtype="0" fill="hold" nodeType="withEffect">
                                  <p:stCondLst>
                                    <p:cond delay="0"/>
                                  </p:stCondLst>
                                  <p:childTnLst>
                                    <p:set>
                                      <p:cBhvr>
                                        <p:cTn id="128" dur="1" fill="hold">
                                          <p:stCondLst>
                                            <p:cond delay="0"/>
                                          </p:stCondLst>
                                        </p:cTn>
                                        <p:tgtEl>
                                          <p:spTgt spid="50204"/>
                                        </p:tgtEl>
                                        <p:attrNameLst>
                                          <p:attrName>style.visibility</p:attrName>
                                        </p:attrNameLst>
                                      </p:cBhvr>
                                      <p:to>
                                        <p:strVal val="visible"/>
                                      </p:to>
                                    </p:set>
                                  </p:childTnLst>
                                </p:cTn>
                              </p:par>
                              <p:par>
                                <p:cTn id="129" presetID="1" presetClass="entr" presetSubtype="0" fill="hold" grpId="0" nodeType="withEffect">
                                  <p:stCondLst>
                                    <p:cond delay="0"/>
                                  </p:stCondLst>
                                  <p:childTnLst>
                                    <p:set>
                                      <p:cBhvr>
                                        <p:cTn id="130" dur="1" fill="hold">
                                          <p:stCondLst>
                                            <p:cond delay="0"/>
                                          </p:stCondLst>
                                        </p:cTn>
                                        <p:tgtEl>
                                          <p:spTgt spid="89"/>
                                        </p:tgtEl>
                                        <p:attrNameLst>
                                          <p:attrName>style.visibility</p:attrName>
                                        </p:attrNameLst>
                                      </p:cBhvr>
                                      <p:to>
                                        <p:strVal val="visible"/>
                                      </p:to>
                                    </p:set>
                                  </p:childTnLst>
                                </p:cTn>
                              </p:par>
                            </p:childTnLst>
                          </p:cTn>
                        </p:par>
                      </p:childTnLst>
                    </p:cTn>
                  </p:par>
                  <p:par>
                    <p:cTn id="131" fill="hold">
                      <p:stCondLst>
                        <p:cond delay="indefinite"/>
                      </p:stCondLst>
                      <p:childTnLst>
                        <p:par>
                          <p:cTn id="132" fill="hold">
                            <p:stCondLst>
                              <p:cond delay="0"/>
                            </p:stCondLst>
                            <p:childTnLst>
                              <p:par>
                                <p:cTn id="133" presetID="1" presetClass="entr" presetSubtype="0" fill="hold" nodeType="clickEffect">
                                  <p:stCondLst>
                                    <p:cond delay="0"/>
                                  </p:stCondLst>
                                  <p:childTnLst>
                                    <p:set>
                                      <p:cBhvr>
                                        <p:cTn id="134" dur="1" fill="hold">
                                          <p:stCondLst>
                                            <p:cond delay="0"/>
                                          </p:stCondLst>
                                        </p:cTn>
                                        <p:tgtEl>
                                          <p:spTgt spid="50238"/>
                                        </p:tgtEl>
                                        <p:attrNameLst>
                                          <p:attrName>style.visibility</p:attrName>
                                        </p:attrNameLst>
                                      </p:cBhvr>
                                      <p:to>
                                        <p:strVal val="visible"/>
                                      </p:to>
                                    </p:set>
                                  </p:childTnLst>
                                </p:cTn>
                              </p:par>
                              <p:par>
                                <p:cTn id="135" presetID="1" presetClass="entr" presetSubtype="0" fill="hold" grpId="0" nodeType="withEffect">
                                  <p:stCondLst>
                                    <p:cond delay="0"/>
                                  </p:stCondLst>
                                  <p:childTnLst>
                                    <p:set>
                                      <p:cBhvr>
                                        <p:cTn id="136" dur="1" fill="hold">
                                          <p:stCondLst>
                                            <p:cond delay="0"/>
                                          </p:stCondLst>
                                        </p:cTn>
                                        <p:tgtEl>
                                          <p:spTgt spid="90"/>
                                        </p:tgtEl>
                                        <p:attrNameLst>
                                          <p:attrName>style.visibility</p:attrName>
                                        </p:attrNameLst>
                                      </p:cBhvr>
                                      <p:to>
                                        <p:strVal val="visible"/>
                                      </p:to>
                                    </p:set>
                                  </p:childTnLst>
                                </p:cTn>
                              </p:par>
                              <p:par>
                                <p:cTn id="137" presetID="1" presetClass="entr" presetSubtype="0" fill="hold" grpId="0" nodeType="withEffect">
                                  <p:stCondLst>
                                    <p:cond delay="0"/>
                                  </p:stCondLst>
                                  <p:childTnLst>
                                    <p:set>
                                      <p:cBhvr>
                                        <p:cTn id="138" dur="1" fill="hold">
                                          <p:stCondLst>
                                            <p:cond delay="0"/>
                                          </p:stCondLst>
                                        </p:cTn>
                                        <p:tgtEl>
                                          <p:spTgt spid="101"/>
                                        </p:tgtEl>
                                        <p:attrNameLst>
                                          <p:attrName>style.visibility</p:attrName>
                                        </p:attrNameLst>
                                      </p:cBhvr>
                                      <p:to>
                                        <p:strVal val="visible"/>
                                      </p:to>
                                    </p:set>
                                  </p:childTnLst>
                                </p:cTn>
                              </p:par>
                              <p:par>
                                <p:cTn id="139" presetID="1" presetClass="entr" presetSubtype="0" fill="hold" grpId="0" nodeType="withEffect">
                                  <p:stCondLst>
                                    <p:cond delay="0"/>
                                  </p:stCondLst>
                                  <p:childTnLst>
                                    <p:set>
                                      <p:cBhvr>
                                        <p:cTn id="140" dur="1" fill="hold">
                                          <p:stCondLst>
                                            <p:cond delay="0"/>
                                          </p:stCondLst>
                                        </p:cTn>
                                        <p:tgtEl>
                                          <p:spTgt spid="139"/>
                                        </p:tgtEl>
                                        <p:attrNameLst>
                                          <p:attrName>style.visibility</p:attrName>
                                        </p:attrNameLst>
                                      </p:cBhvr>
                                      <p:to>
                                        <p:strVal val="visible"/>
                                      </p:to>
                                    </p:set>
                                  </p:childTnLst>
                                </p:cTn>
                              </p:par>
                              <p:par>
                                <p:cTn id="141" presetID="1" presetClass="entr" presetSubtype="0" fill="hold" grpId="0" nodeType="withEffect">
                                  <p:stCondLst>
                                    <p:cond delay="0"/>
                                  </p:stCondLst>
                                  <p:childTnLst>
                                    <p:set>
                                      <p:cBhvr>
                                        <p:cTn id="142" dur="1" fill="hold">
                                          <p:stCondLst>
                                            <p:cond delay="0"/>
                                          </p:stCondLst>
                                        </p:cTn>
                                        <p:tgtEl>
                                          <p:spTgt spid="116"/>
                                        </p:tgtEl>
                                        <p:attrNameLst>
                                          <p:attrName>style.visibility</p:attrName>
                                        </p:attrNameLst>
                                      </p:cBhvr>
                                      <p:to>
                                        <p:strVal val="visible"/>
                                      </p:to>
                                    </p:set>
                                  </p:childTnLst>
                                </p:cTn>
                              </p:par>
                              <p:par>
                                <p:cTn id="143" presetID="1" presetClass="entr" presetSubtype="0" fill="hold" nodeType="withEffect">
                                  <p:stCondLst>
                                    <p:cond delay="0"/>
                                  </p:stCondLst>
                                  <p:childTnLst>
                                    <p:set>
                                      <p:cBhvr>
                                        <p:cTn id="144" dur="1" fill="hold">
                                          <p:stCondLst>
                                            <p:cond delay="0"/>
                                          </p:stCondLst>
                                        </p:cTn>
                                        <p:tgtEl>
                                          <p:spTgt spid="50224"/>
                                        </p:tgtEl>
                                        <p:attrNameLst>
                                          <p:attrName>style.visibility</p:attrName>
                                        </p:attrNameLst>
                                      </p:cBhvr>
                                      <p:to>
                                        <p:strVal val="visible"/>
                                      </p:to>
                                    </p:set>
                                  </p:childTnLst>
                                </p:cTn>
                              </p:par>
                              <p:par>
                                <p:cTn id="145" presetID="1" presetClass="entr" presetSubtype="0" fill="hold" grpId="0" nodeType="withEffect">
                                  <p:stCondLst>
                                    <p:cond delay="0"/>
                                  </p:stCondLst>
                                  <p:childTnLst>
                                    <p:set>
                                      <p:cBhvr>
                                        <p:cTn id="146" dur="1" fill="hold">
                                          <p:stCondLst>
                                            <p:cond delay="0"/>
                                          </p:stCondLst>
                                        </p:cTn>
                                        <p:tgtEl>
                                          <p:spTgt spid="117"/>
                                        </p:tgtEl>
                                        <p:attrNameLst>
                                          <p:attrName>style.visibility</p:attrName>
                                        </p:attrNameLst>
                                      </p:cBhvr>
                                      <p:to>
                                        <p:strVal val="visible"/>
                                      </p:to>
                                    </p:set>
                                  </p:childTnLst>
                                </p:cTn>
                              </p:par>
                            </p:childTnLst>
                          </p:cTn>
                        </p:par>
                      </p:childTnLst>
                    </p:cTn>
                  </p:par>
                  <p:par>
                    <p:cTn id="147" fill="hold">
                      <p:stCondLst>
                        <p:cond delay="indefinite"/>
                      </p:stCondLst>
                      <p:childTnLst>
                        <p:par>
                          <p:cTn id="148" fill="hold">
                            <p:stCondLst>
                              <p:cond delay="0"/>
                            </p:stCondLst>
                            <p:childTnLst>
                              <p:par>
                                <p:cTn id="149" presetID="22" presetClass="entr" presetSubtype="1" fill="hold" grpId="0" nodeType="clickEffect">
                                  <p:stCondLst>
                                    <p:cond delay="0"/>
                                  </p:stCondLst>
                                  <p:childTnLst>
                                    <p:set>
                                      <p:cBhvr>
                                        <p:cTn id="150" dur="1" fill="hold">
                                          <p:stCondLst>
                                            <p:cond delay="0"/>
                                          </p:stCondLst>
                                        </p:cTn>
                                        <p:tgtEl>
                                          <p:spTgt spid="134"/>
                                        </p:tgtEl>
                                        <p:attrNameLst>
                                          <p:attrName>style.visibility</p:attrName>
                                        </p:attrNameLst>
                                      </p:cBhvr>
                                      <p:to>
                                        <p:strVal val="visible"/>
                                      </p:to>
                                    </p:set>
                                    <p:animEffect transition="in" filter="wipe(up)">
                                      <p:cBhvr>
                                        <p:cTn id="151" dur="500"/>
                                        <p:tgtEl>
                                          <p:spTgt spid="134"/>
                                        </p:tgtEl>
                                      </p:cBhvr>
                                    </p:animEffect>
                                  </p:childTnLst>
                                </p:cTn>
                              </p:par>
                            </p:childTnLst>
                          </p:cTn>
                        </p:par>
                        <p:par>
                          <p:cTn id="152" fill="hold">
                            <p:stCondLst>
                              <p:cond delay="500"/>
                            </p:stCondLst>
                            <p:childTnLst>
                              <p:par>
                                <p:cTn id="153" presetID="10" presetClass="entr" presetSubtype="0" fill="hold" grpId="0" nodeType="afterEffect">
                                  <p:stCondLst>
                                    <p:cond delay="0"/>
                                  </p:stCondLst>
                                  <p:childTnLst>
                                    <p:set>
                                      <p:cBhvr>
                                        <p:cTn id="154" dur="1" fill="hold">
                                          <p:stCondLst>
                                            <p:cond delay="0"/>
                                          </p:stCondLst>
                                        </p:cTn>
                                        <p:tgtEl>
                                          <p:spTgt spid="126"/>
                                        </p:tgtEl>
                                        <p:attrNameLst>
                                          <p:attrName>style.visibility</p:attrName>
                                        </p:attrNameLst>
                                      </p:cBhvr>
                                      <p:to>
                                        <p:strVal val="visible"/>
                                      </p:to>
                                    </p:set>
                                    <p:animEffect transition="in" filter="fade">
                                      <p:cBhvr>
                                        <p:cTn id="155" dur="500"/>
                                        <p:tgtEl>
                                          <p:spTgt spid="126"/>
                                        </p:tgtEl>
                                      </p:cBhvr>
                                    </p:animEffect>
                                  </p:childTnLst>
                                </p:cTn>
                              </p:par>
                              <p:par>
                                <p:cTn id="156" presetID="10" presetClass="entr" presetSubtype="0" fill="hold" grpId="1" nodeType="withEffect">
                                  <p:stCondLst>
                                    <p:cond delay="0"/>
                                  </p:stCondLst>
                                  <p:childTnLst>
                                    <p:set>
                                      <p:cBhvr>
                                        <p:cTn id="157" dur="1" fill="hold">
                                          <p:stCondLst>
                                            <p:cond delay="0"/>
                                          </p:stCondLst>
                                        </p:cTn>
                                        <p:tgtEl>
                                          <p:spTgt spid="126"/>
                                        </p:tgtEl>
                                        <p:attrNameLst>
                                          <p:attrName>style.visibility</p:attrName>
                                        </p:attrNameLst>
                                      </p:cBhvr>
                                      <p:to>
                                        <p:strVal val="visible"/>
                                      </p:to>
                                    </p:set>
                                    <p:animEffect transition="in" filter="fade">
                                      <p:cBhvr>
                                        <p:cTn id="158" dur="500"/>
                                        <p:tgtEl>
                                          <p:spTgt spid="126"/>
                                        </p:tgtEl>
                                      </p:cBhvr>
                                    </p:animEffect>
                                  </p:childTnLst>
                                </p:cTn>
                              </p:par>
                              <p:par>
                                <p:cTn id="159" presetID="10" presetClass="entr" presetSubtype="0" fill="hold" grpId="0" nodeType="withEffect">
                                  <p:stCondLst>
                                    <p:cond delay="0"/>
                                  </p:stCondLst>
                                  <p:childTnLst>
                                    <p:set>
                                      <p:cBhvr>
                                        <p:cTn id="160" dur="1" fill="hold">
                                          <p:stCondLst>
                                            <p:cond delay="0"/>
                                          </p:stCondLst>
                                        </p:cTn>
                                        <p:tgtEl>
                                          <p:spTgt spid="141"/>
                                        </p:tgtEl>
                                        <p:attrNameLst>
                                          <p:attrName>style.visibility</p:attrName>
                                        </p:attrNameLst>
                                      </p:cBhvr>
                                      <p:to>
                                        <p:strVal val="visible"/>
                                      </p:to>
                                    </p:set>
                                    <p:animEffect transition="in" filter="fade">
                                      <p:cBhvr>
                                        <p:cTn id="161" dur="500"/>
                                        <p:tgtEl>
                                          <p:spTgt spid="141"/>
                                        </p:tgtEl>
                                      </p:cBhvr>
                                    </p:animEffect>
                                  </p:childTnLst>
                                </p:cTn>
                              </p:par>
                              <p:par>
                                <p:cTn id="162" presetID="10" presetClass="entr" presetSubtype="0" fill="hold" nodeType="withEffect">
                                  <p:stCondLst>
                                    <p:cond delay="0"/>
                                  </p:stCondLst>
                                  <p:childTnLst>
                                    <p:set>
                                      <p:cBhvr>
                                        <p:cTn id="163" dur="1" fill="hold">
                                          <p:stCondLst>
                                            <p:cond delay="0"/>
                                          </p:stCondLst>
                                        </p:cTn>
                                        <p:tgtEl>
                                          <p:spTgt spid="20"/>
                                        </p:tgtEl>
                                        <p:attrNameLst>
                                          <p:attrName>style.visibility</p:attrName>
                                        </p:attrNameLst>
                                      </p:cBhvr>
                                      <p:to>
                                        <p:strVal val="visible"/>
                                      </p:to>
                                    </p:set>
                                    <p:animEffect transition="in" filter="fade">
                                      <p:cBhvr>
                                        <p:cTn id="16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1" grpId="0" animBg="1"/>
      <p:bldP spid="62" grpId="0" animBg="1"/>
      <p:bldP spid="106" grpId="0" animBg="1"/>
      <p:bldP spid="65" grpId="0" animBg="1"/>
      <p:bldP spid="68" grpId="0" animBg="1"/>
      <p:bldP spid="69" grpId="0"/>
      <p:bldP spid="84" grpId="0" animBg="1"/>
      <p:bldP spid="87" grpId="0"/>
      <p:bldP spid="88" grpId="0"/>
      <p:bldP spid="89" grpId="0"/>
      <p:bldP spid="90" grpId="0"/>
      <p:bldP spid="96" grpId="0"/>
      <p:bldP spid="101" grpId="0" animBg="1"/>
      <p:bldP spid="116" grpId="0"/>
      <p:bldP spid="117" grpId="0"/>
      <p:bldP spid="134" grpId="0" animBg="1"/>
      <p:bldP spid="139" grpId="0" animBg="1"/>
      <p:bldP spid="4" grpId="0" animBg="1"/>
      <p:bldP spid="5" grpId="0" animBg="1"/>
      <p:bldP spid="126" grpId="0"/>
      <p:bldP spid="126" grpId="1"/>
      <p:bldP spid="6" grpId="0" animBg="1"/>
      <p:bldP spid="7" grpId="0"/>
      <p:bldP spid="8" grpId="0"/>
      <p:bldP spid="9" grpId="0"/>
      <p:bldP spid="10" grpId="0"/>
      <p:bldP spid="11" grpId="0"/>
      <p:bldP spid="12" grpId="0" animBg="1"/>
      <p:bldP spid="13" grpId="0" animBg="1"/>
      <p:bldP spid="14" grpId="0" animBg="1"/>
      <p:bldP spid="15" grpId="0"/>
      <p:bldP spid="16" grpId="0"/>
      <p:bldP spid="17" grpId="0"/>
      <p:bldP spid="18" grpId="0"/>
      <p:bldP spid="19" grpId="0"/>
      <p:bldP spid="97" grpId="0" animBg="1"/>
      <p:bldP spid="98" grpId="0" animBg="1"/>
      <p:bldP spid="99" grpId="0" animBg="1"/>
      <p:bldP spid="110" grpId="0"/>
      <p:bldP spid="111" grpId="0"/>
      <p:bldP spid="112" grpId="0"/>
      <p:bldP spid="113" grpId="0"/>
      <p:bldP spid="100" grpId="0" animBg="1"/>
      <p:bldP spid="114" grpId="0"/>
      <p:bldP spid="115" grpId="0"/>
    </p:bldLst>
  </p:timing>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TextBox 54"/>
          <p:cNvSpPr txBox="1"/>
          <p:nvPr/>
        </p:nvSpPr>
        <p:spPr>
          <a:xfrm>
            <a:off x="3022249" y="1565810"/>
            <a:ext cx="5394633" cy="2816165"/>
          </a:xfrm>
          <a:prstGeom prst="rect">
            <a:avLst/>
          </a:prstGeom>
          <a:solidFill>
            <a:schemeClr val="accent1"/>
          </a:solidFill>
        </p:spPr>
        <p:txBody>
          <a:bodyPr wrap="square" lIns="68586" tIns="34294" rIns="68586" bIns="34294" rtlCol="0">
            <a:noAutofit/>
          </a:bodyPr>
          <a:lstStyle/>
          <a:p>
            <a:pPr algn="ctr" defTabSz="685862"/>
            <a:endParaRPr lang="en-US" sz="1100" b="1" dirty="0">
              <a:solidFill>
                <a:srgbClr val="FFFFFF"/>
              </a:solidFill>
            </a:endParaRPr>
          </a:p>
        </p:txBody>
      </p:sp>
      <p:sp>
        <p:nvSpPr>
          <p:cNvPr id="37" name="TextBox 36"/>
          <p:cNvSpPr txBox="1"/>
          <p:nvPr/>
        </p:nvSpPr>
        <p:spPr>
          <a:xfrm>
            <a:off x="378718" y="1565810"/>
            <a:ext cx="2529200" cy="2816165"/>
          </a:xfrm>
          <a:prstGeom prst="rect">
            <a:avLst/>
          </a:prstGeom>
          <a:solidFill>
            <a:schemeClr val="accent1"/>
          </a:solidFill>
        </p:spPr>
        <p:txBody>
          <a:bodyPr wrap="square" lIns="68586" tIns="34294" rIns="68586" bIns="34294" rtlCol="0">
            <a:noAutofit/>
          </a:bodyPr>
          <a:lstStyle/>
          <a:p>
            <a:pPr algn="ctr" defTabSz="685862"/>
            <a:endParaRPr lang="en-US" sz="1100" b="1" dirty="0">
              <a:solidFill>
                <a:srgbClr val="FFFFFF"/>
              </a:solidFill>
            </a:endParaRPr>
          </a:p>
        </p:txBody>
      </p:sp>
      <p:sp>
        <p:nvSpPr>
          <p:cNvPr id="2" name="Title 1"/>
          <p:cNvSpPr>
            <a:spLocks noGrp="1"/>
          </p:cNvSpPr>
          <p:nvPr>
            <p:ph type="title"/>
          </p:nvPr>
        </p:nvSpPr>
        <p:spPr/>
        <p:txBody>
          <a:bodyPr/>
          <a:lstStyle/>
          <a:p>
            <a:r>
              <a:rPr lang="en-US" dirty="0" smtClean="0"/>
              <a:t>Operations Manager 2012</a:t>
            </a:r>
            <a:endParaRPr lang="en-US" dirty="0"/>
          </a:p>
        </p:txBody>
      </p:sp>
      <p:sp>
        <p:nvSpPr>
          <p:cNvPr id="3" name="Text Placeholder 2"/>
          <p:cNvSpPr>
            <a:spLocks noGrp="1"/>
          </p:cNvSpPr>
          <p:nvPr>
            <p:ph type="body" sz="quarter" idx="10"/>
          </p:nvPr>
        </p:nvSpPr>
        <p:spPr>
          <a:xfrm>
            <a:off x="3142877" y="1789273"/>
            <a:ext cx="5144840" cy="1551194"/>
          </a:xfrm>
        </p:spPr>
        <p:txBody>
          <a:bodyPr/>
          <a:lstStyle/>
          <a:p>
            <a:r>
              <a:rPr lang="en-US" dirty="0"/>
              <a:t>Monitor Infrastructure</a:t>
            </a:r>
          </a:p>
          <a:p>
            <a:r>
              <a:rPr lang="en-US" dirty="0"/>
              <a:t>End to End services monitoring</a:t>
            </a:r>
          </a:p>
          <a:p>
            <a:r>
              <a:rPr lang="en-US" dirty="0" smtClean="0"/>
              <a:t>Application Monitoring</a:t>
            </a:r>
          </a:p>
          <a:p>
            <a:r>
              <a:rPr lang="en-US" dirty="0" smtClean="0"/>
              <a:t>VMM and OpsMgr Integration</a:t>
            </a:r>
            <a:endParaRPr lang="en-US" dirty="0"/>
          </a:p>
        </p:txBody>
      </p:sp>
      <p:grpSp>
        <p:nvGrpSpPr>
          <p:cNvPr id="28" name="Group 27"/>
          <p:cNvGrpSpPr/>
          <p:nvPr/>
        </p:nvGrpSpPr>
        <p:grpSpPr>
          <a:xfrm>
            <a:off x="398098" y="951244"/>
            <a:ext cx="2509821" cy="538838"/>
            <a:chOff x="2321819" y="3534890"/>
            <a:chExt cx="3345556" cy="718451"/>
          </a:xfrm>
        </p:grpSpPr>
        <p:sp>
          <p:nvSpPr>
            <p:cNvPr id="29" name="Rounded Rectangle 5"/>
            <p:cNvSpPr>
              <a:spLocks noChangeArrowheads="1"/>
            </p:cNvSpPr>
            <p:nvPr/>
          </p:nvSpPr>
          <p:spPr bwMode="auto">
            <a:xfrm>
              <a:off x="2321819" y="3534890"/>
              <a:ext cx="723899" cy="707024"/>
            </a:xfrm>
            <a:prstGeom prst="roundRect">
              <a:avLst>
                <a:gd name="adj" fmla="val 0"/>
              </a:avLst>
            </a:prstGeom>
            <a:solidFill>
              <a:schemeClr val="accent1"/>
            </a:solidFill>
            <a:ln w="9525" algn="ctr">
              <a:noFill/>
              <a:round/>
              <a:headEnd/>
              <a:tailEnd/>
            </a:ln>
            <a:effectLst/>
          </p:spPr>
          <p:txBody>
            <a:bodyPr anchor="ctr"/>
            <a:lstStyle/>
            <a:p>
              <a:pPr fontAlgn="base">
                <a:spcBef>
                  <a:spcPct val="0"/>
                </a:spcBef>
                <a:spcAft>
                  <a:spcPct val="0"/>
                </a:spcAft>
              </a:pPr>
              <a:endParaRPr lang="en-US" dirty="0">
                <a:solidFill>
                  <a:srgbClr val="FFFFFF"/>
                </a:solidFill>
                <a:cs typeface="Segoe UI" pitchFamily="34" charset="0"/>
              </a:endParaRPr>
            </a:p>
          </p:txBody>
        </p:sp>
        <p:pic>
          <p:nvPicPr>
            <p:cNvPr id="30" name="Picture 29"/>
            <p:cNvPicPr>
              <a:picLocks noChangeAspect="1"/>
            </p:cNvPicPr>
            <p:nvPr/>
          </p:nvPicPr>
          <p:blipFill rotWithShape="1">
            <a:blip r:embed="rId3">
              <a:extLst>
                <a:ext uri="{28A0092B-C50C-407E-A947-70E740481C1C}">
                  <a14:useLocalDpi xmlns:a14="http://schemas.microsoft.com/office/drawing/2010/main" val="0"/>
                </a:ext>
              </a:extLst>
            </a:blip>
            <a:srcRect l="-11712" t="-1" r="-11019" b="-19481"/>
            <a:stretch/>
          </p:blipFill>
          <p:spPr>
            <a:xfrm>
              <a:off x="2391236" y="3580614"/>
              <a:ext cx="585065" cy="672727"/>
            </a:xfrm>
            <a:prstGeom prst="rect">
              <a:avLst/>
            </a:prstGeom>
          </p:spPr>
        </p:pic>
        <p:sp>
          <p:nvSpPr>
            <p:cNvPr id="31" name="Rounded Rectangle 5"/>
            <p:cNvSpPr>
              <a:spLocks noChangeArrowheads="1"/>
            </p:cNvSpPr>
            <p:nvPr/>
          </p:nvSpPr>
          <p:spPr bwMode="auto">
            <a:xfrm>
              <a:off x="3074602" y="3534890"/>
              <a:ext cx="2592773" cy="707024"/>
            </a:xfrm>
            <a:prstGeom prst="roundRect">
              <a:avLst>
                <a:gd name="adj" fmla="val 0"/>
              </a:avLst>
            </a:prstGeom>
            <a:solidFill>
              <a:schemeClr val="accent1"/>
            </a:solidFill>
            <a:ln w="9525" algn="ctr">
              <a:noFill/>
              <a:round/>
              <a:headEnd/>
              <a:tailEnd/>
            </a:ln>
            <a:effectLst/>
          </p:spPr>
          <p:txBody>
            <a:bodyPr anchor="ctr"/>
            <a:lstStyle/>
            <a:p>
              <a:pPr fontAlgn="base">
                <a:spcBef>
                  <a:spcPct val="0"/>
                </a:spcBef>
                <a:spcAft>
                  <a:spcPct val="0"/>
                </a:spcAft>
              </a:pPr>
              <a:r>
                <a:rPr lang="en-US" sz="1200" dirty="0">
                  <a:solidFill>
                    <a:srgbClr val="FFFFFF"/>
                  </a:solidFill>
                  <a:cs typeface="Segoe UI" pitchFamily="34" charset="0"/>
                </a:rPr>
                <a:t>OPERATIONS MANAGER</a:t>
              </a:r>
            </a:p>
          </p:txBody>
        </p:sp>
      </p:grpSp>
      <p:grpSp>
        <p:nvGrpSpPr>
          <p:cNvPr id="56" name="Group 6"/>
          <p:cNvGrpSpPr>
            <a:grpSpLocks/>
          </p:cNvGrpSpPr>
          <p:nvPr/>
        </p:nvGrpSpPr>
        <p:grpSpPr bwMode="auto">
          <a:xfrm>
            <a:off x="7938616" y="1605713"/>
            <a:ext cx="762253" cy="1659891"/>
            <a:chOff x="6677" y="1051"/>
            <a:chExt cx="1237" cy="2689"/>
          </a:xfrm>
        </p:grpSpPr>
        <p:pic>
          <p:nvPicPr>
            <p:cNvPr id="57" name="Picture 5"/>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6677" y="1051"/>
              <a:ext cx="785" cy="2689"/>
            </a:xfrm>
            <a:prstGeom prst="rect">
              <a:avLst/>
            </a:prstGeom>
            <a:noFill/>
            <a:ln>
              <a:noFill/>
            </a:ln>
          </p:spPr>
        </p:pic>
        <p:sp>
          <p:nvSpPr>
            <p:cNvPr id="58" name="Oval 8"/>
            <p:cNvSpPr>
              <a:spLocks noChangeArrowheads="1"/>
            </p:cNvSpPr>
            <p:nvPr/>
          </p:nvSpPr>
          <p:spPr bwMode="auto">
            <a:xfrm>
              <a:off x="7122" y="2305"/>
              <a:ext cx="792" cy="792"/>
            </a:xfrm>
            <a:prstGeom prst="ellipse">
              <a:avLst/>
            </a:prstGeom>
            <a:solidFill>
              <a:schemeClr val="accent2">
                <a:lumMod val="75000"/>
                <a:alpha val="90000"/>
              </a:schemeClr>
            </a:solidFill>
            <a:ln w="9525">
              <a:noFill/>
              <a:round/>
              <a:headEnd/>
              <a:tailEnd/>
            </a:ln>
          </p:spPr>
          <p:txBody>
            <a:bodyPr lIns="0" rIns="0" anchor="ctr"/>
            <a:lstStyle/>
            <a:p>
              <a:pPr algn="ctr"/>
              <a:r>
                <a:rPr lang="en-US" sz="800" dirty="0"/>
                <a:t>DC</a:t>
              </a:r>
              <a:br>
                <a:rPr lang="en-US" sz="800" dirty="0"/>
              </a:br>
              <a:r>
                <a:rPr lang="en-US" sz="800" dirty="0"/>
                <a:t>Admin</a:t>
              </a:r>
            </a:p>
          </p:txBody>
        </p:sp>
      </p:grpSp>
      <p:pic>
        <p:nvPicPr>
          <p:cNvPr id="59" name="Picture 5"/>
          <p:cNvPicPr>
            <a:picLocks noChangeAspect="1" noChangeArrowheads="1"/>
          </p:cNvPicPr>
          <p:nvPr/>
        </p:nvPicPr>
        <p:blipFill>
          <a:blip r:embed="rId5" cstate="print">
            <a:extLst>
              <a:ext uri="{28A0092B-C50C-407E-A947-70E740481C1C}">
                <a14:useLocalDpi xmlns:a14="http://schemas.microsoft.com/office/drawing/2010/main" val="0"/>
              </a:ext>
            </a:extLst>
          </a:blip>
          <a:stretch>
            <a:fillRect/>
          </a:stretch>
        </p:blipFill>
        <p:spPr bwMode="auto">
          <a:xfrm>
            <a:off x="8180478" y="1874636"/>
            <a:ext cx="611162" cy="424793"/>
          </a:xfrm>
          <a:prstGeom prst="rect">
            <a:avLst/>
          </a:prstGeom>
          <a:noFill/>
          <a:ln w="9525">
            <a:noFill/>
            <a:miter lim="800000"/>
            <a:headEnd/>
            <a:tailEnd/>
          </a:ln>
          <a:effectLst/>
        </p:spPr>
      </p:pic>
      <p:grpSp>
        <p:nvGrpSpPr>
          <p:cNvPr id="4" name="Group 3"/>
          <p:cNvGrpSpPr/>
          <p:nvPr/>
        </p:nvGrpSpPr>
        <p:grpSpPr>
          <a:xfrm>
            <a:off x="730875" y="1485901"/>
            <a:ext cx="1824885" cy="2758554"/>
            <a:chOff x="974246" y="1981200"/>
            <a:chExt cx="2432547" cy="3678072"/>
          </a:xfrm>
        </p:grpSpPr>
        <p:grpSp>
          <p:nvGrpSpPr>
            <p:cNvPr id="10" name="Group 9"/>
            <p:cNvGrpSpPr/>
            <p:nvPr/>
          </p:nvGrpSpPr>
          <p:grpSpPr>
            <a:xfrm>
              <a:off x="974246" y="1981200"/>
              <a:ext cx="2432547" cy="3678072"/>
              <a:chOff x="872979" y="1981200"/>
              <a:chExt cx="2432547" cy="3683688"/>
            </a:xfrm>
          </p:grpSpPr>
          <p:pic>
            <p:nvPicPr>
              <p:cNvPr id="42" name="Picture 41"/>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370012" y="1981200"/>
                <a:ext cx="1335441" cy="1487121"/>
              </a:xfrm>
              <a:prstGeom prst="rect">
                <a:avLst/>
              </a:prstGeom>
            </p:spPr>
          </p:pic>
          <p:grpSp>
            <p:nvGrpSpPr>
              <p:cNvPr id="9" name="Group 8"/>
              <p:cNvGrpSpPr/>
              <p:nvPr/>
            </p:nvGrpSpPr>
            <p:grpSpPr>
              <a:xfrm>
                <a:off x="872979" y="3196434"/>
                <a:ext cx="2432547" cy="2468454"/>
                <a:chOff x="872979" y="3196434"/>
                <a:chExt cx="2432547" cy="2468454"/>
              </a:xfrm>
            </p:grpSpPr>
            <p:pic>
              <p:nvPicPr>
                <p:cNvPr id="32" name="Picture 2"/>
                <p:cNvPicPr>
                  <a:picLocks noChangeAspect="1" noChangeArrowheads="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bwMode="auto">
                <a:xfrm>
                  <a:off x="1535751" y="4419600"/>
                  <a:ext cx="748661" cy="1029095"/>
                </a:xfrm>
                <a:prstGeom prst="rect">
                  <a:avLst/>
                </a:prstGeom>
                <a:noFill/>
                <a:ln w="9525">
                  <a:noFill/>
                  <a:miter lim="800000"/>
                  <a:headEnd/>
                  <a:tailEnd/>
                </a:ln>
                <a:effectLst/>
              </p:spPr>
            </p:pic>
            <p:grpSp>
              <p:nvGrpSpPr>
                <p:cNvPr id="43" name="Group 29"/>
                <p:cNvGrpSpPr>
                  <a:grpSpLocks/>
                </p:cNvGrpSpPr>
                <p:nvPr/>
              </p:nvGrpSpPr>
              <p:grpSpPr bwMode="auto">
                <a:xfrm>
                  <a:off x="872979" y="3528831"/>
                  <a:ext cx="763156" cy="1018580"/>
                  <a:chOff x="2783" y="3216"/>
                  <a:chExt cx="864" cy="1004"/>
                </a:xfrm>
              </p:grpSpPr>
              <p:pic>
                <p:nvPicPr>
                  <p:cNvPr id="44" name="Hyper-V logo"/>
                  <p:cNvPicPr>
                    <a:picLocks noChangeAspect="1" noChangeArrowheads="1"/>
                  </p:cNvPicPr>
                  <p:nvPr/>
                </p:nvPicPr>
                <p:blipFill>
                  <a:blip r:embed="rId10" cstate="print"/>
                  <a:srcRect/>
                  <a:stretch>
                    <a:fillRect/>
                  </a:stretch>
                </p:blipFill>
                <p:spPr bwMode="auto">
                  <a:xfrm>
                    <a:off x="2783" y="3216"/>
                    <a:ext cx="864" cy="721"/>
                  </a:xfrm>
                  <a:prstGeom prst="rect">
                    <a:avLst/>
                  </a:prstGeom>
                  <a:noFill/>
                  <a:ln w="9525">
                    <a:noFill/>
                    <a:miter lim="800000"/>
                    <a:headEnd/>
                    <a:tailEnd/>
                  </a:ln>
                </p:spPr>
              </p:pic>
              <p:sp>
                <p:nvSpPr>
                  <p:cNvPr id="45" name="Text Box 14"/>
                  <p:cNvSpPr txBox="1">
                    <a:spLocks noChangeArrowheads="1"/>
                  </p:cNvSpPr>
                  <p:nvPr/>
                </p:nvSpPr>
                <p:spPr bwMode="auto">
                  <a:xfrm>
                    <a:off x="2794" y="3936"/>
                    <a:ext cx="845" cy="284"/>
                  </a:xfrm>
                  <a:prstGeom prst="rect">
                    <a:avLst/>
                  </a:prstGeom>
                  <a:noFill/>
                  <a:ln w="9525" algn="ctr">
                    <a:noFill/>
                    <a:miter lim="800000"/>
                    <a:headEnd/>
                    <a:tailEnd/>
                  </a:ln>
                </p:spPr>
                <p:txBody>
                  <a:bodyPr wrap="none">
                    <a:spAutoFit/>
                  </a:bodyPr>
                  <a:lstStyle/>
                  <a:p>
                    <a:pPr algn="ctr" defTabSz="684673" fontAlgn="base">
                      <a:spcBef>
                        <a:spcPct val="0"/>
                      </a:spcBef>
                      <a:spcAft>
                        <a:spcPct val="0"/>
                      </a:spcAft>
                    </a:pPr>
                    <a:r>
                      <a:rPr lang="en-US" sz="800" b="1" dirty="0">
                        <a:solidFill>
                          <a:srgbClr val="FFFFFF"/>
                        </a:solidFill>
                        <a:latin typeface="Segoe UI" pitchFamily="34" charset="0"/>
                        <a:cs typeface="Segoe UI" pitchFamily="34" charset="0"/>
                      </a:rPr>
                      <a:t>Storage</a:t>
                    </a:r>
                  </a:p>
                </p:txBody>
              </p:sp>
            </p:grpSp>
            <p:grpSp>
              <p:nvGrpSpPr>
                <p:cNvPr id="46" name="Group 8"/>
                <p:cNvGrpSpPr>
                  <a:grpSpLocks/>
                </p:cNvGrpSpPr>
                <p:nvPr/>
              </p:nvGrpSpPr>
              <p:grpSpPr bwMode="auto">
                <a:xfrm>
                  <a:off x="2391001" y="3548084"/>
                  <a:ext cx="914525" cy="1068775"/>
                  <a:chOff x="7618413" y="4602472"/>
                  <a:chExt cx="1798637" cy="1743770"/>
                </a:xfrm>
              </p:grpSpPr>
              <p:pic>
                <p:nvPicPr>
                  <p:cNvPr id="47" name="Picture 6"/>
                  <p:cNvPicPr>
                    <a:picLocks noChangeAspect="1" noChangeArrowheads="1"/>
                  </p:cNvPicPr>
                  <p:nvPr/>
                </p:nvPicPr>
                <p:blipFill>
                  <a:blip r:embed="rId11" cstate="print"/>
                  <a:srcRect/>
                  <a:stretch>
                    <a:fillRect/>
                  </a:stretch>
                </p:blipFill>
                <p:spPr bwMode="auto">
                  <a:xfrm>
                    <a:off x="7618413" y="4602472"/>
                    <a:ext cx="1798637" cy="1353519"/>
                  </a:xfrm>
                  <a:prstGeom prst="rect">
                    <a:avLst/>
                  </a:prstGeom>
                  <a:noFill/>
                  <a:ln w="9525">
                    <a:noFill/>
                    <a:miter lim="800000"/>
                    <a:headEnd/>
                    <a:tailEnd/>
                  </a:ln>
                </p:spPr>
              </p:pic>
              <p:sp>
                <p:nvSpPr>
                  <p:cNvPr id="48" name="Text Box 14"/>
                  <p:cNvSpPr txBox="1">
                    <a:spLocks noChangeArrowheads="1"/>
                  </p:cNvSpPr>
                  <p:nvPr/>
                </p:nvSpPr>
                <p:spPr bwMode="auto">
                  <a:xfrm>
                    <a:off x="7740346" y="5876847"/>
                    <a:ext cx="1585188" cy="469395"/>
                  </a:xfrm>
                  <a:prstGeom prst="rect">
                    <a:avLst/>
                  </a:prstGeom>
                  <a:noFill/>
                  <a:ln w="9525" algn="ctr">
                    <a:noFill/>
                    <a:miter lim="800000"/>
                    <a:headEnd/>
                    <a:tailEnd/>
                  </a:ln>
                </p:spPr>
                <p:txBody>
                  <a:bodyPr wrap="none">
                    <a:spAutoFit/>
                  </a:bodyPr>
                  <a:lstStyle/>
                  <a:p>
                    <a:pPr algn="ctr" defTabSz="684673" fontAlgn="base">
                      <a:spcBef>
                        <a:spcPct val="0"/>
                      </a:spcBef>
                      <a:spcAft>
                        <a:spcPct val="0"/>
                      </a:spcAft>
                    </a:pPr>
                    <a:r>
                      <a:rPr lang="en-US" sz="800" b="1" dirty="0">
                        <a:solidFill>
                          <a:srgbClr val="FFFFFF"/>
                        </a:solidFill>
                        <a:latin typeface="Segoe UI" pitchFamily="34" charset="0"/>
                        <a:cs typeface="Segoe UI" pitchFamily="34" charset="0"/>
                      </a:rPr>
                      <a:t>Network</a:t>
                    </a:r>
                  </a:p>
                </p:txBody>
              </p:sp>
            </p:grpSp>
            <p:sp>
              <p:nvSpPr>
                <p:cNvPr id="49" name="TextBox 48"/>
                <p:cNvSpPr txBox="1"/>
                <p:nvPr/>
              </p:nvSpPr>
              <p:spPr>
                <a:xfrm>
                  <a:off x="1512533" y="3196434"/>
                  <a:ext cx="1184205" cy="287697"/>
                </a:xfrm>
                <a:prstGeom prst="rect">
                  <a:avLst/>
                </a:prstGeom>
                <a:noFill/>
              </p:spPr>
              <p:txBody>
                <a:bodyPr wrap="none" rtlCol="0">
                  <a:spAutoFit/>
                </a:bodyPr>
                <a:lstStyle/>
                <a:p>
                  <a:pPr fontAlgn="base">
                    <a:spcBef>
                      <a:spcPct val="0"/>
                    </a:spcBef>
                    <a:spcAft>
                      <a:spcPct val="0"/>
                    </a:spcAft>
                  </a:pPr>
                  <a:r>
                    <a:rPr lang="en-US" sz="800" b="1" dirty="0">
                      <a:latin typeface="Segoe UI" pitchFamily="34" charset="0"/>
                      <a:cs typeface="Segoe UI" pitchFamily="34" charset="0"/>
                    </a:rPr>
                    <a:t>Virtual Servers</a:t>
                  </a:r>
                </a:p>
              </p:txBody>
            </p:sp>
            <p:sp>
              <p:nvSpPr>
                <p:cNvPr id="50" name="TextBox 49"/>
                <p:cNvSpPr txBox="1"/>
                <p:nvPr/>
              </p:nvSpPr>
              <p:spPr>
                <a:xfrm>
                  <a:off x="1340385" y="5377191"/>
                  <a:ext cx="1267538" cy="287697"/>
                </a:xfrm>
                <a:prstGeom prst="rect">
                  <a:avLst/>
                </a:prstGeom>
                <a:noFill/>
              </p:spPr>
              <p:txBody>
                <a:bodyPr wrap="none" rtlCol="0">
                  <a:spAutoFit/>
                </a:bodyPr>
                <a:lstStyle/>
                <a:p>
                  <a:pPr fontAlgn="base">
                    <a:spcBef>
                      <a:spcPct val="0"/>
                    </a:spcBef>
                    <a:spcAft>
                      <a:spcPct val="0"/>
                    </a:spcAft>
                  </a:pPr>
                  <a:r>
                    <a:rPr lang="en-US" sz="800" b="1" dirty="0">
                      <a:latin typeface="Segoe UI" pitchFamily="34" charset="0"/>
                      <a:cs typeface="Segoe UI" pitchFamily="34" charset="0"/>
                    </a:rPr>
                    <a:t>Physical Servers</a:t>
                  </a:r>
                </a:p>
              </p:txBody>
            </p:sp>
          </p:grpSp>
        </p:grpSp>
        <p:pic>
          <p:nvPicPr>
            <p:cNvPr id="33" name="Picture 2" descr="\\MAGNUM\Projects\Microsoft\Cloud Power FY12\Design\Icons\PNGs\Scalable_Elastic_3.png"/>
            <p:cNvPicPr>
              <a:picLocks noChangeAspect="1" noChangeArrowheads="1"/>
            </p:cNvPicPr>
            <p:nvPr/>
          </p:nvPicPr>
          <p:blipFill>
            <a:blip r:embed="rId12" cstate="print">
              <a:lum bright="100000"/>
            </a:blip>
            <a:srcRect/>
            <a:stretch>
              <a:fillRect/>
            </a:stretch>
          </p:blipFill>
          <p:spPr bwMode="auto">
            <a:xfrm>
              <a:off x="1753059" y="3581400"/>
              <a:ext cx="771880" cy="771880"/>
            </a:xfrm>
            <a:prstGeom prst="rect">
              <a:avLst/>
            </a:prstGeom>
            <a:noFill/>
          </p:spPr>
        </p:pic>
      </p:grpSp>
      <p:grpSp>
        <p:nvGrpSpPr>
          <p:cNvPr id="6" name="Group 5"/>
          <p:cNvGrpSpPr/>
          <p:nvPr/>
        </p:nvGrpSpPr>
        <p:grpSpPr>
          <a:xfrm>
            <a:off x="608055" y="1983539"/>
            <a:ext cx="2087431" cy="1517793"/>
            <a:chOff x="-2762611" y="2256199"/>
            <a:chExt cx="2782517" cy="2023724"/>
          </a:xfrm>
        </p:grpSpPr>
        <p:grpSp>
          <p:nvGrpSpPr>
            <p:cNvPr id="5" name="Group 4"/>
            <p:cNvGrpSpPr/>
            <p:nvPr/>
          </p:nvGrpSpPr>
          <p:grpSpPr>
            <a:xfrm>
              <a:off x="-2762611" y="2256199"/>
              <a:ext cx="2782517" cy="2023724"/>
              <a:chOff x="3401191" y="4338876"/>
              <a:chExt cx="2782517" cy="2023724"/>
            </a:xfrm>
          </p:grpSpPr>
          <p:pic>
            <p:nvPicPr>
              <p:cNvPr id="36" name="Picture 35" descr="\\MAGNUM\Projects\Microsoft\Cloud Power FY12\Design\ICONS_PNG\Application.png"/>
              <p:cNvPicPr>
                <a:picLocks noChangeAspect="1" noChangeArrowheads="1"/>
              </p:cNvPicPr>
              <p:nvPr/>
            </p:nvPicPr>
            <p:blipFill>
              <a:blip r:embed="rId13" cstate="print">
                <a:duotone>
                  <a:prstClr val="black"/>
                  <a:schemeClr val="tx2">
                    <a:tint val="45000"/>
                    <a:satMod val="400000"/>
                  </a:schemeClr>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3876214" y="4338876"/>
                <a:ext cx="1828800" cy="1828800"/>
              </a:xfrm>
              <a:prstGeom prst="rect">
                <a:avLst/>
              </a:prstGeom>
              <a:noFill/>
            </p:spPr>
          </p:pic>
          <p:sp>
            <p:nvSpPr>
              <p:cNvPr id="38" name="TextBox 37"/>
              <p:cNvSpPr txBox="1"/>
              <p:nvPr/>
            </p:nvSpPr>
            <p:spPr>
              <a:xfrm>
                <a:off x="3401191" y="6013787"/>
                <a:ext cx="2782517" cy="348813"/>
              </a:xfrm>
              <a:prstGeom prst="rect">
                <a:avLst/>
              </a:prstGeom>
              <a:noFill/>
            </p:spPr>
            <p:txBody>
              <a:bodyPr wrap="none" rtlCol="0">
                <a:spAutoFit/>
              </a:bodyPr>
              <a:lstStyle/>
              <a:p>
                <a:pPr algn="ctr"/>
                <a:r>
                  <a:rPr lang="en-US" sz="1100" b="1" dirty="0"/>
                  <a:t>APPLICATION MONITORING</a:t>
                </a:r>
              </a:p>
            </p:txBody>
          </p:sp>
        </p:grpSp>
        <p:pic>
          <p:nvPicPr>
            <p:cNvPr id="39" name="Picture 2" descr="\\MAGNUM\Projects\Microsoft\Cloud Power FY12\Design\Icons\PNGs\Scalable_Elastic_3.png"/>
            <p:cNvPicPr>
              <a:picLocks noChangeAspect="1" noChangeArrowheads="1"/>
            </p:cNvPicPr>
            <p:nvPr/>
          </p:nvPicPr>
          <p:blipFill>
            <a:blip r:embed="rId12" cstate="print">
              <a:lum bright="100000"/>
            </a:blip>
            <a:srcRect/>
            <a:stretch>
              <a:fillRect/>
            </a:stretch>
          </p:blipFill>
          <p:spPr bwMode="auto">
            <a:xfrm>
              <a:off x="-2249596" y="3234328"/>
              <a:ext cx="653189" cy="653189"/>
            </a:xfrm>
            <a:prstGeom prst="rect">
              <a:avLst/>
            </a:prstGeom>
            <a:noFill/>
          </p:spPr>
        </p:pic>
      </p:grpSp>
      <p:sp>
        <p:nvSpPr>
          <p:cNvPr id="34"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5"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5"/>
              </a:rPr>
              <a:t>www.rapidbbs.cn</a:t>
            </a:r>
            <a:endParaRPr lang="zh-CN" altLang="en-US" sz="1200" b="0">
              <a:latin typeface="Arial" charset="0"/>
              <a:ea typeface="ＭＳ Ｐゴシック" pitchFamily="34" charset="-128"/>
            </a:endParaRPr>
          </a:p>
        </p:txBody>
      </p:sp>
      <p:pic>
        <p:nvPicPr>
          <p:cNvPr id="40" name="Picture 2">
            <a:hlinkClick r:id="rId15"/>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254633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6"/>
                                        </p:tgtEl>
                                        <p:attrNameLst>
                                          <p:attrName>style.visibility</p:attrName>
                                        </p:attrNameLst>
                                      </p:cBhvr>
                                      <p:to>
                                        <p:strVal val="visible"/>
                                      </p:to>
                                    </p:set>
                                  </p:childTnLst>
                                </p:cTn>
                              </p:par>
                              <p:par>
                                <p:cTn id="19" presetID="1" presetClass="exit" presetSubtype="0" fill="hold" nodeType="withEffect">
                                  <p:stCondLst>
                                    <p:cond delay="0"/>
                                  </p:stCondLst>
                                  <p:childTnLst>
                                    <p:set>
                                      <p:cBhvr>
                                        <p:cTn id="20" dur="1" fill="hold">
                                          <p:stCondLst>
                                            <p:cond delay="0"/>
                                          </p:stCondLst>
                                        </p:cTn>
                                        <p:tgtEl>
                                          <p:spTgt spid="4"/>
                                        </p:tgtEl>
                                        <p:attrNameLst>
                                          <p:attrName>style.visibility</p:attrName>
                                        </p:attrNameLst>
                                      </p:cBhvr>
                                      <p:to>
                                        <p:strVal val="hidden"/>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Benefits of Automation</a:t>
            </a:r>
            <a:endParaRPr lang="en-US" dirty="0"/>
          </a:p>
        </p:txBody>
      </p:sp>
      <p:grpSp>
        <p:nvGrpSpPr>
          <p:cNvPr id="45" name="Group 44"/>
          <p:cNvGrpSpPr/>
          <p:nvPr/>
        </p:nvGrpSpPr>
        <p:grpSpPr>
          <a:xfrm>
            <a:off x="1587621" y="991278"/>
            <a:ext cx="983609" cy="1474726"/>
            <a:chOff x="1141412" y="1388646"/>
            <a:chExt cx="1311137" cy="1966301"/>
          </a:xfrm>
          <a:solidFill>
            <a:schemeClr val="accent1"/>
          </a:solidFill>
        </p:grpSpPr>
        <p:sp>
          <p:nvSpPr>
            <p:cNvPr id="21" name="Rectangle 4"/>
            <p:cNvSpPr/>
            <p:nvPr/>
          </p:nvSpPr>
          <p:spPr>
            <a:xfrm>
              <a:off x="1141412" y="1388646"/>
              <a:ext cx="1311137" cy="1966301"/>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bIns="91440" anchor="b"/>
            <a:lstStyle/>
            <a:p>
              <a:pPr algn="ctr"/>
              <a:r>
                <a:rPr lang="en-US" sz="900" b="1" dirty="0">
                  <a:solidFill>
                    <a:srgbClr val="FFFFFF"/>
                  </a:solidFill>
                  <a:latin typeface="Segoe" pitchFamily="34" charset="0"/>
                  <a:ea typeface="MS PGothic" pitchFamily="34" charset="-128"/>
                </a:rPr>
                <a:t>REDUCED </a:t>
              </a:r>
            </a:p>
            <a:p>
              <a:pPr algn="ctr"/>
              <a:r>
                <a:rPr lang="en-US" sz="900" b="1" dirty="0">
                  <a:solidFill>
                    <a:srgbClr val="FFFFFF"/>
                  </a:solidFill>
                  <a:latin typeface="Segoe" pitchFamily="34" charset="0"/>
                  <a:ea typeface="MS PGothic" pitchFamily="34" charset="-128"/>
                </a:rPr>
                <a:t>COSTS</a:t>
              </a:r>
            </a:p>
          </p:txBody>
        </p:sp>
        <p:pic>
          <p:nvPicPr>
            <p:cNvPr id="22" name="Picture 30" descr="Reduced-Cost.png"/>
            <p:cNvPicPr>
              <a:picLocks noChangeAspect="1"/>
            </p:cNvPicPr>
            <p:nvPr/>
          </p:nvPicPr>
          <p:blipFill>
            <a:blip r:embed="rId3" cstate="print"/>
            <a:srcRect l="10599" r="12095"/>
            <a:stretch>
              <a:fillRect/>
            </a:stretch>
          </p:blipFill>
          <p:spPr bwMode="auto">
            <a:xfrm>
              <a:off x="1308415" y="1493529"/>
              <a:ext cx="941769" cy="1246467"/>
            </a:xfrm>
            <a:prstGeom prst="rect">
              <a:avLst/>
            </a:prstGeom>
            <a:grpFill/>
            <a:ln w="9525">
              <a:noFill/>
              <a:miter lim="800000"/>
              <a:headEnd/>
              <a:tailEnd/>
            </a:ln>
          </p:spPr>
        </p:pic>
      </p:grpSp>
      <p:grpSp>
        <p:nvGrpSpPr>
          <p:cNvPr id="40" name="Group 39"/>
          <p:cNvGrpSpPr/>
          <p:nvPr/>
        </p:nvGrpSpPr>
        <p:grpSpPr>
          <a:xfrm>
            <a:off x="2676990" y="991278"/>
            <a:ext cx="982466" cy="1474726"/>
            <a:chOff x="6871114" y="1398872"/>
            <a:chExt cx="1309614" cy="1966301"/>
          </a:xfrm>
          <a:solidFill>
            <a:schemeClr val="accent1"/>
          </a:solidFill>
        </p:grpSpPr>
        <p:sp>
          <p:nvSpPr>
            <p:cNvPr id="23" name="Rectangle 22"/>
            <p:cNvSpPr/>
            <p:nvPr/>
          </p:nvSpPr>
          <p:spPr>
            <a:xfrm>
              <a:off x="6871114" y="1398872"/>
              <a:ext cx="1309614" cy="1966301"/>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bIns="91440" anchor="b"/>
            <a:lstStyle/>
            <a:p>
              <a:pPr algn="ctr"/>
              <a:r>
                <a:rPr lang="en-US" sz="900" b="1" dirty="0">
                  <a:solidFill>
                    <a:srgbClr val="FFFFFF"/>
                  </a:solidFill>
                  <a:latin typeface="Segoe" pitchFamily="34" charset="0"/>
                  <a:ea typeface="MS PGothic" pitchFamily="34" charset="-128"/>
                </a:rPr>
                <a:t>HIGHLY AUTOMATED</a:t>
              </a:r>
            </a:p>
          </p:txBody>
        </p:sp>
        <p:pic>
          <p:nvPicPr>
            <p:cNvPr id="24" name="Picture 2" descr="C:\Users\sigurdg\Desktop\end_user.png"/>
            <p:cNvPicPr>
              <a:picLocks noChangeAspect="1" noChangeArrowheads="1"/>
            </p:cNvPicPr>
            <p:nvPr/>
          </p:nvPicPr>
          <p:blipFill>
            <a:blip r:embed="rId4" cstate="print"/>
            <a:srcRect/>
            <a:stretch>
              <a:fillRect/>
            </a:stretch>
          </p:blipFill>
          <p:spPr bwMode="auto">
            <a:xfrm>
              <a:off x="7012736" y="1647608"/>
              <a:ext cx="1023404" cy="1033010"/>
            </a:xfrm>
            <a:prstGeom prst="rect">
              <a:avLst/>
            </a:prstGeom>
            <a:grpFill/>
          </p:spPr>
        </p:pic>
      </p:grpSp>
      <p:grpSp>
        <p:nvGrpSpPr>
          <p:cNvPr id="48" name="Group 47"/>
          <p:cNvGrpSpPr/>
          <p:nvPr/>
        </p:nvGrpSpPr>
        <p:grpSpPr>
          <a:xfrm>
            <a:off x="5429473" y="2555083"/>
            <a:ext cx="989192" cy="1502569"/>
            <a:chOff x="7595233" y="3470602"/>
            <a:chExt cx="1318579" cy="2003425"/>
          </a:xfrm>
        </p:grpSpPr>
        <p:sp>
          <p:nvSpPr>
            <p:cNvPr id="25" name="Rectangle 24"/>
            <p:cNvSpPr/>
            <p:nvPr/>
          </p:nvSpPr>
          <p:spPr>
            <a:xfrm>
              <a:off x="7595233" y="3470602"/>
              <a:ext cx="1318579" cy="2003425"/>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bIns="0" anchor="b"/>
            <a:lstStyle/>
            <a:p>
              <a:pPr algn="ctr"/>
              <a:r>
                <a:rPr lang="en-US" sz="900" b="1" dirty="0">
                  <a:solidFill>
                    <a:srgbClr val="FFFFFF"/>
                  </a:solidFill>
                  <a:latin typeface="Segoe" pitchFamily="34" charset="0"/>
                  <a:ea typeface="MS PGothic" pitchFamily="34" charset="-128"/>
                </a:rPr>
                <a:t>EFFICIENT</a:t>
              </a:r>
            </a:p>
            <a:p>
              <a:pPr algn="ctr"/>
              <a:endParaRPr lang="en-US" sz="900" b="1" dirty="0">
                <a:solidFill>
                  <a:srgbClr val="FFFFFF"/>
                </a:solidFill>
                <a:latin typeface="Segoe" pitchFamily="34" charset="0"/>
                <a:ea typeface="MS PGothic" pitchFamily="34" charset="-128"/>
              </a:endParaRPr>
            </a:p>
          </p:txBody>
        </p:sp>
        <p:pic>
          <p:nvPicPr>
            <p:cNvPr id="26" name="Picture 34" descr="Efficiency.png"/>
            <p:cNvPicPr>
              <a:picLocks noChangeAspect="1"/>
            </p:cNvPicPr>
            <p:nvPr/>
          </p:nvPicPr>
          <p:blipFill>
            <a:blip r:embed="rId5" cstate="print"/>
            <a:srcRect/>
            <a:stretch>
              <a:fillRect/>
            </a:stretch>
          </p:blipFill>
          <p:spPr bwMode="auto">
            <a:xfrm>
              <a:off x="7657693" y="3653728"/>
              <a:ext cx="1187618" cy="1229654"/>
            </a:xfrm>
            <a:prstGeom prst="rect">
              <a:avLst/>
            </a:prstGeom>
            <a:noFill/>
            <a:ln>
              <a:noFill/>
            </a:ln>
          </p:spPr>
        </p:pic>
      </p:grpSp>
      <p:grpSp>
        <p:nvGrpSpPr>
          <p:cNvPr id="50" name="Group 49"/>
          <p:cNvGrpSpPr/>
          <p:nvPr/>
        </p:nvGrpSpPr>
        <p:grpSpPr>
          <a:xfrm>
            <a:off x="3207506" y="2555083"/>
            <a:ext cx="989192" cy="1502569"/>
            <a:chOff x="4709974" y="3470602"/>
            <a:chExt cx="1318579" cy="2003425"/>
          </a:xfrm>
        </p:grpSpPr>
        <p:sp>
          <p:nvSpPr>
            <p:cNvPr id="27" name="Rectangle 26"/>
            <p:cNvSpPr/>
            <p:nvPr/>
          </p:nvSpPr>
          <p:spPr>
            <a:xfrm>
              <a:off x="4709974" y="3470602"/>
              <a:ext cx="1318579" cy="2003425"/>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bIns="91440" anchor="b"/>
            <a:lstStyle/>
            <a:p>
              <a:pPr algn="ctr"/>
              <a:r>
                <a:rPr lang="en-US" sz="900" b="1" dirty="0">
                  <a:solidFill>
                    <a:srgbClr val="FFFFFF"/>
                  </a:solidFill>
                  <a:latin typeface="Segoe" pitchFamily="34" charset="0"/>
                  <a:ea typeface="MS PGothic" pitchFamily="34" charset="-128"/>
                </a:rPr>
                <a:t>SELF </a:t>
              </a:r>
            </a:p>
            <a:p>
              <a:pPr algn="ctr"/>
              <a:r>
                <a:rPr lang="en-US" sz="900" b="1" dirty="0">
                  <a:solidFill>
                    <a:srgbClr val="FFFFFF"/>
                  </a:solidFill>
                  <a:latin typeface="Segoe" pitchFamily="34" charset="0"/>
                  <a:ea typeface="MS PGothic" pitchFamily="34" charset="-128"/>
                </a:rPr>
                <a:t>SERVICE</a:t>
              </a:r>
            </a:p>
          </p:txBody>
        </p:sp>
        <p:pic>
          <p:nvPicPr>
            <p:cNvPr id="28" name="Picture 30" descr="service-based.png"/>
            <p:cNvPicPr>
              <a:picLocks noChangeAspect="1"/>
            </p:cNvPicPr>
            <p:nvPr/>
          </p:nvPicPr>
          <p:blipFill>
            <a:blip r:embed="rId6" cstate="print"/>
            <a:srcRect/>
            <a:stretch>
              <a:fillRect/>
            </a:stretch>
          </p:blipFill>
          <p:spPr bwMode="auto">
            <a:xfrm>
              <a:off x="4789552" y="3698996"/>
              <a:ext cx="1173993" cy="1217046"/>
            </a:xfrm>
            <a:prstGeom prst="rect">
              <a:avLst/>
            </a:prstGeom>
            <a:noFill/>
            <a:ln>
              <a:noFill/>
            </a:ln>
          </p:spPr>
        </p:pic>
      </p:grpSp>
      <p:grpSp>
        <p:nvGrpSpPr>
          <p:cNvPr id="46" name="Group 45"/>
          <p:cNvGrpSpPr/>
          <p:nvPr/>
        </p:nvGrpSpPr>
        <p:grpSpPr>
          <a:xfrm>
            <a:off x="3765218" y="991278"/>
            <a:ext cx="983609" cy="1474726"/>
            <a:chOff x="4626847" y="1466987"/>
            <a:chExt cx="1311137" cy="1966301"/>
          </a:xfrm>
          <a:solidFill>
            <a:schemeClr val="accent1"/>
          </a:solidFill>
        </p:grpSpPr>
        <p:sp>
          <p:nvSpPr>
            <p:cNvPr id="41" name="Rectangle 4"/>
            <p:cNvSpPr/>
            <p:nvPr/>
          </p:nvSpPr>
          <p:spPr>
            <a:xfrm>
              <a:off x="4626847" y="1466987"/>
              <a:ext cx="1311137" cy="1966301"/>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bIns="91440" anchor="b"/>
            <a:lstStyle/>
            <a:p>
              <a:pPr algn="ctr"/>
              <a:r>
                <a:rPr lang="en-US" sz="900" b="1" dirty="0">
                  <a:solidFill>
                    <a:srgbClr val="FFFFFF"/>
                  </a:solidFill>
                  <a:latin typeface="Segoe" pitchFamily="34" charset="0"/>
                  <a:ea typeface="MS PGothic" pitchFamily="34" charset="-128"/>
                </a:rPr>
                <a:t>EFFECTIVE CONTROL</a:t>
              </a:r>
            </a:p>
          </p:txBody>
        </p:sp>
        <p:pic>
          <p:nvPicPr>
            <p:cNvPr id="12" name="Picture 7" descr="\\MAGNUM\Projects\Microsoft\Cloud Power FY12\Design\ICONS_PNG\Control.png"/>
            <p:cNvPicPr>
              <a:picLocks noChangeAspect="1" noChangeArrowheads="1"/>
            </p:cNvPicPr>
            <p:nvPr/>
          </p:nvPicPr>
          <p:blipFill>
            <a:blip r:embed="rId7" cstate="print">
              <a:lum bright="100000"/>
            </a:blip>
            <a:srcRect/>
            <a:stretch>
              <a:fillRect/>
            </a:stretch>
          </p:blipFill>
          <p:spPr bwMode="auto">
            <a:xfrm>
              <a:off x="4709974" y="1539881"/>
              <a:ext cx="1228010" cy="1228010"/>
            </a:xfrm>
            <a:prstGeom prst="rect">
              <a:avLst/>
            </a:prstGeom>
            <a:grpFill/>
          </p:spPr>
        </p:pic>
      </p:grpSp>
      <p:grpSp>
        <p:nvGrpSpPr>
          <p:cNvPr id="49" name="Group 48"/>
          <p:cNvGrpSpPr/>
          <p:nvPr/>
        </p:nvGrpSpPr>
        <p:grpSpPr>
          <a:xfrm>
            <a:off x="4318489" y="2555083"/>
            <a:ext cx="989192" cy="1502569"/>
            <a:chOff x="6102243" y="3505199"/>
            <a:chExt cx="1318579" cy="2003425"/>
          </a:xfrm>
        </p:grpSpPr>
        <p:sp>
          <p:nvSpPr>
            <p:cNvPr id="44" name="Rectangle 43"/>
            <p:cNvSpPr/>
            <p:nvPr/>
          </p:nvSpPr>
          <p:spPr>
            <a:xfrm>
              <a:off x="6102243" y="3505199"/>
              <a:ext cx="1318579" cy="2003425"/>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bIns="0" anchor="b"/>
            <a:lstStyle/>
            <a:p>
              <a:pPr algn="ctr"/>
              <a:r>
                <a:rPr lang="en-US" sz="900" b="1" dirty="0">
                  <a:solidFill>
                    <a:srgbClr val="FFFFFF"/>
                  </a:solidFill>
                  <a:latin typeface="Segoe" pitchFamily="34" charset="0"/>
                  <a:ea typeface="MS PGothic" pitchFamily="34" charset="-128"/>
                </a:rPr>
                <a:t>RAPID GROWTH</a:t>
              </a:r>
            </a:p>
            <a:p>
              <a:pPr algn="ctr"/>
              <a:endParaRPr lang="en-US" sz="900" b="1" dirty="0">
                <a:solidFill>
                  <a:srgbClr val="FFFFFF"/>
                </a:solidFill>
                <a:latin typeface="Segoe" pitchFamily="34" charset="0"/>
                <a:ea typeface="MS PGothic" pitchFamily="34" charset="-128"/>
              </a:endParaRPr>
            </a:p>
          </p:txBody>
        </p:sp>
        <p:pic>
          <p:nvPicPr>
            <p:cNvPr id="14" name="Picture 5" descr="\\MAGNUM\Projects\Microsoft\Cloud Power FY12\Design\ICONS_PNG\Increase.png"/>
            <p:cNvPicPr>
              <a:picLocks noChangeAspect="1" noChangeArrowheads="1"/>
            </p:cNvPicPr>
            <p:nvPr/>
          </p:nvPicPr>
          <p:blipFill>
            <a:blip r:embed="rId8" cstate="print">
              <a:lum bright="100000"/>
            </a:blip>
            <a:srcRect/>
            <a:stretch>
              <a:fillRect/>
            </a:stretch>
          </p:blipFill>
          <p:spPr bwMode="auto">
            <a:xfrm>
              <a:off x="6105306" y="3610797"/>
              <a:ext cx="1315516" cy="1315516"/>
            </a:xfrm>
            <a:prstGeom prst="rect">
              <a:avLst/>
            </a:prstGeom>
            <a:noFill/>
          </p:spPr>
        </p:pic>
      </p:grpSp>
      <p:grpSp>
        <p:nvGrpSpPr>
          <p:cNvPr id="47" name="Group 46"/>
          <p:cNvGrpSpPr/>
          <p:nvPr/>
        </p:nvGrpSpPr>
        <p:grpSpPr>
          <a:xfrm>
            <a:off x="4854588" y="991278"/>
            <a:ext cx="983609" cy="1474726"/>
            <a:chOff x="6704012" y="1446514"/>
            <a:chExt cx="1311137" cy="1966301"/>
          </a:xfrm>
          <a:solidFill>
            <a:schemeClr val="accent1"/>
          </a:solidFill>
        </p:grpSpPr>
        <p:sp>
          <p:nvSpPr>
            <p:cNvPr id="42" name="Rectangle 4"/>
            <p:cNvSpPr/>
            <p:nvPr/>
          </p:nvSpPr>
          <p:spPr>
            <a:xfrm>
              <a:off x="6704012" y="1446514"/>
              <a:ext cx="1311137" cy="1966301"/>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bIns="91440" anchor="b"/>
            <a:lstStyle/>
            <a:p>
              <a:pPr algn="ctr"/>
              <a:r>
                <a:rPr lang="en-US" sz="900" b="1" dirty="0">
                  <a:solidFill>
                    <a:srgbClr val="FFFFFF"/>
                  </a:solidFill>
                  <a:latin typeface="Segoe" pitchFamily="34" charset="0"/>
                  <a:ea typeface="MS PGothic" pitchFamily="34" charset="-128"/>
                </a:rPr>
                <a:t>CENTRALIZED MANAGEMENT</a:t>
              </a:r>
            </a:p>
          </p:txBody>
        </p:sp>
        <p:pic>
          <p:nvPicPr>
            <p:cNvPr id="20" name="Picture 4" descr="\\MAGNUM\Projects\Microsoft\Cloud Power FY12\Design\Icons\PNGs\IT_guy.png"/>
            <p:cNvPicPr>
              <a:picLocks noChangeAspect="1" noChangeArrowheads="1"/>
            </p:cNvPicPr>
            <p:nvPr/>
          </p:nvPicPr>
          <p:blipFill>
            <a:blip r:embed="rId9" cstate="print">
              <a:lum bright="100000"/>
            </a:blip>
            <a:stretch>
              <a:fillRect/>
            </a:stretch>
          </p:blipFill>
          <p:spPr bwMode="auto">
            <a:xfrm>
              <a:off x="6789729" y="1678889"/>
              <a:ext cx="1140511" cy="1140511"/>
            </a:xfrm>
            <a:prstGeom prst="rect">
              <a:avLst/>
            </a:prstGeom>
            <a:grpFill/>
          </p:spPr>
        </p:pic>
      </p:grpSp>
      <p:grpSp>
        <p:nvGrpSpPr>
          <p:cNvPr id="58" name="Group 57"/>
          <p:cNvGrpSpPr/>
          <p:nvPr/>
        </p:nvGrpSpPr>
        <p:grpSpPr>
          <a:xfrm>
            <a:off x="2096521" y="2555083"/>
            <a:ext cx="989192" cy="1502569"/>
            <a:chOff x="150812" y="1316316"/>
            <a:chExt cx="1318579" cy="2003425"/>
          </a:xfrm>
        </p:grpSpPr>
        <p:sp>
          <p:nvSpPr>
            <p:cNvPr id="53" name="Rectangle 52"/>
            <p:cNvSpPr/>
            <p:nvPr/>
          </p:nvSpPr>
          <p:spPr>
            <a:xfrm>
              <a:off x="150812" y="1316316"/>
              <a:ext cx="1318579" cy="2003425"/>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bIns="91440" anchor="b"/>
            <a:lstStyle/>
            <a:p>
              <a:pPr algn="ctr"/>
              <a:r>
                <a:rPr lang="en-US" sz="900" b="1" dirty="0">
                  <a:solidFill>
                    <a:srgbClr val="FFFFFF"/>
                  </a:solidFill>
                  <a:latin typeface="Segoe" pitchFamily="34" charset="0"/>
                  <a:ea typeface="MS PGothic" pitchFamily="34" charset="-128"/>
                </a:rPr>
                <a:t>SCALABLE </a:t>
              </a:r>
              <a:br>
                <a:rPr lang="en-US" sz="900" b="1" dirty="0">
                  <a:solidFill>
                    <a:srgbClr val="FFFFFF"/>
                  </a:solidFill>
                  <a:latin typeface="Segoe" pitchFamily="34" charset="0"/>
                  <a:ea typeface="MS PGothic" pitchFamily="34" charset="-128"/>
                </a:rPr>
              </a:br>
              <a:r>
                <a:rPr lang="en-US" sz="900" b="1" dirty="0">
                  <a:solidFill>
                    <a:srgbClr val="FFFFFF"/>
                  </a:solidFill>
                  <a:latin typeface="Segoe" pitchFamily="34" charset="0"/>
                  <a:ea typeface="MS PGothic" pitchFamily="34" charset="-128"/>
                </a:rPr>
                <a:t>AND ELASTIC</a:t>
              </a:r>
            </a:p>
          </p:txBody>
        </p:sp>
        <p:pic>
          <p:nvPicPr>
            <p:cNvPr id="54" name="Picture 2" descr="C:\Users\sigurdg\Desktop\Scalable.png"/>
            <p:cNvPicPr>
              <a:picLocks noChangeAspect="1" noChangeArrowheads="1"/>
            </p:cNvPicPr>
            <p:nvPr/>
          </p:nvPicPr>
          <p:blipFill>
            <a:blip r:embed="rId10" cstate="print"/>
            <a:srcRect/>
            <a:stretch>
              <a:fillRect/>
            </a:stretch>
          </p:blipFill>
          <p:spPr bwMode="auto">
            <a:xfrm>
              <a:off x="455996" y="1805583"/>
              <a:ext cx="731351" cy="677528"/>
            </a:xfrm>
            <a:prstGeom prst="rect">
              <a:avLst/>
            </a:prstGeom>
            <a:noFill/>
            <a:ln>
              <a:noFill/>
            </a:ln>
          </p:spPr>
        </p:pic>
      </p:grpSp>
      <p:grpSp>
        <p:nvGrpSpPr>
          <p:cNvPr id="57" name="Group 56"/>
          <p:cNvGrpSpPr/>
          <p:nvPr/>
        </p:nvGrpSpPr>
        <p:grpSpPr>
          <a:xfrm>
            <a:off x="5943957" y="991278"/>
            <a:ext cx="982466" cy="1474726"/>
            <a:chOff x="9061399" y="1353440"/>
            <a:chExt cx="1309614" cy="1966301"/>
          </a:xfrm>
          <a:solidFill>
            <a:schemeClr val="accent1"/>
          </a:solidFill>
        </p:grpSpPr>
        <p:sp>
          <p:nvSpPr>
            <p:cNvPr id="55" name="Rectangle 54"/>
            <p:cNvSpPr/>
            <p:nvPr/>
          </p:nvSpPr>
          <p:spPr>
            <a:xfrm>
              <a:off x="9061399" y="1353440"/>
              <a:ext cx="1309614" cy="1966301"/>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bIns="91440" anchor="b"/>
            <a:lstStyle/>
            <a:p>
              <a:pPr algn="ctr"/>
              <a:r>
                <a:rPr lang="en-US" sz="900" b="1" dirty="0">
                  <a:solidFill>
                    <a:srgbClr val="FFFFFF"/>
                  </a:solidFill>
                  <a:latin typeface="Segoe" pitchFamily="34" charset="0"/>
                  <a:ea typeface="MS PGothic" pitchFamily="34" charset="-128"/>
                </a:rPr>
                <a:t>END USER</a:t>
              </a:r>
              <a:br>
                <a:rPr lang="en-US" sz="900" b="1" dirty="0">
                  <a:solidFill>
                    <a:srgbClr val="FFFFFF"/>
                  </a:solidFill>
                  <a:latin typeface="Segoe" pitchFamily="34" charset="0"/>
                  <a:ea typeface="MS PGothic" pitchFamily="34" charset="-128"/>
                </a:rPr>
              </a:br>
              <a:r>
                <a:rPr lang="en-US" sz="900" b="1" dirty="0">
                  <a:solidFill>
                    <a:srgbClr val="FFFFFF"/>
                  </a:solidFill>
                  <a:latin typeface="Segoe" pitchFamily="34" charset="0"/>
                  <a:ea typeface="MS PGothic" pitchFamily="34" charset="-128"/>
                </a:rPr>
                <a:t>PRODUCTIVITY</a:t>
              </a:r>
            </a:p>
          </p:txBody>
        </p:sp>
        <p:pic>
          <p:nvPicPr>
            <p:cNvPr id="56" name="Picture 3" descr="C:\Users\sigurdg\Desktop\user.png"/>
            <p:cNvPicPr>
              <a:picLocks noChangeAspect="1" noChangeArrowheads="1"/>
            </p:cNvPicPr>
            <p:nvPr/>
          </p:nvPicPr>
          <p:blipFill>
            <a:blip r:embed="rId11" cstate="print"/>
            <a:srcRect/>
            <a:stretch>
              <a:fillRect/>
            </a:stretch>
          </p:blipFill>
          <p:spPr bwMode="auto">
            <a:xfrm>
              <a:off x="9374336" y="1688756"/>
              <a:ext cx="657853" cy="939314"/>
            </a:xfrm>
            <a:prstGeom prst="rect">
              <a:avLst/>
            </a:prstGeom>
            <a:grpFill/>
          </p:spPr>
        </p:pic>
      </p:grpSp>
      <p:sp>
        <p:nvSpPr>
          <p:cNvPr id="30"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1"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2"/>
              </a:rPr>
              <a:t>www.rapidbbs.cn</a:t>
            </a:r>
            <a:endParaRPr lang="zh-CN" altLang="en-US" sz="1200" b="0">
              <a:latin typeface="Arial" charset="0"/>
              <a:ea typeface="ＭＳ Ｐゴシック" pitchFamily="34" charset="-128"/>
            </a:endParaRPr>
          </a:p>
        </p:txBody>
      </p:sp>
      <p:pic>
        <p:nvPicPr>
          <p:cNvPr id="32" name="Picture 2">
            <a:hlinkClick r:id="rId12"/>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568815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nodeType="withEffect">
                                  <p:stCondLst>
                                    <p:cond delay="0"/>
                                  </p:stCondLst>
                                  <p:childTnLst>
                                    <p:set>
                                      <p:cBhvr>
                                        <p:cTn id="9" dur="1" fill="hold">
                                          <p:stCondLst>
                                            <p:cond delay="0"/>
                                          </p:stCondLst>
                                        </p:cTn>
                                        <p:tgtEl>
                                          <p:spTgt spid="40"/>
                                        </p:tgtEl>
                                        <p:attrNameLst>
                                          <p:attrName>style.visibility</p:attrName>
                                        </p:attrNameLst>
                                      </p:cBhvr>
                                      <p:to>
                                        <p:strVal val="visible"/>
                                      </p:to>
                                    </p:set>
                                    <p:animEffect transition="in" filter="fade">
                                      <p:cBhvr>
                                        <p:cTn id="10" dur="500"/>
                                        <p:tgtEl>
                                          <p:spTgt spid="40"/>
                                        </p:tgtEl>
                                      </p:cBhvr>
                                    </p:animEffect>
                                  </p:childTnLst>
                                </p:cTn>
                              </p:par>
                              <p:par>
                                <p:cTn id="11" presetID="10" presetClass="entr" presetSubtype="0" fill="hold"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par>
                                <p:cTn id="14" presetID="10" presetClass="entr" presetSubtype="0" fill="hold" nodeType="withEffect">
                                  <p:stCondLst>
                                    <p:cond delay="0"/>
                                  </p:stCondLst>
                                  <p:childTnLst>
                                    <p:set>
                                      <p:cBhvr>
                                        <p:cTn id="15" dur="1" fill="hold">
                                          <p:stCondLst>
                                            <p:cond delay="0"/>
                                          </p:stCondLst>
                                        </p:cTn>
                                        <p:tgtEl>
                                          <p:spTgt spid="47"/>
                                        </p:tgtEl>
                                        <p:attrNameLst>
                                          <p:attrName>style.visibility</p:attrName>
                                        </p:attrNameLst>
                                      </p:cBhvr>
                                      <p:to>
                                        <p:strVal val="visible"/>
                                      </p:to>
                                    </p:set>
                                    <p:animEffect transition="in" filter="fade">
                                      <p:cBhvr>
                                        <p:cTn id="16" dur="500"/>
                                        <p:tgtEl>
                                          <p:spTgt spid="47"/>
                                        </p:tgtEl>
                                      </p:cBhvr>
                                    </p:animEffect>
                                  </p:childTnLst>
                                </p:cTn>
                              </p:par>
                              <p:par>
                                <p:cTn id="17" presetID="10" presetClass="entr" presetSubtype="0" fill="hold" nodeType="withEffect">
                                  <p:stCondLst>
                                    <p:cond delay="0"/>
                                  </p:stCondLst>
                                  <p:childTnLst>
                                    <p:set>
                                      <p:cBhvr>
                                        <p:cTn id="18" dur="1" fill="hold">
                                          <p:stCondLst>
                                            <p:cond delay="0"/>
                                          </p:stCondLst>
                                        </p:cTn>
                                        <p:tgtEl>
                                          <p:spTgt spid="57"/>
                                        </p:tgtEl>
                                        <p:attrNameLst>
                                          <p:attrName>style.visibility</p:attrName>
                                        </p:attrNameLst>
                                      </p:cBhvr>
                                      <p:to>
                                        <p:strVal val="visible"/>
                                      </p:to>
                                    </p:set>
                                    <p:animEffect transition="in" filter="fade">
                                      <p:cBhvr>
                                        <p:cTn id="19" dur="500"/>
                                        <p:tgtEl>
                                          <p:spTgt spid="57"/>
                                        </p:tgtEl>
                                      </p:cBhvr>
                                    </p:animEffec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nodeType="clickEffect">
                                  <p:stCondLst>
                                    <p:cond delay="0"/>
                                  </p:stCondLst>
                                  <p:childTnLst>
                                    <p:set>
                                      <p:cBhvr>
                                        <p:cTn id="23" dur="1" fill="hold">
                                          <p:stCondLst>
                                            <p:cond delay="0"/>
                                          </p:stCondLst>
                                        </p:cTn>
                                        <p:tgtEl>
                                          <p:spTgt spid="48"/>
                                        </p:tgtEl>
                                        <p:attrNameLst>
                                          <p:attrName>style.visibility</p:attrName>
                                        </p:attrNameLst>
                                      </p:cBhvr>
                                      <p:to>
                                        <p:strVal val="visible"/>
                                      </p:to>
                                    </p:set>
                                  </p:childTnLst>
                                </p:cTn>
                              </p:par>
                              <p:par>
                                <p:cTn id="24" presetID="1" presetClass="entr" presetSubtype="0" fill="hold" nodeType="withEffect">
                                  <p:stCondLst>
                                    <p:cond delay="0"/>
                                  </p:stCondLst>
                                  <p:childTnLst>
                                    <p:set>
                                      <p:cBhvr>
                                        <p:cTn id="25" dur="1" fill="hold">
                                          <p:stCondLst>
                                            <p:cond delay="0"/>
                                          </p:stCondLst>
                                        </p:cTn>
                                        <p:tgtEl>
                                          <p:spTgt spid="50"/>
                                        </p:tgtEl>
                                        <p:attrNameLst>
                                          <p:attrName>style.visibility</p:attrName>
                                        </p:attrNameLst>
                                      </p:cBhvr>
                                      <p:to>
                                        <p:strVal val="visible"/>
                                      </p:to>
                                    </p:set>
                                  </p:childTnLst>
                                </p:cTn>
                              </p:par>
                              <p:par>
                                <p:cTn id="26" presetID="1" presetClass="entr" presetSubtype="0" fill="hold" nodeType="withEffect">
                                  <p:stCondLst>
                                    <p:cond delay="0"/>
                                  </p:stCondLst>
                                  <p:childTnLst>
                                    <p:set>
                                      <p:cBhvr>
                                        <p:cTn id="27" dur="1" fill="hold">
                                          <p:stCondLst>
                                            <p:cond delay="0"/>
                                          </p:stCondLst>
                                        </p:cTn>
                                        <p:tgtEl>
                                          <p:spTgt spid="49"/>
                                        </p:tgtEl>
                                        <p:attrNameLst>
                                          <p:attrName>style.visibility</p:attrName>
                                        </p:attrNameLst>
                                      </p:cBhvr>
                                      <p:to>
                                        <p:strVal val="visible"/>
                                      </p:to>
                                    </p:set>
                                  </p:childTnLst>
                                </p:cTn>
                              </p:par>
                              <p:par>
                                <p:cTn id="28" presetID="1" presetClass="entr" presetSubtype="0" fill="hold" nodeType="withEffect">
                                  <p:stCondLst>
                                    <p:cond delay="0"/>
                                  </p:stCondLst>
                                  <p:childTnLst>
                                    <p:set>
                                      <p:cBhvr>
                                        <p:cTn id="29" dur="1" fill="hold">
                                          <p:stCondLst>
                                            <p:cond delay="0"/>
                                          </p:stCondLst>
                                        </p:cTn>
                                        <p:tgtEl>
                                          <p:spTgt spid="5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8" name="Picture 7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auto">
          <a:xfrm>
            <a:off x="2456899" y="2343333"/>
            <a:ext cx="353708" cy="368728"/>
          </a:xfrm>
          <a:prstGeom prst="rect">
            <a:avLst/>
          </a:prstGeom>
          <a:noFill/>
          <a:ln w="9525">
            <a:noFill/>
            <a:miter lim="800000"/>
            <a:headEnd/>
            <a:tailEnd/>
          </a:ln>
        </p:spPr>
      </p:pic>
      <p:pic>
        <p:nvPicPr>
          <p:cNvPr id="79" name="Picture 7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auto">
          <a:xfrm>
            <a:off x="4411225" y="2343334"/>
            <a:ext cx="353707" cy="368727"/>
          </a:xfrm>
          <a:prstGeom prst="rect">
            <a:avLst/>
          </a:prstGeom>
          <a:noFill/>
          <a:ln w="9525">
            <a:noFill/>
            <a:miter lim="800000"/>
            <a:headEnd/>
            <a:tailEnd/>
          </a:ln>
        </p:spPr>
      </p:pic>
      <p:grpSp>
        <p:nvGrpSpPr>
          <p:cNvPr id="75" name="Group 74"/>
          <p:cNvGrpSpPr>
            <a:grpSpLocks/>
          </p:cNvGrpSpPr>
          <p:nvPr/>
        </p:nvGrpSpPr>
        <p:grpSpPr bwMode="auto">
          <a:xfrm>
            <a:off x="6857104" y="1725218"/>
            <a:ext cx="1327893" cy="1882377"/>
            <a:chOff x="8859564" y="2984258"/>
            <a:chExt cx="1770354" cy="2510117"/>
          </a:xfrm>
        </p:grpSpPr>
        <p:sp>
          <p:nvSpPr>
            <p:cNvPr id="77" name="Rectangle 76"/>
            <p:cNvSpPr/>
            <p:nvPr/>
          </p:nvSpPr>
          <p:spPr bwMode="black">
            <a:xfrm>
              <a:off x="8859564" y="2984258"/>
              <a:ext cx="1770354" cy="1199057"/>
            </a:xfrm>
            <a:prstGeom prst="rect">
              <a:avLst/>
            </a:prstGeom>
            <a:solidFill>
              <a:srgbClr val="00AEEF"/>
            </a:solidFill>
            <a:ln w="9525">
              <a:noFill/>
              <a:round/>
              <a:headEnd/>
              <a:tailEnd/>
            </a:ln>
            <a:effectLst/>
            <a:scene3d>
              <a:camera prst="orthographicFront">
                <a:rot lat="0" lon="0" rev="0"/>
              </a:camera>
              <a:lightRig rig="glow" dir="t">
                <a:rot lat="0" lon="0" rev="4800000"/>
              </a:lightRig>
            </a:scene3d>
            <a:sp3d prstMaterial="matte"/>
          </p:spPr>
          <p:txBody>
            <a:bodyPr lIns="121888" tIns="60944" rIns="121888" bIns="60944"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fontAlgn="base">
                <a:lnSpc>
                  <a:spcPct val="90000"/>
                </a:lnSpc>
                <a:spcBef>
                  <a:spcPct val="0"/>
                </a:spcBef>
                <a:spcAft>
                  <a:spcPct val="0"/>
                </a:spcAft>
                <a:defRPr/>
              </a:pPr>
              <a:r>
                <a:rPr lang="en-US" dirty="0" smtClean="0">
                  <a:solidFill>
                    <a:srgbClr val="FFFFFF"/>
                  </a:solidFill>
                </a:rPr>
                <a:t>Triage and remediate</a:t>
              </a:r>
              <a:endParaRPr lang="en-US" dirty="0">
                <a:solidFill>
                  <a:srgbClr val="FFFFFF"/>
                </a:solidFill>
              </a:endParaRPr>
            </a:p>
          </p:txBody>
        </p:sp>
        <p:pic>
          <p:nvPicPr>
            <p:cNvPr id="76" name="Picture 2"/>
            <p:cNvPicPr>
              <a:picLocks noChangeAspect="1" noChangeArrowheads="1"/>
            </p:cNvPicPr>
            <p:nvPr/>
          </p:nvPicPr>
          <p:blipFill>
            <a:blip r:embed="rId4" cstate="email"/>
            <a:srcRect/>
            <a:stretch>
              <a:fillRect/>
            </a:stretch>
          </p:blipFill>
          <p:spPr bwMode="auto">
            <a:xfrm>
              <a:off x="8882991" y="4212301"/>
              <a:ext cx="1746926" cy="1282074"/>
            </a:xfrm>
            <a:prstGeom prst="rect">
              <a:avLst/>
            </a:prstGeom>
            <a:noFill/>
            <a:ln w="28575" cmpd="sng">
              <a:solidFill>
                <a:schemeClr val="accent1"/>
              </a:solidFill>
              <a:miter lim="800000"/>
              <a:headEnd/>
              <a:tailEnd/>
            </a:ln>
          </p:spPr>
        </p:pic>
      </p:grpSp>
      <p:grpSp>
        <p:nvGrpSpPr>
          <p:cNvPr id="42" name="Group 1"/>
          <p:cNvGrpSpPr>
            <a:grpSpLocks/>
          </p:cNvGrpSpPr>
          <p:nvPr/>
        </p:nvGrpSpPr>
        <p:grpSpPr bwMode="auto">
          <a:xfrm>
            <a:off x="944110" y="1714502"/>
            <a:ext cx="1361433" cy="1896665"/>
            <a:chOff x="1645545" y="2970506"/>
            <a:chExt cx="1815508" cy="2529189"/>
          </a:xfrm>
        </p:grpSpPr>
        <p:pic>
          <p:nvPicPr>
            <p:cNvPr id="43" name="Picture 3" descr="C:\Users\ansundar.REDMOND\AppData\Local\Microsoft\Windows\Temporary Internet Files\Content.Outlook\7PNHSTT1\OM ST5 diagram view.Png"/>
            <p:cNvPicPr>
              <a:picLocks noChangeAspect="1" noChangeArrowheads="1"/>
            </p:cNvPicPr>
            <p:nvPr/>
          </p:nvPicPr>
          <p:blipFill>
            <a:blip r:embed="rId5" cstate="email"/>
            <a:srcRect/>
            <a:stretch>
              <a:fillRect/>
            </a:stretch>
          </p:blipFill>
          <p:spPr bwMode="auto">
            <a:xfrm>
              <a:off x="1645546" y="4166709"/>
              <a:ext cx="1804132" cy="1332986"/>
            </a:xfrm>
            <a:prstGeom prst="rect">
              <a:avLst/>
            </a:prstGeom>
            <a:noFill/>
            <a:ln w="28575" cmpd="sng">
              <a:solidFill>
                <a:schemeClr val="accent1"/>
              </a:solidFill>
              <a:miter lim="800000"/>
              <a:headEnd/>
              <a:tailEnd/>
            </a:ln>
          </p:spPr>
        </p:pic>
        <p:sp>
          <p:nvSpPr>
            <p:cNvPr id="45" name="Rectangle 44"/>
            <p:cNvSpPr/>
            <p:nvPr/>
          </p:nvSpPr>
          <p:spPr bwMode="black">
            <a:xfrm>
              <a:off x="1645545" y="2970506"/>
              <a:ext cx="1815508" cy="1199057"/>
            </a:xfrm>
            <a:prstGeom prst="rect">
              <a:avLst/>
            </a:prstGeom>
            <a:solidFill>
              <a:srgbClr val="00AEEF"/>
            </a:solidFill>
            <a:ln w="9525">
              <a:noFill/>
              <a:round/>
              <a:headEnd/>
              <a:tailEnd/>
            </a:ln>
            <a:effectLst/>
            <a:scene3d>
              <a:camera prst="orthographicFront">
                <a:rot lat="0" lon="0" rev="0"/>
              </a:camera>
              <a:lightRig rig="glow" dir="t">
                <a:rot lat="0" lon="0" rev="4800000"/>
              </a:lightRig>
            </a:scene3d>
            <a:sp3d prstMaterial="matte"/>
          </p:spPr>
          <p:txBody>
            <a:bodyPr lIns="121888" tIns="60944" rIns="121888" bIns="60944"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fontAlgn="base">
                <a:lnSpc>
                  <a:spcPct val="90000"/>
                </a:lnSpc>
                <a:spcBef>
                  <a:spcPct val="0"/>
                </a:spcBef>
                <a:spcAft>
                  <a:spcPct val="0"/>
                </a:spcAft>
                <a:defRPr/>
              </a:pPr>
              <a:r>
                <a:rPr lang="en-US" dirty="0">
                  <a:solidFill>
                    <a:prstClr val="white"/>
                  </a:solidFill>
                </a:rPr>
                <a:t>Discover application dependencies</a:t>
              </a:r>
            </a:p>
          </p:txBody>
        </p:sp>
      </p:grpSp>
      <p:grpSp>
        <p:nvGrpSpPr>
          <p:cNvPr id="46" name="Group 2"/>
          <p:cNvGrpSpPr>
            <a:grpSpLocks/>
          </p:cNvGrpSpPr>
          <p:nvPr/>
        </p:nvGrpSpPr>
        <p:grpSpPr bwMode="auto">
          <a:xfrm>
            <a:off x="2921256" y="1725215"/>
            <a:ext cx="1339802" cy="1905000"/>
            <a:chOff x="4261023" y="2984256"/>
            <a:chExt cx="1784771" cy="2539951"/>
          </a:xfrm>
        </p:grpSpPr>
        <p:pic>
          <p:nvPicPr>
            <p:cNvPr id="57" name="Picture 4"/>
            <p:cNvPicPr>
              <a:picLocks noChangeAspect="1"/>
            </p:cNvPicPr>
            <p:nvPr/>
          </p:nvPicPr>
          <p:blipFill>
            <a:blip r:embed="rId6" cstate="email"/>
            <a:srcRect/>
            <a:stretch>
              <a:fillRect/>
            </a:stretch>
          </p:blipFill>
          <p:spPr bwMode="auto">
            <a:xfrm>
              <a:off x="4265612" y="4208014"/>
              <a:ext cx="1780182" cy="1316193"/>
            </a:xfrm>
            <a:prstGeom prst="rect">
              <a:avLst/>
            </a:prstGeom>
            <a:noFill/>
            <a:ln w="28575" cmpd="sng">
              <a:solidFill>
                <a:schemeClr val="accent1"/>
              </a:solidFill>
              <a:miter lim="800000"/>
              <a:headEnd/>
              <a:tailEnd/>
            </a:ln>
          </p:spPr>
        </p:pic>
        <p:sp>
          <p:nvSpPr>
            <p:cNvPr id="59" name="Rectangle 58"/>
            <p:cNvSpPr/>
            <p:nvPr/>
          </p:nvSpPr>
          <p:spPr bwMode="black">
            <a:xfrm>
              <a:off x="4261023" y="2984256"/>
              <a:ext cx="1784771" cy="1199057"/>
            </a:xfrm>
            <a:prstGeom prst="rect">
              <a:avLst/>
            </a:prstGeom>
            <a:solidFill>
              <a:srgbClr val="00AEEF"/>
            </a:solidFill>
            <a:ln w="9525">
              <a:noFill/>
              <a:round/>
              <a:headEnd/>
              <a:tailEnd/>
            </a:ln>
            <a:effectLst/>
            <a:scene3d>
              <a:camera prst="orthographicFront">
                <a:rot lat="0" lon="0" rev="0"/>
              </a:camera>
              <a:lightRig rig="glow" dir="t">
                <a:rot lat="0" lon="0" rev="4800000"/>
              </a:lightRig>
            </a:scene3d>
            <a:sp3d prstMaterial="matte"/>
          </p:spPr>
          <p:txBody>
            <a:bodyPr lIns="121888" tIns="60944" rIns="121888" bIns="60944"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fontAlgn="base">
                <a:lnSpc>
                  <a:spcPct val="90000"/>
                </a:lnSpc>
                <a:spcBef>
                  <a:spcPct val="0"/>
                </a:spcBef>
                <a:spcAft>
                  <a:spcPct val="0"/>
                </a:spcAft>
                <a:defRPr/>
              </a:pPr>
              <a:r>
                <a:rPr lang="en-US" dirty="0">
                  <a:solidFill>
                    <a:prstClr val="white"/>
                  </a:solidFill>
                </a:rPr>
                <a:t>Monitor</a:t>
              </a:r>
            </a:p>
            <a:p>
              <a:pPr algn="ctr" fontAlgn="base">
                <a:lnSpc>
                  <a:spcPct val="90000"/>
                </a:lnSpc>
                <a:spcBef>
                  <a:spcPct val="0"/>
                </a:spcBef>
                <a:spcAft>
                  <a:spcPct val="0"/>
                </a:spcAft>
                <a:defRPr/>
              </a:pPr>
              <a:r>
                <a:rPr lang="en-US" dirty="0">
                  <a:solidFill>
                    <a:prstClr val="white"/>
                  </a:solidFill>
                </a:rPr>
                <a:t>e</a:t>
              </a:r>
              <a:r>
                <a:rPr lang="en-US" dirty="0" smtClean="0">
                  <a:solidFill>
                    <a:prstClr val="white"/>
                  </a:solidFill>
                </a:rPr>
                <a:t>nd-user </a:t>
              </a:r>
              <a:r>
                <a:rPr lang="en-US" dirty="0">
                  <a:solidFill>
                    <a:prstClr val="white"/>
                  </a:solidFill>
                </a:rPr>
                <a:t>and application components</a:t>
              </a:r>
            </a:p>
          </p:txBody>
        </p:sp>
      </p:grpSp>
      <p:grpSp>
        <p:nvGrpSpPr>
          <p:cNvPr id="60" name="Group 3"/>
          <p:cNvGrpSpPr>
            <a:grpSpLocks/>
          </p:cNvGrpSpPr>
          <p:nvPr/>
        </p:nvGrpSpPr>
        <p:grpSpPr bwMode="auto">
          <a:xfrm>
            <a:off x="4942640" y="1725215"/>
            <a:ext cx="1231060" cy="1905000"/>
            <a:chOff x="6710544" y="2984256"/>
            <a:chExt cx="1640989" cy="2539839"/>
          </a:xfrm>
        </p:grpSpPr>
        <p:pic>
          <p:nvPicPr>
            <p:cNvPr id="61" name="Picture 3"/>
            <p:cNvPicPr>
              <a:picLocks noChangeAspect="1"/>
            </p:cNvPicPr>
            <p:nvPr/>
          </p:nvPicPr>
          <p:blipFill>
            <a:blip r:embed="rId7" cstate="email"/>
            <a:srcRect/>
            <a:stretch>
              <a:fillRect/>
            </a:stretch>
          </p:blipFill>
          <p:spPr bwMode="auto">
            <a:xfrm>
              <a:off x="6710544" y="4206331"/>
              <a:ext cx="1640989" cy="1317764"/>
            </a:xfrm>
            <a:prstGeom prst="rect">
              <a:avLst/>
            </a:prstGeom>
            <a:solidFill>
              <a:schemeClr val="bg1"/>
            </a:solidFill>
            <a:ln w="28575" cmpd="sng">
              <a:solidFill>
                <a:schemeClr val="accent1"/>
              </a:solidFill>
              <a:miter lim="800000"/>
              <a:headEnd/>
              <a:tailEnd/>
            </a:ln>
          </p:spPr>
        </p:pic>
        <p:sp>
          <p:nvSpPr>
            <p:cNvPr id="62" name="Rectangle 61"/>
            <p:cNvSpPr/>
            <p:nvPr/>
          </p:nvSpPr>
          <p:spPr bwMode="black">
            <a:xfrm>
              <a:off x="6710544" y="2984256"/>
              <a:ext cx="1640989" cy="1199057"/>
            </a:xfrm>
            <a:prstGeom prst="rect">
              <a:avLst/>
            </a:prstGeom>
            <a:solidFill>
              <a:srgbClr val="00AEEF"/>
            </a:solidFill>
            <a:ln w="9525">
              <a:noFill/>
              <a:round/>
              <a:headEnd/>
              <a:tailEnd/>
            </a:ln>
            <a:effectLst/>
            <a:scene3d>
              <a:camera prst="orthographicFront">
                <a:rot lat="0" lon="0" rev="0"/>
              </a:camera>
              <a:lightRig rig="glow" dir="t">
                <a:rot lat="0" lon="0" rev="4800000"/>
              </a:lightRig>
            </a:scene3d>
            <a:sp3d prstMaterial="matte"/>
          </p:spPr>
          <p:txBody>
            <a:bodyPr lIns="121888" tIns="60944" rIns="121888" bIns="60944"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fontAlgn="base">
                <a:lnSpc>
                  <a:spcPct val="90000"/>
                </a:lnSpc>
                <a:spcBef>
                  <a:spcPct val="0"/>
                </a:spcBef>
                <a:spcAft>
                  <a:spcPct val="0"/>
                </a:spcAft>
                <a:defRPr/>
              </a:pPr>
              <a:r>
                <a:rPr lang="en-US" dirty="0">
                  <a:solidFill>
                    <a:prstClr val="white"/>
                  </a:solidFill>
                </a:rPr>
                <a:t>Isolate root cause</a:t>
              </a:r>
            </a:p>
          </p:txBody>
        </p:sp>
      </p:grpSp>
      <p:grpSp>
        <p:nvGrpSpPr>
          <p:cNvPr id="66" name="Group 1"/>
          <p:cNvGrpSpPr>
            <a:grpSpLocks/>
          </p:cNvGrpSpPr>
          <p:nvPr/>
        </p:nvGrpSpPr>
        <p:grpSpPr bwMode="auto">
          <a:xfrm>
            <a:off x="944109" y="1714502"/>
            <a:ext cx="1361434" cy="1896665"/>
            <a:chOff x="1634169" y="2970506"/>
            <a:chExt cx="1815509" cy="2529189"/>
          </a:xfrm>
        </p:grpSpPr>
        <p:pic>
          <p:nvPicPr>
            <p:cNvPr id="67" name="Picture 3" descr="C:\Users\ansundar.REDMOND\AppData\Local\Microsoft\Windows\Temporary Internet Files\Content.Outlook\7PNHSTT1\OM ST5 diagram view.Png"/>
            <p:cNvPicPr>
              <a:picLocks noChangeAspect="1" noChangeArrowheads="1"/>
            </p:cNvPicPr>
            <p:nvPr/>
          </p:nvPicPr>
          <p:blipFill>
            <a:blip r:embed="rId5" cstate="email"/>
            <a:srcRect/>
            <a:stretch>
              <a:fillRect/>
            </a:stretch>
          </p:blipFill>
          <p:spPr bwMode="auto">
            <a:xfrm>
              <a:off x="1645546" y="4166709"/>
              <a:ext cx="1804132" cy="1332986"/>
            </a:xfrm>
            <a:prstGeom prst="rect">
              <a:avLst/>
            </a:prstGeom>
            <a:noFill/>
            <a:ln w="28575" cmpd="sng">
              <a:solidFill>
                <a:schemeClr val="accent1"/>
              </a:solidFill>
              <a:miter lim="800000"/>
              <a:headEnd/>
              <a:tailEnd/>
            </a:ln>
          </p:spPr>
        </p:pic>
        <p:sp>
          <p:nvSpPr>
            <p:cNvPr id="68" name="Rectangle 67"/>
            <p:cNvSpPr/>
            <p:nvPr/>
          </p:nvSpPr>
          <p:spPr bwMode="black">
            <a:xfrm>
              <a:off x="1634169" y="2970506"/>
              <a:ext cx="1815509" cy="1199057"/>
            </a:xfrm>
            <a:prstGeom prst="rect">
              <a:avLst/>
            </a:prstGeom>
            <a:solidFill>
              <a:srgbClr val="00AEEF"/>
            </a:solidFill>
            <a:ln w="9525">
              <a:noFill/>
              <a:round/>
              <a:headEnd/>
              <a:tailEnd/>
            </a:ln>
            <a:effectLst/>
            <a:scene3d>
              <a:camera prst="orthographicFront">
                <a:rot lat="0" lon="0" rev="0"/>
              </a:camera>
              <a:lightRig rig="glow" dir="t">
                <a:rot lat="0" lon="0" rev="4800000"/>
              </a:lightRig>
            </a:scene3d>
            <a:sp3d prstMaterial="matte"/>
          </p:spPr>
          <p:txBody>
            <a:bodyPr lIns="121888" tIns="60944" rIns="121888" bIns="60944"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fontAlgn="base">
                <a:lnSpc>
                  <a:spcPct val="90000"/>
                </a:lnSpc>
                <a:spcBef>
                  <a:spcPct val="0"/>
                </a:spcBef>
                <a:spcAft>
                  <a:spcPct val="0"/>
                </a:spcAft>
                <a:defRPr/>
              </a:pPr>
              <a:r>
                <a:rPr lang="en-US" dirty="0">
                  <a:solidFill>
                    <a:prstClr val="white"/>
                  </a:solidFill>
                </a:rPr>
                <a:t>Discover application dependencies</a:t>
              </a:r>
            </a:p>
          </p:txBody>
        </p:sp>
      </p:grpSp>
      <p:grpSp>
        <p:nvGrpSpPr>
          <p:cNvPr id="69" name="Group 2"/>
          <p:cNvGrpSpPr>
            <a:grpSpLocks/>
          </p:cNvGrpSpPr>
          <p:nvPr/>
        </p:nvGrpSpPr>
        <p:grpSpPr bwMode="auto">
          <a:xfrm>
            <a:off x="2921256" y="1725215"/>
            <a:ext cx="1339802" cy="1905000"/>
            <a:chOff x="4261023" y="2984256"/>
            <a:chExt cx="1784771" cy="2539951"/>
          </a:xfrm>
        </p:grpSpPr>
        <p:pic>
          <p:nvPicPr>
            <p:cNvPr id="70" name="Picture 4"/>
            <p:cNvPicPr>
              <a:picLocks noChangeAspect="1"/>
            </p:cNvPicPr>
            <p:nvPr/>
          </p:nvPicPr>
          <p:blipFill>
            <a:blip r:embed="rId6" cstate="email"/>
            <a:srcRect/>
            <a:stretch>
              <a:fillRect/>
            </a:stretch>
          </p:blipFill>
          <p:spPr bwMode="auto">
            <a:xfrm>
              <a:off x="4265612" y="4208014"/>
              <a:ext cx="1780182" cy="1316193"/>
            </a:xfrm>
            <a:prstGeom prst="rect">
              <a:avLst/>
            </a:prstGeom>
            <a:noFill/>
            <a:ln w="28575" cmpd="sng">
              <a:solidFill>
                <a:schemeClr val="accent1"/>
              </a:solidFill>
              <a:miter lim="800000"/>
              <a:headEnd/>
              <a:tailEnd/>
            </a:ln>
          </p:spPr>
        </p:pic>
        <p:sp>
          <p:nvSpPr>
            <p:cNvPr id="71" name="Rectangle 70"/>
            <p:cNvSpPr/>
            <p:nvPr/>
          </p:nvSpPr>
          <p:spPr bwMode="black">
            <a:xfrm>
              <a:off x="4261023" y="2984256"/>
              <a:ext cx="1784771" cy="1199057"/>
            </a:xfrm>
            <a:prstGeom prst="rect">
              <a:avLst/>
            </a:prstGeom>
            <a:solidFill>
              <a:srgbClr val="00AEEF"/>
            </a:solidFill>
            <a:ln w="9525">
              <a:noFill/>
              <a:round/>
              <a:headEnd/>
              <a:tailEnd/>
            </a:ln>
            <a:effectLst/>
            <a:scene3d>
              <a:camera prst="orthographicFront">
                <a:rot lat="0" lon="0" rev="0"/>
              </a:camera>
              <a:lightRig rig="glow" dir="t">
                <a:rot lat="0" lon="0" rev="4800000"/>
              </a:lightRig>
            </a:scene3d>
            <a:sp3d prstMaterial="matte"/>
          </p:spPr>
          <p:txBody>
            <a:bodyPr lIns="121888" tIns="60944" rIns="121888" bIns="60944"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fontAlgn="base">
                <a:lnSpc>
                  <a:spcPct val="90000"/>
                </a:lnSpc>
                <a:spcBef>
                  <a:spcPct val="0"/>
                </a:spcBef>
                <a:spcAft>
                  <a:spcPct val="0"/>
                </a:spcAft>
                <a:defRPr/>
              </a:pPr>
              <a:r>
                <a:rPr lang="en-US" dirty="0">
                  <a:solidFill>
                    <a:prstClr val="white"/>
                  </a:solidFill>
                </a:rPr>
                <a:t>Monitor</a:t>
              </a:r>
            </a:p>
            <a:p>
              <a:pPr algn="ctr" fontAlgn="base">
                <a:lnSpc>
                  <a:spcPct val="90000"/>
                </a:lnSpc>
                <a:spcBef>
                  <a:spcPct val="0"/>
                </a:spcBef>
                <a:spcAft>
                  <a:spcPct val="0"/>
                </a:spcAft>
                <a:defRPr/>
              </a:pPr>
              <a:r>
                <a:rPr lang="en-US" dirty="0">
                  <a:solidFill>
                    <a:prstClr val="white"/>
                  </a:solidFill>
                </a:rPr>
                <a:t>e</a:t>
              </a:r>
              <a:r>
                <a:rPr lang="en-US" dirty="0" smtClean="0">
                  <a:solidFill>
                    <a:prstClr val="white"/>
                  </a:solidFill>
                </a:rPr>
                <a:t>nd-user </a:t>
              </a:r>
              <a:r>
                <a:rPr lang="en-US" dirty="0">
                  <a:solidFill>
                    <a:prstClr val="white"/>
                  </a:solidFill>
                </a:rPr>
                <a:t>and application components</a:t>
              </a:r>
            </a:p>
          </p:txBody>
        </p:sp>
      </p:grpSp>
      <p:grpSp>
        <p:nvGrpSpPr>
          <p:cNvPr id="72" name="Group 3"/>
          <p:cNvGrpSpPr>
            <a:grpSpLocks/>
          </p:cNvGrpSpPr>
          <p:nvPr/>
        </p:nvGrpSpPr>
        <p:grpSpPr bwMode="auto">
          <a:xfrm>
            <a:off x="4942640" y="1725215"/>
            <a:ext cx="1231060" cy="1905000"/>
            <a:chOff x="6710544" y="2984256"/>
            <a:chExt cx="1640989" cy="2539839"/>
          </a:xfrm>
        </p:grpSpPr>
        <p:pic>
          <p:nvPicPr>
            <p:cNvPr id="73" name="Picture 3"/>
            <p:cNvPicPr>
              <a:picLocks noChangeAspect="1"/>
            </p:cNvPicPr>
            <p:nvPr/>
          </p:nvPicPr>
          <p:blipFill>
            <a:blip r:embed="rId7" cstate="email"/>
            <a:srcRect/>
            <a:stretch>
              <a:fillRect/>
            </a:stretch>
          </p:blipFill>
          <p:spPr bwMode="auto">
            <a:xfrm>
              <a:off x="6710544" y="4206331"/>
              <a:ext cx="1640989" cy="1317764"/>
            </a:xfrm>
            <a:prstGeom prst="rect">
              <a:avLst/>
            </a:prstGeom>
            <a:solidFill>
              <a:schemeClr val="bg1"/>
            </a:solidFill>
            <a:ln w="28575" cmpd="sng">
              <a:solidFill>
                <a:srgbClr val="00AEEF"/>
              </a:solidFill>
              <a:miter lim="800000"/>
              <a:headEnd/>
              <a:tailEnd/>
            </a:ln>
          </p:spPr>
        </p:pic>
        <p:sp>
          <p:nvSpPr>
            <p:cNvPr id="74" name="Rectangle 73"/>
            <p:cNvSpPr/>
            <p:nvPr/>
          </p:nvSpPr>
          <p:spPr bwMode="black">
            <a:xfrm>
              <a:off x="6710544" y="2984256"/>
              <a:ext cx="1640989" cy="1199057"/>
            </a:xfrm>
            <a:prstGeom prst="rect">
              <a:avLst/>
            </a:prstGeom>
            <a:solidFill>
              <a:srgbClr val="00AEEF"/>
            </a:solidFill>
            <a:ln w="9525">
              <a:noFill/>
              <a:round/>
              <a:headEnd/>
              <a:tailEnd/>
            </a:ln>
            <a:effectLst/>
            <a:scene3d>
              <a:camera prst="orthographicFront">
                <a:rot lat="0" lon="0" rev="0"/>
              </a:camera>
              <a:lightRig rig="glow" dir="t">
                <a:rot lat="0" lon="0" rev="4800000"/>
              </a:lightRig>
            </a:scene3d>
            <a:sp3d prstMaterial="matte"/>
          </p:spPr>
          <p:txBody>
            <a:bodyPr lIns="121888" tIns="60944" rIns="121888" bIns="60944"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fontAlgn="base">
                <a:lnSpc>
                  <a:spcPct val="90000"/>
                </a:lnSpc>
                <a:spcBef>
                  <a:spcPct val="0"/>
                </a:spcBef>
                <a:spcAft>
                  <a:spcPct val="0"/>
                </a:spcAft>
                <a:defRPr/>
              </a:pPr>
              <a:r>
                <a:rPr lang="en-US" dirty="0">
                  <a:solidFill>
                    <a:prstClr val="white"/>
                  </a:solidFill>
                </a:rPr>
                <a:t>Isolate root cause</a:t>
              </a:r>
            </a:p>
          </p:txBody>
        </p:sp>
      </p:grpSp>
      <p:pic>
        <p:nvPicPr>
          <p:cNvPr id="121" name="Picture 12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auto">
          <a:xfrm>
            <a:off x="2446181" y="2337381"/>
            <a:ext cx="353708" cy="368728"/>
          </a:xfrm>
          <a:prstGeom prst="rect">
            <a:avLst/>
          </a:prstGeom>
          <a:noFill/>
          <a:ln w="9525">
            <a:noFill/>
            <a:miter lim="800000"/>
            <a:headEnd/>
            <a:tailEnd/>
          </a:ln>
        </p:spPr>
      </p:pic>
      <p:pic>
        <p:nvPicPr>
          <p:cNvPr id="123" name="Picture 1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auto">
          <a:xfrm>
            <a:off x="4400507" y="2337380"/>
            <a:ext cx="353707" cy="368727"/>
          </a:xfrm>
          <a:prstGeom prst="rect">
            <a:avLst/>
          </a:prstGeom>
          <a:noFill/>
          <a:ln w="9525">
            <a:noFill/>
            <a:miter lim="800000"/>
            <a:headEnd/>
            <a:tailEnd/>
          </a:ln>
        </p:spPr>
      </p:pic>
      <p:pic>
        <p:nvPicPr>
          <p:cNvPr id="124" name="Picture 1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auto">
          <a:xfrm>
            <a:off x="6344113" y="2337380"/>
            <a:ext cx="353707" cy="368727"/>
          </a:xfrm>
          <a:prstGeom prst="rect">
            <a:avLst/>
          </a:prstGeom>
          <a:noFill/>
          <a:ln w="9525">
            <a:noFill/>
            <a:miter lim="800000"/>
            <a:headEnd/>
            <a:tailEnd/>
          </a:ln>
        </p:spPr>
      </p:pic>
      <p:sp>
        <p:nvSpPr>
          <p:cNvPr id="24578" name="Rectangle 33"/>
          <p:cNvSpPr>
            <a:spLocks noGrp="1"/>
          </p:cNvSpPr>
          <p:nvPr>
            <p:ph type="title" idx="4294967295"/>
          </p:nvPr>
        </p:nvSpPr>
        <p:spPr>
          <a:xfrm>
            <a:off x="391008" y="171450"/>
            <a:ext cx="8363938" cy="457048"/>
          </a:xfrm>
        </p:spPr>
        <p:txBody>
          <a:bodyPr/>
          <a:lstStyle/>
          <a:p>
            <a:pPr eaLnBrk="1" hangingPunct="1"/>
            <a:r>
              <a:rPr lang="en-US" dirty="0" smtClean="0"/>
              <a:t>Predictable Application Performance</a:t>
            </a:r>
          </a:p>
        </p:txBody>
      </p:sp>
      <p:grpSp>
        <p:nvGrpSpPr>
          <p:cNvPr id="63" name="Group 62"/>
          <p:cNvGrpSpPr/>
          <p:nvPr/>
        </p:nvGrpSpPr>
        <p:grpSpPr>
          <a:xfrm>
            <a:off x="8239053" y="3257551"/>
            <a:ext cx="791809" cy="1671620"/>
            <a:chOff x="10848605" y="2127837"/>
            <a:chExt cx="1055471" cy="2228827"/>
          </a:xfrm>
        </p:grpSpPr>
        <p:grpSp>
          <p:nvGrpSpPr>
            <p:cNvPr id="64" name="Group 6"/>
            <p:cNvGrpSpPr>
              <a:grpSpLocks/>
            </p:cNvGrpSpPr>
            <p:nvPr/>
          </p:nvGrpSpPr>
          <p:grpSpPr bwMode="auto">
            <a:xfrm>
              <a:off x="10848605" y="2127837"/>
              <a:ext cx="1007038" cy="2228827"/>
              <a:chOff x="6677" y="1089"/>
              <a:chExt cx="1226" cy="2708"/>
            </a:xfrm>
          </p:grpSpPr>
          <p:pic>
            <p:nvPicPr>
              <p:cNvPr id="80" name="Picture 5"/>
              <p:cNvPicPr>
                <a:picLocks noChangeAspect="1" noChangeArrowheads="1"/>
              </p:cNvPicPr>
              <p:nvPr/>
            </p:nvPicPr>
            <p:blipFill>
              <a:blip r:embed="rId8">
                <a:extLst>
                  <a:ext uri="{28A0092B-C50C-407E-A947-70E740481C1C}">
                    <a14:useLocalDpi xmlns:a14="http://schemas.microsoft.com/office/drawing/2010/main" val="0"/>
                  </a:ext>
                </a:extLst>
              </a:blip>
              <a:stretch>
                <a:fillRect/>
              </a:stretch>
            </p:blipFill>
            <p:spPr bwMode="auto">
              <a:xfrm flipH="1">
                <a:off x="6677" y="1089"/>
                <a:ext cx="694" cy="2708"/>
              </a:xfrm>
              <a:prstGeom prst="rect">
                <a:avLst/>
              </a:prstGeom>
              <a:noFill/>
              <a:ln w="9525">
                <a:noFill/>
                <a:miter lim="800000"/>
                <a:headEnd/>
                <a:tailEnd/>
              </a:ln>
            </p:spPr>
          </p:pic>
          <p:sp>
            <p:nvSpPr>
              <p:cNvPr id="81" name="Oval 8"/>
              <p:cNvSpPr>
                <a:spLocks noChangeArrowheads="1"/>
              </p:cNvSpPr>
              <p:nvPr/>
            </p:nvSpPr>
            <p:spPr bwMode="auto">
              <a:xfrm>
                <a:off x="7111" y="2305"/>
                <a:ext cx="792" cy="792"/>
              </a:xfrm>
              <a:prstGeom prst="ellipse">
                <a:avLst/>
              </a:prstGeom>
              <a:solidFill>
                <a:schemeClr val="accent2">
                  <a:lumMod val="75000"/>
                  <a:alpha val="90000"/>
                </a:schemeClr>
              </a:solidFill>
              <a:ln w="9525">
                <a:noFill/>
                <a:round/>
                <a:headEnd/>
                <a:tailEnd/>
              </a:ln>
            </p:spPr>
            <p:txBody>
              <a:bodyPr lIns="0" rIns="0" anchor="ctr"/>
              <a:lstStyle/>
              <a:p>
                <a:pPr algn="ctr"/>
                <a:r>
                  <a:rPr lang="en-US" sz="800" dirty="0"/>
                  <a:t>DC</a:t>
                </a:r>
                <a:br>
                  <a:rPr lang="en-US" sz="800" dirty="0"/>
                </a:br>
                <a:r>
                  <a:rPr lang="en-US" sz="800" dirty="0"/>
                  <a:t>Admin</a:t>
                </a:r>
              </a:p>
            </p:txBody>
          </p:sp>
        </p:grpSp>
        <p:pic>
          <p:nvPicPr>
            <p:cNvPr id="65" name="Picture 5"/>
            <p:cNvPicPr>
              <a:picLocks noChangeAspect="1" noChangeArrowheads="1"/>
            </p:cNvPicPr>
            <p:nvPr/>
          </p:nvPicPr>
          <p:blipFill>
            <a:blip r:embed="rId9" cstate="print">
              <a:extLst>
                <a:ext uri="{28A0092B-C50C-407E-A947-70E740481C1C}">
                  <a14:useLocalDpi xmlns:a14="http://schemas.microsoft.com/office/drawing/2010/main" val="0"/>
                </a:ext>
              </a:extLst>
            </a:blip>
            <a:stretch>
              <a:fillRect/>
            </a:stretch>
          </p:blipFill>
          <p:spPr bwMode="auto">
            <a:xfrm>
              <a:off x="11089405" y="2499513"/>
              <a:ext cx="814671" cy="566390"/>
            </a:xfrm>
            <a:prstGeom prst="rect">
              <a:avLst/>
            </a:prstGeom>
            <a:noFill/>
            <a:ln w="9525">
              <a:noFill/>
              <a:miter lim="800000"/>
              <a:headEnd/>
              <a:tailEnd/>
            </a:ln>
            <a:effectLst/>
          </p:spPr>
        </p:pic>
      </p:grpSp>
      <p:sp>
        <p:nvSpPr>
          <p:cNvPr id="34"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5"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0"/>
              </a:rPr>
              <a:t>www.rapidbbs.cn</a:t>
            </a:r>
            <a:endParaRPr lang="zh-CN" altLang="en-US" sz="1200" b="0">
              <a:latin typeface="Arial" charset="0"/>
              <a:ea typeface="ＭＳ Ｐゴシック" pitchFamily="34" charset="-128"/>
            </a:endParaRPr>
          </a:p>
        </p:txBody>
      </p:sp>
      <p:pic>
        <p:nvPicPr>
          <p:cNvPr id="36" name="Picture 2">
            <a:hlinkClick r:id="rId10"/>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16564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500"/>
                                        <p:tgtEl>
                                          <p:spTgt spid="42"/>
                                        </p:tgtEl>
                                      </p:cBhvr>
                                    </p:animEffect>
                                  </p:childTnLst>
                                </p:cTn>
                              </p:par>
                              <p:par>
                                <p:cTn id="8" presetID="9" presetClass="emph" presetSubtype="0" nodeType="withEffect">
                                  <p:stCondLst>
                                    <p:cond delay="0"/>
                                  </p:stCondLst>
                                  <p:childTnLst>
                                    <p:set>
                                      <p:cBhvr rctx="PPT">
                                        <p:cTn id="9" dur="indefinite"/>
                                        <p:tgtEl>
                                          <p:spTgt spid="42"/>
                                        </p:tgtEl>
                                        <p:attrNameLst>
                                          <p:attrName>style.opacity</p:attrName>
                                        </p:attrNameLst>
                                      </p:cBhvr>
                                      <p:to>
                                        <p:strVal val="0.5"/>
                                      </p:to>
                                    </p:set>
                                    <p:animEffect filter="image" prLst="opacity: 0.5">
                                      <p:cBhvr rctx="IE">
                                        <p:cTn id="10" dur="indefinite"/>
                                        <p:tgtEl>
                                          <p:spTgt spid="42"/>
                                        </p:tgtEl>
                                      </p:cBhvr>
                                    </p:animEffect>
                                  </p:childTnLst>
                                </p:cTn>
                              </p:par>
                              <p:par>
                                <p:cTn id="11" presetID="10" presetClass="entr" presetSubtype="0" fill="hold" nodeType="withEffect">
                                  <p:stCondLst>
                                    <p:cond delay="50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par>
                                <p:cTn id="14" presetID="10" presetClass="entr" presetSubtype="0" fill="hold" nodeType="withEffect">
                                  <p:stCondLst>
                                    <p:cond delay="500"/>
                                  </p:stCondLst>
                                  <p:childTnLst>
                                    <p:set>
                                      <p:cBhvr>
                                        <p:cTn id="15" dur="1" fill="hold">
                                          <p:stCondLst>
                                            <p:cond delay="0"/>
                                          </p:stCondLst>
                                        </p:cTn>
                                        <p:tgtEl>
                                          <p:spTgt spid="121"/>
                                        </p:tgtEl>
                                        <p:attrNameLst>
                                          <p:attrName>style.visibility</p:attrName>
                                        </p:attrNameLst>
                                      </p:cBhvr>
                                      <p:to>
                                        <p:strVal val="visible"/>
                                      </p:to>
                                    </p:set>
                                    <p:animEffect transition="in" filter="fade">
                                      <p:cBhvr>
                                        <p:cTn id="16" dur="500"/>
                                        <p:tgtEl>
                                          <p:spTgt spid="121"/>
                                        </p:tgtEl>
                                      </p:cBhvr>
                                    </p:animEffect>
                                  </p:childTnLst>
                                </p:cTn>
                              </p:par>
                              <p:par>
                                <p:cTn id="17" presetID="9" presetClass="emph" presetSubtype="0" nodeType="withEffect">
                                  <p:stCondLst>
                                    <p:cond delay="1000"/>
                                  </p:stCondLst>
                                  <p:childTnLst>
                                    <p:set>
                                      <p:cBhvr rctx="PPT">
                                        <p:cTn id="18" dur="indefinite"/>
                                        <p:tgtEl>
                                          <p:spTgt spid="46"/>
                                        </p:tgtEl>
                                        <p:attrNameLst>
                                          <p:attrName>style.opacity</p:attrName>
                                        </p:attrNameLst>
                                      </p:cBhvr>
                                      <p:to>
                                        <p:strVal val="0.5"/>
                                      </p:to>
                                    </p:set>
                                    <p:animEffect filter="image" prLst="opacity: 0.5">
                                      <p:cBhvr rctx="IE">
                                        <p:cTn id="19" dur="indefinite"/>
                                        <p:tgtEl>
                                          <p:spTgt spid="46"/>
                                        </p:tgtEl>
                                      </p:cBhvr>
                                    </p:animEffect>
                                  </p:childTnLst>
                                </p:cTn>
                              </p:par>
                              <p:par>
                                <p:cTn id="20" presetID="9" presetClass="emph" presetSubtype="0" nodeType="withEffect">
                                  <p:stCondLst>
                                    <p:cond delay="1000"/>
                                  </p:stCondLst>
                                  <p:childTnLst>
                                    <p:set>
                                      <p:cBhvr rctx="PPT">
                                        <p:cTn id="21" dur="indefinite"/>
                                        <p:tgtEl>
                                          <p:spTgt spid="121"/>
                                        </p:tgtEl>
                                        <p:attrNameLst>
                                          <p:attrName>style.opacity</p:attrName>
                                        </p:attrNameLst>
                                      </p:cBhvr>
                                      <p:to>
                                        <p:strVal val="0.5"/>
                                      </p:to>
                                    </p:set>
                                    <p:animEffect filter="image" prLst="opacity: 0.5">
                                      <p:cBhvr rctx="IE">
                                        <p:cTn id="22" dur="indefinite"/>
                                        <p:tgtEl>
                                          <p:spTgt spid="121"/>
                                        </p:tgtEl>
                                      </p:cBhvr>
                                    </p:animEffect>
                                  </p:childTnLst>
                                </p:cTn>
                              </p:par>
                              <p:par>
                                <p:cTn id="23" presetID="10" presetClass="entr" presetSubtype="0" fill="hold" nodeType="withEffect">
                                  <p:stCondLst>
                                    <p:cond delay="500"/>
                                  </p:stCondLst>
                                  <p:childTnLst>
                                    <p:set>
                                      <p:cBhvr>
                                        <p:cTn id="24" dur="1" fill="hold">
                                          <p:stCondLst>
                                            <p:cond delay="0"/>
                                          </p:stCondLst>
                                        </p:cTn>
                                        <p:tgtEl>
                                          <p:spTgt spid="60"/>
                                        </p:tgtEl>
                                        <p:attrNameLst>
                                          <p:attrName>style.visibility</p:attrName>
                                        </p:attrNameLst>
                                      </p:cBhvr>
                                      <p:to>
                                        <p:strVal val="visible"/>
                                      </p:to>
                                    </p:set>
                                    <p:animEffect transition="in" filter="fade">
                                      <p:cBhvr>
                                        <p:cTn id="25" dur="500"/>
                                        <p:tgtEl>
                                          <p:spTgt spid="60"/>
                                        </p:tgtEl>
                                      </p:cBhvr>
                                    </p:animEffect>
                                  </p:childTnLst>
                                </p:cTn>
                              </p:par>
                              <p:par>
                                <p:cTn id="26" presetID="10" presetClass="entr" presetSubtype="0" fill="hold" nodeType="withEffect">
                                  <p:stCondLst>
                                    <p:cond delay="500"/>
                                  </p:stCondLst>
                                  <p:childTnLst>
                                    <p:set>
                                      <p:cBhvr>
                                        <p:cTn id="27" dur="1" fill="hold">
                                          <p:stCondLst>
                                            <p:cond delay="0"/>
                                          </p:stCondLst>
                                        </p:cTn>
                                        <p:tgtEl>
                                          <p:spTgt spid="123"/>
                                        </p:tgtEl>
                                        <p:attrNameLst>
                                          <p:attrName>style.visibility</p:attrName>
                                        </p:attrNameLst>
                                      </p:cBhvr>
                                      <p:to>
                                        <p:strVal val="visible"/>
                                      </p:to>
                                    </p:set>
                                    <p:animEffect transition="in" filter="fade">
                                      <p:cBhvr>
                                        <p:cTn id="28" dur="500"/>
                                        <p:tgtEl>
                                          <p:spTgt spid="123"/>
                                        </p:tgtEl>
                                      </p:cBhvr>
                                    </p:animEffect>
                                  </p:childTnLst>
                                </p:cTn>
                              </p:par>
                              <p:par>
                                <p:cTn id="29" presetID="9" presetClass="emph" presetSubtype="0" nodeType="withEffect">
                                  <p:stCondLst>
                                    <p:cond delay="0"/>
                                  </p:stCondLst>
                                  <p:childTnLst>
                                    <p:set>
                                      <p:cBhvr rctx="PPT">
                                        <p:cTn id="30" dur="indefinite"/>
                                        <p:tgtEl>
                                          <p:spTgt spid="60"/>
                                        </p:tgtEl>
                                        <p:attrNameLst>
                                          <p:attrName>style.opacity</p:attrName>
                                        </p:attrNameLst>
                                      </p:cBhvr>
                                      <p:to>
                                        <p:strVal val="0.5"/>
                                      </p:to>
                                    </p:set>
                                    <p:animEffect filter="image" prLst="opacity: 0.5">
                                      <p:cBhvr rctx="IE">
                                        <p:cTn id="31" dur="indefinite"/>
                                        <p:tgtEl>
                                          <p:spTgt spid="60"/>
                                        </p:tgtEl>
                                      </p:cBhvr>
                                    </p:animEffect>
                                  </p:childTnLst>
                                </p:cTn>
                              </p:par>
                              <p:par>
                                <p:cTn id="32" presetID="9" presetClass="emph" presetSubtype="0" nodeType="withEffect">
                                  <p:stCondLst>
                                    <p:cond delay="0"/>
                                  </p:stCondLst>
                                  <p:childTnLst>
                                    <p:set>
                                      <p:cBhvr rctx="PPT">
                                        <p:cTn id="33" dur="indefinite"/>
                                        <p:tgtEl>
                                          <p:spTgt spid="123"/>
                                        </p:tgtEl>
                                        <p:attrNameLst>
                                          <p:attrName>style.opacity</p:attrName>
                                        </p:attrNameLst>
                                      </p:cBhvr>
                                      <p:to>
                                        <p:strVal val="0.5"/>
                                      </p:to>
                                    </p:set>
                                    <p:animEffect filter="image" prLst="opacity: 0.5">
                                      <p:cBhvr rctx="IE">
                                        <p:cTn id="34" dur="indefinite"/>
                                        <p:tgtEl>
                                          <p:spTgt spid="123"/>
                                        </p:tgtEl>
                                      </p:cBhvr>
                                    </p:animEffect>
                                  </p:childTnLst>
                                </p:cTn>
                              </p:par>
                              <p:par>
                                <p:cTn id="35" presetID="10" presetClass="entr" presetSubtype="0" fill="hold" nodeType="withEffect">
                                  <p:stCondLst>
                                    <p:cond delay="500"/>
                                  </p:stCondLst>
                                  <p:childTnLst>
                                    <p:set>
                                      <p:cBhvr>
                                        <p:cTn id="36" dur="1" fill="hold">
                                          <p:stCondLst>
                                            <p:cond delay="0"/>
                                          </p:stCondLst>
                                        </p:cTn>
                                        <p:tgtEl>
                                          <p:spTgt spid="124"/>
                                        </p:tgtEl>
                                        <p:attrNameLst>
                                          <p:attrName>style.visibility</p:attrName>
                                        </p:attrNameLst>
                                      </p:cBhvr>
                                      <p:to>
                                        <p:strVal val="visible"/>
                                      </p:to>
                                    </p:set>
                                    <p:animEffect transition="in" filter="fade">
                                      <p:cBhvr>
                                        <p:cTn id="37" dur="500"/>
                                        <p:tgtEl>
                                          <p:spTgt spid="124"/>
                                        </p:tgtEl>
                                      </p:cBhvr>
                                    </p:animEffect>
                                  </p:childTnLst>
                                </p:cTn>
                              </p:par>
                              <p:par>
                                <p:cTn id="38" presetID="10" presetClass="entr" presetSubtype="0" fill="hold" nodeType="withEffect">
                                  <p:stCondLst>
                                    <p:cond delay="500"/>
                                  </p:stCondLst>
                                  <p:childTnLst>
                                    <p:set>
                                      <p:cBhvr>
                                        <p:cTn id="39" dur="1" fill="hold">
                                          <p:stCondLst>
                                            <p:cond delay="0"/>
                                          </p:stCondLst>
                                        </p:cTn>
                                        <p:tgtEl>
                                          <p:spTgt spid="75"/>
                                        </p:tgtEl>
                                        <p:attrNameLst>
                                          <p:attrName>style.visibility</p:attrName>
                                        </p:attrNameLst>
                                      </p:cBhvr>
                                      <p:to>
                                        <p:strVal val="visible"/>
                                      </p:to>
                                    </p:set>
                                    <p:animEffect transition="in" filter="fade">
                                      <p:cBhvr>
                                        <p:cTn id="40" dur="500"/>
                                        <p:tgtEl>
                                          <p:spTgt spid="75"/>
                                        </p:tgtEl>
                                      </p:cBhvr>
                                    </p:animEffect>
                                  </p:childTnLst>
                                </p:cTn>
                              </p:par>
                              <p:par>
                                <p:cTn id="41" presetID="10" presetClass="entr" presetSubtype="0" fill="hold" nodeType="withEffect">
                                  <p:stCondLst>
                                    <p:cond delay="500"/>
                                  </p:stCondLst>
                                  <p:childTnLst>
                                    <p:set>
                                      <p:cBhvr>
                                        <p:cTn id="42" dur="1" fill="hold">
                                          <p:stCondLst>
                                            <p:cond delay="0"/>
                                          </p:stCondLst>
                                        </p:cTn>
                                        <p:tgtEl>
                                          <p:spTgt spid="66"/>
                                        </p:tgtEl>
                                        <p:attrNameLst>
                                          <p:attrName>style.visibility</p:attrName>
                                        </p:attrNameLst>
                                      </p:cBhvr>
                                      <p:to>
                                        <p:strVal val="visible"/>
                                      </p:to>
                                    </p:set>
                                    <p:animEffect transition="in" filter="fade">
                                      <p:cBhvr>
                                        <p:cTn id="43" dur="500"/>
                                        <p:tgtEl>
                                          <p:spTgt spid="66"/>
                                        </p:tgtEl>
                                      </p:cBhvr>
                                    </p:animEffect>
                                  </p:childTnLst>
                                </p:cTn>
                              </p:par>
                              <p:par>
                                <p:cTn id="44" presetID="10" presetClass="exit" presetSubtype="0" fill="hold" nodeType="withEffect">
                                  <p:stCondLst>
                                    <p:cond delay="500"/>
                                  </p:stCondLst>
                                  <p:childTnLst>
                                    <p:animEffect transition="out" filter="fade">
                                      <p:cBhvr>
                                        <p:cTn id="45" dur="500"/>
                                        <p:tgtEl>
                                          <p:spTgt spid="42"/>
                                        </p:tgtEl>
                                      </p:cBhvr>
                                    </p:animEffect>
                                    <p:set>
                                      <p:cBhvr>
                                        <p:cTn id="46" dur="1" fill="hold">
                                          <p:stCondLst>
                                            <p:cond delay="499"/>
                                          </p:stCondLst>
                                        </p:cTn>
                                        <p:tgtEl>
                                          <p:spTgt spid="42"/>
                                        </p:tgtEl>
                                        <p:attrNameLst>
                                          <p:attrName>style.visibility</p:attrName>
                                        </p:attrNameLst>
                                      </p:cBhvr>
                                      <p:to>
                                        <p:strVal val="hidden"/>
                                      </p:to>
                                    </p:set>
                                  </p:childTnLst>
                                </p:cTn>
                              </p:par>
                              <p:par>
                                <p:cTn id="47" presetID="10" presetClass="entr" presetSubtype="0" fill="hold" nodeType="withEffect">
                                  <p:stCondLst>
                                    <p:cond delay="500"/>
                                  </p:stCondLst>
                                  <p:childTnLst>
                                    <p:set>
                                      <p:cBhvr>
                                        <p:cTn id="48" dur="1" fill="hold">
                                          <p:stCondLst>
                                            <p:cond delay="0"/>
                                          </p:stCondLst>
                                        </p:cTn>
                                        <p:tgtEl>
                                          <p:spTgt spid="69"/>
                                        </p:tgtEl>
                                        <p:attrNameLst>
                                          <p:attrName>style.visibility</p:attrName>
                                        </p:attrNameLst>
                                      </p:cBhvr>
                                      <p:to>
                                        <p:strVal val="visible"/>
                                      </p:to>
                                    </p:set>
                                    <p:animEffect transition="in" filter="fade">
                                      <p:cBhvr>
                                        <p:cTn id="49" dur="500"/>
                                        <p:tgtEl>
                                          <p:spTgt spid="69"/>
                                        </p:tgtEl>
                                      </p:cBhvr>
                                    </p:animEffect>
                                  </p:childTnLst>
                                </p:cTn>
                              </p:par>
                              <p:par>
                                <p:cTn id="50" presetID="10" presetClass="exit" presetSubtype="0" fill="hold" nodeType="withEffect">
                                  <p:stCondLst>
                                    <p:cond delay="500"/>
                                  </p:stCondLst>
                                  <p:childTnLst>
                                    <p:animEffect transition="out" filter="fade">
                                      <p:cBhvr>
                                        <p:cTn id="51" dur="500"/>
                                        <p:tgtEl>
                                          <p:spTgt spid="46"/>
                                        </p:tgtEl>
                                      </p:cBhvr>
                                    </p:animEffect>
                                    <p:set>
                                      <p:cBhvr>
                                        <p:cTn id="52" dur="1" fill="hold">
                                          <p:stCondLst>
                                            <p:cond delay="499"/>
                                          </p:stCondLst>
                                        </p:cTn>
                                        <p:tgtEl>
                                          <p:spTgt spid="46"/>
                                        </p:tgtEl>
                                        <p:attrNameLst>
                                          <p:attrName>style.visibility</p:attrName>
                                        </p:attrNameLst>
                                      </p:cBhvr>
                                      <p:to>
                                        <p:strVal val="hidden"/>
                                      </p:to>
                                    </p:set>
                                  </p:childTnLst>
                                </p:cTn>
                              </p:par>
                              <p:par>
                                <p:cTn id="53" presetID="10" presetClass="entr" presetSubtype="0" fill="hold" nodeType="withEffect">
                                  <p:stCondLst>
                                    <p:cond delay="500"/>
                                  </p:stCondLst>
                                  <p:childTnLst>
                                    <p:set>
                                      <p:cBhvr>
                                        <p:cTn id="54" dur="1" fill="hold">
                                          <p:stCondLst>
                                            <p:cond delay="0"/>
                                          </p:stCondLst>
                                        </p:cTn>
                                        <p:tgtEl>
                                          <p:spTgt spid="72"/>
                                        </p:tgtEl>
                                        <p:attrNameLst>
                                          <p:attrName>style.visibility</p:attrName>
                                        </p:attrNameLst>
                                      </p:cBhvr>
                                      <p:to>
                                        <p:strVal val="visible"/>
                                      </p:to>
                                    </p:set>
                                    <p:animEffect transition="in" filter="fade">
                                      <p:cBhvr>
                                        <p:cTn id="55" dur="500"/>
                                        <p:tgtEl>
                                          <p:spTgt spid="72"/>
                                        </p:tgtEl>
                                      </p:cBhvr>
                                    </p:animEffect>
                                  </p:childTnLst>
                                </p:cTn>
                              </p:par>
                              <p:par>
                                <p:cTn id="56" presetID="10" presetClass="exit" presetSubtype="0" fill="hold" nodeType="withEffect">
                                  <p:stCondLst>
                                    <p:cond delay="500"/>
                                  </p:stCondLst>
                                  <p:childTnLst>
                                    <p:animEffect transition="out" filter="fade">
                                      <p:cBhvr>
                                        <p:cTn id="57" dur="500"/>
                                        <p:tgtEl>
                                          <p:spTgt spid="60"/>
                                        </p:tgtEl>
                                      </p:cBhvr>
                                    </p:animEffect>
                                    <p:set>
                                      <p:cBhvr>
                                        <p:cTn id="58" dur="1" fill="hold">
                                          <p:stCondLst>
                                            <p:cond delay="499"/>
                                          </p:stCondLst>
                                        </p:cTn>
                                        <p:tgtEl>
                                          <p:spTgt spid="60"/>
                                        </p:tgtEl>
                                        <p:attrNameLst>
                                          <p:attrName>style.visibility</p:attrName>
                                        </p:attrNameLst>
                                      </p:cBhvr>
                                      <p:to>
                                        <p:strVal val="hidden"/>
                                      </p:to>
                                    </p:set>
                                  </p:childTnLst>
                                </p:cTn>
                              </p:par>
                              <p:par>
                                <p:cTn id="59" presetID="10" presetClass="entr" presetSubtype="0" fill="hold" nodeType="withEffect">
                                  <p:stCondLst>
                                    <p:cond delay="500"/>
                                  </p:stCondLst>
                                  <p:childTnLst>
                                    <p:set>
                                      <p:cBhvr>
                                        <p:cTn id="60" dur="1" fill="hold">
                                          <p:stCondLst>
                                            <p:cond delay="0"/>
                                          </p:stCondLst>
                                        </p:cTn>
                                        <p:tgtEl>
                                          <p:spTgt spid="78"/>
                                        </p:tgtEl>
                                        <p:attrNameLst>
                                          <p:attrName>style.visibility</p:attrName>
                                        </p:attrNameLst>
                                      </p:cBhvr>
                                      <p:to>
                                        <p:strVal val="visible"/>
                                      </p:to>
                                    </p:set>
                                    <p:animEffect transition="in" filter="fade">
                                      <p:cBhvr>
                                        <p:cTn id="61" dur="500"/>
                                        <p:tgtEl>
                                          <p:spTgt spid="78"/>
                                        </p:tgtEl>
                                      </p:cBhvr>
                                    </p:animEffect>
                                  </p:childTnLst>
                                </p:cTn>
                              </p:par>
                              <p:par>
                                <p:cTn id="62" presetID="10" presetClass="exit" presetSubtype="0" fill="hold" nodeType="withEffect">
                                  <p:stCondLst>
                                    <p:cond delay="500"/>
                                  </p:stCondLst>
                                  <p:childTnLst>
                                    <p:animEffect transition="out" filter="fade">
                                      <p:cBhvr>
                                        <p:cTn id="63" dur="500"/>
                                        <p:tgtEl>
                                          <p:spTgt spid="121"/>
                                        </p:tgtEl>
                                      </p:cBhvr>
                                    </p:animEffect>
                                    <p:set>
                                      <p:cBhvr>
                                        <p:cTn id="64" dur="1" fill="hold">
                                          <p:stCondLst>
                                            <p:cond delay="499"/>
                                          </p:stCondLst>
                                        </p:cTn>
                                        <p:tgtEl>
                                          <p:spTgt spid="121"/>
                                        </p:tgtEl>
                                        <p:attrNameLst>
                                          <p:attrName>style.visibility</p:attrName>
                                        </p:attrNameLst>
                                      </p:cBhvr>
                                      <p:to>
                                        <p:strVal val="hidden"/>
                                      </p:to>
                                    </p:set>
                                  </p:childTnLst>
                                </p:cTn>
                              </p:par>
                              <p:par>
                                <p:cTn id="65" presetID="10" presetClass="entr" presetSubtype="0" fill="hold" nodeType="withEffect">
                                  <p:stCondLst>
                                    <p:cond delay="500"/>
                                  </p:stCondLst>
                                  <p:childTnLst>
                                    <p:set>
                                      <p:cBhvr>
                                        <p:cTn id="66" dur="1" fill="hold">
                                          <p:stCondLst>
                                            <p:cond delay="0"/>
                                          </p:stCondLst>
                                        </p:cTn>
                                        <p:tgtEl>
                                          <p:spTgt spid="79"/>
                                        </p:tgtEl>
                                        <p:attrNameLst>
                                          <p:attrName>style.visibility</p:attrName>
                                        </p:attrNameLst>
                                      </p:cBhvr>
                                      <p:to>
                                        <p:strVal val="visible"/>
                                      </p:to>
                                    </p:set>
                                    <p:animEffect transition="in" filter="fade">
                                      <p:cBhvr>
                                        <p:cTn id="67" dur="500"/>
                                        <p:tgtEl>
                                          <p:spTgt spid="79"/>
                                        </p:tgtEl>
                                      </p:cBhvr>
                                    </p:animEffect>
                                  </p:childTnLst>
                                </p:cTn>
                              </p:par>
                              <p:par>
                                <p:cTn id="68" presetID="10" presetClass="exit" presetSubtype="0" fill="hold" nodeType="withEffect">
                                  <p:stCondLst>
                                    <p:cond delay="500"/>
                                  </p:stCondLst>
                                  <p:childTnLst>
                                    <p:animEffect transition="out" filter="fade">
                                      <p:cBhvr>
                                        <p:cTn id="69" dur="500"/>
                                        <p:tgtEl>
                                          <p:spTgt spid="123"/>
                                        </p:tgtEl>
                                      </p:cBhvr>
                                    </p:animEffect>
                                    <p:set>
                                      <p:cBhvr>
                                        <p:cTn id="70" dur="1" fill="hold">
                                          <p:stCondLst>
                                            <p:cond delay="499"/>
                                          </p:stCondLst>
                                        </p:cTn>
                                        <p:tgtEl>
                                          <p:spTgt spid="123"/>
                                        </p:tgtEl>
                                        <p:attrNameLst>
                                          <p:attrName>style.visibility</p:attrName>
                                        </p:attrNameLst>
                                      </p:cBhvr>
                                      <p:to>
                                        <p:strVal val="hidden"/>
                                      </p:to>
                                    </p:set>
                                  </p:childTnLst>
                                </p:cTn>
                              </p:par>
                            </p:childTnLst>
                          </p:cTn>
                        </p:par>
                      </p:childTnLst>
                    </p:cTn>
                  </p:par>
                  <p:par>
                    <p:cTn id="71" fill="hold">
                      <p:stCondLst>
                        <p:cond delay="indefinite"/>
                      </p:stCondLst>
                      <p:childTnLst>
                        <p:par>
                          <p:cTn id="72" fill="hold">
                            <p:stCondLst>
                              <p:cond delay="0"/>
                            </p:stCondLst>
                            <p:childTnLst>
                              <p:par>
                                <p:cTn id="73" presetID="10" presetClass="exit" presetSubtype="0" fill="hold" nodeType="clickEffect">
                                  <p:stCondLst>
                                    <p:cond delay="0"/>
                                  </p:stCondLst>
                                  <p:childTnLst>
                                    <p:animEffect transition="out" filter="fade">
                                      <p:cBhvr>
                                        <p:cTn id="74" dur="500"/>
                                        <p:tgtEl>
                                          <p:spTgt spid="66"/>
                                        </p:tgtEl>
                                      </p:cBhvr>
                                    </p:animEffect>
                                    <p:set>
                                      <p:cBhvr>
                                        <p:cTn id="75" dur="1" fill="hold">
                                          <p:stCondLst>
                                            <p:cond delay="499"/>
                                          </p:stCondLst>
                                        </p:cTn>
                                        <p:tgtEl>
                                          <p:spTgt spid="66"/>
                                        </p:tgtEl>
                                        <p:attrNameLst>
                                          <p:attrName>style.visibility</p:attrName>
                                        </p:attrNameLst>
                                      </p:cBhvr>
                                      <p:to>
                                        <p:strVal val="hidden"/>
                                      </p:to>
                                    </p:set>
                                  </p:childTnLst>
                                </p:cTn>
                              </p:par>
                              <p:par>
                                <p:cTn id="76" presetID="10" presetClass="exit" presetSubtype="0" fill="hold" nodeType="withEffect">
                                  <p:stCondLst>
                                    <p:cond delay="0"/>
                                  </p:stCondLst>
                                  <p:childTnLst>
                                    <p:animEffect transition="out" filter="fade">
                                      <p:cBhvr>
                                        <p:cTn id="77" dur="500"/>
                                        <p:tgtEl>
                                          <p:spTgt spid="69"/>
                                        </p:tgtEl>
                                      </p:cBhvr>
                                    </p:animEffect>
                                    <p:set>
                                      <p:cBhvr>
                                        <p:cTn id="78" dur="1" fill="hold">
                                          <p:stCondLst>
                                            <p:cond delay="499"/>
                                          </p:stCondLst>
                                        </p:cTn>
                                        <p:tgtEl>
                                          <p:spTgt spid="69"/>
                                        </p:tgtEl>
                                        <p:attrNameLst>
                                          <p:attrName>style.visibility</p:attrName>
                                        </p:attrNameLst>
                                      </p:cBhvr>
                                      <p:to>
                                        <p:strVal val="hidden"/>
                                      </p:to>
                                    </p:set>
                                  </p:childTnLst>
                                </p:cTn>
                              </p:par>
                              <p:par>
                                <p:cTn id="79" presetID="10" presetClass="exit" presetSubtype="0" fill="hold" nodeType="withEffect">
                                  <p:stCondLst>
                                    <p:cond delay="0"/>
                                  </p:stCondLst>
                                  <p:childTnLst>
                                    <p:animEffect transition="out" filter="fade">
                                      <p:cBhvr>
                                        <p:cTn id="80" dur="500"/>
                                        <p:tgtEl>
                                          <p:spTgt spid="72"/>
                                        </p:tgtEl>
                                      </p:cBhvr>
                                    </p:animEffect>
                                    <p:set>
                                      <p:cBhvr>
                                        <p:cTn id="81" dur="1" fill="hold">
                                          <p:stCondLst>
                                            <p:cond delay="499"/>
                                          </p:stCondLst>
                                        </p:cTn>
                                        <p:tgtEl>
                                          <p:spTgt spid="72"/>
                                        </p:tgtEl>
                                        <p:attrNameLst>
                                          <p:attrName>style.visibility</p:attrName>
                                        </p:attrNameLst>
                                      </p:cBhvr>
                                      <p:to>
                                        <p:strVal val="hidden"/>
                                      </p:to>
                                    </p:set>
                                  </p:childTnLst>
                                </p:cTn>
                              </p:par>
                              <p:par>
                                <p:cTn id="82" presetID="10" presetClass="exit" presetSubtype="0" fill="hold" nodeType="withEffect">
                                  <p:stCondLst>
                                    <p:cond delay="0"/>
                                  </p:stCondLst>
                                  <p:childTnLst>
                                    <p:animEffect transition="out" filter="fade">
                                      <p:cBhvr>
                                        <p:cTn id="83" dur="500"/>
                                        <p:tgtEl>
                                          <p:spTgt spid="75"/>
                                        </p:tgtEl>
                                      </p:cBhvr>
                                    </p:animEffect>
                                    <p:set>
                                      <p:cBhvr>
                                        <p:cTn id="84" dur="1" fill="hold">
                                          <p:stCondLst>
                                            <p:cond delay="499"/>
                                          </p:stCondLst>
                                        </p:cTn>
                                        <p:tgtEl>
                                          <p:spTgt spid="7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ight Arrow 57"/>
          <p:cNvSpPr>
            <a:spLocks noChangeArrowheads="1"/>
          </p:cNvSpPr>
          <p:nvPr/>
        </p:nvSpPr>
        <p:spPr bwMode="auto">
          <a:xfrm rot="10800000" flipH="1">
            <a:off x="2336854" y="2093120"/>
            <a:ext cx="1404113" cy="1278731"/>
          </a:xfrm>
          <a:prstGeom prst="rightArrow">
            <a:avLst>
              <a:gd name="adj1" fmla="val 50000"/>
              <a:gd name="adj2" fmla="val 59358"/>
            </a:avLst>
          </a:prstGeom>
          <a:ln>
            <a:headEnd/>
            <a:tailEnd/>
          </a:ln>
        </p:spPr>
        <p:style>
          <a:lnRef idx="1">
            <a:schemeClr val="accent1"/>
          </a:lnRef>
          <a:fillRef idx="3">
            <a:schemeClr val="accent1"/>
          </a:fillRef>
          <a:effectRef idx="2">
            <a:schemeClr val="accent1"/>
          </a:effectRef>
          <a:fontRef idx="minor">
            <a:schemeClr val="lt1"/>
          </a:fontRef>
        </p:style>
        <p:txBody>
          <a:bodyPr rot="10800000" lIns="82383" tIns="0" rIns="0" bIns="41190" anchor="ctr"/>
          <a:lstStyle/>
          <a:p>
            <a:pPr defTabSz="822797">
              <a:defRPr/>
            </a:pPr>
            <a:endParaRPr lang="en-US" sz="1200" b="1">
              <a:solidFill>
                <a:prstClr val="black"/>
              </a:solidFill>
            </a:endParaRPr>
          </a:p>
        </p:txBody>
      </p:sp>
      <p:sp>
        <p:nvSpPr>
          <p:cNvPr id="125954" name="AutoShape 2"/>
          <p:cNvSpPr>
            <a:spLocks noChangeArrowheads="1"/>
          </p:cNvSpPr>
          <p:nvPr/>
        </p:nvSpPr>
        <p:spPr bwMode="auto">
          <a:xfrm rot="-5400000">
            <a:off x="14484" y="2129556"/>
            <a:ext cx="3771900" cy="1341587"/>
          </a:xfrm>
          <a:custGeom>
            <a:avLst/>
            <a:gdLst>
              <a:gd name="T0" fmla="*/ 4693469 w 21600"/>
              <a:gd name="T1" fmla="*/ 800894 h 21600"/>
              <a:gd name="T2" fmla="*/ 2438400 w 21600"/>
              <a:gd name="T3" fmla="*/ 1601787 h 21600"/>
              <a:gd name="T4" fmla="*/ 183332 w 21600"/>
              <a:gd name="T5" fmla="*/ 800894 h 21600"/>
              <a:gd name="T6" fmla="*/ 2438400 w 21600"/>
              <a:gd name="T7" fmla="*/ 0 h 21600"/>
              <a:gd name="T8" fmla="*/ 0 60000 65536"/>
              <a:gd name="T9" fmla="*/ 0 60000 65536"/>
              <a:gd name="T10" fmla="*/ 0 60000 65536"/>
              <a:gd name="T11" fmla="*/ 0 60000 65536"/>
              <a:gd name="T12" fmla="*/ 2612 w 21600"/>
              <a:gd name="T13" fmla="*/ 2612 h 21600"/>
              <a:gd name="T14" fmla="*/ 18988 w 21600"/>
              <a:gd name="T15" fmla="*/ 18988 h 21600"/>
            </a:gdLst>
            <a:ahLst/>
            <a:cxnLst>
              <a:cxn ang="T8">
                <a:pos x="T0" y="T1"/>
              </a:cxn>
              <a:cxn ang="T9">
                <a:pos x="T2" y="T3"/>
              </a:cxn>
              <a:cxn ang="T10">
                <a:pos x="T4" y="T5"/>
              </a:cxn>
              <a:cxn ang="T11">
                <a:pos x="T6" y="T7"/>
              </a:cxn>
            </a:cxnLst>
            <a:rect l="T12" t="T13" r="T14" b="T15"/>
            <a:pathLst>
              <a:path w="21600" h="21600">
                <a:moveTo>
                  <a:pt x="0" y="0"/>
                </a:moveTo>
                <a:lnTo>
                  <a:pt x="1624" y="21600"/>
                </a:lnTo>
                <a:lnTo>
                  <a:pt x="19976" y="21600"/>
                </a:lnTo>
                <a:lnTo>
                  <a:pt x="21600" y="0"/>
                </a:lnTo>
                <a:close/>
              </a:path>
            </a:pathLst>
          </a:custGeom>
          <a:ln>
            <a:headEnd/>
            <a:tailEnd/>
          </a:ln>
        </p:spPr>
        <p:style>
          <a:lnRef idx="1">
            <a:schemeClr val="accent1"/>
          </a:lnRef>
          <a:fillRef idx="3">
            <a:schemeClr val="accent1"/>
          </a:fillRef>
          <a:effectRef idx="2">
            <a:schemeClr val="accent1"/>
          </a:effectRef>
          <a:fontRef idx="minor">
            <a:schemeClr val="lt1"/>
          </a:fontRef>
        </p:style>
        <p:txBody>
          <a:bodyPr vert="eaVert" lIns="68586" tIns="0" rIns="68586" bIns="0" anchor="ctr"/>
          <a:lstStyle/>
          <a:p>
            <a:pPr algn="ctr"/>
            <a:endParaRPr lang="en-US" sz="1200" dirty="0">
              <a:solidFill>
                <a:srgbClr val="3DB5F1"/>
              </a:solidFill>
            </a:endParaRPr>
          </a:p>
          <a:p>
            <a:pPr algn="ctr"/>
            <a:endParaRPr lang="en-US" sz="1200" dirty="0">
              <a:solidFill>
                <a:srgbClr val="3DB5F1"/>
              </a:solidFill>
            </a:endParaRPr>
          </a:p>
          <a:p>
            <a:pPr algn="ctr"/>
            <a:r>
              <a:rPr lang="en-US" sz="1200" dirty="0">
                <a:solidFill>
                  <a:schemeClr val="tx1"/>
                </a:solidFill>
              </a:rPr>
              <a:t>Self Service</a:t>
            </a:r>
          </a:p>
        </p:txBody>
      </p:sp>
      <p:sp>
        <p:nvSpPr>
          <p:cNvPr id="125955" name="AutoShape 3"/>
          <p:cNvSpPr>
            <a:spLocks noChangeArrowheads="1"/>
          </p:cNvSpPr>
          <p:nvPr/>
        </p:nvSpPr>
        <p:spPr bwMode="auto">
          <a:xfrm rot="-5400000">
            <a:off x="2543139" y="2085802"/>
            <a:ext cx="3771900" cy="1314794"/>
          </a:xfrm>
          <a:custGeom>
            <a:avLst/>
            <a:gdLst>
              <a:gd name="T0" fmla="*/ 4693469 w 21600"/>
              <a:gd name="T1" fmla="*/ 800100 h 21600"/>
              <a:gd name="T2" fmla="*/ 2438400 w 21600"/>
              <a:gd name="T3" fmla="*/ 1600200 h 21600"/>
              <a:gd name="T4" fmla="*/ 183332 w 21600"/>
              <a:gd name="T5" fmla="*/ 800100 h 21600"/>
              <a:gd name="T6" fmla="*/ 2438400 w 21600"/>
              <a:gd name="T7" fmla="*/ 0 h 21600"/>
              <a:gd name="T8" fmla="*/ 0 60000 65536"/>
              <a:gd name="T9" fmla="*/ 0 60000 65536"/>
              <a:gd name="T10" fmla="*/ 0 60000 65536"/>
              <a:gd name="T11" fmla="*/ 0 60000 65536"/>
              <a:gd name="T12" fmla="*/ 2612 w 21600"/>
              <a:gd name="T13" fmla="*/ 2612 h 21600"/>
              <a:gd name="T14" fmla="*/ 18988 w 21600"/>
              <a:gd name="T15" fmla="*/ 18988 h 21600"/>
            </a:gdLst>
            <a:ahLst/>
            <a:cxnLst>
              <a:cxn ang="T8">
                <a:pos x="T0" y="T1"/>
              </a:cxn>
              <a:cxn ang="T9">
                <a:pos x="T2" y="T3"/>
              </a:cxn>
              <a:cxn ang="T10">
                <a:pos x="T4" y="T5"/>
              </a:cxn>
              <a:cxn ang="T11">
                <a:pos x="T6" y="T7"/>
              </a:cxn>
            </a:cxnLst>
            <a:rect l="T12" t="T13" r="T14" b="T15"/>
            <a:pathLst>
              <a:path w="21600" h="21600">
                <a:moveTo>
                  <a:pt x="0" y="0"/>
                </a:moveTo>
                <a:lnTo>
                  <a:pt x="1624" y="21600"/>
                </a:lnTo>
                <a:lnTo>
                  <a:pt x="19976" y="21600"/>
                </a:lnTo>
                <a:lnTo>
                  <a:pt x="21600" y="0"/>
                </a:lnTo>
                <a:close/>
              </a:path>
            </a:pathLst>
          </a:custGeom>
          <a:ln>
            <a:headEnd/>
            <a:tailEnd/>
          </a:ln>
        </p:spPr>
        <p:style>
          <a:lnRef idx="1">
            <a:schemeClr val="accent1"/>
          </a:lnRef>
          <a:fillRef idx="3">
            <a:schemeClr val="accent1"/>
          </a:fillRef>
          <a:effectRef idx="2">
            <a:schemeClr val="accent1"/>
          </a:effectRef>
          <a:fontRef idx="minor">
            <a:schemeClr val="lt1"/>
          </a:fontRef>
        </p:style>
        <p:txBody>
          <a:bodyPr vert="eaVert" lIns="137172" tIns="0" rIns="68586" bIns="0" anchor="ctr"/>
          <a:lstStyle/>
          <a:p>
            <a:pPr algn="ctr"/>
            <a:endParaRPr lang="en-US" sz="1200" dirty="0">
              <a:solidFill>
                <a:srgbClr val="3DB5F1"/>
              </a:solidFill>
            </a:endParaRPr>
          </a:p>
          <a:p>
            <a:pPr algn="ctr"/>
            <a:r>
              <a:rPr lang="en-US" sz="1200" dirty="0">
                <a:solidFill>
                  <a:schemeClr val="tx1"/>
                </a:solidFill>
              </a:rPr>
              <a:t>Service Delivery &amp; Automation</a:t>
            </a:r>
          </a:p>
        </p:txBody>
      </p:sp>
      <p:sp>
        <p:nvSpPr>
          <p:cNvPr id="2" name="Rectangle 1"/>
          <p:cNvSpPr/>
          <p:nvPr/>
        </p:nvSpPr>
        <p:spPr>
          <a:xfrm>
            <a:off x="3776156" y="1543051"/>
            <a:ext cx="1310330" cy="426685"/>
          </a:xfrm>
          <a:prstGeom prst="rect">
            <a:avLst/>
          </a:prstGeom>
          <a:ln/>
        </p:spPr>
        <p:style>
          <a:lnRef idx="1">
            <a:schemeClr val="accent1"/>
          </a:lnRef>
          <a:fillRef idx="3">
            <a:schemeClr val="accent1"/>
          </a:fillRef>
          <a:effectRef idx="2">
            <a:schemeClr val="accent1"/>
          </a:effectRef>
          <a:fontRef idx="minor">
            <a:schemeClr val="lt1"/>
          </a:fontRef>
        </p:style>
        <p:txBody>
          <a:bodyPr lIns="68586" tIns="34294" rIns="68586" bIns="34294" rtlCol="0" anchor="ctr"/>
          <a:lstStyle/>
          <a:p>
            <a:pPr algn="ctr"/>
            <a:endParaRPr lang="en-US"/>
          </a:p>
        </p:txBody>
      </p:sp>
      <p:sp>
        <p:nvSpPr>
          <p:cNvPr id="71" name="Rectangle 70"/>
          <p:cNvSpPr/>
          <p:nvPr/>
        </p:nvSpPr>
        <p:spPr>
          <a:xfrm>
            <a:off x="3778867" y="3485918"/>
            <a:ext cx="1307618" cy="426685"/>
          </a:xfrm>
          <a:prstGeom prst="rect">
            <a:avLst/>
          </a:prstGeom>
          <a:ln/>
        </p:spPr>
        <p:style>
          <a:lnRef idx="1">
            <a:schemeClr val="accent1"/>
          </a:lnRef>
          <a:fillRef idx="3">
            <a:schemeClr val="accent1"/>
          </a:fillRef>
          <a:effectRef idx="2">
            <a:schemeClr val="accent1"/>
          </a:effectRef>
          <a:fontRef idx="minor">
            <a:schemeClr val="lt1"/>
          </a:fontRef>
        </p:style>
        <p:txBody>
          <a:bodyPr lIns="68586" tIns="34294" rIns="68586" bIns="34294" rtlCol="0" anchor="ctr"/>
          <a:lstStyle/>
          <a:p>
            <a:pPr algn="ctr"/>
            <a:endParaRPr lang="en-US"/>
          </a:p>
        </p:txBody>
      </p:sp>
      <p:sp>
        <p:nvSpPr>
          <p:cNvPr id="72" name="Rectangle 71"/>
          <p:cNvSpPr/>
          <p:nvPr/>
        </p:nvSpPr>
        <p:spPr>
          <a:xfrm>
            <a:off x="1229641" y="3485918"/>
            <a:ext cx="1341587" cy="426685"/>
          </a:xfrm>
          <a:prstGeom prst="rect">
            <a:avLst/>
          </a:prstGeom>
          <a:ln/>
        </p:spPr>
        <p:style>
          <a:lnRef idx="1">
            <a:schemeClr val="accent1"/>
          </a:lnRef>
          <a:fillRef idx="3">
            <a:schemeClr val="accent1"/>
          </a:fillRef>
          <a:effectRef idx="2">
            <a:schemeClr val="accent1"/>
          </a:effectRef>
          <a:fontRef idx="minor">
            <a:schemeClr val="lt1"/>
          </a:fontRef>
        </p:style>
        <p:txBody>
          <a:bodyPr lIns="68586" tIns="34294" rIns="68586" bIns="34294" rtlCol="0" anchor="ctr"/>
          <a:lstStyle/>
          <a:p>
            <a:pPr algn="ctr"/>
            <a:endParaRPr lang="en-US"/>
          </a:p>
        </p:txBody>
      </p:sp>
      <p:sp>
        <p:nvSpPr>
          <p:cNvPr id="45061" name="Title 1"/>
          <p:cNvSpPr>
            <a:spLocks noGrp="1"/>
          </p:cNvSpPr>
          <p:nvPr>
            <p:ph type="title"/>
          </p:nvPr>
        </p:nvSpPr>
        <p:spPr>
          <a:xfrm>
            <a:off x="389436" y="171450"/>
            <a:ext cx="8363938" cy="415498"/>
          </a:xfrm>
        </p:spPr>
        <p:txBody>
          <a:bodyPr/>
          <a:lstStyle/>
          <a:p>
            <a:pPr eaLnBrk="1" hangingPunct="1"/>
            <a:r>
              <a:rPr lang="en-US" sz="3000" dirty="0"/>
              <a:t>System Center Helps Deliver IT as a Service</a:t>
            </a:r>
          </a:p>
        </p:txBody>
      </p:sp>
      <p:sp>
        <p:nvSpPr>
          <p:cNvPr id="64" name="Freeform 132"/>
          <p:cNvSpPr>
            <a:spLocks/>
          </p:cNvSpPr>
          <p:nvPr/>
        </p:nvSpPr>
        <p:spPr bwMode="gray">
          <a:xfrm>
            <a:off x="4021103" y="2283142"/>
            <a:ext cx="755053" cy="177404"/>
          </a:xfrm>
          <a:custGeom>
            <a:avLst/>
            <a:gdLst>
              <a:gd name="T0" fmla="*/ 2147483647 w 364"/>
              <a:gd name="T1" fmla="*/ 2147483647 h 86"/>
              <a:gd name="T2" fmla="*/ 2147483647 w 364"/>
              <a:gd name="T3" fmla="*/ 2147483647 h 86"/>
              <a:gd name="T4" fmla="*/ 2147483647 w 364"/>
              <a:gd name="T5" fmla="*/ 2147483647 h 86"/>
              <a:gd name="T6" fmla="*/ 2147483647 w 364"/>
              <a:gd name="T7" fmla="*/ 2147483647 h 86"/>
              <a:gd name="T8" fmla="*/ 2147483647 w 364"/>
              <a:gd name="T9" fmla="*/ 2147483647 h 86"/>
              <a:gd name="T10" fmla="*/ 2147483647 w 364"/>
              <a:gd name="T11" fmla="*/ 2147483647 h 86"/>
              <a:gd name="T12" fmla="*/ 2147483647 w 364"/>
              <a:gd name="T13" fmla="*/ 2147483647 h 86"/>
              <a:gd name="T14" fmla="*/ 2147483647 w 364"/>
              <a:gd name="T15" fmla="*/ 2147483647 h 86"/>
              <a:gd name="T16" fmla="*/ 2147483647 w 364"/>
              <a:gd name="T17" fmla="*/ 2147483647 h 86"/>
              <a:gd name="T18" fmla="*/ 2147483647 w 364"/>
              <a:gd name="T19" fmla="*/ 2147483647 h 86"/>
              <a:gd name="T20" fmla="*/ 2147483647 w 364"/>
              <a:gd name="T21" fmla="*/ 2147483647 h 86"/>
              <a:gd name="T22" fmla="*/ 2147483647 w 364"/>
              <a:gd name="T23" fmla="*/ 2147483647 h 86"/>
              <a:gd name="T24" fmla="*/ 2147483647 w 364"/>
              <a:gd name="T25" fmla="*/ 2147483647 h 86"/>
              <a:gd name="T26" fmla="*/ 2147483647 w 364"/>
              <a:gd name="T27" fmla="*/ 2147483647 h 86"/>
              <a:gd name="T28" fmla="*/ 0 w 364"/>
              <a:gd name="T29" fmla="*/ 2147483647 h 86"/>
              <a:gd name="T30" fmla="*/ 2147483647 w 364"/>
              <a:gd name="T31" fmla="*/ 2147483647 h 86"/>
              <a:gd name="T32" fmla="*/ 2147483647 w 364"/>
              <a:gd name="T33" fmla="*/ 2147483647 h 86"/>
              <a:gd name="T34" fmla="*/ 2147483647 w 364"/>
              <a:gd name="T35" fmla="*/ 0 h 86"/>
              <a:gd name="T36" fmla="*/ 2147483647 w 364"/>
              <a:gd name="T37" fmla="*/ 2147483647 h 86"/>
              <a:gd name="T38" fmla="*/ 2147483647 w 364"/>
              <a:gd name="T39" fmla="*/ 2147483647 h 86"/>
              <a:gd name="T40" fmla="*/ 2147483647 w 364"/>
              <a:gd name="T41" fmla="*/ 2147483647 h 86"/>
              <a:gd name="T42" fmla="*/ 2147483647 w 364"/>
              <a:gd name="T43" fmla="*/ 2147483647 h 86"/>
              <a:gd name="T44" fmla="*/ 2147483647 w 364"/>
              <a:gd name="T45" fmla="*/ 2147483647 h 86"/>
              <a:gd name="T46" fmla="*/ 2147483647 w 364"/>
              <a:gd name="T47" fmla="*/ 0 h 86"/>
              <a:gd name="T48" fmla="*/ 2147483647 w 364"/>
              <a:gd name="T49" fmla="*/ 2147483647 h 86"/>
              <a:gd name="T50" fmla="*/ 2147483647 w 364"/>
              <a:gd name="T51" fmla="*/ 2147483647 h 86"/>
              <a:gd name="T52" fmla="*/ 2147483647 w 364"/>
              <a:gd name="T53" fmla="*/ 2147483647 h 86"/>
              <a:gd name="T54" fmla="*/ 2147483647 w 364"/>
              <a:gd name="T55" fmla="*/ 2147483647 h 86"/>
              <a:gd name="T56" fmla="*/ 2147483647 w 364"/>
              <a:gd name="T57" fmla="*/ 2147483647 h 86"/>
              <a:gd name="T58" fmla="*/ 2147483647 w 364"/>
              <a:gd name="T59" fmla="*/ 2147483647 h 86"/>
              <a:gd name="T60" fmla="*/ 2147483647 w 364"/>
              <a:gd name="T61" fmla="*/ 2147483647 h 86"/>
              <a:gd name="T62" fmla="*/ 2147483647 w 364"/>
              <a:gd name="T63" fmla="*/ 2147483647 h 86"/>
              <a:gd name="T64" fmla="*/ 2147483647 w 364"/>
              <a:gd name="T65" fmla="*/ 2147483647 h 86"/>
              <a:gd name="T66" fmla="*/ 2147483647 w 364"/>
              <a:gd name="T67" fmla="*/ 2147483647 h 86"/>
              <a:gd name="T68" fmla="*/ 2147483647 w 364"/>
              <a:gd name="T69" fmla="*/ 2147483647 h 86"/>
              <a:gd name="T70" fmla="*/ 2147483647 w 364"/>
              <a:gd name="T71" fmla="*/ 2147483647 h 86"/>
              <a:gd name="T72" fmla="*/ 2147483647 w 364"/>
              <a:gd name="T73" fmla="*/ 2147483647 h 86"/>
              <a:gd name="T74" fmla="*/ 2147483647 w 364"/>
              <a:gd name="T75" fmla="*/ 2147483647 h 86"/>
              <a:gd name="T76" fmla="*/ 2147483647 w 364"/>
              <a:gd name="T77" fmla="*/ 2147483647 h 86"/>
              <a:gd name="T78" fmla="*/ 2147483647 w 364"/>
              <a:gd name="T79" fmla="*/ 2147483647 h 86"/>
              <a:gd name="T80" fmla="*/ 2147483647 w 364"/>
              <a:gd name="T81" fmla="*/ 2147483647 h 86"/>
              <a:gd name="T82" fmla="*/ 2147483647 w 364"/>
              <a:gd name="T83" fmla="*/ 2147483647 h 86"/>
              <a:gd name="T84" fmla="*/ 2147483647 w 364"/>
              <a:gd name="T85" fmla="*/ 2147483647 h 86"/>
              <a:gd name="T86" fmla="*/ 2147483647 w 364"/>
              <a:gd name="T87" fmla="*/ 2147483647 h 86"/>
              <a:gd name="T88" fmla="*/ 2147483647 w 364"/>
              <a:gd name="T89" fmla="*/ 2147483647 h 86"/>
              <a:gd name="T90" fmla="*/ 2147483647 w 364"/>
              <a:gd name="T91" fmla="*/ 2147483647 h 86"/>
              <a:gd name="T92" fmla="*/ 2147483647 w 364"/>
              <a:gd name="T93" fmla="*/ 2147483647 h 86"/>
              <a:gd name="T94" fmla="*/ 2147483647 w 364"/>
              <a:gd name="T95" fmla="*/ 2147483647 h 86"/>
              <a:gd name="T96" fmla="*/ 2147483647 w 364"/>
              <a:gd name="T97" fmla="*/ 2147483647 h 86"/>
              <a:gd name="T98" fmla="*/ 2147483647 w 364"/>
              <a:gd name="T99" fmla="*/ 2147483647 h 86"/>
              <a:gd name="T100" fmla="*/ 2147483647 w 364"/>
              <a:gd name="T101" fmla="*/ 2147483647 h 86"/>
              <a:gd name="T102" fmla="*/ 2147483647 w 364"/>
              <a:gd name="T103" fmla="*/ 2147483647 h 86"/>
              <a:gd name="T104" fmla="*/ 2147483647 w 364"/>
              <a:gd name="T105" fmla="*/ 2147483647 h 86"/>
              <a:gd name="T106" fmla="*/ 2147483647 w 364"/>
              <a:gd name="T107" fmla="*/ 2147483647 h 86"/>
              <a:gd name="T108" fmla="*/ 2147483647 w 364"/>
              <a:gd name="T109" fmla="*/ 2147483647 h 86"/>
              <a:gd name="T110" fmla="*/ 2147483647 w 364"/>
              <a:gd name="T111" fmla="*/ 2147483647 h 86"/>
              <a:gd name="T112" fmla="*/ 2147483647 w 364"/>
              <a:gd name="T113" fmla="*/ 2147483647 h 86"/>
              <a:gd name="T114" fmla="*/ 2147483647 w 364"/>
              <a:gd name="T115" fmla="*/ 2147483647 h 8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64"/>
              <a:gd name="T175" fmla="*/ 0 h 86"/>
              <a:gd name="T176" fmla="*/ 364 w 364"/>
              <a:gd name="T177" fmla="*/ 86 h 8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64" h="86">
                <a:moveTo>
                  <a:pt x="296" y="6"/>
                </a:moveTo>
                <a:lnTo>
                  <a:pt x="334" y="44"/>
                </a:lnTo>
                <a:lnTo>
                  <a:pt x="296" y="82"/>
                </a:lnTo>
                <a:lnTo>
                  <a:pt x="326" y="82"/>
                </a:lnTo>
                <a:lnTo>
                  <a:pt x="364" y="44"/>
                </a:lnTo>
                <a:lnTo>
                  <a:pt x="326" y="6"/>
                </a:lnTo>
                <a:lnTo>
                  <a:pt x="296" y="6"/>
                </a:lnTo>
                <a:lnTo>
                  <a:pt x="180" y="56"/>
                </a:lnTo>
                <a:lnTo>
                  <a:pt x="178" y="54"/>
                </a:lnTo>
                <a:lnTo>
                  <a:pt x="154" y="54"/>
                </a:lnTo>
                <a:lnTo>
                  <a:pt x="152" y="58"/>
                </a:lnTo>
                <a:lnTo>
                  <a:pt x="162" y="64"/>
                </a:lnTo>
                <a:lnTo>
                  <a:pt x="158" y="70"/>
                </a:lnTo>
                <a:lnTo>
                  <a:pt x="148" y="64"/>
                </a:lnTo>
                <a:lnTo>
                  <a:pt x="138" y="70"/>
                </a:lnTo>
                <a:lnTo>
                  <a:pt x="128" y="74"/>
                </a:lnTo>
                <a:lnTo>
                  <a:pt x="128" y="86"/>
                </a:lnTo>
                <a:lnTo>
                  <a:pt x="120" y="86"/>
                </a:lnTo>
                <a:lnTo>
                  <a:pt x="120" y="74"/>
                </a:lnTo>
                <a:lnTo>
                  <a:pt x="114" y="72"/>
                </a:lnTo>
                <a:lnTo>
                  <a:pt x="108" y="70"/>
                </a:lnTo>
                <a:lnTo>
                  <a:pt x="100" y="76"/>
                </a:lnTo>
                <a:lnTo>
                  <a:pt x="96" y="72"/>
                </a:lnTo>
                <a:lnTo>
                  <a:pt x="102" y="64"/>
                </a:lnTo>
                <a:lnTo>
                  <a:pt x="96" y="56"/>
                </a:lnTo>
                <a:lnTo>
                  <a:pt x="96" y="54"/>
                </a:lnTo>
                <a:lnTo>
                  <a:pt x="70" y="54"/>
                </a:lnTo>
                <a:lnTo>
                  <a:pt x="68" y="58"/>
                </a:lnTo>
                <a:lnTo>
                  <a:pt x="78" y="64"/>
                </a:lnTo>
                <a:lnTo>
                  <a:pt x="74" y="70"/>
                </a:lnTo>
                <a:lnTo>
                  <a:pt x="64" y="64"/>
                </a:lnTo>
                <a:lnTo>
                  <a:pt x="56" y="70"/>
                </a:lnTo>
                <a:lnTo>
                  <a:pt x="46" y="74"/>
                </a:lnTo>
                <a:lnTo>
                  <a:pt x="44" y="86"/>
                </a:lnTo>
                <a:lnTo>
                  <a:pt x="36" y="86"/>
                </a:lnTo>
                <a:lnTo>
                  <a:pt x="36" y="74"/>
                </a:lnTo>
                <a:lnTo>
                  <a:pt x="30" y="72"/>
                </a:lnTo>
                <a:lnTo>
                  <a:pt x="24" y="70"/>
                </a:lnTo>
                <a:lnTo>
                  <a:pt x="16" y="76"/>
                </a:lnTo>
                <a:lnTo>
                  <a:pt x="12" y="72"/>
                </a:lnTo>
                <a:lnTo>
                  <a:pt x="18" y="64"/>
                </a:lnTo>
                <a:lnTo>
                  <a:pt x="14" y="56"/>
                </a:lnTo>
                <a:lnTo>
                  <a:pt x="10" y="50"/>
                </a:lnTo>
                <a:lnTo>
                  <a:pt x="0" y="50"/>
                </a:lnTo>
                <a:lnTo>
                  <a:pt x="0" y="42"/>
                </a:lnTo>
                <a:lnTo>
                  <a:pt x="10" y="40"/>
                </a:lnTo>
                <a:lnTo>
                  <a:pt x="10" y="34"/>
                </a:lnTo>
                <a:lnTo>
                  <a:pt x="14" y="28"/>
                </a:lnTo>
                <a:lnTo>
                  <a:pt x="4" y="20"/>
                </a:lnTo>
                <a:lnTo>
                  <a:pt x="8" y="16"/>
                </a:lnTo>
                <a:lnTo>
                  <a:pt x="18" y="20"/>
                </a:lnTo>
                <a:lnTo>
                  <a:pt x="26" y="14"/>
                </a:lnTo>
                <a:lnTo>
                  <a:pt x="36" y="12"/>
                </a:lnTo>
                <a:lnTo>
                  <a:pt x="38" y="0"/>
                </a:lnTo>
                <a:lnTo>
                  <a:pt x="44" y="0"/>
                </a:lnTo>
                <a:lnTo>
                  <a:pt x="46" y="12"/>
                </a:lnTo>
                <a:lnTo>
                  <a:pt x="52" y="14"/>
                </a:lnTo>
                <a:lnTo>
                  <a:pt x="58" y="16"/>
                </a:lnTo>
                <a:lnTo>
                  <a:pt x="64" y="8"/>
                </a:lnTo>
                <a:lnTo>
                  <a:pt x="70" y="14"/>
                </a:lnTo>
                <a:lnTo>
                  <a:pt x="64" y="22"/>
                </a:lnTo>
                <a:lnTo>
                  <a:pt x="68" y="28"/>
                </a:lnTo>
                <a:lnTo>
                  <a:pt x="70" y="32"/>
                </a:lnTo>
                <a:lnTo>
                  <a:pt x="96" y="32"/>
                </a:lnTo>
                <a:lnTo>
                  <a:pt x="96" y="28"/>
                </a:lnTo>
                <a:lnTo>
                  <a:pt x="88" y="20"/>
                </a:lnTo>
                <a:lnTo>
                  <a:pt x="92" y="16"/>
                </a:lnTo>
                <a:lnTo>
                  <a:pt x="102" y="20"/>
                </a:lnTo>
                <a:lnTo>
                  <a:pt x="110" y="14"/>
                </a:lnTo>
                <a:lnTo>
                  <a:pt x="120" y="12"/>
                </a:lnTo>
                <a:lnTo>
                  <a:pt x="122" y="0"/>
                </a:lnTo>
                <a:lnTo>
                  <a:pt x="128" y="0"/>
                </a:lnTo>
                <a:lnTo>
                  <a:pt x="128" y="12"/>
                </a:lnTo>
                <a:lnTo>
                  <a:pt x="136" y="14"/>
                </a:lnTo>
                <a:lnTo>
                  <a:pt x="142" y="16"/>
                </a:lnTo>
                <a:lnTo>
                  <a:pt x="148" y="8"/>
                </a:lnTo>
                <a:lnTo>
                  <a:pt x="154" y="14"/>
                </a:lnTo>
                <a:lnTo>
                  <a:pt x="148" y="22"/>
                </a:lnTo>
                <a:lnTo>
                  <a:pt x="152" y="28"/>
                </a:lnTo>
                <a:lnTo>
                  <a:pt x="154" y="32"/>
                </a:lnTo>
                <a:lnTo>
                  <a:pt x="178" y="32"/>
                </a:lnTo>
                <a:lnTo>
                  <a:pt x="180" y="28"/>
                </a:lnTo>
                <a:lnTo>
                  <a:pt x="172" y="20"/>
                </a:lnTo>
                <a:lnTo>
                  <a:pt x="174" y="16"/>
                </a:lnTo>
                <a:lnTo>
                  <a:pt x="186" y="20"/>
                </a:lnTo>
                <a:lnTo>
                  <a:pt x="194" y="14"/>
                </a:lnTo>
                <a:lnTo>
                  <a:pt x="204" y="12"/>
                </a:lnTo>
                <a:lnTo>
                  <a:pt x="206" y="0"/>
                </a:lnTo>
                <a:lnTo>
                  <a:pt x="212" y="0"/>
                </a:lnTo>
                <a:lnTo>
                  <a:pt x="212" y="12"/>
                </a:lnTo>
                <a:lnTo>
                  <a:pt x="218" y="14"/>
                </a:lnTo>
                <a:lnTo>
                  <a:pt x="224" y="16"/>
                </a:lnTo>
                <a:lnTo>
                  <a:pt x="232" y="8"/>
                </a:lnTo>
                <a:lnTo>
                  <a:pt x="238" y="14"/>
                </a:lnTo>
                <a:lnTo>
                  <a:pt x="232" y="22"/>
                </a:lnTo>
                <a:lnTo>
                  <a:pt x="236" y="28"/>
                </a:lnTo>
                <a:lnTo>
                  <a:pt x="238" y="32"/>
                </a:lnTo>
                <a:lnTo>
                  <a:pt x="276" y="32"/>
                </a:lnTo>
                <a:lnTo>
                  <a:pt x="250" y="6"/>
                </a:lnTo>
                <a:lnTo>
                  <a:pt x="280" y="6"/>
                </a:lnTo>
                <a:lnTo>
                  <a:pt x="320" y="44"/>
                </a:lnTo>
                <a:lnTo>
                  <a:pt x="280" y="82"/>
                </a:lnTo>
                <a:lnTo>
                  <a:pt x="250" y="82"/>
                </a:lnTo>
                <a:lnTo>
                  <a:pt x="278" y="54"/>
                </a:lnTo>
                <a:lnTo>
                  <a:pt x="238" y="54"/>
                </a:lnTo>
                <a:lnTo>
                  <a:pt x="236" y="58"/>
                </a:lnTo>
                <a:lnTo>
                  <a:pt x="244" y="64"/>
                </a:lnTo>
                <a:lnTo>
                  <a:pt x="242" y="70"/>
                </a:lnTo>
                <a:lnTo>
                  <a:pt x="230" y="64"/>
                </a:lnTo>
                <a:lnTo>
                  <a:pt x="222" y="70"/>
                </a:lnTo>
                <a:lnTo>
                  <a:pt x="212" y="74"/>
                </a:lnTo>
                <a:lnTo>
                  <a:pt x="210" y="86"/>
                </a:lnTo>
                <a:lnTo>
                  <a:pt x="204" y="86"/>
                </a:lnTo>
                <a:lnTo>
                  <a:pt x="204" y="74"/>
                </a:lnTo>
                <a:lnTo>
                  <a:pt x="198" y="72"/>
                </a:lnTo>
                <a:lnTo>
                  <a:pt x="192" y="70"/>
                </a:lnTo>
                <a:lnTo>
                  <a:pt x="184" y="76"/>
                </a:lnTo>
                <a:lnTo>
                  <a:pt x="178" y="72"/>
                </a:lnTo>
                <a:lnTo>
                  <a:pt x="184" y="64"/>
                </a:lnTo>
                <a:lnTo>
                  <a:pt x="180" y="56"/>
                </a:lnTo>
                <a:lnTo>
                  <a:pt x="296" y="6"/>
                </a:lnTo>
                <a:lnTo>
                  <a:pt x="26" y="50"/>
                </a:lnTo>
                <a:lnTo>
                  <a:pt x="26" y="44"/>
                </a:lnTo>
                <a:lnTo>
                  <a:pt x="26" y="38"/>
                </a:lnTo>
                <a:lnTo>
                  <a:pt x="28" y="32"/>
                </a:lnTo>
                <a:lnTo>
                  <a:pt x="34" y="28"/>
                </a:lnTo>
                <a:lnTo>
                  <a:pt x="40" y="28"/>
                </a:lnTo>
                <a:lnTo>
                  <a:pt x="46" y="28"/>
                </a:lnTo>
                <a:lnTo>
                  <a:pt x="50" y="30"/>
                </a:lnTo>
                <a:lnTo>
                  <a:pt x="54" y="36"/>
                </a:lnTo>
                <a:lnTo>
                  <a:pt x="56" y="42"/>
                </a:lnTo>
                <a:lnTo>
                  <a:pt x="56" y="48"/>
                </a:lnTo>
                <a:lnTo>
                  <a:pt x="52" y="52"/>
                </a:lnTo>
                <a:lnTo>
                  <a:pt x="48" y="56"/>
                </a:lnTo>
                <a:lnTo>
                  <a:pt x="42" y="58"/>
                </a:lnTo>
                <a:lnTo>
                  <a:pt x="36" y="58"/>
                </a:lnTo>
                <a:lnTo>
                  <a:pt x="30" y="54"/>
                </a:lnTo>
                <a:lnTo>
                  <a:pt x="26" y="50"/>
                </a:lnTo>
                <a:lnTo>
                  <a:pt x="296" y="6"/>
                </a:lnTo>
                <a:lnTo>
                  <a:pt x="110" y="50"/>
                </a:lnTo>
                <a:lnTo>
                  <a:pt x="108" y="44"/>
                </a:lnTo>
                <a:lnTo>
                  <a:pt x="110" y="38"/>
                </a:lnTo>
                <a:lnTo>
                  <a:pt x="112" y="32"/>
                </a:lnTo>
                <a:lnTo>
                  <a:pt x="118" y="28"/>
                </a:lnTo>
                <a:lnTo>
                  <a:pt x="124" y="28"/>
                </a:lnTo>
                <a:lnTo>
                  <a:pt x="128" y="28"/>
                </a:lnTo>
                <a:lnTo>
                  <a:pt x="134" y="30"/>
                </a:lnTo>
                <a:lnTo>
                  <a:pt x="138" y="36"/>
                </a:lnTo>
                <a:lnTo>
                  <a:pt x="140" y="42"/>
                </a:lnTo>
                <a:lnTo>
                  <a:pt x="138" y="48"/>
                </a:lnTo>
                <a:lnTo>
                  <a:pt x="136" y="52"/>
                </a:lnTo>
                <a:lnTo>
                  <a:pt x="132" y="56"/>
                </a:lnTo>
                <a:lnTo>
                  <a:pt x="126" y="58"/>
                </a:lnTo>
                <a:lnTo>
                  <a:pt x="120" y="58"/>
                </a:lnTo>
                <a:lnTo>
                  <a:pt x="114" y="54"/>
                </a:lnTo>
                <a:lnTo>
                  <a:pt x="110" y="50"/>
                </a:lnTo>
                <a:lnTo>
                  <a:pt x="296" y="6"/>
                </a:lnTo>
                <a:lnTo>
                  <a:pt x="194" y="50"/>
                </a:lnTo>
                <a:lnTo>
                  <a:pt x="192" y="44"/>
                </a:lnTo>
                <a:lnTo>
                  <a:pt x="194" y="38"/>
                </a:lnTo>
                <a:lnTo>
                  <a:pt x="196" y="32"/>
                </a:lnTo>
                <a:lnTo>
                  <a:pt x="200" y="28"/>
                </a:lnTo>
                <a:lnTo>
                  <a:pt x="206" y="28"/>
                </a:lnTo>
                <a:lnTo>
                  <a:pt x="212" y="28"/>
                </a:lnTo>
                <a:lnTo>
                  <a:pt x="218" y="30"/>
                </a:lnTo>
                <a:lnTo>
                  <a:pt x="222" y="36"/>
                </a:lnTo>
                <a:lnTo>
                  <a:pt x="222" y="42"/>
                </a:lnTo>
                <a:lnTo>
                  <a:pt x="222" y="48"/>
                </a:lnTo>
                <a:lnTo>
                  <a:pt x="220" y="52"/>
                </a:lnTo>
                <a:lnTo>
                  <a:pt x="214" y="56"/>
                </a:lnTo>
                <a:lnTo>
                  <a:pt x="208" y="58"/>
                </a:lnTo>
                <a:lnTo>
                  <a:pt x="202" y="58"/>
                </a:lnTo>
                <a:lnTo>
                  <a:pt x="198" y="54"/>
                </a:lnTo>
                <a:lnTo>
                  <a:pt x="194" y="50"/>
                </a:lnTo>
                <a:lnTo>
                  <a:pt x="296" y="6"/>
                </a:lnTo>
                <a:close/>
              </a:path>
            </a:pathLst>
          </a:custGeom>
          <a:solidFill>
            <a:srgbClr val="FFFFFF"/>
          </a:solidFill>
          <a:ln w="9525">
            <a:noFill/>
            <a:round/>
            <a:headEnd/>
            <a:tailEnd/>
          </a:ln>
        </p:spPr>
        <p:txBody>
          <a:bodyPr lIns="91432" tIns="45716" rIns="91432" bIns="45716"/>
          <a:lstStyle/>
          <a:p>
            <a:pPr defTabSz="684673"/>
            <a:endParaRPr lang="en-US">
              <a:solidFill>
                <a:srgbClr val="FFFFFF"/>
              </a:solidFill>
              <a:cs typeface="Arial" charset="0"/>
            </a:endParaRPr>
          </a:p>
        </p:txBody>
      </p:sp>
      <p:grpSp>
        <p:nvGrpSpPr>
          <p:cNvPr id="4" name="Group 167"/>
          <p:cNvGrpSpPr>
            <a:grpSpLocks/>
          </p:cNvGrpSpPr>
          <p:nvPr/>
        </p:nvGrpSpPr>
        <p:grpSpPr bwMode="auto">
          <a:xfrm>
            <a:off x="1620029" y="2393395"/>
            <a:ext cx="488283" cy="401241"/>
            <a:chOff x="2830513" y="1652588"/>
            <a:chExt cx="419100" cy="346075"/>
          </a:xfrm>
        </p:grpSpPr>
        <p:sp>
          <p:nvSpPr>
            <p:cNvPr id="68" name="AutoShape 3"/>
            <p:cNvSpPr>
              <a:spLocks noChangeAspect="1" noChangeArrowheads="1" noTextEdit="1"/>
            </p:cNvSpPr>
            <p:nvPr/>
          </p:nvSpPr>
          <p:spPr bwMode="auto">
            <a:xfrm>
              <a:off x="2830513" y="1652588"/>
              <a:ext cx="419100" cy="346075"/>
            </a:xfrm>
            <a:prstGeom prst="rect">
              <a:avLst/>
            </a:prstGeom>
            <a:noFill/>
            <a:ln w="9525">
              <a:noFill/>
              <a:miter lim="800000"/>
              <a:headEnd/>
              <a:tailEnd/>
            </a:ln>
          </p:spPr>
          <p:txBody>
            <a:bodyPr/>
            <a:lstStyle/>
            <a:p>
              <a:pPr defTabSz="684673">
                <a:defRPr/>
              </a:pPr>
              <a:endParaRPr lang="en-US" sz="1100" kern="0">
                <a:solidFill>
                  <a:srgbClr val="FFFFFF"/>
                </a:solidFill>
                <a:latin typeface="Segoe Light" charset="0"/>
                <a:cs typeface="Arial" charset="0"/>
              </a:endParaRPr>
            </a:p>
          </p:txBody>
        </p:sp>
        <p:sp>
          <p:nvSpPr>
            <p:cNvPr id="45112" name="Freeform 5"/>
            <p:cNvSpPr>
              <a:spLocks/>
            </p:cNvSpPr>
            <p:nvPr/>
          </p:nvSpPr>
          <p:spPr bwMode="auto">
            <a:xfrm>
              <a:off x="2856068" y="1684423"/>
              <a:ext cx="161507" cy="224897"/>
            </a:xfrm>
            <a:custGeom>
              <a:avLst/>
              <a:gdLst>
                <a:gd name="T0" fmla="*/ 2147483647 w 102"/>
                <a:gd name="T1" fmla="*/ 2147483647 h 142"/>
                <a:gd name="T2" fmla="*/ 2147483647 w 102"/>
                <a:gd name="T3" fmla="*/ 2147483647 h 142"/>
                <a:gd name="T4" fmla="*/ 2147483647 w 102"/>
                <a:gd name="T5" fmla="*/ 2147483647 h 142"/>
                <a:gd name="T6" fmla="*/ 0 w 102"/>
                <a:gd name="T7" fmla="*/ 2147483647 h 142"/>
                <a:gd name="T8" fmla="*/ 0 w 102"/>
                <a:gd name="T9" fmla="*/ 2147483647 h 142"/>
                <a:gd name="T10" fmla="*/ 2147483647 w 102"/>
                <a:gd name="T11" fmla="*/ 2147483647 h 142"/>
                <a:gd name="T12" fmla="*/ 2147483647 w 102"/>
                <a:gd name="T13" fmla="*/ 0 h 142"/>
                <a:gd name="T14" fmla="*/ 2147483647 w 102"/>
                <a:gd name="T15" fmla="*/ 0 h 142"/>
                <a:gd name="T16" fmla="*/ 2147483647 w 102"/>
                <a:gd name="T17" fmla="*/ 2147483647 h 142"/>
                <a:gd name="T18" fmla="*/ 2147483647 w 102"/>
                <a:gd name="T19" fmla="*/ 2147483647 h 142"/>
                <a:gd name="T20" fmla="*/ 2147483647 w 102"/>
                <a:gd name="T21" fmla="*/ 2147483647 h 142"/>
                <a:gd name="T22" fmla="*/ 2147483647 w 102"/>
                <a:gd name="T23" fmla="*/ 2147483647 h 142"/>
                <a:gd name="T24" fmla="*/ 2147483647 w 102"/>
                <a:gd name="T25" fmla="*/ 2147483647 h 142"/>
                <a:gd name="T26" fmla="*/ 2147483647 w 102"/>
                <a:gd name="T27" fmla="*/ 2147483647 h 142"/>
                <a:gd name="T28" fmla="*/ 2147483647 w 102"/>
                <a:gd name="T29" fmla="*/ 2147483647 h 142"/>
                <a:gd name="T30" fmla="*/ 2147483647 w 102"/>
                <a:gd name="T31" fmla="*/ 2147483647 h 142"/>
                <a:gd name="T32" fmla="*/ 2147483647 w 102"/>
                <a:gd name="T33" fmla="*/ 2147483647 h 142"/>
                <a:gd name="T34" fmla="*/ 2147483647 w 102"/>
                <a:gd name="T35" fmla="*/ 2147483647 h 142"/>
                <a:gd name="T36" fmla="*/ 2147483647 w 102"/>
                <a:gd name="T37" fmla="*/ 2147483647 h 142"/>
                <a:gd name="T38" fmla="*/ 2147483647 w 102"/>
                <a:gd name="T39" fmla="*/ 2147483647 h 142"/>
                <a:gd name="T40" fmla="*/ 2147483647 w 102"/>
                <a:gd name="T41" fmla="*/ 2147483647 h 142"/>
                <a:gd name="T42" fmla="*/ 2147483647 w 102"/>
                <a:gd name="T43" fmla="*/ 2147483647 h 142"/>
                <a:gd name="T44" fmla="*/ 2147483647 w 102"/>
                <a:gd name="T45" fmla="*/ 2147483647 h 142"/>
                <a:gd name="T46" fmla="*/ 2147483647 w 102"/>
                <a:gd name="T47" fmla="*/ 2147483647 h 142"/>
                <a:gd name="T48" fmla="*/ 2147483647 w 102"/>
                <a:gd name="T49" fmla="*/ 2147483647 h 142"/>
                <a:gd name="T50" fmla="*/ 2147483647 w 102"/>
                <a:gd name="T51" fmla="*/ 2147483647 h 142"/>
                <a:gd name="T52" fmla="*/ 2147483647 w 102"/>
                <a:gd name="T53" fmla="*/ 2147483647 h 142"/>
                <a:gd name="T54" fmla="*/ 2147483647 w 102"/>
                <a:gd name="T55" fmla="*/ 2147483647 h 142"/>
                <a:gd name="T56" fmla="*/ 2147483647 w 102"/>
                <a:gd name="T57" fmla="*/ 2147483647 h 142"/>
                <a:gd name="T58" fmla="*/ 2147483647 w 102"/>
                <a:gd name="T59" fmla="*/ 2147483647 h 142"/>
                <a:gd name="T60" fmla="*/ 2147483647 w 102"/>
                <a:gd name="T61" fmla="*/ 2147483647 h 142"/>
                <a:gd name="T62" fmla="*/ 2147483647 w 102"/>
                <a:gd name="T63" fmla="*/ 2147483647 h 142"/>
                <a:gd name="T64" fmla="*/ 2147483647 w 102"/>
                <a:gd name="T65" fmla="*/ 2147483647 h 142"/>
                <a:gd name="T66" fmla="*/ 2147483647 w 102"/>
                <a:gd name="T67" fmla="*/ 2147483647 h 142"/>
                <a:gd name="T68" fmla="*/ 2147483647 w 102"/>
                <a:gd name="T69" fmla="*/ 2147483647 h 142"/>
                <a:gd name="T70" fmla="*/ 2147483647 w 102"/>
                <a:gd name="T71" fmla="*/ 2147483647 h 142"/>
                <a:gd name="T72" fmla="*/ 2147483647 w 102"/>
                <a:gd name="T73" fmla="*/ 2147483647 h 142"/>
                <a:gd name="T74" fmla="*/ 2147483647 w 102"/>
                <a:gd name="T75" fmla="*/ 2147483647 h 142"/>
                <a:gd name="T76" fmla="*/ 2147483647 w 102"/>
                <a:gd name="T77" fmla="*/ 2147483647 h 142"/>
                <a:gd name="T78" fmla="*/ 2147483647 w 102"/>
                <a:gd name="T79" fmla="*/ 2147483647 h 142"/>
                <a:gd name="T80" fmla="*/ 2147483647 w 102"/>
                <a:gd name="T81" fmla="*/ 2147483647 h 142"/>
                <a:gd name="T82" fmla="*/ 2147483647 w 102"/>
                <a:gd name="T83" fmla="*/ 2147483647 h 142"/>
                <a:gd name="T84" fmla="*/ 2147483647 w 102"/>
                <a:gd name="T85" fmla="*/ 2147483647 h 142"/>
                <a:gd name="T86" fmla="*/ 2147483647 w 102"/>
                <a:gd name="T87" fmla="*/ 2147483647 h 142"/>
                <a:gd name="T88" fmla="*/ 2147483647 w 102"/>
                <a:gd name="T89" fmla="*/ 2147483647 h 142"/>
                <a:gd name="T90" fmla="*/ 2147483647 w 102"/>
                <a:gd name="T91" fmla="*/ 2147483647 h 142"/>
                <a:gd name="T92" fmla="*/ 2147483647 w 102"/>
                <a:gd name="T93" fmla="*/ 2147483647 h 142"/>
                <a:gd name="T94" fmla="*/ 2147483647 w 102"/>
                <a:gd name="T95" fmla="*/ 2147483647 h 142"/>
                <a:gd name="T96" fmla="*/ 2147483647 w 102"/>
                <a:gd name="T97" fmla="*/ 2147483647 h 142"/>
                <a:gd name="T98" fmla="*/ 2147483647 w 102"/>
                <a:gd name="T99" fmla="*/ 2147483647 h 142"/>
                <a:gd name="T100" fmla="*/ 2147483647 w 102"/>
                <a:gd name="T101" fmla="*/ 2147483647 h 142"/>
                <a:gd name="T102" fmla="*/ 2147483647 w 102"/>
                <a:gd name="T103" fmla="*/ 2147483647 h 142"/>
                <a:gd name="T104" fmla="*/ 2147483647 w 102"/>
                <a:gd name="T105" fmla="*/ 2147483647 h 142"/>
                <a:gd name="T106" fmla="*/ 2147483647 w 102"/>
                <a:gd name="T107" fmla="*/ 2147483647 h 142"/>
                <a:gd name="T108" fmla="*/ 2147483647 w 102"/>
                <a:gd name="T109" fmla="*/ 2147483647 h 142"/>
                <a:gd name="T110" fmla="*/ 2147483647 w 102"/>
                <a:gd name="T111" fmla="*/ 2147483647 h 142"/>
                <a:gd name="T112" fmla="*/ 2147483647 w 102"/>
                <a:gd name="T113" fmla="*/ 2147483647 h 142"/>
                <a:gd name="T114" fmla="*/ 2147483647 w 102"/>
                <a:gd name="T115" fmla="*/ 2147483647 h 142"/>
                <a:gd name="T116" fmla="*/ 2147483647 w 102"/>
                <a:gd name="T117" fmla="*/ 2147483647 h 142"/>
                <a:gd name="T118" fmla="*/ 2147483647 w 102"/>
                <a:gd name="T119" fmla="*/ 2147483647 h 142"/>
                <a:gd name="T120" fmla="*/ 2147483647 w 102"/>
                <a:gd name="T121" fmla="*/ 2147483647 h 14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02"/>
                <a:gd name="T184" fmla="*/ 0 h 142"/>
                <a:gd name="T185" fmla="*/ 102 w 102"/>
                <a:gd name="T186" fmla="*/ 142 h 14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02" h="142">
                  <a:moveTo>
                    <a:pt x="94" y="142"/>
                  </a:moveTo>
                  <a:lnTo>
                    <a:pt x="6" y="142"/>
                  </a:lnTo>
                  <a:lnTo>
                    <a:pt x="2" y="140"/>
                  </a:lnTo>
                  <a:lnTo>
                    <a:pt x="0" y="134"/>
                  </a:lnTo>
                  <a:lnTo>
                    <a:pt x="0" y="8"/>
                  </a:lnTo>
                  <a:lnTo>
                    <a:pt x="2" y="2"/>
                  </a:lnTo>
                  <a:lnTo>
                    <a:pt x="6" y="0"/>
                  </a:lnTo>
                  <a:lnTo>
                    <a:pt x="94" y="0"/>
                  </a:lnTo>
                  <a:lnTo>
                    <a:pt x="100" y="2"/>
                  </a:lnTo>
                  <a:lnTo>
                    <a:pt x="102" y="8"/>
                  </a:lnTo>
                  <a:lnTo>
                    <a:pt x="102" y="134"/>
                  </a:lnTo>
                  <a:lnTo>
                    <a:pt x="100" y="140"/>
                  </a:lnTo>
                  <a:lnTo>
                    <a:pt x="94" y="142"/>
                  </a:lnTo>
                  <a:lnTo>
                    <a:pt x="86" y="74"/>
                  </a:lnTo>
                  <a:lnTo>
                    <a:pt x="88" y="72"/>
                  </a:lnTo>
                  <a:lnTo>
                    <a:pt x="90" y="70"/>
                  </a:lnTo>
                  <a:lnTo>
                    <a:pt x="88" y="66"/>
                  </a:lnTo>
                  <a:lnTo>
                    <a:pt x="86" y="66"/>
                  </a:lnTo>
                  <a:lnTo>
                    <a:pt x="18" y="66"/>
                  </a:lnTo>
                  <a:lnTo>
                    <a:pt x="14" y="66"/>
                  </a:lnTo>
                  <a:lnTo>
                    <a:pt x="14" y="70"/>
                  </a:lnTo>
                  <a:lnTo>
                    <a:pt x="14" y="72"/>
                  </a:lnTo>
                  <a:lnTo>
                    <a:pt x="18" y="74"/>
                  </a:lnTo>
                  <a:lnTo>
                    <a:pt x="86" y="74"/>
                  </a:lnTo>
                  <a:lnTo>
                    <a:pt x="94" y="142"/>
                  </a:lnTo>
                  <a:lnTo>
                    <a:pt x="86" y="48"/>
                  </a:lnTo>
                  <a:lnTo>
                    <a:pt x="88" y="46"/>
                  </a:lnTo>
                  <a:lnTo>
                    <a:pt x="90" y="44"/>
                  </a:lnTo>
                  <a:lnTo>
                    <a:pt x="88" y="40"/>
                  </a:lnTo>
                  <a:lnTo>
                    <a:pt x="86" y="40"/>
                  </a:lnTo>
                  <a:lnTo>
                    <a:pt x="18" y="40"/>
                  </a:lnTo>
                  <a:lnTo>
                    <a:pt x="14" y="40"/>
                  </a:lnTo>
                  <a:lnTo>
                    <a:pt x="14" y="44"/>
                  </a:lnTo>
                  <a:lnTo>
                    <a:pt x="14" y="46"/>
                  </a:lnTo>
                  <a:lnTo>
                    <a:pt x="18" y="48"/>
                  </a:lnTo>
                  <a:lnTo>
                    <a:pt x="86" y="48"/>
                  </a:lnTo>
                  <a:lnTo>
                    <a:pt x="94" y="142"/>
                  </a:lnTo>
                  <a:lnTo>
                    <a:pt x="86" y="100"/>
                  </a:lnTo>
                  <a:lnTo>
                    <a:pt x="18" y="100"/>
                  </a:lnTo>
                  <a:lnTo>
                    <a:pt x="14" y="100"/>
                  </a:lnTo>
                  <a:lnTo>
                    <a:pt x="14" y="96"/>
                  </a:lnTo>
                  <a:lnTo>
                    <a:pt x="14" y="94"/>
                  </a:lnTo>
                  <a:lnTo>
                    <a:pt x="18" y="92"/>
                  </a:lnTo>
                  <a:lnTo>
                    <a:pt x="86" y="92"/>
                  </a:lnTo>
                  <a:lnTo>
                    <a:pt x="88" y="94"/>
                  </a:lnTo>
                  <a:lnTo>
                    <a:pt x="90" y="96"/>
                  </a:lnTo>
                  <a:lnTo>
                    <a:pt x="88" y="100"/>
                  </a:lnTo>
                  <a:lnTo>
                    <a:pt x="86" y="100"/>
                  </a:lnTo>
                  <a:lnTo>
                    <a:pt x="94" y="142"/>
                  </a:lnTo>
                  <a:lnTo>
                    <a:pt x="86" y="128"/>
                  </a:lnTo>
                  <a:lnTo>
                    <a:pt x="18" y="128"/>
                  </a:lnTo>
                  <a:lnTo>
                    <a:pt x="14" y="126"/>
                  </a:lnTo>
                  <a:lnTo>
                    <a:pt x="14" y="124"/>
                  </a:lnTo>
                  <a:lnTo>
                    <a:pt x="14" y="120"/>
                  </a:lnTo>
                  <a:lnTo>
                    <a:pt x="18" y="120"/>
                  </a:lnTo>
                  <a:lnTo>
                    <a:pt x="86" y="120"/>
                  </a:lnTo>
                  <a:lnTo>
                    <a:pt x="88" y="120"/>
                  </a:lnTo>
                  <a:lnTo>
                    <a:pt x="90" y="124"/>
                  </a:lnTo>
                  <a:lnTo>
                    <a:pt x="88" y="126"/>
                  </a:lnTo>
                  <a:lnTo>
                    <a:pt x="86" y="128"/>
                  </a:lnTo>
                  <a:lnTo>
                    <a:pt x="94" y="142"/>
                  </a:lnTo>
                  <a:close/>
                </a:path>
              </a:pathLst>
            </a:custGeom>
            <a:solidFill>
              <a:srgbClr val="FFFFFF"/>
            </a:solidFill>
            <a:ln w="9525">
              <a:noFill/>
              <a:round/>
              <a:headEnd/>
              <a:tailEnd/>
            </a:ln>
          </p:spPr>
          <p:txBody>
            <a:bodyPr/>
            <a:lstStyle/>
            <a:p>
              <a:pPr defTabSz="684673"/>
              <a:endParaRPr lang="en-US" sz="1100">
                <a:solidFill>
                  <a:srgbClr val="FFFFFF"/>
                </a:solidFill>
                <a:cs typeface="Arial" charset="0"/>
              </a:endParaRPr>
            </a:p>
          </p:txBody>
        </p:sp>
        <p:sp>
          <p:nvSpPr>
            <p:cNvPr id="45113" name="Freeform 6"/>
            <p:cNvSpPr>
              <a:spLocks/>
            </p:cNvSpPr>
            <p:nvPr/>
          </p:nvSpPr>
          <p:spPr bwMode="auto">
            <a:xfrm>
              <a:off x="2830513" y="1652588"/>
              <a:ext cx="419100" cy="346075"/>
            </a:xfrm>
            <a:custGeom>
              <a:avLst/>
              <a:gdLst>
                <a:gd name="T0" fmla="*/ 2147483647 w 264"/>
                <a:gd name="T1" fmla="*/ 2147483647 h 218"/>
                <a:gd name="T2" fmla="*/ 2147483647 w 264"/>
                <a:gd name="T3" fmla="*/ 2147483647 h 218"/>
                <a:gd name="T4" fmla="*/ 2147483647 w 264"/>
                <a:gd name="T5" fmla="*/ 2147483647 h 218"/>
                <a:gd name="T6" fmla="*/ 2147483647 w 264"/>
                <a:gd name="T7" fmla="*/ 2147483647 h 218"/>
                <a:gd name="T8" fmla="*/ 2147483647 w 264"/>
                <a:gd name="T9" fmla="*/ 2147483647 h 218"/>
                <a:gd name="T10" fmla="*/ 2147483647 w 264"/>
                <a:gd name="T11" fmla="*/ 2147483647 h 218"/>
                <a:gd name="T12" fmla="*/ 2147483647 w 264"/>
                <a:gd name="T13" fmla="*/ 2147483647 h 218"/>
                <a:gd name="T14" fmla="*/ 2147483647 w 264"/>
                <a:gd name="T15" fmla="*/ 2147483647 h 218"/>
                <a:gd name="T16" fmla="*/ 2147483647 w 264"/>
                <a:gd name="T17" fmla="*/ 2147483647 h 218"/>
                <a:gd name="T18" fmla="*/ 2147483647 w 264"/>
                <a:gd name="T19" fmla="*/ 2147483647 h 218"/>
                <a:gd name="T20" fmla="*/ 2147483647 w 264"/>
                <a:gd name="T21" fmla="*/ 2147483647 h 218"/>
                <a:gd name="T22" fmla="*/ 2147483647 w 264"/>
                <a:gd name="T23" fmla="*/ 2147483647 h 218"/>
                <a:gd name="T24" fmla="*/ 2147483647 w 264"/>
                <a:gd name="T25" fmla="*/ 2147483647 h 218"/>
                <a:gd name="T26" fmla="*/ 2147483647 w 264"/>
                <a:gd name="T27" fmla="*/ 2147483647 h 218"/>
                <a:gd name="T28" fmla="*/ 2147483647 w 264"/>
                <a:gd name="T29" fmla="*/ 2147483647 h 218"/>
                <a:gd name="T30" fmla="*/ 2147483647 w 264"/>
                <a:gd name="T31" fmla="*/ 2147483647 h 218"/>
                <a:gd name="T32" fmla="*/ 2147483647 w 264"/>
                <a:gd name="T33" fmla="*/ 2147483647 h 218"/>
                <a:gd name="T34" fmla="*/ 2147483647 w 264"/>
                <a:gd name="T35" fmla="*/ 2147483647 h 218"/>
                <a:gd name="T36" fmla="*/ 2147483647 w 264"/>
                <a:gd name="T37" fmla="*/ 2147483647 h 218"/>
                <a:gd name="T38" fmla="*/ 2147483647 w 264"/>
                <a:gd name="T39" fmla="*/ 2147483647 h 218"/>
                <a:gd name="T40" fmla="*/ 2147483647 w 264"/>
                <a:gd name="T41" fmla="*/ 2147483647 h 218"/>
                <a:gd name="T42" fmla="*/ 2147483647 w 264"/>
                <a:gd name="T43" fmla="*/ 2147483647 h 218"/>
                <a:gd name="T44" fmla="*/ 2147483647 w 264"/>
                <a:gd name="T45" fmla="*/ 2147483647 h 218"/>
                <a:gd name="T46" fmla="*/ 2147483647 w 264"/>
                <a:gd name="T47" fmla="*/ 2147483647 h 218"/>
                <a:gd name="T48" fmla="*/ 2147483647 w 264"/>
                <a:gd name="T49" fmla="*/ 2147483647 h 218"/>
                <a:gd name="T50" fmla="*/ 2147483647 w 264"/>
                <a:gd name="T51" fmla="*/ 2147483647 h 218"/>
                <a:gd name="T52" fmla="*/ 2147483647 w 264"/>
                <a:gd name="T53" fmla="*/ 2147483647 h 218"/>
                <a:gd name="T54" fmla="*/ 2147483647 w 264"/>
                <a:gd name="T55" fmla="*/ 2147483647 h 218"/>
                <a:gd name="T56" fmla="*/ 2147483647 w 264"/>
                <a:gd name="T57" fmla="*/ 2147483647 h 218"/>
                <a:gd name="T58" fmla="*/ 2147483647 w 264"/>
                <a:gd name="T59" fmla="*/ 2147483647 h 218"/>
                <a:gd name="T60" fmla="*/ 2147483647 w 264"/>
                <a:gd name="T61" fmla="*/ 2147483647 h 218"/>
                <a:gd name="T62" fmla="*/ 2147483647 w 264"/>
                <a:gd name="T63" fmla="*/ 2147483647 h 218"/>
                <a:gd name="T64" fmla="*/ 2147483647 w 264"/>
                <a:gd name="T65" fmla="*/ 2147483647 h 218"/>
                <a:gd name="T66" fmla="*/ 2147483647 w 264"/>
                <a:gd name="T67" fmla="*/ 2147483647 h 218"/>
                <a:gd name="T68" fmla="*/ 0 w 264"/>
                <a:gd name="T69" fmla="*/ 2147483647 h 218"/>
                <a:gd name="T70" fmla="*/ 2147483647 w 264"/>
                <a:gd name="T71" fmla="*/ 2147483647 h 218"/>
                <a:gd name="T72" fmla="*/ 2147483647 w 264"/>
                <a:gd name="T73" fmla="*/ 0 h 218"/>
                <a:gd name="T74" fmla="*/ 2147483647 w 264"/>
                <a:gd name="T75" fmla="*/ 2147483647 h 218"/>
                <a:gd name="T76" fmla="*/ 2147483647 w 264"/>
                <a:gd name="T77" fmla="*/ 2147483647 h 218"/>
                <a:gd name="T78" fmla="*/ 2147483647 w 264"/>
                <a:gd name="T79" fmla="*/ 2147483647 h 218"/>
                <a:gd name="T80" fmla="*/ 2147483647 w 264"/>
                <a:gd name="T81" fmla="*/ 2147483647 h 21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64"/>
                <a:gd name="T124" fmla="*/ 0 h 218"/>
                <a:gd name="T125" fmla="*/ 264 w 264"/>
                <a:gd name="T126" fmla="*/ 218 h 21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64" h="218">
                  <a:moveTo>
                    <a:pt x="238" y="116"/>
                  </a:moveTo>
                  <a:lnTo>
                    <a:pt x="172" y="108"/>
                  </a:lnTo>
                  <a:lnTo>
                    <a:pt x="198" y="168"/>
                  </a:lnTo>
                  <a:lnTo>
                    <a:pt x="206" y="144"/>
                  </a:lnTo>
                  <a:lnTo>
                    <a:pt x="254" y="180"/>
                  </a:lnTo>
                  <a:lnTo>
                    <a:pt x="256" y="180"/>
                  </a:lnTo>
                  <a:lnTo>
                    <a:pt x="260" y="178"/>
                  </a:lnTo>
                  <a:lnTo>
                    <a:pt x="262" y="176"/>
                  </a:lnTo>
                  <a:lnTo>
                    <a:pt x="262" y="174"/>
                  </a:lnTo>
                  <a:lnTo>
                    <a:pt x="264" y="172"/>
                  </a:lnTo>
                  <a:lnTo>
                    <a:pt x="262" y="168"/>
                  </a:lnTo>
                  <a:lnTo>
                    <a:pt x="216" y="134"/>
                  </a:lnTo>
                  <a:lnTo>
                    <a:pt x="238" y="116"/>
                  </a:lnTo>
                  <a:lnTo>
                    <a:pt x="156" y="14"/>
                  </a:lnTo>
                  <a:lnTo>
                    <a:pt x="176" y="14"/>
                  </a:lnTo>
                  <a:lnTo>
                    <a:pt x="176" y="16"/>
                  </a:lnTo>
                  <a:lnTo>
                    <a:pt x="156" y="16"/>
                  </a:lnTo>
                  <a:lnTo>
                    <a:pt x="156" y="14"/>
                  </a:lnTo>
                  <a:lnTo>
                    <a:pt x="238" y="116"/>
                  </a:lnTo>
                  <a:lnTo>
                    <a:pt x="156" y="18"/>
                  </a:lnTo>
                  <a:lnTo>
                    <a:pt x="176" y="18"/>
                  </a:lnTo>
                  <a:lnTo>
                    <a:pt x="176" y="32"/>
                  </a:lnTo>
                  <a:lnTo>
                    <a:pt x="156" y="32"/>
                  </a:lnTo>
                  <a:lnTo>
                    <a:pt x="156" y="18"/>
                  </a:lnTo>
                  <a:lnTo>
                    <a:pt x="238" y="116"/>
                  </a:lnTo>
                  <a:lnTo>
                    <a:pt x="142" y="30"/>
                  </a:lnTo>
                  <a:lnTo>
                    <a:pt x="118" y="30"/>
                  </a:lnTo>
                  <a:lnTo>
                    <a:pt x="118" y="28"/>
                  </a:lnTo>
                  <a:lnTo>
                    <a:pt x="142" y="28"/>
                  </a:lnTo>
                  <a:lnTo>
                    <a:pt x="142" y="30"/>
                  </a:lnTo>
                  <a:lnTo>
                    <a:pt x="238" y="116"/>
                  </a:lnTo>
                  <a:lnTo>
                    <a:pt x="192" y="30"/>
                  </a:lnTo>
                  <a:lnTo>
                    <a:pt x="198" y="22"/>
                  </a:lnTo>
                  <a:lnTo>
                    <a:pt x="192" y="16"/>
                  </a:lnTo>
                  <a:lnTo>
                    <a:pt x="198" y="16"/>
                  </a:lnTo>
                  <a:lnTo>
                    <a:pt x="200" y="20"/>
                  </a:lnTo>
                  <a:lnTo>
                    <a:pt x="202" y="16"/>
                  </a:lnTo>
                  <a:lnTo>
                    <a:pt x="206" y="16"/>
                  </a:lnTo>
                  <a:lnTo>
                    <a:pt x="202" y="22"/>
                  </a:lnTo>
                  <a:lnTo>
                    <a:pt x="208" y="30"/>
                  </a:lnTo>
                  <a:lnTo>
                    <a:pt x="202" y="30"/>
                  </a:lnTo>
                  <a:lnTo>
                    <a:pt x="200" y="26"/>
                  </a:lnTo>
                  <a:lnTo>
                    <a:pt x="196" y="30"/>
                  </a:lnTo>
                  <a:lnTo>
                    <a:pt x="192" y="30"/>
                  </a:lnTo>
                  <a:lnTo>
                    <a:pt x="238" y="116"/>
                  </a:lnTo>
                  <a:lnTo>
                    <a:pt x="216" y="40"/>
                  </a:lnTo>
                  <a:lnTo>
                    <a:pt x="8" y="40"/>
                  </a:lnTo>
                  <a:lnTo>
                    <a:pt x="8" y="196"/>
                  </a:lnTo>
                  <a:lnTo>
                    <a:pt x="10" y="202"/>
                  </a:lnTo>
                  <a:lnTo>
                    <a:pt x="12" y="206"/>
                  </a:lnTo>
                  <a:lnTo>
                    <a:pt x="18" y="210"/>
                  </a:lnTo>
                  <a:lnTo>
                    <a:pt x="24" y="210"/>
                  </a:lnTo>
                  <a:lnTo>
                    <a:pt x="202" y="210"/>
                  </a:lnTo>
                  <a:lnTo>
                    <a:pt x="208" y="210"/>
                  </a:lnTo>
                  <a:lnTo>
                    <a:pt x="212" y="206"/>
                  </a:lnTo>
                  <a:lnTo>
                    <a:pt x="216" y="202"/>
                  </a:lnTo>
                  <a:lnTo>
                    <a:pt x="216" y="196"/>
                  </a:lnTo>
                  <a:lnTo>
                    <a:pt x="216" y="162"/>
                  </a:lnTo>
                  <a:lnTo>
                    <a:pt x="224" y="168"/>
                  </a:lnTo>
                  <a:lnTo>
                    <a:pt x="224" y="196"/>
                  </a:lnTo>
                  <a:lnTo>
                    <a:pt x="222" y="204"/>
                  </a:lnTo>
                  <a:lnTo>
                    <a:pt x="218" y="212"/>
                  </a:lnTo>
                  <a:lnTo>
                    <a:pt x="210" y="216"/>
                  </a:lnTo>
                  <a:lnTo>
                    <a:pt x="202" y="218"/>
                  </a:lnTo>
                  <a:lnTo>
                    <a:pt x="24" y="218"/>
                  </a:lnTo>
                  <a:lnTo>
                    <a:pt x="14" y="216"/>
                  </a:lnTo>
                  <a:lnTo>
                    <a:pt x="8" y="212"/>
                  </a:lnTo>
                  <a:lnTo>
                    <a:pt x="2" y="204"/>
                  </a:lnTo>
                  <a:lnTo>
                    <a:pt x="0" y="196"/>
                  </a:lnTo>
                  <a:lnTo>
                    <a:pt x="0" y="24"/>
                  </a:lnTo>
                  <a:lnTo>
                    <a:pt x="2" y="14"/>
                  </a:lnTo>
                  <a:lnTo>
                    <a:pt x="8" y="8"/>
                  </a:lnTo>
                  <a:lnTo>
                    <a:pt x="14" y="2"/>
                  </a:lnTo>
                  <a:lnTo>
                    <a:pt x="24" y="0"/>
                  </a:lnTo>
                  <a:lnTo>
                    <a:pt x="202" y="0"/>
                  </a:lnTo>
                  <a:lnTo>
                    <a:pt x="210" y="2"/>
                  </a:lnTo>
                  <a:lnTo>
                    <a:pt x="218" y="8"/>
                  </a:lnTo>
                  <a:lnTo>
                    <a:pt x="222" y="14"/>
                  </a:lnTo>
                  <a:lnTo>
                    <a:pt x="224" y="24"/>
                  </a:lnTo>
                  <a:lnTo>
                    <a:pt x="224" y="108"/>
                  </a:lnTo>
                  <a:lnTo>
                    <a:pt x="216" y="106"/>
                  </a:lnTo>
                  <a:lnTo>
                    <a:pt x="216" y="40"/>
                  </a:lnTo>
                  <a:lnTo>
                    <a:pt x="238" y="116"/>
                  </a:lnTo>
                  <a:close/>
                </a:path>
              </a:pathLst>
            </a:custGeom>
            <a:solidFill>
              <a:srgbClr val="FFFFFF"/>
            </a:solidFill>
            <a:ln w="9525">
              <a:noFill/>
              <a:round/>
              <a:headEnd/>
              <a:tailEnd/>
            </a:ln>
          </p:spPr>
          <p:txBody>
            <a:bodyPr/>
            <a:lstStyle/>
            <a:p>
              <a:pPr defTabSz="684673"/>
              <a:endParaRPr lang="en-US" sz="1100">
                <a:solidFill>
                  <a:srgbClr val="FFFFFF"/>
                </a:solidFill>
                <a:cs typeface="Arial" charset="0"/>
              </a:endParaRPr>
            </a:p>
          </p:txBody>
        </p:sp>
      </p:grpSp>
      <p:grpSp>
        <p:nvGrpSpPr>
          <p:cNvPr id="5" name="Group 11"/>
          <p:cNvGrpSpPr>
            <a:grpSpLocks/>
          </p:cNvGrpSpPr>
          <p:nvPr/>
        </p:nvGrpSpPr>
        <p:grpSpPr bwMode="auto">
          <a:xfrm>
            <a:off x="5257980" y="971552"/>
            <a:ext cx="1909069" cy="1232297"/>
            <a:chOff x="4294" y="1066"/>
            <a:chExt cx="1604" cy="1350"/>
          </a:xfrm>
        </p:grpSpPr>
        <p:sp>
          <p:nvSpPr>
            <p:cNvPr id="77" name="Right Arrow 76"/>
            <p:cNvSpPr>
              <a:spLocks noChangeArrowheads="1"/>
            </p:cNvSpPr>
            <p:nvPr/>
          </p:nvSpPr>
          <p:spPr bwMode="auto">
            <a:xfrm>
              <a:off x="4294" y="1066"/>
              <a:ext cx="1604" cy="1350"/>
            </a:xfrm>
            <a:prstGeom prst="rightArrow">
              <a:avLst>
                <a:gd name="adj1" fmla="val 50000"/>
                <a:gd name="adj2" fmla="val 49985"/>
              </a:avLst>
            </a:prstGeom>
            <a:ln>
              <a:headEnd/>
              <a:tailEnd/>
            </a:ln>
          </p:spPr>
          <p:style>
            <a:lnRef idx="1">
              <a:schemeClr val="accent1"/>
            </a:lnRef>
            <a:fillRef idx="3">
              <a:schemeClr val="accent1"/>
            </a:fillRef>
            <a:effectRef idx="2">
              <a:schemeClr val="accent1"/>
            </a:effectRef>
            <a:fontRef idx="minor">
              <a:schemeClr val="lt1"/>
            </a:fontRef>
          </p:style>
          <p:txBody>
            <a:bodyPr lIns="109833" tIns="0" rIns="0" bIns="54916" anchor="ctr"/>
            <a:lstStyle/>
            <a:p>
              <a:pPr defTabSz="822797">
                <a:defRPr/>
              </a:pPr>
              <a:endParaRPr lang="en-US" sz="1200" b="1">
                <a:solidFill>
                  <a:prstClr val="black"/>
                </a:solidFill>
              </a:endParaRPr>
            </a:p>
          </p:txBody>
        </p:sp>
        <p:sp>
          <p:nvSpPr>
            <p:cNvPr id="45109" name="Text Box 13"/>
            <p:cNvSpPr txBox="1">
              <a:spLocks noChangeArrowheads="1"/>
            </p:cNvSpPr>
            <p:nvPr/>
          </p:nvSpPr>
          <p:spPr bwMode="auto">
            <a:xfrm>
              <a:off x="4584" y="1800"/>
              <a:ext cx="879" cy="149"/>
            </a:xfrm>
            <a:prstGeom prst="rect">
              <a:avLst/>
            </a:prstGeom>
            <a:ln>
              <a:headEnd/>
              <a:tailEnd/>
            </a:ln>
          </p:spPr>
          <p:style>
            <a:lnRef idx="1">
              <a:schemeClr val="accent1"/>
            </a:lnRef>
            <a:fillRef idx="3">
              <a:schemeClr val="accent1"/>
            </a:fillRef>
            <a:effectRef idx="2">
              <a:schemeClr val="accent1"/>
            </a:effectRef>
            <a:fontRef idx="minor">
              <a:schemeClr val="lt1"/>
            </a:fontRef>
          </p:style>
          <p:txBody>
            <a:bodyPr lIns="109833" tIns="0" rIns="109833" bIns="54916" anchor="ctr"/>
            <a:lstStyle/>
            <a:p>
              <a:pPr algn="ctr" defTabSz="822797"/>
              <a:r>
                <a:rPr lang="en-US" sz="1100" dirty="0">
                  <a:solidFill>
                    <a:srgbClr val="FFFFFF"/>
                  </a:solidFill>
                </a:rPr>
                <a:t>Deploy</a:t>
              </a:r>
            </a:p>
          </p:txBody>
        </p:sp>
        <p:sp>
          <p:nvSpPr>
            <p:cNvPr id="45110" name="Text Box 14"/>
            <p:cNvSpPr txBox="1">
              <a:spLocks noChangeArrowheads="1"/>
            </p:cNvSpPr>
            <p:nvPr/>
          </p:nvSpPr>
          <p:spPr bwMode="auto">
            <a:xfrm>
              <a:off x="4584" y="1559"/>
              <a:ext cx="879" cy="149"/>
            </a:xfrm>
            <a:prstGeom prst="rect">
              <a:avLst/>
            </a:prstGeom>
            <a:ln>
              <a:headEnd/>
              <a:tailEnd/>
            </a:ln>
          </p:spPr>
          <p:style>
            <a:lnRef idx="1">
              <a:schemeClr val="accent1"/>
            </a:lnRef>
            <a:fillRef idx="3">
              <a:schemeClr val="accent1"/>
            </a:fillRef>
            <a:effectRef idx="2">
              <a:schemeClr val="accent1"/>
            </a:effectRef>
            <a:fontRef idx="minor">
              <a:schemeClr val="lt1"/>
            </a:fontRef>
          </p:style>
          <p:txBody>
            <a:bodyPr lIns="109833" tIns="0" rIns="109833" bIns="54916" anchor="ctr"/>
            <a:lstStyle/>
            <a:p>
              <a:pPr algn="ctr" defTabSz="822797"/>
              <a:r>
                <a:rPr lang="en-US" sz="1100" dirty="0">
                  <a:solidFill>
                    <a:srgbClr val="FFFFFF"/>
                  </a:solidFill>
                </a:rPr>
                <a:t>Configure</a:t>
              </a:r>
            </a:p>
          </p:txBody>
        </p:sp>
      </p:grpSp>
      <p:sp>
        <p:nvSpPr>
          <p:cNvPr id="45105" name="Text Box 44"/>
          <p:cNvSpPr txBox="1">
            <a:spLocks noChangeArrowheads="1"/>
          </p:cNvSpPr>
          <p:nvPr/>
        </p:nvSpPr>
        <p:spPr bwMode="auto">
          <a:xfrm>
            <a:off x="2600056" y="2550319"/>
            <a:ext cx="753265" cy="376238"/>
          </a:xfrm>
          <a:prstGeom prst="rect">
            <a:avLst/>
          </a:prstGeom>
          <a:noFill/>
          <a:ln w="9525" algn="ctr">
            <a:noFill/>
            <a:miter lim="800000"/>
            <a:headEnd/>
            <a:tailEnd/>
          </a:ln>
        </p:spPr>
        <p:txBody>
          <a:bodyPr lIns="82383" tIns="0" rIns="0" bIns="41190" anchor="ctr"/>
          <a:lstStyle/>
          <a:p>
            <a:pPr algn="ctr" defTabSz="822797"/>
            <a:r>
              <a:rPr lang="en-US" sz="1200">
                <a:solidFill>
                  <a:srgbClr val="FFFFFF"/>
                </a:solidFill>
              </a:rPr>
              <a:t>Service Model</a:t>
            </a:r>
          </a:p>
        </p:txBody>
      </p:sp>
      <p:sp>
        <p:nvSpPr>
          <p:cNvPr id="45107" name="Freeform 262"/>
          <p:cNvSpPr>
            <a:spLocks/>
          </p:cNvSpPr>
          <p:nvPr/>
        </p:nvSpPr>
        <p:spPr bwMode="gray">
          <a:xfrm>
            <a:off x="3282839" y="2622947"/>
            <a:ext cx="215848" cy="219075"/>
          </a:xfrm>
          <a:custGeom>
            <a:avLst/>
            <a:gdLst>
              <a:gd name="T0" fmla="*/ 202954 w 210"/>
              <a:gd name="T1" fmla="*/ 2670 h 206"/>
              <a:gd name="T2" fmla="*/ 5799 w 210"/>
              <a:gd name="T3" fmla="*/ 136164 h 206"/>
              <a:gd name="T4" fmla="*/ 0 w 210"/>
              <a:gd name="T5" fmla="*/ 138835 h 206"/>
              <a:gd name="T6" fmla="*/ 5799 w 210"/>
              <a:gd name="T7" fmla="*/ 141505 h 206"/>
              <a:gd name="T8" fmla="*/ 295734 w 210"/>
              <a:gd name="T9" fmla="*/ 224272 h 206"/>
              <a:gd name="T10" fmla="*/ 301533 w 210"/>
              <a:gd name="T11" fmla="*/ 226942 h 206"/>
              <a:gd name="T12" fmla="*/ 298633 w 210"/>
              <a:gd name="T13" fmla="*/ 221601 h 206"/>
              <a:gd name="T14" fmla="*/ 205854 w 210"/>
              <a:gd name="T15" fmla="*/ 8009 h 206"/>
              <a:gd name="T16" fmla="*/ 202954 w 210"/>
              <a:gd name="T17" fmla="*/ 0 h 206"/>
              <a:gd name="T18" fmla="*/ 202954 w 210"/>
              <a:gd name="T19" fmla="*/ 8009 h 206"/>
              <a:gd name="T20" fmla="*/ 165263 w 210"/>
              <a:gd name="T21" fmla="*/ 130825 h 206"/>
              <a:gd name="T22" fmla="*/ 168162 w 210"/>
              <a:gd name="T23" fmla="*/ 133495 h 206"/>
              <a:gd name="T24" fmla="*/ 295734 w 210"/>
              <a:gd name="T25" fmla="*/ 218931 h 206"/>
              <a:gd name="T26" fmla="*/ 298633 w 210"/>
              <a:gd name="T27" fmla="*/ 216262 h 206"/>
              <a:gd name="T28" fmla="*/ 84081 w 210"/>
              <a:gd name="T29" fmla="*/ 269660 h 206"/>
              <a:gd name="T30" fmla="*/ 89880 w 210"/>
              <a:gd name="T31" fmla="*/ 272330 h 206"/>
              <a:gd name="T32" fmla="*/ 8698 w 210"/>
              <a:gd name="T33" fmla="*/ 136164 h 206"/>
              <a:gd name="T34" fmla="*/ 5799 w 210"/>
              <a:gd name="T35" fmla="*/ 141505 h 206"/>
              <a:gd name="T36" fmla="*/ 168162 w 210"/>
              <a:gd name="T37" fmla="*/ 130825 h 206"/>
              <a:gd name="T38" fmla="*/ 165263 w 210"/>
              <a:gd name="T39" fmla="*/ 128155 h 206"/>
              <a:gd name="T40" fmla="*/ 86980 w 210"/>
              <a:gd name="T41" fmla="*/ 266990 h 206"/>
              <a:gd name="T42" fmla="*/ 92779 w 210"/>
              <a:gd name="T43" fmla="*/ 269660 h 206"/>
              <a:gd name="T44" fmla="*/ 171061 w 210"/>
              <a:gd name="T45" fmla="*/ 128155 h 206"/>
              <a:gd name="T46" fmla="*/ 173961 w 210"/>
              <a:gd name="T47" fmla="*/ 125485 h 206"/>
              <a:gd name="T48" fmla="*/ 168162 w 210"/>
              <a:gd name="T49" fmla="*/ 125485 h 206"/>
              <a:gd name="T50" fmla="*/ 5799 w 210"/>
              <a:gd name="T51" fmla="*/ 136164 h 206"/>
              <a:gd name="T52" fmla="*/ 2899 w 210"/>
              <a:gd name="T53" fmla="*/ 136164 h 206"/>
              <a:gd name="T54" fmla="*/ 2899 w 210"/>
              <a:gd name="T55" fmla="*/ 138835 h 206"/>
              <a:gd name="T56" fmla="*/ 84081 w 210"/>
              <a:gd name="T57" fmla="*/ 275000 h 206"/>
              <a:gd name="T58" fmla="*/ 86980 w 210"/>
              <a:gd name="T59" fmla="*/ 275000 h 206"/>
              <a:gd name="T60" fmla="*/ 298633 w 210"/>
              <a:gd name="T61" fmla="*/ 221601 h 206"/>
              <a:gd name="T62" fmla="*/ 304432 w 210"/>
              <a:gd name="T63" fmla="*/ 218931 h 206"/>
              <a:gd name="T64" fmla="*/ 298633 w 210"/>
              <a:gd name="T65" fmla="*/ 216262 h 206"/>
              <a:gd name="T66" fmla="*/ 171061 w 210"/>
              <a:gd name="T67" fmla="*/ 128155 h 206"/>
              <a:gd name="T68" fmla="*/ 171061 w 210"/>
              <a:gd name="T69" fmla="*/ 130825 h 206"/>
              <a:gd name="T70" fmla="*/ 208753 w 210"/>
              <a:gd name="T71" fmla="*/ 8009 h 206"/>
              <a:gd name="T72" fmla="*/ 202954 w 210"/>
              <a:gd name="T73" fmla="*/ 8009 h 206"/>
              <a:gd name="T74" fmla="*/ 292834 w 210"/>
              <a:gd name="T75" fmla="*/ 224272 h 206"/>
              <a:gd name="T76" fmla="*/ 295734 w 210"/>
              <a:gd name="T77" fmla="*/ 218931 h 206"/>
              <a:gd name="T78" fmla="*/ 5799 w 210"/>
              <a:gd name="T79" fmla="*/ 136164 h 206"/>
              <a:gd name="T80" fmla="*/ 8698 w 210"/>
              <a:gd name="T81" fmla="*/ 141505 h 206"/>
              <a:gd name="T82" fmla="*/ 205854 w 210"/>
              <a:gd name="T83" fmla="*/ 5340 h 206"/>
              <a:gd name="T84" fmla="*/ 202954 w 210"/>
              <a:gd name="T85" fmla="*/ 2670 h 20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10"/>
              <a:gd name="T130" fmla="*/ 0 h 206"/>
              <a:gd name="T131" fmla="*/ 210 w 210"/>
              <a:gd name="T132" fmla="*/ 206 h 20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10" h="206">
                <a:moveTo>
                  <a:pt x="140" y="2"/>
                </a:moveTo>
                <a:lnTo>
                  <a:pt x="4" y="102"/>
                </a:lnTo>
                <a:lnTo>
                  <a:pt x="0" y="104"/>
                </a:lnTo>
                <a:lnTo>
                  <a:pt x="4" y="106"/>
                </a:lnTo>
                <a:lnTo>
                  <a:pt x="204" y="168"/>
                </a:lnTo>
                <a:lnTo>
                  <a:pt x="208" y="170"/>
                </a:lnTo>
                <a:lnTo>
                  <a:pt x="206" y="166"/>
                </a:lnTo>
                <a:lnTo>
                  <a:pt x="142" y="6"/>
                </a:lnTo>
                <a:lnTo>
                  <a:pt x="140" y="0"/>
                </a:lnTo>
                <a:lnTo>
                  <a:pt x="140" y="6"/>
                </a:lnTo>
                <a:lnTo>
                  <a:pt x="114" y="98"/>
                </a:lnTo>
                <a:lnTo>
                  <a:pt x="116" y="100"/>
                </a:lnTo>
                <a:lnTo>
                  <a:pt x="204" y="164"/>
                </a:lnTo>
                <a:lnTo>
                  <a:pt x="206" y="162"/>
                </a:lnTo>
                <a:lnTo>
                  <a:pt x="58" y="202"/>
                </a:lnTo>
                <a:lnTo>
                  <a:pt x="62" y="204"/>
                </a:lnTo>
                <a:lnTo>
                  <a:pt x="6" y="102"/>
                </a:lnTo>
                <a:lnTo>
                  <a:pt x="4" y="106"/>
                </a:lnTo>
                <a:lnTo>
                  <a:pt x="116" y="98"/>
                </a:lnTo>
                <a:lnTo>
                  <a:pt x="114" y="96"/>
                </a:lnTo>
                <a:lnTo>
                  <a:pt x="60" y="200"/>
                </a:lnTo>
                <a:lnTo>
                  <a:pt x="64" y="202"/>
                </a:lnTo>
                <a:lnTo>
                  <a:pt x="118" y="96"/>
                </a:lnTo>
                <a:lnTo>
                  <a:pt x="120" y="94"/>
                </a:lnTo>
                <a:lnTo>
                  <a:pt x="116" y="94"/>
                </a:lnTo>
                <a:lnTo>
                  <a:pt x="4" y="102"/>
                </a:lnTo>
                <a:lnTo>
                  <a:pt x="2" y="102"/>
                </a:lnTo>
                <a:lnTo>
                  <a:pt x="2" y="104"/>
                </a:lnTo>
                <a:lnTo>
                  <a:pt x="58" y="206"/>
                </a:lnTo>
                <a:lnTo>
                  <a:pt x="60" y="206"/>
                </a:lnTo>
                <a:lnTo>
                  <a:pt x="206" y="166"/>
                </a:lnTo>
                <a:lnTo>
                  <a:pt x="210" y="164"/>
                </a:lnTo>
                <a:lnTo>
                  <a:pt x="206" y="162"/>
                </a:lnTo>
                <a:lnTo>
                  <a:pt x="118" y="96"/>
                </a:lnTo>
                <a:lnTo>
                  <a:pt x="118" y="98"/>
                </a:lnTo>
                <a:lnTo>
                  <a:pt x="144" y="6"/>
                </a:lnTo>
                <a:lnTo>
                  <a:pt x="140" y="6"/>
                </a:lnTo>
                <a:lnTo>
                  <a:pt x="202" y="168"/>
                </a:lnTo>
                <a:lnTo>
                  <a:pt x="204" y="164"/>
                </a:lnTo>
                <a:lnTo>
                  <a:pt x="4" y="102"/>
                </a:lnTo>
                <a:lnTo>
                  <a:pt x="6" y="106"/>
                </a:lnTo>
                <a:lnTo>
                  <a:pt x="142" y="4"/>
                </a:lnTo>
                <a:lnTo>
                  <a:pt x="140" y="2"/>
                </a:lnTo>
                <a:close/>
              </a:path>
            </a:pathLst>
          </a:custGeom>
          <a:solidFill>
            <a:schemeClr val="bg1"/>
          </a:solidFill>
          <a:ln w="9525">
            <a:noFill/>
            <a:miter lim="800000"/>
            <a:headEnd/>
            <a:tailEnd/>
          </a:ln>
        </p:spPr>
        <p:txBody>
          <a:bodyPr lIns="68586" tIns="34294" rIns="68586" bIns="34294" anchor="ctr"/>
          <a:lstStyle/>
          <a:p>
            <a:pPr defTabSz="684673"/>
            <a:endParaRPr lang="en-US">
              <a:solidFill>
                <a:srgbClr val="FFFFFF"/>
              </a:solidFill>
              <a:cs typeface="Arial" charset="0"/>
            </a:endParaRPr>
          </a:p>
        </p:txBody>
      </p:sp>
      <p:grpSp>
        <p:nvGrpSpPr>
          <p:cNvPr id="45066" name="Group 6"/>
          <p:cNvGrpSpPr>
            <a:grpSpLocks/>
          </p:cNvGrpSpPr>
          <p:nvPr/>
        </p:nvGrpSpPr>
        <p:grpSpPr bwMode="auto">
          <a:xfrm>
            <a:off x="8346069" y="2228850"/>
            <a:ext cx="601422" cy="1546928"/>
            <a:chOff x="6518" y="1519"/>
            <a:chExt cx="976" cy="2506"/>
          </a:xfrm>
        </p:grpSpPr>
        <p:pic>
          <p:nvPicPr>
            <p:cNvPr id="45103" name="Picture 5" descr="\\192.168.10.9\Shared\Design\Microsoft Events Presentation Resource DVD\DVD_ART36\Artwork_Imagery\Icons - Illustrations\People\White silhouettes\man person.png"/>
            <p:cNvPicPr>
              <a:picLocks noChangeAspect="1" noChangeArrowheads="1"/>
            </p:cNvPicPr>
            <p:nvPr/>
          </p:nvPicPr>
          <p:blipFill>
            <a:blip r:embed="rId3" cstate="print"/>
            <a:srcRect/>
            <a:stretch>
              <a:fillRect/>
            </a:stretch>
          </p:blipFill>
          <p:spPr bwMode="auto">
            <a:xfrm>
              <a:off x="6518" y="1519"/>
              <a:ext cx="976" cy="2279"/>
            </a:xfrm>
            <a:prstGeom prst="rect">
              <a:avLst/>
            </a:prstGeom>
            <a:noFill/>
            <a:ln w="9525">
              <a:noFill/>
              <a:miter lim="800000"/>
              <a:headEnd/>
              <a:tailEnd/>
            </a:ln>
          </p:spPr>
        </p:pic>
        <p:sp>
          <p:nvSpPr>
            <p:cNvPr id="45104" name="Oval 8"/>
            <p:cNvSpPr>
              <a:spLocks noChangeArrowheads="1"/>
            </p:cNvSpPr>
            <p:nvPr/>
          </p:nvSpPr>
          <p:spPr bwMode="auto">
            <a:xfrm>
              <a:off x="6542" y="3168"/>
              <a:ext cx="914" cy="857"/>
            </a:xfrm>
            <a:prstGeom prst="ellipse">
              <a:avLst/>
            </a:prstGeom>
            <a:solidFill>
              <a:srgbClr val="3F7C37">
                <a:alpha val="89803"/>
              </a:srgbClr>
            </a:solidFill>
            <a:ln w="9525">
              <a:noFill/>
              <a:round/>
              <a:headEnd/>
              <a:tailEnd/>
            </a:ln>
          </p:spPr>
          <p:txBody>
            <a:bodyPr lIns="0" rIns="0" anchor="ctr"/>
            <a:lstStyle/>
            <a:p>
              <a:pPr algn="ctr"/>
              <a:r>
                <a:rPr lang="en-US" sz="800" dirty="0">
                  <a:solidFill>
                    <a:srgbClr val="FFFFFF"/>
                  </a:solidFill>
                </a:rPr>
                <a:t>DC Admin</a:t>
              </a:r>
            </a:p>
          </p:txBody>
        </p:sp>
      </p:grpSp>
      <p:grpSp>
        <p:nvGrpSpPr>
          <p:cNvPr id="16" name="Group 53"/>
          <p:cNvGrpSpPr>
            <a:grpSpLocks/>
          </p:cNvGrpSpPr>
          <p:nvPr/>
        </p:nvGrpSpPr>
        <p:grpSpPr bwMode="auto">
          <a:xfrm>
            <a:off x="5086484" y="3450431"/>
            <a:ext cx="1909069" cy="1234440"/>
            <a:chOff x="4271" y="2496"/>
            <a:chExt cx="1603" cy="1349"/>
          </a:xfrm>
        </p:grpSpPr>
        <p:sp>
          <p:nvSpPr>
            <p:cNvPr id="58" name="Right Arrow 57"/>
            <p:cNvSpPr>
              <a:spLocks noChangeArrowheads="1"/>
            </p:cNvSpPr>
            <p:nvPr/>
          </p:nvSpPr>
          <p:spPr bwMode="auto">
            <a:xfrm flipH="1">
              <a:off x="4271" y="2496"/>
              <a:ext cx="1603" cy="1349"/>
            </a:xfrm>
            <a:prstGeom prst="rightArrow">
              <a:avLst>
                <a:gd name="adj1" fmla="val 50000"/>
                <a:gd name="adj2" fmla="val 59414"/>
              </a:avLst>
            </a:prstGeom>
            <a:ln>
              <a:headEnd/>
              <a:tailEnd/>
            </a:ln>
          </p:spPr>
          <p:style>
            <a:lnRef idx="1">
              <a:schemeClr val="accent1"/>
            </a:lnRef>
            <a:fillRef idx="3">
              <a:schemeClr val="accent1"/>
            </a:fillRef>
            <a:effectRef idx="2">
              <a:schemeClr val="accent1"/>
            </a:effectRef>
            <a:fontRef idx="minor">
              <a:schemeClr val="lt1"/>
            </a:fontRef>
          </p:style>
          <p:txBody>
            <a:bodyPr lIns="109833" tIns="0" rIns="0" bIns="54916" anchor="ctr"/>
            <a:lstStyle/>
            <a:p>
              <a:pPr defTabSz="822797">
                <a:defRPr/>
              </a:pPr>
              <a:endParaRPr lang="en-US" sz="1200" b="1">
                <a:solidFill>
                  <a:prstClr val="black"/>
                </a:solidFill>
              </a:endParaRPr>
            </a:p>
          </p:txBody>
        </p:sp>
        <p:sp>
          <p:nvSpPr>
            <p:cNvPr id="45099" name="Text Box 56"/>
            <p:cNvSpPr txBox="1">
              <a:spLocks noChangeArrowheads="1"/>
            </p:cNvSpPr>
            <p:nvPr/>
          </p:nvSpPr>
          <p:spPr bwMode="auto">
            <a:xfrm>
              <a:off x="4705" y="3240"/>
              <a:ext cx="878" cy="147"/>
            </a:xfrm>
            <a:prstGeom prst="rect">
              <a:avLst/>
            </a:prstGeom>
            <a:ln>
              <a:headEnd/>
              <a:tailEnd/>
            </a:ln>
          </p:spPr>
          <p:style>
            <a:lnRef idx="1">
              <a:schemeClr val="accent1"/>
            </a:lnRef>
            <a:fillRef idx="3">
              <a:schemeClr val="accent1"/>
            </a:fillRef>
            <a:effectRef idx="2">
              <a:schemeClr val="accent1"/>
            </a:effectRef>
            <a:fontRef idx="minor">
              <a:schemeClr val="lt1"/>
            </a:fontRef>
          </p:style>
          <p:txBody>
            <a:bodyPr lIns="109833" tIns="0" rIns="0" bIns="54916" anchor="ctr"/>
            <a:lstStyle/>
            <a:p>
              <a:pPr algn="ctr" defTabSz="822797"/>
              <a:r>
                <a:rPr lang="en-US" sz="1100" dirty="0">
                  <a:solidFill>
                    <a:srgbClr val="FFFFFF"/>
                  </a:solidFill>
                </a:rPr>
                <a:t>Operate</a:t>
              </a:r>
            </a:p>
          </p:txBody>
        </p:sp>
        <p:sp>
          <p:nvSpPr>
            <p:cNvPr id="45100" name="Text Box 57"/>
            <p:cNvSpPr txBox="1">
              <a:spLocks noChangeArrowheads="1"/>
            </p:cNvSpPr>
            <p:nvPr/>
          </p:nvSpPr>
          <p:spPr bwMode="auto">
            <a:xfrm>
              <a:off x="4705" y="2978"/>
              <a:ext cx="878" cy="148"/>
            </a:xfrm>
            <a:prstGeom prst="rect">
              <a:avLst/>
            </a:prstGeom>
            <a:ln>
              <a:headEnd/>
              <a:tailEnd/>
            </a:ln>
          </p:spPr>
          <p:style>
            <a:lnRef idx="1">
              <a:schemeClr val="accent1"/>
            </a:lnRef>
            <a:fillRef idx="3">
              <a:schemeClr val="accent1"/>
            </a:fillRef>
            <a:effectRef idx="2">
              <a:schemeClr val="accent1"/>
            </a:effectRef>
            <a:fontRef idx="minor">
              <a:schemeClr val="lt1"/>
            </a:fontRef>
          </p:style>
          <p:txBody>
            <a:bodyPr lIns="109833" tIns="0" rIns="0" bIns="54916" anchor="ctr"/>
            <a:lstStyle/>
            <a:p>
              <a:pPr algn="ctr" defTabSz="822797"/>
              <a:r>
                <a:rPr lang="en-US" sz="1100" dirty="0">
                  <a:solidFill>
                    <a:srgbClr val="FFFFFF"/>
                  </a:solidFill>
                </a:rPr>
                <a:t>Monitor</a:t>
              </a:r>
            </a:p>
          </p:txBody>
        </p:sp>
      </p:grpSp>
      <p:grpSp>
        <p:nvGrpSpPr>
          <p:cNvPr id="17" name="Group 84"/>
          <p:cNvGrpSpPr>
            <a:grpSpLocks/>
          </p:cNvGrpSpPr>
          <p:nvPr/>
        </p:nvGrpSpPr>
        <p:grpSpPr bwMode="auto">
          <a:xfrm>
            <a:off x="7086065" y="1200151"/>
            <a:ext cx="1038495" cy="3380185"/>
            <a:chOff x="6114" y="624"/>
            <a:chExt cx="989" cy="3223"/>
          </a:xfrm>
        </p:grpSpPr>
        <p:sp>
          <p:nvSpPr>
            <p:cNvPr id="84" name="Rectangle 83"/>
            <p:cNvSpPr/>
            <p:nvPr/>
          </p:nvSpPr>
          <p:spPr>
            <a:xfrm>
              <a:off x="6280" y="2899"/>
              <a:ext cx="658" cy="188"/>
            </a:xfrm>
            <a:prstGeom prst="rect">
              <a:avLst/>
            </a:prstGeom>
            <a:noFill/>
            <a:ln w="3175" cap="flat" cmpd="sng" algn="ctr">
              <a:noFill/>
              <a:prstDash val="solid"/>
            </a:ln>
            <a:effectLst/>
          </p:spPr>
          <p:txBody>
            <a:bodyPr lIns="121899" tIns="60949" rIns="121899" bIns="60949" anchor="b"/>
            <a:lstStyle/>
            <a:p>
              <a:pPr algn="ctr" defTabSz="685835">
                <a:defRPr/>
              </a:pPr>
              <a:r>
                <a:rPr lang="en-US" sz="900" kern="0" dirty="0">
                  <a:solidFill>
                    <a:srgbClr val="FFFFFF">
                      <a:alpha val="99000"/>
                    </a:srgbClr>
                  </a:solidFill>
                  <a:latin typeface="Segoe UI"/>
                  <a:cs typeface="Arial" charset="0"/>
                </a:rPr>
                <a:t>Virtual</a:t>
              </a:r>
            </a:p>
          </p:txBody>
        </p:sp>
        <p:sp>
          <p:nvSpPr>
            <p:cNvPr id="85" name="Rectangle 84"/>
            <p:cNvSpPr/>
            <p:nvPr/>
          </p:nvSpPr>
          <p:spPr>
            <a:xfrm>
              <a:off x="6278" y="3676"/>
              <a:ext cx="661" cy="171"/>
            </a:xfrm>
            <a:prstGeom prst="rect">
              <a:avLst/>
            </a:prstGeom>
            <a:noFill/>
            <a:ln w="3175" cap="flat" cmpd="sng" algn="ctr">
              <a:noFill/>
              <a:prstDash val="solid"/>
            </a:ln>
            <a:effectLst/>
          </p:spPr>
          <p:txBody>
            <a:bodyPr lIns="121899" tIns="60949" rIns="121899" bIns="60949" anchor="b"/>
            <a:lstStyle/>
            <a:p>
              <a:pPr algn="ctr" defTabSz="685835">
                <a:defRPr/>
              </a:pPr>
              <a:r>
                <a:rPr lang="en-US" sz="900" kern="0" dirty="0">
                  <a:solidFill>
                    <a:srgbClr val="FFFFFF">
                      <a:alpha val="99000"/>
                    </a:srgbClr>
                  </a:solidFill>
                  <a:latin typeface="Segoe UI"/>
                  <a:cs typeface="Arial" charset="0"/>
                </a:rPr>
                <a:t>Physical</a:t>
              </a:r>
            </a:p>
          </p:txBody>
        </p:sp>
        <p:pic>
          <p:nvPicPr>
            <p:cNvPr id="45092" name="Picture 140"/>
            <p:cNvPicPr>
              <a:picLocks noChangeAspect="1"/>
            </p:cNvPicPr>
            <p:nvPr/>
          </p:nvPicPr>
          <p:blipFill>
            <a:blip r:embed="rId4" cstate="print"/>
            <a:srcRect/>
            <a:stretch>
              <a:fillRect/>
            </a:stretch>
          </p:blipFill>
          <p:spPr bwMode="auto">
            <a:xfrm>
              <a:off x="6291" y="2369"/>
              <a:ext cx="635" cy="675"/>
            </a:xfrm>
            <a:prstGeom prst="rect">
              <a:avLst/>
            </a:prstGeom>
            <a:noFill/>
            <a:ln w="9525">
              <a:noFill/>
              <a:miter lim="800000"/>
              <a:headEnd/>
              <a:tailEnd/>
            </a:ln>
          </p:spPr>
        </p:pic>
        <p:pic>
          <p:nvPicPr>
            <p:cNvPr id="45093" name="Picture 2"/>
            <p:cNvPicPr>
              <a:picLocks noChangeAspect="1" noChangeArrowheads="1"/>
            </p:cNvPicPr>
            <p:nvPr/>
          </p:nvPicPr>
          <p:blipFill>
            <a:blip r:embed="rId5" cstate="print"/>
            <a:srcRect/>
            <a:stretch>
              <a:fillRect/>
            </a:stretch>
          </p:blipFill>
          <p:spPr bwMode="auto">
            <a:xfrm>
              <a:off x="6411" y="3199"/>
              <a:ext cx="395" cy="545"/>
            </a:xfrm>
            <a:prstGeom prst="rect">
              <a:avLst/>
            </a:prstGeom>
            <a:noFill/>
            <a:ln w="9525">
              <a:noFill/>
              <a:miter lim="800000"/>
              <a:headEnd/>
              <a:tailEnd/>
            </a:ln>
          </p:spPr>
        </p:pic>
        <p:sp>
          <p:nvSpPr>
            <p:cNvPr id="81" name="Rectangle 80"/>
            <p:cNvSpPr/>
            <p:nvPr/>
          </p:nvSpPr>
          <p:spPr>
            <a:xfrm>
              <a:off x="6114" y="1257"/>
              <a:ext cx="989" cy="173"/>
            </a:xfrm>
            <a:prstGeom prst="rect">
              <a:avLst/>
            </a:prstGeom>
            <a:noFill/>
            <a:ln w="3175" cap="flat" cmpd="sng" algn="ctr">
              <a:noFill/>
              <a:prstDash val="solid"/>
            </a:ln>
            <a:effectLst/>
          </p:spPr>
          <p:txBody>
            <a:bodyPr lIns="0" tIns="60949" rIns="0" bIns="60949" anchor="b"/>
            <a:lstStyle>
              <a:defPPr>
                <a:defRPr lang="en-US"/>
              </a:defPPr>
              <a:lvl1pPr algn="l" rtl="0" fontAlgn="base">
                <a:spcBef>
                  <a:spcPct val="0"/>
                </a:spcBef>
                <a:spcAft>
                  <a:spcPct val="0"/>
                </a:spcAft>
                <a:defRPr kern="1200">
                  <a:solidFill>
                    <a:schemeClr val="tx1"/>
                  </a:solidFill>
                  <a:latin typeface="Segoe UI" pitchFamily="34" charset="0"/>
                  <a:ea typeface="+mn-ea"/>
                  <a:cs typeface="Segoe UI" pitchFamily="34" charset="0"/>
                </a:defRPr>
              </a:lvl1pPr>
              <a:lvl2pPr marL="457200" algn="l" rtl="0" fontAlgn="base">
                <a:spcBef>
                  <a:spcPct val="0"/>
                </a:spcBef>
                <a:spcAft>
                  <a:spcPct val="0"/>
                </a:spcAft>
                <a:defRPr kern="1200">
                  <a:solidFill>
                    <a:schemeClr val="tx1"/>
                  </a:solidFill>
                  <a:latin typeface="Segoe UI" pitchFamily="34" charset="0"/>
                  <a:ea typeface="+mn-ea"/>
                  <a:cs typeface="Segoe UI" pitchFamily="34" charset="0"/>
                </a:defRPr>
              </a:lvl2pPr>
              <a:lvl3pPr marL="914400" algn="l" rtl="0" fontAlgn="base">
                <a:spcBef>
                  <a:spcPct val="0"/>
                </a:spcBef>
                <a:spcAft>
                  <a:spcPct val="0"/>
                </a:spcAft>
                <a:defRPr kern="1200">
                  <a:solidFill>
                    <a:schemeClr val="tx1"/>
                  </a:solidFill>
                  <a:latin typeface="Segoe UI" pitchFamily="34" charset="0"/>
                  <a:ea typeface="+mn-ea"/>
                  <a:cs typeface="Segoe UI" pitchFamily="34" charset="0"/>
                </a:defRPr>
              </a:lvl3pPr>
              <a:lvl4pPr marL="1371600" algn="l" rtl="0" fontAlgn="base">
                <a:spcBef>
                  <a:spcPct val="0"/>
                </a:spcBef>
                <a:spcAft>
                  <a:spcPct val="0"/>
                </a:spcAft>
                <a:defRPr kern="1200">
                  <a:solidFill>
                    <a:schemeClr val="tx1"/>
                  </a:solidFill>
                  <a:latin typeface="Segoe UI" pitchFamily="34" charset="0"/>
                  <a:ea typeface="+mn-ea"/>
                  <a:cs typeface="Segoe UI" pitchFamily="34" charset="0"/>
                </a:defRPr>
              </a:lvl4pPr>
              <a:lvl5pPr marL="1828800" algn="l" rtl="0" fontAlgn="base">
                <a:spcBef>
                  <a:spcPct val="0"/>
                </a:spcBef>
                <a:spcAft>
                  <a:spcPct val="0"/>
                </a:spcAft>
                <a:defRPr kern="1200">
                  <a:solidFill>
                    <a:schemeClr val="tx1"/>
                  </a:solidFill>
                  <a:latin typeface="Segoe UI" pitchFamily="34" charset="0"/>
                  <a:ea typeface="+mn-ea"/>
                  <a:cs typeface="Segoe UI" pitchFamily="34" charset="0"/>
                </a:defRPr>
              </a:lvl5pPr>
              <a:lvl6pPr marL="2286000" algn="l" defTabSz="914400" rtl="0" eaLnBrk="1" latinLnBrk="0" hangingPunct="1">
                <a:defRPr kern="1200">
                  <a:solidFill>
                    <a:schemeClr val="tx1"/>
                  </a:solidFill>
                  <a:latin typeface="Segoe UI" pitchFamily="34" charset="0"/>
                  <a:ea typeface="+mn-ea"/>
                  <a:cs typeface="Segoe UI" pitchFamily="34" charset="0"/>
                </a:defRPr>
              </a:lvl6pPr>
              <a:lvl7pPr marL="2743200" algn="l" defTabSz="914400" rtl="0" eaLnBrk="1" latinLnBrk="0" hangingPunct="1">
                <a:defRPr kern="1200">
                  <a:solidFill>
                    <a:schemeClr val="tx1"/>
                  </a:solidFill>
                  <a:latin typeface="Segoe UI" pitchFamily="34" charset="0"/>
                  <a:ea typeface="+mn-ea"/>
                  <a:cs typeface="Segoe UI" pitchFamily="34" charset="0"/>
                </a:defRPr>
              </a:lvl7pPr>
              <a:lvl8pPr marL="3200400" algn="l" defTabSz="914400" rtl="0" eaLnBrk="1" latinLnBrk="0" hangingPunct="1">
                <a:defRPr kern="1200">
                  <a:solidFill>
                    <a:schemeClr val="tx1"/>
                  </a:solidFill>
                  <a:latin typeface="Segoe UI" pitchFamily="34" charset="0"/>
                  <a:ea typeface="+mn-ea"/>
                  <a:cs typeface="Segoe UI" pitchFamily="34" charset="0"/>
                </a:defRPr>
              </a:lvl8pPr>
              <a:lvl9pPr marL="3657600" algn="l" defTabSz="914400" rtl="0" eaLnBrk="1" latinLnBrk="0" hangingPunct="1">
                <a:defRPr kern="1200">
                  <a:solidFill>
                    <a:schemeClr val="tx1"/>
                  </a:solidFill>
                  <a:latin typeface="Segoe UI" pitchFamily="34" charset="0"/>
                  <a:ea typeface="+mn-ea"/>
                  <a:cs typeface="Segoe UI" pitchFamily="34" charset="0"/>
                </a:defRPr>
              </a:lvl9pPr>
            </a:lstStyle>
            <a:p>
              <a:pPr algn="ctr" defTabSz="685835">
                <a:defRPr/>
              </a:pPr>
              <a:r>
                <a:rPr lang="en-US" sz="900" kern="0" dirty="0">
                  <a:solidFill>
                    <a:srgbClr val="FFFFFF">
                      <a:alpha val="99000"/>
                    </a:srgbClr>
                  </a:solidFill>
                  <a:latin typeface="Segoe UI"/>
                  <a:cs typeface="Arial" charset="0"/>
                </a:rPr>
                <a:t>Public</a:t>
              </a:r>
              <a:r>
                <a:rPr lang="en-US" sz="1100" kern="0" dirty="0">
                  <a:solidFill>
                    <a:srgbClr val="FFFFFF">
                      <a:alpha val="99000"/>
                    </a:srgbClr>
                  </a:solidFill>
                  <a:latin typeface="Segoe UI"/>
                  <a:cs typeface="Arial" charset="0"/>
                </a:rPr>
                <a:t> </a:t>
              </a:r>
              <a:r>
                <a:rPr lang="en-US" sz="900" kern="0" dirty="0">
                  <a:solidFill>
                    <a:srgbClr val="FFFFFF">
                      <a:alpha val="99000"/>
                    </a:srgbClr>
                  </a:solidFill>
                  <a:latin typeface="Segoe UI"/>
                  <a:cs typeface="Arial" charset="0"/>
                </a:rPr>
                <a:t>Cloud</a:t>
              </a:r>
            </a:p>
          </p:txBody>
        </p:sp>
        <p:sp>
          <p:nvSpPr>
            <p:cNvPr id="86" name="Rectangle 85"/>
            <p:cNvSpPr/>
            <p:nvPr/>
          </p:nvSpPr>
          <p:spPr>
            <a:xfrm>
              <a:off x="6223" y="2227"/>
              <a:ext cx="868" cy="141"/>
            </a:xfrm>
            <a:prstGeom prst="rect">
              <a:avLst/>
            </a:prstGeom>
            <a:noFill/>
            <a:ln w="3175" cap="flat" cmpd="sng" algn="ctr">
              <a:noFill/>
              <a:prstDash val="solid"/>
            </a:ln>
            <a:effectLst/>
          </p:spPr>
          <p:txBody>
            <a:bodyPr lIns="121899" tIns="60949" rIns="121899" bIns="60949" anchor="b"/>
            <a:lstStyle>
              <a:defPPr>
                <a:defRPr lang="en-US"/>
              </a:defPPr>
              <a:lvl1pPr algn="l" rtl="0" fontAlgn="base">
                <a:spcBef>
                  <a:spcPct val="0"/>
                </a:spcBef>
                <a:spcAft>
                  <a:spcPct val="0"/>
                </a:spcAft>
                <a:defRPr kern="1200">
                  <a:solidFill>
                    <a:schemeClr val="tx1"/>
                  </a:solidFill>
                  <a:latin typeface="Segoe UI" pitchFamily="34" charset="0"/>
                  <a:ea typeface="+mn-ea"/>
                  <a:cs typeface="Segoe UI" pitchFamily="34" charset="0"/>
                </a:defRPr>
              </a:lvl1pPr>
              <a:lvl2pPr marL="457200" algn="l" rtl="0" fontAlgn="base">
                <a:spcBef>
                  <a:spcPct val="0"/>
                </a:spcBef>
                <a:spcAft>
                  <a:spcPct val="0"/>
                </a:spcAft>
                <a:defRPr kern="1200">
                  <a:solidFill>
                    <a:schemeClr val="tx1"/>
                  </a:solidFill>
                  <a:latin typeface="Segoe UI" pitchFamily="34" charset="0"/>
                  <a:ea typeface="+mn-ea"/>
                  <a:cs typeface="Segoe UI" pitchFamily="34" charset="0"/>
                </a:defRPr>
              </a:lvl2pPr>
              <a:lvl3pPr marL="914400" algn="l" rtl="0" fontAlgn="base">
                <a:spcBef>
                  <a:spcPct val="0"/>
                </a:spcBef>
                <a:spcAft>
                  <a:spcPct val="0"/>
                </a:spcAft>
                <a:defRPr kern="1200">
                  <a:solidFill>
                    <a:schemeClr val="tx1"/>
                  </a:solidFill>
                  <a:latin typeface="Segoe UI" pitchFamily="34" charset="0"/>
                  <a:ea typeface="+mn-ea"/>
                  <a:cs typeface="Segoe UI" pitchFamily="34" charset="0"/>
                </a:defRPr>
              </a:lvl3pPr>
              <a:lvl4pPr marL="1371600" algn="l" rtl="0" fontAlgn="base">
                <a:spcBef>
                  <a:spcPct val="0"/>
                </a:spcBef>
                <a:spcAft>
                  <a:spcPct val="0"/>
                </a:spcAft>
                <a:defRPr kern="1200">
                  <a:solidFill>
                    <a:schemeClr val="tx1"/>
                  </a:solidFill>
                  <a:latin typeface="Segoe UI" pitchFamily="34" charset="0"/>
                  <a:ea typeface="+mn-ea"/>
                  <a:cs typeface="Segoe UI" pitchFamily="34" charset="0"/>
                </a:defRPr>
              </a:lvl4pPr>
              <a:lvl5pPr marL="1828800" algn="l" rtl="0" fontAlgn="base">
                <a:spcBef>
                  <a:spcPct val="0"/>
                </a:spcBef>
                <a:spcAft>
                  <a:spcPct val="0"/>
                </a:spcAft>
                <a:defRPr kern="1200">
                  <a:solidFill>
                    <a:schemeClr val="tx1"/>
                  </a:solidFill>
                  <a:latin typeface="Segoe UI" pitchFamily="34" charset="0"/>
                  <a:ea typeface="+mn-ea"/>
                  <a:cs typeface="Segoe UI" pitchFamily="34" charset="0"/>
                </a:defRPr>
              </a:lvl5pPr>
              <a:lvl6pPr marL="2286000" algn="l" defTabSz="914400" rtl="0" eaLnBrk="1" latinLnBrk="0" hangingPunct="1">
                <a:defRPr kern="1200">
                  <a:solidFill>
                    <a:schemeClr val="tx1"/>
                  </a:solidFill>
                  <a:latin typeface="Segoe UI" pitchFamily="34" charset="0"/>
                  <a:ea typeface="+mn-ea"/>
                  <a:cs typeface="Segoe UI" pitchFamily="34" charset="0"/>
                </a:defRPr>
              </a:lvl6pPr>
              <a:lvl7pPr marL="2743200" algn="l" defTabSz="914400" rtl="0" eaLnBrk="1" latinLnBrk="0" hangingPunct="1">
                <a:defRPr kern="1200">
                  <a:solidFill>
                    <a:schemeClr val="tx1"/>
                  </a:solidFill>
                  <a:latin typeface="Segoe UI" pitchFamily="34" charset="0"/>
                  <a:ea typeface="+mn-ea"/>
                  <a:cs typeface="Segoe UI" pitchFamily="34" charset="0"/>
                </a:defRPr>
              </a:lvl7pPr>
              <a:lvl8pPr marL="3200400" algn="l" defTabSz="914400" rtl="0" eaLnBrk="1" latinLnBrk="0" hangingPunct="1">
                <a:defRPr kern="1200">
                  <a:solidFill>
                    <a:schemeClr val="tx1"/>
                  </a:solidFill>
                  <a:latin typeface="Segoe UI" pitchFamily="34" charset="0"/>
                  <a:ea typeface="+mn-ea"/>
                  <a:cs typeface="Segoe UI" pitchFamily="34" charset="0"/>
                </a:defRPr>
              </a:lvl8pPr>
              <a:lvl9pPr marL="3657600" algn="l" defTabSz="914400" rtl="0" eaLnBrk="1" latinLnBrk="0" hangingPunct="1">
                <a:defRPr kern="1200">
                  <a:solidFill>
                    <a:schemeClr val="tx1"/>
                  </a:solidFill>
                  <a:latin typeface="Segoe UI" pitchFamily="34" charset="0"/>
                  <a:ea typeface="+mn-ea"/>
                  <a:cs typeface="Segoe UI" pitchFamily="34" charset="0"/>
                </a:defRPr>
              </a:lvl9pPr>
            </a:lstStyle>
            <a:p>
              <a:pPr algn="ctr" defTabSz="685835">
                <a:defRPr/>
              </a:pPr>
              <a:r>
                <a:rPr lang="en-US" sz="900" kern="0" dirty="0">
                  <a:solidFill>
                    <a:srgbClr val="FFFFFF">
                      <a:alpha val="99000"/>
                    </a:srgbClr>
                  </a:solidFill>
                  <a:latin typeface="Segoe UI"/>
                  <a:cs typeface="Arial" charset="0"/>
                </a:rPr>
                <a:t>Private Cloud</a:t>
              </a:r>
            </a:p>
          </p:txBody>
        </p:sp>
        <p:pic>
          <p:nvPicPr>
            <p:cNvPr id="45096" name="Picture 90"/>
            <p:cNvPicPr>
              <a:picLocks noChangeAspect="1"/>
            </p:cNvPicPr>
            <p:nvPr/>
          </p:nvPicPr>
          <p:blipFill>
            <a:blip r:embed="rId6" cstate="print"/>
            <a:srcRect/>
            <a:stretch>
              <a:fillRect/>
            </a:stretch>
          </p:blipFill>
          <p:spPr bwMode="auto">
            <a:xfrm>
              <a:off x="6255" y="1540"/>
              <a:ext cx="708" cy="720"/>
            </a:xfrm>
            <a:prstGeom prst="rect">
              <a:avLst/>
            </a:prstGeom>
            <a:noFill/>
            <a:ln w="9525">
              <a:noFill/>
              <a:miter lim="800000"/>
              <a:headEnd/>
              <a:tailEnd/>
            </a:ln>
          </p:spPr>
        </p:pic>
        <p:pic>
          <p:nvPicPr>
            <p:cNvPr id="45097" name="Picture 91"/>
            <p:cNvPicPr>
              <a:picLocks noChangeAspect="1"/>
            </p:cNvPicPr>
            <p:nvPr/>
          </p:nvPicPr>
          <p:blipFill>
            <a:blip r:embed="rId7" cstate="print"/>
            <a:srcRect/>
            <a:stretch>
              <a:fillRect/>
            </a:stretch>
          </p:blipFill>
          <p:spPr bwMode="auto">
            <a:xfrm>
              <a:off x="6272" y="624"/>
              <a:ext cx="672" cy="682"/>
            </a:xfrm>
            <a:prstGeom prst="rect">
              <a:avLst/>
            </a:prstGeom>
            <a:noFill/>
            <a:ln w="9525">
              <a:noFill/>
              <a:miter lim="800000"/>
              <a:headEnd/>
              <a:tailEnd/>
            </a:ln>
          </p:spPr>
        </p:pic>
      </p:grpSp>
      <p:sp>
        <p:nvSpPr>
          <p:cNvPr id="8" name="TextBox 7"/>
          <p:cNvSpPr txBox="1"/>
          <p:nvPr/>
        </p:nvSpPr>
        <p:spPr>
          <a:xfrm>
            <a:off x="5530227" y="2256422"/>
            <a:ext cx="1422586" cy="207749"/>
          </a:xfrm>
          <a:prstGeom prst="rect">
            <a:avLst/>
          </a:prstGeom>
          <a:noFill/>
        </p:spPr>
        <p:txBody>
          <a:bodyPr wrap="none" lIns="68586" tIns="34294" rIns="68586" bIns="34294">
            <a:spAutoFit/>
          </a:bodyPr>
          <a:lstStyle/>
          <a:p>
            <a:pPr>
              <a:defRPr/>
            </a:pPr>
            <a:r>
              <a:rPr lang="en-US" sz="900" dirty="0">
                <a:solidFill>
                  <a:srgbClr val="EEECE1"/>
                </a:solidFill>
              </a:rPr>
              <a:t>Virtual Machine Manager</a:t>
            </a:r>
          </a:p>
        </p:txBody>
      </p:sp>
      <p:sp>
        <p:nvSpPr>
          <p:cNvPr id="60" name="TextBox 59"/>
          <p:cNvSpPr txBox="1"/>
          <p:nvPr/>
        </p:nvSpPr>
        <p:spPr>
          <a:xfrm>
            <a:off x="5530227" y="2544077"/>
            <a:ext cx="1185970" cy="207749"/>
          </a:xfrm>
          <a:prstGeom prst="rect">
            <a:avLst/>
          </a:prstGeom>
          <a:noFill/>
        </p:spPr>
        <p:txBody>
          <a:bodyPr wrap="none" lIns="68586" tIns="34294" rIns="68586" bIns="34294">
            <a:spAutoFit/>
          </a:bodyPr>
          <a:lstStyle/>
          <a:p>
            <a:pPr>
              <a:defRPr/>
            </a:pPr>
            <a:r>
              <a:rPr lang="en-US" sz="900" dirty="0">
                <a:solidFill>
                  <a:prstClr val="white">
                    <a:lumMod val="85000"/>
                  </a:prstClr>
                </a:solidFill>
              </a:rPr>
              <a:t>Operations Manager</a:t>
            </a:r>
          </a:p>
        </p:txBody>
      </p:sp>
      <p:sp>
        <p:nvSpPr>
          <p:cNvPr id="61" name="TextBox 60"/>
          <p:cNvSpPr txBox="1"/>
          <p:nvPr/>
        </p:nvSpPr>
        <p:spPr>
          <a:xfrm>
            <a:off x="1516299" y="1637111"/>
            <a:ext cx="882587" cy="207749"/>
          </a:xfrm>
          <a:prstGeom prst="rect">
            <a:avLst/>
          </a:prstGeom>
          <a:noFill/>
        </p:spPr>
        <p:txBody>
          <a:bodyPr wrap="none" lIns="68586" tIns="34294" rIns="68586" bIns="34294">
            <a:spAutoFit/>
          </a:bodyPr>
          <a:lstStyle/>
          <a:p>
            <a:pPr>
              <a:defRPr/>
            </a:pPr>
            <a:r>
              <a:rPr lang="en-US" sz="900" dirty="0">
                <a:solidFill>
                  <a:prstClr val="white">
                    <a:lumMod val="85000"/>
                  </a:prstClr>
                </a:solidFill>
              </a:rPr>
              <a:t>App Controller</a:t>
            </a:r>
          </a:p>
        </p:txBody>
      </p:sp>
      <p:sp>
        <p:nvSpPr>
          <p:cNvPr id="62" name="TextBox 61"/>
          <p:cNvSpPr txBox="1"/>
          <p:nvPr/>
        </p:nvSpPr>
        <p:spPr>
          <a:xfrm>
            <a:off x="1514808" y="3601589"/>
            <a:ext cx="1056421" cy="207749"/>
          </a:xfrm>
          <a:prstGeom prst="rect">
            <a:avLst/>
          </a:prstGeom>
          <a:noFill/>
        </p:spPr>
        <p:txBody>
          <a:bodyPr wrap="square" lIns="68586" tIns="34294" rIns="68586" bIns="34294">
            <a:spAutoFit/>
          </a:bodyPr>
          <a:lstStyle/>
          <a:p>
            <a:pPr>
              <a:defRPr/>
            </a:pPr>
            <a:r>
              <a:rPr lang="en-US" sz="900" dirty="0">
                <a:solidFill>
                  <a:prstClr val="white">
                    <a:lumMod val="85000"/>
                  </a:prstClr>
                </a:solidFill>
              </a:rPr>
              <a:t>Service Manager</a:t>
            </a:r>
          </a:p>
        </p:txBody>
      </p:sp>
      <p:sp>
        <p:nvSpPr>
          <p:cNvPr id="63" name="TextBox 62"/>
          <p:cNvSpPr txBox="1"/>
          <p:nvPr/>
        </p:nvSpPr>
        <p:spPr>
          <a:xfrm>
            <a:off x="4043167" y="3601589"/>
            <a:ext cx="986152" cy="207749"/>
          </a:xfrm>
          <a:prstGeom prst="rect">
            <a:avLst/>
          </a:prstGeom>
          <a:noFill/>
        </p:spPr>
        <p:txBody>
          <a:bodyPr wrap="none" lIns="68586" tIns="34294" rIns="68586" bIns="34294">
            <a:spAutoFit/>
          </a:bodyPr>
          <a:lstStyle/>
          <a:p>
            <a:pPr>
              <a:defRPr/>
            </a:pPr>
            <a:r>
              <a:rPr lang="en-US" sz="900" dirty="0">
                <a:solidFill>
                  <a:prstClr val="white">
                    <a:lumMod val="85000"/>
                  </a:prstClr>
                </a:solidFill>
              </a:rPr>
              <a:t>Service Manager</a:t>
            </a:r>
          </a:p>
        </p:txBody>
      </p:sp>
      <p:sp>
        <p:nvSpPr>
          <p:cNvPr id="65" name="TextBox 64"/>
          <p:cNvSpPr txBox="1"/>
          <p:nvPr/>
        </p:nvSpPr>
        <p:spPr>
          <a:xfrm>
            <a:off x="4057516" y="1656274"/>
            <a:ext cx="774644" cy="207749"/>
          </a:xfrm>
          <a:prstGeom prst="rect">
            <a:avLst/>
          </a:prstGeom>
          <a:noFill/>
        </p:spPr>
        <p:txBody>
          <a:bodyPr wrap="none" lIns="68586" tIns="34294" rIns="68586" bIns="34294">
            <a:spAutoFit/>
          </a:bodyPr>
          <a:lstStyle/>
          <a:p>
            <a:pPr>
              <a:defRPr/>
            </a:pPr>
            <a:r>
              <a:rPr lang="en-US" sz="900" dirty="0">
                <a:solidFill>
                  <a:srgbClr val="EEECE1"/>
                </a:solidFill>
              </a:rPr>
              <a:t>Orchestrator</a:t>
            </a:r>
          </a:p>
        </p:txBody>
      </p:sp>
      <p:sp>
        <p:nvSpPr>
          <p:cNvPr id="66" name="TextBox 65"/>
          <p:cNvSpPr txBox="1"/>
          <p:nvPr/>
        </p:nvSpPr>
        <p:spPr>
          <a:xfrm>
            <a:off x="5530226" y="2840304"/>
            <a:ext cx="1474377" cy="207749"/>
          </a:xfrm>
          <a:prstGeom prst="rect">
            <a:avLst/>
          </a:prstGeom>
          <a:noFill/>
        </p:spPr>
        <p:txBody>
          <a:bodyPr wrap="square" lIns="68586" tIns="34294" rIns="68586" bIns="34294">
            <a:spAutoFit/>
          </a:bodyPr>
          <a:lstStyle/>
          <a:p>
            <a:pPr>
              <a:defRPr/>
            </a:pPr>
            <a:r>
              <a:rPr lang="en-US" sz="900" dirty="0">
                <a:solidFill>
                  <a:srgbClr val="EEECE1"/>
                </a:solidFill>
              </a:rPr>
              <a:t>Configuration Manager</a:t>
            </a:r>
          </a:p>
        </p:txBody>
      </p:sp>
      <p:pic>
        <p:nvPicPr>
          <p:cNvPr id="9" name="Picture 8"/>
          <p:cNvPicPr>
            <a:picLocks/>
          </p:cNvPicPr>
          <p:nvPr/>
        </p:nvPicPr>
        <p:blipFill>
          <a:blip r:embed="rId8" cstate="print"/>
          <a:srcRect/>
          <a:stretch>
            <a:fillRect/>
          </a:stretch>
        </p:blipFill>
        <p:spPr bwMode="auto">
          <a:xfrm>
            <a:off x="1288354" y="1621036"/>
            <a:ext cx="274391" cy="274320"/>
          </a:xfrm>
          <a:prstGeom prst="rect">
            <a:avLst/>
          </a:prstGeom>
          <a:noFill/>
          <a:ln w="9525">
            <a:noFill/>
            <a:miter lim="800000"/>
            <a:headEnd/>
            <a:tailEnd/>
          </a:ln>
        </p:spPr>
      </p:pic>
      <p:pic>
        <p:nvPicPr>
          <p:cNvPr id="11" name="Picture 10"/>
          <p:cNvPicPr>
            <a:picLocks/>
          </p:cNvPicPr>
          <p:nvPr/>
        </p:nvPicPr>
        <p:blipFill>
          <a:blip r:embed="rId9" cstate="print"/>
          <a:srcRect/>
          <a:stretch>
            <a:fillRect/>
          </a:stretch>
        </p:blipFill>
        <p:spPr bwMode="auto">
          <a:xfrm>
            <a:off x="3835764" y="1618774"/>
            <a:ext cx="274391" cy="274320"/>
          </a:xfrm>
          <a:prstGeom prst="rect">
            <a:avLst/>
          </a:prstGeom>
          <a:noFill/>
          <a:ln w="9525">
            <a:noFill/>
            <a:miter lim="800000"/>
            <a:headEnd/>
            <a:tailEnd/>
          </a:ln>
        </p:spPr>
      </p:pic>
      <p:pic>
        <p:nvPicPr>
          <p:cNvPr id="12" name="Picture 11"/>
          <p:cNvPicPr>
            <a:picLocks/>
          </p:cNvPicPr>
          <p:nvPr/>
        </p:nvPicPr>
        <p:blipFill>
          <a:blip r:embed="rId10" cstate="print"/>
          <a:srcRect/>
          <a:stretch>
            <a:fillRect/>
          </a:stretch>
        </p:blipFill>
        <p:spPr bwMode="auto">
          <a:xfrm>
            <a:off x="3831240" y="3568303"/>
            <a:ext cx="274391" cy="274320"/>
          </a:xfrm>
          <a:prstGeom prst="rect">
            <a:avLst/>
          </a:prstGeom>
          <a:noFill/>
          <a:ln w="9525">
            <a:noFill/>
            <a:miter lim="800000"/>
            <a:headEnd/>
            <a:tailEnd/>
          </a:ln>
        </p:spPr>
      </p:pic>
      <p:pic>
        <p:nvPicPr>
          <p:cNvPr id="57" name="Picture 56"/>
          <p:cNvPicPr>
            <a:picLocks/>
          </p:cNvPicPr>
          <p:nvPr/>
        </p:nvPicPr>
        <p:blipFill>
          <a:blip r:embed="rId10" cstate="print"/>
          <a:srcRect/>
          <a:stretch>
            <a:fillRect/>
          </a:stretch>
        </p:blipFill>
        <p:spPr bwMode="auto">
          <a:xfrm>
            <a:off x="1292404" y="3568303"/>
            <a:ext cx="274391" cy="274320"/>
          </a:xfrm>
          <a:prstGeom prst="rect">
            <a:avLst/>
          </a:prstGeom>
          <a:noFill/>
          <a:ln w="9525">
            <a:noFill/>
            <a:miter lim="800000"/>
            <a:headEnd/>
            <a:tailEnd/>
          </a:ln>
        </p:spPr>
      </p:pic>
      <p:pic>
        <p:nvPicPr>
          <p:cNvPr id="13" name="Picture 12"/>
          <p:cNvPicPr>
            <a:picLocks/>
          </p:cNvPicPr>
          <p:nvPr/>
        </p:nvPicPr>
        <p:blipFill>
          <a:blip r:embed="rId11" cstate="print"/>
          <a:srcRect/>
          <a:stretch>
            <a:fillRect/>
          </a:stretch>
        </p:blipFill>
        <p:spPr bwMode="auto">
          <a:xfrm>
            <a:off x="5284062" y="2223135"/>
            <a:ext cx="274391" cy="274320"/>
          </a:xfrm>
          <a:prstGeom prst="rect">
            <a:avLst/>
          </a:prstGeom>
          <a:noFill/>
          <a:ln w="9525">
            <a:noFill/>
            <a:miter lim="800000"/>
            <a:headEnd/>
            <a:tailEnd/>
          </a:ln>
        </p:spPr>
      </p:pic>
      <p:pic>
        <p:nvPicPr>
          <p:cNvPr id="67" name="Picture 66"/>
          <p:cNvPicPr>
            <a:picLocks/>
          </p:cNvPicPr>
          <p:nvPr/>
        </p:nvPicPr>
        <p:blipFill>
          <a:blip r:embed="rId12" cstate="print"/>
          <a:srcRect/>
          <a:stretch>
            <a:fillRect/>
          </a:stretch>
        </p:blipFill>
        <p:spPr bwMode="auto">
          <a:xfrm>
            <a:off x="5284062" y="2807018"/>
            <a:ext cx="274391" cy="274320"/>
          </a:xfrm>
          <a:prstGeom prst="rect">
            <a:avLst/>
          </a:prstGeom>
          <a:noFill/>
          <a:ln w="9525">
            <a:noFill/>
            <a:miter lim="800000"/>
            <a:headEnd/>
            <a:tailEnd/>
          </a:ln>
        </p:spPr>
      </p:pic>
      <p:pic>
        <p:nvPicPr>
          <p:cNvPr id="15" name="Picture 14"/>
          <p:cNvPicPr>
            <a:picLocks/>
          </p:cNvPicPr>
          <p:nvPr/>
        </p:nvPicPr>
        <p:blipFill>
          <a:blip r:embed="rId13" cstate="print"/>
          <a:srcRect/>
          <a:stretch>
            <a:fillRect/>
          </a:stretch>
        </p:blipFill>
        <p:spPr bwMode="auto">
          <a:xfrm>
            <a:off x="5284062" y="2510790"/>
            <a:ext cx="274391" cy="274320"/>
          </a:xfrm>
          <a:prstGeom prst="rect">
            <a:avLst/>
          </a:prstGeom>
          <a:noFill/>
          <a:ln w="9525">
            <a:noFill/>
            <a:miter lim="800000"/>
            <a:headEnd/>
            <a:tailEnd/>
          </a:ln>
        </p:spPr>
      </p:pic>
      <p:pic>
        <p:nvPicPr>
          <p:cNvPr id="88" name="Picture 4" descr="C:\MAX\Branding\SC Brand Guide Graphics\SCDPM_256.png"/>
          <p:cNvPicPr>
            <a:picLocks noChangeArrowheads="1"/>
          </p:cNvPicPr>
          <p:nvPr/>
        </p:nvPicPr>
        <p:blipFill rotWithShape="1">
          <a:blip r:embed="rId14" cstate="print"/>
          <a:srcRect l="1886" r="1857" b="3333"/>
          <a:stretch/>
        </p:blipFill>
        <p:spPr bwMode="auto">
          <a:xfrm>
            <a:off x="5284062" y="3103245"/>
            <a:ext cx="274391" cy="274320"/>
          </a:xfrm>
          <a:prstGeom prst="rect">
            <a:avLst/>
          </a:prstGeom>
          <a:solidFill>
            <a:schemeClr val="accent5">
              <a:lumMod val="75000"/>
            </a:schemeClr>
          </a:solidFill>
          <a:effectLst/>
          <a:extLst/>
        </p:spPr>
      </p:pic>
      <p:sp>
        <p:nvSpPr>
          <p:cNvPr id="89" name="TextBox 88"/>
          <p:cNvSpPr txBox="1"/>
          <p:nvPr/>
        </p:nvSpPr>
        <p:spPr>
          <a:xfrm>
            <a:off x="5530227" y="3133793"/>
            <a:ext cx="1474378" cy="207749"/>
          </a:xfrm>
          <a:prstGeom prst="rect">
            <a:avLst/>
          </a:prstGeom>
          <a:noFill/>
        </p:spPr>
        <p:txBody>
          <a:bodyPr wrap="square" lIns="68586" tIns="34294" rIns="68586" bIns="34294">
            <a:spAutoFit/>
          </a:bodyPr>
          <a:lstStyle/>
          <a:p>
            <a:pPr>
              <a:defRPr/>
            </a:pPr>
            <a:r>
              <a:rPr lang="en-US" sz="900" dirty="0">
                <a:solidFill>
                  <a:srgbClr val="EEECE1"/>
                </a:solidFill>
              </a:rPr>
              <a:t>Data Protection Manager</a:t>
            </a:r>
          </a:p>
        </p:txBody>
      </p:sp>
      <p:grpSp>
        <p:nvGrpSpPr>
          <p:cNvPr id="59" name="Group 58"/>
          <p:cNvGrpSpPr/>
          <p:nvPr/>
        </p:nvGrpSpPr>
        <p:grpSpPr>
          <a:xfrm>
            <a:off x="290067" y="2135981"/>
            <a:ext cx="659738" cy="1639493"/>
            <a:chOff x="5525641" y="2209800"/>
            <a:chExt cx="1485900" cy="3629025"/>
          </a:xfrm>
        </p:grpSpPr>
        <p:pic>
          <p:nvPicPr>
            <p:cNvPr id="69" name="Picture 6" descr="\\192.168.10.9\Shared\Design\Microsoft Events Presentation Resource DVD\DVD_ART36\Artwork_Imagery\Icons - Illustrations\People\White silhouettes\woman person 3.png"/>
            <p:cNvPicPr>
              <a:picLocks noChangeAspect="1" noChangeArrowheads="1"/>
            </p:cNvPicPr>
            <p:nvPr/>
          </p:nvPicPr>
          <p:blipFill>
            <a:blip r:embed="rId15" cstate="print"/>
            <a:srcRect/>
            <a:stretch>
              <a:fillRect/>
            </a:stretch>
          </p:blipFill>
          <p:spPr bwMode="auto">
            <a:xfrm>
              <a:off x="5525641" y="2209800"/>
              <a:ext cx="1485900" cy="3459811"/>
            </a:xfrm>
            <a:prstGeom prst="rect">
              <a:avLst/>
            </a:prstGeom>
            <a:noFill/>
            <a:ln w="9525">
              <a:noFill/>
              <a:miter lim="800000"/>
              <a:headEnd/>
              <a:tailEnd/>
            </a:ln>
          </p:spPr>
        </p:pic>
        <p:sp>
          <p:nvSpPr>
            <p:cNvPr id="70" name="Oval 8"/>
            <p:cNvSpPr>
              <a:spLocks noChangeArrowheads="1"/>
            </p:cNvSpPr>
            <p:nvPr/>
          </p:nvSpPr>
          <p:spPr bwMode="auto">
            <a:xfrm>
              <a:off x="5705836" y="4713167"/>
              <a:ext cx="1125511" cy="1125658"/>
            </a:xfrm>
            <a:prstGeom prst="ellipse">
              <a:avLst/>
            </a:prstGeom>
            <a:solidFill>
              <a:srgbClr val="21639F">
                <a:alpha val="89803"/>
              </a:srgbClr>
            </a:solidFill>
            <a:ln w="9525">
              <a:noFill/>
              <a:round/>
              <a:headEnd/>
              <a:tailEnd/>
            </a:ln>
          </p:spPr>
          <p:txBody>
            <a:bodyPr wrap="none" anchor="ctr"/>
            <a:lstStyle/>
            <a:p>
              <a:pPr algn="ctr"/>
              <a:r>
                <a:rPr lang="en-US" sz="800" dirty="0"/>
                <a:t>Consumer</a:t>
              </a:r>
            </a:p>
          </p:txBody>
        </p:sp>
      </p:grpSp>
      <p:sp>
        <p:nvSpPr>
          <p:cNvPr id="76" name="Rectangle 75"/>
          <p:cNvSpPr/>
          <p:nvPr/>
        </p:nvSpPr>
        <p:spPr>
          <a:xfrm>
            <a:off x="856282" y="4800600"/>
            <a:ext cx="2362815" cy="171450"/>
          </a:xfrm>
          <a:prstGeom prst="rect">
            <a:avLst/>
          </a:prstGeom>
          <a:solidFill>
            <a:schemeClr val="accent1">
              <a:lumMod val="75000"/>
            </a:schemeClr>
          </a:solidFill>
        </p:spPr>
        <p:style>
          <a:lnRef idx="1">
            <a:schemeClr val="accent1"/>
          </a:lnRef>
          <a:fillRef idx="3">
            <a:schemeClr val="accent1"/>
          </a:fillRef>
          <a:effectRef idx="2">
            <a:schemeClr val="accent1"/>
          </a:effectRef>
          <a:fontRef idx="minor">
            <a:schemeClr val="lt1"/>
          </a:fontRef>
        </p:style>
        <p:txBody>
          <a:bodyPr lIns="68586" tIns="34294" rIns="68586" bIns="34294" rtlCol="0" anchor="ctr"/>
          <a:lstStyle/>
          <a:p>
            <a:pPr algn="ctr"/>
            <a:r>
              <a:rPr lang="en-US" sz="1200" dirty="0">
                <a:solidFill>
                  <a:schemeClr val="tx1"/>
                </a:solidFill>
                <a:latin typeface="Segoe UI" pitchFamily="34" charset="0"/>
                <a:cs typeface="Segoe UI" pitchFamily="34" charset="0"/>
              </a:rPr>
              <a:t>Application Management</a:t>
            </a:r>
          </a:p>
        </p:txBody>
      </p:sp>
      <p:sp>
        <p:nvSpPr>
          <p:cNvPr id="78" name="Rectangle 77"/>
          <p:cNvSpPr/>
          <p:nvPr/>
        </p:nvSpPr>
        <p:spPr>
          <a:xfrm>
            <a:off x="3248871" y="4800600"/>
            <a:ext cx="2362815" cy="171450"/>
          </a:xfrm>
          <a:prstGeom prst="rect">
            <a:avLst/>
          </a:prstGeom>
          <a:solidFill>
            <a:schemeClr val="accent1">
              <a:lumMod val="75000"/>
            </a:schemeClr>
          </a:solidFill>
        </p:spPr>
        <p:style>
          <a:lnRef idx="1">
            <a:schemeClr val="accent1"/>
          </a:lnRef>
          <a:fillRef idx="3">
            <a:schemeClr val="accent1"/>
          </a:fillRef>
          <a:effectRef idx="2">
            <a:schemeClr val="accent1"/>
          </a:effectRef>
          <a:fontRef idx="minor">
            <a:schemeClr val="lt1"/>
          </a:fontRef>
        </p:style>
        <p:txBody>
          <a:bodyPr lIns="68586" tIns="34294" rIns="68586" bIns="34294" rtlCol="0" anchor="ctr"/>
          <a:lstStyle/>
          <a:p>
            <a:pPr algn="ctr"/>
            <a:r>
              <a:rPr lang="en-US" sz="1200" dirty="0">
                <a:solidFill>
                  <a:schemeClr val="tx1"/>
                </a:solidFill>
                <a:latin typeface="Segoe UI" pitchFamily="34" charset="0"/>
                <a:cs typeface="Segoe UI" pitchFamily="34" charset="0"/>
              </a:rPr>
              <a:t>Service Delivery &amp; Automation</a:t>
            </a:r>
          </a:p>
        </p:txBody>
      </p:sp>
      <p:sp>
        <p:nvSpPr>
          <p:cNvPr id="79" name="Rectangle 78"/>
          <p:cNvSpPr/>
          <p:nvPr/>
        </p:nvSpPr>
        <p:spPr>
          <a:xfrm>
            <a:off x="5658133" y="4800600"/>
            <a:ext cx="2362815" cy="171450"/>
          </a:xfrm>
          <a:prstGeom prst="rect">
            <a:avLst/>
          </a:prstGeom>
          <a:solidFill>
            <a:schemeClr val="accent1">
              <a:lumMod val="75000"/>
            </a:schemeClr>
          </a:solidFill>
        </p:spPr>
        <p:style>
          <a:lnRef idx="1">
            <a:schemeClr val="accent1"/>
          </a:lnRef>
          <a:fillRef idx="3">
            <a:schemeClr val="accent1"/>
          </a:fillRef>
          <a:effectRef idx="2">
            <a:schemeClr val="accent1"/>
          </a:effectRef>
          <a:fontRef idx="minor">
            <a:schemeClr val="lt1"/>
          </a:fontRef>
        </p:style>
        <p:txBody>
          <a:bodyPr lIns="68586" tIns="34294" rIns="68586" bIns="34294" rtlCol="0" anchor="ctr"/>
          <a:lstStyle/>
          <a:p>
            <a:pPr algn="ctr"/>
            <a:r>
              <a:rPr lang="en-US" sz="1200" dirty="0">
                <a:solidFill>
                  <a:schemeClr val="tx1"/>
                </a:solidFill>
                <a:latin typeface="Segoe UI" pitchFamily="34" charset="0"/>
                <a:cs typeface="Segoe UI" pitchFamily="34" charset="0"/>
              </a:rPr>
              <a:t>Infrastructure Management</a:t>
            </a:r>
          </a:p>
        </p:txBody>
      </p:sp>
      <p:sp>
        <p:nvSpPr>
          <p:cNvPr id="73"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74"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6"/>
              </a:rPr>
              <a:t>www.rapidbbs.cn</a:t>
            </a:r>
            <a:endParaRPr lang="zh-CN" altLang="en-US" sz="1200" b="0">
              <a:latin typeface="Arial" charset="0"/>
              <a:ea typeface="ＭＳ Ｐゴシック" pitchFamily="34" charset="-128"/>
            </a:endParaRPr>
          </a:p>
        </p:txBody>
      </p:sp>
      <p:pic>
        <p:nvPicPr>
          <p:cNvPr id="75" name="Picture 2">
            <a:hlinkClick r:id="rId16"/>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499452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1"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1" nodeType="withEffect">
                                  <p:stCondLst>
                                    <p:cond delay="0"/>
                                  </p:stCondLst>
                                  <p:childTnLst>
                                    <p:set>
                                      <p:cBhvr>
                                        <p:cTn id="8" dur="1" fill="hold">
                                          <p:stCondLst>
                                            <p:cond delay="0"/>
                                          </p:stCondLst>
                                        </p:cTn>
                                        <p:tgtEl>
                                          <p:spTgt spid="71"/>
                                        </p:tgtEl>
                                        <p:attrNameLst>
                                          <p:attrName>style.visibility</p:attrName>
                                        </p:attrNameLst>
                                      </p:cBhvr>
                                      <p:to>
                                        <p:strVal val="visible"/>
                                      </p:to>
                                    </p:set>
                                  </p:childTnLst>
                                </p:cTn>
                              </p:par>
                              <p:par>
                                <p:cTn id="9" presetID="1" presetClass="entr" presetSubtype="0" fill="hold" grpId="1" nodeType="withEffect">
                                  <p:stCondLst>
                                    <p:cond delay="0"/>
                                  </p:stCondLst>
                                  <p:childTnLst>
                                    <p:set>
                                      <p:cBhvr>
                                        <p:cTn id="10" dur="1" fill="hold">
                                          <p:stCondLst>
                                            <p:cond delay="0"/>
                                          </p:stCondLst>
                                        </p:cTn>
                                        <p:tgtEl>
                                          <p:spTgt spid="72"/>
                                        </p:tgtEl>
                                        <p:attrNameLst>
                                          <p:attrName>style.visibility</p:attrName>
                                        </p:attrNameLst>
                                      </p:cBhvr>
                                      <p:to>
                                        <p:strVal val="visible"/>
                                      </p:to>
                                    </p:set>
                                  </p:childTnLst>
                                </p:cTn>
                              </p:par>
                              <p:par>
                                <p:cTn id="11" presetID="26" presetClass="emph" presetSubtype="0" fill="hold" grpId="0" nodeType="withEffect">
                                  <p:stCondLst>
                                    <p:cond delay="0"/>
                                  </p:stCondLst>
                                  <p:childTnLst>
                                    <p:animEffect transition="out" filter="fade">
                                      <p:cBhvr>
                                        <p:cTn id="12" dur="500" tmFilter="0, 0; .2, .5; .8, .5; 1, 0"/>
                                        <p:tgtEl>
                                          <p:spTgt spid="2"/>
                                        </p:tgtEl>
                                      </p:cBhvr>
                                    </p:animEffect>
                                    <p:animScale>
                                      <p:cBhvr>
                                        <p:cTn id="13" dur="250" autoRev="1" fill="hold"/>
                                        <p:tgtEl>
                                          <p:spTgt spid="2"/>
                                        </p:tgtEl>
                                      </p:cBhvr>
                                      <p:by x="105000" y="105000"/>
                                    </p:animScale>
                                  </p:childTnLst>
                                </p:cTn>
                              </p:par>
                              <p:par>
                                <p:cTn id="14" presetID="26" presetClass="emph" presetSubtype="0" fill="hold" grpId="0" nodeType="withEffect">
                                  <p:stCondLst>
                                    <p:cond delay="0"/>
                                  </p:stCondLst>
                                  <p:childTnLst>
                                    <p:animEffect transition="out" filter="fade">
                                      <p:cBhvr>
                                        <p:cTn id="15" dur="500" tmFilter="0, 0; .2, .5; .8, .5; 1, 0"/>
                                        <p:tgtEl>
                                          <p:spTgt spid="71"/>
                                        </p:tgtEl>
                                      </p:cBhvr>
                                    </p:animEffect>
                                    <p:animScale>
                                      <p:cBhvr>
                                        <p:cTn id="16" dur="250" autoRev="1" fill="hold"/>
                                        <p:tgtEl>
                                          <p:spTgt spid="71"/>
                                        </p:tgtEl>
                                      </p:cBhvr>
                                      <p:by x="105000" y="105000"/>
                                    </p:animScale>
                                  </p:childTnLst>
                                </p:cTn>
                              </p:par>
                              <p:par>
                                <p:cTn id="17" presetID="26" presetClass="emph" presetSubtype="0" fill="hold" grpId="0" nodeType="withEffect">
                                  <p:stCondLst>
                                    <p:cond delay="0"/>
                                  </p:stCondLst>
                                  <p:childTnLst>
                                    <p:animEffect transition="out" filter="fade">
                                      <p:cBhvr>
                                        <p:cTn id="18" dur="500" tmFilter="0, 0; .2, .5; .8, .5; 1, 0"/>
                                        <p:tgtEl>
                                          <p:spTgt spid="72"/>
                                        </p:tgtEl>
                                      </p:cBhvr>
                                    </p:animEffect>
                                    <p:animScale>
                                      <p:cBhvr>
                                        <p:cTn id="19" dur="250" autoRev="1" fill="hold"/>
                                        <p:tgtEl>
                                          <p:spTgt spid="72"/>
                                        </p:tgtEl>
                                      </p:cBhvr>
                                      <p:by x="105000" y="105000"/>
                                    </p:animScale>
                                  </p:childTnLst>
                                </p:cTn>
                              </p:par>
                              <p:par>
                                <p:cTn id="20" presetID="15" presetClass="emph" presetSubtype="0" grpId="0" nodeType="withEffect">
                                  <p:stCondLst>
                                    <p:cond delay="0"/>
                                  </p:stCondLst>
                                  <p:iterate type="lt">
                                    <p:tmAbs val="25"/>
                                  </p:iterate>
                                  <p:childTnLst>
                                    <p:set>
                                      <p:cBhvr override="childStyle">
                                        <p:cTn id="21" dur="indefinite"/>
                                        <p:tgtEl>
                                          <p:spTgt spid="62"/>
                                        </p:tgtEl>
                                        <p:attrNameLst>
                                          <p:attrName>style.fontWeight</p:attrName>
                                        </p:attrNameLst>
                                      </p:cBhvr>
                                      <p:to>
                                        <p:strVal val="bold"/>
                                      </p:to>
                                    </p:set>
                                  </p:childTnLst>
                                </p:cTn>
                              </p:par>
                              <p:par>
                                <p:cTn id="22" presetID="15" presetClass="emph" presetSubtype="0" grpId="0" nodeType="withEffect">
                                  <p:stCondLst>
                                    <p:cond delay="0"/>
                                  </p:stCondLst>
                                  <p:iterate type="lt">
                                    <p:tmAbs val="25"/>
                                  </p:iterate>
                                  <p:childTnLst>
                                    <p:set>
                                      <p:cBhvr override="childStyle">
                                        <p:cTn id="23" dur="indefinite"/>
                                        <p:tgtEl>
                                          <p:spTgt spid="63"/>
                                        </p:tgtEl>
                                        <p:attrNameLst>
                                          <p:attrName>style.fontWeight</p:attrName>
                                        </p:attrNameLst>
                                      </p:cBhvr>
                                      <p:to>
                                        <p:strVal val="bold"/>
                                      </p:to>
                                    </p:set>
                                  </p:childTnLst>
                                </p:cTn>
                              </p:par>
                              <p:par>
                                <p:cTn id="24" presetID="15" presetClass="emph" presetSubtype="0" grpId="0" nodeType="withEffect">
                                  <p:stCondLst>
                                    <p:cond delay="0"/>
                                  </p:stCondLst>
                                  <p:iterate type="lt">
                                    <p:tmAbs val="25"/>
                                  </p:iterate>
                                  <p:childTnLst>
                                    <p:set>
                                      <p:cBhvr override="childStyle">
                                        <p:cTn id="25" dur="indefinite"/>
                                        <p:tgtEl>
                                          <p:spTgt spid="65"/>
                                        </p:tgtEl>
                                        <p:attrNameLst>
                                          <p:attrName>style.fontWeight</p:attrName>
                                        </p:attrNameLst>
                                      </p:cBhvr>
                                      <p:to>
                                        <p:strVal val="bol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71" grpId="0" animBg="1"/>
      <p:bldP spid="71" grpId="1" animBg="1"/>
      <p:bldP spid="72" grpId="0" animBg="1"/>
      <p:bldP spid="72" grpId="1" animBg="1"/>
      <p:bldP spid="62" grpId="0"/>
      <p:bldP spid="63" grpId="0"/>
      <p:bldP spid="65" grpId="0"/>
    </p:bldLst>
  </p:timing>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19"/>
          <p:cNvSpPr>
            <a:spLocks noChangeArrowheads="1"/>
          </p:cNvSpPr>
          <p:nvPr/>
        </p:nvSpPr>
        <p:spPr bwMode="auto">
          <a:xfrm>
            <a:off x="576259" y="913609"/>
            <a:ext cx="2559644" cy="3590150"/>
          </a:xfrm>
          <a:prstGeom prst="rect">
            <a:avLst/>
          </a:prstGeom>
          <a:solidFill>
            <a:srgbClr val="F0F2F3">
              <a:alpha val="10000"/>
            </a:srgbClr>
          </a:solidFill>
          <a:ln w="9525">
            <a:noFill/>
            <a:miter lim="800000"/>
            <a:headEnd/>
            <a:tailEnd/>
          </a:ln>
        </p:spPr>
        <p:txBody>
          <a:bodyPr wrap="none" lIns="68586" tIns="34294" rIns="68586" bIns="34294" anchor="ctr"/>
          <a:lstStyle/>
          <a:p>
            <a:endParaRPr lang="en-US"/>
          </a:p>
        </p:txBody>
      </p:sp>
      <p:sp>
        <p:nvSpPr>
          <p:cNvPr id="54" name="Rectangle 19"/>
          <p:cNvSpPr>
            <a:spLocks noChangeArrowheads="1"/>
          </p:cNvSpPr>
          <p:nvPr/>
        </p:nvSpPr>
        <p:spPr bwMode="auto">
          <a:xfrm>
            <a:off x="6026968" y="913609"/>
            <a:ext cx="2559644" cy="3590150"/>
          </a:xfrm>
          <a:prstGeom prst="rect">
            <a:avLst/>
          </a:prstGeom>
          <a:solidFill>
            <a:srgbClr val="F0F2F3">
              <a:alpha val="10000"/>
            </a:srgbClr>
          </a:solidFill>
          <a:ln w="9525">
            <a:noFill/>
            <a:miter lim="800000"/>
            <a:headEnd/>
            <a:tailEnd/>
          </a:ln>
        </p:spPr>
        <p:txBody>
          <a:bodyPr wrap="none" lIns="68586" tIns="34294" rIns="68586" bIns="34294" anchor="ctr"/>
          <a:lstStyle/>
          <a:p>
            <a:endParaRPr lang="en-US"/>
          </a:p>
        </p:txBody>
      </p:sp>
      <p:sp>
        <p:nvSpPr>
          <p:cNvPr id="55" name="Rectangle 19"/>
          <p:cNvSpPr>
            <a:spLocks noChangeArrowheads="1"/>
          </p:cNvSpPr>
          <p:nvPr/>
        </p:nvSpPr>
        <p:spPr bwMode="auto">
          <a:xfrm>
            <a:off x="3308294" y="913609"/>
            <a:ext cx="2559644" cy="3590150"/>
          </a:xfrm>
          <a:prstGeom prst="rect">
            <a:avLst/>
          </a:prstGeom>
          <a:solidFill>
            <a:srgbClr val="F0F2F3">
              <a:alpha val="10000"/>
            </a:srgbClr>
          </a:solidFill>
          <a:ln w="9525">
            <a:noFill/>
            <a:miter lim="800000"/>
            <a:headEnd/>
            <a:tailEnd/>
          </a:ln>
        </p:spPr>
        <p:txBody>
          <a:bodyPr wrap="none" lIns="68586" tIns="34294" rIns="68586" bIns="34294" anchor="ctr"/>
          <a:lstStyle/>
          <a:p>
            <a:endParaRPr lang="en-US"/>
          </a:p>
        </p:txBody>
      </p:sp>
      <p:sp>
        <p:nvSpPr>
          <p:cNvPr id="10" name="Title 9"/>
          <p:cNvSpPr>
            <a:spLocks noGrp="1"/>
          </p:cNvSpPr>
          <p:nvPr>
            <p:ph type="title"/>
          </p:nvPr>
        </p:nvSpPr>
        <p:spPr>
          <a:xfrm>
            <a:off x="467439" y="103619"/>
            <a:ext cx="8229600" cy="857250"/>
          </a:xfrm>
        </p:spPr>
        <p:txBody>
          <a:bodyPr>
            <a:noAutofit/>
          </a:bodyPr>
          <a:lstStyle/>
          <a:p>
            <a:r>
              <a:rPr lang="en-US" sz="2400" dirty="0"/>
              <a:t>Service Delivery and Automation Key Value Enablers</a:t>
            </a:r>
          </a:p>
        </p:txBody>
      </p:sp>
      <p:sp>
        <p:nvSpPr>
          <p:cNvPr id="36" name="Rectangle 35"/>
          <p:cNvSpPr/>
          <p:nvPr/>
        </p:nvSpPr>
        <p:spPr>
          <a:xfrm>
            <a:off x="576259" y="995399"/>
            <a:ext cx="2559645" cy="356259"/>
          </a:xfrm>
          <a:prstGeom prst="rect">
            <a:avLst/>
          </a:prstGeom>
          <a:solidFill>
            <a:srgbClr val="00264A"/>
          </a:solidFill>
          <a:ln>
            <a:noFill/>
          </a:ln>
          <a:effectLst/>
        </p:spPr>
        <p:style>
          <a:lnRef idx="1">
            <a:schemeClr val="accent1"/>
          </a:lnRef>
          <a:fillRef idx="3">
            <a:schemeClr val="accent1"/>
          </a:fillRef>
          <a:effectRef idx="2">
            <a:schemeClr val="accent1"/>
          </a:effectRef>
          <a:fontRef idx="minor">
            <a:schemeClr val="lt1"/>
          </a:fontRef>
        </p:style>
        <p:txBody>
          <a:bodyPr lIns="68586" tIns="34294" rIns="68586" bIns="34294" rtlCol="0" anchor="ctr"/>
          <a:lstStyle/>
          <a:p>
            <a:pPr algn="ctr"/>
            <a:endParaRPr lang="en-US" dirty="0"/>
          </a:p>
        </p:txBody>
      </p:sp>
      <p:sp>
        <p:nvSpPr>
          <p:cNvPr id="37" name="Text Placeholder 39"/>
          <p:cNvSpPr txBox="1">
            <a:spLocks/>
          </p:cNvSpPr>
          <p:nvPr/>
        </p:nvSpPr>
        <p:spPr>
          <a:xfrm>
            <a:off x="576413" y="1022117"/>
            <a:ext cx="2559490" cy="356260"/>
          </a:xfrm>
          <a:prstGeom prst="rect">
            <a:avLst/>
          </a:prstGeom>
          <a:effectLst/>
        </p:spPr>
        <p:txBody>
          <a:bodyPr lIns="68586" tIns="34294" rIns="68586" bIns="34294">
            <a:noAutofit/>
          </a:bodyPr>
          <a:lstStyle>
            <a:lvl1pPr marL="0" indent="0" algn="ctr" defTabSz="609493" rtl="0" eaLnBrk="1" latinLnBrk="0" hangingPunct="1">
              <a:lnSpc>
                <a:spcPct val="100000"/>
              </a:lnSpc>
              <a:spcBef>
                <a:spcPct val="20000"/>
              </a:spcBef>
              <a:buFontTx/>
              <a:buNone/>
              <a:defRPr sz="2000" kern="1200">
                <a:solidFill>
                  <a:srgbClr val="83B9DA"/>
                </a:solidFill>
                <a:latin typeface="+mj-lt"/>
                <a:ea typeface="+mn-ea"/>
                <a:cs typeface="Arial"/>
              </a:defRPr>
            </a:lvl1pPr>
            <a:lvl2pPr marL="609494" indent="0" algn="l" defTabSz="609493" rtl="0" eaLnBrk="1" latinLnBrk="0" hangingPunct="1">
              <a:spcBef>
                <a:spcPct val="20000"/>
              </a:spcBef>
              <a:buFontTx/>
              <a:buNone/>
              <a:defRPr sz="3700" kern="1200">
                <a:solidFill>
                  <a:srgbClr val="FFFFFF"/>
                </a:solidFill>
                <a:latin typeface="Arial"/>
                <a:ea typeface="+mn-ea"/>
                <a:cs typeface="Arial"/>
              </a:defRPr>
            </a:lvl2pPr>
            <a:lvl3pPr marL="1218986" indent="0" algn="l" defTabSz="609493" rtl="0" eaLnBrk="1" latinLnBrk="0" hangingPunct="1">
              <a:spcBef>
                <a:spcPct val="20000"/>
              </a:spcBef>
              <a:buFontTx/>
              <a:buNone/>
              <a:defRPr sz="3200" kern="1200">
                <a:solidFill>
                  <a:srgbClr val="FFFFFF"/>
                </a:solidFill>
                <a:latin typeface="Arial"/>
                <a:ea typeface="+mn-ea"/>
                <a:cs typeface="Arial"/>
              </a:defRPr>
            </a:lvl3pPr>
            <a:lvl4pPr marL="1828480" indent="0" algn="l" defTabSz="609493" rtl="0" eaLnBrk="1" latinLnBrk="0" hangingPunct="1">
              <a:spcBef>
                <a:spcPct val="20000"/>
              </a:spcBef>
              <a:buFontTx/>
              <a:buNone/>
              <a:defRPr sz="2700" kern="1200">
                <a:solidFill>
                  <a:srgbClr val="FFFFFF"/>
                </a:solidFill>
                <a:latin typeface="Arial"/>
                <a:ea typeface="+mn-ea"/>
                <a:cs typeface="Arial"/>
              </a:defRPr>
            </a:lvl4pPr>
            <a:lvl5pPr marL="2437973" indent="0" algn="l" defTabSz="609493" rtl="0" eaLnBrk="1" latinLnBrk="0" hangingPunct="1">
              <a:spcBef>
                <a:spcPct val="20000"/>
              </a:spcBef>
              <a:buFontTx/>
              <a:buNone/>
              <a:defRPr sz="2700" kern="1200">
                <a:solidFill>
                  <a:srgbClr val="FFFFFF"/>
                </a:solidFill>
                <a:latin typeface="Arial"/>
                <a:ea typeface="+mn-ea"/>
                <a:cs typeface="Arial"/>
              </a:defRPr>
            </a:lvl5pPr>
            <a:lvl6pPr marL="3352213" indent="-304747" algn="l" defTabSz="609493" rtl="0" eaLnBrk="1" latinLnBrk="0" hangingPunct="1">
              <a:spcBef>
                <a:spcPct val="20000"/>
              </a:spcBef>
              <a:buFont typeface="Arial"/>
              <a:buChar char="•"/>
              <a:defRPr sz="2700" kern="1200">
                <a:solidFill>
                  <a:schemeClr val="tx1"/>
                </a:solidFill>
                <a:latin typeface="+mn-lt"/>
                <a:ea typeface="+mn-ea"/>
                <a:cs typeface="+mn-cs"/>
              </a:defRPr>
            </a:lvl6pPr>
            <a:lvl7pPr marL="3961707" indent="-304747" algn="l" defTabSz="609493" rtl="0" eaLnBrk="1" latinLnBrk="0" hangingPunct="1">
              <a:spcBef>
                <a:spcPct val="20000"/>
              </a:spcBef>
              <a:buFont typeface="Arial"/>
              <a:buChar char="•"/>
              <a:defRPr sz="2700" kern="1200">
                <a:solidFill>
                  <a:schemeClr val="tx1"/>
                </a:solidFill>
                <a:latin typeface="+mn-lt"/>
                <a:ea typeface="+mn-ea"/>
                <a:cs typeface="+mn-cs"/>
              </a:defRPr>
            </a:lvl7pPr>
            <a:lvl8pPr marL="4571200" indent="-304747" algn="l" defTabSz="609493" rtl="0" eaLnBrk="1" latinLnBrk="0" hangingPunct="1">
              <a:spcBef>
                <a:spcPct val="20000"/>
              </a:spcBef>
              <a:buFont typeface="Arial"/>
              <a:buChar char="•"/>
              <a:defRPr sz="2700" kern="1200">
                <a:solidFill>
                  <a:schemeClr val="tx1"/>
                </a:solidFill>
                <a:latin typeface="+mn-lt"/>
                <a:ea typeface="+mn-ea"/>
                <a:cs typeface="+mn-cs"/>
              </a:defRPr>
            </a:lvl8pPr>
            <a:lvl9pPr marL="5180693" indent="-304747" algn="l" defTabSz="609493" rtl="0" eaLnBrk="1" latinLnBrk="0" hangingPunct="1">
              <a:spcBef>
                <a:spcPct val="20000"/>
              </a:spcBef>
              <a:buFont typeface="Arial"/>
              <a:buChar char="•"/>
              <a:defRPr sz="2700" kern="1200">
                <a:solidFill>
                  <a:schemeClr val="tx1"/>
                </a:solidFill>
                <a:latin typeface="+mn-lt"/>
                <a:ea typeface="+mn-ea"/>
                <a:cs typeface="+mn-cs"/>
              </a:defRPr>
            </a:lvl9pPr>
          </a:lstStyle>
          <a:p>
            <a:r>
              <a:rPr lang="en-US" sz="1400" dirty="0"/>
              <a:t>STANDARDIZATION</a:t>
            </a:r>
          </a:p>
        </p:txBody>
      </p:sp>
      <p:sp>
        <p:nvSpPr>
          <p:cNvPr id="41" name="Rectangle 40"/>
          <p:cNvSpPr/>
          <p:nvPr/>
        </p:nvSpPr>
        <p:spPr>
          <a:xfrm>
            <a:off x="3308295" y="995399"/>
            <a:ext cx="2559645" cy="356259"/>
          </a:xfrm>
          <a:prstGeom prst="rect">
            <a:avLst/>
          </a:prstGeom>
          <a:solidFill>
            <a:srgbClr val="00264A"/>
          </a:solidFill>
          <a:ln>
            <a:noFill/>
          </a:ln>
          <a:effectLst/>
        </p:spPr>
        <p:style>
          <a:lnRef idx="1">
            <a:schemeClr val="accent1"/>
          </a:lnRef>
          <a:fillRef idx="3">
            <a:schemeClr val="accent1"/>
          </a:fillRef>
          <a:effectRef idx="2">
            <a:schemeClr val="accent1"/>
          </a:effectRef>
          <a:fontRef idx="minor">
            <a:schemeClr val="lt1"/>
          </a:fontRef>
        </p:style>
        <p:txBody>
          <a:bodyPr lIns="68586" tIns="34294" rIns="68586" bIns="34294" rtlCol="0" anchor="ctr"/>
          <a:lstStyle/>
          <a:p>
            <a:pPr algn="ctr"/>
            <a:endParaRPr lang="en-US" dirty="0"/>
          </a:p>
        </p:txBody>
      </p:sp>
      <p:sp>
        <p:nvSpPr>
          <p:cNvPr id="48" name="Text Placeholder 39"/>
          <p:cNvSpPr txBox="1">
            <a:spLocks/>
          </p:cNvSpPr>
          <p:nvPr/>
        </p:nvSpPr>
        <p:spPr>
          <a:xfrm>
            <a:off x="3305166" y="1022118"/>
            <a:ext cx="2559490" cy="356260"/>
          </a:xfrm>
          <a:prstGeom prst="rect">
            <a:avLst/>
          </a:prstGeom>
          <a:effectLst/>
        </p:spPr>
        <p:txBody>
          <a:bodyPr lIns="68586" tIns="34294" rIns="68586" bIns="34294">
            <a:noAutofit/>
          </a:bodyPr>
          <a:lstStyle>
            <a:lvl1pPr marL="0" indent="0" algn="ctr" defTabSz="609493" rtl="0" eaLnBrk="1" latinLnBrk="0" hangingPunct="1">
              <a:lnSpc>
                <a:spcPct val="100000"/>
              </a:lnSpc>
              <a:spcBef>
                <a:spcPct val="20000"/>
              </a:spcBef>
              <a:buFontTx/>
              <a:buNone/>
              <a:defRPr sz="2000" kern="1200">
                <a:solidFill>
                  <a:srgbClr val="83B9DA"/>
                </a:solidFill>
                <a:latin typeface="+mj-lt"/>
                <a:ea typeface="+mn-ea"/>
                <a:cs typeface="Arial"/>
              </a:defRPr>
            </a:lvl1pPr>
            <a:lvl2pPr marL="609494" indent="0" algn="l" defTabSz="609493" rtl="0" eaLnBrk="1" latinLnBrk="0" hangingPunct="1">
              <a:spcBef>
                <a:spcPct val="20000"/>
              </a:spcBef>
              <a:buFontTx/>
              <a:buNone/>
              <a:defRPr sz="3700" kern="1200">
                <a:solidFill>
                  <a:srgbClr val="FFFFFF"/>
                </a:solidFill>
                <a:latin typeface="Arial"/>
                <a:ea typeface="+mn-ea"/>
                <a:cs typeface="Arial"/>
              </a:defRPr>
            </a:lvl2pPr>
            <a:lvl3pPr marL="1218986" indent="0" algn="l" defTabSz="609493" rtl="0" eaLnBrk="1" latinLnBrk="0" hangingPunct="1">
              <a:spcBef>
                <a:spcPct val="20000"/>
              </a:spcBef>
              <a:buFontTx/>
              <a:buNone/>
              <a:defRPr sz="3200" kern="1200">
                <a:solidFill>
                  <a:srgbClr val="FFFFFF"/>
                </a:solidFill>
                <a:latin typeface="Arial"/>
                <a:ea typeface="+mn-ea"/>
                <a:cs typeface="Arial"/>
              </a:defRPr>
            </a:lvl3pPr>
            <a:lvl4pPr marL="1828480" indent="0" algn="l" defTabSz="609493" rtl="0" eaLnBrk="1" latinLnBrk="0" hangingPunct="1">
              <a:spcBef>
                <a:spcPct val="20000"/>
              </a:spcBef>
              <a:buFontTx/>
              <a:buNone/>
              <a:defRPr sz="2700" kern="1200">
                <a:solidFill>
                  <a:srgbClr val="FFFFFF"/>
                </a:solidFill>
                <a:latin typeface="Arial"/>
                <a:ea typeface="+mn-ea"/>
                <a:cs typeface="Arial"/>
              </a:defRPr>
            </a:lvl4pPr>
            <a:lvl5pPr marL="2437973" indent="0" algn="l" defTabSz="609493" rtl="0" eaLnBrk="1" latinLnBrk="0" hangingPunct="1">
              <a:spcBef>
                <a:spcPct val="20000"/>
              </a:spcBef>
              <a:buFontTx/>
              <a:buNone/>
              <a:defRPr sz="2700" kern="1200">
                <a:solidFill>
                  <a:srgbClr val="FFFFFF"/>
                </a:solidFill>
                <a:latin typeface="Arial"/>
                <a:ea typeface="+mn-ea"/>
                <a:cs typeface="Arial"/>
              </a:defRPr>
            </a:lvl5pPr>
            <a:lvl6pPr marL="3352213" indent="-304747" algn="l" defTabSz="609493" rtl="0" eaLnBrk="1" latinLnBrk="0" hangingPunct="1">
              <a:spcBef>
                <a:spcPct val="20000"/>
              </a:spcBef>
              <a:buFont typeface="Arial"/>
              <a:buChar char="•"/>
              <a:defRPr sz="2700" kern="1200">
                <a:solidFill>
                  <a:schemeClr val="tx1"/>
                </a:solidFill>
                <a:latin typeface="+mn-lt"/>
                <a:ea typeface="+mn-ea"/>
                <a:cs typeface="+mn-cs"/>
              </a:defRPr>
            </a:lvl6pPr>
            <a:lvl7pPr marL="3961707" indent="-304747" algn="l" defTabSz="609493" rtl="0" eaLnBrk="1" latinLnBrk="0" hangingPunct="1">
              <a:spcBef>
                <a:spcPct val="20000"/>
              </a:spcBef>
              <a:buFont typeface="Arial"/>
              <a:buChar char="•"/>
              <a:defRPr sz="2700" kern="1200">
                <a:solidFill>
                  <a:schemeClr val="tx1"/>
                </a:solidFill>
                <a:latin typeface="+mn-lt"/>
                <a:ea typeface="+mn-ea"/>
                <a:cs typeface="+mn-cs"/>
              </a:defRPr>
            </a:lvl7pPr>
            <a:lvl8pPr marL="4571200" indent="-304747" algn="l" defTabSz="609493" rtl="0" eaLnBrk="1" latinLnBrk="0" hangingPunct="1">
              <a:spcBef>
                <a:spcPct val="20000"/>
              </a:spcBef>
              <a:buFont typeface="Arial"/>
              <a:buChar char="•"/>
              <a:defRPr sz="2700" kern="1200">
                <a:solidFill>
                  <a:schemeClr val="tx1"/>
                </a:solidFill>
                <a:latin typeface="+mn-lt"/>
                <a:ea typeface="+mn-ea"/>
                <a:cs typeface="+mn-cs"/>
              </a:defRPr>
            </a:lvl8pPr>
            <a:lvl9pPr marL="5180693" indent="-304747" algn="l" defTabSz="609493" rtl="0" eaLnBrk="1" latinLnBrk="0" hangingPunct="1">
              <a:spcBef>
                <a:spcPct val="20000"/>
              </a:spcBef>
              <a:buFont typeface="Arial"/>
              <a:buChar char="•"/>
              <a:defRPr sz="2700" kern="1200">
                <a:solidFill>
                  <a:schemeClr val="tx1"/>
                </a:solidFill>
                <a:latin typeface="+mn-lt"/>
                <a:ea typeface="+mn-ea"/>
                <a:cs typeface="+mn-cs"/>
              </a:defRPr>
            </a:lvl9pPr>
          </a:lstStyle>
          <a:p>
            <a:r>
              <a:rPr lang="en-US" dirty="0" smtClean="0"/>
              <a:t>SELF SERVICE</a:t>
            </a:r>
            <a:endParaRPr lang="en-US" dirty="0"/>
          </a:p>
          <a:p>
            <a:endParaRPr lang="en-US" dirty="0"/>
          </a:p>
        </p:txBody>
      </p:sp>
      <p:sp>
        <p:nvSpPr>
          <p:cNvPr id="49" name="Rectangle 48"/>
          <p:cNvSpPr/>
          <p:nvPr/>
        </p:nvSpPr>
        <p:spPr>
          <a:xfrm>
            <a:off x="6031422" y="995399"/>
            <a:ext cx="2559645" cy="356259"/>
          </a:xfrm>
          <a:prstGeom prst="rect">
            <a:avLst/>
          </a:prstGeom>
          <a:solidFill>
            <a:srgbClr val="00264A"/>
          </a:solidFill>
          <a:ln>
            <a:noFill/>
          </a:ln>
          <a:effectLst/>
        </p:spPr>
        <p:style>
          <a:lnRef idx="1">
            <a:schemeClr val="accent1"/>
          </a:lnRef>
          <a:fillRef idx="3">
            <a:schemeClr val="accent1"/>
          </a:fillRef>
          <a:effectRef idx="2">
            <a:schemeClr val="accent1"/>
          </a:effectRef>
          <a:fontRef idx="minor">
            <a:schemeClr val="lt1"/>
          </a:fontRef>
        </p:style>
        <p:txBody>
          <a:bodyPr lIns="68586" tIns="34294" rIns="68586" bIns="34294" rtlCol="0" anchor="ctr"/>
          <a:lstStyle/>
          <a:p>
            <a:pPr algn="ctr"/>
            <a:endParaRPr lang="en-US" dirty="0"/>
          </a:p>
        </p:txBody>
      </p:sp>
      <p:sp>
        <p:nvSpPr>
          <p:cNvPr id="50" name="Text Placeholder 39"/>
          <p:cNvSpPr txBox="1">
            <a:spLocks/>
          </p:cNvSpPr>
          <p:nvPr/>
        </p:nvSpPr>
        <p:spPr>
          <a:xfrm>
            <a:off x="6028294" y="1022118"/>
            <a:ext cx="2559490" cy="356260"/>
          </a:xfrm>
          <a:prstGeom prst="rect">
            <a:avLst/>
          </a:prstGeom>
          <a:effectLst/>
        </p:spPr>
        <p:txBody>
          <a:bodyPr lIns="68586" tIns="34294" rIns="68586" bIns="34294">
            <a:noAutofit/>
          </a:bodyPr>
          <a:lstStyle>
            <a:lvl1pPr marL="0" indent="0" algn="ctr" defTabSz="609493" rtl="0" eaLnBrk="1" latinLnBrk="0" hangingPunct="1">
              <a:lnSpc>
                <a:spcPct val="100000"/>
              </a:lnSpc>
              <a:spcBef>
                <a:spcPct val="20000"/>
              </a:spcBef>
              <a:buFontTx/>
              <a:buNone/>
              <a:defRPr sz="2000" kern="1200">
                <a:solidFill>
                  <a:srgbClr val="83B9DA"/>
                </a:solidFill>
                <a:latin typeface="+mj-lt"/>
                <a:ea typeface="+mn-ea"/>
                <a:cs typeface="Arial"/>
              </a:defRPr>
            </a:lvl1pPr>
            <a:lvl2pPr marL="609494" indent="0" algn="l" defTabSz="609493" rtl="0" eaLnBrk="1" latinLnBrk="0" hangingPunct="1">
              <a:spcBef>
                <a:spcPct val="20000"/>
              </a:spcBef>
              <a:buFontTx/>
              <a:buNone/>
              <a:defRPr sz="3700" kern="1200">
                <a:solidFill>
                  <a:srgbClr val="FFFFFF"/>
                </a:solidFill>
                <a:latin typeface="Arial"/>
                <a:ea typeface="+mn-ea"/>
                <a:cs typeface="Arial"/>
              </a:defRPr>
            </a:lvl2pPr>
            <a:lvl3pPr marL="1218986" indent="0" algn="l" defTabSz="609493" rtl="0" eaLnBrk="1" latinLnBrk="0" hangingPunct="1">
              <a:spcBef>
                <a:spcPct val="20000"/>
              </a:spcBef>
              <a:buFontTx/>
              <a:buNone/>
              <a:defRPr sz="3200" kern="1200">
                <a:solidFill>
                  <a:srgbClr val="FFFFFF"/>
                </a:solidFill>
                <a:latin typeface="Arial"/>
                <a:ea typeface="+mn-ea"/>
                <a:cs typeface="Arial"/>
              </a:defRPr>
            </a:lvl3pPr>
            <a:lvl4pPr marL="1828480" indent="0" algn="l" defTabSz="609493" rtl="0" eaLnBrk="1" latinLnBrk="0" hangingPunct="1">
              <a:spcBef>
                <a:spcPct val="20000"/>
              </a:spcBef>
              <a:buFontTx/>
              <a:buNone/>
              <a:defRPr sz="2700" kern="1200">
                <a:solidFill>
                  <a:srgbClr val="FFFFFF"/>
                </a:solidFill>
                <a:latin typeface="Arial"/>
                <a:ea typeface="+mn-ea"/>
                <a:cs typeface="Arial"/>
              </a:defRPr>
            </a:lvl4pPr>
            <a:lvl5pPr marL="2437973" indent="0" algn="l" defTabSz="609493" rtl="0" eaLnBrk="1" latinLnBrk="0" hangingPunct="1">
              <a:spcBef>
                <a:spcPct val="20000"/>
              </a:spcBef>
              <a:buFontTx/>
              <a:buNone/>
              <a:defRPr sz="2700" kern="1200">
                <a:solidFill>
                  <a:srgbClr val="FFFFFF"/>
                </a:solidFill>
                <a:latin typeface="Arial"/>
                <a:ea typeface="+mn-ea"/>
                <a:cs typeface="Arial"/>
              </a:defRPr>
            </a:lvl5pPr>
            <a:lvl6pPr marL="3352213" indent="-304747" algn="l" defTabSz="609493" rtl="0" eaLnBrk="1" latinLnBrk="0" hangingPunct="1">
              <a:spcBef>
                <a:spcPct val="20000"/>
              </a:spcBef>
              <a:buFont typeface="Arial"/>
              <a:buChar char="•"/>
              <a:defRPr sz="2700" kern="1200">
                <a:solidFill>
                  <a:schemeClr val="tx1"/>
                </a:solidFill>
                <a:latin typeface="+mn-lt"/>
                <a:ea typeface="+mn-ea"/>
                <a:cs typeface="+mn-cs"/>
              </a:defRPr>
            </a:lvl6pPr>
            <a:lvl7pPr marL="3961707" indent="-304747" algn="l" defTabSz="609493" rtl="0" eaLnBrk="1" latinLnBrk="0" hangingPunct="1">
              <a:spcBef>
                <a:spcPct val="20000"/>
              </a:spcBef>
              <a:buFont typeface="Arial"/>
              <a:buChar char="•"/>
              <a:defRPr sz="2700" kern="1200">
                <a:solidFill>
                  <a:schemeClr val="tx1"/>
                </a:solidFill>
                <a:latin typeface="+mn-lt"/>
                <a:ea typeface="+mn-ea"/>
                <a:cs typeface="+mn-cs"/>
              </a:defRPr>
            </a:lvl7pPr>
            <a:lvl8pPr marL="4571200" indent="-304747" algn="l" defTabSz="609493" rtl="0" eaLnBrk="1" latinLnBrk="0" hangingPunct="1">
              <a:spcBef>
                <a:spcPct val="20000"/>
              </a:spcBef>
              <a:buFont typeface="Arial"/>
              <a:buChar char="•"/>
              <a:defRPr sz="2700" kern="1200">
                <a:solidFill>
                  <a:schemeClr val="tx1"/>
                </a:solidFill>
                <a:latin typeface="+mn-lt"/>
                <a:ea typeface="+mn-ea"/>
                <a:cs typeface="+mn-cs"/>
              </a:defRPr>
            </a:lvl8pPr>
            <a:lvl9pPr marL="5180693" indent="-304747" algn="l" defTabSz="609493" rtl="0" eaLnBrk="1" latinLnBrk="0" hangingPunct="1">
              <a:spcBef>
                <a:spcPct val="20000"/>
              </a:spcBef>
              <a:buFont typeface="Arial"/>
              <a:buChar char="•"/>
              <a:defRPr sz="2700" kern="1200">
                <a:solidFill>
                  <a:schemeClr val="tx1"/>
                </a:solidFill>
                <a:latin typeface="+mn-lt"/>
                <a:ea typeface="+mn-ea"/>
                <a:cs typeface="+mn-cs"/>
              </a:defRPr>
            </a:lvl9pPr>
          </a:lstStyle>
          <a:p>
            <a:r>
              <a:rPr lang="en-US" dirty="0" smtClean="0"/>
              <a:t>AUTOMATION</a:t>
            </a:r>
            <a:endParaRPr lang="en-US" dirty="0"/>
          </a:p>
          <a:p>
            <a:endParaRPr lang="en-US" dirty="0"/>
          </a:p>
        </p:txBody>
      </p:sp>
      <p:sp>
        <p:nvSpPr>
          <p:cNvPr id="57" name="Text Placeholder 6"/>
          <p:cNvSpPr txBox="1">
            <a:spLocks/>
          </p:cNvSpPr>
          <p:nvPr/>
        </p:nvSpPr>
        <p:spPr>
          <a:xfrm>
            <a:off x="3308294" y="2457452"/>
            <a:ext cx="2556362" cy="1994255"/>
          </a:xfrm>
          <a:prstGeom prst="rect">
            <a:avLst/>
          </a:prstGeom>
        </p:spPr>
        <p:txBody>
          <a:bodyPr lIns="68586" tIns="34294" rIns="68586" bIns="34294"/>
          <a:lstStyle>
            <a:lvl1pPr marL="457120" indent="-457120" algn="l" defTabSz="609493" rtl="0" eaLnBrk="1" latinLnBrk="0" hangingPunct="1">
              <a:spcBef>
                <a:spcPct val="20000"/>
              </a:spcBef>
              <a:buFont typeface="Arial"/>
              <a:buChar char="•"/>
              <a:defRPr sz="4300" kern="1200">
                <a:solidFill>
                  <a:srgbClr val="FFFFFF"/>
                </a:solidFill>
                <a:latin typeface="Arial"/>
                <a:ea typeface="+mn-ea"/>
                <a:cs typeface="Arial"/>
              </a:defRPr>
            </a:lvl1pPr>
            <a:lvl2pPr marL="990427" indent="-380933" algn="l" defTabSz="609493" rtl="0" eaLnBrk="1" latinLnBrk="0" hangingPunct="1">
              <a:spcBef>
                <a:spcPct val="20000"/>
              </a:spcBef>
              <a:buFont typeface="Arial"/>
              <a:buChar char="–"/>
              <a:defRPr sz="3700" kern="1200">
                <a:solidFill>
                  <a:srgbClr val="FFFFFF"/>
                </a:solidFill>
                <a:latin typeface="Arial"/>
                <a:ea typeface="+mn-ea"/>
                <a:cs typeface="Arial"/>
              </a:defRPr>
            </a:lvl2pPr>
            <a:lvl3pPr marL="1523733" indent="-304747" algn="l" defTabSz="609493" rtl="0" eaLnBrk="1" latinLnBrk="0" hangingPunct="1">
              <a:spcBef>
                <a:spcPct val="20000"/>
              </a:spcBef>
              <a:buFont typeface="Arial"/>
              <a:buChar char="•"/>
              <a:defRPr sz="3200" kern="1200">
                <a:solidFill>
                  <a:srgbClr val="FFFFFF"/>
                </a:solidFill>
                <a:latin typeface="Arial"/>
                <a:ea typeface="+mn-ea"/>
                <a:cs typeface="Arial"/>
              </a:defRPr>
            </a:lvl3pPr>
            <a:lvl4pPr marL="2133227" indent="-304747" algn="l" defTabSz="609493" rtl="0" eaLnBrk="1" latinLnBrk="0" hangingPunct="1">
              <a:spcBef>
                <a:spcPct val="20000"/>
              </a:spcBef>
              <a:buFont typeface="Arial"/>
              <a:buChar char="–"/>
              <a:defRPr sz="2700" kern="1200">
                <a:solidFill>
                  <a:srgbClr val="FFFFFF"/>
                </a:solidFill>
                <a:latin typeface="Arial"/>
                <a:ea typeface="+mn-ea"/>
                <a:cs typeface="Arial"/>
              </a:defRPr>
            </a:lvl4pPr>
            <a:lvl5pPr marL="2742720" indent="-304747" algn="l" defTabSz="609493" rtl="0" eaLnBrk="1" latinLnBrk="0" hangingPunct="1">
              <a:spcBef>
                <a:spcPct val="20000"/>
              </a:spcBef>
              <a:buFont typeface="Arial"/>
              <a:buChar char="»"/>
              <a:defRPr sz="2700" kern="1200">
                <a:solidFill>
                  <a:srgbClr val="FFFFFF"/>
                </a:solidFill>
                <a:latin typeface="Arial"/>
                <a:ea typeface="+mn-ea"/>
                <a:cs typeface="Arial"/>
              </a:defRPr>
            </a:lvl5pPr>
            <a:lvl6pPr marL="3352213" indent="-304747" algn="l" defTabSz="609493" rtl="0" eaLnBrk="1" latinLnBrk="0" hangingPunct="1">
              <a:spcBef>
                <a:spcPct val="20000"/>
              </a:spcBef>
              <a:buFont typeface="Arial"/>
              <a:buChar char="•"/>
              <a:defRPr sz="2700" kern="1200">
                <a:solidFill>
                  <a:schemeClr val="tx1"/>
                </a:solidFill>
                <a:latin typeface="+mn-lt"/>
                <a:ea typeface="+mn-ea"/>
                <a:cs typeface="+mn-cs"/>
              </a:defRPr>
            </a:lvl6pPr>
            <a:lvl7pPr marL="3961707" indent="-304747" algn="l" defTabSz="609493" rtl="0" eaLnBrk="1" latinLnBrk="0" hangingPunct="1">
              <a:spcBef>
                <a:spcPct val="20000"/>
              </a:spcBef>
              <a:buFont typeface="Arial"/>
              <a:buChar char="•"/>
              <a:defRPr sz="2700" kern="1200">
                <a:solidFill>
                  <a:schemeClr val="tx1"/>
                </a:solidFill>
                <a:latin typeface="+mn-lt"/>
                <a:ea typeface="+mn-ea"/>
                <a:cs typeface="+mn-cs"/>
              </a:defRPr>
            </a:lvl7pPr>
            <a:lvl8pPr marL="4571200" indent="-304747" algn="l" defTabSz="609493" rtl="0" eaLnBrk="1" latinLnBrk="0" hangingPunct="1">
              <a:spcBef>
                <a:spcPct val="20000"/>
              </a:spcBef>
              <a:buFont typeface="Arial"/>
              <a:buChar char="•"/>
              <a:defRPr sz="2700" kern="1200">
                <a:solidFill>
                  <a:schemeClr val="tx1"/>
                </a:solidFill>
                <a:latin typeface="+mn-lt"/>
                <a:ea typeface="+mn-ea"/>
                <a:cs typeface="+mn-cs"/>
              </a:defRPr>
            </a:lvl8pPr>
            <a:lvl9pPr marL="5180693" indent="-304747" algn="l" defTabSz="609493" rtl="0" eaLnBrk="1" latinLnBrk="0" hangingPunct="1">
              <a:spcBef>
                <a:spcPct val="20000"/>
              </a:spcBef>
              <a:buFont typeface="Arial"/>
              <a:buChar char="•"/>
              <a:defRPr sz="2700" kern="1200">
                <a:solidFill>
                  <a:schemeClr val="tx1"/>
                </a:solidFill>
                <a:latin typeface="+mn-lt"/>
                <a:ea typeface="+mn-ea"/>
                <a:cs typeface="+mn-cs"/>
              </a:defRPr>
            </a:lvl9pPr>
          </a:lstStyle>
          <a:p>
            <a:pPr marL="0" lvl="1" indent="0" algn="ctr">
              <a:buNone/>
            </a:pPr>
            <a:r>
              <a:rPr lang="en-US" sz="1200" dirty="0">
                <a:solidFill>
                  <a:schemeClr val="tx1"/>
                </a:solidFill>
                <a:latin typeface="+mn-lt"/>
                <a:ea typeface="Segoe UI" pitchFamily="34" charset="0"/>
                <a:cs typeface="Segoe UI" pitchFamily="34" charset="0"/>
              </a:rPr>
              <a:t>Give Consumers of IT services the ability to identify, access and request services as needed</a:t>
            </a:r>
          </a:p>
          <a:p>
            <a:pPr marL="0" lvl="1" indent="0">
              <a:buNone/>
            </a:pPr>
            <a:endParaRPr lang="en-US" sz="1200" dirty="0">
              <a:solidFill>
                <a:schemeClr val="tx1"/>
              </a:solidFill>
              <a:latin typeface="+mn-lt"/>
              <a:ea typeface="Segoe UI" pitchFamily="34" charset="0"/>
              <a:cs typeface="Segoe UI" pitchFamily="34" charset="0"/>
            </a:endParaRPr>
          </a:p>
          <a:p>
            <a:pPr marL="177420" lvl="1" indent="0">
              <a:spcBef>
                <a:spcPts val="0"/>
              </a:spcBef>
              <a:spcAft>
                <a:spcPts val="675"/>
              </a:spcAft>
              <a:buNone/>
            </a:pPr>
            <a:r>
              <a:rPr lang="en-US" altLang="zh-CN" sz="1100" dirty="0">
                <a:solidFill>
                  <a:schemeClr val="tx1"/>
                </a:solidFill>
                <a:latin typeface="+mn-lt"/>
              </a:rPr>
              <a:t>Controlled empowerment</a:t>
            </a:r>
          </a:p>
          <a:p>
            <a:pPr marL="177420" lvl="1" indent="0">
              <a:spcBef>
                <a:spcPts val="0"/>
              </a:spcBef>
              <a:spcAft>
                <a:spcPts val="675"/>
              </a:spcAft>
              <a:buNone/>
            </a:pPr>
            <a:r>
              <a:rPr lang="en-US" altLang="zh-CN" sz="1100" dirty="0">
                <a:solidFill>
                  <a:schemeClr val="tx1"/>
                </a:solidFill>
                <a:latin typeface="+mn-lt"/>
              </a:rPr>
              <a:t>Request offerings displayed based on user role</a:t>
            </a:r>
          </a:p>
          <a:p>
            <a:pPr marL="177420" lvl="1" indent="0">
              <a:spcBef>
                <a:spcPts val="0"/>
              </a:spcBef>
              <a:spcAft>
                <a:spcPts val="675"/>
              </a:spcAft>
              <a:buNone/>
            </a:pPr>
            <a:r>
              <a:rPr lang="en-US" altLang="zh-CN" sz="1100" dirty="0">
                <a:solidFill>
                  <a:schemeClr val="tx1"/>
                </a:solidFill>
                <a:latin typeface="+mn-lt"/>
              </a:rPr>
              <a:t>Intuitive, easy to navigate portal</a:t>
            </a:r>
          </a:p>
          <a:p>
            <a:pPr marL="177420" lvl="1" indent="0">
              <a:spcBef>
                <a:spcPts val="0"/>
              </a:spcBef>
              <a:spcAft>
                <a:spcPts val="675"/>
              </a:spcAft>
              <a:buNone/>
            </a:pPr>
            <a:r>
              <a:rPr lang="en-US" altLang="zh-CN" sz="1100" dirty="0">
                <a:solidFill>
                  <a:schemeClr val="tx1"/>
                </a:solidFill>
                <a:latin typeface="+mn-lt"/>
              </a:rPr>
              <a:t>Self-service reporting</a:t>
            </a:r>
          </a:p>
          <a:p>
            <a:pPr marL="214332" lvl="1" indent="-214332"/>
            <a:endParaRPr lang="en-US" altLang="zh-CN" sz="1200" dirty="0">
              <a:solidFill>
                <a:schemeClr val="tx1"/>
              </a:solidFill>
              <a:latin typeface="+mn-lt"/>
            </a:endParaRPr>
          </a:p>
          <a:p>
            <a:pPr marL="0" lvl="1"/>
            <a:endParaRPr lang="en-US" sz="1200" dirty="0">
              <a:solidFill>
                <a:schemeClr val="tx1"/>
              </a:solidFill>
              <a:latin typeface="+mn-lt"/>
              <a:ea typeface="Segoe UI" pitchFamily="34" charset="0"/>
              <a:cs typeface="Segoe UI" pitchFamily="34" charset="0"/>
            </a:endParaRPr>
          </a:p>
          <a:p>
            <a:endParaRPr lang="en-US" sz="1400" dirty="0">
              <a:solidFill>
                <a:schemeClr val="tx1"/>
              </a:solidFill>
              <a:latin typeface="+mn-lt"/>
            </a:endParaRPr>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79902" y="1428752"/>
            <a:ext cx="1380793" cy="864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354874" y="1671906"/>
            <a:ext cx="1912738" cy="633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 name="Text Placeholder 6"/>
          <p:cNvSpPr txBox="1">
            <a:spLocks/>
          </p:cNvSpPr>
          <p:nvPr/>
        </p:nvSpPr>
        <p:spPr>
          <a:xfrm>
            <a:off x="6031421" y="2457451"/>
            <a:ext cx="2555191" cy="1989157"/>
          </a:xfrm>
          <a:prstGeom prst="rect">
            <a:avLst/>
          </a:prstGeom>
        </p:spPr>
        <p:txBody>
          <a:bodyPr lIns="68586" tIns="34294" rIns="68586" bIns="34294"/>
          <a:lstStyle>
            <a:lvl1pPr marL="457120" indent="-457120" algn="l" defTabSz="609493" rtl="0" eaLnBrk="1" latinLnBrk="0" hangingPunct="1">
              <a:spcBef>
                <a:spcPct val="20000"/>
              </a:spcBef>
              <a:buFont typeface="Arial"/>
              <a:buChar char="•"/>
              <a:defRPr sz="4300" kern="1200">
                <a:solidFill>
                  <a:srgbClr val="FFFFFF"/>
                </a:solidFill>
                <a:latin typeface="Arial"/>
                <a:ea typeface="+mn-ea"/>
                <a:cs typeface="Arial"/>
              </a:defRPr>
            </a:lvl1pPr>
            <a:lvl2pPr marL="990427" indent="-380933" algn="l" defTabSz="609493" rtl="0" eaLnBrk="1" latinLnBrk="0" hangingPunct="1">
              <a:spcBef>
                <a:spcPct val="20000"/>
              </a:spcBef>
              <a:buFont typeface="Arial"/>
              <a:buChar char="–"/>
              <a:defRPr sz="3700" kern="1200">
                <a:solidFill>
                  <a:srgbClr val="FFFFFF"/>
                </a:solidFill>
                <a:latin typeface="Arial"/>
                <a:ea typeface="+mn-ea"/>
                <a:cs typeface="Arial"/>
              </a:defRPr>
            </a:lvl2pPr>
            <a:lvl3pPr marL="1523733" indent="-304747" algn="l" defTabSz="609493" rtl="0" eaLnBrk="1" latinLnBrk="0" hangingPunct="1">
              <a:spcBef>
                <a:spcPct val="20000"/>
              </a:spcBef>
              <a:buFont typeface="Arial"/>
              <a:buChar char="•"/>
              <a:defRPr sz="3200" kern="1200">
                <a:solidFill>
                  <a:srgbClr val="FFFFFF"/>
                </a:solidFill>
                <a:latin typeface="Arial"/>
                <a:ea typeface="+mn-ea"/>
                <a:cs typeface="Arial"/>
              </a:defRPr>
            </a:lvl3pPr>
            <a:lvl4pPr marL="2133227" indent="-304747" algn="l" defTabSz="609493" rtl="0" eaLnBrk="1" latinLnBrk="0" hangingPunct="1">
              <a:spcBef>
                <a:spcPct val="20000"/>
              </a:spcBef>
              <a:buFont typeface="Arial"/>
              <a:buChar char="–"/>
              <a:defRPr sz="2700" kern="1200">
                <a:solidFill>
                  <a:srgbClr val="FFFFFF"/>
                </a:solidFill>
                <a:latin typeface="Arial"/>
                <a:ea typeface="+mn-ea"/>
                <a:cs typeface="Arial"/>
              </a:defRPr>
            </a:lvl4pPr>
            <a:lvl5pPr marL="2742720" indent="-304747" algn="l" defTabSz="609493" rtl="0" eaLnBrk="1" latinLnBrk="0" hangingPunct="1">
              <a:spcBef>
                <a:spcPct val="20000"/>
              </a:spcBef>
              <a:buFont typeface="Arial"/>
              <a:buChar char="»"/>
              <a:defRPr sz="2700" kern="1200">
                <a:solidFill>
                  <a:srgbClr val="FFFFFF"/>
                </a:solidFill>
                <a:latin typeface="Arial"/>
                <a:ea typeface="+mn-ea"/>
                <a:cs typeface="Arial"/>
              </a:defRPr>
            </a:lvl5pPr>
            <a:lvl6pPr marL="3352213" indent="-304747" algn="l" defTabSz="609493" rtl="0" eaLnBrk="1" latinLnBrk="0" hangingPunct="1">
              <a:spcBef>
                <a:spcPct val="20000"/>
              </a:spcBef>
              <a:buFont typeface="Arial"/>
              <a:buChar char="•"/>
              <a:defRPr sz="2700" kern="1200">
                <a:solidFill>
                  <a:schemeClr val="tx1"/>
                </a:solidFill>
                <a:latin typeface="+mn-lt"/>
                <a:ea typeface="+mn-ea"/>
                <a:cs typeface="+mn-cs"/>
              </a:defRPr>
            </a:lvl6pPr>
            <a:lvl7pPr marL="3961707" indent="-304747" algn="l" defTabSz="609493" rtl="0" eaLnBrk="1" latinLnBrk="0" hangingPunct="1">
              <a:spcBef>
                <a:spcPct val="20000"/>
              </a:spcBef>
              <a:buFont typeface="Arial"/>
              <a:buChar char="•"/>
              <a:defRPr sz="2700" kern="1200">
                <a:solidFill>
                  <a:schemeClr val="tx1"/>
                </a:solidFill>
                <a:latin typeface="+mn-lt"/>
                <a:ea typeface="+mn-ea"/>
                <a:cs typeface="+mn-cs"/>
              </a:defRPr>
            </a:lvl7pPr>
            <a:lvl8pPr marL="4571200" indent="-304747" algn="l" defTabSz="609493" rtl="0" eaLnBrk="1" latinLnBrk="0" hangingPunct="1">
              <a:spcBef>
                <a:spcPct val="20000"/>
              </a:spcBef>
              <a:buFont typeface="Arial"/>
              <a:buChar char="•"/>
              <a:defRPr sz="2700" kern="1200">
                <a:solidFill>
                  <a:schemeClr val="tx1"/>
                </a:solidFill>
                <a:latin typeface="+mn-lt"/>
                <a:ea typeface="+mn-ea"/>
                <a:cs typeface="+mn-cs"/>
              </a:defRPr>
            </a:lvl8pPr>
            <a:lvl9pPr marL="5180693" indent="-304747" algn="l" defTabSz="609493" rtl="0" eaLnBrk="1" latinLnBrk="0" hangingPunct="1">
              <a:spcBef>
                <a:spcPct val="20000"/>
              </a:spcBef>
              <a:buFont typeface="Arial"/>
              <a:buChar char="•"/>
              <a:defRPr sz="2700" kern="1200">
                <a:solidFill>
                  <a:schemeClr val="tx1"/>
                </a:solidFill>
                <a:latin typeface="+mn-lt"/>
                <a:ea typeface="+mn-ea"/>
                <a:cs typeface="+mn-cs"/>
              </a:defRPr>
            </a:lvl9pPr>
          </a:lstStyle>
          <a:p>
            <a:pPr marL="0" lvl="1" indent="0" algn="ctr">
              <a:buNone/>
            </a:pPr>
            <a:r>
              <a:rPr lang="en-US" sz="1200" dirty="0">
                <a:solidFill>
                  <a:schemeClr val="tx1"/>
                </a:solidFill>
                <a:latin typeface="+mn-lt"/>
                <a:ea typeface="Segoe UI" pitchFamily="34" charset="0"/>
                <a:cs typeface="Segoe UI" pitchFamily="34" charset="0"/>
              </a:rPr>
              <a:t>Automate the processes and systems necessary to fulfill Consumer requests.</a:t>
            </a:r>
          </a:p>
          <a:p>
            <a:pPr marL="0" lvl="1" indent="0">
              <a:buNone/>
            </a:pPr>
            <a:endParaRPr lang="en-US" sz="1200" dirty="0">
              <a:solidFill>
                <a:schemeClr val="tx1"/>
              </a:solidFill>
              <a:latin typeface="+mn-lt"/>
              <a:ea typeface="Segoe UI" pitchFamily="34" charset="0"/>
              <a:cs typeface="Segoe UI" pitchFamily="34" charset="0"/>
            </a:endParaRPr>
          </a:p>
          <a:p>
            <a:pPr marL="177420" lvl="1" indent="0">
              <a:spcBef>
                <a:spcPts val="0"/>
              </a:spcBef>
              <a:spcAft>
                <a:spcPts val="675"/>
              </a:spcAft>
              <a:buNone/>
            </a:pPr>
            <a:r>
              <a:rPr lang="en-US" altLang="zh-CN" sz="1100" dirty="0">
                <a:solidFill>
                  <a:schemeClr val="tx1"/>
                </a:solidFill>
                <a:latin typeface="+mn-lt"/>
              </a:rPr>
              <a:t>Automate routing of requests for approval and manual steps</a:t>
            </a:r>
          </a:p>
          <a:p>
            <a:pPr marL="177420" lvl="1" indent="0">
              <a:spcBef>
                <a:spcPts val="0"/>
              </a:spcBef>
              <a:spcAft>
                <a:spcPts val="675"/>
              </a:spcAft>
              <a:buNone/>
            </a:pPr>
            <a:r>
              <a:rPr lang="en-US" altLang="zh-CN" sz="1100" dirty="0">
                <a:solidFill>
                  <a:schemeClr val="tx1"/>
                </a:solidFill>
                <a:latin typeface="+mn-lt"/>
              </a:rPr>
              <a:t>Automate fulfillment of the service request</a:t>
            </a:r>
          </a:p>
          <a:p>
            <a:pPr marL="177420" lvl="1" indent="0">
              <a:spcBef>
                <a:spcPts val="0"/>
              </a:spcBef>
              <a:spcAft>
                <a:spcPts val="675"/>
              </a:spcAft>
              <a:buNone/>
            </a:pPr>
            <a:r>
              <a:rPr lang="en-US" altLang="zh-CN" sz="1100" dirty="0">
                <a:solidFill>
                  <a:schemeClr val="tx1"/>
                </a:solidFill>
                <a:latin typeface="+mn-lt"/>
              </a:rPr>
              <a:t>Automate notifications</a:t>
            </a:r>
          </a:p>
          <a:p>
            <a:pPr marL="214332" lvl="1" indent="-214332"/>
            <a:endParaRPr lang="en-US" altLang="zh-CN" sz="1200" dirty="0">
              <a:solidFill>
                <a:schemeClr val="tx1"/>
              </a:solidFill>
              <a:latin typeface="+mn-lt"/>
            </a:endParaRPr>
          </a:p>
          <a:p>
            <a:pPr marL="0" lvl="1"/>
            <a:endParaRPr lang="en-US" sz="1200" dirty="0">
              <a:solidFill>
                <a:schemeClr val="tx1"/>
              </a:solidFill>
              <a:latin typeface="+mn-lt"/>
              <a:ea typeface="Segoe UI" pitchFamily="34" charset="0"/>
              <a:cs typeface="Segoe UI" pitchFamily="34" charset="0"/>
            </a:endParaRPr>
          </a:p>
          <a:p>
            <a:endParaRPr lang="en-US" sz="1400" dirty="0">
              <a:solidFill>
                <a:schemeClr val="tx1"/>
              </a:solidFill>
              <a:latin typeface="+mn-lt"/>
            </a:endParaRPr>
          </a:p>
        </p:txBody>
      </p:sp>
      <p:pic>
        <p:nvPicPr>
          <p:cNvPr id="2"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48341" y="1556552"/>
            <a:ext cx="2059126" cy="5603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Text Placeholder 3"/>
          <p:cNvSpPr txBox="1">
            <a:spLocks/>
          </p:cNvSpPr>
          <p:nvPr/>
        </p:nvSpPr>
        <p:spPr bwMode="auto">
          <a:xfrm>
            <a:off x="576259" y="2457451"/>
            <a:ext cx="2566619" cy="2512219"/>
          </a:xfrm>
          <a:prstGeom prst="rect">
            <a:avLst/>
          </a:prstGeom>
          <a:noFill/>
          <a:ln w="9525">
            <a:noFill/>
            <a:miter lim="800000"/>
            <a:headEnd/>
            <a:tailEnd/>
          </a:ln>
        </p:spPr>
        <p:txBody>
          <a:bodyPr vert="horz" wrap="square" lIns="137166" tIns="45716" rIns="137166" bIns="45716" numCol="1" anchor="t" anchorCtr="0" compatLnSpc="1">
            <a:prstTxWarp prst="textNoShape">
              <a:avLst/>
            </a:prstTxWarp>
          </a:bodyPr>
          <a:lstStyle>
            <a:lvl1pPr marL="455613" indent="-455613" algn="l" defTabSz="608013" rtl="0" fontAlgn="base">
              <a:spcBef>
                <a:spcPct val="20000"/>
              </a:spcBef>
              <a:spcAft>
                <a:spcPct val="0"/>
              </a:spcAft>
              <a:buFont typeface="Arial" charset="0"/>
              <a:buChar char="•"/>
              <a:defRPr sz="2800" kern="1200">
                <a:solidFill>
                  <a:srgbClr val="FFFFFF"/>
                </a:solidFill>
                <a:latin typeface="+mn-lt"/>
                <a:ea typeface="+mn-ea"/>
                <a:cs typeface="Arial"/>
              </a:defRPr>
            </a:lvl1pPr>
            <a:lvl2pPr marL="989013" indent="-379413" algn="l" defTabSz="608013" rtl="0" fontAlgn="base">
              <a:spcBef>
                <a:spcPct val="20000"/>
              </a:spcBef>
              <a:spcAft>
                <a:spcPct val="0"/>
              </a:spcAft>
              <a:buFont typeface="Arial" charset="0"/>
              <a:buChar char="–"/>
              <a:defRPr sz="2400" kern="1200">
                <a:solidFill>
                  <a:srgbClr val="FFFFFF"/>
                </a:solidFill>
                <a:latin typeface="+mn-lt"/>
                <a:ea typeface="+mn-ea"/>
                <a:cs typeface="Arial"/>
              </a:defRPr>
            </a:lvl2pPr>
            <a:lvl3pPr marL="1522413" indent="-303213" algn="l" defTabSz="608013" rtl="0" fontAlgn="base">
              <a:spcBef>
                <a:spcPct val="20000"/>
              </a:spcBef>
              <a:spcAft>
                <a:spcPct val="0"/>
              </a:spcAft>
              <a:buFont typeface="Arial" charset="0"/>
              <a:buChar char="•"/>
              <a:defRPr kern="1200">
                <a:solidFill>
                  <a:srgbClr val="FFFFFF"/>
                </a:solidFill>
                <a:latin typeface="+mn-lt"/>
                <a:ea typeface="+mn-ea"/>
                <a:cs typeface="Arial"/>
              </a:defRPr>
            </a:lvl3pPr>
            <a:lvl4pPr marL="2132013" indent="-303213" algn="l" defTabSz="608013" rtl="0" fontAlgn="base">
              <a:spcBef>
                <a:spcPct val="20000"/>
              </a:spcBef>
              <a:spcAft>
                <a:spcPct val="0"/>
              </a:spcAft>
              <a:buFont typeface="Arial" charset="0"/>
              <a:buChar char="–"/>
              <a:defRPr sz="1600" kern="1200">
                <a:solidFill>
                  <a:srgbClr val="FFFFFF"/>
                </a:solidFill>
                <a:latin typeface="+mn-lt"/>
                <a:ea typeface="+mn-ea"/>
                <a:cs typeface="Arial"/>
              </a:defRPr>
            </a:lvl4pPr>
            <a:lvl5pPr marL="2741613" indent="-303213" algn="l" defTabSz="608013" rtl="0" fontAlgn="base">
              <a:spcBef>
                <a:spcPct val="20000"/>
              </a:spcBef>
              <a:spcAft>
                <a:spcPct val="0"/>
              </a:spcAft>
              <a:buFont typeface="Arial" charset="0"/>
              <a:buChar char="»"/>
              <a:defRPr sz="1600" kern="1200">
                <a:solidFill>
                  <a:srgbClr val="FFFFFF"/>
                </a:solidFill>
                <a:latin typeface="+mn-lt"/>
                <a:ea typeface="+mn-ea"/>
                <a:cs typeface="Arial"/>
              </a:defRPr>
            </a:lvl5pPr>
            <a:lvl6pPr marL="3352213" indent="-304747" algn="l" defTabSz="609493" rtl="0" eaLnBrk="1" latinLnBrk="0" hangingPunct="1">
              <a:spcBef>
                <a:spcPct val="20000"/>
              </a:spcBef>
              <a:buFont typeface="Arial"/>
              <a:buChar char="•"/>
              <a:defRPr sz="2700" kern="1200">
                <a:solidFill>
                  <a:schemeClr val="tx1"/>
                </a:solidFill>
                <a:latin typeface="+mn-lt"/>
                <a:ea typeface="+mn-ea"/>
                <a:cs typeface="+mn-cs"/>
              </a:defRPr>
            </a:lvl6pPr>
            <a:lvl7pPr marL="3961707" indent="-304747" algn="l" defTabSz="609493" rtl="0" eaLnBrk="1" latinLnBrk="0" hangingPunct="1">
              <a:spcBef>
                <a:spcPct val="20000"/>
              </a:spcBef>
              <a:buFont typeface="Arial"/>
              <a:buChar char="•"/>
              <a:defRPr sz="2700" kern="1200">
                <a:solidFill>
                  <a:schemeClr val="tx1"/>
                </a:solidFill>
                <a:latin typeface="+mn-lt"/>
                <a:ea typeface="+mn-ea"/>
                <a:cs typeface="+mn-cs"/>
              </a:defRPr>
            </a:lvl7pPr>
            <a:lvl8pPr marL="4571200" indent="-304747" algn="l" defTabSz="609493" rtl="0" eaLnBrk="1" latinLnBrk="0" hangingPunct="1">
              <a:spcBef>
                <a:spcPct val="20000"/>
              </a:spcBef>
              <a:buFont typeface="Arial"/>
              <a:buChar char="•"/>
              <a:defRPr sz="2700" kern="1200">
                <a:solidFill>
                  <a:schemeClr val="tx1"/>
                </a:solidFill>
                <a:latin typeface="+mn-lt"/>
                <a:ea typeface="+mn-ea"/>
                <a:cs typeface="+mn-cs"/>
              </a:defRPr>
            </a:lvl8pPr>
            <a:lvl9pPr marL="5180693" indent="-304747" algn="l" defTabSz="609493" rtl="0" eaLnBrk="1" latinLnBrk="0" hangingPunct="1">
              <a:spcBef>
                <a:spcPct val="20000"/>
              </a:spcBef>
              <a:buFont typeface="Arial"/>
              <a:buChar char="•"/>
              <a:defRPr sz="2700" kern="1200">
                <a:solidFill>
                  <a:schemeClr val="tx1"/>
                </a:solidFill>
                <a:latin typeface="+mn-lt"/>
                <a:ea typeface="+mn-ea"/>
                <a:cs typeface="+mn-cs"/>
              </a:defRPr>
            </a:lvl9pPr>
          </a:lstStyle>
          <a:p>
            <a:pPr marL="0" lvl="1" indent="0" algn="ctr">
              <a:buNone/>
            </a:pPr>
            <a:r>
              <a:rPr lang="en-US" sz="1200" dirty="0">
                <a:solidFill>
                  <a:schemeClr val="tx1"/>
                </a:solidFill>
                <a:latin typeface="Segoe UI" pitchFamily="34" charset="0"/>
                <a:ea typeface="Segoe UI" pitchFamily="34" charset="0"/>
                <a:cs typeface="Segoe UI" pitchFamily="34" charset="0"/>
              </a:rPr>
              <a:t>Standardize the services provided by IT to Consumers</a:t>
            </a:r>
          </a:p>
          <a:p>
            <a:pPr marL="0" lvl="1" indent="0">
              <a:buNone/>
            </a:pPr>
            <a:endParaRPr lang="en-US" sz="1200" dirty="0">
              <a:solidFill>
                <a:schemeClr val="tx1"/>
              </a:solidFill>
            </a:endParaRPr>
          </a:p>
          <a:p>
            <a:pPr marL="171459" lvl="1" indent="0">
              <a:spcBef>
                <a:spcPts val="0"/>
              </a:spcBef>
              <a:spcAft>
                <a:spcPts val="675"/>
              </a:spcAft>
              <a:buClr>
                <a:srgbClr val="3DB5F1"/>
              </a:buClr>
              <a:buNone/>
            </a:pPr>
            <a:r>
              <a:rPr lang="en-US" sz="1100" dirty="0">
                <a:solidFill>
                  <a:schemeClr val="tx1"/>
                </a:solidFill>
              </a:rPr>
              <a:t>Define the services to be offered</a:t>
            </a:r>
          </a:p>
          <a:p>
            <a:pPr marL="171459" lvl="1" indent="0">
              <a:spcBef>
                <a:spcPts val="0"/>
              </a:spcBef>
              <a:spcAft>
                <a:spcPts val="675"/>
              </a:spcAft>
              <a:buClr>
                <a:srgbClr val="3DB5F1"/>
              </a:buClr>
              <a:buNone/>
            </a:pPr>
            <a:r>
              <a:rPr lang="en-US" sz="1100" dirty="0">
                <a:solidFill>
                  <a:schemeClr val="tx1"/>
                </a:solidFill>
              </a:rPr>
              <a:t>Define the request offerings that will be part of a service offering</a:t>
            </a:r>
          </a:p>
          <a:p>
            <a:pPr marL="171459" lvl="1" indent="0">
              <a:spcBef>
                <a:spcPts val="0"/>
              </a:spcBef>
              <a:spcAft>
                <a:spcPts val="675"/>
              </a:spcAft>
              <a:buClr>
                <a:srgbClr val="3DB5F1"/>
              </a:buClr>
              <a:buNone/>
            </a:pPr>
            <a:r>
              <a:rPr lang="en-US" sz="1100" dirty="0">
                <a:solidFill>
                  <a:schemeClr val="tx1"/>
                </a:solidFill>
              </a:rPr>
              <a:t>Identify who needs to be involved (approvals, notifications, fulfillment)</a:t>
            </a:r>
          </a:p>
          <a:p>
            <a:pPr marL="171459" lvl="1" indent="0">
              <a:spcBef>
                <a:spcPts val="0"/>
              </a:spcBef>
              <a:spcAft>
                <a:spcPts val="675"/>
              </a:spcAft>
              <a:buClr>
                <a:srgbClr val="3DB5F1"/>
              </a:buClr>
              <a:buNone/>
            </a:pPr>
            <a:r>
              <a:rPr lang="en-US" sz="1100" dirty="0">
                <a:solidFill>
                  <a:schemeClr val="tx1"/>
                </a:solidFill>
              </a:rPr>
              <a:t>Create templates to capture process for request fulfillment</a:t>
            </a:r>
          </a:p>
          <a:p>
            <a:pPr marL="171459" lvl="1" indent="0">
              <a:spcBef>
                <a:spcPts val="0"/>
              </a:spcBef>
              <a:spcAft>
                <a:spcPts val="675"/>
              </a:spcAft>
              <a:buClr>
                <a:srgbClr val="3DB5F1"/>
              </a:buClr>
              <a:buNone/>
            </a:pPr>
            <a:endParaRPr lang="en-US" sz="1100" dirty="0">
              <a:solidFill>
                <a:schemeClr val="tx1"/>
              </a:solidFill>
            </a:endParaRPr>
          </a:p>
          <a:p>
            <a:pPr marL="0" indent="0">
              <a:buNone/>
            </a:pPr>
            <a:endParaRPr lang="en-US" sz="1100" dirty="0">
              <a:solidFill>
                <a:schemeClr val="tx1"/>
              </a:solidFill>
            </a:endParaRPr>
          </a:p>
        </p:txBody>
      </p:sp>
      <p:sp>
        <p:nvSpPr>
          <p:cNvPr id="4" name="Rectangle 3"/>
          <p:cNvSpPr/>
          <p:nvPr/>
        </p:nvSpPr>
        <p:spPr>
          <a:xfrm>
            <a:off x="570458" y="2514601"/>
            <a:ext cx="2559490" cy="19891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r>
              <a:rPr lang="en-US" dirty="0" smtClean="0"/>
              <a:t>Compliance with Regulation</a:t>
            </a:r>
          </a:p>
          <a:p>
            <a:pPr algn="ctr"/>
            <a:r>
              <a:rPr lang="en-US" dirty="0" smtClean="0"/>
              <a:t>Increased Reliability</a:t>
            </a:r>
          </a:p>
          <a:p>
            <a:pPr algn="ctr"/>
            <a:r>
              <a:rPr lang="en-US" dirty="0" smtClean="0"/>
              <a:t>Simplicity of Choice</a:t>
            </a:r>
            <a:endParaRPr lang="en-US" dirty="0"/>
          </a:p>
        </p:txBody>
      </p:sp>
      <p:sp>
        <p:nvSpPr>
          <p:cNvPr id="20" name="Rectangle 19"/>
          <p:cNvSpPr/>
          <p:nvPr/>
        </p:nvSpPr>
        <p:spPr>
          <a:xfrm>
            <a:off x="3308449" y="2525692"/>
            <a:ext cx="2559490" cy="19891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r>
              <a:rPr lang="en-US" dirty="0" smtClean="0"/>
              <a:t>Increased Customer Satisfaction</a:t>
            </a:r>
          </a:p>
          <a:p>
            <a:pPr algn="ctr"/>
            <a:r>
              <a:rPr lang="en-US" dirty="0" smtClean="0"/>
              <a:t>Reduced Costs</a:t>
            </a:r>
          </a:p>
          <a:p>
            <a:pPr algn="ctr"/>
            <a:r>
              <a:rPr lang="en-US" dirty="0" smtClean="0"/>
              <a:t>Nothing Lost in Translation</a:t>
            </a:r>
            <a:endParaRPr lang="en-US" dirty="0"/>
          </a:p>
        </p:txBody>
      </p:sp>
      <p:sp>
        <p:nvSpPr>
          <p:cNvPr id="21" name="Rectangle 20"/>
          <p:cNvSpPr/>
          <p:nvPr/>
        </p:nvSpPr>
        <p:spPr>
          <a:xfrm>
            <a:off x="6001122" y="2514601"/>
            <a:ext cx="2559490" cy="20117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r>
              <a:rPr lang="en-US" dirty="0" smtClean="0"/>
              <a:t>Faster Time to Delivery</a:t>
            </a:r>
          </a:p>
          <a:p>
            <a:pPr algn="ctr"/>
            <a:r>
              <a:rPr lang="en-US" dirty="0" smtClean="0"/>
              <a:t>Reduced Costs</a:t>
            </a:r>
          </a:p>
          <a:p>
            <a:pPr algn="ctr"/>
            <a:r>
              <a:rPr lang="en-US" dirty="0" smtClean="0"/>
              <a:t>Minimize Human Error</a:t>
            </a:r>
            <a:endParaRPr lang="en-US" dirty="0"/>
          </a:p>
        </p:txBody>
      </p:sp>
      <p:sp>
        <p:nvSpPr>
          <p:cNvPr id="22"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3"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6"/>
              </a:rPr>
              <a:t>www.rapidbbs.cn</a:t>
            </a:r>
            <a:endParaRPr lang="zh-CN" altLang="en-US" sz="1200" b="0">
              <a:latin typeface="Arial" charset="0"/>
              <a:ea typeface="ＭＳ Ｐゴシック" pitchFamily="34" charset="-128"/>
            </a:endParaRPr>
          </a:p>
        </p:txBody>
      </p:sp>
      <p:pic>
        <p:nvPicPr>
          <p:cNvPr id="24" name="Picture 2">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77037651"/>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1000"/>
                                        <p:tgtEl>
                                          <p:spTgt spid="20"/>
                                        </p:tgtEl>
                                      </p:cBhvr>
                                    </p:animEffect>
                                    <p:anim calcmode="lin" valueType="num">
                                      <p:cBhvr>
                                        <p:cTn id="15" dur="1000" fill="hold"/>
                                        <p:tgtEl>
                                          <p:spTgt spid="20"/>
                                        </p:tgtEl>
                                        <p:attrNameLst>
                                          <p:attrName>ppt_x</p:attrName>
                                        </p:attrNameLst>
                                      </p:cBhvr>
                                      <p:tavLst>
                                        <p:tav tm="0">
                                          <p:val>
                                            <p:strVal val="#ppt_x"/>
                                          </p:val>
                                        </p:tav>
                                        <p:tav tm="100000">
                                          <p:val>
                                            <p:strVal val="#ppt_x"/>
                                          </p:val>
                                        </p:tav>
                                      </p:tavLst>
                                    </p:anim>
                                    <p:anim calcmode="lin" valueType="num">
                                      <p:cBhvr>
                                        <p:cTn id="16"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21"/>
                                        </p:tgtEl>
                                        <p:attrNameLst>
                                          <p:attrName>style.visibility</p:attrName>
                                        </p:attrNameLst>
                                      </p:cBhvr>
                                      <p:to>
                                        <p:strVal val="visible"/>
                                      </p:to>
                                    </p:set>
                                    <p:animEffect transition="in" filter="fade">
                                      <p:cBhvr>
                                        <p:cTn id="21" dur="1000"/>
                                        <p:tgtEl>
                                          <p:spTgt spid="21"/>
                                        </p:tgtEl>
                                      </p:cBhvr>
                                    </p:animEffect>
                                    <p:anim calcmode="lin" valueType="num">
                                      <p:cBhvr>
                                        <p:cTn id="22" dur="1000" fill="hold"/>
                                        <p:tgtEl>
                                          <p:spTgt spid="21"/>
                                        </p:tgtEl>
                                        <p:attrNameLst>
                                          <p:attrName>ppt_x</p:attrName>
                                        </p:attrNameLst>
                                      </p:cBhvr>
                                      <p:tavLst>
                                        <p:tav tm="0">
                                          <p:val>
                                            <p:strVal val="#ppt_x"/>
                                          </p:val>
                                        </p:tav>
                                        <p:tav tm="100000">
                                          <p:val>
                                            <p:strVal val="#ppt_x"/>
                                          </p:val>
                                        </p:tav>
                                      </p:tavLst>
                                    </p:anim>
                                    <p:anim calcmode="lin" valueType="num">
                                      <p:cBhvr>
                                        <p:cTn id="23" dur="1000" fill="hold"/>
                                        <p:tgtEl>
                                          <p:spTgt spid="2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0" grpId="0" animBg="1"/>
      <p:bldP spid="21" grpId="0" animBg="1"/>
    </p:bldLst>
  </p:timing>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0" tIns="0" rIns="0" bIns="0" rtlCol="0" anchor="t">
            <a:spAutoFit/>
          </a:bodyPr>
          <a:lstStyle/>
          <a:p>
            <a:r>
              <a:rPr lang="en-US" dirty="0"/>
              <a:t>Trends in BI</a:t>
            </a:r>
          </a:p>
        </p:txBody>
      </p:sp>
      <p:sp>
        <p:nvSpPr>
          <p:cNvPr id="4" name="Rectangle 29"/>
          <p:cNvSpPr>
            <a:spLocks noChangeArrowheads="1"/>
          </p:cNvSpPr>
          <p:nvPr/>
        </p:nvSpPr>
        <p:spPr bwMode="auto">
          <a:xfrm>
            <a:off x="952500" y="3810657"/>
            <a:ext cx="3243306" cy="1146466"/>
          </a:xfrm>
          <a:prstGeom prst="rect">
            <a:avLst/>
          </a:prstGeom>
          <a:noFill/>
          <a:ln w="9525">
            <a:noFill/>
            <a:miter lim="800000"/>
            <a:headEnd/>
            <a:tailEnd/>
          </a:ln>
        </p:spPr>
        <p:txBody>
          <a:bodyPr wrap="square" lIns="68578" tIns="34289" rIns="68578" bIns="34289">
            <a:spAutoFit/>
          </a:bodyPr>
          <a:lstStyle/>
          <a:p>
            <a:pPr marL="2976" indent="-2976">
              <a:lnSpc>
                <a:spcPts val="1750"/>
              </a:lnSpc>
              <a:spcAft>
                <a:spcPts val="375"/>
              </a:spcAft>
              <a:defRPr/>
            </a:pPr>
            <a:r>
              <a:rPr lang="en-US" sz="1700" dirty="0">
                <a:latin typeface="Segoe UI Light" pitchFamily="34" charset="0"/>
              </a:rPr>
              <a:t>IT Owned and Managed</a:t>
            </a:r>
          </a:p>
          <a:p>
            <a:pPr marL="2976" indent="-2976">
              <a:lnSpc>
                <a:spcPts val="1750"/>
              </a:lnSpc>
              <a:spcAft>
                <a:spcPts val="375"/>
              </a:spcAft>
              <a:defRPr/>
            </a:pPr>
            <a:r>
              <a:rPr lang="en-US" sz="1700" dirty="0">
                <a:latin typeface="Segoe UI Light" pitchFamily="34" charset="0"/>
              </a:rPr>
              <a:t>Slow to Respond</a:t>
            </a:r>
          </a:p>
          <a:p>
            <a:pPr marL="2976" indent="-2976">
              <a:lnSpc>
                <a:spcPts val="1750"/>
              </a:lnSpc>
              <a:spcAft>
                <a:spcPts val="375"/>
              </a:spcAft>
              <a:defRPr/>
            </a:pPr>
            <a:r>
              <a:rPr lang="en-US" sz="1700" dirty="0">
                <a:latin typeface="Segoe UI Light" pitchFamily="34" charset="0"/>
              </a:rPr>
              <a:t>Monolithic</a:t>
            </a:r>
          </a:p>
          <a:p>
            <a:pPr marL="2976" indent="-2976">
              <a:lnSpc>
                <a:spcPts val="1750"/>
              </a:lnSpc>
              <a:spcAft>
                <a:spcPts val="375"/>
              </a:spcAft>
              <a:defRPr/>
            </a:pPr>
            <a:r>
              <a:rPr lang="en-US" sz="1700" dirty="0">
                <a:latin typeface="Segoe UI Light" pitchFamily="34" charset="0"/>
              </a:rPr>
              <a:t>Not Interactive</a:t>
            </a:r>
          </a:p>
        </p:txBody>
      </p:sp>
      <p:sp>
        <p:nvSpPr>
          <p:cNvPr id="5" name="Rectangle 29"/>
          <p:cNvSpPr>
            <a:spLocks noChangeArrowheads="1"/>
          </p:cNvSpPr>
          <p:nvPr/>
        </p:nvSpPr>
        <p:spPr bwMode="auto">
          <a:xfrm>
            <a:off x="5575102" y="3810657"/>
            <a:ext cx="3305969" cy="1146466"/>
          </a:xfrm>
          <a:prstGeom prst="rect">
            <a:avLst/>
          </a:prstGeom>
          <a:noFill/>
          <a:ln w="9525">
            <a:noFill/>
            <a:miter lim="800000"/>
            <a:headEnd/>
            <a:tailEnd/>
          </a:ln>
        </p:spPr>
        <p:txBody>
          <a:bodyPr wrap="square" lIns="68578" tIns="34289" rIns="68578" bIns="34289">
            <a:spAutoFit/>
          </a:bodyPr>
          <a:lstStyle/>
          <a:p>
            <a:pPr marL="2976" indent="-2976">
              <a:lnSpc>
                <a:spcPts val="1750"/>
              </a:lnSpc>
              <a:spcAft>
                <a:spcPts val="375"/>
              </a:spcAft>
              <a:defRPr/>
            </a:pPr>
            <a:r>
              <a:rPr lang="en-US" sz="1700" dirty="0">
                <a:latin typeface="Segoe UI Light" pitchFamily="34" charset="0"/>
              </a:rPr>
              <a:t>Business Owned, IT Managed</a:t>
            </a:r>
          </a:p>
          <a:p>
            <a:pPr marL="2976" indent="-2976">
              <a:lnSpc>
                <a:spcPts val="1750"/>
              </a:lnSpc>
              <a:spcAft>
                <a:spcPts val="375"/>
              </a:spcAft>
              <a:defRPr/>
            </a:pPr>
            <a:r>
              <a:rPr lang="en-US" sz="1700" dirty="0">
                <a:latin typeface="Segoe UI Light" pitchFamily="34" charset="0"/>
              </a:rPr>
              <a:t>Agile and Flexible</a:t>
            </a:r>
          </a:p>
          <a:p>
            <a:pPr marL="2976" indent="-2976">
              <a:lnSpc>
                <a:spcPts val="1750"/>
              </a:lnSpc>
              <a:spcAft>
                <a:spcPts val="375"/>
              </a:spcAft>
              <a:defRPr/>
            </a:pPr>
            <a:r>
              <a:rPr lang="en-US" sz="1700" dirty="0">
                <a:latin typeface="Segoe UI Light" pitchFamily="34" charset="0"/>
              </a:rPr>
              <a:t>Self-service</a:t>
            </a:r>
          </a:p>
          <a:p>
            <a:pPr marL="2976" indent="-2976">
              <a:lnSpc>
                <a:spcPts val="1750"/>
              </a:lnSpc>
              <a:spcAft>
                <a:spcPts val="375"/>
              </a:spcAft>
              <a:defRPr/>
            </a:pPr>
            <a:r>
              <a:rPr lang="en-US" sz="1700" dirty="0">
                <a:latin typeface="Segoe UI Light" pitchFamily="34" charset="0"/>
              </a:rPr>
              <a:t>Collaborative</a:t>
            </a:r>
          </a:p>
        </p:txBody>
      </p:sp>
      <p:grpSp>
        <p:nvGrpSpPr>
          <p:cNvPr id="6" name="Group 5"/>
          <p:cNvGrpSpPr>
            <a:grpSpLocks noChangeAspect="1"/>
          </p:cNvGrpSpPr>
          <p:nvPr/>
        </p:nvGrpSpPr>
        <p:grpSpPr>
          <a:xfrm>
            <a:off x="7134011" y="1962243"/>
            <a:ext cx="685800" cy="584176"/>
            <a:chOff x="614363" y="2951162"/>
            <a:chExt cx="1660524" cy="1414463"/>
          </a:xfrm>
        </p:grpSpPr>
        <p:sp>
          <p:nvSpPr>
            <p:cNvPr id="7" name="Freeform 100"/>
            <p:cNvSpPr>
              <a:spLocks/>
            </p:cNvSpPr>
            <p:nvPr/>
          </p:nvSpPr>
          <p:spPr bwMode="auto">
            <a:xfrm>
              <a:off x="1303338" y="2951162"/>
              <a:ext cx="198437" cy="1414463"/>
            </a:xfrm>
            <a:custGeom>
              <a:avLst/>
              <a:gdLst>
                <a:gd name="T0" fmla="*/ 0 w 100"/>
                <a:gd name="T1" fmla="*/ 659 h 713"/>
                <a:gd name="T2" fmla="*/ 60 w 100"/>
                <a:gd name="T3" fmla="*/ 692 h 713"/>
                <a:gd name="T4" fmla="*/ 95 w 100"/>
                <a:gd name="T5" fmla="*/ 712 h 713"/>
                <a:gd name="T6" fmla="*/ 100 w 100"/>
                <a:gd name="T7" fmla="*/ 705 h 713"/>
                <a:gd name="T8" fmla="*/ 100 w 100"/>
                <a:gd name="T9" fmla="*/ 572 h 713"/>
                <a:gd name="T10" fmla="*/ 100 w 100"/>
                <a:gd name="T11" fmla="*/ 380 h 713"/>
                <a:gd name="T12" fmla="*/ 100 w 100"/>
                <a:gd name="T13" fmla="*/ 298 h 713"/>
                <a:gd name="T14" fmla="*/ 100 w 100"/>
                <a:gd name="T15" fmla="*/ 92 h 713"/>
                <a:gd name="T16" fmla="*/ 100 w 100"/>
                <a:gd name="T17" fmla="*/ 9 h 713"/>
                <a:gd name="T18" fmla="*/ 95 w 100"/>
                <a:gd name="T19" fmla="*/ 1 h 713"/>
                <a:gd name="T20" fmla="*/ 37 w 100"/>
                <a:gd name="T21" fmla="*/ 34 h 713"/>
                <a:gd name="T22" fmla="*/ 0 w 100"/>
                <a:gd name="T23" fmla="*/ 55 h 713"/>
                <a:gd name="T24" fmla="*/ 0 w 100"/>
                <a:gd name="T25" fmla="*/ 659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 h="713">
                  <a:moveTo>
                    <a:pt x="0" y="659"/>
                  </a:moveTo>
                  <a:cubicBezTo>
                    <a:pt x="19" y="670"/>
                    <a:pt x="40" y="681"/>
                    <a:pt x="60" y="692"/>
                  </a:cubicBezTo>
                  <a:cubicBezTo>
                    <a:pt x="72" y="699"/>
                    <a:pt x="84" y="705"/>
                    <a:pt x="95" y="712"/>
                  </a:cubicBezTo>
                  <a:cubicBezTo>
                    <a:pt x="98" y="713"/>
                    <a:pt x="100" y="710"/>
                    <a:pt x="100" y="705"/>
                  </a:cubicBezTo>
                  <a:cubicBezTo>
                    <a:pt x="100" y="660"/>
                    <a:pt x="100" y="616"/>
                    <a:pt x="100" y="572"/>
                  </a:cubicBezTo>
                  <a:cubicBezTo>
                    <a:pt x="100" y="508"/>
                    <a:pt x="100" y="444"/>
                    <a:pt x="100" y="380"/>
                  </a:cubicBezTo>
                  <a:cubicBezTo>
                    <a:pt x="100" y="353"/>
                    <a:pt x="100" y="325"/>
                    <a:pt x="100" y="298"/>
                  </a:cubicBezTo>
                  <a:cubicBezTo>
                    <a:pt x="100" y="229"/>
                    <a:pt x="100" y="161"/>
                    <a:pt x="100" y="92"/>
                  </a:cubicBezTo>
                  <a:cubicBezTo>
                    <a:pt x="100" y="64"/>
                    <a:pt x="100" y="36"/>
                    <a:pt x="100" y="9"/>
                  </a:cubicBezTo>
                  <a:cubicBezTo>
                    <a:pt x="100" y="4"/>
                    <a:pt x="98" y="0"/>
                    <a:pt x="95" y="1"/>
                  </a:cubicBezTo>
                  <a:cubicBezTo>
                    <a:pt x="76" y="12"/>
                    <a:pt x="57" y="23"/>
                    <a:pt x="37" y="34"/>
                  </a:cubicBezTo>
                  <a:cubicBezTo>
                    <a:pt x="25" y="41"/>
                    <a:pt x="12" y="48"/>
                    <a:pt x="0" y="55"/>
                  </a:cubicBezTo>
                  <a:lnTo>
                    <a:pt x="0" y="659"/>
                  </a:lnTo>
                  <a:close/>
                </a:path>
              </a:pathLst>
            </a:custGeom>
            <a:solidFill>
              <a:schemeClr val="accent1"/>
            </a:solidFill>
            <a:ln w="9525">
              <a:solidFill>
                <a:schemeClr val="tx1"/>
              </a:solidFill>
              <a:round/>
              <a:headEnd/>
              <a:tailEnd/>
            </a:ln>
            <a:effectLst/>
            <a:extLst/>
          </p:spPr>
          <p:style>
            <a:lnRef idx="1">
              <a:schemeClr val="accent1"/>
            </a:lnRef>
            <a:fillRef idx="0">
              <a:schemeClr val="accent1"/>
            </a:fillRef>
            <a:effectRef idx="0">
              <a:schemeClr val="accent1"/>
            </a:effectRef>
            <a:fontRef idx="minor">
              <a:schemeClr val="tx1"/>
            </a:fontRef>
          </p:style>
          <p:txBody>
            <a:bodyPr anchor="ctr"/>
            <a:lstStyle/>
            <a:p>
              <a:pPr algn="ctr"/>
              <a:endParaRPr lang="en-US">
                <a:latin typeface="Segoe UI Light" pitchFamily="34" charset="0"/>
                <a:ea typeface="ＭＳ Ｐゴシック" pitchFamily="-65" charset="-128"/>
              </a:endParaRPr>
            </a:p>
          </p:txBody>
        </p:sp>
        <p:sp>
          <p:nvSpPr>
            <p:cNvPr id="8" name="Freeform 101"/>
            <p:cNvSpPr>
              <a:spLocks/>
            </p:cNvSpPr>
            <p:nvPr/>
          </p:nvSpPr>
          <p:spPr bwMode="auto">
            <a:xfrm>
              <a:off x="1787525" y="2951162"/>
              <a:ext cx="198437" cy="1414463"/>
            </a:xfrm>
            <a:custGeom>
              <a:avLst/>
              <a:gdLst>
                <a:gd name="T0" fmla="*/ 0 w 100"/>
                <a:gd name="T1" fmla="*/ 659 h 713"/>
                <a:gd name="T2" fmla="*/ 60 w 100"/>
                <a:gd name="T3" fmla="*/ 692 h 713"/>
                <a:gd name="T4" fmla="*/ 96 w 100"/>
                <a:gd name="T5" fmla="*/ 712 h 713"/>
                <a:gd name="T6" fmla="*/ 100 w 100"/>
                <a:gd name="T7" fmla="*/ 705 h 713"/>
                <a:gd name="T8" fmla="*/ 100 w 100"/>
                <a:gd name="T9" fmla="*/ 572 h 713"/>
                <a:gd name="T10" fmla="*/ 100 w 100"/>
                <a:gd name="T11" fmla="*/ 380 h 713"/>
                <a:gd name="T12" fmla="*/ 100 w 100"/>
                <a:gd name="T13" fmla="*/ 298 h 713"/>
                <a:gd name="T14" fmla="*/ 100 w 100"/>
                <a:gd name="T15" fmla="*/ 92 h 713"/>
                <a:gd name="T16" fmla="*/ 100 w 100"/>
                <a:gd name="T17" fmla="*/ 9 h 713"/>
                <a:gd name="T18" fmla="*/ 96 w 100"/>
                <a:gd name="T19" fmla="*/ 1 h 713"/>
                <a:gd name="T20" fmla="*/ 37 w 100"/>
                <a:gd name="T21" fmla="*/ 34 h 713"/>
                <a:gd name="T22" fmla="*/ 0 w 100"/>
                <a:gd name="T23" fmla="*/ 55 h 713"/>
                <a:gd name="T24" fmla="*/ 0 w 100"/>
                <a:gd name="T25" fmla="*/ 659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 h="713">
                  <a:moveTo>
                    <a:pt x="0" y="659"/>
                  </a:moveTo>
                  <a:cubicBezTo>
                    <a:pt x="20" y="670"/>
                    <a:pt x="40" y="681"/>
                    <a:pt x="60" y="692"/>
                  </a:cubicBezTo>
                  <a:cubicBezTo>
                    <a:pt x="72" y="699"/>
                    <a:pt x="84" y="705"/>
                    <a:pt x="96" y="712"/>
                  </a:cubicBezTo>
                  <a:cubicBezTo>
                    <a:pt x="98" y="713"/>
                    <a:pt x="100" y="710"/>
                    <a:pt x="100" y="705"/>
                  </a:cubicBezTo>
                  <a:cubicBezTo>
                    <a:pt x="100" y="660"/>
                    <a:pt x="100" y="616"/>
                    <a:pt x="100" y="572"/>
                  </a:cubicBezTo>
                  <a:cubicBezTo>
                    <a:pt x="100" y="508"/>
                    <a:pt x="100" y="444"/>
                    <a:pt x="100" y="380"/>
                  </a:cubicBezTo>
                  <a:cubicBezTo>
                    <a:pt x="100" y="353"/>
                    <a:pt x="100" y="325"/>
                    <a:pt x="100" y="298"/>
                  </a:cubicBezTo>
                  <a:cubicBezTo>
                    <a:pt x="100" y="229"/>
                    <a:pt x="100" y="161"/>
                    <a:pt x="100" y="92"/>
                  </a:cubicBezTo>
                  <a:cubicBezTo>
                    <a:pt x="100" y="64"/>
                    <a:pt x="100" y="36"/>
                    <a:pt x="100" y="9"/>
                  </a:cubicBezTo>
                  <a:cubicBezTo>
                    <a:pt x="100" y="4"/>
                    <a:pt x="98" y="0"/>
                    <a:pt x="96" y="1"/>
                  </a:cubicBezTo>
                  <a:cubicBezTo>
                    <a:pt x="76" y="12"/>
                    <a:pt x="57" y="23"/>
                    <a:pt x="37" y="34"/>
                  </a:cubicBezTo>
                  <a:cubicBezTo>
                    <a:pt x="25" y="41"/>
                    <a:pt x="12" y="48"/>
                    <a:pt x="0" y="55"/>
                  </a:cubicBezTo>
                  <a:lnTo>
                    <a:pt x="0" y="659"/>
                  </a:lnTo>
                  <a:close/>
                </a:path>
              </a:pathLst>
            </a:custGeom>
            <a:solidFill>
              <a:schemeClr val="accent1"/>
            </a:solidFill>
            <a:ln w="9525">
              <a:solidFill>
                <a:schemeClr val="tx1"/>
              </a:solidFill>
              <a:round/>
              <a:headEnd/>
              <a:tailEnd/>
            </a:ln>
            <a:effectLst/>
            <a:extLst/>
          </p:spPr>
          <p:style>
            <a:lnRef idx="1">
              <a:schemeClr val="accent1"/>
            </a:lnRef>
            <a:fillRef idx="0">
              <a:schemeClr val="accent1"/>
            </a:fillRef>
            <a:effectRef idx="0">
              <a:schemeClr val="accent1"/>
            </a:effectRef>
            <a:fontRef idx="minor">
              <a:schemeClr val="tx1"/>
            </a:fontRef>
          </p:style>
          <p:txBody>
            <a:bodyPr anchor="ctr"/>
            <a:lstStyle/>
            <a:p>
              <a:pPr algn="ctr"/>
              <a:endParaRPr lang="en-US">
                <a:latin typeface="Segoe UI Light" pitchFamily="34" charset="0"/>
                <a:ea typeface="ＭＳ Ｐゴシック" pitchFamily="-65" charset="-128"/>
              </a:endParaRPr>
            </a:p>
          </p:txBody>
        </p:sp>
        <p:sp>
          <p:nvSpPr>
            <p:cNvPr id="9" name="Freeform 102"/>
            <p:cNvSpPr>
              <a:spLocks/>
            </p:cNvSpPr>
            <p:nvPr/>
          </p:nvSpPr>
          <p:spPr bwMode="auto">
            <a:xfrm>
              <a:off x="2022475" y="2952750"/>
              <a:ext cx="252412" cy="1411288"/>
            </a:xfrm>
            <a:custGeom>
              <a:avLst/>
              <a:gdLst/>
              <a:ahLst/>
              <a:cxnLst/>
              <a:rect l="l" t="t" r="r" b="b"/>
              <a:pathLst>
                <a:path w="252412" h="1411288">
                  <a:moveTo>
                    <a:pt x="126207" y="1214438"/>
                  </a:moveTo>
                  <a:cubicBezTo>
                    <a:pt x="101219" y="1214438"/>
                    <a:pt x="80963" y="1234339"/>
                    <a:pt x="80963" y="1258888"/>
                  </a:cubicBezTo>
                  <a:cubicBezTo>
                    <a:pt x="80963" y="1283437"/>
                    <a:pt x="101219" y="1303338"/>
                    <a:pt x="126207" y="1303338"/>
                  </a:cubicBezTo>
                  <a:cubicBezTo>
                    <a:pt x="151195" y="1303338"/>
                    <a:pt x="171451" y="1283437"/>
                    <a:pt x="171451" y="1258888"/>
                  </a:cubicBezTo>
                  <a:cubicBezTo>
                    <a:pt x="171451" y="1234339"/>
                    <a:pt x="151195" y="1214438"/>
                    <a:pt x="126207" y="1214438"/>
                  </a:cubicBezTo>
                  <a:close/>
                  <a:moveTo>
                    <a:pt x="126207" y="420688"/>
                  </a:moveTo>
                  <a:cubicBezTo>
                    <a:pt x="101219" y="420688"/>
                    <a:pt x="80963" y="441300"/>
                    <a:pt x="80963" y="466726"/>
                  </a:cubicBezTo>
                  <a:cubicBezTo>
                    <a:pt x="80963" y="492152"/>
                    <a:pt x="101219" y="512764"/>
                    <a:pt x="126207" y="512764"/>
                  </a:cubicBezTo>
                  <a:cubicBezTo>
                    <a:pt x="151195" y="512764"/>
                    <a:pt x="171451" y="492152"/>
                    <a:pt x="171451" y="466726"/>
                  </a:cubicBezTo>
                  <a:cubicBezTo>
                    <a:pt x="171451" y="441300"/>
                    <a:pt x="151195" y="420688"/>
                    <a:pt x="126207" y="420688"/>
                  </a:cubicBezTo>
                  <a:close/>
                  <a:moveTo>
                    <a:pt x="126207" y="263525"/>
                  </a:moveTo>
                  <a:cubicBezTo>
                    <a:pt x="101219" y="263525"/>
                    <a:pt x="80963" y="284137"/>
                    <a:pt x="80963" y="309563"/>
                  </a:cubicBezTo>
                  <a:cubicBezTo>
                    <a:pt x="80963" y="334989"/>
                    <a:pt x="101219" y="355601"/>
                    <a:pt x="126207" y="355601"/>
                  </a:cubicBezTo>
                  <a:cubicBezTo>
                    <a:pt x="151195" y="355601"/>
                    <a:pt x="171451" y="334989"/>
                    <a:pt x="171451" y="309563"/>
                  </a:cubicBezTo>
                  <a:cubicBezTo>
                    <a:pt x="171451" y="284137"/>
                    <a:pt x="151195" y="263525"/>
                    <a:pt x="126207" y="263525"/>
                  </a:cubicBezTo>
                  <a:close/>
                  <a:moveTo>
                    <a:pt x="126207" y="107950"/>
                  </a:moveTo>
                  <a:cubicBezTo>
                    <a:pt x="101219" y="107950"/>
                    <a:pt x="80963" y="128206"/>
                    <a:pt x="80963" y="153194"/>
                  </a:cubicBezTo>
                  <a:cubicBezTo>
                    <a:pt x="80963" y="178182"/>
                    <a:pt x="101219" y="198438"/>
                    <a:pt x="126207" y="198438"/>
                  </a:cubicBezTo>
                  <a:cubicBezTo>
                    <a:pt x="151195" y="198438"/>
                    <a:pt x="171451" y="178182"/>
                    <a:pt x="171451" y="153194"/>
                  </a:cubicBezTo>
                  <a:cubicBezTo>
                    <a:pt x="171451" y="128206"/>
                    <a:pt x="151195" y="107950"/>
                    <a:pt x="126207" y="107950"/>
                  </a:cubicBezTo>
                  <a:close/>
                  <a:moveTo>
                    <a:pt x="15900" y="0"/>
                  </a:moveTo>
                  <a:cubicBezTo>
                    <a:pt x="89437" y="0"/>
                    <a:pt x="162975" y="0"/>
                    <a:pt x="238500" y="0"/>
                  </a:cubicBezTo>
                  <a:cubicBezTo>
                    <a:pt x="242475" y="0"/>
                    <a:pt x="246450" y="1985"/>
                    <a:pt x="248437" y="3970"/>
                  </a:cubicBezTo>
                  <a:cubicBezTo>
                    <a:pt x="250425" y="5955"/>
                    <a:pt x="252412" y="9925"/>
                    <a:pt x="252412" y="15880"/>
                  </a:cubicBezTo>
                  <a:cubicBezTo>
                    <a:pt x="252412" y="45654"/>
                    <a:pt x="252412" y="77413"/>
                    <a:pt x="252412" y="109171"/>
                  </a:cubicBezTo>
                  <a:cubicBezTo>
                    <a:pt x="252412" y="220328"/>
                    <a:pt x="252412" y="331484"/>
                    <a:pt x="252412" y="442640"/>
                  </a:cubicBezTo>
                  <a:cubicBezTo>
                    <a:pt x="252412" y="585556"/>
                    <a:pt x="252412" y="726486"/>
                    <a:pt x="252412" y="869401"/>
                  </a:cubicBezTo>
                  <a:cubicBezTo>
                    <a:pt x="252412" y="992467"/>
                    <a:pt x="252412" y="1115533"/>
                    <a:pt x="252412" y="1238599"/>
                  </a:cubicBezTo>
                  <a:cubicBezTo>
                    <a:pt x="252412" y="1292192"/>
                    <a:pt x="252412" y="1343800"/>
                    <a:pt x="252412" y="1397394"/>
                  </a:cubicBezTo>
                  <a:cubicBezTo>
                    <a:pt x="252412" y="1405333"/>
                    <a:pt x="246450" y="1411288"/>
                    <a:pt x="238500" y="1411288"/>
                  </a:cubicBezTo>
                  <a:cubicBezTo>
                    <a:pt x="162975" y="1411288"/>
                    <a:pt x="89437" y="1411288"/>
                    <a:pt x="15900" y="1411288"/>
                  </a:cubicBezTo>
                  <a:cubicBezTo>
                    <a:pt x="5963" y="1411288"/>
                    <a:pt x="0" y="1405333"/>
                    <a:pt x="0" y="1397394"/>
                  </a:cubicBezTo>
                  <a:cubicBezTo>
                    <a:pt x="0" y="1365635"/>
                    <a:pt x="0" y="1333876"/>
                    <a:pt x="0" y="1302117"/>
                  </a:cubicBezTo>
                  <a:cubicBezTo>
                    <a:pt x="0" y="1190960"/>
                    <a:pt x="0" y="1079804"/>
                    <a:pt x="0" y="970633"/>
                  </a:cubicBezTo>
                  <a:cubicBezTo>
                    <a:pt x="0" y="827718"/>
                    <a:pt x="0" y="684802"/>
                    <a:pt x="0" y="541887"/>
                  </a:cubicBezTo>
                  <a:cubicBezTo>
                    <a:pt x="0" y="418821"/>
                    <a:pt x="0" y="295755"/>
                    <a:pt x="0" y="172689"/>
                  </a:cubicBezTo>
                  <a:cubicBezTo>
                    <a:pt x="0" y="119096"/>
                    <a:pt x="0" y="67488"/>
                    <a:pt x="0" y="15880"/>
                  </a:cubicBezTo>
                  <a:cubicBezTo>
                    <a:pt x="0" y="5955"/>
                    <a:pt x="5963" y="0"/>
                    <a:pt x="15900" y="0"/>
                  </a:cubicBezTo>
                  <a:close/>
                </a:path>
              </a:pathLst>
            </a:custGeom>
            <a:solidFill>
              <a:schemeClr val="accent1"/>
            </a:solidFill>
            <a:ln w="9525">
              <a:solidFill>
                <a:schemeClr val="tx1"/>
              </a:solidFill>
              <a:round/>
              <a:headEnd/>
              <a:tailEnd/>
            </a:ln>
            <a:effectLst/>
            <a:extLst/>
          </p:spPr>
          <p:style>
            <a:lnRef idx="1">
              <a:schemeClr val="accent1"/>
            </a:lnRef>
            <a:fillRef idx="0">
              <a:schemeClr val="accent1"/>
            </a:fillRef>
            <a:effectRef idx="0">
              <a:schemeClr val="accent1"/>
            </a:effectRef>
            <a:fontRef idx="minor">
              <a:schemeClr val="tx1"/>
            </a:fontRef>
          </p:style>
          <p:txBody>
            <a:bodyPr anchor="ctr"/>
            <a:lstStyle/>
            <a:p>
              <a:pPr algn="ctr"/>
              <a:endParaRPr lang="en-US">
                <a:latin typeface="Segoe UI Light" pitchFamily="34" charset="0"/>
                <a:ea typeface="ＭＳ Ｐゴシック" pitchFamily="-65" charset="-128"/>
              </a:endParaRPr>
            </a:p>
          </p:txBody>
        </p:sp>
        <p:sp>
          <p:nvSpPr>
            <p:cNvPr id="10" name="Freeform 107"/>
            <p:cNvSpPr>
              <a:spLocks/>
            </p:cNvSpPr>
            <p:nvPr/>
          </p:nvSpPr>
          <p:spPr bwMode="auto">
            <a:xfrm>
              <a:off x="1536700" y="2952750"/>
              <a:ext cx="250825" cy="1411288"/>
            </a:xfrm>
            <a:custGeom>
              <a:avLst/>
              <a:gdLst/>
              <a:ahLst/>
              <a:cxnLst/>
              <a:rect l="l" t="t" r="r" b="b"/>
              <a:pathLst>
                <a:path w="250825" h="1411288">
                  <a:moveTo>
                    <a:pt x="126207" y="1214438"/>
                  </a:moveTo>
                  <a:cubicBezTo>
                    <a:pt x="101219" y="1214438"/>
                    <a:pt x="80963" y="1234339"/>
                    <a:pt x="80963" y="1258888"/>
                  </a:cubicBezTo>
                  <a:cubicBezTo>
                    <a:pt x="80963" y="1283437"/>
                    <a:pt x="101219" y="1303338"/>
                    <a:pt x="126207" y="1303338"/>
                  </a:cubicBezTo>
                  <a:cubicBezTo>
                    <a:pt x="151195" y="1303338"/>
                    <a:pt x="171451" y="1283437"/>
                    <a:pt x="171451" y="1258888"/>
                  </a:cubicBezTo>
                  <a:cubicBezTo>
                    <a:pt x="171451" y="1234339"/>
                    <a:pt x="151195" y="1214438"/>
                    <a:pt x="126207" y="1214438"/>
                  </a:cubicBezTo>
                  <a:close/>
                  <a:moveTo>
                    <a:pt x="126207" y="420688"/>
                  </a:moveTo>
                  <a:cubicBezTo>
                    <a:pt x="101219" y="420688"/>
                    <a:pt x="80963" y="441300"/>
                    <a:pt x="80963" y="466726"/>
                  </a:cubicBezTo>
                  <a:cubicBezTo>
                    <a:pt x="80963" y="492152"/>
                    <a:pt x="101219" y="512764"/>
                    <a:pt x="126207" y="512764"/>
                  </a:cubicBezTo>
                  <a:cubicBezTo>
                    <a:pt x="151195" y="512764"/>
                    <a:pt x="171451" y="492152"/>
                    <a:pt x="171451" y="466726"/>
                  </a:cubicBezTo>
                  <a:cubicBezTo>
                    <a:pt x="171451" y="441300"/>
                    <a:pt x="151195" y="420688"/>
                    <a:pt x="126207" y="420688"/>
                  </a:cubicBezTo>
                  <a:close/>
                  <a:moveTo>
                    <a:pt x="126207" y="263525"/>
                  </a:moveTo>
                  <a:cubicBezTo>
                    <a:pt x="101219" y="263525"/>
                    <a:pt x="80963" y="284137"/>
                    <a:pt x="80963" y="309563"/>
                  </a:cubicBezTo>
                  <a:cubicBezTo>
                    <a:pt x="80963" y="334989"/>
                    <a:pt x="101219" y="355601"/>
                    <a:pt x="126207" y="355601"/>
                  </a:cubicBezTo>
                  <a:cubicBezTo>
                    <a:pt x="151195" y="355601"/>
                    <a:pt x="171451" y="334989"/>
                    <a:pt x="171451" y="309563"/>
                  </a:cubicBezTo>
                  <a:cubicBezTo>
                    <a:pt x="171451" y="284137"/>
                    <a:pt x="151195" y="263525"/>
                    <a:pt x="126207" y="263525"/>
                  </a:cubicBezTo>
                  <a:close/>
                  <a:moveTo>
                    <a:pt x="126207" y="107950"/>
                  </a:moveTo>
                  <a:cubicBezTo>
                    <a:pt x="101219" y="107950"/>
                    <a:pt x="80963" y="128206"/>
                    <a:pt x="80963" y="153194"/>
                  </a:cubicBezTo>
                  <a:cubicBezTo>
                    <a:pt x="80963" y="178182"/>
                    <a:pt x="101219" y="198438"/>
                    <a:pt x="126207" y="198438"/>
                  </a:cubicBezTo>
                  <a:cubicBezTo>
                    <a:pt x="151195" y="198438"/>
                    <a:pt x="171451" y="178182"/>
                    <a:pt x="171451" y="153194"/>
                  </a:cubicBezTo>
                  <a:cubicBezTo>
                    <a:pt x="171451" y="128206"/>
                    <a:pt x="151195" y="107950"/>
                    <a:pt x="126207" y="107950"/>
                  </a:cubicBezTo>
                  <a:close/>
                  <a:moveTo>
                    <a:pt x="15800" y="0"/>
                  </a:moveTo>
                  <a:cubicBezTo>
                    <a:pt x="88875" y="0"/>
                    <a:pt x="161950" y="0"/>
                    <a:pt x="237000" y="0"/>
                  </a:cubicBezTo>
                  <a:cubicBezTo>
                    <a:pt x="240950" y="0"/>
                    <a:pt x="244900" y="1985"/>
                    <a:pt x="246875" y="3970"/>
                  </a:cubicBezTo>
                  <a:cubicBezTo>
                    <a:pt x="250825" y="5955"/>
                    <a:pt x="250825" y="9925"/>
                    <a:pt x="250825" y="15880"/>
                  </a:cubicBezTo>
                  <a:cubicBezTo>
                    <a:pt x="250825" y="45654"/>
                    <a:pt x="250825" y="77413"/>
                    <a:pt x="250825" y="109171"/>
                  </a:cubicBezTo>
                  <a:cubicBezTo>
                    <a:pt x="250825" y="220328"/>
                    <a:pt x="250825" y="331484"/>
                    <a:pt x="250825" y="442640"/>
                  </a:cubicBezTo>
                  <a:cubicBezTo>
                    <a:pt x="250825" y="585556"/>
                    <a:pt x="250825" y="726486"/>
                    <a:pt x="250825" y="869401"/>
                  </a:cubicBezTo>
                  <a:cubicBezTo>
                    <a:pt x="250825" y="992467"/>
                    <a:pt x="250825" y="1115533"/>
                    <a:pt x="250825" y="1238599"/>
                  </a:cubicBezTo>
                  <a:cubicBezTo>
                    <a:pt x="250825" y="1292192"/>
                    <a:pt x="250825" y="1343800"/>
                    <a:pt x="250825" y="1397394"/>
                  </a:cubicBezTo>
                  <a:cubicBezTo>
                    <a:pt x="250825" y="1405333"/>
                    <a:pt x="244900" y="1411288"/>
                    <a:pt x="237000" y="1411288"/>
                  </a:cubicBezTo>
                  <a:cubicBezTo>
                    <a:pt x="161950" y="1411288"/>
                    <a:pt x="88875" y="1411288"/>
                    <a:pt x="15800" y="1411288"/>
                  </a:cubicBezTo>
                  <a:cubicBezTo>
                    <a:pt x="7900" y="1411288"/>
                    <a:pt x="0" y="1405333"/>
                    <a:pt x="0" y="1397394"/>
                  </a:cubicBezTo>
                  <a:cubicBezTo>
                    <a:pt x="0" y="1365635"/>
                    <a:pt x="0" y="1333876"/>
                    <a:pt x="0" y="1302117"/>
                  </a:cubicBezTo>
                  <a:cubicBezTo>
                    <a:pt x="0" y="1190960"/>
                    <a:pt x="0" y="1079804"/>
                    <a:pt x="0" y="970633"/>
                  </a:cubicBezTo>
                  <a:cubicBezTo>
                    <a:pt x="0" y="827718"/>
                    <a:pt x="0" y="684802"/>
                    <a:pt x="0" y="541887"/>
                  </a:cubicBezTo>
                  <a:cubicBezTo>
                    <a:pt x="0" y="418821"/>
                    <a:pt x="0" y="295755"/>
                    <a:pt x="0" y="172689"/>
                  </a:cubicBezTo>
                  <a:cubicBezTo>
                    <a:pt x="0" y="119096"/>
                    <a:pt x="0" y="67488"/>
                    <a:pt x="0" y="15880"/>
                  </a:cubicBezTo>
                  <a:cubicBezTo>
                    <a:pt x="0" y="5955"/>
                    <a:pt x="7900" y="0"/>
                    <a:pt x="15800" y="0"/>
                  </a:cubicBezTo>
                  <a:close/>
                </a:path>
              </a:pathLst>
            </a:custGeom>
            <a:solidFill>
              <a:schemeClr val="accent1"/>
            </a:solidFill>
            <a:ln w="9525">
              <a:solidFill>
                <a:schemeClr val="tx1"/>
              </a:solidFill>
              <a:round/>
              <a:headEnd/>
              <a:tailEnd/>
            </a:ln>
            <a:effectLst/>
            <a:extLst/>
          </p:spPr>
          <p:style>
            <a:lnRef idx="1">
              <a:schemeClr val="accent1"/>
            </a:lnRef>
            <a:fillRef idx="0">
              <a:schemeClr val="accent1"/>
            </a:fillRef>
            <a:effectRef idx="0">
              <a:schemeClr val="accent1"/>
            </a:effectRef>
            <a:fontRef idx="minor">
              <a:schemeClr val="tx1"/>
            </a:fontRef>
          </p:style>
          <p:txBody>
            <a:bodyPr anchor="ctr"/>
            <a:lstStyle/>
            <a:p>
              <a:pPr algn="ctr"/>
              <a:endParaRPr lang="en-US">
                <a:latin typeface="Segoe UI Light" pitchFamily="34" charset="0"/>
                <a:ea typeface="ＭＳ Ｐゴシック" pitchFamily="-65" charset="-128"/>
              </a:endParaRPr>
            </a:p>
          </p:txBody>
        </p:sp>
        <p:sp>
          <p:nvSpPr>
            <p:cNvPr id="11" name="Freeform 112"/>
            <p:cNvSpPr>
              <a:spLocks/>
            </p:cNvSpPr>
            <p:nvPr/>
          </p:nvSpPr>
          <p:spPr bwMode="auto">
            <a:xfrm>
              <a:off x="614363" y="2951162"/>
              <a:ext cx="401637" cy="1414463"/>
            </a:xfrm>
            <a:custGeom>
              <a:avLst/>
              <a:gdLst>
                <a:gd name="T0" fmla="*/ 197 w 202"/>
                <a:gd name="T1" fmla="*/ 1 h 713"/>
                <a:gd name="T2" fmla="*/ 139 w 202"/>
                <a:gd name="T3" fmla="*/ 34 h 713"/>
                <a:gd name="T4" fmla="*/ 39 w 202"/>
                <a:gd name="T5" fmla="*/ 90 h 713"/>
                <a:gd name="T6" fmla="*/ 3 w 202"/>
                <a:gd name="T7" fmla="*/ 110 h 713"/>
                <a:gd name="T8" fmla="*/ 1 w 202"/>
                <a:gd name="T9" fmla="*/ 112 h 713"/>
                <a:gd name="T10" fmla="*/ 0 w 202"/>
                <a:gd name="T11" fmla="*/ 117 h 713"/>
                <a:gd name="T12" fmla="*/ 0 w 202"/>
                <a:gd name="T13" fmla="*/ 276 h 713"/>
                <a:gd name="T14" fmla="*/ 0 w 202"/>
                <a:gd name="T15" fmla="*/ 386 h 713"/>
                <a:gd name="T16" fmla="*/ 0 w 202"/>
                <a:gd name="T17" fmla="*/ 577 h 713"/>
                <a:gd name="T18" fmla="*/ 0 w 202"/>
                <a:gd name="T19" fmla="*/ 596 h 713"/>
                <a:gd name="T20" fmla="*/ 3 w 202"/>
                <a:gd name="T21" fmla="*/ 603 h 713"/>
                <a:gd name="T22" fmla="*/ 61 w 202"/>
                <a:gd name="T23" fmla="*/ 636 h 713"/>
                <a:gd name="T24" fmla="*/ 161 w 202"/>
                <a:gd name="T25" fmla="*/ 692 h 713"/>
                <a:gd name="T26" fmla="*/ 197 w 202"/>
                <a:gd name="T27" fmla="*/ 712 h 713"/>
                <a:gd name="T28" fmla="*/ 202 w 202"/>
                <a:gd name="T29" fmla="*/ 705 h 713"/>
                <a:gd name="T30" fmla="*/ 202 w 202"/>
                <a:gd name="T31" fmla="*/ 572 h 713"/>
                <a:gd name="T32" fmla="*/ 202 w 202"/>
                <a:gd name="T33" fmla="*/ 380 h 713"/>
                <a:gd name="T34" fmla="*/ 202 w 202"/>
                <a:gd name="T35" fmla="*/ 298 h 713"/>
                <a:gd name="T36" fmla="*/ 202 w 202"/>
                <a:gd name="T37" fmla="*/ 92 h 713"/>
                <a:gd name="T38" fmla="*/ 202 w 202"/>
                <a:gd name="T39" fmla="*/ 9 h 713"/>
                <a:gd name="T40" fmla="*/ 197 w 202"/>
                <a:gd name="T41" fmla="*/ 1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2" h="713">
                  <a:moveTo>
                    <a:pt x="197" y="1"/>
                  </a:moveTo>
                  <a:cubicBezTo>
                    <a:pt x="178" y="12"/>
                    <a:pt x="158" y="23"/>
                    <a:pt x="139" y="34"/>
                  </a:cubicBezTo>
                  <a:cubicBezTo>
                    <a:pt x="105" y="52"/>
                    <a:pt x="72" y="71"/>
                    <a:pt x="39" y="90"/>
                  </a:cubicBezTo>
                  <a:cubicBezTo>
                    <a:pt x="27" y="97"/>
                    <a:pt x="15" y="103"/>
                    <a:pt x="3" y="110"/>
                  </a:cubicBezTo>
                  <a:cubicBezTo>
                    <a:pt x="2" y="110"/>
                    <a:pt x="1" y="111"/>
                    <a:pt x="1" y="112"/>
                  </a:cubicBezTo>
                  <a:cubicBezTo>
                    <a:pt x="1" y="114"/>
                    <a:pt x="0" y="115"/>
                    <a:pt x="0" y="117"/>
                  </a:cubicBezTo>
                  <a:cubicBezTo>
                    <a:pt x="0" y="170"/>
                    <a:pt x="0" y="223"/>
                    <a:pt x="0" y="276"/>
                  </a:cubicBezTo>
                  <a:cubicBezTo>
                    <a:pt x="0" y="313"/>
                    <a:pt x="0" y="349"/>
                    <a:pt x="0" y="386"/>
                  </a:cubicBezTo>
                  <a:cubicBezTo>
                    <a:pt x="0" y="450"/>
                    <a:pt x="0" y="514"/>
                    <a:pt x="0" y="577"/>
                  </a:cubicBezTo>
                  <a:cubicBezTo>
                    <a:pt x="0" y="584"/>
                    <a:pt x="0" y="590"/>
                    <a:pt x="0" y="596"/>
                  </a:cubicBezTo>
                  <a:cubicBezTo>
                    <a:pt x="0" y="599"/>
                    <a:pt x="1" y="602"/>
                    <a:pt x="3" y="603"/>
                  </a:cubicBezTo>
                  <a:cubicBezTo>
                    <a:pt x="22" y="614"/>
                    <a:pt x="42" y="625"/>
                    <a:pt x="61" y="636"/>
                  </a:cubicBezTo>
                  <a:cubicBezTo>
                    <a:pt x="95" y="655"/>
                    <a:pt x="128" y="673"/>
                    <a:pt x="161" y="692"/>
                  </a:cubicBezTo>
                  <a:cubicBezTo>
                    <a:pt x="173" y="699"/>
                    <a:pt x="185" y="705"/>
                    <a:pt x="197" y="712"/>
                  </a:cubicBezTo>
                  <a:cubicBezTo>
                    <a:pt x="199" y="713"/>
                    <a:pt x="202" y="710"/>
                    <a:pt x="202" y="705"/>
                  </a:cubicBezTo>
                  <a:cubicBezTo>
                    <a:pt x="202" y="660"/>
                    <a:pt x="202" y="616"/>
                    <a:pt x="202" y="572"/>
                  </a:cubicBezTo>
                  <a:cubicBezTo>
                    <a:pt x="202" y="508"/>
                    <a:pt x="202" y="444"/>
                    <a:pt x="202" y="380"/>
                  </a:cubicBezTo>
                  <a:cubicBezTo>
                    <a:pt x="202" y="353"/>
                    <a:pt x="202" y="325"/>
                    <a:pt x="202" y="298"/>
                  </a:cubicBezTo>
                  <a:cubicBezTo>
                    <a:pt x="202" y="229"/>
                    <a:pt x="202" y="161"/>
                    <a:pt x="202" y="92"/>
                  </a:cubicBezTo>
                  <a:cubicBezTo>
                    <a:pt x="202" y="64"/>
                    <a:pt x="202" y="36"/>
                    <a:pt x="202" y="9"/>
                  </a:cubicBezTo>
                  <a:cubicBezTo>
                    <a:pt x="202" y="4"/>
                    <a:pt x="199" y="0"/>
                    <a:pt x="197" y="1"/>
                  </a:cubicBezTo>
                  <a:close/>
                </a:path>
              </a:pathLst>
            </a:custGeom>
            <a:solidFill>
              <a:schemeClr val="accent1"/>
            </a:solidFill>
            <a:ln w="9525">
              <a:solidFill>
                <a:schemeClr val="tx1"/>
              </a:solidFill>
              <a:round/>
              <a:headEnd/>
              <a:tailEnd/>
            </a:ln>
            <a:effectLst/>
            <a:extLst/>
          </p:spPr>
          <p:style>
            <a:lnRef idx="1">
              <a:schemeClr val="accent1"/>
            </a:lnRef>
            <a:fillRef idx="0">
              <a:schemeClr val="accent1"/>
            </a:fillRef>
            <a:effectRef idx="0">
              <a:schemeClr val="accent1"/>
            </a:effectRef>
            <a:fontRef idx="minor">
              <a:schemeClr val="tx1"/>
            </a:fontRef>
          </p:style>
          <p:txBody>
            <a:bodyPr anchor="ctr"/>
            <a:lstStyle/>
            <a:p>
              <a:pPr algn="ctr"/>
              <a:endParaRPr lang="en-US">
                <a:latin typeface="Segoe UI Light" pitchFamily="34" charset="0"/>
                <a:ea typeface="ＭＳ Ｐゴシック" pitchFamily="-65" charset="-128"/>
              </a:endParaRPr>
            </a:p>
          </p:txBody>
        </p:sp>
        <p:sp>
          <p:nvSpPr>
            <p:cNvPr id="12" name="Freeform 113"/>
            <p:cNvSpPr>
              <a:spLocks/>
            </p:cNvSpPr>
            <p:nvPr/>
          </p:nvSpPr>
          <p:spPr bwMode="auto">
            <a:xfrm>
              <a:off x="1049338" y="2952750"/>
              <a:ext cx="254000" cy="1411288"/>
            </a:xfrm>
            <a:custGeom>
              <a:avLst/>
              <a:gdLst/>
              <a:ahLst/>
              <a:cxnLst/>
              <a:rect l="l" t="t" r="r" b="b"/>
              <a:pathLst>
                <a:path w="254000" h="1411288">
                  <a:moveTo>
                    <a:pt x="127000" y="1214438"/>
                  </a:moveTo>
                  <a:cubicBezTo>
                    <a:pt x="101574" y="1214438"/>
                    <a:pt x="80962" y="1234339"/>
                    <a:pt x="80962" y="1258888"/>
                  </a:cubicBezTo>
                  <a:cubicBezTo>
                    <a:pt x="80962" y="1283437"/>
                    <a:pt x="101574" y="1303338"/>
                    <a:pt x="127000" y="1303338"/>
                  </a:cubicBezTo>
                  <a:cubicBezTo>
                    <a:pt x="152426" y="1303338"/>
                    <a:pt x="173038" y="1283437"/>
                    <a:pt x="173038" y="1258888"/>
                  </a:cubicBezTo>
                  <a:cubicBezTo>
                    <a:pt x="173038" y="1234339"/>
                    <a:pt x="152426" y="1214438"/>
                    <a:pt x="127000" y="1214438"/>
                  </a:cubicBezTo>
                  <a:close/>
                  <a:moveTo>
                    <a:pt x="127000" y="420688"/>
                  </a:moveTo>
                  <a:cubicBezTo>
                    <a:pt x="101574" y="420688"/>
                    <a:pt x="80962" y="441300"/>
                    <a:pt x="80962" y="466726"/>
                  </a:cubicBezTo>
                  <a:cubicBezTo>
                    <a:pt x="80962" y="492152"/>
                    <a:pt x="101574" y="512764"/>
                    <a:pt x="127000" y="512764"/>
                  </a:cubicBezTo>
                  <a:cubicBezTo>
                    <a:pt x="152426" y="512764"/>
                    <a:pt x="173038" y="492152"/>
                    <a:pt x="173038" y="466726"/>
                  </a:cubicBezTo>
                  <a:cubicBezTo>
                    <a:pt x="173038" y="441300"/>
                    <a:pt x="152426" y="420688"/>
                    <a:pt x="127000" y="420688"/>
                  </a:cubicBezTo>
                  <a:close/>
                  <a:moveTo>
                    <a:pt x="127000" y="263525"/>
                  </a:moveTo>
                  <a:cubicBezTo>
                    <a:pt x="101574" y="263525"/>
                    <a:pt x="80962" y="284137"/>
                    <a:pt x="80962" y="309563"/>
                  </a:cubicBezTo>
                  <a:cubicBezTo>
                    <a:pt x="80962" y="334989"/>
                    <a:pt x="101574" y="355601"/>
                    <a:pt x="127000" y="355601"/>
                  </a:cubicBezTo>
                  <a:cubicBezTo>
                    <a:pt x="152426" y="355601"/>
                    <a:pt x="173038" y="334989"/>
                    <a:pt x="173038" y="309563"/>
                  </a:cubicBezTo>
                  <a:cubicBezTo>
                    <a:pt x="173038" y="284137"/>
                    <a:pt x="152426" y="263525"/>
                    <a:pt x="127000" y="263525"/>
                  </a:cubicBezTo>
                  <a:close/>
                  <a:moveTo>
                    <a:pt x="127000" y="107950"/>
                  </a:moveTo>
                  <a:cubicBezTo>
                    <a:pt x="101574" y="107950"/>
                    <a:pt x="80962" y="128206"/>
                    <a:pt x="80962" y="153194"/>
                  </a:cubicBezTo>
                  <a:cubicBezTo>
                    <a:pt x="80962" y="178182"/>
                    <a:pt x="101574" y="198438"/>
                    <a:pt x="127000" y="198438"/>
                  </a:cubicBezTo>
                  <a:cubicBezTo>
                    <a:pt x="152426" y="198438"/>
                    <a:pt x="173038" y="178182"/>
                    <a:pt x="173038" y="153194"/>
                  </a:cubicBezTo>
                  <a:cubicBezTo>
                    <a:pt x="173038" y="128206"/>
                    <a:pt x="152426" y="107950"/>
                    <a:pt x="127000" y="107950"/>
                  </a:cubicBezTo>
                  <a:close/>
                  <a:moveTo>
                    <a:pt x="15875" y="0"/>
                  </a:moveTo>
                  <a:cubicBezTo>
                    <a:pt x="89297" y="0"/>
                    <a:pt x="164703" y="0"/>
                    <a:pt x="238125" y="0"/>
                  </a:cubicBezTo>
                  <a:cubicBezTo>
                    <a:pt x="242094" y="0"/>
                    <a:pt x="246063" y="1985"/>
                    <a:pt x="248047" y="3970"/>
                  </a:cubicBezTo>
                  <a:cubicBezTo>
                    <a:pt x="252016" y="5955"/>
                    <a:pt x="254000" y="9925"/>
                    <a:pt x="254000" y="15880"/>
                  </a:cubicBezTo>
                  <a:cubicBezTo>
                    <a:pt x="254000" y="45654"/>
                    <a:pt x="254000" y="77413"/>
                    <a:pt x="254000" y="109171"/>
                  </a:cubicBezTo>
                  <a:cubicBezTo>
                    <a:pt x="254000" y="220328"/>
                    <a:pt x="254000" y="331484"/>
                    <a:pt x="254000" y="442640"/>
                  </a:cubicBezTo>
                  <a:cubicBezTo>
                    <a:pt x="254000" y="585556"/>
                    <a:pt x="254000" y="726486"/>
                    <a:pt x="254000" y="869401"/>
                  </a:cubicBezTo>
                  <a:cubicBezTo>
                    <a:pt x="254000" y="992467"/>
                    <a:pt x="254000" y="1115533"/>
                    <a:pt x="254000" y="1238599"/>
                  </a:cubicBezTo>
                  <a:cubicBezTo>
                    <a:pt x="254000" y="1292192"/>
                    <a:pt x="254000" y="1343800"/>
                    <a:pt x="254000" y="1397394"/>
                  </a:cubicBezTo>
                  <a:cubicBezTo>
                    <a:pt x="254000" y="1405333"/>
                    <a:pt x="246063" y="1411288"/>
                    <a:pt x="238125" y="1411288"/>
                  </a:cubicBezTo>
                  <a:cubicBezTo>
                    <a:pt x="164703" y="1411288"/>
                    <a:pt x="89297" y="1411288"/>
                    <a:pt x="15875" y="1411288"/>
                  </a:cubicBezTo>
                  <a:cubicBezTo>
                    <a:pt x="7938" y="1411288"/>
                    <a:pt x="0" y="1405333"/>
                    <a:pt x="0" y="1397394"/>
                  </a:cubicBezTo>
                  <a:cubicBezTo>
                    <a:pt x="0" y="1365635"/>
                    <a:pt x="0" y="1333876"/>
                    <a:pt x="0" y="1302117"/>
                  </a:cubicBezTo>
                  <a:cubicBezTo>
                    <a:pt x="0" y="1190960"/>
                    <a:pt x="0" y="1079804"/>
                    <a:pt x="0" y="970633"/>
                  </a:cubicBezTo>
                  <a:cubicBezTo>
                    <a:pt x="0" y="827718"/>
                    <a:pt x="0" y="684802"/>
                    <a:pt x="0" y="541887"/>
                  </a:cubicBezTo>
                  <a:cubicBezTo>
                    <a:pt x="0" y="418821"/>
                    <a:pt x="0" y="295755"/>
                    <a:pt x="0" y="172689"/>
                  </a:cubicBezTo>
                  <a:cubicBezTo>
                    <a:pt x="0" y="119096"/>
                    <a:pt x="0" y="67488"/>
                    <a:pt x="0" y="15880"/>
                  </a:cubicBezTo>
                  <a:cubicBezTo>
                    <a:pt x="0" y="5955"/>
                    <a:pt x="7938" y="0"/>
                    <a:pt x="15875" y="0"/>
                  </a:cubicBezTo>
                  <a:close/>
                </a:path>
              </a:pathLst>
            </a:custGeom>
            <a:solidFill>
              <a:schemeClr val="accent1"/>
            </a:solidFill>
            <a:ln w="9525">
              <a:solidFill>
                <a:schemeClr val="tx1"/>
              </a:solidFill>
              <a:round/>
              <a:headEnd/>
              <a:tailEnd/>
            </a:ln>
            <a:effectLst/>
            <a:extLst/>
          </p:spPr>
          <p:style>
            <a:lnRef idx="1">
              <a:schemeClr val="accent1"/>
            </a:lnRef>
            <a:fillRef idx="0">
              <a:schemeClr val="accent1"/>
            </a:fillRef>
            <a:effectRef idx="0">
              <a:schemeClr val="accent1"/>
            </a:effectRef>
            <a:fontRef idx="minor">
              <a:schemeClr val="tx1"/>
            </a:fontRef>
          </p:style>
          <p:txBody>
            <a:bodyPr anchor="ctr"/>
            <a:lstStyle/>
            <a:p>
              <a:pPr algn="ctr"/>
              <a:endParaRPr lang="en-US">
                <a:latin typeface="Segoe UI Light" pitchFamily="34" charset="0"/>
                <a:ea typeface="ＭＳ Ｐゴシック" pitchFamily="-65" charset="-128"/>
              </a:endParaRPr>
            </a:p>
          </p:txBody>
        </p:sp>
      </p:grpSp>
      <p:sp>
        <p:nvSpPr>
          <p:cNvPr id="13" name="Rectangle 12"/>
          <p:cNvSpPr/>
          <p:nvPr/>
        </p:nvSpPr>
        <p:spPr>
          <a:xfrm>
            <a:off x="1223320" y="904876"/>
            <a:ext cx="2358439" cy="338153"/>
          </a:xfrm>
          <a:prstGeom prst="rect">
            <a:avLst/>
          </a:prstGeom>
        </p:spPr>
        <p:txBody>
          <a:bodyPr wrap="none" lIns="57140" tIns="28570" rIns="57140" bIns="28570">
            <a:spAutoFit/>
          </a:bodyPr>
          <a:lstStyle/>
          <a:p>
            <a:pPr defTabSz="685757" fontAlgn="base">
              <a:lnSpc>
                <a:spcPct val="90000"/>
              </a:lnSpc>
              <a:spcAft>
                <a:spcPts val="375"/>
              </a:spcAft>
              <a:buClr>
                <a:srgbClr val="F69F1E"/>
              </a:buClr>
              <a:buSzPct val="90000"/>
              <a:defRPr/>
            </a:pPr>
            <a:r>
              <a:rPr lang="en-US" sz="2000" b="1" dirty="0">
                <a:latin typeface="Segoe UI Light" pitchFamily="34" charset="0"/>
              </a:rPr>
              <a:t>Traditional Approach</a:t>
            </a:r>
          </a:p>
        </p:txBody>
      </p:sp>
      <p:sp>
        <p:nvSpPr>
          <p:cNvPr id="14" name="Rectangle 13"/>
          <p:cNvSpPr/>
          <p:nvPr/>
        </p:nvSpPr>
        <p:spPr>
          <a:xfrm>
            <a:off x="5651223" y="904876"/>
            <a:ext cx="1958948" cy="338153"/>
          </a:xfrm>
          <a:prstGeom prst="rect">
            <a:avLst/>
          </a:prstGeom>
        </p:spPr>
        <p:txBody>
          <a:bodyPr wrap="none" lIns="57140" tIns="28570" rIns="57140" bIns="28570">
            <a:spAutoFit/>
          </a:bodyPr>
          <a:lstStyle/>
          <a:p>
            <a:pPr defTabSz="685757" fontAlgn="base">
              <a:lnSpc>
                <a:spcPct val="90000"/>
              </a:lnSpc>
              <a:spcAft>
                <a:spcPts val="375"/>
              </a:spcAft>
              <a:buClr>
                <a:srgbClr val="F69F1E"/>
              </a:buClr>
              <a:buSzPct val="90000"/>
              <a:defRPr/>
            </a:pPr>
            <a:r>
              <a:rPr lang="en-US" sz="2000" b="1" dirty="0">
                <a:latin typeface="Segoe UI Light" pitchFamily="34" charset="0"/>
              </a:rPr>
              <a:t>BI for the Masses</a:t>
            </a:r>
          </a:p>
        </p:txBody>
      </p:sp>
      <p:sp>
        <p:nvSpPr>
          <p:cNvPr id="15" name="Rectangle 14"/>
          <p:cNvSpPr/>
          <p:nvPr/>
        </p:nvSpPr>
        <p:spPr bwMode="auto">
          <a:xfrm>
            <a:off x="0" y="1285876"/>
            <a:ext cx="9144000" cy="47625"/>
          </a:xfrm>
          <a:prstGeom prst="rect">
            <a:avLst/>
          </a:prstGeom>
          <a:solidFill>
            <a:schemeClr val="bg1">
              <a:lumMod val="85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57137" tIns="28569" rIns="57137" bIns="28569" anchor="ctr"/>
          <a:lstStyle/>
          <a:p>
            <a:pPr algn="ctr" defTabSz="570402">
              <a:defRPr/>
            </a:pPr>
            <a:endParaRPr lang="en-US">
              <a:solidFill>
                <a:schemeClr val="tx1"/>
              </a:solidFill>
              <a:latin typeface="Segoe UI Light" pitchFamily="34" charset="0"/>
              <a:ea typeface="ＭＳ Ｐゴシック" pitchFamily="-65" charset="-128"/>
            </a:endParaRPr>
          </a:p>
        </p:txBody>
      </p:sp>
      <p:sp>
        <p:nvSpPr>
          <p:cNvPr id="16" name="Rectangle 15"/>
          <p:cNvSpPr/>
          <p:nvPr/>
        </p:nvSpPr>
        <p:spPr bwMode="auto">
          <a:xfrm>
            <a:off x="363140" y="1285876"/>
            <a:ext cx="4057055" cy="47625"/>
          </a:xfrm>
          <a:prstGeom prst="rect">
            <a:avLst/>
          </a:prstGeom>
          <a:solidFill>
            <a:schemeClr val="accent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57137" tIns="28569" rIns="57137" bIns="28569" anchor="ctr"/>
          <a:lstStyle/>
          <a:p>
            <a:pPr algn="ctr" defTabSz="570402">
              <a:defRPr/>
            </a:pPr>
            <a:endParaRPr lang="en-US">
              <a:solidFill>
                <a:schemeClr val="tx1"/>
              </a:solidFill>
              <a:latin typeface="Segoe UI Light" pitchFamily="34" charset="0"/>
              <a:ea typeface="ＭＳ Ｐゴシック" pitchFamily="-65" charset="-128"/>
            </a:endParaRPr>
          </a:p>
        </p:txBody>
      </p:sp>
      <p:sp>
        <p:nvSpPr>
          <p:cNvPr id="17" name="Rectangle 16"/>
          <p:cNvSpPr/>
          <p:nvPr/>
        </p:nvSpPr>
        <p:spPr bwMode="auto">
          <a:xfrm>
            <a:off x="4690071" y="1285876"/>
            <a:ext cx="4057054" cy="47625"/>
          </a:xfrm>
          <a:prstGeom prst="rect">
            <a:avLst/>
          </a:prstGeom>
          <a:solidFill>
            <a:schemeClr val="accent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57137" tIns="28569" rIns="57137" bIns="28569" anchor="ctr"/>
          <a:lstStyle/>
          <a:p>
            <a:pPr algn="ctr" defTabSz="570402">
              <a:defRPr/>
            </a:pPr>
            <a:endParaRPr lang="en-US">
              <a:solidFill>
                <a:schemeClr val="tx1"/>
              </a:solidFill>
              <a:latin typeface="Segoe UI Light" pitchFamily="34" charset="0"/>
              <a:ea typeface="ＭＳ Ｐゴシック" pitchFamily="-65" charset="-128"/>
            </a:endParaRPr>
          </a:p>
        </p:txBody>
      </p:sp>
      <p:sp>
        <p:nvSpPr>
          <p:cNvPr id="18" name="TextBox 17"/>
          <p:cNvSpPr txBox="1"/>
          <p:nvPr/>
        </p:nvSpPr>
        <p:spPr>
          <a:xfrm>
            <a:off x="290282" y="1523315"/>
            <a:ext cx="1853664" cy="207749"/>
          </a:xfrm>
          <a:prstGeom prst="rect">
            <a:avLst/>
          </a:prstGeom>
        </p:spPr>
        <p:txBody>
          <a:bodyPr vert="horz" wrap="square" lIns="0" tIns="0" rIns="0" bIns="0" rtlCol="0">
            <a:spAutoFit/>
          </a:bodyPr>
          <a:lstStyle/>
          <a:p>
            <a:pPr algn="ctr" defTabSz="571369">
              <a:lnSpc>
                <a:spcPct val="90000"/>
              </a:lnSpc>
              <a:spcBef>
                <a:spcPct val="20000"/>
              </a:spcBef>
              <a:buClr>
                <a:srgbClr val="777777"/>
              </a:buClr>
              <a:buSzPct val="130000"/>
            </a:pPr>
            <a:r>
              <a:rPr lang="en-US" sz="1500" dirty="0">
                <a:latin typeface="Segoe UI Light" pitchFamily="34" charset="0"/>
              </a:rPr>
              <a:t>Unstructured Data</a:t>
            </a:r>
          </a:p>
        </p:txBody>
      </p:sp>
      <p:sp>
        <p:nvSpPr>
          <p:cNvPr id="19" name="TextBox 18"/>
          <p:cNvSpPr txBox="1"/>
          <p:nvPr/>
        </p:nvSpPr>
        <p:spPr>
          <a:xfrm>
            <a:off x="2257189" y="1523315"/>
            <a:ext cx="2283063" cy="207749"/>
          </a:xfrm>
          <a:prstGeom prst="rect">
            <a:avLst/>
          </a:prstGeom>
        </p:spPr>
        <p:txBody>
          <a:bodyPr vert="horz" wrap="square" lIns="0" tIns="0" rIns="0" bIns="0" rtlCol="0">
            <a:spAutoFit/>
          </a:bodyPr>
          <a:lstStyle/>
          <a:p>
            <a:pPr algn="ctr" defTabSz="571369">
              <a:lnSpc>
                <a:spcPct val="90000"/>
              </a:lnSpc>
              <a:spcBef>
                <a:spcPct val="20000"/>
              </a:spcBef>
              <a:buClr>
                <a:srgbClr val="777777"/>
              </a:buClr>
              <a:buSzPct val="130000"/>
            </a:pPr>
            <a:r>
              <a:rPr lang="en-US" sz="1500" dirty="0">
                <a:latin typeface="Segoe UI Light" pitchFamily="34" charset="0"/>
              </a:rPr>
              <a:t>Structured Data</a:t>
            </a:r>
          </a:p>
        </p:txBody>
      </p:sp>
      <p:sp>
        <p:nvSpPr>
          <p:cNvPr id="20" name="Right Arrow 19"/>
          <p:cNvSpPr/>
          <p:nvPr/>
        </p:nvSpPr>
        <p:spPr bwMode="auto">
          <a:xfrm>
            <a:off x="4437380" y="1623386"/>
            <a:ext cx="269875" cy="3043865"/>
          </a:xfrm>
          <a:prstGeom prst="rightArrow">
            <a:avLst>
              <a:gd name="adj1" fmla="val 50000"/>
              <a:gd name="adj2" fmla="val 100000"/>
            </a:avLst>
          </a:prstGeom>
          <a:solidFill>
            <a:srgbClr val="FFFFFF"/>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57137" tIns="28569" rIns="57137" bIns="28569"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21" name="TextBox 20"/>
          <p:cNvSpPr txBox="1"/>
          <p:nvPr/>
        </p:nvSpPr>
        <p:spPr>
          <a:xfrm>
            <a:off x="4764215" y="1523315"/>
            <a:ext cx="3982911" cy="207749"/>
          </a:xfrm>
          <a:prstGeom prst="rect">
            <a:avLst/>
          </a:prstGeom>
        </p:spPr>
        <p:txBody>
          <a:bodyPr vert="horz" wrap="square" lIns="0" tIns="0" rIns="0" bIns="0" rtlCol="0">
            <a:spAutoFit/>
          </a:bodyPr>
          <a:lstStyle/>
          <a:p>
            <a:pPr algn="ctr" defTabSz="571369">
              <a:lnSpc>
                <a:spcPct val="90000"/>
              </a:lnSpc>
              <a:spcBef>
                <a:spcPct val="20000"/>
              </a:spcBef>
              <a:buClr>
                <a:srgbClr val="777777"/>
              </a:buClr>
              <a:buSzPct val="130000"/>
            </a:pPr>
            <a:r>
              <a:rPr lang="en-US" sz="1500" dirty="0">
                <a:latin typeface="Segoe UI Light" pitchFamily="34" charset="0"/>
              </a:rPr>
              <a:t>Structured &amp; Structured Data</a:t>
            </a:r>
          </a:p>
        </p:txBody>
      </p:sp>
      <p:sp>
        <p:nvSpPr>
          <p:cNvPr id="22" name="big cloud"/>
          <p:cNvSpPr>
            <a:spLocks noChangeAspect="1"/>
          </p:cNvSpPr>
          <p:nvPr/>
        </p:nvSpPr>
        <p:spPr bwMode="auto">
          <a:xfrm>
            <a:off x="296583" y="2305050"/>
            <a:ext cx="1941792" cy="1028700"/>
          </a:xfrm>
          <a:custGeom>
            <a:avLst/>
            <a:gdLst/>
            <a:ahLst/>
            <a:cxnLst>
              <a:cxn ang="0">
                <a:pos x="6359" y="0"/>
              </a:cxn>
              <a:cxn ang="0">
                <a:pos x="4385" y="1129"/>
              </a:cxn>
              <a:cxn ang="0">
                <a:pos x="3525" y="915"/>
              </a:cxn>
              <a:cxn ang="0">
                <a:pos x="1888" y="1923"/>
              </a:cxn>
              <a:cxn ang="0">
                <a:pos x="1378" y="1826"/>
              </a:cxn>
              <a:cxn ang="0">
                <a:pos x="0" y="3203"/>
              </a:cxn>
              <a:cxn ang="0">
                <a:pos x="1301" y="4578"/>
              </a:cxn>
              <a:cxn ang="0">
                <a:pos x="1301" y="4581"/>
              </a:cxn>
              <a:cxn ang="0">
                <a:pos x="6359" y="4581"/>
              </a:cxn>
              <a:cxn ang="0">
                <a:pos x="8650" y="2290"/>
              </a:cxn>
              <a:cxn ang="0">
                <a:pos x="6359" y="0"/>
              </a:cxn>
            </a:cxnLst>
            <a:rect l="0" t="0" r="r" b="b"/>
            <a:pathLst>
              <a:path w="8650" h="4581">
                <a:moveTo>
                  <a:pt x="6359" y="0"/>
                </a:moveTo>
                <a:cubicBezTo>
                  <a:pt x="5518" y="0"/>
                  <a:pt x="4783" y="453"/>
                  <a:pt x="4385" y="1129"/>
                </a:cubicBezTo>
                <a:cubicBezTo>
                  <a:pt x="4128" y="993"/>
                  <a:pt x="3836" y="915"/>
                  <a:pt x="3525" y="915"/>
                </a:cubicBezTo>
                <a:cubicBezTo>
                  <a:pt x="2809" y="915"/>
                  <a:pt x="2190" y="1325"/>
                  <a:pt x="1888" y="1923"/>
                </a:cubicBezTo>
                <a:cubicBezTo>
                  <a:pt x="1730" y="1860"/>
                  <a:pt x="1558" y="1826"/>
                  <a:pt x="1378" y="1826"/>
                </a:cubicBezTo>
                <a:cubicBezTo>
                  <a:pt x="617" y="1826"/>
                  <a:pt x="0" y="2442"/>
                  <a:pt x="0" y="3203"/>
                </a:cubicBezTo>
                <a:cubicBezTo>
                  <a:pt x="0" y="3938"/>
                  <a:pt x="576" y="4538"/>
                  <a:pt x="1301" y="4578"/>
                </a:cubicBezTo>
                <a:cubicBezTo>
                  <a:pt x="1301" y="4581"/>
                  <a:pt x="1301" y="4581"/>
                  <a:pt x="1301" y="4581"/>
                </a:cubicBezTo>
                <a:cubicBezTo>
                  <a:pt x="6359" y="4581"/>
                  <a:pt x="6359" y="4581"/>
                  <a:pt x="6359" y="4581"/>
                </a:cubicBezTo>
                <a:cubicBezTo>
                  <a:pt x="7624" y="4581"/>
                  <a:pt x="8650" y="3555"/>
                  <a:pt x="8650" y="2290"/>
                </a:cubicBezTo>
                <a:cubicBezTo>
                  <a:pt x="8650" y="1025"/>
                  <a:pt x="7624" y="0"/>
                  <a:pt x="6359" y="0"/>
                </a:cubicBezTo>
                <a:close/>
              </a:path>
            </a:pathLst>
          </a:custGeom>
          <a:noFill/>
          <a:ln w="38100" cap="rnd">
            <a:solidFill>
              <a:schemeClr val="tx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7137" tIns="28569" rIns="57137" bIns="28569" numCol="1" spcCol="0" rtlCol="0" fromWordArt="0" anchor="ctr" anchorCtr="0" forceAA="0" compatLnSpc="1">
            <a:prstTxWarp prst="textNoShape">
              <a:avLst/>
            </a:prstTxWarp>
            <a:noAutofit/>
          </a:bodyPr>
          <a:lstStyle/>
          <a:p>
            <a:pPr algn="ctr" defTabSz="571204" fontAlgn="base">
              <a:spcBef>
                <a:spcPct val="0"/>
              </a:spcBef>
              <a:spcAft>
                <a:spcPct val="0"/>
              </a:spcAft>
            </a:pPr>
            <a:endParaRPr lang="en-US" sz="1100" b="1">
              <a:solidFill>
                <a:schemeClr val="tx1"/>
              </a:solidFill>
              <a:latin typeface="Segoe UI Light" pitchFamily="34" charset="0"/>
            </a:endParaRPr>
          </a:p>
        </p:txBody>
      </p:sp>
      <p:sp>
        <p:nvSpPr>
          <p:cNvPr id="23" name="big cloud"/>
          <p:cNvSpPr>
            <a:spLocks noChangeAspect="1"/>
          </p:cNvSpPr>
          <p:nvPr/>
        </p:nvSpPr>
        <p:spPr bwMode="auto">
          <a:xfrm>
            <a:off x="5168365" y="1733550"/>
            <a:ext cx="3020568" cy="1600200"/>
          </a:xfrm>
          <a:custGeom>
            <a:avLst/>
            <a:gdLst/>
            <a:ahLst/>
            <a:cxnLst>
              <a:cxn ang="0">
                <a:pos x="6359" y="0"/>
              </a:cxn>
              <a:cxn ang="0">
                <a:pos x="4385" y="1129"/>
              </a:cxn>
              <a:cxn ang="0">
                <a:pos x="3525" y="915"/>
              </a:cxn>
              <a:cxn ang="0">
                <a:pos x="1888" y="1923"/>
              </a:cxn>
              <a:cxn ang="0">
                <a:pos x="1378" y="1826"/>
              </a:cxn>
              <a:cxn ang="0">
                <a:pos x="0" y="3203"/>
              </a:cxn>
              <a:cxn ang="0">
                <a:pos x="1301" y="4578"/>
              </a:cxn>
              <a:cxn ang="0">
                <a:pos x="1301" y="4581"/>
              </a:cxn>
              <a:cxn ang="0">
                <a:pos x="6359" y="4581"/>
              </a:cxn>
              <a:cxn ang="0">
                <a:pos x="8650" y="2290"/>
              </a:cxn>
              <a:cxn ang="0">
                <a:pos x="6359" y="0"/>
              </a:cxn>
            </a:cxnLst>
            <a:rect l="0" t="0" r="r" b="b"/>
            <a:pathLst>
              <a:path w="8650" h="4581">
                <a:moveTo>
                  <a:pt x="6359" y="0"/>
                </a:moveTo>
                <a:cubicBezTo>
                  <a:pt x="5518" y="0"/>
                  <a:pt x="4783" y="453"/>
                  <a:pt x="4385" y="1129"/>
                </a:cubicBezTo>
                <a:cubicBezTo>
                  <a:pt x="4128" y="993"/>
                  <a:pt x="3836" y="915"/>
                  <a:pt x="3525" y="915"/>
                </a:cubicBezTo>
                <a:cubicBezTo>
                  <a:pt x="2809" y="915"/>
                  <a:pt x="2190" y="1325"/>
                  <a:pt x="1888" y="1923"/>
                </a:cubicBezTo>
                <a:cubicBezTo>
                  <a:pt x="1730" y="1860"/>
                  <a:pt x="1558" y="1826"/>
                  <a:pt x="1378" y="1826"/>
                </a:cubicBezTo>
                <a:cubicBezTo>
                  <a:pt x="617" y="1826"/>
                  <a:pt x="0" y="2442"/>
                  <a:pt x="0" y="3203"/>
                </a:cubicBezTo>
                <a:cubicBezTo>
                  <a:pt x="0" y="3938"/>
                  <a:pt x="576" y="4538"/>
                  <a:pt x="1301" y="4578"/>
                </a:cubicBezTo>
                <a:cubicBezTo>
                  <a:pt x="1301" y="4581"/>
                  <a:pt x="1301" y="4581"/>
                  <a:pt x="1301" y="4581"/>
                </a:cubicBezTo>
                <a:cubicBezTo>
                  <a:pt x="6359" y="4581"/>
                  <a:pt x="6359" y="4581"/>
                  <a:pt x="6359" y="4581"/>
                </a:cubicBezTo>
                <a:cubicBezTo>
                  <a:pt x="7624" y="4581"/>
                  <a:pt x="8650" y="3555"/>
                  <a:pt x="8650" y="2290"/>
                </a:cubicBezTo>
                <a:cubicBezTo>
                  <a:pt x="8650" y="1025"/>
                  <a:pt x="7624" y="0"/>
                  <a:pt x="6359" y="0"/>
                </a:cubicBezTo>
                <a:close/>
              </a:path>
            </a:pathLst>
          </a:custGeom>
          <a:noFill/>
          <a:ln w="38100" cap="rnd">
            <a:solidFill>
              <a:schemeClr val="tx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7137" tIns="28569" rIns="57137" bIns="28569" numCol="1" spcCol="0" rtlCol="0" fromWordArt="0" anchor="ctr" anchorCtr="0" forceAA="0" compatLnSpc="1">
            <a:prstTxWarp prst="textNoShape">
              <a:avLst/>
            </a:prstTxWarp>
            <a:noAutofit/>
          </a:bodyPr>
          <a:lstStyle/>
          <a:p>
            <a:pPr algn="ctr" defTabSz="571204" fontAlgn="base">
              <a:spcBef>
                <a:spcPct val="0"/>
              </a:spcBef>
              <a:spcAft>
                <a:spcPct val="0"/>
              </a:spcAft>
            </a:pPr>
            <a:r>
              <a:rPr lang="en-US" sz="900" b="1">
                <a:solidFill>
                  <a:schemeClr val="tx1"/>
                </a:solidFill>
                <a:latin typeface="Segoe UI Light" pitchFamily="34" charset="0"/>
              </a:rPr>
              <a:t>`</a:t>
            </a:r>
          </a:p>
        </p:txBody>
      </p:sp>
      <p:grpSp>
        <p:nvGrpSpPr>
          <p:cNvPr id="24" name="Group 23"/>
          <p:cNvGrpSpPr/>
          <p:nvPr/>
        </p:nvGrpSpPr>
        <p:grpSpPr>
          <a:xfrm>
            <a:off x="6360651" y="2654809"/>
            <a:ext cx="713572" cy="631316"/>
            <a:chOff x="5513610" y="4646227"/>
            <a:chExt cx="1141715" cy="1010105"/>
          </a:xfrm>
          <a:solidFill>
            <a:schemeClr val="bg2"/>
          </a:solidFill>
        </p:grpSpPr>
        <p:sp>
          <p:nvSpPr>
            <p:cNvPr id="25" name="Man's Body"/>
            <p:cNvSpPr>
              <a:spLocks/>
            </p:cNvSpPr>
            <p:nvPr/>
          </p:nvSpPr>
          <p:spPr bwMode="auto">
            <a:xfrm>
              <a:off x="5513610" y="5237581"/>
              <a:ext cx="863932" cy="418751"/>
            </a:xfrm>
            <a:custGeom>
              <a:avLst/>
              <a:gdLst>
                <a:gd name="T0" fmla="*/ 1522 w 1650"/>
                <a:gd name="T1" fmla="*/ 697 h 800"/>
                <a:gd name="T2" fmla="*/ 1611 w 1650"/>
                <a:gd name="T3" fmla="*/ 342 h 800"/>
                <a:gd name="T4" fmla="*/ 1196 w 1650"/>
                <a:gd name="T5" fmla="*/ 161 h 800"/>
                <a:gd name="T6" fmla="*/ 1100 w 1650"/>
                <a:gd name="T7" fmla="*/ 7 h 800"/>
                <a:gd name="T8" fmla="*/ 815 w 1650"/>
                <a:gd name="T9" fmla="*/ 130 h 800"/>
                <a:gd name="T10" fmla="*/ 568 w 1650"/>
                <a:gd name="T11" fmla="*/ 4 h 800"/>
                <a:gd name="T12" fmla="*/ 498 w 1650"/>
                <a:gd name="T13" fmla="*/ 134 h 800"/>
                <a:gd name="T14" fmla="*/ 806 w 1650"/>
                <a:gd name="T15" fmla="*/ 275 h 800"/>
                <a:gd name="T16" fmla="*/ 1056 w 1650"/>
                <a:gd name="T17" fmla="*/ 219 h 800"/>
                <a:gd name="T18" fmla="*/ 794 w 1650"/>
                <a:gd name="T19" fmla="*/ 330 h 800"/>
                <a:gd name="T20" fmla="*/ 401 w 1650"/>
                <a:gd name="T21" fmla="*/ 179 h 800"/>
                <a:gd name="T22" fmla="*/ 42 w 1650"/>
                <a:gd name="T23" fmla="*/ 342 h 800"/>
                <a:gd name="T24" fmla="*/ 189 w 1650"/>
                <a:gd name="T25" fmla="*/ 775 h 800"/>
                <a:gd name="T26" fmla="*/ 329 w 1650"/>
                <a:gd name="T27" fmla="*/ 553 h 800"/>
                <a:gd name="T28" fmla="*/ 271 w 1650"/>
                <a:gd name="T29" fmla="*/ 781 h 800"/>
                <a:gd name="T30" fmla="*/ 826 w 1650"/>
                <a:gd name="T31" fmla="*/ 799 h 800"/>
                <a:gd name="T32" fmla="*/ 1463 w 1650"/>
                <a:gd name="T33" fmla="*/ 775 h 800"/>
                <a:gd name="T34" fmla="*/ 1464 w 1650"/>
                <a:gd name="T35" fmla="*/ 774 h 800"/>
                <a:gd name="T36" fmla="*/ 1406 w 1650"/>
                <a:gd name="T37" fmla="*/ 553 h 800"/>
                <a:gd name="T38" fmla="*/ 1522 w 1650"/>
                <a:gd name="T39" fmla="*/ 697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50" h="800">
                  <a:moveTo>
                    <a:pt x="1522" y="697"/>
                  </a:moveTo>
                  <a:cubicBezTo>
                    <a:pt x="1635" y="516"/>
                    <a:pt x="1650" y="408"/>
                    <a:pt x="1611" y="342"/>
                  </a:cubicBezTo>
                  <a:cubicBezTo>
                    <a:pt x="1571" y="277"/>
                    <a:pt x="1294" y="184"/>
                    <a:pt x="1196" y="161"/>
                  </a:cubicBezTo>
                  <a:cubicBezTo>
                    <a:pt x="1155" y="151"/>
                    <a:pt x="1119" y="12"/>
                    <a:pt x="1100" y="7"/>
                  </a:cubicBezTo>
                  <a:cubicBezTo>
                    <a:pt x="1082" y="1"/>
                    <a:pt x="998" y="123"/>
                    <a:pt x="815" y="130"/>
                  </a:cubicBezTo>
                  <a:cubicBezTo>
                    <a:pt x="747" y="132"/>
                    <a:pt x="587" y="0"/>
                    <a:pt x="568" y="4"/>
                  </a:cubicBezTo>
                  <a:cubicBezTo>
                    <a:pt x="548" y="7"/>
                    <a:pt x="495" y="110"/>
                    <a:pt x="498" y="134"/>
                  </a:cubicBezTo>
                  <a:cubicBezTo>
                    <a:pt x="501" y="157"/>
                    <a:pt x="657" y="273"/>
                    <a:pt x="806" y="275"/>
                  </a:cubicBezTo>
                  <a:cubicBezTo>
                    <a:pt x="1017" y="279"/>
                    <a:pt x="1056" y="219"/>
                    <a:pt x="1056" y="219"/>
                  </a:cubicBezTo>
                  <a:cubicBezTo>
                    <a:pt x="1056" y="219"/>
                    <a:pt x="1010" y="327"/>
                    <a:pt x="794" y="330"/>
                  </a:cubicBezTo>
                  <a:cubicBezTo>
                    <a:pt x="573" y="333"/>
                    <a:pt x="425" y="183"/>
                    <a:pt x="401" y="179"/>
                  </a:cubicBezTo>
                  <a:cubicBezTo>
                    <a:pt x="377" y="174"/>
                    <a:pt x="83" y="279"/>
                    <a:pt x="42" y="342"/>
                  </a:cubicBezTo>
                  <a:cubicBezTo>
                    <a:pt x="0" y="406"/>
                    <a:pt x="9" y="570"/>
                    <a:pt x="189" y="775"/>
                  </a:cubicBezTo>
                  <a:cubicBezTo>
                    <a:pt x="208" y="657"/>
                    <a:pt x="306" y="566"/>
                    <a:pt x="329" y="553"/>
                  </a:cubicBezTo>
                  <a:cubicBezTo>
                    <a:pt x="299" y="610"/>
                    <a:pt x="272" y="716"/>
                    <a:pt x="271" y="781"/>
                  </a:cubicBezTo>
                  <a:cubicBezTo>
                    <a:pt x="523" y="799"/>
                    <a:pt x="740" y="800"/>
                    <a:pt x="826" y="799"/>
                  </a:cubicBezTo>
                  <a:cubicBezTo>
                    <a:pt x="922" y="800"/>
                    <a:pt x="1176" y="799"/>
                    <a:pt x="1463" y="775"/>
                  </a:cubicBezTo>
                  <a:cubicBezTo>
                    <a:pt x="1463" y="775"/>
                    <a:pt x="1463" y="774"/>
                    <a:pt x="1464" y="774"/>
                  </a:cubicBezTo>
                  <a:cubicBezTo>
                    <a:pt x="1454" y="709"/>
                    <a:pt x="1436" y="608"/>
                    <a:pt x="1406" y="553"/>
                  </a:cubicBezTo>
                  <a:cubicBezTo>
                    <a:pt x="1424" y="563"/>
                    <a:pt x="1485" y="619"/>
                    <a:pt x="1522" y="697"/>
                  </a:cubicBezTo>
                  <a:close/>
                </a:path>
              </a:pathLst>
            </a:custGeom>
            <a:solidFill>
              <a:schemeClr val="accent1"/>
            </a:solidFill>
            <a:ln>
              <a:solidFill>
                <a:schemeClr val="tx1"/>
              </a:solidFill>
              <a:headEnd type="none" w="med" len="med"/>
              <a:tailEnd type="none" w="med" len="med"/>
            </a:ln>
            <a:effectLst/>
            <a:ex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570402"/>
              <a:endParaRPr lang="en-US">
                <a:solidFill>
                  <a:schemeClr val="tx1"/>
                </a:solidFill>
                <a:latin typeface="Segoe UI Light" pitchFamily="34" charset="0"/>
                <a:ea typeface="ＭＳ Ｐゴシック" pitchFamily="-65" charset="-128"/>
              </a:endParaRPr>
            </a:p>
          </p:txBody>
        </p:sp>
        <p:sp>
          <p:nvSpPr>
            <p:cNvPr id="26" name="Man's Face"/>
            <p:cNvSpPr>
              <a:spLocks/>
            </p:cNvSpPr>
            <p:nvPr/>
          </p:nvSpPr>
          <p:spPr bwMode="auto">
            <a:xfrm>
              <a:off x="5679088" y="4646227"/>
              <a:ext cx="501030" cy="620542"/>
            </a:xfrm>
            <a:custGeom>
              <a:avLst/>
              <a:gdLst>
                <a:gd name="T0" fmla="*/ 114 w 957"/>
                <a:gd name="T1" fmla="*/ 612 h 1185"/>
                <a:gd name="T2" fmla="*/ 82 w 957"/>
                <a:gd name="T3" fmla="*/ 660 h 1185"/>
                <a:gd name="T4" fmla="*/ 164 w 957"/>
                <a:gd name="T5" fmla="*/ 831 h 1185"/>
                <a:gd name="T6" fmla="*/ 266 w 957"/>
                <a:gd name="T7" fmla="*/ 1049 h 1185"/>
                <a:gd name="T8" fmla="*/ 499 w 957"/>
                <a:gd name="T9" fmla="*/ 1185 h 1185"/>
                <a:gd name="T10" fmla="*/ 716 w 957"/>
                <a:gd name="T11" fmla="*/ 1076 h 1185"/>
                <a:gd name="T12" fmla="*/ 834 w 957"/>
                <a:gd name="T13" fmla="*/ 841 h 1185"/>
                <a:gd name="T14" fmla="*/ 862 w 957"/>
                <a:gd name="T15" fmla="*/ 824 h 1185"/>
                <a:gd name="T16" fmla="*/ 911 w 957"/>
                <a:gd name="T17" fmla="*/ 629 h 1185"/>
                <a:gd name="T18" fmla="*/ 865 w 957"/>
                <a:gd name="T19" fmla="*/ 596 h 1185"/>
                <a:gd name="T20" fmla="*/ 865 w 957"/>
                <a:gd name="T21" fmla="*/ 507 h 1185"/>
                <a:gd name="T22" fmla="*/ 499 w 957"/>
                <a:gd name="T23" fmla="*/ 306 h 1185"/>
                <a:gd name="T24" fmla="*/ 854 w 957"/>
                <a:gd name="T25" fmla="*/ 407 h 1185"/>
                <a:gd name="T26" fmla="*/ 897 w 957"/>
                <a:gd name="T27" fmla="*/ 446 h 1185"/>
                <a:gd name="T28" fmla="*/ 954 w 957"/>
                <a:gd name="T29" fmla="*/ 391 h 1185"/>
                <a:gd name="T30" fmla="*/ 775 w 957"/>
                <a:gd name="T31" fmla="*/ 169 h 1185"/>
                <a:gd name="T32" fmla="*/ 318 w 957"/>
                <a:gd name="T33" fmla="*/ 76 h 1185"/>
                <a:gd name="T34" fmla="*/ 46 w 957"/>
                <a:gd name="T35" fmla="*/ 437 h 1185"/>
                <a:gd name="T36" fmla="*/ 114 w 957"/>
                <a:gd name="T37" fmla="*/ 612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57" h="1185">
                  <a:moveTo>
                    <a:pt x="114" y="612"/>
                  </a:moveTo>
                  <a:cubicBezTo>
                    <a:pt x="114" y="612"/>
                    <a:pt x="69" y="611"/>
                    <a:pt x="82" y="660"/>
                  </a:cubicBezTo>
                  <a:cubicBezTo>
                    <a:pt x="98" y="718"/>
                    <a:pt x="122" y="828"/>
                    <a:pt x="164" y="831"/>
                  </a:cubicBezTo>
                  <a:cubicBezTo>
                    <a:pt x="167" y="940"/>
                    <a:pt x="253" y="1029"/>
                    <a:pt x="266" y="1049"/>
                  </a:cubicBezTo>
                  <a:cubicBezTo>
                    <a:pt x="278" y="1069"/>
                    <a:pt x="435" y="1185"/>
                    <a:pt x="499" y="1185"/>
                  </a:cubicBezTo>
                  <a:cubicBezTo>
                    <a:pt x="563" y="1185"/>
                    <a:pt x="670" y="1112"/>
                    <a:pt x="716" y="1076"/>
                  </a:cubicBezTo>
                  <a:cubicBezTo>
                    <a:pt x="763" y="1039"/>
                    <a:pt x="818" y="963"/>
                    <a:pt x="834" y="841"/>
                  </a:cubicBezTo>
                  <a:cubicBezTo>
                    <a:pt x="849" y="844"/>
                    <a:pt x="862" y="824"/>
                    <a:pt x="862" y="824"/>
                  </a:cubicBezTo>
                  <a:cubicBezTo>
                    <a:pt x="862" y="824"/>
                    <a:pt x="911" y="659"/>
                    <a:pt x="911" y="629"/>
                  </a:cubicBezTo>
                  <a:cubicBezTo>
                    <a:pt x="911" y="599"/>
                    <a:pt x="865" y="596"/>
                    <a:pt x="865" y="596"/>
                  </a:cubicBezTo>
                  <a:cubicBezTo>
                    <a:pt x="865" y="596"/>
                    <a:pt x="876" y="531"/>
                    <a:pt x="865" y="507"/>
                  </a:cubicBezTo>
                  <a:cubicBezTo>
                    <a:pt x="854" y="482"/>
                    <a:pt x="713" y="324"/>
                    <a:pt x="499" y="306"/>
                  </a:cubicBezTo>
                  <a:cubicBezTo>
                    <a:pt x="554" y="289"/>
                    <a:pt x="688" y="267"/>
                    <a:pt x="854" y="407"/>
                  </a:cubicBezTo>
                  <a:cubicBezTo>
                    <a:pt x="868" y="419"/>
                    <a:pt x="871" y="441"/>
                    <a:pt x="897" y="446"/>
                  </a:cubicBezTo>
                  <a:cubicBezTo>
                    <a:pt x="922" y="451"/>
                    <a:pt x="951" y="416"/>
                    <a:pt x="954" y="391"/>
                  </a:cubicBezTo>
                  <a:cubicBezTo>
                    <a:pt x="957" y="365"/>
                    <a:pt x="917" y="298"/>
                    <a:pt x="775" y="169"/>
                  </a:cubicBezTo>
                  <a:cubicBezTo>
                    <a:pt x="633" y="40"/>
                    <a:pt x="442" y="0"/>
                    <a:pt x="318" y="76"/>
                  </a:cubicBezTo>
                  <a:cubicBezTo>
                    <a:pt x="0" y="63"/>
                    <a:pt x="42" y="417"/>
                    <a:pt x="46" y="437"/>
                  </a:cubicBezTo>
                  <a:cubicBezTo>
                    <a:pt x="51" y="458"/>
                    <a:pt x="114" y="612"/>
                    <a:pt x="114" y="612"/>
                  </a:cubicBezTo>
                  <a:close/>
                </a:path>
              </a:pathLst>
            </a:cu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570402"/>
              <a:endParaRPr lang="en-US">
                <a:solidFill>
                  <a:schemeClr val="tx1"/>
                </a:solidFill>
                <a:latin typeface="Segoe UI Light" pitchFamily="34" charset="0"/>
                <a:ea typeface="ＭＳ Ｐゴシック" pitchFamily="-65" charset="-128"/>
              </a:endParaRPr>
            </a:p>
          </p:txBody>
        </p:sp>
        <p:sp>
          <p:nvSpPr>
            <p:cNvPr id="27" name="Woman's Body"/>
            <p:cNvSpPr>
              <a:spLocks/>
            </p:cNvSpPr>
            <p:nvPr/>
          </p:nvSpPr>
          <p:spPr bwMode="auto">
            <a:xfrm>
              <a:off x="6100513" y="4649696"/>
              <a:ext cx="554812" cy="887606"/>
            </a:xfrm>
            <a:custGeom>
              <a:avLst/>
              <a:gdLst>
                <a:gd name="T0" fmla="*/ 34 w 1060"/>
                <a:gd name="T1" fmla="*/ 1066 h 1695"/>
                <a:gd name="T2" fmla="*/ 93 w 1060"/>
                <a:gd name="T3" fmla="*/ 896 h 1695"/>
                <a:gd name="T4" fmla="*/ 96 w 1060"/>
                <a:gd name="T5" fmla="*/ 886 h 1695"/>
                <a:gd name="T6" fmla="*/ 120 w 1060"/>
                <a:gd name="T7" fmla="*/ 859 h 1695"/>
                <a:gd name="T8" fmla="*/ 125 w 1060"/>
                <a:gd name="T9" fmla="*/ 850 h 1695"/>
                <a:gd name="T10" fmla="*/ 128 w 1060"/>
                <a:gd name="T11" fmla="*/ 840 h 1695"/>
                <a:gd name="T12" fmla="*/ 180 w 1060"/>
                <a:gd name="T13" fmla="*/ 623 h 1695"/>
                <a:gd name="T14" fmla="*/ 115 w 1060"/>
                <a:gd name="T15" fmla="*/ 518 h 1695"/>
                <a:gd name="T16" fmla="*/ 228 w 1060"/>
                <a:gd name="T17" fmla="*/ 408 h 1695"/>
                <a:gd name="T18" fmla="*/ 3 w 1060"/>
                <a:gd name="T19" fmla="*/ 110 h 1695"/>
                <a:gd name="T20" fmla="*/ 183 w 1060"/>
                <a:gd name="T21" fmla="*/ 67 h 1695"/>
                <a:gd name="T22" fmla="*/ 583 w 1060"/>
                <a:gd name="T23" fmla="*/ 148 h 1695"/>
                <a:gd name="T24" fmla="*/ 740 w 1060"/>
                <a:gd name="T25" fmla="*/ 342 h 1695"/>
                <a:gd name="T26" fmla="*/ 689 w 1060"/>
                <a:gd name="T27" fmla="*/ 390 h 1695"/>
                <a:gd name="T28" fmla="*/ 648 w 1060"/>
                <a:gd name="T29" fmla="*/ 353 h 1695"/>
                <a:gd name="T30" fmla="*/ 341 w 1060"/>
                <a:gd name="T31" fmla="*/ 268 h 1695"/>
                <a:gd name="T32" fmla="*/ 661 w 1060"/>
                <a:gd name="T33" fmla="*/ 443 h 1695"/>
                <a:gd name="T34" fmla="*/ 661 w 1060"/>
                <a:gd name="T35" fmla="*/ 522 h 1695"/>
                <a:gd name="T36" fmla="*/ 702 w 1060"/>
                <a:gd name="T37" fmla="*/ 551 h 1695"/>
                <a:gd name="T38" fmla="*/ 659 w 1060"/>
                <a:gd name="T39" fmla="*/ 722 h 1695"/>
                <a:gd name="T40" fmla="*/ 634 w 1060"/>
                <a:gd name="T41" fmla="*/ 736 h 1695"/>
                <a:gd name="T42" fmla="*/ 531 w 1060"/>
                <a:gd name="T43" fmla="*/ 942 h 1695"/>
                <a:gd name="T44" fmla="*/ 523 w 1060"/>
                <a:gd name="T45" fmla="*/ 948 h 1695"/>
                <a:gd name="T46" fmla="*/ 589 w 1060"/>
                <a:gd name="T47" fmla="*/ 1022 h 1695"/>
                <a:gd name="T48" fmla="*/ 675 w 1060"/>
                <a:gd name="T49" fmla="*/ 1130 h 1695"/>
                <a:gd name="T50" fmla="*/ 1038 w 1060"/>
                <a:gd name="T51" fmla="*/ 1289 h 1695"/>
                <a:gd name="T52" fmla="*/ 960 w 1060"/>
                <a:gd name="T53" fmla="*/ 1599 h 1695"/>
                <a:gd name="T54" fmla="*/ 909 w 1060"/>
                <a:gd name="T55" fmla="*/ 1667 h 1695"/>
                <a:gd name="T56" fmla="*/ 909 w 1060"/>
                <a:gd name="T57" fmla="*/ 1668 h 1695"/>
                <a:gd name="T58" fmla="*/ 541 w 1060"/>
                <a:gd name="T59" fmla="*/ 1695 h 1695"/>
                <a:gd name="T60" fmla="*/ 561 w 1060"/>
                <a:gd name="T61" fmla="*/ 1427 h 1695"/>
                <a:gd name="T62" fmla="*/ 514 w 1060"/>
                <a:gd name="T63" fmla="*/ 1398 h 1695"/>
                <a:gd name="T64" fmla="*/ 123 w 1060"/>
                <a:gd name="T65" fmla="*/ 1213 h 1695"/>
                <a:gd name="T66" fmla="*/ 73 w 1060"/>
                <a:gd name="T67" fmla="*/ 1133 h 1695"/>
                <a:gd name="T68" fmla="*/ 34 w 1060"/>
                <a:gd name="T69" fmla="*/ 1066 h 1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0" h="1695">
                  <a:moveTo>
                    <a:pt x="34" y="1066"/>
                  </a:moveTo>
                  <a:cubicBezTo>
                    <a:pt x="35" y="1039"/>
                    <a:pt x="115" y="935"/>
                    <a:pt x="93" y="896"/>
                  </a:cubicBezTo>
                  <a:cubicBezTo>
                    <a:pt x="94" y="893"/>
                    <a:pt x="95" y="890"/>
                    <a:pt x="96" y="886"/>
                  </a:cubicBezTo>
                  <a:cubicBezTo>
                    <a:pt x="106" y="878"/>
                    <a:pt x="114" y="868"/>
                    <a:pt x="120" y="859"/>
                  </a:cubicBezTo>
                  <a:cubicBezTo>
                    <a:pt x="125" y="850"/>
                    <a:pt x="125" y="850"/>
                    <a:pt x="125" y="850"/>
                  </a:cubicBezTo>
                  <a:cubicBezTo>
                    <a:pt x="128" y="840"/>
                    <a:pt x="128" y="840"/>
                    <a:pt x="128" y="840"/>
                  </a:cubicBezTo>
                  <a:cubicBezTo>
                    <a:pt x="163" y="723"/>
                    <a:pt x="180" y="650"/>
                    <a:pt x="180" y="623"/>
                  </a:cubicBezTo>
                  <a:cubicBezTo>
                    <a:pt x="185" y="570"/>
                    <a:pt x="115" y="543"/>
                    <a:pt x="115" y="518"/>
                  </a:cubicBezTo>
                  <a:cubicBezTo>
                    <a:pt x="115" y="493"/>
                    <a:pt x="226" y="421"/>
                    <a:pt x="228" y="408"/>
                  </a:cubicBezTo>
                  <a:cubicBezTo>
                    <a:pt x="244" y="348"/>
                    <a:pt x="7" y="138"/>
                    <a:pt x="3" y="110"/>
                  </a:cubicBezTo>
                  <a:cubicBezTo>
                    <a:pt x="0" y="82"/>
                    <a:pt x="160" y="40"/>
                    <a:pt x="183" y="67"/>
                  </a:cubicBezTo>
                  <a:cubicBezTo>
                    <a:pt x="291" y="0"/>
                    <a:pt x="458" y="35"/>
                    <a:pt x="583" y="148"/>
                  </a:cubicBezTo>
                  <a:cubicBezTo>
                    <a:pt x="707" y="261"/>
                    <a:pt x="743" y="325"/>
                    <a:pt x="740" y="342"/>
                  </a:cubicBezTo>
                  <a:cubicBezTo>
                    <a:pt x="737" y="359"/>
                    <a:pt x="707" y="390"/>
                    <a:pt x="689" y="390"/>
                  </a:cubicBezTo>
                  <a:cubicBezTo>
                    <a:pt x="672" y="390"/>
                    <a:pt x="661" y="364"/>
                    <a:pt x="648" y="353"/>
                  </a:cubicBezTo>
                  <a:cubicBezTo>
                    <a:pt x="504" y="234"/>
                    <a:pt x="388" y="253"/>
                    <a:pt x="341" y="268"/>
                  </a:cubicBezTo>
                  <a:cubicBezTo>
                    <a:pt x="528" y="284"/>
                    <a:pt x="653" y="421"/>
                    <a:pt x="661" y="443"/>
                  </a:cubicBezTo>
                  <a:cubicBezTo>
                    <a:pt x="670" y="466"/>
                    <a:pt x="661" y="522"/>
                    <a:pt x="661" y="522"/>
                  </a:cubicBezTo>
                  <a:cubicBezTo>
                    <a:pt x="661" y="522"/>
                    <a:pt x="702" y="525"/>
                    <a:pt x="702" y="551"/>
                  </a:cubicBezTo>
                  <a:cubicBezTo>
                    <a:pt x="702" y="577"/>
                    <a:pt x="659" y="722"/>
                    <a:pt x="659" y="722"/>
                  </a:cubicBezTo>
                  <a:cubicBezTo>
                    <a:pt x="659" y="722"/>
                    <a:pt x="648" y="739"/>
                    <a:pt x="634" y="736"/>
                  </a:cubicBezTo>
                  <a:cubicBezTo>
                    <a:pt x="621" y="843"/>
                    <a:pt x="572" y="910"/>
                    <a:pt x="531" y="942"/>
                  </a:cubicBezTo>
                  <a:cubicBezTo>
                    <a:pt x="529" y="944"/>
                    <a:pt x="526" y="946"/>
                    <a:pt x="523" y="948"/>
                  </a:cubicBezTo>
                  <a:cubicBezTo>
                    <a:pt x="538" y="1019"/>
                    <a:pt x="589" y="1022"/>
                    <a:pt x="589" y="1022"/>
                  </a:cubicBezTo>
                  <a:cubicBezTo>
                    <a:pt x="610" y="1074"/>
                    <a:pt x="639" y="1121"/>
                    <a:pt x="675" y="1130"/>
                  </a:cubicBezTo>
                  <a:cubicBezTo>
                    <a:pt x="760" y="1150"/>
                    <a:pt x="1024" y="1252"/>
                    <a:pt x="1038" y="1289"/>
                  </a:cubicBezTo>
                  <a:cubicBezTo>
                    <a:pt x="1052" y="1326"/>
                    <a:pt x="1060" y="1441"/>
                    <a:pt x="960" y="1599"/>
                  </a:cubicBezTo>
                  <a:cubicBezTo>
                    <a:pt x="934" y="1645"/>
                    <a:pt x="909" y="1667"/>
                    <a:pt x="909" y="1667"/>
                  </a:cubicBezTo>
                  <a:cubicBezTo>
                    <a:pt x="909" y="1667"/>
                    <a:pt x="909" y="1667"/>
                    <a:pt x="909" y="1668"/>
                  </a:cubicBezTo>
                  <a:cubicBezTo>
                    <a:pt x="817" y="1675"/>
                    <a:pt x="620" y="1691"/>
                    <a:pt x="541" y="1695"/>
                  </a:cubicBezTo>
                  <a:cubicBezTo>
                    <a:pt x="541" y="1695"/>
                    <a:pt x="630" y="1516"/>
                    <a:pt x="561" y="1427"/>
                  </a:cubicBezTo>
                  <a:cubicBezTo>
                    <a:pt x="553" y="1417"/>
                    <a:pt x="514" y="1398"/>
                    <a:pt x="514" y="1398"/>
                  </a:cubicBezTo>
                  <a:cubicBezTo>
                    <a:pt x="481" y="1381"/>
                    <a:pt x="225" y="1237"/>
                    <a:pt x="123" y="1213"/>
                  </a:cubicBezTo>
                  <a:cubicBezTo>
                    <a:pt x="123" y="1213"/>
                    <a:pt x="102" y="1203"/>
                    <a:pt x="73" y="1133"/>
                  </a:cubicBezTo>
                  <a:cubicBezTo>
                    <a:pt x="73" y="1133"/>
                    <a:pt x="33" y="1093"/>
                    <a:pt x="34" y="1066"/>
                  </a:cubicBezTo>
                  <a:close/>
                </a:path>
              </a:pathLst>
            </a:custGeom>
            <a:solidFill>
              <a:schemeClr val="accent1"/>
            </a:solidFill>
            <a:ln>
              <a:solidFill>
                <a:schemeClr val="tx1"/>
              </a:solidFill>
              <a:headEnd type="none" w="med" len="med"/>
              <a:tailEnd type="none" w="med" len="med"/>
            </a:ln>
            <a:effectLst/>
            <a:ex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570402"/>
              <a:endParaRPr lang="en-US">
                <a:solidFill>
                  <a:schemeClr val="tx1"/>
                </a:solidFill>
                <a:latin typeface="Segoe UI Light" pitchFamily="34" charset="0"/>
                <a:ea typeface="ＭＳ Ｐゴシック" pitchFamily="-65" charset="-128"/>
              </a:endParaRPr>
            </a:p>
          </p:txBody>
        </p:sp>
        <p:sp>
          <p:nvSpPr>
            <p:cNvPr id="28" name="Woman's Hair"/>
            <p:cNvSpPr>
              <a:spLocks/>
            </p:cNvSpPr>
            <p:nvPr/>
          </p:nvSpPr>
          <p:spPr bwMode="auto">
            <a:xfrm>
              <a:off x="6409866" y="4848040"/>
              <a:ext cx="158583" cy="317396"/>
            </a:xfrm>
            <a:custGeom>
              <a:avLst/>
              <a:gdLst>
                <a:gd name="T0" fmla="*/ 3 w 303"/>
                <a:gd name="T1" fmla="*/ 572 h 606"/>
                <a:gd name="T2" fmla="*/ 84 w 303"/>
                <a:gd name="T3" fmla="*/ 400 h 606"/>
                <a:gd name="T4" fmla="*/ 105 w 303"/>
                <a:gd name="T5" fmla="*/ 376 h 606"/>
                <a:gd name="T6" fmla="*/ 109 w 303"/>
                <a:gd name="T7" fmla="*/ 369 h 606"/>
                <a:gd name="T8" fmla="*/ 112 w 303"/>
                <a:gd name="T9" fmla="*/ 360 h 606"/>
                <a:gd name="T10" fmla="*/ 157 w 303"/>
                <a:gd name="T11" fmla="*/ 172 h 606"/>
                <a:gd name="T12" fmla="*/ 120 w 303"/>
                <a:gd name="T13" fmla="*/ 99 h 606"/>
                <a:gd name="T14" fmla="*/ 122 w 303"/>
                <a:gd name="T15" fmla="*/ 41 h 606"/>
                <a:gd name="T16" fmla="*/ 160 w 303"/>
                <a:gd name="T17" fmla="*/ 4 h 606"/>
                <a:gd name="T18" fmla="*/ 189 w 303"/>
                <a:gd name="T19" fmla="*/ 588 h 606"/>
                <a:gd name="T20" fmla="*/ 3 w 303"/>
                <a:gd name="T21" fmla="*/ 572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3" h="606">
                  <a:moveTo>
                    <a:pt x="3" y="572"/>
                  </a:moveTo>
                  <a:cubicBezTo>
                    <a:pt x="0" y="554"/>
                    <a:pt x="67" y="482"/>
                    <a:pt x="84" y="400"/>
                  </a:cubicBezTo>
                  <a:cubicBezTo>
                    <a:pt x="93" y="393"/>
                    <a:pt x="99" y="384"/>
                    <a:pt x="105" y="376"/>
                  </a:cubicBezTo>
                  <a:cubicBezTo>
                    <a:pt x="109" y="369"/>
                    <a:pt x="109" y="369"/>
                    <a:pt x="109" y="369"/>
                  </a:cubicBezTo>
                  <a:cubicBezTo>
                    <a:pt x="112" y="360"/>
                    <a:pt x="112" y="360"/>
                    <a:pt x="112" y="360"/>
                  </a:cubicBezTo>
                  <a:cubicBezTo>
                    <a:pt x="142" y="259"/>
                    <a:pt x="157" y="195"/>
                    <a:pt x="157" y="172"/>
                  </a:cubicBezTo>
                  <a:cubicBezTo>
                    <a:pt x="159" y="127"/>
                    <a:pt x="125" y="120"/>
                    <a:pt x="120" y="99"/>
                  </a:cubicBezTo>
                  <a:cubicBezTo>
                    <a:pt x="114" y="79"/>
                    <a:pt x="118" y="62"/>
                    <a:pt x="122" y="41"/>
                  </a:cubicBezTo>
                  <a:cubicBezTo>
                    <a:pt x="127" y="20"/>
                    <a:pt x="150" y="0"/>
                    <a:pt x="160" y="4"/>
                  </a:cubicBezTo>
                  <a:cubicBezTo>
                    <a:pt x="170" y="7"/>
                    <a:pt x="303" y="534"/>
                    <a:pt x="189" y="588"/>
                  </a:cubicBezTo>
                  <a:cubicBezTo>
                    <a:pt x="150" y="606"/>
                    <a:pt x="6" y="591"/>
                    <a:pt x="3" y="572"/>
                  </a:cubicBezTo>
                  <a:close/>
                </a:path>
              </a:pathLst>
            </a:cu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570402"/>
              <a:endParaRPr lang="en-US">
                <a:solidFill>
                  <a:schemeClr val="tx1"/>
                </a:solidFill>
                <a:latin typeface="Segoe UI Light" pitchFamily="34" charset="0"/>
                <a:ea typeface="ＭＳ Ｐゴシック" pitchFamily="-65" charset="-128"/>
              </a:endParaRPr>
            </a:p>
          </p:txBody>
        </p:sp>
      </p:grpSp>
      <p:grpSp>
        <p:nvGrpSpPr>
          <p:cNvPr id="29" name="Group 28"/>
          <p:cNvGrpSpPr/>
          <p:nvPr/>
        </p:nvGrpSpPr>
        <p:grpSpPr>
          <a:xfrm>
            <a:off x="5828837" y="2644258"/>
            <a:ext cx="1596951" cy="631316"/>
            <a:chOff x="5513610" y="4646227"/>
            <a:chExt cx="2555122" cy="1010105"/>
          </a:xfrm>
          <a:solidFill>
            <a:schemeClr val="bg2"/>
          </a:solidFill>
        </p:grpSpPr>
        <p:sp>
          <p:nvSpPr>
            <p:cNvPr id="30" name="Man's Body"/>
            <p:cNvSpPr>
              <a:spLocks/>
            </p:cNvSpPr>
            <p:nvPr/>
          </p:nvSpPr>
          <p:spPr bwMode="auto">
            <a:xfrm>
              <a:off x="5513610" y="5237581"/>
              <a:ext cx="863932" cy="418751"/>
            </a:xfrm>
            <a:custGeom>
              <a:avLst/>
              <a:gdLst>
                <a:gd name="T0" fmla="*/ 1522 w 1650"/>
                <a:gd name="T1" fmla="*/ 697 h 800"/>
                <a:gd name="T2" fmla="*/ 1611 w 1650"/>
                <a:gd name="T3" fmla="*/ 342 h 800"/>
                <a:gd name="T4" fmla="*/ 1196 w 1650"/>
                <a:gd name="T5" fmla="*/ 161 h 800"/>
                <a:gd name="T6" fmla="*/ 1100 w 1650"/>
                <a:gd name="T7" fmla="*/ 7 h 800"/>
                <a:gd name="T8" fmla="*/ 815 w 1650"/>
                <a:gd name="T9" fmla="*/ 130 h 800"/>
                <a:gd name="T10" fmla="*/ 568 w 1650"/>
                <a:gd name="T11" fmla="*/ 4 h 800"/>
                <a:gd name="T12" fmla="*/ 498 w 1650"/>
                <a:gd name="T13" fmla="*/ 134 h 800"/>
                <a:gd name="T14" fmla="*/ 806 w 1650"/>
                <a:gd name="T15" fmla="*/ 275 h 800"/>
                <a:gd name="T16" fmla="*/ 1056 w 1650"/>
                <a:gd name="T17" fmla="*/ 219 h 800"/>
                <a:gd name="T18" fmla="*/ 794 w 1650"/>
                <a:gd name="T19" fmla="*/ 330 h 800"/>
                <a:gd name="T20" fmla="*/ 401 w 1650"/>
                <a:gd name="T21" fmla="*/ 179 h 800"/>
                <a:gd name="T22" fmla="*/ 42 w 1650"/>
                <a:gd name="T23" fmla="*/ 342 h 800"/>
                <a:gd name="T24" fmla="*/ 189 w 1650"/>
                <a:gd name="T25" fmla="*/ 775 h 800"/>
                <a:gd name="T26" fmla="*/ 329 w 1650"/>
                <a:gd name="T27" fmla="*/ 553 h 800"/>
                <a:gd name="T28" fmla="*/ 271 w 1650"/>
                <a:gd name="T29" fmla="*/ 781 h 800"/>
                <a:gd name="T30" fmla="*/ 826 w 1650"/>
                <a:gd name="T31" fmla="*/ 799 h 800"/>
                <a:gd name="T32" fmla="*/ 1463 w 1650"/>
                <a:gd name="T33" fmla="*/ 775 h 800"/>
                <a:gd name="T34" fmla="*/ 1464 w 1650"/>
                <a:gd name="T35" fmla="*/ 774 h 800"/>
                <a:gd name="T36" fmla="*/ 1406 w 1650"/>
                <a:gd name="T37" fmla="*/ 553 h 800"/>
                <a:gd name="T38" fmla="*/ 1522 w 1650"/>
                <a:gd name="T39" fmla="*/ 697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50" h="800">
                  <a:moveTo>
                    <a:pt x="1522" y="697"/>
                  </a:moveTo>
                  <a:cubicBezTo>
                    <a:pt x="1635" y="516"/>
                    <a:pt x="1650" y="408"/>
                    <a:pt x="1611" y="342"/>
                  </a:cubicBezTo>
                  <a:cubicBezTo>
                    <a:pt x="1571" y="277"/>
                    <a:pt x="1294" y="184"/>
                    <a:pt x="1196" y="161"/>
                  </a:cubicBezTo>
                  <a:cubicBezTo>
                    <a:pt x="1155" y="151"/>
                    <a:pt x="1119" y="12"/>
                    <a:pt x="1100" y="7"/>
                  </a:cubicBezTo>
                  <a:cubicBezTo>
                    <a:pt x="1082" y="1"/>
                    <a:pt x="998" y="123"/>
                    <a:pt x="815" y="130"/>
                  </a:cubicBezTo>
                  <a:cubicBezTo>
                    <a:pt x="747" y="132"/>
                    <a:pt x="587" y="0"/>
                    <a:pt x="568" y="4"/>
                  </a:cubicBezTo>
                  <a:cubicBezTo>
                    <a:pt x="548" y="7"/>
                    <a:pt x="495" y="110"/>
                    <a:pt x="498" y="134"/>
                  </a:cubicBezTo>
                  <a:cubicBezTo>
                    <a:pt x="501" y="157"/>
                    <a:pt x="657" y="273"/>
                    <a:pt x="806" y="275"/>
                  </a:cubicBezTo>
                  <a:cubicBezTo>
                    <a:pt x="1017" y="279"/>
                    <a:pt x="1056" y="219"/>
                    <a:pt x="1056" y="219"/>
                  </a:cubicBezTo>
                  <a:cubicBezTo>
                    <a:pt x="1056" y="219"/>
                    <a:pt x="1010" y="327"/>
                    <a:pt x="794" y="330"/>
                  </a:cubicBezTo>
                  <a:cubicBezTo>
                    <a:pt x="573" y="333"/>
                    <a:pt x="425" y="183"/>
                    <a:pt x="401" y="179"/>
                  </a:cubicBezTo>
                  <a:cubicBezTo>
                    <a:pt x="377" y="174"/>
                    <a:pt x="83" y="279"/>
                    <a:pt x="42" y="342"/>
                  </a:cubicBezTo>
                  <a:cubicBezTo>
                    <a:pt x="0" y="406"/>
                    <a:pt x="9" y="570"/>
                    <a:pt x="189" y="775"/>
                  </a:cubicBezTo>
                  <a:cubicBezTo>
                    <a:pt x="208" y="657"/>
                    <a:pt x="306" y="566"/>
                    <a:pt x="329" y="553"/>
                  </a:cubicBezTo>
                  <a:cubicBezTo>
                    <a:pt x="299" y="610"/>
                    <a:pt x="272" y="716"/>
                    <a:pt x="271" y="781"/>
                  </a:cubicBezTo>
                  <a:cubicBezTo>
                    <a:pt x="523" y="799"/>
                    <a:pt x="740" y="800"/>
                    <a:pt x="826" y="799"/>
                  </a:cubicBezTo>
                  <a:cubicBezTo>
                    <a:pt x="922" y="800"/>
                    <a:pt x="1176" y="799"/>
                    <a:pt x="1463" y="775"/>
                  </a:cubicBezTo>
                  <a:cubicBezTo>
                    <a:pt x="1463" y="775"/>
                    <a:pt x="1463" y="774"/>
                    <a:pt x="1464" y="774"/>
                  </a:cubicBezTo>
                  <a:cubicBezTo>
                    <a:pt x="1454" y="709"/>
                    <a:pt x="1436" y="608"/>
                    <a:pt x="1406" y="553"/>
                  </a:cubicBezTo>
                  <a:cubicBezTo>
                    <a:pt x="1424" y="563"/>
                    <a:pt x="1485" y="619"/>
                    <a:pt x="1522" y="697"/>
                  </a:cubicBezTo>
                  <a:close/>
                </a:path>
              </a:pathLst>
            </a:custGeom>
            <a:solidFill>
              <a:schemeClr val="accent1"/>
            </a:solidFill>
            <a:ln>
              <a:solidFill>
                <a:schemeClr val="tx1"/>
              </a:solidFill>
              <a:headEnd type="none" w="med" len="med"/>
              <a:tailEnd type="none" w="med" len="med"/>
            </a:ln>
            <a:effectLst/>
            <a:ex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570402"/>
              <a:endParaRPr lang="en-US">
                <a:solidFill>
                  <a:schemeClr val="tx1"/>
                </a:solidFill>
                <a:latin typeface="Segoe UI Light" pitchFamily="34" charset="0"/>
                <a:ea typeface="ＭＳ Ｐゴシック" pitchFamily="-65" charset="-128"/>
              </a:endParaRPr>
            </a:p>
          </p:txBody>
        </p:sp>
        <p:sp>
          <p:nvSpPr>
            <p:cNvPr id="31" name="Man's Face"/>
            <p:cNvSpPr>
              <a:spLocks/>
            </p:cNvSpPr>
            <p:nvPr/>
          </p:nvSpPr>
          <p:spPr bwMode="auto">
            <a:xfrm>
              <a:off x="5679088" y="4646227"/>
              <a:ext cx="501030" cy="620542"/>
            </a:xfrm>
            <a:custGeom>
              <a:avLst/>
              <a:gdLst>
                <a:gd name="T0" fmla="*/ 114 w 957"/>
                <a:gd name="T1" fmla="*/ 612 h 1185"/>
                <a:gd name="T2" fmla="*/ 82 w 957"/>
                <a:gd name="T3" fmla="*/ 660 h 1185"/>
                <a:gd name="T4" fmla="*/ 164 w 957"/>
                <a:gd name="T5" fmla="*/ 831 h 1185"/>
                <a:gd name="T6" fmla="*/ 266 w 957"/>
                <a:gd name="T7" fmla="*/ 1049 h 1185"/>
                <a:gd name="T8" fmla="*/ 499 w 957"/>
                <a:gd name="T9" fmla="*/ 1185 h 1185"/>
                <a:gd name="T10" fmla="*/ 716 w 957"/>
                <a:gd name="T11" fmla="*/ 1076 h 1185"/>
                <a:gd name="T12" fmla="*/ 834 w 957"/>
                <a:gd name="T13" fmla="*/ 841 h 1185"/>
                <a:gd name="T14" fmla="*/ 862 w 957"/>
                <a:gd name="T15" fmla="*/ 824 h 1185"/>
                <a:gd name="T16" fmla="*/ 911 w 957"/>
                <a:gd name="T17" fmla="*/ 629 h 1185"/>
                <a:gd name="T18" fmla="*/ 865 w 957"/>
                <a:gd name="T19" fmla="*/ 596 h 1185"/>
                <a:gd name="T20" fmla="*/ 865 w 957"/>
                <a:gd name="T21" fmla="*/ 507 h 1185"/>
                <a:gd name="T22" fmla="*/ 499 w 957"/>
                <a:gd name="T23" fmla="*/ 306 h 1185"/>
                <a:gd name="T24" fmla="*/ 854 w 957"/>
                <a:gd name="T25" fmla="*/ 407 h 1185"/>
                <a:gd name="T26" fmla="*/ 897 w 957"/>
                <a:gd name="T27" fmla="*/ 446 h 1185"/>
                <a:gd name="T28" fmla="*/ 954 w 957"/>
                <a:gd name="T29" fmla="*/ 391 h 1185"/>
                <a:gd name="T30" fmla="*/ 775 w 957"/>
                <a:gd name="T31" fmla="*/ 169 h 1185"/>
                <a:gd name="T32" fmla="*/ 318 w 957"/>
                <a:gd name="T33" fmla="*/ 76 h 1185"/>
                <a:gd name="T34" fmla="*/ 46 w 957"/>
                <a:gd name="T35" fmla="*/ 437 h 1185"/>
                <a:gd name="T36" fmla="*/ 114 w 957"/>
                <a:gd name="T37" fmla="*/ 612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57" h="1185">
                  <a:moveTo>
                    <a:pt x="114" y="612"/>
                  </a:moveTo>
                  <a:cubicBezTo>
                    <a:pt x="114" y="612"/>
                    <a:pt x="69" y="611"/>
                    <a:pt x="82" y="660"/>
                  </a:cubicBezTo>
                  <a:cubicBezTo>
                    <a:pt x="98" y="718"/>
                    <a:pt x="122" y="828"/>
                    <a:pt x="164" y="831"/>
                  </a:cubicBezTo>
                  <a:cubicBezTo>
                    <a:pt x="167" y="940"/>
                    <a:pt x="253" y="1029"/>
                    <a:pt x="266" y="1049"/>
                  </a:cubicBezTo>
                  <a:cubicBezTo>
                    <a:pt x="278" y="1069"/>
                    <a:pt x="435" y="1185"/>
                    <a:pt x="499" y="1185"/>
                  </a:cubicBezTo>
                  <a:cubicBezTo>
                    <a:pt x="563" y="1185"/>
                    <a:pt x="670" y="1112"/>
                    <a:pt x="716" y="1076"/>
                  </a:cubicBezTo>
                  <a:cubicBezTo>
                    <a:pt x="763" y="1039"/>
                    <a:pt x="818" y="963"/>
                    <a:pt x="834" y="841"/>
                  </a:cubicBezTo>
                  <a:cubicBezTo>
                    <a:pt x="849" y="844"/>
                    <a:pt x="862" y="824"/>
                    <a:pt x="862" y="824"/>
                  </a:cubicBezTo>
                  <a:cubicBezTo>
                    <a:pt x="862" y="824"/>
                    <a:pt x="911" y="659"/>
                    <a:pt x="911" y="629"/>
                  </a:cubicBezTo>
                  <a:cubicBezTo>
                    <a:pt x="911" y="599"/>
                    <a:pt x="865" y="596"/>
                    <a:pt x="865" y="596"/>
                  </a:cubicBezTo>
                  <a:cubicBezTo>
                    <a:pt x="865" y="596"/>
                    <a:pt x="876" y="531"/>
                    <a:pt x="865" y="507"/>
                  </a:cubicBezTo>
                  <a:cubicBezTo>
                    <a:pt x="854" y="482"/>
                    <a:pt x="713" y="324"/>
                    <a:pt x="499" y="306"/>
                  </a:cubicBezTo>
                  <a:cubicBezTo>
                    <a:pt x="554" y="289"/>
                    <a:pt x="688" y="267"/>
                    <a:pt x="854" y="407"/>
                  </a:cubicBezTo>
                  <a:cubicBezTo>
                    <a:pt x="868" y="419"/>
                    <a:pt x="871" y="441"/>
                    <a:pt x="897" y="446"/>
                  </a:cubicBezTo>
                  <a:cubicBezTo>
                    <a:pt x="922" y="451"/>
                    <a:pt x="951" y="416"/>
                    <a:pt x="954" y="391"/>
                  </a:cubicBezTo>
                  <a:cubicBezTo>
                    <a:pt x="957" y="365"/>
                    <a:pt x="917" y="298"/>
                    <a:pt x="775" y="169"/>
                  </a:cubicBezTo>
                  <a:cubicBezTo>
                    <a:pt x="633" y="40"/>
                    <a:pt x="442" y="0"/>
                    <a:pt x="318" y="76"/>
                  </a:cubicBezTo>
                  <a:cubicBezTo>
                    <a:pt x="0" y="63"/>
                    <a:pt x="42" y="417"/>
                    <a:pt x="46" y="437"/>
                  </a:cubicBezTo>
                  <a:cubicBezTo>
                    <a:pt x="51" y="458"/>
                    <a:pt x="114" y="612"/>
                    <a:pt x="114" y="612"/>
                  </a:cubicBezTo>
                  <a:close/>
                </a:path>
              </a:pathLst>
            </a:cu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570402"/>
              <a:endParaRPr lang="en-US">
                <a:solidFill>
                  <a:schemeClr val="tx1"/>
                </a:solidFill>
                <a:latin typeface="Segoe UI Light" pitchFamily="34" charset="0"/>
                <a:ea typeface="ＭＳ Ｐゴシック" pitchFamily="-65" charset="-128"/>
              </a:endParaRPr>
            </a:p>
          </p:txBody>
        </p:sp>
        <p:sp>
          <p:nvSpPr>
            <p:cNvPr id="32" name="Woman's Body"/>
            <p:cNvSpPr>
              <a:spLocks/>
            </p:cNvSpPr>
            <p:nvPr/>
          </p:nvSpPr>
          <p:spPr bwMode="auto">
            <a:xfrm>
              <a:off x="6100513" y="4649696"/>
              <a:ext cx="554812" cy="887606"/>
            </a:xfrm>
            <a:custGeom>
              <a:avLst/>
              <a:gdLst>
                <a:gd name="T0" fmla="*/ 34 w 1060"/>
                <a:gd name="T1" fmla="*/ 1066 h 1695"/>
                <a:gd name="T2" fmla="*/ 93 w 1060"/>
                <a:gd name="T3" fmla="*/ 896 h 1695"/>
                <a:gd name="T4" fmla="*/ 96 w 1060"/>
                <a:gd name="T5" fmla="*/ 886 h 1695"/>
                <a:gd name="T6" fmla="*/ 120 w 1060"/>
                <a:gd name="T7" fmla="*/ 859 h 1695"/>
                <a:gd name="T8" fmla="*/ 125 w 1060"/>
                <a:gd name="T9" fmla="*/ 850 h 1695"/>
                <a:gd name="T10" fmla="*/ 128 w 1060"/>
                <a:gd name="T11" fmla="*/ 840 h 1695"/>
                <a:gd name="T12" fmla="*/ 180 w 1060"/>
                <a:gd name="T13" fmla="*/ 623 h 1695"/>
                <a:gd name="T14" fmla="*/ 115 w 1060"/>
                <a:gd name="T15" fmla="*/ 518 h 1695"/>
                <a:gd name="T16" fmla="*/ 228 w 1060"/>
                <a:gd name="T17" fmla="*/ 408 h 1695"/>
                <a:gd name="T18" fmla="*/ 3 w 1060"/>
                <a:gd name="T19" fmla="*/ 110 h 1695"/>
                <a:gd name="T20" fmla="*/ 183 w 1060"/>
                <a:gd name="T21" fmla="*/ 67 h 1695"/>
                <a:gd name="T22" fmla="*/ 583 w 1060"/>
                <a:gd name="T23" fmla="*/ 148 h 1695"/>
                <a:gd name="T24" fmla="*/ 740 w 1060"/>
                <a:gd name="T25" fmla="*/ 342 h 1695"/>
                <a:gd name="T26" fmla="*/ 689 w 1060"/>
                <a:gd name="T27" fmla="*/ 390 h 1695"/>
                <a:gd name="T28" fmla="*/ 648 w 1060"/>
                <a:gd name="T29" fmla="*/ 353 h 1695"/>
                <a:gd name="T30" fmla="*/ 341 w 1060"/>
                <a:gd name="T31" fmla="*/ 268 h 1695"/>
                <a:gd name="T32" fmla="*/ 661 w 1060"/>
                <a:gd name="T33" fmla="*/ 443 h 1695"/>
                <a:gd name="T34" fmla="*/ 661 w 1060"/>
                <a:gd name="T35" fmla="*/ 522 h 1695"/>
                <a:gd name="T36" fmla="*/ 702 w 1060"/>
                <a:gd name="T37" fmla="*/ 551 h 1695"/>
                <a:gd name="T38" fmla="*/ 659 w 1060"/>
                <a:gd name="T39" fmla="*/ 722 h 1695"/>
                <a:gd name="T40" fmla="*/ 634 w 1060"/>
                <a:gd name="T41" fmla="*/ 736 h 1695"/>
                <a:gd name="T42" fmla="*/ 531 w 1060"/>
                <a:gd name="T43" fmla="*/ 942 h 1695"/>
                <a:gd name="T44" fmla="*/ 523 w 1060"/>
                <a:gd name="T45" fmla="*/ 948 h 1695"/>
                <a:gd name="T46" fmla="*/ 589 w 1060"/>
                <a:gd name="T47" fmla="*/ 1022 h 1695"/>
                <a:gd name="T48" fmla="*/ 675 w 1060"/>
                <a:gd name="T49" fmla="*/ 1130 h 1695"/>
                <a:gd name="T50" fmla="*/ 1038 w 1060"/>
                <a:gd name="T51" fmla="*/ 1289 h 1695"/>
                <a:gd name="T52" fmla="*/ 960 w 1060"/>
                <a:gd name="T53" fmla="*/ 1599 h 1695"/>
                <a:gd name="T54" fmla="*/ 909 w 1060"/>
                <a:gd name="T55" fmla="*/ 1667 h 1695"/>
                <a:gd name="T56" fmla="*/ 909 w 1060"/>
                <a:gd name="T57" fmla="*/ 1668 h 1695"/>
                <a:gd name="T58" fmla="*/ 541 w 1060"/>
                <a:gd name="T59" fmla="*/ 1695 h 1695"/>
                <a:gd name="T60" fmla="*/ 561 w 1060"/>
                <a:gd name="T61" fmla="*/ 1427 h 1695"/>
                <a:gd name="T62" fmla="*/ 514 w 1060"/>
                <a:gd name="T63" fmla="*/ 1398 h 1695"/>
                <a:gd name="T64" fmla="*/ 123 w 1060"/>
                <a:gd name="T65" fmla="*/ 1213 h 1695"/>
                <a:gd name="T66" fmla="*/ 73 w 1060"/>
                <a:gd name="T67" fmla="*/ 1133 h 1695"/>
                <a:gd name="T68" fmla="*/ 34 w 1060"/>
                <a:gd name="T69" fmla="*/ 1066 h 1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0" h="1695">
                  <a:moveTo>
                    <a:pt x="34" y="1066"/>
                  </a:moveTo>
                  <a:cubicBezTo>
                    <a:pt x="35" y="1039"/>
                    <a:pt x="115" y="935"/>
                    <a:pt x="93" y="896"/>
                  </a:cubicBezTo>
                  <a:cubicBezTo>
                    <a:pt x="94" y="893"/>
                    <a:pt x="95" y="890"/>
                    <a:pt x="96" y="886"/>
                  </a:cubicBezTo>
                  <a:cubicBezTo>
                    <a:pt x="106" y="878"/>
                    <a:pt x="114" y="868"/>
                    <a:pt x="120" y="859"/>
                  </a:cubicBezTo>
                  <a:cubicBezTo>
                    <a:pt x="125" y="850"/>
                    <a:pt x="125" y="850"/>
                    <a:pt x="125" y="850"/>
                  </a:cubicBezTo>
                  <a:cubicBezTo>
                    <a:pt x="128" y="840"/>
                    <a:pt x="128" y="840"/>
                    <a:pt x="128" y="840"/>
                  </a:cubicBezTo>
                  <a:cubicBezTo>
                    <a:pt x="163" y="723"/>
                    <a:pt x="180" y="650"/>
                    <a:pt x="180" y="623"/>
                  </a:cubicBezTo>
                  <a:cubicBezTo>
                    <a:pt x="185" y="570"/>
                    <a:pt x="115" y="543"/>
                    <a:pt x="115" y="518"/>
                  </a:cubicBezTo>
                  <a:cubicBezTo>
                    <a:pt x="115" y="493"/>
                    <a:pt x="226" y="421"/>
                    <a:pt x="228" y="408"/>
                  </a:cubicBezTo>
                  <a:cubicBezTo>
                    <a:pt x="244" y="348"/>
                    <a:pt x="7" y="138"/>
                    <a:pt x="3" y="110"/>
                  </a:cubicBezTo>
                  <a:cubicBezTo>
                    <a:pt x="0" y="82"/>
                    <a:pt x="160" y="40"/>
                    <a:pt x="183" y="67"/>
                  </a:cubicBezTo>
                  <a:cubicBezTo>
                    <a:pt x="291" y="0"/>
                    <a:pt x="458" y="35"/>
                    <a:pt x="583" y="148"/>
                  </a:cubicBezTo>
                  <a:cubicBezTo>
                    <a:pt x="707" y="261"/>
                    <a:pt x="743" y="325"/>
                    <a:pt x="740" y="342"/>
                  </a:cubicBezTo>
                  <a:cubicBezTo>
                    <a:pt x="737" y="359"/>
                    <a:pt x="707" y="390"/>
                    <a:pt x="689" y="390"/>
                  </a:cubicBezTo>
                  <a:cubicBezTo>
                    <a:pt x="672" y="390"/>
                    <a:pt x="661" y="364"/>
                    <a:pt x="648" y="353"/>
                  </a:cubicBezTo>
                  <a:cubicBezTo>
                    <a:pt x="504" y="234"/>
                    <a:pt x="388" y="253"/>
                    <a:pt x="341" y="268"/>
                  </a:cubicBezTo>
                  <a:cubicBezTo>
                    <a:pt x="528" y="284"/>
                    <a:pt x="653" y="421"/>
                    <a:pt x="661" y="443"/>
                  </a:cubicBezTo>
                  <a:cubicBezTo>
                    <a:pt x="670" y="466"/>
                    <a:pt x="661" y="522"/>
                    <a:pt x="661" y="522"/>
                  </a:cubicBezTo>
                  <a:cubicBezTo>
                    <a:pt x="661" y="522"/>
                    <a:pt x="702" y="525"/>
                    <a:pt x="702" y="551"/>
                  </a:cubicBezTo>
                  <a:cubicBezTo>
                    <a:pt x="702" y="577"/>
                    <a:pt x="659" y="722"/>
                    <a:pt x="659" y="722"/>
                  </a:cubicBezTo>
                  <a:cubicBezTo>
                    <a:pt x="659" y="722"/>
                    <a:pt x="648" y="739"/>
                    <a:pt x="634" y="736"/>
                  </a:cubicBezTo>
                  <a:cubicBezTo>
                    <a:pt x="621" y="843"/>
                    <a:pt x="572" y="910"/>
                    <a:pt x="531" y="942"/>
                  </a:cubicBezTo>
                  <a:cubicBezTo>
                    <a:pt x="529" y="944"/>
                    <a:pt x="526" y="946"/>
                    <a:pt x="523" y="948"/>
                  </a:cubicBezTo>
                  <a:cubicBezTo>
                    <a:pt x="538" y="1019"/>
                    <a:pt x="589" y="1022"/>
                    <a:pt x="589" y="1022"/>
                  </a:cubicBezTo>
                  <a:cubicBezTo>
                    <a:pt x="610" y="1074"/>
                    <a:pt x="639" y="1121"/>
                    <a:pt x="675" y="1130"/>
                  </a:cubicBezTo>
                  <a:cubicBezTo>
                    <a:pt x="760" y="1150"/>
                    <a:pt x="1024" y="1252"/>
                    <a:pt x="1038" y="1289"/>
                  </a:cubicBezTo>
                  <a:cubicBezTo>
                    <a:pt x="1052" y="1326"/>
                    <a:pt x="1060" y="1441"/>
                    <a:pt x="960" y="1599"/>
                  </a:cubicBezTo>
                  <a:cubicBezTo>
                    <a:pt x="934" y="1645"/>
                    <a:pt x="909" y="1667"/>
                    <a:pt x="909" y="1667"/>
                  </a:cubicBezTo>
                  <a:cubicBezTo>
                    <a:pt x="909" y="1667"/>
                    <a:pt x="909" y="1667"/>
                    <a:pt x="909" y="1668"/>
                  </a:cubicBezTo>
                  <a:cubicBezTo>
                    <a:pt x="817" y="1675"/>
                    <a:pt x="620" y="1691"/>
                    <a:pt x="541" y="1695"/>
                  </a:cubicBezTo>
                  <a:cubicBezTo>
                    <a:pt x="541" y="1695"/>
                    <a:pt x="630" y="1516"/>
                    <a:pt x="561" y="1427"/>
                  </a:cubicBezTo>
                  <a:cubicBezTo>
                    <a:pt x="553" y="1417"/>
                    <a:pt x="514" y="1398"/>
                    <a:pt x="514" y="1398"/>
                  </a:cubicBezTo>
                  <a:cubicBezTo>
                    <a:pt x="481" y="1381"/>
                    <a:pt x="225" y="1237"/>
                    <a:pt x="123" y="1213"/>
                  </a:cubicBezTo>
                  <a:cubicBezTo>
                    <a:pt x="123" y="1213"/>
                    <a:pt x="102" y="1203"/>
                    <a:pt x="73" y="1133"/>
                  </a:cubicBezTo>
                  <a:cubicBezTo>
                    <a:pt x="73" y="1133"/>
                    <a:pt x="33" y="1093"/>
                    <a:pt x="34" y="1066"/>
                  </a:cubicBezTo>
                  <a:close/>
                </a:path>
              </a:pathLst>
            </a:custGeom>
            <a:solidFill>
              <a:schemeClr val="accent1"/>
            </a:solidFill>
            <a:ln>
              <a:solidFill>
                <a:schemeClr val="tx1"/>
              </a:solidFill>
              <a:headEnd type="none" w="med" len="med"/>
              <a:tailEnd type="none" w="med" len="med"/>
            </a:ln>
            <a:effectLst/>
            <a:ex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570402"/>
              <a:endParaRPr lang="en-US">
                <a:solidFill>
                  <a:schemeClr val="tx1"/>
                </a:solidFill>
                <a:latin typeface="Segoe UI Light" pitchFamily="34" charset="0"/>
                <a:ea typeface="ＭＳ Ｐゴシック" pitchFamily="-65" charset="-128"/>
              </a:endParaRPr>
            </a:p>
          </p:txBody>
        </p:sp>
        <p:sp>
          <p:nvSpPr>
            <p:cNvPr id="33" name="Woman's Hair"/>
            <p:cNvSpPr>
              <a:spLocks/>
            </p:cNvSpPr>
            <p:nvPr/>
          </p:nvSpPr>
          <p:spPr bwMode="auto">
            <a:xfrm>
              <a:off x="6409866" y="4848040"/>
              <a:ext cx="158583" cy="317396"/>
            </a:xfrm>
            <a:custGeom>
              <a:avLst/>
              <a:gdLst>
                <a:gd name="T0" fmla="*/ 3 w 303"/>
                <a:gd name="T1" fmla="*/ 572 h 606"/>
                <a:gd name="T2" fmla="*/ 84 w 303"/>
                <a:gd name="T3" fmla="*/ 400 h 606"/>
                <a:gd name="T4" fmla="*/ 105 w 303"/>
                <a:gd name="T5" fmla="*/ 376 h 606"/>
                <a:gd name="T6" fmla="*/ 109 w 303"/>
                <a:gd name="T7" fmla="*/ 369 h 606"/>
                <a:gd name="T8" fmla="*/ 112 w 303"/>
                <a:gd name="T9" fmla="*/ 360 h 606"/>
                <a:gd name="T10" fmla="*/ 157 w 303"/>
                <a:gd name="T11" fmla="*/ 172 h 606"/>
                <a:gd name="T12" fmla="*/ 120 w 303"/>
                <a:gd name="T13" fmla="*/ 99 h 606"/>
                <a:gd name="T14" fmla="*/ 122 w 303"/>
                <a:gd name="T15" fmla="*/ 41 h 606"/>
                <a:gd name="T16" fmla="*/ 160 w 303"/>
                <a:gd name="T17" fmla="*/ 4 h 606"/>
                <a:gd name="T18" fmla="*/ 189 w 303"/>
                <a:gd name="T19" fmla="*/ 588 h 606"/>
                <a:gd name="T20" fmla="*/ 3 w 303"/>
                <a:gd name="T21" fmla="*/ 572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3" h="606">
                  <a:moveTo>
                    <a:pt x="3" y="572"/>
                  </a:moveTo>
                  <a:cubicBezTo>
                    <a:pt x="0" y="554"/>
                    <a:pt x="67" y="482"/>
                    <a:pt x="84" y="400"/>
                  </a:cubicBezTo>
                  <a:cubicBezTo>
                    <a:pt x="93" y="393"/>
                    <a:pt x="99" y="384"/>
                    <a:pt x="105" y="376"/>
                  </a:cubicBezTo>
                  <a:cubicBezTo>
                    <a:pt x="109" y="369"/>
                    <a:pt x="109" y="369"/>
                    <a:pt x="109" y="369"/>
                  </a:cubicBezTo>
                  <a:cubicBezTo>
                    <a:pt x="112" y="360"/>
                    <a:pt x="112" y="360"/>
                    <a:pt x="112" y="360"/>
                  </a:cubicBezTo>
                  <a:cubicBezTo>
                    <a:pt x="142" y="259"/>
                    <a:pt x="157" y="195"/>
                    <a:pt x="157" y="172"/>
                  </a:cubicBezTo>
                  <a:cubicBezTo>
                    <a:pt x="159" y="127"/>
                    <a:pt x="125" y="120"/>
                    <a:pt x="120" y="99"/>
                  </a:cubicBezTo>
                  <a:cubicBezTo>
                    <a:pt x="114" y="79"/>
                    <a:pt x="118" y="62"/>
                    <a:pt x="122" y="41"/>
                  </a:cubicBezTo>
                  <a:cubicBezTo>
                    <a:pt x="127" y="20"/>
                    <a:pt x="150" y="0"/>
                    <a:pt x="160" y="4"/>
                  </a:cubicBezTo>
                  <a:cubicBezTo>
                    <a:pt x="170" y="7"/>
                    <a:pt x="303" y="534"/>
                    <a:pt x="189" y="588"/>
                  </a:cubicBezTo>
                  <a:cubicBezTo>
                    <a:pt x="150" y="606"/>
                    <a:pt x="6" y="591"/>
                    <a:pt x="3" y="572"/>
                  </a:cubicBezTo>
                  <a:close/>
                </a:path>
              </a:pathLst>
            </a:cu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570402"/>
              <a:endParaRPr lang="en-US">
                <a:solidFill>
                  <a:schemeClr val="tx1"/>
                </a:solidFill>
                <a:latin typeface="Segoe UI Light" pitchFamily="34" charset="0"/>
                <a:ea typeface="ＭＳ Ｐゴシック" pitchFamily="-65" charset="-128"/>
              </a:endParaRPr>
            </a:p>
          </p:txBody>
        </p:sp>
        <p:sp>
          <p:nvSpPr>
            <p:cNvPr id="34" name="Man's Body"/>
            <p:cNvSpPr>
              <a:spLocks/>
            </p:cNvSpPr>
            <p:nvPr/>
          </p:nvSpPr>
          <p:spPr bwMode="auto">
            <a:xfrm>
              <a:off x="7204800" y="5237581"/>
              <a:ext cx="863932" cy="418751"/>
            </a:xfrm>
            <a:custGeom>
              <a:avLst/>
              <a:gdLst>
                <a:gd name="T0" fmla="*/ 1522 w 1650"/>
                <a:gd name="T1" fmla="*/ 697 h 800"/>
                <a:gd name="T2" fmla="*/ 1611 w 1650"/>
                <a:gd name="T3" fmla="*/ 342 h 800"/>
                <a:gd name="T4" fmla="*/ 1196 w 1650"/>
                <a:gd name="T5" fmla="*/ 161 h 800"/>
                <a:gd name="T6" fmla="*/ 1100 w 1650"/>
                <a:gd name="T7" fmla="*/ 7 h 800"/>
                <a:gd name="T8" fmla="*/ 815 w 1650"/>
                <a:gd name="T9" fmla="*/ 130 h 800"/>
                <a:gd name="T10" fmla="*/ 568 w 1650"/>
                <a:gd name="T11" fmla="*/ 4 h 800"/>
                <a:gd name="T12" fmla="*/ 498 w 1650"/>
                <a:gd name="T13" fmla="*/ 134 h 800"/>
                <a:gd name="T14" fmla="*/ 806 w 1650"/>
                <a:gd name="T15" fmla="*/ 275 h 800"/>
                <a:gd name="T16" fmla="*/ 1056 w 1650"/>
                <a:gd name="T17" fmla="*/ 219 h 800"/>
                <a:gd name="T18" fmla="*/ 794 w 1650"/>
                <a:gd name="T19" fmla="*/ 330 h 800"/>
                <a:gd name="T20" fmla="*/ 401 w 1650"/>
                <a:gd name="T21" fmla="*/ 179 h 800"/>
                <a:gd name="T22" fmla="*/ 42 w 1650"/>
                <a:gd name="T23" fmla="*/ 342 h 800"/>
                <a:gd name="T24" fmla="*/ 189 w 1650"/>
                <a:gd name="T25" fmla="*/ 775 h 800"/>
                <a:gd name="T26" fmla="*/ 329 w 1650"/>
                <a:gd name="T27" fmla="*/ 553 h 800"/>
                <a:gd name="T28" fmla="*/ 271 w 1650"/>
                <a:gd name="T29" fmla="*/ 781 h 800"/>
                <a:gd name="T30" fmla="*/ 826 w 1650"/>
                <a:gd name="T31" fmla="*/ 799 h 800"/>
                <a:gd name="T32" fmla="*/ 1463 w 1650"/>
                <a:gd name="T33" fmla="*/ 775 h 800"/>
                <a:gd name="T34" fmla="*/ 1464 w 1650"/>
                <a:gd name="T35" fmla="*/ 774 h 800"/>
                <a:gd name="T36" fmla="*/ 1406 w 1650"/>
                <a:gd name="T37" fmla="*/ 553 h 800"/>
                <a:gd name="T38" fmla="*/ 1522 w 1650"/>
                <a:gd name="T39" fmla="*/ 697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50" h="800">
                  <a:moveTo>
                    <a:pt x="1522" y="697"/>
                  </a:moveTo>
                  <a:cubicBezTo>
                    <a:pt x="1635" y="516"/>
                    <a:pt x="1650" y="408"/>
                    <a:pt x="1611" y="342"/>
                  </a:cubicBezTo>
                  <a:cubicBezTo>
                    <a:pt x="1571" y="277"/>
                    <a:pt x="1294" y="184"/>
                    <a:pt x="1196" y="161"/>
                  </a:cubicBezTo>
                  <a:cubicBezTo>
                    <a:pt x="1155" y="151"/>
                    <a:pt x="1119" y="12"/>
                    <a:pt x="1100" y="7"/>
                  </a:cubicBezTo>
                  <a:cubicBezTo>
                    <a:pt x="1082" y="1"/>
                    <a:pt x="998" y="123"/>
                    <a:pt x="815" y="130"/>
                  </a:cubicBezTo>
                  <a:cubicBezTo>
                    <a:pt x="747" y="132"/>
                    <a:pt x="587" y="0"/>
                    <a:pt x="568" y="4"/>
                  </a:cubicBezTo>
                  <a:cubicBezTo>
                    <a:pt x="548" y="7"/>
                    <a:pt x="495" y="110"/>
                    <a:pt x="498" y="134"/>
                  </a:cubicBezTo>
                  <a:cubicBezTo>
                    <a:pt x="501" y="157"/>
                    <a:pt x="657" y="273"/>
                    <a:pt x="806" y="275"/>
                  </a:cubicBezTo>
                  <a:cubicBezTo>
                    <a:pt x="1017" y="279"/>
                    <a:pt x="1056" y="219"/>
                    <a:pt x="1056" y="219"/>
                  </a:cubicBezTo>
                  <a:cubicBezTo>
                    <a:pt x="1056" y="219"/>
                    <a:pt x="1010" y="327"/>
                    <a:pt x="794" y="330"/>
                  </a:cubicBezTo>
                  <a:cubicBezTo>
                    <a:pt x="573" y="333"/>
                    <a:pt x="425" y="183"/>
                    <a:pt x="401" y="179"/>
                  </a:cubicBezTo>
                  <a:cubicBezTo>
                    <a:pt x="377" y="174"/>
                    <a:pt x="83" y="279"/>
                    <a:pt x="42" y="342"/>
                  </a:cubicBezTo>
                  <a:cubicBezTo>
                    <a:pt x="0" y="406"/>
                    <a:pt x="9" y="570"/>
                    <a:pt x="189" y="775"/>
                  </a:cubicBezTo>
                  <a:cubicBezTo>
                    <a:pt x="208" y="657"/>
                    <a:pt x="306" y="566"/>
                    <a:pt x="329" y="553"/>
                  </a:cubicBezTo>
                  <a:cubicBezTo>
                    <a:pt x="299" y="610"/>
                    <a:pt x="272" y="716"/>
                    <a:pt x="271" y="781"/>
                  </a:cubicBezTo>
                  <a:cubicBezTo>
                    <a:pt x="523" y="799"/>
                    <a:pt x="740" y="800"/>
                    <a:pt x="826" y="799"/>
                  </a:cubicBezTo>
                  <a:cubicBezTo>
                    <a:pt x="922" y="800"/>
                    <a:pt x="1176" y="799"/>
                    <a:pt x="1463" y="775"/>
                  </a:cubicBezTo>
                  <a:cubicBezTo>
                    <a:pt x="1463" y="775"/>
                    <a:pt x="1463" y="774"/>
                    <a:pt x="1464" y="774"/>
                  </a:cubicBezTo>
                  <a:cubicBezTo>
                    <a:pt x="1454" y="709"/>
                    <a:pt x="1436" y="608"/>
                    <a:pt x="1406" y="553"/>
                  </a:cubicBezTo>
                  <a:cubicBezTo>
                    <a:pt x="1424" y="563"/>
                    <a:pt x="1485" y="619"/>
                    <a:pt x="1522" y="697"/>
                  </a:cubicBezTo>
                  <a:close/>
                </a:path>
              </a:pathLst>
            </a:custGeom>
            <a:solidFill>
              <a:schemeClr val="accent1"/>
            </a:solidFill>
            <a:ln>
              <a:solidFill>
                <a:schemeClr val="tx1"/>
              </a:solidFill>
              <a:headEnd type="none" w="med" len="med"/>
              <a:tailEnd type="none" w="med" len="med"/>
            </a:ln>
            <a:effectLst/>
            <a:ex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570402"/>
              <a:endParaRPr lang="en-US">
                <a:solidFill>
                  <a:schemeClr val="tx1"/>
                </a:solidFill>
                <a:latin typeface="Segoe UI Light" pitchFamily="34" charset="0"/>
                <a:ea typeface="ＭＳ Ｐゴシック" pitchFamily="-65" charset="-128"/>
              </a:endParaRPr>
            </a:p>
          </p:txBody>
        </p:sp>
        <p:sp>
          <p:nvSpPr>
            <p:cNvPr id="35" name="Man's Face"/>
            <p:cNvSpPr>
              <a:spLocks/>
            </p:cNvSpPr>
            <p:nvPr/>
          </p:nvSpPr>
          <p:spPr bwMode="auto">
            <a:xfrm>
              <a:off x="7370278" y="4646227"/>
              <a:ext cx="501030" cy="620542"/>
            </a:xfrm>
            <a:custGeom>
              <a:avLst/>
              <a:gdLst>
                <a:gd name="T0" fmla="*/ 114 w 957"/>
                <a:gd name="T1" fmla="*/ 612 h 1185"/>
                <a:gd name="T2" fmla="*/ 82 w 957"/>
                <a:gd name="T3" fmla="*/ 660 h 1185"/>
                <a:gd name="T4" fmla="*/ 164 w 957"/>
                <a:gd name="T5" fmla="*/ 831 h 1185"/>
                <a:gd name="T6" fmla="*/ 266 w 957"/>
                <a:gd name="T7" fmla="*/ 1049 h 1185"/>
                <a:gd name="T8" fmla="*/ 499 w 957"/>
                <a:gd name="T9" fmla="*/ 1185 h 1185"/>
                <a:gd name="T10" fmla="*/ 716 w 957"/>
                <a:gd name="T11" fmla="*/ 1076 h 1185"/>
                <a:gd name="T12" fmla="*/ 834 w 957"/>
                <a:gd name="T13" fmla="*/ 841 h 1185"/>
                <a:gd name="T14" fmla="*/ 862 w 957"/>
                <a:gd name="T15" fmla="*/ 824 h 1185"/>
                <a:gd name="T16" fmla="*/ 911 w 957"/>
                <a:gd name="T17" fmla="*/ 629 h 1185"/>
                <a:gd name="T18" fmla="*/ 865 w 957"/>
                <a:gd name="T19" fmla="*/ 596 h 1185"/>
                <a:gd name="T20" fmla="*/ 865 w 957"/>
                <a:gd name="T21" fmla="*/ 507 h 1185"/>
                <a:gd name="T22" fmla="*/ 499 w 957"/>
                <a:gd name="T23" fmla="*/ 306 h 1185"/>
                <a:gd name="T24" fmla="*/ 854 w 957"/>
                <a:gd name="T25" fmla="*/ 407 h 1185"/>
                <a:gd name="T26" fmla="*/ 897 w 957"/>
                <a:gd name="T27" fmla="*/ 446 h 1185"/>
                <a:gd name="T28" fmla="*/ 954 w 957"/>
                <a:gd name="T29" fmla="*/ 391 h 1185"/>
                <a:gd name="T30" fmla="*/ 775 w 957"/>
                <a:gd name="T31" fmla="*/ 169 h 1185"/>
                <a:gd name="T32" fmla="*/ 318 w 957"/>
                <a:gd name="T33" fmla="*/ 76 h 1185"/>
                <a:gd name="T34" fmla="*/ 46 w 957"/>
                <a:gd name="T35" fmla="*/ 437 h 1185"/>
                <a:gd name="T36" fmla="*/ 114 w 957"/>
                <a:gd name="T37" fmla="*/ 612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57" h="1185">
                  <a:moveTo>
                    <a:pt x="114" y="612"/>
                  </a:moveTo>
                  <a:cubicBezTo>
                    <a:pt x="114" y="612"/>
                    <a:pt x="69" y="611"/>
                    <a:pt x="82" y="660"/>
                  </a:cubicBezTo>
                  <a:cubicBezTo>
                    <a:pt x="98" y="718"/>
                    <a:pt x="122" y="828"/>
                    <a:pt x="164" y="831"/>
                  </a:cubicBezTo>
                  <a:cubicBezTo>
                    <a:pt x="167" y="940"/>
                    <a:pt x="253" y="1029"/>
                    <a:pt x="266" y="1049"/>
                  </a:cubicBezTo>
                  <a:cubicBezTo>
                    <a:pt x="278" y="1069"/>
                    <a:pt x="435" y="1185"/>
                    <a:pt x="499" y="1185"/>
                  </a:cubicBezTo>
                  <a:cubicBezTo>
                    <a:pt x="563" y="1185"/>
                    <a:pt x="670" y="1112"/>
                    <a:pt x="716" y="1076"/>
                  </a:cubicBezTo>
                  <a:cubicBezTo>
                    <a:pt x="763" y="1039"/>
                    <a:pt x="818" y="963"/>
                    <a:pt x="834" y="841"/>
                  </a:cubicBezTo>
                  <a:cubicBezTo>
                    <a:pt x="849" y="844"/>
                    <a:pt x="862" y="824"/>
                    <a:pt x="862" y="824"/>
                  </a:cubicBezTo>
                  <a:cubicBezTo>
                    <a:pt x="862" y="824"/>
                    <a:pt x="911" y="659"/>
                    <a:pt x="911" y="629"/>
                  </a:cubicBezTo>
                  <a:cubicBezTo>
                    <a:pt x="911" y="599"/>
                    <a:pt x="865" y="596"/>
                    <a:pt x="865" y="596"/>
                  </a:cubicBezTo>
                  <a:cubicBezTo>
                    <a:pt x="865" y="596"/>
                    <a:pt x="876" y="531"/>
                    <a:pt x="865" y="507"/>
                  </a:cubicBezTo>
                  <a:cubicBezTo>
                    <a:pt x="854" y="482"/>
                    <a:pt x="713" y="324"/>
                    <a:pt x="499" y="306"/>
                  </a:cubicBezTo>
                  <a:cubicBezTo>
                    <a:pt x="554" y="289"/>
                    <a:pt x="688" y="267"/>
                    <a:pt x="854" y="407"/>
                  </a:cubicBezTo>
                  <a:cubicBezTo>
                    <a:pt x="868" y="419"/>
                    <a:pt x="871" y="441"/>
                    <a:pt x="897" y="446"/>
                  </a:cubicBezTo>
                  <a:cubicBezTo>
                    <a:pt x="922" y="451"/>
                    <a:pt x="951" y="416"/>
                    <a:pt x="954" y="391"/>
                  </a:cubicBezTo>
                  <a:cubicBezTo>
                    <a:pt x="957" y="365"/>
                    <a:pt x="917" y="298"/>
                    <a:pt x="775" y="169"/>
                  </a:cubicBezTo>
                  <a:cubicBezTo>
                    <a:pt x="633" y="40"/>
                    <a:pt x="442" y="0"/>
                    <a:pt x="318" y="76"/>
                  </a:cubicBezTo>
                  <a:cubicBezTo>
                    <a:pt x="0" y="63"/>
                    <a:pt x="42" y="417"/>
                    <a:pt x="46" y="437"/>
                  </a:cubicBezTo>
                  <a:cubicBezTo>
                    <a:pt x="51" y="458"/>
                    <a:pt x="114" y="612"/>
                    <a:pt x="114" y="612"/>
                  </a:cubicBezTo>
                  <a:close/>
                </a:path>
              </a:pathLst>
            </a:cu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570402"/>
              <a:endParaRPr lang="en-US">
                <a:solidFill>
                  <a:schemeClr val="tx1"/>
                </a:solidFill>
                <a:latin typeface="Segoe UI Light" pitchFamily="34" charset="0"/>
                <a:ea typeface="ＭＳ Ｐゴシック" pitchFamily="-65" charset="-128"/>
              </a:endParaRPr>
            </a:p>
          </p:txBody>
        </p:sp>
      </p:grpSp>
      <p:grpSp>
        <p:nvGrpSpPr>
          <p:cNvPr id="36" name="Group 35"/>
          <p:cNvGrpSpPr/>
          <p:nvPr/>
        </p:nvGrpSpPr>
        <p:grpSpPr>
          <a:xfrm>
            <a:off x="3109218" y="2650744"/>
            <a:ext cx="539958" cy="631316"/>
            <a:chOff x="5530549" y="4226908"/>
            <a:chExt cx="863932" cy="1010105"/>
          </a:xfrm>
        </p:grpSpPr>
        <p:sp>
          <p:nvSpPr>
            <p:cNvPr id="37" name="Man's Body"/>
            <p:cNvSpPr>
              <a:spLocks/>
            </p:cNvSpPr>
            <p:nvPr/>
          </p:nvSpPr>
          <p:spPr bwMode="auto">
            <a:xfrm>
              <a:off x="5530549" y="4818262"/>
              <a:ext cx="863932" cy="418751"/>
            </a:xfrm>
            <a:custGeom>
              <a:avLst/>
              <a:gdLst>
                <a:gd name="T0" fmla="*/ 1522 w 1650"/>
                <a:gd name="T1" fmla="*/ 697 h 800"/>
                <a:gd name="T2" fmla="*/ 1611 w 1650"/>
                <a:gd name="T3" fmla="*/ 342 h 800"/>
                <a:gd name="T4" fmla="*/ 1196 w 1650"/>
                <a:gd name="T5" fmla="*/ 161 h 800"/>
                <a:gd name="T6" fmla="*/ 1100 w 1650"/>
                <a:gd name="T7" fmla="*/ 7 h 800"/>
                <a:gd name="T8" fmla="*/ 815 w 1650"/>
                <a:gd name="T9" fmla="*/ 130 h 800"/>
                <a:gd name="T10" fmla="*/ 568 w 1650"/>
                <a:gd name="T11" fmla="*/ 4 h 800"/>
                <a:gd name="T12" fmla="*/ 498 w 1650"/>
                <a:gd name="T13" fmla="*/ 134 h 800"/>
                <a:gd name="T14" fmla="*/ 806 w 1650"/>
                <a:gd name="T15" fmla="*/ 275 h 800"/>
                <a:gd name="T16" fmla="*/ 1056 w 1650"/>
                <a:gd name="T17" fmla="*/ 219 h 800"/>
                <a:gd name="T18" fmla="*/ 794 w 1650"/>
                <a:gd name="T19" fmla="*/ 330 h 800"/>
                <a:gd name="T20" fmla="*/ 401 w 1650"/>
                <a:gd name="T21" fmla="*/ 179 h 800"/>
                <a:gd name="T22" fmla="*/ 42 w 1650"/>
                <a:gd name="T23" fmla="*/ 342 h 800"/>
                <a:gd name="T24" fmla="*/ 189 w 1650"/>
                <a:gd name="T25" fmla="*/ 775 h 800"/>
                <a:gd name="T26" fmla="*/ 329 w 1650"/>
                <a:gd name="T27" fmla="*/ 553 h 800"/>
                <a:gd name="T28" fmla="*/ 271 w 1650"/>
                <a:gd name="T29" fmla="*/ 781 h 800"/>
                <a:gd name="T30" fmla="*/ 826 w 1650"/>
                <a:gd name="T31" fmla="*/ 799 h 800"/>
                <a:gd name="T32" fmla="*/ 1463 w 1650"/>
                <a:gd name="T33" fmla="*/ 775 h 800"/>
                <a:gd name="T34" fmla="*/ 1464 w 1650"/>
                <a:gd name="T35" fmla="*/ 774 h 800"/>
                <a:gd name="T36" fmla="*/ 1406 w 1650"/>
                <a:gd name="T37" fmla="*/ 553 h 800"/>
                <a:gd name="T38" fmla="*/ 1522 w 1650"/>
                <a:gd name="T39" fmla="*/ 697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50" h="800">
                  <a:moveTo>
                    <a:pt x="1522" y="697"/>
                  </a:moveTo>
                  <a:cubicBezTo>
                    <a:pt x="1635" y="516"/>
                    <a:pt x="1650" y="408"/>
                    <a:pt x="1611" y="342"/>
                  </a:cubicBezTo>
                  <a:cubicBezTo>
                    <a:pt x="1571" y="277"/>
                    <a:pt x="1294" y="184"/>
                    <a:pt x="1196" y="161"/>
                  </a:cubicBezTo>
                  <a:cubicBezTo>
                    <a:pt x="1155" y="151"/>
                    <a:pt x="1119" y="12"/>
                    <a:pt x="1100" y="7"/>
                  </a:cubicBezTo>
                  <a:cubicBezTo>
                    <a:pt x="1082" y="1"/>
                    <a:pt x="998" y="123"/>
                    <a:pt x="815" y="130"/>
                  </a:cubicBezTo>
                  <a:cubicBezTo>
                    <a:pt x="747" y="132"/>
                    <a:pt x="587" y="0"/>
                    <a:pt x="568" y="4"/>
                  </a:cubicBezTo>
                  <a:cubicBezTo>
                    <a:pt x="548" y="7"/>
                    <a:pt x="495" y="110"/>
                    <a:pt x="498" y="134"/>
                  </a:cubicBezTo>
                  <a:cubicBezTo>
                    <a:pt x="501" y="157"/>
                    <a:pt x="657" y="273"/>
                    <a:pt x="806" y="275"/>
                  </a:cubicBezTo>
                  <a:cubicBezTo>
                    <a:pt x="1017" y="279"/>
                    <a:pt x="1056" y="219"/>
                    <a:pt x="1056" y="219"/>
                  </a:cubicBezTo>
                  <a:cubicBezTo>
                    <a:pt x="1056" y="219"/>
                    <a:pt x="1010" y="327"/>
                    <a:pt x="794" y="330"/>
                  </a:cubicBezTo>
                  <a:cubicBezTo>
                    <a:pt x="573" y="333"/>
                    <a:pt x="425" y="183"/>
                    <a:pt x="401" y="179"/>
                  </a:cubicBezTo>
                  <a:cubicBezTo>
                    <a:pt x="377" y="174"/>
                    <a:pt x="83" y="279"/>
                    <a:pt x="42" y="342"/>
                  </a:cubicBezTo>
                  <a:cubicBezTo>
                    <a:pt x="0" y="406"/>
                    <a:pt x="9" y="570"/>
                    <a:pt x="189" y="775"/>
                  </a:cubicBezTo>
                  <a:cubicBezTo>
                    <a:pt x="208" y="657"/>
                    <a:pt x="306" y="566"/>
                    <a:pt x="329" y="553"/>
                  </a:cubicBezTo>
                  <a:cubicBezTo>
                    <a:pt x="299" y="610"/>
                    <a:pt x="272" y="716"/>
                    <a:pt x="271" y="781"/>
                  </a:cubicBezTo>
                  <a:cubicBezTo>
                    <a:pt x="523" y="799"/>
                    <a:pt x="740" y="800"/>
                    <a:pt x="826" y="799"/>
                  </a:cubicBezTo>
                  <a:cubicBezTo>
                    <a:pt x="922" y="800"/>
                    <a:pt x="1176" y="799"/>
                    <a:pt x="1463" y="775"/>
                  </a:cubicBezTo>
                  <a:cubicBezTo>
                    <a:pt x="1463" y="775"/>
                    <a:pt x="1463" y="774"/>
                    <a:pt x="1464" y="774"/>
                  </a:cubicBezTo>
                  <a:cubicBezTo>
                    <a:pt x="1454" y="709"/>
                    <a:pt x="1436" y="608"/>
                    <a:pt x="1406" y="553"/>
                  </a:cubicBezTo>
                  <a:cubicBezTo>
                    <a:pt x="1424" y="563"/>
                    <a:pt x="1485" y="619"/>
                    <a:pt x="1522" y="697"/>
                  </a:cubicBezTo>
                  <a:close/>
                </a:path>
              </a:pathLst>
            </a:custGeom>
            <a:solidFill>
              <a:schemeClr val="accent1"/>
            </a:solidFill>
            <a:ln>
              <a:solidFill>
                <a:schemeClr val="tx1"/>
              </a:solidFill>
              <a:headEnd type="none" w="med" len="med"/>
              <a:tailEnd type="none" w="med" len="med"/>
            </a:ln>
            <a:effectLst/>
            <a:ex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570402"/>
              <a:endParaRPr lang="en-US">
                <a:solidFill>
                  <a:schemeClr val="tx1"/>
                </a:solidFill>
                <a:latin typeface="Segoe UI Light" pitchFamily="34" charset="0"/>
                <a:ea typeface="ＭＳ Ｐゴシック" pitchFamily="-65" charset="-128"/>
              </a:endParaRPr>
            </a:p>
          </p:txBody>
        </p:sp>
        <p:sp>
          <p:nvSpPr>
            <p:cNvPr id="38" name="Man's Face"/>
            <p:cNvSpPr>
              <a:spLocks/>
            </p:cNvSpPr>
            <p:nvPr/>
          </p:nvSpPr>
          <p:spPr bwMode="auto">
            <a:xfrm>
              <a:off x="5696027" y="4226908"/>
              <a:ext cx="501030" cy="620542"/>
            </a:xfrm>
            <a:custGeom>
              <a:avLst/>
              <a:gdLst>
                <a:gd name="T0" fmla="*/ 114 w 957"/>
                <a:gd name="T1" fmla="*/ 612 h 1185"/>
                <a:gd name="T2" fmla="*/ 82 w 957"/>
                <a:gd name="T3" fmla="*/ 660 h 1185"/>
                <a:gd name="T4" fmla="*/ 164 w 957"/>
                <a:gd name="T5" fmla="*/ 831 h 1185"/>
                <a:gd name="T6" fmla="*/ 266 w 957"/>
                <a:gd name="T7" fmla="*/ 1049 h 1185"/>
                <a:gd name="T8" fmla="*/ 499 w 957"/>
                <a:gd name="T9" fmla="*/ 1185 h 1185"/>
                <a:gd name="T10" fmla="*/ 716 w 957"/>
                <a:gd name="T11" fmla="*/ 1076 h 1185"/>
                <a:gd name="T12" fmla="*/ 834 w 957"/>
                <a:gd name="T13" fmla="*/ 841 h 1185"/>
                <a:gd name="T14" fmla="*/ 862 w 957"/>
                <a:gd name="T15" fmla="*/ 824 h 1185"/>
                <a:gd name="T16" fmla="*/ 911 w 957"/>
                <a:gd name="T17" fmla="*/ 629 h 1185"/>
                <a:gd name="T18" fmla="*/ 865 w 957"/>
                <a:gd name="T19" fmla="*/ 596 h 1185"/>
                <a:gd name="T20" fmla="*/ 865 w 957"/>
                <a:gd name="T21" fmla="*/ 507 h 1185"/>
                <a:gd name="T22" fmla="*/ 499 w 957"/>
                <a:gd name="T23" fmla="*/ 306 h 1185"/>
                <a:gd name="T24" fmla="*/ 854 w 957"/>
                <a:gd name="T25" fmla="*/ 407 h 1185"/>
                <a:gd name="T26" fmla="*/ 897 w 957"/>
                <a:gd name="T27" fmla="*/ 446 h 1185"/>
                <a:gd name="T28" fmla="*/ 954 w 957"/>
                <a:gd name="T29" fmla="*/ 391 h 1185"/>
                <a:gd name="T30" fmla="*/ 775 w 957"/>
                <a:gd name="T31" fmla="*/ 169 h 1185"/>
                <a:gd name="T32" fmla="*/ 318 w 957"/>
                <a:gd name="T33" fmla="*/ 76 h 1185"/>
                <a:gd name="T34" fmla="*/ 46 w 957"/>
                <a:gd name="T35" fmla="*/ 437 h 1185"/>
                <a:gd name="T36" fmla="*/ 114 w 957"/>
                <a:gd name="T37" fmla="*/ 612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57" h="1185">
                  <a:moveTo>
                    <a:pt x="114" y="612"/>
                  </a:moveTo>
                  <a:cubicBezTo>
                    <a:pt x="114" y="612"/>
                    <a:pt x="69" y="611"/>
                    <a:pt x="82" y="660"/>
                  </a:cubicBezTo>
                  <a:cubicBezTo>
                    <a:pt x="98" y="718"/>
                    <a:pt x="122" y="828"/>
                    <a:pt x="164" y="831"/>
                  </a:cubicBezTo>
                  <a:cubicBezTo>
                    <a:pt x="167" y="940"/>
                    <a:pt x="253" y="1029"/>
                    <a:pt x="266" y="1049"/>
                  </a:cubicBezTo>
                  <a:cubicBezTo>
                    <a:pt x="278" y="1069"/>
                    <a:pt x="435" y="1185"/>
                    <a:pt x="499" y="1185"/>
                  </a:cubicBezTo>
                  <a:cubicBezTo>
                    <a:pt x="563" y="1185"/>
                    <a:pt x="670" y="1112"/>
                    <a:pt x="716" y="1076"/>
                  </a:cubicBezTo>
                  <a:cubicBezTo>
                    <a:pt x="763" y="1039"/>
                    <a:pt x="818" y="963"/>
                    <a:pt x="834" y="841"/>
                  </a:cubicBezTo>
                  <a:cubicBezTo>
                    <a:pt x="849" y="844"/>
                    <a:pt x="862" y="824"/>
                    <a:pt x="862" y="824"/>
                  </a:cubicBezTo>
                  <a:cubicBezTo>
                    <a:pt x="862" y="824"/>
                    <a:pt x="911" y="659"/>
                    <a:pt x="911" y="629"/>
                  </a:cubicBezTo>
                  <a:cubicBezTo>
                    <a:pt x="911" y="599"/>
                    <a:pt x="865" y="596"/>
                    <a:pt x="865" y="596"/>
                  </a:cubicBezTo>
                  <a:cubicBezTo>
                    <a:pt x="865" y="596"/>
                    <a:pt x="876" y="531"/>
                    <a:pt x="865" y="507"/>
                  </a:cubicBezTo>
                  <a:cubicBezTo>
                    <a:pt x="854" y="482"/>
                    <a:pt x="713" y="324"/>
                    <a:pt x="499" y="306"/>
                  </a:cubicBezTo>
                  <a:cubicBezTo>
                    <a:pt x="554" y="289"/>
                    <a:pt x="688" y="267"/>
                    <a:pt x="854" y="407"/>
                  </a:cubicBezTo>
                  <a:cubicBezTo>
                    <a:pt x="868" y="419"/>
                    <a:pt x="871" y="441"/>
                    <a:pt x="897" y="446"/>
                  </a:cubicBezTo>
                  <a:cubicBezTo>
                    <a:pt x="922" y="451"/>
                    <a:pt x="951" y="416"/>
                    <a:pt x="954" y="391"/>
                  </a:cubicBezTo>
                  <a:cubicBezTo>
                    <a:pt x="957" y="365"/>
                    <a:pt x="917" y="298"/>
                    <a:pt x="775" y="169"/>
                  </a:cubicBezTo>
                  <a:cubicBezTo>
                    <a:pt x="633" y="40"/>
                    <a:pt x="442" y="0"/>
                    <a:pt x="318" y="76"/>
                  </a:cubicBezTo>
                  <a:cubicBezTo>
                    <a:pt x="0" y="63"/>
                    <a:pt x="42" y="417"/>
                    <a:pt x="46" y="437"/>
                  </a:cubicBezTo>
                  <a:cubicBezTo>
                    <a:pt x="51" y="458"/>
                    <a:pt x="114" y="612"/>
                    <a:pt x="114" y="612"/>
                  </a:cubicBezTo>
                  <a:close/>
                </a:path>
              </a:pathLst>
            </a:cu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570402"/>
              <a:endParaRPr lang="en-US">
                <a:solidFill>
                  <a:schemeClr val="tx1"/>
                </a:solidFill>
                <a:latin typeface="Segoe UI Light" pitchFamily="34" charset="0"/>
                <a:ea typeface="ＭＳ Ｐゴシック" pitchFamily="-65" charset="-128"/>
              </a:endParaRPr>
            </a:p>
          </p:txBody>
        </p:sp>
      </p:grpSp>
      <p:grpSp>
        <p:nvGrpSpPr>
          <p:cNvPr id="39" name="Group 38"/>
          <p:cNvGrpSpPr/>
          <p:nvPr/>
        </p:nvGrpSpPr>
        <p:grpSpPr>
          <a:xfrm>
            <a:off x="947429" y="2650744"/>
            <a:ext cx="713572" cy="631316"/>
            <a:chOff x="1108006" y="4142581"/>
            <a:chExt cx="1141715" cy="1010105"/>
          </a:xfrm>
        </p:grpSpPr>
        <p:sp>
          <p:nvSpPr>
            <p:cNvPr id="40" name="Man's Body"/>
            <p:cNvSpPr>
              <a:spLocks/>
            </p:cNvSpPr>
            <p:nvPr/>
          </p:nvSpPr>
          <p:spPr bwMode="auto">
            <a:xfrm>
              <a:off x="1108006" y="4733935"/>
              <a:ext cx="863932" cy="418751"/>
            </a:xfrm>
            <a:custGeom>
              <a:avLst/>
              <a:gdLst>
                <a:gd name="T0" fmla="*/ 1522 w 1650"/>
                <a:gd name="T1" fmla="*/ 697 h 800"/>
                <a:gd name="T2" fmla="*/ 1611 w 1650"/>
                <a:gd name="T3" fmla="*/ 342 h 800"/>
                <a:gd name="T4" fmla="*/ 1196 w 1650"/>
                <a:gd name="T5" fmla="*/ 161 h 800"/>
                <a:gd name="T6" fmla="*/ 1100 w 1650"/>
                <a:gd name="T7" fmla="*/ 7 h 800"/>
                <a:gd name="T8" fmla="*/ 815 w 1650"/>
                <a:gd name="T9" fmla="*/ 130 h 800"/>
                <a:gd name="T10" fmla="*/ 568 w 1650"/>
                <a:gd name="T11" fmla="*/ 4 h 800"/>
                <a:gd name="T12" fmla="*/ 498 w 1650"/>
                <a:gd name="T13" fmla="*/ 134 h 800"/>
                <a:gd name="T14" fmla="*/ 806 w 1650"/>
                <a:gd name="T15" fmla="*/ 275 h 800"/>
                <a:gd name="T16" fmla="*/ 1056 w 1650"/>
                <a:gd name="T17" fmla="*/ 219 h 800"/>
                <a:gd name="T18" fmla="*/ 794 w 1650"/>
                <a:gd name="T19" fmla="*/ 330 h 800"/>
                <a:gd name="T20" fmla="*/ 401 w 1650"/>
                <a:gd name="T21" fmla="*/ 179 h 800"/>
                <a:gd name="T22" fmla="*/ 42 w 1650"/>
                <a:gd name="T23" fmla="*/ 342 h 800"/>
                <a:gd name="T24" fmla="*/ 189 w 1650"/>
                <a:gd name="T25" fmla="*/ 775 h 800"/>
                <a:gd name="T26" fmla="*/ 329 w 1650"/>
                <a:gd name="T27" fmla="*/ 553 h 800"/>
                <a:gd name="T28" fmla="*/ 271 w 1650"/>
                <a:gd name="T29" fmla="*/ 781 h 800"/>
                <a:gd name="T30" fmla="*/ 826 w 1650"/>
                <a:gd name="T31" fmla="*/ 799 h 800"/>
                <a:gd name="T32" fmla="*/ 1463 w 1650"/>
                <a:gd name="T33" fmla="*/ 775 h 800"/>
                <a:gd name="T34" fmla="*/ 1464 w 1650"/>
                <a:gd name="T35" fmla="*/ 774 h 800"/>
                <a:gd name="T36" fmla="*/ 1406 w 1650"/>
                <a:gd name="T37" fmla="*/ 553 h 800"/>
                <a:gd name="T38" fmla="*/ 1522 w 1650"/>
                <a:gd name="T39" fmla="*/ 697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50" h="800">
                  <a:moveTo>
                    <a:pt x="1522" y="697"/>
                  </a:moveTo>
                  <a:cubicBezTo>
                    <a:pt x="1635" y="516"/>
                    <a:pt x="1650" y="408"/>
                    <a:pt x="1611" y="342"/>
                  </a:cubicBezTo>
                  <a:cubicBezTo>
                    <a:pt x="1571" y="277"/>
                    <a:pt x="1294" y="184"/>
                    <a:pt x="1196" y="161"/>
                  </a:cubicBezTo>
                  <a:cubicBezTo>
                    <a:pt x="1155" y="151"/>
                    <a:pt x="1119" y="12"/>
                    <a:pt x="1100" y="7"/>
                  </a:cubicBezTo>
                  <a:cubicBezTo>
                    <a:pt x="1082" y="1"/>
                    <a:pt x="998" y="123"/>
                    <a:pt x="815" y="130"/>
                  </a:cubicBezTo>
                  <a:cubicBezTo>
                    <a:pt x="747" y="132"/>
                    <a:pt x="587" y="0"/>
                    <a:pt x="568" y="4"/>
                  </a:cubicBezTo>
                  <a:cubicBezTo>
                    <a:pt x="548" y="7"/>
                    <a:pt x="495" y="110"/>
                    <a:pt x="498" y="134"/>
                  </a:cubicBezTo>
                  <a:cubicBezTo>
                    <a:pt x="501" y="157"/>
                    <a:pt x="657" y="273"/>
                    <a:pt x="806" y="275"/>
                  </a:cubicBezTo>
                  <a:cubicBezTo>
                    <a:pt x="1017" y="279"/>
                    <a:pt x="1056" y="219"/>
                    <a:pt x="1056" y="219"/>
                  </a:cubicBezTo>
                  <a:cubicBezTo>
                    <a:pt x="1056" y="219"/>
                    <a:pt x="1010" y="327"/>
                    <a:pt x="794" y="330"/>
                  </a:cubicBezTo>
                  <a:cubicBezTo>
                    <a:pt x="573" y="333"/>
                    <a:pt x="425" y="183"/>
                    <a:pt x="401" y="179"/>
                  </a:cubicBezTo>
                  <a:cubicBezTo>
                    <a:pt x="377" y="174"/>
                    <a:pt x="83" y="279"/>
                    <a:pt x="42" y="342"/>
                  </a:cubicBezTo>
                  <a:cubicBezTo>
                    <a:pt x="0" y="406"/>
                    <a:pt x="9" y="570"/>
                    <a:pt x="189" y="775"/>
                  </a:cubicBezTo>
                  <a:cubicBezTo>
                    <a:pt x="208" y="657"/>
                    <a:pt x="306" y="566"/>
                    <a:pt x="329" y="553"/>
                  </a:cubicBezTo>
                  <a:cubicBezTo>
                    <a:pt x="299" y="610"/>
                    <a:pt x="272" y="716"/>
                    <a:pt x="271" y="781"/>
                  </a:cubicBezTo>
                  <a:cubicBezTo>
                    <a:pt x="523" y="799"/>
                    <a:pt x="740" y="800"/>
                    <a:pt x="826" y="799"/>
                  </a:cubicBezTo>
                  <a:cubicBezTo>
                    <a:pt x="922" y="800"/>
                    <a:pt x="1176" y="799"/>
                    <a:pt x="1463" y="775"/>
                  </a:cubicBezTo>
                  <a:cubicBezTo>
                    <a:pt x="1463" y="775"/>
                    <a:pt x="1463" y="774"/>
                    <a:pt x="1464" y="774"/>
                  </a:cubicBezTo>
                  <a:cubicBezTo>
                    <a:pt x="1454" y="709"/>
                    <a:pt x="1436" y="608"/>
                    <a:pt x="1406" y="553"/>
                  </a:cubicBezTo>
                  <a:cubicBezTo>
                    <a:pt x="1424" y="563"/>
                    <a:pt x="1485" y="619"/>
                    <a:pt x="1522" y="697"/>
                  </a:cubicBezTo>
                  <a:close/>
                </a:path>
              </a:pathLst>
            </a:custGeom>
            <a:solidFill>
              <a:schemeClr val="accent1"/>
            </a:solidFill>
            <a:ln>
              <a:solidFill>
                <a:schemeClr val="tx1"/>
              </a:solidFill>
              <a:headEnd type="none" w="med" len="med"/>
              <a:tailEnd type="none" w="med" len="med"/>
            </a:ln>
            <a:effectLst/>
            <a:ex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570402"/>
              <a:endParaRPr lang="en-US">
                <a:solidFill>
                  <a:schemeClr val="tx1"/>
                </a:solidFill>
                <a:latin typeface="Segoe UI Light" pitchFamily="34" charset="0"/>
                <a:ea typeface="ＭＳ Ｐゴシック" pitchFamily="-65" charset="-128"/>
              </a:endParaRPr>
            </a:p>
          </p:txBody>
        </p:sp>
        <p:sp>
          <p:nvSpPr>
            <p:cNvPr id="41" name="Man's Face"/>
            <p:cNvSpPr>
              <a:spLocks/>
            </p:cNvSpPr>
            <p:nvPr/>
          </p:nvSpPr>
          <p:spPr bwMode="auto">
            <a:xfrm>
              <a:off x="1273484" y="4142581"/>
              <a:ext cx="501030" cy="620542"/>
            </a:xfrm>
            <a:custGeom>
              <a:avLst/>
              <a:gdLst>
                <a:gd name="T0" fmla="*/ 114 w 957"/>
                <a:gd name="T1" fmla="*/ 612 h 1185"/>
                <a:gd name="T2" fmla="*/ 82 w 957"/>
                <a:gd name="T3" fmla="*/ 660 h 1185"/>
                <a:gd name="T4" fmla="*/ 164 w 957"/>
                <a:gd name="T5" fmla="*/ 831 h 1185"/>
                <a:gd name="T6" fmla="*/ 266 w 957"/>
                <a:gd name="T7" fmla="*/ 1049 h 1185"/>
                <a:gd name="T8" fmla="*/ 499 w 957"/>
                <a:gd name="T9" fmla="*/ 1185 h 1185"/>
                <a:gd name="T10" fmla="*/ 716 w 957"/>
                <a:gd name="T11" fmla="*/ 1076 h 1185"/>
                <a:gd name="T12" fmla="*/ 834 w 957"/>
                <a:gd name="T13" fmla="*/ 841 h 1185"/>
                <a:gd name="T14" fmla="*/ 862 w 957"/>
                <a:gd name="T15" fmla="*/ 824 h 1185"/>
                <a:gd name="T16" fmla="*/ 911 w 957"/>
                <a:gd name="T17" fmla="*/ 629 h 1185"/>
                <a:gd name="T18" fmla="*/ 865 w 957"/>
                <a:gd name="T19" fmla="*/ 596 h 1185"/>
                <a:gd name="T20" fmla="*/ 865 w 957"/>
                <a:gd name="T21" fmla="*/ 507 h 1185"/>
                <a:gd name="T22" fmla="*/ 499 w 957"/>
                <a:gd name="T23" fmla="*/ 306 h 1185"/>
                <a:gd name="T24" fmla="*/ 854 w 957"/>
                <a:gd name="T25" fmla="*/ 407 h 1185"/>
                <a:gd name="T26" fmla="*/ 897 w 957"/>
                <a:gd name="T27" fmla="*/ 446 h 1185"/>
                <a:gd name="T28" fmla="*/ 954 w 957"/>
                <a:gd name="T29" fmla="*/ 391 h 1185"/>
                <a:gd name="T30" fmla="*/ 775 w 957"/>
                <a:gd name="T31" fmla="*/ 169 h 1185"/>
                <a:gd name="T32" fmla="*/ 318 w 957"/>
                <a:gd name="T33" fmla="*/ 76 h 1185"/>
                <a:gd name="T34" fmla="*/ 46 w 957"/>
                <a:gd name="T35" fmla="*/ 437 h 1185"/>
                <a:gd name="T36" fmla="*/ 114 w 957"/>
                <a:gd name="T37" fmla="*/ 612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57" h="1185">
                  <a:moveTo>
                    <a:pt x="114" y="612"/>
                  </a:moveTo>
                  <a:cubicBezTo>
                    <a:pt x="114" y="612"/>
                    <a:pt x="69" y="611"/>
                    <a:pt x="82" y="660"/>
                  </a:cubicBezTo>
                  <a:cubicBezTo>
                    <a:pt x="98" y="718"/>
                    <a:pt x="122" y="828"/>
                    <a:pt x="164" y="831"/>
                  </a:cubicBezTo>
                  <a:cubicBezTo>
                    <a:pt x="167" y="940"/>
                    <a:pt x="253" y="1029"/>
                    <a:pt x="266" y="1049"/>
                  </a:cubicBezTo>
                  <a:cubicBezTo>
                    <a:pt x="278" y="1069"/>
                    <a:pt x="435" y="1185"/>
                    <a:pt x="499" y="1185"/>
                  </a:cubicBezTo>
                  <a:cubicBezTo>
                    <a:pt x="563" y="1185"/>
                    <a:pt x="670" y="1112"/>
                    <a:pt x="716" y="1076"/>
                  </a:cubicBezTo>
                  <a:cubicBezTo>
                    <a:pt x="763" y="1039"/>
                    <a:pt x="818" y="963"/>
                    <a:pt x="834" y="841"/>
                  </a:cubicBezTo>
                  <a:cubicBezTo>
                    <a:pt x="849" y="844"/>
                    <a:pt x="862" y="824"/>
                    <a:pt x="862" y="824"/>
                  </a:cubicBezTo>
                  <a:cubicBezTo>
                    <a:pt x="862" y="824"/>
                    <a:pt x="911" y="659"/>
                    <a:pt x="911" y="629"/>
                  </a:cubicBezTo>
                  <a:cubicBezTo>
                    <a:pt x="911" y="599"/>
                    <a:pt x="865" y="596"/>
                    <a:pt x="865" y="596"/>
                  </a:cubicBezTo>
                  <a:cubicBezTo>
                    <a:pt x="865" y="596"/>
                    <a:pt x="876" y="531"/>
                    <a:pt x="865" y="507"/>
                  </a:cubicBezTo>
                  <a:cubicBezTo>
                    <a:pt x="854" y="482"/>
                    <a:pt x="713" y="324"/>
                    <a:pt x="499" y="306"/>
                  </a:cubicBezTo>
                  <a:cubicBezTo>
                    <a:pt x="554" y="289"/>
                    <a:pt x="688" y="267"/>
                    <a:pt x="854" y="407"/>
                  </a:cubicBezTo>
                  <a:cubicBezTo>
                    <a:pt x="868" y="419"/>
                    <a:pt x="871" y="441"/>
                    <a:pt x="897" y="446"/>
                  </a:cubicBezTo>
                  <a:cubicBezTo>
                    <a:pt x="922" y="451"/>
                    <a:pt x="951" y="416"/>
                    <a:pt x="954" y="391"/>
                  </a:cubicBezTo>
                  <a:cubicBezTo>
                    <a:pt x="957" y="365"/>
                    <a:pt x="917" y="298"/>
                    <a:pt x="775" y="169"/>
                  </a:cubicBezTo>
                  <a:cubicBezTo>
                    <a:pt x="633" y="40"/>
                    <a:pt x="442" y="0"/>
                    <a:pt x="318" y="76"/>
                  </a:cubicBezTo>
                  <a:cubicBezTo>
                    <a:pt x="0" y="63"/>
                    <a:pt x="42" y="417"/>
                    <a:pt x="46" y="437"/>
                  </a:cubicBezTo>
                  <a:cubicBezTo>
                    <a:pt x="51" y="458"/>
                    <a:pt x="114" y="612"/>
                    <a:pt x="114" y="612"/>
                  </a:cubicBezTo>
                  <a:close/>
                </a:path>
              </a:pathLst>
            </a:cu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570402"/>
              <a:endParaRPr lang="en-US">
                <a:solidFill>
                  <a:schemeClr val="tx1"/>
                </a:solidFill>
                <a:latin typeface="Segoe UI Light" pitchFamily="34" charset="0"/>
                <a:ea typeface="ＭＳ Ｐゴシック" pitchFamily="-65" charset="-128"/>
              </a:endParaRPr>
            </a:p>
          </p:txBody>
        </p:sp>
        <p:sp>
          <p:nvSpPr>
            <p:cNvPr id="42" name="Woman's Body"/>
            <p:cNvSpPr>
              <a:spLocks/>
            </p:cNvSpPr>
            <p:nvPr/>
          </p:nvSpPr>
          <p:spPr bwMode="auto">
            <a:xfrm>
              <a:off x="1694909" y="4146050"/>
              <a:ext cx="554812" cy="887606"/>
            </a:xfrm>
            <a:custGeom>
              <a:avLst/>
              <a:gdLst>
                <a:gd name="T0" fmla="*/ 34 w 1060"/>
                <a:gd name="T1" fmla="*/ 1066 h 1695"/>
                <a:gd name="T2" fmla="*/ 93 w 1060"/>
                <a:gd name="T3" fmla="*/ 896 h 1695"/>
                <a:gd name="T4" fmla="*/ 96 w 1060"/>
                <a:gd name="T5" fmla="*/ 886 h 1695"/>
                <a:gd name="T6" fmla="*/ 120 w 1060"/>
                <a:gd name="T7" fmla="*/ 859 h 1695"/>
                <a:gd name="T8" fmla="*/ 125 w 1060"/>
                <a:gd name="T9" fmla="*/ 850 h 1695"/>
                <a:gd name="T10" fmla="*/ 128 w 1060"/>
                <a:gd name="T11" fmla="*/ 840 h 1695"/>
                <a:gd name="T12" fmla="*/ 180 w 1060"/>
                <a:gd name="T13" fmla="*/ 623 h 1695"/>
                <a:gd name="T14" fmla="*/ 115 w 1060"/>
                <a:gd name="T15" fmla="*/ 518 h 1695"/>
                <a:gd name="T16" fmla="*/ 228 w 1060"/>
                <a:gd name="T17" fmla="*/ 408 h 1695"/>
                <a:gd name="T18" fmla="*/ 3 w 1060"/>
                <a:gd name="T19" fmla="*/ 110 h 1695"/>
                <a:gd name="T20" fmla="*/ 183 w 1060"/>
                <a:gd name="T21" fmla="*/ 67 h 1695"/>
                <a:gd name="T22" fmla="*/ 583 w 1060"/>
                <a:gd name="T23" fmla="*/ 148 h 1695"/>
                <a:gd name="T24" fmla="*/ 740 w 1060"/>
                <a:gd name="T25" fmla="*/ 342 h 1695"/>
                <a:gd name="T26" fmla="*/ 689 w 1060"/>
                <a:gd name="T27" fmla="*/ 390 h 1695"/>
                <a:gd name="T28" fmla="*/ 648 w 1060"/>
                <a:gd name="T29" fmla="*/ 353 h 1695"/>
                <a:gd name="T30" fmla="*/ 341 w 1060"/>
                <a:gd name="T31" fmla="*/ 268 h 1695"/>
                <a:gd name="T32" fmla="*/ 661 w 1060"/>
                <a:gd name="T33" fmla="*/ 443 h 1695"/>
                <a:gd name="T34" fmla="*/ 661 w 1060"/>
                <a:gd name="T35" fmla="*/ 522 h 1695"/>
                <a:gd name="T36" fmla="*/ 702 w 1060"/>
                <a:gd name="T37" fmla="*/ 551 h 1695"/>
                <a:gd name="T38" fmla="*/ 659 w 1060"/>
                <a:gd name="T39" fmla="*/ 722 h 1695"/>
                <a:gd name="T40" fmla="*/ 634 w 1060"/>
                <a:gd name="T41" fmla="*/ 736 h 1695"/>
                <a:gd name="T42" fmla="*/ 531 w 1060"/>
                <a:gd name="T43" fmla="*/ 942 h 1695"/>
                <a:gd name="T44" fmla="*/ 523 w 1060"/>
                <a:gd name="T45" fmla="*/ 948 h 1695"/>
                <a:gd name="T46" fmla="*/ 589 w 1060"/>
                <a:gd name="T47" fmla="*/ 1022 h 1695"/>
                <a:gd name="T48" fmla="*/ 675 w 1060"/>
                <a:gd name="T49" fmla="*/ 1130 h 1695"/>
                <a:gd name="T50" fmla="*/ 1038 w 1060"/>
                <a:gd name="T51" fmla="*/ 1289 h 1695"/>
                <a:gd name="T52" fmla="*/ 960 w 1060"/>
                <a:gd name="T53" fmla="*/ 1599 h 1695"/>
                <a:gd name="T54" fmla="*/ 909 w 1060"/>
                <a:gd name="T55" fmla="*/ 1667 h 1695"/>
                <a:gd name="T56" fmla="*/ 909 w 1060"/>
                <a:gd name="T57" fmla="*/ 1668 h 1695"/>
                <a:gd name="T58" fmla="*/ 541 w 1060"/>
                <a:gd name="T59" fmla="*/ 1695 h 1695"/>
                <a:gd name="T60" fmla="*/ 561 w 1060"/>
                <a:gd name="T61" fmla="*/ 1427 h 1695"/>
                <a:gd name="T62" fmla="*/ 514 w 1060"/>
                <a:gd name="T63" fmla="*/ 1398 h 1695"/>
                <a:gd name="T64" fmla="*/ 123 w 1060"/>
                <a:gd name="T65" fmla="*/ 1213 h 1695"/>
                <a:gd name="T66" fmla="*/ 73 w 1060"/>
                <a:gd name="T67" fmla="*/ 1133 h 1695"/>
                <a:gd name="T68" fmla="*/ 34 w 1060"/>
                <a:gd name="T69" fmla="*/ 1066 h 1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0" h="1695">
                  <a:moveTo>
                    <a:pt x="34" y="1066"/>
                  </a:moveTo>
                  <a:cubicBezTo>
                    <a:pt x="35" y="1039"/>
                    <a:pt x="115" y="935"/>
                    <a:pt x="93" y="896"/>
                  </a:cubicBezTo>
                  <a:cubicBezTo>
                    <a:pt x="94" y="893"/>
                    <a:pt x="95" y="890"/>
                    <a:pt x="96" y="886"/>
                  </a:cubicBezTo>
                  <a:cubicBezTo>
                    <a:pt x="106" y="878"/>
                    <a:pt x="114" y="868"/>
                    <a:pt x="120" y="859"/>
                  </a:cubicBezTo>
                  <a:cubicBezTo>
                    <a:pt x="125" y="850"/>
                    <a:pt x="125" y="850"/>
                    <a:pt x="125" y="850"/>
                  </a:cubicBezTo>
                  <a:cubicBezTo>
                    <a:pt x="128" y="840"/>
                    <a:pt x="128" y="840"/>
                    <a:pt x="128" y="840"/>
                  </a:cubicBezTo>
                  <a:cubicBezTo>
                    <a:pt x="163" y="723"/>
                    <a:pt x="180" y="650"/>
                    <a:pt x="180" y="623"/>
                  </a:cubicBezTo>
                  <a:cubicBezTo>
                    <a:pt x="185" y="570"/>
                    <a:pt x="115" y="543"/>
                    <a:pt x="115" y="518"/>
                  </a:cubicBezTo>
                  <a:cubicBezTo>
                    <a:pt x="115" y="493"/>
                    <a:pt x="226" y="421"/>
                    <a:pt x="228" y="408"/>
                  </a:cubicBezTo>
                  <a:cubicBezTo>
                    <a:pt x="244" y="348"/>
                    <a:pt x="7" y="138"/>
                    <a:pt x="3" y="110"/>
                  </a:cubicBezTo>
                  <a:cubicBezTo>
                    <a:pt x="0" y="82"/>
                    <a:pt x="160" y="40"/>
                    <a:pt x="183" y="67"/>
                  </a:cubicBezTo>
                  <a:cubicBezTo>
                    <a:pt x="291" y="0"/>
                    <a:pt x="458" y="35"/>
                    <a:pt x="583" y="148"/>
                  </a:cubicBezTo>
                  <a:cubicBezTo>
                    <a:pt x="707" y="261"/>
                    <a:pt x="743" y="325"/>
                    <a:pt x="740" y="342"/>
                  </a:cubicBezTo>
                  <a:cubicBezTo>
                    <a:pt x="737" y="359"/>
                    <a:pt x="707" y="390"/>
                    <a:pt x="689" y="390"/>
                  </a:cubicBezTo>
                  <a:cubicBezTo>
                    <a:pt x="672" y="390"/>
                    <a:pt x="661" y="364"/>
                    <a:pt x="648" y="353"/>
                  </a:cubicBezTo>
                  <a:cubicBezTo>
                    <a:pt x="504" y="234"/>
                    <a:pt x="388" y="253"/>
                    <a:pt x="341" y="268"/>
                  </a:cubicBezTo>
                  <a:cubicBezTo>
                    <a:pt x="528" y="284"/>
                    <a:pt x="653" y="421"/>
                    <a:pt x="661" y="443"/>
                  </a:cubicBezTo>
                  <a:cubicBezTo>
                    <a:pt x="670" y="466"/>
                    <a:pt x="661" y="522"/>
                    <a:pt x="661" y="522"/>
                  </a:cubicBezTo>
                  <a:cubicBezTo>
                    <a:pt x="661" y="522"/>
                    <a:pt x="702" y="525"/>
                    <a:pt x="702" y="551"/>
                  </a:cubicBezTo>
                  <a:cubicBezTo>
                    <a:pt x="702" y="577"/>
                    <a:pt x="659" y="722"/>
                    <a:pt x="659" y="722"/>
                  </a:cubicBezTo>
                  <a:cubicBezTo>
                    <a:pt x="659" y="722"/>
                    <a:pt x="648" y="739"/>
                    <a:pt x="634" y="736"/>
                  </a:cubicBezTo>
                  <a:cubicBezTo>
                    <a:pt x="621" y="843"/>
                    <a:pt x="572" y="910"/>
                    <a:pt x="531" y="942"/>
                  </a:cubicBezTo>
                  <a:cubicBezTo>
                    <a:pt x="529" y="944"/>
                    <a:pt x="526" y="946"/>
                    <a:pt x="523" y="948"/>
                  </a:cubicBezTo>
                  <a:cubicBezTo>
                    <a:pt x="538" y="1019"/>
                    <a:pt x="589" y="1022"/>
                    <a:pt x="589" y="1022"/>
                  </a:cubicBezTo>
                  <a:cubicBezTo>
                    <a:pt x="610" y="1074"/>
                    <a:pt x="639" y="1121"/>
                    <a:pt x="675" y="1130"/>
                  </a:cubicBezTo>
                  <a:cubicBezTo>
                    <a:pt x="760" y="1150"/>
                    <a:pt x="1024" y="1252"/>
                    <a:pt x="1038" y="1289"/>
                  </a:cubicBezTo>
                  <a:cubicBezTo>
                    <a:pt x="1052" y="1326"/>
                    <a:pt x="1060" y="1441"/>
                    <a:pt x="960" y="1599"/>
                  </a:cubicBezTo>
                  <a:cubicBezTo>
                    <a:pt x="934" y="1645"/>
                    <a:pt x="909" y="1667"/>
                    <a:pt x="909" y="1667"/>
                  </a:cubicBezTo>
                  <a:cubicBezTo>
                    <a:pt x="909" y="1667"/>
                    <a:pt x="909" y="1667"/>
                    <a:pt x="909" y="1668"/>
                  </a:cubicBezTo>
                  <a:cubicBezTo>
                    <a:pt x="817" y="1675"/>
                    <a:pt x="620" y="1691"/>
                    <a:pt x="541" y="1695"/>
                  </a:cubicBezTo>
                  <a:cubicBezTo>
                    <a:pt x="541" y="1695"/>
                    <a:pt x="630" y="1516"/>
                    <a:pt x="561" y="1427"/>
                  </a:cubicBezTo>
                  <a:cubicBezTo>
                    <a:pt x="553" y="1417"/>
                    <a:pt x="514" y="1398"/>
                    <a:pt x="514" y="1398"/>
                  </a:cubicBezTo>
                  <a:cubicBezTo>
                    <a:pt x="481" y="1381"/>
                    <a:pt x="225" y="1237"/>
                    <a:pt x="123" y="1213"/>
                  </a:cubicBezTo>
                  <a:cubicBezTo>
                    <a:pt x="123" y="1213"/>
                    <a:pt x="102" y="1203"/>
                    <a:pt x="73" y="1133"/>
                  </a:cubicBezTo>
                  <a:cubicBezTo>
                    <a:pt x="73" y="1133"/>
                    <a:pt x="33" y="1093"/>
                    <a:pt x="34" y="1066"/>
                  </a:cubicBezTo>
                  <a:close/>
                </a:path>
              </a:pathLst>
            </a:custGeom>
            <a:solidFill>
              <a:schemeClr val="accent1"/>
            </a:solidFill>
            <a:ln>
              <a:solidFill>
                <a:schemeClr val="tx1"/>
              </a:solidFill>
              <a:headEnd type="none" w="med" len="med"/>
              <a:tailEnd type="none" w="med" len="med"/>
            </a:ln>
            <a:effectLst/>
            <a:ex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570402"/>
              <a:endParaRPr lang="en-US">
                <a:solidFill>
                  <a:schemeClr val="tx1"/>
                </a:solidFill>
                <a:latin typeface="Segoe UI Light" pitchFamily="34" charset="0"/>
                <a:ea typeface="ＭＳ Ｐゴシック" pitchFamily="-65" charset="-128"/>
              </a:endParaRPr>
            </a:p>
          </p:txBody>
        </p:sp>
        <p:sp>
          <p:nvSpPr>
            <p:cNvPr id="43" name="Woman's Hair"/>
            <p:cNvSpPr>
              <a:spLocks/>
            </p:cNvSpPr>
            <p:nvPr/>
          </p:nvSpPr>
          <p:spPr bwMode="auto">
            <a:xfrm>
              <a:off x="2004262" y="4344394"/>
              <a:ext cx="158583" cy="317396"/>
            </a:xfrm>
            <a:custGeom>
              <a:avLst/>
              <a:gdLst>
                <a:gd name="T0" fmla="*/ 3 w 303"/>
                <a:gd name="T1" fmla="*/ 572 h 606"/>
                <a:gd name="T2" fmla="*/ 84 w 303"/>
                <a:gd name="T3" fmla="*/ 400 h 606"/>
                <a:gd name="T4" fmla="*/ 105 w 303"/>
                <a:gd name="T5" fmla="*/ 376 h 606"/>
                <a:gd name="T6" fmla="*/ 109 w 303"/>
                <a:gd name="T7" fmla="*/ 369 h 606"/>
                <a:gd name="T8" fmla="*/ 112 w 303"/>
                <a:gd name="T9" fmla="*/ 360 h 606"/>
                <a:gd name="T10" fmla="*/ 157 w 303"/>
                <a:gd name="T11" fmla="*/ 172 h 606"/>
                <a:gd name="T12" fmla="*/ 120 w 303"/>
                <a:gd name="T13" fmla="*/ 99 h 606"/>
                <a:gd name="T14" fmla="*/ 122 w 303"/>
                <a:gd name="T15" fmla="*/ 41 h 606"/>
                <a:gd name="T16" fmla="*/ 160 w 303"/>
                <a:gd name="T17" fmla="*/ 4 h 606"/>
                <a:gd name="T18" fmla="*/ 189 w 303"/>
                <a:gd name="T19" fmla="*/ 588 h 606"/>
                <a:gd name="T20" fmla="*/ 3 w 303"/>
                <a:gd name="T21" fmla="*/ 572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3" h="606">
                  <a:moveTo>
                    <a:pt x="3" y="572"/>
                  </a:moveTo>
                  <a:cubicBezTo>
                    <a:pt x="0" y="554"/>
                    <a:pt x="67" y="482"/>
                    <a:pt x="84" y="400"/>
                  </a:cubicBezTo>
                  <a:cubicBezTo>
                    <a:pt x="93" y="393"/>
                    <a:pt x="99" y="384"/>
                    <a:pt x="105" y="376"/>
                  </a:cubicBezTo>
                  <a:cubicBezTo>
                    <a:pt x="109" y="369"/>
                    <a:pt x="109" y="369"/>
                    <a:pt x="109" y="369"/>
                  </a:cubicBezTo>
                  <a:cubicBezTo>
                    <a:pt x="112" y="360"/>
                    <a:pt x="112" y="360"/>
                    <a:pt x="112" y="360"/>
                  </a:cubicBezTo>
                  <a:cubicBezTo>
                    <a:pt x="142" y="259"/>
                    <a:pt x="157" y="195"/>
                    <a:pt x="157" y="172"/>
                  </a:cubicBezTo>
                  <a:cubicBezTo>
                    <a:pt x="159" y="127"/>
                    <a:pt x="125" y="120"/>
                    <a:pt x="120" y="99"/>
                  </a:cubicBezTo>
                  <a:cubicBezTo>
                    <a:pt x="114" y="79"/>
                    <a:pt x="118" y="62"/>
                    <a:pt x="122" y="41"/>
                  </a:cubicBezTo>
                  <a:cubicBezTo>
                    <a:pt x="127" y="20"/>
                    <a:pt x="150" y="0"/>
                    <a:pt x="160" y="4"/>
                  </a:cubicBezTo>
                  <a:cubicBezTo>
                    <a:pt x="170" y="7"/>
                    <a:pt x="303" y="534"/>
                    <a:pt x="189" y="588"/>
                  </a:cubicBezTo>
                  <a:cubicBezTo>
                    <a:pt x="150" y="606"/>
                    <a:pt x="6" y="591"/>
                    <a:pt x="3" y="572"/>
                  </a:cubicBezTo>
                  <a:close/>
                </a:path>
              </a:pathLst>
            </a:cu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570402"/>
              <a:endParaRPr lang="en-US">
                <a:solidFill>
                  <a:schemeClr val="tx1"/>
                </a:solidFill>
                <a:latin typeface="Segoe UI Light" pitchFamily="34" charset="0"/>
                <a:ea typeface="ＭＳ Ｐゴシック" pitchFamily="-65" charset="-128"/>
              </a:endParaRPr>
            </a:p>
          </p:txBody>
        </p:sp>
      </p:grpSp>
      <p:grpSp>
        <p:nvGrpSpPr>
          <p:cNvPr id="44" name="Group 43"/>
          <p:cNvGrpSpPr>
            <a:grpSpLocks noChangeAspect="1"/>
          </p:cNvGrpSpPr>
          <p:nvPr/>
        </p:nvGrpSpPr>
        <p:grpSpPr>
          <a:xfrm>
            <a:off x="3571875" y="2238375"/>
            <a:ext cx="685800" cy="584176"/>
            <a:chOff x="614363" y="2951162"/>
            <a:chExt cx="1660524" cy="1414463"/>
          </a:xfrm>
        </p:grpSpPr>
        <p:sp>
          <p:nvSpPr>
            <p:cNvPr id="45" name="Freeform 100"/>
            <p:cNvSpPr>
              <a:spLocks/>
            </p:cNvSpPr>
            <p:nvPr/>
          </p:nvSpPr>
          <p:spPr bwMode="auto">
            <a:xfrm>
              <a:off x="1303338" y="2951162"/>
              <a:ext cx="198437" cy="1414463"/>
            </a:xfrm>
            <a:custGeom>
              <a:avLst/>
              <a:gdLst>
                <a:gd name="T0" fmla="*/ 0 w 100"/>
                <a:gd name="T1" fmla="*/ 659 h 713"/>
                <a:gd name="T2" fmla="*/ 60 w 100"/>
                <a:gd name="T3" fmla="*/ 692 h 713"/>
                <a:gd name="T4" fmla="*/ 95 w 100"/>
                <a:gd name="T5" fmla="*/ 712 h 713"/>
                <a:gd name="T6" fmla="*/ 100 w 100"/>
                <a:gd name="T7" fmla="*/ 705 h 713"/>
                <a:gd name="T8" fmla="*/ 100 w 100"/>
                <a:gd name="T9" fmla="*/ 572 h 713"/>
                <a:gd name="T10" fmla="*/ 100 w 100"/>
                <a:gd name="T11" fmla="*/ 380 h 713"/>
                <a:gd name="T12" fmla="*/ 100 w 100"/>
                <a:gd name="T13" fmla="*/ 298 h 713"/>
                <a:gd name="T14" fmla="*/ 100 w 100"/>
                <a:gd name="T15" fmla="*/ 92 h 713"/>
                <a:gd name="T16" fmla="*/ 100 w 100"/>
                <a:gd name="T17" fmla="*/ 9 h 713"/>
                <a:gd name="T18" fmla="*/ 95 w 100"/>
                <a:gd name="T19" fmla="*/ 1 h 713"/>
                <a:gd name="T20" fmla="*/ 37 w 100"/>
                <a:gd name="T21" fmla="*/ 34 h 713"/>
                <a:gd name="T22" fmla="*/ 0 w 100"/>
                <a:gd name="T23" fmla="*/ 55 h 713"/>
                <a:gd name="T24" fmla="*/ 0 w 100"/>
                <a:gd name="T25" fmla="*/ 659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 h="713">
                  <a:moveTo>
                    <a:pt x="0" y="659"/>
                  </a:moveTo>
                  <a:cubicBezTo>
                    <a:pt x="19" y="670"/>
                    <a:pt x="40" y="681"/>
                    <a:pt x="60" y="692"/>
                  </a:cubicBezTo>
                  <a:cubicBezTo>
                    <a:pt x="72" y="699"/>
                    <a:pt x="84" y="705"/>
                    <a:pt x="95" y="712"/>
                  </a:cubicBezTo>
                  <a:cubicBezTo>
                    <a:pt x="98" y="713"/>
                    <a:pt x="100" y="710"/>
                    <a:pt x="100" y="705"/>
                  </a:cubicBezTo>
                  <a:cubicBezTo>
                    <a:pt x="100" y="660"/>
                    <a:pt x="100" y="616"/>
                    <a:pt x="100" y="572"/>
                  </a:cubicBezTo>
                  <a:cubicBezTo>
                    <a:pt x="100" y="508"/>
                    <a:pt x="100" y="444"/>
                    <a:pt x="100" y="380"/>
                  </a:cubicBezTo>
                  <a:cubicBezTo>
                    <a:pt x="100" y="353"/>
                    <a:pt x="100" y="325"/>
                    <a:pt x="100" y="298"/>
                  </a:cubicBezTo>
                  <a:cubicBezTo>
                    <a:pt x="100" y="229"/>
                    <a:pt x="100" y="161"/>
                    <a:pt x="100" y="92"/>
                  </a:cubicBezTo>
                  <a:cubicBezTo>
                    <a:pt x="100" y="64"/>
                    <a:pt x="100" y="36"/>
                    <a:pt x="100" y="9"/>
                  </a:cubicBezTo>
                  <a:cubicBezTo>
                    <a:pt x="100" y="4"/>
                    <a:pt x="98" y="0"/>
                    <a:pt x="95" y="1"/>
                  </a:cubicBezTo>
                  <a:cubicBezTo>
                    <a:pt x="76" y="12"/>
                    <a:pt x="57" y="23"/>
                    <a:pt x="37" y="34"/>
                  </a:cubicBezTo>
                  <a:cubicBezTo>
                    <a:pt x="25" y="41"/>
                    <a:pt x="12" y="48"/>
                    <a:pt x="0" y="55"/>
                  </a:cubicBezTo>
                  <a:lnTo>
                    <a:pt x="0" y="659"/>
                  </a:lnTo>
                  <a:close/>
                </a:path>
              </a:pathLst>
            </a:custGeom>
            <a:solidFill>
              <a:schemeClr val="accent1"/>
            </a:solidFill>
            <a:ln w="9525">
              <a:solidFill>
                <a:schemeClr val="tx1"/>
              </a:solidFill>
              <a:round/>
              <a:headEnd/>
              <a:tailEnd/>
            </a:ln>
            <a:effectLst/>
            <a:extLst/>
          </p:spPr>
          <p:style>
            <a:lnRef idx="1">
              <a:schemeClr val="accent1"/>
            </a:lnRef>
            <a:fillRef idx="0">
              <a:schemeClr val="accent1"/>
            </a:fillRef>
            <a:effectRef idx="0">
              <a:schemeClr val="accent1"/>
            </a:effectRef>
            <a:fontRef idx="minor">
              <a:schemeClr val="tx1"/>
            </a:fontRef>
          </p:style>
          <p:txBody>
            <a:bodyPr anchor="ctr"/>
            <a:lstStyle/>
            <a:p>
              <a:pPr algn="ctr"/>
              <a:endParaRPr lang="en-US">
                <a:latin typeface="Segoe UI Light" pitchFamily="34" charset="0"/>
                <a:ea typeface="ＭＳ Ｐゴシック" pitchFamily="-65" charset="-128"/>
              </a:endParaRPr>
            </a:p>
          </p:txBody>
        </p:sp>
        <p:sp>
          <p:nvSpPr>
            <p:cNvPr id="46" name="Freeform 101"/>
            <p:cNvSpPr>
              <a:spLocks/>
            </p:cNvSpPr>
            <p:nvPr/>
          </p:nvSpPr>
          <p:spPr bwMode="auto">
            <a:xfrm>
              <a:off x="1787525" y="2951162"/>
              <a:ext cx="198437" cy="1414463"/>
            </a:xfrm>
            <a:custGeom>
              <a:avLst/>
              <a:gdLst>
                <a:gd name="T0" fmla="*/ 0 w 100"/>
                <a:gd name="T1" fmla="*/ 659 h 713"/>
                <a:gd name="T2" fmla="*/ 60 w 100"/>
                <a:gd name="T3" fmla="*/ 692 h 713"/>
                <a:gd name="T4" fmla="*/ 96 w 100"/>
                <a:gd name="T5" fmla="*/ 712 h 713"/>
                <a:gd name="T6" fmla="*/ 100 w 100"/>
                <a:gd name="T7" fmla="*/ 705 h 713"/>
                <a:gd name="T8" fmla="*/ 100 w 100"/>
                <a:gd name="T9" fmla="*/ 572 h 713"/>
                <a:gd name="T10" fmla="*/ 100 w 100"/>
                <a:gd name="T11" fmla="*/ 380 h 713"/>
                <a:gd name="T12" fmla="*/ 100 w 100"/>
                <a:gd name="T13" fmla="*/ 298 h 713"/>
                <a:gd name="T14" fmla="*/ 100 w 100"/>
                <a:gd name="T15" fmla="*/ 92 h 713"/>
                <a:gd name="T16" fmla="*/ 100 w 100"/>
                <a:gd name="T17" fmla="*/ 9 h 713"/>
                <a:gd name="T18" fmla="*/ 96 w 100"/>
                <a:gd name="T19" fmla="*/ 1 h 713"/>
                <a:gd name="T20" fmla="*/ 37 w 100"/>
                <a:gd name="T21" fmla="*/ 34 h 713"/>
                <a:gd name="T22" fmla="*/ 0 w 100"/>
                <a:gd name="T23" fmla="*/ 55 h 713"/>
                <a:gd name="T24" fmla="*/ 0 w 100"/>
                <a:gd name="T25" fmla="*/ 659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 h="713">
                  <a:moveTo>
                    <a:pt x="0" y="659"/>
                  </a:moveTo>
                  <a:cubicBezTo>
                    <a:pt x="20" y="670"/>
                    <a:pt x="40" y="681"/>
                    <a:pt x="60" y="692"/>
                  </a:cubicBezTo>
                  <a:cubicBezTo>
                    <a:pt x="72" y="699"/>
                    <a:pt x="84" y="705"/>
                    <a:pt x="96" y="712"/>
                  </a:cubicBezTo>
                  <a:cubicBezTo>
                    <a:pt x="98" y="713"/>
                    <a:pt x="100" y="710"/>
                    <a:pt x="100" y="705"/>
                  </a:cubicBezTo>
                  <a:cubicBezTo>
                    <a:pt x="100" y="660"/>
                    <a:pt x="100" y="616"/>
                    <a:pt x="100" y="572"/>
                  </a:cubicBezTo>
                  <a:cubicBezTo>
                    <a:pt x="100" y="508"/>
                    <a:pt x="100" y="444"/>
                    <a:pt x="100" y="380"/>
                  </a:cubicBezTo>
                  <a:cubicBezTo>
                    <a:pt x="100" y="353"/>
                    <a:pt x="100" y="325"/>
                    <a:pt x="100" y="298"/>
                  </a:cubicBezTo>
                  <a:cubicBezTo>
                    <a:pt x="100" y="229"/>
                    <a:pt x="100" y="161"/>
                    <a:pt x="100" y="92"/>
                  </a:cubicBezTo>
                  <a:cubicBezTo>
                    <a:pt x="100" y="64"/>
                    <a:pt x="100" y="36"/>
                    <a:pt x="100" y="9"/>
                  </a:cubicBezTo>
                  <a:cubicBezTo>
                    <a:pt x="100" y="4"/>
                    <a:pt x="98" y="0"/>
                    <a:pt x="96" y="1"/>
                  </a:cubicBezTo>
                  <a:cubicBezTo>
                    <a:pt x="76" y="12"/>
                    <a:pt x="57" y="23"/>
                    <a:pt x="37" y="34"/>
                  </a:cubicBezTo>
                  <a:cubicBezTo>
                    <a:pt x="25" y="41"/>
                    <a:pt x="12" y="48"/>
                    <a:pt x="0" y="55"/>
                  </a:cubicBezTo>
                  <a:lnTo>
                    <a:pt x="0" y="659"/>
                  </a:lnTo>
                  <a:close/>
                </a:path>
              </a:pathLst>
            </a:custGeom>
            <a:solidFill>
              <a:schemeClr val="accent1"/>
            </a:solidFill>
            <a:ln w="9525">
              <a:solidFill>
                <a:schemeClr val="tx1"/>
              </a:solidFill>
              <a:round/>
              <a:headEnd/>
              <a:tailEnd/>
            </a:ln>
            <a:effectLst/>
            <a:extLst/>
          </p:spPr>
          <p:style>
            <a:lnRef idx="1">
              <a:schemeClr val="accent1"/>
            </a:lnRef>
            <a:fillRef idx="0">
              <a:schemeClr val="accent1"/>
            </a:fillRef>
            <a:effectRef idx="0">
              <a:schemeClr val="accent1"/>
            </a:effectRef>
            <a:fontRef idx="minor">
              <a:schemeClr val="tx1"/>
            </a:fontRef>
          </p:style>
          <p:txBody>
            <a:bodyPr anchor="ctr"/>
            <a:lstStyle/>
            <a:p>
              <a:pPr algn="ctr"/>
              <a:endParaRPr lang="en-US">
                <a:latin typeface="Segoe UI Light" pitchFamily="34" charset="0"/>
                <a:ea typeface="ＭＳ Ｐゴシック" pitchFamily="-65" charset="-128"/>
              </a:endParaRPr>
            </a:p>
          </p:txBody>
        </p:sp>
        <p:sp>
          <p:nvSpPr>
            <p:cNvPr id="47" name="Freeform 102"/>
            <p:cNvSpPr>
              <a:spLocks/>
            </p:cNvSpPr>
            <p:nvPr/>
          </p:nvSpPr>
          <p:spPr bwMode="auto">
            <a:xfrm>
              <a:off x="2022475" y="2952750"/>
              <a:ext cx="252412" cy="1411288"/>
            </a:xfrm>
            <a:custGeom>
              <a:avLst/>
              <a:gdLst/>
              <a:ahLst/>
              <a:cxnLst/>
              <a:rect l="l" t="t" r="r" b="b"/>
              <a:pathLst>
                <a:path w="252412" h="1411288">
                  <a:moveTo>
                    <a:pt x="126207" y="1214438"/>
                  </a:moveTo>
                  <a:cubicBezTo>
                    <a:pt x="101219" y="1214438"/>
                    <a:pt x="80963" y="1234339"/>
                    <a:pt x="80963" y="1258888"/>
                  </a:cubicBezTo>
                  <a:cubicBezTo>
                    <a:pt x="80963" y="1283437"/>
                    <a:pt x="101219" y="1303338"/>
                    <a:pt x="126207" y="1303338"/>
                  </a:cubicBezTo>
                  <a:cubicBezTo>
                    <a:pt x="151195" y="1303338"/>
                    <a:pt x="171451" y="1283437"/>
                    <a:pt x="171451" y="1258888"/>
                  </a:cubicBezTo>
                  <a:cubicBezTo>
                    <a:pt x="171451" y="1234339"/>
                    <a:pt x="151195" y="1214438"/>
                    <a:pt x="126207" y="1214438"/>
                  </a:cubicBezTo>
                  <a:close/>
                  <a:moveTo>
                    <a:pt x="126207" y="420688"/>
                  </a:moveTo>
                  <a:cubicBezTo>
                    <a:pt x="101219" y="420688"/>
                    <a:pt x="80963" y="441300"/>
                    <a:pt x="80963" y="466726"/>
                  </a:cubicBezTo>
                  <a:cubicBezTo>
                    <a:pt x="80963" y="492152"/>
                    <a:pt x="101219" y="512764"/>
                    <a:pt x="126207" y="512764"/>
                  </a:cubicBezTo>
                  <a:cubicBezTo>
                    <a:pt x="151195" y="512764"/>
                    <a:pt x="171451" y="492152"/>
                    <a:pt x="171451" y="466726"/>
                  </a:cubicBezTo>
                  <a:cubicBezTo>
                    <a:pt x="171451" y="441300"/>
                    <a:pt x="151195" y="420688"/>
                    <a:pt x="126207" y="420688"/>
                  </a:cubicBezTo>
                  <a:close/>
                  <a:moveTo>
                    <a:pt x="126207" y="263525"/>
                  </a:moveTo>
                  <a:cubicBezTo>
                    <a:pt x="101219" y="263525"/>
                    <a:pt x="80963" y="284137"/>
                    <a:pt x="80963" y="309563"/>
                  </a:cubicBezTo>
                  <a:cubicBezTo>
                    <a:pt x="80963" y="334989"/>
                    <a:pt x="101219" y="355601"/>
                    <a:pt x="126207" y="355601"/>
                  </a:cubicBezTo>
                  <a:cubicBezTo>
                    <a:pt x="151195" y="355601"/>
                    <a:pt x="171451" y="334989"/>
                    <a:pt x="171451" y="309563"/>
                  </a:cubicBezTo>
                  <a:cubicBezTo>
                    <a:pt x="171451" y="284137"/>
                    <a:pt x="151195" y="263525"/>
                    <a:pt x="126207" y="263525"/>
                  </a:cubicBezTo>
                  <a:close/>
                  <a:moveTo>
                    <a:pt x="126207" y="107950"/>
                  </a:moveTo>
                  <a:cubicBezTo>
                    <a:pt x="101219" y="107950"/>
                    <a:pt x="80963" y="128206"/>
                    <a:pt x="80963" y="153194"/>
                  </a:cubicBezTo>
                  <a:cubicBezTo>
                    <a:pt x="80963" y="178182"/>
                    <a:pt x="101219" y="198438"/>
                    <a:pt x="126207" y="198438"/>
                  </a:cubicBezTo>
                  <a:cubicBezTo>
                    <a:pt x="151195" y="198438"/>
                    <a:pt x="171451" y="178182"/>
                    <a:pt x="171451" y="153194"/>
                  </a:cubicBezTo>
                  <a:cubicBezTo>
                    <a:pt x="171451" y="128206"/>
                    <a:pt x="151195" y="107950"/>
                    <a:pt x="126207" y="107950"/>
                  </a:cubicBezTo>
                  <a:close/>
                  <a:moveTo>
                    <a:pt x="15900" y="0"/>
                  </a:moveTo>
                  <a:cubicBezTo>
                    <a:pt x="89437" y="0"/>
                    <a:pt x="162975" y="0"/>
                    <a:pt x="238500" y="0"/>
                  </a:cubicBezTo>
                  <a:cubicBezTo>
                    <a:pt x="242475" y="0"/>
                    <a:pt x="246450" y="1985"/>
                    <a:pt x="248437" y="3970"/>
                  </a:cubicBezTo>
                  <a:cubicBezTo>
                    <a:pt x="250425" y="5955"/>
                    <a:pt x="252412" y="9925"/>
                    <a:pt x="252412" y="15880"/>
                  </a:cubicBezTo>
                  <a:cubicBezTo>
                    <a:pt x="252412" y="45654"/>
                    <a:pt x="252412" y="77413"/>
                    <a:pt x="252412" y="109171"/>
                  </a:cubicBezTo>
                  <a:cubicBezTo>
                    <a:pt x="252412" y="220328"/>
                    <a:pt x="252412" y="331484"/>
                    <a:pt x="252412" y="442640"/>
                  </a:cubicBezTo>
                  <a:cubicBezTo>
                    <a:pt x="252412" y="585556"/>
                    <a:pt x="252412" y="726486"/>
                    <a:pt x="252412" y="869401"/>
                  </a:cubicBezTo>
                  <a:cubicBezTo>
                    <a:pt x="252412" y="992467"/>
                    <a:pt x="252412" y="1115533"/>
                    <a:pt x="252412" y="1238599"/>
                  </a:cubicBezTo>
                  <a:cubicBezTo>
                    <a:pt x="252412" y="1292192"/>
                    <a:pt x="252412" y="1343800"/>
                    <a:pt x="252412" y="1397394"/>
                  </a:cubicBezTo>
                  <a:cubicBezTo>
                    <a:pt x="252412" y="1405333"/>
                    <a:pt x="246450" y="1411288"/>
                    <a:pt x="238500" y="1411288"/>
                  </a:cubicBezTo>
                  <a:cubicBezTo>
                    <a:pt x="162975" y="1411288"/>
                    <a:pt x="89437" y="1411288"/>
                    <a:pt x="15900" y="1411288"/>
                  </a:cubicBezTo>
                  <a:cubicBezTo>
                    <a:pt x="5963" y="1411288"/>
                    <a:pt x="0" y="1405333"/>
                    <a:pt x="0" y="1397394"/>
                  </a:cubicBezTo>
                  <a:cubicBezTo>
                    <a:pt x="0" y="1365635"/>
                    <a:pt x="0" y="1333876"/>
                    <a:pt x="0" y="1302117"/>
                  </a:cubicBezTo>
                  <a:cubicBezTo>
                    <a:pt x="0" y="1190960"/>
                    <a:pt x="0" y="1079804"/>
                    <a:pt x="0" y="970633"/>
                  </a:cubicBezTo>
                  <a:cubicBezTo>
                    <a:pt x="0" y="827718"/>
                    <a:pt x="0" y="684802"/>
                    <a:pt x="0" y="541887"/>
                  </a:cubicBezTo>
                  <a:cubicBezTo>
                    <a:pt x="0" y="418821"/>
                    <a:pt x="0" y="295755"/>
                    <a:pt x="0" y="172689"/>
                  </a:cubicBezTo>
                  <a:cubicBezTo>
                    <a:pt x="0" y="119096"/>
                    <a:pt x="0" y="67488"/>
                    <a:pt x="0" y="15880"/>
                  </a:cubicBezTo>
                  <a:cubicBezTo>
                    <a:pt x="0" y="5955"/>
                    <a:pt x="5963" y="0"/>
                    <a:pt x="15900" y="0"/>
                  </a:cubicBezTo>
                  <a:close/>
                </a:path>
              </a:pathLst>
            </a:custGeom>
            <a:solidFill>
              <a:schemeClr val="accent1"/>
            </a:solidFill>
            <a:ln w="9525">
              <a:solidFill>
                <a:schemeClr val="tx1"/>
              </a:solidFill>
              <a:round/>
              <a:headEnd/>
              <a:tailEnd/>
            </a:ln>
            <a:effectLst/>
            <a:extLst/>
          </p:spPr>
          <p:style>
            <a:lnRef idx="1">
              <a:schemeClr val="accent1"/>
            </a:lnRef>
            <a:fillRef idx="0">
              <a:schemeClr val="accent1"/>
            </a:fillRef>
            <a:effectRef idx="0">
              <a:schemeClr val="accent1"/>
            </a:effectRef>
            <a:fontRef idx="minor">
              <a:schemeClr val="tx1"/>
            </a:fontRef>
          </p:style>
          <p:txBody>
            <a:bodyPr anchor="ctr"/>
            <a:lstStyle/>
            <a:p>
              <a:pPr algn="ctr"/>
              <a:endParaRPr lang="en-US">
                <a:latin typeface="Segoe UI Light" pitchFamily="34" charset="0"/>
                <a:ea typeface="ＭＳ Ｐゴシック" pitchFamily="-65" charset="-128"/>
              </a:endParaRPr>
            </a:p>
          </p:txBody>
        </p:sp>
        <p:sp>
          <p:nvSpPr>
            <p:cNvPr id="48" name="Freeform 107"/>
            <p:cNvSpPr>
              <a:spLocks/>
            </p:cNvSpPr>
            <p:nvPr/>
          </p:nvSpPr>
          <p:spPr bwMode="auto">
            <a:xfrm>
              <a:off x="1536700" y="2952750"/>
              <a:ext cx="250825" cy="1411288"/>
            </a:xfrm>
            <a:custGeom>
              <a:avLst/>
              <a:gdLst/>
              <a:ahLst/>
              <a:cxnLst/>
              <a:rect l="l" t="t" r="r" b="b"/>
              <a:pathLst>
                <a:path w="250825" h="1411288">
                  <a:moveTo>
                    <a:pt x="126207" y="1214438"/>
                  </a:moveTo>
                  <a:cubicBezTo>
                    <a:pt x="101219" y="1214438"/>
                    <a:pt x="80963" y="1234339"/>
                    <a:pt x="80963" y="1258888"/>
                  </a:cubicBezTo>
                  <a:cubicBezTo>
                    <a:pt x="80963" y="1283437"/>
                    <a:pt x="101219" y="1303338"/>
                    <a:pt x="126207" y="1303338"/>
                  </a:cubicBezTo>
                  <a:cubicBezTo>
                    <a:pt x="151195" y="1303338"/>
                    <a:pt x="171451" y="1283437"/>
                    <a:pt x="171451" y="1258888"/>
                  </a:cubicBezTo>
                  <a:cubicBezTo>
                    <a:pt x="171451" y="1234339"/>
                    <a:pt x="151195" y="1214438"/>
                    <a:pt x="126207" y="1214438"/>
                  </a:cubicBezTo>
                  <a:close/>
                  <a:moveTo>
                    <a:pt x="126207" y="420688"/>
                  </a:moveTo>
                  <a:cubicBezTo>
                    <a:pt x="101219" y="420688"/>
                    <a:pt x="80963" y="441300"/>
                    <a:pt x="80963" y="466726"/>
                  </a:cubicBezTo>
                  <a:cubicBezTo>
                    <a:pt x="80963" y="492152"/>
                    <a:pt x="101219" y="512764"/>
                    <a:pt x="126207" y="512764"/>
                  </a:cubicBezTo>
                  <a:cubicBezTo>
                    <a:pt x="151195" y="512764"/>
                    <a:pt x="171451" y="492152"/>
                    <a:pt x="171451" y="466726"/>
                  </a:cubicBezTo>
                  <a:cubicBezTo>
                    <a:pt x="171451" y="441300"/>
                    <a:pt x="151195" y="420688"/>
                    <a:pt x="126207" y="420688"/>
                  </a:cubicBezTo>
                  <a:close/>
                  <a:moveTo>
                    <a:pt x="126207" y="263525"/>
                  </a:moveTo>
                  <a:cubicBezTo>
                    <a:pt x="101219" y="263525"/>
                    <a:pt x="80963" y="284137"/>
                    <a:pt x="80963" y="309563"/>
                  </a:cubicBezTo>
                  <a:cubicBezTo>
                    <a:pt x="80963" y="334989"/>
                    <a:pt x="101219" y="355601"/>
                    <a:pt x="126207" y="355601"/>
                  </a:cubicBezTo>
                  <a:cubicBezTo>
                    <a:pt x="151195" y="355601"/>
                    <a:pt x="171451" y="334989"/>
                    <a:pt x="171451" y="309563"/>
                  </a:cubicBezTo>
                  <a:cubicBezTo>
                    <a:pt x="171451" y="284137"/>
                    <a:pt x="151195" y="263525"/>
                    <a:pt x="126207" y="263525"/>
                  </a:cubicBezTo>
                  <a:close/>
                  <a:moveTo>
                    <a:pt x="126207" y="107950"/>
                  </a:moveTo>
                  <a:cubicBezTo>
                    <a:pt x="101219" y="107950"/>
                    <a:pt x="80963" y="128206"/>
                    <a:pt x="80963" y="153194"/>
                  </a:cubicBezTo>
                  <a:cubicBezTo>
                    <a:pt x="80963" y="178182"/>
                    <a:pt x="101219" y="198438"/>
                    <a:pt x="126207" y="198438"/>
                  </a:cubicBezTo>
                  <a:cubicBezTo>
                    <a:pt x="151195" y="198438"/>
                    <a:pt x="171451" y="178182"/>
                    <a:pt x="171451" y="153194"/>
                  </a:cubicBezTo>
                  <a:cubicBezTo>
                    <a:pt x="171451" y="128206"/>
                    <a:pt x="151195" y="107950"/>
                    <a:pt x="126207" y="107950"/>
                  </a:cubicBezTo>
                  <a:close/>
                  <a:moveTo>
                    <a:pt x="15800" y="0"/>
                  </a:moveTo>
                  <a:cubicBezTo>
                    <a:pt x="88875" y="0"/>
                    <a:pt x="161950" y="0"/>
                    <a:pt x="237000" y="0"/>
                  </a:cubicBezTo>
                  <a:cubicBezTo>
                    <a:pt x="240950" y="0"/>
                    <a:pt x="244900" y="1985"/>
                    <a:pt x="246875" y="3970"/>
                  </a:cubicBezTo>
                  <a:cubicBezTo>
                    <a:pt x="250825" y="5955"/>
                    <a:pt x="250825" y="9925"/>
                    <a:pt x="250825" y="15880"/>
                  </a:cubicBezTo>
                  <a:cubicBezTo>
                    <a:pt x="250825" y="45654"/>
                    <a:pt x="250825" y="77413"/>
                    <a:pt x="250825" y="109171"/>
                  </a:cubicBezTo>
                  <a:cubicBezTo>
                    <a:pt x="250825" y="220328"/>
                    <a:pt x="250825" y="331484"/>
                    <a:pt x="250825" y="442640"/>
                  </a:cubicBezTo>
                  <a:cubicBezTo>
                    <a:pt x="250825" y="585556"/>
                    <a:pt x="250825" y="726486"/>
                    <a:pt x="250825" y="869401"/>
                  </a:cubicBezTo>
                  <a:cubicBezTo>
                    <a:pt x="250825" y="992467"/>
                    <a:pt x="250825" y="1115533"/>
                    <a:pt x="250825" y="1238599"/>
                  </a:cubicBezTo>
                  <a:cubicBezTo>
                    <a:pt x="250825" y="1292192"/>
                    <a:pt x="250825" y="1343800"/>
                    <a:pt x="250825" y="1397394"/>
                  </a:cubicBezTo>
                  <a:cubicBezTo>
                    <a:pt x="250825" y="1405333"/>
                    <a:pt x="244900" y="1411288"/>
                    <a:pt x="237000" y="1411288"/>
                  </a:cubicBezTo>
                  <a:cubicBezTo>
                    <a:pt x="161950" y="1411288"/>
                    <a:pt x="88875" y="1411288"/>
                    <a:pt x="15800" y="1411288"/>
                  </a:cubicBezTo>
                  <a:cubicBezTo>
                    <a:pt x="7900" y="1411288"/>
                    <a:pt x="0" y="1405333"/>
                    <a:pt x="0" y="1397394"/>
                  </a:cubicBezTo>
                  <a:cubicBezTo>
                    <a:pt x="0" y="1365635"/>
                    <a:pt x="0" y="1333876"/>
                    <a:pt x="0" y="1302117"/>
                  </a:cubicBezTo>
                  <a:cubicBezTo>
                    <a:pt x="0" y="1190960"/>
                    <a:pt x="0" y="1079804"/>
                    <a:pt x="0" y="970633"/>
                  </a:cubicBezTo>
                  <a:cubicBezTo>
                    <a:pt x="0" y="827718"/>
                    <a:pt x="0" y="684802"/>
                    <a:pt x="0" y="541887"/>
                  </a:cubicBezTo>
                  <a:cubicBezTo>
                    <a:pt x="0" y="418821"/>
                    <a:pt x="0" y="295755"/>
                    <a:pt x="0" y="172689"/>
                  </a:cubicBezTo>
                  <a:cubicBezTo>
                    <a:pt x="0" y="119096"/>
                    <a:pt x="0" y="67488"/>
                    <a:pt x="0" y="15880"/>
                  </a:cubicBezTo>
                  <a:cubicBezTo>
                    <a:pt x="0" y="5955"/>
                    <a:pt x="7900" y="0"/>
                    <a:pt x="15800" y="0"/>
                  </a:cubicBezTo>
                  <a:close/>
                </a:path>
              </a:pathLst>
            </a:custGeom>
            <a:solidFill>
              <a:schemeClr val="accent1"/>
            </a:solidFill>
            <a:ln w="9525">
              <a:solidFill>
                <a:schemeClr val="tx1"/>
              </a:solidFill>
              <a:round/>
              <a:headEnd/>
              <a:tailEnd/>
            </a:ln>
            <a:effectLst/>
            <a:extLst/>
          </p:spPr>
          <p:style>
            <a:lnRef idx="1">
              <a:schemeClr val="accent1"/>
            </a:lnRef>
            <a:fillRef idx="0">
              <a:schemeClr val="accent1"/>
            </a:fillRef>
            <a:effectRef idx="0">
              <a:schemeClr val="accent1"/>
            </a:effectRef>
            <a:fontRef idx="minor">
              <a:schemeClr val="tx1"/>
            </a:fontRef>
          </p:style>
          <p:txBody>
            <a:bodyPr anchor="ctr"/>
            <a:lstStyle/>
            <a:p>
              <a:pPr algn="ctr"/>
              <a:endParaRPr lang="en-US">
                <a:latin typeface="Segoe UI Light" pitchFamily="34" charset="0"/>
                <a:ea typeface="ＭＳ Ｐゴシック" pitchFamily="-65" charset="-128"/>
              </a:endParaRPr>
            </a:p>
          </p:txBody>
        </p:sp>
        <p:sp>
          <p:nvSpPr>
            <p:cNvPr id="49" name="Freeform 112"/>
            <p:cNvSpPr>
              <a:spLocks/>
            </p:cNvSpPr>
            <p:nvPr/>
          </p:nvSpPr>
          <p:spPr bwMode="auto">
            <a:xfrm>
              <a:off x="614363" y="2951162"/>
              <a:ext cx="401637" cy="1414463"/>
            </a:xfrm>
            <a:custGeom>
              <a:avLst/>
              <a:gdLst>
                <a:gd name="T0" fmla="*/ 197 w 202"/>
                <a:gd name="T1" fmla="*/ 1 h 713"/>
                <a:gd name="T2" fmla="*/ 139 w 202"/>
                <a:gd name="T3" fmla="*/ 34 h 713"/>
                <a:gd name="T4" fmla="*/ 39 w 202"/>
                <a:gd name="T5" fmla="*/ 90 h 713"/>
                <a:gd name="T6" fmla="*/ 3 w 202"/>
                <a:gd name="T7" fmla="*/ 110 h 713"/>
                <a:gd name="T8" fmla="*/ 1 w 202"/>
                <a:gd name="T9" fmla="*/ 112 h 713"/>
                <a:gd name="T10" fmla="*/ 0 w 202"/>
                <a:gd name="T11" fmla="*/ 117 h 713"/>
                <a:gd name="T12" fmla="*/ 0 w 202"/>
                <a:gd name="T13" fmla="*/ 276 h 713"/>
                <a:gd name="T14" fmla="*/ 0 w 202"/>
                <a:gd name="T15" fmla="*/ 386 h 713"/>
                <a:gd name="T16" fmla="*/ 0 w 202"/>
                <a:gd name="T17" fmla="*/ 577 h 713"/>
                <a:gd name="T18" fmla="*/ 0 w 202"/>
                <a:gd name="T19" fmla="*/ 596 h 713"/>
                <a:gd name="T20" fmla="*/ 3 w 202"/>
                <a:gd name="T21" fmla="*/ 603 h 713"/>
                <a:gd name="T22" fmla="*/ 61 w 202"/>
                <a:gd name="T23" fmla="*/ 636 h 713"/>
                <a:gd name="T24" fmla="*/ 161 w 202"/>
                <a:gd name="T25" fmla="*/ 692 h 713"/>
                <a:gd name="T26" fmla="*/ 197 w 202"/>
                <a:gd name="T27" fmla="*/ 712 h 713"/>
                <a:gd name="T28" fmla="*/ 202 w 202"/>
                <a:gd name="T29" fmla="*/ 705 h 713"/>
                <a:gd name="T30" fmla="*/ 202 w 202"/>
                <a:gd name="T31" fmla="*/ 572 h 713"/>
                <a:gd name="T32" fmla="*/ 202 w 202"/>
                <a:gd name="T33" fmla="*/ 380 h 713"/>
                <a:gd name="T34" fmla="*/ 202 w 202"/>
                <a:gd name="T35" fmla="*/ 298 h 713"/>
                <a:gd name="T36" fmla="*/ 202 w 202"/>
                <a:gd name="T37" fmla="*/ 92 h 713"/>
                <a:gd name="T38" fmla="*/ 202 w 202"/>
                <a:gd name="T39" fmla="*/ 9 h 713"/>
                <a:gd name="T40" fmla="*/ 197 w 202"/>
                <a:gd name="T41" fmla="*/ 1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2" h="713">
                  <a:moveTo>
                    <a:pt x="197" y="1"/>
                  </a:moveTo>
                  <a:cubicBezTo>
                    <a:pt x="178" y="12"/>
                    <a:pt x="158" y="23"/>
                    <a:pt x="139" y="34"/>
                  </a:cubicBezTo>
                  <a:cubicBezTo>
                    <a:pt x="105" y="52"/>
                    <a:pt x="72" y="71"/>
                    <a:pt x="39" y="90"/>
                  </a:cubicBezTo>
                  <a:cubicBezTo>
                    <a:pt x="27" y="97"/>
                    <a:pt x="15" y="103"/>
                    <a:pt x="3" y="110"/>
                  </a:cubicBezTo>
                  <a:cubicBezTo>
                    <a:pt x="2" y="110"/>
                    <a:pt x="1" y="111"/>
                    <a:pt x="1" y="112"/>
                  </a:cubicBezTo>
                  <a:cubicBezTo>
                    <a:pt x="1" y="114"/>
                    <a:pt x="0" y="115"/>
                    <a:pt x="0" y="117"/>
                  </a:cubicBezTo>
                  <a:cubicBezTo>
                    <a:pt x="0" y="170"/>
                    <a:pt x="0" y="223"/>
                    <a:pt x="0" y="276"/>
                  </a:cubicBezTo>
                  <a:cubicBezTo>
                    <a:pt x="0" y="313"/>
                    <a:pt x="0" y="349"/>
                    <a:pt x="0" y="386"/>
                  </a:cubicBezTo>
                  <a:cubicBezTo>
                    <a:pt x="0" y="450"/>
                    <a:pt x="0" y="514"/>
                    <a:pt x="0" y="577"/>
                  </a:cubicBezTo>
                  <a:cubicBezTo>
                    <a:pt x="0" y="584"/>
                    <a:pt x="0" y="590"/>
                    <a:pt x="0" y="596"/>
                  </a:cubicBezTo>
                  <a:cubicBezTo>
                    <a:pt x="0" y="599"/>
                    <a:pt x="1" y="602"/>
                    <a:pt x="3" y="603"/>
                  </a:cubicBezTo>
                  <a:cubicBezTo>
                    <a:pt x="22" y="614"/>
                    <a:pt x="42" y="625"/>
                    <a:pt x="61" y="636"/>
                  </a:cubicBezTo>
                  <a:cubicBezTo>
                    <a:pt x="95" y="655"/>
                    <a:pt x="128" y="673"/>
                    <a:pt x="161" y="692"/>
                  </a:cubicBezTo>
                  <a:cubicBezTo>
                    <a:pt x="173" y="699"/>
                    <a:pt x="185" y="705"/>
                    <a:pt x="197" y="712"/>
                  </a:cubicBezTo>
                  <a:cubicBezTo>
                    <a:pt x="199" y="713"/>
                    <a:pt x="202" y="710"/>
                    <a:pt x="202" y="705"/>
                  </a:cubicBezTo>
                  <a:cubicBezTo>
                    <a:pt x="202" y="660"/>
                    <a:pt x="202" y="616"/>
                    <a:pt x="202" y="572"/>
                  </a:cubicBezTo>
                  <a:cubicBezTo>
                    <a:pt x="202" y="508"/>
                    <a:pt x="202" y="444"/>
                    <a:pt x="202" y="380"/>
                  </a:cubicBezTo>
                  <a:cubicBezTo>
                    <a:pt x="202" y="353"/>
                    <a:pt x="202" y="325"/>
                    <a:pt x="202" y="298"/>
                  </a:cubicBezTo>
                  <a:cubicBezTo>
                    <a:pt x="202" y="229"/>
                    <a:pt x="202" y="161"/>
                    <a:pt x="202" y="92"/>
                  </a:cubicBezTo>
                  <a:cubicBezTo>
                    <a:pt x="202" y="64"/>
                    <a:pt x="202" y="36"/>
                    <a:pt x="202" y="9"/>
                  </a:cubicBezTo>
                  <a:cubicBezTo>
                    <a:pt x="202" y="4"/>
                    <a:pt x="199" y="0"/>
                    <a:pt x="197" y="1"/>
                  </a:cubicBezTo>
                  <a:close/>
                </a:path>
              </a:pathLst>
            </a:custGeom>
            <a:solidFill>
              <a:schemeClr val="accent1"/>
            </a:solidFill>
            <a:ln w="9525">
              <a:solidFill>
                <a:schemeClr val="tx1"/>
              </a:solidFill>
              <a:round/>
              <a:headEnd/>
              <a:tailEnd/>
            </a:ln>
            <a:effectLst/>
            <a:extLst/>
          </p:spPr>
          <p:style>
            <a:lnRef idx="1">
              <a:schemeClr val="accent1"/>
            </a:lnRef>
            <a:fillRef idx="0">
              <a:schemeClr val="accent1"/>
            </a:fillRef>
            <a:effectRef idx="0">
              <a:schemeClr val="accent1"/>
            </a:effectRef>
            <a:fontRef idx="minor">
              <a:schemeClr val="tx1"/>
            </a:fontRef>
          </p:style>
          <p:txBody>
            <a:bodyPr anchor="ctr"/>
            <a:lstStyle/>
            <a:p>
              <a:pPr algn="ctr"/>
              <a:endParaRPr lang="en-US">
                <a:latin typeface="Segoe UI Light" pitchFamily="34" charset="0"/>
                <a:ea typeface="ＭＳ Ｐゴシック" pitchFamily="-65" charset="-128"/>
              </a:endParaRPr>
            </a:p>
          </p:txBody>
        </p:sp>
        <p:sp>
          <p:nvSpPr>
            <p:cNvPr id="50" name="Freeform 113"/>
            <p:cNvSpPr>
              <a:spLocks/>
            </p:cNvSpPr>
            <p:nvPr/>
          </p:nvSpPr>
          <p:spPr bwMode="auto">
            <a:xfrm>
              <a:off x="1049338" y="2952750"/>
              <a:ext cx="254000" cy="1411288"/>
            </a:xfrm>
            <a:custGeom>
              <a:avLst/>
              <a:gdLst/>
              <a:ahLst/>
              <a:cxnLst/>
              <a:rect l="l" t="t" r="r" b="b"/>
              <a:pathLst>
                <a:path w="254000" h="1411288">
                  <a:moveTo>
                    <a:pt x="127000" y="1214438"/>
                  </a:moveTo>
                  <a:cubicBezTo>
                    <a:pt x="101574" y="1214438"/>
                    <a:pt x="80962" y="1234339"/>
                    <a:pt x="80962" y="1258888"/>
                  </a:cubicBezTo>
                  <a:cubicBezTo>
                    <a:pt x="80962" y="1283437"/>
                    <a:pt x="101574" y="1303338"/>
                    <a:pt x="127000" y="1303338"/>
                  </a:cubicBezTo>
                  <a:cubicBezTo>
                    <a:pt x="152426" y="1303338"/>
                    <a:pt x="173038" y="1283437"/>
                    <a:pt x="173038" y="1258888"/>
                  </a:cubicBezTo>
                  <a:cubicBezTo>
                    <a:pt x="173038" y="1234339"/>
                    <a:pt x="152426" y="1214438"/>
                    <a:pt x="127000" y="1214438"/>
                  </a:cubicBezTo>
                  <a:close/>
                  <a:moveTo>
                    <a:pt x="127000" y="420688"/>
                  </a:moveTo>
                  <a:cubicBezTo>
                    <a:pt x="101574" y="420688"/>
                    <a:pt x="80962" y="441300"/>
                    <a:pt x="80962" y="466726"/>
                  </a:cubicBezTo>
                  <a:cubicBezTo>
                    <a:pt x="80962" y="492152"/>
                    <a:pt x="101574" y="512764"/>
                    <a:pt x="127000" y="512764"/>
                  </a:cubicBezTo>
                  <a:cubicBezTo>
                    <a:pt x="152426" y="512764"/>
                    <a:pt x="173038" y="492152"/>
                    <a:pt x="173038" y="466726"/>
                  </a:cubicBezTo>
                  <a:cubicBezTo>
                    <a:pt x="173038" y="441300"/>
                    <a:pt x="152426" y="420688"/>
                    <a:pt x="127000" y="420688"/>
                  </a:cubicBezTo>
                  <a:close/>
                  <a:moveTo>
                    <a:pt x="127000" y="263525"/>
                  </a:moveTo>
                  <a:cubicBezTo>
                    <a:pt x="101574" y="263525"/>
                    <a:pt x="80962" y="284137"/>
                    <a:pt x="80962" y="309563"/>
                  </a:cubicBezTo>
                  <a:cubicBezTo>
                    <a:pt x="80962" y="334989"/>
                    <a:pt x="101574" y="355601"/>
                    <a:pt x="127000" y="355601"/>
                  </a:cubicBezTo>
                  <a:cubicBezTo>
                    <a:pt x="152426" y="355601"/>
                    <a:pt x="173038" y="334989"/>
                    <a:pt x="173038" y="309563"/>
                  </a:cubicBezTo>
                  <a:cubicBezTo>
                    <a:pt x="173038" y="284137"/>
                    <a:pt x="152426" y="263525"/>
                    <a:pt x="127000" y="263525"/>
                  </a:cubicBezTo>
                  <a:close/>
                  <a:moveTo>
                    <a:pt x="127000" y="107950"/>
                  </a:moveTo>
                  <a:cubicBezTo>
                    <a:pt x="101574" y="107950"/>
                    <a:pt x="80962" y="128206"/>
                    <a:pt x="80962" y="153194"/>
                  </a:cubicBezTo>
                  <a:cubicBezTo>
                    <a:pt x="80962" y="178182"/>
                    <a:pt x="101574" y="198438"/>
                    <a:pt x="127000" y="198438"/>
                  </a:cubicBezTo>
                  <a:cubicBezTo>
                    <a:pt x="152426" y="198438"/>
                    <a:pt x="173038" y="178182"/>
                    <a:pt x="173038" y="153194"/>
                  </a:cubicBezTo>
                  <a:cubicBezTo>
                    <a:pt x="173038" y="128206"/>
                    <a:pt x="152426" y="107950"/>
                    <a:pt x="127000" y="107950"/>
                  </a:cubicBezTo>
                  <a:close/>
                  <a:moveTo>
                    <a:pt x="15875" y="0"/>
                  </a:moveTo>
                  <a:cubicBezTo>
                    <a:pt x="89297" y="0"/>
                    <a:pt x="164703" y="0"/>
                    <a:pt x="238125" y="0"/>
                  </a:cubicBezTo>
                  <a:cubicBezTo>
                    <a:pt x="242094" y="0"/>
                    <a:pt x="246063" y="1985"/>
                    <a:pt x="248047" y="3970"/>
                  </a:cubicBezTo>
                  <a:cubicBezTo>
                    <a:pt x="252016" y="5955"/>
                    <a:pt x="254000" y="9925"/>
                    <a:pt x="254000" y="15880"/>
                  </a:cubicBezTo>
                  <a:cubicBezTo>
                    <a:pt x="254000" y="45654"/>
                    <a:pt x="254000" y="77413"/>
                    <a:pt x="254000" y="109171"/>
                  </a:cubicBezTo>
                  <a:cubicBezTo>
                    <a:pt x="254000" y="220328"/>
                    <a:pt x="254000" y="331484"/>
                    <a:pt x="254000" y="442640"/>
                  </a:cubicBezTo>
                  <a:cubicBezTo>
                    <a:pt x="254000" y="585556"/>
                    <a:pt x="254000" y="726486"/>
                    <a:pt x="254000" y="869401"/>
                  </a:cubicBezTo>
                  <a:cubicBezTo>
                    <a:pt x="254000" y="992467"/>
                    <a:pt x="254000" y="1115533"/>
                    <a:pt x="254000" y="1238599"/>
                  </a:cubicBezTo>
                  <a:cubicBezTo>
                    <a:pt x="254000" y="1292192"/>
                    <a:pt x="254000" y="1343800"/>
                    <a:pt x="254000" y="1397394"/>
                  </a:cubicBezTo>
                  <a:cubicBezTo>
                    <a:pt x="254000" y="1405333"/>
                    <a:pt x="246063" y="1411288"/>
                    <a:pt x="238125" y="1411288"/>
                  </a:cubicBezTo>
                  <a:cubicBezTo>
                    <a:pt x="164703" y="1411288"/>
                    <a:pt x="89297" y="1411288"/>
                    <a:pt x="15875" y="1411288"/>
                  </a:cubicBezTo>
                  <a:cubicBezTo>
                    <a:pt x="7938" y="1411288"/>
                    <a:pt x="0" y="1405333"/>
                    <a:pt x="0" y="1397394"/>
                  </a:cubicBezTo>
                  <a:cubicBezTo>
                    <a:pt x="0" y="1365635"/>
                    <a:pt x="0" y="1333876"/>
                    <a:pt x="0" y="1302117"/>
                  </a:cubicBezTo>
                  <a:cubicBezTo>
                    <a:pt x="0" y="1190960"/>
                    <a:pt x="0" y="1079804"/>
                    <a:pt x="0" y="970633"/>
                  </a:cubicBezTo>
                  <a:cubicBezTo>
                    <a:pt x="0" y="827718"/>
                    <a:pt x="0" y="684802"/>
                    <a:pt x="0" y="541887"/>
                  </a:cubicBezTo>
                  <a:cubicBezTo>
                    <a:pt x="0" y="418821"/>
                    <a:pt x="0" y="295755"/>
                    <a:pt x="0" y="172689"/>
                  </a:cubicBezTo>
                  <a:cubicBezTo>
                    <a:pt x="0" y="119096"/>
                    <a:pt x="0" y="67488"/>
                    <a:pt x="0" y="15880"/>
                  </a:cubicBezTo>
                  <a:cubicBezTo>
                    <a:pt x="0" y="5955"/>
                    <a:pt x="7938" y="0"/>
                    <a:pt x="15875" y="0"/>
                  </a:cubicBezTo>
                  <a:close/>
                </a:path>
              </a:pathLst>
            </a:custGeom>
            <a:solidFill>
              <a:schemeClr val="accent1"/>
            </a:solidFill>
            <a:ln w="9525">
              <a:solidFill>
                <a:schemeClr val="tx1"/>
              </a:solidFill>
              <a:round/>
              <a:headEnd/>
              <a:tailEnd/>
            </a:ln>
            <a:effectLst/>
            <a:extLst/>
          </p:spPr>
          <p:style>
            <a:lnRef idx="1">
              <a:schemeClr val="accent1"/>
            </a:lnRef>
            <a:fillRef idx="0">
              <a:schemeClr val="accent1"/>
            </a:fillRef>
            <a:effectRef idx="0">
              <a:schemeClr val="accent1"/>
            </a:effectRef>
            <a:fontRef idx="minor">
              <a:schemeClr val="tx1"/>
            </a:fontRef>
          </p:style>
          <p:txBody>
            <a:bodyPr anchor="ctr"/>
            <a:lstStyle/>
            <a:p>
              <a:pPr algn="ctr"/>
              <a:endParaRPr lang="en-US">
                <a:latin typeface="Segoe UI Light" pitchFamily="34" charset="0"/>
                <a:ea typeface="ＭＳ Ｐゴシック" pitchFamily="-65" charset="-128"/>
              </a:endParaRPr>
            </a:p>
          </p:txBody>
        </p:sp>
      </p:grpSp>
      <p:grpSp>
        <p:nvGrpSpPr>
          <p:cNvPr id="51" name="Group 50"/>
          <p:cNvGrpSpPr/>
          <p:nvPr/>
        </p:nvGrpSpPr>
        <p:grpSpPr>
          <a:xfrm>
            <a:off x="2952750" y="2476500"/>
            <a:ext cx="234506" cy="230986"/>
            <a:chOff x="6461881" y="3852807"/>
            <a:chExt cx="375209" cy="369577"/>
          </a:xfrm>
        </p:grpSpPr>
        <p:grpSp>
          <p:nvGrpSpPr>
            <p:cNvPr id="52" name="Group 51"/>
            <p:cNvGrpSpPr/>
            <p:nvPr/>
          </p:nvGrpSpPr>
          <p:grpSpPr>
            <a:xfrm>
              <a:off x="6540202" y="3852807"/>
              <a:ext cx="296888" cy="293243"/>
              <a:chOff x="6394481" y="3852807"/>
              <a:chExt cx="296888" cy="293243"/>
            </a:xfrm>
          </p:grpSpPr>
          <p:sp>
            <p:nvSpPr>
              <p:cNvPr id="73" name="Cube 72"/>
              <p:cNvSpPr/>
              <p:nvPr/>
            </p:nvSpPr>
            <p:spPr bwMode="auto">
              <a:xfrm>
                <a:off x="6394481" y="4038600"/>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74" name="Cube 73"/>
              <p:cNvSpPr/>
              <p:nvPr/>
            </p:nvSpPr>
            <p:spPr bwMode="auto">
              <a:xfrm>
                <a:off x="6394481" y="3945703"/>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75" name="Cube 74"/>
              <p:cNvSpPr/>
              <p:nvPr/>
            </p:nvSpPr>
            <p:spPr bwMode="auto">
              <a:xfrm>
                <a:off x="6394481" y="3852807"/>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76" name="Cube 75"/>
              <p:cNvSpPr/>
              <p:nvPr/>
            </p:nvSpPr>
            <p:spPr bwMode="auto">
              <a:xfrm>
                <a:off x="6489200" y="4038600"/>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77" name="Cube 76"/>
              <p:cNvSpPr/>
              <p:nvPr/>
            </p:nvSpPr>
            <p:spPr bwMode="auto">
              <a:xfrm>
                <a:off x="6489200" y="3945703"/>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78" name="Cube 77"/>
              <p:cNvSpPr/>
              <p:nvPr/>
            </p:nvSpPr>
            <p:spPr bwMode="auto">
              <a:xfrm>
                <a:off x="6489200" y="3852807"/>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79" name="Cube 78"/>
              <p:cNvSpPr/>
              <p:nvPr/>
            </p:nvSpPr>
            <p:spPr bwMode="auto">
              <a:xfrm>
                <a:off x="6583919" y="4038600"/>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80" name="Cube 79"/>
              <p:cNvSpPr/>
              <p:nvPr/>
            </p:nvSpPr>
            <p:spPr bwMode="auto">
              <a:xfrm>
                <a:off x="6583919" y="3945703"/>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81" name="Cube 80"/>
              <p:cNvSpPr/>
              <p:nvPr/>
            </p:nvSpPr>
            <p:spPr bwMode="auto">
              <a:xfrm>
                <a:off x="6583919" y="3852807"/>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grpSp>
        <p:grpSp>
          <p:nvGrpSpPr>
            <p:cNvPr id="53" name="Group 52"/>
            <p:cNvGrpSpPr/>
            <p:nvPr/>
          </p:nvGrpSpPr>
          <p:grpSpPr>
            <a:xfrm>
              <a:off x="6501042" y="3890974"/>
              <a:ext cx="296888" cy="293243"/>
              <a:chOff x="6394481" y="3852807"/>
              <a:chExt cx="296888" cy="293243"/>
            </a:xfrm>
          </p:grpSpPr>
          <p:sp>
            <p:nvSpPr>
              <p:cNvPr id="64" name="Cube 63"/>
              <p:cNvSpPr/>
              <p:nvPr/>
            </p:nvSpPr>
            <p:spPr bwMode="auto">
              <a:xfrm>
                <a:off x="6394481" y="4038600"/>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65" name="Cube 64"/>
              <p:cNvSpPr/>
              <p:nvPr/>
            </p:nvSpPr>
            <p:spPr bwMode="auto">
              <a:xfrm>
                <a:off x="6394481" y="3945703"/>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66" name="Cube 65"/>
              <p:cNvSpPr/>
              <p:nvPr/>
            </p:nvSpPr>
            <p:spPr bwMode="auto">
              <a:xfrm>
                <a:off x="6394481" y="3852807"/>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67" name="Cube 66"/>
              <p:cNvSpPr/>
              <p:nvPr/>
            </p:nvSpPr>
            <p:spPr bwMode="auto">
              <a:xfrm>
                <a:off x="6489200" y="4038600"/>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68" name="Cube 67"/>
              <p:cNvSpPr/>
              <p:nvPr/>
            </p:nvSpPr>
            <p:spPr bwMode="auto">
              <a:xfrm>
                <a:off x="6489200" y="3945703"/>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69" name="Cube 68"/>
              <p:cNvSpPr/>
              <p:nvPr/>
            </p:nvSpPr>
            <p:spPr bwMode="auto">
              <a:xfrm>
                <a:off x="6489200" y="3852807"/>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70" name="Cube 69"/>
              <p:cNvSpPr/>
              <p:nvPr/>
            </p:nvSpPr>
            <p:spPr bwMode="auto">
              <a:xfrm>
                <a:off x="6583919" y="4038600"/>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71" name="Cube 70"/>
              <p:cNvSpPr/>
              <p:nvPr/>
            </p:nvSpPr>
            <p:spPr bwMode="auto">
              <a:xfrm>
                <a:off x="6583919" y="3945703"/>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72" name="Cube 71"/>
              <p:cNvSpPr/>
              <p:nvPr/>
            </p:nvSpPr>
            <p:spPr bwMode="auto">
              <a:xfrm>
                <a:off x="6583919" y="3852807"/>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grpSp>
        <p:grpSp>
          <p:nvGrpSpPr>
            <p:cNvPr id="54" name="Group 53"/>
            <p:cNvGrpSpPr/>
            <p:nvPr/>
          </p:nvGrpSpPr>
          <p:grpSpPr>
            <a:xfrm>
              <a:off x="6461881" y="3929141"/>
              <a:ext cx="296888" cy="293243"/>
              <a:chOff x="6394481" y="3852807"/>
              <a:chExt cx="296888" cy="293243"/>
            </a:xfrm>
          </p:grpSpPr>
          <p:sp>
            <p:nvSpPr>
              <p:cNvPr id="55" name="Cube 54"/>
              <p:cNvSpPr/>
              <p:nvPr/>
            </p:nvSpPr>
            <p:spPr bwMode="auto">
              <a:xfrm>
                <a:off x="6394481" y="4038600"/>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56" name="Cube 55"/>
              <p:cNvSpPr/>
              <p:nvPr/>
            </p:nvSpPr>
            <p:spPr bwMode="auto">
              <a:xfrm>
                <a:off x="6394481" y="3945703"/>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57" name="Cube 56"/>
              <p:cNvSpPr/>
              <p:nvPr/>
            </p:nvSpPr>
            <p:spPr bwMode="auto">
              <a:xfrm>
                <a:off x="6394481" y="3852807"/>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58" name="Cube 57"/>
              <p:cNvSpPr/>
              <p:nvPr/>
            </p:nvSpPr>
            <p:spPr bwMode="auto">
              <a:xfrm>
                <a:off x="6489200" y="4038600"/>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59" name="Cube 58"/>
              <p:cNvSpPr/>
              <p:nvPr/>
            </p:nvSpPr>
            <p:spPr bwMode="auto">
              <a:xfrm>
                <a:off x="6489200" y="3945703"/>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60" name="Cube 59"/>
              <p:cNvSpPr/>
              <p:nvPr/>
            </p:nvSpPr>
            <p:spPr bwMode="auto">
              <a:xfrm>
                <a:off x="6489200" y="3852807"/>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61" name="Cube 60"/>
              <p:cNvSpPr/>
              <p:nvPr/>
            </p:nvSpPr>
            <p:spPr bwMode="auto">
              <a:xfrm>
                <a:off x="6583919" y="4038600"/>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62" name="Cube 61"/>
              <p:cNvSpPr/>
              <p:nvPr/>
            </p:nvSpPr>
            <p:spPr bwMode="auto">
              <a:xfrm>
                <a:off x="6583919" y="3945703"/>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63" name="Cube 62"/>
              <p:cNvSpPr/>
              <p:nvPr/>
            </p:nvSpPr>
            <p:spPr bwMode="auto">
              <a:xfrm>
                <a:off x="6583919" y="3852807"/>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grpSp>
      </p:grpSp>
      <p:grpSp>
        <p:nvGrpSpPr>
          <p:cNvPr id="82" name="Group 81"/>
          <p:cNvGrpSpPr/>
          <p:nvPr/>
        </p:nvGrpSpPr>
        <p:grpSpPr>
          <a:xfrm>
            <a:off x="2675931" y="2476500"/>
            <a:ext cx="234506" cy="230986"/>
            <a:chOff x="6461881" y="3852807"/>
            <a:chExt cx="375209" cy="369577"/>
          </a:xfrm>
        </p:grpSpPr>
        <p:grpSp>
          <p:nvGrpSpPr>
            <p:cNvPr id="83" name="Group 82"/>
            <p:cNvGrpSpPr/>
            <p:nvPr/>
          </p:nvGrpSpPr>
          <p:grpSpPr>
            <a:xfrm>
              <a:off x="6540202" y="3852807"/>
              <a:ext cx="296888" cy="293243"/>
              <a:chOff x="6394481" y="3852807"/>
              <a:chExt cx="296888" cy="293243"/>
            </a:xfrm>
          </p:grpSpPr>
          <p:sp>
            <p:nvSpPr>
              <p:cNvPr id="104" name="Cube 103"/>
              <p:cNvSpPr/>
              <p:nvPr/>
            </p:nvSpPr>
            <p:spPr bwMode="auto">
              <a:xfrm>
                <a:off x="6394481" y="4038600"/>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05" name="Cube 104"/>
              <p:cNvSpPr/>
              <p:nvPr/>
            </p:nvSpPr>
            <p:spPr bwMode="auto">
              <a:xfrm>
                <a:off x="6394481" y="3945703"/>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06" name="Cube 105"/>
              <p:cNvSpPr/>
              <p:nvPr/>
            </p:nvSpPr>
            <p:spPr bwMode="auto">
              <a:xfrm>
                <a:off x="6394481" y="3852807"/>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07" name="Cube 106"/>
              <p:cNvSpPr/>
              <p:nvPr/>
            </p:nvSpPr>
            <p:spPr bwMode="auto">
              <a:xfrm>
                <a:off x="6489200" y="4038600"/>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08" name="Cube 107"/>
              <p:cNvSpPr/>
              <p:nvPr/>
            </p:nvSpPr>
            <p:spPr bwMode="auto">
              <a:xfrm>
                <a:off x="6489200" y="3945703"/>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09" name="Cube 108"/>
              <p:cNvSpPr/>
              <p:nvPr/>
            </p:nvSpPr>
            <p:spPr bwMode="auto">
              <a:xfrm>
                <a:off x="6489200" y="3852807"/>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10" name="Cube 109"/>
              <p:cNvSpPr/>
              <p:nvPr/>
            </p:nvSpPr>
            <p:spPr bwMode="auto">
              <a:xfrm>
                <a:off x="6583919" y="4038600"/>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11" name="Cube 110"/>
              <p:cNvSpPr/>
              <p:nvPr/>
            </p:nvSpPr>
            <p:spPr bwMode="auto">
              <a:xfrm>
                <a:off x="6583919" y="3945703"/>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12" name="Cube 111"/>
              <p:cNvSpPr/>
              <p:nvPr/>
            </p:nvSpPr>
            <p:spPr bwMode="auto">
              <a:xfrm>
                <a:off x="6583919" y="3852807"/>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grpSp>
        <p:grpSp>
          <p:nvGrpSpPr>
            <p:cNvPr id="84" name="Group 83"/>
            <p:cNvGrpSpPr/>
            <p:nvPr/>
          </p:nvGrpSpPr>
          <p:grpSpPr>
            <a:xfrm>
              <a:off x="6501042" y="3890974"/>
              <a:ext cx="296888" cy="293243"/>
              <a:chOff x="6394481" y="3852807"/>
              <a:chExt cx="296888" cy="293243"/>
            </a:xfrm>
          </p:grpSpPr>
          <p:sp>
            <p:nvSpPr>
              <p:cNvPr id="95" name="Cube 94"/>
              <p:cNvSpPr/>
              <p:nvPr/>
            </p:nvSpPr>
            <p:spPr bwMode="auto">
              <a:xfrm>
                <a:off x="6394481" y="4038600"/>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96" name="Cube 95"/>
              <p:cNvSpPr/>
              <p:nvPr/>
            </p:nvSpPr>
            <p:spPr bwMode="auto">
              <a:xfrm>
                <a:off x="6394481" y="3945703"/>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97" name="Cube 96"/>
              <p:cNvSpPr/>
              <p:nvPr/>
            </p:nvSpPr>
            <p:spPr bwMode="auto">
              <a:xfrm>
                <a:off x="6394481" y="3852807"/>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98" name="Cube 97"/>
              <p:cNvSpPr/>
              <p:nvPr/>
            </p:nvSpPr>
            <p:spPr bwMode="auto">
              <a:xfrm>
                <a:off x="6489200" y="4038600"/>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99" name="Cube 98"/>
              <p:cNvSpPr/>
              <p:nvPr/>
            </p:nvSpPr>
            <p:spPr bwMode="auto">
              <a:xfrm>
                <a:off x="6489200" y="3945703"/>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00" name="Cube 99"/>
              <p:cNvSpPr/>
              <p:nvPr/>
            </p:nvSpPr>
            <p:spPr bwMode="auto">
              <a:xfrm>
                <a:off x="6489200" y="3852807"/>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01" name="Cube 100"/>
              <p:cNvSpPr/>
              <p:nvPr/>
            </p:nvSpPr>
            <p:spPr bwMode="auto">
              <a:xfrm>
                <a:off x="6583919" y="4038600"/>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02" name="Cube 101"/>
              <p:cNvSpPr/>
              <p:nvPr/>
            </p:nvSpPr>
            <p:spPr bwMode="auto">
              <a:xfrm>
                <a:off x="6583919" y="3945703"/>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03" name="Cube 102"/>
              <p:cNvSpPr/>
              <p:nvPr/>
            </p:nvSpPr>
            <p:spPr bwMode="auto">
              <a:xfrm>
                <a:off x="6583919" y="3852807"/>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grpSp>
        <p:grpSp>
          <p:nvGrpSpPr>
            <p:cNvPr id="85" name="Group 84"/>
            <p:cNvGrpSpPr/>
            <p:nvPr/>
          </p:nvGrpSpPr>
          <p:grpSpPr>
            <a:xfrm>
              <a:off x="6461881" y="3929141"/>
              <a:ext cx="296888" cy="293243"/>
              <a:chOff x="6394481" y="3852807"/>
              <a:chExt cx="296888" cy="293243"/>
            </a:xfrm>
          </p:grpSpPr>
          <p:sp>
            <p:nvSpPr>
              <p:cNvPr id="86" name="Cube 85"/>
              <p:cNvSpPr/>
              <p:nvPr/>
            </p:nvSpPr>
            <p:spPr bwMode="auto">
              <a:xfrm>
                <a:off x="6394481" y="4038600"/>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87" name="Cube 86"/>
              <p:cNvSpPr/>
              <p:nvPr/>
            </p:nvSpPr>
            <p:spPr bwMode="auto">
              <a:xfrm>
                <a:off x="6394481" y="3945703"/>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88" name="Cube 87"/>
              <p:cNvSpPr/>
              <p:nvPr/>
            </p:nvSpPr>
            <p:spPr bwMode="auto">
              <a:xfrm>
                <a:off x="6394481" y="3852807"/>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89" name="Cube 88"/>
              <p:cNvSpPr/>
              <p:nvPr/>
            </p:nvSpPr>
            <p:spPr bwMode="auto">
              <a:xfrm>
                <a:off x="6489200" y="4038600"/>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90" name="Cube 89"/>
              <p:cNvSpPr/>
              <p:nvPr/>
            </p:nvSpPr>
            <p:spPr bwMode="auto">
              <a:xfrm>
                <a:off x="6489200" y="3945703"/>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91" name="Cube 90"/>
              <p:cNvSpPr/>
              <p:nvPr/>
            </p:nvSpPr>
            <p:spPr bwMode="auto">
              <a:xfrm>
                <a:off x="6489200" y="3852807"/>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92" name="Cube 91"/>
              <p:cNvSpPr/>
              <p:nvPr/>
            </p:nvSpPr>
            <p:spPr bwMode="auto">
              <a:xfrm>
                <a:off x="6583919" y="4038600"/>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93" name="Cube 92"/>
              <p:cNvSpPr/>
              <p:nvPr/>
            </p:nvSpPr>
            <p:spPr bwMode="auto">
              <a:xfrm>
                <a:off x="6583919" y="3945703"/>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94" name="Cube 93"/>
              <p:cNvSpPr/>
              <p:nvPr/>
            </p:nvSpPr>
            <p:spPr bwMode="auto">
              <a:xfrm>
                <a:off x="6583919" y="3852807"/>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grpSp>
      </p:grpSp>
      <p:grpSp>
        <p:nvGrpSpPr>
          <p:cNvPr id="113" name="Group 112"/>
          <p:cNvGrpSpPr/>
          <p:nvPr/>
        </p:nvGrpSpPr>
        <p:grpSpPr>
          <a:xfrm>
            <a:off x="6449830" y="2306268"/>
            <a:ext cx="234506" cy="230986"/>
            <a:chOff x="6461881" y="3852807"/>
            <a:chExt cx="375209" cy="369577"/>
          </a:xfrm>
        </p:grpSpPr>
        <p:grpSp>
          <p:nvGrpSpPr>
            <p:cNvPr id="114" name="Group 113"/>
            <p:cNvGrpSpPr/>
            <p:nvPr/>
          </p:nvGrpSpPr>
          <p:grpSpPr>
            <a:xfrm>
              <a:off x="6540202" y="3852807"/>
              <a:ext cx="296888" cy="293243"/>
              <a:chOff x="6394481" y="3852807"/>
              <a:chExt cx="296888" cy="293243"/>
            </a:xfrm>
          </p:grpSpPr>
          <p:sp>
            <p:nvSpPr>
              <p:cNvPr id="135" name="Cube 134"/>
              <p:cNvSpPr/>
              <p:nvPr/>
            </p:nvSpPr>
            <p:spPr bwMode="auto">
              <a:xfrm>
                <a:off x="6394481" y="4038600"/>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36" name="Cube 135"/>
              <p:cNvSpPr/>
              <p:nvPr/>
            </p:nvSpPr>
            <p:spPr bwMode="auto">
              <a:xfrm>
                <a:off x="6394481" y="3945703"/>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37" name="Cube 136"/>
              <p:cNvSpPr/>
              <p:nvPr/>
            </p:nvSpPr>
            <p:spPr bwMode="auto">
              <a:xfrm>
                <a:off x="6394481" y="3852807"/>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38" name="Cube 137"/>
              <p:cNvSpPr/>
              <p:nvPr/>
            </p:nvSpPr>
            <p:spPr bwMode="auto">
              <a:xfrm>
                <a:off x="6489200" y="4038600"/>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39" name="Cube 138"/>
              <p:cNvSpPr/>
              <p:nvPr/>
            </p:nvSpPr>
            <p:spPr bwMode="auto">
              <a:xfrm>
                <a:off x="6489200" y="3945703"/>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40" name="Cube 139"/>
              <p:cNvSpPr/>
              <p:nvPr/>
            </p:nvSpPr>
            <p:spPr bwMode="auto">
              <a:xfrm>
                <a:off x="6489200" y="3852807"/>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41" name="Cube 140"/>
              <p:cNvSpPr/>
              <p:nvPr/>
            </p:nvSpPr>
            <p:spPr bwMode="auto">
              <a:xfrm>
                <a:off x="6583919" y="4038600"/>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42" name="Cube 141"/>
              <p:cNvSpPr/>
              <p:nvPr/>
            </p:nvSpPr>
            <p:spPr bwMode="auto">
              <a:xfrm>
                <a:off x="6583919" y="3945703"/>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43" name="Cube 142"/>
              <p:cNvSpPr/>
              <p:nvPr/>
            </p:nvSpPr>
            <p:spPr bwMode="auto">
              <a:xfrm>
                <a:off x="6583919" y="3852807"/>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grpSp>
        <p:grpSp>
          <p:nvGrpSpPr>
            <p:cNvPr id="115" name="Group 114"/>
            <p:cNvGrpSpPr/>
            <p:nvPr/>
          </p:nvGrpSpPr>
          <p:grpSpPr>
            <a:xfrm>
              <a:off x="6501042" y="3890974"/>
              <a:ext cx="296888" cy="293243"/>
              <a:chOff x="6394481" y="3852807"/>
              <a:chExt cx="296888" cy="293243"/>
            </a:xfrm>
          </p:grpSpPr>
          <p:sp>
            <p:nvSpPr>
              <p:cNvPr id="126" name="Cube 125"/>
              <p:cNvSpPr/>
              <p:nvPr/>
            </p:nvSpPr>
            <p:spPr bwMode="auto">
              <a:xfrm>
                <a:off x="6394481" y="4038600"/>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27" name="Cube 126"/>
              <p:cNvSpPr/>
              <p:nvPr/>
            </p:nvSpPr>
            <p:spPr bwMode="auto">
              <a:xfrm>
                <a:off x="6394481" y="3945703"/>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28" name="Cube 127"/>
              <p:cNvSpPr/>
              <p:nvPr/>
            </p:nvSpPr>
            <p:spPr bwMode="auto">
              <a:xfrm>
                <a:off x="6394481" y="3852807"/>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29" name="Cube 128"/>
              <p:cNvSpPr/>
              <p:nvPr/>
            </p:nvSpPr>
            <p:spPr bwMode="auto">
              <a:xfrm>
                <a:off x="6489200" y="4038600"/>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30" name="Cube 129"/>
              <p:cNvSpPr/>
              <p:nvPr/>
            </p:nvSpPr>
            <p:spPr bwMode="auto">
              <a:xfrm>
                <a:off x="6489200" y="3945703"/>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31" name="Cube 130"/>
              <p:cNvSpPr/>
              <p:nvPr/>
            </p:nvSpPr>
            <p:spPr bwMode="auto">
              <a:xfrm>
                <a:off x="6489200" y="3852807"/>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32" name="Cube 131"/>
              <p:cNvSpPr/>
              <p:nvPr/>
            </p:nvSpPr>
            <p:spPr bwMode="auto">
              <a:xfrm>
                <a:off x="6583919" y="4038600"/>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33" name="Cube 132"/>
              <p:cNvSpPr/>
              <p:nvPr/>
            </p:nvSpPr>
            <p:spPr bwMode="auto">
              <a:xfrm>
                <a:off x="6583919" y="3945703"/>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34" name="Cube 133"/>
              <p:cNvSpPr/>
              <p:nvPr/>
            </p:nvSpPr>
            <p:spPr bwMode="auto">
              <a:xfrm>
                <a:off x="6583919" y="3852807"/>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grpSp>
        <p:grpSp>
          <p:nvGrpSpPr>
            <p:cNvPr id="116" name="Group 115"/>
            <p:cNvGrpSpPr/>
            <p:nvPr/>
          </p:nvGrpSpPr>
          <p:grpSpPr>
            <a:xfrm>
              <a:off x="6461881" y="3929141"/>
              <a:ext cx="296888" cy="293243"/>
              <a:chOff x="6394481" y="3852807"/>
              <a:chExt cx="296888" cy="293243"/>
            </a:xfrm>
          </p:grpSpPr>
          <p:sp>
            <p:nvSpPr>
              <p:cNvPr id="117" name="Cube 116"/>
              <p:cNvSpPr/>
              <p:nvPr/>
            </p:nvSpPr>
            <p:spPr bwMode="auto">
              <a:xfrm>
                <a:off x="6394481" y="4038600"/>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18" name="Cube 117"/>
              <p:cNvSpPr/>
              <p:nvPr/>
            </p:nvSpPr>
            <p:spPr bwMode="auto">
              <a:xfrm>
                <a:off x="6394481" y="3945703"/>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19" name="Cube 118"/>
              <p:cNvSpPr/>
              <p:nvPr/>
            </p:nvSpPr>
            <p:spPr bwMode="auto">
              <a:xfrm>
                <a:off x="6394481" y="3852807"/>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20" name="Cube 119"/>
              <p:cNvSpPr/>
              <p:nvPr/>
            </p:nvSpPr>
            <p:spPr bwMode="auto">
              <a:xfrm>
                <a:off x="6489200" y="4038600"/>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21" name="Cube 120"/>
              <p:cNvSpPr/>
              <p:nvPr/>
            </p:nvSpPr>
            <p:spPr bwMode="auto">
              <a:xfrm>
                <a:off x="6489200" y="3945703"/>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22" name="Cube 121"/>
              <p:cNvSpPr/>
              <p:nvPr/>
            </p:nvSpPr>
            <p:spPr bwMode="auto">
              <a:xfrm>
                <a:off x="6489200" y="3852807"/>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23" name="Cube 122"/>
              <p:cNvSpPr/>
              <p:nvPr/>
            </p:nvSpPr>
            <p:spPr bwMode="auto">
              <a:xfrm>
                <a:off x="6583919" y="4038600"/>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24" name="Cube 123"/>
              <p:cNvSpPr/>
              <p:nvPr/>
            </p:nvSpPr>
            <p:spPr bwMode="auto">
              <a:xfrm>
                <a:off x="6583919" y="3945703"/>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25" name="Cube 124"/>
              <p:cNvSpPr/>
              <p:nvPr/>
            </p:nvSpPr>
            <p:spPr bwMode="auto">
              <a:xfrm>
                <a:off x="6583919" y="3852807"/>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grpSp>
      </p:grpSp>
      <p:grpSp>
        <p:nvGrpSpPr>
          <p:cNvPr id="144" name="Group 143"/>
          <p:cNvGrpSpPr/>
          <p:nvPr/>
        </p:nvGrpSpPr>
        <p:grpSpPr>
          <a:xfrm>
            <a:off x="6173009" y="2306268"/>
            <a:ext cx="234506" cy="230986"/>
            <a:chOff x="6461881" y="3852807"/>
            <a:chExt cx="375209" cy="369577"/>
          </a:xfrm>
        </p:grpSpPr>
        <p:grpSp>
          <p:nvGrpSpPr>
            <p:cNvPr id="145" name="Group 144"/>
            <p:cNvGrpSpPr/>
            <p:nvPr/>
          </p:nvGrpSpPr>
          <p:grpSpPr>
            <a:xfrm>
              <a:off x="6540202" y="3852807"/>
              <a:ext cx="296888" cy="293243"/>
              <a:chOff x="6394481" y="3852807"/>
              <a:chExt cx="296888" cy="293243"/>
            </a:xfrm>
          </p:grpSpPr>
          <p:sp>
            <p:nvSpPr>
              <p:cNvPr id="166" name="Cube 165"/>
              <p:cNvSpPr/>
              <p:nvPr/>
            </p:nvSpPr>
            <p:spPr bwMode="auto">
              <a:xfrm>
                <a:off x="6394481" y="4038600"/>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67" name="Cube 166"/>
              <p:cNvSpPr/>
              <p:nvPr/>
            </p:nvSpPr>
            <p:spPr bwMode="auto">
              <a:xfrm>
                <a:off x="6394481" y="3945703"/>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68" name="Cube 167"/>
              <p:cNvSpPr/>
              <p:nvPr/>
            </p:nvSpPr>
            <p:spPr bwMode="auto">
              <a:xfrm>
                <a:off x="6394481" y="3852807"/>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69" name="Cube 168"/>
              <p:cNvSpPr/>
              <p:nvPr/>
            </p:nvSpPr>
            <p:spPr bwMode="auto">
              <a:xfrm>
                <a:off x="6489200" y="4038600"/>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70" name="Cube 169"/>
              <p:cNvSpPr/>
              <p:nvPr/>
            </p:nvSpPr>
            <p:spPr bwMode="auto">
              <a:xfrm>
                <a:off x="6489200" y="3945703"/>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71" name="Cube 170"/>
              <p:cNvSpPr/>
              <p:nvPr/>
            </p:nvSpPr>
            <p:spPr bwMode="auto">
              <a:xfrm>
                <a:off x="6489200" y="3852807"/>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72" name="Cube 171"/>
              <p:cNvSpPr/>
              <p:nvPr/>
            </p:nvSpPr>
            <p:spPr bwMode="auto">
              <a:xfrm>
                <a:off x="6583919" y="4038600"/>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73" name="Cube 172"/>
              <p:cNvSpPr/>
              <p:nvPr/>
            </p:nvSpPr>
            <p:spPr bwMode="auto">
              <a:xfrm>
                <a:off x="6583919" y="3945703"/>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74" name="Cube 173"/>
              <p:cNvSpPr/>
              <p:nvPr/>
            </p:nvSpPr>
            <p:spPr bwMode="auto">
              <a:xfrm>
                <a:off x="6583919" y="3852807"/>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grpSp>
        <p:grpSp>
          <p:nvGrpSpPr>
            <p:cNvPr id="146" name="Group 145"/>
            <p:cNvGrpSpPr/>
            <p:nvPr/>
          </p:nvGrpSpPr>
          <p:grpSpPr>
            <a:xfrm>
              <a:off x="6501042" y="3890974"/>
              <a:ext cx="296888" cy="293243"/>
              <a:chOff x="6394481" y="3852807"/>
              <a:chExt cx="296888" cy="293243"/>
            </a:xfrm>
          </p:grpSpPr>
          <p:sp>
            <p:nvSpPr>
              <p:cNvPr id="157" name="Cube 156"/>
              <p:cNvSpPr/>
              <p:nvPr/>
            </p:nvSpPr>
            <p:spPr bwMode="auto">
              <a:xfrm>
                <a:off x="6394481" y="4038600"/>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58" name="Cube 157"/>
              <p:cNvSpPr/>
              <p:nvPr/>
            </p:nvSpPr>
            <p:spPr bwMode="auto">
              <a:xfrm>
                <a:off x="6394481" y="3945703"/>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59" name="Cube 158"/>
              <p:cNvSpPr/>
              <p:nvPr/>
            </p:nvSpPr>
            <p:spPr bwMode="auto">
              <a:xfrm>
                <a:off x="6394481" y="3852807"/>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60" name="Cube 159"/>
              <p:cNvSpPr/>
              <p:nvPr/>
            </p:nvSpPr>
            <p:spPr bwMode="auto">
              <a:xfrm>
                <a:off x="6489200" y="4038600"/>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61" name="Cube 160"/>
              <p:cNvSpPr/>
              <p:nvPr/>
            </p:nvSpPr>
            <p:spPr bwMode="auto">
              <a:xfrm>
                <a:off x="6489200" y="3945703"/>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62" name="Cube 161"/>
              <p:cNvSpPr/>
              <p:nvPr/>
            </p:nvSpPr>
            <p:spPr bwMode="auto">
              <a:xfrm>
                <a:off x="6489200" y="3852807"/>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63" name="Cube 162"/>
              <p:cNvSpPr/>
              <p:nvPr/>
            </p:nvSpPr>
            <p:spPr bwMode="auto">
              <a:xfrm>
                <a:off x="6583919" y="4038600"/>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64" name="Cube 163"/>
              <p:cNvSpPr/>
              <p:nvPr/>
            </p:nvSpPr>
            <p:spPr bwMode="auto">
              <a:xfrm>
                <a:off x="6583919" y="3945703"/>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65" name="Cube 164"/>
              <p:cNvSpPr/>
              <p:nvPr/>
            </p:nvSpPr>
            <p:spPr bwMode="auto">
              <a:xfrm>
                <a:off x="6583919" y="3852807"/>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grpSp>
        <p:grpSp>
          <p:nvGrpSpPr>
            <p:cNvPr id="147" name="Group 146"/>
            <p:cNvGrpSpPr/>
            <p:nvPr/>
          </p:nvGrpSpPr>
          <p:grpSpPr>
            <a:xfrm>
              <a:off x="6461881" y="3929141"/>
              <a:ext cx="296888" cy="293243"/>
              <a:chOff x="6394481" y="3852807"/>
              <a:chExt cx="296888" cy="293243"/>
            </a:xfrm>
          </p:grpSpPr>
          <p:sp>
            <p:nvSpPr>
              <p:cNvPr id="148" name="Cube 147"/>
              <p:cNvSpPr/>
              <p:nvPr/>
            </p:nvSpPr>
            <p:spPr bwMode="auto">
              <a:xfrm>
                <a:off x="6394481" y="4038600"/>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49" name="Cube 148"/>
              <p:cNvSpPr/>
              <p:nvPr/>
            </p:nvSpPr>
            <p:spPr bwMode="auto">
              <a:xfrm>
                <a:off x="6394481" y="3945703"/>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50" name="Cube 149"/>
              <p:cNvSpPr/>
              <p:nvPr/>
            </p:nvSpPr>
            <p:spPr bwMode="auto">
              <a:xfrm>
                <a:off x="6394481" y="3852807"/>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51" name="Cube 150"/>
              <p:cNvSpPr/>
              <p:nvPr/>
            </p:nvSpPr>
            <p:spPr bwMode="auto">
              <a:xfrm>
                <a:off x="6489200" y="4038600"/>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52" name="Cube 151"/>
              <p:cNvSpPr/>
              <p:nvPr/>
            </p:nvSpPr>
            <p:spPr bwMode="auto">
              <a:xfrm>
                <a:off x="6489200" y="3945703"/>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53" name="Cube 152"/>
              <p:cNvSpPr/>
              <p:nvPr/>
            </p:nvSpPr>
            <p:spPr bwMode="auto">
              <a:xfrm>
                <a:off x="6489200" y="3852807"/>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54" name="Cube 153"/>
              <p:cNvSpPr/>
              <p:nvPr/>
            </p:nvSpPr>
            <p:spPr bwMode="auto">
              <a:xfrm>
                <a:off x="6583919" y="4038600"/>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55" name="Cube 154"/>
              <p:cNvSpPr/>
              <p:nvPr/>
            </p:nvSpPr>
            <p:spPr bwMode="auto">
              <a:xfrm>
                <a:off x="6583919" y="3945703"/>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56" name="Cube 155"/>
              <p:cNvSpPr/>
              <p:nvPr/>
            </p:nvSpPr>
            <p:spPr bwMode="auto">
              <a:xfrm>
                <a:off x="6583919" y="3852807"/>
                <a:ext cx="107450" cy="107450"/>
              </a:xfrm>
              <a:prstGeom prst="cube">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grpSp>
      </p:grpSp>
      <p:sp>
        <p:nvSpPr>
          <p:cNvPr id="175" name="Rectangle 210"/>
          <p:cNvSpPr/>
          <p:nvPr/>
        </p:nvSpPr>
        <p:spPr bwMode="auto">
          <a:xfrm rot="19483916">
            <a:off x="1652912" y="2468164"/>
            <a:ext cx="465385" cy="443126"/>
          </a:xfrm>
          <a:custGeom>
            <a:avLst/>
            <a:gdLst/>
            <a:ahLst/>
            <a:cxnLst/>
            <a:rect l="l" t="t" r="r" b="b"/>
            <a:pathLst>
              <a:path w="1142553" h="1087905">
                <a:moveTo>
                  <a:pt x="515001" y="489177"/>
                </a:moveTo>
                <a:lnTo>
                  <a:pt x="148341" y="571505"/>
                </a:lnTo>
                <a:lnTo>
                  <a:pt x="692426" y="956284"/>
                </a:lnTo>
                <a:lnTo>
                  <a:pt x="648751" y="590500"/>
                </a:lnTo>
                <a:lnTo>
                  <a:pt x="622237" y="590500"/>
                </a:lnTo>
                <a:lnTo>
                  <a:pt x="622919" y="592297"/>
                </a:lnTo>
                <a:lnTo>
                  <a:pt x="554011" y="591938"/>
                </a:lnTo>
                <a:lnTo>
                  <a:pt x="530756" y="530679"/>
                </a:lnTo>
                <a:lnTo>
                  <a:pt x="529001" y="526206"/>
                </a:lnTo>
                <a:lnTo>
                  <a:pt x="529058" y="526206"/>
                </a:lnTo>
                <a:close/>
                <a:moveTo>
                  <a:pt x="1005007" y="590500"/>
                </a:moveTo>
                <a:lnTo>
                  <a:pt x="713502" y="590500"/>
                </a:lnTo>
                <a:lnTo>
                  <a:pt x="755609" y="943154"/>
                </a:lnTo>
                <a:close/>
                <a:moveTo>
                  <a:pt x="385190" y="147231"/>
                </a:moveTo>
                <a:lnTo>
                  <a:pt x="128610" y="510041"/>
                </a:lnTo>
                <a:lnTo>
                  <a:pt x="491950" y="428458"/>
                </a:lnTo>
                <a:close/>
                <a:moveTo>
                  <a:pt x="447266" y="129598"/>
                </a:moveTo>
                <a:lnTo>
                  <a:pt x="597829" y="526206"/>
                </a:lnTo>
                <a:lnTo>
                  <a:pt x="1008079" y="526206"/>
                </a:lnTo>
                <a:close/>
                <a:moveTo>
                  <a:pt x="395982" y="0"/>
                </a:moveTo>
                <a:lnTo>
                  <a:pt x="1142553" y="527977"/>
                </a:lnTo>
                <a:lnTo>
                  <a:pt x="746570" y="1087905"/>
                </a:lnTo>
                <a:lnTo>
                  <a:pt x="0" y="559928"/>
                </a:lnTo>
                <a:close/>
              </a:path>
            </a:pathLst>
          </a:cu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57137" tIns="28569" rIns="57137" bIns="28569" rtlCol="0" anchor="ctr"/>
          <a:lstStyle/>
          <a:p>
            <a:pPr algn="ctr" defTabSz="570402"/>
            <a:endParaRPr lang="en-US" dirty="0">
              <a:solidFill>
                <a:schemeClr val="tx1"/>
              </a:solidFill>
              <a:latin typeface="Segoe UI Light" pitchFamily="34" charset="0"/>
              <a:ea typeface="ＭＳ Ｐゴシック" pitchFamily="-65" charset="-128"/>
            </a:endParaRPr>
          </a:p>
        </p:txBody>
      </p:sp>
      <p:grpSp>
        <p:nvGrpSpPr>
          <p:cNvPr id="176" name="Group 175"/>
          <p:cNvGrpSpPr>
            <a:grpSpLocks noChangeAspect="1"/>
          </p:cNvGrpSpPr>
          <p:nvPr/>
        </p:nvGrpSpPr>
        <p:grpSpPr>
          <a:xfrm>
            <a:off x="463354" y="2889997"/>
            <a:ext cx="349624" cy="256969"/>
            <a:chOff x="12698907" y="2345531"/>
            <a:chExt cx="1029210" cy="609600"/>
          </a:xfrm>
        </p:grpSpPr>
        <p:sp>
          <p:nvSpPr>
            <p:cNvPr id="177" name="Rounded Rectangle 2"/>
            <p:cNvSpPr/>
            <p:nvPr/>
          </p:nvSpPr>
          <p:spPr bwMode="auto">
            <a:xfrm>
              <a:off x="12698907" y="2345531"/>
              <a:ext cx="1029210" cy="609600"/>
            </a:xfrm>
            <a:custGeom>
              <a:avLst/>
              <a:gdLst/>
              <a:ahLst/>
              <a:cxnLst/>
              <a:rect l="l" t="t" r="r" b="b"/>
              <a:pathLst>
                <a:path w="1029210" h="609600">
                  <a:moveTo>
                    <a:pt x="64266" y="24489"/>
                  </a:moveTo>
                  <a:cubicBezTo>
                    <a:pt x="40276" y="24489"/>
                    <a:pt x="20829" y="43936"/>
                    <a:pt x="20829" y="67926"/>
                  </a:cubicBezTo>
                  <a:lnTo>
                    <a:pt x="20829" y="541674"/>
                  </a:lnTo>
                  <a:cubicBezTo>
                    <a:pt x="20829" y="565664"/>
                    <a:pt x="40276" y="585111"/>
                    <a:pt x="64266" y="585111"/>
                  </a:cubicBezTo>
                  <a:lnTo>
                    <a:pt x="964944" y="585111"/>
                  </a:lnTo>
                  <a:cubicBezTo>
                    <a:pt x="988934" y="585111"/>
                    <a:pt x="1008381" y="565664"/>
                    <a:pt x="1008381" y="541674"/>
                  </a:cubicBezTo>
                  <a:lnTo>
                    <a:pt x="1008381" y="67926"/>
                  </a:lnTo>
                  <a:cubicBezTo>
                    <a:pt x="1008381" y="43936"/>
                    <a:pt x="988934" y="24489"/>
                    <a:pt x="964944" y="24489"/>
                  </a:cubicBezTo>
                  <a:close/>
                  <a:moveTo>
                    <a:pt x="61118" y="0"/>
                  </a:moveTo>
                  <a:lnTo>
                    <a:pt x="968092" y="0"/>
                  </a:lnTo>
                  <a:cubicBezTo>
                    <a:pt x="1001847" y="0"/>
                    <a:pt x="1029210" y="27363"/>
                    <a:pt x="1029210" y="61118"/>
                  </a:cubicBezTo>
                  <a:lnTo>
                    <a:pt x="1029210" y="548482"/>
                  </a:lnTo>
                  <a:cubicBezTo>
                    <a:pt x="1029210" y="582237"/>
                    <a:pt x="1001847" y="609600"/>
                    <a:pt x="968092" y="609600"/>
                  </a:cubicBezTo>
                  <a:lnTo>
                    <a:pt x="61118" y="609600"/>
                  </a:lnTo>
                  <a:cubicBezTo>
                    <a:pt x="27363" y="609600"/>
                    <a:pt x="0" y="582237"/>
                    <a:pt x="0" y="548482"/>
                  </a:cubicBezTo>
                  <a:lnTo>
                    <a:pt x="0" y="61118"/>
                  </a:lnTo>
                  <a:cubicBezTo>
                    <a:pt x="0" y="27363"/>
                    <a:pt x="27363" y="0"/>
                    <a:pt x="61118" y="0"/>
                  </a:cubicBezTo>
                  <a:close/>
                </a:path>
              </a:pathLst>
            </a:cu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78" name="Rounded Rectangle 177"/>
            <p:cNvSpPr/>
            <p:nvPr/>
          </p:nvSpPr>
          <p:spPr bwMode="auto">
            <a:xfrm>
              <a:off x="12832512" y="2428875"/>
              <a:ext cx="381000" cy="27432"/>
            </a:xfrm>
            <a:prstGeom prst="roundRect">
              <a:avLst>
                <a:gd name="adj" fmla="val 50000"/>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79" name="Rounded Rectangle 178"/>
            <p:cNvSpPr/>
            <p:nvPr/>
          </p:nvSpPr>
          <p:spPr bwMode="auto">
            <a:xfrm>
              <a:off x="13213512" y="2555081"/>
              <a:ext cx="381000" cy="27432"/>
            </a:xfrm>
            <a:prstGeom prst="roundRect">
              <a:avLst>
                <a:gd name="adj" fmla="val 50000"/>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80" name="Rounded Rectangle 179"/>
            <p:cNvSpPr/>
            <p:nvPr/>
          </p:nvSpPr>
          <p:spPr bwMode="auto">
            <a:xfrm>
              <a:off x="13213512" y="2600325"/>
              <a:ext cx="381000" cy="27432"/>
            </a:xfrm>
            <a:prstGeom prst="roundRect">
              <a:avLst>
                <a:gd name="adj" fmla="val 50000"/>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81" name="Rounded Rectangle 180"/>
            <p:cNvSpPr/>
            <p:nvPr/>
          </p:nvSpPr>
          <p:spPr bwMode="auto">
            <a:xfrm>
              <a:off x="13213512" y="2645569"/>
              <a:ext cx="381000" cy="27432"/>
            </a:xfrm>
            <a:prstGeom prst="roundRect">
              <a:avLst>
                <a:gd name="adj" fmla="val 50000"/>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82" name="Rounded Rectangle 181"/>
            <p:cNvSpPr/>
            <p:nvPr/>
          </p:nvSpPr>
          <p:spPr bwMode="auto">
            <a:xfrm>
              <a:off x="13213512" y="2690813"/>
              <a:ext cx="381000" cy="27432"/>
            </a:xfrm>
            <a:prstGeom prst="roundRect">
              <a:avLst>
                <a:gd name="adj" fmla="val 50000"/>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83" name="Rounded Rectangle 182"/>
            <p:cNvSpPr/>
            <p:nvPr/>
          </p:nvSpPr>
          <p:spPr bwMode="auto">
            <a:xfrm>
              <a:off x="13213512" y="2736057"/>
              <a:ext cx="381000" cy="27432"/>
            </a:xfrm>
            <a:prstGeom prst="roundRect">
              <a:avLst>
                <a:gd name="adj" fmla="val 50000"/>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84" name="Rounded Rectangle 183"/>
            <p:cNvSpPr/>
            <p:nvPr/>
          </p:nvSpPr>
          <p:spPr bwMode="auto">
            <a:xfrm>
              <a:off x="12832512" y="2555081"/>
              <a:ext cx="182880" cy="27432"/>
            </a:xfrm>
            <a:prstGeom prst="roundRect">
              <a:avLst>
                <a:gd name="adj" fmla="val 50000"/>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85" name="Rounded Rectangle 184"/>
            <p:cNvSpPr/>
            <p:nvPr/>
          </p:nvSpPr>
          <p:spPr bwMode="auto">
            <a:xfrm>
              <a:off x="12832512" y="2600325"/>
              <a:ext cx="182880" cy="27432"/>
            </a:xfrm>
            <a:prstGeom prst="roundRect">
              <a:avLst>
                <a:gd name="adj" fmla="val 50000"/>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86" name="Rounded Rectangle 185"/>
            <p:cNvSpPr/>
            <p:nvPr/>
          </p:nvSpPr>
          <p:spPr bwMode="auto">
            <a:xfrm>
              <a:off x="12832512" y="2645569"/>
              <a:ext cx="182880" cy="27432"/>
            </a:xfrm>
            <a:prstGeom prst="roundRect">
              <a:avLst>
                <a:gd name="adj" fmla="val 50000"/>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grpSp>
      <p:sp>
        <p:nvSpPr>
          <p:cNvPr id="187" name="Rectangle 210"/>
          <p:cNvSpPr/>
          <p:nvPr/>
        </p:nvSpPr>
        <p:spPr bwMode="auto">
          <a:xfrm rot="19483916">
            <a:off x="7456658" y="2646574"/>
            <a:ext cx="465385" cy="443126"/>
          </a:xfrm>
          <a:custGeom>
            <a:avLst/>
            <a:gdLst/>
            <a:ahLst/>
            <a:cxnLst/>
            <a:rect l="l" t="t" r="r" b="b"/>
            <a:pathLst>
              <a:path w="1142553" h="1087905">
                <a:moveTo>
                  <a:pt x="515001" y="489177"/>
                </a:moveTo>
                <a:lnTo>
                  <a:pt x="148341" y="571505"/>
                </a:lnTo>
                <a:lnTo>
                  <a:pt x="692426" y="956284"/>
                </a:lnTo>
                <a:lnTo>
                  <a:pt x="648751" y="590500"/>
                </a:lnTo>
                <a:lnTo>
                  <a:pt x="622237" y="590500"/>
                </a:lnTo>
                <a:lnTo>
                  <a:pt x="622919" y="592297"/>
                </a:lnTo>
                <a:lnTo>
                  <a:pt x="554011" y="591938"/>
                </a:lnTo>
                <a:lnTo>
                  <a:pt x="530756" y="530679"/>
                </a:lnTo>
                <a:lnTo>
                  <a:pt x="529001" y="526206"/>
                </a:lnTo>
                <a:lnTo>
                  <a:pt x="529058" y="526206"/>
                </a:lnTo>
                <a:close/>
                <a:moveTo>
                  <a:pt x="1005007" y="590500"/>
                </a:moveTo>
                <a:lnTo>
                  <a:pt x="713502" y="590500"/>
                </a:lnTo>
                <a:lnTo>
                  <a:pt x="755609" y="943154"/>
                </a:lnTo>
                <a:close/>
                <a:moveTo>
                  <a:pt x="385190" y="147231"/>
                </a:moveTo>
                <a:lnTo>
                  <a:pt x="128610" y="510041"/>
                </a:lnTo>
                <a:lnTo>
                  <a:pt x="491950" y="428458"/>
                </a:lnTo>
                <a:close/>
                <a:moveTo>
                  <a:pt x="447266" y="129598"/>
                </a:moveTo>
                <a:lnTo>
                  <a:pt x="597829" y="526206"/>
                </a:lnTo>
                <a:lnTo>
                  <a:pt x="1008079" y="526206"/>
                </a:lnTo>
                <a:close/>
                <a:moveTo>
                  <a:pt x="395982" y="0"/>
                </a:moveTo>
                <a:lnTo>
                  <a:pt x="1142553" y="527977"/>
                </a:lnTo>
                <a:lnTo>
                  <a:pt x="746570" y="1087905"/>
                </a:lnTo>
                <a:lnTo>
                  <a:pt x="0" y="559928"/>
                </a:lnTo>
                <a:close/>
              </a:path>
            </a:pathLst>
          </a:cu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57137" tIns="28569" rIns="57137" bIns="28569" rtlCol="0" anchor="ctr"/>
          <a:lstStyle/>
          <a:p>
            <a:pPr algn="ctr" defTabSz="570402"/>
            <a:endParaRPr lang="en-US" dirty="0">
              <a:solidFill>
                <a:schemeClr val="tx1"/>
              </a:solidFill>
              <a:latin typeface="Segoe UI Light" pitchFamily="34" charset="0"/>
              <a:ea typeface="ＭＳ Ｐゴシック" pitchFamily="-65" charset="-128"/>
            </a:endParaRPr>
          </a:p>
        </p:txBody>
      </p:sp>
      <p:grpSp>
        <p:nvGrpSpPr>
          <p:cNvPr id="188" name="Group 187"/>
          <p:cNvGrpSpPr>
            <a:grpSpLocks noChangeAspect="1"/>
          </p:cNvGrpSpPr>
          <p:nvPr/>
        </p:nvGrpSpPr>
        <p:grpSpPr>
          <a:xfrm>
            <a:off x="5437865" y="2631378"/>
            <a:ext cx="349624" cy="256969"/>
            <a:chOff x="12698907" y="2345531"/>
            <a:chExt cx="1029210" cy="609600"/>
          </a:xfrm>
        </p:grpSpPr>
        <p:sp>
          <p:nvSpPr>
            <p:cNvPr id="189" name="Rounded Rectangle 2"/>
            <p:cNvSpPr/>
            <p:nvPr/>
          </p:nvSpPr>
          <p:spPr bwMode="auto">
            <a:xfrm>
              <a:off x="12698907" y="2345531"/>
              <a:ext cx="1029210" cy="609600"/>
            </a:xfrm>
            <a:custGeom>
              <a:avLst/>
              <a:gdLst/>
              <a:ahLst/>
              <a:cxnLst/>
              <a:rect l="l" t="t" r="r" b="b"/>
              <a:pathLst>
                <a:path w="1029210" h="609600">
                  <a:moveTo>
                    <a:pt x="64266" y="24489"/>
                  </a:moveTo>
                  <a:cubicBezTo>
                    <a:pt x="40276" y="24489"/>
                    <a:pt x="20829" y="43936"/>
                    <a:pt x="20829" y="67926"/>
                  </a:cubicBezTo>
                  <a:lnTo>
                    <a:pt x="20829" y="541674"/>
                  </a:lnTo>
                  <a:cubicBezTo>
                    <a:pt x="20829" y="565664"/>
                    <a:pt x="40276" y="585111"/>
                    <a:pt x="64266" y="585111"/>
                  </a:cubicBezTo>
                  <a:lnTo>
                    <a:pt x="964944" y="585111"/>
                  </a:lnTo>
                  <a:cubicBezTo>
                    <a:pt x="988934" y="585111"/>
                    <a:pt x="1008381" y="565664"/>
                    <a:pt x="1008381" y="541674"/>
                  </a:cubicBezTo>
                  <a:lnTo>
                    <a:pt x="1008381" y="67926"/>
                  </a:lnTo>
                  <a:cubicBezTo>
                    <a:pt x="1008381" y="43936"/>
                    <a:pt x="988934" y="24489"/>
                    <a:pt x="964944" y="24489"/>
                  </a:cubicBezTo>
                  <a:close/>
                  <a:moveTo>
                    <a:pt x="61118" y="0"/>
                  </a:moveTo>
                  <a:lnTo>
                    <a:pt x="968092" y="0"/>
                  </a:lnTo>
                  <a:cubicBezTo>
                    <a:pt x="1001847" y="0"/>
                    <a:pt x="1029210" y="27363"/>
                    <a:pt x="1029210" y="61118"/>
                  </a:cubicBezTo>
                  <a:lnTo>
                    <a:pt x="1029210" y="548482"/>
                  </a:lnTo>
                  <a:cubicBezTo>
                    <a:pt x="1029210" y="582237"/>
                    <a:pt x="1001847" y="609600"/>
                    <a:pt x="968092" y="609600"/>
                  </a:cubicBezTo>
                  <a:lnTo>
                    <a:pt x="61118" y="609600"/>
                  </a:lnTo>
                  <a:cubicBezTo>
                    <a:pt x="27363" y="609600"/>
                    <a:pt x="0" y="582237"/>
                    <a:pt x="0" y="548482"/>
                  </a:cubicBezTo>
                  <a:lnTo>
                    <a:pt x="0" y="61118"/>
                  </a:lnTo>
                  <a:cubicBezTo>
                    <a:pt x="0" y="27363"/>
                    <a:pt x="27363" y="0"/>
                    <a:pt x="61118" y="0"/>
                  </a:cubicBezTo>
                  <a:close/>
                </a:path>
              </a:pathLst>
            </a:cu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90" name="Rounded Rectangle 189"/>
            <p:cNvSpPr/>
            <p:nvPr/>
          </p:nvSpPr>
          <p:spPr bwMode="auto">
            <a:xfrm>
              <a:off x="12832512" y="2428875"/>
              <a:ext cx="381000" cy="27432"/>
            </a:xfrm>
            <a:prstGeom prst="roundRect">
              <a:avLst>
                <a:gd name="adj" fmla="val 50000"/>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91" name="Rounded Rectangle 190"/>
            <p:cNvSpPr/>
            <p:nvPr/>
          </p:nvSpPr>
          <p:spPr bwMode="auto">
            <a:xfrm>
              <a:off x="13213512" y="2555081"/>
              <a:ext cx="381000" cy="27432"/>
            </a:xfrm>
            <a:prstGeom prst="roundRect">
              <a:avLst>
                <a:gd name="adj" fmla="val 50000"/>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92" name="Rounded Rectangle 191"/>
            <p:cNvSpPr/>
            <p:nvPr/>
          </p:nvSpPr>
          <p:spPr bwMode="auto">
            <a:xfrm>
              <a:off x="13213512" y="2600325"/>
              <a:ext cx="381000" cy="27432"/>
            </a:xfrm>
            <a:prstGeom prst="roundRect">
              <a:avLst>
                <a:gd name="adj" fmla="val 50000"/>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93" name="Rounded Rectangle 192"/>
            <p:cNvSpPr/>
            <p:nvPr/>
          </p:nvSpPr>
          <p:spPr bwMode="auto">
            <a:xfrm>
              <a:off x="13213512" y="2645569"/>
              <a:ext cx="381000" cy="27432"/>
            </a:xfrm>
            <a:prstGeom prst="roundRect">
              <a:avLst>
                <a:gd name="adj" fmla="val 50000"/>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94" name="Rounded Rectangle 193"/>
            <p:cNvSpPr/>
            <p:nvPr/>
          </p:nvSpPr>
          <p:spPr bwMode="auto">
            <a:xfrm>
              <a:off x="13213512" y="2690813"/>
              <a:ext cx="381000" cy="27432"/>
            </a:xfrm>
            <a:prstGeom prst="roundRect">
              <a:avLst>
                <a:gd name="adj" fmla="val 50000"/>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95" name="Rounded Rectangle 194"/>
            <p:cNvSpPr/>
            <p:nvPr/>
          </p:nvSpPr>
          <p:spPr bwMode="auto">
            <a:xfrm>
              <a:off x="13213512" y="2736057"/>
              <a:ext cx="381000" cy="27432"/>
            </a:xfrm>
            <a:prstGeom prst="roundRect">
              <a:avLst>
                <a:gd name="adj" fmla="val 50000"/>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96" name="Rounded Rectangle 195"/>
            <p:cNvSpPr/>
            <p:nvPr/>
          </p:nvSpPr>
          <p:spPr bwMode="auto">
            <a:xfrm>
              <a:off x="12832512" y="2555081"/>
              <a:ext cx="182880" cy="27432"/>
            </a:xfrm>
            <a:prstGeom prst="roundRect">
              <a:avLst>
                <a:gd name="adj" fmla="val 50000"/>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97" name="Rounded Rectangle 196"/>
            <p:cNvSpPr/>
            <p:nvPr/>
          </p:nvSpPr>
          <p:spPr bwMode="auto">
            <a:xfrm>
              <a:off x="12832512" y="2600325"/>
              <a:ext cx="182880" cy="27432"/>
            </a:xfrm>
            <a:prstGeom prst="roundRect">
              <a:avLst>
                <a:gd name="adj" fmla="val 50000"/>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98" name="Rounded Rectangle 197"/>
            <p:cNvSpPr/>
            <p:nvPr/>
          </p:nvSpPr>
          <p:spPr bwMode="auto">
            <a:xfrm>
              <a:off x="12832512" y="2645569"/>
              <a:ext cx="182880" cy="27432"/>
            </a:xfrm>
            <a:prstGeom prst="roundRect">
              <a:avLst>
                <a:gd name="adj" fmla="val 50000"/>
              </a:avLst>
            </a:prstGeom>
            <a:solidFill>
              <a:schemeClr val="accent1"/>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grpSp>
      <p:sp>
        <p:nvSpPr>
          <p:cNvPr id="199"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00"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
              </a:rPr>
              <a:t>www.rapidbbs.cn</a:t>
            </a:r>
            <a:endParaRPr lang="zh-CN" altLang="en-US" sz="1200" b="0">
              <a:latin typeface="Arial" charset="0"/>
              <a:ea typeface="ＭＳ Ｐゴシック" pitchFamily="34" charset="-128"/>
            </a:endParaRPr>
          </a:p>
        </p:txBody>
      </p:sp>
      <p:pic>
        <p:nvPicPr>
          <p:cNvPr id="201" name="Picture 2">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58268258"/>
      </p:ext>
    </p:extLst>
  </p:cSld>
  <p:clrMapOvr>
    <a:masterClrMapping/>
  </p:clrMapOvr>
  <p:transition>
    <p:fade/>
  </p:transition>
  <p:timing>
    <p:tnLst>
      <p:par>
        <p:cTn id="1" dur="indefinite" restart="never" nodeType="tmRoot"/>
      </p:par>
    </p:tnLst>
  </p:timing>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llaborative Business Intelligence</a:t>
            </a:r>
          </a:p>
        </p:txBody>
      </p:sp>
      <p:sp>
        <p:nvSpPr>
          <p:cNvPr id="4" name="Rectangle 3"/>
          <p:cNvSpPr/>
          <p:nvPr/>
        </p:nvSpPr>
        <p:spPr>
          <a:xfrm>
            <a:off x="282575" y="2070535"/>
            <a:ext cx="3762375" cy="1304186"/>
          </a:xfrm>
          <a:prstGeom prst="rect">
            <a:avLst/>
          </a:prstGeom>
        </p:spPr>
        <p:txBody>
          <a:bodyPr wrap="square" lIns="57140" tIns="28570" rIns="57140" bIns="28570">
            <a:spAutoFit/>
          </a:bodyPr>
          <a:lstStyle/>
          <a:p>
            <a:r>
              <a:rPr lang="en-US" sz="2000" dirty="0">
                <a:latin typeface="Segoe UI Light" pitchFamily="34" charset="0"/>
              </a:rPr>
              <a:t>Combining business intelligence with collaboration and social software enables a higher </a:t>
            </a:r>
            <a:br>
              <a:rPr lang="en-US" sz="2000" dirty="0">
                <a:latin typeface="Segoe UI Light" pitchFamily="34" charset="0"/>
              </a:rPr>
            </a:br>
            <a:r>
              <a:rPr lang="en-US" sz="2000" dirty="0">
                <a:latin typeface="Segoe UI Light" pitchFamily="34" charset="0"/>
              </a:rPr>
              <a:t>quality decision making process.</a:t>
            </a:r>
          </a:p>
        </p:txBody>
      </p:sp>
      <p:sp>
        <p:nvSpPr>
          <p:cNvPr id="5" name="Rectangle 29"/>
          <p:cNvSpPr>
            <a:spLocks noChangeArrowheads="1"/>
          </p:cNvSpPr>
          <p:nvPr/>
        </p:nvSpPr>
        <p:spPr bwMode="auto">
          <a:xfrm>
            <a:off x="3161706" y="1487489"/>
            <a:ext cx="1584920" cy="328929"/>
          </a:xfrm>
          <a:prstGeom prst="rect">
            <a:avLst/>
          </a:prstGeom>
          <a:noFill/>
          <a:ln w="9525">
            <a:noFill/>
            <a:miter lim="800000"/>
            <a:headEnd/>
            <a:tailEnd/>
          </a:ln>
        </p:spPr>
        <p:txBody>
          <a:bodyPr wrap="square" lIns="68578" tIns="34289" rIns="68578" bIns="34289">
            <a:spAutoFit/>
          </a:bodyPr>
          <a:lstStyle/>
          <a:p>
            <a:pPr marL="2976" indent="-2976" algn="ctr">
              <a:lnSpc>
                <a:spcPts val="2000"/>
              </a:lnSpc>
              <a:spcAft>
                <a:spcPts val="375"/>
              </a:spcAft>
              <a:defRPr/>
            </a:pPr>
            <a:r>
              <a:rPr lang="en-US" sz="1700" dirty="0">
                <a:latin typeface="Segoe UI Light" pitchFamily="34" charset="0"/>
              </a:rPr>
              <a:t>Information</a:t>
            </a:r>
          </a:p>
        </p:txBody>
      </p:sp>
      <p:sp>
        <p:nvSpPr>
          <p:cNvPr id="6" name="Rectangle 29"/>
          <p:cNvSpPr>
            <a:spLocks noChangeArrowheads="1"/>
          </p:cNvSpPr>
          <p:nvPr/>
        </p:nvSpPr>
        <p:spPr bwMode="auto">
          <a:xfrm>
            <a:off x="7430245" y="1487489"/>
            <a:ext cx="1557628" cy="328929"/>
          </a:xfrm>
          <a:prstGeom prst="rect">
            <a:avLst/>
          </a:prstGeom>
          <a:noFill/>
          <a:ln w="9525">
            <a:noFill/>
            <a:miter lim="800000"/>
            <a:headEnd/>
            <a:tailEnd/>
          </a:ln>
        </p:spPr>
        <p:txBody>
          <a:bodyPr wrap="square" lIns="68578" tIns="34289" rIns="68578" bIns="34289">
            <a:spAutoFit/>
          </a:bodyPr>
          <a:lstStyle/>
          <a:p>
            <a:pPr marL="2976" indent="-2976" algn="ctr">
              <a:lnSpc>
                <a:spcPts val="2000"/>
              </a:lnSpc>
              <a:spcAft>
                <a:spcPts val="375"/>
              </a:spcAft>
              <a:defRPr/>
            </a:pPr>
            <a:r>
              <a:rPr lang="en-US" sz="1700" dirty="0">
                <a:latin typeface="Segoe UI Light" pitchFamily="34" charset="0"/>
              </a:rPr>
              <a:t>Collaboration</a:t>
            </a:r>
          </a:p>
        </p:txBody>
      </p:sp>
      <p:sp>
        <p:nvSpPr>
          <p:cNvPr id="7" name="Rectangle 29"/>
          <p:cNvSpPr>
            <a:spLocks noChangeArrowheads="1"/>
          </p:cNvSpPr>
          <p:nvPr/>
        </p:nvSpPr>
        <p:spPr bwMode="auto">
          <a:xfrm>
            <a:off x="4364835" y="4643122"/>
            <a:ext cx="778815" cy="328929"/>
          </a:xfrm>
          <a:prstGeom prst="rect">
            <a:avLst/>
          </a:prstGeom>
          <a:noFill/>
          <a:ln w="9525">
            <a:noFill/>
            <a:miter lim="800000"/>
            <a:headEnd/>
            <a:tailEnd/>
          </a:ln>
        </p:spPr>
        <p:txBody>
          <a:bodyPr wrap="square" lIns="68578" tIns="34289" rIns="68578" bIns="34289">
            <a:spAutoFit/>
          </a:bodyPr>
          <a:lstStyle/>
          <a:p>
            <a:pPr marL="2976" indent="-2976" algn="ctr">
              <a:lnSpc>
                <a:spcPts val="2000"/>
              </a:lnSpc>
              <a:spcAft>
                <a:spcPts val="375"/>
              </a:spcAft>
              <a:defRPr/>
            </a:pPr>
            <a:r>
              <a:rPr lang="en-US" sz="1700" dirty="0">
                <a:latin typeface="Segoe UI Light" pitchFamily="34" charset="0"/>
              </a:rPr>
              <a:t>People</a:t>
            </a:r>
          </a:p>
        </p:txBody>
      </p:sp>
      <p:grpSp>
        <p:nvGrpSpPr>
          <p:cNvPr id="8" name="Group 7"/>
          <p:cNvGrpSpPr/>
          <p:nvPr/>
        </p:nvGrpSpPr>
        <p:grpSpPr>
          <a:xfrm>
            <a:off x="4191000" y="1190625"/>
            <a:ext cx="3714750" cy="3714750"/>
            <a:chOff x="6705600" y="1905000"/>
            <a:chExt cx="5943600" cy="5943600"/>
          </a:xfrm>
        </p:grpSpPr>
        <p:sp>
          <p:nvSpPr>
            <p:cNvPr id="9" name="Oval 16"/>
            <p:cNvSpPr/>
            <p:nvPr/>
          </p:nvSpPr>
          <p:spPr bwMode="auto">
            <a:xfrm>
              <a:off x="6705600" y="1905000"/>
              <a:ext cx="5943600" cy="5943600"/>
            </a:xfrm>
            <a:custGeom>
              <a:avLst/>
              <a:gdLst/>
              <a:ahLst/>
              <a:cxnLst/>
              <a:rect l="l" t="t" r="r" b="b"/>
              <a:pathLst>
                <a:path w="5943600" h="5943600">
                  <a:moveTo>
                    <a:pt x="4472789" y="3522156"/>
                  </a:moveTo>
                  <a:lnTo>
                    <a:pt x="4779795" y="4387806"/>
                  </a:lnTo>
                  <a:lnTo>
                    <a:pt x="5697371" y="4154902"/>
                  </a:lnTo>
                  <a:cubicBezTo>
                    <a:pt x="5241134" y="5207723"/>
                    <a:pt x="4192404" y="5943600"/>
                    <a:pt x="2971800" y="5943600"/>
                  </a:cubicBezTo>
                  <a:cubicBezTo>
                    <a:pt x="1962940" y="5943600"/>
                    <a:pt x="1071494" y="5440889"/>
                    <a:pt x="535845" y="4671218"/>
                  </a:cubicBezTo>
                  <a:lnTo>
                    <a:pt x="853685" y="3775019"/>
                  </a:lnTo>
                  <a:lnTo>
                    <a:pt x="1748295" y="4002094"/>
                  </a:lnTo>
                  <a:cubicBezTo>
                    <a:pt x="2041286" y="4350779"/>
                    <a:pt x="2480709" y="4572000"/>
                    <a:pt x="2971800" y="4572000"/>
                  </a:cubicBezTo>
                  <a:cubicBezTo>
                    <a:pt x="3661935" y="4572000"/>
                    <a:pt x="4250030" y="4135112"/>
                    <a:pt x="4472789" y="3522156"/>
                  </a:cubicBezTo>
                  <a:close/>
                  <a:moveTo>
                    <a:pt x="2637282" y="20024"/>
                  </a:moveTo>
                  <a:lnTo>
                    <a:pt x="3285568" y="731044"/>
                  </a:lnTo>
                  <a:lnTo>
                    <a:pt x="2675538" y="1400107"/>
                  </a:lnTo>
                  <a:cubicBezTo>
                    <a:pt x="1933212" y="1538033"/>
                    <a:pt x="1371600" y="2189331"/>
                    <a:pt x="1371600" y="2971800"/>
                  </a:cubicBezTo>
                  <a:cubicBezTo>
                    <a:pt x="1371600" y="3297726"/>
                    <a:pt x="1469041" y="3600894"/>
                    <a:pt x="1636935" y="3853394"/>
                  </a:cubicBezTo>
                  <a:lnTo>
                    <a:pt x="779243" y="3635689"/>
                  </a:lnTo>
                  <a:lnTo>
                    <a:pt x="455685" y="4548011"/>
                  </a:lnTo>
                  <a:cubicBezTo>
                    <a:pt x="165987" y="4092445"/>
                    <a:pt x="0" y="3551507"/>
                    <a:pt x="0" y="2971800"/>
                  </a:cubicBezTo>
                  <a:cubicBezTo>
                    <a:pt x="0" y="1443666"/>
                    <a:pt x="1153397" y="184923"/>
                    <a:pt x="2637282" y="20024"/>
                  </a:cubicBezTo>
                  <a:close/>
                  <a:moveTo>
                    <a:pt x="2971800" y="0"/>
                  </a:moveTo>
                  <a:cubicBezTo>
                    <a:pt x="4613080" y="0"/>
                    <a:pt x="5943600" y="1330520"/>
                    <a:pt x="5943600" y="2971800"/>
                  </a:cubicBezTo>
                  <a:cubicBezTo>
                    <a:pt x="5943600" y="3341706"/>
                    <a:pt x="5876017" y="3695827"/>
                    <a:pt x="5749326" y="4021280"/>
                  </a:cubicBezTo>
                  <a:lnTo>
                    <a:pt x="4854238" y="4248477"/>
                  </a:lnTo>
                  <a:lnTo>
                    <a:pt x="4529548" y="3332962"/>
                  </a:lnTo>
                  <a:cubicBezTo>
                    <a:pt x="4557823" y="3217128"/>
                    <a:pt x="4572000" y="3096120"/>
                    <a:pt x="4572000" y="2971800"/>
                  </a:cubicBezTo>
                  <a:cubicBezTo>
                    <a:pt x="4572000" y="2088034"/>
                    <a:pt x="3855566" y="1371600"/>
                    <a:pt x="2971800" y="1371600"/>
                  </a:cubicBezTo>
                  <a:lnTo>
                    <a:pt x="2854079" y="1377545"/>
                  </a:lnTo>
                  <a:lnTo>
                    <a:pt x="3443538" y="731044"/>
                  </a:lnTo>
                  <a:lnTo>
                    <a:pt x="2783007" y="6594"/>
                  </a:lnTo>
                  <a:cubicBezTo>
                    <a:pt x="2845406" y="1987"/>
                    <a:pt x="2908371" y="0"/>
                    <a:pt x="2971800" y="0"/>
                  </a:cubicBezTo>
                  <a:close/>
                </a:path>
              </a:pathLst>
            </a:custGeom>
            <a:solidFill>
              <a:schemeClr val="accent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10" name="Oval 9"/>
            <p:cNvSpPr/>
            <p:nvPr/>
          </p:nvSpPr>
          <p:spPr bwMode="auto">
            <a:xfrm>
              <a:off x="8077200" y="3276600"/>
              <a:ext cx="3200400" cy="3200400"/>
            </a:xfrm>
            <a:prstGeom prst="ellipse">
              <a:avLst/>
            </a:prstGeom>
            <a:blipFill dpi="0" rotWithShape="1">
              <a:blip r:embed="rId2"/>
              <a:srcRect/>
              <a:stretch>
                <a:fillRect r="-50000"/>
              </a:stretch>
            </a:blipFill>
            <a:ln w="88900">
              <a:solidFill>
                <a:schemeClr val="bg2"/>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08539" y="6553532"/>
              <a:ext cx="563493" cy="1222948"/>
            </a:xfrm>
            <a:prstGeom prst="rect">
              <a:avLst/>
            </a:prstGeom>
          </p:spPr>
        </p:pic>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52581" y="6553532"/>
              <a:ext cx="480922" cy="1221832"/>
            </a:xfrm>
            <a:prstGeom prst="rect">
              <a:avLst/>
            </a:prstGeom>
          </p:spPr>
        </p:pic>
        <p:sp>
          <p:nvSpPr>
            <p:cNvPr id="13" name="Freeform 5"/>
            <p:cNvSpPr>
              <a:spLocks noEditPoints="1"/>
            </p:cNvSpPr>
            <p:nvPr/>
          </p:nvSpPr>
          <p:spPr bwMode="auto">
            <a:xfrm>
              <a:off x="11018159" y="3363684"/>
              <a:ext cx="1293445" cy="877317"/>
            </a:xfrm>
            <a:custGeom>
              <a:avLst/>
              <a:gdLst>
                <a:gd name="T0" fmla="*/ 21 w 204"/>
                <a:gd name="T1" fmla="*/ 0 h 137"/>
                <a:gd name="T2" fmla="*/ 34 w 204"/>
                <a:gd name="T3" fmla="*/ 3 h 137"/>
                <a:gd name="T4" fmla="*/ 12 w 204"/>
                <a:gd name="T5" fmla="*/ 82 h 137"/>
                <a:gd name="T6" fmla="*/ 0 w 204"/>
                <a:gd name="T7" fmla="*/ 78 h 137"/>
                <a:gd name="T8" fmla="*/ 21 w 204"/>
                <a:gd name="T9" fmla="*/ 0 h 137"/>
                <a:gd name="T10" fmla="*/ 113 w 204"/>
                <a:gd name="T11" fmla="*/ 63 h 137"/>
                <a:gd name="T12" fmla="*/ 154 w 204"/>
                <a:gd name="T13" fmla="*/ 96 h 137"/>
                <a:gd name="T14" fmla="*/ 162 w 204"/>
                <a:gd name="T15" fmla="*/ 84 h 137"/>
                <a:gd name="T16" fmla="*/ 158 w 204"/>
                <a:gd name="T17" fmla="*/ 80 h 137"/>
                <a:gd name="T18" fmla="*/ 145 w 204"/>
                <a:gd name="T19" fmla="*/ 69 h 137"/>
                <a:gd name="T20" fmla="*/ 113 w 204"/>
                <a:gd name="T21" fmla="*/ 38 h 137"/>
                <a:gd name="T22" fmla="*/ 93 w 204"/>
                <a:gd name="T23" fmla="*/ 35 h 137"/>
                <a:gd name="T24" fmla="*/ 62 w 204"/>
                <a:gd name="T25" fmla="*/ 52 h 137"/>
                <a:gd name="T26" fmla="*/ 72 w 204"/>
                <a:gd name="T27" fmla="*/ 21 h 137"/>
                <a:gd name="T28" fmla="*/ 92 w 204"/>
                <a:gd name="T29" fmla="*/ 10 h 137"/>
                <a:gd name="T30" fmla="*/ 115 w 204"/>
                <a:gd name="T31" fmla="*/ 5 h 137"/>
                <a:gd name="T32" fmla="*/ 150 w 204"/>
                <a:gd name="T33" fmla="*/ 10 h 137"/>
                <a:gd name="T34" fmla="*/ 160 w 204"/>
                <a:gd name="T35" fmla="*/ 10 h 137"/>
                <a:gd name="T36" fmla="*/ 178 w 204"/>
                <a:gd name="T37" fmla="*/ 73 h 137"/>
                <a:gd name="T38" fmla="*/ 169 w 204"/>
                <a:gd name="T39" fmla="*/ 80 h 137"/>
                <a:gd name="T40" fmla="*/ 158 w 204"/>
                <a:gd name="T41" fmla="*/ 105 h 137"/>
                <a:gd name="T42" fmla="*/ 143 w 204"/>
                <a:gd name="T43" fmla="*/ 118 h 137"/>
                <a:gd name="T44" fmla="*/ 136 w 204"/>
                <a:gd name="T45" fmla="*/ 127 h 137"/>
                <a:gd name="T46" fmla="*/ 121 w 204"/>
                <a:gd name="T47" fmla="*/ 126 h 137"/>
                <a:gd name="T48" fmla="*/ 99 w 204"/>
                <a:gd name="T49" fmla="*/ 129 h 137"/>
                <a:gd name="T50" fmla="*/ 79 w 204"/>
                <a:gd name="T51" fmla="*/ 125 h 137"/>
                <a:gd name="T52" fmla="*/ 63 w 204"/>
                <a:gd name="T53" fmla="*/ 116 h 137"/>
                <a:gd name="T54" fmla="*/ 48 w 204"/>
                <a:gd name="T55" fmla="*/ 106 h 137"/>
                <a:gd name="T56" fmla="*/ 61 w 204"/>
                <a:gd name="T57" fmla="*/ 92 h 137"/>
                <a:gd name="T58" fmla="*/ 72 w 204"/>
                <a:gd name="T59" fmla="*/ 102 h 137"/>
                <a:gd name="T60" fmla="*/ 85 w 204"/>
                <a:gd name="T61" fmla="*/ 111 h 137"/>
                <a:gd name="T62" fmla="*/ 95 w 204"/>
                <a:gd name="T63" fmla="*/ 118 h 137"/>
                <a:gd name="T64" fmla="*/ 115 w 204"/>
                <a:gd name="T65" fmla="*/ 122 h 137"/>
                <a:gd name="T66" fmla="*/ 91 w 204"/>
                <a:gd name="T67" fmla="*/ 104 h 137"/>
                <a:gd name="T68" fmla="*/ 102 w 204"/>
                <a:gd name="T69" fmla="*/ 103 h 137"/>
                <a:gd name="T70" fmla="*/ 122 w 204"/>
                <a:gd name="T71" fmla="*/ 117 h 137"/>
                <a:gd name="T72" fmla="*/ 134 w 204"/>
                <a:gd name="T73" fmla="*/ 114 h 137"/>
                <a:gd name="T74" fmla="*/ 100 w 204"/>
                <a:gd name="T75" fmla="*/ 89 h 137"/>
                <a:gd name="T76" fmla="*/ 112 w 204"/>
                <a:gd name="T77" fmla="*/ 88 h 137"/>
                <a:gd name="T78" fmla="*/ 140 w 204"/>
                <a:gd name="T79" fmla="*/ 108 h 137"/>
                <a:gd name="T80" fmla="*/ 148 w 204"/>
                <a:gd name="T81" fmla="*/ 101 h 137"/>
                <a:gd name="T82" fmla="*/ 120 w 204"/>
                <a:gd name="T83" fmla="*/ 79 h 137"/>
                <a:gd name="T84" fmla="*/ 113 w 204"/>
                <a:gd name="T85" fmla="*/ 63 h 137"/>
                <a:gd name="T86" fmla="*/ 34 w 204"/>
                <a:gd name="T87" fmla="*/ 85 h 137"/>
                <a:gd name="T88" fmla="*/ 25 w 204"/>
                <a:gd name="T89" fmla="*/ 79 h 137"/>
                <a:gd name="T90" fmla="*/ 27 w 204"/>
                <a:gd name="T91" fmla="*/ 71 h 137"/>
                <a:gd name="T92" fmla="*/ 48 w 204"/>
                <a:gd name="T93" fmla="*/ 86 h 137"/>
                <a:gd name="T94" fmla="*/ 42 w 204"/>
                <a:gd name="T95" fmla="*/ 100 h 137"/>
                <a:gd name="T96" fmla="*/ 34 w 204"/>
                <a:gd name="T97" fmla="*/ 85 h 137"/>
                <a:gd name="T98" fmla="*/ 183 w 204"/>
                <a:gd name="T99" fmla="*/ 0 h 137"/>
                <a:gd name="T100" fmla="*/ 171 w 204"/>
                <a:gd name="T101" fmla="*/ 3 h 137"/>
                <a:gd name="T102" fmla="*/ 192 w 204"/>
                <a:gd name="T103" fmla="*/ 82 h 137"/>
                <a:gd name="T104" fmla="*/ 204 w 204"/>
                <a:gd name="T105" fmla="*/ 78 h 137"/>
                <a:gd name="T106" fmla="*/ 183 w 204"/>
                <a:gd name="T107" fmla="*/ 0 h 137"/>
                <a:gd name="T108" fmla="*/ 44 w 204"/>
                <a:gd name="T109" fmla="*/ 8 h 137"/>
                <a:gd name="T110" fmla="*/ 80 w 204"/>
                <a:gd name="T111" fmla="*/ 8 h 137"/>
                <a:gd name="T112" fmla="*/ 64 w 204"/>
                <a:gd name="T113" fmla="*/ 15 h 137"/>
                <a:gd name="T114" fmla="*/ 42 w 204"/>
                <a:gd name="T115" fmla="*/ 15 h 137"/>
                <a:gd name="T116" fmla="*/ 44 w 204"/>
                <a:gd name="T117" fmla="*/ 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4" h="137">
                  <a:moveTo>
                    <a:pt x="21" y="0"/>
                  </a:moveTo>
                  <a:cubicBezTo>
                    <a:pt x="34" y="3"/>
                    <a:pt x="34" y="3"/>
                    <a:pt x="34" y="3"/>
                  </a:cubicBezTo>
                  <a:cubicBezTo>
                    <a:pt x="12" y="82"/>
                    <a:pt x="12" y="82"/>
                    <a:pt x="12" y="82"/>
                  </a:cubicBezTo>
                  <a:cubicBezTo>
                    <a:pt x="0" y="78"/>
                    <a:pt x="0" y="78"/>
                    <a:pt x="0" y="78"/>
                  </a:cubicBezTo>
                  <a:cubicBezTo>
                    <a:pt x="21" y="0"/>
                    <a:pt x="21" y="0"/>
                    <a:pt x="21" y="0"/>
                  </a:cubicBezTo>
                  <a:close/>
                  <a:moveTo>
                    <a:pt x="113" y="63"/>
                  </a:moveTo>
                  <a:cubicBezTo>
                    <a:pt x="154" y="96"/>
                    <a:pt x="154" y="96"/>
                    <a:pt x="154" y="96"/>
                  </a:cubicBezTo>
                  <a:cubicBezTo>
                    <a:pt x="160" y="101"/>
                    <a:pt x="169" y="91"/>
                    <a:pt x="162" y="84"/>
                  </a:cubicBezTo>
                  <a:cubicBezTo>
                    <a:pt x="161" y="83"/>
                    <a:pt x="160" y="82"/>
                    <a:pt x="158" y="80"/>
                  </a:cubicBezTo>
                  <a:cubicBezTo>
                    <a:pt x="155" y="78"/>
                    <a:pt x="151" y="74"/>
                    <a:pt x="145" y="69"/>
                  </a:cubicBezTo>
                  <a:cubicBezTo>
                    <a:pt x="134" y="58"/>
                    <a:pt x="126" y="48"/>
                    <a:pt x="113" y="38"/>
                  </a:cubicBezTo>
                  <a:cubicBezTo>
                    <a:pt x="101" y="28"/>
                    <a:pt x="93" y="35"/>
                    <a:pt x="93" y="35"/>
                  </a:cubicBezTo>
                  <a:cubicBezTo>
                    <a:pt x="91" y="44"/>
                    <a:pt x="78" y="68"/>
                    <a:pt x="62" y="52"/>
                  </a:cubicBezTo>
                  <a:cubicBezTo>
                    <a:pt x="68" y="37"/>
                    <a:pt x="67" y="30"/>
                    <a:pt x="72" y="21"/>
                  </a:cubicBezTo>
                  <a:cubicBezTo>
                    <a:pt x="74" y="17"/>
                    <a:pt x="84" y="13"/>
                    <a:pt x="92" y="10"/>
                  </a:cubicBezTo>
                  <a:cubicBezTo>
                    <a:pt x="102" y="4"/>
                    <a:pt x="108" y="4"/>
                    <a:pt x="115" y="5"/>
                  </a:cubicBezTo>
                  <a:cubicBezTo>
                    <a:pt x="128" y="9"/>
                    <a:pt x="136" y="9"/>
                    <a:pt x="150" y="10"/>
                  </a:cubicBezTo>
                  <a:cubicBezTo>
                    <a:pt x="153" y="11"/>
                    <a:pt x="157" y="10"/>
                    <a:pt x="160" y="10"/>
                  </a:cubicBezTo>
                  <a:cubicBezTo>
                    <a:pt x="178" y="73"/>
                    <a:pt x="178" y="73"/>
                    <a:pt x="178" y="73"/>
                  </a:cubicBezTo>
                  <a:cubicBezTo>
                    <a:pt x="169" y="80"/>
                    <a:pt x="169" y="80"/>
                    <a:pt x="169" y="80"/>
                  </a:cubicBezTo>
                  <a:cubicBezTo>
                    <a:pt x="176" y="90"/>
                    <a:pt x="170" y="104"/>
                    <a:pt x="158" y="105"/>
                  </a:cubicBezTo>
                  <a:cubicBezTo>
                    <a:pt x="158" y="112"/>
                    <a:pt x="151" y="118"/>
                    <a:pt x="143" y="118"/>
                  </a:cubicBezTo>
                  <a:cubicBezTo>
                    <a:pt x="143" y="122"/>
                    <a:pt x="140" y="125"/>
                    <a:pt x="136" y="127"/>
                  </a:cubicBezTo>
                  <a:cubicBezTo>
                    <a:pt x="132" y="129"/>
                    <a:pt x="127" y="129"/>
                    <a:pt x="121" y="126"/>
                  </a:cubicBezTo>
                  <a:cubicBezTo>
                    <a:pt x="117" y="133"/>
                    <a:pt x="107" y="132"/>
                    <a:pt x="99" y="129"/>
                  </a:cubicBezTo>
                  <a:cubicBezTo>
                    <a:pt x="94" y="134"/>
                    <a:pt x="82" y="137"/>
                    <a:pt x="79" y="125"/>
                  </a:cubicBezTo>
                  <a:cubicBezTo>
                    <a:pt x="73" y="131"/>
                    <a:pt x="60" y="125"/>
                    <a:pt x="63" y="116"/>
                  </a:cubicBezTo>
                  <a:cubicBezTo>
                    <a:pt x="55" y="122"/>
                    <a:pt x="46" y="114"/>
                    <a:pt x="48" y="106"/>
                  </a:cubicBezTo>
                  <a:cubicBezTo>
                    <a:pt x="50" y="100"/>
                    <a:pt x="56" y="92"/>
                    <a:pt x="61" y="92"/>
                  </a:cubicBezTo>
                  <a:cubicBezTo>
                    <a:pt x="67" y="91"/>
                    <a:pt x="72" y="96"/>
                    <a:pt x="72" y="102"/>
                  </a:cubicBezTo>
                  <a:cubicBezTo>
                    <a:pt x="76" y="98"/>
                    <a:pt x="86" y="104"/>
                    <a:pt x="85" y="111"/>
                  </a:cubicBezTo>
                  <a:cubicBezTo>
                    <a:pt x="90" y="110"/>
                    <a:pt x="94" y="113"/>
                    <a:pt x="95" y="118"/>
                  </a:cubicBezTo>
                  <a:cubicBezTo>
                    <a:pt x="99" y="121"/>
                    <a:pt x="112" y="127"/>
                    <a:pt x="115" y="122"/>
                  </a:cubicBezTo>
                  <a:cubicBezTo>
                    <a:pt x="91" y="104"/>
                    <a:pt x="91" y="104"/>
                    <a:pt x="91" y="104"/>
                  </a:cubicBezTo>
                  <a:cubicBezTo>
                    <a:pt x="102" y="103"/>
                    <a:pt x="102" y="103"/>
                    <a:pt x="102" y="103"/>
                  </a:cubicBezTo>
                  <a:cubicBezTo>
                    <a:pt x="122" y="117"/>
                    <a:pt x="122" y="117"/>
                    <a:pt x="122" y="117"/>
                  </a:cubicBezTo>
                  <a:cubicBezTo>
                    <a:pt x="134" y="126"/>
                    <a:pt x="139" y="117"/>
                    <a:pt x="134" y="114"/>
                  </a:cubicBezTo>
                  <a:cubicBezTo>
                    <a:pt x="100" y="89"/>
                    <a:pt x="100" y="89"/>
                    <a:pt x="100" y="89"/>
                  </a:cubicBezTo>
                  <a:cubicBezTo>
                    <a:pt x="112" y="88"/>
                    <a:pt x="112" y="88"/>
                    <a:pt x="112" y="88"/>
                  </a:cubicBezTo>
                  <a:cubicBezTo>
                    <a:pt x="140" y="108"/>
                    <a:pt x="140" y="108"/>
                    <a:pt x="140" y="108"/>
                  </a:cubicBezTo>
                  <a:cubicBezTo>
                    <a:pt x="146" y="113"/>
                    <a:pt x="155" y="106"/>
                    <a:pt x="148" y="101"/>
                  </a:cubicBezTo>
                  <a:cubicBezTo>
                    <a:pt x="120" y="79"/>
                    <a:pt x="120" y="79"/>
                    <a:pt x="120" y="79"/>
                  </a:cubicBezTo>
                  <a:cubicBezTo>
                    <a:pt x="113" y="63"/>
                    <a:pt x="113" y="63"/>
                    <a:pt x="113" y="63"/>
                  </a:cubicBezTo>
                  <a:close/>
                  <a:moveTo>
                    <a:pt x="34" y="85"/>
                  </a:moveTo>
                  <a:cubicBezTo>
                    <a:pt x="25" y="79"/>
                    <a:pt x="25" y="79"/>
                    <a:pt x="25" y="79"/>
                  </a:cubicBezTo>
                  <a:cubicBezTo>
                    <a:pt x="27" y="71"/>
                    <a:pt x="27" y="71"/>
                    <a:pt x="27" y="71"/>
                  </a:cubicBezTo>
                  <a:cubicBezTo>
                    <a:pt x="48" y="86"/>
                    <a:pt x="48" y="86"/>
                    <a:pt x="48" y="86"/>
                  </a:cubicBezTo>
                  <a:cubicBezTo>
                    <a:pt x="46" y="90"/>
                    <a:pt x="44" y="94"/>
                    <a:pt x="42" y="100"/>
                  </a:cubicBezTo>
                  <a:cubicBezTo>
                    <a:pt x="36" y="99"/>
                    <a:pt x="28" y="93"/>
                    <a:pt x="34" y="85"/>
                  </a:cubicBezTo>
                  <a:close/>
                  <a:moveTo>
                    <a:pt x="183" y="0"/>
                  </a:moveTo>
                  <a:cubicBezTo>
                    <a:pt x="171" y="3"/>
                    <a:pt x="171" y="3"/>
                    <a:pt x="171" y="3"/>
                  </a:cubicBezTo>
                  <a:cubicBezTo>
                    <a:pt x="192" y="82"/>
                    <a:pt x="192" y="82"/>
                    <a:pt x="192" y="82"/>
                  </a:cubicBezTo>
                  <a:cubicBezTo>
                    <a:pt x="204" y="78"/>
                    <a:pt x="204" y="78"/>
                    <a:pt x="204" y="78"/>
                  </a:cubicBezTo>
                  <a:cubicBezTo>
                    <a:pt x="183" y="0"/>
                    <a:pt x="183" y="0"/>
                    <a:pt x="183" y="0"/>
                  </a:cubicBezTo>
                  <a:close/>
                  <a:moveTo>
                    <a:pt x="44" y="8"/>
                  </a:moveTo>
                  <a:cubicBezTo>
                    <a:pt x="80" y="8"/>
                    <a:pt x="80" y="8"/>
                    <a:pt x="80" y="8"/>
                  </a:cubicBezTo>
                  <a:cubicBezTo>
                    <a:pt x="64" y="15"/>
                    <a:pt x="64" y="15"/>
                    <a:pt x="64" y="15"/>
                  </a:cubicBezTo>
                  <a:cubicBezTo>
                    <a:pt x="42" y="15"/>
                    <a:pt x="42" y="15"/>
                    <a:pt x="42" y="15"/>
                  </a:cubicBezTo>
                  <a:cubicBezTo>
                    <a:pt x="44" y="8"/>
                    <a:pt x="44" y="8"/>
                    <a:pt x="44" y="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4" name="Group 13"/>
            <p:cNvGrpSpPr>
              <a:grpSpLocks noChangeAspect="1"/>
            </p:cNvGrpSpPr>
            <p:nvPr/>
          </p:nvGrpSpPr>
          <p:grpSpPr>
            <a:xfrm>
              <a:off x="7175453" y="3209865"/>
              <a:ext cx="938657" cy="1005840"/>
              <a:chOff x="8375650" y="-1209675"/>
              <a:chExt cx="776288" cy="831850"/>
            </a:xfrm>
          </p:grpSpPr>
          <p:sp>
            <p:nvSpPr>
              <p:cNvPr id="15" name="Freeform 9"/>
              <p:cNvSpPr>
                <a:spLocks noEditPoints="1"/>
              </p:cNvSpPr>
              <p:nvPr/>
            </p:nvSpPr>
            <p:spPr bwMode="auto">
              <a:xfrm>
                <a:off x="8375650" y="-1209675"/>
                <a:ext cx="555625" cy="731838"/>
              </a:xfrm>
              <a:custGeom>
                <a:avLst/>
                <a:gdLst>
                  <a:gd name="T0" fmla="*/ 146 w 146"/>
                  <a:gd name="T1" fmla="*/ 0 h 193"/>
                  <a:gd name="T2" fmla="*/ 56 w 146"/>
                  <a:gd name="T3" fmla="*/ 0 h 193"/>
                  <a:gd name="T4" fmla="*/ 56 w 146"/>
                  <a:gd name="T5" fmla="*/ 8 h 193"/>
                  <a:gd name="T6" fmla="*/ 138 w 146"/>
                  <a:gd name="T7" fmla="*/ 8 h 193"/>
                  <a:gd name="T8" fmla="*/ 138 w 146"/>
                  <a:gd name="T9" fmla="*/ 31 h 193"/>
                  <a:gd name="T10" fmla="*/ 146 w 146"/>
                  <a:gd name="T11" fmla="*/ 31 h 193"/>
                  <a:gd name="T12" fmla="*/ 146 w 146"/>
                  <a:gd name="T13" fmla="*/ 0 h 193"/>
                  <a:gd name="T14" fmla="*/ 60 w 146"/>
                  <a:gd name="T15" fmla="*/ 184 h 193"/>
                  <a:gd name="T16" fmla="*/ 8 w 146"/>
                  <a:gd name="T17" fmla="*/ 184 h 193"/>
                  <a:gd name="T18" fmla="*/ 8 w 146"/>
                  <a:gd name="T19" fmla="*/ 55 h 193"/>
                  <a:gd name="T20" fmla="*/ 46 w 146"/>
                  <a:gd name="T21" fmla="*/ 55 h 193"/>
                  <a:gd name="T22" fmla="*/ 46 w 146"/>
                  <a:gd name="T23" fmla="*/ 0 h 193"/>
                  <a:gd name="T24" fmla="*/ 0 w 146"/>
                  <a:gd name="T25" fmla="*/ 47 h 193"/>
                  <a:gd name="T26" fmla="*/ 0 w 146"/>
                  <a:gd name="T27" fmla="*/ 193 h 193"/>
                  <a:gd name="T28" fmla="*/ 61 w 146"/>
                  <a:gd name="T29" fmla="*/ 193 h 193"/>
                  <a:gd name="T30" fmla="*/ 63 w 146"/>
                  <a:gd name="T31" fmla="*/ 184 h 193"/>
                  <a:gd name="T32" fmla="*/ 60 w 146"/>
                  <a:gd name="T33" fmla="*/ 184 h 193"/>
                  <a:gd name="T34" fmla="*/ 38 w 146"/>
                  <a:gd name="T35" fmla="*/ 20 h 193"/>
                  <a:gd name="T36" fmla="*/ 38 w 146"/>
                  <a:gd name="T37" fmla="*/ 47 h 193"/>
                  <a:gd name="T38" fmla="*/ 11 w 146"/>
                  <a:gd name="T39" fmla="*/ 47 h 193"/>
                  <a:gd name="T40" fmla="*/ 38 w 146"/>
                  <a:gd name="T41" fmla="*/ 20 h 193"/>
                  <a:gd name="T42" fmla="*/ 32 w 146"/>
                  <a:gd name="T43" fmla="*/ 113 h 193"/>
                  <a:gd name="T44" fmla="*/ 62 w 146"/>
                  <a:gd name="T45" fmla="*/ 113 h 193"/>
                  <a:gd name="T46" fmla="*/ 62 w 146"/>
                  <a:gd name="T47" fmla="*/ 105 h 193"/>
                  <a:gd name="T48" fmla="*/ 32 w 146"/>
                  <a:gd name="T49" fmla="*/ 105 h 193"/>
                  <a:gd name="T50" fmla="*/ 32 w 146"/>
                  <a:gd name="T51" fmla="*/ 113 h 193"/>
                  <a:gd name="T52" fmla="*/ 32 w 146"/>
                  <a:gd name="T53" fmla="*/ 132 h 193"/>
                  <a:gd name="T54" fmla="*/ 59 w 146"/>
                  <a:gd name="T55" fmla="*/ 132 h 193"/>
                  <a:gd name="T56" fmla="*/ 64 w 146"/>
                  <a:gd name="T57" fmla="*/ 124 h 193"/>
                  <a:gd name="T58" fmla="*/ 32 w 146"/>
                  <a:gd name="T59" fmla="*/ 124 h 193"/>
                  <a:gd name="T60" fmla="*/ 32 w 146"/>
                  <a:gd name="T61" fmla="*/ 132 h 193"/>
                  <a:gd name="T62" fmla="*/ 32 w 146"/>
                  <a:gd name="T63" fmla="*/ 151 h 193"/>
                  <a:gd name="T64" fmla="*/ 62 w 146"/>
                  <a:gd name="T65" fmla="*/ 151 h 193"/>
                  <a:gd name="T66" fmla="*/ 62 w 146"/>
                  <a:gd name="T67" fmla="*/ 144 h 193"/>
                  <a:gd name="T68" fmla="*/ 32 w 146"/>
                  <a:gd name="T69" fmla="*/ 144 h 193"/>
                  <a:gd name="T70" fmla="*/ 32 w 146"/>
                  <a:gd name="T71" fmla="*/ 151 h 193"/>
                  <a:gd name="T72" fmla="*/ 32 w 146"/>
                  <a:gd name="T73" fmla="*/ 86 h 193"/>
                  <a:gd name="T74" fmla="*/ 64 w 146"/>
                  <a:gd name="T75" fmla="*/ 86 h 193"/>
                  <a:gd name="T76" fmla="*/ 62 w 146"/>
                  <a:gd name="T77" fmla="*/ 93 h 193"/>
                  <a:gd name="T78" fmla="*/ 32 w 146"/>
                  <a:gd name="T79" fmla="*/ 93 h 193"/>
                  <a:gd name="T80" fmla="*/ 32 w 146"/>
                  <a:gd name="T81" fmla="*/ 86 h 193"/>
                  <a:gd name="T82" fmla="*/ 32 w 146"/>
                  <a:gd name="T83" fmla="*/ 66 h 193"/>
                  <a:gd name="T84" fmla="*/ 71 w 146"/>
                  <a:gd name="T85" fmla="*/ 66 h 193"/>
                  <a:gd name="T86" fmla="*/ 65 w 146"/>
                  <a:gd name="T87" fmla="*/ 74 h 193"/>
                  <a:gd name="T88" fmla="*/ 32 w 146"/>
                  <a:gd name="T89" fmla="*/ 74 h 193"/>
                  <a:gd name="T90" fmla="*/ 32 w 146"/>
                  <a:gd name="T91" fmla="*/ 66 h 193"/>
                  <a:gd name="T92" fmla="*/ 56 w 146"/>
                  <a:gd name="T93" fmla="*/ 47 h 193"/>
                  <a:gd name="T94" fmla="*/ 85 w 146"/>
                  <a:gd name="T95" fmla="*/ 47 h 193"/>
                  <a:gd name="T96" fmla="*/ 85 w 146"/>
                  <a:gd name="T97" fmla="*/ 55 h 193"/>
                  <a:gd name="T98" fmla="*/ 56 w 146"/>
                  <a:gd name="T99" fmla="*/ 55 h 193"/>
                  <a:gd name="T100" fmla="*/ 56 w 146"/>
                  <a:gd name="T101" fmla="*/ 4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6" h="193">
                    <a:moveTo>
                      <a:pt x="146" y="0"/>
                    </a:moveTo>
                    <a:cubicBezTo>
                      <a:pt x="56" y="0"/>
                      <a:pt x="56" y="0"/>
                      <a:pt x="56" y="0"/>
                    </a:cubicBezTo>
                    <a:cubicBezTo>
                      <a:pt x="56" y="8"/>
                      <a:pt x="56" y="8"/>
                      <a:pt x="56" y="8"/>
                    </a:cubicBezTo>
                    <a:cubicBezTo>
                      <a:pt x="138" y="8"/>
                      <a:pt x="138" y="8"/>
                      <a:pt x="138" y="8"/>
                    </a:cubicBezTo>
                    <a:cubicBezTo>
                      <a:pt x="138" y="31"/>
                      <a:pt x="138" y="31"/>
                      <a:pt x="138" y="31"/>
                    </a:cubicBezTo>
                    <a:cubicBezTo>
                      <a:pt x="141" y="31"/>
                      <a:pt x="144" y="31"/>
                      <a:pt x="146" y="31"/>
                    </a:cubicBezTo>
                    <a:cubicBezTo>
                      <a:pt x="146" y="0"/>
                      <a:pt x="146" y="0"/>
                      <a:pt x="146" y="0"/>
                    </a:cubicBezTo>
                    <a:close/>
                    <a:moveTo>
                      <a:pt x="60" y="184"/>
                    </a:moveTo>
                    <a:cubicBezTo>
                      <a:pt x="8" y="184"/>
                      <a:pt x="8" y="184"/>
                      <a:pt x="8" y="184"/>
                    </a:cubicBezTo>
                    <a:cubicBezTo>
                      <a:pt x="8" y="55"/>
                      <a:pt x="8" y="55"/>
                      <a:pt x="8" y="55"/>
                    </a:cubicBezTo>
                    <a:cubicBezTo>
                      <a:pt x="46" y="55"/>
                      <a:pt x="46" y="55"/>
                      <a:pt x="46" y="55"/>
                    </a:cubicBezTo>
                    <a:cubicBezTo>
                      <a:pt x="46" y="0"/>
                      <a:pt x="46" y="0"/>
                      <a:pt x="46" y="0"/>
                    </a:cubicBezTo>
                    <a:cubicBezTo>
                      <a:pt x="0" y="47"/>
                      <a:pt x="0" y="47"/>
                      <a:pt x="0" y="47"/>
                    </a:cubicBezTo>
                    <a:cubicBezTo>
                      <a:pt x="0" y="193"/>
                      <a:pt x="0" y="193"/>
                      <a:pt x="0" y="193"/>
                    </a:cubicBezTo>
                    <a:cubicBezTo>
                      <a:pt x="61" y="193"/>
                      <a:pt x="61" y="193"/>
                      <a:pt x="61" y="193"/>
                    </a:cubicBezTo>
                    <a:cubicBezTo>
                      <a:pt x="60" y="190"/>
                      <a:pt x="63" y="187"/>
                      <a:pt x="63" y="184"/>
                    </a:cubicBezTo>
                    <a:lnTo>
                      <a:pt x="60" y="184"/>
                    </a:lnTo>
                    <a:close/>
                    <a:moveTo>
                      <a:pt x="38" y="20"/>
                    </a:moveTo>
                    <a:cubicBezTo>
                      <a:pt x="38" y="47"/>
                      <a:pt x="38" y="47"/>
                      <a:pt x="38" y="47"/>
                    </a:cubicBezTo>
                    <a:cubicBezTo>
                      <a:pt x="11" y="47"/>
                      <a:pt x="11" y="47"/>
                      <a:pt x="11" y="47"/>
                    </a:cubicBezTo>
                    <a:cubicBezTo>
                      <a:pt x="38" y="20"/>
                      <a:pt x="38" y="20"/>
                      <a:pt x="38" y="20"/>
                    </a:cubicBezTo>
                    <a:close/>
                    <a:moveTo>
                      <a:pt x="32" y="113"/>
                    </a:moveTo>
                    <a:cubicBezTo>
                      <a:pt x="62" y="113"/>
                      <a:pt x="62" y="113"/>
                      <a:pt x="62" y="113"/>
                    </a:cubicBezTo>
                    <a:cubicBezTo>
                      <a:pt x="62" y="105"/>
                      <a:pt x="62" y="105"/>
                      <a:pt x="62" y="105"/>
                    </a:cubicBezTo>
                    <a:cubicBezTo>
                      <a:pt x="32" y="105"/>
                      <a:pt x="32" y="105"/>
                      <a:pt x="32" y="105"/>
                    </a:cubicBezTo>
                    <a:cubicBezTo>
                      <a:pt x="32" y="113"/>
                      <a:pt x="32" y="113"/>
                      <a:pt x="32" y="113"/>
                    </a:cubicBezTo>
                    <a:close/>
                    <a:moveTo>
                      <a:pt x="32" y="132"/>
                    </a:moveTo>
                    <a:cubicBezTo>
                      <a:pt x="59" y="132"/>
                      <a:pt x="59" y="132"/>
                      <a:pt x="59" y="132"/>
                    </a:cubicBezTo>
                    <a:cubicBezTo>
                      <a:pt x="60" y="129"/>
                      <a:pt x="62" y="126"/>
                      <a:pt x="64" y="124"/>
                    </a:cubicBezTo>
                    <a:cubicBezTo>
                      <a:pt x="32" y="124"/>
                      <a:pt x="32" y="124"/>
                      <a:pt x="32" y="124"/>
                    </a:cubicBezTo>
                    <a:cubicBezTo>
                      <a:pt x="32" y="132"/>
                      <a:pt x="32" y="132"/>
                      <a:pt x="32" y="132"/>
                    </a:cubicBezTo>
                    <a:close/>
                    <a:moveTo>
                      <a:pt x="32" y="151"/>
                    </a:moveTo>
                    <a:cubicBezTo>
                      <a:pt x="62" y="151"/>
                      <a:pt x="62" y="151"/>
                      <a:pt x="62" y="151"/>
                    </a:cubicBezTo>
                    <a:cubicBezTo>
                      <a:pt x="62" y="144"/>
                      <a:pt x="62" y="144"/>
                      <a:pt x="62" y="144"/>
                    </a:cubicBezTo>
                    <a:cubicBezTo>
                      <a:pt x="32" y="144"/>
                      <a:pt x="32" y="144"/>
                      <a:pt x="32" y="144"/>
                    </a:cubicBezTo>
                    <a:cubicBezTo>
                      <a:pt x="32" y="151"/>
                      <a:pt x="32" y="151"/>
                      <a:pt x="32" y="151"/>
                    </a:cubicBezTo>
                    <a:close/>
                    <a:moveTo>
                      <a:pt x="32" y="86"/>
                    </a:moveTo>
                    <a:cubicBezTo>
                      <a:pt x="64" y="86"/>
                      <a:pt x="64" y="86"/>
                      <a:pt x="64" y="86"/>
                    </a:cubicBezTo>
                    <a:cubicBezTo>
                      <a:pt x="63" y="88"/>
                      <a:pt x="62" y="91"/>
                      <a:pt x="62" y="93"/>
                    </a:cubicBezTo>
                    <a:cubicBezTo>
                      <a:pt x="32" y="93"/>
                      <a:pt x="32" y="93"/>
                      <a:pt x="32" y="93"/>
                    </a:cubicBezTo>
                    <a:cubicBezTo>
                      <a:pt x="32" y="86"/>
                      <a:pt x="32" y="86"/>
                      <a:pt x="32" y="86"/>
                    </a:cubicBezTo>
                    <a:close/>
                    <a:moveTo>
                      <a:pt x="32" y="66"/>
                    </a:moveTo>
                    <a:cubicBezTo>
                      <a:pt x="71" y="66"/>
                      <a:pt x="71" y="66"/>
                      <a:pt x="71" y="66"/>
                    </a:cubicBezTo>
                    <a:cubicBezTo>
                      <a:pt x="68" y="69"/>
                      <a:pt x="66" y="71"/>
                      <a:pt x="65" y="74"/>
                    </a:cubicBezTo>
                    <a:cubicBezTo>
                      <a:pt x="32" y="74"/>
                      <a:pt x="32" y="74"/>
                      <a:pt x="32" y="74"/>
                    </a:cubicBezTo>
                    <a:cubicBezTo>
                      <a:pt x="32" y="66"/>
                      <a:pt x="32" y="66"/>
                      <a:pt x="32" y="66"/>
                    </a:cubicBezTo>
                    <a:close/>
                    <a:moveTo>
                      <a:pt x="56" y="47"/>
                    </a:moveTo>
                    <a:cubicBezTo>
                      <a:pt x="85" y="47"/>
                      <a:pt x="85" y="47"/>
                      <a:pt x="85" y="47"/>
                    </a:cubicBezTo>
                    <a:cubicBezTo>
                      <a:pt x="85" y="55"/>
                      <a:pt x="85" y="55"/>
                      <a:pt x="85" y="55"/>
                    </a:cubicBezTo>
                    <a:cubicBezTo>
                      <a:pt x="56" y="55"/>
                      <a:pt x="56" y="55"/>
                      <a:pt x="56" y="55"/>
                    </a:cubicBezTo>
                    <a:cubicBezTo>
                      <a:pt x="56" y="47"/>
                      <a:pt x="56" y="47"/>
                      <a:pt x="56" y="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0"/>
              <p:cNvSpPr>
                <a:spLocks noEditPoints="1"/>
              </p:cNvSpPr>
              <p:nvPr/>
            </p:nvSpPr>
            <p:spPr bwMode="auto">
              <a:xfrm>
                <a:off x="8593138" y="-1111250"/>
                <a:ext cx="558800" cy="733425"/>
              </a:xfrm>
              <a:custGeom>
                <a:avLst/>
                <a:gdLst>
                  <a:gd name="T0" fmla="*/ 147 w 147"/>
                  <a:gd name="T1" fmla="*/ 0 h 193"/>
                  <a:gd name="T2" fmla="*/ 57 w 147"/>
                  <a:gd name="T3" fmla="*/ 0 h 193"/>
                  <a:gd name="T4" fmla="*/ 57 w 147"/>
                  <a:gd name="T5" fmla="*/ 8 h 193"/>
                  <a:gd name="T6" fmla="*/ 138 w 147"/>
                  <a:gd name="T7" fmla="*/ 8 h 193"/>
                  <a:gd name="T8" fmla="*/ 138 w 147"/>
                  <a:gd name="T9" fmla="*/ 184 h 193"/>
                  <a:gd name="T10" fmla="*/ 8 w 147"/>
                  <a:gd name="T11" fmla="*/ 184 h 193"/>
                  <a:gd name="T12" fmla="*/ 8 w 147"/>
                  <a:gd name="T13" fmla="*/ 55 h 193"/>
                  <a:gd name="T14" fmla="*/ 47 w 147"/>
                  <a:gd name="T15" fmla="*/ 55 h 193"/>
                  <a:gd name="T16" fmla="*/ 47 w 147"/>
                  <a:gd name="T17" fmla="*/ 0 h 193"/>
                  <a:gd name="T18" fmla="*/ 0 w 147"/>
                  <a:gd name="T19" fmla="*/ 47 h 193"/>
                  <a:gd name="T20" fmla="*/ 0 w 147"/>
                  <a:gd name="T21" fmla="*/ 193 h 193"/>
                  <a:gd name="T22" fmla="*/ 147 w 147"/>
                  <a:gd name="T23" fmla="*/ 193 h 193"/>
                  <a:gd name="T24" fmla="*/ 147 w 147"/>
                  <a:gd name="T25" fmla="*/ 0 h 193"/>
                  <a:gd name="T26" fmla="*/ 98 w 147"/>
                  <a:gd name="T27" fmla="*/ 71 h 193"/>
                  <a:gd name="T28" fmla="*/ 114 w 147"/>
                  <a:gd name="T29" fmla="*/ 71 h 193"/>
                  <a:gd name="T30" fmla="*/ 117 w 147"/>
                  <a:gd name="T31" fmla="*/ 74 h 193"/>
                  <a:gd name="T32" fmla="*/ 117 w 147"/>
                  <a:gd name="T33" fmla="*/ 127 h 193"/>
                  <a:gd name="T34" fmla="*/ 114 w 147"/>
                  <a:gd name="T35" fmla="*/ 130 h 193"/>
                  <a:gd name="T36" fmla="*/ 98 w 147"/>
                  <a:gd name="T37" fmla="*/ 130 h 193"/>
                  <a:gd name="T38" fmla="*/ 96 w 147"/>
                  <a:gd name="T39" fmla="*/ 127 h 193"/>
                  <a:gd name="T40" fmla="*/ 96 w 147"/>
                  <a:gd name="T41" fmla="*/ 74 h 193"/>
                  <a:gd name="T42" fmla="*/ 98 w 147"/>
                  <a:gd name="T43" fmla="*/ 71 h 193"/>
                  <a:gd name="T44" fmla="*/ 82 w 147"/>
                  <a:gd name="T45" fmla="*/ 92 h 193"/>
                  <a:gd name="T46" fmla="*/ 65 w 147"/>
                  <a:gd name="T47" fmla="*/ 92 h 193"/>
                  <a:gd name="T48" fmla="*/ 62 w 147"/>
                  <a:gd name="T49" fmla="*/ 95 h 193"/>
                  <a:gd name="T50" fmla="*/ 62 w 147"/>
                  <a:gd name="T51" fmla="*/ 127 h 193"/>
                  <a:gd name="T52" fmla="*/ 65 w 147"/>
                  <a:gd name="T53" fmla="*/ 130 h 193"/>
                  <a:gd name="T54" fmla="*/ 82 w 147"/>
                  <a:gd name="T55" fmla="*/ 130 h 193"/>
                  <a:gd name="T56" fmla="*/ 84 w 147"/>
                  <a:gd name="T57" fmla="*/ 127 h 193"/>
                  <a:gd name="T58" fmla="*/ 84 w 147"/>
                  <a:gd name="T59" fmla="*/ 95 h 193"/>
                  <a:gd name="T60" fmla="*/ 82 w 147"/>
                  <a:gd name="T61" fmla="*/ 92 h 193"/>
                  <a:gd name="T62" fmla="*/ 32 w 147"/>
                  <a:gd name="T63" fmla="*/ 113 h 193"/>
                  <a:gd name="T64" fmla="*/ 48 w 147"/>
                  <a:gd name="T65" fmla="*/ 113 h 193"/>
                  <a:gd name="T66" fmla="*/ 51 w 147"/>
                  <a:gd name="T67" fmla="*/ 115 h 193"/>
                  <a:gd name="T68" fmla="*/ 51 w 147"/>
                  <a:gd name="T69" fmla="*/ 127 h 193"/>
                  <a:gd name="T70" fmla="*/ 48 w 147"/>
                  <a:gd name="T71" fmla="*/ 130 h 193"/>
                  <a:gd name="T72" fmla="*/ 32 w 147"/>
                  <a:gd name="T73" fmla="*/ 130 h 193"/>
                  <a:gd name="T74" fmla="*/ 30 w 147"/>
                  <a:gd name="T75" fmla="*/ 127 h 193"/>
                  <a:gd name="T76" fmla="*/ 30 w 147"/>
                  <a:gd name="T77" fmla="*/ 115 h 193"/>
                  <a:gd name="T78" fmla="*/ 32 w 147"/>
                  <a:gd name="T79" fmla="*/ 113 h 193"/>
                  <a:gd name="T80" fmla="*/ 30 w 147"/>
                  <a:gd name="T81" fmla="*/ 145 h 193"/>
                  <a:gd name="T82" fmla="*/ 51 w 147"/>
                  <a:gd name="T83" fmla="*/ 145 h 193"/>
                  <a:gd name="T84" fmla="*/ 51 w 147"/>
                  <a:gd name="T85" fmla="*/ 154 h 193"/>
                  <a:gd name="T86" fmla="*/ 30 w 147"/>
                  <a:gd name="T87" fmla="*/ 154 h 193"/>
                  <a:gd name="T88" fmla="*/ 30 w 147"/>
                  <a:gd name="T89" fmla="*/ 145 h 193"/>
                  <a:gd name="T90" fmla="*/ 63 w 147"/>
                  <a:gd name="T91" fmla="*/ 145 h 193"/>
                  <a:gd name="T92" fmla="*/ 84 w 147"/>
                  <a:gd name="T93" fmla="*/ 145 h 193"/>
                  <a:gd name="T94" fmla="*/ 84 w 147"/>
                  <a:gd name="T95" fmla="*/ 154 h 193"/>
                  <a:gd name="T96" fmla="*/ 63 w 147"/>
                  <a:gd name="T97" fmla="*/ 154 h 193"/>
                  <a:gd name="T98" fmla="*/ 63 w 147"/>
                  <a:gd name="T99" fmla="*/ 145 h 193"/>
                  <a:gd name="T100" fmla="*/ 96 w 147"/>
                  <a:gd name="T101" fmla="*/ 145 h 193"/>
                  <a:gd name="T102" fmla="*/ 117 w 147"/>
                  <a:gd name="T103" fmla="*/ 145 h 193"/>
                  <a:gd name="T104" fmla="*/ 117 w 147"/>
                  <a:gd name="T105" fmla="*/ 154 h 193"/>
                  <a:gd name="T106" fmla="*/ 96 w 147"/>
                  <a:gd name="T107" fmla="*/ 154 h 193"/>
                  <a:gd name="T108" fmla="*/ 96 w 147"/>
                  <a:gd name="T109" fmla="*/ 145 h 193"/>
                  <a:gd name="T110" fmla="*/ 38 w 147"/>
                  <a:gd name="T111" fmla="*/ 20 h 193"/>
                  <a:gd name="T112" fmla="*/ 38 w 147"/>
                  <a:gd name="T113" fmla="*/ 47 h 193"/>
                  <a:gd name="T114" fmla="*/ 11 w 147"/>
                  <a:gd name="T115" fmla="*/ 47 h 193"/>
                  <a:gd name="T116" fmla="*/ 38 w 147"/>
                  <a:gd name="T117" fmla="*/ 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7" h="193">
                    <a:moveTo>
                      <a:pt x="147" y="0"/>
                    </a:moveTo>
                    <a:cubicBezTo>
                      <a:pt x="57" y="0"/>
                      <a:pt x="57" y="0"/>
                      <a:pt x="57" y="0"/>
                    </a:cubicBezTo>
                    <a:cubicBezTo>
                      <a:pt x="57" y="8"/>
                      <a:pt x="57" y="8"/>
                      <a:pt x="57" y="8"/>
                    </a:cubicBezTo>
                    <a:cubicBezTo>
                      <a:pt x="138" y="8"/>
                      <a:pt x="138" y="8"/>
                      <a:pt x="138" y="8"/>
                    </a:cubicBezTo>
                    <a:cubicBezTo>
                      <a:pt x="138" y="184"/>
                      <a:pt x="138" y="184"/>
                      <a:pt x="138" y="184"/>
                    </a:cubicBezTo>
                    <a:cubicBezTo>
                      <a:pt x="8" y="184"/>
                      <a:pt x="8" y="184"/>
                      <a:pt x="8" y="184"/>
                    </a:cubicBezTo>
                    <a:cubicBezTo>
                      <a:pt x="8" y="55"/>
                      <a:pt x="8" y="55"/>
                      <a:pt x="8" y="55"/>
                    </a:cubicBezTo>
                    <a:cubicBezTo>
                      <a:pt x="47" y="55"/>
                      <a:pt x="47" y="55"/>
                      <a:pt x="47" y="55"/>
                    </a:cubicBezTo>
                    <a:cubicBezTo>
                      <a:pt x="47" y="0"/>
                      <a:pt x="47" y="0"/>
                      <a:pt x="47" y="0"/>
                    </a:cubicBezTo>
                    <a:cubicBezTo>
                      <a:pt x="0" y="47"/>
                      <a:pt x="0" y="47"/>
                      <a:pt x="0" y="47"/>
                    </a:cubicBezTo>
                    <a:cubicBezTo>
                      <a:pt x="0" y="193"/>
                      <a:pt x="0" y="193"/>
                      <a:pt x="0" y="193"/>
                    </a:cubicBezTo>
                    <a:cubicBezTo>
                      <a:pt x="147" y="193"/>
                      <a:pt x="147" y="193"/>
                      <a:pt x="147" y="193"/>
                    </a:cubicBezTo>
                    <a:cubicBezTo>
                      <a:pt x="147" y="0"/>
                      <a:pt x="147" y="0"/>
                      <a:pt x="147" y="0"/>
                    </a:cubicBezTo>
                    <a:close/>
                    <a:moveTo>
                      <a:pt x="98" y="71"/>
                    </a:moveTo>
                    <a:cubicBezTo>
                      <a:pt x="114" y="71"/>
                      <a:pt x="114" y="71"/>
                      <a:pt x="114" y="71"/>
                    </a:cubicBezTo>
                    <a:cubicBezTo>
                      <a:pt x="116" y="71"/>
                      <a:pt x="117" y="73"/>
                      <a:pt x="117" y="74"/>
                    </a:cubicBezTo>
                    <a:cubicBezTo>
                      <a:pt x="117" y="127"/>
                      <a:pt x="117" y="127"/>
                      <a:pt x="117" y="127"/>
                    </a:cubicBezTo>
                    <a:cubicBezTo>
                      <a:pt x="117" y="129"/>
                      <a:pt x="116" y="130"/>
                      <a:pt x="114" y="130"/>
                    </a:cubicBezTo>
                    <a:cubicBezTo>
                      <a:pt x="98" y="130"/>
                      <a:pt x="98" y="130"/>
                      <a:pt x="98" y="130"/>
                    </a:cubicBezTo>
                    <a:cubicBezTo>
                      <a:pt x="97" y="130"/>
                      <a:pt x="96" y="129"/>
                      <a:pt x="96" y="127"/>
                    </a:cubicBezTo>
                    <a:cubicBezTo>
                      <a:pt x="96" y="74"/>
                      <a:pt x="96" y="74"/>
                      <a:pt x="96" y="74"/>
                    </a:cubicBezTo>
                    <a:cubicBezTo>
                      <a:pt x="96" y="73"/>
                      <a:pt x="97" y="71"/>
                      <a:pt x="98" y="71"/>
                    </a:cubicBezTo>
                    <a:close/>
                    <a:moveTo>
                      <a:pt x="82" y="92"/>
                    </a:moveTo>
                    <a:cubicBezTo>
                      <a:pt x="65" y="92"/>
                      <a:pt x="65" y="92"/>
                      <a:pt x="65" y="92"/>
                    </a:cubicBezTo>
                    <a:cubicBezTo>
                      <a:pt x="64" y="92"/>
                      <a:pt x="62" y="93"/>
                      <a:pt x="62" y="95"/>
                    </a:cubicBezTo>
                    <a:cubicBezTo>
                      <a:pt x="62" y="127"/>
                      <a:pt x="62" y="127"/>
                      <a:pt x="62" y="127"/>
                    </a:cubicBezTo>
                    <a:cubicBezTo>
                      <a:pt x="62" y="129"/>
                      <a:pt x="63" y="130"/>
                      <a:pt x="65" y="130"/>
                    </a:cubicBezTo>
                    <a:cubicBezTo>
                      <a:pt x="82" y="130"/>
                      <a:pt x="82" y="130"/>
                      <a:pt x="82" y="130"/>
                    </a:cubicBezTo>
                    <a:cubicBezTo>
                      <a:pt x="83" y="130"/>
                      <a:pt x="84" y="129"/>
                      <a:pt x="84" y="127"/>
                    </a:cubicBezTo>
                    <a:cubicBezTo>
                      <a:pt x="84" y="95"/>
                      <a:pt x="84" y="95"/>
                      <a:pt x="84" y="95"/>
                    </a:cubicBezTo>
                    <a:cubicBezTo>
                      <a:pt x="84" y="93"/>
                      <a:pt x="83" y="92"/>
                      <a:pt x="82" y="92"/>
                    </a:cubicBezTo>
                    <a:close/>
                    <a:moveTo>
                      <a:pt x="32" y="113"/>
                    </a:moveTo>
                    <a:cubicBezTo>
                      <a:pt x="48" y="113"/>
                      <a:pt x="48" y="113"/>
                      <a:pt x="48" y="113"/>
                    </a:cubicBezTo>
                    <a:cubicBezTo>
                      <a:pt x="50" y="113"/>
                      <a:pt x="51" y="114"/>
                      <a:pt x="51" y="115"/>
                    </a:cubicBezTo>
                    <a:cubicBezTo>
                      <a:pt x="51" y="127"/>
                      <a:pt x="51" y="127"/>
                      <a:pt x="51" y="127"/>
                    </a:cubicBezTo>
                    <a:cubicBezTo>
                      <a:pt x="51" y="129"/>
                      <a:pt x="50" y="130"/>
                      <a:pt x="48" y="130"/>
                    </a:cubicBezTo>
                    <a:cubicBezTo>
                      <a:pt x="32" y="130"/>
                      <a:pt x="32" y="130"/>
                      <a:pt x="32" y="130"/>
                    </a:cubicBezTo>
                    <a:cubicBezTo>
                      <a:pt x="31" y="130"/>
                      <a:pt x="30" y="129"/>
                      <a:pt x="30" y="127"/>
                    </a:cubicBezTo>
                    <a:cubicBezTo>
                      <a:pt x="30" y="115"/>
                      <a:pt x="30" y="115"/>
                      <a:pt x="30" y="115"/>
                    </a:cubicBezTo>
                    <a:cubicBezTo>
                      <a:pt x="30" y="114"/>
                      <a:pt x="31" y="113"/>
                      <a:pt x="32" y="113"/>
                    </a:cubicBezTo>
                    <a:close/>
                    <a:moveTo>
                      <a:pt x="30" y="145"/>
                    </a:moveTo>
                    <a:cubicBezTo>
                      <a:pt x="51" y="145"/>
                      <a:pt x="51" y="145"/>
                      <a:pt x="51" y="145"/>
                    </a:cubicBezTo>
                    <a:cubicBezTo>
                      <a:pt x="51" y="154"/>
                      <a:pt x="51" y="154"/>
                      <a:pt x="51" y="154"/>
                    </a:cubicBezTo>
                    <a:cubicBezTo>
                      <a:pt x="30" y="154"/>
                      <a:pt x="30" y="154"/>
                      <a:pt x="30" y="154"/>
                    </a:cubicBezTo>
                    <a:cubicBezTo>
                      <a:pt x="30" y="145"/>
                      <a:pt x="30" y="145"/>
                      <a:pt x="30" y="145"/>
                    </a:cubicBezTo>
                    <a:close/>
                    <a:moveTo>
                      <a:pt x="63" y="145"/>
                    </a:moveTo>
                    <a:cubicBezTo>
                      <a:pt x="84" y="145"/>
                      <a:pt x="84" y="145"/>
                      <a:pt x="84" y="145"/>
                    </a:cubicBezTo>
                    <a:cubicBezTo>
                      <a:pt x="84" y="154"/>
                      <a:pt x="84" y="154"/>
                      <a:pt x="84" y="154"/>
                    </a:cubicBezTo>
                    <a:cubicBezTo>
                      <a:pt x="63" y="154"/>
                      <a:pt x="63" y="154"/>
                      <a:pt x="63" y="154"/>
                    </a:cubicBezTo>
                    <a:cubicBezTo>
                      <a:pt x="63" y="145"/>
                      <a:pt x="63" y="145"/>
                      <a:pt x="63" y="145"/>
                    </a:cubicBezTo>
                    <a:close/>
                    <a:moveTo>
                      <a:pt x="96" y="145"/>
                    </a:moveTo>
                    <a:cubicBezTo>
                      <a:pt x="117" y="145"/>
                      <a:pt x="117" y="145"/>
                      <a:pt x="117" y="145"/>
                    </a:cubicBezTo>
                    <a:cubicBezTo>
                      <a:pt x="117" y="154"/>
                      <a:pt x="117" y="154"/>
                      <a:pt x="117" y="154"/>
                    </a:cubicBezTo>
                    <a:cubicBezTo>
                      <a:pt x="96" y="154"/>
                      <a:pt x="96" y="154"/>
                      <a:pt x="96" y="154"/>
                    </a:cubicBezTo>
                    <a:cubicBezTo>
                      <a:pt x="96" y="145"/>
                      <a:pt x="96" y="145"/>
                      <a:pt x="96" y="145"/>
                    </a:cubicBezTo>
                    <a:close/>
                    <a:moveTo>
                      <a:pt x="38" y="20"/>
                    </a:moveTo>
                    <a:cubicBezTo>
                      <a:pt x="38" y="47"/>
                      <a:pt x="38" y="47"/>
                      <a:pt x="38" y="47"/>
                    </a:cubicBezTo>
                    <a:cubicBezTo>
                      <a:pt x="11" y="47"/>
                      <a:pt x="11" y="47"/>
                      <a:pt x="11" y="47"/>
                    </a:cubicBezTo>
                    <a:cubicBezTo>
                      <a:pt x="38" y="20"/>
                      <a:pt x="38" y="20"/>
                      <a:pt x="38"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7"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8"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5"/>
              </a:rPr>
              <a:t>www.rapidbbs.cn</a:t>
            </a:r>
            <a:endParaRPr lang="zh-CN" altLang="en-US" sz="1200" b="0">
              <a:latin typeface="Arial" charset="0"/>
              <a:ea typeface="ＭＳ Ｐゴシック" pitchFamily="34" charset="-128"/>
            </a:endParaRPr>
          </a:p>
        </p:txBody>
      </p:sp>
      <p:pic>
        <p:nvPicPr>
          <p:cNvPr id="19" name="Picture 2">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04408848"/>
      </p:ext>
    </p:extLst>
  </p:cSld>
  <p:clrMapOvr>
    <a:masterClrMapping/>
  </p:clrMapOvr>
  <p:transition>
    <p:fade/>
  </p:transition>
  <p:timing>
    <p:tnLst>
      <p:par>
        <p:cTn id="1" dur="indefinite" restart="never" nodeType="tmRoot"/>
      </p:par>
    </p:tnLst>
  </p:timing>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ur unique value proposition</a:t>
            </a:r>
          </a:p>
        </p:txBody>
      </p:sp>
      <p:sp>
        <p:nvSpPr>
          <p:cNvPr id="4" name="Rectangle 3"/>
          <p:cNvSpPr/>
          <p:nvPr/>
        </p:nvSpPr>
        <p:spPr bwMode="auto">
          <a:xfrm>
            <a:off x="381001" y="1022754"/>
            <a:ext cx="8380412" cy="1044650"/>
          </a:xfrm>
          <a:prstGeom prst="rect">
            <a:avLst/>
          </a:prstGeom>
          <a:solidFill>
            <a:schemeClr val="tx1"/>
          </a:solidFill>
        </p:spPr>
        <p:txBody>
          <a:bodyPr wrap="square" lIns="137172" tIns="137172" rIns="137172" bIns="137172" rtlCol="0" anchor="ctr">
            <a:noAutofit/>
          </a:bodyPr>
          <a:lstStyle/>
          <a:p>
            <a:pPr algn="ctr">
              <a:lnSpc>
                <a:spcPct val="90000"/>
              </a:lnSpc>
            </a:pPr>
            <a:r>
              <a:rPr lang="en-US" sz="2400" i="1" dirty="0">
                <a:solidFill>
                  <a:schemeClr val="bg2"/>
                </a:solidFill>
                <a:latin typeface="Segoe Semibold" pitchFamily="34" charset="0"/>
              </a:rPr>
              <a:t>Breakthrough Insight with IT Oversight</a:t>
            </a:r>
          </a:p>
        </p:txBody>
      </p:sp>
      <p:sp>
        <p:nvSpPr>
          <p:cNvPr id="5" name="Rectangle 4"/>
          <p:cNvSpPr/>
          <p:nvPr/>
        </p:nvSpPr>
        <p:spPr bwMode="auto">
          <a:xfrm>
            <a:off x="381003" y="2163097"/>
            <a:ext cx="1983139" cy="2312582"/>
          </a:xfrm>
          <a:prstGeom prst="rect">
            <a:avLst/>
          </a:prstGeom>
          <a:noFill/>
          <a:ln w="19050">
            <a:solidFill>
              <a:schemeClr val="tx1"/>
            </a:solidFill>
          </a:ln>
        </p:spPr>
        <p:txBody>
          <a:bodyPr wrap="square" lIns="137172" tIns="137172" rIns="137172" bIns="137172" rtlCol="0" anchor="t">
            <a:noAutofit/>
          </a:bodyPr>
          <a:lstStyle/>
          <a:p>
            <a:pPr algn="ctr">
              <a:lnSpc>
                <a:spcPct val="90000"/>
              </a:lnSpc>
            </a:pPr>
            <a:r>
              <a:rPr lang="en-US" sz="1200" dirty="0">
                <a:latin typeface="Segoe Semibold" pitchFamily="34" charset="0"/>
              </a:rPr>
              <a:t>Familiar</a:t>
            </a:r>
          </a:p>
        </p:txBody>
      </p:sp>
      <p:sp>
        <p:nvSpPr>
          <p:cNvPr id="6" name="Rectangle 5"/>
          <p:cNvSpPr/>
          <p:nvPr/>
        </p:nvSpPr>
        <p:spPr bwMode="auto">
          <a:xfrm>
            <a:off x="2518675" y="2163097"/>
            <a:ext cx="1983139" cy="2312582"/>
          </a:xfrm>
          <a:prstGeom prst="rect">
            <a:avLst/>
          </a:prstGeom>
          <a:noFill/>
          <a:ln w="19050">
            <a:solidFill>
              <a:schemeClr val="tx1"/>
            </a:solidFill>
          </a:ln>
        </p:spPr>
        <p:txBody>
          <a:bodyPr wrap="square" lIns="137172" tIns="137172" rIns="137172" bIns="137172" rtlCol="0" anchor="t">
            <a:noAutofit/>
          </a:bodyPr>
          <a:lstStyle/>
          <a:p>
            <a:pPr algn="ctr">
              <a:lnSpc>
                <a:spcPct val="90000"/>
              </a:lnSpc>
            </a:pPr>
            <a:r>
              <a:rPr lang="en-US" sz="1200" dirty="0">
                <a:latin typeface="Segoe Semibold" pitchFamily="34" charset="0"/>
              </a:rPr>
              <a:t>Collaborative</a:t>
            </a:r>
          </a:p>
        </p:txBody>
      </p:sp>
      <p:sp>
        <p:nvSpPr>
          <p:cNvPr id="7" name="Rectangle 6"/>
          <p:cNvSpPr/>
          <p:nvPr/>
        </p:nvSpPr>
        <p:spPr bwMode="auto">
          <a:xfrm>
            <a:off x="4656259" y="2163097"/>
            <a:ext cx="1983139" cy="2312582"/>
          </a:xfrm>
          <a:prstGeom prst="rect">
            <a:avLst/>
          </a:prstGeom>
          <a:noFill/>
          <a:ln w="19050">
            <a:solidFill>
              <a:schemeClr val="tx1"/>
            </a:solidFill>
          </a:ln>
        </p:spPr>
        <p:txBody>
          <a:bodyPr wrap="square" lIns="137172" tIns="137172" rIns="137172" bIns="137172" rtlCol="0" anchor="t">
            <a:noAutofit/>
          </a:bodyPr>
          <a:lstStyle/>
          <a:p>
            <a:pPr algn="ctr">
              <a:lnSpc>
                <a:spcPct val="90000"/>
              </a:lnSpc>
            </a:pPr>
            <a:r>
              <a:rPr lang="en-US" sz="1200" dirty="0">
                <a:latin typeface="Segoe Semibold" pitchFamily="34" charset="0"/>
              </a:rPr>
              <a:t>Complete</a:t>
            </a:r>
          </a:p>
        </p:txBody>
      </p:sp>
      <p:sp>
        <p:nvSpPr>
          <p:cNvPr id="8" name="Up Arrow 7"/>
          <p:cNvSpPr/>
          <p:nvPr/>
        </p:nvSpPr>
        <p:spPr bwMode="auto">
          <a:xfrm>
            <a:off x="1053594" y="1773468"/>
            <a:ext cx="637953" cy="382771"/>
          </a:xfrm>
          <a:prstGeom prst="upArrow">
            <a:avLst/>
          </a:prstGeom>
          <a:solidFill>
            <a:srgbClr val="FFFFFF"/>
          </a:solidFill>
          <a:ln>
            <a:solidFill>
              <a:schemeClr val="bg2"/>
            </a:solidFill>
          </a:ln>
        </p:spPr>
        <p:txBody>
          <a:bodyPr wrap="square" lIns="68586" tIns="68586" rIns="68586" bIns="68586" rtlCol="0" anchor="ctr">
            <a:noAutofit/>
          </a:bodyPr>
          <a:lstStyle/>
          <a:p>
            <a:pPr algn="ctr">
              <a:lnSpc>
                <a:spcPct val="90000"/>
              </a:lnSpc>
            </a:pPr>
            <a:endParaRPr lang="en-US" sz="1200" dirty="0">
              <a:latin typeface="Segoe Semibold" pitchFamily="34" charset="0"/>
            </a:endParaRPr>
          </a:p>
        </p:txBody>
      </p:sp>
      <p:sp>
        <p:nvSpPr>
          <p:cNvPr id="9" name="Up Arrow 8"/>
          <p:cNvSpPr/>
          <p:nvPr/>
        </p:nvSpPr>
        <p:spPr bwMode="auto">
          <a:xfrm>
            <a:off x="3191266" y="1773463"/>
            <a:ext cx="637953" cy="382771"/>
          </a:xfrm>
          <a:prstGeom prst="upArrow">
            <a:avLst/>
          </a:prstGeom>
          <a:solidFill>
            <a:srgbClr val="FFFFFF"/>
          </a:solidFill>
          <a:ln>
            <a:solidFill>
              <a:schemeClr val="bg2"/>
            </a:solidFill>
          </a:ln>
        </p:spPr>
        <p:txBody>
          <a:bodyPr wrap="square" lIns="68586" tIns="68586" rIns="68586" bIns="68586" rtlCol="0" anchor="ctr">
            <a:noAutofit/>
          </a:bodyPr>
          <a:lstStyle/>
          <a:p>
            <a:pPr algn="ctr">
              <a:lnSpc>
                <a:spcPct val="90000"/>
              </a:lnSpc>
            </a:pPr>
            <a:endParaRPr lang="en-US" sz="1200" dirty="0">
              <a:latin typeface="Segoe Semibold" pitchFamily="34" charset="0"/>
            </a:endParaRPr>
          </a:p>
        </p:txBody>
      </p:sp>
      <p:sp>
        <p:nvSpPr>
          <p:cNvPr id="10" name="Up Arrow 9"/>
          <p:cNvSpPr/>
          <p:nvPr/>
        </p:nvSpPr>
        <p:spPr bwMode="auto">
          <a:xfrm>
            <a:off x="5328851" y="1773465"/>
            <a:ext cx="637953" cy="382771"/>
          </a:xfrm>
          <a:prstGeom prst="upArrow">
            <a:avLst/>
          </a:prstGeom>
          <a:solidFill>
            <a:srgbClr val="FFFFFF"/>
          </a:solidFill>
          <a:ln>
            <a:solidFill>
              <a:schemeClr val="bg2"/>
            </a:solidFill>
          </a:ln>
        </p:spPr>
        <p:txBody>
          <a:bodyPr wrap="square" lIns="68586" tIns="68586" rIns="68586" bIns="68586" rtlCol="0" anchor="ctr">
            <a:noAutofit/>
          </a:bodyPr>
          <a:lstStyle/>
          <a:p>
            <a:pPr algn="ctr">
              <a:lnSpc>
                <a:spcPct val="90000"/>
              </a:lnSpc>
            </a:pPr>
            <a:endParaRPr lang="en-US" sz="1200" dirty="0">
              <a:latin typeface="Segoe Semibold" pitchFamily="34" charset="0"/>
            </a:endParaRPr>
          </a:p>
        </p:txBody>
      </p:sp>
      <p:sp>
        <p:nvSpPr>
          <p:cNvPr id="11" name="TextBox 10"/>
          <p:cNvSpPr txBox="1"/>
          <p:nvPr/>
        </p:nvSpPr>
        <p:spPr>
          <a:xfrm>
            <a:off x="381003" y="2595116"/>
            <a:ext cx="1983139" cy="1165704"/>
          </a:xfrm>
          <a:prstGeom prst="rect">
            <a:avLst/>
          </a:prstGeom>
          <a:noFill/>
        </p:spPr>
        <p:txBody>
          <a:bodyPr wrap="square" lIns="137172" tIns="0" rIns="137172" bIns="0" rtlCol="0">
            <a:spAutoFit/>
          </a:bodyPr>
          <a:lstStyle/>
          <a:p>
            <a:pPr marL="128599" indent="-128599">
              <a:lnSpc>
                <a:spcPct val="90000"/>
              </a:lnSpc>
              <a:spcBef>
                <a:spcPts val="900"/>
              </a:spcBef>
              <a:buFont typeface="Arial" pitchFamily="34" charset="0"/>
              <a:buChar char="•"/>
            </a:pPr>
            <a:r>
              <a:rPr lang="en-US" sz="1100" dirty="0">
                <a:latin typeface="+mj-lt"/>
              </a:rPr>
              <a:t>Intuitive, fun &amp; easy to use tools</a:t>
            </a:r>
          </a:p>
          <a:p>
            <a:pPr marL="128599" indent="-128599">
              <a:lnSpc>
                <a:spcPct val="90000"/>
              </a:lnSpc>
              <a:spcBef>
                <a:spcPts val="900"/>
              </a:spcBef>
              <a:buFont typeface="Arial" pitchFamily="34" charset="0"/>
              <a:buChar char="•"/>
            </a:pPr>
            <a:r>
              <a:rPr lang="en-US" sz="1100" dirty="0">
                <a:latin typeface="+mj-lt"/>
              </a:rPr>
              <a:t>Enabling immersive data exploration</a:t>
            </a:r>
          </a:p>
          <a:p>
            <a:pPr marL="128599" indent="-128599">
              <a:lnSpc>
                <a:spcPct val="90000"/>
              </a:lnSpc>
              <a:spcBef>
                <a:spcPts val="900"/>
              </a:spcBef>
              <a:buFont typeface="Arial" pitchFamily="34" charset="0"/>
              <a:buChar char="•"/>
            </a:pPr>
            <a:r>
              <a:rPr lang="en-US" sz="1100" dirty="0">
                <a:latin typeface="+mj-lt"/>
              </a:rPr>
              <a:t>Highest usage &amp; productivity</a:t>
            </a:r>
          </a:p>
        </p:txBody>
      </p:sp>
      <p:sp>
        <p:nvSpPr>
          <p:cNvPr id="12" name="TextBox 11"/>
          <p:cNvSpPr txBox="1"/>
          <p:nvPr/>
        </p:nvSpPr>
        <p:spPr>
          <a:xfrm>
            <a:off x="2518675" y="2595116"/>
            <a:ext cx="1983139" cy="1165704"/>
          </a:xfrm>
          <a:prstGeom prst="rect">
            <a:avLst/>
          </a:prstGeom>
          <a:noFill/>
        </p:spPr>
        <p:txBody>
          <a:bodyPr wrap="square" lIns="137172" tIns="0" rIns="137172" bIns="0" rtlCol="0">
            <a:spAutoFit/>
          </a:bodyPr>
          <a:lstStyle/>
          <a:p>
            <a:pPr marL="128599" indent="-128599">
              <a:lnSpc>
                <a:spcPct val="90000"/>
              </a:lnSpc>
              <a:spcBef>
                <a:spcPts val="900"/>
              </a:spcBef>
              <a:buFont typeface="Arial" pitchFamily="34" charset="0"/>
              <a:buChar char="•"/>
            </a:pPr>
            <a:r>
              <a:rPr lang="en-US" sz="1100" dirty="0">
                <a:latin typeface="+mj-lt"/>
              </a:rPr>
              <a:t>Connect people &amp; information</a:t>
            </a:r>
          </a:p>
          <a:p>
            <a:pPr marL="128599" indent="-128599">
              <a:lnSpc>
                <a:spcPct val="90000"/>
              </a:lnSpc>
              <a:spcBef>
                <a:spcPts val="900"/>
              </a:spcBef>
              <a:buFont typeface="Arial" pitchFamily="34" charset="0"/>
              <a:buChar char="•"/>
            </a:pPr>
            <a:r>
              <a:rPr lang="en-US" sz="1100" dirty="0">
                <a:latin typeface="+mj-lt"/>
              </a:rPr>
              <a:t>On the most popular collab. platform</a:t>
            </a:r>
          </a:p>
          <a:p>
            <a:pPr marL="128599" indent="-128599">
              <a:lnSpc>
                <a:spcPct val="90000"/>
              </a:lnSpc>
              <a:spcBef>
                <a:spcPts val="900"/>
              </a:spcBef>
              <a:buFont typeface="Arial" pitchFamily="34" charset="0"/>
              <a:buChar char="•"/>
            </a:pPr>
            <a:r>
              <a:rPr lang="en-US" sz="1100" dirty="0">
                <a:latin typeface="+mj-lt"/>
              </a:rPr>
              <a:t>Driving faster, more reliable decisions</a:t>
            </a:r>
          </a:p>
        </p:txBody>
      </p:sp>
      <p:sp>
        <p:nvSpPr>
          <p:cNvPr id="13" name="TextBox 12"/>
          <p:cNvSpPr txBox="1"/>
          <p:nvPr/>
        </p:nvSpPr>
        <p:spPr>
          <a:xfrm>
            <a:off x="4656259" y="2595115"/>
            <a:ext cx="1983139" cy="1009892"/>
          </a:xfrm>
          <a:prstGeom prst="rect">
            <a:avLst/>
          </a:prstGeom>
          <a:noFill/>
        </p:spPr>
        <p:txBody>
          <a:bodyPr wrap="square" lIns="137172" tIns="0" rIns="137172" bIns="0" rtlCol="0">
            <a:spAutoFit/>
          </a:bodyPr>
          <a:lstStyle/>
          <a:p>
            <a:pPr marL="128599" indent="-128599">
              <a:lnSpc>
                <a:spcPct val="90000"/>
              </a:lnSpc>
              <a:spcBef>
                <a:spcPts val="900"/>
              </a:spcBef>
              <a:buFont typeface="Arial" pitchFamily="34" charset="0"/>
              <a:buChar char="•"/>
            </a:pPr>
            <a:r>
              <a:rPr lang="en-US" sz="1100" dirty="0">
                <a:latin typeface="+mj-lt"/>
              </a:rPr>
              <a:t>Complete &amp; integrated</a:t>
            </a:r>
          </a:p>
          <a:p>
            <a:pPr marL="128599" indent="-128599">
              <a:lnSpc>
                <a:spcPct val="90000"/>
              </a:lnSpc>
              <a:spcBef>
                <a:spcPts val="900"/>
              </a:spcBef>
              <a:buFont typeface="Arial" pitchFamily="34" charset="0"/>
              <a:buChar char="•"/>
            </a:pPr>
            <a:r>
              <a:rPr lang="en-US" sz="1100" dirty="0">
                <a:latin typeface="+mj-lt"/>
              </a:rPr>
              <a:t>With IT Monitoring &amp; Oversight</a:t>
            </a:r>
          </a:p>
          <a:p>
            <a:pPr marL="128599" indent="-128599">
              <a:lnSpc>
                <a:spcPct val="90000"/>
              </a:lnSpc>
              <a:spcBef>
                <a:spcPts val="900"/>
              </a:spcBef>
              <a:buFont typeface="Arial" pitchFamily="34" charset="0"/>
              <a:buChar char="•"/>
            </a:pPr>
            <a:r>
              <a:rPr lang="en-US" sz="1100" dirty="0">
                <a:latin typeface="+mj-lt"/>
              </a:rPr>
              <a:t>On consistent &amp; credible data from any source</a:t>
            </a:r>
          </a:p>
        </p:txBody>
      </p:sp>
      <p:sp>
        <p:nvSpPr>
          <p:cNvPr id="14" name="Rectangle 13"/>
          <p:cNvSpPr/>
          <p:nvPr/>
        </p:nvSpPr>
        <p:spPr bwMode="auto">
          <a:xfrm>
            <a:off x="6778276" y="2163096"/>
            <a:ext cx="1983139" cy="2312582"/>
          </a:xfrm>
          <a:prstGeom prst="rect">
            <a:avLst/>
          </a:prstGeom>
          <a:noFill/>
          <a:ln w="19050">
            <a:solidFill>
              <a:schemeClr val="tx1"/>
            </a:solidFill>
          </a:ln>
        </p:spPr>
        <p:txBody>
          <a:bodyPr wrap="square" lIns="137172" tIns="137172" rIns="137172" bIns="137172" rtlCol="0" anchor="t">
            <a:noAutofit/>
          </a:bodyPr>
          <a:lstStyle/>
          <a:p>
            <a:pPr algn="ctr">
              <a:lnSpc>
                <a:spcPct val="90000"/>
              </a:lnSpc>
            </a:pPr>
            <a:r>
              <a:rPr lang="en-US" sz="1200" dirty="0">
                <a:latin typeface="Segoe Semibold" pitchFamily="34" charset="0"/>
              </a:rPr>
              <a:t>On Your Terms</a:t>
            </a:r>
          </a:p>
        </p:txBody>
      </p:sp>
      <p:sp>
        <p:nvSpPr>
          <p:cNvPr id="15" name="Up Arrow 14"/>
          <p:cNvSpPr/>
          <p:nvPr/>
        </p:nvSpPr>
        <p:spPr bwMode="auto">
          <a:xfrm>
            <a:off x="7450867" y="1773464"/>
            <a:ext cx="637953" cy="382771"/>
          </a:xfrm>
          <a:prstGeom prst="upArrow">
            <a:avLst/>
          </a:prstGeom>
          <a:solidFill>
            <a:srgbClr val="FFFFFF"/>
          </a:solidFill>
          <a:ln>
            <a:solidFill>
              <a:schemeClr val="bg2"/>
            </a:solidFill>
          </a:ln>
        </p:spPr>
        <p:txBody>
          <a:bodyPr wrap="square" lIns="68586" tIns="68586" rIns="68586" bIns="68586" rtlCol="0" anchor="ctr">
            <a:noAutofit/>
          </a:bodyPr>
          <a:lstStyle/>
          <a:p>
            <a:pPr algn="ctr">
              <a:lnSpc>
                <a:spcPct val="90000"/>
              </a:lnSpc>
            </a:pPr>
            <a:endParaRPr lang="en-US" sz="1200" dirty="0">
              <a:latin typeface="Segoe Semibold" pitchFamily="34" charset="0"/>
            </a:endParaRPr>
          </a:p>
        </p:txBody>
      </p:sp>
      <p:sp>
        <p:nvSpPr>
          <p:cNvPr id="16" name="TextBox 15"/>
          <p:cNvSpPr txBox="1"/>
          <p:nvPr/>
        </p:nvSpPr>
        <p:spPr>
          <a:xfrm>
            <a:off x="6778276" y="2588399"/>
            <a:ext cx="1983139" cy="1009892"/>
          </a:xfrm>
          <a:prstGeom prst="rect">
            <a:avLst/>
          </a:prstGeom>
          <a:noFill/>
        </p:spPr>
        <p:txBody>
          <a:bodyPr wrap="square" lIns="137172" tIns="0" rIns="137172" bIns="0" rtlCol="0">
            <a:spAutoFit/>
          </a:bodyPr>
          <a:lstStyle/>
          <a:p>
            <a:pPr marL="128599" indent="-128599">
              <a:lnSpc>
                <a:spcPct val="90000"/>
              </a:lnSpc>
              <a:spcBef>
                <a:spcPts val="900"/>
              </a:spcBef>
              <a:buFont typeface="Arial" pitchFamily="34" charset="0"/>
              <a:buChar char="•"/>
            </a:pPr>
            <a:r>
              <a:rPr lang="en-US" sz="1100" dirty="0">
                <a:latin typeface="+mj-lt"/>
              </a:rPr>
              <a:t>Flexibility &amp; choice</a:t>
            </a:r>
          </a:p>
          <a:p>
            <a:pPr marL="128599" indent="-128599">
              <a:lnSpc>
                <a:spcPct val="90000"/>
              </a:lnSpc>
              <a:spcBef>
                <a:spcPts val="900"/>
              </a:spcBef>
              <a:buFont typeface="Arial" pitchFamily="34" charset="0"/>
              <a:buChar char="•"/>
            </a:pPr>
            <a:r>
              <a:rPr lang="en-US" sz="1100" dirty="0">
                <a:latin typeface="+mj-lt"/>
              </a:rPr>
              <a:t>Scales from the desktop to the datacenter</a:t>
            </a:r>
          </a:p>
          <a:p>
            <a:pPr marL="128599" indent="-128599">
              <a:lnSpc>
                <a:spcPct val="90000"/>
              </a:lnSpc>
              <a:spcBef>
                <a:spcPts val="900"/>
              </a:spcBef>
              <a:buFont typeface="Arial" pitchFamily="34" charset="0"/>
              <a:buChar char="•"/>
            </a:pPr>
            <a:r>
              <a:rPr lang="en-US" sz="1100" dirty="0">
                <a:latin typeface="+mj-lt"/>
              </a:rPr>
              <a:t>Priced for broad deployment</a:t>
            </a:r>
          </a:p>
        </p:txBody>
      </p:sp>
      <p:sp>
        <p:nvSpPr>
          <p:cNvPr id="17"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8"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
              </a:rPr>
              <a:t>www.rapidbbs.cn</a:t>
            </a:r>
            <a:endParaRPr lang="zh-CN" altLang="en-US" sz="1200" b="0">
              <a:latin typeface="Arial" charset="0"/>
              <a:ea typeface="ＭＳ Ｐゴシック" pitchFamily="34" charset="-128"/>
            </a:endParaRPr>
          </a:p>
        </p:txBody>
      </p:sp>
      <p:pic>
        <p:nvPicPr>
          <p:cNvPr id="19" name="Picture 2">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33927390"/>
      </p:ext>
    </p:extLst>
  </p:cSld>
  <p:clrMapOvr>
    <a:masterClrMapping/>
  </p:clrMapOvr>
  <p:transition>
    <p:fade/>
  </p:transition>
  <p:timing>
    <p:tnLst>
      <p:par>
        <p:cTn id="1" dur="indefinite" restart="never" nodeType="tmRoot"/>
      </p:par>
    </p:tnLst>
  </p:timing>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n>
                  <a:noFill/>
                </a:ln>
                <a:solidFill>
                  <a:schemeClr val="tx1"/>
                </a:solidFill>
              </a:rPr>
              <a:t>Microsoft BI Architecture</a:t>
            </a:r>
            <a:endParaRPr lang="en-US" dirty="0"/>
          </a:p>
        </p:txBody>
      </p:sp>
      <p:grpSp>
        <p:nvGrpSpPr>
          <p:cNvPr id="4" name="Group 3"/>
          <p:cNvGrpSpPr/>
          <p:nvPr/>
        </p:nvGrpSpPr>
        <p:grpSpPr>
          <a:xfrm>
            <a:off x="0" y="2074275"/>
            <a:ext cx="9144000" cy="1526570"/>
            <a:chOff x="-1" y="2765697"/>
            <a:chExt cx="9144000" cy="2035426"/>
          </a:xfrm>
        </p:grpSpPr>
        <p:sp>
          <p:nvSpPr>
            <p:cNvPr id="5" name="Rounded Rectangle 4"/>
            <p:cNvSpPr/>
            <p:nvPr/>
          </p:nvSpPr>
          <p:spPr>
            <a:xfrm>
              <a:off x="-1" y="3243199"/>
              <a:ext cx="9144000" cy="1557924"/>
            </a:xfrm>
            <a:prstGeom prst="roundRect">
              <a:avLst>
                <a:gd name="adj" fmla="val 0"/>
              </a:avLst>
            </a:prstGeom>
            <a:solidFill>
              <a:schemeClr val="accent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570402"/>
              <a:endParaRPr lang="en-US" dirty="0">
                <a:solidFill>
                  <a:schemeClr val="tx1"/>
                </a:solidFill>
                <a:latin typeface="Segoe UI Light" pitchFamily="34" charset="0"/>
                <a:ea typeface="ＭＳ Ｐゴシック" pitchFamily="-65" charset="-128"/>
              </a:endParaRPr>
            </a:p>
            <a:p>
              <a:pPr algn="ctr" defTabSz="570402"/>
              <a:endParaRPr lang="en-US" dirty="0">
                <a:solidFill>
                  <a:schemeClr val="tx1"/>
                </a:solidFill>
                <a:latin typeface="Segoe UI Light" pitchFamily="34" charset="0"/>
                <a:ea typeface="ＭＳ Ｐゴシック" pitchFamily="-65" charset="-128"/>
              </a:endParaRPr>
            </a:p>
          </p:txBody>
        </p:sp>
        <p:pic>
          <p:nvPicPr>
            <p:cNvPr id="6" name="Picture 7" descr="\\SFP\Work\White_Whale\3-22036_Kuleen_Bharadwaj\PPT\4_SQL Server Renewal\SFP_Art\Icons\Chris Icons\cube_blue.png"/>
            <p:cNvPicPr>
              <a:picLocks noChangeAspect="1" noChangeArrowheads="1"/>
            </p:cNvPicPr>
            <p:nvPr/>
          </p:nvPicPr>
          <p:blipFill>
            <a:blip r:embed="rId2"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bwMode="auto">
            <a:xfrm>
              <a:off x="568323" y="3309017"/>
              <a:ext cx="813195" cy="72858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7" name="Picture 3" descr="\\SFP\Work\White_Whale\3-22036_Kuleen_Bharadwaj\PPT\4_SQL Server Renewal\SFP_Art\Icons\Chris Icons\report on browser.png"/>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4411031" y="3297791"/>
              <a:ext cx="853985" cy="642378"/>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1467986" y="3324394"/>
              <a:ext cx="1582848" cy="530914"/>
            </a:xfrm>
            <a:prstGeom prst="rect">
              <a:avLst/>
            </a:prstGeom>
            <a:noFill/>
          </p:spPr>
          <p:txBody>
            <a:bodyPr wrap="square" lIns="0" tIns="0" rIns="0" bIns="0" rtlCol="0">
              <a:spAutoFit/>
            </a:bodyPr>
            <a:lstStyle/>
            <a:p>
              <a:pPr algn="ctr" defTabSz="816193">
                <a:lnSpc>
                  <a:spcPct val="90000"/>
                </a:lnSpc>
              </a:pPr>
              <a:r>
                <a:rPr lang="en-US" dirty="0">
                  <a:gradFill>
                    <a:gsLst>
                      <a:gs pos="0">
                        <a:srgbClr val="FFFFFF"/>
                      </a:gs>
                      <a:gs pos="86000">
                        <a:srgbClr val="FFFFFF"/>
                      </a:gs>
                    </a:gsLst>
                    <a:lin ang="5400000" scaled="0"/>
                  </a:gradFill>
                  <a:latin typeface="Segoe UI Light" pitchFamily="34" charset="0"/>
                </a:rPr>
                <a:t>Analysis </a:t>
              </a:r>
            </a:p>
            <a:p>
              <a:pPr algn="ctr" defTabSz="816193">
                <a:lnSpc>
                  <a:spcPct val="90000"/>
                </a:lnSpc>
              </a:pPr>
              <a:r>
                <a:rPr lang="en-US" dirty="0">
                  <a:gradFill>
                    <a:gsLst>
                      <a:gs pos="0">
                        <a:srgbClr val="FFFFFF"/>
                      </a:gs>
                      <a:gs pos="86000">
                        <a:srgbClr val="FFFFFF"/>
                      </a:gs>
                    </a:gsLst>
                    <a:lin ang="5400000" scaled="0"/>
                  </a:gradFill>
                  <a:latin typeface="Segoe UI Light" pitchFamily="34" charset="0"/>
                </a:rPr>
                <a:t>Services</a:t>
              </a:r>
            </a:p>
          </p:txBody>
        </p:sp>
        <p:sp>
          <p:nvSpPr>
            <p:cNvPr id="9" name="TextBox 8"/>
            <p:cNvSpPr txBox="1"/>
            <p:nvPr/>
          </p:nvSpPr>
          <p:spPr>
            <a:xfrm>
              <a:off x="2889834" y="3342789"/>
              <a:ext cx="1752962" cy="530914"/>
            </a:xfrm>
            <a:prstGeom prst="rect">
              <a:avLst/>
            </a:prstGeom>
            <a:noFill/>
          </p:spPr>
          <p:txBody>
            <a:bodyPr wrap="square" lIns="0" tIns="0" rIns="0" bIns="0" rtlCol="0">
              <a:spAutoFit/>
            </a:bodyPr>
            <a:lstStyle/>
            <a:p>
              <a:pPr algn="ctr" defTabSz="816193">
                <a:lnSpc>
                  <a:spcPct val="90000"/>
                </a:lnSpc>
              </a:pPr>
              <a:r>
                <a:rPr lang="en-US" dirty="0">
                  <a:gradFill>
                    <a:gsLst>
                      <a:gs pos="0">
                        <a:srgbClr val="FFFFFF"/>
                      </a:gs>
                      <a:gs pos="86000">
                        <a:srgbClr val="FFFFFF"/>
                      </a:gs>
                    </a:gsLst>
                    <a:lin ang="5400000" scaled="0"/>
                  </a:gradFill>
                  <a:latin typeface="Segoe UI Light" pitchFamily="34" charset="0"/>
                </a:rPr>
                <a:t>Reporting </a:t>
              </a:r>
            </a:p>
            <a:p>
              <a:pPr algn="ctr" defTabSz="816193">
                <a:lnSpc>
                  <a:spcPct val="90000"/>
                </a:lnSpc>
              </a:pPr>
              <a:r>
                <a:rPr lang="en-US" dirty="0">
                  <a:gradFill>
                    <a:gsLst>
                      <a:gs pos="0">
                        <a:srgbClr val="FFFFFF"/>
                      </a:gs>
                      <a:gs pos="86000">
                        <a:srgbClr val="FFFFFF"/>
                      </a:gs>
                    </a:gsLst>
                    <a:lin ang="5400000" scaled="0"/>
                  </a:gradFill>
                  <a:latin typeface="Segoe UI Light" pitchFamily="34" charset="0"/>
                </a:rPr>
                <a:t>Services</a:t>
              </a:r>
            </a:p>
          </p:txBody>
        </p:sp>
        <p:sp>
          <p:nvSpPr>
            <p:cNvPr id="10" name="Right Brace 9"/>
            <p:cNvSpPr/>
            <p:nvPr/>
          </p:nvSpPr>
          <p:spPr>
            <a:xfrm>
              <a:off x="5371305" y="3243199"/>
              <a:ext cx="134679" cy="1503915"/>
            </a:xfrm>
            <a:prstGeom prst="rightBrace">
              <a:avLst>
                <a:gd name="adj1" fmla="val 50767"/>
                <a:gd name="adj2" fmla="val 50000"/>
              </a:avLst>
            </a:prstGeom>
            <a:noFill/>
            <a:ln w="12700" cap="flat" cmpd="sng" algn="ctr">
              <a:solidFill>
                <a:sysClr val="window" lastClr="FFFFFF"/>
              </a:solidFill>
              <a:prstDash val="solid"/>
              <a:headEnd type="none" w="med" len="med"/>
              <a:tailEnd type="none" w="med" len="med"/>
            </a:ln>
            <a:effectLst>
              <a:outerShdw blurRad="63500" algn="ctr" rotWithShape="0">
                <a:sysClr val="window" lastClr="FFFFFF"/>
              </a:outerShdw>
            </a:effectLst>
          </p:spPr>
          <p:txBody>
            <a:bodyPr rtlCol="0" anchor="ctr"/>
            <a:lstStyle/>
            <a:p>
              <a:pPr algn="ctr" defTabSz="816193">
                <a:lnSpc>
                  <a:spcPct val="90000"/>
                </a:lnSpc>
              </a:pPr>
              <a:endParaRPr lang="en-US">
                <a:solidFill>
                  <a:prstClr val="white"/>
                </a:solidFill>
                <a:latin typeface="Segoe UI Light"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rcRect l="27708" r="20065" b="18003"/>
            <a:stretch/>
          </p:blipFill>
          <p:spPr>
            <a:xfrm>
              <a:off x="528404" y="4113359"/>
              <a:ext cx="893032" cy="687764"/>
            </a:xfrm>
            <a:prstGeom prst="rect">
              <a:avLst/>
            </a:prstGeom>
            <a:noFill/>
            <a:ln>
              <a:noFill/>
            </a:ln>
          </p:spPr>
        </p:pic>
        <p:grpSp>
          <p:nvGrpSpPr>
            <p:cNvPr id="12" name="Group 11"/>
            <p:cNvGrpSpPr/>
            <p:nvPr/>
          </p:nvGrpSpPr>
          <p:grpSpPr>
            <a:xfrm>
              <a:off x="4454622" y="4041960"/>
              <a:ext cx="770903" cy="705154"/>
              <a:chOff x="5909319" y="31035"/>
              <a:chExt cx="1369030" cy="1046305"/>
            </a:xfrm>
          </p:grpSpPr>
          <p:pic>
            <p:nvPicPr>
              <p:cNvPr id="18" name="Picture 4" descr="\\SFP\Work\White_Whale\3-22036_Kuleen_Bharadwaj\PPT\4_SQL Server Renewal\SFP_Art\Icons\Chris Icons\Folder.png"/>
              <p:cNvPicPr>
                <a:picLocks noChangeAspect="1" noChangeArrowheads="1"/>
              </p:cNvPicPr>
              <p:nvPr/>
            </p:nvPicPr>
            <p:blipFill>
              <a:blip r:embed="rId5"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265525" y="31035"/>
                <a:ext cx="1012824" cy="770337"/>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5" descr="\\SFP\Work\White_Whale\3-22036_Kuleen_Bharadwaj\PPT\4_SQL Server Renewal\SFP_Art\Icons\Chris Icons\folder forground.png"/>
              <p:cNvPicPr>
                <a:picLocks noChangeAspect="1" noChangeArrowheads="1"/>
              </p:cNvPicPr>
              <p:nvPr/>
            </p:nvPicPr>
            <p:blipFill>
              <a:blip r:embed="rId6"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087418" y="171260"/>
                <a:ext cx="1005554" cy="768096"/>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5" descr="\\SFP\Work\White_Whale\3-22036_Kuleen_Bharadwaj\PPT\4_SQL Server Renewal\SFP_Art\Icons\Chris Icons\folder forground.png"/>
              <p:cNvPicPr>
                <a:picLocks noChangeAspect="1" noChangeArrowheads="1"/>
              </p:cNvPicPr>
              <p:nvPr/>
            </p:nvPicPr>
            <p:blipFill>
              <a:blip r:embed="rId6"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909319" y="309245"/>
                <a:ext cx="1005554" cy="768095"/>
              </a:xfrm>
              <a:prstGeom prst="rect">
                <a:avLst/>
              </a:prstGeom>
              <a:noFill/>
              <a:extLst>
                <a:ext uri="{909E8E84-426E-40DD-AFC4-6F175D3DCCD1}">
                  <a14:hiddenFill xmlns:a14="http://schemas.microsoft.com/office/drawing/2010/main">
                    <a:solidFill>
                      <a:srgbClr val="FFFFFF"/>
                    </a:solidFill>
                  </a14:hiddenFill>
                </a:ext>
              </a:extLst>
            </p:spPr>
          </p:pic>
        </p:grpSp>
        <p:sp>
          <p:nvSpPr>
            <p:cNvPr id="13" name="TextBox 12"/>
            <p:cNvSpPr txBox="1"/>
            <p:nvPr/>
          </p:nvSpPr>
          <p:spPr>
            <a:xfrm>
              <a:off x="1321024" y="4186663"/>
              <a:ext cx="1876772" cy="530914"/>
            </a:xfrm>
            <a:prstGeom prst="rect">
              <a:avLst/>
            </a:prstGeom>
            <a:noFill/>
          </p:spPr>
          <p:txBody>
            <a:bodyPr wrap="square" lIns="0" tIns="0" rIns="0" bIns="0" rtlCol="0">
              <a:spAutoFit/>
            </a:bodyPr>
            <a:lstStyle/>
            <a:p>
              <a:pPr algn="ctr" defTabSz="816193">
                <a:lnSpc>
                  <a:spcPct val="90000"/>
                </a:lnSpc>
              </a:pPr>
              <a:r>
                <a:rPr lang="en-US" dirty="0">
                  <a:gradFill>
                    <a:gsLst>
                      <a:gs pos="0">
                        <a:srgbClr val="FFFFFF"/>
                      </a:gs>
                      <a:gs pos="86000">
                        <a:srgbClr val="FFFFFF"/>
                      </a:gs>
                    </a:gsLst>
                    <a:lin ang="5400000" scaled="0"/>
                  </a:gradFill>
                  <a:latin typeface="Segoe UI Light" pitchFamily="34" charset="0"/>
                </a:rPr>
                <a:t>Integration </a:t>
              </a:r>
            </a:p>
            <a:p>
              <a:pPr algn="ctr" defTabSz="816193">
                <a:lnSpc>
                  <a:spcPct val="90000"/>
                </a:lnSpc>
              </a:pPr>
              <a:r>
                <a:rPr lang="en-US" dirty="0">
                  <a:gradFill>
                    <a:gsLst>
                      <a:gs pos="0">
                        <a:srgbClr val="FFFFFF"/>
                      </a:gs>
                      <a:gs pos="86000">
                        <a:srgbClr val="FFFFFF"/>
                      </a:gs>
                    </a:gsLst>
                    <a:lin ang="5400000" scaled="0"/>
                  </a:gradFill>
                  <a:latin typeface="Segoe UI Light" pitchFamily="34" charset="0"/>
                </a:rPr>
                <a:t>Services</a:t>
              </a:r>
            </a:p>
          </p:txBody>
        </p:sp>
        <p:sp>
          <p:nvSpPr>
            <p:cNvPr id="14" name="TextBox 13"/>
            <p:cNvSpPr txBox="1"/>
            <p:nvPr/>
          </p:nvSpPr>
          <p:spPr>
            <a:xfrm>
              <a:off x="2713008" y="4186663"/>
              <a:ext cx="1952264" cy="530914"/>
            </a:xfrm>
            <a:prstGeom prst="rect">
              <a:avLst/>
            </a:prstGeom>
            <a:noFill/>
          </p:spPr>
          <p:txBody>
            <a:bodyPr wrap="square" lIns="0" tIns="0" rIns="0" bIns="0" rtlCol="0">
              <a:spAutoFit/>
            </a:bodyPr>
            <a:lstStyle/>
            <a:p>
              <a:pPr algn="ctr" defTabSz="816193">
                <a:lnSpc>
                  <a:spcPct val="90000"/>
                </a:lnSpc>
              </a:pPr>
              <a:r>
                <a:rPr lang="en-US" dirty="0">
                  <a:gradFill>
                    <a:gsLst>
                      <a:gs pos="0">
                        <a:srgbClr val="FFFFFF"/>
                      </a:gs>
                      <a:gs pos="86000">
                        <a:srgbClr val="FFFFFF"/>
                      </a:gs>
                    </a:gsLst>
                    <a:lin ang="5400000" scaled="0"/>
                  </a:gradFill>
                  <a:latin typeface="Segoe UI Light" pitchFamily="34" charset="0"/>
                </a:rPr>
                <a:t>Master Data </a:t>
              </a:r>
            </a:p>
            <a:p>
              <a:pPr algn="ctr" defTabSz="816193">
                <a:lnSpc>
                  <a:spcPct val="90000"/>
                </a:lnSpc>
              </a:pPr>
              <a:r>
                <a:rPr lang="en-US" dirty="0">
                  <a:gradFill>
                    <a:gsLst>
                      <a:gs pos="0">
                        <a:srgbClr val="FFFFFF"/>
                      </a:gs>
                      <a:gs pos="86000">
                        <a:srgbClr val="FFFFFF"/>
                      </a:gs>
                    </a:gsLst>
                    <a:lin ang="5400000" scaled="0"/>
                  </a:gradFill>
                  <a:latin typeface="Segoe UI Light" pitchFamily="34" charset="0"/>
                </a:rPr>
                <a:t>Services</a:t>
              </a:r>
            </a:p>
          </p:txBody>
        </p:sp>
        <p:grpSp>
          <p:nvGrpSpPr>
            <p:cNvPr id="15" name="Group 14"/>
            <p:cNvGrpSpPr/>
            <p:nvPr/>
          </p:nvGrpSpPr>
          <p:grpSpPr>
            <a:xfrm>
              <a:off x="3080184" y="2765697"/>
              <a:ext cx="473843" cy="472167"/>
              <a:chOff x="3666665" y="2796817"/>
              <a:chExt cx="473843" cy="472167"/>
            </a:xfrm>
          </p:grpSpPr>
          <p:sp>
            <p:nvSpPr>
              <p:cNvPr id="16" name="Up Arrow 15"/>
              <p:cNvSpPr/>
              <p:nvPr/>
            </p:nvSpPr>
            <p:spPr bwMode="auto">
              <a:xfrm>
                <a:off x="3884392" y="2796817"/>
                <a:ext cx="256116" cy="284814"/>
              </a:xfrm>
              <a:prstGeom prst="upArrow">
                <a:avLst/>
              </a:prstGeom>
              <a:gradFill flip="none" rotWithShape="1">
                <a:gsLst>
                  <a:gs pos="0">
                    <a:schemeClr val="bg1">
                      <a:alpha val="0"/>
                    </a:schemeClr>
                  </a:gs>
                  <a:gs pos="24000">
                    <a:schemeClr val="accent1"/>
                  </a:gs>
                  <a:gs pos="100000">
                    <a:schemeClr val="accent1"/>
                  </a:gs>
                </a:gsLst>
                <a:lin ang="16200000" scaled="0"/>
                <a:tileRect/>
              </a:gradFill>
              <a:ln>
                <a:gradFill flip="none" rotWithShape="1">
                  <a:gsLst>
                    <a:gs pos="0">
                      <a:schemeClr val="accent1"/>
                    </a:gs>
                    <a:gs pos="12000">
                      <a:schemeClr val="accent1">
                        <a:alpha val="68000"/>
                      </a:schemeClr>
                    </a:gs>
                    <a:gs pos="100000">
                      <a:schemeClr val="bg1">
                        <a:alpha val="0"/>
                      </a:schemeClr>
                    </a:gs>
                  </a:gsLst>
                  <a:lin ang="5400000" scaled="0"/>
                  <a:tileRect/>
                </a:gra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815924" fontAlgn="base">
                  <a:lnSpc>
                    <a:spcPct val="90000"/>
                  </a:lnSpc>
                  <a:spcBef>
                    <a:spcPct val="0"/>
                  </a:spcBef>
                  <a:spcAft>
                    <a:spcPct val="0"/>
                  </a:spcAft>
                </a:pPr>
                <a:endParaRPr lang="en-US" sz="2100" i="1" dirty="0">
                  <a:gradFill>
                    <a:gsLst>
                      <a:gs pos="0">
                        <a:srgbClr val="FFFFFF"/>
                      </a:gs>
                      <a:gs pos="86000">
                        <a:srgbClr val="FFFFFF"/>
                      </a:gs>
                    </a:gsLst>
                    <a:lin ang="5400000" scaled="0"/>
                  </a:gradFill>
                  <a:latin typeface="Segoe UI Light" pitchFamily="34" charset="0"/>
                </a:endParaRPr>
              </a:p>
            </p:txBody>
          </p:sp>
          <p:sp>
            <p:nvSpPr>
              <p:cNvPr id="17" name="Up Arrow 16"/>
              <p:cNvSpPr/>
              <p:nvPr/>
            </p:nvSpPr>
            <p:spPr bwMode="auto">
              <a:xfrm rot="10800000">
                <a:off x="3666665" y="2984170"/>
                <a:ext cx="256116" cy="284814"/>
              </a:xfrm>
              <a:prstGeom prst="upArrow">
                <a:avLst/>
              </a:prstGeom>
              <a:gradFill flip="none" rotWithShape="1">
                <a:gsLst>
                  <a:gs pos="0">
                    <a:schemeClr val="bg1">
                      <a:alpha val="0"/>
                    </a:schemeClr>
                  </a:gs>
                  <a:gs pos="24000">
                    <a:schemeClr val="accent1"/>
                  </a:gs>
                  <a:gs pos="100000">
                    <a:schemeClr val="accent1"/>
                  </a:gs>
                </a:gsLst>
                <a:lin ang="16200000" scaled="0"/>
                <a:tileRect/>
              </a:gradFill>
              <a:ln>
                <a:gradFill flip="none" rotWithShape="1">
                  <a:gsLst>
                    <a:gs pos="0">
                      <a:schemeClr val="accent1"/>
                    </a:gs>
                    <a:gs pos="12000">
                      <a:schemeClr val="accent1">
                        <a:alpha val="68000"/>
                      </a:schemeClr>
                    </a:gs>
                    <a:gs pos="100000">
                      <a:schemeClr val="bg1">
                        <a:alpha val="0"/>
                      </a:schemeClr>
                    </a:gs>
                  </a:gsLst>
                  <a:lin ang="5400000" scaled="0"/>
                  <a:tileRect/>
                </a:gra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815924" fontAlgn="base">
                  <a:lnSpc>
                    <a:spcPct val="90000"/>
                  </a:lnSpc>
                  <a:spcBef>
                    <a:spcPct val="0"/>
                  </a:spcBef>
                  <a:spcAft>
                    <a:spcPct val="0"/>
                  </a:spcAft>
                </a:pPr>
                <a:endParaRPr lang="en-US" sz="2100" i="1" dirty="0">
                  <a:gradFill>
                    <a:gsLst>
                      <a:gs pos="0">
                        <a:srgbClr val="FFFFFF"/>
                      </a:gs>
                      <a:gs pos="86000">
                        <a:srgbClr val="FFFFFF"/>
                      </a:gs>
                    </a:gsLst>
                    <a:lin ang="5400000" scaled="0"/>
                  </a:gradFill>
                  <a:latin typeface="Segoe UI Light" pitchFamily="34" charset="0"/>
                </a:endParaRPr>
              </a:p>
            </p:txBody>
          </p:sp>
        </p:grpSp>
      </p:grpSp>
      <p:grpSp>
        <p:nvGrpSpPr>
          <p:cNvPr id="21" name="Group 20"/>
          <p:cNvGrpSpPr/>
          <p:nvPr/>
        </p:nvGrpSpPr>
        <p:grpSpPr>
          <a:xfrm>
            <a:off x="3391" y="945451"/>
            <a:ext cx="9143998" cy="1150772"/>
            <a:chOff x="0" y="1284202"/>
            <a:chExt cx="9143999" cy="1534361"/>
          </a:xfrm>
        </p:grpSpPr>
        <p:sp>
          <p:nvSpPr>
            <p:cNvPr id="22" name="Rounded Rectangle 21"/>
            <p:cNvSpPr/>
            <p:nvPr/>
          </p:nvSpPr>
          <p:spPr>
            <a:xfrm>
              <a:off x="0" y="1284202"/>
              <a:ext cx="9143999" cy="1508760"/>
            </a:xfrm>
            <a:prstGeom prst="roundRect">
              <a:avLst>
                <a:gd name="adj" fmla="val 0"/>
              </a:avLst>
            </a:prstGeom>
            <a:solidFill>
              <a:schemeClr val="accent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570402"/>
              <a:endParaRPr lang="en-US" dirty="0">
                <a:solidFill>
                  <a:schemeClr val="tx1"/>
                </a:solidFill>
                <a:latin typeface="Segoe UI Light" pitchFamily="34" charset="0"/>
                <a:ea typeface="ＭＳ Ｐゴシック" pitchFamily="-65" charset="-128"/>
              </a:endParaRPr>
            </a:p>
            <a:p>
              <a:pPr algn="ctr" defTabSz="570402"/>
              <a:endParaRPr lang="en-US" dirty="0">
                <a:solidFill>
                  <a:schemeClr val="tx1"/>
                </a:solidFill>
                <a:latin typeface="Segoe UI Light" pitchFamily="34" charset="0"/>
                <a:ea typeface="ＭＳ Ｐゴシック" pitchFamily="-65" charset="-128"/>
              </a:endParaRPr>
            </a:p>
          </p:txBody>
        </p:sp>
        <p:sp>
          <p:nvSpPr>
            <p:cNvPr id="23" name="Right Brace 22"/>
            <p:cNvSpPr/>
            <p:nvPr/>
          </p:nvSpPr>
          <p:spPr>
            <a:xfrm>
              <a:off x="5371305" y="1352782"/>
              <a:ext cx="134679" cy="1371600"/>
            </a:xfrm>
            <a:prstGeom prst="rightBrace">
              <a:avLst>
                <a:gd name="adj1" fmla="val 50767"/>
                <a:gd name="adj2" fmla="val 50000"/>
              </a:avLst>
            </a:prstGeom>
            <a:noFill/>
            <a:ln w="12700" cap="flat" cmpd="sng" algn="ctr">
              <a:solidFill>
                <a:sysClr val="window" lastClr="FFFFFF"/>
              </a:solidFill>
              <a:prstDash val="solid"/>
              <a:headEnd type="none" w="med" len="med"/>
              <a:tailEnd type="none" w="med" len="med"/>
            </a:ln>
            <a:effectLst>
              <a:outerShdw blurRad="63500" algn="ctr" rotWithShape="0">
                <a:sysClr val="window" lastClr="FFFFFF"/>
              </a:outerShdw>
            </a:effectLst>
          </p:spPr>
          <p:txBody>
            <a:bodyPr rtlCol="0" anchor="ctr"/>
            <a:lstStyle/>
            <a:p>
              <a:pPr algn="ctr" defTabSz="816193">
                <a:lnSpc>
                  <a:spcPct val="90000"/>
                </a:lnSpc>
              </a:pPr>
              <a:endParaRPr lang="en-US">
                <a:solidFill>
                  <a:prstClr val="white"/>
                </a:solidFill>
                <a:latin typeface="Segoe UI Light" pitchFamily="34" charset="0"/>
              </a:endParaRPr>
            </a:p>
          </p:txBody>
        </p:sp>
        <p:pic>
          <p:nvPicPr>
            <p:cNvPr id="24" name="Picture 23" descr="Excel2007_ProductIcon.png"/>
            <p:cNvPicPr>
              <a:picLocks noChangeAspect="1"/>
            </p:cNvPicPr>
            <p:nvPr/>
          </p:nvPicPr>
          <p:blipFill>
            <a:blip r:embed="rId7" cstate="print"/>
            <a:stretch>
              <a:fillRect/>
            </a:stretch>
          </p:blipFill>
          <p:spPr>
            <a:xfrm>
              <a:off x="3312609" y="1516491"/>
              <a:ext cx="429425" cy="552477"/>
            </a:xfrm>
            <a:prstGeom prst="rect">
              <a:avLst/>
            </a:prstGeom>
          </p:spPr>
        </p:pic>
        <p:sp>
          <p:nvSpPr>
            <p:cNvPr id="25" name="TextBox 24"/>
            <p:cNvSpPr txBox="1"/>
            <p:nvPr/>
          </p:nvSpPr>
          <p:spPr>
            <a:xfrm>
              <a:off x="1748932" y="2195315"/>
              <a:ext cx="1207008" cy="415498"/>
            </a:xfrm>
            <a:prstGeom prst="rect">
              <a:avLst/>
            </a:prstGeom>
            <a:noFill/>
          </p:spPr>
          <p:txBody>
            <a:bodyPr wrap="square" lIns="0" tIns="0" rIns="0" bIns="0" rtlCol="0">
              <a:spAutoFit/>
            </a:bodyPr>
            <a:lstStyle/>
            <a:p>
              <a:pPr algn="ctr" defTabSz="816193">
                <a:lnSpc>
                  <a:spcPct val="90000"/>
                </a:lnSpc>
              </a:pPr>
              <a:r>
                <a:rPr lang="en-US" sz="1100" dirty="0">
                  <a:gradFill>
                    <a:gsLst>
                      <a:gs pos="0">
                        <a:srgbClr val="FFFFFF"/>
                      </a:gs>
                      <a:gs pos="86000">
                        <a:srgbClr val="FFFFFF"/>
                      </a:gs>
                    </a:gsLst>
                    <a:lin ang="5400000" scaled="0"/>
                  </a:gradFill>
                  <a:latin typeface="Segoe UI Light" pitchFamily="34" charset="0"/>
                  <a:ea typeface="Segoe UI" pitchFamily="34" charset="0"/>
                  <a:cs typeface="Segoe UI" pitchFamily="34" charset="0"/>
                </a:rPr>
                <a:t>SharePoint</a:t>
              </a:r>
            </a:p>
            <a:p>
              <a:pPr algn="ctr" defTabSz="816193">
                <a:lnSpc>
                  <a:spcPct val="90000"/>
                </a:lnSpc>
              </a:pPr>
              <a:r>
                <a:rPr lang="en-US" sz="1100" dirty="0">
                  <a:gradFill>
                    <a:gsLst>
                      <a:gs pos="0">
                        <a:srgbClr val="FFFFFF"/>
                      </a:gs>
                      <a:gs pos="86000">
                        <a:srgbClr val="FFFFFF"/>
                      </a:gs>
                    </a:gsLst>
                    <a:lin ang="5400000" scaled="0"/>
                  </a:gradFill>
                  <a:latin typeface="Segoe UI Light" pitchFamily="34" charset="0"/>
                  <a:ea typeface="Segoe UI" pitchFamily="34" charset="0"/>
                  <a:cs typeface="Segoe UI" pitchFamily="34" charset="0"/>
                </a:rPr>
                <a:t>Scorecards</a:t>
              </a:r>
            </a:p>
          </p:txBody>
        </p:sp>
        <p:sp>
          <p:nvSpPr>
            <p:cNvPr id="26" name="TextBox 25"/>
            <p:cNvSpPr txBox="1"/>
            <p:nvPr/>
          </p:nvSpPr>
          <p:spPr>
            <a:xfrm>
              <a:off x="2890256" y="2195315"/>
              <a:ext cx="1207008" cy="415498"/>
            </a:xfrm>
            <a:prstGeom prst="rect">
              <a:avLst/>
            </a:prstGeom>
            <a:noFill/>
          </p:spPr>
          <p:txBody>
            <a:bodyPr wrap="square" lIns="0" tIns="0" rIns="0" bIns="0" rtlCol="0">
              <a:spAutoFit/>
            </a:bodyPr>
            <a:lstStyle/>
            <a:p>
              <a:pPr algn="ctr" defTabSz="816193">
                <a:lnSpc>
                  <a:spcPct val="90000"/>
                </a:lnSpc>
              </a:pPr>
              <a:r>
                <a:rPr lang="en-US" sz="1100" dirty="0">
                  <a:gradFill>
                    <a:gsLst>
                      <a:gs pos="0">
                        <a:srgbClr val="FFFFFF"/>
                      </a:gs>
                      <a:gs pos="86000">
                        <a:srgbClr val="FFFFFF"/>
                      </a:gs>
                    </a:gsLst>
                    <a:lin ang="5400000" scaled="0"/>
                  </a:gradFill>
                  <a:latin typeface="Segoe UI Light" pitchFamily="34" charset="0"/>
                  <a:ea typeface="Segoe UI" pitchFamily="34" charset="0"/>
                  <a:cs typeface="Segoe UI" pitchFamily="34" charset="0"/>
                </a:rPr>
                <a:t>Excel </a:t>
              </a:r>
            </a:p>
            <a:p>
              <a:pPr algn="ctr" defTabSz="816193">
                <a:lnSpc>
                  <a:spcPct val="90000"/>
                </a:lnSpc>
              </a:pPr>
              <a:r>
                <a:rPr lang="en-US" sz="1100" dirty="0">
                  <a:gradFill>
                    <a:gsLst>
                      <a:gs pos="0">
                        <a:srgbClr val="FFFFFF"/>
                      </a:gs>
                      <a:gs pos="86000">
                        <a:srgbClr val="FFFFFF"/>
                      </a:gs>
                    </a:gsLst>
                    <a:lin ang="5400000" scaled="0"/>
                  </a:gradFill>
                  <a:latin typeface="Segoe UI Light" pitchFamily="34" charset="0"/>
                  <a:ea typeface="Segoe UI" pitchFamily="34" charset="0"/>
                  <a:cs typeface="Segoe UI" pitchFamily="34" charset="0"/>
                </a:rPr>
                <a:t>Workbooks</a:t>
              </a:r>
            </a:p>
          </p:txBody>
        </p:sp>
        <p:sp>
          <p:nvSpPr>
            <p:cNvPr id="27" name="TextBox 26"/>
            <p:cNvSpPr txBox="1"/>
            <p:nvPr/>
          </p:nvSpPr>
          <p:spPr>
            <a:xfrm>
              <a:off x="4164297" y="2195315"/>
              <a:ext cx="1207008" cy="415498"/>
            </a:xfrm>
            <a:prstGeom prst="rect">
              <a:avLst/>
            </a:prstGeom>
            <a:noFill/>
          </p:spPr>
          <p:txBody>
            <a:bodyPr wrap="square" lIns="0" tIns="0" rIns="0" bIns="0" rtlCol="0">
              <a:spAutoFit/>
            </a:bodyPr>
            <a:lstStyle/>
            <a:p>
              <a:pPr algn="ctr" defTabSz="816193">
                <a:lnSpc>
                  <a:spcPct val="90000"/>
                </a:lnSpc>
              </a:pPr>
              <a:r>
                <a:rPr lang="en-US" sz="1100" dirty="0">
                  <a:gradFill>
                    <a:gsLst>
                      <a:gs pos="0">
                        <a:srgbClr val="FFFFFF"/>
                      </a:gs>
                      <a:gs pos="86000">
                        <a:srgbClr val="FFFFFF"/>
                      </a:gs>
                    </a:gsLst>
                    <a:lin ang="5400000" scaled="0"/>
                  </a:gradFill>
                  <a:latin typeface="Segoe UI Light" pitchFamily="34" charset="0"/>
                  <a:ea typeface="Segoe UI" pitchFamily="34" charset="0"/>
                  <a:cs typeface="Segoe UI" pitchFamily="34" charset="0"/>
                </a:rPr>
                <a:t>PowerPivot Applications</a:t>
              </a:r>
            </a:p>
          </p:txBody>
        </p:sp>
        <p:sp>
          <p:nvSpPr>
            <p:cNvPr id="28" name="TextBox 27"/>
            <p:cNvSpPr txBox="1"/>
            <p:nvPr/>
          </p:nvSpPr>
          <p:spPr>
            <a:xfrm>
              <a:off x="468062" y="2195315"/>
              <a:ext cx="1207008" cy="623248"/>
            </a:xfrm>
            <a:prstGeom prst="rect">
              <a:avLst/>
            </a:prstGeom>
            <a:noFill/>
          </p:spPr>
          <p:txBody>
            <a:bodyPr wrap="square" lIns="0" tIns="0" rIns="0" bIns="0" rtlCol="0">
              <a:spAutoFit/>
            </a:bodyPr>
            <a:lstStyle/>
            <a:p>
              <a:pPr algn="ctr" defTabSz="816193">
                <a:lnSpc>
                  <a:spcPct val="90000"/>
                </a:lnSpc>
              </a:pPr>
              <a:r>
                <a:rPr lang="en-US" sz="1100" dirty="0">
                  <a:gradFill>
                    <a:gsLst>
                      <a:gs pos="0">
                        <a:srgbClr val="FFFFFF"/>
                      </a:gs>
                      <a:gs pos="86000">
                        <a:srgbClr val="FFFFFF"/>
                      </a:gs>
                    </a:gsLst>
                    <a:lin ang="5400000" scaled="0"/>
                  </a:gradFill>
                  <a:latin typeface="Segoe UI Light" pitchFamily="34" charset="0"/>
                  <a:ea typeface="Segoe UI" pitchFamily="34" charset="0"/>
                  <a:cs typeface="Segoe UI" pitchFamily="34" charset="0"/>
                </a:rPr>
                <a:t>SharePoint</a:t>
              </a:r>
            </a:p>
            <a:p>
              <a:pPr algn="ctr" defTabSz="816193">
                <a:lnSpc>
                  <a:spcPct val="90000"/>
                </a:lnSpc>
              </a:pPr>
              <a:r>
                <a:rPr lang="en-US" sz="1100" dirty="0">
                  <a:gradFill>
                    <a:gsLst>
                      <a:gs pos="0">
                        <a:srgbClr val="FFFFFF"/>
                      </a:gs>
                      <a:gs pos="86000">
                        <a:srgbClr val="FFFFFF"/>
                      </a:gs>
                    </a:gsLst>
                    <a:lin ang="5400000" scaled="0"/>
                  </a:gradFill>
                  <a:latin typeface="Segoe UI Light" pitchFamily="34" charset="0"/>
                  <a:ea typeface="Segoe UI" pitchFamily="34" charset="0"/>
                  <a:cs typeface="Segoe UI" pitchFamily="34" charset="0"/>
                </a:rPr>
                <a:t>Search &amp; Dashboards</a:t>
              </a:r>
            </a:p>
          </p:txBody>
        </p:sp>
        <p:pic>
          <p:nvPicPr>
            <p:cNvPr id="29" name="Picture 2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90798" y="1383365"/>
              <a:ext cx="715284" cy="810143"/>
            </a:xfrm>
            <a:prstGeom prst="rect">
              <a:avLst/>
            </a:prstGeom>
            <a:noFill/>
            <a:ln>
              <a:noFill/>
            </a:ln>
          </p:spPr>
        </p:pic>
        <p:grpSp>
          <p:nvGrpSpPr>
            <p:cNvPr id="30" name="Group 29"/>
            <p:cNvGrpSpPr/>
            <p:nvPr/>
          </p:nvGrpSpPr>
          <p:grpSpPr>
            <a:xfrm>
              <a:off x="4287928" y="1383365"/>
              <a:ext cx="799915" cy="722944"/>
              <a:chOff x="4560888" y="1547141"/>
              <a:chExt cx="799915" cy="722944"/>
            </a:xfrm>
          </p:grpSpPr>
          <p:pic>
            <p:nvPicPr>
              <p:cNvPr id="32" name="Picture 3"/>
              <p:cNvPicPr>
                <a:picLocks noChangeAspect="1" noChangeArrowheads="1"/>
              </p:cNvPicPr>
              <p:nvPr/>
            </p:nvPicPr>
            <p:blipFill>
              <a:blip r:embed="rId9" cstate="print">
                <a:extLst>
                  <a:ext uri="{28A0092B-C50C-407E-A947-70E740481C1C}">
                    <a14:useLocalDpi xmlns:a14="http://schemas.microsoft.com/office/drawing/2010/main" val="0"/>
                  </a:ext>
                </a:extLst>
              </a:blip>
              <a:stretch>
                <a:fillRect/>
              </a:stretch>
            </p:blipFill>
            <p:spPr bwMode="auto">
              <a:xfrm>
                <a:off x="4560888" y="1547141"/>
                <a:ext cx="486528" cy="478200"/>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9"/>
              <p:cNvPicPr>
                <a:picLocks noChangeAspect="1" noChangeArrowheads="1"/>
              </p:cNvPicPr>
              <p:nvPr/>
            </p:nvPicPr>
            <p:blipFill>
              <a:blip r:embed="rId10" cstate="print">
                <a:duotone>
                  <a:schemeClr val="accent2">
                    <a:shade val="45000"/>
                    <a:satMod val="135000"/>
                  </a:schemeClr>
                  <a:prstClr val="white"/>
                </a:duotone>
                <a:lum bright="2000" contrast="10000"/>
                <a:extLst>
                  <a:ext uri="{28A0092B-C50C-407E-A947-70E740481C1C}">
                    <a14:useLocalDpi xmlns:a14="http://schemas.microsoft.com/office/drawing/2010/main" val="0"/>
                  </a:ext>
                </a:extLst>
              </a:blip>
              <a:srcRect/>
              <a:stretch>
                <a:fillRect/>
              </a:stretch>
            </p:blipFill>
            <p:spPr bwMode="auto">
              <a:xfrm>
                <a:off x="4817656" y="1697190"/>
                <a:ext cx="543147" cy="5728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31" name="Picture 4" descr="\\SFP\Work\White_Whale\3-22036_Kuleen_Bharadwaj\PPT\4_SQL Server Renewal\SFP_Art\Icons\Chris Icons\browser.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019408" y="1474412"/>
              <a:ext cx="640247" cy="64008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4" name="Group 33"/>
          <p:cNvGrpSpPr/>
          <p:nvPr/>
        </p:nvGrpSpPr>
        <p:grpSpPr>
          <a:xfrm>
            <a:off x="0" y="3614024"/>
            <a:ext cx="9144000" cy="1109777"/>
            <a:chOff x="-1" y="4818697"/>
            <a:chExt cx="9144000" cy="1479702"/>
          </a:xfrm>
        </p:grpSpPr>
        <p:sp>
          <p:nvSpPr>
            <p:cNvPr id="35" name="Rounded Rectangle 34"/>
            <p:cNvSpPr/>
            <p:nvPr/>
          </p:nvSpPr>
          <p:spPr>
            <a:xfrm>
              <a:off x="-1" y="5325285"/>
              <a:ext cx="9144000" cy="973114"/>
            </a:xfrm>
            <a:prstGeom prst="roundRect">
              <a:avLst>
                <a:gd name="adj" fmla="val 0"/>
              </a:avLst>
            </a:prstGeom>
            <a:solidFill>
              <a:schemeClr val="accent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570402"/>
              <a:endParaRPr lang="en-US" dirty="0">
                <a:solidFill>
                  <a:schemeClr val="tx1"/>
                </a:solidFill>
                <a:latin typeface="Segoe UI Light" pitchFamily="34" charset="0"/>
                <a:ea typeface="ＭＳ Ｐゴシック" pitchFamily="-65" charset="-128"/>
              </a:endParaRPr>
            </a:p>
            <a:p>
              <a:pPr algn="ctr" defTabSz="570402"/>
              <a:endParaRPr lang="en-US" dirty="0">
                <a:solidFill>
                  <a:schemeClr val="tx1"/>
                </a:solidFill>
                <a:latin typeface="Segoe UI Light" pitchFamily="34" charset="0"/>
                <a:ea typeface="ＭＳ Ｐゴシック" pitchFamily="-65" charset="-128"/>
              </a:endParaRPr>
            </a:p>
          </p:txBody>
        </p:sp>
        <p:sp>
          <p:nvSpPr>
            <p:cNvPr id="36" name="Rectangle 35"/>
            <p:cNvSpPr/>
            <p:nvPr/>
          </p:nvSpPr>
          <p:spPr>
            <a:xfrm>
              <a:off x="7526070" y="5619170"/>
              <a:ext cx="1532870" cy="480132"/>
            </a:xfrm>
            <a:prstGeom prst="rect">
              <a:avLst/>
            </a:prstGeom>
          </p:spPr>
          <p:txBody>
            <a:bodyPr wrap="square" lIns="0" tIns="0" rIns="0" bIns="0">
              <a:spAutoFit/>
            </a:bodyPr>
            <a:lstStyle/>
            <a:p>
              <a:pPr algn="ctr" defTabSz="816193">
                <a:lnSpc>
                  <a:spcPct val="90000"/>
                </a:lnSpc>
              </a:pPr>
              <a:r>
                <a:rPr lang="en-US" sz="1300" kern="0" dirty="0" err="1">
                  <a:gradFill>
                    <a:gsLst>
                      <a:gs pos="0">
                        <a:srgbClr val="FFFFFF"/>
                      </a:gs>
                      <a:gs pos="86000">
                        <a:srgbClr val="FFFFFF"/>
                      </a:gs>
                    </a:gsLst>
                    <a:lin ang="5400000" scaled="0"/>
                  </a:gradFill>
                  <a:latin typeface="Segoe UI Light" pitchFamily="34" charset="0"/>
                </a:rPr>
                <a:t>Odata</a:t>
              </a:r>
              <a:endParaRPr lang="en-US" sz="1300" kern="0" dirty="0">
                <a:gradFill>
                  <a:gsLst>
                    <a:gs pos="0">
                      <a:srgbClr val="FFFFFF"/>
                    </a:gs>
                    <a:gs pos="86000">
                      <a:srgbClr val="FFFFFF"/>
                    </a:gs>
                  </a:gsLst>
                  <a:lin ang="5400000" scaled="0"/>
                </a:gradFill>
                <a:latin typeface="Segoe UI Light" pitchFamily="34" charset="0"/>
              </a:endParaRPr>
            </a:p>
            <a:p>
              <a:pPr algn="ctr" defTabSz="816193">
                <a:lnSpc>
                  <a:spcPct val="90000"/>
                </a:lnSpc>
              </a:pPr>
              <a:r>
                <a:rPr lang="en-US" sz="1300" kern="0" dirty="0">
                  <a:gradFill>
                    <a:gsLst>
                      <a:gs pos="0">
                        <a:srgbClr val="FFFFFF"/>
                      </a:gs>
                      <a:gs pos="86000">
                        <a:srgbClr val="FFFFFF"/>
                      </a:gs>
                    </a:gsLst>
                    <a:lin ang="5400000" scaled="0"/>
                  </a:gradFill>
                  <a:latin typeface="Segoe UI Light" pitchFamily="34" charset="0"/>
                </a:rPr>
                <a:t>Feeds</a:t>
              </a:r>
            </a:p>
          </p:txBody>
        </p:sp>
        <p:pic>
          <p:nvPicPr>
            <p:cNvPr id="37" name="Picture 33" descr="SQL08r2_h_rgb_r.png"/>
            <p:cNvPicPr>
              <a:picLocks noChangeAspect="1"/>
            </p:cNvPicPr>
            <p:nvPr/>
          </p:nvPicPr>
          <p:blipFill rotWithShape="1">
            <a:blip r:embed="rId12" cstate="print"/>
            <a:srcRect r="27195"/>
            <a:stretch/>
          </p:blipFill>
          <p:spPr>
            <a:xfrm>
              <a:off x="1609072" y="5592435"/>
              <a:ext cx="1261810" cy="431862"/>
            </a:xfrm>
            <a:prstGeom prst="rect">
              <a:avLst/>
            </a:prstGeom>
          </p:spPr>
        </p:pic>
        <p:pic>
          <p:nvPicPr>
            <p:cNvPr id="38" name="Picture 37"/>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57508" y="5448425"/>
              <a:ext cx="470232" cy="729288"/>
            </a:xfrm>
            <a:prstGeom prst="rect">
              <a:avLst/>
            </a:prstGeom>
            <a:noFill/>
            <a:ln>
              <a:noFill/>
            </a:ln>
          </p:spPr>
        </p:pic>
        <p:pic>
          <p:nvPicPr>
            <p:cNvPr id="39" name="Picture 2" descr="\\showsrus\images\LOGOS\GEN_LOGO\O\ORACLE.png"/>
            <p:cNvPicPr>
              <a:picLocks noChangeAspect="1" noChangeArrowheads="1"/>
            </p:cNvPicPr>
            <p:nvPr/>
          </p:nvPicPr>
          <p:blipFill>
            <a:blip r:embed="rId14" cstate="print">
              <a:extLst>
                <a:ext uri="{BEBA8EAE-BF5A-486C-A8C5-ECC9F3942E4B}">
                  <a14:imgProps xmlns:a14="http://schemas.microsoft.com/office/drawing/2010/main">
                    <a14:imgLayer r:embed="rId15">
                      <a14:imgEffect>
                        <a14:brightnessContrast bright="100000"/>
                      </a14:imgEffect>
                    </a14:imgLayer>
                  </a14:imgProps>
                </a:ext>
              </a:extLst>
            </a:blip>
            <a:srcRect/>
            <a:stretch>
              <a:fillRect/>
            </a:stretch>
          </p:blipFill>
          <p:spPr bwMode="black">
            <a:xfrm>
              <a:off x="3135928" y="5742477"/>
              <a:ext cx="1106424" cy="141184"/>
            </a:xfrm>
            <a:prstGeom prst="rect">
              <a:avLst/>
            </a:prstGeom>
            <a:noFill/>
          </p:spPr>
        </p:pic>
        <p:pic>
          <p:nvPicPr>
            <p:cNvPr id="40" name="Picture 3"/>
            <p:cNvPicPr>
              <a:picLocks noChangeAspect="1" noChangeArrowheads="1"/>
            </p:cNvPicPr>
            <p:nvPr/>
          </p:nvPicPr>
          <p:blipFill>
            <a:blip r:embed="rId16">
              <a:extLst>
                <a:ext uri="{28A0092B-C50C-407E-A947-70E740481C1C}">
                  <a14:useLocalDpi xmlns:a14="http://schemas.microsoft.com/office/drawing/2010/main" val="0"/>
                </a:ext>
              </a:extLst>
            </a:blip>
            <a:stretch>
              <a:fillRect/>
            </a:stretch>
          </p:blipFill>
          <p:spPr bwMode="invGray">
            <a:xfrm>
              <a:off x="4727357" y="5629874"/>
              <a:ext cx="531509" cy="349614"/>
            </a:xfrm>
            <a:prstGeom prst="rect">
              <a:avLst/>
            </a:prstGeom>
            <a:noFill/>
          </p:spPr>
        </p:pic>
        <p:sp>
          <p:nvSpPr>
            <p:cNvPr id="41" name="TextBox 40"/>
            <p:cNvSpPr txBox="1"/>
            <p:nvPr/>
          </p:nvSpPr>
          <p:spPr>
            <a:xfrm>
              <a:off x="6680075" y="5629874"/>
              <a:ext cx="1273078" cy="480132"/>
            </a:xfrm>
            <a:prstGeom prst="rect">
              <a:avLst/>
            </a:prstGeom>
            <a:noFill/>
          </p:spPr>
          <p:txBody>
            <a:bodyPr wrap="square" lIns="0" tIns="0" rIns="0" bIns="0" rtlCol="0">
              <a:spAutoFit/>
            </a:bodyPr>
            <a:lstStyle/>
            <a:p>
              <a:pPr algn="ctr" defTabSz="816193">
                <a:lnSpc>
                  <a:spcPct val="90000"/>
                </a:lnSpc>
              </a:pPr>
              <a:r>
                <a:rPr lang="en-US" sz="1300" kern="0" dirty="0">
                  <a:gradFill>
                    <a:gsLst>
                      <a:gs pos="0">
                        <a:srgbClr val="FFFFFF"/>
                      </a:gs>
                      <a:gs pos="86000">
                        <a:srgbClr val="FFFFFF"/>
                      </a:gs>
                    </a:gsLst>
                    <a:lin ang="5400000" scaled="0"/>
                  </a:gradFill>
                  <a:latin typeface="Segoe UI Light" pitchFamily="34" charset="0"/>
                </a:rPr>
                <a:t>LOB </a:t>
              </a:r>
              <a:br>
                <a:rPr lang="en-US" sz="1300" kern="0" dirty="0">
                  <a:gradFill>
                    <a:gsLst>
                      <a:gs pos="0">
                        <a:srgbClr val="FFFFFF"/>
                      </a:gs>
                      <a:gs pos="86000">
                        <a:srgbClr val="FFFFFF"/>
                      </a:gs>
                    </a:gsLst>
                    <a:lin ang="5400000" scaled="0"/>
                  </a:gradFill>
                  <a:latin typeface="Segoe UI Light" pitchFamily="34" charset="0"/>
                </a:rPr>
              </a:br>
              <a:r>
                <a:rPr lang="en-US" sz="1300" kern="0" dirty="0">
                  <a:gradFill>
                    <a:gsLst>
                      <a:gs pos="0">
                        <a:srgbClr val="FFFFFF"/>
                      </a:gs>
                      <a:gs pos="86000">
                        <a:srgbClr val="FFFFFF"/>
                      </a:gs>
                    </a:gsLst>
                    <a:lin ang="5400000" scaled="0"/>
                  </a:gradFill>
                  <a:latin typeface="Segoe UI Light" pitchFamily="34" charset="0"/>
                </a:rPr>
                <a:t>Apps</a:t>
              </a:r>
              <a:endParaRPr lang="en-US" sz="1300" dirty="0">
                <a:gradFill>
                  <a:gsLst>
                    <a:gs pos="0">
                      <a:srgbClr val="FFFFFF"/>
                    </a:gs>
                    <a:gs pos="86000">
                      <a:srgbClr val="FFFFFF"/>
                    </a:gs>
                  </a:gsLst>
                  <a:lin ang="5400000" scaled="0"/>
                </a:gradFill>
                <a:latin typeface="Segoe UI Light" pitchFamily="34" charset="0"/>
                <a:ea typeface="Segoe UI" pitchFamily="34" charset="0"/>
                <a:cs typeface="Segoe UI" pitchFamily="34" charset="0"/>
              </a:endParaRPr>
            </a:p>
          </p:txBody>
        </p:sp>
        <p:pic>
          <p:nvPicPr>
            <p:cNvPr id="42" name="Picture 19" descr="C:\Users\claireh\Desktop\dyn-brand_ALT_rgb_r.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5660586" y="5629874"/>
              <a:ext cx="964407" cy="335802"/>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43" name="Group 42"/>
            <p:cNvGrpSpPr/>
            <p:nvPr/>
          </p:nvGrpSpPr>
          <p:grpSpPr>
            <a:xfrm>
              <a:off x="3079977" y="4818697"/>
              <a:ext cx="473843" cy="472167"/>
              <a:chOff x="3666665" y="2796817"/>
              <a:chExt cx="473843" cy="472167"/>
            </a:xfrm>
          </p:grpSpPr>
          <p:sp>
            <p:nvSpPr>
              <p:cNvPr id="44" name="Up Arrow 43"/>
              <p:cNvSpPr/>
              <p:nvPr/>
            </p:nvSpPr>
            <p:spPr bwMode="auto">
              <a:xfrm>
                <a:off x="3884392" y="2796817"/>
                <a:ext cx="256116" cy="284814"/>
              </a:xfrm>
              <a:prstGeom prst="upArrow">
                <a:avLst/>
              </a:prstGeom>
              <a:gradFill flip="none" rotWithShape="1">
                <a:gsLst>
                  <a:gs pos="0">
                    <a:schemeClr val="bg1">
                      <a:alpha val="0"/>
                    </a:schemeClr>
                  </a:gs>
                  <a:gs pos="24000">
                    <a:schemeClr val="accent1"/>
                  </a:gs>
                  <a:gs pos="100000">
                    <a:schemeClr val="accent1"/>
                  </a:gs>
                </a:gsLst>
                <a:lin ang="16200000" scaled="0"/>
                <a:tileRect/>
              </a:gradFill>
              <a:ln>
                <a:gradFill flip="none" rotWithShape="1">
                  <a:gsLst>
                    <a:gs pos="0">
                      <a:schemeClr val="accent1"/>
                    </a:gs>
                    <a:gs pos="12000">
                      <a:schemeClr val="accent1">
                        <a:alpha val="68000"/>
                      </a:schemeClr>
                    </a:gs>
                    <a:gs pos="100000">
                      <a:schemeClr val="bg1">
                        <a:alpha val="0"/>
                      </a:schemeClr>
                    </a:gs>
                  </a:gsLst>
                  <a:lin ang="5400000" scaled="0"/>
                  <a:tileRect/>
                </a:gra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815924" fontAlgn="base">
                  <a:lnSpc>
                    <a:spcPct val="90000"/>
                  </a:lnSpc>
                  <a:spcBef>
                    <a:spcPct val="0"/>
                  </a:spcBef>
                  <a:spcAft>
                    <a:spcPct val="0"/>
                  </a:spcAft>
                </a:pPr>
                <a:endParaRPr lang="en-US" sz="2100" i="1" dirty="0">
                  <a:gradFill>
                    <a:gsLst>
                      <a:gs pos="0">
                        <a:srgbClr val="FFFFFF"/>
                      </a:gs>
                      <a:gs pos="86000">
                        <a:srgbClr val="FFFFFF"/>
                      </a:gs>
                    </a:gsLst>
                    <a:lin ang="5400000" scaled="0"/>
                  </a:gradFill>
                  <a:latin typeface="Segoe UI Light" pitchFamily="34" charset="0"/>
                </a:endParaRPr>
              </a:p>
            </p:txBody>
          </p:sp>
          <p:sp>
            <p:nvSpPr>
              <p:cNvPr id="45" name="Up Arrow 44"/>
              <p:cNvSpPr/>
              <p:nvPr/>
            </p:nvSpPr>
            <p:spPr bwMode="auto">
              <a:xfrm rot="10800000">
                <a:off x="3666665" y="2984170"/>
                <a:ext cx="256116" cy="284814"/>
              </a:xfrm>
              <a:prstGeom prst="upArrow">
                <a:avLst/>
              </a:prstGeom>
              <a:gradFill flip="none" rotWithShape="1">
                <a:gsLst>
                  <a:gs pos="0">
                    <a:schemeClr val="bg1">
                      <a:alpha val="0"/>
                    </a:schemeClr>
                  </a:gs>
                  <a:gs pos="24000">
                    <a:schemeClr val="accent1"/>
                  </a:gs>
                  <a:gs pos="100000">
                    <a:schemeClr val="accent1"/>
                  </a:gs>
                </a:gsLst>
                <a:lin ang="16200000" scaled="0"/>
                <a:tileRect/>
              </a:gradFill>
              <a:ln>
                <a:gradFill flip="none" rotWithShape="1">
                  <a:gsLst>
                    <a:gs pos="0">
                      <a:schemeClr val="accent1"/>
                    </a:gs>
                    <a:gs pos="12000">
                      <a:schemeClr val="accent1">
                        <a:alpha val="68000"/>
                      </a:schemeClr>
                    </a:gs>
                    <a:gs pos="100000">
                      <a:schemeClr val="bg1">
                        <a:alpha val="0"/>
                      </a:schemeClr>
                    </a:gs>
                  </a:gsLst>
                  <a:lin ang="5400000" scaled="0"/>
                  <a:tileRect/>
                </a:gra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815924" fontAlgn="base">
                  <a:lnSpc>
                    <a:spcPct val="90000"/>
                  </a:lnSpc>
                  <a:spcBef>
                    <a:spcPct val="0"/>
                  </a:spcBef>
                  <a:spcAft>
                    <a:spcPct val="0"/>
                  </a:spcAft>
                </a:pPr>
                <a:endParaRPr lang="en-US" sz="2100" i="1" dirty="0">
                  <a:gradFill>
                    <a:gsLst>
                      <a:gs pos="0">
                        <a:srgbClr val="FFFFFF"/>
                      </a:gs>
                      <a:gs pos="86000">
                        <a:srgbClr val="FFFFFF"/>
                      </a:gs>
                    </a:gsLst>
                    <a:lin ang="5400000" scaled="0"/>
                  </a:gradFill>
                  <a:latin typeface="Segoe UI Light" pitchFamily="34" charset="0"/>
                </a:endParaRPr>
              </a:p>
            </p:txBody>
          </p:sp>
        </p:grpSp>
      </p:grpSp>
      <p:pic>
        <p:nvPicPr>
          <p:cNvPr id="46" name="Picture 45" descr="ofc-brand_h_rgb_r.png"/>
          <p:cNvPicPr>
            <a:picLocks noChangeAspect="1"/>
          </p:cNvPicPr>
          <p:nvPr/>
        </p:nvPicPr>
        <p:blipFill>
          <a:blip r:embed="rId18" cstate="screen"/>
          <a:stretch>
            <a:fillRect/>
          </a:stretch>
        </p:blipFill>
        <p:spPr>
          <a:xfrm>
            <a:off x="6537959" y="1014589"/>
            <a:ext cx="1579483" cy="548105"/>
          </a:xfrm>
          <a:prstGeom prst="rect">
            <a:avLst/>
          </a:prstGeom>
          <a:noFill/>
          <a:ln>
            <a:noFill/>
          </a:ln>
        </p:spPr>
      </p:pic>
      <p:pic>
        <p:nvPicPr>
          <p:cNvPr id="47" name="Picture 3" descr="C:\Users\pavc\Desktop\ShrPt10_h_rgb_r.png"/>
          <p:cNvPicPr>
            <a:picLocks noChangeAspect="1" noChangeArrowheads="1"/>
          </p:cNvPicPr>
          <p:nvPr/>
        </p:nvPicPr>
        <p:blipFill rotWithShape="1">
          <a:blip r:embed="rId19" cstate="print">
            <a:extLst>
              <a:ext uri="{28A0092B-C50C-407E-A947-70E740481C1C}">
                <a14:useLocalDpi xmlns:a14="http://schemas.microsoft.com/office/drawing/2010/main" val="0"/>
              </a:ext>
            </a:extLst>
          </a:blip>
          <a:stretch/>
        </p:blipFill>
        <p:spPr bwMode="auto">
          <a:xfrm>
            <a:off x="6255893" y="1561777"/>
            <a:ext cx="2143613" cy="428723"/>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48" name="Picture 13" descr="SQL08r2_h_rgb_r.png"/>
          <p:cNvPicPr>
            <a:picLocks noChangeAspect="1"/>
          </p:cNvPicPr>
          <p:nvPr/>
        </p:nvPicPr>
        <p:blipFill rotWithShape="1">
          <a:blip r:embed="rId20" cstate="print">
            <a:extLst>
              <a:ext uri="{28A0092B-C50C-407E-A947-70E740481C1C}">
                <a14:useLocalDpi xmlns:a14="http://schemas.microsoft.com/office/drawing/2010/main" val="0"/>
              </a:ext>
            </a:extLst>
          </a:blip>
          <a:stretch/>
        </p:blipFill>
        <p:spPr bwMode="auto">
          <a:xfrm>
            <a:off x="6155054" y="2715979"/>
            <a:ext cx="2345293" cy="43475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pic>
      <p:sp>
        <p:nvSpPr>
          <p:cNvPr id="49"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50"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1"/>
              </a:rPr>
              <a:t>www.rapidbbs.cn</a:t>
            </a:r>
            <a:endParaRPr lang="zh-CN" altLang="en-US" sz="1200" b="0">
              <a:latin typeface="Arial" charset="0"/>
              <a:ea typeface="ＭＳ Ｐゴシック" pitchFamily="34" charset="-128"/>
            </a:endParaRPr>
          </a:p>
        </p:txBody>
      </p:sp>
      <p:pic>
        <p:nvPicPr>
          <p:cNvPr id="51" name="Picture 2">
            <a:hlinkClick r:id="rId21"/>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75487013"/>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smtClean="0"/>
              <a:t>announcing</a:t>
            </a:r>
            <a:endParaRPr lang="en-US" dirty="0"/>
          </a:p>
        </p:txBody>
      </p:sp>
      <p:sp>
        <p:nvSpPr>
          <p:cNvPr id="3" name="Subtitle 2"/>
          <p:cNvSpPr>
            <a:spLocks noGrp="1"/>
          </p:cNvSpPr>
          <p:nvPr>
            <p:ph type="subTitle" idx="1"/>
          </p:nvPr>
        </p:nvSpPr>
        <p:spPr/>
        <p:txBody>
          <a:bodyPr/>
          <a:lstStyle/>
          <a:p>
            <a:endParaRPr lang="en-US" dirty="0"/>
          </a:p>
        </p:txBody>
      </p:sp>
      <p:sp>
        <p:nvSpPr>
          <p:cNvPr id="2" name="Title 1"/>
          <p:cNvSpPr>
            <a:spLocks noGrp="1"/>
          </p:cNvSpPr>
          <p:nvPr>
            <p:ph type="ctrTitle"/>
          </p:nvPr>
        </p:nvSpPr>
        <p:spPr/>
        <p:txBody>
          <a:bodyPr/>
          <a:lstStyle/>
          <a:p>
            <a:r>
              <a:rPr dirty="0" smtClean="0"/>
              <a:t>New Windows Server 2012 Book</a:t>
            </a:r>
            <a:endParaRPr lang="en-US" dirty="0"/>
          </a:p>
        </p:txBody>
      </p:sp>
      <p:sp useBgFill="1">
        <p:nvSpPr>
          <p:cNvPr id="5" name="MASK bottom"/>
          <p:cNvSpPr/>
          <p:nvPr/>
        </p:nvSpPr>
        <p:spPr bwMode="auto">
          <a:xfrm>
            <a:off x="2914218" y="4514850"/>
            <a:ext cx="6229782" cy="62865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useBgFill="1">
        <p:nvSpPr>
          <p:cNvPr id="6" name="MASK top"/>
          <p:cNvSpPr/>
          <p:nvPr/>
        </p:nvSpPr>
        <p:spPr bwMode="auto">
          <a:xfrm>
            <a:off x="2914218" y="0"/>
            <a:ext cx="6229782" cy="112849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7"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8"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pic>
        <p:nvPicPr>
          <p:cNvPr id="9"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67615356"/>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par>
    </p:tnLst>
  </p:timing>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n>
                  <a:noFill/>
                </a:ln>
                <a:solidFill>
                  <a:schemeClr val="tx1"/>
                </a:solidFill>
                <a:latin typeface="Segoe UI Light" pitchFamily="-65" charset="0"/>
              </a:rPr>
              <a:t>The Microsoft Difference</a:t>
            </a:r>
            <a:endParaRPr lang="en-US" dirty="0"/>
          </a:p>
        </p:txBody>
      </p:sp>
      <p:sp>
        <p:nvSpPr>
          <p:cNvPr id="4" name="Rectangle 29"/>
          <p:cNvSpPr>
            <a:spLocks noChangeArrowheads="1"/>
          </p:cNvSpPr>
          <p:nvPr/>
        </p:nvSpPr>
        <p:spPr bwMode="auto">
          <a:xfrm>
            <a:off x="1018987" y="2809875"/>
            <a:ext cx="2568774" cy="944482"/>
          </a:xfrm>
          <a:prstGeom prst="rect">
            <a:avLst/>
          </a:prstGeom>
          <a:noFill/>
          <a:ln w="9525">
            <a:noFill/>
            <a:miter lim="800000"/>
            <a:headEnd/>
            <a:tailEnd/>
          </a:ln>
        </p:spPr>
        <p:txBody>
          <a:bodyPr lIns="68578" tIns="34289" rIns="68578" bIns="34289">
            <a:spAutoFit/>
          </a:bodyPr>
          <a:lstStyle/>
          <a:p>
            <a:pPr marL="2976" indent="-2976">
              <a:lnSpc>
                <a:spcPts val="2000"/>
              </a:lnSpc>
              <a:spcAft>
                <a:spcPts val="375"/>
              </a:spcAft>
              <a:defRPr/>
            </a:pPr>
            <a:r>
              <a:rPr lang="en-US" sz="1700" dirty="0">
                <a:latin typeface="Segoe UI Light" pitchFamily="34" charset="0"/>
              </a:rPr>
              <a:t>Find and Access</a:t>
            </a:r>
          </a:p>
          <a:p>
            <a:pPr marL="2976" indent="-2976">
              <a:lnSpc>
                <a:spcPts val="2000"/>
              </a:lnSpc>
              <a:spcAft>
                <a:spcPts val="375"/>
              </a:spcAft>
              <a:defRPr/>
            </a:pPr>
            <a:r>
              <a:rPr lang="en-US" sz="1700" dirty="0">
                <a:latin typeface="Segoe UI Light" pitchFamily="34" charset="0"/>
              </a:rPr>
              <a:t>Mash-up and Analyze</a:t>
            </a:r>
          </a:p>
          <a:p>
            <a:pPr marL="2976" indent="-2976">
              <a:lnSpc>
                <a:spcPts val="2000"/>
              </a:lnSpc>
              <a:spcAft>
                <a:spcPts val="375"/>
              </a:spcAft>
              <a:defRPr/>
            </a:pPr>
            <a:r>
              <a:rPr lang="en-US" sz="1700" dirty="0">
                <a:latin typeface="Segoe UI Light" pitchFamily="34" charset="0"/>
              </a:rPr>
              <a:t>Share and Collaborate</a:t>
            </a:r>
          </a:p>
        </p:txBody>
      </p:sp>
      <p:sp>
        <p:nvSpPr>
          <p:cNvPr id="5" name="Rectangle 4"/>
          <p:cNvSpPr/>
          <p:nvPr/>
        </p:nvSpPr>
        <p:spPr bwMode="auto">
          <a:xfrm>
            <a:off x="0" y="4048125"/>
            <a:ext cx="9144000" cy="628650"/>
          </a:xfrm>
          <a:prstGeom prst="rect">
            <a:avLst/>
          </a:prstGeom>
          <a:gradFill flip="none" rotWithShape="1">
            <a:gsLst>
              <a:gs pos="0">
                <a:schemeClr val="accent6">
                  <a:shade val="30000"/>
                  <a:satMod val="115000"/>
                </a:schemeClr>
              </a:gs>
              <a:gs pos="50000">
                <a:schemeClr val="accent6">
                  <a:shade val="67500"/>
                  <a:satMod val="115000"/>
                </a:schemeClr>
              </a:gs>
              <a:gs pos="100000">
                <a:schemeClr val="accent6">
                  <a:shade val="100000"/>
                  <a:satMod val="115000"/>
                </a:schemeClr>
              </a:gs>
            </a:gsLst>
            <a:path path="circle">
              <a:fillToRect l="50000" t="50000" r="50000" b="50000"/>
            </a:path>
            <a:tileRect/>
          </a:gradFill>
          <a:ln w="15875">
            <a:noFill/>
            <a:headEnd type="none" w="med" len="med"/>
            <a:tailEnd type="none" w="med" len="med"/>
          </a:ln>
        </p:spPr>
        <p:style>
          <a:lnRef idx="2">
            <a:schemeClr val="dk1"/>
          </a:lnRef>
          <a:fillRef idx="1">
            <a:schemeClr val="lt1"/>
          </a:fillRef>
          <a:effectRef idx="0">
            <a:schemeClr val="dk1"/>
          </a:effectRef>
          <a:fontRef idx="minor">
            <a:schemeClr val="dk1"/>
          </a:fontRef>
        </p:style>
        <p:txBody>
          <a:bodyPr lIns="68575" tIns="34288" rIns="68575" bIns="34288" anchor="ctr"/>
          <a:lstStyle/>
          <a:p>
            <a:pPr algn="ctr"/>
            <a:endParaRPr lang="en-US" sz="1700">
              <a:solidFill>
                <a:schemeClr val="tx1"/>
              </a:solidFill>
              <a:ea typeface="ＭＳ Ｐゴシック" pitchFamily="-65" charset="-128"/>
            </a:endParaRPr>
          </a:p>
        </p:txBody>
      </p:sp>
      <p:sp>
        <p:nvSpPr>
          <p:cNvPr id="6" name="TextBox 5"/>
          <p:cNvSpPr txBox="1"/>
          <p:nvPr/>
        </p:nvSpPr>
        <p:spPr>
          <a:xfrm>
            <a:off x="1652570" y="4172019"/>
            <a:ext cx="1022645" cy="380866"/>
          </a:xfrm>
          <a:prstGeom prst="rect">
            <a:avLst/>
          </a:prstGeom>
          <a:noFill/>
        </p:spPr>
        <p:txBody>
          <a:bodyPr wrap="none" lIns="68578" tIns="34289" rIns="68578" bIns="34289" anchor="ctr">
            <a:spAutoFit/>
          </a:bodyPr>
          <a:lstStyle/>
          <a:p>
            <a:pPr algn="ctr" defTabSz="456320"/>
            <a:r>
              <a:rPr lang="en-US" sz="2000" dirty="0">
                <a:latin typeface="Segoe UI" pitchFamily="-65" charset="-52"/>
                <a:cs typeface="Segoe UI" pitchFamily="-65" charset="-52"/>
              </a:rPr>
              <a:t>AGILITY</a:t>
            </a:r>
            <a:endParaRPr lang="en-US" sz="1700" dirty="0">
              <a:latin typeface="Segoe UI" pitchFamily="-65" charset="-52"/>
              <a:cs typeface="Segoe UI" pitchFamily="-65" charset="-52"/>
            </a:endParaRPr>
          </a:p>
        </p:txBody>
      </p:sp>
      <p:sp>
        <p:nvSpPr>
          <p:cNvPr id="7" name="TextBox 6"/>
          <p:cNvSpPr txBox="1"/>
          <p:nvPr/>
        </p:nvSpPr>
        <p:spPr>
          <a:xfrm>
            <a:off x="6241857" y="4172019"/>
            <a:ext cx="1294233" cy="380866"/>
          </a:xfrm>
          <a:prstGeom prst="rect">
            <a:avLst/>
          </a:prstGeom>
          <a:noFill/>
        </p:spPr>
        <p:txBody>
          <a:bodyPr wrap="none" lIns="68578" tIns="34289" rIns="68578" bIns="34289" anchor="ctr">
            <a:spAutoFit/>
          </a:bodyPr>
          <a:lstStyle/>
          <a:p>
            <a:pPr algn="ctr" defTabSz="457109">
              <a:defRPr/>
            </a:pPr>
            <a:r>
              <a:rPr lang="en-US" sz="2000" dirty="0">
                <a:ea typeface="Segoe UI" pitchFamily="34" charset="0"/>
                <a:cs typeface="Segoe UI" pitchFamily="34" charset="0"/>
              </a:rPr>
              <a:t>CONTROL</a:t>
            </a:r>
          </a:p>
        </p:txBody>
      </p:sp>
      <p:sp>
        <p:nvSpPr>
          <p:cNvPr id="8" name="Rectangle 7"/>
          <p:cNvSpPr/>
          <p:nvPr/>
        </p:nvSpPr>
        <p:spPr bwMode="auto">
          <a:xfrm>
            <a:off x="285751" y="1095375"/>
            <a:ext cx="4057054" cy="571500"/>
          </a:xfrm>
          <a:prstGeom prst="rect">
            <a:avLst/>
          </a:prstGeom>
          <a:solidFill>
            <a:schemeClr val="accent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57137" tIns="28569" rIns="57137" bIns="28569" anchor="ctr"/>
          <a:lstStyle/>
          <a:p>
            <a:pPr algn="ctr" defTabSz="570402">
              <a:defRPr/>
            </a:pPr>
            <a:r>
              <a:rPr lang="en-US" sz="2000" dirty="0">
                <a:solidFill>
                  <a:schemeClr val="tx1"/>
                </a:solidFill>
                <a:ea typeface="ＭＳ Ｐゴシック" pitchFamily="-65" charset="-128"/>
              </a:rPr>
              <a:t>End-User</a:t>
            </a:r>
          </a:p>
        </p:txBody>
      </p:sp>
      <p:grpSp>
        <p:nvGrpSpPr>
          <p:cNvPr id="9" name="Group 8"/>
          <p:cNvGrpSpPr>
            <a:grpSpLocks noChangeAspect="1"/>
          </p:cNvGrpSpPr>
          <p:nvPr/>
        </p:nvGrpSpPr>
        <p:grpSpPr>
          <a:xfrm>
            <a:off x="1731874" y="1857375"/>
            <a:ext cx="1143000" cy="857250"/>
            <a:chOff x="12515899" y="2193154"/>
            <a:chExt cx="1371739" cy="1058149"/>
          </a:xfrm>
        </p:grpSpPr>
        <p:sp>
          <p:nvSpPr>
            <p:cNvPr id="10" name="Freeform 66"/>
            <p:cNvSpPr>
              <a:spLocks noEditPoints="1"/>
            </p:cNvSpPr>
            <p:nvPr/>
          </p:nvSpPr>
          <p:spPr bwMode="auto">
            <a:xfrm>
              <a:off x="12515899" y="2193154"/>
              <a:ext cx="1371739" cy="1058149"/>
            </a:xfrm>
            <a:custGeom>
              <a:avLst/>
              <a:gdLst>
                <a:gd name="T0" fmla="*/ 0 w 1601"/>
                <a:gd name="T1" fmla="*/ 0 h 1235"/>
                <a:gd name="T2" fmla="*/ 1601 w 1601"/>
                <a:gd name="T3" fmla="*/ 0 h 1235"/>
                <a:gd name="T4" fmla="*/ 1601 w 1601"/>
                <a:gd name="T5" fmla="*/ 1058 h 1235"/>
                <a:gd name="T6" fmla="*/ 887 w 1601"/>
                <a:gd name="T7" fmla="*/ 1058 h 1235"/>
                <a:gd name="T8" fmla="*/ 887 w 1601"/>
                <a:gd name="T9" fmla="*/ 1148 h 1235"/>
                <a:gd name="T10" fmla="*/ 1152 w 1601"/>
                <a:gd name="T11" fmla="*/ 1148 h 1235"/>
                <a:gd name="T12" fmla="*/ 1152 w 1601"/>
                <a:gd name="T13" fmla="*/ 1235 h 1235"/>
                <a:gd name="T14" fmla="*/ 446 w 1601"/>
                <a:gd name="T15" fmla="*/ 1235 h 1235"/>
                <a:gd name="T16" fmla="*/ 446 w 1601"/>
                <a:gd name="T17" fmla="*/ 1148 h 1235"/>
                <a:gd name="T18" fmla="*/ 710 w 1601"/>
                <a:gd name="T19" fmla="*/ 1148 h 1235"/>
                <a:gd name="T20" fmla="*/ 710 w 1601"/>
                <a:gd name="T21" fmla="*/ 1058 h 1235"/>
                <a:gd name="T22" fmla="*/ 0 w 1601"/>
                <a:gd name="T23" fmla="*/ 1058 h 1235"/>
                <a:gd name="T24" fmla="*/ 0 w 1601"/>
                <a:gd name="T25" fmla="*/ 0 h 1235"/>
                <a:gd name="T26" fmla="*/ 0 w 1601"/>
                <a:gd name="T27" fmla="*/ 0 h 1235"/>
                <a:gd name="T28" fmla="*/ 87 w 1601"/>
                <a:gd name="T29" fmla="*/ 87 h 1235"/>
                <a:gd name="T30" fmla="*/ 87 w 1601"/>
                <a:gd name="T31" fmla="*/ 971 h 1235"/>
                <a:gd name="T32" fmla="*/ 1511 w 1601"/>
                <a:gd name="T33" fmla="*/ 971 h 1235"/>
                <a:gd name="T34" fmla="*/ 1511 w 1601"/>
                <a:gd name="T35" fmla="*/ 87 h 1235"/>
                <a:gd name="T36" fmla="*/ 87 w 1601"/>
                <a:gd name="T37" fmla="*/ 87 h 1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01" h="1235">
                  <a:moveTo>
                    <a:pt x="0" y="0"/>
                  </a:moveTo>
                  <a:lnTo>
                    <a:pt x="1601" y="0"/>
                  </a:lnTo>
                  <a:lnTo>
                    <a:pt x="1601" y="1058"/>
                  </a:lnTo>
                  <a:lnTo>
                    <a:pt x="887" y="1058"/>
                  </a:lnTo>
                  <a:lnTo>
                    <a:pt x="887" y="1148"/>
                  </a:lnTo>
                  <a:lnTo>
                    <a:pt x="1152" y="1148"/>
                  </a:lnTo>
                  <a:lnTo>
                    <a:pt x="1152" y="1235"/>
                  </a:lnTo>
                  <a:lnTo>
                    <a:pt x="446" y="1235"/>
                  </a:lnTo>
                  <a:lnTo>
                    <a:pt x="446" y="1148"/>
                  </a:lnTo>
                  <a:lnTo>
                    <a:pt x="710" y="1148"/>
                  </a:lnTo>
                  <a:lnTo>
                    <a:pt x="710" y="1058"/>
                  </a:lnTo>
                  <a:lnTo>
                    <a:pt x="0" y="1058"/>
                  </a:lnTo>
                  <a:lnTo>
                    <a:pt x="0" y="0"/>
                  </a:lnTo>
                  <a:lnTo>
                    <a:pt x="0" y="0"/>
                  </a:lnTo>
                  <a:close/>
                  <a:moveTo>
                    <a:pt x="87" y="87"/>
                  </a:moveTo>
                  <a:lnTo>
                    <a:pt x="87" y="971"/>
                  </a:lnTo>
                  <a:lnTo>
                    <a:pt x="1511" y="971"/>
                  </a:lnTo>
                  <a:lnTo>
                    <a:pt x="1511" y="87"/>
                  </a:lnTo>
                  <a:lnTo>
                    <a:pt x="87" y="87"/>
                  </a:lnTo>
                  <a:close/>
                </a:path>
              </a:pathLst>
            </a:custGeom>
            <a:solidFill>
              <a:schemeClr val="accent1"/>
            </a:solidFill>
            <a:ln w="12700" cap="rnd">
              <a:noFill/>
              <a:prstDash val="solid"/>
              <a:headEnd type="oval"/>
            </a:ln>
            <a:effectLst/>
            <a:extLst>
              <a:ext uri="{91240B29-F687-4F45-9708-019B960494DF}">
                <a14:hiddenLine xmlns:a14="http://schemas.microsoft.com/office/drawing/2010/main" w="9525">
                  <a:solidFill>
                    <a:srgbClr val="000000"/>
                  </a:solidFill>
                  <a:round/>
                  <a:headEnd/>
                  <a:tailEnd/>
                </a14:hiddenLine>
              </a:ext>
            </a:extLst>
          </p:spPr>
          <p:style>
            <a:lnRef idx="1">
              <a:schemeClr val="accent1"/>
            </a:lnRef>
            <a:fillRef idx="0">
              <a:schemeClr val="accent1"/>
            </a:fillRef>
            <a:effectRef idx="0">
              <a:schemeClr val="accent1"/>
            </a:effectRef>
            <a:fontRef idx="minor">
              <a:schemeClr val="tx1"/>
            </a:fontRef>
          </p:style>
          <p:txBody>
            <a:bodyPr anchor="ctr"/>
            <a:lstStyle/>
            <a:p>
              <a:pPr algn="ctr"/>
              <a:endParaRPr lang="en-US">
                <a:ea typeface="ＭＳ Ｐゴシック" pitchFamily="-65" charset="-128"/>
              </a:endParaRPr>
            </a:p>
          </p:txBody>
        </p:sp>
        <p:sp>
          <p:nvSpPr>
            <p:cNvPr id="11" name="Rounded Rectangle 2"/>
            <p:cNvSpPr/>
            <p:nvPr/>
          </p:nvSpPr>
          <p:spPr bwMode="auto">
            <a:xfrm>
              <a:off x="12698907" y="2345531"/>
              <a:ext cx="1029210" cy="609600"/>
            </a:xfrm>
            <a:custGeom>
              <a:avLst/>
              <a:gdLst/>
              <a:ahLst/>
              <a:cxnLst/>
              <a:rect l="l" t="t" r="r" b="b"/>
              <a:pathLst>
                <a:path w="1029210" h="609600">
                  <a:moveTo>
                    <a:pt x="64266" y="24489"/>
                  </a:moveTo>
                  <a:cubicBezTo>
                    <a:pt x="40276" y="24489"/>
                    <a:pt x="20829" y="43936"/>
                    <a:pt x="20829" y="67926"/>
                  </a:cubicBezTo>
                  <a:lnTo>
                    <a:pt x="20829" y="541674"/>
                  </a:lnTo>
                  <a:cubicBezTo>
                    <a:pt x="20829" y="565664"/>
                    <a:pt x="40276" y="585111"/>
                    <a:pt x="64266" y="585111"/>
                  </a:cubicBezTo>
                  <a:lnTo>
                    <a:pt x="964944" y="585111"/>
                  </a:lnTo>
                  <a:cubicBezTo>
                    <a:pt x="988934" y="585111"/>
                    <a:pt x="1008381" y="565664"/>
                    <a:pt x="1008381" y="541674"/>
                  </a:cubicBezTo>
                  <a:lnTo>
                    <a:pt x="1008381" y="67926"/>
                  </a:lnTo>
                  <a:cubicBezTo>
                    <a:pt x="1008381" y="43936"/>
                    <a:pt x="988934" y="24489"/>
                    <a:pt x="964944" y="24489"/>
                  </a:cubicBezTo>
                  <a:close/>
                  <a:moveTo>
                    <a:pt x="61118" y="0"/>
                  </a:moveTo>
                  <a:lnTo>
                    <a:pt x="968092" y="0"/>
                  </a:lnTo>
                  <a:cubicBezTo>
                    <a:pt x="1001847" y="0"/>
                    <a:pt x="1029210" y="27363"/>
                    <a:pt x="1029210" y="61118"/>
                  </a:cubicBezTo>
                  <a:lnTo>
                    <a:pt x="1029210" y="548482"/>
                  </a:lnTo>
                  <a:cubicBezTo>
                    <a:pt x="1029210" y="582237"/>
                    <a:pt x="1001847" y="609600"/>
                    <a:pt x="968092" y="609600"/>
                  </a:cubicBezTo>
                  <a:lnTo>
                    <a:pt x="61118" y="609600"/>
                  </a:lnTo>
                  <a:cubicBezTo>
                    <a:pt x="27363" y="609600"/>
                    <a:pt x="0" y="582237"/>
                    <a:pt x="0" y="548482"/>
                  </a:cubicBezTo>
                  <a:lnTo>
                    <a:pt x="0" y="61118"/>
                  </a:lnTo>
                  <a:cubicBezTo>
                    <a:pt x="0" y="27363"/>
                    <a:pt x="27363" y="0"/>
                    <a:pt x="61118" y="0"/>
                  </a:cubicBezTo>
                  <a:close/>
                </a:path>
              </a:pathLst>
            </a:custGeom>
            <a:solidFill>
              <a:schemeClr val="accent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ea typeface="ＭＳ Ｐゴシック" pitchFamily="-65" charset="-128"/>
              </a:endParaRPr>
            </a:p>
          </p:txBody>
        </p:sp>
        <p:sp>
          <p:nvSpPr>
            <p:cNvPr id="12" name="Rounded Rectangle 11"/>
            <p:cNvSpPr/>
            <p:nvPr/>
          </p:nvSpPr>
          <p:spPr bwMode="auto">
            <a:xfrm>
              <a:off x="12832512" y="2428875"/>
              <a:ext cx="381000" cy="27432"/>
            </a:xfrm>
            <a:prstGeom prst="roundRect">
              <a:avLst>
                <a:gd name="adj" fmla="val 50000"/>
              </a:avLst>
            </a:prstGeom>
            <a:solidFill>
              <a:schemeClr val="accent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ea typeface="ＭＳ Ｐゴシック" pitchFamily="-65" charset="-128"/>
              </a:endParaRPr>
            </a:p>
          </p:txBody>
        </p:sp>
        <p:sp>
          <p:nvSpPr>
            <p:cNvPr id="13" name="Rounded Rectangle 12"/>
            <p:cNvSpPr/>
            <p:nvPr/>
          </p:nvSpPr>
          <p:spPr bwMode="auto">
            <a:xfrm>
              <a:off x="13213512" y="2555081"/>
              <a:ext cx="381000" cy="27432"/>
            </a:xfrm>
            <a:prstGeom prst="roundRect">
              <a:avLst>
                <a:gd name="adj" fmla="val 50000"/>
              </a:avLst>
            </a:prstGeom>
            <a:solidFill>
              <a:schemeClr val="accent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ea typeface="ＭＳ Ｐゴシック" pitchFamily="-65" charset="-128"/>
              </a:endParaRPr>
            </a:p>
          </p:txBody>
        </p:sp>
        <p:sp>
          <p:nvSpPr>
            <p:cNvPr id="14" name="Rounded Rectangle 13"/>
            <p:cNvSpPr/>
            <p:nvPr/>
          </p:nvSpPr>
          <p:spPr bwMode="auto">
            <a:xfrm>
              <a:off x="13213512" y="2600325"/>
              <a:ext cx="381000" cy="27432"/>
            </a:xfrm>
            <a:prstGeom prst="roundRect">
              <a:avLst>
                <a:gd name="adj" fmla="val 50000"/>
              </a:avLst>
            </a:prstGeom>
            <a:solidFill>
              <a:schemeClr val="accent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ea typeface="ＭＳ Ｐゴシック" pitchFamily="-65" charset="-128"/>
              </a:endParaRPr>
            </a:p>
          </p:txBody>
        </p:sp>
        <p:sp>
          <p:nvSpPr>
            <p:cNvPr id="15" name="Rounded Rectangle 14"/>
            <p:cNvSpPr/>
            <p:nvPr/>
          </p:nvSpPr>
          <p:spPr bwMode="auto">
            <a:xfrm>
              <a:off x="13213512" y="2645569"/>
              <a:ext cx="381000" cy="27432"/>
            </a:xfrm>
            <a:prstGeom prst="roundRect">
              <a:avLst>
                <a:gd name="adj" fmla="val 50000"/>
              </a:avLst>
            </a:prstGeom>
            <a:solidFill>
              <a:schemeClr val="accent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ea typeface="ＭＳ Ｐゴシック" pitchFamily="-65" charset="-128"/>
              </a:endParaRPr>
            </a:p>
          </p:txBody>
        </p:sp>
        <p:sp>
          <p:nvSpPr>
            <p:cNvPr id="16" name="Rounded Rectangle 15"/>
            <p:cNvSpPr/>
            <p:nvPr/>
          </p:nvSpPr>
          <p:spPr bwMode="auto">
            <a:xfrm>
              <a:off x="13213512" y="2690813"/>
              <a:ext cx="381000" cy="27432"/>
            </a:xfrm>
            <a:prstGeom prst="roundRect">
              <a:avLst>
                <a:gd name="adj" fmla="val 50000"/>
              </a:avLst>
            </a:prstGeom>
            <a:solidFill>
              <a:schemeClr val="accent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ea typeface="ＭＳ Ｐゴシック" pitchFamily="-65" charset="-128"/>
              </a:endParaRPr>
            </a:p>
          </p:txBody>
        </p:sp>
        <p:sp>
          <p:nvSpPr>
            <p:cNvPr id="17" name="Rounded Rectangle 16"/>
            <p:cNvSpPr/>
            <p:nvPr/>
          </p:nvSpPr>
          <p:spPr bwMode="auto">
            <a:xfrm>
              <a:off x="13213512" y="2736057"/>
              <a:ext cx="381000" cy="27432"/>
            </a:xfrm>
            <a:prstGeom prst="roundRect">
              <a:avLst>
                <a:gd name="adj" fmla="val 50000"/>
              </a:avLst>
            </a:prstGeom>
            <a:solidFill>
              <a:schemeClr val="accent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ea typeface="ＭＳ Ｐゴシック" pitchFamily="-65" charset="-128"/>
              </a:endParaRPr>
            </a:p>
          </p:txBody>
        </p:sp>
        <p:sp>
          <p:nvSpPr>
            <p:cNvPr id="18" name="Rounded Rectangle 17"/>
            <p:cNvSpPr/>
            <p:nvPr/>
          </p:nvSpPr>
          <p:spPr bwMode="auto">
            <a:xfrm>
              <a:off x="12832512" y="2555081"/>
              <a:ext cx="182880" cy="27432"/>
            </a:xfrm>
            <a:prstGeom prst="roundRect">
              <a:avLst>
                <a:gd name="adj" fmla="val 50000"/>
              </a:avLst>
            </a:prstGeom>
            <a:solidFill>
              <a:schemeClr val="accent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ea typeface="ＭＳ Ｐゴシック" pitchFamily="-65" charset="-128"/>
              </a:endParaRPr>
            </a:p>
          </p:txBody>
        </p:sp>
        <p:sp>
          <p:nvSpPr>
            <p:cNvPr id="19" name="Rounded Rectangle 18"/>
            <p:cNvSpPr/>
            <p:nvPr/>
          </p:nvSpPr>
          <p:spPr bwMode="auto">
            <a:xfrm>
              <a:off x="12832512" y="2600325"/>
              <a:ext cx="182880" cy="27432"/>
            </a:xfrm>
            <a:prstGeom prst="roundRect">
              <a:avLst>
                <a:gd name="adj" fmla="val 50000"/>
              </a:avLst>
            </a:prstGeom>
            <a:solidFill>
              <a:schemeClr val="accent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ea typeface="ＭＳ Ｐゴシック" pitchFamily="-65" charset="-128"/>
              </a:endParaRPr>
            </a:p>
          </p:txBody>
        </p:sp>
        <p:sp>
          <p:nvSpPr>
            <p:cNvPr id="20" name="Rounded Rectangle 19"/>
            <p:cNvSpPr/>
            <p:nvPr/>
          </p:nvSpPr>
          <p:spPr bwMode="auto">
            <a:xfrm>
              <a:off x="12832512" y="2645569"/>
              <a:ext cx="182880" cy="27432"/>
            </a:xfrm>
            <a:prstGeom prst="roundRect">
              <a:avLst>
                <a:gd name="adj" fmla="val 50000"/>
              </a:avLst>
            </a:prstGeom>
            <a:solidFill>
              <a:schemeClr val="accent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ea typeface="ＭＳ Ｐゴシック" pitchFamily="-65" charset="-128"/>
              </a:endParaRPr>
            </a:p>
          </p:txBody>
        </p:sp>
      </p:grpSp>
      <p:sp>
        <p:nvSpPr>
          <p:cNvPr id="21" name="Rectangle 29"/>
          <p:cNvSpPr>
            <a:spLocks noChangeArrowheads="1"/>
          </p:cNvSpPr>
          <p:nvPr/>
        </p:nvSpPr>
        <p:spPr bwMode="auto">
          <a:xfrm>
            <a:off x="5604586" y="2809875"/>
            <a:ext cx="2568774" cy="944482"/>
          </a:xfrm>
          <a:prstGeom prst="rect">
            <a:avLst/>
          </a:prstGeom>
          <a:noFill/>
          <a:ln w="9525">
            <a:noFill/>
            <a:miter lim="800000"/>
            <a:headEnd/>
            <a:tailEnd/>
          </a:ln>
        </p:spPr>
        <p:txBody>
          <a:bodyPr lIns="68578" tIns="34289" rIns="68578" bIns="34289">
            <a:spAutoFit/>
          </a:bodyPr>
          <a:lstStyle/>
          <a:p>
            <a:pPr marL="2976" indent="-2976">
              <a:lnSpc>
                <a:spcPts val="2000"/>
              </a:lnSpc>
              <a:spcAft>
                <a:spcPts val="375"/>
              </a:spcAft>
              <a:defRPr/>
            </a:pPr>
            <a:r>
              <a:rPr lang="en-US" sz="1700" dirty="0">
                <a:latin typeface="Segoe UI Light" pitchFamily="34" charset="0"/>
              </a:rPr>
              <a:t>Connect and Provision</a:t>
            </a:r>
          </a:p>
          <a:p>
            <a:pPr marL="2976" indent="-2976">
              <a:lnSpc>
                <a:spcPts val="2000"/>
              </a:lnSpc>
              <a:spcAft>
                <a:spcPts val="375"/>
              </a:spcAft>
              <a:defRPr/>
            </a:pPr>
            <a:r>
              <a:rPr lang="en-US" sz="1700" dirty="0">
                <a:latin typeface="Segoe UI Light" pitchFamily="34" charset="0"/>
              </a:rPr>
              <a:t>Monitor and Manage</a:t>
            </a:r>
          </a:p>
          <a:p>
            <a:pPr marL="2976" indent="-2976">
              <a:lnSpc>
                <a:spcPts val="2000"/>
              </a:lnSpc>
              <a:spcAft>
                <a:spcPts val="375"/>
              </a:spcAft>
              <a:defRPr/>
            </a:pPr>
            <a:r>
              <a:rPr lang="en-US" sz="1700" dirty="0">
                <a:latin typeface="Segoe UI Light" pitchFamily="34" charset="0"/>
              </a:rPr>
              <a:t>Deploy and Future Proof</a:t>
            </a:r>
          </a:p>
        </p:txBody>
      </p:sp>
      <p:grpSp>
        <p:nvGrpSpPr>
          <p:cNvPr id="22" name="Group 21"/>
          <p:cNvGrpSpPr>
            <a:grpSpLocks noChangeAspect="1"/>
          </p:cNvGrpSpPr>
          <p:nvPr/>
        </p:nvGrpSpPr>
        <p:grpSpPr>
          <a:xfrm>
            <a:off x="6226135" y="1885950"/>
            <a:ext cx="939287" cy="800100"/>
            <a:chOff x="614363" y="2951162"/>
            <a:chExt cx="1660524" cy="1414463"/>
          </a:xfrm>
        </p:grpSpPr>
        <p:sp>
          <p:nvSpPr>
            <p:cNvPr id="23" name="Freeform 100"/>
            <p:cNvSpPr>
              <a:spLocks/>
            </p:cNvSpPr>
            <p:nvPr/>
          </p:nvSpPr>
          <p:spPr bwMode="auto">
            <a:xfrm>
              <a:off x="1303338" y="2951162"/>
              <a:ext cx="198437" cy="1414463"/>
            </a:xfrm>
            <a:custGeom>
              <a:avLst/>
              <a:gdLst>
                <a:gd name="T0" fmla="*/ 0 w 100"/>
                <a:gd name="T1" fmla="*/ 659 h 713"/>
                <a:gd name="T2" fmla="*/ 60 w 100"/>
                <a:gd name="T3" fmla="*/ 692 h 713"/>
                <a:gd name="T4" fmla="*/ 95 w 100"/>
                <a:gd name="T5" fmla="*/ 712 h 713"/>
                <a:gd name="T6" fmla="*/ 100 w 100"/>
                <a:gd name="T7" fmla="*/ 705 h 713"/>
                <a:gd name="T8" fmla="*/ 100 w 100"/>
                <a:gd name="T9" fmla="*/ 572 h 713"/>
                <a:gd name="T10" fmla="*/ 100 w 100"/>
                <a:gd name="T11" fmla="*/ 380 h 713"/>
                <a:gd name="T12" fmla="*/ 100 w 100"/>
                <a:gd name="T13" fmla="*/ 298 h 713"/>
                <a:gd name="T14" fmla="*/ 100 w 100"/>
                <a:gd name="T15" fmla="*/ 92 h 713"/>
                <a:gd name="T16" fmla="*/ 100 w 100"/>
                <a:gd name="T17" fmla="*/ 9 h 713"/>
                <a:gd name="T18" fmla="*/ 95 w 100"/>
                <a:gd name="T19" fmla="*/ 1 h 713"/>
                <a:gd name="T20" fmla="*/ 37 w 100"/>
                <a:gd name="T21" fmla="*/ 34 h 713"/>
                <a:gd name="T22" fmla="*/ 0 w 100"/>
                <a:gd name="T23" fmla="*/ 55 h 713"/>
                <a:gd name="T24" fmla="*/ 0 w 100"/>
                <a:gd name="T25" fmla="*/ 659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 h="713">
                  <a:moveTo>
                    <a:pt x="0" y="659"/>
                  </a:moveTo>
                  <a:cubicBezTo>
                    <a:pt x="19" y="670"/>
                    <a:pt x="40" y="681"/>
                    <a:pt x="60" y="692"/>
                  </a:cubicBezTo>
                  <a:cubicBezTo>
                    <a:pt x="72" y="699"/>
                    <a:pt x="84" y="705"/>
                    <a:pt x="95" y="712"/>
                  </a:cubicBezTo>
                  <a:cubicBezTo>
                    <a:pt x="98" y="713"/>
                    <a:pt x="100" y="710"/>
                    <a:pt x="100" y="705"/>
                  </a:cubicBezTo>
                  <a:cubicBezTo>
                    <a:pt x="100" y="660"/>
                    <a:pt x="100" y="616"/>
                    <a:pt x="100" y="572"/>
                  </a:cubicBezTo>
                  <a:cubicBezTo>
                    <a:pt x="100" y="508"/>
                    <a:pt x="100" y="444"/>
                    <a:pt x="100" y="380"/>
                  </a:cubicBezTo>
                  <a:cubicBezTo>
                    <a:pt x="100" y="353"/>
                    <a:pt x="100" y="325"/>
                    <a:pt x="100" y="298"/>
                  </a:cubicBezTo>
                  <a:cubicBezTo>
                    <a:pt x="100" y="229"/>
                    <a:pt x="100" y="161"/>
                    <a:pt x="100" y="92"/>
                  </a:cubicBezTo>
                  <a:cubicBezTo>
                    <a:pt x="100" y="64"/>
                    <a:pt x="100" y="36"/>
                    <a:pt x="100" y="9"/>
                  </a:cubicBezTo>
                  <a:cubicBezTo>
                    <a:pt x="100" y="4"/>
                    <a:pt x="98" y="0"/>
                    <a:pt x="95" y="1"/>
                  </a:cubicBezTo>
                  <a:cubicBezTo>
                    <a:pt x="76" y="12"/>
                    <a:pt x="57" y="23"/>
                    <a:pt x="37" y="34"/>
                  </a:cubicBezTo>
                  <a:cubicBezTo>
                    <a:pt x="25" y="41"/>
                    <a:pt x="12" y="48"/>
                    <a:pt x="0" y="55"/>
                  </a:cubicBezTo>
                  <a:lnTo>
                    <a:pt x="0" y="659"/>
                  </a:lnTo>
                  <a:close/>
                </a:path>
              </a:pathLst>
            </a:custGeom>
            <a:solidFill>
              <a:schemeClr val="accent1"/>
            </a:solidFill>
            <a:ln w="12700" cap="rnd">
              <a:noFill/>
              <a:prstDash val="solid"/>
              <a:headEnd type="oval"/>
            </a:ln>
            <a:effectLst/>
            <a:extLst>
              <a:ext uri="{91240B29-F687-4F45-9708-019B960494DF}">
                <a14:hiddenLine xmlns:a14="http://schemas.microsoft.com/office/drawing/2010/main" w="9525">
                  <a:solidFill>
                    <a:srgbClr val="000000"/>
                  </a:solidFill>
                  <a:round/>
                  <a:headEnd/>
                  <a:tailEnd/>
                </a14:hiddenLine>
              </a:ext>
            </a:extLst>
          </p:spPr>
          <p:style>
            <a:lnRef idx="1">
              <a:schemeClr val="accent1"/>
            </a:lnRef>
            <a:fillRef idx="0">
              <a:schemeClr val="accent1"/>
            </a:fillRef>
            <a:effectRef idx="0">
              <a:schemeClr val="accent1"/>
            </a:effectRef>
            <a:fontRef idx="minor">
              <a:schemeClr val="tx1"/>
            </a:fontRef>
          </p:style>
          <p:txBody>
            <a:bodyPr anchor="ctr"/>
            <a:lstStyle/>
            <a:p>
              <a:pPr algn="ctr"/>
              <a:endParaRPr lang="en-US">
                <a:ea typeface="ＭＳ Ｐゴシック" pitchFamily="-65" charset="-128"/>
              </a:endParaRPr>
            </a:p>
          </p:txBody>
        </p:sp>
        <p:sp>
          <p:nvSpPr>
            <p:cNvPr id="24" name="Freeform 101"/>
            <p:cNvSpPr>
              <a:spLocks/>
            </p:cNvSpPr>
            <p:nvPr/>
          </p:nvSpPr>
          <p:spPr bwMode="auto">
            <a:xfrm>
              <a:off x="1787525" y="2951162"/>
              <a:ext cx="198437" cy="1414463"/>
            </a:xfrm>
            <a:custGeom>
              <a:avLst/>
              <a:gdLst>
                <a:gd name="T0" fmla="*/ 0 w 100"/>
                <a:gd name="T1" fmla="*/ 659 h 713"/>
                <a:gd name="T2" fmla="*/ 60 w 100"/>
                <a:gd name="T3" fmla="*/ 692 h 713"/>
                <a:gd name="T4" fmla="*/ 96 w 100"/>
                <a:gd name="T5" fmla="*/ 712 h 713"/>
                <a:gd name="T6" fmla="*/ 100 w 100"/>
                <a:gd name="T7" fmla="*/ 705 h 713"/>
                <a:gd name="T8" fmla="*/ 100 w 100"/>
                <a:gd name="T9" fmla="*/ 572 h 713"/>
                <a:gd name="T10" fmla="*/ 100 w 100"/>
                <a:gd name="T11" fmla="*/ 380 h 713"/>
                <a:gd name="T12" fmla="*/ 100 w 100"/>
                <a:gd name="T13" fmla="*/ 298 h 713"/>
                <a:gd name="T14" fmla="*/ 100 w 100"/>
                <a:gd name="T15" fmla="*/ 92 h 713"/>
                <a:gd name="T16" fmla="*/ 100 w 100"/>
                <a:gd name="T17" fmla="*/ 9 h 713"/>
                <a:gd name="T18" fmla="*/ 96 w 100"/>
                <a:gd name="T19" fmla="*/ 1 h 713"/>
                <a:gd name="T20" fmla="*/ 37 w 100"/>
                <a:gd name="T21" fmla="*/ 34 h 713"/>
                <a:gd name="T22" fmla="*/ 0 w 100"/>
                <a:gd name="T23" fmla="*/ 55 h 713"/>
                <a:gd name="T24" fmla="*/ 0 w 100"/>
                <a:gd name="T25" fmla="*/ 659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 h="713">
                  <a:moveTo>
                    <a:pt x="0" y="659"/>
                  </a:moveTo>
                  <a:cubicBezTo>
                    <a:pt x="20" y="670"/>
                    <a:pt x="40" y="681"/>
                    <a:pt x="60" y="692"/>
                  </a:cubicBezTo>
                  <a:cubicBezTo>
                    <a:pt x="72" y="699"/>
                    <a:pt x="84" y="705"/>
                    <a:pt x="96" y="712"/>
                  </a:cubicBezTo>
                  <a:cubicBezTo>
                    <a:pt x="98" y="713"/>
                    <a:pt x="100" y="710"/>
                    <a:pt x="100" y="705"/>
                  </a:cubicBezTo>
                  <a:cubicBezTo>
                    <a:pt x="100" y="660"/>
                    <a:pt x="100" y="616"/>
                    <a:pt x="100" y="572"/>
                  </a:cubicBezTo>
                  <a:cubicBezTo>
                    <a:pt x="100" y="508"/>
                    <a:pt x="100" y="444"/>
                    <a:pt x="100" y="380"/>
                  </a:cubicBezTo>
                  <a:cubicBezTo>
                    <a:pt x="100" y="353"/>
                    <a:pt x="100" y="325"/>
                    <a:pt x="100" y="298"/>
                  </a:cubicBezTo>
                  <a:cubicBezTo>
                    <a:pt x="100" y="229"/>
                    <a:pt x="100" y="161"/>
                    <a:pt x="100" y="92"/>
                  </a:cubicBezTo>
                  <a:cubicBezTo>
                    <a:pt x="100" y="64"/>
                    <a:pt x="100" y="36"/>
                    <a:pt x="100" y="9"/>
                  </a:cubicBezTo>
                  <a:cubicBezTo>
                    <a:pt x="100" y="4"/>
                    <a:pt x="98" y="0"/>
                    <a:pt x="96" y="1"/>
                  </a:cubicBezTo>
                  <a:cubicBezTo>
                    <a:pt x="76" y="12"/>
                    <a:pt x="57" y="23"/>
                    <a:pt x="37" y="34"/>
                  </a:cubicBezTo>
                  <a:cubicBezTo>
                    <a:pt x="25" y="41"/>
                    <a:pt x="12" y="48"/>
                    <a:pt x="0" y="55"/>
                  </a:cubicBezTo>
                  <a:lnTo>
                    <a:pt x="0" y="659"/>
                  </a:lnTo>
                  <a:close/>
                </a:path>
              </a:pathLst>
            </a:custGeom>
            <a:solidFill>
              <a:schemeClr val="accent1"/>
            </a:solidFill>
            <a:ln w="12700" cap="rnd">
              <a:noFill/>
              <a:prstDash val="solid"/>
              <a:headEnd type="oval"/>
            </a:ln>
            <a:effectLst/>
            <a:extLst>
              <a:ext uri="{91240B29-F687-4F45-9708-019B960494DF}">
                <a14:hiddenLine xmlns:a14="http://schemas.microsoft.com/office/drawing/2010/main" w="9525">
                  <a:solidFill>
                    <a:srgbClr val="000000"/>
                  </a:solidFill>
                  <a:round/>
                  <a:headEnd/>
                  <a:tailEnd/>
                </a14:hiddenLine>
              </a:ext>
            </a:extLst>
          </p:spPr>
          <p:style>
            <a:lnRef idx="1">
              <a:schemeClr val="accent1"/>
            </a:lnRef>
            <a:fillRef idx="0">
              <a:schemeClr val="accent1"/>
            </a:fillRef>
            <a:effectRef idx="0">
              <a:schemeClr val="accent1"/>
            </a:effectRef>
            <a:fontRef idx="minor">
              <a:schemeClr val="tx1"/>
            </a:fontRef>
          </p:style>
          <p:txBody>
            <a:bodyPr anchor="ctr"/>
            <a:lstStyle/>
            <a:p>
              <a:pPr algn="ctr"/>
              <a:endParaRPr lang="en-US">
                <a:ea typeface="ＭＳ Ｐゴシック" pitchFamily="-65" charset="-128"/>
              </a:endParaRPr>
            </a:p>
          </p:txBody>
        </p:sp>
        <p:sp>
          <p:nvSpPr>
            <p:cNvPr id="25" name="Freeform 102"/>
            <p:cNvSpPr>
              <a:spLocks/>
            </p:cNvSpPr>
            <p:nvPr/>
          </p:nvSpPr>
          <p:spPr bwMode="auto">
            <a:xfrm>
              <a:off x="2022475" y="2952750"/>
              <a:ext cx="252412" cy="1411288"/>
            </a:xfrm>
            <a:custGeom>
              <a:avLst/>
              <a:gdLst/>
              <a:ahLst/>
              <a:cxnLst/>
              <a:rect l="l" t="t" r="r" b="b"/>
              <a:pathLst>
                <a:path w="252412" h="1411288">
                  <a:moveTo>
                    <a:pt x="126207" y="1214438"/>
                  </a:moveTo>
                  <a:cubicBezTo>
                    <a:pt x="101219" y="1214438"/>
                    <a:pt x="80963" y="1234339"/>
                    <a:pt x="80963" y="1258888"/>
                  </a:cubicBezTo>
                  <a:cubicBezTo>
                    <a:pt x="80963" y="1283437"/>
                    <a:pt x="101219" y="1303338"/>
                    <a:pt x="126207" y="1303338"/>
                  </a:cubicBezTo>
                  <a:cubicBezTo>
                    <a:pt x="151195" y="1303338"/>
                    <a:pt x="171451" y="1283437"/>
                    <a:pt x="171451" y="1258888"/>
                  </a:cubicBezTo>
                  <a:cubicBezTo>
                    <a:pt x="171451" y="1234339"/>
                    <a:pt x="151195" y="1214438"/>
                    <a:pt x="126207" y="1214438"/>
                  </a:cubicBezTo>
                  <a:close/>
                  <a:moveTo>
                    <a:pt x="126207" y="420688"/>
                  </a:moveTo>
                  <a:cubicBezTo>
                    <a:pt x="101219" y="420688"/>
                    <a:pt x="80963" y="441300"/>
                    <a:pt x="80963" y="466726"/>
                  </a:cubicBezTo>
                  <a:cubicBezTo>
                    <a:pt x="80963" y="492152"/>
                    <a:pt x="101219" y="512764"/>
                    <a:pt x="126207" y="512764"/>
                  </a:cubicBezTo>
                  <a:cubicBezTo>
                    <a:pt x="151195" y="512764"/>
                    <a:pt x="171451" y="492152"/>
                    <a:pt x="171451" y="466726"/>
                  </a:cubicBezTo>
                  <a:cubicBezTo>
                    <a:pt x="171451" y="441300"/>
                    <a:pt x="151195" y="420688"/>
                    <a:pt x="126207" y="420688"/>
                  </a:cubicBezTo>
                  <a:close/>
                  <a:moveTo>
                    <a:pt x="126207" y="263525"/>
                  </a:moveTo>
                  <a:cubicBezTo>
                    <a:pt x="101219" y="263525"/>
                    <a:pt x="80963" y="284137"/>
                    <a:pt x="80963" y="309563"/>
                  </a:cubicBezTo>
                  <a:cubicBezTo>
                    <a:pt x="80963" y="334989"/>
                    <a:pt x="101219" y="355601"/>
                    <a:pt x="126207" y="355601"/>
                  </a:cubicBezTo>
                  <a:cubicBezTo>
                    <a:pt x="151195" y="355601"/>
                    <a:pt x="171451" y="334989"/>
                    <a:pt x="171451" y="309563"/>
                  </a:cubicBezTo>
                  <a:cubicBezTo>
                    <a:pt x="171451" y="284137"/>
                    <a:pt x="151195" y="263525"/>
                    <a:pt x="126207" y="263525"/>
                  </a:cubicBezTo>
                  <a:close/>
                  <a:moveTo>
                    <a:pt x="126207" y="107950"/>
                  </a:moveTo>
                  <a:cubicBezTo>
                    <a:pt x="101219" y="107950"/>
                    <a:pt x="80963" y="128206"/>
                    <a:pt x="80963" y="153194"/>
                  </a:cubicBezTo>
                  <a:cubicBezTo>
                    <a:pt x="80963" y="178182"/>
                    <a:pt x="101219" y="198438"/>
                    <a:pt x="126207" y="198438"/>
                  </a:cubicBezTo>
                  <a:cubicBezTo>
                    <a:pt x="151195" y="198438"/>
                    <a:pt x="171451" y="178182"/>
                    <a:pt x="171451" y="153194"/>
                  </a:cubicBezTo>
                  <a:cubicBezTo>
                    <a:pt x="171451" y="128206"/>
                    <a:pt x="151195" y="107950"/>
                    <a:pt x="126207" y="107950"/>
                  </a:cubicBezTo>
                  <a:close/>
                  <a:moveTo>
                    <a:pt x="15900" y="0"/>
                  </a:moveTo>
                  <a:cubicBezTo>
                    <a:pt x="89437" y="0"/>
                    <a:pt x="162975" y="0"/>
                    <a:pt x="238500" y="0"/>
                  </a:cubicBezTo>
                  <a:cubicBezTo>
                    <a:pt x="242475" y="0"/>
                    <a:pt x="246450" y="1985"/>
                    <a:pt x="248437" y="3970"/>
                  </a:cubicBezTo>
                  <a:cubicBezTo>
                    <a:pt x="250425" y="5955"/>
                    <a:pt x="252412" y="9925"/>
                    <a:pt x="252412" y="15880"/>
                  </a:cubicBezTo>
                  <a:cubicBezTo>
                    <a:pt x="252412" y="45654"/>
                    <a:pt x="252412" y="77413"/>
                    <a:pt x="252412" y="109171"/>
                  </a:cubicBezTo>
                  <a:cubicBezTo>
                    <a:pt x="252412" y="220328"/>
                    <a:pt x="252412" y="331484"/>
                    <a:pt x="252412" y="442640"/>
                  </a:cubicBezTo>
                  <a:cubicBezTo>
                    <a:pt x="252412" y="585556"/>
                    <a:pt x="252412" y="726486"/>
                    <a:pt x="252412" y="869401"/>
                  </a:cubicBezTo>
                  <a:cubicBezTo>
                    <a:pt x="252412" y="992467"/>
                    <a:pt x="252412" y="1115533"/>
                    <a:pt x="252412" y="1238599"/>
                  </a:cubicBezTo>
                  <a:cubicBezTo>
                    <a:pt x="252412" y="1292192"/>
                    <a:pt x="252412" y="1343800"/>
                    <a:pt x="252412" y="1397394"/>
                  </a:cubicBezTo>
                  <a:cubicBezTo>
                    <a:pt x="252412" y="1405333"/>
                    <a:pt x="246450" y="1411288"/>
                    <a:pt x="238500" y="1411288"/>
                  </a:cubicBezTo>
                  <a:cubicBezTo>
                    <a:pt x="162975" y="1411288"/>
                    <a:pt x="89437" y="1411288"/>
                    <a:pt x="15900" y="1411288"/>
                  </a:cubicBezTo>
                  <a:cubicBezTo>
                    <a:pt x="5963" y="1411288"/>
                    <a:pt x="0" y="1405333"/>
                    <a:pt x="0" y="1397394"/>
                  </a:cubicBezTo>
                  <a:cubicBezTo>
                    <a:pt x="0" y="1365635"/>
                    <a:pt x="0" y="1333876"/>
                    <a:pt x="0" y="1302117"/>
                  </a:cubicBezTo>
                  <a:cubicBezTo>
                    <a:pt x="0" y="1190960"/>
                    <a:pt x="0" y="1079804"/>
                    <a:pt x="0" y="970633"/>
                  </a:cubicBezTo>
                  <a:cubicBezTo>
                    <a:pt x="0" y="827718"/>
                    <a:pt x="0" y="684802"/>
                    <a:pt x="0" y="541887"/>
                  </a:cubicBezTo>
                  <a:cubicBezTo>
                    <a:pt x="0" y="418821"/>
                    <a:pt x="0" y="295755"/>
                    <a:pt x="0" y="172689"/>
                  </a:cubicBezTo>
                  <a:cubicBezTo>
                    <a:pt x="0" y="119096"/>
                    <a:pt x="0" y="67488"/>
                    <a:pt x="0" y="15880"/>
                  </a:cubicBezTo>
                  <a:cubicBezTo>
                    <a:pt x="0" y="5955"/>
                    <a:pt x="5963" y="0"/>
                    <a:pt x="15900" y="0"/>
                  </a:cubicBezTo>
                  <a:close/>
                </a:path>
              </a:pathLst>
            </a:custGeom>
            <a:solidFill>
              <a:schemeClr val="accent1"/>
            </a:solidFill>
            <a:ln w="12700" cap="rnd">
              <a:noFill/>
              <a:prstDash val="solid"/>
              <a:headEnd type="oval"/>
            </a:ln>
            <a:effectLst/>
            <a:extLst>
              <a:ext uri="{91240B29-F687-4F45-9708-019B960494DF}">
                <a14:hiddenLine xmlns:a14="http://schemas.microsoft.com/office/drawing/2010/main" w="9525">
                  <a:solidFill>
                    <a:srgbClr val="000000"/>
                  </a:solidFill>
                  <a:round/>
                  <a:headEnd/>
                  <a:tailEnd/>
                </a14:hiddenLine>
              </a:ext>
            </a:extLst>
          </p:spPr>
          <p:style>
            <a:lnRef idx="1">
              <a:schemeClr val="accent1"/>
            </a:lnRef>
            <a:fillRef idx="0">
              <a:schemeClr val="accent1"/>
            </a:fillRef>
            <a:effectRef idx="0">
              <a:schemeClr val="accent1"/>
            </a:effectRef>
            <a:fontRef idx="minor">
              <a:schemeClr val="tx1"/>
            </a:fontRef>
          </p:style>
          <p:txBody>
            <a:bodyPr anchor="ctr"/>
            <a:lstStyle/>
            <a:p>
              <a:pPr algn="ctr"/>
              <a:endParaRPr lang="en-US">
                <a:ea typeface="ＭＳ Ｐゴシック" pitchFamily="-65" charset="-128"/>
              </a:endParaRPr>
            </a:p>
          </p:txBody>
        </p:sp>
        <p:sp>
          <p:nvSpPr>
            <p:cNvPr id="26" name="Freeform 107"/>
            <p:cNvSpPr>
              <a:spLocks/>
            </p:cNvSpPr>
            <p:nvPr/>
          </p:nvSpPr>
          <p:spPr bwMode="auto">
            <a:xfrm>
              <a:off x="1536700" y="2952750"/>
              <a:ext cx="250825" cy="1411288"/>
            </a:xfrm>
            <a:custGeom>
              <a:avLst/>
              <a:gdLst/>
              <a:ahLst/>
              <a:cxnLst/>
              <a:rect l="l" t="t" r="r" b="b"/>
              <a:pathLst>
                <a:path w="250825" h="1411288">
                  <a:moveTo>
                    <a:pt x="126207" y="1214438"/>
                  </a:moveTo>
                  <a:cubicBezTo>
                    <a:pt x="101219" y="1214438"/>
                    <a:pt x="80963" y="1234339"/>
                    <a:pt x="80963" y="1258888"/>
                  </a:cubicBezTo>
                  <a:cubicBezTo>
                    <a:pt x="80963" y="1283437"/>
                    <a:pt x="101219" y="1303338"/>
                    <a:pt x="126207" y="1303338"/>
                  </a:cubicBezTo>
                  <a:cubicBezTo>
                    <a:pt x="151195" y="1303338"/>
                    <a:pt x="171451" y="1283437"/>
                    <a:pt x="171451" y="1258888"/>
                  </a:cubicBezTo>
                  <a:cubicBezTo>
                    <a:pt x="171451" y="1234339"/>
                    <a:pt x="151195" y="1214438"/>
                    <a:pt x="126207" y="1214438"/>
                  </a:cubicBezTo>
                  <a:close/>
                  <a:moveTo>
                    <a:pt x="126207" y="420688"/>
                  </a:moveTo>
                  <a:cubicBezTo>
                    <a:pt x="101219" y="420688"/>
                    <a:pt x="80963" y="441300"/>
                    <a:pt x="80963" y="466726"/>
                  </a:cubicBezTo>
                  <a:cubicBezTo>
                    <a:pt x="80963" y="492152"/>
                    <a:pt x="101219" y="512764"/>
                    <a:pt x="126207" y="512764"/>
                  </a:cubicBezTo>
                  <a:cubicBezTo>
                    <a:pt x="151195" y="512764"/>
                    <a:pt x="171451" y="492152"/>
                    <a:pt x="171451" y="466726"/>
                  </a:cubicBezTo>
                  <a:cubicBezTo>
                    <a:pt x="171451" y="441300"/>
                    <a:pt x="151195" y="420688"/>
                    <a:pt x="126207" y="420688"/>
                  </a:cubicBezTo>
                  <a:close/>
                  <a:moveTo>
                    <a:pt x="126207" y="263525"/>
                  </a:moveTo>
                  <a:cubicBezTo>
                    <a:pt x="101219" y="263525"/>
                    <a:pt x="80963" y="284137"/>
                    <a:pt x="80963" y="309563"/>
                  </a:cubicBezTo>
                  <a:cubicBezTo>
                    <a:pt x="80963" y="334989"/>
                    <a:pt x="101219" y="355601"/>
                    <a:pt x="126207" y="355601"/>
                  </a:cubicBezTo>
                  <a:cubicBezTo>
                    <a:pt x="151195" y="355601"/>
                    <a:pt x="171451" y="334989"/>
                    <a:pt x="171451" y="309563"/>
                  </a:cubicBezTo>
                  <a:cubicBezTo>
                    <a:pt x="171451" y="284137"/>
                    <a:pt x="151195" y="263525"/>
                    <a:pt x="126207" y="263525"/>
                  </a:cubicBezTo>
                  <a:close/>
                  <a:moveTo>
                    <a:pt x="126207" y="107950"/>
                  </a:moveTo>
                  <a:cubicBezTo>
                    <a:pt x="101219" y="107950"/>
                    <a:pt x="80963" y="128206"/>
                    <a:pt x="80963" y="153194"/>
                  </a:cubicBezTo>
                  <a:cubicBezTo>
                    <a:pt x="80963" y="178182"/>
                    <a:pt x="101219" y="198438"/>
                    <a:pt x="126207" y="198438"/>
                  </a:cubicBezTo>
                  <a:cubicBezTo>
                    <a:pt x="151195" y="198438"/>
                    <a:pt x="171451" y="178182"/>
                    <a:pt x="171451" y="153194"/>
                  </a:cubicBezTo>
                  <a:cubicBezTo>
                    <a:pt x="171451" y="128206"/>
                    <a:pt x="151195" y="107950"/>
                    <a:pt x="126207" y="107950"/>
                  </a:cubicBezTo>
                  <a:close/>
                  <a:moveTo>
                    <a:pt x="15800" y="0"/>
                  </a:moveTo>
                  <a:cubicBezTo>
                    <a:pt x="88875" y="0"/>
                    <a:pt x="161950" y="0"/>
                    <a:pt x="237000" y="0"/>
                  </a:cubicBezTo>
                  <a:cubicBezTo>
                    <a:pt x="240950" y="0"/>
                    <a:pt x="244900" y="1985"/>
                    <a:pt x="246875" y="3970"/>
                  </a:cubicBezTo>
                  <a:cubicBezTo>
                    <a:pt x="250825" y="5955"/>
                    <a:pt x="250825" y="9925"/>
                    <a:pt x="250825" y="15880"/>
                  </a:cubicBezTo>
                  <a:cubicBezTo>
                    <a:pt x="250825" y="45654"/>
                    <a:pt x="250825" y="77413"/>
                    <a:pt x="250825" y="109171"/>
                  </a:cubicBezTo>
                  <a:cubicBezTo>
                    <a:pt x="250825" y="220328"/>
                    <a:pt x="250825" y="331484"/>
                    <a:pt x="250825" y="442640"/>
                  </a:cubicBezTo>
                  <a:cubicBezTo>
                    <a:pt x="250825" y="585556"/>
                    <a:pt x="250825" y="726486"/>
                    <a:pt x="250825" y="869401"/>
                  </a:cubicBezTo>
                  <a:cubicBezTo>
                    <a:pt x="250825" y="992467"/>
                    <a:pt x="250825" y="1115533"/>
                    <a:pt x="250825" y="1238599"/>
                  </a:cubicBezTo>
                  <a:cubicBezTo>
                    <a:pt x="250825" y="1292192"/>
                    <a:pt x="250825" y="1343800"/>
                    <a:pt x="250825" y="1397394"/>
                  </a:cubicBezTo>
                  <a:cubicBezTo>
                    <a:pt x="250825" y="1405333"/>
                    <a:pt x="244900" y="1411288"/>
                    <a:pt x="237000" y="1411288"/>
                  </a:cubicBezTo>
                  <a:cubicBezTo>
                    <a:pt x="161950" y="1411288"/>
                    <a:pt x="88875" y="1411288"/>
                    <a:pt x="15800" y="1411288"/>
                  </a:cubicBezTo>
                  <a:cubicBezTo>
                    <a:pt x="7900" y="1411288"/>
                    <a:pt x="0" y="1405333"/>
                    <a:pt x="0" y="1397394"/>
                  </a:cubicBezTo>
                  <a:cubicBezTo>
                    <a:pt x="0" y="1365635"/>
                    <a:pt x="0" y="1333876"/>
                    <a:pt x="0" y="1302117"/>
                  </a:cubicBezTo>
                  <a:cubicBezTo>
                    <a:pt x="0" y="1190960"/>
                    <a:pt x="0" y="1079804"/>
                    <a:pt x="0" y="970633"/>
                  </a:cubicBezTo>
                  <a:cubicBezTo>
                    <a:pt x="0" y="827718"/>
                    <a:pt x="0" y="684802"/>
                    <a:pt x="0" y="541887"/>
                  </a:cubicBezTo>
                  <a:cubicBezTo>
                    <a:pt x="0" y="418821"/>
                    <a:pt x="0" y="295755"/>
                    <a:pt x="0" y="172689"/>
                  </a:cubicBezTo>
                  <a:cubicBezTo>
                    <a:pt x="0" y="119096"/>
                    <a:pt x="0" y="67488"/>
                    <a:pt x="0" y="15880"/>
                  </a:cubicBezTo>
                  <a:cubicBezTo>
                    <a:pt x="0" y="5955"/>
                    <a:pt x="7900" y="0"/>
                    <a:pt x="15800" y="0"/>
                  </a:cubicBezTo>
                  <a:close/>
                </a:path>
              </a:pathLst>
            </a:custGeom>
            <a:solidFill>
              <a:schemeClr val="accent1"/>
            </a:solidFill>
            <a:ln w="12700" cap="rnd">
              <a:noFill/>
              <a:prstDash val="solid"/>
              <a:headEnd type="oval"/>
            </a:ln>
            <a:effectLst/>
            <a:extLst>
              <a:ext uri="{91240B29-F687-4F45-9708-019B960494DF}">
                <a14:hiddenLine xmlns:a14="http://schemas.microsoft.com/office/drawing/2010/main" w="9525">
                  <a:solidFill>
                    <a:srgbClr val="000000"/>
                  </a:solidFill>
                  <a:round/>
                  <a:headEnd/>
                  <a:tailEnd/>
                </a14:hiddenLine>
              </a:ext>
            </a:extLst>
          </p:spPr>
          <p:style>
            <a:lnRef idx="1">
              <a:schemeClr val="accent1"/>
            </a:lnRef>
            <a:fillRef idx="0">
              <a:schemeClr val="accent1"/>
            </a:fillRef>
            <a:effectRef idx="0">
              <a:schemeClr val="accent1"/>
            </a:effectRef>
            <a:fontRef idx="minor">
              <a:schemeClr val="tx1"/>
            </a:fontRef>
          </p:style>
          <p:txBody>
            <a:bodyPr anchor="ctr"/>
            <a:lstStyle/>
            <a:p>
              <a:pPr algn="ctr"/>
              <a:endParaRPr lang="en-US">
                <a:ea typeface="ＭＳ Ｐゴシック" pitchFamily="-65" charset="-128"/>
              </a:endParaRPr>
            </a:p>
          </p:txBody>
        </p:sp>
        <p:sp>
          <p:nvSpPr>
            <p:cNvPr id="27" name="Freeform 112"/>
            <p:cNvSpPr>
              <a:spLocks/>
            </p:cNvSpPr>
            <p:nvPr/>
          </p:nvSpPr>
          <p:spPr bwMode="auto">
            <a:xfrm>
              <a:off x="614363" y="2951162"/>
              <a:ext cx="401637" cy="1414463"/>
            </a:xfrm>
            <a:custGeom>
              <a:avLst/>
              <a:gdLst>
                <a:gd name="T0" fmla="*/ 197 w 202"/>
                <a:gd name="T1" fmla="*/ 1 h 713"/>
                <a:gd name="T2" fmla="*/ 139 w 202"/>
                <a:gd name="T3" fmla="*/ 34 h 713"/>
                <a:gd name="T4" fmla="*/ 39 w 202"/>
                <a:gd name="T5" fmla="*/ 90 h 713"/>
                <a:gd name="T6" fmla="*/ 3 w 202"/>
                <a:gd name="T7" fmla="*/ 110 h 713"/>
                <a:gd name="T8" fmla="*/ 1 w 202"/>
                <a:gd name="T9" fmla="*/ 112 h 713"/>
                <a:gd name="T10" fmla="*/ 0 w 202"/>
                <a:gd name="T11" fmla="*/ 117 h 713"/>
                <a:gd name="T12" fmla="*/ 0 w 202"/>
                <a:gd name="T13" fmla="*/ 276 h 713"/>
                <a:gd name="T14" fmla="*/ 0 w 202"/>
                <a:gd name="T15" fmla="*/ 386 h 713"/>
                <a:gd name="T16" fmla="*/ 0 w 202"/>
                <a:gd name="T17" fmla="*/ 577 h 713"/>
                <a:gd name="T18" fmla="*/ 0 w 202"/>
                <a:gd name="T19" fmla="*/ 596 h 713"/>
                <a:gd name="T20" fmla="*/ 3 w 202"/>
                <a:gd name="T21" fmla="*/ 603 h 713"/>
                <a:gd name="T22" fmla="*/ 61 w 202"/>
                <a:gd name="T23" fmla="*/ 636 h 713"/>
                <a:gd name="T24" fmla="*/ 161 w 202"/>
                <a:gd name="T25" fmla="*/ 692 h 713"/>
                <a:gd name="T26" fmla="*/ 197 w 202"/>
                <a:gd name="T27" fmla="*/ 712 h 713"/>
                <a:gd name="T28" fmla="*/ 202 w 202"/>
                <a:gd name="T29" fmla="*/ 705 h 713"/>
                <a:gd name="T30" fmla="*/ 202 w 202"/>
                <a:gd name="T31" fmla="*/ 572 h 713"/>
                <a:gd name="T32" fmla="*/ 202 w 202"/>
                <a:gd name="T33" fmla="*/ 380 h 713"/>
                <a:gd name="T34" fmla="*/ 202 w 202"/>
                <a:gd name="T35" fmla="*/ 298 h 713"/>
                <a:gd name="T36" fmla="*/ 202 w 202"/>
                <a:gd name="T37" fmla="*/ 92 h 713"/>
                <a:gd name="T38" fmla="*/ 202 w 202"/>
                <a:gd name="T39" fmla="*/ 9 h 713"/>
                <a:gd name="T40" fmla="*/ 197 w 202"/>
                <a:gd name="T41" fmla="*/ 1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2" h="713">
                  <a:moveTo>
                    <a:pt x="197" y="1"/>
                  </a:moveTo>
                  <a:cubicBezTo>
                    <a:pt x="178" y="12"/>
                    <a:pt x="158" y="23"/>
                    <a:pt x="139" y="34"/>
                  </a:cubicBezTo>
                  <a:cubicBezTo>
                    <a:pt x="105" y="52"/>
                    <a:pt x="72" y="71"/>
                    <a:pt x="39" y="90"/>
                  </a:cubicBezTo>
                  <a:cubicBezTo>
                    <a:pt x="27" y="97"/>
                    <a:pt x="15" y="103"/>
                    <a:pt x="3" y="110"/>
                  </a:cubicBezTo>
                  <a:cubicBezTo>
                    <a:pt x="2" y="110"/>
                    <a:pt x="1" y="111"/>
                    <a:pt x="1" y="112"/>
                  </a:cubicBezTo>
                  <a:cubicBezTo>
                    <a:pt x="1" y="114"/>
                    <a:pt x="0" y="115"/>
                    <a:pt x="0" y="117"/>
                  </a:cubicBezTo>
                  <a:cubicBezTo>
                    <a:pt x="0" y="170"/>
                    <a:pt x="0" y="223"/>
                    <a:pt x="0" y="276"/>
                  </a:cubicBezTo>
                  <a:cubicBezTo>
                    <a:pt x="0" y="313"/>
                    <a:pt x="0" y="349"/>
                    <a:pt x="0" y="386"/>
                  </a:cubicBezTo>
                  <a:cubicBezTo>
                    <a:pt x="0" y="450"/>
                    <a:pt x="0" y="514"/>
                    <a:pt x="0" y="577"/>
                  </a:cubicBezTo>
                  <a:cubicBezTo>
                    <a:pt x="0" y="584"/>
                    <a:pt x="0" y="590"/>
                    <a:pt x="0" y="596"/>
                  </a:cubicBezTo>
                  <a:cubicBezTo>
                    <a:pt x="0" y="599"/>
                    <a:pt x="1" y="602"/>
                    <a:pt x="3" y="603"/>
                  </a:cubicBezTo>
                  <a:cubicBezTo>
                    <a:pt x="22" y="614"/>
                    <a:pt x="42" y="625"/>
                    <a:pt x="61" y="636"/>
                  </a:cubicBezTo>
                  <a:cubicBezTo>
                    <a:pt x="95" y="655"/>
                    <a:pt x="128" y="673"/>
                    <a:pt x="161" y="692"/>
                  </a:cubicBezTo>
                  <a:cubicBezTo>
                    <a:pt x="173" y="699"/>
                    <a:pt x="185" y="705"/>
                    <a:pt x="197" y="712"/>
                  </a:cubicBezTo>
                  <a:cubicBezTo>
                    <a:pt x="199" y="713"/>
                    <a:pt x="202" y="710"/>
                    <a:pt x="202" y="705"/>
                  </a:cubicBezTo>
                  <a:cubicBezTo>
                    <a:pt x="202" y="660"/>
                    <a:pt x="202" y="616"/>
                    <a:pt x="202" y="572"/>
                  </a:cubicBezTo>
                  <a:cubicBezTo>
                    <a:pt x="202" y="508"/>
                    <a:pt x="202" y="444"/>
                    <a:pt x="202" y="380"/>
                  </a:cubicBezTo>
                  <a:cubicBezTo>
                    <a:pt x="202" y="353"/>
                    <a:pt x="202" y="325"/>
                    <a:pt x="202" y="298"/>
                  </a:cubicBezTo>
                  <a:cubicBezTo>
                    <a:pt x="202" y="229"/>
                    <a:pt x="202" y="161"/>
                    <a:pt x="202" y="92"/>
                  </a:cubicBezTo>
                  <a:cubicBezTo>
                    <a:pt x="202" y="64"/>
                    <a:pt x="202" y="36"/>
                    <a:pt x="202" y="9"/>
                  </a:cubicBezTo>
                  <a:cubicBezTo>
                    <a:pt x="202" y="4"/>
                    <a:pt x="199" y="0"/>
                    <a:pt x="197" y="1"/>
                  </a:cubicBezTo>
                  <a:close/>
                </a:path>
              </a:pathLst>
            </a:custGeom>
            <a:solidFill>
              <a:schemeClr val="accent1"/>
            </a:solidFill>
            <a:ln w="12700" cap="rnd">
              <a:noFill/>
              <a:prstDash val="solid"/>
              <a:headEnd type="oval"/>
            </a:ln>
            <a:effectLst/>
            <a:extLst>
              <a:ext uri="{91240B29-F687-4F45-9708-019B960494DF}">
                <a14:hiddenLine xmlns:a14="http://schemas.microsoft.com/office/drawing/2010/main" w="9525">
                  <a:solidFill>
                    <a:srgbClr val="000000"/>
                  </a:solidFill>
                  <a:round/>
                  <a:headEnd/>
                  <a:tailEnd/>
                </a14:hiddenLine>
              </a:ext>
            </a:extLst>
          </p:spPr>
          <p:style>
            <a:lnRef idx="1">
              <a:schemeClr val="accent1"/>
            </a:lnRef>
            <a:fillRef idx="0">
              <a:schemeClr val="accent1"/>
            </a:fillRef>
            <a:effectRef idx="0">
              <a:schemeClr val="accent1"/>
            </a:effectRef>
            <a:fontRef idx="minor">
              <a:schemeClr val="tx1"/>
            </a:fontRef>
          </p:style>
          <p:txBody>
            <a:bodyPr anchor="ctr"/>
            <a:lstStyle/>
            <a:p>
              <a:pPr algn="ctr"/>
              <a:endParaRPr lang="en-US">
                <a:ea typeface="ＭＳ Ｐゴシック" pitchFamily="-65" charset="-128"/>
              </a:endParaRPr>
            </a:p>
          </p:txBody>
        </p:sp>
        <p:sp>
          <p:nvSpPr>
            <p:cNvPr id="28" name="Freeform 113"/>
            <p:cNvSpPr>
              <a:spLocks/>
            </p:cNvSpPr>
            <p:nvPr/>
          </p:nvSpPr>
          <p:spPr bwMode="auto">
            <a:xfrm>
              <a:off x="1049338" y="2952750"/>
              <a:ext cx="254000" cy="1411288"/>
            </a:xfrm>
            <a:custGeom>
              <a:avLst/>
              <a:gdLst/>
              <a:ahLst/>
              <a:cxnLst/>
              <a:rect l="l" t="t" r="r" b="b"/>
              <a:pathLst>
                <a:path w="254000" h="1411288">
                  <a:moveTo>
                    <a:pt x="127000" y="1214438"/>
                  </a:moveTo>
                  <a:cubicBezTo>
                    <a:pt x="101574" y="1214438"/>
                    <a:pt x="80962" y="1234339"/>
                    <a:pt x="80962" y="1258888"/>
                  </a:cubicBezTo>
                  <a:cubicBezTo>
                    <a:pt x="80962" y="1283437"/>
                    <a:pt x="101574" y="1303338"/>
                    <a:pt x="127000" y="1303338"/>
                  </a:cubicBezTo>
                  <a:cubicBezTo>
                    <a:pt x="152426" y="1303338"/>
                    <a:pt x="173038" y="1283437"/>
                    <a:pt x="173038" y="1258888"/>
                  </a:cubicBezTo>
                  <a:cubicBezTo>
                    <a:pt x="173038" y="1234339"/>
                    <a:pt x="152426" y="1214438"/>
                    <a:pt x="127000" y="1214438"/>
                  </a:cubicBezTo>
                  <a:close/>
                  <a:moveTo>
                    <a:pt x="127000" y="420688"/>
                  </a:moveTo>
                  <a:cubicBezTo>
                    <a:pt x="101574" y="420688"/>
                    <a:pt x="80962" y="441300"/>
                    <a:pt x="80962" y="466726"/>
                  </a:cubicBezTo>
                  <a:cubicBezTo>
                    <a:pt x="80962" y="492152"/>
                    <a:pt x="101574" y="512764"/>
                    <a:pt x="127000" y="512764"/>
                  </a:cubicBezTo>
                  <a:cubicBezTo>
                    <a:pt x="152426" y="512764"/>
                    <a:pt x="173038" y="492152"/>
                    <a:pt x="173038" y="466726"/>
                  </a:cubicBezTo>
                  <a:cubicBezTo>
                    <a:pt x="173038" y="441300"/>
                    <a:pt x="152426" y="420688"/>
                    <a:pt x="127000" y="420688"/>
                  </a:cubicBezTo>
                  <a:close/>
                  <a:moveTo>
                    <a:pt x="127000" y="263525"/>
                  </a:moveTo>
                  <a:cubicBezTo>
                    <a:pt x="101574" y="263525"/>
                    <a:pt x="80962" y="284137"/>
                    <a:pt x="80962" y="309563"/>
                  </a:cubicBezTo>
                  <a:cubicBezTo>
                    <a:pt x="80962" y="334989"/>
                    <a:pt x="101574" y="355601"/>
                    <a:pt x="127000" y="355601"/>
                  </a:cubicBezTo>
                  <a:cubicBezTo>
                    <a:pt x="152426" y="355601"/>
                    <a:pt x="173038" y="334989"/>
                    <a:pt x="173038" y="309563"/>
                  </a:cubicBezTo>
                  <a:cubicBezTo>
                    <a:pt x="173038" y="284137"/>
                    <a:pt x="152426" y="263525"/>
                    <a:pt x="127000" y="263525"/>
                  </a:cubicBezTo>
                  <a:close/>
                  <a:moveTo>
                    <a:pt x="127000" y="107950"/>
                  </a:moveTo>
                  <a:cubicBezTo>
                    <a:pt x="101574" y="107950"/>
                    <a:pt x="80962" y="128206"/>
                    <a:pt x="80962" y="153194"/>
                  </a:cubicBezTo>
                  <a:cubicBezTo>
                    <a:pt x="80962" y="178182"/>
                    <a:pt x="101574" y="198438"/>
                    <a:pt x="127000" y="198438"/>
                  </a:cubicBezTo>
                  <a:cubicBezTo>
                    <a:pt x="152426" y="198438"/>
                    <a:pt x="173038" y="178182"/>
                    <a:pt x="173038" y="153194"/>
                  </a:cubicBezTo>
                  <a:cubicBezTo>
                    <a:pt x="173038" y="128206"/>
                    <a:pt x="152426" y="107950"/>
                    <a:pt x="127000" y="107950"/>
                  </a:cubicBezTo>
                  <a:close/>
                  <a:moveTo>
                    <a:pt x="15875" y="0"/>
                  </a:moveTo>
                  <a:cubicBezTo>
                    <a:pt x="89297" y="0"/>
                    <a:pt x="164703" y="0"/>
                    <a:pt x="238125" y="0"/>
                  </a:cubicBezTo>
                  <a:cubicBezTo>
                    <a:pt x="242094" y="0"/>
                    <a:pt x="246063" y="1985"/>
                    <a:pt x="248047" y="3970"/>
                  </a:cubicBezTo>
                  <a:cubicBezTo>
                    <a:pt x="252016" y="5955"/>
                    <a:pt x="254000" y="9925"/>
                    <a:pt x="254000" y="15880"/>
                  </a:cubicBezTo>
                  <a:cubicBezTo>
                    <a:pt x="254000" y="45654"/>
                    <a:pt x="254000" y="77413"/>
                    <a:pt x="254000" y="109171"/>
                  </a:cubicBezTo>
                  <a:cubicBezTo>
                    <a:pt x="254000" y="220328"/>
                    <a:pt x="254000" y="331484"/>
                    <a:pt x="254000" y="442640"/>
                  </a:cubicBezTo>
                  <a:cubicBezTo>
                    <a:pt x="254000" y="585556"/>
                    <a:pt x="254000" y="726486"/>
                    <a:pt x="254000" y="869401"/>
                  </a:cubicBezTo>
                  <a:cubicBezTo>
                    <a:pt x="254000" y="992467"/>
                    <a:pt x="254000" y="1115533"/>
                    <a:pt x="254000" y="1238599"/>
                  </a:cubicBezTo>
                  <a:cubicBezTo>
                    <a:pt x="254000" y="1292192"/>
                    <a:pt x="254000" y="1343800"/>
                    <a:pt x="254000" y="1397394"/>
                  </a:cubicBezTo>
                  <a:cubicBezTo>
                    <a:pt x="254000" y="1405333"/>
                    <a:pt x="246063" y="1411288"/>
                    <a:pt x="238125" y="1411288"/>
                  </a:cubicBezTo>
                  <a:cubicBezTo>
                    <a:pt x="164703" y="1411288"/>
                    <a:pt x="89297" y="1411288"/>
                    <a:pt x="15875" y="1411288"/>
                  </a:cubicBezTo>
                  <a:cubicBezTo>
                    <a:pt x="7938" y="1411288"/>
                    <a:pt x="0" y="1405333"/>
                    <a:pt x="0" y="1397394"/>
                  </a:cubicBezTo>
                  <a:cubicBezTo>
                    <a:pt x="0" y="1365635"/>
                    <a:pt x="0" y="1333876"/>
                    <a:pt x="0" y="1302117"/>
                  </a:cubicBezTo>
                  <a:cubicBezTo>
                    <a:pt x="0" y="1190960"/>
                    <a:pt x="0" y="1079804"/>
                    <a:pt x="0" y="970633"/>
                  </a:cubicBezTo>
                  <a:cubicBezTo>
                    <a:pt x="0" y="827718"/>
                    <a:pt x="0" y="684802"/>
                    <a:pt x="0" y="541887"/>
                  </a:cubicBezTo>
                  <a:cubicBezTo>
                    <a:pt x="0" y="418821"/>
                    <a:pt x="0" y="295755"/>
                    <a:pt x="0" y="172689"/>
                  </a:cubicBezTo>
                  <a:cubicBezTo>
                    <a:pt x="0" y="119096"/>
                    <a:pt x="0" y="67488"/>
                    <a:pt x="0" y="15880"/>
                  </a:cubicBezTo>
                  <a:cubicBezTo>
                    <a:pt x="0" y="5955"/>
                    <a:pt x="7938" y="0"/>
                    <a:pt x="15875" y="0"/>
                  </a:cubicBezTo>
                  <a:close/>
                </a:path>
              </a:pathLst>
            </a:custGeom>
            <a:solidFill>
              <a:schemeClr val="accent1"/>
            </a:solidFill>
            <a:ln w="12700" cap="rnd">
              <a:noFill/>
              <a:prstDash val="solid"/>
              <a:headEnd type="oval"/>
            </a:ln>
            <a:effectLst/>
            <a:extLst>
              <a:ext uri="{91240B29-F687-4F45-9708-019B960494DF}">
                <a14:hiddenLine xmlns:a14="http://schemas.microsoft.com/office/drawing/2010/main" w="9525">
                  <a:solidFill>
                    <a:srgbClr val="000000"/>
                  </a:solidFill>
                  <a:round/>
                  <a:headEnd/>
                  <a:tailEnd/>
                </a14:hiddenLine>
              </a:ext>
            </a:extLst>
          </p:spPr>
          <p:style>
            <a:lnRef idx="1">
              <a:schemeClr val="accent1"/>
            </a:lnRef>
            <a:fillRef idx="0">
              <a:schemeClr val="accent1"/>
            </a:fillRef>
            <a:effectRef idx="0">
              <a:schemeClr val="accent1"/>
            </a:effectRef>
            <a:fontRef idx="minor">
              <a:schemeClr val="tx1"/>
            </a:fontRef>
          </p:style>
          <p:txBody>
            <a:bodyPr anchor="ctr"/>
            <a:lstStyle/>
            <a:p>
              <a:pPr algn="ctr"/>
              <a:endParaRPr lang="en-US">
                <a:ea typeface="ＭＳ Ｐゴシック" pitchFamily="-65" charset="-128"/>
              </a:endParaRPr>
            </a:p>
          </p:txBody>
        </p:sp>
      </p:grpSp>
      <p:sp>
        <p:nvSpPr>
          <p:cNvPr id="29" name="Rectangle 28"/>
          <p:cNvSpPr/>
          <p:nvPr/>
        </p:nvSpPr>
        <p:spPr bwMode="auto">
          <a:xfrm>
            <a:off x="4667250" y="1095375"/>
            <a:ext cx="4057055" cy="571500"/>
          </a:xfrm>
          <a:prstGeom prst="rect">
            <a:avLst/>
          </a:prstGeom>
          <a:solidFill>
            <a:schemeClr val="accent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57137" tIns="28569" rIns="57137" bIns="28569" anchor="ctr"/>
          <a:lstStyle/>
          <a:p>
            <a:pPr algn="ctr" defTabSz="570402">
              <a:defRPr/>
            </a:pPr>
            <a:r>
              <a:rPr lang="en-US" sz="2000" dirty="0">
                <a:solidFill>
                  <a:schemeClr val="tx1"/>
                </a:solidFill>
                <a:ea typeface="ＭＳ Ｐゴシック" pitchFamily="-65" charset="-128"/>
              </a:rPr>
              <a:t>IT Professional</a:t>
            </a:r>
          </a:p>
        </p:txBody>
      </p:sp>
      <p:sp>
        <p:nvSpPr>
          <p:cNvPr id="30"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1"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
              </a:rPr>
              <a:t>www.rapidbbs.cn</a:t>
            </a:r>
            <a:endParaRPr lang="zh-CN" altLang="en-US" sz="1200" b="0">
              <a:latin typeface="Arial" charset="0"/>
              <a:ea typeface="ＭＳ Ｐゴシック" pitchFamily="34" charset="-128"/>
            </a:endParaRPr>
          </a:p>
        </p:txBody>
      </p:sp>
      <p:pic>
        <p:nvPicPr>
          <p:cNvPr id="32" name="Picture 2">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00050966"/>
      </p:ext>
    </p:extLst>
  </p:cSld>
  <p:clrMapOvr>
    <a:masterClrMapping/>
  </p:clrMapOvr>
  <p:transition>
    <p:fade/>
  </p:transition>
  <p:timing>
    <p:tnLst>
      <p:par>
        <p:cTn id="1" dur="indefinite" restart="never" nodeType="tmRoot"/>
      </p:par>
    </p:tnLst>
  </p:timing>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381000" y="1707654"/>
            <a:ext cx="8305800" cy="1828800"/>
            <a:chOff x="507868" y="1295400"/>
            <a:chExt cx="11071516" cy="2438400"/>
          </a:xfrm>
        </p:grpSpPr>
        <p:grpSp>
          <p:nvGrpSpPr>
            <p:cNvPr id="3" name="Group 2"/>
            <p:cNvGrpSpPr/>
            <p:nvPr/>
          </p:nvGrpSpPr>
          <p:grpSpPr>
            <a:xfrm>
              <a:off x="507868" y="1295400"/>
              <a:ext cx="11071516" cy="2438400"/>
              <a:chOff x="381000" y="1066800"/>
              <a:chExt cx="8305800" cy="2438400"/>
            </a:xfrm>
          </p:grpSpPr>
          <p:sp>
            <p:nvSpPr>
              <p:cNvPr id="2" name="Rectangle 1"/>
              <p:cNvSpPr/>
              <p:nvPr/>
            </p:nvSpPr>
            <p:spPr>
              <a:xfrm>
                <a:off x="381000" y="1066800"/>
                <a:ext cx="2514600" cy="2438400"/>
              </a:xfrm>
              <a:prstGeom prst="rect">
                <a:avLst/>
              </a:prstGeom>
              <a:solidFill>
                <a:schemeClr val="tx1">
                  <a:lumMod val="50000"/>
                </a:schemeClr>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62"/>
                <a:endParaRPr lang="en-US" dirty="0">
                  <a:solidFill>
                    <a:prstClr val="white"/>
                  </a:solidFill>
                </a:endParaRPr>
              </a:p>
            </p:txBody>
          </p:sp>
          <p:sp>
            <p:nvSpPr>
              <p:cNvPr id="34" name="Rectangle 33"/>
              <p:cNvSpPr/>
              <p:nvPr/>
            </p:nvSpPr>
            <p:spPr>
              <a:xfrm>
                <a:off x="2971800" y="1066800"/>
                <a:ext cx="5715000" cy="2438400"/>
              </a:xfrm>
              <a:prstGeom prst="rect">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62"/>
                <a:r>
                  <a:rPr lang="en-US" sz="3000" dirty="0">
                    <a:solidFill>
                      <a:prstClr val="white"/>
                    </a:solidFill>
                  </a:rPr>
                  <a:t>Massive clusters &amp; CSV2</a:t>
                </a:r>
                <a:endParaRPr lang="en-US" sz="1200" dirty="0">
                  <a:solidFill>
                    <a:prstClr val="white"/>
                  </a:solidFill>
                  <a:latin typeface="Segoe UI Light" pitchFamily="34" charset="0"/>
                </a:endParaRPr>
              </a:p>
            </p:txBody>
          </p:sp>
        </p:grpSp>
        <p:sp>
          <p:nvSpPr>
            <p:cNvPr id="10" name="Freeform 35"/>
            <p:cNvSpPr>
              <a:spLocks/>
            </p:cNvSpPr>
            <p:nvPr/>
          </p:nvSpPr>
          <p:spPr bwMode="black">
            <a:xfrm>
              <a:off x="761801" y="1559312"/>
              <a:ext cx="2844059" cy="1910576"/>
            </a:xfrm>
            <a:custGeom>
              <a:avLst/>
              <a:gdLst>
                <a:gd name="T0" fmla="*/ 120 w 191"/>
                <a:gd name="T1" fmla="*/ 32 h 197"/>
                <a:gd name="T2" fmla="*/ 83 w 191"/>
                <a:gd name="T3" fmla="*/ 3 h 197"/>
                <a:gd name="T4" fmla="*/ 47 w 191"/>
                <a:gd name="T5" fmla="*/ 5 h 197"/>
                <a:gd name="T6" fmla="*/ 44 w 191"/>
                <a:gd name="T7" fmla="*/ 27 h 197"/>
                <a:gd name="T8" fmla="*/ 40 w 191"/>
                <a:gd name="T9" fmla="*/ 29 h 197"/>
                <a:gd name="T10" fmla="*/ 40 w 191"/>
                <a:gd name="T11" fmla="*/ 33 h 197"/>
                <a:gd name="T12" fmla="*/ 45 w 191"/>
                <a:gd name="T13" fmla="*/ 40 h 197"/>
                <a:gd name="T14" fmla="*/ 88 w 191"/>
                <a:gd name="T15" fmla="*/ 44 h 197"/>
                <a:gd name="T16" fmla="*/ 118 w 191"/>
                <a:gd name="T17" fmla="*/ 113 h 197"/>
                <a:gd name="T18" fmla="*/ 144 w 191"/>
                <a:gd name="T19" fmla="*/ 129 h 197"/>
                <a:gd name="T20" fmla="*/ 112 w 191"/>
                <a:gd name="T21" fmla="*/ 109 h 197"/>
                <a:gd name="T22" fmla="*/ 65 w 191"/>
                <a:gd name="T23" fmla="*/ 115 h 197"/>
                <a:gd name="T24" fmla="*/ 0 w 191"/>
                <a:gd name="T25" fmla="*/ 116 h 197"/>
                <a:gd name="T26" fmla="*/ 26 w 191"/>
                <a:gd name="T27" fmla="*/ 174 h 197"/>
                <a:gd name="T28" fmla="*/ 61 w 191"/>
                <a:gd name="T29" fmla="*/ 136 h 197"/>
                <a:gd name="T30" fmla="*/ 57 w 191"/>
                <a:gd name="T31" fmla="*/ 148 h 197"/>
                <a:gd name="T32" fmla="*/ 126 w 191"/>
                <a:gd name="T33" fmla="*/ 140 h 197"/>
                <a:gd name="T34" fmla="*/ 55 w 191"/>
                <a:gd name="T35" fmla="*/ 153 h 197"/>
                <a:gd name="T36" fmla="*/ 30 w 191"/>
                <a:gd name="T37" fmla="*/ 180 h 197"/>
                <a:gd name="T38" fmla="*/ 32 w 191"/>
                <a:gd name="T39" fmla="*/ 182 h 197"/>
                <a:gd name="T40" fmla="*/ 180 w 191"/>
                <a:gd name="T41" fmla="*/ 159 h 197"/>
                <a:gd name="T42" fmla="*/ 185 w 191"/>
                <a:gd name="T43" fmla="*/ 129 h 197"/>
                <a:gd name="T44" fmla="*/ 120 w 191"/>
                <a:gd name="T45" fmla="*/ 32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1" h="197">
                  <a:moveTo>
                    <a:pt x="120" y="32"/>
                  </a:moveTo>
                  <a:cubicBezTo>
                    <a:pt x="112" y="23"/>
                    <a:pt x="99" y="9"/>
                    <a:pt x="83" y="3"/>
                  </a:cubicBezTo>
                  <a:cubicBezTo>
                    <a:pt x="72" y="0"/>
                    <a:pt x="47" y="5"/>
                    <a:pt x="47" y="5"/>
                  </a:cubicBezTo>
                  <a:cubicBezTo>
                    <a:pt x="44" y="27"/>
                    <a:pt x="44" y="27"/>
                    <a:pt x="44" y="27"/>
                  </a:cubicBezTo>
                  <a:cubicBezTo>
                    <a:pt x="40" y="29"/>
                    <a:pt x="40" y="29"/>
                    <a:pt x="40" y="29"/>
                  </a:cubicBezTo>
                  <a:cubicBezTo>
                    <a:pt x="40" y="33"/>
                    <a:pt x="40" y="33"/>
                    <a:pt x="40" y="33"/>
                  </a:cubicBezTo>
                  <a:cubicBezTo>
                    <a:pt x="40" y="33"/>
                    <a:pt x="40" y="37"/>
                    <a:pt x="45" y="40"/>
                  </a:cubicBezTo>
                  <a:cubicBezTo>
                    <a:pt x="50" y="42"/>
                    <a:pt x="73" y="53"/>
                    <a:pt x="88" y="44"/>
                  </a:cubicBezTo>
                  <a:cubicBezTo>
                    <a:pt x="118" y="60"/>
                    <a:pt x="105" y="91"/>
                    <a:pt x="118" y="113"/>
                  </a:cubicBezTo>
                  <a:cubicBezTo>
                    <a:pt x="123" y="120"/>
                    <a:pt x="131" y="127"/>
                    <a:pt x="144" y="129"/>
                  </a:cubicBezTo>
                  <a:cubicBezTo>
                    <a:pt x="144" y="129"/>
                    <a:pt x="115" y="131"/>
                    <a:pt x="112" y="109"/>
                  </a:cubicBezTo>
                  <a:cubicBezTo>
                    <a:pt x="101" y="104"/>
                    <a:pt x="82" y="99"/>
                    <a:pt x="65" y="115"/>
                  </a:cubicBezTo>
                  <a:cubicBezTo>
                    <a:pt x="51" y="100"/>
                    <a:pt x="14" y="100"/>
                    <a:pt x="0" y="116"/>
                  </a:cubicBezTo>
                  <a:cubicBezTo>
                    <a:pt x="6" y="141"/>
                    <a:pt x="18" y="163"/>
                    <a:pt x="26" y="174"/>
                  </a:cubicBezTo>
                  <a:cubicBezTo>
                    <a:pt x="52" y="156"/>
                    <a:pt x="61" y="136"/>
                    <a:pt x="61" y="136"/>
                  </a:cubicBezTo>
                  <a:cubicBezTo>
                    <a:pt x="60" y="140"/>
                    <a:pt x="59" y="144"/>
                    <a:pt x="57" y="148"/>
                  </a:cubicBezTo>
                  <a:cubicBezTo>
                    <a:pt x="103" y="167"/>
                    <a:pt x="126" y="140"/>
                    <a:pt x="126" y="140"/>
                  </a:cubicBezTo>
                  <a:cubicBezTo>
                    <a:pt x="107" y="171"/>
                    <a:pt x="63" y="157"/>
                    <a:pt x="55" y="153"/>
                  </a:cubicBezTo>
                  <a:cubicBezTo>
                    <a:pt x="48" y="166"/>
                    <a:pt x="38" y="175"/>
                    <a:pt x="30" y="180"/>
                  </a:cubicBezTo>
                  <a:cubicBezTo>
                    <a:pt x="32" y="181"/>
                    <a:pt x="32" y="182"/>
                    <a:pt x="32" y="182"/>
                  </a:cubicBezTo>
                  <a:cubicBezTo>
                    <a:pt x="88" y="197"/>
                    <a:pt x="154" y="177"/>
                    <a:pt x="180" y="159"/>
                  </a:cubicBezTo>
                  <a:cubicBezTo>
                    <a:pt x="191" y="151"/>
                    <a:pt x="188" y="138"/>
                    <a:pt x="185" y="129"/>
                  </a:cubicBezTo>
                  <a:cubicBezTo>
                    <a:pt x="172" y="91"/>
                    <a:pt x="134" y="49"/>
                    <a:pt x="120" y="3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685862"/>
              <a:endParaRPr lang="en-US" sz="1200" dirty="0">
                <a:solidFill>
                  <a:prstClr val="black"/>
                </a:solidFill>
              </a:endParaRPr>
            </a:p>
          </p:txBody>
        </p:sp>
      </p:grpSp>
      <p:sp>
        <p:nvSpPr>
          <p:cNvPr id="7"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8"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
              </a:rPr>
              <a:t>www.rapidbbs.cn</a:t>
            </a:r>
            <a:endParaRPr lang="zh-CN" altLang="en-US" sz="1200" b="0">
              <a:latin typeface="Arial" charset="0"/>
              <a:ea typeface="ＭＳ Ｐゴシック" pitchFamily="34" charset="-128"/>
            </a:endParaRPr>
          </a:p>
        </p:txBody>
      </p:sp>
      <p:pic>
        <p:nvPicPr>
          <p:cNvPr id="9" name="Picture 2">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10832015"/>
      </p:ext>
    </p:extLst>
  </p:cSld>
  <p:clrMapOvr>
    <a:masterClrMapping/>
  </p:clrMapOvr>
  <p:transition>
    <p:fade/>
  </p:transition>
  <p:timing>
    <p:tnLst>
      <p:par>
        <p:cTn id="1" dur="indefinite" restart="never" nodeType="tmRoot"/>
      </p:par>
    </p:tnLst>
  </p:timing>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381002" y="1545636"/>
            <a:ext cx="8305799" cy="1828800"/>
            <a:chOff x="507869" y="2060848"/>
            <a:chExt cx="11071515" cy="2438400"/>
          </a:xfrm>
        </p:grpSpPr>
        <p:grpSp>
          <p:nvGrpSpPr>
            <p:cNvPr id="3" name="Group 2"/>
            <p:cNvGrpSpPr/>
            <p:nvPr/>
          </p:nvGrpSpPr>
          <p:grpSpPr>
            <a:xfrm>
              <a:off x="507869" y="2060848"/>
              <a:ext cx="11071515" cy="2438400"/>
              <a:chOff x="507869" y="1295400"/>
              <a:chExt cx="11071515" cy="2438400"/>
            </a:xfrm>
          </p:grpSpPr>
          <p:sp>
            <p:nvSpPr>
              <p:cNvPr id="2" name="Rectangle 1"/>
              <p:cNvSpPr/>
              <p:nvPr/>
            </p:nvSpPr>
            <p:spPr>
              <a:xfrm>
                <a:off x="507869" y="1295400"/>
                <a:ext cx="3351927" cy="2438400"/>
              </a:xfrm>
              <a:prstGeom prst="rect">
                <a:avLst/>
              </a:prstGeom>
              <a:solidFill>
                <a:schemeClr val="tx1">
                  <a:lumMod val="50000"/>
                </a:schemeClr>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62"/>
                <a:endParaRPr lang="en-US" dirty="0">
                  <a:solidFill>
                    <a:prstClr val="white"/>
                  </a:solidFill>
                </a:endParaRPr>
              </a:p>
            </p:txBody>
          </p:sp>
          <p:sp>
            <p:nvSpPr>
              <p:cNvPr id="34" name="Rectangle 33"/>
              <p:cNvSpPr/>
              <p:nvPr/>
            </p:nvSpPr>
            <p:spPr>
              <a:xfrm>
                <a:off x="3961368" y="1295400"/>
                <a:ext cx="7618016" cy="2438400"/>
              </a:xfrm>
              <a:prstGeom prst="rect">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62"/>
                <a:r>
                  <a:rPr lang="en-US" sz="3000" dirty="0">
                    <a:solidFill>
                      <a:prstClr val="white"/>
                    </a:solidFill>
                  </a:rPr>
                  <a:t>Preferred Owners</a:t>
                </a:r>
              </a:p>
            </p:txBody>
          </p:sp>
        </p:grpSp>
        <p:sp>
          <p:nvSpPr>
            <p:cNvPr id="7" name="Freeform 25"/>
            <p:cNvSpPr>
              <a:spLocks noEditPoints="1"/>
            </p:cNvSpPr>
            <p:nvPr/>
          </p:nvSpPr>
          <p:spPr bwMode="black">
            <a:xfrm>
              <a:off x="953800" y="2328445"/>
              <a:ext cx="2437765" cy="1905000"/>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685862"/>
              <a:endParaRPr lang="en-US" sz="1200" dirty="0">
                <a:solidFill>
                  <a:prstClr val="black"/>
                </a:solidFill>
              </a:endParaRPr>
            </a:p>
          </p:txBody>
        </p:sp>
      </p:grpSp>
      <p:sp>
        <p:nvSpPr>
          <p:cNvPr id="8"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9"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
              </a:rPr>
              <a:t>www.rapidbbs.cn</a:t>
            </a:r>
            <a:endParaRPr lang="zh-CN" altLang="en-US" sz="1200" b="0">
              <a:latin typeface="Arial" charset="0"/>
              <a:ea typeface="ＭＳ Ｐゴシック" pitchFamily="34" charset="-128"/>
            </a:endParaRPr>
          </a:p>
        </p:txBody>
      </p:sp>
      <p:pic>
        <p:nvPicPr>
          <p:cNvPr id="10" name="Picture 2">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424265"/>
      </p:ext>
    </p:extLst>
  </p:cSld>
  <p:clrMapOvr>
    <a:masterClrMapping/>
  </p:clrMapOvr>
  <p:transition>
    <p:fade/>
  </p:transition>
  <p:timing>
    <p:tnLst>
      <p:par>
        <p:cTn id="1" dur="indefinite" restart="never" nodeType="tmRoot"/>
      </p:par>
    </p:tnLst>
  </p:timing>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381002" y="1545636"/>
            <a:ext cx="8305799" cy="1828800"/>
            <a:chOff x="507869" y="1295400"/>
            <a:chExt cx="11071515" cy="2438400"/>
          </a:xfrm>
        </p:grpSpPr>
        <p:grpSp>
          <p:nvGrpSpPr>
            <p:cNvPr id="3" name="Group 2"/>
            <p:cNvGrpSpPr/>
            <p:nvPr/>
          </p:nvGrpSpPr>
          <p:grpSpPr>
            <a:xfrm>
              <a:off x="507869" y="1295400"/>
              <a:ext cx="11071515" cy="2438400"/>
              <a:chOff x="507869" y="1295400"/>
              <a:chExt cx="11071515" cy="2438400"/>
            </a:xfrm>
          </p:grpSpPr>
          <p:sp>
            <p:nvSpPr>
              <p:cNvPr id="2" name="Rectangle 1"/>
              <p:cNvSpPr/>
              <p:nvPr/>
            </p:nvSpPr>
            <p:spPr>
              <a:xfrm>
                <a:off x="507869" y="1295400"/>
                <a:ext cx="3351927" cy="2438400"/>
              </a:xfrm>
              <a:prstGeom prst="rect">
                <a:avLst/>
              </a:prstGeom>
              <a:solidFill>
                <a:schemeClr val="tx1">
                  <a:lumMod val="50000"/>
                </a:schemeClr>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62"/>
                <a:endParaRPr lang="en-US" dirty="0">
                  <a:solidFill>
                    <a:prstClr val="white"/>
                  </a:solidFill>
                </a:endParaRPr>
              </a:p>
            </p:txBody>
          </p:sp>
          <p:sp>
            <p:nvSpPr>
              <p:cNvPr id="34" name="Rectangle 33"/>
              <p:cNvSpPr/>
              <p:nvPr/>
            </p:nvSpPr>
            <p:spPr>
              <a:xfrm>
                <a:off x="3961368" y="1295400"/>
                <a:ext cx="7618016" cy="2438400"/>
              </a:xfrm>
              <a:prstGeom prst="rect">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62"/>
                <a:r>
                  <a:rPr lang="en-US" sz="3000" dirty="0">
                    <a:solidFill>
                      <a:prstClr val="white"/>
                    </a:solidFill>
                  </a:rPr>
                  <a:t>Possible Owners</a:t>
                </a:r>
              </a:p>
            </p:txBody>
          </p:sp>
        </p:grpSp>
        <p:pic>
          <p:nvPicPr>
            <p:cNvPr id="43" name="Picture 50" descr="C:\Users\sakuu\Documents\Ballmer MGX 2011\Tile Icons\Road Fork.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900275" y="1612082"/>
              <a:ext cx="2562295" cy="1921721"/>
            </a:xfrm>
            <a:prstGeom prst="rect">
              <a:avLst/>
            </a:prstGeom>
            <a:noFill/>
            <a:extLst>
              <a:ext uri="{909E8E84-426E-40DD-AFC4-6F175D3DCCD1}">
                <a14:hiddenFill xmlns:a14="http://schemas.microsoft.com/office/drawing/2010/main">
                  <a:solidFill>
                    <a:srgbClr val="FFFFFF"/>
                  </a:solidFill>
                </a14:hiddenFill>
              </a:ext>
            </a:extLst>
          </p:spPr>
        </p:pic>
      </p:grpSp>
      <p:sp>
        <p:nvSpPr>
          <p:cNvPr id="7"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8"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pic>
        <p:nvPicPr>
          <p:cNvPr id="9"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78408416"/>
      </p:ext>
    </p:extLst>
  </p:cSld>
  <p:clrMapOvr>
    <a:masterClrMapping/>
  </p:clrMapOvr>
  <p:transition>
    <p:fade/>
  </p:transition>
  <p:timing>
    <p:tnLst>
      <p:par>
        <p:cTn id="1" dur="indefinite" restart="never" nodeType="tmRoot"/>
      </p:par>
    </p:tnLst>
  </p:timing>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425745" y="1653648"/>
            <a:ext cx="8305800" cy="1828800"/>
            <a:chOff x="381000" y="1066800"/>
            <a:chExt cx="8305800" cy="2438400"/>
          </a:xfrm>
        </p:grpSpPr>
        <p:sp>
          <p:nvSpPr>
            <p:cNvPr id="2" name="Rectangle 1"/>
            <p:cNvSpPr/>
            <p:nvPr/>
          </p:nvSpPr>
          <p:spPr>
            <a:xfrm>
              <a:off x="381000" y="1066800"/>
              <a:ext cx="2514600" cy="2438400"/>
            </a:xfrm>
            <a:prstGeom prst="rect">
              <a:avLst/>
            </a:prstGeom>
            <a:solidFill>
              <a:schemeClr val="tx1">
                <a:lumMod val="50000"/>
              </a:schemeClr>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62"/>
              <a:endParaRPr lang="en-US" dirty="0">
                <a:solidFill>
                  <a:prstClr val="white"/>
                </a:solidFill>
              </a:endParaRPr>
            </a:p>
          </p:txBody>
        </p:sp>
        <p:sp>
          <p:nvSpPr>
            <p:cNvPr id="34" name="Rectangle 33"/>
            <p:cNvSpPr/>
            <p:nvPr/>
          </p:nvSpPr>
          <p:spPr>
            <a:xfrm>
              <a:off x="2971800" y="1066800"/>
              <a:ext cx="5715000" cy="2438400"/>
            </a:xfrm>
            <a:prstGeom prst="rect">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62"/>
              <a:r>
                <a:rPr lang="en-US" sz="3000" dirty="0">
                  <a:solidFill>
                    <a:prstClr val="white"/>
                  </a:solidFill>
                </a:rPr>
                <a:t>VM Priority</a:t>
              </a:r>
            </a:p>
          </p:txBody>
        </p:sp>
        <p:pic>
          <p:nvPicPr>
            <p:cNvPr id="39" name="Picture 5" descr="Thumbs up 512x512.png"/>
            <p:cNvPicPr>
              <a:picLocks noChangeAspect="1"/>
            </p:cNvPicPr>
            <p:nvPr/>
          </p:nvPicPr>
          <p:blipFill>
            <a:blip r:embed="rId2"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519448" y="1173009"/>
              <a:ext cx="2253215" cy="225321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sp>
        <p:nvSpPr>
          <p:cNvPr id="6"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7"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pic>
        <p:nvPicPr>
          <p:cNvPr id="8"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56560602"/>
      </p:ext>
    </p:extLst>
  </p:cSld>
  <p:clrMapOvr>
    <a:masterClrMapping/>
  </p:clrMapOvr>
  <p:transition>
    <p:fade/>
  </p:transition>
  <p:timing>
    <p:tnLst>
      <p:par>
        <p:cTn id="1" dur="indefinite" restart="never" nodeType="tmRoot"/>
      </p:par>
    </p:tnLst>
  </p:timing>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381002" y="1545636"/>
            <a:ext cx="8305799" cy="1828800"/>
            <a:chOff x="507869" y="2060848"/>
            <a:chExt cx="11071515" cy="2438400"/>
          </a:xfrm>
        </p:grpSpPr>
        <p:grpSp>
          <p:nvGrpSpPr>
            <p:cNvPr id="3" name="Group 2"/>
            <p:cNvGrpSpPr/>
            <p:nvPr/>
          </p:nvGrpSpPr>
          <p:grpSpPr>
            <a:xfrm>
              <a:off x="507869" y="2060848"/>
              <a:ext cx="11071515" cy="2438400"/>
              <a:chOff x="507869" y="1295400"/>
              <a:chExt cx="11071515" cy="2438400"/>
            </a:xfrm>
          </p:grpSpPr>
          <p:sp>
            <p:nvSpPr>
              <p:cNvPr id="2" name="Rectangle 1"/>
              <p:cNvSpPr/>
              <p:nvPr/>
            </p:nvSpPr>
            <p:spPr>
              <a:xfrm>
                <a:off x="507869" y="1295400"/>
                <a:ext cx="3351927" cy="2438400"/>
              </a:xfrm>
              <a:prstGeom prst="rect">
                <a:avLst/>
              </a:prstGeom>
              <a:solidFill>
                <a:schemeClr val="tx1">
                  <a:lumMod val="50000"/>
                </a:schemeClr>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62"/>
                <a:endParaRPr lang="en-US" dirty="0">
                  <a:solidFill>
                    <a:prstClr val="white"/>
                  </a:solidFill>
                </a:endParaRPr>
              </a:p>
            </p:txBody>
          </p:sp>
          <p:sp>
            <p:nvSpPr>
              <p:cNvPr id="34" name="Rectangle 33"/>
              <p:cNvSpPr/>
              <p:nvPr/>
            </p:nvSpPr>
            <p:spPr>
              <a:xfrm>
                <a:off x="3961368" y="1295400"/>
                <a:ext cx="7618016" cy="2438400"/>
              </a:xfrm>
              <a:prstGeom prst="rect">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62"/>
                <a:r>
                  <a:rPr lang="en-US" sz="3000" dirty="0">
                    <a:solidFill>
                      <a:prstClr val="white"/>
                    </a:solidFill>
                  </a:rPr>
                  <a:t>VMM Availability Sets</a:t>
                </a:r>
              </a:p>
            </p:txBody>
          </p:sp>
        </p:grpSp>
        <p:sp>
          <p:nvSpPr>
            <p:cNvPr id="8" name="Freeform 25"/>
            <p:cNvSpPr>
              <a:spLocks noEditPoints="1"/>
            </p:cNvSpPr>
            <p:nvPr/>
          </p:nvSpPr>
          <p:spPr bwMode="black">
            <a:xfrm>
              <a:off x="914163" y="2501586"/>
              <a:ext cx="2539339" cy="1600200"/>
            </a:xfrm>
            <a:custGeom>
              <a:avLst/>
              <a:gdLst>
                <a:gd name="T0" fmla="*/ 0 w 708"/>
                <a:gd name="T1" fmla="*/ 709 h 709"/>
                <a:gd name="T2" fmla="*/ 212 w 708"/>
                <a:gd name="T3" fmla="*/ 567 h 709"/>
                <a:gd name="T4" fmla="*/ 708 w 708"/>
                <a:gd name="T5" fmla="*/ 567 h 709"/>
                <a:gd name="T6" fmla="*/ 496 w 708"/>
                <a:gd name="T7" fmla="*/ 709 h 709"/>
                <a:gd name="T8" fmla="*/ 708 w 708"/>
                <a:gd name="T9" fmla="*/ 567 h 709"/>
                <a:gd name="T10" fmla="*/ 248 w 708"/>
                <a:gd name="T11" fmla="*/ 567 h 709"/>
                <a:gd name="T12" fmla="*/ 460 w 708"/>
                <a:gd name="T13" fmla="*/ 709 h 709"/>
                <a:gd name="T14" fmla="*/ 212 w 708"/>
                <a:gd name="T15" fmla="*/ 227 h 709"/>
                <a:gd name="T16" fmla="*/ 0 w 708"/>
                <a:gd name="T17" fmla="*/ 369 h 709"/>
                <a:gd name="T18" fmla="*/ 212 w 708"/>
                <a:gd name="T19" fmla="*/ 227 h 709"/>
                <a:gd name="T20" fmla="*/ 496 w 708"/>
                <a:gd name="T21" fmla="*/ 14 h 709"/>
                <a:gd name="T22" fmla="*/ 708 w 708"/>
                <a:gd name="T23" fmla="*/ 156 h 709"/>
                <a:gd name="T24" fmla="*/ 460 w 708"/>
                <a:gd name="T25" fmla="*/ 156 h 709"/>
                <a:gd name="T26" fmla="*/ 248 w 708"/>
                <a:gd name="T27" fmla="*/ 298 h 709"/>
                <a:gd name="T28" fmla="*/ 460 w 708"/>
                <a:gd name="T29" fmla="*/ 156 h 709"/>
                <a:gd name="T30" fmla="*/ 127 w 708"/>
                <a:gd name="T31" fmla="*/ 397 h 709"/>
                <a:gd name="T32" fmla="*/ 340 w 708"/>
                <a:gd name="T33" fmla="*/ 539 h 709"/>
                <a:gd name="T34" fmla="*/ 97 w 708"/>
                <a:gd name="T35" fmla="*/ 397 h 709"/>
                <a:gd name="T36" fmla="*/ 0 w 708"/>
                <a:gd name="T37" fmla="*/ 539 h 709"/>
                <a:gd name="T38" fmla="*/ 97 w 708"/>
                <a:gd name="T39" fmla="*/ 397 h 709"/>
                <a:gd name="T40" fmla="*/ 0 w 708"/>
                <a:gd name="T41" fmla="*/ 57 h 709"/>
                <a:gd name="T42" fmla="*/ 97 w 708"/>
                <a:gd name="T43" fmla="*/ 199 h 709"/>
                <a:gd name="T44" fmla="*/ 583 w 708"/>
                <a:gd name="T45" fmla="*/ 397 h 709"/>
                <a:gd name="T46" fmla="*/ 371 w 708"/>
                <a:gd name="T47" fmla="*/ 539 h 709"/>
                <a:gd name="T48" fmla="*/ 583 w 708"/>
                <a:gd name="T49" fmla="*/ 397 h 709"/>
                <a:gd name="T50" fmla="*/ 614 w 708"/>
                <a:gd name="T51" fmla="*/ 397 h 709"/>
                <a:gd name="T52" fmla="*/ 708 w 708"/>
                <a:gd name="T53" fmla="*/ 539 h 709"/>
                <a:gd name="T54" fmla="*/ 354 w 708"/>
                <a:gd name="T55" fmla="*/ 132 h 709"/>
                <a:gd name="T56" fmla="*/ 392 w 708"/>
                <a:gd name="T57" fmla="*/ 47 h 709"/>
                <a:gd name="T58" fmla="*/ 316 w 708"/>
                <a:gd name="T59" fmla="*/ 0 h 709"/>
                <a:gd name="T60" fmla="*/ 269 w 708"/>
                <a:gd name="T61" fmla="*/ 47 h 709"/>
                <a:gd name="T62" fmla="*/ 602 w 708"/>
                <a:gd name="T63" fmla="*/ 343 h 709"/>
                <a:gd name="T64" fmla="*/ 640 w 708"/>
                <a:gd name="T65" fmla="*/ 258 h 709"/>
                <a:gd name="T66" fmla="*/ 564 w 708"/>
                <a:gd name="T67" fmla="*/ 210 h 709"/>
                <a:gd name="T68" fmla="*/ 517 w 708"/>
                <a:gd name="T69" fmla="*/ 25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709">
                  <a:moveTo>
                    <a:pt x="212" y="709"/>
                  </a:moveTo>
                  <a:lnTo>
                    <a:pt x="0" y="709"/>
                  </a:lnTo>
                  <a:lnTo>
                    <a:pt x="0" y="567"/>
                  </a:lnTo>
                  <a:lnTo>
                    <a:pt x="212" y="567"/>
                  </a:lnTo>
                  <a:lnTo>
                    <a:pt x="212" y="709"/>
                  </a:lnTo>
                  <a:close/>
                  <a:moveTo>
                    <a:pt x="708" y="567"/>
                  </a:moveTo>
                  <a:lnTo>
                    <a:pt x="496" y="567"/>
                  </a:lnTo>
                  <a:lnTo>
                    <a:pt x="496" y="709"/>
                  </a:lnTo>
                  <a:lnTo>
                    <a:pt x="708" y="709"/>
                  </a:lnTo>
                  <a:lnTo>
                    <a:pt x="708" y="567"/>
                  </a:lnTo>
                  <a:close/>
                  <a:moveTo>
                    <a:pt x="460" y="567"/>
                  </a:moveTo>
                  <a:lnTo>
                    <a:pt x="248" y="567"/>
                  </a:lnTo>
                  <a:lnTo>
                    <a:pt x="248" y="709"/>
                  </a:lnTo>
                  <a:lnTo>
                    <a:pt x="460" y="709"/>
                  </a:lnTo>
                  <a:lnTo>
                    <a:pt x="460" y="567"/>
                  </a:lnTo>
                  <a:close/>
                  <a:moveTo>
                    <a:pt x="212" y="227"/>
                  </a:moveTo>
                  <a:lnTo>
                    <a:pt x="0" y="227"/>
                  </a:lnTo>
                  <a:lnTo>
                    <a:pt x="0" y="369"/>
                  </a:lnTo>
                  <a:lnTo>
                    <a:pt x="212" y="369"/>
                  </a:lnTo>
                  <a:lnTo>
                    <a:pt x="212" y="227"/>
                  </a:lnTo>
                  <a:close/>
                  <a:moveTo>
                    <a:pt x="708" y="14"/>
                  </a:moveTo>
                  <a:lnTo>
                    <a:pt x="496" y="14"/>
                  </a:lnTo>
                  <a:lnTo>
                    <a:pt x="496" y="156"/>
                  </a:lnTo>
                  <a:lnTo>
                    <a:pt x="708" y="156"/>
                  </a:lnTo>
                  <a:lnTo>
                    <a:pt x="708" y="14"/>
                  </a:lnTo>
                  <a:close/>
                  <a:moveTo>
                    <a:pt x="460" y="156"/>
                  </a:moveTo>
                  <a:lnTo>
                    <a:pt x="248" y="156"/>
                  </a:lnTo>
                  <a:lnTo>
                    <a:pt x="248" y="298"/>
                  </a:lnTo>
                  <a:lnTo>
                    <a:pt x="460" y="298"/>
                  </a:lnTo>
                  <a:lnTo>
                    <a:pt x="460" y="156"/>
                  </a:lnTo>
                  <a:close/>
                  <a:moveTo>
                    <a:pt x="340" y="397"/>
                  </a:moveTo>
                  <a:lnTo>
                    <a:pt x="127" y="397"/>
                  </a:lnTo>
                  <a:lnTo>
                    <a:pt x="127" y="539"/>
                  </a:lnTo>
                  <a:lnTo>
                    <a:pt x="340" y="539"/>
                  </a:lnTo>
                  <a:lnTo>
                    <a:pt x="340" y="397"/>
                  </a:lnTo>
                  <a:close/>
                  <a:moveTo>
                    <a:pt x="97" y="397"/>
                  </a:moveTo>
                  <a:lnTo>
                    <a:pt x="0" y="397"/>
                  </a:lnTo>
                  <a:lnTo>
                    <a:pt x="0" y="539"/>
                  </a:lnTo>
                  <a:lnTo>
                    <a:pt x="97" y="539"/>
                  </a:lnTo>
                  <a:lnTo>
                    <a:pt x="97" y="397"/>
                  </a:lnTo>
                  <a:close/>
                  <a:moveTo>
                    <a:pt x="97" y="57"/>
                  </a:moveTo>
                  <a:lnTo>
                    <a:pt x="0" y="57"/>
                  </a:lnTo>
                  <a:lnTo>
                    <a:pt x="0" y="199"/>
                  </a:lnTo>
                  <a:lnTo>
                    <a:pt x="97" y="199"/>
                  </a:lnTo>
                  <a:lnTo>
                    <a:pt x="97" y="57"/>
                  </a:lnTo>
                  <a:close/>
                  <a:moveTo>
                    <a:pt x="583" y="397"/>
                  </a:moveTo>
                  <a:lnTo>
                    <a:pt x="371" y="397"/>
                  </a:lnTo>
                  <a:lnTo>
                    <a:pt x="371" y="539"/>
                  </a:lnTo>
                  <a:lnTo>
                    <a:pt x="583" y="539"/>
                  </a:lnTo>
                  <a:lnTo>
                    <a:pt x="583" y="397"/>
                  </a:lnTo>
                  <a:close/>
                  <a:moveTo>
                    <a:pt x="708" y="397"/>
                  </a:moveTo>
                  <a:lnTo>
                    <a:pt x="614" y="397"/>
                  </a:lnTo>
                  <a:lnTo>
                    <a:pt x="614" y="539"/>
                  </a:lnTo>
                  <a:lnTo>
                    <a:pt x="708" y="539"/>
                  </a:lnTo>
                  <a:lnTo>
                    <a:pt x="708" y="397"/>
                  </a:lnTo>
                  <a:close/>
                  <a:moveTo>
                    <a:pt x="354" y="132"/>
                  </a:moveTo>
                  <a:lnTo>
                    <a:pt x="439" y="47"/>
                  </a:lnTo>
                  <a:lnTo>
                    <a:pt x="392" y="47"/>
                  </a:lnTo>
                  <a:lnTo>
                    <a:pt x="392" y="0"/>
                  </a:lnTo>
                  <a:lnTo>
                    <a:pt x="316" y="0"/>
                  </a:lnTo>
                  <a:lnTo>
                    <a:pt x="316" y="47"/>
                  </a:lnTo>
                  <a:lnTo>
                    <a:pt x="269" y="47"/>
                  </a:lnTo>
                  <a:lnTo>
                    <a:pt x="354" y="132"/>
                  </a:lnTo>
                  <a:close/>
                  <a:moveTo>
                    <a:pt x="602" y="343"/>
                  </a:moveTo>
                  <a:lnTo>
                    <a:pt x="687" y="258"/>
                  </a:lnTo>
                  <a:lnTo>
                    <a:pt x="640" y="258"/>
                  </a:lnTo>
                  <a:lnTo>
                    <a:pt x="640" y="210"/>
                  </a:lnTo>
                  <a:lnTo>
                    <a:pt x="564" y="210"/>
                  </a:lnTo>
                  <a:lnTo>
                    <a:pt x="564" y="258"/>
                  </a:lnTo>
                  <a:lnTo>
                    <a:pt x="517" y="258"/>
                  </a:lnTo>
                  <a:lnTo>
                    <a:pt x="602" y="3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pPr defTabSz="685862"/>
              <a:endParaRPr lang="en-US" sz="1200" dirty="0">
                <a:solidFill>
                  <a:prstClr val="black"/>
                </a:solidFill>
              </a:endParaRPr>
            </a:p>
          </p:txBody>
        </p:sp>
      </p:grpSp>
      <p:sp>
        <p:nvSpPr>
          <p:cNvPr id="7"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9"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
              </a:rPr>
              <a:t>www.rapidbbs.cn</a:t>
            </a:r>
            <a:endParaRPr lang="zh-CN" altLang="en-US" sz="1200" b="0">
              <a:latin typeface="Arial" charset="0"/>
              <a:ea typeface="ＭＳ Ｐゴシック" pitchFamily="34" charset="-128"/>
            </a:endParaRPr>
          </a:p>
        </p:txBody>
      </p:sp>
      <p:pic>
        <p:nvPicPr>
          <p:cNvPr id="10" name="Picture 2">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92543014"/>
      </p:ext>
    </p:extLst>
  </p:cSld>
  <p:clrMapOvr>
    <a:masterClrMapping/>
  </p:clrMapOvr>
  <p:transition>
    <p:fade/>
  </p:transition>
  <p:timing>
    <p:tnLst>
      <p:par>
        <p:cTn id="1" dur="indefinite" restart="never" nodeType="tmRoot"/>
      </p:par>
    </p:tnLst>
  </p:timing>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2284" y="228600"/>
            <a:ext cx="8154531" cy="498598"/>
          </a:xfrm>
        </p:spPr>
        <p:txBody>
          <a:bodyPr/>
          <a:lstStyle/>
          <a:p>
            <a:r>
              <a:rPr lang="en-US" sz="3600" dirty="0"/>
              <a:t>Feedback from Service Providers</a:t>
            </a:r>
          </a:p>
        </p:txBody>
      </p:sp>
      <p:sp>
        <p:nvSpPr>
          <p:cNvPr id="44" name="Rectangle for Speaker Name"/>
          <p:cNvSpPr/>
          <p:nvPr/>
        </p:nvSpPr>
        <p:spPr bwMode="auto">
          <a:xfrm>
            <a:off x="2759238" y="1123953"/>
            <a:ext cx="1700310" cy="1679399"/>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4" rIns="91428" bIns="45714" numCol="1" rtlCol="0" anchor="t" anchorCtr="0" compatLnSpc="1">
            <a:prstTxWarp prst="textNoShape">
              <a:avLst/>
            </a:prstTxWarp>
          </a:bodyPr>
          <a:lstStyle/>
          <a:p>
            <a:pPr algn="ctr" defTabSz="914023" fontAlgn="base">
              <a:spcBef>
                <a:spcPct val="0"/>
              </a:spcBef>
              <a:spcAft>
                <a:spcPct val="0"/>
              </a:spcAft>
            </a:pPr>
            <a:endParaRPr lang="en-US" sz="2400" b="1" dirty="0">
              <a:solidFill>
                <a:schemeClr val="bg1"/>
              </a:solidFill>
              <a:latin typeface="Segoe Condensed" pitchFamily="34" charset="0"/>
            </a:endParaRPr>
          </a:p>
          <a:p>
            <a:pPr algn="ctr" defTabSz="914023" fontAlgn="base">
              <a:spcBef>
                <a:spcPct val="0"/>
              </a:spcBef>
              <a:spcAft>
                <a:spcPct val="0"/>
              </a:spcAft>
            </a:pPr>
            <a:endParaRPr lang="en-US" b="1" dirty="0">
              <a:solidFill>
                <a:schemeClr val="bg1"/>
              </a:solidFill>
              <a:latin typeface="Segoe Condensed" pitchFamily="34" charset="0"/>
            </a:endParaRPr>
          </a:p>
          <a:p>
            <a:pPr algn="ctr" defTabSz="914023" fontAlgn="base">
              <a:spcBef>
                <a:spcPct val="0"/>
              </a:spcBef>
              <a:spcAft>
                <a:spcPct val="0"/>
              </a:spcAft>
            </a:pPr>
            <a:endParaRPr lang="en-US" b="1" dirty="0">
              <a:solidFill>
                <a:schemeClr val="bg1"/>
              </a:solidFill>
              <a:latin typeface="Segoe Condensed" pitchFamily="34" charset="0"/>
            </a:endParaRPr>
          </a:p>
          <a:p>
            <a:pPr algn="ctr" defTabSz="914023" fontAlgn="base">
              <a:spcBef>
                <a:spcPct val="0"/>
              </a:spcBef>
              <a:spcAft>
                <a:spcPct val="0"/>
              </a:spcAft>
            </a:pPr>
            <a:endParaRPr lang="en-US" b="1" dirty="0">
              <a:solidFill>
                <a:schemeClr val="bg1"/>
              </a:solidFill>
              <a:latin typeface="Segoe Condensed" pitchFamily="34" charset="0"/>
            </a:endParaRPr>
          </a:p>
          <a:p>
            <a:pPr algn="ctr" defTabSz="914023" fontAlgn="base">
              <a:spcBef>
                <a:spcPct val="0"/>
              </a:spcBef>
              <a:spcAft>
                <a:spcPct val="0"/>
              </a:spcAft>
            </a:pPr>
            <a:endParaRPr lang="en-US" b="1" dirty="0">
              <a:solidFill>
                <a:schemeClr val="bg1"/>
              </a:solidFill>
              <a:latin typeface="Segoe Condensed" pitchFamily="34" charset="0"/>
            </a:endParaRPr>
          </a:p>
        </p:txBody>
      </p:sp>
      <p:sp>
        <p:nvSpPr>
          <p:cNvPr id="45" name="Rectangle for Speaker Name"/>
          <p:cNvSpPr/>
          <p:nvPr/>
        </p:nvSpPr>
        <p:spPr bwMode="auto">
          <a:xfrm>
            <a:off x="4580068" y="2949753"/>
            <a:ext cx="1700310" cy="1679399"/>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4" rIns="91428" bIns="45714" numCol="1" rtlCol="0" anchor="t" anchorCtr="0" compatLnSpc="1">
            <a:prstTxWarp prst="textNoShape">
              <a:avLst/>
            </a:prstTxWarp>
          </a:bodyPr>
          <a:lstStyle/>
          <a:p>
            <a:pPr algn="ctr" defTabSz="914023" fontAlgn="base">
              <a:spcBef>
                <a:spcPct val="0"/>
              </a:spcBef>
              <a:spcAft>
                <a:spcPct val="0"/>
              </a:spcAft>
            </a:pPr>
            <a:endParaRPr lang="en-US" sz="2400" b="1" dirty="0">
              <a:solidFill>
                <a:schemeClr val="tx1"/>
              </a:solidFill>
              <a:latin typeface="Segoe Condensed" pitchFamily="34" charset="0"/>
            </a:endParaRPr>
          </a:p>
          <a:p>
            <a:pPr algn="ctr" defTabSz="914023" fontAlgn="base">
              <a:spcBef>
                <a:spcPct val="0"/>
              </a:spcBef>
              <a:spcAft>
                <a:spcPct val="0"/>
              </a:spcAft>
            </a:pPr>
            <a:endParaRPr lang="en-US" sz="2400" b="1" dirty="0">
              <a:solidFill>
                <a:schemeClr val="tx1"/>
              </a:solidFill>
              <a:latin typeface="Segoe Condensed" pitchFamily="34" charset="0"/>
            </a:endParaRPr>
          </a:p>
          <a:p>
            <a:pPr algn="ctr" defTabSz="914023" fontAlgn="base">
              <a:spcBef>
                <a:spcPct val="0"/>
              </a:spcBef>
              <a:spcAft>
                <a:spcPct val="0"/>
              </a:spcAft>
            </a:pPr>
            <a:endParaRPr lang="en-US" sz="2400" b="1" dirty="0">
              <a:solidFill>
                <a:schemeClr val="tx1"/>
              </a:solidFill>
              <a:latin typeface="Segoe Condensed" pitchFamily="34" charset="0"/>
            </a:endParaRPr>
          </a:p>
          <a:p>
            <a:pPr algn="ctr" defTabSz="914023" fontAlgn="base">
              <a:spcBef>
                <a:spcPct val="0"/>
              </a:spcBef>
              <a:spcAft>
                <a:spcPct val="0"/>
              </a:spcAft>
            </a:pPr>
            <a:endParaRPr lang="en-US" sz="2400" b="1" dirty="0">
              <a:solidFill>
                <a:schemeClr val="tx1"/>
              </a:solidFill>
              <a:latin typeface="Segoe Condensed" pitchFamily="34" charset="0"/>
            </a:endParaRPr>
          </a:p>
          <a:p>
            <a:pPr algn="ctr" defTabSz="914023" fontAlgn="base">
              <a:spcBef>
                <a:spcPct val="0"/>
              </a:spcBef>
              <a:spcAft>
                <a:spcPct val="0"/>
              </a:spcAft>
            </a:pPr>
            <a:endParaRPr lang="en-US" sz="2400" b="1" dirty="0">
              <a:solidFill>
                <a:schemeClr val="tx1"/>
              </a:solidFill>
              <a:latin typeface="Segoe Condensed" pitchFamily="34" charset="0"/>
            </a:endParaRPr>
          </a:p>
        </p:txBody>
      </p:sp>
      <p:sp>
        <p:nvSpPr>
          <p:cNvPr id="17" name="Rectangle for Speaker Name"/>
          <p:cNvSpPr/>
          <p:nvPr/>
        </p:nvSpPr>
        <p:spPr bwMode="auto">
          <a:xfrm>
            <a:off x="6393047" y="1123952"/>
            <a:ext cx="1700310" cy="1679399"/>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4" rIns="91428" bIns="45714" numCol="1" rtlCol="0" anchor="t" anchorCtr="0" compatLnSpc="1">
            <a:prstTxWarp prst="textNoShape">
              <a:avLst/>
            </a:prstTxWarp>
          </a:bodyPr>
          <a:lstStyle/>
          <a:p>
            <a:pPr algn="ctr" defTabSz="914023" fontAlgn="base">
              <a:spcBef>
                <a:spcPct val="0"/>
              </a:spcBef>
              <a:spcAft>
                <a:spcPct val="0"/>
              </a:spcAft>
            </a:pPr>
            <a:endParaRPr lang="en-US" sz="2400" b="1" dirty="0">
              <a:solidFill>
                <a:schemeClr val="tx1"/>
              </a:solidFill>
              <a:latin typeface="Segoe Condensed" pitchFamily="34" charset="0"/>
            </a:endParaRPr>
          </a:p>
          <a:p>
            <a:pPr algn="ctr" defTabSz="914023" fontAlgn="base">
              <a:spcBef>
                <a:spcPct val="0"/>
              </a:spcBef>
              <a:spcAft>
                <a:spcPct val="0"/>
              </a:spcAft>
            </a:pPr>
            <a:endParaRPr lang="en-US" sz="2400" b="1" dirty="0">
              <a:solidFill>
                <a:schemeClr val="tx1"/>
              </a:solidFill>
              <a:latin typeface="Segoe Condensed" pitchFamily="34" charset="0"/>
            </a:endParaRPr>
          </a:p>
          <a:p>
            <a:pPr algn="ctr" defTabSz="914023" fontAlgn="base">
              <a:spcBef>
                <a:spcPct val="0"/>
              </a:spcBef>
              <a:spcAft>
                <a:spcPct val="0"/>
              </a:spcAft>
            </a:pPr>
            <a:endParaRPr lang="en-US" sz="2400" b="1" dirty="0">
              <a:solidFill>
                <a:schemeClr val="tx1"/>
              </a:solidFill>
              <a:latin typeface="Segoe Condensed" pitchFamily="34" charset="0"/>
            </a:endParaRPr>
          </a:p>
          <a:p>
            <a:pPr algn="ctr" defTabSz="914023" fontAlgn="base">
              <a:spcBef>
                <a:spcPct val="0"/>
              </a:spcBef>
              <a:spcAft>
                <a:spcPct val="0"/>
              </a:spcAft>
            </a:pPr>
            <a:endParaRPr lang="en-US" sz="2400" b="1" dirty="0">
              <a:solidFill>
                <a:schemeClr val="tx1"/>
              </a:solidFill>
              <a:latin typeface="Segoe Condensed" pitchFamily="34" charset="0"/>
            </a:endParaRPr>
          </a:p>
          <a:p>
            <a:pPr algn="ctr" defTabSz="914023" fontAlgn="base">
              <a:spcBef>
                <a:spcPct val="0"/>
              </a:spcBef>
              <a:spcAft>
                <a:spcPct val="0"/>
              </a:spcAft>
            </a:pPr>
            <a:endParaRPr lang="en-US" sz="2400" b="1" dirty="0">
              <a:solidFill>
                <a:schemeClr val="tx1"/>
              </a:solidFill>
              <a:latin typeface="Segoe Condensed" pitchFamily="34" charset="0"/>
            </a:endParaRPr>
          </a:p>
        </p:txBody>
      </p:sp>
      <p:sp>
        <p:nvSpPr>
          <p:cNvPr id="29" name="Rectangle for Speaker Name"/>
          <p:cNvSpPr/>
          <p:nvPr/>
        </p:nvSpPr>
        <p:spPr bwMode="auto">
          <a:xfrm>
            <a:off x="4580068" y="1120953"/>
            <a:ext cx="1700310" cy="1679399"/>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4" rIns="91428" bIns="45714" numCol="1" rtlCol="0" anchor="t" anchorCtr="0" compatLnSpc="1">
            <a:prstTxWarp prst="textNoShape">
              <a:avLst/>
            </a:prstTxWarp>
          </a:bodyPr>
          <a:lstStyle/>
          <a:p>
            <a:pPr algn="ctr" defTabSz="914023" fontAlgn="base">
              <a:spcBef>
                <a:spcPct val="0"/>
              </a:spcBef>
              <a:spcAft>
                <a:spcPct val="0"/>
              </a:spcAft>
            </a:pPr>
            <a:endParaRPr lang="en-US" sz="2400" b="1" dirty="0">
              <a:solidFill>
                <a:schemeClr val="tx1"/>
              </a:solidFill>
              <a:latin typeface="Segoe Condensed" pitchFamily="34" charset="0"/>
            </a:endParaRPr>
          </a:p>
          <a:p>
            <a:pPr algn="ctr" defTabSz="914023" fontAlgn="base">
              <a:spcBef>
                <a:spcPct val="0"/>
              </a:spcBef>
              <a:spcAft>
                <a:spcPct val="0"/>
              </a:spcAft>
            </a:pPr>
            <a:endParaRPr lang="en-US" b="1" dirty="0">
              <a:solidFill>
                <a:schemeClr val="tx1"/>
              </a:solidFill>
              <a:latin typeface="Segoe Condensed" pitchFamily="34" charset="0"/>
            </a:endParaRPr>
          </a:p>
          <a:p>
            <a:pPr algn="ctr" defTabSz="914023" fontAlgn="base">
              <a:spcBef>
                <a:spcPct val="0"/>
              </a:spcBef>
              <a:spcAft>
                <a:spcPct val="0"/>
              </a:spcAft>
            </a:pPr>
            <a:endParaRPr lang="en-US" b="1" dirty="0">
              <a:solidFill>
                <a:schemeClr val="tx1"/>
              </a:solidFill>
              <a:latin typeface="Segoe Condensed" pitchFamily="34" charset="0"/>
            </a:endParaRPr>
          </a:p>
          <a:p>
            <a:pPr algn="ctr" defTabSz="914023" fontAlgn="base">
              <a:spcBef>
                <a:spcPct val="0"/>
              </a:spcBef>
              <a:spcAft>
                <a:spcPct val="0"/>
              </a:spcAft>
            </a:pPr>
            <a:endParaRPr lang="en-US" b="1" dirty="0">
              <a:solidFill>
                <a:schemeClr val="tx1"/>
              </a:solidFill>
              <a:latin typeface="Segoe Condensed" pitchFamily="34" charset="0"/>
            </a:endParaRPr>
          </a:p>
          <a:p>
            <a:pPr algn="ctr" defTabSz="914023" fontAlgn="base">
              <a:spcBef>
                <a:spcPct val="0"/>
              </a:spcBef>
              <a:spcAft>
                <a:spcPct val="0"/>
              </a:spcAft>
            </a:pPr>
            <a:endParaRPr lang="en-US" b="1" dirty="0">
              <a:solidFill>
                <a:schemeClr val="tx1"/>
              </a:solidFill>
              <a:latin typeface="Segoe Condensed" pitchFamily="34" charset="0"/>
            </a:endParaRPr>
          </a:p>
        </p:txBody>
      </p:sp>
      <p:sp>
        <p:nvSpPr>
          <p:cNvPr id="31" name="Rectangle for Speaker Name"/>
          <p:cNvSpPr/>
          <p:nvPr/>
        </p:nvSpPr>
        <p:spPr bwMode="auto">
          <a:xfrm>
            <a:off x="2759238" y="2949753"/>
            <a:ext cx="1700310" cy="1679399"/>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4" rIns="91428" bIns="45714" numCol="1" rtlCol="0" anchor="t" anchorCtr="0" compatLnSpc="1">
            <a:prstTxWarp prst="textNoShape">
              <a:avLst/>
            </a:prstTxWarp>
          </a:bodyPr>
          <a:lstStyle/>
          <a:p>
            <a:pPr algn="ctr" defTabSz="914023" fontAlgn="base">
              <a:spcBef>
                <a:spcPct val="0"/>
              </a:spcBef>
              <a:spcAft>
                <a:spcPct val="0"/>
              </a:spcAft>
            </a:pPr>
            <a:endParaRPr lang="en-US" sz="2400" b="1" dirty="0">
              <a:solidFill>
                <a:schemeClr val="tx1"/>
              </a:solidFill>
              <a:latin typeface="Segoe Condensed" pitchFamily="34" charset="0"/>
            </a:endParaRPr>
          </a:p>
          <a:p>
            <a:pPr algn="ctr" defTabSz="914023" fontAlgn="base">
              <a:spcBef>
                <a:spcPct val="0"/>
              </a:spcBef>
              <a:spcAft>
                <a:spcPct val="0"/>
              </a:spcAft>
            </a:pPr>
            <a:endParaRPr lang="en-US" sz="2400" b="1" dirty="0">
              <a:solidFill>
                <a:schemeClr val="tx1"/>
              </a:solidFill>
              <a:latin typeface="Segoe Condensed" pitchFamily="34" charset="0"/>
            </a:endParaRPr>
          </a:p>
          <a:p>
            <a:pPr algn="ctr" defTabSz="914023" fontAlgn="base">
              <a:spcBef>
                <a:spcPct val="0"/>
              </a:spcBef>
              <a:spcAft>
                <a:spcPct val="0"/>
              </a:spcAft>
            </a:pPr>
            <a:endParaRPr lang="en-US" sz="2400" b="1" dirty="0">
              <a:solidFill>
                <a:schemeClr val="tx1"/>
              </a:solidFill>
              <a:latin typeface="Segoe Condensed" pitchFamily="34" charset="0"/>
            </a:endParaRPr>
          </a:p>
          <a:p>
            <a:pPr algn="ctr" defTabSz="914023" fontAlgn="base">
              <a:spcBef>
                <a:spcPct val="0"/>
              </a:spcBef>
              <a:spcAft>
                <a:spcPct val="0"/>
              </a:spcAft>
            </a:pPr>
            <a:endParaRPr lang="en-US" sz="2400" b="1" dirty="0">
              <a:solidFill>
                <a:schemeClr val="tx1"/>
              </a:solidFill>
              <a:latin typeface="Segoe Condensed" pitchFamily="34" charset="0"/>
            </a:endParaRPr>
          </a:p>
          <a:p>
            <a:pPr algn="ctr" defTabSz="914023" fontAlgn="base">
              <a:spcBef>
                <a:spcPct val="0"/>
              </a:spcBef>
              <a:spcAft>
                <a:spcPct val="0"/>
              </a:spcAft>
            </a:pPr>
            <a:endParaRPr lang="en-US" sz="2400" b="1" dirty="0">
              <a:solidFill>
                <a:schemeClr val="tx1"/>
              </a:solidFill>
              <a:latin typeface="Segoe Condensed" pitchFamily="34" charset="0"/>
            </a:endParaRPr>
          </a:p>
        </p:txBody>
      </p:sp>
      <p:sp>
        <p:nvSpPr>
          <p:cNvPr id="32" name="Rectangle for Speaker Name"/>
          <p:cNvSpPr/>
          <p:nvPr/>
        </p:nvSpPr>
        <p:spPr bwMode="auto">
          <a:xfrm>
            <a:off x="938408" y="2949753"/>
            <a:ext cx="1700310" cy="1679399"/>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4" rIns="91428" bIns="45714" numCol="1" rtlCol="0" anchor="t" anchorCtr="0" compatLnSpc="1">
            <a:prstTxWarp prst="textNoShape">
              <a:avLst/>
            </a:prstTxWarp>
          </a:bodyPr>
          <a:lstStyle/>
          <a:p>
            <a:pPr algn="ctr" defTabSz="914023" fontAlgn="base">
              <a:spcBef>
                <a:spcPct val="0"/>
              </a:spcBef>
              <a:spcAft>
                <a:spcPct val="0"/>
              </a:spcAft>
            </a:pPr>
            <a:endParaRPr lang="en-US" sz="2400" b="1" dirty="0">
              <a:solidFill>
                <a:schemeClr val="tx1"/>
              </a:solidFill>
              <a:latin typeface="Segoe Condensed" pitchFamily="34" charset="0"/>
            </a:endParaRPr>
          </a:p>
          <a:p>
            <a:pPr algn="ctr" defTabSz="914023" fontAlgn="base">
              <a:spcBef>
                <a:spcPct val="0"/>
              </a:spcBef>
              <a:spcAft>
                <a:spcPct val="0"/>
              </a:spcAft>
            </a:pPr>
            <a:endParaRPr lang="en-US" sz="2400" b="1" dirty="0">
              <a:solidFill>
                <a:schemeClr val="tx1"/>
              </a:solidFill>
              <a:latin typeface="Segoe Condensed" pitchFamily="34" charset="0"/>
            </a:endParaRPr>
          </a:p>
          <a:p>
            <a:pPr algn="ctr" defTabSz="914023" fontAlgn="base">
              <a:spcBef>
                <a:spcPct val="0"/>
              </a:spcBef>
              <a:spcAft>
                <a:spcPct val="0"/>
              </a:spcAft>
            </a:pPr>
            <a:endParaRPr lang="en-US" sz="2400" b="1" dirty="0">
              <a:solidFill>
                <a:schemeClr val="tx1"/>
              </a:solidFill>
              <a:latin typeface="Segoe Condensed" pitchFamily="34" charset="0"/>
            </a:endParaRPr>
          </a:p>
          <a:p>
            <a:pPr algn="ctr" defTabSz="914023" fontAlgn="base">
              <a:spcBef>
                <a:spcPct val="0"/>
              </a:spcBef>
              <a:spcAft>
                <a:spcPct val="0"/>
              </a:spcAft>
            </a:pPr>
            <a:endParaRPr lang="en-US" sz="2400" b="1" dirty="0">
              <a:solidFill>
                <a:schemeClr val="tx1"/>
              </a:solidFill>
              <a:latin typeface="Segoe Condensed" pitchFamily="34" charset="0"/>
            </a:endParaRPr>
          </a:p>
          <a:p>
            <a:pPr algn="ctr" defTabSz="914023" fontAlgn="base">
              <a:spcBef>
                <a:spcPct val="0"/>
              </a:spcBef>
              <a:spcAft>
                <a:spcPct val="0"/>
              </a:spcAft>
            </a:pPr>
            <a:endParaRPr lang="en-US" sz="2400" b="1" dirty="0">
              <a:solidFill>
                <a:schemeClr val="tx1"/>
              </a:solidFill>
              <a:latin typeface="Segoe Condensed" pitchFamily="34" charset="0"/>
            </a:endParaRPr>
          </a:p>
        </p:txBody>
      </p:sp>
      <p:sp>
        <p:nvSpPr>
          <p:cNvPr id="33" name="TextBox 32"/>
          <p:cNvSpPr txBox="1"/>
          <p:nvPr/>
        </p:nvSpPr>
        <p:spPr bwMode="black">
          <a:xfrm>
            <a:off x="2963748" y="1597486"/>
            <a:ext cx="1022660" cy="701731"/>
          </a:xfrm>
          <a:prstGeom prst="rect">
            <a:avLst/>
          </a:prstGeom>
          <a:noFill/>
        </p:spPr>
        <p:txBody>
          <a:bodyPr wrap="square" lIns="82299" tIns="0" rIns="0" bIns="0" rtlCol="0">
            <a:spAutoFit/>
          </a:bodyPr>
          <a:lstStyle/>
          <a:p>
            <a:pPr algn="ctr">
              <a:lnSpc>
                <a:spcPct val="80000"/>
              </a:lnSpc>
            </a:pPr>
            <a:r>
              <a:rPr lang="en-US" b="1" dirty="0">
                <a:latin typeface="Segoe UI Light" pitchFamily="34" charset="0"/>
                <a:cs typeface="Segoe UI Light" pitchFamily="34" charset="0"/>
              </a:rPr>
              <a:t>Let me use my existing customer-facing UI</a:t>
            </a:r>
          </a:p>
        </p:txBody>
      </p:sp>
      <p:grpSp>
        <p:nvGrpSpPr>
          <p:cNvPr id="34" name="Group 33"/>
          <p:cNvGrpSpPr/>
          <p:nvPr/>
        </p:nvGrpSpPr>
        <p:grpSpPr bwMode="black">
          <a:xfrm>
            <a:off x="2919608" y="1431752"/>
            <a:ext cx="1423788" cy="1025027"/>
            <a:chOff x="6473493" y="1478015"/>
            <a:chExt cx="1979275" cy="1425310"/>
          </a:xfrm>
        </p:grpSpPr>
        <p:pic>
          <p:nvPicPr>
            <p:cNvPr id="35" name="Picture 45" descr="C:\Users\sakuu\Documents\Ballmer MGX 2011\Tile Icons\Quotes 2.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7945494" y="1478015"/>
              <a:ext cx="507274" cy="396073"/>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46" descr="C:\Users\sakuu\Documents\Ballmer MGX 2011\Tile Icons\Quotes.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6473493" y="2575699"/>
              <a:ext cx="419610" cy="327626"/>
            </a:xfrm>
            <a:prstGeom prst="rect">
              <a:avLst/>
            </a:prstGeom>
            <a:noFill/>
            <a:extLst>
              <a:ext uri="{909E8E84-426E-40DD-AFC4-6F175D3DCCD1}">
                <a14:hiddenFill xmlns:a14="http://schemas.microsoft.com/office/drawing/2010/main">
                  <a:solidFill>
                    <a:srgbClr val="FFFFFF"/>
                  </a:solidFill>
                </a14:hiddenFill>
              </a:ext>
            </a:extLst>
          </p:spPr>
        </p:pic>
      </p:grpSp>
      <p:sp>
        <p:nvSpPr>
          <p:cNvPr id="37" name="TextBox 36"/>
          <p:cNvSpPr txBox="1"/>
          <p:nvPr/>
        </p:nvSpPr>
        <p:spPr bwMode="black">
          <a:xfrm>
            <a:off x="1173288" y="3257552"/>
            <a:ext cx="1108477" cy="1052596"/>
          </a:xfrm>
          <a:prstGeom prst="rect">
            <a:avLst/>
          </a:prstGeom>
          <a:noFill/>
        </p:spPr>
        <p:txBody>
          <a:bodyPr wrap="square" lIns="82299" tIns="0" rIns="0" bIns="0" rtlCol="0">
            <a:spAutoFit/>
          </a:bodyPr>
          <a:lstStyle/>
          <a:p>
            <a:pPr algn="ctr">
              <a:lnSpc>
                <a:spcPct val="80000"/>
              </a:lnSpc>
            </a:pPr>
            <a:r>
              <a:rPr lang="en-US" b="1" dirty="0">
                <a:latin typeface="Segoe UI Light" pitchFamily="34" charset="0"/>
                <a:cs typeface="Segoe UI Light" pitchFamily="34" charset="0"/>
              </a:rPr>
              <a:t>Manage across multiple instances of System Center</a:t>
            </a:r>
          </a:p>
        </p:txBody>
      </p:sp>
      <p:grpSp>
        <p:nvGrpSpPr>
          <p:cNvPr id="38" name="Group 37"/>
          <p:cNvGrpSpPr/>
          <p:nvPr/>
        </p:nvGrpSpPr>
        <p:grpSpPr bwMode="black">
          <a:xfrm>
            <a:off x="1069664" y="3288420"/>
            <a:ext cx="1423788" cy="1025027"/>
            <a:chOff x="6473493" y="1478015"/>
            <a:chExt cx="1979275" cy="1425310"/>
          </a:xfrm>
        </p:grpSpPr>
        <p:pic>
          <p:nvPicPr>
            <p:cNvPr id="39" name="Picture 45" descr="C:\Users\sakuu\Documents\Ballmer MGX 2011\Tile Icons\Quotes 2.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7945494" y="1478015"/>
              <a:ext cx="507274" cy="396073"/>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46" descr="C:\Users\sakuu\Documents\Ballmer MGX 2011\Tile Icons\Quotes.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6473493" y="2575699"/>
              <a:ext cx="419610" cy="327626"/>
            </a:xfrm>
            <a:prstGeom prst="rect">
              <a:avLst/>
            </a:prstGeom>
            <a:noFill/>
            <a:extLst>
              <a:ext uri="{909E8E84-426E-40DD-AFC4-6F175D3DCCD1}">
                <a14:hiddenFill xmlns:a14="http://schemas.microsoft.com/office/drawing/2010/main">
                  <a:solidFill>
                    <a:srgbClr val="FFFFFF"/>
                  </a:solidFill>
                </a14:hiddenFill>
              </a:ext>
            </a:extLst>
          </p:spPr>
        </p:pic>
      </p:grpSp>
      <p:sp>
        <p:nvSpPr>
          <p:cNvPr id="41" name="TextBox 40"/>
          <p:cNvSpPr txBox="1"/>
          <p:nvPr/>
        </p:nvSpPr>
        <p:spPr bwMode="black">
          <a:xfrm>
            <a:off x="2919608" y="3447740"/>
            <a:ext cx="1143000" cy="701731"/>
          </a:xfrm>
          <a:prstGeom prst="rect">
            <a:avLst/>
          </a:prstGeom>
          <a:noFill/>
        </p:spPr>
        <p:txBody>
          <a:bodyPr wrap="square" lIns="82299" tIns="0" rIns="0" bIns="0" rtlCol="0">
            <a:spAutoFit/>
          </a:bodyPr>
          <a:lstStyle/>
          <a:p>
            <a:pPr algn="ctr">
              <a:lnSpc>
                <a:spcPct val="80000"/>
              </a:lnSpc>
            </a:pPr>
            <a:r>
              <a:rPr lang="en-US" b="1" dirty="0">
                <a:latin typeface="Segoe UI Light" pitchFamily="34" charset="0"/>
                <a:cs typeface="Segoe UI Light" pitchFamily="34" charset="0"/>
              </a:rPr>
              <a:t>Customize and extend offerings to differentiate</a:t>
            </a:r>
          </a:p>
        </p:txBody>
      </p:sp>
      <p:grpSp>
        <p:nvGrpSpPr>
          <p:cNvPr id="43" name="Group 42"/>
          <p:cNvGrpSpPr/>
          <p:nvPr/>
        </p:nvGrpSpPr>
        <p:grpSpPr bwMode="black">
          <a:xfrm>
            <a:off x="2805828" y="3333752"/>
            <a:ext cx="1561580" cy="1025027"/>
            <a:chOff x="6473493" y="1478015"/>
            <a:chExt cx="1979275" cy="1425310"/>
          </a:xfrm>
        </p:grpSpPr>
        <p:pic>
          <p:nvPicPr>
            <p:cNvPr id="47" name="Picture 45" descr="C:\Users\sakuu\Documents\Ballmer MGX 2011\Tile Icons\Quotes 2.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7945494" y="1478015"/>
              <a:ext cx="507274" cy="396073"/>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6" descr="C:\Users\sakuu\Documents\Ballmer MGX 2011\Tile Icons\Quotes.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6473493" y="2575699"/>
              <a:ext cx="419610" cy="327626"/>
            </a:xfrm>
            <a:prstGeom prst="rect">
              <a:avLst/>
            </a:prstGeom>
            <a:noFill/>
            <a:extLst>
              <a:ext uri="{909E8E84-426E-40DD-AFC4-6F175D3DCCD1}">
                <a14:hiddenFill xmlns:a14="http://schemas.microsoft.com/office/drawing/2010/main">
                  <a:solidFill>
                    <a:srgbClr val="FFFFFF"/>
                  </a:solidFill>
                </a14:hiddenFill>
              </a:ext>
            </a:extLst>
          </p:spPr>
        </p:pic>
      </p:grpSp>
      <p:sp>
        <p:nvSpPr>
          <p:cNvPr id="53" name="TextBox 52"/>
          <p:cNvSpPr txBox="1"/>
          <p:nvPr/>
        </p:nvSpPr>
        <p:spPr bwMode="black">
          <a:xfrm>
            <a:off x="4877873" y="1557577"/>
            <a:ext cx="937337" cy="689420"/>
          </a:xfrm>
          <a:prstGeom prst="rect">
            <a:avLst/>
          </a:prstGeom>
          <a:noFill/>
        </p:spPr>
        <p:txBody>
          <a:bodyPr wrap="square" lIns="82299" tIns="0" rIns="0" bIns="0" rtlCol="0">
            <a:spAutoFit/>
          </a:bodyPr>
          <a:lstStyle/>
          <a:p>
            <a:pPr algn="ctr">
              <a:lnSpc>
                <a:spcPct val="80000"/>
              </a:lnSpc>
            </a:pPr>
            <a:r>
              <a:rPr lang="en-US" b="1" dirty="0">
                <a:latin typeface="Segoe UI Light" pitchFamily="34" charset="0"/>
                <a:cs typeface="Segoe UI Light" pitchFamily="34" charset="0"/>
              </a:rPr>
              <a:t>Web APIs to enable Hosted IaaS Portals</a:t>
            </a:r>
          </a:p>
        </p:txBody>
      </p:sp>
      <p:grpSp>
        <p:nvGrpSpPr>
          <p:cNvPr id="54" name="Group 53"/>
          <p:cNvGrpSpPr/>
          <p:nvPr/>
        </p:nvGrpSpPr>
        <p:grpSpPr bwMode="black">
          <a:xfrm>
            <a:off x="4714048" y="1428752"/>
            <a:ext cx="1466068" cy="1025027"/>
            <a:chOff x="6473493" y="1478015"/>
            <a:chExt cx="2038049" cy="1425310"/>
          </a:xfrm>
        </p:grpSpPr>
        <p:pic>
          <p:nvPicPr>
            <p:cNvPr id="55" name="Picture 45" descr="C:\Users\sakuu\Documents\Ballmer MGX 2011\Tile Icons\Quotes 2.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8004268" y="1478015"/>
              <a:ext cx="507274" cy="396073"/>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46" descr="C:\Users\sakuu\Documents\Ballmer MGX 2011\Tile Icons\Quotes.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6473493" y="2575699"/>
              <a:ext cx="419610" cy="327626"/>
            </a:xfrm>
            <a:prstGeom prst="rect">
              <a:avLst/>
            </a:prstGeom>
            <a:noFill/>
            <a:extLst>
              <a:ext uri="{909E8E84-426E-40DD-AFC4-6F175D3DCCD1}">
                <a14:hiddenFill xmlns:a14="http://schemas.microsoft.com/office/drawing/2010/main">
                  <a:solidFill>
                    <a:srgbClr val="FFFFFF"/>
                  </a:solidFill>
                </a14:hiddenFill>
              </a:ext>
            </a:extLst>
          </p:spPr>
        </p:pic>
      </p:grpSp>
      <p:sp>
        <p:nvSpPr>
          <p:cNvPr id="57" name="TextBox 56"/>
          <p:cNvSpPr txBox="1"/>
          <p:nvPr/>
        </p:nvSpPr>
        <p:spPr bwMode="black">
          <a:xfrm>
            <a:off x="6577208" y="1581152"/>
            <a:ext cx="1066800" cy="701731"/>
          </a:xfrm>
          <a:prstGeom prst="rect">
            <a:avLst/>
          </a:prstGeom>
          <a:noFill/>
        </p:spPr>
        <p:txBody>
          <a:bodyPr wrap="square" lIns="82299" tIns="0" rIns="0" bIns="0" rtlCol="0">
            <a:spAutoFit/>
          </a:bodyPr>
          <a:lstStyle/>
          <a:p>
            <a:pPr algn="ctr">
              <a:lnSpc>
                <a:spcPct val="80000"/>
              </a:lnSpc>
            </a:pPr>
            <a:r>
              <a:rPr lang="en-US" b="1" dirty="0">
                <a:latin typeface="Segoe UI Light" pitchFamily="34" charset="0"/>
                <a:cs typeface="Segoe UI Light" pitchFamily="34" charset="0"/>
              </a:rPr>
              <a:t>Add Multi-tenancy to System Center</a:t>
            </a:r>
          </a:p>
        </p:txBody>
      </p:sp>
      <p:grpSp>
        <p:nvGrpSpPr>
          <p:cNvPr id="58" name="Group 57"/>
          <p:cNvGrpSpPr/>
          <p:nvPr/>
        </p:nvGrpSpPr>
        <p:grpSpPr bwMode="black">
          <a:xfrm>
            <a:off x="6466526" y="1431751"/>
            <a:ext cx="1569054" cy="1025027"/>
            <a:chOff x="6473493" y="1478015"/>
            <a:chExt cx="1979275" cy="1425310"/>
          </a:xfrm>
        </p:grpSpPr>
        <p:pic>
          <p:nvPicPr>
            <p:cNvPr id="59" name="Picture 45" descr="C:\Users\sakuu\Documents\Ballmer MGX 2011\Tile Icons\Quotes 2.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black">
            <a:xfrm>
              <a:off x="7945494" y="1478015"/>
              <a:ext cx="507274" cy="396073"/>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46" descr="C:\Users\sakuu\Documents\Ballmer MGX 2011\Tile Icons\Quotes.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black">
            <a:xfrm>
              <a:off x="6473493" y="2575699"/>
              <a:ext cx="419610" cy="327626"/>
            </a:xfrm>
            <a:prstGeom prst="rect">
              <a:avLst/>
            </a:prstGeom>
            <a:noFill/>
            <a:extLst>
              <a:ext uri="{909E8E84-426E-40DD-AFC4-6F175D3DCCD1}">
                <a14:hiddenFill xmlns:a14="http://schemas.microsoft.com/office/drawing/2010/main">
                  <a:solidFill>
                    <a:srgbClr val="FFFFFF"/>
                  </a:solidFill>
                </a14:hiddenFill>
              </a:ext>
            </a:extLst>
          </p:spPr>
        </p:pic>
      </p:grpSp>
      <p:sp>
        <p:nvSpPr>
          <p:cNvPr id="65" name="TextBox 64"/>
          <p:cNvSpPr txBox="1"/>
          <p:nvPr/>
        </p:nvSpPr>
        <p:spPr bwMode="black">
          <a:xfrm>
            <a:off x="4795972" y="3409952"/>
            <a:ext cx="1095436" cy="877163"/>
          </a:xfrm>
          <a:prstGeom prst="rect">
            <a:avLst/>
          </a:prstGeom>
          <a:noFill/>
        </p:spPr>
        <p:txBody>
          <a:bodyPr wrap="square" lIns="82299" tIns="0" rIns="0" bIns="0" rtlCol="0">
            <a:spAutoFit/>
          </a:bodyPr>
          <a:lstStyle/>
          <a:p>
            <a:pPr algn="ctr">
              <a:lnSpc>
                <a:spcPct val="80000"/>
              </a:lnSpc>
            </a:pPr>
            <a:r>
              <a:rPr lang="en-US" b="1" dirty="0">
                <a:latin typeface="Segoe UI Light" pitchFamily="34" charset="0"/>
                <a:cs typeface="Segoe UI Light" pitchFamily="34" charset="0"/>
              </a:rPr>
              <a:t>Remove need for me to manage tenant networks</a:t>
            </a:r>
          </a:p>
        </p:txBody>
      </p:sp>
      <p:grpSp>
        <p:nvGrpSpPr>
          <p:cNvPr id="66" name="Group 65"/>
          <p:cNvGrpSpPr/>
          <p:nvPr/>
        </p:nvGrpSpPr>
        <p:grpSpPr bwMode="black">
          <a:xfrm>
            <a:off x="4672208" y="3257552"/>
            <a:ext cx="1569054" cy="1025027"/>
            <a:chOff x="6473493" y="1478015"/>
            <a:chExt cx="1979275" cy="1425310"/>
          </a:xfrm>
        </p:grpSpPr>
        <p:pic>
          <p:nvPicPr>
            <p:cNvPr id="67" name="Picture 45" descr="C:\Users\sakuu\Documents\Ballmer MGX 2011\Tile Icons\Quotes 2.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black">
            <a:xfrm>
              <a:off x="7945494" y="1478015"/>
              <a:ext cx="507274" cy="396073"/>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46" descr="C:\Users\sakuu\Documents\Ballmer MGX 2011\Tile Icons\Quotes.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black">
            <a:xfrm>
              <a:off x="6473493" y="2575699"/>
              <a:ext cx="419610" cy="327626"/>
            </a:xfrm>
            <a:prstGeom prst="rect">
              <a:avLst/>
            </a:prstGeom>
            <a:noFill/>
            <a:extLst>
              <a:ext uri="{909E8E84-426E-40DD-AFC4-6F175D3DCCD1}">
                <a14:hiddenFill xmlns:a14="http://schemas.microsoft.com/office/drawing/2010/main">
                  <a:solidFill>
                    <a:srgbClr val="FFFFFF"/>
                  </a:solidFill>
                </a14:hiddenFill>
              </a:ext>
            </a:extLst>
          </p:spPr>
        </p:pic>
      </p:grpSp>
      <p:sp>
        <p:nvSpPr>
          <p:cNvPr id="70" name="Rectangle for Speaker Name"/>
          <p:cNvSpPr/>
          <p:nvPr/>
        </p:nvSpPr>
        <p:spPr bwMode="auto">
          <a:xfrm>
            <a:off x="6400898" y="2952752"/>
            <a:ext cx="1700310" cy="1679399"/>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4" rIns="91428" bIns="45714" numCol="1" rtlCol="0" anchor="t" anchorCtr="0" compatLnSpc="1">
            <a:prstTxWarp prst="textNoShape">
              <a:avLst/>
            </a:prstTxWarp>
          </a:bodyPr>
          <a:lstStyle/>
          <a:p>
            <a:pPr algn="ctr" defTabSz="914023" fontAlgn="base">
              <a:spcBef>
                <a:spcPct val="0"/>
              </a:spcBef>
              <a:spcAft>
                <a:spcPct val="0"/>
              </a:spcAft>
            </a:pPr>
            <a:endParaRPr lang="en-US" sz="2400" b="1" dirty="0">
              <a:solidFill>
                <a:schemeClr val="tx1"/>
              </a:solidFill>
              <a:latin typeface="Segoe Condensed" pitchFamily="34" charset="0"/>
            </a:endParaRPr>
          </a:p>
          <a:p>
            <a:pPr algn="ctr" defTabSz="914023" fontAlgn="base">
              <a:spcBef>
                <a:spcPct val="0"/>
              </a:spcBef>
              <a:spcAft>
                <a:spcPct val="0"/>
              </a:spcAft>
            </a:pPr>
            <a:endParaRPr lang="en-US" sz="2400" b="1" dirty="0">
              <a:solidFill>
                <a:schemeClr val="tx1"/>
              </a:solidFill>
              <a:latin typeface="Segoe Condensed" pitchFamily="34" charset="0"/>
            </a:endParaRPr>
          </a:p>
          <a:p>
            <a:pPr algn="ctr" defTabSz="914023" fontAlgn="base">
              <a:spcBef>
                <a:spcPct val="0"/>
              </a:spcBef>
              <a:spcAft>
                <a:spcPct val="0"/>
              </a:spcAft>
            </a:pPr>
            <a:endParaRPr lang="en-US" sz="2400" b="1" dirty="0">
              <a:solidFill>
                <a:schemeClr val="tx1"/>
              </a:solidFill>
              <a:latin typeface="Segoe Condensed" pitchFamily="34" charset="0"/>
            </a:endParaRPr>
          </a:p>
          <a:p>
            <a:pPr algn="ctr" defTabSz="914023" fontAlgn="base">
              <a:spcBef>
                <a:spcPct val="0"/>
              </a:spcBef>
              <a:spcAft>
                <a:spcPct val="0"/>
              </a:spcAft>
            </a:pPr>
            <a:endParaRPr lang="en-US" sz="2400" b="1" dirty="0">
              <a:solidFill>
                <a:schemeClr val="tx1"/>
              </a:solidFill>
              <a:latin typeface="Segoe Condensed" pitchFamily="34" charset="0"/>
            </a:endParaRPr>
          </a:p>
          <a:p>
            <a:pPr algn="ctr" defTabSz="914023" fontAlgn="base">
              <a:spcBef>
                <a:spcPct val="0"/>
              </a:spcBef>
              <a:spcAft>
                <a:spcPct val="0"/>
              </a:spcAft>
            </a:pPr>
            <a:endParaRPr lang="en-US" sz="2400" b="1" dirty="0">
              <a:solidFill>
                <a:schemeClr val="tx1"/>
              </a:solidFill>
              <a:latin typeface="Segoe Condensed" pitchFamily="34" charset="0"/>
            </a:endParaRPr>
          </a:p>
        </p:txBody>
      </p:sp>
      <p:sp>
        <p:nvSpPr>
          <p:cNvPr id="71" name="TextBox 70"/>
          <p:cNvSpPr txBox="1"/>
          <p:nvPr/>
        </p:nvSpPr>
        <p:spPr bwMode="black">
          <a:xfrm>
            <a:off x="6651369" y="3409952"/>
            <a:ext cx="1068841" cy="877163"/>
          </a:xfrm>
          <a:prstGeom prst="rect">
            <a:avLst/>
          </a:prstGeom>
          <a:noFill/>
        </p:spPr>
        <p:txBody>
          <a:bodyPr wrap="square" lIns="82299" tIns="0" rIns="0" bIns="0" rtlCol="0">
            <a:spAutoFit/>
          </a:bodyPr>
          <a:lstStyle/>
          <a:p>
            <a:pPr algn="ctr">
              <a:lnSpc>
                <a:spcPct val="80000"/>
              </a:lnSpc>
            </a:pPr>
            <a:r>
              <a:rPr lang="en-US" b="1" dirty="0">
                <a:latin typeface="Segoe UI Light" pitchFamily="34" charset="0"/>
                <a:cs typeface="Segoe UI Light" pitchFamily="34" charset="0"/>
              </a:rPr>
              <a:t>Value-add services such as  monitoring or backup</a:t>
            </a:r>
          </a:p>
        </p:txBody>
      </p:sp>
      <p:grpSp>
        <p:nvGrpSpPr>
          <p:cNvPr id="72" name="Group 71"/>
          <p:cNvGrpSpPr/>
          <p:nvPr/>
        </p:nvGrpSpPr>
        <p:grpSpPr bwMode="black">
          <a:xfrm>
            <a:off x="6455954" y="3257552"/>
            <a:ext cx="1569054" cy="1025027"/>
            <a:chOff x="6473493" y="1478015"/>
            <a:chExt cx="1979275" cy="1425310"/>
          </a:xfrm>
        </p:grpSpPr>
        <p:pic>
          <p:nvPicPr>
            <p:cNvPr id="73" name="Picture 45" descr="C:\Users\sakuu\Documents\Ballmer MGX 2011\Tile Icons\Quotes 2.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black">
            <a:xfrm>
              <a:off x="7945494" y="1478015"/>
              <a:ext cx="507274" cy="396073"/>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46" descr="C:\Users\sakuu\Documents\Ballmer MGX 2011\Tile Icons\Quotes.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black">
            <a:xfrm>
              <a:off x="6473493" y="2575699"/>
              <a:ext cx="419610" cy="327626"/>
            </a:xfrm>
            <a:prstGeom prst="rect">
              <a:avLst/>
            </a:prstGeom>
            <a:noFill/>
            <a:extLst>
              <a:ext uri="{909E8E84-426E-40DD-AFC4-6F175D3DCCD1}">
                <a14:hiddenFill xmlns:a14="http://schemas.microsoft.com/office/drawing/2010/main">
                  <a:solidFill>
                    <a:srgbClr val="FFFFFF"/>
                  </a:solidFill>
                </a14:hiddenFill>
              </a:ext>
            </a:extLst>
          </p:spPr>
        </p:pic>
      </p:grpSp>
      <p:sp>
        <p:nvSpPr>
          <p:cNvPr id="75" name="Rectangle for Speaker Name"/>
          <p:cNvSpPr/>
          <p:nvPr/>
        </p:nvSpPr>
        <p:spPr bwMode="auto">
          <a:xfrm>
            <a:off x="940237" y="1123953"/>
            <a:ext cx="1700310" cy="1679399"/>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4" rIns="91428" bIns="45714" numCol="1" rtlCol="0" anchor="t" anchorCtr="0" compatLnSpc="1">
            <a:prstTxWarp prst="textNoShape">
              <a:avLst/>
            </a:prstTxWarp>
          </a:bodyPr>
          <a:lstStyle/>
          <a:p>
            <a:pPr algn="ctr" defTabSz="914023" fontAlgn="base">
              <a:spcBef>
                <a:spcPct val="0"/>
              </a:spcBef>
              <a:spcAft>
                <a:spcPct val="0"/>
              </a:spcAft>
            </a:pPr>
            <a:endParaRPr lang="en-US" sz="2400" b="1" dirty="0">
              <a:solidFill>
                <a:schemeClr val="bg1"/>
              </a:solidFill>
              <a:latin typeface="Segoe Condensed" pitchFamily="34" charset="0"/>
            </a:endParaRPr>
          </a:p>
          <a:p>
            <a:pPr algn="ctr" defTabSz="914023" fontAlgn="base">
              <a:spcBef>
                <a:spcPct val="0"/>
              </a:spcBef>
              <a:spcAft>
                <a:spcPct val="0"/>
              </a:spcAft>
            </a:pPr>
            <a:endParaRPr lang="en-US" b="1" dirty="0">
              <a:solidFill>
                <a:schemeClr val="bg1"/>
              </a:solidFill>
              <a:latin typeface="Segoe Condensed" pitchFamily="34" charset="0"/>
            </a:endParaRPr>
          </a:p>
          <a:p>
            <a:pPr algn="ctr" defTabSz="914023" fontAlgn="base">
              <a:spcBef>
                <a:spcPct val="0"/>
              </a:spcBef>
              <a:spcAft>
                <a:spcPct val="0"/>
              </a:spcAft>
            </a:pPr>
            <a:endParaRPr lang="en-US" b="1" dirty="0">
              <a:solidFill>
                <a:schemeClr val="bg1"/>
              </a:solidFill>
              <a:latin typeface="Segoe Condensed" pitchFamily="34" charset="0"/>
            </a:endParaRPr>
          </a:p>
          <a:p>
            <a:pPr algn="ctr" defTabSz="914023" fontAlgn="base">
              <a:spcBef>
                <a:spcPct val="0"/>
              </a:spcBef>
              <a:spcAft>
                <a:spcPct val="0"/>
              </a:spcAft>
            </a:pPr>
            <a:endParaRPr lang="en-US" b="1" dirty="0">
              <a:solidFill>
                <a:schemeClr val="bg1"/>
              </a:solidFill>
              <a:latin typeface="Segoe Condensed" pitchFamily="34" charset="0"/>
            </a:endParaRPr>
          </a:p>
          <a:p>
            <a:pPr algn="ctr" defTabSz="914023" fontAlgn="base">
              <a:spcBef>
                <a:spcPct val="0"/>
              </a:spcBef>
              <a:spcAft>
                <a:spcPct val="0"/>
              </a:spcAft>
            </a:pPr>
            <a:endParaRPr lang="en-US" b="1" dirty="0">
              <a:solidFill>
                <a:schemeClr val="bg1"/>
              </a:solidFill>
              <a:latin typeface="Segoe Condensed" pitchFamily="34" charset="0"/>
            </a:endParaRPr>
          </a:p>
        </p:txBody>
      </p:sp>
      <p:grpSp>
        <p:nvGrpSpPr>
          <p:cNvPr id="76" name="Group 75"/>
          <p:cNvGrpSpPr/>
          <p:nvPr/>
        </p:nvGrpSpPr>
        <p:grpSpPr bwMode="black">
          <a:xfrm flipH="1">
            <a:off x="1582337" y="1555315"/>
            <a:ext cx="443370" cy="940238"/>
            <a:chOff x="8920162" y="3943878"/>
            <a:chExt cx="419101" cy="889001"/>
          </a:xfrm>
          <a:solidFill>
            <a:srgbClr val="FFFFFF"/>
          </a:solidFill>
        </p:grpSpPr>
        <p:sp>
          <p:nvSpPr>
            <p:cNvPr id="77" name="Oval 16"/>
            <p:cNvSpPr>
              <a:spLocks noChangeArrowheads="1"/>
            </p:cNvSpPr>
            <p:nvPr/>
          </p:nvSpPr>
          <p:spPr bwMode="black">
            <a:xfrm>
              <a:off x="9148762" y="3943878"/>
              <a:ext cx="149225" cy="1460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b="1">
                <a:solidFill>
                  <a:schemeClr val="bg1"/>
                </a:solidFill>
              </a:endParaRPr>
            </a:p>
          </p:txBody>
        </p:sp>
        <p:sp>
          <p:nvSpPr>
            <p:cNvPr id="78" name="Freeform 17"/>
            <p:cNvSpPr>
              <a:spLocks/>
            </p:cNvSpPr>
            <p:nvPr/>
          </p:nvSpPr>
          <p:spPr bwMode="black">
            <a:xfrm>
              <a:off x="9017000" y="4123266"/>
              <a:ext cx="322263" cy="709613"/>
            </a:xfrm>
            <a:custGeom>
              <a:avLst/>
              <a:gdLst>
                <a:gd name="T0" fmla="*/ 76 w 86"/>
                <a:gd name="T1" fmla="*/ 0 h 189"/>
                <a:gd name="T2" fmla="*/ 80 w 86"/>
                <a:gd name="T3" fmla="*/ 3 h 189"/>
                <a:gd name="T4" fmla="*/ 83 w 86"/>
                <a:gd name="T5" fmla="*/ 11 h 189"/>
                <a:gd name="T6" fmla="*/ 78 w 86"/>
                <a:gd name="T7" fmla="*/ 21 h 189"/>
                <a:gd name="T8" fmla="*/ 44 w 86"/>
                <a:gd name="T9" fmla="*/ 47 h 189"/>
                <a:gd name="T10" fmla="*/ 39 w 86"/>
                <a:gd name="T11" fmla="*/ 50 h 189"/>
                <a:gd name="T12" fmla="*/ 39 w 86"/>
                <a:gd name="T13" fmla="*/ 81 h 189"/>
                <a:gd name="T14" fmla="*/ 2 w 86"/>
                <a:gd name="T15" fmla="*/ 173 h 189"/>
                <a:gd name="T16" fmla="*/ 9 w 86"/>
                <a:gd name="T17" fmla="*/ 188 h 189"/>
                <a:gd name="T18" fmla="*/ 13 w 86"/>
                <a:gd name="T19" fmla="*/ 189 h 189"/>
                <a:gd name="T20" fmla="*/ 24 w 86"/>
                <a:gd name="T21" fmla="*/ 181 h 189"/>
                <a:gd name="T22" fmla="*/ 63 w 86"/>
                <a:gd name="T23" fmla="*/ 83 h 189"/>
                <a:gd name="T24" fmla="*/ 63 w 86"/>
                <a:gd name="T25" fmla="*/ 177 h 189"/>
                <a:gd name="T26" fmla="*/ 74 w 86"/>
                <a:gd name="T27" fmla="*/ 189 h 189"/>
                <a:gd name="T28" fmla="*/ 86 w 86"/>
                <a:gd name="T29" fmla="*/ 177 h 189"/>
                <a:gd name="T30" fmla="*/ 86 w 86"/>
                <a:gd name="T31" fmla="*/ 72 h 189"/>
                <a:gd name="T32" fmla="*/ 86 w 86"/>
                <a:gd name="T33" fmla="*/ 17 h 189"/>
                <a:gd name="T34" fmla="*/ 76 w 86"/>
                <a:gd name="T35"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 h="189">
                  <a:moveTo>
                    <a:pt x="76" y="0"/>
                  </a:moveTo>
                  <a:cubicBezTo>
                    <a:pt x="78" y="1"/>
                    <a:pt x="79" y="2"/>
                    <a:pt x="80" y="3"/>
                  </a:cubicBezTo>
                  <a:cubicBezTo>
                    <a:pt x="82" y="6"/>
                    <a:pt x="83" y="8"/>
                    <a:pt x="83" y="11"/>
                  </a:cubicBezTo>
                  <a:cubicBezTo>
                    <a:pt x="83" y="15"/>
                    <a:pt x="81" y="18"/>
                    <a:pt x="78" y="21"/>
                  </a:cubicBezTo>
                  <a:cubicBezTo>
                    <a:pt x="44" y="47"/>
                    <a:pt x="44" y="47"/>
                    <a:pt x="44" y="47"/>
                  </a:cubicBezTo>
                  <a:cubicBezTo>
                    <a:pt x="42" y="49"/>
                    <a:pt x="40" y="49"/>
                    <a:pt x="39" y="50"/>
                  </a:cubicBezTo>
                  <a:cubicBezTo>
                    <a:pt x="39" y="81"/>
                    <a:pt x="39" y="81"/>
                    <a:pt x="39" y="81"/>
                  </a:cubicBezTo>
                  <a:cubicBezTo>
                    <a:pt x="2" y="173"/>
                    <a:pt x="2" y="173"/>
                    <a:pt x="2" y="173"/>
                  </a:cubicBezTo>
                  <a:cubicBezTo>
                    <a:pt x="0" y="179"/>
                    <a:pt x="3" y="186"/>
                    <a:pt x="9" y="188"/>
                  </a:cubicBezTo>
                  <a:cubicBezTo>
                    <a:pt x="10" y="189"/>
                    <a:pt x="12" y="189"/>
                    <a:pt x="13" y="189"/>
                  </a:cubicBezTo>
                  <a:cubicBezTo>
                    <a:pt x="18" y="189"/>
                    <a:pt x="22" y="186"/>
                    <a:pt x="24" y="181"/>
                  </a:cubicBezTo>
                  <a:cubicBezTo>
                    <a:pt x="63" y="83"/>
                    <a:pt x="63" y="83"/>
                    <a:pt x="63" y="83"/>
                  </a:cubicBezTo>
                  <a:cubicBezTo>
                    <a:pt x="63" y="177"/>
                    <a:pt x="63" y="177"/>
                    <a:pt x="63" y="177"/>
                  </a:cubicBezTo>
                  <a:cubicBezTo>
                    <a:pt x="63" y="184"/>
                    <a:pt x="68" y="189"/>
                    <a:pt x="74" y="189"/>
                  </a:cubicBezTo>
                  <a:cubicBezTo>
                    <a:pt x="81" y="189"/>
                    <a:pt x="86" y="184"/>
                    <a:pt x="86" y="177"/>
                  </a:cubicBezTo>
                  <a:cubicBezTo>
                    <a:pt x="86" y="72"/>
                    <a:pt x="86" y="72"/>
                    <a:pt x="86" y="72"/>
                  </a:cubicBezTo>
                  <a:cubicBezTo>
                    <a:pt x="86" y="17"/>
                    <a:pt x="86" y="17"/>
                    <a:pt x="86" y="17"/>
                  </a:cubicBezTo>
                  <a:cubicBezTo>
                    <a:pt x="86" y="8"/>
                    <a:pt x="83" y="2"/>
                    <a:pt x="7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b="1">
                <a:solidFill>
                  <a:schemeClr val="bg1"/>
                </a:solidFill>
              </a:endParaRPr>
            </a:p>
          </p:txBody>
        </p:sp>
        <p:sp>
          <p:nvSpPr>
            <p:cNvPr id="79" name="Freeform 18"/>
            <p:cNvSpPr>
              <a:spLocks/>
            </p:cNvSpPr>
            <p:nvPr/>
          </p:nvSpPr>
          <p:spPr bwMode="black">
            <a:xfrm>
              <a:off x="9051925" y="4089928"/>
              <a:ext cx="265113" cy="206375"/>
            </a:xfrm>
            <a:custGeom>
              <a:avLst/>
              <a:gdLst>
                <a:gd name="T0" fmla="*/ 30 w 71"/>
                <a:gd name="T1" fmla="*/ 33 h 55"/>
                <a:gd name="T2" fmla="*/ 18 w 71"/>
                <a:gd name="T3" fmla="*/ 6 h 55"/>
                <a:gd name="T4" fmla="*/ 6 w 71"/>
                <a:gd name="T5" fmla="*/ 2 h 55"/>
                <a:gd name="T6" fmla="*/ 2 w 71"/>
                <a:gd name="T7" fmla="*/ 14 h 55"/>
                <a:gd name="T8" fmla="*/ 20 w 71"/>
                <a:gd name="T9" fmla="*/ 50 h 55"/>
                <a:gd name="T10" fmla="*/ 25 w 71"/>
                <a:gd name="T11" fmla="*/ 55 h 55"/>
                <a:gd name="T12" fmla="*/ 27 w 71"/>
                <a:gd name="T13" fmla="*/ 55 h 55"/>
                <a:gd name="T14" fmla="*/ 33 w 71"/>
                <a:gd name="T15" fmla="*/ 53 h 55"/>
                <a:gd name="T16" fmla="*/ 67 w 71"/>
                <a:gd name="T17" fmla="*/ 27 h 55"/>
                <a:gd name="T18" fmla="*/ 69 w 71"/>
                <a:gd name="T19" fmla="*/ 15 h 55"/>
                <a:gd name="T20" fmla="*/ 56 w 71"/>
                <a:gd name="T21" fmla="*/ 13 h 55"/>
                <a:gd name="T22" fmla="*/ 30 w 71"/>
                <a:gd name="T23" fmla="*/ 3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1" h="55">
                  <a:moveTo>
                    <a:pt x="30" y="33"/>
                  </a:moveTo>
                  <a:cubicBezTo>
                    <a:pt x="18" y="6"/>
                    <a:pt x="18" y="6"/>
                    <a:pt x="18" y="6"/>
                  </a:cubicBezTo>
                  <a:cubicBezTo>
                    <a:pt x="16" y="2"/>
                    <a:pt x="10" y="0"/>
                    <a:pt x="6" y="2"/>
                  </a:cubicBezTo>
                  <a:cubicBezTo>
                    <a:pt x="2" y="4"/>
                    <a:pt x="0" y="10"/>
                    <a:pt x="2" y="14"/>
                  </a:cubicBezTo>
                  <a:cubicBezTo>
                    <a:pt x="20" y="50"/>
                    <a:pt x="20" y="50"/>
                    <a:pt x="20" y="50"/>
                  </a:cubicBezTo>
                  <a:cubicBezTo>
                    <a:pt x="21" y="53"/>
                    <a:pt x="23" y="54"/>
                    <a:pt x="25" y="55"/>
                  </a:cubicBezTo>
                  <a:cubicBezTo>
                    <a:pt x="26" y="55"/>
                    <a:pt x="27" y="55"/>
                    <a:pt x="27" y="55"/>
                  </a:cubicBezTo>
                  <a:cubicBezTo>
                    <a:pt x="29" y="55"/>
                    <a:pt x="31" y="55"/>
                    <a:pt x="33" y="53"/>
                  </a:cubicBezTo>
                  <a:cubicBezTo>
                    <a:pt x="67" y="27"/>
                    <a:pt x="67" y="27"/>
                    <a:pt x="67" y="27"/>
                  </a:cubicBezTo>
                  <a:cubicBezTo>
                    <a:pt x="71" y="24"/>
                    <a:pt x="71" y="18"/>
                    <a:pt x="69" y="15"/>
                  </a:cubicBezTo>
                  <a:cubicBezTo>
                    <a:pt x="66" y="11"/>
                    <a:pt x="60" y="10"/>
                    <a:pt x="56" y="13"/>
                  </a:cubicBezTo>
                  <a:lnTo>
                    <a:pt x="30"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b="1">
                <a:solidFill>
                  <a:schemeClr val="bg1"/>
                </a:solidFill>
              </a:endParaRPr>
            </a:p>
          </p:txBody>
        </p:sp>
        <p:sp>
          <p:nvSpPr>
            <p:cNvPr id="80" name="Freeform 19"/>
            <p:cNvSpPr>
              <a:spLocks/>
            </p:cNvSpPr>
            <p:nvPr/>
          </p:nvSpPr>
          <p:spPr bwMode="black">
            <a:xfrm>
              <a:off x="8953500" y="3958166"/>
              <a:ext cx="90488" cy="165100"/>
            </a:xfrm>
            <a:custGeom>
              <a:avLst/>
              <a:gdLst>
                <a:gd name="T0" fmla="*/ 24 w 24"/>
                <a:gd name="T1" fmla="*/ 27 h 44"/>
                <a:gd name="T2" fmla="*/ 24 w 24"/>
                <a:gd name="T3" fmla="*/ 17 h 44"/>
                <a:gd name="T4" fmla="*/ 24 w 24"/>
                <a:gd name="T5" fmla="*/ 16 h 44"/>
                <a:gd name="T6" fmla="*/ 0 w 24"/>
                <a:gd name="T7" fmla="*/ 0 h 44"/>
                <a:gd name="T8" fmla="*/ 0 w 24"/>
                <a:gd name="T9" fmla="*/ 44 h 44"/>
                <a:gd name="T10" fmla="*/ 24 w 24"/>
                <a:gd name="T11" fmla="*/ 28 h 44"/>
                <a:gd name="T12" fmla="*/ 24 w 24"/>
                <a:gd name="T13" fmla="*/ 27 h 44"/>
              </a:gdLst>
              <a:ahLst/>
              <a:cxnLst>
                <a:cxn ang="0">
                  <a:pos x="T0" y="T1"/>
                </a:cxn>
                <a:cxn ang="0">
                  <a:pos x="T2" y="T3"/>
                </a:cxn>
                <a:cxn ang="0">
                  <a:pos x="T4" y="T5"/>
                </a:cxn>
                <a:cxn ang="0">
                  <a:pos x="T6" y="T7"/>
                </a:cxn>
                <a:cxn ang="0">
                  <a:pos x="T8" y="T9"/>
                </a:cxn>
                <a:cxn ang="0">
                  <a:pos x="T10" y="T11"/>
                </a:cxn>
                <a:cxn ang="0">
                  <a:pos x="T12" y="T13"/>
                </a:cxn>
              </a:cxnLst>
              <a:rect l="0" t="0" r="r" b="b"/>
              <a:pathLst>
                <a:path w="24" h="44">
                  <a:moveTo>
                    <a:pt x="24" y="27"/>
                  </a:moveTo>
                  <a:cubicBezTo>
                    <a:pt x="24" y="17"/>
                    <a:pt x="24" y="17"/>
                    <a:pt x="24" y="17"/>
                  </a:cubicBezTo>
                  <a:cubicBezTo>
                    <a:pt x="24" y="16"/>
                    <a:pt x="24" y="16"/>
                    <a:pt x="24" y="16"/>
                  </a:cubicBezTo>
                  <a:cubicBezTo>
                    <a:pt x="0" y="0"/>
                    <a:pt x="0" y="0"/>
                    <a:pt x="0" y="0"/>
                  </a:cubicBezTo>
                  <a:cubicBezTo>
                    <a:pt x="0" y="44"/>
                    <a:pt x="0" y="44"/>
                    <a:pt x="0" y="44"/>
                  </a:cubicBezTo>
                  <a:cubicBezTo>
                    <a:pt x="24" y="28"/>
                    <a:pt x="24" y="28"/>
                    <a:pt x="24" y="28"/>
                  </a:cubicBezTo>
                  <a:cubicBezTo>
                    <a:pt x="24" y="27"/>
                    <a:pt x="24" y="27"/>
                    <a:pt x="24"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b="1">
                <a:solidFill>
                  <a:schemeClr val="bg1"/>
                </a:solidFill>
              </a:endParaRPr>
            </a:p>
          </p:txBody>
        </p:sp>
        <p:sp>
          <p:nvSpPr>
            <p:cNvPr id="81" name="Freeform 20"/>
            <p:cNvSpPr>
              <a:spLocks/>
            </p:cNvSpPr>
            <p:nvPr/>
          </p:nvSpPr>
          <p:spPr bwMode="black">
            <a:xfrm>
              <a:off x="9055100" y="4010553"/>
              <a:ext cx="68263" cy="60325"/>
            </a:xfrm>
            <a:custGeom>
              <a:avLst/>
              <a:gdLst>
                <a:gd name="T0" fmla="*/ 3 w 18"/>
                <a:gd name="T1" fmla="*/ 16 h 16"/>
                <a:gd name="T2" fmla="*/ 15 w 18"/>
                <a:gd name="T3" fmla="*/ 16 h 16"/>
                <a:gd name="T4" fmla="*/ 18 w 18"/>
                <a:gd name="T5" fmla="*/ 13 h 16"/>
                <a:gd name="T6" fmla="*/ 18 w 18"/>
                <a:gd name="T7" fmla="*/ 3 h 16"/>
                <a:gd name="T8" fmla="*/ 15 w 18"/>
                <a:gd name="T9" fmla="*/ 0 h 16"/>
                <a:gd name="T10" fmla="*/ 3 w 18"/>
                <a:gd name="T11" fmla="*/ 0 h 16"/>
                <a:gd name="T12" fmla="*/ 0 w 18"/>
                <a:gd name="T13" fmla="*/ 3 h 16"/>
                <a:gd name="T14" fmla="*/ 0 w 18"/>
                <a:gd name="T15" fmla="*/ 13 h 16"/>
                <a:gd name="T16" fmla="*/ 3 w 18"/>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6">
                  <a:moveTo>
                    <a:pt x="3" y="16"/>
                  </a:moveTo>
                  <a:cubicBezTo>
                    <a:pt x="15" y="16"/>
                    <a:pt x="15" y="16"/>
                    <a:pt x="15" y="16"/>
                  </a:cubicBezTo>
                  <a:cubicBezTo>
                    <a:pt x="17" y="16"/>
                    <a:pt x="18" y="15"/>
                    <a:pt x="18" y="13"/>
                  </a:cubicBezTo>
                  <a:cubicBezTo>
                    <a:pt x="18" y="3"/>
                    <a:pt x="18" y="3"/>
                    <a:pt x="18" y="3"/>
                  </a:cubicBezTo>
                  <a:cubicBezTo>
                    <a:pt x="18" y="1"/>
                    <a:pt x="17" y="0"/>
                    <a:pt x="15" y="0"/>
                  </a:cubicBezTo>
                  <a:cubicBezTo>
                    <a:pt x="3" y="0"/>
                    <a:pt x="3" y="0"/>
                    <a:pt x="3" y="0"/>
                  </a:cubicBezTo>
                  <a:cubicBezTo>
                    <a:pt x="1" y="0"/>
                    <a:pt x="0" y="1"/>
                    <a:pt x="0" y="3"/>
                  </a:cubicBezTo>
                  <a:cubicBezTo>
                    <a:pt x="0" y="13"/>
                    <a:pt x="0" y="13"/>
                    <a:pt x="0" y="13"/>
                  </a:cubicBezTo>
                  <a:cubicBezTo>
                    <a:pt x="0" y="15"/>
                    <a:pt x="1" y="16"/>
                    <a:pt x="3"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b="1">
                <a:solidFill>
                  <a:schemeClr val="bg1"/>
                </a:solidFill>
              </a:endParaRPr>
            </a:p>
          </p:txBody>
        </p:sp>
        <p:sp>
          <p:nvSpPr>
            <p:cNvPr id="82" name="Freeform 21"/>
            <p:cNvSpPr>
              <a:spLocks/>
            </p:cNvSpPr>
            <p:nvPr/>
          </p:nvSpPr>
          <p:spPr bwMode="black">
            <a:xfrm>
              <a:off x="8920162" y="3943878"/>
              <a:ext cx="19050" cy="195263"/>
            </a:xfrm>
            <a:custGeom>
              <a:avLst/>
              <a:gdLst>
                <a:gd name="T0" fmla="*/ 3 w 5"/>
                <a:gd name="T1" fmla="*/ 0 h 52"/>
                <a:gd name="T2" fmla="*/ 2 w 5"/>
                <a:gd name="T3" fmla="*/ 0 h 52"/>
                <a:gd name="T4" fmla="*/ 0 w 5"/>
                <a:gd name="T5" fmla="*/ 2 h 52"/>
                <a:gd name="T6" fmla="*/ 0 w 5"/>
                <a:gd name="T7" fmla="*/ 50 h 52"/>
                <a:gd name="T8" fmla="*/ 2 w 5"/>
                <a:gd name="T9" fmla="*/ 52 h 52"/>
                <a:gd name="T10" fmla="*/ 3 w 5"/>
                <a:gd name="T11" fmla="*/ 52 h 52"/>
                <a:gd name="T12" fmla="*/ 5 w 5"/>
                <a:gd name="T13" fmla="*/ 50 h 52"/>
                <a:gd name="T14" fmla="*/ 5 w 5"/>
                <a:gd name="T15" fmla="*/ 2 h 52"/>
                <a:gd name="T16" fmla="*/ 3 w 5"/>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52">
                  <a:moveTo>
                    <a:pt x="3" y="0"/>
                  </a:moveTo>
                  <a:cubicBezTo>
                    <a:pt x="2" y="0"/>
                    <a:pt x="2" y="0"/>
                    <a:pt x="2" y="0"/>
                  </a:cubicBezTo>
                  <a:cubicBezTo>
                    <a:pt x="1" y="0"/>
                    <a:pt x="0" y="1"/>
                    <a:pt x="0" y="2"/>
                  </a:cubicBezTo>
                  <a:cubicBezTo>
                    <a:pt x="0" y="50"/>
                    <a:pt x="0" y="50"/>
                    <a:pt x="0" y="50"/>
                  </a:cubicBezTo>
                  <a:cubicBezTo>
                    <a:pt x="0" y="51"/>
                    <a:pt x="1" y="52"/>
                    <a:pt x="2" y="52"/>
                  </a:cubicBezTo>
                  <a:cubicBezTo>
                    <a:pt x="3" y="52"/>
                    <a:pt x="3" y="52"/>
                    <a:pt x="3" y="52"/>
                  </a:cubicBezTo>
                  <a:cubicBezTo>
                    <a:pt x="4" y="52"/>
                    <a:pt x="5" y="51"/>
                    <a:pt x="5" y="50"/>
                  </a:cubicBezTo>
                  <a:cubicBezTo>
                    <a:pt x="5" y="2"/>
                    <a:pt x="5" y="2"/>
                    <a:pt x="5" y="2"/>
                  </a:cubicBezTo>
                  <a:cubicBezTo>
                    <a:pt x="5" y="1"/>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b="1">
                <a:solidFill>
                  <a:schemeClr val="bg1"/>
                </a:solidFill>
              </a:endParaRPr>
            </a:p>
          </p:txBody>
        </p:sp>
      </p:grpSp>
      <p:sp>
        <p:nvSpPr>
          <p:cNvPr id="46"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49"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6"/>
              </a:rPr>
              <a:t>www.rapidbbs.cn</a:t>
            </a:r>
            <a:endParaRPr lang="zh-CN" altLang="en-US" sz="1200" b="0">
              <a:latin typeface="Arial" charset="0"/>
              <a:ea typeface="ＭＳ Ｐゴシック" pitchFamily="34" charset="-128"/>
            </a:endParaRPr>
          </a:p>
        </p:txBody>
      </p:sp>
      <p:pic>
        <p:nvPicPr>
          <p:cNvPr id="50" name="Picture 2">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61936254"/>
      </p:ext>
    </p:extLst>
  </p:cSld>
  <p:clrMapOvr>
    <a:masterClrMapping/>
  </p:clrMapOvr>
  <p:transition spd="slow">
    <p:push dir="u"/>
  </p:transition>
  <p:timing>
    <p:tnLst>
      <p:par>
        <p:cTn id="1" dur="indefinite" restart="never" nodeType="tmRoot"/>
      </p:par>
    </p:tnLst>
  </p:timing>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PF Enables Hosted </a:t>
            </a:r>
            <a:r>
              <a:rPr lang="en-US" dirty="0" err="1" smtClean="0"/>
              <a:t>IaaS</a:t>
            </a:r>
            <a:endParaRPr lang="en-US" dirty="0"/>
          </a:p>
        </p:txBody>
      </p:sp>
      <p:sp>
        <p:nvSpPr>
          <p:cNvPr id="42" name="Rectangle 41"/>
          <p:cNvSpPr/>
          <p:nvPr/>
        </p:nvSpPr>
        <p:spPr bwMode="auto">
          <a:xfrm>
            <a:off x="227468" y="4141098"/>
            <a:ext cx="8665918" cy="773802"/>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6" tIns="34294" rIns="34294" bIns="68586" numCol="2" spcCol="685862" rtlCol="0" fromWordArt="0" anchor="ctr" anchorCtr="0" forceAA="0" compatLnSpc="1">
            <a:prstTxWarp prst="textNoShape">
              <a:avLst/>
            </a:prstTxWarp>
            <a:noAutofit/>
          </a:bodyPr>
          <a:lstStyle/>
          <a:p>
            <a:pPr>
              <a:spcAft>
                <a:spcPts val="225"/>
              </a:spcAft>
            </a:pPr>
            <a:endParaRPr lang="en-US" sz="1100" dirty="0">
              <a:solidFill>
                <a:srgbClr val="FFFFFF"/>
              </a:solidFill>
            </a:endParaRPr>
          </a:p>
        </p:txBody>
      </p:sp>
      <p:grpSp>
        <p:nvGrpSpPr>
          <p:cNvPr id="43" name="Group 42"/>
          <p:cNvGrpSpPr/>
          <p:nvPr/>
        </p:nvGrpSpPr>
        <p:grpSpPr>
          <a:xfrm>
            <a:off x="2628394" y="4149995"/>
            <a:ext cx="4253614" cy="673692"/>
            <a:chOff x="1851953" y="5819206"/>
            <a:chExt cx="4770432" cy="898255"/>
          </a:xfrm>
        </p:grpSpPr>
        <p:pic>
          <p:nvPicPr>
            <p:cNvPr id="44" name="Picture 43"/>
            <p:cNvPicPr>
              <a:picLocks noChangeAspect="1"/>
            </p:cNvPicPr>
            <p:nvPr/>
          </p:nvPicPr>
          <p:blipFill rotWithShape="1">
            <a:blip r:embed="rId2">
              <a:extLst>
                <a:ext uri="{28A0092B-C50C-407E-A947-70E740481C1C}">
                  <a14:useLocalDpi xmlns:a14="http://schemas.microsoft.com/office/drawing/2010/main" val="0"/>
                </a:ext>
              </a:extLst>
            </a:blip>
            <a:srcRect l="20640"/>
            <a:stretch/>
          </p:blipFill>
          <p:spPr>
            <a:xfrm>
              <a:off x="1851953" y="5819206"/>
              <a:ext cx="3706011" cy="831236"/>
            </a:xfrm>
            <a:prstGeom prst="rect">
              <a:avLst/>
            </a:prstGeom>
          </p:spPr>
        </p:pic>
        <p:sp>
          <p:nvSpPr>
            <p:cNvPr id="45" name="Rectangle 44"/>
            <p:cNvSpPr/>
            <p:nvPr/>
          </p:nvSpPr>
          <p:spPr>
            <a:xfrm>
              <a:off x="5099315" y="5978797"/>
              <a:ext cx="1523070" cy="738664"/>
            </a:xfrm>
            <a:prstGeom prst="rect">
              <a:avLst/>
            </a:prstGeom>
          </p:spPr>
          <p:txBody>
            <a:bodyPr wrap="none">
              <a:spAutoFit/>
            </a:bodyPr>
            <a:lstStyle/>
            <a:p>
              <a:pPr lvl="1"/>
              <a:r>
                <a:rPr lang="en-US" sz="3000" dirty="0">
                  <a:gradFill>
                    <a:gsLst>
                      <a:gs pos="0">
                        <a:srgbClr val="FFFFFF"/>
                      </a:gs>
                      <a:gs pos="86000">
                        <a:srgbClr val="FFFFFF"/>
                      </a:gs>
                    </a:gsLst>
                    <a:lin ang="5400000" scaled="0"/>
                  </a:gradFill>
                </a:rPr>
                <a:t>2012</a:t>
              </a:r>
              <a:endParaRPr lang="en-US" sz="3000" dirty="0">
                <a:solidFill>
                  <a:srgbClr val="FFFFFF"/>
                </a:solidFill>
              </a:endParaRPr>
            </a:p>
          </p:txBody>
        </p:sp>
      </p:grpSp>
      <p:sp>
        <p:nvSpPr>
          <p:cNvPr id="47" name="Rectangle 46"/>
          <p:cNvSpPr/>
          <p:nvPr/>
        </p:nvSpPr>
        <p:spPr bwMode="auto">
          <a:xfrm>
            <a:off x="227468" y="3086101"/>
            <a:ext cx="8665918" cy="903674"/>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6" tIns="34294" rIns="34294" bIns="68586" numCol="2" spcCol="685862" rtlCol="0" fromWordArt="0" anchor="ctr" anchorCtr="0" forceAA="0" compatLnSpc="1">
            <a:prstTxWarp prst="textNoShape">
              <a:avLst/>
            </a:prstTxWarp>
            <a:noAutofit/>
          </a:bodyPr>
          <a:lstStyle/>
          <a:p>
            <a:pPr>
              <a:spcAft>
                <a:spcPts val="225"/>
              </a:spcAft>
            </a:pPr>
            <a:endParaRPr lang="en-US" sz="1100" dirty="0">
              <a:solidFill>
                <a:srgbClr val="FFFFFF"/>
              </a:solidFill>
            </a:endParaRPr>
          </a:p>
        </p:txBody>
      </p:sp>
      <p:pic>
        <p:nvPicPr>
          <p:cNvPr id="48" name="Picture 4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33180" y="3200401"/>
            <a:ext cx="4511085" cy="675074"/>
          </a:xfrm>
          <a:prstGeom prst="rect">
            <a:avLst/>
          </a:prstGeom>
        </p:spPr>
      </p:pic>
      <p:grpSp>
        <p:nvGrpSpPr>
          <p:cNvPr id="3" name="Group 2"/>
          <p:cNvGrpSpPr/>
          <p:nvPr/>
        </p:nvGrpSpPr>
        <p:grpSpPr>
          <a:xfrm>
            <a:off x="227469" y="1485901"/>
            <a:ext cx="1646349" cy="1321661"/>
            <a:chOff x="303212" y="1981200"/>
            <a:chExt cx="2194560" cy="1762214"/>
          </a:xfrm>
        </p:grpSpPr>
        <p:sp>
          <p:nvSpPr>
            <p:cNvPr id="7" name="Rectangle 6"/>
            <p:cNvSpPr/>
            <p:nvPr/>
          </p:nvSpPr>
          <p:spPr bwMode="auto">
            <a:xfrm>
              <a:off x="303212" y="1981200"/>
              <a:ext cx="2194560" cy="176221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133363" indent="-133363" algn="ctr" defTabSz="684441" fontAlgn="base">
                <a:spcBef>
                  <a:spcPct val="0"/>
                </a:spcBef>
                <a:spcAft>
                  <a:spcPct val="0"/>
                </a:spcAft>
              </a:pPr>
              <a:r>
                <a:rPr lang="en-US" sz="1100" b="1" spc="-38" dirty="0">
                  <a:gradFill>
                    <a:gsLst>
                      <a:gs pos="0">
                        <a:srgbClr val="FFFFFF"/>
                      </a:gs>
                      <a:gs pos="86000">
                        <a:srgbClr val="FFFFFF"/>
                      </a:gs>
                    </a:gsLst>
                    <a:lin ang="5400000" scaled="0"/>
                  </a:gradFill>
                  <a:ea typeface="Segoe UI" pitchFamily="34" charset="0"/>
                  <a:cs typeface="Segoe UI" pitchFamily="34" charset="0"/>
                </a:rPr>
                <a:t>Virtual Machines</a:t>
              </a:r>
            </a:p>
            <a:p>
              <a:pPr marL="133363" indent="-133363" algn="ctr" defTabSz="684441" fontAlgn="base">
                <a:spcBef>
                  <a:spcPct val="0"/>
                </a:spcBef>
                <a:spcAft>
                  <a:spcPct val="0"/>
                </a:spcAft>
              </a:pPr>
              <a:r>
                <a:rPr lang="en-US" sz="1100" spc="-38" dirty="0">
                  <a:solidFill>
                    <a:schemeClr val="tx1"/>
                  </a:solidFill>
                  <a:ea typeface="Segoe UI" pitchFamily="34" charset="0"/>
                  <a:cs typeface="Segoe UI" pitchFamily="34" charset="0"/>
                </a:rPr>
                <a:t>Virtual Machine Manager</a:t>
              </a:r>
            </a:p>
          </p:txBody>
        </p:sp>
        <p:sp>
          <p:nvSpPr>
            <p:cNvPr id="49" name="Freeform 30"/>
            <p:cNvSpPr>
              <a:spLocks noEditPoints="1"/>
            </p:cNvSpPr>
            <p:nvPr/>
          </p:nvSpPr>
          <p:spPr bwMode="auto">
            <a:xfrm>
              <a:off x="912812" y="2209800"/>
              <a:ext cx="879922" cy="813300"/>
            </a:xfrm>
            <a:custGeom>
              <a:avLst/>
              <a:gdLst>
                <a:gd name="T0" fmla="*/ 120 w 296"/>
                <a:gd name="T1" fmla="*/ 172 h 274"/>
                <a:gd name="T2" fmla="*/ 296 w 296"/>
                <a:gd name="T3" fmla="*/ 85 h 274"/>
                <a:gd name="T4" fmla="*/ 296 w 296"/>
                <a:gd name="T5" fmla="*/ 128 h 274"/>
                <a:gd name="T6" fmla="*/ 294 w 296"/>
                <a:gd name="T7" fmla="*/ 145 h 274"/>
                <a:gd name="T8" fmla="*/ 296 w 296"/>
                <a:gd name="T9" fmla="*/ 187 h 274"/>
                <a:gd name="T10" fmla="*/ 154 w 296"/>
                <a:gd name="T11" fmla="*/ 273 h 274"/>
                <a:gd name="T12" fmla="*/ 146 w 296"/>
                <a:gd name="T13" fmla="*/ 271 h 274"/>
                <a:gd name="T14" fmla="*/ 142 w 296"/>
                <a:gd name="T15" fmla="*/ 272 h 274"/>
                <a:gd name="T16" fmla="*/ 10 w 296"/>
                <a:gd name="T17" fmla="*/ 190 h 274"/>
                <a:gd name="T18" fmla="*/ 8 w 296"/>
                <a:gd name="T19" fmla="*/ 186 h 274"/>
                <a:gd name="T20" fmla="*/ 0 w 296"/>
                <a:gd name="T21" fmla="*/ 189 h 274"/>
                <a:gd name="T22" fmla="*/ 0 w 296"/>
                <a:gd name="T23" fmla="*/ 159 h 274"/>
                <a:gd name="T24" fmla="*/ 8 w 296"/>
                <a:gd name="T25" fmla="*/ 146 h 274"/>
                <a:gd name="T26" fmla="*/ 10 w 296"/>
                <a:gd name="T27" fmla="*/ 129 h 274"/>
                <a:gd name="T28" fmla="*/ 8 w 296"/>
                <a:gd name="T29" fmla="*/ 125 h 274"/>
                <a:gd name="T30" fmla="*/ 0 w 296"/>
                <a:gd name="T31" fmla="*/ 128 h 274"/>
                <a:gd name="T32" fmla="*/ 0 w 296"/>
                <a:gd name="T33" fmla="*/ 98 h 274"/>
                <a:gd name="T34" fmla="*/ 8 w 296"/>
                <a:gd name="T35" fmla="*/ 85 h 274"/>
                <a:gd name="T36" fmla="*/ 152 w 296"/>
                <a:gd name="T37" fmla="*/ 0 h 274"/>
                <a:gd name="T38" fmla="*/ 296 w 296"/>
                <a:gd name="T39" fmla="*/ 85 h 274"/>
                <a:gd name="T40" fmla="*/ 3 w 296"/>
                <a:gd name="T41" fmla="*/ 124 h 274"/>
                <a:gd name="T42" fmla="*/ 8 w 296"/>
                <a:gd name="T43" fmla="*/ 158 h 274"/>
                <a:gd name="T44" fmla="*/ 8 w 296"/>
                <a:gd name="T45" fmla="*/ 182 h 274"/>
                <a:gd name="T46" fmla="*/ 44 w 296"/>
                <a:gd name="T47" fmla="*/ 106 h 274"/>
                <a:gd name="T48" fmla="*/ 152 w 296"/>
                <a:gd name="T49" fmla="*/ 43 h 274"/>
                <a:gd name="T50" fmla="*/ 150 w 296"/>
                <a:gd name="T51" fmla="*/ 42 h 274"/>
                <a:gd name="T52" fmla="*/ 14 w 296"/>
                <a:gd name="T53" fmla="*/ 122 h 274"/>
                <a:gd name="T54" fmla="*/ 14 w 296"/>
                <a:gd name="T55" fmla="*/ 122 h 274"/>
                <a:gd name="T56" fmla="*/ 141 w 296"/>
                <a:gd name="T57" fmla="*/ 183 h 274"/>
                <a:gd name="T58" fmla="*/ 150 w 296"/>
                <a:gd name="T59" fmla="*/ 171 h 274"/>
                <a:gd name="T60" fmla="*/ 144 w 296"/>
                <a:gd name="T61" fmla="*/ 183 h 274"/>
                <a:gd name="T62" fmla="*/ 150 w 296"/>
                <a:gd name="T63" fmla="*/ 203 h 274"/>
                <a:gd name="T64" fmla="*/ 14 w 296"/>
                <a:gd name="T65" fmla="*/ 150 h 274"/>
                <a:gd name="T66" fmla="*/ 29 w 296"/>
                <a:gd name="T67" fmla="*/ 140 h 274"/>
                <a:gd name="T68" fmla="*/ 40 w 296"/>
                <a:gd name="T69" fmla="*/ 167 h 274"/>
                <a:gd name="T70" fmla="*/ 150 w 296"/>
                <a:gd name="T71" fmla="*/ 241 h 274"/>
                <a:gd name="T72" fmla="*/ 149 w 296"/>
                <a:gd name="T73" fmla="*/ 265 h 274"/>
                <a:gd name="T74" fmla="*/ 150 w 296"/>
                <a:gd name="T75" fmla="*/ 232 h 274"/>
                <a:gd name="T76" fmla="*/ 14 w 296"/>
                <a:gd name="T77" fmla="*/ 185 h 274"/>
                <a:gd name="T78" fmla="*/ 142 w 296"/>
                <a:gd name="T79" fmla="*/ 242 h 274"/>
                <a:gd name="T80" fmla="*/ 152 w 296"/>
                <a:gd name="T81" fmla="*/ 231 h 274"/>
                <a:gd name="T82" fmla="*/ 154 w 296"/>
                <a:gd name="T83" fmla="*/ 212 h 274"/>
                <a:gd name="T84" fmla="*/ 146 w 296"/>
                <a:gd name="T85" fmla="*/ 210 h 274"/>
                <a:gd name="T86" fmla="*/ 142 w 296"/>
                <a:gd name="T87" fmla="*/ 211 h 274"/>
                <a:gd name="T88" fmla="*/ 59 w 296"/>
                <a:gd name="T89" fmla="*/ 158 h 274"/>
                <a:gd name="T90" fmla="*/ 290 w 296"/>
                <a:gd name="T91" fmla="*/ 185 h 274"/>
                <a:gd name="T92" fmla="*/ 154 w 296"/>
                <a:gd name="T93" fmla="*/ 266 h 274"/>
                <a:gd name="T94" fmla="*/ 263 w 296"/>
                <a:gd name="T95" fmla="*/ 167 h 274"/>
                <a:gd name="T96" fmla="*/ 274 w 296"/>
                <a:gd name="T97" fmla="*/ 140 h 274"/>
                <a:gd name="T98" fmla="*/ 290 w 296"/>
                <a:gd name="T99" fmla="*/ 150 h 274"/>
                <a:gd name="T100" fmla="*/ 290 w 296"/>
                <a:gd name="T101" fmla="*/ 124 h 274"/>
                <a:gd name="T102" fmla="*/ 154 w 296"/>
                <a:gd name="T103" fmla="*/ 205 h 274"/>
                <a:gd name="T104" fmla="*/ 263 w 296"/>
                <a:gd name="T105" fmla="*/ 106 h 274"/>
                <a:gd name="T106" fmla="*/ 290 w 296"/>
                <a:gd name="T107" fmla="*/ 89 h 274"/>
                <a:gd name="T108" fmla="*/ 261 w 296"/>
                <a:gd name="T109" fmla="*/ 105 h 274"/>
                <a:gd name="T110" fmla="*/ 105 w 296"/>
                <a:gd name="T111" fmla="*/ 163 h 274"/>
                <a:gd name="T112" fmla="*/ 110 w 296"/>
                <a:gd name="T113" fmla="*/ 161 h 274"/>
                <a:gd name="T114" fmla="*/ 125 w 296"/>
                <a:gd name="T115" fmla="*/ 231 h 274"/>
                <a:gd name="T116" fmla="*/ 110 w 296"/>
                <a:gd name="T117" fmla="*/ 232 h 274"/>
                <a:gd name="T118" fmla="*/ 105 w 296"/>
                <a:gd name="T119" fmla="*/ 22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6" h="274">
                  <a:moveTo>
                    <a:pt x="130" y="178"/>
                  </a:moveTo>
                  <a:cubicBezTo>
                    <a:pt x="130" y="181"/>
                    <a:pt x="128" y="182"/>
                    <a:pt x="125" y="180"/>
                  </a:cubicBezTo>
                  <a:cubicBezTo>
                    <a:pt x="122" y="179"/>
                    <a:pt x="120" y="175"/>
                    <a:pt x="120" y="172"/>
                  </a:cubicBezTo>
                  <a:cubicBezTo>
                    <a:pt x="120" y="170"/>
                    <a:pt x="122" y="169"/>
                    <a:pt x="125" y="170"/>
                  </a:cubicBezTo>
                  <a:cubicBezTo>
                    <a:pt x="128" y="172"/>
                    <a:pt x="130" y="175"/>
                    <a:pt x="130" y="178"/>
                  </a:cubicBezTo>
                  <a:close/>
                  <a:moveTo>
                    <a:pt x="296" y="85"/>
                  </a:moveTo>
                  <a:cubicBezTo>
                    <a:pt x="296" y="88"/>
                    <a:pt x="296" y="88"/>
                    <a:pt x="296" y="88"/>
                  </a:cubicBezTo>
                  <a:cubicBezTo>
                    <a:pt x="296" y="126"/>
                    <a:pt x="296" y="126"/>
                    <a:pt x="296" y="126"/>
                  </a:cubicBezTo>
                  <a:cubicBezTo>
                    <a:pt x="296" y="128"/>
                    <a:pt x="296" y="128"/>
                    <a:pt x="296" y="128"/>
                  </a:cubicBezTo>
                  <a:cubicBezTo>
                    <a:pt x="294" y="129"/>
                    <a:pt x="294" y="129"/>
                    <a:pt x="294" y="129"/>
                  </a:cubicBezTo>
                  <a:cubicBezTo>
                    <a:pt x="280" y="137"/>
                    <a:pt x="280" y="137"/>
                    <a:pt x="280" y="137"/>
                  </a:cubicBezTo>
                  <a:cubicBezTo>
                    <a:pt x="294" y="145"/>
                    <a:pt x="294" y="145"/>
                    <a:pt x="294" y="145"/>
                  </a:cubicBezTo>
                  <a:cubicBezTo>
                    <a:pt x="296" y="146"/>
                    <a:pt x="296" y="146"/>
                    <a:pt x="296" y="146"/>
                  </a:cubicBezTo>
                  <a:cubicBezTo>
                    <a:pt x="296" y="149"/>
                    <a:pt x="296" y="149"/>
                    <a:pt x="296" y="149"/>
                  </a:cubicBezTo>
                  <a:cubicBezTo>
                    <a:pt x="296" y="187"/>
                    <a:pt x="296" y="187"/>
                    <a:pt x="296" y="187"/>
                  </a:cubicBezTo>
                  <a:cubicBezTo>
                    <a:pt x="296" y="189"/>
                    <a:pt x="296" y="189"/>
                    <a:pt x="296" y="189"/>
                  </a:cubicBezTo>
                  <a:cubicBezTo>
                    <a:pt x="294" y="190"/>
                    <a:pt x="294" y="190"/>
                    <a:pt x="294" y="190"/>
                  </a:cubicBezTo>
                  <a:cubicBezTo>
                    <a:pt x="154" y="273"/>
                    <a:pt x="154" y="273"/>
                    <a:pt x="154" y="273"/>
                  </a:cubicBezTo>
                  <a:cubicBezTo>
                    <a:pt x="152" y="274"/>
                    <a:pt x="152" y="274"/>
                    <a:pt x="152" y="274"/>
                  </a:cubicBezTo>
                  <a:cubicBezTo>
                    <a:pt x="150" y="273"/>
                    <a:pt x="150" y="273"/>
                    <a:pt x="150" y="273"/>
                  </a:cubicBezTo>
                  <a:cubicBezTo>
                    <a:pt x="146" y="271"/>
                    <a:pt x="146" y="271"/>
                    <a:pt x="146" y="271"/>
                  </a:cubicBezTo>
                  <a:cubicBezTo>
                    <a:pt x="144" y="272"/>
                    <a:pt x="144" y="272"/>
                    <a:pt x="144" y="272"/>
                  </a:cubicBezTo>
                  <a:cubicBezTo>
                    <a:pt x="143" y="272"/>
                    <a:pt x="143" y="272"/>
                    <a:pt x="143" y="272"/>
                  </a:cubicBezTo>
                  <a:cubicBezTo>
                    <a:pt x="142" y="272"/>
                    <a:pt x="142" y="272"/>
                    <a:pt x="142" y="272"/>
                  </a:cubicBezTo>
                  <a:cubicBezTo>
                    <a:pt x="141" y="272"/>
                    <a:pt x="141" y="271"/>
                    <a:pt x="141" y="271"/>
                  </a:cubicBezTo>
                  <a:cubicBezTo>
                    <a:pt x="141" y="268"/>
                    <a:pt x="141" y="268"/>
                    <a:pt x="141" y="268"/>
                  </a:cubicBezTo>
                  <a:cubicBezTo>
                    <a:pt x="10" y="190"/>
                    <a:pt x="10" y="190"/>
                    <a:pt x="10" y="190"/>
                  </a:cubicBezTo>
                  <a:cubicBezTo>
                    <a:pt x="8" y="189"/>
                    <a:pt x="8" y="189"/>
                    <a:pt x="8" y="189"/>
                  </a:cubicBezTo>
                  <a:cubicBezTo>
                    <a:pt x="8" y="186"/>
                    <a:pt x="8" y="186"/>
                    <a:pt x="8" y="186"/>
                  </a:cubicBezTo>
                  <a:cubicBezTo>
                    <a:pt x="8" y="186"/>
                    <a:pt x="8" y="186"/>
                    <a:pt x="8" y="186"/>
                  </a:cubicBezTo>
                  <a:cubicBezTo>
                    <a:pt x="2" y="189"/>
                    <a:pt x="2" y="189"/>
                    <a:pt x="2" y="189"/>
                  </a:cubicBezTo>
                  <a:cubicBezTo>
                    <a:pt x="2" y="189"/>
                    <a:pt x="2" y="189"/>
                    <a:pt x="1" y="189"/>
                  </a:cubicBezTo>
                  <a:cubicBezTo>
                    <a:pt x="1" y="189"/>
                    <a:pt x="1" y="189"/>
                    <a:pt x="0" y="189"/>
                  </a:cubicBezTo>
                  <a:cubicBezTo>
                    <a:pt x="0" y="189"/>
                    <a:pt x="0" y="188"/>
                    <a:pt x="0" y="188"/>
                  </a:cubicBezTo>
                  <a:cubicBezTo>
                    <a:pt x="0" y="161"/>
                    <a:pt x="0" y="161"/>
                    <a:pt x="0" y="161"/>
                  </a:cubicBezTo>
                  <a:cubicBezTo>
                    <a:pt x="0" y="160"/>
                    <a:pt x="0" y="159"/>
                    <a:pt x="0" y="159"/>
                  </a:cubicBezTo>
                  <a:cubicBezTo>
                    <a:pt x="8" y="155"/>
                    <a:pt x="8" y="155"/>
                    <a:pt x="8" y="155"/>
                  </a:cubicBezTo>
                  <a:cubicBezTo>
                    <a:pt x="8" y="148"/>
                    <a:pt x="8" y="148"/>
                    <a:pt x="8" y="148"/>
                  </a:cubicBezTo>
                  <a:cubicBezTo>
                    <a:pt x="8" y="146"/>
                    <a:pt x="8" y="146"/>
                    <a:pt x="8" y="146"/>
                  </a:cubicBezTo>
                  <a:cubicBezTo>
                    <a:pt x="10" y="145"/>
                    <a:pt x="10" y="145"/>
                    <a:pt x="10" y="145"/>
                  </a:cubicBezTo>
                  <a:cubicBezTo>
                    <a:pt x="23" y="137"/>
                    <a:pt x="23" y="137"/>
                    <a:pt x="23" y="137"/>
                  </a:cubicBezTo>
                  <a:cubicBezTo>
                    <a:pt x="10" y="129"/>
                    <a:pt x="10" y="129"/>
                    <a:pt x="10" y="129"/>
                  </a:cubicBezTo>
                  <a:cubicBezTo>
                    <a:pt x="8" y="128"/>
                    <a:pt x="8" y="128"/>
                    <a:pt x="8" y="128"/>
                  </a:cubicBezTo>
                  <a:cubicBezTo>
                    <a:pt x="8" y="125"/>
                    <a:pt x="8" y="125"/>
                    <a:pt x="8" y="125"/>
                  </a:cubicBezTo>
                  <a:cubicBezTo>
                    <a:pt x="8" y="125"/>
                    <a:pt x="8" y="125"/>
                    <a:pt x="8" y="125"/>
                  </a:cubicBezTo>
                  <a:cubicBezTo>
                    <a:pt x="2" y="128"/>
                    <a:pt x="2" y="128"/>
                    <a:pt x="2" y="128"/>
                  </a:cubicBezTo>
                  <a:cubicBezTo>
                    <a:pt x="2" y="128"/>
                    <a:pt x="2" y="128"/>
                    <a:pt x="1" y="128"/>
                  </a:cubicBezTo>
                  <a:cubicBezTo>
                    <a:pt x="1" y="128"/>
                    <a:pt x="1" y="128"/>
                    <a:pt x="0" y="128"/>
                  </a:cubicBezTo>
                  <a:cubicBezTo>
                    <a:pt x="0" y="128"/>
                    <a:pt x="0" y="127"/>
                    <a:pt x="0" y="127"/>
                  </a:cubicBezTo>
                  <a:cubicBezTo>
                    <a:pt x="0" y="100"/>
                    <a:pt x="0" y="100"/>
                    <a:pt x="0" y="100"/>
                  </a:cubicBezTo>
                  <a:cubicBezTo>
                    <a:pt x="0" y="99"/>
                    <a:pt x="0" y="98"/>
                    <a:pt x="0" y="98"/>
                  </a:cubicBezTo>
                  <a:cubicBezTo>
                    <a:pt x="8" y="94"/>
                    <a:pt x="8" y="94"/>
                    <a:pt x="8" y="94"/>
                  </a:cubicBezTo>
                  <a:cubicBezTo>
                    <a:pt x="8" y="87"/>
                    <a:pt x="8" y="87"/>
                    <a:pt x="8" y="87"/>
                  </a:cubicBezTo>
                  <a:cubicBezTo>
                    <a:pt x="8" y="85"/>
                    <a:pt x="8" y="85"/>
                    <a:pt x="8" y="85"/>
                  </a:cubicBezTo>
                  <a:cubicBezTo>
                    <a:pt x="10" y="84"/>
                    <a:pt x="10" y="84"/>
                    <a:pt x="10" y="84"/>
                  </a:cubicBezTo>
                  <a:cubicBezTo>
                    <a:pt x="150" y="1"/>
                    <a:pt x="150" y="1"/>
                    <a:pt x="150" y="1"/>
                  </a:cubicBezTo>
                  <a:cubicBezTo>
                    <a:pt x="152" y="0"/>
                    <a:pt x="152" y="0"/>
                    <a:pt x="152" y="0"/>
                  </a:cubicBezTo>
                  <a:cubicBezTo>
                    <a:pt x="154" y="1"/>
                    <a:pt x="154" y="1"/>
                    <a:pt x="154" y="1"/>
                  </a:cubicBezTo>
                  <a:cubicBezTo>
                    <a:pt x="294" y="84"/>
                    <a:pt x="294" y="84"/>
                    <a:pt x="294" y="84"/>
                  </a:cubicBezTo>
                  <a:lnTo>
                    <a:pt x="296" y="85"/>
                  </a:lnTo>
                  <a:close/>
                  <a:moveTo>
                    <a:pt x="8" y="97"/>
                  </a:moveTo>
                  <a:cubicBezTo>
                    <a:pt x="3" y="100"/>
                    <a:pt x="3" y="100"/>
                    <a:pt x="3" y="100"/>
                  </a:cubicBezTo>
                  <a:cubicBezTo>
                    <a:pt x="3" y="124"/>
                    <a:pt x="3" y="124"/>
                    <a:pt x="3" y="124"/>
                  </a:cubicBezTo>
                  <a:cubicBezTo>
                    <a:pt x="8" y="121"/>
                    <a:pt x="8" y="121"/>
                    <a:pt x="8" y="121"/>
                  </a:cubicBezTo>
                  <a:lnTo>
                    <a:pt x="8" y="97"/>
                  </a:lnTo>
                  <a:close/>
                  <a:moveTo>
                    <a:pt x="8" y="158"/>
                  </a:moveTo>
                  <a:cubicBezTo>
                    <a:pt x="3" y="161"/>
                    <a:pt x="3" y="161"/>
                    <a:pt x="3" y="161"/>
                  </a:cubicBezTo>
                  <a:cubicBezTo>
                    <a:pt x="3" y="185"/>
                    <a:pt x="3" y="185"/>
                    <a:pt x="3" y="185"/>
                  </a:cubicBezTo>
                  <a:cubicBezTo>
                    <a:pt x="8" y="182"/>
                    <a:pt x="8" y="182"/>
                    <a:pt x="8" y="182"/>
                  </a:cubicBezTo>
                  <a:lnTo>
                    <a:pt x="8" y="158"/>
                  </a:lnTo>
                  <a:close/>
                  <a:moveTo>
                    <a:pt x="152" y="43"/>
                  </a:moveTo>
                  <a:cubicBezTo>
                    <a:pt x="44" y="106"/>
                    <a:pt x="44" y="106"/>
                    <a:pt x="44" y="106"/>
                  </a:cubicBezTo>
                  <a:cubicBezTo>
                    <a:pt x="152" y="170"/>
                    <a:pt x="152" y="170"/>
                    <a:pt x="152" y="170"/>
                  </a:cubicBezTo>
                  <a:cubicBezTo>
                    <a:pt x="259" y="106"/>
                    <a:pt x="259" y="106"/>
                    <a:pt x="259" y="106"/>
                  </a:cubicBezTo>
                  <a:lnTo>
                    <a:pt x="152" y="43"/>
                  </a:lnTo>
                  <a:close/>
                  <a:moveTo>
                    <a:pt x="14" y="89"/>
                  </a:moveTo>
                  <a:cubicBezTo>
                    <a:pt x="42" y="105"/>
                    <a:pt x="42" y="105"/>
                    <a:pt x="42" y="105"/>
                  </a:cubicBezTo>
                  <a:cubicBezTo>
                    <a:pt x="150" y="42"/>
                    <a:pt x="150" y="42"/>
                    <a:pt x="150" y="42"/>
                  </a:cubicBezTo>
                  <a:cubicBezTo>
                    <a:pt x="150" y="8"/>
                    <a:pt x="150" y="8"/>
                    <a:pt x="150" y="8"/>
                  </a:cubicBezTo>
                  <a:cubicBezTo>
                    <a:pt x="14" y="89"/>
                    <a:pt x="14" y="89"/>
                    <a:pt x="14" y="89"/>
                  </a:cubicBezTo>
                  <a:close/>
                  <a:moveTo>
                    <a:pt x="14" y="122"/>
                  </a:moveTo>
                  <a:cubicBezTo>
                    <a:pt x="40" y="106"/>
                    <a:pt x="40" y="106"/>
                    <a:pt x="40" y="106"/>
                  </a:cubicBezTo>
                  <a:cubicBezTo>
                    <a:pt x="14" y="91"/>
                    <a:pt x="14" y="91"/>
                    <a:pt x="14" y="91"/>
                  </a:cubicBezTo>
                  <a:lnTo>
                    <a:pt x="14" y="122"/>
                  </a:lnTo>
                  <a:close/>
                  <a:moveTo>
                    <a:pt x="14" y="124"/>
                  </a:moveTo>
                  <a:cubicBezTo>
                    <a:pt x="141" y="200"/>
                    <a:pt x="141" y="200"/>
                    <a:pt x="141" y="200"/>
                  </a:cubicBezTo>
                  <a:cubicBezTo>
                    <a:pt x="141" y="183"/>
                    <a:pt x="141" y="183"/>
                    <a:pt x="141" y="183"/>
                  </a:cubicBezTo>
                  <a:cubicBezTo>
                    <a:pt x="141" y="182"/>
                    <a:pt x="141" y="181"/>
                    <a:pt x="142" y="181"/>
                  </a:cubicBezTo>
                  <a:cubicBezTo>
                    <a:pt x="150" y="176"/>
                    <a:pt x="150" y="176"/>
                    <a:pt x="150" y="176"/>
                  </a:cubicBezTo>
                  <a:cubicBezTo>
                    <a:pt x="150" y="171"/>
                    <a:pt x="150" y="171"/>
                    <a:pt x="150" y="171"/>
                  </a:cubicBezTo>
                  <a:cubicBezTo>
                    <a:pt x="42" y="108"/>
                    <a:pt x="42" y="108"/>
                    <a:pt x="42" y="108"/>
                  </a:cubicBezTo>
                  <a:cubicBezTo>
                    <a:pt x="14" y="124"/>
                    <a:pt x="14" y="124"/>
                    <a:pt x="14" y="124"/>
                  </a:cubicBezTo>
                  <a:close/>
                  <a:moveTo>
                    <a:pt x="144" y="183"/>
                  </a:moveTo>
                  <a:cubicBezTo>
                    <a:pt x="144" y="202"/>
                    <a:pt x="144" y="202"/>
                    <a:pt x="144" y="202"/>
                  </a:cubicBezTo>
                  <a:cubicBezTo>
                    <a:pt x="149" y="204"/>
                    <a:pt x="149" y="204"/>
                    <a:pt x="149" y="204"/>
                  </a:cubicBezTo>
                  <a:cubicBezTo>
                    <a:pt x="150" y="203"/>
                    <a:pt x="150" y="203"/>
                    <a:pt x="150" y="203"/>
                  </a:cubicBezTo>
                  <a:cubicBezTo>
                    <a:pt x="150" y="180"/>
                    <a:pt x="150" y="180"/>
                    <a:pt x="150" y="180"/>
                  </a:cubicBezTo>
                  <a:lnTo>
                    <a:pt x="144" y="183"/>
                  </a:lnTo>
                  <a:close/>
                  <a:moveTo>
                    <a:pt x="14" y="150"/>
                  </a:moveTo>
                  <a:cubicBezTo>
                    <a:pt x="42" y="166"/>
                    <a:pt x="42" y="166"/>
                    <a:pt x="42" y="166"/>
                  </a:cubicBezTo>
                  <a:cubicBezTo>
                    <a:pt x="57" y="157"/>
                    <a:pt x="57" y="157"/>
                    <a:pt x="57" y="157"/>
                  </a:cubicBezTo>
                  <a:cubicBezTo>
                    <a:pt x="29" y="140"/>
                    <a:pt x="29" y="140"/>
                    <a:pt x="29" y="140"/>
                  </a:cubicBezTo>
                  <a:cubicBezTo>
                    <a:pt x="14" y="150"/>
                    <a:pt x="14" y="150"/>
                    <a:pt x="14" y="150"/>
                  </a:cubicBezTo>
                  <a:close/>
                  <a:moveTo>
                    <a:pt x="14" y="183"/>
                  </a:moveTo>
                  <a:cubicBezTo>
                    <a:pt x="40" y="167"/>
                    <a:pt x="40" y="167"/>
                    <a:pt x="40" y="167"/>
                  </a:cubicBezTo>
                  <a:cubicBezTo>
                    <a:pt x="14" y="152"/>
                    <a:pt x="14" y="152"/>
                    <a:pt x="14" y="152"/>
                  </a:cubicBezTo>
                  <a:lnTo>
                    <a:pt x="14" y="183"/>
                  </a:lnTo>
                  <a:close/>
                  <a:moveTo>
                    <a:pt x="150" y="241"/>
                  </a:moveTo>
                  <a:cubicBezTo>
                    <a:pt x="144" y="244"/>
                    <a:pt x="144" y="244"/>
                    <a:pt x="144" y="244"/>
                  </a:cubicBezTo>
                  <a:cubicBezTo>
                    <a:pt x="144" y="263"/>
                    <a:pt x="144" y="263"/>
                    <a:pt x="144" y="263"/>
                  </a:cubicBezTo>
                  <a:cubicBezTo>
                    <a:pt x="149" y="265"/>
                    <a:pt x="149" y="265"/>
                    <a:pt x="149" y="265"/>
                  </a:cubicBezTo>
                  <a:cubicBezTo>
                    <a:pt x="150" y="264"/>
                    <a:pt x="150" y="264"/>
                    <a:pt x="150" y="264"/>
                  </a:cubicBezTo>
                  <a:lnTo>
                    <a:pt x="150" y="241"/>
                  </a:lnTo>
                  <a:close/>
                  <a:moveTo>
                    <a:pt x="150" y="232"/>
                  </a:moveTo>
                  <a:cubicBezTo>
                    <a:pt x="42" y="169"/>
                    <a:pt x="42" y="169"/>
                    <a:pt x="42" y="169"/>
                  </a:cubicBezTo>
                  <a:cubicBezTo>
                    <a:pt x="14" y="185"/>
                    <a:pt x="14" y="185"/>
                    <a:pt x="14" y="185"/>
                  </a:cubicBezTo>
                  <a:cubicBezTo>
                    <a:pt x="14" y="185"/>
                    <a:pt x="14" y="185"/>
                    <a:pt x="14" y="185"/>
                  </a:cubicBezTo>
                  <a:cubicBezTo>
                    <a:pt x="141" y="261"/>
                    <a:pt x="141" y="261"/>
                    <a:pt x="141" y="261"/>
                  </a:cubicBezTo>
                  <a:cubicBezTo>
                    <a:pt x="141" y="244"/>
                    <a:pt x="141" y="244"/>
                    <a:pt x="141" y="244"/>
                  </a:cubicBezTo>
                  <a:cubicBezTo>
                    <a:pt x="141" y="243"/>
                    <a:pt x="141" y="242"/>
                    <a:pt x="142" y="242"/>
                  </a:cubicBezTo>
                  <a:cubicBezTo>
                    <a:pt x="150" y="237"/>
                    <a:pt x="150" y="237"/>
                    <a:pt x="150" y="237"/>
                  </a:cubicBezTo>
                  <a:lnTo>
                    <a:pt x="150" y="232"/>
                  </a:lnTo>
                  <a:close/>
                  <a:moveTo>
                    <a:pt x="152" y="231"/>
                  </a:moveTo>
                  <a:cubicBezTo>
                    <a:pt x="259" y="167"/>
                    <a:pt x="259" y="167"/>
                    <a:pt x="259" y="167"/>
                  </a:cubicBezTo>
                  <a:cubicBezTo>
                    <a:pt x="244" y="158"/>
                    <a:pt x="244" y="158"/>
                    <a:pt x="244" y="158"/>
                  </a:cubicBezTo>
                  <a:cubicBezTo>
                    <a:pt x="154" y="212"/>
                    <a:pt x="154" y="212"/>
                    <a:pt x="154" y="212"/>
                  </a:cubicBezTo>
                  <a:cubicBezTo>
                    <a:pt x="152" y="213"/>
                    <a:pt x="152" y="213"/>
                    <a:pt x="152" y="213"/>
                  </a:cubicBezTo>
                  <a:cubicBezTo>
                    <a:pt x="150" y="212"/>
                    <a:pt x="150" y="212"/>
                    <a:pt x="150" y="212"/>
                  </a:cubicBezTo>
                  <a:cubicBezTo>
                    <a:pt x="146" y="210"/>
                    <a:pt x="146" y="210"/>
                    <a:pt x="146" y="210"/>
                  </a:cubicBezTo>
                  <a:cubicBezTo>
                    <a:pt x="144" y="211"/>
                    <a:pt x="144" y="211"/>
                    <a:pt x="144" y="211"/>
                  </a:cubicBezTo>
                  <a:cubicBezTo>
                    <a:pt x="143" y="211"/>
                    <a:pt x="143" y="211"/>
                    <a:pt x="143" y="211"/>
                  </a:cubicBezTo>
                  <a:cubicBezTo>
                    <a:pt x="142" y="211"/>
                    <a:pt x="142" y="211"/>
                    <a:pt x="142" y="211"/>
                  </a:cubicBezTo>
                  <a:cubicBezTo>
                    <a:pt x="141" y="211"/>
                    <a:pt x="141" y="210"/>
                    <a:pt x="141" y="210"/>
                  </a:cubicBezTo>
                  <a:cubicBezTo>
                    <a:pt x="141" y="207"/>
                    <a:pt x="141" y="207"/>
                    <a:pt x="141" y="207"/>
                  </a:cubicBezTo>
                  <a:cubicBezTo>
                    <a:pt x="59" y="158"/>
                    <a:pt x="59" y="158"/>
                    <a:pt x="59" y="158"/>
                  </a:cubicBezTo>
                  <a:cubicBezTo>
                    <a:pt x="44" y="167"/>
                    <a:pt x="44" y="167"/>
                    <a:pt x="44" y="167"/>
                  </a:cubicBezTo>
                  <a:lnTo>
                    <a:pt x="152" y="231"/>
                  </a:lnTo>
                  <a:close/>
                  <a:moveTo>
                    <a:pt x="290" y="185"/>
                  </a:moveTo>
                  <a:cubicBezTo>
                    <a:pt x="261" y="169"/>
                    <a:pt x="261" y="169"/>
                    <a:pt x="261" y="169"/>
                  </a:cubicBezTo>
                  <a:cubicBezTo>
                    <a:pt x="154" y="232"/>
                    <a:pt x="154" y="232"/>
                    <a:pt x="154" y="232"/>
                  </a:cubicBezTo>
                  <a:cubicBezTo>
                    <a:pt x="154" y="266"/>
                    <a:pt x="154" y="266"/>
                    <a:pt x="154" y="266"/>
                  </a:cubicBezTo>
                  <a:cubicBezTo>
                    <a:pt x="290" y="185"/>
                    <a:pt x="290" y="185"/>
                    <a:pt x="290" y="185"/>
                  </a:cubicBezTo>
                  <a:close/>
                  <a:moveTo>
                    <a:pt x="290" y="152"/>
                  </a:moveTo>
                  <a:cubicBezTo>
                    <a:pt x="263" y="167"/>
                    <a:pt x="263" y="167"/>
                    <a:pt x="263" y="167"/>
                  </a:cubicBezTo>
                  <a:cubicBezTo>
                    <a:pt x="290" y="183"/>
                    <a:pt x="290" y="183"/>
                    <a:pt x="290" y="183"/>
                  </a:cubicBezTo>
                  <a:lnTo>
                    <a:pt x="290" y="152"/>
                  </a:lnTo>
                  <a:close/>
                  <a:moveTo>
                    <a:pt x="274" y="140"/>
                  </a:moveTo>
                  <a:cubicBezTo>
                    <a:pt x="246" y="157"/>
                    <a:pt x="246" y="157"/>
                    <a:pt x="246" y="157"/>
                  </a:cubicBezTo>
                  <a:cubicBezTo>
                    <a:pt x="261" y="166"/>
                    <a:pt x="261" y="166"/>
                    <a:pt x="261" y="166"/>
                  </a:cubicBezTo>
                  <a:cubicBezTo>
                    <a:pt x="290" y="150"/>
                    <a:pt x="290" y="150"/>
                    <a:pt x="290" y="150"/>
                  </a:cubicBezTo>
                  <a:cubicBezTo>
                    <a:pt x="290" y="150"/>
                    <a:pt x="290" y="150"/>
                    <a:pt x="290" y="150"/>
                  </a:cubicBezTo>
                  <a:lnTo>
                    <a:pt x="274" y="140"/>
                  </a:lnTo>
                  <a:close/>
                  <a:moveTo>
                    <a:pt x="290" y="124"/>
                  </a:moveTo>
                  <a:cubicBezTo>
                    <a:pt x="261" y="108"/>
                    <a:pt x="261" y="108"/>
                    <a:pt x="261" y="108"/>
                  </a:cubicBezTo>
                  <a:cubicBezTo>
                    <a:pt x="154" y="171"/>
                    <a:pt x="154" y="171"/>
                    <a:pt x="154" y="171"/>
                  </a:cubicBezTo>
                  <a:cubicBezTo>
                    <a:pt x="154" y="205"/>
                    <a:pt x="154" y="205"/>
                    <a:pt x="154" y="205"/>
                  </a:cubicBezTo>
                  <a:cubicBezTo>
                    <a:pt x="290" y="124"/>
                    <a:pt x="290" y="124"/>
                    <a:pt x="290" y="124"/>
                  </a:cubicBezTo>
                  <a:close/>
                  <a:moveTo>
                    <a:pt x="290" y="91"/>
                  </a:moveTo>
                  <a:cubicBezTo>
                    <a:pt x="263" y="106"/>
                    <a:pt x="263" y="106"/>
                    <a:pt x="263" y="106"/>
                  </a:cubicBezTo>
                  <a:cubicBezTo>
                    <a:pt x="290" y="122"/>
                    <a:pt x="290" y="122"/>
                    <a:pt x="290" y="122"/>
                  </a:cubicBezTo>
                  <a:lnTo>
                    <a:pt x="290" y="91"/>
                  </a:lnTo>
                  <a:close/>
                  <a:moveTo>
                    <a:pt x="290" y="89"/>
                  </a:moveTo>
                  <a:cubicBezTo>
                    <a:pt x="154" y="8"/>
                    <a:pt x="154" y="8"/>
                    <a:pt x="154" y="8"/>
                  </a:cubicBezTo>
                  <a:cubicBezTo>
                    <a:pt x="154" y="42"/>
                    <a:pt x="154" y="42"/>
                    <a:pt x="154" y="42"/>
                  </a:cubicBezTo>
                  <a:cubicBezTo>
                    <a:pt x="261" y="105"/>
                    <a:pt x="261" y="105"/>
                    <a:pt x="261" y="105"/>
                  </a:cubicBezTo>
                  <a:cubicBezTo>
                    <a:pt x="290" y="89"/>
                    <a:pt x="290" y="89"/>
                    <a:pt x="290" y="89"/>
                  </a:cubicBezTo>
                  <a:close/>
                  <a:moveTo>
                    <a:pt x="110" y="161"/>
                  </a:moveTo>
                  <a:cubicBezTo>
                    <a:pt x="107" y="159"/>
                    <a:pt x="105" y="160"/>
                    <a:pt x="105" y="163"/>
                  </a:cubicBezTo>
                  <a:cubicBezTo>
                    <a:pt x="105" y="166"/>
                    <a:pt x="107" y="170"/>
                    <a:pt x="110" y="171"/>
                  </a:cubicBezTo>
                  <a:cubicBezTo>
                    <a:pt x="113" y="173"/>
                    <a:pt x="115" y="172"/>
                    <a:pt x="115" y="169"/>
                  </a:cubicBezTo>
                  <a:cubicBezTo>
                    <a:pt x="115" y="166"/>
                    <a:pt x="113" y="163"/>
                    <a:pt x="110" y="161"/>
                  </a:cubicBezTo>
                  <a:close/>
                  <a:moveTo>
                    <a:pt x="125" y="241"/>
                  </a:moveTo>
                  <a:cubicBezTo>
                    <a:pt x="128" y="243"/>
                    <a:pt x="130" y="242"/>
                    <a:pt x="130" y="239"/>
                  </a:cubicBezTo>
                  <a:cubicBezTo>
                    <a:pt x="130" y="236"/>
                    <a:pt x="128" y="233"/>
                    <a:pt x="125" y="231"/>
                  </a:cubicBezTo>
                  <a:cubicBezTo>
                    <a:pt x="122" y="230"/>
                    <a:pt x="120" y="230"/>
                    <a:pt x="120" y="233"/>
                  </a:cubicBezTo>
                  <a:cubicBezTo>
                    <a:pt x="120" y="236"/>
                    <a:pt x="122" y="240"/>
                    <a:pt x="125" y="241"/>
                  </a:cubicBezTo>
                  <a:close/>
                  <a:moveTo>
                    <a:pt x="110" y="232"/>
                  </a:moveTo>
                  <a:cubicBezTo>
                    <a:pt x="113" y="234"/>
                    <a:pt x="115" y="233"/>
                    <a:pt x="115" y="230"/>
                  </a:cubicBezTo>
                  <a:cubicBezTo>
                    <a:pt x="115" y="227"/>
                    <a:pt x="113" y="224"/>
                    <a:pt x="110" y="222"/>
                  </a:cubicBezTo>
                  <a:cubicBezTo>
                    <a:pt x="107" y="220"/>
                    <a:pt x="105" y="221"/>
                    <a:pt x="105" y="224"/>
                  </a:cubicBezTo>
                  <a:cubicBezTo>
                    <a:pt x="105" y="227"/>
                    <a:pt x="107" y="230"/>
                    <a:pt x="110" y="23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6" name="Group 5"/>
          <p:cNvGrpSpPr/>
          <p:nvPr/>
        </p:nvGrpSpPr>
        <p:grpSpPr>
          <a:xfrm>
            <a:off x="3735887" y="1485901"/>
            <a:ext cx="1646349" cy="1321661"/>
            <a:chOff x="4979884" y="1981200"/>
            <a:chExt cx="2194560" cy="1762214"/>
          </a:xfrm>
        </p:grpSpPr>
        <p:sp>
          <p:nvSpPr>
            <p:cNvPr id="4" name="Rectangle 3"/>
            <p:cNvSpPr/>
            <p:nvPr/>
          </p:nvSpPr>
          <p:spPr bwMode="auto">
            <a:xfrm>
              <a:off x="4979884" y="1981200"/>
              <a:ext cx="2194560" cy="176221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4441" fontAlgn="base">
                <a:spcBef>
                  <a:spcPct val="0"/>
                </a:spcBef>
                <a:spcAft>
                  <a:spcPct val="0"/>
                </a:spcAft>
              </a:pPr>
              <a:endParaRPr lang="en-US" b="1" spc="-38" dirty="0">
                <a:gradFill>
                  <a:gsLst>
                    <a:gs pos="0">
                      <a:srgbClr val="FFFFFF"/>
                    </a:gs>
                    <a:gs pos="86000">
                      <a:srgbClr val="FFFFFF"/>
                    </a:gs>
                  </a:gsLst>
                  <a:lin ang="5400000" scaled="0"/>
                </a:gradFill>
                <a:ea typeface="Segoe UI" pitchFamily="34" charset="0"/>
                <a:cs typeface="Segoe UI" pitchFamily="34" charset="0"/>
              </a:endParaRPr>
            </a:p>
            <a:p>
              <a:pPr marL="133363" indent="-133363" algn="ctr" defTabSz="684441" fontAlgn="base">
                <a:lnSpc>
                  <a:spcPct val="90000"/>
                </a:lnSpc>
                <a:spcBef>
                  <a:spcPct val="0"/>
                </a:spcBef>
                <a:spcAft>
                  <a:spcPct val="0"/>
                </a:spcAft>
              </a:pPr>
              <a:r>
                <a:rPr lang="en-US" sz="1100" b="1" spc="-38" dirty="0">
                  <a:gradFill>
                    <a:gsLst>
                      <a:gs pos="0">
                        <a:srgbClr val="FFFFFF"/>
                      </a:gs>
                      <a:gs pos="86000">
                        <a:srgbClr val="FFFFFF"/>
                      </a:gs>
                    </a:gsLst>
                    <a:lin ang="5400000" scaled="0"/>
                  </a:gradFill>
                  <a:ea typeface="Segoe UI" pitchFamily="34" charset="0"/>
                  <a:cs typeface="Segoe UI" pitchFamily="34" charset="0"/>
                </a:rPr>
                <a:t>VM Networks</a:t>
              </a:r>
            </a:p>
            <a:p>
              <a:pPr marL="133363" indent="-133363" algn="ctr" defTabSz="684441" fontAlgn="base">
                <a:lnSpc>
                  <a:spcPct val="90000"/>
                </a:lnSpc>
                <a:spcBef>
                  <a:spcPct val="0"/>
                </a:spcBef>
                <a:spcAft>
                  <a:spcPct val="0"/>
                </a:spcAft>
              </a:pPr>
              <a:r>
                <a:rPr lang="en-US" sz="1100" spc="-38" dirty="0">
                  <a:gradFill>
                    <a:gsLst>
                      <a:gs pos="0">
                        <a:srgbClr val="FFFFFF"/>
                      </a:gs>
                      <a:gs pos="86000">
                        <a:srgbClr val="FFFFFF"/>
                      </a:gs>
                    </a:gsLst>
                    <a:lin ang="5400000" scaled="0"/>
                  </a:gradFill>
                  <a:ea typeface="Segoe UI" pitchFamily="34" charset="0"/>
                  <a:cs typeface="Segoe UI" pitchFamily="34" charset="0"/>
                </a:rPr>
                <a:t>Virtual Machine Manager</a:t>
              </a:r>
            </a:p>
          </p:txBody>
        </p:sp>
        <p:pic>
          <p:nvPicPr>
            <p:cNvPr id="51" name="Picture 105"/>
            <p:cNvPicPr>
              <a:picLocks noChangeAspect="1"/>
            </p:cNvPicPr>
            <p:nvPr/>
          </p:nvPicPr>
          <p:blipFill>
            <a:blip r:embed="rId4" cstate="print"/>
            <a:srcRect/>
            <a:stretch>
              <a:fillRect/>
            </a:stretch>
          </p:blipFill>
          <p:spPr bwMode="auto">
            <a:xfrm>
              <a:off x="5408612" y="2118605"/>
              <a:ext cx="400620" cy="395995"/>
            </a:xfrm>
            <a:prstGeom prst="rect">
              <a:avLst/>
            </a:prstGeom>
            <a:noFill/>
            <a:ln w="9525">
              <a:noFill/>
              <a:miter lim="800000"/>
              <a:headEnd/>
              <a:tailEnd/>
            </a:ln>
          </p:spPr>
        </p:pic>
        <p:pic>
          <p:nvPicPr>
            <p:cNvPr id="52" name="Picture 105"/>
            <p:cNvPicPr>
              <a:picLocks noChangeAspect="1"/>
            </p:cNvPicPr>
            <p:nvPr/>
          </p:nvPicPr>
          <p:blipFill>
            <a:blip r:embed="rId4" cstate="print"/>
            <a:srcRect/>
            <a:stretch>
              <a:fillRect/>
            </a:stretch>
          </p:blipFill>
          <p:spPr bwMode="auto">
            <a:xfrm>
              <a:off x="6227192" y="2118605"/>
              <a:ext cx="400620" cy="395995"/>
            </a:xfrm>
            <a:prstGeom prst="rect">
              <a:avLst/>
            </a:prstGeom>
            <a:noFill/>
            <a:ln w="9525">
              <a:noFill/>
              <a:miter lim="800000"/>
              <a:headEnd/>
              <a:tailEnd/>
            </a:ln>
          </p:spPr>
        </p:pic>
        <p:pic>
          <p:nvPicPr>
            <p:cNvPr id="53" name="Picture 241"/>
            <p:cNvPicPr>
              <a:picLocks noChangeAspect="1" noChangeArrowheads="1"/>
            </p:cNvPicPr>
            <p:nvPr/>
          </p:nvPicPr>
          <p:blipFill>
            <a:blip r:embed="rId5" cstate="print"/>
            <a:srcRect/>
            <a:stretch>
              <a:fillRect/>
            </a:stretch>
          </p:blipFill>
          <p:spPr bwMode="auto">
            <a:xfrm>
              <a:off x="5713412" y="2548428"/>
              <a:ext cx="622016" cy="499572"/>
            </a:xfrm>
            <a:prstGeom prst="rect">
              <a:avLst/>
            </a:prstGeom>
            <a:noFill/>
            <a:ln w="9525">
              <a:noFill/>
              <a:miter lim="800000"/>
              <a:headEnd/>
              <a:tailEnd/>
            </a:ln>
          </p:spPr>
        </p:pic>
      </p:grpSp>
      <p:grpSp>
        <p:nvGrpSpPr>
          <p:cNvPr id="5" name="Group 4"/>
          <p:cNvGrpSpPr/>
          <p:nvPr/>
        </p:nvGrpSpPr>
        <p:grpSpPr>
          <a:xfrm>
            <a:off x="1981678" y="1485901"/>
            <a:ext cx="1646349" cy="1321661"/>
            <a:chOff x="2641548" y="1981200"/>
            <a:chExt cx="2194560" cy="1762214"/>
          </a:xfrm>
        </p:grpSpPr>
        <p:sp>
          <p:nvSpPr>
            <p:cNvPr id="10" name="Rectangle 9"/>
            <p:cNvSpPr/>
            <p:nvPr/>
          </p:nvSpPr>
          <p:spPr bwMode="auto">
            <a:xfrm>
              <a:off x="2641548" y="1981200"/>
              <a:ext cx="2194560" cy="176221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133363" indent="-133363" algn="ctr" defTabSz="684441" fontAlgn="base">
                <a:spcBef>
                  <a:spcPct val="0"/>
                </a:spcBef>
                <a:spcAft>
                  <a:spcPct val="0"/>
                </a:spcAft>
              </a:pPr>
              <a:r>
                <a:rPr lang="en-US" sz="1100" b="1" spc="-38" dirty="0">
                  <a:gradFill>
                    <a:gsLst>
                      <a:gs pos="0">
                        <a:srgbClr val="FFFFFF"/>
                      </a:gs>
                      <a:gs pos="86000">
                        <a:srgbClr val="FFFFFF"/>
                      </a:gs>
                    </a:gsLst>
                    <a:lin ang="5400000" scaled="0"/>
                  </a:gradFill>
                  <a:ea typeface="Segoe UI" pitchFamily="34" charset="0"/>
                  <a:cs typeface="Segoe UI" pitchFamily="34" charset="0"/>
                </a:rPr>
                <a:t>Cloud Services</a:t>
              </a:r>
            </a:p>
            <a:p>
              <a:pPr marL="133363" indent="-133363" algn="ctr" defTabSz="684441" fontAlgn="base">
                <a:spcBef>
                  <a:spcPct val="0"/>
                </a:spcBef>
                <a:spcAft>
                  <a:spcPct val="0"/>
                </a:spcAft>
              </a:pPr>
              <a:r>
                <a:rPr lang="en-US" sz="1100" spc="-38" dirty="0">
                  <a:gradFill>
                    <a:gsLst>
                      <a:gs pos="0">
                        <a:srgbClr val="FFFFFF"/>
                      </a:gs>
                      <a:gs pos="86000">
                        <a:srgbClr val="FFFFFF"/>
                      </a:gs>
                    </a:gsLst>
                    <a:lin ang="5400000" scaled="0"/>
                  </a:gradFill>
                  <a:ea typeface="Segoe UI" pitchFamily="34" charset="0"/>
                  <a:cs typeface="Segoe UI" pitchFamily="34" charset="0"/>
                </a:rPr>
                <a:t>Virtual Machine Manager</a:t>
              </a:r>
            </a:p>
          </p:txBody>
        </p:sp>
        <p:pic>
          <p:nvPicPr>
            <p:cNvPr id="54" name="Picture 2"/>
            <p:cNvPicPr>
              <a:picLocks noChangeAspect="1" noChangeArrowheads="1"/>
            </p:cNvPicPr>
            <p:nvPr/>
          </p:nvPicPr>
          <p:blipFill>
            <a:blip r:embed="rId6"/>
            <a:srcRect/>
            <a:stretch>
              <a:fillRect/>
            </a:stretch>
          </p:blipFill>
          <p:spPr bwMode="auto">
            <a:xfrm>
              <a:off x="2817813" y="2146018"/>
              <a:ext cx="1752600" cy="991454"/>
            </a:xfrm>
            <a:prstGeom prst="rect">
              <a:avLst/>
            </a:prstGeom>
            <a:noFill/>
            <a:ln w="9525">
              <a:noFill/>
              <a:miter lim="800000"/>
              <a:headEnd/>
              <a:tailEnd/>
            </a:ln>
          </p:spPr>
        </p:pic>
      </p:grpSp>
      <p:grpSp>
        <p:nvGrpSpPr>
          <p:cNvPr id="8" name="Group 7"/>
          <p:cNvGrpSpPr/>
          <p:nvPr/>
        </p:nvGrpSpPr>
        <p:grpSpPr>
          <a:xfrm>
            <a:off x="5490095" y="1485901"/>
            <a:ext cx="1646349" cy="1321661"/>
            <a:chOff x="7318219" y="1981200"/>
            <a:chExt cx="2194560" cy="1762214"/>
          </a:xfrm>
        </p:grpSpPr>
        <p:grpSp>
          <p:nvGrpSpPr>
            <p:cNvPr id="25" name="Group 24"/>
            <p:cNvGrpSpPr/>
            <p:nvPr/>
          </p:nvGrpSpPr>
          <p:grpSpPr>
            <a:xfrm>
              <a:off x="7318219" y="1981200"/>
              <a:ext cx="2194560" cy="1762214"/>
              <a:chOff x="7677645" y="1676400"/>
              <a:chExt cx="2194560" cy="1762214"/>
            </a:xfrm>
          </p:grpSpPr>
          <p:sp>
            <p:nvSpPr>
              <p:cNvPr id="26" name="Rectangle 25"/>
              <p:cNvSpPr/>
              <p:nvPr/>
            </p:nvSpPr>
            <p:spPr bwMode="auto">
              <a:xfrm>
                <a:off x="7677645" y="1676400"/>
                <a:ext cx="2194560" cy="176221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133363" indent="-133363" algn="ctr" defTabSz="684441" fontAlgn="base">
                  <a:spcBef>
                    <a:spcPct val="0"/>
                  </a:spcBef>
                  <a:spcAft>
                    <a:spcPct val="0"/>
                  </a:spcAft>
                </a:pPr>
                <a:r>
                  <a:rPr lang="en-US" sz="1100" b="1" spc="-38" dirty="0">
                    <a:gradFill>
                      <a:gsLst>
                        <a:gs pos="0">
                          <a:srgbClr val="FFFFFF"/>
                        </a:gs>
                        <a:gs pos="86000">
                          <a:srgbClr val="FFFFFF"/>
                        </a:gs>
                      </a:gsLst>
                      <a:lin ang="5400000" scaled="0"/>
                    </a:gradFill>
                    <a:ea typeface="Segoe UI" pitchFamily="34" charset="0"/>
                    <a:cs typeface="Segoe UI" pitchFamily="34" charset="0"/>
                  </a:rPr>
                  <a:t>VM Monitoring </a:t>
                </a:r>
                <a:r>
                  <a:rPr lang="en-US" sz="1100" spc="-38" dirty="0">
                    <a:gradFill>
                      <a:gsLst>
                        <a:gs pos="0">
                          <a:srgbClr val="FFFFFF"/>
                        </a:gs>
                        <a:gs pos="86000">
                          <a:srgbClr val="FFFFFF"/>
                        </a:gs>
                      </a:gsLst>
                      <a:lin ang="5400000" scaled="0"/>
                    </a:gradFill>
                    <a:ea typeface="Segoe UI" pitchFamily="34" charset="0"/>
                    <a:cs typeface="Segoe UI" pitchFamily="34" charset="0"/>
                  </a:rPr>
                  <a:t>Operations Manager</a:t>
                </a:r>
              </a:p>
            </p:txBody>
          </p:sp>
          <p:sp>
            <p:nvSpPr>
              <p:cNvPr id="29" name="Right Arrow 28"/>
              <p:cNvSpPr/>
              <p:nvPr/>
            </p:nvSpPr>
            <p:spPr bwMode="auto">
              <a:xfrm>
                <a:off x="8629253" y="2373385"/>
                <a:ext cx="398058" cy="175821"/>
              </a:xfrm>
              <a:prstGeom prst="rightArrow">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ea typeface="Segoe UI" pitchFamily="34" charset="0"/>
                  <a:cs typeface="Segoe UI" pitchFamily="34" charset="0"/>
                </a:endParaRPr>
              </a:p>
            </p:txBody>
          </p:sp>
          <p:sp>
            <p:nvSpPr>
              <p:cNvPr id="30" name="Rectangle 29"/>
              <p:cNvSpPr/>
              <p:nvPr/>
            </p:nvSpPr>
            <p:spPr bwMode="auto">
              <a:xfrm>
                <a:off x="7847684" y="2084867"/>
                <a:ext cx="598354" cy="404334"/>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ea typeface="Segoe UI" pitchFamily="34" charset="0"/>
                  <a:cs typeface="Segoe UI" pitchFamily="34" charset="0"/>
                </a:endParaRPr>
              </a:p>
            </p:txBody>
          </p:sp>
        </p:grpSp>
        <p:pic>
          <p:nvPicPr>
            <p:cNvPr id="55" name="Picture 5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999412" y="2118605"/>
              <a:ext cx="795273" cy="929395"/>
            </a:xfrm>
            <a:prstGeom prst="rect">
              <a:avLst/>
            </a:prstGeom>
          </p:spPr>
        </p:pic>
      </p:grpSp>
      <p:grpSp>
        <p:nvGrpSpPr>
          <p:cNvPr id="9" name="Group 8"/>
          <p:cNvGrpSpPr/>
          <p:nvPr/>
        </p:nvGrpSpPr>
        <p:grpSpPr>
          <a:xfrm>
            <a:off x="7247038" y="1491800"/>
            <a:ext cx="1646349" cy="1321661"/>
            <a:chOff x="9660200" y="1989065"/>
            <a:chExt cx="2194560" cy="1762214"/>
          </a:xfrm>
        </p:grpSpPr>
        <p:grpSp>
          <p:nvGrpSpPr>
            <p:cNvPr id="34" name="Group 33"/>
            <p:cNvGrpSpPr/>
            <p:nvPr/>
          </p:nvGrpSpPr>
          <p:grpSpPr>
            <a:xfrm>
              <a:off x="9660200" y="1989065"/>
              <a:ext cx="2194560" cy="1762214"/>
              <a:chOff x="7677645" y="1676400"/>
              <a:chExt cx="2194560" cy="1762214"/>
            </a:xfrm>
          </p:grpSpPr>
          <p:sp>
            <p:nvSpPr>
              <p:cNvPr id="35" name="Rectangle 34"/>
              <p:cNvSpPr/>
              <p:nvPr/>
            </p:nvSpPr>
            <p:spPr bwMode="auto">
              <a:xfrm>
                <a:off x="7677645" y="1676400"/>
                <a:ext cx="2194560" cy="176221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133363" indent="-133363" algn="ctr" defTabSz="684441" fontAlgn="base">
                  <a:spcBef>
                    <a:spcPct val="0"/>
                  </a:spcBef>
                  <a:spcAft>
                    <a:spcPct val="0"/>
                  </a:spcAft>
                </a:pPr>
                <a:r>
                  <a:rPr lang="en-US" sz="1100" b="1" spc="-38" dirty="0">
                    <a:gradFill>
                      <a:gsLst>
                        <a:gs pos="0">
                          <a:srgbClr val="FFFFFF"/>
                        </a:gs>
                        <a:gs pos="86000">
                          <a:srgbClr val="FFFFFF"/>
                        </a:gs>
                      </a:gsLst>
                      <a:lin ang="5400000" scaled="0"/>
                    </a:gradFill>
                    <a:ea typeface="Segoe UI" pitchFamily="34" charset="0"/>
                    <a:cs typeface="Segoe UI" pitchFamily="34" charset="0"/>
                  </a:rPr>
                  <a:t>Automation</a:t>
                </a:r>
              </a:p>
              <a:p>
                <a:pPr marL="133363" indent="-133363" algn="ctr" defTabSz="684441" fontAlgn="base">
                  <a:spcBef>
                    <a:spcPct val="0"/>
                  </a:spcBef>
                  <a:spcAft>
                    <a:spcPct val="0"/>
                  </a:spcAft>
                </a:pPr>
                <a:r>
                  <a:rPr lang="en-US" sz="1100" spc="-38" dirty="0">
                    <a:gradFill>
                      <a:gsLst>
                        <a:gs pos="0">
                          <a:srgbClr val="FFFFFF"/>
                        </a:gs>
                        <a:gs pos="86000">
                          <a:srgbClr val="FFFFFF"/>
                        </a:gs>
                      </a:gsLst>
                      <a:lin ang="5400000" scaled="0"/>
                    </a:gradFill>
                    <a:ea typeface="Segoe UI" pitchFamily="34" charset="0"/>
                    <a:cs typeface="Segoe UI" pitchFamily="34" charset="0"/>
                  </a:rPr>
                  <a:t>Orchestrator</a:t>
                </a:r>
              </a:p>
            </p:txBody>
          </p:sp>
          <p:sp>
            <p:nvSpPr>
              <p:cNvPr id="36" name="Right Arrow 35"/>
              <p:cNvSpPr/>
              <p:nvPr/>
            </p:nvSpPr>
            <p:spPr bwMode="auto">
              <a:xfrm>
                <a:off x="8629253" y="2373385"/>
                <a:ext cx="398058" cy="175821"/>
              </a:xfrm>
              <a:prstGeom prst="rightArrow">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ea typeface="Segoe UI" pitchFamily="34" charset="0"/>
                  <a:cs typeface="Segoe UI" pitchFamily="34" charset="0"/>
                </a:endParaRPr>
              </a:p>
            </p:txBody>
          </p:sp>
          <p:sp>
            <p:nvSpPr>
              <p:cNvPr id="37" name="Rectangle 36"/>
              <p:cNvSpPr/>
              <p:nvPr/>
            </p:nvSpPr>
            <p:spPr bwMode="auto">
              <a:xfrm>
                <a:off x="7847684" y="2084867"/>
                <a:ext cx="598354" cy="404334"/>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ea typeface="Segoe UI" pitchFamily="34" charset="0"/>
                  <a:cs typeface="Segoe UI" pitchFamily="34" charset="0"/>
                </a:endParaRPr>
              </a:p>
            </p:txBody>
          </p:sp>
        </p:grpSp>
        <p:sp>
          <p:nvSpPr>
            <p:cNvPr id="56" name="Freeform 123"/>
            <p:cNvSpPr>
              <a:spLocks noEditPoints="1"/>
            </p:cNvSpPr>
            <p:nvPr/>
          </p:nvSpPr>
          <p:spPr bwMode="black">
            <a:xfrm>
              <a:off x="10364579" y="2262702"/>
              <a:ext cx="682833" cy="709098"/>
            </a:xfrm>
            <a:custGeom>
              <a:avLst/>
              <a:gdLst>
                <a:gd name="T0" fmla="*/ 57 w 63"/>
                <a:gd name="T1" fmla="*/ 54 h 65"/>
                <a:gd name="T2" fmla="*/ 57 w 63"/>
                <a:gd name="T3" fmla="*/ 55 h 65"/>
                <a:gd name="T4" fmla="*/ 35 w 63"/>
                <a:gd name="T5" fmla="*/ 65 h 65"/>
                <a:gd name="T6" fmla="*/ 33 w 63"/>
                <a:gd name="T7" fmla="*/ 65 h 65"/>
                <a:gd name="T8" fmla="*/ 12 w 63"/>
                <a:gd name="T9" fmla="*/ 57 h 65"/>
                <a:gd name="T10" fmla="*/ 10 w 63"/>
                <a:gd name="T11" fmla="*/ 55 h 65"/>
                <a:gd name="T12" fmla="*/ 2 w 63"/>
                <a:gd name="T13" fmla="*/ 62 h 65"/>
                <a:gd name="T14" fmla="*/ 0 w 63"/>
                <a:gd name="T15" fmla="*/ 37 h 65"/>
                <a:gd name="T16" fmla="*/ 25 w 63"/>
                <a:gd name="T17" fmla="*/ 42 h 65"/>
                <a:gd name="T18" fmla="*/ 17 w 63"/>
                <a:gd name="T19" fmla="*/ 48 h 65"/>
                <a:gd name="T20" fmla="*/ 20 w 63"/>
                <a:gd name="T21" fmla="*/ 50 h 65"/>
                <a:gd name="T22" fmla="*/ 33 w 63"/>
                <a:gd name="T23" fmla="*/ 55 h 65"/>
                <a:gd name="T24" fmla="*/ 34 w 63"/>
                <a:gd name="T25" fmla="*/ 55 h 65"/>
                <a:gd name="T26" fmla="*/ 49 w 63"/>
                <a:gd name="T27" fmla="*/ 48 h 65"/>
                <a:gd name="T28" fmla="*/ 50 w 63"/>
                <a:gd name="T29" fmla="*/ 48 h 65"/>
                <a:gd name="T30" fmla="*/ 57 w 63"/>
                <a:gd name="T31" fmla="*/ 54 h 65"/>
                <a:gd name="T32" fmla="*/ 63 w 63"/>
                <a:gd name="T33" fmla="*/ 29 h 65"/>
                <a:gd name="T34" fmla="*/ 61 w 63"/>
                <a:gd name="T35" fmla="*/ 4 h 65"/>
                <a:gd name="T36" fmla="*/ 53 w 63"/>
                <a:gd name="T37" fmla="*/ 11 h 65"/>
                <a:gd name="T38" fmla="*/ 53 w 63"/>
                <a:gd name="T39" fmla="*/ 11 h 65"/>
                <a:gd name="T40" fmla="*/ 53 w 63"/>
                <a:gd name="T41" fmla="*/ 10 h 65"/>
                <a:gd name="T42" fmla="*/ 51 w 63"/>
                <a:gd name="T43" fmla="*/ 8 h 65"/>
                <a:gd name="T44" fmla="*/ 29 w 63"/>
                <a:gd name="T45" fmla="*/ 0 h 65"/>
                <a:gd name="T46" fmla="*/ 28 w 63"/>
                <a:gd name="T47" fmla="*/ 0 h 65"/>
                <a:gd name="T48" fmla="*/ 6 w 63"/>
                <a:gd name="T49" fmla="*/ 10 h 65"/>
                <a:gd name="T50" fmla="*/ 5 w 63"/>
                <a:gd name="T51" fmla="*/ 10 h 65"/>
                <a:gd name="T52" fmla="*/ 13 w 63"/>
                <a:gd name="T53" fmla="*/ 17 h 65"/>
                <a:gd name="T54" fmla="*/ 13 w 63"/>
                <a:gd name="T55" fmla="*/ 17 h 65"/>
                <a:gd name="T56" fmla="*/ 28 w 63"/>
                <a:gd name="T57" fmla="*/ 10 h 65"/>
                <a:gd name="T58" fmla="*/ 29 w 63"/>
                <a:gd name="T59" fmla="*/ 10 h 65"/>
                <a:gd name="T60" fmla="*/ 43 w 63"/>
                <a:gd name="T61" fmla="*/ 14 h 65"/>
                <a:gd name="T62" fmla="*/ 46 w 63"/>
                <a:gd name="T63" fmla="*/ 17 h 65"/>
                <a:gd name="T64" fmla="*/ 38 w 63"/>
                <a:gd name="T65" fmla="*/ 24 h 65"/>
                <a:gd name="T66" fmla="*/ 63 w 63"/>
                <a:gd name="T67" fmla="*/ 2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3" h="65">
                  <a:moveTo>
                    <a:pt x="57" y="54"/>
                  </a:moveTo>
                  <a:cubicBezTo>
                    <a:pt x="57" y="55"/>
                    <a:pt x="57" y="55"/>
                    <a:pt x="57" y="55"/>
                  </a:cubicBezTo>
                  <a:cubicBezTo>
                    <a:pt x="51" y="61"/>
                    <a:pt x="43" y="64"/>
                    <a:pt x="35" y="65"/>
                  </a:cubicBezTo>
                  <a:cubicBezTo>
                    <a:pt x="34" y="65"/>
                    <a:pt x="34" y="65"/>
                    <a:pt x="33" y="65"/>
                  </a:cubicBezTo>
                  <a:cubicBezTo>
                    <a:pt x="26" y="65"/>
                    <a:pt x="18" y="62"/>
                    <a:pt x="12" y="57"/>
                  </a:cubicBezTo>
                  <a:cubicBezTo>
                    <a:pt x="10" y="55"/>
                    <a:pt x="10" y="55"/>
                    <a:pt x="10" y="55"/>
                  </a:cubicBezTo>
                  <a:cubicBezTo>
                    <a:pt x="2" y="62"/>
                    <a:pt x="2" y="62"/>
                    <a:pt x="2" y="62"/>
                  </a:cubicBezTo>
                  <a:cubicBezTo>
                    <a:pt x="0" y="37"/>
                    <a:pt x="0" y="37"/>
                    <a:pt x="0" y="37"/>
                  </a:cubicBezTo>
                  <a:cubicBezTo>
                    <a:pt x="25" y="42"/>
                    <a:pt x="25" y="42"/>
                    <a:pt x="25" y="42"/>
                  </a:cubicBezTo>
                  <a:cubicBezTo>
                    <a:pt x="17" y="48"/>
                    <a:pt x="17" y="48"/>
                    <a:pt x="17" y="48"/>
                  </a:cubicBezTo>
                  <a:cubicBezTo>
                    <a:pt x="20" y="50"/>
                    <a:pt x="20" y="50"/>
                    <a:pt x="20" y="50"/>
                  </a:cubicBezTo>
                  <a:cubicBezTo>
                    <a:pt x="24" y="53"/>
                    <a:pt x="29" y="55"/>
                    <a:pt x="33" y="55"/>
                  </a:cubicBezTo>
                  <a:cubicBezTo>
                    <a:pt x="34" y="55"/>
                    <a:pt x="34" y="55"/>
                    <a:pt x="34" y="55"/>
                  </a:cubicBezTo>
                  <a:cubicBezTo>
                    <a:pt x="40" y="54"/>
                    <a:pt x="45" y="52"/>
                    <a:pt x="49" y="48"/>
                  </a:cubicBezTo>
                  <a:cubicBezTo>
                    <a:pt x="50" y="48"/>
                    <a:pt x="50" y="48"/>
                    <a:pt x="50" y="48"/>
                  </a:cubicBezTo>
                  <a:lnTo>
                    <a:pt x="57" y="54"/>
                  </a:lnTo>
                  <a:close/>
                  <a:moveTo>
                    <a:pt x="63" y="29"/>
                  </a:moveTo>
                  <a:cubicBezTo>
                    <a:pt x="61" y="4"/>
                    <a:pt x="61" y="4"/>
                    <a:pt x="61" y="4"/>
                  </a:cubicBezTo>
                  <a:cubicBezTo>
                    <a:pt x="53" y="11"/>
                    <a:pt x="53" y="11"/>
                    <a:pt x="53" y="11"/>
                  </a:cubicBezTo>
                  <a:cubicBezTo>
                    <a:pt x="53" y="11"/>
                    <a:pt x="53" y="11"/>
                    <a:pt x="53" y="11"/>
                  </a:cubicBezTo>
                  <a:cubicBezTo>
                    <a:pt x="53" y="10"/>
                    <a:pt x="53" y="10"/>
                    <a:pt x="53" y="10"/>
                  </a:cubicBezTo>
                  <a:cubicBezTo>
                    <a:pt x="51" y="8"/>
                    <a:pt x="51" y="8"/>
                    <a:pt x="51" y="8"/>
                  </a:cubicBezTo>
                  <a:cubicBezTo>
                    <a:pt x="45" y="3"/>
                    <a:pt x="37" y="0"/>
                    <a:pt x="29" y="0"/>
                  </a:cubicBezTo>
                  <a:cubicBezTo>
                    <a:pt x="29" y="0"/>
                    <a:pt x="28" y="0"/>
                    <a:pt x="28" y="0"/>
                  </a:cubicBezTo>
                  <a:cubicBezTo>
                    <a:pt x="20" y="0"/>
                    <a:pt x="12" y="4"/>
                    <a:pt x="6" y="10"/>
                  </a:cubicBezTo>
                  <a:cubicBezTo>
                    <a:pt x="5" y="10"/>
                    <a:pt x="5" y="10"/>
                    <a:pt x="5" y="10"/>
                  </a:cubicBezTo>
                  <a:cubicBezTo>
                    <a:pt x="13" y="17"/>
                    <a:pt x="13" y="17"/>
                    <a:pt x="13" y="17"/>
                  </a:cubicBezTo>
                  <a:cubicBezTo>
                    <a:pt x="13" y="17"/>
                    <a:pt x="13" y="17"/>
                    <a:pt x="13" y="17"/>
                  </a:cubicBezTo>
                  <a:cubicBezTo>
                    <a:pt x="17" y="13"/>
                    <a:pt x="23" y="10"/>
                    <a:pt x="28" y="10"/>
                  </a:cubicBezTo>
                  <a:cubicBezTo>
                    <a:pt x="29" y="10"/>
                    <a:pt x="29" y="10"/>
                    <a:pt x="29" y="10"/>
                  </a:cubicBezTo>
                  <a:cubicBezTo>
                    <a:pt x="34" y="10"/>
                    <a:pt x="39" y="12"/>
                    <a:pt x="43" y="14"/>
                  </a:cubicBezTo>
                  <a:cubicBezTo>
                    <a:pt x="46" y="17"/>
                    <a:pt x="46" y="17"/>
                    <a:pt x="46" y="17"/>
                  </a:cubicBezTo>
                  <a:cubicBezTo>
                    <a:pt x="38" y="24"/>
                    <a:pt x="38" y="24"/>
                    <a:pt x="38" y="24"/>
                  </a:cubicBezTo>
                  <a:lnTo>
                    <a:pt x="63" y="29"/>
                  </a:ln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32"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3"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8"/>
              </a:rPr>
              <a:t>www.rapidbbs.cn</a:t>
            </a:r>
            <a:endParaRPr lang="zh-CN" altLang="en-US" sz="1200" b="0">
              <a:latin typeface="Arial" charset="0"/>
              <a:ea typeface="ＭＳ Ｐゴシック" pitchFamily="34" charset="-128"/>
            </a:endParaRPr>
          </a:p>
        </p:txBody>
      </p:sp>
      <p:pic>
        <p:nvPicPr>
          <p:cNvPr id="38" name="Picture 2">
            <a:hlinkClick r:id="rId8"/>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661152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3">
            <a:extLst>
              <a:ext uri="{28A0092B-C50C-407E-A947-70E740481C1C}">
                <a14:useLocalDpi xmlns:a14="http://schemas.microsoft.com/office/drawing/2010/main" val="0"/>
              </a:ext>
            </a:extLst>
          </a:blip>
          <a:srcRect l="1341" t="5778" r="26508" b="3231"/>
          <a:stretch/>
        </p:blipFill>
        <p:spPr>
          <a:xfrm>
            <a:off x="856283" y="1428751"/>
            <a:ext cx="4344497" cy="2896814"/>
          </a:xfrm>
          <a:prstGeom prst="rect">
            <a:avLst/>
          </a:prstGeom>
        </p:spPr>
      </p:pic>
      <p:grpSp>
        <p:nvGrpSpPr>
          <p:cNvPr id="10" name="Group 9"/>
          <p:cNvGrpSpPr/>
          <p:nvPr/>
        </p:nvGrpSpPr>
        <p:grpSpPr>
          <a:xfrm>
            <a:off x="5311690" y="1428752"/>
            <a:ext cx="1408218" cy="1407851"/>
            <a:chOff x="523649" y="2000605"/>
            <a:chExt cx="2671496" cy="2671496"/>
          </a:xfrm>
        </p:grpSpPr>
        <p:sp>
          <p:nvSpPr>
            <p:cNvPr id="11" name="Rectangle 10"/>
            <p:cNvSpPr/>
            <p:nvPr/>
          </p:nvSpPr>
          <p:spPr bwMode="auto">
            <a:xfrm>
              <a:off x="523649" y="2000605"/>
              <a:ext cx="2671496" cy="2671496"/>
            </a:xfrm>
            <a:prstGeom prst="rect">
              <a:avLst/>
            </a:prstGeom>
            <a:solidFill>
              <a:schemeClr val="accent1"/>
            </a:solidFill>
            <a:ln w="25400" cap="flat" cmpd="sng" algn="ctr">
              <a:noFill/>
              <a:prstDash val="solid"/>
              <a:headEnd type="none" w="med" len="med"/>
              <a:tailEnd type="none" w="med" len="med"/>
            </a:ln>
            <a:effectLst/>
          </p:spPr>
          <p:txBody>
            <a:bodyPr vert="horz" wrap="square" lIns="91436" tIns="91440" rIns="91436" bIns="91440" numCol="1" rtlCol="0" anchor="b" anchorCtr="0" compatLnSpc="1">
              <a:prstTxWarp prst="textNoShape">
                <a:avLst/>
              </a:prstTxWarp>
            </a:bodyPr>
            <a:lstStyle/>
            <a:p>
              <a:pPr defTabSz="685637" fontAlgn="base">
                <a:spcBef>
                  <a:spcPct val="0"/>
                </a:spcBef>
                <a:spcAft>
                  <a:spcPct val="0"/>
                </a:spcAft>
                <a:defRPr/>
              </a:pPr>
              <a:r>
                <a:rPr lang="en-US" kern="0" dirty="0">
                  <a:gradFill>
                    <a:gsLst>
                      <a:gs pos="0">
                        <a:srgbClr val="FFFFFF"/>
                      </a:gs>
                      <a:gs pos="100000">
                        <a:srgbClr val="FFFFFF"/>
                      </a:gs>
                    </a:gsLst>
                    <a:lin ang="5400000" scaled="0"/>
                  </a:gradFill>
                  <a:latin typeface="Segoe UI"/>
                </a:rPr>
                <a:t>Pooled Resources</a:t>
              </a:r>
            </a:p>
          </p:txBody>
        </p:sp>
        <p:pic>
          <p:nvPicPr>
            <p:cNvPr id="12" name="Picture 7" descr="\\MAGNUM\Projects\Microsoft\Cloud Power FY12\Design\Icons\PNGs\Metering.png"/>
            <p:cNvPicPr>
              <a:picLocks noChangeAspect="1" noChangeArrowheads="1"/>
            </p:cNvPicPr>
            <p:nvPr/>
          </p:nvPicPr>
          <p:blipFill>
            <a:blip r:embed="rId4" cstate="screen">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bwMode="auto">
            <a:xfrm>
              <a:off x="939380" y="2323940"/>
              <a:ext cx="1840034" cy="1854218"/>
            </a:xfrm>
            <a:prstGeom prst="rect">
              <a:avLst/>
            </a:prstGeom>
            <a:noFill/>
          </p:spPr>
        </p:pic>
      </p:grpSp>
      <p:grpSp>
        <p:nvGrpSpPr>
          <p:cNvPr id="13" name="Group 12"/>
          <p:cNvGrpSpPr/>
          <p:nvPr/>
        </p:nvGrpSpPr>
        <p:grpSpPr>
          <a:xfrm>
            <a:off x="6796965" y="1428752"/>
            <a:ext cx="1408218" cy="1407851"/>
            <a:chOff x="3344876" y="2000605"/>
            <a:chExt cx="2671496" cy="2671496"/>
          </a:xfrm>
        </p:grpSpPr>
        <p:sp>
          <p:nvSpPr>
            <p:cNvPr id="14" name="Rectangle 13"/>
            <p:cNvSpPr/>
            <p:nvPr/>
          </p:nvSpPr>
          <p:spPr bwMode="auto">
            <a:xfrm>
              <a:off x="3344876" y="2000605"/>
              <a:ext cx="2671496" cy="2671496"/>
            </a:xfrm>
            <a:prstGeom prst="rect">
              <a:avLst/>
            </a:prstGeom>
            <a:solidFill>
              <a:schemeClr val="accent1"/>
            </a:solidFill>
            <a:ln w="25400" cap="flat" cmpd="sng" algn="ctr">
              <a:noFill/>
              <a:prstDash val="solid"/>
              <a:headEnd type="none" w="med" len="med"/>
              <a:tailEnd type="none" w="med" len="med"/>
            </a:ln>
            <a:effectLst/>
          </p:spPr>
          <p:txBody>
            <a:bodyPr vert="horz" wrap="square" lIns="91436" tIns="91440" rIns="91436" bIns="91440" numCol="1" rtlCol="0" anchor="b" anchorCtr="0" compatLnSpc="1">
              <a:prstTxWarp prst="textNoShape">
                <a:avLst/>
              </a:prstTxWarp>
            </a:bodyPr>
            <a:lstStyle/>
            <a:p>
              <a:pPr defTabSz="685637" fontAlgn="base">
                <a:spcBef>
                  <a:spcPct val="0"/>
                </a:spcBef>
                <a:spcAft>
                  <a:spcPct val="0"/>
                </a:spcAft>
              </a:pPr>
              <a:r>
                <a:rPr lang="en-US" kern="0" dirty="0">
                  <a:gradFill>
                    <a:gsLst>
                      <a:gs pos="0">
                        <a:srgbClr val="FFFFFF"/>
                      </a:gs>
                      <a:gs pos="100000">
                        <a:srgbClr val="FFFFFF"/>
                      </a:gs>
                    </a:gsLst>
                    <a:lin ang="5400000" scaled="0"/>
                  </a:gradFill>
                  <a:latin typeface="Segoe UI"/>
                </a:rPr>
                <a:t>Self-Service</a:t>
              </a:r>
            </a:p>
          </p:txBody>
        </p:sp>
        <p:pic>
          <p:nvPicPr>
            <p:cNvPr id="15" name="Picture 5" descr="\\MAGNUM\Projects\Microsoft\Cloud Power FY12\Design\Icons\PNGs\Self_Service.png"/>
            <p:cNvPicPr>
              <a:picLocks noChangeAspect="1" noChangeArrowheads="1"/>
            </p:cNvPicPr>
            <p:nvPr/>
          </p:nvPicPr>
          <p:blipFill>
            <a:blip r:embed="rId6" cstate="screen">
              <a:extLst>
                <a:ext uri="{BEBA8EAE-BF5A-486C-A8C5-ECC9F3942E4B}">
                  <a14:imgProps xmlns:a14="http://schemas.microsoft.com/office/drawing/2010/main">
                    <a14:imgLayer r:embed="rId7">
                      <a14:imgEffect>
                        <a14:brightnessContrast bright="100000"/>
                      </a14:imgEffect>
                    </a14:imgLayer>
                  </a14:imgProps>
                </a:ext>
              </a:extLst>
            </a:blip>
            <a:srcRect/>
            <a:stretch>
              <a:fillRect/>
            </a:stretch>
          </p:blipFill>
          <p:spPr bwMode="auto">
            <a:xfrm>
              <a:off x="3860105" y="2424205"/>
              <a:ext cx="1641038" cy="1653688"/>
            </a:xfrm>
            <a:prstGeom prst="rect">
              <a:avLst/>
            </a:prstGeom>
            <a:noFill/>
          </p:spPr>
        </p:pic>
      </p:grpSp>
      <p:grpSp>
        <p:nvGrpSpPr>
          <p:cNvPr id="19" name="Group 18"/>
          <p:cNvGrpSpPr/>
          <p:nvPr/>
        </p:nvGrpSpPr>
        <p:grpSpPr>
          <a:xfrm>
            <a:off x="6796965" y="2917714"/>
            <a:ext cx="1408218" cy="1407851"/>
            <a:chOff x="8987331" y="2006755"/>
            <a:chExt cx="2671496" cy="2671496"/>
          </a:xfrm>
        </p:grpSpPr>
        <p:sp>
          <p:nvSpPr>
            <p:cNvPr id="20" name="Rectangle 19"/>
            <p:cNvSpPr/>
            <p:nvPr/>
          </p:nvSpPr>
          <p:spPr bwMode="auto">
            <a:xfrm>
              <a:off x="8987331" y="2006755"/>
              <a:ext cx="2671496" cy="2671496"/>
            </a:xfrm>
            <a:prstGeom prst="rect">
              <a:avLst/>
            </a:prstGeom>
            <a:solidFill>
              <a:schemeClr val="accent1"/>
            </a:solidFill>
            <a:ln w="25400" cap="flat" cmpd="sng" algn="ctr">
              <a:noFill/>
              <a:prstDash val="solid"/>
              <a:headEnd type="none" w="med" len="med"/>
              <a:tailEnd type="none" w="med" len="med"/>
            </a:ln>
            <a:effectLst/>
          </p:spPr>
          <p:txBody>
            <a:bodyPr vert="horz" wrap="square" lIns="91436" tIns="91440" rIns="91436" bIns="91440" numCol="1" rtlCol="0" anchor="b" anchorCtr="0" compatLnSpc="1">
              <a:prstTxWarp prst="textNoShape">
                <a:avLst/>
              </a:prstTxWarp>
            </a:bodyPr>
            <a:lstStyle/>
            <a:p>
              <a:pPr defTabSz="685637" fontAlgn="base">
                <a:spcBef>
                  <a:spcPct val="0"/>
                </a:spcBef>
                <a:spcAft>
                  <a:spcPct val="0"/>
                </a:spcAft>
              </a:pPr>
              <a:r>
                <a:rPr lang="en-US" kern="0" dirty="0">
                  <a:gradFill>
                    <a:gsLst>
                      <a:gs pos="0">
                        <a:srgbClr val="FFFFFF"/>
                      </a:gs>
                      <a:gs pos="100000">
                        <a:srgbClr val="FFFFFF"/>
                      </a:gs>
                    </a:gsLst>
                    <a:lin ang="5400000" scaled="0"/>
                  </a:gradFill>
                  <a:latin typeface="Segoe UI"/>
                </a:rPr>
                <a:t>Usage-based</a:t>
              </a:r>
            </a:p>
          </p:txBody>
        </p:sp>
        <p:pic>
          <p:nvPicPr>
            <p:cNvPr id="21" name="Picture 4" descr="\\MAGNUM\Projects\Microsoft\Cloud Power FY12\Design\Icons\PNGs\Scalable_Elastic_4.png"/>
            <p:cNvPicPr>
              <a:picLocks noChangeAspect="1" noChangeArrowheads="1"/>
            </p:cNvPicPr>
            <p:nvPr/>
          </p:nvPicPr>
          <p:blipFill>
            <a:blip r:embed="rId8" cstate="screen">
              <a:extLst>
                <a:ext uri="{BEBA8EAE-BF5A-486C-A8C5-ECC9F3942E4B}">
                  <a14:imgProps xmlns:a14="http://schemas.microsoft.com/office/drawing/2010/main">
                    <a14:imgLayer r:embed="rId9">
                      <a14:imgEffect>
                        <a14:brightnessContrast bright="100000"/>
                      </a14:imgEffect>
                    </a14:imgLayer>
                  </a14:imgProps>
                </a:ext>
              </a:extLst>
            </a:blip>
            <a:stretch>
              <a:fillRect/>
            </a:stretch>
          </p:blipFill>
          <p:spPr bwMode="auto">
            <a:xfrm>
              <a:off x="9396077" y="2316898"/>
              <a:ext cx="1854004" cy="1868302"/>
            </a:xfrm>
            <a:prstGeom prst="rect">
              <a:avLst/>
            </a:prstGeom>
            <a:noFill/>
          </p:spPr>
        </p:pic>
      </p:grpSp>
      <p:sp useBgFill="1">
        <p:nvSpPr>
          <p:cNvPr id="23" name="Rectangle 22"/>
          <p:cNvSpPr/>
          <p:nvPr/>
        </p:nvSpPr>
        <p:spPr bwMode="auto">
          <a:xfrm>
            <a:off x="0" y="0"/>
            <a:ext cx="911310" cy="4286250"/>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useBgFill="1">
        <p:nvSpPr>
          <p:cNvPr id="24" name="Rectangle 23"/>
          <p:cNvSpPr/>
          <p:nvPr/>
        </p:nvSpPr>
        <p:spPr bwMode="auto">
          <a:xfrm>
            <a:off x="8260211" y="0"/>
            <a:ext cx="883789" cy="4286250"/>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grpSp>
        <p:nvGrpSpPr>
          <p:cNvPr id="3" name="Group 2"/>
          <p:cNvGrpSpPr/>
          <p:nvPr/>
        </p:nvGrpSpPr>
        <p:grpSpPr>
          <a:xfrm>
            <a:off x="5311692" y="2917714"/>
            <a:ext cx="1408217" cy="1407851"/>
            <a:chOff x="7153762" y="3619300"/>
            <a:chExt cx="1877134" cy="1877134"/>
          </a:xfrm>
        </p:grpSpPr>
        <p:sp>
          <p:nvSpPr>
            <p:cNvPr id="17" name="Rectangle 16"/>
            <p:cNvSpPr/>
            <p:nvPr/>
          </p:nvSpPr>
          <p:spPr bwMode="auto">
            <a:xfrm>
              <a:off x="7153762" y="3619300"/>
              <a:ext cx="1877134" cy="1877134"/>
            </a:xfrm>
            <a:prstGeom prst="rect">
              <a:avLst/>
            </a:prstGeom>
            <a:solidFill>
              <a:schemeClr val="accent1"/>
            </a:solidFill>
            <a:ln w="25400" cap="flat" cmpd="sng" algn="ctr">
              <a:noFill/>
              <a:prstDash val="solid"/>
              <a:headEnd type="none" w="med" len="med"/>
              <a:tailEnd type="none" w="med" len="med"/>
            </a:ln>
            <a:effectLst/>
          </p:spPr>
          <p:txBody>
            <a:bodyPr vert="horz" wrap="square" lIns="91436" tIns="91440" rIns="91436" bIns="91440" numCol="1" rtlCol="0" anchor="b" anchorCtr="0" compatLnSpc="1">
              <a:prstTxWarp prst="textNoShape">
                <a:avLst/>
              </a:prstTxWarp>
            </a:bodyPr>
            <a:lstStyle/>
            <a:p>
              <a:pPr defTabSz="685637" fontAlgn="base">
                <a:spcBef>
                  <a:spcPct val="0"/>
                </a:spcBef>
                <a:spcAft>
                  <a:spcPct val="0"/>
                </a:spcAft>
              </a:pPr>
              <a:r>
                <a:rPr lang="en-US" kern="0" dirty="0">
                  <a:gradFill>
                    <a:gsLst>
                      <a:gs pos="0">
                        <a:srgbClr val="FFFFFF"/>
                      </a:gs>
                      <a:gs pos="100000">
                        <a:srgbClr val="FFFFFF"/>
                      </a:gs>
                    </a:gsLst>
                    <a:lin ang="5400000" scaled="0"/>
                  </a:gradFill>
                  <a:latin typeface="Segoe UI"/>
                </a:rPr>
                <a:t>Elastic</a:t>
              </a:r>
            </a:p>
          </p:txBody>
        </p:sp>
        <p:sp>
          <p:nvSpPr>
            <p:cNvPr id="25" name="Freeform 73"/>
            <p:cNvSpPr>
              <a:spLocks noEditPoints="1"/>
            </p:cNvSpPr>
            <p:nvPr/>
          </p:nvSpPr>
          <p:spPr bwMode="black">
            <a:xfrm>
              <a:off x="7624859" y="3966887"/>
              <a:ext cx="934942" cy="902560"/>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2" name="Title 1"/>
          <p:cNvSpPr>
            <a:spLocks noGrp="1"/>
          </p:cNvSpPr>
          <p:nvPr>
            <p:ph type="title"/>
          </p:nvPr>
        </p:nvSpPr>
        <p:spPr/>
        <p:txBody>
          <a:bodyPr/>
          <a:lstStyle/>
          <a:p>
            <a:r>
              <a:rPr lang="en-US" dirty="0" smtClean="0"/>
              <a:t>Microsoft Private Cloud Defined</a:t>
            </a:r>
            <a:endParaRPr lang="en-US" dirty="0"/>
          </a:p>
        </p:txBody>
      </p:sp>
      <p:sp>
        <p:nvSpPr>
          <p:cNvPr id="5" name="Rectangle 4"/>
          <p:cNvSpPr/>
          <p:nvPr/>
        </p:nvSpPr>
        <p:spPr>
          <a:xfrm>
            <a:off x="398963" y="685801"/>
            <a:ext cx="7861248" cy="507830"/>
          </a:xfrm>
          <a:prstGeom prst="rect">
            <a:avLst/>
          </a:prstGeom>
        </p:spPr>
        <p:txBody>
          <a:bodyPr wrap="square" lIns="68586" tIns="34294" rIns="68586" bIns="34294">
            <a:spAutoFit/>
          </a:bodyPr>
          <a:lstStyle/>
          <a:p>
            <a:r>
              <a:rPr lang="en-US" b="1" i="1" dirty="0"/>
              <a:t>“A private cloud is a new model for IT delivery. It turns a datacenter’s infrastructure resources into a single compute “cloud” and enables the key benefits of cloud </a:t>
            </a:r>
            <a:r>
              <a:rPr lang="en-US" b="1" i="1" dirty="0" smtClean="0"/>
              <a:t>computing:</a:t>
            </a:r>
            <a:endParaRPr lang="en-US" dirty="0"/>
          </a:p>
        </p:txBody>
      </p:sp>
      <p:sp>
        <p:nvSpPr>
          <p:cNvPr id="22"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6"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0"/>
              </a:rPr>
              <a:t>www.rapidbbs.cn</a:t>
            </a:r>
            <a:endParaRPr lang="zh-CN" altLang="en-US" sz="1200" b="0">
              <a:latin typeface="Arial" charset="0"/>
              <a:ea typeface="ＭＳ Ｐゴシック" pitchFamily="34" charset="-128"/>
            </a:endParaRPr>
          </a:p>
        </p:txBody>
      </p:sp>
      <p:pic>
        <p:nvPicPr>
          <p:cNvPr id="27" name="Picture 2">
            <a:hlinkClick r:id="rId10"/>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189466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1000" fill="hold"/>
                                        <p:tgtEl>
                                          <p:spTgt spid="9"/>
                                        </p:tgtEl>
                                        <p:attrNameLst>
                                          <p:attrName>ppt_x</p:attrName>
                                        </p:attrNameLst>
                                      </p:cBhvr>
                                      <p:tavLst>
                                        <p:tav tm="0">
                                          <p:val>
                                            <p:strVal val="0-#ppt_w/2"/>
                                          </p:val>
                                        </p:tav>
                                        <p:tav tm="100000">
                                          <p:val>
                                            <p:strVal val="#ppt_x"/>
                                          </p:val>
                                        </p:tav>
                                      </p:tavLst>
                                    </p:anim>
                                    <p:anim calcmode="lin" valueType="num">
                                      <p:cBhvr additive="base">
                                        <p:cTn id="8" dur="10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1000" fill="hold"/>
                                        <p:tgtEl>
                                          <p:spTgt spid="10"/>
                                        </p:tgtEl>
                                        <p:attrNameLst>
                                          <p:attrName>ppt_x</p:attrName>
                                        </p:attrNameLst>
                                      </p:cBhvr>
                                      <p:tavLst>
                                        <p:tav tm="0">
                                          <p:val>
                                            <p:strVal val="1+#ppt_w/2"/>
                                          </p:val>
                                        </p:tav>
                                        <p:tav tm="100000">
                                          <p:val>
                                            <p:strVal val="#ppt_x"/>
                                          </p:val>
                                        </p:tav>
                                      </p:tavLst>
                                    </p:anim>
                                    <p:anim calcmode="lin" valueType="num">
                                      <p:cBhvr additive="base">
                                        <p:cTn id="12" dur="1000" fill="hold"/>
                                        <p:tgtEl>
                                          <p:spTgt spid="10"/>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200"/>
                                  </p:stCondLst>
                                  <p:childTnLst>
                                    <p:set>
                                      <p:cBhvr>
                                        <p:cTn id="14" dur="1" fill="hold">
                                          <p:stCondLst>
                                            <p:cond delay="0"/>
                                          </p:stCondLst>
                                        </p:cTn>
                                        <p:tgtEl>
                                          <p:spTgt spid="13"/>
                                        </p:tgtEl>
                                        <p:attrNameLst>
                                          <p:attrName>style.visibility</p:attrName>
                                        </p:attrNameLst>
                                      </p:cBhvr>
                                      <p:to>
                                        <p:strVal val="visible"/>
                                      </p:to>
                                    </p:set>
                                    <p:anim calcmode="lin" valueType="num">
                                      <p:cBhvr additive="base">
                                        <p:cTn id="15" dur="1000" fill="hold"/>
                                        <p:tgtEl>
                                          <p:spTgt spid="13"/>
                                        </p:tgtEl>
                                        <p:attrNameLst>
                                          <p:attrName>ppt_x</p:attrName>
                                        </p:attrNameLst>
                                      </p:cBhvr>
                                      <p:tavLst>
                                        <p:tav tm="0">
                                          <p:val>
                                            <p:strVal val="1+#ppt_w/2"/>
                                          </p:val>
                                        </p:tav>
                                        <p:tav tm="100000">
                                          <p:val>
                                            <p:strVal val="#ppt_x"/>
                                          </p:val>
                                        </p:tav>
                                      </p:tavLst>
                                    </p:anim>
                                    <p:anim calcmode="lin" valueType="num">
                                      <p:cBhvr additive="base">
                                        <p:cTn id="16" dur="1000" fill="hold"/>
                                        <p:tgtEl>
                                          <p:spTgt spid="13"/>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400"/>
                                  </p:stCondLst>
                                  <p:childTnLst>
                                    <p:set>
                                      <p:cBhvr>
                                        <p:cTn id="18" dur="1" fill="hold">
                                          <p:stCondLst>
                                            <p:cond delay="0"/>
                                          </p:stCondLst>
                                        </p:cTn>
                                        <p:tgtEl>
                                          <p:spTgt spid="3"/>
                                        </p:tgtEl>
                                        <p:attrNameLst>
                                          <p:attrName>style.visibility</p:attrName>
                                        </p:attrNameLst>
                                      </p:cBhvr>
                                      <p:to>
                                        <p:strVal val="visible"/>
                                      </p:to>
                                    </p:set>
                                    <p:anim calcmode="lin" valueType="num">
                                      <p:cBhvr additive="base">
                                        <p:cTn id="19" dur="1000" fill="hold"/>
                                        <p:tgtEl>
                                          <p:spTgt spid="3"/>
                                        </p:tgtEl>
                                        <p:attrNameLst>
                                          <p:attrName>ppt_x</p:attrName>
                                        </p:attrNameLst>
                                      </p:cBhvr>
                                      <p:tavLst>
                                        <p:tav tm="0">
                                          <p:val>
                                            <p:strVal val="1+#ppt_w/2"/>
                                          </p:val>
                                        </p:tav>
                                        <p:tav tm="100000">
                                          <p:val>
                                            <p:strVal val="#ppt_x"/>
                                          </p:val>
                                        </p:tav>
                                      </p:tavLst>
                                    </p:anim>
                                    <p:anim calcmode="lin" valueType="num">
                                      <p:cBhvr additive="base">
                                        <p:cTn id="20" dur="1000" fill="hold"/>
                                        <p:tgtEl>
                                          <p:spTgt spid="3"/>
                                        </p:tgtEl>
                                        <p:attrNameLst>
                                          <p:attrName>ppt_y</p:attrName>
                                        </p:attrNameLst>
                                      </p:cBhvr>
                                      <p:tavLst>
                                        <p:tav tm="0">
                                          <p:val>
                                            <p:strVal val="#ppt_y"/>
                                          </p:val>
                                        </p:tav>
                                        <p:tav tm="100000">
                                          <p:val>
                                            <p:strVal val="#ppt_y"/>
                                          </p:val>
                                        </p:tav>
                                      </p:tavLst>
                                    </p:anim>
                                  </p:childTnLst>
                                </p:cTn>
                              </p:par>
                              <p:par>
                                <p:cTn id="21" presetID="2" presetClass="entr" presetSubtype="2" decel="100000" fill="hold" nodeType="withEffect">
                                  <p:stCondLst>
                                    <p:cond delay="600"/>
                                  </p:stCondLst>
                                  <p:childTnLst>
                                    <p:set>
                                      <p:cBhvr>
                                        <p:cTn id="22" dur="1" fill="hold">
                                          <p:stCondLst>
                                            <p:cond delay="0"/>
                                          </p:stCondLst>
                                        </p:cTn>
                                        <p:tgtEl>
                                          <p:spTgt spid="19"/>
                                        </p:tgtEl>
                                        <p:attrNameLst>
                                          <p:attrName>style.visibility</p:attrName>
                                        </p:attrNameLst>
                                      </p:cBhvr>
                                      <p:to>
                                        <p:strVal val="visible"/>
                                      </p:to>
                                    </p:set>
                                    <p:anim calcmode="lin" valueType="num">
                                      <p:cBhvr additive="base">
                                        <p:cTn id="23" dur="1000" fill="hold"/>
                                        <p:tgtEl>
                                          <p:spTgt spid="19"/>
                                        </p:tgtEl>
                                        <p:attrNameLst>
                                          <p:attrName>ppt_x</p:attrName>
                                        </p:attrNameLst>
                                      </p:cBhvr>
                                      <p:tavLst>
                                        <p:tav tm="0">
                                          <p:val>
                                            <p:strVal val="1+#ppt_w/2"/>
                                          </p:val>
                                        </p:tav>
                                        <p:tav tm="100000">
                                          <p:val>
                                            <p:strVal val="#ppt_x"/>
                                          </p:val>
                                        </p:tav>
                                      </p:tavLst>
                                    </p:anim>
                                    <p:anim calcmode="lin" valueType="num">
                                      <p:cBhvr additive="base">
                                        <p:cTn id="24" dur="10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Group 39"/>
          <p:cNvGrpSpPr/>
          <p:nvPr/>
        </p:nvGrpSpPr>
        <p:grpSpPr>
          <a:xfrm>
            <a:off x="3184551" y="1309978"/>
            <a:ext cx="1770562" cy="2769884"/>
            <a:chOff x="6791874" y="1746636"/>
            <a:chExt cx="2360134" cy="3693179"/>
          </a:xfrm>
        </p:grpSpPr>
        <p:sp>
          <p:nvSpPr>
            <p:cNvPr id="18" name="Presentation Title Rectangle"/>
            <p:cNvSpPr txBox="1">
              <a:spLocks/>
            </p:cNvSpPr>
            <p:nvPr/>
          </p:nvSpPr>
          <p:spPr>
            <a:xfrm>
              <a:off x="6791874" y="1746636"/>
              <a:ext cx="2360134" cy="3693179"/>
            </a:xfrm>
            <a:prstGeom prst="rect">
              <a:avLst/>
            </a:prstGeom>
            <a:solidFill>
              <a:schemeClr val="accent1"/>
            </a:solidFill>
            <a:ln w="25400" cap="flat" cmpd="sng" algn="ctr">
              <a:noFill/>
              <a:prstDash val="solid"/>
              <a:headEnd type="none" w="med" len="med"/>
              <a:tailEnd type="none" w="med" len="med"/>
            </a:ln>
            <a:effectLst/>
          </p:spPr>
          <p:txBody>
            <a:bodyPr vert="horz" wrap="square" lIns="91436" tIns="91440" rIns="91436" bIns="91440" numCol="1" rtlCol="0" anchor="b" anchorCtr="0" compatLnSpc="1">
              <a:prstTxWarp prst="textNoShape">
                <a:avLst/>
              </a:prstTxWarp>
            </a:bodyPr>
            <a:lstStyle>
              <a:defPPr>
                <a:defRPr lang="en-US"/>
              </a:defPPr>
              <a:lvl1pPr marR="0" lvl="0" indent="0" defTabSz="914099" fontAlgn="base">
                <a:lnSpc>
                  <a:spcPct val="100000"/>
                </a:lnSpc>
                <a:spcBef>
                  <a:spcPct val="0"/>
                </a:spcBef>
                <a:spcAft>
                  <a:spcPct val="0"/>
                </a:spcAft>
                <a:buClrTx/>
                <a:buSzTx/>
                <a:buFontTx/>
                <a:buNone/>
                <a:tabLst/>
                <a:defRPr kumimoji="0" sz="2200" b="0" i="0" u="none" strike="noStrike" kern="0" cap="none" spc="0" normalizeH="0" baseline="0">
                  <a:ln>
                    <a:noFill/>
                  </a:ln>
                  <a:gradFill>
                    <a:gsLst>
                      <a:gs pos="0">
                        <a:srgbClr val="FFFFFF"/>
                      </a:gs>
                      <a:gs pos="100000">
                        <a:srgbClr val="FFFFFF"/>
                      </a:gs>
                    </a:gsLst>
                    <a:lin ang="5400000" scaled="0"/>
                  </a:gradFill>
                  <a:effectLst/>
                  <a:uLnTx/>
                  <a:uFillTx/>
                  <a:latin typeface="Segoe UI"/>
                </a:defRPr>
              </a:lvl1pPr>
            </a:lstStyle>
            <a:p>
              <a:r>
                <a:rPr lang="en-US" dirty="0" smtClean="0"/>
                <a:t>Agility</a:t>
              </a:r>
              <a:endParaRPr lang="en-US" dirty="0"/>
            </a:p>
          </p:txBody>
        </p:sp>
        <p:grpSp>
          <p:nvGrpSpPr>
            <p:cNvPr id="19" name="Group 18"/>
            <p:cNvGrpSpPr>
              <a:grpSpLocks noChangeAspect="1"/>
            </p:cNvGrpSpPr>
            <p:nvPr/>
          </p:nvGrpSpPr>
          <p:grpSpPr bwMode="black">
            <a:xfrm>
              <a:off x="7187401" y="2343116"/>
              <a:ext cx="1569081" cy="1665825"/>
              <a:chOff x="1435100" y="3879850"/>
              <a:chExt cx="739775" cy="795338"/>
            </a:xfrm>
            <a:solidFill>
              <a:schemeClr val="tx1"/>
            </a:solidFill>
          </p:grpSpPr>
          <p:sp>
            <p:nvSpPr>
              <p:cNvPr id="20" name="Freeform 6"/>
              <p:cNvSpPr>
                <a:spLocks/>
              </p:cNvSpPr>
              <p:nvPr/>
            </p:nvSpPr>
            <p:spPr bwMode="black">
              <a:xfrm>
                <a:off x="1435100" y="4191000"/>
                <a:ext cx="106363" cy="10636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sz="800" b="1" cap="all" dirty="0">
                  <a:solidFill>
                    <a:srgbClr val="000000"/>
                  </a:solidFill>
                </a:endParaRPr>
              </a:p>
            </p:txBody>
          </p:sp>
          <p:sp>
            <p:nvSpPr>
              <p:cNvPr id="21" name="Freeform 7"/>
              <p:cNvSpPr>
                <a:spLocks/>
              </p:cNvSpPr>
              <p:nvPr/>
            </p:nvSpPr>
            <p:spPr bwMode="black">
              <a:xfrm>
                <a:off x="1620838" y="4208463"/>
                <a:ext cx="106363" cy="104775"/>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sz="800" b="1" cap="all" dirty="0">
                  <a:solidFill>
                    <a:srgbClr val="000000"/>
                  </a:solidFill>
                </a:endParaRPr>
              </a:p>
            </p:txBody>
          </p:sp>
          <p:sp>
            <p:nvSpPr>
              <p:cNvPr id="22" name="Freeform 8"/>
              <p:cNvSpPr>
                <a:spLocks/>
              </p:cNvSpPr>
              <p:nvPr/>
            </p:nvSpPr>
            <p:spPr bwMode="black">
              <a:xfrm>
                <a:off x="1876425" y="4184650"/>
                <a:ext cx="104775" cy="104775"/>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sz="800" b="1" cap="all" dirty="0">
                  <a:solidFill>
                    <a:srgbClr val="000000"/>
                  </a:solidFill>
                </a:endParaRPr>
              </a:p>
            </p:txBody>
          </p:sp>
          <p:sp>
            <p:nvSpPr>
              <p:cNvPr id="23" name="Freeform 9"/>
              <p:cNvSpPr>
                <a:spLocks/>
              </p:cNvSpPr>
              <p:nvPr/>
            </p:nvSpPr>
            <p:spPr bwMode="black">
              <a:xfrm>
                <a:off x="1498600" y="3879850"/>
                <a:ext cx="336550" cy="795338"/>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sz="800" b="1" cap="all" dirty="0">
                  <a:solidFill>
                    <a:srgbClr val="000000"/>
                  </a:solidFill>
                </a:endParaRPr>
              </a:p>
            </p:txBody>
          </p:sp>
          <p:sp>
            <p:nvSpPr>
              <p:cNvPr id="24" name="Oval 10"/>
              <p:cNvSpPr>
                <a:spLocks noChangeArrowheads="1"/>
              </p:cNvSpPr>
              <p:nvPr/>
            </p:nvSpPr>
            <p:spPr bwMode="black">
              <a:xfrm>
                <a:off x="1744663" y="4589463"/>
                <a:ext cx="53975" cy="539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sz="800" b="1" cap="all" dirty="0">
                  <a:solidFill>
                    <a:srgbClr val="000000"/>
                  </a:solidFill>
                </a:endParaRPr>
              </a:p>
            </p:txBody>
          </p:sp>
          <p:sp>
            <p:nvSpPr>
              <p:cNvPr id="25" name="Freeform 11"/>
              <p:cNvSpPr>
                <a:spLocks/>
              </p:cNvSpPr>
              <p:nvPr/>
            </p:nvSpPr>
            <p:spPr bwMode="black">
              <a:xfrm>
                <a:off x="1860550" y="4225925"/>
                <a:ext cx="314325" cy="350838"/>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sz="800" b="1" cap="all" dirty="0">
                  <a:solidFill>
                    <a:srgbClr val="000000"/>
                  </a:solidFill>
                </a:endParaRPr>
              </a:p>
            </p:txBody>
          </p:sp>
          <p:sp>
            <p:nvSpPr>
              <p:cNvPr id="26" name="Oval 12"/>
              <p:cNvSpPr>
                <a:spLocks noChangeArrowheads="1"/>
              </p:cNvSpPr>
              <p:nvPr/>
            </p:nvSpPr>
            <p:spPr bwMode="black">
              <a:xfrm>
                <a:off x="1892300" y="4491038"/>
                <a:ext cx="53975" cy="539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sz="800" b="1" cap="all" dirty="0">
                  <a:solidFill>
                    <a:srgbClr val="000000"/>
                  </a:solidFill>
                </a:endParaRPr>
              </a:p>
            </p:txBody>
          </p:sp>
          <p:sp>
            <p:nvSpPr>
              <p:cNvPr id="27" name="Freeform 13"/>
              <p:cNvSpPr>
                <a:spLocks/>
              </p:cNvSpPr>
              <p:nvPr/>
            </p:nvSpPr>
            <p:spPr bwMode="black">
              <a:xfrm>
                <a:off x="1447800" y="4306888"/>
                <a:ext cx="215900" cy="322263"/>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sz="800" b="1" cap="all" dirty="0">
                  <a:solidFill>
                    <a:srgbClr val="000000"/>
                  </a:solidFill>
                </a:endParaRPr>
              </a:p>
            </p:txBody>
          </p:sp>
          <p:sp>
            <p:nvSpPr>
              <p:cNvPr id="28" name="Oval 14"/>
              <p:cNvSpPr>
                <a:spLocks noChangeArrowheads="1"/>
              </p:cNvSpPr>
              <p:nvPr/>
            </p:nvSpPr>
            <p:spPr bwMode="black">
              <a:xfrm>
                <a:off x="1577975" y="4543425"/>
                <a:ext cx="53975" cy="539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sz="800" b="1" cap="all" dirty="0">
                  <a:solidFill>
                    <a:srgbClr val="000000"/>
                  </a:solidFill>
                </a:endParaRPr>
              </a:p>
            </p:txBody>
          </p:sp>
        </p:grpSp>
      </p:grpSp>
      <p:pic>
        <p:nvPicPr>
          <p:cNvPr id="46" name="Picture 45"/>
          <p:cNvPicPr>
            <a:picLocks noChangeAspect="1"/>
          </p:cNvPicPr>
          <p:nvPr/>
        </p:nvPicPr>
        <p:blipFill rotWithShape="1">
          <a:blip r:embed="rId3" cstate="print">
            <a:extLst>
              <a:ext uri="{28A0092B-C50C-407E-A947-70E740481C1C}">
                <a14:useLocalDpi xmlns:a14="http://schemas.microsoft.com/office/drawing/2010/main" val="0"/>
              </a:ext>
            </a:extLst>
          </a:blip>
          <a:srcRect l="40976" t="4080" r="6619" b="13900"/>
          <a:stretch/>
        </p:blipFill>
        <p:spPr>
          <a:xfrm>
            <a:off x="390627" y="1309978"/>
            <a:ext cx="2667072" cy="2769885"/>
          </a:xfrm>
          <a:prstGeom prst="rect">
            <a:avLst/>
          </a:prstGeom>
        </p:spPr>
      </p:pic>
      <p:grpSp>
        <p:nvGrpSpPr>
          <p:cNvPr id="3" name="Group 2"/>
          <p:cNvGrpSpPr/>
          <p:nvPr/>
        </p:nvGrpSpPr>
        <p:grpSpPr>
          <a:xfrm>
            <a:off x="5079718" y="1309978"/>
            <a:ext cx="1769701" cy="2769884"/>
            <a:chOff x="9285569" y="1746636"/>
            <a:chExt cx="2358987" cy="3693179"/>
          </a:xfrm>
        </p:grpSpPr>
        <p:sp>
          <p:nvSpPr>
            <p:cNvPr id="4" name="Presentation Title Rectangle"/>
            <p:cNvSpPr txBox="1">
              <a:spLocks/>
            </p:cNvSpPr>
            <p:nvPr/>
          </p:nvSpPr>
          <p:spPr>
            <a:xfrm>
              <a:off x="9285569" y="1746636"/>
              <a:ext cx="2358987" cy="3693179"/>
            </a:xfrm>
            <a:prstGeom prst="rect">
              <a:avLst/>
            </a:prstGeom>
            <a:solidFill>
              <a:schemeClr val="accent1"/>
            </a:solidFill>
            <a:ln w="25400" cap="flat" cmpd="sng" algn="ctr">
              <a:noFill/>
              <a:prstDash val="solid"/>
              <a:headEnd type="none" w="med" len="med"/>
              <a:tailEnd type="none" w="med" len="med"/>
            </a:ln>
            <a:effectLst/>
          </p:spPr>
          <p:txBody>
            <a:bodyPr vert="horz" wrap="square" lIns="91436" tIns="91440" rIns="91436" bIns="91440" numCol="1" rtlCol="0" anchor="b" anchorCtr="0" compatLnSpc="1">
              <a:prstTxWarp prst="textNoShape">
                <a:avLst/>
              </a:prstTxWarp>
            </a:bodyPr>
            <a:lstStyle>
              <a:defPPr>
                <a:defRPr lang="en-US"/>
              </a:defPPr>
              <a:lvl1pPr marR="0" lvl="0" indent="0" defTabSz="914099" fontAlgn="base">
                <a:lnSpc>
                  <a:spcPct val="100000"/>
                </a:lnSpc>
                <a:spcBef>
                  <a:spcPct val="0"/>
                </a:spcBef>
                <a:spcAft>
                  <a:spcPct val="0"/>
                </a:spcAft>
                <a:buClrTx/>
                <a:buSzTx/>
                <a:buFontTx/>
                <a:buNone/>
                <a:tabLst/>
                <a:defRPr kumimoji="0" sz="2200" b="0" i="0" u="none" strike="noStrike" kern="0" cap="none" spc="0" normalizeH="0" baseline="0">
                  <a:ln>
                    <a:noFill/>
                  </a:ln>
                  <a:gradFill>
                    <a:gsLst>
                      <a:gs pos="0">
                        <a:srgbClr val="FFFFFF"/>
                      </a:gs>
                      <a:gs pos="100000">
                        <a:srgbClr val="FFFFFF"/>
                      </a:gs>
                    </a:gsLst>
                    <a:lin ang="5400000" scaled="0"/>
                  </a:gradFill>
                  <a:effectLst/>
                  <a:uLnTx/>
                  <a:uFillTx/>
                  <a:latin typeface="Segoe UI"/>
                </a:defRPr>
              </a:lvl1pPr>
            </a:lstStyle>
            <a:p>
              <a:r>
                <a:rPr lang="en-US" dirty="0" smtClean="0"/>
                <a:t>Economics</a:t>
              </a:r>
              <a:endParaRPr dirty="0"/>
            </a:p>
          </p:txBody>
        </p:sp>
        <p:pic>
          <p:nvPicPr>
            <p:cNvPr id="48" name="Picture 47" descr="Economy_2.png"/>
            <p:cNvPicPr>
              <a:picLocks noChangeAspect="1"/>
            </p:cNvPicPr>
            <p:nvPr/>
          </p:nvPicPr>
          <p:blipFill rotWithShape="1">
            <a:blip r:embed="rId4">
              <a:lum bright="100000"/>
            </a:blip>
            <a:srcRect l="58453" b="52295"/>
            <a:stretch/>
          </p:blipFill>
          <p:spPr>
            <a:xfrm>
              <a:off x="10575758" y="2433499"/>
              <a:ext cx="544100" cy="694712"/>
            </a:xfrm>
            <a:prstGeom prst="rect">
              <a:avLst/>
            </a:prstGeom>
          </p:spPr>
        </p:pic>
        <p:pic>
          <p:nvPicPr>
            <p:cNvPr id="31" name="Picture 30" descr="Economy_2.png"/>
            <p:cNvPicPr>
              <a:picLocks noChangeAspect="1"/>
            </p:cNvPicPr>
            <p:nvPr/>
          </p:nvPicPr>
          <p:blipFill rotWithShape="1">
            <a:blip r:embed="rId4">
              <a:lum bright="100000"/>
            </a:blip>
            <a:srcRect l="54205" t="46053" r="-4389" b="-2235"/>
            <a:stretch/>
          </p:blipFill>
          <p:spPr>
            <a:xfrm>
              <a:off x="9810266" y="2346158"/>
              <a:ext cx="657208" cy="818147"/>
            </a:xfrm>
            <a:prstGeom prst="rect">
              <a:avLst/>
            </a:prstGeom>
          </p:spPr>
        </p:pic>
        <p:pic>
          <p:nvPicPr>
            <p:cNvPr id="32" name="Picture 31" descr="Economy_2.png"/>
            <p:cNvPicPr>
              <a:picLocks noChangeAspect="1"/>
            </p:cNvPicPr>
            <p:nvPr/>
          </p:nvPicPr>
          <p:blipFill rotWithShape="1">
            <a:blip r:embed="rId4">
              <a:lum bright="100000"/>
            </a:blip>
            <a:srcRect l="-3675" t="46053" r="53491" b="-2235"/>
            <a:stretch/>
          </p:blipFill>
          <p:spPr>
            <a:xfrm>
              <a:off x="9846362" y="3164305"/>
              <a:ext cx="657208" cy="818147"/>
            </a:xfrm>
            <a:prstGeom prst="rect">
              <a:avLst/>
            </a:prstGeom>
          </p:spPr>
        </p:pic>
        <p:pic>
          <p:nvPicPr>
            <p:cNvPr id="33" name="Picture 32" descr="Economy_2.png"/>
            <p:cNvPicPr>
              <a:picLocks noChangeAspect="1"/>
            </p:cNvPicPr>
            <p:nvPr/>
          </p:nvPicPr>
          <p:blipFill rotWithShape="1">
            <a:blip r:embed="rId4">
              <a:lum bright="100000"/>
            </a:blip>
            <a:srcRect l="-3675" t="-3519" r="53491" b="47337"/>
            <a:stretch/>
          </p:blipFill>
          <p:spPr>
            <a:xfrm>
              <a:off x="10532161" y="3188369"/>
              <a:ext cx="657208" cy="818147"/>
            </a:xfrm>
            <a:prstGeom prst="rect">
              <a:avLst/>
            </a:prstGeom>
          </p:spPr>
        </p:pic>
      </p:grpSp>
      <p:grpSp>
        <p:nvGrpSpPr>
          <p:cNvPr id="2" name="Group 1"/>
          <p:cNvGrpSpPr/>
          <p:nvPr/>
        </p:nvGrpSpPr>
        <p:grpSpPr>
          <a:xfrm>
            <a:off x="6974022" y="1309978"/>
            <a:ext cx="1769825" cy="2769884"/>
            <a:chOff x="4299161" y="1746636"/>
            <a:chExt cx="2359152" cy="3693179"/>
          </a:xfrm>
        </p:grpSpPr>
        <p:sp>
          <p:nvSpPr>
            <p:cNvPr id="16" name="Presentation Title Rectangle"/>
            <p:cNvSpPr txBox="1">
              <a:spLocks/>
            </p:cNvSpPr>
            <p:nvPr/>
          </p:nvSpPr>
          <p:spPr>
            <a:xfrm>
              <a:off x="4299161" y="1746636"/>
              <a:ext cx="2359152" cy="3693179"/>
            </a:xfrm>
            <a:prstGeom prst="rect">
              <a:avLst/>
            </a:prstGeom>
            <a:solidFill>
              <a:schemeClr val="accent1"/>
            </a:solidFill>
            <a:ln w="25400" cap="flat" cmpd="sng" algn="ctr">
              <a:noFill/>
              <a:prstDash val="solid"/>
              <a:headEnd type="none" w="med" len="med"/>
              <a:tailEnd type="none" w="med" len="med"/>
            </a:ln>
            <a:effectLst/>
          </p:spPr>
          <p:txBody>
            <a:bodyPr vert="horz" wrap="square" lIns="91436" tIns="91440" rIns="91436" bIns="91440" numCol="1" rtlCol="0" anchor="b" anchorCtr="0" compatLnSpc="1">
              <a:prstTxWarp prst="textNoShape">
                <a:avLst/>
              </a:prstTxWarp>
            </a:bodyPr>
            <a:lstStyle>
              <a:defPPr>
                <a:defRPr lang="en-US"/>
              </a:defPPr>
              <a:lvl1pPr marR="0" lvl="0" indent="0" defTabSz="914099" fontAlgn="base">
                <a:lnSpc>
                  <a:spcPct val="100000"/>
                </a:lnSpc>
                <a:spcBef>
                  <a:spcPct val="0"/>
                </a:spcBef>
                <a:spcAft>
                  <a:spcPct val="0"/>
                </a:spcAft>
                <a:buClrTx/>
                <a:buSzTx/>
                <a:buFontTx/>
                <a:buNone/>
                <a:tabLst/>
                <a:defRPr kumimoji="0" sz="2200" b="0" i="0" u="none" strike="noStrike" kern="0" cap="none" spc="0" normalizeH="0" baseline="0">
                  <a:ln>
                    <a:noFill/>
                  </a:ln>
                  <a:gradFill>
                    <a:gsLst>
                      <a:gs pos="0">
                        <a:srgbClr val="FFFFFF"/>
                      </a:gs>
                      <a:gs pos="100000">
                        <a:srgbClr val="FFFFFF"/>
                      </a:gs>
                    </a:gsLst>
                    <a:lin ang="5400000" scaled="0"/>
                  </a:gradFill>
                  <a:effectLst/>
                  <a:uLnTx/>
                  <a:uFillTx/>
                  <a:latin typeface="Segoe UI"/>
                </a:defRPr>
              </a:lvl1pPr>
            </a:lstStyle>
            <a:p>
              <a:r>
                <a:rPr lang="en-US" dirty="0" smtClean="0"/>
                <a:t>Innovation</a:t>
              </a:r>
              <a:endParaRPr dirty="0"/>
            </a:p>
          </p:txBody>
        </p:sp>
        <p:grpSp>
          <p:nvGrpSpPr>
            <p:cNvPr id="49" name="Group 48"/>
            <p:cNvGrpSpPr>
              <a:grpSpLocks noChangeAspect="1"/>
            </p:cNvGrpSpPr>
            <p:nvPr/>
          </p:nvGrpSpPr>
          <p:grpSpPr bwMode="black">
            <a:xfrm>
              <a:off x="5018530" y="2084746"/>
              <a:ext cx="1048987" cy="2118685"/>
              <a:chOff x="2593975" y="2552700"/>
              <a:chExt cx="469901" cy="949325"/>
            </a:xfrm>
          </p:grpSpPr>
          <p:sp>
            <p:nvSpPr>
              <p:cNvPr id="50" name="Freeform 17"/>
              <p:cNvSpPr>
                <a:spLocks noEditPoints="1"/>
              </p:cNvSpPr>
              <p:nvPr/>
            </p:nvSpPr>
            <p:spPr bwMode="black">
              <a:xfrm>
                <a:off x="2593975" y="2835275"/>
                <a:ext cx="338138" cy="666750"/>
              </a:xfrm>
              <a:custGeom>
                <a:avLst/>
                <a:gdLst>
                  <a:gd name="T0" fmla="*/ 580 w 1160"/>
                  <a:gd name="T1" fmla="*/ 540 h 2287"/>
                  <a:gd name="T2" fmla="*/ 731 w 1160"/>
                  <a:gd name="T3" fmla="*/ 389 h 2287"/>
                  <a:gd name="T4" fmla="*/ 580 w 1160"/>
                  <a:gd name="T5" fmla="*/ 237 h 2287"/>
                  <a:gd name="T6" fmla="*/ 428 w 1160"/>
                  <a:gd name="T7" fmla="*/ 389 h 2287"/>
                  <a:gd name="T8" fmla="*/ 580 w 1160"/>
                  <a:gd name="T9" fmla="*/ 540 h 2287"/>
                  <a:gd name="T10" fmla="*/ 1109 w 1160"/>
                  <a:gd name="T11" fmla="*/ 22 h 2287"/>
                  <a:gd name="T12" fmla="*/ 1000 w 1160"/>
                  <a:gd name="T13" fmla="*/ 51 h 2287"/>
                  <a:gd name="T14" fmla="*/ 691 w 1160"/>
                  <a:gd name="T15" fmla="*/ 587 h 2287"/>
                  <a:gd name="T16" fmla="*/ 469 w 1160"/>
                  <a:gd name="T17" fmla="*/ 587 h 2287"/>
                  <a:gd name="T18" fmla="*/ 159 w 1160"/>
                  <a:gd name="T19" fmla="*/ 51 h 2287"/>
                  <a:gd name="T20" fmla="*/ 51 w 1160"/>
                  <a:gd name="T21" fmla="*/ 22 h 2287"/>
                  <a:gd name="T22" fmla="*/ 22 w 1160"/>
                  <a:gd name="T23" fmla="*/ 131 h 2287"/>
                  <a:gd name="T24" fmla="*/ 377 w 1160"/>
                  <a:gd name="T25" fmla="*/ 745 h 2287"/>
                  <a:gd name="T26" fmla="*/ 377 w 1160"/>
                  <a:gd name="T27" fmla="*/ 2194 h 2287"/>
                  <a:gd name="T28" fmla="*/ 470 w 1160"/>
                  <a:gd name="T29" fmla="*/ 2287 h 2287"/>
                  <a:gd name="T30" fmla="*/ 562 w 1160"/>
                  <a:gd name="T31" fmla="*/ 2194 h 2287"/>
                  <a:gd name="T32" fmla="*/ 562 w 1160"/>
                  <a:gd name="T33" fmla="*/ 1423 h 2287"/>
                  <a:gd name="T34" fmla="*/ 598 w 1160"/>
                  <a:gd name="T35" fmla="*/ 1423 h 2287"/>
                  <a:gd name="T36" fmla="*/ 598 w 1160"/>
                  <a:gd name="T37" fmla="*/ 2194 h 2287"/>
                  <a:gd name="T38" fmla="*/ 690 w 1160"/>
                  <a:gd name="T39" fmla="*/ 2287 h 2287"/>
                  <a:gd name="T40" fmla="*/ 783 w 1160"/>
                  <a:gd name="T41" fmla="*/ 2194 h 2287"/>
                  <a:gd name="T42" fmla="*/ 783 w 1160"/>
                  <a:gd name="T43" fmla="*/ 745 h 2287"/>
                  <a:gd name="T44" fmla="*/ 1138 w 1160"/>
                  <a:gd name="T45" fmla="*/ 131 h 2287"/>
                  <a:gd name="T46" fmla="*/ 1109 w 1160"/>
                  <a:gd name="T47" fmla="*/ 22 h 2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60" h="2287">
                    <a:moveTo>
                      <a:pt x="580" y="540"/>
                    </a:moveTo>
                    <a:cubicBezTo>
                      <a:pt x="664" y="540"/>
                      <a:pt x="731" y="473"/>
                      <a:pt x="731" y="389"/>
                    </a:cubicBezTo>
                    <a:cubicBezTo>
                      <a:pt x="731" y="305"/>
                      <a:pt x="664" y="237"/>
                      <a:pt x="580" y="237"/>
                    </a:cubicBezTo>
                    <a:cubicBezTo>
                      <a:pt x="496" y="237"/>
                      <a:pt x="428" y="305"/>
                      <a:pt x="428" y="389"/>
                    </a:cubicBezTo>
                    <a:cubicBezTo>
                      <a:pt x="428" y="473"/>
                      <a:pt x="496" y="540"/>
                      <a:pt x="580" y="540"/>
                    </a:cubicBezTo>
                    <a:close/>
                    <a:moveTo>
                      <a:pt x="1109" y="22"/>
                    </a:moveTo>
                    <a:cubicBezTo>
                      <a:pt x="1071" y="0"/>
                      <a:pt x="1022" y="13"/>
                      <a:pt x="1000" y="51"/>
                    </a:cubicBezTo>
                    <a:cubicBezTo>
                      <a:pt x="691" y="587"/>
                      <a:pt x="691" y="587"/>
                      <a:pt x="691" y="587"/>
                    </a:cubicBezTo>
                    <a:cubicBezTo>
                      <a:pt x="469" y="587"/>
                      <a:pt x="469" y="587"/>
                      <a:pt x="469" y="587"/>
                    </a:cubicBezTo>
                    <a:cubicBezTo>
                      <a:pt x="159" y="51"/>
                      <a:pt x="159" y="51"/>
                      <a:pt x="159" y="51"/>
                    </a:cubicBezTo>
                    <a:cubicBezTo>
                      <a:pt x="137" y="13"/>
                      <a:pt x="89" y="0"/>
                      <a:pt x="51" y="22"/>
                    </a:cubicBezTo>
                    <a:cubicBezTo>
                      <a:pt x="13" y="44"/>
                      <a:pt x="0" y="93"/>
                      <a:pt x="22" y="131"/>
                    </a:cubicBezTo>
                    <a:cubicBezTo>
                      <a:pt x="377" y="745"/>
                      <a:pt x="377" y="745"/>
                      <a:pt x="377" y="745"/>
                    </a:cubicBezTo>
                    <a:cubicBezTo>
                      <a:pt x="377" y="2194"/>
                      <a:pt x="377" y="2194"/>
                      <a:pt x="377" y="2194"/>
                    </a:cubicBezTo>
                    <a:cubicBezTo>
                      <a:pt x="377" y="2246"/>
                      <a:pt x="418" y="2287"/>
                      <a:pt x="470" y="2287"/>
                    </a:cubicBezTo>
                    <a:cubicBezTo>
                      <a:pt x="521" y="2287"/>
                      <a:pt x="562" y="2246"/>
                      <a:pt x="562" y="2194"/>
                    </a:cubicBezTo>
                    <a:cubicBezTo>
                      <a:pt x="562" y="1423"/>
                      <a:pt x="562" y="1423"/>
                      <a:pt x="562" y="1423"/>
                    </a:cubicBezTo>
                    <a:cubicBezTo>
                      <a:pt x="598" y="1423"/>
                      <a:pt x="598" y="1423"/>
                      <a:pt x="598" y="1423"/>
                    </a:cubicBezTo>
                    <a:cubicBezTo>
                      <a:pt x="598" y="2194"/>
                      <a:pt x="598" y="2194"/>
                      <a:pt x="598" y="2194"/>
                    </a:cubicBezTo>
                    <a:cubicBezTo>
                      <a:pt x="598" y="2246"/>
                      <a:pt x="639" y="2287"/>
                      <a:pt x="690" y="2287"/>
                    </a:cubicBezTo>
                    <a:cubicBezTo>
                      <a:pt x="742" y="2287"/>
                      <a:pt x="783" y="2246"/>
                      <a:pt x="783" y="2194"/>
                    </a:cubicBezTo>
                    <a:cubicBezTo>
                      <a:pt x="783" y="745"/>
                      <a:pt x="783" y="745"/>
                      <a:pt x="783" y="745"/>
                    </a:cubicBezTo>
                    <a:cubicBezTo>
                      <a:pt x="1138" y="131"/>
                      <a:pt x="1138" y="131"/>
                      <a:pt x="1138" y="131"/>
                    </a:cubicBezTo>
                    <a:cubicBezTo>
                      <a:pt x="1160" y="93"/>
                      <a:pt x="1147" y="44"/>
                      <a:pt x="1109"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1" name="Freeform 18"/>
              <p:cNvSpPr>
                <a:spLocks noEditPoints="1"/>
              </p:cNvSpPr>
              <p:nvPr/>
            </p:nvSpPr>
            <p:spPr bwMode="black">
              <a:xfrm>
                <a:off x="2649538" y="2552700"/>
                <a:ext cx="414338" cy="325438"/>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sp>
        <p:nvSpPr>
          <p:cNvPr id="5" name="Title 4"/>
          <p:cNvSpPr>
            <a:spLocks noGrp="1"/>
          </p:cNvSpPr>
          <p:nvPr>
            <p:ph type="title"/>
          </p:nvPr>
        </p:nvSpPr>
        <p:spPr/>
        <p:txBody>
          <a:bodyPr/>
          <a:lstStyle/>
          <a:p>
            <a:r>
              <a:rPr lang="en-US" dirty="0" smtClean="0"/>
              <a:t>Cloud Drivers</a:t>
            </a:r>
            <a:endParaRPr lang="en-US" dirty="0"/>
          </a:p>
        </p:txBody>
      </p:sp>
      <p:sp>
        <p:nvSpPr>
          <p:cNvPr id="29"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0"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5"/>
              </a:rPr>
              <a:t>www.rapidbbs.cn</a:t>
            </a:r>
            <a:endParaRPr lang="zh-CN" altLang="en-US" sz="1200" b="0">
              <a:latin typeface="Arial" charset="0"/>
              <a:ea typeface="ＭＳ Ｐゴシック" pitchFamily="34" charset="-128"/>
            </a:endParaRPr>
          </a:p>
        </p:txBody>
      </p:sp>
      <p:pic>
        <p:nvPicPr>
          <p:cNvPr id="34" name="Picture 2">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10440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0"/>
                                  </p:stCondLst>
                                  <p:childTnLst>
                                    <p:set>
                                      <p:cBhvr>
                                        <p:cTn id="6" dur="1" fill="hold">
                                          <p:stCondLst>
                                            <p:cond delay="0"/>
                                          </p:stCondLst>
                                        </p:cTn>
                                        <p:tgtEl>
                                          <p:spTgt spid="46"/>
                                        </p:tgtEl>
                                        <p:attrNameLst>
                                          <p:attrName>style.visibility</p:attrName>
                                        </p:attrNameLst>
                                      </p:cBhvr>
                                      <p:to>
                                        <p:strVal val="visible"/>
                                      </p:to>
                                    </p:set>
                                    <p:anim calcmode="lin" valueType="num">
                                      <p:cBhvr additive="base">
                                        <p:cTn id="7" dur="1000" fill="hold"/>
                                        <p:tgtEl>
                                          <p:spTgt spid="46"/>
                                        </p:tgtEl>
                                        <p:attrNameLst>
                                          <p:attrName>ppt_x</p:attrName>
                                        </p:attrNameLst>
                                      </p:cBhvr>
                                      <p:tavLst>
                                        <p:tav tm="0">
                                          <p:val>
                                            <p:strVal val="#ppt_x"/>
                                          </p:val>
                                        </p:tav>
                                        <p:tav tm="100000">
                                          <p:val>
                                            <p:strVal val="#ppt_x"/>
                                          </p:val>
                                        </p:tav>
                                      </p:tavLst>
                                    </p:anim>
                                    <p:anim calcmode="lin" valueType="num">
                                      <p:cBhvr additive="base">
                                        <p:cTn id="8" dur="1000" fill="hold"/>
                                        <p:tgtEl>
                                          <p:spTgt spid="46"/>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200"/>
                                  </p:stCondLst>
                                  <p:childTnLst>
                                    <p:set>
                                      <p:cBhvr>
                                        <p:cTn id="10" dur="1" fill="hold">
                                          <p:stCondLst>
                                            <p:cond delay="0"/>
                                          </p:stCondLst>
                                        </p:cTn>
                                        <p:tgtEl>
                                          <p:spTgt spid="40"/>
                                        </p:tgtEl>
                                        <p:attrNameLst>
                                          <p:attrName>style.visibility</p:attrName>
                                        </p:attrNameLst>
                                      </p:cBhvr>
                                      <p:to>
                                        <p:strVal val="visible"/>
                                      </p:to>
                                    </p:set>
                                    <p:anim calcmode="lin" valueType="num">
                                      <p:cBhvr additive="base">
                                        <p:cTn id="11" dur="1000" fill="hold"/>
                                        <p:tgtEl>
                                          <p:spTgt spid="40"/>
                                        </p:tgtEl>
                                        <p:attrNameLst>
                                          <p:attrName>ppt_x</p:attrName>
                                        </p:attrNameLst>
                                      </p:cBhvr>
                                      <p:tavLst>
                                        <p:tav tm="0">
                                          <p:val>
                                            <p:strVal val="#ppt_x"/>
                                          </p:val>
                                        </p:tav>
                                        <p:tav tm="100000">
                                          <p:val>
                                            <p:strVal val="#ppt_x"/>
                                          </p:val>
                                        </p:tav>
                                      </p:tavLst>
                                    </p:anim>
                                    <p:anim calcmode="lin" valueType="num">
                                      <p:cBhvr additive="base">
                                        <p:cTn id="12" dur="1000" fill="hold"/>
                                        <p:tgtEl>
                                          <p:spTgt spid="40"/>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400"/>
                                  </p:stCondLst>
                                  <p:childTnLst>
                                    <p:set>
                                      <p:cBhvr>
                                        <p:cTn id="14" dur="1" fill="hold">
                                          <p:stCondLst>
                                            <p:cond delay="0"/>
                                          </p:stCondLst>
                                        </p:cTn>
                                        <p:tgtEl>
                                          <p:spTgt spid="3"/>
                                        </p:tgtEl>
                                        <p:attrNameLst>
                                          <p:attrName>style.visibility</p:attrName>
                                        </p:attrNameLst>
                                      </p:cBhvr>
                                      <p:to>
                                        <p:strVal val="visible"/>
                                      </p:to>
                                    </p:set>
                                    <p:anim calcmode="lin" valueType="num">
                                      <p:cBhvr additive="base">
                                        <p:cTn id="15" dur="1000" fill="hold"/>
                                        <p:tgtEl>
                                          <p:spTgt spid="3"/>
                                        </p:tgtEl>
                                        <p:attrNameLst>
                                          <p:attrName>ppt_x</p:attrName>
                                        </p:attrNameLst>
                                      </p:cBhvr>
                                      <p:tavLst>
                                        <p:tav tm="0">
                                          <p:val>
                                            <p:strVal val="#ppt_x"/>
                                          </p:val>
                                        </p:tav>
                                        <p:tav tm="100000">
                                          <p:val>
                                            <p:strVal val="#ppt_x"/>
                                          </p:val>
                                        </p:tav>
                                      </p:tavLst>
                                    </p:anim>
                                    <p:anim calcmode="lin" valueType="num">
                                      <p:cBhvr additive="base">
                                        <p:cTn id="16" dur="1000" fill="hold"/>
                                        <p:tgtEl>
                                          <p:spTgt spid="3"/>
                                        </p:tgtEl>
                                        <p:attrNameLst>
                                          <p:attrName>ppt_y</p:attrName>
                                        </p:attrNameLst>
                                      </p:cBhvr>
                                      <p:tavLst>
                                        <p:tav tm="0">
                                          <p:val>
                                            <p:strVal val="1+#ppt_h/2"/>
                                          </p:val>
                                        </p:tav>
                                        <p:tav tm="100000">
                                          <p:val>
                                            <p:strVal val="#ppt_y"/>
                                          </p:val>
                                        </p:tav>
                                      </p:tavLst>
                                    </p:anim>
                                  </p:childTnLst>
                                </p:cTn>
                              </p:par>
                              <p:par>
                                <p:cTn id="17" presetID="2" presetClass="entr" presetSubtype="4" decel="100000" fill="hold" nodeType="withEffect">
                                  <p:stCondLst>
                                    <p:cond delay="600"/>
                                  </p:stCondLst>
                                  <p:childTnLst>
                                    <p:set>
                                      <p:cBhvr>
                                        <p:cTn id="18" dur="1" fill="hold">
                                          <p:stCondLst>
                                            <p:cond delay="0"/>
                                          </p:stCondLst>
                                        </p:cTn>
                                        <p:tgtEl>
                                          <p:spTgt spid="2"/>
                                        </p:tgtEl>
                                        <p:attrNameLst>
                                          <p:attrName>style.visibility</p:attrName>
                                        </p:attrNameLst>
                                      </p:cBhvr>
                                      <p:to>
                                        <p:strVal val="visible"/>
                                      </p:to>
                                    </p:set>
                                    <p:anim calcmode="lin" valueType="num">
                                      <p:cBhvr additive="base">
                                        <p:cTn id="19" dur="1000" fill="hold"/>
                                        <p:tgtEl>
                                          <p:spTgt spid="2"/>
                                        </p:tgtEl>
                                        <p:attrNameLst>
                                          <p:attrName>ppt_x</p:attrName>
                                        </p:attrNameLst>
                                      </p:cBhvr>
                                      <p:tavLst>
                                        <p:tav tm="0">
                                          <p:val>
                                            <p:strVal val="#ppt_x"/>
                                          </p:val>
                                        </p:tav>
                                        <p:tav tm="100000">
                                          <p:val>
                                            <p:strVal val="#ppt_x"/>
                                          </p:val>
                                        </p:tav>
                                      </p:tavLst>
                                    </p:anim>
                                    <p:anim calcmode="lin" valueType="num">
                                      <p:cBhvr additive="base">
                                        <p:cTn id="20" dur="10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56436" y="400050"/>
            <a:ext cx="6859786" cy="5143500"/>
          </a:xfrm>
          <a:prstGeom prst="rect">
            <a:avLst/>
          </a:prstGeom>
        </p:spPr>
      </p:pic>
      <p:sp>
        <p:nvSpPr>
          <p:cNvPr id="3"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5"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4"/>
              </a:rPr>
              <a:t>www.rapidbbs.cn</a:t>
            </a:r>
            <a:endParaRPr lang="zh-CN" altLang="en-US" sz="1200" b="0">
              <a:latin typeface="Arial" charset="0"/>
              <a:ea typeface="ＭＳ Ｐゴシック" pitchFamily="34" charset="-128"/>
            </a:endParaRPr>
          </a:p>
        </p:txBody>
      </p:sp>
      <p:pic>
        <p:nvPicPr>
          <p:cNvPr id="6" name="Picture 2">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82791253"/>
      </p:ext>
    </p:extLst>
  </p:cSld>
  <p:clrMapOvr>
    <a:masterClrMapping/>
  </p:clrMapOvr>
  <p:transition spd="slow">
    <p:push/>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nl-BE" dirty="0" smtClean="0"/>
              <a:t>Agenda</a:t>
            </a:r>
            <a:endParaRPr lang="nl-BE" dirty="0"/>
          </a:p>
        </p:txBody>
      </p:sp>
      <p:sp>
        <p:nvSpPr>
          <p:cNvPr id="6" name="TextBox 5"/>
          <p:cNvSpPr txBox="1"/>
          <p:nvPr/>
        </p:nvSpPr>
        <p:spPr>
          <a:xfrm>
            <a:off x="3113458" y="2571752"/>
            <a:ext cx="5131906" cy="1615827"/>
          </a:xfrm>
          <a:prstGeom prst="rect">
            <a:avLst/>
          </a:prstGeom>
          <a:noFill/>
        </p:spPr>
        <p:txBody>
          <a:bodyPr wrap="square" lIns="68571" tIns="68571" rIns="68571" bIns="68571" rtlCol="0">
            <a:spAutoFit/>
          </a:bodyPr>
          <a:lstStyle/>
          <a:p>
            <a:pPr marL="257146" indent="-257146">
              <a:lnSpc>
                <a:spcPct val="90000"/>
              </a:lnSpc>
              <a:spcBef>
                <a:spcPct val="20000"/>
              </a:spcBef>
              <a:buSzPct val="90000"/>
              <a:buFont typeface="Arial" pitchFamily="34" charset="0"/>
              <a:buChar char="•"/>
            </a:pPr>
            <a:r>
              <a:rPr lang="nl-BE" sz="1500" dirty="0">
                <a:solidFill>
                  <a:schemeClr val="bg1">
                    <a:alpha val="99000"/>
                  </a:schemeClr>
                </a:solidFill>
              </a:rPr>
              <a:t>What is Self-Service?</a:t>
            </a:r>
          </a:p>
          <a:p>
            <a:pPr marL="257146" indent="-257146">
              <a:lnSpc>
                <a:spcPct val="90000"/>
              </a:lnSpc>
              <a:spcBef>
                <a:spcPct val="20000"/>
              </a:spcBef>
              <a:buSzPct val="90000"/>
              <a:buFont typeface="Arial" pitchFamily="34" charset="0"/>
              <a:buChar char="•"/>
            </a:pPr>
            <a:r>
              <a:rPr lang="nl-BE" sz="1500" dirty="0">
                <a:solidFill>
                  <a:schemeClr val="bg1">
                    <a:alpha val="99000"/>
                  </a:schemeClr>
                </a:solidFill>
              </a:rPr>
              <a:t>End-User / IT perspective</a:t>
            </a:r>
          </a:p>
          <a:p>
            <a:pPr marL="257146" indent="-257146">
              <a:lnSpc>
                <a:spcPct val="90000"/>
              </a:lnSpc>
              <a:spcBef>
                <a:spcPct val="20000"/>
              </a:spcBef>
              <a:buSzPct val="90000"/>
              <a:buFont typeface="Arial" pitchFamily="34" charset="0"/>
              <a:buChar char="•"/>
            </a:pPr>
            <a:r>
              <a:rPr lang="nl-BE" sz="1500" dirty="0">
                <a:solidFill>
                  <a:schemeClr val="bg1">
                    <a:alpha val="99000"/>
                  </a:schemeClr>
                </a:solidFill>
              </a:rPr>
              <a:t>Dangers</a:t>
            </a:r>
          </a:p>
          <a:p>
            <a:pPr marL="257146" indent="-257146">
              <a:lnSpc>
                <a:spcPct val="90000"/>
              </a:lnSpc>
              <a:spcBef>
                <a:spcPct val="20000"/>
              </a:spcBef>
              <a:buSzPct val="90000"/>
              <a:buFont typeface="Arial" pitchFamily="34" charset="0"/>
              <a:buChar char="•"/>
            </a:pPr>
            <a:r>
              <a:rPr lang="nl-BE" sz="1500" dirty="0">
                <a:solidFill>
                  <a:schemeClr val="bg1">
                    <a:alpha val="99000"/>
                  </a:schemeClr>
                </a:solidFill>
              </a:rPr>
              <a:t>Is this an IT Matter?</a:t>
            </a:r>
          </a:p>
          <a:p>
            <a:pPr marL="257146" indent="-257146">
              <a:lnSpc>
                <a:spcPct val="90000"/>
              </a:lnSpc>
              <a:spcBef>
                <a:spcPct val="20000"/>
              </a:spcBef>
              <a:buSzPct val="90000"/>
              <a:buFont typeface="Arial" pitchFamily="34" charset="0"/>
              <a:buChar char="•"/>
            </a:pPr>
            <a:r>
              <a:rPr lang="nl-BE" sz="1500" dirty="0">
                <a:solidFill>
                  <a:schemeClr val="bg1">
                    <a:alpha val="99000"/>
                  </a:schemeClr>
                </a:solidFill>
              </a:rPr>
              <a:t>Let’s do this</a:t>
            </a:r>
          </a:p>
          <a:p>
            <a:pPr marL="257146" indent="-257146">
              <a:lnSpc>
                <a:spcPct val="90000"/>
              </a:lnSpc>
              <a:spcBef>
                <a:spcPct val="20000"/>
              </a:spcBef>
              <a:buSzPct val="90000"/>
              <a:buFont typeface="Arial" pitchFamily="34" charset="0"/>
              <a:buChar char="•"/>
            </a:pPr>
            <a:r>
              <a:rPr lang="nl-BE" sz="1500" dirty="0">
                <a:solidFill>
                  <a:schemeClr val="bg1">
                    <a:alpha val="99000"/>
                  </a:schemeClr>
                </a:solidFill>
              </a:rPr>
              <a:t>Additional Tips</a:t>
            </a:r>
          </a:p>
        </p:txBody>
      </p:sp>
      <p:sp>
        <p:nvSpPr>
          <p:cNvPr id="7" name="Freeform 68"/>
          <p:cNvSpPr>
            <a:spLocks noChangeAspect="1" noEditPoints="1"/>
          </p:cNvSpPr>
          <p:nvPr/>
        </p:nvSpPr>
        <p:spPr bwMode="auto">
          <a:xfrm>
            <a:off x="1222762" y="2704151"/>
            <a:ext cx="1202145" cy="1351026"/>
          </a:xfrm>
          <a:custGeom>
            <a:avLst/>
            <a:gdLst>
              <a:gd name="T0" fmla="*/ 26 w 368"/>
              <a:gd name="T1" fmla="*/ 0 h 414"/>
              <a:gd name="T2" fmla="*/ 19 w 368"/>
              <a:gd name="T3" fmla="*/ 30 h 414"/>
              <a:gd name="T4" fmla="*/ 19 w 368"/>
              <a:gd name="T5" fmla="*/ 65 h 414"/>
              <a:gd name="T6" fmla="*/ 0 w 368"/>
              <a:gd name="T7" fmla="*/ 102 h 414"/>
              <a:gd name="T8" fmla="*/ 19 w 368"/>
              <a:gd name="T9" fmla="*/ 138 h 414"/>
              <a:gd name="T10" fmla="*/ 19 w 368"/>
              <a:gd name="T11" fmla="*/ 173 h 414"/>
              <a:gd name="T12" fmla="*/ 0 w 368"/>
              <a:gd name="T13" fmla="*/ 210 h 414"/>
              <a:gd name="T14" fmla="*/ 19 w 368"/>
              <a:gd name="T15" fmla="*/ 247 h 414"/>
              <a:gd name="T16" fmla="*/ 19 w 368"/>
              <a:gd name="T17" fmla="*/ 281 h 414"/>
              <a:gd name="T18" fmla="*/ 0 w 368"/>
              <a:gd name="T19" fmla="*/ 318 h 414"/>
              <a:gd name="T20" fmla="*/ 19 w 368"/>
              <a:gd name="T21" fmla="*/ 355 h 414"/>
              <a:gd name="T22" fmla="*/ 19 w 368"/>
              <a:gd name="T23" fmla="*/ 390 h 414"/>
              <a:gd name="T24" fmla="*/ 26 w 368"/>
              <a:gd name="T25" fmla="*/ 414 h 414"/>
              <a:gd name="T26" fmla="*/ 368 w 368"/>
              <a:gd name="T27" fmla="*/ 340 h 414"/>
              <a:gd name="T28" fmla="*/ 294 w 368"/>
              <a:gd name="T29" fmla="*/ 0 h 414"/>
              <a:gd name="T30" fmla="*/ 19 w 368"/>
              <a:gd name="T31" fmla="*/ 45 h 414"/>
              <a:gd name="T32" fmla="*/ 15 w 368"/>
              <a:gd name="T33" fmla="*/ 47 h 414"/>
              <a:gd name="T34" fmla="*/ 19 w 368"/>
              <a:gd name="T35" fmla="*/ 99 h 414"/>
              <a:gd name="T36" fmla="*/ 15 w 368"/>
              <a:gd name="T37" fmla="*/ 102 h 414"/>
              <a:gd name="T38" fmla="*/ 19 w 368"/>
              <a:gd name="T39" fmla="*/ 154 h 414"/>
              <a:gd name="T40" fmla="*/ 15 w 368"/>
              <a:gd name="T41" fmla="*/ 156 h 414"/>
              <a:gd name="T42" fmla="*/ 19 w 368"/>
              <a:gd name="T43" fmla="*/ 208 h 414"/>
              <a:gd name="T44" fmla="*/ 15 w 368"/>
              <a:gd name="T45" fmla="*/ 210 h 414"/>
              <a:gd name="T46" fmla="*/ 19 w 368"/>
              <a:gd name="T47" fmla="*/ 262 h 414"/>
              <a:gd name="T48" fmla="*/ 15 w 368"/>
              <a:gd name="T49" fmla="*/ 264 h 414"/>
              <a:gd name="T50" fmla="*/ 19 w 368"/>
              <a:gd name="T51" fmla="*/ 316 h 414"/>
              <a:gd name="T52" fmla="*/ 15 w 368"/>
              <a:gd name="T53" fmla="*/ 318 h 414"/>
              <a:gd name="T54" fmla="*/ 19 w 368"/>
              <a:gd name="T55" fmla="*/ 370 h 414"/>
              <a:gd name="T56" fmla="*/ 15 w 368"/>
              <a:gd name="T57" fmla="*/ 373 h 414"/>
              <a:gd name="T58" fmla="*/ 294 w 368"/>
              <a:gd name="T59" fmla="*/ 400 h 414"/>
              <a:gd name="T60" fmla="*/ 34 w 368"/>
              <a:gd name="T61" fmla="*/ 370 h 414"/>
              <a:gd name="T62" fmla="*/ 38 w 368"/>
              <a:gd name="T63" fmla="*/ 378 h 414"/>
              <a:gd name="T64" fmla="*/ 50 w 368"/>
              <a:gd name="T65" fmla="*/ 364 h 414"/>
              <a:gd name="T66" fmla="*/ 34 w 368"/>
              <a:gd name="T67" fmla="*/ 316 h 414"/>
              <a:gd name="T68" fmla="*/ 38 w 368"/>
              <a:gd name="T69" fmla="*/ 324 h 414"/>
              <a:gd name="T70" fmla="*/ 50 w 368"/>
              <a:gd name="T71" fmla="*/ 310 h 414"/>
              <a:gd name="T72" fmla="*/ 34 w 368"/>
              <a:gd name="T73" fmla="*/ 262 h 414"/>
              <a:gd name="T74" fmla="*/ 38 w 368"/>
              <a:gd name="T75" fmla="*/ 269 h 414"/>
              <a:gd name="T76" fmla="*/ 50 w 368"/>
              <a:gd name="T77" fmla="*/ 256 h 414"/>
              <a:gd name="T78" fmla="*/ 34 w 368"/>
              <a:gd name="T79" fmla="*/ 208 h 414"/>
              <a:gd name="T80" fmla="*/ 38 w 368"/>
              <a:gd name="T81" fmla="*/ 215 h 414"/>
              <a:gd name="T82" fmla="*/ 50 w 368"/>
              <a:gd name="T83" fmla="*/ 202 h 414"/>
              <a:gd name="T84" fmla="*/ 34 w 368"/>
              <a:gd name="T85" fmla="*/ 154 h 414"/>
              <a:gd name="T86" fmla="*/ 38 w 368"/>
              <a:gd name="T87" fmla="*/ 161 h 414"/>
              <a:gd name="T88" fmla="*/ 50 w 368"/>
              <a:gd name="T89" fmla="*/ 148 h 414"/>
              <a:gd name="T90" fmla="*/ 34 w 368"/>
              <a:gd name="T91" fmla="*/ 100 h 414"/>
              <a:gd name="T92" fmla="*/ 38 w 368"/>
              <a:gd name="T93" fmla="*/ 107 h 414"/>
              <a:gd name="T94" fmla="*/ 50 w 368"/>
              <a:gd name="T95" fmla="*/ 94 h 414"/>
              <a:gd name="T96" fmla="*/ 34 w 368"/>
              <a:gd name="T97" fmla="*/ 45 h 414"/>
              <a:gd name="T98" fmla="*/ 38 w 368"/>
              <a:gd name="T99" fmla="*/ 53 h 414"/>
              <a:gd name="T100" fmla="*/ 50 w 368"/>
              <a:gd name="T101" fmla="*/ 39 h 414"/>
              <a:gd name="T102" fmla="*/ 34 w 368"/>
              <a:gd name="T103" fmla="*/ 15 h 414"/>
              <a:gd name="T104" fmla="*/ 353 w 368"/>
              <a:gd name="T105" fmla="*/ 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68" h="414">
                <a:moveTo>
                  <a:pt x="294" y="0"/>
                </a:moveTo>
                <a:cubicBezTo>
                  <a:pt x="26" y="0"/>
                  <a:pt x="26" y="0"/>
                  <a:pt x="26" y="0"/>
                </a:cubicBezTo>
                <a:cubicBezTo>
                  <a:pt x="22" y="0"/>
                  <a:pt x="19" y="3"/>
                  <a:pt x="19" y="7"/>
                </a:cubicBezTo>
                <a:cubicBezTo>
                  <a:pt x="19" y="30"/>
                  <a:pt x="19" y="30"/>
                  <a:pt x="19" y="30"/>
                </a:cubicBezTo>
                <a:cubicBezTo>
                  <a:pt x="8" y="32"/>
                  <a:pt x="0" y="39"/>
                  <a:pt x="0" y="47"/>
                </a:cubicBezTo>
                <a:cubicBezTo>
                  <a:pt x="0" y="56"/>
                  <a:pt x="8" y="63"/>
                  <a:pt x="19" y="65"/>
                </a:cubicBezTo>
                <a:cubicBezTo>
                  <a:pt x="19" y="84"/>
                  <a:pt x="19" y="84"/>
                  <a:pt x="19" y="84"/>
                </a:cubicBezTo>
                <a:cubicBezTo>
                  <a:pt x="8" y="86"/>
                  <a:pt x="0" y="93"/>
                  <a:pt x="0" y="102"/>
                </a:cubicBezTo>
                <a:cubicBezTo>
                  <a:pt x="0" y="110"/>
                  <a:pt x="8" y="117"/>
                  <a:pt x="19" y="119"/>
                </a:cubicBezTo>
                <a:cubicBezTo>
                  <a:pt x="19" y="138"/>
                  <a:pt x="19" y="138"/>
                  <a:pt x="19" y="138"/>
                </a:cubicBezTo>
                <a:cubicBezTo>
                  <a:pt x="8" y="141"/>
                  <a:pt x="0" y="147"/>
                  <a:pt x="0" y="156"/>
                </a:cubicBezTo>
                <a:cubicBezTo>
                  <a:pt x="0" y="164"/>
                  <a:pt x="8" y="171"/>
                  <a:pt x="19" y="173"/>
                </a:cubicBezTo>
                <a:cubicBezTo>
                  <a:pt x="19" y="193"/>
                  <a:pt x="19" y="193"/>
                  <a:pt x="19" y="193"/>
                </a:cubicBezTo>
                <a:cubicBezTo>
                  <a:pt x="8" y="195"/>
                  <a:pt x="0" y="201"/>
                  <a:pt x="0" y="210"/>
                </a:cubicBezTo>
                <a:cubicBezTo>
                  <a:pt x="0" y="218"/>
                  <a:pt x="8" y="225"/>
                  <a:pt x="19" y="227"/>
                </a:cubicBezTo>
                <a:cubicBezTo>
                  <a:pt x="19" y="247"/>
                  <a:pt x="19" y="247"/>
                  <a:pt x="19" y="247"/>
                </a:cubicBezTo>
                <a:cubicBezTo>
                  <a:pt x="8" y="249"/>
                  <a:pt x="0" y="256"/>
                  <a:pt x="0" y="264"/>
                </a:cubicBezTo>
                <a:cubicBezTo>
                  <a:pt x="0" y="273"/>
                  <a:pt x="8" y="279"/>
                  <a:pt x="19" y="281"/>
                </a:cubicBezTo>
                <a:cubicBezTo>
                  <a:pt x="19" y="301"/>
                  <a:pt x="19" y="301"/>
                  <a:pt x="19" y="301"/>
                </a:cubicBezTo>
                <a:cubicBezTo>
                  <a:pt x="8" y="303"/>
                  <a:pt x="0" y="310"/>
                  <a:pt x="0" y="318"/>
                </a:cubicBezTo>
                <a:cubicBezTo>
                  <a:pt x="0" y="327"/>
                  <a:pt x="8" y="334"/>
                  <a:pt x="19" y="336"/>
                </a:cubicBezTo>
                <a:cubicBezTo>
                  <a:pt x="19" y="355"/>
                  <a:pt x="19" y="355"/>
                  <a:pt x="19" y="355"/>
                </a:cubicBezTo>
                <a:cubicBezTo>
                  <a:pt x="8" y="357"/>
                  <a:pt x="0" y="364"/>
                  <a:pt x="0" y="373"/>
                </a:cubicBezTo>
                <a:cubicBezTo>
                  <a:pt x="0" y="381"/>
                  <a:pt x="8" y="388"/>
                  <a:pt x="19" y="390"/>
                </a:cubicBezTo>
                <a:cubicBezTo>
                  <a:pt x="19" y="407"/>
                  <a:pt x="19" y="407"/>
                  <a:pt x="19" y="407"/>
                </a:cubicBezTo>
                <a:cubicBezTo>
                  <a:pt x="19" y="411"/>
                  <a:pt x="22" y="414"/>
                  <a:pt x="26" y="414"/>
                </a:cubicBezTo>
                <a:cubicBezTo>
                  <a:pt x="294" y="414"/>
                  <a:pt x="294" y="414"/>
                  <a:pt x="294" y="414"/>
                </a:cubicBezTo>
                <a:cubicBezTo>
                  <a:pt x="335" y="414"/>
                  <a:pt x="368" y="381"/>
                  <a:pt x="368" y="340"/>
                </a:cubicBezTo>
                <a:cubicBezTo>
                  <a:pt x="368" y="74"/>
                  <a:pt x="368" y="74"/>
                  <a:pt x="368" y="74"/>
                </a:cubicBezTo>
                <a:cubicBezTo>
                  <a:pt x="368" y="33"/>
                  <a:pt x="335" y="0"/>
                  <a:pt x="294" y="0"/>
                </a:cubicBezTo>
                <a:close/>
                <a:moveTo>
                  <a:pt x="15" y="47"/>
                </a:moveTo>
                <a:cubicBezTo>
                  <a:pt x="15" y="47"/>
                  <a:pt x="17" y="46"/>
                  <a:pt x="19" y="45"/>
                </a:cubicBezTo>
                <a:cubicBezTo>
                  <a:pt x="19" y="50"/>
                  <a:pt x="19" y="50"/>
                  <a:pt x="19" y="50"/>
                </a:cubicBezTo>
                <a:cubicBezTo>
                  <a:pt x="17" y="49"/>
                  <a:pt x="15" y="48"/>
                  <a:pt x="15" y="47"/>
                </a:cubicBezTo>
                <a:close/>
                <a:moveTo>
                  <a:pt x="15" y="102"/>
                </a:moveTo>
                <a:cubicBezTo>
                  <a:pt x="15" y="101"/>
                  <a:pt x="17" y="100"/>
                  <a:pt x="19" y="99"/>
                </a:cubicBezTo>
                <a:cubicBezTo>
                  <a:pt x="19" y="104"/>
                  <a:pt x="19" y="104"/>
                  <a:pt x="19" y="104"/>
                </a:cubicBezTo>
                <a:cubicBezTo>
                  <a:pt x="17" y="103"/>
                  <a:pt x="15" y="102"/>
                  <a:pt x="15" y="102"/>
                </a:cubicBezTo>
                <a:close/>
                <a:moveTo>
                  <a:pt x="15" y="156"/>
                </a:moveTo>
                <a:cubicBezTo>
                  <a:pt x="15" y="155"/>
                  <a:pt x="17" y="154"/>
                  <a:pt x="19" y="154"/>
                </a:cubicBezTo>
                <a:cubicBezTo>
                  <a:pt x="19" y="158"/>
                  <a:pt x="19" y="158"/>
                  <a:pt x="19" y="158"/>
                </a:cubicBezTo>
                <a:cubicBezTo>
                  <a:pt x="17" y="157"/>
                  <a:pt x="15" y="156"/>
                  <a:pt x="15" y="156"/>
                </a:cubicBezTo>
                <a:close/>
                <a:moveTo>
                  <a:pt x="15" y="210"/>
                </a:moveTo>
                <a:cubicBezTo>
                  <a:pt x="15" y="209"/>
                  <a:pt x="17" y="209"/>
                  <a:pt x="19" y="208"/>
                </a:cubicBezTo>
                <a:cubicBezTo>
                  <a:pt x="19" y="212"/>
                  <a:pt x="19" y="212"/>
                  <a:pt x="19" y="212"/>
                </a:cubicBezTo>
                <a:cubicBezTo>
                  <a:pt x="17" y="211"/>
                  <a:pt x="15" y="211"/>
                  <a:pt x="15" y="210"/>
                </a:cubicBezTo>
                <a:close/>
                <a:moveTo>
                  <a:pt x="15" y="264"/>
                </a:moveTo>
                <a:cubicBezTo>
                  <a:pt x="15" y="264"/>
                  <a:pt x="17" y="263"/>
                  <a:pt x="19" y="262"/>
                </a:cubicBezTo>
                <a:cubicBezTo>
                  <a:pt x="19" y="266"/>
                  <a:pt x="19" y="266"/>
                  <a:pt x="19" y="266"/>
                </a:cubicBezTo>
                <a:cubicBezTo>
                  <a:pt x="17" y="266"/>
                  <a:pt x="15" y="265"/>
                  <a:pt x="15" y="264"/>
                </a:cubicBezTo>
                <a:close/>
                <a:moveTo>
                  <a:pt x="15" y="318"/>
                </a:moveTo>
                <a:cubicBezTo>
                  <a:pt x="15" y="318"/>
                  <a:pt x="17" y="317"/>
                  <a:pt x="19" y="316"/>
                </a:cubicBezTo>
                <a:cubicBezTo>
                  <a:pt x="19" y="321"/>
                  <a:pt x="19" y="321"/>
                  <a:pt x="19" y="321"/>
                </a:cubicBezTo>
                <a:cubicBezTo>
                  <a:pt x="17" y="320"/>
                  <a:pt x="15" y="319"/>
                  <a:pt x="15" y="318"/>
                </a:cubicBezTo>
                <a:close/>
                <a:moveTo>
                  <a:pt x="15" y="373"/>
                </a:moveTo>
                <a:cubicBezTo>
                  <a:pt x="15" y="372"/>
                  <a:pt x="17" y="371"/>
                  <a:pt x="19" y="370"/>
                </a:cubicBezTo>
                <a:cubicBezTo>
                  <a:pt x="19" y="375"/>
                  <a:pt x="19" y="375"/>
                  <a:pt x="19" y="375"/>
                </a:cubicBezTo>
                <a:cubicBezTo>
                  <a:pt x="17" y="374"/>
                  <a:pt x="15" y="373"/>
                  <a:pt x="15" y="373"/>
                </a:cubicBezTo>
                <a:close/>
                <a:moveTo>
                  <a:pt x="353" y="340"/>
                </a:moveTo>
                <a:cubicBezTo>
                  <a:pt x="353" y="373"/>
                  <a:pt x="326" y="400"/>
                  <a:pt x="294" y="400"/>
                </a:cubicBezTo>
                <a:cubicBezTo>
                  <a:pt x="34" y="400"/>
                  <a:pt x="34" y="400"/>
                  <a:pt x="34" y="400"/>
                </a:cubicBezTo>
                <a:cubicBezTo>
                  <a:pt x="34" y="370"/>
                  <a:pt x="34" y="370"/>
                  <a:pt x="34" y="370"/>
                </a:cubicBezTo>
                <a:cubicBezTo>
                  <a:pt x="36" y="371"/>
                  <a:pt x="37" y="372"/>
                  <a:pt x="38" y="373"/>
                </a:cubicBezTo>
                <a:cubicBezTo>
                  <a:pt x="38" y="374"/>
                  <a:pt x="39" y="375"/>
                  <a:pt x="38" y="378"/>
                </a:cubicBezTo>
                <a:cubicBezTo>
                  <a:pt x="52" y="382"/>
                  <a:pt x="52" y="382"/>
                  <a:pt x="52" y="382"/>
                </a:cubicBezTo>
                <a:cubicBezTo>
                  <a:pt x="55" y="374"/>
                  <a:pt x="52" y="368"/>
                  <a:pt x="50" y="364"/>
                </a:cubicBezTo>
                <a:cubicBezTo>
                  <a:pt x="46" y="360"/>
                  <a:pt x="41" y="357"/>
                  <a:pt x="34" y="355"/>
                </a:cubicBezTo>
                <a:cubicBezTo>
                  <a:pt x="34" y="316"/>
                  <a:pt x="34" y="316"/>
                  <a:pt x="34" y="316"/>
                </a:cubicBezTo>
                <a:cubicBezTo>
                  <a:pt x="36" y="317"/>
                  <a:pt x="37" y="318"/>
                  <a:pt x="38" y="319"/>
                </a:cubicBezTo>
                <a:cubicBezTo>
                  <a:pt x="38" y="319"/>
                  <a:pt x="39" y="321"/>
                  <a:pt x="38" y="324"/>
                </a:cubicBezTo>
                <a:cubicBezTo>
                  <a:pt x="52" y="328"/>
                  <a:pt x="52" y="328"/>
                  <a:pt x="52" y="328"/>
                </a:cubicBezTo>
                <a:cubicBezTo>
                  <a:pt x="55" y="320"/>
                  <a:pt x="52" y="314"/>
                  <a:pt x="50" y="310"/>
                </a:cubicBezTo>
                <a:cubicBezTo>
                  <a:pt x="46" y="306"/>
                  <a:pt x="41" y="302"/>
                  <a:pt x="34" y="301"/>
                </a:cubicBezTo>
                <a:cubicBezTo>
                  <a:pt x="34" y="262"/>
                  <a:pt x="34" y="262"/>
                  <a:pt x="34" y="262"/>
                </a:cubicBezTo>
                <a:cubicBezTo>
                  <a:pt x="36" y="263"/>
                  <a:pt x="37" y="264"/>
                  <a:pt x="38" y="265"/>
                </a:cubicBezTo>
                <a:cubicBezTo>
                  <a:pt x="38" y="265"/>
                  <a:pt x="39" y="266"/>
                  <a:pt x="38" y="269"/>
                </a:cubicBezTo>
                <a:cubicBezTo>
                  <a:pt x="52" y="274"/>
                  <a:pt x="52" y="274"/>
                  <a:pt x="52" y="274"/>
                </a:cubicBezTo>
                <a:cubicBezTo>
                  <a:pt x="55" y="265"/>
                  <a:pt x="52" y="260"/>
                  <a:pt x="50" y="256"/>
                </a:cubicBezTo>
                <a:cubicBezTo>
                  <a:pt x="46" y="251"/>
                  <a:pt x="41" y="248"/>
                  <a:pt x="34" y="247"/>
                </a:cubicBezTo>
                <a:cubicBezTo>
                  <a:pt x="34" y="208"/>
                  <a:pt x="34" y="208"/>
                  <a:pt x="34" y="208"/>
                </a:cubicBezTo>
                <a:cubicBezTo>
                  <a:pt x="36" y="209"/>
                  <a:pt x="37" y="210"/>
                  <a:pt x="38" y="211"/>
                </a:cubicBezTo>
                <a:cubicBezTo>
                  <a:pt x="38" y="211"/>
                  <a:pt x="39" y="212"/>
                  <a:pt x="38" y="215"/>
                </a:cubicBezTo>
                <a:cubicBezTo>
                  <a:pt x="52" y="220"/>
                  <a:pt x="52" y="220"/>
                  <a:pt x="52" y="220"/>
                </a:cubicBezTo>
                <a:cubicBezTo>
                  <a:pt x="55" y="211"/>
                  <a:pt x="52" y="205"/>
                  <a:pt x="50" y="202"/>
                </a:cubicBezTo>
                <a:cubicBezTo>
                  <a:pt x="46" y="197"/>
                  <a:pt x="41" y="194"/>
                  <a:pt x="34" y="193"/>
                </a:cubicBezTo>
                <a:cubicBezTo>
                  <a:pt x="34" y="154"/>
                  <a:pt x="34" y="154"/>
                  <a:pt x="34" y="154"/>
                </a:cubicBezTo>
                <a:cubicBezTo>
                  <a:pt x="36" y="154"/>
                  <a:pt x="37" y="155"/>
                  <a:pt x="38" y="157"/>
                </a:cubicBezTo>
                <a:cubicBezTo>
                  <a:pt x="38" y="157"/>
                  <a:pt x="39" y="158"/>
                  <a:pt x="38" y="161"/>
                </a:cubicBezTo>
                <a:cubicBezTo>
                  <a:pt x="52" y="165"/>
                  <a:pt x="52" y="165"/>
                  <a:pt x="52" y="165"/>
                </a:cubicBezTo>
                <a:cubicBezTo>
                  <a:pt x="55" y="157"/>
                  <a:pt x="52" y="151"/>
                  <a:pt x="50" y="148"/>
                </a:cubicBezTo>
                <a:cubicBezTo>
                  <a:pt x="46" y="143"/>
                  <a:pt x="41" y="140"/>
                  <a:pt x="34" y="138"/>
                </a:cubicBezTo>
                <a:cubicBezTo>
                  <a:pt x="34" y="100"/>
                  <a:pt x="34" y="100"/>
                  <a:pt x="34" y="100"/>
                </a:cubicBezTo>
                <a:cubicBezTo>
                  <a:pt x="36" y="100"/>
                  <a:pt x="37" y="101"/>
                  <a:pt x="38" y="102"/>
                </a:cubicBezTo>
                <a:cubicBezTo>
                  <a:pt x="38" y="103"/>
                  <a:pt x="39" y="104"/>
                  <a:pt x="38" y="107"/>
                </a:cubicBezTo>
                <a:cubicBezTo>
                  <a:pt x="52" y="111"/>
                  <a:pt x="52" y="111"/>
                  <a:pt x="52" y="111"/>
                </a:cubicBezTo>
                <a:cubicBezTo>
                  <a:pt x="55" y="103"/>
                  <a:pt x="52" y="97"/>
                  <a:pt x="50" y="94"/>
                </a:cubicBezTo>
                <a:cubicBezTo>
                  <a:pt x="46" y="89"/>
                  <a:pt x="41" y="86"/>
                  <a:pt x="34" y="84"/>
                </a:cubicBezTo>
                <a:cubicBezTo>
                  <a:pt x="34" y="45"/>
                  <a:pt x="34" y="45"/>
                  <a:pt x="34" y="45"/>
                </a:cubicBezTo>
                <a:cubicBezTo>
                  <a:pt x="36" y="46"/>
                  <a:pt x="37" y="47"/>
                  <a:pt x="38" y="48"/>
                </a:cubicBezTo>
                <a:cubicBezTo>
                  <a:pt x="38" y="49"/>
                  <a:pt x="39" y="50"/>
                  <a:pt x="38" y="53"/>
                </a:cubicBezTo>
                <a:cubicBezTo>
                  <a:pt x="52" y="57"/>
                  <a:pt x="52" y="57"/>
                  <a:pt x="52" y="57"/>
                </a:cubicBezTo>
                <a:cubicBezTo>
                  <a:pt x="55" y="49"/>
                  <a:pt x="52" y="43"/>
                  <a:pt x="50" y="39"/>
                </a:cubicBezTo>
                <a:cubicBezTo>
                  <a:pt x="46" y="35"/>
                  <a:pt x="41" y="31"/>
                  <a:pt x="34" y="30"/>
                </a:cubicBezTo>
                <a:cubicBezTo>
                  <a:pt x="34" y="15"/>
                  <a:pt x="34" y="15"/>
                  <a:pt x="34" y="15"/>
                </a:cubicBezTo>
                <a:cubicBezTo>
                  <a:pt x="294" y="15"/>
                  <a:pt x="294" y="15"/>
                  <a:pt x="294" y="15"/>
                </a:cubicBezTo>
                <a:cubicBezTo>
                  <a:pt x="326" y="15"/>
                  <a:pt x="353" y="41"/>
                  <a:pt x="353" y="74"/>
                </a:cubicBezTo>
                <a:lnTo>
                  <a:pt x="353" y="340"/>
                </a:lnTo>
                <a:close/>
              </a:path>
            </a:pathLst>
          </a:custGeom>
          <a:solidFill>
            <a:srgbClr val="FFFFFF"/>
          </a:solidFill>
          <a:ln>
            <a:noFill/>
          </a:ln>
        </p:spPr>
        <p:txBody>
          <a:bodyPr vert="horz" wrap="square" lIns="68571" tIns="34286" rIns="68571" bIns="34286" numCol="1" anchor="t" anchorCtr="0" compatLnSpc="1">
            <a:prstTxWarp prst="textNoShape">
              <a:avLst/>
            </a:prstTxWarp>
          </a:bodyPr>
          <a:lstStyle/>
          <a:p>
            <a:endParaRPr lang="en-US"/>
          </a:p>
        </p:txBody>
      </p:sp>
      <p:sp>
        <p:nvSpPr>
          <p:cNvPr id="5"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8"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
              </a:rPr>
              <a:t>www.rapidbbs.cn</a:t>
            </a:r>
            <a:endParaRPr lang="zh-CN" altLang="en-US" sz="1200" b="0">
              <a:latin typeface="Arial" charset="0"/>
              <a:ea typeface="ＭＳ Ｐゴシック" pitchFamily="34" charset="-128"/>
            </a:endParaRPr>
          </a:p>
        </p:txBody>
      </p:sp>
      <p:pic>
        <p:nvPicPr>
          <p:cNvPr id="9" name="Picture 2">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84536999"/>
      </p:ext>
    </p:extLst>
  </p:cSld>
  <p:clrMapOvr>
    <a:masterClrMapping/>
  </p:clrMapOvr>
  <p:transition>
    <p:fade/>
  </p:transition>
  <p:timing>
    <p:tnLst>
      <p:par>
        <p:cTn id="1" dur="indefinite" restart="never" nodeType="tmRoot"/>
      </p:par>
    </p:tnLst>
  </p:timing>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 name="Group 45"/>
          <p:cNvGrpSpPr/>
          <p:nvPr/>
        </p:nvGrpSpPr>
        <p:grpSpPr>
          <a:xfrm>
            <a:off x="654985" y="839203"/>
            <a:ext cx="1886441" cy="1260158"/>
            <a:chOff x="873085" y="1066800"/>
            <a:chExt cx="2514600" cy="1680210"/>
          </a:xfrm>
        </p:grpSpPr>
        <p:sp>
          <p:nvSpPr>
            <p:cNvPr id="47" name="Rectangle 46"/>
            <p:cNvSpPr/>
            <p:nvPr/>
          </p:nvSpPr>
          <p:spPr bwMode="auto">
            <a:xfrm>
              <a:off x="873085" y="1066800"/>
              <a:ext cx="2514600" cy="168021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640080" rIns="91440" bIns="0" numCol="1" spcCol="0" rtlCol="0" fromWordArt="0" anchor="ctr"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Blazing-Fast Performance</a:t>
              </a:r>
            </a:p>
          </p:txBody>
        </p:sp>
        <p:sp>
          <p:nvSpPr>
            <p:cNvPr id="48" name="TextBox 47"/>
            <p:cNvSpPr txBox="1"/>
            <p:nvPr/>
          </p:nvSpPr>
          <p:spPr>
            <a:xfrm>
              <a:off x="2961285" y="1066800"/>
              <a:ext cx="356415" cy="615553"/>
            </a:xfrm>
            <a:prstGeom prst="rect">
              <a:avLst/>
            </a:prstGeom>
            <a:noFill/>
          </p:spPr>
          <p:txBody>
            <a:bodyPr wrap="none" lIns="0" tIns="0" rIns="45720" bIns="0" rtlCol="0">
              <a:spAutoFit/>
            </a:bodyPr>
            <a:lstStyle/>
            <a:p>
              <a:r>
                <a:rPr lang="en-US" sz="3000" b="1" dirty="0">
                  <a:solidFill>
                    <a:schemeClr val="accent1">
                      <a:lumMod val="75000"/>
                    </a:schemeClr>
                  </a:solidFill>
                </a:rPr>
                <a:t>1</a:t>
              </a:r>
            </a:p>
          </p:txBody>
        </p:sp>
        <p:pic>
          <p:nvPicPr>
            <p:cNvPr id="49" name="Picture 4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1839" y="1149508"/>
              <a:ext cx="712235" cy="712235"/>
            </a:xfrm>
            <a:prstGeom prst="rect">
              <a:avLst/>
            </a:prstGeom>
          </p:spPr>
        </p:pic>
      </p:grpSp>
      <p:grpSp>
        <p:nvGrpSpPr>
          <p:cNvPr id="50" name="Group 49"/>
          <p:cNvGrpSpPr/>
          <p:nvPr/>
        </p:nvGrpSpPr>
        <p:grpSpPr>
          <a:xfrm>
            <a:off x="654984" y="2189824"/>
            <a:ext cx="1886441" cy="1260158"/>
            <a:chOff x="873085" y="2914952"/>
            <a:chExt cx="2514600" cy="1680210"/>
          </a:xfrm>
        </p:grpSpPr>
        <p:sp>
          <p:nvSpPr>
            <p:cNvPr id="51" name="Rectangle 50"/>
            <p:cNvSpPr/>
            <p:nvPr/>
          </p:nvSpPr>
          <p:spPr bwMode="auto">
            <a:xfrm>
              <a:off x="873085" y="2914952"/>
              <a:ext cx="2514600" cy="168021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640080" rIns="91440" bIns="0" numCol="1" spcCol="0" rtlCol="0" fromWordArt="0" anchor="ctr"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Scale</a:t>
              </a:r>
            </a:p>
            <a:p>
              <a:pPr defTabSz="685637" fontAlgn="base">
                <a:spcBef>
                  <a:spcPct val="0"/>
                </a:spcBef>
                <a:spcAft>
                  <a:spcPct val="0"/>
                </a:spcAft>
              </a:pPr>
              <a:r>
                <a:rPr lang="en-US" sz="1500" dirty="0">
                  <a:gradFill>
                    <a:gsLst>
                      <a:gs pos="0">
                        <a:srgbClr val="FFFFFF"/>
                      </a:gs>
                      <a:gs pos="100000">
                        <a:srgbClr val="FFFFFF"/>
                      </a:gs>
                    </a:gsLst>
                    <a:lin ang="5400000" scaled="0"/>
                  </a:gradFill>
                </a:rPr>
                <a:t>On Demand</a:t>
              </a:r>
            </a:p>
          </p:txBody>
        </p:sp>
        <p:sp>
          <p:nvSpPr>
            <p:cNvPr id="55" name="TextBox 54"/>
            <p:cNvSpPr txBox="1"/>
            <p:nvPr/>
          </p:nvSpPr>
          <p:spPr>
            <a:xfrm>
              <a:off x="2943291" y="2914952"/>
              <a:ext cx="356415" cy="615553"/>
            </a:xfrm>
            <a:prstGeom prst="rect">
              <a:avLst/>
            </a:prstGeom>
            <a:noFill/>
          </p:spPr>
          <p:txBody>
            <a:bodyPr wrap="none" lIns="0" tIns="0" rIns="45720" bIns="0" rtlCol="0">
              <a:spAutoFit/>
            </a:bodyPr>
            <a:lstStyle/>
            <a:p>
              <a:r>
                <a:rPr lang="en-US" sz="3000" b="1" dirty="0">
                  <a:solidFill>
                    <a:schemeClr val="accent1">
                      <a:lumMod val="75000"/>
                    </a:schemeClr>
                  </a:solidFill>
                </a:rPr>
                <a:t>5</a:t>
              </a:r>
            </a:p>
          </p:txBody>
        </p:sp>
        <p:grpSp>
          <p:nvGrpSpPr>
            <p:cNvPr id="59" name="Group 58"/>
            <p:cNvGrpSpPr/>
            <p:nvPr/>
          </p:nvGrpSpPr>
          <p:grpSpPr>
            <a:xfrm>
              <a:off x="1101685" y="3125187"/>
              <a:ext cx="787272" cy="414961"/>
              <a:chOff x="7792432" y="3461097"/>
              <a:chExt cx="568902" cy="299861"/>
            </a:xfrm>
          </p:grpSpPr>
          <p:sp>
            <p:nvSpPr>
              <p:cNvPr id="63" name="Freeform 8"/>
              <p:cNvSpPr>
                <a:spLocks/>
              </p:cNvSpPr>
              <p:nvPr/>
            </p:nvSpPr>
            <p:spPr bwMode="auto">
              <a:xfrm>
                <a:off x="8055009" y="3461097"/>
                <a:ext cx="306325" cy="299861"/>
              </a:xfrm>
              <a:custGeom>
                <a:avLst/>
                <a:gdLst>
                  <a:gd name="T0" fmla="*/ 100 w 100"/>
                  <a:gd name="T1" fmla="*/ 0 h 98"/>
                  <a:gd name="T2" fmla="*/ 16 w 100"/>
                  <a:gd name="T3" fmla="*/ 13 h 98"/>
                  <a:gd name="T4" fmla="*/ 41 w 100"/>
                  <a:gd name="T5" fmla="*/ 39 h 98"/>
                  <a:gd name="T6" fmla="*/ 41 w 100"/>
                  <a:gd name="T7" fmla="*/ 39 h 98"/>
                  <a:gd name="T8" fmla="*/ 6 w 100"/>
                  <a:gd name="T9" fmla="*/ 75 h 98"/>
                  <a:gd name="T10" fmla="*/ 6 w 100"/>
                  <a:gd name="T11" fmla="*/ 94 h 98"/>
                  <a:gd name="T12" fmla="*/ 16 w 100"/>
                  <a:gd name="T13" fmla="*/ 98 h 98"/>
                  <a:gd name="T14" fmla="*/ 25 w 100"/>
                  <a:gd name="T15" fmla="*/ 94 h 98"/>
                  <a:gd name="T16" fmla="*/ 61 w 100"/>
                  <a:gd name="T17" fmla="*/ 59 h 98"/>
                  <a:gd name="T18" fmla="*/ 61 w 100"/>
                  <a:gd name="T19" fmla="*/ 59 h 98"/>
                  <a:gd name="T20" fmla="*/ 87 w 100"/>
                  <a:gd name="T21" fmla="*/ 84 h 98"/>
                  <a:gd name="T22" fmla="*/ 100 w 100"/>
                  <a:gd name="T23"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98">
                    <a:moveTo>
                      <a:pt x="100" y="0"/>
                    </a:moveTo>
                    <a:cubicBezTo>
                      <a:pt x="16" y="13"/>
                      <a:pt x="16" y="13"/>
                      <a:pt x="16" y="13"/>
                    </a:cubicBezTo>
                    <a:cubicBezTo>
                      <a:pt x="41" y="39"/>
                      <a:pt x="41" y="39"/>
                      <a:pt x="41" y="39"/>
                    </a:cubicBezTo>
                    <a:cubicBezTo>
                      <a:pt x="41" y="39"/>
                      <a:pt x="41" y="39"/>
                      <a:pt x="41" y="39"/>
                    </a:cubicBezTo>
                    <a:cubicBezTo>
                      <a:pt x="6" y="75"/>
                      <a:pt x="6" y="75"/>
                      <a:pt x="6" y="75"/>
                    </a:cubicBezTo>
                    <a:cubicBezTo>
                      <a:pt x="0" y="80"/>
                      <a:pt x="0" y="89"/>
                      <a:pt x="6" y="94"/>
                    </a:cubicBezTo>
                    <a:cubicBezTo>
                      <a:pt x="8" y="97"/>
                      <a:pt x="12" y="98"/>
                      <a:pt x="16" y="98"/>
                    </a:cubicBezTo>
                    <a:cubicBezTo>
                      <a:pt x="19" y="98"/>
                      <a:pt x="23" y="97"/>
                      <a:pt x="25" y="94"/>
                    </a:cubicBezTo>
                    <a:cubicBezTo>
                      <a:pt x="61" y="59"/>
                      <a:pt x="61" y="59"/>
                      <a:pt x="61" y="59"/>
                    </a:cubicBezTo>
                    <a:cubicBezTo>
                      <a:pt x="61" y="59"/>
                      <a:pt x="61" y="59"/>
                      <a:pt x="61" y="59"/>
                    </a:cubicBezTo>
                    <a:cubicBezTo>
                      <a:pt x="87" y="84"/>
                      <a:pt x="87" y="84"/>
                      <a:pt x="87" y="84"/>
                    </a:cubicBezTo>
                    <a:lnTo>
                      <a:pt x="10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Rectangle 9"/>
              <p:cNvSpPr>
                <a:spLocks noChangeArrowheads="1"/>
              </p:cNvSpPr>
              <p:nvPr/>
            </p:nvSpPr>
            <p:spPr bwMode="auto">
              <a:xfrm>
                <a:off x="7891463" y="3675653"/>
                <a:ext cx="212661"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Rectangle 9"/>
              <p:cNvSpPr>
                <a:spLocks noChangeArrowheads="1"/>
              </p:cNvSpPr>
              <p:nvPr/>
            </p:nvSpPr>
            <p:spPr bwMode="auto">
              <a:xfrm>
                <a:off x="7792432" y="3675653"/>
                <a:ext cx="27432"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Rectangle 9"/>
              <p:cNvSpPr>
                <a:spLocks noChangeArrowheads="1"/>
              </p:cNvSpPr>
              <p:nvPr/>
            </p:nvSpPr>
            <p:spPr bwMode="auto">
              <a:xfrm>
                <a:off x="7832804" y="3675653"/>
                <a:ext cx="45719"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81" name="Group 80"/>
          <p:cNvGrpSpPr/>
          <p:nvPr/>
        </p:nvGrpSpPr>
        <p:grpSpPr>
          <a:xfrm>
            <a:off x="2626147" y="3540442"/>
            <a:ext cx="1886441" cy="1260158"/>
            <a:chOff x="873085" y="4720590"/>
            <a:chExt cx="2514600" cy="1680210"/>
          </a:xfrm>
        </p:grpSpPr>
        <p:sp>
          <p:nvSpPr>
            <p:cNvPr id="82" name="Rectangle 81"/>
            <p:cNvSpPr/>
            <p:nvPr/>
          </p:nvSpPr>
          <p:spPr bwMode="auto">
            <a:xfrm>
              <a:off x="873085" y="4720590"/>
              <a:ext cx="2514600" cy="168021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640080" rIns="91440" bIns="0" numCol="1" spcCol="0" rtlCol="0" fromWordArt="0" anchor="ctr"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Credible, </a:t>
              </a:r>
            </a:p>
            <a:p>
              <a:pPr defTabSz="685637" fontAlgn="base">
                <a:spcBef>
                  <a:spcPct val="0"/>
                </a:spcBef>
                <a:spcAft>
                  <a:spcPct val="0"/>
                </a:spcAft>
              </a:pPr>
              <a:r>
                <a:rPr lang="en-US" sz="1500" dirty="0">
                  <a:gradFill>
                    <a:gsLst>
                      <a:gs pos="0">
                        <a:srgbClr val="FFFFFF"/>
                      </a:gs>
                      <a:gs pos="100000">
                        <a:srgbClr val="FFFFFF"/>
                      </a:gs>
                    </a:gsLst>
                    <a:lin ang="5400000" scaled="0"/>
                  </a:gradFill>
                </a:rPr>
                <a:t>Consistent Data</a:t>
              </a:r>
            </a:p>
          </p:txBody>
        </p:sp>
        <p:sp>
          <p:nvSpPr>
            <p:cNvPr id="83" name="TextBox 82"/>
            <p:cNvSpPr txBox="1"/>
            <p:nvPr/>
          </p:nvSpPr>
          <p:spPr>
            <a:xfrm>
              <a:off x="2645865" y="4720590"/>
              <a:ext cx="651290" cy="615553"/>
            </a:xfrm>
            <a:prstGeom prst="rect">
              <a:avLst/>
            </a:prstGeom>
            <a:noFill/>
          </p:spPr>
          <p:txBody>
            <a:bodyPr wrap="none" lIns="0" tIns="0" rIns="45720" bIns="0" rtlCol="0">
              <a:spAutoFit/>
            </a:bodyPr>
            <a:lstStyle/>
            <a:p>
              <a:pPr algn="r"/>
              <a:r>
                <a:rPr lang="en-US" sz="3000" b="1" dirty="0">
                  <a:solidFill>
                    <a:schemeClr val="accent1">
                      <a:lumMod val="75000"/>
                    </a:schemeClr>
                  </a:solidFill>
                </a:rPr>
                <a:t>10</a:t>
              </a:r>
            </a:p>
          </p:txBody>
        </p:sp>
        <p:pic>
          <p:nvPicPr>
            <p:cNvPr id="84" name="Picture 2"/>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81839" y="4809790"/>
              <a:ext cx="790621" cy="702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85" name="Group 84"/>
          <p:cNvGrpSpPr/>
          <p:nvPr/>
        </p:nvGrpSpPr>
        <p:grpSpPr>
          <a:xfrm>
            <a:off x="2626147" y="839203"/>
            <a:ext cx="1886441" cy="1260158"/>
            <a:chOff x="3522922" y="1066685"/>
            <a:chExt cx="2514600" cy="1680210"/>
          </a:xfrm>
        </p:grpSpPr>
        <p:sp>
          <p:nvSpPr>
            <p:cNvPr id="86" name="Rectangle 85"/>
            <p:cNvSpPr/>
            <p:nvPr/>
          </p:nvSpPr>
          <p:spPr bwMode="auto">
            <a:xfrm>
              <a:off x="3522922" y="1066685"/>
              <a:ext cx="2514600" cy="168021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640080" rIns="91440" bIns="0" numCol="1" spcCol="0" rtlCol="0" fromWordArt="0" anchor="ctr"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Security &amp; Compliance</a:t>
              </a:r>
            </a:p>
          </p:txBody>
        </p:sp>
        <p:sp>
          <p:nvSpPr>
            <p:cNvPr id="87" name="TextBox 86"/>
            <p:cNvSpPr txBox="1"/>
            <p:nvPr/>
          </p:nvSpPr>
          <p:spPr>
            <a:xfrm>
              <a:off x="5611122" y="1066800"/>
              <a:ext cx="356415" cy="615553"/>
            </a:xfrm>
            <a:prstGeom prst="rect">
              <a:avLst/>
            </a:prstGeom>
            <a:noFill/>
          </p:spPr>
          <p:txBody>
            <a:bodyPr wrap="none" lIns="0" tIns="0" rIns="45720" bIns="0" rtlCol="0">
              <a:spAutoFit/>
            </a:bodyPr>
            <a:lstStyle/>
            <a:p>
              <a:r>
                <a:rPr lang="en-US" sz="3000" b="1" dirty="0">
                  <a:solidFill>
                    <a:schemeClr val="accent1">
                      <a:lumMod val="75000"/>
                    </a:schemeClr>
                  </a:solidFill>
                </a:rPr>
                <a:t>2</a:t>
              </a:r>
            </a:p>
          </p:txBody>
        </p:sp>
        <p:pic>
          <p:nvPicPr>
            <p:cNvPr id="88" name="Picture 87" descr="keu.png"/>
            <p:cNvPicPr>
              <a:picLocks noChangeAspect="1"/>
            </p:cNvPicPr>
            <p:nvPr>
              <p:custDataLst>
                <p:tags r:id="rId3"/>
              </p:custDataLst>
            </p:nvPr>
          </p:nvPicPr>
          <p:blipFill>
            <a:blip r:embed="rId7" cstate="print">
              <a:biLevel thresh="25000"/>
            </a:blip>
            <a:stretch>
              <a:fillRect/>
            </a:stretch>
          </p:blipFill>
          <p:spPr>
            <a:xfrm>
              <a:off x="3692485" y="1121915"/>
              <a:ext cx="714326" cy="714326"/>
            </a:xfrm>
            <a:prstGeom prst="rect">
              <a:avLst/>
            </a:prstGeom>
            <a:effectLst/>
          </p:spPr>
        </p:pic>
      </p:grpSp>
      <p:grpSp>
        <p:nvGrpSpPr>
          <p:cNvPr id="89" name="Group 88"/>
          <p:cNvGrpSpPr/>
          <p:nvPr/>
        </p:nvGrpSpPr>
        <p:grpSpPr>
          <a:xfrm>
            <a:off x="2626147" y="2189824"/>
            <a:ext cx="1886441" cy="1260158"/>
            <a:chOff x="3527384" y="2914952"/>
            <a:chExt cx="2514600" cy="1680210"/>
          </a:xfrm>
        </p:grpSpPr>
        <p:sp>
          <p:nvSpPr>
            <p:cNvPr id="90" name="Rectangle 89"/>
            <p:cNvSpPr/>
            <p:nvPr/>
          </p:nvSpPr>
          <p:spPr bwMode="auto">
            <a:xfrm>
              <a:off x="3527384" y="2914952"/>
              <a:ext cx="2514600" cy="168021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640080" rIns="91440" bIns="0" numCol="1" spcCol="0" rtlCol="0" fromWordArt="0" anchor="ctr"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Fast Time</a:t>
              </a:r>
            </a:p>
            <a:p>
              <a:pPr defTabSz="685637" fontAlgn="base">
                <a:spcBef>
                  <a:spcPct val="0"/>
                </a:spcBef>
                <a:spcAft>
                  <a:spcPct val="0"/>
                </a:spcAft>
              </a:pPr>
              <a:r>
                <a:rPr lang="en-US" sz="1500" dirty="0">
                  <a:gradFill>
                    <a:gsLst>
                      <a:gs pos="0">
                        <a:srgbClr val="FFFFFF"/>
                      </a:gs>
                      <a:gs pos="100000">
                        <a:srgbClr val="FFFFFF"/>
                      </a:gs>
                    </a:gsLst>
                    <a:lin ang="5400000" scaled="0"/>
                  </a:gradFill>
                </a:rPr>
                <a:t>to Solution</a:t>
              </a:r>
            </a:p>
          </p:txBody>
        </p:sp>
        <p:sp>
          <p:nvSpPr>
            <p:cNvPr id="91" name="TextBox 90"/>
            <p:cNvSpPr txBox="1"/>
            <p:nvPr/>
          </p:nvSpPr>
          <p:spPr>
            <a:xfrm>
              <a:off x="5597590" y="2914952"/>
              <a:ext cx="356415" cy="615553"/>
            </a:xfrm>
            <a:prstGeom prst="rect">
              <a:avLst/>
            </a:prstGeom>
            <a:noFill/>
          </p:spPr>
          <p:txBody>
            <a:bodyPr wrap="none" lIns="0" tIns="0" rIns="45720" bIns="0" rtlCol="0">
              <a:spAutoFit/>
            </a:bodyPr>
            <a:lstStyle/>
            <a:p>
              <a:r>
                <a:rPr lang="en-US" sz="3000" b="1" dirty="0">
                  <a:solidFill>
                    <a:schemeClr val="accent1">
                      <a:lumMod val="75000"/>
                    </a:schemeClr>
                  </a:solidFill>
                </a:rPr>
                <a:t>6</a:t>
              </a:r>
            </a:p>
          </p:txBody>
        </p:sp>
        <p:pic>
          <p:nvPicPr>
            <p:cNvPr id="92" name="Picture 3" descr="\\SFP\Work\White_Whale\3-22036_Kuleen_Bharadwaj\PPT\3_PlatformVision_Kuleen\SFP_Art\Plane Slide\mon_notie.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612602" y="2980360"/>
              <a:ext cx="600158" cy="70403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3" name="Group 92"/>
          <p:cNvGrpSpPr/>
          <p:nvPr/>
        </p:nvGrpSpPr>
        <p:grpSpPr>
          <a:xfrm>
            <a:off x="4597308" y="3540442"/>
            <a:ext cx="1886441" cy="1260158"/>
            <a:chOff x="3527384" y="4720590"/>
            <a:chExt cx="2514600" cy="1680210"/>
          </a:xfrm>
        </p:grpSpPr>
        <p:sp>
          <p:nvSpPr>
            <p:cNvPr id="94" name="Rectangle 93"/>
            <p:cNvSpPr/>
            <p:nvPr/>
          </p:nvSpPr>
          <p:spPr bwMode="auto">
            <a:xfrm>
              <a:off x="3527384" y="4720590"/>
              <a:ext cx="2514600" cy="168021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640080" rIns="91440" bIns="0" numCol="1" spcCol="0" rtlCol="0" fromWordArt="0" anchor="ctr"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Managed </a:t>
              </a:r>
              <a:br>
                <a:rPr lang="en-US" sz="1500" dirty="0">
                  <a:gradFill>
                    <a:gsLst>
                      <a:gs pos="0">
                        <a:srgbClr val="FFFFFF"/>
                      </a:gs>
                      <a:gs pos="100000">
                        <a:srgbClr val="FFFFFF"/>
                      </a:gs>
                    </a:gsLst>
                    <a:lin ang="5400000" scaled="0"/>
                  </a:gradFill>
                </a:rPr>
              </a:br>
              <a:r>
                <a:rPr lang="en-US" sz="1500" dirty="0">
                  <a:gradFill>
                    <a:gsLst>
                      <a:gs pos="0">
                        <a:srgbClr val="FFFFFF"/>
                      </a:gs>
                      <a:gs pos="100000">
                        <a:srgbClr val="FFFFFF"/>
                      </a:gs>
                    </a:gsLst>
                    <a:lin ang="5400000" scaled="0"/>
                  </a:gradFill>
                </a:rPr>
                <a:t>Self-Service BI</a:t>
              </a:r>
            </a:p>
          </p:txBody>
        </p:sp>
        <p:sp>
          <p:nvSpPr>
            <p:cNvPr id="95" name="TextBox 94"/>
            <p:cNvSpPr txBox="1"/>
            <p:nvPr/>
          </p:nvSpPr>
          <p:spPr>
            <a:xfrm>
              <a:off x="5233905" y="4720590"/>
              <a:ext cx="651290" cy="615553"/>
            </a:xfrm>
            <a:prstGeom prst="rect">
              <a:avLst/>
            </a:prstGeom>
            <a:noFill/>
          </p:spPr>
          <p:txBody>
            <a:bodyPr wrap="none" lIns="0" tIns="0" rIns="45720" bIns="0" rtlCol="0">
              <a:spAutoFit/>
            </a:bodyPr>
            <a:lstStyle/>
            <a:p>
              <a:r>
                <a:rPr lang="en-US" sz="3000" b="1" dirty="0">
                  <a:solidFill>
                    <a:schemeClr val="accent1">
                      <a:lumMod val="75000"/>
                    </a:schemeClr>
                  </a:solidFill>
                </a:rPr>
                <a:t>11</a:t>
              </a:r>
            </a:p>
          </p:txBody>
        </p:sp>
        <p:pic>
          <p:nvPicPr>
            <p:cNvPr id="96" name="Picture 174"/>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645509" y="4809790"/>
              <a:ext cx="700075" cy="7008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97" name="Group 96"/>
          <p:cNvGrpSpPr/>
          <p:nvPr/>
        </p:nvGrpSpPr>
        <p:grpSpPr>
          <a:xfrm>
            <a:off x="4597308" y="839203"/>
            <a:ext cx="1886441" cy="1260158"/>
            <a:chOff x="6182770" y="1066800"/>
            <a:chExt cx="2514600" cy="1680210"/>
          </a:xfrm>
        </p:grpSpPr>
        <p:sp>
          <p:nvSpPr>
            <p:cNvPr id="98" name="Rectangle 97"/>
            <p:cNvSpPr/>
            <p:nvPr/>
          </p:nvSpPr>
          <p:spPr bwMode="auto">
            <a:xfrm>
              <a:off x="6182770" y="1066800"/>
              <a:ext cx="2514600" cy="168021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640080" rIns="91440" bIns="0" numCol="1" spcCol="0" rtlCol="0" fromWordArt="0" anchor="ctr"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Required 9s &amp; </a:t>
              </a:r>
              <a:br>
                <a:rPr lang="en-US" sz="1500" dirty="0">
                  <a:gradFill>
                    <a:gsLst>
                      <a:gs pos="0">
                        <a:srgbClr val="FFFFFF"/>
                      </a:gs>
                      <a:gs pos="100000">
                        <a:srgbClr val="FFFFFF"/>
                      </a:gs>
                    </a:gsLst>
                    <a:lin ang="5400000" scaled="0"/>
                  </a:gradFill>
                </a:rPr>
              </a:br>
              <a:r>
                <a:rPr lang="en-US" sz="1500" dirty="0">
                  <a:gradFill>
                    <a:gsLst>
                      <a:gs pos="0">
                        <a:srgbClr val="FFFFFF"/>
                      </a:gs>
                      <a:gs pos="100000">
                        <a:srgbClr val="FFFFFF"/>
                      </a:gs>
                    </a:gsLst>
                    <a:lin ang="5400000" scaled="0"/>
                  </a:gradFill>
                </a:rPr>
                <a:t>Data Protection</a:t>
              </a:r>
            </a:p>
          </p:txBody>
        </p:sp>
        <p:sp>
          <p:nvSpPr>
            <p:cNvPr id="99" name="TextBox 98"/>
            <p:cNvSpPr txBox="1"/>
            <p:nvPr/>
          </p:nvSpPr>
          <p:spPr>
            <a:xfrm>
              <a:off x="8270970" y="1066800"/>
              <a:ext cx="356415" cy="615553"/>
            </a:xfrm>
            <a:prstGeom prst="rect">
              <a:avLst/>
            </a:prstGeom>
            <a:noFill/>
          </p:spPr>
          <p:txBody>
            <a:bodyPr wrap="none" lIns="0" tIns="0" rIns="45720" bIns="0" rtlCol="0">
              <a:spAutoFit/>
            </a:bodyPr>
            <a:lstStyle/>
            <a:p>
              <a:r>
                <a:rPr lang="en-US" sz="3000" b="1" dirty="0">
                  <a:solidFill>
                    <a:schemeClr val="accent1">
                      <a:lumMod val="75000"/>
                    </a:schemeClr>
                  </a:solidFill>
                </a:rPr>
                <a:t>3</a:t>
              </a:r>
            </a:p>
          </p:txBody>
        </p:sp>
        <p:pic>
          <p:nvPicPr>
            <p:cNvPr id="100" name="Picture 4" descr="\\MAGNUM\Projects\Microsoft\Cloud Power FY12\Design\ICONS_PNG\Check_mark.png"/>
            <p:cNvPicPr>
              <a:picLocks noChangeAspect="1" noChangeArrowheads="1"/>
            </p:cNvPicPr>
            <p:nvPr/>
          </p:nvPicPr>
          <p:blipFill rotWithShape="1">
            <a:blip r:embed="rId10" cstate="print">
              <a:lum bright="100000"/>
            </a:blip>
            <a:srcRect t="11515"/>
            <a:stretch/>
          </p:blipFill>
          <p:spPr bwMode="auto">
            <a:xfrm>
              <a:off x="6196172" y="1090507"/>
              <a:ext cx="922518" cy="816283"/>
            </a:xfrm>
            <a:prstGeom prst="rect">
              <a:avLst/>
            </a:prstGeom>
            <a:noFill/>
          </p:spPr>
        </p:pic>
      </p:grpSp>
      <p:grpSp>
        <p:nvGrpSpPr>
          <p:cNvPr id="101" name="Group 100"/>
          <p:cNvGrpSpPr/>
          <p:nvPr/>
        </p:nvGrpSpPr>
        <p:grpSpPr>
          <a:xfrm>
            <a:off x="4597308" y="2189824"/>
            <a:ext cx="1886441" cy="1260158"/>
            <a:chOff x="6181684" y="2914952"/>
            <a:chExt cx="2514600" cy="1680210"/>
          </a:xfrm>
        </p:grpSpPr>
        <p:sp>
          <p:nvSpPr>
            <p:cNvPr id="102" name="Rectangle 101"/>
            <p:cNvSpPr/>
            <p:nvPr/>
          </p:nvSpPr>
          <p:spPr bwMode="auto">
            <a:xfrm>
              <a:off x="6181684" y="2914952"/>
              <a:ext cx="2514600" cy="168021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640080" rIns="91440" bIns="0" numCol="1" spcCol="0" rtlCol="0" fromWordArt="0" anchor="ctr"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Extend Any Data, Anywhere</a:t>
              </a:r>
            </a:p>
          </p:txBody>
        </p:sp>
        <p:sp>
          <p:nvSpPr>
            <p:cNvPr id="103" name="TextBox 102"/>
            <p:cNvSpPr txBox="1"/>
            <p:nvPr/>
          </p:nvSpPr>
          <p:spPr>
            <a:xfrm>
              <a:off x="8257644" y="2914952"/>
              <a:ext cx="356415" cy="615553"/>
            </a:xfrm>
            <a:prstGeom prst="rect">
              <a:avLst/>
            </a:prstGeom>
            <a:noFill/>
          </p:spPr>
          <p:txBody>
            <a:bodyPr wrap="none" lIns="0" tIns="0" rIns="45720" bIns="0" rtlCol="0">
              <a:spAutoFit/>
            </a:bodyPr>
            <a:lstStyle/>
            <a:p>
              <a:r>
                <a:rPr lang="en-US" sz="3000" b="1" dirty="0">
                  <a:solidFill>
                    <a:schemeClr val="accent1">
                      <a:lumMod val="75000"/>
                    </a:schemeClr>
                  </a:solidFill>
                </a:rPr>
                <a:t>7</a:t>
              </a:r>
            </a:p>
          </p:txBody>
        </p:sp>
        <p:pic>
          <p:nvPicPr>
            <p:cNvPr id="104" name="Picture 7" descr="\\MAGNUM\Projects\Microsoft\Cloud Power FY12\Design\ICONS_PNG\Physical_Virtual.png"/>
            <p:cNvPicPr>
              <a:picLocks noChangeAspect="1" noChangeArrowheads="1"/>
            </p:cNvPicPr>
            <p:nvPr/>
          </p:nvPicPr>
          <p:blipFill rotWithShape="1">
            <a:blip r:embed="rId11" cstate="print">
              <a:extLst>
                <a:ext uri="{BEBA8EAE-BF5A-486C-A8C5-ECC9F3942E4B}">
                  <a14:imgProps xmlns:a14="http://schemas.microsoft.com/office/drawing/2010/main">
                    <a14:imgLayer r:embed="rId12">
                      <a14:imgEffect>
                        <a14:brightnessContrast bright="100000"/>
                      </a14:imgEffect>
                    </a14:imgLayer>
                  </a14:imgProps>
                </a:ext>
              </a:extLst>
            </a:blip>
            <a:srcRect l="7856" t="39072" r="7907" b="5885"/>
            <a:stretch/>
          </p:blipFill>
          <p:spPr bwMode="auto">
            <a:xfrm>
              <a:off x="6211930" y="2946330"/>
              <a:ext cx="1129523" cy="738063"/>
            </a:xfrm>
            <a:prstGeom prst="rect">
              <a:avLst/>
            </a:prstGeom>
            <a:noFill/>
          </p:spPr>
        </p:pic>
      </p:grpSp>
      <p:grpSp>
        <p:nvGrpSpPr>
          <p:cNvPr id="105" name="Group 104"/>
          <p:cNvGrpSpPr/>
          <p:nvPr/>
        </p:nvGrpSpPr>
        <p:grpSpPr>
          <a:xfrm>
            <a:off x="6568469" y="3540442"/>
            <a:ext cx="1886441" cy="1260158"/>
            <a:chOff x="6181684" y="4720590"/>
            <a:chExt cx="2514600" cy="1680210"/>
          </a:xfrm>
        </p:grpSpPr>
        <p:sp>
          <p:nvSpPr>
            <p:cNvPr id="106" name="Rectangle 105"/>
            <p:cNvSpPr/>
            <p:nvPr/>
          </p:nvSpPr>
          <p:spPr bwMode="auto">
            <a:xfrm>
              <a:off x="6181684" y="4720590"/>
              <a:ext cx="2514600" cy="168021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640080" rIns="91440" bIns="0" numCol="1" spcCol="0" rtlCol="0" fromWordArt="0" anchor="ctr"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Rapid Data Exploration</a:t>
              </a:r>
            </a:p>
          </p:txBody>
        </p:sp>
        <p:sp>
          <p:nvSpPr>
            <p:cNvPr id="107" name="TextBox 106"/>
            <p:cNvSpPr txBox="1"/>
            <p:nvPr/>
          </p:nvSpPr>
          <p:spPr>
            <a:xfrm>
              <a:off x="7888205" y="4720590"/>
              <a:ext cx="651290" cy="615553"/>
            </a:xfrm>
            <a:prstGeom prst="rect">
              <a:avLst/>
            </a:prstGeom>
            <a:noFill/>
          </p:spPr>
          <p:txBody>
            <a:bodyPr wrap="none" lIns="0" tIns="0" rIns="45720" bIns="0" rtlCol="0">
              <a:spAutoFit/>
            </a:bodyPr>
            <a:lstStyle/>
            <a:p>
              <a:r>
                <a:rPr lang="en-US" sz="3000" b="1" dirty="0">
                  <a:solidFill>
                    <a:schemeClr val="accent1">
                      <a:lumMod val="75000"/>
                    </a:schemeClr>
                  </a:solidFill>
                </a:rPr>
                <a:t>12</a:t>
              </a:r>
            </a:p>
          </p:txBody>
        </p:sp>
        <p:pic>
          <p:nvPicPr>
            <p:cNvPr id="108" name="Picture 3"/>
            <p:cNvPicPr>
              <a:picLocks noChangeAspect="1" noChangeArrowheads="1"/>
            </p:cNvPicPr>
            <p:nvPr>
              <p:custDataLst>
                <p:tags r:id="rId2"/>
              </p:custDataLst>
            </p:nvPr>
          </p:nvPicPr>
          <p:blipFill>
            <a:blip r:embed="rId13" cstate="print">
              <a:extLst>
                <a:ext uri="{28A0092B-C50C-407E-A947-70E740481C1C}">
                  <a14:useLocalDpi xmlns:a14="http://schemas.microsoft.com/office/drawing/2010/main"/>
                </a:ext>
              </a:extLst>
            </a:blip>
            <a:srcRect/>
            <a:stretch>
              <a:fillRect/>
            </a:stretch>
          </p:blipFill>
          <p:spPr bwMode="auto">
            <a:xfrm>
              <a:off x="6407216" y="4786931"/>
              <a:ext cx="500429" cy="725270"/>
            </a:xfrm>
            <a:prstGeom prst="rect">
              <a:avLst/>
            </a:prstGeom>
            <a:noFill/>
            <a:ln>
              <a:noFill/>
              <a:headEnd type="none" w="med" len="med"/>
              <a:tailEnd type="none" w="med" len="med"/>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09" name="Group 108"/>
          <p:cNvGrpSpPr/>
          <p:nvPr/>
        </p:nvGrpSpPr>
        <p:grpSpPr>
          <a:xfrm>
            <a:off x="6568469" y="839203"/>
            <a:ext cx="1886441" cy="1260158"/>
            <a:chOff x="8837612" y="1066800"/>
            <a:chExt cx="2514600" cy="1680210"/>
          </a:xfrm>
        </p:grpSpPr>
        <p:sp>
          <p:nvSpPr>
            <p:cNvPr id="110" name="Rectangle 109"/>
            <p:cNvSpPr/>
            <p:nvPr/>
          </p:nvSpPr>
          <p:spPr bwMode="auto">
            <a:xfrm>
              <a:off x="8837612" y="1066800"/>
              <a:ext cx="2514600" cy="168021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640080" rIns="91440" bIns="0" numCol="1" spcCol="0" rtlCol="0" fromWordArt="0" anchor="ctr"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Flexibility &amp; </a:t>
              </a:r>
            </a:p>
            <a:p>
              <a:pPr defTabSz="685637" fontAlgn="base">
                <a:spcBef>
                  <a:spcPct val="0"/>
                </a:spcBef>
                <a:spcAft>
                  <a:spcPct val="0"/>
                </a:spcAft>
              </a:pPr>
              <a:r>
                <a:rPr lang="en-US" sz="1500" dirty="0">
                  <a:gradFill>
                    <a:gsLst>
                      <a:gs pos="0">
                        <a:srgbClr val="FFFFFF"/>
                      </a:gs>
                      <a:gs pos="100000">
                        <a:srgbClr val="FFFFFF"/>
                      </a:gs>
                    </a:gsLst>
                    <a:lin ang="5400000" scaled="0"/>
                  </a:gradFill>
                </a:rPr>
                <a:t>Choice</a:t>
              </a:r>
            </a:p>
          </p:txBody>
        </p:sp>
        <p:sp>
          <p:nvSpPr>
            <p:cNvPr id="111" name="TextBox 110"/>
            <p:cNvSpPr txBox="1"/>
            <p:nvPr/>
          </p:nvSpPr>
          <p:spPr>
            <a:xfrm>
              <a:off x="10920807" y="1066800"/>
              <a:ext cx="356415" cy="615553"/>
            </a:xfrm>
            <a:prstGeom prst="rect">
              <a:avLst/>
            </a:prstGeom>
            <a:noFill/>
          </p:spPr>
          <p:txBody>
            <a:bodyPr wrap="none" lIns="0" tIns="0" rIns="45720" bIns="0" rtlCol="0">
              <a:spAutoFit/>
            </a:bodyPr>
            <a:lstStyle/>
            <a:p>
              <a:r>
                <a:rPr lang="en-US" sz="3000" b="1" dirty="0">
                  <a:solidFill>
                    <a:schemeClr val="accent1">
                      <a:lumMod val="75000"/>
                    </a:schemeClr>
                  </a:solidFill>
                </a:rPr>
                <a:t>4</a:t>
              </a:r>
            </a:p>
          </p:txBody>
        </p:sp>
        <p:grpSp>
          <p:nvGrpSpPr>
            <p:cNvPr id="112" name="Group 111"/>
            <p:cNvGrpSpPr/>
            <p:nvPr>
              <p:custDataLst>
                <p:tags r:id="rId1"/>
              </p:custDataLst>
            </p:nvPr>
          </p:nvGrpSpPr>
          <p:grpSpPr>
            <a:xfrm>
              <a:off x="8989023" y="1066800"/>
              <a:ext cx="1105890" cy="850820"/>
              <a:chOff x="3127606" y="1031618"/>
              <a:chExt cx="1905261" cy="1465821"/>
            </a:xfrm>
          </p:grpSpPr>
          <p:pic>
            <p:nvPicPr>
              <p:cNvPr id="113" name="Picture 6" descr="\\MAGNUM\Projects\Microsoft\Cloud Power FY12\Design\ICONS_PNG\Cloud.png"/>
              <p:cNvPicPr>
                <a:picLocks noChangeAspect="1" noChangeArrowheads="1"/>
              </p:cNvPicPr>
              <p:nvPr/>
            </p:nvPicPr>
            <p:blipFill rotWithShape="1">
              <a:blip r:embed="rId14" cstate="print">
                <a:extLst>
                  <a:ext uri="{BEBA8EAE-BF5A-486C-A8C5-ECC9F3942E4B}">
                    <a14:imgProps xmlns:a14="http://schemas.microsoft.com/office/drawing/2010/main">
                      <a14:imgLayer r:embed="rId15">
                        <a14:imgEffect>
                          <a14:brightnessContrast bright="100000"/>
                        </a14:imgEffect>
                      </a14:imgLayer>
                    </a14:imgProps>
                  </a:ext>
                </a:extLst>
              </a:blip>
              <a:srcRect t="15452" b="16319"/>
              <a:stretch/>
            </p:blipFill>
            <p:spPr bwMode="auto">
              <a:xfrm>
                <a:off x="3423223" y="1031618"/>
                <a:ext cx="1609644" cy="1098248"/>
              </a:xfrm>
              <a:prstGeom prst="rect">
                <a:avLst/>
              </a:prstGeom>
              <a:noFill/>
            </p:spPr>
          </p:pic>
          <p:pic>
            <p:nvPicPr>
              <p:cNvPr id="114" name="Picture 2" descr="\\MAGNUM\Projects\Microsoft\Cloud Power FY12\Design\Icons\PNGs\Server_2.png"/>
              <p:cNvPicPr>
                <a:picLocks noChangeAspect="1" noChangeArrowheads="1"/>
              </p:cNvPicPr>
              <p:nvPr/>
            </p:nvPicPr>
            <p:blipFill rotWithShape="1">
              <a:blip r:embed="rId16" cstate="print">
                <a:lum bright="100000"/>
                <a:extLst>
                  <a:ext uri="{BEBA8EAE-BF5A-486C-A8C5-ECC9F3942E4B}">
                    <a14:imgProps xmlns:a14="http://schemas.microsoft.com/office/drawing/2010/main">
                      <a14:imgLayer r:embed="rId17">
                        <a14:imgEffect>
                          <a14:colorTemperature colorTemp="1500"/>
                        </a14:imgEffect>
                      </a14:imgLayer>
                    </a14:imgProps>
                  </a:ext>
                </a:extLst>
              </a:blip>
              <a:srcRect l="27619" t="9540" r="26586" b="9151"/>
              <a:stretch/>
            </p:blipFill>
            <p:spPr bwMode="auto">
              <a:xfrm>
                <a:off x="3537558" y="1444626"/>
                <a:ext cx="589660" cy="916080"/>
              </a:xfrm>
              <a:prstGeom prst="rect">
                <a:avLst/>
              </a:prstGeom>
              <a:noFill/>
              <a:effectLst>
                <a:outerShdw blurRad="50800" dist="12700" sx="103000" sy="103000" algn="ctr" rotWithShape="0">
                  <a:prstClr val="black">
                    <a:alpha val="40000"/>
                  </a:prstClr>
                </a:outerShdw>
              </a:effectLst>
            </p:spPr>
          </p:pic>
          <p:pic>
            <p:nvPicPr>
              <p:cNvPr id="115" name="Picture 2" descr="\\MAGNUM\Projects\Microsoft\Cloud Power FY12\Design\Icons\PNGs\Server_2.png"/>
              <p:cNvPicPr>
                <a:picLocks noChangeAspect="1" noChangeArrowheads="1"/>
              </p:cNvPicPr>
              <p:nvPr/>
            </p:nvPicPr>
            <p:blipFill rotWithShape="1">
              <a:blip r:embed="rId16" cstate="print">
                <a:lum bright="100000"/>
                <a:extLst>
                  <a:ext uri="{BEBA8EAE-BF5A-486C-A8C5-ECC9F3942E4B}">
                    <a14:imgProps xmlns:a14="http://schemas.microsoft.com/office/drawing/2010/main">
                      <a14:imgLayer r:embed="rId17">
                        <a14:imgEffect>
                          <a14:colorTemperature colorTemp="1500"/>
                        </a14:imgEffect>
                      </a14:imgLayer>
                    </a14:imgProps>
                  </a:ext>
                </a:extLst>
              </a:blip>
              <a:srcRect l="27619" t="9540" r="26586" b="9151"/>
              <a:stretch/>
            </p:blipFill>
            <p:spPr bwMode="auto">
              <a:xfrm>
                <a:off x="3127606" y="1581359"/>
                <a:ext cx="589659" cy="916080"/>
              </a:xfrm>
              <a:prstGeom prst="rect">
                <a:avLst/>
              </a:prstGeom>
              <a:noFill/>
              <a:effectLst>
                <a:outerShdw blurRad="50800" dist="12700" sx="103000" sy="103000" algn="ctr" rotWithShape="0">
                  <a:prstClr val="black">
                    <a:alpha val="40000"/>
                  </a:prstClr>
                </a:outerShdw>
              </a:effectLst>
            </p:spPr>
          </p:pic>
        </p:grpSp>
      </p:grpSp>
      <p:grpSp>
        <p:nvGrpSpPr>
          <p:cNvPr id="116" name="Group 115"/>
          <p:cNvGrpSpPr/>
          <p:nvPr/>
        </p:nvGrpSpPr>
        <p:grpSpPr>
          <a:xfrm>
            <a:off x="654984" y="3541870"/>
            <a:ext cx="1886441" cy="1260158"/>
            <a:chOff x="8835983" y="2914952"/>
            <a:chExt cx="2514600" cy="1680210"/>
          </a:xfrm>
        </p:grpSpPr>
        <p:sp>
          <p:nvSpPr>
            <p:cNvPr id="117" name="Rectangle 116"/>
            <p:cNvSpPr/>
            <p:nvPr/>
          </p:nvSpPr>
          <p:spPr bwMode="auto">
            <a:xfrm>
              <a:off x="8835983" y="2914952"/>
              <a:ext cx="2514600" cy="168021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640080" rIns="91440" bIns="0" numCol="1" spcCol="0" rtlCol="0" fromWordArt="0" anchor="ctr"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Big Data &amp;</a:t>
              </a:r>
            </a:p>
            <a:p>
              <a:pPr defTabSz="685637" fontAlgn="base">
                <a:spcBef>
                  <a:spcPct val="0"/>
                </a:spcBef>
                <a:spcAft>
                  <a:spcPct val="0"/>
                </a:spcAft>
              </a:pPr>
              <a:r>
                <a:rPr lang="en-US" sz="1500" dirty="0">
                  <a:gradFill>
                    <a:gsLst>
                      <a:gs pos="0">
                        <a:srgbClr val="FFFFFF"/>
                      </a:gs>
                      <a:gs pos="100000">
                        <a:srgbClr val="FFFFFF"/>
                      </a:gs>
                    </a:gsLst>
                    <a:lin ang="5400000" scaled="0"/>
                  </a:gradFill>
                </a:rPr>
                <a:t>Data Warehousing</a:t>
              </a:r>
            </a:p>
          </p:txBody>
        </p:sp>
        <p:pic>
          <p:nvPicPr>
            <p:cNvPr id="118" name="Picture 8"/>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9026485" y="2980360"/>
              <a:ext cx="885371" cy="704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9" name="TextBox 118"/>
            <p:cNvSpPr txBox="1"/>
            <p:nvPr/>
          </p:nvSpPr>
          <p:spPr>
            <a:xfrm>
              <a:off x="10911943" y="2914952"/>
              <a:ext cx="356415" cy="615553"/>
            </a:xfrm>
            <a:prstGeom prst="rect">
              <a:avLst/>
            </a:prstGeom>
            <a:noFill/>
          </p:spPr>
          <p:txBody>
            <a:bodyPr wrap="none" lIns="0" tIns="0" rIns="45720" bIns="0" rtlCol="0">
              <a:spAutoFit/>
            </a:bodyPr>
            <a:lstStyle/>
            <a:p>
              <a:r>
                <a:rPr lang="en-US" sz="3000" b="1" dirty="0">
                  <a:solidFill>
                    <a:schemeClr val="accent1">
                      <a:lumMod val="75000"/>
                    </a:schemeClr>
                  </a:solidFill>
                </a:rPr>
                <a:t>9</a:t>
              </a:r>
            </a:p>
          </p:txBody>
        </p:sp>
      </p:grpSp>
      <p:grpSp>
        <p:nvGrpSpPr>
          <p:cNvPr id="120" name="Group 119"/>
          <p:cNvGrpSpPr/>
          <p:nvPr/>
        </p:nvGrpSpPr>
        <p:grpSpPr>
          <a:xfrm>
            <a:off x="6568469" y="2189824"/>
            <a:ext cx="1886441" cy="1260158"/>
            <a:chOff x="8835983" y="4720590"/>
            <a:chExt cx="2514600" cy="1680210"/>
          </a:xfrm>
        </p:grpSpPr>
        <p:sp>
          <p:nvSpPr>
            <p:cNvPr id="121" name="Rectangle 120"/>
            <p:cNvSpPr/>
            <p:nvPr/>
          </p:nvSpPr>
          <p:spPr bwMode="auto">
            <a:xfrm>
              <a:off x="8835983" y="4720590"/>
              <a:ext cx="2514600" cy="168021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640080" rIns="91440" bIns="0" numCol="1" spcCol="0" rtlCol="0" fromWordArt="0" anchor="ctr" anchorCtr="0" forceAA="0" compatLnSpc="1">
              <a:prstTxWarp prst="textNoShape">
                <a:avLst/>
              </a:prstTxWarp>
              <a:noAutofit/>
            </a:bodyPr>
            <a:lstStyle/>
            <a:p>
              <a:pPr defTabSz="685637" fontAlgn="base">
                <a:spcBef>
                  <a:spcPct val="0"/>
                </a:spcBef>
                <a:spcAft>
                  <a:spcPct val="0"/>
                </a:spcAft>
              </a:pPr>
              <a:r>
                <a:rPr lang="en-US" sz="1500" dirty="0">
                  <a:gradFill>
                    <a:gsLst>
                      <a:gs pos="0">
                        <a:srgbClr val="FFFFFF"/>
                      </a:gs>
                      <a:gs pos="100000">
                        <a:srgbClr val="FFFFFF"/>
                      </a:gs>
                    </a:gsLst>
                    <a:lin ang="5400000" scaled="0"/>
                  </a:gradFill>
                </a:rPr>
                <a:t>New Scenarios, Unlocked</a:t>
              </a:r>
            </a:p>
          </p:txBody>
        </p:sp>
        <p:sp>
          <p:nvSpPr>
            <p:cNvPr id="122" name="TextBox 121"/>
            <p:cNvSpPr txBox="1"/>
            <p:nvPr/>
          </p:nvSpPr>
          <p:spPr>
            <a:xfrm>
              <a:off x="10897389" y="4720590"/>
              <a:ext cx="356415" cy="615553"/>
            </a:xfrm>
            <a:prstGeom prst="rect">
              <a:avLst/>
            </a:prstGeom>
            <a:noFill/>
          </p:spPr>
          <p:txBody>
            <a:bodyPr wrap="none" lIns="0" tIns="0" rIns="45720" bIns="0" rtlCol="0">
              <a:spAutoFit/>
            </a:bodyPr>
            <a:lstStyle/>
            <a:p>
              <a:r>
                <a:rPr lang="en-US" sz="3000" b="1" dirty="0">
                  <a:solidFill>
                    <a:schemeClr val="accent1">
                      <a:lumMod val="75000"/>
                    </a:schemeClr>
                  </a:solidFill>
                </a:rPr>
                <a:t>8</a:t>
              </a:r>
            </a:p>
          </p:txBody>
        </p:sp>
        <p:pic>
          <p:nvPicPr>
            <p:cNvPr id="123" name="Picture 2"/>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995180" y="4786930"/>
              <a:ext cx="640905" cy="775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 name="Title 1"/>
          <p:cNvSpPr>
            <a:spLocks noGrp="1"/>
          </p:cNvSpPr>
          <p:nvPr>
            <p:ph type="title"/>
          </p:nvPr>
        </p:nvSpPr>
        <p:spPr/>
        <p:txBody>
          <a:bodyPr/>
          <a:lstStyle/>
          <a:p>
            <a:endParaRPr lang="en-US"/>
          </a:p>
        </p:txBody>
      </p:sp>
      <p:sp>
        <p:nvSpPr>
          <p:cNvPr id="58"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60"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0"/>
              </a:rPr>
              <a:t>www.rapidbbs.cn</a:t>
            </a:r>
            <a:endParaRPr lang="zh-CN" altLang="en-US" sz="1200" b="0">
              <a:latin typeface="Arial" charset="0"/>
              <a:ea typeface="ＭＳ Ｐゴシック" pitchFamily="34" charset="-128"/>
            </a:endParaRPr>
          </a:p>
        </p:txBody>
      </p:sp>
      <p:pic>
        <p:nvPicPr>
          <p:cNvPr id="61" name="Picture 2">
            <a:hlinkClick r:id="rId20"/>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044574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46"/>
                                        </p:tgtEl>
                                        <p:attrNameLst>
                                          <p:attrName>style.visibility</p:attrName>
                                        </p:attrNameLst>
                                      </p:cBhvr>
                                      <p:to>
                                        <p:strVal val="visible"/>
                                      </p:to>
                                    </p:set>
                                    <p:anim calcmode="lin" valueType="num">
                                      <p:cBhvr additive="base">
                                        <p:cTn id="7" dur="1000" fill="hold"/>
                                        <p:tgtEl>
                                          <p:spTgt spid="46"/>
                                        </p:tgtEl>
                                        <p:attrNameLst>
                                          <p:attrName>ppt_x</p:attrName>
                                        </p:attrNameLst>
                                      </p:cBhvr>
                                      <p:tavLst>
                                        <p:tav tm="0">
                                          <p:val>
                                            <p:strVal val="1+#ppt_w/2"/>
                                          </p:val>
                                        </p:tav>
                                        <p:tav tm="100000">
                                          <p:val>
                                            <p:strVal val="#ppt_x"/>
                                          </p:val>
                                        </p:tav>
                                      </p:tavLst>
                                    </p:anim>
                                    <p:anim calcmode="lin" valueType="num">
                                      <p:cBhvr additive="base">
                                        <p:cTn id="8" dur="1000" fill="hold"/>
                                        <p:tgtEl>
                                          <p:spTgt spid="46"/>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50"/>
                                  </p:stCondLst>
                                  <p:childTnLst>
                                    <p:set>
                                      <p:cBhvr>
                                        <p:cTn id="10" dur="1" fill="hold">
                                          <p:stCondLst>
                                            <p:cond delay="0"/>
                                          </p:stCondLst>
                                        </p:cTn>
                                        <p:tgtEl>
                                          <p:spTgt spid="85"/>
                                        </p:tgtEl>
                                        <p:attrNameLst>
                                          <p:attrName>style.visibility</p:attrName>
                                        </p:attrNameLst>
                                      </p:cBhvr>
                                      <p:to>
                                        <p:strVal val="visible"/>
                                      </p:to>
                                    </p:set>
                                    <p:anim calcmode="lin" valueType="num">
                                      <p:cBhvr additive="base">
                                        <p:cTn id="11" dur="1000" fill="hold"/>
                                        <p:tgtEl>
                                          <p:spTgt spid="85"/>
                                        </p:tgtEl>
                                        <p:attrNameLst>
                                          <p:attrName>ppt_x</p:attrName>
                                        </p:attrNameLst>
                                      </p:cBhvr>
                                      <p:tavLst>
                                        <p:tav tm="0">
                                          <p:val>
                                            <p:strVal val="1+#ppt_w/2"/>
                                          </p:val>
                                        </p:tav>
                                        <p:tav tm="100000">
                                          <p:val>
                                            <p:strVal val="#ppt_x"/>
                                          </p:val>
                                        </p:tav>
                                      </p:tavLst>
                                    </p:anim>
                                    <p:anim calcmode="lin" valueType="num">
                                      <p:cBhvr additive="base">
                                        <p:cTn id="12" dur="1000" fill="hold"/>
                                        <p:tgtEl>
                                          <p:spTgt spid="85"/>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500"/>
                                  </p:stCondLst>
                                  <p:childTnLst>
                                    <p:set>
                                      <p:cBhvr>
                                        <p:cTn id="14" dur="1" fill="hold">
                                          <p:stCondLst>
                                            <p:cond delay="0"/>
                                          </p:stCondLst>
                                        </p:cTn>
                                        <p:tgtEl>
                                          <p:spTgt spid="97"/>
                                        </p:tgtEl>
                                        <p:attrNameLst>
                                          <p:attrName>style.visibility</p:attrName>
                                        </p:attrNameLst>
                                      </p:cBhvr>
                                      <p:to>
                                        <p:strVal val="visible"/>
                                      </p:to>
                                    </p:set>
                                    <p:anim calcmode="lin" valueType="num">
                                      <p:cBhvr additive="base">
                                        <p:cTn id="15" dur="750" fill="hold"/>
                                        <p:tgtEl>
                                          <p:spTgt spid="97"/>
                                        </p:tgtEl>
                                        <p:attrNameLst>
                                          <p:attrName>ppt_x</p:attrName>
                                        </p:attrNameLst>
                                      </p:cBhvr>
                                      <p:tavLst>
                                        <p:tav tm="0">
                                          <p:val>
                                            <p:strVal val="1+#ppt_w/2"/>
                                          </p:val>
                                        </p:tav>
                                        <p:tav tm="100000">
                                          <p:val>
                                            <p:strVal val="#ppt_x"/>
                                          </p:val>
                                        </p:tav>
                                      </p:tavLst>
                                    </p:anim>
                                    <p:anim calcmode="lin" valueType="num">
                                      <p:cBhvr additive="base">
                                        <p:cTn id="16" dur="750" fill="hold"/>
                                        <p:tgtEl>
                                          <p:spTgt spid="97"/>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750"/>
                                  </p:stCondLst>
                                  <p:childTnLst>
                                    <p:set>
                                      <p:cBhvr>
                                        <p:cTn id="18" dur="1" fill="hold">
                                          <p:stCondLst>
                                            <p:cond delay="0"/>
                                          </p:stCondLst>
                                        </p:cTn>
                                        <p:tgtEl>
                                          <p:spTgt spid="109"/>
                                        </p:tgtEl>
                                        <p:attrNameLst>
                                          <p:attrName>style.visibility</p:attrName>
                                        </p:attrNameLst>
                                      </p:cBhvr>
                                      <p:to>
                                        <p:strVal val="visible"/>
                                      </p:to>
                                    </p:set>
                                    <p:anim calcmode="lin" valueType="num">
                                      <p:cBhvr additive="base">
                                        <p:cTn id="19" dur="750" fill="hold"/>
                                        <p:tgtEl>
                                          <p:spTgt spid="109"/>
                                        </p:tgtEl>
                                        <p:attrNameLst>
                                          <p:attrName>ppt_x</p:attrName>
                                        </p:attrNameLst>
                                      </p:cBhvr>
                                      <p:tavLst>
                                        <p:tav tm="0">
                                          <p:val>
                                            <p:strVal val="1+#ppt_w/2"/>
                                          </p:val>
                                        </p:tav>
                                        <p:tav tm="100000">
                                          <p:val>
                                            <p:strVal val="#ppt_x"/>
                                          </p:val>
                                        </p:tav>
                                      </p:tavLst>
                                    </p:anim>
                                    <p:anim calcmode="lin" valueType="num">
                                      <p:cBhvr additive="base">
                                        <p:cTn id="20" dur="750" fill="hold"/>
                                        <p:tgtEl>
                                          <p:spTgt spid="109"/>
                                        </p:tgtEl>
                                        <p:attrNameLst>
                                          <p:attrName>ppt_y</p:attrName>
                                        </p:attrNameLst>
                                      </p:cBhvr>
                                      <p:tavLst>
                                        <p:tav tm="0">
                                          <p:val>
                                            <p:strVal val="#ppt_y"/>
                                          </p:val>
                                        </p:tav>
                                        <p:tav tm="100000">
                                          <p:val>
                                            <p:strVal val="#ppt_y"/>
                                          </p:val>
                                        </p:tav>
                                      </p:tavLst>
                                    </p:anim>
                                  </p:childTnLst>
                                </p:cTn>
                              </p:par>
                              <p:par>
                                <p:cTn id="21" presetID="2" presetClass="entr" presetSubtype="2" decel="100000" fill="hold" nodeType="withEffect">
                                  <p:stCondLst>
                                    <p:cond delay="750"/>
                                  </p:stCondLst>
                                  <p:childTnLst>
                                    <p:set>
                                      <p:cBhvr>
                                        <p:cTn id="22" dur="1" fill="hold">
                                          <p:stCondLst>
                                            <p:cond delay="0"/>
                                          </p:stCondLst>
                                        </p:cTn>
                                        <p:tgtEl>
                                          <p:spTgt spid="50"/>
                                        </p:tgtEl>
                                        <p:attrNameLst>
                                          <p:attrName>style.visibility</p:attrName>
                                        </p:attrNameLst>
                                      </p:cBhvr>
                                      <p:to>
                                        <p:strVal val="visible"/>
                                      </p:to>
                                    </p:set>
                                    <p:anim calcmode="lin" valueType="num">
                                      <p:cBhvr additive="base">
                                        <p:cTn id="23" dur="1000" fill="hold"/>
                                        <p:tgtEl>
                                          <p:spTgt spid="50"/>
                                        </p:tgtEl>
                                        <p:attrNameLst>
                                          <p:attrName>ppt_x</p:attrName>
                                        </p:attrNameLst>
                                      </p:cBhvr>
                                      <p:tavLst>
                                        <p:tav tm="0">
                                          <p:val>
                                            <p:strVal val="1+#ppt_w/2"/>
                                          </p:val>
                                        </p:tav>
                                        <p:tav tm="100000">
                                          <p:val>
                                            <p:strVal val="#ppt_x"/>
                                          </p:val>
                                        </p:tav>
                                      </p:tavLst>
                                    </p:anim>
                                    <p:anim calcmode="lin" valueType="num">
                                      <p:cBhvr additive="base">
                                        <p:cTn id="24" dur="1000" fill="hold"/>
                                        <p:tgtEl>
                                          <p:spTgt spid="50"/>
                                        </p:tgtEl>
                                        <p:attrNameLst>
                                          <p:attrName>ppt_y</p:attrName>
                                        </p:attrNameLst>
                                      </p:cBhvr>
                                      <p:tavLst>
                                        <p:tav tm="0">
                                          <p:val>
                                            <p:strVal val="#ppt_y"/>
                                          </p:val>
                                        </p:tav>
                                        <p:tav tm="100000">
                                          <p:val>
                                            <p:strVal val="#ppt_y"/>
                                          </p:val>
                                        </p:tav>
                                      </p:tavLst>
                                    </p:anim>
                                  </p:childTnLst>
                                </p:cTn>
                              </p:par>
                              <p:par>
                                <p:cTn id="25" presetID="2" presetClass="entr" presetSubtype="2" decel="100000" fill="hold" nodeType="withEffect">
                                  <p:stCondLst>
                                    <p:cond delay="1000"/>
                                  </p:stCondLst>
                                  <p:childTnLst>
                                    <p:set>
                                      <p:cBhvr>
                                        <p:cTn id="26" dur="1" fill="hold">
                                          <p:stCondLst>
                                            <p:cond delay="0"/>
                                          </p:stCondLst>
                                        </p:cTn>
                                        <p:tgtEl>
                                          <p:spTgt spid="89"/>
                                        </p:tgtEl>
                                        <p:attrNameLst>
                                          <p:attrName>style.visibility</p:attrName>
                                        </p:attrNameLst>
                                      </p:cBhvr>
                                      <p:to>
                                        <p:strVal val="visible"/>
                                      </p:to>
                                    </p:set>
                                    <p:anim calcmode="lin" valueType="num">
                                      <p:cBhvr additive="base">
                                        <p:cTn id="27" dur="1000" fill="hold"/>
                                        <p:tgtEl>
                                          <p:spTgt spid="89"/>
                                        </p:tgtEl>
                                        <p:attrNameLst>
                                          <p:attrName>ppt_x</p:attrName>
                                        </p:attrNameLst>
                                      </p:cBhvr>
                                      <p:tavLst>
                                        <p:tav tm="0">
                                          <p:val>
                                            <p:strVal val="1+#ppt_w/2"/>
                                          </p:val>
                                        </p:tav>
                                        <p:tav tm="100000">
                                          <p:val>
                                            <p:strVal val="#ppt_x"/>
                                          </p:val>
                                        </p:tav>
                                      </p:tavLst>
                                    </p:anim>
                                    <p:anim calcmode="lin" valueType="num">
                                      <p:cBhvr additive="base">
                                        <p:cTn id="28" dur="1000" fill="hold"/>
                                        <p:tgtEl>
                                          <p:spTgt spid="89"/>
                                        </p:tgtEl>
                                        <p:attrNameLst>
                                          <p:attrName>ppt_y</p:attrName>
                                        </p:attrNameLst>
                                      </p:cBhvr>
                                      <p:tavLst>
                                        <p:tav tm="0">
                                          <p:val>
                                            <p:strVal val="#ppt_y"/>
                                          </p:val>
                                        </p:tav>
                                        <p:tav tm="100000">
                                          <p:val>
                                            <p:strVal val="#ppt_y"/>
                                          </p:val>
                                        </p:tav>
                                      </p:tavLst>
                                    </p:anim>
                                  </p:childTnLst>
                                </p:cTn>
                              </p:par>
                              <p:par>
                                <p:cTn id="29" presetID="2" presetClass="entr" presetSubtype="2" decel="100000" fill="hold" nodeType="withEffect">
                                  <p:stCondLst>
                                    <p:cond delay="1250"/>
                                  </p:stCondLst>
                                  <p:childTnLst>
                                    <p:set>
                                      <p:cBhvr>
                                        <p:cTn id="30" dur="1" fill="hold">
                                          <p:stCondLst>
                                            <p:cond delay="0"/>
                                          </p:stCondLst>
                                        </p:cTn>
                                        <p:tgtEl>
                                          <p:spTgt spid="101"/>
                                        </p:tgtEl>
                                        <p:attrNameLst>
                                          <p:attrName>style.visibility</p:attrName>
                                        </p:attrNameLst>
                                      </p:cBhvr>
                                      <p:to>
                                        <p:strVal val="visible"/>
                                      </p:to>
                                    </p:set>
                                    <p:anim calcmode="lin" valueType="num">
                                      <p:cBhvr additive="base">
                                        <p:cTn id="31" dur="750" fill="hold"/>
                                        <p:tgtEl>
                                          <p:spTgt spid="101"/>
                                        </p:tgtEl>
                                        <p:attrNameLst>
                                          <p:attrName>ppt_x</p:attrName>
                                        </p:attrNameLst>
                                      </p:cBhvr>
                                      <p:tavLst>
                                        <p:tav tm="0">
                                          <p:val>
                                            <p:strVal val="1+#ppt_w/2"/>
                                          </p:val>
                                        </p:tav>
                                        <p:tav tm="100000">
                                          <p:val>
                                            <p:strVal val="#ppt_x"/>
                                          </p:val>
                                        </p:tav>
                                      </p:tavLst>
                                    </p:anim>
                                    <p:anim calcmode="lin" valueType="num">
                                      <p:cBhvr additive="base">
                                        <p:cTn id="32" dur="750" fill="hold"/>
                                        <p:tgtEl>
                                          <p:spTgt spid="101"/>
                                        </p:tgtEl>
                                        <p:attrNameLst>
                                          <p:attrName>ppt_y</p:attrName>
                                        </p:attrNameLst>
                                      </p:cBhvr>
                                      <p:tavLst>
                                        <p:tav tm="0">
                                          <p:val>
                                            <p:strVal val="#ppt_y"/>
                                          </p:val>
                                        </p:tav>
                                        <p:tav tm="100000">
                                          <p:val>
                                            <p:strVal val="#ppt_y"/>
                                          </p:val>
                                        </p:tav>
                                      </p:tavLst>
                                    </p:anim>
                                  </p:childTnLst>
                                </p:cTn>
                              </p:par>
                              <p:par>
                                <p:cTn id="33" presetID="2" presetClass="entr" presetSubtype="2" decel="100000" fill="hold" nodeType="withEffect">
                                  <p:stCondLst>
                                    <p:cond delay="1500"/>
                                  </p:stCondLst>
                                  <p:childTnLst>
                                    <p:set>
                                      <p:cBhvr>
                                        <p:cTn id="34" dur="1" fill="hold">
                                          <p:stCondLst>
                                            <p:cond delay="0"/>
                                          </p:stCondLst>
                                        </p:cTn>
                                        <p:tgtEl>
                                          <p:spTgt spid="120"/>
                                        </p:tgtEl>
                                        <p:attrNameLst>
                                          <p:attrName>style.visibility</p:attrName>
                                        </p:attrNameLst>
                                      </p:cBhvr>
                                      <p:to>
                                        <p:strVal val="visible"/>
                                      </p:to>
                                    </p:set>
                                    <p:anim calcmode="lin" valueType="num">
                                      <p:cBhvr additive="base">
                                        <p:cTn id="35" dur="750" fill="hold"/>
                                        <p:tgtEl>
                                          <p:spTgt spid="120"/>
                                        </p:tgtEl>
                                        <p:attrNameLst>
                                          <p:attrName>ppt_x</p:attrName>
                                        </p:attrNameLst>
                                      </p:cBhvr>
                                      <p:tavLst>
                                        <p:tav tm="0">
                                          <p:val>
                                            <p:strVal val="1+#ppt_w/2"/>
                                          </p:val>
                                        </p:tav>
                                        <p:tav tm="100000">
                                          <p:val>
                                            <p:strVal val="#ppt_x"/>
                                          </p:val>
                                        </p:tav>
                                      </p:tavLst>
                                    </p:anim>
                                    <p:anim calcmode="lin" valueType="num">
                                      <p:cBhvr additive="base">
                                        <p:cTn id="36" dur="750" fill="hold"/>
                                        <p:tgtEl>
                                          <p:spTgt spid="120"/>
                                        </p:tgtEl>
                                        <p:attrNameLst>
                                          <p:attrName>ppt_y</p:attrName>
                                        </p:attrNameLst>
                                      </p:cBhvr>
                                      <p:tavLst>
                                        <p:tav tm="0">
                                          <p:val>
                                            <p:strVal val="#ppt_y"/>
                                          </p:val>
                                        </p:tav>
                                        <p:tav tm="100000">
                                          <p:val>
                                            <p:strVal val="#ppt_y"/>
                                          </p:val>
                                        </p:tav>
                                      </p:tavLst>
                                    </p:anim>
                                  </p:childTnLst>
                                </p:cTn>
                              </p:par>
                              <p:par>
                                <p:cTn id="37" presetID="2" presetClass="entr" presetSubtype="2" decel="100000" fill="hold" nodeType="withEffect">
                                  <p:stCondLst>
                                    <p:cond delay="1500"/>
                                  </p:stCondLst>
                                  <p:childTnLst>
                                    <p:set>
                                      <p:cBhvr>
                                        <p:cTn id="38" dur="1" fill="hold">
                                          <p:stCondLst>
                                            <p:cond delay="0"/>
                                          </p:stCondLst>
                                        </p:cTn>
                                        <p:tgtEl>
                                          <p:spTgt spid="116"/>
                                        </p:tgtEl>
                                        <p:attrNameLst>
                                          <p:attrName>style.visibility</p:attrName>
                                        </p:attrNameLst>
                                      </p:cBhvr>
                                      <p:to>
                                        <p:strVal val="visible"/>
                                      </p:to>
                                    </p:set>
                                    <p:anim calcmode="lin" valueType="num">
                                      <p:cBhvr additive="base">
                                        <p:cTn id="39" dur="1000" fill="hold"/>
                                        <p:tgtEl>
                                          <p:spTgt spid="116"/>
                                        </p:tgtEl>
                                        <p:attrNameLst>
                                          <p:attrName>ppt_x</p:attrName>
                                        </p:attrNameLst>
                                      </p:cBhvr>
                                      <p:tavLst>
                                        <p:tav tm="0">
                                          <p:val>
                                            <p:strVal val="1+#ppt_w/2"/>
                                          </p:val>
                                        </p:tav>
                                        <p:tav tm="100000">
                                          <p:val>
                                            <p:strVal val="#ppt_x"/>
                                          </p:val>
                                        </p:tav>
                                      </p:tavLst>
                                    </p:anim>
                                    <p:anim calcmode="lin" valueType="num">
                                      <p:cBhvr additive="base">
                                        <p:cTn id="40" dur="1000" fill="hold"/>
                                        <p:tgtEl>
                                          <p:spTgt spid="116"/>
                                        </p:tgtEl>
                                        <p:attrNameLst>
                                          <p:attrName>ppt_y</p:attrName>
                                        </p:attrNameLst>
                                      </p:cBhvr>
                                      <p:tavLst>
                                        <p:tav tm="0">
                                          <p:val>
                                            <p:strVal val="#ppt_y"/>
                                          </p:val>
                                        </p:tav>
                                        <p:tav tm="100000">
                                          <p:val>
                                            <p:strVal val="#ppt_y"/>
                                          </p:val>
                                        </p:tav>
                                      </p:tavLst>
                                    </p:anim>
                                  </p:childTnLst>
                                </p:cTn>
                              </p:par>
                              <p:par>
                                <p:cTn id="41" presetID="2" presetClass="entr" presetSubtype="2" decel="100000" fill="hold" nodeType="withEffect">
                                  <p:stCondLst>
                                    <p:cond delay="1750"/>
                                  </p:stCondLst>
                                  <p:childTnLst>
                                    <p:set>
                                      <p:cBhvr>
                                        <p:cTn id="42" dur="1" fill="hold">
                                          <p:stCondLst>
                                            <p:cond delay="0"/>
                                          </p:stCondLst>
                                        </p:cTn>
                                        <p:tgtEl>
                                          <p:spTgt spid="81"/>
                                        </p:tgtEl>
                                        <p:attrNameLst>
                                          <p:attrName>style.visibility</p:attrName>
                                        </p:attrNameLst>
                                      </p:cBhvr>
                                      <p:to>
                                        <p:strVal val="visible"/>
                                      </p:to>
                                    </p:set>
                                    <p:anim calcmode="lin" valueType="num">
                                      <p:cBhvr additive="base">
                                        <p:cTn id="43" dur="1000" fill="hold"/>
                                        <p:tgtEl>
                                          <p:spTgt spid="81"/>
                                        </p:tgtEl>
                                        <p:attrNameLst>
                                          <p:attrName>ppt_x</p:attrName>
                                        </p:attrNameLst>
                                      </p:cBhvr>
                                      <p:tavLst>
                                        <p:tav tm="0">
                                          <p:val>
                                            <p:strVal val="1+#ppt_w/2"/>
                                          </p:val>
                                        </p:tav>
                                        <p:tav tm="100000">
                                          <p:val>
                                            <p:strVal val="#ppt_x"/>
                                          </p:val>
                                        </p:tav>
                                      </p:tavLst>
                                    </p:anim>
                                    <p:anim calcmode="lin" valueType="num">
                                      <p:cBhvr additive="base">
                                        <p:cTn id="44" dur="1000" fill="hold"/>
                                        <p:tgtEl>
                                          <p:spTgt spid="81"/>
                                        </p:tgtEl>
                                        <p:attrNameLst>
                                          <p:attrName>ppt_y</p:attrName>
                                        </p:attrNameLst>
                                      </p:cBhvr>
                                      <p:tavLst>
                                        <p:tav tm="0">
                                          <p:val>
                                            <p:strVal val="#ppt_y"/>
                                          </p:val>
                                        </p:tav>
                                        <p:tav tm="100000">
                                          <p:val>
                                            <p:strVal val="#ppt_y"/>
                                          </p:val>
                                        </p:tav>
                                      </p:tavLst>
                                    </p:anim>
                                  </p:childTnLst>
                                </p:cTn>
                              </p:par>
                              <p:par>
                                <p:cTn id="45" presetID="2" presetClass="entr" presetSubtype="2" decel="100000" fill="hold" nodeType="withEffect">
                                  <p:stCondLst>
                                    <p:cond delay="2000"/>
                                  </p:stCondLst>
                                  <p:childTnLst>
                                    <p:set>
                                      <p:cBhvr>
                                        <p:cTn id="46" dur="1" fill="hold">
                                          <p:stCondLst>
                                            <p:cond delay="0"/>
                                          </p:stCondLst>
                                        </p:cTn>
                                        <p:tgtEl>
                                          <p:spTgt spid="93"/>
                                        </p:tgtEl>
                                        <p:attrNameLst>
                                          <p:attrName>style.visibility</p:attrName>
                                        </p:attrNameLst>
                                      </p:cBhvr>
                                      <p:to>
                                        <p:strVal val="visible"/>
                                      </p:to>
                                    </p:set>
                                    <p:anim calcmode="lin" valueType="num">
                                      <p:cBhvr additive="base">
                                        <p:cTn id="47" dur="750" fill="hold"/>
                                        <p:tgtEl>
                                          <p:spTgt spid="93"/>
                                        </p:tgtEl>
                                        <p:attrNameLst>
                                          <p:attrName>ppt_x</p:attrName>
                                        </p:attrNameLst>
                                      </p:cBhvr>
                                      <p:tavLst>
                                        <p:tav tm="0">
                                          <p:val>
                                            <p:strVal val="1+#ppt_w/2"/>
                                          </p:val>
                                        </p:tav>
                                        <p:tav tm="100000">
                                          <p:val>
                                            <p:strVal val="#ppt_x"/>
                                          </p:val>
                                        </p:tav>
                                      </p:tavLst>
                                    </p:anim>
                                    <p:anim calcmode="lin" valueType="num">
                                      <p:cBhvr additive="base">
                                        <p:cTn id="48" dur="750" fill="hold"/>
                                        <p:tgtEl>
                                          <p:spTgt spid="93"/>
                                        </p:tgtEl>
                                        <p:attrNameLst>
                                          <p:attrName>ppt_y</p:attrName>
                                        </p:attrNameLst>
                                      </p:cBhvr>
                                      <p:tavLst>
                                        <p:tav tm="0">
                                          <p:val>
                                            <p:strVal val="#ppt_y"/>
                                          </p:val>
                                        </p:tav>
                                        <p:tav tm="100000">
                                          <p:val>
                                            <p:strVal val="#ppt_y"/>
                                          </p:val>
                                        </p:tav>
                                      </p:tavLst>
                                    </p:anim>
                                  </p:childTnLst>
                                </p:cTn>
                              </p:par>
                              <p:par>
                                <p:cTn id="49" presetID="2" presetClass="entr" presetSubtype="2" decel="100000" fill="hold" nodeType="withEffect">
                                  <p:stCondLst>
                                    <p:cond delay="2250"/>
                                  </p:stCondLst>
                                  <p:childTnLst>
                                    <p:set>
                                      <p:cBhvr>
                                        <p:cTn id="50" dur="1" fill="hold">
                                          <p:stCondLst>
                                            <p:cond delay="0"/>
                                          </p:stCondLst>
                                        </p:cTn>
                                        <p:tgtEl>
                                          <p:spTgt spid="105"/>
                                        </p:tgtEl>
                                        <p:attrNameLst>
                                          <p:attrName>style.visibility</p:attrName>
                                        </p:attrNameLst>
                                      </p:cBhvr>
                                      <p:to>
                                        <p:strVal val="visible"/>
                                      </p:to>
                                    </p:set>
                                    <p:anim calcmode="lin" valueType="num">
                                      <p:cBhvr additive="base">
                                        <p:cTn id="51" dur="750" fill="hold"/>
                                        <p:tgtEl>
                                          <p:spTgt spid="105"/>
                                        </p:tgtEl>
                                        <p:attrNameLst>
                                          <p:attrName>ppt_x</p:attrName>
                                        </p:attrNameLst>
                                      </p:cBhvr>
                                      <p:tavLst>
                                        <p:tav tm="0">
                                          <p:val>
                                            <p:strVal val="1+#ppt_w/2"/>
                                          </p:val>
                                        </p:tav>
                                        <p:tav tm="100000">
                                          <p:val>
                                            <p:strVal val="#ppt_x"/>
                                          </p:val>
                                        </p:tav>
                                      </p:tavLst>
                                    </p:anim>
                                    <p:anim calcmode="lin" valueType="num">
                                      <p:cBhvr additive="base">
                                        <p:cTn id="52" dur="750" fill="hold"/>
                                        <p:tgtEl>
                                          <p:spTgt spid="10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81061" y="205197"/>
            <a:ext cx="2154436" cy="498598"/>
          </a:xfrm>
          <a:prstGeom prst="rect">
            <a:avLst/>
          </a:prstGeom>
          <a:noFill/>
        </p:spPr>
        <p:txBody>
          <a:bodyPr wrap="none" lIns="0" tIns="0" rIns="0" bIns="0" rtlCol="0">
            <a:spAutoFit/>
          </a:bodyPr>
          <a:lstStyle/>
          <a:p>
            <a:pPr>
              <a:lnSpc>
                <a:spcPct val="90000"/>
              </a:lnSpc>
            </a:pPr>
            <a:r>
              <a:rPr lang="en-US" sz="3600" b="1" dirty="0" err="1">
                <a:gradFill>
                  <a:gsLst>
                    <a:gs pos="0">
                      <a:srgbClr val="FFFFFF"/>
                    </a:gs>
                    <a:gs pos="86000">
                      <a:srgbClr val="FFFFFF"/>
                    </a:gs>
                  </a:gsLst>
                  <a:lin ang="5400000" scaled="0"/>
                </a:gradFill>
              </a:rPr>
              <a:t>AlwaysOn</a:t>
            </a:r>
            <a:endParaRPr lang="en-US" sz="3600" b="1" dirty="0">
              <a:gradFill>
                <a:gsLst>
                  <a:gs pos="0">
                    <a:srgbClr val="FFFFFF"/>
                  </a:gs>
                  <a:gs pos="86000">
                    <a:srgbClr val="FFFFFF"/>
                  </a:gs>
                </a:gsLst>
                <a:lin ang="5400000" scaled="0"/>
              </a:gradFill>
            </a:endParaRPr>
          </a:p>
        </p:txBody>
      </p:sp>
      <p:sp>
        <p:nvSpPr>
          <p:cNvPr id="5" name="TextBox 4"/>
          <p:cNvSpPr txBox="1"/>
          <p:nvPr/>
        </p:nvSpPr>
        <p:spPr>
          <a:xfrm>
            <a:off x="5061862" y="268672"/>
            <a:ext cx="3701141" cy="443198"/>
          </a:xfrm>
          <a:prstGeom prst="rect">
            <a:avLst/>
          </a:prstGeom>
          <a:noFill/>
        </p:spPr>
        <p:txBody>
          <a:bodyPr wrap="none" lIns="0" tIns="0" rIns="0" bIns="0" rtlCol="0">
            <a:spAutoFit/>
          </a:bodyPr>
          <a:lstStyle/>
          <a:p>
            <a:pPr>
              <a:lnSpc>
                <a:spcPct val="90000"/>
              </a:lnSpc>
            </a:pPr>
            <a:r>
              <a:rPr lang="en-US" sz="3200" dirty="0">
                <a:gradFill>
                  <a:gsLst>
                    <a:gs pos="0">
                      <a:srgbClr val="FFFFFF"/>
                    </a:gs>
                    <a:gs pos="86000">
                      <a:srgbClr val="FFFFFF"/>
                    </a:gs>
                  </a:gsLst>
                  <a:lin ang="5400000" scaled="0"/>
                </a:gradFill>
              </a:rPr>
              <a:t>Reliable </a:t>
            </a:r>
            <a:r>
              <a:rPr lang="en-US" sz="3200" dirty="0" err="1">
                <a:gradFill>
                  <a:gsLst>
                    <a:gs pos="0">
                      <a:srgbClr val="FFFFFF"/>
                    </a:gs>
                    <a:gs pos="86000">
                      <a:srgbClr val="FFFFFF"/>
                    </a:gs>
                  </a:gsLst>
                  <a:lin ang="5400000" scaled="0"/>
                </a:gradFill>
              </a:rPr>
              <a:t>Secondaries</a:t>
            </a:r>
            <a:endParaRPr lang="en-US" sz="3200" dirty="0">
              <a:gradFill>
                <a:gsLst>
                  <a:gs pos="0">
                    <a:srgbClr val="FFFFFF"/>
                  </a:gs>
                  <a:gs pos="86000">
                    <a:srgbClr val="FFFFFF"/>
                  </a:gs>
                </a:gsLst>
                <a:lin ang="5400000" scaled="0"/>
              </a:gradFill>
            </a:endParaRPr>
          </a:p>
        </p:txBody>
      </p:sp>
      <p:sp>
        <p:nvSpPr>
          <p:cNvPr id="6" name="TextBox 5"/>
          <p:cNvSpPr txBox="1"/>
          <p:nvPr/>
        </p:nvSpPr>
        <p:spPr>
          <a:xfrm>
            <a:off x="3824579" y="840253"/>
            <a:ext cx="1549911" cy="443198"/>
          </a:xfrm>
          <a:prstGeom prst="rect">
            <a:avLst/>
          </a:prstGeom>
          <a:noFill/>
        </p:spPr>
        <p:txBody>
          <a:bodyPr wrap="none" lIns="0" tIns="0" rIns="0" bIns="0" rtlCol="0">
            <a:spAutoFit/>
          </a:bodyPr>
          <a:lstStyle/>
          <a:p>
            <a:pPr>
              <a:lnSpc>
                <a:spcPct val="90000"/>
              </a:lnSpc>
            </a:pPr>
            <a:r>
              <a:rPr lang="en-US" sz="3200" dirty="0" err="1">
                <a:gradFill>
                  <a:gsLst>
                    <a:gs pos="0">
                      <a:srgbClr val="FFFFFF"/>
                    </a:gs>
                    <a:gs pos="86000">
                      <a:srgbClr val="FFFFFF"/>
                    </a:gs>
                  </a:gsLst>
                  <a:lin ang="5400000" scaled="0"/>
                </a:gradFill>
              </a:rPr>
              <a:t>FileTable</a:t>
            </a:r>
            <a:endParaRPr lang="en-US" sz="3200" dirty="0">
              <a:gradFill>
                <a:gsLst>
                  <a:gs pos="0">
                    <a:srgbClr val="FFFFFF"/>
                  </a:gs>
                  <a:gs pos="86000">
                    <a:srgbClr val="FFFFFF"/>
                  </a:gs>
                </a:gsLst>
                <a:lin ang="5400000" scaled="0"/>
              </a:gradFill>
            </a:endParaRPr>
          </a:p>
        </p:txBody>
      </p:sp>
      <p:sp>
        <p:nvSpPr>
          <p:cNvPr id="7" name="TextBox 6"/>
          <p:cNvSpPr txBox="1"/>
          <p:nvPr/>
        </p:nvSpPr>
        <p:spPr>
          <a:xfrm>
            <a:off x="1318956" y="1015608"/>
            <a:ext cx="1977114" cy="498598"/>
          </a:xfrm>
          <a:prstGeom prst="rect">
            <a:avLst/>
          </a:prstGeom>
          <a:noFill/>
        </p:spPr>
        <p:txBody>
          <a:bodyPr wrap="none" lIns="0" tIns="0" rIns="0" bIns="0" rtlCol="0">
            <a:spAutoFit/>
          </a:bodyPr>
          <a:lstStyle/>
          <a:p>
            <a:pPr>
              <a:lnSpc>
                <a:spcPct val="90000"/>
              </a:lnSpc>
            </a:pPr>
            <a:r>
              <a:rPr lang="en-US" sz="3600" b="1" dirty="0" err="1">
                <a:gradFill>
                  <a:gsLst>
                    <a:gs pos="0">
                      <a:srgbClr val="FFFFFF"/>
                    </a:gs>
                    <a:gs pos="86000">
                      <a:srgbClr val="FFFFFF"/>
                    </a:gs>
                  </a:gsLst>
                  <a:lin ang="5400000" scaled="0"/>
                </a:gradFill>
              </a:rPr>
              <a:t>xVelocity</a:t>
            </a:r>
            <a:endParaRPr lang="en-US" sz="3600" b="1" dirty="0">
              <a:gradFill>
                <a:gsLst>
                  <a:gs pos="0">
                    <a:srgbClr val="FFFFFF"/>
                  </a:gs>
                  <a:gs pos="86000">
                    <a:srgbClr val="FFFFFF"/>
                  </a:gs>
                </a:gsLst>
                <a:lin ang="5400000" scaled="0"/>
              </a:gradFill>
            </a:endParaRPr>
          </a:p>
        </p:txBody>
      </p:sp>
      <p:sp>
        <p:nvSpPr>
          <p:cNvPr id="8" name="TextBox 7"/>
          <p:cNvSpPr txBox="1"/>
          <p:nvPr/>
        </p:nvSpPr>
        <p:spPr>
          <a:xfrm>
            <a:off x="5716472" y="3426940"/>
            <a:ext cx="2688236" cy="443198"/>
          </a:xfrm>
          <a:prstGeom prst="rect">
            <a:avLst/>
          </a:prstGeom>
          <a:noFill/>
        </p:spPr>
        <p:txBody>
          <a:bodyPr wrap="none" lIns="0" tIns="0" rIns="0" bIns="0" rtlCol="0">
            <a:spAutoFit/>
          </a:bodyPr>
          <a:lstStyle/>
          <a:p>
            <a:pPr>
              <a:lnSpc>
                <a:spcPct val="90000"/>
              </a:lnSpc>
            </a:pPr>
            <a:r>
              <a:rPr lang="en-US" sz="3200" b="1" dirty="0">
                <a:gradFill>
                  <a:gsLst>
                    <a:gs pos="0">
                      <a:srgbClr val="FFFFFF"/>
                    </a:gs>
                    <a:gs pos="86000">
                      <a:srgbClr val="FFFFFF"/>
                    </a:gs>
                  </a:gsLst>
                  <a:lin ang="5400000" scaled="0"/>
                </a:gradFill>
              </a:rPr>
              <a:t>15k Partitions</a:t>
            </a:r>
          </a:p>
        </p:txBody>
      </p:sp>
      <p:sp>
        <p:nvSpPr>
          <p:cNvPr id="9" name="TextBox 8"/>
          <p:cNvSpPr txBox="1"/>
          <p:nvPr/>
        </p:nvSpPr>
        <p:spPr>
          <a:xfrm>
            <a:off x="572810" y="1723591"/>
            <a:ext cx="3974421" cy="443198"/>
          </a:xfrm>
          <a:prstGeom prst="rect">
            <a:avLst/>
          </a:prstGeom>
          <a:noFill/>
        </p:spPr>
        <p:txBody>
          <a:bodyPr wrap="none" lIns="0" tIns="0" rIns="0" bIns="0" rtlCol="0">
            <a:spAutoFit/>
          </a:bodyPr>
          <a:lstStyle/>
          <a:p>
            <a:pPr>
              <a:lnSpc>
                <a:spcPct val="90000"/>
              </a:lnSpc>
            </a:pPr>
            <a:r>
              <a:rPr lang="en-US" sz="3200" dirty="0">
                <a:gradFill>
                  <a:gsLst>
                    <a:gs pos="0">
                      <a:srgbClr val="FFFFFF"/>
                    </a:gs>
                    <a:gs pos="86000">
                      <a:srgbClr val="FFFFFF"/>
                    </a:gs>
                  </a:gsLst>
                  <a:lin ang="5400000" scaled="0"/>
                </a:gradFill>
              </a:rPr>
              <a:t>SQL Server Data Tools</a:t>
            </a:r>
          </a:p>
        </p:txBody>
      </p:sp>
      <p:sp>
        <p:nvSpPr>
          <p:cNvPr id="10" name="TextBox 9"/>
          <p:cNvSpPr txBox="1"/>
          <p:nvPr/>
        </p:nvSpPr>
        <p:spPr>
          <a:xfrm>
            <a:off x="5312733" y="2118792"/>
            <a:ext cx="2537618" cy="498598"/>
          </a:xfrm>
          <a:prstGeom prst="rect">
            <a:avLst/>
          </a:prstGeom>
          <a:noFill/>
        </p:spPr>
        <p:txBody>
          <a:bodyPr wrap="none" lIns="0" tIns="0" rIns="0" bIns="0" rtlCol="0">
            <a:spAutoFit/>
          </a:bodyPr>
          <a:lstStyle/>
          <a:p>
            <a:pPr>
              <a:lnSpc>
                <a:spcPct val="90000"/>
              </a:lnSpc>
            </a:pPr>
            <a:r>
              <a:rPr lang="en-US" sz="3600" b="1" dirty="0">
                <a:gradFill>
                  <a:gsLst>
                    <a:gs pos="0">
                      <a:srgbClr val="FFFFFF"/>
                    </a:gs>
                    <a:gs pos="86000">
                      <a:srgbClr val="FFFFFF"/>
                    </a:gs>
                  </a:gsLst>
                  <a:lin ang="5400000" scaled="0"/>
                </a:gradFill>
              </a:rPr>
              <a:t>Power View</a:t>
            </a:r>
          </a:p>
        </p:txBody>
      </p:sp>
      <p:sp>
        <p:nvSpPr>
          <p:cNvPr id="11" name="TextBox 10"/>
          <p:cNvSpPr txBox="1"/>
          <p:nvPr/>
        </p:nvSpPr>
        <p:spPr>
          <a:xfrm>
            <a:off x="750369" y="2469505"/>
            <a:ext cx="3390352" cy="443198"/>
          </a:xfrm>
          <a:prstGeom prst="rect">
            <a:avLst/>
          </a:prstGeom>
          <a:noFill/>
        </p:spPr>
        <p:txBody>
          <a:bodyPr wrap="none" lIns="0" tIns="0" rIns="0" bIns="0" rtlCol="0">
            <a:spAutoFit/>
          </a:bodyPr>
          <a:lstStyle/>
          <a:p>
            <a:pPr>
              <a:lnSpc>
                <a:spcPct val="90000"/>
              </a:lnSpc>
            </a:pPr>
            <a:r>
              <a:rPr lang="en-US" sz="3200" dirty="0">
                <a:gradFill>
                  <a:gsLst>
                    <a:gs pos="0">
                      <a:srgbClr val="FFFFFF"/>
                    </a:gs>
                    <a:gs pos="86000">
                      <a:srgbClr val="FFFFFF"/>
                    </a:gs>
                  </a:gsLst>
                  <a:lin ang="5400000" scaled="0"/>
                </a:gradFill>
              </a:rPr>
              <a:t>BI Semantic Model</a:t>
            </a:r>
          </a:p>
        </p:txBody>
      </p:sp>
      <p:sp>
        <p:nvSpPr>
          <p:cNvPr id="12" name="TextBox 11"/>
          <p:cNvSpPr txBox="1"/>
          <p:nvPr/>
        </p:nvSpPr>
        <p:spPr>
          <a:xfrm>
            <a:off x="70340" y="3083646"/>
            <a:ext cx="4104072" cy="443198"/>
          </a:xfrm>
          <a:prstGeom prst="rect">
            <a:avLst/>
          </a:prstGeom>
          <a:noFill/>
        </p:spPr>
        <p:txBody>
          <a:bodyPr wrap="none" lIns="0" tIns="0" rIns="0" bIns="0" rtlCol="0">
            <a:spAutoFit/>
          </a:bodyPr>
          <a:lstStyle/>
          <a:p>
            <a:pPr>
              <a:lnSpc>
                <a:spcPct val="90000"/>
              </a:lnSpc>
            </a:pPr>
            <a:r>
              <a:rPr lang="en-US" sz="3200" b="1" dirty="0">
                <a:gradFill>
                  <a:gsLst>
                    <a:gs pos="0">
                      <a:srgbClr val="FFFFFF"/>
                    </a:gs>
                    <a:gs pos="86000">
                      <a:srgbClr val="FFFFFF"/>
                    </a:gs>
                  </a:gsLst>
                  <a:lin ang="5400000" scaled="0"/>
                </a:gradFill>
              </a:rPr>
              <a:t>Data Quality Services</a:t>
            </a:r>
          </a:p>
        </p:txBody>
      </p:sp>
      <p:sp>
        <p:nvSpPr>
          <p:cNvPr id="13" name="TextBox 12"/>
          <p:cNvSpPr txBox="1"/>
          <p:nvPr/>
        </p:nvSpPr>
        <p:spPr>
          <a:xfrm>
            <a:off x="381003" y="3652552"/>
            <a:ext cx="5224379" cy="443198"/>
          </a:xfrm>
          <a:prstGeom prst="rect">
            <a:avLst/>
          </a:prstGeom>
          <a:noFill/>
        </p:spPr>
        <p:txBody>
          <a:bodyPr wrap="none" lIns="0" tIns="0" rIns="0" bIns="0" rtlCol="0">
            <a:spAutoFit/>
          </a:bodyPr>
          <a:lstStyle/>
          <a:p>
            <a:pPr>
              <a:lnSpc>
                <a:spcPct val="90000"/>
              </a:lnSpc>
            </a:pPr>
            <a:r>
              <a:rPr lang="en-US" sz="3200" dirty="0">
                <a:gradFill>
                  <a:gsLst>
                    <a:gs pos="0">
                      <a:srgbClr val="FFFFFF"/>
                    </a:gs>
                    <a:gs pos="86000">
                      <a:srgbClr val="FFFFFF"/>
                    </a:gs>
                  </a:gsLst>
                  <a:lin ang="5400000" scaled="0"/>
                </a:gradFill>
              </a:rPr>
              <a:t>Full-Text Search Performance</a:t>
            </a:r>
          </a:p>
        </p:txBody>
      </p:sp>
      <p:sp>
        <p:nvSpPr>
          <p:cNvPr id="14" name="TextBox 13"/>
          <p:cNvSpPr txBox="1"/>
          <p:nvPr/>
        </p:nvSpPr>
        <p:spPr>
          <a:xfrm>
            <a:off x="5354284" y="2714101"/>
            <a:ext cx="3321230" cy="443198"/>
          </a:xfrm>
          <a:prstGeom prst="rect">
            <a:avLst/>
          </a:prstGeom>
          <a:noFill/>
        </p:spPr>
        <p:txBody>
          <a:bodyPr wrap="none" lIns="0" tIns="0" rIns="0" bIns="0" rtlCol="0">
            <a:spAutoFit/>
          </a:bodyPr>
          <a:lstStyle/>
          <a:p>
            <a:pPr>
              <a:lnSpc>
                <a:spcPct val="90000"/>
              </a:lnSpc>
            </a:pPr>
            <a:r>
              <a:rPr lang="en-US" sz="3200" dirty="0">
                <a:gradFill>
                  <a:gsLst>
                    <a:gs pos="0">
                      <a:srgbClr val="FFFFFF"/>
                    </a:gs>
                    <a:gs pos="86000">
                      <a:srgbClr val="FFFFFF"/>
                    </a:gs>
                  </a:gsLst>
                  <a:lin ang="5400000" scaled="0"/>
                </a:gradFill>
              </a:rPr>
              <a:t>Distributed Replay</a:t>
            </a:r>
          </a:p>
        </p:txBody>
      </p:sp>
      <p:sp>
        <p:nvSpPr>
          <p:cNvPr id="15" name="TextBox 14"/>
          <p:cNvSpPr txBox="1"/>
          <p:nvPr/>
        </p:nvSpPr>
        <p:spPr>
          <a:xfrm>
            <a:off x="5899631" y="1498516"/>
            <a:ext cx="2958502" cy="443198"/>
          </a:xfrm>
          <a:prstGeom prst="rect">
            <a:avLst/>
          </a:prstGeom>
          <a:noFill/>
        </p:spPr>
        <p:txBody>
          <a:bodyPr wrap="none" lIns="0" tIns="0" rIns="0" bIns="0" rtlCol="0">
            <a:spAutoFit/>
          </a:bodyPr>
          <a:lstStyle/>
          <a:p>
            <a:pPr>
              <a:lnSpc>
                <a:spcPct val="90000"/>
              </a:lnSpc>
            </a:pPr>
            <a:r>
              <a:rPr lang="en-US" sz="3200" dirty="0">
                <a:gradFill>
                  <a:gsLst>
                    <a:gs pos="0">
                      <a:srgbClr val="FFFFFF"/>
                    </a:gs>
                    <a:gs pos="86000">
                      <a:srgbClr val="FFFFFF"/>
                    </a:gs>
                  </a:gsLst>
                  <a:lin ang="5400000" scaled="0"/>
                </a:gradFill>
              </a:rPr>
              <a:t>Reporting Alerts</a:t>
            </a:r>
          </a:p>
        </p:txBody>
      </p:sp>
      <p:sp>
        <p:nvSpPr>
          <p:cNvPr id="16" name="TextBox 15"/>
          <p:cNvSpPr txBox="1"/>
          <p:nvPr/>
        </p:nvSpPr>
        <p:spPr>
          <a:xfrm>
            <a:off x="719998" y="4297806"/>
            <a:ext cx="4814331" cy="498598"/>
          </a:xfrm>
          <a:prstGeom prst="rect">
            <a:avLst/>
          </a:prstGeom>
          <a:noFill/>
        </p:spPr>
        <p:txBody>
          <a:bodyPr wrap="none" lIns="0" tIns="0" rIns="0" bIns="0" rtlCol="0">
            <a:spAutoFit/>
          </a:bodyPr>
          <a:lstStyle/>
          <a:p>
            <a:pPr>
              <a:lnSpc>
                <a:spcPct val="90000"/>
              </a:lnSpc>
            </a:pPr>
            <a:r>
              <a:rPr lang="en-US" sz="3600" b="1" dirty="0">
                <a:gradFill>
                  <a:gsLst>
                    <a:gs pos="0">
                      <a:srgbClr val="FFFFFF"/>
                    </a:gs>
                    <a:gs pos="86000">
                      <a:srgbClr val="FFFFFF"/>
                    </a:gs>
                  </a:gsLst>
                  <a:lin ang="5400000" scaled="0"/>
                </a:gradFill>
              </a:rPr>
              <a:t>ODBC Driver for Linux</a:t>
            </a:r>
          </a:p>
        </p:txBody>
      </p:sp>
      <p:sp>
        <p:nvSpPr>
          <p:cNvPr id="17" name="TextBox 16"/>
          <p:cNvSpPr txBox="1"/>
          <p:nvPr/>
        </p:nvSpPr>
        <p:spPr>
          <a:xfrm>
            <a:off x="6081826" y="632505"/>
            <a:ext cx="3025895" cy="280462"/>
          </a:xfrm>
          <a:prstGeom prst="rect">
            <a:avLst/>
          </a:prstGeom>
          <a:noFill/>
        </p:spPr>
        <p:txBody>
          <a:bodyPr wrap="none" lIns="0" tIns="0" rIns="0" bIns="0" rtlCol="0">
            <a:spAutoFit/>
          </a:bodyPr>
          <a:lstStyle/>
          <a:p>
            <a:pPr>
              <a:lnSpc>
                <a:spcPct val="90000"/>
              </a:lnSpc>
            </a:pPr>
            <a:r>
              <a:rPr lang="en-US" sz="2000" dirty="0">
                <a:gradFill>
                  <a:gsLst>
                    <a:gs pos="0">
                      <a:srgbClr val="E8E8E8"/>
                    </a:gs>
                    <a:gs pos="86000">
                      <a:srgbClr val="E8E8E8"/>
                    </a:gs>
                  </a:gsLst>
                  <a:lin ang="5400000" scaled="0"/>
                </a:gradFill>
              </a:rPr>
              <a:t>Statistical Semantic Search</a:t>
            </a:r>
          </a:p>
        </p:txBody>
      </p:sp>
      <p:sp>
        <p:nvSpPr>
          <p:cNvPr id="18" name="TextBox 17"/>
          <p:cNvSpPr txBox="1"/>
          <p:nvPr/>
        </p:nvSpPr>
        <p:spPr>
          <a:xfrm>
            <a:off x="2144400" y="626910"/>
            <a:ext cx="3457087" cy="280462"/>
          </a:xfrm>
          <a:prstGeom prst="rect">
            <a:avLst/>
          </a:prstGeom>
          <a:noFill/>
        </p:spPr>
        <p:txBody>
          <a:bodyPr wrap="none" lIns="0" tIns="0" rIns="0" bIns="0" rtlCol="0">
            <a:spAutoFit/>
          </a:bodyPr>
          <a:lstStyle/>
          <a:p>
            <a:pPr>
              <a:lnSpc>
                <a:spcPct val="90000"/>
              </a:lnSpc>
            </a:pPr>
            <a:r>
              <a:rPr lang="en-US" sz="2000" dirty="0">
                <a:gradFill>
                  <a:gsLst>
                    <a:gs pos="0">
                      <a:srgbClr val="E8E8E8"/>
                    </a:gs>
                    <a:gs pos="86000">
                      <a:srgbClr val="E8E8E8"/>
                    </a:gs>
                  </a:gsLst>
                  <a:lin ang="5400000" scaled="0"/>
                </a:gradFill>
              </a:rPr>
              <a:t>Windows Server Core Support</a:t>
            </a:r>
          </a:p>
        </p:txBody>
      </p:sp>
      <p:sp>
        <p:nvSpPr>
          <p:cNvPr id="19" name="TextBox 18"/>
          <p:cNvSpPr txBox="1"/>
          <p:nvPr/>
        </p:nvSpPr>
        <p:spPr>
          <a:xfrm>
            <a:off x="3387381" y="1356681"/>
            <a:ext cx="2393105" cy="280462"/>
          </a:xfrm>
          <a:prstGeom prst="rect">
            <a:avLst/>
          </a:prstGeom>
          <a:noFill/>
        </p:spPr>
        <p:txBody>
          <a:bodyPr wrap="none" lIns="0" tIns="0" rIns="0" bIns="0" rtlCol="0">
            <a:spAutoFit/>
          </a:bodyPr>
          <a:lstStyle/>
          <a:p>
            <a:pPr>
              <a:lnSpc>
                <a:spcPct val="90000"/>
              </a:lnSpc>
            </a:pPr>
            <a:r>
              <a:rPr lang="en-US" sz="2000" dirty="0">
                <a:gradFill>
                  <a:gsLst>
                    <a:gs pos="0">
                      <a:srgbClr val="E8E8E8"/>
                    </a:gs>
                    <a:gs pos="86000">
                      <a:srgbClr val="E8E8E8"/>
                    </a:gs>
                  </a:gsLst>
                  <a:lin ang="5400000" scaled="0"/>
                </a:gradFill>
              </a:rPr>
              <a:t>Multiple </a:t>
            </a:r>
            <a:r>
              <a:rPr lang="en-US" sz="2000" dirty="0" err="1">
                <a:gradFill>
                  <a:gsLst>
                    <a:gs pos="0">
                      <a:srgbClr val="E8E8E8"/>
                    </a:gs>
                    <a:gs pos="86000">
                      <a:srgbClr val="E8E8E8"/>
                    </a:gs>
                  </a:gsLst>
                  <a:lin ang="5400000" scaled="0"/>
                </a:gradFill>
              </a:rPr>
              <a:t>Secondaries</a:t>
            </a:r>
            <a:endParaRPr lang="en-US" sz="2000" dirty="0">
              <a:gradFill>
                <a:gsLst>
                  <a:gs pos="0">
                    <a:srgbClr val="E8E8E8"/>
                  </a:gs>
                  <a:gs pos="86000">
                    <a:srgbClr val="E8E8E8"/>
                  </a:gs>
                </a:gsLst>
                <a:lin ang="5400000" scaled="0"/>
              </a:gradFill>
            </a:endParaRPr>
          </a:p>
        </p:txBody>
      </p:sp>
      <p:sp>
        <p:nvSpPr>
          <p:cNvPr id="20" name="TextBox 19"/>
          <p:cNvSpPr txBox="1"/>
          <p:nvPr/>
        </p:nvSpPr>
        <p:spPr>
          <a:xfrm>
            <a:off x="6574554" y="3966765"/>
            <a:ext cx="2123394" cy="280462"/>
          </a:xfrm>
          <a:prstGeom prst="rect">
            <a:avLst/>
          </a:prstGeom>
          <a:noFill/>
        </p:spPr>
        <p:txBody>
          <a:bodyPr wrap="none" lIns="0" tIns="0" rIns="0" bIns="0" rtlCol="0">
            <a:spAutoFit/>
          </a:bodyPr>
          <a:lstStyle/>
          <a:p>
            <a:pPr>
              <a:lnSpc>
                <a:spcPct val="90000"/>
              </a:lnSpc>
            </a:pPr>
            <a:r>
              <a:rPr lang="en-US" sz="2000" dirty="0">
                <a:gradFill>
                  <a:gsLst>
                    <a:gs pos="0">
                      <a:srgbClr val="E8E8E8"/>
                    </a:gs>
                    <a:gs pos="86000">
                      <a:srgbClr val="E8E8E8"/>
                    </a:gs>
                  </a:gsLst>
                  <a:lin ang="5400000" scaled="0"/>
                </a:gradFill>
              </a:rPr>
              <a:t>Availability Groups</a:t>
            </a:r>
          </a:p>
        </p:txBody>
      </p:sp>
      <p:sp>
        <p:nvSpPr>
          <p:cNvPr id="21" name="TextBox 20"/>
          <p:cNvSpPr txBox="1"/>
          <p:nvPr/>
        </p:nvSpPr>
        <p:spPr>
          <a:xfrm>
            <a:off x="2441683" y="4153170"/>
            <a:ext cx="4221197" cy="280462"/>
          </a:xfrm>
          <a:prstGeom prst="rect">
            <a:avLst/>
          </a:prstGeom>
          <a:noFill/>
        </p:spPr>
        <p:txBody>
          <a:bodyPr wrap="none" lIns="0" tIns="0" rIns="0" bIns="0" rtlCol="0">
            <a:spAutoFit/>
          </a:bodyPr>
          <a:lstStyle/>
          <a:p>
            <a:pPr>
              <a:lnSpc>
                <a:spcPct val="90000"/>
              </a:lnSpc>
            </a:pPr>
            <a:r>
              <a:rPr lang="en-US" sz="2000" dirty="0">
                <a:gradFill>
                  <a:gsLst>
                    <a:gs pos="0">
                      <a:srgbClr val="E8E8E8"/>
                    </a:gs>
                    <a:gs pos="86000">
                      <a:srgbClr val="E8E8E8"/>
                    </a:gs>
                  </a:gsLst>
                  <a:lin ang="5400000" scaled="0"/>
                </a:gradFill>
              </a:rPr>
              <a:t>Default Scheme for Windows Groups</a:t>
            </a:r>
          </a:p>
        </p:txBody>
      </p:sp>
      <p:sp>
        <p:nvSpPr>
          <p:cNvPr id="22" name="TextBox 21"/>
          <p:cNvSpPr txBox="1"/>
          <p:nvPr/>
        </p:nvSpPr>
        <p:spPr>
          <a:xfrm>
            <a:off x="792657" y="4834023"/>
            <a:ext cx="2431587" cy="280462"/>
          </a:xfrm>
          <a:prstGeom prst="rect">
            <a:avLst/>
          </a:prstGeom>
          <a:noFill/>
        </p:spPr>
        <p:txBody>
          <a:bodyPr wrap="none" lIns="0" tIns="0" rIns="0" bIns="0" rtlCol="0">
            <a:spAutoFit/>
          </a:bodyPr>
          <a:lstStyle/>
          <a:p>
            <a:pPr>
              <a:lnSpc>
                <a:spcPct val="90000"/>
              </a:lnSpc>
            </a:pPr>
            <a:r>
              <a:rPr lang="en-US" sz="2000" dirty="0">
                <a:gradFill>
                  <a:gsLst>
                    <a:gs pos="0">
                      <a:srgbClr val="E8E8E8"/>
                    </a:gs>
                    <a:gs pos="86000">
                      <a:srgbClr val="E8E8E8"/>
                    </a:gs>
                  </a:gsLst>
                  <a:lin ang="5400000" scaled="0"/>
                </a:gradFill>
              </a:rPr>
              <a:t>T-SQL Enhancements</a:t>
            </a:r>
          </a:p>
        </p:txBody>
      </p:sp>
      <p:sp>
        <p:nvSpPr>
          <p:cNvPr id="23" name="TextBox 22"/>
          <p:cNvSpPr txBox="1"/>
          <p:nvPr/>
        </p:nvSpPr>
        <p:spPr>
          <a:xfrm>
            <a:off x="1954322" y="2142735"/>
            <a:ext cx="1986830" cy="280462"/>
          </a:xfrm>
          <a:prstGeom prst="rect">
            <a:avLst/>
          </a:prstGeom>
          <a:noFill/>
        </p:spPr>
        <p:txBody>
          <a:bodyPr wrap="none" lIns="0" tIns="0" rIns="0" bIns="0" rtlCol="0">
            <a:spAutoFit/>
          </a:bodyPr>
          <a:lstStyle/>
          <a:p>
            <a:pPr>
              <a:lnSpc>
                <a:spcPct val="90000"/>
              </a:lnSpc>
            </a:pPr>
            <a:r>
              <a:rPr lang="en-US" sz="2000" dirty="0">
                <a:gradFill>
                  <a:gsLst>
                    <a:gs pos="0">
                      <a:srgbClr val="E8E8E8"/>
                    </a:gs>
                    <a:gs pos="86000">
                      <a:srgbClr val="E8E8E8"/>
                    </a:gs>
                  </a:gsLst>
                  <a:lin ang="5400000" scaled="0"/>
                </a:gradFill>
              </a:rPr>
              <a:t>Full Globe Spatial</a:t>
            </a:r>
          </a:p>
        </p:txBody>
      </p:sp>
      <p:sp>
        <p:nvSpPr>
          <p:cNvPr id="24" name="TextBox 23"/>
          <p:cNvSpPr txBox="1"/>
          <p:nvPr/>
        </p:nvSpPr>
        <p:spPr>
          <a:xfrm>
            <a:off x="4639604" y="3054413"/>
            <a:ext cx="3856676" cy="280462"/>
          </a:xfrm>
          <a:prstGeom prst="rect">
            <a:avLst/>
          </a:prstGeom>
          <a:noFill/>
        </p:spPr>
        <p:txBody>
          <a:bodyPr wrap="none" lIns="0" tIns="0" rIns="0" bIns="0" rtlCol="0">
            <a:spAutoFit/>
          </a:bodyPr>
          <a:lstStyle/>
          <a:p>
            <a:pPr>
              <a:lnSpc>
                <a:spcPct val="90000"/>
              </a:lnSpc>
            </a:pPr>
            <a:r>
              <a:rPr lang="en-US" sz="2000" dirty="0">
                <a:gradFill>
                  <a:gsLst>
                    <a:gs pos="0">
                      <a:srgbClr val="E8E8E8"/>
                    </a:gs>
                    <a:gs pos="86000">
                      <a:srgbClr val="E8E8E8"/>
                    </a:gs>
                  </a:gsLst>
                  <a:lin ang="5400000" scaled="0"/>
                </a:gradFill>
              </a:rPr>
              <a:t>SSMS to Windows Azure Platform</a:t>
            </a:r>
          </a:p>
        </p:txBody>
      </p:sp>
      <p:sp>
        <p:nvSpPr>
          <p:cNvPr id="25" name="TextBox 24"/>
          <p:cNvSpPr txBox="1"/>
          <p:nvPr/>
        </p:nvSpPr>
        <p:spPr>
          <a:xfrm>
            <a:off x="5716473" y="1819208"/>
            <a:ext cx="3007232" cy="280462"/>
          </a:xfrm>
          <a:prstGeom prst="rect">
            <a:avLst/>
          </a:prstGeom>
          <a:noFill/>
        </p:spPr>
        <p:txBody>
          <a:bodyPr wrap="none" lIns="0" tIns="0" rIns="0" bIns="0" rtlCol="0">
            <a:spAutoFit/>
          </a:bodyPr>
          <a:lstStyle/>
          <a:p>
            <a:pPr>
              <a:lnSpc>
                <a:spcPct val="90000"/>
              </a:lnSpc>
            </a:pPr>
            <a:r>
              <a:rPr lang="en-US" sz="2000" dirty="0" err="1">
                <a:gradFill>
                  <a:gsLst>
                    <a:gs pos="0">
                      <a:srgbClr val="E8E8E8"/>
                    </a:gs>
                    <a:gs pos="86000">
                      <a:srgbClr val="E8E8E8"/>
                    </a:gs>
                  </a:gsLst>
                  <a:lin ang="5400000" scaled="0"/>
                </a:gradFill>
              </a:rPr>
              <a:t>PowerPivot</a:t>
            </a:r>
            <a:r>
              <a:rPr lang="en-US" sz="2000" dirty="0">
                <a:gradFill>
                  <a:gsLst>
                    <a:gs pos="0">
                      <a:srgbClr val="E8E8E8"/>
                    </a:gs>
                    <a:gs pos="86000">
                      <a:srgbClr val="E8E8E8"/>
                    </a:gs>
                  </a:gsLst>
                  <a:lin ang="5400000" scaled="0"/>
                </a:gradFill>
              </a:rPr>
              <a:t> Enhancements</a:t>
            </a:r>
          </a:p>
        </p:txBody>
      </p:sp>
      <p:sp>
        <p:nvSpPr>
          <p:cNvPr id="26" name="TextBox 25"/>
          <p:cNvSpPr txBox="1"/>
          <p:nvPr/>
        </p:nvSpPr>
        <p:spPr>
          <a:xfrm>
            <a:off x="137260" y="3481137"/>
            <a:ext cx="4485136" cy="280462"/>
          </a:xfrm>
          <a:prstGeom prst="rect">
            <a:avLst/>
          </a:prstGeom>
          <a:noFill/>
        </p:spPr>
        <p:txBody>
          <a:bodyPr wrap="none" lIns="0" tIns="0" rIns="0" bIns="0" rtlCol="0">
            <a:spAutoFit/>
          </a:bodyPr>
          <a:lstStyle/>
          <a:p>
            <a:pPr>
              <a:lnSpc>
                <a:spcPct val="90000"/>
              </a:lnSpc>
            </a:pPr>
            <a:r>
              <a:rPr lang="en-US" sz="2000" dirty="0">
                <a:gradFill>
                  <a:gsLst>
                    <a:gs pos="0">
                      <a:srgbClr val="E8E8E8"/>
                    </a:gs>
                    <a:gs pos="86000">
                      <a:srgbClr val="E8E8E8"/>
                    </a:gs>
                  </a:gsLst>
                  <a:lin ang="5400000" scaled="0"/>
                </a:gradFill>
              </a:rPr>
              <a:t>Master Data Management Excel Add-in</a:t>
            </a:r>
          </a:p>
        </p:txBody>
      </p:sp>
      <p:sp>
        <p:nvSpPr>
          <p:cNvPr id="27" name="TextBox 26"/>
          <p:cNvSpPr txBox="1"/>
          <p:nvPr/>
        </p:nvSpPr>
        <p:spPr>
          <a:xfrm>
            <a:off x="453391" y="1470110"/>
            <a:ext cx="2653100" cy="280462"/>
          </a:xfrm>
          <a:prstGeom prst="rect">
            <a:avLst/>
          </a:prstGeom>
          <a:noFill/>
        </p:spPr>
        <p:txBody>
          <a:bodyPr wrap="none" lIns="0" tIns="0" rIns="0" bIns="0" rtlCol="0">
            <a:spAutoFit/>
          </a:bodyPr>
          <a:lstStyle/>
          <a:p>
            <a:pPr>
              <a:lnSpc>
                <a:spcPct val="90000"/>
              </a:lnSpc>
            </a:pPr>
            <a:r>
              <a:rPr lang="en-US" sz="2000" dirty="0">
                <a:gradFill>
                  <a:gsLst>
                    <a:gs pos="0">
                      <a:srgbClr val="E8E8E8"/>
                    </a:gs>
                    <a:gs pos="86000">
                      <a:srgbClr val="E8E8E8"/>
                    </a:gs>
                  </a:gsLst>
                  <a:lin ang="5400000" scaled="0"/>
                </a:gradFill>
              </a:rPr>
              <a:t>PowerShell 2.0 Support</a:t>
            </a:r>
          </a:p>
        </p:txBody>
      </p:sp>
      <p:sp>
        <p:nvSpPr>
          <p:cNvPr id="28" name="TextBox 27"/>
          <p:cNvSpPr txBox="1"/>
          <p:nvPr/>
        </p:nvSpPr>
        <p:spPr>
          <a:xfrm>
            <a:off x="340376" y="814134"/>
            <a:ext cx="2783025" cy="280462"/>
          </a:xfrm>
          <a:prstGeom prst="rect">
            <a:avLst/>
          </a:prstGeom>
          <a:noFill/>
        </p:spPr>
        <p:txBody>
          <a:bodyPr wrap="none" lIns="0" tIns="0" rIns="0" bIns="0" rtlCol="0">
            <a:spAutoFit/>
          </a:bodyPr>
          <a:lstStyle/>
          <a:p>
            <a:pPr>
              <a:lnSpc>
                <a:spcPct val="90000"/>
              </a:lnSpc>
            </a:pPr>
            <a:r>
              <a:rPr lang="en-US" sz="2000" dirty="0">
                <a:gradFill>
                  <a:gsLst>
                    <a:gs pos="0">
                      <a:srgbClr val="E8E8E8"/>
                    </a:gs>
                    <a:gs pos="86000">
                      <a:srgbClr val="E8E8E8"/>
                    </a:gs>
                  </a:gsLst>
                  <a:lin ang="5400000" scaled="0"/>
                </a:gradFill>
              </a:rPr>
              <a:t>PHP &amp; Java Connectivity</a:t>
            </a:r>
          </a:p>
        </p:txBody>
      </p:sp>
      <p:sp>
        <p:nvSpPr>
          <p:cNvPr id="29" name="TextBox 28"/>
          <p:cNvSpPr txBox="1"/>
          <p:nvPr/>
        </p:nvSpPr>
        <p:spPr>
          <a:xfrm>
            <a:off x="5061862" y="4721124"/>
            <a:ext cx="2881347" cy="280462"/>
          </a:xfrm>
          <a:prstGeom prst="rect">
            <a:avLst/>
          </a:prstGeom>
          <a:noFill/>
        </p:spPr>
        <p:txBody>
          <a:bodyPr wrap="none" lIns="0" tIns="0" rIns="0" bIns="0" rtlCol="0">
            <a:spAutoFit/>
          </a:bodyPr>
          <a:lstStyle/>
          <a:p>
            <a:pPr>
              <a:lnSpc>
                <a:spcPct val="90000"/>
              </a:lnSpc>
            </a:pPr>
            <a:r>
              <a:rPr lang="en-US" sz="2000" dirty="0">
                <a:gradFill>
                  <a:gsLst>
                    <a:gs pos="0">
                      <a:srgbClr val="E8E8E8"/>
                    </a:gs>
                    <a:gs pos="86000">
                      <a:srgbClr val="E8E8E8"/>
                    </a:gs>
                  </a:gsLst>
                  <a:lin ang="5400000" scaled="0"/>
                </a:gradFill>
              </a:rPr>
              <a:t>SQL Audit for All Editions</a:t>
            </a:r>
          </a:p>
        </p:txBody>
      </p:sp>
      <p:sp>
        <p:nvSpPr>
          <p:cNvPr id="30" name="TextBox 29"/>
          <p:cNvSpPr txBox="1"/>
          <p:nvPr/>
        </p:nvSpPr>
        <p:spPr>
          <a:xfrm>
            <a:off x="6270727" y="2459651"/>
            <a:ext cx="2453522" cy="280462"/>
          </a:xfrm>
          <a:prstGeom prst="rect">
            <a:avLst/>
          </a:prstGeom>
          <a:noFill/>
        </p:spPr>
        <p:txBody>
          <a:bodyPr wrap="none" lIns="0" tIns="0" rIns="0" bIns="0" rtlCol="0">
            <a:spAutoFit/>
          </a:bodyPr>
          <a:lstStyle/>
          <a:p>
            <a:pPr>
              <a:lnSpc>
                <a:spcPct val="90000"/>
              </a:lnSpc>
            </a:pPr>
            <a:r>
              <a:rPr lang="en-US" sz="2000" dirty="0">
                <a:gradFill>
                  <a:gsLst>
                    <a:gs pos="0">
                      <a:srgbClr val="E8E8E8"/>
                    </a:gs>
                    <a:gs pos="86000">
                      <a:srgbClr val="E8E8E8"/>
                    </a:gs>
                  </a:gsLst>
                  <a:lin ang="5400000" scaled="0"/>
                </a:gradFill>
              </a:rPr>
              <a:t>CDC Support for SSIS</a:t>
            </a:r>
          </a:p>
        </p:txBody>
      </p:sp>
      <p:sp>
        <p:nvSpPr>
          <p:cNvPr id="31" name="TextBox 30"/>
          <p:cNvSpPr txBox="1"/>
          <p:nvPr/>
        </p:nvSpPr>
        <p:spPr>
          <a:xfrm>
            <a:off x="255962" y="2844065"/>
            <a:ext cx="2855035" cy="280462"/>
          </a:xfrm>
          <a:prstGeom prst="rect">
            <a:avLst/>
          </a:prstGeom>
          <a:noFill/>
        </p:spPr>
        <p:txBody>
          <a:bodyPr wrap="none" lIns="0" tIns="0" rIns="0" bIns="0" rtlCol="0">
            <a:spAutoFit/>
          </a:bodyPr>
          <a:lstStyle/>
          <a:p>
            <a:pPr>
              <a:lnSpc>
                <a:spcPct val="90000"/>
              </a:lnSpc>
            </a:pPr>
            <a:r>
              <a:rPr lang="en-US" sz="2000" dirty="0">
                <a:gradFill>
                  <a:gsLst>
                    <a:gs pos="0">
                      <a:srgbClr val="E8E8E8"/>
                    </a:gs>
                    <a:gs pos="86000">
                      <a:srgbClr val="E8E8E8"/>
                    </a:gs>
                  </a:gsLst>
                  <a:lin ang="5400000" scaled="0"/>
                </a:gradFill>
              </a:rPr>
              <a:t>New SSIS Design Surface</a:t>
            </a:r>
          </a:p>
        </p:txBody>
      </p:sp>
      <p:sp>
        <p:nvSpPr>
          <p:cNvPr id="32" name="TextBox 31"/>
          <p:cNvSpPr txBox="1"/>
          <p:nvPr/>
        </p:nvSpPr>
        <p:spPr>
          <a:xfrm>
            <a:off x="1600503" y="98739"/>
            <a:ext cx="2614377" cy="197362"/>
          </a:xfrm>
          <a:prstGeom prst="rect">
            <a:avLst/>
          </a:prstGeom>
          <a:noFill/>
        </p:spPr>
        <p:txBody>
          <a:bodyPr wrap="none" lIns="0" tIns="0" rIns="0" bIns="0" rtlCol="0">
            <a:spAutoFit/>
          </a:bodyPr>
          <a:lstStyle/>
          <a:p>
            <a:pPr>
              <a:lnSpc>
                <a:spcPct val="90000"/>
              </a:lnSpc>
            </a:pPr>
            <a:r>
              <a:rPr lang="en-US" dirty="0">
                <a:gradFill>
                  <a:gsLst>
                    <a:gs pos="0">
                      <a:srgbClr val="BFBFBF"/>
                    </a:gs>
                    <a:gs pos="86000">
                      <a:srgbClr val="BFBFBF"/>
                    </a:gs>
                  </a:gsLst>
                  <a:lin ang="5400000" scaled="0"/>
                </a:gradFill>
              </a:rPr>
              <a:t>Online Operation Enhancements</a:t>
            </a:r>
          </a:p>
        </p:txBody>
      </p:sp>
      <p:sp>
        <p:nvSpPr>
          <p:cNvPr id="33" name="TextBox 32"/>
          <p:cNvSpPr txBox="1"/>
          <p:nvPr/>
        </p:nvSpPr>
        <p:spPr>
          <a:xfrm>
            <a:off x="3147779" y="298683"/>
            <a:ext cx="1633805" cy="197362"/>
          </a:xfrm>
          <a:prstGeom prst="rect">
            <a:avLst/>
          </a:prstGeom>
          <a:noFill/>
        </p:spPr>
        <p:txBody>
          <a:bodyPr wrap="none" lIns="0" tIns="0" rIns="0" bIns="0" rtlCol="0">
            <a:spAutoFit/>
          </a:bodyPr>
          <a:lstStyle/>
          <a:p>
            <a:pPr>
              <a:lnSpc>
                <a:spcPct val="90000"/>
              </a:lnSpc>
            </a:pPr>
            <a:r>
              <a:rPr lang="en-US" dirty="0">
                <a:gradFill>
                  <a:gsLst>
                    <a:gs pos="0">
                      <a:srgbClr val="BFBFBF"/>
                    </a:gs>
                    <a:gs pos="86000">
                      <a:srgbClr val="BFBFBF"/>
                    </a:gs>
                  </a:gsLst>
                  <a:lin ang="5400000" scaled="0"/>
                </a:gradFill>
              </a:rPr>
              <a:t>Multi-site Clustering</a:t>
            </a:r>
          </a:p>
        </p:txBody>
      </p:sp>
      <p:sp>
        <p:nvSpPr>
          <p:cNvPr id="34" name="TextBox 33"/>
          <p:cNvSpPr txBox="1"/>
          <p:nvPr/>
        </p:nvSpPr>
        <p:spPr>
          <a:xfrm>
            <a:off x="6325031" y="953187"/>
            <a:ext cx="2545783" cy="197362"/>
          </a:xfrm>
          <a:prstGeom prst="rect">
            <a:avLst/>
          </a:prstGeom>
          <a:noFill/>
        </p:spPr>
        <p:txBody>
          <a:bodyPr wrap="none" lIns="0" tIns="0" rIns="0" bIns="0" rtlCol="0">
            <a:spAutoFit/>
          </a:bodyPr>
          <a:lstStyle/>
          <a:p>
            <a:pPr>
              <a:lnSpc>
                <a:spcPct val="90000"/>
              </a:lnSpc>
            </a:pPr>
            <a:r>
              <a:rPr lang="en-US" dirty="0">
                <a:gradFill>
                  <a:gsLst>
                    <a:gs pos="0">
                      <a:srgbClr val="BFBFBF"/>
                    </a:gs>
                    <a:gs pos="86000">
                      <a:srgbClr val="BFBFBF"/>
                    </a:gs>
                  </a:gsLst>
                  <a:lin ang="5400000" scaled="0"/>
                </a:gradFill>
              </a:rPr>
              <a:t>Unstructured Data Performance</a:t>
            </a:r>
          </a:p>
        </p:txBody>
      </p:sp>
      <p:sp>
        <p:nvSpPr>
          <p:cNvPr id="35" name="TextBox 34"/>
          <p:cNvSpPr txBox="1"/>
          <p:nvPr/>
        </p:nvSpPr>
        <p:spPr>
          <a:xfrm>
            <a:off x="6119400" y="2016572"/>
            <a:ext cx="2749786" cy="197362"/>
          </a:xfrm>
          <a:prstGeom prst="rect">
            <a:avLst/>
          </a:prstGeom>
          <a:noFill/>
        </p:spPr>
        <p:txBody>
          <a:bodyPr wrap="none" lIns="0" tIns="0" rIns="0" bIns="0" rtlCol="0">
            <a:spAutoFit/>
          </a:bodyPr>
          <a:lstStyle/>
          <a:p>
            <a:pPr>
              <a:lnSpc>
                <a:spcPct val="90000"/>
              </a:lnSpc>
            </a:pPr>
            <a:r>
              <a:rPr lang="en-US" dirty="0">
                <a:gradFill>
                  <a:gsLst>
                    <a:gs pos="0">
                      <a:srgbClr val="BFBFBF"/>
                    </a:gs>
                    <a:gs pos="86000">
                      <a:srgbClr val="BFBFBF"/>
                    </a:gs>
                  </a:gsLst>
                  <a:lin ang="5400000" scaled="0"/>
                </a:gradFill>
              </a:rPr>
              <a:t>Resource Governor Enhancements</a:t>
            </a:r>
          </a:p>
        </p:txBody>
      </p:sp>
      <p:sp>
        <p:nvSpPr>
          <p:cNvPr id="36" name="TextBox 35"/>
          <p:cNvSpPr txBox="1"/>
          <p:nvPr/>
        </p:nvSpPr>
        <p:spPr>
          <a:xfrm>
            <a:off x="3327158" y="1581936"/>
            <a:ext cx="2185013" cy="197362"/>
          </a:xfrm>
          <a:prstGeom prst="rect">
            <a:avLst/>
          </a:prstGeom>
          <a:noFill/>
        </p:spPr>
        <p:txBody>
          <a:bodyPr wrap="none" lIns="0" tIns="0" rIns="0" bIns="0" rtlCol="0">
            <a:spAutoFit/>
          </a:bodyPr>
          <a:lstStyle/>
          <a:p>
            <a:pPr>
              <a:lnSpc>
                <a:spcPct val="90000"/>
              </a:lnSpc>
            </a:pPr>
            <a:r>
              <a:rPr lang="en-US" dirty="0">
                <a:gradFill>
                  <a:gsLst>
                    <a:gs pos="0">
                      <a:srgbClr val="BFBFBF"/>
                    </a:gs>
                    <a:gs pos="86000">
                      <a:srgbClr val="BFBFBF"/>
                    </a:gs>
                  </a:gsLst>
                  <a:lin ang="5400000" scaled="0"/>
                </a:gradFill>
              </a:rPr>
              <a:t>Database Recovery Advisor</a:t>
            </a:r>
          </a:p>
        </p:txBody>
      </p:sp>
      <p:sp>
        <p:nvSpPr>
          <p:cNvPr id="37" name="TextBox 36"/>
          <p:cNvSpPr txBox="1"/>
          <p:nvPr/>
        </p:nvSpPr>
        <p:spPr>
          <a:xfrm>
            <a:off x="6001704" y="3753291"/>
            <a:ext cx="1684938" cy="197362"/>
          </a:xfrm>
          <a:prstGeom prst="rect">
            <a:avLst/>
          </a:prstGeom>
          <a:noFill/>
        </p:spPr>
        <p:txBody>
          <a:bodyPr wrap="none" lIns="0" tIns="0" rIns="0" bIns="0" rtlCol="0">
            <a:spAutoFit/>
          </a:bodyPr>
          <a:lstStyle/>
          <a:p>
            <a:pPr>
              <a:lnSpc>
                <a:spcPct val="90000"/>
              </a:lnSpc>
            </a:pPr>
            <a:r>
              <a:rPr lang="en-US" dirty="0">
                <a:gradFill>
                  <a:gsLst>
                    <a:gs pos="0">
                      <a:srgbClr val="BFBFBF"/>
                    </a:gs>
                    <a:gs pos="86000">
                      <a:srgbClr val="BFBFBF"/>
                    </a:gs>
                  </a:gsLst>
                  <a:lin ang="5400000" scaled="0"/>
                </a:gradFill>
              </a:rPr>
              <a:t>HA for </a:t>
            </a:r>
            <a:r>
              <a:rPr lang="en-US" dirty="0" err="1">
                <a:gradFill>
                  <a:gsLst>
                    <a:gs pos="0">
                      <a:srgbClr val="BFBFBF"/>
                    </a:gs>
                    <a:gs pos="86000">
                      <a:srgbClr val="BFBFBF"/>
                    </a:gs>
                  </a:gsLst>
                  <a:lin ang="5400000" scaled="0"/>
                </a:gradFill>
              </a:rPr>
              <a:t>StreamInsight</a:t>
            </a:r>
            <a:endParaRPr lang="en-US" dirty="0">
              <a:gradFill>
                <a:gsLst>
                  <a:gs pos="0">
                    <a:srgbClr val="BFBFBF"/>
                  </a:gs>
                  <a:gs pos="86000">
                    <a:srgbClr val="BFBFBF"/>
                  </a:gs>
                </a:gsLst>
                <a:lin ang="5400000" scaled="0"/>
              </a:gradFill>
            </a:endParaRPr>
          </a:p>
        </p:txBody>
      </p:sp>
      <p:sp>
        <p:nvSpPr>
          <p:cNvPr id="38" name="TextBox 37"/>
          <p:cNvSpPr txBox="1"/>
          <p:nvPr/>
        </p:nvSpPr>
        <p:spPr>
          <a:xfrm>
            <a:off x="415310" y="2314227"/>
            <a:ext cx="1785617" cy="197362"/>
          </a:xfrm>
          <a:prstGeom prst="rect">
            <a:avLst/>
          </a:prstGeom>
          <a:noFill/>
        </p:spPr>
        <p:txBody>
          <a:bodyPr wrap="none" lIns="0" tIns="0" rIns="0" bIns="0" rtlCol="0">
            <a:spAutoFit/>
          </a:bodyPr>
          <a:lstStyle/>
          <a:p>
            <a:pPr>
              <a:lnSpc>
                <a:spcPct val="90000"/>
              </a:lnSpc>
            </a:pPr>
            <a:r>
              <a:rPr lang="en-US" dirty="0">
                <a:gradFill>
                  <a:gsLst>
                    <a:gs pos="0">
                      <a:srgbClr val="BFBFBF"/>
                    </a:gs>
                    <a:gs pos="86000">
                      <a:srgbClr val="BFBFBF"/>
                    </a:gs>
                  </a:gsLst>
                  <a:lin ang="5400000" scaled="0"/>
                </a:gradFill>
              </a:rPr>
              <a:t>Flexible Failover Policy</a:t>
            </a:r>
          </a:p>
        </p:txBody>
      </p:sp>
      <p:sp>
        <p:nvSpPr>
          <p:cNvPr id="39" name="TextBox 38"/>
          <p:cNvSpPr txBox="1"/>
          <p:nvPr/>
        </p:nvSpPr>
        <p:spPr>
          <a:xfrm>
            <a:off x="4727228" y="1172028"/>
            <a:ext cx="2536114" cy="197362"/>
          </a:xfrm>
          <a:prstGeom prst="rect">
            <a:avLst/>
          </a:prstGeom>
          <a:noFill/>
        </p:spPr>
        <p:txBody>
          <a:bodyPr wrap="none" lIns="0" tIns="0" rIns="0" bIns="0" rtlCol="0">
            <a:spAutoFit/>
          </a:bodyPr>
          <a:lstStyle/>
          <a:p>
            <a:pPr>
              <a:lnSpc>
                <a:spcPct val="90000"/>
              </a:lnSpc>
            </a:pPr>
            <a:r>
              <a:rPr lang="en-US" dirty="0">
                <a:gradFill>
                  <a:gsLst>
                    <a:gs pos="0">
                      <a:srgbClr val="BFBFBF"/>
                    </a:gs>
                    <a:gs pos="86000">
                      <a:srgbClr val="BFBFBF"/>
                    </a:gs>
                  </a:gsLst>
                  <a:lin ang="5400000" scaled="0"/>
                </a:gradFill>
              </a:rPr>
              <a:t>Extended Events Enhancements</a:t>
            </a:r>
          </a:p>
        </p:txBody>
      </p:sp>
      <p:sp>
        <p:nvSpPr>
          <p:cNvPr id="40" name="TextBox 39"/>
          <p:cNvSpPr txBox="1"/>
          <p:nvPr/>
        </p:nvSpPr>
        <p:spPr>
          <a:xfrm>
            <a:off x="5346955" y="99702"/>
            <a:ext cx="2863308" cy="197362"/>
          </a:xfrm>
          <a:prstGeom prst="rect">
            <a:avLst/>
          </a:prstGeom>
          <a:noFill/>
        </p:spPr>
        <p:txBody>
          <a:bodyPr wrap="none" lIns="0" tIns="0" rIns="0" bIns="0" rtlCol="0">
            <a:spAutoFit/>
          </a:bodyPr>
          <a:lstStyle/>
          <a:p>
            <a:pPr>
              <a:lnSpc>
                <a:spcPct val="90000"/>
              </a:lnSpc>
            </a:pPr>
            <a:r>
              <a:rPr lang="en-US" dirty="0">
                <a:gradFill>
                  <a:gsLst>
                    <a:gs pos="0">
                      <a:srgbClr val="BFBFBF"/>
                    </a:gs>
                    <a:gs pos="86000">
                      <a:srgbClr val="BFBFBF"/>
                    </a:gs>
                  </a:gsLst>
                  <a:lin ang="5400000" scaled="0"/>
                </a:gradFill>
              </a:rPr>
              <a:t>Contained Database Authentication</a:t>
            </a:r>
          </a:p>
        </p:txBody>
      </p:sp>
      <p:sp>
        <p:nvSpPr>
          <p:cNvPr id="41" name="TextBox 40"/>
          <p:cNvSpPr txBox="1"/>
          <p:nvPr/>
        </p:nvSpPr>
        <p:spPr>
          <a:xfrm>
            <a:off x="5841957" y="4415613"/>
            <a:ext cx="2900252" cy="197362"/>
          </a:xfrm>
          <a:prstGeom prst="rect">
            <a:avLst/>
          </a:prstGeom>
          <a:noFill/>
        </p:spPr>
        <p:txBody>
          <a:bodyPr wrap="none" lIns="0" tIns="0" rIns="0" bIns="0" rtlCol="0">
            <a:spAutoFit/>
          </a:bodyPr>
          <a:lstStyle/>
          <a:p>
            <a:pPr>
              <a:lnSpc>
                <a:spcPct val="90000"/>
              </a:lnSpc>
            </a:pPr>
            <a:r>
              <a:rPr lang="en-US" dirty="0">
                <a:gradFill>
                  <a:gsLst>
                    <a:gs pos="0">
                      <a:srgbClr val="BFBFBF"/>
                    </a:gs>
                    <a:gs pos="86000">
                      <a:srgbClr val="BFBFBF"/>
                    </a:gs>
                  </a:gsLst>
                  <a:lin ang="5400000" scaled="0"/>
                </a:gradFill>
              </a:rPr>
              <a:t>SharePoint Active Directory Support</a:t>
            </a:r>
          </a:p>
        </p:txBody>
      </p:sp>
      <p:sp>
        <p:nvSpPr>
          <p:cNvPr id="42" name="TextBox 41"/>
          <p:cNvSpPr txBox="1"/>
          <p:nvPr/>
        </p:nvSpPr>
        <p:spPr>
          <a:xfrm>
            <a:off x="2290640" y="455649"/>
            <a:ext cx="2224987" cy="197362"/>
          </a:xfrm>
          <a:prstGeom prst="rect">
            <a:avLst/>
          </a:prstGeom>
          <a:noFill/>
        </p:spPr>
        <p:txBody>
          <a:bodyPr wrap="none" lIns="0" tIns="0" rIns="0" bIns="0" rtlCol="0">
            <a:spAutoFit/>
          </a:bodyPr>
          <a:lstStyle/>
          <a:p>
            <a:pPr>
              <a:lnSpc>
                <a:spcPct val="90000"/>
              </a:lnSpc>
            </a:pPr>
            <a:r>
              <a:rPr lang="en-US" dirty="0">
                <a:gradFill>
                  <a:gsLst>
                    <a:gs pos="0">
                      <a:srgbClr val="BFBFBF"/>
                    </a:gs>
                    <a:gs pos="86000">
                      <a:srgbClr val="BFBFBF"/>
                    </a:gs>
                  </a:gsLst>
                  <a:lin ang="5400000" scaled="0"/>
                </a:gradFill>
              </a:rPr>
              <a:t>SQL Server Express </a:t>
            </a:r>
            <a:r>
              <a:rPr lang="en-US" dirty="0" err="1">
                <a:gradFill>
                  <a:gsLst>
                    <a:gs pos="0">
                      <a:srgbClr val="BFBFBF"/>
                    </a:gs>
                    <a:gs pos="86000">
                      <a:srgbClr val="BFBFBF"/>
                    </a:gs>
                  </a:gsLst>
                  <a:lin ang="5400000" scaled="0"/>
                </a:gradFill>
              </a:rPr>
              <a:t>LocalDB</a:t>
            </a:r>
            <a:endParaRPr lang="en-US" dirty="0">
              <a:gradFill>
                <a:gsLst>
                  <a:gs pos="0">
                    <a:srgbClr val="BFBFBF"/>
                  </a:gs>
                  <a:gs pos="86000">
                    <a:srgbClr val="BFBFBF"/>
                  </a:gs>
                </a:gsLst>
                <a:lin ang="5400000" scaled="0"/>
              </a:gradFill>
            </a:endParaRPr>
          </a:p>
        </p:txBody>
      </p:sp>
      <p:sp>
        <p:nvSpPr>
          <p:cNvPr id="43" name="TextBox 42"/>
          <p:cNvSpPr txBox="1"/>
          <p:nvPr/>
        </p:nvSpPr>
        <p:spPr>
          <a:xfrm>
            <a:off x="3415103" y="2856728"/>
            <a:ext cx="1533271" cy="197362"/>
          </a:xfrm>
          <a:prstGeom prst="rect">
            <a:avLst/>
          </a:prstGeom>
          <a:noFill/>
        </p:spPr>
        <p:txBody>
          <a:bodyPr wrap="none" lIns="0" tIns="0" rIns="0" bIns="0" rtlCol="0">
            <a:spAutoFit/>
          </a:bodyPr>
          <a:lstStyle/>
          <a:p>
            <a:pPr>
              <a:lnSpc>
                <a:spcPct val="90000"/>
              </a:lnSpc>
            </a:pPr>
            <a:r>
              <a:rPr lang="en-US" dirty="0">
                <a:gradFill>
                  <a:gsLst>
                    <a:gs pos="0">
                      <a:srgbClr val="BFBFBF"/>
                    </a:gs>
                    <a:gs pos="86000">
                      <a:srgbClr val="BFBFBF"/>
                    </a:gs>
                  </a:gsLst>
                  <a:lin ang="5400000" scaled="0"/>
                </a:gradFill>
              </a:rPr>
              <a:t>User-defined Audit</a:t>
            </a:r>
          </a:p>
        </p:txBody>
      </p:sp>
      <p:sp>
        <p:nvSpPr>
          <p:cNvPr id="44" name="TextBox 43"/>
          <p:cNvSpPr txBox="1"/>
          <p:nvPr/>
        </p:nvSpPr>
        <p:spPr>
          <a:xfrm>
            <a:off x="241301" y="2094528"/>
            <a:ext cx="1140994" cy="197362"/>
          </a:xfrm>
          <a:prstGeom prst="rect">
            <a:avLst/>
          </a:prstGeom>
          <a:noFill/>
        </p:spPr>
        <p:txBody>
          <a:bodyPr wrap="none" lIns="0" tIns="0" rIns="0" bIns="0" rtlCol="0">
            <a:spAutoFit/>
          </a:bodyPr>
          <a:lstStyle/>
          <a:p>
            <a:pPr>
              <a:lnSpc>
                <a:spcPct val="90000"/>
              </a:lnSpc>
            </a:pPr>
            <a:r>
              <a:rPr lang="en-US" dirty="0">
                <a:gradFill>
                  <a:gsLst>
                    <a:gs pos="0">
                      <a:srgbClr val="BFBFBF"/>
                    </a:gs>
                    <a:gs pos="86000">
                      <a:srgbClr val="BFBFBF"/>
                    </a:gs>
                  </a:gsLst>
                  <a:lin ang="5400000" scaled="0"/>
                </a:gradFill>
              </a:rPr>
              <a:t>Audit Filtering</a:t>
            </a:r>
          </a:p>
        </p:txBody>
      </p:sp>
      <p:sp>
        <p:nvSpPr>
          <p:cNvPr id="45" name="TextBox 44"/>
          <p:cNvSpPr txBox="1"/>
          <p:nvPr/>
        </p:nvSpPr>
        <p:spPr>
          <a:xfrm>
            <a:off x="4855298" y="2532441"/>
            <a:ext cx="1274430" cy="197362"/>
          </a:xfrm>
          <a:prstGeom prst="rect">
            <a:avLst/>
          </a:prstGeom>
          <a:noFill/>
        </p:spPr>
        <p:txBody>
          <a:bodyPr wrap="none" lIns="0" tIns="0" rIns="0" bIns="0" rtlCol="0">
            <a:spAutoFit/>
          </a:bodyPr>
          <a:lstStyle/>
          <a:p>
            <a:pPr>
              <a:lnSpc>
                <a:spcPct val="90000"/>
              </a:lnSpc>
            </a:pPr>
            <a:r>
              <a:rPr lang="en-US" dirty="0">
                <a:gradFill>
                  <a:gsLst>
                    <a:gs pos="0">
                      <a:srgbClr val="BFBFBF"/>
                    </a:gs>
                    <a:gs pos="86000">
                      <a:srgbClr val="BFBFBF"/>
                    </a:gs>
                  </a:gsLst>
                  <a:lin ang="5400000" scaled="0"/>
                </a:gradFill>
              </a:rPr>
              <a:t>Audit Resilience</a:t>
            </a:r>
          </a:p>
        </p:txBody>
      </p:sp>
      <p:sp>
        <p:nvSpPr>
          <p:cNvPr id="46" name="TextBox 45"/>
          <p:cNvSpPr txBox="1"/>
          <p:nvPr/>
        </p:nvSpPr>
        <p:spPr>
          <a:xfrm>
            <a:off x="4619463" y="3272655"/>
            <a:ext cx="2668974" cy="197362"/>
          </a:xfrm>
          <a:prstGeom prst="rect">
            <a:avLst/>
          </a:prstGeom>
          <a:noFill/>
        </p:spPr>
        <p:txBody>
          <a:bodyPr wrap="none" lIns="0" tIns="0" rIns="0" bIns="0" rtlCol="0">
            <a:spAutoFit/>
          </a:bodyPr>
          <a:lstStyle/>
          <a:p>
            <a:pPr>
              <a:lnSpc>
                <a:spcPct val="90000"/>
              </a:lnSpc>
            </a:pPr>
            <a:r>
              <a:rPr lang="en-US" dirty="0">
                <a:gradFill>
                  <a:gsLst>
                    <a:gs pos="0">
                      <a:srgbClr val="BFBFBF"/>
                    </a:gs>
                    <a:gs pos="86000">
                      <a:srgbClr val="BFBFBF"/>
                    </a:gs>
                  </a:gsLst>
                  <a:lin ang="5400000" scaled="0"/>
                </a:gradFill>
              </a:rPr>
              <a:t>FTS Support for Czech and Greek</a:t>
            </a:r>
          </a:p>
        </p:txBody>
      </p:sp>
      <p:sp>
        <p:nvSpPr>
          <p:cNvPr id="47" name="TextBox 46"/>
          <p:cNvSpPr txBox="1"/>
          <p:nvPr/>
        </p:nvSpPr>
        <p:spPr>
          <a:xfrm>
            <a:off x="6341440" y="1324686"/>
            <a:ext cx="2465019" cy="197362"/>
          </a:xfrm>
          <a:prstGeom prst="rect">
            <a:avLst/>
          </a:prstGeom>
          <a:noFill/>
        </p:spPr>
        <p:txBody>
          <a:bodyPr wrap="none" lIns="0" tIns="0" rIns="0" bIns="0" rtlCol="0">
            <a:spAutoFit/>
          </a:bodyPr>
          <a:lstStyle/>
          <a:p>
            <a:pPr>
              <a:lnSpc>
                <a:spcPct val="90000"/>
              </a:lnSpc>
            </a:pPr>
            <a:r>
              <a:rPr lang="en-US" dirty="0" err="1">
                <a:gradFill>
                  <a:gsLst>
                    <a:gs pos="0">
                      <a:srgbClr val="BFBFBF"/>
                    </a:gs>
                    <a:gs pos="86000">
                      <a:srgbClr val="BFBFBF"/>
                    </a:gs>
                  </a:gsLst>
                  <a:lin ang="5400000" scaled="0"/>
                </a:gradFill>
              </a:rPr>
              <a:t>AlwaysOn</a:t>
            </a:r>
            <a:r>
              <a:rPr lang="en-US" dirty="0">
                <a:gradFill>
                  <a:gsLst>
                    <a:gs pos="0">
                      <a:srgbClr val="BFBFBF"/>
                    </a:gs>
                    <a:gs pos="86000">
                      <a:srgbClr val="BFBFBF"/>
                    </a:gs>
                  </a:gsLst>
                  <a:lin ang="5400000" scaled="0"/>
                </a:gradFill>
              </a:rPr>
              <a:t> Connection Director</a:t>
            </a:r>
          </a:p>
        </p:txBody>
      </p:sp>
      <p:sp>
        <p:nvSpPr>
          <p:cNvPr id="48" name="TextBox 47"/>
          <p:cNvSpPr txBox="1"/>
          <p:nvPr/>
        </p:nvSpPr>
        <p:spPr>
          <a:xfrm>
            <a:off x="119846" y="4148747"/>
            <a:ext cx="1449236" cy="197362"/>
          </a:xfrm>
          <a:prstGeom prst="rect">
            <a:avLst/>
          </a:prstGeom>
          <a:noFill/>
        </p:spPr>
        <p:txBody>
          <a:bodyPr wrap="none" lIns="0" tIns="0" rIns="0" bIns="0" rtlCol="0">
            <a:spAutoFit/>
          </a:bodyPr>
          <a:lstStyle/>
          <a:p>
            <a:pPr>
              <a:lnSpc>
                <a:spcPct val="90000"/>
              </a:lnSpc>
            </a:pPr>
            <a:r>
              <a:rPr lang="en-US" dirty="0">
                <a:gradFill>
                  <a:gsLst>
                    <a:gs pos="0">
                      <a:srgbClr val="BFBFBF"/>
                    </a:gs>
                    <a:gs pos="86000">
                      <a:srgbClr val="BFBFBF"/>
                    </a:gs>
                  </a:gsLst>
                  <a:lin ang="5400000" scaled="0"/>
                </a:gradFill>
              </a:rPr>
              <a:t>Ad Hoc Reporting</a:t>
            </a:r>
          </a:p>
        </p:txBody>
      </p:sp>
      <p:sp>
        <p:nvSpPr>
          <p:cNvPr id="49" name="TextBox 48"/>
          <p:cNvSpPr txBox="1"/>
          <p:nvPr/>
        </p:nvSpPr>
        <p:spPr>
          <a:xfrm>
            <a:off x="3709022" y="3997926"/>
            <a:ext cx="1702592" cy="197362"/>
          </a:xfrm>
          <a:prstGeom prst="rect">
            <a:avLst/>
          </a:prstGeom>
          <a:noFill/>
        </p:spPr>
        <p:txBody>
          <a:bodyPr wrap="none" lIns="0" tIns="0" rIns="0" bIns="0" rtlCol="0">
            <a:spAutoFit/>
          </a:bodyPr>
          <a:lstStyle/>
          <a:p>
            <a:pPr>
              <a:lnSpc>
                <a:spcPct val="90000"/>
              </a:lnSpc>
            </a:pPr>
            <a:r>
              <a:rPr lang="en-US" dirty="0">
                <a:gradFill>
                  <a:gsLst>
                    <a:gs pos="0">
                      <a:srgbClr val="BFBFBF"/>
                    </a:gs>
                    <a:gs pos="86000">
                      <a:srgbClr val="BFBFBF"/>
                    </a:gs>
                  </a:gsLst>
                  <a:lin ang="5400000" scaled="0"/>
                </a:gradFill>
              </a:rPr>
              <a:t>SSIS Troubleshooting</a:t>
            </a:r>
          </a:p>
        </p:txBody>
      </p:sp>
      <p:sp>
        <p:nvSpPr>
          <p:cNvPr id="50" name="TextBox 49"/>
          <p:cNvSpPr txBox="1"/>
          <p:nvPr/>
        </p:nvSpPr>
        <p:spPr>
          <a:xfrm>
            <a:off x="2675377" y="4721034"/>
            <a:ext cx="2175585" cy="197362"/>
          </a:xfrm>
          <a:prstGeom prst="rect">
            <a:avLst/>
          </a:prstGeom>
          <a:noFill/>
        </p:spPr>
        <p:txBody>
          <a:bodyPr wrap="none" lIns="0" tIns="0" rIns="0" bIns="0" rtlCol="0">
            <a:spAutoFit/>
          </a:bodyPr>
          <a:lstStyle/>
          <a:p>
            <a:pPr>
              <a:lnSpc>
                <a:spcPct val="90000"/>
              </a:lnSpc>
            </a:pPr>
            <a:r>
              <a:rPr lang="en-US" dirty="0">
                <a:gradFill>
                  <a:gsLst>
                    <a:gs pos="0">
                      <a:srgbClr val="BFBFBF"/>
                    </a:gs>
                    <a:gs pos="86000">
                      <a:srgbClr val="BFBFBF"/>
                    </a:gs>
                  </a:gsLst>
                  <a:lin ang="5400000" scaled="0"/>
                </a:gradFill>
              </a:rPr>
              <a:t>SSIS Package Management</a:t>
            </a:r>
          </a:p>
        </p:txBody>
      </p:sp>
      <p:sp>
        <p:nvSpPr>
          <p:cNvPr id="51" name="TextBox 50"/>
          <p:cNvSpPr txBox="1"/>
          <p:nvPr/>
        </p:nvSpPr>
        <p:spPr>
          <a:xfrm>
            <a:off x="2647719" y="2020301"/>
            <a:ext cx="2572288" cy="197362"/>
          </a:xfrm>
          <a:prstGeom prst="rect">
            <a:avLst/>
          </a:prstGeom>
          <a:noFill/>
        </p:spPr>
        <p:txBody>
          <a:bodyPr wrap="none" lIns="0" tIns="0" rIns="0" bIns="0" rtlCol="0">
            <a:spAutoFit/>
          </a:bodyPr>
          <a:lstStyle/>
          <a:p>
            <a:pPr>
              <a:lnSpc>
                <a:spcPct val="90000"/>
              </a:lnSpc>
            </a:pPr>
            <a:r>
              <a:rPr lang="en-US" dirty="0">
                <a:gradFill>
                  <a:gsLst>
                    <a:gs pos="0">
                      <a:srgbClr val="BFBFBF"/>
                    </a:gs>
                    <a:gs pos="86000">
                      <a:srgbClr val="BFBFBF"/>
                    </a:gs>
                  </a:gsLst>
                  <a:lin ang="5400000" scaled="0"/>
                </a:gradFill>
              </a:rPr>
              <a:t>T-SQL Debugger Enhancements</a:t>
            </a:r>
          </a:p>
        </p:txBody>
      </p:sp>
      <p:sp>
        <p:nvSpPr>
          <p:cNvPr id="52" name="TextBox 51"/>
          <p:cNvSpPr txBox="1"/>
          <p:nvPr/>
        </p:nvSpPr>
        <p:spPr>
          <a:xfrm>
            <a:off x="6971639" y="4234871"/>
            <a:ext cx="1520476" cy="197362"/>
          </a:xfrm>
          <a:prstGeom prst="rect">
            <a:avLst/>
          </a:prstGeom>
          <a:noFill/>
        </p:spPr>
        <p:txBody>
          <a:bodyPr wrap="none" lIns="0" tIns="0" rIns="0" bIns="0" rtlCol="0">
            <a:spAutoFit/>
          </a:bodyPr>
          <a:lstStyle/>
          <a:p>
            <a:pPr>
              <a:lnSpc>
                <a:spcPct val="90000"/>
              </a:lnSpc>
            </a:pPr>
            <a:r>
              <a:rPr lang="en-US" dirty="0">
                <a:gradFill>
                  <a:gsLst>
                    <a:gs pos="0">
                      <a:srgbClr val="BFBFBF"/>
                    </a:gs>
                    <a:gs pos="86000">
                      <a:srgbClr val="BFBFBF"/>
                    </a:gs>
                  </a:gsLst>
                  <a:lin ang="5400000" scaled="0"/>
                </a:gradFill>
              </a:rPr>
              <a:t>Spatial 2D Support</a:t>
            </a:r>
          </a:p>
        </p:txBody>
      </p:sp>
      <p:sp>
        <p:nvSpPr>
          <p:cNvPr id="53" name="TextBox 52"/>
          <p:cNvSpPr txBox="1"/>
          <p:nvPr/>
        </p:nvSpPr>
        <p:spPr>
          <a:xfrm>
            <a:off x="2719651" y="2356125"/>
            <a:ext cx="2545783" cy="197362"/>
          </a:xfrm>
          <a:prstGeom prst="rect">
            <a:avLst/>
          </a:prstGeom>
          <a:noFill/>
        </p:spPr>
        <p:txBody>
          <a:bodyPr wrap="none" lIns="0" tIns="0" rIns="0" bIns="0" rtlCol="0">
            <a:spAutoFit/>
          </a:bodyPr>
          <a:lstStyle/>
          <a:p>
            <a:pPr>
              <a:lnSpc>
                <a:spcPct val="90000"/>
              </a:lnSpc>
            </a:pPr>
            <a:r>
              <a:rPr lang="en-US" dirty="0">
                <a:gradFill>
                  <a:gsLst>
                    <a:gs pos="0">
                      <a:srgbClr val="BFBFBF"/>
                    </a:gs>
                    <a:gs pos="86000">
                      <a:srgbClr val="BFBFBF"/>
                    </a:gs>
                  </a:gsLst>
                  <a:lin ang="5400000" scaled="0"/>
                </a:gradFill>
              </a:rPr>
              <a:t>Unstructured Data Performance</a:t>
            </a:r>
          </a:p>
        </p:txBody>
      </p:sp>
      <p:sp>
        <p:nvSpPr>
          <p:cNvPr id="54"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55"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
              </a:rPr>
              <a:t>www.rapidbbs.cn</a:t>
            </a:r>
            <a:endParaRPr lang="zh-CN" altLang="en-US" sz="1200" b="0">
              <a:latin typeface="Arial" charset="0"/>
              <a:ea typeface="ＭＳ Ｐゴシック" pitchFamily="34" charset="-128"/>
            </a:endParaRPr>
          </a:p>
        </p:txBody>
      </p:sp>
      <p:pic>
        <p:nvPicPr>
          <p:cNvPr id="56" name="Picture 2">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376040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500"/>
                                        <p:tgtEl>
                                          <p:spTgt spid="4"/>
                                        </p:tgtEl>
                                      </p:cBhvr>
                                    </p:animEffect>
                                    <p:anim calcmode="lin" valueType="num">
                                      <p:cBhvr>
                                        <p:cTn id="8" dur="1500" fill="hold"/>
                                        <p:tgtEl>
                                          <p:spTgt spid="4"/>
                                        </p:tgtEl>
                                        <p:attrNameLst>
                                          <p:attrName>ppt_x</p:attrName>
                                        </p:attrNameLst>
                                      </p:cBhvr>
                                      <p:tavLst>
                                        <p:tav tm="0">
                                          <p:val>
                                            <p:strVal val="#ppt_x"/>
                                          </p:val>
                                        </p:tav>
                                        <p:tav tm="100000">
                                          <p:val>
                                            <p:strVal val="#ppt_x"/>
                                          </p:val>
                                        </p:tav>
                                      </p:tavLst>
                                    </p:anim>
                                    <p:anim calcmode="lin" valueType="num">
                                      <p:cBhvr>
                                        <p:cTn id="9" dur="1500" fill="hold"/>
                                        <p:tgtEl>
                                          <p:spTgt spid="4"/>
                                        </p:tgtEl>
                                        <p:attrNameLst>
                                          <p:attrName>ppt_y</p:attrName>
                                        </p:attrNameLst>
                                      </p:cBhvr>
                                      <p:tavLst>
                                        <p:tav tm="0">
                                          <p:val>
                                            <p:strVal val="#ppt_y+.1"/>
                                          </p:val>
                                        </p:tav>
                                        <p:tav tm="100000">
                                          <p:val>
                                            <p:strVal val="#ppt_y"/>
                                          </p:val>
                                        </p:tav>
                                      </p:tavLst>
                                    </p:anim>
                                  </p:childTnLst>
                                </p:cTn>
                              </p:par>
                              <p:par>
                                <p:cTn id="10" presetID="47" presetClass="entr" presetSubtype="0" fill="hold" grpId="0" nodeType="withEffect">
                                  <p:stCondLst>
                                    <p:cond delay="100"/>
                                  </p:stCondLst>
                                  <p:childTnLst>
                                    <p:set>
                                      <p:cBhvr>
                                        <p:cTn id="11" dur="1" fill="hold">
                                          <p:stCondLst>
                                            <p:cond delay="0"/>
                                          </p:stCondLst>
                                        </p:cTn>
                                        <p:tgtEl>
                                          <p:spTgt spid="26"/>
                                        </p:tgtEl>
                                        <p:attrNameLst>
                                          <p:attrName>style.visibility</p:attrName>
                                        </p:attrNameLst>
                                      </p:cBhvr>
                                      <p:to>
                                        <p:strVal val="visible"/>
                                      </p:to>
                                    </p:set>
                                    <p:animEffect transition="in" filter="fade">
                                      <p:cBhvr>
                                        <p:cTn id="12" dur="1000"/>
                                        <p:tgtEl>
                                          <p:spTgt spid="26"/>
                                        </p:tgtEl>
                                      </p:cBhvr>
                                    </p:animEffect>
                                    <p:anim calcmode="lin" valueType="num">
                                      <p:cBhvr>
                                        <p:cTn id="13" dur="1000" fill="hold"/>
                                        <p:tgtEl>
                                          <p:spTgt spid="26"/>
                                        </p:tgtEl>
                                        <p:attrNameLst>
                                          <p:attrName>ppt_x</p:attrName>
                                        </p:attrNameLst>
                                      </p:cBhvr>
                                      <p:tavLst>
                                        <p:tav tm="0">
                                          <p:val>
                                            <p:strVal val="#ppt_x"/>
                                          </p:val>
                                        </p:tav>
                                        <p:tav tm="100000">
                                          <p:val>
                                            <p:strVal val="#ppt_x"/>
                                          </p:val>
                                        </p:tav>
                                      </p:tavLst>
                                    </p:anim>
                                    <p:anim calcmode="lin" valueType="num">
                                      <p:cBhvr>
                                        <p:cTn id="14" dur="1000" fill="hold"/>
                                        <p:tgtEl>
                                          <p:spTgt spid="26"/>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200"/>
                                  </p:stCondLst>
                                  <p:childTnLst>
                                    <p:set>
                                      <p:cBhvr>
                                        <p:cTn id="16" dur="1" fill="hold">
                                          <p:stCondLst>
                                            <p:cond delay="0"/>
                                          </p:stCondLst>
                                        </p:cTn>
                                        <p:tgtEl>
                                          <p:spTgt spid="31"/>
                                        </p:tgtEl>
                                        <p:attrNameLst>
                                          <p:attrName>style.visibility</p:attrName>
                                        </p:attrNameLst>
                                      </p:cBhvr>
                                      <p:to>
                                        <p:strVal val="visible"/>
                                      </p:to>
                                    </p:set>
                                    <p:animEffect transition="in" filter="fade">
                                      <p:cBhvr>
                                        <p:cTn id="17" dur="500"/>
                                        <p:tgtEl>
                                          <p:spTgt spid="31"/>
                                        </p:tgtEl>
                                      </p:cBhvr>
                                    </p:animEffect>
                                    <p:anim calcmode="lin" valueType="num">
                                      <p:cBhvr>
                                        <p:cTn id="18" dur="500" fill="hold"/>
                                        <p:tgtEl>
                                          <p:spTgt spid="31"/>
                                        </p:tgtEl>
                                        <p:attrNameLst>
                                          <p:attrName>ppt_x</p:attrName>
                                        </p:attrNameLst>
                                      </p:cBhvr>
                                      <p:tavLst>
                                        <p:tav tm="0">
                                          <p:val>
                                            <p:strVal val="#ppt_x"/>
                                          </p:val>
                                        </p:tav>
                                        <p:tav tm="100000">
                                          <p:val>
                                            <p:strVal val="#ppt_x"/>
                                          </p:val>
                                        </p:tav>
                                      </p:tavLst>
                                    </p:anim>
                                    <p:anim calcmode="lin" valueType="num">
                                      <p:cBhvr>
                                        <p:cTn id="19" dur="500" fill="hold"/>
                                        <p:tgtEl>
                                          <p:spTgt spid="31"/>
                                        </p:tgtEl>
                                        <p:attrNameLst>
                                          <p:attrName>ppt_y</p:attrName>
                                        </p:attrNameLst>
                                      </p:cBhvr>
                                      <p:tavLst>
                                        <p:tav tm="0">
                                          <p:val>
                                            <p:strVal val="#ppt_y+.1"/>
                                          </p:val>
                                        </p:tav>
                                        <p:tav tm="100000">
                                          <p:val>
                                            <p:strVal val="#ppt_y"/>
                                          </p:val>
                                        </p:tav>
                                      </p:tavLst>
                                    </p:anim>
                                  </p:childTnLst>
                                </p:cTn>
                              </p:par>
                              <p:par>
                                <p:cTn id="20" presetID="47" presetClass="entr" presetSubtype="0" fill="hold" grpId="0" nodeType="withEffect">
                                  <p:stCondLst>
                                    <p:cond delay="300"/>
                                  </p:stCondLst>
                                  <p:childTnLst>
                                    <p:set>
                                      <p:cBhvr>
                                        <p:cTn id="21" dur="1" fill="hold">
                                          <p:stCondLst>
                                            <p:cond delay="0"/>
                                          </p:stCondLst>
                                        </p:cTn>
                                        <p:tgtEl>
                                          <p:spTgt spid="32"/>
                                        </p:tgtEl>
                                        <p:attrNameLst>
                                          <p:attrName>style.visibility</p:attrName>
                                        </p:attrNameLst>
                                      </p:cBhvr>
                                      <p:to>
                                        <p:strVal val="visible"/>
                                      </p:to>
                                    </p:set>
                                    <p:animEffect transition="in" filter="fade">
                                      <p:cBhvr>
                                        <p:cTn id="22" dur="1000"/>
                                        <p:tgtEl>
                                          <p:spTgt spid="32"/>
                                        </p:tgtEl>
                                      </p:cBhvr>
                                    </p:animEffect>
                                    <p:anim calcmode="lin" valueType="num">
                                      <p:cBhvr>
                                        <p:cTn id="23" dur="1000" fill="hold"/>
                                        <p:tgtEl>
                                          <p:spTgt spid="32"/>
                                        </p:tgtEl>
                                        <p:attrNameLst>
                                          <p:attrName>ppt_x</p:attrName>
                                        </p:attrNameLst>
                                      </p:cBhvr>
                                      <p:tavLst>
                                        <p:tav tm="0">
                                          <p:val>
                                            <p:strVal val="#ppt_x"/>
                                          </p:val>
                                        </p:tav>
                                        <p:tav tm="100000">
                                          <p:val>
                                            <p:strVal val="#ppt_x"/>
                                          </p:val>
                                        </p:tav>
                                      </p:tavLst>
                                    </p:anim>
                                    <p:anim calcmode="lin" valueType="num">
                                      <p:cBhvr>
                                        <p:cTn id="24" dur="1000" fill="hold"/>
                                        <p:tgtEl>
                                          <p:spTgt spid="32"/>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40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1000"/>
                                        <p:tgtEl>
                                          <p:spTgt spid="5"/>
                                        </p:tgtEl>
                                      </p:cBhvr>
                                    </p:animEffect>
                                    <p:anim calcmode="lin" valueType="num">
                                      <p:cBhvr>
                                        <p:cTn id="28" dur="1000" fill="hold"/>
                                        <p:tgtEl>
                                          <p:spTgt spid="5"/>
                                        </p:tgtEl>
                                        <p:attrNameLst>
                                          <p:attrName>ppt_x</p:attrName>
                                        </p:attrNameLst>
                                      </p:cBhvr>
                                      <p:tavLst>
                                        <p:tav tm="0">
                                          <p:val>
                                            <p:strVal val="#ppt_x"/>
                                          </p:val>
                                        </p:tav>
                                        <p:tav tm="100000">
                                          <p:val>
                                            <p:strVal val="#ppt_x"/>
                                          </p:val>
                                        </p:tav>
                                      </p:tavLst>
                                    </p:anim>
                                    <p:anim calcmode="lin" valueType="num">
                                      <p:cBhvr>
                                        <p:cTn id="29" dur="1000" fill="hold"/>
                                        <p:tgtEl>
                                          <p:spTgt spid="5"/>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500"/>
                                  </p:stCondLst>
                                  <p:childTnLst>
                                    <p:set>
                                      <p:cBhvr>
                                        <p:cTn id="31" dur="1" fill="hold">
                                          <p:stCondLst>
                                            <p:cond delay="0"/>
                                          </p:stCondLst>
                                        </p:cTn>
                                        <p:tgtEl>
                                          <p:spTgt spid="6"/>
                                        </p:tgtEl>
                                        <p:attrNameLst>
                                          <p:attrName>style.visibility</p:attrName>
                                        </p:attrNameLst>
                                      </p:cBhvr>
                                      <p:to>
                                        <p:strVal val="visible"/>
                                      </p:to>
                                    </p:set>
                                    <p:animEffect transition="in" filter="fade">
                                      <p:cBhvr>
                                        <p:cTn id="32" dur="500"/>
                                        <p:tgtEl>
                                          <p:spTgt spid="6"/>
                                        </p:tgtEl>
                                      </p:cBhvr>
                                    </p:animEffect>
                                    <p:anim calcmode="lin" valueType="num">
                                      <p:cBhvr>
                                        <p:cTn id="33" dur="500" fill="hold"/>
                                        <p:tgtEl>
                                          <p:spTgt spid="6"/>
                                        </p:tgtEl>
                                        <p:attrNameLst>
                                          <p:attrName>ppt_x</p:attrName>
                                        </p:attrNameLst>
                                      </p:cBhvr>
                                      <p:tavLst>
                                        <p:tav tm="0">
                                          <p:val>
                                            <p:strVal val="#ppt_x"/>
                                          </p:val>
                                        </p:tav>
                                        <p:tav tm="100000">
                                          <p:val>
                                            <p:strVal val="#ppt_x"/>
                                          </p:val>
                                        </p:tav>
                                      </p:tavLst>
                                    </p:anim>
                                    <p:anim calcmode="lin" valueType="num">
                                      <p:cBhvr>
                                        <p:cTn id="34" dur="500" fill="hold"/>
                                        <p:tgtEl>
                                          <p:spTgt spid="6"/>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600"/>
                                  </p:stCondLst>
                                  <p:childTnLst>
                                    <p:set>
                                      <p:cBhvr>
                                        <p:cTn id="36" dur="1" fill="hold">
                                          <p:stCondLst>
                                            <p:cond delay="0"/>
                                          </p:stCondLst>
                                        </p:cTn>
                                        <p:tgtEl>
                                          <p:spTgt spid="7"/>
                                        </p:tgtEl>
                                        <p:attrNameLst>
                                          <p:attrName>style.visibility</p:attrName>
                                        </p:attrNameLst>
                                      </p:cBhvr>
                                      <p:to>
                                        <p:strVal val="visible"/>
                                      </p:to>
                                    </p:set>
                                    <p:animEffect transition="in" filter="fade">
                                      <p:cBhvr>
                                        <p:cTn id="37" dur="1000"/>
                                        <p:tgtEl>
                                          <p:spTgt spid="7"/>
                                        </p:tgtEl>
                                      </p:cBhvr>
                                    </p:animEffect>
                                    <p:anim calcmode="lin" valueType="num">
                                      <p:cBhvr>
                                        <p:cTn id="38" dur="1000" fill="hold"/>
                                        <p:tgtEl>
                                          <p:spTgt spid="7"/>
                                        </p:tgtEl>
                                        <p:attrNameLst>
                                          <p:attrName>ppt_x</p:attrName>
                                        </p:attrNameLst>
                                      </p:cBhvr>
                                      <p:tavLst>
                                        <p:tav tm="0">
                                          <p:val>
                                            <p:strVal val="#ppt_x"/>
                                          </p:val>
                                        </p:tav>
                                        <p:tav tm="100000">
                                          <p:val>
                                            <p:strVal val="#ppt_x"/>
                                          </p:val>
                                        </p:tav>
                                      </p:tavLst>
                                    </p:anim>
                                    <p:anim calcmode="lin" valueType="num">
                                      <p:cBhvr>
                                        <p:cTn id="39" dur="1000" fill="hold"/>
                                        <p:tgtEl>
                                          <p:spTgt spid="7"/>
                                        </p:tgtEl>
                                        <p:attrNameLst>
                                          <p:attrName>ppt_y</p:attrName>
                                        </p:attrNameLst>
                                      </p:cBhvr>
                                      <p:tavLst>
                                        <p:tav tm="0">
                                          <p:val>
                                            <p:strVal val="#ppt_y+.1"/>
                                          </p:val>
                                        </p:tav>
                                        <p:tav tm="100000">
                                          <p:val>
                                            <p:strVal val="#ppt_y"/>
                                          </p:val>
                                        </p:tav>
                                      </p:tavLst>
                                    </p:anim>
                                  </p:childTnLst>
                                </p:cTn>
                              </p:par>
                              <p:par>
                                <p:cTn id="40" presetID="47" presetClass="entr" presetSubtype="0" fill="hold" grpId="0" nodeType="withEffect">
                                  <p:stCondLst>
                                    <p:cond delay="700"/>
                                  </p:stCondLst>
                                  <p:childTnLst>
                                    <p:set>
                                      <p:cBhvr>
                                        <p:cTn id="41" dur="1" fill="hold">
                                          <p:stCondLst>
                                            <p:cond delay="0"/>
                                          </p:stCondLst>
                                        </p:cTn>
                                        <p:tgtEl>
                                          <p:spTgt spid="45"/>
                                        </p:tgtEl>
                                        <p:attrNameLst>
                                          <p:attrName>style.visibility</p:attrName>
                                        </p:attrNameLst>
                                      </p:cBhvr>
                                      <p:to>
                                        <p:strVal val="visible"/>
                                      </p:to>
                                    </p:set>
                                    <p:animEffect transition="in" filter="fade">
                                      <p:cBhvr>
                                        <p:cTn id="42" dur="1000"/>
                                        <p:tgtEl>
                                          <p:spTgt spid="45"/>
                                        </p:tgtEl>
                                      </p:cBhvr>
                                    </p:animEffect>
                                    <p:anim calcmode="lin" valueType="num">
                                      <p:cBhvr>
                                        <p:cTn id="43" dur="1000" fill="hold"/>
                                        <p:tgtEl>
                                          <p:spTgt spid="45"/>
                                        </p:tgtEl>
                                        <p:attrNameLst>
                                          <p:attrName>ppt_x</p:attrName>
                                        </p:attrNameLst>
                                      </p:cBhvr>
                                      <p:tavLst>
                                        <p:tav tm="0">
                                          <p:val>
                                            <p:strVal val="#ppt_x"/>
                                          </p:val>
                                        </p:tav>
                                        <p:tav tm="100000">
                                          <p:val>
                                            <p:strVal val="#ppt_x"/>
                                          </p:val>
                                        </p:tav>
                                      </p:tavLst>
                                    </p:anim>
                                    <p:anim calcmode="lin" valueType="num">
                                      <p:cBhvr>
                                        <p:cTn id="44" dur="1000" fill="hold"/>
                                        <p:tgtEl>
                                          <p:spTgt spid="45"/>
                                        </p:tgtEl>
                                        <p:attrNameLst>
                                          <p:attrName>ppt_y</p:attrName>
                                        </p:attrNameLst>
                                      </p:cBhvr>
                                      <p:tavLst>
                                        <p:tav tm="0">
                                          <p:val>
                                            <p:strVal val="#ppt_y-.1"/>
                                          </p:val>
                                        </p:tav>
                                        <p:tav tm="100000">
                                          <p:val>
                                            <p:strVal val="#ppt_y"/>
                                          </p:val>
                                        </p:tav>
                                      </p:tavLst>
                                    </p:anim>
                                  </p:childTnLst>
                                </p:cTn>
                              </p:par>
                              <p:par>
                                <p:cTn id="45" presetID="42" presetClass="entr" presetSubtype="0" fill="hold" grpId="0" nodeType="withEffect">
                                  <p:stCondLst>
                                    <p:cond delay="800"/>
                                  </p:stCondLst>
                                  <p:childTnLst>
                                    <p:set>
                                      <p:cBhvr>
                                        <p:cTn id="46" dur="1" fill="hold">
                                          <p:stCondLst>
                                            <p:cond delay="0"/>
                                          </p:stCondLst>
                                        </p:cTn>
                                        <p:tgtEl>
                                          <p:spTgt spid="46"/>
                                        </p:tgtEl>
                                        <p:attrNameLst>
                                          <p:attrName>style.visibility</p:attrName>
                                        </p:attrNameLst>
                                      </p:cBhvr>
                                      <p:to>
                                        <p:strVal val="visible"/>
                                      </p:to>
                                    </p:set>
                                    <p:animEffect transition="in" filter="fade">
                                      <p:cBhvr>
                                        <p:cTn id="47" dur="1500"/>
                                        <p:tgtEl>
                                          <p:spTgt spid="46"/>
                                        </p:tgtEl>
                                      </p:cBhvr>
                                    </p:animEffect>
                                    <p:anim calcmode="lin" valueType="num">
                                      <p:cBhvr>
                                        <p:cTn id="48" dur="1500" fill="hold"/>
                                        <p:tgtEl>
                                          <p:spTgt spid="46"/>
                                        </p:tgtEl>
                                        <p:attrNameLst>
                                          <p:attrName>ppt_x</p:attrName>
                                        </p:attrNameLst>
                                      </p:cBhvr>
                                      <p:tavLst>
                                        <p:tav tm="0">
                                          <p:val>
                                            <p:strVal val="#ppt_x"/>
                                          </p:val>
                                        </p:tav>
                                        <p:tav tm="100000">
                                          <p:val>
                                            <p:strVal val="#ppt_x"/>
                                          </p:val>
                                        </p:tav>
                                      </p:tavLst>
                                    </p:anim>
                                    <p:anim calcmode="lin" valueType="num">
                                      <p:cBhvr>
                                        <p:cTn id="49" dur="1500" fill="hold"/>
                                        <p:tgtEl>
                                          <p:spTgt spid="46"/>
                                        </p:tgtEl>
                                        <p:attrNameLst>
                                          <p:attrName>ppt_y</p:attrName>
                                        </p:attrNameLst>
                                      </p:cBhvr>
                                      <p:tavLst>
                                        <p:tav tm="0">
                                          <p:val>
                                            <p:strVal val="#ppt_y+.1"/>
                                          </p:val>
                                        </p:tav>
                                        <p:tav tm="100000">
                                          <p:val>
                                            <p:strVal val="#ppt_y"/>
                                          </p:val>
                                        </p:tav>
                                      </p:tavLst>
                                    </p:anim>
                                  </p:childTnLst>
                                </p:cTn>
                              </p:par>
                              <p:par>
                                <p:cTn id="50" presetID="42" presetClass="entr" presetSubtype="0" fill="hold" grpId="0" nodeType="withEffect">
                                  <p:stCondLst>
                                    <p:cond delay="900"/>
                                  </p:stCondLst>
                                  <p:childTnLst>
                                    <p:set>
                                      <p:cBhvr>
                                        <p:cTn id="51" dur="1" fill="hold">
                                          <p:stCondLst>
                                            <p:cond delay="0"/>
                                          </p:stCondLst>
                                        </p:cTn>
                                        <p:tgtEl>
                                          <p:spTgt spid="47"/>
                                        </p:tgtEl>
                                        <p:attrNameLst>
                                          <p:attrName>style.visibility</p:attrName>
                                        </p:attrNameLst>
                                      </p:cBhvr>
                                      <p:to>
                                        <p:strVal val="visible"/>
                                      </p:to>
                                    </p:set>
                                    <p:animEffect transition="in" filter="fade">
                                      <p:cBhvr>
                                        <p:cTn id="52" dur="1000"/>
                                        <p:tgtEl>
                                          <p:spTgt spid="47"/>
                                        </p:tgtEl>
                                      </p:cBhvr>
                                    </p:animEffect>
                                    <p:anim calcmode="lin" valueType="num">
                                      <p:cBhvr>
                                        <p:cTn id="53" dur="1000" fill="hold"/>
                                        <p:tgtEl>
                                          <p:spTgt spid="47"/>
                                        </p:tgtEl>
                                        <p:attrNameLst>
                                          <p:attrName>ppt_x</p:attrName>
                                        </p:attrNameLst>
                                      </p:cBhvr>
                                      <p:tavLst>
                                        <p:tav tm="0">
                                          <p:val>
                                            <p:strVal val="#ppt_x"/>
                                          </p:val>
                                        </p:tav>
                                        <p:tav tm="100000">
                                          <p:val>
                                            <p:strVal val="#ppt_x"/>
                                          </p:val>
                                        </p:tav>
                                      </p:tavLst>
                                    </p:anim>
                                    <p:anim calcmode="lin" valueType="num">
                                      <p:cBhvr>
                                        <p:cTn id="54" dur="1000" fill="hold"/>
                                        <p:tgtEl>
                                          <p:spTgt spid="47"/>
                                        </p:tgtEl>
                                        <p:attrNameLst>
                                          <p:attrName>ppt_y</p:attrName>
                                        </p:attrNameLst>
                                      </p:cBhvr>
                                      <p:tavLst>
                                        <p:tav tm="0">
                                          <p:val>
                                            <p:strVal val="#ppt_y+.1"/>
                                          </p:val>
                                        </p:tav>
                                        <p:tav tm="100000">
                                          <p:val>
                                            <p:strVal val="#ppt_y"/>
                                          </p:val>
                                        </p:tav>
                                      </p:tavLst>
                                    </p:anim>
                                  </p:childTnLst>
                                </p:cTn>
                              </p:par>
                              <p:par>
                                <p:cTn id="55" presetID="47" presetClass="entr" presetSubtype="0" fill="hold" grpId="0" nodeType="withEffect">
                                  <p:stCondLst>
                                    <p:cond delay="1000"/>
                                  </p:stCondLst>
                                  <p:childTnLst>
                                    <p:set>
                                      <p:cBhvr>
                                        <p:cTn id="56" dur="1" fill="hold">
                                          <p:stCondLst>
                                            <p:cond delay="0"/>
                                          </p:stCondLst>
                                        </p:cTn>
                                        <p:tgtEl>
                                          <p:spTgt spid="48"/>
                                        </p:tgtEl>
                                        <p:attrNameLst>
                                          <p:attrName>style.visibility</p:attrName>
                                        </p:attrNameLst>
                                      </p:cBhvr>
                                      <p:to>
                                        <p:strVal val="visible"/>
                                      </p:to>
                                    </p:set>
                                    <p:animEffect transition="in" filter="fade">
                                      <p:cBhvr>
                                        <p:cTn id="57" dur="1000"/>
                                        <p:tgtEl>
                                          <p:spTgt spid="48"/>
                                        </p:tgtEl>
                                      </p:cBhvr>
                                    </p:animEffect>
                                    <p:anim calcmode="lin" valueType="num">
                                      <p:cBhvr>
                                        <p:cTn id="58" dur="1000" fill="hold"/>
                                        <p:tgtEl>
                                          <p:spTgt spid="48"/>
                                        </p:tgtEl>
                                        <p:attrNameLst>
                                          <p:attrName>ppt_x</p:attrName>
                                        </p:attrNameLst>
                                      </p:cBhvr>
                                      <p:tavLst>
                                        <p:tav tm="0">
                                          <p:val>
                                            <p:strVal val="#ppt_x"/>
                                          </p:val>
                                        </p:tav>
                                        <p:tav tm="100000">
                                          <p:val>
                                            <p:strVal val="#ppt_x"/>
                                          </p:val>
                                        </p:tav>
                                      </p:tavLst>
                                    </p:anim>
                                    <p:anim calcmode="lin" valueType="num">
                                      <p:cBhvr>
                                        <p:cTn id="59" dur="1000" fill="hold"/>
                                        <p:tgtEl>
                                          <p:spTgt spid="48"/>
                                        </p:tgtEl>
                                        <p:attrNameLst>
                                          <p:attrName>ppt_y</p:attrName>
                                        </p:attrNameLst>
                                      </p:cBhvr>
                                      <p:tavLst>
                                        <p:tav tm="0">
                                          <p:val>
                                            <p:strVal val="#ppt_y-.1"/>
                                          </p:val>
                                        </p:tav>
                                        <p:tav tm="100000">
                                          <p:val>
                                            <p:strVal val="#ppt_y"/>
                                          </p:val>
                                        </p:tav>
                                      </p:tavLst>
                                    </p:anim>
                                  </p:childTnLst>
                                </p:cTn>
                              </p:par>
                              <p:par>
                                <p:cTn id="60" presetID="42" presetClass="entr" presetSubtype="0" fill="hold" grpId="0" nodeType="withEffect">
                                  <p:stCondLst>
                                    <p:cond delay="1100"/>
                                  </p:stCondLst>
                                  <p:childTnLst>
                                    <p:set>
                                      <p:cBhvr>
                                        <p:cTn id="61" dur="1" fill="hold">
                                          <p:stCondLst>
                                            <p:cond delay="0"/>
                                          </p:stCondLst>
                                        </p:cTn>
                                        <p:tgtEl>
                                          <p:spTgt spid="49"/>
                                        </p:tgtEl>
                                        <p:attrNameLst>
                                          <p:attrName>style.visibility</p:attrName>
                                        </p:attrNameLst>
                                      </p:cBhvr>
                                      <p:to>
                                        <p:strVal val="visible"/>
                                      </p:to>
                                    </p:set>
                                    <p:animEffect transition="in" filter="fade">
                                      <p:cBhvr>
                                        <p:cTn id="62" dur="1000"/>
                                        <p:tgtEl>
                                          <p:spTgt spid="49"/>
                                        </p:tgtEl>
                                      </p:cBhvr>
                                    </p:animEffect>
                                    <p:anim calcmode="lin" valueType="num">
                                      <p:cBhvr>
                                        <p:cTn id="63" dur="1000" fill="hold"/>
                                        <p:tgtEl>
                                          <p:spTgt spid="49"/>
                                        </p:tgtEl>
                                        <p:attrNameLst>
                                          <p:attrName>ppt_x</p:attrName>
                                        </p:attrNameLst>
                                      </p:cBhvr>
                                      <p:tavLst>
                                        <p:tav tm="0">
                                          <p:val>
                                            <p:strVal val="#ppt_x"/>
                                          </p:val>
                                        </p:tav>
                                        <p:tav tm="100000">
                                          <p:val>
                                            <p:strVal val="#ppt_x"/>
                                          </p:val>
                                        </p:tav>
                                      </p:tavLst>
                                    </p:anim>
                                    <p:anim calcmode="lin" valueType="num">
                                      <p:cBhvr>
                                        <p:cTn id="64" dur="1000" fill="hold"/>
                                        <p:tgtEl>
                                          <p:spTgt spid="49"/>
                                        </p:tgtEl>
                                        <p:attrNameLst>
                                          <p:attrName>ppt_y</p:attrName>
                                        </p:attrNameLst>
                                      </p:cBhvr>
                                      <p:tavLst>
                                        <p:tav tm="0">
                                          <p:val>
                                            <p:strVal val="#ppt_y+.1"/>
                                          </p:val>
                                        </p:tav>
                                        <p:tav tm="100000">
                                          <p:val>
                                            <p:strVal val="#ppt_y"/>
                                          </p:val>
                                        </p:tav>
                                      </p:tavLst>
                                    </p:anim>
                                  </p:childTnLst>
                                </p:cTn>
                              </p:par>
                              <p:par>
                                <p:cTn id="65" presetID="42" presetClass="entr" presetSubtype="0" fill="hold" grpId="0" nodeType="withEffect">
                                  <p:stCondLst>
                                    <p:cond delay="1200"/>
                                  </p:stCondLst>
                                  <p:childTnLst>
                                    <p:set>
                                      <p:cBhvr>
                                        <p:cTn id="66" dur="1" fill="hold">
                                          <p:stCondLst>
                                            <p:cond delay="0"/>
                                          </p:stCondLst>
                                        </p:cTn>
                                        <p:tgtEl>
                                          <p:spTgt spid="50"/>
                                        </p:tgtEl>
                                        <p:attrNameLst>
                                          <p:attrName>style.visibility</p:attrName>
                                        </p:attrNameLst>
                                      </p:cBhvr>
                                      <p:to>
                                        <p:strVal val="visible"/>
                                      </p:to>
                                    </p:set>
                                    <p:animEffect transition="in" filter="fade">
                                      <p:cBhvr>
                                        <p:cTn id="67" dur="500"/>
                                        <p:tgtEl>
                                          <p:spTgt spid="50"/>
                                        </p:tgtEl>
                                      </p:cBhvr>
                                    </p:animEffect>
                                    <p:anim calcmode="lin" valueType="num">
                                      <p:cBhvr>
                                        <p:cTn id="68" dur="500" fill="hold"/>
                                        <p:tgtEl>
                                          <p:spTgt spid="50"/>
                                        </p:tgtEl>
                                        <p:attrNameLst>
                                          <p:attrName>ppt_x</p:attrName>
                                        </p:attrNameLst>
                                      </p:cBhvr>
                                      <p:tavLst>
                                        <p:tav tm="0">
                                          <p:val>
                                            <p:strVal val="#ppt_x"/>
                                          </p:val>
                                        </p:tav>
                                        <p:tav tm="100000">
                                          <p:val>
                                            <p:strVal val="#ppt_x"/>
                                          </p:val>
                                        </p:tav>
                                      </p:tavLst>
                                    </p:anim>
                                    <p:anim calcmode="lin" valueType="num">
                                      <p:cBhvr>
                                        <p:cTn id="69" dur="500" fill="hold"/>
                                        <p:tgtEl>
                                          <p:spTgt spid="50"/>
                                        </p:tgtEl>
                                        <p:attrNameLst>
                                          <p:attrName>ppt_y</p:attrName>
                                        </p:attrNameLst>
                                      </p:cBhvr>
                                      <p:tavLst>
                                        <p:tav tm="0">
                                          <p:val>
                                            <p:strVal val="#ppt_y+.1"/>
                                          </p:val>
                                        </p:tav>
                                        <p:tav tm="100000">
                                          <p:val>
                                            <p:strVal val="#ppt_y"/>
                                          </p:val>
                                        </p:tav>
                                      </p:tavLst>
                                    </p:anim>
                                  </p:childTnLst>
                                </p:cTn>
                              </p:par>
                              <p:par>
                                <p:cTn id="70" presetID="47" presetClass="entr" presetSubtype="0" fill="hold" grpId="0" nodeType="withEffect">
                                  <p:stCondLst>
                                    <p:cond delay="1300"/>
                                  </p:stCondLst>
                                  <p:childTnLst>
                                    <p:set>
                                      <p:cBhvr>
                                        <p:cTn id="71" dur="1" fill="hold">
                                          <p:stCondLst>
                                            <p:cond delay="0"/>
                                          </p:stCondLst>
                                        </p:cTn>
                                        <p:tgtEl>
                                          <p:spTgt spid="51"/>
                                        </p:tgtEl>
                                        <p:attrNameLst>
                                          <p:attrName>style.visibility</p:attrName>
                                        </p:attrNameLst>
                                      </p:cBhvr>
                                      <p:to>
                                        <p:strVal val="visible"/>
                                      </p:to>
                                    </p:set>
                                    <p:animEffect transition="in" filter="fade">
                                      <p:cBhvr>
                                        <p:cTn id="72" dur="1000"/>
                                        <p:tgtEl>
                                          <p:spTgt spid="51"/>
                                        </p:tgtEl>
                                      </p:cBhvr>
                                    </p:animEffect>
                                    <p:anim calcmode="lin" valueType="num">
                                      <p:cBhvr>
                                        <p:cTn id="73" dur="1000" fill="hold"/>
                                        <p:tgtEl>
                                          <p:spTgt spid="51"/>
                                        </p:tgtEl>
                                        <p:attrNameLst>
                                          <p:attrName>ppt_x</p:attrName>
                                        </p:attrNameLst>
                                      </p:cBhvr>
                                      <p:tavLst>
                                        <p:tav tm="0">
                                          <p:val>
                                            <p:strVal val="#ppt_x"/>
                                          </p:val>
                                        </p:tav>
                                        <p:tav tm="100000">
                                          <p:val>
                                            <p:strVal val="#ppt_x"/>
                                          </p:val>
                                        </p:tav>
                                      </p:tavLst>
                                    </p:anim>
                                    <p:anim calcmode="lin" valueType="num">
                                      <p:cBhvr>
                                        <p:cTn id="74" dur="1000" fill="hold"/>
                                        <p:tgtEl>
                                          <p:spTgt spid="51"/>
                                        </p:tgtEl>
                                        <p:attrNameLst>
                                          <p:attrName>ppt_y</p:attrName>
                                        </p:attrNameLst>
                                      </p:cBhvr>
                                      <p:tavLst>
                                        <p:tav tm="0">
                                          <p:val>
                                            <p:strVal val="#ppt_y-.1"/>
                                          </p:val>
                                        </p:tav>
                                        <p:tav tm="100000">
                                          <p:val>
                                            <p:strVal val="#ppt_y"/>
                                          </p:val>
                                        </p:tav>
                                      </p:tavLst>
                                    </p:anim>
                                  </p:childTnLst>
                                </p:cTn>
                              </p:par>
                              <p:par>
                                <p:cTn id="75" presetID="42" presetClass="entr" presetSubtype="0" fill="hold" grpId="0" nodeType="withEffect">
                                  <p:stCondLst>
                                    <p:cond delay="1400"/>
                                  </p:stCondLst>
                                  <p:childTnLst>
                                    <p:set>
                                      <p:cBhvr>
                                        <p:cTn id="76" dur="1" fill="hold">
                                          <p:stCondLst>
                                            <p:cond delay="0"/>
                                          </p:stCondLst>
                                        </p:cTn>
                                        <p:tgtEl>
                                          <p:spTgt spid="19"/>
                                        </p:tgtEl>
                                        <p:attrNameLst>
                                          <p:attrName>style.visibility</p:attrName>
                                        </p:attrNameLst>
                                      </p:cBhvr>
                                      <p:to>
                                        <p:strVal val="visible"/>
                                      </p:to>
                                    </p:set>
                                    <p:animEffect transition="in" filter="fade">
                                      <p:cBhvr>
                                        <p:cTn id="77" dur="1000"/>
                                        <p:tgtEl>
                                          <p:spTgt spid="19"/>
                                        </p:tgtEl>
                                      </p:cBhvr>
                                    </p:animEffect>
                                    <p:anim calcmode="lin" valueType="num">
                                      <p:cBhvr>
                                        <p:cTn id="78" dur="1000" fill="hold"/>
                                        <p:tgtEl>
                                          <p:spTgt spid="19"/>
                                        </p:tgtEl>
                                        <p:attrNameLst>
                                          <p:attrName>ppt_x</p:attrName>
                                        </p:attrNameLst>
                                      </p:cBhvr>
                                      <p:tavLst>
                                        <p:tav tm="0">
                                          <p:val>
                                            <p:strVal val="#ppt_x"/>
                                          </p:val>
                                        </p:tav>
                                        <p:tav tm="100000">
                                          <p:val>
                                            <p:strVal val="#ppt_x"/>
                                          </p:val>
                                        </p:tav>
                                      </p:tavLst>
                                    </p:anim>
                                    <p:anim calcmode="lin" valueType="num">
                                      <p:cBhvr>
                                        <p:cTn id="79" dur="1000" fill="hold"/>
                                        <p:tgtEl>
                                          <p:spTgt spid="19"/>
                                        </p:tgtEl>
                                        <p:attrNameLst>
                                          <p:attrName>ppt_y</p:attrName>
                                        </p:attrNameLst>
                                      </p:cBhvr>
                                      <p:tavLst>
                                        <p:tav tm="0">
                                          <p:val>
                                            <p:strVal val="#ppt_y+.1"/>
                                          </p:val>
                                        </p:tav>
                                        <p:tav tm="100000">
                                          <p:val>
                                            <p:strVal val="#ppt_y"/>
                                          </p:val>
                                        </p:tav>
                                      </p:tavLst>
                                    </p:anim>
                                  </p:childTnLst>
                                </p:cTn>
                              </p:par>
                              <p:par>
                                <p:cTn id="80" presetID="47" presetClass="entr" presetSubtype="0" fill="hold" grpId="0" nodeType="withEffect">
                                  <p:stCondLst>
                                    <p:cond delay="1500"/>
                                  </p:stCondLst>
                                  <p:childTnLst>
                                    <p:set>
                                      <p:cBhvr>
                                        <p:cTn id="81" dur="1" fill="hold">
                                          <p:stCondLst>
                                            <p:cond delay="0"/>
                                          </p:stCondLst>
                                        </p:cTn>
                                        <p:tgtEl>
                                          <p:spTgt spid="8"/>
                                        </p:tgtEl>
                                        <p:attrNameLst>
                                          <p:attrName>style.visibility</p:attrName>
                                        </p:attrNameLst>
                                      </p:cBhvr>
                                      <p:to>
                                        <p:strVal val="visible"/>
                                      </p:to>
                                    </p:set>
                                    <p:animEffect transition="in" filter="fade">
                                      <p:cBhvr>
                                        <p:cTn id="82" dur="1000"/>
                                        <p:tgtEl>
                                          <p:spTgt spid="8"/>
                                        </p:tgtEl>
                                      </p:cBhvr>
                                    </p:animEffect>
                                    <p:anim calcmode="lin" valueType="num">
                                      <p:cBhvr>
                                        <p:cTn id="83" dur="1000" fill="hold"/>
                                        <p:tgtEl>
                                          <p:spTgt spid="8"/>
                                        </p:tgtEl>
                                        <p:attrNameLst>
                                          <p:attrName>ppt_x</p:attrName>
                                        </p:attrNameLst>
                                      </p:cBhvr>
                                      <p:tavLst>
                                        <p:tav tm="0">
                                          <p:val>
                                            <p:strVal val="#ppt_x"/>
                                          </p:val>
                                        </p:tav>
                                        <p:tav tm="100000">
                                          <p:val>
                                            <p:strVal val="#ppt_x"/>
                                          </p:val>
                                        </p:tav>
                                      </p:tavLst>
                                    </p:anim>
                                    <p:anim calcmode="lin" valueType="num">
                                      <p:cBhvr>
                                        <p:cTn id="84" dur="1000" fill="hold"/>
                                        <p:tgtEl>
                                          <p:spTgt spid="8"/>
                                        </p:tgtEl>
                                        <p:attrNameLst>
                                          <p:attrName>ppt_y</p:attrName>
                                        </p:attrNameLst>
                                      </p:cBhvr>
                                      <p:tavLst>
                                        <p:tav tm="0">
                                          <p:val>
                                            <p:strVal val="#ppt_y-.1"/>
                                          </p:val>
                                        </p:tav>
                                        <p:tav tm="100000">
                                          <p:val>
                                            <p:strVal val="#ppt_y"/>
                                          </p:val>
                                        </p:tav>
                                      </p:tavLst>
                                    </p:anim>
                                  </p:childTnLst>
                                </p:cTn>
                              </p:par>
                              <p:par>
                                <p:cTn id="85" presetID="42" presetClass="entr" presetSubtype="0" fill="hold" grpId="0" nodeType="withEffect">
                                  <p:stCondLst>
                                    <p:cond delay="1600"/>
                                  </p:stCondLst>
                                  <p:childTnLst>
                                    <p:set>
                                      <p:cBhvr>
                                        <p:cTn id="86" dur="1" fill="hold">
                                          <p:stCondLst>
                                            <p:cond delay="0"/>
                                          </p:stCondLst>
                                        </p:cTn>
                                        <p:tgtEl>
                                          <p:spTgt spid="9"/>
                                        </p:tgtEl>
                                        <p:attrNameLst>
                                          <p:attrName>style.visibility</p:attrName>
                                        </p:attrNameLst>
                                      </p:cBhvr>
                                      <p:to>
                                        <p:strVal val="visible"/>
                                      </p:to>
                                    </p:set>
                                    <p:animEffect transition="in" filter="fade">
                                      <p:cBhvr>
                                        <p:cTn id="87" dur="1000"/>
                                        <p:tgtEl>
                                          <p:spTgt spid="9"/>
                                        </p:tgtEl>
                                      </p:cBhvr>
                                    </p:animEffect>
                                    <p:anim calcmode="lin" valueType="num">
                                      <p:cBhvr>
                                        <p:cTn id="88" dur="1000" fill="hold"/>
                                        <p:tgtEl>
                                          <p:spTgt spid="9"/>
                                        </p:tgtEl>
                                        <p:attrNameLst>
                                          <p:attrName>ppt_x</p:attrName>
                                        </p:attrNameLst>
                                      </p:cBhvr>
                                      <p:tavLst>
                                        <p:tav tm="0">
                                          <p:val>
                                            <p:strVal val="#ppt_x"/>
                                          </p:val>
                                        </p:tav>
                                        <p:tav tm="100000">
                                          <p:val>
                                            <p:strVal val="#ppt_x"/>
                                          </p:val>
                                        </p:tav>
                                      </p:tavLst>
                                    </p:anim>
                                    <p:anim calcmode="lin" valueType="num">
                                      <p:cBhvr>
                                        <p:cTn id="89" dur="1000" fill="hold"/>
                                        <p:tgtEl>
                                          <p:spTgt spid="9"/>
                                        </p:tgtEl>
                                        <p:attrNameLst>
                                          <p:attrName>ppt_y</p:attrName>
                                        </p:attrNameLst>
                                      </p:cBhvr>
                                      <p:tavLst>
                                        <p:tav tm="0">
                                          <p:val>
                                            <p:strVal val="#ppt_y+.1"/>
                                          </p:val>
                                        </p:tav>
                                        <p:tav tm="100000">
                                          <p:val>
                                            <p:strVal val="#ppt_y"/>
                                          </p:val>
                                        </p:tav>
                                      </p:tavLst>
                                    </p:anim>
                                  </p:childTnLst>
                                </p:cTn>
                              </p:par>
                              <p:par>
                                <p:cTn id="90" presetID="42" presetClass="entr" presetSubtype="0" fill="hold" grpId="0" nodeType="withEffect">
                                  <p:stCondLst>
                                    <p:cond delay="1700"/>
                                  </p:stCondLst>
                                  <p:childTnLst>
                                    <p:set>
                                      <p:cBhvr>
                                        <p:cTn id="91" dur="1" fill="hold">
                                          <p:stCondLst>
                                            <p:cond delay="0"/>
                                          </p:stCondLst>
                                        </p:cTn>
                                        <p:tgtEl>
                                          <p:spTgt spid="21"/>
                                        </p:tgtEl>
                                        <p:attrNameLst>
                                          <p:attrName>style.visibility</p:attrName>
                                        </p:attrNameLst>
                                      </p:cBhvr>
                                      <p:to>
                                        <p:strVal val="visible"/>
                                      </p:to>
                                    </p:set>
                                    <p:animEffect transition="in" filter="fade">
                                      <p:cBhvr>
                                        <p:cTn id="92" dur="500"/>
                                        <p:tgtEl>
                                          <p:spTgt spid="21"/>
                                        </p:tgtEl>
                                      </p:cBhvr>
                                    </p:animEffect>
                                    <p:anim calcmode="lin" valueType="num">
                                      <p:cBhvr>
                                        <p:cTn id="93" dur="500" fill="hold"/>
                                        <p:tgtEl>
                                          <p:spTgt spid="21"/>
                                        </p:tgtEl>
                                        <p:attrNameLst>
                                          <p:attrName>ppt_x</p:attrName>
                                        </p:attrNameLst>
                                      </p:cBhvr>
                                      <p:tavLst>
                                        <p:tav tm="0">
                                          <p:val>
                                            <p:strVal val="#ppt_x"/>
                                          </p:val>
                                        </p:tav>
                                        <p:tav tm="100000">
                                          <p:val>
                                            <p:strVal val="#ppt_x"/>
                                          </p:val>
                                        </p:tav>
                                      </p:tavLst>
                                    </p:anim>
                                    <p:anim calcmode="lin" valueType="num">
                                      <p:cBhvr>
                                        <p:cTn id="94" dur="500" fill="hold"/>
                                        <p:tgtEl>
                                          <p:spTgt spid="21"/>
                                        </p:tgtEl>
                                        <p:attrNameLst>
                                          <p:attrName>ppt_y</p:attrName>
                                        </p:attrNameLst>
                                      </p:cBhvr>
                                      <p:tavLst>
                                        <p:tav tm="0">
                                          <p:val>
                                            <p:strVal val="#ppt_y+.1"/>
                                          </p:val>
                                        </p:tav>
                                        <p:tav tm="100000">
                                          <p:val>
                                            <p:strVal val="#ppt_y"/>
                                          </p:val>
                                        </p:tav>
                                      </p:tavLst>
                                    </p:anim>
                                  </p:childTnLst>
                                </p:cTn>
                              </p:par>
                              <p:par>
                                <p:cTn id="95" presetID="47" presetClass="entr" presetSubtype="0" fill="hold" grpId="0" nodeType="withEffect">
                                  <p:stCondLst>
                                    <p:cond delay="1800"/>
                                  </p:stCondLst>
                                  <p:childTnLst>
                                    <p:set>
                                      <p:cBhvr>
                                        <p:cTn id="96" dur="1" fill="hold">
                                          <p:stCondLst>
                                            <p:cond delay="0"/>
                                          </p:stCondLst>
                                        </p:cTn>
                                        <p:tgtEl>
                                          <p:spTgt spid="22"/>
                                        </p:tgtEl>
                                        <p:attrNameLst>
                                          <p:attrName>style.visibility</p:attrName>
                                        </p:attrNameLst>
                                      </p:cBhvr>
                                      <p:to>
                                        <p:strVal val="visible"/>
                                      </p:to>
                                    </p:set>
                                    <p:animEffect transition="in" filter="fade">
                                      <p:cBhvr>
                                        <p:cTn id="97" dur="1000"/>
                                        <p:tgtEl>
                                          <p:spTgt spid="22"/>
                                        </p:tgtEl>
                                      </p:cBhvr>
                                    </p:animEffect>
                                    <p:anim calcmode="lin" valueType="num">
                                      <p:cBhvr>
                                        <p:cTn id="98" dur="1000" fill="hold"/>
                                        <p:tgtEl>
                                          <p:spTgt spid="22"/>
                                        </p:tgtEl>
                                        <p:attrNameLst>
                                          <p:attrName>ppt_x</p:attrName>
                                        </p:attrNameLst>
                                      </p:cBhvr>
                                      <p:tavLst>
                                        <p:tav tm="0">
                                          <p:val>
                                            <p:strVal val="#ppt_x"/>
                                          </p:val>
                                        </p:tav>
                                        <p:tav tm="100000">
                                          <p:val>
                                            <p:strVal val="#ppt_x"/>
                                          </p:val>
                                        </p:tav>
                                      </p:tavLst>
                                    </p:anim>
                                    <p:anim calcmode="lin" valueType="num">
                                      <p:cBhvr>
                                        <p:cTn id="99" dur="1000" fill="hold"/>
                                        <p:tgtEl>
                                          <p:spTgt spid="22"/>
                                        </p:tgtEl>
                                        <p:attrNameLst>
                                          <p:attrName>ppt_y</p:attrName>
                                        </p:attrNameLst>
                                      </p:cBhvr>
                                      <p:tavLst>
                                        <p:tav tm="0">
                                          <p:val>
                                            <p:strVal val="#ppt_y-.1"/>
                                          </p:val>
                                        </p:tav>
                                        <p:tav tm="100000">
                                          <p:val>
                                            <p:strVal val="#ppt_y"/>
                                          </p:val>
                                        </p:tav>
                                      </p:tavLst>
                                    </p:anim>
                                  </p:childTnLst>
                                </p:cTn>
                              </p:par>
                              <p:par>
                                <p:cTn id="100" presetID="42" presetClass="entr" presetSubtype="0" fill="hold" grpId="0" nodeType="withEffect">
                                  <p:stCondLst>
                                    <p:cond delay="1900"/>
                                  </p:stCondLst>
                                  <p:childTnLst>
                                    <p:set>
                                      <p:cBhvr>
                                        <p:cTn id="101" dur="1" fill="hold">
                                          <p:stCondLst>
                                            <p:cond delay="0"/>
                                          </p:stCondLst>
                                        </p:cTn>
                                        <p:tgtEl>
                                          <p:spTgt spid="23"/>
                                        </p:tgtEl>
                                        <p:attrNameLst>
                                          <p:attrName>style.visibility</p:attrName>
                                        </p:attrNameLst>
                                      </p:cBhvr>
                                      <p:to>
                                        <p:strVal val="visible"/>
                                      </p:to>
                                    </p:set>
                                    <p:animEffect transition="in" filter="fade">
                                      <p:cBhvr>
                                        <p:cTn id="102" dur="1000"/>
                                        <p:tgtEl>
                                          <p:spTgt spid="23"/>
                                        </p:tgtEl>
                                      </p:cBhvr>
                                    </p:animEffect>
                                    <p:anim calcmode="lin" valueType="num">
                                      <p:cBhvr>
                                        <p:cTn id="103" dur="1000" fill="hold"/>
                                        <p:tgtEl>
                                          <p:spTgt spid="23"/>
                                        </p:tgtEl>
                                        <p:attrNameLst>
                                          <p:attrName>ppt_x</p:attrName>
                                        </p:attrNameLst>
                                      </p:cBhvr>
                                      <p:tavLst>
                                        <p:tav tm="0">
                                          <p:val>
                                            <p:strVal val="#ppt_x"/>
                                          </p:val>
                                        </p:tav>
                                        <p:tav tm="100000">
                                          <p:val>
                                            <p:strVal val="#ppt_x"/>
                                          </p:val>
                                        </p:tav>
                                      </p:tavLst>
                                    </p:anim>
                                    <p:anim calcmode="lin" valueType="num">
                                      <p:cBhvr>
                                        <p:cTn id="104" dur="1000" fill="hold"/>
                                        <p:tgtEl>
                                          <p:spTgt spid="23"/>
                                        </p:tgtEl>
                                        <p:attrNameLst>
                                          <p:attrName>ppt_y</p:attrName>
                                        </p:attrNameLst>
                                      </p:cBhvr>
                                      <p:tavLst>
                                        <p:tav tm="0">
                                          <p:val>
                                            <p:strVal val="#ppt_y+.1"/>
                                          </p:val>
                                        </p:tav>
                                        <p:tav tm="100000">
                                          <p:val>
                                            <p:strVal val="#ppt_y"/>
                                          </p:val>
                                        </p:tav>
                                      </p:tavLst>
                                    </p:anim>
                                  </p:childTnLst>
                                </p:cTn>
                              </p:par>
                              <p:par>
                                <p:cTn id="105" presetID="42" presetClass="entr" presetSubtype="0" fill="hold" grpId="0" nodeType="withEffect">
                                  <p:stCondLst>
                                    <p:cond delay="2000"/>
                                  </p:stCondLst>
                                  <p:childTnLst>
                                    <p:set>
                                      <p:cBhvr>
                                        <p:cTn id="106" dur="1" fill="hold">
                                          <p:stCondLst>
                                            <p:cond delay="0"/>
                                          </p:stCondLst>
                                        </p:cTn>
                                        <p:tgtEl>
                                          <p:spTgt spid="24"/>
                                        </p:tgtEl>
                                        <p:attrNameLst>
                                          <p:attrName>style.visibility</p:attrName>
                                        </p:attrNameLst>
                                      </p:cBhvr>
                                      <p:to>
                                        <p:strVal val="visible"/>
                                      </p:to>
                                    </p:set>
                                    <p:animEffect transition="in" filter="fade">
                                      <p:cBhvr>
                                        <p:cTn id="107" dur="500"/>
                                        <p:tgtEl>
                                          <p:spTgt spid="24"/>
                                        </p:tgtEl>
                                      </p:cBhvr>
                                    </p:animEffect>
                                    <p:anim calcmode="lin" valueType="num">
                                      <p:cBhvr>
                                        <p:cTn id="108" dur="500" fill="hold"/>
                                        <p:tgtEl>
                                          <p:spTgt spid="24"/>
                                        </p:tgtEl>
                                        <p:attrNameLst>
                                          <p:attrName>ppt_x</p:attrName>
                                        </p:attrNameLst>
                                      </p:cBhvr>
                                      <p:tavLst>
                                        <p:tav tm="0">
                                          <p:val>
                                            <p:strVal val="#ppt_x"/>
                                          </p:val>
                                        </p:tav>
                                        <p:tav tm="100000">
                                          <p:val>
                                            <p:strVal val="#ppt_x"/>
                                          </p:val>
                                        </p:tav>
                                      </p:tavLst>
                                    </p:anim>
                                    <p:anim calcmode="lin" valueType="num">
                                      <p:cBhvr>
                                        <p:cTn id="109" dur="500" fill="hold"/>
                                        <p:tgtEl>
                                          <p:spTgt spid="24"/>
                                        </p:tgtEl>
                                        <p:attrNameLst>
                                          <p:attrName>ppt_y</p:attrName>
                                        </p:attrNameLst>
                                      </p:cBhvr>
                                      <p:tavLst>
                                        <p:tav tm="0">
                                          <p:val>
                                            <p:strVal val="#ppt_y+.1"/>
                                          </p:val>
                                        </p:tav>
                                        <p:tav tm="100000">
                                          <p:val>
                                            <p:strVal val="#ppt_y"/>
                                          </p:val>
                                        </p:tav>
                                      </p:tavLst>
                                    </p:anim>
                                  </p:childTnLst>
                                </p:cTn>
                              </p:par>
                              <p:par>
                                <p:cTn id="110" presetID="47" presetClass="entr" presetSubtype="0" fill="hold" grpId="0" nodeType="withEffect">
                                  <p:stCondLst>
                                    <p:cond delay="2100"/>
                                  </p:stCondLst>
                                  <p:childTnLst>
                                    <p:set>
                                      <p:cBhvr>
                                        <p:cTn id="111" dur="1" fill="hold">
                                          <p:stCondLst>
                                            <p:cond delay="0"/>
                                          </p:stCondLst>
                                        </p:cTn>
                                        <p:tgtEl>
                                          <p:spTgt spid="25"/>
                                        </p:tgtEl>
                                        <p:attrNameLst>
                                          <p:attrName>style.visibility</p:attrName>
                                        </p:attrNameLst>
                                      </p:cBhvr>
                                      <p:to>
                                        <p:strVal val="visible"/>
                                      </p:to>
                                    </p:set>
                                    <p:animEffect transition="in" filter="fade">
                                      <p:cBhvr>
                                        <p:cTn id="112" dur="1000"/>
                                        <p:tgtEl>
                                          <p:spTgt spid="25"/>
                                        </p:tgtEl>
                                      </p:cBhvr>
                                    </p:animEffect>
                                    <p:anim calcmode="lin" valueType="num">
                                      <p:cBhvr>
                                        <p:cTn id="113" dur="1000" fill="hold"/>
                                        <p:tgtEl>
                                          <p:spTgt spid="25"/>
                                        </p:tgtEl>
                                        <p:attrNameLst>
                                          <p:attrName>ppt_x</p:attrName>
                                        </p:attrNameLst>
                                      </p:cBhvr>
                                      <p:tavLst>
                                        <p:tav tm="0">
                                          <p:val>
                                            <p:strVal val="#ppt_x"/>
                                          </p:val>
                                        </p:tav>
                                        <p:tav tm="100000">
                                          <p:val>
                                            <p:strVal val="#ppt_x"/>
                                          </p:val>
                                        </p:tav>
                                      </p:tavLst>
                                    </p:anim>
                                    <p:anim calcmode="lin" valueType="num">
                                      <p:cBhvr>
                                        <p:cTn id="114" dur="1000" fill="hold"/>
                                        <p:tgtEl>
                                          <p:spTgt spid="25"/>
                                        </p:tgtEl>
                                        <p:attrNameLst>
                                          <p:attrName>ppt_y</p:attrName>
                                        </p:attrNameLst>
                                      </p:cBhvr>
                                      <p:tavLst>
                                        <p:tav tm="0">
                                          <p:val>
                                            <p:strVal val="#ppt_y-.1"/>
                                          </p:val>
                                        </p:tav>
                                        <p:tav tm="100000">
                                          <p:val>
                                            <p:strVal val="#ppt_y"/>
                                          </p:val>
                                        </p:tav>
                                      </p:tavLst>
                                    </p:anim>
                                  </p:childTnLst>
                                </p:cTn>
                              </p:par>
                              <p:par>
                                <p:cTn id="115" presetID="42" presetClass="entr" presetSubtype="0" fill="hold" grpId="0" nodeType="withEffect">
                                  <p:stCondLst>
                                    <p:cond delay="2200"/>
                                  </p:stCondLst>
                                  <p:childTnLst>
                                    <p:set>
                                      <p:cBhvr>
                                        <p:cTn id="116" dur="1" fill="hold">
                                          <p:stCondLst>
                                            <p:cond delay="0"/>
                                          </p:stCondLst>
                                        </p:cTn>
                                        <p:tgtEl>
                                          <p:spTgt spid="10"/>
                                        </p:tgtEl>
                                        <p:attrNameLst>
                                          <p:attrName>style.visibility</p:attrName>
                                        </p:attrNameLst>
                                      </p:cBhvr>
                                      <p:to>
                                        <p:strVal val="visible"/>
                                      </p:to>
                                    </p:set>
                                    <p:animEffect transition="in" filter="fade">
                                      <p:cBhvr>
                                        <p:cTn id="117" dur="1500"/>
                                        <p:tgtEl>
                                          <p:spTgt spid="10"/>
                                        </p:tgtEl>
                                      </p:cBhvr>
                                    </p:animEffect>
                                    <p:anim calcmode="lin" valueType="num">
                                      <p:cBhvr>
                                        <p:cTn id="118" dur="1500" fill="hold"/>
                                        <p:tgtEl>
                                          <p:spTgt spid="10"/>
                                        </p:tgtEl>
                                        <p:attrNameLst>
                                          <p:attrName>ppt_x</p:attrName>
                                        </p:attrNameLst>
                                      </p:cBhvr>
                                      <p:tavLst>
                                        <p:tav tm="0">
                                          <p:val>
                                            <p:strVal val="#ppt_x"/>
                                          </p:val>
                                        </p:tav>
                                        <p:tav tm="100000">
                                          <p:val>
                                            <p:strVal val="#ppt_x"/>
                                          </p:val>
                                        </p:tav>
                                      </p:tavLst>
                                    </p:anim>
                                    <p:anim calcmode="lin" valueType="num">
                                      <p:cBhvr>
                                        <p:cTn id="119" dur="1500" fill="hold"/>
                                        <p:tgtEl>
                                          <p:spTgt spid="10"/>
                                        </p:tgtEl>
                                        <p:attrNameLst>
                                          <p:attrName>ppt_y</p:attrName>
                                        </p:attrNameLst>
                                      </p:cBhvr>
                                      <p:tavLst>
                                        <p:tav tm="0">
                                          <p:val>
                                            <p:strVal val="#ppt_y+.1"/>
                                          </p:val>
                                        </p:tav>
                                        <p:tav tm="100000">
                                          <p:val>
                                            <p:strVal val="#ppt_y"/>
                                          </p:val>
                                        </p:tav>
                                      </p:tavLst>
                                    </p:anim>
                                  </p:childTnLst>
                                </p:cTn>
                              </p:par>
                              <p:par>
                                <p:cTn id="120" presetID="42" presetClass="entr" presetSubtype="0" fill="hold" grpId="0" nodeType="withEffect">
                                  <p:stCondLst>
                                    <p:cond delay="2300"/>
                                  </p:stCondLst>
                                  <p:childTnLst>
                                    <p:set>
                                      <p:cBhvr>
                                        <p:cTn id="121" dur="1" fill="hold">
                                          <p:stCondLst>
                                            <p:cond delay="0"/>
                                          </p:stCondLst>
                                        </p:cTn>
                                        <p:tgtEl>
                                          <p:spTgt spid="11"/>
                                        </p:tgtEl>
                                        <p:attrNameLst>
                                          <p:attrName>style.visibility</p:attrName>
                                        </p:attrNameLst>
                                      </p:cBhvr>
                                      <p:to>
                                        <p:strVal val="visible"/>
                                      </p:to>
                                    </p:set>
                                    <p:animEffect transition="in" filter="fade">
                                      <p:cBhvr>
                                        <p:cTn id="122" dur="500"/>
                                        <p:tgtEl>
                                          <p:spTgt spid="11"/>
                                        </p:tgtEl>
                                      </p:cBhvr>
                                    </p:animEffect>
                                    <p:anim calcmode="lin" valueType="num">
                                      <p:cBhvr>
                                        <p:cTn id="123" dur="500" fill="hold"/>
                                        <p:tgtEl>
                                          <p:spTgt spid="11"/>
                                        </p:tgtEl>
                                        <p:attrNameLst>
                                          <p:attrName>ppt_x</p:attrName>
                                        </p:attrNameLst>
                                      </p:cBhvr>
                                      <p:tavLst>
                                        <p:tav tm="0">
                                          <p:val>
                                            <p:strVal val="#ppt_x"/>
                                          </p:val>
                                        </p:tav>
                                        <p:tav tm="100000">
                                          <p:val>
                                            <p:strVal val="#ppt_x"/>
                                          </p:val>
                                        </p:tav>
                                      </p:tavLst>
                                    </p:anim>
                                    <p:anim calcmode="lin" valueType="num">
                                      <p:cBhvr>
                                        <p:cTn id="124" dur="500" fill="hold"/>
                                        <p:tgtEl>
                                          <p:spTgt spid="11"/>
                                        </p:tgtEl>
                                        <p:attrNameLst>
                                          <p:attrName>ppt_y</p:attrName>
                                        </p:attrNameLst>
                                      </p:cBhvr>
                                      <p:tavLst>
                                        <p:tav tm="0">
                                          <p:val>
                                            <p:strVal val="#ppt_y+.1"/>
                                          </p:val>
                                        </p:tav>
                                        <p:tav tm="100000">
                                          <p:val>
                                            <p:strVal val="#ppt_y"/>
                                          </p:val>
                                        </p:tav>
                                      </p:tavLst>
                                    </p:anim>
                                  </p:childTnLst>
                                </p:cTn>
                              </p:par>
                              <p:par>
                                <p:cTn id="125" presetID="47" presetClass="entr" presetSubtype="0" fill="hold" grpId="0" nodeType="withEffect">
                                  <p:stCondLst>
                                    <p:cond delay="2400"/>
                                  </p:stCondLst>
                                  <p:childTnLst>
                                    <p:set>
                                      <p:cBhvr>
                                        <p:cTn id="126" dur="1" fill="hold">
                                          <p:stCondLst>
                                            <p:cond delay="0"/>
                                          </p:stCondLst>
                                        </p:cTn>
                                        <p:tgtEl>
                                          <p:spTgt spid="12"/>
                                        </p:tgtEl>
                                        <p:attrNameLst>
                                          <p:attrName>style.visibility</p:attrName>
                                        </p:attrNameLst>
                                      </p:cBhvr>
                                      <p:to>
                                        <p:strVal val="visible"/>
                                      </p:to>
                                    </p:set>
                                    <p:animEffect transition="in" filter="fade">
                                      <p:cBhvr>
                                        <p:cTn id="127" dur="1000"/>
                                        <p:tgtEl>
                                          <p:spTgt spid="12"/>
                                        </p:tgtEl>
                                      </p:cBhvr>
                                    </p:animEffect>
                                    <p:anim calcmode="lin" valueType="num">
                                      <p:cBhvr>
                                        <p:cTn id="128" dur="1000" fill="hold"/>
                                        <p:tgtEl>
                                          <p:spTgt spid="12"/>
                                        </p:tgtEl>
                                        <p:attrNameLst>
                                          <p:attrName>ppt_x</p:attrName>
                                        </p:attrNameLst>
                                      </p:cBhvr>
                                      <p:tavLst>
                                        <p:tav tm="0">
                                          <p:val>
                                            <p:strVal val="#ppt_x"/>
                                          </p:val>
                                        </p:tav>
                                        <p:tav tm="100000">
                                          <p:val>
                                            <p:strVal val="#ppt_x"/>
                                          </p:val>
                                        </p:tav>
                                      </p:tavLst>
                                    </p:anim>
                                    <p:anim calcmode="lin" valueType="num">
                                      <p:cBhvr>
                                        <p:cTn id="129" dur="1000" fill="hold"/>
                                        <p:tgtEl>
                                          <p:spTgt spid="12"/>
                                        </p:tgtEl>
                                        <p:attrNameLst>
                                          <p:attrName>ppt_y</p:attrName>
                                        </p:attrNameLst>
                                      </p:cBhvr>
                                      <p:tavLst>
                                        <p:tav tm="0">
                                          <p:val>
                                            <p:strVal val="#ppt_y-.1"/>
                                          </p:val>
                                        </p:tav>
                                        <p:tav tm="100000">
                                          <p:val>
                                            <p:strVal val="#ppt_y"/>
                                          </p:val>
                                        </p:tav>
                                      </p:tavLst>
                                    </p:anim>
                                  </p:childTnLst>
                                </p:cTn>
                              </p:par>
                              <p:par>
                                <p:cTn id="130" presetID="42" presetClass="entr" presetSubtype="0" fill="hold" grpId="0" nodeType="withEffect">
                                  <p:stCondLst>
                                    <p:cond delay="2500"/>
                                  </p:stCondLst>
                                  <p:childTnLst>
                                    <p:set>
                                      <p:cBhvr>
                                        <p:cTn id="131" dur="1" fill="hold">
                                          <p:stCondLst>
                                            <p:cond delay="0"/>
                                          </p:stCondLst>
                                        </p:cTn>
                                        <p:tgtEl>
                                          <p:spTgt spid="13"/>
                                        </p:tgtEl>
                                        <p:attrNameLst>
                                          <p:attrName>style.visibility</p:attrName>
                                        </p:attrNameLst>
                                      </p:cBhvr>
                                      <p:to>
                                        <p:strVal val="visible"/>
                                      </p:to>
                                    </p:set>
                                    <p:animEffect transition="in" filter="fade">
                                      <p:cBhvr>
                                        <p:cTn id="132" dur="500"/>
                                        <p:tgtEl>
                                          <p:spTgt spid="13"/>
                                        </p:tgtEl>
                                      </p:cBhvr>
                                    </p:animEffect>
                                    <p:anim calcmode="lin" valueType="num">
                                      <p:cBhvr>
                                        <p:cTn id="133" dur="500" fill="hold"/>
                                        <p:tgtEl>
                                          <p:spTgt spid="13"/>
                                        </p:tgtEl>
                                        <p:attrNameLst>
                                          <p:attrName>ppt_x</p:attrName>
                                        </p:attrNameLst>
                                      </p:cBhvr>
                                      <p:tavLst>
                                        <p:tav tm="0">
                                          <p:val>
                                            <p:strVal val="#ppt_x"/>
                                          </p:val>
                                        </p:tav>
                                        <p:tav tm="100000">
                                          <p:val>
                                            <p:strVal val="#ppt_x"/>
                                          </p:val>
                                        </p:tav>
                                      </p:tavLst>
                                    </p:anim>
                                    <p:anim calcmode="lin" valueType="num">
                                      <p:cBhvr>
                                        <p:cTn id="134" dur="500" fill="hold"/>
                                        <p:tgtEl>
                                          <p:spTgt spid="13"/>
                                        </p:tgtEl>
                                        <p:attrNameLst>
                                          <p:attrName>ppt_y</p:attrName>
                                        </p:attrNameLst>
                                      </p:cBhvr>
                                      <p:tavLst>
                                        <p:tav tm="0">
                                          <p:val>
                                            <p:strVal val="#ppt_y+.1"/>
                                          </p:val>
                                        </p:tav>
                                        <p:tav tm="100000">
                                          <p:val>
                                            <p:strVal val="#ppt_y"/>
                                          </p:val>
                                        </p:tav>
                                      </p:tavLst>
                                    </p:anim>
                                  </p:childTnLst>
                                </p:cTn>
                              </p:par>
                              <p:par>
                                <p:cTn id="135" presetID="42" presetClass="entr" presetSubtype="0" fill="hold" grpId="0" nodeType="withEffect">
                                  <p:stCondLst>
                                    <p:cond delay="2600"/>
                                  </p:stCondLst>
                                  <p:childTnLst>
                                    <p:set>
                                      <p:cBhvr>
                                        <p:cTn id="136" dur="1" fill="hold">
                                          <p:stCondLst>
                                            <p:cond delay="0"/>
                                          </p:stCondLst>
                                        </p:cTn>
                                        <p:tgtEl>
                                          <p:spTgt spid="14"/>
                                        </p:tgtEl>
                                        <p:attrNameLst>
                                          <p:attrName>style.visibility</p:attrName>
                                        </p:attrNameLst>
                                      </p:cBhvr>
                                      <p:to>
                                        <p:strVal val="visible"/>
                                      </p:to>
                                    </p:set>
                                    <p:animEffect transition="in" filter="fade">
                                      <p:cBhvr>
                                        <p:cTn id="137" dur="1000"/>
                                        <p:tgtEl>
                                          <p:spTgt spid="14"/>
                                        </p:tgtEl>
                                      </p:cBhvr>
                                    </p:animEffect>
                                    <p:anim calcmode="lin" valueType="num">
                                      <p:cBhvr>
                                        <p:cTn id="138" dur="1000" fill="hold"/>
                                        <p:tgtEl>
                                          <p:spTgt spid="14"/>
                                        </p:tgtEl>
                                        <p:attrNameLst>
                                          <p:attrName>ppt_x</p:attrName>
                                        </p:attrNameLst>
                                      </p:cBhvr>
                                      <p:tavLst>
                                        <p:tav tm="0">
                                          <p:val>
                                            <p:strVal val="#ppt_x"/>
                                          </p:val>
                                        </p:tav>
                                        <p:tav tm="100000">
                                          <p:val>
                                            <p:strVal val="#ppt_x"/>
                                          </p:val>
                                        </p:tav>
                                      </p:tavLst>
                                    </p:anim>
                                    <p:anim calcmode="lin" valueType="num">
                                      <p:cBhvr>
                                        <p:cTn id="139" dur="1000" fill="hold"/>
                                        <p:tgtEl>
                                          <p:spTgt spid="14"/>
                                        </p:tgtEl>
                                        <p:attrNameLst>
                                          <p:attrName>ppt_y</p:attrName>
                                        </p:attrNameLst>
                                      </p:cBhvr>
                                      <p:tavLst>
                                        <p:tav tm="0">
                                          <p:val>
                                            <p:strVal val="#ppt_y+.1"/>
                                          </p:val>
                                        </p:tav>
                                        <p:tav tm="100000">
                                          <p:val>
                                            <p:strVal val="#ppt_y"/>
                                          </p:val>
                                        </p:tav>
                                      </p:tavLst>
                                    </p:anim>
                                  </p:childTnLst>
                                </p:cTn>
                              </p:par>
                              <p:par>
                                <p:cTn id="140" presetID="47" presetClass="entr" presetSubtype="0" fill="hold" grpId="0" nodeType="withEffect">
                                  <p:stCondLst>
                                    <p:cond delay="2700"/>
                                  </p:stCondLst>
                                  <p:childTnLst>
                                    <p:set>
                                      <p:cBhvr>
                                        <p:cTn id="141" dur="1" fill="hold">
                                          <p:stCondLst>
                                            <p:cond delay="0"/>
                                          </p:stCondLst>
                                        </p:cTn>
                                        <p:tgtEl>
                                          <p:spTgt spid="15"/>
                                        </p:tgtEl>
                                        <p:attrNameLst>
                                          <p:attrName>style.visibility</p:attrName>
                                        </p:attrNameLst>
                                      </p:cBhvr>
                                      <p:to>
                                        <p:strVal val="visible"/>
                                      </p:to>
                                    </p:set>
                                    <p:animEffect transition="in" filter="fade">
                                      <p:cBhvr>
                                        <p:cTn id="142" dur="1000"/>
                                        <p:tgtEl>
                                          <p:spTgt spid="15"/>
                                        </p:tgtEl>
                                      </p:cBhvr>
                                    </p:animEffect>
                                    <p:anim calcmode="lin" valueType="num">
                                      <p:cBhvr>
                                        <p:cTn id="143" dur="1000" fill="hold"/>
                                        <p:tgtEl>
                                          <p:spTgt spid="15"/>
                                        </p:tgtEl>
                                        <p:attrNameLst>
                                          <p:attrName>ppt_x</p:attrName>
                                        </p:attrNameLst>
                                      </p:cBhvr>
                                      <p:tavLst>
                                        <p:tav tm="0">
                                          <p:val>
                                            <p:strVal val="#ppt_x"/>
                                          </p:val>
                                        </p:tav>
                                        <p:tav tm="100000">
                                          <p:val>
                                            <p:strVal val="#ppt_x"/>
                                          </p:val>
                                        </p:tav>
                                      </p:tavLst>
                                    </p:anim>
                                    <p:anim calcmode="lin" valueType="num">
                                      <p:cBhvr>
                                        <p:cTn id="144" dur="1000" fill="hold"/>
                                        <p:tgtEl>
                                          <p:spTgt spid="15"/>
                                        </p:tgtEl>
                                        <p:attrNameLst>
                                          <p:attrName>ppt_y</p:attrName>
                                        </p:attrNameLst>
                                      </p:cBhvr>
                                      <p:tavLst>
                                        <p:tav tm="0">
                                          <p:val>
                                            <p:strVal val="#ppt_y-.1"/>
                                          </p:val>
                                        </p:tav>
                                        <p:tav tm="100000">
                                          <p:val>
                                            <p:strVal val="#ppt_y"/>
                                          </p:val>
                                        </p:tav>
                                      </p:tavLst>
                                    </p:anim>
                                  </p:childTnLst>
                                </p:cTn>
                              </p:par>
                              <p:par>
                                <p:cTn id="145" presetID="42" presetClass="entr" presetSubtype="0" fill="hold" grpId="0" nodeType="withEffect">
                                  <p:stCondLst>
                                    <p:cond delay="2800"/>
                                  </p:stCondLst>
                                  <p:childTnLst>
                                    <p:set>
                                      <p:cBhvr>
                                        <p:cTn id="146" dur="1" fill="hold">
                                          <p:stCondLst>
                                            <p:cond delay="0"/>
                                          </p:stCondLst>
                                        </p:cTn>
                                        <p:tgtEl>
                                          <p:spTgt spid="16"/>
                                        </p:tgtEl>
                                        <p:attrNameLst>
                                          <p:attrName>style.visibility</p:attrName>
                                        </p:attrNameLst>
                                      </p:cBhvr>
                                      <p:to>
                                        <p:strVal val="visible"/>
                                      </p:to>
                                    </p:set>
                                    <p:animEffect transition="in" filter="fade">
                                      <p:cBhvr>
                                        <p:cTn id="147" dur="500"/>
                                        <p:tgtEl>
                                          <p:spTgt spid="16"/>
                                        </p:tgtEl>
                                      </p:cBhvr>
                                    </p:animEffect>
                                    <p:anim calcmode="lin" valueType="num">
                                      <p:cBhvr>
                                        <p:cTn id="148" dur="500" fill="hold"/>
                                        <p:tgtEl>
                                          <p:spTgt spid="16"/>
                                        </p:tgtEl>
                                        <p:attrNameLst>
                                          <p:attrName>ppt_x</p:attrName>
                                        </p:attrNameLst>
                                      </p:cBhvr>
                                      <p:tavLst>
                                        <p:tav tm="0">
                                          <p:val>
                                            <p:strVal val="#ppt_x"/>
                                          </p:val>
                                        </p:tav>
                                        <p:tav tm="100000">
                                          <p:val>
                                            <p:strVal val="#ppt_x"/>
                                          </p:val>
                                        </p:tav>
                                      </p:tavLst>
                                    </p:anim>
                                    <p:anim calcmode="lin" valueType="num">
                                      <p:cBhvr>
                                        <p:cTn id="149" dur="500" fill="hold"/>
                                        <p:tgtEl>
                                          <p:spTgt spid="16"/>
                                        </p:tgtEl>
                                        <p:attrNameLst>
                                          <p:attrName>ppt_y</p:attrName>
                                        </p:attrNameLst>
                                      </p:cBhvr>
                                      <p:tavLst>
                                        <p:tav tm="0">
                                          <p:val>
                                            <p:strVal val="#ppt_y+.1"/>
                                          </p:val>
                                        </p:tav>
                                        <p:tav tm="100000">
                                          <p:val>
                                            <p:strVal val="#ppt_y"/>
                                          </p:val>
                                        </p:tav>
                                      </p:tavLst>
                                    </p:anim>
                                  </p:childTnLst>
                                </p:cTn>
                              </p:par>
                              <p:par>
                                <p:cTn id="150" presetID="42" presetClass="entr" presetSubtype="0" fill="hold" grpId="0" nodeType="withEffect">
                                  <p:stCondLst>
                                    <p:cond delay="3000"/>
                                  </p:stCondLst>
                                  <p:childTnLst>
                                    <p:set>
                                      <p:cBhvr>
                                        <p:cTn id="151" dur="1" fill="hold">
                                          <p:stCondLst>
                                            <p:cond delay="0"/>
                                          </p:stCondLst>
                                        </p:cTn>
                                        <p:tgtEl>
                                          <p:spTgt spid="34"/>
                                        </p:tgtEl>
                                        <p:attrNameLst>
                                          <p:attrName>style.visibility</p:attrName>
                                        </p:attrNameLst>
                                      </p:cBhvr>
                                      <p:to>
                                        <p:strVal val="visible"/>
                                      </p:to>
                                    </p:set>
                                    <p:animEffect transition="in" filter="fade">
                                      <p:cBhvr>
                                        <p:cTn id="152" dur="1000"/>
                                        <p:tgtEl>
                                          <p:spTgt spid="34"/>
                                        </p:tgtEl>
                                      </p:cBhvr>
                                    </p:animEffect>
                                    <p:anim calcmode="lin" valueType="num">
                                      <p:cBhvr>
                                        <p:cTn id="153" dur="1000" fill="hold"/>
                                        <p:tgtEl>
                                          <p:spTgt spid="34"/>
                                        </p:tgtEl>
                                        <p:attrNameLst>
                                          <p:attrName>ppt_x</p:attrName>
                                        </p:attrNameLst>
                                      </p:cBhvr>
                                      <p:tavLst>
                                        <p:tav tm="0">
                                          <p:val>
                                            <p:strVal val="#ppt_x"/>
                                          </p:val>
                                        </p:tav>
                                        <p:tav tm="100000">
                                          <p:val>
                                            <p:strVal val="#ppt_x"/>
                                          </p:val>
                                        </p:tav>
                                      </p:tavLst>
                                    </p:anim>
                                    <p:anim calcmode="lin" valueType="num">
                                      <p:cBhvr>
                                        <p:cTn id="154" dur="1000" fill="hold"/>
                                        <p:tgtEl>
                                          <p:spTgt spid="34"/>
                                        </p:tgtEl>
                                        <p:attrNameLst>
                                          <p:attrName>ppt_y</p:attrName>
                                        </p:attrNameLst>
                                      </p:cBhvr>
                                      <p:tavLst>
                                        <p:tav tm="0">
                                          <p:val>
                                            <p:strVal val="#ppt_y+.1"/>
                                          </p:val>
                                        </p:tav>
                                        <p:tav tm="100000">
                                          <p:val>
                                            <p:strVal val="#ppt_y"/>
                                          </p:val>
                                        </p:tav>
                                      </p:tavLst>
                                    </p:anim>
                                  </p:childTnLst>
                                </p:cTn>
                              </p:par>
                              <p:par>
                                <p:cTn id="155" presetID="47" presetClass="entr" presetSubtype="0" fill="hold" grpId="0" nodeType="withEffect">
                                  <p:stCondLst>
                                    <p:cond delay="0"/>
                                  </p:stCondLst>
                                  <p:childTnLst>
                                    <p:set>
                                      <p:cBhvr>
                                        <p:cTn id="156" dur="1" fill="hold">
                                          <p:stCondLst>
                                            <p:cond delay="0"/>
                                          </p:stCondLst>
                                        </p:cTn>
                                        <p:tgtEl>
                                          <p:spTgt spid="35"/>
                                        </p:tgtEl>
                                        <p:attrNameLst>
                                          <p:attrName>style.visibility</p:attrName>
                                        </p:attrNameLst>
                                      </p:cBhvr>
                                      <p:to>
                                        <p:strVal val="visible"/>
                                      </p:to>
                                    </p:set>
                                    <p:animEffect transition="in" filter="fade">
                                      <p:cBhvr>
                                        <p:cTn id="157" dur="1000"/>
                                        <p:tgtEl>
                                          <p:spTgt spid="35"/>
                                        </p:tgtEl>
                                      </p:cBhvr>
                                    </p:animEffect>
                                    <p:anim calcmode="lin" valueType="num">
                                      <p:cBhvr>
                                        <p:cTn id="158" dur="1000" fill="hold"/>
                                        <p:tgtEl>
                                          <p:spTgt spid="35"/>
                                        </p:tgtEl>
                                        <p:attrNameLst>
                                          <p:attrName>ppt_x</p:attrName>
                                        </p:attrNameLst>
                                      </p:cBhvr>
                                      <p:tavLst>
                                        <p:tav tm="0">
                                          <p:val>
                                            <p:strVal val="#ppt_x"/>
                                          </p:val>
                                        </p:tav>
                                        <p:tav tm="100000">
                                          <p:val>
                                            <p:strVal val="#ppt_x"/>
                                          </p:val>
                                        </p:tav>
                                      </p:tavLst>
                                    </p:anim>
                                    <p:anim calcmode="lin" valueType="num">
                                      <p:cBhvr>
                                        <p:cTn id="159" dur="1000" fill="hold"/>
                                        <p:tgtEl>
                                          <p:spTgt spid="35"/>
                                        </p:tgtEl>
                                        <p:attrNameLst>
                                          <p:attrName>ppt_y</p:attrName>
                                        </p:attrNameLst>
                                      </p:cBhvr>
                                      <p:tavLst>
                                        <p:tav tm="0">
                                          <p:val>
                                            <p:strVal val="#ppt_y-.1"/>
                                          </p:val>
                                        </p:tav>
                                        <p:tav tm="100000">
                                          <p:val>
                                            <p:strVal val="#ppt_y"/>
                                          </p:val>
                                        </p:tav>
                                      </p:tavLst>
                                    </p:anim>
                                  </p:childTnLst>
                                </p:cTn>
                              </p:par>
                              <p:par>
                                <p:cTn id="160" presetID="42" presetClass="entr" presetSubtype="0" fill="hold" grpId="0" nodeType="withEffect">
                                  <p:stCondLst>
                                    <p:cond delay="100"/>
                                  </p:stCondLst>
                                  <p:childTnLst>
                                    <p:set>
                                      <p:cBhvr>
                                        <p:cTn id="161" dur="1" fill="hold">
                                          <p:stCondLst>
                                            <p:cond delay="0"/>
                                          </p:stCondLst>
                                        </p:cTn>
                                        <p:tgtEl>
                                          <p:spTgt spid="36"/>
                                        </p:tgtEl>
                                        <p:attrNameLst>
                                          <p:attrName>style.visibility</p:attrName>
                                        </p:attrNameLst>
                                      </p:cBhvr>
                                      <p:to>
                                        <p:strVal val="visible"/>
                                      </p:to>
                                    </p:set>
                                    <p:animEffect transition="in" filter="fade">
                                      <p:cBhvr>
                                        <p:cTn id="162" dur="1000"/>
                                        <p:tgtEl>
                                          <p:spTgt spid="36"/>
                                        </p:tgtEl>
                                      </p:cBhvr>
                                    </p:animEffect>
                                    <p:anim calcmode="lin" valueType="num">
                                      <p:cBhvr>
                                        <p:cTn id="163" dur="1000" fill="hold"/>
                                        <p:tgtEl>
                                          <p:spTgt spid="36"/>
                                        </p:tgtEl>
                                        <p:attrNameLst>
                                          <p:attrName>ppt_x</p:attrName>
                                        </p:attrNameLst>
                                      </p:cBhvr>
                                      <p:tavLst>
                                        <p:tav tm="0">
                                          <p:val>
                                            <p:strVal val="#ppt_x"/>
                                          </p:val>
                                        </p:tav>
                                        <p:tav tm="100000">
                                          <p:val>
                                            <p:strVal val="#ppt_x"/>
                                          </p:val>
                                        </p:tav>
                                      </p:tavLst>
                                    </p:anim>
                                    <p:anim calcmode="lin" valueType="num">
                                      <p:cBhvr>
                                        <p:cTn id="164" dur="1000" fill="hold"/>
                                        <p:tgtEl>
                                          <p:spTgt spid="36"/>
                                        </p:tgtEl>
                                        <p:attrNameLst>
                                          <p:attrName>ppt_y</p:attrName>
                                        </p:attrNameLst>
                                      </p:cBhvr>
                                      <p:tavLst>
                                        <p:tav tm="0">
                                          <p:val>
                                            <p:strVal val="#ppt_y+.1"/>
                                          </p:val>
                                        </p:tav>
                                        <p:tav tm="100000">
                                          <p:val>
                                            <p:strVal val="#ppt_y"/>
                                          </p:val>
                                        </p:tav>
                                      </p:tavLst>
                                    </p:anim>
                                  </p:childTnLst>
                                </p:cTn>
                              </p:par>
                              <p:par>
                                <p:cTn id="165" presetID="47" presetClass="entr" presetSubtype="0" fill="hold" grpId="0" nodeType="withEffect">
                                  <p:stCondLst>
                                    <p:cond delay="200"/>
                                  </p:stCondLst>
                                  <p:childTnLst>
                                    <p:set>
                                      <p:cBhvr>
                                        <p:cTn id="166" dur="1" fill="hold">
                                          <p:stCondLst>
                                            <p:cond delay="0"/>
                                          </p:stCondLst>
                                        </p:cTn>
                                        <p:tgtEl>
                                          <p:spTgt spid="38"/>
                                        </p:tgtEl>
                                        <p:attrNameLst>
                                          <p:attrName>style.visibility</p:attrName>
                                        </p:attrNameLst>
                                      </p:cBhvr>
                                      <p:to>
                                        <p:strVal val="visible"/>
                                      </p:to>
                                    </p:set>
                                    <p:animEffect transition="in" filter="fade">
                                      <p:cBhvr>
                                        <p:cTn id="167" dur="1000"/>
                                        <p:tgtEl>
                                          <p:spTgt spid="38"/>
                                        </p:tgtEl>
                                      </p:cBhvr>
                                    </p:animEffect>
                                    <p:anim calcmode="lin" valueType="num">
                                      <p:cBhvr>
                                        <p:cTn id="168" dur="1000" fill="hold"/>
                                        <p:tgtEl>
                                          <p:spTgt spid="38"/>
                                        </p:tgtEl>
                                        <p:attrNameLst>
                                          <p:attrName>ppt_x</p:attrName>
                                        </p:attrNameLst>
                                      </p:cBhvr>
                                      <p:tavLst>
                                        <p:tav tm="0">
                                          <p:val>
                                            <p:strVal val="#ppt_x"/>
                                          </p:val>
                                        </p:tav>
                                        <p:tav tm="100000">
                                          <p:val>
                                            <p:strVal val="#ppt_x"/>
                                          </p:val>
                                        </p:tav>
                                      </p:tavLst>
                                    </p:anim>
                                    <p:anim calcmode="lin" valueType="num">
                                      <p:cBhvr>
                                        <p:cTn id="169" dur="1000" fill="hold"/>
                                        <p:tgtEl>
                                          <p:spTgt spid="38"/>
                                        </p:tgtEl>
                                        <p:attrNameLst>
                                          <p:attrName>ppt_y</p:attrName>
                                        </p:attrNameLst>
                                      </p:cBhvr>
                                      <p:tavLst>
                                        <p:tav tm="0">
                                          <p:val>
                                            <p:strVal val="#ppt_y-.1"/>
                                          </p:val>
                                        </p:tav>
                                        <p:tav tm="100000">
                                          <p:val>
                                            <p:strVal val="#ppt_y"/>
                                          </p:val>
                                        </p:tav>
                                      </p:tavLst>
                                    </p:anim>
                                  </p:childTnLst>
                                </p:cTn>
                              </p:par>
                              <p:par>
                                <p:cTn id="170" presetID="42" presetClass="entr" presetSubtype="0" fill="hold" grpId="0" nodeType="withEffect">
                                  <p:stCondLst>
                                    <p:cond delay="300"/>
                                  </p:stCondLst>
                                  <p:childTnLst>
                                    <p:set>
                                      <p:cBhvr>
                                        <p:cTn id="171" dur="1" fill="hold">
                                          <p:stCondLst>
                                            <p:cond delay="0"/>
                                          </p:stCondLst>
                                        </p:cTn>
                                        <p:tgtEl>
                                          <p:spTgt spid="39"/>
                                        </p:tgtEl>
                                        <p:attrNameLst>
                                          <p:attrName>style.visibility</p:attrName>
                                        </p:attrNameLst>
                                      </p:cBhvr>
                                      <p:to>
                                        <p:strVal val="visible"/>
                                      </p:to>
                                    </p:set>
                                    <p:animEffect transition="in" filter="fade">
                                      <p:cBhvr>
                                        <p:cTn id="172" dur="500"/>
                                        <p:tgtEl>
                                          <p:spTgt spid="39"/>
                                        </p:tgtEl>
                                      </p:cBhvr>
                                    </p:animEffect>
                                    <p:anim calcmode="lin" valueType="num">
                                      <p:cBhvr>
                                        <p:cTn id="173" dur="500" fill="hold"/>
                                        <p:tgtEl>
                                          <p:spTgt spid="39"/>
                                        </p:tgtEl>
                                        <p:attrNameLst>
                                          <p:attrName>ppt_x</p:attrName>
                                        </p:attrNameLst>
                                      </p:cBhvr>
                                      <p:tavLst>
                                        <p:tav tm="0">
                                          <p:val>
                                            <p:strVal val="#ppt_x"/>
                                          </p:val>
                                        </p:tav>
                                        <p:tav tm="100000">
                                          <p:val>
                                            <p:strVal val="#ppt_x"/>
                                          </p:val>
                                        </p:tav>
                                      </p:tavLst>
                                    </p:anim>
                                    <p:anim calcmode="lin" valueType="num">
                                      <p:cBhvr>
                                        <p:cTn id="174" dur="500" fill="hold"/>
                                        <p:tgtEl>
                                          <p:spTgt spid="39"/>
                                        </p:tgtEl>
                                        <p:attrNameLst>
                                          <p:attrName>ppt_y</p:attrName>
                                        </p:attrNameLst>
                                      </p:cBhvr>
                                      <p:tavLst>
                                        <p:tav tm="0">
                                          <p:val>
                                            <p:strVal val="#ppt_y+.1"/>
                                          </p:val>
                                        </p:tav>
                                        <p:tav tm="100000">
                                          <p:val>
                                            <p:strVal val="#ppt_y"/>
                                          </p:val>
                                        </p:tav>
                                      </p:tavLst>
                                    </p:anim>
                                  </p:childTnLst>
                                </p:cTn>
                              </p:par>
                              <p:par>
                                <p:cTn id="175" presetID="47" presetClass="entr" presetSubtype="0" fill="hold" grpId="0" nodeType="withEffect">
                                  <p:stCondLst>
                                    <p:cond delay="400"/>
                                  </p:stCondLst>
                                  <p:childTnLst>
                                    <p:set>
                                      <p:cBhvr>
                                        <p:cTn id="176" dur="1" fill="hold">
                                          <p:stCondLst>
                                            <p:cond delay="0"/>
                                          </p:stCondLst>
                                        </p:cTn>
                                        <p:tgtEl>
                                          <p:spTgt spid="40"/>
                                        </p:tgtEl>
                                        <p:attrNameLst>
                                          <p:attrName>style.visibility</p:attrName>
                                        </p:attrNameLst>
                                      </p:cBhvr>
                                      <p:to>
                                        <p:strVal val="visible"/>
                                      </p:to>
                                    </p:set>
                                    <p:animEffect transition="in" filter="fade">
                                      <p:cBhvr>
                                        <p:cTn id="177" dur="1000"/>
                                        <p:tgtEl>
                                          <p:spTgt spid="40"/>
                                        </p:tgtEl>
                                      </p:cBhvr>
                                    </p:animEffect>
                                    <p:anim calcmode="lin" valueType="num">
                                      <p:cBhvr>
                                        <p:cTn id="178" dur="1000" fill="hold"/>
                                        <p:tgtEl>
                                          <p:spTgt spid="40"/>
                                        </p:tgtEl>
                                        <p:attrNameLst>
                                          <p:attrName>ppt_x</p:attrName>
                                        </p:attrNameLst>
                                      </p:cBhvr>
                                      <p:tavLst>
                                        <p:tav tm="0">
                                          <p:val>
                                            <p:strVal val="#ppt_x"/>
                                          </p:val>
                                        </p:tav>
                                        <p:tav tm="100000">
                                          <p:val>
                                            <p:strVal val="#ppt_x"/>
                                          </p:val>
                                        </p:tav>
                                      </p:tavLst>
                                    </p:anim>
                                    <p:anim calcmode="lin" valueType="num">
                                      <p:cBhvr>
                                        <p:cTn id="179" dur="1000" fill="hold"/>
                                        <p:tgtEl>
                                          <p:spTgt spid="40"/>
                                        </p:tgtEl>
                                        <p:attrNameLst>
                                          <p:attrName>ppt_y</p:attrName>
                                        </p:attrNameLst>
                                      </p:cBhvr>
                                      <p:tavLst>
                                        <p:tav tm="0">
                                          <p:val>
                                            <p:strVal val="#ppt_y-.1"/>
                                          </p:val>
                                        </p:tav>
                                        <p:tav tm="100000">
                                          <p:val>
                                            <p:strVal val="#ppt_y"/>
                                          </p:val>
                                        </p:tav>
                                      </p:tavLst>
                                    </p:anim>
                                  </p:childTnLst>
                                </p:cTn>
                              </p:par>
                              <p:par>
                                <p:cTn id="180" presetID="42" presetClass="entr" presetSubtype="0" fill="hold" grpId="0" nodeType="withEffect">
                                  <p:stCondLst>
                                    <p:cond delay="500"/>
                                  </p:stCondLst>
                                  <p:childTnLst>
                                    <p:set>
                                      <p:cBhvr>
                                        <p:cTn id="181" dur="1" fill="hold">
                                          <p:stCondLst>
                                            <p:cond delay="0"/>
                                          </p:stCondLst>
                                        </p:cTn>
                                        <p:tgtEl>
                                          <p:spTgt spid="17"/>
                                        </p:tgtEl>
                                        <p:attrNameLst>
                                          <p:attrName>style.visibility</p:attrName>
                                        </p:attrNameLst>
                                      </p:cBhvr>
                                      <p:to>
                                        <p:strVal val="visible"/>
                                      </p:to>
                                    </p:set>
                                    <p:animEffect transition="in" filter="fade">
                                      <p:cBhvr>
                                        <p:cTn id="182" dur="1000"/>
                                        <p:tgtEl>
                                          <p:spTgt spid="17"/>
                                        </p:tgtEl>
                                      </p:cBhvr>
                                    </p:animEffect>
                                    <p:anim calcmode="lin" valueType="num">
                                      <p:cBhvr>
                                        <p:cTn id="183" dur="1000" fill="hold"/>
                                        <p:tgtEl>
                                          <p:spTgt spid="17"/>
                                        </p:tgtEl>
                                        <p:attrNameLst>
                                          <p:attrName>ppt_x</p:attrName>
                                        </p:attrNameLst>
                                      </p:cBhvr>
                                      <p:tavLst>
                                        <p:tav tm="0">
                                          <p:val>
                                            <p:strVal val="#ppt_x"/>
                                          </p:val>
                                        </p:tav>
                                        <p:tav tm="100000">
                                          <p:val>
                                            <p:strVal val="#ppt_x"/>
                                          </p:val>
                                        </p:tav>
                                      </p:tavLst>
                                    </p:anim>
                                    <p:anim calcmode="lin" valueType="num">
                                      <p:cBhvr>
                                        <p:cTn id="184" dur="1000" fill="hold"/>
                                        <p:tgtEl>
                                          <p:spTgt spid="17"/>
                                        </p:tgtEl>
                                        <p:attrNameLst>
                                          <p:attrName>ppt_y</p:attrName>
                                        </p:attrNameLst>
                                      </p:cBhvr>
                                      <p:tavLst>
                                        <p:tav tm="0">
                                          <p:val>
                                            <p:strVal val="#ppt_y+.1"/>
                                          </p:val>
                                        </p:tav>
                                        <p:tav tm="100000">
                                          <p:val>
                                            <p:strVal val="#ppt_y"/>
                                          </p:val>
                                        </p:tav>
                                      </p:tavLst>
                                    </p:anim>
                                  </p:childTnLst>
                                </p:cTn>
                              </p:par>
                              <p:par>
                                <p:cTn id="185" presetID="42" presetClass="entr" presetSubtype="0" fill="hold" grpId="0" nodeType="withEffect">
                                  <p:stCondLst>
                                    <p:cond delay="600"/>
                                  </p:stCondLst>
                                  <p:childTnLst>
                                    <p:set>
                                      <p:cBhvr>
                                        <p:cTn id="186" dur="1" fill="hold">
                                          <p:stCondLst>
                                            <p:cond delay="0"/>
                                          </p:stCondLst>
                                        </p:cTn>
                                        <p:tgtEl>
                                          <p:spTgt spid="18"/>
                                        </p:tgtEl>
                                        <p:attrNameLst>
                                          <p:attrName>style.visibility</p:attrName>
                                        </p:attrNameLst>
                                      </p:cBhvr>
                                      <p:to>
                                        <p:strVal val="visible"/>
                                      </p:to>
                                    </p:set>
                                    <p:animEffect transition="in" filter="fade">
                                      <p:cBhvr>
                                        <p:cTn id="187" dur="1500"/>
                                        <p:tgtEl>
                                          <p:spTgt spid="18"/>
                                        </p:tgtEl>
                                      </p:cBhvr>
                                    </p:animEffect>
                                    <p:anim calcmode="lin" valueType="num">
                                      <p:cBhvr>
                                        <p:cTn id="188" dur="1500" fill="hold"/>
                                        <p:tgtEl>
                                          <p:spTgt spid="18"/>
                                        </p:tgtEl>
                                        <p:attrNameLst>
                                          <p:attrName>ppt_x</p:attrName>
                                        </p:attrNameLst>
                                      </p:cBhvr>
                                      <p:tavLst>
                                        <p:tav tm="0">
                                          <p:val>
                                            <p:strVal val="#ppt_x"/>
                                          </p:val>
                                        </p:tav>
                                        <p:tav tm="100000">
                                          <p:val>
                                            <p:strVal val="#ppt_x"/>
                                          </p:val>
                                        </p:tav>
                                      </p:tavLst>
                                    </p:anim>
                                    <p:anim calcmode="lin" valueType="num">
                                      <p:cBhvr>
                                        <p:cTn id="189" dur="1500" fill="hold"/>
                                        <p:tgtEl>
                                          <p:spTgt spid="18"/>
                                        </p:tgtEl>
                                        <p:attrNameLst>
                                          <p:attrName>ppt_y</p:attrName>
                                        </p:attrNameLst>
                                      </p:cBhvr>
                                      <p:tavLst>
                                        <p:tav tm="0">
                                          <p:val>
                                            <p:strVal val="#ppt_y+.1"/>
                                          </p:val>
                                        </p:tav>
                                        <p:tav tm="100000">
                                          <p:val>
                                            <p:strVal val="#ppt_y"/>
                                          </p:val>
                                        </p:tav>
                                      </p:tavLst>
                                    </p:anim>
                                  </p:childTnLst>
                                </p:cTn>
                              </p:par>
                              <p:par>
                                <p:cTn id="190" presetID="42" presetClass="entr" presetSubtype="0" fill="hold" grpId="0" nodeType="withEffect">
                                  <p:stCondLst>
                                    <p:cond delay="700"/>
                                  </p:stCondLst>
                                  <p:childTnLst>
                                    <p:set>
                                      <p:cBhvr>
                                        <p:cTn id="191" dur="1" fill="hold">
                                          <p:stCondLst>
                                            <p:cond delay="0"/>
                                          </p:stCondLst>
                                        </p:cTn>
                                        <p:tgtEl>
                                          <p:spTgt spid="20"/>
                                        </p:tgtEl>
                                        <p:attrNameLst>
                                          <p:attrName>style.visibility</p:attrName>
                                        </p:attrNameLst>
                                      </p:cBhvr>
                                      <p:to>
                                        <p:strVal val="visible"/>
                                      </p:to>
                                    </p:set>
                                    <p:animEffect transition="in" filter="fade">
                                      <p:cBhvr>
                                        <p:cTn id="192" dur="1000"/>
                                        <p:tgtEl>
                                          <p:spTgt spid="20"/>
                                        </p:tgtEl>
                                      </p:cBhvr>
                                    </p:animEffect>
                                    <p:anim calcmode="lin" valueType="num">
                                      <p:cBhvr>
                                        <p:cTn id="193" dur="1000" fill="hold"/>
                                        <p:tgtEl>
                                          <p:spTgt spid="20"/>
                                        </p:tgtEl>
                                        <p:attrNameLst>
                                          <p:attrName>ppt_x</p:attrName>
                                        </p:attrNameLst>
                                      </p:cBhvr>
                                      <p:tavLst>
                                        <p:tav tm="0">
                                          <p:val>
                                            <p:strVal val="#ppt_x"/>
                                          </p:val>
                                        </p:tav>
                                        <p:tav tm="100000">
                                          <p:val>
                                            <p:strVal val="#ppt_x"/>
                                          </p:val>
                                        </p:tav>
                                      </p:tavLst>
                                    </p:anim>
                                    <p:anim calcmode="lin" valueType="num">
                                      <p:cBhvr>
                                        <p:cTn id="194" dur="1000" fill="hold"/>
                                        <p:tgtEl>
                                          <p:spTgt spid="20"/>
                                        </p:tgtEl>
                                        <p:attrNameLst>
                                          <p:attrName>ppt_y</p:attrName>
                                        </p:attrNameLst>
                                      </p:cBhvr>
                                      <p:tavLst>
                                        <p:tav tm="0">
                                          <p:val>
                                            <p:strVal val="#ppt_y+.1"/>
                                          </p:val>
                                        </p:tav>
                                        <p:tav tm="100000">
                                          <p:val>
                                            <p:strVal val="#ppt_y"/>
                                          </p:val>
                                        </p:tav>
                                      </p:tavLst>
                                    </p:anim>
                                  </p:childTnLst>
                                </p:cTn>
                              </p:par>
                              <p:par>
                                <p:cTn id="195" presetID="42" presetClass="entr" presetSubtype="0" fill="hold" grpId="0" nodeType="withEffect">
                                  <p:stCondLst>
                                    <p:cond delay="800"/>
                                  </p:stCondLst>
                                  <p:childTnLst>
                                    <p:set>
                                      <p:cBhvr>
                                        <p:cTn id="196" dur="1" fill="hold">
                                          <p:stCondLst>
                                            <p:cond delay="0"/>
                                          </p:stCondLst>
                                        </p:cTn>
                                        <p:tgtEl>
                                          <p:spTgt spid="27"/>
                                        </p:tgtEl>
                                        <p:attrNameLst>
                                          <p:attrName>style.visibility</p:attrName>
                                        </p:attrNameLst>
                                      </p:cBhvr>
                                      <p:to>
                                        <p:strVal val="visible"/>
                                      </p:to>
                                    </p:set>
                                    <p:animEffect transition="in" filter="fade">
                                      <p:cBhvr>
                                        <p:cTn id="197" dur="500"/>
                                        <p:tgtEl>
                                          <p:spTgt spid="27"/>
                                        </p:tgtEl>
                                      </p:cBhvr>
                                    </p:animEffect>
                                    <p:anim calcmode="lin" valueType="num">
                                      <p:cBhvr>
                                        <p:cTn id="198" dur="500" fill="hold"/>
                                        <p:tgtEl>
                                          <p:spTgt spid="27"/>
                                        </p:tgtEl>
                                        <p:attrNameLst>
                                          <p:attrName>ppt_x</p:attrName>
                                        </p:attrNameLst>
                                      </p:cBhvr>
                                      <p:tavLst>
                                        <p:tav tm="0">
                                          <p:val>
                                            <p:strVal val="#ppt_x"/>
                                          </p:val>
                                        </p:tav>
                                        <p:tav tm="100000">
                                          <p:val>
                                            <p:strVal val="#ppt_x"/>
                                          </p:val>
                                        </p:tav>
                                      </p:tavLst>
                                    </p:anim>
                                    <p:anim calcmode="lin" valueType="num">
                                      <p:cBhvr>
                                        <p:cTn id="199" dur="500" fill="hold"/>
                                        <p:tgtEl>
                                          <p:spTgt spid="27"/>
                                        </p:tgtEl>
                                        <p:attrNameLst>
                                          <p:attrName>ppt_y</p:attrName>
                                        </p:attrNameLst>
                                      </p:cBhvr>
                                      <p:tavLst>
                                        <p:tav tm="0">
                                          <p:val>
                                            <p:strVal val="#ppt_y+.1"/>
                                          </p:val>
                                        </p:tav>
                                        <p:tav tm="100000">
                                          <p:val>
                                            <p:strVal val="#ppt_y"/>
                                          </p:val>
                                        </p:tav>
                                      </p:tavLst>
                                    </p:anim>
                                  </p:childTnLst>
                                </p:cTn>
                              </p:par>
                              <p:par>
                                <p:cTn id="200" presetID="47" presetClass="entr" presetSubtype="0" fill="hold" grpId="0" nodeType="withEffect">
                                  <p:stCondLst>
                                    <p:cond delay="900"/>
                                  </p:stCondLst>
                                  <p:childTnLst>
                                    <p:set>
                                      <p:cBhvr>
                                        <p:cTn id="201" dur="1" fill="hold">
                                          <p:stCondLst>
                                            <p:cond delay="0"/>
                                          </p:stCondLst>
                                        </p:cTn>
                                        <p:tgtEl>
                                          <p:spTgt spid="37"/>
                                        </p:tgtEl>
                                        <p:attrNameLst>
                                          <p:attrName>style.visibility</p:attrName>
                                        </p:attrNameLst>
                                      </p:cBhvr>
                                      <p:to>
                                        <p:strVal val="visible"/>
                                      </p:to>
                                    </p:set>
                                    <p:animEffect transition="in" filter="fade">
                                      <p:cBhvr>
                                        <p:cTn id="202" dur="1000"/>
                                        <p:tgtEl>
                                          <p:spTgt spid="37"/>
                                        </p:tgtEl>
                                      </p:cBhvr>
                                    </p:animEffect>
                                    <p:anim calcmode="lin" valueType="num">
                                      <p:cBhvr>
                                        <p:cTn id="203" dur="1000" fill="hold"/>
                                        <p:tgtEl>
                                          <p:spTgt spid="37"/>
                                        </p:tgtEl>
                                        <p:attrNameLst>
                                          <p:attrName>ppt_x</p:attrName>
                                        </p:attrNameLst>
                                      </p:cBhvr>
                                      <p:tavLst>
                                        <p:tav tm="0">
                                          <p:val>
                                            <p:strVal val="#ppt_x"/>
                                          </p:val>
                                        </p:tav>
                                        <p:tav tm="100000">
                                          <p:val>
                                            <p:strVal val="#ppt_x"/>
                                          </p:val>
                                        </p:tav>
                                      </p:tavLst>
                                    </p:anim>
                                    <p:anim calcmode="lin" valueType="num">
                                      <p:cBhvr>
                                        <p:cTn id="204" dur="1000" fill="hold"/>
                                        <p:tgtEl>
                                          <p:spTgt spid="37"/>
                                        </p:tgtEl>
                                        <p:attrNameLst>
                                          <p:attrName>ppt_y</p:attrName>
                                        </p:attrNameLst>
                                      </p:cBhvr>
                                      <p:tavLst>
                                        <p:tav tm="0">
                                          <p:val>
                                            <p:strVal val="#ppt_y-.1"/>
                                          </p:val>
                                        </p:tav>
                                        <p:tav tm="100000">
                                          <p:val>
                                            <p:strVal val="#ppt_y"/>
                                          </p:val>
                                        </p:tav>
                                      </p:tavLst>
                                    </p:anim>
                                  </p:childTnLst>
                                </p:cTn>
                              </p:par>
                              <p:par>
                                <p:cTn id="205" presetID="42" presetClass="entr" presetSubtype="0" fill="hold" grpId="0" nodeType="withEffect">
                                  <p:stCondLst>
                                    <p:cond delay="1000"/>
                                  </p:stCondLst>
                                  <p:childTnLst>
                                    <p:set>
                                      <p:cBhvr>
                                        <p:cTn id="206" dur="1" fill="hold">
                                          <p:stCondLst>
                                            <p:cond delay="0"/>
                                          </p:stCondLst>
                                        </p:cTn>
                                        <p:tgtEl>
                                          <p:spTgt spid="28"/>
                                        </p:tgtEl>
                                        <p:attrNameLst>
                                          <p:attrName>style.visibility</p:attrName>
                                        </p:attrNameLst>
                                      </p:cBhvr>
                                      <p:to>
                                        <p:strVal val="visible"/>
                                      </p:to>
                                    </p:set>
                                    <p:animEffect transition="in" filter="fade">
                                      <p:cBhvr>
                                        <p:cTn id="207" dur="1000"/>
                                        <p:tgtEl>
                                          <p:spTgt spid="28"/>
                                        </p:tgtEl>
                                      </p:cBhvr>
                                    </p:animEffect>
                                    <p:anim calcmode="lin" valueType="num">
                                      <p:cBhvr>
                                        <p:cTn id="208" dur="1000" fill="hold"/>
                                        <p:tgtEl>
                                          <p:spTgt spid="28"/>
                                        </p:tgtEl>
                                        <p:attrNameLst>
                                          <p:attrName>ppt_x</p:attrName>
                                        </p:attrNameLst>
                                      </p:cBhvr>
                                      <p:tavLst>
                                        <p:tav tm="0">
                                          <p:val>
                                            <p:strVal val="#ppt_x"/>
                                          </p:val>
                                        </p:tav>
                                        <p:tav tm="100000">
                                          <p:val>
                                            <p:strVal val="#ppt_x"/>
                                          </p:val>
                                        </p:tav>
                                      </p:tavLst>
                                    </p:anim>
                                    <p:anim calcmode="lin" valueType="num">
                                      <p:cBhvr>
                                        <p:cTn id="209" dur="1000" fill="hold"/>
                                        <p:tgtEl>
                                          <p:spTgt spid="28"/>
                                        </p:tgtEl>
                                        <p:attrNameLst>
                                          <p:attrName>ppt_y</p:attrName>
                                        </p:attrNameLst>
                                      </p:cBhvr>
                                      <p:tavLst>
                                        <p:tav tm="0">
                                          <p:val>
                                            <p:strVal val="#ppt_y+.1"/>
                                          </p:val>
                                        </p:tav>
                                        <p:tav tm="100000">
                                          <p:val>
                                            <p:strVal val="#ppt_y"/>
                                          </p:val>
                                        </p:tav>
                                      </p:tavLst>
                                    </p:anim>
                                  </p:childTnLst>
                                </p:cTn>
                              </p:par>
                              <p:par>
                                <p:cTn id="210" presetID="42" presetClass="entr" presetSubtype="0" fill="hold" grpId="0" nodeType="withEffect">
                                  <p:stCondLst>
                                    <p:cond delay="1100"/>
                                  </p:stCondLst>
                                  <p:childTnLst>
                                    <p:set>
                                      <p:cBhvr>
                                        <p:cTn id="211" dur="1" fill="hold">
                                          <p:stCondLst>
                                            <p:cond delay="0"/>
                                          </p:stCondLst>
                                        </p:cTn>
                                        <p:tgtEl>
                                          <p:spTgt spid="33"/>
                                        </p:tgtEl>
                                        <p:attrNameLst>
                                          <p:attrName>style.visibility</p:attrName>
                                        </p:attrNameLst>
                                      </p:cBhvr>
                                      <p:to>
                                        <p:strVal val="visible"/>
                                      </p:to>
                                    </p:set>
                                    <p:animEffect transition="in" filter="fade">
                                      <p:cBhvr>
                                        <p:cTn id="212" dur="500"/>
                                        <p:tgtEl>
                                          <p:spTgt spid="33"/>
                                        </p:tgtEl>
                                      </p:cBhvr>
                                    </p:animEffect>
                                    <p:anim calcmode="lin" valueType="num">
                                      <p:cBhvr>
                                        <p:cTn id="213" dur="500" fill="hold"/>
                                        <p:tgtEl>
                                          <p:spTgt spid="33"/>
                                        </p:tgtEl>
                                        <p:attrNameLst>
                                          <p:attrName>ppt_x</p:attrName>
                                        </p:attrNameLst>
                                      </p:cBhvr>
                                      <p:tavLst>
                                        <p:tav tm="0">
                                          <p:val>
                                            <p:strVal val="#ppt_x"/>
                                          </p:val>
                                        </p:tav>
                                        <p:tav tm="100000">
                                          <p:val>
                                            <p:strVal val="#ppt_x"/>
                                          </p:val>
                                        </p:tav>
                                      </p:tavLst>
                                    </p:anim>
                                    <p:anim calcmode="lin" valueType="num">
                                      <p:cBhvr>
                                        <p:cTn id="214" dur="500" fill="hold"/>
                                        <p:tgtEl>
                                          <p:spTgt spid="33"/>
                                        </p:tgtEl>
                                        <p:attrNameLst>
                                          <p:attrName>ppt_y</p:attrName>
                                        </p:attrNameLst>
                                      </p:cBhvr>
                                      <p:tavLst>
                                        <p:tav tm="0">
                                          <p:val>
                                            <p:strVal val="#ppt_y+.1"/>
                                          </p:val>
                                        </p:tav>
                                        <p:tav tm="100000">
                                          <p:val>
                                            <p:strVal val="#ppt_y"/>
                                          </p:val>
                                        </p:tav>
                                      </p:tavLst>
                                    </p:anim>
                                  </p:childTnLst>
                                </p:cTn>
                              </p:par>
                              <p:par>
                                <p:cTn id="215" presetID="47" presetClass="entr" presetSubtype="0" fill="hold" grpId="0" nodeType="withEffect">
                                  <p:stCondLst>
                                    <p:cond delay="1200"/>
                                  </p:stCondLst>
                                  <p:childTnLst>
                                    <p:set>
                                      <p:cBhvr>
                                        <p:cTn id="216" dur="1" fill="hold">
                                          <p:stCondLst>
                                            <p:cond delay="0"/>
                                          </p:stCondLst>
                                        </p:cTn>
                                        <p:tgtEl>
                                          <p:spTgt spid="41"/>
                                        </p:tgtEl>
                                        <p:attrNameLst>
                                          <p:attrName>style.visibility</p:attrName>
                                        </p:attrNameLst>
                                      </p:cBhvr>
                                      <p:to>
                                        <p:strVal val="visible"/>
                                      </p:to>
                                    </p:set>
                                    <p:animEffect transition="in" filter="fade">
                                      <p:cBhvr>
                                        <p:cTn id="217" dur="1000"/>
                                        <p:tgtEl>
                                          <p:spTgt spid="41"/>
                                        </p:tgtEl>
                                      </p:cBhvr>
                                    </p:animEffect>
                                    <p:anim calcmode="lin" valueType="num">
                                      <p:cBhvr>
                                        <p:cTn id="218" dur="1000" fill="hold"/>
                                        <p:tgtEl>
                                          <p:spTgt spid="41"/>
                                        </p:tgtEl>
                                        <p:attrNameLst>
                                          <p:attrName>ppt_x</p:attrName>
                                        </p:attrNameLst>
                                      </p:cBhvr>
                                      <p:tavLst>
                                        <p:tav tm="0">
                                          <p:val>
                                            <p:strVal val="#ppt_x"/>
                                          </p:val>
                                        </p:tav>
                                        <p:tav tm="100000">
                                          <p:val>
                                            <p:strVal val="#ppt_x"/>
                                          </p:val>
                                        </p:tav>
                                      </p:tavLst>
                                    </p:anim>
                                    <p:anim calcmode="lin" valueType="num">
                                      <p:cBhvr>
                                        <p:cTn id="219" dur="1000" fill="hold"/>
                                        <p:tgtEl>
                                          <p:spTgt spid="41"/>
                                        </p:tgtEl>
                                        <p:attrNameLst>
                                          <p:attrName>ppt_y</p:attrName>
                                        </p:attrNameLst>
                                      </p:cBhvr>
                                      <p:tavLst>
                                        <p:tav tm="0">
                                          <p:val>
                                            <p:strVal val="#ppt_y-.1"/>
                                          </p:val>
                                        </p:tav>
                                        <p:tav tm="100000">
                                          <p:val>
                                            <p:strVal val="#ppt_y"/>
                                          </p:val>
                                        </p:tav>
                                      </p:tavLst>
                                    </p:anim>
                                  </p:childTnLst>
                                </p:cTn>
                              </p:par>
                              <p:par>
                                <p:cTn id="220" presetID="42" presetClass="entr" presetSubtype="0" fill="hold" grpId="0" nodeType="withEffect">
                                  <p:stCondLst>
                                    <p:cond delay="1300"/>
                                  </p:stCondLst>
                                  <p:childTnLst>
                                    <p:set>
                                      <p:cBhvr>
                                        <p:cTn id="221" dur="1" fill="hold">
                                          <p:stCondLst>
                                            <p:cond delay="0"/>
                                          </p:stCondLst>
                                        </p:cTn>
                                        <p:tgtEl>
                                          <p:spTgt spid="42"/>
                                        </p:tgtEl>
                                        <p:attrNameLst>
                                          <p:attrName>style.visibility</p:attrName>
                                        </p:attrNameLst>
                                      </p:cBhvr>
                                      <p:to>
                                        <p:strVal val="visible"/>
                                      </p:to>
                                    </p:set>
                                    <p:animEffect transition="in" filter="fade">
                                      <p:cBhvr>
                                        <p:cTn id="222" dur="1000"/>
                                        <p:tgtEl>
                                          <p:spTgt spid="42"/>
                                        </p:tgtEl>
                                      </p:cBhvr>
                                    </p:animEffect>
                                    <p:anim calcmode="lin" valueType="num">
                                      <p:cBhvr>
                                        <p:cTn id="223" dur="1000" fill="hold"/>
                                        <p:tgtEl>
                                          <p:spTgt spid="42"/>
                                        </p:tgtEl>
                                        <p:attrNameLst>
                                          <p:attrName>ppt_x</p:attrName>
                                        </p:attrNameLst>
                                      </p:cBhvr>
                                      <p:tavLst>
                                        <p:tav tm="0">
                                          <p:val>
                                            <p:strVal val="#ppt_x"/>
                                          </p:val>
                                        </p:tav>
                                        <p:tav tm="100000">
                                          <p:val>
                                            <p:strVal val="#ppt_x"/>
                                          </p:val>
                                        </p:tav>
                                      </p:tavLst>
                                    </p:anim>
                                    <p:anim calcmode="lin" valueType="num">
                                      <p:cBhvr>
                                        <p:cTn id="224" dur="1000" fill="hold"/>
                                        <p:tgtEl>
                                          <p:spTgt spid="42"/>
                                        </p:tgtEl>
                                        <p:attrNameLst>
                                          <p:attrName>ppt_y</p:attrName>
                                        </p:attrNameLst>
                                      </p:cBhvr>
                                      <p:tavLst>
                                        <p:tav tm="0">
                                          <p:val>
                                            <p:strVal val="#ppt_y+.1"/>
                                          </p:val>
                                        </p:tav>
                                        <p:tav tm="100000">
                                          <p:val>
                                            <p:strVal val="#ppt_y"/>
                                          </p:val>
                                        </p:tav>
                                      </p:tavLst>
                                    </p:anim>
                                  </p:childTnLst>
                                </p:cTn>
                              </p:par>
                              <p:par>
                                <p:cTn id="225" presetID="42" presetClass="entr" presetSubtype="0" fill="hold" grpId="0" nodeType="withEffect">
                                  <p:stCondLst>
                                    <p:cond delay="1400"/>
                                  </p:stCondLst>
                                  <p:childTnLst>
                                    <p:set>
                                      <p:cBhvr>
                                        <p:cTn id="226" dur="1" fill="hold">
                                          <p:stCondLst>
                                            <p:cond delay="0"/>
                                          </p:stCondLst>
                                        </p:cTn>
                                        <p:tgtEl>
                                          <p:spTgt spid="43"/>
                                        </p:tgtEl>
                                        <p:attrNameLst>
                                          <p:attrName>style.visibility</p:attrName>
                                        </p:attrNameLst>
                                      </p:cBhvr>
                                      <p:to>
                                        <p:strVal val="visible"/>
                                      </p:to>
                                    </p:set>
                                    <p:animEffect transition="in" filter="fade">
                                      <p:cBhvr>
                                        <p:cTn id="227" dur="500"/>
                                        <p:tgtEl>
                                          <p:spTgt spid="43"/>
                                        </p:tgtEl>
                                      </p:cBhvr>
                                    </p:animEffect>
                                    <p:anim calcmode="lin" valueType="num">
                                      <p:cBhvr>
                                        <p:cTn id="228" dur="500" fill="hold"/>
                                        <p:tgtEl>
                                          <p:spTgt spid="43"/>
                                        </p:tgtEl>
                                        <p:attrNameLst>
                                          <p:attrName>ppt_x</p:attrName>
                                        </p:attrNameLst>
                                      </p:cBhvr>
                                      <p:tavLst>
                                        <p:tav tm="0">
                                          <p:val>
                                            <p:strVal val="#ppt_x"/>
                                          </p:val>
                                        </p:tav>
                                        <p:tav tm="100000">
                                          <p:val>
                                            <p:strVal val="#ppt_x"/>
                                          </p:val>
                                        </p:tav>
                                      </p:tavLst>
                                    </p:anim>
                                    <p:anim calcmode="lin" valueType="num">
                                      <p:cBhvr>
                                        <p:cTn id="229" dur="500" fill="hold"/>
                                        <p:tgtEl>
                                          <p:spTgt spid="43"/>
                                        </p:tgtEl>
                                        <p:attrNameLst>
                                          <p:attrName>ppt_y</p:attrName>
                                        </p:attrNameLst>
                                      </p:cBhvr>
                                      <p:tavLst>
                                        <p:tav tm="0">
                                          <p:val>
                                            <p:strVal val="#ppt_y+.1"/>
                                          </p:val>
                                        </p:tav>
                                        <p:tav tm="100000">
                                          <p:val>
                                            <p:strVal val="#ppt_y"/>
                                          </p:val>
                                        </p:tav>
                                      </p:tavLst>
                                    </p:anim>
                                  </p:childTnLst>
                                </p:cTn>
                              </p:par>
                              <p:par>
                                <p:cTn id="230" presetID="42" presetClass="entr" presetSubtype="0" fill="hold" grpId="0" nodeType="withEffect">
                                  <p:stCondLst>
                                    <p:cond delay="1500"/>
                                  </p:stCondLst>
                                  <p:childTnLst>
                                    <p:set>
                                      <p:cBhvr>
                                        <p:cTn id="231" dur="1" fill="hold">
                                          <p:stCondLst>
                                            <p:cond delay="0"/>
                                          </p:stCondLst>
                                        </p:cTn>
                                        <p:tgtEl>
                                          <p:spTgt spid="44"/>
                                        </p:tgtEl>
                                        <p:attrNameLst>
                                          <p:attrName>style.visibility</p:attrName>
                                        </p:attrNameLst>
                                      </p:cBhvr>
                                      <p:to>
                                        <p:strVal val="visible"/>
                                      </p:to>
                                    </p:set>
                                    <p:animEffect transition="in" filter="fade">
                                      <p:cBhvr>
                                        <p:cTn id="232" dur="1000"/>
                                        <p:tgtEl>
                                          <p:spTgt spid="44"/>
                                        </p:tgtEl>
                                      </p:cBhvr>
                                    </p:animEffect>
                                    <p:anim calcmode="lin" valueType="num">
                                      <p:cBhvr>
                                        <p:cTn id="233" dur="1000" fill="hold"/>
                                        <p:tgtEl>
                                          <p:spTgt spid="44"/>
                                        </p:tgtEl>
                                        <p:attrNameLst>
                                          <p:attrName>ppt_x</p:attrName>
                                        </p:attrNameLst>
                                      </p:cBhvr>
                                      <p:tavLst>
                                        <p:tav tm="0">
                                          <p:val>
                                            <p:strVal val="#ppt_x"/>
                                          </p:val>
                                        </p:tav>
                                        <p:tav tm="100000">
                                          <p:val>
                                            <p:strVal val="#ppt_x"/>
                                          </p:val>
                                        </p:tav>
                                      </p:tavLst>
                                    </p:anim>
                                    <p:anim calcmode="lin" valueType="num">
                                      <p:cBhvr>
                                        <p:cTn id="234" dur="1000" fill="hold"/>
                                        <p:tgtEl>
                                          <p:spTgt spid="44"/>
                                        </p:tgtEl>
                                        <p:attrNameLst>
                                          <p:attrName>ppt_y</p:attrName>
                                        </p:attrNameLst>
                                      </p:cBhvr>
                                      <p:tavLst>
                                        <p:tav tm="0">
                                          <p:val>
                                            <p:strVal val="#ppt_y+.1"/>
                                          </p:val>
                                        </p:tav>
                                        <p:tav tm="100000">
                                          <p:val>
                                            <p:strVal val="#ppt_y"/>
                                          </p:val>
                                        </p:tav>
                                      </p:tavLst>
                                    </p:anim>
                                  </p:childTnLst>
                                </p:cTn>
                              </p:par>
                              <p:par>
                                <p:cTn id="235" presetID="47" presetClass="entr" presetSubtype="0" fill="hold" grpId="0" nodeType="withEffect">
                                  <p:stCondLst>
                                    <p:cond delay="1600"/>
                                  </p:stCondLst>
                                  <p:childTnLst>
                                    <p:set>
                                      <p:cBhvr>
                                        <p:cTn id="236" dur="1" fill="hold">
                                          <p:stCondLst>
                                            <p:cond delay="0"/>
                                          </p:stCondLst>
                                        </p:cTn>
                                        <p:tgtEl>
                                          <p:spTgt spid="52"/>
                                        </p:tgtEl>
                                        <p:attrNameLst>
                                          <p:attrName>style.visibility</p:attrName>
                                        </p:attrNameLst>
                                      </p:cBhvr>
                                      <p:to>
                                        <p:strVal val="visible"/>
                                      </p:to>
                                    </p:set>
                                    <p:animEffect transition="in" filter="fade">
                                      <p:cBhvr>
                                        <p:cTn id="237" dur="1000"/>
                                        <p:tgtEl>
                                          <p:spTgt spid="52"/>
                                        </p:tgtEl>
                                      </p:cBhvr>
                                    </p:animEffect>
                                    <p:anim calcmode="lin" valueType="num">
                                      <p:cBhvr>
                                        <p:cTn id="238" dur="1000" fill="hold"/>
                                        <p:tgtEl>
                                          <p:spTgt spid="52"/>
                                        </p:tgtEl>
                                        <p:attrNameLst>
                                          <p:attrName>ppt_x</p:attrName>
                                        </p:attrNameLst>
                                      </p:cBhvr>
                                      <p:tavLst>
                                        <p:tav tm="0">
                                          <p:val>
                                            <p:strVal val="#ppt_x"/>
                                          </p:val>
                                        </p:tav>
                                        <p:tav tm="100000">
                                          <p:val>
                                            <p:strVal val="#ppt_x"/>
                                          </p:val>
                                        </p:tav>
                                      </p:tavLst>
                                    </p:anim>
                                    <p:anim calcmode="lin" valueType="num">
                                      <p:cBhvr>
                                        <p:cTn id="239" dur="1000" fill="hold"/>
                                        <p:tgtEl>
                                          <p:spTgt spid="52"/>
                                        </p:tgtEl>
                                        <p:attrNameLst>
                                          <p:attrName>ppt_y</p:attrName>
                                        </p:attrNameLst>
                                      </p:cBhvr>
                                      <p:tavLst>
                                        <p:tav tm="0">
                                          <p:val>
                                            <p:strVal val="#ppt_y-.1"/>
                                          </p:val>
                                        </p:tav>
                                        <p:tav tm="100000">
                                          <p:val>
                                            <p:strVal val="#ppt_y"/>
                                          </p:val>
                                        </p:tav>
                                      </p:tavLst>
                                    </p:anim>
                                  </p:childTnLst>
                                </p:cTn>
                              </p:par>
                              <p:par>
                                <p:cTn id="240" presetID="42" presetClass="entr" presetSubtype="0" fill="hold" grpId="0" nodeType="withEffect">
                                  <p:stCondLst>
                                    <p:cond delay="1700"/>
                                  </p:stCondLst>
                                  <p:childTnLst>
                                    <p:set>
                                      <p:cBhvr>
                                        <p:cTn id="241" dur="1" fill="hold">
                                          <p:stCondLst>
                                            <p:cond delay="0"/>
                                          </p:stCondLst>
                                        </p:cTn>
                                        <p:tgtEl>
                                          <p:spTgt spid="53"/>
                                        </p:tgtEl>
                                        <p:attrNameLst>
                                          <p:attrName>style.visibility</p:attrName>
                                        </p:attrNameLst>
                                      </p:cBhvr>
                                      <p:to>
                                        <p:strVal val="visible"/>
                                      </p:to>
                                    </p:set>
                                    <p:animEffect transition="in" filter="fade">
                                      <p:cBhvr>
                                        <p:cTn id="242" dur="1000"/>
                                        <p:tgtEl>
                                          <p:spTgt spid="53"/>
                                        </p:tgtEl>
                                      </p:cBhvr>
                                    </p:animEffect>
                                    <p:anim calcmode="lin" valueType="num">
                                      <p:cBhvr>
                                        <p:cTn id="243" dur="1000" fill="hold"/>
                                        <p:tgtEl>
                                          <p:spTgt spid="53"/>
                                        </p:tgtEl>
                                        <p:attrNameLst>
                                          <p:attrName>ppt_x</p:attrName>
                                        </p:attrNameLst>
                                      </p:cBhvr>
                                      <p:tavLst>
                                        <p:tav tm="0">
                                          <p:val>
                                            <p:strVal val="#ppt_x"/>
                                          </p:val>
                                        </p:tav>
                                        <p:tav tm="100000">
                                          <p:val>
                                            <p:strVal val="#ppt_x"/>
                                          </p:val>
                                        </p:tav>
                                      </p:tavLst>
                                    </p:anim>
                                    <p:anim calcmode="lin" valueType="num">
                                      <p:cBhvr>
                                        <p:cTn id="244" dur="1000" fill="hold"/>
                                        <p:tgtEl>
                                          <p:spTgt spid="53"/>
                                        </p:tgtEl>
                                        <p:attrNameLst>
                                          <p:attrName>ppt_y</p:attrName>
                                        </p:attrNameLst>
                                      </p:cBhvr>
                                      <p:tavLst>
                                        <p:tav tm="0">
                                          <p:val>
                                            <p:strVal val="#ppt_y+.1"/>
                                          </p:val>
                                        </p:tav>
                                        <p:tav tm="100000">
                                          <p:val>
                                            <p:strVal val="#ppt_y"/>
                                          </p:val>
                                        </p:tav>
                                      </p:tavLst>
                                    </p:anim>
                                  </p:childTnLst>
                                </p:cTn>
                              </p:par>
                              <p:par>
                                <p:cTn id="245" presetID="47" presetClass="entr" presetSubtype="0" fill="hold" grpId="0" nodeType="withEffect">
                                  <p:stCondLst>
                                    <p:cond delay="1800"/>
                                  </p:stCondLst>
                                  <p:childTnLst>
                                    <p:set>
                                      <p:cBhvr>
                                        <p:cTn id="246" dur="1" fill="hold">
                                          <p:stCondLst>
                                            <p:cond delay="0"/>
                                          </p:stCondLst>
                                        </p:cTn>
                                        <p:tgtEl>
                                          <p:spTgt spid="29"/>
                                        </p:tgtEl>
                                        <p:attrNameLst>
                                          <p:attrName>style.visibility</p:attrName>
                                        </p:attrNameLst>
                                      </p:cBhvr>
                                      <p:to>
                                        <p:strVal val="visible"/>
                                      </p:to>
                                    </p:set>
                                    <p:animEffect transition="in" filter="fade">
                                      <p:cBhvr>
                                        <p:cTn id="247" dur="1000"/>
                                        <p:tgtEl>
                                          <p:spTgt spid="29"/>
                                        </p:tgtEl>
                                      </p:cBhvr>
                                    </p:animEffect>
                                    <p:anim calcmode="lin" valueType="num">
                                      <p:cBhvr>
                                        <p:cTn id="248" dur="1000" fill="hold"/>
                                        <p:tgtEl>
                                          <p:spTgt spid="29"/>
                                        </p:tgtEl>
                                        <p:attrNameLst>
                                          <p:attrName>ppt_x</p:attrName>
                                        </p:attrNameLst>
                                      </p:cBhvr>
                                      <p:tavLst>
                                        <p:tav tm="0">
                                          <p:val>
                                            <p:strVal val="#ppt_x"/>
                                          </p:val>
                                        </p:tav>
                                        <p:tav tm="100000">
                                          <p:val>
                                            <p:strVal val="#ppt_x"/>
                                          </p:val>
                                        </p:tav>
                                      </p:tavLst>
                                    </p:anim>
                                    <p:anim calcmode="lin" valueType="num">
                                      <p:cBhvr>
                                        <p:cTn id="249" dur="1000" fill="hold"/>
                                        <p:tgtEl>
                                          <p:spTgt spid="29"/>
                                        </p:tgtEl>
                                        <p:attrNameLst>
                                          <p:attrName>ppt_y</p:attrName>
                                        </p:attrNameLst>
                                      </p:cBhvr>
                                      <p:tavLst>
                                        <p:tav tm="0">
                                          <p:val>
                                            <p:strVal val="#ppt_y-.1"/>
                                          </p:val>
                                        </p:tav>
                                        <p:tav tm="100000">
                                          <p:val>
                                            <p:strVal val="#ppt_y"/>
                                          </p:val>
                                        </p:tav>
                                      </p:tavLst>
                                    </p:anim>
                                  </p:childTnLst>
                                </p:cTn>
                              </p:par>
                              <p:par>
                                <p:cTn id="250" presetID="42" presetClass="entr" presetSubtype="0" fill="hold" grpId="0" nodeType="withEffect">
                                  <p:stCondLst>
                                    <p:cond delay="1900"/>
                                  </p:stCondLst>
                                  <p:childTnLst>
                                    <p:set>
                                      <p:cBhvr>
                                        <p:cTn id="251" dur="1" fill="hold">
                                          <p:stCondLst>
                                            <p:cond delay="0"/>
                                          </p:stCondLst>
                                        </p:cTn>
                                        <p:tgtEl>
                                          <p:spTgt spid="30"/>
                                        </p:tgtEl>
                                        <p:attrNameLst>
                                          <p:attrName>style.visibility</p:attrName>
                                        </p:attrNameLst>
                                      </p:cBhvr>
                                      <p:to>
                                        <p:strVal val="visible"/>
                                      </p:to>
                                    </p:set>
                                    <p:animEffect transition="in" filter="fade">
                                      <p:cBhvr>
                                        <p:cTn id="252" dur="1500"/>
                                        <p:tgtEl>
                                          <p:spTgt spid="30"/>
                                        </p:tgtEl>
                                      </p:cBhvr>
                                    </p:animEffect>
                                    <p:anim calcmode="lin" valueType="num">
                                      <p:cBhvr>
                                        <p:cTn id="253" dur="1500" fill="hold"/>
                                        <p:tgtEl>
                                          <p:spTgt spid="30"/>
                                        </p:tgtEl>
                                        <p:attrNameLst>
                                          <p:attrName>ppt_x</p:attrName>
                                        </p:attrNameLst>
                                      </p:cBhvr>
                                      <p:tavLst>
                                        <p:tav tm="0">
                                          <p:val>
                                            <p:strVal val="#ppt_x"/>
                                          </p:val>
                                        </p:tav>
                                        <p:tav tm="100000">
                                          <p:val>
                                            <p:strVal val="#ppt_x"/>
                                          </p:val>
                                        </p:tav>
                                      </p:tavLst>
                                    </p:anim>
                                    <p:anim calcmode="lin" valueType="num">
                                      <p:cBhvr>
                                        <p:cTn id="254" dur="1500" fill="hold"/>
                                        <p:tgtEl>
                                          <p:spTgt spid="3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P spid="7" grpId="0"/>
      <p:bldP spid="8" grpId="0"/>
      <p:bldP spid="9" grpId="0"/>
      <p:bldP spid="10" grpId="0"/>
      <p:bldP spid="11" grpId="0"/>
      <p:bldP spid="12" grpId="0"/>
      <p:bldP spid="13" grpId="0"/>
      <p:bldP spid="14" grpId="0"/>
      <p:bldP spid="15" grpId="0"/>
      <p:bldP spid="16" grpId="0"/>
      <p:bldP spid="17" grpId="0"/>
      <p:bldP spid="18" grpId="0"/>
      <p:bldP spid="19" grpId="0"/>
      <p:bldP spid="20" grpId="0"/>
      <p:bldP spid="21" grpId="0"/>
      <p:bldP spid="22" grpId="0"/>
      <p:bldP spid="23" grpId="0"/>
      <p:bldP spid="24" grpId="0"/>
      <p:bldP spid="25" grpId="0"/>
      <p:bldP spid="26" grpId="0"/>
      <p:bldP spid="27" grpId="0"/>
      <p:bldP spid="28" grpId="0"/>
      <p:bldP spid="29" grpId="0"/>
      <p:bldP spid="30" grpId="0"/>
      <p:bldP spid="31" grpId="0"/>
      <p:bldP spid="32" grpId="0"/>
      <p:bldP spid="33" grpId="0"/>
      <p:bldP spid="34" grpId="0"/>
      <p:bldP spid="35" grpId="0"/>
      <p:bldP spid="36" grpId="0"/>
      <p:bldP spid="37" grpId="0"/>
      <p:bldP spid="38" grpId="0"/>
      <p:bldP spid="39" grpId="0"/>
      <p:bldP spid="40" grpId="0"/>
      <p:bldP spid="41" grpId="0"/>
      <p:bldP spid="42" grpId="0"/>
      <p:bldP spid="43" grpId="0"/>
      <p:bldP spid="44" grpId="0"/>
      <p:bldP spid="45" grpId="0"/>
      <p:bldP spid="46" grpId="0"/>
      <p:bldP spid="47" grpId="0"/>
      <p:bldP spid="48" grpId="0"/>
      <p:bldP spid="49" grpId="0"/>
      <p:bldP spid="50" grpId="0"/>
      <p:bldP spid="51" grpId="0"/>
      <p:bldP spid="52" grpId="0"/>
      <p:bldP spid="53" grpId="0"/>
    </p:bldLst>
  </p:timing>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p:cNvGrpSpPr/>
          <p:nvPr/>
        </p:nvGrpSpPr>
        <p:grpSpPr>
          <a:xfrm>
            <a:off x="4386625" y="467038"/>
            <a:ext cx="1422788" cy="1329482"/>
            <a:chOff x="5665775" y="2466267"/>
            <a:chExt cx="1896557" cy="1772642"/>
          </a:xfrm>
        </p:grpSpPr>
        <p:sp>
          <p:nvSpPr>
            <p:cNvPr id="17" name="Rectangle 16"/>
            <p:cNvSpPr/>
            <p:nvPr/>
          </p:nvSpPr>
          <p:spPr bwMode="auto">
            <a:xfrm>
              <a:off x="5665775" y="2466267"/>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637" fontAlgn="base">
                <a:spcBef>
                  <a:spcPct val="0"/>
                </a:spcBef>
                <a:spcAft>
                  <a:spcPct val="0"/>
                </a:spcAft>
              </a:pPr>
              <a:r>
                <a:rPr lang="en-US" dirty="0" smtClean="0">
                  <a:gradFill>
                    <a:gsLst>
                      <a:gs pos="0">
                        <a:srgbClr val="FFFFFF"/>
                      </a:gs>
                      <a:gs pos="100000">
                        <a:srgbClr val="FFFFFF"/>
                      </a:gs>
                    </a:gsLst>
                    <a:lin ang="5400000" scaled="0"/>
                  </a:gradFill>
                </a:rPr>
                <a:t>storage</a:t>
              </a:r>
            </a:p>
          </p:txBody>
        </p:sp>
        <p:pic>
          <p:nvPicPr>
            <p:cNvPr id="1026" name="Picture 2" descr="C:\Users\Jonahs\Dropbox\Projects SCOTT\MEET Windows Azure\source\Background\tile-icon-storag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 name="Group 1"/>
          <p:cNvGrpSpPr/>
          <p:nvPr/>
        </p:nvGrpSpPr>
        <p:grpSpPr>
          <a:xfrm>
            <a:off x="4379899" y="1849701"/>
            <a:ext cx="1422788" cy="1329482"/>
            <a:chOff x="1685919" y="596839"/>
            <a:chExt cx="1896557" cy="1772642"/>
          </a:xfrm>
        </p:grpSpPr>
        <p:sp>
          <p:nvSpPr>
            <p:cNvPr id="8" name="Rectangle 7"/>
            <p:cNvSpPr/>
            <p:nvPr/>
          </p:nvSpPr>
          <p:spPr bwMode="auto">
            <a:xfrm>
              <a:off x="1685919" y="596839"/>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637" fontAlgn="base">
                <a:spcBef>
                  <a:spcPct val="0"/>
                </a:spcBef>
                <a:spcAft>
                  <a:spcPct val="0"/>
                </a:spcAft>
              </a:pPr>
              <a:r>
                <a:rPr lang="en-US" dirty="0" smtClean="0">
                  <a:gradFill>
                    <a:gsLst>
                      <a:gs pos="0">
                        <a:srgbClr val="FFFFFF"/>
                      </a:gs>
                      <a:gs pos="100000">
                        <a:srgbClr val="FFFFFF"/>
                      </a:gs>
                    </a:gsLst>
                    <a:lin ang="5400000" scaled="0"/>
                  </a:gradFill>
                </a:rPr>
                <a:t>big data</a:t>
              </a:r>
            </a:p>
          </p:txBody>
        </p:sp>
        <p:pic>
          <p:nvPicPr>
            <p:cNvPr id="1027" name="Picture 3" descr="C:\Users\Jonahs\Dropbox\Projects SCOTT\MEET Windows Azure\source\Background\tile-icon-bigdata.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52075"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6" name="Group 35"/>
          <p:cNvGrpSpPr/>
          <p:nvPr/>
        </p:nvGrpSpPr>
        <p:grpSpPr>
          <a:xfrm>
            <a:off x="5856957" y="1849701"/>
            <a:ext cx="1422788" cy="1329482"/>
            <a:chOff x="3671322" y="4341709"/>
            <a:chExt cx="1896557" cy="1772642"/>
          </a:xfrm>
        </p:grpSpPr>
        <p:sp>
          <p:nvSpPr>
            <p:cNvPr id="26" name="Rectangle 25"/>
            <p:cNvSpPr/>
            <p:nvPr/>
          </p:nvSpPr>
          <p:spPr bwMode="auto">
            <a:xfrm>
              <a:off x="3671322" y="4341709"/>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637" fontAlgn="base">
                <a:spcBef>
                  <a:spcPct val="0"/>
                </a:spcBef>
                <a:spcAft>
                  <a:spcPct val="0"/>
                </a:spcAft>
              </a:pPr>
              <a:r>
                <a:rPr lang="en-US" dirty="0" smtClean="0">
                  <a:gradFill>
                    <a:gsLst>
                      <a:gs pos="0">
                        <a:srgbClr val="FFFFFF"/>
                      </a:gs>
                      <a:gs pos="100000">
                        <a:srgbClr val="FFFFFF"/>
                      </a:gs>
                    </a:gsLst>
                    <a:lin ang="5400000" scaled="0"/>
                  </a:gradFill>
                </a:rPr>
                <a:t>caching</a:t>
              </a:r>
            </a:p>
          </p:txBody>
        </p:sp>
        <p:pic>
          <p:nvPicPr>
            <p:cNvPr id="1028" name="Picture 4" descr="C:\Users\Jonahs\Dropbox\Projects SCOTT\MEET Windows Azure\source\Background\tile-icon-cach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93856" y="464308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oup 37"/>
          <p:cNvGrpSpPr/>
          <p:nvPr/>
        </p:nvGrpSpPr>
        <p:grpSpPr>
          <a:xfrm>
            <a:off x="7343218" y="3238315"/>
            <a:ext cx="1422788" cy="1329482"/>
            <a:chOff x="5656726" y="4341709"/>
            <a:chExt cx="1896557" cy="1772642"/>
          </a:xfrm>
        </p:grpSpPr>
        <p:sp>
          <p:nvSpPr>
            <p:cNvPr id="29" name="Rectangle 28"/>
            <p:cNvSpPr/>
            <p:nvPr/>
          </p:nvSpPr>
          <p:spPr bwMode="auto">
            <a:xfrm>
              <a:off x="5656726" y="4341709"/>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637" fontAlgn="base">
                <a:spcBef>
                  <a:spcPct val="0"/>
                </a:spcBef>
                <a:spcAft>
                  <a:spcPct val="0"/>
                </a:spcAft>
              </a:pPr>
              <a:r>
                <a:rPr lang="en-US" dirty="0" smtClean="0">
                  <a:gradFill>
                    <a:gsLst>
                      <a:gs pos="0">
                        <a:srgbClr val="FFFFFF"/>
                      </a:gs>
                      <a:gs pos="100000">
                        <a:srgbClr val="FFFFFF"/>
                      </a:gs>
                    </a:gsLst>
                    <a:lin ang="5400000" scaled="0"/>
                  </a:gradFill>
                </a:rPr>
                <a:t>CDN</a:t>
              </a:r>
            </a:p>
          </p:txBody>
        </p:sp>
        <p:pic>
          <p:nvPicPr>
            <p:cNvPr id="1029" name="Picture 5" descr="C:\Users\Jonahs\Dropbox\Projects SCOTT\MEET Windows Azure\source\Background\tile-icon-CDN.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79260"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p:cNvGrpSpPr/>
          <p:nvPr/>
        </p:nvGrpSpPr>
        <p:grpSpPr>
          <a:xfrm>
            <a:off x="5854114" y="3238315"/>
            <a:ext cx="1422788" cy="1329482"/>
            <a:chOff x="3671323" y="596839"/>
            <a:chExt cx="1896557" cy="1772642"/>
          </a:xfrm>
        </p:grpSpPr>
        <p:sp>
          <p:nvSpPr>
            <p:cNvPr id="11" name="Rectangle 10"/>
            <p:cNvSpPr/>
            <p:nvPr/>
          </p:nvSpPr>
          <p:spPr bwMode="auto">
            <a:xfrm>
              <a:off x="3671323" y="596839"/>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637" fontAlgn="base">
                <a:spcBef>
                  <a:spcPct val="0"/>
                </a:spcBef>
                <a:spcAft>
                  <a:spcPct val="0"/>
                </a:spcAft>
              </a:pPr>
              <a:r>
                <a:rPr lang="en-US" dirty="0" smtClean="0">
                  <a:gradFill>
                    <a:gsLst>
                      <a:gs pos="0">
                        <a:srgbClr val="FFFFFF"/>
                      </a:gs>
                      <a:gs pos="100000">
                        <a:srgbClr val="FFFFFF"/>
                      </a:gs>
                    </a:gsLst>
                    <a:lin ang="5400000" scaled="0"/>
                  </a:gradFill>
                </a:rPr>
                <a:t>database</a:t>
              </a:r>
            </a:p>
          </p:txBody>
        </p:sp>
        <p:pic>
          <p:nvPicPr>
            <p:cNvPr id="1030" name="Picture 6" descr="C:\Users\Jonahs\Dropbox\Projects SCOTT\MEET Windows Azure\source\Background\tile-icon-database.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93856"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2894728" y="472876"/>
            <a:ext cx="1422788" cy="1329482"/>
            <a:chOff x="9645631" y="2476591"/>
            <a:chExt cx="1896557" cy="1772642"/>
          </a:xfrm>
        </p:grpSpPr>
        <p:sp>
          <p:nvSpPr>
            <p:cNvPr id="23" name="Rectangle 22"/>
            <p:cNvSpPr/>
            <p:nvPr/>
          </p:nvSpPr>
          <p:spPr bwMode="auto">
            <a:xfrm>
              <a:off x="9645631" y="2476591"/>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637" fontAlgn="base">
                <a:spcBef>
                  <a:spcPct val="0"/>
                </a:spcBef>
                <a:spcAft>
                  <a:spcPct val="0"/>
                </a:spcAft>
              </a:pPr>
              <a:r>
                <a:rPr lang="en-US" dirty="0" smtClean="0">
                  <a:gradFill>
                    <a:gsLst>
                      <a:gs pos="0">
                        <a:srgbClr val="FFFFFF"/>
                      </a:gs>
                      <a:gs pos="100000">
                        <a:srgbClr val="FFFFFF"/>
                      </a:gs>
                    </a:gsLst>
                    <a:lin ang="5400000" scaled="0"/>
                  </a:gradFill>
                </a:rPr>
                <a:t>identity</a:t>
              </a:r>
            </a:p>
          </p:txBody>
        </p:sp>
        <p:pic>
          <p:nvPicPr>
            <p:cNvPr id="1031" name="Picture 7" descr="C:\Users\Jonahs\Dropbox\Projects SCOTT\MEET Windows Azure\source\Background\tile-icon-identity.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168165" y="270556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Group 4"/>
          <p:cNvGrpSpPr/>
          <p:nvPr/>
        </p:nvGrpSpPr>
        <p:grpSpPr>
          <a:xfrm>
            <a:off x="4367616" y="3238315"/>
            <a:ext cx="1422788" cy="1329482"/>
            <a:chOff x="5665775" y="596839"/>
            <a:chExt cx="1896557" cy="1772642"/>
          </a:xfrm>
        </p:grpSpPr>
        <p:sp>
          <p:nvSpPr>
            <p:cNvPr id="14" name="Rectangle 13"/>
            <p:cNvSpPr/>
            <p:nvPr/>
          </p:nvSpPr>
          <p:spPr bwMode="auto">
            <a:xfrm>
              <a:off x="5665775" y="596839"/>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637" fontAlgn="base">
                <a:spcBef>
                  <a:spcPct val="0"/>
                </a:spcBef>
                <a:spcAft>
                  <a:spcPct val="0"/>
                </a:spcAft>
              </a:pPr>
              <a:r>
                <a:rPr lang="en-US" dirty="0" smtClean="0">
                  <a:gradFill>
                    <a:gsLst>
                      <a:gs pos="0">
                        <a:srgbClr val="FFFFFF"/>
                      </a:gs>
                      <a:gs pos="100000">
                        <a:srgbClr val="FFFFFF"/>
                      </a:gs>
                    </a:gsLst>
                    <a:lin ang="5400000" scaled="0"/>
                  </a:gradFill>
                </a:rPr>
                <a:t>media</a:t>
              </a:r>
            </a:p>
          </p:txBody>
        </p:sp>
        <p:pic>
          <p:nvPicPr>
            <p:cNvPr id="1032" name="Picture 8" descr="C:\Users\Jonahs\Dropbox\Projects SCOTT\MEET Windows Azure\source\Background\tile-icon-media.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88309" y="89821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5" name="Group 34"/>
          <p:cNvGrpSpPr/>
          <p:nvPr/>
        </p:nvGrpSpPr>
        <p:grpSpPr>
          <a:xfrm>
            <a:off x="7337084" y="1849701"/>
            <a:ext cx="1422788" cy="1329482"/>
            <a:chOff x="7651179" y="2466267"/>
            <a:chExt cx="1896557" cy="1772642"/>
          </a:xfrm>
        </p:grpSpPr>
        <p:sp>
          <p:nvSpPr>
            <p:cNvPr id="20" name="Rectangle 19"/>
            <p:cNvSpPr/>
            <p:nvPr/>
          </p:nvSpPr>
          <p:spPr bwMode="auto">
            <a:xfrm>
              <a:off x="7651179" y="2466267"/>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637" fontAlgn="base">
                <a:spcBef>
                  <a:spcPct val="0"/>
                </a:spcBef>
                <a:spcAft>
                  <a:spcPct val="0"/>
                </a:spcAft>
              </a:pPr>
              <a:r>
                <a:rPr lang="en-US" dirty="0" smtClean="0">
                  <a:gradFill>
                    <a:gsLst>
                      <a:gs pos="0">
                        <a:srgbClr val="FFFFFF"/>
                      </a:gs>
                      <a:gs pos="100000">
                        <a:srgbClr val="FFFFFF"/>
                      </a:gs>
                    </a:gsLst>
                    <a:lin ang="5400000" scaled="0"/>
                  </a:gradFill>
                </a:rPr>
                <a:t>messaging</a:t>
              </a:r>
            </a:p>
          </p:txBody>
        </p:sp>
        <p:pic>
          <p:nvPicPr>
            <p:cNvPr id="1033" name="Picture 9" descr="C:\Users\Jonahs\Dropbox\Projects SCOTT\MEET Windows Azure\source\Background\tile-icon-messaging.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173712"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4" name="Group 33"/>
          <p:cNvGrpSpPr/>
          <p:nvPr/>
        </p:nvGrpSpPr>
        <p:grpSpPr>
          <a:xfrm>
            <a:off x="2896704" y="1849701"/>
            <a:ext cx="1422788" cy="1329482"/>
            <a:chOff x="7651178" y="4341709"/>
            <a:chExt cx="1896557" cy="1772642"/>
          </a:xfrm>
        </p:grpSpPr>
        <p:sp>
          <p:nvSpPr>
            <p:cNvPr id="32" name="Rectangle 31"/>
            <p:cNvSpPr/>
            <p:nvPr/>
          </p:nvSpPr>
          <p:spPr bwMode="auto">
            <a:xfrm>
              <a:off x="7651178" y="4341709"/>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637" fontAlgn="base">
                <a:spcBef>
                  <a:spcPct val="0"/>
                </a:spcBef>
                <a:spcAft>
                  <a:spcPct val="0"/>
                </a:spcAft>
              </a:pPr>
              <a:r>
                <a:rPr lang="en-US" dirty="0" smtClean="0">
                  <a:gradFill>
                    <a:gsLst>
                      <a:gs pos="0">
                        <a:srgbClr val="FFFFFF"/>
                      </a:gs>
                      <a:gs pos="100000">
                        <a:srgbClr val="FFFFFF"/>
                      </a:gs>
                    </a:gsLst>
                    <a:lin ang="5400000" scaled="0"/>
                  </a:gradFill>
                </a:rPr>
                <a:t>networking</a:t>
              </a:r>
            </a:p>
          </p:txBody>
        </p:sp>
        <p:pic>
          <p:nvPicPr>
            <p:cNvPr id="1034" name="Picture 10" descr="C:\Users\Jonahs\Dropbox\Projects SCOTT\MEET Windows Azure\source\Background\tile-icon-network.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173712"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oup 29"/>
          <p:cNvGrpSpPr/>
          <p:nvPr/>
        </p:nvGrpSpPr>
        <p:grpSpPr>
          <a:xfrm>
            <a:off x="5868284" y="467038"/>
            <a:ext cx="1422788" cy="1329482"/>
            <a:chOff x="5665775" y="2466267"/>
            <a:chExt cx="1896557" cy="1772642"/>
          </a:xfrm>
        </p:grpSpPr>
        <p:sp>
          <p:nvSpPr>
            <p:cNvPr id="31" name="Rectangle 30"/>
            <p:cNvSpPr/>
            <p:nvPr/>
          </p:nvSpPr>
          <p:spPr bwMode="auto">
            <a:xfrm>
              <a:off x="5665775" y="2466267"/>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637" fontAlgn="base">
                <a:spcBef>
                  <a:spcPct val="0"/>
                </a:spcBef>
                <a:spcAft>
                  <a:spcPct val="0"/>
                </a:spcAft>
              </a:pPr>
              <a:r>
                <a:rPr lang="en-US" dirty="0" smtClean="0">
                  <a:gradFill>
                    <a:gsLst>
                      <a:gs pos="0">
                        <a:srgbClr val="FFFFFF"/>
                      </a:gs>
                      <a:gs pos="100000">
                        <a:srgbClr val="FFFFFF"/>
                      </a:gs>
                    </a:gsLst>
                    <a:lin ang="5400000" scaled="0"/>
                  </a:gradFill>
                </a:rPr>
                <a:t>traffic</a:t>
              </a:r>
            </a:p>
          </p:txBody>
        </p:sp>
        <p:pic>
          <p:nvPicPr>
            <p:cNvPr id="33" name="Picture 2"/>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sp>
        <p:nvSpPr>
          <p:cNvPr id="39" name="Title 1"/>
          <p:cNvSpPr txBox="1">
            <a:spLocks/>
          </p:cNvSpPr>
          <p:nvPr/>
        </p:nvSpPr>
        <p:spPr>
          <a:xfrm>
            <a:off x="496662" y="3258005"/>
            <a:ext cx="3846678" cy="1384995"/>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816844" algn="l"/>
              </a:tabLst>
            </a:pPr>
            <a:r>
              <a:rPr lang="en-US" sz="5000" dirty="0">
                <a:solidFill>
                  <a:schemeClr val="tx1"/>
                </a:solidFill>
              </a:rPr>
              <a:t>application building blocks</a:t>
            </a:r>
          </a:p>
        </p:txBody>
      </p:sp>
      <p:grpSp>
        <p:nvGrpSpPr>
          <p:cNvPr id="4" name="Group 3"/>
          <p:cNvGrpSpPr/>
          <p:nvPr/>
        </p:nvGrpSpPr>
        <p:grpSpPr>
          <a:xfrm>
            <a:off x="1411721" y="472876"/>
            <a:ext cx="1422788" cy="1329482"/>
            <a:chOff x="0" y="2236359"/>
            <a:chExt cx="1896557" cy="1772642"/>
          </a:xfrm>
        </p:grpSpPr>
        <p:sp>
          <p:nvSpPr>
            <p:cNvPr id="42" name="Rectangle 41"/>
            <p:cNvSpPr/>
            <p:nvPr/>
          </p:nvSpPr>
          <p:spPr bwMode="auto">
            <a:xfrm>
              <a:off x="0" y="2236359"/>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637" fontAlgn="base">
                <a:spcBef>
                  <a:spcPct val="0"/>
                </a:spcBef>
                <a:spcAft>
                  <a:spcPct val="0"/>
                </a:spcAft>
              </a:pPr>
              <a:r>
                <a:rPr lang="en-US" sz="1200" dirty="0">
                  <a:gradFill>
                    <a:gsLst>
                      <a:gs pos="0">
                        <a:srgbClr val="FFFFFF"/>
                      </a:gs>
                      <a:gs pos="100000">
                        <a:srgbClr val="FFFFFF"/>
                      </a:gs>
                    </a:gsLst>
                    <a:lin ang="5400000" scaled="0"/>
                  </a:gradFill>
                </a:rPr>
                <a:t>virtual machines</a:t>
              </a:r>
            </a:p>
          </p:txBody>
        </p:sp>
        <p:pic>
          <p:nvPicPr>
            <p:cNvPr id="40" name="Picture 7" descr="C:\Users\jonahs\Documents\Dropbox\Projects SCOTT\MEET Windows Azure\source\Background\Service-Icon-VM.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23388" y="2504507"/>
              <a:ext cx="849779" cy="84977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 name="Group 6"/>
          <p:cNvGrpSpPr/>
          <p:nvPr/>
        </p:nvGrpSpPr>
        <p:grpSpPr>
          <a:xfrm>
            <a:off x="1416579" y="1849701"/>
            <a:ext cx="1422788" cy="1329482"/>
            <a:chOff x="764274" y="3548424"/>
            <a:chExt cx="1896557" cy="1772642"/>
          </a:xfrm>
        </p:grpSpPr>
        <p:sp>
          <p:nvSpPr>
            <p:cNvPr id="45" name="Rectangle 44"/>
            <p:cNvSpPr/>
            <p:nvPr/>
          </p:nvSpPr>
          <p:spPr bwMode="auto">
            <a:xfrm>
              <a:off x="764274" y="3548424"/>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637" fontAlgn="base">
                <a:spcBef>
                  <a:spcPct val="0"/>
                </a:spcBef>
                <a:spcAft>
                  <a:spcPct val="0"/>
                </a:spcAft>
              </a:pPr>
              <a:r>
                <a:rPr lang="en-US" dirty="0" smtClean="0">
                  <a:gradFill>
                    <a:gsLst>
                      <a:gs pos="0">
                        <a:srgbClr val="FFFFFF"/>
                      </a:gs>
                      <a:gs pos="100000">
                        <a:srgbClr val="FFFFFF"/>
                      </a:gs>
                    </a:gsLst>
                    <a:lin ang="5400000" scaled="0"/>
                  </a:gradFill>
                </a:rPr>
                <a:t>web sites</a:t>
              </a:r>
            </a:p>
          </p:txBody>
        </p:sp>
        <p:pic>
          <p:nvPicPr>
            <p:cNvPr id="48" name="Picture 8" descr="C:\Users\jonahs\Documents\Dropbox\Projects SCOTT\MEET Windows Azure\source\Background\Service-Icon-Websites.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287661" y="3796000"/>
              <a:ext cx="849779" cy="849779"/>
            </a:xfrm>
            <a:prstGeom prst="rect">
              <a:avLst/>
            </a:prstGeom>
            <a:noFill/>
            <a:extLst>
              <a:ext uri="{909E8E84-426E-40DD-AFC4-6F175D3DCCD1}">
                <a14:hiddenFill xmlns:a14="http://schemas.microsoft.com/office/drawing/2010/main">
                  <a:solidFill>
                    <a:srgbClr val="FFFFFF"/>
                  </a:solidFill>
                </a14:hiddenFill>
              </a:ext>
            </a:extLst>
          </p:spPr>
        </p:pic>
      </p:grpSp>
      <p:sp>
        <p:nvSpPr>
          <p:cNvPr id="41"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43"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5"/>
              </a:rPr>
              <a:t>www.rapidbbs.cn</a:t>
            </a:r>
            <a:endParaRPr lang="zh-CN" altLang="en-US" sz="1200" b="0">
              <a:latin typeface="Arial" charset="0"/>
              <a:ea typeface="ＭＳ Ｐゴシック" pitchFamily="34" charset="-128"/>
            </a:endParaRPr>
          </a:p>
        </p:txBody>
      </p:sp>
      <p:pic>
        <p:nvPicPr>
          <p:cNvPr id="44" name="Picture 2">
            <a:hlinkClick r:id="rId15"/>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95391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dustry Trends</a:t>
            </a:r>
            <a:endParaRPr lang="en-US" dirty="0"/>
          </a:p>
        </p:txBody>
      </p:sp>
      <p:sp>
        <p:nvSpPr>
          <p:cNvPr id="5" name="Rectangle 4"/>
          <p:cNvSpPr/>
          <p:nvPr/>
        </p:nvSpPr>
        <p:spPr>
          <a:xfrm>
            <a:off x="6396047" y="3229844"/>
            <a:ext cx="1777760" cy="5063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r>
              <a:rPr lang="en-US" sz="1200" b="1" dirty="0">
                <a:solidFill>
                  <a:schemeClr val="accent1"/>
                </a:solidFill>
                <a:latin typeface="Segoe UI Light" pitchFamily="34" charset="0"/>
              </a:rPr>
              <a:t>IT</a:t>
            </a:r>
            <a:br>
              <a:rPr lang="en-US" sz="1200" b="1" dirty="0">
                <a:solidFill>
                  <a:schemeClr val="accent1"/>
                </a:solidFill>
                <a:latin typeface="Segoe UI Light" pitchFamily="34" charset="0"/>
              </a:rPr>
            </a:br>
            <a:r>
              <a:rPr lang="en-US" sz="1200" b="1" dirty="0">
                <a:solidFill>
                  <a:schemeClr val="accent1"/>
                </a:solidFill>
                <a:latin typeface="Segoe UI Light" pitchFamily="34" charset="0"/>
              </a:rPr>
              <a:t>CONSTRAINTS</a:t>
            </a:r>
          </a:p>
        </p:txBody>
      </p:sp>
      <p:sp>
        <p:nvSpPr>
          <p:cNvPr id="6" name="Rectangle 5"/>
          <p:cNvSpPr/>
          <p:nvPr/>
        </p:nvSpPr>
        <p:spPr>
          <a:xfrm>
            <a:off x="4585884" y="3229844"/>
            <a:ext cx="1776350" cy="5063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r>
              <a:rPr lang="en-US" sz="1200" b="1" dirty="0">
                <a:solidFill>
                  <a:schemeClr val="accent1"/>
                </a:solidFill>
                <a:latin typeface="Segoe UI Light" pitchFamily="34" charset="0"/>
              </a:rPr>
              <a:t>BUDGET</a:t>
            </a:r>
            <a:br>
              <a:rPr lang="en-US" sz="1200" b="1" dirty="0">
                <a:solidFill>
                  <a:schemeClr val="accent1"/>
                </a:solidFill>
                <a:latin typeface="Segoe UI Light" pitchFamily="34" charset="0"/>
              </a:rPr>
            </a:br>
            <a:r>
              <a:rPr lang="en-US" sz="1200" b="1" dirty="0">
                <a:solidFill>
                  <a:schemeClr val="accent1"/>
                </a:solidFill>
                <a:latin typeface="Segoe UI Light" pitchFamily="34" charset="0"/>
              </a:rPr>
              <a:t>REDUCTIONS</a:t>
            </a:r>
          </a:p>
        </p:txBody>
      </p:sp>
      <p:sp>
        <p:nvSpPr>
          <p:cNvPr id="7" name="Rectangle 6"/>
          <p:cNvSpPr/>
          <p:nvPr/>
        </p:nvSpPr>
        <p:spPr>
          <a:xfrm>
            <a:off x="2781072" y="3229844"/>
            <a:ext cx="1776350" cy="5063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r>
              <a:rPr lang="en-US" sz="1200" b="1" dirty="0">
                <a:solidFill>
                  <a:schemeClr val="accent1"/>
                </a:solidFill>
                <a:latin typeface="Segoe UI Light" pitchFamily="34" charset="0"/>
              </a:rPr>
              <a:t>PROLIFERATION</a:t>
            </a:r>
            <a:br>
              <a:rPr lang="en-US" sz="1200" b="1" dirty="0">
                <a:solidFill>
                  <a:schemeClr val="accent1"/>
                </a:solidFill>
                <a:latin typeface="Segoe UI Light" pitchFamily="34" charset="0"/>
              </a:rPr>
            </a:br>
            <a:r>
              <a:rPr lang="en-US" sz="1200" b="1" dirty="0">
                <a:solidFill>
                  <a:schemeClr val="accent1"/>
                </a:solidFill>
                <a:latin typeface="Segoe UI Light" pitchFamily="34" charset="0"/>
              </a:rPr>
              <a:t>OF DEVICES</a:t>
            </a:r>
          </a:p>
        </p:txBody>
      </p:sp>
      <p:sp>
        <p:nvSpPr>
          <p:cNvPr id="8" name="Rectangle 7"/>
          <p:cNvSpPr/>
          <p:nvPr/>
        </p:nvSpPr>
        <p:spPr>
          <a:xfrm>
            <a:off x="960190" y="3229844"/>
            <a:ext cx="1792300" cy="5063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r>
              <a:rPr lang="en-US" sz="1200" b="1" dirty="0">
                <a:solidFill>
                  <a:schemeClr val="accent1"/>
                </a:solidFill>
                <a:latin typeface="Segoe UI Light" pitchFamily="34" charset="0"/>
              </a:rPr>
              <a:t>EXPLOSIVE </a:t>
            </a:r>
            <a:br>
              <a:rPr lang="en-US" sz="1200" b="1" dirty="0">
                <a:solidFill>
                  <a:schemeClr val="accent1"/>
                </a:solidFill>
                <a:latin typeface="Segoe UI Light" pitchFamily="34" charset="0"/>
              </a:rPr>
            </a:br>
            <a:r>
              <a:rPr lang="en-US" sz="1200" b="1" dirty="0">
                <a:solidFill>
                  <a:schemeClr val="accent1"/>
                </a:solidFill>
                <a:latin typeface="Segoe UI Light" pitchFamily="34" charset="0"/>
              </a:rPr>
              <a:t>DATA GROWTH</a:t>
            </a:r>
          </a:p>
        </p:txBody>
      </p:sp>
      <p:sp>
        <p:nvSpPr>
          <p:cNvPr id="9" name="Rectangle 8"/>
          <p:cNvSpPr/>
          <p:nvPr/>
        </p:nvSpPr>
        <p:spPr>
          <a:xfrm>
            <a:off x="950612" y="1372420"/>
            <a:ext cx="7213618" cy="18574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en-US" dirty="0"/>
          </a:p>
        </p:txBody>
      </p:sp>
      <p:cxnSp>
        <p:nvCxnSpPr>
          <p:cNvPr id="10" name="Straight Connector 9"/>
          <p:cNvCxnSpPr/>
          <p:nvPr/>
        </p:nvCxnSpPr>
        <p:spPr>
          <a:xfrm>
            <a:off x="2752489" y="1372414"/>
            <a:ext cx="11104" cy="184440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stCxn id="9" idx="0"/>
          </p:cNvCxnSpPr>
          <p:nvPr/>
        </p:nvCxnSpPr>
        <p:spPr>
          <a:xfrm>
            <a:off x="4557428" y="1372413"/>
            <a:ext cx="13387" cy="184436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6362236" y="1372414"/>
            <a:ext cx="8167" cy="1844906"/>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bwMode="black">
          <a:xfrm>
            <a:off x="5144576" y="1993348"/>
            <a:ext cx="628814" cy="764192"/>
            <a:chOff x="2499075" y="5550068"/>
            <a:chExt cx="440138" cy="535176"/>
          </a:xfrm>
        </p:grpSpPr>
        <p:sp>
          <p:nvSpPr>
            <p:cNvPr id="14" name="Freeform 13"/>
            <p:cNvSpPr>
              <a:spLocks/>
            </p:cNvSpPr>
            <p:nvPr/>
          </p:nvSpPr>
          <p:spPr bwMode="black">
            <a:xfrm>
              <a:off x="2499075" y="5550068"/>
              <a:ext cx="440138" cy="351331"/>
            </a:xfrm>
            <a:custGeom>
              <a:avLst/>
              <a:gdLst>
                <a:gd name="T0" fmla="*/ 208 w 239"/>
                <a:gd name="T1" fmla="*/ 0 h 191"/>
                <a:gd name="T2" fmla="*/ 184 w 239"/>
                <a:gd name="T3" fmla="*/ 6 h 191"/>
                <a:gd name="T4" fmla="*/ 133 w 239"/>
                <a:gd name="T5" fmla="*/ 6 h 191"/>
                <a:gd name="T6" fmla="*/ 109 w 239"/>
                <a:gd name="T7" fmla="*/ 0 h 191"/>
                <a:gd name="T8" fmla="*/ 78 w 239"/>
                <a:gd name="T9" fmla="*/ 17 h 191"/>
                <a:gd name="T10" fmla="*/ 109 w 239"/>
                <a:gd name="T11" fmla="*/ 35 h 191"/>
                <a:gd name="T12" fmla="*/ 134 w 239"/>
                <a:gd name="T13" fmla="*/ 27 h 191"/>
                <a:gd name="T14" fmla="*/ 145 w 239"/>
                <a:gd name="T15" fmla="*/ 27 h 191"/>
                <a:gd name="T16" fmla="*/ 145 w 239"/>
                <a:gd name="T17" fmla="*/ 52 h 191"/>
                <a:gd name="T18" fmla="*/ 116 w 239"/>
                <a:gd name="T19" fmla="*/ 90 h 191"/>
                <a:gd name="T20" fmla="*/ 116 w 239"/>
                <a:gd name="T21" fmla="*/ 96 h 191"/>
                <a:gd name="T22" fmla="*/ 40 w 239"/>
                <a:gd name="T23" fmla="*/ 96 h 191"/>
                <a:gd name="T24" fmla="*/ 0 w 239"/>
                <a:gd name="T25" fmla="*/ 131 h 191"/>
                <a:gd name="T26" fmla="*/ 0 w 239"/>
                <a:gd name="T27" fmla="*/ 191 h 191"/>
                <a:gd name="T28" fmla="*/ 50 w 239"/>
                <a:gd name="T29" fmla="*/ 191 h 191"/>
                <a:gd name="T30" fmla="*/ 50 w 239"/>
                <a:gd name="T31" fmla="*/ 161 h 191"/>
                <a:gd name="T32" fmla="*/ 66 w 239"/>
                <a:gd name="T33" fmla="*/ 146 h 191"/>
                <a:gd name="T34" fmla="*/ 202 w 239"/>
                <a:gd name="T35" fmla="*/ 146 h 191"/>
                <a:gd name="T36" fmla="*/ 200 w 239"/>
                <a:gd name="T37" fmla="*/ 96 h 191"/>
                <a:gd name="T38" fmla="*/ 193 w 239"/>
                <a:gd name="T39" fmla="*/ 96 h 191"/>
                <a:gd name="T40" fmla="*/ 194 w 239"/>
                <a:gd name="T41" fmla="*/ 90 h 191"/>
                <a:gd name="T42" fmla="*/ 167 w 239"/>
                <a:gd name="T43" fmla="*/ 53 h 191"/>
                <a:gd name="T44" fmla="*/ 167 w 239"/>
                <a:gd name="T45" fmla="*/ 27 h 191"/>
                <a:gd name="T46" fmla="*/ 182 w 239"/>
                <a:gd name="T47" fmla="*/ 27 h 191"/>
                <a:gd name="T48" fmla="*/ 208 w 239"/>
                <a:gd name="T49" fmla="*/ 35 h 191"/>
                <a:gd name="T50" fmla="*/ 239 w 239"/>
                <a:gd name="T51" fmla="*/ 17 h 191"/>
                <a:gd name="T52" fmla="*/ 208 w 239"/>
                <a:gd name="T53"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9" h="191">
                  <a:moveTo>
                    <a:pt x="208" y="0"/>
                  </a:moveTo>
                  <a:cubicBezTo>
                    <a:pt x="198" y="0"/>
                    <a:pt x="189" y="2"/>
                    <a:pt x="184" y="6"/>
                  </a:cubicBezTo>
                  <a:cubicBezTo>
                    <a:pt x="133" y="6"/>
                    <a:pt x="133" y="6"/>
                    <a:pt x="133" y="6"/>
                  </a:cubicBezTo>
                  <a:cubicBezTo>
                    <a:pt x="127" y="2"/>
                    <a:pt x="118" y="0"/>
                    <a:pt x="109" y="0"/>
                  </a:cubicBezTo>
                  <a:cubicBezTo>
                    <a:pt x="92" y="0"/>
                    <a:pt x="78" y="8"/>
                    <a:pt x="78" y="17"/>
                  </a:cubicBezTo>
                  <a:cubicBezTo>
                    <a:pt x="78" y="27"/>
                    <a:pt x="92" y="35"/>
                    <a:pt x="109" y="35"/>
                  </a:cubicBezTo>
                  <a:cubicBezTo>
                    <a:pt x="119" y="35"/>
                    <a:pt x="129" y="32"/>
                    <a:pt x="134" y="27"/>
                  </a:cubicBezTo>
                  <a:cubicBezTo>
                    <a:pt x="145" y="27"/>
                    <a:pt x="145" y="27"/>
                    <a:pt x="145" y="27"/>
                  </a:cubicBezTo>
                  <a:cubicBezTo>
                    <a:pt x="145" y="52"/>
                    <a:pt x="145" y="52"/>
                    <a:pt x="145" y="52"/>
                  </a:cubicBezTo>
                  <a:cubicBezTo>
                    <a:pt x="128" y="56"/>
                    <a:pt x="116" y="71"/>
                    <a:pt x="116" y="90"/>
                  </a:cubicBezTo>
                  <a:cubicBezTo>
                    <a:pt x="116" y="92"/>
                    <a:pt x="116" y="94"/>
                    <a:pt x="116" y="96"/>
                  </a:cubicBezTo>
                  <a:cubicBezTo>
                    <a:pt x="83" y="96"/>
                    <a:pt x="49" y="96"/>
                    <a:pt x="40" y="96"/>
                  </a:cubicBezTo>
                  <a:cubicBezTo>
                    <a:pt x="20" y="96"/>
                    <a:pt x="0" y="108"/>
                    <a:pt x="0" y="131"/>
                  </a:cubicBezTo>
                  <a:cubicBezTo>
                    <a:pt x="0" y="154"/>
                    <a:pt x="0" y="191"/>
                    <a:pt x="0" y="191"/>
                  </a:cubicBezTo>
                  <a:cubicBezTo>
                    <a:pt x="50" y="191"/>
                    <a:pt x="50" y="191"/>
                    <a:pt x="50" y="191"/>
                  </a:cubicBezTo>
                  <a:cubicBezTo>
                    <a:pt x="50" y="191"/>
                    <a:pt x="50" y="169"/>
                    <a:pt x="50" y="161"/>
                  </a:cubicBezTo>
                  <a:cubicBezTo>
                    <a:pt x="50" y="154"/>
                    <a:pt x="53" y="146"/>
                    <a:pt x="66" y="146"/>
                  </a:cubicBezTo>
                  <a:cubicBezTo>
                    <a:pt x="78" y="146"/>
                    <a:pt x="202" y="146"/>
                    <a:pt x="202" y="146"/>
                  </a:cubicBezTo>
                  <a:cubicBezTo>
                    <a:pt x="200" y="96"/>
                    <a:pt x="200" y="96"/>
                    <a:pt x="200" y="96"/>
                  </a:cubicBezTo>
                  <a:cubicBezTo>
                    <a:pt x="200" y="96"/>
                    <a:pt x="198" y="96"/>
                    <a:pt x="193" y="96"/>
                  </a:cubicBezTo>
                  <a:cubicBezTo>
                    <a:pt x="193" y="94"/>
                    <a:pt x="194" y="92"/>
                    <a:pt x="194" y="90"/>
                  </a:cubicBezTo>
                  <a:cubicBezTo>
                    <a:pt x="194" y="72"/>
                    <a:pt x="182" y="58"/>
                    <a:pt x="167" y="53"/>
                  </a:cubicBezTo>
                  <a:cubicBezTo>
                    <a:pt x="167" y="27"/>
                    <a:pt x="167" y="27"/>
                    <a:pt x="167" y="27"/>
                  </a:cubicBezTo>
                  <a:cubicBezTo>
                    <a:pt x="182" y="27"/>
                    <a:pt x="182" y="27"/>
                    <a:pt x="182" y="27"/>
                  </a:cubicBezTo>
                  <a:cubicBezTo>
                    <a:pt x="187" y="32"/>
                    <a:pt x="197" y="35"/>
                    <a:pt x="208" y="35"/>
                  </a:cubicBezTo>
                  <a:cubicBezTo>
                    <a:pt x="225" y="35"/>
                    <a:pt x="239" y="27"/>
                    <a:pt x="239" y="17"/>
                  </a:cubicBezTo>
                  <a:cubicBezTo>
                    <a:pt x="239" y="8"/>
                    <a:pt x="225" y="0"/>
                    <a:pt x="208" y="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200" dirty="0"/>
            </a:p>
          </p:txBody>
        </p:sp>
        <p:sp>
          <p:nvSpPr>
            <p:cNvPr id="15" name="Freeform 14"/>
            <p:cNvSpPr>
              <a:spLocks/>
            </p:cNvSpPr>
            <p:nvPr/>
          </p:nvSpPr>
          <p:spPr bwMode="black">
            <a:xfrm>
              <a:off x="2499075" y="5925548"/>
              <a:ext cx="103608" cy="159696"/>
            </a:xfrm>
            <a:custGeom>
              <a:avLst/>
              <a:gdLst>
                <a:gd name="T0" fmla="*/ 0 w 56"/>
                <a:gd name="T1" fmla="*/ 54 h 87"/>
                <a:gd name="T2" fmla="*/ 28 w 56"/>
                <a:gd name="T3" fmla="*/ 87 h 87"/>
                <a:gd name="T4" fmla="*/ 56 w 56"/>
                <a:gd name="T5" fmla="*/ 54 h 87"/>
                <a:gd name="T6" fmla="*/ 28 w 56"/>
                <a:gd name="T7" fmla="*/ 1 h 87"/>
                <a:gd name="T8" fmla="*/ 0 w 56"/>
                <a:gd name="T9" fmla="*/ 54 h 87"/>
              </a:gdLst>
              <a:ahLst/>
              <a:cxnLst>
                <a:cxn ang="0">
                  <a:pos x="T0" y="T1"/>
                </a:cxn>
                <a:cxn ang="0">
                  <a:pos x="T2" y="T3"/>
                </a:cxn>
                <a:cxn ang="0">
                  <a:pos x="T4" y="T5"/>
                </a:cxn>
                <a:cxn ang="0">
                  <a:pos x="T6" y="T7"/>
                </a:cxn>
                <a:cxn ang="0">
                  <a:pos x="T8" y="T9"/>
                </a:cxn>
              </a:cxnLst>
              <a:rect l="0" t="0" r="r" b="b"/>
              <a:pathLst>
                <a:path w="56" h="87">
                  <a:moveTo>
                    <a:pt x="0" y="54"/>
                  </a:moveTo>
                  <a:cubicBezTo>
                    <a:pt x="0" y="79"/>
                    <a:pt x="10" y="87"/>
                    <a:pt x="28" y="87"/>
                  </a:cubicBezTo>
                  <a:cubicBezTo>
                    <a:pt x="46" y="87"/>
                    <a:pt x="56" y="74"/>
                    <a:pt x="56" y="54"/>
                  </a:cubicBezTo>
                  <a:cubicBezTo>
                    <a:pt x="56" y="37"/>
                    <a:pt x="28" y="1"/>
                    <a:pt x="28" y="1"/>
                  </a:cubicBezTo>
                  <a:cubicBezTo>
                    <a:pt x="28" y="0"/>
                    <a:pt x="0" y="36"/>
                    <a:pt x="0" y="5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200" dirty="0"/>
            </a:p>
          </p:txBody>
        </p:sp>
      </p:grpSp>
      <p:pic>
        <p:nvPicPr>
          <p:cNvPr id="16" name="Picture 15"/>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bwMode="auto">
          <a:xfrm>
            <a:off x="1375990" y="1914614"/>
            <a:ext cx="971803" cy="971550"/>
          </a:xfrm>
          <a:prstGeom prst="rect">
            <a:avLst/>
          </a:prstGeom>
          <a:noFill/>
        </p:spPr>
      </p:pic>
      <p:sp>
        <p:nvSpPr>
          <p:cNvPr id="17" name="Oval 16"/>
          <p:cNvSpPr/>
          <p:nvPr/>
        </p:nvSpPr>
        <p:spPr>
          <a:xfrm>
            <a:off x="6777962" y="1991356"/>
            <a:ext cx="914638" cy="48622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en-US" dirty="0"/>
          </a:p>
        </p:txBody>
      </p:sp>
      <p:sp>
        <p:nvSpPr>
          <p:cNvPr id="18" name="Freeform 17"/>
          <p:cNvSpPr/>
          <p:nvPr/>
        </p:nvSpPr>
        <p:spPr>
          <a:xfrm>
            <a:off x="7241681" y="2224526"/>
            <a:ext cx="428737" cy="325755"/>
          </a:xfrm>
          <a:custGeom>
            <a:avLst/>
            <a:gdLst>
              <a:gd name="connsiteX0" fmla="*/ 624840 w 624840"/>
              <a:gd name="connsiteY0" fmla="*/ 3810 h 278130"/>
              <a:gd name="connsiteX1" fmla="*/ 0 w 624840"/>
              <a:gd name="connsiteY1" fmla="*/ 0 h 278130"/>
              <a:gd name="connsiteX2" fmla="*/ 518160 w 624840"/>
              <a:gd name="connsiteY2" fmla="*/ 278130 h 278130"/>
              <a:gd name="connsiteX3" fmla="*/ 624840 w 624840"/>
              <a:gd name="connsiteY3" fmla="*/ 3810 h 278130"/>
              <a:gd name="connsiteX0" fmla="*/ 624840 w 624840"/>
              <a:gd name="connsiteY0" fmla="*/ 3810 h 384810"/>
              <a:gd name="connsiteX1" fmla="*/ 0 w 624840"/>
              <a:gd name="connsiteY1" fmla="*/ 0 h 384810"/>
              <a:gd name="connsiteX2" fmla="*/ 163830 w 624840"/>
              <a:gd name="connsiteY2" fmla="*/ 384810 h 384810"/>
              <a:gd name="connsiteX3" fmla="*/ 624840 w 624840"/>
              <a:gd name="connsiteY3" fmla="*/ 3810 h 384810"/>
              <a:gd name="connsiteX0" fmla="*/ 438150 w 438150"/>
              <a:gd name="connsiteY0" fmla="*/ 297180 h 384810"/>
              <a:gd name="connsiteX1" fmla="*/ 0 w 438150"/>
              <a:gd name="connsiteY1" fmla="*/ 0 h 384810"/>
              <a:gd name="connsiteX2" fmla="*/ 163830 w 438150"/>
              <a:gd name="connsiteY2" fmla="*/ 384810 h 384810"/>
              <a:gd name="connsiteX3" fmla="*/ 438150 w 438150"/>
              <a:gd name="connsiteY3" fmla="*/ 297180 h 384810"/>
              <a:gd name="connsiteX0" fmla="*/ 491490 w 491490"/>
              <a:gd name="connsiteY0" fmla="*/ 266700 h 384810"/>
              <a:gd name="connsiteX1" fmla="*/ 0 w 491490"/>
              <a:gd name="connsiteY1" fmla="*/ 0 h 384810"/>
              <a:gd name="connsiteX2" fmla="*/ 163830 w 491490"/>
              <a:gd name="connsiteY2" fmla="*/ 384810 h 384810"/>
              <a:gd name="connsiteX3" fmla="*/ 491490 w 491490"/>
              <a:gd name="connsiteY3" fmla="*/ 266700 h 384810"/>
              <a:gd name="connsiteX0" fmla="*/ 491490 w 491490"/>
              <a:gd name="connsiteY0" fmla="*/ 266700 h 453390"/>
              <a:gd name="connsiteX1" fmla="*/ 0 w 491490"/>
              <a:gd name="connsiteY1" fmla="*/ 0 h 453390"/>
              <a:gd name="connsiteX2" fmla="*/ 247650 w 491490"/>
              <a:gd name="connsiteY2" fmla="*/ 453390 h 453390"/>
              <a:gd name="connsiteX3" fmla="*/ 491490 w 491490"/>
              <a:gd name="connsiteY3" fmla="*/ 266700 h 453390"/>
              <a:gd name="connsiteX0" fmla="*/ 491490 w 491490"/>
              <a:gd name="connsiteY0" fmla="*/ 266700 h 464820"/>
              <a:gd name="connsiteX1" fmla="*/ 0 w 491490"/>
              <a:gd name="connsiteY1" fmla="*/ 0 h 464820"/>
              <a:gd name="connsiteX2" fmla="*/ 228600 w 491490"/>
              <a:gd name="connsiteY2" fmla="*/ 464820 h 464820"/>
              <a:gd name="connsiteX3" fmla="*/ 491490 w 491490"/>
              <a:gd name="connsiteY3" fmla="*/ 266700 h 464820"/>
              <a:gd name="connsiteX0" fmla="*/ 541020 w 541020"/>
              <a:gd name="connsiteY0" fmla="*/ 228600 h 464820"/>
              <a:gd name="connsiteX1" fmla="*/ 0 w 541020"/>
              <a:gd name="connsiteY1" fmla="*/ 0 h 464820"/>
              <a:gd name="connsiteX2" fmla="*/ 228600 w 541020"/>
              <a:gd name="connsiteY2" fmla="*/ 464820 h 464820"/>
              <a:gd name="connsiteX3" fmla="*/ 541020 w 541020"/>
              <a:gd name="connsiteY3" fmla="*/ 228600 h 464820"/>
              <a:gd name="connsiteX0" fmla="*/ 556260 w 556260"/>
              <a:gd name="connsiteY0" fmla="*/ 205740 h 464820"/>
              <a:gd name="connsiteX1" fmla="*/ 0 w 556260"/>
              <a:gd name="connsiteY1" fmla="*/ 0 h 464820"/>
              <a:gd name="connsiteX2" fmla="*/ 228600 w 556260"/>
              <a:gd name="connsiteY2" fmla="*/ 464820 h 464820"/>
              <a:gd name="connsiteX3" fmla="*/ 556260 w 556260"/>
              <a:gd name="connsiteY3" fmla="*/ 205740 h 464820"/>
              <a:gd name="connsiteX0" fmla="*/ 552450 w 552450"/>
              <a:gd name="connsiteY0" fmla="*/ 180975 h 440055"/>
              <a:gd name="connsiteX1" fmla="*/ 0 w 552450"/>
              <a:gd name="connsiteY1" fmla="*/ 0 h 440055"/>
              <a:gd name="connsiteX2" fmla="*/ 224790 w 552450"/>
              <a:gd name="connsiteY2" fmla="*/ 440055 h 440055"/>
              <a:gd name="connsiteX3" fmla="*/ 552450 w 552450"/>
              <a:gd name="connsiteY3" fmla="*/ 180975 h 440055"/>
              <a:gd name="connsiteX0" fmla="*/ 571500 w 571500"/>
              <a:gd name="connsiteY0" fmla="*/ 175260 h 434340"/>
              <a:gd name="connsiteX1" fmla="*/ 0 w 571500"/>
              <a:gd name="connsiteY1" fmla="*/ 0 h 434340"/>
              <a:gd name="connsiteX2" fmla="*/ 243840 w 571500"/>
              <a:gd name="connsiteY2" fmla="*/ 434340 h 434340"/>
              <a:gd name="connsiteX3" fmla="*/ 571500 w 571500"/>
              <a:gd name="connsiteY3" fmla="*/ 175260 h 434340"/>
            </a:gdLst>
            <a:ahLst/>
            <a:cxnLst>
              <a:cxn ang="0">
                <a:pos x="connsiteX0" y="connsiteY0"/>
              </a:cxn>
              <a:cxn ang="0">
                <a:pos x="connsiteX1" y="connsiteY1"/>
              </a:cxn>
              <a:cxn ang="0">
                <a:pos x="connsiteX2" y="connsiteY2"/>
              </a:cxn>
              <a:cxn ang="0">
                <a:pos x="connsiteX3" y="connsiteY3"/>
              </a:cxn>
            </a:cxnLst>
            <a:rect l="l" t="t" r="r" b="b"/>
            <a:pathLst>
              <a:path w="571500" h="434340">
                <a:moveTo>
                  <a:pt x="571500" y="175260"/>
                </a:moveTo>
                <a:lnTo>
                  <a:pt x="0" y="0"/>
                </a:lnTo>
                <a:lnTo>
                  <a:pt x="243840" y="434340"/>
                </a:lnTo>
                <a:lnTo>
                  <a:pt x="571500" y="17526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en-US" dirty="0"/>
          </a:p>
        </p:txBody>
      </p:sp>
      <p:sp>
        <p:nvSpPr>
          <p:cNvPr id="19" name="TextBox 18"/>
          <p:cNvSpPr txBox="1"/>
          <p:nvPr/>
        </p:nvSpPr>
        <p:spPr>
          <a:xfrm>
            <a:off x="7290230" y="2317945"/>
            <a:ext cx="762343" cy="300083"/>
          </a:xfrm>
          <a:prstGeom prst="rect">
            <a:avLst/>
          </a:prstGeom>
          <a:noFill/>
          <a:ln>
            <a:noFill/>
          </a:ln>
        </p:spPr>
        <p:txBody>
          <a:bodyPr wrap="square" lIns="68571" tIns="34286" rIns="68571" bIns="34286" rtlCol="0">
            <a:spAutoFit/>
          </a:bodyPr>
          <a:lstStyle/>
          <a:p>
            <a:pPr algn="ctr"/>
            <a:r>
              <a:rPr lang="en-US" sz="1500" dirty="0">
                <a:ln w="12700">
                  <a:noFill/>
                </a:ln>
                <a:latin typeface="Segoe WP Light"/>
              </a:rPr>
              <a:t>20%</a:t>
            </a:r>
          </a:p>
        </p:txBody>
      </p:sp>
      <p:cxnSp>
        <p:nvCxnSpPr>
          <p:cNvPr id="20" name="Straight Connector 19"/>
          <p:cNvCxnSpPr/>
          <p:nvPr/>
        </p:nvCxnSpPr>
        <p:spPr>
          <a:xfrm>
            <a:off x="7245969" y="2230245"/>
            <a:ext cx="7146" cy="324319"/>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1" name="Group 20"/>
          <p:cNvGrpSpPr/>
          <p:nvPr/>
        </p:nvGrpSpPr>
        <p:grpSpPr>
          <a:xfrm>
            <a:off x="6555638" y="1708057"/>
            <a:ext cx="631165" cy="409547"/>
            <a:chOff x="8951676" y="1534400"/>
            <a:chExt cx="841334" cy="546061"/>
          </a:xfrm>
        </p:grpSpPr>
        <p:sp>
          <p:nvSpPr>
            <p:cNvPr id="22" name="TextBox 21"/>
            <p:cNvSpPr txBox="1"/>
            <p:nvPr/>
          </p:nvSpPr>
          <p:spPr>
            <a:xfrm>
              <a:off x="8951676" y="1534400"/>
              <a:ext cx="841334" cy="430885"/>
            </a:xfrm>
            <a:prstGeom prst="rect">
              <a:avLst/>
            </a:prstGeom>
            <a:noFill/>
          </p:spPr>
          <p:txBody>
            <a:bodyPr wrap="square" rtlCol="0">
              <a:spAutoFit/>
            </a:bodyPr>
            <a:lstStyle/>
            <a:p>
              <a:pPr algn="ctr"/>
              <a:r>
                <a:rPr lang="en-US" sz="1500" dirty="0">
                  <a:latin typeface="Segoe WP Light"/>
                </a:rPr>
                <a:t>66%</a:t>
              </a:r>
              <a:endParaRPr lang="en-US" sz="900" dirty="0">
                <a:latin typeface="Segoe WP Light"/>
              </a:endParaRPr>
            </a:p>
          </p:txBody>
        </p:sp>
        <p:sp>
          <p:nvSpPr>
            <p:cNvPr id="23" name="TextBox 22"/>
            <p:cNvSpPr txBox="1"/>
            <p:nvPr/>
          </p:nvSpPr>
          <p:spPr>
            <a:xfrm>
              <a:off x="9072604" y="1731649"/>
              <a:ext cx="603207" cy="348812"/>
            </a:xfrm>
            <a:prstGeom prst="rect">
              <a:avLst/>
            </a:prstGeom>
            <a:noFill/>
          </p:spPr>
          <p:txBody>
            <a:bodyPr wrap="square" rtlCol="0">
              <a:spAutoFit/>
            </a:bodyPr>
            <a:lstStyle/>
            <a:p>
              <a:r>
                <a:rPr lang="en-US" sz="1100" dirty="0"/>
                <a:t>run</a:t>
              </a:r>
            </a:p>
          </p:txBody>
        </p:sp>
      </p:grpSp>
      <p:sp>
        <p:nvSpPr>
          <p:cNvPr id="24" name="TextBox 23"/>
          <p:cNvSpPr txBox="1"/>
          <p:nvPr/>
        </p:nvSpPr>
        <p:spPr>
          <a:xfrm>
            <a:off x="7548456" y="2466688"/>
            <a:ext cx="542614" cy="242372"/>
          </a:xfrm>
          <a:prstGeom prst="rect">
            <a:avLst/>
          </a:prstGeom>
          <a:noFill/>
        </p:spPr>
        <p:txBody>
          <a:bodyPr wrap="square" lIns="68571" tIns="34286" rIns="68571" bIns="34286" rtlCol="0">
            <a:spAutoFit/>
          </a:bodyPr>
          <a:lstStyle/>
          <a:p>
            <a:r>
              <a:rPr lang="en-US" sz="1100" dirty="0"/>
              <a:t>grow</a:t>
            </a:r>
          </a:p>
        </p:txBody>
      </p:sp>
      <p:grpSp>
        <p:nvGrpSpPr>
          <p:cNvPr id="25" name="Group 24"/>
          <p:cNvGrpSpPr/>
          <p:nvPr/>
        </p:nvGrpSpPr>
        <p:grpSpPr>
          <a:xfrm>
            <a:off x="6665666" y="2463504"/>
            <a:ext cx="1124632" cy="426739"/>
            <a:chOff x="8760989" y="2879180"/>
            <a:chExt cx="1499119" cy="568985"/>
          </a:xfrm>
        </p:grpSpPr>
        <p:sp>
          <p:nvSpPr>
            <p:cNvPr id="26" name="TextBox 25"/>
            <p:cNvSpPr txBox="1"/>
            <p:nvPr/>
          </p:nvSpPr>
          <p:spPr>
            <a:xfrm>
              <a:off x="8760989" y="2879180"/>
              <a:ext cx="931036" cy="430886"/>
            </a:xfrm>
            <a:prstGeom prst="rect">
              <a:avLst/>
            </a:prstGeom>
            <a:noFill/>
          </p:spPr>
          <p:txBody>
            <a:bodyPr wrap="square" rtlCol="0">
              <a:spAutoFit/>
            </a:bodyPr>
            <a:lstStyle/>
            <a:p>
              <a:pPr algn="ctr"/>
              <a:r>
                <a:rPr lang="en-US" sz="1500" dirty="0">
                  <a:latin typeface="Segoe WP Light"/>
                </a:rPr>
                <a:t>14%</a:t>
              </a:r>
            </a:p>
          </p:txBody>
        </p:sp>
        <p:sp>
          <p:nvSpPr>
            <p:cNvPr id="27" name="TextBox 26"/>
            <p:cNvSpPr txBox="1"/>
            <p:nvPr/>
          </p:nvSpPr>
          <p:spPr>
            <a:xfrm>
              <a:off x="9011478" y="3099352"/>
              <a:ext cx="1248630" cy="348813"/>
            </a:xfrm>
            <a:prstGeom prst="rect">
              <a:avLst/>
            </a:prstGeom>
            <a:noFill/>
          </p:spPr>
          <p:txBody>
            <a:bodyPr wrap="square" rtlCol="0">
              <a:spAutoFit/>
            </a:bodyPr>
            <a:lstStyle/>
            <a:p>
              <a:r>
                <a:rPr lang="en-US" sz="1100" dirty="0"/>
                <a:t>transform</a:t>
              </a:r>
            </a:p>
          </p:txBody>
        </p:sp>
      </p:grpSp>
      <p:grpSp>
        <p:nvGrpSpPr>
          <p:cNvPr id="28" name="Group 27"/>
          <p:cNvGrpSpPr/>
          <p:nvPr/>
        </p:nvGrpSpPr>
        <p:grpSpPr>
          <a:xfrm>
            <a:off x="945119" y="1257301"/>
            <a:ext cx="7213617" cy="115112"/>
            <a:chOff x="1259822" y="566905"/>
            <a:chExt cx="9615651" cy="675150"/>
          </a:xfrm>
        </p:grpSpPr>
        <p:sp>
          <p:nvSpPr>
            <p:cNvPr id="29" name="Rectangle 28"/>
            <p:cNvSpPr/>
            <p:nvPr/>
          </p:nvSpPr>
          <p:spPr>
            <a:xfrm>
              <a:off x="8505744" y="566905"/>
              <a:ext cx="2369729" cy="6751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ectangle 29"/>
            <p:cNvSpPr/>
            <p:nvPr/>
          </p:nvSpPr>
          <p:spPr>
            <a:xfrm>
              <a:off x="6092824" y="566905"/>
              <a:ext cx="2367850" cy="6751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30"/>
            <p:cNvSpPr/>
            <p:nvPr/>
          </p:nvSpPr>
          <p:spPr>
            <a:xfrm>
              <a:off x="3687034" y="566905"/>
              <a:ext cx="2367850" cy="6751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p:cNvSpPr/>
            <p:nvPr/>
          </p:nvSpPr>
          <p:spPr>
            <a:xfrm>
              <a:off x="1259822" y="566905"/>
              <a:ext cx="2389111" cy="6751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3" name="Group 32"/>
          <p:cNvGrpSpPr/>
          <p:nvPr/>
        </p:nvGrpSpPr>
        <p:grpSpPr>
          <a:xfrm>
            <a:off x="3321666" y="1965793"/>
            <a:ext cx="665009" cy="853208"/>
            <a:chOff x="2038650" y="2124327"/>
            <a:chExt cx="886448" cy="1137611"/>
          </a:xfrm>
        </p:grpSpPr>
        <p:grpSp>
          <p:nvGrpSpPr>
            <p:cNvPr id="34" name="Group 33"/>
            <p:cNvGrpSpPr/>
            <p:nvPr/>
          </p:nvGrpSpPr>
          <p:grpSpPr>
            <a:xfrm>
              <a:off x="2605502" y="2124327"/>
              <a:ext cx="319596" cy="371126"/>
              <a:chOff x="2605502" y="2124327"/>
              <a:chExt cx="319596" cy="371126"/>
            </a:xfrm>
          </p:grpSpPr>
          <p:sp>
            <p:nvSpPr>
              <p:cNvPr id="50" name="Freeform 12"/>
              <p:cNvSpPr>
                <a:spLocks/>
              </p:cNvSpPr>
              <p:nvPr/>
            </p:nvSpPr>
            <p:spPr bwMode="black">
              <a:xfrm>
                <a:off x="2605502" y="2458245"/>
                <a:ext cx="29583" cy="37208"/>
              </a:xfrm>
              <a:custGeom>
                <a:avLst/>
                <a:gdLst>
                  <a:gd name="T0" fmla="*/ 26 w 62"/>
                  <a:gd name="T1" fmla="*/ 78 h 78"/>
                  <a:gd name="T2" fmla="*/ 62 w 62"/>
                  <a:gd name="T3" fmla="*/ 14 h 78"/>
                  <a:gd name="T4" fmla="*/ 36 w 62"/>
                  <a:gd name="T5" fmla="*/ 0 h 78"/>
                  <a:gd name="T6" fmla="*/ 0 w 62"/>
                  <a:gd name="T7" fmla="*/ 61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4"/>
                    </a:lnTo>
                    <a:lnTo>
                      <a:pt x="36" y="0"/>
                    </a:lnTo>
                    <a:lnTo>
                      <a:pt x="0" y="61"/>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51" name="Freeform 13"/>
              <p:cNvSpPr>
                <a:spLocks/>
              </p:cNvSpPr>
              <p:nvPr/>
            </p:nvSpPr>
            <p:spPr bwMode="black">
              <a:xfrm>
                <a:off x="2640334" y="2397185"/>
                <a:ext cx="29583" cy="37208"/>
              </a:xfrm>
              <a:custGeom>
                <a:avLst/>
                <a:gdLst>
                  <a:gd name="T0" fmla="*/ 26 w 62"/>
                  <a:gd name="T1" fmla="*/ 78 h 78"/>
                  <a:gd name="T2" fmla="*/ 62 w 62"/>
                  <a:gd name="T3" fmla="*/ 17 h 78"/>
                  <a:gd name="T4" fmla="*/ 36 w 62"/>
                  <a:gd name="T5" fmla="*/ 0 h 78"/>
                  <a:gd name="T6" fmla="*/ 0 w 62"/>
                  <a:gd name="T7" fmla="*/ 64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7"/>
                    </a:lnTo>
                    <a:lnTo>
                      <a:pt x="36" y="0"/>
                    </a:lnTo>
                    <a:lnTo>
                      <a:pt x="0" y="64"/>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52" name="Freeform 19"/>
              <p:cNvSpPr>
                <a:spLocks noEditPoints="1"/>
              </p:cNvSpPr>
              <p:nvPr/>
            </p:nvSpPr>
            <p:spPr bwMode="black">
              <a:xfrm>
                <a:off x="2656941" y="2124327"/>
                <a:ext cx="225691" cy="156941"/>
              </a:xfrm>
              <a:custGeom>
                <a:avLst/>
                <a:gdLst>
                  <a:gd name="T0" fmla="*/ 174 w 200"/>
                  <a:gd name="T1" fmla="*/ 0 h 139"/>
                  <a:gd name="T2" fmla="*/ 26 w 200"/>
                  <a:gd name="T3" fmla="*/ 0 h 139"/>
                  <a:gd name="T4" fmla="*/ 0 w 200"/>
                  <a:gd name="T5" fmla="*/ 27 h 139"/>
                  <a:gd name="T6" fmla="*/ 0 w 200"/>
                  <a:gd name="T7" fmla="*/ 113 h 139"/>
                  <a:gd name="T8" fmla="*/ 26 w 200"/>
                  <a:gd name="T9" fmla="*/ 139 h 139"/>
                  <a:gd name="T10" fmla="*/ 174 w 200"/>
                  <a:gd name="T11" fmla="*/ 139 h 139"/>
                  <a:gd name="T12" fmla="*/ 200 w 200"/>
                  <a:gd name="T13" fmla="*/ 113 h 139"/>
                  <a:gd name="T14" fmla="*/ 200 w 200"/>
                  <a:gd name="T15" fmla="*/ 27 h 139"/>
                  <a:gd name="T16" fmla="*/ 174 w 200"/>
                  <a:gd name="T17" fmla="*/ 0 h 139"/>
                  <a:gd name="T18" fmla="*/ 185 w 200"/>
                  <a:gd name="T19" fmla="*/ 113 h 139"/>
                  <a:gd name="T20" fmla="*/ 174 w 200"/>
                  <a:gd name="T21" fmla="*/ 124 h 139"/>
                  <a:gd name="T22" fmla="*/ 26 w 200"/>
                  <a:gd name="T23" fmla="*/ 124 h 139"/>
                  <a:gd name="T24" fmla="*/ 15 w 200"/>
                  <a:gd name="T25" fmla="*/ 113 h 139"/>
                  <a:gd name="T26" fmla="*/ 15 w 200"/>
                  <a:gd name="T27" fmla="*/ 27 h 139"/>
                  <a:gd name="T28" fmla="*/ 26 w 200"/>
                  <a:gd name="T29" fmla="*/ 16 h 139"/>
                  <a:gd name="T30" fmla="*/ 174 w 200"/>
                  <a:gd name="T31" fmla="*/ 16 h 139"/>
                  <a:gd name="T32" fmla="*/ 185 w 200"/>
                  <a:gd name="T33" fmla="*/ 27 h 139"/>
                  <a:gd name="T34" fmla="*/ 185 w 200"/>
                  <a:gd name="T35" fmla="*/ 11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39">
                    <a:moveTo>
                      <a:pt x="174" y="0"/>
                    </a:moveTo>
                    <a:cubicBezTo>
                      <a:pt x="26" y="0"/>
                      <a:pt x="26" y="0"/>
                      <a:pt x="26" y="0"/>
                    </a:cubicBezTo>
                    <a:cubicBezTo>
                      <a:pt x="12" y="0"/>
                      <a:pt x="0" y="12"/>
                      <a:pt x="0" y="27"/>
                    </a:cubicBezTo>
                    <a:cubicBezTo>
                      <a:pt x="0" y="113"/>
                      <a:pt x="0" y="113"/>
                      <a:pt x="0" y="113"/>
                    </a:cubicBezTo>
                    <a:cubicBezTo>
                      <a:pt x="0" y="127"/>
                      <a:pt x="12" y="139"/>
                      <a:pt x="26" y="139"/>
                    </a:cubicBezTo>
                    <a:cubicBezTo>
                      <a:pt x="174" y="139"/>
                      <a:pt x="174" y="139"/>
                      <a:pt x="174" y="139"/>
                    </a:cubicBezTo>
                    <a:cubicBezTo>
                      <a:pt x="188" y="139"/>
                      <a:pt x="200" y="127"/>
                      <a:pt x="200" y="113"/>
                    </a:cubicBezTo>
                    <a:cubicBezTo>
                      <a:pt x="200" y="27"/>
                      <a:pt x="200" y="27"/>
                      <a:pt x="200" y="27"/>
                    </a:cubicBezTo>
                    <a:cubicBezTo>
                      <a:pt x="200" y="12"/>
                      <a:pt x="188" y="0"/>
                      <a:pt x="174" y="0"/>
                    </a:cubicBezTo>
                    <a:moveTo>
                      <a:pt x="185" y="113"/>
                    </a:moveTo>
                    <a:cubicBezTo>
                      <a:pt x="185" y="119"/>
                      <a:pt x="180" y="124"/>
                      <a:pt x="174" y="124"/>
                    </a:cubicBezTo>
                    <a:cubicBezTo>
                      <a:pt x="26" y="124"/>
                      <a:pt x="26" y="124"/>
                      <a:pt x="26" y="124"/>
                    </a:cubicBezTo>
                    <a:cubicBezTo>
                      <a:pt x="20" y="124"/>
                      <a:pt x="15" y="119"/>
                      <a:pt x="15" y="113"/>
                    </a:cubicBezTo>
                    <a:cubicBezTo>
                      <a:pt x="15" y="27"/>
                      <a:pt x="15" y="27"/>
                      <a:pt x="15" y="27"/>
                    </a:cubicBezTo>
                    <a:cubicBezTo>
                      <a:pt x="15" y="21"/>
                      <a:pt x="20" y="16"/>
                      <a:pt x="26" y="16"/>
                    </a:cubicBezTo>
                    <a:cubicBezTo>
                      <a:pt x="174" y="16"/>
                      <a:pt x="174" y="16"/>
                      <a:pt x="174" y="16"/>
                    </a:cubicBezTo>
                    <a:cubicBezTo>
                      <a:pt x="180" y="16"/>
                      <a:pt x="185" y="21"/>
                      <a:pt x="185" y="27"/>
                    </a:cubicBezTo>
                    <a:lnTo>
                      <a:pt x="185" y="1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53" name="Freeform 20"/>
              <p:cNvSpPr>
                <a:spLocks/>
              </p:cNvSpPr>
              <p:nvPr/>
            </p:nvSpPr>
            <p:spPr bwMode="black">
              <a:xfrm>
                <a:off x="2613997" y="2291286"/>
                <a:ext cx="311101" cy="72031"/>
              </a:xfrm>
              <a:custGeom>
                <a:avLst/>
                <a:gdLst>
                  <a:gd name="T0" fmla="*/ 7 w 276"/>
                  <a:gd name="T1" fmla="*/ 64 h 64"/>
                  <a:gd name="T2" fmla="*/ 269 w 276"/>
                  <a:gd name="T3" fmla="*/ 64 h 64"/>
                  <a:gd name="T4" fmla="*/ 276 w 276"/>
                  <a:gd name="T5" fmla="*/ 57 h 64"/>
                  <a:gd name="T6" fmla="*/ 276 w 276"/>
                  <a:gd name="T7" fmla="*/ 54 h 64"/>
                  <a:gd name="T8" fmla="*/ 272 w 276"/>
                  <a:gd name="T9" fmla="*/ 42 h 64"/>
                  <a:gd name="T10" fmla="*/ 240 w 276"/>
                  <a:gd name="T11" fmla="*/ 5 h 64"/>
                  <a:gd name="T12" fmla="*/ 229 w 276"/>
                  <a:gd name="T13" fmla="*/ 0 h 64"/>
                  <a:gd name="T14" fmla="*/ 47 w 276"/>
                  <a:gd name="T15" fmla="*/ 0 h 64"/>
                  <a:gd name="T16" fmla="*/ 36 w 276"/>
                  <a:gd name="T17" fmla="*/ 5 h 64"/>
                  <a:gd name="T18" fmla="*/ 4 w 276"/>
                  <a:gd name="T19" fmla="*/ 42 h 64"/>
                  <a:gd name="T20" fmla="*/ 0 w 276"/>
                  <a:gd name="T21" fmla="*/ 54 h 64"/>
                  <a:gd name="T22" fmla="*/ 0 w 276"/>
                  <a:gd name="T23" fmla="*/ 57 h 64"/>
                  <a:gd name="T24" fmla="*/ 7 w 27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6" h="64">
                    <a:moveTo>
                      <a:pt x="7" y="64"/>
                    </a:moveTo>
                    <a:cubicBezTo>
                      <a:pt x="269" y="64"/>
                      <a:pt x="269" y="64"/>
                      <a:pt x="269" y="64"/>
                    </a:cubicBezTo>
                    <a:cubicBezTo>
                      <a:pt x="273" y="64"/>
                      <a:pt x="276" y="61"/>
                      <a:pt x="276" y="57"/>
                    </a:cubicBezTo>
                    <a:cubicBezTo>
                      <a:pt x="276" y="54"/>
                      <a:pt x="276" y="54"/>
                      <a:pt x="276" y="54"/>
                    </a:cubicBezTo>
                    <a:cubicBezTo>
                      <a:pt x="276" y="50"/>
                      <a:pt x="274" y="45"/>
                      <a:pt x="272" y="42"/>
                    </a:cubicBezTo>
                    <a:cubicBezTo>
                      <a:pt x="240" y="5"/>
                      <a:pt x="240" y="5"/>
                      <a:pt x="240" y="5"/>
                    </a:cubicBezTo>
                    <a:cubicBezTo>
                      <a:pt x="238" y="2"/>
                      <a:pt x="233" y="0"/>
                      <a:pt x="229" y="0"/>
                    </a:cubicBezTo>
                    <a:cubicBezTo>
                      <a:pt x="47" y="0"/>
                      <a:pt x="47" y="0"/>
                      <a:pt x="47" y="0"/>
                    </a:cubicBezTo>
                    <a:cubicBezTo>
                      <a:pt x="43" y="0"/>
                      <a:pt x="38" y="2"/>
                      <a:pt x="36" y="5"/>
                    </a:cubicBezTo>
                    <a:cubicBezTo>
                      <a:pt x="4" y="42"/>
                      <a:pt x="4" y="42"/>
                      <a:pt x="4" y="42"/>
                    </a:cubicBezTo>
                    <a:cubicBezTo>
                      <a:pt x="2" y="45"/>
                      <a:pt x="0" y="50"/>
                      <a:pt x="0" y="54"/>
                    </a:cubicBezTo>
                    <a:cubicBezTo>
                      <a:pt x="0" y="57"/>
                      <a:pt x="0" y="57"/>
                      <a:pt x="0" y="57"/>
                    </a:cubicBezTo>
                    <a:cubicBezTo>
                      <a:pt x="0" y="61"/>
                      <a:pt x="3" y="64"/>
                      <a:pt x="7"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grpSp>
          <p:nvGrpSpPr>
            <p:cNvPr id="35" name="Group 34"/>
            <p:cNvGrpSpPr/>
            <p:nvPr/>
          </p:nvGrpSpPr>
          <p:grpSpPr>
            <a:xfrm>
              <a:off x="2038650" y="2843203"/>
              <a:ext cx="373129" cy="387480"/>
              <a:chOff x="2038650" y="2843203"/>
              <a:chExt cx="373129" cy="387480"/>
            </a:xfrm>
          </p:grpSpPr>
          <p:sp>
            <p:nvSpPr>
              <p:cNvPr id="45" name="Freeform 14"/>
              <p:cNvSpPr>
                <a:spLocks/>
              </p:cNvSpPr>
              <p:nvPr/>
            </p:nvSpPr>
            <p:spPr bwMode="black">
              <a:xfrm>
                <a:off x="2348319" y="2843203"/>
                <a:ext cx="29583" cy="37208"/>
              </a:xfrm>
              <a:custGeom>
                <a:avLst/>
                <a:gdLst>
                  <a:gd name="T0" fmla="*/ 0 w 62"/>
                  <a:gd name="T1" fmla="*/ 64 h 78"/>
                  <a:gd name="T2" fmla="*/ 26 w 62"/>
                  <a:gd name="T3" fmla="*/ 78 h 78"/>
                  <a:gd name="T4" fmla="*/ 62 w 62"/>
                  <a:gd name="T5" fmla="*/ 14 h 78"/>
                  <a:gd name="T6" fmla="*/ 36 w 62"/>
                  <a:gd name="T7" fmla="*/ 0 h 78"/>
                  <a:gd name="T8" fmla="*/ 0 w 62"/>
                  <a:gd name="T9" fmla="*/ 64 h 78"/>
                </a:gdLst>
                <a:ahLst/>
                <a:cxnLst>
                  <a:cxn ang="0">
                    <a:pos x="T0" y="T1"/>
                  </a:cxn>
                  <a:cxn ang="0">
                    <a:pos x="T2" y="T3"/>
                  </a:cxn>
                  <a:cxn ang="0">
                    <a:pos x="T4" y="T5"/>
                  </a:cxn>
                  <a:cxn ang="0">
                    <a:pos x="T6" y="T7"/>
                  </a:cxn>
                  <a:cxn ang="0">
                    <a:pos x="T8" y="T9"/>
                  </a:cxn>
                </a:cxnLst>
                <a:rect l="0" t="0" r="r" b="b"/>
                <a:pathLst>
                  <a:path w="62" h="78">
                    <a:moveTo>
                      <a:pt x="0" y="64"/>
                    </a:moveTo>
                    <a:lnTo>
                      <a:pt x="26" y="78"/>
                    </a:lnTo>
                    <a:lnTo>
                      <a:pt x="62" y="14"/>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6" name="Freeform 15"/>
              <p:cNvSpPr>
                <a:spLocks/>
              </p:cNvSpPr>
              <p:nvPr/>
            </p:nvSpPr>
            <p:spPr bwMode="black">
              <a:xfrm>
                <a:off x="2313487" y="2902830"/>
                <a:ext cx="30537" cy="38640"/>
              </a:xfrm>
              <a:custGeom>
                <a:avLst/>
                <a:gdLst>
                  <a:gd name="T0" fmla="*/ 0 w 64"/>
                  <a:gd name="T1" fmla="*/ 64 h 81"/>
                  <a:gd name="T2" fmla="*/ 26 w 64"/>
                  <a:gd name="T3" fmla="*/ 81 h 81"/>
                  <a:gd name="T4" fmla="*/ 64 w 64"/>
                  <a:gd name="T5" fmla="*/ 17 h 81"/>
                  <a:gd name="T6" fmla="*/ 36 w 64"/>
                  <a:gd name="T7" fmla="*/ 0 h 81"/>
                  <a:gd name="T8" fmla="*/ 0 w 64"/>
                  <a:gd name="T9" fmla="*/ 64 h 81"/>
                </a:gdLst>
                <a:ahLst/>
                <a:cxnLst>
                  <a:cxn ang="0">
                    <a:pos x="T0" y="T1"/>
                  </a:cxn>
                  <a:cxn ang="0">
                    <a:pos x="T2" y="T3"/>
                  </a:cxn>
                  <a:cxn ang="0">
                    <a:pos x="T4" y="T5"/>
                  </a:cxn>
                  <a:cxn ang="0">
                    <a:pos x="T6" y="T7"/>
                  </a:cxn>
                  <a:cxn ang="0">
                    <a:pos x="T8" y="T9"/>
                  </a:cxn>
                </a:cxnLst>
                <a:rect l="0" t="0" r="r" b="b"/>
                <a:pathLst>
                  <a:path w="64" h="81">
                    <a:moveTo>
                      <a:pt x="0" y="64"/>
                    </a:moveTo>
                    <a:lnTo>
                      <a:pt x="26" y="81"/>
                    </a:lnTo>
                    <a:lnTo>
                      <a:pt x="64" y="17"/>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7" name="Freeform 21"/>
              <p:cNvSpPr>
                <a:spLocks noEditPoints="1"/>
              </p:cNvSpPr>
              <p:nvPr/>
            </p:nvSpPr>
            <p:spPr bwMode="black">
              <a:xfrm>
                <a:off x="2038650" y="3004096"/>
                <a:ext cx="234757" cy="182701"/>
              </a:xfrm>
              <a:custGeom>
                <a:avLst/>
                <a:gdLst>
                  <a:gd name="T0" fmla="*/ 177 w 208"/>
                  <a:gd name="T1" fmla="*/ 0 h 162"/>
                  <a:gd name="T2" fmla="*/ 31 w 208"/>
                  <a:gd name="T3" fmla="*/ 0 h 162"/>
                  <a:gd name="T4" fmla="*/ 0 w 208"/>
                  <a:gd name="T5" fmla="*/ 31 h 162"/>
                  <a:gd name="T6" fmla="*/ 0 w 208"/>
                  <a:gd name="T7" fmla="*/ 131 h 162"/>
                  <a:gd name="T8" fmla="*/ 31 w 208"/>
                  <a:gd name="T9" fmla="*/ 162 h 162"/>
                  <a:gd name="T10" fmla="*/ 177 w 208"/>
                  <a:gd name="T11" fmla="*/ 162 h 162"/>
                  <a:gd name="T12" fmla="*/ 208 w 208"/>
                  <a:gd name="T13" fmla="*/ 131 h 162"/>
                  <a:gd name="T14" fmla="*/ 208 w 208"/>
                  <a:gd name="T15" fmla="*/ 31 h 162"/>
                  <a:gd name="T16" fmla="*/ 177 w 208"/>
                  <a:gd name="T17" fmla="*/ 0 h 162"/>
                  <a:gd name="T18" fmla="*/ 190 w 208"/>
                  <a:gd name="T19" fmla="*/ 131 h 162"/>
                  <a:gd name="T20" fmla="*/ 177 w 208"/>
                  <a:gd name="T21" fmla="*/ 144 h 162"/>
                  <a:gd name="T22" fmla="*/ 31 w 208"/>
                  <a:gd name="T23" fmla="*/ 144 h 162"/>
                  <a:gd name="T24" fmla="*/ 18 w 208"/>
                  <a:gd name="T25" fmla="*/ 131 h 162"/>
                  <a:gd name="T26" fmla="*/ 18 w 208"/>
                  <a:gd name="T27" fmla="*/ 31 h 162"/>
                  <a:gd name="T28" fmla="*/ 31 w 208"/>
                  <a:gd name="T29" fmla="*/ 18 h 162"/>
                  <a:gd name="T30" fmla="*/ 177 w 208"/>
                  <a:gd name="T31" fmla="*/ 18 h 162"/>
                  <a:gd name="T32" fmla="*/ 190 w 208"/>
                  <a:gd name="T33" fmla="*/ 31 h 162"/>
                  <a:gd name="T34" fmla="*/ 190 w 208"/>
                  <a:gd name="T35" fmla="*/ 13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 h="162">
                    <a:moveTo>
                      <a:pt x="177" y="0"/>
                    </a:moveTo>
                    <a:cubicBezTo>
                      <a:pt x="31" y="0"/>
                      <a:pt x="31" y="0"/>
                      <a:pt x="31" y="0"/>
                    </a:cubicBezTo>
                    <a:cubicBezTo>
                      <a:pt x="14" y="0"/>
                      <a:pt x="0" y="14"/>
                      <a:pt x="0" y="31"/>
                    </a:cubicBezTo>
                    <a:cubicBezTo>
                      <a:pt x="0" y="131"/>
                      <a:pt x="0" y="131"/>
                      <a:pt x="0" y="131"/>
                    </a:cubicBezTo>
                    <a:cubicBezTo>
                      <a:pt x="0" y="148"/>
                      <a:pt x="14" y="162"/>
                      <a:pt x="31" y="162"/>
                    </a:cubicBezTo>
                    <a:cubicBezTo>
                      <a:pt x="177" y="162"/>
                      <a:pt x="177" y="162"/>
                      <a:pt x="177" y="162"/>
                    </a:cubicBezTo>
                    <a:cubicBezTo>
                      <a:pt x="194" y="162"/>
                      <a:pt x="208" y="148"/>
                      <a:pt x="208" y="131"/>
                    </a:cubicBezTo>
                    <a:cubicBezTo>
                      <a:pt x="208" y="31"/>
                      <a:pt x="208" y="31"/>
                      <a:pt x="208" y="31"/>
                    </a:cubicBezTo>
                    <a:cubicBezTo>
                      <a:pt x="208" y="14"/>
                      <a:pt x="194" y="0"/>
                      <a:pt x="177" y="0"/>
                    </a:cubicBezTo>
                    <a:moveTo>
                      <a:pt x="190" y="131"/>
                    </a:moveTo>
                    <a:cubicBezTo>
                      <a:pt x="190" y="138"/>
                      <a:pt x="184" y="144"/>
                      <a:pt x="177" y="144"/>
                    </a:cubicBezTo>
                    <a:cubicBezTo>
                      <a:pt x="31" y="144"/>
                      <a:pt x="31" y="144"/>
                      <a:pt x="31" y="144"/>
                    </a:cubicBezTo>
                    <a:cubicBezTo>
                      <a:pt x="24" y="144"/>
                      <a:pt x="18" y="138"/>
                      <a:pt x="18" y="131"/>
                    </a:cubicBezTo>
                    <a:cubicBezTo>
                      <a:pt x="18" y="31"/>
                      <a:pt x="18" y="31"/>
                      <a:pt x="18" y="31"/>
                    </a:cubicBezTo>
                    <a:cubicBezTo>
                      <a:pt x="18" y="24"/>
                      <a:pt x="24" y="18"/>
                      <a:pt x="31" y="18"/>
                    </a:cubicBezTo>
                    <a:cubicBezTo>
                      <a:pt x="177" y="18"/>
                      <a:pt x="177" y="18"/>
                      <a:pt x="177" y="18"/>
                    </a:cubicBezTo>
                    <a:cubicBezTo>
                      <a:pt x="184" y="18"/>
                      <a:pt x="190" y="24"/>
                      <a:pt x="190" y="31"/>
                    </a:cubicBezTo>
                    <a:lnTo>
                      <a:pt x="190" y="1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8" name="Freeform 22"/>
              <p:cNvSpPr>
                <a:spLocks/>
              </p:cNvSpPr>
              <p:nvPr/>
            </p:nvSpPr>
            <p:spPr bwMode="black">
              <a:xfrm>
                <a:off x="2093045" y="3199199"/>
                <a:ext cx="125967" cy="31483"/>
              </a:xfrm>
              <a:custGeom>
                <a:avLst/>
                <a:gdLst>
                  <a:gd name="T0" fmla="*/ 112 w 112"/>
                  <a:gd name="T1" fmla="*/ 25 h 28"/>
                  <a:gd name="T2" fmla="*/ 112 w 112"/>
                  <a:gd name="T3" fmla="*/ 23 h 28"/>
                  <a:gd name="T4" fmla="*/ 110 w 112"/>
                  <a:gd name="T5" fmla="*/ 18 h 28"/>
                  <a:gd name="T6" fmla="*/ 96 w 112"/>
                  <a:gd name="T7" fmla="*/ 2 h 28"/>
                  <a:gd name="T8" fmla="*/ 91 w 112"/>
                  <a:gd name="T9" fmla="*/ 0 h 28"/>
                  <a:gd name="T10" fmla="*/ 21 w 112"/>
                  <a:gd name="T11" fmla="*/ 0 h 28"/>
                  <a:gd name="T12" fmla="*/ 16 w 112"/>
                  <a:gd name="T13" fmla="*/ 2 h 28"/>
                  <a:gd name="T14" fmla="*/ 2 w 112"/>
                  <a:gd name="T15" fmla="*/ 18 h 28"/>
                  <a:gd name="T16" fmla="*/ 0 w 112"/>
                  <a:gd name="T17" fmla="*/ 23 h 28"/>
                  <a:gd name="T18" fmla="*/ 0 w 112"/>
                  <a:gd name="T19" fmla="*/ 25 h 28"/>
                  <a:gd name="T20" fmla="*/ 3 w 112"/>
                  <a:gd name="T21" fmla="*/ 28 h 28"/>
                  <a:gd name="T22" fmla="*/ 109 w 112"/>
                  <a:gd name="T23" fmla="*/ 28 h 28"/>
                  <a:gd name="T24" fmla="*/ 112 w 112"/>
                  <a:gd name="T25"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28">
                    <a:moveTo>
                      <a:pt x="112" y="25"/>
                    </a:moveTo>
                    <a:cubicBezTo>
                      <a:pt x="112" y="23"/>
                      <a:pt x="112" y="23"/>
                      <a:pt x="112" y="23"/>
                    </a:cubicBezTo>
                    <a:cubicBezTo>
                      <a:pt x="112" y="22"/>
                      <a:pt x="111" y="20"/>
                      <a:pt x="110" y="18"/>
                    </a:cubicBezTo>
                    <a:cubicBezTo>
                      <a:pt x="96" y="2"/>
                      <a:pt x="96" y="2"/>
                      <a:pt x="96" y="2"/>
                    </a:cubicBezTo>
                    <a:cubicBezTo>
                      <a:pt x="95" y="1"/>
                      <a:pt x="93" y="0"/>
                      <a:pt x="91" y="0"/>
                    </a:cubicBezTo>
                    <a:cubicBezTo>
                      <a:pt x="21" y="0"/>
                      <a:pt x="21" y="0"/>
                      <a:pt x="21" y="0"/>
                    </a:cubicBezTo>
                    <a:cubicBezTo>
                      <a:pt x="19" y="0"/>
                      <a:pt x="17" y="1"/>
                      <a:pt x="16" y="2"/>
                    </a:cubicBezTo>
                    <a:cubicBezTo>
                      <a:pt x="2" y="18"/>
                      <a:pt x="2" y="18"/>
                      <a:pt x="2" y="18"/>
                    </a:cubicBezTo>
                    <a:cubicBezTo>
                      <a:pt x="1" y="20"/>
                      <a:pt x="0" y="22"/>
                      <a:pt x="0" y="23"/>
                    </a:cubicBezTo>
                    <a:cubicBezTo>
                      <a:pt x="0" y="25"/>
                      <a:pt x="0" y="25"/>
                      <a:pt x="0" y="25"/>
                    </a:cubicBezTo>
                    <a:cubicBezTo>
                      <a:pt x="0" y="26"/>
                      <a:pt x="1" y="28"/>
                      <a:pt x="3" y="28"/>
                    </a:cubicBezTo>
                    <a:cubicBezTo>
                      <a:pt x="109" y="28"/>
                      <a:pt x="109" y="28"/>
                      <a:pt x="109" y="28"/>
                    </a:cubicBezTo>
                    <a:cubicBezTo>
                      <a:pt x="111" y="28"/>
                      <a:pt x="112" y="26"/>
                      <a:pt x="112" y="2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9" name="Freeform 23"/>
              <p:cNvSpPr>
                <a:spLocks noEditPoints="1"/>
              </p:cNvSpPr>
              <p:nvPr/>
            </p:nvSpPr>
            <p:spPr bwMode="black">
              <a:xfrm>
                <a:off x="2295832" y="3004096"/>
                <a:ext cx="115947" cy="226587"/>
              </a:xfrm>
              <a:custGeom>
                <a:avLst/>
                <a:gdLst>
                  <a:gd name="T0" fmla="*/ 89 w 103"/>
                  <a:gd name="T1" fmla="*/ 0 h 201"/>
                  <a:gd name="T2" fmla="*/ 13 w 103"/>
                  <a:gd name="T3" fmla="*/ 0 h 201"/>
                  <a:gd name="T4" fmla="*/ 0 w 103"/>
                  <a:gd name="T5" fmla="*/ 13 h 201"/>
                  <a:gd name="T6" fmla="*/ 0 w 103"/>
                  <a:gd name="T7" fmla="*/ 187 h 201"/>
                  <a:gd name="T8" fmla="*/ 13 w 103"/>
                  <a:gd name="T9" fmla="*/ 201 h 201"/>
                  <a:gd name="T10" fmla="*/ 89 w 103"/>
                  <a:gd name="T11" fmla="*/ 201 h 201"/>
                  <a:gd name="T12" fmla="*/ 103 w 103"/>
                  <a:gd name="T13" fmla="*/ 187 h 201"/>
                  <a:gd name="T14" fmla="*/ 103 w 103"/>
                  <a:gd name="T15" fmla="*/ 13 h 201"/>
                  <a:gd name="T16" fmla="*/ 89 w 103"/>
                  <a:gd name="T17" fmla="*/ 0 h 201"/>
                  <a:gd name="T18" fmla="*/ 52 w 103"/>
                  <a:gd name="T19" fmla="*/ 187 h 201"/>
                  <a:gd name="T20" fmla="*/ 40 w 103"/>
                  <a:gd name="T21" fmla="*/ 175 h 201"/>
                  <a:gd name="T22" fmla="*/ 52 w 103"/>
                  <a:gd name="T23" fmla="*/ 163 h 201"/>
                  <a:gd name="T24" fmla="*/ 63 w 103"/>
                  <a:gd name="T25" fmla="*/ 175 h 201"/>
                  <a:gd name="T26" fmla="*/ 52 w 103"/>
                  <a:gd name="T27" fmla="*/ 18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201">
                    <a:moveTo>
                      <a:pt x="89" y="0"/>
                    </a:moveTo>
                    <a:cubicBezTo>
                      <a:pt x="13" y="0"/>
                      <a:pt x="13" y="0"/>
                      <a:pt x="13" y="0"/>
                    </a:cubicBezTo>
                    <a:cubicBezTo>
                      <a:pt x="6" y="0"/>
                      <a:pt x="0" y="6"/>
                      <a:pt x="0" y="13"/>
                    </a:cubicBezTo>
                    <a:cubicBezTo>
                      <a:pt x="0" y="187"/>
                      <a:pt x="0" y="187"/>
                      <a:pt x="0" y="187"/>
                    </a:cubicBezTo>
                    <a:cubicBezTo>
                      <a:pt x="0" y="195"/>
                      <a:pt x="6" y="201"/>
                      <a:pt x="13" y="201"/>
                    </a:cubicBezTo>
                    <a:cubicBezTo>
                      <a:pt x="89" y="201"/>
                      <a:pt x="89" y="201"/>
                      <a:pt x="89" y="201"/>
                    </a:cubicBezTo>
                    <a:cubicBezTo>
                      <a:pt x="97" y="201"/>
                      <a:pt x="103" y="195"/>
                      <a:pt x="103" y="187"/>
                    </a:cubicBezTo>
                    <a:cubicBezTo>
                      <a:pt x="103" y="13"/>
                      <a:pt x="103" y="13"/>
                      <a:pt x="103" y="13"/>
                    </a:cubicBezTo>
                    <a:cubicBezTo>
                      <a:pt x="103" y="6"/>
                      <a:pt x="97" y="0"/>
                      <a:pt x="89" y="0"/>
                    </a:cubicBezTo>
                    <a:moveTo>
                      <a:pt x="52" y="187"/>
                    </a:moveTo>
                    <a:cubicBezTo>
                      <a:pt x="45" y="187"/>
                      <a:pt x="40" y="181"/>
                      <a:pt x="40" y="175"/>
                    </a:cubicBezTo>
                    <a:cubicBezTo>
                      <a:pt x="40" y="168"/>
                      <a:pt x="45" y="163"/>
                      <a:pt x="52" y="163"/>
                    </a:cubicBezTo>
                    <a:cubicBezTo>
                      <a:pt x="58" y="163"/>
                      <a:pt x="63" y="168"/>
                      <a:pt x="63" y="175"/>
                    </a:cubicBezTo>
                    <a:cubicBezTo>
                      <a:pt x="63" y="181"/>
                      <a:pt x="58" y="187"/>
                      <a:pt x="52" y="18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grpSp>
          <p:nvGrpSpPr>
            <p:cNvPr id="36" name="Group 35"/>
            <p:cNvGrpSpPr/>
            <p:nvPr/>
          </p:nvGrpSpPr>
          <p:grpSpPr>
            <a:xfrm>
              <a:off x="2104698" y="2128022"/>
              <a:ext cx="273204" cy="367431"/>
              <a:chOff x="2104698" y="2128022"/>
              <a:chExt cx="273204" cy="367431"/>
            </a:xfrm>
          </p:grpSpPr>
          <p:sp>
            <p:nvSpPr>
              <p:cNvPr id="42" name="Freeform 10"/>
              <p:cNvSpPr>
                <a:spLocks/>
              </p:cNvSpPr>
              <p:nvPr/>
            </p:nvSpPr>
            <p:spPr bwMode="black">
              <a:xfrm>
                <a:off x="2313487" y="2397185"/>
                <a:ext cx="30537" cy="37208"/>
              </a:xfrm>
              <a:custGeom>
                <a:avLst/>
                <a:gdLst>
                  <a:gd name="T0" fmla="*/ 36 w 64"/>
                  <a:gd name="T1" fmla="*/ 78 h 78"/>
                  <a:gd name="T2" fmla="*/ 64 w 64"/>
                  <a:gd name="T3" fmla="*/ 64 h 78"/>
                  <a:gd name="T4" fmla="*/ 26 w 64"/>
                  <a:gd name="T5" fmla="*/ 0 h 78"/>
                  <a:gd name="T6" fmla="*/ 0 w 64"/>
                  <a:gd name="T7" fmla="*/ 17 h 78"/>
                  <a:gd name="T8" fmla="*/ 36 w 64"/>
                  <a:gd name="T9" fmla="*/ 78 h 78"/>
                </a:gdLst>
                <a:ahLst/>
                <a:cxnLst>
                  <a:cxn ang="0">
                    <a:pos x="T0" y="T1"/>
                  </a:cxn>
                  <a:cxn ang="0">
                    <a:pos x="T2" y="T3"/>
                  </a:cxn>
                  <a:cxn ang="0">
                    <a:pos x="T4" y="T5"/>
                  </a:cxn>
                  <a:cxn ang="0">
                    <a:pos x="T6" y="T7"/>
                  </a:cxn>
                  <a:cxn ang="0">
                    <a:pos x="T8" y="T9"/>
                  </a:cxn>
                </a:cxnLst>
                <a:rect l="0" t="0" r="r" b="b"/>
                <a:pathLst>
                  <a:path w="64" h="78">
                    <a:moveTo>
                      <a:pt x="36" y="78"/>
                    </a:moveTo>
                    <a:lnTo>
                      <a:pt x="64" y="64"/>
                    </a:lnTo>
                    <a:lnTo>
                      <a:pt x="26" y="0"/>
                    </a:lnTo>
                    <a:lnTo>
                      <a:pt x="0" y="17"/>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3" name="Freeform 11"/>
              <p:cNvSpPr>
                <a:spLocks/>
              </p:cNvSpPr>
              <p:nvPr/>
            </p:nvSpPr>
            <p:spPr bwMode="black">
              <a:xfrm>
                <a:off x="2348319" y="2458245"/>
                <a:ext cx="29583" cy="37208"/>
              </a:xfrm>
              <a:custGeom>
                <a:avLst/>
                <a:gdLst>
                  <a:gd name="T0" fmla="*/ 36 w 62"/>
                  <a:gd name="T1" fmla="*/ 78 h 78"/>
                  <a:gd name="T2" fmla="*/ 62 w 62"/>
                  <a:gd name="T3" fmla="*/ 61 h 78"/>
                  <a:gd name="T4" fmla="*/ 26 w 62"/>
                  <a:gd name="T5" fmla="*/ 0 h 78"/>
                  <a:gd name="T6" fmla="*/ 0 w 62"/>
                  <a:gd name="T7" fmla="*/ 14 h 78"/>
                  <a:gd name="T8" fmla="*/ 36 w 62"/>
                  <a:gd name="T9" fmla="*/ 78 h 78"/>
                </a:gdLst>
                <a:ahLst/>
                <a:cxnLst>
                  <a:cxn ang="0">
                    <a:pos x="T0" y="T1"/>
                  </a:cxn>
                  <a:cxn ang="0">
                    <a:pos x="T2" y="T3"/>
                  </a:cxn>
                  <a:cxn ang="0">
                    <a:pos x="T4" y="T5"/>
                  </a:cxn>
                  <a:cxn ang="0">
                    <a:pos x="T6" y="T7"/>
                  </a:cxn>
                  <a:cxn ang="0">
                    <a:pos x="T8" y="T9"/>
                  </a:cxn>
                </a:cxnLst>
                <a:rect l="0" t="0" r="r" b="b"/>
                <a:pathLst>
                  <a:path w="62" h="78">
                    <a:moveTo>
                      <a:pt x="36" y="78"/>
                    </a:moveTo>
                    <a:lnTo>
                      <a:pt x="62" y="61"/>
                    </a:lnTo>
                    <a:lnTo>
                      <a:pt x="26" y="0"/>
                    </a:lnTo>
                    <a:lnTo>
                      <a:pt x="0" y="14"/>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4" name="Freeform 24"/>
              <p:cNvSpPr>
                <a:spLocks noEditPoints="1"/>
              </p:cNvSpPr>
              <p:nvPr/>
            </p:nvSpPr>
            <p:spPr bwMode="black">
              <a:xfrm>
                <a:off x="2104698" y="2128022"/>
                <a:ext cx="157937" cy="241852"/>
              </a:xfrm>
              <a:custGeom>
                <a:avLst/>
                <a:gdLst>
                  <a:gd name="T0" fmla="*/ 109 w 140"/>
                  <a:gd name="T1" fmla="*/ 0 h 215"/>
                  <a:gd name="T2" fmla="*/ 31 w 140"/>
                  <a:gd name="T3" fmla="*/ 0 h 215"/>
                  <a:gd name="T4" fmla="*/ 0 w 140"/>
                  <a:gd name="T5" fmla="*/ 30 h 215"/>
                  <a:gd name="T6" fmla="*/ 0 w 140"/>
                  <a:gd name="T7" fmla="*/ 184 h 215"/>
                  <a:gd name="T8" fmla="*/ 31 w 140"/>
                  <a:gd name="T9" fmla="*/ 215 h 215"/>
                  <a:gd name="T10" fmla="*/ 109 w 140"/>
                  <a:gd name="T11" fmla="*/ 215 h 215"/>
                  <a:gd name="T12" fmla="*/ 140 w 140"/>
                  <a:gd name="T13" fmla="*/ 184 h 215"/>
                  <a:gd name="T14" fmla="*/ 140 w 140"/>
                  <a:gd name="T15" fmla="*/ 30 h 215"/>
                  <a:gd name="T16" fmla="*/ 109 w 140"/>
                  <a:gd name="T17" fmla="*/ 0 h 215"/>
                  <a:gd name="T18" fmla="*/ 122 w 140"/>
                  <a:gd name="T19" fmla="*/ 177 h 215"/>
                  <a:gd name="T20" fmla="*/ 109 w 140"/>
                  <a:gd name="T21" fmla="*/ 195 h 215"/>
                  <a:gd name="T22" fmla="*/ 31 w 140"/>
                  <a:gd name="T23" fmla="*/ 195 h 215"/>
                  <a:gd name="T24" fmla="*/ 18 w 140"/>
                  <a:gd name="T25" fmla="*/ 177 h 215"/>
                  <a:gd name="T26" fmla="*/ 18 w 140"/>
                  <a:gd name="T27" fmla="*/ 35 h 215"/>
                  <a:gd name="T28" fmla="*/ 31 w 140"/>
                  <a:gd name="T29" fmla="*/ 18 h 215"/>
                  <a:gd name="T30" fmla="*/ 109 w 140"/>
                  <a:gd name="T31" fmla="*/ 18 h 215"/>
                  <a:gd name="T32" fmla="*/ 122 w 140"/>
                  <a:gd name="T33" fmla="*/ 35 h 215"/>
                  <a:gd name="T34" fmla="*/ 122 w 140"/>
                  <a:gd name="T35" fmla="*/ 17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215">
                    <a:moveTo>
                      <a:pt x="109" y="0"/>
                    </a:moveTo>
                    <a:cubicBezTo>
                      <a:pt x="31" y="0"/>
                      <a:pt x="31" y="0"/>
                      <a:pt x="31" y="0"/>
                    </a:cubicBezTo>
                    <a:cubicBezTo>
                      <a:pt x="14" y="0"/>
                      <a:pt x="0" y="13"/>
                      <a:pt x="0" y="30"/>
                    </a:cubicBezTo>
                    <a:cubicBezTo>
                      <a:pt x="0" y="184"/>
                      <a:pt x="0" y="184"/>
                      <a:pt x="0" y="184"/>
                    </a:cubicBezTo>
                    <a:cubicBezTo>
                      <a:pt x="0" y="201"/>
                      <a:pt x="14" y="215"/>
                      <a:pt x="31" y="215"/>
                    </a:cubicBezTo>
                    <a:cubicBezTo>
                      <a:pt x="109" y="215"/>
                      <a:pt x="109" y="215"/>
                      <a:pt x="109" y="215"/>
                    </a:cubicBezTo>
                    <a:cubicBezTo>
                      <a:pt x="126" y="215"/>
                      <a:pt x="140" y="201"/>
                      <a:pt x="140" y="184"/>
                    </a:cubicBezTo>
                    <a:cubicBezTo>
                      <a:pt x="140" y="30"/>
                      <a:pt x="140" y="30"/>
                      <a:pt x="140" y="30"/>
                    </a:cubicBezTo>
                    <a:cubicBezTo>
                      <a:pt x="140" y="13"/>
                      <a:pt x="126" y="0"/>
                      <a:pt x="109" y="0"/>
                    </a:cubicBezTo>
                    <a:moveTo>
                      <a:pt x="122" y="177"/>
                    </a:moveTo>
                    <a:cubicBezTo>
                      <a:pt x="122" y="187"/>
                      <a:pt x="116" y="195"/>
                      <a:pt x="109" y="195"/>
                    </a:cubicBezTo>
                    <a:cubicBezTo>
                      <a:pt x="31" y="195"/>
                      <a:pt x="31" y="195"/>
                      <a:pt x="31" y="195"/>
                    </a:cubicBezTo>
                    <a:cubicBezTo>
                      <a:pt x="24" y="195"/>
                      <a:pt x="18" y="187"/>
                      <a:pt x="18" y="177"/>
                    </a:cubicBezTo>
                    <a:cubicBezTo>
                      <a:pt x="18" y="35"/>
                      <a:pt x="18" y="35"/>
                      <a:pt x="18" y="35"/>
                    </a:cubicBezTo>
                    <a:cubicBezTo>
                      <a:pt x="18" y="26"/>
                      <a:pt x="24" y="18"/>
                      <a:pt x="31" y="18"/>
                    </a:cubicBezTo>
                    <a:cubicBezTo>
                      <a:pt x="109" y="18"/>
                      <a:pt x="109" y="18"/>
                      <a:pt x="109" y="18"/>
                    </a:cubicBezTo>
                    <a:cubicBezTo>
                      <a:pt x="116" y="18"/>
                      <a:pt x="122" y="26"/>
                      <a:pt x="122" y="35"/>
                    </a:cubicBezTo>
                    <a:lnTo>
                      <a:pt x="122" y="1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grpSp>
          <p:nvGrpSpPr>
            <p:cNvPr id="37" name="Group 36"/>
            <p:cNvGrpSpPr/>
            <p:nvPr/>
          </p:nvGrpSpPr>
          <p:grpSpPr>
            <a:xfrm>
              <a:off x="2605502" y="2843203"/>
              <a:ext cx="290571" cy="418735"/>
              <a:chOff x="2605502" y="2843203"/>
              <a:chExt cx="290571" cy="418735"/>
            </a:xfrm>
          </p:grpSpPr>
          <p:sp>
            <p:nvSpPr>
              <p:cNvPr id="39" name="Freeform 16"/>
              <p:cNvSpPr>
                <a:spLocks/>
              </p:cNvSpPr>
              <p:nvPr/>
            </p:nvSpPr>
            <p:spPr bwMode="black">
              <a:xfrm>
                <a:off x="2640334" y="2902830"/>
                <a:ext cx="29583" cy="38640"/>
              </a:xfrm>
              <a:custGeom>
                <a:avLst/>
                <a:gdLst>
                  <a:gd name="T0" fmla="*/ 26 w 62"/>
                  <a:gd name="T1" fmla="*/ 0 h 81"/>
                  <a:gd name="T2" fmla="*/ 0 w 62"/>
                  <a:gd name="T3" fmla="*/ 17 h 81"/>
                  <a:gd name="T4" fmla="*/ 36 w 62"/>
                  <a:gd name="T5" fmla="*/ 81 h 81"/>
                  <a:gd name="T6" fmla="*/ 62 w 62"/>
                  <a:gd name="T7" fmla="*/ 64 h 81"/>
                  <a:gd name="T8" fmla="*/ 26 w 62"/>
                  <a:gd name="T9" fmla="*/ 0 h 81"/>
                </a:gdLst>
                <a:ahLst/>
                <a:cxnLst>
                  <a:cxn ang="0">
                    <a:pos x="T0" y="T1"/>
                  </a:cxn>
                  <a:cxn ang="0">
                    <a:pos x="T2" y="T3"/>
                  </a:cxn>
                  <a:cxn ang="0">
                    <a:pos x="T4" y="T5"/>
                  </a:cxn>
                  <a:cxn ang="0">
                    <a:pos x="T6" y="T7"/>
                  </a:cxn>
                  <a:cxn ang="0">
                    <a:pos x="T8" y="T9"/>
                  </a:cxn>
                </a:cxnLst>
                <a:rect l="0" t="0" r="r" b="b"/>
                <a:pathLst>
                  <a:path w="62" h="81">
                    <a:moveTo>
                      <a:pt x="26" y="0"/>
                    </a:moveTo>
                    <a:lnTo>
                      <a:pt x="0" y="17"/>
                    </a:lnTo>
                    <a:lnTo>
                      <a:pt x="36" y="81"/>
                    </a:lnTo>
                    <a:lnTo>
                      <a:pt x="62" y="64"/>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0" name="Freeform 17"/>
              <p:cNvSpPr>
                <a:spLocks/>
              </p:cNvSpPr>
              <p:nvPr/>
            </p:nvSpPr>
            <p:spPr bwMode="black">
              <a:xfrm>
                <a:off x="2605502" y="2843203"/>
                <a:ext cx="29583" cy="37208"/>
              </a:xfrm>
              <a:custGeom>
                <a:avLst/>
                <a:gdLst>
                  <a:gd name="T0" fmla="*/ 0 w 62"/>
                  <a:gd name="T1" fmla="*/ 14 h 78"/>
                  <a:gd name="T2" fmla="*/ 36 w 62"/>
                  <a:gd name="T3" fmla="*/ 78 h 78"/>
                  <a:gd name="T4" fmla="*/ 62 w 62"/>
                  <a:gd name="T5" fmla="*/ 64 h 78"/>
                  <a:gd name="T6" fmla="*/ 26 w 62"/>
                  <a:gd name="T7" fmla="*/ 0 h 78"/>
                  <a:gd name="T8" fmla="*/ 0 w 62"/>
                  <a:gd name="T9" fmla="*/ 14 h 78"/>
                </a:gdLst>
                <a:ahLst/>
                <a:cxnLst>
                  <a:cxn ang="0">
                    <a:pos x="T0" y="T1"/>
                  </a:cxn>
                  <a:cxn ang="0">
                    <a:pos x="T2" y="T3"/>
                  </a:cxn>
                  <a:cxn ang="0">
                    <a:pos x="T4" y="T5"/>
                  </a:cxn>
                  <a:cxn ang="0">
                    <a:pos x="T6" y="T7"/>
                  </a:cxn>
                  <a:cxn ang="0">
                    <a:pos x="T8" y="T9"/>
                  </a:cxn>
                </a:cxnLst>
                <a:rect l="0" t="0" r="r" b="b"/>
                <a:pathLst>
                  <a:path w="62" h="78">
                    <a:moveTo>
                      <a:pt x="0" y="14"/>
                    </a:moveTo>
                    <a:lnTo>
                      <a:pt x="36" y="78"/>
                    </a:lnTo>
                    <a:lnTo>
                      <a:pt x="62" y="64"/>
                    </a:lnTo>
                    <a:lnTo>
                      <a:pt x="26" y="0"/>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1" name="Freeform 26"/>
              <p:cNvSpPr>
                <a:spLocks noEditPoints="1"/>
              </p:cNvSpPr>
              <p:nvPr/>
            </p:nvSpPr>
            <p:spPr bwMode="black">
              <a:xfrm>
                <a:off x="2703305" y="2998621"/>
                <a:ext cx="192768" cy="263317"/>
              </a:xfrm>
              <a:custGeom>
                <a:avLst/>
                <a:gdLst>
                  <a:gd name="T0" fmla="*/ 146 w 171"/>
                  <a:gd name="T1" fmla="*/ 0 h 234"/>
                  <a:gd name="T2" fmla="*/ 25 w 171"/>
                  <a:gd name="T3" fmla="*/ 0 h 234"/>
                  <a:gd name="T4" fmla="*/ 0 w 171"/>
                  <a:gd name="T5" fmla="*/ 25 h 234"/>
                  <a:gd name="T6" fmla="*/ 0 w 171"/>
                  <a:gd name="T7" fmla="*/ 209 h 234"/>
                  <a:gd name="T8" fmla="*/ 25 w 171"/>
                  <a:gd name="T9" fmla="*/ 234 h 234"/>
                  <a:gd name="T10" fmla="*/ 146 w 171"/>
                  <a:gd name="T11" fmla="*/ 234 h 234"/>
                  <a:gd name="T12" fmla="*/ 171 w 171"/>
                  <a:gd name="T13" fmla="*/ 209 h 234"/>
                  <a:gd name="T14" fmla="*/ 171 w 171"/>
                  <a:gd name="T15" fmla="*/ 25 h 234"/>
                  <a:gd name="T16" fmla="*/ 146 w 171"/>
                  <a:gd name="T17" fmla="*/ 0 h 234"/>
                  <a:gd name="T18" fmla="*/ 157 w 171"/>
                  <a:gd name="T19" fmla="*/ 183 h 234"/>
                  <a:gd name="T20" fmla="*/ 146 w 171"/>
                  <a:gd name="T21" fmla="*/ 193 h 234"/>
                  <a:gd name="T22" fmla="*/ 25 w 171"/>
                  <a:gd name="T23" fmla="*/ 193 h 234"/>
                  <a:gd name="T24" fmla="*/ 15 w 171"/>
                  <a:gd name="T25" fmla="*/ 183 h 234"/>
                  <a:gd name="T26" fmla="*/ 15 w 171"/>
                  <a:gd name="T27" fmla="*/ 25 h 234"/>
                  <a:gd name="T28" fmla="*/ 25 w 171"/>
                  <a:gd name="T29" fmla="*/ 14 h 234"/>
                  <a:gd name="T30" fmla="*/ 146 w 171"/>
                  <a:gd name="T31" fmla="*/ 14 h 234"/>
                  <a:gd name="T32" fmla="*/ 157 w 171"/>
                  <a:gd name="T33" fmla="*/ 25 h 234"/>
                  <a:gd name="T34" fmla="*/ 157 w 171"/>
                  <a:gd name="T35" fmla="*/ 18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234">
                    <a:moveTo>
                      <a:pt x="146" y="0"/>
                    </a:moveTo>
                    <a:cubicBezTo>
                      <a:pt x="25" y="0"/>
                      <a:pt x="25" y="0"/>
                      <a:pt x="25" y="0"/>
                    </a:cubicBezTo>
                    <a:cubicBezTo>
                      <a:pt x="11" y="0"/>
                      <a:pt x="0" y="11"/>
                      <a:pt x="0" y="25"/>
                    </a:cubicBezTo>
                    <a:cubicBezTo>
                      <a:pt x="0" y="209"/>
                      <a:pt x="0" y="209"/>
                      <a:pt x="0" y="209"/>
                    </a:cubicBezTo>
                    <a:cubicBezTo>
                      <a:pt x="0" y="223"/>
                      <a:pt x="11" y="234"/>
                      <a:pt x="25" y="234"/>
                    </a:cubicBezTo>
                    <a:cubicBezTo>
                      <a:pt x="146" y="234"/>
                      <a:pt x="146" y="234"/>
                      <a:pt x="146" y="234"/>
                    </a:cubicBezTo>
                    <a:cubicBezTo>
                      <a:pt x="160" y="234"/>
                      <a:pt x="171" y="223"/>
                      <a:pt x="171" y="209"/>
                    </a:cubicBezTo>
                    <a:cubicBezTo>
                      <a:pt x="171" y="25"/>
                      <a:pt x="171" y="25"/>
                      <a:pt x="171" y="25"/>
                    </a:cubicBezTo>
                    <a:cubicBezTo>
                      <a:pt x="171" y="11"/>
                      <a:pt x="160" y="0"/>
                      <a:pt x="146" y="0"/>
                    </a:cubicBezTo>
                    <a:moveTo>
                      <a:pt x="157" y="183"/>
                    </a:moveTo>
                    <a:cubicBezTo>
                      <a:pt x="157" y="188"/>
                      <a:pt x="152" y="193"/>
                      <a:pt x="146" y="193"/>
                    </a:cubicBezTo>
                    <a:cubicBezTo>
                      <a:pt x="25" y="193"/>
                      <a:pt x="25" y="193"/>
                      <a:pt x="25" y="193"/>
                    </a:cubicBezTo>
                    <a:cubicBezTo>
                      <a:pt x="19" y="193"/>
                      <a:pt x="15" y="188"/>
                      <a:pt x="15" y="183"/>
                    </a:cubicBezTo>
                    <a:cubicBezTo>
                      <a:pt x="15" y="25"/>
                      <a:pt x="15" y="25"/>
                      <a:pt x="15" y="25"/>
                    </a:cubicBezTo>
                    <a:cubicBezTo>
                      <a:pt x="15" y="19"/>
                      <a:pt x="19" y="14"/>
                      <a:pt x="25" y="14"/>
                    </a:cubicBezTo>
                    <a:cubicBezTo>
                      <a:pt x="146" y="14"/>
                      <a:pt x="146" y="14"/>
                      <a:pt x="146" y="14"/>
                    </a:cubicBezTo>
                    <a:cubicBezTo>
                      <a:pt x="152" y="14"/>
                      <a:pt x="157" y="19"/>
                      <a:pt x="157" y="25"/>
                    </a:cubicBezTo>
                    <a:lnTo>
                      <a:pt x="157" y="1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pic>
          <p:nvPicPr>
            <p:cNvPr id="38" name="Picture 7" descr="e:\Users\mvesely\Desktop\Metro\man.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407008" y="2466307"/>
              <a:ext cx="184854" cy="436523"/>
            </a:xfrm>
            <a:prstGeom prst="rect">
              <a:avLst/>
            </a:prstGeom>
            <a:noFill/>
            <a:extLst>
              <a:ext uri="{909E8E84-426E-40DD-AFC4-6F175D3DCCD1}">
                <a14:hiddenFill xmlns:a14="http://schemas.microsoft.com/office/drawing/2010/main">
                  <a:solidFill>
                    <a:srgbClr val="FFFFFF"/>
                  </a:solidFill>
                </a14:hiddenFill>
              </a:ext>
            </a:extLst>
          </p:spPr>
        </p:pic>
      </p:grpSp>
      <p:sp>
        <p:nvSpPr>
          <p:cNvPr id="54" name="TextBox 53"/>
          <p:cNvSpPr txBox="1"/>
          <p:nvPr/>
        </p:nvSpPr>
        <p:spPr>
          <a:xfrm>
            <a:off x="960189" y="3980825"/>
            <a:ext cx="7213616" cy="392415"/>
          </a:xfrm>
          <a:prstGeom prst="rect">
            <a:avLst/>
          </a:prstGeom>
          <a:noFill/>
        </p:spPr>
        <p:txBody>
          <a:bodyPr wrap="square" lIns="68571" tIns="34286" rIns="68571" bIns="34286" rtlCol="0">
            <a:spAutoFit/>
          </a:bodyPr>
          <a:lstStyle/>
          <a:p>
            <a:pPr algn="ctr"/>
            <a:r>
              <a:rPr lang="en-US" sz="2100" dirty="0">
                <a:latin typeface="Segoe UI Light" pitchFamily="34" charset="0"/>
              </a:rPr>
              <a:t>Companies are under pressure to do more with less</a:t>
            </a:r>
          </a:p>
        </p:txBody>
      </p:sp>
      <p:sp>
        <p:nvSpPr>
          <p:cNvPr id="55"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56"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6"/>
              </a:rPr>
              <a:t>www.rapidbbs.cn</a:t>
            </a:r>
            <a:endParaRPr lang="zh-CN" altLang="en-US" sz="1200" b="0">
              <a:latin typeface="Arial" charset="0"/>
              <a:ea typeface="ＭＳ Ｐゴシック" pitchFamily="34" charset="-128"/>
            </a:endParaRPr>
          </a:p>
        </p:txBody>
      </p:sp>
      <p:pic>
        <p:nvPicPr>
          <p:cNvPr id="57" name="Picture 2">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78702429"/>
      </p:ext>
    </p:extLst>
  </p:cSld>
  <p:clrMapOvr>
    <a:masterClrMapping/>
  </p:clrMapOvr>
  <p:transition>
    <p:fade/>
  </p:transition>
  <p:timing>
    <p:tnLst>
      <p:par>
        <p:cTn id="1" dur="indefinite" restart="never" nodeType="tmRoot"/>
      </p:par>
    </p:tnLst>
  </p:timing>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cess Challenges</a:t>
            </a:r>
            <a:endParaRPr lang="en-US" dirty="0"/>
          </a:p>
        </p:txBody>
      </p:sp>
      <p:sp>
        <p:nvSpPr>
          <p:cNvPr id="4" name="Rectangle 3"/>
          <p:cNvSpPr/>
          <p:nvPr/>
        </p:nvSpPr>
        <p:spPr>
          <a:xfrm>
            <a:off x="950612" y="1315270"/>
            <a:ext cx="7213618" cy="18574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en-US" dirty="0"/>
          </a:p>
        </p:txBody>
      </p:sp>
      <p:sp>
        <p:nvSpPr>
          <p:cNvPr id="5" name="Rectangle 4"/>
          <p:cNvSpPr/>
          <p:nvPr/>
        </p:nvSpPr>
        <p:spPr>
          <a:xfrm>
            <a:off x="6396047" y="3172694"/>
            <a:ext cx="1777760" cy="5063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r>
              <a:rPr lang="en-US" sz="1200" b="1" dirty="0">
                <a:solidFill>
                  <a:schemeClr val="accent1"/>
                </a:solidFill>
                <a:latin typeface="Segoe UI Light" pitchFamily="34" charset="0"/>
              </a:rPr>
              <a:t>ALLOW CUSTOMERS</a:t>
            </a:r>
            <a:br>
              <a:rPr lang="en-US" sz="1200" b="1" dirty="0">
                <a:solidFill>
                  <a:schemeClr val="accent1"/>
                </a:solidFill>
                <a:latin typeface="Segoe UI Light" pitchFamily="34" charset="0"/>
              </a:rPr>
            </a:br>
            <a:r>
              <a:rPr lang="en-US" sz="1200" b="1" dirty="0">
                <a:solidFill>
                  <a:schemeClr val="accent1"/>
                </a:solidFill>
                <a:latin typeface="Segoe UI Light" pitchFamily="34" charset="0"/>
              </a:rPr>
              <a:t>&amp; PARTNERS</a:t>
            </a:r>
          </a:p>
        </p:txBody>
      </p:sp>
      <p:sp>
        <p:nvSpPr>
          <p:cNvPr id="6" name="Rectangle 5"/>
          <p:cNvSpPr/>
          <p:nvPr/>
        </p:nvSpPr>
        <p:spPr>
          <a:xfrm>
            <a:off x="4585884" y="3172694"/>
            <a:ext cx="1776350" cy="5063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r>
              <a:rPr lang="en-US" sz="1200" b="1" dirty="0">
                <a:solidFill>
                  <a:schemeClr val="accent1"/>
                </a:solidFill>
                <a:latin typeface="Segoe UI Light" pitchFamily="34" charset="0"/>
              </a:rPr>
              <a:t>ROLE &amp; DEVICE</a:t>
            </a:r>
            <a:br>
              <a:rPr lang="en-US" sz="1200" b="1" dirty="0">
                <a:solidFill>
                  <a:schemeClr val="accent1"/>
                </a:solidFill>
                <a:latin typeface="Segoe UI Light" pitchFamily="34" charset="0"/>
              </a:rPr>
            </a:br>
            <a:r>
              <a:rPr lang="en-US" sz="1200" b="1" dirty="0">
                <a:solidFill>
                  <a:schemeClr val="accent1"/>
                </a:solidFill>
                <a:latin typeface="Segoe UI Light" pitchFamily="34" charset="0"/>
              </a:rPr>
              <a:t>DRIVEN PRIVILEGES</a:t>
            </a:r>
          </a:p>
        </p:txBody>
      </p:sp>
      <p:sp>
        <p:nvSpPr>
          <p:cNvPr id="7" name="Rectangle 6"/>
          <p:cNvSpPr/>
          <p:nvPr/>
        </p:nvSpPr>
        <p:spPr>
          <a:xfrm>
            <a:off x="2781072" y="3172694"/>
            <a:ext cx="1776350" cy="5063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r>
              <a:rPr lang="en-US" sz="1200" b="1" dirty="0">
                <a:solidFill>
                  <a:schemeClr val="accent1"/>
                </a:solidFill>
                <a:latin typeface="Segoe UI Light" pitchFamily="34" charset="0"/>
              </a:rPr>
              <a:t>AVAILABILITY</a:t>
            </a:r>
          </a:p>
        </p:txBody>
      </p:sp>
      <p:sp>
        <p:nvSpPr>
          <p:cNvPr id="8" name="Rectangle 7"/>
          <p:cNvSpPr/>
          <p:nvPr/>
        </p:nvSpPr>
        <p:spPr>
          <a:xfrm>
            <a:off x="960190" y="3172694"/>
            <a:ext cx="1792300" cy="5063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r>
              <a:rPr lang="en-US" sz="1200" b="1" dirty="0">
                <a:solidFill>
                  <a:schemeClr val="accent1"/>
                </a:solidFill>
                <a:latin typeface="Segoe UI Light" pitchFamily="34" charset="0"/>
              </a:rPr>
              <a:t>ENABLING</a:t>
            </a:r>
          </a:p>
          <a:p>
            <a:pPr algn="ctr"/>
            <a:r>
              <a:rPr lang="en-US" sz="1200" b="1" dirty="0">
                <a:solidFill>
                  <a:schemeClr val="accent1"/>
                </a:solidFill>
                <a:latin typeface="Segoe UI Light" pitchFamily="34" charset="0"/>
              </a:rPr>
              <a:t>DEVICES</a:t>
            </a:r>
          </a:p>
        </p:txBody>
      </p:sp>
      <p:cxnSp>
        <p:nvCxnSpPr>
          <p:cNvPr id="9" name="Straight Connector 8"/>
          <p:cNvCxnSpPr/>
          <p:nvPr/>
        </p:nvCxnSpPr>
        <p:spPr>
          <a:xfrm>
            <a:off x="2752489" y="1315264"/>
            <a:ext cx="11104" cy="184440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stCxn id="4" idx="0"/>
          </p:cNvCxnSpPr>
          <p:nvPr/>
        </p:nvCxnSpPr>
        <p:spPr>
          <a:xfrm>
            <a:off x="4557428" y="1315263"/>
            <a:ext cx="13387" cy="184436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6362236" y="1315264"/>
            <a:ext cx="8167" cy="1844906"/>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2" name="Group 11"/>
          <p:cNvGrpSpPr/>
          <p:nvPr/>
        </p:nvGrpSpPr>
        <p:grpSpPr>
          <a:xfrm>
            <a:off x="945119" y="1200151"/>
            <a:ext cx="7213617" cy="115112"/>
            <a:chOff x="1259822" y="566905"/>
            <a:chExt cx="9615651" cy="675150"/>
          </a:xfrm>
        </p:grpSpPr>
        <p:sp>
          <p:nvSpPr>
            <p:cNvPr id="13" name="Rectangle 12"/>
            <p:cNvSpPr/>
            <p:nvPr/>
          </p:nvSpPr>
          <p:spPr>
            <a:xfrm>
              <a:off x="8505744" y="566905"/>
              <a:ext cx="2369729" cy="6751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p:nvSpPr>
          <p:spPr>
            <a:xfrm>
              <a:off x="6092824" y="566905"/>
              <a:ext cx="2367850" cy="6751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p:cNvSpPr/>
            <p:nvPr/>
          </p:nvSpPr>
          <p:spPr>
            <a:xfrm>
              <a:off x="3687034" y="566905"/>
              <a:ext cx="2367850" cy="6751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p:cNvSpPr/>
            <p:nvPr/>
          </p:nvSpPr>
          <p:spPr>
            <a:xfrm>
              <a:off x="1259822" y="566905"/>
              <a:ext cx="2389111" cy="6751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17" name="Picture 16" descr="C:\Users\sakuu\Documents\Ballmer WPC\AI\work.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713276" y="2159935"/>
            <a:ext cx="171495" cy="273794"/>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7" descr="e:\Users\mvesely\Desktop\Metro\man.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360451" y="2165712"/>
            <a:ext cx="228986" cy="540598"/>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Group 18"/>
          <p:cNvGrpSpPr/>
          <p:nvPr/>
        </p:nvGrpSpPr>
        <p:grpSpPr>
          <a:xfrm>
            <a:off x="1439328" y="1983922"/>
            <a:ext cx="766673" cy="665448"/>
            <a:chOff x="1822601" y="2720182"/>
            <a:chExt cx="1148778" cy="997363"/>
          </a:xfrm>
        </p:grpSpPr>
        <p:sp>
          <p:nvSpPr>
            <p:cNvPr id="20" name="Rectangle 6"/>
            <p:cNvSpPr>
              <a:spLocks noChangeArrowheads="1"/>
            </p:cNvSpPr>
            <p:nvPr/>
          </p:nvSpPr>
          <p:spPr bwMode="black">
            <a:xfrm>
              <a:off x="2666477" y="3195549"/>
              <a:ext cx="31527" cy="1338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1" name="Rectangle 7"/>
            <p:cNvSpPr>
              <a:spLocks noChangeArrowheads="1"/>
            </p:cNvSpPr>
            <p:nvPr/>
          </p:nvSpPr>
          <p:spPr bwMode="black">
            <a:xfrm>
              <a:off x="2729531" y="3195549"/>
              <a:ext cx="30663" cy="1338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2" name="Rectangle 8"/>
            <p:cNvSpPr>
              <a:spLocks noChangeArrowheads="1"/>
            </p:cNvSpPr>
            <p:nvPr/>
          </p:nvSpPr>
          <p:spPr bwMode="black">
            <a:xfrm>
              <a:off x="1994054" y="3195549"/>
              <a:ext cx="31527" cy="1338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3" name="Rectangle 9"/>
            <p:cNvSpPr>
              <a:spLocks noChangeArrowheads="1"/>
            </p:cNvSpPr>
            <p:nvPr/>
          </p:nvSpPr>
          <p:spPr bwMode="black">
            <a:xfrm>
              <a:off x="2057108" y="3195549"/>
              <a:ext cx="31958" cy="1338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4" name="Freeform 10"/>
            <p:cNvSpPr>
              <a:spLocks/>
            </p:cNvSpPr>
            <p:nvPr/>
          </p:nvSpPr>
          <p:spPr bwMode="black">
            <a:xfrm>
              <a:off x="2214308" y="2967148"/>
              <a:ext cx="27639" cy="33677"/>
            </a:xfrm>
            <a:custGeom>
              <a:avLst/>
              <a:gdLst>
                <a:gd name="T0" fmla="*/ 36 w 64"/>
                <a:gd name="T1" fmla="*/ 78 h 78"/>
                <a:gd name="T2" fmla="*/ 64 w 64"/>
                <a:gd name="T3" fmla="*/ 64 h 78"/>
                <a:gd name="T4" fmla="*/ 26 w 64"/>
                <a:gd name="T5" fmla="*/ 0 h 78"/>
                <a:gd name="T6" fmla="*/ 0 w 64"/>
                <a:gd name="T7" fmla="*/ 17 h 78"/>
                <a:gd name="T8" fmla="*/ 36 w 64"/>
                <a:gd name="T9" fmla="*/ 78 h 78"/>
              </a:gdLst>
              <a:ahLst/>
              <a:cxnLst>
                <a:cxn ang="0">
                  <a:pos x="T0" y="T1"/>
                </a:cxn>
                <a:cxn ang="0">
                  <a:pos x="T2" y="T3"/>
                </a:cxn>
                <a:cxn ang="0">
                  <a:pos x="T4" y="T5"/>
                </a:cxn>
                <a:cxn ang="0">
                  <a:pos x="T6" y="T7"/>
                </a:cxn>
                <a:cxn ang="0">
                  <a:pos x="T8" y="T9"/>
                </a:cxn>
              </a:cxnLst>
              <a:rect l="0" t="0" r="r" b="b"/>
              <a:pathLst>
                <a:path w="64" h="78">
                  <a:moveTo>
                    <a:pt x="36" y="78"/>
                  </a:moveTo>
                  <a:lnTo>
                    <a:pt x="64" y="64"/>
                  </a:lnTo>
                  <a:lnTo>
                    <a:pt x="26" y="0"/>
                  </a:lnTo>
                  <a:lnTo>
                    <a:pt x="0" y="17"/>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5" name="Freeform 11"/>
            <p:cNvSpPr>
              <a:spLocks/>
            </p:cNvSpPr>
            <p:nvPr/>
          </p:nvSpPr>
          <p:spPr bwMode="black">
            <a:xfrm>
              <a:off x="2245835" y="3022414"/>
              <a:ext cx="26776" cy="33677"/>
            </a:xfrm>
            <a:custGeom>
              <a:avLst/>
              <a:gdLst>
                <a:gd name="T0" fmla="*/ 36 w 62"/>
                <a:gd name="T1" fmla="*/ 78 h 78"/>
                <a:gd name="T2" fmla="*/ 62 w 62"/>
                <a:gd name="T3" fmla="*/ 61 h 78"/>
                <a:gd name="T4" fmla="*/ 26 w 62"/>
                <a:gd name="T5" fmla="*/ 0 h 78"/>
                <a:gd name="T6" fmla="*/ 0 w 62"/>
                <a:gd name="T7" fmla="*/ 14 h 78"/>
                <a:gd name="T8" fmla="*/ 36 w 62"/>
                <a:gd name="T9" fmla="*/ 78 h 78"/>
              </a:gdLst>
              <a:ahLst/>
              <a:cxnLst>
                <a:cxn ang="0">
                  <a:pos x="T0" y="T1"/>
                </a:cxn>
                <a:cxn ang="0">
                  <a:pos x="T2" y="T3"/>
                </a:cxn>
                <a:cxn ang="0">
                  <a:pos x="T4" y="T5"/>
                </a:cxn>
                <a:cxn ang="0">
                  <a:pos x="T6" y="T7"/>
                </a:cxn>
                <a:cxn ang="0">
                  <a:pos x="T8" y="T9"/>
                </a:cxn>
              </a:cxnLst>
              <a:rect l="0" t="0" r="r" b="b"/>
              <a:pathLst>
                <a:path w="62" h="78">
                  <a:moveTo>
                    <a:pt x="36" y="78"/>
                  </a:moveTo>
                  <a:lnTo>
                    <a:pt x="62" y="61"/>
                  </a:lnTo>
                  <a:lnTo>
                    <a:pt x="26" y="0"/>
                  </a:lnTo>
                  <a:lnTo>
                    <a:pt x="0" y="14"/>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6" name="Freeform 12"/>
            <p:cNvSpPr>
              <a:spLocks/>
            </p:cNvSpPr>
            <p:nvPr/>
          </p:nvSpPr>
          <p:spPr bwMode="black">
            <a:xfrm>
              <a:off x="2478614" y="3022414"/>
              <a:ext cx="26776" cy="33677"/>
            </a:xfrm>
            <a:custGeom>
              <a:avLst/>
              <a:gdLst>
                <a:gd name="T0" fmla="*/ 26 w 62"/>
                <a:gd name="T1" fmla="*/ 78 h 78"/>
                <a:gd name="T2" fmla="*/ 62 w 62"/>
                <a:gd name="T3" fmla="*/ 14 h 78"/>
                <a:gd name="T4" fmla="*/ 36 w 62"/>
                <a:gd name="T5" fmla="*/ 0 h 78"/>
                <a:gd name="T6" fmla="*/ 0 w 62"/>
                <a:gd name="T7" fmla="*/ 61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4"/>
                  </a:lnTo>
                  <a:lnTo>
                    <a:pt x="36" y="0"/>
                  </a:lnTo>
                  <a:lnTo>
                    <a:pt x="0" y="61"/>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7" name="Freeform 13"/>
            <p:cNvSpPr>
              <a:spLocks/>
            </p:cNvSpPr>
            <p:nvPr/>
          </p:nvSpPr>
          <p:spPr bwMode="black">
            <a:xfrm>
              <a:off x="2510141" y="2967148"/>
              <a:ext cx="26776" cy="33677"/>
            </a:xfrm>
            <a:custGeom>
              <a:avLst/>
              <a:gdLst>
                <a:gd name="T0" fmla="*/ 26 w 62"/>
                <a:gd name="T1" fmla="*/ 78 h 78"/>
                <a:gd name="T2" fmla="*/ 62 w 62"/>
                <a:gd name="T3" fmla="*/ 17 h 78"/>
                <a:gd name="T4" fmla="*/ 36 w 62"/>
                <a:gd name="T5" fmla="*/ 0 h 78"/>
                <a:gd name="T6" fmla="*/ 0 w 62"/>
                <a:gd name="T7" fmla="*/ 64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7"/>
                  </a:lnTo>
                  <a:lnTo>
                    <a:pt x="36" y="0"/>
                  </a:lnTo>
                  <a:lnTo>
                    <a:pt x="0" y="64"/>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8" name="Freeform 14"/>
            <p:cNvSpPr>
              <a:spLocks/>
            </p:cNvSpPr>
            <p:nvPr/>
          </p:nvSpPr>
          <p:spPr bwMode="black">
            <a:xfrm>
              <a:off x="2245835" y="3370843"/>
              <a:ext cx="26776" cy="33677"/>
            </a:xfrm>
            <a:custGeom>
              <a:avLst/>
              <a:gdLst>
                <a:gd name="T0" fmla="*/ 0 w 62"/>
                <a:gd name="T1" fmla="*/ 64 h 78"/>
                <a:gd name="T2" fmla="*/ 26 w 62"/>
                <a:gd name="T3" fmla="*/ 78 h 78"/>
                <a:gd name="T4" fmla="*/ 62 w 62"/>
                <a:gd name="T5" fmla="*/ 14 h 78"/>
                <a:gd name="T6" fmla="*/ 36 w 62"/>
                <a:gd name="T7" fmla="*/ 0 h 78"/>
                <a:gd name="T8" fmla="*/ 0 w 62"/>
                <a:gd name="T9" fmla="*/ 64 h 78"/>
              </a:gdLst>
              <a:ahLst/>
              <a:cxnLst>
                <a:cxn ang="0">
                  <a:pos x="T0" y="T1"/>
                </a:cxn>
                <a:cxn ang="0">
                  <a:pos x="T2" y="T3"/>
                </a:cxn>
                <a:cxn ang="0">
                  <a:pos x="T4" y="T5"/>
                </a:cxn>
                <a:cxn ang="0">
                  <a:pos x="T6" y="T7"/>
                </a:cxn>
                <a:cxn ang="0">
                  <a:pos x="T8" y="T9"/>
                </a:cxn>
              </a:cxnLst>
              <a:rect l="0" t="0" r="r" b="b"/>
              <a:pathLst>
                <a:path w="62" h="78">
                  <a:moveTo>
                    <a:pt x="0" y="64"/>
                  </a:moveTo>
                  <a:lnTo>
                    <a:pt x="26" y="78"/>
                  </a:lnTo>
                  <a:lnTo>
                    <a:pt x="62" y="14"/>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9" name="Freeform 15"/>
            <p:cNvSpPr>
              <a:spLocks/>
            </p:cNvSpPr>
            <p:nvPr/>
          </p:nvSpPr>
          <p:spPr bwMode="black">
            <a:xfrm>
              <a:off x="2214308" y="3424812"/>
              <a:ext cx="27639" cy="34973"/>
            </a:xfrm>
            <a:custGeom>
              <a:avLst/>
              <a:gdLst>
                <a:gd name="T0" fmla="*/ 0 w 64"/>
                <a:gd name="T1" fmla="*/ 64 h 81"/>
                <a:gd name="T2" fmla="*/ 26 w 64"/>
                <a:gd name="T3" fmla="*/ 81 h 81"/>
                <a:gd name="T4" fmla="*/ 64 w 64"/>
                <a:gd name="T5" fmla="*/ 17 h 81"/>
                <a:gd name="T6" fmla="*/ 36 w 64"/>
                <a:gd name="T7" fmla="*/ 0 h 81"/>
                <a:gd name="T8" fmla="*/ 0 w 64"/>
                <a:gd name="T9" fmla="*/ 64 h 81"/>
              </a:gdLst>
              <a:ahLst/>
              <a:cxnLst>
                <a:cxn ang="0">
                  <a:pos x="T0" y="T1"/>
                </a:cxn>
                <a:cxn ang="0">
                  <a:pos x="T2" y="T3"/>
                </a:cxn>
                <a:cxn ang="0">
                  <a:pos x="T4" y="T5"/>
                </a:cxn>
                <a:cxn ang="0">
                  <a:pos x="T6" y="T7"/>
                </a:cxn>
                <a:cxn ang="0">
                  <a:pos x="T8" y="T9"/>
                </a:cxn>
              </a:cxnLst>
              <a:rect l="0" t="0" r="r" b="b"/>
              <a:pathLst>
                <a:path w="64" h="81">
                  <a:moveTo>
                    <a:pt x="0" y="64"/>
                  </a:moveTo>
                  <a:lnTo>
                    <a:pt x="26" y="81"/>
                  </a:lnTo>
                  <a:lnTo>
                    <a:pt x="64" y="17"/>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0" name="Freeform 16"/>
            <p:cNvSpPr>
              <a:spLocks/>
            </p:cNvSpPr>
            <p:nvPr/>
          </p:nvSpPr>
          <p:spPr bwMode="black">
            <a:xfrm>
              <a:off x="2510141" y="3424812"/>
              <a:ext cx="26776" cy="34973"/>
            </a:xfrm>
            <a:custGeom>
              <a:avLst/>
              <a:gdLst>
                <a:gd name="T0" fmla="*/ 26 w 62"/>
                <a:gd name="T1" fmla="*/ 0 h 81"/>
                <a:gd name="T2" fmla="*/ 0 w 62"/>
                <a:gd name="T3" fmla="*/ 17 h 81"/>
                <a:gd name="T4" fmla="*/ 36 w 62"/>
                <a:gd name="T5" fmla="*/ 81 h 81"/>
                <a:gd name="T6" fmla="*/ 62 w 62"/>
                <a:gd name="T7" fmla="*/ 64 h 81"/>
                <a:gd name="T8" fmla="*/ 26 w 62"/>
                <a:gd name="T9" fmla="*/ 0 h 81"/>
              </a:gdLst>
              <a:ahLst/>
              <a:cxnLst>
                <a:cxn ang="0">
                  <a:pos x="T0" y="T1"/>
                </a:cxn>
                <a:cxn ang="0">
                  <a:pos x="T2" y="T3"/>
                </a:cxn>
                <a:cxn ang="0">
                  <a:pos x="T4" y="T5"/>
                </a:cxn>
                <a:cxn ang="0">
                  <a:pos x="T6" y="T7"/>
                </a:cxn>
                <a:cxn ang="0">
                  <a:pos x="T8" y="T9"/>
                </a:cxn>
              </a:cxnLst>
              <a:rect l="0" t="0" r="r" b="b"/>
              <a:pathLst>
                <a:path w="62" h="81">
                  <a:moveTo>
                    <a:pt x="26" y="0"/>
                  </a:moveTo>
                  <a:lnTo>
                    <a:pt x="0" y="17"/>
                  </a:lnTo>
                  <a:lnTo>
                    <a:pt x="36" y="81"/>
                  </a:lnTo>
                  <a:lnTo>
                    <a:pt x="62" y="64"/>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1" name="Freeform 17"/>
            <p:cNvSpPr>
              <a:spLocks/>
            </p:cNvSpPr>
            <p:nvPr/>
          </p:nvSpPr>
          <p:spPr bwMode="black">
            <a:xfrm>
              <a:off x="2478614" y="3370843"/>
              <a:ext cx="26776" cy="33677"/>
            </a:xfrm>
            <a:custGeom>
              <a:avLst/>
              <a:gdLst>
                <a:gd name="T0" fmla="*/ 0 w 62"/>
                <a:gd name="T1" fmla="*/ 14 h 78"/>
                <a:gd name="T2" fmla="*/ 36 w 62"/>
                <a:gd name="T3" fmla="*/ 78 h 78"/>
                <a:gd name="T4" fmla="*/ 62 w 62"/>
                <a:gd name="T5" fmla="*/ 64 h 78"/>
                <a:gd name="T6" fmla="*/ 26 w 62"/>
                <a:gd name="T7" fmla="*/ 0 h 78"/>
                <a:gd name="T8" fmla="*/ 0 w 62"/>
                <a:gd name="T9" fmla="*/ 14 h 78"/>
              </a:gdLst>
              <a:ahLst/>
              <a:cxnLst>
                <a:cxn ang="0">
                  <a:pos x="T0" y="T1"/>
                </a:cxn>
                <a:cxn ang="0">
                  <a:pos x="T2" y="T3"/>
                </a:cxn>
                <a:cxn ang="0">
                  <a:pos x="T4" y="T5"/>
                </a:cxn>
                <a:cxn ang="0">
                  <a:pos x="T6" y="T7"/>
                </a:cxn>
                <a:cxn ang="0">
                  <a:pos x="T8" y="T9"/>
                </a:cxn>
              </a:cxnLst>
              <a:rect l="0" t="0" r="r" b="b"/>
              <a:pathLst>
                <a:path w="62" h="78">
                  <a:moveTo>
                    <a:pt x="0" y="14"/>
                  </a:moveTo>
                  <a:lnTo>
                    <a:pt x="36" y="78"/>
                  </a:lnTo>
                  <a:lnTo>
                    <a:pt x="62" y="64"/>
                  </a:lnTo>
                  <a:lnTo>
                    <a:pt x="26" y="0"/>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2" name="Freeform 19"/>
            <p:cNvSpPr>
              <a:spLocks noEditPoints="1"/>
            </p:cNvSpPr>
            <p:nvPr/>
          </p:nvSpPr>
          <p:spPr bwMode="black">
            <a:xfrm>
              <a:off x="2056244" y="2720182"/>
              <a:ext cx="204275" cy="142049"/>
            </a:xfrm>
            <a:custGeom>
              <a:avLst/>
              <a:gdLst>
                <a:gd name="T0" fmla="*/ 174 w 200"/>
                <a:gd name="T1" fmla="*/ 0 h 139"/>
                <a:gd name="T2" fmla="*/ 26 w 200"/>
                <a:gd name="T3" fmla="*/ 0 h 139"/>
                <a:gd name="T4" fmla="*/ 0 w 200"/>
                <a:gd name="T5" fmla="*/ 27 h 139"/>
                <a:gd name="T6" fmla="*/ 0 w 200"/>
                <a:gd name="T7" fmla="*/ 113 h 139"/>
                <a:gd name="T8" fmla="*/ 26 w 200"/>
                <a:gd name="T9" fmla="*/ 139 h 139"/>
                <a:gd name="T10" fmla="*/ 174 w 200"/>
                <a:gd name="T11" fmla="*/ 139 h 139"/>
                <a:gd name="T12" fmla="*/ 200 w 200"/>
                <a:gd name="T13" fmla="*/ 113 h 139"/>
                <a:gd name="T14" fmla="*/ 200 w 200"/>
                <a:gd name="T15" fmla="*/ 27 h 139"/>
                <a:gd name="T16" fmla="*/ 174 w 200"/>
                <a:gd name="T17" fmla="*/ 0 h 139"/>
                <a:gd name="T18" fmla="*/ 185 w 200"/>
                <a:gd name="T19" fmla="*/ 113 h 139"/>
                <a:gd name="T20" fmla="*/ 174 w 200"/>
                <a:gd name="T21" fmla="*/ 124 h 139"/>
                <a:gd name="T22" fmla="*/ 26 w 200"/>
                <a:gd name="T23" fmla="*/ 124 h 139"/>
                <a:gd name="T24" fmla="*/ 15 w 200"/>
                <a:gd name="T25" fmla="*/ 113 h 139"/>
                <a:gd name="T26" fmla="*/ 15 w 200"/>
                <a:gd name="T27" fmla="*/ 27 h 139"/>
                <a:gd name="T28" fmla="*/ 26 w 200"/>
                <a:gd name="T29" fmla="*/ 16 h 139"/>
                <a:gd name="T30" fmla="*/ 174 w 200"/>
                <a:gd name="T31" fmla="*/ 16 h 139"/>
                <a:gd name="T32" fmla="*/ 185 w 200"/>
                <a:gd name="T33" fmla="*/ 27 h 139"/>
                <a:gd name="T34" fmla="*/ 185 w 200"/>
                <a:gd name="T35" fmla="*/ 11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39">
                  <a:moveTo>
                    <a:pt x="174" y="0"/>
                  </a:moveTo>
                  <a:cubicBezTo>
                    <a:pt x="26" y="0"/>
                    <a:pt x="26" y="0"/>
                    <a:pt x="26" y="0"/>
                  </a:cubicBezTo>
                  <a:cubicBezTo>
                    <a:pt x="12" y="0"/>
                    <a:pt x="0" y="12"/>
                    <a:pt x="0" y="27"/>
                  </a:cubicBezTo>
                  <a:cubicBezTo>
                    <a:pt x="0" y="113"/>
                    <a:pt x="0" y="113"/>
                    <a:pt x="0" y="113"/>
                  </a:cubicBezTo>
                  <a:cubicBezTo>
                    <a:pt x="0" y="127"/>
                    <a:pt x="12" y="139"/>
                    <a:pt x="26" y="139"/>
                  </a:cubicBezTo>
                  <a:cubicBezTo>
                    <a:pt x="174" y="139"/>
                    <a:pt x="174" y="139"/>
                    <a:pt x="174" y="139"/>
                  </a:cubicBezTo>
                  <a:cubicBezTo>
                    <a:pt x="188" y="139"/>
                    <a:pt x="200" y="127"/>
                    <a:pt x="200" y="113"/>
                  </a:cubicBezTo>
                  <a:cubicBezTo>
                    <a:pt x="200" y="27"/>
                    <a:pt x="200" y="27"/>
                    <a:pt x="200" y="27"/>
                  </a:cubicBezTo>
                  <a:cubicBezTo>
                    <a:pt x="200" y="12"/>
                    <a:pt x="188" y="0"/>
                    <a:pt x="174" y="0"/>
                  </a:cubicBezTo>
                  <a:moveTo>
                    <a:pt x="185" y="113"/>
                  </a:moveTo>
                  <a:cubicBezTo>
                    <a:pt x="185" y="119"/>
                    <a:pt x="180" y="124"/>
                    <a:pt x="174" y="124"/>
                  </a:cubicBezTo>
                  <a:cubicBezTo>
                    <a:pt x="26" y="124"/>
                    <a:pt x="26" y="124"/>
                    <a:pt x="26" y="124"/>
                  </a:cubicBezTo>
                  <a:cubicBezTo>
                    <a:pt x="20" y="124"/>
                    <a:pt x="15" y="119"/>
                    <a:pt x="15" y="113"/>
                  </a:cubicBezTo>
                  <a:cubicBezTo>
                    <a:pt x="15" y="27"/>
                    <a:pt x="15" y="27"/>
                    <a:pt x="15" y="27"/>
                  </a:cubicBezTo>
                  <a:cubicBezTo>
                    <a:pt x="15" y="21"/>
                    <a:pt x="20" y="16"/>
                    <a:pt x="26" y="16"/>
                  </a:cubicBezTo>
                  <a:cubicBezTo>
                    <a:pt x="174" y="16"/>
                    <a:pt x="174" y="16"/>
                    <a:pt x="174" y="16"/>
                  </a:cubicBezTo>
                  <a:cubicBezTo>
                    <a:pt x="180" y="16"/>
                    <a:pt x="185" y="21"/>
                    <a:pt x="185" y="27"/>
                  </a:cubicBezTo>
                  <a:lnTo>
                    <a:pt x="185" y="1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3" name="Freeform 20"/>
            <p:cNvSpPr>
              <a:spLocks/>
            </p:cNvSpPr>
            <p:nvPr/>
          </p:nvSpPr>
          <p:spPr bwMode="black">
            <a:xfrm>
              <a:off x="2017375" y="2871298"/>
              <a:ext cx="281580" cy="65196"/>
            </a:xfrm>
            <a:custGeom>
              <a:avLst/>
              <a:gdLst>
                <a:gd name="T0" fmla="*/ 7 w 276"/>
                <a:gd name="T1" fmla="*/ 64 h 64"/>
                <a:gd name="T2" fmla="*/ 269 w 276"/>
                <a:gd name="T3" fmla="*/ 64 h 64"/>
                <a:gd name="T4" fmla="*/ 276 w 276"/>
                <a:gd name="T5" fmla="*/ 57 h 64"/>
                <a:gd name="T6" fmla="*/ 276 w 276"/>
                <a:gd name="T7" fmla="*/ 54 h 64"/>
                <a:gd name="T8" fmla="*/ 272 w 276"/>
                <a:gd name="T9" fmla="*/ 42 h 64"/>
                <a:gd name="T10" fmla="*/ 240 w 276"/>
                <a:gd name="T11" fmla="*/ 5 h 64"/>
                <a:gd name="T12" fmla="*/ 229 w 276"/>
                <a:gd name="T13" fmla="*/ 0 h 64"/>
                <a:gd name="T14" fmla="*/ 47 w 276"/>
                <a:gd name="T15" fmla="*/ 0 h 64"/>
                <a:gd name="T16" fmla="*/ 36 w 276"/>
                <a:gd name="T17" fmla="*/ 5 h 64"/>
                <a:gd name="T18" fmla="*/ 4 w 276"/>
                <a:gd name="T19" fmla="*/ 42 h 64"/>
                <a:gd name="T20" fmla="*/ 0 w 276"/>
                <a:gd name="T21" fmla="*/ 54 h 64"/>
                <a:gd name="T22" fmla="*/ 0 w 276"/>
                <a:gd name="T23" fmla="*/ 57 h 64"/>
                <a:gd name="T24" fmla="*/ 7 w 27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6" h="64">
                  <a:moveTo>
                    <a:pt x="7" y="64"/>
                  </a:moveTo>
                  <a:cubicBezTo>
                    <a:pt x="269" y="64"/>
                    <a:pt x="269" y="64"/>
                    <a:pt x="269" y="64"/>
                  </a:cubicBezTo>
                  <a:cubicBezTo>
                    <a:pt x="273" y="64"/>
                    <a:pt x="276" y="61"/>
                    <a:pt x="276" y="57"/>
                  </a:cubicBezTo>
                  <a:cubicBezTo>
                    <a:pt x="276" y="54"/>
                    <a:pt x="276" y="54"/>
                    <a:pt x="276" y="54"/>
                  </a:cubicBezTo>
                  <a:cubicBezTo>
                    <a:pt x="276" y="50"/>
                    <a:pt x="274" y="45"/>
                    <a:pt x="272" y="42"/>
                  </a:cubicBezTo>
                  <a:cubicBezTo>
                    <a:pt x="240" y="5"/>
                    <a:pt x="240" y="5"/>
                    <a:pt x="240" y="5"/>
                  </a:cubicBezTo>
                  <a:cubicBezTo>
                    <a:pt x="238" y="2"/>
                    <a:pt x="233" y="0"/>
                    <a:pt x="229" y="0"/>
                  </a:cubicBezTo>
                  <a:cubicBezTo>
                    <a:pt x="47" y="0"/>
                    <a:pt x="47" y="0"/>
                    <a:pt x="47" y="0"/>
                  </a:cubicBezTo>
                  <a:cubicBezTo>
                    <a:pt x="43" y="0"/>
                    <a:pt x="38" y="2"/>
                    <a:pt x="36" y="5"/>
                  </a:cubicBezTo>
                  <a:cubicBezTo>
                    <a:pt x="4" y="42"/>
                    <a:pt x="4" y="42"/>
                    <a:pt x="4" y="42"/>
                  </a:cubicBezTo>
                  <a:cubicBezTo>
                    <a:pt x="2" y="45"/>
                    <a:pt x="0" y="50"/>
                    <a:pt x="0" y="54"/>
                  </a:cubicBezTo>
                  <a:cubicBezTo>
                    <a:pt x="0" y="57"/>
                    <a:pt x="0" y="57"/>
                    <a:pt x="0" y="57"/>
                  </a:cubicBezTo>
                  <a:cubicBezTo>
                    <a:pt x="0" y="61"/>
                    <a:pt x="3" y="64"/>
                    <a:pt x="7"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4" name="Freeform 21"/>
            <p:cNvSpPr>
              <a:spLocks noEditPoints="1"/>
            </p:cNvSpPr>
            <p:nvPr/>
          </p:nvSpPr>
          <p:spPr bwMode="black">
            <a:xfrm>
              <a:off x="2439746" y="2731408"/>
              <a:ext cx="212481" cy="165364"/>
            </a:xfrm>
            <a:custGeom>
              <a:avLst/>
              <a:gdLst>
                <a:gd name="T0" fmla="*/ 177 w 208"/>
                <a:gd name="T1" fmla="*/ 0 h 162"/>
                <a:gd name="T2" fmla="*/ 31 w 208"/>
                <a:gd name="T3" fmla="*/ 0 h 162"/>
                <a:gd name="T4" fmla="*/ 0 w 208"/>
                <a:gd name="T5" fmla="*/ 31 h 162"/>
                <a:gd name="T6" fmla="*/ 0 w 208"/>
                <a:gd name="T7" fmla="*/ 131 h 162"/>
                <a:gd name="T8" fmla="*/ 31 w 208"/>
                <a:gd name="T9" fmla="*/ 162 h 162"/>
                <a:gd name="T10" fmla="*/ 177 w 208"/>
                <a:gd name="T11" fmla="*/ 162 h 162"/>
                <a:gd name="T12" fmla="*/ 208 w 208"/>
                <a:gd name="T13" fmla="*/ 131 h 162"/>
                <a:gd name="T14" fmla="*/ 208 w 208"/>
                <a:gd name="T15" fmla="*/ 31 h 162"/>
                <a:gd name="T16" fmla="*/ 177 w 208"/>
                <a:gd name="T17" fmla="*/ 0 h 162"/>
                <a:gd name="T18" fmla="*/ 190 w 208"/>
                <a:gd name="T19" fmla="*/ 131 h 162"/>
                <a:gd name="T20" fmla="*/ 177 w 208"/>
                <a:gd name="T21" fmla="*/ 144 h 162"/>
                <a:gd name="T22" fmla="*/ 31 w 208"/>
                <a:gd name="T23" fmla="*/ 144 h 162"/>
                <a:gd name="T24" fmla="*/ 18 w 208"/>
                <a:gd name="T25" fmla="*/ 131 h 162"/>
                <a:gd name="T26" fmla="*/ 18 w 208"/>
                <a:gd name="T27" fmla="*/ 31 h 162"/>
                <a:gd name="T28" fmla="*/ 31 w 208"/>
                <a:gd name="T29" fmla="*/ 18 h 162"/>
                <a:gd name="T30" fmla="*/ 177 w 208"/>
                <a:gd name="T31" fmla="*/ 18 h 162"/>
                <a:gd name="T32" fmla="*/ 190 w 208"/>
                <a:gd name="T33" fmla="*/ 31 h 162"/>
                <a:gd name="T34" fmla="*/ 190 w 208"/>
                <a:gd name="T35" fmla="*/ 13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 h="162">
                  <a:moveTo>
                    <a:pt x="177" y="0"/>
                  </a:moveTo>
                  <a:cubicBezTo>
                    <a:pt x="31" y="0"/>
                    <a:pt x="31" y="0"/>
                    <a:pt x="31" y="0"/>
                  </a:cubicBezTo>
                  <a:cubicBezTo>
                    <a:pt x="14" y="0"/>
                    <a:pt x="0" y="14"/>
                    <a:pt x="0" y="31"/>
                  </a:cubicBezTo>
                  <a:cubicBezTo>
                    <a:pt x="0" y="131"/>
                    <a:pt x="0" y="131"/>
                    <a:pt x="0" y="131"/>
                  </a:cubicBezTo>
                  <a:cubicBezTo>
                    <a:pt x="0" y="148"/>
                    <a:pt x="14" y="162"/>
                    <a:pt x="31" y="162"/>
                  </a:cubicBezTo>
                  <a:cubicBezTo>
                    <a:pt x="177" y="162"/>
                    <a:pt x="177" y="162"/>
                    <a:pt x="177" y="162"/>
                  </a:cubicBezTo>
                  <a:cubicBezTo>
                    <a:pt x="194" y="162"/>
                    <a:pt x="208" y="148"/>
                    <a:pt x="208" y="131"/>
                  </a:cubicBezTo>
                  <a:cubicBezTo>
                    <a:pt x="208" y="31"/>
                    <a:pt x="208" y="31"/>
                    <a:pt x="208" y="31"/>
                  </a:cubicBezTo>
                  <a:cubicBezTo>
                    <a:pt x="208" y="14"/>
                    <a:pt x="194" y="0"/>
                    <a:pt x="177" y="0"/>
                  </a:cubicBezTo>
                  <a:moveTo>
                    <a:pt x="190" y="131"/>
                  </a:moveTo>
                  <a:cubicBezTo>
                    <a:pt x="190" y="138"/>
                    <a:pt x="184" y="144"/>
                    <a:pt x="177" y="144"/>
                  </a:cubicBezTo>
                  <a:cubicBezTo>
                    <a:pt x="31" y="144"/>
                    <a:pt x="31" y="144"/>
                    <a:pt x="31" y="144"/>
                  </a:cubicBezTo>
                  <a:cubicBezTo>
                    <a:pt x="24" y="144"/>
                    <a:pt x="18" y="138"/>
                    <a:pt x="18" y="131"/>
                  </a:cubicBezTo>
                  <a:cubicBezTo>
                    <a:pt x="18" y="31"/>
                    <a:pt x="18" y="31"/>
                    <a:pt x="18" y="31"/>
                  </a:cubicBezTo>
                  <a:cubicBezTo>
                    <a:pt x="18" y="24"/>
                    <a:pt x="24" y="18"/>
                    <a:pt x="31" y="18"/>
                  </a:cubicBezTo>
                  <a:cubicBezTo>
                    <a:pt x="177" y="18"/>
                    <a:pt x="177" y="18"/>
                    <a:pt x="177" y="18"/>
                  </a:cubicBezTo>
                  <a:cubicBezTo>
                    <a:pt x="184" y="18"/>
                    <a:pt x="190" y="24"/>
                    <a:pt x="190" y="31"/>
                  </a:cubicBezTo>
                  <a:lnTo>
                    <a:pt x="190" y="1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5" name="Freeform 22"/>
            <p:cNvSpPr>
              <a:spLocks/>
            </p:cNvSpPr>
            <p:nvPr/>
          </p:nvSpPr>
          <p:spPr bwMode="black">
            <a:xfrm>
              <a:off x="2488979" y="2907997"/>
              <a:ext cx="114014" cy="28496"/>
            </a:xfrm>
            <a:custGeom>
              <a:avLst/>
              <a:gdLst>
                <a:gd name="T0" fmla="*/ 112 w 112"/>
                <a:gd name="T1" fmla="*/ 25 h 28"/>
                <a:gd name="T2" fmla="*/ 112 w 112"/>
                <a:gd name="T3" fmla="*/ 23 h 28"/>
                <a:gd name="T4" fmla="*/ 110 w 112"/>
                <a:gd name="T5" fmla="*/ 18 h 28"/>
                <a:gd name="T6" fmla="*/ 96 w 112"/>
                <a:gd name="T7" fmla="*/ 2 h 28"/>
                <a:gd name="T8" fmla="*/ 91 w 112"/>
                <a:gd name="T9" fmla="*/ 0 h 28"/>
                <a:gd name="T10" fmla="*/ 21 w 112"/>
                <a:gd name="T11" fmla="*/ 0 h 28"/>
                <a:gd name="T12" fmla="*/ 16 w 112"/>
                <a:gd name="T13" fmla="*/ 2 h 28"/>
                <a:gd name="T14" fmla="*/ 2 w 112"/>
                <a:gd name="T15" fmla="*/ 18 h 28"/>
                <a:gd name="T16" fmla="*/ 0 w 112"/>
                <a:gd name="T17" fmla="*/ 23 h 28"/>
                <a:gd name="T18" fmla="*/ 0 w 112"/>
                <a:gd name="T19" fmla="*/ 25 h 28"/>
                <a:gd name="T20" fmla="*/ 3 w 112"/>
                <a:gd name="T21" fmla="*/ 28 h 28"/>
                <a:gd name="T22" fmla="*/ 109 w 112"/>
                <a:gd name="T23" fmla="*/ 28 h 28"/>
                <a:gd name="T24" fmla="*/ 112 w 112"/>
                <a:gd name="T25"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28">
                  <a:moveTo>
                    <a:pt x="112" y="25"/>
                  </a:moveTo>
                  <a:cubicBezTo>
                    <a:pt x="112" y="23"/>
                    <a:pt x="112" y="23"/>
                    <a:pt x="112" y="23"/>
                  </a:cubicBezTo>
                  <a:cubicBezTo>
                    <a:pt x="112" y="22"/>
                    <a:pt x="111" y="20"/>
                    <a:pt x="110" y="18"/>
                  </a:cubicBezTo>
                  <a:cubicBezTo>
                    <a:pt x="96" y="2"/>
                    <a:pt x="96" y="2"/>
                    <a:pt x="96" y="2"/>
                  </a:cubicBezTo>
                  <a:cubicBezTo>
                    <a:pt x="95" y="1"/>
                    <a:pt x="93" y="0"/>
                    <a:pt x="91" y="0"/>
                  </a:cubicBezTo>
                  <a:cubicBezTo>
                    <a:pt x="21" y="0"/>
                    <a:pt x="21" y="0"/>
                    <a:pt x="21" y="0"/>
                  </a:cubicBezTo>
                  <a:cubicBezTo>
                    <a:pt x="19" y="0"/>
                    <a:pt x="17" y="1"/>
                    <a:pt x="16" y="2"/>
                  </a:cubicBezTo>
                  <a:cubicBezTo>
                    <a:pt x="2" y="18"/>
                    <a:pt x="2" y="18"/>
                    <a:pt x="2" y="18"/>
                  </a:cubicBezTo>
                  <a:cubicBezTo>
                    <a:pt x="1" y="20"/>
                    <a:pt x="0" y="22"/>
                    <a:pt x="0" y="23"/>
                  </a:cubicBezTo>
                  <a:cubicBezTo>
                    <a:pt x="0" y="25"/>
                    <a:pt x="0" y="25"/>
                    <a:pt x="0" y="25"/>
                  </a:cubicBezTo>
                  <a:cubicBezTo>
                    <a:pt x="0" y="26"/>
                    <a:pt x="1" y="28"/>
                    <a:pt x="3" y="28"/>
                  </a:cubicBezTo>
                  <a:cubicBezTo>
                    <a:pt x="109" y="28"/>
                    <a:pt x="109" y="28"/>
                    <a:pt x="109" y="28"/>
                  </a:cubicBezTo>
                  <a:cubicBezTo>
                    <a:pt x="111" y="28"/>
                    <a:pt x="112" y="26"/>
                    <a:pt x="112" y="2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6" name="Freeform 23"/>
            <p:cNvSpPr>
              <a:spLocks noEditPoints="1"/>
            </p:cNvSpPr>
            <p:nvPr/>
          </p:nvSpPr>
          <p:spPr bwMode="black">
            <a:xfrm>
              <a:off x="2672524" y="2731408"/>
              <a:ext cx="104945" cy="205086"/>
            </a:xfrm>
            <a:custGeom>
              <a:avLst/>
              <a:gdLst>
                <a:gd name="T0" fmla="*/ 89 w 103"/>
                <a:gd name="T1" fmla="*/ 0 h 201"/>
                <a:gd name="T2" fmla="*/ 13 w 103"/>
                <a:gd name="T3" fmla="*/ 0 h 201"/>
                <a:gd name="T4" fmla="*/ 0 w 103"/>
                <a:gd name="T5" fmla="*/ 13 h 201"/>
                <a:gd name="T6" fmla="*/ 0 w 103"/>
                <a:gd name="T7" fmla="*/ 187 h 201"/>
                <a:gd name="T8" fmla="*/ 13 w 103"/>
                <a:gd name="T9" fmla="*/ 201 h 201"/>
                <a:gd name="T10" fmla="*/ 89 w 103"/>
                <a:gd name="T11" fmla="*/ 201 h 201"/>
                <a:gd name="T12" fmla="*/ 103 w 103"/>
                <a:gd name="T13" fmla="*/ 187 h 201"/>
                <a:gd name="T14" fmla="*/ 103 w 103"/>
                <a:gd name="T15" fmla="*/ 13 h 201"/>
                <a:gd name="T16" fmla="*/ 89 w 103"/>
                <a:gd name="T17" fmla="*/ 0 h 201"/>
                <a:gd name="T18" fmla="*/ 52 w 103"/>
                <a:gd name="T19" fmla="*/ 187 h 201"/>
                <a:gd name="T20" fmla="*/ 40 w 103"/>
                <a:gd name="T21" fmla="*/ 175 h 201"/>
                <a:gd name="T22" fmla="*/ 52 w 103"/>
                <a:gd name="T23" fmla="*/ 163 h 201"/>
                <a:gd name="T24" fmla="*/ 63 w 103"/>
                <a:gd name="T25" fmla="*/ 175 h 201"/>
                <a:gd name="T26" fmla="*/ 52 w 103"/>
                <a:gd name="T27" fmla="*/ 18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201">
                  <a:moveTo>
                    <a:pt x="89" y="0"/>
                  </a:moveTo>
                  <a:cubicBezTo>
                    <a:pt x="13" y="0"/>
                    <a:pt x="13" y="0"/>
                    <a:pt x="13" y="0"/>
                  </a:cubicBezTo>
                  <a:cubicBezTo>
                    <a:pt x="6" y="0"/>
                    <a:pt x="0" y="6"/>
                    <a:pt x="0" y="13"/>
                  </a:cubicBezTo>
                  <a:cubicBezTo>
                    <a:pt x="0" y="187"/>
                    <a:pt x="0" y="187"/>
                    <a:pt x="0" y="187"/>
                  </a:cubicBezTo>
                  <a:cubicBezTo>
                    <a:pt x="0" y="195"/>
                    <a:pt x="6" y="201"/>
                    <a:pt x="13" y="201"/>
                  </a:cubicBezTo>
                  <a:cubicBezTo>
                    <a:pt x="89" y="201"/>
                    <a:pt x="89" y="201"/>
                    <a:pt x="89" y="201"/>
                  </a:cubicBezTo>
                  <a:cubicBezTo>
                    <a:pt x="97" y="201"/>
                    <a:pt x="103" y="195"/>
                    <a:pt x="103" y="187"/>
                  </a:cubicBezTo>
                  <a:cubicBezTo>
                    <a:pt x="103" y="13"/>
                    <a:pt x="103" y="13"/>
                    <a:pt x="103" y="13"/>
                  </a:cubicBezTo>
                  <a:cubicBezTo>
                    <a:pt x="103" y="6"/>
                    <a:pt x="97" y="0"/>
                    <a:pt x="89" y="0"/>
                  </a:cubicBezTo>
                  <a:moveTo>
                    <a:pt x="52" y="187"/>
                  </a:moveTo>
                  <a:cubicBezTo>
                    <a:pt x="45" y="187"/>
                    <a:pt x="40" y="181"/>
                    <a:pt x="40" y="175"/>
                  </a:cubicBezTo>
                  <a:cubicBezTo>
                    <a:pt x="40" y="168"/>
                    <a:pt x="45" y="163"/>
                    <a:pt x="52" y="163"/>
                  </a:cubicBezTo>
                  <a:cubicBezTo>
                    <a:pt x="58" y="163"/>
                    <a:pt x="63" y="168"/>
                    <a:pt x="63" y="175"/>
                  </a:cubicBezTo>
                  <a:cubicBezTo>
                    <a:pt x="63" y="181"/>
                    <a:pt x="58" y="187"/>
                    <a:pt x="52" y="18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7" name="Freeform 24"/>
            <p:cNvSpPr>
              <a:spLocks noEditPoints="1"/>
            </p:cNvSpPr>
            <p:nvPr/>
          </p:nvSpPr>
          <p:spPr bwMode="black">
            <a:xfrm>
              <a:off x="1822601" y="3110061"/>
              <a:ext cx="142950" cy="218902"/>
            </a:xfrm>
            <a:custGeom>
              <a:avLst/>
              <a:gdLst>
                <a:gd name="T0" fmla="*/ 109 w 140"/>
                <a:gd name="T1" fmla="*/ 0 h 215"/>
                <a:gd name="T2" fmla="*/ 31 w 140"/>
                <a:gd name="T3" fmla="*/ 0 h 215"/>
                <a:gd name="T4" fmla="*/ 0 w 140"/>
                <a:gd name="T5" fmla="*/ 30 h 215"/>
                <a:gd name="T6" fmla="*/ 0 w 140"/>
                <a:gd name="T7" fmla="*/ 184 h 215"/>
                <a:gd name="T8" fmla="*/ 31 w 140"/>
                <a:gd name="T9" fmla="*/ 215 h 215"/>
                <a:gd name="T10" fmla="*/ 109 w 140"/>
                <a:gd name="T11" fmla="*/ 215 h 215"/>
                <a:gd name="T12" fmla="*/ 140 w 140"/>
                <a:gd name="T13" fmla="*/ 184 h 215"/>
                <a:gd name="T14" fmla="*/ 140 w 140"/>
                <a:gd name="T15" fmla="*/ 30 h 215"/>
                <a:gd name="T16" fmla="*/ 109 w 140"/>
                <a:gd name="T17" fmla="*/ 0 h 215"/>
                <a:gd name="T18" fmla="*/ 122 w 140"/>
                <a:gd name="T19" fmla="*/ 177 h 215"/>
                <a:gd name="T20" fmla="*/ 109 w 140"/>
                <a:gd name="T21" fmla="*/ 195 h 215"/>
                <a:gd name="T22" fmla="*/ 31 w 140"/>
                <a:gd name="T23" fmla="*/ 195 h 215"/>
                <a:gd name="T24" fmla="*/ 18 w 140"/>
                <a:gd name="T25" fmla="*/ 177 h 215"/>
                <a:gd name="T26" fmla="*/ 18 w 140"/>
                <a:gd name="T27" fmla="*/ 35 h 215"/>
                <a:gd name="T28" fmla="*/ 31 w 140"/>
                <a:gd name="T29" fmla="*/ 18 h 215"/>
                <a:gd name="T30" fmla="*/ 109 w 140"/>
                <a:gd name="T31" fmla="*/ 18 h 215"/>
                <a:gd name="T32" fmla="*/ 122 w 140"/>
                <a:gd name="T33" fmla="*/ 35 h 215"/>
                <a:gd name="T34" fmla="*/ 122 w 140"/>
                <a:gd name="T35" fmla="*/ 17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215">
                  <a:moveTo>
                    <a:pt x="109" y="0"/>
                  </a:moveTo>
                  <a:cubicBezTo>
                    <a:pt x="31" y="0"/>
                    <a:pt x="31" y="0"/>
                    <a:pt x="31" y="0"/>
                  </a:cubicBezTo>
                  <a:cubicBezTo>
                    <a:pt x="14" y="0"/>
                    <a:pt x="0" y="13"/>
                    <a:pt x="0" y="30"/>
                  </a:cubicBezTo>
                  <a:cubicBezTo>
                    <a:pt x="0" y="184"/>
                    <a:pt x="0" y="184"/>
                    <a:pt x="0" y="184"/>
                  </a:cubicBezTo>
                  <a:cubicBezTo>
                    <a:pt x="0" y="201"/>
                    <a:pt x="14" y="215"/>
                    <a:pt x="31" y="215"/>
                  </a:cubicBezTo>
                  <a:cubicBezTo>
                    <a:pt x="109" y="215"/>
                    <a:pt x="109" y="215"/>
                    <a:pt x="109" y="215"/>
                  </a:cubicBezTo>
                  <a:cubicBezTo>
                    <a:pt x="126" y="215"/>
                    <a:pt x="140" y="201"/>
                    <a:pt x="140" y="184"/>
                  </a:cubicBezTo>
                  <a:cubicBezTo>
                    <a:pt x="140" y="30"/>
                    <a:pt x="140" y="30"/>
                    <a:pt x="140" y="30"/>
                  </a:cubicBezTo>
                  <a:cubicBezTo>
                    <a:pt x="140" y="13"/>
                    <a:pt x="126" y="0"/>
                    <a:pt x="109" y="0"/>
                  </a:cubicBezTo>
                  <a:moveTo>
                    <a:pt x="122" y="177"/>
                  </a:moveTo>
                  <a:cubicBezTo>
                    <a:pt x="122" y="187"/>
                    <a:pt x="116" y="195"/>
                    <a:pt x="109" y="195"/>
                  </a:cubicBezTo>
                  <a:cubicBezTo>
                    <a:pt x="31" y="195"/>
                    <a:pt x="31" y="195"/>
                    <a:pt x="31" y="195"/>
                  </a:cubicBezTo>
                  <a:cubicBezTo>
                    <a:pt x="24" y="195"/>
                    <a:pt x="18" y="187"/>
                    <a:pt x="18" y="177"/>
                  </a:cubicBezTo>
                  <a:cubicBezTo>
                    <a:pt x="18" y="35"/>
                    <a:pt x="18" y="35"/>
                    <a:pt x="18" y="35"/>
                  </a:cubicBezTo>
                  <a:cubicBezTo>
                    <a:pt x="18" y="26"/>
                    <a:pt x="24" y="18"/>
                    <a:pt x="31" y="18"/>
                  </a:cubicBezTo>
                  <a:cubicBezTo>
                    <a:pt x="109" y="18"/>
                    <a:pt x="109" y="18"/>
                    <a:pt x="109" y="18"/>
                  </a:cubicBezTo>
                  <a:cubicBezTo>
                    <a:pt x="116" y="18"/>
                    <a:pt x="122" y="26"/>
                    <a:pt x="122" y="35"/>
                  </a:cubicBezTo>
                  <a:lnTo>
                    <a:pt x="122" y="1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8" name="Freeform 25"/>
            <p:cNvSpPr>
              <a:spLocks noEditPoints="1"/>
            </p:cNvSpPr>
            <p:nvPr/>
          </p:nvSpPr>
          <p:spPr bwMode="black">
            <a:xfrm>
              <a:off x="2526552" y="3485258"/>
              <a:ext cx="201252" cy="232287"/>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9" name="Freeform 26"/>
            <p:cNvSpPr>
              <a:spLocks noEditPoints="1"/>
            </p:cNvSpPr>
            <p:nvPr/>
          </p:nvSpPr>
          <p:spPr bwMode="black">
            <a:xfrm>
              <a:off x="2796903" y="3090631"/>
              <a:ext cx="174476" cy="238331"/>
            </a:xfrm>
            <a:custGeom>
              <a:avLst/>
              <a:gdLst>
                <a:gd name="T0" fmla="*/ 146 w 171"/>
                <a:gd name="T1" fmla="*/ 0 h 234"/>
                <a:gd name="T2" fmla="*/ 25 w 171"/>
                <a:gd name="T3" fmla="*/ 0 h 234"/>
                <a:gd name="T4" fmla="*/ 0 w 171"/>
                <a:gd name="T5" fmla="*/ 25 h 234"/>
                <a:gd name="T6" fmla="*/ 0 w 171"/>
                <a:gd name="T7" fmla="*/ 209 h 234"/>
                <a:gd name="T8" fmla="*/ 25 w 171"/>
                <a:gd name="T9" fmla="*/ 234 h 234"/>
                <a:gd name="T10" fmla="*/ 146 w 171"/>
                <a:gd name="T11" fmla="*/ 234 h 234"/>
                <a:gd name="T12" fmla="*/ 171 w 171"/>
                <a:gd name="T13" fmla="*/ 209 h 234"/>
                <a:gd name="T14" fmla="*/ 171 w 171"/>
                <a:gd name="T15" fmla="*/ 25 h 234"/>
                <a:gd name="T16" fmla="*/ 146 w 171"/>
                <a:gd name="T17" fmla="*/ 0 h 234"/>
                <a:gd name="T18" fmla="*/ 157 w 171"/>
                <a:gd name="T19" fmla="*/ 183 h 234"/>
                <a:gd name="T20" fmla="*/ 146 w 171"/>
                <a:gd name="T21" fmla="*/ 193 h 234"/>
                <a:gd name="T22" fmla="*/ 25 w 171"/>
                <a:gd name="T23" fmla="*/ 193 h 234"/>
                <a:gd name="T24" fmla="*/ 15 w 171"/>
                <a:gd name="T25" fmla="*/ 183 h 234"/>
                <a:gd name="T26" fmla="*/ 15 w 171"/>
                <a:gd name="T27" fmla="*/ 25 h 234"/>
                <a:gd name="T28" fmla="*/ 25 w 171"/>
                <a:gd name="T29" fmla="*/ 14 h 234"/>
                <a:gd name="T30" fmla="*/ 146 w 171"/>
                <a:gd name="T31" fmla="*/ 14 h 234"/>
                <a:gd name="T32" fmla="*/ 157 w 171"/>
                <a:gd name="T33" fmla="*/ 25 h 234"/>
                <a:gd name="T34" fmla="*/ 157 w 171"/>
                <a:gd name="T35" fmla="*/ 18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234">
                  <a:moveTo>
                    <a:pt x="146" y="0"/>
                  </a:moveTo>
                  <a:cubicBezTo>
                    <a:pt x="25" y="0"/>
                    <a:pt x="25" y="0"/>
                    <a:pt x="25" y="0"/>
                  </a:cubicBezTo>
                  <a:cubicBezTo>
                    <a:pt x="11" y="0"/>
                    <a:pt x="0" y="11"/>
                    <a:pt x="0" y="25"/>
                  </a:cubicBezTo>
                  <a:cubicBezTo>
                    <a:pt x="0" y="209"/>
                    <a:pt x="0" y="209"/>
                    <a:pt x="0" y="209"/>
                  </a:cubicBezTo>
                  <a:cubicBezTo>
                    <a:pt x="0" y="223"/>
                    <a:pt x="11" y="234"/>
                    <a:pt x="25" y="234"/>
                  </a:cubicBezTo>
                  <a:cubicBezTo>
                    <a:pt x="146" y="234"/>
                    <a:pt x="146" y="234"/>
                    <a:pt x="146" y="234"/>
                  </a:cubicBezTo>
                  <a:cubicBezTo>
                    <a:pt x="160" y="234"/>
                    <a:pt x="171" y="223"/>
                    <a:pt x="171" y="209"/>
                  </a:cubicBezTo>
                  <a:cubicBezTo>
                    <a:pt x="171" y="25"/>
                    <a:pt x="171" y="25"/>
                    <a:pt x="171" y="25"/>
                  </a:cubicBezTo>
                  <a:cubicBezTo>
                    <a:pt x="171" y="11"/>
                    <a:pt x="160" y="0"/>
                    <a:pt x="146" y="0"/>
                  </a:cubicBezTo>
                  <a:moveTo>
                    <a:pt x="157" y="183"/>
                  </a:moveTo>
                  <a:cubicBezTo>
                    <a:pt x="157" y="188"/>
                    <a:pt x="152" y="193"/>
                    <a:pt x="146" y="193"/>
                  </a:cubicBezTo>
                  <a:cubicBezTo>
                    <a:pt x="25" y="193"/>
                    <a:pt x="25" y="193"/>
                    <a:pt x="25" y="193"/>
                  </a:cubicBezTo>
                  <a:cubicBezTo>
                    <a:pt x="19" y="193"/>
                    <a:pt x="15" y="188"/>
                    <a:pt x="15" y="183"/>
                  </a:cubicBezTo>
                  <a:cubicBezTo>
                    <a:pt x="15" y="25"/>
                    <a:pt x="15" y="25"/>
                    <a:pt x="15" y="25"/>
                  </a:cubicBezTo>
                  <a:cubicBezTo>
                    <a:pt x="15" y="19"/>
                    <a:pt x="19" y="14"/>
                    <a:pt x="25" y="14"/>
                  </a:cubicBezTo>
                  <a:cubicBezTo>
                    <a:pt x="146" y="14"/>
                    <a:pt x="146" y="14"/>
                    <a:pt x="146" y="14"/>
                  </a:cubicBezTo>
                  <a:cubicBezTo>
                    <a:pt x="152" y="14"/>
                    <a:pt x="157" y="19"/>
                    <a:pt x="157" y="25"/>
                  </a:cubicBezTo>
                  <a:lnTo>
                    <a:pt x="157" y="1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0" name="Oval 27"/>
            <p:cNvSpPr>
              <a:spLocks noChangeArrowheads="1"/>
            </p:cNvSpPr>
            <p:nvPr/>
          </p:nvSpPr>
          <p:spPr bwMode="black">
            <a:xfrm>
              <a:off x="2846137" y="3298739"/>
              <a:ext cx="14252" cy="1424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1" name="Oval 28"/>
            <p:cNvSpPr>
              <a:spLocks noChangeArrowheads="1"/>
            </p:cNvSpPr>
            <p:nvPr/>
          </p:nvSpPr>
          <p:spPr bwMode="black">
            <a:xfrm>
              <a:off x="2908326" y="3298739"/>
              <a:ext cx="14252" cy="1424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2" name="Oval 29"/>
            <p:cNvSpPr>
              <a:spLocks noChangeArrowheads="1"/>
            </p:cNvSpPr>
            <p:nvPr/>
          </p:nvSpPr>
          <p:spPr bwMode="black">
            <a:xfrm>
              <a:off x="2877663" y="3298739"/>
              <a:ext cx="14252" cy="1424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3" name="Freeform 30"/>
            <p:cNvSpPr>
              <a:spLocks/>
            </p:cNvSpPr>
            <p:nvPr/>
          </p:nvSpPr>
          <p:spPr bwMode="black">
            <a:xfrm>
              <a:off x="2084747" y="3449423"/>
              <a:ext cx="120492" cy="44039"/>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4" name="Freeform 31"/>
            <p:cNvSpPr>
              <a:spLocks noEditPoints="1"/>
            </p:cNvSpPr>
            <p:nvPr/>
          </p:nvSpPr>
          <p:spPr bwMode="black">
            <a:xfrm>
              <a:off x="2081723" y="3497348"/>
              <a:ext cx="129561" cy="220197"/>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pic>
        <p:nvPicPr>
          <p:cNvPr id="45" name="Picture 44" descr="C:\Users\sakuu\Documents\Ballmer WPC\PNGS\Timer.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black">
          <a:xfrm rot="1800000">
            <a:off x="3473843" y="1940143"/>
            <a:ext cx="473091" cy="712412"/>
          </a:xfrm>
          <a:prstGeom prst="rect">
            <a:avLst/>
          </a:prstGeom>
          <a:noFill/>
          <a:extLst>
            <a:ext uri="{909E8E84-426E-40DD-AFC4-6F175D3DCCD1}">
              <a14:hiddenFill xmlns:a14="http://schemas.microsoft.com/office/drawing/2010/main">
                <a:solidFill>
                  <a:srgbClr val="FFFFFF"/>
                </a:solidFill>
              </a14:hiddenFill>
            </a:ext>
          </a:extLst>
        </p:spPr>
      </p:pic>
      <p:sp>
        <p:nvSpPr>
          <p:cNvPr id="46" name="Rectangle 8"/>
          <p:cNvSpPr>
            <a:spLocks noChangeArrowheads="1"/>
          </p:cNvSpPr>
          <p:nvPr/>
        </p:nvSpPr>
        <p:spPr bwMode="black">
          <a:xfrm>
            <a:off x="1642242" y="2539003"/>
            <a:ext cx="21041" cy="893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1" tIns="34286" rIns="68571" bIns="34286" numCol="1" anchor="t" anchorCtr="0" compatLnSpc="1">
            <a:prstTxWarp prst="textNoShape">
              <a:avLst/>
            </a:prstTxWarp>
          </a:bodyPr>
          <a:lstStyle/>
          <a:p>
            <a:endParaRPr lang="en-US" sz="1200" dirty="0"/>
          </a:p>
        </p:txBody>
      </p:sp>
      <p:sp>
        <p:nvSpPr>
          <p:cNvPr id="47" name="Rectangle 9"/>
          <p:cNvSpPr>
            <a:spLocks noChangeArrowheads="1"/>
          </p:cNvSpPr>
          <p:nvPr/>
        </p:nvSpPr>
        <p:spPr bwMode="black">
          <a:xfrm>
            <a:off x="1684318" y="2539003"/>
            <a:ext cx="21328" cy="893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1" tIns="34286" rIns="68571" bIns="34286" numCol="1" anchor="t" anchorCtr="0" compatLnSpc="1">
            <a:prstTxWarp prst="textNoShape">
              <a:avLst/>
            </a:prstTxWarp>
          </a:bodyPr>
          <a:lstStyle/>
          <a:p>
            <a:endParaRPr lang="en-US" sz="1200" dirty="0"/>
          </a:p>
        </p:txBody>
      </p:sp>
      <p:sp>
        <p:nvSpPr>
          <p:cNvPr id="48" name="Rectangle 8"/>
          <p:cNvSpPr>
            <a:spLocks noChangeArrowheads="1"/>
          </p:cNvSpPr>
          <p:nvPr/>
        </p:nvSpPr>
        <p:spPr bwMode="black">
          <a:xfrm>
            <a:off x="1911587" y="2538427"/>
            <a:ext cx="21041" cy="893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1" tIns="34286" rIns="68571" bIns="34286" numCol="1" anchor="t" anchorCtr="0" compatLnSpc="1">
            <a:prstTxWarp prst="textNoShape">
              <a:avLst/>
            </a:prstTxWarp>
          </a:bodyPr>
          <a:lstStyle/>
          <a:p>
            <a:endParaRPr lang="en-US" sz="1200" dirty="0"/>
          </a:p>
        </p:txBody>
      </p:sp>
      <p:sp>
        <p:nvSpPr>
          <p:cNvPr id="49" name="Rectangle 9"/>
          <p:cNvSpPr>
            <a:spLocks noChangeArrowheads="1"/>
          </p:cNvSpPr>
          <p:nvPr/>
        </p:nvSpPr>
        <p:spPr bwMode="black">
          <a:xfrm>
            <a:off x="1953662" y="2538427"/>
            <a:ext cx="21328" cy="893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1" tIns="34286" rIns="68571" bIns="34286" numCol="1" anchor="t" anchorCtr="0" compatLnSpc="1">
            <a:prstTxWarp prst="textNoShape">
              <a:avLst/>
            </a:prstTxWarp>
          </a:bodyPr>
          <a:lstStyle/>
          <a:p>
            <a:endParaRPr lang="en-US" sz="1200" dirty="0"/>
          </a:p>
        </p:txBody>
      </p:sp>
      <p:pic>
        <p:nvPicPr>
          <p:cNvPr id="50" name="Picture 49" descr="C:\Users\sakuu\Documents\Ballmer WPC\AI\work.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6801430" y="1979518"/>
            <a:ext cx="470284" cy="750815"/>
          </a:xfrm>
          <a:prstGeom prst="rect">
            <a:avLst/>
          </a:prstGeom>
          <a:noFill/>
          <a:extLst>
            <a:ext uri="{909E8E84-426E-40DD-AFC4-6F175D3DCCD1}">
              <a14:hiddenFill xmlns:a14="http://schemas.microsoft.com/office/drawing/2010/main">
                <a:solidFill>
                  <a:srgbClr val="FFFFFF"/>
                </a:solidFill>
              </a14:hiddenFill>
            </a:ext>
          </a:extLst>
        </p:spPr>
      </p:pic>
      <p:sp>
        <p:nvSpPr>
          <p:cNvPr id="51" name="TextBox 50"/>
          <p:cNvSpPr txBox="1"/>
          <p:nvPr/>
        </p:nvSpPr>
        <p:spPr>
          <a:xfrm>
            <a:off x="856282" y="3923675"/>
            <a:ext cx="7479443" cy="392415"/>
          </a:xfrm>
          <a:prstGeom prst="rect">
            <a:avLst/>
          </a:prstGeom>
          <a:noFill/>
        </p:spPr>
        <p:txBody>
          <a:bodyPr wrap="square" lIns="68571" tIns="34286" rIns="68571" bIns="34286" rtlCol="0">
            <a:spAutoFit/>
          </a:bodyPr>
          <a:lstStyle/>
          <a:p>
            <a:pPr algn="ctr"/>
            <a:r>
              <a:rPr lang="en-US" sz="2100" dirty="0">
                <a:latin typeface="Segoe UI Light" pitchFamily="34" charset="0"/>
              </a:rPr>
              <a:t>Companies must facilitate productivity without impacting security</a:t>
            </a:r>
          </a:p>
        </p:txBody>
      </p:sp>
      <p:grpSp>
        <p:nvGrpSpPr>
          <p:cNvPr id="52" name="Group 51"/>
          <p:cNvGrpSpPr/>
          <p:nvPr/>
        </p:nvGrpSpPr>
        <p:grpSpPr>
          <a:xfrm>
            <a:off x="5066146" y="2004762"/>
            <a:ext cx="903813" cy="411613"/>
            <a:chOff x="6629089" y="2161378"/>
            <a:chExt cx="941511" cy="428893"/>
          </a:xfrm>
        </p:grpSpPr>
        <p:grpSp>
          <p:nvGrpSpPr>
            <p:cNvPr id="53" name="Group 52"/>
            <p:cNvGrpSpPr/>
            <p:nvPr/>
          </p:nvGrpSpPr>
          <p:grpSpPr>
            <a:xfrm>
              <a:off x="7040701" y="2293237"/>
              <a:ext cx="529899" cy="297034"/>
              <a:chOff x="6649145" y="2175368"/>
              <a:chExt cx="1295400" cy="726135"/>
            </a:xfrm>
          </p:grpSpPr>
          <p:sp>
            <p:nvSpPr>
              <p:cNvPr id="55" name="Rectangle 54"/>
              <p:cNvSpPr/>
              <p:nvPr/>
            </p:nvSpPr>
            <p:spPr>
              <a:xfrm>
                <a:off x="6649145" y="2175368"/>
                <a:ext cx="1295400" cy="72613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Isosceles Triangle 55"/>
              <p:cNvSpPr/>
              <p:nvPr/>
            </p:nvSpPr>
            <p:spPr>
              <a:xfrm>
                <a:off x="6858489" y="2313357"/>
                <a:ext cx="111322" cy="10409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Oval 56"/>
              <p:cNvSpPr/>
              <p:nvPr/>
            </p:nvSpPr>
            <p:spPr>
              <a:xfrm>
                <a:off x="6729036" y="2254330"/>
                <a:ext cx="129453" cy="129453"/>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58" name="Straight Connector 57"/>
              <p:cNvCxnSpPr/>
              <p:nvPr/>
            </p:nvCxnSpPr>
            <p:spPr>
              <a:xfrm>
                <a:off x="7010889" y="2487635"/>
                <a:ext cx="60752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7010889" y="2565739"/>
                <a:ext cx="60752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7010888" y="2640035"/>
                <a:ext cx="60752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7542212" y="2791558"/>
                <a:ext cx="303762"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6793762" y="2794196"/>
                <a:ext cx="303762"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4" name="Freeform 53"/>
            <p:cNvSpPr/>
            <p:nvPr/>
          </p:nvSpPr>
          <p:spPr>
            <a:xfrm>
              <a:off x="6629089" y="2161378"/>
              <a:ext cx="661706" cy="408355"/>
            </a:xfrm>
            <a:custGeom>
              <a:avLst/>
              <a:gdLst>
                <a:gd name="connsiteX0" fmla="*/ 114300 w 944880"/>
                <a:gd name="connsiteY0" fmla="*/ 201930 h 647700"/>
                <a:gd name="connsiteX1" fmla="*/ 422910 w 944880"/>
                <a:gd name="connsiteY1" fmla="*/ 26670 h 647700"/>
                <a:gd name="connsiteX2" fmla="*/ 811530 w 944880"/>
                <a:gd name="connsiteY2" fmla="*/ 0 h 647700"/>
                <a:gd name="connsiteX3" fmla="*/ 944880 w 944880"/>
                <a:gd name="connsiteY3" fmla="*/ 152400 h 647700"/>
                <a:gd name="connsiteX4" fmla="*/ 518160 w 944880"/>
                <a:gd name="connsiteY4" fmla="*/ 160020 h 647700"/>
                <a:gd name="connsiteX5" fmla="*/ 430530 w 944880"/>
                <a:gd name="connsiteY5" fmla="*/ 342900 h 647700"/>
                <a:gd name="connsiteX6" fmla="*/ 742950 w 944880"/>
                <a:gd name="connsiteY6" fmla="*/ 323850 h 647700"/>
                <a:gd name="connsiteX7" fmla="*/ 933450 w 944880"/>
                <a:gd name="connsiteY7" fmla="*/ 358140 h 647700"/>
                <a:gd name="connsiteX8" fmla="*/ 941070 w 944880"/>
                <a:gd name="connsiteY8" fmla="*/ 510540 h 647700"/>
                <a:gd name="connsiteX9" fmla="*/ 739140 w 944880"/>
                <a:gd name="connsiteY9" fmla="*/ 556260 h 647700"/>
                <a:gd name="connsiteX10" fmla="*/ 422910 w 944880"/>
                <a:gd name="connsiteY10" fmla="*/ 52197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22910 w 944880"/>
                <a:gd name="connsiteY1" fmla="*/ 26670 h 647700"/>
                <a:gd name="connsiteX2" fmla="*/ 811530 w 944880"/>
                <a:gd name="connsiteY2" fmla="*/ 0 h 647700"/>
                <a:gd name="connsiteX3" fmla="*/ 944880 w 944880"/>
                <a:gd name="connsiteY3" fmla="*/ 152400 h 647700"/>
                <a:gd name="connsiteX4" fmla="*/ 518160 w 944880"/>
                <a:gd name="connsiteY4" fmla="*/ 160020 h 647700"/>
                <a:gd name="connsiteX5" fmla="*/ 430530 w 944880"/>
                <a:gd name="connsiteY5" fmla="*/ 342900 h 647700"/>
                <a:gd name="connsiteX6" fmla="*/ 742950 w 944880"/>
                <a:gd name="connsiteY6" fmla="*/ 323850 h 647700"/>
                <a:gd name="connsiteX7" fmla="*/ 933450 w 944880"/>
                <a:gd name="connsiteY7" fmla="*/ 358140 h 647700"/>
                <a:gd name="connsiteX8" fmla="*/ 941070 w 944880"/>
                <a:gd name="connsiteY8" fmla="*/ 510540 h 647700"/>
                <a:gd name="connsiteX9" fmla="*/ 739140 w 944880"/>
                <a:gd name="connsiteY9" fmla="*/ 55626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22910 w 944880"/>
                <a:gd name="connsiteY1" fmla="*/ 26670 h 647700"/>
                <a:gd name="connsiteX2" fmla="*/ 811530 w 944880"/>
                <a:gd name="connsiteY2" fmla="*/ 0 h 647700"/>
                <a:gd name="connsiteX3" fmla="*/ 944880 w 944880"/>
                <a:gd name="connsiteY3" fmla="*/ 152400 h 647700"/>
                <a:gd name="connsiteX4" fmla="*/ 518160 w 944880"/>
                <a:gd name="connsiteY4" fmla="*/ 160020 h 647700"/>
                <a:gd name="connsiteX5" fmla="*/ 449580 w 944880"/>
                <a:gd name="connsiteY5" fmla="*/ 316230 h 647700"/>
                <a:gd name="connsiteX6" fmla="*/ 742950 w 944880"/>
                <a:gd name="connsiteY6" fmla="*/ 323850 h 647700"/>
                <a:gd name="connsiteX7" fmla="*/ 933450 w 944880"/>
                <a:gd name="connsiteY7" fmla="*/ 358140 h 647700"/>
                <a:gd name="connsiteX8" fmla="*/ 941070 w 944880"/>
                <a:gd name="connsiteY8" fmla="*/ 510540 h 647700"/>
                <a:gd name="connsiteX9" fmla="*/ 739140 w 944880"/>
                <a:gd name="connsiteY9" fmla="*/ 55626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22910 w 944880"/>
                <a:gd name="connsiteY1" fmla="*/ 2667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742950 w 944880"/>
                <a:gd name="connsiteY6" fmla="*/ 323850 h 647700"/>
                <a:gd name="connsiteX7" fmla="*/ 933450 w 944880"/>
                <a:gd name="connsiteY7" fmla="*/ 358140 h 647700"/>
                <a:gd name="connsiteX8" fmla="*/ 941070 w 944880"/>
                <a:gd name="connsiteY8" fmla="*/ 510540 h 647700"/>
                <a:gd name="connsiteX9" fmla="*/ 739140 w 944880"/>
                <a:gd name="connsiteY9" fmla="*/ 55626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742950 w 944880"/>
                <a:gd name="connsiteY6" fmla="*/ 323850 h 647700"/>
                <a:gd name="connsiteX7" fmla="*/ 933450 w 944880"/>
                <a:gd name="connsiteY7" fmla="*/ 358140 h 647700"/>
                <a:gd name="connsiteX8" fmla="*/ 941070 w 944880"/>
                <a:gd name="connsiteY8" fmla="*/ 510540 h 647700"/>
                <a:gd name="connsiteX9" fmla="*/ 739140 w 944880"/>
                <a:gd name="connsiteY9" fmla="*/ 55626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742950 w 944880"/>
                <a:gd name="connsiteY6" fmla="*/ 323850 h 647700"/>
                <a:gd name="connsiteX7" fmla="*/ 933450 w 944880"/>
                <a:gd name="connsiteY7" fmla="*/ 358140 h 647700"/>
                <a:gd name="connsiteX8" fmla="*/ 941070 w 944880"/>
                <a:gd name="connsiteY8" fmla="*/ 510540 h 647700"/>
                <a:gd name="connsiteX9" fmla="*/ 693420 w 944880"/>
                <a:gd name="connsiteY9" fmla="*/ 52578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742950 w 944880"/>
                <a:gd name="connsiteY6" fmla="*/ 323850 h 647700"/>
                <a:gd name="connsiteX7" fmla="*/ 933450 w 944880"/>
                <a:gd name="connsiteY7" fmla="*/ 358140 h 647700"/>
                <a:gd name="connsiteX8" fmla="*/ 868680 w 944880"/>
                <a:gd name="connsiteY8" fmla="*/ 506730 h 647700"/>
                <a:gd name="connsiteX9" fmla="*/ 693420 w 944880"/>
                <a:gd name="connsiteY9" fmla="*/ 52578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742950 w 944880"/>
                <a:gd name="connsiteY6" fmla="*/ 323850 h 647700"/>
                <a:gd name="connsiteX7" fmla="*/ 861060 w 944880"/>
                <a:gd name="connsiteY7" fmla="*/ 346710 h 647700"/>
                <a:gd name="connsiteX8" fmla="*/ 868680 w 944880"/>
                <a:gd name="connsiteY8" fmla="*/ 506730 h 647700"/>
                <a:gd name="connsiteX9" fmla="*/ 693420 w 944880"/>
                <a:gd name="connsiteY9" fmla="*/ 52578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632460 w 944880"/>
                <a:gd name="connsiteY6" fmla="*/ 323850 h 647700"/>
                <a:gd name="connsiteX7" fmla="*/ 861060 w 944880"/>
                <a:gd name="connsiteY7" fmla="*/ 346710 h 647700"/>
                <a:gd name="connsiteX8" fmla="*/ 868680 w 944880"/>
                <a:gd name="connsiteY8" fmla="*/ 506730 h 647700"/>
                <a:gd name="connsiteX9" fmla="*/ 693420 w 944880"/>
                <a:gd name="connsiteY9" fmla="*/ 52578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632460 w 944880"/>
                <a:gd name="connsiteY6" fmla="*/ 323850 h 647700"/>
                <a:gd name="connsiteX7" fmla="*/ 861060 w 944880"/>
                <a:gd name="connsiteY7" fmla="*/ 346710 h 647700"/>
                <a:gd name="connsiteX8" fmla="*/ 868680 w 944880"/>
                <a:gd name="connsiteY8" fmla="*/ 506730 h 647700"/>
                <a:gd name="connsiteX9" fmla="*/ 693420 w 944880"/>
                <a:gd name="connsiteY9" fmla="*/ 52578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632460 w 944880"/>
                <a:gd name="connsiteY6" fmla="*/ 323850 h 647700"/>
                <a:gd name="connsiteX7" fmla="*/ 861060 w 944880"/>
                <a:gd name="connsiteY7" fmla="*/ 346710 h 647700"/>
                <a:gd name="connsiteX8" fmla="*/ 868680 w 944880"/>
                <a:gd name="connsiteY8" fmla="*/ 506730 h 647700"/>
                <a:gd name="connsiteX9" fmla="*/ 693420 w 944880"/>
                <a:gd name="connsiteY9" fmla="*/ 52578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17220"/>
                <a:gd name="connsiteX1" fmla="*/ 441960 w 944880"/>
                <a:gd name="connsiteY1" fmla="*/ 7620 h 617220"/>
                <a:gd name="connsiteX2" fmla="*/ 811530 w 944880"/>
                <a:gd name="connsiteY2" fmla="*/ 0 h 617220"/>
                <a:gd name="connsiteX3" fmla="*/ 944880 w 944880"/>
                <a:gd name="connsiteY3" fmla="*/ 152400 h 617220"/>
                <a:gd name="connsiteX4" fmla="*/ 521970 w 944880"/>
                <a:gd name="connsiteY4" fmla="*/ 156210 h 617220"/>
                <a:gd name="connsiteX5" fmla="*/ 449580 w 944880"/>
                <a:gd name="connsiteY5" fmla="*/ 316230 h 617220"/>
                <a:gd name="connsiteX6" fmla="*/ 632460 w 944880"/>
                <a:gd name="connsiteY6" fmla="*/ 323850 h 617220"/>
                <a:gd name="connsiteX7" fmla="*/ 861060 w 944880"/>
                <a:gd name="connsiteY7" fmla="*/ 346710 h 617220"/>
                <a:gd name="connsiteX8" fmla="*/ 868680 w 944880"/>
                <a:gd name="connsiteY8" fmla="*/ 506730 h 617220"/>
                <a:gd name="connsiteX9" fmla="*/ 693420 w 944880"/>
                <a:gd name="connsiteY9" fmla="*/ 525780 h 617220"/>
                <a:gd name="connsiteX10" fmla="*/ 468630 w 944880"/>
                <a:gd name="connsiteY10" fmla="*/ 525780 h 617220"/>
                <a:gd name="connsiteX11" fmla="*/ 377190 w 944880"/>
                <a:gd name="connsiteY11" fmla="*/ 617220 h 617220"/>
                <a:gd name="connsiteX12" fmla="*/ 201930 w 944880"/>
                <a:gd name="connsiteY12" fmla="*/ 609600 h 617220"/>
                <a:gd name="connsiteX13" fmla="*/ 7620 w 944880"/>
                <a:gd name="connsiteY13" fmla="*/ 582930 h 617220"/>
                <a:gd name="connsiteX14" fmla="*/ 0 w 944880"/>
                <a:gd name="connsiteY14" fmla="*/ 205740 h 617220"/>
                <a:gd name="connsiteX15" fmla="*/ 114300 w 944880"/>
                <a:gd name="connsiteY15" fmla="*/ 201930 h 617220"/>
                <a:gd name="connsiteX0" fmla="*/ 114300 w 944880"/>
                <a:gd name="connsiteY0" fmla="*/ 201930 h 609600"/>
                <a:gd name="connsiteX1" fmla="*/ 441960 w 944880"/>
                <a:gd name="connsiteY1" fmla="*/ 7620 h 609600"/>
                <a:gd name="connsiteX2" fmla="*/ 811530 w 944880"/>
                <a:gd name="connsiteY2" fmla="*/ 0 h 609600"/>
                <a:gd name="connsiteX3" fmla="*/ 944880 w 944880"/>
                <a:gd name="connsiteY3" fmla="*/ 152400 h 609600"/>
                <a:gd name="connsiteX4" fmla="*/ 521970 w 944880"/>
                <a:gd name="connsiteY4" fmla="*/ 156210 h 609600"/>
                <a:gd name="connsiteX5" fmla="*/ 449580 w 944880"/>
                <a:gd name="connsiteY5" fmla="*/ 316230 h 609600"/>
                <a:gd name="connsiteX6" fmla="*/ 632460 w 944880"/>
                <a:gd name="connsiteY6" fmla="*/ 323850 h 609600"/>
                <a:gd name="connsiteX7" fmla="*/ 861060 w 944880"/>
                <a:gd name="connsiteY7" fmla="*/ 346710 h 609600"/>
                <a:gd name="connsiteX8" fmla="*/ 868680 w 944880"/>
                <a:gd name="connsiteY8" fmla="*/ 506730 h 609600"/>
                <a:gd name="connsiteX9" fmla="*/ 693420 w 944880"/>
                <a:gd name="connsiteY9" fmla="*/ 525780 h 609600"/>
                <a:gd name="connsiteX10" fmla="*/ 468630 w 944880"/>
                <a:gd name="connsiteY10" fmla="*/ 525780 h 609600"/>
                <a:gd name="connsiteX11" fmla="*/ 365760 w 944880"/>
                <a:gd name="connsiteY11" fmla="*/ 601980 h 609600"/>
                <a:gd name="connsiteX12" fmla="*/ 201930 w 944880"/>
                <a:gd name="connsiteY12" fmla="*/ 609600 h 609600"/>
                <a:gd name="connsiteX13" fmla="*/ 7620 w 944880"/>
                <a:gd name="connsiteY13" fmla="*/ 582930 h 609600"/>
                <a:gd name="connsiteX14" fmla="*/ 0 w 944880"/>
                <a:gd name="connsiteY14" fmla="*/ 205740 h 609600"/>
                <a:gd name="connsiteX15" fmla="*/ 114300 w 944880"/>
                <a:gd name="connsiteY15" fmla="*/ 201930 h 609600"/>
                <a:gd name="connsiteX0" fmla="*/ 114300 w 944880"/>
                <a:gd name="connsiteY0" fmla="*/ 201930 h 601980"/>
                <a:gd name="connsiteX1" fmla="*/ 441960 w 944880"/>
                <a:gd name="connsiteY1" fmla="*/ 7620 h 601980"/>
                <a:gd name="connsiteX2" fmla="*/ 811530 w 944880"/>
                <a:gd name="connsiteY2" fmla="*/ 0 h 601980"/>
                <a:gd name="connsiteX3" fmla="*/ 944880 w 944880"/>
                <a:gd name="connsiteY3" fmla="*/ 152400 h 601980"/>
                <a:gd name="connsiteX4" fmla="*/ 521970 w 944880"/>
                <a:gd name="connsiteY4" fmla="*/ 156210 h 601980"/>
                <a:gd name="connsiteX5" fmla="*/ 449580 w 944880"/>
                <a:gd name="connsiteY5" fmla="*/ 316230 h 601980"/>
                <a:gd name="connsiteX6" fmla="*/ 632460 w 944880"/>
                <a:gd name="connsiteY6" fmla="*/ 323850 h 601980"/>
                <a:gd name="connsiteX7" fmla="*/ 861060 w 944880"/>
                <a:gd name="connsiteY7" fmla="*/ 346710 h 601980"/>
                <a:gd name="connsiteX8" fmla="*/ 868680 w 944880"/>
                <a:gd name="connsiteY8" fmla="*/ 506730 h 601980"/>
                <a:gd name="connsiteX9" fmla="*/ 693420 w 944880"/>
                <a:gd name="connsiteY9" fmla="*/ 525780 h 601980"/>
                <a:gd name="connsiteX10" fmla="*/ 468630 w 944880"/>
                <a:gd name="connsiteY10" fmla="*/ 525780 h 601980"/>
                <a:gd name="connsiteX11" fmla="*/ 365760 w 944880"/>
                <a:gd name="connsiteY11" fmla="*/ 601980 h 601980"/>
                <a:gd name="connsiteX12" fmla="*/ 194310 w 944880"/>
                <a:gd name="connsiteY12" fmla="*/ 586740 h 601980"/>
                <a:gd name="connsiteX13" fmla="*/ 7620 w 944880"/>
                <a:gd name="connsiteY13" fmla="*/ 582930 h 601980"/>
                <a:gd name="connsiteX14" fmla="*/ 0 w 944880"/>
                <a:gd name="connsiteY14" fmla="*/ 205740 h 601980"/>
                <a:gd name="connsiteX15" fmla="*/ 114300 w 944880"/>
                <a:gd name="connsiteY15" fmla="*/ 201930 h 60198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468630 w 944880"/>
                <a:gd name="connsiteY10" fmla="*/ 525780 h 586740"/>
                <a:gd name="connsiteX11" fmla="*/ 36195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499110 w 944880"/>
                <a:gd name="connsiteY10" fmla="*/ 521970 h 586740"/>
                <a:gd name="connsiteX11" fmla="*/ 36195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499110 w 944880"/>
                <a:gd name="connsiteY10" fmla="*/ 521970 h 586740"/>
                <a:gd name="connsiteX11" fmla="*/ 36195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499110 w 944880"/>
                <a:gd name="connsiteY10" fmla="*/ 521970 h 586740"/>
                <a:gd name="connsiteX11" fmla="*/ 36195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499110 w 944880"/>
                <a:gd name="connsiteY10" fmla="*/ 521970 h 586740"/>
                <a:gd name="connsiteX11" fmla="*/ 36195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499110 w 944880"/>
                <a:gd name="connsiteY10" fmla="*/ 52197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1915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1915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1915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1915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3820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3820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3820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38200 w 944880"/>
                <a:gd name="connsiteY7" fmla="*/ 339090 h 586740"/>
                <a:gd name="connsiteX8" fmla="*/ 807720 w 944880"/>
                <a:gd name="connsiteY8" fmla="*/ 49149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38200 w 944880"/>
                <a:gd name="connsiteY7" fmla="*/ 339090 h 586740"/>
                <a:gd name="connsiteX8" fmla="*/ 807720 w 944880"/>
                <a:gd name="connsiteY8" fmla="*/ 49149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27660 h 586740"/>
                <a:gd name="connsiteX7" fmla="*/ 838200 w 944880"/>
                <a:gd name="connsiteY7" fmla="*/ 339090 h 586740"/>
                <a:gd name="connsiteX8" fmla="*/ 807720 w 944880"/>
                <a:gd name="connsiteY8" fmla="*/ 49149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27660 h 586740"/>
                <a:gd name="connsiteX7" fmla="*/ 838200 w 944880"/>
                <a:gd name="connsiteY7" fmla="*/ 339090 h 586740"/>
                <a:gd name="connsiteX8" fmla="*/ 807720 w 944880"/>
                <a:gd name="connsiteY8" fmla="*/ 49149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27660 h 586740"/>
                <a:gd name="connsiteX7" fmla="*/ 838200 w 944880"/>
                <a:gd name="connsiteY7" fmla="*/ 339090 h 586740"/>
                <a:gd name="connsiteX8" fmla="*/ 807720 w 944880"/>
                <a:gd name="connsiteY8" fmla="*/ 49149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194310 h 579120"/>
                <a:gd name="connsiteX1" fmla="*/ 441960 w 944880"/>
                <a:gd name="connsiteY1" fmla="*/ 0 h 579120"/>
                <a:gd name="connsiteX2" fmla="*/ 803910 w 944880"/>
                <a:gd name="connsiteY2" fmla="*/ 19050 h 579120"/>
                <a:gd name="connsiteX3" fmla="*/ 944880 w 944880"/>
                <a:gd name="connsiteY3" fmla="*/ 144780 h 579120"/>
                <a:gd name="connsiteX4" fmla="*/ 521970 w 944880"/>
                <a:gd name="connsiteY4" fmla="*/ 148590 h 579120"/>
                <a:gd name="connsiteX5" fmla="*/ 449580 w 944880"/>
                <a:gd name="connsiteY5" fmla="*/ 308610 h 579120"/>
                <a:gd name="connsiteX6" fmla="*/ 628650 w 944880"/>
                <a:gd name="connsiteY6" fmla="*/ 320040 h 579120"/>
                <a:gd name="connsiteX7" fmla="*/ 838200 w 944880"/>
                <a:gd name="connsiteY7" fmla="*/ 331470 h 579120"/>
                <a:gd name="connsiteX8" fmla="*/ 807720 w 944880"/>
                <a:gd name="connsiteY8" fmla="*/ 483870 h 579120"/>
                <a:gd name="connsiteX9" fmla="*/ 685800 w 944880"/>
                <a:gd name="connsiteY9" fmla="*/ 495300 h 579120"/>
                <a:gd name="connsiteX10" fmla="*/ 502920 w 944880"/>
                <a:gd name="connsiteY10" fmla="*/ 499110 h 579120"/>
                <a:gd name="connsiteX11" fmla="*/ 339090 w 944880"/>
                <a:gd name="connsiteY11" fmla="*/ 575310 h 579120"/>
                <a:gd name="connsiteX12" fmla="*/ 194310 w 944880"/>
                <a:gd name="connsiteY12" fmla="*/ 579120 h 579120"/>
                <a:gd name="connsiteX13" fmla="*/ 7620 w 944880"/>
                <a:gd name="connsiteY13" fmla="*/ 575310 h 579120"/>
                <a:gd name="connsiteX14" fmla="*/ 0 w 944880"/>
                <a:gd name="connsiteY14" fmla="*/ 198120 h 579120"/>
                <a:gd name="connsiteX15" fmla="*/ 114300 w 944880"/>
                <a:gd name="connsiteY15" fmla="*/ 194310 h 579120"/>
                <a:gd name="connsiteX0" fmla="*/ 114300 w 944880"/>
                <a:gd name="connsiteY0" fmla="*/ 194310 h 579120"/>
                <a:gd name="connsiteX1" fmla="*/ 441960 w 944880"/>
                <a:gd name="connsiteY1" fmla="*/ 0 h 579120"/>
                <a:gd name="connsiteX2" fmla="*/ 803910 w 944880"/>
                <a:gd name="connsiteY2" fmla="*/ 19050 h 579120"/>
                <a:gd name="connsiteX3" fmla="*/ 876300 w 944880"/>
                <a:gd name="connsiteY3" fmla="*/ 60960 h 579120"/>
                <a:gd name="connsiteX4" fmla="*/ 944880 w 944880"/>
                <a:gd name="connsiteY4" fmla="*/ 144780 h 579120"/>
                <a:gd name="connsiteX5" fmla="*/ 521970 w 944880"/>
                <a:gd name="connsiteY5" fmla="*/ 148590 h 579120"/>
                <a:gd name="connsiteX6" fmla="*/ 449580 w 944880"/>
                <a:gd name="connsiteY6" fmla="*/ 308610 h 579120"/>
                <a:gd name="connsiteX7" fmla="*/ 628650 w 944880"/>
                <a:gd name="connsiteY7" fmla="*/ 320040 h 579120"/>
                <a:gd name="connsiteX8" fmla="*/ 838200 w 944880"/>
                <a:gd name="connsiteY8" fmla="*/ 331470 h 579120"/>
                <a:gd name="connsiteX9" fmla="*/ 807720 w 944880"/>
                <a:gd name="connsiteY9" fmla="*/ 483870 h 579120"/>
                <a:gd name="connsiteX10" fmla="*/ 685800 w 944880"/>
                <a:gd name="connsiteY10" fmla="*/ 495300 h 579120"/>
                <a:gd name="connsiteX11" fmla="*/ 502920 w 944880"/>
                <a:gd name="connsiteY11" fmla="*/ 499110 h 579120"/>
                <a:gd name="connsiteX12" fmla="*/ 339090 w 944880"/>
                <a:gd name="connsiteY12" fmla="*/ 575310 h 579120"/>
                <a:gd name="connsiteX13" fmla="*/ 194310 w 944880"/>
                <a:gd name="connsiteY13" fmla="*/ 579120 h 579120"/>
                <a:gd name="connsiteX14" fmla="*/ 7620 w 944880"/>
                <a:gd name="connsiteY14" fmla="*/ 575310 h 579120"/>
                <a:gd name="connsiteX15" fmla="*/ 0 w 944880"/>
                <a:gd name="connsiteY15" fmla="*/ 198120 h 579120"/>
                <a:gd name="connsiteX16" fmla="*/ 114300 w 944880"/>
                <a:gd name="connsiteY16" fmla="*/ 194310 h 579120"/>
                <a:gd name="connsiteX0" fmla="*/ 114300 w 944880"/>
                <a:gd name="connsiteY0" fmla="*/ 194310 h 579120"/>
                <a:gd name="connsiteX1" fmla="*/ 441960 w 944880"/>
                <a:gd name="connsiteY1" fmla="*/ 0 h 579120"/>
                <a:gd name="connsiteX2" fmla="*/ 803910 w 944880"/>
                <a:gd name="connsiteY2" fmla="*/ 19050 h 579120"/>
                <a:gd name="connsiteX3" fmla="*/ 876300 w 944880"/>
                <a:gd name="connsiteY3" fmla="*/ 60960 h 579120"/>
                <a:gd name="connsiteX4" fmla="*/ 944880 w 944880"/>
                <a:gd name="connsiteY4" fmla="*/ 144780 h 579120"/>
                <a:gd name="connsiteX5" fmla="*/ 521970 w 944880"/>
                <a:gd name="connsiteY5" fmla="*/ 148590 h 579120"/>
                <a:gd name="connsiteX6" fmla="*/ 449580 w 944880"/>
                <a:gd name="connsiteY6" fmla="*/ 308610 h 579120"/>
                <a:gd name="connsiteX7" fmla="*/ 628650 w 944880"/>
                <a:gd name="connsiteY7" fmla="*/ 320040 h 579120"/>
                <a:gd name="connsiteX8" fmla="*/ 838200 w 944880"/>
                <a:gd name="connsiteY8" fmla="*/ 331470 h 579120"/>
                <a:gd name="connsiteX9" fmla="*/ 807720 w 944880"/>
                <a:gd name="connsiteY9" fmla="*/ 483870 h 579120"/>
                <a:gd name="connsiteX10" fmla="*/ 685800 w 944880"/>
                <a:gd name="connsiteY10" fmla="*/ 495300 h 579120"/>
                <a:gd name="connsiteX11" fmla="*/ 502920 w 944880"/>
                <a:gd name="connsiteY11" fmla="*/ 499110 h 579120"/>
                <a:gd name="connsiteX12" fmla="*/ 339090 w 944880"/>
                <a:gd name="connsiteY12" fmla="*/ 575310 h 579120"/>
                <a:gd name="connsiteX13" fmla="*/ 194310 w 944880"/>
                <a:gd name="connsiteY13" fmla="*/ 579120 h 579120"/>
                <a:gd name="connsiteX14" fmla="*/ 7620 w 944880"/>
                <a:gd name="connsiteY14" fmla="*/ 575310 h 579120"/>
                <a:gd name="connsiteX15" fmla="*/ 0 w 944880"/>
                <a:gd name="connsiteY15" fmla="*/ 198120 h 579120"/>
                <a:gd name="connsiteX16" fmla="*/ 114300 w 944880"/>
                <a:gd name="connsiteY16" fmla="*/ 194310 h 579120"/>
                <a:gd name="connsiteX0" fmla="*/ 114300 w 944880"/>
                <a:gd name="connsiteY0" fmla="*/ 203244 h 588054"/>
                <a:gd name="connsiteX1" fmla="*/ 441960 w 944880"/>
                <a:gd name="connsiteY1" fmla="*/ 8934 h 588054"/>
                <a:gd name="connsiteX2" fmla="*/ 803910 w 944880"/>
                <a:gd name="connsiteY2" fmla="*/ 27984 h 588054"/>
                <a:gd name="connsiteX3" fmla="*/ 876300 w 944880"/>
                <a:gd name="connsiteY3" fmla="*/ 69894 h 588054"/>
                <a:gd name="connsiteX4" fmla="*/ 944880 w 944880"/>
                <a:gd name="connsiteY4" fmla="*/ 153714 h 588054"/>
                <a:gd name="connsiteX5" fmla="*/ 521970 w 944880"/>
                <a:gd name="connsiteY5" fmla="*/ 157524 h 588054"/>
                <a:gd name="connsiteX6" fmla="*/ 449580 w 944880"/>
                <a:gd name="connsiteY6" fmla="*/ 317544 h 588054"/>
                <a:gd name="connsiteX7" fmla="*/ 628650 w 944880"/>
                <a:gd name="connsiteY7" fmla="*/ 328974 h 588054"/>
                <a:gd name="connsiteX8" fmla="*/ 838200 w 944880"/>
                <a:gd name="connsiteY8" fmla="*/ 340404 h 588054"/>
                <a:gd name="connsiteX9" fmla="*/ 807720 w 944880"/>
                <a:gd name="connsiteY9" fmla="*/ 492804 h 588054"/>
                <a:gd name="connsiteX10" fmla="*/ 685800 w 944880"/>
                <a:gd name="connsiteY10" fmla="*/ 504234 h 588054"/>
                <a:gd name="connsiteX11" fmla="*/ 502920 w 944880"/>
                <a:gd name="connsiteY11" fmla="*/ 508044 h 588054"/>
                <a:gd name="connsiteX12" fmla="*/ 339090 w 944880"/>
                <a:gd name="connsiteY12" fmla="*/ 584244 h 588054"/>
                <a:gd name="connsiteX13" fmla="*/ 194310 w 944880"/>
                <a:gd name="connsiteY13" fmla="*/ 588054 h 588054"/>
                <a:gd name="connsiteX14" fmla="*/ 7620 w 944880"/>
                <a:gd name="connsiteY14" fmla="*/ 584244 h 588054"/>
                <a:gd name="connsiteX15" fmla="*/ 0 w 944880"/>
                <a:gd name="connsiteY15" fmla="*/ 207054 h 588054"/>
                <a:gd name="connsiteX16" fmla="*/ 114300 w 944880"/>
                <a:gd name="connsiteY16" fmla="*/ 203244 h 588054"/>
                <a:gd name="connsiteX0" fmla="*/ 114300 w 944880"/>
                <a:gd name="connsiteY0" fmla="*/ 203244 h 588054"/>
                <a:gd name="connsiteX1" fmla="*/ 441960 w 944880"/>
                <a:gd name="connsiteY1" fmla="*/ 8934 h 588054"/>
                <a:gd name="connsiteX2" fmla="*/ 803910 w 944880"/>
                <a:gd name="connsiteY2" fmla="*/ 27984 h 588054"/>
                <a:gd name="connsiteX3" fmla="*/ 876300 w 944880"/>
                <a:gd name="connsiteY3" fmla="*/ 69894 h 588054"/>
                <a:gd name="connsiteX4" fmla="*/ 944880 w 944880"/>
                <a:gd name="connsiteY4" fmla="*/ 153714 h 588054"/>
                <a:gd name="connsiteX5" fmla="*/ 521970 w 944880"/>
                <a:gd name="connsiteY5" fmla="*/ 157524 h 588054"/>
                <a:gd name="connsiteX6" fmla="*/ 449580 w 944880"/>
                <a:gd name="connsiteY6" fmla="*/ 317544 h 588054"/>
                <a:gd name="connsiteX7" fmla="*/ 628650 w 944880"/>
                <a:gd name="connsiteY7" fmla="*/ 328974 h 588054"/>
                <a:gd name="connsiteX8" fmla="*/ 838200 w 944880"/>
                <a:gd name="connsiteY8" fmla="*/ 340404 h 588054"/>
                <a:gd name="connsiteX9" fmla="*/ 807720 w 944880"/>
                <a:gd name="connsiteY9" fmla="*/ 492804 h 588054"/>
                <a:gd name="connsiteX10" fmla="*/ 685800 w 944880"/>
                <a:gd name="connsiteY10" fmla="*/ 504234 h 588054"/>
                <a:gd name="connsiteX11" fmla="*/ 502920 w 944880"/>
                <a:gd name="connsiteY11" fmla="*/ 508044 h 588054"/>
                <a:gd name="connsiteX12" fmla="*/ 339090 w 944880"/>
                <a:gd name="connsiteY12" fmla="*/ 584244 h 588054"/>
                <a:gd name="connsiteX13" fmla="*/ 194310 w 944880"/>
                <a:gd name="connsiteY13" fmla="*/ 588054 h 588054"/>
                <a:gd name="connsiteX14" fmla="*/ 7620 w 944880"/>
                <a:gd name="connsiteY14" fmla="*/ 584244 h 588054"/>
                <a:gd name="connsiteX15" fmla="*/ 0 w 944880"/>
                <a:gd name="connsiteY15" fmla="*/ 207054 h 588054"/>
                <a:gd name="connsiteX16" fmla="*/ 114300 w 944880"/>
                <a:gd name="connsiteY16" fmla="*/ 203244 h 588054"/>
                <a:gd name="connsiteX0" fmla="*/ 160020 w 944880"/>
                <a:gd name="connsiteY0" fmla="*/ 203244 h 588054"/>
                <a:gd name="connsiteX1" fmla="*/ 441960 w 944880"/>
                <a:gd name="connsiteY1" fmla="*/ 8934 h 588054"/>
                <a:gd name="connsiteX2" fmla="*/ 803910 w 944880"/>
                <a:gd name="connsiteY2" fmla="*/ 27984 h 588054"/>
                <a:gd name="connsiteX3" fmla="*/ 876300 w 944880"/>
                <a:gd name="connsiteY3" fmla="*/ 69894 h 588054"/>
                <a:gd name="connsiteX4" fmla="*/ 944880 w 944880"/>
                <a:gd name="connsiteY4" fmla="*/ 153714 h 588054"/>
                <a:gd name="connsiteX5" fmla="*/ 521970 w 944880"/>
                <a:gd name="connsiteY5" fmla="*/ 157524 h 588054"/>
                <a:gd name="connsiteX6" fmla="*/ 449580 w 944880"/>
                <a:gd name="connsiteY6" fmla="*/ 317544 h 588054"/>
                <a:gd name="connsiteX7" fmla="*/ 628650 w 944880"/>
                <a:gd name="connsiteY7" fmla="*/ 328974 h 588054"/>
                <a:gd name="connsiteX8" fmla="*/ 838200 w 944880"/>
                <a:gd name="connsiteY8" fmla="*/ 340404 h 588054"/>
                <a:gd name="connsiteX9" fmla="*/ 807720 w 944880"/>
                <a:gd name="connsiteY9" fmla="*/ 492804 h 588054"/>
                <a:gd name="connsiteX10" fmla="*/ 685800 w 944880"/>
                <a:gd name="connsiteY10" fmla="*/ 504234 h 588054"/>
                <a:gd name="connsiteX11" fmla="*/ 502920 w 944880"/>
                <a:gd name="connsiteY11" fmla="*/ 508044 h 588054"/>
                <a:gd name="connsiteX12" fmla="*/ 339090 w 944880"/>
                <a:gd name="connsiteY12" fmla="*/ 584244 h 588054"/>
                <a:gd name="connsiteX13" fmla="*/ 194310 w 944880"/>
                <a:gd name="connsiteY13" fmla="*/ 588054 h 588054"/>
                <a:gd name="connsiteX14" fmla="*/ 7620 w 944880"/>
                <a:gd name="connsiteY14" fmla="*/ 584244 h 588054"/>
                <a:gd name="connsiteX15" fmla="*/ 0 w 944880"/>
                <a:gd name="connsiteY15" fmla="*/ 207054 h 588054"/>
                <a:gd name="connsiteX16" fmla="*/ 160020 w 944880"/>
                <a:gd name="connsiteY16" fmla="*/ 203244 h 588054"/>
                <a:gd name="connsiteX0" fmla="*/ 167640 w 944880"/>
                <a:gd name="connsiteY0" fmla="*/ 165144 h 588054"/>
                <a:gd name="connsiteX1" fmla="*/ 441960 w 944880"/>
                <a:gd name="connsiteY1" fmla="*/ 8934 h 588054"/>
                <a:gd name="connsiteX2" fmla="*/ 803910 w 944880"/>
                <a:gd name="connsiteY2" fmla="*/ 27984 h 588054"/>
                <a:gd name="connsiteX3" fmla="*/ 876300 w 944880"/>
                <a:gd name="connsiteY3" fmla="*/ 69894 h 588054"/>
                <a:gd name="connsiteX4" fmla="*/ 944880 w 944880"/>
                <a:gd name="connsiteY4" fmla="*/ 153714 h 588054"/>
                <a:gd name="connsiteX5" fmla="*/ 521970 w 944880"/>
                <a:gd name="connsiteY5" fmla="*/ 157524 h 588054"/>
                <a:gd name="connsiteX6" fmla="*/ 449580 w 944880"/>
                <a:gd name="connsiteY6" fmla="*/ 317544 h 588054"/>
                <a:gd name="connsiteX7" fmla="*/ 628650 w 944880"/>
                <a:gd name="connsiteY7" fmla="*/ 328974 h 588054"/>
                <a:gd name="connsiteX8" fmla="*/ 838200 w 944880"/>
                <a:gd name="connsiteY8" fmla="*/ 340404 h 588054"/>
                <a:gd name="connsiteX9" fmla="*/ 807720 w 944880"/>
                <a:gd name="connsiteY9" fmla="*/ 492804 h 588054"/>
                <a:gd name="connsiteX10" fmla="*/ 685800 w 944880"/>
                <a:gd name="connsiteY10" fmla="*/ 504234 h 588054"/>
                <a:gd name="connsiteX11" fmla="*/ 502920 w 944880"/>
                <a:gd name="connsiteY11" fmla="*/ 508044 h 588054"/>
                <a:gd name="connsiteX12" fmla="*/ 339090 w 944880"/>
                <a:gd name="connsiteY12" fmla="*/ 584244 h 588054"/>
                <a:gd name="connsiteX13" fmla="*/ 194310 w 944880"/>
                <a:gd name="connsiteY13" fmla="*/ 588054 h 588054"/>
                <a:gd name="connsiteX14" fmla="*/ 7620 w 944880"/>
                <a:gd name="connsiteY14" fmla="*/ 584244 h 588054"/>
                <a:gd name="connsiteX15" fmla="*/ 0 w 944880"/>
                <a:gd name="connsiteY15" fmla="*/ 207054 h 588054"/>
                <a:gd name="connsiteX16" fmla="*/ 167640 w 944880"/>
                <a:gd name="connsiteY16" fmla="*/ 165144 h 588054"/>
                <a:gd name="connsiteX0" fmla="*/ 167640 w 944880"/>
                <a:gd name="connsiteY0" fmla="*/ 165144 h 588054"/>
                <a:gd name="connsiteX1" fmla="*/ 441960 w 944880"/>
                <a:gd name="connsiteY1" fmla="*/ 8934 h 588054"/>
                <a:gd name="connsiteX2" fmla="*/ 803910 w 944880"/>
                <a:gd name="connsiteY2" fmla="*/ 27984 h 588054"/>
                <a:gd name="connsiteX3" fmla="*/ 876300 w 944880"/>
                <a:gd name="connsiteY3" fmla="*/ 69894 h 588054"/>
                <a:gd name="connsiteX4" fmla="*/ 944880 w 944880"/>
                <a:gd name="connsiteY4" fmla="*/ 153714 h 588054"/>
                <a:gd name="connsiteX5" fmla="*/ 521970 w 944880"/>
                <a:gd name="connsiteY5" fmla="*/ 157524 h 588054"/>
                <a:gd name="connsiteX6" fmla="*/ 449580 w 944880"/>
                <a:gd name="connsiteY6" fmla="*/ 317544 h 588054"/>
                <a:gd name="connsiteX7" fmla="*/ 628650 w 944880"/>
                <a:gd name="connsiteY7" fmla="*/ 328974 h 588054"/>
                <a:gd name="connsiteX8" fmla="*/ 838200 w 944880"/>
                <a:gd name="connsiteY8" fmla="*/ 340404 h 588054"/>
                <a:gd name="connsiteX9" fmla="*/ 807720 w 944880"/>
                <a:gd name="connsiteY9" fmla="*/ 492804 h 588054"/>
                <a:gd name="connsiteX10" fmla="*/ 685800 w 944880"/>
                <a:gd name="connsiteY10" fmla="*/ 504234 h 588054"/>
                <a:gd name="connsiteX11" fmla="*/ 502920 w 944880"/>
                <a:gd name="connsiteY11" fmla="*/ 508044 h 588054"/>
                <a:gd name="connsiteX12" fmla="*/ 339090 w 944880"/>
                <a:gd name="connsiteY12" fmla="*/ 584244 h 588054"/>
                <a:gd name="connsiteX13" fmla="*/ 194310 w 944880"/>
                <a:gd name="connsiteY13" fmla="*/ 588054 h 588054"/>
                <a:gd name="connsiteX14" fmla="*/ 7620 w 944880"/>
                <a:gd name="connsiteY14" fmla="*/ 584244 h 588054"/>
                <a:gd name="connsiteX15" fmla="*/ 0 w 944880"/>
                <a:gd name="connsiteY15" fmla="*/ 207054 h 588054"/>
                <a:gd name="connsiteX16" fmla="*/ 167640 w 944880"/>
                <a:gd name="connsiteY16" fmla="*/ 165144 h 588054"/>
                <a:gd name="connsiteX0" fmla="*/ 167640 w 944880"/>
                <a:gd name="connsiteY0" fmla="*/ 165144 h 584244"/>
                <a:gd name="connsiteX1" fmla="*/ 441960 w 944880"/>
                <a:gd name="connsiteY1" fmla="*/ 8934 h 584244"/>
                <a:gd name="connsiteX2" fmla="*/ 803910 w 944880"/>
                <a:gd name="connsiteY2" fmla="*/ 27984 h 584244"/>
                <a:gd name="connsiteX3" fmla="*/ 876300 w 944880"/>
                <a:gd name="connsiteY3" fmla="*/ 69894 h 584244"/>
                <a:gd name="connsiteX4" fmla="*/ 944880 w 944880"/>
                <a:gd name="connsiteY4" fmla="*/ 153714 h 584244"/>
                <a:gd name="connsiteX5" fmla="*/ 521970 w 944880"/>
                <a:gd name="connsiteY5" fmla="*/ 157524 h 584244"/>
                <a:gd name="connsiteX6" fmla="*/ 449580 w 944880"/>
                <a:gd name="connsiteY6" fmla="*/ 317544 h 584244"/>
                <a:gd name="connsiteX7" fmla="*/ 628650 w 944880"/>
                <a:gd name="connsiteY7" fmla="*/ 328974 h 584244"/>
                <a:gd name="connsiteX8" fmla="*/ 838200 w 944880"/>
                <a:gd name="connsiteY8" fmla="*/ 340404 h 584244"/>
                <a:gd name="connsiteX9" fmla="*/ 807720 w 944880"/>
                <a:gd name="connsiteY9" fmla="*/ 492804 h 584244"/>
                <a:gd name="connsiteX10" fmla="*/ 685800 w 944880"/>
                <a:gd name="connsiteY10" fmla="*/ 504234 h 584244"/>
                <a:gd name="connsiteX11" fmla="*/ 502920 w 944880"/>
                <a:gd name="connsiteY11" fmla="*/ 508044 h 584244"/>
                <a:gd name="connsiteX12" fmla="*/ 339090 w 944880"/>
                <a:gd name="connsiteY12" fmla="*/ 584244 h 584244"/>
                <a:gd name="connsiteX13" fmla="*/ 7620 w 944880"/>
                <a:gd name="connsiteY13" fmla="*/ 584244 h 584244"/>
                <a:gd name="connsiteX14" fmla="*/ 0 w 944880"/>
                <a:gd name="connsiteY14" fmla="*/ 207054 h 584244"/>
                <a:gd name="connsiteX15" fmla="*/ 167640 w 944880"/>
                <a:gd name="connsiteY15" fmla="*/ 165144 h 584244"/>
                <a:gd name="connsiteX0" fmla="*/ 167640 w 944880"/>
                <a:gd name="connsiteY0" fmla="*/ 165144 h 594404"/>
                <a:gd name="connsiteX1" fmla="*/ 441960 w 944880"/>
                <a:gd name="connsiteY1" fmla="*/ 8934 h 594404"/>
                <a:gd name="connsiteX2" fmla="*/ 803910 w 944880"/>
                <a:gd name="connsiteY2" fmla="*/ 27984 h 594404"/>
                <a:gd name="connsiteX3" fmla="*/ 876300 w 944880"/>
                <a:gd name="connsiteY3" fmla="*/ 69894 h 594404"/>
                <a:gd name="connsiteX4" fmla="*/ 944880 w 944880"/>
                <a:gd name="connsiteY4" fmla="*/ 153714 h 594404"/>
                <a:gd name="connsiteX5" fmla="*/ 521970 w 944880"/>
                <a:gd name="connsiteY5" fmla="*/ 157524 h 594404"/>
                <a:gd name="connsiteX6" fmla="*/ 449580 w 944880"/>
                <a:gd name="connsiteY6" fmla="*/ 317544 h 594404"/>
                <a:gd name="connsiteX7" fmla="*/ 628650 w 944880"/>
                <a:gd name="connsiteY7" fmla="*/ 328974 h 594404"/>
                <a:gd name="connsiteX8" fmla="*/ 838200 w 944880"/>
                <a:gd name="connsiteY8" fmla="*/ 340404 h 594404"/>
                <a:gd name="connsiteX9" fmla="*/ 807720 w 944880"/>
                <a:gd name="connsiteY9" fmla="*/ 492804 h 594404"/>
                <a:gd name="connsiteX10" fmla="*/ 685800 w 944880"/>
                <a:gd name="connsiteY10" fmla="*/ 504234 h 594404"/>
                <a:gd name="connsiteX11" fmla="*/ 502920 w 944880"/>
                <a:gd name="connsiteY11" fmla="*/ 508044 h 594404"/>
                <a:gd name="connsiteX12" fmla="*/ 339090 w 944880"/>
                <a:gd name="connsiteY12" fmla="*/ 584244 h 594404"/>
                <a:gd name="connsiteX13" fmla="*/ 7620 w 944880"/>
                <a:gd name="connsiteY13" fmla="*/ 584244 h 594404"/>
                <a:gd name="connsiteX14" fmla="*/ 0 w 944880"/>
                <a:gd name="connsiteY14" fmla="*/ 207054 h 594404"/>
                <a:gd name="connsiteX15" fmla="*/ 167640 w 944880"/>
                <a:gd name="connsiteY15" fmla="*/ 165144 h 594404"/>
                <a:gd name="connsiteX0" fmla="*/ 167640 w 944880"/>
                <a:gd name="connsiteY0" fmla="*/ 165144 h 594404"/>
                <a:gd name="connsiteX1" fmla="*/ 441960 w 944880"/>
                <a:gd name="connsiteY1" fmla="*/ 8934 h 594404"/>
                <a:gd name="connsiteX2" fmla="*/ 803910 w 944880"/>
                <a:gd name="connsiteY2" fmla="*/ 27984 h 594404"/>
                <a:gd name="connsiteX3" fmla="*/ 876300 w 944880"/>
                <a:gd name="connsiteY3" fmla="*/ 69894 h 594404"/>
                <a:gd name="connsiteX4" fmla="*/ 944880 w 944880"/>
                <a:gd name="connsiteY4" fmla="*/ 153714 h 594404"/>
                <a:gd name="connsiteX5" fmla="*/ 521970 w 944880"/>
                <a:gd name="connsiteY5" fmla="*/ 157524 h 594404"/>
                <a:gd name="connsiteX6" fmla="*/ 449580 w 944880"/>
                <a:gd name="connsiteY6" fmla="*/ 317544 h 594404"/>
                <a:gd name="connsiteX7" fmla="*/ 628650 w 944880"/>
                <a:gd name="connsiteY7" fmla="*/ 328974 h 594404"/>
                <a:gd name="connsiteX8" fmla="*/ 838200 w 944880"/>
                <a:gd name="connsiteY8" fmla="*/ 340404 h 594404"/>
                <a:gd name="connsiteX9" fmla="*/ 807720 w 944880"/>
                <a:gd name="connsiteY9" fmla="*/ 492804 h 594404"/>
                <a:gd name="connsiteX10" fmla="*/ 685800 w 944880"/>
                <a:gd name="connsiteY10" fmla="*/ 504234 h 594404"/>
                <a:gd name="connsiteX11" fmla="*/ 502920 w 944880"/>
                <a:gd name="connsiteY11" fmla="*/ 508044 h 594404"/>
                <a:gd name="connsiteX12" fmla="*/ 339090 w 944880"/>
                <a:gd name="connsiteY12" fmla="*/ 584244 h 594404"/>
                <a:gd name="connsiteX13" fmla="*/ 7620 w 944880"/>
                <a:gd name="connsiteY13" fmla="*/ 584244 h 594404"/>
                <a:gd name="connsiteX14" fmla="*/ 0 w 944880"/>
                <a:gd name="connsiteY14" fmla="*/ 207054 h 594404"/>
                <a:gd name="connsiteX15" fmla="*/ 167640 w 944880"/>
                <a:gd name="connsiteY15" fmla="*/ 165144 h 594404"/>
                <a:gd name="connsiteX0" fmla="*/ 167640 w 944880"/>
                <a:gd name="connsiteY0" fmla="*/ 165144 h 584244"/>
                <a:gd name="connsiteX1" fmla="*/ 441960 w 944880"/>
                <a:gd name="connsiteY1" fmla="*/ 8934 h 584244"/>
                <a:gd name="connsiteX2" fmla="*/ 803910 w 944880"/>
                <a:gd name="connsiteY2" fmla="*/ 27984 h 584244"/>
                <a:gd name="connsiteX3" fmla="*/ 876300 w 944880"/>
                <a:gd name="connsiteY3" fmla="*/ 69894 h 584244"/>
                <a:gd name="connsiteX4" fmla="*/ 944880 w 944880"/>
                <a:gd name="connsiteY4" fmla="*/ 153714 h 584244"/>
                <a:gd name="connsiteX5" fmla="*/ 521970 w 944880"/>
                <a:gd name="connsiteY5" fmla="*/ 157524 h 584244"/>
                <a:gd name="connsiteX6" fmla="*/ 449580 w 944880"/>
                <a:gd name="connsiteY6" fmla="*/ 317544 h 584244"/>
                <a:gd name="connsiteX7" fmla="*/ 628650 w 944880"/>
                <a:gd name="connsiteY7" fmla="*/ 328974 h 584244"/>
                <a:gd name="connsiteX8" fmla="*/ 838200 w 944880"/>
                <a:gd name="connsiteY8" fmla="*/ 340404 h 584244"/>
                <a:gd name="connsiteX9" fmla="*/ 807720 w 944880"/>
                <a:gd name="connsiteY9" fmla="*/ 492804 h 584244"/>
                <a:gd name="connsiteX10" fmla="*/ 685800 w 944880"/>
                <a:gd name="connsiteY10" fmla="*/ 504234 h 584244"/>
                <a:gd name="connsiteX11" fmla="*/ 502920 w 944880"/>
                <a:gd name="connsiteY11" fmla="*/ 508044 h 584244"/>
                <a:gd name="connsiteX12" fmla="*/ 331470 w 944880"/>
                <a:gd name="connsiteY12" fmla="*/ 561384 h 584244"/>
                <a:gd name="connsiteX13" fmla="*/ 7620 w 944880"/>
                <a:gd name="connsiteY13" fmla="*/ 584244 h 584244"/>
                <a:gd name="connsiteX14" fmla="*/ 0 w 944880"/>
                <a:gd name="connsiteY14" fmla="*/ 207054 h 584244"/>
                <a:gd name="connsiteX15" fmla="*/ 167640 w 944880"/>
                <a:gd name="connsiteY15" fmla="*/ 165144 h 584244"/>
                <a:gd name="connsiteX0" fmla="*/ 167640 w 944880"/>
                <a:gd name="connsiteY0" fmla="*/ 165144 h 568207"/>
                <a:gd name="connsiteX1" fmla="*/ 441960 w 944880"/>
                <a:gd name="connsiteY1" fmla="*/ 8934 h 568207"/>
                <a:gd name="connsiteX2" fmla="*/ 803910 w 944880"/>
                <a:gd name="connsiteY2" fmla="*/ 27984 h 568207"/>
                <a:gd name="connsiteX3" fmla="*/ 876300 w 944880"/>
                <a:gd name="connsiteY3" fmla="*/ 69894 h 568207"/>
                <a:gd name="connsiteX4" fmla="*/ 944880 w 944880"/>
                <a:gd name="connsiteY4" fmla="*/ 153714 h 568207"/>
                <a:gd name="connsiteX5" fmla="*/ 521970 w 944880"/>
                <a:gd name="connsiteY5" fmla="*/ 157524 h 568207"/>
                <a:gd name="connsiteX6" fmla="*/ 449580 w 944880"/>
                <a:gd name="connsiteY6" fmla="*/ 317544 h 568207"/>
                <a:gd name="connsiteX7" fmla="*/ 628650 w 944880"/>
                <a:gd name="connsiteY7" fmla="*/ 328974 h 568207"/>
                <a:gd name="connsiteX8" fmla="*/ 838200 w 944880"/>
                <a:gd name="connsiteY8" fmla="*/ 340404 h 568207"/>
                <a:gd name="connsiteX9" fmla="*/ 807720 w 944880"/>
                <a:gd name="connsiteY9" fmla="*/ 492804 h 568207"/>
                <a:gd name="connsiteX10" fmla="*/ 685800 w 944880"/>
                <a:gd name="connsiteY10" fmla="*/ 504234 h 568207"/>
                <a:gd name="connsiteX11" fmla="*/ 502920 w 944880"/>
                <a:gd name="connsiteY11" fmla="*/ 508044 h 568207"/>
                <a:gd name="connsiteX12" fmla="*/ 331470 w 944880"/>
                <a:gd name="connsiteY12" fmla="*/ 561384 h 568207"/>
                <a:gd name="connsiteX13" fmla="*/ 3810 w 944880"/>
                <a:gd name="connsiteY13" fmla="*/ 542334 h 568207"/>
                <a:gd name="connsiteX14" fmla="*/ 0 w 944880"/>
                <a:gd name="connsiteY14" fmla="*/ 207054 h 568207"/>
                <a:gd name="connsiteX15" fmla="*/ 167640 w 944880"/>
                <a:gd name="connsiteY15" fmla="*/ 165144 h 568207"/>
                <a:gd name="connsiteX0" fmla="*/ 167640 w 944880"/>
                <a:gd name="connsiteY0" fmla="*/ 165144 h 568207"/>
                <a:gd name="connsiteX1" fmla="*/ 441960 w 944880"/>
                <a:gd name="connsiteY1" fmla="*/ 8934 h 568207"/>
                <a:gd name="connsiteX2" fmla="*/ 803910 w 944880"/>
                <a:gd name="connsiteY2" fmla="*/ 27984 h 568207"/>
                <a:gd name="connsiteX3" fmla="*/ 876300 w 944880"/>
                <a:gd name="connsiteY3" fmla="*/ 69894 h 568207"/>
                <a:gd name="connsiteX4" fmla="*/ 944880 w 944880"/>
                <a:gd name="connsiteY4" fmla="*/ 153714 h 568207"/>
                <a:gd name="connsiteX5" fmla="*/ 521970 w 944880"/>
                <a:gd name="connsiteY5" fmla="*/ 157524 h 568207"/>
                <a:gd name="connsiteX6" fmla="*/ 449580 w 944880"/>
                <a:gd name="connsiteY6" fmla="*/ 317544 h 568207"/>
                <a:gd name="connsiteX7" fmla="*/ 628650 w 944880"/>
                <a:gd name="connsiteY7" fmla="*/ 328974 h 568207"/>
                <a:gd name="connsiteX8" fmla="*/ 838200 w 944880"/>
                <a:gd name="connsiteY8" fmla="*/ 340404 h 568207"/>
                <a:gd name="connsiteX9" fmla="*/ 807720 w 944880"/>
                <a:gd name="connsiteY9" fmla="*/ 492804 h 568207"/>
                <a:gd name="connsiteX10" fmla="*/ 685800 w 944880"/>
                <a:gd name="connsiteY10" fmla="*/ 504234 h 568207"/>
                <a:gd name="connsiteX11" fmla="*/ 502920 w 944880"/>
                <a:gd name="connsiteY11" fmla="*/ 508044 h 568207"/>
                <a:gd name="connsiteX12" fmla="*/ 331470 w 944880"/>
                <a:gd name="connsiteY12" fmla="*/ 561384 h 568207"/>
                <a:gd name="connsiteX13" fmla="*/ 3810 w 944880"/>
                <a:gd name="connsiteY13" fmla="*/ 542334 h 568207"/>
                <a:gd name="connsiteX14" fmla="*/ 0 w 944880"/>
                <a:gd name="connsiteY14" fmla="*/ 207054 h 568207"/>
                <a:gd name="connsiteX15" fmla="*/ 167640 w 944880"/>
                <a:gd name="connsiteY15" fmla="*/ 165144 h 568207"/>
                <a:gd name="connsiteX0" fmla="*/ 167640 w 944880"/>
                <a:gd name="connsiteY0" fmla="*/ 165144 h 568207"/>
                <a:gd name="connsiteX1" fmla="*/ 441960 w 944880"/>
                <a:gd name="connsiteY1" fmla="*/ 8934 h 568207"/>
                <a:gd name="connsiteX2" fmla="*/ 803910 w 944880"/>
                <a:gd name="connsiteY2" fmla="*/ 27984 h 568207"/>
                <a:gd name="connsiteX3" fmla="*/ 876300 w 944880"/>
                <a:gd name="connsiteY3" fmla="*/ 69894 h 568207"/>
                <a:gd name="connsiteX4" fmla="*/ 944880 w 944880"/>
                <a:gd name="connsiteY4" fmla="*/ 153714 h 568207"/>
                <a:gd name="connsiteX5" fmla="*/ 521970 w 944880"/>
                <a:gd name="connsiteY5" fmla="*/ 157524 h 568207"/>
                <a:gd name="connsiteX6" fmla="*/ 449580 w 944880"/>
                <a:gd name="connsiteY6" fmla="*/ 317544 h 568207"/>
                <a:gd name="connsiteX7" fmla="*/ 628650 w 944880"/>
                <a:gd name="connsiteY7" fmla="*/ 328974 h 568207"/>
                <a:gd name="connsiteX8" fmla="*/ 838200 w 944880"/>
                <a:gd name="connsiteY8" fmla="*/ 340404 h 568207"/>
                <a:gd name="connsiteX9" fmla="*/ 807720 w 944880"/>
                <a:gd name="connsiteY9" fmla="*/ 492804 h 568207"/>
                <a:gd name="connsiteX10" fmla="*/ 685800 w 944880"/>
                <a:gd name="connsiteY10" fmla="*/ 504234 h 568207"/>
                <a:gd name="connsiteX11" fmla="*/ 502920 w 944880"/>
                <a:gd name="connsiteY11" fmla="*/ 508044 h 568207"/>
                <a:gd name="connsiteX12" fmla="*/ 331470 w 944880"/>
                <a:gd name="connsiteY12" fmla="*/ 561384 h 568207"/>
                <a:gd name="connsiteX13" fmla="*/ 3810 w 944880"/>
                <a:gd name="connsiteY13" fmla="*/ 542334 h 568207"/>
                <a:gd name="connsiteX14" fmla="*/ 0 w 944880"/>
                <a:gd name="connsiteY14" fmla="*/ 207054 h 568207"/>
                <a:gd name="connsiteX15" fmla="*/ 167640 w 944880"/>
                <a:gd name="connsiteY15" fmla="*/ 165144 h 568207"/>
                <a:gd name="connsiteX0" fmla="*/ 167640 w 944880"/>
                <a:gd name="connsiteY0" fmla="*/ 165144 h 568207"/>
                <a:gd name="connsiteX1" fmla="*/ 441960 w 944880"/>
                <a:gd name="connsiteY1" fmla="*/ 8934 h 568207"/>
                <a:gd name="connsiteX2" fmla="*/ 803910 w 944880"/>
                <a:gd name="connsiteY2" fmla="*/ 27984 h 568207"/>
                <a:gd name="connsiteX3" fmla="*/ 876300 w 944880"/>
                <a:gd name="connsiteY3" fmla="*/ 69894 h 568207"/>
                <a:gd name="connsiteX4" fmla="*/ 944880 w 944880"/>
                <a:gd name="connsiteY4" fmla="*/ 153714 h 568207"/>
                <a:gd name="connsiteX5" fmla="*/ 521970 w 944880"/>
                <a:gd name="connsiteY5" fmla="*/ 157524 h 568207"/>
                <a:gd name="connsiteX6" fmla="*/ 449580 w 944880"/>
                <a:gd name="connsiteY6" fmla="*/ 317544 h 568207"/>
                <a:gd name="connsiteX7" fmla="*/ 628650 w 944880"/>
                <a:gd name="connsiteY7" fmla="*/ 328974 h 568207"/>
                <a:gd name="connsiteX8" fmla="*/ 838200 w 944880"/>
                <a:gd name="connsiteY8" fmla="*/ 340404 h 568207"/>
                <a:gd name="connsiteX9" fmla="*/ 807720 w 944880"/>
                <a:gd name="connsiteY9" fmla="*/ 492804 h 568207"/>
                <a:gd name="connsiteX10" fmla="*/ 685800 w 944880"/>
                <a:gd name="connsiteY10" fmla="*/ 504234 h 568207"/>
                <a:gd name="connsiteX11" fmla="*/ 502920 w 944880"/>
                <a:gd name="connsiteY11" fmla="*/ 508044 h 568207"/>
                <a:gd name="connsiteX12" fmla="*/ 331470 w 944880"/>
                <a:gd name="connsiteY12" fmla="*/ 561384 h 568207"/>
                <a:gd name="connsiteX13" fmla="*/ 3810 w 944880"/>
                <a:gd name="connsiteY13" fmla="*/ 542334 h 568207"/>
                <a:gd name="connsiteX14" fmla="*/ 0 w 944880"/>
                <a:gd name="connsiteY14" fmla="*/ 207054 h 568207"/>
                <a:gd name="connsiteX15" fmla="*/ 167640 w 944880"/>
                <a:gd name="connsiteY15" fmla="*/ 165144 h 568207"/>
                <a:gd name="connsiteX0" fmla="*/ 167640 w 944880"/>
                <a:gd name="connsiteY0" fmla="*/ 165144 h 568207"/>
                <a:gd name="connsiteX1" fmla="*/ 441960 w 944880"/>
                <a:gd name="connsiteY1" fmla="*/ 8934 h 568207"/>
                <a:gd name="connsiteX2" fmla="*/ 803910 w 944880"/>
                <a:gd name="connsiteY2" fmla="*/ 27984 h 568207"/>
                <a:gd name="connsiteX3" fmla="*/ 876300 w 944880"/>
                <a:gd name="connsiteY3" fmla="*/ 69894 h 568207"/>
                <a:gd name="connsiteX4" fmla="*/ 944880 w 944880"/>
                <a:gd name="connsiteY4" fmla="*/ 153714 h 568207"/>
                <a:gd name="connsiteX5" fmla="*/ 521970 w 944880"/>
                <a:gd name="connsiteY5" fmla="*/ 149890 h 568207"/>
                <a:gd name="connsiteX6" fmla="*/ 449580 w 944880"/>
                <a:gd name="connsiteY6" fmla="*/ 317544 h 568207"/>
                <a:gd name="connsiteX7" fmla="*/ 628650 w 944880"/>
                <a:gd name="connsiteY7" fmla="*/ 328974 h 568207"/>
                <a:gd name="connsiteX8" fmla="*/ 838200 w 944880"/>
                <a:gd name="connsiteY8" fmla="*/ 340404 h 568207"/>
                <a:gd name="connsiteX9" fmla="*/ 807720 w 944880"/>
                <a:gd name="connsiteY9" fmla="*/ 492804 h 568207"/>
                <a:gd name="connsiteX10" fmla="*/ 685800 w 944880"/>
                <a:gd name="connsiteY10" fmla="*/ 504234 h 568207"/>
                <a:gd name="connsiteX11" fmla="*/ 502920 w 944880"/>
                <a:gd name="connsiteY11" fmla="*/ 508044 h 568207"/>
                <a:gd name="connsiteX12" fmla="*/ 331470 w 944880"/>
                <a:gd name="connsiteY12" fmla="*/ 561384 h 568207"/>
                <a:gd name="connsiteX13" fmla="*/ 3810 w 944880"/>
                <a:gd name="connsiteY13" fmla="*/ 542334 h 568207"/>
                <a:gd name="connsiteX14" fmla="*/ 0 w 944880"/>
                <a:gd name="connsiteY14" fmla="*/ 207054 h 568207"/>
                <a:gd name="connsiteX15" fmla="*/ 167640 w 944880"/>
                <a:gd name="connsiteY15" fmla="*/ 165144 h 568207"/>
                <a:gd name="connsiteX0" fmla="*/ 167640 w 934702"/>
                <a:gd name="connsiteY0" fmla="*/ 165144 h 568207"/>
                <a:gd name="connsiteX1" fmla="*/ 441960 w 934702"/>
                <a:gd name="connsiteY1" fmla="*/ 8934 h 568207"/>
                <a:gd name="connsiteX2" fmla="*/ 803910 w 934702"/>
                <a:gd name="connsiteY2" fmla="*/ 27984 h 568207"/>
                <a:gd name="connsiteX3" fmla="*/ 876300 w 934702"/>
                <a:gd name="connsiteY3" fmla="*/ 69894 h 568207"/>
                <a:gd name="connsiteX4" fmla="*/ 934702 w 934702"/>
                <a:gd name="connsiteY4" fmla="*/ 146081 h 568207"/>
                <a:gd name="connsiteX5" fmla="*/ 521970 w 934702"/>
                <a:gd name="connsiteY5" fmla="*/ 149890 h 568207"/>
                <a:gd name="connsiteX6" fmla="*/ 449580 w 934702"/>
                <a:gd name="connsiteY6" fmla="*/ 317544 h 568207"/>
                <a:gd name="connsiteX7" fmla="*/ 628650 w 934702"/>
                <a:gd name="connsiteY7" fmla="*/ 328974 h 568207"/>
                <a:gd name="connsiteX8" fmla="*/ 838200 w 934702"/>
                <a:gd name="connsiteY8" fmla="*/ 340404 h 568207"/>
                <a:gd name="connsiteX9" fmla="*/ 807720 w 934702"/>
                <a:gd name="connsiteY9" fmla="*/ 492804 h 568207"/>
                <a:gd name="connsiteX10" fmla="*/ 685800 w 934702"/>
                <a:gd name="connsiteY10" fmla="*/ 504234 h 568207"/>
                <a:gd name="connsiteX11" fmla="*/ 502920 w 934702"/>
                <a:gd name="connsiteY11" fmla="*/ 508044 h 568207"/>
                <a:gd name="connsiteX12" fmla="*/ 331470 w 934702"/>
                <a:gd name="connsiteY12" fmla="*/ 561384 h 568207"/>
                <a:gd name="connsiteX13" fmla="*/ 3810 w 934702"/>
                <a:gd name="connsiteY13" fmla="*/ 542334 h 568207"/>
                <a:gd name="connsiteX14" fmla="*/ 0 w 934702"/>
                <a:gd name="connsiteY14" fmla="*/ 207054 h 568207"/>
                <a:gd name="connsiteX15" fmla="*/ 167640 w 934702"/>
                <a:gd name="connsiteY15" fmla="*/ 165144 h 568207"/>
                <a:gd name="connsiteX0" fmla="*/ 167640 w 934702"/>
                <a:gd name="connsiteY0" fmla="*/ 165144 h 568207"/>
                <a:gd name="connsiteX1" fmla="*/ 441960 w 934702"/>
                <a:gd name="connsiteY1" fmla="*/ 8934 h 568207"/>
                <a:gd name="connsiteX2" fmla="*/ 803910 w 934702"/>
                <a:gd name="connsiteY2" fmla="*/ 27984 h 568207"/>
                <a:gd name="connsiteX3" fmla="*/ 876300 w 934702"/>
                <a:gd name="connsiteY3" fmla="*/ 69894 h 568207"/>
                <a:gd name="connsiteX4" fmla="*/ 934702 w 934702"/>
                <a:gd name="connsiteY4" fmla="*/ 146081 h 568207"/>
                <a:gd name="connsiteX5" fmla="*/ 527059 w 934702"/>
                <a:gd name="connsiteY5" fmla="*/ 137168 h 568207"/>
                <a:gd name="connsiteX6" fmla="*/ 449580 w 934702"/>
                <a:gd name="connsiteY6" fmla="*/ 317544 h 568207"/>
                <a:gd name="connsiteX7" fmla="*/ 628650 w 934702"/>
                <a:gd name="connsiteY7" fmla="*/ 328974 h 568207"/>
                <a:gd name="connsiteX8" fmla="*/ 838200 w 934702"/>
                <a:gd name="connsiteY8" fmla="*/ 340404 h 568207"/>
                <a:gd name="connsiteX9" fmla="*/ 807720 w 934702"/>
                <a:gd name="connsiteY9" fmla="*/ 492804 h 568207"/>
                <a:gd name="connsiteX10" fmla="*/ 685800 w 934702"/>
                <a:gd name="connsiteY10" fmla="*/ 504234 h 568207"/>
                <a:gd name="connsiteX11" fmla="*/ 502920 w 934702"/>
                <a:gd name="connsiteY11" fmla="*/ 508044 h 568207"/>
                <a:gd name="connsiteX12" fmla="*/ 331470 w 934702"/>
                <a:gd name="connsiteY12" fmla="*/ 561384 h 568207"/>
                <a:gd name="connsiteX13" fmla="*/ 3810 w 934702"/>
                <a:gd name="connsiteY13" fmla="*/ 542334 h 568207"/>
                <a:gd name="connsiteX14" fmla="*/ 0 w 934702"/>
                <a:gd name="connsiteY14" fmla="*/ 207054 h 568207"/>
                <a:gd name="connsiteX15" fmla="*/ 167640 w 934702"/>
                <a:gd name="connsiteY15" fmla="*/ 165144 h 568207"/>
                <a:gd name="connsiteX0" fmla="*/ 167640 w 934702"/>
                <a:gd name="connsiteY0" fmla="*/ 165144 h 568207"/>
                <a:gd name="connsiteX1" fmla="*/ 441960 w 934702"/>
                <a:gd name="connsiteY1" fmla="*/ 8934 h 568207"/>
                <a:gd name="connsiteX2" fmla="*/ 803910 w 934702"/>
                <a:gd name="connsiteY2" fmla="*/ 27984 h 568207"/>
                <a:gd name="connsiteX3" fmla="*/ 876300 w 934702"/>
                <a:gd name="connsiteY3" fmla="*/ 69894 h 568207"/>
                <a:gd name="connsiteX4" fmla="*/ 934702 w 934702"/>
                <a:gd name="connsiteY4" fmla="*/ 146081 h 568207"/>
                <a:gd name="connsiteX5" fmla="*/ 527059 w 934702"/>
                <a:gd name="connsiteY5" fmla="*/ 142257 h 568207"/>
                <a:gd name="connsiteX6" fmla="*/ 449580 w 934702"/>
                <a:gd name="connsiteY6" fmla="*/ 317544 h 568207"/>
                <a:gd name="connsiteX7" fmla="*/ 628650 w 934702"/>
                <a:gd name="connsiteY7" fmla="*/ 328974 h 568207"/>
                <a:gd name="connsiteX8" fmla="*/ 838200 w 934702"/>
                <a:gd name="connsiteY8" fmla="*/ 340404 h 568207"/>
                <a:gd name="connsiteX9" fmla="*/ 807720 w 934702"/>
                <a:gd name="connsiteY9" fmla="*/ 492804 h 568207"/>
                <a:gd name="connsiteX10" fmla="*/ 685800 w 934702"/>
                <a:gd name="connsiteY10" fmla="*/ 504234 h 568207"/>
                <a:gd name="connsiteX11" fmla="*/ 502920 w 934702"/>
                <a:gd name="connsiteY11" fmla="*/ 508044 h 568207"/>
                <a:gd name="connsiteX12" fmla="*/ 331470 w 934702"/>
                <a:gd name="connsiteY12" fmla="*/ 561384 h 568207"/>
                <a:gd name="connsiteX13" fmla="*/ 3810 w 934702"/>
                <a:gd name="connsiteY13" fmla="*/ 542334 h 568207"/>
                <a:gd name="connsiteX14" fmla="*/ 0 w 934702"/>
                <a:gd name="connsiteY14" fmla="*/ 207054 h 568207"/>
                <a:gd name="connsiteX15" fmla="*/ 167640 w 934702"/>
                <a:gd name="connsiteY15" fmla="*/ 165144 h 568207"/>
                <a:gd name="connsiteX0" fmla="*/ 167640 w 919435"/>
                <a:gd name="connsiteY0" fmla="*/ 165144 h 568207"/>
                <a:gd name="connsiteX1" fmla="*/ 441960 w 919435"/>
                <a:gd name="connsiteY1" fmla="*/ 8934 h 568207"/>
                <a:gd name="connsiteX2" fmla="*/ 803910 w 919435"/>
                <a:gd name="connsiteY2" fmla="*/ 27984 h 568207"/>
                <a:gd name="connsiteX3" fmla="*/ 876300 w 919435"/>
                <a:gd name="connsiteY3" fmla="*/ 69894 h 568207"/>
                <a:gd name="connsiteX4" fmla="*/ 919435 w 919435"/>
                <a:gd name="connsiteY4" fmla="*/ 133359 h 568207"/>
                <a:gd name="connsiteX5" fmla="*/ 527059 w 919435"/>
                <a:gd name="connsiteY5" fmla="*/ 142257 h 568207"/>
                <a:gd name="connsiteX6" fmla="*/ 449580 w 919435"/>
                <a:gd name="connsiteY6" fmla="*/ 317544 h 568207"/>
                <a:gd name="connsiteX7" fmla="*/ 628650 w 919435"/>
                <a:gd name="connsiteY7" fmla="*/ 328974 h 568207"/>
                <a:gd name="connsiteX8" fmla="*/ 838200 w 919435"/>
                <a:gd name="connsiteY8" fmla="*/ 340404 h 568207"/>
                <a:gd name="connsiteX9" fmla="*/ 807720 w 919435"/>
                <a:gd name="connsiteY9" fmla="*/ 492804 h 568207"/>
                <a:gd name="connsiteX10" fmla="*/ 685800 w 919435"/>
                <a:gd name="connsiteY10" fmla="*/ 504234 h 568207"/>
                <a:gd name="connsiteX11" fmla="*/ 502920 w 919435"/>
                <a:gd name="connsiteY11" fmla="*/ 508044 h 568207"/>
                <a:gd name="connsiteX12" fmla="*/ 331470 w 919435"/>
                <a:gd name="connsiteY12" fmla="*/ 561384 h 568207"/>
                <a:gd name="connsiteX13" fmla="*/ 3810 w 919435"/>
                <a:gd name="connsiteY13" fmla="*/ 542334 h 568207"/>
                <a:gd name="connsiteX14" fmla="*/ 0 w 919435"/>
                <a:gd name="connsiteY14" fmla="*/ 207054 h 568207"/>
                <a:gd name="connsiteX15" fmla="*/ 167640 w 919435"/>
                <a:gd name="connsiteY15" fmla="*/ 165144 h 568207"/>
                <a:gd name="connsiteX0" fmla="*/ 167640 w 914346"/>
                <a:gd name="connsiteY0" fmla="*/ 165144 h 568207"/>
                <a:gd name="connsiteX1" fmla="*/ 441960 w 914346"/>
                <a:gd name="connsiteY1" fmla="*/ 8934 h 568207"/>
                <a:gd name="connsiteX2" fmla="*/ 803910 w 914346"/>
                <a:gd name="connsiteY2" fmla="*/ 27984 h 568207"/>
                <a:gd name="connsiteX3" fmla="*/ 876300 w 914346"/>
                <a:gd name="connsiteY3" fmla="*/ 69894 h 568207"/>
                <a:gd name="connsiteX4" fmla="*/ 914346 w 914346"/>
                <a:gd name="connsiteY4" fmla="*/ 138448 h 568207"/>
                <a:gd name="connsiteX5" fmla="*/ 527059 w 914346"/>
                <a:gd name="connsiteY5" fmla="*/ 142257 h 568207"/>
                <a:gd name="connsiteX6" fmla="*/ 449580 w 914346"/>
                <a:gd name="connsiteY6" fmla="*/ 317544 h 568207"/>
                <a:gd name="connsiteX7" fmla="*/ 628650 w 914346"/>
                <a:gd name="connsiteY7" fmla="*/ 328974 h 568207"/>
                <a:gd name="connsiteX8" fmla="*/ 838200 w 914346"/>
                <a:gd name="connsiteY8" fmla="*/ 340404 h 568207"/>
                <a:gd name="connsiteX9" fmla="*/ 807720 w 914346"/>
                <a:gd name="connsiteY9" fmla="*/ 492804 h 568207"/>
                <a:gd name="connsiteX10" fmla="*/ 685800 w 914346"/>
                <a:gd name="connsiteY10" fmla="*/ 504234 h 568207"/>
                <a:gd name="connsiteX11" fmla="*/ 502920 w 914346"/>
                <a:gd name="connsiteY11" fmla="*/ 508044 h 568207"/>
                <a:gd name="connsiteX12" fmla="*/ 331470 w 914346"/>
                <a:gd name="connsiteY12" fmla="*/ 561384 h 568207"/>
                <a:gd name="connsiteX13" fmla="*/ 3810 w 914346"/>
                <a:gd name="connsiteY13" fmla="*/ 542334 h 568207"/>
                <a:gd name="connsiteX14" fmla="*/ 0 w 914346"/>
                <a:gd name="connsiteY14" fmla="*/ 207054 h 568207"/>
                <a:gd name="connsiteX15" fmla="*/ 167640 w 914346"/>
                <a:gd name="connsiteY15" fmla="*/ 165144 h 568207"/>
                <a:gd name="connsiteX0" fmla="*/ 167640 w 928153"/>
                <a:gd name="connsiteY0" fmla="*/ 165144 h 568207"/>
                <a:gd name="connsiteX1" fmla="*/ 441960 w 928153"/>
                <a:gd name="connsiteY1" fmla="*/ 8934 h 568207"/>
                <a:gd name="connsiteX2" fmla="*/ 803910 w 928153"/>
                <a:gd name="connsiteY2" fmla="*/ 27984 h 568207"/>
                <a:gd name="connsiteX3" fmla="*/ 914346 w 928153"/>
                <a:gd name="connsiteY3" fmla="*/ 138448 h 568207"/>
                <a:gd name="connsiteX4" fmla="*/ 527059 w 928153"/>
                <a:gd name="connsiteY4" fmla="*/ 142257 h 568207"/>
                <a:gd name="connsiteX5" fmla="*/ 449580 w 928153"/>
                <a:gd name="connsiteY5" fmla="*/ 317544 h 568207"/>
                <a:gd name="connsiteX6" fmla="*/ 628650 w 928153"/>
                <a:gd name="connsiteY6" fmla="*/ 328974 h 568207"/>
                <a:gd name="connsiteX7" fmla="*/ 838200 w 928153"/>
                <a:gd name="connsiteY7" fmla="*/ 340404 h 568207"/>
                <a:gd name="connsiteX8" fmla="*/ 807720 w 928153"/>
                <a:gd name="connsiteY8" fmla="*/ 492804 h 568207"/>
                <a:gd name="connsiteX9" fmla="*/ 685800 w 928153"/>
                <a:gd name="connsiteY9" fmla="*/ 504234 h 568207"/>
                <a:gd name="connsiteX10" fmla="*/ 502920 w 928153"/>
                <a:gd name="connsiteY10" fmla="*/ 508044 h 568207"/>
                <a:gd name="connsiteX11" fmla="*/ 331470 w 928153"/>
                <a:gd name="connsiteY11" fmla="*/ 561384 h 568207"/>
                <a:gd name="connsiteX12" fmla="*/ 3810 w 928153"/>
                <a:gd name="connsiteY12" fmla="*/ 542334 h 568207"/>
                <a:gd name="connsiteX13" fmla="*/ 0 w 928153"/>
                <a:gd name="connsiteY13" fmla="*/ 207054 h 568207"/>
                <a:gd name="connsiteX14" fmla="*/ 167640 w 928153"/>
                <a:gd name="connsiteY14" fmla="*/ 165144 h 568207"/>
                <a:gd name="connsiteX0" fmla="*/ 167640 w 901970"/>
                <a:gd name="connsiteY0" fmla="*/ 165144 h 568207"/>
                <a:gd name="connsiteX1" fmla="*/ 441960 w 901970"/>
                <a:gd name="connsiteY1" fmla="*/ 8934 h 568207"/>
                <a:gd name="connsiteX2" fmla="*/ 803910 w 901970"/>
                <a:gd name="connsiteY2" fmla="*/ 27984 h 568207"/>
                <a:gd name="connsiteX3" fmla="*/ 883813 w 901970"/>
                <a:gd name="connsiteY3" fmla="*/ 138448 h 568207"/>
                <a:gd name="connsiteX4" fmla="*/ 527059 w 901970"/>
                <a:gd name="connsiteY4" fmla="*/ 142257 h 568207"/>
                <a:gd name="connsiteX5" fmla="*/ 449580 w 901970"/>
                <a:gd name="connsiteY5" fmla="*/ 317544 h 568207"/>
                <a:gd name="connsiteX6" fmla="*/ 628650 w 901970"/>
                <a:gd name="connsiteY6" fmla="*/ 328974 h 568207"/>
                <a:gd name="connsiteX7" fmla="*/ 838200 w 901970"/>
                <a:gd name="connsiteY7" fmla="*/ 340404 h 568207"/>
                <a:gd name="connsiteX8" fmla="*/ 807720 w 901970"/>
                <a:gd name="connsiteY8" fmla="*/ 492804 h 568207"/>
                <a:gd name="connsiteX9" fmla="*/ 685800 w 901970"/>
                <a:gd name="connsiteY9" fmla="*/ 504234 h 568207"/>
                <a:gd name="connsiteX10" fmla="*/ 502920 w 901970"/>
                <a:gd name="connsiteY10" fmla="*/ 508044 h 568207"/>
                <a:gd name="connsiteX11" fmla="*/ 331470 w 901970"/>
                <a:gd name="connsiteY11" fmla="*/ 561384 h 568207"/>
                <a:gd name="connsiteX12" fmla="*/ 3810 w 901970"/>
                <a:gd name="connsiteY12" fmla="*/ 542334 h 568207"/>
                <a:gd name="connsiteX13" fmla="*/ 0 w 901970"/>
                <a:gd name="connsiteY13" fmla="*/ 207054 h 568207"/>
                <a:gd name="connsiteX14" fmla="*/ 167640 w 901970"/>
                <a:gd name="connsiteY14" fmla="*/ 165144 h 568207"/>
                <a:gd name="connsiteX0" fmla="*/ 167640 w 883813"/>
                <a:gd name="connsiteY0" fmla="*/ 165144 h 568207"/>
                <a:gd name="connsiteX1" fmla="*/ 441960 w 883813"/>
                <a:gd name="connsiteY1" fmla="*/ 8934 h 568207"/>
                <a:gd name="connsiteX2" fmla="*/ 803910 w 883813"/>
                <a:gd name="connsiteY2" fmla="*/ 27984 h 568207"/>
                <a:gd name="connsiteX3" fmla="*/ 883813 w 883813"/>
                <a:gd name="connsiteY3" fmla="*/ 138448 h 568207"/>
                <a:gd name="connsiteX4" fmla="*/ 527059 w 883813"/>
                <a:gd name="connsiteY4" fmla="*/ 142257 h 568207"/>
                <a:gd name="connsiteX5" fmla="*/ 449580 w 883813"/>
                <a:gd name="connsiteY5" fmla="*/ 317544 h 568207"/>
                <a:gd name="connsiteX6" fmla="*/ 628650 w 883813"/>
                <a:gd name="connsiteY6" fmla="*/ 328974 h 568207"/>
                <a:gd name="connsiteX7" fmla="*/ 838200 w 883813"/>
                <a:gd name="connsiteY7" fmla="*/ 340404 h 568207"/>
                <a:gd name="connsiteX8" fmla="*/ 807720 w 883813"/>
                <a:gd name="connsiteY8" fmla="*/ 492804 h 568207"/>
                <a:gd name="connsiteX9" fmla="*/ 685800 w 883813"/>
                <a:gd name="connsiteY9" fmla="*/ 504234 h 568207"/>
                <a:gd name="connsiteX10" fmla="*/ 502920 w 883813"/>
                <a:gd name="connsiteY10" fmla="*/ 508044 h 568207"/>
                <a:gd name="connsiteX11" fmla="*/ 331470 w 883813"/>
                <a:gd name="connsiteY11" fmla="*/ 561384 h 568207"/>
                <a:gd name="connsiteX12" fmla="*/ 3810 w 883813"/>
                <a:gd name="connsiteY12" fmla="*/ 542334 h 568207"/>
                <a:gd name="connsiteX13" fmla="*/ 0 w 883813"/>
                <a:gd name="connsiteY13" fmla="*/ 207054 h 568207"/>
                <a:gd name="connsiteX14" fmla="*/ 167640 w 883813"/>
                <a:gd name="connsiteY14" fmla="*/ 165144 h 568207"/>
                <a:gd name="connsiteX0" fmla="*/ 167640 w 883813"/>
                <a:gd name="connsiteY0" fmla="*/ 165760 h 568823"/>
                <a:gd name="connsiteX1" fmla="*/ 441960 w 883813"/>
                <a:gd name="connsiteY1" fmla="*/ 9550 h 568823"/>
                <a:gd name="connsiteX2" fmla="*/ 763199 w 883813"/>
                <a:gd name="connsiteY2" fmla="*/ 26055 h 568823"/>
                <a:gd name="connsiteX3" fmla="*/ 883813 w 883813"/>
                <a:gd name="connsiteY3" fmla="*/ 139064 h 568823"/>
                <a:gd name="connsiteX4" fmla="*/ 527059 w 883813"/>
                <a:gd name="connsiteY4" fmla="*/ 142873 h 568823"/>
                <a:gd name="connsiteX5" fmla="*/ 449580 w 883813"/>
                <a:gd name="connsiteY5" fmla="*/ 318160 h 568823"/>
                <a:gd name="connsiteX6" fmla="*/ 628650 w 883813"/>
                <a:gd name="connsiteY6" fmla="*/ 329590 h 568823"/>
                <a:gd name="connsiteX7" fmla="*/ 838200 w 883813"/>
                <a:gd name="connsiteY7" fmla="*/ 341020 h 568823"/>
                <a:gd name="connsiteX8" fmla="*/ 807720 w 883813"/>
                <a:gd name="connsiteY8" fmla="*/ 493420 h 568823"/>
                <a:gd name="connsiteX9" fmla="*/ 685800 w 883813"/>
                <a:gd name="connsiteY9" fmla="*/ 504850 h 568823"/>
                <a:gd name="connsiteX10" fmla="*/ 502920 w 883813"/>
                <a:gd name="connsiteY10" fmla="*/ 508660 h 568823"/>
                <a:gd name="connsiteX11" fmla="*/ 331470 w 883813"/>
                <a:gd name="connsiteY11" fmla="*/ 562000 h 568823"/>
                <a:gd name="connsiteX12" fmla="*/ 3810 w 883813"/>
                <a:gd name="connsiteY12" fmla="*/ 542950 h 568823"/>
                <a:gd name="connsiteX13" fmla="*/ 0 w 883813"/>
                <a:gd name="connsiteY13" fmla="*/ 207670 h 568823"/>
                <a:gd name="connsiteX14" fmla="*/ 167640 w 883813"/>
                <a:gd name="connsiteY14" fmla="*/ 165760 h 568823"/>
                <a:gd name="connsiteX0" fmla="*/ 167640 w 883813"/>
                <a:gd name="connsiteY0" fmla="*/ 168085 h 571148"/>
                <a:gd name="connsiteX1" fmla="*/ 441960 w 883813"/>
                <a:gd name="connsiteY1" fmla="*/ 11875 h 571148"/>
                <a:gd name="connsiteX2" fmla="*/ 796277 w 883813"/>
                <a:gd name="connsiteY2" fmla="*/ 20746 h 571148"/>
                <a:gd name="connsiteX3" fmla="*/ 883813 w 883813"/>
                <a:gd name="connsiteY3" fmla="*/ 141389 h 571148"/>
                <a:gd name="connsiteX4" fmla="*/ 527059 w 883813"/>
                <a:gd name="connsiteY4" fmla="*/ 145198 h 571148"/>
                <a:gd name="connsiteX5" fmla="*/ 449580 w 883813"/>
                <a:gd name="connsiteY5" fmla="*/ 320485 h 571148"/>
                <a:gd name="connsiteX6" fmla="*/ 628650 w 883813"/>
                <a:gd name="connsiteY6" fmla="*/ 331915 h 571148"/>
                <a:gd name="connsiteX7" fmla="*/ 838200 w 883813"/>
                <a:gd name="connsiteY7" fmla="*/ 343345 h 571148"/>
                <a:gd name="connsiteX8" fmla="*/ 807720 w 883813"/>
                <a:gd name="connsiteY8" fmla="*/ 495745 h 571148"/>
                <a:gd name="connsiteX9" fmla="*/ 685800 w 883813"/>
                <a:gd name="connsiteY9" fmla="*/ 507175 h 571148"/>
                <a:gd name="connsiteX10" fmla="*/ 502920 w 883813"/>
                <a:gd name="connsiteY10" fmla="*/ 510985 h 571148"/>
                <a:gd name="connsiteX11" fmla="*/ 331470 w 883813"/>
                <a:gd name="connsiteY11" fmla="*/ 564325 h 571148"/>
                <a:gd name="connsiteX12" fmla="*/ 3810 w 883813"/>
                <a:gd name="connsiteY12" fmla="*/ 545275 h 571148"/>
                <a:gd name="connsiteX13" fmla="*/ 0 w 883813"/>
                <a:gd name="connsiteY13" fmla="*/ 209995 h 571148"/>
                <a:gd name="connsiteX14" fmla="*/ 167640 w 883813"/>
                <a:gd name="connsiteY14" fmla="*/ 168085 h 571148"/>
                <a:gd name="connsiteX0" fmla="*/ 167640 w 883813"/>
                <a:gd name="connsiteY0" fmla="*/ 163591 h 566654"/>
                <a:gd name="connsiteX1" fmla="*/ 441960 w 883813"/>
                <a:gd name="connsiteY1" fmla="*/ 7381 h 566654"/>
                <a:gd name="connsiteX2" fmla="*/ 796277 w 883813"/>
                <a:gd name="connsiteY2" fmla="*/ 16252 h 566654"/>
                <a:gd name="connsiteX3" fmla="*/ 883813 w 883813"/>
                <a:gd name="connsiteY3" fmla="*/ 136895 h 566654"/>
                <a:gd name="connsiteX4" fmla="*/ 527059 w 883813"/>
                <a:gd name="connsiteY4" fmla="*/ 140704 h 566654"/>
                <a:gd name="connsiteX5" fmla="*/ 449580 w 883813"/>
                <a:gd name="connsiteY5" fmla="*/ 315991 h 566654"/>
                <a:gd name="connsiteX6" fmla="*/ 628650 w 883813"/>
                <a:gd name="connsiteY6" fmla="*/ 327421 h 566654"/>
                <a:gd name="connsiteX7" fmla="*/ 838200 w 883813"/>
                <a:gd name="connsiteY7" fmla="*/ 338851 h 566654"/>
                <a:gd name="connsiteX8" fmla="*/ 807720 w 883813"/>
                <a:gd name="connsiteY8" fmla="*/ 491251 h 566654"/>
                <a:gd name="connsiteX9" fmla="*/ 685800 w 883813"/>
                <a:gd name="connsiteY9" fmla="*/ 502681 h 566654"/>
                <a:gd name="connsiteX10" fmla="*/ 502920 w 883813"/>
                <a:gd name="connsiteY10" fmla="*/ 506491 h 566654"/>
                <a:gd name="connsiteX11" fmla="*/ 331470 w 883813"/>
                <a:gd name="connsiteY11" fmla="*/ 559831 h 566654"/>
                <a:gd name="connsiteX12" fmla="*/ 3810 w 883813"/>
                <a:gd name="connsiteY12" fmla="*/ 540781 h 566654"/>
                <a:gd name="connsiteX13" fmla="*/ 0 w 883813"/>
                <a:gd name="connsiteY13" fmla="*/ 205501 h 566654"/>
                <a:gd name="connsiteX14" fmla="*/ 167640 w 883813"/>
                <a:gd name="connsiteY14" fmla="*/ 163591 h 56665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27059 w 883813"/>
                <a:gd name="connsiteY4" fmla="*/ 141564 h 567514"/>
                <a:gd name="connsiteX5" fmla="*/ 449580 w 883813"/>
                <a:gd name="connsiteY5" fmla="*/ 316851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04159 w 883813"/>
                <a:gd name="connsiteY4" fmla="*/ 139020 h 567514"/>
                <a:gd name="connsiteX5" fmla="*/ 449580 w 883813"/>
                <a:gd name="connsiteY5" fmla="*/ 316851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04159 w 883813"/>
                <a:gd name="connsiteY4" fmla="*/ 139020 h 567514"/>
                <a:gd name="connsiteX5" fmla="*/ 449580 w 883813"/>
                <a:gd name="connsiteY5" fmla="*/ 316851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04159 w 883813"/>
                <a:gd name="connsiteY4" fmla="*/ 139020 h 567514"/>
                <a:gd name="connsiteX5" fmla="*/ 472480 w 883813"/>
                <a:gd name="connsiteY5" fmla="*/ 316851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04159 w 883813"/>
                <a:gd name="connsiteY4" fmla="*/ 139020 h 567514"/>
                <a:gd name="connsiteX5" fmla="*/ 472480 w 883813"/>
                <a:gd name="connsiteY5" fmla="*/ 316851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04159 w 883813"/>
                <a:gd name="connsiteY4" fmla="*/ 139020 h 567514"/>
                <a:gd name="connsiteX5" fmla="*/ 495380 w 883813"/>
                <a:gd name="connsiteY5" fmla="*/ 321940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04159 w 883813"/>
                <a:gd name="connsiteY4" fmla="*/ 139020 h 567514"/>
                <a:gd name="connsiteX5" fmla="*/ 495380 w 883813"/>
                <a:gd name="connsiteY5" fmla="*/ 321940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16881 w 883813"/>
                <a:gd name="connsiteY4" fmla="*/ 128842 h 567514"/>
                <a:gd name="connsiteX5" fmla="*/ 495380 w 883813"/>
                <a:gd name="connsiteY5" fmla="*/ 321940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16881 w 883813"/>
                <a:gd name="connsiteY4" fmla="*/ 139020 h 567514"/>
                <a:gd name="connsiteX5" fmla="*/ 495380 w 883813"/>
                <a:gd name="connsiteY5" fmla="*/ 321940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16881 w 883813"/>
                <a:gd name="connsiteY4" fmla="*/ 139020 h 567514"/>
                <a:gd name="connsiteX5" fmla="*/ 495380 w 883813"/>
                <a:gd name="connsiteY5" fmla="*/ 321940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16881 w 883813"/>
                <a:gd name="connsiteY4" fmla="*/ 139020 h 567514"/>
                <a:gd name="connsiteX5" fmla="*/ 495380 w 883813"/>
                <a:gd name="connsiteY5" fmla="*/ 321940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4795"/>
                <a:gd name="connsiteX1" fmla="*/ 441960 w 883813"/>
                <a:gd name="connsiteY1" fmla="*/ 8241 h 564795"/>
                <a:gd name="connsiteX2" fmla="*/ 796277 w 883813"/>
                <a:gd name="connsiteY2" fmla="*/ 17112 h 564795"/>
                <a:gd name="connsiteX3" fmla="*/ 883813 w 883813"/>
                <a:gd name="connsiteY3" fmla="*/ 137755 h 564795"/>
                <a:gd name="connsiteX4" fmla="*/ 516881 w 883813"/>
                <a:gd name="connsiteY4" fmla="*/ 139020 h 564795"/>
                <a:gd name="connsiteX5" fmla="*/ 495380 w 883813"/>
                <a:gd name="connsiteY5" fmla="*/ 321940 h 564795"/>
                <a:gd name="connsiteX6" fmla="*/ 628650 w 883813"/>
                <a:gd name="connsiteY6" fmla="*/ 328281 h 564795"/>
                <a:gd name="connsiteX7" fmla="*/ 838200 w 883813"/>
                <a:gd name="connsiteY7" fmla="*/ 339711 h 564795"/>
                <a:gd name="connsiteX8" fmla="*/ 807720 w 883813"/>
                <a:gd name="connsiteY8" fmla="*/ 492111 h 564795"/>
                <a:gd name="connsiteX9" fmla="*/ 685800 w 883813"/>
                <a:gd name="connsiteY9" fmla="*/ 503541 h 564795"/>
                <a:gd name="connsiteX10" fmla="*/ 502920 w 883813"/>
                <a:gd name="connsiteY10" fmla="*/ 507351 h 564795"/>
                <a:gd name="connsiteX11" fmla="*/ 331470 w 883813"/>
                <a:gd name="connsiteY11" fmla="*/ 560691 h 564795"/>
                <a:gd name="connsiteX12" fmla="*/ 3811 w 883813"/>
                <a:gd name="connsiteY12" fmla="*/ 503474 h 564795"/>
                <a:gd name="connsiteX13" fmla="*/ 0 w 883813"/>
                <a:gd name="connsiteY13" fmla="*/ 206361 h 564795"/>
                <a:gd name="connsiteX14" fmla="*/ 167640 w 883813"/>
                <a:gd name="connsiteY14" fmla="*/ 164451 h 564795"/>
                <a:gd name="connsiteX0" fmla="*/ 167640 w 883813"/>
                <a:gd name="connsiteY0" fmla="*/ 164451 h 550307"/>
                <a:gd name="connsiteX1" fmla="*/ 441960 w 883813"/>
                <a:gd name="connsiteY1" fmla="*/ 8241 h 550307"/>
                <a:gd name="connsiteX2" fmla="*/ 796277 w 883813"/>
                <a:gd name="connsiteY2" fmla="*/ 17112 h 550307"/>
                <a:gd name="connsiteX3" fmla="*/ 883813 w 883813"/>
                <a:gd name="connsiteY3" fmla="*/ 137755 h 550307"/>
                <a:gd name="connsiteX4" fmla="*/ 516881 w 883813"/>
                <a:gd name="connsiteY4" fmla="*/ 139020 h 550307"/>
                <a:gd name="connsiteX5" fmla="*/ 495380 w 883813"/>
                <a:gd name="connsiteY5" fmla="*/ 321940 h 550307"/>
                <a:gd name="connsiteX6" fmla="*/ 628650 w 883813"/>
                <a:gd name="connsiteY6" fmla="*/ 328281 h 550307"/>
                <a:gd name="connsiteX7" fmla="*/ 838200 w 883813"/>
                <a:gd name="connsiteY7" fmla="*/ 339711 h 550307"/>
                <a:gd name="connsiteX8" fmla="*/ 807720 w 883813"/>
                <a:gd name="connsiteY8" fmla="*/ 492111 h 550307"/>
                <a:gd name="connsiteX9" fmla="*/ 685800 w 883813"/>
                <a:gd name="connsiteY9" fmla="*/ 503541 h 550307"/>
                <a:gd name="connsiteX10" fmla="*/ 502920 w 883813"/>
                <a:gd name="connsiteY10" fmla="*/ 507351 h 550307"/>
                <a:gd name="connsiteX11" fmla="*/ 331470 w 883813"/>
                <a:gd name="connsiteY11" fmla="*/ 545424 h 550307"/>
                <a:gd name="connsiteX12" fmla="*/ 3811 w 883813"/>
                <a:gd name="connsiteY12" fmla="*/ 503474 h 550307"/>
                <a:gd name="connsiteX13" fmla="*/ 0 w 883813"/>
                <a:gd name="connsiteY13" fmla="*/ 206361 h 550307"/>
                <a:gd name="connsiteX14" fmla="*/ 167640 w 883813"/>
                <a:gd name="connsiteY14" fmla="*/ 164451 h 550307"/>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5800 w 883813"/>
                <a:gd name="connsiteY9" fmla="*/ 503541 h 545424"/>
                <a:gd name="connsiteX10" fmla="*/ 502920 w 883813"/>
                <a:gd name="connsiteY10" fmla="*/ 507351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5800 w 883813"/>
                <a:gd name="connsiteY9" fmla="*/ 503541 h 545424"/>
                <a:gd name="connsiteX10" fmla="*/ 502920 w 883813"/>
                <a:gd name="connsiteY10" fmla="*/ 507351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5800 w 883813"/>
                <a:gd name="connsiteY9" fmla="*/ 503541 h 545424"/>
                <a:gd name="connsiteX10" fmla="*/ 523276 w 883813"/>
                <a:gd name="connsiteY10" fmla="*/ 507351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5800 w 883813"/>
                <a:gd name="connsiteY9" fmla="*/ 503541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5800 w 883813"/>
                <a:gd name="connsiteY9" fmla="*/ 495908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3256 w 883813"/>
                <a:gd name="connsiteY9" fmla="*/ 506086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43548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33370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33370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33370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33370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33370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33370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83813" h="545424">
                  <a:moveTo>
                    <a:pt x="167640" y="164451"/>
                  </a:moveTo>
                  <a:cubicBezTo>
                    <a:pt x="295910" y="118731"/>
                    <a:pt x="336550" y="46341"/>
                    <a:pt x="441960" y="8241"/>
                  </a:cubicBezTo>
                  <a:cubicBezTo>
                    <a:pt x="490220" y="-12079"/>
                    <a:pt x="676879" y="10788"/>
                    <a:pt x="796277" y="17112"/>
                  </a:cubicBezTo>
                  <a:cubicBezTo>
                    <a:pt x="875008" y="38698"/>
                    <a:pt x="868888" y="98354"/>
                    <a:pt x="883813" y="137755"/>
                  </a:cubicBezTo>
                  <a:cubicBezTo>
                    <a:pt x="757262" y="138177"/>
                    <a:pt x="645976" y="130964"/>
                    <a:pt x="516881" y="139020"/>
                  </a:cubicBezTo>
                  <a:cubicBezTo>
                    <a:pt x="486489" y="202525"/>
                    <a:pt x="491588" y="264791"/>
                    <a:pt x="495380" y="321940"/>
                  </a:cubicBezTo>
                  <a:cubicBezTo>
                    <a:pt x="555070" y="343530"/>
                    <a:pt x="555027" y="339703"/>
                    <a:pt x="631195" y="333370"/>
                  </a:cubicBezTo>
                  <a:cubicBezTo>
                    <a:pt x="725175" y="327020"/>
                    <a:pt x="772169" y="327025"/>
                    <a:pt x="838200" y="339711"/>
                  </a:cubicBezTo>
                  <a:cubicBezTo>
                    <a:pt x="901700" y="354951"/>
                    <a:pt x="888974" y="487036"/>
                    <a:pt x="807720" y="492111"/>
                  </a:cubicBezTo>
                  <a:cubicBezTo>
                    <a:pt x="760295" y="501009"/>
                    <a:pt x="735770" y="507366"/>
                    <a:pt x="688345" y="503542"/>
                  </a:cubicBezTo>
                  <a:cubicBezTo>
                    <a:pt x="624845" y="504825"/>
                    <a:pt x="609636" y="494638"/>
                    <a:pt x="523276" y="499718"/>
                  </a:cubicBezTo>
                  <a:cubicBezTo>
                    <a:pt x="428026" y="520038"/>
                    <a:pt x="417887" y="542889"/>
                    <a:pt x="331470" y="545424"/>
                  </a:cubicBezTo>
                  <a:cubicBezTo>
                    <a:pt x="238738" y="545384"/>
                    <a:pt x="114301" y="503474"/>
                    <a:pt x="3811" y="503474"/>
                  </a:cubicBezTo>
                  <a:cubicBezTo>
                    <a:pt x="2541" y="404436"/>
                    <a:pt x="1270" y="305399"/>
                    <a:pt x="0" y="206361"/>
                  </a:cubicBezTo>
                  <a:lnTo>
                    <a:pt x="167640" y="164451"/>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3"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64"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7"/>
              </a:rPr>
              <a:t>www.rapidbbs.cn</a:t>
            </a:r>
            <a:endParaRPr lang="zh-CN" altLang="en-US" sz="1200" b="0">
              <a:latin typeface="Arial" charset="0"/>
              <a:ea typeface="ＭＳ Ｐゴシック" pitchFamily="34" charset="-128"/>
            </a:endParaRPr>
          </a:p>
        </p:txBody>
      </p:sp>
      <p:pic>
        <p:nvPicPr>
          <p:cNvPr id="65" name="Picture 2">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92734898"/>
      </p:ext>
    </p:extLst>
  </p:cSld>
  <p:clrMapOvr>
    <a:masterClrMapping/>
  </p:clrMapOvr>
  <p:transition>
    <p:fade/>
  </p:transition>
  <p:timing>
    <p:tnLst>
      <p:par>
        <p:cTn id="1" dur="indefinite" restart="never" nodeType="tmRoot"/>
      </p:par>
    </p:tnLst>
  </p:timing>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nagement Challenges</a:t>
            </a:r>
            <a:endParaRPr lang="en-US" dirty="0"/>
          </a:p>
        </p:txBody>
      </p:sp>
      <p:sp>
        <p:nvSpPr>
          <p:cNvPr id="4" name="Rectangle 3"/>
          <p:cNvSpPr/>
          <p:nvPr/>
        </p:nvSpPr>
        <p:spPr>
          <a:xfrm>
            <a:off x="6396047" y="3142856"/>
            <a:ext cx="1777760" cy="5063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r>
              <a:rPr lang="en-US" sz="1200" b="1" dirty="0">
                <a:solidFill>
                  <a:schemeClr val="accent1"/>
                </a:solidFill>
                <a:latin typeface="Segoe UI Light" pitchFamily="34" charset="0"/>
              </a:rPr>
              <a:t>PROLIFERATION OF</a:t>
            </a:r>
          </a:p>
          <a:p>
            <a:pPr algn="ctr"/>
            <a:r>
              <a:rPr lang="en-US" sz="1200" b="1" dirty="0">
                <a:solidFill>
                  <a:schemeClr val="accent1"/>
                </a:solidFill>
                <a:latin typeface="Segoe UI Light" pitchFamily="34" charset="0"/>
              </a:rPr>
              <a:t>GROUPS &amp; USERS</a:t>
            </a:r>
          </a:p>
        </p:txBody>
      </p:sp>
      <p:sp>
        <p:nvSpPr>
          <p:cNvPr id="5" name="Rectangle 4"/>
          <p:cNvSpPr/>
          <p:nvPr/>
        </p:nvSpPr>
        <p:spPr>
          <a:xfrm>
            <a:off x="4585884" y="3142856"/>
            <a:ext cx="1776350" cy="5063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r>
              <a:rPr lang="en-US" sz="1200" b="1" dirty="0">
                <a:solidFill>
                  <a:schemeClr val="accent1"/>
                </a:solidFill>
                <a:latin typeface="Segoe UI Light" pitchFamily="34" charset="0"/>
              </a:rPr>
              <a:t>MERGERS &amp;</a:t>
            </a:r>
            <a:br>
              <a:rPr lang="en-US" sz="1200" b="1" dirty="0">
                <a:solidFill>
                  <a:schemeClr val="accent1"/>
                </a:solidFill>
                <a:latin typeface="Segoe UI Light" pitchFamily="34" charset="0"/>
              </a:rPr>
            </a:br>
            <a:r>
              <a:rPr lang="en-US" sz="1200" b="1" dirty="0">
                <a:solidFill>
                  <a:schemeClr val="accent1"/>
                </a:solidFill>
                <a:latin typeface="Segoe UI Light" pitchFamily="34" charset="0"/>
              </a:rPr>
              <a:t>ACQUISITIONS</a:t>
            </a:r>
          </a:p>
        </p:txBody>
      </p:sp>
      <p:sp>
        <p:nvSpPr>
          <p:cNvPr id="6" name="Rectangle 5"/>
          <p:cNvSpPr/>
          <p:nvPr/>
        </p:nvSpPr>
        <p:spPr>
          <a:xfrm>
            <a:off x="2781072" y="3142856"/>
            <a:ext cx="1776350" cy="5063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r>
              <a:rPr lang="en-US" sz="1200" b="1" dirty="0">
                <a:solidFill>
                  <a:schemeClr val="accent1"/>
                </a:solidFill>
                <a:latin typeface="Segoe UI Light" pitchFamily="34" charset="0"/>
              </a:rPr>
              <a:t>RAPID ON-BOARDING</a:t>
            </a:r>
          </a:p>
          <a:p>
            <a:pPr algn="ctr"/>
            <a:r>
              <a:rPr lang="en-US" sz="1200" b="1" dirty="0">
                <a:solidFill>
                  <a:schemeClr val="accent1"/>
                </a:solidFill>
                <a:latin typeface="Segoe UI Light" pitchFamily="34" charset="0"/>
              </a:rPr>
              <a:t>OF SERVICES</a:t>
            </a:r>
          </a:p>
        </p:txBody>
      </p:sp>
      <p:sp>
        <p:nvSpPr>
          <p:cNvPr id="7" name="Rectangle 6"/>
          <p:cNvSpPr/>
          <p:nvPr/>
        </p:nvSpPr>
        <p:spPr>
          <a:xfrm>
            <a:off x="960190" y="3142856"/>
            <a:ext cx="1792300" cy="5063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r>
              <a:rPr lang="en-US" sz="1200" b="1" dirty="0">
                <a:solidFill>
                  <a:schemeClr val="accent1"/>
                </a:solidFill>
                <a:latin typeface="Segoe UI Light" pitchFamily="34" charset="0"/>
              </a:rPr>
              <a:t>ADAPTING TO</a:t>
            </a:r>
            <a:br>
              <a:rPr lang="en-US" sz="1200" b="1" dirty="0">
                <a:solidFill>
                  <a:schemeClr val="accent1"/>
                </a:solidFill>
                <a:latin typeface="Segoe UI Light" pitchFamily="34" charset="0"/>
              </a:rPr>
            </a:br>
            <a:r>
              <a:rPr lang="en-US" sz="1200" b="1" dirty="0">
                <a:solidFill>
                  <a:schemeClr val="accent1"/>
                </a:solidFill>
                <a:latin typeface="Segoe UI Light" pitchFamily="34" charset="0"/>
              </a:rPr>
              <a:t>CLOUD</a:t>
            </a:r>
          </a:p>
        </p:txBody>
      </p:sp>
      <p:sp>
        <p:nvSpPr>
          <p:cNvPr id="8" name="Rectangle 7"/>
          <p:cNvSpPr/>
          <p:nvPr/>
        </p:nvSpPr>
        <p:spPr>
          <a:xfrm>
            <a:off x="950612" y="1285432"/>
            <a:ext cx="7213618" cy="18574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en-US" dirty="0"/>
          </a:p>
        </p:txBody>
      </p:sp>
      <p:cxnSp>
        <p:nvCxnSpPr>
          <p:cNvPr id="9" name="Straight Connector 8"/>
          <p:cNvCxnSpPr/>
          <p:nvPr/>
        </p:nvCxnSpPr>
        <p:spPr>
          <a:xfrm>
            <a:off x="2752489" y="1285426"/>
            <a:ext cx="11104" cy="184440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stCxn id="8" idx="0"/>
          </p:cNvCxnSpPr>
          <p:nvPr/>
        </p:nvCxnSpPr>
        <p:spPr>
          <a:xfrm>
            <a:off x="4557428" y="1285425"/>
            <a:ext cx="13387" cy="184436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6362236" y="1285426"/>
            <a:ext cx="8167" cy="1844906"/>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2" name="Group 11"/>
          <p:cNvGrpSpPr/>
          <p:nvPr/>
        </p:nvGrpSpPr>
        <p:grpSpPr>
          <a:xfrm>
            <a:off x="945119" y="1170313"/>
            <a:ext cx="7213617" cy="115112"/>
            <a:chOff x="1259822" y="566905"/>
            <a:chExt cx="9615651" cy="675150"/>
          </a:xfrm>
        </p:grpSpPr>
        <p:sp>
          <p:nvSpPr>
            <p:cNvPr id="13" name="Rectangle 12"/>
            <p:cNvSpPr/>
            <p:nvPr/>
          </p:nvSpPr>
          <p:spPr>
            <a:xfrm>
              <a:off x="8505744" y="566905"/>
              <a:ext cx="2369729" cy="6751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p:nvSpPr>
          <p:spPr>
            <a:xfrm>
              <a:off x="6092824" y="566905"/>
              <a:ext cx="2367850" cy="6751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p:cNvSpPr/>
            <p:nvPr/>
          </p:nvSpPr>
          <p:spPr>
            <a:xfrm>
              <a:off x="3687034" y="566905"/>
              <a:ext cx="2367850" cy="6751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p:cNvSpPr/>
            <p:nvPr/>
          </p:nvSpPr>
          <p:spPr>
            <a:xfrm>
              <a:off x="1259822" y="566905"/>
              <a:ext cx="2389111" cy="6751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7" name="TextBox 16"/>
          <p:cNvSpPr txBox="1"/>
          <p:nvPr/>
        </p:nvSpPr>
        <p:spPr>
          <a:xfrm>
            <a:off x="960189" y="3893837"/>
            <a:ext cx="7213616" cy="392415"/>
          </a:xfrm>
          <a:prstGeom prst="rect">
            <a:avLst/>
          </a:prstGeom>
          <a:noFill/>
        </p:spPr>
        <p:txBody>
          <a:bodyPr wrap="square" lIns="68571" tIns="34286" rIns="68571" bIns="34286" rtlCol="0">
            <a:spAutoFit/>
          </a:bodyPr>
          <a:lstStyle/>
          <a:p>
            <a:pPr algn="ctr"/>
            <a:r>
              <a:rPr lang="en-US" sz="2100" dirty="0">
                <a:latin typeface="Segoe UI Light" pitchFamily="34" charset="0"/>
              </a:rPr>
              <a:t>Management must adapt rapidly to changing business needs</a:t>
            </a:r>
          </a:p>
        </p:txBody>
      </p:sp>
      <p:grpSp>
        <p:nvGrpSpPr>
          <p:cNvPr id="18" name="Group 17"/>
          <p:cNvGrpSpPr/>
          <p:nvPr/>
        </p:nvGrpSpPr>
        <p:grpSpPr>
          <a:xfrm>
            <a:off x="6822703" y="1806455"/>
            <a:ext cx="937716" cy="775869"/>
            <a:chOff x="2932100" y="5740389"/>
            <a:chExt cx="750022" cy="620732"/>
          </a:xfrm>
        </p:grpSpPr>
        <p:pic>
          <p:nvPicPr>
            <p:cNvPr id="19" name="Picture 3" descr="\\MAGNUM\Projects\Microsoft\Cloud Power FY12\Design\ICONS_PNG\User.png"/>
            <p:cNvPicPr>
              <a:picLocks noChangeAspect="1" noChangeArrowheads="1"/>
            </p:cNvPicPr>
            <p:nvPr/>
          </p:nvPicPr>
          <p:blipFill>
            <a:blip r:embed="rId3" cstate="print">
              <a:lum bright="100000"/>
            </a:blip>
            <a:srcRect/>
            <a:stretch>
              <a:fillRect/>
            </a:stretch>
          </p:blipFill>
          <p:spPr bwMode="auto">
            <a:xfrm>
              <a:off x="2932100" y="5740389"/>
              <a:ext cx="618565" cy="618565"/>
            </a:xfrm>
            <a:prstGeom prst="rect">
              <a:avLst/>
            </a:prstGeom>
            <a:noFill/>
          </p:spPr>
        </p:pic>
        <p:pic>
          <p:nvPicPr>
            <p:cNvPr id="20" name="Picture 3" descr="\\MAGNUM\Projects\Microsoft\Cloud Power FY12\Design\ICONS_PNG\User.png"/>
            <p:cNvPicPr>
              <a:picLocks noChangeAspect="1" noChangeArrowheads="1"/>
            </p:cNvPicPr>
            <p:nvPr/>
          </p:nvPicPr>
          <p:blipFill>
            <a:blip r:embed="rId3" cstate="print">
              <a:lum bright="100000"/>
            </a:blip>
            <a:srcRect/>
            <a:stretch>
              <a:fillRect/>
            </a:stretch>
          </p:blipFill>
          <p:spPr bwMode="auto">
            <a:xfrm flipH="1">
              <a:off x="3063557" y="5742556"/>
              <a:ext cx="618565" cy="618565"/>
            </a:xfrm>
            <a:prstGeom prst="rect">
              <a:avLst/>
            </a:prstGeom>
            <a:noFill/>
          </p:spPr>
        </p:pic>
      </p:grpSp>
      <p:grpSp>
        <p:nvGrpSpPr>
          <p:cNvPr id="21" name="Group 20"/>
          <p:cNvGrpSpPr/>
          <p:nvPr/>
        </p:nvGrpSpPr>
        <p:grpSpPr>
          <a:xfrm>
            <a:off x="1322411" y="1767745"/>
            <a:ext cx="1007496" cy="748404"/>
            <a:chOff x="1384256" y="3386216"/>
            <a:chExt cx="1399985" cy="1040230"/>
          </a:xfrm>
        </p:grpSpPr>
        <p:sp>
          <p:nvSpPr>
            <p:cNvPr id="22" name="Freeform 21"/>
            <p:cNvSpPr>
              <a:spLocks noEditPoints="1"/>
            </p:cNvSpPr>
            <p:nvPr/>
          </p:nvSpPr>
          <p:spPr bwMode="black">
            <a:xfrm>
              <a:off x="2010274" y="4086986"/>
              <a:ext cx="488266" cy="33946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305" tIns="41153" rIns="82305" bIns="4115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700" dirty="0">
                <a:solidFill>
                  <a:schemeClr val="bg1"/>
                </a:solidFill>
              </a:endParaRPr>
            </a:p>
          </p:txBody>
        </p:sp>
        <p:sp>
          <p:nvSpPr>
            <p:cNvPr id="23" name="Freeform 22"/>
            <p:cNvSpPr>
              <a:spLocks noEditPoints="1"/>
            </p:cNvSpPr>
            <p:nvPr/>
          </p:nvSpPr>
          <p:spPr bwMode="black">
            <a:xfrm>
              <a:off x="1854626" y="3998247"/>
              <a:ext cx="155737" cy="314055"/>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555491"/>
              <a:endParaRPr lang="en-US" spc="-92" dirty="0">
                <a:solidFill>
                  <a:schemeClr val="bg1"/>
                </a:solidFill>
                <a:latin typeface="Segoe Light" pitchFamily="34" charset="0"/>
              </a:endParaRPr>
            </a:p>
          </p:txBody>
        </p:sp>
        <p:sp>
          <p:nvSpPr>
            <p:cNvPr id="24" name="Freeform 23"/>
            <p:cNvSpPr>
              <a:spLocks noEditPoints="1"/>
            </p:cNvSpPr>
            <p:nvPr/>
          </p:nvSpPr>
          <p:spPr bwMode="black">
            <a:xfrm>
              <a:off x="1384256" y="3935262"/>
              <a:ext cx="444627" cy="377040"/>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555491"/>
              <a:endParaRPr lang="en-US" spc="-92" dirty="0">
                <a:solidFill>
                  <a:schemeClr val="bg1"/>
                </a:solidFill>
                <a:latin typeface="Segoe Light" pitchFamily="34" charset="0"/>
              </a:endParaRPr>
            </a:p>
          </p:txBody>
        </p:sp>
        <p:sp>
          <p:nvSpPr>
            <p:cNvPr id="25" name="Freeform 24"/>
            <p:cNvSpPr>
              <a:spLocks/>
            </p:cNvSpPr>
            <p:nvPr/>
          </p:nvSpPr>
          <p:spPr bwMode="black">
            <a:xfrm>
              <a:off x="2129825" y="3386216"/>
              <a:ext cx="654416" cy="381216"/>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dirty="0">
                <a:solidFill>
                  <a:schemeClr val="bg1"/>
                </a:solidFill>
              </a:endParaRPr>
            </a:p>
          </p:txBody>
        </p:sp>
        <p:cxnSp>
          <p:nvCxnSpPr>
            <p:cNvPr id="26" name="Straight Connector 25"/>
            <p:cNvCxnSpPr/>
            <p:nvPr/>
          </p:nvCxnSpPr>
          <p:spPr>
            <a:xfrm flipV="1">
              <a:off x="1633399" y="3694072"/>
              <a:ext cx="531491" cy="196794"/>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flipV="1">
              <a:off x="2254407" y="3792470"/>
              <a:ext cx="62883" cy="250796"/>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grpSp>
      <p:pic>
        <p:nvPicPr>
          <p:cNvPr id="28" name="Picture 27" descr="\\MAGNUM\Projects\Microsoft\Cloud Power FY12\Design\ICONS_PNG\Application.png"/>
          <p:cNvPicPr>
            <a:picLocks noChangeAspect="1" noChangeArrowheads="1"/>
          </p:cNvPicPr>
          <p:nvPr/>
        </p:nvPicPr>
        <p:blipFill rotWithShape="1">
          <a:blip r:embed="rId4" cstate="print">
            <a:biLevel thresh="25000"/>
          </a:blip>
          <a:srcRect l="30174" t="36465" r="28608" b="29915"/>
          <a:stretch/>
        </p:blipFill>
        <p:spPr bwMode="auto">
          <a:xfrm>
            <a:off x="3214560" y="1725484"/>
            <a:ext cx="1059229" cy="832926"/>
          </a:xfrm>
          <a:prstGeom prst="rect">
            <a:avLst/>
          </a:prstGeom>
          <a:noFill/>
          <a:ln>
            <a:noFill/>
          </a:ln>
        </p:spPr>
      </p:pic>
      <p:grpSp>
        <p:nvGrpSpPr>
          <p:cNvPr id="29" name="Group 28"/>
          <p:cNvGrpSpPr/>
          <p:nvPr/>
        </p:nvGrpSpPr>
        <p:grpSpPr>
          <a:xfrm>
            <a:off x="4954325" y="1787005"/>
            <a:ext cx="1120786" cy="750815"/>
            <a:chOff x="6350984" y="2691750"/>
            <a:chExt cx="1181603" cy="791762"/>
          </a:xfrm>
        </p:grpSpPr>
        <p:pic>
          <p:nvPicPr>
            <p:cNvPr id="30" name="Picture 29" descr="C:\Users\sakuu\Documents\Ballmer WPC\AI\work.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6350984" y="2691750"/>
              <a:ext cx="495803" cy="791762"/>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30" descr="C:\Users\sakuu\Documents\Ballmer WPC\AI\work.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7036784" y="2691750"/>
              <a:ext cx="495803" cy="791762"/>
            </a:xfrm>
            <a:prstGeom prst="rect">
              <a:avLst/>
            </a:prstGeom>
            <a:noFill/>
            <a:extLst>
              <a:ext uri="{909E8E84-426E-40DD-AFC4-6F175D3DCCD1}">
                <a14:hiddenFill xmlns:a14="http://schemas.microsoft.com/office/drawing/2010/main">
                  <a:solidFill>
                    <a:srgbClr val="FFFFFF"/>
                  </a:solidFill>
                </a14:hiddenFill>
              </a:ext>
            </a:extLst>
          </p:spPr>
        </p:pic>
      </p:grpSp>
      <p:sp>
        <p:nvSpPr>
          <p:cNvPr id="32" name="Right Arrow 31"/>
          <p:cNvSpPr/>
          <p:nvPr/>
        </p:nvSpPr>
        <p:spPr>
          <a:xfrm>
            <a:off x="3091668" y="2253884"/>
            <a:ext cx="457319" cy="283929"/>
          </a:xfrm>
          <a:prstGeom prst="rightArrow">
            <a:avLst>
              <a:gd name="adj1" fmla="val 50000"/>
              <a:gd name="adj2" fmla="val 7767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en-US" dirty="0"/>
          </a:p>
        </p:txBody>
      </p:sp>
      <p:sp>
        <p:nvSpPr>
          <p:cNvPr id="33"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4"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7"/>
              </a:rPr>
              <a:t>www.rapidbbs.cn</a:t>
            </a:r>
            <a:endParaRPr lang="zh-CN" altLang="en-US" sz="1200" b="0">
              <a:latin typeface="Arial" charset="0"/>
              <a:ea typeface="ＭＳ Ｐゴシック" pitchFamily="34" charset="-128"/>
            </a:endParaRPr>
          </a:p>
        </p:txBody>
      </p:sp>
      <p:pic>
        <p:nvPicPr>
          <p:cNvPr id="35" name="Picture 2">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72933921"/>
      </p:ext>
    </p:extLst>
  </p:cSld>
  <p:clrMapOvr>
    <a:masterClrMapping/>
  </p:clrMapOvr>
  <p:transition>
    <p:fade/>
  </p:transition>
  <p:timing>
    <p:tnLst>
      <p:par>
        <p:cTn id="1" dur="indefinite" restart="never" nodeType="tmRoot"/>
      </p:par>
    </p:tnLst>
  </p:timing>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curity Challenges</a:t>
            </a:r>
            <a:endParaRPr lang="en-US" dirty="0"/>
          </a:p>
        </p:txBody>
      </p:sp>
      <p:sp>
        <p:nvSpPr>
          <p:cNvPr id="4" name="Rectangle 3"/>
          <p:cNvSpPr/>
          <p:nvPr/>
        </p:nvSpPr>
        <p:spPr>
          <a:xfrm>
            <a:off x="6396047" y="3142856"/>
            <a:ext cx="1777760" cy="5063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r>
              <a:rPr lang="en-US" sz="1200" b="1" dirty="0">
                <a:solidFill>
                  <a:schemeClr val="accent1"/>
                </a:solidFill>
                <a:latin typeface="Segoe UI Light" pitchFamily="34" charset="0"/>
              </a:rPr>
              <a:t>REPORT &amp; AUDIT</a:t>
            </a:r>
          </a:p>
        </p:txBody>
      </p:sp>
      <p:sp>
        <p:nvSpPr>
          <p:cNvPr id="5" name="Rectangle 4"/>
          <p:cNvSpPr/>
          <p:nvPr/>
        </p:nvSpPr>
        <p:spPr>
          <a:xfrm>
            <a:off x="4585884" y="3142856"/>
            <a:ext cx="1776350" cy="5063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r>
              <a:rPr lang="en-US" sz="1200" b="1" dirty="0">
                <a:solidFill>
                  <a:schemeClr val="accent1"/>
                </a:solidFill>
                <a:latin typeface="Segoe UI Light" pitchFamily="34" charset="0"/>
              </a:rPr>
              <a:t>CENTRALIZE &amp; STANDARDIZE </a:t>
            </a:r>
          </a:p>
        </p:txBody>
      </p:sp>
      <p:sp>
        <p:nvSpPr>
          <p:cNvPr id="6" name="Rectangle 5"/>
          <p:cNvSpPr/>
          <p:nvPr/>
        </p:nvSpPr>
        <p:spPr>
          <a:xfrm>
            <a:off x="2781072" y="3142856"/>
            <a:ext cx="1776350" cy="5063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r>
              <a:rPr lang="en-US" sz="1200" b="1" dirty="0">
                <a:solidFill>
                  <a:schemeClr val="accent1"/>
                </a:solidFill>
                <a:latin typeface="Segoe UI Light" pitchFamily="34" charset="0"/>
              </a:rPr>
              <a:t>PROTECT</a:t>
            </a:r>
            <a:br>
              <a:rPr lang="en-US" sz="1200" b="1" dirty="0">
                <a:solidFill>
                  <a:schemeClr val="accent1"/>
                </a:solidFill>
                <a:latin typeface="Segoe UI Light" pitchFamily="34" charset="0"/>
              </a:rPr>
            </a:br>
            <a:r>
              <a:rPr lang="en-US" sz="1200" b="1" dirty="0">
                <a:solidFill>
                  <a:schemeClr val="accent1"/>
                </a:solidFill>
                <a:latin typeface="Segoe UI Light" pitchFamily="34" charset="0"/>
              </a:rPr>
              <a:t>WHILE EXTENDING</a:t>
            </a:r>
          </a:p>
        </p:txBody>
      </p:sp>
      <p:sp>
        <p:nvSpPr>
          <p:cNvPr id="7" name="Rectangle 6"/>
          <p:cNvSpPr/>
          <p:nvPr/>
        </p:nvSpPr>
        <p:spPr>
          <a:xfrm>
            <a:off x="960190" y="3142856"/>
            <a:ext cx="1792300" cy="5063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r>
              <a:rPr lang="en-US" sz="1200" b="1" dirty="0">
                <a:solidFill>
                  <a:schemeClr val="accent1"/>
                </a:solidFill>
                <a:latin typeface="Segoe UI Light" pitchFamily="34" charset="0"/>
              </a:rPr>
              <a:t>RAPID RESPONSE</a:t>
            </a:r>
          </a:p>
        </p:txBody>
      </p:sp>
      <p:sp>
        <p:nvSpPr>
          <p:cNvPr id="8" name="Rectangle 7"/>
          <p:cNvSpPr/>
          <p:nvPr/>
        </p:nvSpPr>
        <p:spPr>
          <a:xfrm>
            <a:off x="950612" y="1285432"/>
            <a:ext cx="7213618" cy="18574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en-US" dirty="0"/>
          </a:p>
        </p:txBody>
      </p:sp>
      <p:cxnSp>
        <p:nvCxnSpPr>
          <p:cNvPr id="9" name="Straight Connector 8"/>
          <p:cNvCxnSpPr/>
          <p:nvPr/>
        </p:nvCxnSpPr>
        <p:spPr>
          <a:xfrm>
            <a:off x="2752489" y="1285426"/>
            <a:ext cx="11104" cy="184440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stCxn id="8" idx="0"/>
          </p:cNvCxnSpPr>
          <p:nvPr/>
        </p:nvCxnSpPr>
        <p:spPr>
          <a:xfrm>
            <a:off x="4557428" y="1285425"/>
            <a:ext cx="13387" cy="184436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6362236" y="1285426"/>
            <a:ext cx="8167" cy="1844906"/>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2" name="Group 11"/>
          <p:cNvGrpSpPr/>
          <p:nvPr/>
        </p:nvGrpSpPr>
        <p:grpSpPr>
          <a:xfrm>
            <a:off x="945119" y="1170313"/>
            <a:ext cx="7213617" cy="115112"/>
            <a:chOff x="1259822" y="566905"/>
            <a:chExt cx="9615651" cy="675150"/>
          </a:xfrm>
        </p:grpSpPr>
        <p:sp>
          <p:nvSpPr>
            <p:cNvPr id="13" name="Rectangle 12"/>
            <p:cNvSpPr/>
            <p:nvPr/>
          </p:nvSpPr>
          <p:spPr>
            <a:xfrm>
              <a:off x="8505744" y="566905"/>
              <a:ext cx="2369729" cy="6751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p:nvSpPr>
          <p:spPr>
            <a:xfrm>
              <a:off x="6092824" y="566905"/>
              <a:ext cx="2367850" cy="6751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p:cNvSpPr/>
            <p:nvPr/>
          </p:nvSpPr>
          <p:spPr>
            <a:xfrm>
              <a:off x="3687034" y="566905"/>
              <a:ext cx="2367850" cy="6751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p:cNvSpPr/>
            <p:nvPr/>
          </p:nvSpPr>
          <p:spPr>
            <a:xfrm>
              <a:off x="1259822" y="566905"/>
              <a:ext cx="2389111" cy="6751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7" name="TextBox 16"/>
          <p:cNvSpPr txBox="1"/>
          <p:nvPr/>
        </p:nvSpPr>
        <p:spPr>
          <a:xfrm>
            <a:off x="960189" y="3893837"/>
            <a:ext cx="7213616" cy="392415"/>
          </a:xfrm>
          <a:prstGeom prst="rect">
            <a:avLst/>
          </a:prstGeom>
          <a:noFill/>
        </p:spPr>
        <p:txBody>
          <a:bodyPr wrap="square" lIns="68571" tIns="34286" rIns="68571" bIns="34286" rtlCol="0">
            <a:spAutoFit/>
          </a:bodyPr>
          <a:lstStyle/>
          <a:p>
            <a:pPr algn="ctr"/>
            <a:r>
              <a:rPr lang="en-US" sz="2100" dirty="0">
                <a:latin typeface="Segoe UI Light" pitchFamily="34" charset="0"/>
              </a:rPr>
              <a:t>Companies need an integrated security strategy</a:t>
            </a:r>
          </a:p>
        </p:txBody>
      </p:sp>
      <p:sp>
        <p:nvSpPr>
          <p:cNvPr id="18" name="Freeform 17"/>
          <p:cNvSpPr>
            <a:spLocks noEditPoints="1"/>
          </p:cNvSpPr>
          <p:nvPr/>
        </p:nvSpPr>
        <p:spPr bwMode="black">
          <a:xfrm rot="900000">
            <a:off x="6964499" y="1892388"/>
            <a:ext cx="615210" cy="750355"/>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FFFFFF"/>
          </a:solidFill>
          <a:ln>
            <a:noFill/>
          </a:ln>
        </p:spPr>
        <p:txBody>
          <a:bodyPr vert="horz" wrap="square" lIns="61720" tIns="30860" rIns="61720" bIns="3086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200" dirty="0"/>
          </a:p>
        </p:txBody>
      </p:sp>
      <p:pic>
        <p:nvPicPr>
          <p:cNvPr id="19" name="Picture 2" descr="C:\Users\mnguyen\Pictures\Graphics\Cloud Power\Blue\Secure.png"/>
          <p:cNvPicPr>
            <a:picLocks noChangeAspect="1" noChangeArrowheads="1"/>
          </p:cNvPicPr>
          <p:nvPr/>
        </p:nvPicPr>
        <p:blipFill>
          <a:blip r:embed="rId3" cstate="email">
            <a:biLevel thresh="25000"/>
            <a:extLst>
              <a:ext uri="{28A0092B-C50C-407E-A947-70E740481C1C}">
                <a14:useLocalDpi xmlns:a14="http://schemas.microsoft.com/office/drawing/2010/main"/>
              </a:ext>
            </a:extLst>
          </a:blip>
          <a:srcRect/>
          <a:stretch>
            <a:fillRect/>
          </a:stretch>
        </p:blipFill>
        <p:spPr bwMode="auto">
          <a:xfrm>
            <a:off x="3085712" y="1668334"/>
            <a:ext cx="1086133" cy="108585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0" name="TextBox 19"/>
          <p:cNvSpPr txBox="1"/>
          <p:nvPr/>
        </p:nvSpPr>
        <p:spPr>
          <a:xfrm>
            <a:off x="1355361" y="1645028"/>
            <a:ext cx="971803" cy="1177245"/>
          </a:xfrm>
          <a:prstGeom prst="rect">
            <a:avLst/>
          </a:prstGeom>
          <a:noFill/>
        </p:spPr>
        <p:txBody>
          <a:bodyPr wrap="square" lIns="68571" tIns="34286" rIns="68571" bIns="34286" rtlCol="0">
            <a:spAutoFit/>
          </a:bodyPr>
          <a:lstStyle/>
          <a:p>
            <a:r>
              <a:rPr lang="en-US" sz="7200" dirty="0">
                <a:latin typeface="Webdings" pitchFamily="18" charset="2"/>
              </a:rPr>
              <a:t>f</a:t>
            </a:r>
          </a:p>
        </p:txBody>
      </p:sp>
      <p:grpSp>
        <p:nvGrpSpPr>
          <p:cNvPr id="21" name="Group 20"/>
          <p:cNvGrpSpPr/>
          <p:nvPr/>
        </p:nvGrpSpPr>
        <p:grpSpPr>
          <a:xfrm>
            <a:off x="4923564" y="1793192"/>
            <a:ext cx="850750" cy="852413"/>
            <a:chOff x="6563042" y="1919069"/>
            <a:chExt cx="1134038" cy="1136551"/>
          </a:xfrm>
        </p:grpSpPr>
        <p:grpSp>
          <p:nvGrpSpPr>
            <p:cNvPr id="22" name="Group 21"/>
            <p:cNvGrpSpPr/>
            <p:nvPr/>
          </p:nvGrpSpPr>
          <p:grpSpPr>
            <a:xfrm>
              <a:off x="6851824" y="1919069"/>
              <a:ext cx="845256" cy="916435"/>
              <a:chOff x="7000705" y="1812217"/>
              <a:chExt cx="914400" cy="991402"/>
            </a:xfrm>
          </p:grpSpPr>
          <p:sp>
            <p:nvSpPr>
              <p:cNvPr id="34" name="Oval 33"/>
              <p:cNvSpPr/>
              <p:nvPr/>
            </p:nvSpPr>
            <p:spPr>
              <a:xfrm>
                <a:off x="7192225" y="2251319"/>
                <a:ext cx="155418" cy="147836"/>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Trapezoid 34"/>
              <p:cNvSpPr/>
              <p:nvPr/>
            </p:nvSpPr>
            <p:spPr>
              <a:xfrm>
                <a:off x="7193281" y="2374325"/>
                <a:ext cx="154362" cy="258385"/>
              </a:xfrm>
              <a:prstGeom prst="trapezoid">
                <a:avLst>
                  <a:gd name="adj" fmla="val 16772"/>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Rectangle 35"/>
              <p:cNvSpPr/>
              <p:nvPr/>
            </p:nvSpPr>
            <p:spPr>
              <a:xfrm rot="900000">
                <a:off x="7000705" y="2157056"/>
                <a:ext cx="914400" cy="646563"/>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7" name="Straight Connector 36"/>
              <p:cNvCxnSpPr/>
              <p:nvPr/>
            </p:nvCxnSpPr>
            <p:spPr>
              <a:xfrm>
                <a:off x="7147560" y="2514600"/>
                <a:ext cx="547052" cy="1524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Oval 37"/>
              <p:cNvSpPr/>
              <p:nvPr/>
            </p:nvSpPr>
            <p:spPr>
              <a:xfrm>
                <a:off x="7121576" y="2341282"/>
                <a:ext cx="310345" cy="310345"/>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9" name="Straight Connector 38"/>
              <p:cNvCxnSpPr/>
              <p:nvPr/>
            </p:nvCxnSpPr>
            <p:spPr>
              <a:xfrm flipV="1">
                <a:off x="7574280" y="2538095"/>
                <a:ext cx="32068" cy="927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V="1">
                <a:off x="7685404" y="2569210"/>
                <a:ext cx="32068" cy="927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V="1">
                <a:off x="7457905" y="2505075"/>
                <a:ext cx="32068" cy="927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V="1">
                <a:off x="7344309" y="2472627"/>
                <a:ext cx="32068" cy="927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a:off x="7147560" y="2209800"/>
                <a:ext cx="89852" cy="3048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4" name="Rectangle 43"/>
              <p:cNvSpPr/>
              <p:nvPr/>
            </p:nvSpPr>
            <p:spPr>
              <a:xfrm rot="900000">
                <a:off x="7387126" y="2674459"/>
                <a:ext cx="228600" cy="113155"/>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5" name="Straight Connector 44"/>
              <p:cNvCxnSpPr/>
              <p:nvPr/>
            </p:nvCxnSpPr>
            <p:spPr>
              <a:xfrm>
                <a:off x="7296845" y="2209800"/>
                <a:ext cx="566995" cy="164525"/>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46" name="Freeform 45"/>
              <p:cNvSpPr/>
              <p:nvPr/>
            </p:nvSpPr>
            <p:spPr>
              <a:xfrm rot="20700000">
                <a:off x="7451777" y="1812217"/>
                <a:ext cx="334954" cy="626744"/>
              </a:xfrm>
              <a:custGeom>
                <a:avLst/>
                <a:gdLst>
                  <a:gd name="connsiteX0" fmla="*/ 142875 w 472440"/>
                  <a:gd name="connsiteY0" fmla="*/ 240030 h 967740"/>
                  <a:gd name="connsiteX1" fmla="*/ 0 w 472440"/>
                  <a:gd name="connsiteY1" fmla="*/ 923925 h 967740"/>
                  <a:gd name="connsiteX2" fmla="*/ 205740 w 472440"/>
                  <a:gd name="connsiteY2" fmla="*/ 375285 h 967740"/>
                  <a:gd name="connsiteX3" fmla="*/ 472440 w 472440"/>
                  <a:gd name="connsiteY3" fmla="*/ 967740 h 967740"/>
                  <a:gd name="connsiteX4" fmla="*/ 228600 w 472440"/>
                  <a:gd name="connsiteY4" fmla="*/ 251460 h 967740"/>
                  <a:gd name="connsiteX5" fmla="*/ 360045 w 472440"/>
                  <a:gd name="connsiteY5" fmla="*/ 125730 h 967740"/>
                  <a:gd name="connsiteX6" fmla="*/ 209550 w 472440"/>
                  <a:gd name="connsiteY6" fmla="*/ 0 h 967740"/>
                  <a:gd name="connsiteX7" fmla="*/ 49530 w 472440"/>
                  <a:gd name="connsiteY7" fmla="*/ 102870 h 967740"/>
                  <a:gd name="connsiteX8" fmla="*/ 142875 w 472440"/>
                  <a:gd name="connsiteY8" fmla="*/ 240030 h 967740"/>
                  <a:gd name="connsiteX0" fmla="*/ 142875 w 472440"/>
                  <a:gd name="connsiteY0" fmla="*/ 240030 h 967740"/>
                  <a:gd name="connsiteX1" fmla="*/ 0 w 472440"/>
                  <a:gd name="connsiteY1" fmla="*/ 923925 h 967740"/>
                  <a:gd name="connsiteX2" fmla="*/ 205740 w 472440"/>
                  <a:gd name="connsiteY2" fmla="*/ 375285 h 967740"/>
                  <a:gd name="connsiteX3" fmla="*/ 472440 w 472440"/>
                  <a:gd name="connsiteY3" fmla="*/ 967740 h 967740"/>
                  <a:gd name="connsiteX4" fmla="*/ 228600 w 472440"/>
                  <a:gd name="connsiteY4" fmla="*/ 251460 h 967740"/>
                  <a:gd name="connsiteX5" fmla="*/ 360045 w 472440"/>
                  <a:gd name="connsiteY5" fmla="*/ 125730 h 967740"/>
                  <a:gd name="connsiteX6" fmla="*/ 209550 w 472440"/>
                  <a:gd name="connsiteY6" fmla="*/ 0 h 967740"/>
                  <a:gd name="connsiteX7" fmla="*/ 49530 w 472440"/>
                  <a:gd name="connsiteY7" fmla="*/ 102870 h 967740"/>
                  <a:gd name="connsiteX8" fmla="*/ 142875 w 472440"/>
                  <a:gd name="connsiteY8" fmla="*/ 240030 h 967740"/>
                  <a:gd name="connsiteX0" fmla="*/ 142875 w 472440"/>
                  <a:gd name="connsiteY0" fmla="*/ 240030 h 967740"/>
                  <a:gd name="connsiteX1" fmla="*/ 0 w 472440"/>
                  <a:gd name="connsiteY1" fmla="*/ 923925 h 967740"/>
                  <a:gd name="connsiteX2" fmla="*/ 205740 w 472440"/>
                  <a:gd name="connsiteY2" fmla="*/ 375285 h 967740"/>
                  <a:gd name="connsiteX3" fmla="*/ 472440 w 472440"/>
                  <a:gd name="connsiteY3" fmla="*/ 967740 h 967740"/>
                  <a:gd name="connsiteX4" fmla="*/ 228600 w 472440"/>
                  <a:gd name="connsiteY4" fmla="*/ 251460 h 967740"/>
                  <a:gd name="connsiteX5" fmla="*/ 360045 w 472440"/>
                  <a:gd name="connsiteY5" fmla="*/ 125730 h 967740"/>
                  <a:gd name="connsiteX6" fmla="*/ 209550 w 472440"/>
                  <a:gd name="connsiteY6" fmla="*/ 0 h 967740"/>
                  <a:gd name="connsiteX7" fmla="*/ 49530 w 472440"/>
                  <a:gd name="connsiteY7" fmla="*/ 102870 h 967740"/>
                  <a:gd name="connsiteX8" fmla="*/ 142875 w 472440"/>
                  <a:gd name="connsiteY8" fmla="*/ 240030 h 967740"/>
                  <a:gd name="connsiteX0" fmla="*/ 142875 w 472440"/>
                  <a:gd name="connsiteY0" fmla="*/ 240030 h 967740"/>
                  <a:gd name="connsiteX1" fmla="*/ 0 w 472440"/>
                  <a:gd name="connsiteY1" fmla="*/ 923925 h 967740"/>
                  <a:gd name="connsiteX2" fmla="*/ 205740 w 472440"/>
                  <a:gd name="connsiteY2" fmla="*/ 375285 h 967740"/>
                  <a:gd name="connsiteX3" fmla="*/ 472440 w 472440"/>
                  <a:gd name="connsiteY3" fmla="*/ 967740 h 967740"/>
                  <a:gd name="connsiteX4" fmla="*/ 228600 w 472440"/>
                  <a:gd name="connsiteY4" fmla="*/ 251460 h 967740"/>
                  <a:gd name="connsiteX5" fmla="*/ 360045 w 472440"/>
                  <a:gd name="connsiteY5" fmla="*/ 125730 h 967740"/>
                  <a:gd name="connsiteX6" fmla="*/ 209550 w 472440"/>
                  <a:gd name="connsiteY6" fmla="*/ 0 h 967740"/>
                  <a:gd name="connsiteX7" fmla="*/ 49530 w 472440"/>
                  <a:gd name="connsiteY7" fmla="*/ 102870 h 967740"/>
                  <a:gd name="connsiteX8" fmla="*/ 142875 w 472440"/>
                  <a:gd name="connsiteY8" fmla="*/ 240030 h 967740"/>
                  <a:gd name="connsiteX0" fmla="*/ 142875 w 472440"/>
                  <a:gd name="connsiteY0" fmla="*/ 240030 h 967740"/>
                  <a:gd name="connsiteX1" fmla="*/ 0 w 472440"/>
                  <a:gd name="connsiteY1" fmla="*/ 923925 h 967740"/>
                  <a:gd name="connsiteX2" fmla="*/ 205740 w 472440"/>
                  <a:gd name="connsiteY2" fmla="*/ 375285 h 967740"/>
                  <a:gd name="connsiteX3" fmla="*/ 472440 w 472440"/>
                  <a:gd name="connsiteY3" fmla="*/ 967740 h 967740"/>
                  <a:gd name="connsiteX4" fmla="*/ 228600 w 472440"/>
                  <a:gd name="connsiteY4" fmla="*/ 251460 h 967740"/>
                  <a:gd name="connsiteX5" fmla="*/ 360045 w 472440"/>
                  <a:gd name="connsiteY5" fmla="*/ 125730 h 967740"/>
                  <a:gd name="connsiteX6" fmla="*/ 209550 w 472440"/>
                  <a:gd name="connsiteY6" fmla="*/ 0 h 967740"/>
                  <a:gd name="connsiteX7" fmla="*/ 49530 w 472440"/>
                  <a:gd name="connsiteY7" fmla="*/ 102870 h 967740"/>
                  <a:gd name="connsiteX8" fmla="*/ 142875 w 472440"/>
                  <a:gd name="connsiteY8" fmla="*/ 240030 h 967740"/>
                  <a:gd name="connsiteX0" fmla="*/ 142875 w 472440"/>
                  <a:gd name="connsiteY0" fmla="*/ 240030 h 967740"/>
                  <a:gd name="connsiteX1" fmla="*/ 0 w 472440"/>
                  <a:gd name="connsiteY1" fmla="*/ 923925 h 967740"/>
                  <a:gd name="connsiteX2" fmla="*/ 205740 w 472440"/>
                  <a:gd name="connsiteY2" fmla="*/ 375285 h 967740"/>
                  <a:gd name="connsiteX3" fmla="*/ 472440 w 472440"/>
                  <a:gd name="connsiteY3" fmla="*/ 967740 h 967740"/>
                  <a:gd name="connsiteX4" fmla="*/ 228600 w 472440"/>
                  <a:gd name="connsiteY4" fmla="*/ 251460 h 967740"/>
                  <a:gd name="connsiteX5" fmla="*/ 360045 w 472440"/>
                  <a:gd name="connsiteY5" fmla="*/ 125730 h 967740"/>
                  <a:gd name="connsiteX6" fmla="*/ 209550 w 472440"/>
                  <a:gd name="connsiteY6" fmla="*/ 0 h 967740"/>
                  <a:gd name="connsiteX7" fmla="*/ 49530 w 472440"/>
                  <a:gd name="connsiteY7" fmla="*/ 102870 h 967740"/>
                  <a:gd name="connsiteX8" fmla="*/ 142875 w 472440"/>
                  <a:gd name="connsiteY8" fmla="*/ 240030 h 967740"/>
                  <a:gd name="connsiteX0" fmla="*/ 142875 w 472440"/>
                  <a:gd name="connsiteY0" fmla="*/ 241137 h 968847"/>
                  <a:gd name="connsiteX1" fmla="*/ 0 w 472440"/>
                  <a:gd name="connsiteY1" fmla="*/ 925032 h 968847"/>
                  <a:gd name="connsiteX2" fmla="*/ 205740 w 472440"/>
                  <a:gd name="connsiteY2" fmla="*/ 376392 h 968847"/>
                  <a:gd name="connsiteX3" fmla="*/ 472440 w 472440"/>
                  <a:gd name="connsiteY3" fmla="*/ 968847 h 968847"/>
                  <a:gd name="connsiteX4" fmla="*/ 228600 w 472440"/>
                  <a:gd name="connsiteY4" fmla="*/ 252567 h 968847"/>
                  <a:gd name="connsiteX5" fmla="*/ 360045 w 472440"/>
                  <a:gd name="connsiteY5" fmla="*/ 126837 h 968847"/>
                  <a:gd name="connsiteX6" fmla="*/ 209550 w 472440"/>
                  <a:gd name="connsiteY6" fmla="*/ 1107 h 968847"/>
                  <a:gd name="connsiteX7" fmla="*/ 49530 w 472440"/>
                  <a:gd name="connsiteY7" fmla="*/ 103977 h 968847"/>
                  <a:gd name="connsiteX8" fmla="*/ 142875 w 472440"/>
                  <a:gd name="connsiteY8" fmla="*/ 241137 h 968847"/>
                  <a:gd name="connsiteX0" fmla="*/ 142875 w 472440"/>
                  <a:gd name="connsiteY0" fmla="*/ 241836 h 969546"/>
                  <a:gd name="connsiteX1" fmla="*/ 0 w 472440"/>
                  <a:gd name="connsiteY1" fmla="*/ 925731 h 969546"/>
                  <a:gd name="connsiteX2" fmla="*/ 205740 w 472440"/>
                  <a:gd name="connsiteY2" fmla="*/ 377091 h 969546"/>
                  <a:gd name="connsiteX3" fmla="*/ 472440 w 472440"/>
                  <a:gd name="connsiteY3" fmla="*/ 969546 h 969546"/>
                  <a:gd name="connsiteX4" fmla="*/ 228600 w 472440"/>
                  <a:gd name="connsiteY4" fmla="*/ 253266 h 969546"/>
                  <a:gd name="connsiteX5" fmla="*/ 360045 w 472440"/>
                  <a:gd name="connsiteY5" fmla="*/ 127536 h 969546"/>
                  <a:gd name="connsiteX6" fmla="*/ 209550 w 472440"/>
                  <a:gd name="connsiteY6" fmla="*/ 1806 h 969546"/>
                  <a:gd name="connsiteX7" fmla="*/ 49530 w 472440"/>
                  <a:gd name="connsiteY7" fmla="*/ 104676 h 969546"/>
                  <a:gd name="connsiteX8" fmla="*/ 142875 w 472440"/>
                  <a:gd name="connsiteY8" fmla="*/ 241836 h 969546"/>
                  <a:gd name="connsiteX0" fmla="*/ 142875 w 472440"/>
                  <a:gd name="connsiteY0" fmla="*/ 241836 h 969546"/>
                  <a:gd name="connsiteX1" fmla="*/ 0 w 472440"/>
                  <a:gd name="connsiteY1" fmla="*/ 925731 h 969546"/>
                  <a:gd name="connsiteX2" fmla="*/ 205740 w 472440"/>
                  <a:gd name="connsiteY2" fmla="*/ 377091 h 969546"/>
                  <a:gd name="connsiteX3" fmla="*/ 472440 w 472440"/>
                  <a:gd name="connsiteY3" fmla="*/ 969546 h 969546"/>
                  <a:gd name="connsiteX4" fmla="*/ 228600 w 472440"/>
                  <a:gd name="connsiteY4" fmla="*/ 253266 h 969546"/>
                  <a:gd name="connsiteX5" fmla="*/ 360045 w 472440"/>
                  <a:gd name="connsiteY5" fmla="*/ 127536 h 969546"/>
                  <a:gd name="connsiteX6" fmla="*/ 209550 w 472440"/>
                  <a:gd name="connsiteY6" fmla="*/ 1806 h 969546"/>
                  <a:gd name="connsiteX7" fmla="*/ 49530 w 472440"/>
                  <a:gd name="connsiteY7" fmla="*/ 104676 h 969546"/>
                  <a:gd name="connsiteX8" fmla="*/ 142875 w 472440"/>
                  <a:gd name="connsiteY8" fmla="*/ 241836 h 969546"/>
                  <a:gd name="connsiteX0" fmla="*/ 142875 w 472440"/>
                  <a:gd name="connsiteY0" fmla="*/ 241836 h 969546"/>
                  <a:gd name="connsiteX1" fmla="*/ 0 w 472440"/>
                  <a:gd name="connsiteY1" fmla="*/ 925731 h 969546"/>
                  <a:gd name="connsiteX2" fmla="*/ 205740 w 472440"/>
                  <a:gd name="connsiteY2" fmla="*/ 377091 h 969546"/>
                  <a:gd name="connsiteX3" fmla="*/ 472440 w 472440"/>
                  <a:gd name="connsiteY3" fmla="*/ 969546 h 969546"/>
                  <a:gd name="connsiteX4" fmla="*/ 228600 w 472440"/>
                  <a:gd name="connsiteY4" fmla="*/ 253266 h 969546"/>
                  <a:gd name="connsiteX5" fmla="*/ 360045 w 472440"/>
                  <a:gd name="connsiteY5" fmla="*/ 127536 h 969546"/>
                  <a:gd name="connsiteX6" fmla="*/ 209550 w 472440"/>
                  <a:gd name="connsiteY6" fmla="*/ 1806 h 969546"/>
                  <a:gd name="connsiteX7" fmla="*/ 49530 w 472440"/>
                  <a:gd name="connsiteY7" fmla="*/ 104676 h 969546"/>
                  <a:gd name="connsiteX8" fmla="*/ 142875 w 472440"/>
                  <a:gd name="connsiteY8" fmla="*/ 241836 h 969546"/>
                  <a:gd name="connsiteX0" fmla="*/ 142875 w 472440"/>
                  <a:gd name="connsiteY0" fmla="*/ 241836 h 969546"/>
                  <a:gd name="connsiteX1" fmla="*/ 0 w 472440"/>
                  <a:gd name="connsiteY1" fmla="*/ 925731 h 969546"/>
                  <a:gd name="connsiteX2" fmla="*/ 198120 w 472440"/>
                  <a:gd name="connsiteY2" fmla="*/ 375186 h 969546"/>
                  <a:gd name="connsiteX3" fmla="*/ 472440 w 472440"/>
                  <a:gd name="connsiteY3" fmla="*/ 969546 h 969546"/>
                  <a:gd name="connsiteX4" fmla="*/ 228600 w 472440"/>
                  <a:gd name="connsiteY4" fmla="*/ 253266 h 969546"/>
                  <a:gd name="connsiteX5" fmla="*/ 360045 w 472440"/>
                  <a:gd name="connsiteY5" fmla="*/ 127536 h 969546"/>
                  <a:gd name="connsiteX6" fmla="*/ 209550 w 472440"/>
                  <a:gd name="connsiteY6" fmla="*/ 1806 h 969546"/>
                  <a:gd name="connsiteX7" fmla="*/ 49530 w 472440"/>
                  <a:gd name="connsiteY7" fmla="*/ 104676 h 969546"/>
                  <a:gd name="connsiteX8" fmla="*/ 142875 w 472440"/>
                  <a:gd name="connsiteY8" fmla="*/ 241836 h 969546"/>
                  <a:gd name="connsiteX0" fmla="*/ 142875 w 472440"/>
                  <a:gd name="connsiteY0" fmla="*/ 241836 h 969546"/>
                  <a:gd name="connsiteX1" fmla="*/ 0 w 472440"/>
                  <a:gd name="connsiteY1" fmla="*/ 925731 h 969546"/>
                  <a:gd name="connsiteX2" fmla="*/ 198120 w 472440"/>
                  <a:gd name="connsiteY2" fmla="*/ 375186 h 969546"/>
                  <a:gd name="connsiteX3" fmla="*/ 472440 w 472440"/>
                  <a:gd name="connsiteY3" fmla="*/ 969546 h 969546"/>
                  <a:gd name="connsiteX4" fmla="*/ 228600 w 472440"/>
                  <a:gd name="connsiteY4" fmla="*/ 253266 h 969546"/>
                  <a:gd name="connsiteX5" fmla="*/ 344805 w 472440"/>
                  <a:gd name="connsiteY5" fmla="*/ 127536 h 969546"/>
                  <a:gd name="connsiteX6" fmla="*/ 209550 w 472440"/>
                  <a:gd name="connsiteY6" fmla="*/ 1806 h 969546"/>
                  <a:gd name="connsiteX7" fmla="*/ 49530 w 472440"/>
                  <a:gd name="connsiteY7" fmla="*/ 104676 h 969546"/>
                  <a:gd name="connsiteX8" fmla="*/ 142875 w 472440"/>
                  <a:gd name="connsiteY8" fmla="*/ 241836 h 969546"/>
                  <a:gd name="connsiteX0" fmla="*/ 142875 w 472440"/>
                  <a:gd name="connsiteY0" fmla="*/ 241836 h 969546"/>
                  <a:gd name="connsiteX1" fmla="*/ 0 w 472440"/>
                  <a:gd name="connsiteY1" fmla="*/ 925731 h 969546"/>
                  <a:gd name="connsiteX2" fmla="*/ 198120 w 472440"/>
                  <a:gd name="connsiteY2" fmla="*/ 375186 h 969546"/>
                  <a:gd name="connsiteX3" fmla="*/ 472440 w 472440"/>
                  <a:gd name="connsiteY3" fmla="*/ 969546 h 969546"/>
                  <a:gd name="connsiteX4" fmla="*/ 323850 w 472440"/>
                  <a:gd name="connsiteY4" fmla="*/ 539017 h 969546"/>
                  <a:gd name="connsiteX5" fmla="*/ 228600 w 472440"/>
                  <a:gd name="connsiteY5" fmla="*/ 253266 h 969546"/>
                  <a:gd name="connsiteX6" fmla="*/ 344805 w 472440"/>
                  <a:gd name="connsiteY6" fmla="*/ 127536 h 969546"/>
                  <a:gd name="connsiteX7" fmla="*/ 209550 w 472440"/>
                  <a:gd name="connsiteY7" fmla="*/ 1806 h 969546"/>
                  <a:gd name="connsiteX8" fmla="*/ 49530 w 472440"/>
                  <a:gd name="connsiteY8" fmla="*/ 104676 h 969546"/>
                  <a:gd name="connsiteX9" fmla="*/ 142875 w 472440"/>
                  <a:gd name="connsiteY9" fmla="*/ 241836 h 969546"/>
                  <a:gd name="connsiteX0" fmla="*/ 142875 w 472440"/>
                  <a:gd name="connsiteY0" fmla="*/ 241836 h 969546"/>
                  <a:gd name="connsiteX1" fmla="*/ 0 w 472440"/>
                  <a:gd name="connsiteY1" fmla="*/ 925731 h 969546"/>
                  <a:gd name="connsiteX2" fmla="*/ 198120 w 472440"/>
                  <a:gd name="connsiteY2" fmla="*/ 375186 h 969546"/>
                  <a:gd name="connsiteX3" fmla="*/ 472440 w 472440"/>
                  <a:gd name="connsiteY3" fmla="*/ 969546 h 969546"/>
                  <a:gd name="connsiteX4" fmla="*/ 333375 w 472440"/>
                  <a:gd name="connsiteY4" fmla="*/ 573307 h 969546"/>
                  <a:gd name="connsiteX5" fmla="*/ 323850 w 472440"/>
                  <a:gd name="connsiteY5" fmla="*/ 539017 h 969546"/>
                  <a:gd name="connsiteX6" fmla="*/ 228600 w 472440"/>
                  <a:gd name="connsiteY6" fmla="*/ 253266 h 969546"/>
                  <a:gd name="connsiteX7" fmla="*/ 344805 w 472440"/>
                  <a:gd name="connsiteY7" fmla="*/ 127536 h 969546"/>
                  <a:gd name="connsiteX8" fmla="*/ 209550 w 472440"/>
                  <a:gd name="connsiteY8" fmla="*/ 1806 h 969546"/>
                  <a:gd name="connsiteX9" fmla="*/ 49530 w 472440"/>
                  <a:gd name="connsiteY9" fmla="*/ 104676 h 969546"/>
                  <a:gd name="connsiteX10" fmla="*/ 142875 w 472440"/>
                  <a:gd name="connsiteY10" fmla="*/ 241836 h 969546"/>
                  <a:gd name="connsiteX0" fmla="*/ 142875 w 472440"/>
                  <a:gd name="connsiteY0" fmla="*/ 241836 h 969546"/>
                  <a:gd name="connsiteX1" fmla="*/ 0 w 472440"/>
                  <a:gd name="connsiteY1" fmla="*/ 925731 h 969546"/>
                  <a:gd name="connsiteX2" fmla="*/ 198120 w 472440"/>
                  <a:gd name="connsiteY2" fmla="*/ 375186 h 969546"/>
                  <a:gd name="connsiteX3" fmla="*/ 472440 w 472440"/>
                  <a:gd name="connsiteY3" fmla="*/ 969546 h 969546"/>
                  <a:gd name="connsiteX4" fmla="*/ 333375 w 472440"/>
                  <a:gd name="connsiteY4" fmla="*/ 573307 h 969546"/>
                  <a:gd name="connsiteX5" fmla="*/ 323850 w 472440"/>
                  <a:gd name="connsiteY5" fmla="*/ 539017 h 969546"/>
                  <a:gd name="connsiteX6" fmla="*/ 312420 w 472440"/>
                  <a:gd name="connsiteY6" fmla="*/ 502822 h 969546"/>
                  <a:gd name="connsiteX7" fmla="*/ 228600 w 472440"/>
                  <a:gd name="connsiteY7" fmla="*/ 253266 h 969546"/>
                  <a:gd name="connsiteX8" fmla="*/ 344805 w 472440"/>
                  <a:gd name="connsiteY8" fmla="*/ 127536 h 969546"/>
                  <a:gd name="connsiteX9" fmla="*/ 209550 w 472440"/>
                  <a:gd name="connsiteY9" fmla="*/ 1806 h 969546"/>
                  <a:gd name="connsiteX10" fmla="*/ 49530 w 472440"/>
                  <a:gd name="connsiteY10" fmla="*/ 104676 h 969546"/>
                  <a:gd name="connsiteX11" fmla="*/ 142875 w 472440"/>
                  <a:gd name="connsiteY11" fmla="*/ 241836 h 969546"/>
                  <a:gd name="connsiteX0" fmla="*/ 142875 w 472440"/>
                  <a:gd name="connsiteY0" fmla="*/ 241836 h 969546"/>
                  <a:gd name="connsiteX1" fmla="*/ 0 w 472440"/>
                  <a:gd name="connsiteY1" fmla="*/ 925731 h 969546"/>
                  <a:gd name="connsiteX2" fmla="*/ 198120 w 472440"/>
                  <a:gd name="connsiteY2" fmla="*/ 375186 h 969546"/>
                  <a:gd name="connsiteX3" fmla="*/ 472440 w 472440"/>
                  <a:gd name="connsiteY3" fmla="*/ 969546 h 969546"/>
                  <a:gd name="connsiteX4" fmla="*/ 339090 w 472440"/>
                  <a:gd name="connsiteY4" fmla="*/ 594262 h 969546"/>
                  <a:gd name="connsiteX5" fmla="*/ 333375 w 472440"/>
                  <a:gd name="connsiteY5" fmla="*/ 573307 h 969546"/>
                  <a:gd name="connsiteX6" fmla="*/ 323850 w 472440"/>
                  <a:gd name="connsiteY6" fmla="*/ 539017 h 969546"/>
                  <a:gd name="connsiteX7" fmla="*/ 312420 w 472440"/>
                  <a:gd name="connsiteY7" fmla="*/ 502822 h 969546"/>
                  <a:gd name="connsiteX8" fmla="*/ 228600 w 472440"/>
                  <a:gd name="connsiteY8" fmla="*/ 253266 h 969546"/>
                  <a:gd name="connsiteX9" fmla="*/ 344805 w 472440"/>
                  <a:gd name="connsiteY9" fmla="*/ 127536 h 969546"/>
                  <a:gd name="connsiteX10" fmla="*/ 209550 w 472440"/>
                  <a:gd name="connsiteY10" fmla="*/ 1806 h 969546"/>
                  <a:gd name="connsiteX11" fmla="*/ 49530 w 472440"/>
                  <a:gd name="connsiteY11" fmla="*/ 104676 h 969546"/>
                  <a:gd name="connsiteX12" fmla="*/ 142875 w 472440"/>
                  <a:gd name="connsiteY12" fmla="*/ 241836 h 969546"/>
                  <a:gd name="connsiteX0" fmla="*/ 142875 w 472440"/>
                  <a:gd name="connsiteY0" fmla="*/ 241836 h 969546"/>
                  <a:gd name="connsiteX1" fmla="*/ 0 w 472440"/>
                  <a:gd name="connsiteY1" fmla="*/ 925731 h 969546"/>
                  <a:gd name="connsiteX2" fmla="*/ 198120 w 472440"/>
                  <a:gd name="connsiteY2" fmla="*/ 375186 h 969546"/>
                  <a:gd name="connsiteX3" fmla="*/ 472440 w 472440"/>
                  <a:gd name="connsiteY3" fmla="*/ 969546 h 969546"/>
                  <a:gd name="connsiteX4" fmla="*/ 339090 w 472440"/>
                  <a:gd name="connsiteY4" fmla="*/ 594262 h 969546"/>
                  <a:gd name="connsiteX5" fmla="*/ 468630 w 472440"/>
                  <a:gd name="connsiteY5" fmla="*/ 548542 h 969546"/>
                  <a:gd name="connsiteX6" fmla="*/ 323850 w 472440"/>
                  <a:gd name="connsiteY6" fmla="*/ 539017 h 969546"/>
                  <a:gd name="connsiteX7" fmla="*/ 312420 w 472440"/>
                  <a:gd name="connsiteY7" fmla="*/ 502822 h 969546"/>
                  <a:gd name="connsiteX8" fmla="*/ 228600 w 472440"/>
                  <a:gd name="connsiteY8" fmla="*/ 253266 h 969546"/>
                  <a:gd name="connsiteX9" fmla="*/ 344805 w 472440"/>
                  <a:gd name="connsiteY9" fmla="*/ 127536 h 969546"/>
                  <a:gd name="connsiteX10" fmla="*/ 209550 w 472440"/>
                  <a:gd name="connsiteY10" fmla="*/ 1806 h 969546"/>
                  <a:gd name="connsiteX11" fmla="*/ 49530 w 472440"/>
                  <a:gd name="connsiteY11" fmla="*/ 104676 h 969546"/>
                  <a:gd name="connsiteX12" fmla="*/ 142875 w 472440"/>
                  <a:gd name="connsiteY12" fmla="*/ 241836 h 969546"/>
                  <a:gd name="connsiteX0" fmla="*/ 142875 w 472440"/>
                  <a:gd name="connsiteY0" fmla="*/ 241836 h 969546"/>
                  <a:gd name="connsiteX1" fmla="*/ 0 w 472440"/>
                  <a:gd name="connsiteY1" fmla="*/ 925731 h 969546"/>
                  <a:gd name="connsiteX2" fmla="*/ 198120 w 472440"/>
                  <a:gd name="connsiteY2" fmla="*/ 375186 h 969546"/>
                  <a:gd name="connsiteX3" fmla="*/ 472440 w 472440"/>
                  <a:gd name="connsiteY3" fmla="*/ 969546 h 969546"/>
                  <a:gd name="connsiteX4" fmla="*/ 339090 w 472440"/>
                  <a:gd name="connsiteY4" fmla="*/ 594262 h 969546"/>
                  <a:gd name="connsiteX5" fmla="*/ 468630 w 472440"/>
                  <a:gd name="connsiteY5" fmla="*/ 548542 h 969546"/>
                  <a:gd name="connsiteX6" fmla="*/ 470535 w 472440"/>
                  <a:gd name="connsiteY6" fmla="*/ 516157 h 969546"/>
                  <a:gd name="connsiteX7" fmla="*/ 312420 w 472440"/>
                  <a:gd name="connsiteY7" fmla="*/ 502822 h 969546"/>
                  <a:gd name="connsiteX8" fmla="*/ 228600 w 472440"/>
                  <a:gd name="connsiteY8" fmla="*/ 253266 h 969546"/>
                  <a:gd name="connsiteX9" fmla="*/ 344805 w 472440"/>
                  <a:gd name="connsiteY9" fmla="*/ 127536 h 969546"/>
                  <a:gd name="connsiteX10" fmla="*/ 209550 w 472440"/>
                  <a:gd name="connsiteY10" fmla="*/ 1806 h 969546"/>
                  <a:gd name="connsiteX11" fmla="*/ 49530 w 472440"/>
                  <a:gd name="connsiteY11" fmla="*/ 104676 h 969546"/>
                  <a:gd name="connsiteX12" fmla="*/ 142875 w 472440"/>
                  <a:gd name="connsiteY12" fmla="*/ 241836 h 969546"/>
                  <a:gd name="connsiteX0" fmla="*/ 142875 w 472440"/>
                  <a:gd name="connsiteY0" fmla="*/ 241836 h 969546"/>
                  <a:gd name="connsiteX1" fmla="*/ 0 w 472440"/>
                  <a:gd name="connsiteY1" fmla="*/ 925731 h 969546"/>
                  <a:gd name="connsiteX2" fmla="*/ 198120 w 472440"/>
                  <a:gd name="connsiteY2" fmla="*/ 375186 h 969546"/>
                  <a:gd name="connsiteX3" fmla="*/ 472440 w 472440"/>
                  <a:gd name="connsiteY3" fmla="*/ 969546 h 969546"/>
                  <a:gd name="connsiteX4" fmla="*/ 329565 w 472440"/>
                  <a:gd name="connsiteY4" fmla="*/ 542827 h 969546"/>
                  <a:gd name="connsiteX5" fmla="*/ 468630 w 472440"/>
                  <a:gd name="connsiteY5" fmla="*/ 548542 h 969546"/>
                  <a:gd name="connsiteX6" fmla="*/ 470535 w 472440"/>
                  <a:gd name="connsiteY6" fmla="*/ 516157 h 969546"/>
                  <a:gd name="connsiteX7" fmla="*/ 312420 w 472440"/>
                  <a:gd name="connsiteY7" fmla="*/ 502822 h 969546"/>
                  <a:gd name="connsiteX8" fmla="*/ 228600 w 472440"/>
                  <a:gd name="connsiteY8" fmla="*/ 253266 h 969546"/>
                  <a:gd name="connsiteX9" fmla="*/ 344805 w 472440"/>
                  <a:gd name="connsiteY9" fmla="*/ 127536 h 969546"/>
                  <a:gd name="connsiteX10" fmla="*/ 209550 w 472440"/>
                  <a:gd name="connsiteY10" fmla="*/ 1806 h 969546"/>
                  <a:gd name="connsiteX11" fmla="*/ 49530 w 472440"/>
                  <a:gd name="connsiteY11" fmla="*/ 104676 h 969546"/>
                  <a:gd name="connsiteX12" fmla="*/ 142875 w 472440"/>
                  <a:gd name="connsiteY12" fmla="*/ 241836 h 969546"/>
                  <a:gd name="connsiteX0" fmla="*/ 142875 w 472440"/>
                  <a:gd name="connsiteY0" fmla="*/ 241836 h 969546"/>
                  <a:gd name="connsiteX1" fmla="*/ 0 w 472440"/>
                  <a:gd name="connsiteY1" fmla="*/ 925731 h 969546"/>
                  <a:gd name="connsiteX2" fmla="*/ 198120 w 472440"/>
                  <a:gd name="connsiteY2" fmla="*/ 375186 h 969546"/>
                  <a:gd name="connsiteX3" fmla="*/ 472440 w 472440"/>
                  <a:gd name="connsiteY3" fmla="*/ 969546 h 969546"/>
                  <a:gd name="connsiteX4" fmla="*/ 329565 w 472440"/>
                  <a:gd name="connsiteY4" fmla="*/ 542827 h 969546"/>
                  <a:gd name="connsiteX5" fmla="*/ 468630 w 472440"/>
                  <a:gd name="connsiteY5" fmla="*/ 548542 h 969546"/>
                  <a:gd name="connsiteX6" fmla="*/ 453390 w 472440"/>
                  <a:gd name="connsiteY6" fmla="*/ 499012 h 969546"/>
                  <a:gd name="connsiteX7" fmla="*/ 312420 w 472440"/>
                  <a:gd name="connsiteY7" fmla="*/ 502822 h 969546"/>
                  <a:gd name="connsiteX8" fmla="*/ 228600 w 472440"/>
                  <a:gd name="connsiteY8" fmla="*/ 253266 h 969546"/>
                  <a:gd name="connsiteX9" fmla="*/ 344805 w 472440"/>
                  <a:gd name="connsiteY9" fmla="*/ 127536 h 969546"/>
                  <a:gd name="connsiteX10" fmla="*/ 209550 w 472440"/>
                  <a:gd name="connsiteY10" fmla="*/ 1806 h 969546"/>
                  <a:gd name="connsiteX11" fmla="*/ 49530 w 472440"/>
                  <a:gd name="connsiteY11" fmla="*/ 104676 h 969546"/>
                  <a:gd name="connsiteX12" fmla="*/ 142875 w 472440"/>
                  <a:gd name="connsiteY12" fmla="*/ 241836 h 969546"/>
                  <a:gd name="connsiteX0" fmla="*/ 142875 w 472440"/>
                  <a:gd name="connsiteY0" fmla="*/ 241836 h 969546"/>
                  <a:gd name="connsiteX1" fmla="*/ 0 w 472440"/>
                  <a:gd name="connsiteY1" fmla="*/ 925731 h 969546"/>
                  <a:gd name="connsiteX2" fmla="*/ 198120 w 472440"/>
                  <a:gd name="connsiteY2" fmla="*/ 375186 h 969546"/>
                  <a:gd name="connsiteX3" fmla="*/ 472440 w 472440"/>
                  <a:gd name="connsiteY3" fmla="*/ 969546 h 969546"/>
                  <a:gd name="connsiteX4" fmla="*/ 329565 w 472440"/>
                  <a:gd name="connsiteY4" fmla="*/ 542827 h 969546"/>
                  <a:gd name="connsiteX5" fmla="*/ 457200 w 472440"/>
                  <a:gd name="connsiteY5" fmla="*/ 539017 h 969546"/>
                  <a:gd name="connsiteX6" fmla="*/ 453390 w 472440"/>
                  <a:gd name="connsiteY6" fmla="*/ 499012 h 969546"/>
                  <a:gd name="connsiteX7" fmla="*/ 312420 w 472440"/>
                  <a:gd name="connsiteY7" fmla="*/ 502822 h 969546"/>
                  <a:gd name="connsiteX8" fmla="*/ 228600 w 472440"/>
                  <a:gd name="connsiteY8" fmla="*/ 253266 h 969546"/>
                  <a:gd name="connsiteX9" fmla="*/ 344805 w 472440"/>
                  <a:gd name="connsiteY9" fmla="*/ 127536 h 969546"/>
                  <a:gd name="connsiteX10" fmla="*/ 209550 w 472440"/>
                  <a:gd name="connsiteY10" fmla="*/ 1806 h 969546"/>
                  <a:gd name="connsiteX11" fmla="*/ 49530 w 472440"/>
                  <a:gd name="connsiteY11" fmla="*/ 104676 h 969546"/>
                  <a:gd name="connsiteX12" fmla="*/ 142875 w 472440"/>
                  <a:gd name="connsiteY12" fmla="*/ 241836 h 969546"/>
                  <a:gd name="connsiteX0" fmla="*/ 142875 w 472440"/>
                  <a:gd name="connsiteY0" fmla="*/ 241836 h 969546"/>
                  <a:gd name="connsiteX1" fmla="*/ 0 w 472440"/>
                  <a:gd name="connsiteY1" fmla="*/ 925731 h 969546"/>
                  <a:gd name="connsiteX2" fmla="*/ 198120 w 472440"/>
                  <a:gd name="connsiteY2" fmla="*/ 375186 h 969546"/>
                  <a:gd name="connsiteX3" fmla="*/ 472440 w 472440"/>
                  <a:gd name="connsiteY3" fmla="*/ 969546 h 969546"/>
                  <a:gd name="connsiteX4" fmla="*/ 321945 w 472440"/>
                  <a:gd name="connsiteY4" fmla="*/ 533302 h 969546"/>
                  <a:gd name="connsiteX5" fmla="*/ 457200 w 472440"/>
                  <a:gd name="connsiteY5" fmla="*/ 539017 h 969546"/>
                  <a:gd name="connsiteX6" fmla="*/ 453390 w 472440"/>
                  <a:gd name="connsiteY6" fmla="*/ 499012 h 969546"/>
                  <a:gd name="connsiteX7" fmla="*/ 312420 w 472440"/>
                  <a:gd name="connsiteY7" fmla="*/ 502822 h 969546"/>
                  <a:gd name="connsiteX8" fmla="*/ 228600 w 472440"/>
                  <a:gd name="connsiteY8" fmla="*/ 253266 h 969546"/>
                  <a:gd name="connsiteX9" fmla="*/ 344805 w 472440"/>
                  <a:gd name="connsiteY9" fmla="*/ 127536 h 969546"/>
                  <a:gd name="connsiteX10" fmla="*/ 209550 w 472440"/>
                  <a:gd name="connsiteY10" fmla="*/ 1806 h 969546"/>
                  <a:gd name="connsiteX11" fmla="*/ 49530 w 472440"/>
                  <a:gd name="connsiteY11" fmla="*/ 104676 h 969546"/>
                  <a:gd name="connsiteX12" fmla="*/ 142875 w 472440"/>
                  <a:gd name="connsiteY12" fmla="*/ 241836 h 969546"/>
                  <a:gd name="connsiteX0" fmla="*/ 142875 w 472440"/>
                  <a:gd name="connsiteY0" fmla="*/ 241836 h 969546"/>
                  <a:gd name="connsiteX1" fmla="*/ 0 w 472440"/>
                  <a:gd name="connsiteY1" fmla="*/ 925731 h 969546"/>
                  <a:gd name="connsiteX2" fmla="*/ 198120 w 472440"/>
                  <a:gd name="connsiteY2" fmla="*/ 375186 h 969546"/>
                  <a:gd name="connsiteX3" fmla="*/ 472440 w 472440"/>
                  <a:gd name="connsiteY3" fmla="*/ 969546 h 969546"/>
                  <a:gd name="connsiteX4" fmla="*/ 331470 w 472440"/>
                  <a:gd name="connsiteY4" fmla="*/ 537112 h 969546"/>
                  <a:gd name="connsiteX5" fmla="*/ 457200 w 472440"/>
                  <a:gd name="connsiteY5" fmla="*/ 539017 h 969546"/>
                  <a:gd name="connsiteX6" fmla="*/ 453390 w 472440"/>
                  <a:gd name="connsiteY6" fmla="*/ 499012 h 969546"/>
                  <a:gd name="connsiteX7" fmla="*/ 312420 w 472440"/>
                  <a:gd name="connsiteY7" fmla="*/ 502822 h 969546"/>
                  <a:gd name="connsiteX8" fmla="*/ 228600 w 472440"/>
                  <a:gd name="connsiteY8" fmla="*/ 253266 h 969546"/>
                  <a:gd name="connsiteX9" fmla="*/ 344805 w 472440"/>
                  <a:gd name="connsiteY9" fmla="*/ 127536 h 969546"/>
                  <a:gd name="connsiteX10" fmla="*/ 209550 w 472440"/>
                  <a:gd name="connsiteY10" fmla="*/ 1806 h 969546"/>
                  <a:gd name="connsiteX11" fmla="*/ 49530 w 472440"/>
                  <a:gd name="connsiteY11" fmla="*/ 104676 h 969546"/>
                  <a:gd name="connsiteX12" fmla="*/ 142875 w 472440"/>
                  <a:gd name="connsiteY12" fmla="*/ 241836 h 969546"/>
                  <a:gd name="connsiteX0" fmla="*/ 142875 w 472440"/>
                  <a:gd name="connsiteY0" fmla="*/ 241836 h 969546"/>
                  <a:gd name="connsiteX1" fmla="*/ 0 w 472440"/>
                  <a:gd name="connsiteY1" fmla="*/ 925731 h 969546"/>
                  <a:gd name="connsiteX2" fmla="*/ 198120 w 472440"/>
                  <a:gd name="connsiteY2" fmla="*/ 375186 h 969546"/>
                  <a:gd name="connsiteX3" fmla="*/ 472440 w 472440"/>
                  <a:gd name="connsiteY3" fmla="*/ 969546 h 969546"/>
                  <a:gd name="connsiteX4" fmla="*/ 331470 w 472440"/>
                  <a:gd name="connsiteY4" fmla="*/ 537112 h 969546"/>
                  <a:gd name="connsiteX5" fmla="*/ 457200 w 472440"/>
                  <a:gd name="connsiteY5" fmla="*/ 533302 h 969546"/>
                  <a:gd name="connsiteX6" fmla="*/ 453390 w 472440"/>
                  <a:gd name="connsiteY6" fmla="*/ 499012 h 969546"/>
                  <a:gd name="connsiteX7" fmla="*/ 312420 w 472440"/>
                  <a:gd name="connsiteY7" fmla="*/ 502822 h 969546"/>
                  <a:gd name="connsiteX8" fmla="*/ 228600 w 472440"/>
                  <a:gd name="connsiteY8" fmla="*/ 253266 h 969546"/>
                  <a:gd name="connsiteX9" fmla="*/ 344805 w 472440"/>
                  <a:gd name="connsiteY9" fmla="*/ 127536 h 969546"/>
                  <a:gd name="connsiteX10" fmla="*/ 209550 w 472440"/>
                  <a:gd name="connsiteY10" fmla="*/ 1806 h 969546"/>
                  <a:gd name="connsiteX11" fmla="*/ 49530 w 472440"/>
                  <a:gd name="connsiteY11" fmla="*/ 104676 h 969546"/>
                  <a:gd name="connsiteX12" fmla="*/ 142875 w 472440"/>
                  <a:gd name="connsiteY12" fmla="*/ 241836 h 969546"/>
                  <a:gd name="connsiteX0" fmla="*/ 142875 w 472440"/>
                  <a:gd name="connsiteY0" fmla="*/ 241836 h 969546"/>
                  <a:gd name="connsiteX1" fmla="*/ 0 w 472440"/>
                  <a:gd name="connsiteY1" fmla="*/ 925731 h 969546"/>
                  <a:gd name="connsiteX2" fmla="*/ 198120 w 472440"/>
                  <a:gd name="connsiteY2" fmla="*/ 375186 h 969546"/>
                  <a:gd name="connsiteX3" fmla="*/ 472440 w 472440"/>
                  <a:gd name="connsiteY3" fmla="*/ 969546 h 969546"/>
                  <a:gd name="connsiteX4" fmla="*/ 331470 w 472440"/>
                  <a:gd name="connsiteY4" fmla="*/ 537112 h 969546"/>
                  <a:gd name="connsiteX5" fmla="*/ 457200 w 472440"/>
                  <a:gd name="connsiteY5" fmla="*/ 533302 h 969546"/>
                  <a:gd name="connsiteX6" fmla="*/ 451485 w 472440"/>
                  <a:gd name="connsiteY6" fmla="*/ 504727 h 969546"/>
                  <a:gd name="connsiteX7" fmla="*/ 312420 w 472440"/>
                  <a:gd name="connsiteY7" fmla="*/ 502822 h 969546"/>
                  <a:gd name="connsiteX8" fmla="*/ 228600 w 472440"/>
                  <a:gd name="connsiteY8" fmla="*/ 253266 h 969546"/>
                  <a:gd name="connsiteX9" fmla="*/ 344805 w 472440"/>
                  <a:gd name="connsiteY9" fmla="*/ 127536 h 969546"/>
                  <a:gd name="connsiteX10" fmla="*/ 209550 w 472440"/>
                  <a:gd name="connsiteY10" fmla="*/ 1806 h 969546"/>
                  <a:gd name="connsiteX11" fmla="*/ 49530 w 472440"/>
                  <a:gd name="connsiteY11" fmla="*/ 104676 h 969546"/>
                  <a:gd name="connsiteX12" fmla="*/ 142875 w 472440"/>
                  <a:gd name="connsiteY12" fmla="*/ 241836 h 969546"/>
                  <a:gd name="connsiteX0" fmla="*/ 142875 w 472440"/>
                  <a:gd name="connsiteY0" fmla="*/ 241836 h 969546"/>
                  <a:gd name="connsiteX1" fmla="*/ 81915 w 472440"/>
                  <a:gd name="connsiteY1" fmla="*/ 537112 h 969546"/>
                  <a:gd name="connsiteX2" fmla="*/ 0 w 472440"/>
                  <a:gd name="connsiteY2" fmla="*/ 925731 h 969546"/>
                  <a:gd name="connsiteX3" fmla="*/ 198120 w 472440"/>
                  <a:gd name="connsiteY3" fmla="*/ 375186 h 969546"/>
                  <a:gd name="connsiteX4" fmla="*/ 472440 w 472440"/>
                  <a:gd name="connsiteY4" fmla="*/ 969546 h 969546"/>
                  <a:gd name="connsiteX5" fmla="*/ 331470 w 472440"/>
                  <a:gd name="connsiteY5" fmla="*/ 537112 h 969546"/>
                  <a:gd name="connsiteX6" fmla="*/ 457200 w 472440"/>
                  <a:gd name="connsiteY6" fmla="*/ 533302 h 969546"/>
                  <a:gd name="connsiteX7" fmla="*/ 451485 w 472440"/>
                  <a:gd name="connsiteY7" fmla="*/ 504727 h 969546"/>
                  <a:gd name="connsiteX8" fmla="*/ 312420 w 472440"/>
                  <a:gd name="connsiteY8" fmla="*/ 502822 h 969546"/>
                  <a:gd name="connsiteX9" fmla="*/ 228600 w 472440"/>
                  <a:gd name="connsiteY9" fmla="*/ 253266 h 969546"/>
                  <a:gd name="connsiteX10" fmla="*/ 344805 w 472440"/>
                  <a:gd name="connsiteY10" fmla="*/ 127536 h 969546"/>
                  <a:gd name="connsiteX11" fmla="*/ 209550 w 472440"/>
                  <a:gd name="connsiteY11" fmla="*/ 1806 h 969546"/>
                  <a:gd name="connsiteX12" fmla="*/ 49530 w 472440"/>
                  <a:gd name="connsiteY12" fmla="*/ 104676 h 969546"/>
                  <a:gd name="connsiteX13" fmla="*/ 142875 w 472440"/>
                  <a:gd name="connsiteY13" fmla="*/ 241836 h 969546"/>
                  <a:gd name="connsiteX0" fmla="*/ 142875 w 472440"/>
                  <a:gd name="connsiteY0" fmla="*/ 241836 h 969546"/>
                  <a:gd name="connsiteX1" fmla="*/ 83820 w 472440"/>
                  <a:gd name="connsiteY1" fmla="*/ 512347 h 969546"/>
                  <a:gd name="connsiteX2" fmla="*/ 81915 w 472440"/>
                  <a:gd name="connsiteY2" fmla="*/ 537112 h 969546"/>
                  <a:gd name="connsiteX3" fmla="*/ 0 w 472440"/>
                  <a:gd name="connsiteY3" fmla="*/ 925731 h 969546"/>
                  <a:gd name="connsiteX4" fmla="*/ 198120 w 472440"/>
                  <a:gd name="connsiteY4" fmla="*/ 375186 h 969546"/>
                  <a:gd name="connsiteX5" fmla="*/ 472440 w 472440"/>
                  <a:gd name="connsiteY5" fmla="*/ 969546 h 969546"/>
                  <a:gd name="connsiteX6" fmla="*/ 331470 w 472440"/>
                  <a:gd name="connsiteY6" fmla="*/ 537112 h 969546"/>
                  <a:gd name="connsiteX7" fmla="*/ 457200 w 472440"/>
                  <a:gd name="connsiteY7" fmla="*/ 533302 h 969546"/>
                  <a:gd name="connsiteX8" fmla="*/ 451485 w 472440"/>
                  <a:gd name="connsiteY8" fmla="*/ 504727 h 969546"/>
                  <a:gd name="connsiteX9" fmla="*/ 312420 w 472440"/>
                  <a:gd name="connsiteY9" fmla="*/ 502822 h 969546"/>
                  <a:gd name="connsiteX10" fmla="*/ 228600 w 472440"/>
                  <a:gd name="connsiteY10" fmla="*/ 253266 h 969546"/>
                  <a:gd name="connsiteX11" fmla="*/ 344805 w 472440"/>
                  <a:gd name="connsiteY11" fmla="*/ 127536 h 969546"/>
                  <a:gd name="connsiteX12" fmla="*/ 209550 w 472440"/>
                  <a:gd name="connsiteY12" fmla="*/ 1806 h 969546"/>
                  <a:gd name="connsiteX13" fmla="*/ 49530 w 472440"/>
                  <a:gd name="connsiteY13" fmla="*/ 104676 h 969546"/>
                  <a:gd name="connsiteX14" fmla="*/ 142875 w 472440"/>
                  <a:gd name="connsiteY14" fmla="*/ 241836 h 969546"/>
                  <a:gd name="connsiteX0" fmla="*/ 142875 w 472440"/>
                  <a:gd name="connsiteY0" fmla="*/ 241836 h 969546"/>
                  <a:gd name="connsiteX1" fmla="*/ 85725 w 472440"/>
                  <a:gd name="connsiteY1" fmla="*/ 495202 h 969546"/>
                  <a:gd name="connsiteX2" fmla="*/ 83820 w 472440"/>
                  <a:gd name="connsiteY2" fmla="*/ 512347 h 969546"/>
                  <a:gd name="connsiteX3" fmla="*/ 81915 w 472440"/>
                  <a:gd name="connsiteY3" fmla="*/ 537112 h 969546"/>
                  <a:gd name="connsiteX4" fmla="*/ 0 w 472440"/>
                  <a:gd name="connsiteY4" fmla="*/ 925731 h 969546"/>
                  <a:gd name="connsiteX5" fmla="*/ 198120 w 472440"/>
                  <a:gd name="connsiteY5" fmla="*/ 375186 h 969546"/>
                  <a:gd name="connsiteX6" fmla="*/ 472440 w 472440"/>
                  <a:gd name="connsiteY6" fmla="*/ 969546 h 969546"/>
                  <a:gd name="connsiteX7" fmla="*/ 331470 w 472440"/>
                  <a:gd name="connsiteY7" fmla="*/ 537112 h 969546"/>
                  <a:gd name="connsiteX8" fmla="*/ 457200 w 472440"/>
                  <a:gd name="connsiteY8" fmla="*/ 533302 h 969546"/>
                  <a:gd name="connsiteX9" fmla="*/ 451485 w 472440"/>
                  <a:gd name="connsiteY9" fmla="*/ 504727 h 969546"/>
                  <a:gd name="connsiteX10" fmla="*/ 312420 w 472440"/>
                  <a:gd name="connsiteY10" fmla="*/ 502822 h 969546"/>
                  <a:gd name="connsiteX11" fmla="*/ 228600 w 472440"/>
                  <a:gd name="connsiteY11" fmla="*/ 253266 h 969546"/>
                  <a:gd name="connsiteX12" fmla="*/ 344805 w 472440"/>
                  <a:gd name="connsiteY12" fmla="*/ 127536 h 969546"/>
                  <a:gd name="connsiteX13" fmla="*/ 209550 w 472440"/>
                  <a:gd name="connsiteY13" fmla="*/ 1806 h 969546"/>
                  <a:gd name="connsiteX14" fmla="*/ 49530 w 472440"/>
                  <a:gd name="connsiteY14" fmla="*/ 104676 h 969546"/>
                  <a:gd name="connsiteX15" fmla="*/ 142875 w 472440"/>
                  <a:gd name="connsiteY15" fmla="*/ 241836 h 969546"/>
                  <a:gd name="connsiteX0" fmla="*/ 142875 w 472440"/>
                  <a:gd name="connsiteY0" fmla="*/ 241836 h 969546"/>
                  <a:gd name="connsiteX1" fmla="*/ 91440 w 472440"/>
                  <a:gd name="connsiteY1" fmla="*/ 468532 h 969546"/>
                  <a:gd name="connsiteX2" fmla="*/ 85725 w 472440"/>
                  <a:gd name="connsiteY2" fmla="*/ 495202 h 969546"/>
                  <a:gd name="connsiteX3" fmla="*/ 83820 w 472440"/>
                  <a:gd name="connsiteY3" fmla="*/ 512347 h 969546"/>
                  <a:gd name="connsiteX4" fmla="*/ 81915 w 472440"/>
                  <a:gd name="connsiteY4" fmla="*/ 537112 h 969546"/>
                  <a:gd name="connsiteX5" fmla="*/ 0 w 472440"/>
                  <a:gd name="connsiteY5" fmla="*/ 925731 h 969546"/>
                  <a:gd name="connsiteX6" fmla="*/ 198120 w 472440"/>
                  <a:gd name="connsiteY6" fmla="*/ 375186 h 969546"/>
                  <a:gd name="connsiteX7" fmla="*/ 472440 w 472440"/>
                  <a:gd name="connsiteY7" fmla="*/ 969546 h 969546"/>
                  <a:gd name="connsiteX8" fmla="*/ 331470 w 472440"/>
                  <a:gd name="connsiteY8" fmla="*/ 537112 h 969546"/>
                  <a:gd name="connsiteX9" fmla="*/ 457200 w 472440"/>
                  <a:gd name="connsiteY9" fmla="*/ 533302 h 969546"/>
                  <a:gd name="connsiteX10" fmla="*/ 451485 w 472440"/>
                  <a:gd name="connsiteY10" fmla="*/ 504727 h 969546"/>
                  <a:gd name="connsiteX11" fmla="*/ 312420 w 472440"/>
                  <a:gd name="connsiteY11" fmla="*/ 502822 h 969546"/>
                  <a:gd name="connsiteX12" fmla="*/ 228600 w 472440"/>
                  <a:gd name="connsiteY12" fmla="*/ 253266 h 969546"/>
                  <a:gd name="connsiteX13" fmla="*/ 344805 w 472440"/>
                  <a:gd name="connsiteY13" fmla="*/ 127536 h 969546"/>
                  <a:gd name="connsiteX14" fmla="*/ 209550 w 472440"/>
                  <a:gd name="connsiteY14" fmla="*/ 1806 h 969546"/>
                  <a:gd name="connsiteX15" fmla="*/ 49530 w 472440"/>
                  <a:gd name="connsiteY15" fmla="*/ 104676 h 969546"/>
                  <a:gd name="connsiteX16" fmla="*/ 142875 w 472440"/>
                  <a:gd name="connsiteY16" fmla="*/ 241836 h 969546"/>
                  <a:gd name="connsiteX0" fmla="*/ 215265 w 544830"/>
                  <a:gd name="connsiteY0" fmla="*/ 241836 h 969546"/>
                  <a:gd name="connsiteX1" fmla="*/ 163830 w 544830"/>
                  <a:gd name="connsiteY1" fmla="*/ 468532 h 969546"/>
                  <a:gd name="connsiteX2" fmla="*/ 0 w 544830"/>
                  <a:gd name="connsiteY2" fmla="*/ 481867 h 969546"/>
                  <a:gd name="connsiteX3" fmla="*/ 156210 w 544830"/>
                  <a:gd name="connsiteY3" fmla="*/ 512347 h 969546"/>
                  <a:gd name="connsiteX4" fmla="*/ 154305 w 544830"/>
                  <a:gd name="connsiteY4" fmla="*/ 537112 h 969546"/>
                  <a:gd name="connsiteX5" fmla="*/ 72390 w 544830"/>
                  <a:gd name="connsiteY5" fmla="*/ 925731 h 969546"/>
                  <a:gd name="connsiteX6" fmla="*/ 270510 w 544830"/>
                  <a:gd name="connsiteY6" fmla="*/ 375186 h 969546"/>
                  <a:gd name="connsiteX7" fmla="*/ 544830 w 544830"/>
                  <a:gd name="connsiteY7" fmla="*/ 969546 h 969546"/>
                  <a:gd name="connsiteX8" fmla="*/ 403860 w 544830"/>
                  <a:gd name="connsiteY8" fmla="*/ 537112 h 969546"/>
                  <a:gd name="connsiteX9" fmla="*/ 529590 w 544830"/>
                  <a:gd name="connsiteY9" fmla="*/ 533302 h 969546"/>
                  <a:gd name="connsiteX10" fmla="*/ 523875 w 544830"/>
                  <a:gd name="connsiteY10" fmla="*/ 504727 h 969546"/>
                  <a:gd name="connsiteX11" fmla="*/ 384810 w 544830"/>
                  <a:gd name="connsiteY11" fmla="*/ 502822 h 969546"/>
                  <a:gd name="connsiteX12" fmla="*/ 300990 w 544830"/>
                  <a:gd name="connsiteY12" fmla="*/ 253266 h 969546"/>
                  <a:gd name="connsiteX13" fmla="*/ 417195 w 544830"/>
                  <a:gd name="connsiteY13" fmla="*/ 127536 h 969546"/>
                  <a:gd name="connsiteX14" fmla="*/ 281940 w 544830"/>
                  <a:gd name="connsiteY14" fmla="*/ 1806 h 969546"/>
                  <a:gd name="connsiteX15" fmla="*/ 121920 w 544830"/>
                  <a:gd name="connsiteY15" fmla="*/ 104676 h 969546"/>
                  <a:gd name="connsiteX16" fmla="*/ 215265 w 544830"/>
                  <a:gd name="connsiteY16" fmla="*/ 241836 h 969546"/>
                  <a:gd name="connsiteX0" fmla="*/ 215265 w 544830"/>
                  <a:gd name="connsiteY0" fmla="*/ 241836 h 969546"/>
                  <a:gd name="connsiteX1" fmla="*/ 163830 w 544830"/>
                  <a:gd name="connsiteY1" fmla="*/ 468532 h 969546"/>
                  <a:gd name="connsiteX2" fmla="*/ 0 w 544830"/>
                  <a:gd name="connsiteY2" fmla="*/ 481867 h 969546"/>
                  <a:gd name="connsiteX3" fmla="*/ 19050 w 544830"/>
                  <a:gd name="connsiteY3" fmla="*/ 531397 h 969546"/>
                  <a:gd name="connsiteX4" fmla="*/ 154305 w 544830"/>
                  <a:gd name="connsiteY4" fmla="*/ 537112 h 969546"/>
                  <a:gd name="connsiteX5" fmla="*/ 72390 w 544830"/>
                  <a:gd name="connsiteY5" fmla="*/ 925731 h 969546"/>
                  <a:gd name="connsiteX6" fmla="*/ 270510 w 544830"/>
                  <a:gd name="connsiteY6" fmla="*/ 375186 h 969546"/>
                  <a:gd name="connsiteX7" fmla="*/ 544830 w 544830"/>
                  <a:gd name="connsiteY7" fmla="*/ 969546 h 969546"/>
                  <a:gd name="connsiteX8" fmla="*/ 403860 w 544830"/>
                  <a:gd name="connsiteY8" fmla="*/ 537112 h 969546"/>
                  <a:gd name="connsiteX9" fmla="*/ 529590 w 544830"/>
                  <a:gd name="connsiteY9" fmla="*/ 533302 h 969546"/>
                  <a:gd name="connsiteX10" fmla="*/ 523875 w 544830"/>
                  <a:gd name="connsiteY10" fmla="*/ 504727 h 969546"/>
                  <a:gd name="connsiteX11" fmla="*/ 384810 w 544830"/>
                  <a:gd name="connsiteY11" fmla="*/ 502822 h 969546"/>
                  <a:gd name="connsiteX12" fmla="*/ 300990 w 544830"/>
                  <a:gd name="connsiteY12" fmla="*/ 253266 h 969546"/>
                  <a:gd name="connsiteX13" fmla="*/ 417195 w 544830"/>
                  <a:gd name="connsiteY13" fmla="*/ 127536 h 969546"/>
                  <a:gd name="connsiteX14" fmla="*/ 281940 w 544830"/>
                  <a:gd name="connsiteY14" fmla="*/ 1806 h 969546"/>
                  <a:gd name="connsiteX15" fmla="*/ 121920 w 544830"/>
                  <a:gd name="connsiteY15" fmla="*/ 104676 h 969546"/>
                  <a:gd name="connsiteX16" fmla="*/ 215265 w 544830"/>
                  <a:gd name="connsiteY16" fmla="*/ 241836 h 969546"/>
                  <a:gd name="connsiteX0" fmla="*/ 215265 w 544830"/>
                  <a:gd name="connsiteY0" fmla="*/ 241836 h 969546"/>
                  <a:gd name="connsiteX1" fmla="*/ 165735 w 544830"/>
                  <a:gd name="connsiteY1" fmla="*/ 499012 h 969546"/>
                  <a:gd name="connsiteX2" fmla="*/ 0 w 544830"/>
                  <a:gd name="connsiteY2" fmla="*/ 481867 h 969546"/>
                  <a:gd name="connsiteX3" fmla="*/ 19050 w 544830"/>
                  <a:gd name="connsiteY3" fmla="*/ 531397 h 969546"/>
                  <a:gd name="connsiteX4" fmla="*/ 154305 w 544830"/>
                  <a:gd name="connsiteY4" fmla="*/ 537112 h 969546"/>
                  <a:gd name="connsiteX5" fmla="*/ 72390 w 544830"/>
                  <a:gd name="connsiteY5" fmla="*/ 925731 h 969546"/>
                  <a:gd name="connsiteX6" fmla="*/ 270510 w 544830"/>
                  <a:gd name="connsiteY6" fmla="*/ 375186 h 969546"/>
                  <a:gd name="connsiteX7" fmla="*/ 544830 w 544830"/>
                  <a:gd name="connsiteY7" fmla="*/ 969546 h 969546"/>
                  <a:gd name="connsiteX8" fmla="*/ 403860 w 544830"/>
                  <a:gd name="connsiteY8" fmla="*/ 537112 h 969546"/>
                  <a:gd name="connsiteX9" fmla="*/ 529590 w 544830"/>
                  <a:gd name="connsiteY9" fmla="*/ 533302 h 969546"/>
                  <a:gd name="connsiteX10" fmla="*/ 523875 w 544830"/>
                  <a:gd name="connsiteY10" fmla="*/ 504727 h 969546"/>
                  <a:gd name="connsiteX11" fmla="*/ 384810 w 544830"/>
                  <a:gd name="connsiteY11" fmla="*/ 502822 h 969546"/>
                  <a:gd name="connsiteX12" fmla="*/ 300990 w 544830"/>
                  <a:gd name="connsiteY12" fmla="*/ 253266 h 969546"/>
                  <a:gd name="connsiteX13" fmla="*/ 417195 w 544830"/>
                  <a:gd name="connsiteY13" fmla="*/ 127536 h 969546"/>
                  <a:gd name="connsiteX14" fmla="*/ 281940 w 544830"/>
                  <a:gd name="connsiteY14" fmla="*/ 1806 h 969546"/>
                  <a:gd name="connsiteX15" fmla="*/ 121920 w 544830"/>
                  <a:gd name="connsiteY15" fmla="*/ 104676 h 969546"/>
                  <a:gd name="connsiteX16" fmla="*/ 215265 w 544830"/>
                  <a:gd name="connsiteY16" fmla="*/ 241836 h 969546"/>
                  <a:gd name="connsiteX0" fmla="*/ 215265 w 544830"/>
                  <a:gd name="connsiteY0" fmla="*/ 241836 h 969546"/>
                  <a:gd name="connsiteX1" fmla="*/ 165735 w 544830"/>
                  <a:gd name="connsiteY1" fmla="*/ 499012 h 969546"/>
                  <a:gd name="connsiteX2" fmla="*/ 0 w 544830"/>
                  <a:gd name="connsiteY2" fmla="*/ 481867 h 969546"/>
                  <a:gd name="connsiteX3" fmla="*/ 19050 w 544830"/>
                  <a:gd name="connsiteY3" fmla="*/ 531397 h 969546"/>
                  <a:gd name="connsiteX4" fmla="*/ 158115 w 544830"/>
                  <a:gd name="connsiteY4" fmla="*/ 529492 h 969546"/>
                  <a:gd name="connsiteX5" fmla="*/ 72390 w 544830"/>
                  <a:gd name="connsiteY5" fmla="*/ 925731 h 969546"/>
                  <a:gd name="connsiteX6" fmla="*/ 270510 w 544830"/>
                  <a:gd name="connsiteY6" fmla="*/ 375186 h 969546"/>
                  <a:gd name="connsiteX7" fmla="*/ 544830 w 544830"/>
                  <a:gd name="connsiteY7" fmla="*/ 969546 h 969546"/>
                  <a:gd name="connsiteX8" fmla="*/ 403860 w 544830"/>
                  <a:gd name="connsiteY8" fmla="*/ 537112 h 969546"/>
                  <a:gd name="connsiteX9" fmla="*/ 529590 w 544830"/>
                  <a:gd name="connsiteY9" fmla="*/ 533302 h 969546"/>
                  <a:gd name="connsiteX10" fmla="*/ 523875 w 544830"/>
                  <a:gd name="connsiteY10" fmla="*/ 504727 h 969546"/>
                  <a:gd name="connsiteX11" fmla="*/ 384810 w 544830"/>
                  <a:gd name="connsiteY11" fmla="*/ 502822 h 969546"/>
                  <a:gd name="connsiteX12" fmla="*/ 300990 w 544830"/>
                  <a:gd name="connsiteY12" fmla="*/ 253266 h 969546"/>
                  <a:gd name="connsiteX13" fmla="*/ 417195 w 544830"/>
                  <a:gd name="connsiteY13" fmla="*/ 127536 h 969546"/>
                  <a:gd name="connsiteX14" fmla="*/ 281940 w 544830"/>
                  <a:gd name="connsiteY14" fmla="*/ 1806 h 969546"/>
                  <a:gd name="connsiteX15" fmla="*/ 121920 w 544830"/>
                  <a:gd name="connsiteY15" fmla="*/ 104676 h 969546"/>
                  <a:gd name="connsiteX16" fmla="*/ 215265 w 544830"/>
                  <a:gd name="connsiteY16" fmla="*/ 241836 h 969546"/>
                  <a:gd name="connsiteX0" fmla="*/ 215265 w 544830"/>
                  <a:gd name="connsiteY0" fmla="*/ 241836 h 969546"/>
                  <a:gd name="connsiteX1" fmla="*/ 165735 w 544830"/>
                  <a:gd name="connsiteY1" fmla="*/ 499012 h 969546"/>
                  <a:gd name="connsiteX2" fmla="*/ 0 w 544830"/>
                  <a:gd name="connsiteY2" fmla="*/ 481867 h 969546"/>
                  <a:gd name="connsiteX3" fmla="*/ 19050 w 544830"/>
                  <a:gd name="connsiteY3" fmla="*/ 514252 h 969546"/>
                  <a:gd name="connsiteX4" fmla="*/ 158115 w 544830"/>
                  <a:gd name="connsiteY4" fmla="*/ 529492 h 969546"/>
                  <a:gd name="connsiteX5" fmla="*/ 72390 w 544830"/>
                  <a:gd name="connsiteY5" fmla="*/ 925731 h 969546"/>
                  <a:gd name="connsiteX6" fmla="*/ 270510 w 544830"/>
                  <a:gd name="connsiteY6" fmla="*/ 375186 h 969546"/>
                  <a:gd name="connsiteX7" fmla="*/ 544830 w 544830"/>
                  <a:gd name="connsiteY7" fmla="*/ 969546 h 969546"/>
                  <a:gd name="connsiteX8" fmla="*/ 403860 w 544830"/>
                  <a:gd name="connsiteY8" fmla="*/ 537112 h 969546"/>
                  <a:gd name="connsiteX9" fmla="*/ 529590 w 544830"/>
                  <a:gd name="connsiteY9" fmla="*/ 533302 h 969546"/>
                  <a:gd name="connsiteX10" fmla="*/ 523875 w 544830"/>
                  <a:gd name="connsiteY10" fmla="*/ 504727 h 969546"/>
                  <a:gd name="connsiteX11" fmla="*/ 384810 w 544830"/>
                  <a:gd name="connsiteY11" fmla="*/ 502822 h 969546"/>
                  <a:gd name="connsiteX12" fmla="*/ 300990 w 544830"/>
                  <a:gd name="connsiteY12" fmla="*/ 253266 h 969546"/>
                  <a:gd name="connsiteX13" fmla="*/ 417195 w 544830"/>
                  <a:gd name="connsiteY13" fmla="*/ 127536 h 969546"/>
                  <a:gd name="connsiteX14" fmla="*/ 281940 w 544830"/>
                  <a:gd name="connsiteY14" fmla="*/ 1806 h 969546"/>
                  <a:gd name="connsiteX15" fmla="*/ 121920 w 544830"/>
                  <a:gd name="connsiteY15" fmla="*/ 104676 h 969546"/>
                  <a:gd name="connsiteX16" fmla="*/ 215265 w 544830"/>
                  <a:gd name="connsiteY16" fmla="*/ 241836 h 969546"/>
                  <a:gd name="connsiteX0" fmla="*/ 196215 w 525780"/>
                  <a:gd name="connsiteY0" fmla="*/ 241836 h 969546"/>
                  <a:gd name="connsiteX1" fmla="*/ 146685 w 525780"/>
                  <a:gd name="connsiteY1" fmla="*/ 499012 h 969546"/>
                  <a:gd name="connsiteX2" fmla="*/ 7620 w 525780"/>
                  <a:gd name="connsiteY2" fmla="*/ 487582 h 969546"/>
                  <a:gd name="connsiteX3" fmla="*/ 0 w 525780"/>
                  <a:gd name="connsiteY3" fmla="*/ 514252 h 969546"/>
                  <a:gd name="connsiteX4" fmla="*/ 139065 w 525780"/>
                  <a:gd name="connsiteY4" fmla="*/ 529492 h 969546"/>
                  <a:gd name="connsiteX5" fmla="*/ 53340 w 525780"/>
                  <a:gd name="connsiteY5" fmla="*/ 925731 h 969546"/>
                  <a:gd name="connsiteX6" fmla="*/ 251460 w 525780"/>
                  <a:gd name="connsiteY6" fmla="*/ 375186 h 969546"/>
                  <a:gd name="connsiteX7" fmla="*/ 525780 w 525780"/>
                  <a:gd name="connsiteY7" fmla="*/ 969546 h 969546"/>
                  <a:gd name="connsiteX8" fmla="*/ 384810 w 525780"/>
                  <a:gd name="connsiteY8" fmla="*/ 537112 h 969546"/>
                  <a:gd name="connsiteX9" fmla="*/ 510540 w 525780"/>
                  <a:gd name="connsiteY9" fmla="*/ 533302 h 969546"/>
                  <a:gd name="connsiteX10" fmla="*/ 504825 w 525780"/>
                  <a:gd name="connsiteY10" fmla="*/ 504727 h 969546"/>
                  <a:gd name="connsiteX11" fmla="*/ 365760 w 525780"/>
                  <a:gd name="connsiteY11" fmla="*/ 502822 h 969546"/>
                  <a:gd name="connsiteX12" fmla="*/ 281940 w 525780"/>
                  <a:gd name="connsiteY12" fmla="*/ 253266 h 969546"/>
                  <a:gd name="connsiteX13" fmla="*/ 398145 w 525780"/>
                  <a:gd name="connsiteY13" fmla="*/ 127536 h 969546"/>
                  <a:gd name="connsiteX14" fmla="*/ 262890 w 525780"/>
                  <a:gd name="connsiteY14" fmla="*/ 1806 h 969546"/>
                  <a:gd name="connsiteX15" fmla="*/ 102870 w 525780"/>
                  <a:gd name="connsiteY15" fmla="*/ 104676 h 969546"/>
                  <a:gd name="connsiteX16" fmla="*/ 196215 w 525780"/>
                  <a:gd name="connsiteY16" fmla="*/ 241836 h 969546"/>
                  <a:gd name="connsiteX0" fmla="*/ 188595 w 518160"/>
                  <a:gd name="connsiteY0" fmla="*/ 241836 h 969546"/>
                  <a:gd name="connsiteX1" fmla="*/ 139065 w 518160"/>
                  <a:gd name="connsiteY1" fmla="*/ 499012 h 969546"/>
                  <a:gd name="connsiteX2" fmla="*/ 0 w 518160"/>
                  <a:gd name="connsiteY2" fmla="*/ 487582 h 969546"/>
                  <a:gd name="connsiteX3" fmla="*/ 0 w 518160"/>
                  <a:gd name="connsiteY3" fmla="*/ 527587 h 969546"/>
                  <a:gd name="connsiteX4" fmla="*/ 131445 w 518160"/>
                  <a:gd name="connsiteY4" fmla="*/ 529492 h 969546"/>
                  <a:gd name="connsiteX5" fmla="*/ 45720 w 518160"/>
                  <a:gd name="connsiteY5" fmla="*/ 925731 h 969546"/>
                  <a:gd name="connsiteX6" fmla="*/ 243840 w 518160"/>
                  <a:gd name="connsiteY6" fmla="*/ 375186 h 969546"/>
                  <a:gd name="connsiteX7" fmla="*/ 518160 w 518160"/>
                  <a:gd name="connsiteY7" fmla="*/ 969546 h 969546"/>
                  <a:gd name="connsiteX8" fmla="*/ 377190 w 518160"/>
                  <a:gd name="connsiteY8" fmla="*/ 537112 h 969546"/>
                  <a:gd name="connsiteX9" fmla="*/ 502920 w 518160"/>
                  <a:gd name="connsiteY9" fmla="*/ 533302 h 969546"/>
                  <a:gd name="connsiteX10" fmla="*/ 497205 w 518160"/>
                  <a:gd name="connsiteY10" fmla="*/ 504727 h 969546"/>
                  <a:gd name="connsiteX11" fmla="*/ 358140 w 518160"/>
                  <a:gd name="connsiteY11" fmla="*/ 502822 h 969546"/>
                  <a:gd name="connsiteX12" fmla="*/ 274320 w 518160"/>
                  <a:gd name="connsiteY12" fmla="*/ 253266 h 969546"/>
                  <a:gd name="connsiteX13" fmla="*/ 390525 w 518160"/>
                  <a:gd name="connsiteY13" fmla="*/ 127536 h 969546"/>
                  <a:gd name="connsiteX14" fmla="*/ 255270 w 518160"/>
                  <a:gd name="connsiteY14" fmla="*/ 1806 h 969546"/>
                  <a:gd name="connsiteX15" fmla="*/ 95250 w 518160"/>
                  <a:gd name="connsiteY15" fmla="*/ 104676 h 969546"/>
                  <a:gd name="connsiteX16" fmla="*/ 188595 w 518160"/>
                  <a:gd name="connsiteY16" fmla="*/ 241836 h 969546"/>
                  <a:gd name="connsiteX0" fmla="*/ 188595 w 518160"/>
                  <a:gd name="connsiteY0" fmla="*/ 241836 h 969546"/>
                  <a:gd name="connsiteX1" fmla="*/ 139065 w 518160"/>
                  <a:gd name="connsiteY1" fmla="*/ 499012 h 969546"/>
                  <a:gd name="connsiteX2" fmla="*/ 3810 w 518160"/>
                  <a:gd name="connsiteY2" fmla="*/ 499012 h 969546"/>
                  <a:gd name="connsiteX3" fmla="*/ 0 w 518160"/>
                  <a:gd name="connsiteY3" fmla="*/ 527587 h 969546"/>
                  <a:gd name="connsiteX4" fmla="*/ 131445 w 518160"/>
                  <a:gd name="connsiteY4" fmla="*/ 529492 h 969546"/>
                  <a:gd name="connsiteX5" fmla="*/ 45720 w 518160"/>
                  <a:gd name="connsiteY5" fmla="*/ 925731 h 969546"/>
                  <a:gd name="connsiteX6" fmla="*/ 243840 w 518160"/>
                  <a:gd name="connsiteY6" fmla="*/ 375186 h 969546"/>
                  <a:gd name="connsiteX7" fmla="*/ 518160 w 518160"/>
                  <a:gd name="connsiteY7" fmla="*/ 969546 h 969546"/>
                  <a:gd name="connsiteX8" fmla="*/ 377190 w 518160"/>
                  <a:gd name="connsiteY8" fmla="*/ 537112 h 969546"/>
                  <a:gd name="connsiteX9" fmla="*/ 502920 w 518160"/>
                  <a:gd name="connsiteY9" fmla="*/ 533302 h 969546"/>
                  <a:gd name="connsiteX10" fmla="*/ 497205 w 518160"/>
                  <a:gd name="connsiteY10" fmla="*/ 504727 h 969546"/>
                  <a:gd name="connsiteX11" fmla="*/ 358140 w 518160"/>
                  <a:gd name="connsiteY11" fmla="*/ 502822 h 969546"/>
                  <a:gd name="connsiteX12" fmla="*/ 274320 w 518160"/>
                  <a:gd name="connsiteY12" fmla="*/ 253266 h 969546"/>
                  <a:gd name="connsiteX13" fmla="*/ 390525 w 518160"/>
                  <a:gd name="connsiteY13" fmla="*/ 127536 h 969546"/>
                  <a:gd name="connsiteX14" fmla="*/ 255270 w 518160"/>
                  <a:gd name="connsiteY14" fmla="*/ 1806 h 969546"/>
                  <a:gd name="connsiteX15" fmla="*/ 95250 w 518160"/>
                  <a:gd name="connsiteY15" fmla="*/ 104676 h 969546"/>
                  <a:gd name="connsiteX16" fmla="*/ 188595 w 518160"/>
                  <a:gd name="connsiteY16" fmla="*/ 241836 h 969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18160" h="969546">
                    <a:moveTo>
                      <a:pt x="188595" y="241836"/>
                    </a:moveTo>
                    <a:lnTo>
                      <a:pt x="139065" y="499012"/>
                    </a:lnTo>
                    <a:lnTo>
                      <a:pt x="3810" y="499012"/>
                    </a:lnTo>
                    <a:lnTo>
                      <a:pt x="0" y="527587"/>
                    </a:lnTo>
                    <a:lnTo>
                      <a:pt x="131445" y="529492"/>
                    </a:lnTo>
                    <a:lnTo>
                      <a:pt x="45720" y="925731"/>
                    </a:lnTo>
                    <a:lnTo>
                      <a:pt x="243840" y="375186"/>
                    </a:lnTo>
                    <a:lnTo>
                      <a:pt x="518160" y="969546"/>
                    </a:lnTo>
                    <a:lnTo>
                      <a:pt x="377190" y="537112"/>
                    </a:lnTo>
                    <a:lnTo>
                      <a:pt x="502920" y="533302"/>
                    </a:lnTo>
                    <a:lnTo>
                      <a:pt x="497205" y="504727"/>
                    </a:lnTo>
                    <a:lnTo>
                      <a:pt x="358140" y="502822"/>
                    </a:lnTo>
                    <a:lnTo>
                      <a:pt x="274320" y="253266"/>
                    </a:lnTo>
                    <a:cubicBezTo>
                      <a:pt x="340995" y="249456"/>
                      <a:pt x="382905" y="182781"/>
                      <a:pt x="390525" y="127536"/>
                    </a:cubicBezTo>
                    <a:cubicBezTo>
                      <a:pt x="386080" y="38001"/>
                      <a:pt x="307340" y="7521"/>
                      <a:pt x="255270" y="1806"/>
                    </a:cubicBezTo>
                    <a:cubicBezTo>
                      <a:pt x="203835" y="-9624"/>
                      <a:pt x="106680" y="34191"/>
                      <a:pt x="95250" y="104676"/>
                    </a:cubicBezTo>
                    <a:cubicBezTo>
                      <a:pt x="78740" y="171351"/>
                      <a:pt x="130810" y="222786"/>
                      <a:pt x="188595" y="241836"/>
                    </a:cubicBezTo>
                    <a:close/>
                  </a:path>
                </a:pathLst>
              </a:custGeom>
              <a:solidFill>
                <a:schemeClr val="accent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3" name="Freeform 22"/>
            <p:cNvSpPr/>
            <p:nvPr/>
          </p:nvSpPr>
          <p:spPr>
            <a:xfrm>
              <a:off x="6563042" y="2228850"/>
              <a:ext cx="605790" cy="826770"/>
            </a:xfrm>
            <a:custGeom>
              <a:avLst/>
              <a:gdLst>
                <a:gd name="connsiteX0" fmla="*/ 163830 w 617220"/>
                <a:gd name="connsiteY0" fmla="*/ 114300 h 815340"/>
                <a:gd name="connsiteX1" fmla="*/ 521970 w 617220"/>
                <a:gd name="connsiteY1" fmla="*/ 815340 h 815340"/>
                <a:gd name="connsiteX2" fmla="*/ 617220 w 617220"/>
                <a:gd name="connsiteY2" fmla="*/ 765810 h 815340"/>
                <a:gd name="connsiteX3" fmla="*/ 266700 w 617220"/>
                <a:gd name="connsiteY3" fmla="*/ 102870 h 815340"/>
                <a:gd name="connsiteX4" fmla="*/ 434340 w 617220"/>
                <a:gd name="connsiteY4" fmla="*/ 45720 h 815340"/>
                <a:gd name="connsiteX5" fmla="*/ 300990 w 617220"/>
                <a:gd name="connsiteY5" fmla="*/ 0 h 815340"/>
                <a:gd name="connsiteX6" fmla="*/ 45720 w 617220"/>
                <a:gd name="connsiteY6" fmla="*/ 76200 h 815340"/>
                <a:gd name="connsiteX7" fmla="*/ 0 w 617220"/>
                <a:gd name="connsiteY7" fmla="*/ 160020 h 815340"/>
                <a:gd name="connsiteX8" fmla="*/ 163830 w 617220"/>
                <a:gd name="connsiteY8" fmla="*/ 114300 h 815340"/>
                <a:gd name="connsiteX0" fmla="*/ 160020 w 613410"/>
                <a:gd name="connsiteY0" fmla="*/ 114300 h 815340"/>
                <a:gd name="connsiteX1" fmla="*/ 518160 w 613410"/>
                <a:gd name="connsiteY1" fmla="*/ 815340 h 815340"/>
                <a:gd name="connsiteX2" fmla="*/ 613410 w 613410"/>
                <a:gd name="connsiteY2" fmla="*/ 765810 h 815340"/>
                <a:gd name="connsiteX3" fmla="*/ 262890 w 613410"/>
                <a:gd name="connsiteY3" fmla="*/ 102870 h 815340"/>
                <a:gd name="connsiteX4" fmla="*/ 430530 w 613410"/>
                <a:gd name="connsiteY4" fmla="*/ 45720 h 815340"/>
                <a:gd name="connsiteX5" fmla="*/ 297180 w 613410"/>
                <a:gd name="connsiteY5" fmla="*/ 0 h 815340"/>
                <a:gd name="connsiteX6" fmla="*/ 41910 w 613410"/>
                <a:gd name="connsiteY6" fmla="*/ 76200 h 815340"/>
                <a:gd name="connsiteX7" fmla="*/ 0 w 613410"/>
                <a:gd name="connsiteY7" fmla="*/ 167640 h 815340"/>
                <a:gd name="connsiteX8" fmla="*/ 160020 w 613410"/>
                <a:gd name="connsiteY8" fmla="*/ 114300 h 815340"/>
                <a:gd name="connsiteX0" fmla="*/ 179070 w 613410"/>
                <a:gd name="connsiteY0" fmla="*/ 137160 h 815340"/>
                <a:gd name="connsiteX1" fmla="*/ 518160 w 613410"/>
                <a:gd name="connsiteY1" fmla="*/ 815340 h 815340"/>
                <a:gd name="connsiteX2" fmla="*/ 613410 w 613410"/>
                <a:gd name="connsiteY2" fmla="*/ 765810 h 815340"/>
                <a:gd name="connsiteX3" fmla="*/ 262890 w 613410"/>
                <a:gd name="connsiteY3" fmla="*/ 102870 h 815340"/>
                <a:gd name="connsiteX4" fmla="*/ 430530 w 613410"/>
                <a:gd name="connsiteY4" fmla="*/ 45720 h 815340"/>
                <a:gd name="connsiteX5" fmla="*/ 297180 w 613410"/>
                <a:gd name="connsiteY5" fmla="*/ 0 h 815340"/>
                <a:gd name="connsiteX6" fmla="*/ 41910 w 613410"/>
                <a:gd name="connsiteY6" fmla="*/ 76200 h 815340"/>
                <a:gd name="connsiteX7" fmla="*/ 0 w 613410"/>
                <a:gd name="connsiteY7" fmla="*/ 167640 h 815340"/>
                <a:gd name="connsiteX8" fmla="*/ 179070 w 613410"/>
                <a:gd name="connsiteY8" fmla="*/ 137160 h 815340"/>
                <a:gd name="connsiteX0" fmla="*/ 171450 w 605790"/>
                <a:gd name="connsiteY0" fmla="*/ 137160 h 815340"/>
                <a:gd name="connsiteX1" fmla="*/ 510540 w 605790"/>
                <a:gd name="connsiteY1" fmla="*/ 815340 h 815340"/>
                <a:gd name="connsiteX2" fmla="*/ 605790 w 605790"/>
                <a:gd name="connsiteY2" fmla="*/ 765810 h 815340"/>
                <a:gd name="connsiteX3" fmla="*/ 255270 w 605790"/>
                <a:gd name="connsiteY3" fmla="*/ 102870 h 815340"/>
                <a:gd name="connsiteX4" fmla="*/ 422910 w 605790"/>
                <a:gd name="connsiteY4" fmla="*/ 45720 h 815340"/>
                <a:gd name="connsiteX5" fmla="*/ 289560 w 605790"/>
                <a:gd name="connsiteY5" fmla="*/ 0 h 815340"/>
                <a:gd name="connsiteX6" fmla="*/ 34290 w 605790"/>
                <a:gd name="connsiteY6" fmla="*/ 76200 h 815340"/>
                <a:gd name="connsiteX7" fmla="*/ 0 w 605790"/>
                <a:gd name="connsiteY7" fmla="*/ 190500 h 815340"/>
                <a:gd name="connsiteX8" fmla="*/ 171450 w 605790"/>
                <a:gd name="connsiteY8" fmla="*/ 137160 h 815340"/>
                <a:gd name="connsiteX0" fmla="*/ 171450 w 605790"/>
                <a:gd name="connsiteY0" fmla="*/ 137160 h 815340"/>
                <a:gd name="connsiteX1" fmla="*/ 510540 w 605790"/>
                <a:gd name="connsiteY1" fmla="*/ 815340 h 815340"/>
                <a:gd name="connsiteX2" fmla="*/ 605790 w 605790"/>
                <a:gd name="connsiteY2" fmla="*/ 765810 h 815340"/>
                <a:gd name="connsiteX3" fmla="*/ 255270 w 605790"/>
                <a:gd name="connsiteY3" fmla="*/ 102870 h 815340"/>
                <a:gd name="connsiteX4" fmla="*/ 422910 w 605790"/>
                <a:gd name="connsiteY4" fmla="*/ 45720 h 815340"/>
                <a:gd name="connsiteX5" fmla="*/ 289560 w 605790"/>
                <a:gd name="connsiteY5" fmla="*/ 0 h 815340"/>
                <a:gd name="connsiteX6" fmla="*/ 34290 w 605790"/>
                <a:gd name="connsiteY6" fmla="*/ 91440 h 815340"/>
                <a:gd name="connsiteX7" fmla="*/ 0 w 605790"/>
                <a:gd name="connsiteY7" fmla="*/ 190500 h 815340"/>
                <a:gd name="connsiteX8" fmla="*/ 171450 w 605790"/>
                <a:gd name="connsiteY8" fmla="*/ 137160 h 815340"/>
                <a:gd name="connsiteX0" fmla="*/ 171450 w 605790"/>
                <a:gd name="connsiteY0" fmla="*/ 137160 h 815340"/>
                <a:gd name="connsiteX1" fmla="*/ 510540 w 605790"/>
                <a:gd name="connsiteY1" fmla="*/ 815340 h 815340"/>
                <a:gd name="connsiteX2" fmla="*/ 605790 w 605790"/>
                <a:gd name="connsiteY2" fmla="*/ 765810 h 815340"/>
                <a:gd name="connsiteX3" fmla="*/ 255270 w 605790"/>
                <a:gd name="connsiteY3" fmla="*/ 102870 h 815340"/>
                <a:gd name="connsiteX4" fmla="*/ 422910 w 605790"/>
                <a:gd name="connsiteY4" fmla="*/ 45720 h 815340"/>
                <a:gd name="connsiteX5" fmla="*/ 289560 w 605790"/>
                <a:gd name="connsiteY5" fmla="*/ 0 h 815340"/>
                <a:gd name="connsiteX6" fmla="*/ 11430 w 605790"/>
                <a:gd name="connsiteY6" fmla="*/ 83820 h 815340"/>
                <a:gd name="connsiteX7" fmla="*/ 0 w 605790"/>
                <a:gd name="connsiteY7" fmla="*/ 190500 h 815340"/>
                <a:gd name="connsiteX8" fmla="*/ 171450 w 605790"/>
                <a:gd name="connsiteY8" fmla="*/ 137160 h 815340"/>
                <a:gd name="connsiteX0" fmla="*/ 171450 w 605790"/>
                <a:gd name="connsiteY0" fmla="*/ 137160 h 815340"/>
                <a:gd name="connsiteX1" fmla="*/ 510540 w 605790"/>
                <a:gd name="connsiteY1" fmla="*/ 815340 h 815340"/>
                <a:gd name="connsiteX2" fmla="*/ 605790 w 605790"/>
                <a:gd name="connsiteY2" fmla="*/ 765810 h 815340"/>
                <a:gd name="connsiteX3" fmla="*/ 255270 w 605790"/>
                <a:gd name="connsiteY3" fmla="*/ 102870 h 815340"/>
                <a:gd name="connsiteX4" fmla="*/ 422910 w 605790"/>
                <a:gd name="connsiteY4" fmla="*/ 45720 h 815340"/>
                <a:gd name="connsiteX5" fmla="*/ 289560 w 605790"/>
                <a:gd name="connsiteY5" fmla="*/ 0 h 815340"/>
                <a:gd name="connsiteX6" fmla="*/ 11430 w 605790"/>
                <a:gd name="connsiteY6" fmla="*/ 106680 h 815340"/>
                <a:gd name="connsiteX7" fmla="*/ 0 w 605790"/>
                <a:gd name="connsiteY7" fmla="*/ 190500 h 815340"/>
                <a:gd name="connsiteX8" fmla="*/ 171450 w 605790"/>
                <a:gd name="connsiteY8" fmla="*/ 137160 h 815340"/>
                <a:gd name="connsiteX0" fmla="*/ 171450 w 605790"/>
                <a:gd name="connsiteY0" fmla="*/ 137160 h 815340"/>
                <a:gd name="connsiteX1" fmla="*/ 510540 w 605790"/>
                <a:gd name="connsiteY1" fmla="*/ 815340 h 815340"/>
                <a:gd name="connsiteX2" fmla="*/ 605790 w 605790"/>
                <a:gd name="connsiteY2" fmla="*/ 765810 h 815340"/>
                <a:gd name="connsiteX3" fmla="*/ 255270 w 605790"/>
                <a:gd name="connsiteY3" fmla="*/ 102870 h 815340"/>
                <a:gd name="connsiteX4" fmla="*/ 422910 w 605790"/>
                <a:gd name="connsiteY4" fmla="*/ 45720 h 815340"/>
                <a:gd name="connsiteX5" fmla="*/ 289560 w 605790"/>
                <a:gd name="connsiteY5" fmla="*/ 0 h 815340"/>
                <a:gd name="connsiteX6" fmla="*/ 11430 w 605790"/>
                <a:gd name="connsiteY6" fmla="*/ 95250 h 815340"/>
                <a:gd name="connsiteX7" fmla="*/ 0 w 605790"/>
                <a:gd name="connsiteY7" fmla="*/ 190500 h 815340"/>
                <a:gd name="connsiteX8" fmla="*/ 171450 w 605790"/>
                <a:gd name="connsiteY8" fmla="*/ 137160 h 815340"/>
                <a:gd name="connsiteX0" fmla="*/ 171450 w 605790"/>
                <a:gd name="connsiteY0" fmla="*/ 137160 h 822960"/>
                <a:gd name="connsiteX1" fmla="*/ 502920 w 605790"/>
                <a:gd name="connsiteY1" fmla="*/ 822960 h 822960"/>
                <a:gd name="connsiteX2" fmla="*/ 605790 w 605790"/>
                <a:gd name="connsiteY2" fmla="*/ 765810 h 822960"/>
                <a:gd name="connsiteX3" fmla="*/ 255270 w 605790"/>
                <a:gd name="connsiteY3" fmla="*/ 102870 h 822960"/>
                <a:gd name="connsiteX4" fmla="*/ 422910 w 605790"/>
                <a:gd name="connsiteY4" fmla="*/ 45720 h 822960"/>
                <a:gd name="connsiteX5" fmla="*/ 289560 w 605790"/>
                <a:gd name="connsiteY5" fmla="*/ 0 h 822960"/>
                <a:gd name="connsiteX6" fmla="*/ 11430 w 605790"/>
                <a:gd name="connsiteY6" fmla="*/ 95250 h 822960"/>
                <a:gd name="connsiteX7" fmla="*/ 0 w 605790"/>
                <a:gd name="connsiteY7" fmla="*/ 190500 h 822960"/>
                <a:gd name="connsiteX8" fmla="*/ 171450 w 605790"/>
                <a:gd name="connsiteY8" fmla="*/ 137160 h 822960"/>
                <a:gd name="connsiteX0" fmla="*/ 171450 w 605790"/>
                <a:gd name="connsiteY0" fmla="*/ 140970 h 826770"/>
                <a:gd name="connsiteX1" fmla="*/ 502920 w 605790"/>
                <a:gd name="connsiteY1" fmla="*/ 826770 h 826770"/>
                <a:gd name="connsiteX2" fmla="*/ 605790 w 605790"/>
                <a:gd name="connsiteY2" fmla="*/ 769620 h 826770"/>
                <a:gd name="connsiteX3" fmla="*/ 255270 w 605790"/>
                <a:gd name="connsiteY3" fmla="*/ 106680 h 826770"/>
                <a:gd name="connsiteX4" fmla="*/ 422910 w 605790"/>
                <a:gd name="connsiteY4" fmla="*/ 49530 h 826770"/>
                <a:gd name="connsiteX5" fmla="*/ 331470 w 605790"/>
                <a:gd name="connsiteY5" fmla="*/ 0 h 826770"/>
                <a:gd name="connsiteX6" fmla="*/ 11430 w 605790"/>
                <a:gd name="connsiteY6" fmla="*/ 99060 h 826770"/>
                <a:gd name="connsiteX7" fmla="*/ 0 w 605790"/>
                <a:gd name="connsiteY7" fmla="*/ 194310 h 826770"/>
                <a:gd name="connsiteX8" fmla="*/ 171450 w 605790"/>
                <a:gd name="connsiteY8" fmla="*/ 140970 h 826770"/>
                <a:gd name="connsiteX0" fmla="*/ 171450 w 605790"/>
                <a:gd name="connsiteY0" fmla="*/ 140970 h 826770"/>
                <a:gd name="connsiteX1" fmla="*/ 502920 w 605790"/>
                <a:gd name="connsiteY1" fmla="*/ 826770 h 826770"/>
                <a:gd name="connsiteX2" fmla="*/ 605790 w 605790"/>
                <a:gd name="connsiteY2" fmla="*/ 769620 h 826770"/>
                <a:gd name="connsiteX3" fmla="*/ 255270 w 605790"/>
                <a:gd name="connsiteY3" fmla="*/ 106680 h 826770"/>
                <a:gd name="connsiteX4" fmla="*/ 422910 w 605790"/>
                <a:gd name="connsiteY4" fmla="*/ 49530 h 826770"/>
                <a:gd name="connsiteX5" fmla="*/ 320040 w 605790"/>
                <a:gd name="connsiteY5" fmla="*/ 0 h 826770"/>
                <a:gd name="connsiteX6" fmla="*/ 11430 w 605790"/>
                <a:gd name="connsiteY6" fmla="*/ 99060 h 826770"/>
                <a:gd name="connsiteX7" fmla="*/ 0 w 605790"/>
                <a:gd name="connsiteY7" fmla="*/ 194310 h 826770"/>
                <a:gd name="connsiteX8" fmla="*/ 171450 w 605790"/>
                <a:gd name="connsiteY8" fmla="*/ 140970 h 826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5790" h="826770">
                  <a:moveTo>
                    <a:pt x="171450" y="140970"/>
                  </a:moveTo>
                  <a:lnTo>
                    <a:pt x="502920" y="826770"/>
                  </a:lnTo>
                  <a:lnTo>
                    <a:pt x="605790" y="769620"/>
                  </a:lnTo>
                  <a:lnTo>
                    <a:pt x="255270" y="106680"/>
                  </a:lnTo>
                  <a:lnTo>
                    <a:pt x="422910" y="49530"/>
                  </a:lnTo>
                  <a:lnTo>
                    <a:pt x="320040" y="0"/>
                  </a:lnTo>
                  <a:lnTo>
                    <a:pt x="11430" y="99060"/>
                  </a:lnTo>
                  <a:lnTo>
                    <a:pt x="0" y="194310"/>
                  </a:lnTo>
                  <a:lnTo>
                    <a:pt x="171450" y="140970"/>
                  </a:lnTo>
                  <a:close/>
                </a:path>
              </a:pathLst>
            </a:custGeom>
            <a:solidFill>
              <a:schemeClr val="accent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4" name="Straight Connector 23"/>
            <p:cNvCxnSpPr/>
            <p:nvPr/>
          </p:nvCxnSpPr>
          <p:spPr>
            <a:xfrm flipH="1">
              <a:off x="6788880" y="2363002"/>
              <a:ext cx="41910" cy="1714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H="1">
              <a:off x="6820997" y="2424456"/>
              <a:ext cx="41910" cy="1714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6854162" y="2487153"/>
              <a:ext cx="41910" cy="1714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flipH="1">
              <a:off x="6896072" y="2551567"/>
              <a:ext cx="41910" cy="1714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H="1">
              <a:off x="6925500" y="2610247"/>
              <a:ext cx="41910" cy="1714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a:off x="6949725" y="2667185"/>
              <a:ext cx="41910" cy="1714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H="1">
              <a:off x="6981285" y="2724952"/>
              <a:ext cx="41910" cy="1714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H="1">
              <a:off x="7004145" y="2780197"/>
              <a:ext cx="41910" cy="1714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H="1">
              <a:off x="7032720" y="2841157"/>
              <a:ext cx="41910" cy="1714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a:off x="7068915" y="2902117"/>
              <a:ext cx="41910" cy="1714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7"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48"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4"/>
              </a:rPr>
              <a:t>www.rapidbbs.cn</a:t>
            </a:r>
            <a:endParaRPr lang="zh-CN" altLang="en-US" sz="1200" b="0">
              <a:latin typeface="Arial" charset="0"/>
              <a:ea typeface="ＭＳ Ｐゴシック" pitchFamily="34" charset="-128"/>
            </a:endParaRPr>
          </a:p>
        </p:txBody>
      </p:sp>
      <p:pic>
        <p:nvPicPr>
          <p:cNvPr id="49" name="Picture 2">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61121390"/>
      </p:ext>
    </p:extLst>
  </p:cSld>
  <p:clrMapOvr>
    <a:masterClrMapping/>
  </p:clrMapOvr>
  <p:transition>
    <p:fade/>
  </p:transition>
  <p:timing>
    <p:tnLst>
      <p:par>
        <p:cTn id="1" dur="indefinite" restart="never" nodeType="tmRoot"/>
      </p:par>
    </p:tnLst>
  </p:timing>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mportance of Identity</a:t>
            </a:r>
            <a:endParaRPr lang="en-US" dirty="0"/>
          </a:p>
        </p:txBody>
      </p:sp>
      <p:sp>
        <p:nvSpPr>
          <p:cNvPr id="4" name="TextBox 3"/>
          <p:cNvSpPr txBox="1"/>
          <p:nvPr/>
        </p:nvSpPr>
        <p:spPr>
          <a:xfrm>
            <a:off x="398963" y="3866525"/>
            <a:ext cx="8403238" cy="392415"/>
          </a:xfrm>
          <a:prstGeom prst="rect">
            <a:avLst/>
          </a:prstGeom>
          <a:noFill/>
          <a:effectLst/>
        </p:spPr>
        <p:txBody>
          <a:bodyPr wrap="square" lIns="68571" tIns="34286" rIns="68571" bIns="34286" rtlCol="0">
            <a:spAutoFit/>
          </a:bodyPr>
          <a:lstStyle/>
          <a:p>
            <a:pPr algn="ctr"/>
            <a:r>
              <a:rPr lang="en-US" sz="2100" dirty="0">
                <a:latin typeface="Segoe UI Light" pitchFamily="34" charset="0"/>
              </a:rPr>
              <a:t>Incorporating Identity into your environment can transform your business</a:t>
            </a:r>
          </a:p>
        </p:txBody>
      </p:sp>
      <p:grpSp>
        <p:nvGrpSpPr>
          <p:cNvPr id="5" name="Group 4"/>
          <p:cNvGrpSpPr/>
          <p:nvPr/>
        </p:nvGrpSpPr>
        <p:grpSpPr>
          <a:xfrm>
            <a:off x="1868095" y="1143006"/>
            <a:ext cx="5407810" cy="2478901"/>
            <a:chOff x="3687033" y="1088571"/>
            <a:chExt cx="7208536" cy="3305201"/>
          </a:xfrm>
        </p:grpSpPr>
        <p:sp>
          <p:nvSpPr>
            <p:cNvPr id="6" name="Rectangle 5"/>
            <p:cNvSpPr/>
            <p:nvPr/>
          </p:nvSpPr>
          <p:spPr>
            <a:xfrm>
              <a:off x="8525840" y="3718622"/>
              <a:ext cx="2369729" cy="6751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accent1"/>
                  </a:solidFill>
                  <a:latin typeface="Segoe UI Light" pitchFamily="34" charset="0"/>
                </a:rPr>
                <a:t>PLAN FOR</a:t>
              </a:r>
            </a:p>
            <a:p>
              <a:pPr algn="ctr"/>
              <a:r>
                <a:rPr lang="en-US" sz="1200" b="1" dirty="0">
                  <a:solidFill>
                    <a:schemeClr val="accent1"/>
                  </a:solidFill>
                  <a:latin typeface="Segoe UI Light" pitchFamily="34" charset="0"/>
                </a:rPr>
                <a:t>THE FUTURE</a:t>
              </a:r>
            </a:p>
          </p:txBody>
        </p:sp>
        <p:sp>
          <p:nvSpPr>
            <p:cNvPr id="7" name="Rectangle 6"/>
            <p:cNvSpPr/>
            <p:nvPr/>
          </p:nvSpPr>
          <p:spPr>
            <a:xfrm>
              <a:off x="6112920" y="3718622"/>
              <a:ext cx="2367850" cy="6751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accent1"/>
                  </a:solidFill>
                  <a:latin typeface="Segoe UI Light" pitchFamily="34" charset="0"/>
                </a:rPr>
                <a:t>TAKE </a:t>
              </a:r>
              <a:br>
                <a:rPr lang="en-US" sz="1200" b="1" dirty="0">
                  <a:solidFill>
                    <a:schemeClr val="accent1"/>
                  </a:solidFill>
                  <a:latin typeface="Segoe UI Light" pitchFamily="34" charset="0"/>
                </a:rPr>
              </a:br>
              <a:r>
                <a:rPr lang="en-US" sz="1200" b="1" dirty="0">
                  <a:solidFill>
                    <a:schemeClr val="accent1"/>
                  </a:solidFill>
                  <a:latin typeface="Segoe UI Light" pitchFamily="34" charset="0"/>
                </a:rPr>
                <a:t>CONTROL</a:t>
              </a:r>
            </a:p>
          </p:txBody>
        </p:sp>
        <p:sp>
          <p:nvSpPr>
            <p:cNvPr id="8" name="Rectangle 7"/>
            <p:cNvSpPr/>
            <p:nvPr/>
          </p:nvSpPr>
          <p:spPr>
            <a:xfrm>
              <a:off x="3707130" y="3718622"/>
              <a:ext cx="2367850" cy="6751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accent1"/>
                  </a:solidFill>
                  <a:latin typeface="Segoe UI Light" pitchFamily="34" charset="0"/>
                </a:rPr>
                <a:t>EMPOWER</a:t>
              </a:r>
              <a:br>
                <a:rPr lang="en-US" sz="1200" b="1" dirty="0">
                  <a:solidFill>
                    <a:schemeClr val="accent1"/>
                  </a:solidFill>
                  <a:latin typeface="Segoe UI Light" pitchFamily="34" charset="0"/>
                </a:rPr>
              </a:br>
              <a:r>
                <a:rPr lang="en-US" sz="1200" b="1" dirty="0">
                  <a:solidFill>
                    <a:schemeClr val="accent1"/>
                  </a:solidFill>
                  <a:latin typeface="Segoe UI Light" pitchFamily="34" charset="0"/>
                </a:rPr>
                <a:t>USERS</a:t>
              </a:r>
            </a:p>
          </p:txBody>
        </p:sp>
        <p:sp>
          <p:nvSpPr>
            <p:cNvPr id="9" name="Rectangle 8"/>
            <p:cNvSpPr/>
            <p:nvPr/>
          </p:nvSpPr>
          <p:spPr>
            <a:xfrm>
              <a:off x="3687033" y="1242055"/>
              <a:ext cx="7195771" cy="24765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0" name="Straight Connector 9"/>
            <p:cNvCxnSpPr/>
            <p:nvPr/>
          </p:nvCxnSpPr>
          <p:spPr>
            <a:xfrm>
              <a:off x="8480770" y="1242055"/>
              <a:ext cx="10887" cy="2459875"/>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8505744" y="1088571"/>
              <a:ext cx="2369729" cy="15348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p:cNvSpPr/>
            <p:nvPr/>
          </p:nvSpPr>
          <p:spPr>
            <a:xfrm>
              <a:off x="6092824" y="1088571"/>
              <a:ext cx="2367850" cy="15348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p:nvSpPr>
          <p:spPr>
            <a:xfrm>
              <a:off x="3687034" y="1088571"/>
              <a:ext cx="2367850" cy="15348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Connector 13"/>
            <p:cNvCxnSpPr/>
            <p:nvPr/>
          </p:nvCxnSpPr>
          <p:spPr>
            <a:xfrm>
              <a:off x="6072915" y="1238388"/>
              <a:ext cx="10887" cy="2459875"/>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Freeform 81"/>
            <p:cNvSpPr>
              <a:spLocks/>
            </p:cNvSpPr>
            <p:nvPr/>
          </p:nvSpPr>
          <p:spPr bwMode="black">
            <a:xfrm>
              <a:off x="6913890" y="1864783"/>
              <a:ext cx="856922" cy="1166804"/>
            </a:xfrm>
            <a:custGeom>
              <a:avLst/>
              <a:gdLst>
                <a:gd name="T0" fmla="*/ 230 w 256"/>
                <a:gd name="T1" fmla="*/ 221 h 349"/>
                <a:gd name="T2" fmla="*/ 256 w 256"/>
                <a:gd name="T3" fmla="*/ 202 h 349"/>
                <a:gd name="T4" fmla="*/ 232 w 256"/>
                <a:gd name="T5" fmla="*/ 184 h 349"/>
                <a:gd name="T6" fmla="*/ 239 w 256"/>
                <a:gd name="T7" fmla="*/ 170 h 349"/>
                <a:gd name="T8" fmla="*/ 217 w 256"/>
                <a:gd name="T9" fmla="*/ 152 h 349"/>
                <a:gd name="T10" fmla="*/ 187 w 256"/>
                <a:gd name="T11" fmla="*/ 152 h 349"/>
                <a:gd name="T12" fmla="*/ 187 w 256"/>
                <a:gd name="T13" fmla="*/ 91 h 349"/>
                <a:gd name="T14" fmla="*/ 217 w 256"/>
                <a:gd name="T15" fmla="*/ 45 h 349"/>
                <a:gd name="T16" fmla="*/ 203 w 256"/>
                <a:gd name="T17" fmla="*/ 10 h 349"/>
                <a:gd name="T18" fmla="*/ 166 w 256"/>
                <a:gd name="T19" fmla="*/ 58 h 349"/>
                <a:gd name="T20" fmla="*/ 130 w 256"/>
                <a:gd name="T21" fmla="*/ 10 h 349"/>
                <a:gd name="T22" fmla="*/ 116 w 256"/>
                <a:gd name="T23" fmla="*/ 45 h 349"/>
                <a:gd name="T24" fmla="*/ 146 w 256"/>
                <a:gd name="T25" fmla="*/ 91 h 349"/>
                <a:gd name="T26" fmla="*/ 146 w 256"/>
                <a:gd name="T27" fmla="*/ 121 h 349"/>
                <a:gd name="T28" fmla="*/ 143 w 256"/>
                <a:gd name="T29" fmla="*/ 119 h 349"/>
                <a:gd name="T30" fmla="*/ 99 w 256"/>
                <a:gd name="T31" fmla="*/ 126 h 349"/>
                <a:gd name="T32" fmla="*/ 45 w 256"/>
                <a:gd name="T33" fmla="*/ 162 h 349"/>
                <a:gd name="T34" fmla="*/ 0 w 256"/>
                <a:gd name="T35" fmla="*/ 162 h 349"/>
                <a:gd name="T36" fmla="*/ 0 w 256"/>
                <a:gd name="T37" fmla="*/ 272 h 349"/>
                <a:gd name="T38" fmla="*/ 70 w 256"/>
                <a:gd name="T39" fmla="*/ 277 h 349"/>
                <a:gd name="T40" fmla="*/ 132 w 256"/>
                <a:gd name="T41" fmla="*/ 286 h 349"/>
                <a:gd name="T42" fmla="*/ 127 w 256"/>
                <a:gd name="T43" fmla="*/ 273 h 349"/>
                <a:gd name="T44" fmla="*/ 139 w 256"/>
                <a:gd name="T45" fmla="*/ 255 h 349"/>
                <a:gd name="T46" fmla="*/ 125 w 256"/>
                <a:gd name="T47" fmla="*/ 237 h 349"/>
                <a:gd name="T48" fmla="*/ 140 w 256"/>
                <a:gd name="T49" fmla="*/ 219 h 349"/>
                <a:gd name="T50" fmla="*/ 125 w 256"/>
                <a:gd name="T51" fmla="*/ 201 h 349"/>
                <a:gd name="T52" fmla="*/ 138 w 256"/>
                <a:gd name="T53" fmla="*/ 185 h 349"/>
                <a:gd name="T54" fmla="*/ 125 w 256"/>
                <a:gd name="T55" fmla="*/ 167 h 349"/>
                <a:gd name="T56" fmla="*/ 146 w 256"/>
                <a:gd name="T57" fmla="*/ 148 h 349"/>
                <a:gd name="T58" fmla="*/ 146 w 256"/>
                <a:gd name="T59" fmla="*/ 155 h 349"/>
                <a:gd name="T60" fmla="*/ 137 w 256"/>
                <a:gd name="T61" fmla="*/ 170 h 349"/>
                <a:gd name="T62" fmla="*/ 146 w 256"/>
                <a:gd name="T63" fmla="*/ 185 h 349"/>
                <a:gd name="T64" fmla="*/ 146 w 256"/>
                <a:gd name="T65" fmla="*/ 188 h 349"/>
                <a:gd name="T66" fmla="*/ 137 w 256"/>
                <a:gd name="T67" fmla="*/ 202 h 349"/>
                <a:gd name="T68" fmla="*/ 146 w 256"/>
                <a:gd name="T69" fmla="*/ 216 h 349"/>
                <a:gd name="T70" fmla="*/ 146 w 256"/>
                <a:gd name="T71" fmla="*/ 224 h 349"/>
                <a:gd name="T72" fmla="*/ 137 w 256"/>
                <a:gd name="T73" fmla="*/ 239 h 349"/>
                <a:gd name="T74" fmla="*/ 146 w 256"/>
                <a:gd name="T75" fmla="*/ 254 h 349"/>
                <a:gd name="T76" fmla="*/ 146 w 256"/>
                <a:gd name="T77" fmla="*/ 261 h 349"/>
                <a:gd name="T78" fmla="*/ 139 w 256"/>
                <a:gd name="T79" fmla="*/ 276 h 349"/>
                <a:gd name="T80" fmla="*/ 146 w 256"/>
                <a:gd name="T81" fmla="*/ 291 h 349"/>
                <a:gd name="T82" fmla="*/ 146 w 256"/>
                <a:gd name="T83" fmla="*/ 324 h 349"/>
                <a:gd name="T84" fmla="*/ 167 w 256"/>
                <a:gd name="T85" fmla="*/ 349 h 349"/>
                <a:gd name="T86" fmla="*/ 187 w 256"/>
                <a:gd name="T87" fmla="*/ 324 h 349"/>
                <a:gd name="T88" fmla="*/ 187 w 256"/>
                <a:gd name="T89" fmla="*/ 294 h 349"/>
                <a:gd name="T90" fmla="*/ 207 w 256"/>
                <a:gd name="T91" fmla="*/ 294 h 349"/>
                <a:gd name="T92" fmla="*/ 226 w 256"/>
                <a:gd name="T93" fmla="*/ 276 h 349"/>
                <a:gd name="T94" fmla="*/ 207 w 256"/>
                <a:gd name="T95" fmla="*/ 257 h 349"/>
                <a:gd name="T96" fmla="*/ 187 w 256"/>
                <a:gd name="T97" fmla="*/ 257 h 349"/>
                <a:gd name="T98" fmla="*/ 187 w 256"/>
                <a:gd name="T99" fmla="*/ 257 h 349"/>
                <a:gd name="T100" fmla="*/ 217 w 256"/>
                <a:gd name="T101" fmla="*/ 257 h 349"/>
                <a:gd name="T102" fmla="*/ 239 w 256"/>
                <a:gd name="T103" fmla="*/ 239 h 349"/>
                <a:gd name="T104" fmla="*/ 217 w 256"/>
                <a:gd name="T105" fmla="*/ 221 h 349"/>
                <a:gd name="T106" fmla="*/ 187 w 256"/>
                <a:gd name="T107" fmla="*/ 221 h 349"/>
                <a:gd name="T108" fmla="*/ 187 w 256"/>
                <a:gd name="T109" fmla="*/ 221 h 349"/>
                <a:gd name="T110" fmla="*/ 230 w 256"/>
                <a:gd name="T111" fmla="*/ 221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49">
                  <a:moveTo>
                    <a:pt x="230" y="221"/>
                  </a:moveTo>
                  <a:cubicBezTo>
                    <a:pt x="245" y="221"/>
                    <a:pt x="256" y="212"/>
                    <a:pt x="256" y="202"/>
                  </a:cubicBezTo>
                  <a:cubicBezTo>
                    <a:pt x="256" y="192"/>
                    <a:pt x="245" y="184"/>
                    <a:pt x="232" y="184"/>
                  </a:cubicBezTo>
                  <a:cubicBezTo>
                    <a:pt x="236" y="180"/>
                    <a:pt x="239" y="175"/>
                    <a:pt x="239" y="170"/>
                  </a:cubicBezTo>
                  <a:cubicBezTo>
                    <a:pt x="239" y="160"/>
                    <a:pt x="229" y="152"/>
                    <a:pt x="217" y="152"/>
                  </a:cubicBezTo>
                  <a:cubicBezTo>
                    <a:pt x="187" y="152"/>
                    <a:pt x="187" y="152"/>
                    <a:pt x="187" y="152"/>
                  </a:cubicBezTo>
                  <a:cubicBezTo>
                    <a:pt x="187" y="91"/>
                    <a:pt x="187" y="91"/>
                    <a:pt x="187" y="91"/>
                  </a:cubicBezTo>
                  <a:cubicBezTo>
                    <a:pt x="205" y="83"/>
                    <a:pt x="217" y="66"/>
                    <a:pt x="217" y="45"/>
                  </a:cubicBezTo>
                  <a:cubicBezTo>
                    <a:pt x="217" y="31"/>
                    <a:pt x="203" y="0"/>
                    <a:pt x="203" y="10"/>
                  </a:cubicBezTo>
                  <a:cubicBezTo>
                    <a:pt x="204" y="24"/>
                    <a:pt x="195" y="58"/>
                    <a:pt x="166" y="58"/>
                  </a:cubicBezTo>
                  <a:cubicBezTo>
                    <a:pt x="140" y="58"/>
                    <a:pt x="129" y="30"/>
                    <a:pt x="130" y="10"/>
                  </a:cubicBezTo>
                  <a:cubicBezTo>
                    <a:pt x="130" y="3"/>
                    <a:pt x="116" y="32"/>
                    <a:pt x="116" y="45"/>
                  </a:cubicBezTo>
                  <a:cubicBezTo>
                    <a:pt x="116" y="66"/>
                    <a:pt x="129" y="84"/>
                    <a:pt x="146" y="91"/>
                  </a:cubicBezTo>
                  <a:cubicBezTo>
                    <a:pt x="146" y="121"/>
                    <a:pt x="146" y="121"/>
                    <a:pt x="146" y="121"/>
                  </a:cubicBezTo>
                  <a:cubicBezTo>
                    <a:pt x="143" y="119"/>
                    <a:pt x="143" y="119"/>
                    <a:pt x="143" y="119"/>
                  </a:cubicBezTo>
                  <a:cubicBezTo>
                    <a:pt x="143" y="119"/>
                    <a:pt x="110" y="122"/>
                    <a:pt x="99" y="126"/>
                  </a:cubicBezTo>
                  <a:cubicBezTo>
                    <a:pt x="87" y="131"/>
                    <a:pt x="63" y="162"/>
                    <a:pt x="45" y="162"/>
                  </a:cubicBezTo>
                  <a:cubicBezTo>
                    <a:pt x="26" y="162"/>
                    <a:pt x="0" y="162"/>
                    <a:pt x="0" y="162"/>
                  </a:cubicBezTo>
                  <a:cubicBezTo>
                    <a:pt x="0" y="272"/>
                    <a:pt x="0" y="272"/>
                    <a:pt x="0" y="272"/>
                  </a:cubicBezTo>
                  <a:cubicBezTo>
                    <a:pt x="0" y="272"/>
                    <a:pt x="47" y="272"/>
                    <a:pt x="70" y="277"/>
                  </a:cubicBezTo>
                  <a:cubicBezTo>
                    <a:pt x="86" y="280"/>
                    <a:pt x="110" y="284"/>
                    <a:pt x="132" y="286"/>
                  </a:cubicBezTo>
                  <a:cubicBezTo>
                    <a:pt x="129" y="283"/>
                    <a:pt x="127" y="278"/>
                    <a:pt x="127" y="273"/>
                  </a:cubicBezTo>
                  <a:cubicBezTo>
                    <a:pt x="127" y="265"/>
                    <a:pt x="132" y="258"/>
                    <a:pt x="139" y="255"/>
                  </a:cubicBezTo>
                  <a:cubicBezTo>
                    <a:pt x="131" y="252"/>
                    <a:pt x="125" y="245"/>
                    <a:pt x="125" y="237"/>
                  </a:cubicBezTo>
                  <a:cubicBezTo>
                    <a:pt x="125" y="229"/>
                    <a:pt x="131" y="222"/>
                    <a:pt x="140" y="219"/>
                  </a:cubicBezTo>
                  <a:cubicBezTo>
                    <a:pt x="131" y="216"/>
                    <a:pt x="125" y="209"/>
                    <a:pt x="125" y="201"/>
                  </a:cubicBezTo>
                  <a:cubicBezTo>
                    <a:pt x="125" y="194"/>
                    <a:pt x="130" y="188"/>
                    <a:pt x="138" y="185"/>
                  </a:cubicBezTo>
                  <a:cubicBezTo>
                    <a:pt x="130" y="182"/>
                    <a:pt x="125" y="175"/>
                    <a:pt x="125" y="167"/>
                  </a:cubicBezTo>
                  <a:cubicBezTo>
                    <a:pt x="125" y="157"/>
                    <a:pt x="135" y="148"/>
                    <a:pt x="146" y="148"/>
                  </a:cubicBezTo>
                  <a:cubicBezTo>
                    <a:pt x="146" y="155"/>
                    <a:pt x="146" y="155"/>
                    <a:pt x="146" y="155"/>
                  </a:cubicBezTo>
                  <a:cubicBezTo>
                    <a:pt x="141" y="158"/>
                    <a:pt x="137" y="164"/>
                    <a:pt x="137" y="170"/>
                  </a:cubicBezTo>
                  <a:cubicBezTo>
                    <a:pt x="137" y="176"/>
                    <a:pt x="141" y="182"/>
                    <a:pt x="146" y="185"/>
                  </a:cubicBezTo>
                  <a:cubicBezTo>
                    <a:pt x="146" y="188"/>
                    <a:pt x="146" y="188"/>
                    <a:pt x="146" y="188"/>
                  </a:cubicBezTo>
                  <a:cubicBezTo>
                    <a:pt x="141" y="191"/>
                    <a:pt x="137" y="196"/>
                    <a:pt x="137" y="202"/>
                  </a:cubicBezTo>
                  <a:cubicBezTo>
                    <a:pt x="137" y="208"/>
                    <a:pt x="141" y="213"/>
                    <a:pt x="146" y="216"/>
                  </a:cubicBezTo>
                  <a:cubicBezTo>
                    <a:pt x="146" y="224"/>
                    <a:pt x="146" y="224"/>
                    <a:pt x="146" y="224"/>
                  </a:cubicBezTo>
                  <a:cubicBezTo>
                    <a:pt x="141" y="227"/>
                    <a:pt x="137" y="233"/>
                    <a:pt x="137" y="239"/>
                  </a:cubicBezTo>
                  <a:cubicBezTo>
                    <a:pt x="137" y="245"/>
                    <a:pt x="141" y="251"/>
                    <a:pt x="146" y="254"/>
                  </a:cubicBezTo>
                  <a:cubicBezTo>
                    <a:pt x="146" y="261"/>
                    <a:pt x="146" y="261"/>
                    <a:pt x="146" y="261"/>
                  </a:cubicBezTo>
                  <a:cubicBezTo>
                    <a:pt x="142" y="264"/>
                    <a:pt x="139" y="270"/>
                    <a:pt x="139" y="276"/>
                  </a:cubicBezTo>
                  <a:cubicBezTo>
                    <a:pt x="139" y="282"/>
                    <a:pt x="142" y="287"/>
                    <a:pt x="146" y="291"/>
                  </a:cubicBezTo>
                  <a:cubicBezTo>
                    <a:pt x="146" y="324"/>
                    <a:pt x="146" y="324"/>
                    <a:pt x="146" y="324"/>
                  </a:cubicBezTo>
                  <a:cubicBezTo>
                    <a:pt x="146" y="338"/>
                    <a:pt x="156" y="349"/>
                    <a:pt x="167" y="349"/>
                  </a:cubicBezTo>
                  <a:cubicBezTo>
                    <a:pt x="178" y="349"/>
                    <a:pt x="187" y="338"/>
                    <a:pt x="187" y="324"/>
                  </a:cubicBezTo>
                  <a:cubicBezTo>
                    <a:pt x="187" y="294"/>
                    <a:pt x="187" y="294"/>
                    <a:pt x="187" y="294"/>
                  </a:cubicBezTo>
                  <a:cubicBezTo>
                    <a:pt x="207" y="294"/>
                    <a:pt x="207" y="294"/>
                    <a:pt x="207" y="294"/>
                  </a:cubicBezTo>
                  <a:cubicBezTo>
                    <a:pt x="217" y="294"/>
                    <a:pt x="226" y="286"/>
                    <a:pt x="226" y="276"/>
                  </a:cubicBezTo>
                  <a:cubicBezTo>
                    <a:pt x="226" y="266"/>
                    <a:pt x="217" y="257"/>
                    <a:pt x="207" y="257"/>
                  </a:cubicBezTo>
                  <a:cubicBezTo>
                    <a:pt x="187" y="257"/>
                    <a:pt x="187" y="257"/>
                    <a:pt x="187" y="257"/>
                  </a:cubicBezTo>
                  <a:cubicBezTo>
                    <a:pt x="187" y="257"/>
                    <a:pt x="187" y="257"/>
                    <a:pt x="187" y="257"/>
                  </a:cubicBezTo>
                  <a:cubicBezTo>
                    <a:pt x="217" y="257"/>
                    <a:pt x="217" y="257"/>
                    <a:pt x="217" y="257"/>
                  </a:cubicBezTo>
                  <a:cubicBezTo>
                    <a:pt x="229" y="257"/>
                    <a:pt x="239" y="249"/>
                    <a:pt x="239" y="239"/>
                  </a:cubicBezTo>
                  <a:cubicBezTo>
                    <a:pt x="239" y="229"/>
                    <a:pt x="229" y="221"/>
                    <a:pt x="217" y="221"/>
                  </a:cubicBezTo>
                  <a:cubicBezTo>
                    <a:pt x="187" y="221"/>
                    <a:pt x="187" y="221"/>
                    <a:pt x="187" y="221"/>
                  </a:cubicBezTo>
                  <a:cubicBezTo>
                    <a:pt x="187" y="221"/>
                    <a:pt x="187" y="221"/>
                    <a:pt x="187" y="221"/>
                  </a:cubicBezTo>
                  <a:lnTo>
                    <a:pt x="230" y="221"/>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algn="ctr"/>
              <a:endParaRPr lang="en-US" sz="1200" dirty="0"/>
            </a:p>
          </p:txBody>
        </p:sp>
        <p:grpSp>
          <p:nvGrpSpPr>
            <p:cNvPr id="16" name="Group 15"/>
            <p:cNvGrpSpPr/>
            <p:nvPr/>
          </p:nvGrpSpPr>
          <p:grpSpPr>
            <a:xfrm>
              <a:off x="9142412" y="1687134"/>
              <a:ext cx="1257626" cy="1319053"/>
              <a:chOff x="9323442" y="1877006"/>
              <a:chExt cx="1076596" cy="1129181"/>
            </a:xfrm>
          </p:grpSpPr>
          <p:pic>
            <p:nvPicPr>
              <p:cNvPr id="27" name="Picture 26" descr="C:\Users\chrisw\Desktop\Cloud Services 3.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9748814" y="1877006"/>
                <a:ext cx="651224" cy="44903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descr="C:\Users\sakuu\Documents\Ballmer WPC\AI\work.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9323442" y="2226117"/>
                <a:ext cx="488481" cy="7800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 name="Group 16"/>
            <p:cNvGrpSpPr/>
            <p:nvPr/>
          </p:nvGrpSpPr>
          <p:grpSpPr>
            <a:xfrm>
              <a:off x="4370996" y="1775696"/>
              <a:ext cx="1040118" cy="1128362"/>
              <a:chOff x="4741482" y="1930938"/>
              <a:chExt cx="869048" cy="942778"/>
            </a:xfrm>
          </p:grpSpPr>
          <p:sp>
            <p:nvSpPr>
              <p:cNvPr id="18" name="Freeform 5"/>
              <p:cNvSpPr>
                <a:spLocks/>
              </p:cNvSpPr>
              <p:nvPr/>
            </p:nvSpPr>
            <p:spPr bwMode="auto">
              <a:xfrm>
                <a:off x="4894221" y="2239331"/>
                <a:ext cx="449076" cy="634385"/>
              </a:xfrm>
              <a:custGeom>
                <a:avLst/>
                <a:gdLst>
                  <a:gd name="T0" fmla="*/ 854 w 1201"/>
                  <a:gd name="T1" fmla="*/ 727 h 1700"/>
                  <a:gd name="T2" fmla="*/ 974 w 1201"/>
                  <a:gd name="T3" fmla="*/ 801 h 1700"/>
                  <a:gd name="T4" fmla="*/ 1074 w 1201"/>
                  <a:gd name="T5" fmla="*/ 905 h 1700"/>
                  <a:gd name="T6" fmla="*/ 1147 w 1201"/>
                  <a:gd name="T7" fmla="*/ 1035 h 1700"/>
                  <a:gd name="T8" fmla="*/ 1192 w 1201"/>
                  <a:gd name="T9" fmla="*/ 1189 h 1700"/>
                  <a:gd name="T10" fmla="*/ 1200 w 1201"/>
                  <a:gd name="T11" fmla="*/ 1365 h 1700"/>
                  <a:gd name="T12" fmla="*/ 1190 w 1201"/>
                  <a:gd name="T13" fmla="*/ 1435 h 1700"/>
                  <a:gd name="T14" fmla="*/ 1161 w 1201"/>
                  <a:gd name="T15" fmla="*/ 1526 h 1700"/>
                  <a:gd name="T16" fmla="*/ 1111 w 1201"/>
                  <a:gd name="T17" fmla="*/ 1599 h 1700"/>
                  <a:gd name="T18" fmla="*/ 1041 w 1201"/>
                  <a:gd name="T19" fmla="*/ 1651 h 1700"/>
                  <a:gd name="T20" fmla="*/ 948 w 1201"/>
                  <a:gd name="T21" fmla="*/ 1684 h 1700"/>
                  <a:gd name="T22" fmla="*/ 875 w 1201"/>
                  <a:gd name="T23" fmla="*/ 1696 h 1700"/>
                  <a:gd name="T24" fmla="*/ 713 w 1201"/>
                  <a:gd name="T25" fmla="*/ 1698 h 1700"/>
                  <a:gd name="T26" fmla="*/ 543 w 1201"/>
                  <a:gd name="T27" fmla="*/ 1684 h 1700"/>
                  <a:gd name="T28" fmla="*/ 435 w 1201"/>
                  <a:gd name="T29" fmla="*/ 1667 h 1700"/>
                  <a:gd name="T30" fmla="*/ 295 w 1201"/>
                  <a:gd name="T31" fmla="*/ 1630 h 1700"/>
                  <a:gd name="T32" fmla="*/ 183 w 1201"/>
                  <a:gd name="T33" fmla="*/ 1580 h 1700"/>
                  <a:gd name="T34" fmla="*/ 135 w 1201"/>
                  <a:gd name="T35" fmla="*/ 1543 h 1700"/>
                  <a:gd name="T36" fmla="*/ 116 w 1201"/>
                  <a:gd name="T37" fmla="*/ 1516 h 1700"/>
                  <a:gd name="T38" fmla="*/ 104 w 1201"/>
                  <a:gd name="T39" fmla="*/ 1450 h 1700"/>
                  <a:gd name="T40" fmla="*/ 102 w 1201"/>
                  <a:gd name="T41" fmla="*/ 1379 h 1700"/>
                  <a:gd name="T42" fmla="*/ 93 w 1201"/>
                  <a:gd name="T43" fmla="*/ 1330 h 1700"/>
                  <a:gd name="T44" fmla="*/ 58 w 1201"/>
                  <a:gd name="T45" fmla="*/ 1400 h 1700"/>
                  <a:gd name="T46" fmla="*/ 31 w 1201"/>
                  <a:gd name="T47" fmla="*/ 1450 h 1700"/>
                  <a:gd name="T48" fmla="*/ 8 w 1201"/>
                  <a:gd name="T49" fmla="*/ 1423 h 1700"/>
                  <a:gd name="T50" fmla="*/ 2 w 1201"/>
                  <a:gd name="T51" fmla="*/ 1294 h 1700"/>
                  <a:gd name="T52" fmla="*/ 27 w 1201"/>
                  <a:gd name="T53" fmla="*/ 1166 h 1700"/>
                  <a:gd name="T54" fmla="*/ 73 w 1201"/>
                  <a:gd name="T55" fmla="*/ 1042 h 1700"/>
                  <a:gd name="T56" fmla="*/ 129 w 1201"/>
                  <a:gd name="T57" fmla="*/ 936 h 1700"/>
                  <a:gd name="T58" fmla="*/ 191 w 1201"/>
                  <a:gd name="T59" fmla="*/ 849 h 1700"/>
                  <a:gd name="T60" fmla="*/ 243 w 1201"/>
                  <a:gd name="T61" fmla="*/ 797 h 1700"/>
                  <a:gd name="T62" fmla="*/ 334 w 1201"/>
                  <a:gd name="T63" fmla="*/ 737 h 1700"/>
                  <a:gd name="T64" fmla="*/ 440 w 1201"/>
                  <a:gd name="T65" fmla="*/ 698 h 1700"/>
                  <a:gd name="T66" fmla="*/ 419 w 1201"/>
                  <a:gd name="T67" fmla="*/ 675 h 1700"/>
                  <a:gd name="T68" fmla="*/ 353 w 1201"/>
                  <a:gd name="T69" fmla="*/ 617 h 1700"/>
                  <a:gd name="T70" fmla="*/ 321 w 1201"/>
                  <a:gd name="T71" fmla="*/ 574 h 1700"/>
                  <a:gd name="T72" fmla="*/ 278 w 1201"/>
                  <a:gd name="T73" fmla="*/ 472 h 1700"/>
                  <a:gd name="T74" fmla="*/ 268 w 1201"/>
                  <a:gd name="T75" fmla="*/ 368 h 1700"/>
                  <a:gd name="T76" fmla="*/ 286 w 1201"/>
                  <a:gd name="T77" fmla="*/ 265 h 1700"/>
                  <a:gd name="T78" fmla="*/ 324 w 1201"/>
                  <a:gd name="T79" fmla="*/ 174 h 1700"/>
                  <a:gd name="T80" fmla="*/ 382 w 1201"/>
                  <a:gd name="T81" fmla="*/ 101 h 1700"/>
                  <a:gd name="T82" fmla="*/ 429 w 1201"/>
                  <a:gd name="T83" fmla="*/ 64 h 1700"/>
                  <a:gd name="T84" fmla="*/ 504 w 1201"/>
                  <a:gd name="T85" fmla="*/ 23 h 1700"/>
                  <a:gd name="T86" fmla="*/ 583 w 1201"/>
                  <a:gd name="T87" fmla="*/ 4 h 1700"/>
                  <a:gd name="T88" fmla="*/ 663 w 1201"/>
                  <a:gd name="T89" fmla="*/ 2 h 1700"/>
                  <a:gd name="T90" fmla="*/ 742 w 1201"/>
                  <a:gd name="T91" fmla="*/ 18 h 1700"/>
                  <a:gd name="T92" fmla="*/ 815 w 1201"/>
                  <a:gd name="T93" fmla="*/ 49 h 1700"/>
                  <a:gd name="T94" fmla="*/ 883 w 1201"/>
                  <a:gd name="T95" fmla="*/ 93 h 1700"/>
                  <a:gd name="T96" fmla="*/ 939 w 1201"/>
                  <a:gd name="T97" fmla="*/ 151 h 1700"/>
                  <a:gd name="T98" fmla="*/ 981 w 1201"/>
                  <a:gd name="T99" fmla="*/ 221 h 1700"/>
                  <a:gd name="T100" fmla="*/ 1006 w 1201"/>
                  <a:gd name="T101" fmla="*/ 300 h 1700"/>
                  <a:gd name="T102" fmla="*/ 1014 w 1201"/>
                  <a:gd name="T103" fmla="*/ 391 h 1700"/>
                  <a:gd name="T104" fmla="*/ 1008 w 1201"/>
                  <a:gd name="T105" fmla="*/ 447 h 1700"/>
                  <a:gd name="T106" fmla="*/ 987 w 1201"/>
                  <a:gd name="T107" fmla="*/ 520 h 1700"/>
                  <a:gd name="T108" fmla="*/ 952 w 1201"/>
                  <a:gd name="T109" fmla="*/ 582 h 1700"/>
                  <a:gd name="T110" fmla="*/ 906 w 1201"/>
                  <a:gd name="T111" fmla="*/ 634 h 1700"/>
                  <a:gd name="T112" fmla="*/ 811 w 1201"/>
                  <a:gd name="T113" fmla="*/ 710 h 1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01" h="1700">
                    <a:moveTo>
                      <a:pt x="811" y="710"/>
                    </a:moveTo>
                    <a:lnTo>
                      <a:pt x="811" y="710"/>
                    </a:lnTo>
                    <a:lnTo>
                      <a:pt x="854" y="727"/>
                    </a:lnTo>
                    <a:lnTo>
                      <a:pt x="896" y="748"/>
                    </a:lnTo>
                    <a:lnTo>
                      <a:pt x="935" y="774"/>
                    </a:lnTo>
                    <a:lnTo>
                      <a:pt x="974" y="801"/>
                    </a:lnTo>
                    <a:lnTo>
                      <a:pt x="1008" y="832"/>
                    </a:lnTo>
                    <a:lnTo>
                      <a:pt x="1043" y="866"/>
                    </a:lnTo>
                    <a:lnTo>
                      <a:pt x="1074" y="905"/>
                    </a:lnTo>
                    <a:lnTo>
                      <a:pt x="1101" y="946"/>
                    </a:lnTo>
                    <a:lnTo>
                      <a:pt x="1126" y="988"/>
                    </a:lnTo>
                    <a:lnTo>
                      <a:pt x="1147" y="1035"/>
                    </a:lnTo>
                    <a:lnTo>
                      <a:pt x="1167" y="1085"/>
                    </a:lnTo>
                    <a:lnTo>
                      <a:pt x="1180" y="1135"/>
                    </a:lnTo>
                    <a:lnTo>
                      <a:pt x="1192" y="1189"/>
                    </a:lnTo>
                    <a:lnTo>
                      <a:pt x="1198" y="1245"/>
                    </a:lnTo>
                    <a:lnTo>
                      <a:pt x="1201" y="1305"/>
                    </a:lnTo>
                    <a:lnTo>
                      <a:pt x="1200" y="1365"/>
                    </a:lnTo>
                    <a:lnTo>
                      <a:pt x="1200" y="1365"/>
                    </a:lnTo>
                    <a:lnTo>
                      <a:pt x="1196" y="1402"/>
                    </a:lnTo>
                    <a:lnTo>
                      <a:pt x="1190" y="1435"/>
                    </a:lnTo>
                    <a:lnTo>
                      <a:pt x="1182" y="1468"/>
                    </a:lnTo>
                    <a:lnTo>
                      <a:pt x="1172" y="1499"/>
                    </a:lnTo>
                    <a:lnTo>
                      <a:pt x="1161" y="1526"/>
                    </a:lnTo>
                    <a:lnTo>
                      <a:pt x="1145" y="1553"/>
                    </a:lnTo>
                    <a:lnTo>
                      <a:pt x="1130" y="1576"/>
                    </a:lnTo>
                    <a:lnTo>
                      <a:pt x="1111" y="1599"/>
                    </a:lnTo>
                    <a:lnTo>
                      <a:pt x="1089" y="1618"/>
                    </a:lnTo>
                    <a:lnTo>
                      <a:pt x="1066" y="1636"/>
                    </a:lnTo>
                    <a:lnTo>
                      <a:pt x="1041" y="1651"/>
                    </a:lnTo>
                    <a:lnTo>
                      <a:pt x="1012" y="1665"/>
                    </a:lnTo>
                    <a:lnTo>
                      <a:pt x="981" y="1676"/>
                    </a:lnTo>
                    <a:lnTo>
                      <a:pt x="948" y="1684"/>
                    </a:lnTo>
                    <a:lnTo>
                      <a:pt x="914" y="1692"/>
                    </a:lnTo>
                    <a:lnTo>
                      <a:pt x="875" y="1696"/>
                    </a:lnTo>
                    <a:lnTo>
                      <a:pt x="875" y="1696"/>
                    </a:lnTo>
                    <a:lnTo>
                      <a:pt x="823" y="1698"/>
                    </a:lnTo>
                    <a:lnTo>
                      <a:pt x="769" y="1700"/>
                    </a:lnTo>
                    <a:lnTo>
                      <a:pt x="713" y="1698"/>
                    </a:lnTo>
                    <a:lnTo>
                      <a:pt x="657" y="1696"/>
                    </a:lnTo>
                    <a:lnTo>
                      <a:pt x="601" y="1690"/>
                    </a:lnTo>
                    <a:lnTo>
                      <a:pt x="543" y="1684"/>
                    </a:lnTo>
                    <a:lnTo>
                      <a:pt x="489" y="1676"/>
                    </a:lnTo>
                    <a:lnTo>
                      <a:pt x="435" y="1667"/>
                    </a:lnTo>
                    <a:lnTo>
                      <a:pt x="435" y="1667"/>
                    </a:lnTo>
                    <a:lnTo>
                      <a:pt x="392" y="1657"/>
                    </a:lnTo>
                    <a:lnTo>
                      <a:pt x="344" y="1646"/>
                    </a:lnTo>
                    <a:lnTo>
                      <a:pt x="295" y="1630"/>
                    </a:lnTo>
                    <a:lnTo>
                      <a:pt x="247" y="1613"/>
                    </a:lnTo>
                    <a:lnTo>
                      <a:pt x="203" y="1591"/>
                    </a:lnTo>
                    <a:lnTo>
                      <a:pt x="183" y="1580"/>
                    </a:lnTo>
                    <a:lnTo>
                      <a:pt x="164" y="1568"/>
                    </a:lnTo>
                    <a:lnTo>
                      <a:pt x="149" y="1557"/>
                    </a:lnTo>
                    <a:lnTo>
                      <a:pt x="135" y="1543"/>
                    </a:lnTo>
                    <a:lnTo>
                      <a:pt x="124" y="1530"/>
                    </a:lnTo>
                    <a:lnTo>
                      <a:pt x="116" y="1516"/>
                    </a:lnTo>
                    <a:lnTo>
                      <a:pt x="116" y="1516"/>
                    </a:lnTo>
                    <a:lnTo>
                      <a:pt x="108" y="1495"/>
                    </a:lnTo>
                    <a:lnTo>
                      <a:pt x="106" y="1472"/>
                    </a:lnTo>
                    <a:lnTo>
                      <a:pt x="104" y="1450"/>
                    </a:lnTo>
                    <a:lnTo>
                      <a:pt x="104" y="1425"/>
                    </a:lnTo>
                    <a:lnTo>
                      <a:pt x="104" y="1402"/>
                    </a:lnTo>
                    <a:lnTo>
                      <a:pt x="102" y="1379"/>
                    </a:lnTo>
                    <a:lnTo>
                      <a:pt x="100" y="1354"/>
                    </a:lnTo>
                    <a:lnTo>
                      <a:pt x="93" y="1330"/>
                    </a:lnTo>
                    <a:lnTo>
                      <a:pt x="93" y="1330"/>
                    </a:lnTo>
                    <a:lnTo>
                      <a:pt x="81" y="1346"/>
                    </a:lnTo>
                    <a:lnTo>
                      <a:pt x="73" y="1363"/>
                    </a:lnTo>
                    <a:lnTo>
                      <a:pt x="58" y="1400"/>
                    </a:lnTo>
                    <a:lnTo>
                      <a:pt x="50" y="1417"/>
                    </a:lnTo>
                    <a:lnTo>
                      <a:pt x="41" y="1435"/>
                    </a:lnTo>
                    <a:lnTo>
                      <a:pt x="31" y="1450"/>
                    </a:lnTo>
                    <a:lnTo>
                      <a:pt x="17" y="1464"/>
                    </a:lnTo>
                    <a:lnTo>
                      <a:pt x="17" y="1464"/>
                    </a:lnTo>
                    <a:lnTo>
                      <a:pt x="8" y="1423"/>
                    </a:lnTo>
                    <a:lnTo>
                      <a:pt x="2" y="1381"/>
                    </a:lnTo>
                    <a:lnTo>
                      <a:pt x="0" y="1338"/>
                    </a:lnTo>
                    <a:lnTo>
                      <a:pt x="2" y="1294"/>
                    </a:lnTo>
                    <a:lnTo>
                      <a:pt x="8" y="1251"/>
                    </a:lnTo>
                    <a:lnTo>
                      <a:pt x="15" y="1209"/>
                    </a:lnTo>
                    <a:lnTo>
                      <a:pt x="27" y="1166"/>
                    </a:lnTo>
                    <a:lnTo>
                      <a:pt x="41" y="1124"/>
                    </a:lnTo>
                    <a:lnTo>
                      <a:pt x="56" y="1083"/>
                    </a:lnTo>
                    <a:lnTo>
                      <a:pt x="73" y="1042"/>
                    </a:lnTo>
                    <a:lnTo>
                      <a:pt x="91" y="1006"/>
                    </a:lnTo>
                    <a:lnTo>
                      <a:pt x="110" y="969"/>
                    </a:lnTo>
                    <a:lnTo>
                      <a:pt x="129" y="936"/>
                    </a:lnTo>
                    <a:lnTo>
                      <a:pt x="151" y="903"/>
                    </a:lnTo>
                    <a:lnTo>
                      <a:pt x="172" y="874"/>
                    </a:lnTo>
                    <a:lnTo>
                      <a:pt x="191" y="849"/>
                    </a:lnTo>
                    <a:lnTo>
                      <a:pt x="191" y="849"/>
                    </a:lnTo>
                    <a:lnTo>
                      <a:pt x="216" y="822"/>
                    </a:lnTo>
                    <a:lnTo>
                      <a:pt x="243" y="797"/>
                    </a:lnTo>
                    <a:lnTo>
                      <a:pt x="270" y="774"/>
                    </a:lnTo>
                    <a:lnTo>
                      <a:pt x="301" y="754"/>
                    </a:lnTo>
                    <a:lnTo>
                      <a:pt x="334" y="737"/>
                    </a:lnTo>
                    <a:lnTo>
                      <a:pt x="369" y="721"/>
                    </a:lnTo>
                    <a:lnTo>
                      <a:pt x="404" y="708"/>
                    </a:lnTo>
                    <a:lnTo>
                      <a:pt x="440" y="698"/>
                    </a:lnTo>
                    <a:lnTo>
                      <a:pt x="440" y="698"/>
                    </a:lnTo>
                    <a:lnTo>
                      <a:pt x="431" y="687"/>
                    </a:lnTo>
                    <a:lnTo>
                      <a:pt x="419" y="675"/>
                    </a:lnTo>
                    <a:lnTo>
                      <a:pt x="394" y="652"/>
                    </a:lnTo>
                    <a:lnTo>
                      <a:pt x="365" y="631"/>
                    </a:lnTo>
                    <a:lnTo>
                      <a:pt x="353" y="617"/>
                    </a:lnTo>
                    <a:lnTo>
                      <a:pt x="342" y="605"/>
                    </a:lnTo>
                    <a:lnTo>
                      <a:pt x="342" y="605"/>
                    </a:lnTo>
                    <a:lnTo>
                      <a:pt x="321" y="574"/>
                    </a:lnTo>
                    <a:lnTo>
                      <a:pt x="301" y="542"/>
                    </a:lnTo>
                    <a:lnTo>
                      <a:pt x="288" y="507"/>
                    </a:lnTo>
                    <a:lnTo>
                      <a:pt x="278" y="472"/>
                    </a:lnTo>
                    <a:lnTo>
                      <a:pt x="272" y="437"/>
                    </a:lnTo>
                    <a:lnTo>
                      <a:pt x="268" y="402"/>
                    </a:lnTo>
                    <a:lnTo>
                      <a:pt x="268" y="368"/>
                    </a:lnTo>
                    <a:lnTo>
                      <a:pt x="270" y="333"/>
                    </a:lnTo>
                    <a:lnTo>
                      <a:pt x="276" y="298"/>
                    </a:lnTo>
                    <a:lnTo>
                      <a:pt x="286" y="265"/>
                    </a:lnTo>
                    <a:lnTo>
                      <a:pt x="295" y="232"/>
                    </a:lnTo>
                    <a:lnTo>
                      <a:pt x="309" y="203"/>
                    </a:lnTo>
                    <a:lnTo>
                      <a:pt x="324" y="174"/>
                    </a:lnTo>
                    <a:lnTo>
                      <a:pt x="342" y="147"/>
                    </a:lnTo>
                    <a:lnTo>
                      <a:pt x="361" y="122"/>
                    </a:lnTo>
                    <a:lnTo>
                      <a:pt x="382" y="101"/>
                    </a:lnTo>
                    <a:lnTo>
                      <a:pt x="382" y="101"/>
                    </a:lnTo>
                    <a:lnTo>
                      <a:pt x="406" y="81"/>
                    </a:lnTo>
                    <a:lnTo>
                      <a:pt x="429" y="64"/>
                    </a:lnTo>
                    <a:lnTo>
                      <a:pt x="452" y="49"/>
                    </a:lnTo>
                    <a:lnTo>
                      <a:pt x="477" y="35"/>
                    </a:lnTo>
                    <a:lnTo>
                      <a:pt x="504" y="23"/>
                    </a:lnTo>
                    <a:lnTo>
                      <a:pt x="529" y="16"/>
                    </a:lnTo>
                    <a:lnTo>
                      <a:pt x="556" y="10"/>
                    </a:lnTo>
                    <a:lnTo>
                      <a:pt x="583" y="4"/>
                    </a:lnTo>
                    <a:lnTo>
                      <a:pt x="610" y="2"/>
                    </a:lnTo>
                    <a:lnTo>
                      <a:pt x="635" y="0"/>
                    </a:lnTo>
                    <a:lnTo>
                      <a:pt x="663" y="2"/>
                    </a:lnTo>
                    <a:lnTo>
                      <a:pt x="690" y="6"/>
                    </a:lnTo>
                    <a:lnTo>
                      <a:pt x="717" y="10"/>
                    </a:lnTo>
                    <a:lnTo>
                      <a:pt x="742" y="18"/>
                    </a:lnTo>
                    <a:lnTo>
                      <a:pt x="767" y="25"/>
                    </a:lnTo>
                    <a:lnTo>
                      <a:pt x="792" y="35"/>
                    </a:lnTo>
                    <a:lnTo>
                      <a:pt x="815" y="49"/>
                    </a:lnTo>
                    <a:lnTo>
                      <a:pt x="838" y="62"/>
                    </a:lnTo>
                    <a:lnTo>
                      <a:pt x="861" y="76"/>
                    </a:lnTo>
                    <a:lnTo>
                      <a:pt x="883" y="93"/>
                    </a:lnTo>
                    <a:lnTo>
                      <a:pt x="902" y="110"/>
                    </a:lnTo>
                    <a:lnTo>
                      <a:pt x="921" y="130"/>
                    </a:lnTo>
                    <a:lnTo>
                      <a:pt x="939" y="151"/>
                    </a:lnTo>
                    <a:lnTo>
                      <a:pt x="954" y="172"/>
                    </a:lnTo>
                    <a:lnTo>
                      <a:pt x="968" y="196"/>
                    </a:lnTo>
                    <a:lnTo>
                      <a:pt x="981" y="221"/>
                    </a:lnTo>
                    <a:lnTo>
                      <a:pt x="991" y="246"/>
                    </a:lnTo>
                    <a:lnTo>
                      <a:pt x="1001" y="273"/>
                    </a:lnTo>
                    <a:lnTo>
                      <a:pt x="1006" y="300"/>
                    </a:lnTo>
                    <a:lnTo>
                      <a:pt x="1012" y="329"/>
                    </a:lnTo>
                    <a:lnTo>
                      <a:pt x="1014" y="360"/>
                    </a:lnTo>
                    <a:lnTo>
                      <a:pt x="1014" y="391"/>
                    </a:lnTo>
                    <a:lnTo>
                      <a:pt x="1014" y="391"/>
                    </a:lnTo>
                    <a:lnTo>
                      <a:pt x="1012" y="420"/>
                    </a:lnTo>
                    <a:lnTo>
                      <a:pt x="1008" y="447"/>
                    </a:lnTo>
                    <a:lnTo>
                      <a:pt x="1002" y="472"/>
                    </a:lnTo>
                    <a:lnTo>
                      <a:pt x="995" y="497"/>
                    </a:lnTo>
                    <a:lnTo>
                      <a:pt x="987" y="520"/>
                    </a:lnTo>
                    <a:lnTo>
                      <a:pt x="975" y="542"/>
                    </a:lnTo>
                    <a:lnTo>
                      <a:pt x="964" y="563"/>
                    </a:lnTo>
                    <a:lnTo>
                      <a:pt x="952" y="582"/>
                    </a:lnTo>
                    <a:lnTo>
                      <a:pt x="937" y="600"/>
                    </a:lnTo>
                    <a:lnTo>
                      <a:pt x="921" y="617"/>
                    </a:lnTo>
                    <a:lnTo>
                      <a:pt x="906" y="634"/>
                    </a:lnTo>
                    <a:lnTo>
                      <a:pt x="889" y="650"/>
                    </a:lnTo>
                    <a:lnTo>
                      <a:pt x="852" y="681"/>
                    </a:lnTo>
                    <a:lnTo>
                      <a:pt x="811" y="710"/>
                    </a:lnTo>
                    <a:lnTo>
                      <a:pt x="811" y="710"/>
                    </a:lnTo>
                    <a:close/>
                  </a:path>
                </a:pathLst>
              </a:custGeom>
              <a:solidFill>
                <a:schemeClr val="tx1"/>
              </a:solidFill>
              <a:ln w="3175">
                <a:noFill/>
                <a:round/>
                <a:headEnd/>
                <a:tailEnd/>
              </a:ln>
              <a:effectLst/>
            </p:spPr>
            <p:txBody>
              <a:bodyPr vert="horz" wrap="square" lIns="91440" tIns="45720" rIns="91440" bIns="45720" numCol="1" anchor="t" anchorCtr="0" compatLnSpc="1">
                <a:prstTxWarp prst="textNoShape">
                  <a:avLst/>
                </a:prstTxWarp>
              </a:bodyPr>
              <a:lstStyle/>
              <a:p>
                <a:pPr algn="ctr"/>
                <a:endParaRPr lang="en-US" dirty="0"/>
              </a:p>
            </p:txBody>
          </p:sp>
          <p:cxnSp>
            <p:nvCxnSpPr>
              <p:cNvPr id="19" name="Straight Connector 18"/>
              <p:cNvCxnSpPr/>
              <p:nvPr/>
            </p:nvCxnSpPr>
            <p:spPr>
              <a:xfrm>
                <a:off x="5343296" y="2448582"/>
                <a:ext cx="145136" cy="17956"/>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4741482" y="2446777"/>
                <a:ext cx="224277" cy="84401"/>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V="1">
                <a:off x="5169432" y="1930938"/>
                <a:ext cx="40491" cy="263054"/>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V="1">
                <a:off x="5275434" y="2125382"/>
                <a:ext cx="87309" cy="108188"/>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5337156" y="2272618"/>
                <a:ext cx="273374" cy="41501"/>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4741482" y="2084274"/>
                <a:ext cx="246664" cy="160567"/>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4780984" y="2322893"/>
                <a:ext cx="163507" cy="10156"/>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flipV="1">
                <a:off x="4988146" y="2049969"/>
                <a:ext cx="77653" cy="144024"/>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9"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0"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7"/>
              </a:rPr>
              <a:t>www.rapidbbs.cn</a:t>
            </a:r>
            <a:endParaRPr lang="zh-CN" altLang="en-US" sz="1200" b="0">
              <a:latin typeface="Arial" charset="0"/>
              <a:ea typeface="ＭＳ Ｐゴシック" pitchFamily="34" charset="-128"/>
            </a:endParaRPr>
          </a:p>
        </p:txBody>
      </p:sp>
      <p:pic>
        <p:nvPicPr>
          <p:cNvPr id="31" name="Picture 2">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19901402"/>
      </p:ext>
    </p:extLst>
  </p:cSld>
  <p:clrMapOvr>
    <a:masterClrMapping/>
  </p:clrMapOvr>
  <p:transition>
    <p:fade/>
  </p:transition>
  <p:timing>
    <p:tnLst>
      <p:par>
        <p:cTn id="1" dur="indefinite" restart="never" nodeType="tmRoot"/>
      </p:par>
    </p:tnLst>
  </p:timing>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6"/>
            <a:ext cx="8363938" cy="457049"/>
          </a:xfrm>
        </p:spPr>
        <p:txBody>
          <a:bodyPr/>
          <a:lstStyle/>
          <a:p>
            <a:r>
              <a:rPr lang="en-US" dirty="0"/>
              <a:t>Identity is Essential for Cloud </a:t>
            </a:r>
            <a:r>
              <a:rPr lang="en-US" dirty="0" smtClean="0"/>
              <a:t>Computing</a:t>
            </a:r>
            <a:endParaRPr lang="en-US" dirty="0"/>
          </a:p>
        </p:txBody>
      </p:sp>
      <p:sp>
        <p:nvSpPr>
          <p:cNvPr id="4" name="TextBox 3"/>
          <p:cNvSpPr txBox="1"/>
          <p:nvPr/>
        </p:nvSpPr>
        <p:spPr>
          <a:xfrm>
            <a:off x="604756" y="1028700"/>
            <a:ext cx="3601388" cy="3600450"/>
          </a:xfrm>
          <a:prstGeom prst="rect">
            <a:avLst/>
          </a:prstGeom>
          <a:noFill/>
          <a:ln w="28575">
            <a:solidFill>
              <a:schemeClr val="tx1"/>
            </a:solidFill>
          </a:ln>
        </p:spPr>
        <p:txBody>
          <a:bodyPr wrap="square" lIns="68571" tIns="34286" rIns="68571" bIns="34286" rtlCol="0" anchor="b">
            <a:noAutofit/>
          </a:bodyPr>
          <a:lstStyle/>
          <a:p>
            <a:endParaRPr lang="en-US" dirty="0">
              <a:solidFill>
                <a:schemeClr val="bg2">
                  <a:lumMod val="50000"/>
                </a:schemeClr>
              </a:solidFill>
            </a:endParaRPr>
          </a:p>
        </p:txBody>
      </p:sp>
      <p:grpSp>
        <p:nvGrpSpPr>
          <p:cNvPr id="5" name="Group 4"/>
          <p:cNvGrpSpPr/>
          <p:nvPr/>
        </p:nvGrpSpPr>
        <p:grpSpPr>
          <a:xfrm>
            <a:off x="1828091" y="1314451"/>
            <a:ext cx="1146919" cy="1237580"/>
            <a:chOff x="2436812" y="1600200"/>
            <a:chExt cx="1528827" cy="1650106"/>
          </a:xfrm>
        </p:grpSpPr>
        <p:sp>
          <p:nvSpPr>
            <p:cNvPr id="6" name="Rectangle 5"/>
            <p:cNvSpPr/>
            <p:nvPr/>
          </p:nvSpPr>
          <p:spPr>
            <a:xfrm>
              <a:off x="2436812" y="1600200"/>
              <a:ext cx="1528827" cy="1410300"/>
            </a:xfrm>
            <a:prstGeom prst="rect">
              <a:avLst/>
            </a:prstGeom>
            <a:solidFill>
              <a:schemeClr val="accent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e:\Users\mvesely\Desktop\Metro\man.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080924" y="1723700"/>
              <a:ext cx="251015" cy="698628"/>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nvSpPr>
          <p:spPr bwMode="auto">
            <a:xfrm>
              <a:off x="2436812" y="3010783"/>
              <a:ext cx="1528827" cy="239523"/>
            </a:xfrm>
            <a:prstGeom prst="rect">
              <a:avLst/>
            </a:prstGeom>
            <a:solidFill>
              <a:schemeClr val="tx1"/>
            </a:solidFill>
            <a:ln w="28575" cap="flat" cmpd="sng" algn="ctr">
              <a:solidFill>
                <a:schemeClr val="tx1"/>
              </a:solidFill>
              <a:prstDash val="solid"/>
              <a:headEnd type="none" w="med" len="med"/>
              <a:tailEnd type="none" w="med" len="med"/>
            </a:ln>
            <a:effectLst/>
          </p:spPr>
          <p:txBody>
            <a:bodyPr rot="0" spcFirstLastPara="0" vertOverflow="overflow" horzOverflow="overflow" vert="horz" wrap="square" lIns="68607" tIns="34304" rIns="34304" bIns="68607" numCol="1" spcCol="0" rtlCol="0" fromWordArt="0" anchor="t" anchorCtr="0" forceAA="0" compatLnSpc="1">
              <a:prstTxWarp prst="textNoShape">
                <a:avLst/>
              </a:prstTxWarp>
              <a:noAutofit/>
            </a:bodyPr>
            <a:lstStyle/>
            <a:p>
              <a:pPr algn="ctr"/>
              <a:r>
                <a:rPr lang="en-US" sz="900" b="1" dirty="0">
                  <a:solidFill>
                    <a:schemeClr val="accent1"/>
                  </a:solidFill>
                  <a:latin typeface="Segoe UI Light" pitchFamily="34" charset="0"/>
                </a:rPr>
                <a:t>USERS &amp; DEVICES</a:t>
              </a:r>
            </a:p>
            <a:p>
              <a:pPr fontAlgn="base">
                <a:spcBef>
                  <a:spcPct val="0"/>
                </a:spcBef>
                <a:spcAft>
                  <a:spcPct val="0"/>
                </a:spcAft>
              </a:pPr>
              <a:endParaRPr lang="en-US" sz="800" kern="0" spc="-29" dirty="0">
                <a:gradFill>
                  <a:gsLst>
                    <a:gs pos="0">
                      <a:srgbClr val="FFFFFF"/>
                    </a:gs>
                    <a:gs pos="100000">
                      <a:srgbClr val="FFFFFF"/>
                    </a:gs>
                  </a:gsLst>
                  <a:lin ang="5400000" scaled="0"/>
                </a:gradFill>
                <a:latin typeface="Segoe WP" pitchFamily="34" charset="0"/>
                <a:ea typeface="Segoe UI" pitchFamily="34" charset="0"/>
                <a:cs typeface="Segoe UI" pitchFamily="34" charset="0"/>
              </a:endParaRPr>
            </a:p>
          </p:txBody>
        </p:sp>
      </p:grpSp>
      <p:grpSp>
        <p:nvGrpSpPr>
          <p:cNvPr id="10" name="Group 9"/>
          <p:cNvGrpSpPr/>
          <p:nvPr/>
        </p:nvGrpSpPr>
        <p:grpSpPr>
          <a:xfrm>
            <a:off x="1027783" y="2857501"/>
            <a:ext cx="1146919" cy="1237580"/>
            <a:chOff x="4651439" y="3890243"/>
            <a:chExt cx="1528827" cy="1650106"/>
          </a:xfrm>
        </p:grpSpPr>
        <p:sp>
          <p:nvSpPr>
            <p:cNvPr id="11" name="Rectangle 10"/>
            <p:cNvSpPr/>
            <p:nvPr/>
          </p:nvSpPr>
          <p:spPr>
            <a:xfrm>
              <a:off x="4651439" y="3890243"/>
              <a:ext cx="1528827" cy="1410300"/>
            </a:xfrm>
            <a:prstGeom prst="rect">
              <a:avLst/>
            </a:prstGeom>
            <a:solidFill>
              <a:schemeClr val="accent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p:nvSpPr>
          <p:spPr bwMode="auto">
            <a:xfrm>
              <a:off x="4651439" y="5300826"/>
              <a:ext cx="1528827" cy="239523"/>
            </a:xfrm>
            <a:prstGeom prst="rect">
              <a:avLst/>
            </a:prstGeom>
            <a:solidFill>
              <a:schemeClr val="tx1"/>
            </a:solidFill>
            <a:ln w="28575" cap="flat" cmpd="sng" algn="ctr">
              <a:solidFill>
                <a:schemeClr val="tx1"/>
              </a:solidFill>
              <a:prstDash val="solid"/>
              <a:headEnd type="none" w="med" len="med"/>
              <a:tailEnd type="none" w="med" len="med"/>
            </a:ln>
            <a:effectLst/>
          </p:spPr>
          <p:txBody>
            <a:bodyPr rot="0" spcFirstLastPara="0" vertOverflow="overflow" horzOverflow="overflow" vert="horz" wrap="square" lIns="68607" tIns="34304" rIns="34304" bIns="68607" numCol="1" spcCol="0" rtlCol="0" fromWordArt="0" anchor="t" anchorCtr="0" forceAA="0" compatLnSpc="1">
              <a:prstTxWarp prst="textNoShape">
                <a:avLst/>
              </a:prstTxWarp>
              <a:noAutofit/>
            </a:bodyPr>
            <a:lstStyle/>
            <a:p>
              <a:pPr algn="ctr"/>
              <a:r>
                <a:rPr lang="en-US" sz="900" b="1" dirty="0">
                  <a:solidFill>
                    <a:schemeClr val="accent1"/>
                  </a:solidFill>
                  <a:latin typeface="Segoe UI Light" pitchFamily="34" charset="0"/>
                </a:rPr>
                <a:t>INFRASTRUCTURE</a:t>
              </a:r>
            </a:p>
            <a:p>
              <a:pPr fontAlgn="base">
                <a:spcBef>
                  <a:spcPct val="0"/>
                </a:spcBef>
                <a:spcAft>
                  <a:spcPct val="0"/>
                </a:spcAft>
              </a:pPr>
              <a:endParaRPr lang="en-US" sz="800" kern="0" spc="-29" dirty="0">
                <a:gradFill>
                  <a:gsLst>
                    <a:gs pos="0">
                      <a:srgbClr val="FFFFFF"/>
                    </a:gs>
                    <a:gs pos="100000">
                      <a:srgbClr val="FFFFFF"/>
                    </a:gs>
                  </a:gsLst>
                  <a:lin ang="5400000" scaled="0"/>
                </a:gradFill>
                <a:latin typeface="Segoe WP" pitchFamily="34" charset="0"/>
                <a:ea typeface="Segoe UI" pitchFamily="34" charset="0"/>
                <a:cs typeface="Segoe UI" pitchFamily="34" charset="0"/>
              </a:endParaRPr>
            </a:p>
          </p:txBody>
        </p:sp>
      </p:grpSp>
      <p:grpSp>
        <p:nvGrpSpPr>
          <p:cNvPr id="14" name="Group 13"/>
          <p:cNvGrpSpPr/>
          <p:nvPr/>
        </p:nvGrpSpPr>
        <p:grpSpPr>
          <a:xfrm>
            <a:off x="2624779" y="2858419"/>
            <a:ext cx="1146919" cy="1237580"/>
            <a:chOff x="3498785" y="3658826"/>
            <a:chExt cx="1528827" cy="1650106"/>
          </a:xfrm>
        </p:grpSpPr>
        <p:sp>
          <p:nvSpPr>
            <p:cNvPr id="15" name="Rectangle 14"/>
            <p:cNvSpPr/>
            <p:nvPr/>
          </p:nvSpPr>
          <p:spPr>
            <a:xfrm>
              <a:off x="3498785" y="3658826"/>
              <a:ext cx="1528827" cy="1410300"/>
            </a:xfrm>
            <a:prstGeom prst="rect">
              <a:avLst/>
            </a:prstGeom>
            <a:solidFill>
              <a:schemeClr val="accent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p:cNvSpPr/>
            <p:nvPr/>
          </p:nvSpPr>
          <p:spPr bwMode="auto">
            <a:xfrm>
              <a:off x="3498785" y="5069409"/>
              <a:ext cx="1528827" cy="239523"/>
            </a:xfrm>
            <a:prstGeom prst="rect">
              <a:avLst/>
            </a:prstGeom>
            <a:solidFill>
              <a:schemeClr val="tx1"/>
            </a:solidFill>
            <a:ln w="28575" cap="flat" cmpd="sng" algn="ctr">
              <a:solidFill>
                <a:schemeClr val="tx1"/>
              </a:solidFill>
              <a:prstDash val="solid"/>
              <a:headEnd type="none" w="med" len="med"/>
              <a:tailEnd type="none" w="med" len="med"/>
            </a:ln>
            <a:effectLst/>
          </p:spPr>
          <p:txBody>
            <a:bodyPr rot="0" spcFirstLastPara="0" vertOverflow="overflow" horzOverflow="overflow" vert="horz" wrap="square" lIns="68607" tIns="34304" rIns="34304" bIns="68607" numCol="1" spcCol="0" rtlCol="0" fromWordArt="0" anchor="t" anchorCtr="0" forceAA="0" compatLnSpc="1">
              <a:prstTxWarp prst="textNoShape">
                <a:avLst/>
              </a:prstTxWarp>
              <a:noAutofit/>
            </a:bodyPr>
            <a:lstStyle/>
            <a:p>
              <a:pPr algn="ctr"/>
              <a:r>
                <a:rPr lang="en-US" sz="900" b="1" dirty="0">
                  <a:solidFill>
                    <a:schemeClr val="accent1"/>
                  </a:solidFill>
                  <a:latin typeface="Segoe UI Light" pitchFamily="34" charset="0"/>
                </a:rPr>
                <a:t>APPS &amp; SERVICES</a:t>
              </a:r>
            </a:p>
            <a:p>
              <a:pPr fontAlgn="base">
                <a:spcBef>
                  <a:spcPct val="0"/>
                </a:spcBef>
                <a:spcAft>
                  <a:spcPct val="0"/>
                </a:spcAft>
              </a:pPr>
              <a:endParaRPr lang="en-US" sz="800" kern="0" spc="-29" dirty="0">
                <a:gradFill>
                  <a:gsLst>
                    <a:gs pos="0">
                      <a:srgbClr val="FFFFFF"/>
                    </a:gs>
                    <a:gs pos="100000">
                      <a:srgbClr val="FFFFFF"/>
                    </a:gs>
                  </a:gsLst>
                  <a:lin ang="5400000" scaled="0"/>
                </a:gradFill>
                <a:latin typeface="Segoe WP" pitchFamily="34" charset="0"/>
                <a:ea typeface="Segoe UI" pitchFamily="34" charset="0"/>
                <a:cs typeface="Segoe UI" pitchFamily="34" charset="0"/>
              </a:endParaRPr>
            </a:p>
          </p:txBody>
        </p:sp>
        <p:pic>
          <p:nvPicPr>
            <p:cNvPr id="17" name="Picture 7" descr="\\MAGNUM\Projects\Microsoft\Cloud Power FY12\Design\ICONS_PNG\Gears.png"/>
            <p:cNvPicPr>
              <a:picLocks noChangeAspect="1" noChangeArrowheads="1"/>
            </p:cNvPicPr>
            <p:nvPr>
              <p:custDataLst>
                <p:tags r:id="rId2"/>
              </p:custDataLst>
            </p:nvPr>
          </p:nvPicPr>
          <p:blipFill rotWithShape="1">
            <a:blip r:embed="rId6" cstate="print">
              <a:lum bright="100000"/>
              <a:extLst>
                <a:ext uri="{28A0092B-C50C-407E-A947-70E740481C1C}">
                  <a14:useLocalDpi xmlns:a14="http://schemas.microsoft.com/office/drawing/2010/main"/>
                </a:ext>
              </a:extLst>
            </a:blip>
            <a:srcRect/>
            <a:stretch/>
          </p:blipFill>
          <p:spPr bwMode="auto">
            <a:xfrm rot="16200000" flipH="1">
              <a:off x="3917165" y="4071937"/>
              <a:ext cx="719971" cy="576869"/>
            </a:xfrm>
            <a:prstGeom prst="rect">
              <a:avLst/>
            </a:prstGeom>
            <a:noFill/>
          </p:spPr>
        </p:pic>
      </p:grpSp>
      <p:sp>
        <p:nvSpPr>
          <p:cNvPr id="18" name="Rectangle 17"/>
          <p:cNvSpPr/>
          <p:nvPr/>
        </p:nvSpPr>
        <p:spPr bwMode="auto">
          <a:xfrm>
            <a:off x="610921" y="4416666"/>
            <a:ext cx="3606914" cy="212484"/>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51450" tIns="25725" rIns="25725" bIns="51450" numCol="1" spcCol="0" rtlCol="0" fromWordArt="0" anchor="t" anchorCtr="0" forceAA="0" compatLnSpc="1">
            <a:prstTxWarp prst="textNoShape">
              <a:avLst/>
            </a:prstTxWarp>
            <a:noAutofit/>
          </a:bodyPr>
          <a:lstStyle/>
          <a:p>
            <a:pPr algn="ctr"/>
            <a:r>
              <a:rPr lang="en-US" sz="1200" b="1" dirty="0">
                <a:solidFill>
                  <a:schemeClr val="accent1"/>
                </a:solidFill>
                <a:latin typeface="Segoe UI Light" pitchFamily="34" charset="0"/>
              </a:rPr>
              <a:t>IDENTITY</a:t>
            </a:r>
          </a:p>
          <a:p>
            <a:pPr fontAlgn="base">
              <a:spcBef>
                <a:spcPct val="0"/>
              </a:spcBef>
              <a:spcAft>
                <a:spcPct val="0"/>
              </a:spcAft>
            </a:pPr>
            <a:endParaRPr lang="en-US" sz="800" kern="0" spc="-29" dirty="0">
              <a:gradFill>
                <a:gsLst>
                  <a:gs pos="0">
                    <a:srgbClr val="FFFFFF"/>
                  </a:gs>
                  <a:gs pos="100000">
                    <a:srgbClr val="FFFFFF"/>
                  </a:gs>
                </a:gsLst>
                <a:lin ang="5400000" scaled="0"/>
              </a:gradFill>
              <a:latin typeface="Segoe WP" pitchFamily="34" charset="0"/>
              <a:ea typeface="Segoe UI" pitchFamily="34" charset="0"/>
              <a:cs typeface="Segoe UI" pitchFamily="34" charset="0"/>
            </a:endParaRPr>
          </a:p>
        </p:txBody>
      </p:sp>
      <p:cxnSp>
        <p:nvCxnSpPr>
          <p:cNvPr id="19" name="Elbow Connector 18"/>
          <p:cNvCxnSpPr>
            <a:stCxn id="6" idx="1"/>
          </p:cNvCxnSpPr>
          <p:nvPr/>
        </p:nvCxnSpPr>
        <p:spPr>
          <a:xfrm rot="10800000" flipV="1">
            <a:off x="1625818" y="1843313"/>
            <a:ext cx="202268" cy="997821"/>
          </a:xfrm>
          <a:prstGeom prst="bentConnector2">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Elbow Connector 19"/>
          <p:cNvCxnSpPr/>
          <p:nvPr/>
        </p:nvCxnSpPr>
        <p:spPr>
          <a:xfrm>
            <a:off x="2971612" y="1843314"/>
            <a:ext cx="217552" cy="997822"/>
          </a:xfrm>
          <a:prstGeom prst="bentConnector2">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2169956" y="3442173"/>
            <a:ext cx="45482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4386467" y="1929971"/>
            <a:ext cx="441469" cy="1574169"/>
            <a:chOff x="6246812" y="2930307"/>
            <a:chExt cx="588472" cy="1378385"/>
          </a:xfrm>
        </p:grpSpPr>
        <p:sp>
          <p:nvSpPr>
            <p:cNvPr id="23" name="Chevron 22"/>
            <p:cNvSpPr/>
            <p:nvPr/>
          </p:nvSpPr>
          <p:spPr bwMode="auto">
            <a:xfrm>
              <a:off x="6367376" y="2930307"/>
              <a:ext cx="348567" cy="1377444"/>
            </a:xfrm>
            <a:prstGeom prst="chevron">
              <a:avLst>
                <a:gd name="adj" fmla="val 78351"/>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409" fontAlgn="base">
                <a:spcBef>
                  <a:spcPct val="0"/>
                </a:spcBef>
                <a:spcAft>
                  <a:spcPct val="0"/>
                </a:spcAft>
              </a:pP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4" name="Chevron 23"/>
            <p:cNvSpPr/>
            <p:nvPr/>
          </p:nvSpPr>
          <p:spPr bwMode="auto">
            <a:xfrm>
              <a:off x="6486717" y="2931147"/>
              <a:ext cx="348567" cy="1377444"/>
            </a:xfrm>
            <a:prstGeom prst="chevron">
              <a:avLst>
                <a:gd name="adj" fmla="val 78351"/>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409" fontAlgn="base">
                <a:spcBef>
                  <a:spcPct val="0"/>
                </a:spcBef>
                <a:spcAft>
                  <a:spcPct val="0"/>
                </a:spcAft>
              </a:pP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5" name="Chevron 24"/>
            <p:cNvSpPr/>
            <p:nvPr/>
          </p:nvSpPr>
          <p:spPr bwMode="auto">
            <a:xfrm>
              <a:off x="6246812" y="2931248"/>
              <a:ext cx="348567" cy="1377444"/>
            </a:xfrm>
            <a:prstGeom prst="chevron">
              <a:avLst>
                <a:gd name="adj" fmla="val 78351"/>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409" fontAlgn="base">
                <a:spcBef>
                  <a:spcPct val="0"/>
                </a:spcBef>
                <a:spcAft>
                  <a:spcPct val="0"/>
                </a:spcAft>
              </a:pP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41" name="Group 140"/>
          <p:cNvGrpSpPr/>
          <p:nvPr/>
        </p:nvGrpSpPr>
        <p:grpSpPr>
          <a:xfrm>
            <a:off x="7255134" y="1428547"/>
            <a:ext cx="1146919" cy="1237580"/>
            <a:chOff x="9238717" y="1904729"/>
            <a:chExt cx="1528827" cy="1650106"/>
          </a:xfrm>
        </p:grpSpPr>
        <p:sp>
          <p:nvSpPr>
            <p:cNvPr id="48" name="Rectangle 47"/>
            <p:cNvSpPr/>
            <p:nvPr/>
          </p:nvSpPr>
          <p:spPr>
            <a:xfrm>
              <a:off x="9238717" y="1904729"/>
              <a:ext cx="1528827" cy="1410300"/>
            </a:xfrm>
            <a:prstGeom prst="rect">
              <a:avLst/>
            </a:prstGeom>
            <a:solidFill>
              <a:schemeClr val="accent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Rectangle 48"/>
            <p:cNvSpPr/>
            <p:nvPr/>
          </p:nvSpPr>
          <p:spPr bwMode="auto">
            <a:xfrm>
              <a:off x="9238717" y="3315312"/>
              <a:ext cx="1528827" cy="239523"/>
            </a:xfrm>
            <a:prstGeom prst="rect">
              <a:avLst/>
            </a:prstGeom>
            <a:solidFill>
              <a:schemeClr val="tx1"/>
            </a:solidFill>
            <a:ln w="28575" cap="flat" cmpd="sng" algn="ctr">
              <a:solidFill>
                <a:schemeClr val="tx1"/>
              </a:solidFill>
              <a:prstDash val="solid"/>
              <a:headEnd type="none" w="med" len="med"/>
              <a:tailEnd type="none" w="med" len="med"/>
            </a:ln>
            <a:effectLst/>
          </p:spPr>
          <p:txBody>
            <a:bodyPr rot="0" spcFirstLastPara="0" vertOverflow="overflow" horzOverflow="overflow" vert="horz" wrap="square" lIns="68607" tIns="34304" rIns="34304" bIns="68607" numCol="1" spcCol="0" rtlCol="0" fromWordArt="0" anchor="t" anchorCtr="0" forceAA="0" compatLnSpc="1">
              <a:prstTxWarp prst="textNoShape">
                <a:avLst/>
              </a:prstTxWarp>
              <a:noAutofit/>
            </a:bodyPr>
            <a:lstStyle/>
            <a:p>
              <a:pPr algn="ctr"/>
              <a:r>
                <a:rPr lang="en-US" sz="900" b="1" dirty="0">
                  <a:solidFill>
                    <a:schemeClr val="accent1"/>
                  </a:solidFill>
                  <a:latin typeface="Segoe UI Light" pitchFamily="34" charset="0"/>
                </a:rPr>
                <a:t>PUBLIC</a:t>
              </a:r>
            </a:p>
            <a:p>
              <a:pPr fontAlgn="base">
                <a:spcBef>
                  <a:spcPct val="0"/>
                </a:spcBef>
                <a:spcAft>
                  <a:spcPct val="0"/>
                </a:spcAft>
              </a:pPr>
              <a:endParaRPr lang="en-US" sz="800" kern="0" spc="-29" dirty="0">
                <a:gradFill>
                  <a:gsLst>
                    <a:gs pos="0">
                      <a:srgbClr val="FFFFFF"/>
                    </a:gs>
                    <a:gs pos="100000">
                      <a:srgbClr val="FFFFFF"/>
                    </a:gs>
                  </a:gsLst>
                  <a:lin ang="5400000" scaled="0"/>
                </a:gradFill>
                <a:latin typeface="Segoe WP" pitchFamily="34" charset="0"/>
                <a:ea typeface="Segoe UI" pitchFamily="34" charset="0"/>
                <a:cs typeface="Segoe UI" pitchFamily="34" charset="0"/>
              </a:endParaRPr>
            </a:p>
          </p:txBody>
        </p:sp>
        <p:pic>
          <p:nvPicPr>
            <p:cNvPr id="55" name="Picture 2" descr="C:\Users\chrisw\Desktop\Cloud Services 3.png"/>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9489242" y="2306845"/>
              <a:ext cx="1027775" cy="70848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6" name="Group 55"/>
          <p:cNvGrpSpPr/>
          <p:nvPr/>
        </p:nvGrpSpPr>
        <p:grpSpPr bwMode="black">
          <a:xfrm>
            <a:off x="1999580" y="2057407"/>
            <a:ext cx="229820" cy="226619"/>
            <a:chOff x="2916435" y="3914152"/>
            <a:chExt cx="930763" cy="918513"/>
          </a:xfrm>
        </p:grpSpPr>
        <p:pic>
          <p:nvPicPr>
            <p:cNvPr id="57" name="Picture 56"/>
            <p:cNvPicPr>
              <a:picLocks noChangeAspect="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58"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40" tIns="45720" rIns="91440" bIns="45720" numCol="1" anchor="t" anchorCtr="0" compatLnSpc="1">
              <a:prstTxWarp prst="textNoShape">
                <a:avLst/>
              </a:prstTxWarp>
            </a:bodyPr>
            <a:lstStyle/>
            <a:p>
              <a:endParaRPr lang="en-US" sz="700" dirty="0">
                <a:solidFill>
                  <a:srgbClr val="FFFFFF"/>
                </a:solidFill>
              </a:endParaRPr>
            </a:p>
          </p:txBody>
        </p:sp>
      </p:grpSp>
      <p:sp>
        <p:nvSpPr>
          <p:cNvPr id="59" name="Freeform 20"/>
          <p:cNvSpPr>
            <a:spLocks noEditPoints="1"/>
          </p:cNvSpPr>
          <p:nvPr/>
        </p:nvSpPr>
        <p:spPr bwMode="black">
          <a:xfrm>
            <a:off x="2261936" y="2061095"/>
            <a:ext cx="285964" cy="198709"/>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61720" tIns="30860" rIns="61720" bIns="30860" numCol="1" anchor="t" anchorCtr="0" compatLnSpc="1">
            <a:prstTxWarp prst="textNoShape">
              <a:avLst/>
            </a:prstTxWarp>
          </a:bodyPr>
          <a:lstStyle/>
          <a:p>
            <a:endParaRPr lang="en-US" sz="700" dirty="0">
              <a:solidFill>
                <a:srgbClr val="FFFFFF"/>
              </a:solidFill>
            </a:endParaRPr>
          </a:p>
        </p:txBody>
      </p:sp>
      <p:pic>
        <p:nvPicPr>
          <p:cNvPr id="60" name="Picture 59"/>
          <p:cNvPicPr>
            <a:picLocks noChangeAspect="1"/>
          </p:cNvPicPr>
          <p:nvPr/>
        </p:nvPicPr>
        <p:blipFill>
          <a:blip r:embed="rId11" cstate="print">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2576112" y="2061089"/>
            <a:ext cx="103506" cy="198708"/>
          </a:xfrm>
          <a:prstGeom prst="rect">
            <a:avLst/>
          </a:prstGeom>
        </p:spPr>
      </p:pic>
      <p:grpSp>
        <p:nvGrpSpPr>
          <p:cNvPr id="61" name="Group 60"/>
          <p:cNvGrpSpPr/>
          <p:nvPr/>
        </p:nvGrpSpPr>
        <p:grpSpPr bwMode="black">
          <a:xfrm>
            <a:off x="1334908" y="3082654"/>
            <a:ext cx="532656" cy="599378"/>
            <a:chOff x="3422650" y="3467100"/>
            <a:chExt cx="533400" cy="549275"/>
          </a:xfrm>
          <a:solidFill>
            <a:srgbClr val="FFFFFF"/>
          </a:solidFill>
        </p:grpSpPr>
        <p:sp>
          <p:nvSpPr>
            <p:cNvPr id="62" name="Freeform 82"/>
            <p:cNvSpPr>
              <a:spLocks noEditPoints="1"/>
            </p:cNvSpPr>
            <p:nvPr/>
          </p:nvSpPr>
          <p:spPr bwMode="black">
            <a:xfrm>
              <a:off x="3422650" y="3467100"/>
              <a:ext cx="533400" cy="53340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grpFill/>
            <a:ln>
              <a:noFill/>
            </a:ln>
          </p:spPr>
          <p:txBody>
            <a:bodyPr vert="horz" wrap="square" lIns="91440" tIns="45720" rIns="91440" bIns="45720" numCol="1" anchor="t" anchorCtr="0" compatLnSpc="1">
              <a:prstTxWarp prst="textNoShape">
                <a:avLst/>
              </a:prstTxWarp>
            </a:bodyPr>
            <a:lstStyle/>
            <a:p>
              <a:endParaRPr lang="en-US" sz="1200" dirty="0"/>
            </a:p>
          </p:txBody>
        </p:sp>
        <p:sp>
          <p:nvSpPr>
            <p:cNvPr id="63"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grpFill/>
            <a:ln>
              <a:noFill/>
            </a:ln>
          </p:spPr>
          <p:txBody>
            <a:bodyPr vert="horz" wrap="square" lIns="91440" tIns="45720" rIns="91440" bIns="45720" numCol="1" anchor="t" anchorCtr="0" compatLnSpc="1">
              <a:prstTxWarp prst="textNoShape">
                <a:avLst/>
              </a:prstTxWarp>
            </a:bodyPr>
            <a:lstStyle/>
            <a:p>
              <a:endParaRPr lang="en-US" sz="1200" dirty="0"/>
            </a:p>
          </p:txBody>
        </p:sp>
      </p:grpSp>
      <p:grpSp>
        <p:nvGrpSpPr>
          <p:cNvPr id="142" name="Group 141"/>
          <p:cNvGrpSpPr/>
          <p:nvPr/>
        </p:nvGrpSpPr>
        <p:grpSpPr>
          <a:xfrm>
            <a:off x="5200820" y="1428547"/>
            <a:ext cx="1146919" cy="1237580"/>
            <a:chOff x="9238715" y="3988694"/>
            <a:chExt cx="1528827" cy="1650106"/>
          </a:xfrm>
        </p:grpSpPr>
        <p:grpSp>
          <p:nvGrpSpPr>
            <p:cNvPr id="43" name="Group 42"/>
            <p:cNvGrpSpPr/>
            <p:nvPr/>
          </p:nvGrpSpPr>
          <p:grpSpPr>
            <a:xfrm>
              <a:off x="9238715" y="3988694"/>
              <a:ext cx="1528827" cy="1650106"/>
              <a:chOff x="3498785" y="3658826"/>
              <a:chExt cx="1528827" cy="1650106"/>
            </a:xfrm>
          </p:grpSpPr>
          <p:sp>
            <p:nvSpPr>
              <p:cNvPr id="44" name="Rectangle 43"/>
              <p:cNvSpPr/>
              <p:nvPr/>
            </p:nvSpPr>
            <p:spPr>
              <a:xfrm>
                <a:off x="3498785" y="3658826"/>
                <a:ext cx="1528827" cy="1410300"/>
              </a:xfrm>
              <a:prstGeom prst="rect">
                <a:avLst/>
              </a:prstGeom>
              <a:solidFill>
                <a:schemeClr val="accent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Rectangle 44"/>
              <p:cNvSpPr/>
              <p:nvPr/>
            </p:nvSpPr>
            <p:spPr bwMode="auto">
              <a:xfrm>
                <a:off x="3498785" y="5069409"/>
                <a:ext cx="1528827" cy="239523"/>
              </a:xfrm>
              <a:prstGeom prst="rect">
                <a:avLst/>
              </a:prstGeom>
              <a:solidFill>
                <a:schemeClr val="tx1"/>
              </a:solidFill>
              <a:ln w="28575" cap="flat" cmpd="sng" algn="ctr">
                <a:solidFill>
                  <a:schemeClr val="tx1"/>
                </a:solidFill>
                <a:prstDash val="solid"/>
                <a:headEnd type="none" w="med" len="med"/>
                <a:tailEnd type="none" w="med" len="med"/>
              </a:ln>
              <a:effectLst/>
            </p:spPr>
            <p:txBody>
              <a:bodyPr rot="0" spcFirstLastPara="0" vertOverflow="overflow" horzOverflow="overflow" vert="horz" wrap="square" lIns="68607" tIns="34304" rIns="34304" bIns="68607" numCol="1" spcCol="0" rtlCol="0" fromWordArt="0" anchor="t" anchorCtr="0" forceAA="0" compatLnSpc="1">
                <a:prstTxWarp prst="textNoShape">
                  <a:avLst/>
                </a:prstTxWarp>
                <a:noAutofit/>
              </a:bodyPr>
              <a:lstStyle/>
              <a:p>
                <a:pPr algn="ctr"/>
                <a:r>
                  <a:rPr lang="en-US" sz="900" b="1" dirty="0">
                    <a:solidFill>
                      <a:schemeClr val="accent1"/>
                    </a:solidFill>
                    <a:latin typeface="Segoe UI Light" pitchFamily="34" charset="0"/>
                  </a:rPr>
                  <a:t>PRIVATE</a:t>
                </a:r>
              </a:p>
              <a:p>
                <a:pPr fontAlgn="base">
                  <a:spcBef>
                    <a:spcPct val="0"/>
                  </a:spcBef>
                  <a:spcAft>
                    <a:spcPct val="0"/>
                  </a:spcAft>
                </a:pPr>
                <a:endParaRPr lang="en-US" sz="800" kern="0" spc="-29" dirty="0">
                  <a:gradFill>
                    <a:gsLst>
                      <a:gs pos="0">
                        <a:srgbClr val="FFFFFF"/>
                      </a:gs>
                      <a:gs pos="100000">
                        <a:srgbClr val="FFFFFF"/>
                      </a:gs>
                    </a:gsLst>
                    <a:lin ang="5400000" scaled="0"/>
                  </a:gradFill>
                  <a:latin typeface="Segoe WP" pitchFamily="34" charset="0"/>
                  <a:ea typeface="Segoe UI" pitchFamily="34" charset="0"/>
                  <a:cs typeface="Segoe UI" pitchFamily="34" charset="0"/>
                </a:endParaRPr>
              </a:p>
            </p:txBody>
          </p:sp>
        </p:grpSp>
        <p:grpSp>
          <p:nvGrpSpPr>
            <p:cNvPr id="64" name="Group 63"/>
            <p:cNvGrpSpPr/>
            <p:nvPr/>
          </p:nvGrpSpPr>
          <p:grpSpPr bwMode="black">
            <a:xfrm>
              <a:off x="9449625" y="4234625"/>
              <a:ext cx="1066800" cy="946975"/>
              <a:chOff x="2462213" y="1598613"/>
              <a:chExt cx="4222750" cy="3667125"/>
            </a:xfrm>
          </p:grpSpPr>
          <p:sp>
            <p:nvSpPr>
              <p:cNvPr id="65" name="Rectangle 6"/>
              <p:cNvSpPr>
                <a:spLocks noChangeArrowheads="1"/>
              </p:cNvSpPr>
              <p:nvPr/>
            </p:nvSpPr>
            <p:spPr bwMode="black">
              <a:xfrm>
                <a:off x="5564188"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66" name="Rectangle 7"/>
              <p:cNvSpPr>
                <a:spLocks noChangeArrowheads="1"/>
              </p:cNvSpPr>
              <p:nvPr/>
            </p:nvSpPr>
            <p:spPr bwMode="black">
              <a:xfrm>
                <a:off x="5795963" y="3346451"/>
                <a:ext cx="112713"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67" name="Rectangle 8"/>
              <p:cNvSpPr>
                <a:spLocks noChangeArrowheads="1"/>
              </p:cNvSpPr>
              <p:nvPr/>
            </p:nvSpPr>
            <p:spPr bwMode="black">
              <a:xfrm>
                <a:off x="3092451"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68" name="Rectangle 9"/>
              <p:cNvSpPr>
                <a:spLocks noChangeArrowheads="1"/>
              </p:cNvSpPr>
              <p:nvPr/>
            </p:nvSpPr>
            <p:spPr bwMode="black">
              <a:xfrm>
                <a:off x="3324226" y="3346451"/>
                <a:ext cx="117475"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69" name="Freeform 10"/>
              <p:cNvSpPr>
                <a:spLocks/>
              </p:cNvSpPr>
              <p:nvPr/>
            </p:nvSpPr>
            <p:spPr bwMode="black">
              <a:xfrm>
                <a:off x="3902076" y="2506663"/>
                <a:ext cx="101600" cy="123825"/>
              </a:xfrm>
              <a:custGeom>
                <a:avLst/>
                <a:gdLst>
                  <a:gd name="T0" fmla="*/ 36 w 64"/>
                  <a:gd name="T1" fmla="*/ 78 h 78"/>
                  <a:gd name="T2" fmla="*/ 64 w 64"/>
                  <a:gd name="T3" fmla="*/ 64 h 78"/>
                  <a:gd name="T4" fmla="*/ 26 w 64"/>
                  <a:gd name="T5" fmla="*/ 0 h 78"/>
                  <a:gd name="T6" fmla="*/ 0 w 64"/>
                  <a:gd name="T7" fmla="*/ 17 h 78"/>
                  <a:gd name="T8" fmla="*/ 36 w 64"/>
                  <a:gd name="T9" fmla="*/ 78 h 78"/>
                </a:gdLst>
                <a:ahLst/>
                <a:cxnLst>
                  <a:cxn ang="0">
                    <a:pos x="T0" y="T1"/>
                  </a:cxn>
                  <a:cxn ang="0">
                    <a:pos x="T2" y="T3"/>
                  </a:cxn>
                  <a:cxn ang="0">
                    <a:pos x="T4" y="T5"/>
                  </a:cxn>
                  <a:cxn ang="0">
                    <a:pos x="T6" y="T7"/>
                  </a:cxn>
                  <a:cxn ang="0">
                    <a:pos x="T8" y="T9"/>
                  </a:cxn>
                </a:cxnLst>
                <a:rect l="0" t="0" r="r" b="b"/>
                <a:pathLst>
                  <a:path w="64" h="78">
                    <a:moveTo>
                      <a:pt x="36" y="78"/>
                    </a:moveTo>
                    <a:lnTo>
                      <a:pt x="64" y="64"/>
                    </a:lnTo>
                    <a:lnTo>
                      <a:pt x="26" y="0"/>
                    </a:lnTo>
                    <a:lnTo>
                      <a:pt x="0" y="17"/>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70" name="Freeform 11"/>
              <p:cNvSpPr>
                <a:spLocks/>
              </p:cNvSpPr>
              <p:nvPr/>
            </p:nvSpPr>
            <p:spPr bwMode="black">
              <a:xfrm>
                <a:off x="4017963" y="2709863"/>
                <a:ext cx="98425" cy="123825"/>
              </a:xfrm>
              <a:custGeom>
                <a:avLst/>
                <a:gdLst>
                  <a:gd name="T0" fmla="*/ 36 w 62"/>
                  <a:gd name="T1" fmla="*/ 78 h 78"/>
                  <a:gd name="T2" fmla="*/ 62 w 62"/>
                  <a:gd name="T3" fmla="*/ 61 h 78"/>
                  <a:gd name="T4" fmla="*/ 26 w 62"/>
                  <a:gd name="T5" fmla="*/ 0 h 78"/>
                  <a:gd name="T6" fmla="*/ 0 w 62"/>
                  <a:gd name="T7" fmla="*/ 14 h 78"/>
                  <a:gd name="T8" fmla="*/ 36 w 62"/>
                  <a:gd name="T9" fmla="*/ 78 h 78"/>
                </a:gdLst>
                <a:ahLst/>
                <a:cxnLst>
                  <a:cxn ang="0">
                    <a:pos x="T0" y="T1"/>
                  </a:cxn>
                  <a:cxn ang="0">
                    <a:pos x="T2" y="T3"/>
                  </a:cxn>
                  <a:cxn ang="0">
                    <a:pos x="T4" y="T5"/>
                  </a:cxn>
                  <a:cxn ang="0">
                    <a:pos x="T6" y="T7"/>
                  </a:cxn>
                  <a:cxn ang="0">
                    <a:pos x="T8" y="T9"/>
                  </a:cxn>
                </a:cxnLst>
                <a:rect l="0" t="0" r="r" b="b"/>
                <a:pathLst>
                  <a:path w="62" h="78">
                    <a:moveTo>
                      <a:pt x="36" y="78"/>
                    </a:moveTo>
                    <a:lnTo>
                      <a:pt x="62" y="61"/>
                    </a:lnTo>
                    <a:lnTo>
                      <a:pt x="26" y="0"/>
                    </a:lnTo>
                    <a:lnTo>
                      <a:pt x="0" y="14"/>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71" name="Freeform 12"/>
              <p:cNvSpPr>
                <a:spLocks/>
              </p:cNvSpPr>
              <p:nvPr/>
            </p:nvSpPr>
            <p:spPr bwMode="black">
              <a:xfrm>
                <a:off x="4873626" y="2709863"/>
                <a:ext cx="98425" cy="123825"/>
              </a:xfrm>
              <a:custGeom>
                <a:avLst/>
                <a:gdLst>
                  <a:gd name="T0" fmla="*/ 26 w 62"/>
                  <a:gd name="T1" fmla="*/ 78 h 78"/>
                  <a:gd name="T2" fmla="*/ 62 w 62"/>
                  <a:gd name="T3" fmla="*/ 14 h 78"/>
                  <a:gd name="T4" fmla="*/ 36 w 62"/>
                  <a:gd name="T5" fmla="*/ 0 h 78"/>
                  <a:gd name="T6" fmla="*/ 0 w 62"/>
                  <a:gd name="T7" fmla="*/ 61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4"/>
                    </a:lnTo>
                    <a:lnTo>
                      <a:pt x="36" y="0"/>
                    </a:lnTo>
                    <a:lnTo>
                      <a:pt x="0" y="61"/>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72" name="Freeform 13"/>
              <p:cNvSpPr>
                <a:spLocks/>
              </p:cNvSpPr>
              <p:nvPr/>
            </p:nvSpPr>
            <p:spPr bwMode="black">
              <a:xfrm>
                <a:off x="4989513" y="2506663"/>
                <a:ext cx="98425" cy="123825"/>
              </a:xfrm>
              <a:custGeom>
                <a:avLst/>
                <a:gdLst>
                  <a:gd name="T0" fmla="*/ 26 w 62"/>
                  <a:gd name="T1" fmla="*/ 78 h 78"/>
                  <a:gd name="T2" fmla="*/ 62 w 62"/>
                  <a:gd name="T3" fmla="*/ 17 h 78"/>
                  <a:gd name="T4" fmla="*/ 36 w 62"/>
                  <a:gd name="T5" fmla="*/ 0 h 78"/>
                  <a:gd name="T6" fmla="*/ 0 w 62"/>
                  <a:gd name="T7" fmla="*/ 64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7"/>
                    </a:lnTo>
                    <a:lnTo>
                      <a:pt x="36" y="0"/>
                    </a:lnTo>
                    <a:lnTo>
                      <a:pt x="0" y="64"/>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73" name="Freeform 14"/>
              <p:cNvSpPr>
                <a:spLocks/>
              </p:cNvSpPr>
              <p:nvPr/>
            </p:nvSpPr>
            <p:spPr bwMode="black">
              <a:xfrm>
                <a:off x="4017963" y="3990976"/>
                <a:ext cx="98425" cy="123825"/>
              </a:xfrm>
              <a:custGeom>
                <a:avLst/>
                <a:gdLst>
                  <a:gd name="T0" fmla="*/ 0 w 62"/>
                  <a:gd name="T1" fmla="*/ 64 h 78"/>
                  <a:gd name="T2" fmla="*/ 26 w 62"/>
                  <a:gd name="T3" fmla="*/ 78 h 78"/>
                  <a:gd name="T4" fmla="*/ 62 w 62"/>
                  <a:gd name="T5" fmla="*/ 14 h 78"/>
                  <a:gd name="T6" fmla="*/ 36 w 62"/>
                  <a:gd name="T7" fmla="*/ 0 h 78"/>
                  <a:gd name="T8" fmla="*/ 0 w 62"/>
                  <a:gd name="T9" fmla="*/ 64 h 78"/>
                </a:gdLst>
                <a:ahLst/>
                <a:cxnLst>
                  <a:cxn ang="0">
                    <a:pos x="T0" y="T1"/>
                  </a:cxn>
                  <a:cxn ang="0">
                    <a:pos x="T2" y="T3"/>
                  </a:cxn>
                  <a:cxn ang="0">
                    <a:pos x="T4" y="T5"/>
                  </a:cxn>
                  <a:cxn ang="0">
                    <a:pos x="T6" y="T7"/>
                  </a:cxn>
                  <a:cxn ang="0">
                    <a:pos x="T8" y="T9"/>
                  </a:cxn>
                </a:cxnLst>
                <a:rect l="0" t="0" r="r" b="b"/>
                <a:pathLst>
                  <a:path w="62" h="78">
                    <a:moveTo>
                      <a:pt x="0" y="64"/>
                    </a:moveTo>
                    <a:lnTo>
                      <a:pt x="26" y="78"/>
                    </a:lnTo>
                    <a:lnTo>
                      <a:pt x="62" y="14"/>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74" name="Freeform 15"/>
              <p:cNvSpPr>
                <a:spLocks/>
              </p:cNvSpPr>
              <p:nvPr/>
            </p:nvSpPr>
            <p:spPr bwMode="black">
              <a:xfrm>
                <a:off x="3902076" y="4189413"/>
                <a:ext cx="101600" cy="128588"/>
              </a:xfrm>
              <a:custGeom>
                <a:avLst/>
                <a:gdLst>
                  <a:gd name="T0" fmla="*/ 0 w 64"/>
                  <a:gd name="T1" fmla="*/ 64 h 81"/>
                  <a:gd name="T2" fmla="*/ 26 w 64"/>
                  <a:gd name="T3" fmla="*/ 81 h 81"/>
                  <a:gd name="T4" fmla="*/ 64 w 64"/>
                  <a:gd name="T5" fmla="*/ 17 h 81"/>
                  <a:gd name="T6" fmla="*/ 36 w 64"/>
                  <a:gd name="T7" fmla="*/ 0 h 81"/>
                  <a:gd name="T8" fmla="*/ 0 w 64"/>
                  <a:gd name="T9" fmla="*/ 64 h 81"/>
                </a:gdLst>
                <a:ahLst/>
                <a:cxnLst>
                  <a:cxn ang="0">
                    <a:pos x="T0" y="T1"/>
                  </a:cxn>
                  <a:cxn ang="0">
                    <a:pos x="T2" y="T3"/>
                  </a:cxn>
                  <a:cxn ang="0">
                    <a:pos x="T4" y="T5"/>
                  </a:cxn>
                  <a:cxn ang="0">
                    <a:pos x="T6" y="T7"/>
                  </a:cxn>
                  <a:cxn ang="0">
                    <a:pos x="T8" y="T9"/>
                  </a:cxn>
                </a:cxnLst>
                <a:rect l="0" t="0" r="r" b="b"/>
                <a:pathLst>
                  <a:path w="64" h="81">
                    <a:moveTo>
                      <a:pt x="0" y="64"/>
                    </a:moveTo>
                    <a:lnTo>
                      <a:pt x="26" y="81"/>
                    </a:lnTo>
                    <a:lnTo>
                      <a:pt x="64" y="17"/>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75" name="Freeform 16"/>
              <p:cNvSpPr>
                <a:spLocks/>
              </p:cNvSpPr>
              <p:nvPr/>
            </p:nvSpPr>
            <p:spPr bwMode="black">
              <a:xfrm>
                <a:off x="4989513" y="4189413"/>
                <a:ext cx="98425" cy="128588"/>
              </a:xfrm>
              <a:custGeom>
                <a:avLst/>
                <a:gdLst>
                  <a:gd name="T0" fmla="*/ 26 w 62"/>
                  <a:gd name="T1" fmla="*/ 0 h 81"/>
                  <a:gd name="T2" fmla="*/ 0 w 62"/>
                  <a:gd name="T3" fmla="*/ 17 h 81"/>
                  <a:gd name="T4" fmla="*/ 36 w 62"/>
                  <a:gd name="T5" fmla="*/ 81 h 81"/>
                  <a:gd name="T6" fmla="*/ 62 w 62"/>
                  <a:gd name="T7" fmla="*/ 64 h 81"/>
                  <a:gd name="T8" fmla="*/ 26 w 62"/>
                  <a:gd name="T9" fmla="*/ 0 h 81"/>
                </a:gdLst>
                <a:ahLst/>
                <a:cxnLst>
                  <a:cxn ang="0">
                    <a:pos x="T0" y="T1"/>
                  </a:cxn>
                  <a:cxn ang="0">
                    <a:pos x="T2" y="T3"/>
                  </a:cxn>
                  <a:cxn ang="0">
                    <a:pos x="T4" y="T5"/>
                  </a:cxn>
                  <a:cxn ang="0">
                    <a:pos x="T6" y="T7"/>
                  </a:cxn>
                  <a:cxn ang="0">
                    <a:pos x="T8" y="T9"/>
                  </a:cxn>
                </a:cxnLst>
                <a:rect l="0" t="0" r="r" b="b"/>
                <a:pathLst>
                  <a:path w="62" h="81">
                    <a:moveTo>
                      <a:pt x="26" y="0"/>
                    </a:moveTo>
                    <a:lnTo>
                      <a:pt x="0" y="17"/>
                    </a:lnTo>
                    <a:lnTo>
                      <a:pt x="36" y="81"/>
                    </a:lnTo>
                    <a:lnTo>
                      <a:pt x="62" y="64"/>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76" name="Freeform 17"/>
              <p:cNvSpPr>
                <a:spLocks/>
              </p:cNvSpPr>
              <p:nvPr/>
            </p:nvSpPr>
            <p:spPr bwMode="black">
              <a:xfrm>
                <a:off x="4873626" y="3990976"/>
                <a:ext cx="98425" cy="123825"/>
              </a:xfrm>
              <a:custGeom>
                <a:avLst/>
                <a:gdLst>
                  <a:gd name="T0" fmla="*/ 0 w 62"/>
                  <a:gd name="T1" fmla="*/ 14 h 78"/>
                  <a:gd name="T2" fmla="*/ 36 w 62"/>
                  <a:gd name="T3" fmla="*/ 78 h 78"/>
                  <a:gd name="T4" fmla="*/ 62 w 62"/>
                  <a:gd name="T5" fmla="*/ 64 h 78"/>
                  <a:gd name="T6" fmla="*/ 26 w 62"/>
                  <a:gd name="T7" fmla="*/ 0 h 78"/>
                  <a:gd name="T8" fmla="*/ 0 w 62"/>
                  <a:gd name="T9" fmla="*/ 14 h 78"/>
                </a:gdLst>
                <a:ahLst/>
                <a:cxnLst>
                  <a:cxn ang="0">
                    <a:pos x="T0" y="T1"/>
                  </a:cxn>
                  <a:cxn ang="0">
                    <a:pos x="T2" y="T3"/>
                  </a:cxn>
                  <a:cxn ang="0">
                    <a:pos x="T4" y="T5"/>
                  </a:cxn>
                  <a:cxn ang="0">
                    <a:pos x="T6" y="T7"/>
                  </a:cxn>
                  <a:cxn ang="0">
                    <a:pos x="T8" y="T9"/>
                  </a:cxn>
                </a:cxnLst>
                <a:rect l="0" t="0" r="r" b="b"/>
                <a:pathLst>
                  <a:path w="62" h="78">
                    <a:moveTo>
                      <a:pt x="0" y="14"/>
                    </a:moveTo>
                    <a:lnTo>
                      <a:pt x="36" y="78"/>
                    </a:lnTo>
                    <a:lnTo>
                      <a:pt x="62" y="64"/>
                    </a:lnTo>
                    <a:lnTo>
                      <a:pt x="26" y="0"/>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77" name="Freeform 18"/>
              <p:cNvSpPr>
                <a:spLocks/>
              </p:cNvSpPr>
              <p:nvPr/>
            </p:nvSpPr>
            <p:spPr bwMode="black">
              <a:xfrm>
                <a:off x="3579813" y="2892426"/>
                <a:ext cx="1833563" cy="1068388"/>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78" name="Freeform 19"/>
              <p:cNvSpPr>
                <a:spLocks noEditPoints="1"/>
              </p:cNvSpPr>
              <p:nvPr/>
            </p:nvSpPr>
            <p:spPr bwMode="black">
              <a:xfrm>
                <a:off x="3321051" y="1598613"/>
                <a:ext cx="750888" cy="522288"/>
              </a:xfrm>
              <a:custGeom>
                <a:avLst/>
                <a:gdLst>
                  <a:gd name="T0" fmla="*/ 174 w 200"/>
                  <a:gd name="T1" fmla="*/ 0 h 139"/>
                  <a:gd name="T2" fmla="*/ 26 w 200"/>
                  <a:gd name="T3" fmla="*/ 0 h 139"/>
                  <a:gd name="T4" fmla="*/ 0 w 200"/>
                  <a:gd name="T5" fmla="*/ 27 h 139"/>
                  <a:gd name="T6" fmla="*/ 0 w 200"/>
                  <a:gd name="T7" fmla="*/ 113 h 139"/>
                  <a:gd name="T8" fmla="*/ 26 w 200"/>
                  <a:gd name="T9" fmla="*/ 139 h 139"/>
                  <a:gd name="T10" fmla="*/ 174 w 200"/>
                  <a:gd name="T11" fmla="*/ 139 h 139"/>
                  <a:gd name="T12" fmla="*/ 200 w 200"/>
                  <a:gd name="T13" fmla="*/ 113 h 139"/>
                  <a:gd name="T14" fmla="*/ 200 w 200"/>
                  <a:gd name="T15" fmla="*/ 27 h 139"/>
                  <a:gd name="T16" fmla="*/ 174 w 200"/>
                  <a:gd name="T17" fmla="*/ 0 h 139"/>
                  <a:gd name="T18" fmla="*/ 185 w 200"/>
                  <a:gd name="T19" fmla="*/ 113 h 139"/>
                  <a:gd name="T20" fmla="*/ 174 w 200"/>
                  <a:gd name="T21" fmla="*/ 124 h 139"/>
                  <a:gd name="T22" fmla="*/ 26 w 200"/>
                  <a:gd name="T23" fmla="*/ 124 h 139"/>
                  <a:gd name="T24" fmla="*/ 15 w 200"/>
                  <a:gd name="T25" fmla="*/ 113 h 139"/>
                  <a:gd name="T26" fmla="*/ 15 w 200"/>
                  <a:gd name="T27" fmla="*/ 27 h 139"/>
                  <a:gd name="T28" fmla="*/ 26 w 200"/>
                  <a:gd name="T29" fmla="*/ 16 h 139"/>
                  <a:gd name="T30" fmla="*/ 174 w 200"/>
                  <a:gd name="T31" fmla="*/ 16 h 139"/>
                  <a:gd name="T32" fmla="*/ 185 w 200"/>
                  <a:gd name="T33" fmla="*/ 27 h 139"/>
                  <a:gd name="T34" fmla="*/ 185 w 200"/>
                  <a:gd name="T35" fmla="*/ 11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39">
                    <a:moveTo>
                      <a:pt x="174" y="0"/>
                    </a:moveTo>
                    <a:cubicBezTo>
                      <a:pt x="26" y="0"/>
                      <a:pt x="26" y="0"/>
                      <a:pt x="26" y="0"/>
                    </a:cubicBezTo>
                    <a:cubicBezTo>
                      <a:pt x="12" y="0"/>
                      <a:pt x="0" y="12"/>
                      <a:pt x="0" y="27"/>
                    </a:cubicBezTo>
                    <a:cubicBezTo>
                      <a:pt x="0" y="113"/>
                      <a:pt x="0" y="113"/>
                      <a:pt x="0" y="113"/>
                    </a:cubicBezTo>
                    <a:cubicBezTo>
                      <a:pt x="0" y="127"/>
                      <a:pt x="12" y="139"/>
                      <a:pt x="26" y="139"/>
                    </a:cubicBezTo>
                    <a:cubicBezTo>
                      <a:pt x="174" y="139"/>
                      <a:pt x="174" y="139"/>
                      <a:pt x="174" y="139"/>
                    </a:cubicBezTo>
                    <a:cubicBezTo>
                      <a:pt x="188" y="139"/>
                      <a:pt x="200" y="127"/>
                      <a:pt x="200" y="113"/>
                    </a:cubicBezTo>
                    <a:cubicBezTo>
                      <a:pt x="200" y="27"/>
                      <a:pt x="200" y="27"/>
                      <a:pt x="200" y="27"/>
                    </a:cubicBezTo>
                    <a:cubicBezTo>
                      <a:pt x="200" y="12"/>
                      <a:pt x="188" y="0"/>
                      <a:pt x="174" y="0"/>
                    </a:cubicBezTo>
                    <a:moveTo>
                      <a:pt x="185" y="113"/>
                    </a:moveTo>
                    <a:cubicBezTo>
                      <a:pt x="185" y="119"/>
                      <a:pt x="180" y="124"/>
                      <a:pt x="174" y="124"/>
                    </a:cubicBezTo>
                    <a:cubicBezTo>
                      <a:pt x="26" y="124"/>
                      <a:pt x="26" y="124"/>
                      <a:pt x="26" y="124"/>
                    </a:cubicBezTo>
                    <a:cubicBezTo>
                      <a:pt x="20" y="124"/>
                      <a:pt x="15" y="119"/>
                      <a:pt x="15" y="113"/>
                    </a:cubicBezTo>
                    <a:cubicBezTo>
                      <a:pt x="15" y="27"/>
                      <a:pt x="15" y="27"/>
                      <a:pt x="15" y="27"/>
                    </a:cubicBezTo>
                    <a:cubicBezTo>
                      <a:pt x="15" y="21"/>
                      <a:pt x="20" y="16"/>
                      <a:pt x="26" y="16"/>
                    </a:cubicBezTo>
                    <a:cubicBezTo>
                      <a:pt x="174" y="16"/>
                      <a:pt x="174" y="16"/>
                      <a:pt x="174" y="16"/>
                    </a:cubicBezTo>
                    <a:cubicBezTo>
                      <a:pt x="180" y="16"/>
                      <a:pt x="185" y="21"/>
                      <a:pt x="185" y="27"/>
                    </a:cubicBezTo>
                    <a:lnTo>
                      <a:pt x="185" y="1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79" name="Freeform 20"/>
              <p:cNvSpPr>
                <a:spLocks/>
              </p:cNvSpPr>
              <p:nvPr/>
            </p:nvSpPr>
            <p:spPr bwMode="black">
              <a:xfrm>
                <a:off x="3178176" y="2154238"/>
                <a:ext cx="1035050" cy="239713"/>
              </a:xfrm>
              <a:custGeom>
                <a:avLst/>
                <a:gdLst>
                  <a:gd name="T0" fmla="*/ 7 w 276"/>
                  <a:gd name="T1" fmla="*/ 64 h 64"/>
                  <a:gd name="T2" fmla="*/ 269 w 276"/>
                  <a:gd name="T3" fmla="*/ 64 h 64"/>
                  <a:gd name="T4" fmla="*/ 276 w 276"/>
                  <a:gd name="T5" fmla="*/ 57 h 64"/>
                  <a:gd name="T6" fmla="*/ 276 w 276"/>
                  <a:gd name="T7" fmla="*/ 54 h 64"/>
                  <a:gd name="T8" fmla="*/ 272 w 276"/>
                  <a:gd name="T9" fmla="*/ 42 h 64"/>
                  <a:gd name="T10" fmla="*/ 240 w 276"/>
                  <a:gd name="T11" fmla="*/ 5 h 64"/>
                  <a:gd name="T12" fmla="*/ 229 w 276"/>
                  <a:gd name="T13" fmla="*/ 0 h 64"/>
                  <a:gd name="T14" fmla="*/ 47 w 276"/>
                  <a:gd name="T15" fmla="*/ 0 h 64"/>
                  <a:gd name="T16" fmla="*/ 36 w 276"/>
                  <a:gd name="T17" fmla="*/ 5 h 64"/>
                  <a:gd name="T18" fmla="*/ 4 w 276"/>
                  <a:gd name="T19" fmla="*/ 42 h 64"/>
                  <a:gd name="T20" fmla="*/ 0 w 276"/>
                  <a:gd name="T21" fmla="*/ 54 h 64"/>
                  <a:gd name="T22" fmla="*/ 0 w 276"/>
                  <a:gd name="T23" fmla="*/ 57 h 64"/>
                  <a:gd name="T24" fmla="*/ 7 w 27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6" h="64">
                    <a:moveTo>
                      <a:pt x="7" y="64"/>
                    </a:moveTo>
                    <a:cubicBezTo>
                      <a:pt x="269" y="64"/>
                      <a:pt x="269" y="64"/>
                      <a:pt x="269" y="64"/>
                    </a:cubicBezTo>
                    <a:cubicBezTo>
                      <a:pt x="273" y="64"/>
                      <a:pt x="276" y="61"/>
                      <a:pt x="276" y="57"/>
                    </a:cubicBezTo>
                    <a:cubicBezTo>
                      <a:pt x="276" y="54"/>
                      <a:pt x="276" y="54"/>
                      <a:pt x="276" y="54"/>
                    </a:cubicBezTo>
                    <a:cubicBezTo>
                      <a:pt x="276" y="50"/>
                      <a:pt x="274" y="45"/>
                      <a:pt x="272" y="42"/>
                    </a:cubicBezTo>
                    <a:cubicBezTo>
                      <a:pt x="240" y="5"/>
                      <a:pt x="240" y="5"/>
                      <a:pt x="240" y="5"/>
                    </a:cubicBezTo>
                    <a:cubicBezTo>
                      <a:pt x="238" y="2"/>
                      <a:pt x="233" y="0"/>
                      <a:pt x="229" y="0"/>
                    </a:cubicBezTo>
                    <a:cubicBezTo>
                      <a:pt x="47" y="0"/>
                      <a:pt x="47" y="0"/>
                      <a:pt x="47" y="0"/>
                    </a:cubicBezTo>
                    <a:cubicBezTo>
                      <a:pt x="43" y="0"/>
                      <a:pt x="38" y="2"/>
                      <a:pt x="36" y="5"/>
                    </a:cubicBezTo>
                    <a:cubicBezTo>
                      <a:pt x="4" y="42"/>
                      <a:pt x="4" y="42"/>
                      <a:pt x="4" y="42"/>
                    </a:cubicBezTo>
                    <a:cubicBezTo>
                      <a:pt x="2" y="45"/>
                      <a:pt x="0" y="50"/>
                      <a:pt x="0" y="54"/>
                    </a:cubicBezTo>
                    <a:cubicBezTo>
                      <a:pt x="0" y="57"/>
                      <a:pt x="0" y="57"/>
                      <a:pt x="0" y="57"/>
                    </a:cubicBezTo>
                    <a:cubicBezTo>
                      <a:pt x="0" y="61"/>
                      <a:pt x="3" y="64"/>
                      <a:pt x="7"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80" name="Freeform 21"/>
              <p:cNvSpPr>
                <a:spLocks noEditPoints="1"/>
              </p:cNvSpPr>
              <p:nvPr/>
            </p:nvSpPr>
            <p:spPr bwMode="black">
              <a:xfrm>
                <a:off x="4730751" y="1639888"/>
                <a:ext cx="781050" cy="608013"/>
              </a:xfrm>
              <a:custGeom>
                <a:avLst/>
                <a:gdLst>
                  <a:gd name="T0" fmla="*/ 177 w 208"/>
                  <a:gd name="T1" fmla="*/ 0 h 162"/>
                  <a:gd name="T2" fmla="*/ 31 w 208"/>
                  <a:gd name="T3" fmla="*/ 0 h 162"/>
                  <a:gd name="T4" fmla="*/ 0 w 208"/>
                  <a:gd name="T5" fmla="*/ 31 h 162"/>
                  <a:gd name="T6" fmla="*/ 0 w 208"/>
                  <a:gd name="T7" fmla="*/ 131 h 162"/>
                  <a:gd name="T8" fmla="*/ 31 w 208"/>
                  <a:gd name="T9" fmla="*/ 162 h 162"/>
                  <a:gd name="T10" fmla="*/ 177 w 208"/>
                  <a:gd name="T11" fmla="*/ 162 h 162"/>
                  <a:gd name="T12" fmla="*/ 208 w 208"/>
                  <a:gd name="T13" fmla="*/ 131 h 162"/>
                  <a:gd name="T14" fmla="*/ 208 w 208"/>
                  <a:gd name="T15" fmla="*/ 31 h 162"/>
                  <a:gd name="T16" fmla="*/ 177 w 208"/>
                  <a:gd name="T17" fmla="*/ 0 h 162"/>
                  <a:gd name="T18" fmla="*/ 190 w 208"/>
                  <a:gd name="T19" fmla="*/ 131 h 162"/>
                  <a:gd name="T20" fmla="*/ 177 w 208"/>
                  <a:gd name="T21" fmla="*/ 144 h 162"/>
                  <a:gd name="T22" fmla="*/ 31 w 208"/>
                  <a:gd name="T23" fmla="*/ 144 h 162"/>
                  <a:gd name="T24" fmla="*/ 18 w 208"/>
                  <a:gd name="T25" fmla="*/ 131 h 162"/>
                  <a:gd name="T26" fmla="*/ 18 w 208"/>
                  <a:gd name="T27" fmla="*/ 31 h 162"/>
                  <a:gd name="T28" fmla="*/ 31 w 208"/>
                  <a:gd name="T29" fmla="*/ 18 h 162"/>
                  <a:gd name="T30" fmla="*/ 177 w 208"/>
                  <a:gd name="T31" fmla="*/ 18 h 162"/>
                  <a:gd name="T32" fmla="*/ 190 w 208"/>
                  <a:gd name="T33" fmla="*/ 31 h 162"/>
                  <a:gd name="T34" fmla="*/ 190 w 208"/>
                  <a:gd name="T35" fmla="*/ 13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 h="162">
                    <a:moveTo>
                      <a:pt x="177" y="0"/>
                    </a:moveTo>
                    <a:cubicBezTo>
                      <a:pt x="31" y="0"/>
                      <a:pt x="31" y="0"/>
                      <a:pt x="31" y="0"/>
                    </a:cubicBezTo>
                    <a:cubicBezTo>
                      <a:pt x="14" y="0"/>
                      <a:pt x="0" y="14"/>
                      <a:pt x="0" y="31"/>
                    </a:cubicBezTo>
                    <a:cubicBezTo>
                      <a:pt x="0" y="131"/>
                      <a:pt x="0" y="131"/>
                      <a:pt x="0" y="131"/>
                    </a:cubicBezTo>
                    <a:cubicBezTo>
                      <a:pt x="0" y="148"/>
                      <a:pt x="14" y="162"/>
                      <a:pt x="31" y="162"/>
                    </a:cubicBezTo>
                    <a:cubicBezTo>
                      <a:pt x="177" y="162"/>
                      <a:pt x="177" y="162"/>
                      <a:pt x="177" y="162"/>
                    </a:cubicBezTo>
                    <a:cubicBezTo>
                      <a:pt x="194" y="162"/>
                      <a:pt x="208" y="148"/>
                      <a:pt x="208" y="131"/>
                    </a:cubicBezTo>
                    <a:cubicBezTo>
                      <a:pt x="208" y="31"/>
                      <a:pt x="208" y="31"/>
                      <a:pt x="208" y="31"/>
                    </a:cubicBezTo>
                    <a:cubicBezTo>
                      <a:pt x="208" y="14"/>
                      <a:pt x="194" y="0"/>
                      <a:pt x="177" y="0"/>
                    </a:cubicBezTo>
                    <a:moveTo>
                      <a:pt x="190" y="131"/>
                    </a:moveTo>
                    <a:cubicBezTo>
                      <a:pt x="190" y="138"/>
                      <a:pt x="184" y="144"/>
                      <a:pt x="177" y="144"/>
                    </a:cubicBezTo>
                    <a:cubicBezTo>
                      <a:pt x="31" y="144"/>
                      <a:pt x="31" y="144"/>
                      <a:pt x="31" y="144"/>
                    </a:cubicBezTo>
                    <a:cubicBezTo>
                      <a:pt x="24" y="144"/>
                      <a:pt x="18" y="138"/>
                      <a:pt x="18" y="131"/>
                    </a:cubicBezTo>
                    <a:cubicBezTo>
                      <a:pt x="18" y="31"/>
                      <a:pt x="18" y="31"/>
                      <a:pt x="18" y="31"/>
                    </a:cubicBezTo>
                    <a:cubicBezTo>
                      <a:pt x="18" y="24"/>
                      <a:pt x="24" y="18"/>
                      <a:pt x="31" y="18"/>
                    </a:cubicBezTo>
                    <a:cubicBezTo>
                      <a:pt x="177" y="18"/>
                      <a:pt x="177" y="18"/>
                      <a:pt x="177" y="18"/>
                    </a:cubicBezTo>
                    <a:cubicBezTo>
                      <a:pt x="184" y="18"/>
                      <a:pt x="190" y="24"/>
                      <a:pt x="190" y="31"/>
                    </a:cubicBezTo>
                    <a:lnTo>
                      <a:pt x="190" y="1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81" name="Freeform 22"/>
              <p:cNvSpPr>
                <a:spLocks/>
              </p:cNvSpPr>
              <p:nvPr/>
            </p:nvSpPr>
            <p:spPr bwMode="black">
              <a:xfrm>
                <a:off x="4911726" y="2289176"/>
                <a:ext cx="419100" cy="104775"/>
              </a:xfrm>
              <a:custGeom>
                <a:avLst/>
                <a:gdLst>
                  <a:gd name="T0" fmla="*/ 112 w 112"/>
                  <a:gd name="T1" fmla="*/ 25 h 28"/>
                  <a:gd name="T2" fmla="*/ 112 w 112"/>
                  <a:gd name="T3" fmla="*/ 23 h 28"/>
                  <a:gd name="T4" fmla="*/ 110 w 112"/>
                  <a:gd name="T5" fmla="*/ 18 h 28"/>
                  <a:gd name="T6" fmla="*/ 96 w 112"/>
                  <a:gd name="T7" fmla="*/ 2 h 28"/>
                  <a:gd name="T8" fmla="*/ 91 w 112"/>
                  <a:gd name="T9" fmla="*/ 0 h 28"/>
                  <a:gd name="T10" fmla="*/ 21 w 112"/>
                  <a:gd name="T11" fmla="*/ 0 h 28"/>
                  <a:gd name="T12" fmla="*/ 16 w 112"/>
                  <a:gd name="T13" fmla="*/ 2 h 28"/>
                  <a:gd name="T14" fmla="*/ 2 w 112"/>
                  <a:gd name="T15" fmla="*/ 18 h 28"/>
                  <a:gd name="T16" fmla="*/ 0 w 112"/>
                  <a:gd name="T17" fmla="*/ 23 h 28"/>
                  <a:gd name="T18" fmla="*/ 0 w 112"/>
                  <a:gd name="T19" fmla="*/ 25 h 28"/>
                  <a:gd name="T20" fmla="*/ 3 w 112"/>
                  <a:gd name="T21" fmla="*/ 28 h 28"/>
                  <a:gd name="T22" fmla="*/ 109 w 112"/>
                  <a:gd name="T23" fmla="*/ 28 h 28"/>
                  <a:gd name="T24" fmla="*/ 112 w 112"/>
                  <a:gd name="T25"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28">
                    <a:moveTo>
                      <a:pt x="112" y="25"/>
                    </a:moveTo>
                    <a:cubicBezTo>
                      <a:pt x="112" y="23"/>
                      <a:pt x="112" y="23"/>
                      <a:pt x="112" y="23"/>
                    </a:cubicBezTo>
                    <a:cubicBezTo>
                      <a:pt x="112" y="22"/>
                      <a:pt x="111" y="20"/>
                      <a:pt x="110" y="18"/>
                    </a:cubicBezTo>
                    <a:cubicBezTo>
                      <a:pt x="96" y="2"/>
                      <a:pt x="96" y="2"/>
                      <a:pt x="96" y="2"/>
                    </a:cubicBezTo>
                    <a:cubicBezTo>
                      <a:pt x="95" y="1"/>
                      <a:pt x="93" y="0"/>
                      <a:pt x="91" y="0"/>
                    </a:cubicBezTo>
                    <a:cubicBezTo>
                      <a:pt x="21" y="0"/>
                      <a:pt x="21" y="0"/>
                      <a:pt x="21" y="0"/>
                    </a:cubicBezTo>
                    <a:cubicBezTo>
                      <a:pt x="19" y="0"/>
                      <a:pt x="17" y="1"/>
                      <a:pt x="16" y="2"/>
                    </a:cubicBezTo>
                    <a:cubicBezTo>
                      <a:pt x="2" y="18"/>
                      <a:pt x="2" y="18"/>
                      <a:pt x="2" y="18"/>
                    </a:cubicBezTo>
                    <a:cubicBezTo>
                      <a:pt x="1" y="20"/>
                      <a:pt x="0" y="22"/>
                      <a:pt x="0" y="23"/>
                    </a:cubicBezTo>
                    <a:cubicBezTo>
                      <a:pt x="0" y="25"/>
                      <a:pt x="0" y="25"/>
                      <a:pt x="0" y="25"/>
                    </a:cubicBezTo>
                    <a:cubicBezTo>
                      <a:pt x="0" y="26"/>
                      <a:pt x="1" y="28"/>
                      <a:pt x="3" y="28"/>
                    </a:cubicBezTo>
                    <a:cubicBezTo>
                      <a:pt x="109" y="28"/>
                      <a:pt x="109" y="28"/>
                      <a:pt x="109" y="28"/>
                    </a:cubicBezTo>
                    <a:cubicBezTo>
                      <a:pt x="111" y="28"/>
                      <a:pt x="112" y="26"/>
                      <a:pt x="112" y="2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82" name="Freeform 23"/>
              <p:cNvSpPr>
                <a:spLocks noEditPoints="1"/>
              </p:cNvSpPr>
              <p:nvPr/>
            </p:nvSpPr>
            <p:spPr bwMode="black">
              <a:xfrm>
                <a:off x="5586413" y="1639888"/>
                <a:ext cx="385763" cy="754063"/>
              </a:xfrm>
              <a:custGeom>
                <a:avLst/>
                <a:gdLst>
                  <a:gd name="T0" fmla="*/ 89 w 103"/>
                  <a:gd name="T1" fmla="*/ 0 h 201"/>
                  <a:gd name="T2" fmla="*/ 13 w 103"/>
                  <a:gd name="T3" fmla="*/ 0 h 201"/>
                  <a:gd name="T4" fmla="*/ 0 w 103"/>
                  <a:gd name="T5" fmla="*/ 13 h 201"/>
                  <a:gd name="T6" fmla="*/ 0 w 103"/>
                  <a:gd name="T7" fmla="*/ 187 h 201"/>
                  <a:gd name="T8" fmla="*/ 13 w 103"/>
                  <a:gd name="T9" fmla="*/ 201 h 201"/>
                  <a:gd name="T10" fmla="*/ 89 w 103"/>
                  <a:gd name="T11" fmla="*/ 201 h 201"/>
                  <a:gd name="T12" fmla="*/ 103 w 103"/>
                  <a:gd name="T13" fmla="*/ 187 h 201"/>
                  <a:gd name="T14" fmla="*/ 103 w 103"/>
                  <a:gd name="T15" fmla="*/ 13 h 201"/>
                  <a:gd name="T16" fmla="*/ 89 w 103"/>
                  <a:gd name="T17" fmla="*/ 0 h 201"/>
                  <a:gd name="T18" fmla="*/ 52 w 103"/>
                  <a:gd name="T19" fmla="*/ 187 h 201"/>
                  <a:gd name="T20" fmla="*/ 40 w 103"/>
                  <a:gd name="T21" fmla="*/ 175 h 201"/>
                  <a:gd name="T22" fmla="*/ 52 w 103"/>
                  <a:gd name="T23" fmla="*/ 163 h 201"/>
                  <a:gd name="T24" fmla="*/ 63 w 103"/>
                  <a:gd name="T25" fmla="*/ 175 h 201"/>
                  <a:gd name="T26" fmla="*/ 52 w 103"/>
                  <a:gd name="T27" fmla="*/ 18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201">
                    <a:moveTo>
                      <a:pt x="89" y="0"/>
                    </a:moveTo>
                    <a:cubicBezTo>
                      <a:pt x="13" y="0"/>
                      <a:pt x="13" y="0"/>
                      <a:pt x="13" y="0"/>
                    </a:cubicBezTo>
                    <a:cubicBezTo>
                      <a:pt x="6" y="0"/>
                      <a:pt x="0" y="6"/>
                      <a:pt x="0" y="13"/>
                    </a:cubicBezTo>
                    <a:cubicBezTo>
                      <a:pt x="0" y="187"/>
                      <a:pt x="0" y="187"/>
                      <a:pt x="0" y="187"/>
                    </a:cubicBezTo>
                    <a:cubicBezTo>
                      <a:pt x="0" y="195"/>
                      <a:pt x="6" y="201"/>
                      <a:pt x="13" y="201"/>
                    </a:cubicBezTo>
                    <a:cubicBezTo>
                      <a:pt x="89" y="201"/>
                      <a:pt x="89" y="201"/>
                      <a:pt x="89" y="201"/>
                    </a:cubicBezTo>
                    <a:cubicBezTo>
                      <a:pt x="97" y="201"/>
                      <a:pt x="103" y="195"/>
                      <a:pt x="103" y="187"/>
                    </a:cubicBezTo>
                    <a:cubicBezTo>
                      <a:pt x="103" y="13"/>
                      <a:pt x="103" y="13"/>
                      <a:pt x="103" y="13"/>
                    </a:cubicBezTo>
                    <a:cubicBezTo>
                      <a:pt x="103" y="6"/>
                      <a:pt x="97" y="0"/>
                      <a:pt x="89" y="0"/>
                    </a:cubicBezTo>
                    <a:moveTo>
                      <a:pt x="52" y="187"/>
                    </a:moveTo>
                    <a:cubicBezTo>
                      <a:pt x="45" y="187"/>
                      <a:pt x="40" y="181"/>
                      <a:pt x="40" y="175"/>
                    </a:cubicBezTo>
                    <a:cubicBezTo>
                      <a:pt x="40" y="168"/>
                      <a:pt x="45" y="163"/>
                      <a:pt x="52" y="163"/>
                    </a:cubicBezTo>
                    <a:cubicBezTo>
                      <a:pt x="58" y="163"/>
                      <a:pt x="63" y="168"/>
                      <a:pt x="63" y="175"/>
                    </a:cubicBezTo>
                    <a:cubicBezTo>
                      <a:pt x="63" y="181"/>
                      <a:pt x="58" y="187"/>
                      <a:pt x="52" y="18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83" name="Freeform 24"/>
              <p:cNvSpPr>
                <a:spLocks noEditPoints="1"/>
              </p:cNvSpPr>
              <p:nvPr/>
            </p:nvSpPr>
            <p:spPr bwMode="black">
              <a:xfrm>
                <a:off x="2462213" y="3032126"/>
                <a:ext cx="525463" cy="804863"/>
              </a:xfrm>
              <a:custGeom>
                <a:avLst/>
                <a:gdLst>
                  <a:gd name="T0" fmla="*/ 109 w 140"/>
                  <a:gd name="T1" fmla="*/ 0 h 215"/>
                  <a:gd name="T2" fmla="*/ 31 w 140"/>
                  <a:gd name="T3" fmla="*/ 0 h 215"/>
                  <a:gd name="T4" fmla="*/ 0 w 140"/>
                  <a:gd name="T5" fmla="*/ 30 h 215"/>
                  <a:gd name="T6" fmla="*/ 0 w 140"/>
                  <a:gd name="T7" fmla="*/ 184 h 215"/>
                  <a:gd name="T8" fmla="*/ 31 w 140"/>
                  <a:gd name="T9" fmla="*/ 215 h 215"/>
                  <a:gd name="T10" fmla="*/ 109 w 140"/>
                  <a:gd name="T11" fmla="*/ 215 h 215"/>
                  <a:gd name="T12" fmla="*/ 140 w 140"/>
                  <a:gd name="T13" fmla="*/ 184 h 215"/>
                  <a:gd name="T14" fmla="*/ 140 w 140"/>
                  <a:gd name="T15" fmla="*/ 30 h 215"/>
                  <a:gd name="T16" fmla="*/ 109 w 140"/>
                  <a:gd name="T17" fmla="*/ 0 h 215"/>
                  <a:gd name="T18" fmla="*/ 122 w 140"/>
                  <a:gd name="T19" fmla="*/ 177 h 215"/>
                  <a:gd name="T20" fmla="*/ 109 w 140"/>
                  <a:gd name="T21" fmla="*/ 195 h 215"/>
                  <a:gd name="T22" fmla="*/ 31 w 140"/>
                  <a:gd name="T23" fmla="*/ 195 h 215"/>
                  <a:gd name="T24" fmla="*/ 18 w 140"/>
                  <a:gd name="T25" fmla="*/ 177 h 215"/>
                  <a:gd name="T26" fmla="*/ 18 w 140"/>
                  <a:gd name="T27" fmla="*/ 35 h 215"/>
                  <a:gd name="T28" fmla="*/ 31 w 140"/>
                  <a:gd name="T29" fmla="*/ 18 h 215"/>
                  <a:gd name="T30" fmla="*/ 109 w 140"/>
                  <a:gd name="T31" fmla="*/ 18 h 215"/>
                  <a:gd name="T32" fmla="*/ 122 w 140"/>
                  <a:gd name="T33" fmla="*/ 35 h 215"/>
                  <a:gd name="T34" fmla="*/ 122 w 140"/>
                  <a:gd name="T35" fmla="*/ 17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215">
                    <a:moveTo>
                      <a:pt x="109" y="0"/>
                    </a:moveTo>
                    <a:cubicBezTo>
                      <a:pt x="31" y="0"/>
                      <a:pt x="31" y="0"/>
                      <a:pt x="31" y="0"/>
                    </a:cubicBezTo>
                    <a:cubicBezTo>
                      <a:pt x="14" y="0"/>
                      <a:pt x="0" y="13"/>
                      <a:pt x="0" y="30"/>
                    </a:cubicBezTo>
                    <a:cubicBezTo>
                      <a:pt x="0" y="184"/>
                      <a:pt x="0" y="184"/>
                      <a:pt x="0" y="184"/>
                    </a:cubicBezTo>
                    <a:cubicBezTo>
                      <a:pt x="0" y="201"/>
                      <a:pt x="14" y="215"/>
                      <a:pt x="31" y="215"/>
                    </a:cubicBezTo>
                    <a:cubicBezTo>
                      <a:pt x="109" y="215"/>
                      <a:pt x="109" y="215"/>
                      <a:pt x="109" y="215"/>
                    </a:cubicBezTo>
                    <a:cubicBezTo>
                      <a:pt x="126" y="215"/>
                      <a:pt x="140" y="201"/>
                      <a:pt x="140" y="184"/>
                    </a:cubicBezTo>
                    <a:cubicBezTo>
                      <a:pt x="140" y="30"/>
                      <a:pt x="140" y="30"/>
                      <a:pt x="140" y="30"/>
                    </a:cubicBezTo>
                    <a:cubicBezTo>
                      <a:pt x="140" y="13"/>
                      <a:pt x="126" y="0"/>
                      <a:pt x="109" y="0"/>
                    </a:cubicBezTo>
                    <a:moveTo>
                      <a:pt x="122" y="177"/>
                    </a:moveTo>
                    <a:cubicBezTo>
                      <a:pt x="122" y="187"/>
                      <a:pt x="116" y="195"/>
                      <a:pt x="109" y="195"/>
                    </a:cubicBezTo>
                    <a:cubicBezTo>
                      <a:pt x="31" y="195"/>
                      <a:pt x="31" y="195"/>
                      <a:pt x="31" y="195"/>
                    </a:cubicBezTo>
                    <a:cubicBezTo>
                      <a:pt x="24" y="195"/>
                      <a:pt x="18" y="187"/>
                      <a:pt x="18" y="177"/>
                    </a:cubicBezTo>
                    <a:cubicBezTo>
                      <a:pt x="18" y="35"/>
                      <a:pt x="18" y="35"/>
                      <a:pt x="18" y="35"/>
                    </a:cubicBezTo>
                    <a:cubicBezTo>
                      <a:pt x="18" y="26"/>
                      <a:pt x="24" y="18"/>
                      <a:pt x="31" y="18"/>
                    </a:cubicBezTo>
                    <a:cubicBezTo>
                      <a:pt x="109" y="18"/>
                      <a:pt x="109" y="18"/>
                      <a:pt x="109" y="18"/>
                    </a:cubicBezTo>
                    <a:cubicBezTo>
                      <a:pt x="116" y="18"/>
                      <a:pt x="122" y="26"/>
                      <a:pt x="122" y="35"/>
                    </a:cubicBezTo>
                    <a:lnTo>
                      <a:pt x="122" y="1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84" name="Freeform 25"/>
              <p:cNvSpPr>
                <a:spLocks noEditPoints="1"/>
              </p:cNvSpPr>
              <p:nvPr/>
            </p:nvSpPr>
            <p:spPr bwMode="black">
              <a:xfrm>
                <a:off x="5049838" y="4411663"/>
                <a:ext cx="739775" cy="854075"/>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85" name="Freeform 26"/>
              <p:cNvSpPr>
                <a:spLocks noEditPoints="1"/>
              </p:cNvSpPr>
              <p:nvPr/>
            </p:nvSpPr>
            <p:spPr bwMode="black">
              <a:xfrm>
                <a:off x="6043613" y="2960688"/>
                <a:ext cx="641350" cy="876300"/>
              </a:xfrm>
              <a:custGeom>
                <a:avLst/>
                <a:gdLst>
                  <a:gd name="T0" fmla="*/ 146 w 171"/>
                  <a:gd name="T1" fmla="*/ 0 h 234"/>
                  <a:gd name="T2" fmla="*/ 25 w 171"/>
                  <a:gd name="T3" fmla="*/ 0 h 234"/>
                  <a:gd name="T4" fmla="*/ 0 w 171"/>
                  <a:gd name="T5" fmla="*/ 25 h 234"/>
                  <a:gd name="T6" fmla="*/ 0 w 171"/>
                  <a:gd name="T7" fmla="*/ 209 h 234"/>
                  <a:gd name="T8" fmla="*/ 25 w 171"/>
                  <a:gd name="T9" fmla="*/ 234 h 234"/>
                  <a:gd name="T10" fmla="*/ 146 w 171"/>
                  <a:gd name="T11" fmla="*/ 234 h 234"/>
                  <a:gd name="T12" fmla="*/ 171 w 171"/>
                  <a:gd name="T13" fmla="*/ 209 h 234"/>
                  <a:gd name="T14" fmla="*/ 171 w 171"/>
                  <a:gd name="T15" fmla="*/ 25 h 234"/>
                  <a:gd name="T16" fmla="*/ 146 w 171"/>
                  <a:gd name="T17" fmla="*/ 0 h 234"/>
                  <a:gd name="T18" fmla="*/ 157 w 171"/>
                  <a:gd name="T19" fmla="*/ 183 h 234"/>
                  <a:gd name="T20" fmla="*/ 146 w 171"/>
                  <a:gd name="T21" fmla="*/ 193 h 234"/>
                  <a:gd name="T22" fmla="*/ 25 w 171"/>
                  <a:gd name="T23" fmla="*/ 193 h 234"/>
                  <a:gd name="T24" fmla="*/ 15 w 171"/>
                  <a:gd name="T25" fmla="*/ 183 h 234"/>
                  <a:gd name="T26" fmla="*/ 15 w 171"/>
                  <a:gd name="T27" fmla="*/ 25 h 234"/>
                  <a:gd name="T28" fmla="*/ 25 w 171"/>
                  <a:gd name="T29" fmla="*/ 14 h 234"/>
                  <a:gd name="T30" fmla="*/ 146 w 171"/>
                  <a:gd name="T31" fmla="*/ 14 h 234"/>
                  <a:gd name="T32" fmla="*/ 157 w 171"/>
                  <a:gd name="T33" fmla="*/ 25 h 234"/>
                  <a:gd name="T34" fmla="*/ 157 w 171"/>
                  <a:gd name="T35" fmla="*/ 18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234">
                    <a:moveTo>
                      <a:pt x="146" y="0"/>
                    </a:moveTo>
                    <a:cubicBezTo>
                      <a:pt x="25" y="0"/>
                      <a:pt x="25" y="0"/>
                      <a:pt x="25" y="0"/>
                    </a:cubicBezTo>
                    <a:cubicBezTo>
                      <a:pt x="11" y="0"/>
                      <a:pt x="0" y="11"/>
                      <a:pt x="0" y="25"/>
                    </a:cubicBezTo>
                    <a:cubicBezTo>
                      <a:pt x="0" y="209"/>
                      <a:pt x="0" y="209"/>
                      <a:pt x="0" y="209"/>
                    </a:cubicBezTo>
                    <a:cubicBezTo>
                      <a:pt x="0" y="223"/>
                      <a:pt x="11" y="234"/>
                      <a:pt x="25" y="234"/>
                    </a:cubicBezTo>
                    <a:cubicBezTo>
                      <a:pt x="146" y="234"/>
                      <a:pt x="146" y="234"/>
                      <a:pt x="146" y="234"/>
                    </a:cubicBezTo>
                    <a:cubicBezTo>
                      <a:pt x="160" y="234"/>
                      <a:pt x="171" y="223"/>
                      <a:pt x="171" y="209"/>
                    </a:cubicBezTo>
                    <a:cubicBezTo>
                      <a:pt x="171" y="25"/>
                      <a:pt x="171" y="25"/>
                      <a:pt x="171" y="25"/>
                    </a:cubicBezTo>
                    <a:cubicBezTo>
                      <a:pt x="171" y="11"/>
                      <a:pt x="160" y="0"/>
                      <a:pt x="146" y="0"/>
                    </a:cubicBezTo>
                    <a:moveTo>
                      <a:pt x="157" y="183"/>
                    </a:moveTo>
                    <a:cubicBezTo>
                      <a:pt x="157" y="188"/>
                      <a:pt x="152" y="193"/>
                      <a:pt x="146" y="193"/>
                    </a:cubicBezTo>
                    <a:cubicBezTo>
                      <a:pt x="25" y="193"/>
                      <a:pt x="25" y="193"/>
                      <a:pt x="25" y="193"/>
                    </a:cubicBezTo>
                    <a:cubicBezTo>
                      <a:pt x="19" y="193"/>
                      <a:pt x="15" y="188"/>
                      <a:pt x="15" y="183"/>
                    </a:cubicBezTo>
                    <a:cubicBezTo>
                      <a:pt x="15" y="25"/>
                      <a:pt x="15" y="25"/>
                      <a:pt x="15" y="25"/>
                    </a:cubicBezTo>
                    <a:cubicBezTo>
                      <a:pt x="15" y="19"/>
                      <a:pt x="19" y="14"/>
                      <a:pt x="25" y="14"/>
                    </a:cubicBezTo>
                    <a:cubicBezTo>
                      <a:pt x="146" y="14"/>
                      <a:pt x="146" y="14"/>
                      <a:pt x="146" y="14"/>
                    </a:cubicBezTo>
                    <a:cubicBezTo>
                      <a:pt x="152" y="14"/>
                      <a:pt x="157" y="19"/>
                      <a:pt x="157" y="25"/>
                    </a:cubicBezTo>
                    <a:lnTo>
                      <a:pt x="157" y="1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86" name="Oval 27"/>
              <p:cNvSpPr>
                <a:spLocks noChangeArrowheads="1"/>
              </p:cNvSpPr>
              <p:nvPr/>
            </p:nvSpPr>
            <p:spPr bwMode="black">
              <a:xfrm>
                <a:off x="62245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87" name="Oval 28"/>
              <p:cNvSpPr>
                <a:spLocks noChangeArrowheads="1"/>
              </p:cNvSpPr>
              <p:nvPr/>
            </p:nvSpPr>
            <p:spPr bwMode="black">
              <a:xfrm>
                <a:off x="64531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88" name="Oval 29"/>
              <p:cNvSpPr>
                <a:spLocks noChangeArrowheads="1"/>
              </p:cNvSpPr>
              <p:nvPr/>
            </p:nvSpPr>
            <p:spPr bwMode="black">
              <a:xfrm>
                <a:off x="6340476"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89" name="Freeform 30"/>
              <p:cNvSpPr>
                <a:spLocks/>
              </p:cNvSpPr>
              <p:nvPr/>
            </p:nvSpPr>
            <p:spPr bwMode="black">
              <a:xfrm>
                <a:off x="3425826" y="4279901"/>
                <a:ext cx="442913" cy="16192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90" name="Freeform 31"/>
              <p:cNvSpPr>
                <a:spLocks noEditPoints="1"/>
              </p:cNvSpPr>
              <p:nvPr/>
            </p:nvSpPr>
            <p:spPr bwMode="black">
              <a:xfrm>
                <a:off x="3414713" y="4456113"/>
                <a:ext cx="476250" cy="80962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grpSp>
      <p:grpSp>
        <p:nvGrpSpPr>
          <p:cNvPr id="140" name="Group 139"/>
          <p:cNvGrpSpPr/>
          <p:nvPr/>
        </p:nvGrpSpPr>
        <p:grpSpPr>
          <a:xfrm>
            <a:off x="6229781" y="3132077"/>
            <a:ext cx="1114507" cy="1211325"/>
            <a:chOff x="7312137" y="4053596"/>
            <a:chExt cx="1485622" cy="1615100"/>
          </a:xfrm>
        </p:grpSpPr>
        <p:sp>
          <p:nvSpPr>
            <p:cNvPr id="138" name="Rectangle 137"/>
            <p:cNvSpPr/>
            <p:nvPr/>
          </p:nvSpPr>
          <p:spPr bwMode="auto">
            <a:xfrm>
              <a:off x="7312137" y="5429173"/>
              <a:ext cx="1484480" cy="239523"/>
            </a:xfrm>
            <a:prstGeom prst="rect">
              <a:avLst/>
            </a:prstGeom>
            <a:solidFill>
              <a:schemeClr val="tx1"/>
            </a:solidFill>
            <a:ln w="28575" cap="flat" cmpd="sng" algn="ctr">
              <a:solidFill>
                <a:schemeClr val="tx1"/>
              </a:solidFill>
              <a:prstDash val="solid"/>
              <a:headEnd type="none" w="med" len="med"/>
              <a:tailEnd type="none" w="med" len="med"/>
            </a:ln>
            <a:effectLst/>
          </p:spPr>
          <p:txBody>
            <a:bodyPr rot="0" spcFirstLastPara="0" vertOverflow="overflow" horzOverflow="overflow" vert="horz" wrap="square" lIns="68607" tIns="34304" rIns="34304" bIns="68607" numCol="1" spcCol="0" rtlCol="0" fromWordArt="0" anchor="t" anchorCtr="0" forceAA="0" compatLnSpc="1">
              <a:prstTxWarp prst="textNoShape">
                <a:avLst/>
              </a:prstTxWarp>
              <a:noAutofit/>
            </a:bodyPr>
            <a:lstStyle/>
            <a:p>
              <a:pPr algn="ctr"/>
              <a:r>
                <a:rPr lang="en-US" sz="900" b="1" dirty="0">
                  <a:solidFill>
                    <a:schemeClr val="accent1"/>
                  </a:solidFill>
                  <a:latin typeface="Segoe UI Light" pitchFamily="34" charset="0"/>
                </a:rPr>
                <a:t>TRADITIONAL IT</a:t>
              </a:r>
            </a:p>
            <a:p>
              <a:pPr fontAlgn="base">
                <a:spcBef>
                  <a:spcPct val="0"/>
                </a:spcBef>
                <a:spcAft>
                  <a:spcPct val="0"/>
                </a:spcAft>
              </a:pPr>
              <a:endParaRPr lang="en-US" sz="800" kern="0" spc="-29" dirty="0">
                <a:gradFill>
                  <a:gsLst>
                    <a:gs pos="0">
                      <a:srgbClr val="FFFFFF"/>
                    </a:gs>
                    <a:gs pos="100000">
                      <a:srgbClr val="FFFFFF"/>
                    </a:gs>
                  </a:gsLst>
                  <a:lin ang="5400000" scaled="0"/>
                </a:gradFill>
                <a:latin typeface="Segoe WP" pitchFamily="34" charset="0"/>
                <a:ea typeface="Segoe UI" pitchFamily="34" charset="0"/>
                <a:cs typeface="Segoe UI" pitchFamily="34" charset="0"/>
              </a:endParaRPr>
            </a:p>
          </p:txBody>
        </p:sp>
        <p:grpSp>
          <p:nvGrpSpPr>
            <p:cNvPr id="137" name="Group 136"/>
            <p:cNvGrpSpPr/>
            <p:nvPr/>
          </p:nvGrpSpPr>
          <p:grpSpPr>
            <a:xfrm>
              <a:off x="7312137" y="4053596"/>
              <a:ext cx="1485622" cy="1375577"/>
              <a:chOff x="7331324" y="1913804"/>
              <a:chExt cx="1675846" cy="1551708"/>
            </a:xfrm>
          </p:grpSpPr>
          <p:sp>
            <p:nvSpPr>
              <p:cNvPr id="117" name="TextBox 116"/>
              <p:cNvSpPr txBox="1"/>
              <p:nvPr/>
            </p:nvSpPr>
            <p:spPr>
              <a:xfrm>
                <a:off x="7331324" y="1913804"/>
                <a:ext cx="1675846" cy="1551708"/>
              </a:xfrm>
              <a:prstGeom prst="rect">
                <a:avLst/>
              </a:prstGeom>
              <a:noFill/>
              <a:ln w="28575">
                <a:solidFill>
                  <a:schemeClr val="tx1"/>
                </a:solidFill>
              </a:ln>
            </p:spPr>
            <p:txBody>
              <a:bodyPr wrap="square" rtlCol="0" anchor="b">
                <a:noAutofit/>
              </a:bodyPr>
              <a:lstStyle/>
              <a:p>
                <a:endParaRPr lang="en-US" dirty="0">
                  <a:solidFill>
                    <a:schemeClr val="bg2">
                      <a:lumMod val="50000"/>
                    </a:schemeClr>
                  </a:solidFill>
                </a:endParaRPr>
              </a:p>
            </p:txBody>
          </p:sp>
          <p:grpSp>
            <p:nvGrpSpPr>
              <p:cNvPr id="118" name="Group 117"/>
              <p:cNvGrpSpPr/>
              <p:nvPr/>
            </p:nvGrpSpPr>
            <p:grpSpPr>
              <a:xfrm>
                <a:off x="7858905" y="1975873"/>
                <a:ext cx="622650" cy="574376"/>
                <a:chOff x="2436812" y="1600200"/>
                <a:chExt cx="1528827" cy="1410300"/>
              </a:xfrm>
            </p:grpSpPr>
            <p:sp>
              <p:nvSpPr>
                <p:cNvPr id="135" name="Rectangle 134"/>
                <p:cNvSpPr/>
                <p:nvPr/>
              </p:nvSpPr>
              <p:spPr>
                <a:xfrm>
                  <a:off x="2436812" y="1600200"/>
                  <a:ext cx="1528827" cy="1410300"/>
                </a:xfrm>
                <a:prstGeom prst="rect">
                  <a:avLst/>
                </a:prstGeom>
                <a:solidFill>
                  <a:schemeClr val="accent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6" name="Picture 135" descr="e:\Users\mvesely\Desktop\Metro\man.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080924" y="1723700"/>
                  <a:ext cx="251015" cy="698628"/>
                </a:xfrm>
                <a:prstGeom prst="rect">
                  <a:avLst/>
                </a:prstGeom>
                <a:noFill/>
                <a:extLst>
                  <a:ext uri="{909E8E84-426E-40DD-AFC4-6F175D3DCCD1}">
                    <a14:hiddenFill xmlns:a14="http://schemas.microsoft.com/office/drawing/2010/main">
                      <a:solidFill>
                        <a:srgbClr val="FFFFFF"/>
                      </a:solidFill>
                    </a14:hiddenFill>
                  </a:ext>
                </a:extLst>
              </p:spPr>
            </p:pic>
          </p:grpSp>
          <p:sp>
            <p:nvSpPr>
              <p:cNvPr id="119" name="Rectangle 118"/>
              <p:cNvSpPr/>
              <p:nvPr/>
            </p:nvSpPr>
            <p:spPr>
              <a:xfrm>
                <a:off x="7424428" y="2813795"/>
                <a:ext cx="622650" cy="574376"/>
              </a:xfrm>
              <a:prstGeom prst="rect">
                <a:avLst/>
              </a:prstGeom>
              <a:solidFill>
                <a:schemeClr val="accent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20" name="Group 119"/>
              <p:cNvGrpSpPr/>
              <p:nvPr/>
            </p:nvGrpSpPr>
            <p:grpSpPr>
              <a:xfrm>
                <a:off x="8291417" y="2814296"/>
                <a:ext cx="622650" cy="574377"/>
                <a:chOff x="3498785" y="3658826"/>
                <a:chExt cx="1528827" cy="1410300"/>
              </a:xfrm>
            </p:grpSpPr>
            <p:sp>
              <p:nvSpPr>
                <p:cNvPr id="133" name="Rectangle 132"/>
                <p:cNvSpPr/>
                <p:nvPr/>
              </p:nvSpPr>
              <p:spPr>
                <a:xfrm>
                  <a:off x="3498785" y="3658826"/>
                  <a:ext cx="1528827" cy="1410300"/>
                </a:xfrm>
                <a:prstGeom prst="rect">
                  <a:avLst/>
                </a:prstGeom>
                <a:solidFill>
                  <a:schemeClr val="accent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4" name="Picture 7" descr="\\MAGNUM\Projects\Microsoft\Cloud Power FY12\Design\ICONS_PNG\Gears.png"/>
                <p:cNvPicPr>
                  <a:picLocks noChangeAspect="1" noChangeArrowheads="1"/>
                </p:cNvPicPr>
                <p:nvPr>
                  <p:custDataLst>
                    <p:tags r:id="rId1"/>
                  </p:custDataLst>
                </p:nvPr>
              </p:nvPicPr>
              <p:blipFill rotWithShape="1">
                <a:blip r:embed="rId6" cstate="print">
                  <a:lum bright="100000"/>
                  <a:extLst>
                    <a:ext uri="{28A0092B-C50C-407E-A947-70E740481C1C}">
                      <a14:useLocalDpi xmlns:a14="http://schemas.microsoft.com/office/drawing/2010/main"/>
                    </a:ext>
                  </a:extLst>
                </a:blip>
                <a:srcRect/>
                <a:stretch/>
              </p:blipFill>
              <p:spPr bwMode="auto">
                <a:xfrm rot="16200000" flipH="1">
                  <a:off x="3917165" y="4071937"/>
                  <a:ext cx="719971" cy="576869"/>
                </a:xfrm>
                <a:prstGeom prst="rect">
                  <a:avLst/>
                </a:prstGeom>
                <a:noFill/>
              </p:spPr>
            </p:pic>
          </p:grpSp>
          <p:cxnSp>
            <p:nvCxnSpPr>
              <p:cNvPr id="122" name="Elbow Connector 121"/>
              <p:cNvCxnSpPr>
                <a:stCxn id="135" idx="1"/>
              </p:cNvCxnSpPr>
              <p:nvPr/>
            </p:nvCxnSpPr>
            <p:spPr>
              <a:xfrm rot="10800000" flipV="1">
                <a:off x="7749096" y="2263062"/>
                <a:ext cx="109809" cy="541847"/>
              </a:xfrm>
              <a:prstGeom prst="bentConnector2">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3" name="Elbow Connector 122"/>
              <p:cNvCxnSpPr/>
              <p:nvPr/>
            </p:nvCxnSpPr>
            <p:spPr>
              <a:xfrm>
                <a:off x="8479715" y="2263063"/>
                <a:ext cx="118106" cy="541847"/>
              </a:xfrm>
              <a:prstGeom prst="bentConnector2">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flipH="1">
                <a:off x="8044500" y="3131292"/>
                <a:ext cx="24691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25" name="Group 124"/>
              <p:cNvGrpSpPr/>
              <p:nvPr/>
            </p:nvGrpSpPr>
            <p:grpSpPr bwMode="black">
              <a:xfrm>
                <a:off x="7952009" y="2379320"/>
                <a:ext cx="124766" cy="123060"/>
                <a:chOff x="2916435" y="3914152"/>
                <a:chExt cx="930763" cy="918513"/>
              </a:xfrm>
            </p:grpSpPr>
            <p:pic>
              <p:nvPicPr>
                <p:cNvPr id="131" name="Picture 130"/>
                <p:cNvPicPr>
                  <a:picLocks noChangeAspect="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132"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40" tIns="45720" rIns="91440" bIns="45720" numCol="1" anchor="t" anchorCtr="0" compatLnSpc="1">
                  <a:prstTxWarp prst="textNoShape">
                    <a:avLst/>
                  </a:prstTxWarp>
                </a:bodyPr>
                <a:lstStyle/>
                <a:p>
                  <a:endParaRPr lang="en-US" sz="700" dirty="0">
                    <a:solidFill>
                      <a:srgbClr val="FFFFFF"/>
                    </a:solidFill>
                  </a:endParaRPr>
                </a:p>
              </p:txBody>
            </p:sp>
          </p:grpSp>
          <p:sp>
            <p:nvSpPr>
              <p:cNvPr id="126" name="Freeform 20"/>
              <p:cNvSpPr>
                <a:spLocks noEditPoints="1"/>
              </p:cNvSpPr>
              <p:nvPr/>
            </p:nvSpPr>
            <p:spPr bwMode="black">
              <a:xfrm>
                <a:off x="8094440" y="2381323"/>
                <a:ext cx="155246" cy="107905"/>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305" tIns="41153" rIns="82305" bIns="41153" numCol="1" anchor="t" anchorCtr="0" compatLnSpc="1">
                <a:prstTxWarp prst="textNoShape">
                  <a:avLst/>
                </a:prstTxWarp>
              </a:bodyPr>
              <a:lstStyle/>
              <a:p>
                <a:endParaRPr lang="en-US" sz="700" dirty="0">
                  <a:solidFill>
                    <a:srgbClr val="FFFFFF"/>
                  </a:solidFill>
                </a:endParaRPr>
              </a:p>
            </p:txBody>
          </p:sp>
          <p:pic>
            <p:nvPicPr>
              <p:cNvPr id="127" name="Picture 126"/>
              <p:cNvPicPr>
                <a:picLocks noChangeAspect="1"/>
              </p:cNvPicPr>
              <p:nvPr/>
            </p:nvPicPr>
            <p:blipFill>
              <a:blip r:embed="rId11" cstate="print">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8265006" y="2381324"/>
                <a:ext cx="56194" cy="107904"/>
              </a:xfrm>
              <a:prstGeom prst="rect">
                <a:avLst/>
              </a:prstGeom>
            </p:spPr>
          </p:pic>
          <p:grpSp>
            <p:nvGrpSpPr>
              <p:cNvPr id="128" name="Group 127"/>
              <p:cNvGrpSpPr/>
              <p:nvPr/>
            </p:nvGrpSpPr>
            <p:grpSpPr bwMode="black">
              <a:xfrm>
                <a:off x="7591164" y="2936063"/>
                <a:ext cx="289173" cy="325480"/>
                <a:chOff x="3422650" y="3467100"/>
                <a:chExt cx="533400" cy="549275"/>
              </a:xfrm>
              <a:solidFill>
                <a:srgbClr val="FFFFFF"/>
              </a:solidFill>
            </p:grpSpPr>
            <p:sp>
              <p:nvSpPr>
                <p:cNvPr id="129" name="Freeform 82"/>
                <p:cNvSpPr>
                  <a:spLocks noEditPoints="1"/>
                </p:cNvSpPr>
                <p:nvPr/>
              </p:nvSpPr>
              <p:spPr bwMode="black">
                <a:xfrm>
                  <a:off x="3422650" y="3467100"/>
                  <a:ext cx="533400" cy="53340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grpFill/>
                <a:ln>
                  <a:noFill/>
                </a:ln>
              </p:spPr>
              <p:txBody>
                <a:bodyPr vert="horz" wrap="square" lIns="91440" tIns="45720" rIns="91440" bIns="45720" numCol="1" anchor="t" anchorCtr="0" compatLnSpc="1">
                  <a:prstTxWarp prst="textNoShape">
                    <a:avLst/>
                  </a:prstTxWarp>
                </a:bodyPr>
                <a:lstStyle/>
                <a:p>
                  <a:endParaRPr lang="en-US" sz="1200" dirty="0"/>
                </a:p>
              </p:txBody>
            </p:sp>
            <p:sp>
              <p:nvSpPr>
                <p:cNvPr id="130"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grpFill/>
                <a:ln>
                  <a:noFill/>
                </a:ln>
              </p:spPr>
              <p:txBody>
                <a:bodyPr vert="horz" wrap="square" lIns="91440" tIns="45720" rIns="91440" bIns="45720" numCol="1" anchor="t" anchorCtr="0" compatLnSpc="1">
                  <a:prstTxWarp prst="textNoShape">
                    <a:avLst/>
                  </a:prstTxWarp>
                </a:bodyPr>
                <a:lstStyle/>
                <a:p>
                  <a:endParaRPr lang="en-US" sz="1200" dirty="0"/>
                </a:p>
              </p:txBody>
            </p:sp>
          </p:grpSp>
        </p:grpSp>
      </p:grpSp>
      <p:grpSp>
        <p:nvGrpSpPr>
          <p:cNvPr id="156" name="Group 155"/>
          <p:cNvGrpSpPr/>
          <p:nvPr/>
        </p:nvGrpSpPr>
        <p:grpSpPr>
          <a:xfrm>
            <a:off x="6347732" y="2576305"/>
            <a:ext cx="907396" cy="555770"/>
            <a:chOff x="8461439" y="3435074"/>
            <a:chExt cx="1209546" cy="741026"/>
          </a:xfrm>
        </p:grpSpPr>
        <p:sp>
          <p:nvSpPr>
            <p:cNvPr id="143" name="Oval 142"/>
            <p:cNvSpPr/>
            <p:nvPr/>
          </p:nvSpPr>
          <p:spPr bwMode="auto">
            <a:xfrm>
              <a:off x="8940648" y="3657600"/>
              <a:ext cx="201764" cy="189202"/>
            </a:xfrm>
            <a:prstGeom prst="ellipse">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alpha val="98824"/>
                  </a:srgbClr>
                </a:solidFill>
                <a:latin typeface="Segoe UI" pitchFamily="34" charset="0"/>
                <a:ea typeface="Segoe UI" pitchFamily="34" charset="0"/>
                <a:cs typeface="Segoe UI" pitchFamily="34" charset="0"/>
              </a:endParaRPr>
            </a:p>
          </p:txBody>
        </p:sp>
        <p:cxnSp>
          <p:nvCxnSpPr>
            <p:cNvPr id="145" name="Straight Connector 144"/>
            <p:cNvCxnSpPr>
              <a:stCxn id="143" idx="1"/>
              <a:endCxn id="45" idx="3"/>
            </p:cNvCxnSpPr>
            <p:nvPr/>
          </p:nvCxnSpPr>
          <p:spPr>
            <a:xfrm flipH="1" flipV="1">
              <a:off x="8461439" y="3435074"/>
              <a:ext cx="508757" cy="250234"/>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a:stCxn id="49" idx="1"/>
              <a:endCxn id="143" idx="7"/>
            </p:cNvCxnSpPr>
            <p:nvPr/>
          </p:nvCxnSpPr>
          <p:spPr>
            <a:xfrm flipH="1">
              <a:off x="9112864" y="3435074"/>
              <a:ext cx="558121" cy="250234"/>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a:stCxn id="117" idx="0"/>
              <a:endCxn id="143" idx="4"/>
            </p:cNvCxnSpPr>
            <p:nvPr/>
          </p:nvCxnSpPr>
          <p:spPr>
            <a:xfrm flipH="1" flipV="1">
              <a:off x="9041530" y="3846802"/>
              <a:ext cx="5493" cy="329298"/>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5" name="Group 154"/>
          <p:cNvGrpSpPr/>
          <p:nvPr/>
        </p:nvGrpSpPr>
        <p:grpSpPr>
          <a:xfrm>
            <a:off x="4966628" y="1023565"/>
            <a:ext cx="3606914" cy="3834182"/>
            <a:chOff x="6620446" y="1364752"/>
            <a:chExt cx="4807966" cy="5112243"/>
          </a:xfrm>
        </p:grpSpPr>
        <p:sp>
          <p:nvSpPr>
            <p:cNvPr id="154" name="TextBox 153"/>
            <p:cNvSpPr txBox="1"/>
            <p:nvPr/>
          </p:nvSpPr>
          <p:spPr>
            <a:xfrm>
              <a:off x="6620446" y="1364752"/>
              <a:ext cx="4807966" cy="4800600"/>
            </a:xfrm>
            <a:prstGeom prst="rect">
              <a:avLst/>
            </a:prstGeom>
            <a:noFill/>
            <a:ln w="28575">
              <a:solidFill>
                <a:schemeClr val="tx1"/>
              </a:solidFill>
            </a:ln>
          </p:spPr>
          <p:txBody>
            <a:bodyPr wrap="square" rtlCol="0" anchor="b">
              <a:noAutofit/>
            </a:bodyPr>
            <a:lstStyle/>
            <a:p>
              <a:endParaRPr lang="en-US" dirty="0">
                <a:solidFill>
                  <a:schemeClr val="bg2">
                    <a:lumMod val="50000"/>
                  </a:schemeClr>
                </a:solidFill>
              </a:endParaRPr>
            </a:p>
          </p:txBody>
        </p:sp>
        <p:sp>
          <p:nvSpPr>
            <p:cNvPr id="52" name="Rectangle 51"/>
            <p:cNvSpPr/>
            <p:nvPr/>
          </p:nvSpPr>
          <p:spPr bwMode="auto">
            <a:xfrm>
              <a:off x="6620446" y="6165352"/>
              <a:ext cx="4807966" cy="311643"/>
            </a:xfrm>
            <a:prstGeom prst="rect">
              <a:avLst/>
            </a:prstGeom>
            <a:solidFill>
              <a:schemeClr val="tx1"/>
            </a:solidFill>
            <a:ln w="28575" cap="flat" cmpd="sng" algn="ctr">
              <a:solidFill>
                <a:schemeClr val="tx1"/>
              </a:solidFill>
              <a:prstDash val="solid"/>
              <a:headEnd type="none" w="med" len="med"/>
              <a:tailEnd type="none" w="med" len="med"/>
            </a:ln>
            <a:effectLst/>
          </p:spPr>
          <p:txBody>
            <a:bodyPr rot="0" spcFirstLastPara="0" vertOverflow="overflow" horzOverflow="overflow" vert="horz" wrap="square" lIns="68607" tIns="34304" rIns="34304" bIns="68607" numCol="1" spcCol="0" rtlCol="0" fromWordArt="0" anchor="t" anchorCtr="0" forceAA="0" compatLnSpc="1">
              <a:prstTxWarp prst="textNoShape">
                <a:avLst/>
              </a:prstTxWarp>
              <a:noAutofit/>
            </a:bodyPr>
            <a:lstStyle/>
            <a:p>
              <a:pPr algn="ctr"/>
              <a:r>
                <a:rPr lang="en-US" sz="1200" b="1" dirty="0">
                  <a:solidFill>
                    <a:schemeClr val="accent1"/>
                  </a:solidFill>
                  <a:latin typeface="Segoe UI Light" pitchFamily="34" charset="0"/>
                </a:rPr>
                <a:t>HYBRID CLOUD</a:t>
              </a:r>
            </a:p>
            <a:p>
              <a:pPr fontAlgn="base">
                <a:spcBef>
                  <a:spcPct val="0"/>
                </a:spcBef>
                <a:spcAft>
                  <a:spcPct val="0"/>
                </a:spcAft>
              </a:pPr>
              <a:endParaRPr lang="en-US" sz="800" kern="0" spc="-29" dirty="0">
                <a:gradFill>
                  <a:gsLst>
                    <a:gs pos="0">
                      <a:srgbClr val="FFFFFF"/>
                    </a:gs>
                    <a:gs pos="100000">
                      <a:srgbClr val="FFFFFF"/>
                    </a:gs>
                  </a:gsLst>
                  <a:lin ang="5400000" scaled="0"/>
                </a:gradFill>
                <a:latin typeface="Segoe WP" pitchFamily="34" charset="0"/>
                <a:ea typeface="Segoe UI" pitchFamily="34" charset="0"/>
                <a:cs typeface="Segoe UI" pitchFamily="34" charset="0"/>
              </a:endParaRPr>
            </a:p>
          </p:txBody>
        </p:sp>
      </p:grpSp>
      <p:sp>
        <p:nvSpPr>
          <p:cNvPr id="96"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97"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3"/>
              </a:rPr>
              <a:t>www.rapidbbs.cn</a:t>
            </a:r>
            <a:endParaRPr lang="zh-CN" altLang="en-US" sz="1200" b="0">
              <a:latin typeface="Arial" charset="0"/>
              <a:ea typeface="ＭＳ Ｐゴシック" pitchFamily="34" charset="-128"/>
            </a:endParaRPr>
          </a:p>
        </p:txBody>
      </p:sp>
      <p:pic>
        <p:nvPicPr>
          <p:cNvPr id="98" name="Picture 2">
            <a:hlinkClick r:id="rId13"/>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885487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nodeType="clickEffect">
                                  <p:stCondLst>
                                    <p:cond delay="0"/>
                                  </p:stCondLst>
                                  <p:childTnLst>
                                    <p:set>
                                      <p:cBhvr>
                                        <p:cTn id="6" dur="1" fill="hold">
                                          <p:stCondLst>
                                            <p:cond delay="0"/>
                                          </p:stCondLst>
                                        </p:cTn>
                                        <p:tgtEl>
                                          <p:spTgt spid="155"/>
                                        </p:tgtEl>
                                        <p:attrNameLst>
                                          <p:attrName>style.visibility</p:attrName>
                                        </p:attrNameLst>
                                      </p:cBhvr>
                                      <p:to>
                                        <p:strVal val="visible"/>
                                      </p:to>
                                    </p:set>
                                    <p:animEffect transition="in" filter="wheel(1)">
                                      <p:cBhvr>
                                        <p:cTn id="7" dur="2000"/>
                                        <p:tgtEl>
                                          <p:spTgt spid="155"/>
                                        </p:tgtEl>
                                      </p:cBhvr>
                                    </p:animEffect>
                                  </p:childTnLst>
                                </p:cTn>
                              </p:par>
                            </p:childTnLst>
                          </p:cTn>
                        </p:par>
                        <p:par>
                          <p:cTn id="8" fill="hold">
                            <p:stCondLst>
                              <p:cond delay="2000"/>
                            </p:stCondLst>
                            <p:childTnLst>
                              <p:par>
                                <p:cTn id="9" presetID="31" presetClass="entr" presetSubtype="0" fill="hold" nodeType="afterEffect">
                                  <p:stCondLst>
                                    <p:cond delay="1000"/>
                                  </p:stCondLst>
                                  <p:childTnLst>
                                    <p:set>
                                      <p:cBhvr>
                                        <p:cTn id="10" dur="1" fill="hold">
                                          <p:stCondLst>
                                            <p:cond delay="0"/>
                                          </p:stCondLst>
                                        </p:cTn>
                                        <p:tgtEl>
                                          <p:spTgt spid="156"/>
                                        </p:tgtEl>
                                        <p:attrNameLst>
                                          <p:attrName>style.visibility</p:attrName>
                                        </p:attrNameLst>
                                      </p:cBhvr>
                                      <p:to>
                                        <p:strVal val="visible"/>
                                      </p:to>
                                    </p:set>
                                    <p:anim calcmode="lin" valueType="num">
                                      <p:cBhvr>
                                        <p:cTn id="11" dur="1000" fill="hold"/>
                                        <p:tgtEl>
                                          <p:spTgt spid="156"/>
                                        </p:tgtEl>
                                        <p:attrNameLst>
                                          <p:attrName>ppt_w</p:attrName>
                                        </p:attrNameLst>
                                      </p:cBhvr>
                                      <p:tavLst>
                                        <p:tav tm="0">
                                          <p:val>
                                            <p:fltVal val="0"/>
                                          </p:val>
                                        </p:tav>
                                        <p:tav tm="100000">
                                          <p:val>
                                            <p:strVal val="#ppt_w"/>
                                          </p:val>
                                        </p:tav>
                                      </p:tavLst>
                                    </p:anim>
                                    <p:anim calcmode="lin" valueType="num">
                                      <p:cBhvr>
                                        <p:cTn id="12" dur="1000" fill="hold"/>
                                        <p:tgtEl>
                                          <p:spTgt spid="156"/>
                                        </p:tgtEl>
                                        <p:attrNameLst>
                                          <p:attrName>ppt_h</p:attrName>
                                        </p:attrNameLst>
                                      </p:cBhvr>
                                      <p:tavLst>
                                        <p:tav tm="0">
                                          <p:val>
                                            <p:fltVal val="0"/>
                                          </p:val>
                                        </p:tav>
                                        <p:tav tm="100000">
                                          <p:val>
                                            <p:strVal val="#ppt_h"/>
                                          </p:val>
                                        </p:tav>
                                      </p:tavLst>
                                    </p:anim>
                                    <p:anim calcmode="lin" valueType="num">
                                      <p:cBhvr>
                                        <p:cTn id="13" dur="1000" fill="hold"/>
                                        <p:tgtEl>
                                          <p:spTgt spid="156"/>
                                        </p:tgtEl>
                                        <p:attrNameLst>
                                          <p:attrName>style.rotation</p:attrName>
                                        </p:attrNameLst>
                                      </p:cBhvr>
                                      <p:tavLst>
                                        <p:tav tm="0">
                                          <p:val>
                                            <p:fltVal val="90"/>
                                          </p:val>
                                        </p:tav>
                                        <p:tav tm="100000">
                                          <p:val>
                                            <p:fltVal val="0"/>
                                          </p:val>
                                        </p:tav>
                                      </p:tavLst>
                                    </p:anim>
                                    <p:animEffect transition="in" filter="fade">
                                      <p:cBhvr>
                                        <p:cTn id="14" dur="1000"/>
                                        <p:tgtEl>
                                          <p:spTgt spid="156"/>
                                        </p:tgtEl>
                                      </p:cBhvr>
                                    </p:animEffect>
                                  </p:childTnLst>
                                </p:cTn>
                              </p:par>
                              <p:par>
                                <p:cTn id="15" presetID="31" presetClass="entr" presetSubtype="0" fill="hold" nodeType="withEffect">
                                  <p:stCondLst>
                                    <p:cond delay="1000"/>
                                  </p:stCondLst>
                                  <p:childTnLst>
                                    <p:set>
                                      <p:cBhvr>
                                        <p:cTn id="16" dur="1" fill="hold">
                                          <p:stCondLst>
                                            <p:cond delay="0"/>
                                          </p:stCondLst>
                                        </p:cTn>
                                        <p:tgtEl>
                                          <p:spTgt spid="22"/>
                                        </p:tgtEl>
                                        <p:attrNameLst>
                                          <p:attrName>style.visibility</p:attrName>
                                        </p:attrNameLst>
                                      </p:cBhvr>
                                      <p:to>
                                        <p:strVal val="visible"/>
                                      </p:to>
                                    </p:set>
                                    <p:anim calcmode="lin" valueType="num">
                                      <p:cBhvr>
                                        <p:cTn id="17" dur="1000" fill="hold"/>
                                        <p:tgtEl>
                                          <p:spTgt spid="22"/>
                                        </p:tgtEl>
                                        <p:attrNameLst>
                                          <p:attrName>ppt_w</p:attrName>
                                        </p:attrNameLst>
                                      </p:cBhvr>
                                      <p:tavLst>
                                        <p:tav tm="0">
                                          <p:val>
                                            <p:fltVal val="0"/>
                                          </p:val>
                                        </p:tav>
                                        <p:tav tm="100000">
                                          <p:val>
                                            <p:strVal val="#ppt_w"/>
                                          </p:val>
                                        </p:tav>
                                      </p:tavLst>
                                    </p:anim>
                                    <p:anim calcmode="lin" valueType="num">
                                      <p:cBhvr>
                                        <p:cTn id="18" dur="1000" fill="hold"/>
                                        <p:tgtEl>
                                          <p:spTgt spid="22"/>
                                        </p:tgtEl>
                                        <p:attrNameLst>
                                          <p:attrName>ppt_h</p:attrName>
                                        </p:attrNameLst>
                                      </p:cBhvr>
                                      <p:tavLst>
                                        <p:tav tm="0">
                                          <p:val>
                                            <p:fltVal val="0"/>
                                          </p:val>
                                        </p:tav>
                                        <p:tav tm="100000">
                                          <p:val>
                                            <p:strVal val="#ppt_h"/>
                                          </p:val>
                                        </p:tav>
                                      </p:tavLst>
                                    </p:anim>
                                    <p:anim calcmode="lin" valueType="num">
                                      <p:cBhvr>
                                        <p:cTn id="19" dur="1000" fill="hold"/>
                                        <p:tgtEl>
                                          <p:spTgt spid="22"/>
                                        </p:tgtEl>
                                        <p:attrNameLst>
                                          <p:attrName>style.rotation</p:attrName>
                                        </p:attrNameLst>
                                      </p:cBhvr>
                                      <p:tavLst>
                                        <p:tav tm="0">
                                          <p:val>
                                            <p:fltVal val="90"/>
                                          </p:val>
                                        </p:tav>
                                        <p:tav tm="100000">
                                          <p:val>
                                            <p:fltVal val="0"/>
                                          </p:val>
                                        </p:tav>
                                      </p:tavLst>
                                    </p:anim>
                                    <p:animEffect transition="in" filter="fade">
                                      <p:cBhvr>
                                        <p:cTn id="20" dur="10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Microsoft Views Identity</a:t>
            </a:r>
            <a:endParaRPr lang="en-US" dirty="0"/>
          </a:p>
        </p:txBody>
      </p:sp>
      <p:sp>
        <p:nvSpPr>
          <p:cNvPr id="4" name="Rectangle 3"/>
          <p:cNvSpPr/>
          <p:nvPr/>
        </p:nvSpPr>
        <p:spPr>
          <a:xfrm>
            <a:off x="6401688" y="3928373"/>
            <a:ext cx="1833391" cy="30072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r>
              <a:rPr lang="en-US" sz="1200" b="1" dirty="0">
                <a:solidFill>
                  <a:schemeClr val="accent1"/>
                </a:solidFill>
                <a:latin typeface="Segoe UI Light" pitchFamily="34" charset="0"/>
              </a:rPr>
              <a:t>AUDITING</a:t>
            </a:r>
          </a:p>
        </p:txBody>
      </p:sp>
      <p:sp>
        <p:nvSpPr>
          <p:cNvPr id="5" name="Rectangle 4"/>
          <p:cNvSpPr/>
          <p:nvPr/>
        </p:nvSpPr>
        <p:spPr>
          <a:xfrm>
            <a:off x="4546825" y="3928373"/>
            <a:ext cx="1833391" cy="30072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r>
              <a:rPr lang="en-US" sz="1200" b="1" dirty="0">
                <a:solidFill>
                  <a:schemeClr val="accent1"/>
                </a:solidFill>
                <a:latin typeface="Segoe UI Light" pitchFamily="34" charset="0"/>
              </a:rPr>
              <a:t>AUTHORIZATION</a:t>
            </a:r>
          </a:p>
        </p:txBody>
      </p:sp>
      <p:sp>
        <p:nvSpPr>
          <p:cNvPr id="6" name="Rectangle 5"/>
          <p:cNvSpPr/>
          <p:nvPr/>
        </p:nvSpPr>
        <p:spPr>
          <a:xfrm>
            <a:off x="2691962" y="3928373"/>
            <a:ext cx="1833391" cy="30072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r>
              <a:rPr lang="en-US" sz="1200" b="1" dirty="0">
                <a:solidFill>
                  <a:schemeClr val="accent1"/>
                </a:solidFill>
                <a:latin typeface="Segoe UI Light" pitchFamily="34" charset="0"/>
              </a:rPr>
              <a:t>AUTHENTICATION</a:t>
            </a:r>
          </a:p>
        </p:txBody>
      </p:sp>
      <p:sp>
        <p:nvSpPr>
          <p:cNvPr id="7" name="Rectangle 6"/>
          <p:cNvSpPr/>
          <p:nvPr/>
        </p:nvSpPr>
        <p:spPr>
          <a:xfrm>
            <a:off x="837098" y="3928373"/>
            <a:ext cx="1833391" cy="30072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r>
              <a:rPr lang="en-US" sz="1200" b="1" dirty="0">
                <a:solidFill>
                  <a:schemeClr val="accent1"/>
                </a:solidFill>
                <a:latin typeface="Segoe UI Light" pitchFamily="34" charset="0"/>
              </a:rPr>
              <a:t>ADMINISTRATION</a:t>
            </a:r>
          </a:p>
        </p:txBody>
      </p:sp>
      <p:sp>
        <p:nvSpPr>
          <p:cNvPr id="8" name="Rectangle 7"/>
          <p:cNvSpPr/>
          <p:nvPr/>
        </p:nvSpPr>
        <p:spPr bwMode="auto">
          <a:xfrm>
            <a:off x="837094" y="1391350"/>
            <a:ext cx="7397981" cy="2534314"/>
          </a:xfrm>
          <a:prstGeom prst="rect">
            <a:avLst/>
          </a:prstGeom>
          <a:solidFill>
            <a:schemeClr val="accent1"/>
          </a:solidFill>
          <a:ln w="28575" cap="flat" cmpd="sng" algn="ctr">
            <a:noFill/>
            <a:prstDash val="solid"/>
            <a:headEnd type="none" w="med" len="med"/>
            <a:tailEnd type="none" w="med" len="med"/>
          </a:ln>
          <a:effectLst/>
        </p:spPr>
        <p:txBody>
          <a:bodyPr rot="0" spcFirstLastPara="0" vertOverflow="overflow" horzOverflow="overflow" vert="horz" wrap="square" lIns="51450" tIns="25725" rIns="25725" bIns="51450" numCol="1" spcCol="0" rtlCol="0" fromWordArt="0" anchor="t" anchorCtr="0" forceAA="0" compatLnSpc="1">
            <a:prstTxWarp prst="textNoShape">
              <a:avLst/>
            </a:prstTxWarp>
            <a:noAutofit/>
          </a:bodyPr>
          <a:lstStyle/>
          <a:p>
            <a:pPr marL="214287" indent="-214287">
              <a:buFont typeface="Arial" pitchFamily="34" charset="0"/>
              <a:buChar char="•"/>
            </a:pPr>
            <a:endParaRPr lang="en-US" dirty="0" smtClean="0"/>
          </a:p>
        </p:txBody>
      </p:sp>
      <p:sp>
        <p:nvSpPr>
          <p:cNvPr id="9" name="Rectangle 8"/>
          <p:cNvSpPr/>
          <p:nvPr/>
        </p:nvSpPr>
        <p:spPr bwMode="auto">
          <a:xfrm>
            <a:off x="6401688" y="1443124"/>
            <a:ext cx="1833391" cy="1381904"/>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51450" tIns="25725" rIns="25725" bIns="51450" numCol="1" spcCol="0" rtlCol="0" fromWordArt="0" anchor="t" anchorCtr="0" forceAA="0" compatLnSpc="1">
            <a:prstTxWarp prst="textNoShape">
              <a:avLst/>
            </a:prstTxWarp>
            <a:noAutofit/>
          </a:bodyPr>
          <a:lstStyle/>
          <a:p>
            <a:pPr marL="214287" indent="-214287">
              <a:buFont typeface="Courier New" pitchFamily="49" charset="0"/>
              <a:buChar char="o"/>
            </a:pPr>
            <a:r>
              <a:rPr lang="en-US" sz="1200" dirty="0">
                <a:latin typeface="Segoe UI Light" pitchFamily="34" charset="0"/>
              </a:rPr>
              <a:t>Track who does what, when, where and how</a:t>
            </a:r>
          </a:p>
          <a:p>
            <a:pPr marL="214287" indent="-214287">
              <a:buFont typeface="Courier New" pitchFamily="49" charset="0"/>
              <a:buChar char="o"/>
            </a:pPr>
            <a:r>
              <a:rPr lang="en-US" sz="1200" dirty="0">
                <a:latin typeface="Segoe UI Light" pitchFamily="34" charset="0"/>
              </a:rPr>
              <a:t>Focused Alerting</a:t>
            </a:r>
          </a:p>
          <a:p>
            <a:pPr marL="214287" indent="-214287">
              <a:buFont typeface="Courier New" pitchFamily="49" charset="0"/>
              <a:buChar char="o"/>
            </a:pPr>
            <a:r>
              <a:rPr lang="en-US" sz="1200" dirty="0">
                <a:latin typeface="Segoe UI Light" pitchFamily="34" charset="0"/>
              </a:rPr>
              <a:t>In-Depth Collated Reporting</a:t>
            </a:r>
          </a:p>
          <a:p>
            <a:pPr marL="214287" indent="-214287">
              <a:buFont typeface="Courier New" pitchFamily="49" charset="0"/>
              <a:buChar char="o"/>
            </a:pPr>
            <a:r>
              <a:rPr lang="en-US" sz="1200" dirty="0">
                <a:latin typeface="Segoe UI Light" pitchFamily="34" charset="0"/>
              </a:rPr>
              <a:t>Governance</a:t>
            </a:r>
          </a:p>
        </p:txBody>
      </p:sp>
      <p:sp>
        <p:nvSpPr>
          <p:cNvPr id="10" name="Rectangle 9"/>
          <p:cNvSpPr/>
          <p:nvPr/>
        </p:nvSpPr>
        <p:spPr bwMode="auto">
          <a:xfrm>
            <a:off x="837092" y="1443130"/>
            <a:ext cx="1833390" cy="2763809"/>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51450" tIns="25725" rIns="25725" bIns="51450" numCol="1" spcCol="0" rtlCol="0" fromWordArt="0" anchor="t" anchorCtr="0" forceAA="0" compatLnSpc="1">
            <a:prstTxWarp prst="textNoShape">
              <a:avLst/>
            </a:prstTxWarp>
            <a:noAutofit/>
          </a:bodyPr>
          <a:lstStyle/>
          <a:p>
            <a:pPr marL="214287" indent="-214287">
              <a:buFont typeface="Courier New" pitchFamily="49" charset="0"/>
              <a:buChar char="o"/>
            </a:pPr>
            <a:r>
              <a:rPr lang="en-US" sz="1200" dirty="0">
                <a:latin typeface="Segoe UI Light" pitchFamily="34" charset="0"/>
              </a:rPr>
              <a:t>Single View Mgmt.</a:t>
            </a:r>
          </a:p>
          <a:p>
            <a:pPr marL="214287" indent="-214287">
              <a:buFont typeface="Courier New" pitchFamily="49" charset="0"/>
              <a:buChar char="o"/>
            </a:pPr>
            <a:r>
              <a:rPr lang="en-US" sz="1200" dirty="0">
                <a:latin typeface="Segoe UI Light" pitchFamily="34" charset="0"/>
              </a:rPr>
              <a:t>Application of Business Rules</a:t>
            </a:r>
          </a:p>
          <a:p>
            <a:pPr marL="214287" indent="-214287">
              <a:buFont typeface="Courier New" pitchFamily="49" charset="0"/>
              <a:buChar char="o"/>
            </a:pPr>
            <a:r>
              <a:rPr lang="en-US" sz="1200" dirty="0">
                <a:latin typeface="Segoe UI Light" pitchFamily="34" charset="0"/>
              </a:rPr>
              <a:t>Automated Requests, Approvals, and Access Assignment</a:t>
            </a:r>
          </a:p>
        </p:txBody>
      </p:sp>
      <p:sp>
        <p:nvSpPr>
          <p:cNvPr id="11" name="Rectangle 10"/>
          <p:cNvSpPr/>
          <p:nvPr/>
        </p:nvSpPr>
        <p:spPr bwMode="auto">
          <a:xfrm>
            <a:off x="2717073" y="1443124"/>
            <a:ext cx="1740597" cy="1209842"/>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51450" tIns="25725" rIns="25725" bIns="51450" numCol="1" spcCol="0" rtlCol="0" fromWordArt="0" anchor="t" anchorCtr="0" forceAA="0" compatLnSpc="1">
            <a:prstTxWarp prst="textNoShape">
              <a:avLst/>
            </a:prstTxWarp>
            <a:noAutofit/>
          </a:bodyPr>
          <a:lstStyle/>
          <a:p>
            <a:pPr marL="214287" indent="-214287">
              <a:buFont typeface="Courier New" pitchFamily="49" charset="0"/>
              <a:buChar char="o"/>
            </a:pPr>
            <a:r>
              <a:rPr lang="en-US" sz="1200" dirty="0">
                <a:latin typeface="Segoe UI Light" pitchFamily="34" charset="0"/>
              </a:rPr>
              <a:t>User Sign-on Experience</a:t>
            </a:r>
          </a:p>
          <a:p>
            <a:pPr marL="214287" indent="-214287">
              <a:buFont typeface="Courier New" pitchFamily="49" charset="0"/>
              <a:buChar char="o"/>
            </a:pPr>
            <a:r>
              <a:rPr lang="en-US" sz="1200" dirty="0">
                <a:latin typeface="Segoe UI Light" pitchFamily="34" charset="0"/>
              </a:rPr>
              <a:t>Trusted Source</a:t>
            </a:r>
          </a:p>
          <a:p>
            <a:pPr marL="214287" indent="-214287">
              <a:buFont typeface="Courier New" pitchFamily="49" charset="0"/>
              <a:buChar char="o"/>
            </a:pPr>
            <a:r>
              <a:rPr lang="en-US" sz="1200" dirty="0">
                <a:latin typeface="Segoe UI Light" pitchFamily="34" charset="0"/>
              </a:rPr>
              <a:t>Standard and Secure Protocols</a:t>
            </a:r>
          </a:p>
          <a:p>
            <a:pPr marL="214287" indent="-214287">
              <a:buFont typeface="Courier New" pitchFamily="49" charset="0"/>
              <a:buChar char="o"/>
            </a:pPr>
            <a:r>
              <a:rPr lang="en-US" sz="1200" dirty="0">
                <a:latin typeface="Segoe UI Light" pitchFamily="34" charset="0"/>
              </a:rPr>
              <a:t>Level of Assurance</a:t>
            </a:r>
          </a:p>
        </p:txBody>
      </p:sp>
      <p:sp>
        <p:nvSpPr>
          <p:cNvPr id="12" name="Rectangle 11"/>
          <p:cNvSpPr/>
          <p:nvPr/>
        </p:nvSpPr>
        <p:spPr bwMode="auto">
          <a:xfrm>
            <a:off x="4546820" y="1443124"/>
            <a:ext cx="1833390" cy="1381904"/>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51450" tIns="25725" rIns="25725" bIns="51450" numCol="1" spcCol="0" rtlCol="0" fromWordArt="0" anchor="t" anchorCtr="0" forceAA="0" compatLnSpc="1">
            <a:prstTxWarp prst="textNoShape">
              <a:avLst/>
            </a:prstTxWarp>
            <a:noAutofit/>
          </a:bodyPr>
          <a:lstStyle/>
          <a:p>
            <a:pPr marL="214287" indent="-214287">
              <a:buFont typeface="Courier New" pitchFamily="49" charset="0"/>
              <a:buChar char="o"/>
            </a:pPr>
            <a:r>
              <a:rPr lang="en-US" sz="1200" dirty="0">
                <a:latin typeface="Segoe UI Light" pitchFamily="34" charset="0"/>
              </a:rPr>
              <a:t>How and where are authorizations handled</a:t>
            </a:r>
          </a:p>
          <a:p>
            <a:pPr marL="214287" indent="-214287">
              <a:buFont typeface="Courier New" pitchFamily="49" charset="0"/>
              <a:buChar char="o"/>
            </a:pPr>
            <a:r>
              <a:rPr lang="en-US" sz="1200" dirty="0">
                <a:latin typeface="Segoe UI Light" pitchFamily="34" charset="0"/>
              </a:rPr>
              <a:t>Can a user access the resource and what can they do when they access it?</a:t>
            </a:r>
            <a:endParaRPr lang="en-US" dirty="0" smtClean="0"/>
          </a:p>
          <a:p>
            <a:endParaRPr lang="en-US" dirty="0"/>
          </a:p>
        </p:txBody>
      </p:sp>
      <p:sp>
        <p:nvSpPr>
          <p:cNvPr id="13" name="Freeform 81"/>
          <p:cNvSpPr>
            <a:spLocks/>
          </p:cNvSpPr>
          <p:nvPr/>
        </p:nvSpPr>
        <p:spPr bwMode="black">
          <a:xfrm>
            <a:off x="1430640" y="2825035"/>
            <a:ext cx="645409" cy="796817"/>
          </a:xfrm>
          <a:custGeom>
            <a:avLst/>
            <a:gdLst>
              <a:gd name="T0" fmla="*/ 230 w 256"/>
              <a:gd name="T1" fmla="*/ 221 h 349"/>
              <a:gd name="T2" fmla="*/ 256 w 256"/>
              <a:gd name="T3" fmla="*/ 202 h 349"/>
              <a:gd name="T4" fmla="*/ 232 w 256"/>
              <a:gd name="T5" fmla="*/ 184 h 349"/>
              <a:gd name="T6" fmla="*/ 239 w 256"/>
              <a:gd name="T7" fmla="*/ 170 h 349"/>
              <a:gd name="T8" fmla="*/ 217 w 256"/>
              <a:gd name="T9" fmla="*/ 152 h 349"/>
              <a:gd name="T10" fmla="*/ 187 w 256"/>
              <a:gd name="T11" fmla="*/ 152 h 349"/>
              <a:gd name="T12" fmla="*/ 187 w 256"/>
              <a:gd name="T13" fmla="*/ 91 h 349"/>
              <a:gd name="T14" fmla="*/ 217 w 256"/>
              <a:gd name="T15" fmla="*/ 45 h 349"/>
              <a:gd name="T16" fmla="*/ 203 w 256"/>
              <a:gd name="T17" fmla="*/ 10 h 349"/>
              <a:gd name="T18" fmla="*/ 166 w 256"/>
              <a:gd name="T19" fmla="*/ 58 h 349"/>
              <a:gd name="T20" fmla="*/ 130 w 256"/>
              <a:gd name="T21" fmla="*/ 10 h 349"/>
              <a:gd name="T22" fmla="*/ 116 w 256"/>
              <a:gd name="T23" fmla="*/ 45 h 349"/>
              <a:gd name="T24" fmla="*/ 146 w 256"/>
              <a:gd name="T25" fmla="*/ 91 h 349"/>
              <a:gd name="T26" fmla="*/ 146 w 256"/>
              <a:gd name="T27" fmla="*/ 121 h 349"/>
              <a:gd name="T28" fmla="*/ 143 w 256"/>
              <a:gd name="T29" fmla="*/ 119 h 349"/>
              <a:gd name="T30" fmla="*/ 99 w 256"/>
              <a:gd name="T31" fmla="*/ 126 h 349"/>
              <a:gd name="T32" fmla="*/ 45 w 256"/>
              <a:gd name="T33" fmla="*/ 162 h 349"/>
              <a:gd name="T34" fmla="*/ 0 w 256"/>
              <a:gd name="T35" fmla="*/ 162 h 349"/>
              <a:gd name="T36" fmla="*/ 0 w 256"/>
              <a:gd name="T37" fmla="*/ 272 h 349"/>
              <a:gd name="T38" fmla="*/ 70 w 256"/>
              <a:gd name="T39" fmla="*/ 277 h 349"/>
              <a:gd name="T40" fmla="*/ 132 w 256"/>
              <a:gd name="T41" fmla="*/ 286 h 349"/>
              <a:gd name="T42" fmla="*/ 127 w 256"/>
              <a:gd name="T43" fmla="*/ 273 h 349"/>
              <a:gd name="T44" fmla="*/ 139 w 256"/>
              <a:gd name="T45" fmla="*/ 255 h 349"/>
              <a:gd name="T46" fmla="*/ 125 w 256"/>
              <a:gd name="T47" fmla="*/ 237 h 349"/>
              <a:gd name="T48" fmla="*/ 140 w 256"/>
              <a:gd name="T49" fmla="*/ 219 h 349"/>
              <a:gd name="T50" fmla="*/ 125 w 256"/>
              <a:gd name="T51" fmla="*/ 201 h 349"/>
              <a:gd name="T52" fmla="*/ 138 w 256"/>
              <a:gd name="T53" fmla="*/ 185 h 349"/>
              <a:gd name="T54" fmla="*/ 125 w 256"/>
              <a:gd name="T55" fmla="*/ 167 h 349"/>
              <a:gd name="T56" fmla="*/ 146 w 256"/>
              <a:gd name="T57" fmla="*/ 148 h 349"/>
              <a:gd name="T58" fmla="*/ 146 w 256"/>
              <a:gd name="T59" fmla="*/ 155 h 349"/>
              <a:gd name="T60" fmla="*/ 137 w 256"/>
              <a:gd name="T61" fmla="*/ 170 h 349"/>
              <a:gd name="T62" fmla="*/ 146 w 256"/>
              <a:gd name="T63" fmla="*/ 185 h 349"/>
              <a:gd name="T64" fmla="*/ 146 w 256"/>
              <a:gd name="T65" fmla="*/ 188 h 349"/>
              <a:gd name="T66" fmla="*/ 137 w 256"/>
              <a:gd name="T67" fmla="*/ 202 h 349"/>
              <a:gd name="T68" fmla="*/ 146 w 256"/>
              <a:gd name="T69" fmla="*/ 216 h 349"/>
              <a:gd name="T70" fmla="*/ 146 w 256"/>
              <a:gd name="T71" fmla="*/ 224 h 349"/>
              <a:gd name="T72" fmla="*/ 137 w 256"/>
              <a:gd name="T73" fmla="*/ 239 h 349"/>
              <a:gd name="T74" fmla="*/ 146 w 256"/>
              <a:gd name="T75" fmla="*/ 254 h 349"/>
              <a:gd name="T76" fmla="*/ 146 w 256"/>
              <a:gd name="T77" fmla="*/ 261 h 349"/>
              <a:gd name="T78" fmla="*/ 139 w 256"/>
              <a:gd name="T79" fmla="*/ 276 h 349"/>
              <a:gd name="T80" fmla="*/ 146 w 256"/>
              <a:gd name="T81" fmla="*/ 291 h 349"/>
              <a:gd name="T82" fmla="*/ 146 w 256"/>
              <a:gd name="T83" fmla="*/ 324 h 349"/>
              <a:gd name="T84" fmla="*/ 167 w 256"/>
              <a:gd name="T85" fmla="*/ 349 h 349"/>
              <a:gd name="T86" fmla="*/ 187 w 256"/>
              <a:gd name="T87" fmla="*/ 324 h 349"/>
              <a:gd name="T88" fmla="*/ 187 w 256"/>
              <a:gd name="T89" fmla="*/ 294 h 349"/>
              <a:gd name="T90" fmla="*/ 207 w 256"/>
              <a:gd name="T91" fmla="*/ 294 h 349"/>
              <a:gd name="T92" fmla="*/ 226 w 256"/>
              <a:gd name="T93" fmla="*/ 276 h 349"/>
              <a:gd name="T94" fmla="*/ 207 w 256"/>
              <a:gd name="T95" fmla="*/ 257 h 349"/>
              <a:gd name="T96" fmla="*/ 187 w 256"/>
              <a:gd name="T97" fmla="*/ 257 h 349"/>
              <a:gd name="T98" fmla="*/ 187 w 256"/>
              <a:gd name="T99" fmla="*/ 257 h 349"/>
              <a:gd name="T100" fmla="*/ 217 w 256"/>
              <a:gd name="T101" fmla="*/ 257 h 349"/>
              <a:gd name="T102" fmla="*/ 239 w 256"/>
              <a:gd name="T103" fmla="*/ 239 h 349"/>
              <a:gd name="T104" fmla="*/ 217 w 256"/>
              <a:gd name="T105" fmla="*/ 221 h 349"/>
              <a:gd name="T106" fmla="*/ 187 w 256"/>
              <a:gd name="T107" fmla="*/ 221 h 349"/>
              <a:gd name="T108" fmla="*/ 187 w 256"/>
              <a:gd name="T109" fmla="*/ 221 h 349"/>
              <a:gd name="T110" fmla="*/ 230 w 256"/>
              <a:gd name="T111" fmla="*/ 221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49">
                <a:moveTo>
                  <a:pt x="230" y="221"/>
                </a:moveTo>
                <a:cubicBezTo>
                  <a:pt x="245" y="221"/>
                  <a:pt x="256" y="212"/>
                  <a:pt x="256" y="202"/>
                </a:cubicBezTo>
                <a:cubicBezTo>
                  <a:pt x="256" y="192"/>
                  <a:pt x="245" y="184"/>
                  <a:pt x="232" y="184"/>
                </a:cubicBezTo>
                <a:cubicBezTo>
                  <a:pt x="236" y="180"/>
                  <a:pt x="239" y="175"/>
                  <a:pt x="239" y="170"/>
                </a:cubicBezTo>
                <a:cubicBezTo>
                  <a:pt x="239" y="160"/>
                  <a:pt x="229" y="152"/>
                  <a:pt x="217" y="152"/>
                </a:cubicBezTo>
                <a:cubicBezTo>
                  <a:pt x="187" y="152"/>
                  <a:pt x="187" y="152"/>
                  <a:pt x="187" y="152"/>
                </a:cubicBezTo>
                <a:cubicBezTo>
                  <a:pt x="187" y="91"/>
                  <a:pt x="187" y="91"/>
                  <a:pt x="187" y="91"/>
                </a:cubicBezTo>
                <a:cubicBezTo>
                  <a:pt x="205" y="83"/>
                  <a:pt x="217" y="66"/>
                  <a:pt x="217" y="45"/>
                </a:cubicBezTo>
                <a:cubicBezTo>
                  <a:pt x="217" y="31"/>
                  <a:pt x="203" y="0"/>
                  <a:pt x="203" y="10"/>
                </a:cubicBezTo>
                <a:cubicBezTo>
                  <a:pt x="204" y="24"/>
                  <a:pt x="195" y="58"/>
                  <a:pt x="166" y="58"/>
                </a:cubicBezTo>
                <a:cubicBezTo>
                  <a:pt x="140" y="58"/>
                  <a:pt x="129" y="30"/>
                  <a:pt x="130" y="10"/>
                </a:cubicBezTo>
                <a:cubicBezTo>
                  <a:pt x="130" y="3"/>
                  <a:pt x="116" y="32"/>
                  <a:pt x="116" y="45"/>
                </a:cubicBezTo>
                <a:cubicBezTo>
                  <a:pt x="116" y="66"/>
                  <a:pt x="129" y="84"/>
                  <a:pt x="146" y="91"/>
                </a:cubicBezTo>
                <a:cubicBezTo>
                  <a:pt x="146" y="121"/>
                  <a:pt x="146" y="121"/>
                  <a:pt x="146" y="121"/>
                </a:cubicBezTo>
                <a:cubicBezTo>
                  <a:pt x="143" y="119"/>
                  <a:pt x="143" y="119"/>
                  <a:pt x="143" y="119"/>
                </a:cubicBezTo>
                <a:cubicBezTo>
                  <a:pt x="143" y="119"/>
                  <a:pt x="110" y="122"/>
                  <a:pt x="99" y="126"/>
                </a:cubicBezTo>
                <a:cubicBezTo>
                  <a:pt x="87" y="131"/>
                  <a:pt x="63" y="162"/>
                  <a:pt x="45" y="162"/>
                </a:cubicBezTo>
                <a:cubicBezTo>
                  <a:pt x="26" y="162"/>
                  <a:pt x="0" y="162"/>
                  <a:pt x="0" y="162"/>
                </a:cubicBezTo>
                <a:cubicBezTo>
                  <a:pt x="0" y="272"/>
                  <a:pt x="0" y="272"/>
                  <a:pt x="0" y="272"/>
                </a:cubicBezTo>
                <a:cubicBezTo>
                  <a:pt x="0" y="272"/>
                  <a:pt x="47" y="272"/>
                  <a:pt x="70" y="277"/>
                </a:cubicBezTo>
                <a:cubicBezTo>
                  <a:pt x="86" y="280"/>
                  <a:pt x="110" y="284"/>
                  <a:pt x="132" y="286"/>
                </a:cubicBezTo>
                <a:cubicBezTo>
                  <a:pt x="129" y="283"/>
                  <a:pt x="127" y="278"/>
                  <a:pt x="127" y="273"/>
                </a:cubicBezTo>
                <a:cubicBezTo>
                  <a:pt x="127" y="265"/>
                  <a:pt x="132" y="258"/>
                  <a:pt x="139" y="255"/>
                </a:cubicBezTo>
                <a:cubicBezTo>
                  <a:pt x="131" y="252"/>
                  <a:pt x="125" y="245"/>
                  <a:pt x="125" y="237"/>
                </a:cubicBezTo>
                <a:cubicBezTo>
                  <a:pt x="125" y="229"/>
                  <a:pt x="131" y="222"/>
                  <a:pt x="140" y="219"/>
                </a:cubicBezTo>
                <a:cubicBezTo>
                  <a:pt x="131" y="216"/>
                  <a:pt x="125" y="209"/>
                  <a:pt x="125" y="201"/>
                </a:cubicBezTo>
                <a:cubicBezTo>
                  <a:pt x="125" y="194"/>
                  <a:pt x="130" y="188"/>
                  <a:pt x="138" y="185"/>
                </a:cubicBezTo>
                <a:cubicBezTo>
                  <a:pt x="130" y="182"/>
                  <a:pt x="125" y="175"/>
                  <a:pt x="125" y="167"/>
                </a:cubicBezTo>
                <a:cubicBezTo>
                  <a:pt x="125" y="157"/>
                  <a:pt x="135" y="148"/>
                  <a:pt x="146" y="148"/>
                </a:cubicBezTo>
                <a:cubicBezTo>
                  <a:pt x="146" y="155"/>
                  <a:pt x="146" y="155"/>
                  <a:pt x="146" y="155"/>
                </a:cubicBezTo>
                <a:cubicBezTo>
                  <a:pt x="141" y="158"/>
                  <a:pt x="137" y="164"/>
                  <a:pt x="137" y="170"/>
                </a:cubicBezTo>
                <a:cubicBezTo>
                  <a:pt x="137" y="176"/>
                  <a:pt x="141" y="182"/>
                  <a:pt x="146" y="185"/>
                </a:cubicBezTo>
                <a:cubicBezTo>
                  <a:pt x="146" y="188"/>
                  <a:pt x="146" y="188"/>
                  <a:pt x="146" y="188"/>
                </a:cubicBezTo>
                <a:cubicBezTo>
                  <a:pt x="141" y="191"/>
                  <a:pt x="137" y="196"/>
                  <a:pt x="137" y="202"/>
                </a:cubicBezTo>
                <a:cubicBezTo>
                  <a:pt x="137" y="208"/>
                  <a:pt x="141" y="213"/>
                  <a:pt x="146" y="216"/>
                </a:cubicBezTo>
                <a:cubicBezTo>
                  <a:pt x="146" y="224"/>
                  <a:pt x="146" y="224"/>
                  <a:pt x="146" y="224"/>
                </a:cubicBezTo>
                <a:cubicBezTo>
                  <a:pt x="141" y="227"/>
                  <a:pt x="137" y="233"/>
                  <a:pt x="137" y="239"/>
                </a:cubicBezTo>
                <a:cubicBezTo>
                  <a:pt x="137" y="245"/>
                  <a:pt x="141" y="251"/>
                  <a:pt x="146" y="254"/>
                </a:cubicBezTo>
                <a:cubicBezTo>
                  <a:pt x="146" y="261"/>
                  <a:pt x="146" y="261"/>
                  <a:pt x="146" y="261"/>
                </a:cubicBezTo>
                <a:cubicBezTo>
                  <a:pt x="142" y="264"/>
                  <a:pt x="139" y="270"/>
                  <a:pt x="139" y="276"/>
                </a:cubicBezTo>
                <a:cubicBezTo>
                  <a:pt x="139" y="282"/>
                  <a:pt x="142" y="287"/>
                  <a:pt x="146" y="291"/>
                </a:cubicBezTo>
                <a:cubicBezTo>
                  <a:pt x="146" y="324"/>
                  <a:pt x="146" y="324"/>
                  <a:pt x="146" y="324"/>
                </a:cubicBezTo>
                <a:cubicBezTo>
                  <a:pt x="146" y="338"/>
                  <a:pt x="156" y="349"/>
                  <a:pt x="167" y="349"/>
                </a:cubicBezTo>
                <a:cubicBezTo>
                  <a:pt x="178" y="349"/>
                  <a:pt x="187" y="338"/>
                  <a:pt x="187" y="324"/>
                </a:cubicBezTo>
                <a:cubicBezTo>
                  <a:pt x="187" y="294"/>
                  <a:pt x="187" y="294"/>
                  <a:pt x="187" y="294"/>
                </a:cubicBezTo>
                <a:cubicBezTo>
                  <a:pt x="207" y="294"/>
                  <a:pt x="207" y="294"/>
                  <a:pt x="207" y="294"/>
                </a:cubicBezTo>
                <a:cubicBezTo>
                  <a:pt x="217" y="294"/>
                  <a:pt x="226" y="286"/>
                  <a:pt x="226" y="276"/>
                </a:cubicBezTo>
                <a:cubicBezTo>
                  <a:pt x="226" y="266"/>
                  <a:pt x="217" y="257"/>
                  <a:pt x="207" y="257"/>
                </a:cubicBezTo>
                <a:cubicBezTo>
                  <a:pt x="187" y="257"/>
                  <a:pt x="187" y="257"/>
                  <a:pt x="187" y="257"/>
                </a:cubicBezTo>
                <a:cubicBezTo>
                  <a:pt x="187" y="257"/>
                  <a:pt x="187" y="257"/>
                  <a:pt x="187" y="257"/>
                </a:cubicBezTo>
                <a:cubicBezTo>
                  <a:pt x="217" y="257"/>
                  <a:pt x="217" y="257"/>
                  <a:pt x="217" y="257"/>
                </a:cubicBezTo>
                <a:cubicBezTo>
                  <a:pt x="229" y="257"/>
                  <a:pt x="239" y="249"/>
                  <a:pt x="239" y="239"/>
                </a:cubicBezTo>
                <a:cubicBezTo>
                  <a:pt x="239" y="229"/>
                  <a:pt x="229" y="221"/>
                  <a:pt x="217" y="221"/>
                </a:cubicBezTo>
                <a:cubicBezTo>
                  <a:pt x="187" y="221"/>
                  <a:pt x="187" y="221"/>
                  <a:pt x="187" y="221"/>
                </a:cubicBezTo>
                <a:cubicBezTo>
                  <a:pt x="187" y="221"/>
                  <a:pt x="187" y="221"/>
                  <a:pt x="187" y="221"/>
                </a:cubicBezTo>
                <a:lnTo>
                  <a:pt x="230" y="221"/>
                </a:lnTo>
                <a:close/>
              </a:path>
            </a:pathLst>
          </a:custGeom>
          <a:solidFill>
            <a:srgbClr val="FFFFFF"/>
          </a:solidFill>
          <a:ln>
            <a:noFill/>
          </a:ln>
        </p:spPr>
        <p:txBody>
          <a:bodyPr vert="horz" wrap="square" lIns="61720" tIns="30860" rIns="61720" bIns="30860" numCol="1" anchor="t" anchorCtr="0" compatLnSpc="1">
            <a:prstTxWarp prst="textNoShape">
              <a:avLst/>
            </a:prstTxWarp>
          </a:bodyPr>
          <a:lstStyle/>
          <a:p>
            <a:endParaRPr lang="en-US" sz="1200" dirty="0"/>
          </a:p>
        </p:txBody>
      </p:sp>
      <p:sp>
        <p:nvSpPr>
          <p:cNvPr id="14" name="Freeform 13"/>
          <p:cNvSpPr>
            <a:spLocks noEditPoints="1"/>
          </p:cNvSpPr>
          <p:nvPr/>
        </p:nvSpPr>
        <p:spPr bwMode="black">
          <a:xfrm rot="900000">
            <a:off x="7022488" y="2945380"/>
            <a:ext cx="590879" cy="724457"/>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FFFFFF"/>
          </a:solidFill>
          <a:ln>
            <a:noFill/>
          </a:ln>
        </p:spPr>
        <p:txBody>
          <a:bodyPr vert="horz" wrap="square" lIns="61720" tIns="30860" rIns="61720" bIns="3086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200" dirty="0"/>
          </a:p>
        </p:txBody>
      </p:sp>
      <p:sp>
        <p:nvSpPr>
          <p:cNvPr id="15" name="Freeform 14"/>
          <p:cNvSpPr>
            <a:spLocks noEditPoints="1"/>
          </p:cNvSpPr>
          <p:nvPr/>
        </p:nvSpPr>
        <p:spPr bwMode="black">
          <a:xfrm>
            <a:off x="5053102" y="2927925"/>
            <a:ext cx="819939" cy="682133"/>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61720" tIns="30860" rIns="61720" bIns="3086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200" dirty="0"/>
          </a:p>
        </p:txBody>
      </p:sp>
      <p:sp>
        <p:nvSpPr>
          <p:cNvPr id="16" name="Freeform 15"/>
          <p:cNvSpPr>
            <a:spLocks noEditPoints="1"/>
          </p:cNvSpPr>
          <p:nvPr/>
        </p:nvSpPr>
        <p:spPr bwMode="black">
          <a:xfrm>
            <a:off x="3272789" y="2875853"/>
            <a:ext cx="567280" cy="786275"/>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p:spPr>
        <p:txBody>
          <a:bodyPr vert="horz" wrap="square" lIns="61720" tIns="30860" rIns="61720" bIns="3086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200" dirty="0"/>
          </a:p>
        </p:txBody>
      </p:sp>
      <p:sp>
        <p:nvSpPr>
          <p:cNvPr id="17" name="Rectangle 16"/>
          <p:cNvSpPr/>
          <p:nvPr/>
        </p:nvSpPr>
        <p:spPr>
          <a:xfrm>
            <a:off x="6401240" y="1232847"/>
            <a:ext cx="1833391" cy="15036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en-US" dirty="0">
              <a:solidFill>
                <a:schemeClr val="bg1">
                  <a:lumMod val="85000"/>
                  <a:lumOff val="15000"/>
                </a:schemeClr>
              </a:solidFill>
            </a:endParaRPr>
          </a:p>
        </p:txBody>
      </p:sp>
      <p:sp>
        <p:nvSpPr>
          <p:cNvPr id="18" name="Rectangle 17"/>
          <p:cNvSpPr/>
          <p:nvPr/>
        </p:nvSpPr>
        <p:spPr>
          <a:xfrm>
            <a:off x="4546376" y="1232847"/>
            <a:ext cx="1833391" cy="15036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en-US" dirty="0">
              <a:solidFill>
                <a:schemeClr val="bg1">
                  <a:lumMod val="85000"/>
                  <a:lumOff val="15000"/>
                </a:schemeClr>
              </a:solidFill>
            </a:endParaRPr>
          </a:p>
        </p:txBody>
      </p:sp>
      <p:sp>
        <p:nvSpPr>
          <p:cNvPr id="19" name="Rectangle 18"/>
          <p:cNvSpPr/>
          <p:nvPr/>
        </p:nvSpPr>
        <p:spPr>
          <a:xfrm>
            <a:off x="2691513" y="1232847"/>
            <a:ext cx="1833391" cy="15036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en-US" dirty="0">
              <a:solidFill>
                <a:schemeClr val="bg1">
                  <a:lumMod val="85000"/>
                  <a:lumOff val="15000"/>
                </a:schemeClr>
              </a:solidFill>
            </a:endParaRPr>
          </a:p>
        </p:txBody>
      </p:sp>
      <p:sp>
        <p:nvSpPr>
          <p:cNvPr id="20" name="Rectangle 19"/>
          <p:cNvSpPr/>
          <p:nvPr/>
        </p:nvSpPr>
        <p:spPr>
          <a:xfrm>
            <a:off x="836650" y="1232847"/>
            <a:ext cx="1833391" cy="15036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en-US" dirty="0">
              <a:solidFill>
                <a:schemeClr val="bg1">
                  <a:lumMod val="85000"/>
                  <a:lumOff val="15000"/>
                </a:schemeClr>
              </a:solidFill>
            </a:endParaRPr>
          </a:p>
        </p:txBody>
      </p:sp>
      <p:cxnSp>
        <p:nvCxnSpPr>
          <p:cNvPr id="21" name="Straight Connector 20"/>
          <p:cNvCxnSpPr/>
          <p:nvPr/>
        </p:nvCxnSpPr>
        <p:spPr>
          <a:xfrm>
            <a:off x="2678191" y="1388100"/>
            <a:ext cx="0" cy="254027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4535413" y="1382832"/>
            <a:ext cx="0" cy="254027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6393974" y="1382829"/>
            <a:ext cx="0" cy="254027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5"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
              </a:rPr>
              <a:t>www.rapidbbs.cn</a:t>
            </a:r>
            <a:endParaRPr lang="zh-CN" altLang="en-US" sz="1200" b="0">
              <a:latin typeface="Arial" charset="0"/>
              <a:ea typeface="ＭＳ Ｐゴシック" pitchFamily="34" charset="-128"/>
            </a:endParaRPr>
          </a:p>
        </p:txBody>
      </p:sp>
      <p:pic>
        <p:nvPicPr>
          <p:cNvPr id="26" name="Picture 2">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37515078"/>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9671" y="8218"/>
            <a:ext cx="9413677" cy="7058420"/>
          </a:xfrm>
          <a:prstGeom prst="rect">
            <a:avLst/>
          </a:prstGeom>
        </p:spPr>
      </p:pic>
      <p:sp>
        <p:nvSpPr>
          <p:cNvPr id="3" name="TextBox 2"/>
          <p:cNvSpPr txBox="1"/>
          <p:nvPr/>
        </p:nvSpPr>
        <p:spPr>
          <a:xfrm>
            <a:off x="-3224099" y="960126"/>
            <a:ext cx="9719850" cy="530915"/>
          </a:xfrm>
          <a:prstGeom prst="rect">
            <a:avLst/>
          </a:prstGeom>
          <a:solidFill>
            <a:srgbClr val="0070C0">
              <a:alpha val="62000"/>
            </a:srgbClr>
          </a:solidFill>
        </p:spPr>
        <p:txBody>
          <a:bodyPr wrap="square" lIns="68571" tIns="34286" rIns="68571" bIns="34286" rtlCol="0">
            <a:spAutoFit/>
          </a:bodyPr>
          <a:lstStyle/>
          <a:p>
            <a:pPr algn="r"/>
            <a:r>
              <a:rPr lang="en-US" sz="3000" dirty="0">
                <a:latin typeface="Segoe" pitchFamily="34" charset="0"/>
              </a:rPr>
              <a:t>On-demand Self Service </a:t>
            </a:r>
            <a:endParaRPr lang="en-GB" sz="3000" dirty="0">
              <a:latin typeface="Segoe" pitchFamily="34" charset="0"/>
            </a:endParaRPr>
          </a:p>
        </p:txBody>
      </p:sp>
      <p:pic>
        <p:nvPicPr>
          <p:cNvPr id="4" name="Content Placeholder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5811" y="728310"/>
            <a:ext cx="897249" cy="1042780"/>
          </a:xfrm>
          <a:prstGeom prst="rect">
            <a:avLst/>
          </a:prstGeom>
        </p:spPr>
      </p:pic>
      <p:sp>
        <p:nvSpPr>
          <p:cNvPr id="5" name="TextBox 4"/>
          <p:cNvSpPr txBox="1"/>
          <p:nvPr/>
        </p:nvSpPr>
        <p:spPr>
          <a:xfrm>
            <a:off x="-3225506" y="1783086"/>
            <a:ext cx="9719850" cy="530915"/>
          </a:xfrm>
          <a:prstGeom prst="rect">
            <a:avLst/>
          </a:prstGeom>
          <a:solidFill>
            <a:srgbClr val="0070C0">
              <a:alpha val="62000"/>
            </a:srgbClr>
          </a:solidFill>
        </p:spPr>
        <p:txBody>
          <a:bodyPr wrap="square" lIns="68571" tIns="34286" rIns="68571" bIns="34286" rtlCol="0">
            <a:spAutoFit/>
          </a:bodyPr>
          <a:lstStyle/>
          <a:p>
            <a:pPr algn="r"/>
            <a:r>
              <a:rPr lang="en-US" sz="3000" dirty="0">
                <a:latin typeface="Segoe" pitchFamily="34" charset="0"/>
              </a:rPr>
              <a:t>Network Access everywhere</a:t>
            </a:r>
            <a:endParaRPr lang="en-GB" sz="3000" dirty="0">
              <a:latin typeface="Segoe" pitchFamily="34" charset="0"/>
            </a:endParaRPr>
          </a:p>
        </p:txBody>
      </p:sp>
      <p:sp>
        <p:nvSpPr>
          <p:cNvPr id="6" name="TextBox 5"/>
          <p:cNvSpPr txBox="1"/>
          <p:nvPr/>
        </p:nvSpPr>
        <p:spPr>
          <a:xfrm>
            <a:off x="-3224099" y="2606400"/>
            <a:ext cx="9719850" cy="530915"/>
          </a:xfrm>
          <a:prstGeom prst="rect">
            <a:avLst/>
          </a:prstGeom>
          <a:solidFill>
            <a:srgbClr val="0070C0">
              <a:alpha val="62000"/>
            </a:srgbClr>
          </a:solidFill>
        </p:spPr>
        <p:txBody>
          <a:bodyPr wrap="square" lIns="68571" tIns="34286" rIns="68571" bIns="34286" rtlCol="0">
            <a:spAutoFit/>
          </a:bodyPr>
          <a:lstStyle/>
          <a:p>
            <a:pPr algn="r"/>
            <a:r>
              <a:rPr lang="en-US" sz="3000" dirty="0">
                <a:latin typeface="Segoe" pitchFamily="34" charset="0"/>
              </a:rPr>
              <a:t>Resource Pooling</a:t>
            </a:r>
            <a:endParaRPr lang="en-GB" sz="3000" dirty="0">
              <a:latin typeface="Segoe" pitchFamily="34" charset="0"/>
            </a:endParaRPr>
          </a:p>
        </p:txBody>
      </p:sp>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4788" y="1684679"/>
            <a:ext cx="799393" cy="799185"/>
          </a:xfrm>
          <a:prstGeom prst="rect">
            <a:avLst/>
          </a:prstGeom>
        </p:spPr>
      </p:pic>
      <p:sp>
        <p:nvSpPr>
          <p:cNvPr id="8" name="TextBox 7"/>
          <p:cNvSpPr txBox="1"/>
          <p:nvPr/>
        </p:nvSpPr>
        <p:spPr>
          <a:xfrm>
            <a:off x="-3224099" y="3429006"/>
            <a:ext cx="9719850" cy="530915"/>
          </a:xfrm>
          <a:prstGeom prst="rect">
            <a:avLst/>
          </a:prstGeom>
          <a:solidFill>
            <a:srgbClr val="0070C0">
              <a:alpha val="62000"/>
            </a:srgbClr>
          </a:solidFill>
        </p:spPr>
        <p:txBody>
          <a:bodyPr wrap="square" lIns="68571" tIns="34286" rIns="68571" bIns="34286" rtlCol="0">
            <a:spAutoFit/>
          </a:bodyPr>
          <a:lstStyle/>
          <a:p>
            <a:pPr algn="r"/>
            <a:r>
              <a:rPr lang="en-US" sz="3000" dirty="0">
                <a:latin typeface="Segoe" pitchFamily="34" charset="0"/>
              </a:rPr>
              <a:t>Elasticity</a:t>
            </a:r>
            <a:endParaRPr lang="en-GB" sz="3000" dirty="0">
              <a:latin typeface="Segoe" pitchFamily="34" charset="0"/>
            </a:endParaRPr>
          </a:p>
        </p:txBody>
      </p:sp>
      <p:sp>
        <p:nvSpPr>
          <p:cNvPr id="9" name="TextBox 8"/>
          <p:cNvSpPr txBox="1"/>
          <p:nvPr/>
        </p:nvSpPr>
        <p:spPr>
          <a:xfrm>
            <a:off x="-3224099" y="4251966"/>
            <a:ext cx="9719850" cy="530915"/>
          </a:xfrm>
          <a:prstGeom prst="rect">
            <a:avLst/>
          </a:prstGeom>
          <a:solidFill>
            <a:srgbClr val="0070C0">
              <a:alpha val="62000"/>
            </a:srgbClr>
          </a:solidFill>
        </p:spPr>
        <p:txBody>
          <a:bodyPr wrap="square" lIns="68571" tIns="34286" rIns="68571" bIns="34286" rtlCol="0">
            <a:spAutoFit/>
          </a:bodyPr>
          <a:lstStyle/>
          <a:p>
            <a:pPr algn="r"/>
            <a:r>
              <a:rPr lang="en-US" sz="3000" dirty="0">
                <a:latin typeface="Segoe" pitchFamily="34" charset="0"/>
              </a:rPr>
              <a:t>Metered Use</a:t>
            </a:r>
            <a:endParaRPr lang="en-GB" sz="3000" dirty="0">
              <a:latin typeface="Segoe" pitchFamily="34" charset="0"/>
            </a:endParaRPr>
          </a:p>
        </p:txBody>
      </p:sp>
      <p:pic>
        <p:nvPicPr>
          <p:cNvPr id="10" name="Picture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95597" y="4070340"/>
            <a:ext cx="781986" cy="877681"/>
          </a:xfrm>
          <a:prstGeom prst="rect">
            <a:avLst/>
          </a:prstGeom>
        </p:spPr>
      </p:pic>
      <p:pic>
        <p:nvPicPr>
          <p:cNvPr id="11" name="Picture 1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14788" y="3277644"/>
            <a:ext cx="914524" cy="914286"/>
          </a:xfrm>
          <a:prstGeom prst="rect">
            <a:avLst/>
          </a:prstGeom>
        </p:spPr>
      </p:pic>
      <p:pic>
        <p:nvPicPr>
          <p:cNvPr id="12" name="Picture 1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73485" y="2485975"/>
            <a:ext cx="1081998" cy="895871"/>
          </a:xfrm>
          <a:prstGeom prst="rect">
            <a:avLst/>
          </a:prstGeom>
        </p:spPr>
      </p:pic>
      <p:sp>
        <p:nvSpPr>
          <p:cNvPr id="14"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5"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9"/>
              </a:rPr>
              <a:t>www.rapidbbs.cn</a:t>
            </a:r>
            <a:endParaRPr lang="zh-CN" altLang="en-US" sz="1200" b="0">
              <a:latin typeface="Arial" charset="0"/>
              <a:ea typeface="ＭＳ Ｐゴシック" pitchFamily="34" charset="-128"/>
            </a:endParaRPr>
          </a:p>
        </p:txBody>
      </p:sp>
      <p:pic>
        <p:nvPicPr>
          <p:cNvPr id="16" name="Picture 2">
            <a:hlinkClick r:id="rId9"/>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083691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fade">
                                      <p:cBhvr>
                                        <p:cTn id="23" dur="500"/>
                                        <p:tgtEl>
                                          <p:spTgt spid="12"/>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6"/>
                                        </p:tgtEl>
                                        <p:attrNameLst>
                                          <p:attrName>style.visibility</p:attrName>
                                        </p:attrNameLst>
                                      </p:cBhvr>
                                      <p:to>
                                        <p:strVal val="visible"/>
                                      </p:to>
                                    </p:set>
                                    <p:animEffect transition="in" filter="fade">
                                      <p:cBhvr>
                                        <p:cTn id="26" dur="500"/>
                                        <p:tgtEl>
                                          <p:spTgt spid="6"/>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8"/>
                                        </p:tgtEl>
                                        <p:attrNameLst>
                                          <p:attrName>style.visibility</p:attrName>
                                        </p:attrNameLst>
                                      </p:cBhvr>
                                      <p:to>
                                        <p:strVal val="visible"/>
                                      </p:to>
                                    </p:set>
                                    <p:animEffect transition="in" filter="fade">
                                      <p:cBhvr>
                                        <p:cTn id="34" dur="500"/>
                                        <p:tgtEl>
                                          <p:spTgt spid="8"/>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10"/>
                                        </p:tgtEl>
                                        <p:attrNameLst>
                                          <p:attrName>style.visibility</p:attrName>
                                        </p:attrNameLst>
                                      </p:cBhvr>
                                      <p:to>
                                        <p:strVal val="visible"/>
                                      </p:to>
                                    </p:set>
                                    <p:animEffect transition="in" filter="fade">
                                      <p:cBhvr>
                                        <p:cTn id="39" dur="500"/>
                                        <p:tgtEl>
                                          <p:spTgt spid="1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9"/>
                                        </p:tgtEl>
                                        <p:attrNameLst>
                                          <p:attrName>style.visibility</p:attrName>
                                        </p:attrNameLst>
                                      </p:cBhvr>
                                      <p:to>
                                        <p:strVal val="visible"/>
                                      </p:to>
                                    </p:set>
                                    <p:animEffect transition="in" filter="fade">
                                      <p:cBhvr>
                                        <p:cTn id="4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animBg="1"/>
      <p:bldP spid="6" grpId="0" animBg="1"/>
      <p:bldP spid="8" grpId="0" animBg="1"/>
      <p:bldP spid="9" grpId="0" animBg="1"/>
    </p:bldLst>
  </p:timing>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ministration</a:t>
            </a:r>
            <a:endParaRPr lang="en-US" dirty="0"/>
          </a:p>
        </p:txBody>
      </p:sp>
      <p:sp>
        <p:nvSpPr>
          <p:cNvPr id="4" name="Rectangle 3"/>
          <p:cNvSpPr/>
          <p:nvPr/>
        </p:nvSpPr>
        <p:spPr bwMode="auto">
          <a:xfrm>
            <a:off x="447251" y="2114551"/>
            <a:ext cx="4471568" cy="2169806"/>
          </a:xfrm>
          <a:prstGeom prst="rect">
            <a:avLst/>
          </a:prstGeom>
          <a:solidFill>
            <a:schemeClr val="accent1"/>
          </a:solidFill>
          <a:ln w="28575" cap="flat" cmpd="sng" algn="ctr">
            <a:solidFill>
              <a:schemeClr val="tx1"/>
            </a:solidFill>
            <a:prstDash val="solid"/>
            <a:headEnd type="none" w="med" len="med"/>
            <a:tailEnd type="none" w="med" len="med"/>
          </a:ln>
          <a:effectLst/>
        </p:spPr>
        <p:txBody>
          <a:bodyPr rot="0" spcFirstLastPara="0" vertOverflow="overflow" horzOverflow="overflow" vert="horz" wrap="square" lIns="51450" tIns="25725" rIns="25725" bIns="51450" numCol="1" spcCol="0" rtlCol="0" fromWordArt="0" anchor="t" anchorCtr="0" forceAA="0" compatLnSpc="1">
            <a:prstTxWarp prst="textNoShape">
              <a:avLst/>
            </a:prstTxWarp>
            <a:noAutofit/>
          </a:bodyPr>
          <a:lstStyle/>
          <a:p>
            <a:pPr marL="214287" indent="-214287">
              <a:buFont typeface="Arial" pitchFamily="34" charset="0"/>
              <a:buChar char="•"/>
            </a:pPr>
            <a:endParaRPr lang="en-US" dirty="0" smtClean="0"/>
          </a:p>
        </p:txBody>
      </p:sp>
      <p:sp>
        <p:nvSpPr>
          <p:cNvPr id="5" name="Rectangle 4"/>
          <p:cNvSpPr/>
          <p:nvPr/>
        </p:nvSpPr>
        <p:spPr bwMode="auto">
          <a:xfrm>
            <a:off x="460547" y="973370"/>
            <a:ext cx="1059475" cy="896901"/>
          </a:xfrm>
          <a:prstGeom prst="rect">
            <a:avLst/>
          </a:prstGeom>
          <a:solidFill>
            <a:schemeClr val="accent1"/>
          </a:solidFill>
          <a:ln w="28575" cap="flat" cmpd="sng" algn="ctr">
            <a:solidFill>
              <a:schemeClr val="tx1"/>
            </a:solidFill>
            <a:prstDash val="solid"/>
            <a:headEnd type="none" w="med" len="med"/>
            <a:tailEnd type="none" w="med" len="med"/>
          </a:ln>
          <a:effectLst/>
        </p:spPr>
        <p:txBody>
          <a:bodyPr rot="0" spcFirstLastPara="0" vertOverflow="overflow" horzOverflow="overflow" vert="horz" wrap="square" lIns="51450" tIns="25725" rIns="25725" bIns="51450" numCol="1" spcCol="0" rtlCol="0" fromWordArt="0" anchor="t" anchorCtr="0" forceAA="0" compatLnSpc="1">
            <a:prstTxWarp prst="textNoShape">
              <a:avLst/>
            </a:prstTxWarp>
            <a:noAutofit/>
          </a:bodyPr>
          <a:lstStyle/>
          <a:p>
            <a:pPr marL="214287" indent="-214287">
              <a:buFont typeface="Arial" pitchFamily="34" charset="0"/>
              <a:buChar char="•"/>
            </a:pPr>
            <a:endParaRPr lang="en-US" dirty="0" smtClean="0"/>
          </a:p>
        </p:txBody>
      </p:sp>
      <p:sp>
        <p:nvSpPr>
          <p:cNvPr id="7" name="Rectangle 6"/>
          <p:cNvSpPr/>
          <p:nvPr/>
        </p:nvSpPr>
        <p:spPr bwMode="auto">
          <a:xfrm>
            <a:off x="460547" y="1872563"/>
            <a:ext cx="1059475" cy="166017"/>
          </a:xfrm>
          <a:prstGeom prst="rect">
            <a:avLst/>
          </a:prstGeom>
          <a:solidFill>
            <a:schemeClr val="tx1"/>
          </a:solidFill>
          <a:ln w="28575" cap="flat" cmpd="sng" algn="ctr">
            <a:solidFill>
              <a:schemeClr val="tx1"/>
            </a:solidFill>
            <a:prstDash val="solid"/>
            <a:headEnd type="none" w="med" len="med"/>
            <a:tailEnd type="none" w="med" len="med"/>
          </a:ln>
          <a:effectLst/>
        </p:spPr>
        <p:txBody>
          <a:bodyPr rot="0" spcFirstLastPara="0" vertOverflow="overflow" horzOverflow="overflow" vert="horz" wrap="square" lIns="51450" tIns="25725" rIns="25725" bIns="51450" numCol="1" spcCol="0" rtlCol="0" fromWordArt="0" anchor="t" anchorCtr="0" forceAA="0" compatLnSpc="1">
            <a:prstTxWarp prst="textNoShape">
              <a:avLst/>
            </a:prstTxWarp>
            <a:noAutofit/>
          </a:bodyPr>
          <a:lstStyle/>
          <a:p>
            <a:pPr algn="ctr"/>
            <a:r>
              <a:rPr lang="en-US" sz="800" b="1" dirty="0">
                <a:solidFill>
                  <a:schemeClr val="accent1"/>
                </a:solidFill>
                <a:latin typeface="Segoe UI Light" pitchFamily="34" charset="0"/>
              </a:rPr>
              <a:t>ADMINISTRATION</a:t>
            </a:r>
          </a:p>
          <a:p>
            <a:pPr fontAlgn="base">
              <a:spcBef>
                <a:spcPct val="0"/>
              </a:spcBef>
              <a:spcAft>
                <a:spcPct val="0"/>
              </a:spcAft>
            </a:pPr>
            <a:endParaRPr lang="en-US" sz="800" b="1" kern="0" spc="-29" dirty="0">
              <a:solidFill>
                <a:schemeClr val="accent1"/>
              </a:solidFill>
              <a:latin typeface="Segoe WP" pitchFamily="34" charset="0"/>
              <a:ea typeface="Segoe UI" pitchFamily="34" charset="0"/>
              <a:cs typeface="Segoe UI" pitchFamily="34" charset="0"/>
            </a:endParaRPr>
          </a:p>
        </p:txBody>
      </p:sp>
      <p:sp>
        <p:nvSpPr>
          <p:cNvPr id="8" name="Freeform 81"/>
          <p:cNvSpPr>
            <a:spLocks/>
          </p:cNvSpPr>
          <p:nvPr/>
        </p:nvSpPr>
        <p:spPr bwMode="black">
          <a:xfrm>
            <a:off x="810062" y="1174659"/>
            <a:ext cx="346115" cy="471155"/>
          </a:xfrm>
          <a:custGeom>
            <a:avLst/>
            <a:gdLst>
              <a:gd name="T0" fmla="*/ 230 w 256"/>
              <a:gd name="T1" fmla="*/ 221 h 349"/>
              <a:gd name="T2" fmla="*/ 256 w 256"/>
              <a:gd name="T3" fmla="*/ 202 h 349"/>
              <a:gd name="T4" fmla="*/ 232 w 256"/>
              <a:gd name="T5" fmla="*/ 184 h 349"/>
              <a:gd name="T6" fmla="*/ 239 w 256"/>
              <a:gd name="T7" fmla="*/ 170 h 349"/>
              <a:gd name="T8" fmla="*/ 217 w 256"/>
              <a:gd name="T9" fmla="*/ 152 h 349"/>
              <a:gd name="T10" fmla="*/ 187 w 256"/>
              <a:gd name="T11" fmla="*/ 152 h 349"/>
              <a:gd name="T12" fmla="*/ 187 w 256"/>
              <a:gd name="T13" fmla="*/ 91 h 349"/>
              <a:gd name="T14" fmla="*/ 217 w 256"/>
              <a:gd name="T15" fmla="*/ 45 h 349"/>
              <a:gd name="T16" fmla="*/ 203 w 256"/>
              <a:gd name="T17" fmla="*/ 10 h 349"/>
              <a:gd name="T18" fmla="*/ 166 w 256"/>
              <a:gd name="T19" fmla="*/ 58 h 349"/>
              <a:gd name="T20" fmla="*/ 130 w 256"/>
              <a:gd name="T21" fmla="*/ 10 h 349"/>
              <a:gd name="T22" fmla="*/ 116 w 256"/>
              <a:gd name="T23" fmla="*/ 45 h 349"/>
              <a:gd name="T24" fmla="*/ 146 w 256"/>
              <a:gd name="T25" fmla="*/ 91 h 349"/>
              <a:gd name="T26" fmla="*/ 146 w 256"/>
              <a:gd name="T27" fmla="*/ 121 h 349"/>
              <a:gd name="T28" fmla="*/ 143 w 256"/>
              <a:gd name="T29" fmla="*/ 119 h 349"/>
              <a:gd name="T30" fmla="*/ 99 w 256"/>
              <a:gd name="T31" fmla="*/ 126 h 349"/>
              <a:gd name="T32" fmla="*/ 45 w 256"/>
              <a:gd name="T33" fmla="*/ 162 h 349"/>
              <a:gd name="T34" fmla="*/ 0 w 256"/>
              <a:gd name="T35" fmla="*/ 162 h 349"/>
              <a:gd name="T36" fmla="*/ 0 w 256"/>
              <a:gd name="T37" fmla="*/ 272 h 349"/>
              <a:gd name="T38" fmla="*/ 70 w 256"/>
              <a:gd name="T39" fmla="*/ 277 h 349"/>
              <a:gd name="T40" fmla="*/ 132 w 256"/>
              <a:gd name="T41" fmla="*/ 286 h 349"/>
              <a:gd name="T42" fmla="*/ 127 w 256"/>
              <a:gd name="T43" fmla="*/ 273 h 349"/>
              <a:gd name="T44" fmla="*/ 139 w 256"/>
              <a:gd name="T45" fmla="*/ 255 h 349"/>
              <a:gd name="T46" fmla="*/ 125 w 256"/>
              <a:gd name="T47" fmla="*/ 237 h 349"/>
              <a:gd name="T48" fmla="*/ 140 w 256"/>
              <a:gd name="T49" fmla="*/ 219 h 349"/>
              <a:gd name="T50" fmla="*/ 125 w 256"/>
              <a:gd name="T51" fmla="*/ 201 h 349"/>
              <a:gd name="T52" fmla="*/ 138 w 256"/>
              <a:gd name="T53" fmla="*/ 185 h 349"/>
              <a:gd name="T54" fmla="*/ 125 w 256"/>
              <a:gd name="T55" fmla="*/ 167 h 349"/>
              <a:gd name="T56" fmla="*/ 146 w 256"/>
              <a:gd name="T57" fmla="*/ 148 h 349"/>
              <a:gd name="T58" fmla="*/ 146 w 256"/>
              <a:gd name="T59" fmla="*/ 155 h 349"/>
              <a:gd name="T60" fmla="*/ 137 w 256"/>
              <a:gd name="T61" fmla="*/ 170 h 349"/>
              <a:gd name="T62" fmla="*/ 146 w 256"/>
              <a:gd name="T63" fmla="*/ 185 h 349"/>
              <a:gd name="T64" fmla="*/ 146 w 256"/>
              <a:gd name="T65" fmla="*/ 188 h 349"/>
              <a:gd name="T66" fmla="*/ 137 w 256"/>
              <a:gd name="T67" fmla="*/ 202 h 349"/>
              <a:gd name="T68" fmla="*/ 146 w 256"/>
              <a:gd name="T69" fmla="*/ 216 h 349"/>
              <a:gd name="T70" fmla="*/ 146 w 256"/>
              <a:gd name="T71" fmla="*/ 224 h 349"/>
              <a:gd name="T72" fmla="*/ 137 w 256"/>
              <a:gd name="T73" fmla="*/ 239 h 349"/>
              <a:gd name="T74" fmla="*/ 146 w 256"/>
              <a:gd name="T75" fmla="*/ 254 h 349"/>
              <a:gd name="T76" fmla="*/ 146 w 256"/>
              <a:gd name="T77" fmla="*/ 261 h 349"/>
              <a:gd name="T78" fmla="*/ 139 w 256"/>
              <a:gd name="T79" fmla="*/ 276 h 349"/>
              <a:gd name="T80" fmla="*/ 146 w 256"/>
              <a:gd name="T81" fmla="*/ 291 h 349"/>
              <a:gd name="T82" fmla="*/ 146 w 256"/>
              <a:gd name="T83" fmla="*/ 324 h 349"/>
              <a:gd name="T84" fmla="*/ 167 w 256"/>
              <a:gd name="T85" fmla="*/ 349 h 349"/>
              <a:gd name="T86" fmla="*/ 187 w 256"/>
              <a:gd name="T87" fmla="*/ 324 h 349"/>
              <a:gd name="T88" fmla="*/ 187 w 256"/>
              <a:gd name="T89" fmla="*/ 294 h 349"/>
              <a:gd name="T90" fmla="*/ 207 w 256"/>
              <a:gd name="T91" fmla="*/ 294 h 349"/>
              <a:gd name="T92" fmla="*/ 226 w 256"/>
              <a:gd name="T93" fmla="*/ 276 h 349"/>
              <a:gd name="T94" fmla="*/ 207 w 256"/>
              <a:gd name="T95" fmla="*/ 257 h 349"/>
              <a:gd name="T96" fmla="*/ 187 w 256"/>
              <a:gd name="T97" fmla="*/ 257 h 349"/>
              <a:gd name="T98" fmla="*/ 187 w 256"/>
              <a:gd name="T99" fmla="*/ 257 h 349"/>
              <a:gd name="T100" fmla="*/ 217 w 256"/>
              <a:gd name="T101" fmla="*/ 257 h 349"/>
              <a:gd name="T102" fmla="*/ 239 w 256"/>
              <a:gd name="T103" fmla="*/ 239 h 349"/>
              <a:gd name="T104" fmla="*/ 217 w 256"/>
              <a:gd name="T105" fmla="*/ 221 h 349"/>
              <a:gd name="T106" fmla="*/ 187 w 256"/>
              <a:gd name="T107" fmla="*/ 221 h 349"/>
              <a:gd name="T108" fmla="*/ 187 w 256"/>
              <a:gd name="T109" fmla="*/ 221 h 349"/>
              <a:gd name="T110" fmla="*/ 230 w 256"/>
              <a:gd name="T111" fmla="*/ 221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49">
                <a:moveTo>
                  <a:pt x="230" y="221"/>
                </a:moveTo>
                <a:cubicBezTo>
                  <a:pt x="245" y="221"/>
                  <a:pt x="256" y="212"/>
                  <a:pt x="256" y="202"/>
                </a:cubicBezTo>
                <a:cubicBezTo>
                  <a:pt x="256" y="192"/>
                  <a:pt x="245" y="184"/>
                  <a:pt x="232" y="184"/>
                </a:cubicBezTo>
                <a:cubicBezTo>
                  <a:pt x="236" y="180"/>
                  <a:pt x="239" y="175"/>
                  <a:pt x="239" y="170"/>
                </a:cubicBezTo>
                <a:cubicBezTo>
                  <a:pt x="239" y="160"/>
                  <a:pt x="229" y="152"/>
                  <a:pt x="217" y="152"/>
                </a:cubicBezTo>
                <a:cubicBezTo>
                  <a:pt x="187" y="152"/>
                  <a:pt x="187" y="152"/>
                  <a:pt x="187" y="152"/>
                </a:cubicBezTo>
                <a:cubicBezTo>
                  <a:pt x="187" y="91"/>
                  <a:pt x="187" y="91"/>
                  <a:pt x="187" y="91"/>
                </a:cubicBezTo>
                <a:cubicBezTo>
                  <a:pt x="205" y="83"/>
                  <a:pt x="217" y="66"/>
                  <a:pt x="217" y="45"/>
                </a:cubicBezTo>
                <a:cubicBezTo>
                  <a:pt x="217" y="31"/>
                  <a:pt x="203" y="0"/>
                  <a:pt x="203" y="10"/>
                </a:cubicBezTo>
                <a:cubicBezTo>
                  <a:pt x="204" y="24"/>
                  <a:pt x="195" y="58"/>
                  <a:pt x="166" y="58"/>
                </a:cubicBezTo>
                <a:cubicBezTo>
                  <a:pt x="140" y="58"/>
                  <a:pt x="129" y="30"/>
                  <a:pt x="130" y="10"/>
                </a:cubicBezTo>
                <a:cubicBezTo>
                  <a:pt x="130" y="3"/>
                  <a:pt x="116" y="32"/>
                  <a:pt x="116" y="45"/>
                </a:cubicBezTo>
                <a:cubicBezTo>
                  <a:pt x="116" y="66"/>
                  <a:pt x="129" y="84"/>
                  <a:pt x="146" y="91"/>
                </a:cubicBezTo>
                <a:cubicBezTo>
                  <a:pt x="146" y="121"/>
                  <a:pt x="146" y="121"/>
                  <a:pt x="146" y="121"/>
                </a:cubicBezTo>
                <a:cubicBezTo>
                  <a:pt x="143" y="119"/>
                  <a:pt x="143" y="119"/>
                  <a:pt x="143" y="119"/>
                </a:cubicBezTo>
                <a:cubicBezTo>
                  <a:pt x="143" y="119"/>
                  <a:pt x="110" y="122"/>
                  <a:pt x="99" y="126"/>
                </a:cubicBezTo>
                <a:cubicBezTo>
                  <a:pt x="87" y="131"/>
                  <a:pt x="63" y="162"/>
                  <a:pt x="45" y="162"/>
                </a:cubicBezTo>
                <a:cubicBezTo>
                  <a:pt x="26" y="162"/>
                  <a:pt x="0" y="162"/>
                  <a:pt x="0" y="162"/>
                </a:cubicBezTo>
                <a:cubicBezTo>
                  <a:pt x="0" y="272"/>
                  <a:pt x="0" y="272"/>
                  <a:pt x="0" y="272"/>
                </a:cubicBezTo>
                <a:cubicBezTo>
                  <a:pt x="0" y="272"/>
                  <a:pt x="47" y="272"/>
                  <a:pt x="70" y="277"/>
                </a:cubicBezTo>
                <a:cubicBezTo>
                  <a:pt x="86" y="280"/>
                  <a:pt x="110" y="284"/>
                  <a:pt x="132" y="286"/>
                </a:cubicBezTo>
                <a:cubicBezTo>
                  <a:pt x="129" y="283"/>
                  <a:pt x="127" y="278"/>
                  <a:pt x="127" y="273"/>
                </a:cubicBezTo>
                <a:cubicBezTo>
                  <a:pt x="127" y="265"/>
                  <a:pt x="132" y="258"/>
                  <a:pt x="139" y="255"/>
                </a:cubicBezTo>
                <a:cubicBezTo>
                  <a:pt x="131" y="252"/>
                  <a:pt x="125" y="245"/>
                  <a:pt x="125" y="237"/>
                </a:cubicBezTo>
                <a:cubicBezTo>
                  <a:pt x="125" y="229"/>
                  <a:pt x="131" y="222"/>
                  <a:pt x="140" y="219"/>
                </a:cubicBezTo>
                <a:cubicBezTo>
                  <a:pt x="131" y="216"/>
                  <a:pt x="125" y="209"/>
                  <a:pt x="125" y="201"/>
                </a:cubicBezTo>
                <a:cubicBezTo>
                  <a:pt x="125" y="194"/>
                  <a:pt x="130" y="188"/>
                  <a:pt x="138" y="185"/>
                </a:cubicBezTo>
                <a:cubicBezTo>
                  <a:pt x="130" y="182"/>
                  <a:pt x="125" y="175"/>
                  <a:pt x="125" y="167"/>
                </a:cubicBezTo>
                <a:cubicBezTo>
                  <a:pt x="125" y="157"/>
                  <a:pt x="135" y="148"/>
                  <a:pt x="146" y="148"/>
                </a:cubicBezTo>
                <a:cubicBezTo>
                  <a:pt x="146" y="155"/>
                  <a:pt x="146" y="155"/>
                  <a:pt x="146" y="155"/>
                </a:cubicBezTo>
                <a:cubicBezTo>
                  <a:pt x="141" y="158"/>
                  <a:pt x="137" y="164"/>
                  <a:pt x="137" y="170"/>
                </a:cubicBezTo>
                <a:cubicBezTo>
                  <a:pt x="137" y="176"/>
                  <a:pt x="141" y="182"/>
                  <a:pt x="146" y="185"/>
                </a:cubicBezTo>
                <a:cubicBezTo>
                  <a:pt x="146" y="188"/>
                  <a:pt x="146" y="188"/>
                  <a:pt x="146" y="188"/>
                </a:cubicBezTo>
                <a:cubicBezTo>
                  <a:pt x="141" y="191"/>
                  <a:pt x="137" y="196"/>
                  <a:pt x="137" y="202"/>
                </a:cubicBezTo>
                <a:cubicBezTo>
                  <a:pt x="137" y="208"/>
                  <a:pt x="141" y="213"/>
                  <a:pt x="146" y="216"/>
                </a:cubicBezTo>
                <a:cubicBezTo>
                  <a:pt x="146" y="224"/>
                  <a:pt x="146" y="224"/>
                  <a:pt x="146" y="224"/>
                </a:cubicBezTo>
                <a:cubicBezTo>
                  <a:pt x="141" y="227"/>
                  <a:pt x="137" y="233"/>
                  <a:pt x="137" y="239"/>
                </a:cubicBezTo>
                <a:cubicBezTo>
                  <a:pt x="137" y="245"/>
                  <a:pt x="141" y="251"/>
                  <a:pt x="146" y="254"/>
                </a:cubicBezTo>
                <a:cubicBezTo>
                  <a:pt x="146" y="261"/>
                  <a:pt x="146" y="261"/>
                  <a:pt x="146" y="261"/>
                </a:cubicBezTo>
                <a:cubicBezTo>
                  <a:pt x="142" y="264"/>
                  <a:pt x="139" y="270"/>
                  <a:pt x="139" y="276"/>
                </a:cubicBezTo>
                <a:cubicBezTo>
                  <a:pt x="139" y="282"/>
                  <a:pt x="142" y="287"/>
                  <a:pt x="146" y="291"/>
                </a:cubicBezTo>
                <a:cubicBezTo>
                  <a:pt x="146" y="324"/>
                  <a:pt x="146" y="324"/>
                  <a:pt x="146" y="324"/>
                </a:cubicBezTo>
                <a:cubicBezTo>
                  <a:pt x="146" y="338"/>
                  <a:pt x="156" y="349"/>
                  <a:pt x="167" y="349"/>
                </a:cubicBezTo>
                <a:cubicBezTo>
                  <a:pt x="178" y="349"/>
                  <a:pt x="187" y="338"/>
                  <a:pt x="187" y="324"/>
                </a:cubicBezTo>
                <a:cubicBezTo>
                  <a:pt x="187" y="294"/>
                  <a:pt x="187" y="294"/>
                  <a:pt x="187" y="294"/>
                </a:cubicBezTo>
                <a:cubicBezTo>
                  <a:pt x="207" y="294"/>
                  <a:pt x="207" y="294"/>
                  <a:pt x="207" y="294"/>
                </a:cubicBezTo>
                <a:cubicBezTo>
                  <a:pt x="217" y="294"/>
                  <a:pt x="226" y="286"/>
                  <a:pt x="226" y="276"/>
                </a:cubicBezTo>
                <a:cubicBezTo>
                  <a:pt x="226" y="266"/>
                  <a:pt x="217" y="257"/>
                  <a:pt x="207" y="257"/>
                </a:cubicBezTo>
                <a:cubicBezTo>
                  <a:pt x="187" y="257"/>
                  <a:pt x="187" y="257"/>
                  <a:pt x="187" y="257"/>
                </a:cubicBezTo>
                <a:cubicBezTo>
                  <a:pt x="187" y="257"/>
                  <a:pt x="187" y="257"/>
                  <a:pt x="187" y="257"/>
                </a:cubicBezTo>
                <a:cubicBezTo>
                  <a:pt x="217" y="257"/>
                  <a:pt x="217" y="257"/>
                  <a:pt x="217" y="257"/>
                </a:cubicBezTo>
                <a:cubicBezTo>
                  <a:pt x="229" y="257"/>
                  <a:pt x="239" y="249"/>
                  <a:pt x="239" y="239"/>
                </a:cubicBezTo>
                <a:cubicBezTo>
                  <a:pt x="239" y="229"/>
                  <a:pt x="229" y="221"/>
                  <a:pt x="217" y="221"/>
                </a:cubicBezTo>
                <a:cubicBezTo>
                  <a:pt x="187" y="221"/>
                  <a:pt x="187" y="221"/>
                  <a:pt x="187" y="221"/>
                </a:cubicBezTo>
                <a:cubicBezTo>
                  <a:pt x="187" y="221"/>
                  <a:pt x="187" y="221"/>
                  <a:pt x="187" y="221"/>
                </a:cubicBezTo>
                <a:lnTo>
                  <a:pt x="230" y="221"/>
                </a:lnTo>
                <a:close/>
              </a:path>
            </a:pathLst>
          </a:custGeom>
          <a:solidFill>
            <a:srgbClr val="FFFFFF"/>
          </a:solidFill>
          <a:ln>
            <a:noFill/>
          </a:ln>
        </p:spPr>
        <p:txBody>
          <a:bodyPr vert="horz" wrap="square" lIns="61720" tIns="30860" rIns="61720" bIns="30860" numCol="1" anchor="t" anchorCtr="0" compatLnSpc="1">
            <a:prstTxWarp prst="textNoShape">
              <a:avLst/>
            </a:prstTxWarp>
          </a:bodyPr>
          <a:lstStyle/>
          <a:p>
            <a:endParaRPr lang="en-US" sz="1200" dirty="0"/>
          </a:p>
        </p:txBody>
      </p:sp>
      <p:sp>
        <p:nvSpPr>
          <p:cNvPr id="9" name="TextBox 8"/>
          <p:cNvSpPr txBox="1"/>
          <p:nvPr/>
        </p:nvSpPr>
        <p:spPr>
          <a:xfrm>
            <a:off x="3853634" y="1870270"/>
            <a:ext cx="1059475" cy="168308"/>
          </a:xfrm>
          <a:prstGeom prst="rect">
            <a:avLst/>
          </a:prstGeom>
          <a:noFill/>
          <a:ln w="28575">
            <a:solidFill>
              <a:schemeClr val="tx1"/>
            </a:solidFill>
          </a:ln>
        </p:spPr>
        <p:txBody>
          <a:bodyPr wrap="square" lIns="68571" tIns="34286" rIns="68571" bIns="34286" rtlCol="0" anchor="b">
            <a:noAutofit/>
          </a:bodyPr>
          <a:lstStyle/>
          <a:p>
            <a:endParaRPr lang="en-US" dirty="0">
              <a:solidFill>
                <a:schemeClr val="bg2">
                  <a:lumMod val="50000"/>
                </a:schemeClr>
              </a:solidFill>
            </a:endParaRPr>
          </a:p>
        </p:txBody>
      </p:sp>
      <p:sp>
        <p:nvSpPr>
          <p:cNvPr id="10" name="Rectangle 9"/>
          <p:cNvSpPr/>
          <p:nvPr/>
        </p:nvSpPr>
        <p:spPr bwMode="auto">
          <a:xfrm>
            <a:off x="3853634" y="1870270"/>
            <a:ext cx="1059475" cy="165674"/>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51450" tIns="25725" rIns="25725" bIns="51450" numCol="1" spcCol="0" rtlCol="0" fromWordArt="0" anchor="t" anchorCtr="0" forceAA="0" compatLnSpc="1">
            <a:prstTxWarp prst="textNoShape">
              <a:avLst/>
            </a:prstTxWarp>
            <a:noAutofit/>
          </a:bodyPr>
          <a:lstStyle/>
          <a:p>
            <a:pPr algn="ctr"/>
            <a:r>
              <a:rPr lang="en-US" sz="800" b="1" dirty="0">
                <a:solidFill>
                  <a:schemeClr val="accent1"/>
                </a:solidFill>
                <a:latin typeface="Segoe UI Light" pitchFamily="34" charset="0"/>
              </a:rPr>
              <a:t>AUDIT</a:t>
            </a:r>
          </a:p>
          <a:p>
            <a:pPr fontAlgn="base">
              <a:spcBef>
                <a:spcPct val="0"/>
              </a:spcBef>
              <a:spcAft>
                <a:spcPct val="0"/>
              </a:spcAft>
            </a:pPr>
            <a:endParaRPr lang="en-US" sz="800" b="1" kern="0" spc="-29" dirty="0">
              <a:solidFill>
                <a:schemeClr val="accent1"/>
              </a:solidFill>
              <a:latin typeface="Segoe WP" pitchFamily="34" charset="0"/>
              <a:ea typeface="Segoe UI" pitchFamily="34" charset="0"/>
              <a:cs typeface="Segoe UI" pitchFamily="34" charset="0"/>
            </a:endParaRPr>
          </a:p>
        </p:txBody>
      </p:sp>
      <p:sp>
        <p:nvSpPr>
          <p:cNvPr id="12" name="TextBox 11"/>
          <p:cNvSpPr txBox="1"/>
          <p:nvPr/>
        </p:nvSpPr>
        <p:spPr>
          <a:xfrm>
            <a:off x="2720045" y="1870270"/>
            <a:ext cx="1059475" cy="168308"/>
          </a:xfrm>
          <a:prstGeom prst="rect">
            <a:avLst/>
          </a:prstGeom>
          <a:noFill/>
          <a:ln w="28575">
            <a:solidFill>
              <a:schemeClr val="tx1"/>
            </a:solidFill>
          </a:ln>
        </p:spPr>
        <p:txBody>
          <a:bodyPr wrap="square" lIns="68571" tIns="34286" rIns="68571" bIns="34286" rtlCol="0" anchor="b">
            <a:noAutofit/>
          </a:bodyPr>
          <a:lstStyle/>
          <a:p>
            <a:endParaRPr lang="en-US" dirty="0">
              <a:solidFill>
                <a:schemeClr val="bg2">
                  <a:lumMod val="50000"/>
                </a:schemeClr>
              </a:solidFill>
            </a:endParaRPr>
          </a:p>
        </p:txBody>
      </p:sp>
      <p:sp>
        <p:nvSpPr>
          <p:cNvPr id="13" name="Rectangle 12"/>
          <p:cNvSpPr/>
          <p:nvPr/>
        </p:nvSpPr>
        <p:spPr bwMode="auto">
          <a:xfrm>
            <a:off x="2720045" y="1872904"/>
            <a:ext cx="1059475" cy="165674"/>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51450" tIns="25725" rIns="25725" bIns="51450" numCol="1" spcCol="0" rtlCol="0" fromWordArt="0" anchor="t" anchorCtr="0" forceAA="0" compatLnSpc="1">
            <a:prstTxWarp prst="textNoShape">
              <a:avLst/>
            </a:prstTxWarp>
            <a:noAutofit/>
          </a:bodyPr>
          <a:lstStyle/>
          <a:p>
            <a:pPr algn="ctr"/>
            <a:r>
              <a:rPr lang="en-US" sz="800" b="1" dirty="0">
                <a:solidFill>
                  <a:schemeClr val="accent1"/>
                </a:solidFill>
                <a:latin typeface="Segoe UI Light" pitchFamily="34" charset="0"/>
              </a:rPr>
              <a:t>AUTHORIZATION</a:t>
            </a:r>
          </a:p>
          <a:p>
            <a:pPr fontAlgn="base">
              <a:spcBef>
                <a:spcPct val="0"/>
              </a:spcBef>
              <a:spcAft>
                <a:spcPct val="0"/>
              </a:spcAft>
            </a:pPr>
            <a:endParaRPr lang="en-US" sz="800" b="1" kern="0" spc="-29" dirty="0">
              <a:solidFill>
                <a:schemeClr val="accent1"/>
              </a:solidFill>
              <a:latin typeface="Segoe WP" pitchFamily="34" charset="0"/>
              <a:ea typeface="Segoe UI" pitchFamily="34" charset="0"/>
              <a:cs typeface="Segoe UI" pitchFamily="34" charset="0"/>
            </a:endParaRPr>
          </a:p>
        </p:txBody>
      </p:sp>
      <p:sp>
        <p:nvSpPr>
          <p:cNvPr id="14" name="TextBox 13"/>
          <p:cNvSpPr txBox="1"/>
          <p:nvPr/>
        </p:nvSpPr>
        <p:spPr>
          <a:xfrm>
            <a:off x="1588369" y="1870270"/>
            <a:ext cx="1059475" cy="167966"/>
          </a:xfrm>
          <a:prstGeom prst="rect">
            <a:avLst/>
          </a:prstGeom>
          <a:noFill/>
          <a:ln w="28575">
            <a:solidFill>
              <a:schemeClr val="tx1"/>
            </a:solidFill>
          </a:ln>
        </p:spPr>
        <p:txBody>
          <a:bodyPr wrap="square" lIns="68571" tIns="34286" rIns="68571" bIns="34286" rtlCol="0" anchor="b">
            <a:noAutofit/>
          </a:bodyPr>
          <a:lstStyle/>
          <a:p>
            <a:endParaRPr lang="en-US" dirty="0">
              <a:solidFill>
                <a:schemeClr val="bg2">
                  <a:lumMod val="50000"/>
                </a:schemeClr>
              </a:solidFill>
            </a:endParaRPr>
          </a:p>
        </p:txBody>
      </p:sp>
      <p:sp>
        <p:nvSpPr>
          <p:cNvPr id="15" name="Rectangle 14"/>
          <p:cNvSpPr/>
          <p:nvPr/>
        </p:nvSpPr>
        <p:spPr bwMode="auto">
          <a:xfrm>
            <a:off x="1588369" y="1872563"/>
            <a:ext cx="1059475" cy="166017"/>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51450" tIns="25725" rIns="25725" bIns="51450" numCol="1" spcCol="0" rtlCol="0" fromWordArt="0" anchor="t" anchorCtr="0" forceAA="0" compatLnSpc="1">
            <a:prstTxWarp prst="textNoShape">
              <a:avLst/>
            </a:prstTxWarp>
            <a:noAutofit/>
          </a:bodyPr>
          <a:lstStyle/>
          <a:p>
            <a:pPr algn="ctr"/>
            <a:r>
              <a:rPr lang="en-US" sz="800" b="1" dirty="0">
                <a:solidFill>
                  <a:schemeClr val="accent1"/>
                </a:solidFill>
                <a:latin typeface="Segoe UI Light" pitchFamily="34" charset="0"/>
              </a:rPr>
              <a:t>AUTHENTICATION</a:t>
            </a:r>
          </a:p>
          <a:p>
            <a:pPr fontAlgn="base">
              <a:spcBef>
                <a:spcPct val="0"/>
              </a:spcBef>
              <a:spcAft>
                <a:spcPct val="0"/>
              </a:spcAft>
            </a:pPr>
            <a:endParaRPr lang="en-US" sz="800" b="1" kern="0" spc="-29" dirty="0">
              <a:solidFill>
                <a:schemeClr val="accent1"/>
              </a:solidFill>
              <a:latin typeface="Segoe WP" pitchFamily="34" charset="0"/>
              <a:ea typeface="Segoe UI" pitchFamily="34" charset="0"/>
              <a:cs typeface="Segoe UI" pitchFamily="34" charset="0"/>
            </a:endParaRPr>
          </a:p>
        </p:txBody>
      </p:sp>
      <p:grpSp>
        <p:nvGrpSpPr>
          <p:cNvPr id="63" name="Group 62"/>
          <p:cNvGrpSpPr/>
          <p:nvPr/>
        </p:nvGrpSpPr>
        <p:grpSpPr>
          <a:xfrm>
            <a:off x="684787" y="2405566"/>
            <a:ext cx="778304" cy="778273"/>
            <a:chOff x="912812" y="3387859"/>
            <a:chExt cx="1037468" cy="1037694"/>
          </a:xfrm>
        </p:grpSpPr>
        <p:sp>
          <p:nvSpPr>
            <p:cNvPr id="16" name="Freeform 15"/>
            <p:cNvSpPr>
              <a:spLocks noEditPoints="1"/>
            </p:cNvSpPr>
            <p:nvPr/>
          </p:nvSpPr>
          <p:spPr bwMode="black">
            <a:xfrm>
              <a:off x="1258530" y="3387859"/>
              <a:ext cx="346031" cy="345941"/>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200" dirty="0"/>
            </a:p>
          </p:txBody>
        </p:sp>
        <p:sp>
          <p:nvSpPr>
            <p:cNvPr id="18" name="TextBox 17"/>
            <p:cNvSpPr txBox="1"/>
            <p:nvPr/>
          </p:nvSpPr>
          <p:spPr>
            <a:xfrm>
              <a:off x="912812" y="3810001"/>
              <a:ext cx="1037468" cy="615552"/>
            </a:xfrm>
            <a:prstGeom prst="rect">
              <a:avLst/>
            </a:prstGeom>
            <a:noFill/>
          </p:spPr>
          <p:txBody>
            <a:bodyPr wrap="square" rtlCol="0">
              <a:spAutoFit/>
            </a:bodyPr>
            <a:lstStyle/>
            <a:p>
              <a:pPr algn="ctr"/>
              <a:r>
                <a:rPr lang="en-US" sz="800" b="1" dirty="0">
                  <a:latin typeface="Segoe WP Light"/>
                </a:rPr>
                <a:t>Provision &amp;</a:t>
              </a:r>
              <a:br>
                <a:rPr lang="en-US" sz="800" b="1" dirty="0">
                  <a:latin typeface="Segoe WP Light"/>
                </a:rPr>
              </a:br>
              <a:r>
                <a:rPr lang="en-US" sz="800" b="1" dirty="0">
                  <a:latin typeface="Segoe WP Light"/>
                </a:rPr>
                <a:t>De-provision</a:t>
              </a:r>
            </a:p>
          </p:txBody>
        </p:sp>
      </p:grpSp>
      <p:grpSp>
        <p:nvGrpSpPr>
          <p:cNvPr id="64" name="Group 63"/>
          <p:cNvGrpSpPr/>
          <p:nvPr/>
        </p:nvGrpSpPr>
        <p:grpSpPr>
          <a:xfrm>
            <a:off x="1694491" y="2405552"/>
            <a:ext cx="778304" cy="733572"/>
            <a:chOff x="2330500" y="3283309"/>
            <a:chExt cx="1037468" cy="978097"/>
          </a:xfrm>
        </p:grpSpPr>
        <p:sp>
          <p:nvSpPr>
            <p:cNvPr id="20" name="Freeform 19"/>
            <p:cNvSpPr>
              <a:spLocks noEditPoints="1"/>
            </p:cNvSpPr>
            <p:nvPr/>
          </p:nvSpPr>
          <p:spPr bwMode="black">
            <a:xfrm>
              <a:off x="2669460" y="3283309"/>
              <a:ext cx="359548" cy="450491"/>
            </a:xfrm>
            <a:custGeom>
              <a:avLst/>
              <a:gdLst>
                <a:gd name="T0" fmla="*/ 91 w 162"/>
                <a:gd name="T1" fmla="*/ 100 h 203"/>
                <a:gd name="T2" fmla="*/ 128 w 162"/>
                <a:gd name="T3" fmla="*/ 203 h 203"/>
                <a:gd name="T4" fmla="*/ 108 w 162"/>
                <a:gd name="T5" fmla="*/ 203 h 203"/>
                <a:gd name="T6" fmla="*/ 81 w 162"/>
                <a:gd name="T7" fmla="*/ 180 h 203"/>
                <a:gd name="T8" fmla="*/ 54 w 162"/>
                <a:gd name="T9" fmla="*/ 203 h 203"/>
                <a:gd name="T10" fmla="*/ 34 w 162"/>
                <a:gd name="T11" fmla="*/ 203 h 203"/>
                <a:gd name="T12" fmla="*/ 71 w 162"/>
                <a:gd name="T13" fmla="*/ 100 h 203"/>
                <a:gd name="T14" fmla="*/ 64 w 162"/>
                <a:gd name="T15" fmla="*/ 86 h 203"/>
                <a:gd name="T16" fmla="*/ 81 w 162"/>
                <a:gd name="T17" fmla="*/ 69 h 203"/>
                <a:gd name="T18" fmla="*/ 98 w 162"/>
                <a:gd name="T19" fmla="*/ 86 h 203"/>
                <a:gd name="T20" fmla="*/ 91 w 162"/>
                <a:gd name="T21" fmla="*/ 100 h 203"/>
                <a:gd name="T22" fmla="*/ 81 w 162"/>
                <a:gd name="T23" fmla="*/ 34 h 203"/>
                <a:gd name="T24" fmla="*/ 130 w 162"/>
                <a:gd name="T25" fmla="*/ 83 h 203"/>
                <a:gd name="T26" fmla="*/ 107 w 162"/>
                <a:gd name="T27" fmla="*/ 123 h 203"/>
                <a:gd name="T28" fmla="*/ 106 w 162"/>
                <a:gd name="T29" fmla="*/ 117 h 203"/>
                <a:gd name="T30" fmla="*/ 121 w 162"/>
                <a:gd name="T31" fmla="*/ 86 h 203"/>
                <a:gd name="T32" fmla="*/ 81 w 162"/>
                <a:gd name="T33" fmla="*/ 47 h 203"/>
                <a:gd name="T34" fmla="*/ 42 w 162"/>
                <a:gd name="T35" fmla="*/ 86 h 203"/>
                <a:gd name="T36" fmla="*/ 56 w 162"/>
                <a:gd name="T37" fmla="*/ 117 h 203"/>
                <a:gd name="T38" fmla="*/ 55 w 162"/>
                <a:gd name="T39" fmla="*/ 123 h 203"/>
                <a:gd name="T40" fmla="*/ 33 w 162"/>
                <a:gd name="T41" fmla="*/ 83 h 203"/>
                <a:gd name="T42" fmla="*/ 81 w 162"/>
                <a:gd name="T43" fmla="*/ 34 h 203"/>
                <a:gd name="T44" fmla="*/ 81 w 162"/>
                <a:gd name="T45" fmla="*/ 0 h 203"/>
                <a:gd name="T46" fmla="*/ 162 w 162"/>
                <a:gd name="T47" fmla="*/ 81 h 203"/>
                <a:gd name="T48" fmla="*/ 118 w 162"/>
                <a:gd name="T49" fmla="*/ 154 h 203"/>
                <a:gd name="T50" fmla="*/ 115 w 162"/>
                <a:gd name="T51" fmla="*/ 148 h 203"/>
                <a:gd name="T52" fmla="*/ 153 w 162"/>
                <a:gd name="T53" fmla="*/ 85 h 203"/>
                <a:gd name="T54" fmla="*/ 81 w 162"/>
                <a:gd name="T55" fmla="*/ 13 h 203"/>
                <a:gd name="T56" fmla="*/ 10 w 162"/>
                <a:gd name="T57" fmla="*/ 85 h 203"/>
                <a:gd name="T58" fmla="*/ 47 w 162"/>
                <a:gd name="T59" fmla="*/ 148 h 203"/>
                <a:gd name="T60" fmla="*/ 45 w 162"/>
                <a:gd name="T61" fmla="*/ 154 h 203"/>
                <a:gd name="T62" fmla="*/ 0 w 162"/>
                <a:gd name="T63" fmla="*/ 81 h 203"/>
                <a:gd name="T64" fmla="*/ 81 w 162"/>
                <a:gd name="T65" fmla="*/ 0 h 203"/>
                <a:gd name="T66" fmla="*/ 81 w 162"/>
                <a:gd name="T67" fmla="*/ 124 h 203"/>
                <a:gd name="T68" fmla="*/ 89 w 162"/>
                <a:gd name="T69" fmla="*/ 132 h 203"/>
                <a:gd name="T70" fmla="*/ 81 w 162"/>
                <a:gd name="T71" fmla="*/ 139 h 203"/>
                <a:gd name="T72" fmla="*/ 73 w 162"/>
                <a:gd name="T73" fmla="*/ 132 h 203"/>
                <a:gd name="T74" fmla="*/ 81 w 162"/>
                <a:gd name="T75" fmla="*/ 124 h 203"/>
                <a:gd name="T76" fmla="*/ 81 w 162"/>
                <a:gd name="T77" fmla="*/ 171 h 203"/>
                <a:gd name="T78" fmla="*/ 95 w 162"/>
                <a:gd name="T79" fmla="*/ 160 h 203"/>
                <a:gd name="T80" fmla="*/ 81 w 162"/>
                <a:gd name="T81" fmla="*/ 149 h 203"/>
                <a:gd name="T82" fmla="*/ 68 w 162"/>
                <a:gd name="T83" fmla="*/ 160 h 203"/>
                <a:gd name="T84" fmla="*/ 81 w 162"/>
                <a:gd name="T85" fmla="*/ 17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2" h="203">
                  <a:moveTo>
                    <a:pt x="91" y="100"/>
                  </a:moveTo>
                  <a:cubicBezTo>
                    <a:pt x="98" y="144"/>
                    <a:pt x="114" y="181"/>
                    <a:pt x="128" y="203"/>
                  </a:cubicBezTo>
                  <a:cubicBezTo>
                    <a:pt x="108" y="203"/>
                    <a:pt x="108" y="203"/>
                    <a:pt x="108" y="203"/>
                  </a:cubicBezTo>
                  <a:cubicBezTo>
                    <a:pt x="108" y="190"/>
                    <a:pt x="100" y="180"/>
                    <a:pt x="81" y="180"/>
                  </a:cubicBezTo>
                  <a:cubicBezTo>
                    <a:pt x="63" y="180"/>
                    <a:pt x="55" y="190"/>
                    <a:pt x="54" y="203"/>
                  </a:cubicBezTo>
                  <a:cubicBezTo>
                    <a:pt x="34" y="203"/>
                    <a:pt x="34" y="203"/>
                    <a:pt x="34" y="203"/>
                  </a:cubicBezTo>
                  <a:cubicBezTo>
                    <a:pt x="49" y="181"/>
                    <a:pt x="64" y="144"/>
                    <a:pt x="71" y="100"/>
                  </a:cubicBezTo>
                  <a:cubicBezTo>
                    <a:pt x="67" y="97"/>
                    <a:pt x="64" y="92"/>
                    <a:pt x="64" y="86"/>
                  </a:cubicBezTo>
                  <a:cubicBezTo>
                    <a:pt x="64" y="77"/>
                    <a:pt x="72" y="69"/>
                    <a:pt x="81" y="69"/>
                  </a:cubicBezTo>
                  <a:cubicBezTo>
                    <a:pt x="91" y="69"/>
                    <a:pt x="98" y="77"/>
                    <a:pt x="98" y="86"/>
                  </a:cubicBezTo>
                  <a:cubicBezTo>
                    <a:pt x="98" y="92"/>
                    <a:pt x="96" y="97"/>
                    <a:pt x="91" y="100"/>
                  </a:cubicBezTo>
                  <a:close/>
                  <a:moveTo>
                    <a:pt x="81" y="34"/>
                  </a:moveTo>
                  <a:cubicBezTo>
                    <a:pt x="108" y="34"/>
                    <a:pt x="130" y="56"/>
                    <a:pt x="130" y="83"/>
                  </a:cubicBezTo>
                  <a:cubicBezTo>
                    <a:pt x="130" y="100"/>
                    <a:pt x="121" y="115"/>
                    <a:pt x="107" y="123"/>
                  </a:cubicBezTo>
                  <a:cubicBezTo>
                    <a:pt x="107" y="121"/>
                    <a:pt x="106" y="119"/>
                    <a:pt x="106" y="117"/>
                  </a:cubicBezTo>
                  <a:cubicBezTo>
                    <a:pt x="115" y="110"/>
                    <a:pt x="121" y="99"/>
                    <a:pt x="121" y="86"/>
                  </a:cubicBezTo>
                  <a:cubicBezTo>
                    <a:pt x="121" y="64"/>
                    <a:pt x="103" y="47"/>
                    <a:pt x="81" y="47"/>
                  </a:cubicBezTo>
                  <a:cubicBezTo>
                    <a:pt x="59" y="47"/>
                    <a:pt x="42" y="64"/>
                    <a:pt x="42" y="86"/>
                  </a:cubicBezTo>
                  <a:cubicBezTo>
                    <a:pt x="42" y="99"/>
                    <a:pt x="47" y="110"/>
                    <a:pt x="56" y="117"/>
                  </a:cubicBezTo>
                  <a:cubicBezTo>
                    <a:pt x="56" y="119"/>
                    <a:pt x="55" y="121"/>
                    <a:pt x="55" y="123"/>
                  </a:cubicBezTo>
                  <a:cubicBezTo>
                    <a:pt x="42" y="115"/>
                    <a:pt x="33" y="100"/>
                    <a:pt x="33" y="83"/>
                  </a:cubicBezTo>
                  <a:cubicBezTo>
                    <a:pt x="33" y="56"/>
                    <a:pt x="54" y="34"/>
                    <a:pt x="81" y="34"/>
                  </a:cubicBezTo>
                  <a:close/>
                  <a:moveTo>
                    <a:pt x="81" y="0"/>
                  </a:moveTo>
                  <a:cubicBezTo>
                    <a:pt x="126" y="0"/>
                    <a:pt x="162" y="37"/>
                    <a:pt x="162" y="81"/>
                  </a:cubicBezTo>
                  <a:cubicBezTo>
                    <a:pt x="162" y="113"/>
                    <a:pt x="144" y="141"/>
                    <a:pt x="118" y="154"/>
                  </a:cubicBezTo>
                  <a:cubicBezTo>
                    <a:pt x="117" y="152"/>
                    <a:pt x="116" y="150"/>
                    <a:pt x="115" y="148"/>
                  </a:cubicBezTo>
                  <a:cubicBezTo>
                    <a:pt x="138" y="136"/>
                    <a:pt x="153" y="112"/>
                    <a:pt x="153" y="85"/>
                  </a:cubicBezTo>
                  <a:cubicBezTo>
                    <a:pt x="153" y="45"/>
                    <a:pt x="121" y="13"/>
                    <a:pt x="81" y="13"/>
                  </a:cubicBezTo>
                  <a:cubicBezTo>
                    <a:pt x="42" y="13"/>
                    <a:pt x="10" y="45"/>
                    <a:pt x="10" y="85"/>
                  </a:cubicBezTo>
                  <a:cubicBezTo>
                    <a:pt x="10" y="112"/>
                    <a:pt x="25" y="136"/>
                    <a:pt x="47" y="148"/>
                  </a:cubicBezTo>
                  <a:cubicBezTo>
                    <a:pt x="46" y="150"/>
                    <a:pt x="46" y="152"/>
                    <a:pt x="45" y="154"/>
                  </a:cubicBezTo>
                  <a:cubicBezTo>
                    <a:pt x="18" y="141"/>
                    <a:pt x="0" y="113"/>
                    <a:pt x="0" y="81"/>
                  </a:cubicBezTo>
                  <a:cubicBezTo>
                    <a:pt x="0" y="37"/>
                    <a:pt x="36" y="0"/>
                    <a:pt x="81" y="0"/>
                  </a:cubicBezTo>
                  <a:close/>
                  <a:moveTo>
                    <a:pt x="81" y="124"/>
                  </a:moveTo>
                  <a:cubicBezTo>
                    <a:pt x="87" y="124"/>
                    <a:pt x="89" y="128"/>
                    <a:pt x="89" y="132"/>
                  </a:cubicBezTo>
                  <a:cubicBezTo>
                    <a:pt x="89" y="135"/>
                    <a:pt x="87" y="139"/>
                    <a:pt x="81" y="139"/>
                  </a:cubicBezTo>
                  <a:cubicBezTo>
                    <a:pt x="75" y="139"/>
                    <a:pt x="73" y="135"/>
                    <a:pt x="73" y="132"/>
                  </a:cubicBezTo>
                  <a:cubicBezTo>
                    <a:pt x="73" y="128"/>
                    <a:pt x="75" y="124"/>
                    <a:pt x="81" y="124"/>
                  </a:cubicBezTo>
                  <a:close/>
                  <a:moveTo>
                    <a:pt x="81" y="171"/>
                  </a:moveTo>
                  <a:cubicBezTo>
                    <a:pt x="91" y="171"/>
                    <a:pt x="95" y="166"/>
                    <a:pt x="95" y="160"/>
                  </a:cubicBezTo>
                  <a:cubicBezTo>
                    <a:pt x="95" y="154"/>
                    <a:pt x="91" y="149"/>
                    <a:pt x="81" y="149"/>
                  </a:cubicBezTo>
                  <a:cubicBezTo>
                    <a:pt x="71" y="149"/>
                    <a:pt x="68" y="154"/>
                    <a:pt x="68" y="160"/>
                  </a:cubicBezTo>
                  <a:cubicBezTo>
                    <a:pt x="68" y="166"/>
                    <a:pt x="71" y="171"/>
                    <a:pt x="81" y="17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200" b="1" dirty="0"/>
            </a:p>
          </p:txBody>
        </p:sp>
        <p:sp>
          <p:nvSpPr>
            <p:cNvPr id="21" name="TextBox 20"/>
            <p:cNvSpPr txBox="1"/>
            <p:nvPr/>
          </p:nvSpPr>
          <p:spPr>
            <a:xfrm>
              <a:off x="2330500" y="3810001"/>
              <a:ext cx="1037468" cy="451405"/>
            </a:xfrm>
            <a:prstGeom prst="rect">
              <a:avLst/>
            </a:prstGeom>
            <a:noFill/>
          </p:spPr>
          <p:txBody>
            <a:bodyPr wrap="square" rtlCol="0">
              <a:spAutoFit/>
            </a:bodyPr>
            <a:lstStyle/>
            <a:p>
              <a:pPr algn="ctr"/>
              <a:r>
                <a:rPr lang="en-US" sz="800" b="1" dirty="0">
                  <a:latin typeface="Segoe WP Light"/>
                </a:rPr>
                <a:t>Identity Updates</a:t>
              </a:r>
            </a:p>
          </p:txBody>
        </p:sp>
      </p:grpSp>
      <p:grpSp>
        <p:nvGrpSpPr>
          <p:cNvPr id="66" name="Group 65"/>
          <p:cNvGrpSpPr/>
          <p:nvPr/>
        </p:nvGrpSpPr>
        <p:grpSpPr>
          <a:xfrm>
            <a:off x="3314372" y="3440841"/>
            <a:ext cx="778304" cy="678502"/>
            <a:chOff x="5332941" y="3356737"/>
            <a:chExt cx="1037468" cy="904670"/>
          </a:xfrm>
        </p:grpSpPr>
        <p:sp>
          <p:nvSpPr>
            <p:cNvPr id="24" name="TextBox 23"/>
            <p:cNvSpPr txBox="1"/>
            <p:nvPr/>
          </p:nvSpPr>
          <p:spPr>
            <a:xfrm>
              <a:off x="5332941" y="3810001"/>
              <a:ext cx="1037468" cy="451406"/>
            </a:xfrm>
            <a:prstGeom prst="rect">
              <a:avLst/>
            </a:prstGeom>
            <a:noFill/>
          </p:spPr>
          <p:txBody>
            <a:bodyPr wrap="square" rtlCol="0">
              <a:spAutoFit/>
            </a:bodyPr>
            <a:lstStyle/>
            <a:p>
              <a:pPr algn="ctr"/>
              <a:r>
                <a:rPr lang="en-US" sz="800" b="1" dirty="0">
                  <a:latin typeface="Segoe WP Light"/>
                </a:rPr>
                <a:t>Change Control</a:t>
              </a:r>
            </a:p>
          </p:txBody>
        </p:sp>
        <p:pic>
          <p:nvPicPr>
            <p:cNvPr id="25" name="Picture 24"/>
            <p:cNvPicPr>
              <a:picLocks noChangeAspect="1" noChangeArrowheads="1"/>
            </p:cNvPicPr>
            <p:nvPr/>
          </p:nvPicPr>
          <p:blipFill>
            <a:blip r:embed="rId3" cstate="print">
              <a:lum bright="100000"/>
              <a:extLst>
                <a:ext uri="{28A0092B-C50C-407E-A947-70E740481C1C}">
                  <a14:useLocalDpi xmlns:a14="http://schemas.microsoft.com/office/drawing/2010/main" val="0"/>
                </a:ext>
              </a:extLst>
            </a:blip>
            <a:srcRect/>
            <a:stretch>
              <a:fillRect/>
            </a:stretch>
          </p:blipFill>
          <p:spPr bwMode="black">
            <a:xfrm>
              <a:off x="5631097" y="3356737"/>
              <a:ext cx="441155" cy="3703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65" name="Group 64"/>
          <p:cNvGrpSpPr/>
          <p:nvPr/>
        </p:nvGrpSpPr>
        <p:grpSpPr>
          <a:xfrm>
            <a:off x="2704195" y="2405572"/>
            <a:ext cx="967641" cy="593748"/>
            <a:chOff x="3737760" y="3305595"/>
            <a:chExt cx="1289852" cy="791665"/>
          </a:xfrm>
        </p:grpSpPr>
        <p:sp>
          <p:nvSpPr>
            <p:cNvPr id="27" name="TextBox 26"/>
            <p:cNvSpPr txBox="1"/>
            <p:nvPr/>
          </p:nvSpPr>
          <p:spPr>
            <a:xfrm>
              <a:off x="3737760" y="3810001"/>
              <a:ext cx="1289852" cy="287259"/>
            </a:xfrm>
            <a:prstGeom prst="rect">
              <a:avLst/>
            </a:prstGeom>
            <a:noFill/>
          </p:spPr>
          <p:txBody>
            <a:bodyPr wrap="square" rtlCol="0">
              <a:spAutoFit/>
            </a:bodyPr>
            <a:lstStyle/>
            <a:p>
              <a:pPr algn="ctr"/>
              <a:r>
                <a:rPr lang="en-US" sz="800" b="1" dirty="0">
                  <a:latin typeface="Segoe WP Light"/>
                </a:rPr>
                <a:t>Synchronization</a:t>
              </a:r>
            </a:p>
          </p:txBody>
        </p:sp>
        <p:grpSp>
          <p:nvGrpSpPr>
            <p:cNvPr id="28" name="Group 27"/>
            <p:cNvGrpSpPr/>
            <p:nvPr/>
          </p:nvGrpSpPr>
          <p:grpSpPr bwMode="black">
            <a:xfrm>
              <a:off x="4152177" y="3305595"/>
              <a:ext cx="461018" cy="472637"/>
              <a:chOff x="8587169" y="5108012"/>
              <a:chExt cx="1184275" cy="1214438"/>
            </a:xfrm>
            <a:solidFill>
              <a:schemeClr val="tx1"/>
            </a:solidFill>
          </p:grpSpPr>
          <p:sp>
            <p:nvSpPr>
              <p:cNvPr id="29" name="Freeform 28"/>
              <p:cNvSpPr>
                <a:spLocks noEditPoints="1"/>
              </p:cNvSpPr>
              <p:nvPr/>
            </p:nvSpPr>
            <p:spPr bwMode="black">
              <a:xfrm>
                <a:off x="8587169" y="5108012"/>
                <a:ext cx="1184275" cy="1214438"/>
              </a:xfrm>
              <a:custGeom>
                <a:avLst/>
                <a:gdLst>
                  <a:gd name="T0" fmla="*/ 0 w 316"/>
                  <a:gd name="T1" fmla="*/ 78 h 324"/>
                  <a:gd name="T2" fmla="*/ 0 w 316"/>
                  <a:gd name="T3" fmla="*/ 63 h 324"/>
                  <a:gd name="T4" fmla="*/ 0 w 316"/>
                  <a:gd name="T5" fmla="*/ 47 h 324"/>
                  <a:gd name="T6" fmla="*/ 0 w 316"/>
                  <a:gd name="T7" fmla="*/ 16 h 324"/>
                  <a:gd name="T8" fmla="*/ 0 w 316"/>
                  <a:gd name="T9" fmla="*/ 0 h 324"/>
                  <a:gd name="T10" fmla="*/ 13 w 316"/>
                  <a:gd name="T11" fmla="*/ 78 h 324"/>
                  <a:gd name="T12" fmla="*/ 15 w 316"/>
                  <a:gd name="T13" fmla="*/ 0 h 324"/>
                  <a:gd name="T14" fmla="*/ 26 w 316"/>
                  <a:gd name="T15" fmla="*/ 78 h 324"/>
                  <a:gd name="T16" fmla="*/ 31 w 316"/>
                  <a:gd name="T17" fmla="*/ 0 h 324"/>
                  <a:gd name="T18" fmla="*/ 46 w 316"/>
                  <a:gd name="T19" fmla="*/ 0 h 324"/>
                  <a:gd name="T20" fmla="*/ 52 w 316"/>
                  <a:gd name="T21" fmla="*/ 78 h 324"/>
                  <a:gd name="T22" fmla="*/ 39 w 316"/>
                  <a:gd name="T23" fmla="*/ 78 h 324"/>
                  <a:gd name="T24" fmla="*/ 62 w 316"/>
                  <a:gd name="T25" fmla="*/ 0 h 324"/>
                  <a:gd name="T26" fmla="*/ 65 w 316"/>
                  <a:gd name="T27" fmla="*/ 78 h 324"/>
                  <a:gd name="T28" fmla="*/ 78 w 316"/>
                  <a:gd name="T29" fmla="*/ 0 h 324"/>
                  <a:gd name="T30" fmla="*/ 78 w 316"/>
                  <a:gd name="T31" fmla="*/ 78 h 324"/>
                  <a:gd name="T32" fmla="*/ 78 w 316"/>
                  <a:gd name="T33" fmla="*/ 63 h 324"/>
                  <a:gd name="T34" fmla="*/ 78 w 316"/>
                  <a:gd name="T35" fmla="*/ 47 h 324"/>
                  <a:gd name="T36" fmla="*/ 78 w 316"/>
                  <a:gd name="T37" fmla="*/ 16 h 324"/>
                  <a:gd name="T38" fmla="*/ 0 w 316"/>
                  <a:gd name="T39" fmla="*/ 32 h 324"/>
                  <a:gd name="T40" fmla="*/ 78 w 316"/>
                  <a:gd name="T41" fmla="*/ 32 h 324"/>
                  <a:gd name="T42" fmla="*/ 316 w 316"/>
                  <a:gd name="T43" fmla="*/ 182 h 324"/>
                  <a:gd name="T44" fmla="*/ 114 w 316"/>
                  <a:gd name="T45" fmla="*/ 42 h 324"/>
                  <a:gd name="T46" fmla="*/ 114 w 316"/>
                  <a:gd name="T47" fmla="*/ 49 h 324"/>
                  <a:gd name="T48" fmla="*/ 116 w 316"/>
                  <a:gd name="T49" fmla="*/ 28 h 324"/>
                  <a:gd name="T50" fmla="*/ 119 w 316"/>
                  <a:gd name="T51" fmla="*/ 62 h 324"/>
                  <a:gd name="T52" fmla="*/ 123 w 316"/>
                  <a:gd name="T53" fmla="*/ 16 h 324"/>
                  <a:gd name="T54" fmla="*/ 127 w 316"/>
                  <a:gd name="T55" fmla="*/ 73 h 324"/>
                  <a:gd name="T56" fmla="*/ 133 w 316"/>
                  <a:gd name="T57" fmla="*/ 7 h 324"/>
                  <a:gd name="T58" fmla="*/ 138 w 316"/>
                  <a:gd name="T59" fmla="*/ 81 h 324"/>
                  <a:gd name="T60" fmla="*/ 146 w 316"/>
                  <a:gd name="T61" fmla="*/ 1 h 324"/>
                  <a:gd name="T62" fmla="*/ 158 w 316"/>
                  <a:gd name="T63" fmla="*/ 84 h 324"/>
                  <a:gd name="T64" fmla="*/ 166 w 316"/>
                  <a:gd name="T65" fmla="*/ 2 h 324"/>
                  <a:gd name="T66" fmla="*/ 172 w 316"/>
                  <a:gd name="T67" fmla="*/ 81 h 324"/>
                  <a:gd name="T68" fmla="*/ 179 w 316"/>
                  <a:gd name="T69" fmla="*/ 7 h 324"/>
                  <a:gd name="T70" fmla="*/ 183 w 316"/>
                  <a:gd name="T71" fmla="*/ 74 h 324"/>
                  <a:gd name="T72" fmla="*/ 189 w 316"/>
                  <a:gd name="T73" fmla="*/ 17 h 324"/>
                  <a:gd name="T74" fmla="*/ 192 w 316"/>
                  <a:gd name="T75" fmla="*/ 63 h 324"/>
                  <a:gd name="T76" fmla="*/ 196 w 316"/>
                  <a:gd name="T77" fmla="*/ 29 h 324"/>
                  <a:gd name="T78" fmla="*/ 197 w 316"/>
                  <a:gd name="T79" fmla="*/ 50 h 324"/>
                  <a:gd name="T80" fmla="*/ 198 w 316"/>
                  <a:gd name="T81" fmla="*/ 42 h 324"/>
                  <a:gd name="T82" fmla="*/ 316 w 316"/>
                  <a:gd name="T83" fmla="*/ 249 h 324"/>
                  <a:gd name="T84" fmla="*/ 146 w 316"/>
                  <a:gd name="T85" fmla="*/ 249 h 324"/>
                  <a:gd name="T86" fmla="*/ 0 w 316"/>
                  <a:gd name="T87" fmla="*/ 189 h 324"/>
                  <a:gd name="T88" fmla="*/ 0 w 316"/>
                  <a:gd name="T89" fmla="*/ 198 h 324"/>
                  <a:gd name="T90" fmla="*/ 0 w 316"/>
                  <a:gd name="T91" fmla="*/ 177 h 324"/>
                  <a:gd name="T92" fmla="*/ 0 w 316"/>
                  <a:gd name="T93" fmla="*/ 165 h 324"/>
                  <a:gd name="T94" fmla="*/ 0 w 316"/>
                  <a:gd name="T95" fmla="*/ 153 h 324"/>
                  <a:gd name="T96" fmla="*/ 0 w 316"/>
                  <a:gd name="T97" fmla="*/ 141 h 324"/>
                  <a:gd name="T98" fmla="*/ 0 w 316"/>
                  <a:gd name="T99" fmla="*/ 129 h 324"/>
                  <a:gd name="T100" fmla="*/ 6 w 316"/>
                  <a:gd name="T101" fmla="*/ 120 h 324"/>
                  <a:gd name="T102" fmla="*/ 16 w 316"/>
                  <a:gd name="T103" fmla="*/ 189 h 324"/>
                  <a:gd name="T104" fmla="*/ 16 w 316"/>
                  <a:gd name="T105" fmla="*/ 124 h 324"/>
                  <a:gd name="T106" fmla="*/ 27 w 316"/>
                  <a:gd name="T107" fmla="*/ 183 h 324"/>
                  <a:gd name="T108" fmla="*/ 27 w 316"/>
                  <a:gd name="T109" fmla="*/ 130 h 324"/>
                  <a:gd name="T110" fmla="*/ 37 w 316"/>
                  <a:gd name="T111" fmla="*/ 177 h 324"/>
                  <a:gd name="T112" fmla="*/ 37 w 316"/>
                  <a:gd name="T113" fmla="*/ 136 h 324"/>
                  <a:gd name="T114" fmla="*/ 47 w 316"/>
                  <a:gd name="T115" fmla="*/ 171 h 324"/>
                  <a:gd name="T116" fmla="*/ 48 w 316"/>
                  <a:gd name="T117" fmla="*/ 142 h 324"/>
                  <a:gd name="T118" fmla="*/ 58 w 316"/>
                  <a:gd name="T119" fmla="*/ 165 h 324"/>
                  <a:gd name="T120" fmla="*/ 58 w 316"/>
                  <a:gd name="T121" fmla="*/ 148 h 324"/>
                  <a:gd name="T122" fmla="*/ 60 w 316"/>
                  <a:gd name="T123" fmla="*/ 156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6" h="324">
                    <a:moveTo>
                      <a:pt x="0" y="78"/>
                    </a:moveTo>
                    <a:cubicBezTo>
                      <a:pt x="6" y="78"/>
                      <a:pt x="6" y="78"/>
                      <a:pt x="6" y="78"/>
                    </a:cubicBezTo>
                    <a:cubicBezTo>
                      <a:pt x="6" y="84"/>
                      <a:pt x="6" y="84"/>
                      <a:pt x="6" y="84"/>
                    </a:cubicBezTo>
                    <a:cubicBezTo>
                      <a:pt x="0" y="84"/>
                      <a:pt x="0" y="84"/>
                      <a:pt x="0" y="84"/>
                    </a:cubicBezTo>
                    <a:lnTo>
                      <a:pt x="0" y="78"/>
                    </a:lnTo>
                    <a:close/>
                    <a:moveTo>
                      <a:pt x="0" y="63"/>
                    </a:moveTo>
                    <a:cubicBezTo>
                      <a:pt x="6" y="63"/>
                      <a:pt x="6" y="63"/>
                      <a:pt x="6" y="63"/>
                    </a:cubicBezTo>
                    <a:cubicBezTo>
                      <a:pt x="6" y="69"/>
                      <a:pt x="6" y="69"/>
                      <a:pt x="6" y="69"/>
                    </a:cubicBezTo>
                    <a:cubicBezTo>
                      <a:pt x="0" y="69"/>
                      <a:pt x="0" y="69"/>
                      <a:pt x="0" y="69"/>
                    </a:cubicBezTo>
                    <a:lnTo>
                      <a:pt x="0" y="63"/>
                    </a:lnTo>
                    <a:close/>
                    <a:moveTo>
                      <a:pt x="0" y="47"/>
                    </a:moveTo>
                    <a:cubicBezTo>
                      <a:pt x="6" y="47"/>
                      <a:pt x="6" y="47"/>
                      <a:pt x="6" y="47"/>
                    </a:cubicBezTo>
                    <a:cubicBezTo>
                      <a:pt x="6" y="53"/>
                      <a:pt x="6" y="53"/>
                      <a:pt x="6" y="53"/>
                    </a:cubicBezTo>
                    <a:cubicBezTo>
                      <a:pt x="0" y="53"/>
                      <a:pt x="0" y="53"/>
                      <a:pt x="0" y="53"/>
                    </a:cubicBezTo>
                    <a:lnTo>
                      <a:pt x="0" y="47"/>
                    </a:lnTo>
                    <a:close/>
                    <a:moveTo>
                      <a:pt x="0" y="16"/>
                    </a:moveTo>
                    <a:cubicBezTo>
                      <a:pt x="6" y="16"/>
                      <a:pt x="6" y="16"/>
                      <a:pt x="6" y="16"/>
                    </a:cubicBezTo>
                    <a:cubicBezTo>
                      <a:pt x="6" y="22"/>
                      <a:pt x="6" y="22"/>
                      <a:pt x="6" y="22"/>
                    </a:cubicBezTo>
                    <a:cubicBezTo>
                      <a:pt x="0" y="22"/>
                      <a:pt x="0" y="22"/>
                      <a:pt x="0" y="22"/>
                    </a:cubicBezTo>
                    <a:lnTo>
                      <a:pt x="0" y="16"/>
                    </a:lnTo>
                    <a:close/>
                    <a:moveTo>
                      <a:pt x="0" y="0"/>
                    </a:moveTo>
                    <a:cubicBezTo>
                      <a:pt x="6" y="0"/>
                      <a:pt x="6" y="0"/>
                      <a:pt x="6" y="0"/>
                    </a:cubicBezTo>
                    <a:cubicBezTo>
                      <a:pt x="6" y="7"/>
                      <a:pt x="6" y="7"/>
                      <a:pt x="6" y="7"/>
                    </a:cubicBezTo>
                    <a:cubicBezTo>
                      <a:pt x="0" y="7"/>
                      <a:pt x="0" y="7"/>
                      <a:pt x="0" y="7"/>
                    </a:cubicBezTo>
                    <a:lnTo>
                      <a:pt x="0" y="0"/>
                    </a:lnTo>
                    <a:close/>
                    <a:moveTo>
                      <a:pt x="13" y="78"/>
                    </a:moveTo>
                    <a:cubicBezTo>
                      <a:pt x="19" y="78"/>
                      <a:pt x="19" y="78"/>
                      <a:pt x="19" y="78"/>
                    </a:cubicBezTo>
                    <a:cubicBezTo>
                      <a:pt x="19" y="84"/>
                      <a:pt x="19" y="84"/>
                      <a:pt x="19" y="84"/>
                    </a:cubicBezTo>
                    <a:cubicBezTo>
                      <a:pt x="13" y="84"/>
                      <a:pt x="13" y="84"/>
                      <a:pt x="13" y="84"/>
                    </a:cubicBezTo>
                    <a:lnTo>
                      <a:pt x="13" y="78"/>
                    </a:lnTo>
                    <a:close/>
                    <a:moveTo>
                      <a:pt x="15" y="0"/>
                    </a:moveTo>
                    <a:cubicBezTo>
                      <a:pt x="22" y="0"/>
                      <a:pt x="22" y="0"/>
                      <a:pt x="22" y="0"/>
                    </a:cubicBezTo>
                    <a:cubicBezTo>
                      <a:pt x="22" y="7"/>
                      <a:pt x="22" y="7"/>
                      <a:pt x="22" y="7"/>
                    </a:cubicBezTo>
                    <a:cubicBezTo>
                      <a:pt x="15" y="7"/>
                      <a:pt x="15" y="7"/>
                      <a:pt x="15" y="7"/>
                    </a:cubicBezTo>
                    <a:lnTo>
                      <a:pt x="15" y="0"/>
                    </a:lnTo>
                    <a:close/>
                    <a:moveTo>
                      <a:pt x="26" y="78"/>
                    </a:moveTo>
                    <a:cubicBezTo>
                      <a:pt x="32" y="78"/>
                      <a:pt x="32" y="78"/>
                      <a:pt x="32" y="78"/>
                    </a:cubicBezTo>
                    <a:cubicBezTo>
                      <a:pt x="32" y="84"/>
                      <a:pt x="32" y="84"/>
                      <a:pt x="32" y="84"/>
                    </a:cubicBezTo>
                    <a:cubicBezTo>
                      <a:pt x="26" y="84"/>
                      <a:pt x="26" y="84"/>
                      <a:pt x="26" y="84"/>
                    </a:cubicBezTo>
                    <a:lnTo>
                      <a:pt x="26" y="78"/>
                    </a:lnTo>
                    <a:close/>
                    <a:moveTo>
                      <a:pt x="31" y="0"/>
                    </a:moveTo>
                    <a:cubicBezTo>
                      <a:pt x="37" y="0"/>
                      <a:pt x="37" y="0"/>
                      <a:pt x="37" y="0"/>
                    </a:cubicBezTo>
                    <a:cubicBezTo>
                      <a:pt x="37" y="7"/>
                      <a:pt x="37" y="7"/>
                      <a:pt x="37" y="7"/>
                    </a:cubicBezTo>
                    <a:cubicBezTo>
                      <a:pt x="31" y="7"/>
                      <a:pt x="31" y="7"/>
                      <a:pt x="31" y="7"/>
                    </a:cubicBezTo>
                    <a:lnTo>
                      <a:pt x="31" y="0"/>
                    </a:lnTo>
                    <a:close/>
                    <a:moveTo>
                      <a:pt x="46" y="0"/>
                    </a:moveTo>
                    <a:cubicBezTo>
                      <a:pt x="53" y="0"/>
                      <a:pt x="53" y="0"/>
                      <a:pt x="53" y="0"/>
                    </a:cubicBezTo>
                    <a:cubicBezTo>
                      <a:pt x="53" y="7"/>
                      <a:pt x="53" y="7"/>
                      <a:pt x="53" y="7"/>
                    </a:cubicBezTo>
                    <a:cubicBezTo>
                      <a:pt x="46" y="7"/>
                      <a:pt x="46" y="7"/>
                      <a:pt x="46" y="7"/>
                    </a:cubicBezTo>
                    <a:lnTo>
                      <a:pt x="46" y="0"/>
                    </a:lnTo>
                    <a:close/>
                    <a:moveTo>
                      <a:pt x="52" y="78"/>
                    </a:moveTo>
                    <a:cubicBezTo>
                      <a:pt x="58" y="78"/>
                      <a:pt x="58" y="78"/>
                      <a:pt x="58" y="78"/>
                    </a:cubicBezTo>
                    <a:cubicBezTo>
                      <a:pt x="58" y="84"/>
                      <a:pt x="58" y="84"/>
                      <a:pt x="58" y="84"/>
                    </a:cubicBezTo>
                    <a:cubicBezTo>
                      <a:pt x="52" y="84"/>
                      <a:pt x="52" y="84"/>
                      <a:pt x="52" y="84"/>
                    </a:cubicBezTo>
                    <a:lnTo>
                      <a:pt x="52" y="78"/>
                    </a:lnTo>
                    <a:close/>
                    <a:moveTo>
                      <a:pt x="39" y="78"/>
                    </a:moveTo>
                    <a:cubicBezTo>
                      <a:pt x="45" y="78"/>
                      <a:pt x="45" y="78"/>
                      <a:pt x="45" y="78"/>
                    </a:cubicBezTo>
                    <a:cubicBezTo>
                      <a:pt x="45" y="84"/>
                      <a:pt x="45" y="84"/>
                      <a:pt x="45" y="84"/>
                    </a:cubicBezTo>
                    <a:cubicBezTo>
                      <a:pt x="39" y="84"/>
                      <a:pt x="39" y="84"/>
                      <a:pt x="39" y="84"/>
                    </a:cubicBezTo>
                    <a:lnTo>
                      <a:pt x="39" y="78"/>
                    </a:lnTo>
                    <a:close/>
                    <a:moveTo>
                      <a:pt x="62" y="0"/>
                    </a:moveTo>
                    <a:cubicBezTo>
                      <a:pt x="68" y="0"/>
                      <a:pt x="68" y="0"/>
                      <a:pt x="68" y="0"/>
                    </a:cubicBezTo>
                    <a:cubicBezTo>
                      <a:pt x="68" y="7"/>
                      <a:pt x="68" y="7"/>
                      <a:pt x="68" y="7"/>
                    </a:cubicBezTo>
                    <a:cubicBezTo>
                      <a:pt x="62" y="7"/>
                      <a:pt x="62" y="7"/>
                      <a:pt x="62" y="7"/>
                    </a:cubicBezTo>
                    <a:lnTo>
                      <a:pt x="62" y="0"/>
                    </a:lnTo>
                    <a:close/>
                    <a:moveTo>
                      <a:pt x="65" y="78"/>
                    </a:moveTo>
                    <a:cubicBezTo>
                      <a:pt x="71" y="78"/>
                      <a:pt x="71" y="78"/>
                      <a:pt x="71" y="78"/>
                    </a:cubicBezTo>
                    <a:cubicBezTo>
                      <a:pt x="71" y="84"/>
                      <a:pt x="71" y="84"/>
                      <a:pt x="71" y="84"/>
                    </a:cubicBezTo>
                    <a:cubicBezTo>
                      <a:pt x="65" y="84"/>
                      <a:pt x="65" y="84"/>
                      <a:pt x="65" y="84"/>
                    </a:cubicBezTo>
                    <a:lnTo>
                      <a:pt x="65" y="78"/>
                    </a:lnTo>
                    <a:close/>
                    <a:moveTo>
                      <a:pt x="78" y="0"/>
                    </a:moveTo>
                    <a:cubicBezTo>
                      <a:pt x="84" y="0"/>
                      <a:pt x="84" y="0"/>
                      <a:pt x="84" y="0"/>
                    </a:cubicBezTo>
                    <a:cubicBezTo>
                      <a:pt x="84" y="7"/>
                      <a:pt x="84" y="7"/>
                      <a:pt x="84" y="7"/>
                    </a:cubicBezTo>
                    <a:cubicBezTo>
                      <a:pt x="78" y="7"/>
                      <a:pt x="78" y="7"/>
                      <a:pt x="78" y="7"/>
                    </a:cubicBezTo>
                    <a:lnTo>
                      <a:pt x="78" y="0"/>
                    </a:lnTo>
                    <a:close/>
                    <a:moveTo>
                      <a:pt x="78" y="78"/>
                    </a:moveTo>
                    <a:cubicBezTo>
                      <a:pt x="84" y="78"/>
                      <a:pt x="84" y="78"/>
                      <a:pt x="84" y="78"/>
                    </a:cubicBezTo>
                    <a:cubicBezTo>
                      <a:pt x="84" y="84"/>
                      <a:pt x="84" y="84"/>
                      <a:pt x="84" y="84"/>
                    </a:cubicBezTo>
                    <a:cubicBezTo>
                      <a:pt x="78" y="84"/>
                      <a:pt x="78" y="84"/>
                      <a:pt x="78" y="84"/>
                    </a:cubicBezTo>
                    <a:lnTo>
                      <a:pt x="78" y="78"/>
                    </a:lnTo>
                    <a:close/>
                    <a:moveTo>
                      <a:pt x="78" y="63"/>
                    </a:moveTo>
                    <a:cubicBezTo>
                      <a:pt x="84" y="63"/>
                      <a:pt x="84" y="63"/>
                      <a:pt x="84" y="63"/>
                    </a:cubicBezTo>
                    <a:cubicBezTo>
                      <a:pt x="84" y="69"/>
                      <a:pt x="84" y="69"/>
                      <a:pt x="84" y="69"/>
                    </a:cubicBezTo>
                    <a:cubicBezTo>
                      <a:pt x="78" y="69"/>
                      <a:pt x="78" y="69"/>
                      <a:pt x="78" y="69"/>
                    </a:cubicBezTo>
                    <a:lnTo>
                      <a:pt x="78" y="63"/>
                    </a:lnTo>
                    <a:close/>
                    <a:moveTo>
                      <a:pt x="78" y="47"/>
                    </a:moveTo>
                    <a:cubicBezTo>
                      <a:pt x="84" y="47"/>
                      <a:pt x="84" y="47"/>
                      <a:pt x="84" y="47"/>
                    </a:cubicBezTo>
                    <a:cubicBezTo>
                      <a:pt x="84" y="53"/>
                      <a:pt x="84" y="53"/>
                      <a:pt x="84" y="53"/>
                    </a:cubicBezTo>
                    <a:cubicBezTo>
                      <a:pt x="78" y="53"/>
                      <a:pt x="78" y="53"/>
                      <a:pt x="78" y="53"/>
                    </a:cubicBezTo>
                    <a:lnTo>
                      <a:pt x="78" y="47"/>
                    </a:lnTo>
                    <a:close/>
                    <a:moveTo>
                      <a:pt x="78" y="16"/>
                    </a:moveTo>
                    <a:cubicBezTo>
                      <a:pt x="84" y="16"/>
                      <a:pt x="84" y="16"/>
                      <a:pt x="84" y="16"/>
                    </a:cubicBezTo>
                    <a:cubicBezTo>
                      <a:pt x="84" y="22"/>
                      <a:pt x="84" y="22"/>
                      <a:pt x="84" y="22"/>
                    </a:cubicBezTo>
                    <a:cubicBezTo>
                      <a:pt x="78" y="22"/>
                      <a:pt x="78" y="22"/>
                      <a:pt x="78" y="22"/>
                    </a:cubicBezTo>
                    <a:lnTo>
                      <a:pt x="78" y="16"/>
                    </a:lnTo>
                    <a:close/>
                    <a:moveTo>
                      <a:pt x="0" y="32"/>
                    </a:moveTo>
                    <a:cubicBezTo>
                      <a:pt x="6" y="32"/>
                      <a:pt x="6" y="32"/>
                      <a:pt x="6" y="32"/>
                    </a:cubicBezTo>
                    <a:cubicBezTo>
                      <a:pt x="6" y="38"/>
                      <a:pt x="6" y="38"/>
                      <a:pt x="6" y="38"/>
                    </a:cubicBezTo>
                    <a:cubicBezTo>
                      <a:pt x="0" y="38"/>
                      <a:pt x="0" y="38"/>
                      <a:pt x="0" y="38"/>
                    </a:cubicBezTo>
                    <a:lnTo>
                      <a:pt x="0" y="32"/>
                    </a:lnTo>
                    <a:close/>
                    <a:moveTo>
                      <a:pt x="78" y="32"/>
                    </a:moveTo>
                    <a:cubicBezTo>
                      <a:pt x="84" y="32"/>
                      <a:pt x="84" y="32"/>
                      <a:pt x="84" y="32"/>
                    </a:cubicBezTo>
                    <a:cubicBezTo>
                      <a:pt x="84" y="38"/>
                      <a:pt x="84" y="38"/>
                      <a:pt x="84" y="38"/>
                    </a:cubicBezTo>
                    <a:cubicBezTo>
                      <a:pt x="78" y="38"/>
                      <a:pt x="78" y="38"/>
                      <a:pt x="78" y="38"/>
                    </a:cubicBezTo>
                    <a:lnTo>
                      <a:pt x="78" y="32"/>
                    </a:lnTo>
                    <a:close/>
                    <a:moveTo>
                      <a:pt x="316" y="182"/>
                    </a:moveTo>
                    <a:cubicBezTo>
                      <a:pt x="316" y="161"/>
                      <a:pt x="299" y="144"/>
                      <a:pt x="278" y="144"/>
                    </a:cubicBezTo>
                    <a:cubicBezTo>
                      <a:pt x="258" y="144"/>
                      <a:pt x="241" y="161"/>
                      <a:pt x="241" y="182"/>
                    </a:cubicBezTo>
                    <a:cubicBezTo>
                      <a:pt x="241" y="203"/>
                      <a:pt x="258" y="219"/>
                      <a:pt x="278" y="219"/>
                    </a:cubicBezTo>
                    <a:cubicBezTo>
                      <a:pt x="299" y="219"/>
                      <a:pt x="316" y="203"/>
                      <a:pt x="316" y="182"/>
                    </a:cubicBezTo>
                    <a:moveTo>
                      <a:pt x="114" y="42"/>
                    </a:moveTo>
                    <a:cubicBezTo>
                      <a:pt x="114" y="39"/>
                      <a:pt x="114" y="37"/>
                      <a:pt x="114" y="35"/>
                    </a:cubicBezTo>
                    <a:cubicBezTo>
                      <a:pt x="121" y="36"/>
                      <a:pt x="121" y="36"/>
                      <a:pt x="121" y="36"/>
                    </a:cubicBezTo>
                    <a:cubicBezTo>
                      <a:pt x="120" y="38"/>
                      <a:pt x="120" y="40"/>
                      <a:pt x="120" y="42"/>
                    </a:cubicBezTo>
                    <a:lnTo>
                      <a:pt x="114" y="42"/>
                    </a:lnTo>
                    <a:close/>
                    <a:moveTo>
                      <a:pt x="114" y="49"/>
                    </a:moveTo>
                    <a:cubicBezTo>
                      <a:pt x="120" y="48"/>
                      <a:pt x="120" y="48"/>
                      <a:pt x="120" y="48"/>
                    </a:cubicBezTo>
                    <a:cubicBezTo>
                      <a:pt x="121" y="50"/>
                      <a:pt x="121" y="52"/>
                      <a:pt x="122" y="53"/>
                    </a:cubicBezTo>
                    <a:cubicBezTo>
                      <a:pt x="116" y="55"/>
                      <a:pt x="116" y="55"/>
                      <a:pt x="116" y="55"/>
                    </a:cubicBezTo>
                    <a:cubicBezTo>
                      <a:pt x="115" y="53"/>
                      <a:pt x="115" y="51"/>
                      <a:pt x="114" y="49"/>
                    </a:cubicBezTo>
                    <a:moveTo>
                      <a:pt x="116" y="28"/>
                    </a:moveTo>
                    <a:cubicBezTo>
                      <a:pt x="117" y="26"/>
                      <a:pt x="118" y="24"/>
                      <a:pt x="119" y="22"/>
                    </a:cubicBezTo>
                    <a:cubicBezTo>
                      <a:pt x="124" y="25"/>
                      <a:pt x="124" y="25"/>
                      <a:pt x="124" y="25"/>
                    </a:cubicBezTo>
                    <a:cubicBezTo>
                      <a:pt x="124" y="27"/>
                      <a:pt x="123" y="28"/>
                      <a:pt x="122" y="30"/>
                    </a:cubicBezTo>
                    <a:lnTo>
                      <a:pt x="116" y="28"/>
                    </a:lnTo>
                    <a:close/>
                    <a:moveTo>
                      <a:pt x="119" y="62"/>
                    </a:moveTo>
                    <a:cubicBezTo>
                      <a:pt x="124" y="59"/>
                      <a:pt x="124" y="59"/>
                      <a:pt x="124" y="59"/>
                    </a:cubicBezTo>
                    <a:cubicBezTo>
                      <a:pt x="125" y="61"/>
                      <a:pt x="126" y="62"/>
                      <a:pt x="127" y="64"/>
                    </a:cubicBezTo>
                    <a:cubicBezTo>
                      <a:pt x="122" y="68"/>
                      <a:pt x="122" y="68"/>
                      <a:pt x="122" y="68"/>
                    </a:cubicBezTo>
                    <a:cubicBezTo>
                      <a:pt x="121" y="66"/>
                      <a:pt x="120" y="64"/>
                      <a:pt x="119" y="62"/>
                    </a:cubicBezTo>
                    <a:moveTo>
                      <a:pt x="123" y="16"/>
                    </a:moveTo>
                    <a:cubicBezTo>
                      <a:pt x="124" y="14"/>
                      <a:pt x="126" y="13"/>
                      <a:pt x="128" y="11"/>
                    </a:cubicBezTo>
                    <a:cubicBezTo>
                      <a:pt x="132" y="16"/>
                      <a:pt x="132" y="16"/>
                      <a:pt x="132" y="16"/>
                    </a:cubicBezTo>
                    <a:cubicBezTo>
                      <a:pt x="130" y="17"/>
                      <a:pt x="129" y="18"/>
                      <a:pt x="128" y="20"/>
                    </a:cubicBezTo>
                    <a:lnTo>
                      <a:pt x="123" y="16"/>
                    </a:lnTo>
                    <a:close/>
                    <a:moveTo>
                      <a:pt x="127" y="73"/>
                    </a:moveTo>
                    <a:cubicBezTo>
                      <a:pt x="131" y="68"/>
                      <a:pt x="131" y="68"/>
                      <a:pt x="131" y="68"/>
                    </a:cubicBezTo>
                    <a:cubicBezTo>
                      <a:pt x="133" y="70"/>
                      <a:pt x="134" y="71"/>
                      <a:pt x="136" y="72"/>
                    </a:cubicBezTo>
                    <a:cubicBezTo>
                      <a:pt x="132" y="77"/>
                      <a:pt x="132" y="77"/>
                      <a:pt x="132" y="77"/>
                    </a:cubicBezTo>
                    <a:cubicBezTo>
                      <a:pt x="130" y="76"/>
                      <a:pt x="128" y="74"/>
                      <a:pt x="127" y="73"/>
                    </a:cubicBezTo>
                    <a:moveTo>
                      <a:pt x="133" y="7"/>
                    </a:moveTo>
                    <a:cubicBezTo>
                      <a:pt x="135" y="6"/>
                      <a:pt x="137" y="5"/>
                      <a:pt x="139" y="4"/>
                    </a:cubicBezTo>
                    <a:cubicBezTo>
                      <a:pt x="142" y="9"/>
                      <a:pt x="142" y="9"/>
                      <a:pt x="142" y="9"/>
                    </a:cubicBezTo>
                    <a:cubicBezTo>
                      <a:pt x="140" y="10"/>
                      <a:pt x="138" y="11"/>
                      <a:pt x="137" y="12"/>
                    </a:cubicBezTo>
                    <a:lnTo>
                      <a:pt x="133" y="7"/>
                    </a:lnTo>
                    <a:close/>
                    <a:moveTo>
                      <a:pt x="138" y="81"/>
                    </a:moveTo>
                    <a:cubicBezTo>
                      <a:pt x="141" y="75"/>
                      <a:pt x="141" y="75"/>
                      <a:pt x="141" y="75"/>
                    </a:cubicBezTo>
                    <a:cubicBezTo>
                      <a:pt x="143" y="76"/>
                      <a:pt x="144" y="76"/>
                      <a:pt x="146" y="77"/>
                    </a:cubicBezTo>
                    <a:cubicBezTo>
                      <a:pt x="145" y="83"/>
                      <a:pt x="145" y="83"/>
                      <a:pt x="145" y="83"/>
                    </a:cubicBezTo>
                    <a:cubicBezTo>
                      <a:pt x="142" y="82"/>
                      <a:pt x="140" y="82"/>
                      <a:pt x="138" y="81"/>
                    </a:cubicBezTo>
                    <a:moveTo>
                      <a:pt x="146" y="1"/>
                    </a:moveTo>
                    <a:cubicBezTo>
                      <a:pt x="148" y="1"/>
                      <a:pt x="150" y="1"/>
                      <a:pt x="153" y="0"/>
                    </a:cubicBezTo>
                    <a:cubicBezTo>
                      <a:pt x="153" y="7"/>
                      <a:pt x="153" y="7"/>
                      <a:pt x="153" y="7"/>
                    </a:cubicBezTo>
                    <a:cubicBezTo>
                      <a:pt x="151" y="7"/>
                      <a:pt x="149" y="7"/>
                      <a:pt x="147" y="8"/>
                    </a:cubicBezTo>
                    <a:lnTo>
                      <a:pt x="146" y="1"/>
                    </a:lnTo>
                    <a:close/>
                    <a:moveTo>
                      <a:pt x="152" y="84"/>
                    </a:moveTo>
                    <a:cubicBezTo>
                      <a:pt x="152" y="78"/>
                      <a:pt x="152" y="78"/>
                      <a:pt x="152" y="78"/>
                    </a:cubicBezTo>
                    <a:cubicBezTo>
                      <a:pt x="153" y="78"/>
                      <a:pt x="155" y="78"/>
                      <a:pt x="156" y="78"/>
                    </a:cubicBezTo>
                    <a:cubicBezTo>
                      <a:pt x="157" y="78"/>
                      <a:pt x="157" y="78"/>
                      <a:pt x="158" y="78"/>
                    </a:cubicBezTo>
                    <a:cubicBezTo>
                      <a:pt x="158" y="84"/>
                      <a:pt x="158" y="84"/>
                      <a:pt x="158" y="84"/>
                    </a:cubicBezTo>
                    <a:cubicBezTo>
                      <a:pt x="157" y="84"/>
                      <a:pt x="157" y="84"/>
                      <a:pt x="156" y="84"/>
                    </a:cubicBezTo>
                    <a:cubicBezTo>
                      <a:pt x="154" y="84"/>
                      <a:pt x="153" y="84"/>
                      <a:pt x="152" y="84"/>
                    </a:cubicBezTo>
                    <a:moveTo>
                      <a:pt x="159" y="7"/>
                    </a:moveTo>
                    <a:cubicBezTo>
                      <a:pt x="160" y="0"/>
                      <a:pt x="160" y="0"/>
                      <a:pt x="160" y="0"/>
                    </a:cubicBezTo>
                    <a:cubicBezTo>
                      <a:pt x="162" y="1"/>
                      <a:pt x="164" y="1"/>
                      <a:pt x="166" y="2"/>
                    </a:cubicBezTo>
                    <a:cubicBezTo>
                      <a:pt x="165" y="8"/>
                      <a:pt x="165" y="8"/>
                      <a:pt x="165" y="8"/>
                    </a:cubicBezTo>
                    <a:cubicBezTo>
                      <a:pt x="163" y="7"/>
                      <a:pt x="161" y="7"/>
                      <a:pt x="159" y="7"/>
                    </a:cubicBezTo>
                    <a:moveTo>
                      <a:pt x="164" y="77"/>
                    </a:moveTo>
                    <a:cubicBezTo>
                      <a:pt x="166" y="77"/>
                      <a:pt x="168" y="76"/>
                      <a:pt x="169" y="76"/>
                    </a:cubicBezTo>
                    <a:cubicBezTo>
                      <a:pt x="172" y="81"/>
                      <a:pt x="172" y="81"/>
                      <a:pt x="172" y="81"/>
                    </a:cubicBezTo>
                    <a:cubicBezTo>
                      <a:pt x="170" y="82"/>
                      <a:pt x="168" y="83"/>
                      <a:pt x="165" y="83"/>
                    </a:cubicBezTo>
                    <a:lnTo>
                      <a:pt x="164" y="77"/>
                    </a:lnTo>
                    <a:close/>
                    <a:moveTo>
                      <a:pt x="170" y="10"/>
                    </a:moveTo>
                    <a:cubicBezTo>
                      <a:pt x="173" y="4"/>
                      <a:pt x="173" y="4"/>
                      <a:pt x="173" y="4"/>
                    </a:cubicBezTo>
                    <a:cubicBezTo>
                      <a:pt x="175" y="5"/>
                      <a:pt x="177" y="6"/>
                      <a:pt x="179" y="7"/>
                    </a:cubicBezTo>
                    <a:cubicBezTo>
                      <a:pt x="175" y="12"/>
                      <a:pt x="175" y="12"/>
                      <a:pt x="175" y="12"/>
                    </a:cubicBezTo>
                    <a:cubicBezTo>
                      <a:pt x="174" y="11"/>
                      <a:pt x="172" y="10"/>
                      <a:pt x="170" y="10"/>
                    </a:cubicBezTo>
                    <a:moveTo>
                      <a:pt x="175" y="73"/>
                    </a:moveTo>
                    <a:cubicBezTo>
                      <a:pt x="176" y="72"/>
                      <a:pt x="178" y="71"/>
                      <a:pt x="179" y="69"/>
                    </a:cubicBezTo>
                    <a:cubicBezTo>
                      <a:pt x="183" y="74"/>
                      <a:pt x="183" y="74"/>
                      <a:pt x="183" y="74"/>
                    </a:cubicBezTo>
                    <a:cubicBezTo>
                      <a:pt x="182" y="75"/>
                      <a:pt x="180" y="77"/>
                      <a:pt x="178" y="78"/>
                    </a:cubicBezTo>
                    <a:lnTo>
                      <a:pt x="175" y="73"/>
                    </a:lnTo>
                    <a:close/>
                    <a:moveTo>
                      <a:pt x="180" y="16"/>
                    </a:moveTo>
                    <a:cubicBezTo>
                      <a:pt x="184" y="12"/>
                      <a:pt x="184" y="12"/>
                      <a:pt x="184" y="12"/>
                    </a:cubicBezTo>
                    <a:cubicBezTo>
                      <a:pt x="186" y="13"/>
                      <a:pt x="188" y="15"/>
                      <a:pt x="189" y="17"/>
                    </a:cubicBezTo>
                    <a:cubicBezTo>
                      <a:pt x="184" y="20"/>
                      <a:pt x="184" y="20"/>
                      <a:pt x="184" y="20"/>
                    </a:cubicBezTo>
                    <a:cubicBezTo>
                      <a:pt x="183" y="19"/>
                      <a:pt x="182" y="17"/>
                      <a:pt x="180" y="16"/>
                    </a:cubicBezTo>
                    <a:moveTo>
                      <a:pt x="184" y="65"/>
                    </a:moveTo>
                    <a:cubicBezTo>
                      <a:pt x="185" y="63"/>
                      <a:pt x="186" y="62"/>
                      <a:pt x="187" y="60"/>
                    </a:cubicBezTo>
                    <a:cubicBezTo>
                      <a:pt x="192" y="63"/>
                      <a:pt x="192" y="63"/>
                      <a:pt x="192" y="63"/>
                    </a:cubicBezTo>
                    <a:cubicBezTo>
                      <a:pt x="191" y="65"/>
                      <a:pt x="190" y="67"/>
                      <a:pt x="188" y="69"/>
                    </a:cubicBezTo>
                    <a:lnTo>
                      <a:pt x="184" y="65"/>
                    </a:lnTo>
                    <a:close/>
                    <a:moveTo>
                      <a:pt x="187" y="26"/>
                    </a:moveTo>
                    <a:cubicBezTo>
                      <a:pt x="193" y="23"/>
                      <a:pt x="193" y="23"/>
                      <a:pt x="193" y="23"/>
                    </a:cubicBezTo>
                    <a:cubicBezTo>
                      <a:pt x="194" y="25"/>
                      <a:pt x="195" y="27"/>
                      <a:pt x="196" y="29"/>
                    </a:cubicBezTo>
                    <a:cubicBezTo>
                      <a:pt x="190" y="31"/>
                      <a:pt x="190" y="31"/>
                      <a:pt x="190" y="31"/>
                    </a:cubicBezTo>
                    <a:cubicBezTo>
                      <a:pt x="189" y="29"/>
                      <a:pt x="188" y="27"/>
                      <a:pt x="187" y="26"/>
                    </a:cubicBezTo>
                    <a:moveTo>
                      <a:pt x="189" y="55"/>
                    </a:moveTo>
                    <a:cubicBezTo>
                      <a:pt x="190" y="53"/>
                      <a:pt x="191" y="51"/>
                      <a:pt x="191" y="49"/>
                    </a:cubicBezTo>
                    <a:cubicBezTo>
                      <a:pt x="197" y="50"/>
                      <a:pt x="197" y="50"/>
                      <a:pt x="197" y="50"/>
                    </a:cubicBezTo>
                    <a:cubicBezTo>
                      <a:pt x="197" y="53"/>
                      <a:pt x="196" y="55"/>
                      <a:pt x="195" y="57"/>
                    </a:cubicBezTo>
                    <a:lnTo>
                      <a:pt x="189" y="55"/>
                    </a:lnTo>
                    <a:close/>
                    <a:moveTo>
                      <a:pt x="191" y="37"/>
                    </a:moveTo>
                    <a:cubicBezTo>
                      <a:pt x="197" y="36"/>
                      <a:pt x="197" y="36"/>
                      <a:pt x="197" y="36"/>
                    </a:cubicBezTo>
                    <a:cubicBezTo>
                      <a:pt x="198" y="38"/>
                      <a:pt x="198" y="40"/>
                      <a:pt x="198" y="42"/>
                    </a:cubicBezTo>
                    <a:cubicBezTo>
                      <a:pt x="198" y="43"/>
                      <a:pt x="198" y="43"/>
                      <a:pt x="198" y="43"/>
                    </a:cubicBezTo>
                    <a:cubicBezTo>
                      <a:pt x="192" y="43"/>
                      <a:pt x="192" y="43"/>
                      <a:pt x="192" y="43"/>
                    </a:cubicBezTo>
                    <a:cubicBezTo>
                      <a:pt x="192" y="42"/>
                      <a:pt x="192" y="42"/>
                      <a:pt x="192" y="42"/>
                    </a:cubicBezTo>
                    <a:cubicBezTo>
                      <a:pt x="192" y="40"/>
                      <a:pt x="191" y="39"/>
                      <a:pt x="191" y="37"/>
                    </a:cubicBezTo>
                    <a:moveTo>
                      <a:pt x="316" y="249"/>
                    </a:moveTo>
                    <a:cubicBezTo>
                      <a:pt x="241" y="249"/>
                      <a:pt x="241" y="249"/>
                      <a:pt x="241" y="249"/>
                    </a:cubicBezTo>
                    <a:cubicBezTo>
                      <a:pt x="241" y="324"/>
                      <a:pt x="241" y="324"/>
                      <a:pt x="241" y="324"/>
                    </a:cubicBezTo>
                    <a:cubicBezTo>
                      <a:pt x="316" y="324"/>
                      <a:pt x="316" y="324"/>
                      <a:pt x="316" y="324"/>
                    </a:cubicBezTo>
                    <a:lnTo>
                      <a:pt x="316" y="249"/>
                    </a:lnTo>
                    <a:close/>
                    <a:moveTo>
                      <a:pt x="146" y="249"/>
                    </a:moveTo>
                    <a:cubicBezTo>
                      <a:pt x="146" y="324"/>
                      <a:pt x="146" y="324"/>
                      <a:pt x="146" y="324"/>
                    </a:cubicBezTo>
                    <a:cubicBezTo>
                      <a:pt x="211" y="287"/>
                      <a:pt x="211" y="287"/>
                      <a:pt x="211" y="287"/>
                    </a:cubicBezTo>
                    <a:lnTo>
                      <a:pt x="146" y="249"/>
                    </a:lnTo>
                    <a:close/>
                    <a:moveTo>
                      <a:pt x="0" y="198"/>
                    </a:moveTo>
                    <a:cubicBezTo>
                      <a:pt x="0" y="189"/>
                      <a:pt x="0" y="189"/>
                      <a:pt x="0" y="189"/>
                    </a:cubicBezTo>
                    <a:cubicBezTo>
                      <a:pt x="6" y="189"/>
                      <a:pt x="6" y="189"/>
                      <a:pt x="6" y="189"/>
                    </a:cubicBezTo>
                    <a:cubicBezTo>
                      <a:pt x="6" y="193"/>
                      <a:pt x="6" y="193"/>
                      <a:pt x="6" y="193"/>
                    </a:cubicBezTo>
                    <a:cubicBezTo>
                      <a:pt x="5" y="193"/>
                      <a:pt x="5" y="193"/>
                      <a:pt x="5" y="193"/>
                    </a:cubicBezTo>
                    <a:cubicBezTo>
                      <a:pt x="6" y="195"/>
                      <a:pt x="6" y="195"/>
                      <a:pt x="6" y="195"/>
                    </a:cubicBezTo>
                    <a:lnTo>
                      <a:pt x="0" y="198"/>
                    </a:lnTo>
                    <a:close/>
                    <a:moveTo>
                      <a:pt x="0" y="177"/>
                    </a:moveTo>
                    <a:cubicBezTo>
                      <a:pt x="6" y="177"/>
                      <a:pt x="6" y="177"/>
                      <a:pt x="6" y="177"/>
                    </a:cubicBezTo>
                    <a:cubicBezTo>
                      <a:pt x="6" y="183"/>
                      <a:pt x="6" y="183"/>
                      <a:pt x="6" y="183"/>
                    </a:cubicBezTo>
                    <a:cubicBezTo>
                      <a:pt x="0" y="183"/>
                      <a:pt x="0" y="183"/>
                      <a:pt x="0" y="183"/>
                    </a:cubicBezTo>
                    <a:lnTo>
                      <a:pt x="0" y="177"/>
                    </a:lnTo>
                    <a:close/>
                    <a:moveTo>
                      <a:pt x="0" y="165"/>
                    </a:moveTo>
                    <a:cubicBezTo>
                      <a:pt x="6" y="165"/>
                      <a:pt x="6" y="165"/>
                      <a:pt x="6" y="165"/>
                    </a:cubicBezTo>
                    <a:cubicBezTo>
                      <a:pt x="6" y="171"/>
                      <a:pt x="6" y="171"/>
                      <a:pt x="6" y="171"/>
                    </a:cubicBezTo>
                    <a:cubicBezTo>
                      <a:pt x="0" y="171"/>
                      <a:pt x="0" y="171"/>
                      <a:pt x="0" y="171"/>
                    </a:cubicBezTo>
                    <a:lnTo>
                      <a:pt x="0" y="165"/>
                    </a:lnTo>
                    <a:close/>
                    <a:moveTo>
                      <a:pt x="0" y="153"/>
                    </a:moveTo>
                    <a:cubicBezTo>
                      <a:pt x="6" y="153"/>
                      <a:pt x="6" y="153"/>
                      <a:pt x="6" y="153"/>
                    </a:cubicBezTo>
                    <a:cubicBezTo>
                      <a:pt x="6" y="159"/>
                      <a:pt x="6" y="159"/>
                      <a:pt x="6" y="159"/>
                    </a:cubicBezTo>
                    <a:cubicBezTo>
                      <a:pt x="0" y="159"/>
                      <a:pt x="0" y="159"/>
                      <a:pt x="0" y="159"/>
                    </a:cubicBezTo>
                    <a:lnTo>
                      <a:pt x="0" y="153"/>
                    </a:lnTo>
                    <a:close/>
                    <a:moveTo>
                      <a:pt x="0" y="141"/>
                    </a:moveTo>
                    <a:cubicBezTo>
                      <a:pt x="6" y="141"/>
                      <a:pt x="6" y="141"/>
                      <a:pt x="6" y="141"/>
                    </a:cubicBezTo>
                    <a:cubicBezTo>
                      <a:pt x="6" y="147"/>
                      <a:pt x="6" y="147"/>
                      <a:pt x="6" y="147"/>
                    </a:cubicBezTo>
                    <a:cubicBezTo>
                      <a:pt x="0" y="147"/>
                      <a:pt x="0" y="147"/>
                      <a:pt x="0" y="147"/>
                    </a:cubicBezTo>
                    <a:lnTo>
                      <a:pt x="0" y="141"/>
                    </a:lnTo>
                    <a:close/>
                    <a:moveTo>
                      <a:pt x="0" y="129"/>
                    </a:moveTo>
                    <a:cubicBezTo>
                      <a:pt x="6" y="129"/>
                      <a:pt x="6" y="129"/>
                      <a:pt x="6" y="129"/>
                    </a:cubicBezTo>
                    <a:cubicBezTo>
                      <a:pt x="6" y="135"/>
                      <a:pt x="6" y="135"/>
                      <a:pt x="6" y="135"/>
                    </a:cubicBezTo>
                    <a:cubicBezTo>
                      <a:pt x="0" y="135"/>
                      <a:pt x="0" y="135"/>
                      <a:pt x="0" y="135"/>
                    </a:cubicBezTo>
                    <a:lnTo>
                      <a:pt x="0" y="129"/>
                    </a:lnTo>
                    <a:close/>
                    <a:moveTo>
                      <a:pt x="0" y="123"/>
                    </a:moveTo>
                    <a:cubicBezTo>
                      <a:pt x="0" y="114"/>
                      <a:pt x="0" y="114"/>
                      <a:pt x="0" y="114"/>
                    </a:cubicBezTo>
                    <a:cubicBezTo>
                      <a:pt x="6" y="118"/>
                      <a:pt x="6" y="118"/>
                      <a:pt x="6" y="118"/>
                    </a:cubicBezTo>
                    <a:cubicBezTo>
                      <a:pt x="5" y="120"/>
                      <a:pt x="5" y="120"/>
                      <a:pt x="5" y="120"/>
                    </a:cubicBezTo>
                    <a:cubicBezTo>
                      <a:pt x="6" y="120"/>
                      <a:pt x="6" y="120"/>
                      <a:pt x="6" y="120"/>
                    </a:cubicBezTo>
                    <a:cubicBezTo>
                      <a:pt x="6" y="123"/>
                      <a:pt x="6" y="123"/>
                      <a:pt x="6" y="123"/>
                    </a:cubicBezTo>
                    <a:lnTo>
                      <a:pt x="0" y="123"/>
                    </a:lnTo>
                    <a:close/>
                    <a:moveTo>
                      <a:pt x="8" y="187"/>
                    </a:moveTo>
                    <a:cubicBezTo>
                      <a:pt x="13" y="184"/>
                      <a:pt x="13" y="184"/>
                      <a:pt x="13" y="184"/>
                    </a:cubicBezTo>
                    <a:cubicBezTo>
                      <a:pt x="16" y="189"/>
                      <a:pt x="16" y="189"/>
                      <a:pt x="16" y="189"/>
                    </a:cubicBezTo>
                    <a:cubicBezTo>
                      <a:pt x="11" y="192"/>
                      <a:pt x="11" y="192"/>
                      <a:pt x="11" y="192"/>
                    </a:cubicBezTo>
                    <a:lnTo>
                      <a:pt x="8" y="187"/>
                    </a:lnTo>
                    <a:close/>
                    <a:moveTo>
                      <a:pt x="8" y="126"/>
                    </a:moveTo>
                    <a:cubicBezTo>
                      <a:pt x="11" y="121"/>
                      <a:pt x="11" y="121"/>
                      <a:pt x="11" y="121"/>
                    </a:cubicBezTo>
                    <a:cubicBezTo>
                      <a:pt x="16" y="124"/>
                      <a:pt x="16" y="124"/>
                      <a:pt x="16" y="124"/>
                    </a:cubicBezTo>
                    <a:cubicBezTo>
                      <a:pt x="13" y="129"/>
                      <a:pt x="13" y="129"/>
                      <a:pt x="13" y="129"/>
                    </a:cubicBezTo>
                    <a:lnTo>
                      <a:pt x="8" y="126"/>
                    </a:lnTo>
                    <a:close/>
                    <a:moveTo>
                      <a:pt x="19" y="181"/>
                    </a:moveTo>
                    <a:cubicBezTo>
                      <a:pt x="24" y="178"/>
                      <a:pt x="24" y="178"/>
                      <a:pt x="24" y="178"/>
                    </a:cubicBezTo>
                    <a:cubicBezTo>
                      <a:pt x="27" y="183"/>
                      <a:pt x="27" y="183"/>
                      <a:pt x="27" y="183"/>
                    </a:cubicBezTo>
                    <a:cubicBezTo>
                      <a:pt x="21" y="186"/>
                      <a:pt x="21" y="186"/>
                      <a:pt x="21" y="186"/>
                    </a:cubicBezTo>
                    <a:lnTo>
                      <a:pt x="19" y="181"/>
                    </a:lnTo>
                    <a:close/>
                    <a:moveTo>
                      <a:pt x="19" y="132"/>
                    </a:moveTo>
                    <a:cubicBezTo>
                      <a:pt x="22" y="127"/>
                      <a:pt x="22" y="127"/>
                      <a:pt x="22" y="127"/>
                    </a:cubicBezTo>
                    <a:cubicBezTo>
                      <a:pt x="27" y="130"/>
                      <a:pt x="27" y="130"/>
                      <a:pt x="27" y="130"/>
                    </a:cubicBezTo>
                    <a:cubicBezTo>
                      <a:pt x="24" y="135"/>
                      <a:pt x="24" y="135"/>
                      <a:pt x="24" y="135"/>
                    </a:cubicBezTo>
                    <a:lnTo>
                      <a:pt x="19" y="132"/>
                    </a:lnTo>
                    <a:close/>
                    <a:moveTo>
                      <a:pt x="29" y="175"/>
                    </a:moveTo>
                    <a:cubicBezTo>
                      <a:pt x="34" y="172"/>
                      <a:pt x="34" y="172"/>
                      <a:pt x="34" y="172"/>
                    </a:cubicBezTo>
                    <a:cubicBezTo>
                      <a:pt x="37" y="177"/>
                      <a:pt x="37" y="177"/>
                      <a:pt x="37" y="177"/>
                    </a:cubicBezTo>
                    <a:cubicBezTo>
                      <a:pt x="32" y="180"/>
                      <a:pt x="32" y="180"/>
                      <a:pt x="32" y="180"/>
                    </a:cubicBezTo>
                    <a:lnTo>
                      <a:pt x="29" y="175"/>
                    </a:lnTo>
                    <a:close/>
                    <a:moveTo>
                      <a:pt x="29" y="138"/>
                    </a:moveTo>
                    <a:cubicBezTo>
                      <a:pt x="32" y="133"/>
                      <a:pt x="32" y="133"/>
                      <a:pt x="32" y="133"/>
                    </a:cubicBezTo>
                    <a:cubicBezTo>
                      <a:pt x="37" y="136"/>
                      <a:pt x="37" y="136"/>
                      <a:pt x="37" y="136"/>
                    </a:cubicBezTo>
                    <a:cubicBezTo>
                      <a:pt x="34" y="141"/>
                      <a:pt x="34" y="141"/>
                      <a:pt x="34" y="141"/>
                    </a:cubicBezTo>
                    <a:lnTo>
                      <a:pt x="29" y="138"/>
                    </a:lnTo>
                    <a:close/>
                    <a:moveTo>
                      <a:pt x="39" y="169"/>
                    </a:moveTo>
                    <a:cubicBezTo>
                      <a:pt x="44" y="166"/>
                      <a:pt x="44" y="166"/>
                      <a:pt x="44" y="166"/>
                    </a:cubicBezTo>
                    <a:cubicBezTo>
                      <a:pt x="47" y="171"/>
                      <a:pt x="47" y="171"/>
                      <a:pt x="47" y="171"/>
                    </a:cubicBezTo>
                    <a:cubicBezTo>
                      <a:pt x="42" y="174"/>
                      <a:pt x="42" y="174"/>
                      <a:pt x="42" y="174"/>
                    </a:cubicBezTo>
                    <a:lnTo>
                      <a:pt x="39" y="169"/>
                    </a:lnTo>
                    <a:close/>
                    <a:moveTo>
                      <a:pt x="39" y="144"/>
                    </a:moveTo>
                    <a:cubicBezTo>
                      <a:pt x="42" y="139"/>
                      <a:pt x="42" y="139"/>
                      <a:pt x="42" y="139"/>
                    </a:cubicBezTo>
                    <a:cubicBezTo>
                      <a:pt x="48" y="142"/>
                      <a:pt x="48" y="142"/>
                      <a:pt x="48" y="142"/>
                    </a:cubicBezTo>
                    <a:cubicBezTo>
                      <a:pt x="45" y="147"/>
                      <a:pt x="45" y="147"/>
                      <a:pt x="45" y="147"/>
                    </a:cubicBezTo>
                    <a:lnTo>
                      <a:pt x="39" y="144"/>
                    </a:lnTo>
                    <a:close/>
                    <a:moveTo>
                      <a:pt x="50" y="163"/>
                    </a:moveTo>
                    <a:cubicBezTo>
                      <a:pt x="55" y="160"/>
                      <a:pt x="55" y="160"/>
                      <a:pt x="55" y="160"/>
                    </a:cubicBezTo>
                    <a:cubicBezTo>
                      <a:pt x="58" y="165"/>
                      <a:pt x="58" y="165"/>
                      <a:pt x="58" y="165"/>
                    </a:cubicBezTo>
                    <a:cubicBezTo>
                      <a:pt x="53" y="168"/>
                      <a:pt x="53" y="168"/>
                      <a:pt x="53" y="168"/>
                    </a:cubicBezTo>
                    <a:lnTo>
                      <a:pt x="50" y="163"/>
                    </a:lnTo>
                    <a:close/>
                    <a:moveTo>
                      <a:pt x="50" y="150"/>
                    </a:moveTo>
                    <a:cubicBezTo>
                      <a:pt x="53" y="145"/>
                      <a:pt x="53" y="145"/>
                      <a:pt x="53" y="145"/>
                    </a:cubicBezTo>
                    <a:cubicBezTo>
                      <a:pt x="58" y="148"/>
                      <a:pt x="58" y="148"/>
                      <a:pt x="58" y="148"/>
                    </a:cubicBezTo>
                    <a:cubicBezTo>
                      <a:pt x="55" y="153"/>
                      <a:pt x="55" y="153"/>
                      <a:pt x="55" y="153"/>
                    </a:cubicBezTo>
                    <a:lnTo>
                      <a:pt x="50" y="150"/>
                    </a:lnTo>
                    <a:close/>
                    <a:moveTo>
                      <a:pt x="60" y="157"/>
                    </a:moveTo>
                    <a:cubicBezTo>
                      <a:pt x="61" y="156"/>
                      <a:pt x="61" y="156"/>
                      <a:pt x="61" y="156"/>
                    </a:cubicBezTo>
                    <a:cubicBezTo>
                      <a:pt x="60" y="156"/>
                      <a:pt x="60" y="156"/>
                      <a:pt x="60" y="156"/>
                    </a:cubicBezTo>
                    <a:cubicBezTo>
                      <a:pt x="63" y="151"/>
                      <a:pt x="63" y="151"/>
                      <a:pt x="63" y="151"/>
                    </a:cubicBezTo>
                    <a:cubicBezTo>
                      <a:pt x="73" y="156"/>
                      <a:pt x="73" y="156"/>
                      <a:pt x="73" y="156"/>
                    </a:cubicBezTo>
                    <a:cubicBezTo>
                      <a:pt x="63" y="162"/>
                      <a:pt x="63" y="162"/>
                      <a:pt x="63" y="162"/>
                    </a:cubicBezTo>
                    <a:lnTo>
                      <a:pt x="60" y="15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200" b="1" dirty="0"/>
              </a:p>
            </p:txBody>
          </p:sp>
          <p:sp>
            <p:nvSpPr>
              <p:cNvPr id="30" name="Freeform 29"/>
              <p:cNvSpPr>
                <a:spLocks noEditPoints="1"/>
              </p:cNvSpPr>
              <p:nvPr/>
            </p:nvSpPr>
            <p:spPr bwMode="black">
              <a:xfrm>
                <a:off x="8863394" y="5414400"/>
                <a:ext cx="652463" cy="657225"/>
              </a:xfrm>
              <a:custGeom>
                <a:avLst/>
                <a:gdLst>
                  <a:gd name="T0" fmla="*/ 116 w 411"/>
                  <a:gd name="T1" fmla="*/ 121 h 414"/>
                  <a:gd name="T2" fmla="*/ 123 w 411"/>
                  <a:gd name="T3" fmla="*/ 208 h 414"/>
                  <a:gd name="T4" fmla="*/ 159 w 411"/>
                  <a:gd name="T5" fmla="*/ 173 h 414"/>
                  <a:gd name="T6" fmla="*/ 293 w 411"/>
                  <a:gd name="T7" fmla="*/ 310 h 414"/>
                  <a:gd name="T8" fmla="*/ 307 w 411"/>
                  <a:gd name="T9" fmla="*/ 296 h 414"/>
                  <a:gd name="T10" fmla="*/ 170 w 411"/>
                  <a:gd name="T11" fmla="*/ 161 h 414"/>
                  <a:gd name="T12" fmla="*/ 204 w 411"/>
                  <a:gd name="T13" fmla="*/ 128 h 414"/>
                  <a:gd name="T14" fmla="*/ 116 w 411"/>
                  <a:gd name="T15" fmla="*/ 121 h 414"/>
                  <a:gd name="T16" fmla="*/ 7 w 411"/>
                  <a:gd name="T17" fmla="*/ 397 h 414"/>
                  <a:gd name="T18" fmla="*/ 41 w 411"/>
                  <a:gd name="T19" fmla="*/ 362 h 414"/>
                  <a:gd name="T20" fmla="*/ 93 w 411"/>
                  <a:gd name="T21" fmla="*/ 414 h 414"/>
                  <a:gd name="T22" fmla="*/ 104 w 411"/>
                  <a:gd name="T23" fmla="*/ 402 h 414"/>
                  <a:gd name="T24" fmla="*/ 52 w 411"/>
                  <a:gd name="T25" fmla="*/ 350 h 414"/>
                  <a:gd name="T26" fmla="*/ 88 w 411"/>
                  <a:gd name="T27" fmla="*/ 317 h 414"/>
                  <a:gd name="T28" fmla="*/ 0 w 411"/>
                  <a:gd name="T29" fmla="*/ 310 h 414"/>
                  <a:gd name="T30" fmla="*/ 7 w 411"/>
                  <a:gd name="T31" fmla="*/ 397 h 414"/>
                  <a:gd name="T32" fmla="*/ 305 w 411"/>
                  <a:gd name="T33" fmla="*/ 0 h 414"/>
                  <a:gd name="T34" fmla="*/ 315 w 411"/>
                  <a:gd name="T35" fmla="*/ 90 h 414"/>
                  <a:gd name="T36" fmla="*/ 348 w 411"/>
                  <a:gd name="T37" fmla="*/ 55 h 414"/>
                  <a:gd name="T38" fmla="*/ 397 w 411"/>
                  <a:gd name="T39" fmla="*/ 104 h 414"/>
                  <a:gd name="T40" fmla="*/ 411 w 411"/>
                  <a:gd name="T41" fmla="*/ 92 h 414"/>
                  <a:gd name="T42" fmla="*/ 359 w 411"/>
                  <a:gd name="T43" fmla="*/ 43 h 414"/>
                  <a:gd name="T44" fmla="*/ 395 w 411"/>
                  <a:gd name="T45" fmla="*/ 7 h 414"/>
                  <a:gd name="T46" fmla="*/ 305 w 411"/>
                  <a:gd name="T47" fmla="*/ 0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11" h="414">
                    <a:moveTo>
                      <a:pt x="116" y="121"/>
                    </a:moveTo>
                    <a:lnTo>
                      <a:pt x="123" y="208"/>
                    </a:lnTo>
                    <a:lnTo>
                      <a:pt x="159" y="173"/>
                    </a:lnTo>
                    <a:lnTo>
                      <a:pt x="293" y="310"/>
                    </a:lnTo>
                    <a:lnTo>
                      <a:pt x="307" y="296"/>
                    </a:lnTo>
                    <a:lnTo>
                      <a:pt x="170" y="161"/>
                    </a:lnTo>
                    <a:lnTo>
                      <a:pt x="204" y="128"/>
                    </a:lnTo>
                    <a:lnTo>
                      <a:pt x="116" y="121"/>
                    </a:lnTo>
                    <a:close/>
                    <a:moveTo>
                      <a:pt x="7" y="397"/>
                    </a:moveTo>
                    <a:lnTo>
                      <a:pt x="41" y="362"/>
                    </a:lnTo>
                    <a:lnTo>
                      <a:pt x="93" y="414"/>
                    </a:lnTo>
                    <a:lnTo>
                      <a:pt x="104" y="402"/>
                    </a:lnTo>
                    <a:lnTo>
                      <a:pt x="52" y="350"/>
                    </a:lnTo>
                    <a:lnTo>
                      <a:pt x="88" y="317"/>
                    </a:lnTo>
                    <a:lnTo>
                      <a:pt x="0" y="310"/>
                    </a:lnTo>
                    <a:lnTo>
                      <a:pt x="7" y="397"/>
                    </a:lnTo>
                    <a:close/>
                    <a:moveTo>
                      <a:pt x="305" y="0"/>
                    </a:moveTo>
                    <a:lnTo>
                      <a:pt x="315" y="90"/>
                    </a:lnTo>
                    <a:lnTo>
                      <a:pt x="348" y="55"/>
                    </a:lnTo>
                    <a:lnTo>
                      <a:pt x="397" y="104"/>
                    </a:lnTo>
                    <a:lnTo>
                      <a:pt x="411" y="92"/>
                    </a:lnTo>
                    <a:lnTo>
                      <a:pt x="359" y="43"/>
                    </a:lnTo>
                    <a:lnTo>
                      <a:pt x="395" y="7"/>
                    </a:lnTo>
                    <a:lnTo>
                      <a:pt x="305" y="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200" b="1" dirty="0"/>
              </a:p>
            </p:txBody>
          </p:sp>
        </p:grpSp>
      </p:grpSp>
      <p:grpSp>
        <p:nvGrpSpPr>
          <p:cNvPr id="72" name="Group 71"/>
          <p:cNvGrpSpPr/>
          <p:nvPr/>
        </p:nvGrpSpPr>
        <p:grpSpPr>
          <a:xfrm>
            <a:off x="1256436" y="3440846"/>
            <a:ext cx="903636" cy="832788"/>
            <a:chOff x="3763837" y="4587796"/>
            <a:chExt cx="1204534" cy="1110385"/>
          </a:xfrm>
        </p:grpSpPr>
        <p:grpSp>
          <p:nvGrpSpPr>
            <p:cNvPr id="35" name="Group 34"/>
            <p:cNvGrpSpPr/>
            <p:nvPr/>
          </p:nvGrpSpPr>
          <p:grpSpPr>
            <a:xfrm>
              <a:off x="4281963" y="4591623"/>
              <a:ext cx="178357" cy="190597"/>
              <a:chOff x="3220451" y="3038474"/>
              <a:chExt cx="388620" cy="415291"/>
            </a:xfrm>
            <a:solidFill>
              <a:schemeClr val="tx1"/>
            </a:solidFill>
          </p:grpSpPr>
          <p:sp>
            <p:nvSpPr>
              <p:cNvPr id="36" name="Rounded Rectangle 1"/>
              <p:cNvSpPr/>
              <p:nvPr/>
            </p:nvSpPr>
            <p:spPr>
              <a:xfrm>
                <a:off x="3220451" y="3267074"/>
                <a:ext cx="388620" cy="186691"/>
              </a:xfrm>
              <a:custGeom>
                <a:avLst/>
                <a:gdLst>
                  <a:gd name="connsiteX0" fmla="*/ 0 w 333278"/>
                  <a:gd name="connsiteY0" fmla="*/ 50801 h 304800"/>
                  <a:gd name="connsiteX1" fmla="*/ 50801 w 333278"/>
                  <a:gd name="connsiteY1" fmla="*/ 0 h 304800"/>
                  <a:gd name="connsiteX2" fmla="*/ 282477 w 333278"/>
                  <a:gd name="connsiteY2" fmla="*/ 0 h 304800"/>
                  <a:gd name="connsiteX3" fmla="*/ 333278 w 333278"/>
                  <a:gd name="connsiteY3" fmla="*/ 50801 h 304800"/>
                  <a:gd name="connsiteX4" fmla="*/ 333278 w 333278"/>
                  <a:gd name="connsiteY4" fmla="*/ 253999 h 304800"/>
                  <a:gd name="connsiteX5" fmla="*/ 282477 w 333278"/>
                  <a:gd name="connsiteY5" fmla="*/ 304800 h 304800"/>
                  <a:gd name="connsiteX6" fmla="*/ 50801 w 333278"/>
                  <a:gd name="connsiteY6" fmla="*/ 304800 h 304800"/>
                  <a:gd name="connsiteX7" fmla="*/ 0 w 333278"/>
                  <a:gd name="connsiteY7" fmla="*/ 253999 h 304800"/>
                  <a:gd name="connsiteX8" fmla="*/ 0 w 333278"/>
                  <a:gd name="connsiteY8" fmla="*/ 50801 h 304800"/>
                  <a:gd name="connsiteX0" fmla="*/ 0 w 333278"/>
                  <a:gd name="connsiteY0" fmla="*/ 50801 h 304800"/>
                  <a:gd name="connsiteX1" fmla="*/ 50801 w 333278"/>
                  <a:gd name="connsiteY1" fmla="*/ 0 h 304800"/>
                  <a:gd name="connsiteX2" fmla="*/ 282477 w 333278"/>
                  <a:gd name="connsiteY2" fmla="*/ 0 h 304800"/>
                  <a:gd name="connsiteX3" fmla="*/ 333278 w 333278"/>
                  <a:gd name="connsiteY3" fmla="*/ 50801 h 304800"/>
                  <a:gd name="connsiteX4" fmla="*/ 333278 w 333278"/>
                  <a:gd name="connsiteY4" fmla="*/ 253999 h 304800"/>
                  <a:gd name="connsiteX5" fmla="*/ 282477 w 333278"/>
                  <a:gd name="connsiteY5" fmla="*/ 304800 h 304800"/>
                  <a:gd name="connsiteX6" fmla="*/ 0 w 333278"/>
                  <a:gd name="connsiteY6" fmla="*/ 253999 h 304800"/>
                  <a:gd name="connsiteX7" fmla="*/ 0 w 333278"/>
                  <a:gd name="connsiteY7" fmla="*/ 50801 h 304800"/>
                  <a:gd name="connsiteX0" fmla="*/ 0 w 333278"/>
                  <a:gd name="connsiteY0" fmla="*/ 50801 h 253999"/>
                  <a:gd name="connsiteX1" fmla="*/ 50801 w 333278"/>
                  <a:gd name="connsiteY1" fmla="*/ 0 h 253999"/>
                  <a:gd name="connsiteX2" fmla="*/ 282477 w 333278"/>
                  <a:gd name="connsiteY2" fmla="*/ 0 h 253999"/>
                  <a:gd name="connsiteX3" fmla="*/ 333278 w 333278"/>
                  <a:gd name="connsiteY3" fmla="*/ 50801 h 253999"/>
                  <a:gd name="connsiteX4" fmla="*/ 333278 w 333278"/>
                  <a:gd name="connsiteY4" fmla="*/ 253999 h 253999"/>
                  <a:gd name="connsiteX5" fmla="*/ 0 w 333278"/>
                  <a:gd name="connsiteY5" fmla="*/ 253999 h 253999"/>
                  <a:gd name="connsiteX6" fmla="*/ 0 w 333278"/>
                  <a:gd name="connsiteY6" fmla="*/ 50801 h 253999"/>
                  <a:gd name="connsiteX0" fmla="*/ 0 w 333278"/>
                  <a:gd name="connsiteY0" fmla="*/ 50801 h 268546"/>
                  <a:gd name="connsiteX1" fmla="*/ 50801 w 333278"/>
                  <a:gd name="connsiteY1" fmla="*/ 0 h 268546"/>
                  <a:gd name="connsiteX2" fmla="*/ 282477 w 333278"/>
                  <a:gd name="connsiteY2" fmla="*/ 0 h 268546"/>
                  <a:gd name="connsiteX3" fmla="*/ 333278 w 333278"/>
                  <a:gd name="connsiteY3" fmla="*/ 50801 h 268546"/>
                  <a:gd name="connsiteX4" fmla="*/ 333278 w 333278"/>
                  <a:gd name="connsiteY4" fmla="*/ 253999 h 268546"/>
                  <a:gd name="connsiteX5" fmla="*/ 0 w 333278"/>
                  <a:gd name="connsiteY5" fmla="*/ 253999 h 268546"/>
                  <a:gd name="connsiteX6" fmla="*/ 0 w 333278"/>
                  <a:gd name="connsiteY6" fmla="*/ 50801 h 268546"/>
                  <a:gd name="connsiteX0" fmla="*/ 0 w 333278"/>
                  <a:gd name="connsiteY0" fmla="*/ 50801 h 253999"/>
                  <a:gd name="connsiteX1" fmla="*/ 50801 w 333278"/>
                  <a:gd name="connsiteY1" fmla="*/ 0 h 253999"/>
                  <a:gd name="connsiteX2" fmla="*/ 282477 w 333278"/>
                  <a:gd name="connsiteY2" fmla="*/ 0 h 253999"/>
                  <a:gd name="connsiteX3" fmla="*/ 333278 w 333278"/>
                  <a:gd name="connsiteY3" fmla="*/ 50801 h 253999"/>
                  <a:gd name="connsiteX4" fmla="*/ 333278 w 333278"/>
                  <a:gd name="connsiteY4" fmla="*/ 253999 h 253999"/>
                  <a:gd name="connsiteX5" fmla="*/ 0 w 333278"/>
                  <a:gd name="connsiteY5" fmla="*/ 253999 h 253999"/>
                  <a:gd name="connsiteX6" fmla="*/ 0 w 333278"/>
                  <a:gd name="connsiteY6" fmla="*/ 50801 h 253999"/>
                  <a:gd name="connsiteX0" fmla="*/ 0 w 333278"/>
                  <a:gd name="connsiteY0" fmla="*/ 50801 h 253999"/>
                  <a:gd name="connsiteX1" fmla="*/ 102236 w 333278"/>
                  <a:gd name="connsiteY1" fmla="*/ 0 h 253999"/>
                  <a:gd name="connsiteX2" fmla="*/ 282477 w 333278"/>
                  <a:gd name="connsiteY2" fmla="*/ 0 h 253999"/>
                  <a:gd name="connsiteX3" fmla="*/ 333278 w 333278"/>
                  <a:gd name="connsiteY3" fmla="*/ 50801 h 253999"/>
                  <a:gd name="connsiteX4" fmla="*/ 333278 w 333278"/>
                  <a:gd name="connsiteY4" fmla="*/ 253999 h 253999"/>
                  <a:gd name="connsiteX5" fmla="*/ 0 w 333278"/>
                  <a:gd name="connsiteY5" fmla="*/ 253999 h 253999"/>
                  <a:gd name="connsiteX6" fmla="*/ 0 w 333278"/>
                  <a:gd name="connsiteY6" fmla="*/ 50801 h 253999"/>
                  <a:gd name="connsiteX0" fmla="*/ 0 w 333278"/>
                  <a:gd name="connsiteY0" fmla="*/ 50801 h 253999"/>
                  <a:gd name="connsiteX1" fmla="*/ 102236 w 333278"/>
                  <a:gd name="connsiteY1" fmla="*/ 0 h 253999"/>
                  <a:gd name="connsiteX2" fmla="*/ 223422 w 333278"/>
                  <a:gd name="connsiteY2" fmla="*/ 0 h 253999"/>
                  <a:gd name="connsiteX3" fmla="*/ 333278 w 333278"/>
                  <a:gd name="connsiteY3" fmla="*/ 50801 h 253999"/>
                  <a:gd name="connsiteX4" fmla="*/ 333278 w 333278"/>
                  <a:gd name="connsiteY4" fmla="*/ 253999 h 253999"/>
                  <a:gd name="connsiteX5" fmla="*/ 0 w 333278"/>
                  <a:gd name="connsiteY5" fmla="*/ 253999 h 253999"/>
                  <a:gd name="connsiteX6" fmla="*/ 0 w 333278"/>
                  <a:gd name="connsiteY6" fmla="*/ 50801 h 253999"/>
                  <a:gd name="connsiteX0" fmla="*/ 0 w 333278"/>
                  <a:gd name="connsiteY0" fmla="*/ 50801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50801 h 253999"/>
                  <a:gd name="connsiteX0" fmla="*/ 0 w 333278"/>
                  <a:gd name="connsiteY0" fmla="*/ 109856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109856 h 253999"/>
                  <a:gd name="connsiteX0" fmla="*/ 0 w 333278"/>
                  <a:gd name="connsiteY0" fmla="*/ 92711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92711 h 253999"/>
                  <a:gd name="connsiteX0" fmla="*/ 0 w 333278"/>
                  <a:gd name="connsiteY0" fmla="*/ 92711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92711 h 253999"/>
                  <a:gd name="connsiteX0" fmla="*/ 0 w 333278"/>
                  <a:gd name="connsiteY0" fmla="*/ 92711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92711 h 253999"/>
                  <a:gd name="connsiteX0" fmla="*/ 0 w 333278"/>
                  <a:gd name="connsiteY0" fmla="*/ 92711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92711 h 253999"/>
                  <a:gd name="connsiteX0" fmla="*/ 0 w 333278"/>
                  <a:gd name="connsiteY0" fmla="*/ 92711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92711 h 253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278" h="253999">
                    <a:moveTo>
                      <a:pt x="0" y="92711"/>
                    </a:moveTo>
                    <a:cubicBezTo>
                      <a:pt x="1905" y="43699"/>
                      <a:pt x="30364" y="0"/>
                      <a:pt x="102236" y="0"/>
                    </a:cubicBezTo>
                    <a:lnTo>
                      <a:pt x="223422" y="0"/>
                    </a:lnTo>
                    <a:cubicBezTo>
                      <a:pt x="310534" y="0"/>
                      <a:pt x="331373" y="47509"/>
                      <a:pt x="333278" y="96521"/>
                    </a:cubicBezTo>
                    <a:lnTo>
                      <a:pt x="333278" y="253999"/>
                    </a:lnTo>
                    <a:cubicBezTo>
                      <a:pt x="331072" y="249765"/>
                      <a:pt x="301" y="251670"/>
                      <a:pt x="0" y="253999"/>
                    </a:cubicBezTo>
                    <a:lnTo>
                      <a:pt x="0" y="9271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Oval 36"/>
              <p:cNvSpPr/>
              <p:nvPr/>
            </p:nvSpPr>
            <p:spPr>
              <a:xfrm>
                <a:off x="3300461" y="3038474"/>
                <a:ext cx="228600" cy="2286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1" name="TextBox 30"/>
            <p:cNvSpPr txBox="1"/>
            <p:nvPr/>
          </p:nvSpPr>
          <p:spPr>
            <a:xfrm>
              <a:off x="3763837" y="5082627"/>
              <a:ext cx="1204534" cy="615554"/>
            </a:xfrm>
            <a:prstGeom prst="rect">
              <a:avLst/>
            </a:prstGeom>
            <a:noFill/>
          </p:spPr>
          <p:txBody>
            <a:bodyPr wrap="square" rtlCol="0">
              <a:spAutoFit/>
            </a:bodyPr>
            <a:lstStyle/>
            <a:p>
              <a:pPr algn="ctr"/>
              <a:r>
                <a:rPr lang="en-US" sz="800" b="1" dirty="0">
                  <a:latin typeface="Segoe WP Light"/>
                </a:rPr>
                <a:t>Identity</a:t>
              </a:r>
              <a:br>
                <a:rPr lang="en-US" sz="800" b="1" dirty="0">
                  <a:latin typeface="Segoe WP Light"/>
                </a:rPr>
              </a:br>
              <a:r>
                <a:rPr lang="en-US" sz="800" b="1" dirty="0">
                  <a:latin typeface="Segoe WP Light"/>
                </a:rPr>
                <a:t>Proliferation</a:t>
              </a:r>
            </a:p>
            <a:p>
              <a:pPr algn="ctr"/>
              <a:endParaRPr lang="en-US" sz="800" b="1" dirty="0">
                <a:latin typeface="Segoe WP Light"/>
              </a:endParaRPr>
            </a:p>
          </p:txBody>
        </p:sp>
        <p:grpSp>
          <p:nvGrpSpPr>
            <p:cNvPr id="69" name="Group 68"/>
            <p:cNvGrpSpPr/>
            <p:nvPr/>
          </p:nvGrpSpPr>
          <p:grpSpPr>
            <a:xfrm>
              <a:off x="4088039" y="4587796"/>
              <a:ext cx="556130" cy="415291"/>
              <a:chOff x="4090482" y="4591623"/>
              <a:chExt cx="556130" cy="415291"/>
            </a:xfrm>
          </p:grpSpPr>
          <p:grpSp>
            <p:nvGrpSpPr>
              <p:cNvPr id="32" name="Group 31"/>
              <p:cNvGrpSpPr/>
              <p:nvPr/>
            </p:nvGrpSpPr>
            <p:grpSpPr>
              <a:xfrm>
                <a:off x="4090482" y="4591623"/>
                <a:ext cx="178357" cy="190597"/>
                <a:chOff x="3220451" y="3038474"/>
                <a:chExt cx="388620" cy="415291"/>
              </a:xfrm>
              <a:solidFill>
                <a:schemeClr val="tx1"/>
              </a:solidFill>
            </p:grpSpPr>
            <p:sp>
              <p:nvSpPr>
                <p:cNvPr id="33" name="Rounded Rectangle 1"/>
                <p:cNvSpPr/>
                <p:nvPr/>
              </p:nvSpPr>
              <p:spPr>
                <a:xfrm>
                  <a:off x="3220451" y="3267074"/>
                  <a:ext cx="388620" cy="186691"/>
                </a:xfrm>
                <a:custGeom>
                  <a:avLst/>
                  <a:gdLst>
                    <a:gd name="connsiteX0" fmla="*/ 0 w 333278"/>
                    <a:gd name="connsiteY0" fmla="*/ 50801 h 304800"/>
                    <a:gd name="connsiteX1" fmla="*/ 50801 w 333278"/>
                    <a:gd name="connsiteY1" fmla="*/ 0 h 304800"/>
                    <a:gd name="connsiteX2" fmla="*/ 282477 w 333278"/>
                    <a:gd name="connsiteY2" fmla="*/ 0 h 304800"/>
                    <a:gd name="connsiteX3" fmla="*/ 333278 w 333278"/>
                    <a:gd name="connsiteY3" fmla="*/ 50801 h 304800"/>
                    <a:gd name="connsiteX4" fmla="*/ 333278 w 333278"/>
                    <a:gd name="connsiteY4" fmla="*/ 253999 h 304800"/>
                    <a:gd name="connsiteX5" fmla="*/ 282477 w 333278"/>
                    <a:gd name="connsiteY5" fmla="*/ 304800 h 304800"/>
                    <a:gd name="connsiteX6" fmla="*/ 50801 w 333278"/>
                    <a:gd name="connsiteY6" fmla="*/ 304800 h 304800"/>
                    <a:gd name="connsiteX7" fmla="*/ 0 w 333278"/>
                    <a:gd name="connsiteY7" fmla="*/ 253999 h 304800"/>
                    <a:gd name="connsiteX8" fmla="*/ 0 w 333278"/>
                    <a:gd name="connsiteY8" fmla="*/ 50801 h 304800"/>
                    <a:gd name="connsiteX0" fmla="*/ 0 w 333278"/>
                    <a:gd name="connsiteY0" fmla="*/ 50801 h 304800"/>
                    <a:gd name="connsiteX1" fmla="*/ 50801 w 333278"/>
                    <a:gd name="connsiteY1" fmla="*/ 0 h 304800"/>
                    <a:gd name="connsiteX2" fmla="*/ 282477 w 333278"/>
                    <a:gd name="connsiteY2" fmla="*/ 0 h 304800"/>
                    <a:gd name="connsiteX3" fmla="*/ 333278 w 333278"/>
                    <a:gd name="connsiteY3" fmla="*/ 50801 h 304800"/>
                    <a:gd name="connsiteX4" fmla="*/ 333278 w 333278"/>
                    <a:gd name="connsiteY4" fmla="*/ 253999 h 304800"/>
                    <a:gd name="connsiteX5" fmla="*/ 282477 w 333278"/>
                    <a:gd name="connsiteY5" fmla="*/ 304800 h 304800"/>
                    <a:gd name="connsiteX6" fmla="*/ 0 w 333278"/>
                    <a:gd name="connsiteY6" fmla="*/ 253999 h 304800"/>
                    <a:gd name="connsiteX7" fmla="*/ 0 w 333278"/>
                    <a:gd name="connsiteY7" fmla="*/ 50801 h 304800"/>
                    <a:gd name="connsiteX0" fmla="*/ 0 w 333278"/>
                    <a:gd name="connsiteY0" fmla="*/ 50801 h 253999"/>
                    <a:gd name="connsiteX1" fmla="*/ 50801 w 333278"/>
                    <a:gd name="connsiteY1" fmla="*/ 0 h 253999"/>
                    <a:gd name="connsiteX2" fmla="*/ 282477 w 333278"/>
                    <a:gd name="connsiteY2" fmla="*/ 0 h 253999"/>
                    <a:gd name="connsiteX3" fmla="*/ 333278 w 333278"/>
                    <a:gd name="connsiteY3" fmla="*/ 50801 h 253999"/>
                    <a:gd name="connsiteX4" fmla="*/ 333278 w 333278"/>
                    <a:gd name="connsiteY4" fmla="*/ 253999 h 253999"/>
                    <a:gd name="connsiteX5" fmla="*/ 0 w 333278"/>
                    <a:gd name="connsiteY5" fmla="*/ 253999 h 253999"/>
                    <a:gd name="connsiteX6" fmla="*/ 0 w 333278"/>
                    <a:gd name="connsiteY6" fmla="*/ 50801 h 253999"/>
                    <a:gd name="connsiteX0" fmla="*/ 0 w 333278"/>
                    <a:gd name="connsiteY0" fmla="*/ 50801 h 268546"/>
                    <a:gd name="connsiteX1" fmla="*/ 50801 w 333278"/>
                    <a:gd name="connsiteY1" fmla="*/ 0 h 268546"/>
                    <a:gd name="connsiteX2" fmla="*/ 282477 w 333278"/>
                    <a:gd name="connsiteY2" fmla="*/ 0 h 268546"/>
                    <a:gd name="connsiteX3" fmla="*/ 333278 w 333278"/>
                    <a:gd name="connsiteY3" fmla="*/ 50801 h 268546"/>
                    <a:gd name="connsiteX4" fmla="*/ 333278 w 333278"/>
                    <a:gd name="connsiteY4" fmla="*/ 253999 h 268546"/>
                    <a:gd name="connsiteX5" fmla="*/ 0 w 333278"/>
                    <a:gd name="connsiteY5" fmla="*/ 253999 h 268546"/>
                    <a:gd name="connsiteX6" fmla="*/ 0 w 333278"/>
                    <a:gd name="connsiteY6" fmla="*/ 50801 h 268546"/>
                    <a:gd name="connsiteX0" fmla="*/ 0 w 333278"/>
                    <a:gd name="connsiteY0" fmla="*/ 50801 h 253999"/>
                    <a:gd name="connsiteX1" fmla="*/ 50801 w 333278"/>
                    <a:gd name="connsiteY1" fmla="*/ 0 h 253999"/>
                    <a:gd name="connsiteX2" fmla="*/ 282477 w 333278"/>
                    <a:gd name="connsiteY2" fmla="*/ 0 h 253999"/>
                    <a:gd name="connsiteX3" fmla="*/ 333278 w 333278"/>
                    <a:gd name="connsiteY3" fmla="*/ 50801 h 253999"/>
                    <a:gd name="connsiteX4" fmla="*/ 333278 w 333278"/>
                    <a:gd name="connsiteY4" fmla="*/ 253999 h 253999"/>
                    <a:gd name="connsiteX5" fmla="*/ 0 w 333278"/>
                    <a:gd name="connsiteY5" fmla="*/ 253999 h 253999"/>
                    <a:gd name="connsiteX6" fmla="*/ 0 w 333278"/>
                    <a:gd name="connsiteY6" fmla="*/ 50801 h 253999"/>
                    <a:gd name="connsiteX0" fmla="*/ 0 w 333278"/>
                    <a:gd name="connsiteY0" fmla="*/ 50801 h 253999"/>
                    <a:gd name="connsiteX1" fmla="*/ 102236 w 333278"/>
                    <a:gd name="connsiteY1" fmla="*/ 0 h 253999"/>
                    <a:gd name="connsiteX2" fmla="*/ 282477 w 333278"/>
                    <a:gd name="connsiteY2" fmla="*/ 0 h 253999"/>
                    <a:gd name="connsiteX3" fmla="*/ 333278 w 333278"/>
                    <a:gd name="connsiteY3" fmla="*/ 50801 h 253999"/>
                    <a:gd name="connsiteX4" fmla="*/ 333278 w 333278"/>
                    <a:gd name="connsiteY4" fmla="*/ 253999 h 253999"/>
                    <a:gd name="connsiteX5" fmla="*/ 0 w 333278"/>
                    <a:gd name="connsiteY5" fmla="*/ 253999 h 253999"/>
                    <a:gd name="connsiteX6" fmla="*/ 0 w 333278"/>
                    <a:gd name="connsiteY6" fmla="*/ 50801 h 253999"/>
                    <a:gd name="connsiteX0" fmla="*/ 0 w 333278"/>
                    <a:gd name="connsiteY0" fmla="*/ 50801 h 253999"/>
                    <a:gd name="connsiteX1" fmla="*/ 102236 w 333278"/>
                    <a:gd name="connsiteY1" fmla="*/ 0 h 253999"/>
                    <a:gd name="connsiteX2" fmla="*/ 223422 w 333278"/>
                    <a:gd name="connsiteY2" fmla="*/ 0 h 253999"/>
                    <a:gd name="connsiteX3" fmla="*/ 333278 w 333278"/>
                    <a:gd name="connsiteY3" fmla="*/ 50801 h 253999"/>
                    <a:gd name="connsiteX4" fmla="*/ 333278 w 333278"/>
                    <a:gd name="connsiteY4" fmla="*/ 253999 h 253999"/>
                    <a:gd name="connsiteX5" fmla="*/ 0 w 333278"/>
                    <a:gd name="connsiteY5" fmla="*/ 253999 h 253999"/>
                    <a:gd name="connsiteX6" fmla="*/ 0 w 333278"/>
                    <a:gd name="connsiteY6" fmla="*/ 50801 h 253999"/>
                    <a:gd name="connsiteX0" fmla="*/ 0 w 333278"/>
                    <a:gd name="connsiteY0" fmla="*/ 50801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50801 h 253999"/>
                    <a:gd name="connsiteX0" fmla="*/ 0 w 333278"/>
                    <a:gd name="connsiteY0" fmla="*/ 109856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109856 h 253999"/>
                    <a:gd name="connsiteX0" fmla="*/ 0 w 333278"/>
                    <a:gd name="connsiteY0" fmla="*/ 92711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92711 h 253999"/>
                    <a:gd name="connsiteX0" fmla="*/ 0 w 333278"/>
                    <a:gd name="connsiteY0" fmla="*/ 92711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92711 h 253999"/>
                    <a:gd name="connsiteX0" fmla="*/ 0 w 333278"/>
                    <a:gd name="connsiteY0" fmla="*/ 92711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92711 h 253999"/>
                    <a:gd name="connsiteX0" fmla="*/ 0 w 333278"/>
                    <a:gd name="connsiteY0" fmla="*/ 92711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92711 h 253999"/>
                    <a:gd name="connsiteX0" fmla="*/ 0 w 333278"/>
                    <a:gd name="connsiteY0" fmla="*/ 92711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92711 h 253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278" h="253999">
                      <a:moveTo>
                        <a:pt x="0" y="92711"/>
                      </a:moveTo>
                      <a:cubicBezTo>
                        <a:pt x="1905" y="43699"/>
                        <a:pt x="30364" y="0"/>
                        <a:pt x="102236" y="0"/>
                      </a:cubicBezTo>
                      <a:lnTo>
                        <a:pt x="223422" y="0"/>
                      </a:lnTo>
                      <a:cubicBezTo>
                        <a:pt x="310534" y="0"/>
                        <a:pt x="331373" y="47509"/>
                        <a:pt x="333278" y="96521"/>
                      </a:cubicBezTo>
                      <a:lnTo>
                        <a:pt x="333278" y="253999"/>
                      </a:lnTo>
                      <a:cubicBezTo>
                        <a:pt x="331072" y="249765"/>
                        <a:pt x="301" y="251670"/>
                        <a:pt x="0" y="253999"/>
                      </a:cubicBezTo>
                      <a:lnTo>
                        <a:pt x="0" y="9271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Oval 33"/>
                <p:cNvSpPr/>
                <p:nvPr/>
              </p:nvSpPr>
              <p:spPr>
                <a:xfrm>
                  <a:off x="3300461" y="3038474"/>
                  <a:ext cx="228600" cy="2286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8" name="Group 37"/>
              <p:cNvGrpSpPr/>
              <p:nvPr/>
            </p:nvGrpSpPr>
            <p:grpSpPr>
              <a:xfrm>
                <a:off x="4468255" y="4591623"/>
                <a:ext cx="178357" cy="190597"/>
                <a:chOff x="3220451" y="3038474"/>
                <a:chExt cx="388620" cy="415291"/>
              </a:xfrm>
              <a:solidFill>
                <a:schemeClr val="tx1"/>
              </a:solidFill>
            </p:grpSpPr>
            <p:sp>
              <p:nvSpPr>
                <p:cNvPr id="39" name="Rounded Rectangle 1"/>
                <p:cNvSpPr/>
                <p:nvPr/>
              </p:nvSpPr>
              <p:spPr>
                <a:xfrm>
                  <a:off x="3220451" y="3267074"/>
                  <a:ext cx="388620" cy="186691"/>
                </a:xfrm>
                <a:custGeom>
                  <a:avLst/>
                  <a:gdLst>
                    <a:gd name="connsiteX0" fmla="*/ 0 w 333278"/>
                    <a:gd name="connsiteY0" fmla="*/ 50801 h 304800"/>
                    <a:gd name="connsiteX1" fmla="*/ 50801 w 333278"/>
                    <a:gd name="connsiteY1" fmla="*/ 0 h 304800"/>
                    <a:gd name="connsiteX2" fmla="*/ 282477 w 333278"/>
                    <a:gd name="connsiteY2" fmla="*/ 0 h 304800"/>
                    <a:gd name="connsiteX3" fmla="*/ 333278 w 333278"/>
                    <a:gd name="connsiteY3" fmla="*/ 50801 h 304800"/>
                    <a:gd name="connsiteX4" fmla="*/ 333278 w 333278"/>
                    <a:gd name="connsiteY4" fmla="*/ 253999 h 304800"/>
                    <a:gd name="connsiteX5" fmla="*/ 282477 w 333278"/>
                    <a:gd name="connsiteY5" fmla="*/ 304800 h 304800"/>
                    <a:gd name="connsiteX6" fmla="*/ 50801 w 333278"/>
                    <a:gd name="connsiteY6" fmla="*/ 304800 h 304800"/>
                    <a:gd name="connsiteX7" fmla="*/ 0 w 333278"/>
                    <a:gd name="connsiteY7" fmla="*/ 253999 h 304800"/>
                    <a:gd name="connsiteX8" fmla="*/ 0 w 333278"/>
                    <a:gd name="connsiteY8" fmla="*/ 50801 h 304800"/>
                    <a:gd name="connsiteX0" fmla="*/ 0 w 333278"/>
                    <a:gd name="connsiteY0" fmla="*/ 50801 h 304800"/>
                    <a:gd name="connsiteX1" fmla="*/ 50801 w 333278"/>
                    <a:gd name="connsiteY1" fmla="*/ 0 h 304800"/>
                    <a:gd name="connsiteX2" fmla="*/ 282477 w 333278"/>
                    <a:gd name="connsiteY2" fmla="*/ 0 h 304800"/>
                    <a:gd name="connsiteX3" fmla="*/ 333278 w 333278"/>
                    <a:gd name="connsiteY3" fmla="*/ 50801 h 304800"/>
                    <a:gd name="connsiteX4" fmla="*/ 333278 w 333278"/>
                    <a:gd name="connsiteY4" fmla="*/ 253999 h 304800"/>
                    <a:gd name="connsiteX5" fmla="*/ 282477 w 333278"/>
                    <a:gd name="connsiteY5" fmla="*/ 304800 h 304800"/>
                    <a:gd name="connsiteX6" fmla="*/ 0 w 333278"/>
                    <a:gd name="connsiteY6" fmla="*/ 253999 h 304800"/>
                    <a:gd name="connsiteX7" fmla="*/ 0 w 333278"/>
                    <a:gd name="connsiteY7" fmla="*/ 50801 h 304800"/>
                    <a:gd name="connsiteX0" fmla="*/ 0 w 333278"/>
                    <a:gd name="connsiteY0" fmla="*/ 50801 h 253999"/>
                    <a:gd name="connsiteX1" fmla="*/ 50801 w 333278"/>
                    <a:gd name="connsiteY1" fmla="*/ 0 h 253999"/>
                    <a:gd name="connsiteX2" fmla="*/ 282477 w 333278"/>
                    <a:gd name="connsiteY2" fmla="*/ 0 h 253999"/>
                    <a:gd name="connsiteX3" fmla="*/ 333278 w 333278"/>
                    <a:gd name="connsiteY3" fmla="*/ 50801 h 253999"/>
                    <a:gd name="connsiteX4" fmla="*/ 333278 w 333278"/>
                    <a:gd name="connsiteY4" fmla="*/ 253999 h 253999"/>
                    <a:gd name="connsiteX5" fmla="*/ 0 w 333278"/>
                    <a:gd name="connsiteY5" fmla="*/ 253999 h 253999"/>
                    <a:gd name="connsiteX6" fmla="*/ 0 w 333278"/>
                    <a:gd name="connsiteY6" fmla="*/ 50801 h 253999"/>
                    <a:gd name="connsiteX0" fmla="*/ 0 w 333278"/>
                    <a:gd name="connsiteY0" fmla="*/ 50801 h 268546"/>
                    <a:gd name="connsiteX1" fmla="*/ 50801 w 333278"/>
                    <a:gd name="connsiteY1" fmla="*/ 0 h 268546"/>
                    <a:gd name="connsiteX2" fmla="*/ 282477 w 333278"/>
                    <a:gd name="connsiteY2" fmla="*/ 0 h 268546"/>
                    <a:gd name="connsiteX3" fmla="*/ 333278 w 333278"/>
                    <a:gd name="connsiteY3" fmla="*/ 50801 h 268546"/>
                    <a:gd name="connsiteX4" fmla="*/ 333278 w 333278"/>
                    <a:gd name="connsiteY4" fmla="*/ 253999 h 268546"/>
                    <a:gd name="connsiteX5" fmla="*/ 0 w 333278"/>
                    <a:gd name="connsiteY5" fmla="*/ 253999 h 268546"/>
                    <a:gd name="connsiteX6" fmla="*/ 0 w 333278"/>
                    <a:gd name="connsiteY6" fmla="*/ 50801 h 268546"/>
                    <a:gd name="connsiteX0" fmla="*/ 0 w 333278"/>
                    <a:gd name="connsiteY0" fmla="*/ 50801 h 253999"/>
                    <a:gd name="connsiteX1" fmla="*/ 50801 w 333278"/>
                    <a:gd name="connsiteY1" fmla="*/ 0 h 253999"/>
                    <a:gd name="connsiteX2" fmla="*/ 282477 w 333278"/>
                    <a:gd name="connsiteY2" fmla="*/ 0 h 253999"/>
                    <a:gd name="connsiteX3" fmla="*/ 333278 w 333278"/>
                    <a:gd name="connsiteY3" fmla="*/ 50801 h 253999"/>
                    <a:gd name="connsiteX4" fmla="*/ 333278 w 333278"/>
                    <a:gd name="connsiteY4" fmla="*/ 253999 h 253999"/>
                    <a:gd name="connsiteX5" fmla="*/ 0 w 333278"/>
                    <a:gd name="connsiteY5" fmla="*/ 253999 h 253999"/>
                    <a:gd name="connsiteX6" fmla="*/ 0 w 333278"/>
                    <a:gd name="connsiteY6" fmla="*/ 50801 h 253999"/>
                    <a:gd name="connsiteX0" fmla="*/ 0 w 333278"/>
                    <a:gd name="connsiteY0" fmla="*/ 50801 h 253999"/>
                    <a:gd name="connsiteX1" fmla="*/ 102236 w 333278"/>
                    <a:gd name="connsiteY1" fmla="*/ 0 h 253999"/>
                    <a:gd name="connsiteX2" fmla="*/ 282477 w 333278"/>
                    <a:gd name="connsiteY2" fmla="*/ 0 h 253999"/>
                    <a:gd name="connsiteX3" fmla="*/ 333278 w 333278"/>
                    <a:gd name="connsiteY3" fmla="*/ 50801 h 253999"/>
                    <a:gd name="connsiteX4" fmla="*/ 333278 w 333278"/>
                    <a:gd name="connsiteY4" fmla="*/ 253999 h 253999"/>
                    <a:gd name="connsiteX5" fmla="*/ 0 w 333278"/>
                    <a:gd name="connsiteY5" fmla="*/ 253999 h 253999"/>
                    <a:gd name="connsiteX6" fmla="*/ 0 w 333278"/>
                    <a:gd name="connsiteY6" fmla="*/ 50801 h 253999"/>
                    <a:gd name="connsiteX0" fmla="*/ 0 w 333278"/>
                    <a:gd name="connsiteY0" fmla="*/ 50801 h 253999"/>
                    <a:gd name="connsiteX1" fmla="*/ 102236 w 333278"/>
                    <a:gd name="connsiteY1" fmla="*/ 0 h 253999"/>
                    <a:gd name="connsiteX2" fmla="*/ 223422 w 333278"/>
                    <a:gd name="connsiteY2" fmla="*/ 0 h 253999"/>
                    <a:gd name="connsiteX3" fmla="*/ 333278 w 333278"/>
                    <a:gd name="connsiteY3" fmla="*/ 50801 h 253999"/>
                    <a:gd name="connsiteX4" fmla="*/ 333278 w 333278"/>
                    <a:gd name="connsiteY4" fmla="*/ 253999 h 253999"/>
                    <a:gd name="connsiteX5" fmla="*/ 0 w 333278"/>
                    <a:gd name="connsiteY5" fmla="*/ 253999 h 253999"/>
                    <a:gd name="connsiteX6" fmla="*/ 0 w 333278"/>
                    <a:gd name="connsiteY6" fmla="*/ 50801 h 253999"/>
                    <a:gd name="connsiteX0" fmla="*/ 0 w 333278"/>
                    <a:gd name="connsiteY0" fmla="*/ 50801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50801 h 253999"/>
                    <a:gd name="connsiteX0" fmla="*/ 0 w 333278"/>
                    <a:gd name="connsiteY0" fmla="*/ 109856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109856 h 253999"/>
                    <a:gd name="connsiteX0" fmla="*/ 0 w 333278"/>
                    <a:gd name="connsiteY0" fmla="*/ 92711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92711 h 253999"/>
                    <a:gd name="connsiteX0" fmla="*/ 0 w 333278"/>
                    <a:gd name="connsiteY0" fmla="*/ 92711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92711 h 253999"/>
                    <a:gd name="connsiteX0" fmla="*/ 0 w 333278"/>
                    <a:gd name="connsiteY0" fmla="*/ 92711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92711 h 253999"/>
                    <a:gd name="connsiteX0" fmla="*/ 0 w 333278"/>
                    <a:gd name="connsiteY0" fmla="*/ 92711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92711 h 253999"/>
                    <a:gd name="connsiteX0" fmla="*/ 0 w 333278"/>
                    <a:gd name="connsiteY0" fmla="*/ 92711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92711 h 253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278" h="253999">
                      <a:moveTo>
                        <a:pt x="0" y="92711"/>
                      </a:moveTo>
                      <a:cubicBezTo>
                        <a:pt x="1905" y="43699"/>
                        <a:pt x="30364" y="0"/>
                        <a:pt x="102236" y="0"/>
                      </a:cubicBezTo>
                      <a:lnTo>
                        <a:pt x="223422" y="0"/>
                      </a:lnTo>
                      <a:cubicBezTo>
                        <a:pt x="310534" y="0"/>
                        <a:pt x="331373" y="47509"/>
                        <a:pt x="333278" y="96521"/>
                      </a:cubicBezTo>
                      <a:lnTo>
                        <a:pt x="333278" y="253999"/>
                      </a:lnTo>
                      <a:cubicBezTo>
                        <a:pt x="331072" y="249765"/>
                        <a:pt x="301" y="251670"/>
                        <a:pt x="0" y="253999"/>
                      </a:cubicBezTo>
                      <a:lnTo>
                        <a:pt x="0" y="9271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Oval 39"/>
                <p:cNvSpPr/>
                <p:nvPr/>
              </p:nvSpPr>
              <p:spPr>
                <a:xfrm>
                  <a:off x="3300461" y="3038474"/>
                  <a:ext cx="228600" cy="2286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1" name="Group 40"/>
              <p:cNvGrpSpPr/>
              <p:nvPr/>
            </p:nvGrpSpPr>
            <p:grpSpPr>
              <a:xfrm>
                <a:off x="4187317" y="4816317"/>
                <a:ext cx="178357" cy="190597"/>
                <a:chOff x="3220451" y="3038474"/>
                <a:chExt cx="388620" cy="415291"/>
              </a:xfrm>
              <a:solidFill>
                <a:schemeClr val="tx1"/>
              </a:solidFill>
            </p:grpSpPr>
            <p:sp>
              <p:nvSpPr>
                <p:cNvPr id="42" name="Rounded Rectangle 1"/>
                <p:cNvSpPr/>
                <p:nvPr/>
              </p:nvSpPr>
              <p:spPr>
                <a:xfrm>
                  <a:off x="3220451" y="3267074"/>
                  <a:ext cx="388620" cy="186691"/>
                </a:xfrm>
                <a:custGeom>
                  <a:avLst/>
                  <a:gdLst>
                    <a:gd name="connsiteX0" fmla="*/ 0 w 333278"/>
                    <a:gd name="connsiteY0" fmla="*/ 50801 h 304800"/>
                    <a:gd name="connsiteX1" fmla="*/ 50801 w 333278"/>
                    <a:gd name="connsiteY1" fmla="*/ 0 h 304800"/>
                    <a:gd name="connsiteX2" fmla="*/ 282477 w 333278"/>
                    <a:gd name="connsiteY2" fmla="*/ 0 h 304800"/>
                    <a:gd name="connsiteX3" fmla="*/ 333278 w 333278"/>
                    <a:gd name="connsiteY3" fmla="*/ 50801 h 304800"/>
                    <a:gd name="connsiteX4" fmla="*/ 333278 w 333278"/>
                    <a:gd name="connsiteY4" fmla="*/ 253999 h 304800"/>
                    <a:gd name="connsiteX5" fmla="*/ 282477 w 333278"/>
                    <a:gd name="connsiteY5" fmla="*/ 304800 h 304800"/>
                    <a:gd name="connsiteX6" fmla="*/ 50801 w 333278"/>
                    <a:gd name="connsiteY6" fmla="*/ 304800 h 304800"/>
                    <a:gd name="connsiteX7" fmla="*/ 0 w 333278"/>
                    <a:gd name="connsiteY7" fmla="*/ 253999 h 304800"/>
                    <a:gd name="connsiteX8" fmla="*/ 0 w 333278"/>
                    <a:gd name="connsiteY8" fmla="*/ 50801 h 304800"/>
                    <a:gd name="connsiteX0" fmla="*/ 0 w 333278"/>
                    <a:gd name="connsiteY0" fmla="*/ 50801 h 304800"/>
                    <a:gd name="connsiteX1" fmla="*/ 50801 w 333278"/>
                    <a:gd name="connsiteY1" fmla="*/ 0 h 304800"/>
                    <a:gd name="connsiteX2" fmla="*/ 282477 w 333278"/>
                    <a:gd name="connsiteY2" fmla="*/ 0 h 304800"/>
                    <a:gd name="connsiteX3" fmla="*/ 333278 w 333278"/>
                    <a:gd name="connsiteY3" fmla="*/ 50801 h 304800"/>
                    <a:gd name="connsiteX4" fmla="*/ 333278 w 333278"/>
                    <a:gd name="connsiteY4" fmla="*/ 253999 h 304800"/>
                    <a:gd name="connsiteX5" fmla="*/ 282477 w 333278"/>
                    <a:gd name="connsiteY5" fmla="*/ 304800 h 304800"/>
                    <a:gd name="connsiteX6" fmla="*/ 0 w 333278"/>
                    <a:gd name="connsiteY6" fmla="*/ 253999 h 304800"/>
                    <a:gd name="connsiteX7" fmla="*/ 0 w 333278"/>
                    <a:gd name="connsiteY7" fmla="*/ 50801 h 304800"/>
                    <a:gd name="connsiteX0" fmla="*/ 0 w 333278"/>
                    <a:gd name="connsiteY0" fmla="*/ 50801 h 253999"/>
                    <a:gd name="connsiteX1" fmla="*/ 50801 w 333278"/>
                    <a:gd name="connsiteY1" fmla="*/ 0 h 253999"/>
                    <a:gd name="connsiteX2" fmla="*/ 282477 w 333278"/>
                    <a:gd name="connsiteY2" fmla="*/ 0 h 253999"/>
                    <a:gd name="connsiteX3" fmla="*/ 333278 w 333278"/>
                    <a:gd name="connsiteY3" fmla="*/ 50801 h 253999"/>
                    <a:gd name="connsiteX4" fmla="*/ 333278 w 333278"/>
                    <a:gd name="connsiteY4" fmla="*/ 253999 h 253999"/>
                    <a:gd name="connsiteX5" fmla="*/ 0 w 333278"/>
                    <a:gd name="connsiteY5" fmla="*/ 253999 h 253999"/>
                    <a:gd name="connsiteX6" fmla="*/ 0 w 333278"/>
                    <a:gd name="connsiteY6" fmla="*/ 50801 h 253999"/>
                    <a:gd name="connsiteX0" fmla="*/ 0 w 333278"/>
                    <a:gd name="connsiteY0" fmla="*/ 50801 h 268546"/>
                    <a:gd name="connsiteX1" fmla="*/ 50801 w 333278"/>
                    <a:gd name="connsiteY1" fmla="*/ 0 h 268546"/>
                    <a:gd name="connsiteX2" fmla="*/ 282477 w 333278"/>
                    <a:gd name="connsiteY2" fmla="*/ 0 h 268546"/>
                    <a:gd name="connsiteX3" fmla="*/ 333278 w 333278"/>
                    <a:gd name="connsiteY3" fmla="*/ 50801 h 268546"/>
                    <a:gd name="connsiteX4" fmla="*/ 333278 w 333278"/>
                    <a:gd name="connsiteY4" fmla="*/ 253999 h 268546"/>
                    <a:gd name="connsiteX5" fmla="*/ 0 w 333278"/>
                    <a:gd name="connsiteY5" fmla="*/ 253999 h 268546"/>
                    <a:gd name="connsiteX6" fmla="*/ 0 w 333278"/>
                    <a:gd name="connsiteY6" fmla="*/ 50801 h 268546"/>
                    <a:gd name="connsiteX0" fmla="*/ 0 w 333278"/>
                    <a:gd name="connsiteY0" fmla="*/ 50801 h 253999"/>
                    <a:gd name="connsiteX1" fmla="*/ 50801 w 333278"/>
                    <a:gd name="connsiteY1" fmla="*/ 0 h 253999"/>
                    <a:gd name="connsiteX2" fmla="*/ 282477 w 333278"/>
                    <a:gd name="connsiteY2" fmla="*/ 0 h 253999"/>
                    <a:gd name="connsiteX3" fmla="*/ 333278 w 333278"/>
                    <a:gd name="connsiteY3" fmla="*/ 50801 h 253999"/>
                    <a:gd name="connsiteX4" fmla="*/ 333278 w 333278"/>
                    <a:gd name="connsiteY4" fmla="*/ 253999 h 253999"/>
                    <a:gd name="connsiteX5" fmla="*/ 0 w 333278"/>
                    <a:gd name="connsiteY5" fmla="*/ 253999 h 253999"/>
                    <a:gd name="connsiteX6" fmla="*/ 0 w 333278"/>
                    <a:gd name="connsiteY6" fmla="*/ 50801 h 253999"/>
                    <a:gd name="connsiteX0" fmla="*/ 0 w 333278"/>
                    <a:gd name="connsiteY0" fmla="*/ 50801 h 253999"/>
                    <a:gd name="connsiteX1" fmla="*/ 102236 w 333278"/>
                    <a:gd name="connsiteY1" fmla="*/ 0 h 253999"/>
                    <a:gd name="connsiteX2" fmla="*/ 282477 w 333278"/>
                    <a:gd name="connsiteY2" fmla="*/ 0 h 253999"/>
                    <a:gd name="connsiteX3" fmla="*/ 333278 w 333278"/>
                    <a:gd name="connsiteY3" fmla="*/ 50801 h 253999"/>
                    <a:gd name="connsiteX4" fmla="*/ 333278 w 333278"/>
                    <a:gd name="connsiteY4" fmla="*/ 253999 h 253999"/>
                    <a:gd name="connsiteX5" fmla="*/ 0 w 333278"/>
                    <a:gd name="connsiteY5" fmla="*/ 253999 h 253999"/>
                    <a:gd name="connsiteX6" fmla="*/ 0 w 333278"/>
                    <a:gd name="connsiteY6" fmla="*/ 50801 h 253999"/>
                    <a:gd name="connsiteX0" fmla="*/ 0 w 333278"/>
                    <a:gd name="connsiteY0" fmla="*/ 50801 h 253999"/>
                    <a:gd name="connsiteX1" fmla="*/ 102236 w 333278"/>
                    <a:gd name="connsiteY1" fmla="*/ 0 h 253999"/>
                    <a:gd name="connsiteX2" fmla="*/ 223422 w 333278"/>
                    <a:gd name="connsiteY2" fmla="*/ 0 h 253999"/>
                    <a:gd name="connsiteX3" fmla="*/ 333278 w 333278"/>
                    <a:gd name="connsiteY3" fmla="*/ 50801 h 253999"/>
                    <a:gd name="connsiteX4" fmla="*/ 333278 w 333278"/>
                    <a:gd name="connsiteY4" fmla="*/ 253999 h 253999"/>
                    <a:gd name="connsiteX5" fmla="*/ 0 w 333278"/>
                    <a:gd name="connsiteY5" fmla="*/ 253999 h 253999"/>
                    <a:gd name="connsiteX6" fmla="*/ 0 w 333278"/>
                    <a:gd name="connsiteY6" fmla="*/ 50801 h 253999"/>
                    <a:gd name="connsiteX0" fmla="*/ 0 w 333278"/>
                    <a:gd name="connsiteY0" fmla="*/ 50801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50801 h 253999"/>
                    <a:gd name="connsiteX0" fmla="*/ 0 w 333278"/>
                    <a:gd name="connsiteY0" fmla="*/ 109856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109856 h 253999"/>
                    <a:gd name="connsiteX0" fmla="*/ 0 w 333278"/>
                    <a:gd name="connsiteY0" fmla="*/ 92711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92711 h 253999"/>
                    <a:gd name="connsiteX0" fmla="*/ 0 w 333278"/>
                    <a:gd name="connsiteY0" fmla="*/ 92711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92711 h 253999"/>
                    <a:gd name="connsiteX0" fmla="*/ 0 w 333278"/>
                    <a:gd name="connsiteY0" fmla="*/ 92711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92711 h 253999"/>
                    <a:gd name="connsiteX0" fmla="*/ 0 w 333278"/>
                    <a:gd name="connsiteY0" fmla="*/ 92711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92711 h 253999"/>
                    <a:gd name="connsiteX0" fmla="*/ 0 w 333278"/>
                    <a:gd name="connsiteY0" fmla="*/ 92711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92711 h 253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278" h="253999">
                      <a:moveTo>
                        <a:pt x="0" y="92711"/>
                      </a:moveTo>
                      <a:cubicBezTo>
                        <a:pt x="1905" y="43699"/>
                        <a:pt x="30364" y="0"/>
                        <a:pt x="102236" y="0"/>
                      </a:cubicBezTo>
                      <a:lnTo>
                        <a:pt x="223422" y="0"/>
                      </a:lnTo>
                      <a:cubicBezTo>
                        <a:pt x="310534" y="0"/>
                        <a:pt x="331373" y="47509"/>
                        <a:pt x="333278" y="96521"/>
                      </a:cubicBezTo>
                      <a:lnTo>
                        <a:pt x="333278" y="253999"/>
                      </a:lnTo>
                      <a:cubicBezTo>
                        <a:pt x="331072" y="249765"/>
                        <a:pt x="301" y="251670"/>
                        <a:pt x="0" y="253999"/>
                      </a:cubicBezTo>
                      <a:lnTo>
                        <a:pt x="0" y="9271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Oval 42"/>
                <p:cNvSpPr/>
                <p:nvPr/>
              </p:nvSpPr>
              <p:spPr>
                <a:xfrm>
                  <a:off x="3300461" y="3038474"/>
                  <a:ext cx="228600" cy="2286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4" name="Group 43"/>
              <p:cNvGrpSpPr/>
              <p:nvPr/>
            </p:nvGrpSpPr>
            <p:grpSpPr>
              <a:xfrm>
                <a:off x="4374638" y="4813695"/>
                <a:ext cx="178357" cy="190597"/>
                <a:chOff x="3220451" y="3038474"/>
                <a:chExt cx="388620" cy="415291"/>
              </a:xfrm>
              <a:solidFill>
                <a:schemeClr val="tx1"/>
              </a:solidFill>
            </p:grpSpPr>
            <p:sp>
              <p:nvSpPr>
                <p:cNvPr id="45" name="Rounded Rectangle 1"/>
                <p:cNvSpPr/>
                <p:nvPr/>
              </p:nvSpPr>
              <p:spPr>
                <a:xfrm>
                  <a:off x="3220451" y="3267074"/>
                  <a:ext cx="388620" cy="186691"/>
                </a:xfrm>
                <a:custGeom>
                  <a:avLst/>
                  <a:gdLst>
                    <a:gd name="connsiteX0" fmla="*/ 0 w 333278"/>
                    <a:gd name="connsiteY0" fmla="*/ 50801 h 304800"/>
                    <a:gd name="connsiteX1" fmla="*/ 50801 w 333278"/>
                    <a:gd name="connsiteY1" fmla="*/ 0 h 304800"/>
                    <a:gd name="connsiteX2" fmla="*/ 282477 w 333278"/>
                    <a:gd name="connsiteY2" fmla="*/ 0 h 304800"/>
                    <a:gd name="connsiteX3" fmla="*/ 333278 w 333278"/>
                    <a:gd name="connsiteY3" fmla="*/ 50801 h 304800"/>
                    <a:gd name="connsiteX4" fmla="*/ 333278 w 333278"/>
                    <a:gd name="connsiteY4" fmla="*/ 253999 h 304800"/>
                    <a:gd name="connsiteX5" fmla="*/ 282477 w 333278"/>
                    <a:gd name="connsiteY5" fmla="*/ 304800 h 304800"/>
                    <a:gd name="connsiteX6" fmla="*/ 50801 w 333278"/>
                    <a:gd name="connsiteY6" fmla="*/ 304800 h 304800"/>
                    <a:gd name="connsiteX7" fmla="*/ 0 w 333278"/>
                    <a:gd name="connsiteY7" fmla="*/ 253999 h 304800"/>
                    <a:gd name="connsiteX8" fmla="*/ 0 w 333278"/>
                    <a:gd name="connsiteY8" fmla="*/ 50801 h 304800"/>
                    <a:gd name="connsiteX0" fmla="*/ 0 w 333278"/>
                    <a:gd name="connsiteY0" fmla="*/ 50801 h 304800"/>
                    <a:gd name="connsiteX1" fmla="*/ 50801 w 333278"/>
                    <a:gd name="connsiteY1" fmla="*/ 0 h 304800"/>
                    <a:gd name="connsiteX2" fmla="*/ 282477 w 333278"/>
                    <a:gd name="connsiteY2" fmla="*/ 0 h 304800"/>
                    <a:gd name="connsiteX3" fmla="*/ 333278 w 333278"/>
                    <a:gd name="connsiteY3" fmla="*/ 50801 h 304800"/>
                    <a:gd name="connsiteX4" fmla="*/ 333278 w 333278"/>
                    <a:gd name="connsiteY4" fmla="*/ 253999 h 304800"/>
                    <a:gd name="connsiteX5" fmla="*/ 282477 w 333278"/>
                    <a:gd name="connsiteY5" fmla="*/ 304800 h 304800"/>
                    <a:gd name="connsiteX6" fmla="*/ 0 w 333278"/>
                    <a:gd name="connsiteY6" fmla="*/ 253999 h 304800"/>
                    <a:gd name="connsiteX7" fmla="*/ 0 w 333278"/>
                    <a:gd name="connsiteY7" fmla="*/ 50801 h 304800"/>
                    <a:gd name="connsiteX0" fmla="*/ 0 w 333278"/>
                    <a:gd name="connsiteY0" fmla="*/ 50801 h 253999"/>
                    <a:gd name="connsiteX1" fmla="*/ 50801 w 333278"/>
                    <a:gd name="connsiteY1" fmla="*/ 0 h 253999"/>
                    <a:gd name="connsiteX2" fmla="*/ 282477 w 333278"/>
                    <a:gd name="connsiteY2" fmla="*/ 0 h 253999"/>
                    <a:gd name="connsiteX3" fmla="*/ 333278 w 333278"/>
                    <a:gd name="connsiteY3" fmla="*/ 50801 h 253999"/>
                    <a:gd name="connsiteX4" fmla="*/ 333278 w 333278"/>
                    <a:gd name="connsiteY4" fmla="*/ 253999 h 253999"/>
                    <a:gd name="connsiteX5" fmla="*/ 0 w 333278"/>
                    <a:gd name="connsiteY5" fmla="*/ 253999 h 253999"/>
                    <a:gd name="connsiteX6" fmla="*/ 0 w 333278"/>
                    <a:gd name="connsiteY6" fmla="*/ 50801 h 253999"/>
                    <a:gd name="connsiteX0" fmla="*/ 0 w 333278"/>
                    <a:gd name="connsiteY0" fmla="*/ 50801 h 268546"/>
                    <a:gd name="connsiteX1" fmla="*/ 50801 w 333278"/>
                    <a:gd name="connsiteY1" fmla="*/ 0 h 268546"/>
                    <a:gd name="connsiteX2" fmla="*/ 282477 w 333278"/>
                    <a:gd name="connsiteY2" fmla="*/ 0 h 268546"/>
                    <a:gd name="connsiteX3" fmla="*/ 333278 w 333278"/>
                    <a:gd name="connsiteY3" fmla="*/ 50801 h 268546"/>
                    <a:gd name="connsiteX4" fmla="*/ 333278 w 333278"/>
                    <a:gd name="connsiteY4" fmla="*/ 253999 h 268546"/>
                    <a:gd name="connsiteX5" fmla="*/ 0 w 333278"/>
                    <a:gd name="connsiteY5" fmla="*/ 253999 h 268546"/>
                    <a:gd name="connsiteX6" fmla="*/ 0 w 333278"/>
                    <a:gd name="connsiteY6" fmla="*/ 50801 h 268546"/>
                    <a:gd name="connsiteX0" fmla="*/ 0 w 333278"/>
                    <a:gd name="connsiteY0" fmla="*/ 50801 h 253999"/>
                    <a:gd name="connsiteX1" fmla="*/ 50801 w 333278"/>
                    <a:gd name="connsiteY1" fmla="*/ 0 h 253999"/>
                    <a:gd name="connsiteX2" fmla="*/ 282477 w 333278"/>
                    <a:gd name="connsiteY2" fmla="*/ 0 h 253999"/>
                    <a:gd name="connsiteX3" fmla="*/ 333278 w 333278"/>
                    <a:gd name="connsiteY3" fmla="*/ 50801 h 253999"/>
                    <a:gd name="connsiteX4" fmla="*/ 333278 w 333278"/>
                    <a:gd name="connsiteY4" fmla="*/ 253999 h 253999"/>
                    <a:gd name="connsiteX5" fmla="*/ 0 w 333278"/>
                    <a:gd name="connsiteY5" fmla="*/ 253999 h 253999"/>
                    <a:gd name="connsiteX6" fmla="*/ 0 w 333278"/>
                    <a:gd name="connsiteY6" fmla="*/ 50801 h 253999"/>
                    <a:gd name="connsiteX0" fmla="*/ 0 w 333278"/>
                    <a:gd name="connsiteY0" fmla="*/ 50801 h 253999"/>
                    <a:gd name="connsiteX1" fmla="*/ 102236 w 333278"/>
                    <a:gd name="connsiteY1" fmla="*/ 0 h 253999"/>
                    <a:gd name="connsiteX2" fmla="*/ 282477 w 333278"/>
                    <a:gd name="connsiteY2" fmla="*/ 0 h 253999"/>
                    <a:gd name="connsiteX3" fmla="*/ 333278 w 333278"/>
                    <a:gd name="connsiteY3" fmla="*/ 50801 h 253999"/>
                    <a:gd name="connsiteX4" fmla="*/ 333278 w 333278"/>
                    <a:gd name="connsiteY4" fmla="*/ 253999 h 253999"/>
                    <a:gd name="connsiteX5" fmla="*/ 0 w 333278"/>
                    <a:gd name="connsiteY5" fmla="*/ 253999 h 253999"/>
                    <a:gd name="connsiteX6" fmla="*/ 0 w 333278"/>
                    <a:gd name="connsiteY6" fmla="*/ 50801 h 253999"/>
                    <a:gd name="connsiteX0" fmla="*/ 0 w 333278"/>
                    <a:gd name="connsiteY0" fmla="*/ 50801 h 253999"/>
                    <a:gd name="connsiteX1" fmla="*/ 102236 w 333278"/>
                    <a:gd name="connsiteY1" fmla="*/ 0 h 253999"/>
                    <a:gd name="connsiteX2" fmla="*/ 223422 w 333278"/>
                    <a:gd name="connsiteY2" fmla="*/ 0 h 253999"/>
                    <a:gd name="connsiteX3" fmla="*/ 333278 w 333278"/>
                    <a:gd name="connsiteY3" fmla="*/ 50801 h 253999"/>
                    <a:gd name="connsiteX4" fmla="*/ 333278 w 333278"/>
                    <a:gd name="connsiteY4" fmla="*/ 253999 h 253999"/>
                    <a:gd name="connsiteX5" fmla="*/ 0 w 333278"/>
                    <a:gd name="connsiteY5" fmla="*/ 253999 h 253999"/>
                    <a:gd name="connsiteX6" fmla="*/ 0 w 333278"/>
                    <a:gd name="connsiteY6" fmla="*/ 50801 h 253999"/>
                    <a:gd name="connsiteX0" fmla="*/ 0 w 333278"/>
                    <a:gd name="connsiteY0" fmla="*/ 50801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50801 h 253999"/>
                    <a:gd name="connsiteX0" fmla="*/ 0 w 333278"/>
                    <a:gd name="connsiteY0" fmla="*/ 109856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109856 h 253999"/>
                    <a:gd name="connsiteX0" fmla="*/ 0 w 333278"/>
                    <a:gd name="connsiteY0" fmla="*/ 92711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92711 h 253999"/>
                    <a:gd name="connsiteX0" fmla="*/ 0 w 333278"/>
                    <a:gd name="connsiteY0" fmla="*/ 92711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92711 h 253999"/>
                    <a:gd name="connsiteX0" fmla="*/ 0 w 333278"/>
                    <a:gd name="connsiteY0" fmla="*/ 92711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92711 h 253999"/>
                    <a:gd name="connsiteX0" fmla="*/ 0 w 333278"/>
                    <a:gd name="connsiteY0" fmla="*/ 92711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92711 h 253999"/>
                    <a:gd name="connsiteX0" fmla="*/ 0 w 333278"/>
                    <a:gd name="connsiteY0" fmla="*/ 92711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92711 h 253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278" h="253999">
                      <a:moveTo>
                        <a:pt x="0" y="92711"/>
                      </a:moveTo>
                      <a:cubicBezTo>
                        <a:pt x="1905" y="43699"/>
                        <a:pt x="30364" y="0"/>
                        <a:pt x="102236" y="0"/>
                      </a:cubicBezTo>
                      <a:lnTo>
                        <a:pt x="223422" y="0"/>
                      </a:lnTo>
                      <a:cubicBezTo>
                        <a:pt x="310534" y="0"/>
                        <a:pt x="331373" y="47509"/>
                        <a:pt x="333278" y="96521"/>
                      </a:cubicBezTo>
                      <a:lnTo>
                        <a:pt x="333278" y="253999"/>
                      </a:lnTo>
                      <a:cubicBezTo>
                        <a:pt x="331072" y="249765"/>
                        <a:pt x="301" y="251670"/>
                        <a:pt x="0" y="253999"/>
                      </a:cubicBezTo>
                      <a:lnTo>
                        <a:pt x="0" y="9271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Oval 45"/>
                <p:cNvSpPr/>
                <p:nvPr/>
              </p:nvSpPr>
              <p:spPr>
                <a:xfrm>
                  <a:off x="3300461" y="3038474"/>
                  <a:ext cx="228600" cy="2286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grpSp>
        <p:nvGrpSpPr>
          <p:cNvPr id="68" name="Group 67"/>
          <p:cNvGrpSpPr/>
          <p:nvPr/>
        </p:nvGrpSpPr>
        <p:grpSpPr>
          <a:xfrm>
            <a:off x="2348070" y="3440847"/>
            <a:ext cx="778304" cy="712548"/>
            <a:chOff x="2330500" y="4587796"/>
            <a:chExt cx="1037468" cy="950065"/>
          </a:xfrm>
        </p:grpSpPr>
        <p:sp>
          <p:nvSpPr>
            <p:cNvPr id="47" name="TextBox 46"/>
            <p:cNvSpPr txBox="1"/>
            <p:nvPr/>
          </p:nvSpPr>
          <p:spPr>
            <a:xfrm>
              <a:off x="2330500" y="5086456"/>
              <a:ext cx="1037468" cy="451405"/>
            </a:xfrm>
            <a:prstGeom prst="rect">
              <a:avLst/>
            </a:prstGeom>
            <a:noFill/>
          </p:spPr>
          <p:txBody>
            <a:bodyPr wrap="square" rtlCol="0">
              <a:spAutoFit/>
            </a:bodyPr>
            <a:lstStyle/>
            <a:p>
              <a:pPr algn="ctr"/>
              <a:r>
                <a:rPr lang="en-US" sz="800" b="1" dirty="0">
                  <a:latin typeface="Segoe WP Light"/>
                </a:rPr>
                <a:t>Interface</a:t>
              </a:r>
              <a:br>
                <a:rPr lang="en-US" sz="800" b="1" dirty="0">
                  <a:latin typeface="Segoe WP Light"/>
                </a:rPr>
              </a:br>
              <a:r>
                <a:rPr lang="en-US" sz="800" b="1" dirty="0">
                  <a:latin typeface="Segoe WP Light"/>
                </a:rPr>
                <a:t>Selection</a:t>
              </a:r>
            </a:p>
          </p:txBody>
        </p:sp>
        <p:grpSp>
          <p:nvGrpSpPr>
            <p:cNvPr id="48" name="Group 47"/>
            <p:cNvGrpSpPr/>
            <p:nvPr/>
          </p:nvGrpSpPr>
          <p:grpSpPr>
            <a:xfrm>
              <a:off x="2605244" y="4587796"/>
              <a:ext cx="487980" cy="461119"/>
              <a:chOff x="2565133" y="4398838"/>
              <a:chExt cx="487980" cy="461119"/>
            </a:xfrm>
          </p:grpSpPr>
          <p:sp>
            <p:nvSpPr>
              <p:cNvPr id="49" name="Freeform 48"/>
              <p:cNvSpPr/>
              <p:nvPr/>
            </p:nvSpPr>
            <p:spPr>
              <a:xfrm>
                <a:off x="2565133" y="4398838"/>
                <a:ext cx="487980" cy="461119"/>
              </a:xfrm>
              <a:custGeom>
                <a:avLst/>
                <a:gdLst>
                  <a:gd name="connsiteX0" fmla="*/ 394335 w 615315"/>
                  <a:gd name="connsiteY0" fmla="*/ 571500 h 571500"/>
                  <a:gd name="connsiteX1" fmla="*/ 615315 w 615315"/>
                  <a:gd name="connsiteY1" fmla="*/ 118110 h 571500"/>
                  <a:gd name="connsiteX2" fmla="*/ 110490 w 615315"/>
                  <a:gd name="connsiteY2" fmla="*/ 0 h 571500"/>
                  <a:gd name="connsiteX3" fmla="*/ 0 w 615315"/>
                  <a:gd name="connsiteY3" fmla="*/ 243840 h 571500"/>
                  <a:gd name="connsiteX4" fmla="*/ 394335 w 615315"/>
                  <a:gd name="connsiteY4" fmla="*/ 571500 h 571500"/>
                  <a:gd name="connsiteX0" fmla="*/ 394335 w 609600"/>
                  <a:gd name="connsiteY0" fmla="*/ 571500 h 571500"/>
                  <a:gd name="connsiteX1" fmla="*/ 609600 w 609600"/>
                  <a:gd name="connsiteY1" fmla="*/ 104775 h 571500"/>
                  <a:gd name="connsiteX2" fmla="*/ 110490 w 609600"/>
                  <a:gd name="connsiteY2" fmla="*/ 0 h 571500"/>
                  <a:gd name="connsiteX3" fmla="*/ 0 w 609600"/>
                  <a:gd name="connsiteY3" fmla="*/ 243840 h 571500"/>
                  <a:gd name="connsiteX4" fmla="*/ 394335 w 609600"/>
                  <a:gd name="connsiteY4" fmla="*/ 571500 h 571500"/>
                  <a:gd name="connsiteX0" fmla="*/ 388620 w 609600"/>
                  <a:gd name="connsiteY0" fmla="*/ 581025 h 581025"/>
                  <a:gd name="connsiteX1" fmla="*/ 609600 w 609600"/>
                  <a:gd name="connsiteY1" fmla="*/ 104775 h 581025"/>
                  <a:gd name="connsiteX2" fmla="*/ 110490 w 609600"/>
                  <a:gd name="connsiteY2" fmla="*/ 0 h 581025"/>
                  <a:gd name="connsiteX3" fmla="*/ 0 w 609600"/>
                  <a:gd name="connsiteY3" fmla="*/ 243840 h 581025"/>
                  <a:gd name="connsiteX4" fmla="*/ 388620 w 609600"/>
                  <a:gd name="connsiteY4" fmla="*/ 581025 h 581025"/>
                  <a:gd name="connsiteX0" fmla="*/ 388620 w 611505"/>
                  <a:gd name="connsiteY0" fmla="*/ 581025 h 581025"/>
                  <a:gd name="connsiteX1" fmla="*/ 611505 w 611505"/>
                  <a:gd name="connsiteY1" fmla="*/ 99060 h 581025"/>
                  <a:gd name="connsiteX2" fmla="*/ 110490 w 611505"/>
                  <a:gd name="connsiteY2" fmla="*/ 0 h 581025"/>
                  <a:gd name="connsiteX3" fmla="*/ 0 w 611505"/>
                  <a:gd name="connsiteY3" fmla="*/ 243840 h 581025"/>
                  <a:gd name="connsiteX4" fmla="*/ 388620 w 611505"/>
                  <a:gd name="connsiteY4" fmla="*/ 581025 h 581025"/>
                  <a:gd name="connsiteX0" fmla="*/ 388620 w 621030"/>
                  <a:gd name="connsiteY0" fmla="*/ 581025 h 581025"/>
                  <a:gd name="connsiteX1" fmla="*/ 621030 w 621030"/>
                  <a:gd name="connsiteY1" fmla="*/ 104775 h 581025"/>
                  <a:gd name="connsiteX2" fmla="*/ 110490 w 621030"/>
                  <a:gd name="connsiteY2" fmla="*/ 0 h 581025"/>
                  <a:gd name="connsiteX3" fmla="*/ 0 w 621030"/>
                  <a:gd name="connsiteY3" fmla="*/ 243840 h 581025"/>
                  <a:gd name="connsiteX4" fmla="*/ 388620 w 621030"/>
                  <a:gd name="connsiteY4" fmla="*/ 581025 h 581025"/>
                  <a:gd name="connsiteX0" fmla="*/ 390525 w 621030"/>
                  <a:gd name="connsiteY0" fmla="*/ 588645 h 588645"/>
                  <a:gd name="connsiteX1" fmla="*/ 621030 w 621030"/>
                  <a:gd name="connsiteY1" fmla="*/ 104775 h 588645"/>
                  <a:gd name="connsiteX2" fmla="*/ 110490 w 621030"/>
                  <a:gd name="connsiteY2" fmla="*/ 0 h 588645"/>
                  <a:gd name="connsiteX3" fmla="*/ 0 w 621030"/>
                  <a:gd name="connsiteY3" fmla="*/ 243840 h 588645"/>
                  <a:gd name="connsiteX4" fmla="*/ 390525 w 621030"/>
                  <a:gd name="connsiteY4" fmla="*/ 588645 h 588645"/>
                  <a:gd name="connsiteX0" fmla="*/ 392430 w 622935"/>
                  <a:gd name="connsiteY0" fmla="*/ 588645 h 588645"/>
                  <a:gd name="connsiteX1" fmla="*/ 622935 w 622935"/>
                  <a:gd name="connsiteY1" fmla="*/ 104775 h 588645"/>
                  <a:gd name="connsiteX2" fmla="*/ 112395 w 622935"/>
                  <a:gd name="connsiteY2" fmla="*/ 0 h 588645"/>
                  <a:gd name="connsiteX3" fmla="*/ 0 w 622935"/>
                  <a:gd name="connsiteY3" fmla="*/ 249555 h 588645"/>
                  <a:gd name="connsiteX4" fmla="*/ 392430 w 622935"/>
                  <a:gd name="connsiteY4" fmla="*/ 588645 h 588645"/>
                  <a:gd name="connsiteX0" fmla="*/ 392430 w 622935"/>
                  <a:gd name="connsiteY0" fmla="*/ 588645 h 588645"/>
                  <a:gd name="connsiteX1" fmla="*/ 622935 w 622935"/>
                  <a:gd name="connsiteY1" fmla="*/ 104775 h 588645"/>
                  <a:gd name="connsiteX2" fmla="*/ 112395 w 622935"/>
                  <a:gd name="connsiteY2" fmla="*/ 0 h 588645"/>
                  <a:gd name="connsiteX3" fmla="*/ 0 w 622935"/>
                  <a:gd name="connsiteY3" fmla="*/ 243840 h 588645"/>
                  <a:gd name="connsiteX4" fmla="*/ 392430 w 622935"/>
                  <a:gd name="connsiteY4" fmla="*/ 588645 h 5886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935" h="588645">
                    <a:moveTo>
                      <a:pt x="392430" y="588645"/>
                    </a:moveTo>
                    <a:lnTo>
                      <a:pt x="622935" y="104775"/>
                    </a:lnTo>
                    <a:lnTo>
                      <a:pt x="112395" y="0"/>
                    </a:lnTo>
                    <a:lnTo>
                      <a:pt x="0" y="243840"/>
                    </a:lnTo>
                    <a:lnTo>
                      <a:pt x="392430" y="588645"/>
                    </a:lnTo>
                    <a:close/>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Freeform 49"/>
              <p:cNvSpPr/>
              <p:nvPr/>
            </p:nvSpPr>
            <p:spPr>
              <a:xfrm>
                <a:off x="2605425" y="4435396"/>
                <a:ext cx="392959" cy="363374"/>
              </a:xfrm>
              <a:custGeom>
                <a:avLst/>
                <a:gdLst>
                  <a:gd name="connsiteX0" fmla="*/ 394335 w 615315"/>
                  <a:gd name="connsiteY0" fmla="*/ 571500 h 571500"/>
                  <a:gd name="connsiteX1" fmla="*/ 615315 w 615315"/>
                  <a:gd name="connsiteY1" fmla="*/ 118110 h 571500"/>
                  <a:gd name="connsiteX2" fmla="*/ 110490 w 615315"/>
                  <a:gd name="connsiteY2" fmla="*/ 0 h 571500"/>
                  <a:gd name="connsiteX3" fmla="*/ 0 w 615315"/>
                  <a:gd name="connsiteY3" fmla="*/ 243840 h 571500"/>
                  <a:gd name="connsiteX4" fmla="*/ 394335 w 615315"/>
                  <a:gd name="connsiteY4" fmla="*/ 571500 h 571500"/>
                  <a:gd name="connsiteX0" fmla="*/ 394335 w 609600"/>
                  <a:gd name="connsiteY0" fmla="*/ 571500 h 571500"/>
                  <a:gd name="connsiteX1" fmla="*/ 609600 w 609600"/>
                  <a:gd name="connsiteY1" fmla="*/ 104775 h 571500"/>
                  <a:gd name="connsiteX2" fmla="*/ 110490 w 609600"/>
                  <a:gd name="connsiteY2" fmla="*/ 0 h 571500"/>
                  <a:gd name="connsiteX3" fmla="*/ 0 w 609600"/>
                  <a:gd name="connsiteY3" fmla="*/ 243840 h 571500"/>
                  <a:gd name="connsiteX4" fmla="*/ 394335 w 609600"/>
                  <a:gd name="connsiteY4" fmla="*/ 571500 h 571500"/>
                  <a:gd name="connsiteX0" fmla="*/ 388620 w 609600"/>
                  <a:gd name="connsiteY0" fmla="*/ 581025 h 581025"/>
                  <a:gd name="connsiteX1" fmla="*/ 609600 w 609600"/>
                  <a:gd name="connsiteY1" fmla="*/ 104775 h 581025"/>
                  <a:gd name="connsiteX2" fmla="*/ 110490 w 609600"/>
                  <a:gd name="connsiteY2" fmla="*/ 0 h 581025"/>
                  <a:gd name="connsiteX3" fmla="*/ 0 w 609600"/>
                  <a:gd name="connsiteY3" fmla="*/ 243840 h 581025"/>
                  <a:gd name="connsiteX4" fmla="*/ 388620 w 609600"/>
                  <a:gd name="connsiteY4" fmla="*/ 581025 h 581025"/>
                  <a:gd name="connsiteX0" fmla="*/ 388620 w 611505"/>
                  <a:gd name="connsiteY0" fmla="*/ 581025 h 581025"/>
                  <a:gd name="connsiteX1" fmla="*/ 611505 w 611505"/>
                  <a:gd name="connsiteY1" fmla="*/ 99060 h 581025"/>
                  <a:gd name="connsiteX2" fmla="*/ 110490 w 611505"/>
                  <a:gd name="connsiteY2" fmla="*/ 0 h 581025"/>
                  <a:gd name="connsiteX3" fmla="*/ 0 w 611505"/>
                  <a:gd name="connsiteY3" fmla="*/ 243840 h 581025"/>
                  <a:gd name="connsiteX4" fmla="*/ 388620 w 611505"/>
                  <a:gd name="connsiteY4" fmla="*/ 581025 h 581025"/>
                  <a:gd name="connsiteX0" fmla="*/ 388620 w 621030"/>
                  <a:gd name="connsiteY0" fmla="*/ 581025 h 581025"/>
                  <a:gd name="connsiteX1" fmla="*/ 621030 w 621030"/>
                  <a:gd name="connsiteY1" fmla="*/ 104775 h 581025"/>
                  <a:gd name="connsiteX2" fmla="*/ 110490 w 621030"/>
                  <a:gd name="connsiteY2" fmla="*/ 0 h 581025"/>
                  <a:gd name="connsiteX3" fmla="*/ 0 w 621030"/>
                  <a:gd name="connsiteY3" fmla="*/ 243840 h 581025"/>
                  <a:gd name="connsiteX4" fmla="*/ 388620 w 621030"/>
                  <a:gd name="connsiteY4" fmla="*/ 581025 h 581025"/>
                  <a:gd name="connsiteX0" fmla="*/ 390525 w 621030"/>
                  <a:gd name="connsiteY0" fmla="*/ 588645 h 588645"/>
                  <a:gd name="connsiteX1" fmla="*/ 621030 w 621030"/>
                  <a:gd name="connsiteY1" fmla="*/ 104775 h 588645"/>
                  <a:gd name="connsiteX2" fmla="*/ 110490 w 621030"/>
                  <a:gd name="connsiteY2" fmla="*/ 0 h 588645"/>
                  <a:gd name="connsiteX3" fmla="*/ 0 w 621030"/>
                  <a:gd name="connsiteY3" fmla="*/ 243840 h 588645"/>
                  <a:gd name="connsiteX4" fmla="*/ 390525 w 621030"/>
                  <a:gd name="connsiteY4" fmla="*/ 588645 h 588645"/>
                  <a:gd name="connsiteX0" fmla="*/ 392430 w 622935"/>
                  <a:gd name="connsiteY0" fmla="*/ 588645 h 588645"/>
                  <a:gd name="connsiteX1" fmla="*/ 622935 w 622935"/>
                  <a:gd name="connsiteY1" fmla="*/ 104775 h 588645"/>
                  <a:gd name="connsiteX2" fmla="*/ 112395 w 622935"/>
                  <a:gd name="connsiteY2" fmla="*/ 0 h 588645"/>
                  <a:gd name="connsiteX3" fmla="*/ 0 w 622935"/>
                  <a:gd name="connsiteY3" fmla="*/ 249555 h 588645"/>
                  <a:gd name="connsiteX4" fmla="*/ 392430 w 622935"/>
                  <a:gd name="connsiteY4" fmla="*/ 588645 h 588645"/>
                  <a:gd name="connsiteX0" fmla="*/ 392430 w 622935"/>
                  <a:gd name="connsiteY0" fmla="*/ 588645 h 588645"/>
                  <a:gd name="connsiteX1" fmla="*/ 622935 w 622935"/>
                  <a:gd name="connsiteY1" fmla="*/ 104775 h 588645"/>
                  <a:gd name="connsiteX2" fmla="*/ 112395 w 622935"/>
                  <a:gd name="connsiteY2" fmla="*/ 0 h 588645"/>
                  <a:gd name="connsiteX3" fmla="*/ 0 w 622935"/>
                  <a:gd name="connsiteY3" fmla="*/ 243840 h 588645"/>
                  <a:gd name="connsiteX4" fmla="*/ 392430 w 622935"/>
                  <a:gd name="connsiteY4" fmla="*/ 588645 h 588645"/>
                  <a:gd name="connsiteX0" fmla="*/ 392430 w 615996"/>
                  <a:gd name="connsiteY0" fmla="*/ 588645 h 588645"/>
                  <a:gd name="connsiteX1" fmla="*/ 615996 w 615996"/>
                  <a:gd name="connsiteY1" fmla="*/ 116339 h 588645"/>
                  <a:gd name="connsiteX2" fmla="*/ 112395 w 615996"/>
                  <a:gd name="connsiteY2" fmla="*/ 0 h 588645"/>
                  <a:gd name="connsiteX3" fmla="*/ 0 w 615996"/>
                  <a:gd name="connsiteY3" fmla="*/ 243840 h 588645"/>
                  <a:gd name="connsiteX4" fmla="*/ 392430 w 615996"/>
                  <a:gd name="connsiteY4" fmla="*/ 588645 h 588645"/>
                  <a:gd name="connsiteX0" fmla="*/ 392430 w 615996"/>
                  <a:gd name="connsiteY0" fmla="*/ 581706 h 581706"/>
                  <a:gd name="connsiteX1" fmla="*/ 615996 w 615996"/>
                  <a:gd name="connsiteY1" fmla="*/ 109400 h 581706"/>
                  <a:gd name="connsiteX2" fmla="*/ 114707 w 615996"/>
                  <a:gd name="connsiteY2" fmla="*/ 0 h 581706"/>
                  <a:gd name="connsiteX3" fmla="*/ 0 w 615996"/>
                  <a:gd name="connsiteY3" fmla="*/ 236901 h 581706"/>
                  <a:gd name="connsiteX4" fmla="*/ 392430 w 615996"/>
                  <a:gd name="connsiteY4" fmla="*/ 581706 h 581706"/>
                  <a:gd name="connsiteX0" fmla="*/ 390117 w 613683"/>
                  <a:gd name="connsiteY0" fmla="*/ 581706 h 581706"/>
                  <a:gd name="connsiteX1" fmla="*/ 613683 w 613683"/>
                  <a:gd name="connsiteY1" fmla="*/ 109400 h 581706"/>
                  <a:gd name="connsiteX2" fmla="*/ 112394 w 613683"/>
                  <a:gd name="connsiteY2" fmla="*/ 0 h 581706"/>
                  <a:gd name="connsiteX3" fmla="*/ 0 w 613683"/>
                  <a:gd name="connsiteY3" fmla="*/ 223024 h 581706"/>
                  <a:gd name="connsiteX4" fmla="*/ 390117 w 613683"/>
                  <a:gd name="connsiteY4" fmla="*/ 581706 h 581706"/>
                  <a:gd name="connsiteX0" fmla="*/ 394742 w 613683"/>
                  <a:gd name="connsiteY0" fmla="*/ 570141 h 570141"/>
                  <a:gd name="connsiteX1" fmla="*/ 613683 w 613683"/>
                  <a:gd name="connsiteY1" fmla="*/ 109400 h 570141"/>
                  <a:gd name="connsiteX2" fmla="*/ 112394 w 613683"/>
                  <a:gd name="connsiteY2" fmla="*/ 0 h 570141"/>
                  <a:gd name="connsiteX3" fmla="*/ 0 w 613683"/>
                  <a:gd name="connsiteY3" fmla="*/ 223024 h 570141"/>
                  <a:gd name="connsiteX4" fmla="*/ 394742 w 613683"/>
                  <a:gd name="connsiteY4" fmla="*/ 570141 h 570141"/>
                  <a:gd name="connsiteX0" fmla="*/ 399368 w 613683"/>
                  <a:gd name="connsiteY0" fmla="*/ 563202 h 563202"/>
                  <a:gd name="connsiteX1" fmla="*/ 613683 w 613683"/>
                  <a:gd name="connsiteY1" fmla="*/ 109400 h 563202"/>
                  <a:gd name="connsiteX2" fmla="*/ 112394 w 613683"/>
                  <a:gd name="connsiteY2" fmla="*/ 0 h 563202"/>
                  <a:gd name="connsiteX3" fmla="*/ 0 w 613683"/>
                  <a:gd name="connsiteY3" fmla="*/ 223024 h 563202"/>
                  <a:gd name="connsiteX4" fmla="*/ 399368 w 613683"/>
                  <a:gd name="connsiteY4" fmla="*/ 563202 h 563202"/>
                  <a:gd name="connsiteX0" fmla="*/ 394742 w 609057"/>
                  <a:gd name="connsiteY0" fmla="*/ 563202 h 563202"/>
                  <a:gd name="connsiteX1" fmla="*/ 609057 w 609057"/>
                  <a:gd name="connsiteY1" fmla="*/ 109400 h 563202"/>
                  <a:gd name="connsiteX2" fmla="*/ 107768 w 609057"/>
                  <a:gd name="connsiteY2" fmla="*/ 0 h 563202"/>
                  <a:gd name="connsiteX3" fmla="*/ 0 w 609057"/>
                  <a:gd name="connsiteY3" fmla="*/ 227649 h 563202"/>
                  <a:gd name="connsiteX4" fmla="*/ 394742 w 609057"/>
                  <a:gd name="connsiteY4" fmla="*/ 563202 h 563202"/>
                  <a:gd name="connsiteX0" fmla="*/ 394742 w 609057"/>
                  <a:gd name="connsiteY0" fmla="*/ 553950 h 553950"/>
                  <a:gd name="connsiteX1" fmla="*/ 609057 w 609057"/>
                  <a:gd name="connsiteY1" fmla="*/ 100148 h 553950"/>
                  <a:gd name="connsiteX2" fmla="*/ 105454 w 609057"/>
                  <a:gd name="connsiteY2" fmla="*/ 0 h 553950"/>
                  <a:gd name="connsiteX3" fmla="*/ 0 w 609057"/>
                  <a:gd name="connsiteY3" fmla="*/ 218397 h 553950"/>
                  <a:gd name="connsiteX4" fmla="*/ 394742 w 609057"/>
                  <a:gd name="connsiteY4" fmla="*/ 553950 h 553950"/>
                  <a:gd name="connsiteX0" fmla="*/ 394742 w 609057"/>
                  <a:gd name="connsiteY0" fmla="*/ 560889 h 560889"/>
                  <a:gd name="connsiteX1" fmla="*/ 609057 w 609057"/>
                  <a:gd name="connsiteY1" fmla="*/ 107087 h 560889"/>
                  <a:gd name="connsiteX2" fmla="*/ 107767 w 609057"/>
                  <a:gd name="connsiteY2" fmla="*/ 0 h 560889"/>
                  <a:gd name="connsiteX3" fmla="*/ 0 w 609057"/>
                  <a:gd name="connsiteY3" fmla="*/ 225336 h 560889"/>
                  <a:gd name="connsiteX4" fmla="*/ 394742 w 609057"/>
                  <a:gd name="connsiteY4" fmla="*/ 560889 h 560889"/>
                  <a:gd name="connsiteX0" fmla="*/ 394742 w 609057"/>
                  <a:gd name="connsiteY0" fmla="*/ 563202 h 563202"/>
                  <a:gd name="connsiteX1" fmla="*/ 609057 w 609057"/>
                  <a:gd name="connsiteY1" fmla="*/ 109400 h 563202"/>
                  <a:gd name="connsiteX2" fmla="*/ 103142 w 609057"/>
                  <a:gd name="connsiteY2" fmla="*/ 0 h 563202"/>
                  <a:gd name="connsiteX3" fmla="*/ 0 w 609057"/>
                  <a:gd name="connsiteY3" fmla="*/ 227649 h 563202"/>
                  <a:gd name="connsiteX4" fmla="*/ 394742 w 609057"/>
                  <a:gd name="connsiteY4" fmla="*/ 563202 h 563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057" h="563202">
                    <a:moveTo>
                      <a:pt x="394742" y="563202"/>
                    </a:moveTo>
                    <a:lnTo>
                      <a:pt x="609057" y="109400"/>
                    </a:lnTo>
                    <a:lnTo>
                      <a:pt x="103142" y="0"/>
                    </a:lnTo>
                    <a:lnTo>
                      <a:pt x="0" y="227649"/>
                    </a:lnTo>
                    <a:lnTo>
                      <a:pt x="394742" y="563202"/>
                    </a:lnTo>
                    <a:close/>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Oval 50"/>
              <p:cNvSpPr/>
              <p:nvPr/>
            </p:nvSpPr>
            <p:spPr>
              <a:xfrm rot="17783023">
                <a:off x="2898444" y="4534676"/>
                <a:ext cx="55755" cy="3581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Oval 51"/>
              <p:cNvSpPr/>
              <p:nvPr/>
            </p:nvSpPr>
            <p:spPr>
              <a:xfrm rot="17783023">
                <a:off x="2866323" y="4598679"/>
                <a:ext cx="55755" cy="3581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Oval 52"/>
              <p:cNvSpPr/>
              <p:nvPr/>
            </p:nvSpPr>
            <p:spPr>
              <a:xfrm rot="17783023">
                <a:off x="2832312" y="4662934"/>
                <a:ext cx="55755" cy="3581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Freeform 53"/>
              <p:cNvSpPr/>
              <p:nvPr/>
            </p:nvSpPr>
            <p:spPr>
              <a:xfrm>
                <a:off x="2668100" y="4470467"/>
                <a:ext cx="229813" cy="147737"/>
              </a:xfrm>
              <a:custGeom>
                <a:avLst/>
                <a:gdLst>
                  <a:gd name="connsiteX0" fmla="*/ 19050 w 276225"/>
                  <a:gd name="connsiteY0" fmla="*/ 0 h 182880"/>
                  <a:gd name="connsiteX1" fmla="*/ 276225 w 276225"/>
                  <a:gd name="connsiteY1" fmla="*/ 62865 h 182880"/>
                  <a:gd name="connsiteX2" fmla="*/ 219075 w 276225"/>
                  <a:gd name="connsiteY2" fmla="*/ 182880 h 182880"/>
                  <a:gd name="connsiteX3" fmla="*/ 0 w 276225"/>
                  <a:gd name="connsiteY3" fmla="*/ 57150 h 182880"/>
                  <a:gd name="connsiteX4" fmla="*/ 19050 w 276225"/>
                  <a:gd name="connsiteY4" fmla="*/ 0 h 182880"/>
                  <a:gd name="connsiteX0" fmla="*/ 24765 w 281940"/>
                  <a:gd name="connsiteY0" fmla="*/ 0 h 182880"/>
                  <a:gd name="connsiteX1" fmla="*/ 281940 w 281940"/>
                  <a:gd name="connsiteY1" fmla="*/ 62865 h 182880"/>
                  <a:gd name="connsiteX2" fmla="*/ 224790 w 281940"/>
                  <a:gd name="connsiteY2" fmla="*/ 182880 h 182880"/>
                  <a:gd name="connsiteX3" fmla="*/ 0 w 281940"/>
                  <a:gd name="connsiteY3" fmla="*/ 57150 h 182880"/>
                  <a:gd name="connsiteX4" fmla="*/ 24765 w 281940"/>
                  <a:gd name="connsiteY4" fmla="*/ 0 h 182880"/>
                  <a:gd name="connsiteX0" fmla="*/ 15240 w 281940"/>
                  <a:gd name="connsiteY0" fmla="*/ 0 h 188595"/>
                  <a:gd name="connsiteX1" fmla="*/ 281940 w 281940"/>
                  <a:gd name="connsiteY1" fmla="*/ 68580 h 188595"/>
                  <a:gd name="connsiteX2" fmla="*/ 224790 w 281940"/>
                  <a:gd name="connsiteY2" fmla="*/ 188595 h 188595"/>
                  <a:gd name="connsiteX3" fmla="*/ 0 w 281940"/>
                  <a:gd name="connsiteY3" fmla="*/ 62865 h 188595"/>
                  <a:gd name="connsiteX4" fmla="*/ 15240 w 281940"/>
                  <a:gd name="connsiteY4" fmla="*/ 0 h 188595"/>
                  <a:gd name="connsiteX0" fmla="*/ 20955 w 287655"/>
                  <a:gd name="connsiteY0" fmla="*/ 0 h 188595"/>
                  <a:gd name="connsiteX1" fmla="*/ 287655 w 287655"/>
                  <a:gd name="connsiteY1" fmla="*/ 68580 h 188595"/>
                  <a:gd name="connsiteX2" fmla="*/ 230505 w 287655"/>
                  <a:gd name="connsiteY2" fmla="*/ 188595 h 188595"/>
                  <a:gd name="connsiteX3" fmla="*/ 0 w 287655"/>
                  <a:gd name="connsiteY3" fmla="*/ 59055 h 188595"/>
                  <a:gd name="connsiteX4" fmla="*/ 20955 w 287655"/>
                  <a:gd name="connsiteY4" fmla="*/ 0 h 188595"/>
                  <a:gd name="connsiteX0" fmla="*/ 26670 w 293370"/>
                  <a:gd name="connsiteY0" fmla="*/ 0 h 188595"/>
                  <a:gd name="connsiteX1" fmla="*/ 293370 w 293370"/>
                  <a:gd name="connsiteY1" fmla="*/ 68580 h 188595"/>
                  <a:gd name="connsiteX2" fmla="*/ 236220 w 293370"/>
                  <a:gd name="connsiteY2" fmla="*/ 188595 h 188595"/>
                  <a:gd name="connsiteX3" fmla="*/ 0 w 293370"/>
                  <a:gd name="connsiteY3" fmla="*/ 57150 h 188595"/>
                  <a:gd name="connsiteX4" fmla="*/ 26670 w 293370"/>
                  <a:gd name="connsiteY4" fmla="*/ 0 h 1885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370" h="188595">
                    <a:moveTo>
                      <a:pt x="26670" y="0"/>
                    </a:moveTo>
                    <a:lnTo>
                      <a:pt x="293370" y="68580"/>
                    </a:lnTo>
                    <a:lnTo>
                      <a:pt x="236220" y="188595"/>
                    </a:lnTo>
                    <a:lnTo>
                      <a:pt x="0" y="57150"/>
                    </a:lnTo>
                    <a:lnTo>
                      <a:pt x="2667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Freeform 54"/>
              <p:cNvSpPr/>
              <p:nvPr/>
            </p:nvSpPr>
            <p:spPr>
              <a:xfrm>
                <a:off x="2644191" y="4534631"/>
                <a:ext cx="88142" cy="94084"/>
              </a:xfrm>
              <a:custGeom>
                <a:avLst/>
                <a:gdLst>
                  <a:gd name="connsiteX0" fmla="*/ 20955 w 95250"/>
                  <a:gd name="connsiteY0" fmla="*/ 0 h 110490"/>
                  <a:gd name="connsiteX1" fmla="*/ 95250 w 95250"/>
                  <a:gd name="connsiteY1" fmla="*/ 43815 h 110490"/>
                  <a:gd name="connsiteX2" fmla="*/ 59055 w 95250"/>
                  <a:gd name="connsiteY2" fmla="*/ 110490 h 110490"/>
                  <a:gd name="connsiteX3" fmla="*/ 0 w 95250"/>
                  <a:gd name="connsiteY3" fmla="*/ 55245 h 110490"/>
                  <a:gd name="connsiteX4" fmla="*/ 20955 w 95250"/>
                  <a:gd name="connsiteY4" fmla="*/ 0 h 110490"/>
                  <a:gd name="connsiteX0" fmla="*/ 24765 w 99060"/>
                  <a:gd name="connsiteY0" fmla="*/ 0 h 110490"/>
                  <a:gd name="connsiteX1" fmla="*/ 99060 w 99060"/>
                  <a:gd name="connsiteY1" fmla="*/ 43815 h 110490"/>
                  <a:gd name="connsiteX2" fmla="*/ 62865 w 99060"/>
                  <a:gd name="connsiteY2" fmla="*/ 110490 h 110490"/>
                  <a:gd name="connsiteX3" fmla="*/ 0 w 99060"/>
                  <a:gd name="connsiteY3" fmla="*/ 55245 h 110490"/>
                  <a:gd name="connsiteX4" fmla="*/ 24765 w 99060"/>
                  <a:gd name="connsiteY4" fmla="*/ 0 h 110490"/>
                  <a:gd name="connsiteX0" fmla="*/ 24765 w 99060"/>
                  <a:gd name="connsiteY0" fmla="*/ 0 h 110490"/>
                  <a:gd name="connsiteX1" fmla="*/ 99060 w 99060"/>
                  <a:gd name="connsiteY1" fmla="*/ 43815 h 110490"/>
                  <a:gd name="connsiteX2" fmla="*/ 62865 w 99060"/>
                  <a:gd name="connsiteY2" fmla="*/ 110490 h 110490"/>
                  <a:gd name="connsiteX3" fmla="*/ 64770 w 99060"/>
                  <a:gd name="connsiteY3" fmla="*/ 104775 h 110490"/>
                  <a:gd name="connsiteX4" fmla="*/ 0 w 99060"/>
                  <a:gd name="connsiteY4" fmla="*/ 55245 h 110490"/>
                  <a:gd name="connsiteX5" fmla="*/ 24765 w 99060"/>
                  <a:gd name="connsiteY5" fmla="*/ 0 h 110490"/>
                  <a:gd name="connsiteX0" fmla="*/ 24765 w 112395"/>
                  <a:gd name="connsiteY0" fmla="*/ 0 h 110490"/>
                  <a:gd name="connsiteX1" fmla="*/ 112395 w 112395"/>
                  <a:gd name="connsiteY1" fmla="*/ 49530 h 110490"/>
                  <a:gd name="connsiteX2" fmla="*/ 62865 w 112395"/>
                  <a:gd name="connsiteY2" fmla="*/ 110490 h 110490"/>
                  <a:gd name="connsiteX3" fmla="*/ 64770 w 112395"/>
                  <a:gd name="connsiteY3" fmla="*/ 104775 h 110490"/>
                  <a:gd name="connsiteX4" fmla="*/ 0 w 112395"/>
                  <a:gd name="connsiteY4" fmla="*/ 55245 h 110490"/>
                  <a:gd name="connsiteX5" fmla="*/ 24765 w 112395"/>
                  <a:gd name="connsiteY5" fmla="*/ 0 h 110490"/>
                  <a:gd name="connsiteX0" fmla="*/ 24765 w 112395"/>
                  <a:gd name="connsiteY0" fmla="*/ 0 h 110490"/>
                  <a:gd name="connsiteX1" fmla="*/ 112395 w 112395"/>
                  <a:gd name="connsiteY1" fmla="*/ 49530 h 110490"/>
                  <a:gd name="connsiteX2" fmla="*/ 62865 w 112395"/>
                  <a:gd name="connsiteY2" fmla="*/ 110490 h 110490"/>
                  <a:gd name="connsiteX3" fmla="*/ 32385 w 112395"/>
                  <a:gd name="connsiteY3" fmla="*/ 83820 h 110490"/>
                  <a:gd name="connsiteX4" fmla="*/ 0 w 112395"/>
                  <a:gd name="connsiteY4" fmla="*/ 55245 h 110490"/>
                  <a:gd name="connsiteX5" fmla="*/ 24765 w 112395"/>
                  <a:gd name="connsiteY5" fmla="*/ 0 h 110490"/>
                  <a:gd name="connsiteX0" fmla="*/ 24765 w 112395"/>
                  <a:gd name="connsiteY0" fmla="*/ 0 h 110507"/>
                  <a:gd name="connsiteX1" fmla="*/ 112395 w 112395"/>
                  <a:gd name="connsiteY1" fmla="*/ 49530 h 110507"/>
                  <a:gd name="connsiteX2" fmla="*/ 62865 w 112395"/>
                  <a:gd name="connsiteY2" fmla="*/ 110490 h 110507"/>
                  <a:gd name="connsiteX3" fmla="*/ 0 w 112395"/>
                  <a:gd name="connsiteY3" fmla="*/ 55245 h 110507"/>
                  <a:gd name="connsiteX4" fmla="*/ 24765 w 112395"/>
                  <a:gd name="connsiteY4" fmla="*/ 0 h 110507"/>
                  <a:gd name="connsiteX0" fmla="*/ 24765 w 112395"/>
                  <a:gd name="connsiteY0" fmla="*/ 0 h 110636"/>
                  <a:gd name="connsiteX1" fmla="*/ 112395 w 112395"/>
                  <a:gd name="connsiteY1" fmla="*/ 49530 h 110636"/>
                  <a:gd name="connsiteX2" fmla="*/ 62865 w 112395"/>
                  <a:gd name="connsiteY2" fmla="*/ 110490 h 110636"/>
                  <a:gd name="connsiteX3" fmla="*/ 0 w 112395"/>
                  <a:gd name="connsiteY3" fmla="*/ 55245 h 110636"/>
                  <a:gd name="connsiteX4" fmla="*/ 24765 w 112395"/>
                  <a:gd name="connsiteY4" fmla="*/ 0 h 110636"/>
                  <a:gd name="connsiteX0" fmla="*/ 24765 w 112395"/>
                  <a:gd name="connsiteY0" fmla="*/ 0 h 110636"/>
                  <a:gd name="connsiteX1" fmla="*/ 112395 w 112395"/>
                  <a:gd name="connsiteY1" fmla="*/ 49530 h 110636"/>
                  <a:gd name="connsiteX2" fmla="*/ 62865 w 112395"/>
                  <a:gd name="connsiteY2" fmla="*/ 110490 h 110636"/>
                  <a:gd name="connsiteX3" fmla="*/ 0 w 112395"/>
                  <a:gd name="connsiteY3" fmla="*/ 55245 h 110636"/>
                  <a:gd name="connsiteX4" fmla="*/ 24765 w 112395"/>
                  <a:gd name="connsiteY4" fmla="*/ 0 h 110636"/>
                  <a:gd name="connsiteX0" fmla="*/ 24765 w 112395"/>
                  <a:gd name="connsiteY0" fmla="*/ 0 h 114434"/>
                  <a:gd name="connsiteX1" fmla="*/ 112395 w 112395"/>
                  <a:gd name="connsiteY1" fmla="*/ 49530 h 114434"/>
                  <a:gd name="connsiteX2" fmla="*/ 74295 w 112395"/>
                  <a:gd name="connsiteY2" fmla="*/ 114300 h 114434"/>
                  <a:gd name="connsiteX3" fmla="*/ 0 w 112395"/>
                  <a:gd name="connsiteY3" fmla="*/ 55245 h 114434"/>
                  <a:gd name="connsiteX4" fmla="*/ 24765 w 112395"/>
                  <a:gd name="connsiteY4" fmla="*/ 0 h 114434"/>
                  <a:gd name="connsiteX0" fmla="*/ 24780 w 112410"/>
                  <a:gd name="connsiteY0" fmla="*/ 0 h 114399"/>
                  <a:gd name="connsiteX1" fmla="*/ 112410 w 112410"/>
                  <a:gd name="connsiteY1" fmla="*/ 49530 h 114399"/>
                  <a:gd name="connsiteX2" fmla="*/ 74310 w 112410"/>
                  <a:gd name="connsiteY2" fmla="*/ 114300 h 114399"/>
                  <a:gd name="connsiteX3" fmla="*/ 15 w 112410"/>
                  <a:gd name="connsiteY3" fmla="*/ 55245 h 114399"/>
                  <a:gd name="connsiteX4" fmla="*/ 24780 w 112410"/>
                  <a:gd name="connsiteY4" fmla="*/ 0 h 114399"/>
                  <a:gd name="connsiteX0" fmla="*/ 24829 w 112459"/>
                  <a:gd name="connsiteY0" fmla="*/ 0 h 114399"/>
                  <a:gd name="connsiteX1" fmla="*/ 112459 w 112459"/>
                  <a:gd name="connsiteY1" fmla="*/ 49530 h 114399"/>
                  <a:gd name="connsiteX2" fmla="*/ 74359 w 112459"/>
                  <a:gd name="connsiteY2" fmla="*/ 114300 h 114399"/>
                  <a:gd name="connsiteX3" fmla="*/ 64 w 112459"/>
                  <a:gd name="connsiteY3" fmla="*/ 55245 h 114399"/>
                  <a:gd name="connsiteX4" fmla="*/ 24829 w 112459"/>
                  <a:gd name="connsiteY4" fmla="*/ 0 h 114399"/>
                  <a:gd name="connsiteX0" fmla="*/ 24808 w 112438"/>
                  <a:gd name="connsiteY0" fmla="*/ 5 h 114404"/>
                  <a:gd name="connsiteX1" fmla="*/ 112438 w 112438"/>
                  <a:gd name="connsiteY1" fmla="*/ 49535 h 114404"/>
                  <a:gd name="connsiteX2" fmla="*/ 74338 w 112438"/>
                  <a:gd name="connsiteY2" fmla="*/ 114305 h 114404"/>
                  <a:gd name="connsiteX3" fmla="*/ 43 w 112438"/>
                  <a:gd name="connsiteY3" fmla="*/ 55250 h 114404"/>
                  <a:gd name="connsiteX4" fmla="*/ 24808 w 112438"/>
                  <a:gd name="connsiteY4" fmla="*/ 5 h 114404"/>
                  <a:gd name="connsiteX0" fmla="*/ 24808 w 112438"/>
                  <a:gd name="connsiteY0" fmla="*/ 8 h 114407"/>
                  <a:gd name="connsiteX1" fmla="*/ 112438 w 112438"/>
                  <a:gd name="connsiteY1" fmla="*/ 49538 h 114407"/>
                  <a:gd name="connsiteX2" fmla="*/ 74338 w 112438"/>
                  <a:gd name="connsiteY2" fmla="*/ 114308 h 114407"/>
                  <a:gd name="connsiteX3" fmla="*/ 43 w 112438"/>
                  <a:gd name="connsiteY3" fmla="*/ 55253 h 114407"/>
                  <a:gd name="connsiteX4" fmla="*/ 24808 w 112438"/>
                  <a:gd name="connsiteY4" fmla="*/ 8 h 114407"/>
                  <a:gd name="connsiteX0" fmla="*/ 24808 w 112438"/>
                  <a:gd name="connsiteY0" fmla="*/ 8 h 120111"/>
                  <a:gd name="connsiteX1" fmla="*/ 112438 w 112438"/>
                  <a:gd name="connsiteY1" fmla="*/ 49538 h 120111"/>
                  <a:gd name="connsiteX2" fmla="*/ 78148 w 112438"/>
                  <a:gd name="connsiteY2" fmla="*/ 120023 h 120111"/>
                  <a:gd name="connsiteX3" fmla="*/ 43 w 112438"/>
                  <a:gd name="connsiteY3" fmla="*/ 55253 h 120111"/>
                  <a:gd name="connsiteX4" fmla="*/ 24808 w 112438"/>
                  <a:gd name="connsiteY4" fmla="*/ 8 h 120111"/>
                  <a:gd name="connsiteX0" fmla="*/ 24808 w 112446"/>
                  <a:gd name="connsiteY0" fmla="*/ 8 h 120105"/>
                  <a:gd name="connsiteX1" fmla="*/ 112438 w 112446"/>
                  <a:gd name="connsiteY1" fmla="*/ 49538 h 120105"/>
                  <a:gd name="connsiteX2" fmla="*/ 78148 w 112446"/>
                  <a:gd name="connsiteY2" fmla="*/ 120023 h 120105"/>
                  <a:gd name="connsiteX3" fmla="*/ 43 w 112446"/>
                  <a:gd name="connsiteY3" fmla="*/ 55253 h 120105"/>
                  <a:gd name="connsiteX4" fmla="*/ 24808 w 112446"/>
                  <a:gd name="connsiteY4" fmla="*/ 8 h 120105"/>
                  <a:gd name="connsiteX0" fmla="*/ 24808 w 112519"/>
                  <a:gd name="connsiteY0" fmla="*/ 7 h 120104"/>
                  <a:gd name="connsiteX1" fmla="*/ 112438 w 112519"/>
                  <a:gd name="connsiteY1" fmla="*/ 49537 h 120104"/>
                  <a:gd name="connsiteX2" fmla="*/ 78148 w 112519"/>
                  <a:gd name="connsiteY2" fmla="*/ 120022 h 120104"/>
                  <a:gd name="connsiteX3" fmla="*/ 43 w 112519"/>
                  <a:gd name="connsiteY3" fmla="*/ 55252 h 120104"/>
                  <a:gd name="connsiteX4" fmla="*/ 24808 w 112519"/>
                  <a:gd name="connsiteY4" fmla="*/ 7 h 120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519" h="120104">
                    <a:moveTo>
                      <a:pt x="24808" y="7"/>
                    </a:moveTo>
                    <a:cubicBezTo>
                      <a:pt x="25443" y="-628"/>
                      <a:pt x="115613" y="48267"/>
                      <a:pt x="112438" y="49537"/>
                    </a:cubicBezTo>
                    <a:cubicBezTo>
                      <a:pt x="113073" y="50807"/>
                      <a:pt x="79418" y="122562"/>
                      <a:pt x="78148" y="120022"/>
                    </a:cubicBezTo>
                    <a:cubicBezTo>
                      <a:pt x="80371" y="122879"/>
                      <a:pt x="-1227" y="50807"/>
                      <a:pt x="43" y="55252"/>
                    </a:cubicBezTo>
                    <a:cubicBezTo>
                      <a:pt x="-1227" y="50172"/>
                      <a:pt x="26078" y="-628"/>
                      <a:pt x="24808" y="7"/>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Freeform 55"/>
              <p:cNvSpPr/>
              <p:nvPr/>
            </p:nvSpPr>
            <p:spPr>
              <a:xfrm>
                <a:off x="2721283" y="4583873"/>
                <a:ext cx="118619" cy="127147"/>
              </a:xfrm>
              <a:custGeom>
                <a:avLst/>
                <a:gdLst>
                  <a:gd name="connsiteX0" fmla="*/ 20955 w 95250"/>
                  <a:gd name="connsiteY0" fmla="*/ 0 h 110490"/>
                  <a:gd name="connsiteX1" fmla="*/ 95250 w 95250"/>
                  <a:gd name="connsiteY1" fmla="*/ 43815 h 110490"/>
                  <a:gd name="connsiteX2" fmla="*/ 59055 w 95250"/>
                  <a:gd name="connsiteY2" fmla="*/ 110490 h 110490"/>
                  <a:gd name="connsiteX3" fmla="*/ 0 w 95250"/>
                  <a:gd name="connsiteY3" fmla="*/ 55245 h 110490"/>
                  <a:gd name="connsiteX4" fmla="*/ 20955 w 95250"/>
                  <a:gd name="connsiteY4" fmla="*/ 0 h 110490"/>
                  <a:gd name="connsiteX0" fmla="*/ 24765 w 99060"/>
                  <a:gd name="connsiteY0" fmla="*/ 0 h 110490"/>
                  <a:gd name="connsiteX1" fmla="*/ 99060 w 99060"/>
                  <a:gd name="connsiteY1" fmla="*/ 43815 h 110490"/>
                  <a:gd name="connsiteX2" fmla="*/ 62865 w 99060"/>
                  <a:gd name="connsiteY2" fmla="*/ 110490 h 110490"/>
                  <a:gd name="connsiteX3" fmla="*/ 0 w 99060"/>
                  <a:gd name="connsiteY3" fmla="*/ 55245 h 110490"/>
                  <a:gd name="connsiteX4" fmla="*/ 24765 w 99060"/>
                  <a:gd name="connsiteY4" fmla="*/ 0 h 110490"/>
                  <a:gd name="connsiteX0" fmla="*/ 24765 w 99060"/>
                  <a:gd name="connsiteY0" fmla="*/ 0 h 110490"/>
                  <a:gd name="connsiteX1" fmla="*/ 99060 w 99060"/>
                  <a:gd name="connsiteY1" fmla="*/ 43815 h 110490"/>
                  <a:gd name="connsiteX2" fmla="*/ 62865 w 99060"/>
                  <a:gd name="connsiteY2" fmla="*/ 110490 h 110490"/>
                  <a:gd name="connsiteX3" fmla="*/ 64770 w 99060"/>
                  <a:gd name="connsiteY3" fmla="*/ 104775 h 110490"/>
                  <a:gd name="connsiteX4" fmla="*/ 0 w 99060"/>
                  <a:gd name="connsiteY4" fmla="*/ 55245 h 110490"/>
                  <a:gd name="connsiteX5" fmla="*/ 24765 w 99060"/>
                  <a:gd name="connsiteY5" fmla="*/ 0 h 110490"/>
                  <a:gd name="connsiteX0" fmla="*/ 22362 w 99060"/>
                  <a:gd name="connsiteY0" fmla="*/ 0 h 105684"/>
                  <a:gd name="connsiteX1" fmla="*/ 99060 w 99060"/>
                  <a:gd name="connsiteY1" fmla="*/ 39009 h 105684"/>
                  <a:gd name="connsiteX2" fmla="*/ 62865 w 99060"/>
                  <a:gd name="connsiteY2" fmla="*/ 105684 h 105684"/>
                  <a:gd name="connsiteX3" fmla="*/ 64770 w 99060"/>
                  <a:gd name="connsiteY3" fmla="*/ 99969 h 105684"/>
                  <a:gd name="connsiteX4" fmla="*/ 0 w 99060"/>
                  <a:gd name="connsiteY4" fmla="*/ 50439 h 105684"/>
                  <a:gd name="connsiteX5" fmla="*/ 22362 w 99060"/>
                  <a:gd name="connsiteY5" fmla="*/ 0 h 105684"/>
                  <a:gd name="connsiteX0" fmla="*/ 22362 w 95455"/>
                  <a:gd name="connsiteY0" fmla="*/ 0 h 105684"/>
                  <a:gd name="connsiteX1" fmla="*/ 95455 w 95455"/>
                  <a:gd name="connsiteY1" fmla="*/ 41412 h 105684"/>
                  <a:gd name="connsiteX2" fmla="*/ 62865 w 95455"/>
                  <a:gd name="connsiteY2" fmla="*/ 105684 h 105684"/>
                  <a:gd name="connsiteX3" fmla="*/ 64770 w 95455"/>
                  <a:gd name="connsiteY3" fmla="*/ 99969 h 105684"/>
                  <a:gd name="connsiteX4" fmla="*/ 0 w 95455"/>
                  <a:gd name="connsiteY4" fmla="*/ 50439 h 105684"/>
                  <a:gd name="connsiteX5" fmla="*/ 22362 w 95455"/>
                  <a:gd name="connsiteY5" fmla="*/ 0 h 105684"/>
                  <a:gd name="connsiteX0" fmla="*/ 22456 w 95549"/>
                  <a:gd name="connsiteY0" fmla="*/ 0 h 105684"/>
                  <a:gd name="connsiteX1" fmla="*/ 95549 w 95549"/>
                  <a:gd name="connsiteY1" fmla="*/ 41412 h 105684"/>
                  <a:gd name="connsiteX2" fmla="*/ 62959 w 95549"/>
                  <a:gd name="connsiteY2" fmla="*/ 105684 h 105684"/>
                  <a:gd name="connsiteX3" fmla="*/ 64864 w 95549"/>
                  <a:gd name="connsiteY3" fmla="*/ 99969 h 105684"/>
                  <a:gd name="connsiteX4" fmla="*/ 94 w 95549"/>
                  <a:gd name="connsiteY4" fmla="*/ 50439 h 105684"/>
                  <a:gd name="connsiteX5" fmla="*/ 22456 w 95549"/>
                  <a:gd name="connsiteY5" fmla="*/ 0 h 105684"/>
                  <a:gd name="connsiteX0" fmla="*/ 22388 w 95481"/>
                  <a:gd name="connsiteY0" fmla="*/ 0 h 105684"/>
                  <a:gd name="connsiteX1" fmla="*/ 95481 w 95481"/>
                  <a:gd name="connsiteY1" fmla="*/ 41412 h 105684"/>
                  <a:gd name="connsiteX2" fmla="*/ 62891 w 95481"/>
                  <a:gd name="connsiteY2" fmla="*/ 105684 h 105684"/>
                  <a:gd name="connsiteX3" fmla="*/ 64796 w 95481"/>
                  <a:gd name="connsiteY3" fmla="*/ 99969 h 105684"/>
                  <a:gd name="connsiteX4" fmla="*/ 26 w 95481"/>
                  <a:gd name="connsiteY4" fmla="*/ 50439 h 105684"/>
                  <a:gd name="connsiteX5" fmla="*/ 22388 w 95481"/>
                  <a:gd name="connsiteY5" fmla="*/ 0 h 105684"/>
                  <a:gd name="connsiteX0" fmla="*/ 22403 w 95496"/>
                  <a:gd name="connsiteY0" fmla="*/ 0 h 105684"/>
                  <a:gd name="connsiteX1" fmla="*/ 95496 w 95496"/>
                  <a:gd name="connsiteY1" fmla="*/ 41412 h 105684"/>
                  <a:gd name="connsiteX2" fmla="*/ 62906 w 95496"/>
                  <a:gd name="connsiteY2" fmla="*/ 105684 h 105684"/>
                  <a:gd name="connsiteX3" fmla="*/ 64811 w 95496"/>
                  <a:gd name="connsiteY3" fmla="*/ 99969 h 105684"/>
                  <a:gd name="connsiteX4" fmla="*/ 41 w 95496"/>
                  <a:gd name="connsiteY4" fmla="*/ 50439 h 105684"/>
                  <a:gd name="connsiteX5" fmla="*/ 22403 w 95496"/>
                  <a:gd name="connsiteY5" fmla="*/ 0 h 105684"/>
                  <a:gd name="connsiteX0" fmla="*/ 22391 w 95484"/>
                  <a:gd name="connsiteY0" fmla="*/ 0 h 105684"/>
                  <a:gd name="connsiteX1" fmla="*/ 95484 w 95484"/>
                  <a:gd name="connsiteY1" fmla="*/ 41412 h 105684"/>
                  <a:gd name="connsiteX2" fmla="*/ 62894 w 95484"/>
                  <a:gd name="connsiteY2" fmla="*/ 105684 h 105684"/>
                  <a:gd name="connsiteX3" fmla="*/ 64799 w 95484"/>
                  <a:gd name="connsiteY3" fmla="*/ 99969 h 105684"/>
                  <a:gd name="connsiteX4" fmla="*/ 29 w 95484"/>
                  <a:gd name="connsiteY4" fmla="*/ 50439 h 105684"/>
                  <a:gd name="connsiteX5" fmla="*/ 22391 w 95484"/>
                  <a:gd name="connsiteY5" fmla="*/ 0 h 105684"/>
                  <a:gd name="connsiteX0" fmla="*/ 22391 w 95484"/>
                  <a:gd name="connsiteY0" fmla="*/ 9 h 105693"/>
                  <a:gd name="connsiteX1" fmla="*/ 95484 w 95484"/>
                  <a:gd name="connsiteY1" fmla="*/ 41421 h 105693"/>
                  <a:gd name="connsiteX2" fmla="*/ 62894 w 95484"/>
                  <a:gd name="connsiteY2" fmla="*/ 105693 h 105693"/>
                  <a:gd name="connsiteX3" fmla="*/ 64799 w 95484"/>
                  <a:gd name="connsiteY3" fmla="*/ 99978 h 105693"/>
                  <a:gd name="connsiteX4" fmla="*/ 29 w 95484"/>
                  <a:gd name="connsiteY4" fmla="*/ 50448 h 105693"/>
                  <a:gd name="connsiteX5" fmla="*/ 22391 w 95484"/>
                  <a:gd name="connsiteY5" fmla="*/ 9 h 105693"/>
                  <a:gd name="connsiteX0" fmla="*/ 22391 w 95525"/>
                  <a:gd name="connsiteY0" fmla="*/ 9 h 105693"/>
                  <a:gd name="connsiteX1" fmla="*/ 95484 w 95525"/>
                  <a:gd name="connsiteY1" fmla="*/ 41421 h 105693"/>
                  <a:gd name="connsiteX2" fmla="*/ 62894 w 95525"/>
                  <a:gd name="connsiteY2" fmla="*/ 105693 h 105693"/>
                  <a:gd name="connsiteX3" fmla="*/ 64799 w 95525"/>
                  <a:gd name="connsiteY3" fmla="*/ 99978 h 105693"/>
                  <a:gd name="connsiteX4" fmla="*/ 29 w 95525"/>
                  <a:gd name="connsiteY4" fmla="*/ 50448 h 105693"/>
                  <a:gd name="connsiteX5" fmla="*/ 22391 w 95525"/>
                  <a:gd name="connsiteY5" fmla="*/ 9 h 105693"/>
                  <a:gd name="connsiteX0" fmla="*/ 22391 w 95525"/>
                  <a:gd name="connsiteY0" fmla="*/ 7 h 105691"/>
                  <a:gd name="connsiteX1" fmla="*/ 95484 w 95525"/>
                  <a:gd name="connsiteY1" fmla="*/ 41419 h 105691"/>
                  <a:gd name="connsiteX2" fmla="*/ 62894 w 95525"/>
                  <a:gd name="connsiteY2" fmla="*/ 105691 h 105691"/>
                  <a:gd name="connsiteX3" fmla="*/ 64799 w 95525"/>
                  <a:gd name="connsiteY3" fmla="*/ 99976 h 105691"/>
                  <a:gd name="connsiteX4" fmla="*/ 29 w 95525"/>
                  <a:gd name="connsiteY4" fmla="*/ 50446 h 105691"/>
                  <a:gd name="connsiteX5" fmla="*/ 22391 w 95525"/>
                  <a:gd name="connsiteY5" fmla="*/ 7 h 105691"/>
                  <a:gd name="connsiteX0" fmla="*/ 22391 w 95544"/>
                  <a:gd name="connsiteY0" fmla="*/ 7 h 100538"/>
                  <a:gd name="connsiteX1" fmla="*/ 95484 w 95544"/>
                  <a:gd name="connsiteY1" fmla="*/ 41419 h 100538"/>
                  <a:gd name="connsiteX2" fmla="*/ 70104 w 95544"/>
                  <a:gd name="connsiteY2" fmla="*/ 94877 h 100538"/>
                  <a:gd name="connsiteX3" fmla="*/ 64799 w 95544"/>
                  <a:gd name="connsiteY3" fmla="*/ 99976 h 100538"/>
                  <a:gd name="connsiteX4" fmla="*/ 29 w 95544"/>
                  <a:gd name="connsiteY4" fmla="*/ 50446 h 100538"/>
                  <a:gd name="connsiteX5" fmla="*/ 22391 w 95544"/>
                  <a:gd name="connsiteY5" fmla="*/ 7 h 100538"/>
                  <a:gd name="connsiteX0" fmla="*/ 22391 w 95491"/>
                  <a:gd name="connsiteY0" fmla="*/ 7 h 100538"/>
                  <a:gd name="connsiteX1" fmla="*/ 95484 w 95491"/>
                  <a:gd name="connsiteY1" fmla="*/ 41419 h 100538"/>
                  <a:gd name="connsiteX2" fmla="*/ 70104 w 95491"/>
                  <a:gd name="connsiteY2" fmla="*/ 94877 h 100538"/>
                  <a:gd name="connsiteX3" fmla="*/ 64799 w 95491"/>
                  <a:gd name="connsiteY3" fmla="*/ 99976 h 100538"/>
                  <a:gd name="connsiteX4" fmla="*/ 29 w 95491"/>
                  <a:gd name="connsiteY4" fmla="*/ 50446 h 100538"/>
                  <a:gd name="connsiteX5" fmla="*/ 22391 w 95491"/>
                  <a:gd name="connsiteY5" fmla="*/ 7 h 100538"/>
                  <a:gd name="connsiteX0" fmla="*/ 22391 w 96851"/>
                  <a:gd name="connsiteY0" fmla="*/ 7 h 99976"/>
                  <a:gd name="connsiteX1" fmla="*/ 95484 w 96851"/>
                  <a:gd name="connsiteY1" fmla="*/ 41419 h 99976"/>
                  <a:gd name="connsiteX2" fmla="*/ 64799 w 96851"/>
                  <a:gd name="connsiteY2" fmla="*/ 99976 h 99976"/>
                  <a:gd name="connsiteX3" fmla="*/ 29 w 96851"/>
                  <a:gd name="connsiteY3" fmla="*/ 50446 h 99976"/>
                  <a:gd name="connsiteX4" fmla="*/ 22391 w 96851"/>
                  <a:gd name="connsiteY4" fmla="*/ 7 h 99976"/>
                  <a:gd name="connsiteX0" fmla="*/ 22391 w 96263"/>
                  <a:gd name="connsiteY0" fmla="*/ 7 h 99976"/>
                  <a:gd name="connsiteX1" fmla="*/ 95484 w 96263"/>
                  <a:gd name="connsiteY1" fmla="*/ 41419 h 99976"/>
                  <a:gd name="connsiteX2" fmla="*/ 64799 w 96263"/>
                  <a:gd name="connsiteY2" fmla="*/ 99976 h 99976"/>
                  <a:gd name="connsiteX3" fmla="*/ 29 w 96263"/>
                  <a:gd name="connsiteY3" fmla="*/ 50446 h 99976"/>
                  <a:gd name="connsiteX4" fmla="*/ 22391 w 96263"/>
                  <a:gd name="connsiteY4" fmla="*/ 7 h 99976"/>
                  <a:gd name="connsiteX0" fmla="*/ 22391 w 96192"/>
                  <a:gd name="connsiteY0" fmla="*/ 7 h 98774"/>
                  <a:gd name="connsiteX1" fmla="*/ 95484 w 96192"/>
                  <a:gd name="connsiteY1" fmla="*/ 41419 h 98774"/>
                  <a:gd name="connsiteX2" fmla="*/ 59993 w 96192"/>
                  <a:gd name="connsiteY2" fmla="*/ 98774 h 98774"/>
                  <a:gd name="connsiteX3" fmla="*/ 29 w 96192"/>
                  <a:gd name="connsiteY3" fmla="*/ 50446 h 98774"/>
                  <a:gd name="connsiteX4" fmla="*/ 22391 w 96192"/>
                  <a:gd name="connsiteY4" fmla="*/ 7 h 98774"/>
                  <a:gd name="connsiteX0" fmla="*/ 22391 w 96304"/>
                  <a:gd name="connsiteY0" fmla="*/ 7 h 102379"/>
                  <a:gd name="connsiteX1" fmla="*/ 95484 w 96304"/>
                  <a:gd name="connsiteY1" fmla="*/ 41419 h 102379"/>
                  <a:gd name="connsiteX2" fmla="*/ 67203 w 96304"/>
                  <a:gd name="connsiteY2" fmla="*/ 102379 h 102379"/>
                  <a:gd name="connsiteX3" fmla="*/ 29 w 96304"/>
                  <a:gd name="connsiteY3" fmla="*/ 50446 h 102379"/>
                  <a:gd name="connsiteX4" fmla="*/ 22391 w 96304"/>
                  <a:gd name="connsiteY4" fmla="*/ 7 h 102379"/>
                  <a:gd name="connsiteX0" fmla="*/ 22391 w 96453"/>
                  <a:gd name="connsiteY0" fmla="*/ 7 h 102379"/>
                  <a:gd name="connsiteX1" fmla="*/ 95484 w 96453"/>
                  <a:gd name="connsiteY1" fmla="*/ 41419 h 102379"/>
                  <a:gd name="connsiteX2" fmla="*/ 67203 w 96453"/>
                  <a:gd name="connsiteY2" fmla="*/ 102379 h 102379"/>
                  <a:gd name="connsiteX3" fmla="*/ 29 w 96453"/>
                  <a:gd name="connsiteY3" fmla="*/ 50446 h 102379"/>
                  <a:gd name="connsiteX4" fmla="*/ 22391 w 96453"/>
                  <a:gd name="connsiteY4" fmla="*/ 7 h 102379"/>
                  <a:gd name="connsiteX0" fmla="*/ 22391 w 96453"/>
                  <a:gd name="connsiteY0" fmla="*/ 7 h 102380"/>
                  <a:gd name="connsiteX1" fmla="*/ 95484 w 96453"/>
                  <a:gd name="connsiteY1" fmla="*/ 41419 h 102380"/>
                  <a:gd name="connsiteX2" fmla="*/ 67203 w 96453"/>
                  <a:gd name="connsiteY2" fmla="*/ 102379 h 102380"/>
                  <a:gd name="connsiteX3" fmla="*/ 29 w 96453"/>
                  <a:gd name="connsiteY3" fmla="*/ 50446 h 102380"/>
                  <a:gd name="connsiteX4" fmla="*/ 22391 w 96453"/>
                  <a:gd name="connsiteY4" fmla="*/ 7 h 102380"/>
                  <a:gd name="connsiteX0" fmla="*/ 22391 w 96453"/>
                  <a:gd name="connsiteY0" fmla="*/ 7 h 102380"/>
                  <a:gd name="connsiteX1" fmla="*/ 95484 w 96453"/>
                  <a:gd name="connsiteY1" fmla="*/ 41419 h 102380"/>
                  <a:gd name="connsiteX2" fmla="*/ 67203 w 96453"/>
                  <a:gd name="connsiteY2" fmla="*/ 102379 h 102380"/>
                  <a:gd name="connsiteX3" fmla="*/ 29 w 96453"/>
                  <a:gd name="connsiteY3" fmla="*/ 50446 h 102380"/>
                  <a:gd name="connsiteX4" fmla="*/ 22391 w 96453"/>
                  <a:gd name="connsiteY4" fmla="*/ 7 h 102380"/>
                  <a:gd name="connsiteX0" fmla="*/ 22391 w 95513"/>
                  <a:gd name="connsiteY0" fmla="*/ 7 h 102380"/>
                  <a:gd name="connsiteX1" fmla="*/ 95484 w 95513"/>
                  <a:gd name="connsiteY1" fmla="*/ 41419 h 102380"/>
                  <a:gd name="connsiteX2" fmla="*/ 67203 w 95513"/>
                  <a:gd name="connsiteY2" fmla="*/ 102379 h 102380"/>
                  <a:gd name="connsiteX3" fmla="*/ 29 w 95513"/>
                  <a:gd name="connsiteY3" fmla="*/ 50446 h 102380"/>
                  <a:gd name="connsiteX4" fmla="*/ 22391 w 95513"/>
                  <a:gd name="connsiteY4" fmla="*/ 7 h 102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513" h="102380">
                    <a:moveTo>
                      <a:pt x="22391" y="7"/>
                    </a:moveTo>
                    <a:cubicBezTo>
                      <a:pt x="23924" y="-608"/>
                      <a:pt x="96354" y="43236"/>
                      <a:pt x="95484" y="41419"/>
                    </a:cubicBezTo>
                    <a:cubicBezTo>
                      <a:pt x="96544" y="40056"/>
                      <a:pt x="68693" y="102077"/>
                      <a:pt x="67203" y="102379"/>
                    </a:cubicBezTo>
                    <a:cubicBezTo>
                      <a:pt x="66041" y="102691"/>
                      <a:pt x="-1211" y="47730"/>
                      <a:pt x="29" y="50446"/>
                    </a:cubicBezTo>
                    <a:cubicBezTo>
                      <a:pt x="-928" y="48052"/>
                      <a:pt x="22147" y="-2"/>
                      <a:pt x="22391" y="7"/>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57" name="Rectangle 56"/>
          <p:cNvSpPr/>
          <p:nvPr/>
        </p:nvSpPr>
        <p:spPr>
          <a:xfrm>
            <a:off x="5486638" y="1837557"/>
            <a:ext cx="2972574" cy="346249"/>
          </a:xfrm>
          <a:prstGeom prst="rect">
            <a:avLst/>
          </a:prstGeom>
        </p:spPr>
        <p:txBody>
          <a:bodyPr wrap="square" lIns="68571" tIns="34286" rIns="68571" bIns="34286">
            <a:spAutoFit/>
          </a:bodyPr>
          <a:lstStyle/>
          <a:p>
            <a:pPr algn="ctr"/>
            <a:r>
              <a:rPr lang="en-US" sz="1800" b="1" dirty="0">
                <a:latin typeface="Segoe UI Light" pitchFamily="34" charset="0"/>
              </a:rPr>
              <a:t>Administration Provides</a:t>
            </a:r>
          </a:p>
        </p:txBody>
      </p:sp>
      <p:sp>
        <p:nvSpPr>
          <p:cNvPr id="58" name="Text Placeholder 2"/>
          <p:cNvSpPr>
            <a:spLocks noGrp="1"/>
          </p:cNvSpPr>
          <p:nvPr>
            <p:ph type="body" sz="quarter" idx="10"/>
          </p:nvPr>
        </p:nvSpPr>
        <p:spPr>
          <a:xfrm>
            <a:off x="5427520" y="2327626"/>
            <a:ext cx="3202213" cy="394724"/>
          </a:xfrm>
        </p:spPr>
        <p:txBody>
          <a:bodyPr/>
          <a:lstStyle/>
          <a:p>
            <a:r>
              <a:rPr lang="en-US" sz="1400" dirty="0">
                <a:latin typeface="Segoe UI Light" pitchFamily="34" charset="0"/>
              </a:rPr>
              <a:t>A system which is highly configurable around business processes</a:t>
            </a:r>
          </a:p>
        </p:txBody>
      </p:sp>
      <p:sp>
        <p:nvSpPr>
          <p:cNvPr id="59" name="Text Placeholder 2"/>
          <p:cNvSpPr txBox="1">
            <a:spLocks/>
          </p:cNvSpPr>
          <p:nvPr/>
        </p:nvSpPr>
        <p:spPr>
          <a:xfrm>
            <a:off x="5428499" y="2857501"/>
            <a:ext cx="3202213" cy="394724"/>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90000"/>
              <a:buFontTx/>
              <a:buBlip>
                <a:blip r:embed="rId4"/>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4"/>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4"/>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400" dirty="0">
                <a:latin typeface="Segoe UI Light" pitchFamily="34" charset="0"/>
              </a:rPr>
              <a:t>The agility to scale resources according to demand</a:t>
            </a:r>
          </a:p>
        </p:txBody>
      </p:sp>
      <p:sp>
        <p:nvSpPr>
          <p:cNvPr id="60" name="Text Placeholder 2"/>
          <p:cNvSpPr txBox="1">
            <a:spLocks/>
          </p:cNvSpPr>
          <p:nvPr/>
        </p:nvSpPr>
        <p:spPr>
          <a:xfrm>
            <a:off x="5428499" y="3912300"/>
            <a:ext cx="3202213" cy="394724"/>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90000"/>
              <a:buFontTx/>
              <a:buBlip>
                <a:blip r:embed="rId4"/>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4"/>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4"/>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400" dirty="0">
                <a:latin typeface="Segoe UI Light" pitchFamily="34" charset="0"/>
              </a:rPr>
              <a:t>Flexibility around synchronization, proliferation, and change control</a:t>
            </a:r>
          </a:p>
        </p:txBody>
      </p:sp>
      <p:sp>
        <p:nvSpPr>
          <p:cNvPr id="61" name="Text Placeholder 2"/>
          <p:cNvSpPr txBox="1">
            <a:spLocks/>
          </p:cNvSpPr>
          <p:nvPr/>
        </p:nvSpPr>
        <p:spPr>
          <a:xfrm>
            <a:off x="5428499" y="3371850"/>
            <a:ext cx="3202213" cy="394724"/>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90000"/>
              <a:buFontTx/>
              <a:buBlip>
                <a:blip r:embed="rId4"/>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4"/>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4"/>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400" dirty="0">
                <a:latin typeface="Segoe UI Light" pitchFamily="34" charset="0"/>
              </a:rPr>
              <a:t>Cost savings through the distribution and automation of management</a:t>
            </a:r>
          </a:p>
        </p:txBody>
      </p:sp>
      <p:grpSp>
        <p:nvGrpSpPr>
          <p:cNvPr id="85" name="Group 84"/>
          <p:cNvGrpSpPr/>
          <p:nvPr/>
        </p:nvGrpSpPr>
        <p:grpSpPr>
          <a:xfrm>
            <a:off x="3903236" y="2400300"/>
            <a:ext cx="778304" cy="724395"/>
            <a:chOff x="5202960" y="3276290"/>
            <a:chExt cx="1037468" cy="965861"/>
          </a:xfrm>
        </p:grpSpPr>
        <p:sp>
          <p:nvSpPr>
            <p:cNvPr id="87" name="TextBox 86"/>
            <p:cNvSpPr txBox="1"/>
            <p:nvPr/>
          </p:nvSpPr>
          <p:spPr>
            <a:xfrm>
              <a:off x="5202960" y="3790746"/>
              <a:ext cx="1037468" cy="451405"/>
            </a:xfrm>
            <a:prstGeom prst="rect">
              <a:avLst/>
            </a:prstGeom>
            <a:noFill/>
          </p:spPr>
          <p:txBody>
            <a:bodyPr wrap="square" rtlCol="0">
              <a:spAutoFit/>
            </a:bodyPr>
            <a:lstStyle/>
            <a:p>
              <a:pPr algn="ctr"/>
              <a:r>
                <a:rPr lang="en-US" sz="800" b="1" dirty="0">
                  <a:latin typeface="Segoe WP Light"/>
                </a:rPr>
                <a:t>Group Management</a:t>
              </a:r>
            </a:p>
          </p:txBody>
        </p:sp>
        <p:sp>
          <p:nvSpPr>
            <p:cNvPr id="88" name="Freeform 87"/>
            <p:cNvSpPr>
              <a:spLocks noEditPoints="1"/>
            </p:cNvSpPr>
            <p:nvPr/>
          </p:nvSpPr>
          <p:spPr bwMode="black">
            <a:xfrm>
              <a:off x="5507360" y="3276290"/>
              <a:ext cx="428668" cy="434067"/>
            </a:xfrm>
            <a:custGeom>
              <a:avLst/>
              <a:gdLst>
                <a:gd name="T0" fmla="*/ 189 w 296"/>
                <a:gd name="T1" fmla="*/ 136 h 300"/>
                <a:gd name="T2" fmla="*/ 202 w 296"/>
                <a:gd name="T3" fmla="*/ 132 h 300"/>
                <a:gd name="T4" fmla="*/ 206 w 296"/>
                <a:gd name="T5" fmla="*/ 128 h 300"/>
                <a:gd name="T6" fmla="*/ 210 w 296"/>
                <a:gd name="T7" fmla="*/ 116 h 300"/>
                <a:gd name="T8" fmla="*/ 214 w 296"/>
                <a:gd name="T9" fmla="*/ 120 h 300"/>
                <a:gd name="T10" fmla="*/ 227 w 296"/>
                <a:gd name="T11" fmla="*/ 99 h 300"/>
                <a:gd name="T12" fmla="*/ 185 w 296"/>
                <a:gd name="T13" fmla="*/ 205 h 300"/>
                <a:gd name="T14" fmla="*/ 189 w 296"/>
                <a:gd name="T15" fmla="*/ 210 h 300"/>
                <a:gd name="T16" fmla="*/ 202 w 296"/>
                <a:gd name="T17" fmla="*/ 214 h 300"/>
                <a:gd name="T18" fmla="*/ 197 w 296"/>
                <a:gd name="T19" fmla="*/ 218 h 300"/>
                <a:gd name="T20" fmla="*/ 218 w 296"/>
                <a:gd name="T21" fmla="*/ 230 h 300"/>
                <a:gd name="T22" fmla="*/ 222 w 296"/>
                <a:gd name="T23" fmla="*/ 243 h 300"/>
                <a:gd name="T24" fmla="*/ 227 w 296"/>
                <a:gd name="T25" fmla="*/ 247 h 300"/>
                <a:gd name="T26" fmla="*/ 111 w 296"/>
                <a:gd name="T27" fmla="*/ 205 h 300"/>
                <a:gd name="T28" fmla="*/ 107 w 296"/>
                <a:gd name="T29" fmla="*/ 201 h 300"/>
                <a:gd name="T30" fmla="*/ 94 w 296"/>
                <a:gd name="T31" fmla="*/ 222 h 300"/>
                <a:gd name="T32" fmla="*/ 82 w 296"/>
                <a:gd name="T33" fmla="*/ 226 h 300"/>
                <a:gd name="T34" fmla="*/ 77 w 296"/>
                <a:gd name="T35" fmla="*/ 230 h 300"/>
                <a:gd name="T36" fmla="*/ 73 w 296"/>
                <a:gd name="T37" fmla="*/ 243 h 300"/>
                <a:gd name="T38" fmla="*/ 69 w 296"/>
                <a:gd name="T39" fmla="*/ 239 h 300"/>
                <a:gd name="T40" fmla="*/ 102 w 296"/>
                <a:gd name="T41" fmla="*/ 141 h 300"/>
                <a:gd name="T42" fmla="*/ 98 w 296"/>
                <a:gd name="T43" fmla="*/ 128 h 300"/>
                <a:gd name="T44" fmla="*/ 94 w 296"/>
                <a:gd name="T45" fmla="*/ 124 h 300"/>
                <a:gd name="T46" fmla="*/ 82 w 296"/>
                <a:gd name="T47" fmla="*/ 120 h 300"/>
                <a:gd name="T48" fmla="*/ 86 w 296"/>
                <a:gd name="T49" fmla="*/ 116 h 300"/>
                <a:gd name="T50" fmla="*/ 65 w 296"/>
                <a:gd name="T51" fmla="*/ 103 h 300"/>
                <a:gd name="T52" fmla="*/ 72 w 296"/>
                <a:gd name="T53" fmla="*/ 64 h 300"/>
                <a:gd name="T54" fmla="*/ 5 w 296"/>
                <a:gd name="T55" fmla="*/ 89 h 300"/>
                <a:gd name="T56" fmla="*/ 23 w 296"/>
                <a:gd name="T57" fmla="*/ 48 h 300"/>
                <a:gd name="T58" fmla="*/ 72 w 296"/>
                <a:gd name="T59" fmla="*/ 64 h 300"/>
                <a:gd name="T60" fmla="*/ 36 w 296"/>
                <a:gd name="T61" fmla="*/ 0 h 300"/>
                <a:gd name="T62" fmla="*/ 296 w 296"/>
                <a:gd name="T63" fmla="*/ 64 h 300"/>
                <a:gd name="T64" fmla="*/ 229 w 296"/>
                <a:gd name="T65" fmla="*/ 89 h 300"/>
                <a:gd name="T66" fmla="*/ 247 w 296"/>
                <a:gd name="T67" fmla="*/ 48 h 300"/>
                <a:gd name="T68" fmla="*/ 296 w 296"/>
                <a:gd name="T69" fmla="*/ 64 h 300"/>
                <a:gd name="T70" fmla="*/ 260 w 296"/>
                <a:gd name="T71" fmla="*/ 0 h 300"/>
                <a:gd name="T72" fmla="*/ 296 w 296"/>
                <a:gd name="T73" fmla="*/ 275 h 300"/>
                <a:gd name="T74" fmla="*/ 229 w 296"/>
                <a:gd name="T75" fmla="*/ 300 h 300"/>
                <a:gd name="T76" fmla="*/ 247 w 296"/>
                <a:gd name="T77" fmla="*/ 259 h 300"/>
                <a:gd name="T78" fmla="*/ 296 w 296"/>
                <a:gd name="T79" fmla="*/ 275 h 300"/>
                <a:gd name="T80" fmla="*/ 260 w 296"/>
                <a:gd name="T81" fmla="*/ 211 h 300"/>
                <a:gd name="T82" fmla="*/ 72 w 296"/>
                <a:gd name="T83" fmla="*/ 275 h 300"/>
                <a:gd name="T84" fmla="*/ 5 w 296"/>
                <a:gd name="T85" fmla="*/ 300 h 300"/>
                <a:gd name="T86" fmla="*/ 23 w 296"/>
                <a:gd name="T87" fmla="*/ 259 h 300"/>
                <a:gd name="T88" fmla="*/ 72 w 296"/>
                <a:gd name="T89" fmla="*/ 275 h 300"/>
                <a:gd name="T90" fmla="*/ 36 w 296"/>
                <a:gd name="T91" fmla="*/ 211 h 300"/>
                <a:gd name="T92" fmla="*/ 125 w 296"/>
                <a:gd name="T93" fmla="*/ 116 h 300"/>
                <a:gd name="T94" fmla="*/ 147 w 296"/>
                <a:gd name="T95" fmla="*/ 145 h 300"/>
                <a:gd name="T96" fmla="*/ 150 w 296"/>
                <a:gd name="T97" fmla="*/ 176 h 300"/>
                <a:gd name="T98" fmla="*/ 190 w 296"/>
                <a:gd name="T99" fmla="*/ 164 h 300"/>
                <a:gd name="T100" fmla="*/ 110 w 296"/>
                <a:gd name="T101" fmla="*/ 194 h 300"/>
                <a:gd name="T102" fmla="*/ 131 w 296"/>
                <a:gd name="T103" fmla="*/ 145 h 300"/>
                <a:gd name="T104" fmla="*/ 145 w 296"/>
                <a:gd name="T105" fmla="*/ 156 h 300"/>
                <a:gd name="T106" fmla="*/ 144 w 296"/>
                <a:gd name="T107" fmla="*/ 150 h 300"/>
                <a:gd name="T108" fmla="*/ 147 w 296"/>
                <a:gd name="T109" fmla="*/ 150 h 300"/>
                <a:gd name="T110" fmla="*/ 149 w 296"/>
                <a:gd name="T111" fmla="*/ 15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6" h="300">
                  <a:moveTo>
                    <a:pt x="189" y="145"/>
                  </a:moveTo>
                  <a:cubicBezTo>
                    <a:pt x="185" y="141"/>
                    <a:pt x="185" y="141"/>
                    <a:pt x="185" y="141"/>
                  </a:cubicBezTo>
                  <a:cubicBezTo>
                    <a:pt x="189" y="136"/>
                    <a:pt x="189" y="136"/>
                    <a:pt x="189" y="136"/>
                  </a:cubicBezTo>
                  <a:cubicBezTo>
                    <a:pt x="193" y="141"/>
                    <a:pt x="193" y="141"/>
                    <a:pt x="193" y="141"/>
                  </a:cubicBezTo>
                  <a:cubicBezTo>
                    <a:pt x="189" y="145"/>
                    <a:pt x="189" y="145"/>
                    <a:pt x="189" y="145"/>
                  </a:cubicBezTo>
                  <a:close/>
                  <a:moveTo>
                    <a:pt x="202" y="132"/>
                  </a:moveTo>
                  <a:cubicBezTo>
                    <a:pt x="197" y="128"/>
                    <a:pt x="197" y="128"/>
                    <a:pt x="197" y="128"/>
                  </a:cubicBezTo>
                  <a:cubicBezTo>
                    <a:pt x="202" y="124"/>
                    <a:pt x="202" y="124"/>
                    <a:pt x="202" y="124"/>
                  </a:cubicBezTo>
                  <a:cubicBezTo>
                    <a:pt x="206" y="128"/>
                    <a:pt x="206" y="128"/>
                    <a:pt x="206" y="128"/>
                  </a:cubicBezTo>
                  <a:cubicBezTo>
                    <a:pt x="202" y="132"/>
                    <a:pt x="202" y="132"/>
                    <a:pt x="202" y="132"/>
                  </a:cubicBezTo>
                  <a:close/>
                  <a:moveTo>
                    <a:pt x="214" y="120"/>
                  </a:moveTo>
                  <a:cubicBezTo>
                    <a:pt x="210" y="116"/>
                    <a:pt x="210" y="116"/>
                    <a:pt x="210" y="116"/>
                  </a:cubicBezTo>
                  <a:cubicBezTo>
                    <a:pt x="214" y="111"/>
                    <a:pt x="214" y="111"/>
                    <a:pt x="214" y="111"/>
                  </a:cubicBezTo>
                  <a:cubicBezTo>
                    <a:pt x="218" y="116"/>
                    <a:pt x="218" y="116"/>
                    <a:pt x="218" y="116"/>
                  </a:cubicBezTo>
                  <a:cubicBezTo>
                    <a:pt x="214" y="120"/>
                    <a:pt x="214" y="120"/>
                    <a:pt x="214" y="120"/>
                  </a:cubicBezTo>
                  <a:close/>
                  <a:moveTo>
                    <a:pt x="227" y="107"/>
                  </a:moveTo>
                  <a:cubicBezTo>
                    <a:pt x="222" y="103"/>
                    <a:pt x="222" y="103"/>
                    <a:pt x="222" y="103"/>
                  </a:cubicBezTo>
                  <a:cubicBezTo>
                    <a:pt x="227" y="99"/>
                    <a:pt x="227" y="99"/>
                    <a:pt x="227" y="99"/>
                  </a:cubicBezTo>
                  <a:cubicBezTo>
                    <a:pt x="231" y="103"/>
                    <a:pt x="231" y="103"/>
                    <a:pt x="231" y="103"/>
                  </a:cubicBezTo>
                  <a:cubicBezTo>
                    <a:pt x="227" y="107"/>
                    <a:pt x="227" y="107"/>
                    <a:pt x="227" y="107"/>
                  </a:cubicBezTo>
                  <a:close/>
                  <a:moveTo>
                    <a:pt x="185" y="205"/>
                  </a:moveTo>
                  <a:cubicBezTo>
                    <a:pt x="189" y="201"/>
                    <a:pt x="189" y="201"/>
                    <a:pt x="189" y="201"/>
                  </a:cubicBezTo>
                  <a:cubicBezTo>
                    <a:pt x="193" y="205"/>
                    <a:pt x="193" y="205"/>
                    <a:pt x="193" y="205"/>
                  </a:cubicBezTo>
                  <a:cubicBezTo>
                    <a:pt x="189" y="210"/>
                    <a:pt x="189" y="210"/>
                    <a:pt x="189" y="210"/>
                  </a:cubicBezTo>
                  <a:cubicBezTo>
                    <a:pt x="185" y="205"/>
                    <a:pt x="185" y="205"/>
                    <a:pt x="185" y="205"/>
                  </a:cubicBezTo>
                  <a:close/>
                  <a:moveTo>
                    <a:pt x="197" y="218"/>
                  </a:moveTo>
                  <a:cubicBezTo>
                    <a:pt x="202" y="214"/>
                    <a:pt x="202" y="214"/>
                    <a:pt x="202" y="214"/>
                  </a:cubicBezTo>
                  <a:cubicBezTo>
                    <a:pt x="206" y="218"/>
                    <a:pt x="206" y="218"/>
                    <a:pt x="206" y="218"/>
                  </a:cubicBezTo>
                  <a:cubicBezTo>
                    <a:pt x="202" y="222"/>
                    <a:pt x="202" y="222"/>
                    <a:pt x="202" y="222"/>
                  </a:cubicBezTo>
                  <a:cubicBezTo>
                    <a:pt x="197" y="218"/>
                    <a:pt x="197" y="218"/>
                    <a:pt x="197" y="218"/>
                  </a:cubicBezTo>
                  <a:close/>
                  <a:moveTo>
                    <a:pt x="210" y="230"/>
                  </a:moveTo>
                  <a:cubicBezTo>
                    <a:pt x="214" y="226"/>
                    <a:pt x="214" y="226"/>
                    <a:pt x="214" y="226"/>
                  </a:cubicBezTo>
                  <a:cubicBezTo>
                    <a:pt x="218" y="230"/>
                    <a:pt x="218" y="230"/>
                    <a:pt x="218" y="230"/>
                  </a:cubicBezTo>
                  <a:cubicBezTo>
                    <a:pt x="214" y="235"/>
                    <a:pt x="214" y="235"/>
                    <a:pt x="214" y="235"/>
                  </a:cubicBezTo>
                  <a:cubicBezTo>
                    <a:pt x="210" y="230"/>
                    <a:pt x="210" y="230"/>
                    <a:pt x="210" y="230"/>
                  </a:cubicBezTo>
                  <a:close/>
                  <a:moveTo>
                    <a:pt x="222" y="243"/>
                  </a:moveTo>
                  <a:cubicBezTo>
                    <a:pt x="227" y="239"/>
                    <a:pt x="227" y="239"/>
                    <a:pt x="227" y="239"/>
                  </a:cubicBezTo>
                  <a:cubicBezTo>
                    <a:pt x="231" y="243"/>
                    <a:pt x="231" y="243"/>
                    <a:pt x="231" y="243"/>
                  </a:cubicBezTo>
                  <a:cubicBezTo>
                    <a:pt x="227" y="247"/>
                    <a:pt x="227" y="247"/>
                    <a:pt x="227" y="247"/>
                  </a:cubicBezTo>
                  <a:cubicBezTo>
                    <a:pt x="222" y="243"/>
                    <a:pt x="222" y="243"/>
                    <a:pt x="222" y="243"/>
                  </a:cubicBezTo>
                  <a:close/>
                  <a:moveTo>
                    <a:pt x="107" y="201"/>
                  </a:moveTo>
                  <a:cubicBezTo>
                    <a:pt x="111" y="205"/>
                    <a:pt x="111" y="205"/>
                    <a:pt x="111" y="205"/>
                  </a:cubicBezTo>
                  <a:cubicBezTo>
                    <a:pt x="107" y="210"/>
                    <a:pt x="107" y="210"/>
                    <a:pt x="107" y="210"/>
                  </a:cubicBezTo>
                  <a:cubicBezTo>
                    <a:pt x="102" y="205"/>
                    <a:pt x="102" y="205"/>
                    <a:pt x="102" y="205"/>
                  </a:cubicBezTo>
                  <a:cubicBezTo>
                    <a:pt x="107" y="201"/>
                    <a:pt x="107" y="201"/>
                    <a:pt x="107" y="201"/>
                  </a:cubicBezTo>
                  <a:close/>
                  <a:moveTo>
                    <a:pt x="94" y="214"/>
                  </a:moveTo>
                  <a:cubicBezTo>
                    <a:pt x="98" y="218"/>
                    <a:pt x="98" y="218"/>
                    <a:pt x="98" y="218"/>
                  </a:cubicBezTo>
                  <a:cubicBezTo>
                    <a:pt x="94" y="222"/>
                    <a:pt x="94" y="222"/>
                    <a:pt x="94" y="222"/>
                  </a:cubicBezTo>
                  <a:cubicBezTo>
                    <a:pt x="90" y="218"/>
                    <a:pt x="90" y="218"/>
                    <a:pt x="90" y="218"/>
                  </a:cubicBezTo>
                  <a:cubicBezTo>
                    <a:pt x="94" y="214"/>
                    <a:pt x="94" y="214"/>
                    <a:pt x="94" y="214"/>
                  </a:cubicBezTo>
                  <a:close/>
                  <a:moveTo>
                    <a:pt x="82" y="226"/>
                  </a:moveTo>
                  <a:cubicBezTo>
                    <a:pt x="86" y="230"/>
                    <a:pt x="86" y="230"/>
                    <a:pt x="86" y="230"/>
                  </a:cubicBezTo>
                  <a:cubicBezTo>
                    <a:pt x="82" y="235"/>
                    <a:pt x="82" y="235"/>
                    <a:pt x="82" y="235"/>
                  </a:cubicBezTo>
                  <a:cubicBezTo>
                    <a:pt x="77" y="230"/>
                    <a:pt x="77" y="230"/>
                    <a:pt x="77" y="230"/>
                  </a:cubicBezTo>
                  <a:cubicBezTo>
                    <a:pt x="82" y="226"/>
                    <a:pt x="82" y="226"/>
                    <a:pt x="82" y="226"/>
                  </a:cubicBezTo>
                  <a:close/>
                  <a:moveTo>
                    <a:pt x="69" y="239"/>
                  </a:moveTo>
                  <a:cubicBezTo>
                    <a:pt x="73" y="243"/>
                    <a:pt x="73" y="243"/>
                    <a:pt x="73" y="243"/>
                  </a:cubicBezTo>
                  <a:cubicBezTo>
                    <a:pt x="69" y="247"/>
                    <a:pt x="69" y="247"/>
                    <a:pt x="69" y="247"/>
                  </a:cubicBezTo>
                  <a:cubicBezTo>
                    <a:pt x="65" y="243"/>
                    <a:pt x="65" y="243"/>
                    <a:pt x="65" y="243"/>
                  </a:cubicBezTo>
                  <a:cubicBezTo>
                    <a:pt x="69" y="239"/>
                    <a:pt x="69" y="239"/>
                    <a:pt x="69" y="239"/>
                  </a:cubicBezTo>
                  <a:close/>
                  <a:moveTo>
                    <a:pt x="111" y="141"/>
                  </a:moveTo>
                  <a:cubicBezTo>
                    <a:pt x="107" y="145"/>
                    <a:pt x="107" y="145"/>
                    <a:pt x="107" y="145"/>
                  </a:cubicBezTo>
                  <a:cubicBezTo>
                    <a:pt x="102" y="141"/>
                    <a:pt x="102" y="141"/>
                    <a:pt x="102" y="141"/>
                  </a:cubicBezTo>
                  <a:cubicBezTo>
                    <a:pt x="107" y="136"/>
                    <a:pt x="107" y="136"/>
                    <a:pt x="107" y="136"/>
                  </a:cubicBezTo>
                  <a:cubicBezTo>
                    <a:pt x="111" y="141"/>
                    <a:pt x="111" y="141"/>
                    <a:pt x="111" y="141"/>
                  </a:cubicBezTo>
                  <a:close/>
                  <a:moveTo>
                    <a:pt x="98" y="128"/>
                  </a:moveTo>
                  <a:cubicBezTo>
                    <a:pt x="94" y="132"/>
                    <a:pt x="94" y="132"/>
                    <a:pt x="94" y="132"/>
                  </a:cubicBezTo>
                  <a:cubicBezTo>
                    <a:pt x="90" y="128"/>
                    <a:pt x="90" y="128"/>
                    <a:pt x="90" y="128"/>
                  </a:cubicBezTo>
                  <a:cubicBezTo>
                    <a:pt x="94" y="124"/>
                    <a:pt x="94" y="124"/>
                    <a:pt x="94" y="124"/>
                  </a:cubicBezTo>
                  <a:cubicBezTo>
                    <a:pt x="98" y="128"/>
                    <a:pt x="98" y="128"/>
                    <a:pt x="98" y="128"/>
                  </a:cubicBezTo>
                  <a:close/>
                  <a:moveTo>
                    <a:pt x="86" y="116"/>
                  </a:moveTo>
                  <a:cubicBezTo>
                    <a:pt x="82" y="120"/>
                    <a:pt x="82" y="120"/>
                    <a:pt x="82" y="120"/>
                  </a:cubicBezTo>
                  <a:cubicBezTo>
                    <a:pt x="77" y="116"/>
                    <a:pt x="77" y="116"/>
                    <a:pt x="77" y="116"/>
                  </a:cubicBezTo>
                  <a:cubicBezTo>
                    <a:pt x="82" y="111"/>
                    <a:pt x="82" y="111"/>
                    <a:pt x="82" y="111"/>
                  </a:cubicBezTo>
                  <a:cubicBezTo>
                    <a:pt x="86" y="116"/>
                    <a:pt x="86" y="116"/>
                    <a:pt x="86" y="116"/>
                  </a:cubicBezTo>
                  <a:close/>
                  <a:moveTo>
                    <a:pt x="73" y="103"/>
                  </a:moveTo>
                  <a:cubicBezTo>
                    <a:pt x="69" y="107"/>
                    <a:pt x="69" y="107"/>
                    <a:pt x="69" y="107"/>
                  </a:cubicBezTo>
                  <a:cubicBezTo>
                    <a:pt x="65" y="103"/>
                    <a:pt x="65" y="103"/>
                    <a:pt x="65" y="103"/>
                  </a:cubicBezTo>
                  <a:cubicBezTo>
                    <a:pt x="69" y="99"/>
                    <a:pt x="69" y="99"/>
                    <a:pt x="69" y="99"/>
                  </a:cubicBezTo>
                  <a:cubicBezTo>
                    <a:pt x="73" y="103"/>
                    <a:pt x="73" y="103"/>
                    <a:pt x="73" y="103"/>
                  </a:cubicBezTo>
                  <a:close/>
                  <a:moveTo>
                    <a:pt x="72" y="64"/>
                  </a:moveTo>
                  <a:cubicBezTo>
                    <a:pt x="72" y="74"/>
                    <a:pt x="72" y="74"/>
                    <a:pt x="72" y="74"/>
                  </a:cubicBezTo>
                  <a:cubicBezTo>
                    <a:pt x="72" y="89"/>
                    <a:pt x="72" y="89"/>
                    <a:pt x="67" y="89"/>
                  </a:cubicBezTo>
                  <a:cubicBezTo>
                    <a:pt x="5" y="89"/>
                    <a:pt x="5" y="89"/>
                    <a:pt x="5" y="89"/>
                  </a:cubicBezTo>
                  <a:cubicBezTo>
                    <a:pt x="0" y="89"/>
                    <a:pt x="0" y="89"/>
                    <a:pt x="0" y="74"/>
                  </a:cubicBezTo>
                  <a:cubicBezTo>
                    <a:pt x="0" y="64"/>
                    <a:pt x="0" y="64"/>
                    <a:pt x="0" y="64"/>
                  </a:cubicBezTo>
                  <a:cubicBezTo>
                    <a:pt x="0" y="53"/>
                    <a:pt x="12" y="51"/>
                    <a:pt x="23" y="48"/>
                  </a:cubicBezTo>
                  <a:cubicBezTo>
                    <a:pt x="27" y="52"/>
                    <a:pt x="32" y="54"/>
                    <a:pt x="36" y="54"/>
                  </a:cubicBezTo>
                  <a:cubicBezTo>
                    <a:pt x="40" y="54"/>
                    <a:pt x="45" y="52"/>
                    <a:pt x="49" y="48"/>
                  </a:cubicBezTo>
                  <a:cubicBezTo>
                    <a:pt x="59" y="51"/>
                    <a:pt x="72" y="53"/>
                    <a:pt x="72" y="64"/>
                  </a:cubicBezTo>
                  <a:close/>
                  <a:moveTo>
                    <a:pt x="36" y="48"/>
                  </a:moveTo>
                  <a:cubicBezTo>
                    <a:pt x="42" y="48"/>
                    <a:pt x="54" y="37"/>
                    <a:pt x="54" y="24"/>
                  </a:cubicBezTo>
                  <a:cubicBezTo>
                    <a:pt x="54" y="11"/>
                    <a:pt x="49" y="0"/>
                    <a:pt x="36" y="0"/>
                  </a:cubicBezTo>
                  <a:cubicBezTo>
                    <a:pt x="23" y="0"/>
                    <a:pt x="18" y="11"/>
                    <a:pt x="18" y="24"/>
                  </a:cubicBezTo>
                  <a:cubicBezTo>
                    <a:pt x="18" y="37"/>
                    <a:pt x="30" y="48"/>
                    <a:pt x="36" y="48"/>
                  </a:cubicBezTo>
                  <a:close/>
                  <a:moveTo>
                    <a:pt x="296" y="64"/>
                  </a:moveTo>
                  <a:cubicBezTo>
                    <a:pt x="296" y="74"/>
                    <a:pt x="296" y="74"/>
                    <a:pt x="296" y="74"/>
                  </a:cubicBezTo>
                  <a:cubicBezTo>
                    <a:pt x="296" y="89"/>
                    <a:pt x="296" y="89"/>
                    <a:pt x="290" y="89"/>
                  </a:cubicBezTo>
                  <a:cubicBezTo>
                    <a:pt x="229" y="89"/>
                    <a:pt x="229" y="89"/>
                    <a:pt x="229" y="89"/>
                  </a:cubicBezTo>
                  <a:cubicBezTo>
                    <a:pt x="224" y="89"/>
                    <a:pt x="224" y="89"/>
                    <a:pt x="224" y="74"/>
                  </a:cubicBezTo>
                  <a:cubicBezTo>
                    <a:pt x="224" y="64"/>
                    <a:pt x="224" y="64"/>
                    <a:pt x="224" y="64"/>
                  </a:cubicBezTo>
                  <a:cubicBezTo>
                    <a:pt x="224" y="53"/>
                    <a:pt x="236" y="51"/>
                    <a:pt x="247" y="48"/>
                  </a:cubicBezTo>
                  <a:cubicBezTo>
                    <a:pt x="251" y="52"/>
                    <a:pt x="256" y="54"/>
                    <a:pt x="260" y="54"/>
                  </a:cubicBezTo>
                  <a:cubicBezTo>
                    <a:pt x="263" y="54"/>
                    <a:pt x="268" y="52"/>
                    <a:pt x="273" y="48"/>
                  </a:cubicBezTo>
                  <a:cubicBezTo>
                    <a:pt x="283" y="51"/>
                    <a:pt x="296" y="53"/>
                    <a:pt x="296" y="64"/>
                  </a:cubicBezTo>
                  <a:close/>
                  <a:moveTo>
                    <a:pt x="260" y="48"/>
                  </a:moveTo>
                  <a:cubicBezTo>
                    <a:pt x="266" y="48"/>
                    <a:pt x="278" y="37"/>
                    <a:pt x="278" y="24"/>
                  </a:cubicBezTo>
                  <a:cubicBezTo>
                    <a:pt x="278" y="11"/>
                    <a:pt x="273" y="0"/>
                    <a:pt x="260" y="0"/>
                  </a:cubicBezTo>
                  <a:cubicBezTo>
                    <a:pt x="246" y="0"/>
                    <a:pt x="241" y="11"/>
                    <a:pt x="241" y="24"/>
                  </a:cubicBezTo>
                  <a:cubicBezTo>
                    <a:pt x="241" y="37"/>
                    <a:pt x="254" y="48"/>
                    <a:pt x="260" y="48"/>
                  </a:cubicBezTo>
                  <a:close/>
                  <a:moveTo>
                    <a:pt x="296" y="275"/>
                  </a:moveTo>
                  <a:cubicBezTo>
                    <a:pt x="296" y="285"/>
                    <a:pt x="296" y="285"/>
                    <a:pt x="296" y="285"/>
                  </a:cubicBezTo>
                  <a:cubicBezTo>
                    <a:pt x="296" y="300"/>
                    <a:pt x="296" y="300"/>
                    <a:pt x="290" y="300"/>
                  </a:cubicBezTo>
                  <a:cubicBezTo>
                    <a:pt x="229" y="300"/>
                    <a:pt x="229" y="300"/>
                    <a:pt x="229" y="300"/>
                  </a:cubicBezTo>
                  <a:cubicBezTo>
                    <a:pt x="224" y="300"/>
                    <a:pt x="224" y="300"/>
                    <a:pt x="224" y="285"/>
                  </a:cubicBezTo>
                  <a:cubicBezTo>
                    <a:pt x="224" y="275"/>
                    <a:pt x="224" y="275"/>
                    <a:pt x="224" y="275"/>
                  </a:cubicBezTo>
                  <a:cubicBezTo>
                    <a:pt x="224" y="264"/>
                    <a:pt x="236" y="263"/>
                    <a:pt x="247" y="259"/>
                  </a:cubicBezTo>
                  <a:cubicBezTo>
                    <a:pt x="251" y="263"/>
                    <a:pt x="256" y="265"/>
                    <a:pt x="260" y="265"/>
                  </a:cubicBezTo>
                  <a:cubicBezTo>
                    <a:pt x="264" y="265"/>
                    <a:pt x="268" y="263"/>
                    <a:pt x="273" y="259"/>
                  </a:cubicBezTo>
                  <a:cubicBezTo>
                    <a:pt x="283" y="263"/>
                    <a:pt x="296" y="264"/>
                    <a:pt x="296" y="275"/>
                  </a:cubicBezTo>
                  <a:close/>
                  <a:moveTo>
                    <a:pt x="260" y="259"/>
                  </a:moveTo>
                  <a:cubicBezTo>
                    <a:pt x="266" y="259"/>
                    <a:pt x="278" y="248"/>
                    <a:pt x="278" y="235"/>
                  </a:cubicBezTo>
                  <a:cubicBezTo>
                    <a:pt x="278" y="222"/>
                    <a:pt x="273" y="211"/>
                    <a:pt x="260" y="211"/>
                  </a:cubicBezTo>
                  <a:cubicBezTo>
                    <a:pt x="246" y="211"/>
                    <a:pt x="241" y="222"/>
                    <a:pt x="241" y="235"/>
                  </a:cubicBezTo>
                  <a:cubicBezTo>
                    <a:pt x="241" y="248"/>
                    <a:pt x="254" y="259"/>
                    <a:pt x="260" y="259"/>
                  </a:cubicBezTo>
                  <a:close/>
                  <a:moveTo>
                    <a:pt x="72" y="275"/>
                  </a:moveTo>
                  <a:cubicBezTo>
                    <a:pt x="72" y="285"/>
                    <a:pt x="72" y="285"/>
                    <a:pt x="72" y="285"/>
                  </a:cubicBezTo>
                  <a:cubicBezTo>
                    <a:pt x="72" y="300"/>
                    <a:pt x="72" y="300"/>
                    <a:pt x="67" y="300"/>
                  </a:cubicBezTo>
                  <a:cubicBezTo>
                    <a:pt x="5" y="300"/>
                    <a:pt x="5" y="300"/>
                    <a:pt x="5" y="300"/>
                  </a:cubicBezTo>
                  <a:cubicBezTo>
                    <a:pt x="0" y="300"/>
                    <a:pt x="0" y="300"/>
                    <a:pt x="0" y="285"/>
                  </a:cubicBezTo>
                  <a:cubicBezTo>
                    <a:pt x="0" y="275"/>
                    <a:pt x="0" y="275"/>
                    <a:pt x="0" y="275"/>
                  </a:cubicBezTo>
                  <a:cubicBezTo>
                    <a:pt x="0" y="264"/>
                    <a:pt x="12" y="263"/>
                    <a:pt x="23" y="259"/>
                  </a:cubicBezTo>
                  <a:cubicBezTo>
                    <a:pt x="27" y="263"/>
                    <a:pt x="32" y="265"/>
                    <a:pt x="36" y="265"/>
                  </a:cubicBezTo>
                  <a:cubicBezTo>
                    <a:pt x="40" y="265"/>
                    <a:pt x="45" y="263"/>
                    <a:pt x="49" y="259"/>
                  </a:cubicBezTo>
                  <a:cubicBezTo>
                    <a:pt x="59" y="263"/>
                    <a:pt x="72" y="264"/>
                    <a:pt x="72" y="275"/>
                  </a:cubicBezTo>
                  <a:close/>
                  <a:moveTo>
                    <a:pt x="36" y="259"/>
                  </a:moveTo>
                  <a:cubicBezTo>
                    <a:pt x="42" y="259"/>
                    <a:pt x="54" y="248"/>
                    <a:pt x="54" y="235"/>
                  </a:cubicBezTo>
                  <a:cubicBezTo>
                    <a:pt x="54" y="222"/>
                    <a:pt x="49" y="211"/>
                    <a:pt x="36" y="211"/>
                  </a:cubicBezTo>
                  <a:cubicBezTo>
                    <a:pt x="23" y="211"/>
                    <a:pt x="18" y="222"/>
                    <a:pt x="18" y="235"/>
                  </a:cubicBezTo>
                  <a:cubicBezTo>
                    <a:pt x="18" y="248"/>
                    <a:pt x="30" y="259"/>
                    <a:pt x="36" y="259"/>
                  </a:cubicBezTo>
                  <a:close/>
                  <a:moveTo>
                    <a:pt x="125" y="116"/>
                  </a:moveTo>
                  <a:cubicBezTo>
                    <a:pt x="125" y="100"/>
                    <a:pt x="131" y="87"/>
                    <a:pt x="147" y="87"/>
                  </a:cubicBezTo>
                  <a:cubicBezTo>
                    <a:pt x="163" y="87"/>
                    <a:pt x="169" y="100"/>
                    <a:pt x="169" y="116"/>
                  </a:cubicBezTo>
                  <a:cubicBezTo>
                    <a:pt x="169" y="132"/>
                    <a:pt x="154" y="145"/>
                    <a:pt x="147" y="145"/>
                  </a:cubicBezTo>
                  <a:cubicBezTo>
                    <a:pt x="140" y="145"/>
                    <a:pt x="125" y="132"/>
                    <a:pt x="125" y="116"/>
                  </a:cubicBezTo>
                  <a:close/>
                  <a:moveTo>
                    <a:pt x="148" y="156"/>
                  </a:moveTo>
                  <a:cubicBezTo>
                    <a:pt x="150" y="176"/>
                    <a:pt x="150" y="176"/>
                    <a:pt x="150" y="176"/>
                  </a:cubicBezTo>
                  <a:cubicBezTo>
                    <a:pt x="153" y="168"/>
                    <a:pt x="155" y="159"/>
                    <a:pt x="159" y="151"/>
                  </a:cubicBezTo>
                  <a:cubicBezTo>
                    <a:pt x="159" y="150"/>
                    <a:pt x="159" y="150"/>
                    <a:pt x="162" y="145"/>
                  </a:cubicBezTo>
                  <a:cubicBezTo>
                    <a:pt x="174" y="149"/>
                    <a:pt x="190" y="151"/>
                    <a:pt x="190" y="164"/>
                  </a:cubicBezTo>
                  <a:cubicBezTo>
                    <a:pt x="190" y="176"/>
                    <a:pt x="190" y="176"/>
                    <a:pt x="190" y="176"/>
                  </a:cubicBezTo>
                  <a:cubicBezTo>
                    <a:pt x="190" y="194"/>
                    <a:pt x="190" y="194"/>
                    <a:pt x="183" y="194"/>
                  </a:cubicBezTo>
                  <a:cubicBezTo>
                    <a:pt x="110" y="194"/>
                    <a:pt x="110" y="194"/>
                    <a:pt x="110" y="194"/>
                  </a:cubicBezTo>
                  <a:cubicBezTo>
                    <a:pt x="104" y="194"/>
                    <a:pt x="104" y="194"/>
                    <a:pt x="104" y="176"/>
                  </a:cubicBezTo>
                  <a:cubicBezTo>
                    <a:pt x="104" y="164"/>
                    <a:pt x="104" y="164"/>
                    <a:pt x="104" y="164"/>
                  </a:cubicBezTo>
                  <a:cubicBezTo>
                    <a:pt x="104" y="151"/>
                    <a:pt x="118" y="149"/>
                    <a:pt x="131" y="145"/>
                  </a:cubicBezTo>
                  <a:cubicBezTo>
                    <a:pt x="134" y="150"/>
                    <a:pt x="134" y="150"/>
                    <a:pt x="135" y="151"/>
                  </a:cubicBezTo>
                  <a:cubicBezTo>
                    <a:pt x="138" y="159"/>
                    <a:pt x="141" y="168"/>
                    <a:pt x="143" y="176"/>
                  </a:cubicBezTo>
                  <a:cubicBezTo>
                    <a:pt x="145" y="156"/>
                    <a:pt x="145" y="156"/>
                    <a:pt x="145" y="156"/>
                  </a:cubicBezTo>
                  <a:cubicBezTo>
                    <a:pt x="145" y="155"/>
                    <a:pt x="145" y="155"/>
                    <a:pt x="145" y="155"/>
                  </a:cubicBezTo>
                  <a:cubicBezTo>
                    <a:pt x="141" y="149"/>
                    <a:pt x="141" y="149"/>
                    <a:pt x="141" y="149"/>
                  </a:cubicBezTo>
                  <a:cubicBezTo>
                    <a:pt x="144" y="150"/>
                    <a:pt x="144" y="150"/>
                    <a:pt x="144" y="150"/>
                  </a:cubicBezTo>
                  <a:cubicBezTo>
                    <a:pt x="145" y="150"/>
                    <a:pt x="145" y="150"/>
                    <a:pt x="146" y="150"/>
                  </a:cubicBezTo>
                  <a:cubicBezTo>
                    <a:pt x="146" y="150"/>
                    <a:pt x="146" y="150"/>
                    <a:pt x="147" y="150"/>
                  </a:cubicBezTo>
                  <a:cubicBezTo>
                    <a:pt x="147" y="150"/>
                    <a:pt x="147" y="150"/>
                    <a:pt x="147" y="150"/>
                  </a:cubicBezTo>
                  <a:cubicBezTo>
                    <a:pt x="149" y="150"/>
                    <a:pt x="149" y="150"/>
                    <a:pt x="149" y="150"/>
                  </a:cubicBezTo>
                  <a:cubicBezTo>
                    <a:pt x="152" y="149"/>
                    <a:pt x="152" y="149"/>
                    <a:pt x="152" y="149"/>
                  </a:cubicBezTo>
                  <a:cubicBezTo>
                    <a:pt x="149" y="155"/>
                    <a:pt x="149" y="155"/>
                    <a:pt x="149" y="155"/>
                  </a:cubicBezTo>
                  <a:lnTo>
                    <a:pt x="148" y="156"/>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200" dirty="0"/>
            </a:p>
          </p:txBody>
        </p:sp>
      </p:grpSp>
      <p:sp>
        <p:nvSpPr>
          <p:cNvPr id="67"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70"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5"/>
              </a:rPr>
              <a:t>www.rapidbbs.cn</a:t>
            </a:r>
            <a:endParaRPr lang="zh-CN" altLang="en-US" sz="1200" b="0">
              <a:latin typeface="Arial" charset="0"/>
              <a:ea typeface="ＭＳ Ｐゴシック" pitchFamily="34" charset="-128"/>
            </a:endParaRPr>
          </a:p>
        </p:txBody>
      </p:sp>
      <p:pic>
        <p:nvPicPr>
          <p:cNvPr id="71" name="Picture 2">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3" name="Picture 2">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43000" y="2804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16533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58">
                                            <p:txEl>
                                              <p:pRg st="0" end="0"/>
                                            </p:txEl>
                                          </p:spTgt>
                                        </p:tgtEl>
                                        <p:attrNameLst>
                                          <p:attrName>style.visibility</p:attrName>
                                        </p:attrNameLst>
                                      </p:cBhvr>
                                      <p:to>
                                        <p:strVal val="visible"/>
                                      </p:to>
                                    </p:set>
                                    <p:animEffect transition="in" filter="fade">
                                      <p:cBhvr>
                                        <p:cTn id="7" dur="1000"/>
                                        <p:tgtEl>
                                          <p:spTgt spid="58">
                                            <p:txEl>
                                              <p:pRg st="0" end="0"/>
                                            </p:txEl>
                                          </p:spTgt>
                                        </p:tgtEl>
                                      </p:cBhvr>
                                    </p:animEffect>
                                  </p:childTnLst>
                                </p:cTn>
                              </p:par>
                            </p:childTnLst>
                          </p:cTn>
                        </p:par>
                        <p:par>
                          <p:cTn id="8" fill="hold">
                            <p:stCondLst>
                              <p:cond delay="1500"/>
                            </p:stCondLst>
                            <p:childTnLst>
                              <p:par>
                                <p:cTn id="9" presetID="10" presetClass="entr" presetSubtype="0" fill="hold" grpId="0" nodeType="afterEffect">
                                  <p:stCondLst>
                                    <p:cond delay="1000"/>
                                  </p:stCondLst>
                                  <p:childTnLst>
                                    <p:set>
                                      <p:cBhvr>
                                        <p:cTn id="10" dur="1" fill="hold">
                                          <p:stCondLst>
                                            <p:cond delay="0"/>
                                          </p:stCondLst>
                                        </p:cTn>
                                        <p:tgtEl>
                                          <p:spTgt spid="59"/>
                                        </p:tgtEl>
                                        <p:attrNameLst>
                                          <p:attrName>style.visibility</p:attrName>
                                        </p:attrNameLst>
                                      </p:cBhvr>
                                      <p:to>
                                        <p:strVal val="visible"/>
                                      </p:to>
                                    </p:set>
                                    <p:animEffect transition="in" filter="fade">
                                      <p:cBhvr>
                                        <p:cTn id="11" dur="1000"/>
                                        <p:tgtEl>
                                          <p:spTgt spid="59"/>
                                        </p:tgtEl>
                                      </p:cBhvr>
                                    </p:animEffect>
                                  </p:childTnLst>
                                </p:cTn>
                              </p:par>
                            </p:childTnLst>
                          </p:cTn>
                        </p:par>
                        <p:par>
                          <p:cTn id="12" fill="hold">
                            <p:stCondLst>
                              <p:cond delay="3500"/>
                            </p:stCondLst>
                            <p:childTnLst>
                              <p:par>
                                <p:cTn id="13" presetID="10" presetClass="entr" presetSubtype="0" fill="hold" grpId="0" nodeType="afterEffect">
                                  <p:stCondLst>
                                    <p:cond delay="1000"/>
                                  </p:stCondLst>
                                  <p:childTnLst>
                                    <p:set>
                                      <p:cBhvr>
                                        <p:cTn id="14" dur="1" fill="hold">
                                          <p:stCondLst>
                                            <p:cond delay="0"/>
                                          </p:stCondLst>
                                        </p:cTn>
                                        <p:tgtEl>
                                          <p:spTgt spid="61"/>
                                        </p:tgtEl>
                                        <p:attrNameLst>
                                          <p:attrName>style.visibility</p:attrName>
                                        </p:attrNameLst>
                                      </p:cBhvr>
                                      <p:to>
                                        <p:strVal val="visible"/>
                                      </p:to>
                                    </p:set>
                                    <p:animEffect transition="in" filter="fade">
                                      <p:cBhvr>
                                        <p:cTn id="15" dur="1000"/>
                                        <p:tgtEl>
                                          <p:spTgt spid="61"/>
                                        </p:tgtEl>
                                      </p:cBhvr>
                                    </p:animEffect>
                                  </p:childTnLst>
                                </p:cTn>
                              </p:par>
                            </p:childTnLst>
                          </p:cTn>
                        </p:par>
                        <p:par>
                          <p:cTn id="16" fill="hold">
                            <p:stCondLst>
                              <p:cond delay="5500"/>
                            </p:stCondLst>
                            <p:childTnLst>
                              <p:par>
                                <p:cTn id="17" presetID="10" presetClass="entr" presetSubtype="0" fill="hold" grpId="0" nodeType="afterEffect">
                                  <p:stCondLst>
                                    <p:cond delay="1000"/>
                                  </p:stCondLst>
                                  <p:childTnLst>
                                    <p:set>
                                      <p:cBhvr>
                                        <p:cTn id="18" dur="1" fill="hold">
                                          <p:stCondLst>
                                            <p:cond delay="0"/>
                                          </p:stCondLst>
                                        </p:cTn>
                                        <p:tgtEl>
                                          <p:spTgt spid="60"/>
                                        </p:tgtEl>
                                        <p:attrNameLst>
                                          <p:attrName>style.visibility</p:attrName>
                                        </p:attrNameLst>
                                      </p:cBhvr>
                                      <p:to>
                                        <p:strVal val="visible"/>
                                      </p:to>
                                    </p:set>
                                    <p:animEffect transition="in" filter="fade">
                                      <p:cBhvr>
                                        <p:cTn id="19" dur="1000"/>
                                        <p:tgtEl>
                                          <p:spTgt spid="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build="p"/>
      <p:bldP spid="59" grpId="0"/>
      <p:bldP spid="60" grpId="0"/>
      <p:bldP spid="61" grpId="0"/>
    </p:bldLst>
  </p:timing>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uthentication</a:t>
            </a:r>
            <a:endParaRPr lang="en-US" dirty="0"/>
          </a:p>
        </p:txBody>
      </p:sp>
      <p:sp>
        <p:nvSpPr>
          <p:cNvPr id="4" name="Rectangle 3"/>
          <p:cNvSpPr/>
          <p:nvPr/>
        </p:nvSpPr>
        <p:spPr bwMode="auto">
          <a:xfrm>
            <a:off x="447251" y="2100215"/>
            <a:ext cx="4471568" cy="2184141"/>
          </a:xfrm>
          <a:prstGeom prst="rect">
            <a:avLst/>
          </a:prstGeom>
          <a:solidFill>
            <a:schemeClr val="accent1"/>
          </a:solidFill>
          <a:ln w="28575" cap="flat" cmpd="sng" algn="ctr">
            <a:solidFill>
              <a:schemeClr val="tx1"/>
            </a:solidFill>
            <a:prstDash val="solid"/>
            <a:headEnd type="none" w="med" len="med"/>
            <a:tailEnd type="none" w="med" len="med"/>
          </a:ln>
          <a:effectLst/>
        </p:spPr>
        <p:txBody>
          <a:bodyPr rot="0" spcFirstLastPara="0" vertOverflow="overflow" horzOverflow="overflow" vert="horz" wrap="square" lIns="51450" tIns="25725" rIns="25725" bIns="51450" numCol="1" spcCol="0" rtlCol="0" fromWordArt="0" anchor="t" anchorCtr="0" forceAA="0" compatLnSpc="1">
            <a:prstTxWarp prst="textNoShape">
              <a:avLst/>
            </a:prstTxWarp>
            <a:noAutofit/>
          </a:bodyPr>
          <a:lstStyle/>
          <a:p>
            <a:pPr marL="214287" indent="-214287">
              <a:buFont typeface="Arial" pitchFamily="34" charset="0"/>
              <a:buChar char="•"/>
            </a:pPr>
            <a:endParaRPr lang="en-US" dirty="0" smtClean="0"/>
          </a:p>
        </p:txBody>
      </p:sp>
      <p:grpSp>
        <p:nvGrpSpPr>
          <p:cNvPr id="45" name="Group 44"/>
          <p:cNvGrpSpPr/>
          <p:nvPr/>
        </p:nvGrpSpPr>
        <p:grpSpPr>
          <a:xfrm>
            <a:off x="627622" y="2498940"/>
            <a:ext cx="778304" cy="861745"/>
            <a:chOff x="912812" y="3331910"/>
            <a:chExt cx="1037468" cy="1148993"/>
          </a:xfrm>
        </p:grpSpPr>
        <p:sp>
          <p:nvSpPr>
            <p:cNvPr id="6" name="TextBox 5"/>
            <p:cNvSpPr txBox="1"/>
            <p:nvPr/>
          </p:nvSpPr>
          <p:spPr>
            <a:xfrm>
              <a:off x="912812" y="3865350"/>
              <a:ext cx="1037468" cy="615553"/>
            </a:xfrm>
            <a:prstGeom prst="rect">
              <a:avLst/>
            </a:prstGeom>
            <a:noFill/>
          </p:spPr>
          <p:txBody>
            <a:bodyPr wrap="square" rtlCol="0">
              <a:spAutoFit/>
            </a:bodyPr>
            <a:lstStyle/>
            <a:p>
              <a:pPr algn="ctr"/>
              <a:r>
                <a:rPr lang="en-US" sz="800" b="1" dirty="0">
                  <a:latin typeface="Segoe WP Light"/>
                </a:rPr>
                <a:t>Flexible</a:t>
              </a:r>
              <a:br>
                <a:rPr lang="en-US" sz="800" b="1" dirty="0">
                  <a:latin typeface="Segoe WP Light"/>
                </a:rPr>
              </a:br>
              <a:r>
                <a:rPr lang="en-US" sz="800" b="1" dirty="0">
                  <a:latin typeface="Segoe WP Light"/>
                </a:rPr>
                <a:t>Sign-on</a:t>
              </a:r>
            </a:p>
            <a:p>
              <a:pPr algn="ctr"/>
              <a:r>
                <a:rPr lang="en-US" sz="800" b="1" dirty="0">
                  <a:latin typeface="Segoe WP Light"/>
                </a:rPr>
                <a:t>Methods</a:t>
              </a:r>
            </a:p>
          </p:txBody>
        </p:sp>
        <p:sp>
          <p:nvSpPr>
            <p:cNvPr id="10" name="Freeform 9"/>
            <p:cNvSpPr>
              <a:spLocks noEditPoints="1"/>
            </p:cNvSpPr>
            <p:nvPr/>
          </p:nvSpPr>
          <p:spPr bwMode="black">
            <a:xfrm>
              <a:off x="1240134" y="3331910"/>
              <a:ext cx="382824" cy="420006"/>
            </a:xfrm>
            <a:custGeom>
              <a:avLst/>
              <a:gdLst>
                <a:gd name="T0" fmla="*/ 278 w 278"/>
                <a:gd name="T1" fmla="*/ 57 h 305"/>
                <a:gd name="T2" fmla="*/ 277 w 278"/>
                <a:gd name="T3" fmla="*/ 54 h 305"/>
                <a:gd name="T4" fmla="*/ 276 w 278"/>
                <a:gd name="T5" fmla="*/ 52 h 305"/>
                <a:gd name="T6" fmla="*/ 274 w 278"/>
                <a:gd name="T7" fmla="*/ 49 h 305"/>
                <a:gd name="T8" fmla="*/ 272 w 278"/>
                <a:gd name="T9" fmla="*/ 47 h 305"/>
                <a:gd name="T10" fmla="*/ 270 w 278"/>
                <a:gd name="T11" fmla="*/ 46 h 305"/>
                <a:gd name="T12" fmla="*/ 267 w 278"/>
                <a:gd name="T13" fmla="*/ 45 h 305"/>
                <a:gd name="T14" fmla="*/ 265 w 278"/>
                <a:gd name="T15" fmla="*/ 44 h 305"/>
                <a:gd name="T16" fmla="*/ 263 w 278"/>
                <a:gd name="T17" fmla="*/ 44 h 305"/>
                <a:gd name="T18" fmla="*/ 32 w 278"/>
                <a:gd name="T19" fmla="*/ 13 h 305"/>
                <a:gd name="T20" fmla="*/ 2 w 278"/>
                <a:gd name="T21" fmla="*/ 21 h 305"/>
                <a:gd name="T22" fmla="*/ 63 w 278"/>
                <a:gd name="T23" fmla="*/ 256 h 305"/>
                <a:gd name="T24" fmla="*/ 65 w 278"/>
                <a:gd name="T25" fmla="*/ 259 h 305"/>
                <a:gd name="T26" fmla="*/ 66 w 278"/>
                <a:gd name="T27" fmla="*/ 261 h 305"/>
                <a:gd name="T28" fmla="*/ 68 w 278"/>
                <a:gd name="T29" fmla="*/ 263 h 305"/>
                <a:gd name="T30" fmla="*/ 71 w 278"/>
                <a:gd name="T31" fmla="*/ 265 h 305"/>
                <a:gd name="T32" fmla="*/ 72 w 278"/>
                <a:gd name="T33" fmla="*/ 265 h 305"/>
                <a:gd name="T34" fmla="*/ 119 w 278"/>
                <a:gd name="T35" fmla="*/ 266 h 305"/>
                <a:gd name="T36" fmla="*/ 211 w 278"/>
                <a:gd name="T37" fmla="*/ 254 h 305"/>
                <a:gd name="T38" fmla="*/ 248 w 278"/>
                <a:gd name="T39" fmla="*/ 251 h 305"/>
                <a:gd name="T40" fmla="*/ 89 w 278"/>
                <a:gd name="T41" fmla="*/ 236 h 305"/>
                <a:gd name="T42" fmla="*/ 248 w 278"/>
                <a:gd name="T43" fmla="*/ 179 h 305"/>
                <a:gd name="T44" fmla="*/ 251 w 278"/>
                <a:gd name="T45" fmla="*/ 179 h 305"/>
                <a:gd name="T46" fmla="*/ 254 w 278"/>
                <a:gd name="T47" fmla="*/ 178 h 305"/>
                <a:gd name="T48" fmla="*/ 256 w 278"/>
                <a:gd name="T49" fmla="*/ 177 h 305"/>
                <a:gd name="T50" fmla="*/ 258 w 278"/>
                <a:gd name="T51" fmla="*/ 175 h 305"/>
                <a:gd name="T52" fmla="*/ 260 w 278"/>
                <a:gd name="T53" fmla="*/ 173 h 305"/>
                <a:gd name="T54" fmla="*/ 261 w 278"/>
                <a:gd name="T55" fmla="*/ 170 h 305"/>
                <a:gd name="T56" fmla="*/ 262 w 278"/>
                <a:gd name="T57" fmla="*/ 168 h 305"/>
                <a:gd name="T58" fmla="*/ 263 w 278"/>
                <a:gd name="T59" fmla="*/ 166 h 305"/>
                <a:gd name="T60" fmla="*/ 278 w 278"/>
                <a:gd name="T61" fmla="*/ 60 h 305"/>
                <a:gd name="T62" fmla="*/ 278 w 278"/>
                <a:gd name="T63" fmla="*/ 59 h 305"/>
                <a:gd name="T64" fmla="*/ 66 w 278"/>
                <a:gd name="T65" fmla="*/ 149 h 305"/>
                <a:gd name="T66" fmla="*/ 238 w 278"/>
                <a:gd name="T67" fmla="*/ 126 h 305"/>
                <a:gd name="T68" fmla="*/ 242 w 278"/>
                <a:gd name="T69" fmla="*/ 96 h 305"/>
                <a:gd name="T70" fmla="*/ 47 w 278"/>
                <a:gd name="T71" fmla="*/ 74 h 305"/>
                <a:gd name="T72" fmla="*/ 242 w 278"/>
                <a:gd name="T73" fmla="*/ 96 h 305"/>
                <a:gd name="T74" fmla="*/ 95 w 278"/>
                <a:gd name="T75" fmla="*/ 305 h 305"/>
                <a:gd name="T76" fmla="*/ 95 w 278"/>
                <a:gd name="T77" fmla="*/ 263 h 305"/>
                <a:gd name="T78" fmla="*/ 232 w 278"/>
                <a:gd name="T79" fmla="*/ 284 h 305"/>
                <a:gd name="T80" fmla="*/ 190 w 278"/>
                <a:gd name="T81" fmla="*/ 284 h 305"/>
                <a:gd name="T82" fmla="*/ 232 w 278"/>
                <a:gd name="T83" fmla="*/ 284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305">
                  <a:moveTo>
                    <a:pt x="278" y="59"/>
                  </a:moveTo>
                  <a:cubicBezTo>
                    <a:pt x="278" y="58"/>
                    <a:pt x="278" y="57"/>
                    <a:pt x="278" y="57"/>
                  </a:cubicBezTo>
                  <a:cubicBezTo>
                    <a:pt x="278" y="56"/>
                    <a:pt x="278" y="56"/>
                    <a:pt x="278" y="56"/>
                  </a:cubicBezTo>
                  <a:cubicBezTo>
                    <a:pt x="277" y="55"/>
                    <a:pt x="277" y="55"/>
                    <a:pt x="277" y="54"/>
                  </a:cubicBezTo>
                  <a:cubicBezTo>
                    <a:pt x="277" y="54"/>
                    <a:pt x="277" y="53"/>
                    <a:pt x="277" y="53"/>
                  </a:cubicBezTo>
                  <a:cubicBezTo>
                    <a:pt x="276" y="52"/>
                    <a:pt x="276" y="52"/>
                    <a:pt x="276" y="52"/>
                  </a:cubicBezTo>
                  <a:cubicBezTo>
                    <a:pt x="276" y="51"/>
                    <a:pt x="275" y="51"/>
                    <a:pt x="275" y="50"/>
                  </a:cubicBezTo>
                  <a:cubicBezTo>
                    <a:pt x="275" y="50"/>
                    <a:pt x="275" y="50"/>
                    <a:pt x="274" y="49"/>
                  </a:cubicBezTo>
                  <a:cubicBezTo>
                    <a:pt x="274" y="49"/>
                    <a:pt x="274" y="48"/>
                    <a:pt x="273" y="48"/>
                  </a:cubicBezTo>
                  <a:cubicBezTo>
                    <a:pt x="273" y="48"/>
                    <a:pt x="273" y="48"/>
                    <a:pt x="272" y="47"/>
                  </a:cubicBezTo>
                  <a:cubicBezTo>
                    <a:pt x="272" y="47"/>
                    <a:pt x="271" y="47"/>
                    <a:pt x="271" y="46"/>
                  </a:cubicBezTo>
                  <a:cubicBezTo>
                    <a:pt x="271" y="46"/>
                    <a:pt x="270" y="46"/>
                    <a:pt x="270" y="46"/>
                  </a:cubicBezTo>
                  <a:cubicBezTo>
                    <a:pt x="269" y="45"/>
                    <a:pt x="269" y="45"/>
                    <a:pt x="268" y="45"/>
                  </a:cubicBezTo>
                  <a:cubicBezTo>
                    <a:pt x="268" y="45"/>
                    <a:pt x="268" y="45"/>
                    <a:pt x="267" y="45"/>
                  </a:cubicBezTo>
                  <a:cubicBezTo>
                    <a:pt x="267" y="44"/>
                    <a:pt x="266" y="44"/>
                    <a:pt x="266" y="44"/>
                  </a:cubicBezTo>
                  <a:cubicBezTo>
                    <a:pt x="265" y="44"/>
                    <a:pt x="265" y="44"/>
                    <a:pt x="265" y="44"/>
                  </a:cubicBezTo>
                  <a:cubicBezTo>
                    <a:pt x="265" y="44"/>
                    <a:pt x="264" y="44"/>
                    <a:pt x="264" y="44"/>
                  </a:cubicBezTo>
                  <a:cubicBezTo>
                    <a:pt x="264" y="44"/>
                    <a:pt x="263" y="44"/>
                    <a:pt x="263" y="44"/>
                  </a:cubicBezTo>
                  <a:cubicBezTo>
                    <a:pt x="39" y="44"/>
                    <a:pt x="39" y="44"/>
                    <a:pt x="39" y="44"/>
                  </a:cubicBezTo>
                  <a:cubicBezTo>
                    <a:pt x="32" y="13"/>
                    <a:pt x="32" y="13"/>
                    <a:pt x="32" y="13"/>
                  </a:cubicBezTo>
                  <a:cubicBezTo>
                    <a:pt x="29" y="5"/>
                    <a:pt x="21" y="0"/>
                    <a:pt x="13" y="2"/>
                  </a:cubicBezTo>
                  <a:cubicBezTo>
                    <a:pt x="5" y="5"/>
                    <a:pt x="0" y="13"/>
                    <a:pt x="2" y="21"/>
                  </a:cubicBezTo>
                  <a:cubicBezTo>
                    <a:pt x="62" y="255"/>
                    <a:pt x="62" y="255"/>
                    <a:pt x="62" y="255"/>
                  </a:cubicBezTo>
                  <a:cubicBezTo>
                    <a:pt x="63" y="255"/>
                    <a:pt x="63" y="256"/>
                    <a:pt x="63" y="256"/>
                  </a:cubicBezTo>
                  <a:cubicBezTo>
                    <a:pt x="63" y="256"/>
                    <a:pt x="63" y="257"/>
                    <a:pt x="63" y="257"/>
                  </a:cubicBezTo>
                  <a:cubicBezTo>
                    <a:pt x="64" y="258"/>
                    <a:pt x="64" y="259"/>
                    <a:pt x="65" y="259"/>
                  </a:cubicBezTo>
                  <a:cubicBezTo>
                    <a:pt x="65" y="259"/>
                    <a:pt x="65" y="259"/>
                    <a:pt x="65" y="259"/>
                  </a:cubicBezTo>
                  <a:cubicBezTo>
                    <a:pt x="65" y="260"/>
                    <a:pt x="66" y="261"/>
                    <a:pt x="66" y="261"/>
                  </a:cubicBezTo>
                  <a:cubicBezTo>
                    <a:pt x="66" y="262"/>
                    <a:pt x="67" y="262"/>
                    <a:pt x="67" y="262"/>
                  </a:cubicBezTo>
                  <a:cubicBezTo>
                    <a:pt x="67" y="262"/>
                    <a:pt x="68" y="263"/>
                    <a:pt x="68" y="263"/>
                  </a:cubicBezTo>
                  <a:cubicBezTo>
                    <a:pt x="69" y="263"/>
                    <a:pt x="69" y="264"/>
                    <a:pt x="69" y="264"/>
                  </a:cubicBezTo>
                  <a:cubicBezTo>
                    <a:pt x="70" y="264"/>
                    <a:pt x="70" y="264"/>
                    <a:pt x="71" y="265"/>
                  </a:cubicBezTo>
                  <a:cubicBezTo>
                    <a:pt x="71" y="265"/>
                    <a:pt x="71" y="265"/>
                    <a:pt x="72" y="265"/>
                  </a:cubicBezTo>
                  <a:cubicBezTo>
                    <a:pt x="72" y="265"/>
                    <a:pt x="72" y="265"/>
                    <a:pt x="72" y="265"/>
                  </a:cubicBezTo>
                  <a:cubicBezTo>
                    <a:pt x="77" y="258"/>
                    <a:pt x="86" y="254"/>
                    <a:pt x="95" y="254"/>
                  </a:cubicBezTo>
                  <a:cubicBezTo>
                    <a:pt x="105" y="254"/>
                    <a:pt x="113" y="259"/>
                    <a:pt x="119" y="266"/>
                  </a:cubicBezTo>
                  <a:cubicBezTo>
                    <a:pt x="187" y="266"/>
                    <a:pt x="187" y="266"/>
                    <a:pt x="187" y="266"/>
                  </a:cubicBezTo>
                  <a:cubicBezTo>
                    <a:pt x="193" y="259"/>
                    <a:pt x="201" y="254"/>
                    <a:pt x="211" y="254"/>
                  </a:cubicBezTo>
                  <a:cubicBezTo>
                    <a:pt x="221" y="254"/>
                    <a:pt x="229" y="259"/>
                    <a:pt x="235" y="266"/>
                  </a:cubicBezTo>
                  <a:cubicBezTo>
                    <a:pt x="242" y="265"/>
                    <a:pt x="248" y="259"/>
                    <a:pt x="248" y="251"/>
                  </a:cubicBezTo>
                  <a:cubicBezTo>
                    <a:pt x="248" y="243"/>
                    <a:pt x="241" y="236"/>
                    <a:pt x="233" y="236"/>
                  </a:cubicBezTo>
                  <a:cubicBezTo>
                    <a:pt x="89" y="236"/>
                    <a:pt x="89" y="236"/>
                    <a:pt x="89" y="236"/>
                  </a:cubicBezTo>
                  <a:cubicBezTo>
                    <a:pt x="74" y="179"/>
                    <a:pt x="74" y="179"/>
                    <a:pt x="74" y="179"/>
                  </a:cubicBezTo>
                  <a:cubicBezTo>
                    <a:pt x="248" y="179"/>
                    <a:pt x="248" y="179"/>
                    <a:pt x="248" y="179"/>
                  </a:cubicBezTo>
                  <a:cubicBezTo>
                    <a:pt x="248" y="179"/>
                    <a:pt x="248" y="179"/>
                    <a:pt x="248" y="179"/>
                  </a:cubicBezTo>
                  <a:cubicBezTo>
                    <a:pt x="249" y="179"/>
                    <a:pt x="250" y="179"/>
                    <a:pt x="251" y="179"/>
                  </a:cubicBezTo>
                  <a:cubicBezTo>
                    <a:pt x="251" y="179"/>
                    <a:pt x="251" y="179"/>
                    <a:pt x="252" y="178"/>
                  </a:cubicBezTo>
                  <a:cubicBezTo>
                    <a:pt x="252" y="178"/>
                    <a:pt x="253" y="178"/>
                    <a:pt x="254" y="178"/>
                  </a:cubicBezTo>
                  <a:cubicBezTo>
                    <a:pt x="254" y="178"/>
                    <a:pt x="254" y="178"/>
                    <a:pt x="255" y="177"/>
                  </a:cubicBezTo>
                  <a:cubicBezTo>
                    <a:pt x="255" y="177"/>
                    <a:pt x="256" y="177"/>
                    <a:pt x="256" y="177"/>
                  </a:cubicBezTo>
                  <a:cubicBezTo>
                    <a:pt x="256" y="176"/>
                    <a:pt x="257" y="176"/>
                    <a:pt x="257" y="176"/>
                  </a:cubicBezTo>
                  <a:cubicBezTo>
                    <a:pt x="257" y="176"/>
                    <a:pt x="258" y="175"/>
                    <a:pt x="258" y="175"/>
                  </a:cubicBezTo>
                  <a:cubicBezTo>
                    <a:pt x="259" y="175"/>
                    <a:pt x="259" y="174"/>
                    <a:pt x="259" y="174"/>
                  </a:cubicBezTo>
                  <a:cubicBezTo>
                    <a:pt x="259" y="174"/>
                    <a:pt x="260" y="173"/>
                    <a:pt x="260" y="173"/>
                  </a:cubicBezTo>
                  <a:cubicBezTo>
                    <a:pt x="260" y="173"/>
                    <a:pt x="261" y="172"/>
                    <a:pt x="261" y="172"/>
                  </a:cubicBezTo>
                  <a:cubicBezTo>
                    <a:pt x="261" y="171"/>
                    <a:pt x="261" y="171"/>
                    <a:pt x="261" y="170"/>
                  </a:cubicBezTo>
                  <a:cubicBezTo>
                    <a:pt x="262" y="170"/>
                    <a:pt x="262" y="170"/>
                    <a:pt x="262" y="169"/>
                  </a:cubicBezTo>
                  <a:cubicBezTo>
                    <a:pt x="262" y="169"/>
                    <a:pt x="262" y="168"/>
                    <a:pt x="262" y="168"/>
                  </a:cubicBezTo>
                  <a:cubicBezTo>
                    <a:pt x="263" y="167"/>
                    <a:pt x="263" y="167"/>
                    <a:pt x="263" y="167"/>
                  </a:cubicBezTo>
                  <a:cubicBezTo>
                    <a:pt x="263" y="166"/>
                    <a:pt x="263" y="166"/>
                    <a:pt x="263" y="166"/>
                  </a:cubicBezTo>
                  <a:cubicBezTo>
                    <a:pt x="278" y="61"/>
                    <a:pt x="278" y="61"/>
                    <a:pt x="278" y="61"/>
                  </a:cubicBezTo>
                  <a:cubicBezTo>
                    <a:pt x="278" y="61"/>
                    <a:pt x="278" y="60"/>
                    <a:pt x="278" y="60"/>
                  </a:cubicBezTo>
                  <a:cubicBezTo>
                    <a:pt x="278" y="60"/>
                    <a:pt x="278" y="59"/>
                    <a:pt x="278" y="59"/>
                  </a:cubicBezTo>
                  <a:cubicBezTo>
                    <a:pt x="278" y="59"/>
                    <a:pt x="278" y="59"/>
                    <a:pt x="278" y="59"/>
                  </a:cubicBezTo>
                  <a:close/>
                  <a:moveTo>
                    <a:pt x="235" y="149"/>
                  </a:moveTo>
                  <a:cubicBezTo>
                    <a:pt x="66" y="149"/>
                    <a:pt x="66" y="149"/>
                    <a:pt x="66" y="149"/>
                  </a:cubicBezTo>
                  <a:cubicBezTo>
                    <a:pt x="61" y="126"/>
                    <a:pt x="61" y="126"/>
                    <a:pt x="61" y="126"/>
                  </a:cubicBezTo>
                  <a:cubicBezTo>
                    <a:pt x="238" y="126"/>
                    <a:pt x="238" y="126"/>
                    <a:pt x="238" y="126"/>
                  </a:cubicBezTo>
                  <a:lnTo>
                    <a:pt x="235" y="149"/>
                  </a:lnTo>
                  <a:close/>
                  <a:moveTo>
                    <a:pt x="242" y="96"/>
                  </a:moveTo>
                  <a:cubicBezTo>
                    <a:pt x="53" y="96"/>
                    <a:pt x="53" y="96"/>
                    <a:pt x="53" y="96"/>
                  </a:cubicBezTo>
                  <a:cubicBezTo>
                    <a:pt x="47" y="74"/>
                    <a:pt x="47" y="74"/>
                    <a:pt x="47" y="74"/>
                  </a:cubicBezTo>
                  <a:cubicBezTo>
                    <a:pt x="246" y="74"/>
                    <a:pt x="246" y="74"/>
                    <a:pt x="246" y="74"/>
                  </a:cubicBezTo>
                  <a:lnTo>
                    <a:pt x="242" y="96"/>
                  </a:lnTo>
                  <a:close/>
                  <a:moveTo>
                    <a:pt x="116" y="284"/>
                  </a:moveTo>
                  <a:cubicBezTo>
                    <a:pt x="116" y="296"/>
                    <a:pt x="107" y="305"/>
                    <a:pt x="95" y="305"/>
                  </a:cubicBezTo>
                  <a:cubicBezTo>
                    <a:pt x="83" y="305"/>
                    <a:pt x="74" y="296"/>
                    <a:pt x="74" y="284"/>
                  </a:cubicBezTo>
                  <a:cubicBezTo>
                    <a:pt x="74" y="272"/>
                    <a:pt x="83" y="263"/>
                    <a:pt x="95" y="263"/>
                  </a:cubicBezTo>
                  <a:cubicBezTo>
                    <a:pt x="107" y="263"/>
                    <a:pt x="116" y="272"/>
                    <a:pt x="116" y="284"/>
                  </a:cubicBezTo>
                  <a:close/>
                  <a:moveTo>
                    <a:pt x="232" y="284"/>
                  </a:moveTo>
                  <a:cubicBezTo>
                    <a:pt x="232" y="296"/>
                    <a:pt x="223" y="305"/>
                    <a:pt x="211" y="305"/>
                  </a:cubicBezTo>
                  <a:cubicBezTo>
                    <a:pt x="200" y="305"/>
                    <a:pt x="190" y="296"/>
                    <a:pt x="190" y="284"/>
                  </a:cubicBezTo>
                  <a:cubicBezTo>
                    <a:pt x="190" y="272"/>
                    <a:pt x="200" y="263"/>
                    <a:pt x="211" y="263"/>
                  </a:cubicBezTo>
                  <a:cubicBezTo>
                    <a:pt x="223" y="263"/>
                    <a:pt x="232" y="272"/>
                    <a:pt x="232" y="2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200" dirty="0"/>
            </a:p>
          </p:txBody>
        </p:sp>
      </p:grpSp>
      <p:grpSp>
        <p:nvGrpSpPr>
          <p:cNvPr id="44" name="Group 43"/>
          <p:cNvGrpSpPr/>
          <p:nvPr/>
        </p:nvGrpSpPr>
        <p:grpSpPr>
          <a:xfrm>
            <a:off x="3943583" y="2494994"/>
            <a:ext cx="778304" cy="742560"/>
            <a:chOff x="5332941" y="3326675"/>
            <a:chExt cx="1037468" cy="990081"/>
          </a:xfrm>
        </p:grpSpPr>
        <p:sp>
          <p:nvSpPr>
            <p:cNvPr id="8" name="TextBox 7"/>
            <p:cNvSpPr txBox="1"/>
            <p:nvPr/>
          </p:nvSpPr>
          <p:spPr>
            <a:xfrm>
              <a:off x="5332941" y="3865351"/>
              <a:ext cx="1037468" cy="451405"/>
            </a:xfrm>
            <a:prstGeom prst="rect">
              <a:avLst/>
            </a:prstGeom>
            <a:noFill/>
          </p:spPr>
          <p:txBody>
            <a:bodyPr wrap="square" rtlCol="0">
              <a:spAutoFit/>
            </a:bodyPr>
            <a:lstStyle/>
            <a:p>
              <a:pPr algn="ctr"/>
              <a:r>
                <a:rPr lang="en-US" sz="800" b="1" dirty="0">
                  <a:latin typeface="Segoe WP Light"/>
                </a:rPr>
                <a:t>Assurance</a:t>
              </a:r>
              <a:br>
                <a:rPr lang="en-US" sz="800" b="1" dirty="0">
                  <a:latin typeface="Segoe WP Light"/>
                </a:rPr>
              </a:br>
              <a:r>
                <a:rPr lang="en-US" sz="800" b="1" dirty="0">
                  <a:latin typeface="Segoe WP Light"/>
                </a:rPr>
                <a:t>Methods</a:t>
              </a:r>
            </a:p>
          </p:txBody>
        </p:sp>
        <p:pic>
          <p:nvPicPr>
            <p:cNvPr id="11" name="Picture 10" descr="C:\Users\sakuu\Documents\Ballmer MGX 2011\Tile Icons\Promote Add.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5714436" y="3326675"/>
              <a:ext cx="278948" cy="44537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2" name="Group 41"/>
          <p:cNvGrpSpPr/>
          <p:nvPr/>
        </p:nvGrpSpPr>
        <p:grpSpPr>
          <a:xfrm>
            <a:off x="2880040" y="2515275"/>
            <a:ext cx="778304" cy="722308"/>
            <a:chOff x="2330500" y="3353681"/>
            <a:chExt cx="1037468" cy="963072"/>
          </a:xfrm>
        </p:grpSpPr>
        <p:sp>
          <p:nvSpPr>
            <p:cNvPr id="7" name="TextBox 6"/>
            <p:cNvSpPr txBox="1"/>
            <p:nvPr/>
          </p:nvSpPr>
          <p:spPr>
            <a:xfrm>
              <a:off x="2330500" y="3865350"/>
              <a:ext cx="1037468" cy="451403"/>
            </a:xfrm>
            <a:prstGeom prst="rect">
              <a:avLst/>
            </a:prstGeom>
            <a:noFill/>
          </p:spPr>
          <p:txBody>
            <a:bodyPr wrap="square" rtlCol="0">
              <a:spAutoFit/>
            </a:bodyPr>
            <a:lstStyle/>
            <a:p>
              <a:pPr algn="ctr"/>
              <a:r>
                <a:rPr lang="en-US" sz="800" b="1" dirty="0">
                  <a:latin typeface="Segoe WP Light"/>
                </a:rPr>
                <a:t>Security</a:t>
              </a:r>
              <a:br>
                <a:rPr lang="en-US" sz="800" b="1" dirty="0">
                  <a:latin typeface="Segoe WP Light"/>
                </a:rPr>
              </a:br>
              <a:r>
                <a:rPr lang="en-US" sz="800" b="1" dirty="0">
                  <a:latin typeface="Segoe WP Light"/>
                </a:rPr>
                <a:t>Protocols</a:t>
              </a:r>
            </a:p>
          </p:txBody>
        </p:sp>
        <p:grpSp>
          <p:nvGrpSpPr>
            <p:cNvPr id="12" name="Group 11"/>
            <p:cNvGrpSpPr/>
            <p:nvPr/>
          </p:nvGrpSpPr>
          <p:grpSpPr>
            <a:xfrm>
              <a:off x="2564905" y="3353681"/>
              <a:ext cx="568657" cy="418370"/>
              <a:chOff x="2491907" y="3179510"/>
              <a:chExt cx="662981" cy="487766"/>
            </a:xfrm>
          </p:grpSpPr>
          <p:cxnSp>
            <p:nvCxnSpPr>
              <p:cNvPr id="13" name="Straight Arrow Connector 12"/>
              <p:cNvCxnSpPr/>
              <p:nvPr/>
            </p:nvCxnSpPr>
            <p:spPr>
              <a:xfrm>
                <a:off x="2491907" y="3262744"/>
                <a:ext cx="662981" cy="0"/>
              </a:xfrm>
              <a:prstGeom prst="straightConnector1">
                <a:avLst/>
              </a:prstGeom>
              <a:solidFill>
                <a:schemeClr val="tx1"/>
              </a:solidFill>
              <a:ln w="127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flipH="1">
                <a:off x="2491907" y="3383071"/>
                <a:ext cx="662981" cy="0"/>
              </a:xfrm>
              <a:prstGeom prst="straightConnector1">
                <a:avLst/>
              </a:prstGeom>
              <a:solidFill>
                <a:schemeClr val="tx1"/>
              </a:solidFill>
              <a:ln w="127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2491907" y="3503398"/>
                <a:ext cx="662981" cy="0"/>
              </a:xfrm>
              <a:prstGeom prst="straightConnector1">
                <a:avLst/>
              </a:prstGeom>
              <a:solidFill>
                <a:schemeClr val="tx1"/>
              </a:solidFill>
              <a:ln w="127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H="1">
                <a:off x="2491907" y="3623725"/>
                <a:ext cx="662981" cy="0"/>
              </a:xfrm>
              <a:prstGeom prst="straightConnector1">
                <a:avLst/>
              </a:prstGeom>
              <a:solidFill>
                <a:schemeClr val="tx1"/>
              </a:solidFill>
              <a:ln w="127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7" name="5-Point Star 16"/>
              <p:cNvSpPr/>
              <p:nvPr/>
            </p:nvSpPr>
            <p:spPr>
              <a:xfrm>
                <a:off x="2885507" y="3179510"/>
                <a:ext cx="138793" cy="138793"/>
              </a:xfrm>
              <a:prstGeom prst="star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Isosceles Triangle 17"/>
              <p:cNvSpPr/>
              <p:nvPr/>
            </p:nvSpPr>
            <p:spPr>
              <a:xfrm>
                <a:off x="2862743" y="3555778"/>
                <a:ext cx="129338" cy="111498"/>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Hexagon 18"/>
              <p:cNvSpPr/>
              <p:nvPr/>
            </p:nvSpPr>
            <p:spPr>
              <a:xfrm>
                <a:off x="2598352" y="3441578"/>
                <a:ext cx="125116" cy="107858"/>
              </a:xfrm>
              <a:prstGeom prst="hexago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Oval 19"/>
              <p:cNvSpPr/>
              <p:nvPr/>
            </p:nvSpPr>
            <p:spPr>
              <a:xfrm>
                <a:off x="2752183" y="3322419"/>
                <a:ext cx="107858" cy="10785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43" name="Group 42"/>
          <p:cNvGrpSpPr/>
          <p:nvPr/>
        </p:nvGrpSpPr>
        <p:grpSpPr>
          <a:xfrm>
            <a:off x="1691165" y="2512866"/>
            <a:ext cx="903636" cy="760059"/>
            <a:chOff x="3748188" y="3303342"/>
            <a:chExt cx="1204534" cy="1013413"/>
          </a:xfrm>
        </p:grpSpPr>
        <p:sp>
          <p:nvSpPr>
            <p:cNvPr id="9" name="TextBox 8"/>
            <p:cNvSpPr txBox="1"/>
            <p:nvPr/>
          </p:nvSpPr>
          <p:spPr>
            <a:xfrm>
              <a:off x="3748188" y="3865350"/>
              <a:ext cx="1204534" cy="451405"/>
            </a:xfrm>
            <a:prstGeom prst="rect">
              <a:avLst/>
            </a:prstGeom>
            <a:noFill/>
          </p:spPr>
          <p:txBody>
            <a:bodyPr wrap="square" rtlCol="0">
              <a:spAutoFit/>
            </a:bodyPr>
            <a:lstStyle/>
            <a:p>
              <a:pPr algn="ctr"/>
              <a:r>
                <a:rPr lang="en-US" sz="800" b="1" dirty="0">
                  <a:latin typeface="Segoe WP Light"/>
                </a:rPr>
                <a:t>Supported</a:t>
              </a:r>
            </a:p>
            <a:p>
              <a:pPr algn="ctr"/>
              <a:r>
                <a:rPr lang="en-US" sz="800" b="1" dirty="0">
                  <a:latin typeface="Segoe WP Light"/>
                </a:rPr>
                <a:t>Sources</a:t>
              </a:r>
            </a:p>
          </p:txBody>
        </p:sp>
        <p:grpSp>
          <p:nvGrpSpPr>
            <p:cNvPr id="21" name="Group 20"/>
            <p:cNvGrpSpPr/>
            <p:nvPr/>
          </p:nvGrpSpPr>
          <p:grpSpPr>
            <a:xfrm>
              <a:off x="4117130" y="3303342"/>
              <a:ext cx="466650" cy="468709"/>
              <a:chOff x="4151208" y="3215795"/>
              <a:chExt cx="466650" cy="468709"/>
            </a:xfrm>
          </p:grpSpPr>
          <p:sp>
            <p:nvSpPr>
              <p:cNvPr id="22" name="Freeform 21"/>
              <p:cNvSpPr>
                <a:spLocks/>
              </p:cNvSpPr>
              <p:nvPr/>
            </p:nvSpPr>
            <p:spPr bwMode="black">
              <a:xfrm rot="2700000">
                <a:off x="4210815" y="3156188"/>
                <a:ext cx="347435" cy="466650"/>
              </a:xfrm>
              <a:custGeom>
                <a:avLst/>
                <a:gdLst>
                  <a:gd name="T0" fmla="*/ 30 w 62"/>
                  <a:gd name="T1" fmla="*/ 81 h 83"/>
                  <a:gd name="T2" fmla="*/ 9 w 62"/>
                  <a:gd name="T3" fmla="*/ 56 h 83"/>
                  <a:gd name="T4" fmla="*/ 35 w 62"/>
                  <a:gd name="T5" fmla="*/ 31 h 83"/>
                  <a:gd name="T6" fmla="*/ 35 w 62"/>
                  <a:gd name="T7" fmla="*/ 47 h 83"/>
                  <a:gd name="T8" fmla="*/ 62 w 62"/>
                  <a:gd name="T9" fmla="*/ 23 h 83"/>
                  <a:gd name="T10" fmla="*/ 35 w 62"/>
                  <a:gd name="T11" fmla="*/ 0 h 83"/>
                  <a:gd name="T12" fmla="*/ 35 w 62"/>
                  <a:gd name="T13" fmla="*/ 15 h 83"/>
                  <a:gd name="T14" fmla="*/ 34 w 62"/>
                  <a:gd name="T15" fmla="*/ 15 h 83"/>
                  <a:gd name="T16" fmla="*/ 0 w 62"/>
                  <a:gd name="T17" fmla="*/ 50 h 83"/>
                  <a:gd name="T18" fmla="*/ 30 w 62"/>
                  <a:gd name="T19" fmla="*/ 83 h 83"/>
                  <a:gd name="T20" fmla="*/ 30 w 62"/>
                  <a:gd name="T21" fmla="*/ 8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83">
                    <a:moveTo>
                      <a:pt x="30" y="81"/>
                    </a:moveTo>
                    <a:cubicBezTo>
                      <a:pt x="18" y="78"/>
                      <a:pt x="9" y="68"/>
                      <a:pt x="9" y="56"/>
                    </a:cubicBezTo>
                    <a:cubicBezTo>
                      <a:pt x="9" y="42"/>
                      <a:pt x="20" y="32"/>
                      <a:pt x="35" y="31"/>
                    </a:cubicBezTo>
                    <a:cubicBezTo>
                      <a:pt x="35" y="47"/>
                      <a:pt x="35" y="47"/>
                      <a:pt x="35" y="47"/>
                    </a:cubicBezTo>
                    <a:cubicBezTo>
                      <a:pt x="62" y="23"/>
                      <a:pt x="62" y="23"/>
                      <a:pt x="62" y="23"/>
                    </a:cubicBezTo>
                    <a:cubicBezTo>
                      <a:pt x="35" y="0"/>
                      <a:pt x="35" y="0"/>
                      <a:pt x="35" y="0"/>
                    </a:cubicBezTo>
                    <a:cubicBezTo>
                      <a:pt x="35" y="15"/>
                      <a:pt x="35" y="15"/>
                      <a:pt x="35" y="15"/>
                    </a:cubicBezTo>
                    <a:cubicBezTo>
                      <a:pt x="35" y="15"/>
                      <a:pt x="35" y="15"/>
                      <a:pt x="34" y="15"/>
                    </a:cubicBezTo>
                    <a:cubicBezTo>
                      <a:pt x="16" y="15"/>
                      <a:pt x="0" y="31"/>
                      <a:pt x="0" y="50"/>
                    </a:cubicBezTo>
                    <a:cubicBezTo>
                      <a:pt x="0" y="67"/>
                      <a:pt x="13" y="81"/>
                      <a:pt x="30" y="83"/>
                    </a:cubicBezTo>
                    <a:lnTo>
                      <a:pt x="30" y="81"/>
                    </a:ln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85693">
                  <a:defRPr/>
                </a:pPr>
                <a:endParaRPr lang="en-US" sz="1400" dirty="0">
                  <a:solidFill>
                    <a:srgbClr val="FFFFFF"/>
                  </a:solidFill>
                  <a:latin typeface="Segoe UI"/>
                </a:endParaRPr>
              </a:p>
            </p:txBody>
          </p:sp>
          <p:sp>
            <p:nvSpPr>
              <p:cNvPr id="23" name="Oval 22"/>
              <p:cNvSpPr/>
              <p:nvPr/>
            </p:nvSpPr>
            <p:spPr>
              <a:xfrm>
                <a:off x="4189412" y="3562946"/>
                <a:ext cx="121558" cy="12155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Oval 23"/>
              <p:cNvSpPr/>
              <p:nvPr/>
            </p:nvSpPr>
            <p:spPr>
              <a:xfrm>
                <a:off x="4327982" y="3562946"/>
                <a:ext cx="121558" cy="12155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Oval 24"/>
              <p:cNvSpPr/>
              <p:nvPr/>
            </p:nvSpPr>
            <p:spPr>
              <a:xfrm>
                <a:off x="4463732" y="3562946"/>
                <a:ext cx="121558" cy="12155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26" name="Rectangle 25"/>
          <p:cNvSpPr/>
          <p:nvPr/>
        </p:nvSpPr>
        <p:spPr bwMode="auto">
          <a:xfrm>
            <a:off x="1588363" y="976003"/>
            <a:ext cx="1066120" cy="896901"/>
          </a:xfrm>
          <a:prstGeom prst="rect">
            <a:avLst/>
          </a:prstGeom>
          <a:solidFill>
            <a:schemeClr val="accent1"/>
          </a:solidFill>
          <a:ln w="28575" cap="flat" cmpd="sng" algn="ctr">
            <a:solidFill>
              <a:schemeClr val="tx1"/>
            </a:solidFill>
            <a:prstDash val="solid"/>
            <a:headEnd type="none" w="med" len="med"/>
            <a:tailEnd type="none" w="med" len="med"/>
          </a:ln>
          <a:effectLst/>
        </p:spPr>
        <p:txBody>
          <a:bodyPr rot="0" spcFirstLastPara="0" vertOverflow="overflow" horzOverflow="overflow" vert="horz" wrap="square" lIns="51450" tIns="25725" rIns="25725" bIns="51450" numCol="1" spcCol="0" rtlCol="0" fromWordArt="0" anchor="t" anchorCtr="0" forceAA="0" compatLnSpc="1">
            <a:prstTxWarp prst="textNoShape">
              <a:avLst/>
            </a:prstTxWarp>
            <a:noAutofit/>
          </a:bodyPr>
          <a:lstStyle/>
          <a:p>
            <a:pPr marL="214287" indent="-214287">
              <a:buFont typeface="Arial" pitchFamily="34" charset="0"/>
              <a:buChar char="•"/>
            </a:pPr>
            <a:endParaRPr lang="en-US" dirty="0" smtClean="0"/>
          </a:p>
        </p:txBody>
      </p:sp>
      <p:sp>
        <p:nvSpPr>
          <p:cNvPr id="28" name="Rectangle 27"/>
          <p:cNvSpPr/>
          <p:nvPr/>
        </p:nvSpPr>
        <p:spPr bwMode="auto">
          <a:xfrm>
            <a:off x="1588369" y="1872563"/>
            <a:ext cx="1059475" cy="166017"/>
          </a:xfrm>
          <a:prstGeom prst="rect">
            <a:avLst/>
          </a:prstGeom>
          <a:solidFill>
            <a:schemeClr val="tx1"/>
          </a:solidFill>
          <a:ln w="28575" cap="flat" cmpd="sng" algn="ctr">
            <a:solidFill>
              <a:schemeClr val="tx1"/>
            </a:solidFill>
            <a:prstDash val="solid"/>
            <a:headEnd type="none" w="med" len="med"/>
            <a:tailEnd type="none" w="med" len="med"/>
          </a:ln>
          <a:effectLst/>
        </p:spPr>
        <p:txBody>
          <a:bodyPr rot="0" spcFirstLastPara="0" vertOverflow="overflow" horzOverflow="overflow" vert="horz" wrap="square" lIns="51450" tIns="25725" rIns="25725" bIns="51450" numCol="1" spcCol="0" rtlCol="0" fromWordArt="0" anchor="t" anchorCtr="0" forceAA="0" compatLnSpc="1">
            <a:prstTxWarp prst="textNoShape">
              <a:avLst/>
            </a:prstTxWarp>
            <a:noAutofit/>
          </a:bodyPr>
          <a:lstStyle/>
          <a:p>
            <a:pPr algn="ctr"/>
            <a:r>
              <a:rPr lang="en-US" sz="800" b="1" dirty="0">
                <a:solidFill>
                  <a:schemeClr val="accent1"/>
                </a:solidFill>
                <a:latin typeface="Segoe UI Light" pitchFamily="34" charset="0"/>
              </a:rPr>
              <a:t>AUTHENTICATION</a:t>
            </a:r>
          </a:p>
          <a:p>
            <a:pPr fontAlgn="base">
              <a:spcBef>
                <a:spcPct val="0"/>
              </a:spcBef>
              <a:spcAft>
                <a:spcPct val="0"/>
              </a:spcAft>
            </a:pPr>
            <a:endParaRPr lang="en-US" sz="800" b="1" kern="0" spc="-29" dirty="0">
              <a:solidFill>
                <a:schemeClr val="accent1"/>
              </a:solidFill>
              <a:latin typeface="Segoe WP" pitchFamily="34" charset="0"/>
              <a:ea typeface="Segoe UI" pitchFamily="34" charset="0"/>
              <a:cs typeface="Segoe UI" pitchFamily="34" charset="0"/>
            </a:endParaRPr>
          </a:p>
        </p:txBody>
      </p:sp>
      <p:sp>
        <p:nvSpPr>
          <p:cNvPr id="29" name="Freeform 28"/>
          <p:cNvSpPr>
            <a:spLocks noEditPoints="1"/>
          </p:cNvSpPr>
          <p:nvPr/>
        </p:nvSpPr>
        <p:spPr bwMode="black">
          <a:xfrm>
            <a:off x="1945770" y="1170984"/>
            <a:ext cx="344662" cy="477716"/>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p:spPr>
        <p:txBody>
          <a:bodyPr vert="horz" wrap="square" lIns="61720" tIns="30860" rIns="61720" bIns="3086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200" dirty="0"/>
          </a:p>
        </p:txBody>
      </p:sp>
      <p:sp>
        <p:nvSpPr>
          <p:cNvPr id="30" name="TextBox 29"/>
          <p:cNvSpPr txBox="1"/>
          <p:nvPr/>
        </p:nvSpPr>
        <p:spPr>
          <a:xfrm>
            <a:off x="3853634" y="1870270"/>
            <a:ext cx="1059475" cy="168308"/>
          </a:xfrm>
          <a:prstGeom prst="rect">
            <a:avLst/>
          </a:prstGeom>
          <a:noFill/>
          <a:ln w="28575">
            <a:solidFill>
              <a:schemeClr val="tx1"/>
            </a:solidFill>
          </a:ln>
        </p:spPr>
        <p:txBody>
          <a:bodyPr wrap="square" lIns="68571" tIns="34286" rIns="68571" bIns="34286" rtlCol="0" anchor="b">
            <a:noAutofit/>
          </a:bodyPr>
          <a:lstStyle/>
          <a:p>
            <a:endParaRPr lang="en-US" dirty="0">
              <a:solidFill>
                <a:schemeClr val="bg2">
                  <a:lumMod val="50000"/>
                </a:schemeClr>
              </a:solidFill>
            </a:endParaRPr>
          </a:p>
        </p:txBody>
      </p:sp>
      <p:sp>
        <p:nvSpPr>
          <p:cNvPr id="31" name="Rectangle 30"/>
          <p:cNvSpPr/>
          <p:nvPr/>
        </p:nvSpPr>
        <p:spPr bwMode="auto">
          <a:xfrm>
            <a:off x="3853634" y="1870270"/>
            <a:ext cx="1059475" cy="165674"/>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51450" tIns="25725" rIns="25725" bIns="51450" numCol="1" spcCol="0" rtlCol="0" fromWordArt="0" anchor="t" anchorCtr="0" forceAA="0" compatLnSpc="1">
            <a:prstTxWarp prst="textNoShape">
              <a:avLst/>
            </a:prstTxWarp>
            <a:noAutofit/>
          </a:bodyPr>
          <a:lstStyle/>
          <a:p>
            <a:pPr algn="ctr"/>
            <a:r>
              <a:rPr lang="en-US" sz="800" b="1" dirty="0">
                <a:solidFill>
                  <a:schemeClr val="accent1"/>
                </a:solidFill>
                <a:latin typeface="Segoe UI Light" pitchFamily="34" charset="0"/>
              </a:rPr>
              <a:t>AUDIT</a:t>
            </a:r>
          </a:p>
          <a:p>
            <a:pPr fontAlgn="base">
              <a:spcBef>
                <a:spcPct val="0"/>
              </a:spcBef>
              <a:spcAft>
                <a:spcPct val="0"/>
              </a:spcAft>
            </a:pPr>
            <a:endParaRPr lang="en-US" sz="800" b="1" kern="0" spc="-29" dirty="0">
              <a:solidFill>
                <a:schemeClr val="accent1"/>
              </a:solidFill>
              <a:latin typeface="Segoe WP" pitchFamily="34" charset="0"/>
              <a:ea typeface="Segoe UI" pitchFamily="34" charset="0"/>
              <a:cs typeface="Segoe UI" pitchFamily="34" charset="0"/>
            </a:endParaRPr>
          </a:p>
        </p:txBody>
      </p:sp>
      <p:sp>
        <p:nvSpPr>
          <p:cNvPr id="32" name="TextBox 31"/>
          <p:cNvSpPr txBox="1"/>
          <p:nvPr/>
        </p:nvSpPr>
        <p:spPr>
          <a:xfrm>
            <a:off x="2720045" y="1870270"/>
            <a:ext cx="1059475" cy="168308"/>
          </a:xfrm>
          <a:prstGeom prst="rect">
            <a:avLst/>
          </a:prstGeom>
          <a:noFill/>
          <a:ln w="28575">
            <a:solidFill>
              <a:schemeClr val="tx1"/>
            </a:solidFill>
          </a:ln>
        </p:spPr>
        <p:txBody>
          <a:bodyPr wrap="square" lIns="68571" tIns="34286" rIns="68571" bIns="34286" rtlCol="0" anchor="b">
            <a:noAutofit/>
          </a:bodyPr>
          <a:lstStyle/>
          <a:p>
            <a:endParaRPr lang="en-US" dirty="0">
              <a:solidFill>
                <a:schemeClr val="bg2">
                  <a:lumMod val="50000"/>
                </a:schemeClr>
              </a:solidFill>
            </a:endParaRPr>
          </a:p>
        </p:txBody>
      </p:sp>
      <p:sp>
        <p:nvSpPr>
          <p:cNvPr id="33" name="Rectangle 32"/>
          <p:cNvSpPr/>
          <p:nvPr/>
        </p:nvSpPr>
        <p:spPr bwMode="auto">
          <a:xfrm>
            <a:off x="2720045" y="1872904"/>
            <a:ext cx="1059475" cy="165674"/>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51450" tIns="25725" rIns="25725" bIns="51450" numCol="1" spcCol="0" rtlCol="0" fromWordArt="0" anchor="t" anchorCtr="0" forceAA="0" compatLnSpc="1">
            <a:prstTxWarp prst="textNoShape">
              <a:avLst/>
            </a:prstTxWarp>
            <a:noAutofit/>
          </a:bodyPr>
          <a:lstStyle/>
          <a:p>
            <a:pPr algn="ctr"/>
            <a:r>
              <a:rPr lang="en-US" sz="800" b="1" dirty="0">
                <a:solidFill>
                  <a:schemeClr val="accent1"/>
                </a:solidFill>
                <a:latin typeface="Segoe UI Light" pitchFamily="34" charset="0"/>
              </a:rPr>
              <a:t>AUTHORIZATION</a:t>
            </a:r>
          </a:p>
          <a:p>
            <a:pPr fontAlgn="base">
              <a:spcBef>
                <a:spcPct val="0"/>
              </a:spcBef>
              <a:spcAft>
                <a:spcPct val="0"/>
              </a:spcAft>
            </a:pPr>
            <a:endParaRPr lang="en-US" sz="800" b="1" kern="0" spc="-29" dirty="0">
              <a:solidFill>
                <a:schemeClr val="accent1"/>
              </a:solidFill>
              <a:latin typeface="Segoe WP" pitchFamily="34" charset="0"/>
              <a:ea typeface="Segoe UI" pitchFamily="34" charset="0"/>
              <a:cs typeface="Segoe UI" pitchFamily="34" charset="0"/>
            </a:endParaRPr>
          </a:p>
        </p:txBody>
      </p:sp>
      <p:sp>
        <p:nvSpPr>
          <p:cNvPr id="34" name="TextBox 33"/>
          <p:cNvSpPr txBox="1"/>
          <p:nvPr/>
        </p:nvSpPr>
        <p:spPr>
          <a:xfrm>
            <a:off x="460547" y="1870276"/>
            <a:ext cx="1059475" cy="167965"/>
          </a:xfrm>
          <a:prstGeom prst="rect">
            <a:avLst/>
          </a:prstGeom>
          <a:noFill/>
          <a:ln w="28575">
            <a:solidFill>
              <a:schemeClr val="tx1"/>
            </a:solidFill>
          </a:ln>
        </p:spPr>
        <p:txBody>
          <a:bodyPr wrap="square" lIns="68571" tIns="34286" rIns="68571" bIns="34286" rtlCol="0" anchor="b">
            <a:noAutofit/>
          </a:bodyPr>
          <a:lstStyle/>
          <a:p>
            <a:endParaRPr lang="en-US" dirty="0">
              <a:solidFill>
                <a:schemeClr val="bg2">
                  <a:lumMod val="50000"/>
                </a:schemeClr>
              </a:solidFill>
            </a:endParaRPr>
          </a:p>
        </p:txBody>
      </p:sp>
      <p:sp>
        <p:nvSpPr>
          <p:cNvPr id="35" name="Rectangle 34"/>
          <p:cNvSpPr/>
          <p:nvPr/>
        </p:nvSpPr>
        <p:spPr bwMode="auto">
          <a:xfrm>
            <a:off x="460547" y="1872563"/>
            <a:ext cx="1059475" cy="166017"/>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51450" tIns="25725" rIns="25725" bIns="51450" numCol="1" spcCol="0" rtlCol="0" fromWordArt="0" anchor="t" anchorCtr="0" forceAA="0" compatLnSpc="1">
            <a:prstTxWarp prst="textNoShape">
              <a:avLst/>
            </a:prstTxWarp>
            <a:noAutofit/>
          </a:bodyPr>
          <a:lstStyle/>
          <a:p>
            <a:pPr algn="ctr"/>
            <a:r>
              <a:rPr lang="en-US" sz="800" b="1" dirty="0">
                <a:solidFill>
                  <a:schemeClr val="accent1"/>
                </a:solidFill>
                <a:latin typeface="Segoe UI Light" pitchFamily="34" charset="0"/>
              </a:rPr>
              <a:t>ADMINISTRATION</a:t>
            </a:r>
          </a:p>
          <a:p>
            <a:pPr fontAlgn="base">
              <a:spcBef>
                <a:spcPct val="0"/>
              </a:spcBef>
              <a:spcAft>
                <a:spcPct val="0"/>
              </a:spcAft>
            </a:pPr>
            <a:endParaRPr lang="en-US" sz="800" b="1" kern="0" spc="-29" dirty="0">
              <a:solidFill>
                <a:schemeClr val="accent1"/>
              </a:solidFill>
              <a:latin typeface="Segoe WP" pitchFamily="34" charset="0"/>
              <a:ea typeface="Segoe UI" pitchFamily="34" charset="0"/>
              <a:cs typeface="Segoe UI" pitchFamily="34" charset="0"/>
            </a:endParaRPr>
          </a:p>
        </p:txBody>
      </p:sp>
      <p:sp>
        <p:nvSpPr>
          <p:cNvPr id="37" name="Rectangle 36"/>
          <p:cNvSpPr/>
          <p:nvPr/>
        </p:nvSpPr>
        <p:spPr>
          <a:xfrm>
            <a:off x="5486638" y="1837557"/>
            <a:ext cx="2972574" cy="346249"/>
          </a:xfrm>
          <a:prstGeom prst="rect">
            <a:avLst/>
          </a:prstGeom>
        </p:spPr>
        <p:txBody>
          <a:bodyPr wrap="square" lIns="68571" tIns="34286" rIns="68571" bIns="34286">
            <a:spAutoFit/>
          </a:bodyPr>
          <a:lstStyle/>
          <a:p>
            <a:pPr algn="ctr"/>
            <a:r>
              <a:rPr lang="en-US" sz="1800" b="1" dirty="0">
                <a:latin typeface="Segoe UI Light" pitchFamily="34" charset="0"/>
              </a:rPr>
              <a:t>Authentication Provides</a:t>
            </a:r>
          </a:p>
        </p:txBody>
      </p:sp>
      <p:sp>
        <p:nvSpPr>
          <p:cNvPr id="38" name="Text Placeholder 2"/>
          <p:cNvSpPr>
            <a:spLocks noGrp="1"/>
          </p:cNvSpPr>
          <p:nvPr>
            <p:ph type="body" sz="quarter" idx="10"/>
          </p:nvPr>
        </p:nvSpPr>
        <p:spPr>
          <a:xfrm>
            <a:off x="5427520" y="2327632"/>
            <a:ext cx="3202213" cy="592085"/>
          </a:xfrm>
        </p:spPr>
        <p:txBody>
          <a:bodyPr/>
          <a:lstStyle/>
          <a:p>
            <a:r>
              <a:rPr lang="en-US" sz="1400" dirty="0">
                <a:latin typeface="Segoe UI Light" pitchFamily="34" charset="0"/>
              </a:rPr>
              <a:t>Flexible, standards compliant, authentication that integrates across the organization</a:t>
            </a:r>
          </a:p>
        </p:txBody>
      </p:sp>
      <p:sp>
        <p:nvSpPr>
          <p:cNvPr id="39" name="Text Placeholder 2"/>
          <p:cNvSpPr txBox="1">
            <a:spLocks/>
          </p:cNvSpPr>
          <p:nvPr/>
        </p:nvSpPr>
        <p:spPr>
          <a:xfrm>
            <a:off x="5428499" y="3055051"/>
            <a:ext cx="3202213" cy="394724"/>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90000"/>
              <a:buFontTx/>
              <a:buBlip>
                <a:blip r:embed="rId4"/>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4"/>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4"/>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400" dirty="0">
                <a:latin typeface="Segoe UI Light" pitchFamily="34" charset="0"/>
              </a:rPr>
              <a:t>Integration of disparate sources, applications, and protocols</a:t>
            </a:r>
          </a:p>
        </p:txBody>
      </p:sp>
      <p:sp>
        <p:nvSpPr>
          <p:cNvPr id="41" name="Text Placeholder 2"/>
          <p:cNvSpPr txBox="1">
            <a:spLocks/>
          </p:cNvSpPr>
          <p:nvPr/>
        </p:nvSpPr>
        <p:spPr>
          <a:xfrm>
            <a:off x="5428499" y="3725334"/>
            <a:ext cx="3202213" cy="592085"/>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90000"/>
              <a:buFontTx/>
              <a:buBlip>
                <a:blip r:embed="rId4"/>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4"/>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4"/>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400" dirty="0">
                <a:latin typeface="Segoe UI Light" pitchFamily="34" charset="0"/>
              </a:rPr>
              <a:t>Employs many different industry standard methods of validation and assurance</a:t>
            </a:r>
          </a:p>
        </p:txBody>
      </p:sp>
      <p:sp>
        <p:nvSpPr>
          <p:cNvPr id="46"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47"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5"/>
              </a:rPr>
              <a:t>www.rapidbbs.cn</a:t>
            </a:r>
            <a:endParaRPr lang="zh-CN" altLang="en-US" sz="1200" b="0">
              <a:latin typeface="Arial" charset="0"/>
              <a:ea typeface="ＭＳ Ｐゴシック" pitchFamily="34" charset="-128"/>
            </a:endParaRPr>
          </a:p>
        </p:txBody>
      </p:sp>
      <p:pic>
        <p:nvPicPr>
          <p:cNvPr id="48" name="Picture 2">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84009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38">
                                            <p:txEl>
                                              <p:pRg st="0" end="0"/>
                                            </p:txEl>
                                          </p:spTgt>
                                        </p:tgtEl>
                                        <p:attrNameLst>
                                          <p:attrName>style.visibility</p:attrName>
                                        </p:attrNameLst>
                                      </p:cBhvr>
                                      <p:to>
                                        <p:strVal val="visible"/>
                                      </p:to>
                                    </p:set>
                                    <p:animEffect transition="in" filter="fade">
                                      <p:cBhvr>
                                        <p:cTn id="7" dur="1000"/>
                                        <p:tgtEl>
                                          <p:spTgt spid="38">
                                            <p:txEl>
                                              <p:pRg st="0" end="0"/>
                                            </p:txEl>
                                          </p:spTgt>
                                        </p:tgtEl>
                                      </p:cBhvr>
                                    </p:animEffect>
                                  </p:childTnLst>
                                </p:cTn>
                              </p:par>
                            </p:childTnLst>
                          </p:cTn>
                        </p:par>
                        <p:par>
                          <p:cTn id="8" fill="hold">
                            <p:stCondLst>
                              <p:cond delay="1500"/>
                            </p:stCondLst>
                            <p:childTnLst>
                              <p:par>
                                <p:cTn id="9" presetID="10" presetClass="entr" presetSubtype="0" fill="hold" grpId="0" nodeType="afterEffect">
                                  <p:stCondLst>
                                    <p:cond delay="1000"/>
                                  </p:stCondLst>
                                  <p:childTnLst>
                                    <p:set>
                                      <p:cBhvr>
                                        <p:cTn id="10" dur="1" fill="hold">
                                          <p:stCondLst>
                                            <p:cond delay="0"/>
                                          </p:stCondLst>
                                        </p:cTn>
                                        <p:tgtEl>
                                          <p:spTgt spid="39"/>
                                        </p:tgtEl>
                                        <p:attrNameLst>
                                          <p:attrName>style.visibility</p:attrName>
                                        </p:attrNameLst>
                                      </p:cBhvr>
                                      <p:to>
                                        <p:strVal val="visible"/>
                                      </p:to>
                                    </p:set>
                                    <p:animEffect transition="in" filter="fade">
                                      <p:cBhvr>
                                        <p:cTn id="11" dur="1000"/>
                                        <p:tgtEl>
                                          <p:spTgt spid="39"/>
                                        </p:tgtEl>
                                      </p:cBhvr>
                                    </p:animEffect>
                                  </p:childTnLst>
                                </p:cTn>
                              </p:par>
                            </p:childTnLst>
                          </p:cTn>
                        </p:par>
                        <p:par>
                          <p:cTn id="12" fill="hold">
                            <p:stCondLst>
                              <p:cond delay="3500"/>
                            </p:stCondLst>
                            <p:childTnLst>
                              <p:par>
                                <p:cTn id="13" presetID="10" presetClass="entr" presetSubtype="0" fill="hold" grpId="0" nodeType="afterEffect">
                                  <p:stCondLst>
                                    <p:cond delay="1000"/>
                                  </p:stCondLst>
                                  <p:childTnLst>
                                    <p:set>
                                      <p:cBhvr>
                                        <p:cTn id="14" dur="1" fill="hold">
                                          <p:stCondLst>
                                            <p:cond delay="0"/>
                                          </p:stCondLst>
                                        </p:cTn>
                                        <p:tgtEl>
                                          <p:spTgt spid="41"/>
                                        </p:tgtEl>
                                        <p:attrNameLst>
                                          <p:attrName>style.visibility</p:attrName>
                                        </p:attrNameLst>
                                      </p:cBhvr>
                                      <p:to>
                                        <p:strVal val="visible"/>
                                      </p:to>
                                    </p:set>
                                    <p:animEffect transition="in" filter="fade">
                                      <p:cBhvr>
                                        <p:cTn id="15" dur="10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build="p"/>
      <p:bldP spid="39" grpId="0"/>
      <p:bldP spid="41" grpId="0"/>
    </p:bldLst>
  </p:timing>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uthorization</a:t>
            </a:r>
            <a:endParaRPr lang="en-US" dirty="0"/>
          </a:p>
        </p:txBody>
      </p:sp>
      <p:sp>
        <p:nvSpPr>
          <p:cNvPr id="4" name="Rectangle 3"/>
          <p:cNvSpPr/>
          <p:nvPr/>
        </p:nvSpPr>
        <p:spPr bwMode="auto">
          <a:xfrm>
            <a:off x="447251" y="2089409"/>
            <a:ext cx="4471568" cy="2184141"/>
          </a:xfrm>
          <a:prstGeom prst="rect">
            <a:avLst/>
          </a:prstGeom>
          <a:solidFill>
            <a:schemeClr val="accent1"/>
          </a:solidFill>
          <a:ln w="28575" cap="flat" cmpd="sng" algn="ctr">
            <a:solidFill>
              <a:schemeClr val="tx1"/>
            </a:solidFill>
            <a:prstDash val="solid"/>
            <a:headEnd type="none" w="med" len="med"/>
            <a:tailEnd type="none" w="med" len="med"/>
          </a:ln>
          <a:effectLst/>
        </p:spPr>
        <p:txBody>
          <a:bodyPr rot="0" spcFirstLastPara="0" vertOverflow="overflow" horzOverflow="overflow" vert="horz" wrap="square" lIns="51450" tIns="25725" rIns="25725" bIns="51450" numCol="1" spcCol="0" rtlCol="0" fromWordArt="0" anchor="t" anchorCtr="0" forceAA="0" compatLnSpc="1">
            <a:prstTxWarp prst="textNoShape">
              <a:avLst/>
            </a:prstTxWarp>
            <a:noAutofit/>
          </a:bodyPr>
          <a:lstStyle/>
          <a:p>
            <a:pPr marL="214287" indent="-214287">
              <a:buFont typeface="Arial" pitchFamily="34" charset="0"/>
              <a:buChar char="•"/>
            </a:pPr>
            <a:endParaRPr lang="en-US" dirty="0" smtClean="0"/>
          </a:p>
        </p:txBody>
      </p:sp>
      <p:grpSp>
        <p:nvGrpSpPr>
          <p:cNvPr id="39" name="Group 38"/>
          <p:cNvGrpSpPr/>
          <p:nvPr/>
        </p:nvGrpSpPr>
        <p:grpSpPr>
          <a:xfrm>
            <a:off x="3668364" y="2504204"/>
            <a:ext cx="903636" cy="722556"/>
            <a:chOff x="3748188" y="3338937"/>
            <a:chExt cx="1204534" cy="963409"/>
          </a:xfrm>
        </p:grpSpPr>
        <p:sp>
          <p:nvSpPr>
            <p:cNvPr id="8" name="TextBox 7"/>
            <p:cNvSpPr txBox="1"/>
            <p:nvPr/>
          </p:nvSpPr>
          <p:spPr>
            <a:xfrm>
              <a:off x="3748188" y="3850941"/>
              <a:ext cx="1204534" cy="451405"/>
            </a:xfrm>
            <a:prstGeom prst="rect">
              <a:avLst/>
            </a:prstGeom>
            <a:noFill/>
          </p:spPr>
          <p:txBody>
            <a:bodyPr wrap="square" rtlCol="0">
              <a:spAutoFit/>
            </a:bodyPr>
            <a:lstStyle/>
            <a:p>
              <a:pPr algn="ctr"/>
              <a:r>
                <a:rPr lang="en-US" sz="800" b="1" dirty="0">
                  <a:latin typeface="Segoe WP Light"/>
                </a:rPr>
                <a:t>Enforcement</a:t>
              </a:r>
              <a:br>
                <a:rPr lang="en-US" sz="800" b="1" dirty="0">
                  <a:latin typeface="Segoe WP Light"/>
                </a:rPr>
              </a:br>
              <a:r>
                <a:rPr lang="en-US" sz="800" b="1" dirty="0">
                  <a:latin typeface="Segoe WP Light"/>
                </a:rPr>
                <a:t>Strategy</a:t>
              </a:r>
            </a:p>
          </p:txBody>
        </p:sp>
        <p:sp>
          <p:nvSpPr>
            <p:cNvPr id="9" name="Flowchart: Stored Data 25"/>
            <p:cNvSpPr/>
            <p:nvPr/>
          </p:nvSpPr>
          <p:spPr>
            <a:xfrm rot="16200000">
              <a:off x="4141360" y="3347786"/>
              <a:ext cx="418703" cy="401005"/>
            </a:xfrm>
            <a:custGeom>
              <a:avLst/>
              <a:gdLst>
                <a:gd name="connsiteX0" fmla="*/ 1667 w 10000"/>
                <a:gd name="connsiteY0" fmla="*/ 0 h 10000"/>
                <a:gd name="connsiteX1" fmla="*/ 10000 w 10000"/>
                <a:gd name="connsiteY1" fmla="*/ 0 h 10000"/>
                <a:gd name="connsiteX2" fmla="*/ 8333 w 10000"/>
                <a:gd name="connsiteY2" fmla="*/ 5000 h 10000"/>
                <a:gd name="connsiteX3" fmla="*/ 10000 w 10000"/>
                <a:gd name="connsiteY3" fmla="*/ 10000 h 10000"/>
                <a:gd name="connsiteX4" fmla="*/ 1667 w 10000"/>
                <a:gd name="connsiteY4" fmla="*/ 10000 h 10000"/>
                <a:gd name="connsiteX5" fmla="*/ 0 w 10000"/>
                <a:gd name="connsiteY5" fmla="*/ 5000 h 10000"/>
                <a:gd name="connsiteX6" fmla="*/ 1667 w 10000"/>
                <a:gd name="connsiteY6" fmla="*/ 0 h 10000"/>
                <a:gd name="connsiteX0" fmla="*/ 1667 w 10892"/>
                <a:gd name="connsiteY0" fmla="*/ 0 h 10000"/>
                <a:gd name="connsiteX1" fmla="*/ 10000 w 10892"/>
                <a:gd name="connsiteY1" fmla="*/ 0 h 10000"/>
                <a:gd name="connsiteX2" fmla="*/ 10892 w 10892"/>
                <a:gd name="connsiteY2" fmla="*/ 4824 h 10000"/>
                <a:gd name="connsiteX3" fmla="*/ 10000 w 10892"/>
                <a:gd name="connsiteY3" fmla="*/ 10000 h 10000"/>
                <a:gd name="connsiteX4" fmla="*/ 1667 w 10892"/>
                <a:gd name="connsiteY4" fmla="*/ 10000 h 10000"/>
                <a:gd name="connsiteX5" fmla="*/ 0 w 10892"/>
                <a:gd name="connsiteY5" fmla="*/ 5000 h 10000"/>
                <a:gd name="connsiteX6" fmla="*/ 1667 w 10892"/>
                <a:gd name="connsiteY6" fmla="*/ 0 h 10000"/>
                <a:gd name="connsiteX0" fmla="*/ 1980 w 11205"/>
                <a:gd name="connsiteY0" fmla="*/ 0 h 10000"/>
                <a:gd name="connsiteX1" fmla="*/ 10313 w 11205"/>
                <a:gd name="connsiteY1" fmla="*/ 0 h 10000"/>
                <a:gd name="connsiteX2" fmla="*/ 11205 w 11205"/>
                <a:gd name="connsiteY2" fmla="*/ 4824 h 10000"/>
                <a:gd name="connsiteX3" fmla="*/ 10313 w 11205"/>
                <a:gd name="connsiteY3" fmla="*/ 10000 h 10000"/>
                <a:gd name="connsiteX4" fmla="*/ 1980 w 11205"/>
                <a:gd name="connsiteY4" fmla="*/ 10000 h 10000"/>
                <a:gd name="connsiteX5" fmla="*/ 313 w 11205"/>
                <a:gd name="connsiteY5" fmla="*/ 5000 h 10000"/>
                <a:gd name="connsiteX6" fmla="*/ 1980 w 11205"/>
                <a:gd name="connsiteY6" fmla="*/ 0 h 10000"/>
                <a:gd name="connsiteX0" fmla="*/ 1668 w 10893"/>
                <a:gd name="connsiteY0" fmla="*/ 0 h 10000"/>
                <a:gd name="connsiteX1" fmla="*/ 10001 w 10893"/>
                <a:gd name="connsiteY1" fmla="*/ 0 h 10000"/>
                <a:gd name="connsiteX2" fmla="*/ 10893 w 10893"/>
                <a:gd name="connsiteY2" fmla="*/ 4824 h 10000"/>
                <a:gd name="connsiteX3" fmla="*/ 10001 w 10893"/>
                <a:gd name="connsiteY3" fmla="*/ 10000 h 10000"/>
                <a:gd name="connsiteX4" fmla="*/ 1668 w 10893"/>
                <a:gd name="connsiteY4" fmla="*/ 10000 h 10000"/>
                <a:gd name="connsiteX5" fmla="*/ 1 w 10893"/>
                <a:gd name="connsiteY5" fmla="*/ 5000 h 10000"/>
                <a:gd name="connsiteX6" fmla="*/ 1668 w 10893"/>
                <a:gd name="connsiteY6" fmla="*/ 0 h 10000"/>
                <a:gd name="connsiteX0" fmla="*/ 1668 w 10893"/>
                <a:gd name="connsiteY0" fmla="*/ 0 h 10000"/>
                <a:gd name="connsiteX1" fmla="*/ 10001 w 10893"/>
                <a:gd name="connsiteY1" fmla="*/ 0 h 10000"/>
                <a:gd name="connsiteX2" fmla="*/ 10893 w 10893"/>
                <a:gd name="connsiteY2" fmla="*/ 4824 h 10000"/>
                <a:gd name="connsiteX3" fmla="*/ 10001 w 10893"/>
                <a:gd name="connsiteY3" fmla="*/ 10000 h 10000"/>
                <a:gd name="connsiteX4" fmla="*/ 1668 w 10893"/>
                <a:gd name="connsiteY4" fmla="*/ 10000 h 10000"/>
                <a:gd name="connsiteX5" fmla="*/ 1 w 10893"/>
                <a:gd name="connsiteY5" fmla="*/ 5000 h 10000"/>
                <a:gd name="connsiteX6" fmla="*/ 1668 w 10893"/>
                <a:gd name="connsiteY6" fmla="*/ 0 h 10000"/>
                <a:gd name="connsiteX0" fmla="*/ 1668 w 10893"/>
                <a:gd name="connsiteY0" fmla="*/ 0 h 10000"/>
                <a:gd name="connsiteX1" fmla="*/ 10001 w 10893"/>
                <a:gd name="connsiteY1" fmla="*/ 0 h 10000"/>
                <a:gd name="connsiteX2" fmla="*/ 10893 w 10893"/>
                <a:gd name="connsiteY2" fmla="*/ 4824 h 10000"/>
                <a:gd name="connsiteX3" fmla="*/ 10001 w 10893"/>
                <a:gd name="connsiteY3" fmla="*/ 10000 h 10000"/>
                <a:gd name="connsiteX4" fmla="*/ 1668 w 10893"/>
                <a:gd name="connsiteY4" fmla="*/ 10000 h 10000"/>
                <a:gd name="connsiteX5" fmla="*/ 1 w 10893"/>
                <a:gd name="connsiteY5" fmla="*/ 5000 h 10000"/>
                <a:gd name="connsiteX6" fmla="*/ 1668 w 10893"/>
                <a:gd name="connsiteY6" fmla="*/ 0 h 10000"/>
                <a:gd name="connsiteX0" fmla="*/ 1668 w 10895"/>
                <a:gd name="connsiteY0" fmla="*/ 0 h 10000"/>
                <a:gd name="connsiteX1" fmla="*/ 10001 w 10895"/>
                <a:gd name="connsiteY1" fmla="*/ 0 h 10000"/>
                <a:gd name="connsiteX2" fmla="*/ 10893 w 10895"/>
                <a:gd name="connsiteY2" fmla="*/ 4824 h 10000"/>
                <a:gd name="connsiteX3" fmla="*/ 10001 w 10895"/>
                <a:gd name="connsiteY3" fmla="*/ 10000 h 10000"/>
                <a:gd name="connsiteX4" fmla="*/ 1668 w 10895"/>
                <a:gd name="connsiteY4" fmla="*/ 10000 h 10000"/>
                <a:gd name="connsiteX5" fmla="*/ 1 w 10895"/>
                <a:gd name="connsiteY5" fmla="*/ 5000 h 10000"/>
                <a:gd name="connsiteX6" fmla="*/ 1668 w 10895"/>
                <a:gd name="connsiteY6" fmla="*/ 0 h 10000"/>
                <a:gd name="connsiteX0" fmla="*/ 1668 w 10895"/>
                <a:gd name="connsiteY0" fmla="*/ 0 h 10000"/>
                <a:gd name="connsiteX1" fmla="*/ 10001 w 10895"/>
                <a:gd name="connsiteY1" fmla="*/ 0 h 10000"/>
                <a:gd name="connsiteX2" fmla="*/ 10893 w 10895"/>
                <a:gd name="connsiteY2" fmla="*/ 4824 h 10000"/>
                <a:gd name="connsiteX3" fmla="*/ 10001 w 10895"/>
                <a:gd name="connsiteY3" fmla="*/ 10000 h 10000"/>
                <a:gd name="connsiteX4" fmla="*/ 1668 w 10895"/>
                <a:gd name="connsiteY4" fmla="*/ 10000 h 10000"/>
                <a:gd name="connsiteX5" fmla="*/ 1 w 10895"/>
                <a:gd name="connsiteY5" fmla="*/ 5000 h 10000"/>
                <a:gd name="connsiteX6" fmla="*/ 1668 w 10895"/>
                <a:gd name="connsiteY6" fmla="*/ 0 h 10000"/>
                <a:gd name="connsiteX0" fmla="*/ 1668 w 10894"/>
                <a:gd name="connsiteY0" fmla="*/ 0 h 10000"/>
                <a:gd name="connsiteX1" fmla="*/ 10001 w 10894"/>
                <a:gd name="connsiteY1" fmla="*/ 0 h 10000"/>
                <a:gd name="connsiteX2" fmla="*/ 10893 w 10894"/>
                <a:gd name="connsiteY2" fmla="*/ 4824 h 10000"/>
                <a:gd name="connsiteX3" fmla="*/ 10001 w 10894"/>
                <a:gd name="connsiteY3" fmla="*/ 10000 h 10000"/>
                <a:gd name="connsiteX4" fmla="*/ 1668 w 10894"/>
                <a:gd name="connsiteY4" fmla="*/ 10000 h 10000"/>
                <a:gd name="connsiteX5" fmla="*/ 1 w 10894"/>
                <a:gd name="connsiteY5" fmla="*/ 5000 h 10000"/>
                <a:gd name="connsiteX6" fmla="*/ 1668 w 10894"/>
                <a:gd name="connsiteY6" fmla="*/ 0 h 10000"/>
                <a:gd name="connsiteX0" fmla="*/ 1668 w 10894"/>
                <a:gd name="connsiteY0" fmla="*/ 0 h 10000"/>
                <a:gd name="connsiteX1" fmla="*/ 10001 w 10894"/>
                <a:gd name="connsiteY1" fmla="*/ 0 h 10000"/>
                <a:gd name="connsiteX2" fmla="*/ 10893 w 10894"/>
                <a:gd name="connsiteY2" fmla="*/ 4824 h 10000"/>
                <a:gd name="connsiteX3" fmla="*/ 10001 w 10894"/>
                <a:gd name="connsiteY3" fmla="*/ 10000 h 10000"/>
                <a:gd name="connsiteX4" fmla="*/ 1668 w 10894"/>
                <a:gd name="connsiteY4" fmla="*/ 10000 h 10000"/>
                <a:gd name="connsiteX5" fmla="*/ 1 w 10894"/>
                <a:gd name="connsiteY5" fmla="*/ 5000 h 10000"/>
                <a:gd name="connsiteX6" fmla="*/ 1668 w 10894"/>
                <a:gd name="connsiteY6" fmla="*/ 0 h 10000"/>
                <a:gd name="connsiteX0" fmla="*/ 2932 w 10914"/>
                <a:gd name="connsiteY0" fmla="*/ 0 h 10000"/>
                <a:gd name="connsiteX1" fmla="*/ 10021 w 10914"/>
                <a:gd name="connsiteY1" fmla="*/ 0 h 10000"/>
                <a:gd name="connsiteX2" fmla="*/ 10913 w 10914"/>
                <a:gd name="connsiteY2" fmla="*/ 4824 h 10000"/>
                <a:gd name="connsiteX3" fmla="*/ 10021 w 10914"/>
                <a:gd name="connsiteY3" fmla="*/ 10000 h 10000"/>
                <a:gd name="connsiteX4" fmla="*/ 1688 w 10914"/>
                <a:gd name="connsiteY4" fmla="*/ 10000 h 10000"/>
                <a:gd name="connsiteX5" fmla="*/ 21 w 10914"/>
                <a:gd name="connsiteY5" fmla="*/ 5000 h 10000"/>
                <a:gd name="connsiteX6" fmla="*/ 2932 w 10914"/>
                <a:gd name="connsiteY6" fmla="*/ 0 h 10000"/>
                <a:gd name="connsiteX0" fmla="*/ 2912 w 10894"/>
                <a:gd name="connsiteY0" fmla="*/ 0 h 10044"/>
                <a:gd name="connsiteX1" fmla="*/ 10001 w 10894"/>
                <a:gd name="connsiteY1" fmla="*/ 0 h 10044"/>
                <a:gd name="connsiteX2" fmla="*/ 10893 w 10894"/>
                <a:gd name="connsiteY2" fmla="*/ 4824 h 10044"/>
                <a:gd name="connsiteX3" fmla="*/ 10001 w 10894"/>
                <a:gd name="connsiteY3" fmla="*/ 10000 h 10044"/>
                <a:gd name="connsiteX4" fmla="*/ 2987 w 10894"/>
                <a:gd name="connsiteY4" fmla="*/ 10044 h 10044"/>
                <a:gd name="connsiteX5" fmla="*/ 1 w 10894"/>
                <a:gd name="connsiteY5" fmla="*/ 5000 h 10044"/>
                <a:gd name="connsiteX6" fmla="*/ 2912 w 10894"/>
                <a:gd name="connsiteY6" fmla="*/ 0 h 10044"/>
                <a:gd name="connsiteX0" fmla="*/ 2912 w 10894"/>
                <a:gd name="connsiteY0" fmla="*/ 0 h 10044"/>
                <a:gd name="connsiteX1" fmla="*/ 10001 w 10894"/>
                <a:gd name="connsiteY1" fmla="*/ 0 h 10044"/>
                <a:gd name="connsiteX2" fmla="*/ 10893 w 10894"/>
                <a:gd name="connsiteY2" fmla="*/ 4824 h 10044"/>
                <a:gd name="connsiteX3" fmla="*/ 10001 w 10894"/>
                <a:gd name="connsiteY3" fmla="*/ 10000 h 10044"/>
                <a:gd name="connsiteX4" fmla="*/ 2987 w 10894"/>
                <a:gd name="connsiteY4" fmla="*/ 10044 h 10044"/>
                <a:gd name="connsiteX5" fmla="*/ 1 w 10894"/>
                <a:gd name="connsiteY5" fmla="*/ 5000 h 10044"/>
                <a:gd name="connsiteX6" fmla="*/ 2912 w 10894"/>
                <a:gd name="connsiteY6" fmla="*/ 0 h 10044"/>
                <a:gd name="connsiteX0" fmla="*/ 2912 w 10894"/>
                <a:gd name="connsiteY0" fmla="*/ 627 h 10671"/>
                <a:gd name="connsiteX1" fmla="*/ 10001 w 10894"/>
                <a:gd name="connsiteY1" fmla="*/ 627 h 10671"/>
                <a:gd name="connsiteX2" fmla="*/ 10893 w 10894"/>
                <a:gd name="connsiteY2" fmla="*/ 5451 h 10671"/>
                <a:gd name="connsiteX3" fmla="*/ 10001 w 10894"/>
                <a:gd name="connsiteY3" fmla="*/ 10627 h 10671"/>
                <a:gd name="connsiteX4" fmla="*/ 2987 w 10894"/>
                <a:gd name="connsiteY4" fmla="*/ 10671 h 10671"/>
                <a:gd name="connsiteX5" fmla="*/ 1 w 10894"/>
                <a:gd name="connsiteY5" fmla="*/ 5627 h 10671"/>
                <a:gd name="connsiteX6" fmla="*/ 2912 w 10894"/>
                <a:gd name="connsiteY6" fmla="*/ 627 h 10671"/>
                <a:gd name="connsiteX0" fmla="*/ 2912 w 10894"/>
                <a:gd name="connsiteY0" fmla="*/ 627 h 11322"/>
                <a:gd name="connsiteX1" fmla="*/ 10001 w 10894"/>
                <a:gd name="connsiteY1" fmla="*/ 627 h 11322"/>
                <a:gd name="connsiteX2" fmla="*/ 10893 w 10894"/>
                <a:gd name="connsiteY2" fmla="*/ 5451 h 11322"/>
                <a:gd name="connsiteX3" fmla="*/ 10001 w 10894"/>
                <a:gd name="connsiteY3" fmla="*/ 10627 h 11322"/>
                <a:gd name="connsiteX4" fmla="*/ 2987 w 10894"/>
                <a:gd name="connsiteY4" fmla="*/ 10671 h 11322"/>
                <a:gd name="connsiteX5" fmla="*/ 1 w 10894"/>
                <a:gd name="connsiteY5" fmla="*/ 5627 h 11322"/>
                <a:gd name="connsiteX6" fmla="*/ 2912 w 10894"/>
                <a:gd name="connsiteY6" fmla="*/ 627 h 11322"/>
                <a:gd name="connsiteX0" fmla="*/ 2912 w 10894"/>
                <a:gd name="connsiteY0" fmla="*/ 627 h 11204"/>
                <a:gd name="connsiteX1" fmla="*/ 10001 w 10894"/>
                <a:gd name="connsiteY1" fmla="*/ 627 h 11204"/>
                <a:gd name="connsiteX2" fmla="*/ 10893 w 10894"/>
                <a:gd name="connsiteY2" fmla="*/ 5451 h 11204"/>
                <a:gd name="connsiteX3" fmla="*/ 10001 w 10894"/>
                <a:gd name="connsiteY3" fmla="*/ 10627 h 11204"/>
                <a:gd name="connsiteX4" fmla="*/ 2987 w 10894"/>
                <a:gd name="connsiteY4" fmla="*/ 10671 h 11204"/>
                <a:gd name="connsiteX5" fmla="*/ 1 w 10894"/>
                <a:gd name="connsiteY5" fmla="*/ 5627 h 11204"/>
                <a:gd name="connsiteX6" fmla="*/ 2912 w 10894"/>
                <a:gd name="connsiteY6" fmla="*/ 627 h 11204"/>
                <a:gd name="connsiteX0" fmla="*/ 2271 w 10253"/>
                <a:gd name="connsiteY0" fmla="*/ 627 h 11204"/>
                <a:gd name="connsiteX1" fmla="*/ 9360 w 10253"/>
                <a:gd name="connsiteY1" fmla="*/ 627 h 11204"/>
                <a:gd name="connsiteX2" fmla="*/ 10252 w 10253"/>
                <a:gd name="connsiteY2" fmla="*/ 5451 h 11204"/>
                <a:gd name="connsiteX3" fmla="*/ 9360 w 10253"/>
                <a:gd name="connsiteY3" fmla="*/ 10627 h 11204"/>
                <a:gd name="connsiteX4" fmla="*/ 2346 w 10253"/>
                <a:gd name="connsiteY4" fmla="*/ 10671 h 11204"/>
                <a:gd name="connsiteX5" fmla="*/ 1 w 10253"/>
                <a:gd name="connsiteY5" fmla="*/ 5627 h 11204"/>
                <a:gd name="connsiteX6" fmla="*/ 2271 w 10253"/>
                <a:gd name="connsiteY6" fmla="*/ 627 h 11204"/>
                <a:gd name="connsiteX0" fmla="*/ 2271 w 10253"/>
                <a:gd name="connsiteY0" fmla="*/ 664 h 11109"/>
                <a:gd name="connsiteX1" fmla="*/ 9360 w 10253"/>
                <a:gd name="connsiteY1" fmla="*/ 532 h 11109"/>
                <a:gd name="connsiteX2" fmla="*/ 10252 w 10253"/>
                <a:gd name="connsiteY2" fmla="*/ 5356 h 11109"/>
                <a:gd name="connsiteX3" fmla="*/ 9360 w 10253"/>
                <a:gd name="connsiteY3" fmla="*/ 10532 h 11109"/>
                <a:gd name="connsiteX4" fmla="*/ 2346 w 10253"/>
                <a:gd name="connsiteY4" fmla="*/ 10576 h 11109"/>
                <a:gd name="connsiteX5" fmla="*/ 1 w 10253"/>
                <a:gd name="connsiteY5" fmla="*/ 5532 h 11109"/>
                <a:gd name="connsiteX6" fmla="*/ 2271 w 10253"/>
                <a:gd name="connsiteY6" fmla="*/ 664 h 11109"/>
                <a:gd name="connsiteX0" fmla="*/ 2271 w 10253"/>
                <a:gd name="connsiteY0" fmla="*/ 664 h 11109"/>
                <a:gd name="connsiteX1" fmla="*/ 9360 w 10253"/>
                <a:gd name="connsiteY1" fmla="*/ 532 h 11109"/>
                <a:gd name="connsiteX2" fmla="*/ 10252 w 10253"/>
                <a:gd name="connsiteY2" fmla="*/ 5356 h 11109"/>
                <a:gd name="connsiteX3" fmla="*/ 9360 w 10253"/>
                <a:gd name="connsiteY3" fmla="*/ 10532 h 11109"/>
                <a:gd name="connsiteX4" fmla="*/ 2346 w 10253"/>
                <a:gd name="connsiteY4" fmla="*/ 10576 h 11109"/>
                <a:gd name="connsiteX5" fmla="*/ 1 w 10253"/>
                <a:gd name="connsiteY5" fmla="*/ 5532 h 11109"/>
                <a:gd name="connsiteX6" fmla="*/ 2271 w 10253"/>
                <a:gd name="connsiteY6" fmla="*/ 664 h 11109"/>
                <a:gd name="connsiteX0" fmla="*/ 2271 w 10253"/>
                <a:gd name="connsiteY0" fmla="*/ 664 h 11109"/>
                <a:gd name="connsiteX1" fmla="*/ 9360 w 10253"/>
                <a:gd name="connsiteY1" fmla="*/ 532 h 11109"/>
                <a:gd name="connsiteX2" fmla="*/ 10252 w 10253"/>
                <a:gd name="connsiteY2" fmla="*/ 5356 h 11109"/>
                <a:gd name="connsiteX3" fmla="*/ 9360 w 10253"/>
                <a:gd name="connsiteY3" fmla="*/ 10532 h 11109"/>
                <a:gd name="connsiteX4" fmla="*/ 2346 w 10253"/>
                <a:gd name="connsiteY4" fmla="*/ 10576 h 11109"/>
                <a:gd name="connsiteX5" fmla="*/ 1 w 10253"/>
                <a:gd name="connsiteY5" fmla="*/ 5532 h 11109"/>
                <a:gd name="connsiteX6" fmla="*/ 2271 w 10253"/>
                <a:gd name="connsiteY6" fmla="*/ 664 h 11109"/>
                <a:gd name="connsiteX0" fmla="*/ 2271 w 10253"/>
                <a:gd name="connsiteY0" fmla="*/ 664 h 11109"/>
                <a:gd name="connsiteX1" fmla="*/ 9360 w 10253"/>
                <a:gd name="connsiteY1" fmla="*/ 532 h 11109"/>
                <a:gd name="connsiteX2" fmla="*/ 10252 w 10253"/>
                <a:gd name="connsiteY2" fmla="*/ 5356 h 11109"/>
                <a:gd name="connsiteX3" fmla="*/ 9360 w 10253"/>
                <a:gd name="connsiteY3" fmla="*/ 10532 h 11109"/>
                <a:gd name="connsiteX4" fmla="*/ 2346 w 10253"/>
                <a:gd name="connsiteY4" fmla="*/ 10576 h 11109"/>
                <a:gd name="connsiteX5" fmla="*/ 1 w 10253"/>
                <a:gd name="connsiteY5" fmla="*/ 5532 h 11109"/>
                <a:gd name="connsiteX6" fmla="*/ 2271 w 10253"/>
                <a:gd name="connsiteY6" fmla="*/ 664 h 11109"/>
                <a:gd name="connsiteX0" fmla="*/ 2271 w 10253"/>
                <a:gd name="connsiteY0" fmla="*/ 664 h 11109"/>
                <a:gd name="connsiteX1" fmla="*/ 9360 w 10253"/>
                <a:gd name="connsiteY1" fmla="*/ 532 h 11109"/>
                <a:gd name="connsiteX2" fmla="*/ 10252 w 10253"/>
                <a:gd name="connsiteY2" fmla="*/ 5356 h 11109"/>
                <a:gd name="connsiteX3" fmla="*/ 9360 w 10253"/>
                <a:gd name="connsiteY3" fmla="*/ 10532 h 11109"/>
                <a:gd name="connsiteX4" fmla="*/ 2346 w 10253"/>
                <a:gd name="connsiteY4" fmla="*/ 10576 h 11109"/>
                <a:gd name="connsiteX5" fmla="*/ 1 w 10253"/>
                <a:gd name="connsiteY5" fmla="*/ 5532 h 11109"/>
                <a:gd name="connsiteX6" fmla="*/ 2271 w 10253"/>
                <a:gd name="connsiteY6" fmla="*/ 664 h 11109"/>
                <a:gd name="connsiteX0" fmla="*/ 2271 w 10253"/>
                <a:gd name="connsiteY0" fmla="*/ 664 h 11109"/>
                <a:gd name="connsiteX1" fmla="*/ 9360 w 10253"/>
                <a:gd name="connsiteY1" fmla="*/ 532 h 11109"/>
                <a:gd name="connsiteX2" fmla="*/ 10252 w 10253"/>
                <a:gd name="connsiteY2" fmla="*/ 5356 h 11109"/>
                <a:gd name="connsiteX3" fmla="*/ 9360 w 10253"/>
                <a:gd name="connsiteY3" fmla="*/ 10532 h 11109"/>
                <a:gd name="connsiteX4" fmla="*/ 2346 w 10253"/>
                <a:gd name="connsiteY4" fmla="*/ 10576 h 11109"/>
                <a:gd name="connsiteX5" fmla="*/ 1 w 10253"/>
                <a:gd name="connsiteY5" fmla="*/ 5532 h 11109"/>
                <a:gd name="connsiteX6" fmla="*/ 2271 w 10253"/>
                <a:gd name="connsiteY6" fmla="*/ 664 h 11109"/>
                <a:gd name="connsiteX0" fmla="*/ 2271 w 10253"/>
                <a:gd name="connsiteY0" fmla="*/ 664 h 11109"/>
                <a:gd name="connsiteX1" fmla="*/ 9360 w 10253"/>
                <a:gd name="connsiteY1" fmla="*/ 532 h 11109"/>
                <a:gd name="connsiteX2" fmla="*/ 10252 w 10253"/>
                <a:gd name="connsiteY2" fmla="*/ 5356 h 11109"/>
                <a:gd name="connsiteX3" fmla="*/ 9360 w 10253"/>
                <a:gd name="connsiteY3" fmla="*/ 10532 h 11109"/>
                <a:gd name="connsiteX4" fmla="*/ 2346 w 10253"/>
                <a:gd name="connsiteY4" fmla="*/ 10576 h 11109"/>
                <a:gd name="connsiteX5" fmla="*/ 1 w 10253"/>
                <a:gd name="connsiteY5" fmla="*/ 5532 h 11109"/>
                <a:gd name="connsiteX6" fmla="*/ 2271 w 10253"/>
                <a:gd name="connsiteY6" fmla="*/ 664 h 11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53" h="11109">
                  <a:moveTo>
                    <a:pt x="2271" y="664"/>
                  </a:moveTo>
                  <a:cubicBezTo>
                    <a:pt x="3880" y="-747"/>
                    <a:pt x="6997" y="532"/>
                    <a:pt x="9360" y="532"/>
                  </a:cubicBezTo>
                  <a:cubicBezTo>
                    <a:pt x="7007" y="4192"/>
                    <a:pt x="10327" y="5020"/>
                    <a:pt x="10252" y="5356"/>
                  </a:cubicBezTo>
                  <a:cubicBezTo>
                    <a:pt x="10177" y="5692"/>
                    <a:pt x="7045" y="7578"/>
                    <a:pt x="9360" y="10532"/>
                  </a:cubicBezTo>
                  <a:cubicBezTo>
                    <a:pt x="7022" y="10547"/>
                    <a:pt x="4006" y="11795"/>
                    <a:pt x="2346" y="10576"/>
                  </a:cubicBezTo>
                  <a:cubicBezTo>
                    <a:pt x="999" y="9297"/>
                    <a:pt x="-24" y="5464"/>
                    <a:pt x="1" y="5532"/>
                  </a:cubicBezTo>
                  <a:cubicBezTo>
                    <a:pt x="26" y="5600"/>
                    <a:pt x="912" y="2163"/>
                    <a:pt x="2271" y="664"/>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8" name="Group 37"/>
          <p:cNvGrpSpPr/>
          <p:nvPr/>
        </p:nvGrpSpPr>
        <p:grpSpPr>
          <a:xfrm>
            <a:off x="2176575" y="2519734"/>
            <a:ext cx="778304" cy="707035"/>
            <a:chOff x="2330500" y="3359634"/>
            <a:chExt cx="1037468" cy="942711"/>
          </a:xfrm>
        </p:grpSpPr>
        <p:sp>
          <p:nvSpPr>
            <p:cNvPr id="7" name="TextBox 6"/>
            <p:cNvSpPr txBox="1"/>
            <p:nvPr/>
          </p:nvSpPr>
          <p:spPr>
            <a:xfrm>
              <a:off x="2330500" y="3850941"/>
              <a:ext cx="1037468" cy="451404"/>
            </a:xfrm>
            <a:prstGeom prst="rect">
              <a:avLst/>
            </a:prstGeom>
            <a:noFill/>
          </p:spPr>
          <p:txBody>
            <a:bodyPr wrap="square" rtlCol="0">
              <a:spAutoFit/>
            </a:bodyPr>
            <a:lstStyle/>
            <a:p>
              <a:pPr algn="ctr"/>
              <a:r>
                <a:rPr lang="en-US" sz="800" b="1" dirty="0">
                  <a:latin typeface="Segoe WP Light"/>
                </a:rPr>
                <a:t>Access Policies</a:t>
              </a:r>
            </a:p>
          </p:txBody>
        </p:sp>
        <p:grpSp>
          <p:nvGrpSpPr>
            <p:cNvPr id="10" name="Group 9"/>
            <p:cNvGrpSpPr/>
            <p:nvPr/>
          </p:nvGrpSpPr>
          <p:grpSpPr bwMode="black">
            <a:xfrm>
              <a:off x="2597460" y="3359634"/>
              <a:ext cx="530257" cy="408982"/>
              <a:chOff x="6673850" y="4338638"/>
              <a:chExt cx="1403351" cy="1082675"/>
            </a:xfrm>
            <a:solidFill>
              <a:srgbClr val="FFFFFF"/>
            </a:solidFill>
          </p:grpSpPr>
          <p:sp>
            <p:nvSpPr>
              <p:cNvPr id="11" name="Freeform 10"/>
              <p:cNvSpPr>
                <a:spLocks/>
              </p:cNvSpPr>
              <p:nvPr/>
            </p:nvSpPr>
            <p:spPr bwMode="black">
              <a:xfrm>
                <a:off x="7572375" y="4525963"/>
                <a:ext cx="160338" cy="249238"/>
              </a:xfrm>
              <a:custGeom>
                <a:avLst/>
                <a:gdLst>
                  <a:gd name="T0" fmla="*/ 14 w 30"/>
                  <a:gd name="T1" fmla="*/ 29 h 46"/>
                  <a:gd name="T2" fmla="*/ 14 w 30"/>
                  <a:gd name="T3" fmla="*/ 45 h 46"/>
                  <a:gd name="T4" fmla="*/ 22 w 30"/>
                  <a:gd name="T5" fmla="*/ 22 h 46"/>
                  <a:gd name="T6" fmla="*/ 0 w 30"/>
                  <a:gd name="T7" fmla="*/ 0 h 46"/>
                  <a:gd name="T8" fmla="*/ 0 w 30"/>
                  <a:gd name="T9" fmla="*/ 0 h 46"/>
                  <a:gd name="T10" fmla="*/ 14 w 30"/>
                  <a:gd name="T11" fmla="*/ 29 h 46"/>
                </a:gdLst>
                <a:ahLst/>
                <a:cxnLst>
                  <a:cxn ang="0">
                    <a:pos x="T0" y="T1"/>
                  </a:cxn>
                  <a:cxn ang="0">
                    <a:pos x="T2" y="T3"/>
                  </a:cxn>
                  <a:cxn ang="0">
                    <a:pos x="T4" y="T5"/>
                  </a:cxn>
                  <a:cxn ang="0">
                    <a:pos x="T6" y="T7"/>
                  </a:cxn>
                  <a:cxn ang="0">
                    <a:pos x="T8" y="T9"/>
                  </a:cxn>
                  <a:cxn ang="0">
                    <a:pos x="T10" y="T11"/>
                  </a:cxn>
                </a:cxnLst>
                <a:rect l="0" t="0" r="r" b="b"/>
                <a:pathLst>
                  <a:path w="30" h="46">
                    <a:moveTo>
                      <a:pt x="14" y="29"/>
                    </a:moveTo>
                    <a:cubicBezTo>
                      <a:pt x="14" y="45"/>
                      <a:pt x="14" y="45"/>
                      <a:pt x="14" y="45"/>
                    </a:cubicBezTo>
                    <a:cubicBezTo>
                      <a:pt x="21" y="46"/>
                      <a:pt x="30" y="39"/>
                      <a:pt x="22" y="22"/>
                    </a:cubicBezTo>
                    <a:cubicBezTo>
                      <a:pt x="15" y="6"/>
                      <a:pt x="5" y="1"/>
                      <a:pt x="0" y="0"/>
                    </a:cubicBezTo>
                    <a:cubicBezTo>
                      <a:pt x="0" y="0"/>
                      <a:pt x="0" y="0"/>
                      <a:pt x="0" y="0"/>
                    </a:cubicBezTo>
                    <a:cubicBezTo>
                      <a:pt x="9" y="6"/>
                      <a:pt x="14" y="17"/>
                      <a:pt x="14"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200" dirty="0"/>
              </a:p>
            </p:txBody>
          </p:sp>
          <p:sp>
            <p:nvSpPr>
              <p:cNvPr id="12" name="Freeform 11"/>
              <p:cNvSpPr>
                <a:spLocks/>
              </p:cNvSpPr>
              <p:nvPr/>
            </p:nvSpPr>
            <p:spPr bwMode="black">
              <a:xfrm>
                <a:off x="7239000" y="4525963"/>
                <a:ext cx="101600" cy="103188"/>
              </a:xfrm>
              <a:custGeom>
                <a:avLst/>
                <a:gdLst>
                  <a:gd name="T0" fmla="*/ 19 w 19"/>
                  <a:gd name="T1" fmla="*/ 0 h 19"/>
                  <a:gd name="T2" fmla="*/ 19 w 19"/>
                  <a:gd name="T3" fmla="*/ 0 h 19"/>
                  <a:gd name="T4" fmla="*/ 0 w 19"/>
                  <a:gd name="T5" fmla="*/ 15 h 19"/>
                  <a:gd name="T6" fmla="*/ 6 w 19"/>
                  <a:gd name="T7" fmla="*/ 19 h 19"/>
                  <a:gd name="T8" fmla="*/ 19 w 19"/>
                  <a:gd name="T9" fmla="*/ 0 h 19"/>
                </a:gdLst>
                <a:ahLst/>
                <a:cxnLst>
                  <a:cxn ang="0">
                    <a:pos x="T0" y="T1"/>
                  </a:cxn>
                  <a:cxn ang="0">
                    <a:pos x="T2" y="T3"/>
                  </a:cxn>
                  <a:cxn ang="0">
                    <a:pos x="T4" y="T5"/>
                  </a:cxn>
                  <a:cxn ang="0">
                    <a:pos x="T6" y="T7"/>
                  </a:cxn>
                  <a:cxn ang="0">
                    <a:pos x="T8" y="T9"/>
                  </a:cxn>
                </a:cxnLst>
                <a:rect l="0" t="0" r="r" b="b"/>
                <a:pathLst>
                  <a:path w="19" h="19">
                    <a:moveTo>
                      <a:pt x="19" y="0"/>
                    </a:moveTo>
                    <a:cubicBezTo>
                      <a:pt x="19" y="0"/>
                      <a:pt x="19" y="0"/>
                      <a:pt x="19" y="0"/>
                    </a:cubicBezTo>
                    <a:cubicBezTo>
                      <a:pt x="15" y="1"/>
                      <a:pt x="7" y="5"/>
                      <a:pt x="0" y="15"/>
                    </a:cubicBezTo>
                    <a:cubicBezTo>
                      <a:pt x="2" y="16"/>
                      <a:pt x="4" y="18"/>
                      <a:pt x="6" y="19"/>
                    </a:cubicBezTo>
                    <a:cubicBezTo>
                      <a:pt x="8" y="11"/>
                      <a:pt x="13" y="4"/>
                      <a:pt x="1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200" dirty="0"/>
              </a:p>
            </p:txBody>
          </p:sp>
          <p:sp>
            <p:nvSpPr>
              <p:cNvPr id="13" name="Freeform 12"/>
              <p:cNvSpPr>
                <a:spLocks/>
              </p:cNvSpPr>
              <p:nvPr/>
            </p:nvSpPr>
            <p:spPr bwMode="black">
              <a:xfrm>
                <a:off x="7297738" y="4537075"/>
                <a:ext cx="317500" cy="227013"/>
              </a:xfrm>
              <a:custGeom>
                <a:avLst/>
                <a:gdLst>
                  <a:gd name="T0" fmla="*/ 13 w 59"/>
                  <a:gd name="T1" fmla="*/ 42 h 42"/>
                  <a:gd name="T2" fmla="*/ 59 w 59"/>
                  <a:gd name="T3" fmla="*/ 42 h 42"/>
                  <a:gd name="T4" fmla="*/ 59 w 59"/>
                  <a:gd name="T5" fmla="*/ 26 h 42"/>
                  <a:gd name="T6" fmla="*/ 49 w 59"/>
                  <a:gd name="T7" fmla="*/ 0 h 42"/>
                  <a:gd name="T8" fmla="*/ 29 w 59"/>
                  <a:gd name="T9" fmla="*/ 9 h 42"/>
                  <a:gd name="T10" fmla="*/ 10 w 59"/>
                  <a:gd name="T11" fmla="*/ 0 h 42"/>
                  <a:gd name="T12" fmla="*/ 0 w 59"/>
                  <a:gd name="T13" fmla="*/ 22 h 42"/>
                  <a:gd name="T14" fmla="*/ 12 w 59"/>
                  <a:gd name="T15" fmla="*/ 41 h 42"/>
                  <a:gd name="T16" fmla="*/ 12 w 59"/>
                  <a:gd name="T17" fmla="*/ 41 h 42"/>
                  <a:gd name="T18" fmla="*/ 13 w 59"/>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42">
                    <a:moveTo>
                      <a:pt x="13" y="42"/>
                    </a:moveTo>
                    <a:cubicBezTo>
                      <a:pt x="27" y="36"/>
                      <a:pt x="44" y="36"/>
                      <a:pt x="59" y="42"/>
                    </a:cubicBezTo>
                    <a:cubicBezTo>
                      <a:pt x="59" y="26"/>
                      <a:pt x="59" y="26"/>
                      <a:pt x="59" y="26"/>
                    </a:cubicBezTo>
                    <a:cubicBezTo>
                      <a:pt x="59" y="16"/>
                      <a:pt x="55" y="7"/>
                      <a:pt x="49" y="0"/>
                    </a:cubicBezTo>
                    <a:cubicBezTo>
                      <a:pt x="44" y="6"/>
                      <a:pt x="37" y="9"/>
                      <a:pt x="29" y="9"/>
                    </a:cubicBezTo>
                    <a:cubicBezTo>
                      <a:pt x="21" y="9"/>
                      <a:pt x="14" y="6"/>
                      <a:pt x="10" y="0"/>
                    </a:cubicBezTo>
                    <a:cubicBezTo>
                      <a:pt x="4" y="6"/>
                      <a:pt x="1" y="13"/>
                      <a:pt x="0" y="22"/>
                    </a:cubicBezTo>
                    <a:cubicBezTo>
                      <a:pt x="4" y="26"/>
                      <a:pt x="9" y="33"/>
                      <a:pt x="12" y="41"/>
                    </a:cubicBezTo>
                    <a:cubicBezTo>
                      <a:pt x="12" y="41"/>
                      <a:pt x="12" y="41"/>
                      <a:pt x="12" y="41"/>
                    </a:cubicBezTo>
                    <a:cubicBezTo>
                      <a:pt x="13" y="41"/>
                      <a:pt x="13" y="42"/>
                      <a:pt x="13"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200" dirty="0"/>
              </a:p>
            </p:txBody>
          </p:sp>
          <p:sp>
            <p:nvSpPr>
              <p:cNvPr id="14" name="Oval 13"/>
              <p:cNvSpPr>
                <a:spLocks noChangeArrowheads="1"/>
              </p:cNvSpPr>
              <p:nvPr/>
            </p:nvSpPr>
            <p:spPr bwMode="black">
              <a:xfrm>
                <a:off x="7351713" y="4338638"/>
                <a:ext cx="209550" cy="214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200" dirty="0"/>
              </a:p>
            </p:txBody>
          </p:sp>
          <p:sp>
            <p:nvSpPr>
              <p:cNvPr id="15" name="Freeform 14"/>
              <p:cNvSpPr>
                <a:spLocks/>
              </p:cNvSpPr>
              <p:nvPr/>
            </p:nvSpPr>
            <p:spPr bwMode="black">
              <a:xfrm>
                <a:off x="7173913" y="4624388"/>
                <a:ext cx="155575" cy="198438"/>
              </a:xfrm>
              <a:custGeom>
                <a:avLst/>
                <a:gdLst>
                  <a:gd name="T0" fmla="*/ 18 w 29"/>
                  <a:gd name="T1" fmla="*/ 37 h 37"/>
                  <a:gd name="T2" fmla="*/ 29 w 29"/>
                  <a:gd name="T3" fmla="*/ 29 h 37"/>
                  <a:gd name="T4" fmla="*/ 28 w 29"/>
                  <a:gd name="T5" fmla="*/ 28 h 37"/>
                  <a:gd name="T6" fmla="*/ 0 w 29"/>
                  <a:gd name="T7" fmla="*/ 0 h 37"/>
                  <a:gd name="T8" fmla="*/ 0 w 29"/>
                  <a:gd name="T9" fmla="*/ 0 h 37"/>
                  <a:gd name="T10" fmla="*/ 18 w 29"/>
                  <a:gd name="T11" fmla="*/ 37 h 37"/>
                </a:gdLst>
                <a:ahLst/>
                <a:cxnLst>
                  <a:cxn ang="0">
                    <a:pos x="T0" y="T1"/>
                  </a:cxn>
                  <a:cxn ang="0">
                    <a:pos x="T2" y="T3"/>
                  </a:cxn>
                  <a:cxn ang="0">
                    <a:pos x="T4" y="T5"/>
                  </a:cxn>
                  <a:cxn ang="0">
                    <a:pos x="T6" y="T7"/>
                  </a:cxn>
                  <a:cxn ang="0">
                    <a:pos x="T8" y="T9"/>
                  </a:cxn>
                  <a:cxn ang="0">
                    <a:pos x="T10" y="T11"/>
                  </a:cxn>
                </a:cxnLst>
                <a:rect l="0" t="0" r="r" b="b"/>
                <a:pathLst>
                  <a:path w="29" h="37">
                    <a:moveTo>
                      <a:pt x="18" y="37"/>
                    </a:moveTo>
                    <a:cubicBezTo>
                      <a:pt x="21" y="34"/>
                      <a:pt x="25" y="31"/>
                      <a:pt x="29" y="29"/>
                    </a:cubicBezTo>
                    <a:cubicBezTo>
                      <a:pt x="29" y="29"/>
                      <a:pt x="29" y="28"/>
                      <a:pt x="28" y="28"/>
                    </a:cubicBezTo>
                    <a:cubicBezTo>
                      <a:pt x="19" y="8"/>
                      <a:pt x="6" y="2"/>
                      <a:pt x="0" y="0"/>
                    </a:cubicBezTo>
                    <a:cubicBezTo>
                      <a:pt x="0" y="0"/>
                      <a:pt x="0" y="0"/>
                      <a:pt x="0" y="0"/>
                    </a:cubicBezTo>
                    <a:cubicBezTo>
                      <a:pt x="11" y="8"/>
                      <a:pt x="18" y="21"/>
                      <a:pt x="18"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200" dirty="0"/>
              </a:p>
            </p:txBody>
          </p:sp>
          <p:sp>
            <p:nvSpPr>
              <p:cNvPr id="16" name="Freeform 15"/>
              <p:cNvSpPr>
                <a:spLocks/>
              </p:cNvSpPr>
              <p:nvPr/>
            </p:nvSpPr>
            <p:spPr bwMode="black">
              <a:xfrm>
                <a:off x="6673850" y="4624388"/>
                <a:ext cx="204788" cy="317500"/>
              </a:xfrm>
              <a:custGeom>
                <a:avLst/>
                <a:gdLst>
                  <a:gd name="T0" fmla="*/ 38 w 38"/>
                  <a:gd name="T1" fmla="*/ 0 h 59"/>
                  <a:gd name="T2" fmla="*/ 38 w 38"/>
                  <a:gd name="T3" fmla="*/ 0 h 59"/>
                  <a:gd name="T4" fmla="*/ 10 w 38"/>
                  <a:gd name="T5" fmla="*/ 28 h 59"/>
                  <a:gd name="T6" fmla="*/ 20 w 38"/>
                  <a:gd name="T7" fmla="*/ 58 h 59"/>
                  <a:gd name="T8" fmla="*/ 20 w 38"/>
                  <a:gd name="T9" fmla="*/ 37 h 59"/>
                  <a:gd name="T10" fmla="*/ 38 w 38"/>
                  <a:gd name="T11" fmla="*/ 0 h 59"/>
                </a:gdLst>
                <a:ahLst/>
                <a:cxnLst>
                  <a:cxn ang="0">
                    <a:pos x="T0" y="T1"/>
                  </a:cxn>
                  <a:cxn ang="0">
                    <a:pos x="T2" y="T3"/>
                  </a:cxn>
                  <a:cxn ang="0">
                    <a:pos x="T4" y="T5"/>
                  </a:cxn>
                  <a:cxn ang="0">
                    <a:pos x="T6" y="T7"/>
                  </a:cxn>
                  <a:cxn ang="0">
                    <a:pos x="T8" y="T9"/>
                  </a:cxn>
                  <a:cxn ang="0">
                    <a:pos x="T10" y="T11"/>
                  </a:cxn>
                </a:cxnLst>
                <a:rect l="0" t="0" r="r" b="b"/>
                <a:pathLst>
                  <a:path w="38" h="59">
                    <a:moveTo>
                      <a:pt x="38" y="0"/>
                    </a:moveTo>
                    <a:cubicBezTo>
                      <a:pt x="38" y="0"/>
                      <a:pt x="38" y="0"/>
                      <a:pt x="38" y="0"/>
                    </a:cubicBezTo>
                    <a:cubicBezTo>
                      <a:pt x="32" y="2"/>
                      <a:pt x="18" y="8"/>
                      <a:pt x="10" y="28"/>
                    </a:cubicBezTo>
                    <a:cubicBezTo>
                      <a:pt x="0" y="49"/>
                      <a:pt x="11" y="59"/>
                      <a:pt x="20" y="58"/>
                    </a:cubicBezTo>
                    <a:cubicBezTo>
                      <a:pt x="20" y="37"/>
                      <a:pt x="20" y="37"/>
                      <a:pt x="20" y="37"/>
                    </a:cubicBezTo>
                    <a:cubicBezTo>
                      <a:pt x="20" y="22"/>
                      <a:pt x="27" y="8"/>
                      <a:pt x="3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200" dirty="0"/>
              </a:p>
            </p:txBody>
          </p:sp>
          <p:sp>
            <p:nvSpPr>
              <p:cNvPr id="17" name="Freeform 16"/>
              <p:cNvSpPr>
                <a:spLocks/>
              </p:cNvSpPr>
              <p:nvPr/>
            </p:nvSpPr>
            <p:spPr bwMode="black">
              <a:xfrm>
                <a:off x="6818313" y="4640263"/>
                <a:ext cx="409575" cy="446088"/>
              </a:xfrm>
              <a:custGeom>
                <a:avLst/>
                <a:gdLst>
                  <a:gd name="T0" fmla="*/ 76 w 76"/>
                  <a:gd name="T1" fmla="*/ 33 h 83"/>
                  <a:gd name="T2" fmla="*/ 63 w 76"/>
                  <a:gd name="T3" fmla="*/ 0 h 83"/>
                  <a:gd name="T4" fmla="*/ 38 w 76"/>
                  <a:gd name="T5" fmla="*/ 12 h 83"/>
                  <a:gd name="T6" fmla="*/ 14 w 76"/>
                  <a:gd name="T7" fmla="*/ 0 h 83"/>
                  <a:gd name="T8" fmla="*/ 0 w 76"/>
                  <a:gd name="T9" fmla="*/ 33 h 83"/>
                  <a:gd name="T10" fmla="*/ 0 w 76"/>
                  <a:gd name="T11" fmla="*/ 66 h 83"/>
                  <a:gd name="T12" fmla="*/ 15 w 76"/>
                  <a:gd name="T13" fmla="*/ 83 h 83"/>
                  <a:gd name="T14" fmla="*/ 62 w 76"/>
                  <a:gd name="T15" fmla="*/ 83 h 83"/>
                  <a:gd name="T16" fmla="*/ 62 w 76"/>
                  <a:gd name="T17" fmla="*/ 83 h 83"/>
                  <a:gd name="T18" fmla="*/ 68 w 76"/>
                  <a:gd name="T19" fmla="*/ 55 h 83"/>
                  <a:gd name="T20" fmla="*/ 76 w 76"/>
                  <a:gd name="T21" fmla="*/ 41 h 83"/>
                  <a:gd name="T22" fmla="*/ 76 w 76"/>
                  <a:gd name="T23" fmla="*/ 3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3">
                    <a:moveTo>
                      <a:pt x="76" y="33"/>
                    </a:moveTo>
                    <a:cubicBezTo>
                      <a:pt x="76" y="20"/>
                      <a:pt x="71" y="8"/>
                      <a:pt x="63" y="0"/>
                    </a:cubicBezTo>
                    <a:cubicBezTo>
                      <a:pt x="57" y="7"/>
                      <a:pt x="48" y="12"/>
                      <a:pt x="38" y="12"/>
                    </a:cubicBezTo>
                    <a:cubicBezTo>
                      <a:pt x="28" y="12"/>
                      <a:pt x="20" y="7"/>
                      <a:pt x="14" y="0"/>
                    </a:cubicBezTo>
                    <a:cubicBezTo>
                      <a:pt x="5" y="8"/>
                      <a:pt x="0" y="20"/>
                      <a:pt x="0" y="33"/>
                    </a:cubicBezTo>
                    <a:cubicBezTo>
                      <a:pt x="0" y="66"/>
                      <a:pt x="0" y="66"/>
                      <a:pt x="0" y="66"/>
                    </a:cubicBezTo>
                    <a:cubicBezTo>
                      <a:pt x="0" y="76"/>
                      <a:pt x="7" y="83"/>
                      <a:pt x="15" y="83"/>
                    </a:cubicBezTo>
                    <a:cubicBezTo>
                      <a:pt x="62" y="83"/>
                      <a:pt x="62" y="83"/>
                      <a:pt x="62" y="83"/>
                    </a:cubicBezTo>
                    <a:cubicBezTo>
                      <a:pt x="62" y="83"/>
                      <a:pt x="62" y="83"/>
                      <a:pt x="62" y="83"/>
                    </a:cubicBezTo>
                    <a:cubicBezTo>
                      <a:pt x="62" y="74"/>
                      <a:pt x="63" y="64"/>
                      <a:pt x="68" y="55"/>
                    </a:cubicBezTo>
                    <a:cubicBezTo>
                      <a:pt x="70" y="50"/>
                      <a:pt x="73" y="45"/>
                      <a:pt x="76" y="41"/>
                    </a:cubicBezTo>
                    <a:lnTo>
                      <a:pt x="76"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200" dirty="0"/>
              </a:p>
            </p:txBody>
          </p:sp>
          <p:sp>
            <p:nvSpPr>
              <p:cNvPr id="18" name="Oval 17"/>
              <p:cNvSpPr>
                <a:spLocks noChangeArrowheads="1"/>
              </p:cNvSpPr>
              <p:nvPr/>
            </p:nvSpPr>
            <p:spPr bwMode="black">
              <a:xfrm>
                <a:off x="6888163" y="4386263"/>
                <a:ext cx="274638" cy="2698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200" dirty="0"/>
              </a:p>
            </p:txBody>
          </p:sp>
          <p:sp>
            <p:nvSpPr>
              <p:cNvPr id="19" name="Freeform 18"/>
              <p:cNvSpPr>
                <a:spLocks/>
              </p:cNvSpPr>
              <p:nvPr/>
            </p:nvSpPr>
            <p:spPr bwMode="black">
              <a:xfrm>
                <a:off x="7732713" y="5108575"/>
                <a:ext cx="344488" cy="312738"/>
              </a:xfrm>
              <a:custGeom>
                <a:avLst/>
                <a:gdLst>
                  <a:gd name="T0" fmla="*/ 56 w 64"/>
                  <a:gd name="T1" fmla="*/ 24 h 58"/>
                  <a:gd name="T2" fmla="*/ 34 w 64"/>
                  <a:gd name="T3" fmla="*/ 14 h 58"/>
                  <a:gd name="T4" fmla="*/ 31 w 64"/>
                  <a:gd name="T5" fmla="*/ 6 h 58"/>
                  <a:gd name="T6" fmla="*/ 20 w 64"/>
                  <a:gd name="T7" fmla="*/ 0 h 58"/>
                  <a:gd name="T8" fmla="*/ 14 w 64"/>
                  <a:gd name="T9" fmla="*/ 23 h 58"/>
                  <a:gd name="T10" fmla="*/ 0 w 64"/>
                  <a:gd name="T11" fmla="*/ 42 h 58"/>
                  <a:gd name="T12" fmla="*/ 11 w 64"/>
                  <a:gd name="T13" fmla="*/ 47 h 58"/>
                  <a:gd name="T14" fmla="*/ 19 w 64"/>
                  <a:gd name="T15" fmla="*/ 44 h 58"/>
                  <a:gd name="T16" fmla="*/ 41 w 64"/>
                  <a:gd name="T17" fmla="*/ 55 h 58"/>
                  <a:gd name="T18" fmla="*/ 58 w 64"/>
                  <a:gd name="T19" fmla="*/ 47 h 58"/>
                  <a:gd name="T20" fmla="*/ 60 w 64"/>
                  <a:gd name="T21" fmla="*/ 42 h 58"/>
                  <a:gd name="T22" fmla="*/ 56 w 64"/>
                  <a:gd name="T23" fmla="*/ 2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58">
                    <a:moveTo>
                      <a:pt x="56" y="24"/>
                    </a:moveTo>
                    <a:cubicBezTo>
                      <a:pt x="34" y="14"/>
                      <a:pt x="34" y="14"/>
                      <a:pt x="34" y="14"/>
                    </a:cubicBezTo>
                    <a:cubicBezTo>
                      <a:pt x="35" y="11"/>
                      <a:pt x="34" y="7"/>
                      <a:pt x="31" y="6"/>
                    </a:cubicBezTo>
                    <a:cubicBezTo>
                      <a:pt x="20" y="0"/>
                      <a:pt x="20" y="0"/>
                      <a:pt x="20" y="0"/>
                    </a:cubicBezTo>
                    <a:cubicBezTo>
                      <a:pt x="19" y="8"/>
                      <a:pt x="17" y="16"/>
                      <a:pt x="14" y="23"/>
                    </a:cubicBezTo>
                    <a:cubicBezTo>
                      <a:pt x="10" y="30"/>
                      <a:pt x="5" y="37"/>
                      <a:pt x="0" y="42"/>
                    </a:cubicBezTo>
                    <a:cubicBezTo>
                      <a:pt x="11" y="47"/>
                      <a:pt x="11" y="47"/>
                      <a:pt x="11" y="47"/>
                    </a:cubicBezTo>
                    <a:cubicBezTo>
                      <a:pt x="14" y="49"/>
                      <a:pt x="18" y="47"/>
                      <a:pt x="19" y="44"/>
                    </a:cubicBezTo>
                    <a:cubicBezTo>
                      <a:pt x="41" y="55"/>
                      <a:pt x="41" y="55"/>
                      <a:pt x="41" y="55"/>
                    </a:cubicBezTo>
                    <a:cubicBezTo>
                      <a:pt x="47" y="58"/>
                      <a:pt x="54" y="54"/>
                      <a:pt x="58" y="47"/>
                    </a:cubicBezTo>
                    <a:cubicBezTo>
                      <a:pt x="60" y="42"/>
                      <a:pt x="60" y="42"/>
                      <a:pt x="60" y="42"/>
                    </a:cubicBezTo>
                    <a:cubicBezTo>
                      <a:pt x="64" y="35"/>
                      <a:pt x="62" y="27"/>
                      <a:pt x="5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200" dirty="0"/>
              </a:p>
            </p:txBody>
          </p:sp>
          <p:sp>
            <p:nvSpPr>
              <p:cNvPr id="20" name="Freeform 19"/>
              <p:cNvSpPr>
                <a:spLocks noEditPoints="1"/>
              </p:cNvSpPr>
              <p:nvPr/>
            </p:nvSpPr>
            <p:spPr bwMode="black">
              <a:xfrm>
                <a:off x="7158038" y="4748213"/>
                <a:ext cx="671513" cy="673100"/>
              </a:xfrm>
              <a:custGeom>
                <a:avLst/>
                <a:gdLst>
                  <a:gd name="T0" fmla="*/ 86 w 125"/>
                  <a:gd name="T1" fmla="*/ 13 h 125"/>
                  <a:gd name="T2" fmla="*/ 13 w 125"/>
                  <a:gd name="T3" fmla="*/ 39 h 125"/>
                  <a:gd name="T4" fmla="*/ 39 w 125"/>
                  <a:gd name="T5" fmla="*/ 112 h 125"/>
                  <a:gd name="T6" fmla="*/ 112 w 125"/>
                  <a:gd name="T7" fmla="*/ 86 h 125"/>
                  <a:gd name="T8" fmla="*/ 86 w 125"/>
                  <a:gd name="T9" fmla="*/ 13 h 125"/>
                  <a:gd name="T10" fmla="*/ 97 w 125"/>
                  <a:gd name="T11" fmla="*/ 79 h 125"/>
                  <a:gd name="T12" fmla="*/ 47 w 125"/>
                  <a:gd name="T13" fmla="*/ 96 h 125"/>
                  <a:gd name="T14" fmla="*/ 29 w 125"/>
                  <a:gd name="T15" fmla="*/ 46 h 125"/>
                  <a:gd name="T16" fmla="*/ 79 w 125"/>
                  <a:gd name="T17" fmla="*/ 28 h 125"/>
                  <a:gd name="T18" fmla="*/ 97 w 125"/>
                  <a:gd name="T19" fmla="*/ 7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5" h="125">
                    <a:moveTo>
                      <a:pt x="86" y="13"/>
                    </a:moveTo>
                    <a:cubicBezTo>
                      <a:pt x="59" y="0"/>
                      <a:pt x="26" y="12"/>
                      <a:pt x="13" y="39"/>
                    </a:cubicBezTo>
                    <a:cubicBezTo>
                      <a:pt x="0" y="66"/>
                      <a:pt x="12" y="99"/>
                      <a:pt x="39" y="112"/>
                    </a:cubicBezTo>
                    <a:cubicBezTo>
                      <a:pt x="66" y="125"/>
                      <a:pt x="99" y="113"/>
                      <a:pt x="112" y="86"/>
                    </a:cubicBezTo>
                    <a:cubicBezTo>
                      <a:pt x="125" y="59"/>
                      <a:pt x="114" y="26"/>
                      <a:pt x="86" y="13"/>
                    </a:cubicBezTo>
                    <a:close/>
                    <a:moveTo>
                      <a:pt x="97" y="79"/>
                    </a:moveTo>
                    <a:cubicBezTo>
                      <a:pt x="88" y="97"/>
                      <a:pt x="65" y="105"/>
                      <a:pt x="47" y="96"/>
                    </a:cubicBezTo>
                    <a:cubicBezTo>
                      <a:pt x="28" y="87"/>
                      <a:pt x="20" y="65"/>
                      <a:pt x="29" y="46"/>
                    </a:cubicBezTo>
                    <a:cubicBezTo>
                      <a:pt x="38" y="27"/>
                      <a:pt x="60" y="19"/>
                      <a:pt x="79" y="28"/>
                    </a:cubicBezTo>
                    <a:cubicBezTo>
                      <a:pt x="98" y="37"/>
                      <a:pt x="106" y="60"/>
                      <a:pt x="97"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200" dirty="0"/>
              </a:p>
            </p:txBody>
          </p:sp>
          <p:sp>
            <p:nvSpPr>
              <p:cNvPr id="21" name="Freeform 20"/>
              <p:cNvSpPr>
                <a:spLocks/>
              </p:cNvSpPr>
              <p:nvPr/>
            </p:nvSpPr>
            <p:spPr bwMode="black">
              <a:xfrm>
                <a:off x="7351713" y="4908550"/>
                <a:ext cx="225425" cy="150813"/>
              </a:xfrm>
              <a:custGeom>
                <a:avLst/>
                <a:gdLst>
                  <a:gd name="T0" fmla="*/ 39 w 42"/>
                  <a:gd name="T1" fmla="*/ 7 h 28"/>
                  <a:gd name="T2" fmla="*/ 39 w 42"/>
                  <a:gd name="T3" fmla="*/ 7 h 28"/>
                  <a:gd name="T4" fmla="*/ 1 w 42"/>
                  <a:gd name="T5" fmla="*/ 20 h 28"/>
                  <a:gd name="T6" fmla="*/ 3 w 42"/>
                  <a:gd name="T7" fmla="*/ 27 h 28"/>
                  <a:gd name="T8" fmla="*/ 10 w 42"/>
                  <a:gd name="T9" fmla="*/ 24 h 28"/>
                  <a:gd name="T10" fmla="*/ 35 w 42"/>
                  <a:gd name="T11" fmla="*/ 15 h 28"/>
                  <a:gd name="T12" fmla="*/ 41 w 42"/>
                  <a:gd name="T13" fmla="*/ 13 h 28"/>
                  <a:gd name="T14" fmla="*/ 39 w 42"/>
                  <a:gd name="T15" fmla="*/ 7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28">
                    <a:moveTo>
                      <a:pt x="39" y="7"/>
                    </a:moveTo>
                    <a:cubicBezTo>
                      <a:pt x="39" y="7"/>
                      <a:pt x="39" y="7"/>
                      <a:pt x="39" y="7"/>
                    </a:cubicBezTo>
                    <a:cubicBezTo>
                      <a:pt x="25" y="0"/>
                      <a:pt x="8" y="6"/>
                      <a:pt x="1" y="20"/>
                    </a:cubicBezTo>
                    <a:cubicBezTo>
                      <a:pt x="0" y="23"/>
                      <a:pt x="1" y="25"/>
                      <a:pt x="3" y="27"/>
                    </a:cubicBezTo>
                    <a:cubicBezTo>
                      <a:pt x="6" y="28"/>
                      <a:pt x="8" y="27"/>
                      <a:pt x="10" y="24"/>
                    </a:cubicBezTo>
                    <a:cubicBezTo>
                      <a:pt x="14" y="15"/>
                      <a:pt x="25" y="11"/>
                      <a:pt x="35" y="15"/>
                    </a:cubicBezTo>
                    <a:cubicBezTo>
                      <a:pt x="37" y="16"/>
                      <a:pt x="40" y="15"/>
                      <a:pt x="41" y="13"/>
                    </a:cubicBezTo>
                    <a:cubicBezTo>
                      <a:pt x="42" y="11"/>
                      <a:pt x="41" y="8"/>
                      <a:pt x="39"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200" dirty="0"/>
              </a:p>
            </p:txBody>
          </p:sp>
        </p:grpSp>
      </p:grpSp>
      <p:grpSp>
        <p:nvGrpSpPr>
          <p:cNvPr id="37" name="Group 36"/>
          <p:cNvGrpSpPr/>
          <p:nvPr/>
        </p:nvGrpSpPr>
        <p:grpSpPr>
          <a:xfrm>
            <a:off x="684787" y="2504204"/>
            <a:ext cx="778304" cy="722556"/>
            <a:chOff x="912812" y="3338937"/>
            <a:chExt cx="1037468" cy="963409"/>
          </a:xfrm>
        </p:grpSpPr>
        <p:sp>
          <p:nvSpPr>
            <p:cNvPr id="6" name="TextBox 5"/>
            <p:cNvSpPr txBox="1"/>
            <p:nvPr/>
          </p:nvSpPr>
          <p:spPr>
            <a:xfrm>
              <a:off x="912812" y="3850941"/>
              <a:ext cx="1037468" cy="451405"/>
            </a:xfrm>
            <a:prstGeom prst="rect">
              <a:avLst/>
            </a:prstGeom>
            <a:noFill/>
          </p:spPr>
          <p:txBody>
            <a:bodyPr wrap="square" rtlCol="0">
              <a:spAutoFit/>
            </a:bodyPr>
            <a:lstStyle/>
            <a:p>
              <a:pPr algn="ctr"/>
              <a:r>
                <a:rPr lang="en-US" sz="800" b="1" dirty="0">
                  <a:latin typeface="Segoe WP Light"/>
                </a:rPr>
                <a:t>Entitlement</a:t>
              </a:r>
              <a:br>
                <a:rPr lang="en-US" sz="800" b="1" dirty="0">
                  <a:latin typeface="Segoe WP Light"/>
                </a:rPr>
              </a:br>
              <a:r>
                <a:rPr lang="en-US" sz="800" b="1" dirty="0">
                  <a:latin typeface="Segoe WP Light"/>
                </a:rPr>
                <a:t>Type</a:t>
              </a:r>
            </a:p>
          </p:txBody>
        </p:sp>
        <p:sp>
          <p:nvSpPr>
            <p:cNvPr id="22" name="Freeform 21"/>
            <p:cNvSpPr>
              <a:spLocks noEditPoints="1"/>
            </p:cNvSpPr>
            <p:nvPr/>
          </p:nvSpPr>
          <p:spPr bwMode="black">
            <a:xfrm>
              <a:off x="1252990" y="3338937"/>
              <a:ext cx="407037" cy="429679"/>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200" dirty="0"/>
            </a:p>
          </p:txBody>
        </p:sp>
      </p:grpSp>
      <p:sp>
        <p:nvSpPr>
          <p:cNvPr id="23" name="Rectangle 22"/>
          <p:cNvSpPr/>
          <p:nvPr/>
        </p:nvSpPr>
        <p:spPr bwMode="auto">
          <a:xfrm>
            <a:off x="2720039" y="971552"/>
            <a:ext cx="1059476" cy="896901"/>
          </a:xfrm>
          <a:prstGeom prst="rect">
            <a:avLst/>
          </a:prstGeom>
          <a:solidFill>
            <a:schemeClr val="accent1"/>
          </a:solidFill>
          <a:ln w="28575" cap="flat" cmpd="sng" algn="ctr">
            <a:solidFill>
              <a:schemeClr val="tx1"/>
            </a:solidFill>
            <a:prstDash val="solid"/>
            <a:headEnd type="none" w="med" len="med"/>
            <a:tailEnd type="none" w="med" len="med"/>
          </a:ln>
          <a:effectLst/>
        </p:spPr>
        <p:txBody>
          <a:bodyPr rot="0" spcFirstLastPara="0" vertOverflow="overflow" horzOverflow="overflow" vert="horz" wrap="square" lIns="51450" tIns="25725" rIns="25725" bIns="51450" numCol="1" spcCol="0" rtlCol="0" fromWordArt="0" anchor="t" anchorCtr="0" forceAA="0" compatLnSpc="1">
            <a:prstTxWarp prst="textNoShape">
              <a:avLst/>
            </a:prstTxWarp>
            <a:noAutofit/>
          </a:bodyPr>
          <a:lstStyle/>
          <a:p>
            <a:pPr marL="214287" indent="-214287">
              <a:buFont typeface="Arial" pitchFamily="34" charset="0"/>
              <a:buChar char="•"/>
            </a:pPr>
            <a:endParaRPr lang="en-US" dirty="0" smtClean="0"/>
          </a:p>
        </p:txBody>
      </p:sp>
      <p:sp>
        <p:nvSpPr>
          <p:cNvPr id="25" name="Rectangle 24"/>
          <p:cNvSpPr/>
          <p:nvPr/>
        </p:nvSpPr>
        <p:spPr bwMode="auto">
          <a:xfrm>
            <a:off x="2720045" y="1862095"/>
            <a:ext cx="1059475" cy="165674"/>
          </a:xfrm>
          <a:prstGeom prst="rect">
            <a:avLst/>
          </a:prstGeom>
          <a:solidFill>
            <a:schemeClr val="tx1"/>
          </a:solidFill>
          <a:ln w="28575" cap="flat" cmpd="sng" algn="ctr">
            <a:solidFill>
              <a:schemeClr val="tx1"/>
            </a:solidFill>
            <a:prstDash val="solid"/>
            <a:headEnd type="none" w="med" len="med"/>
            <a:tailEnd type="none" w="med" len="med"/>
          </a:ln>
          <a:effectLst/>
        </p:spPr>
        <p:txBody>
          <a:bodyPr rot="0" spcFirstLastPara="0" vertOverflow="overflow" horzOverflow="overflow" vert="horz" wrap="square" lIns="51450" tIns="25725" rIns="25725" bIns="51450" numCol="1" spcCol="0" rtlCol="0" fromWordArt="0" anchor="t" anchorCtr="0" forceAA="0" compatLnSpc="1">
            <a:prstTxWarp prst="textNoShape">
              <a:avLst/>
            </a:prstTxWarp>
            <a:noAutofit/>
          </a:bodyPr>
          <a:lstStyle/>
          <a:p>
            <a:pPr algn="ctr"/>
            <a:r>
              <a:rPr lang="en-US" sz="800" b="1" dirty="0">
                <a:solidFill>
                  <a:schemeClr val="accent1"/>
                </a:solidFill>
                <a:latin typeface="Segoe UI Light" pitchFamily="34" charset="0"/>
              </a:rPr>
              <a:t>AUTHORIZATION</a:t>
            </a:r>
          </a:p>
          <a:p>
            <a:pPr fontAlgn="base">
              <a:spcBef>
                <a:spcPct val="0"/>
              </a:spcBef>
              <a:spcAft>
                <a:spcPct val="0"/>
              </a:spcAft>
            </a:pPr>
            <a:endParaRPr lang="en-US" sz="800" b="1" kern="0" spc="-29" dirty="0">
              <a:solidFill>
                <a:schemeClr val="accent1"/>
              </a:solidFill>
              <a:latin typeface="Segoe WP" pitchFamily="34" charset="0"/>
              <a:ea typeface="Segoe UI" pitchFamily="34" charset="0"/>
              <a:cs typeface="Segoe UI" pitchFamily="34" charset="0"/>
            </a:endParaRPr>
          </a:p>
        </p:txBody>
      </p:sp>
      <p:sp>
        <p:nvSpPr>
          <p:cNvPr id="26" name="Freeform 25"/>
          <p:cNvSpPr>
            <a:spLocks noEditPoints="1"/>
          </p:cNvSpPr>
          <p:nvPr/>
        </p:nvSpPr>
        <p:spPr bwMode="black">
          <a:xfrm>
            <a:off x="3073333" y="1262653"/>
            <a:ext cx="412534" cy="351170"/>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61720" tIns="30860" rIns="61720" bIns="3086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200" dirty="0"/>
          </a:p>
        </p:txBody>
      </p:sp>
      <p:sp>
        <p:nvSpPr>
          <p:cNvPr id="27" name="TextBox 26"/>
          <p:cNvSpPr txBox="1"/>
          <p:nvPr/>
        </p:nvSpPr>
        <p:spPr>
          <a:xfrm>
            <a:off x="460547" y="1859468"/>
            <a:ext cx="1059475" cy="167965"/>
          </a:xfrm>
          <a:prstGeom prst="rect">
            <a:avLst/>
          </a:prstGeom>
          <a:noFill/>
          <a:ln w="28575">
            <a:solidFill>
              <a:schemeClr val="tx1"/>
            </a:solidFill>
          </a:ln>
        </p:spPr>
        <p:txBody>
          <a:bodyPr wrap="square" lIns="68571" tIns="34286" rIns="68571" bIns="34286" rtlCol="0" anchor="b">
            <a:noAutofit/>
          </a:bodyPr>
          <a:lstStyle/>
          <a:p>
            <a:endParaRPr lang="en-US" dirty="0">
              <a:solidFill>
                <a:schemeClr val="bg2">
                  <a:lumMod val="50000"/>
                </a:schemeClr>
              </a:solidFill>
            </a:endParaRPr>
          </a:p>
        </p:txBody>
      </p:sp>
      <p:sp>
        <p:nvSpPr>
          <p:cNvPr id="28" name="Rectangle 27"/>
          <p:cNvSpPr/>
          <p:nvPr/>
        </p:nvSpPr>
        <p:spPr bwMode="auto">
          <a:xfrm>
            <a:off x="460547" y="1861754"/>
            <a:ext cx="1059475" cy="166017"/>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51450" tIns="25725" rIns="25725" bIns="51450" numCol="1" spcCol="0" rtlCol="0" fromWordArt="0" anchor="t" anchorCtr="0" forceAA="0" compatLnSpc="1">
            <a:prstTxWarp prst="textNoShape">
              <a:avLst/>
            </a:prstTxWarp>
            <a:noAutofit/>
          </a:bodyPr>
          <a:lstStyle/>
          <a:p>
            <a:pPr algn="ctr"/>
            <a:r>
              <a:rPr lang="en-US" sz="800" b="1" dirty="0">
                <a:solidFill>
                  <a:schemeClr val="accent1"/>
                </a:solidFill>
                <a:latin typeface="Segoe UI Light" pitchFamily="34" charset="0"/>
              </a:rPr>
              <a:t>ADMINISTRATION</a:t>
            </a:r>
          </a:p>
          <a:p>
            <a:pPr fontAlgn="base">
              <a:spcBef>
                <a:spcPct val="0"/>
              </a:spcBef>
              <a:spcAft>
                <a:spcPct val="0"/>
              </a:spcAft>
            </a:pPr>
            <a:endParaRPr lang="en-US" sz="800" b="1" kern="0" spc="-29" dirty="0">
              <a:solidFill>
                <a:schemeClr val="accent1"/>
              </a:solidFill>
              <a:latin typeface="Segoe WP" pitchFamily="34" charset="0"/>
              <a:ea typeface="Segoe UI" pitchFamily="34" charset="0"/>
              <a:cs typeface="Segoe UI" pitchFamily="34" charset="0"/>
            </a:endParaRPr>
          </a:p>
        </p:txBody>
      </p:sp>
      <p:sp>
        <p:nvSpPr>
          <p:cNvPr id="29" name="TextBox 28"/>
          <p:cNvSpPr txBox="1"/>
          <p:nvPr/>
        </p:nvSpPr>
        <p:spPr>
          <a:xfrm>
            <a:off x="1588369" y="1859461"/>
            <a:ext cx="1059475" cy="167966"/>
          </a:xfrm>
          <a:prstGeom prst="rect">
            <a:avLst/>
          </a:prstGeom>
          <a:noFill/>
          <a:ln w="28575">
            <a:solidFill>
              <a:schemeClr val="tx1"/>
            </a:solidFill>
          </a:ln>
        </p:spPr>
        <p:txBody>
          <a:bodyPr wrap="square" lIns="68571" tIns="34286" rIns="68571" bIns="34286" rtlCol="0" anchor="b">
            <a:noAutofit/>
          </a:bodyPr>
          <a:lstStyle/>
          <a:p>
            <a:endParaRPr lang="en-US" dirty="0">
              <a:solidFill>
                <a:schemeClr val="bg2">
                  <a:lumMod val="50000"/>
                </a:schemeClr>
              </a:solidFill>
            </a:endParaRPr>
          </a:p>
        </p:txBody>
      </p:sp>
      <p:sp>
        <p:nvSpPr>
          <p:cNvPr id="30" name="Rectangle 29"/>
          <p:cNvSpPr/>
          <p:nvPr/>
        </p:nvSpPr>
        <p:spPr bwMode="auto">
          <a:xfrm>
            <a:off x="1588369" y="1861754"/>
            <a:ext cx="1059475" cy="166017"/>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51450" tIns="25725" rIns="25725" bIns="51450" numCol="1" spcCol="0" rtlCol="0" fromWordArt="0" anchor="t" anchorCtr="0" forceAA="0" compatLnSpc="1">
            <a:prstTxWarp prst="textNoShape">
              <a:avLst/>
            </a:prstTxWarp>
            <a:noAutofit/>
          </a:bodyPr>
          <a:lstStyle/>
          <a:p>
            <a:pPr algn="ctr"/>
            <a:r>
              <a:rPr lang="en-US" sz="800" b="1" dirty="0">
                <a:solidFill>
                  <a:schemeClr val="accent1"/>
                </a:solidFill>
                <a:latin typeface="Segoe UI Light" pitchFamily="34" charset="0"/>
              </a:rPr>
              <a:t>AUTHENTICATION</a:t>
            </a:r>
          </a:p>
          <a:p>
            <a:pPr fontAlgn="base">
              <a:spcBef>
                <a:spcPct val="0"/>
              </a:spcBef>
              <a:spcAft>
                <a:spcPct val="0"/>
              </a:spcAft>
            </a:pPr>
            <a:endParaRPr lang="en-US" sz="800" b="1" kern="0" spc="-29" dirty="0">
              <a:solidFill>
                <a:schemeClr val="accent1"/>
              </a:solidFill>
              <a:latin typeface="Segoe WP" pitchFamily="34" charset="0"/>
              <a:ea typeface="Segoe UI" pitchFamily="34" charset="0"/>
              <a:cs typeface="Segoe UI" pitchFamily="34" charset="0"/>
            </a:endParaRPr>
          </a:p>
        </p:txBody>
      </p:sp>
      <p:sp>
        <p:nvSpPr>
          <p:cNvPr id="31" name="TextBox 30"/>
          <p:cNvSpPr txBox="1"/>
          <p:nvPr/>
        </p:nvSpPr>
        <p:spPr>
          <a:xfrm>
            <a:off x="3853634" y="1859461"/>
            <a:ext cx="1059475" cy="168308"/>
          </a:xfrm>
          <a:prstGeom prst="rect">
            <a:avLst/>
          </a:prstGeom>
          <a:noFill/>
          <a:ln w="28575">
            <a:solidFill>
              <a:schemeClr val="tx1"/>
            </a:solidFill>
          </a:ln>
        </p:spPr>
        <p:txBody>
          <a:bodyPr wrap="square" lIns="68571" tIns="34286" rIns="68571" bIns="34286" rtlCol="0" anchor="b">
            <a:noAutofit/>
          </a:bodyPr>
          <a:lstStyle/>
          <a:p>
            <a:endParaRPr lang="en-US" dirty="0">
              <a:solidFill>
                <a:schemeClr val="bg2">
                  <a:lumMod val="50000"/>
                </a:schemeClr>
              </a:solidFill>
            </a:endParaRPr>
          </a:p>
        </p:txBody>
      </p:sp>
      <p:sp>
        <p:nvSpPr>
          <p:cNvPr id="32" name="Rectangle 31"/>
          <p:cNvSpPr/>
          <p:nvPr/>
        </p:nvSpPr>
        <p:spPr bwMode="auto">
          <a:xfrm>
            <a:off x="3853634" y="1859463"/>
            <a:ext cx="1059475" cy="165674"/>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51450" tIns="25725" rIns="25725" bIns="51450" numCol="1" spcCol="0" rtlCol="0" fromWordArt="0" anchor="t" anchorCtr="0" forceAA="0" compatLnSpc="1">
            <a:prstTxWarp prst="textNoShape">
              <a:avLst/>
            </a:prstTxWarp>
            <a:noAutofit/>
          </a:bodyPr>
          <a:lstStyle/>
          <a:p>
            <a:pPr algn="ctr"/>
            <a:r>
              <a:rPr lang="en-US" sz="800" b="1" dirty="0">
                <a:solidFill>
                  <a:schemeClr val="accent1"/>
                </a:solidFill>
                <a:latin typeface="Segoe UI Light" pitchFamily="34" charset="0"/>
              </a:rPr>
              <a:t>AUDIT</a:t>
            </a:r>
          </a:p>
          <a:p>
            <a:pPr fontAlgn="base">
              <a:spcBef>
                <a:spcPct val="0"/>
              </a:spcBef>
              <a:spcAft>
                <a:spcPct val="0"/>
              </a:spcAft>
            </a:pPr>
            <a:endParaRPr lang="en-US" sz="800" b="1" kern="0" spc="-29" dirty="0">
              <a:solidFill>
                <a:schemeClr val="accent1"/>
              </a:solidFill>
              <a:latin typeface="Segoe WP" pitchFamily="34" charset="0"/>
              <a:ea typeface="Segoe UI" pitchFamily="34" charset="0"/>
              <a:cs typeface="Segoe UI" pitchFamily="34" charset="0"/>
            </a:endParaRPr>
          </a:p>
        </p:txBody>
      </p:sp>
      <p:sp>
        <p:nvSpPr>
          <p:cNvPr id="33" name="Rectangle 32"/>
          <p:cNvSpPr/>
          <p:nvPr/>
        </p:nvSpPr>
        <p:spPr>
          <a:xfrm>
            <a:off x="5486638" y="1894707"/>
            <a:ext cx="2972574" cy="346249"/>
          </a:xfrm>
          <a:prstGeom prst="rect">
            <a:avLst/>
          </a:prstGeom>
        </p:spPr>
        <p:txBody>
          <a:bodyPr wrap="square" lIns="68571" tIns="34286" rIns="68571" bIns="34286">
            <a:spAutoFit/>
          </a:bodyPr>
          <a:lstStyle/>
          <a:p>
            <a:pPr algn="ctr"/>
            <a:r>
              <a:rPr lang="en-US" sz="1800" b="1" dirty="0">
                <a:latin typeface="Segoe UI Light" pitchFamily="34" charset="0"/>
              </a:rPr>
              <a:t>Authorization Provides</a:t>
            </a:r>
          </a:p>
        </p:txBody>
      </p:sp>
      <p:sp>
        <p:nvSpPr>
          <p:cNvPr id="34" name="Text Placeholder 2"/>
          <p:cNvSpPr>
            <a:spLocks noGrp="1"/>
          </p:cNvSpPr>
          <p:nvPr>
            <p:ph type="body" sz="quarter" idx="10"/>
          </p:nvPr>
        </p:nvSpPr>
        <p:spPr>
          <a:xfrm>
            <a:off x="5427520" y="2410883"/>
            <a:ext cx="3202213" cy="592085"/>
          </a:xfrm>
        </p:spPr>
        <p:txBody>
          <a:bodyPr/>
          <a:lstStyle/>
          <a:p>
            <a:r>
              <a:rPr lang="en-US" sz="1400" dirty="0">
                <a:latin typeface="Segoe UI Light" pitchFamily="34" charset="0"/>
              </a:rPr>
              <a:t>Extensive methods of assigning entitlement allowing for increased security and less administration</a:t>
            </a:r>
          </a:p>
        </p:txBody>
      </p:sp>
      <p:sp>
        <p:nvSpPr>
          <p:cNvPr id="35" name="Text Placeholder 2"/>
          <p:cNvSpPr txBox="1">
            <a:spLocks/>
          </p:cNvSpPr>
          <p:nvPr/>
        </p:nvSpPr>
        <p:spPr>
          <a:xfrm>
            <a:off x="5428499" y="3242028"/>
            <a:ext cx="3202213" cy="197362"/>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400" dirty="0">
                <a:latin typeface="Segoe UI Light" pitchFamily="34" charset="0"/>
              </a:rPr>
              <a:t>Policies written or centrally enforced</a:t>
            </a:r>
          </a:p>
        </p:txBody>
      </p:sp>
      <p:sp>
        <p:nvSpPr>
          <p:cNvPr id="36" name="Text Placeholder 2"/>
          <p:cNvSpPr txBox="1">
            <a:spLocks/>
          </p:cNvSpPr>
          <p:nvPr/>
        </p:nvSpPr>
        <p:spPr>
          <a:xfrm>
            <a:off x="5428499" y="3782483"/>
            <a:ext cx="3202213" cy="592085"/>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400" dirty="0">
                <a:latin typeface="Segoe UI Light" pitchFamily="34" charset="0"/>
              </a:rPr>
              <a:t>Simplify and accelerate enforcement through agent, API, and proxy based approaches</a:t>
            </a:r>
          </a:p>
        </p:txBody>
      </p:sp>
      <p:pic>
        <p:nvPicPr>
          <p:cNvPr id="40" name="Picture 2">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177834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34">
                                            <p:txEl>
                                              <p:pRg st="0" end="0"/>
                                            </p:txEl>
                                          </p:spTgt>
                                        </p:tgtEl>
                                        <p:attrNameLst>
                                          <p:attrName>style.visibility</p:attrName>
                                        </p:attrNameLst>
                                      </p:cBhvr>
                                      <p:to>
                                        <p:strVal val="visible"/>
                                      </p:to>
                                    </p:set>
                                    <p:animEffect transition="in" filter="fade">
                                      <p:cBhvr>
                                        <p:cTn id="7" dur="1000"/>
                                        <p:tgtEl>
                                          <p:spTgt spid="34">
                                            <p:txEl>
                                              <p:pRg st="0" end="0"/>
                                            </p:txEl>
                                          </p:spTgt>
                                        </p:tgtEl>
                                      </p:cBhvr>
                                    </p:animEffect>
                                  </p:childTnLst>
                                </p:cTn>
                              </p:par>
                            </p:childTnLst>
                          </p:cTn>
                        </p:par>
                        <p:par>
                          <p:cTn id="8" fill="hold">
                            <p:stCondLst>
                              <p:cond delay="1500"/>
                            </p:stCondLst>
                            <p:childTnLst>
                              <p:par>
                                <p:cTn id="9" presetID="10" presetClass="entr" presetSubtype="0" fill="hold" grpId="0" nodeType="afterEffect">
                                  <p:stCondLst>
                                    <p:cond delay="1000"/>
                                  </p:stCondLst>
                                  <p:childTnLst>
                                    <p:set>
                                      <p:cBhvr>
                                        <p:cTn id="10" dur="1" fill="hold">
                                          <p:stCondLst>
                                            <p:cond delay="0"/>
                                          </p:stCondLst>
                                        </p:cTn>
                                        <p:tgtEl>
                                          <p:spTgt spid="35"/>
                                        </p:tgtEl>
                                        <p:attrNameLst>
                                          <p:attrName>style.visibility</p:attrName>
                                        </p:attrNameLst>
                                      </p:cBhvr>
                                      <p:to>
                                        <p:strVal val="visible"/>
                                      </p:to>
                                    </p:set>
                                    <p:animEffect transition="in" filter="fade">
                                      <p:cBhvr>
                                        <p:cTn id="11" dur="1000"/>
                                        <p:tgtEl>
                                          <p:spTgt spid="35"/>
                                        </p:tgtEl>
                                      </p:cBhvr>
                                    </p:animEffect>
                                  </p:childTnLst>
                                </p:cTn>
                              </p:par>
                            </p:childTnLst>
                          </p:cTn>
                        </p:par>
                        <p:par>
                          <p:cTn id="12" fill="hold">
                            <p:stCondLst>
                              <p:cond delay="3500"/>
                            </p:stCondLst>
                            <p:childTnLst>
                              <p:par>
                                <p:cTn id="13" presetID="10" presetClass="entr" presetSubtype="0" fill="hold" grpId="0" nodeType="afterEffect">
                                  <p:stCondLst>
                                    <p:cond delay="1000"/>
                                  </p:stCondLst>
                                  <p:childTnLst>
                                    <p:set>
                                      <p:cBhvr>
                                        <p:cTn id="14" dur="1" fill="hold">
                                          <p:stCondLst>
                                            <p:cond delay="0"/>
                                          </p:stCondLst>
                                        </p:cTn>
                                        <p:tgtEl>
                                          <p:spTgt spid="36"/>
                                        </p:tgtEl>
                                        <p:attrNameLst>
                                          <p:attrName>style.visibility</p:attrName>
                                        </p:attrNameLst>
                                      </p:cBhvr>
                                      <p:to>
                                        <p:strVal val="visible"/>
                                      </p:to>
                                    </p:set>
                                    <p:animEffect transition="in" filter="fade">
                                      <p:cBhvr>
                                        <p:cTn id="15" dur="10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build="p"/>
      <p:bldP spid="35" grpId="0"/>
      <p:bldP spid="36" grpId="0"/>
    </p:bldLst>
  </p:timing>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udit</a:t>
            </a:r>
            <a:endParaRPr lang="en-US" dirty="0"/>
          </a:p>
        </p:txBody>
      </p:sp>
      <p:sp>
        <p:nvSpPr>
          <p:cNvPr id="4" name="Rectangle 3"/>
          <p:cNvSpPr/>
          <p:nvPr/>
        </p:nvSpPr>
        <p:spPr bwMode="auto">
          <a:xfrm>
            <a:off x="447251" y="2098397"/>
            <a:ext cx="4471568" cy="2184141"/>
          </a:xfrm>
          <a:prstGeom prst="rect">
            <a:avLst/>
          </a:prstGeom>
          <a:solidFill>
            <a:schemeClr val="accent1"/>
          </a:solidFill>
          <a:ln w="28575" cap="flat" cmpd="sng" algn="ctr">
            <a:solidFill>
              <a:schemeClr val="tx1"/>
            </a:solidFill>
            <a:prstDash val="solid"/>
            <a:headEnd type="none" w="med" len="med"/>
            <a:tailEnd type="none" w="med" len="med"/>
          </a:ln>
          <a:effectLst/>
        </p:spPr>
        <p:txBody>
          <a:bodyPr rot="0" spcFirstLastPara="0" vertOverflow="overflow" horzOverflow="overflow" vert="horz" wrap="square" lIns="51450" tIns="25725" rIns="25725" bIns="51450" numCol="1" spcCol="0" rtlCol="0" fromWordArt="0" anchor="t" anchorCtr="0" forceAA="0" compatLnSpc="1">
            <a:prstTxWarp prst="textNoShape">
              <a:avLst/>
            </a:prstTxWarp>
            <a:noAutofit/>
          </a:bodyPr>
          <a:lstStyle/>
          <a:p>
            <a:pPr marL="214287" indent="-214287">
              <a:buFont typeface="Arial" pitchFamily="34" charset="0"/>
              <a:buChar char="•"/>
            </a:pPr>
            <a:endParaRPr lang="en-US" dirty="0" smtClean="0"/>
          </a:p>
        </p:txBody>
      </p:sp>
      <p:grpSp>
        <p:nvGrpSpPr>
          <p:cNvPr id="6" name="Group 5"/>
          <p:cNvGrpSpPr/>
          <p:nvPr/>
        </p:nvGrpSpPr>
        <p:grpSpPr>
          <a:xfrm>
            <a:off x="3950728" y="2506043"/>
            <a:ext cx="778304" cy="729705"/>
            <a:chOff x="5332941" y="3191416"/>
            <a:chExt cx="1037468" cy="972941"/>
          </a:xfrm>
        </p:grpSpPr>
        <p:sp>
          <p:nvSpPr>
            <p:cNvPr id="7" name="TextBox 6"/>
            <p:cNvSpPr txBox="1"/>
            <p:nvPr/>
          </p:nvSpPr>
          <p:spPr>
            <a:xfrm>
              <a:off x="5332941" y="3712952"/>
              <a:ext cx="1037468" cy="451405"/>
            </a:xfrm>
            <a:prstGeom prst="rect">
              <a:avLst/>
            </a:prstGeom>
            <a:noFill/>
          </p:spPr>
          <p:txBody>
            <a:bodyPr wrap="square" rtlCol="0">
              <a:spAutoFit/>
            </a:bodyPr>
            <a:lstStyle/>
            <a:p>
              <a:pPr algn="ctr"/>
              <a:r>
                <a:rPr lang="en-US" sz="800" b="1" dirty="0">
                  <a:latin typeface="Segoe WP Light"/>
                </a:rPr>
                <a:t>Collection</a:t>
              </a:r>
            </a:p>
            <a:p>
              <a:pPr algn="ctr"/>
              <a:r>
                <a:rPr lang="en-US" sz="800" b="1" dirty="0">
                  <a:latin typeface="Segoe WP Light"/>
                </a:rPr>
                <a:t>of data</a:t>
              </a:r>
            </a:p>
          </p:txBody>
        </p:sp>
        <p:sp>
          <p:nvSpPr>
            <p:cNvPr id="8" name="Freeform 7"/>
            <p:cNvSpPr>
              <a:spLocks noEditPoints="1"/>
            </p:cNvSpPr>
            <p:nvPr/>
          </p:nvSpPr>
          <p:spPr bwMode="black">
            <a:xfrm>
              <a:off x="5648214" y="3191416"/>
              <a:ext cx="406921" cy="414521"/>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200" dirty="0"/>
            </a:p>
          </p:txBody>
        </p:sp>
      </p:grpSp>
      <p:grpSp>
        <p:nvGrpSpPr>
          <p:cNvPr id="9" name="Group 8"/>
          <p:cNvGrpSpPr/>
          <p:nvPr/>
        </p:nvGrpSpPr>
        <p:grpSpPr>
          <a:xfrm>
            <a:off x="2773763" y="2506043"/>
            <a:ext cx="903636" cy="729705"/>
            <a:chOff x="3748188" y="3191416"/>
            <a:chExt cx="1204534" cy="972941"/>
          </a:xfrm>
        </p:grpSpPr>
        <p:sp>
          <p:nvSpPr>
            <p:cNvPr id="10" name="TextBox 9"/>
            <p:cNvSpPr txBox="1"/>
            <p:nvPr/>
          </p:nvSpPr>
          <p:spPr>
            <a:xfrm>
              <a:off x="3748188" y="3712952"/>
              <a:ext cx="1204534" cy="451405"/>
            </a:xfrm>
            <a:prstGeom prst="rect">
              <a:avLst/>
            </a:prstGeom>
            <a:noFill/>
          </p:spPr>
          <p:txBody>
            <a:bodyPr wrap="square" rtlCol="0">
              <a:spAutoFit/>
            </a:bodyPr>
            <a:lstStyle/>
            <a:p>
              <a:pPr algn="ctr"/>
              <a:r>
                <a:rPr lang="en-US" sz="800" b="1" dirty="0">
                  <a:latin typeface="Segoe WP Light"/>
                </a:rPr>
                <a:t>Governance</a:t>
              </a:r>
            </a:p>
            <a:p>
              <a:pPr algn="ctr"/>
              <a:r>
                <a:rPr lang="en-US" sz="800" b="1" dirty="0">
                  <a:latin typeface="Segoe WP Light"/>
                </a:rPr>
                <a:t>methods</a:t>
              </a:r>
            </a:p>
          </p:txBody>
        </p:sp>
        <p:sp>
          <p:nvSpPr>
            <p:cNvPr id="11" name="Freeform 10"/>
            <p:cNvSpPr>
              <a:spLocks/>
            </p:cNvSpPr>
            <p:nvPr/>
          </p:nvSpPr>
          <p:spPr bwMode="black">
            <a:xfrm>
              <a:off x="4069349" y="3191416"/>
              <a:ext cx="525116" cy="440528"/>
            </a:xfrm>
            <a:custGeom>
              <a:avLst/>
              <a:gdLst>
                <a:gd name="T0" fmla="*/ 384 w 450"/>
                <a:gd name="T1" fmla="*/ 111 h 378"/>
                <a:gd name="T2" fmla="*/ 388 w 450"/>
                <a:gd name="T3" fmla="*/ 104 h 378"/>
                <a:gd name="T4" fmla="*/ 381 w 450"/>
                <a:gd name="T5" fmla="*/ 97 h 378"/>
                <a:gd name="T6" fmla="*/ 349 w 450"/>
                <a:gd name="T7" fmla="*/ 97 h 378"/>
                <a:gd name="T8" fmla="*/ 257 w 450"/>
                <a:gd name="T9" fmla="*/ 68 h 378"/>
                <a:gd name="T10" fmla="*/ 231 w 450"/>
                <a:gd name="T11" fmla="*/ 50 h 378"/>
                <a:gd name="T12" fmla="*/ 231 w 450"/>
                <a:gd name="T13" fmla="*/ 33 h 378"/>
                <a:gd name="T14" fmla="*/ 242 w 450"/>
                <a:gd name="T15" fmla="*/ 17 h 378"/>
                <a:gd name="T16" fmla="*/ 224 w 450"/>
                <a:gd name="T17" fmla="*/ 0 h 378"/>
                <a:gd name="T18" fmla="*/ 207 w 450"/>
                <a:gd name="T19" fmla="*/ 17 h 378"/>
                <a:gd name="T20" fmla="*/ 217 w 450"/>
                <a:gd name="T21" fmla="*/ 33 h 378"/>
                <a:gd name="T22" fmla="*/ 217 w 450"/>
                <a:gd name="T23" fmla="*/ 50 h 378"/>
                <a:gd name="T24" fmla="*/ 192 w 450"/>
                <a:gd name="T25" fmla="*/ 68 h 378"/>
                <a:gd name="T26" fmla="*/ 99 w 450"/>
                <a:gd name="T27" fmla="*/ 97 h 378"/>
                <a:gd name="T28" fmla="*/ 69 w 450"/>
                <a:gd name="T29" fmla="*/ 97 h 378"/>
                <a:gd name="T30" fmla="*/ 62 w 450"/>
                <a:gd name="T31" fmla="*/ 104 h 378"/>
                <a:gd name="T32" fmla="*/ 66 w 450"/>
                <a:gd name="T33" fmla="*/ 111 h 378"/>
                <a:gd name="T34" fmla="*/ 6 w 450"/>
                <a:gd name="T35" fmla="*/ 255 h 378"/>
                <a:gd name="T36" fmla="*/ 20 w 450"/>
                <a:gd name="T37" fmla="*/ 255 h 378"/>
                <a:gd name="T38" fmla="*/ 69 w 450"/>
                <a:gd name="T39" fmla="*/ 136 h 378"/>
                <a:gd name="T40" fmla="*/ 125 w 450"/>
                <a:gd name="T41" fmla="*/ 270 h 378"/>
                <a:gd name="T42" fmla="*/ 0 w 450"/>
                <a:gd name="T43" fmla="*/ 270 h 378"/>
                <a:gd name="T44" fmla="*/ 69 w 450"/>
                <a:gd name="T45" fmla="*/ 319 h 378"/>
                <a:gd name="T46" fmla="*/ 139 w 450"/>
                <a:gd name="T47" fmla="*/ 270 h 378"/>
                <a:gd name="T48" fmla="*/ 73 w 450"/>
                <a:gd name="T49" fmla="*/ 112 h 378"/>
                <a:gd name="T50" fmla="*/ 196 w 450"/>
                <a:gd name="T51" fmla="*/ 112 h 378"/>
                <a:gd name="T52" fmla="*/ 213 w 450"/>
                <a:gd name="T53" fmla="*/ 122 h 378"/>
                <a:gd name="T54" fmla="*/ 213 w 450"/>
                <a:gd name="T55" fmla="*/ 328 h 378"/>
                <a:gd name="T56" fmla="*/ 108 w 450"/>
                <a:gd name="T57" fmla="*/ 367 h 378"/>
                <a:gd name="T58" fmla="*/ 108 w 450"/>
                <a:gd name="T59" fmla="*/ 378 h 378"/>
                <a:gd name="T60" fmla="*/ 342 w 450"/>
                <a:gd name="T61" fmla="*/ 378 h 378"/>
                <a:gd name="T62" fmla="*/ 342 w 450"/>
                <a:gd name="T63" fmla="*/ 367 h 378"/>
                <a:gd name="T64" fmla="*/ 236 w 450"/>
                <a:gd name="T65" fmla="*/ 328 h 378"/>
                <a:gd name="T66" fmla="*/ 236 w 450"/>
                <a:gd name="T67" fmla="*/ 122 h 378"/>
                <a:gd name="T68" fmla="*/ 252 w 450"/>
                <a:gd name="T69" fmla="*/ 112 h 378"/>
                <a:gd name="T70" fmla="*/ 377 w 450"/>
                <a:gd name="T71" fmla="*/ 112 h 378"/>
                <a:gd name="T72" fmla="*/ 317 w 450"/>
                <a:gd name="T73" fmla="*/ 255 h 378"/>
                <a:gd name="T74" fmla="*/ 331 w 450"/>
                <a:gd name="T75" fmla="*/ 255 h 378"/>
                <a:gd name="T76" fmla="*/ 380 w 450"/>
                <a:gd name="T77" fmla="*/ 136 h 378"/>
                <a:gd name="T78" fmla="*/ 436 w 450"/>
                <a:gd name="T79" fmla="*/ 270 h 378"/>
                <a:gd name="T80" fmla="*/ 311 w 450"/>
                <a:gd name="T81" fmla="*/ 270 h 378"/>
                <a:gd name="T82" fmla="*/ 380 w 450"/>
                <a:gd name="T83" fmla="*/ 319 h 378"/>
                <a:gd name="T84" fmla="*/ 450 w 450"/>
                <a:gd name="T85" fmla="*/ 270 h 378"/>
                <a:gd name="T86" fmla="*/ 384 w 450"/>
                <a:gd name="T87" fmla="*/ 111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50" h="378">
                  <a:moveTo>
                    <a:pt x="384" y="111"/>
                  </a:moveTo>
                  <a:cubicBezTo>
                    <a:pt x="386" y="110"/>
                    <a:pt x="388" y="107"/>
                    <a:pt x="388" y="104"/>
                  </a:cubicBezTo>
                  <a:cubicBezTo>
                    <a:pt x="388" y="100"/>
                    <a:pt x="385" y="97"/>
                    <a:pt x="381" y="97"/>
                  </a:cubicBezTo>
                  <a:cubicBezTo>
                    <a:pt x="349" y="97"/>
                    <a:pt x="349" y="97"/>
                    <a:pt x="349" y="97"/>
                  </a:cubicBezTo>
                  <a:cubicBezTo>
                    <a:pt x="321" y="89"/>
                    <a:pt x="292" y="74"/>
                    <a:pt x="257" y="68"/>
                  </a:cubicBezTo>
                  <a:cubicBezTo>
                    <a:pt x="251" y="59"/>
                    <a:pt x="242" y="52"/>
                    <a:pt x="231" y="50"/>
                  </a:cubicBezTo>
                  <a:cubicBezTo>
                    <a:pt x="231" y="33"/>
                    <a:pt x="231" y="33"/>
                    <a:pt x="231" y="33"/>
                  </a:cubicBezTo>
                  <a:cubicBezTo>
                    <a:pt x="237" y="31"/>
                    <a:pt x="242" y="24"/>
                    <a:pt x="242" y="17"/>
                  </a:cubicBezTo>
                  <a:cubicBezTo>
                    <a:pt x="242" y="8"/>
                    <a:pt x="234" y="0"/>
                    <a:pt x="224" y="0"/>
                  </a:cubicBezTo>
                  <a:cubicBezTo>
                    <a:pt x="215" y="0"/>
                    <a:pt x="207" y="8"/>
                    <a:pt x="207" y="17"/>
                  </a:cubicBezTo>
                  <a:cubicBezTo>
                    <a:pt x="207" y="24"/>
                    <a:pt x="211" y="31"/>
                    <a:pt x="217" y="33"/>
                  </a:cubicBezTo>
                  <a:cubicBezTo>
                    <a:pt x="217" y="50"/>
                    <a:pt x="217" y="50"/>
                    <a:pt x="217" y="50"/>
                  </a:cubicBezTo>
                  <a:cubicBezTo>
                    <a:pt x="206" y="52"/>
                    <a:pt x="197" y="59"/>
                    <a:pt x="192" y="68"/>
                  </a:cubicBezTo>
                  <a:cubicBezTo>
                    <a:pt x="156" y="74"/>
                    <a:pt x="128" y="89"/>
                    <a:pt x="99" y="97"/>
                  </a:cubicBezTo>
                  <a:cubicBezTo>
                    <a:pt x="69" y="97"/>
                    <a:pt x="69" y="97"/>
                    <a:pt x="69" y="97"/>
                  </a:cubicBezTo>
                  <a:cubicBezTo>
                    <a:pt x="65" y="97"/>
                    <a:pt x="62" y="100"/>
                    <a:pt x="62" y="104"/>
                  </a:cubicBezTo>
                  <a:cubicBezTo>
                    <a:pt x="62" y="107"/>
                    <a:pt x="63" y="110"/>
                    <a:pt x="66" y="111"/>
                  </a:cubicBezTo>
                  <a:cubicBezTo>
                    <a:pt x="6" y="255"/>
                    <a:pt x="6" y="255"/>
                    <a:pt x="6" y="255"/>
                  </a:cubicBezTo>
                  <a:cubicBezTo>
                    <a:pt x="20" y="255"/>
                    <a:pt x="20" y="255"/>
                    <a:pt x="20" y="255"/>
                  </a:cubicBezTo>
                  <a:cubicBezTo>
                    <a:pt x="69" y="136"/>
                    <a:pt x="69" y="136"/>
                    <a:pt x="69" y="136"/>
                  </a:cubicBezTo>
                  <a:cubicBezTo>
                    <a:pt x="125" y="270"/>
                    <a:pt x="125" y="270"/>
                    <a:pt x="125" y="270"/>
                  </a:cubicBezTo>
                  <a:cubicBezTo>
                    <a:pt x="0" y="270"/>
                    <a:pt x="0" y="270"/>
                    <a:pt x="0" y="270"/>
                  </a:cubicBezTo>
                  <a:cubicBezTo>
                    <a:pt x="0" y="297"/>
                    <a:pt x="31" y="319"/>
                    <a:pt x="69" y="319"/>
                  </a:cubicBezTo>
                  <a:cubicBezTo>
                    <a:pt x="108" y="319"/>
                    <a:pt x="139" y="297"/>
                    <a:pt x="139" y="270"/>
                  </a:cubicBezTo>
                  <a:cubicBezTo>
                    <a:pt x="73" y="112"/>
                    <a:pt x="73" y="112"/>
                    <a:pt x="73" y="112"/>
                  </a:cubicBezTo>
                  <a:cubicBezTo>
                    <a:pt x="196" y="112"/>
                    <a:pt x="196" y="112"/>
                    <a:pt x="196" y="112"/>
                  </a:cubicBezTo>
                  <a:cubicBezTo>
                    <a:pt x="201" y="117"/>
                    <a:pt x="206" y="120"/>
                    <a:pt x="213" y="122"/>
                  </a:cubicBezTo>
                  <a:cubicBezTo>
                    <a:pt x="213" y="328"/>
                    <a:pt x="213" y="328"/>
                    <a:pt x="213" y="328"/>
                  </a:cubicBezTo>
                  <a:cubicBezTo>
                    <a:pt x="164" y="331"/>
                    <a:pt x="124" y="351"/>
                    <a:pt x="108" y="367"/>
                  </a:cubicBezTo>
                  <a:cubicBezTo>
                    <a:pt x="108" y="370"/>
                    <a:pt x="108" y="373"/>
                    <a:pt x="108" y="378"/>
                  </a:cubicBezTo>
                  <a:cubicBezTo>
                    <a:pt x="114" y="378"/>
                    <a:pt x="335" y="378"/>
                    <a:pt x="342" y="378"/>
                  </a:cubicBezTo>
                  <a:cubicBezTo>
                    <a:pt x="342" y="373"/>
                    <a:pt x="342" y="370"/>
                    <a:pt x="342" y="367"/>
                  </a:cubicBezTo>
                  <a:cubicBezTo>
                    <a:pt x="326" y="351"/>
                    <a:pt x="285" y="331"/>
                    <a:pt x="236" y="328"/>
                  </a:cubicBezTo>
                  <a:cubicBezTo>
                    <a:pt x="236" y="122"/>
                    <a:pt x="236" y="122"/>
                    <a:pt x="236" y="122"/>
                  </a:cubicBezTo>
                  <a:cubicBezTo>
                    <a:pt x="242" y="120"/>
                    <a:pt x="248" y="117"/>
                    <a:pt x="252" y="112"/>
                  </a:cubicBezTo>
                  <a:cubicBezTo>
                    <a:pt x="377" y="112"/>
                    <a:pt x="377" y="112"/>
                    <a:pt x="377" y="112"/>
                  </a:cubicBezTo>
                  <a:cubicBezTo>
                    <a:pt x="317" y="255"/>
                    <a:pt x="317" y="255"/>
                    <a:pt x="317" y="255"/>
                  </a:cubicBezTo>
                  <a:cubicBezTo>
                    <a:pt x="331" y="255"/>
                    <a:pt x="331" y="255"/>
                    <a:pt x="331" y="255"/>
                  </a:cubicBezTo>
                  <a:cubicBezTo>
                    <a:pt x="380" y="136"/>
                    <a:pt x="380" y="136"/>
                    <a:pt x="380" y="136"/>
                  </a:cubicBezTo>
                  <a:cubicBezTo>
                    <a:pt x="436" y="270"/>
                    <a:pt x="436" y="270"/>
                    <a:pt x="436" y="270"/>
                  </a:cubicBezTo>
                  <a:cubicBezTo>
                    <a:pt x="311" y="270"/>
                    <a:pt x="311" y="270"/>
                    <a:pt x="311" y="270"/>
                  </a:cubicBezTo>
                  <a:cubicBezTo>
                    <a:pt x="311" y="297"/>
                    <a:pt x="342" y="319"/>
                    <a:pt x="380" y="319"/>
                  </a:cubicBezTo>
                  <a:cubicBezTo>
                    <a:pt x="419" y="319"/>
                    <a:pt x="450" y="297"/>
                    <a:pt x="450" y="270"/>
                  </a:cubicBezTo>
                  <a:lnTo>
                    <a:pt x="384" y="111"/>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200" dirty="0"/>
            </a:p>
          </p:txBody>
        </p:sp>
      </p:grpSp>
      <p:grpSp>
        <p:nvGrpSpPr>
          <p:cNvPr id="12" name="Group 11"/>
          <p:cNvGrpSpPr/>
          <p:nvPr/>
        </p:nvGrpSpPr>
        <p:grpSpPr>
          <a:xfrm>
            <a:off x="1722130" y="2512154"/>
            <a:ext cx="778304" cy="600492"/>
            <a:chOff x="2330500" y="3199555"/>
            <a:chExt cx="1037468" cy="800653"/>
          </a:xfrm>
        </p:grpSpPr>
        <p:sp>
          <p:nvSpPr>
            <p:cNvPr id="13" name="TextBox 12"/>
            <p:cNvSpPr txBox="1"/>
            <p:nvPr/>
          </p:nvSpPr>
          <p:spPr>
            <a:xfrm>
              <a:off x="2330500" y="3712950"/>
              <a:ext cx="1037468" cy="287258"/>
            </a:xfrm>
            <a:prstGeom prst="rect">
              <a:avLst/>
            </a:prstGeom>
            <a:noFill/>
          </p:spPr>
          <p:txBody>
            <a:bodyPr wrap="square" rtlCol="0">
              <a:spAutoFit/>
            </a:bodyPr>
            <a:lstStyle/>
            <a:p>
              <a:pPr algn="ctr"/>
              <a:r>
                <a:rPr lang="en-US" sz="800" b="1" dirty="0">
                  <a:latin typeface="Segoe WP Light"/>
                </a:rPr>
                <a:t>Alerting</a:t>
              </a:r>
            </a:p>
          </p:txBody>
        </p:sp>
        <p:sp>
          <p:nvSpPr>
            <p:cNvPr id="14" name="Freeform 13"/>
            <p:cNvSpPr>
              <a:spLocks noEditPoints="1"/>
            </p:cNvSpPr>
            <p:nvPr/>
          </p:nvSpPr>
          <p:spPr bwMode="black">
            <a:xfrm>
              <a:off x="2679041" y="3199555"/>
              <a:ext cx="392722" cy="440528"/>
            </a:xfrm>
            <a:custGeom>
              <a:avLst/>
              <a:gdLst>
                <a:gd name="T0" fmla="*/ 29 w 70"/>
                <a:gd name="T1" fmla="*/ 9 h 78"/>
                <a:gd name="T2" fmla="*/ 9 w 70"/>
                <a:gd name="T3" fmla="*/ 6 h 78"/>
                <a:gd name="T4" fmla="*/ 5 w 70"/>
                <a:gd name="T5" fmla="*/ 26 h 78"/>
                <a:gd name="T6" fmla="*/ 29 w 70"/>
                <a:gd name="T7" fmla="*/ 9 h 78"/>
                <a:gd name="T8" fmla="*/ 50 w 70"/>
                <a:gd name="T9" fmla="*/ 49 h 78"/>
                <a:gd name="T10" fmla="*/ 54 w 70"/>
                <a:gd name="T11" fmla="*/ 46 h 78"/>
                <a:gd name="T12" fmla="*/ 50 w 70"/>
                <a:gd name="T13" fmla="*/ 42 h 78"/>
                <a:gd name="T14" fmla="*/ 40 w 70"/>
                <a:gd name="T15" fmla="*/ 42 h 78"/>
                <a:gd name="T16" fmla="*/ 40 w 70"/>
                <a:gd name="T17" fmla="*/ 29 h 78"/>
                <a:gd name="T18" fmla="*/ 36 w 70"/>
                <a:gd name="T19" fmla="*/ 25 h 78"/>
                <a:gd name="T20" fmla="*/ 33 w 70"/>
                <a:gd name="T21" fmla="*/ 29 h 78"/>
                <a:gd name="T22" fmla="*/ 33 w 70"/>
                <a:gd name="T23" fmla="*/ 46 h 78"/>
                <a:gd name="T24" fmla="*/ 36 w 70"/>
                <a:gd name="T25" fmla="*/ 49 h 78"/>
                <a:gd name="T26" fmla="*/ 50 w 70"/>
                <a:gd name="T27" fmla="*/ 49 h 78"/>
                <a:gd name="T28" fmla="*/ 36 w 70"/>
                <a:gd name="T29" fmla="*/ 20 h 78"/>
                <a:gd name="T30" fmla="*/ 62 w 70"/>
                <a:gd name="T31" fmla="*/ 46 h 78"/>
                <a:gd name="T32" fmla="*/ 36 w 70"/>
                <a:gd name="T33" fmla="*/ 71 h 78"/>
                <a:gd name="T34" fmla="*/ 11 w 70"/>
                <a:gd name="T35" fmla="*/ 46 h 78"/>
                <a:gd name="T36" fmla="*/ 36 w 70"/>
                <a:gd name="T37" fmla="*/ 20 h 78"/>
                <a:gd name="T38" fmla="*/ 36 w 70"/>
                <a:gd name="T39" fmla="*/ 78 h 78"/>
                <a:gd name="T40" fmla="*/ 69 w 70"/>
                <a:gd name="T41" fmla="*/ 46 h 78"/>
                <a:gd name="T42" fmla="*/ 36 w 70"/>
                <a:gd name="T43" fmla="*/ 13 h 78"/>
                <a:gd name="T44" fmla="*/ 4 w 70"/>
                <a:gd name="T45" fmla="*/ 46 h 78"/>
                <a:gd name="T46" fmla="*/ 36 w 70"/>
                <a:gd name="T47" fmla="*/ 78 h 78"/>
                <a:gd name="T48" fmla="*/ 42 w 70"/>
                <a:gd name="T49" fmla="*/ 9 h 78"/>
                <a:gd name="T50" fmla="*/ 62 w 70"/>
                <a:gd name="T51" fmla="*/ 6 h 78"/>
                <a:gd name="T52" fmla="*/ 67 w 70"/>
                <a:gd name="T53" fmla="*/ 24 h 78"/>
                <a:gd name="T54" fmla="*/ 42 w 70"/>
                <a:gd name="T55" fmla="*/ 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0" h="78">
                  <a:moveTo>
                    <a:pt x="29" y="9"/>
                  </a:moveTo>
                  <a:cubicBezTo>
                    <a:pt x="24" y="3"/>
                    <a:pt x="17" y="0"/>
                    <a:pt x="9" y="6"/>
                  </a:cubicBezTo>
                  <a:cubicBezTo>
                    <a:pt x="0" y="11"/>
                    <a:pt x="0" y="19"/>
                    <a:pt x="5" y="26"/>
                  </a:cubicBezTo>
                  <a:cubicBezTo>
                    <a:pt x="10" y="17"/>
                    <a:pt x="19" y="11"/>
                    <a:pt x="29" y="9"/>
                  </a:cubicBezTo>
                  <a:moveTo>
                    <a:pt x="50" y="49"/>
                  </a:moveTo>
                  <a:cubicBezTo>
                    <a:pt x="52" y="49"/>
                    <a:pt x="54" y="48"/>
                    <a:pt x="54" y="46"/>
                  </a:cubicBezTo>
                  <a:cubicBezTo>
                    <a:pt x="54" y="44"/>
                    <a:pt x="52" y="42"/>
                    <a:pt x="50" y="42"/>
                  </a:cubicBezTo>
                  <a:cubicBezTo>
                    <a:pt x="40" y="42"/>
                    <a:pt x="40" y="42"/>
                    <a:pt x="40" y="42"/>
                  </a:cubicBezTo>
                  <a:cubicBezTo>
                    <a:pt x="40" y="29"/>
                    <a:pt x="40" y="29"/>
                    <a:pt x="40" y="29"/>
                  </a:cubicBezTo>
                  <a:cubicBezTo>
                    <a:pt x="40" y="27"/>
                    <a:pt x="38" y="25"/>
                    <a:pt x="36" y="25"/>
                  </a:cubicBezTo>
                  <a:cubicBezTo>
                    <a:pt x="34" y="25"/>
                    <a:pt x="33" y="27"/>
                    <a:pt x="33" y="29"/>
                  </a:cubicBezTo>
                  <a:cubicBezTo>
                    <a:pt x="33" y="46"/>
                    <a:pt x="33" y="46"/>
                    <a:pt x="33" y="46"/>
                  </a:cubicBezTo>
                  <a:cubicBezTo>
                    <a:pt x="33" y="48"/>
                    <a:pt x="34" y="49"/>
                    <a:pt x="36" y="49"/>
                  </a:cubicBezTo>
                  <a:lnTo>
                    <a:pt x="50" y="49"/>
                  </a:lnTo>
                  <a:close/>
                  <a:moveTo>
                    <a:pt x="36" y="20"/>
                  </a:moveTo>
                  <a:cubicBezTo>
                    <a:pt x="50" y="20"/>
                    <a:pt x="62" y="32"/>
                    <a:pt x="62" y="46"/>
                  </a:cubicBezTo>
                  <a:cubicBezTo>
                    <a:pt x="62" y="60"/>
                    <a:pt x="50" y="71"/>
                    <a:pt x="36" y="71"/>
                  </a:cubicBezTo>
                  <a:cubicBezTo>
                    <a:pt x="22" y="71"/>
                    <a:pt x="11" y="60"/>
                    <a:pt x="11" y="46"/>
                  </a:cubicBezTo>
                  <a:cubicBezTo>
                    <a:pt x="11" y="32"/>
                    <a:pt x="22" y="20"/>
                    <a:pt x="36" y="20"/>
                  </a:cubicBezTo>
                  <a:moveTo>
                    <a:pt x="36" y="78"/>
                  </a:moveTo>
                  <a:cubicBezTo>
                    <a:pt x="54" y="78"/>
                    <a:pt x="69" y="64"/>
                    <a:pt x="69" y="46"/>
                  </a:cubicBezTo>
                  <a:cubicBezTo>
                    <a:pt x="69" y="28"/>
                    <a:pt x="54" y="13"/>
                    <a:pt x="36" y="13"/>
                  </a:cubicBezTo>
                  <a:cubicBezTo>
                    <a:pt x="18" y="13"/>
                    <a:pt x="4" y="28"/>
                    <a:pt x="4" y="46"/>
                  </a:cubicBezTo>
                  <a:cubicBezTo>
                    <a:pt x="4" y="64"/>
                    <a:pt x="18" y="78"/>
                    <a:pt x="36" y="78"/>
                  </a:cubicBezTo>
                  <a:moveTo>
                    <a:pt x="42" y="9"/>
                  </a:moveTo>
                  <a:cubicBezTo>
                    <a:pt x="47" y="3"/>
                    <a:pt x="54" y="0"/>
                    <a:pt x="62" y="6"/>
                  </a:cubicBezTo>
                  <a:cubicBezTo>
                    <a:pt x="70" y="11"/>
                    <a:pt x="70" y="18"/>
                    <a:pt x="67" y="24"/>
                  </a:cubicBezTo>
                  <a:cubicBezTo>
                    <a:pt x="61" y="16"/>
                    <a:pt x="52" y="10"/>
                    <a:pt x="42" y="9"/>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85693">
                <a:defRPr/>
              </a:pPr>
              <a:endParaRPr lang="en-US" sz="1400" dirty="0">
                <a:solidFill>
                  <a:srgbClr val="FFFFFF"/>
                </a:solidFill>
                <a:latin typeface="Segoe UI"/>
              </a:endParaRPr>
            </a:p>
          </p:txBody>
        </p:sp>
      </p:grpSp>
      <p:grpSp>
        <p:nvGrpSpPr>
          <p:cNvPr id="15" name="Group 14"/>
          <p:cNvGrpSpPr/>
          <p:nvPr/>
        </p:nvGrpSpPr>
        <p:grpSpPr>
          <a:xfrm>
            <a:off x="670496" y="2520223"/>
            <a:ext cx="778304" cy="592422"/>
            <a:chOff x="912812" y="3210313"/>
            <a:chExt cx="1037468" cy="789897"/>
          </a:xfrm>
        </p:grpSpPr>
        <p:sp>
          <p:nvSpPr>
            <p:cNvPr id="16" name="TextBox 15"/>
            <p:cNvSpPr txBox="1"/>
            <p:nvPr/>
          </p:nvSpPr>
          <p:spPr>
            <a:xfrm>
              <a:off x="912812" y="3712951"/>
              <a:ext cx="1037468" cy="287259"/>
            </a:xfrm>
            <a:prstGeom prst="rect">
              <a:avLst/>
            </a:prstGeom>
            <a:noFill/>
          </p:spPr>
          <p:txBody>
            <a:bodyPr wrap="square" rtlCol="0">
              <a:spAutoFit/>
            </a:bodyPr>
            <a:lstStyle/>
            <a:p>
              <a:pPr algn="ctr"/>
              <a:r>
                <a:rPr lang="en-US" sz="800" b="1" dirty="0">
                  <a:latin typeface="Segoe WP Light"/>
                </a:rPr>
                <a:t>Reporting</a:t>
              </a:r>
            </a:p>
          </p:txBody>
        </p:sp>
        <p:sp>
          <p:nvSpPr>
            <p:cNvPr id="17" name="Freeform 16"/>
            <p:cNvSpPr>
              <a:spLocks noEditPoints="1"/>
            </p:cNvSpPr>
            <p:nvPr/>
          </p:nvSpPr>
          <p:spPr bwMode="black">
            <a:xfrm>
              <a:off x="1236757" y="3210313"/>
              <a:ext cx="389578" cy="376726"/>
            </a:xfrm>
            <a:custGeom>
              <a:avLst/>
              <a:gdLst>
                <a:gd name="T0" fmla="*/ 1291 w 1453"/>
                <a:gd name="T1" fmla="*/ 807 h 1407"/>
                <a:gd name="T2" fmla="*/ 867 w 1453"/>
                <a:gd name="T3" fmla="*/ 807 h 1407"/>
                <a:gd name="T4" fmla="*/ 1033 w 1453"/>
                <a:gd name="T5" fmla="*/ 1198 h 1407"/>
                <a:gd name="T6" fmla="*/ 1291 w 1453"/>
                <a:gd name="T7" fmla="*/ 807 h 1407"/>
                <a:gd name="T8" fmla="*/ 704 w 1453"/>
                <a:gd name="T9" fmla="*/ 0 h 1407"/>
                <a:gd name="T10" fmla="*/ 1405 w 1453"/>
                <a:gd name="T11" fmla="*/ 651 h 1407"/>
                <a:gd name="T12" fmla="*/ 1453 w 1453"/>
                <a:gd name="T13" fmla="*/ 651 h 1407"/>
                <a:gd name="T14" fmla="*/ 1453 w 1453"/>
                <a:gd name="T15" fmla="*/ 729 h 1407"/>
                <a:gd name="T16" fmla="*/ 953 w 1453"/>
                <a:gd name="T17" fmla="*/ 1407 h 1407"/>
                <a:gd name="T18" fmla="*/ 935 w 1453"/>
                <a:gd name="T19" fmla="*/ 1366 h 1407"/>
                <a:gd name="T20" fmla="*/ 704 w 1453"/>
                <a:gd name="T21" fmla="*/ 1407 h 1407"/>
                <a:gd name="T22" fmla="*/ 0 w 1453"/>
                <a:gd name="T23" fmla="*/ 703 h 1407"/>
                <a:gd name="T24" fmla="*/ 704 w 1453"/>
                <a:gd name="T25" fmla="*/ 0 h 1407"/>
                <a:gd name="T26" fmla="*/ 1249 w 1453"/>
                <a:gd name="T27" fmla="*/ 651 h 1407"/>
                <a:gd name="T28" fmla="*/ 704 w 1453"/>
                <a:gd name="T29" fmla="*/ 156 h 1407"/>
                <a:gd name="T30" fmla="*/ 156 w 1453"/>
                <a:gd name="T31" fmla="*/ 703 h 1407"/>
                <a:gd name="T32" fmla="*/ 704 w 1453"/>
                <a:gd name="T33" fmla="*/ 1251 h 1407"/>
                <a:gd name="T34" fmla="*/ 875 w 1453"/>
                <a:gd name="T35" fmla="*/ 1224 h 1407"/>
                <a:gd name="T36" fmla="*/ 631 w 1453"/>
                <a:gd name="T37" fmla="*/ 651 h 1407"/>
                <a:gd name="T38" fmla="*/ 1249 w 1453"/>
                <a:gd name="T39" fmla="*/ 651 h 1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53" h="1407">
                  <a:moveTo>
                    <a:pt x="1291" y="807"/>
                  </a:moveTo>
                  <a:cubicBezTo>
                    <a:pt x="867" y="807"/>
                    <a:pt x="867" y="807"/>
                    <a:pt x="867" y="807"/>
                  </a:cubicBezTo>
                  <a:cubicBezTo>
                    <a:pt x="1033" y="1198"/>
                    <a:pt x="1033" y="1198"/>
                    <a:pt x="1033" y="1198"/>
                  </a:cubicBezTo>
                  <a:cubicBezTo>
                    <a:pt x="1170" y="1114"/>
                    <a:pt x="1268" y="973"/>
                    <a:pt x="1291" y="807"/>
                  </a:cubicBezTo>
                  <a:close/>
                  <a:moveTo>
                    <a:pt x="704" y="0"/>
                  </a:moveTo>
                  <a:cubicBezTo>
                    <a:pt x="1075" y="0"/>
                    <a:pt x="1379" y="287"/>
                    <a:pt x="1405" y="651"/>
                  </a:cubicBezTo>
                  <a:cubicBezTo>
                    <a:pt x="1453" y="651"/>
                    <a:pt x="1453" y="651"/>
                    <a:pt x="1453" y="651"/>
                  </a:cubicBezTo>
                  <a:cubicBezTo>
                    <a:pt x="1453" y="729"/>
                    <a:pt x="1453" y="729"/>
                    <a:pt x="1453" y="729"/>
                  </a:cubicBezTo>
                  <a:cubicBezTo>
                    <a:pt x="1453" y="1070"/>
                    <a:pt x="1245" y="1283"/>
                    <a:pt x="953" y="1407"/>
                  </a:cubicBezTo>
                  <a:cubicBezTo>
                    <a:pt x="935" y="1366"/>
                    <a:pt x="935" y="1366"/>
                    <a:pt x="935" y="1366"/>
                  </a:cubicBezTo>
                  <a:cubicBezTo>
                    <a:pt x="864" y="1392"/>
                    <a:pt x="792" y="1407"/>
                    <a:pt x="704" y="1407"/>
                  </a:cubicBezTo>
                  <a:cubicBezTo>
                    <a:pt x="315" y="1407"/>
                    <a:pt x="0" y="1092"/>
                    <a:pt x="0" y="703"/>
                  </a:cubicBezTo>
                  <a:cubicBezTo>
                    <a:pt x="0" y="315"/>
                    <a:pt x="315" y="0"/>
                    <a:pt x="704" y="0"/>
                  </a:cubicBezTo>
                  <a:close/>
                  <a:moveTo>
                    <a:pt x="1249" y="651"/>
                  </a:moveTo>
                  <a:cubicBezTo>
                    <a:pt x="1223" y="373"/>
                    <a:pt x="989" y="156"/>
                    <a:pt x="704" y="156"/>
                  </a:cubicBezTo>
                  <a:cubicBezTo>
                    <a:pt x="401" y="156"/>
                    <a:pt x="156" y="401"/>
                    <a:pt x="156" y="703"/>
                  </a:cubicBezTo>
                  <a:cubicBezTo>
                    <a:pt x="156" y="1006"/>
                    <a:pt x="401" y="1251"/>
                    <a:pt x="704" y="1251"/>
                  </a:cubicBezTo>
                  <a:cubicBezTo>
                    <a:pt x="763" y="1251"/>
                    <a:pt x="821" y="1242"/>
                    <a:pt x="875" y="1224"/>
                  </a:cubicBezTo>
                  <a:cubicBezTo>
                    <a:pt x="631" y="651"/>
                    <a:pt x="631" y="651"/>
                    <a:pt x="631" y="651"/>
                  </a:cubicBezTo>
                  <a:cubicBezTo>
                    <a:pt x="1249" y="651"/>
                    <a:pt x="1249" y="651"/>
                    <a:pt x="1249" y="6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200" dirty="0"/>
            </a:p>
          </p:txBody>
        </p:sp>
      </p:grpSp>
      <p:sp>
        <p:nvSpPr>
          <p:cNvPr id="18" name="Rectangle 17"/>
          <p:cNvSpPr/>
          <p:nvPr/>
        </p:nvSpPr>
        <p:spPr bwMode="auto">
          <a:xfrm>
            <a:off x="3853634" y="971552"/>
            <a:ext cx="1059475" cy="896901"/>
          </a:xfrm>
          <a:prstGeom prst="rect">
            <a:avLst/>
          </a:prstGeom>
          <a:solidFill>
            <a:schemeClr val="accent1"/>
          </a:solidFill>
          <a:ln w="28575" cap="flat" cmpd="sng" algn="ctr">
            <a:solidFill>
              <a:schemeClr val="tx1"/>
            </a:solidFill>
            <a:prstDash val="solid"/>
            <a:headEnd type="none" w="med" len="med"/>
            <a:tailEnd type="none" w="med" len="med"/>
          </a:ln>
          <a:effectLst/>
        </p:spPr>
        <p:txBody>
          <a:bodyPr rot="0" spcFirstLastPara="0" vertOverflow="overflow" horzOverflow="overflow" vert="horz" wrap="square" lIns="51450" tIns="25725" rIns="25725" bIns="51450" numCol="1" spcCol="0" rtlCol="0" fromWordArt="0" anchor="t" anchorCtr="0" forceAA="0" compatLnSpc="1">
            <a:prstTxWarp prst="textNoShape">
              <a:avLst/>
            </a:prstTxWarp>
            <a:noAutofit/>
          </a:bodyPr>
          <a:lstStyle/>
          <a:p>
            <a:pPr marL="214287" indent="-214287">
              <a:buFont typeface="Arial" pitchFamily="34" charset="0"/>
              <a:buChar char="•"/>
            </a:pPr>
            <a:endParaRPr lang="en-US" dirty="0" smtClean="0"/>
          </a:p>
        </p:txBody>
      </p:sp>
      <p:sp>
        <p:nvSpPr>
          <p:cNvPr id="20" name="Freeform 19"/>
          <p:cNvSpPr>
            <a:spLocks noEditPoints="1"/>
          </p:cNvSpPr>
          <p:nvPr/>
        </p:nvSpPr>
        <p:spPr bwMode="black">
          <a:xfrm rot="900000">
            <a:off x="4187839" y="1190516"/>
            <a:ext cx="391054" cy="476957"/>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FFFFFF"/>
          </a:solidFill>
          <a:ln>
            <a:noFill/>
          </a:ln>
        </p:spPr>
        <p:txBody>
          <a:bodyPr vert="horz" wrap="square" lIns="61720" tIns="30860" rIns="61720" bIns="3086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200" dirty="0"/>
          </a:p>
        </p:txBody>
      </p:sp>
      <p:sp>
        <p:nvSpPr>
          <p:cNvPr id="21" name="Rectangle 20"/>
          <p:cNvSpPr/>
          <p:nvPr/>
        </p:nvSpPr>
        <p:spPr bwMode="auto">
          <a:xfrm>
            <a:off x="3853634" y="1868451"/>
            <a:ext cx="1059475" cy="165674"/>
          </a:xfrm>
          <a:prstGeom prst="rect">
            <a:avLst/>
          </a:prstGeom>
          <a:solidFill>
            <a:schemeClr val="tx1"/>
          </a:solidFill>
          <a:ln w="28575" cap="flat" cmpd="sng" algn="ctr">
            <a:solidFill>
              <a:schemeClr val="tx1"/>
            </a:solidFill>
            <a:prstDash val="solid"/>
            <a:headEnd type="none" w="med" len="med"/>
            <a:tailEnd type="none" w="med" len="med"/>
          </a:ln>
          <a:effectLst/>
        </p:spPr>
        <p:txBody>
          <a:bodyPr rot="0" spcFirstLastPara="0" vertOverflow="overflow" horzOverflow="overflow" vert="horz" wrap="square" lIns="51450" tIns="25725" rIns="25725" bIns="51450" numCol="1" spcCol="0" rtlCol="0" fromWordArt="0" anchor="t" anchorCtr="0" forceAA="0" compatLnSpc="1">
            <a:prstTxWarp prst="textNoShape">
              <a:avLst/>
            </a:prstTxWarp>
            <a:noAutofit/>
          </a:bodyPr>
          <a:lstStyle/>
          <a:p>
            <a:pPr algn="ctr"/>
            <a:r>
              <a:rPr lang="en-US" sz="800" b="1" dirty="0">
                <a:solidFill>
                  <a:schemeClr val="accent1"/>
                </a:solidFill>
                <a:latin typeface="Segoe UI Light" pitchFamily="34" charset="0"/>
              </a:rPr>
              <a:t>AUDIT</a:t>
            </a:r>
          </a:p>
          <a:p>
            <a:pPr fontAlgn="base">
              <a:spcBef>
                <a:spcPct val="0"/>
              </a:spcBef>
              <a:spcAft>
                <a:spcPct val="0"/>
              </a:spcAft>
            </a:pPr>
            <a:endParaRPr lang="en-US" sz="800" b="1" kern="0" spc="-29" dirty="0">
              <a:solidFill>
                <a:schemeClr val="accent1"/>
              </a:solidFill>
              <a:latin typeface="Segoe WP" pitchFamily="34" charset="0"/>
              <a:ea typeface="Segoe UI" pitchFamily="34" charset="0"/>
              <a:cs typeface="Segoe UI" pitchFamily="34" charset="0"/>
            </a:endParaRPr>
          </a:p>
        </p:txBody>
      </p:sp>
      <p:sp>
        <p:nvSpPr>
          <p:cNvPr id="22" name="TextBox 21"/>
          <p:cNvSpPr txBox="1"/>
          <p:nvPr/>
        </p:nvSpPr>
        <p:spPr>
          <a:xfrm>
            <a:off x="460547" y="1868456"/>
            <a:ext cx="1059475" cy="167965"/>
          </a:xfrm>
          <a:prstGeom prst="rect">
            <a:avLst/>
          </a:prstGeom>
          <a:noFill/>
          <a:ln w="28575">
            <a:solidFill>
              <a:schemeClr val="tx1"/>
            </a:solidFill>
          </a:ln>
        </p:spPr>
        <p:txBody>
          <a:bodyPr wrap="square" lIns="68571" tIns="34286" rIns="68571" bIns="34286" rtlCol="0" anchor="b">
            <a:noAutofit/>
          </a:bodyPr>
          <a:lstStyle/>
          <a:p>
            <a:endParaRPr lang="en-US" dirty="0">
              <a:solidFill>
                <a:schemeClr val="bg2">
                  <a:lumMod val="50000"/>
                </a:schemeClr>
              </a:solidFill>
            </a:endParaRPr>
          </a:p>
        </p:txBody>
      </p:sp>
      <p:sp>
        <p:nvSpPr>
          <p:cNvPr id="23" name="Rectangle 22"/>
          <p:cNvSpPr/>
          <p:nvPr/>
        </p:nvSpPr>
        <p:spPr bwMode="auto">
          <a:xfrm>
            <a:off x="460547" y="1870742"/>
            <a:ext cx="1059475" cy="166017"/>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51450" tIns="25725" rIns="25725" bIns="51450" numCol="1" spcCol="0" rtlCol="0" fromWordArt="0" anchor="t" anchorCtr="0" forceAA="0" compatLnSpc="1">
            <a:prstTxWarp prst="textNoShape">
              <a:avLst/>
            </a:prstTxWarp>
            <a:noAutofit/>
          </a:bodyPr>
          <a:lstStyle/>
          <a:p>
            <a:pPr algn="ctr"/>
            <a:r>
              <a:rPr lang="en-US" sz="800" b="1" dirty="0">
                <a:solidFill>
                  <a:schemeClr val="accent1"/>
                </a:solidFill>
                <a:latin typeface="Segoe UI Light" pitchFamily="34" charset="0"/>
              </a:rPr>
              <a:t>ADMINISTRATION</a:t>
            </a:r>
          </a:p>
          <a:p>
            <a:pPr fontAlgn="base">
              <a:spcBef>
                <a:spcPct val="0"/>
              </a:spcBef>
              <a:spcAft>
                <a:spcPct val="0"/>
              </a:spcAft>
            </a:pPr>
            <a:endParaRPr lang="en-US" sz="800" b="1" kern="0" spc="-29" dirty="0">
              <a:solidFill>
                <a:schemeClr val="accent1"/>
              </a:solidFill>
              <a:latin typeface="Segoe WP" pitchFamily="34" charset="0"/>
              <a:ea typeface="Segoe UI" pitchFamily="34" charset="0"/>
              <a:cs typeface="Segoe UI" pitchFamily="34" charset="0"/>
            </a:endParaRPr>
          </a:p>
        </p:txBody>
      </p:sp>
      <p:sp>
        <p:nvSpPr>
          <p:cNvPr id="24" name="TextBox 23"/>
          <p:cNvSpPr txBox="1"/>
          <p:nvPr/>
        </p:nvSpPr>
        <p:spPr>
          <a:xfrm>
            <a:off x="1588369" y="1868449"/>
            <a:ext cx="1059475" cy="167966"/>
          </a:xfrm>
          <a:prstGeom prst="rect">
            <a:avLst/>
          </a:prstGeom>
          <a:noFill/>
          <a:ln w="28575">
            <a:solidFill>
              <a:schemeClr val="tx1"/>
            </a:solidFill>
          </a:ln>
        </p:spPr>
        <p:txBody>
          <a:bodyPr wrap="square" lIns="68571" tIns="34286" rIns="68571" bIns="34286" rtlCol="0" anchor="b">
            <a:noAutofit/>
          </a:bodyPr>
          <a:lstStyle/>
          <a:p>
            <a:endParaRPr lang="en-US" dirty="0">
              <a:solidFill>
                <a:schemeClr val="bg2">
                  <a:lumMod val="50000"/>
                </a:schemeClr>
              </a:solidFill>
            </a:endParaRPr>
          </a:p>
        </p:txBody>
      </p:sp>
      <p:sp>
        <p:nvSpPr>
          <p:cNvPr id="25" name="Rectangle 24"/>
          <p:cNvSpPr/>
          <p:nvPr/>
        </p:nvSpPr>
        <p:spPr bwMode="auto">
          <a:xfrm>
            <a:off x="1588369" y="1870742"/>
            <a:ext cx="1059475" cy="166017"/>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51450" tIns="25725" rIns="25725" bIns="51450" numCol="1" spcCol="0" rtlCol="0" fromWordArt="0" anchor="t" anchorCtr="0" forceAA="0" compatLnSpc="1">
            <a:prstTxWarp prst="textNoShape">
              <a:avLst/>
            </a:prstTxWarp>
            <a:noAutofit/>
          </a:bodyPr>
          <a:lstStyle/>
          <a:p>
            <a:pPr algn="ctr"/>
            <a:r>
              <a:rPr lang="en-US" sz="800" b="1" dirty="0">
                <a:solidFill>
                  <a:schemeClr val="accent1"/>
                </a:solidFill>
                <a:latin typeface="Segoe UI Light" pitchFamily="34" charset="0"/>
              </a:rPr>
              <a:t>AUTHENTICATION</a:t>
            </a:r>
          </a:p>
          <a:p>
            <a:pPr fontAlgn="base">
              <a:spcBef>
                <a:spcPct val="0"/>
              </a:spcBef>
              <a:spcAft>
                <a:spcPct val="0"/>
              </a:spcAft>
            </a:pPr>
            <a:endParaRPr lang="en-US" sz="800" b="1" kern="0" spc="-29" dirty="0">
              <a:solidFill>
                <a:schemeClr val="accent1"/>
              </a:solidFill>
              <a:latin typeface="Segoe WP" pitchFamily="34" charset="0"/>
              <a:ea typeface="Segoe UI" pitchFamily="34" charset="0"/>
              <a:cs typeface="Segoe UI" pitchFamily="34" charset="0"/>
            </a:endParaRPr>
          </a:p>
        </p:txBody>
      </p:sp>
      <p:sp>
        <p:nvSpPr>
          <p:cNvPr id="26" name="TextBox 25"/>
          <p:cNvSpPr txBox="1"/>
          <p:nvPr/>
        </p:nvSpPr>
        <p:spPr>
          <a:xfrm>
            <a:off x="2720045" y="1868452"/>
            <a:ext cx="1059475" cy="168308"/>
          </a:xfrm>
          <a:prstGeom prst="rect">
            <a:avLst/>
          </a:prstGeom>
          <a:noFill/>
          <a:ln w="28575">
            <a:solidFill>
              <a:schemeClr val="tx1"/>
            </a:solidFill>
          </a:ln>
        </p:spPr>
        <p:txBody>
          <a:bodyPr wrap="square" lIns="68571" tIns="34286" rIns="68571" bIns="34286" rtlCol="0" anchor="b">
            <a:noAutofit/>
          </a:bodyPr>
          <a:lstStyle/>
          <a:p>
            <a:endParaRPr lang="en-US" dirty="0">
              <a:solidFill>
                <a:schemeClr val="bg2">
                  <a:lumMod val="50000"/>
                </a:schemeClr>
              </a:solidFill>
            </a:endParaRPr>
          </a:p>
        </p:txBody>
      </p:sp>
      <p:sp>
        <p:nvSpPr>
          <p:cNvPr id="27" name="Rectangle 26"/>
          <p:cNvSpPr/>
          <p:nvPr/>
        </p:nvSpPr>
        <p:spPr bwMode="auto">
          <a:xfrm>
            <a:off x="2720045" y="1871083"/>
            <a:ext cx="1059475" cy="165674"/>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51450" tIns="25725" rIns="25725" bIns="51450" numCol="1" spcCol="0" rtlCol="0" fromWordArt="0" anchor="t" anchorCtr="0" forceAA="0" compatLnSpc="1">
            <a:prstTxWarp prst="textNoShape">
              <a:avLst/>
            </a:prstTxWarp>
            <a:noAutofit/>
          </a:bodyPr>
          <a:lstStyle/>
          <a:p>
            <a:pPr algn="ctr"/>
            <a:r>
              <a:rPr lang="en-US" sz="800" b="1" dirty="0">
                <a:solidFill>
                  <a:schemeClr val="accent1"/>
                </a:solidFill>
                <a:latin typeface="Segoe UI Light" pitchFamily="34" charset="0"/>
              </a:rPr>
              <a:t>AUTHORIZATION</a:t>
            </a:r>
          </a:p>
          <a:p>
            <a:pPr fontAlgn="base">
              <a:spcBef>
                <a:spcPct val="0"/>
              </a:spcBef>
              <a:spcAft>
                <a:spcPct val="0"/>
              </a:spcAft>
            </a:pPr>
            <a:endParaRPr lang="en-US" sz="800" b="1" kern="0" spc="-29" dirty="0">
              <a:solidFill>
                <a:schemeClr val="accent1"/>
              </a:solidFill>
              <a:latin typeface="Segoe WP" pitchFamily="34" charset="0"/>
              <a:ea typeface="Segoe UI" pitchFamily="34" charset="0"/>
              <a:cs typeface="Segoe UI" pitchFamily="34" charset="0"/>
            </a:endParaRPr>
          </a:p>
        </p:txBody>
      </p:sp>
      <p:sp>
        <p:nvSpPr>
          <p:cNvPr id="28" name="Rectangle 27"/>
          <p:cNvSpPr/>
          <p:nvPr/>
        </p:nvSpPr>
        <p:spPr>
          <a:xfrm>
            <a:off x="5486638" y="1833843"/>
            <a:ext cx="2972574" cy="346249"/>
          </a:xfrm>
          <a:prstGeom prst="rect">
            <a:avLst/>
          </a:prstGeom>
        </p:spPr>
        <p:txBody>
          <a:bodyPr wrap="square" lIns="68571" tIns="34286" rIns="68571" bIns="34286">
            <a:spAutoFit/>
          </a:bodyPr>
          <a:lstStyle/>
          <a:p>
            <a:pPr algn="ctr"/>
            <a:r>
              <a:rPr lang="en-US" sz="1800" b="1" dirty="0">
                <a:latin typeface="Segoe UI Light" pitchFamily="34" charset="0"/>
              </a:rPr>
              <a:t>Audit Provides</a:t>
            </a:r>
          </a:p>
        </p:txBody>
      </p:sp>
      <p:sp>
        <p:nvSpPr>
          <p:cNvPr id="29" name="Text Placeholder 2"/>
          <p:cNvSpPr>
            <a:spLocks noGrp="1"/>
          </p:cNvSpPr>
          <p:nvPr>
            <p:ph type="body" sz="quarter" idx="10"/>
          </p:nvPr>
        </p:nvSpPr>
        <p:spPr>
          <a:xfrm>
            <a:off x="5427520" y="2282292"/>
            <a:ext cx="3202213" cy="592085"/>
          </a:xfrm>
        </p:spPr>
        <p:txBody>
          <a:bodyPr/>
          <a:lstStyle/>
          <a:p>
            <a:r>
              <a:rPr lang="en-US" sz="1400" dirty="0">
                <a:latin typeface="Segoe UI Light" pitchFamily="34" charset="0"/>
              </a:rPr>
              <a:t>Proactive/reactive reporting and alerts to enforce policies and identify problems quickly</a:t>
            </a:r>
          </a:p>
        </p:txBody>
      </p:sp>
      <p:sp>
        <p:nvSpPr>
          <p:cNvPr id="30" name="Text Placeholder 2"/>
          <p:cNvSpPr txBox="1">
            <a:spLocks/>
          </p:cNvSpPr>
          <p:nvPr/>
        </p:nvSpPr>
        <p:spPr>
          <a:xfrm>
            <a:off x="5428499" y="2978744"/>
            <a:ext cx="3202213" cy="833305"/>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90000"/>
              <a:buFontTx/>
              <a:buBlip>
                <a:blip r:embed="rId2"/>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2"/>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2"/>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400" dirty="0">
                <a:latin typeface="Segoe UI Light" pitchFamily="34" charset="0"/>
              </a:rPr>
              <a:t>Governance of auditing data ensures proper authorizations, historical accuracy, and compliance</a:t>
            </a:r>
          </a:p>
          <a:p>
            <a:endParaRPr lang="en-US" sz="1400" dirty="0">
              <a:latin typeface="Segoe UI Light" pitchFamily="34" charset="0"/>
            </a:endParaRPr>
          </a:p>
        </p:txBody>
      </p:sp>
      <p:sp>
        <p:nvSpPr>
          <p:cNvPr id="31" name="Text Placeholder 2"/>
          <p:cNvSpPr txBox="1">
            <a:spLocks/>
          </p:cNvSpPr>
          <p:nvPr/>
        </p:nvSpPr>
        <p:spPr>
          <a:xfrm>
            <a:off x="5428499" y="3721620"/>
            <a:ext cx="3202213" cy="592085"/>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90000"/>
              <a:buFontTx/>
              <a:buBlip>
                <a:blip r:embed="rId2"/>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2"/>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2"/>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400" dirty="0">
                <a:latin typeface="Segoe UI Light" pitchFamily="34" charset="0"/>
              </a:rPr>
              <a:t>Collation and centralization of audit data from disparate enterprise resources</a:t>
            </a:r>
          </a:p>
        </p:txBody>
      </p:sp>
      <p:sp>
        <p:nvSpPr>
          <p:cNvPr id="32"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3"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pic>
        <p:nvPicPr>
          <p:cNvPr id="34"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235595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29">
                                            <p:txEl>
                                              <p:pRg st="0" end="0"/>
                                            </p:txEl>
                                          </p:spTgt>
                                        </p:tgtEl>
                                        <p:attrNameLst>
                                          <p:attrName>style.visibility</p:attrName>
                                        </p:attrNameLst>
                                      </p:cBhvr>
                                      <p:to>
                                        <p:strVal val="visible"/>
                                      </p:to>
                                    </p:set>
                                    <p:animEffect transition="in" filter="fade">
                                      <p:cBhvr>
                                        <p:cTn id="7" dur="1000"/>
                                        <p:tgtEl>
                                          <p:spTgt spid="29">
                                            <p:txEl>
                                              <p:pRg st="0" end="0"/>
                                            </p:txEl>
                                          </p:spTgt>
                                        </p:tgtEl>
                                      </p:cBhvr>
                                    </p:animEffect>
                                  </p:childTnLst>
                                </p:cTn>
                              </p:par>
                            </p:childTnLst>
                          </p:cTn>
                        </p:par>
                        <p:par>
                          <p:cTn id="8" fill="hold">
                            <p:stCondLst>
                              <p:cond delay="1500"/>
                            </p:stCondLst>
                            <p:childTnLst>
                              <p:par>
                                <p:cTn id="9" presetID="10" presetClass="entr" presetSubtype="0" fill="hold" grpId="0" nodeType="afterEffect">
                                  <p:stCondLst>
                                    <p:cond delay="1000"/>
                                  </p:stCondLst>
                                  <p:childTnLst>
                                    <p:set>
                                      <p:cBhvr>
                                        <p:cTn id="10" dur="1" fill="hold">
                                          <p:stCondLst>
                                            <p:cond delay="0"/>
                                          </p:stCondLst>
                                        </p:cTn>
                                        <p:tgtEl>
                                          <p:spTgt spid="30"/>
                                        </p:tgtEl>
                                        <p:attrNameLst>
                                          <p:attrName>style.visibility</p:attrName>
                                        </p:attrNameLst>
                                      </p:cBhvr>
                                      <p:to>
                                        <p:strVal val="visible"/>
                                      </p:to>
                                    </p:set>
                                    <p:animEffect transition="in" filter="fade">
                                      <p:cBhvr>
                                        <p:cTn id="11" dur="1000"/>
                                        <p:tgtEl>
                                          <p:spTgt spid="30"/>
                                        </p:tgtEl>
                                      </p:cBhvr>
                                    </p:animEffect>
                                  </p:childTnLst>
                                </p:cTn>
                              </p:par>
                            </p:childTnLst>
                          </p:cTn>
                        </p:par>
                        <p:par>
                          <p:cTn id="12" fill="hold">
                            <p:stCondLst>
                              <p:cond delay="3500"/>
                            </p:stCondLst>
                            <p:childTnLst>
                              <p:par>
                                <p:cTn id="13" presetID="10" presetClass="entr" presetSubtype="0" fill="hold" grpId="0" nodeType="afterEffect">
                                  <p:stCondLst>
                                    <p:cond delay="1000"/>
                                  </p:stCondLst>
                                  <p:childTnLst>
                                    <p:set>
                                      <p:cBhvr>
                                        <p:cTn id="14" dur="1" fill="hold">
                                          <p:stCondLst>
                                            <p:cond delay="0"/>
                                          </p:stCondLst>
                                        </p:cTn>
                                        <p:tgtEl>
                                          <p:spTgt spid="31"/>
                                        </p:tgtEl>
                                        <p:attrNameLst>
                                          <p:attrName>style.visibility</p:attrName>
                                        </p:attrNameLst>
                                      </p:cBhvr>
                                      <p:to>
                                        <p:strVal val="visible"/>
                                      </p:to>
                                    </p:set>
                                    <p:animEffect transition="in" filter="fade">
                                      <p:cBhvr>
                                        <p:cTn id="15" dur="10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build="p"/>
      <p:bldP spid="30" grpId="0"/>
      <p:bldP spid="31" grpId="0"/>
    </p:bldLst>
  </p:timing>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6"/>
            <a:ext cx="8363938" cy="457049"/>
          </a:xfrm>
        </p:spPr>
        <p:txBody>
          <a:bodyPr/>
          <a:lstStyle/>
          <a:p>
            <a:r>
              <a:rPr lang="en-US" dirty="0"/>
              <a:t>Identity is Essential for Cloud </a:t>
            </a:r>
            <a:r>
              <a:rPr lang="en-US" dirty="0" smtClean="0"/>
              <a:t>Computing</a:t>
            </a:r>
            <a:endParaRPr lang="en-US" dirty="0"/>
          </a:p>
        </p:txBody>
      </p:sp>
      <p:sp>
        <p:nvSpPr>
          <p:cNvPr id="4" name="TextBox 3"/>
          <p:cNvSpPr txBox="1"/>
          <p:nvPr/>
        </p:nvSpPr>
        <p:spPr>
          <a:xfrm>
            <a:off x="604756" y="1028700"/>
            <a:ext cx="3601388" cy="3600450"/>
          </a:xfrm>
          <a:prstGeom prst="rect">
            <a:avLst/>
          </a:prstGeom>
          <a:noFill/>
          <a:ln w="28575">
            <a:solidFill>
              <a:schemeClr val="tx1"/>
            </a:solidFill>
          </a:ln>
        </p:spPr>
        <p:txBody>
          <a:bodyPr wrap="square" lIns="68571" tIns="34286" rIns="68571" bIns="34286" rtlCol="0" anchor="b">
            <a:noAutofit/>
          </a:bodyPr>
          <a:lstStyle/>
          <a:p>
            <a:endParaRPr lang="en-US" dirty="0">
              <a:solidFill>
                <a:schemeClr val="bg2">
                  <a:lumMod val="50000"/>
                </a:schemeClr>
              </a:solidFill>
            </a:endParaRPr>
          </a:p>
        </p:txBody>
      </p:sp>
      <p:grpSp>
        <p:nvGrpSpPr>
          <p:cNvPr id="5" name="Group 4"/>
          <p:cNvGrpSpPr/>
          <p:nvPr/>
        </p:nvGrpSpPr>
        <p:grpSpPr>
          <a:xfrm>
            <a:off x="1828091" y="1314451"/>
            <a:ext cx="1146919" cy="1237580"/>
            <a:chOff x="2436812" y="1600200"/>
            <a:chExt cx="1528827" cy="1650106"/>
          </a:xfrm>
        </p:grpSpPr>
        <p:sp>
          <p:nvSpPr>
            <p:cNvPr id="6" name="Rectangle 5"/>
            <p:cNvSpPr/>
            <p:nvPr/>
          </p:nvSpPr>
          <p:spPr>
            <a:xfrm>
              <a:off x="2436812" y="1600200"/>
              <a:ext cx="1528827" cy="1410300"/>
            </a:xfrm>
            <a:prstGeom prst="rect">
              <a:avLst/>
            </a:prstGeom>
            <a:solidFill>
              <a:schemeClr val="accent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e:\Users\mvesely\Desktop\Metro\man.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080924" y="1723700"/>
              <a:ext cx="251015" cy="698628"/>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nvSpPr>
          <p:spPr bwMode="auto">
            <a:xfrm>
              <a:off x="2436812" y="3010783"/>
              <a:ext cx="1528827" cy="239523"/>
            </a:xfrm>
            <a:prstGeom prst="rect">
              <a:avLst/>
            </a:prstGeom>
            <a:solidFill>
              <a:schemeClr val="tx1"/>
            </a:solidFill>
            <a:ln w="28575" cap="flat" cmpd="sng" algn="ctr">
              <a:solidFill>
                <a:schemeClr val="tx1"/>
              </a:solidFill>
              <a:prstDash val="solid"/>
              <a:headEnd type="none" w="med" len="med"/>
              <a:tailEnd type="none" w="med" len="med"/>
            </a:ln>
            <a:effectLst/>
          </p:spPr>
          <p:txBody>
            <a:bodyPr rot="0" spcFirstLastPara="0" vertOverflow="overflow" horzOverflow="overflow" vert="horz" wrap="square" lIns="68607" tIns="34304" rIns="34304" bIns="68607" numCol="1" spcCol="0" rtlCol="0" fromWordArt="0" anchor="t" anchorCtr="0" forceAA="0" compatLnSpc="1">
              <a:prstTxWarp prst="textNoShape">
                <a:avLst/>
              </a:prstTxWarp>
              <a:noAutofit/>
            </a:bodyPr>
            <a:lstStyle/>
            <a:p>
              <a:pPr algn="ctr"/>
              <a:r>
                <a:rPr lang="en-US" sz="900" b="1" dirty="0">
                  <a:solidFill>
                    <a:schemeClr val="accent1"/>
                  </a:solidFill>
                  <a:latin typeface="Segoe UI Light" pitchFamily="34" charset="0"/>
                </a:rPr>
                <a:t>USERS &amp; DEVICES</a:t>
              </a:r>
            </a:p>
            <a:p>
              <a:pPr fontAlgn="base">
                <a:spcBef>
                  <a:spcPct val="0"/>
                </a:spcBef>
                <a:spcAft>
                  <a:spcPct val="0"/>
                </a:spcAft>
              </a:pPr>
              <a:endParaRPr lang="en-US" sz="800" kern="0" spc="-29" dirty="0">
                <a:gradFill>
                  <a:gsLst>
                    <a:gs pos="0">
                      <a:srgbClr val="FFFFFF"/>
                    </a:gs>
                    <a:gs pos="100000">
                      <a:srgbClr val="FFFFFF"/>
                    </a:gs>
                  </a:gsLst>
                  <a:lin ang="5400000" scaled="0"/>
                </a:gradFill>
                <a:latin typeface="Segoe WP" pitchFamily="34" charset="0"/>
                <a:ea typeface="Segoe UI" pitchFamily="34" charset="0"/>
                <a:cs typeface="Segoe UI" pitchFamily="34" charset="0"/>
              </a:endParaRPr>
            </a:p>
          </p:txBody>
        </p:sp>
      </p:grpSp>
      <p:grpSp>
        <p:nvGrpSpPr>
          <p:cNvPr id="10" name="Group 9"/>
          <p:cNvGrpSpPr/>
          <p:nvPr/>
        </p:nvGrpSpPr>
        <p:grpSpPr>
          <a:xfrm>
            <a:off x="1027783" y="2857501"/>
            <a:ext cx="1146919" cy="1237580"/>
            <a:chOff x="4651439" y="3890243"/>
            <a:chExt cx="1528827" cy="1650106"/>
          </a:xfrm>
        </p:grpSpPr>
        <p:sp>
          <p:nvSpPr>
            <p:cNvPr id="11" name="Rectangle 10"/>
            <p:cNvSpPr/>
            <p:nvPr/>
          </p:nvSpPr>
          <p:spPr>
            <a:xfrm>
              <a:off x="4651439" y="3890243"/>
              <a:ext cx="1528827" cy="1410300"/>
            </a:xfrm>
            <a:prstGeom prst="rect">
              <a:avLst/>
            </a:prstGeom>
            <a:solidFill>
              <a:schemeClr val="accent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p:nvSpPr>
          <p:spPr bwMode="auto">
            <a:xfrm>
              <a:off x="4651439" y="5300826"/>
              <a:ext cx="1528827" cy="239523"/>
            </a:xfrm>
            <a:prstGeom prst="rect">
              <a:avLst/>
            </a:prstGeom>
            <a:solidFill>
              <a:schemeClr val="tx1"/>
            </a:solidFill>
            <a:ln w="28575" cap="flat" cmpd="sng" algn="ctr">
              <a:solidFill>
                <a:schemeClr val="tx1"/>
              </a:solidFill>
              <a:prstDash val="solid"/>
              <a:headEnd type="none" w="med" len="med"/>
              <a:tailEnd type="none" w="med" len="med"/>
            </a:ln>
            <a:effectLst/>
          </p:spPr>
          <p:txBody>
            <a:bodyPr rot="0" spcFirstLastPara="0" vertOverflow="overflow" horzOverflow="overflow" vert="horz" wrap="square" lIns="68607" tIns="34304" rIns="34304" bIns="68607" numCol="1" spcCol="0" rtlCol="0" fromWordArt="0" anchor="t" anchorCtr="0" forceAA="0" compatLnSpc="1">
              <a:prstTxWarp prst="textNoShape">
                <a:avLst/>
              </a:prstTxWarp>
              <a:noAutofit/>
            </a:bodyPr>
            <a:lstStyle/>
            <a:p>
              <a:pPr algn="ctr"/>
              <a:r>
                <a:rPr lang="en-US" sz="900" b="1" dirty="0">
                  <a:solidFill>
                    <a:schemeClr val="accent1"/>
                  </a:solidFill>
                  <a:latin typeface="Segoe UI Light" pitchFamily="34" charset="0"/>
                </a:rPr>
                <a:t>INFRASTRUCTURE</a:t>
              </a:r>
            </a:p>
            <a:p>
              <a:pPr fontAlgn="base">
                <a:spcBef>
                  <a:spcPct val="0"/>
                </a:spcBef>
                <a:spcAft>
                  <a:spcPct val="0"/>
                </a:spcAft>
              </a:pPr>
              <a:endParaRPr lang="en-US" sz="800" kern="0" spc="-29" dirty="0">
                <a:gradFill>
                  <a:gsLst>
                    <a:gs pos="0">
                      <a:srgbClr val="FFFFFF"/>
                    </a:gs>
                    <a:gs pos="100000">
                      <a:srgbClr val="FFFFFF"/>
                    </a:gs>
                  </a:gsLst>
                  <a:lin ang="5400000" scaled="0"/>
                </a:gradFill>
                <a:latin typeface="Segoe WP" pitchFamily="34" charset="0"/>
                <a:ea typeface="Segoe UI" pitchFamily="34" charset="0"/>
                <a:cs typeface="Segoe UI" pitchFamily="34" charset="0"/>
              </a:endParaRPr>
            </a:p>
          </p:txBody>
        </p:sp>
      </p:grpSp>
      <p:grpSp>
        <p:nvGrpSpPr>
          <p:cNvPr id="14" name="Group 13"/>
          <p:cNvGrpSpPr/>
          <p:nvPr/>
        </p:nvGrpSpPr>
        <p:grpSpPr>
          <a:xfrm>
            <a:off x="2624779" y="2858419"/>
            <a:ext cx="1146919" cy="1237580"/>
            <a:chOff x="3498785" y="3658826"/>
            <a:chExt cx="1528827" cy="1650106"/>
          </a:xfrm>
        </p:grpSpPr>
        <p:sp>
          <p:nvSpPr>
            <p:cNvPr id="15" name="Rectangle 14"/>
            <p:cNvSpPr/>
            <p:nvPr/>
          </p:nvSpPr>
          <p:spPr>
            <a:xfrm>
              <a:off x="3498785" y="3658826"/>
              <a:ext cx="1528827" cy="1410300"/>
            </a:xfrm>
            <a:prstGeom prst="rect">
              <a:avLst/>
            </a:prstGeom>
            <a:solidFill>
              <a:schemeClr val="accent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p:cNvSpPr/>
            <p:nvPr/>
          </p:nvSpPr>
          <p:spPr bwMode="auto">
            <a:xfrm>
              <a:off x="3498785" y="5069409"/>
              <a:ext cx="1528827" cy="239523"/>
            </a:xfrm>
            <a:prstGeom prst="rect">
              <a:avLst/>
            </a:prstGeom>
            <a:solidFill>
              <a:schemeClr val="tx1"/>
            </a:solidFill>
            <a:ln w="28575" cap="flat" cmpd="sng" algn="ctr">
              <a:solidFill>
                <a:schemeClr val="tx1"/>
              </a:solidFill>
              <a:prstDash val="solid"/>
              <a:headEnd type="none" w="med" len="med"/>
              <a:tailEnd type="none" w="med" len="med"/>
            </a:ln>
            <a:effectLst/>
          </p:spPr>
          <p:txBody>
            <a:bodyPr rot="0" spcFirstLastPara="0" vertOverflow="overflow" horzOverflow="overflow" vert="horz" wrap="square" lIns="68607" tIns="34304" rIns="34304" bIns="68607" numCol="1" spcCol="0" rtlCol="0" fromWordArt="0" anchor="t" anchorCtr="0" forceAA="0" compatLnSpc="1">
              <a:prstTxWarp prst="textNoShape">
                <a:avLst/>
              </a:prstTxWarp>
              <a:noAutofit/>
            </a:bodyPr>
            <a:lstStyle/>
            <a:p>
              <a:pPr algn="ctr"/>
              <a:r>
                <a:rPr lang="en-US" sz="900" b="1" dirty="0">
                  <a:solidFill>
                    <a:schemeClr val="accent1"/>
                  </a:solidFill>
                  <a:latin typeface="Segoe UI Light" pitchFamily="34" charset="0"/>
                </a:rPr>
                <a:t>APPS &amp; SERVICES</a:t>
              </a:r>
            </a:p>
            <a:p>
              <a:pPr fontAlgn="base">
                <a:spcBef>
                  <a:spcPct val="0"/>
                </a:spcBef>
                <a:spcAft>
                  <a:spcPct val="0"/>
                </a:spcAft>
              </a:pPr>
              <a:endParaRPr lang="en-US" sz="800" kern="0" spc="-29" dirty="0">
                <a:gradFill>
                  <a:gsLst>
                    <a:gs pos="0">
                      <a:srgbClr val="FFFFFF"/>
                    </a:gs>
                    <a:gs pos="100000">
                      <a:srgbClr val="FFFFFF"/>
                    </a:gs>
                  </a:gsLst>
                  <a:lin ang="5400000" scaled="0"/>
                </a:gradFill>
                <a:latin typeface="Segoe WP" pitchFamily="34" charset="0"/>
                <a:ea typeface="Segoe UI" pitchFamily="34" charset="0"/>
                <a:cs typeface="Segoe UI" pitchFamily="34" charset="0"/>
              </a:endParaRPr>
            </a:p>
          </p:txBody>
        </p:sp>
        <p:pic>
          <p:nvPicPr>
            <p:cNvPr id="17" name="Picture 7" descr="\\MAGNUM\Projects\Microsoft\Cloud Power FY12\Design\ICONS_PNG\Gears.png"/>
            <p:cNvPicPr>
              <a:picLocks noChangeAspect="1" noChangeArrowheads="1"/>
            </p:cNvPicPr>
            <p:nvPr>
              <p:custDataLst>
                <p:tags r:id="rId2"/>
              </p:custDataLst>
            </p:nvPr>
          </p:nvPicPr>
          <p:blipFill rotWithShape="1">
            <a:blip r:embed="rId6" cstate="print">
              <a:lum bright="100000"/>
              <a:extLst>
                <a:ext uri="{28A0092B-C50C-407E-A947-70E740481C1C}">
                  <a14:useLocalDpi xmlns:a14="http://schemas.microsoft.com/office/drawing/2010/main"/>
                </a:ext>
              </a:extLst>
            </a:blip>
            <a:srcRect/>
            <a:stretch/>
          </p:blipFill>
          <p:spPr bwMode="auto">
            <a:xfrm rot="16200000" flipH="1">
              <a:off x="3917165" y="4071937"/>
              <a:ext cx="719971" cy="576869"/>
            </a:xfrm>
            <a:prstGeom prst="rect">
              <a:avLst/>
            </a:prstGeom>
            <a:noFill/>
          </p:spPr>
        </p:pic>
      </p:grpSp>
      <p:sp>
        <p:nvSpPr>
          <p:cNvPr id="18" name="Rectangle 17"/>
          <p:cNvSpPr/>
          <p:nvPr/>
        </p:nvSpPr>
        <p:spPr bwMode="auto">
          <a:xfrm>
            <a:off x="610921" y="4416666"/>
            <a:ext cx="3606914" cy="212484"/>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51450" tIns="25725" rIns="25725" bIns="51450" numCol="1" spcCol="0" rtlCol="0" fromWordArt="0" anchor="t" anchorCtr="0" forceAA="0" compatLnSpc="1">
            <a:prstTxWarp prst="textNoShape">
              <a:avLst/>
            </a:prstTxWarp>
            <a:noAutofit/>
          </a:bodyPr>
          <a:lstStyle/>
          <a:p>
            <a:pPr algn="ctr"/>
            <a:r>
              <a:rPr lang="en-US" sz="1200" b="1" dirty="0">
                <a:solidFill>
                  <a:schemeClr val="accent1"/>
                </a:solidFill>
                <a:latin typeface="Segoe UI Light" pitchFamily="34" charset="0"/>
              </a:rPr>
              <a:t>IDENTITY</a:t>
            </a:r>
          </a:p>
          <a:p>
            <a:pPr fontAlgn="base">
              <a:spcBef>
                <a:spcPct val="0"/>
              </a:spcBef>
              <a:spcAft>
                <a:spcPct val="0"/>
              </a:spcAft>
            </a:pPr>
            <a:endParaRPr lang="en-US" sz="800" kern="0" spc="-29" dirty="0">
              <a:gradFill>
                <a:gsLst>
                  <a:gs pos="0">
                    <a:srgbClr val="FFFFFF"/>
                  </a:gs>
                  <a:gs pos="100000">
                    <a:srgbClr val="FFFFFF"/>
                  </a:gs>
                </a:gsLst>
                <a:lin ang="5400000" scaled="0"/>
              </a:gradFill>
              <a:latin typeface="Segoe WP" pitchFamily="34" charset="0"/>
              <a:ea typeface="Segoe UI" pitchFamily="34" charset="0"/>
              <a:cs typeface="Segoe UI" pitchFamily="34" charset="0"/>
            </a:endParaRPr>
          </a:p>
        </p:txBody>
      </p:sp>
      <p:cxnSp>
        <p:nvCxnSpPr>
          <p:cNvPr id="19" name="Elbow Connector 18"/>
          <p:cNvCxnSpPr>
            <a:stCxn id="6" idx="1"/>
          </p:cNvCxnSpPr>
          <p:nvPr/>
        </p:nvCxnSpPr>
        <p:spPr>
          <a:xfrm rot="10800000" flipV="1">
            <a:off x="1625818" y="1843313"/>
            <a:ext cx="202268" cy="997821"/>
          </a:xfrm>
          <a:prstGeom prst="bentConnector2">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Elbow Connector 19"/>
          <p:cNvCxnSpPr/>
          <p:nvPr/>
        </p:nvCxnSpPr>
        <p:spPr>
          <a:xfrm>
            <a:off x="2971612" y="1843314"/>
            <a:ext cx="217552" cy="997822"/>
          </a:xfrm>
          <a:prstGeom prst="bentConnector2">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2169956" y="3442173"/>
            <a:ext cx="45482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4386467" y="1929971"/>
            <a:ext cx="441469" cy="1574169"/>
            <a:chOff x="6246812" y="2930307"/>
            <a:chExt cx="588472" cy="1378385"/>
          </a:xfrm>
        </p:grpSpPr>
        <p:sp>
          <p:nvSpPr>
            <p:cNvPr id="23" name="Chevron 22"/>
            <p:cNvSpPr/>
            <p:nvPr/>
          </p:nvSpPr>
          <p:spPr bwMode="auto">
            <a:xfrm>
              <a:off x="6367376" y="2930307"/>
              <a:ext cx="348567" cy="1377444"/>
            </a:xfrm>
            <a:prstGeom prst="chevron">
              <a:avLst>
                <a:gd name="adj" fmla="val 78351"/>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409" fontAlgn="base">
                <a:spcBef>
                  <a:spcPct val="0"/>
                </a:spcBef>
                <a:spcAft>
                  <a:spcPct val="0"/>
                </a:spcAft>
              </a:pP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4" name="Chevron 23"/>
            <p:cNvSpPr/>
            <p:nvPr/>
          </p:nvSpPr>
          <p:spPr bwMode="auto">
            <a:xfrm>
              <a:off x="6486717" y="2931147"/>
              <a:ext cx="348567" cy="1377444"/>
            </a:xfrm>
            <a:prstGeom prst="chevron">
              <a:avLst>
                <a:gd name="adj" fmla="val 78351"/>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409" fontAlgn="base">
                <a:spcBef>
                  <a:spcPct val="0"/>
                </a:spcBef>
                <a:spcAft>
                  <a:spcPct val="0"/>
                </a:spcAft>
              </a:pP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5" name="Chevron 24"/>
            <p:cNvSpPr/>
            <p:nvPr/>
          </p:nvSpPr>
          <p:spPr bwMode="auto">
            <a:xfrm>
              <a:off x="6246812" y="2931248"/>
              <a:ext cx="348567" cy="1377444"/>
            </a:xfrm>
            <a:prstGeom prst="chevron">
              <a:avLst>
                <a:gd name="adj" fmla="val 78351"/>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409" fontAlgn="base">
                <a:spcBef>
                  <a:spcPct val="0"/>
                </a:spcBef>
                <a:spcAft>
                  <a:spcPct val="0"/>
                </a:spcAft>
              </a:pP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41" name="Group 140"/>
          <p:cNvGrpSpPr/>
          <p:nvPr/>
        </p:nvGrpSpPr>
        <p:grpSpPr>
          <a:xfrm>
            <a:off x="7255134" y="1428547"/>
            <a:ext cx="1146919" cy="1237580"/>
            <a:chOff x="9238717" y="1904729"/>
            <a:chExt cx="1528827" cy="1650106"/>
          </a:xfrm>
        </p:grpSpPr>
        <p:sp>
          <p:nvSpPr>
            <p:cNvPr id="48" name="Rectangle 47"/>
            <p:cNvSpPr/>
            <p:nvPr/>
          </p:nvSpPr>
          <p:spPr>
            <a:xfrm>
              <a:off x="9238717" y="1904729"/>
              <a:ext cx="1528827" cy="1410300"/>
            </a:xfrm>
            <a:prstGeom prst="rect">
              <a:avLst/>
            </a:prstGeom>
            <a:solidFill>
              <a:schemeClr val="accent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Rectangle 48"/>
            <p:cNvSpPr/>
            <p:nvPr/>
          </p:nvSpPr>
          <p:spPr bwMode="auto">
            <a:xfrm>
              <a:off x="9238717" y="3315312"/>
              <a:ext cx="1528827" cy="239523"/>
            </a:xfrm>
            <a:prstGeom prst="rect">
              <a:avLst/>
            </a:prstGeom>
            <a:solidFill>
              <a:schemeClr val="tx1"/>
            </a:solidFill>
            <a:ln w="28575" cap="flat" cmpd="sng" algn="ctr">
              <a:solidFill>
                <a:schemeClr val="tx1"/>
              </a:solidFill>
              <a:prstDash val="solid"/>
              <a:headEnd type="none" w="med" len="med"/>
              <a:tailEnd type="none" w="med" len="med"/>
            </a:ln>
            <a:effectLst/>
          </p:spPr>
          <p:txBody>
            <a:bodyPr rot="0" spcFirstLastPara="0" vertOverflow="overflow" horzOverflow="overflow" vert="horz" wrap="square" lIns="68607" tIns="34304" rIns="34304" bIns="68607" numCol="1" spcCol="0" rtlCol="0" fromWordArt="0" anchor="t" anchorCtr="0" forceAA="0" compatLnSpc="1">
              <a:prstTxWarp prst="textNoShape">
                <a:avLst/>
              </a:prstTxWarp>
              <a:noAutofit/>
            </a:bodyPr>
            <a:lstStyle/>
            <a:p>
              <a:pPr algn="ctr"/>
              <a:r>
                <a:rPr lang="en-US" sz="900" b="1" dirty="0">
                  <a:solidFill>
                    <a:schemeClr val="accent1"/>
                  </a:solidFill>
                  <a:latin typeface="Segoe UI Light" pitchFamily="34" charset="0"/>
                </a:rPr>
                <a:t>PUBLIC</a:t>
              </a:r>
            </a:p>
            <a:p>
              <a:pPr fontAlgn="base">
                <a:spcBef>
                  <a:spcPct val="0"/>
                </a:spcBef>
                <a:spcAft>
                  <a:spcPct val="0"/>
                </a:spcAft>
              </a:pPr>
              <a:endParaRPr lang="en-US" sz="800" kern="0" spc="-29" dirty="0">
                <a:gradFill>
                  <a:gsLst>
                    <a:gs pos="0">
                      <a:srgbClr val="FFFFFF"/>
                    </a:gs>
                    <a:gs pos="100000">
                      <a:srgbClr val="FFFFFF"/>
                    </a:gs>
                  </a:gsLst>
                  <a:lin ang="5400000" scaled="0"/>
                </a:gradFill>
                <a:latin typeface="Segoe WP" pitchFamily="34" charset="0"/>
                <a:ea typeface="Segoe UI" pitchFamily="34" charset="0"/>
                <a:cs typeface="Segoe UI" pitchFamily="34" charset="0"/>
              </a:endParaRPr>
            </a:p>
          </p:txBody>
        </p:sp>
        <p:pic>
          <p:nvPicPr>
            <p:cNvPr id="55" name="Picture 2" descr="C:\Users\chrisw\Desktop\Cloud Services 3.png"/>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9489242" y="2306845"/>
              <a:ext cx="1027775" cy="70848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6" name="Group 55"/>
          <p:cNvGrpSpPr/>
          <p:nvPr/>
        </p:nvGrpSpPr>
        <p:grpSpPr bwMode="black">
          <a:xfrm>
            <a:off x="1999580" y="2057407"/>
            <a:ext cx="229820" cy="226619"/>
            <a:chOff x="2916435" y="3914152"/>
            <a:chExt cx="930763" cy="918513"/>
          </a:xfrm>
        </p:grpSpPr>
        <p:pic>
          <p:nvPicPr>
            <p:cNvPr id="57" name="Picture 56"/>
            <p:cNvPicPr>
              <a:picLocks noChangeAspect="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58"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40" tIns="45720" rIns="91440" bIns="45720" numCol="1" anchor="t" anchorCtr="0" compatLnSpc="1">
              <a:prstTxWarp prst="textNoShape">
                <a:avLst/>
              </a:prstTxWarp>
            </a:bodyPr>
            <a:lstStyle/>
            <a:p>
              <a:endParaRPr lang="en-US" sz="700" dirty="0">
                <a:solidFill>
                  <a:srgbClr val="FFFFFF"/>
                </a:solidFill>
              </a:endParaRPr>
            </a:p>
          </p:txBody>
        </p:sp>
      </p:grpSp>
      <p:sp>
        <p:nvSpPr>
          <p:cNvPr id="59" name="Freeform 20"/>
          <p:cNvSpPr>
            <a:spLocks noEditPoints="1"/>
          </p:cNvSpPr>
          <p:nvPr/>
        </p:nvSpPr>
        <p:spPr bwMode="black">
          <a:xfrm>
            <a:off x="2261936" y="2061095"/>
            <a:ext cx="285964" cy="198709"/>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61720" tIns="30860" rIns="61720" bIns="30860" numCol="1" anchor="t" anchorCtr="0" compatLnSpc="1">
            <a:prstTxWarp prst="textNoShape">
              <a:avLst/>
            </a:prstTxWarp>
          </a:bodyPr>
          <a:lstStyle/>
          <a:p>
            <a:endParaRPr lang="en-US" sz="700" dirty="0">
              <a:solidFill>
                <a:srgbClr val="FFFFFF"/>
              </a:solidFill>
            </a:endParaRPr>
          </a:p>
        </p:txBody>
      </p:sp>
      <p:pic>
        <p:nvPicPr>
          <p:cNvPr id="60" name="Picture 59"/>
          <p:cNvPicPr>
            <a:picLocks noChangeAspect="1"/>
          </p:cNvPicPr>
          <p:nvPr/>
        </p:nvPicPr>
        <p:blipFill>
          <a:blip r:embed="rId11" cstate="print">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2576112" y="2061089"/>
            <a:ext cx="103506" cy="198708"/>
          </a:xfrm>
          <a:prstGeom prst="rect">
            <a:avLst/>
          </a:prstGeom>
        </p:spPr>
      </p:pic>
      <p:grpSp>
        <p:nvGrpSpPr>
          <p:cNvPr id="61" name="Group 60"/>
          <p:cNvGrpSpPr/>
          <p:nvPr/>
        </p:nvGrpSpPr>
        <p:grpSpPr bwMode="black">
          <a:xfrm>
            <a:off x="1334908" y="3082654"/>
            <a:ext cx="532656" cy="599378"/>
            <a:chOff x="3422650" y="3467100"/>
            <a:chExt cx="533400" cy="549275"/>
          </a:xfrm>
          <a:solidFill>
            <a:srgbClr val="FFFFFF"/>
          </a:solidFill>
        </p:grpSpPr>
        <p:sp>
          <p:nvSpPr>
            <p:cNvPr id="62" name="Freeform 82"/>
            <p:cNvSpPr>
              <a:spLocks noEditPoints="1"/>
            </p:cNvSpPr>
            <p:nvPr/>
          </p:nvSpPr>
          <p:spPr bwMode="black">
            <a:xfrm>
              <a:off x="3422650" y="3467100"/>
              <a:ext cx="533400" cy="53340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grpFill/>
            <a:ln>
              <a:noFill/>
            </a:ln>
          </p:spPr>
          <p:txBody>
            <a:bodyPr vert="horz" wrap="square" lIns="91440" tIns="45720" rIns="91440" bIns="45720" numCol="1" anchor="t" anchorCtr="0" compatLnSpc="1">
              <a:prstTxWarp prst="textNoShape">
                <a:avLst/>
              </a:prstTxWarp>
            </a:bodyPr>
            <a:lstStyle/>
            <a:p>
              <a:endParaRPr lang="en-US" sz="1200" dirty="0"/>
            </a:p>
          </p:txBody>
        </p:sp>
        <p:sp>
          <p:nvSpPr>
            <p:cNvPr id="63"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grpFill/>
            <a:ln>
              <a:noFill/>
            </a:ln>
          </p:spPr>
          <p:txBody>
            <a:bodyPr vert="horz" wrap="square" lIns="91440" tIns="45720" rIns="91440" bIns="45720" numCol="1" anchor="t" anchorCtr="0" compatLnSpc="1">
              <a:prstTxWarp prst="textNoShape">
                <a:avLst/>
              </a:prstTxWarp>
            </a:bodyPr>
            <a:lstStyle/>
            <a:p>
              <a:endParaRPr lang="en-US" sz="1200" dirty="0"/>
            </a:p>
          </p:txBody>
        </p:sp>
      </p:grpSp>
      <p:grpSp>
        <p:nvGrpSpPr>
          <p:cNvPr id="142" name="Group 141"/>
          <p:cNvGrpSpPr/>
          <p:nvPr/>
        </p:nvGrpSpPr>
        <p:grpSpPr>
          <a:xfrm>
            <a:off x="5200820" y="1428547"/>
            <a:ext cx="1146919" cy="1237580"/>
            <a:chOff x="9238715" y="3988694"/>
            <a:chExt cx="1528827" cy="1650106"/>
          </a:xfrm>
        </p:grpSpPr>
        <p:grpSp>
          <p:nvGrpSpPr>
            <p:cNvPr id="43" name="Group 42"/>
            <p:cNvGrpSpPr/>
            <p:nvPr/>
          </p:nvGrpSpPr>
          <p:grpSpPr>
            <a:xfrm>
              <a:off x="9238715" y="3988694"/>
              <a:ext cx="1528827" cy="1650106"/>
              <a:chOff x="3498785" y="3658826"/>
              <a:chExt cx="1528827" cy="1650106"/>
            </a:xfrm>
          </p:grpSpPr>
          <p:sp>
            <p:nvSpPr>
              <p:cNvPr id="44" name="Rectangle 43"/>
              <p:cNvSpPr/>
              <p:nvPr/>
            </p:nvSpPr>
            <p:spPr>
              <a:xfrm>
                <a:off x="3498785" y="3658826"/>
                <a:ext cx="1528827" cy="1410300"/>
              </a:xfrm>
              <a:prstGeom prst="rect">
                <a:avLst/>
              </a:prstGeom>
              <a:solidFill>
                <a:schemeClr val="accent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Rectangle 44"/>
              <p:cNvSpPr/>
              <p:nvPr/>
            </p:nvSpPr>
            <p:spPr bwMode="auto">
              <a:xfrm>
                <a:off x="3498785" y="5069409"/>
                <a:ext cx="1528827" cy="239523"/>
              </a:xfrm>
              <a:prstGeom prst="rect">
                <a:avLst/>
              </a:prstGeom>
              <a:solidFill>
                <a:schemeClr val="tx1"/>
              </a:solidFill>
              <a:ln w="28575" cap="flat" cmpd="sng" algn="ctr">
                <a:solidFill>
                  <a:schemeClr val="tx1"/>
                </a:solidFill>
                <a:prstDash val="solid"/>
                <a:headEnd type="none" w="med" len="med"/>
                <a:tailEnd type="none" w="med" len="med"/>
              </a:ln>
              <a:effectLst/>
            </p:spPr>
            <p:txBody>
              <a:bodyPr rot="0" spcFirstLastPara="0" vertOverflow="overflow" horzOverflow="overflow" vert="horz" wrap="square" lIns="68607" tIns="34304" rIns="34304" bIns="68607" numCol="1" spcCol="0" rtlCol="0" fromWordArt="0" anchor="t" anchorCtr="0" forceAA="0" compatLnSpc="1">
                <a:prstTxWarp prst="textNoShape">
                  <a:avLst/>
                </a:prstTxWarp>
                <a:noAutofit/>
              </a:bodyPr>
              <a:lstStyle/>
              <a:p>
                <a:pPr algn="ctr"/>
                <a:r>
                  <a:rPr lang="en-US" sz="900" b="1" dirty="0">
                    <a:solidFill>
                      <a:schemeClr val="accent1"/>
                    </a:solidFill>
                    <a:latin typeface="Segoe UI Light" pitchFamily="34" charset="0"/>
                  </a:rPr>
                  <a:t>PRIVATE</a:t>
                </a:r>
              </a:p>
              <a:p>
                <a:pPr fontAlgn="base">
                  <a:spcBef>
                    <a:spcPct val="0"/>
                  </a:spcBef>
                  <a:spcAft>
                    <a:spcPct val="0"/>
                  </a:spcAft>
                </a:pPr>
                <a:endParaRPr lang="en-US" sz="800" kern="0" spc="-29" dirty="0">
                  <a:gradFill>
                    <a:gsLst>
                      <a:gs pos="0">
                        <a:srgbClr val="FFFFFF"/>
                      </a:gs>
                      <a:gs pos="100000">
                        <a:srgbClr val="FFFFFF"/>
                      </a:gs>
                    </a:gsLst>
                    <a:lin ang="5400000" scaled="0"/>
                  </a:gradFill>
                  <a:latin typeface="Segoe WP" pitchFamily="34" charset="0"/>
                  <a:ea typeface="Segoe UI" pitchFamily="34" charset="0"/>
                  <a:cs typeface="Segoe UI" pitchFamily="34" charset="0"/>
                </a:endParaRPr>
              </a:p>
            </p:txBody>
          </p:sp>
        </p:grpSp>
        <p:grpSp>
          <p:nvGrpSpPr>
            <p:cNvPr id="64" name="Group 63"/>
            <p:cNvGrpSpPr/>
            <p:nvPr/>
          </p:nvGrpSpPr>
          <p:grpSpPr bwMode="black">
            <a:xfrm>
              <a:off x="9449625" y="4234625"/>
              <a:ext cx="1066800" cy="946975"/>
              <a:chOff x="2462213" y="1598613"/>
              <a:chExt cx="4222750" cy="3667125"/>
            </a:xfrm>
          </p:grpSpPr>
          <p:sp>
            <p:nvSpPr>
              <p:cNvPr id="65" name="Rectangle 6"/>
              <p:cNvSpPr>
                <a:spLocks noChangeArrowheads="1"/>
              </p:cNvSpPr>
              <p:nvPr/>
            </p:nvSpPr>
            <p:spPr bwMode="black">
              <a:xfrm>
                <a:off x="5564188"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66" name="Rectangle 7"/>
              <p:cNvSpPr>
                <a:spLocks noChangeArrowheads="1"/>
              </p:cNvSpPr>
              <p:nvPr/>
            </p:nvSpPr>
            <p:spPr bwMode="black">
              <a:xfrm>
                <a:off x="5795963" y="3346451"/>
                <a:ext cx="112713"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67" name="Rectangle 8"/>
              <p:cNvSpPr>
                <a:spLocks noChangeArrowheads="1"/>
              </p:cNvSpPr>
              <p:nvPr/>
            </p:nvSpPr>
            <p:spPr bwMode="black">
              <a:xfrm>
                <a:off x="3092451"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68" name="Rectangle 9"/>
              <p:cNvSpPr>
                <a:spLocks noChangeArrowheads="1"/>
              </p:cNvSpPr>
              <p:nvPr/>
            </p:nvSpPr>
            <p:spPr bwMode="black">
              <a:xfrm>
                <a:off x="3324226" y="3346451"/>
                <a:ext cx="117475"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69" name="Freeform 10"/>
              <p:cNvSpPr>
                <a:spLocks/>
              </p:cNvSpPr>
              <p:nvPr/>
            </p:nvSpPr>
            <p:spPr bwMode="black">
              <a:xfrm>
                <a:off x="3902076" y="2506663"/>
                <a:ext cx="101600" cy="123825"/>
              </a:xfrm>
              <a:custGeom>
                <a:avLst/>
                <a:gdLst>
                  <a:gd name="T0" fmla="*/ 36 w 64"/>
                  <a:gd name="T1" fmla="*/ 78 h 78"/>
                  <a:gd name="T2" fmla="*/ 64 w 64"/>
                  <a:gd name="T3" fmla="*/ 64 h 78"/>
                  <a:gd name="T4" fmla="*/ 26 w 64"/>
                  <a:gd name="T5" fmla="*/ 0 h 78"/>
                  <a:gd name="T6" fmla="*/ 0 w 64"/>
                  <a:gd name="T7" fmla="*/ 17 h 78"/>
                  <a:gd name="T8" fmla="*/ 36 w 64"/>
                  <a:gd name="T9" fmla="*/ 78 h 78"/>
                </a:gdLst>
                <a:ahLst/>
                <a:cxnLst>
                  <a:cxn ang="0">
                    <a:pos x="T0" y="T1"/>
                  </a:cxn>
                  <a:cxn ang="0">
                    <a:pos x="T2" y="T3"/>
                  </a:cxn>
                  <a:cxn ang="0">
                    <a:pos x="T4" y="T5"/>
                  </a:cxn>
                  <a:cxn ang="0">
                    <a:pos x="T6" y="T7"/>
                  </a:cxn>
                  <a:cxn ang="0">
                    <a:pos x="T8" y="T9"/>
                  </a:cxn>
                </a:cxnLst>
                <a:rect l="0" t="0" r="r" b="b"/>
                <a:pathLst>
                  <a:path w="64" h="78">
                    <a:moveTo>
                      <a:pt x="36" y="78"/>
                    </a:moveTo>
                    <a:lnTo>
                      <a:pt x="64" y="64"/>
                    </a:lnTo>
                    <a:lnTo>
                      <a:pt x="26" y="0"/>
                    </a:lnTo>
                    <a:lnTo>
                      <a:pt x="0" y="17"/>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70" name="Freeform 11"/>
              <p:cNvSpPr>
                <a:spLocks/>
              </p:cNvSpPr>
              <p:nvPr/>
            </p:nvSpPr>
            <p:spPr bwMode="black">
              <a:xfrm>
                <a:off x="4017963" y="2709863"/>
                <a:ext cx="98425" cy="123825"/>
              </a:xfrm>
              <a:custGeom>
                <a:avLst/>
                <a:gdLst>
                  <a:gd name="T0" fmla="*/ 36 w 62"/>
                  <a:gd name="T1" fmla="*/ 78 h 78"/>
                  <a:gd name="T2" fmla="*/ 62 w 62"/>
                  <a:gd name="T3" fmla="*/ 61 h 78"/>
                  <a:gd name="T4" fmla="*/ 26 w 62"/>
                  <a:gd name="T5" fmla="*/ 0 h 78"/>
                  <a:gd name="T6" fmla="*/ 0 w 62"/>
                  <a:gd name="T7" fmla="*/ 14 h 78"/>
                  <a:gd name="T8" fmla="*/ 36 w 62"/>
                  <a:gd name="T9" fmla="*/ 78 h 78"/>
                </a:gdLst>
                <a:ahLst/>
                <a:cxnLst>
                  <a:cxn ang="0">
                    <a:pos x="T0" y="T1"/>
                  </a:cxn>
                  <a:cxn ang="0">
                    <a:pos x="T2" y="T3"/>
                  </a:cxn>
                  <a:cxn ang="0">
                    <a:pos x="T4" y="T5"/>
                  </a:cxn>
                  <a:cxn ang="0">
                    <a:pos x="T6" y="T7"/>
                  </a:cxn>
                  <a:cxn ang="0">
                    <a:pos x="T8" y="T9"/>
                  </a:cxn>
                </a:cxnLst>
                <a:rect l="0" t="0" r="r" b="b"/>
                <a:pathLst>
                  <a:path w="62" h="78">
                    <a:moveTo>
                      <a:pt x="36" y="78"/>
                    </a:moveTo>
                    <a:lnTo>
                      <a:pt x="62" y="61"/>
                    </a:lnTo>
                    <a:lnTo>
                      <a:pt x="26" y="0"/>
                    </a:lnTo>
                    <a:lnTo>
                      <a:pt x="0" y="14"/>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71" name="Freeform 12"/>
              <p:cNvSpPr>
                <a:spLocks/>
              </p:cNvSpPr>
              <p:nvPr/>
            </p:nvSpPr>
            <p:spPr bwMode="black">
              <a:xfrm>
                <a:off x="4873626" y="2709863"/>
                <a:ext cx="98425" cy="123825"/>
              </a:xfrm>
              <a:custGeom>
                <a:avLst/>
                <a:gdLst>
                  <a:gd name="T0" fmla="*/ 26 w 62"/>
                  <a:gd name="T1" fmla="*/ 78 h 78"/>
                  <a:gd name="T2" fmla="*/ 62 w 62"/>
                  <a:gd name="T3" fmla="*/ 14 h 78"/>
                  <a:gd name="T4" fmla="*/ 36 w 62"/>
                  <a:gd name="T5" fmla="*/ 0 h 78"/>
                  <a:gd name="T6" fmla="*/ 0 w 62"/>
                  <a:gd name="T7" fmla="*/ 61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4"/>
                    </a:lnTo>
                    <a:lnTo>
                      <a:pt x="36" y="0"/>
                    </a:lnTo>
                    <a:lnTo>
                      <a:pt x="0" y="61"/>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72" name="Freeform 13"/>
              <p:cNvSpPr>
                <a:spLocks/>
              </p:cNvSpPr>
              <p:nvPr/>
            </p:nvSpPr>
            <p:spPr bwMode="black">
              <a:xfrm>
                <a:off x="4989513" y="2506663"/>
                <a:ext cx="98425" cy="123825"/>
              </a:xfrm>
              <a:custGeom>
                <a:avLst/>
                <a:gdLst>
                  <a:gd name="T0" fmla="*/ 26 w 62"/>
                  <a:gd name="T1" fmla="*/ 78 h 78"/>
                  <a:gd name="T2" fmla="*/ 62 w 62"/>
                  <a:gd name="T3" fmla="*/ 17 h 78"/>
                  <a:gd name="T4" fmla="*/ 36 w 62"/>
                  <a:gd name="T5" fmla="*/ 0 h 78"/>
                  <a:gd name="T6" fmla="*/ 0 w 62"/>
                  <a:gd name="T7" fmla="*/ 64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7"/>
                    </a:lnTo>
                    <a:lnTo>
                      <a:pt x="36" y="0"/>
                    </a:lnTo>
                    <a:lnTo>
                      <a:pt x="0" y="64"/>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73" name="Freeform 14"/>
              <p:cNvSpPr>
                <a:spLocks/>
              </p:cNvSpPr>
              <p:nvPr/>
            </p:nvSpPr>
            <p:spPr bwMode="black">
              <a:xfrm>
                <a:off x="4017963" y="3990976"/>
                <a:ext cx="98425" cy="123825"/>
              </a:xfrm>
              <a:custGeom>
                <a:avLst/>
                <a:gdLst>
                  <a:gd name="T0" fmla="*/ 0 w 62"/>
                  <a:gd name="T1" fmla="*/ 64 h 78"/>
                  <a:gd name="T2" fmla="*/ 26 w 62"/>
                  <a:gd name="T3" fmla="*/ 78 h 78"/>
                  <a:gd name="T4" fmla="*/ 62 w 62"/>
                  <a:gd name="T5" fmla="*/ 14 h 78"/>
                  <a:gd name="T6" fmla="*/ 36 w 62"/>
                  <a:gd name="T7" fmla="*/ 0 h 78"/>
                  <a:gd name="T8" fmla="*/ 0 w 62"/>
                  <a:gd name="T9" fmla="*/ 64 h 78"/>
                </a:gdLst>
                <a:ahLst/>
                <a:cxnLst>
                  <a:cxn ang="0">
                    <a:pos x="T0" y="T1"/>
                  </a:cxn>
                  <a:cxn ang="0">
                    <a:pos x="T2" y="T3"/>
                  </a:cxn>
                  <a:cxn ang="0">
                    <a:pos x="T4" y="T5"/>
                  </a:cxn>
                  <a:cxn ang="0">
                    <a:pos x="T6" y="T7"/>
                  </a:cxn>
                  <a:cxn ang="0">
                    <a:pos x="T8" y="T9"/>
                  </a:cxn>
                </a:cxnLst>
                <a:rect l="0" t="0" r="r" b="b"/>
                <a:pathLst>
                  <a:path w="62" h="78">
                    <a:moveTo>
                      <a:pt x="0" y="64"/>
                    </a:moveTo>
                    <a:lnTo>
                      <a:pt x="26" y="78"/>
                    </a:lnTo>
                    <a:lnTo>
                      <a:pt x="62" y="14"/>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74" name="Freeform 15"/>
              <p:cNvSpPr>
                <a:spLocks/>
              </p:cNvSpPr>
              <p:nvPr/>
            </p:nvSpPr>
            <p:spPr bwMode="black">
              <a:xfrm>
                <a:off x="3902076" y="4189413"/>
                <a:ext cx="101600" cy="128588"/>
              </a:xfrm>
              <a:custGeom>
                <a:avLst/>
                <a:gdLst>
                  <a:gd name="T0" fmla="*/ 0 w 64"/>
                  <a:gd name="T1" fmla="*/ 64 h 81"/>
                  <a:gd name="T2" fmla="*/ 26 w 64"/>
                  <a:gd name="T3" fmla="*/ 81 h 81"/>
                  <a:gd name="T4" fmla="*/ 64 w 64"/>
                  <a:gd name="T5" fmla="*/ 17 h 81"/>
                  <a:gd name="T6" fmla="*/ 36 w 64"/>
                  <a:gd name="T7" fmla="*/ 0 h 81"/>
                  <a:gd name="T8" fmla="*/ 0 w 64"/>
                  <a:gd name="T9" fmla="*/ 64 h 81"/>
                </a:gdLst>
                <a:ahLst/>
                <a:cxnLst>
                  <a:cxn ang="0">
                    <a:pos x="T0" y="T1"/>
                  </a:cxn>
                  <a:cxn ang="0">
                    <a:pos x="T2" y="T3"/>
                  </a:cxn>
                  <a:cxn ang="0">
                    <a:pos x="T4" y="T5"/>
                  </a:cxn>
                  <a:cxn ang="0">
                    <a:pos x="T6" y="T7"/>
                  </a:cxn>
                  <a:cxn ang="0">
                    <a:pos x="T8" y="T9"/>
                  </a:cxn>
                </a:cxnLst>
                <a:rect l="0" t="0" r="r" b="b"/>
                <a:pathLst>
                  <a:path w="64" h="81">
                    <a:moveTo>
                      <a:pt x="0" y="64"/>
                    </a:moveTo>
                    <a:lnTo>
                      <a:pt x="26" y="81"/>
                    </a:lnTo>
                    <a:lnTo>
                      <a:pt x="64" y="17"/>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75" name="Freeform 16"/>
              <p:cNvSpPr>
                <a:spLocks/>
              </p:cNvSpPr>
              <p:nvPr/>
            </p:nvSpPr>
            <p:spPr bwMode="black">
              <a:xfrm>
                <a:off x="4989513" y="4189413"/>
                <a:ext cx="98425" cy="128588"/>
              </a:xfrm>
              <a:custGeom>
                <a:avLst/>
                <a:gdLst>
                  <a:gd name="T0" fmla="*/ 26 w 62"/>
                  <a:gd name="T1" fmla="*/ 0 h 81"/>
                  <a:gd name="T2" fmla="*/ 0 w 62"/>
                  <a:gd name="T3" fmla="*/ 17 h 81"/>
                  <a:gd name="T4" fmla="*/ 36 w 62"/>
                  <a:gd name="T5" fmla="*/ 81 h 81"/>
                  <a:gd name="T6" fmla="*/ 62 w 62"/>
                  <a:gd name="T7" fmla="*/ 64 h 81"/>
                  <a:gd name="T8" fmla="*/ 26 w 62"/>
                  <a:gd name="T9" fmla="*/ 0 h 81"/>
                </a:gdLst>
                <a:ahLst/>
                <a:cxnLst>
                  <a:cxn ang="0">
                    <a:pos x="T0" y="T1"/>
                  </a:cxn>
                  <a:cxn ang="0">
                    <a:pos x="T2" y="T3"/>
                  </a:cxn>
                  <a:cxn ang="0">
                    <a:pos x="T4" y="T5"/>
                  </a:cxn>
                  <a:cxn ang="0">
                    <a:pos x="T6" y="T7"/>
                  </a:cxn>
                  <a:cxn ang="0">
                    <a:pos x="T8" y="T9"/>
                  </a:cxn>
                </a:cxnLst>
                <a:rect l="0" t="0" r="r" b="b"/>
                <a:pathLst>
                  <a:path w="62" h="81">
                    <a:moveTo>
                      <a:pt x="26" y="0"/>
                    </a:moveTo>
                    <a:lnTo>
                      <a:pt x="0" y="17"/>
                    </a:lnTo>
                    <a:lnTo>
                      <a:pt x="36" y="81"/>
                    </a:lnTo>
                    <a:lnTo>
                      <a:pt x="62" y="64"/>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76" name="Freeform 17"/>
              <p:cNvSpPr>
                <a:spLocks/>
              </p:cNvSpPr>
              <p:nvPr/>
            </p:nvSpPr>
            <p:spPr bwMode="black">
              <a:xfrm>
                <a:off x="4873626" y="3990976"/>
                <a:ext cx="98425" cy="123825"/>
              </a:xfrm>
              <a:custGeom>
                <a:avLst/>
                <a:gdLst>
                  <a:gd name="T0" fmla="*/ 0 w 62"/>
                  <a:gd name="T1" fmla="*/ 14 h 78"/>
                  <a:gd name="T2" fmla="*/ 36 w 62"/>
                  <a:gd name="T3" fmla="*/ 78 h 78"/>
                  <a:gd name="T4" fmla="*/ 62 w 62"/>
                  <a:gd name="T5" fmla="*/ 64 h 78"/>
                  <a:gd name="T6" fmla="*/ 26 w 62"/>
                  <a:gd name="T7" fmla="*/ 0 h 78"/>
                  <a:gd name="T8" fmla="*/ 0 w 62"/>
                  <a:gd name="T9" fmla="*/ 14 h 78"/>
                </a:gdLst>
                <a:ahLst/>
                <a:cxnLst>
                  <a:cxn ang="0">
                    <a:pos x="T0" y="T1"/>
                  </a:cxn>
                  <a:cxn ang="0">
                    <a:pos x="T2" y="T3"/>
                  </a:cxn>
                  <a:cxn ang="0">
                    <a:pos x="T4" y="T5"/>
                  </a:cxn>
                  <a:cxn ang="0">
                    <a:pos x="T6" y="T7"/>
                  </a:cxn>
                  <a:cxn ang="0">
                    <a:pos x="T8" y="T9"/>
                  </a:cxn>
                </a:cxnLst>
                <a:rect l="0" t="0" r="r" b="b"/>
                <a:pathLst>
                  <a:path w="62" h="78">
                    <a:moveTo>
                      <a:pt x="0" y="14"/>
                    </a:moveTo>
                    <a:lnTo>
                      <a:pt x="36" y="78"/>
                    </a:lnTo>
                    <a:lnTo>
                      <a:pt x="62" y="64"/>
                    </a:lnTo>
                    <a:lnTo>
                      <a:pt x="26" y="0"/>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77" name="Freeform 18"/>
              <p:cNvSpPr>
                <a:spLocks/>
              </p:cNvSpPr>
              <p:nvPr/>
            </p:nvSpPr>
            <p:spPr bwMode="black">
              <a:xfrm>
                <a:off x="3579813" y="2892426"/>
                <a:ext cx="1833563" cy="1068388"/>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78" name="Freeform 19"/>
              <p:cNvSpPr>
                <a:spLocks noEditPoints="1"/>
              </p:cNvSpPr>
              <p:nvPr/>
            </p:nvSpPr>
            <p:spPr bwMode="black">
              <a:xfrm>
                <a:off x="3321051" y="1598613"/>
                <a:ext cx="750888" cy="522288"/>
              </a:xfrm>
              <a:custGeom>
                <a:avLst/>
                <a:gdLst>
                  <a:gd name="T0" fmla="*/ 174 w 200"/>
                  <a:gd name="T1" fmla="*/ 0 h 139"/>
                  <a:gd name="T2" fmla="*/ 26 w 200"/>
                  <a:gd name="T3" fmla="*/ 0 h 139"/>
                  <a:gd name="T4" fmla="*/ 0 w 200"/>
                  <a:gd name="T5" fmla="*/ 27 h 139"/>
                  <a:gd name="T6" fmla="*/ 0 w 200"/>
                  <a:gd name="T7" fmla="*/ 113 h 139"/>
                  <a:gd name="T8" fmla="*/ 26 w 200"/>
                  <a:gd name="T9" fmla="*/ 139 h 139"/>
                  <a:gd name="T10" fmla="*/ 174 w 200"/>
                  <a:gd name="T11" fmla="*/ 139 h 139"/>
                  <a:gd name="T12" fmla="*/ 200 w 200"/>
                  <a:gd name="T13" fmla="*/ 113 h 139"/>
                  <a:gd name="T14" fmla="*/ 200 w 200"/>
                  <a:gd name="T15" fmla="*/ 27 h 139"/>
                  <a:gd name="T16" fmla="*/ 174 w 200"/>
                  <a:gd name="T17" fmla="*/ 0 h 139"/>
                  <a:gd name="T18" fmla="*/ 185 w 200"/>
                  <a:gd name="T19" fmla="*/ 113 h 139"/>
                  <a:gd name="T20" fmla="*/ 174 w 200"/>
                  <a:gd name="T21" fmla="*/ 124 h 139"/>
                  <a:gd name="T22" fmla="*/ 26 w 200"/>
                  <a:gd name="T23" fmla="*/ 124 h 139"/>
                  <a:gd name="T24" fmla="*/ 15 w 200"/>
                  <a:gd name="T25" fmla="*/ 113 h 139"/>
                  <a:gd name="T26" fmla="*/ 15 w 200"/>
                  <a:gd name="T27" fmla="*/ 27 h 139"/>
                  <a:gd name="T28" fmla="*/ 26 w 200"/>
                  <a:gd name="T29" fmla="*/ 16 h 139"/>
                  <a:gd name="T30" fmla="*/ 174 w 200"/>
                  <a:gd name="T31" fmla="*/ 16 h 139"/>
                  <a:gd name="T32" fmla="*/ 185 w 200"/>
                  <a:gd name="T33" fmla="*/ 27 h 139"/>
                  <a:gd name="T34" fmla="*/ 185 w 200"/>
                  <a:gd name="T35" fmla="*/ 11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39">
                    <a:moveTo>
                      <a:pt x="174" y="0"/>
                    </a:moveTo>
                    <a:cubicBezTo>
                      <a:pt x="26" y="0"/>
                      <a:pt x="26" y="0"/>
                      <a:pt x="26" y="0"/>
                    </a:cubicBezTo>
                    <a:cubicBezTo>
                      <a:pt x="12" y="0"/>
                      <a:pt x="0" y="12"/>
                      <a:pt x="0" y="27"/>
                    </a:cubicBezTo>
                    <a:cubicBezTo>
                      <a:pt x="0" y="113"/>
                      <a:pt x="0" y="113"/>
                      <a:pt x="0" y="113"/>
                    </a:cubicBezTo>
                    <a:cubicBezTo>
                      <a:pt x="0" y="127"/>
                      <a:pt x="12" y="139"/>
                      <a:pt x="26" y="139"/>
                    </a:cubicBezTo>
                    <a:cubicBezTo>
                      <a:pt x="174" y="139"/>
                      <a:pt x="174" y="139"/>
                      <a:pt x="174" y="139"/>
                    </a:cubicBezTo>
                    <a:cubicBezTo>
                      <a:pt x="188" y="139"/>
                      <a:pt x="200" y="127"/>
                      <a:pt x="200" y="113"/>
                    </a:cubicBezTo>
                    <a:cubicBezTo>
                      <a:pt x="200" y="27"/>
                      <a:pt x="200" y="27"/>
                      <a:pt x="200" y="27"/>
                    </a:cubicBezTo>
                    <a:cubicBezTo>
                      <a:pt x="200" y="12"/>
                      <a:pt x="188" y="0"/>
                      <a:pt x="174" y="0"/>
                    </a:cubicBezTo>
                    <a:moveTo>
                      <a:pt x="185" y="113"/>
                    </a:moveTo>
                    <a:cubicBezTo>
                      <a:pt x="185" y="119"/>
                      <a:pt x="180" y="124"/>
                      <a:pt x="174" y="124"/>
                    </a:cubicBezTo>
                    <a:cubicBezTo>
                      <a:pt x="26" y="124"/>
                      <a:pt x="26" y="124"/>
                      <a:pt x="26" y="124"/>
                    </a:cubicBezTo>
                    <a:cubicBezTo>
                      <a:pt x="20" y="124"/>
                      <a:pt x="15" y="119"/>
                      <a:pt x="15" y="113"/>
                    </a:cubicBezTo>
                    <a:cubicBezTo>
                      <a:pt x="15" y="27"/>
                      <a:pt x="15" y="27"/>
                      <a:pt x="15" y="27"/>
                    </a:cubicBezTo>
                    <a:cubicBezTo>
                      <a:pt x="15" y="21"/>
                      <a:pt x="20" y="16"/>
                      <a:pt x="26" y="16"/>
                    </a:cubicBezTo>
                    <a:cubicBezTo>
                      <a:pt x="174" y="16"/>
                      <a:pt x="174" y="16"/>
                      <a:pt x="174" y="16"/>
                    </a:cubicBezTo>
                    <a:cubicBezTo>
                      <a:pt x="180" y="16"/>
                      <a:pt x="185" y="21"/>
                      <a:pt x="185" y="27"/>
                    </a:cubicBezTo>
                    <a:lnTo>
                      <a:pt x="185" y="1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79" name="Freeform 20"/>
              <p:cNvSpPr>
                <a:spLocks/>
              </p:cNvSpPr>
              <p:nvPr/>
            </p:nvSpPr>
            <p:spPr bwMode="black">
              <a:xfrm>
                <a:off x="3178176" y="2154238"/>
                <a:ext cx="1035050" cy="239713"/>
              </a:xfrm>
              <a:custGeom>
                <a:avLst/>
                <a:gdLst>
                  <a:gd name="T0" fmla="*/ 7 w 276"/>
                  <a:gd name="T1" fmla="*/ 64 h 64"/>
                  <a:gd name="T2" fmla="*/ 269 w 276"/>
                  <a:gd name="T3" fmla="*/ 64 h 64"/>
                  <a:gd name="T4" fmla="*/ 276 w 276"/>
                  <a:gd name="T5" fmla="*/ 57 h 64"/>
                  <a:gd name="T6" fmla="*/ 276 w 276"/>
                  <a:gd name="T7" fmla="*/ 54 h 64"/>
                  <a:gd name="T8" fmla="*/ 272 w 276"/>
                  <a:gd name="T9" fmla="*/ 42 h 64"/>
                  <a:gd name="T10" fmla="*/ 240 w 276"/>
                  <a:gd name="T11" fmla="*/ 5 h 64"/>
                  <a:gd name="T12" fmla="*/ 229 w 276"/>
                  <a:gd name="T13" fmla="*/ 0 h 64"/>
                  <a:gd name="T14" fmla="*/ 47 w 276"/>
                  <a:gd name="T15" fmla="*/ 0 h 64"/>
                  <a:gd name="T16" fmla="*/ 36 w 276"/>
                  <a:gd name="T17" fmla="*/ 5 h 64"/>
                  <a:gd name="T18" fmla="*/ 4 w 276"/>
                  <a:gd name="T19" fmla="*/ 42 h 64"/>
                  <a:gd name="T20" fmla="*/ 0 w 276"/>
                  <a:gd name="T21" fmla="*/ 54 h 64"/>
                  <a:gd name="T22" fmla="*/ 0 w 276"/>
                  <a:gd name="T23" fmla="*/ 57 h 64"/>
                  <a:gd name="T24" fmla="*/ 7 w 27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6" h="64">
                    <a:moveTo>
                      <a:pt x="7" y="64"/>
                    </a:moveTo>
                    <a:cubicBezTo>
                      <a:pt x="269" y="64"/>
                      <a:pt x="269" y="64"/>
                      <a:pt x="269" y="64"/>
                    </a:cubicBezTo>
                    <a:cubicBezTo>
                      <a:pt x="273" y="64"/>
                      <a:pt x="276" y="61"/>
                      <a:pt x="276" y="57"/>
                    </a:cubicBezTo>
                    <a:cubicBezTo>
                      <a:pt x="276" y="54"/>
                      <a:pt x="276" y="54"/>
                      <a:pt x="276" y="54"/>
                    </a:cubicBezTo>
                    <a:cubicBezTo>
                      <a:pt x="276" y="50"/>
                      <a:pt x="274" y="45"/>
                      <a:pt x="272" y="42"/>
                    </a:cubicBezTo>
                    <a:cubicBezTo>
                      <a:pt x="240" y="5"/>
                      <a:pt x="240" y="5"/>
                      <a:pt x="240" y="5"/>
                    </a:cubicBezTo>
                    <a:cubicBezTo>
                      <a:pt x="238" y="2"/>
                      <a:pt x="233" y="0"/>
                      <a:pt x="229" y="0"/>
                    </a:cubicBezTo>
                    <a:cubicBezTo>
                      <a:pt x="47" y="0"/>
                      <a:pt x="47" y="0"/>
                      <a:pt x="47" y="0"/>
                    </a:cubicBezTo>
                    <a:cubicBezTo>
                      <a:pt x="43" y="0"/>
                      <a:pt x="38" y="2"/>
                      <a:pt x="36" y="5"/>
                    </a:cubicBezTo>
                    <a:cubicBezTo>
                      <a:pt x="4" y="42"/>
                      <a:pt x="4" y="42"/>
                      <a:pt x="4" y="42"/>
                    </a:cubicBezTo>
                    <a:cubicBezTo>
                      <a:pt x="2" y="45"/>
                      <a:pt x="0" y="50"/>
                      <a:pt x="0" y="54"/>
                    </a:cubicBezTo>
                    <a:cubicBezTo>
                      <a:pt x="0" y="57"/>
                      <a:pt x="0" y="57"/>
                      <a:pt x="0" y="57"/>
                    </a:cubicBezTo>
                    <a:cubicBezTo>
                      <a:pt x="0" y="61"/>
                      <a:pt x="3" y="64"/>
                      <a:pt x="7"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80" name="Freeform 21"/>
              <p:cNvSpPr>
                <a:spLocks noEditPoints="1"/>
              </p:cNvSpPr>
              <p:nvPr/>
            </p:nvSpPr>
            <p:spPr bwMode="black">
              <a:xfrm>
                <a:off x="4730751" y="1639888"/>
                <a:ext cx="781050" cy="608013"/>
              </a:xfrm>
              <a:custGeom>
                <a:avLst/>
                <a:gdLst>
                  <a:gd name="T0" fmla="*/ 177 w 208"/>
                  <a:gd name="T1" fmla="*/ 0 h 162"/>
                  <a:gd name="T2" fmla="*/ 31 w 208"/>
                  <a:gd name="T3" fmla="*/ 0 h 162"/>
                  <a:gd name="T4" fmla="*/ 0 w 208"/>
                  <a:gd name="T5" fmla="*/ 31 h 162"/>
                  <a:gd name="T6" fmla="*/ 0 w 208"/>
                  <a:gd name="T7" fmla="*/ 131 h 162"/>
                  <a:gd name="T8" fmla="*/ 31 w 208"/>
                  <a:gd name="T9" fmla="*/ 162 h 162"/>
                  <a:gd name="T10" fmla="*/ 177 w 208"/>
                  <a:gd name="T11" fmla="*/ 162 h 162"/>
                  <a:gd name="T12" fmla="*/ 208 w 208"/>
                  <a:gd name="T13" fmla="*/ 131 h 162"/>
                  <a:gd name="T14" fmla="*/ 208 w 208"/>
                  <a:gd name="T15" fmla="*/ 31 h 162"/>
                  <a:gd name="T16" fmla="*/ 177 w 208"/>
                  <a:gd name="T17" fmla="*/ 0 h 162"/>
                  <a:gd name="T18" fmla="*/ 190 w 208"/>
                  <a:gd name="T19" fmla="*/ 131 h 162"/>
                  <a:gd name="T20" fmla="*/ 177 w 208"/>
                  <a:gd name="T21" fmla="*/ 144 h 162"/>
                  <a:gd name="T22" fmla="*/ 31 w 208"/>
                  <a:gd name="T23" fmla="*/ 144 h 162"/>
                  <a:gd name="T24" fmla="*/ 18 w 208"/>
                  <a:gd name="T25" fmla="*/ 131 h 162"/>
                  <a:gd name="T26" fmla="*/ 18 w 208"/>
                  <a:gd name="T27" fmla="*/ 31 h 162"/>
                  <a:gd name="T28" fmla="*/ 31 w 208"/>
                  <a:gd name="T29" fmla="*/ 18 h 162"/>
                  <a:gd name="T30" fmla="*/ 177 w 208"/>
                  <a:gd name="T31" fmla="*/ 18 h 162"/>
                  <a:gd name="T32" fmla="*/ 190 w 208"/>
                  <a:gd name="T33" fmla="*/ 31 h 162"/>
                  <a:gd name="T34" fmla="*/ 190 w 208"/>
                  <a:gd name="T35" fmla="*/ 13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 h="162">
                    <a:moveTo>
                      <a:pt x="177" y="0"/>
                    </a:moveTo>
                    <a:cubicBezTo>
                      <a:pt x="31" y="0"/>
                      <a:pt x="31" y="0"/>
                      <a:pt x="31" y="0"/>
                    </a:cubicBezTo>
                    <a:cubicBezTo>
                      <a:pt x="14" y="0"/>
                      <a:pt x="0" y="14"/>
                      <a:pt x="0" y="31"/>
                    </a:cubicBezTo>
                    <a:cubicBezTo>
                      <a:pt x="0" y="131"/>
                      <a:pt x="0" y="131"/>
                      <a:pt x="0" y="131"/>
                    </a:cubicBezTo>
                    <a:cubicBezTo>
                      <a:pt x="0" y="148"/>
                      <a:pt x="14" y="162"/>
                      <a:pt x="31" y="162"/>
                    </a:cubicBezTo>
                    <a:cubicBezTo>
                      <a:pt x="177" y="162"/>
                      <a:pt x="177" y="162"/>
                      <a:pt x="177" y="162"/>
                    </a:cubicBezTo>
                    <a:cubicBezTo>
                      <a:pt x="194" y="162"/>
                      <a:pt x="208" y="148"/>
                      <a:pt x="208" y="131"/>
                    </a:cubicBezTo>
                    <a:cubicBezTo>
                      <a:pt x="208" y="31"/>
                      <a:pt x="208" y="31"/>
                      <a:pt x="208" y="31"/>
                    </a:cubicBezTo>
                    <a:cubicBezTo>
                      <a:pt x="208" y="14"/>
                      <a:pt x="194" y="0"/>
                      <a:pt x="177" y="0"/>
                    </a:cubicBezTo>
                    <a:moveTo>
                      <a:pt x="190" y="131"/>
                    </a:moveTo>
                    <a:cubicBezTo>
                      <a:pt x="190" y="138"/>
                      <a:pt x="184" y="144"/>
                      <a:pt x="177" y="144"/>
                    </a:cubicBezTo>
                    <a:cubicBezTo>
                      <a:pt x="31" y="144"/>
                      <a:pt x="31" y="144"/>
                      <a:pt x="31" y="144"/>
                    </a:cubicBezTo>
                    <a:cubicBezTo>
                      <a:pt x="24" y="144"/>
                      <a:pt x="18" y="138"/>
                      <a:pt x="18" y="131"/>
                    </a:cubicBezTo>
                    <a:cubicBezTo>
                      <a:pt x="18" y="31"/>
                      <a:pt x="18" y="31"/>
                      <a:pt x="18" y="31"/>
                    </a:cubicBezTo>
                    <a:cubicBezTo>
                      <a:pt x="18" y="24"/>
                      <a:pt x="24" y="18"/>
                      <a:pt x="31" y="18"/>
                    </a:cubicBezTo>
                    <a:cubicBezTo>
                      <a:pt x="177" y="18"/>
                      <a:pt x="177" y="18"/>
                      <a:pt x="177" y="18"/>
                    </a:cubicBezTo>
                    <a:cubicBezTo>
                      <a:pt x="184" y="18"/>
                      <a:pt x="190" y="24"/>
                      <a:pt x="190" y="31"/>
                    </a:cubicBezTo>
                    <a:lnTo>
                      <a:pt x="190" y="1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81" name="Freeform 22"/>
              <p:cNvSpPr>
                <a:spLocks/>
              </p:cNvSpPr>
              <p:nvPr/>
            </p:nvSpPr>
            <p:spPr bwMode="black">
              <a:xfrm>
                <a:off x="4911726" y="2289176"/>
                <a:ext cx="419100" cy="104775"/>
              </a:xfrm>
              <a:custGeom>
                <a:avLst/>
                <a:gdLst>
                  <a:gd name="T0" fmla="*/ 112 w 112"/>
                  <a:gd name="T1" fmla="*/ 25 h 28"/>
                  <a:gd name="T2" fmla="*/ 112 w 112"/>
                  <a:gd name="T3" fmla="*/ 23 h 28"/>
                  <a:gd name="T4" fmla="*/ 110 w 112"/>
                  <a:gd name="T5" fmla="*/ 18 h 28"/>
                  <a:gd name="T6" fmla="*/ 96 w 112"/>
                  <a:gd name="T7" fmla="*/ 2 h 28"/>
                  <a:gd name="T8" fmla="*/ 91 w 112"/>
                  <a:gd name="T9" fmla="*/ 0 h 28"/>
                  <a:gd name="T10" fmla="*/ 21 w 112"/>
                  <a:gd name="T11" fmla="*/ 0 h 28"/>
                  <a:gd name="T12" fmla="*/ 16 w 112"/>
                  <a:gd name="T13" fmla="*/ 2 h 28"/>
                  <a:gd name="T14" fmla="*/ 2 w 112"/>
                  <a:gd name="T15" fmla="*/ 18 h 28"/>
                  <a:gd name="T16" fmla="*/ 0 w 112"/>
                  <a:gd name="T17" fmla="*/ 23 h 28"/>
                  <a:gd name="T18" fmla="*/ 0 w 112"/>
                  <a:gd name="T19" fmla="*/ 25 h 28"/>
                  <a:gd name="T20" fmla="*/ 3 w 112"/>
                  <a:gd name="T21" fmla="*/ 28 h 28"/>
                  <a:gd name="T22" fmla="*/ 109 w 112"/>
                  <a:gd name="T23" fmla="*/ 28 h 28"/>
                  <a:gd name="T24" fmla="*/ 112 w 112"/>
                  <a:gd name="T25"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28">
                    <a:moveTo>
                      <a:pt x="112" y="25"/>
                    </a:moveTo>
                    <a:cubicBezTo>
                      <a:pt x="112" y="23"/>
                      <a:pt x="112" y="23"/>
                      <a:pt x="112" y="23"/>
                    </a:cubicBezTo>
                    <a:cubicBezTo>
                      <a:pt x="112" y="22"/>
                      <a:pt x="111" y="20"/>
                      <a:pt x="110" y="18"/>
                    </a:cubicBezTo>
                    <a:cubicBezTo>
                      <a:pt x="96" y="2"/>
                      <a:pt x="96" y="2"/>
                      <a:pt x="96" y="2"/>
                    </a:cubicBezTo>
                    <a:cubicBezTo>
                      <a:pt x="95" y="1"/>
                      <a:pt x="93" y="0"/>
                      <a:pt x="91" y="0"/>
                    </a:cubicBezTo>
                    <a:cubicBezTo>
                      <a:pt x="21" y="0"/>
                      <a:pt x="21" y="0"/>
                      <a:pt x="21" y="0"/>
                    </a:cubicBezTo>
                    <a:cubicBezTo>
                      <a:pt x="19" y="0"/>
                      <a:pt x="17" y="1"/>
                      <a:pt x="16" y="2"/>
                    </a:cubicBezTo>
                    <a:cubicBezTo>
                      <a:pt x="2" y="18"/>
                      <a:pt x="2" y="18"/>
                      <a:pt x="2" y="18"/>
                    </a:cubicBezTo>
                    <a:cubicBezTo>
                      <a:pt x="1" y="20"/>
                      <a:pt x="0" y="22"/>
                      <a:pt x="0" y="23"/>
                    </a:cubicBezTo>
                    <a:cubicBezTo>
                      <a:pt x="0" y="25"/>
                      <a:pt x="0" y="25"/>
                      <a:pt x="0" y="25"/>
                    </a:cubicBezTo>
                    <a:cubicBezTo>
                      <a:pt x="0" y="26"/>
                      <a:pt x="1" y="28"/>
                      <a:pt x="3" y="28"/>
                    </a:cubicBezTo>
                    <a:cubicBezTo>
                      <a:pt x="109" y="28"/>
                      <a:pt x="109" y="28"/>
                      <a:pt x="109" y="28"/>
                    </a:cubicBezTo>
                    <a:cubicBezTo>
                      <a:pt x="111" y="28"/>
                      <a:pt x="112" y="26"/>
                      <a:pt x="112" y="2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82" name="Freeform 23"/>
              <p:cNvSpPr>
                <a:spLocks noEditPoints="1"/>
              </p:cNvSpPr>
              <p:nvPr/>
            </p:nvSpPr>
            <p:spPr bwMode="black">
              <a:xfrm>
                <a:off x="5586413" y="1639888"/>
                <a:ext cx="385763" cy="754063"/>
              </a:xfrm>
              <a:custGeom>
                <a:avLst/>
                <a:gdLst>
                  <a:gd name="T0" fmla="*/ 89 w 103"/>
                  <a:gd name="T1" fmla="*/ 0 h 201"/>
                  <a:gd name="T2" fmla="*/ 13 w 103"/>
                  <a:gd name="T3" fmla="*/ 0 h 201"/>
                  <a:gd name="T4" fmla="*/ 0 w 103"/>
                  <a:gd name="T5" fmla="*/ 13 h 201"/>
                  <a:gd name="T6" fmla="*/ 0 w 103"/>
                  <a:gd name="T7" fmla="*/ 187 h 201"/>
                  <a:gd name="T8" fmla="*/ 13 w 103"/>
                  <a:gd name="T9" fmla="*/ 201 h 201"/>
                  <a:gd name="T10" fmla="*/ 89 w 103"/>
                  <a:gd name="T11" fmla="*/ 201 h 201"/>
                  <a:gd name="T12" fmla="*/ 103 w 103"/>
                  <a:gd name="T13" fmla="*/ 187 h 201"/>
                  <a:gd name="T14" fmla="*/ 103 w 103"/>
                  <a:gd name="T15" fmla="*/ 13 h 201"/>
                  <a:gd name="T16" fmla="*/ 89 w 103"/>
                  <a:gd name="T17" fmla="*/ 0 h 201"/>
                  <a:gd name="T18" fmla="*/ 52 w 103"/>
                  <a:gd name="T19" fmla="*/ 187 h 201"/>
                  <a:gd name="T20" fmla="*/ 40 w 103"/>
                  <a:gd name="T21" fmla="*/ 175 h 201"/>
                  <a:gd name="T22" fmla="*/ 52 w 103"/>
                  <a:gd name="T23" fmla="*/ 163 h 201"/>
                  <a:gd name="T24" fmla="*/ 63 w 103"/>
                  <a:gd name="T25" fmla="*/ 175 h 201"/>
                  <a:gd name="T26" fmla="*/ 52 w 103"/>
                  <a:gd name="T27" fmla="*/ 18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201">
                    <a:moveTo>
                      <a:pt x="89" y="0"/>
                    </a:moveTo>
                    <a:cubicBezTo>
                      <a:pt x="13" y="0"/>
                      <a:pt x="13" y="0"/>
                      <a:pt x="13" y="0"/>
                    </a:cubicBezTo>
                    <a:cubicBezTo>
                      <a:pt x="6" y="0"/>
                      <a:pt x="0" y="6"/>
                      <a:pt x="0" y="13"/>
                    </a:cubicBezTo>
                    <a:cubicBezTo>
                      <a:pt x="0" y="187"/>
                      <a:pt x="0" y="187"/>
                      <a:pt x="0" y="187"/>
                    </a:cubicBezTo>
                    <a:cubicBezTo>
                      <a:pt x="0" y="195"/>
                      <a:pt x="6" y="201"/>
                      <a:pt x="13" y="201"/>
                    </a:cubicBezTo>
                    <a:cubicBezTo>
                      <a:pt x="89" y="201"/>
                      <a:pt x="89" y="201"/>
                      <a:pt x="89" y="201"/>
                    </a:cubicBezTo>
                    <a:cubicBezTo>
                      <a:pt x="97" y="201"/>
                      <a:pt x="103" y="195"/>
                      <a:pt x="103" y="187"/>
                    </a:cubicBezTo>
                    <a:cubicBezTo>
                      <a:pt x="103" y="13"/>
                      <a:pt x="103" y="13"/>
                      <a:pt x="103" y="13"/>
                    </a:cubicBezTo>
                    <a:cubicBezTo>
                      <a:pt x="103" y="6"/>
                      <a:pt x="97" y="0"/>
                      <a:pt x="89" y="0"/>
                    </a:cubicBezTo>
                    <a:moveTo>
                      <a:pt x="52" y="187"/>
                    </a:moveTo>
                    <a:cubicBezTo>
                      <a:pt x="45" y="187"/>
                      <a:pt x="40" y="181"/>
                      <a:pt x="40" y="175"/>
                    </a:cubicBezTo>
                    <a:cubicBezTo>
                      <a:pt x="40" y="168"/>
                      <a:pt x="45" y="163"/>
                      <a:pt x="52" y="163"/>
                    </a:cubicBezTo>
                    <a:cubicBezTo>
                      <a:pt x="58" y="163"/>
                      <a:pt x="63" y="168"/>
                      <a:pt x="63" y="175"/>
                    </a:cubicBezTo>
                    <a:cubicBezTo>
                      <a:pt x="63" y="181"/>
                      <a:pt x="58" y="187"/>
                      <a:pt x="52" y="18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83" name="Freeform 24"/>
              <p:cNvSpPr>
                <a:spLocks noEditPoints="1"/>
              </p:cNvSpPr>
              <p:nvPr/>
            </p:nvSpPr>
            <p:spPr bwMode="black">
              <a:xfrm>
                <a:off x="2462213" y="3032126"/>
                <a:ext cx="525463" cy="804863"/>
              </a:xfrm>
              <a:custGeom>
                <a:avLst/>
                <a:gdLst>
                  <a:gd name="T0" fmla="*/ 109 w 140"/>
                  <a:gd name="T1" fmla="*/ 0 h 215"/>
                  <a:gd name="T2" fmla="*/ 31 w 140"/>
                  <a:gd name="T3" fmla="*/ 0 h 215"/>
                  <a:gd name="T4" fmla="*/ 0 w 140"/>
                  <a:gd name="T5" fmla="*/ 30 h 215"/>
                  <a:gd name="T6" fmla="*/ 0 w 140"/>
                  <a:gd name="T7" fmla="*/ 184 h 215"/>
                  <a:gd name="T8" fmla="*/ 31 w 140"/>
                  <a:gd name="T9" fmla="*/ 215 h 215"/>
                  <a:gd name="T10" fmla="*/ 109 w 140"/>
                  <a:gd name="T11" fmla="*/ 215 h 215"/>
                  <a:gd name="T12" fmla="*/ 140 w 140"/>
                  <a:gd name="T13" fmla="*/ 184 h 215"/>
                  <a:gd name="T14" fmla="*/ 140 w 140"/>
                  <a:gd name="T15" fmla="*/ 30 h 215"/>
                  <a:gd name="T16" fmla="*/ 109 w 140"/>
                  <a:gd name="T17" fmla="*/ 0 h 215"/>
                  <a:gd name="T18" fmla="*/ 122 w 140"/>
                  <a:gd name="T19" fmla="*/ 177 h 215"/>
                  <a:gd name="T20" fmla="*/ 109 w 140"/>
                  <a:gd name="T21" fmla="*/ 195 h 215"/>
                  <a:gd name="T22" fmla="*/ 31 w 140"/>
                  <a:gd name="T23" fmla="*/ 195 h 215"/>
                  <a:gd name="T24" fmla="*/ 18 w 140"/>
                  <a:gd name="T25" fmla="*/ 177 h 215"/>
                  <a:gd name="T26" fmla="*/ 18 w 140"/>
                  <a:gd name="T27" fmla="*/ 35 h 215"/>
                  <a:gd name="T28" fmla="*/ 31 w 140"/>
                  <a:gd name="T29" fmla="*/ 18 h 215"/>
                  <a:gd name="T30" fmla="*/ 109 w 140"/>
                  <a:gd name="T31" fmla="*/ 18 h 215"/>
                  <a:gd name="T32" fmla="*/ 122 w 140"/>
                  <a:gd name="T33" fmla="*/ 35 h 215"/>
                  <a:gd name="T34" fmla="*/ 122 w 140"/>
                  <a:gd name="T35" fmla="*/ 17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215">
                    <a:moveTo>
                      <a:pt x="109" y="0"/>
                    </a:moveTo>
                    <a:cubicBezTo>
                      <a:pt x="31" y="0"/>
                      <a:pt x="31" y="0"/>
                      <a:pt x="31" y="0"/>
                    </a:cubicBezTo>
                    <a:cubicBezTo>
                      <a:pt x="14" y="0"/>
                      <a:pt x="0" y="13"/>
                      <a:pt x="0" y="30"/>
                    </a:cubicBezTo>
                    <a:cubicBezTo>
                      <a:pt x="0" y="184"/>
                      <a:pt x="0" y="184"/>
                      <a:pt x="0" y="184"/>
                    </a:cubicBezTo>
                    <a:cubicBezTo>
                      <a:pt x="0" y="201"/>
                      <a:pt x="14" y="215"/>
                      <a:pt x="31" y="215"/>
                    </a:cubicBezTo>
                    <a:cubicBezTo>
                      <a:pt x="109" y="215"/>
                      <a:pt x="109" y="215"/>
                      <a:pt x="109" y="215"/>
                    </a:cubicBezTo>
                    <a:cubicBezTo>
                      <a:pt x="126" y="215"/>
                      <a:pt x="140" y="201"/>
                      <a:pt x="140" y="184"/>
                    </a:cubicBezTo>
                    <a:cubicBezTo>
                      <a:pt x="140" y="30"/>
                      <a:pt x="140" y="30"/>
                      <a:pt x="140" y="30"/>
                    </a:cubicBezTo>
                    <a:cubicBezTo>
                      <a:pt x="140" y="13"/>
                      <a:pt x="126" y="0"/>
                      <a:pt x="109" y="0"/>
                    </a:cubicBezTo>
                    <a:moveTo>
                      <a:pt x="122" y="177"/>
                    </a:moveTo>
                    <a:cubicBezTo>
                      <a:pt x="122" y="187"/>
                      <a:pt x="116" y="195"/>
                      <a:pt x="109" y="195"/>
                    </a:cubicBezTo>
                    <a:cubicBezTo>
                      <a:pt x="31" y="195"/>
                      <a:pt x="31" y="195"/>
                      <a:pt x="31" y="195"/>
                    </a:cubicBezTo>
                    <a:cubicBezTo>
                      <a:pt x="24" y="195"/>
                      <a:pt x="18" y="187"/>
                      <a:pt x="18" y="177"/>
                    </a:cubicBezTo>
                    <a:cubicBezTo>
                      <a:pt x="18" y="35"/>
                      <a:pt x="18" y="35"/>
                      <a:pt x="18" y="35"/>
                    </a:cubicBezTo>
                    <a:cubicBezTo>
                      <a:pt x="18" y="26"/>
                      <a:pt x="24" y="18"/>
                      <a:pt x="31" y="18"/>
                    </a:cubicBezTo>
                    <a:cubicBezTo>
                      <a:pt x="109" y="18"/>
                      <a:pt x="109" y="18"/>
                      <a:pt x="109" y="18"/>
                    </a:cubicBezTo>
                    <a:cubicBezTo>
                      <a:pt x="116" y="18"/>
                      <a:pt x="122" y="26"/>
                      <a:pt x="122" y="35"/>
                    </a:cubicBezTo>
                    <a:lnTo>
                      <a:pt x="122" y="1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84" name="Freeform 25"/>
              <p:cNvSpPr>
                <a:spLocks noEditPoints="1"/>
              </p:cNvSpPr>
              <p:nvPr/>
            </p:nvSpPr>
            <p:spPr bwMode="black">
              <a:xfrm>
                <a:off x="5049838" y="4411663"/>
                <a:ext cx="739775" cy="854075"/>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85" name="Freeform 26"/>
              <p:cNvSpPr>
                <a:spLocks noEditPoints="1"/>
              </p:cNvSpPr>
              <p:nvPr/>
            </p:nvSpPr>
            <p:spPr bwMode="black">
              <a:xfrm>
                <a:off x="6043613" y="2960688"/>
                <a:ext cx="641350" cy="876300"/>
              </a:xfrm>
              <a:custGeom>
                <a:avLst/>
                <a:gdLst>
                  <a:gd name="T0" fmla="*/ 146 w 171"/>
                  <a:gd name="T1" fmla="*/ 0 h 234"/>
                  <a:gd name="T2" fmla="*/ 25 w 171"/>
                  <a:gd name="T3" fmla="*/ 0 h 234"/>
                  <a:gd name="T4" fmla="*/ 0 w 171"/>
                  <a:gd name="T5" fmla="*/ 25 h 234"/>
                  <a:gd name="T6" fmla="*/ 0 w 171"/>
                  <a:gd name="T7" fmla="*/ 209 h 234"/>
                  <a:gd name="T8" fmla="*/ 25 w 171"/>
                  <a:gd name="T9" fmla="*/ 234 h 234"/>
                  <a:gd name="T10" fmla="*/ 146 w 171"/>
                  <a:gd name="T11" fmla="*/ 234 h 234"/>
                  <a:gd name="T12" fmla="*/ 171 w 171"/>
                  <a:gd name="T13" fmla="*/ 209 h 234"/>
                  <a:gd name="T14" fmla="*/ 171 w 171"/>
                  <a:gd name="T15" fmla="*/ 25 h 234"/>
                  <a:gd name="T16" fmla="*/ 146 w 171"/>
                  <a:gd name="T17" fmla="*/ 0 h 234"/>
                  <a:gd name="T18" fmla="*/ 157 w 171"/>
                  <a:gd name="T19" fmla="*/ 183 h 234"/>
                  <a:gd name="T20" fmla="*/ 146 w 171"/>
                  <a:gd name="T21" fmla="*/ 193 h 234"/>
                  <a:gd name="T22" fmla="*/ 25 w 171"/>
                  <a:gd name="T23" fmla="*/ 193 h 234"/>
                  <a:gd name="T24" fmla="*/ 15 w 171"/>
                  <a:gd name="T25" fmla="*/ 183 h 234"/>
                  <a:gd name="T26" fmla="*/ 15 w 171"/>
                  <a:gd name="T27" fmla="*/ 25 h 234"/>
                  <a:gd name="T28" fmla="*/ 25 w 171"/>
                  <a:gd name="T29" fmla="*/ 14 h 234"/>
                  <a:gd name="T30" fmla="*/ 146 w 171"/>
                  <a:gd name="T31" fmla="*/ 14 h 234"/>
                  <a:gd name="T32" fmla="*/ 157 w 171"/>
                  <a:gd name="T33" fmla="*/ 25 h 234"/>
                  <a:gd name="T34" fmla="*/ 157 w 171"/>
                  <a:gd name="T35" fmla="*/ 18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234">
                    <a:moveTo>
                      <a:pt x="146" y="0"/>
                    </a:moveTo>
                    <a:cubicBezTo>
                      <a:pt x="25" y="0"/>
                      <a:pt x="25" y="0"/>
                      <a:pt x="25" y="0"/>
                    </a:cubicBezTo>
                    <a:cubicBezTo>
                      <a:pt x="11" y="0"/>
                      <a:pt x="0" y="11"/>
                      <a:pt x="0" y="25"/>
                    </a:cubicBezTo>
                    <a:cubicBezTo>
                      <a:pt x="0" y="209"/>
                      <a:pt x="0" y="209"/>
                      <a:pt x="0" y="209"/>
                    </a:cubicBezTo>
                    <a:cubicBezTo>
                      <a:pt x="0" y="223"/>
                      <a:pt x="11" y="234"/>
                      <a:pt x="25" y="234"/>
                    </a:cubicBezTo>
                    <a:cubicBezTo>
                      <a:pt x="146" y="234"/>
                      <a:pt x="146" y="234"/>
                      <a:pt x="146" y="234"/>
                    </a:cubicBezTo>
                    <a:cubicBezTo>
                      <a:pt x="160" y="234"/>
                      <a:pt x="171" y="223"/>
                      <a:pt x="171" y="209"/>
                    </a:cubicBezTo>
                    <a:cubicBezTo>
                      <a:pt x="171" y="25"/>
                      <a:pt x="171" y="25"/>
                      <a:pt x="171" y="25"/>
                    </a:cubicBezTo>
                    <a:cubicBezTo>
                      <a:pt x="171" y="11"/>
                      <a:pt x="160" y="0"/>
                      <a:pt x="146" y="0"/>
                    </a:cubicBezTo>
                    <a:moveTo>
                      <a:pt x="157" y="183"/>
                    </a:moveTo>
                    <a:cubicBezTo>
                      <a:pt x="157" y="188"/>
                      <a:pt x="152" y="193"/>
                      <a:pt x="146" y="193"/>
                    </a:cubicBezTo>
                    <a:cubicBezTo>
                      <a:pt x="25" y="193"/>
                      <a:pt x="25" y="193"/>
                      <a:pt x="25" y="193"/>
                    </a:cubicBezTo>
                    <a:cubicBezTo>
                      <a:pt x="19" y="193"/>
                      <a:pt x="15" y="188"/>
                      <a:pt x="15" y="183"/>
                    </a:cubicBezTo>
                    <a:cubicBezTo>
                      <a:pt x="15" y="25"/>
                      <a:pt x="15" y="25"/>
                      <a:pt x="15" y="25"/>
                    </a:cubicBezTo>
                    <a:cubicBezTo>
                      <a:pt x="15" y="19"/>
                      <a:pt x="19" y="14"/>
                      <a:pt x="25" y="14"/>
                    </a:cubicBezTo>
                    <a:cubicBezTo>
                      <a:pt x="146" y="14"/>
                      <a:pt x="146" y="14"/>
                      <a:pt x="146" y="14"/>
                    </a:cubicBezTo>
                    <a:cubicBezTo>
                      <a:pt x="152" y="14"/>
                      <a:pt x="157" y="19"/>
                      <a:pt x="157" y="25"/>
                    </a:cubicBezTo>
                    <a:lnTo>
                      <a:pt x="157" y="1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86" name="Oval 27"/>
              <p:cNvSpPr>
                <a:spLocks noChangeArrowheads="1"/>
              </p:cNvSpPr>
              <p:nvPr/>
            </p:nvSpPr>
            <p:spPr bwMode="black">
              <a:xfrm>
                <a:off x="62245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87" name="Oval 28"/>
              <p:cNvSpPr>
                <a:spLocks noChangeArrowheads="1"/>
              </p:cNvSpPr>
              <p:nvPr/>
            </p:nvSpPr>
            <p:spPr bwMode="black">
              <a:xfrm>
                <a:off x="64531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88" name="Oval 29"/>
              <p:cNvSpPr>
                <a:spLocks noChangeArrowheads="1"/>
              </p:cNvSpPr>
              <p:nvPr/>
            </p:nvSpPr>
            <p:spPr bwMode="black">
              <a:xfrm>
                <a:off x="6340476"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89" name="Freeform 30"/>
              <p:cNvSpPr>
                <a:spLocks/>
              </p:cNvSpPr>
              <p:nvPr/>
            </p:nvSpPr>
            <p:spPr bwMode="black">
              <a:xfrm>
                <a:off x="3425826" y="4279901"/>
                <a:ext cx="442913" cy="16192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90" name="Freeform 31"/>
              <p:cNvSpPr>
                <a:spLocks noEditPoints="1"/>
              </p:cNvSpPr>
              <p:nvPr/>
            </p:nvSpPr>
            <p:spPr bwMode="black">
              <a:xfrm>
                <a:off x="3414713" y="4456113"/>
                <a:ext cx="476250" cy="80962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grpSp>
      <p:grpSp>
        <p:nvGrpSpPr>
          <p:cNvPr id="140" name="Group 139"/>
          <p:cNvGrpSpPr/>
          <p:nvPr/>
        </p:nvGrpSpPr>
        <p:grpSpPr>
          <a:xfrm>
            <a:off x="6229781" y="3132077"/>
            <a:ext cx="1114507" cy="1211325"/>
            <a:chOff x="7312137" y="4053596"/>
            <a:chExt cx="1485622" cy="1615100"/>
          </a:xfrm>
        </p:grpSpPr>
        <p:sp>
          <p:nvSpPr>
            <p:cNvPr id="138" name="Rectangle 137"/>
            <p:cNvSpPr/>
            <p:nvPr/>
          </p:nvSpPr>
          <p:spPr bwMode="auto">
            <a:xfrm>
              <a:off x="7312137" y="5429173"/>
              <a:ext cx="1484480" cy="239523"/>
            </a:xfrm>
            <a:prstGeom prst="rect">
              <a:avLst/>
            </a:prstGeom>
            <a:solidFill>
              <a:schemeClr val="tx1"/>
            </a:solidFill>
            <a:ln w="28575" cap="flat" cmpd="sng" algn="ctr">
              <a:solidFill>
                <a:schemeClr val="tx1"/>
              </a:solidFill>
              <a:prstDash val="solid"/>
              <a:headEnd type="none" w="med" len="med"/>
              <a:tailEnd type="none" w="med" len="med"/>
            </a:ln>
            <a:effectLst/>
          </p:spPr>
          <p:txBody>
            <a:bodyPr rot="0" spcFirstLastPara="0" vertOverflow="overflow" horzOverflow="overflow" vert="horz" wrap="square" lIns="68607" tIns="34304" rIns="34304" bIns="68607" numCol="1" spcCol="0" rtlCol="0" fromWordArt="0" anchor="t" anchorCtr="0" forceAA="0" compatLnSpc="1">
              <a:prstTxWarp prst="textNoShape">
                <a:avLst/>
              </a:prstTxWarp>
              <a:noAutofit/>
            </a:bodyPr>
            <a:lstStyle/>
            <a:p>
              <a:pPr algn="ctr"/>
              <a:r>
                <a:rPr lang="en-US" sz="900" b="1" dirty="0">
                  <a:solidFill>
                    <a:schemeClr val="accent1"/>
                  </a:solidFill>
                  <a:latin typeface="Segoe UI Light" pitchFamily="34" charset="0"/>
                </a:rPr>
                <a:t>TRADITIONAL IT</a:t>
              </a:r>
            </a:p>
            <a:p>
              <a:pPr fontAlgn="base">
                <a:spcBef>
                  <a:spcPct val="0"/>
                </a:spcBef>
                <a:spcAft>
                  <a:spcPct val="0"/>
                </a:spcAft>
              </a:pPr>
              <a:endParaRPr lang="en-US" sz="800" kern="0" spc="-29" dirty="0">
                <a:gradFill>
                  <a:gsLst>
                    <a:gs pos="0">
                      <a:srgbClr val="FFFFFF"/>
                    </a:gs>
                    <a:gs pos="100000">
                      <a:srgbClr val="FFFFFF"/>
                    </a:gs>
                  </a:gsLst>
                  <a:lin ang="5400000" scaled="0"/>
                </a:gradFill>
                <a:latin typeface="Segoe WP" pitchFamily="34" charset="0"/>
                <a:ea typeface="Segoe UI" pitchFamily="34" charset="0"/>
                <a:cs typeface="Segoe UI" pitchFamily="34" charset="0"/>
              </a:endParaRPr>
            </a:p>
          </p:txBody>
        </p:sp>
        <p:grpSp>
          <p:nvGrpSpPr>
            <p:cNvPr id="137" name="Group 136"/>
            <p:cNvGrpSpPr/>
            <p:nvPr/>
          </p:nvGrpSpPr>
          <p:grpSpPr>
            <a:xfrm>
              <a:off x="7312137" y="4053596"/>
              <a:ext cx="1485622" cy="1375577"/>
              <a:chOff x="7331324" y="1913804"/>
              <a:chExt cx="1675846" cy="1551708"/>
            </a:xfrm>
          </p:grpSpPr>
          <p:sp>
            <p:nvSpPr>
              <p:cNvPr id="117" name="TextBox 116"/>
              <p:cNvSpPr txBox="1"/>
              <p:nvPr/>
            </p:nvSpPr>
            <p:spPr>
              <a:xfrm>
                <a:off x="7331324" y="1913804"/>
                <a:ext cx="1675846" cy="1551708"/>
              </a:xfrm>
              <a:prstGeom prst="rect">
                <a:avLst/>
              </a:prstGeom>
              <a:noFill/>
              <a:ln w="28575">
                <a:solidFill>
                  <a:schemeClr val="tx1"/>
                </a:solidFill>
              </a:ln>
            </p:spPr>
            <p:txBody>
              <a:bodyPr wrap="square" rtlCol="0" anchor="b">
                <a:noAutofit/>
              </a:bodyPr>
              <a:lstStyle/>
              <a:p>
                <a:endParaRPr lang="en-US" dirty="0">
                  <a:solidFill>
                    <a:schemeClr val="bg2">
                      <a:lumMod val="50000"/>
                    </a:schemeClr>
                  </a:solidFill>
                </a:endParaRPr>
              </a:p>
            </p:txBody>
          </p:sp>
          <p:grpSp>
            <p:nvGrpSpPr>
              <p:cNvPr id="118" name="Group 117"/>
              <p:cNvGrpSpPr/>
              <p:nvPr/>
            </p:nvGrpSpPr>
            <p:grpSpPr>
              <a:xfrm>
                <a:off x="7858905" y="1975873"/>
                <a:ext cx="622650" cy="574376"/>
                <a:chOff x="2436812" y="1600200"/>
                <a:chExt cx="1528827" cy="1410300"/>
              </a:xfrm>
            </p:grpSpPr>
            <p:sp>
              <p:nvSpPr>
                <p:cNvPr id="135" name="Rectangle 134"/>
                <p:cNvSpPr/>
                <p:nvPr/>
              </p:nvSpPr>
              <p:spPr>
                <a:xfrm>
                  <a:off x="2436812" y="1600200"/>
                  <a:ext cx="1528827" cy="1410300"/>
                </a:xfrm>
                <a:prstGeom prst="rect">
                  <a:avLst/>
                </a:prstGeom>
                <a:solidFill>
                  <a:schemeClr val="accent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6" name="Picture 135" descr="e:\Users\mvesely\Desktop\Metro\man.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080924" y="1723700"/>
                  <a:ext cx="251015" cy="698628"/>
                </a:xfrm>
                <a:prstGeom prst="rect">
                  <a:avLst/>
                </a:prstGeom>
                <a:noFill/>
                <a:extLst>
                  <a:ext uri="{909E8E84-426E-40DD-AFC4-6F175D3DCCD1}">
                    <a14:hiddenFill xmlns:a14="http://schemas.microsoft.com/office/drawing/2010/main">
                      <a:solidFill>
                        <a:srgbClr val="FFFFFF"/>
                      </a:solidFill>
                    </a14:hiddenFill>
                  </a:ext>
                </a:extLst>
              </p:spPr>
            </p:pic>
          </p:grpSp>
          <p:sp>
            <p:nvSpPr>
              <p:cNvPr id="119" name="Rectangle 118"/>
              <p:cNvSpPr/>
              <p:nvPr/>
            </p:nvSpPr>
            <p:spPr>
              <a:xfrm>
                <a:off x="7424428" y="2813795"/>
                <a:ext cx="622650" cy="574376"/>
              </a:xfrm>
              <a:prstGeom prst="rect">
                <a:avLst/>
              </a:prstGeom>
              <a:solidFill>
                <a:schemeClr val="accent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20" name="Group 119"/>
              <p:cNvGrpSpPr/>
              <p:nvPr/>
            </p:nvGrpSpPr>
            <p:grpSpPr>
              <a:xfrm>
                <a:off x="8291417" y="2814296"/>
                <a:ext cx="622650" cy="574377"/>
                <a:chOff x="3498785" y="3658826"/>
                <a:chExt cx="1528827" cy="1410300"/>
              </a:xfrm>
            </p:grpSpPr>
            <p:sp>
              <p:nvSpPr>
                <p:cNvPr id="133" name="Rectangle 132"/>
                <p:cNvSpPr/>
                <p:nvPr/>
              </p:nvSpPr>
              <p:spPr>
                <a:xfrm>
                  <a:off x="3498785" y="3658826"/>
                  <a:ext cx="1528827" cy="1410300"/>
                </a:xfrm>
                <a:prstGeom prst="rect">
                  <a:avLst/>
                </a:prstGeom>
                <a:solidFill>
                  <a:schemeClr val="accent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4" name="Picture 7" descr="\\MAGNUM\Projects\Microsoft\Cloud Power FY12\Design\ICONS_PNG\Gears.png"/>
                <p:cNvPicPr>
                  <a:picLocks noChangeAspect="1" noChangeArrowheads="1"/>
                </p:cNvPicPr>
                <p:nvPr>
                  <p:custDataLst>
                    <p:tags r:id="rId1"/>
                  </p:custDataLst>
                </p:nvPr>
              </p:nvPicPr>
              <p:blipFill rotWithShape="1">
                <a:blip r:embed="rId6" cstate="print">
                  <a:lum bright="100000"/>
                  <a:extLst>
                    <a:ext uri="{28A0092B-C50C-407E-A947-70E740481C1C}">
                      <a14:useLocalDpi xmlns:a14="http://schemas.microsoft.com/office/drawing/2010/main"/>
                    </a:ext>
                  </a:extLst>
                </a:blip>
                <a:srcRect/>
                <a:stretch/>
              </p:blipFill>
              <p:spPr bwMode="auto">
                <a:xfrm rot="16200000" flipH="1">
                  <a:off x="3917165" y="4071937"/>
                  <a:ext cx="719971" cy="576869"/>
                </a:xfrm>
                <a:prstGeom prst="rect">
                  <a:avLst/>
                </a:prstGeom>
                <a:noFill/>
              </p:spPr>
            </p:pic>
          </p:grpSp>
          <p:cxnSp>
            <p:nvCxnSpPr>
              <p:cNvPr id="122" name="Elbow Connector 121"/>
              <p:cNvCxnSpPr>
                <a:stCxn id="135" idx="1"/>
              </p:cNvCxnSpPr>
              <p:nvPr/>
            </p:nvCxnSpPr>
            <p:spPr>
              <a:xfrm rot="10800000" flipV="1">
                <a:off x="7749096" y="2263062"/>
                <a:ext cx="109809" cy="541847"/>
              </a:xfrm>
              <a:prstGeom prst="bentConnector2">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3" name="Elbow Connector 122"/>
              <p:cNvCxnSpPr/>
              <p:nvPr/>
            </p:nvCxnSpPr>
            <p:spPr>
              <a:xfrm>
                <a:off x="8479715" y="2263063"/>
                <a:ext cx="118106" cy="541847"/>
              </a:xfrm>
              <a:prstGeom prst="bentConnector2">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flipH="1">
                <a:off x="8044500" y="3131292"/>
                <a:ext cx="24691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25" name="Group 124"/>
              <p:cNvGrpSpPr/>
              <p:nvPr/>
            </p:nvGrpSpPr>
            <p:grpSpPr bwMode="black">
              <a:xfrm>
                <a:off x="7952009" y="2379320"/>
                <a:ext cx="124766" cy="123060"/>
                <a:chOff x="2916435" y="3914152"/>
                <a:chExt cx="930763" cy="918513"/>
              </a:xfrm>
            </p:grpSpPr>
            <p:pic>
              <p:nvPicPr>
                <p:cNvPr id="131" name="Picture 130"/>
                <p:cNvPicPr>
                  <a:picLocks noChangeAspect="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132"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40" tIns="45720" rIns="91440" bIns="45720" numCol="1" anchor="t" anchorCtr="0" compatLnSpc="1">
                  <a:prstTxWarp prst="textNoShape">
                    <a:avLst/>
                  </a:prstTxWarp>
                </a:bodyPr>
                <a:lstStyle/>
                <a:p>
                  <a:endParaRPr lang="en-US" sz="700" dirty="0">
                    <a:solidFill>
                      <a:srgbClr val="FFFFFF"/>
                    </a:solidFill>
                  </a:endParaRPr>
                </a:p>
              </p:txBody>
            </p:sp>
          </p:grpSp>
          <p:sp>
            <p:nvSpPr>
              <p:cNvPr id="126" name="Freeform 20"/>
              <p:cNvSpPr>
                <a:spLocks noEditPoints="1"/>
              </p:cNvSpPr>
              <p:nvPr/>
            </p:nvSpPr>
            <p:spPr bwMode="black">
              <a:xfrm>
                <a:off x="8094440" y="2381323"/>
                <a:ext cx="155246" cy="107905"/>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305" tIns="41153" rIns="82305" bIns="41153" numCol="1" anchor="t" anchorCtr="0" compatLnSpc="1">
                <a:prstTxWarp prst="textNoShape">
                  <a:avLst/>
                </a:prstTxWarp>
              </a:bodyPr>
              <a:lstStyle/>
              <a:p>
                <a:endParaRPr lang="en-US" sz="700" dirty="0">
                  <a:solidFill>
                    <a:srgbClr val="FFFFFF"/>
                  </a:solidFill>
                </a:endParaRPr>
              </a:p>
            </p:txBody>
          </p:sp>
          <p:pic>
            <p:nvPicPr>
              <p:cNvPr id="127" name="Picture 126"/>
              <p:cNvPicPr>
                <a:picLocks noChangeAspect="1"/>
              </p:cNvPicPr>
              <p:nvPr/>
            </p:nvPicPr>
            <p:blipFill>
              <a:blip r:embed="rId11" cstate="print">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8265006" y="2381324"/>
                <a:ext cx="56194" cy="107904"/>
              </a:xfrm>
              <a:prstGeom prst="rect">
                <a:avLst/>
              </a:prstGeom>
            </p:spPr>
          </p:pic>
          <p:grpSp>
            <p:nvGrpSpPr>
              <p:cNvPr id="128" name="Group 127"/>
              <p:cNvGrpSpPr/>
              <p:nvPr/>
            </p:nvGrpSpPr>
            <p:grpSpPr bwMode="black">
              <a:xfrm>
                <a:off x="7591164" y="2936063"/>
                <a:ext cx="289173" cy="325480"/>
                <a:chOff x="3422650" y="3467100"/>
                <a:chExt cx="533400" cy="549275"/>
              </a:xfrm>
              <a:solidFill>
                <a:srgbClr val="FFFFFF"/>
              </a:solidFill>
            </p:grpSpPr>
            <p:sp>
              <p:nvSpPr>
                <p:cNvPr id="129" name="Freeform 82"/>
                <p:cNvSpPr>
                  <a:spLocks noEditPoints="1"/>
                </p:cNvSpPr>
                <p:nvPr/>
              </p:nvSpPr>
              <p:spPr bwMode="black">
                <a:xfrm>
                  <a:off x="3422650" y="3467100"/>
                  <a:ext cx="533400" cy="53340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grpFill/>
                <a:ln>
                  <a:noFill/>
                </a:ln>
              </p:spPr>
              <p:txBody>
                <a:bodyPr vert="horz" wrap="square" lIns="91440" tIns="45720" rIns="91440" bIns="45720" numCol="1" anchor="t" anchorCtr="0" compatLnSpc="1">
                  <a:prstTxWarp prst="textNoShape">
                    <a:avLst/>
                  </a:prstTxWarp>
                </a:bodyPr>
                <a:lstStyle/>
                <a:p>
                  <a:endParaRPr lang="en-US" sz="1200" dirty="0"/>
                </a:p>
              </p:txBody>
            </p:sp>
            <p:sp>
              <p:nvSpPr>
                <p:cNvPr id="130"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grpFill/>
                <a:ln>
                  <a:noFill/>
                </a:ln>
              </p:spPr>
              <p:txBody>
                <a:bodyPr vert="horz" wrap="square" lIns="91440" tIns="45720" rIns="91440" bIns="45720" numCol="1" anchor="t" anchorCtr="0" compatLnSpc="1">
                  <a:prstTxWarp prst="textNoShape">
                    <a:avLst/>
                  </a:prstTxWarp>
                </a:bodyPr>
                <a:lstStyle/>
                <a:p>
                  <a:endParaRPr lang="en-US" sz="1200" dirty="0"/>
                </a:p>
              </p:txBody>
            </p:sp>
          </p:grpSp>
        </p:grpSp>
      </p:grpSp>
      <p:grpSp>
        <p:nvGrpSpPr>
          <p:cNvPr id="156" name="Group 155"/>
          <p:cNvGrpSpPr/>
          <p:nvPr/>
        </p:nvGrpSpPr>
        <p:grpSpPr>
          <a:xfrm>
            <a:off x="6347732" y="2576305"/>
            <a:ext cx="907396" cy="555770"/>
            <a:chOff x="8461439" y="3435074"/>
            <a:chExt cx="1209546" cy="741026"/>
          </a:xfrm>
        </p:grpSpPr>
        <p:sp>
          <p:nvSpPr>
            <p:cNvPr id="143" name="Oval 142"/>
            <p:cNvSpPr/>
            <p:nvPr/>
          </p:nvSpPr>
          <p:spPr bwMode="auto">
            <a:xfrm>
              <a:off x="8940648" y="3657600"/>
              <a:ext cx="201764" cy="189202"/>
            </a:xfrm>
            <a:prstGeom prst="ellipse">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alpha val="98824"/>
                  </a:srgbClr>
                </a:solidFill>
                <a:latin typeface="Segoe UI" pitchFamily="34" charset="0"/>
                <a:ea typeface="Segoe UI" pitchFamily="34" charset="0"/>
                <a:cs typeface="Segoe UI" pitchFamily="34" charset="0"/>
              </a:endParaRPr>
            </a:p>
          </p:txBody>
        </p:sp>
        <p:cxnSp>
          <p:nvCxnSpPr>
            <p:cNvPr id="145" name="Straight Connector 144"/>
            <p:cNvCxnSpPr>
              <a:stCxn id="143" idx="1"/>
              <a:endCxn id="45" idx="3"/>
            </p:cNvCxnSpPr>
            <p:nvPr/>
          </p:nvCxnSpPr>
          <p:spPr>
            <a:xfrm flipH="1" flipV="1">
              <a:off x="8461439" y="3435074"/>
              <a:ext cx="508757" cy="250234"/>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a:stCxn id="49" idx="1"/>
              <a:endCxn id="143" idx="7"/>
            </p:cNvCxnSpPr>
            <p:nvPr/>
          </p:nvCxnSpPr>
          <p:spPr>
            <a:xfrm flipH="1">
              <a:off x="9112864" y="3435074"/>
              <a:ext cx="558121" cy="250234"/>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a:stCxn id="117" idx="0"/>
              <a:endCxn id="143" idx="4"/>
            </p:cNvCxnSpPr>
            <p:nvPr/>
          </p:nvCxnSpPr>
          <p:spPr>
            <a:xfrm flipH="1" flipV="1">
              <a:off x="9041530" y="3846802"/>
              <a:ext cx="5493" cy="329298"/>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5" name="Group 154"/>
          <p:cNvGrpSpPr/>
          <p:nvPr/>
        </p:nvGrpSpPr>
        <p:grpSpPr>
          <a:xfrm>
            <a:off x="4966628" y="1023565"/>
            <a:ext cx="3606914" cy="3834182"/>
            <a:chOff x="6620446" y="1364752"/>
            <a:chExt cx="4807966" cy="5112243"/>
          </a:xfrm>
        </p:grpSpPr>
        <p:sp>
          <p:nvSpPr>
            <p:cNvPr id="154" name="TextBox 153"/>
            <p:cNvSpPr txBox="1"/>
            <p:nvPr/>
          </p:nvSpPr>
          <p:spPr>
            <a:xfrm>
              <a:off x="6620446" y="1364752"/>
              <a:ext cx="4807966" cy="4800600"/>
            </a:xfrm>
            <a:prstGeom prst="rect">
              <a:avLst/>
            </a:prstGeom>
            <a:noFill/>
            <a:ln w="28575">
              <a:solidFill>
                <a:schemeClr val="tx1"/>
              </a:solidFill>
            </a:ln>
          </p:spPr>
          <p:txBody>
            <a:bodyPr wrap="square" rtlCol="0" anchor="b">
              <a:noAutofit/>
            </a:bodyPr>
            <a:lstStyle/>
            <a:p>
              <a:endParaRPr lang="en-US" dirty="0">
                <a:solidFill>
                  <a:schemeClr val="bg2">
                    <a:lumMod val="50000"/>
                  </a:schemeClr>
                </a:solidFill>
              </a:endParaRPr>
            </a:p>
          </p:txBody>
        </p:sp>
        <p:sp>
          <p:nvSpPr>
            <p:cNvPr id="52" name="Rectangle 51"/>
            <p:cNvSpPr/>
            <p:nvPr/>
          </p:nvSpPr>
          <p:spPr bwMode="auto">
            <a:xfrm>
              <a:off x="6620446" y="6165352"/>
              <a:ext cx="4807966" cy="311643"/>
            </a:xfrm>
            <a:prstGeom prst="rect">
              <a:avLst/>
            </a:prstGeom>
            <a:solidFill>
              <a:schemeClr val="tx1"/>
            </a:solidFill>
            <a:ln w="28575" cap="flat" cmpd="sng" algn="ctr">
              <a:solidFill>
                <a:schemeClr val="tx1"/>
              </a:solidFill>
              <a:prstDash val="solid"/>
              <a:headEnd type="none" w="med" len="med"/>
              <a:tailEnd type="none" w="med" len="med"/>
            </a:ln>
            <a:effectLst/>
          </p:spPr>
          <p:txBody>
            <a:bodyPr rot="0" spcFirstLastPara="0" vertOverflow="overflow" horzOverflow="overflow" vert="horz" wrap="square" lIns="68607" tIns="34304" rIns="34304" bIns="68607" numCol="1" spcCol="0" rtlCol="0" fromWordArt="0" anchor="t" anchorCtr="0" forceAA="0" compatLnSpc="1">
              <a:prstTxWarp prst="textNoShape">
                <a:avLst/>
              </a:prstTxWarp>
              <a:noAutofit/>
            </a:bodyPr>
            <a:lstStyle/>
            <a:p>
              <a:pPr algn="ctr"/>
              <a:r>
                <a:rPr lang="en-US" sz="1200" b="1" dirty="0">
                  <a:solidFill>
                    <a:schemeClr val="accent1"/>
                  </a:solidFill>
                  <a:latin typeface="Segoe UI Light" pitchFamily="34" charset="0"/>
                </a:rPr>
                <a:t>HYBRID CLOUD</a:t>
              </a:r>
            </a:p>
            <a:p>
              <a:pPr fontAlgn="base">
                <a:spcBef>
                  <a:spcPct val="0"/>
                </a:spcBef>
                <a:spcAft>
                  <a:spcPct val="0"/>
                </a:spcAft>
              </a:pPr>
              <a:endParaRPr lang="en-US" sz="800" kern="0" spc="-29" dirty="0">
                <a:gradFill>
                  <a:gsLst>
                    <a:gs pos="0">
                      <a:srgbClr val="FFFFFF"/>
                    </a:gs>
                    <a:gs pos="100000">
                      <a:srgbClr val="FFFFFF"/>
                    </a:gs>
                  </a:gsLst>
                  <a:lin ang="5400000" scaled="0"/>
                </a:gradFill>
                <a:latin typeface="Segoe WP" pitchFamily="34" charset="0"/>
                <a:ea typeface="Segoe UI" pitchFamily="34" charset="0"/>
                <a:cs typeface="Segoe UI" pitchFamily="34" charset="0"/>
              </a:endParaRPr>
            </a:p>
          </p:txBody>
        </p:sp>
      </p:grpSp>
      <p:sp>
        <p:nvSpPr>
          <p:cNvPr id="96"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97"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3"/>
              </a:rPr>
              <a:t>www.rapidbbs.cn</a:t>
            </a:r>
            <a:endParaRPr lang="zh-CN" altLang="en-US" sz="1200" b="0">
              <a:latin typeface="Arial" charset="0"/>
              <a:ea typeface="ＭＳ Ｐゴシック" pitchFamily="34" charset="-128"/>
            </a:endParaRPr>
          </a:p>
        </p:txBody>
      </p:sp>
      <p:pic>
        <p:nvPicPr>
          <p:cNvPr id="98" name="Picture 2">
            <a:hlinkClick r:id="rId13"/>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486967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nodeType="clickEffect">
                                  <p:stCondLst>
                                    <p:cond delay="0"/>
                                  </p:stCondLst>
                                  <p:childTnLst>
                                    <p:set>
                                      <p:cBhvr>
                                        <p:cTn id="6" dur="1" fill="hold">
                                          <p:stCondLst>
                                            <p:cond delay="0"/>
                                          </p:stCondLst>
                                        </p:cTn>
                                        <p:tgtEl>
                                          <p:spTgt spid="155"/>
                                        </p:tgtEl>
                                        <p:attrNameLst>
                                          <p:attrName>style.visibility</p:attrName>
                                        </p:attrNameLst>
                                      </p:cBhvr>
                                      <p:to>
                                        <p:strVal val="visible"/>
                                      </p:to>
                                    </p:set>
                                    <p:animEffect transition="in" filter="wheel(1)">
                                      <p:cBhvr>
                                        <p:cTn id="7" dur="2000"/>
                                        <p:tgtEl>
                                          <p:spTgt spid="155"/>
                                        </p:tgtEl>
                                      </p:cBhvr>
                                    </p:animEffect>
                                  </p:childTnLst>
                                </p:cTn>
                              </p:par>
                            </p:childTnLst>
                          </p:cTn>
                        </p:par>
                        <p:par>
                          <p:cTn id="8" fill="hold">
                            <p:stCondLst>
                              <p:cond delay="2000"/>
                            </p:stCondLst>
                            <p:childTnLst>
                              <p:par>
                                <p:cTn id="9" presetID="31" presetClass="entr" presetSubtype="0" fill="hold" nodeType="afterEffect">
                                  <p:stCondLst>
                                    <p:cond delay="1000"/>
                                  </p:stCondLst>
                                  <p:childTnLst>
                                    <p:set>
                                      <p:cBhvr>
                                        <p:cTn id="10" dur="1" fill="hold">
                                          <p:stCondLst>
                                            <p:cond delay="0"/>
                                          </p:stCondLst>
                                        </p:cTn>
                                        <p:tgtEl>
                                          <p:spTgt spid="156"/>
                                        </p:tgtEl>
                                        <p:attrNameLst>
                                          <p:attrName>style.visibility</p:attrName>
                                        </p:attrNameLst>
                                      </p:cBhvr>
                                      <p:to>
                                        <p:strVal val="visible"/>
                                      </p:to>
                                    </p:set>
                                    <p:anim calcmode="lin" valueType="num">
                                      <p:cBhvr>
                                        <p:cTn id="11" dur="1000" fill="hold"/>
                                        <p:tgtEl>
                                          <p:spTgt spid="156"/>
                                        </p:tgtEl>
                                        <p:attrNameLst>
                                          <p:attrName>ppt_w</p:attrName>
                                        </p:attrNameLst>
                                      </p:cBhvr>
                                      <p:tavLst>
                                        <p:tav tm="0">
                                          <p:val>
                                            <p:fltVal val="0"/>
                                          </p:val>
                                        </p:tav>
                                        <p:tav tm="100000">
                                          <p:val>
                                            <p:strVal val="#ppt_w"/>
                                          </p:val>
                                        </p:tav>
                                      </p:tavLst>
                                    </p:anim>
                                    <p:anim calcmode="lin" valueType="num">
                                      <p:cBhvr>
                                        <p:cTn id="12" dur="1000" fill="hold"/>
                                        <p:tgtEl>
                                          <p:spTgt spid="156"/>
                                        </p:tgtEl>
                                        <p:attrNameLst>
                                          <p:attrName>ppt_h</p:attrName>
                                        </p:attrNameLst>
                                      </p:cBhvr>
                                      <p:tavLst>
                                        <p:tav tm="0">
                                          <p:val>
                                            <p:fltVal val="0"/>
                                          </p:val>
                                        </p:tav>
                                        <p:tav tm="100000">
                                          <p:val>
                                            <p:strVal val="#ppt_h"/>
                                          </p:val>
                                        </p:tav>
                                      </p:tavLst>
                                    </p:anim>
                                    <p:anim calcmode="lin" valueType="num">
                                      <p:cBhvr>
                                        <p:cTn id="13" dur="1000" fill="hold"/>
                                        <p:tgtEl>
                                          <p:spTgt spid="156"/>
                                        </p:tgtEl>
                                        <p:attrNameLst>
                                          <p:attrName>style.rotation</p:attrName>
                                        </p:attrNameLst>
                                      </p:cBhvr>
                                      <p:tavLst>
                                        <p:tav tm="0">
                                          <p:val>
                                            <p:fltVal val="90"/>
                                          </p:val>
                                        </p:tav>
                                        <p:tav tm="100000">
                                          <p:val>
                                            <p:fltVal val="0"/>
                                          </p:val>
                                        </p:tav>
                                      </p:tavLst>
                                    </p:anim>
                                    <p:animEffect transition="in" filter="fade">
                                      <p:cBhvr>
                                        <p:cTn id="14" dur="1000"/>
                                        <p:tgtEl>
                                          <p:spTgt spid="156"/>
                                        </p:tgtEl>
                                      </p:cBhvr>
                                    </p:animEffect>
                                  </p:childTnLst>
                                </p:cTn>
                              </p:par>
                              <p:par>
                                <p:cTn id="15" presetID="31" presetClass="entr" presetSubtype="0" fill="hold" nodeType="withEffect">
                                  <p:stCondLst>
                                    <p:cond delay="1000"/>
                                  </p:stCondLst>
                                  <p:childTnLst>
                                    <p:set>
                                      <p:cBhvr>
                                        <p:cTn id="16" dur="1" fill="hold">
                                          <p:stCondLst>
                                            <p:cond delay="0"/>
                                          </p:stCondLst>
                                        </p:cTn>
                                        <p:tgtEl>
                                          <p:spTgt spid="22"/>
                                        </p:tgtEl>
                                        <p:attrNameLst>
                                          <p:attrName>style.visibility</p:attrName>
                                        </p:attrNameLst>
                                      </p:cBhvr>
                                      <p:to>
                                        <p:strVal val="visible"/>
                                      </p:to>
                                    </p:set>
                                    <p:anim calcmode="lin" valueType="num">
                                      <p:cBhvr>
                                        <p:cTn id="17" dur="1000" fill="hold"/>
                                        <p:tgtEl>
                                          <p:spTgt spid="22"/>
                                        </p:tgtEl>
                                        <p:attrNameLst>
                                          <p:attrName>ppt_w</p:attrName>
                                        </p:attrNameLst>
                                      </p:cBhvr>
                                      <p:tavLst>
                                        <p:tav tm="0">
                                          <p:val>
                                            <p:fltVal val="0"/>
                                          </p:val>
                                        </p:tav>
                                        <p:tav tm="100000">
                                          <p:val>
                                            <p:strVal val="#ppt_w"/>
                                          </p:val>
                                        </p:tav>
                                      </p:tavLst>
                                    </p:anim>
                                    <p:anim calcmode="lin" valueType="num">
                                      <p:cBhvr>
                                        <p:cTn id="18" dur="1000" fill="hold"/>
                                        <p:tgtEl>
                                          <p:spTgt spid="22"/>
                                        </p:tgtEl>
                                        <p:attrNameLst>
                                          <p:attrName>ppt_h</p:attrName>
                                        </p:attrNameLst>
                                      </p:cBhvr>
                                      <p:tavLst>
                                        <p:tav tm="0">
                                          <p:val>
                                            <p:fltVal val="0"/>
                                          </p:val>
                                        </p:tav>
                                        <p:tav tm="100000">
                                          <p:val>
                                            <p:strVal val="#ppt_h"/>
                                          </p:val>
                                        </p:tav>
                                      </p:tavLst>
                                    </p:anim>
                                    <p:anim calcmode="lin" valueType="num">
                                      <p:cBhvr>
                                        <p:cTn id="19" dur="1000" fill="hold"/>
                                        <p:tgtEl>
                                          <p:spTgt spid="22"/>
                                        </p:tgtEl>
                                        <p:attrNameLst>
                                          <p:attrName>style.rotation</p:attrName>
                                        </p:attrNameLst>
                                      </p:cBhvr>
                                      <p:tavLst>
                                        <p:tav tm="0">
                                          <p:val>
                                            <p:fltVal val="90"/>
                                          </p:val>
                                        </p:tav>
                                        <p:tav tm="100000">
                                          <p:val>
                                            <p:fltVal val="0"/>
                                          </p:val>
                                        </p:tav>
                                      </p:tavLst>
                                    </p:anim>
                                    <p:animEffect transition="in" filter="fade">
                                      <p:cBhvr>
                                        <p:cTn id="20" dur="10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ilding an Identity Strategy</a:t>
            </a:r>
            <a:endParaRPr lang="en-US" dirty="0"/>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42191" r="18477"/>
          <a:stretch/>
        </p:blipFill>
        <p:spPr>
          <a:xfrm>
            <a:off x="0" y="571500"/>
            <a:ext cx="4047274" cy="4572000"/>
          </a:xfrm>
          <a:prstGeom prst="rect">
            <a:avLst/>
          </a:prstGeom>
        </p:spPr>
      </p:pic>
      <p:sp>
        <p:nvSpPr>
          <p:cNvPr id="20" name="Text Placeholder 2"/>
          <p:cNvSpPr>
            <a:spLocks noGrp="1"/>
          </p:cNvSpPr>
          <p:nvPr>
            <p:ph type="body" sz="quarter" idx="10"/>
          </p:nvPr>
        </p:nvSpPr>
        <p:spPr>
          <a:xfrm>
            <a:off x="5372314" y="4171951"/>
            <a:ext cx="3315563" cy="715580"/>
          </a:xfrm>
        </p:spPr>
        <p:txBody>
          <a:bodyPr/>
          <a:lstStyle/>
          <a:p>
            <a:r>
              <a:rPr lang="en-US" sz="1500" dirty="0"/>
              <a:t>Understand business priorities</a:t>
            </a:r>
          </a:p>
          <a:p>
            <a:r>
              <a:rPr lang="en-US" sz="1500" dirty="0"/>
              <a:t>Assess against maturity matrix</a:t>
            </a:r>
          </a:p>
          <a:p>
            <a:r>
              <a:rPr lang="en-US" sz="1500" dirty="0"/>
              <a:t>Determine desired state</a:t>
            </a:r>
          </a:p>
        </p:txBody>
      </p:sp>
      <p:sp>
        <p:nvSpPr>
          <p:cNvPr id="21" name="Text Placeholder 2"/>
          <p:cNvSpPr txBox="1">
            <a:spLocks/>
          </p:cNvSpPr>
          <p:nvPr/>
        </p:nvSpPr>
        <p:spPr>
          <a:xfrm>
            <a:off x="3828857" y="2399341"/>
            <a:ext cx="4230202" cy="572465"/>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90000"/>
              <a:buFontTx/>
              <a:buBlip>
                <a:blip r:embed="rId4"/>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4"/>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4"/>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200" dirty="0"/>
              <a:t>Prioritize Capabilities &amp; Define Roadmap</a:t>
            </a:r>
          </a:p>
          <a:p>
            <a:r>
              <a:rPr lang="en-US" sz="1200" dirty="0"/>
              <a:t>Establish Architectural Principles and Guidelines</a:t>
            </a:r>
          </a:p>
          <a:p>
            <a:r>
              <a:rPr lang="en-US" sz="1200" dirty="0"/>
              <a:t>Plan Remediation and/or New Functionalities</a:t>
            </a:r>
          </a:p>
        </p:txBody>
      </p:sp>
      <p:sp>
        <p:nvSpPr>
          <p:cNvPr id="22" name="Text Placeholder 2"/>
          <p:cNvSpPr txBox="1">
            <a:spLocks/>
          </p:cNvSpPr>
          <p:nvPr/>
        </p:nvSpPr>
        <p:spPr>
          <a:xfrm>
            <a:off x="2171074" y="1283332"/>
            <a:ext cx="4230202" cy="304699"/>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90000"/>
              <a:buFontTx/>
              <a:buBlip>
                <a:blip r:embed="rId4"/>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4"/>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4"/>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100" dirty="0"/>
              <a:t>Execute your roadmap and begin maturing your environment</a:t>
            </a:r>
          </a:p>
        </p:txBody>
      </p:sp>
      <p:grpSp>
        <p:nvGrpSpPr>
          <p:cNvPr id="24" name="Group 23"/>
          <p:cNvGrpSpPr/>
          <p:nvPr/>
        </p:nvGrpSpPr>
        <p:grpSpPr bwMode="black">
          <a:xfrm>
            <a:off x="2692015" y="2228851"/>
            <a:ext cx="1003647" cy="900068"/>
            <a:chOff x="2576513" y="555625"/>
            <a:chExt cx="700088" cy="698500"/>
          </a:xfrm>
          <a:solidFill>
            <a:srgbClr val="FFFFFF"/>
          </a:solidFill>
        </p:grpSpPr>
        <p:sp>
          <p:nvSpPr>
            <p:cNvPr id="25" name="Freeform 20"/>
            <p:cNvSpPr>
              <a:spLocks noEditPoints="1"/>
            </p:cNvSpPr>
            <p:nvPr/>
          </p:nvSpPr>
          <p:spPr bwMode="black">
            <a:xfrm>
              <a:off x="2576513" y="555625"/>
              <a:ext cx="700088" cy="698500"/>
            </a:xfrm>
            <a:custGeom>
              <a:avLst/>
              <a:gdLst>
                <a:gd name="T0" fmla="*/ 333 w 394"/>
                <a:gd name="T1" fmla="*/ 0 h 393"/>
                <a:gd name="T2" fmla="*/ 61 w 394"/>
                <a:gd name="T3" fmla="*/ 0 h 393"/>
                <a:gd name="T4" fmla="*/ 0 w 394"/>
                <a:gd name="T5" fmla="*/ 60 h 393"/>
                <a:gd name="T6" fmla="*/ 0 w 394"/>
                <a:gd name="T7" fmla="*/ 333 h 393"/>
                <a:gd name="T8" fmla="*/ 61 w 394"/>
                <a:gd name="T9" fmla="*/ 393 h 393"/>
                <a:gd name="T10" fmla="*/ 333 w 394"/>
                <a:gd name="T11" fmla="*/ 393 h 393"/>
                <a:gd name="T12" fmla="*/ 394 w 394"/>
                <a:gd name="T13" fmla="*/ 333 h 393"/>
                <a:gd name="T14" fmla="*/ 394 w 394"/>
                <a:gd name="T15" fmla="*/ 60 h 393"/>
                <a:gd name="T16" fmla="*/ 333 w 394"/>
                <a:gd name="T17" fmla="*/ 0 h 393"/>
                <a:gd name="T18" fmla="*/ 376 w 394"/>
                <a:gd name="T19" fmla="*/ 333 h 393"/>
                <a:gd name="T20" fmla="*/ 333 w 394"/>
                <a:gd name="T21" fmla="*/ 376 h 393"/>
                <a:gd name="T22" fmla="*/ 61 w 394"/>
                <a:gd name="T23" fmla="*/ 376 h 393"/>
                <a:gd name="T24" fmla="*/ 18 w 394"/>
                <a:gd name="T25" fmla="*/ 333 h 393"/>
                <a:gd name="T26" fmla="*/ 18 w 394"/>
                <a:gd name="T27" fmla="*/ 60 h 393"/>
                <a:gd name="T28" fmla="*/ 61 w 394"/>
                <a:gd name="T29" fmla="*/ 17 h 393"/>
                <a:gd name="T30" fmla="*/ 333 w 394"/>
                <a:gd name="T31" fmla="*/ 17 h 393"/>
                <a:gd name="T32" fmla="*/ 376 w 394"/>
                <a:gd name="T33" fmla="*/ 60 h 393"/>
                <a:gd name="T34" fmla="*/ 376 w 394"/>
                <a:gd name="T35" fmla="*/ 333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4" h="393">
                  <a:moveTo>
                    <a:pt x="333" y="0"/>
                  </a:moveTo>
                  <a:cubicBezTo>
                    <a:pt x="61" y="0"/>
                    <a:pt x="61" y="0"/>
                    <a:pt x="61" y="0"/>
                  </a:cubicBezTo>
                  <a:cubicBezTo>
                    <a:pt x="28" y="0"/>
                    <a:pt x="0" y="27"/>
                    <a:pt x="0" y="60"/>
                  </a:cubicBezTo>
                  <a:cubicBezTo>
                    <a:pt x="0" y="333"/>
                    <a:pt x="0" y="333"/>
                    <a:pt x="0" y="333"/>
                  </a:cubicBezTo>
                  <a:cubicBezTo>
                    <a:pt x="0" y="366"/>
                    <a:pt x="28" y="393"/>
                    <a:pt x="61" y="393"/>
                  </a:cubicBezTo>
                  <a:cubicBezTo>
                    <a:pt x="333" y="393"/>
                    <a:pt x="333" y="393"/>
                    <a:pt x="333" y="393"/>
                  </a:cubicBezTo>
                  <a:cubicBezTo>
                    <a:pt x="366" y="393"/>
                    <a:pt x="394" y="366"/>
                    <a:pt x="394" y="333"/>
                  </a:cubicBezTo>
                  <a:cubicBezTo>
                    <a:pt x="394" y="60"/>
                    <a:pt x="394" y="60"/>
                    <a:pt x="394" y="60"/>
                  </a:cubicBezTo>
                  <a:cubicBezTo>
                    <a:pt x="394" y="27"/>
                    <a:pt x="366" y="0"/>
                    <a:pt x="333" y="0"/>
                  </a:cubicBezTo>
                  <a:close/>
                  <a:moveTo>
                    <a:pt x="376" y="333"/>
                  </a:moveTo>
                  <a:cubicBezTo>
                    <a:pt x="376" y="356"/>
                    <a:pt x="357" y="376"/>
                    <a:pt x="333" y="376"/>
                  </a:cubicBezTo>
                  <a:cubicBezTo>
                    <a:pt x="61" y="376"/>
                    <a:pt x="61" y="376"/>
                    <a:pt x="61" y="376"/>
                  </a:cubicBezTo>
                  <a:cubicBezTo>
                    <a:pt x="37" y="376"/>
                    <a:pt x="18" y="356"/>
                    <a:pt x="18" y="333"/>
                  </a:cubicBezTo>
                  <a:cubicBezTo>
                    <a:pt x="18" y="60"/>
                    <a:pt x="18" y="60"/>
                    <a:pt x="18" y="60"/>
                  </a:cubicBezTo>
                  <a:cubicBezTo>
                    <a:pt x="18" y="37"/>
                    <a:pt x="37" y="17"/>
                    <a:pt x="61" y="17"/>
                  </a:cubicBezTo>
                  <a:cubicBezTo>
                    <a:pt x="333" y="17"/>
                    <a:pt x="333" y="17"/>
                    <a:pt x="333" y="17"/>
                  </a:cubicBezTo>
                  <a:cubicBezTo>
                    <a:pt x="357" y="17"/>
                    <a:pt x="376" y="37"/>
                    <a:pt x="376" y="60"/>
                  </a:cubicBezTo>
                  <a:lnTo>
                    <a:pt x="376" y="333"/>
                  </a:lnTo>
                  <a:close/>
                </a:path>
              </a:pathLst>
            </a:custGeom>
            <a:grpFill/>
            <a:ln>
              <a:noFill/>
            </a:ln>
          </p:spPr>
          <p:txBody>
            <a:bodyPr vert="horz" wrap="square" lIns="91440" tIns="45720" rIns="91440" bIns="45720" numCol="1" anchor="t" anchorCtr="0" compatLnSpc="1">
              <a:prstTxWarp prst="textNoShape">
                <a:avLst/>
              </a:prstTxWarp>
            </a:bodyPr>
            <a:lstStyle/>
            <a:p>
              <a:endParaRPr lang="en-US" sz="1200" dirty="0"/>
            </a:p>
          </p:txBody>
        </p:sp>
        <p:sp>
          <p:nvSpPr>
            <p:cNvPr id="26" name="Freeform 21"/>
            <p:cNvSpPr>
              <a:spLocks/>
            </p:cNvSpPr>
            <p:nvPr/>
          </p:nvSpPr>
          <p:spPr bwMode="black">
            <a:xfrm>
              <a:off x="2867025" y="833438"/>
              <a:ext cx="30163" cy="76200"/>
            </a:xfrm>
            <a:custGeom>
              <a:avLst/>
              <a:gdLst>
                <a:gd name="T0" fmla="*/ 17 w 17"/>
                <a:gd name="T1" fmla="*/ 43 h 43"/>
                <a:gd name="T2" fmla="*/ 17 w 17"/>
                <a:gd name="T3" fmla="*/ 0 h 43"/>
                <a:gd name="T4" fmla="*/ 0 w 17"/>
                <a:gd name="T5" fmla="*/ 25 h 43"/>
                <a:gd name="T6" fmla="*/ 17 w 17"/>
                <a:gd name="T7" fmla="*/ 43 h 43"/>
              </a:gdLst>
              <a:ahLst/>
              <a:cxnLst>
                <a:cxn ang="0">
                  <a:pos x="T0" y="T1"/>
                </a:cxn>
                <a:cxn ang="0">
                  <a:pos x="T2" y="T3"/>
                </a:cxn>
                <a:cxn ang="0">
                  <a:pos x="T4" y="T5"/>
                </a:cxn>
                <a:cxn ang="0">
                  <a:pos x="T6" y="T7"/>
                </a:cxn>
              </a:cxnLst>
              <a:rect l="0" t="0" r="r" b="b"/>
              <a:pathLst>
                <a:path w="17" h="43">
                  <a:moveTo>
                    <a:pt x="17" y="43"/>
                  </a:moveTo>
                  <a:cubicBezTo>
                    <a:pt x="17" y="0"/>
                    <a:pt x="17" y="0"/>
                    <a:pt x="17" y="0"/>
                  </a:cubicBezTo>
                  <a:cubicBezTo>
                    <a:pt x="17" y="0"/>
                    <a:pt x="5" y="16"/>
                    <a:pt x="0" y="25"/>
                  </a:cubicBezTo>
                  <a:lnTo>
                    <a:pt x="17" y="43"/>
                  </a:lnTo>
                  <a:close/>
                </a:path>
              </a:pathLst>
            </a:custGeom>
            <a:grpFill/>
            <a:ln>
              <a:noFill/>
            </a:ln>
          </p:spPr>
          <p:txBody>
            <a:bodyPr vert="horz" wrap="square" lIns="91440" tIns="45720" rIns="91440" bIns="45720" numCol="1" anchor="t" anchorCtr="0" compatLnSpc="1">
              <a:prstTxWarp prst="textNoShape">
                <a:avLst/>
              </a:prstTxWarp>
            </a:bodyPr>
            <a:lstStyle/>
            <a:p>
              <a:endParaRPr lang="en-US" sz="1200" dirty="0"/>
            </a:p>
          </p:txBody>
        </p:sp>
        <p:sp>
          <p:nvSpPr>
            <p:cNvPr id="27" name="Freeform 22"/>
            <p:cNvSpPr>
              <a:spLocks noEditPoints="1"/>
            </p:cNvSpPr>
            <p:nvPr/>
          </p:nvSpPr>
          <p:spPr bwMode="black">
            <a:xfrm>
              <a:off x="2638425" y="615950"/>
              <a:ext cx="576263" cy="574675"/>
            </a:xfrm>
            <a:custGeom>
              <a:avLst/>
              <a:gdLst>
                <a:gd name="T0" fmla="*/ 298 w 324"/>
                <a:gd name="T1" fmla="*/ 0 h 324"/>
                <a:gd name="T2" fmla="*/ 26 w 324"/>
                <a:gd name="T3" fmla="*/ 0 h 324"/>
                <a:gd name="T4" fmla="*/ 0 w 324"/>
                <a:gd name="T5" fmla="*/ 26 h 324"/>
                <a:gd name="T6" fmla="*/ 0 w 324"/>
                <a:gd name="T7" fmla="*/ 299 h 324"/>
                <a:gd name="T8" fmla="*/ 26 w 324"/>
                <a:gd name="T9" fmla="*/ 324 h 324"/>
                <a:gd name="T10" fmla="*/ 298 w 324"/>
                <a:gd name="T11" fmla="*/ 324 h 324"/>
                <a:gd name="T12" fmla="*/ 324 w 324"/>
                <a:gd name="T13" fmla="*/ 299 h 324"/>
                <a:gd name="T14" fmla="*/ 324 w 324"/>
                <a:gd name="T15" fmla="*/ 26 h 324"/>
                <a:gd name="T16" fmla="*/ 298 w 324"/>
                <a:gd name="T17" fmla="*/ 0 h 324"/>
                <a:gd name="T18" fmla="*/ 236 w 324"/>
                <a:gd name="T19" fmla="*/ 268 h 324"/>
                <a:gd name="T20" fmla="*/ 171 w 324"/>
                <a:gd name="T21" fmla="*/ 268 h 324"/>
                <a:gd name="T22" fmla="*/ 203 w 324"/>
                <a:gd name="T23" fmla="*/ 237 h 324"/>
                <a:gd name="T24" fmla="*/ 130 w 324"/>
                <a:gd name="T25" fmla="*/ 166 h 324"/>
                <a:gd name="T26" fmla="*/ 142 w 324"/>
                <a:gd name="T27" fmla="*/ 210 h 324"/>
                <a:gd name="T28" fmla="*/ 142 w 324"/>
                <a:gd name="T29" fmla="*/ 271 h 324"/>
                <a:gd name="T30" fmla="*/ 125 w 324"/>
                <a:gd name="T31" fmla="*/ 271 h 324"/>
                <a:gd name="T32" fmla="*/ 125 w 324"/>
                <a:gd name="T33" fmla="*/ 219 h 324"/>
                <a:gd name="T34" fmla="*/ 113 w 324"/>
                <a:gd name="T35" fmla="*/ 185 h 324"/>
                <a:gd name="T36" fmla="*/ 101 w 324"/>
                <a:gd name="T37" fmla="*/ 198 h 324"/>
                <a:gd name="T38" fmla="*/ 95 w 324"/>
                <a:gd name="T39" fmla="*/ 269 h 324"/>
                <a:gd name="T40" fmla="*/ 80 w 324"/>
                <a:gd name="T41" fmla="*/ 269 h 324"/>
                <a:gd name="T42" fmla="*/ 79 w 324"/>
                <a:gd name="T43" fmla="*/ 187 h 324"/>
                <a:gd name="T44" fmla="*/ 84 w 324"/>
                <a:gd name="T45" fmla="*/ 136 h 324"/>
                <a:gd name="T46" fmla="*/ 66 w 324"/>
                <a:gd name="T47" fmla="*/ 99 h 324"/>
                <a:gd name="T48" fmla="*/ 123 w 324"/>
                <a:gd name="T49" fmla="*/ 72 h 324"/>
                <a:gd name="T50" fmla="*/ 145 w 324"/>
                <a:gd name="T51" fmla="*/ 67 h 324"/>
                <a:gd name="T52" fmla="*/ 137 w 324"/>
                <a:gd name="T53" fmla="*/ 50 h 324"/>
                <a:gd name="T54" fmla="*/ 161 w 324"/>
                <a:gd name="T55" fmla="*/ 26 h 324"/>
                <a:gd name="T56" fmla="*/ 185 w 324"/>
                <a:gd name="T57" fmla="*/ 50 h 324"/>
                <a:gd name="T58" fmla="*/ 161 w 324"/>
                <a:gd name="T59" fmla="*/ 74 h 324"/>
                <a:gd name="T60" fmla="*/ 152 w 324"/>
                <a:gd name="T61" fmla="*/ 72 h 324"/>
                <a:gd name="T62" fmla="*/ 164 w 324"/>
                <a:gd name="T63" fmla="*/ 101 h 324"/>
                <a:gd name="T64" fmla="*/ 157 w 324"/>
                <a:gd name="T65" fmla="*/ 122 h 324"/>
                <a:gd name="T66" fmla="*/ 158 w 324"/>
                <a:gd name="T67" fmla="*/ 177 h 324"/>
                <a:gd name="T68" fmla="*/ 207 w 324"/>
                <a:gd name="T69" fmla="*/ 225 h 324"/>
                <a:gd name="T70" fmla="*/ 208 w 324"/>
                <a:gd name="T71" fmla="*/ 222 h 324"/>
                <a:gd name="T72" fmla="*/ 290 w 324"/>
                <a:gd name="T73" fmla="*/ 210 h 324"/>
                <a:gd name="T74" fmla="*/ 236 w 324"/>
                <a:gd name="T75" fmla="*/ 268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4" h="324">
                  <a:moveTo>
                    <a:pt x="298" y="0"/>
                  </a:moveTo>
                  <a:cubicBezTo>
                    <a:pt x="26" y="0"/>
                    <a:pt x="26" y="0"/>
                    <a:pt x="26" y="0"/>
                  </a:cubicBezTo>
                  <a:cubicBezTo>
                    <a:pt x="12" y="0"/>
                    <a:pt x="0" y="12"/>
                    <a:pt x="0" y="26"/>
                  </a:cubicBezTo>
                  <a:cubicBezTo>
                    <a:pt x="0" y="299"/>
                    <a:pt x="0" y="299"/>
                    <a:pt x="0" y="299"/>
                  </a:cubicBezTo>
                  <a:cubicBezTo>
                    <a:pt x="0" y="313"/>
                    <a:pt x="12" y="324"/>
                    <a:pt x="26" y="324"/>
                  </a:cubicBezTo>
                  <a:cubicBezTo>
                    <a:pt x="298" y="324"/>
                    <a:pt x="298" y="324"/>
                    <a:pt x="298" y="324"/>
                  </a:cubicBezTo>
                  <a:cubicBezTo>
                    <a:pt x="312" y="324"/>
                    <a:pt x="324" y="313"/>
                    <a:pt x="324" y="299"/>
                  </a:cubicBezTo>
                  <a:cubicBezTo>
                    <a:pt x="324" y="26"/>
                    <a:pt x="324" y="26"/>
                    <a:pt x="324" y="26"/>
                  </a:cubicBezTo>
                  <a:cubicBezTo>
                    <a:pt x="324" y="12"/>
                    <a:pt x="312" y="0"/>
                    <a:pt x="298" y="0"/>
                  </a:cubicBezTo>
                  <a:close/>
                  <a:moveTo>
                    <a:pt x="236" y="268"/>
                  </a:moveTo>
                  <a:cubicBezTo>
                    <a:pt x="171" y="268"/>
                    <a:pt x="171" y="268"/>
                    <a:pt x="171" y="268"/>
                  </a:cubicBezTo>
                  <a:cubicBezTo>
                    <a:pt x="179" y="250"/>
                    <a:pt x="200" y="239"/>
                    <a:pt x="203" y="237"/>
                  </a:cubicBezTo>
                  <a:cubicBezTo>
                    <a:pt x="130" y="166"/>
                    <a:pt x="130" y="166"/>
                    <a:pt x="130" y="166"/>
                  </a:cubicBezTo>
                  <a:cubicBezTo>
                    <a:pt x="134" y="176"/>
                    <a:pt x="141" y="191"/>
                    <a:pt x="142" y="210"/>
                  </a:cubicBezTo>
                  <a:cubicBezTo>
                    <a:pt x="142" y="271"/>
                    <a:pt x="142" y="271"/>
                    <a:pt x="142" y="271"/>
                  </a:cubicBezTo>
                  <a:cubicBezTo>
                    <a:pt x="125" y="271"/>
                    <a:pt x="125" y="271"/>
                    <a:pt x="125" y="271"/>
                  </a:cubicBezTo>
                  <a:cubicBezTo>
                    <a:pt x="125" y="219"/>
                    <a:pt x="125" y="219"/>
                    <a:pt x="125" y="219"/>
                  </a:cubicBezTo>
                  <a:cubicBezTo>
                    <a:pt x="125" y="219"/>
                    <a:pt x="121" y="193"/>
                    <a:pt x="113" y="185"/>
                  </a:cubicBezTo>
                  <a:cubicBezTo>
                    <a:pt x="105" y="177"/>
                    <a:pt x="101" y="192"/>
                    <a:pt x="101" y="198"/>
                  </a:cubicBezTo>
                  <a:cubicBezTo>
                    <a:pt x="101" y="204"/>
                    <a:pt x="100" y="262"/>
                    <a:pt x="95" y="269"/>
                  </a:cubicBezTo>
                  <a:cubicBezTo>
                    <a:pt x="80" y="269"/>
                    <a:pt x="80" y="269"/>
                    <a:pt x="80" y="269"/>
                  </a:cubicBezTo>
                  <a:cubicBezTo>
                    <a:pt x="79" y="187"/>
                    <a:pt x="79" y="187"/>
                    <a:pt x="79" y="187"/>
                  </a:cubicBezTo>
                  <a:cubicBezTo>
                    <a:pt x="79" y="187"/>
                    <a:pt x="66" y="154"/>
                    <a:pt x="84" y="136"/>
                  </a:cubicBezTo>
                  <a:cubicBezTo>
                    <a:pt x="84" y="136"/>
                    <a:pt x="62" y="108"/>
                    <a:pt x="66" y="99"/>
                  </a:cubicBezTo>
                  <a:cubicBezTo>
                    <a:pt x="70" y="90"/>
                    <a:pt x="116" y="76"/>
                    <a:pt x="123" y="72"/>
                  </a:cubicBezTo>
                  <a:cubicBezTo>
                    <a:pt x="128" y="69"/>
                    <a:pt x="138" y="67"/>
                    <a:pt x="145" y="67"/>
                  </a:cubicBezTo>
                  <a:cubicBezTo>
                    <a:pt x="140" y="63"/>
                    <a:pt x="137" y="57"/>
                    <a:pt x="137" y="50"/>
                  </a:cubicBezTo>
                  <a:cubicBezTo>
                    <a:pt x="137" y="37"/>
                    <a:pt x="148" y="26"/>
                    <a:pt x="161" y="26"/>
                  </a:cubicBezTo>
                  <a:cubicBezTo>
                    <a:pt x="174" y="26"/>
                    <a:pt x="185" y="37"/>
                    <a:pt x="185" y="50"/>
                  </a:cubicBezTo>
                  <a:cubicBezTo>
                    <a:pt x="185" y="63"/>
                    <a:pt x="174" y="74"/>
                    <a:pt x="161" y="74"/>
                  </a:cubicBezTo>
                  <a:cubicBezTo>
                    <a:pt x="158" y="74"/>
                    <a:pt x="155" y="73"/>
                    <a:pt x="152" y="72"/>
                  </a:cubicBezTo>
                  <a:cubicBezTo>
                    <a:pt x="155" y="80"/>
                    <a:pt x="166" y="94"/>
                    <a:pt x="164" y="101"/>
                  </a:cubicBezTo>
                  <a:cubicBezTo>
                    <a:pt x="162" y="108"/>
                    <a:pt x="157" y="122"/>
                    <a:pt x="157" y="122"/>
                  </a:cubicBezTo>
                  <a:cubicBezTo>
                    <a:pt x="158" y="177"/>
                    <a:pt x="158" y="177"/>
                    <a:pt x="158" y="177"/>
                  </a:cubicBezTo>
                  <a:cubicBezTo>
                    <a:pt x="207" y="225"/>
                    <a:pt x="207" y="225"/>
                    <a:pt x="207" y="225"/>
                  </a:cubicBezTo>
                  <a:cubicBezTo>
                    <a:pt x="208" y="222"/>
                    <a:pt x="208" y="222"/>
                    <a:pt x="208" y="222"/>
                  </a:cubicBezTo>
                  <a:cubicBezTo>
                    <a:pt x="224" y="171"/>
                    <a:pt x="290" y="210"/>
                    <a:pt x="290" y="210"/>
                  </a:cubicBezTo>
                  <a:lnTo>
                    <a:pt x="236" y="268"/>
                  </a:lnTo>
                  <a:close/>
                </a:path>
              </a:pathLst>
            </a:custGeom>
            <a:grpFill/>
            <a:ln>
              <a:noFill/>
            </a:ln>
          </p:spPr>
          <p:txBody>
            <a:bodyPr vert="horz" wrap="square" lIns="91440" tIns="45720" rIns="91440" bIns="45720" numCol="1" anchor="t" anchorCtr="0" compatLnSpc="1">
              <a:prstTxWarp prst="textNoShape">
                <a:avLst/>
              </a:prstTxWarp>
            </a:bodyPr>
            <a:lstStyle/>
            <a:p>
              <a:endParaRPr lang="en-US" sz="1200" dirty="0"/>
            </a:p>
          </p:txBody>
        </p:sp>
      </p:grpSp>
      <p:grpSp>
        <p:nvGrpSpPr>
          <p:cNvPr id="28" name="Group 27"/>
          <p:cNvGrpSpPr/>
          <p:nvPr/>
        </p:nvGrpSpPr>
        <p:grpSpPr bwMode="black">
          <a:xfrm>
            <a:off x="3600203" y="3950933"/>
            <a:ext cx="1376891" cy="971550"/>
            <a:chOff x="6673850" y="4338638"/>
            <a:chExt cx="1403351" cy="1082675"/>
          </a:xfrm>
          <a:solidFill>
            <a:srgbClr val="FFFFFF"/>
          </a:solidFill>
        </p:grpSpPr>
        <p:sp>
          <p:nvSpPr>
            <p:cNvPr id="29" name="Freeform 247"/>
            <p:cNvSpPr>
              <a:spLocks/>
            </p:cNvSpPr>
            <p:nvPr/>
          </p:nvSpPr>
          <p:spPr bwMode="black">
            <a:xfrm>
              <a:off x="7572375" y="4525963"/>
              <a:ext cx="160338" cy="249238"/>
            </a:xfrm>
            <a:custGeom>
              <a:avLst/>
              <a:gdLst>
                <a:gd name="T0" fmla="*/ 14 w 30"/>
                <a:gd name="T1" fmla="*/ 29 h 46"/>
                <a:gd name="T2" fmla="*/ 14 w 30"/>
                <a:gd name="T3" fmla="*/ 45 h 46"/>
                <a:gd name="T4" fmla="*/ 22 w 30"/>
                <a:gd name="T5" fmla="*/ 22 h 46"/>
                <a:gd name="T6" fmla="*/ 0 w 30"/>
                <a:gd name="T7" fmla="*/ 0 h 46"/>
                <a:gd name="T8" fmla="*/ 0 w 30"/>
                <a:gd name="T9" fmla="*/ 0 h 46"/>
                <a:gd name="T10" fmla="*/ 14 w 30"/>
                <a:gd name="T11" fmla="*/ 29 h 46"/>
              </a:gdLst>
              <a:ahLst/>
              <a:cxnLst>
                <a:cxn ang="0">
                  <a:pos x="T0" y="T1"/>
                </a:cxn>
                <a:cxn ang="0">
                  <a:pos x="T2" y="T3"/>
                </a:cxn>
                <a:cxn ang="0">
                  <a:pos x="T4" y="T5"/>
                </a:cxn>
                <a:cxn ang="0">
                  <a:pos x="T6" y="T7"/>
                </a:cxn>
                <a:cxn ang="0">
                  <a:pos x="T8" y="T9"/>
                </a:cxn>
                <a:cxn ang="0">
                  <a:pos x="T10" y="T11"/>
                </a:cxn>
              </a:cxnLst>
              <a:rect l="0" t="0" r="r" b="b"/>
              <a:pathLst>
                <a:path w="30" h="46">
                  <a:moveTo>
                    <a:pt x="14" y="29"/>
                  </a:moveTo>
                  <a:cubicBezTo>
                    <a:pt x="14" y="45"/>
                    <a:pt x="14" y="45"/>
                    <a:pt x="14" y="45"/>
                  </a:cubicBezTo>
                  <a:cubicBezTo>
                    <a:pt x="21" y="46"/>
                    <a:pt x="30" y="39"/>
                    <a:pt x="22" y="22"/>
                  </a:cubicBezTo>
                  <a:cubicBezTo>
                    <a:pt x="15" y="6"/>
                    <a:pt x="5" y="1"/>
                    <a:pt x="0" y="0"/>
                  </a:cubicBezTo>
                  <a:cubicBezTo>
                    <a:pt x="0" y="0"/>
                    <a:pt x="0" y="0"/>
                    <a:pt x="0" y="0"/>
                  </a:cubicBezTo>
                  <a:cubicBezTo>
                    <a:pt x="9" y="6"/>
                    <a:pt x="14" y="17"/>
                    <a:pt x="14"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0" name="Freeform 248"/>
            <p:cNvSpPr>
              <a:spLocks/>
            </p:cNvSpPr>
            <p:nvPr/>
          </p:nvSpPr>
          <p:spPr bwMode="black">
            <a:xfrm>
              <a:off x="7239000" y="4525963"/>
              <a:ext cx="101600" cy="103188"/>
            </a:xfrm>
            <a:custGeom>
              <a:avLst/>
              <a:gdLst>
                <a:gd name="T0" fmla="*/ 19 w 19"/>
                <a:gd name="T1" fmla="*/ 0 h 19"/>
                <a:gd name="T2" fmla="*/ 19 w 19"/>
                <a:gd name="T3" fmla="*/ 0 h 19"/>
                <a:gd name="T4" fmla="*/ 0 w 19"/>
                <a:gd name="T5" fmla="*/ 15 h 19"/>
                <a:gd name="T6" fmla="*/ 6 w 19"/>
                <a:gd name="T7" fmla="*/ 19 h 19"/>
                <a:gd name="T8" fmla="*/ 19 w 19"/>
                <a:gd name="T9" fmla="*/ 0 h 19"/>
              </a:gdLst>
              <a:ahLst/>
              <a:cxnLst>
                <a:cxn ang="0">
                  <a:pos x="T0" y="T1"/>
                </a:cxn>
                <a:cxn ang="0">
                  <a:pos x="T2" y="T3"/>
                </a:cxn>
                <a:cxn ang="0">
                  <a:pos x="T4" y="T5"/>
                </a:cxn>
                <a:cxn ang="0">
                  <a:pos x="T6" y="T7"/>
                </a:cxn>
                <a:cxn ang="0">
                  <a:pos x="T8" y="T9"/>
                </a:cxn>
              </a:cxnLst>
              <a:rect l="0" t="0" r="r" b="b"/>
              <a:pathLst>
                <a:path w="19" h="19">
                  <a:moveTo>
                    <a:pt x="19" y="0"/>
                  </a:moveTo>
                  <a:cubicBezTo>
                    <a:pt x="19" y="0"/>
                    <a:pt x="19" y="0"/>
                    <a:pt x="19" y="0"/>
                  </a:cubicBezTo>
                  <a:cubicBezTo>
                    <a:pt x="15" y="1"/>
                    <a:pt x="7" y="5"/>
                    <a:pt x="0" y="15"/>
                  </a:cubicBezTo>
                  <a:cubicBezTo>
                    <a:pt x="2" y="16"/>
                    <a:pt x="4" y="18"/>
                    <a:pt x="6" y="19"/>
                  </a:cubicBezTo>
                  <a:cubicBezTo>
                    <a:pt x="8" y="11"/>
                    <a:pt x="13" y="4"/>
                    <a:pt x="1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1" name="Freeform 249"/>
            <p:cNvSpPr>
              <a:spLocks/>
            </p:cNvSpPr>
            <p:nvPr/>
          </p:nvSpPr>
          <p:spPr bwMode="black">
            <a:xfrm>
              <a:off x="7297738" y="4537075"/>
              <a:ext cx="317500" cy="227013"/>
            </a:xfrm>
            <a:custGeom>
              <a:avLst/>
              <a:gdLst>
                <a:gd name="T0" fmla="*/ 13 w 59"/>
                <a:gd name="T1" fmla="*/ 42 h 42"/>
                <a:gd name="T2" fmla="*/ 59 w 59"/>
                <a:gd name="T3" fmla="*/ 42 h 42"/>
                <a:gd name="T4" fmla="*/ 59 w 59"/>
                <a:gd name="T5" fmla="*/ 26 h 42"/>
                <a:gd name="T6" fmla="*/ 49 w 59"/>
                <a:gd name="T7" fmla="*/ 0 h 42"/>
                <a:gd name="T8" fmla="*/ 29 w 59"/>
                <a:gd name="T9" fmla="*/ 9 h 42"/>
                <a:gd name="T10" fmla="*/ 10 w 59"/>
                <a:gd name="T11" fmla="*/ 0 h 42"/>
                <a:gd name="T12" fmla="*/ 0 w 59"/>
                <a:gd name="T13" fmla="*/ 22 h 42"/>
                <a:gd name="T14" fmla="*/ 12 w 59"/>
                <a:gd name="T15" fmla="*/ 41 h 42"/>
                <a:gd name="T16" fmla="*/ 12 w 59"/>
                <a:gd name="T17" fmla="*/ 41 h 42"/>
                <a:gd name="T18" fmla="*/ 13 w 59"/>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42">
                  <a:moveTo>
                    <a:pt x="13" y="42"/>
                  </a:moveTo>
                  <a:cubicBezTo>
                    <a:pt x="27" y="36"/>
                    <a:pt x="44" y="36"/>
                    <a:pt x="59" y="42"/>
                  </a:cubicBezTo>
                  <a:cubicBezTo>
                    <a:pt x="59" y="26"/>
                    <a:pt x="59" y="26"/>
                    <a:pt x="59" y="26"/>
                  </a:cubicBezTo>
                  <a:cubicBezTo>
                    <a:pt x="59" y="16"/>
                    <a:pt x="55" y="7"/>
                    <a:pt x="49" y="0"/>
                  </a:cubicBezTo>
                  <a:cubicBezTo>
                    <a:pt x="44" y="6"/>
                    <a:pt x="37" y="9"/>
                    <a:pt x="29" y="9"/>
                  </a:cubicBezTo>
                  <a:cubicBezTo>
                    <a:pt x="21" y="9"/>
                    <a:pt x="14" y="6"/>
                    <a:pt x="10" y="0"/>
                  </a:cubicBezTo>
                  <a:cubicBezTo>
                    <a:pt x="4" y="6"/>
                    <a:pt x="1" y="13"/>
                    <a:pt x="0" y="22"/>
                  </a:cubicBezTo>
                  <a:cubicBezTo>
                    <a:pt x="4" y="26"/>
                    <a:pt x="9" y="33"/>
                    <a:pt x="12" y="41"/>
                  </a:cubicBezTo>
                  <a:cubicBezTo>
                    <a:pt x="12" y="41"/>
                    <a:pt x="12" y="41"/>
                    <a:pt x="12" y="41"/>
                  </a:cubicBezTo>
                  <a:cubicBezTo>
                    <a:pt x="13" y="41"/>
                    <a:pt x="13" y="42"/>
                    <a:pt x="13"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2" name="Oval 250"/>
            <p:cNvSpPr>
              <a:spLocks noChangeArrowheads="1"/>
            </p:cNvSpPr>
            <p:nvPr/>
          </p:nvSpPr>
          <p:spPr bwMode="black">
            <a:xfrm>
              <a:off x="7351713" y="4338638"/>
              <a:ext cx="209550" cy="214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3" name="Freeform 251"/>
            <p:cNvSpPr>
              <a:spLocks/>
            </p:cNvSpPr>
            <p:nvPr/>
          </p:nvSpPr>
          <p:spPr bwMode="black">
            <a:xfrm>
              <a:off x="7173913" y="4624388"/>
              <a:ext cx="155575" cy="198438"/>
            </a:xfrm>
            <a:custGeom>
              <a:avLst/>
              <a:gdLst>
                <a:gd name="T0" fmla="*/ 18 w 29"/>
                <a:gd name="T1" fmla="*/ 37 h 37"/>
                <a:gd name="T2" fmla="*/ 29 w 29"/>
                <a:gd name="T3" fmla="*/ 29 h 37"/>
                <a:gd name="T4" fmla="*/ 28 w 29"/>
                <a:gd name="T5" fmla="*/ 28 h 37"/>
                <a:gd name="T6" fmla="*/ 0 w 29"/>
                <a:gd name="T7" fmla="*/ 0 h 37"/>
                <a:gd name="T8" fmla="*/ 0 w 29"/>
                <a:gd name="T9" fmla="*/ 0 h 37"/>
                <a:gd name="T10" fmla="*/ 18 w 29"/>
                <a:gd name="T11" fmla="*/ 37 h 37"/>
              </a:gdLst>
              <a:ahLst/>
              <a:cxnLst>
                <a:cxn ang="0">
                  <a:pos x="T0" y="T1"/>
                </a:cxn>
                <a:cxn ang="0">
                  <a:pos x="T2" y="T3"/>
                </a:cxn>
                <a:cxn ang="0">
                  <a:pos x="T4" y="T5"/>
                </a:cxn>
                <a:cxn ang="0">
                  <a:pos x="T6" y="T7"/>
                </a:cxn>
                <a:cxn ang="0">
                  <a:pos x="T8" y="T9"/>
                </a:cxn>
                <a:cxn ang="0">
                  <a:pos x="T10" y="T11"/>
                </a:cxn>
              </a:cxnLst>
              <a:rect l="0" t="0" r="r" b="b"/>
              <a:pathLst>
                <a:path w="29" h="37">
                  <a:moveTo>
                    <a:pt x="18" y="37"/>
                  </a:moveTo>
                  <a:cubicBezTo>
                    <a:pt x="21" y="34"/>
                    <a:pt x="25" y="31"/>
                    <a:pt x="29" y="29"/>
                  </a:cubicBezTo>
                  <a:cubicBezTo>
                    <a:pt x="29" y="29"/>
                    <a:pt x="29" y="28"/>
                    <a:pt x="28" y="28"/>
                  </a:cubicBezTo>
                  <a:cubicBezTo>
                    <a:pt x="19" y="8"/>
                    <a:pt x="6" y="2"/>
                    <a:pt x="0" y="0"/>
                  </a:cubicBezTo>
                  <a:cubicBezTo>
                    <a:pt x="0" y="0"/>
                    <a:pt x="0" y="0"/>
                    <a:pt x="0" y="0"/>
                  </a:cubicBezTo>
                  <a:cubicBezTo>
                    <a:pt x="11" y="8"/>
                    <a:pt x="18" y="21"/>
                    <a:pt x="18"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4" name="Freeform 252"/>
            <p:cNvSpPr>
              <a:spLocks/>
            </p:cNvSpPr>
            <p:nvPr/>
          </p:nvSpPr>
          <p:spPr bwMode="black">
            <a:xfrm>
              <a:off x="6673850" y="4624388"/>
              <a:ext cx="204788" cy="317500"/>
            </a:xfrm>
            <a:custGeom>
              <a:avLst/>
              <a:gdLst>
                <a:gd name="T0" fmla="*/ 38 w 38"/>
                <a:gd name="T1" fmla="*/ 0 h 59"/>
                <a:gd name="T2" fmla="*/ 38 w 38"/>
                <a:gd name="T3" fmla="*/ 0 h 59"/>
                <a:gd name="T4" fmla="*/ 10 w 38"/>
                <a:gd name="T5" fmla="*/ 28 h 59"/>
                <a:gd name="T6" fmla="*/ 20 w 38"/>
                <a:gd name="T7" fmla="*/ 58 h 59"/>
                <a:gd name="T8" fmla="*/ 20 w 38"/>
                <a:gd name="T9" fmla="*/ 37 h 59"/>
                <a:gd name="T10" fmla="*/ 38 w 38"/>
                <a:gd name="T11" fmla="*/ 0 h 59"/>
              </a:gdLst>
              <a:ahLst/>
              <a:cxnLst>
                <a:cxn ang="0">
                  <a:pos x="T0" y="T1"/>
                </a:cxn>
                <a:cxn ang="0">
                  <a:pos x="T2" y="T3"/>
                </a:cxn>
                <a:cxn ang="0">
                  <a:pos x="T4" y="T5"/>
                </a:cxn>
                <a:cxn ang="0">
                  <a:pos x="T6" y="T7"/>
                </a:cxn>
                <a:cxn ang="0">
                  <a:pos x="T8" y="T9"/>
                </a:cxn>
                <a:cxn ang="0">
                  <a:pos x="T10" y="T11"/>
                </a:cxn>
              </a:cxnLst>
              <a:rect l="0" t="0" r="r" b="b"/>
              <a:pathLst>
                <a:path w="38" h="59">
                  <a:moveTo>
                    <a:pt x="38" y="0"/>
                  </a:moveTo>
                  <a:cubicBezTo>
                    <a:pt x="38" y="0"/>
                    <a:pt x="38" y="0"/>
                    <a:pt x="38" y="0"/>
                  </a:cubicBezTo>
                  <a:cubicBezTo>
                    <a:pt x="32" y="2"/>
                    <a:pt x="18" y="8"/>
                    <a:pt x="10" y="28"/>
                  </a:cubicBezTo>
                  <a:cubicBezTo>
                    <a:pt x="0" y="49"/>
                    <a:pt x="11" y="59"/>
                    <a:pt x="20" y="58"/>
                  </a:cubicBezTo>
                  <a:cubicBezTo>
                    <a:pt x="20" y="37"/>
                    <a:pt x="20" y="37"/>
                    <a:pt x="20" y="37"/>
                  </a:cubicBezTo>
                  <a:cubicBezTo>
                    <a:pt x="20" y="22"/>
                    <a:pt x="27" y="8"/>
                    <a:pt x="3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5" name="Freeform 253"/>
            <p:cNvSpPr>
              <a:spLocks/>
            </p:cNvSpPr>
            <p:nvPr/>
          </p:nvSpPr>
          <p:spPr bwMode="black">
            <a:xfrm>
              <a:off x="6818313" y="4640263"/>
              <a:ext cx="409575" cy="446088"/>
            </a:xfrm>
            <a:custGeom>
              <a:avLst/>
              <a:gdLst>
                <a:gd name="T0" fmla="*/ 76 w 76"/>
                <a:gd name="T1" fmla="*/ 33 h 83"/>
                <a:gd name="T2" fmla="*/ 63 w 76"/>
                <a:gd name="T3" fmla="*/ 0 h 83"/>
                <a:gd name="T4" fmla="*/ 38 w 76"/>
                <a:gd name="T5" fmla="*/ 12 h 83"/>
                <a:gd name="T6" fmla="*/ 14 w 76"/>
                <a:gd name="T7" fmla="*/ 0 h 83"/>
                <a:gd name="T8" fmla="*/ 0 w 76"/>
                <a:gd name="T9" fmla="*/ 33 h 83"/>
                <a:gd name="T10" fmla="*/ 0 w 76"/>
                <a:gd name="T11" fmla="*/ 66 h 83"/>
                <a:gd name="T12" fmla="*/ 15 w 76"/>
                <a:gd name="T13" fmla="*/ 83 h 83"/>
                <a:gd name="T14" fmla="*/ 62 w 76"/>
                <a:gd name="T15" fmla="*/ 83 h 83"/>
                <a:gd name="T16" fmla="*/ 62 w 76"/>
                <a:gd name="T17" fmla="*/ 83 h 83"/>
                <a:gd name="T18" fmla="*/ 68 w 76"/>
                <a:gd name="T19" fmla="*/ 55 h 83"/>
                <a:gd name="T20" fmla="*/ 76 w 76"/>
                <a:gd name="T21" fmla="*/ 41 h 83"/>
                <a:gd name="T22" fmla="*/ 76 w 76"/>
                <a:gd name="T23" fmla="*/ 3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3">
                  <a:moveTo>
                    <a:pt x="76" y="33"/>
                  </a:moveTo>
                  <a:cubicBezTo>
                    <a:pt x="76" y="20"/>
                    <a:pt x="71" y="8"/>
                    <a:pt x="63" y="0"/>
                  </a:cubicBezTo>
                  <a:cubicBezTo>
                    <a:pt x="57" y="7"/>
                    <a:pt x="48" y="12"/>
                    <a:pt x="38" y="12"/>
                  </a:cubicBezTo>
                  <a:cubicBezTo>
                    <a:pt x="28" y="12"/>
                    <a:pt x="20" y="7"/>
                    <a:pt x="14" y="0"/>
                  </a:cubicBezTo>
                  <a:cubicBezTo>
                    <a:pt x="5" y="8"/>
                    <a:pt x="0" y="20"/>
                    <a:pt x="0" y="33"/>
                  </a:cubicBezTo>
                  <a:cubicBezTo>
                    <a:pt x="0" y="66"/>
                    <a:pt x="0" y="66"/>
                    <a:pt x="0" y="66"/>
                  </a:cubicBezTo>
                  <a:cubicBezTo>
                    <a:pt x="0" y="76"/>
                    <a:pt x="7" y="83"/>
                    <a:pt x="15" y="83"/>
                  </a:cubicBezTo>
                  <a:cubicBezTo>
                    <a:pt x="62" y="83"/>
                    <a:pt x="62" y="83"/>
                    <a:pt x="62" y="83"/>
                  </a:cubicBezTo>
                  <a:cubicBezTo>
                    <a:pt x="62" y="83"/>
                    <a:pt x="62" y="83"/>
                    <a:pt x="62" y="83"/>
                  </a:cubicBezTo>
                  <a:cubicBezTo>
                    <a:pt x="62" y="74"/>
                    <a:pt x="63" y="64"/>
                    <a:pt x="68" y="55"/>
                  </a:cubicBezTo>
                  <a:cubicBezTo>
                    <a:pt x="70" y="50"/>
                    <a:pt x="73" y="45"/>
                    <a:pt x="76" y="41"/>
                  </a:cubicBezTo>
                  <a:lnTo>
                    <a:pt x="76"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6" name="Oval 254"/>
            <p:cNvSpPr>
              <a:spLocks noChangeArrowheads="1"/>
            </p:cNvSpPr>
            <p:nvPr/>
          </p:nvSpPr>
          <p:spPr bwMode="black">
            <a:xfrm>
              <a:off x="6888163" y="4386263"/>
              <a:ext cx="274638" cy="2698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7" name="Freeform 255"/>
            <p:cNvSpPr>
              <a:spLocks/>
            </p:cNvSpPr>
            <p:nvPr/>
          </p:nvSpPr>
          <p:spPr bwMode="black">
            <a:xfrm>
              <a:off x="7732713" y="5108575"/>
              <a:ext cx="344488" cy="312738"/>
            </a:xfrm>
            <a:custGeom>
              <a:avLst/>
              <a:gdLst>
                <a:gd name="T0" fmla="*/ 56 w 64"/>
                <a:gd name="T1" fmla="*/ 24 h 58"/>
                <a:gd name="T2" fmla="*/ 34 w 64"/>
                <a:gd name="T3" fmla="*/ 14 h 58"/>
                <a:gd name="T4" fmla="*/ 31 w 64"/>
                <a:gd name="T5" fmla="*/ 6 h 58"/>
                <a:gd name="T6" fmla="*/ 20 w 64"/>
                <a:gd name="T7" fmla="*/ 0 h 58"/>
                <a:gd name="T8" fmla="*/ 14 w 64"/>
                <a:gd name="T9" fmla="*/ 23 h 58"/>
                <a:gd name="T10" fmla="*/ 0 w 64"/>
                <a:gd name="T11" fmla="*/ 42 h 58"/>
                <a:gd name="T12" fmla="*/ 11 w 64"/>
                <a:gd name="T13" fmla="*/ 47 h 58"/>
                <a:gd name="T14" fmla="*/ 19 w 64"/>
                <a:gd name="T15" fmla="*/ 44 h 58"/>
                <a:gd name="T16" fmla="*/ 41 w 64"/>
                <a:gd name="T17" fmla="*/ 55 h 58"/>
                <a:gd name="T18" fmla="*/ 58 w 64"/>
                <a:gd name="T19" fmla="*/ 47 h 58"/>
                <a:gd name="T20" fmla="*/ 60 w 64"/>
                <a:gd name="T21" fmla="*/ 42 h 58"/>
                <a:gd name="T22" fmla="*/ 56 w 64"/>
                <a:gd name="T23" fmla="*/ 2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58">
                  <a:moveTo>
                    <a:pt x="56" y="24"/>
                  </a:moveTo>
                  <a:cubicBezTo>
                    <a:pt x="34" y="14"/>
                    <a:pt x="34" y="14"/>
                    <a:pt x="34" y="14"/>
                  </a:cubicBezTo>
                  <a:cubicBezTo>
                    <a:pt x="35" y="11"/>
                    <a:pt x="34" y="7"/>
                    <a:pt x="31" y="6"/>
                  </a:cubicBezTo>
                  <a:cubicBezTo>
                    <a:pt x="20" y="0"/>
                    <a:pt x="20" y="0"/>
                    <a:pt x="20" y="0"/>
                  </a:cubicBezTo>
                  <a:cubicBezTo>
                    <a:pt x="19" y="8"/>
                    <a:pt x="17" y="16"/>
                    <a:pt x="14" y="23"/>
                  </a:cubicBezTo>
                  <a:cubicBezTo>
                    <a:pt x="10" y="30"/>
                    <a:pt x="5" y="37"/>
                    <a:pt x="0" y="42"/>
                  </a:cubicBezTo>
                  <a:cubicBezTo>
                    <a:pt x="11" y="47"/>
                    <a:pt x="11" y="47"/>
                    <a:pt x="11" y="47"/>
                  </a:cubicBezTo>
                  <a:cubicBezTo>
                    <a:pt x="14" y="49"/>
                    <a:pt x="18" y="47"/>
                    <a:pt x="19" y="44"/>
                  </a:cubicBezTo>
                  <a:cubicBezTo>
                    <a:pt x="41" y="55"/>
                    <a:pt x="41" y="55"/>
                    <a:pt x="41" y="55"/>
                  </a:cubicBezTo>
                  <a:cubicBezTo>
                    <a:pt x="47" y="58"/>
                    <a:pt x="54" y="54"/>
                    <a:pt x="58" y="47"/>
                  </a:cubicBezTo>
                  <a:cubicBezTo>
                    <a:pt x="60" y="42"/>
                    <a:pt x="60" y="42"/>
                    <a:pt x="60" y="42"/>
                  </a:cubicBezTo>
                  <a:cubicBezTo>
                    <a:pt x="64" y="35"/>
                    <a:pt x="62" y="27"/>
                    <a:pt x="5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8" name="Freeform 256"/>
            <p:cNvSpPr>
              <a:spLocks noEditPoints="1"/>
            </p:cNvSpPr>
            <p:nvPr/>
          </p:nvSpPr>
          <p:spPr bwMode="black">
            <a:xfrm>
              <a:off x="7158038" y="4748213"/>
              <a:ext cx="671513" cy="673100"/>
            </a:xfrm>
            <a:custGeom>
              <a:avLst/>
              <a:gdLst>
                <a:gd name="T0" fmla="*/ 86 w 125"/>
                <a:gd name="T1" fmla="*/ 13 h 125"/>
                <a:gd name="T2" fmla="*/ 13 w 125"/>
                <a:gd name="T3" fmla="*/ 39 h 125"/>
                <a:gd name="T4" fmla="*/ 39 w 125"/>
                <a:gd name="T5" fmla="*/ 112 h 125"/>
                <a:gd name="T6" fmla="*/ 112 w 125"/>
                <a:gd name="T7" fmla="*/ 86 h 125"/>
                <a:gd name="T8" fmla="*/ 86 w 125"/>
                <a:gd name="T9" fmla="*/ 13 h 125"/>
                <a:gd name="T10" fmla="*/ 97 w 125"/>
                <a:gd name="T11" fmla="*/ 79 h 125"/>
                <a:gd name="T12" fmla="*/ 47 w 125"/>
                <a:gd name="T13" fmla="*/ 96 h 125"/>
                <a:gd name="T14" fmla="*/ 29 w 125"/>
                <a:gd name="T15" fmla="*/ 46 h 125"/>
                <a:gd name="T16" fmla="*/ 79 w 125"/>
                <a:gd name="T17" fmla="*/ 28 h 125"/>
                <a:gd name="T18" fmla="*/ 97 w 125"/>
                <a:gd name="T19" fmla="*/ 7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5" h="125">
                  <a:moveTo>
                    <a:pt x="86" y="13"/>
                  </a:moveTo>
                  <a:cubicBezTo>
                    <a:pt x="59" y="0"/>
                    <a:pt x="26" y="12"/>
                    <a:pt x="13" y="39"/>
                  </a:cubicBezTo>
                  <a:cubicBezTo>
                    <a:pt x="0" y="66"/>
                    <a:pt x="12" y="99"/>
                    <a:pt x="39" y="112"/>
                  </a:cubicBezTo>
                  <a:cubicBezTo>
                    <a:pt x="66" y="125"/>
                    <a:pt x="99" y="113"/>
                    <a:pt x="112" y="86"/>
                  </a:cubicBezTo>
                  <a:cubicBezTo>
                    <a:pt x="125" y="59"/>
                    <a:pt x="114" y="26"/>
                    <a:pt x="86" y="13"/>
                  </a:cubicBezTo>
                  <a:close/>
                  <a:moveTo>
                    <a:pt x="97" y="79"/>
                  </a:moveTo>
                  <a:cubicBezTo>
                    <a:pt x="88" y="97"/>
                    <a:pt x="65" y="105"/>
                    <a:pt x="47" y="96"/>
                  </a:cubicBezTo>
                  <a:cubicBezTo>
                    <a:pt x="28" y="87"/>
                    <a:pt x="20" y="65"/>
                    <a:pt x="29" y="46"/>
                  </a:cubicBezTo>
                  <a:cubicBezTo>
                    <a:pt x="38" y="27"/>
                    <a:pt x="60" y="19"/>
                    <a:pt x="79" y="28"/>
                  </a:cubicBezTo>
                  <a:cubicBezTo>
                    <a:pt x="98" y="37"/>
                    <a:pt x="106" y="60"/>
                    <a:pt x="97"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9" name="Freeform 257"/>
            <p:cNvSpPr>
              <a:spLocks/>
            </p:cNvSpPr>
            <p:nvPr/>
          </p:nvSpPr>
          <p:spPr bwMode="black">
            <a:xfrm>
              <a:off x="7351713" y="4908550"/>
              <a:ext cx="225425" cy="150813"/>
            </a:xfrm>
            <a:custGeom>
              <a:avLst/>
              <a:gdLst>
                <a:gd name="T0" fmla="*/ 39 w 42"/>
                <a:gd name="T1" fmla="*/ 7 h 28"/>
                <a:gd name="T2" fmla="*/ 39 w 42"/>
                <a:gd name="T3" fmla="*/ 7 h 28"/>
                <a:gd name="T4" fmla="*/ 1 w 42"/>
                <a:gd name="T5" fmla="*/ 20 h 28"/>
                <a:gd name="T6" fmla="*/ 3 w 42"/>
                <a:gd name="T7" fmla="*/ 27 h 28"/>
                <a:gd name="T8" fmla="*/ 10 w 42"/>
                <a:gd name="T9" fmla="*/ 24 h 28"/>
                <a:gd name="T10" fmla="*/ 35 w 42"/>
                <a:gd name="T11" fmla="*/ 15 h 28"/>
                <a:gd name="T12" fmla="*/ 41 w 42"/>
                <a:gd name="T13" fmla="*/ 13 h 28"/>
                <a:gd name="T14" fmla="*/ 39 w 42"/>
                <a:gd name="T15" fmla="*/ 7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28">
                  <a:moveTo>
                    <a:pt x="39" y="7"/>
                  </a:moveTo>
                  <a:cubicBezTo>
                    <a:pt x="39" y="7"/>
                    <a:pt x="39" y="7"/>
                    <a:pt x="39" y="7"/>
                  </a:cubicBezTo>
                  <a:cubicBezTo>
                    <a:pt x="25" y="0"/>
                    <a:pt x="8" y="6"/>
                    <a:pt x="1" y="20"/>
                  </a:cubicBezTo>
                  <a:cubicBezTo>
                    <a:pt x="0" y="23"/>
                    <a:pt x="1" y="25"/>
                    <a:pt x="3" y="27"/>
                  </a:cubicBezTo>
                  <a:cubicBezTo>
                    <a:pt x="6" y="28"/>
                    <a:pt x="8" y="27"/>
                    <a:pt x="10" y="24"/>
                  </a:cubicBezTo>
                  <a:cubicBezTo>
                    <a:pt x="14" y="15"/>
                    <a:pt x="25" y="11"/>
                    <a:pt x="35" y="15"/>
                  </a:cubicBezTo>
                  <a:cubicBezTo>
                    <a:pt x="37" y="16"/>
                    <a:pt x="40" y="15"/>
                    <a:pt x="41" y="13"/>
                  </a:cubicBezTo>
                  <a:cubicBezTo>
                    <a:pt x="42" y="11"/>
                    <a:pt x="41" y="8"/>
                    <a:pt x="39"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grpSp>
        <p:nvGrpSpPr>
          <p:cNvPr id="40" name="Group 39"/>
          <p:cNvGrpSpPr/>
          <p:nvPr/>
        </p:nvGrpSpPr>
        <p:grpSpPr bwMode="black">
          <a:xfrm>
            <a:off x="1805858" y="658183"/>
            <a:ext cx="435569" cy="879278"/>
            <a:chOff x="2593975" y="2552700"/>
            <a:chExt cx="469901" cy="949325"/>
          </a:xfrm>
        </p:grpSpPr>
        <p:sp>
          <p:nvSpPr>
            <p:cNvPr id="41" name="Freeform 17"/>
            <p:cNvSpPr>
              <a:spLocks noEditPoints="1"/>
            </p:cNvSpPr>
            <p:nvPr/>
          </p:nvSpPr>
          <p:spPr bwMode="black">
            <a:xfrm>
              <a:off x="2593975" y="2835275"/>
              <a:ext cx="338138" cy="666750"/>
            </a:xfrm>
            <a:custGeom>
              <a:avLst/>
              <a:gdLst>
                <a:gd name="T0" fmla="*/ 580 w 1160"/>
                <a:gd name="T1" fmla="*/ 540 h 2287"/>
                <a:gd name="T2" fmla="*/ 731 w 1160"/>
                <a:gd name="T3" fmla="*/ 389 h 2287"/>
                <a:gd name="T4" fmla="*/ 580 w 1160"/>
                <a:gd name="T5" fmla="*/ 237 h 2287"/>
                <a:gd name="T6" fmla="*/ 428 w 1160"/>
                <a:gd name="T7" fmla="*/ 389 h 2287"/>
                <a:gd name="T8" fmla="*/ 580 w 1160"/>
                <a:gd name="T9" fmla="*/ 540 h 2287"/>
                <a:gd name="T10" fmla="*/ 1109 w 1160"/>
                <a:gd name="T11" fmla="*/ 22 h 2287"/>
                <a:gd name="T12" fmla="*/ 1000 w 1160"/>
                <a:gd name="T13" fmla="*/ 51 h 2287"/>
                <a:gd name="T14" fmla="*/ 691 w 1160"/>
                <a:gd name="T15" fmla="*/ 587 h 2287"/>
                <a:gd name="T16" fmla="*/ 469 w 1160"/>
                <a:gd name="T17" fmla="*/ 587 h 2287"/>
                <a:gd name="T18" fmla="*/ 159 w 1160"/>
                <a:gd name="T19" fmla="*/ 51 h 2287"/>
                <a:gd name="T20" fmla="*/ 51 w 1160"/>
                <a:gd name="T21" fmla="*/ 22 h 2287"/>
                <a:gd name="T22" fmla="*/ 22 w 1160"/>
                <a:gd name="T23" fmla="*/ 131 h 2287"/>
                <a:gd name="T24" fmla="*/ 377 w 1160"/>
                <a:gd name="T25" fmla="*/ 745 h 2287"/>
                <a:gd name="T26" fmla="*/ 377 w 1160"/>
                <a:gd name="T27" fmla="*/ 2194 h 2287"/>
                <a:gd name="T28" fmla="*/ 470 w 1160"/>
                <a:gd name="T29" fmla="*/ 2287 h 2287"/>
                <a:gd name="T30" fmla="*/ 562 w 1160"/>
                <a:gd name="T31" fmla="*/ 2194 h 2287"/>
                <a:gd name="T32" fmla="*/ 562 w 1160"/>
                <a:gd name="T33" fmla="*/ 1423 h 2287"/>
                <a:gd name="T34" fmla="*/ 598 w 1160"/>
                <a:gd name="T35" fmla="*/ 1423 h 2287"/>
                <a:gd name="T36" fmla="*/ 598 w 1160"/>
                <a:gd name="T37" fmla="*/ 2194 h 2287"/>
                <a:gd name="T38" fmla="*/ 690 w 1160"/>
                <a:gd name="T39" fmla="*/ 2287 h 2287"/>
                <a:gd name="T40" fmla="*/ 783 w 1160"/>
                <a:gd name="T41" fmla="*/ 2194 h 2287"/>
                <a:gd name="T42" fmla="*/ 783 w 1160"/>
                <a:gd name="T43" fmla="*/ 745 h 2287"/>
                <a:gd name="T44" fmla="*/ 1138 w 1160"/>
                <a:gd name="T45" fmla="*/ 131 h 2287"/>
                <a:gd name="T46" fmla="*/ 1109 w 1160"/>
                <a:gd name="T47" fmla="*/ 22 h 2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60" h="2287">
                  <a:moveTo>
                    <a:pt x="580" y="540"/>
                  </a:moveTo>
                  <a:cubicBezTo>
                    <a:pt x="664" y="540"/>
                    <a:pt x="731" y="473"/>
                    <a:pt x="731" y="389"/>
                  </a:cubicBezTo>
                  <a:cubicBezTo>
                    <a:pt x="731" y="305"/>
                    <a:pt x="664" y="237"/>
                    <a:pt x="580" y="237"/>
                  </a:cubicBezTo>
                  <a:cubicBezTo>
                    <a:pt x="496" y="237"/>
                    <a:pt x="428" y="305"/>
                    <a:pt x="428" y="389"/>
                  </a:cubicBezTo>
                  <a:cubicBezTo>
                    <a:pt x="428" y="473"/>
                    <a:pt x="496" y="540"/>
                    <a:pt x="580" y="540"/>
                  </a:cubicBezTo>
                  <a:close/>
                  <a:moveTo>
                    <a:pt x="1109" y="22"/>
                  </a:moveTo>
                  <a:cubicBezTo>
                    <a:pt x="1071" y="0"/>
                    <a:pt x="1022" y="13"/>
                    <a:pt x="1000" y="51"/>
                  </a:cubicBezTo>
                  <a:cubicBezTo>
                    <a:pt x="691" y="587"/>
                    <a:pt x="691" y="587"/>
                    <a:pt x="691" y="587"/>
                  </a:cubicBezTo>
                  <a:cubicBezTo>
                    <a:pt x="469" y="587"/>
                    <a:pt x="469" y="587"/>
                    <a:pt x="469" y="587"/>
                  </a:cubicBezTo>
                  <a:cubicBezTo>
                    <a:pt x="159" y="51"/>
                    <a:pt x="159" y="51"/>
                    <a:pt x="159" y="51"/>
                  </a:cubicBezTo>
                  <a:cubicBezTo>
                    <a:pt x="137" y="13"/>
                    <a:pt x="89" y="0"/>
                    <a:pt x="51" y="22"/>
                  </a:cubicBezTo>
                  <a:cubicBezTo>
                    <a:pt x="13" y="44"/>
                    <a:pt x="0" y="93"/>
                    <a:pt x="22" y="131"/>
                  </a:cubicBezTo>
                  <a:cubicBezTo>
                    <a:pt x="377" y="745"/>
                    <a:pt x="377" y="745"/>
                    <a:pt x="377" y="745"/>
                  </a:cubicBezTo>
                  <a:cubicBezTo>
                    <a:pt x="377" y="2194"/>
                    <a:pt x="377" y="2194"/>
                    <a:pt x="377" y="2194"/>
                  </a:cubicBezTo>
                  <a:cubicBezTo>
                    <a:pt x="377" y="2246"/>
                    <a:pt x="418" y="2287"/>
                    <a:pt x="470" y="2287"/>
                  </a:cubicBezTo>
                  <a:cubicBezTo>
                    <a:pt x="521" y="2287"/>
                    <a:pt x="562" y="2246"/>
                    <a:pt x="562" y="2194"/>
                  </a:cubicBezTo>
                  <a:cubicBezTo>
                    <a:pt x="562" y="1423"/>
                    <a:pt x="562" y="1423"/>
                    <a:pt x="562" y="1423"/>
                  </a:cubicBezTo>
                  <a:cubicBezTo>
                    <a:pt x="598" y="1423"/>
                    <a:pt x="598" y="1423"/>
                    <a:pt x="598" y="1423"/>
                  </a:cubicBezTo>
                  <a:cubicBezTo>
                    <a:pt x="598" y="2194"/>
                    <a:pt x="598" y="2194"/>
                    <a:pt x="598" y="2194"/>
                  </a:cubicBezTo>
                  <a:cubicBezTo>
                    <a:pt x="598" y="2246"/>
                    <a:pt x="639" y="2287"/>
                    <a:pt x="690" y="2287"/>
                  </a:cubicBezTo>
                  <a:cubicBezTo>
                    <a:pt x="742" y="2287"/>
                    <a:pt x="783" y="2246"/>
                    <a:pt x="783" y="2194"/>
                  </a:cubicBezTo>
                  <a:cubicBezTo>
                    <a:pt x="783" y="745"/>
                    <a:pt x="783" y="745"/>
                    <a:pt x="783" y="745"/>
                  </a:cubicBezTo>
                  <a:cubicBezTo>
                    <a:pt x="1138" y="131"/>
                    <a:pt x="1138" y="131"/>
                    <a:pt x="1138" y="131"/>
                  </a:cubicBezTo>
                  <a:cubicBezTo>
                    <a:pt x="1160" y="93"/>
                    <a:pt x="1147" y="44"/>
                    <a:pt x="1109"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2" name="Freeform 18"/>
            <p:cNvSpPr>
              <a:spLocks noEditPoints="1"/>
            </p:cNvSpPr>
            <p:nvPr/>
          </p:nvSpPr>
          <p:spPr bwMode="black">
            <a:xfrm>
              <a:off x="2649538" y="2552700"/>
              <a:ext cx="414338" cy="325438"/>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sp>
        <p:nvSpPr>
          <p:cNvPr id="43" name="Rectangle 42"/>
          <p:cNvSpPr/>
          <p:nvPr/>
        </p:nvSpPr>
        <p:spPr>
          <a:xfrm>
            <a:off x="5372308" y="3768509"/>
            <a:ext cx="2972574" cy="392415"/>
          </a:xfrm>
          <a:prstGeom prst="rect">
            <a:avLst/>
          </a:prstGeom>
        </p:spPr>
        <p:txBody>
          <a:bodyPr wrap="square" lIns="68571" tIns="34286" rIns="68571" bIns="34286">
            <a:spAutoFit/>
          </a:bodyPr>
          <a:lstStyle/>
          <a:p>
            <a:pPr algn="ctr"/>
            <a:r>
              <a:rPr lang="en-US" sz="2100" dirty="0">
                <a:latin typeface="Segoe UI Light" pitchFamily="34" charset="0"/>
              </a:rPr>
              <a:t>Assess</a:t>
            </a:r>
          </a:p>
        </p:txBody>
      </p:sp>
      <p:sp>
        <p:nvSpPr>
          <p:cNvPr id="44" name="Rectangle 43"/>
          <p:cNvSpPr/>
          <p:nvPr/>
        </p:nvSpPr>
        <p:spPr>
          <a:xfrm>
            <a:off x="4177978" y="2030119"/>
            <a:ext cx="2972574" cy="300083"/>
          </a:xfrm>
          <a:prstGeom prst="rect">
            <a:avLst/>
          </a:prstGeom>
        </p:spPr>
        <p:txBody>
          <a:bodyPr wrap="square" lIns="68571" tIns="34286" rIns="68571" bIns="34286">
            <a:spAutoFit/>
          </a:bodyPr>
          <a:lstStyle/>
          <a:p>
            <a:pPr algn="ctr"/>
            <a:r>
              <a:rPr lang="en-US" sz="1500" dirty="0">
                <a:latin typeface="Segoe UI Light" pitchFamily="34" charset="0"/>
              </a:rPr>
              <a:t>Build a Plan</a:t>
            </a:r>
          </a:p>
        </p:txBody>
      </p:sp>
      <p:sp>
        <p:nvSpPr>
          <p:cNvPr id="45" name="Rectangle 44"/>
          <p:cNvSpPr/>
          <p:nvPr/>
        </p:nvSpPr>
        <p:spPr>
          <a:xfrm>
            <a:off x="2456900" y="1003391"/>
            <a:ext cx="1458555" cy="288539"/>
          </a:xfrm>
          <a:prstGeom prst="rect">
            <a:avLst/>
          </a:prstGeom>
        </p:spPr>
        <p:txBody>
          <a:bodyPr wrap="square" lIns="68571" tIns="34286" rIns="68571" bIns="34286">
            <a:spAutoFit/>
          </a:bodyPr>
          <a:lstStyle/>
          <a:p>
            <a:pPr algn="ctr"/>
            <a:r>
              <a:rPr lang="en-US" dirty="0" smtClean="0">
                <a:latin typeface="Segoe UI Light" pitchFamily="34" charset="0"/>
              </a:rPr>
              <a:t>Innovate</a:t>
            </a:r>
            <a:endParaRPr lang="en-US" dirty="0">
              <a:latin typeface="Segoe UI Light" pitchFamily="34" charset="0"/>
            </a:endParaRPr>
          </a:p>
        </p:txBody>
      </p:sp>
      <p:sp>
        <p:nvSpPr>
          <p:cNvPr id="46"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47"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5"/>
              </a:rPr>
              <a:t>www.rapidbbs.cn</a:t>
            </a:r>
            <a:endParaRPr lang="zh-CN" altLang="en-US" sz="1200" b="0">
              <a:latin typeface="Arial" charset="0"/>
              <a:ea typeface="ＭＳ Ｐゴシック" pitchFamily="34" charset="-128"/>
            </a:endParaRPr>
          </a:p>
        </p:txBody>
      </p:sp>
      <p:pic>
        <p:nvPicPr>
          <p:cNvPr id="48" name="Picture 2">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15858019"/>
      </p:ext>
    </p:extLst>
  </p:cSld>
  <p:clrMapOvr>
    <a:masterClrMapping/>
  </p:clrMapOvr>
  <p:transition>
    <p:fade/>
  </p:transition>
  <p:timing>
    <p:tnLst>
      <p:par>
        <p:cTn id="1" dur="indefinite" restart="never" nodeType="tmRoot"/>
      </p:par>
    </p:tnLst>
  </p:timing>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descr="C:\Users\Jordan\Desktop\TechEd_2012\TechEd-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6962" y="4619593"/>
            <a:ext cx="698151" cy="322326"/>
          </a:xfrm>
          <a:prstGeom prst="rect">
            <a:avLst/>
          </a:prstGeom>
          <a:noFill/>
          <a:extLst>
            <a:ext uri="{909E8E84-426E-40DD-AFC4-6F175D3DCCD1}">
              <a14:hiddenFill xmlns:a14="http://schemas.microsoft.com/office/drawing/2010/main">
                <a:solidFill>
                  <a:srgbClr val="FFFFFF"/>
                </a:solidFill>
              </a14:hiddenFill>
            </a:ext>
          </a:extLst>
        </p:spPr>
      </p:pic>
      <p:sp>
        <p:nvSpPr>
          <p:cNvPr id="9" name="Freeform 79"/>
          <p:cNvSpPr>
            <a:spLocks noEditPoints="1"/>
          </p:cNvSpPr>
          <p:nvPr/>
        </p:nvSpPr>
        <p:spPr bwMode="auto">
          <a:xfrm>
            <a:off x="1485102" y="3657600"/>
            <a:ext cx="680063" cy="643468"/>
          </a:xfrm>
          <a:custGeom>
            <a:avLst/>
            <a:gdLst>
              <a:gd name="T0" fmla="*/ 406 w 413"/>
              <a:gd name="T1" fmla="*/ 0 h 380"/>
              <a:gd name="T2" fmla="*/ 7 w 413"/>
              <a:gd name="T3" fmla="*/ 0 h 380"/>
              <a:gd name="T4" fmla="*/ 0 w 413"/>
              <a:gd name="T5" fmla="*/ 7 h 380"/>
              <a:gd name="T6" fmla="*/ 0 w 413"/>
              <a:gd name="T7" fmla="*/ 273 h 380"/>
              <a:gd name="T8" fmla="*/ 7 w 413"/>
              <a:gd name="T9" fmla="*/ 281 h 380"/>
              <a:gd name="T10" fmla="*/ 133 w 413"/>
              <a:gd name="T11" fmla="*/ 281 h 380"/>
              <a:gd name="T12" fmla="*/ 133 w 413"/>
              <a:gd name="T13" fmla="*/ 332 h 380"/>
              <a:gd name="T14" fmla="*/ 73 w 413"/>
              <a:gd name="T15" fmla="*/ 332 h 380"/>
              <a:gd name="T16" fmla="*/ 65 w 413"/>
              <a:gd name="T17" fmla="*/ 340 h 380"/>
              <a:gd name="T18" fmla="*/ 65 w 413"/>
              <a:gd name="T19" fmla="*/ 373 h 380"/>
              <a:gd name="T20" fmla="*/ 73 w 413"/>
              <a:gd name="T21" fmla="*/ 380 h 380"/>
              <a:gd name="T22" fmla="*/ 339 w 413"/>
              <a:gd name="T23" fmla="*/ 380 h 380"/>
              <a:gd name="T24" fmla="*/ 346 w 413"/>
              <a:gd name="T25" fmla="*/ 373 h 380"/>
              <a:gd name="T26" fmla="*/ 346 w 413"/>
              <a:gd name="T27" fmla="*/ 340 h 380"/>
              <a:gd name="T28" fmla="*/ 339 w 413"/>
              <a:gd name="T29" fmla="*/ 332 h 380"/>
              <a:gd name="T30" fmla="*/ 280 w 413"/>
              <a:gd name="T31" fmla="*/ 332 h 380"/>
              <a:gd name="T32" fmla="*/ 280 w 413"/>
              <a:gd name="T33" fmla="*/ 281 h 380"/>
              <a:gd name="T34" fmla="*/ 406 w 413"/>
              <a:gd name="T35" fmla="*/ 281 h 380"/>
              <a:gd name="T36" fmla="*/ 413 w 413"/>
              <a:gd name="T37" fmla="*/ 273 h 380"/>
              <a:gd name="T38" fmla="*/ 413 w 413"/>
              <a:gd name="T39" fmla="*/ 7 h 380"/>
              <a:gd name="T40" fmla="*/ 406 w 413"/>
              <a:gd name="T41" fmla="*/ 0 h 380"/>
              <a:gd name="T42" fmla="*/ 331 w 413"/>
              <a:gd name="T43" fmla="*/ 366 h 380"/>
              <a:gd name="T44" fmla="*/ 80 w 413"/>
              <a:gd name="T45" fmla="*/ 366 h 380"/>
              <a:gd name="T46" fmla="*/ 80 w 413"/>
              <a:gd name="T47" fmla="*/ 347 h 380"/>
              <a:gd name="T48" fmla="*/ 331 w 413"/>
              <a:gd name="T49" fmla="*/ 347 h 380"/>
              <a:gd name="T50" fmla="*/ 331 w 413"/>
              <a:gd name="T51" fmla="*/ 366 h 380"/>
              <a:gd name="T52" fmla="*/ 266 w 413"/>
              <a:gd name="T53" fmla="*/ 332 h 380"/>
              <a:gd name="T54" fmla="*/ 148 w 413"/>
              <a:gd name="T55" fmla="*/ 332 h 380"/>
              <a:gd name="T56" fmla="*/ 148 w 413"/>
              <a:gd name="T57" fmla="*/ 281 h 380"/>
              <a:gd name="T58" fmla="*/ 266 w 413"/>
              <a:gd name="T59" fmla="*/ 281 h 380"/>
              <a:gd name="T60" fmla="*/ 266 w 413"/>
              <a:gd name="T61" fmla="*/ 332 h 380"/>
              <a:gd name="T62" fmla="*/ 399 w 413"/>
              <a:gd name="T63" fmla="*/ 266 h 380"/>
              <a:gd name="T64" fmla="*/ 15 w 413"/>
              <a:gd name="T65" fmla="*/ 266 h 380"/>
              <a:gd name="T66" fmla="*/ 15 w 413"/>
              <a:gd name="T67" fmla="*/ 15 h 380"/>
              <a:gd name="T68" fmla="*/ 399 w 413"/>
              <a:gd name="T69" fmla="*/ 15 h 380"/>
              <a:gd name="T70" fmla="*/ 399 w 413"/>
              <a:gd name="T71" fmla="*/ 266 h 380"/>
              <a:gd name="T72" fmla="*/ 40 w 413"/>
              <a:gd name="T73" fmla="*/ 247 h 380"/>
              <a:gd name="T74" fmla="*/ 373 w 413"/>
              <a:gd name="T75" fmla="*/ 247 h 380"/>
              <a:gd name="T76" fmla="*/ 381 w 413"/>
              <a:gd name="T77" fmla="*/ 240 h 380"/>
              <a:gd name="T78" fmla="*/ 381 w 413"/>
              <a:gd name="T79" fmla="*/ 41 h 380"/>
              <a:gd name="T80" fmla="*/ 373 w 413"/>
              <a:gd name="T81" fmla="*/ 33 h 380"/>
              <a:gd name="T82" fmla="*/ 40 w 413"/>
              <a:gd name="T83" fmla="*/ 33 h 380"/>
              <a:gd name="T84" fmla="*/ 33 w 413"/>
              <a:gd name="T85" fmla="*/ 41 h 380"/>
              <a:gd name="T86" fmla="*/ 33 w 413"/>
              <a:gd name="T87" fmla="*/ 240 h 380"/>
              <a:gd name="T88" fmla="*/ 40 w 413"/>
              <a:gd name="T89" fmla="*/ 247 h 380"/>
              <a:gd name="T90" fmla="*/ 47 w 413"/>
              <a:gd name="T91" fmla="*/ 48 h 380"/>
              <a:gd name="T92" fmla="*/ 366 w 413"/>
              <a:gd name="T93" fmla="*/ 48 h 380"/>
              <a:gd name="T94" fmla="*/ 366 w 413"/>
              <a:gd name="T95" fmla="*/ 233 h 380"/>
              <a:gd name="T96" fmla="*/ 47 w 413"/>
              <a:gd name="T97" fmla="*/ 233 h 380"/>
              <a:gd name="T98" fmla="*/ 47 w 413"/>
              <a:gd name="T99" fmla="*/ 48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3" h="380">
                <a:moveTo>
                  <a:pt x="406" y="0"/>
                </a:moveTo>
                <a:cubicBezTo>
                  <a:pt x="7" y="0"/>
                  <a:pt x="7" y="0"/>
                  <a:pt x="7" y="0"/>
                </a:cubicBezTo>
                <a:cubicBezTo>
                  <a:pt x="3" y="0"/>
                  <a:pt x="0" y="3"/>
                  <a:pt x="0" y="7"/>
                </a:cubicBezTo>
                <a:cubicBezTo>
                  <a:pt x="0" y="273"/>
                  <a:pt x="0" y="273"/>
                  <a:pt x="0" y="273"/>
                </a:cubicBezTo>
                <a:cubicBezTo>
                  <a:pt x="0" y="277"/>
                  <a:pt x="3" y="281"/>
                  <a:pt x="7" y="281"/>
                </a:cubicBezTo>
                <a:cubicBezTo>
                  <a:pt x="133" y="281"/>
                  <a:pt x="133" y="281"/>
                  <a:pt x="133" y="281"/>
                </a:cubicBezTo>
                <a:cubicBezTo>
                  <a:pt x="133" y="332"/>
                  <a:pt x="133" y="332"/>
                  <a:pt x="133" y="332"/>
                </a:cubicBezTo>
                <a:cubicBezTo>
                  <a:pt x="73" y="332"/>
                  <a:pt x="73" y="332"/>
                  <a:pt x="73" y="332"/>
                </a:cubicBezTo>
                <a:cubicBezTo>
                  <a:pt x="69" y="332"/>
                  <a:pt x="65" y="336"/>
                  <a:pt x="65" y="340"/>
                </a:cubicBezTo>
                <a:cubicBezTo>
                  <a:pt x="65" y="373"/>
                  <a:pt x="65" y="373"/>
                  <a:pt x="65" y="373"/>
                </a:cubicBezTo>
                <a:cubicBezTo>
                  <a:pt x="65" y="377"/>
                  <a:pt x="69" y="380"/>
                  <a:pt x="73" y="380"/>
                </a:cubicBezTo>
                <a:cubicBezTo>
                  <a:pt x="339" y="380"/>
                  <a:pt x="339" y="380"/>
                  <a:pt x="339" y="380"/>
                </a:cubicBezTo>
                <a:cubicBezTo>
                  <a:pt x="343" y="380"/>
                  <a:pt x="346" y="377"/>
                  <a:pt x="346" y="373"/>
                </a:cubicBezTo>
                <a:cubicBezTo>
                  <a:pt x="346" y="340"/>
                  <a:pt x="346" y="340"/>
                  <a:pt x="346" y="340"/>
                </a:cubicBezTo>
                <a:cubicBezTo>
                  <a:pt x="346" y="336"/>
                  <a:pt x="343" y="332"/>
                  <a:pt x="339" y="332"/>
                </a:cubicBezTo>
                <a:cubicBezTo>
                  <a:pt x="280" y="332"/>
                  <a:pt x="280" y="332"/>
                  <a:pt x="280" y="332"/>
                </a:cubicBezTo>
                <a:cubicBezTo>
                  <a:pt x="280" y="281"/>
                  <a:pt x="280" y="281"/>
                  <a:pt x="280" y="281"/>
                </a:cubicBezTo>
                <a:cubicBezTo>
                  <a:pt x="406" y="281"/>
                  <a:pt x="406" y="281"/>
                  <a:pt x="406" y="281"/>
                </a:cubicBezTo>
                <a:cubicBezTo>
                  <a:pt x="410" y="281"/>
                  <a:pt x="413" y="277"/>
                  <a:pt x="413" y="273"/>
                </a:cubicBezTo>
                <a:cubicBezTo>
                  <a:pt x="413" y="7"/>
                  <a:pt x="413" y="7"/>
                  <a:pt x="413" y="7"/>
                </a:cubicBezTo>
                <a:cubicBezTo>
                  <a:pt x="413" y="3"/>
                  <a:pt x="410" y="0"/>
                  <a:pt x="406" y="0"/>
                </a:cubicBezTo>
                <a:close/>
                <a:moveTo>
                  <a:pt x="331" y="366"/>
                </a:moveTo>
                <a:cubicBezTo>
                  <a:pt x="80" y="366"/>
                  <a:pt x="80" y="366"/>
                  <a:pt x="80" y="366"/>
                </a:cubicBezTo>
                <a:cubicBezTo>
                  <a:pt x="80" y="347"/>
                  <a:pt x="80" y="347"/>
                  <a:pt x="80" y="347"/>
                </a:cubicBezTo>
                <a:cubicBezTo>
                  <a:pt x="331" y="347"/>
                  <a:pt x="331" y="347"/>
                  <a:pt x="331" y="347"/>
                </a:cubicBezTo>
                <a:lnTo>
                  <a:pt x="331" y="366"/>
                </a:lnTo>
                <a:close/>
                <a:moveTo>
                  <a:pt x="266" y="332"/>
                </a:moveTo>
                <a:cubicBezTo>
                  <a:pt x="148" y="332"/>
                  <a:pt x="148" y="332"/>
                  <a:pt x="148" y="332"/>
                </a:cubicBezTo>
                <a:cubicBezTo>
                  <a:pt x="148" y="281"/>
                  <a:pt x="148" y="281"/>
                  <a:pt x="148" y="281"/>
                </a:cubicBezTo>
                <a:cubicBezTo>
                  <a:pt x="266" y="281"/>
                  <a:pt x="266" y="281"/>
                  <a:pt x="266" y="281"/>
                </a:cubicBezTo>
                <a:lnTo>
                  <a:pt x="266" y="332"/>
                </a:lnTo>
                <a:close/>
                <a:moveTo>
                  <a:pt x="399" y="266"/>
                </a:moveTo>
                <a:cubicBezTo>
                  <a:pt x="15" y="266"/>
                  <a:pt x="15" y="266"/>
                  <a:pt x="15" y="266"/>
                </a:cubicBezTo>
                <a:cubicBezTo>
                  <a:pt x="15" y="15"/>
                  <a:pt x="15" y="15"/>
                  <a:pt x="15" y="15"/>
                </a:cubicBezTo>
                <a:cubicBezTo>
                  <a:pt x="399" y="15"/>
                  <a:pt x="399" y="15"/>
                  <a:pt x="399" y="15"/>
                </a:cubicBezTo>
                <a:lnTo>
                  <a:pt x="399" y="266"/>
                </a:lnTo>
                <a:close/>
                <a:moveTo>
                  <a:pt x="40" y="247"/>
                </a:moveTo>
                <a:cubicBezTo>
                  <a:pt x="373" y="247"/>
                  <a:pt x="373" y="247"/>
                  <a:pt x="373" y="247"/>
                </a:cubicBezTo>
                <a:cubicBezTo>
                  <a:pt x="377" y="247"/>
                  <a:pt x="381" y="244"/>
                  <a:pt x="381" y="240"/>
                </a:cubicBezTo>
                <a:cubicBezTo>
                  <a:pt x="381" y="41"/>
                  <a:pt x="381" y="41"/>
                  <a:pt x="381" y="41"/>
                </a:cubicBezTo>
                <a:cubicBezTo>
                  <a:pt x="381" y="37"/>
                  <a:pt x="377" y="33"/>
                  <a:pt x="373" y="33"/>
                </a:cubicBezTo>
                <a:cubicBezTo>
                  <a:pt x="40" y="33"/>
                  <a:pt x="40" y="33"/>
                  <a:pt x="40" y="33"/>
                </a:cubicBezTo>
                <a:cubicBezTo>
                  <a:pt x="36" y="33"/>
                  <a:pt x="33" y="37"/>
                  <a:pt x="33" y="41"/>
                </a:cubicBezTo>
                <a:cubicBezTo>
                  <a:pt x="33" y="240"/>
                  <a:pt x="33" y="240"/>
                  <a:pt x="33" y="240"/>
                </a:cubicBezTo>
                <a:cubicBezTo>
                  <a:pt x="33" y="244"/>
                  <a:pt x="36" y="247"/>
                  <a:pt x="40" y="247"/>
                </a:cubicBezTo>
                <a:close/>
                <a:moveTo>
                  <a:pt x="47" y="48"/>
                </a:moveTo>
                <a:cubicBezTo>
                  <a:pt x="366" y="48"/>
                  <a:pt x="366" y="48"/>
                  <a:pt x="366" y="48"/>
                </a:cubicBezTo>
                <a:cubicBezTo>
                  <a:pt x="366" y="233"/>
                  <a:pt x="366" y="233"/>
                  <a:pt x="366" y="233"/>
                </a:cubicBezTo>
                <a:cubicBezTo>
                  <a:pt x="47" y="233"/>
                  <a:pt x="47" y="233"/>
                  <a:pt x="47" y="233"/>
                </a:cubicBezTo>
                <a:lnTo>
                  <a:pt x="47" y="48"/>
                </a:lnTo>
                <a:close/>
              </a:path>
            </a:pathLst>
          </a:custGeom>
          <a:solidFill>
            <a:srgbClr val="FFFFFF"/>
          </a:solidFill>
          <a:ln>
            <a:noFill/>
          </a:ln>
        </p:spPr>
        <p:txBody>
          <a:bodyPr vert="horz" wrap="square" lIns="68571" tIns="34286" rIns="68571" bIns="34286" numCol="1" anchor="t" anchorCtr="0" compatLnSpc="1">
            <a:prstTxWarp prst="textNoShape">
              <a:avLst/>
            </a:prstTxWarp>
          </a:bodyPr>
          <a:lstStyle/>
          <a:p>
            <a:endParaRPr lang="en-US">
              <a:latin typeface="+mj-lt"/>
            </a:endParaRPr>
          </a:p>
        </p:txBody>
      </p:sp>
      <p:sp>
        <p:nvSpPr>
          <p:cNvPr id="11" name="Freeform 82"/>
          <p:cNvSpPr>
            <a:spLocks/>
          </p:cNvSpPr>
          <p:nvPr/>
        </p:nvSpPr>
        <p:spPr bwMode="auto">
          <a:xfrm rot="3824836">
            <a:off x="2011423" y="2918696"/>
            <a:ext cx="560601" cy="630258"/>
          </a:xfrm>
          <a:custGeom>
            <a:avLst/>
            <a:gdLst>
              <a:gd name="T0" fmla="*/ 332 w 332"/>
              <a:gd name="T1" fmla="*/ 266 h 399"/>
              <a:gd name="T2" fmla="*/ 332 w 332"/>
              <a:gd name="T3" fmla="*/ 199 h 399"/>
              <a:gd name="T4" fmla="*/ 200 w 332"/>
              <a:gd name="T5" fmla="*/ 134 h 399"/>
              <a:gd name="T6" fmla="*/ 199 w 332"/>
              <a:gd name="T7" fmla="*/ 134 h 399"/>
              <a:gd name="T8" fmla="*/ 199 w 332"/>
              <a:gd name="T9" fmla="*/ 32 h 399"/>
              <a:gd name="T10" fmla="*/ 199 w 332"/>
              <a:gd name="T11" fmla="*/ 32 h 399"/>
              <a:gd name="T12" fmla="*/ 166 w 332"/>
              <a:gd name="T13" fmla="*/ 0 h 399"/>
              <a:gd name="T14" fmla="*/ 133 w 332"/>
              <a:gd name="T15" fmla="*/ 32 h 399"/>
              <a:gd name="T16" fmla="*/ 133 w 332"/>
              <a:gd name="T17" fmla="*/ 32 h 399"/>
              <a:gd name="T18" fmla="*/ 133 w 332"/>
              <a:gd name="T19" fmla="*/ 134 h 399"/>
              <a:gd name="T20" fmla="*/ 0 w 332"/>
              <a:gd name="T21" fmla="*/ 199 h 399"/>
              <a:gd name="T22" fmla="*/ 0 w 332"/>
              <a:gd name="T23" fmla="*/ 266 h 399"/>
              <a:gd name="T24" fmla="*/ 133 w 332"/>
              <a:gd name="T25" fmla="*/ 213 h 399"/>
              <a:gd name="T26" fmla="*/ 133 w 332"/>
              <a:gd name="T27" fmla="*/ 328 h 399"/>
              <a:gd name="T28" fmla="*/ 99 w 332"/>
              <a:gd name="T29" fmla="*/ 354 h 399"/>
              <a:gd name="T30" fmla="*/ 99 w 332"/>
              <a:gd name="T31" fmla="*/ 399 h 399"/>
              <a:gd name="T32" fmla="*/ 166 w 332"/>
              <a:gd name="T33" fmla="*/ 365 h 399"/>
              <a:gd name="T34" fmla="*/ 232 w 332"/>
              <a:gd name="T35" fmla="*/ 399 h 399"/>
              <a:gd name="T36" fmla="*/ 232 w 332"/>
              <a:gd name="T37" fmla="*/ 354 h 399"/>
              <a:gd name="T38" fmla="*/ 199 w 332"/>
              <a:gd name="T39" fmla="*/ 329 h 399"/>
              <a:gd name="T40" fmla="*/ 199 w 332"/>
              <a:gd name="T41" fmla="*/ 213 h 399"/>
              <a:gd name="T42" fmla="*/ 332 w 332"/>
              <a:gd name="T43" fmla="*/ 266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2" h="399">
                <a:moveTo>
                  <a:pt x="332" y="266"/>
                </a:moveTo>
                <a:cubicBezTo>
                  <a:pt x="332" y="199"/>
                  <a:pt x="332" y="199"/>
                  <a:pt x="332" y="199"/>
                </a:cubicBezTo>
                <a:cubicBezTo>
                  <a:pt x="200" y="134"/>
                  <a:pt x="200" y="134"/>
                  <a:pt x="200" y="134"/>
                </a:cubicBezTo>
                <a:cubicBezTo>
                  <a:pt x="199" y="134"/>
                  <a:pt x="199" y="134"/>
                  <a:pt x="199" y="134"/>
                </a:cubicBezTo>
                <a:cubicBezTo>
                  <a:pt x="199" y="32"/>
                  <a:pt x="199" y="32"/>
                  <a:pt x="199" y="32"/>
                </a:cubicBezTo>
                <a:cubicBezTo>
                  <a:pt x="199" y="32"/>
                  <a:pt x="199" y="32"/>
                  <a:pt x="199" y="32"/>
                </a:cubicBezTo>
                <a:cubicBezTo>
                  <a:pt x="198" y="14"/>
                  <a:pt x="184" y="0"/>
                  <a:pt x="166" y="0"/>
                </a:cubicBezTo>
                <a:cubicBezTo>
                  <a:pt x="148" y="0"/>
                  <a:pt x="133" y="14"/>
                  <a:pt x="133" y="32"/>
                </a:cubicBezTo>
                <a:cubicBezTo>
                  <a:pt x="133" y="32"/>
                  <a:pt x="133" y="32"/>
                  <a:pt x="133" y="32"/>
                </a:cubicBezTo>
                <a:cubicBezTo>
                  <a:pt x="133" y="134"/>
                  <a:pt x="133" y="134"/>
                  <a:pt x="133" y="134"/>
                </a:cubicBezTo>
                <a:cubicBezTo>
                  <a:pt x="119" y="137"/>
                  <a:pt x="0" y="199"/>
                  <a:pt x="0" y="199"/>
                </a:cubicBezTo>
                <a:cubicBezTo>
                  <a:pt x="0" y="266"/>
                  <a:pt x="0" y="266"/>
                  <a:pt x="0" y="266"/>
                </a:cubicBezTo>
                <a:cubicBezTo>
                  <a:pt x="133" y="213"/>
                  <a:pt x="133" y="213"/>
                  <a:pt x="133" y="213"/>
                </a:cubicBezTo>
                <a:cubicBezTo>
                  <a:pt x="133" y="328"/>
                  <a:pt x="133" y="328"/>
                  <a:pt x="133" y="328"/>
                </a:cubicBezTo>
                <a:cubicBezTo>
                  <a:pt x="119" y="338"/>
                  <a:pt x="99" y="354"/>
                  <a:pt x="99" y="354"/>
                </a:cubicBezTo>
                <a:cubicBezTo>
                  <a:pt x="99" y="399"/>
                  <a:pt x="99" y="399"/>
                  <a:pt x="99" y="399"/>
                </a:cubicBezTo>
                <a:cubicBezTo>
                  <a:pt x="166" y="365"/>
                  <a:pt x="166" y="365"/>
                  <a:pt x="166" y="365"/>
                </a:cubicBezTo>
                <a:cubicBezTo>
                  <a:pt x="232" y="399"/>
                  <a:pt x="232" y="399"/>
                  <a:pt x="232" y="399"/>
                </a:cubicBezTo>
                <a:cubicBezTo>
                  <a:pt x="232" y="354"/>
                  <a:pt x="232" y="354"/>
                  <a:pt x="232" y="354"/>
                </a:cubicBezTo>
                <a:cubicBezTo>
                  <a:pt x="199" y="329"/>
                  <a:pt x="199" y="329"/>
                  <a:pt x="199" y="329"/>
                </a:cubicBezTo>
                <a:cubicBezTo>
                  <a:pt x="199" y="213"/>
                  <a:pt x="199" y="213"/>
                  <a:pt x="199" y="213"/>
                </a:cubicBezTo>
                <a:lnTo>
                  <a:pt x="332" y="266"/>
                </a:lnTo>
                <a:close/>
              </a:path>
            </a:pathLst>
          </a:custGeom>
          <a:solidFill>
            <a:srgbClr val="FFFFFF"/>
          </a:solidFill>
          <a:ln>
            <a:noFill/>
          </a:ln>
        </p:spPr>
        <p:txBody>
          <a:bodyPr vert="horz" wrap="square" lIns="68571" tIns="34286" rIns="68571" bIns="34286" numCol="1" anchor="t" anchorCtr="0" compatLnSpc="1">
            <a:prstTxWarp prst="textNoShape">
              <a:avLst/>
            </a:prstTxWarp>
          </a:bodyPr>
          <a:lstStyle/>
          <a:p>
            <a:endParaRPr lang="en-US">
              <a:latin typeface="+mj-lt"/>
            </a:endParaRPr>
          </a:p>
        </p:txBody>
      </p:sp>
      <p:grpSp>
        <p:nvGrpSpPr>
          <p:cNvPr id="48" name="Group 47"/>
          <p:cNvGrpSpPr/>
          <p:nvPr/>
        </p:nvGrpSpPr>
        <p:grpSpPr>
          <a:xfrm>
            <a:off x="2795775" y="3542350"/>
            <a:ext cx="558033" cy="458240"/>
            <a:chOff x="4037012" y="1392454"/>
            <a:chExt cx="743850" cy="610986"/>
          </a:xfrm>
        </p:grpSpPr>
        <p:sp>
          <p:nvSpPr>
            <p:cNvPr id="4" name="Oval 3"/>
            <p:cNvSpPr/>
            <p:nvPr/>
          </p:nvSpPr>
          <p:spPr bwMode="auto">
            <a:xfrm>
              <a:off x="4347109" y="1637315"/>
              <a:ext cx="318987" cy="327647"/>
            </a:xfrm>
            <a:prstGeom prst="ellipse">
              <a:avLst/>
            </a:prstGeom>
            <a:noFill/>
            <a:ln w="28575">
              <a:solidFill>
                <a:schemeClr val="tx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alpha val="98824"/>
                  </a:srgbClr>
                </a:solidFill>
                <a:latin typeface="+mj-lt"/>
                <a:ea typeface="Segoe UI" pitchFamily="34" charset="0"/>
                <a:cs typeface="Segoe UI" pitchFamily="34" charset="0"/>
              </a:endParaRPr>
            </a:p>
          </p:txBody>
        </p:sp>
        <p:sp>
          <p:nvSpPr>
            <p:cNvPr id="16" name="Rectangle 15"/>
            <p:cNvSpPr/>
            <p:nvPr/>
          </p:nvSpPr>
          <p:spPr bwMode="auto">
            <a:xfrm>
              <a:off x="4037012" y="1598837"/>
              <a:ext cx="743850" cy="404603"/>
            </a:xfrm>
            <a:prstGeom prst="rect">
              <a:avLst/>
            </a:prstGeom>
            <a:noFill/>
            <a:ln w="28575">
              <a:solidFill>
                <a:schemeClr val="tx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alpha val="98824"/>
                  </a:srgbClr>
                </a:solidFill>
                <a:latin typeface="+mj-lt"/>
                <a:ea typeface="Segoe UI" pitchFamily="34" charset="0"/>
                <a:cs typeface="Segoe UI" pitchFamily="34" charset="0"/>
              </a:endParaRPr>
            </a:p>
          </p:txBody>
        </p:sp>
        <p:cxnSp>
          <p:nvCxnSpPr>
            <p:cNvPr id="18" name="Straight Connector 17"/>
            <p:cNvCxnSpPr/>
            <p:nvPr/>
          </p:nvCxnSpPr>
          <p:spPr>
            <a:xfrm>
              <a:off x="4256302" y="1599790"/>
              <a:ext cx="0" cy="403650"/>
            </a:xfrm>
            <a:prstGeom prst="line">
              <a:avLst/>
            </a:prstGeom>
            <a:noFill/>
            <a:ln w="28575">
              <a:solidFill>
                <a:schemeClr val="tx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cxnSp>
        <p:sp>
          <p:nvSpPr>
            <p:cNvPr id="19" name="Rectangle 18"/>
            <p:cNvSpPr/>
            <p:nvPr/>
          </p:nvSpPr>
          <p:spPr bwMode="auto">
            <a:xfrm>
              <a:off x="4347109" y="1392454"/>
              <a:ext cx="318987" cy="206383"/>
            </a:xfrm>
            <a:prstGeom prst="rect">
              <a:avLst/>
            </a:prstGeom>
            <a:noFill/>
            <a:ln w="28575">
              <a:solidFill>
                <a:schemeClr val="tx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alpha val="98824"/>
                  </a:srgbClr>
                </a:solidFill>
                <a:latin typeface="+mj-lt"/>
                <a:ea typeface="Segoe UI" pitchFamily="34" charset="0"/>
                <a:cs typeface="Segoe UI" pitchFamily="34" charset="0"/>
              </a:endParaRPr>
            </a:p>
          </p:txBody>
        </p:sp>
        <p:sp>
          <p:nvSpPr>
            <p:cNvPr id="20" name="Rectangle 19"/>
            <p:cNvSpPr/>
            <p:nvPr/>
          </p:nvSpPr>
          <p:spPr bwMode="auto">
            <a:xfrm>
              <a:off x="4037012" y="1533169"/>
              <a:ext cx="219290" cy="65668"/>
            </a:xfrm>
            <a:prstGeom prst="rect">
              <a:avLst/>
            </a:prstGeom>
            <a:noFill/>
            <a:ln w="28575">
              <a:solidFill>
                <a:schemeClr val="tx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alpha val="98824"/>
                  </a:srgbClr>
                </a:solidFill>
                <a:latin typeface="+mj-lt"/>
                <a:ea typeface="Segoe UI" pitchFamily="34" charset="0"/>
                <a:cs typeface="Segoe UI" pitchFamily="34" charset="0"/>
              </a:endParaRPr>
            </a:p>
          </p:txBody>
        </p:sp>
      </p:grpSp>
      <p:sp>
        <p:nvSpPr>
          <p:cNvPr id="40" name="Arc 39"/>
          <p:cNvSpPr/>
          <p:nvPr/>
        </p:nvSpPr>
        <p:spPr>
          <a:xfrm>
            <a:off x="3261181" y="-228600"/>
            <a:ext cx="34298" cy="228600"/>
          </a:xfrm>
          <a:prstGeom prst="arc">
            <a:avLst/>
          </a:prstGeom>
        </p:spPr>
        <p:style>
          <a:lnRef idx="1">
            <a:schemeClr val="accent1"/>
          </a:lnRef>
          <a:fillRef idx="0">
            <a:schemeClr val="accent1"/>
          </a:fillRef>
          <a:effectRef idx="0">
            <a:schemeClr val="accent1"/>
          </a:effectRef>
          <a:fontRef idx="minor">
            <a:schemeClr val="tx1"/>
          </a:fontRef>
        </p:style>
        <p:txBody>
          <a:bodyPr lIns="68571" tIns="34286" rIns="68571" bIns="34286" rtlCol="0" anchor="ctr"/>
          <a:lstStyle/>
          <a:p>
            <a:pPr algn="ctr"/>
            <a:endParaRPr lang="en-US">
              <a:latin typeface="+mj-lt"/>
            </a:endParaRPr>
          </a:p>
        </p:txBody>
      </p:sp>
      <p:grpSp>
        <p:nvGrpSpPr>
          <p:cNvPr id="52" name="Group 51"/>
          <p:cNvGrpSpPr/>
          <p:nvPr/>
        </p:nvGrpSpPr>
        <p:grpSpPr>
          <a:xfrm>
            <a:off x="1626737" y="877053"/>
            <a:ext cx="618096" cy="561613"/>
            <a:chOff x="5639243" y="1509418"/>
            <a:chExt cx="636818" cy="523296"/>
          </a:xfrm>
        </p:grpSpPr>
        <p:cxnSp>
          <p:nvCxnSpPr>
            <p:cNvPr id="24" name="Straight Connector 23"/>
            <p:cNvCxnSpPr/>
            <p:nvPr/>
          </p:nvCxnSpPr>
          <p:spPr>
            <a:xfrm>
              <a:off x="5639243" y="1688484"/>
              <a:ext cx="636818" cy="344230"/>
            </a:xfrm>
            <a:prstGeom prst="line">
              <a:avLst/>
            </a:prstGeom>
            <a:noFill/>
            <a:ln w="28575">
              <a:solidFill>
                <a:schemeClr val="tx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cxnSp>
        <p:cxnSp>
          <p:nvCxnSpPr>
            <p:cNvPr id="29" name="Straight Connector 28"/>
            <p:cNvCxnSpPr/>
            <p:nvPr/>
          </p:nvCxnSpPr>
          <p:spPr>
            <a:xfrm flipV="1">
              <a:off x="5639243" y="1509418"/>
              <a:ext cx="572935" cy="371830"/>
            </a:xfrm>
            <a:prstGeom prst="line">
              <a:avLst/>
            </a:prstGeom>
            <a:noFill/>
            <a:ln w="28575">
              <a:solidFill>
                <a:schemeClr val="tx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cxnSp>
        <p:cxnSp>
          <p:nvCxnSpPr>
            <p:cNvPr id="36" name="Straight Connector 35"/>
            <p:cNvCxnSpPr/>
            <p:nvPr/>
          </p:nvCxnSpPr>
          <p:spPr>
            <a:xfrm>
              <a:off x="6204041" y="1509418"/>
              <a:ext cx="64877" cy="523296"/>
            </a:xfrm>
            <a:prstGeom prst="line">
              <a:avLst/>
            </a:prstGeom>
            <a:noFill/>
            <a:ln w="28575">
              <a:solidFill>
                <a:schemeClr val="tx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cxnSp>
        <p:cxnSp>
          <p:nvCxnSpPr>
            <p:cNvPr id="37" name="Straight Connector 36"/>
            <p:cNvCxnSpPr/>
            <p:nvPr/>
          </p:nvCxnSpPr>
          <p:spPr>
            <a:xfrm>
              <a:off x="5643150" y="1682338"/>
              <a:ext cx="0" cy="187278"/>
            </a:xfrm>
            <a:prstGeom prst="line">
              <a:avLst/>
            </a:prstGeom>
            <a:noFill/>
            <a:ln w="28575">
              <a:solidFill>
                <a:schemeClr val="tx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cxnSp>
        <p:sp>
          <p:nvSpPr>
            <p:cNvPr id="46" name="Isosceles Triangle 45"/>
            <p:cNvSpPr/>
            <p:nvPr/>
          </p:nvSpPr>
          <p:spPr bwMode="auto">
            <a:xfrm rot="1573030">
              <a:off x="5947706" y="1615645"/>
              <a:ext cx="291412" cy="235104"/>
            </a:xfrm>
            <a:prstGeom prst="triangle">
              <a:avLst/>
            </a:prstGeom>
            <a:noFill/>
            <a:ln w="28575">
              <a:solidFill>
                <a:schemeClr val="tx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alpha val="98824"/>
                  </a:srgbClr>
                </a:solidFill>
                <a:latin typeface="+mj-lt"/>
                <a:ea typeface="Segoe UI" pitchFamily="34" charset="0"/>
                <a:cs typeface="Segoe UI" pitchFamily="34" charset="0"/>
              </a:endParaRPr>
            </a:p>
          </p:txBody>
        </p:sp>
        <p:sp>
          <p:nvSpPr>
            <p:cNvPr id="47" name="Isosceles Triangle 46"/>
            <p:cNvSpPr/>
            <p:nvPr/>
          </p:nvSpPr>
          <p:spPr bwMode="auto">
            <a:xfrm rot="5400000">
              <a:off x="5677040" y="1755639"/>
              <a:ext cx="51796" cy="45719"/>
            </a:xfrm>
            <a:prstGeom prst="triangle">
              <a:avLst/>
            </a:prstGeom>
            <a:noFill/>
            <a:ln w="28575">
              <a:solidFill>
                <a:schemeClr val="tx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alpha val="98824"/>
                  </a:srgbClr>
                </a:solidFill>
                <a:latin typeface="+mj-lt"/>
                <a:ea typeface="Segoe UI" pitchFamily="34" charset="0"/>
                <a:cs typeface="Segoe UI" pitchFamily="34" charset="0"/>
              </a:endParaRPr>
            </a:p>
          </p:txBody>
        </p:sp>
      </p:grpSp>
      <p:sp>
        <p:nvSpPr>
          <p:cNvPr id="53" name="TextBox 52"/>
          <p:cNvSpPr txBox="1"/>
          <p:nvPr/>
        </p:nvSpPr>
        <p:spPr>
          <a:xfrm>
            <a:off x="1205112" y="1642931"/>
            <a:ext cx="1461357" cy="470898"/>
          </a:xfrm>
          <a:prstGeom prst="rect">
            <a:avLst/>
          </a:prstGeom>
          <a:noFill/>
        </p:spPr>
        <p:txBody>
          <a:bodyPr wrap="none" lIns="68571" tIns="68571" rIns="68571" bIns="68571" rtlCol="0">
            <a:spAutoFit/>
          </a:bodyPr>
          <a:lstStyle/>
          <a:p>
            <a:pPr>
              <a:lnSpc>
                <a:spcPct val="90000"/>
              </a:lnSpc>
              <a:spcBef>
                <a:spcPct val="20000"/>
              </a:spcBef>
              <a:buSzPct val="90000"/>
            </a:pPr>
            <a:r>
              <a:rPr lang="en-US" sz="2400" dirty="0">
                <a:solidFill>
                  <a:schemeClr val="tx1">
                    <a:alpha val="99000"/>
                  </a:schemeClr>
                </a:solidFill>
                <a:latin typeface="Comic Sans MS" pitchFamily="66" charset="0"/>
              </a:rPr>
              <a:t>ASP.NET</a:t>
            </a:r>
          </a:p>
        </p:txBody>
      </p:sp>
      <p:sp>
        <p:nvSpPr>
          <p:cNvPr id="54" name="Freeform 68"/>
          <p:cNvSpPr>
            <a:spLocks noEditPoints="1"/>
          </p:cNvSpPr>
          <p:nvPr/>
        </p:nvSpPr>
        <p:spPr bwMode="auto">
          <a:xfrm>
            <a:off x="684787" y="457207"/>
            <a:ext cx="3086733" cy="4100381"/>
          </a:xfrm>
          <a:custGeom>
            <a:avLst/>
            <a:gdLst>
              <a:gd name="T0" fmla="*/ 26 w 368"/>
              <a:gd name="T1" fmla="*/ 0 h 414"/>
              <a:gd name="T2" fmla="*/ 19 w 368"/>
              <a:gd name="T3" fmla="*/ 30 h 414"/>
              <a:gd name="T4" fmla="*/ 19 w 368"/>
              <a:gd name="T5" fmla="*/ 65 h 414"/>
              <a:gd name="T6" fmla="*/ 0 w 368"/>
              <a:gd name="T7" fmla="*/ 102 h 414"/>
              <a:gd name="T8" fmla="*/ 19 w 368"/>
              <a:gd name="T9" fmla="*/ 138 h 414"/>
              <a:gd name="T10" fmla="*/ 19 w 368"/>
              <a:gd name="T11" fmla="*/ 173 h 414"/>
              <a:gd name="T12" fmla="*/ 0 w 368"/>
              <a:gd name="T13" fmla="*/ 210 h 414"/>
              <a:gd name="T14" fmla="*/ 19 w 368"/>
              <a:gd name="T15" fmla="*/ 247 h 414"/>
              <a:gd name="T16" fmla="*/ 19 w 368"/>
              <a:gd name="T17" fmla="*/ 281 h 414"/>
              <a:gd name="T18" fmla="*/ 0 w 368"/>
              <a:gd name="T19" fmla="*/ 318 h 414"/>
              <a:gd name="T20" fmla="*/ 19 w 368"/>
              <a:gd name="T21" fmla="*/ 355 h 414"/>
              <a:gd name="T22" fmla="*/ 19 w 368"/>
              <a:gd name="T23" fmla="*/ 390 h 414"/>
              <a:gd name="T24" fmla="*/ 26 w 368"/>
              <a:gd name="T25" fmla="*/ 414 h 414"/>
              <a:gd name="T26" fmla="*/ 368 w 368"/>
              <a:gd name="T27" fmla="*/ 340 h 414"/>
              <a:gd name="T28" fmla="*/ 294 w 368"/>
              <a:gd name="T29" fmla="*/ 0 h 414"/>
              <a:gd name="T30" fmla="*/ 19 w 368"/>
              <a:gd name="T31" fmla="*/ 45 h 414"/>
              <a:gd name="T32" fmla="*/ 15 w 368"/>
              <a:gd name="T33" fmla="*/ 47 h 414"/>
              <a:gd name="T34" fmla="*/ 19 w 368"/>
              <a:gd name="T35" fmla="*/ 99 h 414"/>
              <a:gd name="T36" fmla="*/ 15 w 368"/>
              <a:gd name="T37" fmla="*/ 102 h 414"/>
              <a:gd name="T38" fmla="*/ 19 w 368"/>
              <a:gd name="T39" fmla="*/ 154 h 414"/>
              <a:gd name="T40" fmla="*/ 15 w 368"/>
              <a:gd name="T41" fmla="*/ 156 h 414"/>
              <a:gd name="T42" fmla="*/ 19 w 368"/>
              <a:gd name="T43" fmla="*/ 208 h 414"/>
              <a:gd name="T44" fmla="*/ 15 w 368"/>
              <a:gd name="T45" fmla="*/ 210 h 414"/>
              <a:gd name="T46" fmla="*/ 19 w 368"/>
              <a:gd name="T47" fmla="*/ 262 h 414"/>
              <a:gd name="T48" fmla="*/ 15 w 368"/>
              <a:gd name="T49" fmla="*/ 264 h 414"/>
              <a:gd name="T50" fmla="*/ 19 w 368"/>
              <a:gd name="T51" fmla="*/ 316 h 414"/>
              <a:gd name="T52" fmla="*/ 15 w 368"/>
              <a:gd name="T53" fmla="*/ 318 h 414"/>
              <a:gd name="T54" fmla="*/ 19 w 368"/>
              <a:gd name="T55" fmla="*/ 370 h 414"/>
              <a:gd name="T56" fmla="*/ 15 w 368"/>
              <a:gd name="T57" fmla="*/ 373 h 414"/>
              <a:gd name="T58" fmla="*/ 294 w 368"/>
              <a:gd name="T59" fmla="*/ 400 h 414"/>
              <a:gd name="T60" fmla="*/ 34 w 368"/>
              <a:gd name="T61" fmla="*/ 370 h 414"/>
              <a:gd name="T62" fmla="*/ 38 w 368"/>
              <a:gd name="T63" fmla="*/ 378 h 414"/>
              <a:gd name="T64" fmla="*/ 50 w 368"/>
              <a:gd name="T65" fmla="*/ 364 h 414"/>
              <a:gd name="T66" fmla="*/ 34 w 368"/>
              <a:gd name="T67" fmla="*/ 316 h 414"/>
              <a:gd name="T68" fmla="*/ 38 w 368"/>
              <a:gd name="T69" fmla="*/ 324 h 414"/>
              <a:gd name="T70" fmla="*/ 50 w 368"/>
              <a:gd name="T71" fmla="*/ 310 h 414"/>
              <a:gd name="T72" fmla="*/ 34 w 368"/>
              <a:gd name="T73" fmla="*/ 262 h 414"/>
              <a:gd name="T74" fmla="*/ 38 w 368"/>
              <a:gd name="T75" fmla="*/ 269 h 414"/>
              <a:gd name="T76" fmla="*/ 50 w 368"/>
              <a:gd name="T77" fmla="*/ 256 h 414"/>
              <a:gd name="T78" fmla="*/ 34 w 368"/>
              <a:gd name="T79" fmla="*/ 208 h 414"/>
              <a:gd name="T80" fmla="*/ 38 w 368"/>
              <a:gd name="T81" fmla="*/ 215 h 414"/>
              <a:gd name="T82" fmla="*/ 50 w 368"/>
              <a:gd name="T83" fmla="*/ 202 h 414"/>
              <a:gd name="T84" fmla="*/ 34 w 368"/>
              <a:gd name="T85" fmla="*/ 154 h 414"/>
              <a:gd name="T86" fmla="*/ 38 w 368"/>
              <a:gd name="T87" fmla="*/ 161 h 414"/>
              <a:gd name="T88" fmla="*/ 50 w 368"/>
              <a:gd name="T89" fmla="*/ 148 h 414"/>
              <a:gd name="T90" fmla="*/ 34 w 368"/>
              <a:gd name="T91" fmla="*/ 100 h 414"/>
              <a:gd name="T92" fmla="*/ 38 w 368"/>
              <a:gd name="T93" fmla="*/ 107 h 414"/>
              <a:gd name="T94" fmla="*/ 50 w 368"/>
              <a:gd name="T95" fmla="*/ 94 h 414"/>
              <a:gd name="T96" fmla="*/ 34 w 368"/>
              <a:gd name="T97" fmla="*/ 45 h 414"/>
              <a:gd name="T98" fmla="*/ 38 w 368"/>
              <a:gd name="T99" fmla="*/ 53 h 414"/>
              <a:gd name="T100" fmla="*/ 50 w 368"/>
              <a:gd name="T101" fmla="*/ 39 h 414"/>
              <a:gd name="T102" fmla="*/ 34 w 368"/>
              <a:gd name="T103" fmla="*/ 15 h 414"/>
              <a:gd name="T104" fmla="*/ 353 w 368"/>
              <a:gd name="T105" fmla="*/ 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68" h="414">
                <a:moveTo>
                  <a:pt x="294" y="0"/>
                </a:moveTo>
                <a:cubicBezTo>
                  <a:pt x="26" y="0"/>
                  <a:pt x="26" y="0"/>
                  <a:pt x="26" y="0"/>
                </a:cubicBezTo>
                <a:cubicBezTo>
                  <a:pt x="22" y="0"/>
                  <a:pt x="19" y="3"/>
                  <a:pt x="19" y="7"/>
                </a:cubicBezTo>
                <a:cubicBezTo>
                  <a:pt x="19" y="30"/>
                  <a:pt x="19" y="30"/>
                  <a:pt x="19" y="30"/>
                </a:cubicBezTo>
                <a:cubicBezTo>
                  <a:pt x="8" y="32"/>
                  <a:pt x="0" y="39"/>
                  <a:pt x="0" y="47"/>
                </a:cubicBezTo>
                <a:cubicBezTo>
                  <a:pt x="0" y="56"/>
                  <a:pt x="8" y="63"/>
                  <a:pt x="19" y="65"/>
                </a:cubicBezTo>
                <a:cubicBezTo>
                  <a:pt x="19" y="84"/>
                  <a:pt x="19" y="84"/>
                  <a:pt x="19" y="84"/>
                </a:cubicBezTo>
                <a:cubicBezTo>
                  <a:pt x="8" y="86"/>
                  <a:pt x="0" y="93"/>
                  <a:pt x="0" y="102"/>
                </a:cubicBezTo>
                <a:cubicBezTo>
                  <a:pt x="0" y="110"/>
                  <a:pt x="8" y="117"/>
                  <a:pt x="19" y="119"/>
                </a:cubicBezTo>
                <a:cubicBezTo>
                  <a:pt x="19" y="138"/>
                  <a:pt x="19" y="138"/>
                  <a:pt x="19" y="138"/>
                </a:cubicBezTo>
                <a:cubicBezTo>
                  <a:pt x="8" y="141"/>
                  <a:pt x="0" y="147"/>
                  <a:pt x="0" y="156"/>
                </a:cubicBezTo>
                <a:cubicBezTo>
                  <a:pt x="0" y="164"/>
                  <a:pt x="8" y="171"/>
                  <a:pt x="19" y="173"/>
                </a:cubicBezTo>
                <a:cubicBezTo>
                  <a:pt x="19" y="193"/>
                  <a:pt x="19" y="193"/>
                  <a:pt x="19" y="193"/>
                </a:cubicBezTo>
                <a:cubicBezTo>
                  <a:pt x="8" y="195"/>
                  <a:pt x="0" y="201"/>
                  <a:pt x="0" y="210"/>
                </a:cubicBezTo>
                <a:cubicBezTo>
                  <a:pt x="0" y="218"/>
                  <a:pt x="8" y="225"/>
                  <a:pt x="19" y="227"/>
                </a:cubicBezTo>
                <a:cubicBezTo>
                  <a:pt x="19" y="247"/>
                  <a:pt x="19" y="247"/>
                  <a:pt x="19" y="247"/>
                </a:cubicBezTo>
                <a:cubicBezTo>
                  <a:pt x="8" y="249"/>
                  <a:pt x="0" y="256"/>
                  <a:pt x="0" y="264"/>
                </a:cubicBezTo>
                <a:cubicBezTo>
                  <a:pt x="0" y="273"/>
                  <a:pt x="8" y="279"/>
                  <a:pt x="19" y="281"/>
                </a:cubicBezTo>
                <a:cubicBezTo>
                  <a:pt x="19" y="301"/>
                  <a:pt x="19" y="301"/>
                  <a:pt x="19" y="301"/>
                </a:cubicBezTo>
                <a:cubicBezTo>
                  <a:pt x="8" y="303"/>
                  <a:pt x="0" y="310"/>
                  <a:pt x="0" y="318"/>
                </a:cubicBezTo>
                <a:cubicBezTo>
                  <a:pt x="0" y="327"/>
                  <a:pt x="8" y="334"/>
                  <a:pt x="19" y="336"/>
                </a:cubicBezTo>
                <a:cubicBezTo>
                  <a:pt x="19" y="355"/>
                  <a:pt x="19" y="355"/>
                  <a:pt x="19" y="355"/>
                </a:cubicBezTo>
                <a:cubicBezTo>
                  <a:pt x="8" y="357"/>
                  <a:pt x="0" y="364"/>
                  <a:pt x="0" y="373"/>
                </a:cubicBezTo>
                <a:cubicBezTo>
                  <a:pt x="0" y="381"/>
                  <a:pt x="8" y="388"/>
                  <a:pt x="19" y="390"/>
                </a:cubicBezTo>
                <a:cubicBezTo>
                  <a:pt x="19" y="407"/>
                  <a:pt x="19" y="407"/>
                  <a:pt x="19" y="407"/>
                </a:cubicBezTo>
                <a:cubicBezTo>
                  <a:pt x="19" y="411"/>
                  <a:pt x="22" y="414"/>
                  <a:pt x="26" y="414"/>
                </a:cubicBezTo>
                <a:cubicBezTo>
                  <a:pt x="294" y="414"/>
                  <a:pt x="294" y="414"/>
                  <a:pt x="294" y="414"/>
                </a:cubicBezTo>
                <a:cubicBezTo>
                  <a:pt x="335" y="414"/>
                  <a:pt x="368" y="381"/>
                  <a:pt x="368" y="340"/>
                </a:cubicBezTo>
                <a:cubicBezTo>
                  <a:pt x="368" y="74"/>
                  <a:pt x="368" y="74"/>
                  <a:pt x="368" y="74"/>
                </a:cubicBezTo>
                <a:cubicBezTo>
                  <a:pt x="368" y="33"/>
                  <a:pt x="335" y="0"/>
                  <a:pt x="294" y="0"/>
                </a:cubicBezTo>
                <a:close/>
                <a:moveTo>
                  <a:pt x="15" y="47"/>
                </a:moveTo>
                <a:cubicBezTo>
                  <a:pt x="15" y="47"/>
                  <a:pt x="17" y="46"/>
                  <a:pt x="19" y="45"/>
                </a:cubicBezTo>
                <a:cubicBezTo>
                  <a:pt x="19" y="50"/>
                  <a:pt x="19" y="50"/>
                  <a:pt x="19" y="50"/>
                </a:cubicBezTo>
                <a:cubicBezTo>
                  <a:pt x="17" y="49"/>
                  <a:pt x="15" y="48"/>
                  <a:pt x="15" y="47"/>
                </a:cubicBezTo>
                <a:close/>
                <a:moveTo>
                  <a:pt x="15" y="102"/>
                </a:moveTo>
                <a:cubicBezTo>
                  <a:pt x="15" y="101"/>
                  <a:pt x="17" y="100"/>
                  <a:pt x="19" y="99"/>
                </a:cubicBezTo>
                <a:cubicBezTo>
                  <a:pt x="19" y="104"/>
                  <a:pt x="19" y="104"/>
                  <a:pt x="19" y="104"/>
                </a:cubicBezTo>
                <a:cubicBezTo>
                  <a:pt x="17" y="103"/>
                  <a:pt x="15" y="102"/>
                  <a:pt x="15" y="102"/>
                </a:cubicBezTo>
                <a:close/>
                <a:moveTo>
                  <a:pt x="15" y="156"/>
                </a:moveTo>
                <a:cubicBezTo>
                  <a:pt x="15" y="155"/>
                  <a:pt x="17" y="154"/>
                  <a:pt x="19" y="154"/>
                </a:cubicBezTo>
                <a:cubicBezTo>
                  <a:pt x="19" y="158"/>
                  <a:pt x="19" y="158"/>
                  <a:pt x="19" y="158"/>
                </a:cubicBezTo>
                <a:cubicBezTo>
                  <a:pt x="17" y="157"/>
                  <a:pt x="15" y="156"/>
                  <a:pt x="15" y="156"/>
                </a:cubicBezTo>
                <a:close/>
                <a:moveTo>
                  <a:pt x="15" y="210"/>
                </a:moveTo>
                <a:cubicBezTo>
                  <a:pt x="15" y="209"/>
                  <a:pt x="17" y="209"/>
                  <a:pt x="19" y="208"/>
                </a:cubicBezTo>
                <a:cubicBezTo>
                  <a:pt x="19" y="212"/>
                  <a:pt x="19" y="212"/>
                  <a:pt x="19" y="212"/>
                </a:cubicBezTo>
                <a:cubicBezTo>
                  <a:pt x="17" y="211"/>
                  <a:pt x="15" y="211"/>
                  <a:pt x="15" y="210"/>
                </a:cubicBezTo>
                <a:close/>
                <a:moveTo>
                  <a:pt x="15" y="264"/>
                </a:moveTo>
                <a:cubicBezTo>
                  <a:pt x="15" y="264"/>
                  <a:pt x="17" y="263"/>
                  <a:pt x="19" y="262"/>
                </a:cubicBezTo>
                <a:cubicBezTo>
                  <a:pt x="19" y="266"/>
                  <a:pt x="19" y="266"/>
                  <a:pt x="19" y="266"/>
                </a:cubicBezTo>
                <a:cubicBezTo>
                  <a:pt x="17" y="266"/>
                  <a:pt x="15" y="265"/>
                  <a:pt x="15" y="264"/>
                </a:cubicBezTo>
                <a:close/>
                <a:moveTo>
                  <a:pt x="15" y="318"/>
                </a:moveTo>
                <a:cubicBezTo>
                  <a:pt x="15" y="318"/>
                  <a:pt x="17" y="317"/>
                  <a:pt x="19" y="316"/>
                </a:cubicBezTo>
                <a:cubicBezTo>
                  <a:pt x="19" y="321"/>
                  <a:pt x="19" y="321"/>
                  <a:pt x="19" y="321"/>
                </a:cubicBezTo>
                <a:cubicBezTo>
                  <a:pt x="17" y="320"/>
                  <a:pt x="15" y="319"/>
                  <a:pt x="15" y="318"/>
                </a:cubicBezTo>
                <a:close/>
                <a:moveTo>
                  <a:pt x="15" y="373"/>
                </a:moveTo>
                <a:cubicBezTo>
                  <a:pt x="15" y="372"/>
                  <a:pt x="17" y="371"/>
                  <a:pt x="19" y="370"/>
                </a:cubicBezTo>
                <a:cubicBezTo>
                  <a:pt x="19" y="375"/>
                  <a:pt x="19" y="375"/>
                  <a:pt x="19" y="375"/>
                </a:cubicBezTo>
                <a:cubicBezTo>
                  <a:pt x="17" y="374"/>
                  <a:pt x="15" y="373"/>
                  <a:pt x="15" y="373"/>
                </a:cubicBezTo>
                <a:close/>
                <a:moveTo>
                  <a:pt x="353" y="340"/>
                </a:moveTo>
                <a:cubicBezTo>
                  <a:pt x="353" y="373"/>
                  <a:pt x="326" y="400"/>
                  <a:pt x="294" y="400"/>
                </a:cubicBezTo>
                <a:cubicBezTo>
                  <a:pt x="34" y="400"/>
                  <a:pt x="34" y="400"/>
                  <a:pt x="34" y="400"/>
                </a:cubicBezTo>
                <a:cubicBezTo>
                  <a:pt x="34" y="370"/>
                  <a:pt x="34" y="370"/>
                  <a:pt x="34" y="370"/>
                </a:cubicBezTo>
                <a:cubicBezTo>
                  <a:pt x="36" y="371"/>
                  <a:pt x="37" y="372"/>
                  <a:pt x="38" y="373"/>
                </a:cubicBezTo>
                <a:cubicBezTo>
                  <a:pt x="38" y="374"/>
                  <a:pt x="39" y="375"/>
                  <a:pt x="38" y="378"/>
                </a:cubicBezTo>
                <a:cubicBezTo>
                  <a:pt x="52" y="382"/>
                  <a:pt x="52" y="382"/>
                  <a:pt x="52" y="382"/>
                </a:cubicBezTo>
                <a:cubicBezTo>
                  <a:pt x="55" y="374"/>
                  <a:pt x="52" y="368"/>
                  <a:pt x="50" y="364"/>
                </a:cubicBezTo>
                <a:cubicBezTo>
                  <a:pt x="46" y="360"/>
                  <a:pt x="41" y="357"/>
                  <a:pt x="34" y="355"/>
                </a:cubicBezTo>
                <a:cubicBezTo>
                  <a:pt x="34" y="316"/>
                  <a:pt x="34" y="316"/>
                  <a:pt x="34" y="316"/>
                </a:cubicBezTo>
                <a:cubicBezTo>
                  <a:pt x="36" y="317"/>
                  <a:pt x="37" y="318"/>
                  <a:pt x="38" y="319"/>
                </a:cubicBezTo>
                <a:cubicBezTo>
                  <a:pt x="38" y="319"/>
                  <a:pt x="39" y="321"/>
                  <a:pt x="38" y="324"/>
                </a:cubicBezTo>
                <a:cubicBezTo>
                  <a:pt x="52" y="328"/>
                  <a:pt x="52" y="328"/>
                  <a:pt x="52" y="328"/>
                </a:cubicBezTo>
                <a:cubicBezTo>
                  <a:pt x="55" y="320"/>
                  <a:pt x="52" y="314"/>
                  <a:pt x="50" y="310"/>
                </a:cubicBezTo>
                <a:cubicBezTo>
                  <a:pt x="46" y="306"/>
                  <a:pt x="41" y="302"/>
                  <a:pt x="34" y="301"/>
                </a:cubicBezTo>
                <a:cubicBezTo>
                  <a:pt x="34" y="262"/>
                  <a:pt x="34" y="262"/>
                  <a:pt x="34" y="262"/>
                </a:cubicBezTo>
                <a:cubicBezTo>
                  <a:pt x="36" y="263"/>
                  <a:pt x="37" y="264"/>
                  <a:pt x="38" y="265"/>
                </a:cubicBezTo>
                <a:cubicBezTo>
                  <a:pt x="38" y="265"/>
                  <a:pt x="39" y="266"/>
                  <a:pt x="38" y="269"/>
                </a:cubicBezTo>
                <a:cubicBezTo>
                  <a:pt x="52" y="274"/>
                  <a:pt x="52" y="274"/>
                  <a:pt x="52" y="274"/>
                </a:cubicBezTo>
                <a:cubicBezTo>
                  <a:pt x="55" y="265"/>
                  <a:pt x="52" y="260"/>
                  <a:pt x="50" y="256"/>
                </a:cubicBezTo>
                <a:cubicBezTo>
                  <a:pt x="46" y="251"/>
                  <a:pt x="41" y="248"/>
                  <a:pt x="34" y="247"/>
                </a:cubicBezTo>
                <a:cubicBezTo>
                  <a:pt x="34" y="208"/>
                  <a:pt x="34" y="208"/>
                  <a:pt x="34" y="208"/>
                </a:cubicBezTo>
                <a:cubicBezTo>
                  <a:pt x="36" y="209"/>
                  <a:pt x="37" y="210"/>
                  <a:pt x="38" y="211"/>
                </a:cubicBezTo>
                <a:cubicBezTo>
                  <a:pt x="38" y="211"/>
                  <a:pt x="39" y="212"/>
                  <a:pt x="38" y="215"/>
                </a:cubicBezTo>
                <a:cubicBezTo>
                  <a:pt x="52" y="220"/>
                  <a:pt x="52" y="220"/>
                  <a:pt x="52" y="220"/>
                </a:cubicBezTo>
                <a:cubicBezTo>
                  <a:pt x="55" y="211"/>
                  <a:pt x="52" y="205"/>
                  <a:pt x="50" y="202"/>
                </a:cubicBezTo>
                <a:cubicBezTo>
                  <a:pt x="46" y="197"/>
                  <a:pt x="41" y="194"/>
                  <a:pt x="34" y="193"/>
                </a:cubicBezTo>
                <a:cubicBezTo>
                  <a:pt x="34" y="154"/>
                  <a:pt x="34" y="154"/>
                  <a:pt x="34" y="154"/>
                </a:cubicBezTo>
                <a:cubicBezTo>
                  <a:pt x="36" y="154"/>
                  <a:pt x="37" y="155"/>
                  <a:pt x="38" y="157"/>
                </a:cubicBezTo>
                <a:cubicBezTo>
                  <a:pt x="38" y="157"/>
                  <a:pt x="39" y="158"/>
                  <a:pt x="38" y="161"/>
                </a:cubicBezTo>
                <a:cubicBezTo>
                  <a:pt x="52" y="165"/>
                  <a:pt x="52" y="165"/>
                  <a:pt x="52" y="165"/>
                </a:cubicBezTo>
                <a:cubicBezTo>
                  <a:pt x="55" y="157"/>
                  <a:pt x="52" y="151"/>
                  <a:pt x="50" y="148"/>
                </a:cubicBezTo>
                <a:cubicBezTo>
                  <a:pt x="46" y="143"/>
                  <a:pt x="41" y="140"/>
                  <a:pt x="34" y="138"/>
                </a:cubicBezTo>
                <a:cubicBezTo>
                  <a:pt x="34" y="100"/>
                  <a:pt x="34" y="100"/>
                  <a:pt x="34" y="100"/>
                </a:cubicBezTo>
                <a:cubicBezTo>
                  <a:pt x="36" y="100"/>
                  <a:pt x="37" y="101"/>
                  <a:pt x="38" y="102"/>
                </a:cubicBezTo>
                <a:cubicBezTo>
                  <a:pt x="38" y="103"/>
                  <a:pt x="39" y="104"/>
                  <a:pt x="38" y="107"/>
                </a:cubicBezTo>
                <a:cubicBezTo>
                  <a:pt x="52" y="111"/>
                  <a:pt x="52" y="111"/>
                  <a:pt x="52" y="111"/>
                </a:cubicBezTo>
                <a:cubicBezTo>
                  <a:pt x="55" y="103"/>
                  <a:pt x="52" y="97"/>
                  <a:pt x="50" y="94"/>
                </a:cubicBezTo>
                <a:cubicBezTo>
                  <a:pt x="46" y="89"/>
                  <a:pt x="41" y="86"/>
                  <a:pt x="34" y="84"/>
                </a:cubicBezTo>
                <a:cubicBezTo>
                  <a:pt x="34" y="45"/>
                  <a:pt x="34" y="45"/>
                  <a:pt x="34" y="45"/>
                </a:cubicBezTo>
                <a:cubicBezTo>
                  <a:pt x="36" y="46"/>
                  <a:pt x="37" y="47"/>
                  <a:pt x="38" y="48"/>
                </a:cubicBezTo>
                <a:cubicBezTo>
                  <a:pt x="38" y="49"/>
                  <a:pt x="39" y="50"/>
                  <a:pt x="38" y="53"/>
                </a:cubicBezTo>
                <a:cubicBezTo>
                  <a:pt x="52" y="57"/>
                  <a:pt x="52" y="57"/>
                  <a:pt x="52" y="57"/>
                </a:cubicBezTo>
                <a:cubicBezTo>
                  <a:pt x="55" y="49"/>
                  <a:pt x="52" y="43"/>
                  <a:pt x="50" y="39"/>
                </a:cubicBezTo>
                <a:cubicBezTo>
                  <a:pt x="46" y="35"/>
                  <a:pt x="41" y="31"/>
                  <a:pt x="34" y="30"/>
                </a:cubicBezTo>
                <a:cubicBezTo>
                  <a:pt x="34" y="15"/>
                  <a:pt x="34" y="15"/>
                  <a:pt x="34" y="15"/>
                </a:cubicBezTo>
                <a:cubicBezTo>
                  <a:pt x="294" y="15"/>
                  <a:pt x="294" y="15"/>
                  <a:pt x="294" y="15"/>
                </a:cubicBezTo>
                <a:cubicBezTo>
                  <a:pt x="326" y="15"/>
                  <a:pt x="353" y="41"/>
                  <a:pt x="353" y="74"/>
                </a:cubicBezTo>
                <a:lnTo>
                  <a:pt x="353" y="340"/>
                </a:lnTo>
                <a:close/>
              </a:path>
            </a:pathLst>
          </a:custGeom>
          <a:solidFill>
            <a:srgbClr val="FFFFFF"/>
          </a:solidFill>
          <a:ln>
            <a:noFill/>
          </a:ln>
        </p:spPr>
        <p:txBody>
          <a:bodyPr vert="horz" wrap="square" lIns="68571" tIns="34286" rIns="68571" bIns="34286" numCol="1" anchor="t" anchorCtr="0" compatLnSpc="1">
            <a:prstTxWarp prst="textNoShape">
              <a:avLst/>
            </a:prstTxWarp>
          </a:bodyPr>
          <a:lstStyle/>
          <a:p>
            <a:endParaRPr lang="en-US">
              <a:latin typeface="+mj-lt"/>
            </a:endParaRPr>
          </a:p>
        </p:txBody>
      </p:sp>
      <p:pic>
        <p:nvPicPr>
          <p:cNvPr id="55" name="Picture 4" descr="Microsoft WebMatrix"/>
          <p:cNvPicPr>
            <a:picLocks noChangeAspect="1" noChangeArrowheads="1"/>
          </p:cNvPicPr>
          <p:nvPr/>
        </p:nvPicPr>
        <p:blipFill>
          <a:blip r:embed="rId4">
            <a:extLst>
              <a:ext uri="{BEBA8EAE-BF5A-486C-A8C5-ECC9F3942E4B}">
                <a14:imgProps xmlns:a14="http://schemas.microsoft.com/office/drawing/2010/main">
                  <a14:imgLayer r:embed="rId5">
                    <a14:imgEffect>
                      <a14:artisticPhotocopy/>
                    </a14:imgEffect>
                  </a14:imgLayer>
                </a14:imgProps>
              </a:ext>
              <a:ext uri="{28A0092B-C50C-407E-A947-70E740481C1C}">
                <a14:useLocalDpi xmlns:a14="http://schemas.microsoft.com/office/drawing/2010/main" val="0"/>
              </a:ext>
            </a:extLst>
          </a:blip>
          <a:srcRect/>
          <a:stretch>
            <a:fillRect/>
          </a:stretch>
        </p:blipFill>
        <p:spPr bwMode="auto">
          <a:xfrm>
            <a:off x="2694597" y="1143000"/>
            <a:ext cx="676940" cy="676764"/>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55" descr="http://chuangyiji.com/wp-content/uploads/2011/08/logo.png"/>
          <p:cNvPicPr>
            <a:picLocks noChangeAspect="1" noChangeArrowheads="1"/>
          </p:cNvPicPr>
          <p:nvPr/>
        </p:nvPicPr>
        <p:blipFill rotWithShape="1">
          <a:blip r:embed="rId6">
            <a:extLst>
              <a:ext uri="{BEBA8EAE-BF5A-486C-A8C5-ECC9F3942E4B}">
                <a14:imgProps xmlns:a14="http://schemas.microsoft.com/office/drawing/2010/main">
                  <a14:imgLayer r:embed="rId7">
                    <a14:imgEffect>
                      <a14:artisticPencilGrayscale/>
                    </a14:imgEffect>
                  </a14:imgLayer>
                </a14:imgProps>
              </a:ext>
              <a:ext uri="{28A0092B-C50C-407E-A947-70E740481C1C}">
                <a14:useLocalDpi xmlns:a14="http://schemas.microsoft.com/office/drawing/2010/main" val="0"/>
              </a:ext>
            </a:extLst>
          </a:blip>
          <a:srcRect l="46063" t="36565" r="40697" b="12024"/>
          <a:stretch/>
        </p:blipFill>
        <p:spPr bwMode="auto">
          <a:xfrm>
            <a:off x="1458092" y="2214432"/>
            <a:ext cx="598482" cy="614026"/>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57" descr="http://blog.nimbo.com/wp-content/uploads/2011/06/windows-azure-logo-nimbo.png"/>
          <p:cNvPicPr>
            <a:picLocks noChangeAspect="1" noChangeArrowheads="1"/>
          </p:cNvPicPr>
          <p:nvPr/>
        </p:nvPicPr>
        <p:blipFill>
          <a:blip r:embed="rId8" cstate="print">
            <a:duotone>
              <a:schemeClr val="bg2">
                <a:shade val="45000"/>
                <a:satMod val="135000"/>
              </a:schemeClr>
              <a:prstClr val="white"/>
            </a:duotone>
            <a:extLst>
              <a:ext uri="{BEBA8EAE-BF5A-486C-A8C5-ECC9F3942E4B}">
                <a14:imgProps xmlns:a14="http://schemas.microsoft.com/office/drawing/2010/main">
                  <a14:imgLayer r:embed="rId9">
                    <a14:imgEffect>
                      <a14:artisticCrisscrossEtching/>
                    </a14:imgEffect>
                  </a14:imgLayer>
                </a14:imgProps>
              </a:ext>
              <a:ext uri="{28A0092B-C50C-407E-A947-70E740481C1C}">
                <a14:useLocalDpi xmlns:a14="http://schemas.microsoft.com/office/drawing/2010/main" val="0"/>
              </a:ext>
            </a:extLst>
          </a:blip>
          <a:srcRect/>
          <a:stretch>
            <a:fillRect/>
          </a:stretch>
        </p:blipFill>
        <p:spPr bwMode="auto">
          <a:xfrm rot="457425">
            <a:off x="2828856" y="2312543"/>
            <a:ext cx="661741" cy="661569"/>
          </a:xfrm>
          <a:prstGeom prst="rect">
            <a:avLst/>
          </a:prstGeom>
          <a:noFill/>
          <a:extLst>
            <a:ext uri="{909E8E84-426E-40DD-AFC4-6F175D3DCCD1}">
              <a14:hiddenFill xmlns:a14="http://schemas.microsoft.com/office/drawing/2010/main">
                <a:solidFill>
                  <a:srgbClr val="FFFFFF"/>
                </a:solidFill>
              </a14:hiddenFill>
            </a:ext>
          </a:extLst>
        </p:spPr>
      </p:pic>
      <p:sp>
        <p:nvSpPr>
          <p:cNvPr id="59" name="TextBox 58"/>
          <p:cNvSpPr txBox="1"/>
          <p:nvPr/>
        </p:nvSpPr>
        <p:spPr>
          <a:xfrm>
            <a:off x="4000351" y="342902"/>
            <a:ext cx="4793510" cy="3976491"/>
          </a:xfrm>
          <a:prstGeom prst="rect">
            <a:avLst/>
          </a:prstGeom>
          <a:noFill/>
        </p:spPr>
        <p:txBody>
          <a:bodyPr wrap="none" lIns="68571" tIns="68571" rIns="68571" bIns="68571" rtlCol="0">
            <a:spAutoFit/>
          </a:bodyPr>
          <a:lstStyle/>
          <a:p>
            <a:pPr>
              <a:lnSpc>
                <a:spcPct val="90000"/>
              </a:lnSpc>
              <a:spcBef>
                <a:spcPct val="20000"/>
              </a:spcBef>
              <a:buSzPct val="90000"/>
            </a:pPr>
            <a:endParaRPr lang="en-US" sz="2900" dirty="0">
              <a:solidFill>
                <a:schemeClr val="tx1">
                  <a:alpha val="99000"/>
                </a:schemeClr>
              </a:solidFill>
              <a:latin typeface="+mj-lt"/>
            </a:endParaRPr>
          </a:p>
          <a:p>
            <a:pPr>
              <a:lnSpc>
                <a:spcPct val="90000"/>
              </a:lnSpc>
              <a:spcBef>
                <a:spcPct val="20000"/>
              </a:spcBef>
              <a:buSzPct val="90000"/>
            </a:pPr>
            <a:r>
              <a:rPr lang="en-US" sz="2900" dirty="0">
                <a:solidFill>
                  <a:schemeClr val="tx1">
                    <a:alpha val="99000"/>
                  </a:schemeClr>
                </a:solidFill>
                <a:latin typeface="+mj-lt"/>
              </a:rPr>
              <a:t>Vishal R. Joshi</a:t>
            </a:r>
          </a:p>
          <a:p>
            <a:pPr>
              <a:lnSpc>
                <a:spcPct val="90000"/>
              </a:lnSpc>
              <a:spcBef>
                <a:spcPct val="20000"/>
              </a:spcBef>
              <a:buSzPct val="90000"/>
            </a:pPr>
            <a:r>
              <a:rPr lang="en-US" sz="2900" dirty="0">
                <a:solidFill>
                  <a:schemeClr val="tx1">
                    <a:alpha val="99000"/>
                  </a:schemeClr>
                </a:solidFill>
                <a:latin typeface="+mj-lt"/>
              </a:rPr>
              <a:t>Principal PM Lead, Microsoft</a:t>
            </a:r>
          </a:p>
          <a:p>
            <a:pPr>
              <a:lnSpc>
                <a:spcPct val="90000"/>
              </a:lnSpc>
              <a:spcBef>
                <a:spcPct val="20000"/>
              </a:spcBef>
              <a:buSzPct val="90000"/>
            </a:pPr>
            <a:endParaRPr lang="en-US" sz="2900" dirty="0">
              <a:solidFill>
                <a:schemeClr val="tx1">
                  <a:alpha val="99000"/>
                </a:schemeClr>
              </a:solidFill>
              <a:latin typeface="+mj-lt"/>
            </a:endParaRPr>
          </a:p>
          <a:p>
            <a:pPr>
              <a:lnSpc>
                <a:spcPct val="90000"/>
              </a:lnSpc>
              <a:spcBef>
                <a:spcPct val="20000"/>
              </a:spcBef>
              <a:buSzPct val="90000"/>
            </a:pPr>
            <a:r>
              <a:rPr lang="en-US" sz="2900" dirty="0">
                <a:solidFill>
                  <a:schemeClr val="tx1">
                    <a:alpha val="99000"/>
                  </a:schemeClr>
                </a:solidFill>
                <a:latin typeface="+mj-lt"/>
                <a:hlinkClick r:id="rId10"/>
              </a:rPr>
              <a:t>http://vishalrjoshi.com</a:t>
            </a:r>
            <a:endParaRPr lang="en-US" sz="2900" dirty="0">
              <a:solidFill>
                <a:schemeClr val="tx1">
                  <a:alpha val="99000"/>
                </a:schemeClr>
              </a:solidFill>
              <a:latin typeface="+mj-lt"/>
            </a:endParaRPr>
          </a:p>
          <a:p>
            <a:pPr>
              <a:lnSpc>
                <a:spcPct val="90000"/>
              </a:lnSpc>
              <a:spcBef>
                <a:spcPct val="20000"/>
              </a:spcBef>
              <a:buSzPct val="90000"/>
            </a:pPr>
            <a:r>
              <a:rPr lang="en-US" sz="2900" dirty="0">
                <a:solidFill>
                  <a:schemeClr val="tx1">
                    <a:alpha val="99000"/>
                  </a:schemeClr>
                </a:solidFill>
                <a:latin typeface="+mj-lt"/>
                <a:hlinkClick r:id="rId11"/>
              </a:rPr>
              <a:t>@vishalrjoshi</a:t>
            </a:r>
            <a:endParaRPr lang="en-US" sz="2900" dirty="0">
              <a:solidFill>
                <a:schemeClr val="tx1">
                  <a:alpha val="99000"/>
                </a:schemeClr>
              </a:solidFill>
              <a:latin typeface="+mj-lt"/>
            </a:endParaRPr>
          </a:p>
          <a:p>
            <a:pPr>
              <a:lnSpc>
                <a:spcPct val="90000"/>
              </a:lnSpc>
              <a:spcBef>
                <a:spcPct val="20000"/>
              </a:spcBef>
              <a:buSzPct val="90000"/>
            </a:pPr>
            <a:r>
              <a:rPr lang="en-US" sz="2900" dirty="0">
                <a:solidFill>
                  <a:schemeClr val="tx1">
                    <a:alpha val="99000"/>
                  </a:schemeClr>
                </a:solidFill>
                <a:latin typeface="+mj-lt"/>
                <a:hlinkClick r:id="rId12"/>
              </a:rPr>
              <a:t>vishal.joshi@microsoft.com</a:t>
            </a:r>
            <a:endParaRPr lang="en-US" sz="2900" dirty="0">
              <a:solidFill>
                <a:schemeClr val="tx1">
                  <a:alpha val="99000"/>
                </a:schemeClr>
              </a:solidFill>
              <a:latin typeface="+mj-lt"/>
            </a:endParaRPr>
          </a:p>
          <a:p>
            <a:pPr>
              <a:lnSpc>
                <a:spcPct val="90000"/>
              </a:lnSpc>
              <a:spcBef>
                <a:spcPct val="20000"/>
              </a:spcBef>
              <a:buSzPct val="90000"/>
            </a:pPr>
            <a:r>
              <a:rPr lang="en-US" sz="2900" dirty="0">
                <a:solidFill>
                  <a:schemeClr val="tx1">
                    <a:alpha val="99000"/>
                  </a:schemeClr>
                </a:solidFill>
                <a:latin typeface="+mj-lt"/>
              </a:rPr>
              <a:t>+1 425-705-2031</a:t>
            </a:r>
          </a:p>
        </p:txBody>
      </p:sp>
      <p:sp>
        <p:nvSpPr>
          <p:cNvPr id="27" name="TextBox 26"/>
          <p:cNvSpPr txBox="1"/>
          <p:nvPr/>
        </p:nvSpPr>
        <p:spPr>
          <a:xfrm>
            <a:off x="1540630" y="3718542"/>
            <a:ext cx="720844" cy="323165"/>
          </a:xfrm>
          <a:prstGeom prst="rect">
            <a:avLst/>
          </a:prstGeom>
          <a:noFill/>
        </p:spPr>
        <p:txBody>
          <a:bodyPr wrap="square" lIns="68571" tIns="68571" rIns="68571" bIns="68571" rtlCol="0">
            <a:spAutoFit/>
          </a:bodyPr>
          <a:lstStyle/>
          <a:p>
            <a:pPr>
              <a:lnSpc>
                <a:spcPct val="90000"/>
              </a:lnSpc>
              <a:spcBef>
                <a:spcPct val="20000"/>
              </a:spcBef>
              <a:buSzPct val="90000"/>
            </a:pPr>
            <a:r>
              <a:rPr lang="en-US" sz="600" dirty="0">
                <a:solidFill>
                  <a:schemeClr val="tx1">
                    <a:alpha val="99000"/>
                  </a:schemeClr>
                </a:solidFill>
                <a:latin typeface="+mj-lt"/>
                <a:cs typeface="Consolas" pitchFamily="49" charset="0"/>
              </a:rPr>
              <a:t>/*  I  Love </a:t>
            </a:r>
          </a:p>
          <a:p>
            <a:pPr>
              <a:lnSpc>
                <a:spcPct val="90000"/>
              </a:lnSpc>
              <a:spcBef>
                <a:spcPct val="20000"/>
              </a:spcBef>
              <a:buSzPct val="90000"/>
            </a:pPr>
            <a:r>
              <a:rPr lang="en-US" sz="600" dirty="0">
                <a:solidFill>
                  <a:schemeClr val="tx1">
                    <a:alpha val="99000"/>
                  </a:schemeClr>
                </a:solidFill>
                <a:latin typeface="+mj-lt"/>
                <a:cs typeface="Consolas" pitchFamily="49" charset="0"/>
              </a:rPr>
              <a:t>    Coding */</a:t>
            </a:r>
          </a:p>
        </p:txBody>
      </p:sp>
      <p:sp>
        <p:nvSpPr>
          <p:cNvPr id="26"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8"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3"/>
              </a:rPr>
              <a:t>www.rapidbbs.cn</a:t>
            </a:r>
            <a:endParaRPr lang="zh-CN" altLang="en-US" sz="1200" b="0">
              <a:latin typeface="Arial" charset="0"/>
              <a:ea typeface="ＭＳ Ｐゴシック" pitchFamily="34" charset="-128"/>
            </a:endParaRPr>
          </a:p>
        </p:txBody>
      </p:sp>
      <p:pic>
        <p:nvPicPr>
          <p:cNvPr id="30" name="Picture 2">
            <a:hlinkClick r:id="rId13"/>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14453030"/>
      </p:ext>
    </p:extLst>
  </p:cSld>
  <p:clrMapOvr>
    <a:masterClrMapping/>
  </p:clrMapOvr>
  <mc:AlternateContent xmlns:mc="http://schemas.openxmlformats.org/markup-compatibility/2006" xmlns:p14="http://schemas.microsoft.com/office/powerpoint/2010/main">
    <mc:Choice Requires="p14">
      <p:transition spd="slow" p14:dur="1500">
        <p14:pan/>
      </p:transition>
    </mc:Choice>
    <mc:Fallback xmlns="">
      <p:transition spd="slow">
        <p:fade/>
      </p:transition>
    </mc:Fallback>
  </mc:AlternateContent>
  <p:timing>
    <p:tnLst>
      <p:par>
        <p:cTn id="1" dur="indefinite" restart="never" nodeType="tmRoot"/>
      </p:par>
    </p:tnLst>
  </p:timing>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172648"/>
            <a:ext cx="8382000" cy="457049"/>
          </a:xfrm>
        </p:spPr>
        <p:txBody>
          <a:bodyPr/>
          <a:lstStyle/>
          <a:p>
            <a:r>
              <a:rPr lang="en-US" dirty="0" smtClean="0"/>
              <a:t>Windows Azure</a:t>
            </a:r>
            <a:endParaRPr lang="en-US" dirty="0">
              <a:solidFill>
                <a:schemeClr val="accent1"/>
              </a:solidFill>
            </a:endParaRPr>
          </a:p>
        </p:txBody>
      </p:sp>
      <p:sp>
        <p:nvSpPr>
          <p:cNvPr id="3" name="Text Placeholder 2"/>
          <p:cNvSpPr>
            <a:spLocks noGrp="1"/>
          </p:cNvSpPr>
          <p:nvPr>
            <p:ph type="body" sz="quarter" idx="4294967295"/>
          </p:nvPr>
        </p:nvSpPr>
        <p:spPr>
          <a:xfrm>
            <a:off x="55974" y="2171701"/>
            <a:ext cx="2858244" cy="1938992"/>
          </a:xfrm>
        </p:spPr>
        <p:txBody>
          <a:bodyPr/>
          <a:lstStyle/>
          <a:p>
            <a:pPr lvl="1"/>
            <a:r>
              <a:rPr lang="en-US" dirty="0" smtClean="0">
                <a:solidFill>
                  <a:schemeClr val="tx1">
                    <a:lumMod val="95000"/>
                  </a:schemeClr>
                </a:solidFill>
              </a:rPr>
              <a:t>Modern Scalable Web Sites</a:t>
            </a:r>
          </a:p>
          <a:p>
            <a:pPr lvl="1"/>
            <a:r>
              <a:rPr lang="en-US" dirty="0" smtClean="0">
                <a:solidFill>
                  <a:schemeClr val="tx1">
                    <a:lumMod val="95000"/>
                  </a:schemeClr>
                </a:solidFill>
              </a:rPr>
              <a:t>WebMatrix, VS, Command Line</a:t>
            </a:r>
          </a:p>
          <a:p>
            <a:pPr lvl="1"/>
            <a:r>
              <a:rPr lang="en-US" dirty="0" smtClean="0">
                <a:solidFill>
                  <a:schemeClr val="tx1">
                    <a:lumMod val="95000"/>
                  </a:schemeClr>
                </a:solidFill>
              </a:rPr>
              <a:t>CI via </a:t>
            </a:r>
            <a:r>
              <a:rPr lang="en-US" dirty="0" err="1" smtClean="0">
                <a:solidFill>
                  <a:schemeClr val="tx1">
                    <a:lumMod val="95000"/>
                  </a:schemeClr>
                </a:solidFill>
              </a:rPr>
              <a:t>Git</a:t>
            </a:r>
            <a:r>
              <a:rPr lang="en-US" dirty="0" smtClean="0">
                <a:solidFill>
                  <a:schemeClr val="tx1">
                    <a:lumMod val="95000"/>
                  </a:schemeClr>
                </a:solidFill>
              </a:rPr>
              <a:t>, TFS</a:t>
            </a:r>
          </a:p>
          <a:p>
            <a:pPr lvl="1"/>
            <a:r>
              <a:rPr lang="en-US" dirty="0" smtClean="0">
                <a:solidFill>
                  <a:schemeClr val="tx1">
                    <a:lumMod val="95000"/>
                  </a:schemeClr>
                </a:solidFill>
              </a:rPr>
              <a:t>OSS App Gallery</a:t>
            </a:r>
          </a:p>
        </p:txBody>
      </p:sp>
      <p:pic>
        <p:nvPicPr>
          <p:cNvPr id="6" name="Picture 2" descr="C:\Users\Jordan\Desktop\TechEd_2012\TechEd-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6962" y="4619593"/>
            <a:ext cx="698151" cy="322326"/>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p:cNvGrpSpPr/>
          <p:nvPr/>
        </p:nvGrpSpPr>
        <p:grpSpPr>
          <a:xfrm>
            <a:off x="799117" y="1257300"/>
            <a:ext cx="1310446" cy="800100"/>
            <a:chOff x="6786006" y="2667000"/>
            <a:chExt cx="1746806" cy="1066800"/>
          </a:xfrm>
        </p:grpSpPr>
        <p:sp>
          <p:nvSpPr>
            <p:cNvPr id="5" name="Freeform 77"/>
            <p:cNvSpPr>
              <a:spLocks noEditPoints="1"/>
            </p:cNvSpPr>
            <p:nvPr/>
          </p:nvSpPr>
          <p:spPr bwMode="auto">
            <a:xfrm>
              <a:off x="6786006" y="2667000"/>
              <a:ext cx="1746806" cy="1066800"/>
            </a:xfrm>
            <a:custGeom>
              <a:avLst/>
              <a:gdLst>
                <a:gd name="T0" fmla="*/ 340 w 413"/>
                <a:gd name="T1" fmla="*/ 283 h 283"/>
                <a:gd name="T2" fmla="*/ 73 w 413"/>
                <a:gd name="T3" fmla="*/ 283 h 283"/>
                <a:gd name="T4" fmla="*/ 72 w 413"/>
                <a:gd name="T5" fmla="*/ 283 h 283"/>
                <a:gd name="T6" fmla="*/ 0 w 413"/>
                <a:gd name="T7" fmla="*/ 209 h 283"/>
                <a:gd name="T8" fmla="*/ 70 w 413"/>
                <a:gd name="T9" fmla="*/ 135 h 283"/>
                <a:gd name="T10" fmla="*/ 66 w 413"/>
                <a:gd name="T11" fmla="*/ 107 h 283"/>
                <a:gd name="T12" fmla="*/ 173 w 413"/>
                <a:gd name="T13" fmla="*/ 0 h 283"/>
                <a:gd name="T14" fmla="*/ 273 w 413"/>
                <a:gd name="T15" fmla="*/ 69 h 283"/>
                <a:gd name="T16" fmla="*/ 273 w 413"/>
                <a:gd name="T17" fmla="*/ 69 h 283"/>
                <a:gd name="T18" fmla="*/ 346 w 413"/>
                <a:gd name="T19" fmla="*/ 135 h 283"/>
                <a:gd name="T20" fmla="*/ 413 w 413"/>
                <a:gd name="T21" fmla="*/ 209 h 283"/>
                <a:gd name="T22" fmla="*/ 341 w 413"/>
                <a:gd name="T23" fmla="*/ 283 h 283"/>
                <a:gd name="T24" fmla="*/ 340 w 413"/>
                <a:gd name="T25" fmla="*/ 283 h 283"/>
                <a:gd name="T26" fmla="*/ 73 w 413"/>
                <a:gd name="T27" fmla="*/ 268 h 283"/>
                <a:gd name="T28" fmla="*/ 339 w 413"/>
                <a:gd name="T29" fmla="*/ 268 h 283"/>
                <a:gd name="T30" fmla="*/ 340 w 413"/>
                <a:gd name="T31" fmla="*/ 268 h 283"/>
                <a:gd name="T32" fmla="*/ 398 w 413"/>
                <a:gd name="T33" fmla="*/ 209 h 283"/>
                <a:gd name="T34" fmla="*/ 339 w 413"/>
                <a:gd name="T35" fmla="*/ 150 h 283"/>
                <a:gd name="T36" fmla="*/ 332 w 413"/>
                <a:gd name="T37" fmla="*/ 142 h 283"/>
                <a:gd name="T38" fmla="*/ 273 w 413"/>
                <a:gd name="T39" fmla="*/ 83 h 283"/>
                <a:gd name="T40" fmla="*/ 268 w 413"/>
                <a:gd name="T41" fmla="*/ 84 h 283"/>
                <a:gd name="T42" fmla="*/ 261 w 413"/>
                <a:gd name="T43" fmla="*/ 79 h 283"/>
                <a:gd name="T44" fmla="*/ 173 w 413"/>
                <a:gd name="T45" fmla="*/ 15 h 283"/>
                <a:gd name="T46" fmla="*/ 81 w 413"/>
                <a:gd name="T47" fmla="*/ 107 h 283"/>
                <a:gd name="T48" fmla="*/ 87 w 413"/>
                <a:gd name="T49" fmla="*/ 140 h 283"/>
                <a:gd name="T50" fmla="*/ 86 w 413"/>
                <a:gd name="T51" fmla="*/ 147 h 283"/>
                <a:gd name="T52" fmla="*/ 79 w 413"/>
                <a:gd name="T53" fmla="*/ 150 h 283"/>
                <a:gd name="T54" fmla="*/ 73 w 413"/>
                <a:gd name="T55" fmla="*/ 150 h 283"/>
                <a:gd name="T56" fmla="*/ 14 w 413"/>
                <a:gd name="T57" fmla="*/ 209 h 283"/>
                <a:gd name="T58" fmla="*/ 73 w 413"/>
                <a:gd name="T59" fmla="*/ 268 h 283"/>
                <a:gd name="T60" fmla="*/ 73 w 413"/>
                <a:gd name="T61" fmla="*/ 268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3" h="283">
                  <a:moveTo>
                    <a:pt x="340" y="283"/>
                  </a:moveTo>
                  <a:cubicBezTo>
                    <a:pt x="73" y="283"/>
                    <a:pt x="73" y="283"/>
                    <a:pt x="73" y="283"/>
                  </a:cubicBezTo>
                  <a:cubicBezTo>
                    <a:pt x="73" y="283"/>
                    <a:pt x="72" y="283"/>
                    <a:pt x="72" y="283"/>
                  </a:cubicBezTo>
                  <a:cubicBezTo>
                    <a:pt x="32" y="282"/>
                    <a:pt x="0" y="249"/>
                    <a:pt x="0" y="209"/>
                  </a:cubicBezTo>
                  <a:cubicBezTo>
                    <a:pt x="0" y="169"/>
                    <a:pt x="31" y="137"/>
                    <a:pt x="70" y="135"/>
                  </a:cubicBezTo>
                  <a:cubicBezTo>
                    <a:pt x="67" y="126"/>
                    <a:pt x="66" y="117"/>
                    <a:pt x="66" y="107"/>
                  </a:cubicBezTo>
                  <a:cubicBezTo>
                    <a:pt x="66" y="48"/>
                    <a:pt x="114" y="0"/>
                    <a:pt x="173" y="0"/>
                  </a:cubicBezTo>
                  <a:cubicBezTo>
                    <a:pt x="217" y="0"/>
                    <a:pt x="257" y="27"/>
                    <a:pt x="273" y="69"/>
                  </a:cubicBezTo>
                  <a:cubicBezTo>
                    <a:pt x="273" y="69"/>
                    <a:pt x="273" y="69"/>
                    <a:pt x="273" y="69"/>
                  </a:cubicBezTo>
                  <a:cubicBezTo>
                    <a:pt x="311" y="69"/>
                    <a:pt x="343" y="98"/>
                    <a:pt x="346" y="135"/>
                  </a:cubicBezTo>
                  <a:cubicBezTo>
                    <a:pt x="384" y="139"/>
                    <a:pt x="413" y="171"/>
                    <a:pt x="413" y="209"/>
                  </a:cubicBezTo>
                  <a:cubicBezTo>
                    <a:pt x="413" y="249"/>
                    <a:pt x="381" y="282"/>
                    <a:pt x="341" y="283"/>
                  </a:cubicBezTo>
                  <a:cubicBezTo>
                    <a:pt x="340" y="283"/>
                    <a:pt x="340" y="283"/>
                    <a:pt x="340" y="283"/>
                  </a:cubicBezTo>
                  <a:close/>
                  <a:moveTo>
                    <a:pt x="73" y="268"/>
                  </a:moveTo>
                  <a:cubicBezTo>
                    <a:pt x="339" y="268"/>
                    <a:pt x="339" y="268"/>
                    <a:pt x="339" y="268"/>
                  </a:cubicBezTo>
                  <a:cubicBezTo>
                    <a:pt x="339" y="268"/>
                    <a:pt x="340" y="268"/>
                    <a:pt x="340" y="268"/>
                  </a:cubicBezTo>
                  <a:cubicBezTo>
                    <a:pt x="372" y="268"/>
                    <a:pt x="398" y="241"/>
                    <a:pt x="398" y="209"/>
                  </a:cubicBezTo>
                  <a:cubicBezTo>
                    <a:pt x="398" y="176"/>
                    <a:pt x="372" y="150"/>
                    <a:pt x="339" y="150"/>
                  </a:cubicBezTo>
                  <a:cubicBezTo>
                    <a:pt x="335" y="150"/>
                    <a:pt x="332" y="146"/>
                    <a:pt x="332" y="142"/>
                  </a:cubicBezTo>
                  <a:cubicBezTo>
                    <a:pt x="332" y="110"/>
                    <a:pt x="305" y="83"/>
                    <a:pt x="273" y="83"/>
                  </a:cubicBezTo>
                  <a:cubicBezTo>
                    <a:pt x="271" y="83"/>
                    <a:pt x="270" y="83"/>
                    <a:pt x="268" y="84"/>
                  </a:cubicBezTo>
                  <a:cubicBezTo>
                    <a:pt x="265" y="84"/>
                    <a:pt x="262" y="82"/>
                    <a:pt x="261" y="79"/>
                  </a:cubicBezTo>
                  <a:cubicBezTo>
                    <a:pt x="248" y="40"/>
                    <a:pt x="213" y="15"/>
                    <a:pt x="173" y="15"/>
                  </a:cubicBezTo>
                  <a:cubicBezTo>
                    <a:pt x="122" y="15"/>
                    <a:pt x="81" y="56"/>
                    <a:pt x="81" y="107"/>
                  </a:cubicBezTo>
                  <a:cubicBezTo>
                    <a:pt x="81" y="118"/>
                    <a:pt x="83" y="129"/>
                    <a:pt x="87" y="140"/>
                  </a:cubicBezTo>
                  <a:cubicBezTo>
                    <a:pt x="88" y="142"/>
                    <a:pt x="87" y="145"/>
                    <a:pt x="86" y="147"/>
                  </a:cubicBezTo>
                  <a:cubicBezTo>
                    <a:pt x="84" y="149"/>
                    <a:pt x="82" y="150"/>
                    <a:pt x="79" y="150"/>
                  </a:cubicBezTo>
                  <a:cubicBezTo>
                    <a:pt x="77" y="150"/>
                    <a:pt x="75" y="150"/>
                    <a:pt x="73" y="150"/>
                  </a:cubicBezTo>
                  <a:cubicBezTo>
                    <a:pt x="41" y="150"/>
                    <a:pt x="14" y="176"/>
                    <a:pt x="14" y="209"/>
                  </a:cubicBezTo>
                  <a:cubicBezTo>
                    <a:pt x="14" y="241"/>
                    <a:pt x="41" y="268"/>
                    <a:pt x="73" y="268"/>
                  </a:cubicBezTo>
                  <a:cubicBezTo>
                    <a:pt x="73" y="268"/>
                    <a:pt x="73" y="268"/>
                    <a:pt x="73" y="26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78"/>
            <p:cNvSpPr>
              <a:spLocks noEditPoints="1"/>
            </p:cNvSpPr>
            <p:nvPr/>
          </p:nvSpPr>
          <p:spPr bwMode="auto">
            <a:xfrm>
              <a:off x="7300926" y="2971800"/>
              <a:ext cx="546086" cy="546086"/>
            </a:xfrm>
            <a:custGeom>
              <a:avLst/>
              <a:gdLst>
                <a:gd name="T0" fmla="*/ 174 w 347"/>
                <a:gd name="T1" fmla="*/ 0 h 347"/>
                <a:gd name="T2" fmla="*/ 0 w 347"/>
                <a:gd name="T3" fmla="*/ 174 h 347"/>
                <a:gd name="T4" fmla="*/ 174 w 347"/>
                <a:gd name="T5" fmla="*/ 347 h 347"/>
                <a:gd name="T6" fmla="*/ 347 w 347"/>
                <a:gd name="T7" fmla="*/ 174 h 347"/>
                <a:gd name="T8" fmla="*/ 174 w 347"/>
                <a:gd name="T9" fmla="*/ 0 h 347"/>
                <a:gd name="T10" fmla="*/ 332 w 347"/>
                <a:gd name="T11" fmla="*/ 166 h 347"/>
                <a:gd name="T12" fmla="*/ 283 w 347"/>
                <a:gd name="T13" fmla="*/ 166 h 347"/>
                <a:gd name="T14" fmla="*/ 231 w 347"/>
                <a:gd name="T15" fmla="*/ 26 h 347"/>
                <a:gd name="T16" fmla="*/ 332 w 347"/>
                <a:gd name="T17" fmla="*/ 166 h 347"/>
                <a:gd name="T18" fmla="*/ 174 w 347"/>
                <a:gd name="T19" fmla="*/ 332 h 347"/>
                <a:gd name="T20" fmla="*/ 147 w 347"/>
                <a:gd name="T21" fmla="*/ 181 h 347"/>
                <a:gd name="T22" fmla="*/ 200 w 347"/>
                <a:gd name="T23" fmla="*/ 181 h 347"/>
                <a:gd name="T24" fmla="*/ 174 w 347"/>
                <a:gd name="T25" fmla="*/ 332 h 347"/>
                <a:gd name="T26" fmla="*/ 147 w 347"/>
                <a:gd name="T27" fmla="*/ 166 h 347"/>
                <a:gd name="T28" fmla="*/ 174 w 347"/>
                <a:gd name="T29" fmla="*/ 15 h 347"/>
                <a:gd name="T30" fmla="*/ 174 w 347"/>
                <a:gd name="T31" fmla="*/ 15 h 347"/>
                <a:gd name="T32" fmla="*/ 200 w 347"/>
                <a:gd name="T33" fmla="*/ 166 h 347"/>
                <a:gd name="T34" fmla="*/ 147 w 347"/>
                <a:gd name="T35" fmla="*/ 166 h 347"/>
                <a:gd name="T36" fmla="*/ 153 w 347"/>
                <a:gd name="T37" fmla="*/ 19 h 347"/>
                <a:gd name="T38" fmla="*/ 133 w 347"/>
                <a:gd name="T39" fmla="*/ 166 h 347"/>
                <a:gd name="T40" fmla="*/ 79 w 347"/>
                <a:gd name="T41" fmla="*/ 166 h 347"/>
                <a:gd name="T42" fmla="*/ 153 w 347"/>
                <a:gd name="T43" fmla="*/ 19 h 347"/>
                <a:gd name="T44" fmla="*/ 133 w 347"/>
                <a:gd name="T45" fmla="*/ 181 h 347"/>
                <a:gd name="T46" fmla="*/ 153 w 347"/>
                <a:gd name="T47" fmla="*/ 329 h 347"/>
                <a:gd name="T48" fmla="*/ 79 w 347"/>
                <a:gd name="T49" fmla="*/ 181 h 347"/>
                <a:gd name="T50" fmla="*/ 133 w 347"/>
                <a:gd name="T51" fmla="*/ 181 h 347"/>
                <a:gd name="T52" fmla="*/ 194 w 347"/>
                <a:gd name="T53" fmla="*/ 329 h 347"/>
                <a:gd name="T54" fmla="*/ 215 w 347"/>
                <a:gd name="T55" fmla="*/ 181 h 347"/>
                <a:gd name="T56" fmla="*/ 268 w 347"/>
                <a:gd name="T57" fmla="*/ 181 h 347"/>
                <a:gd name="T58" fmla="*/ 194 w 347"/>
                <a:gd name="T59" fmla="*/ 329 h 347"/>
                <a:gd name="T60" fmla="*/ 215 w 347"/>
                <a:gd name="T61" fmla="*/ 166 h 347"/>
                <a:gd name="T62" fmla="*/ 194 w 347"/>
                <a:gd name="T63" fmla="*/ 19 h 347"/>
                <a:gd name="T64" fmla="*/ 268 w 347"/>
                <a:gd name="T65" fmla="*/ 166 h 347"/>
                <a:gd name="T66" fmla="*/ 215 w 347"/>
                <a:gd name="T67" fmla="*/ 166 h 347"/>
                <a:gd name="T68" fmla="*/ 117 w 347"/>
                <a:gd name="T69" fmla="*/ 26 h 347"/>
                <a:gd name="T70" fmla="*/ 64 w 347"/>
                <a:gd name="T71" fmla="*/ 166 h 347"/>
                <a:gd name="T72" fmla="*/ 15 w 347"/>
                <a:gd name="T73" fmla="*/ 166 h 347"/>
                <a:gd name="T74" fmla="*/ 117 w 347"/>
                <a:gd name="T75" fmla="*/ 26 h 347"/>
                <a:gd name="T76" fmla="*/ 15 w 347"/>
                <a:gd name="T77" fmla="*/ 181 h 347"/>
                <a:gd name="T78" fmla="*/ 64 w 347"/>
                <a:gd name="T79" fmla="*/ 181 h 347"/>
                <a:gd name="T80" fmla="*/ 117 w 347"/>
                <a:gd name="T81" fmla="*/ 322 h 347"/>
                <a:gd name="T82" fmla="*/ 15 w 347"/>
                <a:gd name="T83" fmla="*/ 181 h 347"/>
                <a:gd name="T84" fmla="*/ 231 w 347"/>
                <a:gd name="T85" fmla="*/ 322 h 347"/>
                <a:gd name="T86" fmla="*/ 283 w 347"/>
                <a:gd name="T87" fmla="*/ 181 h 347"/>
                <a:gd name="T88" fmla="*/ 332 w 347"/>
                <a:gd name="T89" fmla="*/ 181 h 347"/>
                <a:gd name="T90" fmla="*/ 231 w 347"/>
                <a:gd name="T91" fmla="*/ 322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7" h="347">
                  <a:moveTo>
                    <a:pt x="174" y="0"/>
                  </a:moveTo>
                  <a:cubicBezTo>
                    <a:pt x="78" y="0"/>
                    <a:pt x="0" y="78"/>
                    <a:pt x="0" y="174"/>
                  </a:cubicBezTo>
                  <a:cubicBezTo>
                    <a:pt x="0" y="269"/>
                    <a:pt x="78" y="347"/>
                    <a:pt x="174" y="347"/>
                  </a:cubicBezTo>
                  <a:cubicBezTo>
                    <a:pt x="269" y="347"/>
                    <a:pt x="347" y="269"/>
                    <a:pt x="347" y="174"/>
                  </a:cubicBezTo>
                  <a:cubicBezTo>
                    <a:pt x="347" y="78"/>
                    <a:pt x="269" y="0"/>
                    <a:pt x="174" y="0"/>
                  </a:cubicBezTo>
                  <a:close/>
                  <a:moveTo>
                    <a:pt x="332" y="166"/>
                  </a:moveTo>
                  <a:cubicBezTo>
                    <a:pt x="283" y="166"/>
                    <a:pt x="283" y="166"/>
                    <a:pt x="283" y="166"/>
                  </a:cubicBezTo>
                  <a:cubicBezTo>
                    <a:pt x="281" y="107"/>
                    <a:pt x="261" y="55"/>
                    <a:pt x="231" y="26"/>
                  </a:cubicBezTo>
                  <a:cubicBezTo>
                    <a:pt x="288" y="48"/>
                    <a:pt x="329" y="102"/>
                    <a:pt x="332" y="166"/>
                  </a:cubicBezTo>
                  <a:close/>
                  <a:moveTo>
                    <a:pt x="174" y="332"/>
                  </a:moveTo>
                  <a:cubicBezTo>
                    <a:pt x="165" y="330"/>
                    <a:pt x="148" y="277"/>
                    <a:pt x="147" y="181"/>
                  </a:cubicBezTo>
                  <a:cubicBezTo>
                    <a:pt x="200" y="181"/>
                    <a:pt x="200" y="181"/>
                    <a:pt x="200" y="181"/>
                  </a:cubicBezTo>
                  <a:cubicBezTo>
                    <a:pt x="199" y="277"/>
                    <a:pt x="183" y="330"/>
                    <a:pt x="174" y="332"/>
                  </a:cubicBezTo>
                  <a:close/>
                  <a:moveTo>
                    <a:pt x="147" y="166"/>
                  </a:moveTo>
                  <a:cubicBezTo>
                    <a:pt x="148" y="70"/>
                    <a:pt x="165" y="17"/>
                    <a:pt x="174" y="15"/>
                  </a:cubicBezTo>
                  <a:cubicBezTo>
                    <a:pt x="174" y="15"/>
                    <a:pt x="174" y="15"/>
                    <a:pt x="174" y="15"/>
                  </a:cubicBezTo>
                  <a:cubicBezTo>
                    <a:pt x="183" y="17"/>
                    <a:pt x="199" y="70"/>
                    <a:pt x="200" y="166"/>
                  </a:cubicBezTo>
                  <a:lnTo>
                    <a:pt x="147" y="166"/>
                  </a:lnTo>
                  <a:close/>
                  <a:moveTo>
                    <a:pt x="153" y="19"/>
                  </a:moveTo>
                  <a:cubicBezTo>
                    <a:pt x="138" y="51"/>
                    <a:pt x="133" y="118"/>
                    <a:pt x="133" y="166"/>
                  </a:cubicBezTo>
                  <a:cubicBezTo>
                    <a:pt x="79" y="166"/>
                    <a:pt x="79" y="166"/>
                    <a:pt x="79" y="166"/>
                  </a:cubicBezTo>
                  <a:cubicBezTo>
                    <a:pt x="81" y="94"/>
                    <a:pt x="112" y="34"/>
                    <a:pt x="153" y="19"/>
                  </a:cubicBezTo>
                  <a:close/>
                  <a:moveTo>
                    <a:pt x="133" y="181"/>
                  </a:moveTo>
                  <a:cubicBezTo>
                    <a:pt x="133" y="229"/>
                    <a:pt x="138" y="296"/>
                    <a:pt x="153" y="329"/>
                  </a:cubicBezTo>
                  <a:cubicBezTo>
                    <a:pt x="112" y="313"/>
                    <a:pt x="81" y="254"/>
                    <a:pt x="79" y="181"/>
                  </a:cubicBezTo>
                  <a:lnTo>
                    <a:pt x="133" y="181"/>
                  </a:lnTo>
                  <a:close/>
                  <a:moveTo>
                    <a:pt x="194" y="329"/>
                  </a:moveTo>
                  <a:cubicBezTo>
                    <a:pt x="209" y="296"/>
                    <a:pt x="214" y="229"/>
                    <a:pt x="215" y="181"/>
                  </a:cubicBezTo>
                  <a:cubicBezTo>
                    <a:pt x="268" y="181"/>
                    <a:pt x="268" y="181"/>
                    <a:pt x="268" y="181"/>
                  </a:cubicBezTo>
                  <a:cubicBezTo>
                    <a:pt x="266" y="254"/>
                    <a:pt x="235" y="313"/>
                    <a:pt x="194" y="329"/>
                  </a:cubicBezTo>
                  <a:close/>
                  <a:moveTo>
                    <a:pt x="215" y="166"/>
                  </a:moveTo>
                  <a:cubicBezTo>
                    <a:pt x="214" y="118"/>
                    <a:pt x="209" y="51"/>
                    <a:pt x="194" y="19"/>
                  </a:cubicBezTo>
                  <a:cubicBezTo>
                    <a:pt x="235" y="34"/>
                    <a:pt x="266" y="94"/>
                    <a:pt x="268" y="166"/>
                  </a:cubicBezTo>
                  <a:lnTo>
                    <a:pt x="215" y="166"/>
                  </a:lnTo>
                  <a:close/>
                  <a:moveTo>
                    <a:pt x="117" y="26"/>
                  </a:moveTo>
                  <a:cubicBezTo>
                    <a:pt x="87" y="55"/>
                    <a:pt x="66" y="107"/>
                    <a:pt x="64" y="166"/>
                  </a:cubicBezTo>
                  <a:cubicBezTo>
                    <a:pt x="15" y="166"/>
                    <a:pt x="15" y="166"/>
                    <a:pt x="15" y="166"/>
                  </a:cubicBezTo>
                  <a:cubicBezTo>
                    <a:pt x="18" y="102"/>
                    <a:pt x="59" y="48"/>
                    <a:pt x="117" y="26"/>
                  </a:cubicBezTo>
                  <a:close/>
                  <a:moveTo>
                    <a:pt x="15" y="181"/>
                  </a:moveTo>
                  <a:cubicBezTo>
                    <a:pt x="64" y="181"/>
                    <a:pt x="64" y="181"/>
                    <a:pt x="64" y="181"/>
                  </a:cubicBezTo>
                  <a:cubicBezTo>
                    <a:pt x="66" y="241"/>
                    <a:pt x="87" y="292"/>
                    <a:pt x="117" y="322"/>
                  </a:cubicBezTo>
                  <a:cubicBezTo>
                    <a:pt x="59" y="300"/>
                    <a:pt x="18" y="245"/>
                    <a:pt x="15" y="181"/>
                  </a:cubicBezTo>
                  <a:close/>
                  <a:moveTo>
                    <a:pt x="231" y="322"/>
                  </a:moveTo>
                  <a:cubicBezTo>
                    <a:pt x="261" y="292"/>
                    <a:pt x="281" y="241"/>
                    <a:pt x="283" y="181"/>
                  </a:cubicBezTo>
                  <a:cubicBezTo>
                    <a:pt x="332" y="181"/>
                    <a:pt x="332" y="181"/>
                    <a:pt x="332" y="181"/>
                  </a:cubicBezTo>
                  <a:cubicBezTo>
                    <a:pt x="329" y="245"/>
                    <a:pt x="288" y="300"/>
                    <a:pt x="231" y="32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4" name="Group 13"/>
          <p:cNvGrpSpPr/>
          <p:nvPr/>
        </p:nvGrpSpPr>
        <p:grpSpPr>
          <a:xfrm>
            <a:off x="6915760" y="1257300"/>
            <a:ext cx="1310446" cy="800100"/>
            <a:chOff x="6938406" y="1066800"/>
            <a:chExt cx="1746806" cy="1066800"/>
          </a:xfrm>
        </p:grpSpPr>
        <p:sp>
          <p:nvSpPr>
            <p:cNvPr id="10" name="Freeform 77"/>
            <p:cNvSpPr>
              <a:spLocks noEditPoints="1"/>
            </p:cNvSpPr>
            <p:nvPr/>
          </p:nvSpPr>
          <p:spPr bwMode="auto">
            <a:xfrm>
              <a:off x="6938406" y="1066800"/>
              <a:ext cx="1746806" cy="1066800"/>
            </a:xfrm>
            <a:custGeom>
              <a:avLst/>
              <a:gdLst>
                <a:gd name="T0" fmla="*/ 340 w 413"/>
                <a:gd name="T1" fmla="*/ 283 h 283"/>
                <a:gd name="T2" fmla="*/ 73 w 413"/>
                <a:gd name="T3" fmla="*/ 283 h 283"/>
                <a:gd name="T4" fmla="*/ 72 w 413"/>
                <a:gd name="T5" fmla="*/ 283 h 283"/>
                <a:gd name="T6" fmla="*/ 0 w 413"/>
                <a:gd name="T7" fmla="*/ 209 h 283"/>
                <a:gd name="T8" fmla="*/ 70 w 413"/>
                <a:gd name="T9" fmla="*/ 135 h 283"/>
                <a:gd name="T10" fmla="*/ 66 w 413"/>
                <a:gd name="T11" fmla="*/ 107 h 283"/>
                <a:gd name="T12" fmla="*/ 173 w 413"/>
                <a:gd name="T13" fmla="*/ 0 h 283"/>
                <a:gd name="T14" fmla="*/ 273 w 413"/>
                <a:gd name="T15" fmla="*/ 69 h 283"/>
                <a:gd name="T16" fmla="*/ 273 w 413"/>
                <a:gd name="T17" fmla="*/ 69 h 283"/>
                <a:gd name="T18" fmla="*/ 346 w 413"/>
                <a:gd name="T19" fmla="*/ 135 h 283"/>
                <a:gd name="T20" fmla="*/ 413 w 413"/>
                <a:gd name="T21" fmla="*/ 209 h 283"/>
                <a:gd name="T22" fmla="*/ 341 w 413"/>
                <a:gd name="T23" fmla="*/ 283 h 283"/>
                <a:gd name="T24" fmla="*/ 340 w 413"/>
                <a:gd name="T25" fmla="*/ 283 h 283"/>
                <a:gd name="T26" fmla="*/ 73 w 413"/>
                <a:gd name="T27" fmla="*/ 268 h 283"/>
                <a:gd name="T28" fmla="*/ 339 w 413"/>
                <a:gd name="T29" fmla="*/ 268 h 283"/>
                <a:gd name="T30" fmla="*/ 340 w 413"/>
                <a:gd name="T31" fmla="*/ 268 h 283"/>
                <a:gd name="T32" fmla="*/ 398 w 413"/>
                <a:gd name="T33" fmla="*/ 209 h 283"/>
                <a:gd name="T34" fmla="*/ 339 w 413"/>
                <a:gd name="T35" fmla="*/ 150 h 283"/>
                <a:gd name="T36" fmla="*/ 332 w 413"/>
                <a:gd name="T37" fmla="*/ 142 h 283"/>
                <a:gd name="T38" fmla="*/ 273 w 413"/>
                <a:gd name="T39" fmla="*/ 83 h 283"/>
                <a:gd name="T40" fmla="*/ 268 w 413"/>
                <a:gd name="T41" fmla="*/ 84 h 283"/>
                <a:gd name="T42" fmla="*/ 261 w 413"/>
                <a:gd name="T43" fmla="*/ 79 h 283"/>
                <a:gd name="T44" fmla="*/ 173 w 413"/>
                <a:gd name="T45" fmla="*/ 15 h 283"/>
                <a:gd name="T46" fmla="*/ 81 w 413"/>
                <a:gd name="T47" fmla="*/ 107 h 283"/>
                <a:gd name="T48" fmla="*/ 87 w 413"/>
                <a:gd name="T49" fmla="*/ 140 h 283"/>
                <a:gd name="T50" fmla="*/ 86 w 413"/>
                <a:gd name="T51" fmla="*/ 147 h 283"/>
                <a:gd name="T52" fmla="*/ 79 w 413"/>
                <a:gd name="T53" fmla="*/ 150 h 283"/>
                <a:gd name="T54" fmla="*/ 73 w 413"/>
                <a:gd name="T55" fmla="*/ 150 h 283"/>
                <a:gd name="T56" fmla="*/ 14 w 413"/>
                <a:gd name="T57" fmla="*/ 209 h 283"/>
                <a:gd name="T58" fmla="*/ 73 w 413"/>
                <a:gd name="T59" fmla="*/ 268 h 283"/>
                <a:gd name="T60" fmla="*/ 73 w 413"/>
                <a:gd name="T61" fmla="*/ 268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3" h="283">
                  <a:moveTo>
                    <a:pt x="340" y="283"/>
                  </a:moveTo>
                  <a:cubicBezTo>
                    <a:pt x="73" y="283"/>
                    <a:pt x="73" y="283"/>
                    <a:pt x="73" y="283"/>
                  </a:cubicBezTo>
                  <a:cubicBezTo>
                    <a:pt x="73" y="283"/>
                    <a:pt x="72" y="283"/>
                    <a:pt x="72" y="283"/>
                  </a:cubicBezTo>
                  <a:cubicBezTo>
                    <a:pt x="32" y="282"/>
                    <a:pt x="0" y="249"/>
                    <a:pt x="0" y="209"/>
                  </a:cubicBezTo>
                  <a:cubicBezTo>
                    <a:pt x="0" y="169"/>
                    <a:pt x="31" y="137"/>
                    <a:pt x="70" y="135"/>
                  </a:cubicBezTo>
                  <a:cubicBezTo>
                    <a:pt x="67" y="126"/>
                    <a:pt x="66" y="117"/>
                    <a:pt x="66" y="107"/>
                  </a:cubicBezTo>
                  <a:cubicBezTo>
                    <a:pt x="66" y="48"/>
                    <a:pt x="114" y="0"/>
                    <a:pt x="173" y="0"/>
                  </a:cubicBezTo>
                  <a:cubicBezTo>
                    <a:pt x="217" y="0"/>
                    <a:pt x="257" y="27"/>
                    <a:pt x="273" y="69"/>
                  </a:cubicBezTo>
                  <a:cubicBezTo>
                    <a:pt x="273" y="69"/>
                    <a:pt x="273" y="69"/>
                    <a:pt x="273" y="69"/>
                  </a:cubicBezTo>
                  <a:cubicBezTo>
                    <a:pt x="311" y="69"/>
                    <a:pt x="343" y="98"/>
                    <a:pt x="346" y="135"/>
                  </a:cubicBezTo>
                  <a:cubicBezTo>
                    <a:pt x="384" y="139"/>
                    <a:pt x="413" y="171"/>
                    <a:pt x="413" y="209"/>
                  </a:cubicBezTo>
                  <a:cubicBezTo>
                    <a:pt x="413" y="249"/>
                    <a:pt x="381" y="282"/>
                    <a:pt x="341" y="283"/>
                  </a:cubicBezTo>
                  <a:cubicBezTo>
                    <a:pt x="340" y="283"/>
                    <a:pt x="340" y="283"/>
                    <a:pt x="340" y="283"/>
                  </a:cubicBezTo>
                  <a:close/>
                  <a:moveTo>
                    <a:pt x="73" y="268"/>
                  </a:moveTo>
                  <a:cubicBezTo>
                    <a:pt x="339" y="268"/>
                    <a:pt x="339" y="268"/>
                    <a:pt x="339" y="268"/>
                  </a:cubicBezTo>
                  <a:cubicBezTo>
                    <a:pt x="339" y="268"/>
                    <a:pt x="340" y="268"/>
                    <a:pt x="340" y="268"/>
                  </a:cubicBezTo>
                  <a:cubicBezTo>
                    <a:pt x="372" y="268"/>
                    <a:pt x="398" y="241"/>
                    <a:pt x="398" y="209"/>
                  </a:cubicBezTo>
                  <a:cubicBezTo>
                    <a:pt x="398" y="176"/>
                    <a:pt x="372" y="150"/>
                    <a:pt x="339" y="150"/>
                  </a:cubicBezTo>
                  <a:cubicBezTo>
                    <a:pt x="335" y="150"/>
                    <a:pt x="332" y="146"/>
                    <a:pt x="332" y="142"/>
                  </a:cubicBezTo>
                  <a:cubicBezTo>
                    <a:pt x="332" y="110"/>
                    <a:pt x="305" y="83"/>
                    <a:pt x="273" y="83"/>
                  </a:cubicBezTo>
                  <a:cubicBezTo>
                    <a:pt x="271" y="83"/>
                    <a:pt x="270" y="83"/>
                    <a:pt x="268" y="84"/>
                  </a:cubicBezTo>
                  <a:cubicBezTo>
                    <a:pt x="265" y="84"/>
                    <a:pt x="262" y="82"/>
                    <a:pt x="261" y="79"/>
                  </a:cubicBezTo>
                  <a:cubicBezTo>
                    <a:pt x="248" y="40"/>
                    <a:pt x="213" y="15"/>
                    <a:pt x="173" y="15"/>
                  </a:cubicBezTo>
                  <a:cubicBezTo>
                    <a:pt x="122" y="15"/>
                    <a:pt x="81" y="56"/>
                    <a:pt x="81" y="107"/>
                  </a:cubicBezTo>
                  <a:cubicBezTo>
                    <a:pt x="81" y="118"/>
                    <a:pt x="83" y="129"/>
                    <a:pt x="87" y="140"/>
                  </a:cubicBezTo>
                  <a:cubicBezTo>
                    <a:pt x="88" y="142"/>
                    <a:pt x="87" y="145"/>
                    <a:pt x="86" y="147"/>
                  </a:cubicBezTo>
                  <a:cubicBezTo>
                    <a:pt x="84" y="149"/>
                    <a:pt x="82" y="150"/>
                    <a:pt x="79" y="150"/>
                  </a:cubicBezTo>
                  <a:cubicBezTo>
                    <a:pt x="77" y="150"/>
                    <a:pt x="75" y="150"/>
                    <a:pt x="73" y="150"/>
                  </a:cubicBezTo>
                  <a:cubicBezTo>
                    <a:pt x="41" y="150"/>
                    <a:pt x="14" y="176"/>
                    <a:pt x="14" y="209"/>
                  </a:cubicBezTo>
                  <a:cubicBezTo>
                    <a:pt x="14" y="241"/>
                    <a:pt x="41" y="268"/>
                    <a:pt x="73" y="268"/>
                  </a:cubicBezTo>
                  <a:cubicBezTo>
                    <a:pt x="73" y="268"/>
                    <a:pt x="73" y="268"/>
                    <a:pt x="73" y="26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Freeform 72"/>
            <p:cNvSpPr>
              <a:spLocks noEditPoints="1"/>
            </p:cNvSpPr>
            <p:nvPr/>
          </p:nvSpPr>
          <p:spPr bwMode="auto">
            <a:xfrm>
              <a:off x="7370703" y="1353797"/>
              <a:ext cx="646645" cy="647978"/>
            </a:xfrm>
            <a:custGeom>
              <a:avLst/>
              <a:gdLst>
                <a:gd name="T0" fmla="*/ 337 w 411"/>
                <a:gd name="T1" fmla="*/ 198 h 412"/>
                <a:gd name="T2" fmla="*/ 284 w 411"/>
                <a:gd name="T3" fmla="*/ 220 h 412"/>
                <a:gd name="T4" fmla="*/ 249 w 411"/>
                <a:gd name="T5" fmla="*/ 185 h 412"/>
                <a:gd name="T6" fmla="*/ 283 w 411"/>
                <a:gd name="T7" fmla="*/ 107 h 412"/>
                <a:gd name="T8" fmla="*/ 176 w 411"/>
                <a:gd name="T9" fmla="*/ 0 h 412"/>
                <a:gd name="T10" fmla="*/ 68 w 411"/>
                <a:gd name="T11" fmla="*/ 107 h 412"/>
                <a:gd name="T12" fmla="*/ 116 w 411"/>
                <a:gd name="T13" fmla="*/ 196 h 412"/>
                <a:gd name="T14" fmla="*/ 96 w 411"/>
                <a:gd name="T15" fmla="*/ 266 h 412"/>
                <a:gd name="T16" fmla="*/ 74 w 411"/>
                <a:gd name="T17" fmla="*/ 263 h 412"/>
                <a:gd name="T18" fmla="*/ 0 w 411"/>
                <a:gd name="T19" fmla="*/ 337 h 412"/>
                <a:gd name="T20" fmla="*/ 74 w 411"/>
                <a:gd name="T21" fmla="*/ 412 h 412"/>
                <a:gd name="T22" fmla="*/ 149 w 411"/>
                <a:gd name="T23" fmla="*/ 337 h 412"/>
                <a:gd name="T24" fmla="*/ 110 w 411"/>
                <a:gd name="T25" fmla="*/ 272 h 412"/>
                <a:gd name="T26" fmla="*/ 130 w 411"/>
                <a:gd name="T27" fmla="*/ 204 h 412"/>
                <a:gd name="T28" fmla="*/ 176 w 411"/>
                <a:gd name="T29" fmla="*/ 214 h 412"/>
                <a:gd name="T30" fmla="*/ 238 w 411"/>
                <a:gd name="T31" fmla="*/ 195 h 412"/>
                <a:gd name="T32" fmla="*/ 275 w 411"/>
                <a:gd name="T33" fmla="*/ 232 h 412"/>
                <a:gd name="T34" fmla="*/ 262 w 411"/>
                <a:gd name="T35" fmla="*/ 273 h 412"/>
                <a:gd name="T36" fmla="*/ 337 w 411"/>
                <a:gd name="T37" fmla="*/ 347 h 412"/>
                <a:gd name="T38" fmla="*/ 411 w 411"/>
                <a:gd name="T39" fmla="*/ 273 h 412"/>
                <a:gd name="T40" fmla="*/ 337 w 411"/>
                <a:gd name="T41" fmla="*/ 198 h 412"/>
                <a:gd name="T42" fmla="*/ 134 w 411"/>
                <a:gd name="T43" fmla="*/ 337 h 412"/>
                <a:gd name="T44" fmla="*/ 74 w 411"/>
                <a:gd name="T45" fmla="*/ 397 h 412"/>
                <a:gd name="T46" fmla="*/ 14 w 411"/>
                <a:gd name="T47" fmla="*/ 337 h 412"/>
                <a:gd name="T48" fmla="*/ 74 w 411"/>
                <a:gd name="T49" fmla="*/ 278 h 412"/>
                <a:gd name="T50" fmla="*/ 134 w 411"/>
                <a:gd name="T51" fmla="*/ 337 h 412"/>
                <a:gd name="T52" fmla="*/ 83 w 411"/>
                <a:gd name="T53" fmla="*/ 107 h 412"/>
                <a:gd name="T54" fmla="*/ 176 w 411"/>
                <a:gd name="T55" fmla="*/ 14 h 412"/>
                <a:gd name="T56" fmla="*/ 268 w 411"/>
                <a:gd name="T57" fmla="*/ 107 h 412"/>
                <a:gd name="T58" fmla="*/ 176 w 411"/>
                <a:gd name="T59" fmla="*/ 200 h 412"/>
                <a:gd name="T60" fmla="*/ 83 w 411"/>
                <a:gd name="T61" fmla="*/ 107 h 412"/>
                <a:gd name="T62" fmla="*/ 337 w 411"/>
                <a:gd name="T63" fmla="*/ 332 h 412"/>
                <a:gd name="T64" fmla="*/ 277 w 411"/>
                <a:gd name="T65" fmla="*/ 273 h 412"/>
                <a:gd name="T66" fmla="*/ 337 w 411"/>
                <a:gd name="T67" fmla="*/ 213 h 412"/>
                <a:gd name="T68" fmla="*/ 397 w 411"/>
                <a:gd name="T69" fmla="*/ 273 h 412"/>
                <a:gd name="T70" fmla="*/ 337 w 411"/>
                <a:gd name="T71" fmla="*/ 33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1" h="412">
                  <a:moveTo>
                    <a:pt x="337" y="198"/>
                  </a:moveTo>
                  <a:cubicBezTo>
                    <a:pt x="316" y="198"/>
                    <a:pt x="298" y="206"/>
                    <a:pt x="284" y="220"/>
                  </a:cubicBezTo>
                  <a:cubicBezTo>
                    <a:pt x="249" y="185"/>
                    <a:pt x="249" y="185"/>
                    <a:pt x="249" y="185"/>
                  </a:cubicBezTo>
                  <a:cubicBezTo>
                    <a:pt x="270" y="166"/>
                    <a:pt x="283" y="138"/>
                    <a:pt x="283" y="107"/>
                  </a:cubicBezTo>
                  <a:cubicBezTo>
                    <a:pt x="283" y="48"/>
                    <a:pt x="235" y="0"/>
                    <a:pt x="176" y="0"/>
                  </a:cubicBezTo>
                  <a:cubicBezTo>
                    <a:pt x="117" y="0"/>
                    <a:pt x="68" y="48"/>
                    <a:pt x="68" y="107"/>
                  </a:cubicBezTo>
                  <a:cubicBezTo>
                    <a:pt x="68" y="144"/>
                    <a:pt x="88" y="177"/>
                    <a:pt x="116" y="196"/>
                  </a:cubicBezTo>
                  <a:cubicBezTo>
                    <a:pt x="96" y="266"/>
                    <a:pt x="96" y="266"/>
                    <a:pt x="96" y="266"/>
                  </a:cubicBezTo>
                  <a:cubicBezTo>
                    <a:pt x="89" y="264"/>
                    <a:pt x="82" y="263"/>
                    <a:pt x="74" y="263"/>
                  </a:cubicBezTo>
                  <a:cubicBezTo>
                    <a:pt x="33" y="263"/>
                    <a:pt x="0" y="296"/>
                    <a:pt x="0" y="337"/>
                  </a:cubicBezTo>
                  <a:cubicBezTo>
                    <a:pt x="0" y="378"/>
                    <a:pt x="33" y="412"/>
                    <a:pt x="74" y="412"/>
                  </a:cubicBezTo>
                  <a:cubicBezTo>
                    <a:pt x="115" y="412"/>
                    <a:pt x="149" y="378"/>
                    <a:pt x="149" y="337"/>
                  </a:cubicBezTo>
                  <a:cubicBezTo>
                    <a:pt x="149" y="309"/>
                    <a:pt x="133" y="284"/>
                    <a:pt x="110" y="272"/>
                  </a:cubicBezTo>
                  <a:cubicBezTo>
                    <a:pt x="130" y="204"/>
                    <a:pt x="130" y="204"/>
                    <a:pt x="130" y="204"/>
                  </a:cubicBezTo>
                  <a:cubicBezTo>
                    <a:pt x="144" y="210"/>
                    <a:pt x="159" y="214"/>
                    <a:pt x="176" y="214"/>
                  </a:cubicBezTo>
                  <a:cubicBezTo>
                    <a:pt x="199" y="214"/>
                    <a:pt x="220" y="207"/>
                    <a:pt x="238" y="195"/>
                  </a:cubicBezTo>
                  <a:cubicBezTo>
                    <a:pt x="275" y="232"/>
                    <a:pt x="275" y="232"/>
                    <a:pt x="275" y="232"/>
                  </a:cubicBezTo>
                  <a:cubicBezTo>
                    <a:pt x="267" y="243"/>
                    <a:pt x="262" y="257"/>
                    <a:pt x="262" y="273"/>
                  </a:cubicBezTo>
                  <a:cubicBezTo>
                    <a:pt x="262" y="314"/>
                    <a:pt x="296" y="347"/>
                    <a:pt x="337" y="347"/>
                  </a:cubicBezTo>
                  <a:cubicBezTo>
                    <a:pt x="378" y="347"/>
                    <a:pt x="411" y="314"/>
                    <a:pt x="411" y="273"/>
                  </a:cubicBezTo>
                  <a:cubicBezTo>
                    <a:pt x="411" y="231"/>
                    <a:pt x="378" y="198"/>
                    <a:pt x="337" y="198"/>
                  </a:cubicBezTo>
                  <a:close/>
                  <a:moveTo>
                    <a:pt x="134" y="337"/>
                  </a:moveTo>
                  <a:cubicBezTo>
                    <a:pt x="134" y="370"/>
                    <a:pt x="107" y="397"/>
                    <a:pt x="74" y="397"/>
                  </a:cubicBezTo>
                  <a:cubicBezTo>
                    <a:pt x="41" y="397"/>
                    <a:pt x="14" y="370"/>
                    <a:pt x="14" y="337"/>
                  </a:cubicBezTo>
                  <a:cubicBezTo>
                    <a:pt x="14" y="304"/>
                    <a:pt x="41" y="278"/>
                    <a:pt x="74" y="278"/>
                  </a:cubicBezTo>
                  <a:cubicBezTo>
                    <a:pt x="107" y="278"/>
                    <a:pt x="134" y="304"/>
                    <a:pt x="134" y="337"/>
                  </a:cubicBezTo>
                  <a:close/>
                  <a:moveTo>
                    <a:pt x="83" y="107"/>
                  </a:moveTo>
                  <a:cubicBezTo>
                    <a:pt x="83" y="56"/>
                    <a:pt x="125" y="14"/>
                    <a:pt x="176" y="14"/>
                  </a:cubicBezTo>
                  <a:cubicBezTo>
                    <a:pt x="227" y="14"/>
                    <a:pt x="268" y="56"/>
                    <a:pt x="268" y="107"/>
                  </a:cubicBezTo>
                  <a:cubicBezTo>
                    <a:pt x="268" y="158"/>
                    <a:pt x="227" y="200"/>
                    <a:pt x="176" y="200"/>
                  </a:cubicBezTo>
                  <a:cubicBezTo>
                    <a:pt x="125" y="200"/>
                    <a:pt x="83" y="158"/>
                    <a:pt x="83" y="107"/>
                  </a:cubicBezTo>
                  <a:close/>
                  <a:moveTo>
                    <a:pt x="337" y="332"/>
                  </a:moveTo>
                  <a:cubicBezTo>
                    <a:pt x="304" y="332"/>
                    <a:pt x="277" y="306"/>
                    <a:pt x="277" y="273"/>
                  </a:cubicBezTo>
                  <a:cubicBezTo>
                    <a:pt x="277" y="240"/>
                    <a:pt x="304" y="213"/>
                    <a:pt x="337" y="213"/>
                  </a:cubicBezTo>
                  <a:cubicBezTo>
                    <a:pt x="370" y="213"/>
                    <a:pt x="397" y="240"/>
                    <a:pt x="397" y="273"/>
                  </a:cubicBezTo>
                  <a:cubicBezTo>
                    <a:pt x="397" y="306"/>
                    <a:pt x="370" y="332"/>
                    <a:pt x="337" y="3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2" name="Group 21"/>
          <p:cNvGrpSpPr/>
          <p:nvPr/>
        </p:nvGrpSpPr>
        <p:grpSpPr>
          <a:xfrm>
            <a:off x="3886021" y="1248200"/>
            <a:ext cx="1310446" cy="800100"/>
            <a:chOff x="6938406" y="4495800"/>
            <a:chExt cx="1746806" cy="1066800"/>
          </a:xfrm>
        </p:grpSpPr>
        <p:sp>
          <p:nvSpPr>
            <p:cNvPr id="8" name="Freeform 79"/>
            <p:cNvSpPr>
              <a:spLocks noEditPoints="1"/>
            </p:cNvSpPr>
            <p:nvPr/>
          </p:nvSpPr>
          <p:spPr bwMode="auto">
            <a:xfrm>
              <a:off x="7393924" y="4800600"/>
              <a:ext cx="649975" cy="597365"/>
            </a:xfrm>
            <a:custGeom>
              <a:avLst/>
              <a:gdLst>
                <a:gd name="T0" fmla="*/ 406 w 413"/>
                <a:gd name="T1" fmla="*/ 0 h 380"/>
                <a:gd name="T2" fmla="*/ 7 w 413"/>
                <a:gd name="T3" fmla="*/ 0 h 380"/>
                <a:gd name="T4" fmla="*/ 0 w 413"/>
                <a:gd name="T5" fmla="*/ 7 h 380"/>
                <a:gd name="T6" fmla="*/ 0 w 413"/>
                <a:gd name="T7" fmla="*/ 273 h 380"/>
                <a:gd name="T8" fmla="*/ 7 w 413"/>
                <a:gd name="T9" fmla="*/ 281 h 380"/>
                <a:gd name="T10" fmla="*/ 133 w 413"/>
                <a:gd name="T11" fmla="*/ 281 h 380"/>
                <a:gd name="T12" fmla="*/ 133 w 413"/>
                <a:gd name="T13" fmla="*/ 332 h 380"/>
                <a:gd name="T14" fmla="*/ 73 w 413"/>
                <a:gd name="T15" fmla="*/ 332 h 380"/>
                <a:gd name="T16" fmla="*/ 65 w 413"/>
                <a:gd name="T17" fmla="*/ 340 h 380"/>
                <a:gd name="T18" fmla="*/ 65 w 413"/>
                <a:gd name="T19" fmla="*/ 373 h 380"/>
                <a:gd name="T20" fmla="*/ 73 w 413"/>
                <a:gd name="T21" fmla="*/ 380 h 380"/>
                <a:gd name="T22" fmla="*/ 339 w 413"/>
                <a:gd name="T23" fmla="*/ 380 h 380"/>
                <a:gd name="T24" fmla="*/ 346 w 413"/>
                <a:gd name="T25" fmla="*/ 373 h 380"/>
                <a:gd name="T26" fmla="*/ 346 w 413"/>
                <a:gd name="T27" fmla="*/ 340 h 380"/>
                <a:gd name="T28" fmla="*/ 339 w 413"/>
                <a:gd name="T29" fmla="*/ 332 h 380"/>
                <a:gd name="T30" fmla="*/ 280 w 413"/>
                <a:gd name="T31" fmla="*/ 332 h 380"/>
                <a:gd name="T32" fmla="*/ 280 w 413"/>
                <a:gd name="T33" fmla="*/ 281 h 380"/>
                <a:gd name="T34" fmla="*/ 406 w 413"/>
                <a:gd name="T35" fmla="*/ 281 h 380"/>
                <a:gd name="T36" fmla="*/ 413 w 413"/>
                <a:gd name="T37" fmla="*/ 273 h 380"/>
                <a:gd name="T38" fmla="*/ 413 w 413"/>
                <a:gd name="T39" fmla="*/ 7 h 380"/>
                <a:gd name="T40" fmla="*/ 406 w 413"/>
                <a:gd name="T41" fmla="*/ 0 h 380"/>
                <a:gd name="T42" fmla="*/ 331 w 413"/>
                <a:gd name="T43" fmla="*/ 366 h 380"/>
                <a:gd name="T44" fmla="*/ 80 w 413"/>
                <a:gd name="T45" fmla="*/ 366 h 380"/>
                <a:gd name="T46" fmla="*/ 80 w 413"/>
                <a:gd name="T47" fmla="*/ 347 h 380"/>
                <a:gd name="T48" fmla="*/ 331 w 413"/>
                <a:gd name="T49" fmla="*/ 347 h 380"/>
                <a:gd name="T50" fmla="*/ 331 w 413"/>
                <a:gd name="T51" fmla="*/ 366 h 380"/>
                <a:gd name="T52" fmla="*/ 266 w 413"/>
                <a:gd name="T53" fmla="*/ 332 h 380"/>
                <a:gd name="T54" fmla="*/ 148 w 413"/>
                <a:gd name="T55" fmla="*/ 332 h 380"/>
                <a:gd name="T56" fmla="*/ 148 w 413"/>
                <a:gd name="T57" fmla="*/ 281 h 380"/>
                <a:gd name="T58" fmla="*/ 266 w 413"/>
                <a:gd name="T59" fmla="*/ 281 h 380"/>
                <a:gd name="T60" fmla="*/ 266 w 413"/>
                <a:gd name="T61" fmla="*/ 332 h 380"/>
                <a:gd name="T62" fmla="*/ 399 w 413"/>
                <a:gd name="T63" fmla="*/ 266 h 380"/>
                <a:gd name="T64" fmla="*/ 15 w 413"/>
                <a:gd name="T65" fmla="*/ 266 h 380"/>
                <a:gd name="T66" fmla="*/ 15 w 413"/>
                <a:gd name="T67" fmla="*/ 15 h 380"/>
                <a:gd name="T68" fmla="*/ 399 w 413"/>
                <a:gd name="T69" fmla="*/ 15 h 380"/>
                <a:gd name="T70" fmla="*/ 399 w 413"/>
                <a:gd name="T71" fmla="*/ 266 h 380"/>
                <a:gd name="T72" fmla="*/ 40 w 413"/>
                <a:gd name="T73" fmla="*/ 247 h 380"/>
                <a:gd name="T74" fmla="*/ 373 w 413"/>
                <a:gd name="T75" fmla="*/ 247 h 380"/>
                <a:gd name="T76" fmla="*/ 381 w 413"/>
                <a:gd name="T77" fmla="*/ 240 h 380"/>
                <a:gd name="T78" fmla="*/ 381 w 413"/>
                <a:gd name="T79" fmla="*/ 41 h 380"/>
                <a:gd name="T80" fmla="*/ 373 w 413"/>
                <a:gd name="T81" fmla="*/ 33 h 380"/>
                <a:gd name="T82" fmla="*/ 40 w 413"/>
                <a:gd name="T83" fmla="*/ 33 h 380"/>
                <a:gd name="T84" fmla="*/ 33 w 413"/>
                <a:gd name="T85" fmla="*/ 41 h 380"/>
                <a:gd name="T86" fmla="*/ 33 w 413"/>
                <a:gd name="T87" fmla="*/ 240 h 380"/>
                <a:gd name="T88" fmla="*/ 40 w 413"/>
                <a:gd name="T89" fmla="*/ 247 h 380"/>
                <a:gd name="T90" fmla="*/ 47 w 413"/>
                <a:gd name="T91" fmla="*/ 48 h 380"/>
                <a:gd name="T92" fmla="*/ 366 w 413"/>
                <a:gd name="T93" fmla="*/ 48 h 380"/>
                <a:gd name="T94" fmla="*/ 366 w 413"/>
                <a:gd name="T95" fmla="*/ 233 h 380"/>
                <a:gd name="T96" fmla="*/ 47 w 413"/>
                <a:gd name="T97" fmla="*/ 233 h 380"/>
                <a:gd name="T98" fmla="*/ 47 w 413"/>
                <a:gd name="T99" fmla="*/ 48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3" h="380">
                  <a:moveTo>
                    <a:pt x="406" y="0"/>
                  </a:moveTo>
                  <a:cubicBezTo>
                    <a:pt x="7" y="0"/>
                    <a:pt x="7" y="0"/>
                    <a:pt x="7" y="0"/>
                  </a:cubicBezTo>
                  <a:cubicBezTo>
                    <a:pt x="3" y="0"/>
                    <a:pt x="0" y="3"/>
                    <a:pt x="0" y="7"/>
                  </a:cubicBezTo>
                  <a:cubicBezTo>
                    <a:pt x="0" y="273"/>
                    <a:pt x="0" y="273"/>
                    <a:pt x="0" y="273"/>
                  </a:cubicBezTo>
                  <a:cubicBezTo>
                    <a:pt x="0" y="277"/>
                    <a:pt x="3" y="281"/>
                    <a:pt x="7" y="281"/>
                  </a:cubicBezTo>
                  <a:cubicBezTo>
                    <a:pt x="133" y="281"/>
                    <a:pt x="133" y="281"/>
                    <a:pt x="133" y="281"/>
                  </a:cubicBezTo>
                  <a:cubicBezTo>
                    <a:pt x="133" y="332"/>
                    <a:pt x="133" y="332"/>
                    <a:pt x="133" y="332"/>
                  </a:cubicBezTo>
                  <a:cubicBezTo>
                    <a:pt x="73" y="332"/>
                    <a:pt x="73" y="332"/>
                    <a:pt x="73" y="332"/>
                  </a:cubicBezTo>
                  <a:cubicBezTo>
                    <a:pt x="69" y="332"/>
                    <a:pt x="65" y="336"/>
                    <a:pt x="65" y="340"/>
                  </a:cubicBezTo>
                  <a:cubicBezTo>
                    <a:pt x="65" y="373"/>
                    <a:pt x="65" y="373"/>
                    <a:pt x="65" y="373"/>
                  </a:cubicBezTo>
                  <a:cubicBezTo>
                    <a:pt x="65" y="377"/>
                    <a:pt x="69" y="380"/>
                    <a:pt x="73" y="380"/>
                  </a:cubicBezTo>
                  <a:cubicBezTo>
                    <a:pt x="339" y="380"/>
                    <a:pt x="339" y="380"/>
                    <a:pt x="339" y="380"/>
                  </a:cubicBezTo>
                  <a:cubicBezTo>
                    <a:pt x="343" y="380"/>
                    <a:pt x="346" y="377"/>
                    <a:pt x="346" y="373"/>
                  </a:cubicBezTo>
                  <a:cubicBezTo>
                    <a:pt x="346" y="340"/>
                    <a:pt x="346" y="340"/>
                    <a:pt x="346" y="340"/>
                  </a:cubicBezTo>
                  <a:cubicBezTo>
                    <a:pt x="346" y="336"/>
                    <a:pt x="343" y="332"/>
                    <a:pt x="339" y="332"/>
                  </a:cubicBezTo>
                  <a:cubicBezTo>
                    <a:pt x="280" y="332"/>
                    <a:pt x="280" y="332"/>
                    <a:pt x="280" y="332"/>
                  </a:cubicBezTo>
                  <a:cubicBezTo>
                    <a:pt x="280" y="281"/>
                    <a:pt x="280" y="281"/>
                    <a:pt x="280" y="281"/>
                  </a:cubicBezTo>
                  <a:cubicBezTo>
                    <a:pt x="406" y="281"/>
                    <a:pt x="406" y="281"/>
                    <a:pt x="406" y="281"/>
                  </a:cubicBezTo>
                  <a:cubicBezTo>
                    <a:pt x="410" y="281"/>
                    <a:pt x="413" y="277"/>
                    <a:pt x="413" y="273"/>
                  </a:cubicBezTo>
                  <a:cubicBezTo>
                    <a:pt x="413" y="7"/>
                    <a:pt x="413" y="7"/>
                    <a:pt x="413" y="7"/>
                  </a:cubicBezTo>
                  <a:cubicBezTo>
                    <a:pt x="413" y="3"/>
                    <a:pt x="410" y="0"/>
                    <a:pt x="406" y="0"/>
                  </a:cubicBezTo>
                  <a:close/>
                  <a:moveTo>
                    <a:pt x="331" y="366"/>
                  </a:moveTo>
                  <a:cubicBezTo>
                    <a:pt x="80" y="366"/>
                    <a:pt x="80" y="366"/>
                    <a:pt x="80" y="366"/>
                  </a:cubicBezTo>
                  <a:cubicBezTo>
                    <a:pt x="80" y="347"/>
                    <a:pt x="80" y="347"/>
                    <a:pt x="80" y="347"/>
                  </a:cubicBezTo>
                  <a:cubicBezTo>
                    <a:pt x="331" y="347"/>
                    <a:pt x="331" y="347"/>
                    <a:pt x="331" y="347"/>
                  </a:cubicBezTo>
                  <a:lnTo>
                    <a:pt x="331" y="366"/>
                  </a:lnTo>
                  <a:close/>
                  <a:moveTo>
                    <a:pt x="266" y="332"/>
                  </a:moveTo>
                  <a:cubicBezTo>
                    <a:pt x="148" y="332"/>
                    <a:pt x="148" y="332"/>
                    <a:pt x="148" y="332"/>
                  </a:cubicBezTo>
                  <a:cubicBezTo>
                    <a:pt x="148" y="281"/>
                    <a:pt x="148" y="281"/>
                    <a:pt x="148" y="281"/>
                  </a:cubicBezTo>
                  <a:cubicBezTo>
                    <a:pt x="266" y="281"/>
                    <a:pt x="266" y="281"/>
                    <a:pt x="266" y="281"/>
                  </a:cubicBezTo>
                  <a:lnTo>
                    <a:pt x="266" y="332"/>
                  </a:lnTo>
                  <a:close/>
                  <a:moveTo>
                    <a:pt x="399" y="266"/>
                  </a:moveTo>
                  <a:cubicBezTo>
                    <a:pt x="15" y="266"/>
                    <a:pt x="15" y="266"/>
                    <a:pt x="15" y="266"/>
                  </a:cubicBezTo>
                  <a:cubicBezTo>
                    <a:pt x="15" y="15"/>
                    <a:pt x="15" y="15"/>
                    <a:pt x="15" y="15"/>
                  </a:cubicBezTo>
                  <a:cubicBezTo>
                    <a:pt x="399" y="15"/>
                    <a:pt x="399" y="15"/>
                    <a:pt x="399" y="15"/>
                  </a:cubicBezTo>
                  <a:lnTo>
                    <a:pt x="399" y="266"/>
                  </a:lnTo>
                  <a:close/>
                  <a:moveTo>
                    <a:pt x="40" y="247"/>
                  </a:moveTo>
                  <a:cubicBezTo>
                    <a:pt x="373" y="247"/>
                    <a:pt x="373" y="247"/>
                    <a:pt x="373" y="247"/>
                  </a:cubicBezTo>
                  <a:cubicBezTo>
                    <a:pt x="377" y="247"/>
                    <a:pt x="381" y="244"/>
                    <a:pt x="381" y="240"/>
                  </a:cubicBezTo>
                  <a:cubicBezTo>
                    <a:pt x="381" y="41"/>
                    <a:pt x="381" y="41"/>
                    <a:pt x="381" y="41"/>
                  </a:cubicBezTo>
                  <a:cubicBezTo>
                    <a:pt x="381" y="37"/>
                    <a:pt x="377" y="33"/>
                    <a:pt x="373" y="33"/>
                  </a:cubicBezTo>
                  <a:cubicBezTo>
                    <a:pt x="40" y="33"/>
                    <a:pt x="40" y="33"/>
                    <a:pt x="40" y="33"/>
                  </a:cubicBezTo>
                  <a:cubicBezTo>
                    <a:pt x="36" y="33"/>
                    <a:pt x="33" y="37"/>
                    <a:pt x="33" y="41"/>
                  </a:cubicBezTo>
                  <a:cubicBezTo>
                    <a:pt x="33" y="240"/>
                    <a:pt x="33" y="240"/>
                    <a:pt x="33" y="240"/>
                  </a:cubicBezTo>
                  <a:cubicBezTo>
                    <a:pt x="33" y="244"/>
                    <a:pt x="36" y="247"/>
                    <a:pt x="40" y="247"/>
                  </a:cubicBezTo>
                  <a:close/>
                  <a:moveTo>
                    <a:pt x="47" y="48"/>
                  </a:moveTo>
                  <a:cubicBezTo>
                    <a:pt x="366" y="48"/>
                    <a:pt x="366" y="48"/>
                    <a:pt x="366" y="48"/>
                  </a:cubicBezTo>
                  <a:cubicBezTo>
                    <a:pt x="366" y="233"/>
                    <a:pt x="366" y="233"/>
                    <a:pt x="366" y="233"/>
                  </a:cubicBezTo>
                  <a:cubicBezTo>
                    <a:pt x="47" y="233"/>
                    <a:pt x="47" y="233"/>
                    <a:pt x="47" y="233"/>
                  </a:cubicBezTo>
                  <a:lnTo>
                    <a:pt x="47" y="4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20" name="Freeform 77"/>
            <p:cNvSpPr>
              <a:spLocks noEditPoints="1"/>
            </p:cNvSpPr>
            <p:nvPr/>
          </p:nvSpPr>
          <p:spPr bwMode="auto">
            <a:xfrm>
              <a:off x="6938406" y="4495800"/>
              <a:ext cx="1746806" cy="1066800"/>
            </a:xfrm>
            <a:custGeom>
              <a:avLst/>
              <a:gdLst>
                <a:gd name="T0" fmla="*/ 340 w 413"/>
                <a:gd name="T1" fmla="*/ 283 h 283"/>
                <a:gd name="T2" fmla="*/ 73 w 413"/>
                <a:gd name="T3" fmla="*/ 283 h 283"/>
                <a:gd name="T4" fmla="*/ 72 w 413"/>
                <a:gd name="T5" fmla="*/ 283 h 283"/>
                <a:gd name="T6" fmla="*/ 0 w 413"/>
                <a:gd name="T7" fmla="*/ 209 h 283"/>
                <a:gd name="T8" fmla="*/ 70 w 413"/>
                <a:gd name="T9" fmla="*/ 135 h 283"/>
                <a:gd name="T10" fmla="*/ 66 w 413"/>
                <a:gd name="T11" fmla="*/ 107 h 283"/>
                <a:gd name="T12" fmla="*/ 173 w 413"/>
                <a:gd name="T13" fmla="*/ 0 h 283"/>
                <a:gd name="T14" fmla="*/ 273 w 413"/>
                <a:gd name="T15" fmla="*/ 69 h 283"/>
                <a:gd name="T16" fmla="*/ 273 w 413"/>
                <a:gd name="T17" fmla="*/ 69 h 283"/>
                <a:gd name="T18" fmla="*/ 346 w 413"/>
                <a:gd name="T19" fmla="*/ 135 h 283"/>
                <a:gd name="T20" fmla="*/ 413 w 413"/>
                <a:gd name="T21" fmla="*/ 209 h 283"/>
                <a:gd name="T22" fmla="*/ 341 w 413"/>
                <a:gd name="T23" fmla="*/ 283 h 283"/>
                <a:gd name="T24" fmla="*/ 340 w 413"/>
                <a:gd name="T25" fmla="*/ 283 h 283"/>
                <a:gd name="T26" fmla="*/ 73 w 413"/>
                <a:gd name="T27" fmla="*/ 268 h 283"/>
                <a:gd name="T28" fmla="*/ 339 w 413"/>
                <a:gd name="T29" fmla="*/ 268 h 283"/>
                <a:gd name="T30" fmla="*/ 340 w 413"/>
                <a:gd name="T31" fmla="*/ 268 h 283"/>
                <a:gd name="T32" fmla="*/ 398 w 413"/>
                <a:gd name="T33" fmla="*/ 209 h 283"/>
                <a:gd name="T34" fmla="*/ 339 w 413"/>
                <a:gd name="T35" fmla="*/ 150 h 283"/>
                <a:gd name="T36" fmla="*/ 332 w 413"/>
                <a:gd name="T37" fmla="*/ 142 h 283"/>
                <a:gd name="T38" fmla="*/ 273 w 413"/>
                <a:gd name="T39" fmla="*/ 83 h 283"/>
                <a:gd name="T40" fmla="*/ 268 w 413"/>
                <a:gd name="T41" fmla="*/ 84 h 283"/>
                <a:gd name="T42" fmla="*/ 261 w 413"/>
                <a:gd name="T43" fmla="*/ 79 h 283"/>
                <a:gd name="T44" fmla="*/ 173 w 413"/>
                <a:gd name="T45" fmla="*/ 15 h 283"/>
                <a:gd name="T46" fmla="*/ 81 w 413"/>
                <a:gd name="T47" fmla="*/ 107 h 283"/>
                <a:gd name="T48" fmla="*/ 87 w 413"/>
                <a:gd name="T49" fmla="*/ 140 h 283"/>
                <a:gd name="T50" fmla="*/ 86 w 413"/>
                <a:gd name="T51" fmla="*/ 147 h 283"/>
                <a:gd name="T52" fmla="*/ 79 w 413"/>
                <a:gd name="T53" fmla="*/ 150 h 283"/>
                <a:gd name="T54" fmla="*/ 73 w 413"/>
                <a:gd name="T55" fmla="*/ 150 h 283"/>
                <a:gd name="T56" fmla="*/ 14 w 413"/>
                <a:gd name="T57" fmla="*/ 209 h 283"/>
                <a:gd name="T58" fmla="*/ 73 w 413"/>
                <a:gd name="T59" fmla="*/ 268 h 283"/>
                <a:gd name="T60" fmla="*/ 73 w 413"/>
                <a:gd name="T61" fmla="*/ 268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3" h="283">
                  <a:moveTo>
                    <a:pt x="340" y="283"/>
                  </a:moveTo>
                  <a:cubicBezTo>
                    <a:pt x="73" y="283"/>
                    <a:pt x="73" y="283"/>
                    <a:pt x="73" y="283"/>
                  </a:cubicBezTo>
                  <a:cubicBezTo>
                    <a:pt x="73" y="283"/>
                    <a:pt x="72" y="283"/>
                    <a:pt x="72" y="283"/>
                  </a:cubicBezTo>
                  <a:cubicBezTo>
                    <a:pt x="32" y="282"/>
                    <a:pt x="0" y="249"/>
                    <a:pt x="0" y="209"/>
                  </a:cubicBezTo>
                  <a:cubicBezTo>
                    <a:pt x="0" y="169"/>
                    <a:pt x="31" y="137"/>
                    <a:pt x="70" y="135"/>
                  </a:cubicBezTo>
                  <a:cubicBezTo>
                    <a:pt x="67" y="126"/>
                    <a:pt x="66" y="117"/>
                    <a:pt x="66" y="107"/>
                  </a:cubicBezTo>
                  <a:cubicBezTo>
                    <a:pt x="66" y="48"/>
                    <a:pt x="114" y="0"/>
                    <a:pt x="173" y="0"/>
                  </a:cubicBezTo>
                  <a:cubicBezTo>
                    <a:pt x="217" y="0"/>
                    <a:pt x="257" y="27"/>
                    <a:pt x="273" y="69"/>
                  </a:cubicBezTo>
                  <a:cubicBezTo>
                    <a:pt x="273" y="69"/>
                    <a:pt x="273" y="69"/>
                    <a:pt x="273" y="69"/>
                  </a:cubicBezTo>
                  <a:cubicBezTo>
                    <a:pt x="311" y="69"/>
                    <a:pt x="343" y="98"/>
                    <a:pt x="346" y="135"/>
                  </a:cubicBezTo>
                  <a:cubicBezTo>
                    <a:pt x="384" y="139"/>
                    <a:pt x="413" y="171"/>
                    <a:pt x="413" y="209"/>
                  </a:cubicBezTo>
                  <a:cubicBezTo>
                    <a:pt x="413" y="249"/>
                    <a:pt x="381" y="282"/>
                    <a:pt x="341" y="283"/>
                  </a:cubicBezTo>
                  <a:cubicBezTo>
                    <a:pt x="340" y="283"/>
                    <a:pt x="340" y="283"/>
                    <a:pt x="340" y="283"/>
                  </a:cubicBezTo>
                  <a:close/>
                  <a:moveTo>
                    <a:pt x="73" y="268"/>
                  </a:moveTo>
                  <a:cubicBezTo>
                    <a:pt x="339" y="268"/>
                    <a:pt x="339" y="268"/>
                    <a:pt x="339" y="268"/>
                  </a:cubicBezTo>
                  <a:cubicBezTo>
                    <a:pt x="339" y="268"/>
                    <a:pt x="340" y="268"/>
                    <a:pt x="340" y="268"/>
                  </a:cubicBezTo>
                  <a:cubicBezTo>
                    <a:pt x="372" y="268"/>
                    <a:pt x="398" y="241"/>
                    <a:pt x="398" y="209"/>
                  </a:cubicBezTo>
                  <a:cubicBezTo>
                    <a:pt x="398" y="176"/>
                    <a:pt x="372" y="150"/>
                    <a:pt x="339" y="150"/>
                  </a:cubicBezTo>
                  <a:cubicBezTo>
                    <a:pt x="335" y="150"/>
                    <a:pt x="332" y="146"/>
                    <a:pt x="332" y="142"/>
                  </a:cubicBezTo>
                  <a:cubicBezTo>
                    <a:pt x="332" y="110"/>
                    <a:pt x="305" y="83"/>
                    <a:pt x="273" y="83"/>
                  </a:cubicBezTo>
                  <a:cubicBezTo>
                    <a:pt x="271" y="83"/>
                    <a:pt x="270" y="83"/>
                    <a:pt x="268" y="84"/>
                  </a:cubicBezTo>
                  <a:cubicBezTo>
                    <a:pt x="265" y="84"/>
                    <a:pt x="262" y="82"/>
                    <a:pt x="261" y="79"/>
                  </a:cubicBezTo>
                  <a:cubicBezTo>
                    <a:pt x="248" y="40"/>
                    <a:pt x="213" y="15"/>
                    <a:pt x="173" y="15"/>
                  </a:cubicBezTo>
                  <a:cubicBezTo>
                    <a:pt x="122" y="15"/>
                    <a:pt x="81" y="56"/>
                    <a:pt x="81" y="107"/>
                  </a:cubicBezTo>
                  <a:cubicBezTo>
                    <a:pt x="81" y="118"/>
                    <a:pt x="83" y="129"/>
                    <a:pt x="87" y="140"/>
                  </a:cubicBezTo>
                  <a:cubicBezTo>
                    <a:pt x="88" y="142"/>
                    <a:pt x="87" y="145"/>
                    <a:pt x="86" y="147"/>
                  </a:cubicBezTo>
                  <a:cubicBezTo>
                    <a:pt x="84" y="149"/>
                    <a:pt x="82" y="150"/>
                    <a:pt x="79" y="150"/>
                  </a:cubicBezTo>
                  <a:cubicBezTo>
                    <a:pt x="77" y="150"/>
                    <a:pt x="75" y="150"/>
                    <a:pt x="73" y="150"/>
                  </a:cubicBezTo>
                  <a:cubicBezTo>
                    <a:pt x="41" y="150"/>
                    <a:pt x="14" y="176"/>
                    <a:pt x="14" y="209"/>
                  </a:cubicBezTo>
                  <a:cubicBezTo>
                    <a:pt x="14" y="241"/>
                    <a:pt x="41" y="268"/>
                    <a:pt x="73" y="268"/>
                  </a:cubicBezTo>
                  <a:cubicBezTo>
                    <a:pt x="73" y="268"/>
                    <a:pt x="73" y="268"/>
                    <a:pt x="73" y="26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3" name="TextBox 22"/>
          <p:cNvSpPr txBox="1"/>
          <p:nvPr/>
        </p:nvSpPr>
        <p:spPr>
          <a:xfrm>
            <a:off x="684794" y="777302"/>
            <a:ext cx="1478049" cy="470898"/>
          </a:xfrm>
          <a:prstGeom prst="rect">
            <a:avLst/>
          </a:prstGeom>
          <a:noFill/>
        </p:spPr>
        <p:txBody>
          <a:bodyPr wrap="none" lIns="68571" tIns="68571" rIns="68571" bIns="68571" rtlCol="0">
            <a:spAutoFit/>
          </a:bodyPr>
          <a:lstStyle/>
          <a:p>
            <a:pPr>
              <a:lnSpc>
                <a:spcPct val="90000"/>
              </a:lnSpc>
              <a:spcBef>
                <a:spcPct val="20000"/>
              </a:spcBef>
              <a:buSzPct val="90000"/>
            </a:pPr>
            <a:r>
              <a:rPr lang="en-US" sz="2400" dirty="0">
                <a:solidFill>
                  <a:schemeClr val="tx1">
                    <a:alpha val="99000"/>
                  </a:schemeClr>
                </a:solidFill>
              </a:rPr>
              <a:t>Web Sites</a:t>
            </a:r>
          </a:p>
        </p:txBody>
      </p:sp>
      <p:sp>
        <p:nvSpPr>
          <p:cNvPr id="24" name="TextBox 23"/>
          <p:cNvSpPr txBox="1"/>
          <p:nvPr/>
        </p:nvSpPr>
        <p:spPr>
          <a:xfrm>
            <a:off x="3425026" y="729252"/>
            <a:ext cx="2404602" cy="470898"/>
          </a:xfrm>
          <a:prstGeom prst="rect">
            <a:avLst/>
          </a:prstGeom>
          <a:noFill/>
        </p:spPr>
        <p:txBody>
          <a:bodyPr wrap="none" lIns="68571" tIns="68571" rIns="68571" bIns="68571" rtlCol="0">
            <a:spAutoFit/>
          </a:bodyPr>
          <a:lstStyle/>
          <a:p>
            <a:pPr>
              <a:lnSpc>
                <a:spcPct val="90000"/>
              </a:lnSpc>
              <a:spcBef>
                <a:spcPct val="20000"/>
              </a:spcBef>
              <a:buSzPct val="90000"/>
            </a:pPr>
            <a:r>
              <a:rPr lang="en-US" sz="2400" dirty="0">
                <a:solidFill>
                  <a:schemeClr val="tx1">
                    <a:alpha val="99000"/>
                  </a:schemeClr>
                </a:solidFill>
              </a:rPr>
              <a:t>Virtual Machines</a:t>
            </a:r>
          </a:p>
        </p:txBody>
      </p:sp>
      <p:sp>
        <p:nvSpPr>
          <p:cNvPr id="25" name="TextBox 24"/>
          <p:cNvSpPr txBox="1"/>
          <p:nvPr/>
        </p:nvSpPr>
        <p:spPr>
          <a:xfrm>
            <a:off x="6562411" y="800100"/>
            <a:ext cx="2125462" cy="470898"/>
          </a:xfrm>
          <a:prstGeom prst="rect">
            <a:avLst/>
          </a:prstGeom>
          <a:noFill/>
        </p:spPr>
        <p:txBody>
          <a:bodyPr wrap="none" lIns="68571" tIns="68571" rIns="68571" bIns="68571" rtlCol="0">
            <a:spAutoFit/>
          </a:bodyPr>
          <a:lstStyle/>
          <a:p>
            <a:pPr>
              <a:lnSpc>
                <a:spcPct val="90000"/>
              </a:lnSpc>
              <a:spcBef>
                <a:spcPct val="20000"/>
              </a:spcBef>
              <a:buSzPct val="90000"/>
            </a:pPr>
            <a:r>
              <a:rPr lang="en-US" sz="2400" dirty="0">
                <a:solidFill>
                  <a:schemeClr val="tx1">
                    <a:alpha val="99000"/>
                  </a:schemeClr>
                </a:solidFill>
              </a:rPr>
              <a:t>Cloud Services</a:t>
            </a:r>
          </a:p>
        </p:txBody>
      </p:sp>
      <p:sp>
        <p:nvSpPr>
          <p:cNvPr id="26" name="Text Placeholder 2"/>
          <p:cNvSpPr>
            <a:spLocks noGrp="1"/>
          </p:cNvSpPr>
          <p:nvPr>
            <p:ph type="body" sz="quarter" idx="4294967295"/>
          </p:nvPr>
        </p:nvSpPr>
        <p:spPr>
          <a:xfrm>
            <a:off x="3085713" y="2166708"/>
            <a:ext cx="2858244" cy="2165208"/>
          </a:xfrm>
        </p:spPr>
        <p:txBody>
          <a:bodyPr/>
          <a:lstStyle/>
          <a:p>
            <a:pPr lvl="1"/>
            <a:r>
              <a:rPr lang="en-US" dirty="0" smtClean="0">
                <a:solidFill>
                  <a:schemeClr val="tx1">
                    <a:lumMod val="95000"/>
                  </a:schemeClr>
                </a:solidFill>
              </a:rPr>
              <a:t>Full Windows Server/Linux</a:t>
            </a:r>
          </a:p>
          <a:p>
            <a:pPr lvl="1"/>
            <a:r>
              <a:rPr lang="en-US" dirty="0" smtClean="0">
                <a:solidFill>
                  <a:schemeClr val="tx1">
                    <a:lumMod val="95000"/>
                  </a:schemeClr>
                </a:solidFill>
              </a:rPr>
              <a:t>Enterprise Apps using SQL, SharePoint, AD</a:t>
            </a:r>
          </a:p>
          <a:p>
            <a:pPr lvl="1"/>
            <a:r>
              <a:rPr lang="en-US" dirty="0" smtClean="0">
                <a:solidFill>
                  <a:schemeClr val="tx1">
                    <a:lumMod val="95000"/>
                  </a:schemeClr>
                </a:solidFill>
              </a:rPr>
              <a:t>Porting exiting LOB apps</a:t>
            </a:r>
          </a:p>
        </p:txBody>
      </p:sp>
      <p:sp>
        <p:nvSpPr>
          <p:cNvPr id="27" name="Text Placeholder 2"/>
          <p:cNvSpPr>
            <a:spLocks noGrp="1"/>
          </p:cNvSpPr>
          <p:nvPr>
            <p:ph type="body" sz="quarter" idx="4294967295"/>
          </p:nvPr>
        </p:nvSpPr>
        <p:spPr>
          <a:xfrm>
            <a:off x="6058287" y="2171700"/>
            <a:ext cx="2858244" cy="2165208"/>
          </a:xfrm>
        </p:spPr>
        <p:txBody>
          <a:bodyPr/>
          <a:lstStyle/>
          <a:p>
            <a:pPr lvl="1"/>
            <a:r>
              <a:rPr lang="en-US" dirty="0" smtClean="0">
                <a:solidFill>
                  <a:schemeClr val="tx1">
                    <a:lumMod val="95000"/>
                  </a:schemeClr>
                </a:solidFill>
              </a:rPr>
              <a:t>Multi-Tier Apps with Workers</a:t>
            </a:r>
          </a:p>
          <a:p>
            <a:pPr lvl="1"/>
            <a:r>
              <a:rPr lang="en-US" dirty="0" smtClean="0">
                <a:solidFill>
                  <a:schemeClr val="tx1">
                    <a:lumMod val="95000"/>
                  </a:schemeClr>
                </a:solidFill>
              </a:rPr>
              <a:t>Admin Access, RDP, Custom Installs</a:t>
            </a:r>
          </a:p>
          <a:p>
            <a:pPr lvl="1"/>
            <a:r>
              <a:rPr lang="en-US" dirty="0" smtClean="0">
                <a:solidFill>
                  <a:schemeClr val="tx1">
                    <a:lumMod val="95000"/>
                  </a:schemeClr>
                </a:solidFill>
              </a:rPr>
              <a:t>Network Isolation, Virtual Network</a:t>
            </a:r>
          </a:p>
        </p:txBody>
      </p:sp>
      <p:sp>
        <p:nvSpPr>
          <p:cNvPr id="19" name="TextBox 18"/>
          <p:cNvSpPr txBox="1"/>
          <p:nvPr/>
        </p:nvSpPr>
        <p:spPr>
          <a:xfrm>
            <a:off x="7658580" y="4812858"/>
            <a:ext cx="1486612" cy="387799"/>
          </a:xfrm>
          <a:prstGeom prst="rect">
            <a:avLst/>
          </a:prstGeom>
          <a:noFill/>
        </p:spPr>
        <p:txBody>
          <a:bodyPr wrap="none" lIns="68571" tIns="68571" rIns="68571" bIns="68571" rtlCol="0">
            <a:spAutoFit/>
          </a:bodyPr>
          <a:lstStyle/>
          <a:p>
            <a:pPr>
              <a:lnSpc>
                <a:spcPct val="90000"/>
              </a:lnSpc>
              <a:spcBef>
                <a:spcPct val="20000"/>
              </a:spcBef>
              <a:buSzPct val="90000"/>
            </a:pPr>
            <a:r>
              <a:rPr lang="en-US" sz="1800" dirty="0">
                <a:solidFill>
                  <a:schemeClr val="tx1">
                    <a:lumMod val="75000"/>
                    <a:alpha val="99000"/>
                  </a:schemeClr>
                </a:solidFill>
              </a:rPr>
              <a:t>@vishalrjoshi</a:t>
            </a:r>
          </a:p>
        </p:txBody>
      </p:sp>
      <p:pic>
        <p:nvPicPr>
          <p:cNvPr id="21" name="Picture 2">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04246311"/>
      </p:ext>
    </p:extLst>
  </p:cSld>
  <p:clrMapOvr>
    <a:masterClrMapping/>
  </p:clrMapOvr>
  <mc:AlternateContent xmlns:mc="http://schemas.openxmlformats.org/markup-compatibility/2006" xmlns:p14="http://schemas.microsoft.com/office/powerpoint/2010/main">
    <mc:Choice Requires="p14">
      <p:transition spd="slow" p14:dur="1500">
        <p14:pan/>
      </p:transition>
    </mc:Choice>
    <mc:Fallback xmlns="">
      <p:transition spd="slow">
        <p:fade/>
      </p:transition>
    </mc:Fallback>
  </mc:AlternateContent>
  <p:timing>
    <p:tnLst>
      <p:par>
        <p:cTn id="1" dur="indefinite" restart="never" nodeType="tmRoot"/>
      </p:par>
    </p:tnLst>
  </p:timing>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172648"/>
            <a:ext cx="8382000" cy="457049"/>
          </a:xfrm>
        </p:spPr>
        <p:txBody>
          <a:bodyPr/>
          <a:lstStyle/>
          <a:p>
            <a:r>
              <a:rPr lang="en-US" dirty="0" smtClean="0"/>
              <a:t>Agenda</a:t>
            </a:r>
            <a:endParaRPr lang="en-US" dirty="0">
              <a:solidFill>
                <a:schemeClr val="accent1"/>
              </a:solidFill>
            </a:endParaRPr>
          </a:p>
        </p:txBody>
      </p:sp>
      <p:pic>
        <p:nvPicPr>
          <p:cNvPr id="6" name="Picture 2" descr="C:\Users\Jordan\Desktop\TechEd_2012\TechEd-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6962" y="4619593"/>
            <a:ext cx="698151" cy="322326"/>
          </a:xfrm>
          <a:prstGeom prst="rect">
            <a:avLst/>
          </a:prstGeom>
          <a:noFill/>
          <a:extLst>
            <a:ext uri="{909E8E84-426E-40DD-AFC4-6F175D3DCCD1}">
              <a14:hiddenFill xmlns:a14="http://schemas.microsoft.com/office/drawing/2010/main">
                <a:solidFill>
                  <a:srgbClr val="FFFFFF"/>
                </a:solidFill>
              </a14:hiddenFill>
            </a:ext>
          </a:extLst>
        </p:spPr>
      </p:pic>
      <p:sp>
        <p:nvSpPr>
          <p:cNvPr id="40" name="Arc 39"/>
          <p:cNvSpPr/>
          <p:nvPr/>
        </p:nvSpPr>
        <p:spPr>
          <a:xfrm>
            <a:off x="3261181" y="-228600"/>
            <a:ext cx="34298" cy="228600"/>
          </a:xfrm>
          <a:prstGeom prst="arc">
            <a:avLst/>
          </a:prstGeom>
        </p:spPr>
        <p:style>
          <a:lnRef idx="1">
            <a:schemeClr val="accent1"/>
          </a:lnRef>
          <a:fillRef idx="0">
            <a:schemeClr val="accent1"/>
          </a:fillRef>
          <a:effectRef idx="0">
            <a:schemeClr val="accent1"/>
          </a:effectRef>
          <a:fontRef idx="minor">
            <a:schemeClr val="tx1"/>
          </a:fontRef>
        </p:style>
        <p:txBody>
          <a:bodyPr lIns="68571" tIns="34286" rIns="68571" bIns="34286" rtlCol="0" anchor="ctr"/>
          <a:lstStyle/>
          <a:p>
            <a:pPr algn="ctr"/>
            <a:endParaRPr lang="en-US">
              <a:latin typeface="+mj-lt"/>
            </a:endParaRPr>
          </a:p>
        </p:txBody>
      </p:sp>
      <p:pic>
        <p:nvPicPr>
          <p:cNvPr id="34" name="Picture 33" descr="http://chuangyiji.com/wp-content/uploads/2011/08/logo.png"/>
          <p:cNvPicPr>
            <a:picLocks noChangeAspect="1" noChangeArrowheads="1"/>
          </p:cNvPicPr>
          <p:nvPr/>
        </p:nvPicPr>
        <p:blipFill rotWithShape="1">
          <a:blip r:embed="rId4">
            <a:extLst>
              <a:ext uri="{BEBA8EAE-BF5A-486C-A8C5-ECC9F3942E4B}">
                <a14:imgProps xmlns:a14="http://schemas.microsoft.com/office/drawing/2010/main">
                  <a14:imgLayer r:embed="rId5">
                    <a14:imgEffect>
                      <a14:artisticPencilGrayscale/>
                    </a14:imgEffect>
                  </a14:imgLayer>
                </a14:imgProps>
              </a:ext>
              <a:ext uri="{28A0092B-C50C-407E-A947-70E740481C1C}">
                <a14:useLocalDpi xmlns:a14="http://schemas.microsoft.com/office/drawing/2010/main" val="0"/>
              </a:ext>
            </a:extLst>
          </a:blip>
          <a:srcRect l="46063" t="36565" r="40697" b="12024"/>
          <a:stretch/>
        </p:blipFill>
        <p:spPr bwMode="auto">
          <a:xfrm>
            <a:off x="2685558" y="1408993"/>
            <a:ext cx="242076" cy="248363"/>
          </a:xfrm>
          <a:prstGeom prst="rect">
            <a:avLst/>
          </a:prstGeom>
          <a:noFill/>
          <a:extLst>
            <a:ext uri="{909E8E84-426E-40DD-AFC4-6F175D3DCCD1}">
              <a14:hiddenFill xmlns:a14="http://schemas.microsoft.com/office/drawing/2010/main">
                <a:solidFill>
                  <a:srgbClr val="FFFFFF"/>
                </a:solidFill>
              </a14:hiddenFill>
            </a:ext>
          </a:extLst>
        </p:spPr>
      </p:pic>
      <p:grpSp>
        <p:nvGrpSpPr>
          <p:cNvPr id="35" name="Group 34"/>
          <p:cNvGrpSpPr/>
          <p:nvPr/>
        </p:nvGrpSpPr>
        <p:grpSpPr>
          <a:xfrm>
            <a:off x="2573183" y="2320553"/>
            <a:ext cx="618096" cy="561613"/>
            <a:chOff x="5639243" y="1509418"/>
            <a:chExt cx="636818" cy="523296"/>
          </a:xfrm>
        </p:grpSpPr>
        <p:cxnSp>
          <p:nvCxnSpPr>
            <p:cNvPr id="38" name="Straight Connector 37"/>
            <p:cNvCxnSpPr/>
            <p:nvPr/>
          </p:nvCxnSpPr>
          <p:spPr>
            <a:xfrm>
              <a:off x="5639243" y="1688484"/>
              <a:ext cx="636818" cy="344230"/>
            </a:xfrm>
            <a:prstGeom prst="line">
              <a:avLst/>
            </a:prstGeom>
            <a:noFill/>
            <a:ln w="28575">
              <a:solidFill>
                <a:schemeClr val="tx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cxnSp>
        <p:cxnSp>
          <p:nvCxnSpPr>
            <p:cNvPr id="39" name="Straight Connector 38"/>
            <p:cNvCxnSpPr/>
            <p:nvPr/>
          </p:nvCxnSpPr>
          <p:spPr>
            <a:xfrm flipV="1">
              <a:off x="5639243" y="1509418"/>
              <a:ext cx="572935" cy="371830"/>
            </a:xfrm>
            <a:prstGeom prst="line">
              <a:avLst/>
            </a:prstGeom>
            <a:noFill/>
            <a:ln w="28575">
              <a:solidFill>
                <a:schemeClr val="tx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cxnSp>
        <p:cxnSp>
          <p:nvCxnSpPr>
            <p:cNvPr id="41" name="Straight Connector 40"/>
            <p:cNvCxnSpPr/>
            <p:nvPr/>
          </p:nvCxnSpPr>
          <p:spPr>
            <a:xfrm>
              <a:off x="6204041" y="1509418"/>
              <a:ext cx="64877" cy="523296"/>
            </a:xfrm>
            <a:prstGeom prst="line">
              <a:avLst/>
            </a:prstGeom>
            <a:noFill/>
            <a:ln w="28575">
              <a:solidFill>
                <a:schemeClr val="tx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cxnSp>
        <p:cxnSp>
          <p:nvCxnSpPr>
            <p:cNvPr id="42" name="Straight Connector 41"/>
            <p:cNvCxnSpPr/>
            <p:nvPr/>
          </p:nvCxnSpPr>
          <p:spPr>
            <a:xfrm>
              <a:off x="5643150" y="1682338"/>
              <a:ext cx="0" cy="187278"/>
            </a:xfrm>
            <a:prstGeom prst="line">
              <a:avLst/>
            </a:prstGeom>
            <a:noFill/>
            <a:ln w="28575">
              <a:solidFill>
                <a:schemeClr val="tx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cxnSp>
        <p:sp>
          <p:nvSpPr>
            <p:cNvPr id="43" name="Isosceles Triangle 42"/>
            <p:cNvSpPr/>
            <p:nvPr/>
          </p:nvSpPr>
          <p:spPr bwMode="auto">
            <a:xfrm rot="1573030">
              <a:off x="5947706" y="1615645"/>
              <a:ext cx="291412" cy="235104"/>
            </a:xfrm>
            <a:prstGeom prst="triangle">
              <a:avLst/>
            </a:prstGeom>
            <a:noFill/>
            <a:ln w="28575">
              <a:solidFill>
                <a:schemeClr val="tx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alpha val="98824"/>
                  </a:srgbClr>
                </a:solidFill>
                <a:latin typeface="+mj-lt"/>
                <a:ea typeface="Segoe UI" pitchFamily="34" charset="0"/>
                <a:cs typeface="Segoe UI" pitchFamily="34" charset="0"/>
              </a:endParaRPr>
            </a:p>
          </p:txBody>
        </p:sp>
        <p:sp>
          <p:nvSpPr>
            <p:cNvPr id="44" name="Isosceles Triangle 43"/>
            <p:cNvSpPr/>
            <p:nvPr/>
          </p:nvSpPr>
          <p:spPr bwMode="auto">
            <a:xfrm rot="5400000">
              <a:off x="5677040" y="1755639"/>
              <a:ext cx="51796" cy="45719"/>
            </a:xfrm>
            <a:prstGeom prst="triangle">
              <a:avLst/>
            </a:prstGeom>
            <a:noFill/>
            <a:ln w="28575">
              <a:solidFill>
                <a:schemeClr val="tx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alpha val="98824"/>
                  </a:srgbClr>
                </a:solidFill>
                <a:latin typeface="+mj-lt"/>
                <a:ea typeface="Segoe UI" pitchFamily="34" charset="0"/>
                <a:cs typeface="Segoe UI" pitchFamily="34" charset="0"/>
              </a:endParaRPr>
            </a:p>
          </p:txBody>
        </p:sp>
      </p:grpSp>
      <p:pic>
        <p:nvPicPr>
          <p:cNvPr id="49" name="Picture 4" descr="Microsoft WebMatrix"/>
          <p:cNvPicPr>
            <a:picLocks noChangeAspect="1" noChangeArrowheads="1"/>
          </p:cNvPicPr>
          <p:nvPr/>
        </p:nvPicPr>
        <p:blipFill>
          <a:blip r:embed="rId6">
            <a:extLst>
              <a:ext uri="{BEBA8EAE-BF5A-486C-A8C5-ECC9F3942E4B}">
                <a14:imgProps xmlns:a14="http://schemas.microsoft.com/office/drawing/2010/main">
                  <a14:imgLayer r:embed="rId7">
                    <a14:imgEffect>
                      <a14:artisticPhotocopy/>
                    </a14:imgEffect>
                  </a14:imgLayer>
                </a14:imgProps>
              </a:ext>
              <a:ext uri="{28A0092B-C50C-407E-A947-70E740481C1C}">
                <a14:useLocalDpi xmlns:a14="http://schemas.microsoft.com/office/drawing/2010/main" val="0"/>
              </a:ext>
            </a:extLst>
          </a:blip>
          <a:srcRect/>
          <a:stretch>
            <a:fillRect/>
          </a:stretch>
        </p:blipFill>
        <p:spPr bwMode="auto">
          <a:xfrm>
            <a:off x="2422103" y="742950"/>
            <a:ext cx="676940" cy="676764"/>
          </a:xfrm>
          <a:prstGeom prst="rect">
            <a:avLst/>
          </a:prstGeom>
          <a:noFill/>
          <a:extLst>
            <a:ext uri="{909E8E84-426E-40DD-AFC4-6F175D3DCCD1}">
              <a14:hiddenFill xmlns:a14="http://schemas.microsoft.com/office/drawing/2010/main">
                <a:solidFill>
                  <a:srgbClr val="FFFFFF"/>
                </a:solidFill>
              </a14:hiddenFill>
            </a:ext>
          </a:extLst>
        </p:spPr>
      </p:pic>
      <p:sp>
        <p:nvSpPr>
          <p:cNvPr id="50" name="Freeform 79"/>
          <p:cNvSpPr>
            <a:spLocks noEditPoints="1"/>
          </p:cNvSpPr>
          <p:nvPr/>
        </p:nvSpPr>
        <p:spPr bwMode="auto">
          <a:xfrm>
            <a:off x="221840" y="2180032"/>
            <a:ext cx="1091761" cy="1020368"/>
          </a:xfrm>
          <a:custGeom>
            <a:avLst/>
            <a:gdLst>
              <a:gd name="T0" fmla="*/ 406 w 413"/>
              <a:gd name="T1" fmla="*/ 0 h 380"/>
              <a:gd name="T2" fmla="*/ 7 w 413"/>
              <a:gd name="T3" fmla="*/ 0 h 380"/>
              <a:gd name="T4" fmla="*/ 0 w 413"/>
              <a:gd name="T5" fmla="*/ 7 h 380"/>
              <a:gd name="T6" fmla="*/ 0 w 413"/>
              <a:gd name="T7" fmla="*/ 273 h 380"/>
              <a:gd name="T8" fmla="*/ 7 w 413"/>
              <a:gd name="T9" fmla="*/ 281 h 380"/>
              <a:gd name="T10" fmla="*/ 133 w 413"/>
              <a:gd name="T11" fmla="*/ 281 h 380"/>
              <a:gd name="T12" fmla="*/ 133 w 413"/>
              <a:gd name="T13" fmla="*/ 332 h 380"/>
              <a:gd name="T14" fmla="*/ 73 w 413"/>
              <a:gd name="T15" fmla="*/ 332 h 380"/>
              <a:gd name="T16" fmla="*/ 65 w 413"/>
              <a:gd name="T17" fmla="*/ 340 h 380"/>
              <a:gd name="T18" fmla="*/ 65 w 413"/>
              <a:gd name="T19" fmla="*/ 373 h 380"/>
              <a:gd name="T20" fmla="*/ 73 w 413"/>
              <a:gd name="T21" fmla="*/ 380 h 380"/>
              <a:gd name="T22" fmla="*/ 339 w 413"/>
              <a:gd name="T23" fmla="*/ 380 h 380"/>
              <a:gd name="T24" fmla="*/ 346 w 413"/>
              <a:gd name="T25" fmla="*/ 373 h 380"/>
              <a:gd name="T26" fmla="*/ 346 w 413"/>
              <a:gd name="T27" fmla="*/ 340 h 380"/>
              <a:gd name="T28" fmla="*/ 339 w 413"/>
              <a:gd name="T29" fmla="*/ 332 h 380"/>
              <a:gd name="T30" fmla="*/ 280 w 413"/>
              <a:gd name="T31" fmla="*/ 332 h 380"/>
              <a:gd name="T32" fmla="*/ 280 w 413"/>
              <a:gd name="T33" fmla="*/ 281 h 380"/>
              <a:gd name="T34" fmla="*/ 406 w 413"/>
              <a:gd name="T35" fmla="*/ 281 h 380"/>
              <a:gd name="T36" fmla="*/ 413 w 413"/>
              <a:gd name="T37" fmla="*/ 273 h 380"/>
              <a:gd name="T38" fmla="*/ 413 w 413"/>
              <a:gd name="T39" fmla="*/ 7 h 380"/>
              <a:gd name="T40" fmla="*/ 406 w 413"/>
              <a:gd name="T41" fmla="*/ 0 h 380"/>
              <a:gd name="T42" fmla="*/ 331 w 413"/>
              <a:gd name="T43" fmla="*/ 366 h 380"/>
              <a:gd name="T44" fmla="*/ 80 w 413"/>
              <a:gd name="T45" fmla="*/ 366 h 380"/>
              <a:gd name="T46" fmla="*/ 80 w 413"/>
              <a:gd name="T47" fmla="*/ 347 h 380"/>
              <a:gd name="T48" fmla="*/ 331 w 413"/>
              <a:gd name="T49" fmla="*/ 347 h 380"/>
              <a:gd name="T50" fmla="*/ 331 w 413"/>
              <a:gd name="T51" fmla="*/ 366 h 380"/>
              <a:gd name="T52" fmla="*/ 266 w 413"/>
              <a:gd name="T53" fmla="*/ 332 h 380"/>
              <a:gd name="T54" fmla="*/ 148 w 413"/>
              <a:gd name="T55" fmla="*/ 332 h 380"/>
              <a:gd name="T56" fmla="*/ 148 w 413"/>
              <a:gd name="T57" fmla="*/ 281 h 380"/>
              <a:gd name="T58" fmla="*/ 266 w 413"/>
              <a:gd name="T59" fmla="*/ 281 h 380"/>
              <a:gd name="T60" fmla="*/ 266 w 413"/>
              <a:gd name="T61" fmla="*/ 332 h 380"/>
              <a:gd name="T62" fmla="*/ 399 w 413"/>
              <a:gd name="T63" fmla="*/ 266 h 380"/>
              <a:gd name="T64" fmla="*/ 15 w 413"/>
              <a:gd name="T65" fmla="*/ 266 h 380"/>
              <a:gd name="T66" fmla="*/ 15 w 413"/>
              <a:gd name="T67" fmla="*/ 15 h 380"/>
              <a:gd name="T68" fmla="*/ 399 w 413"/>
              <a:gd name="T69" fmla="*/ 15 h 380"/>
              <a:gd name="T70" fmla="*/ 399 w 413"/>
              <a:gd name="T71" fmla="*/ 266 h 380"/>
              <a:gd name="T72" fmla="*/ 40 w 413"/>
              <a:gd name="T73" fmla="*/ 247 h 380"/>
              <a:gd name="T74" fmla="*/ 373 w 413"/>
              <a:gd name="T75" fmla="*/ 247 h 380"/>
              <a:gd name="T76" fmla="*/ 381 w 413"/>
              <a:gd name="T77" fmla="*/ 240 h 380"/>
              <a:gd name="T78" fmla="*/ 381 w 413"/>
              <a:gd name="T79" fmla="*/ 41 h 380"/>
              <a:gd name="T80" fmla="*/ 373 w 413"/>
              <a:gd name="T81" fmla="*/ 33 h 380"/>
              <a:gd name="T82" fmla="*/ 40 w 413"/>
              <a:gd name="T83" fmla="*/ 33 h 380"/>
              <a:gd name="T84" fmla="*/ 33 w 413"/>
              <a:gd name="T85" fmla="*/ 41 h 380"/>
              <a:gd name="T86" fmla="*/ 33 w 413"/>
              <a:gd name="T87" fmla="*/ 240 h 380"/>
              <a:gd name="T88" fmla="*/ 40 w 413"/>
              <a:gd name="T89" fmla="*/ 247 h 380"/>
              <a:gd name="T90" fmla="*/ 47 w 413"/>
              <a:gd name="T91" fmla="*/ 48 h 380"/>
              <a:gd name="T92" fmla="*/ 366 w 413"/>
              <a:gd name="T93" fmla="*/ 48 h 380"/>
              <a:gd name="T94" fmla="*/ 366 w 413"/>
              <a:gd name="T95" fmla="*/ 233 h 380"/>
              <a:gd name="T96" fmla="*/ 47 w 413"/>
              <a:gd name="T97" fmla="*/ 233 h 380"/>
              <a:gd name="T98" fmla="*/ 47 w 413"/>
              <a:gd name="T99" fmla="*/ 48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3" h="380">
                <a:moveTo>
                  <a:pt x="406" y="0"/>
                </a:moveTo>
                <a:cubicBezTo>
                  <a:pt x="7" y="0"/>
                  <a:pt x="7" y="0"/>
                  <a:pt x="7" y="0"/>
                </a:cubicBezTo>
                <a:cubicBezTo>
                  <a:pt x="3" y="0"/>
                  <a:pt x="0" y="3"/>
                  <a:pt x="0" y="7"/>
                </a:cubicBezTo>
                <a:cubicBezTo>
                  <a:pt x="0" y="273"/>
                  <a:pt x="0" y="273"/>
                  <a:pt x="0" y="273"/>
                </a:cubicBezTo>
                <a:cubicBezTo>
                  <a:pt x="0" y="277"/>
                  <a:pt x="3" y="281"/>
                  <a:pt x="7" y="281"/>
                </a:cubicBezTo>
                <a:cubicBezTo>
                  <a:pt x="133" y="281"/>
                  <a:pt x="133" y="281"/>
                  <a:pt x="133" y="281"/>
                </a:cubicBezTo>
                <a:cubicBezTo>
                  <a:pt x="133" y="332"/>
                  <a:pt x="133" y="332"/>
                  <a:pt x="133" y="332"/>
                </a:cubicBezTo>
                <a:cubicBezTo>
                  <a:pt x="73" y="332"/>
                  <a:pt x="73" y="332"/>
                  <a:pt x="73" y="332"/>
                </a:cubicBezTo>
                <a:cubicBezTo>
                  <a:pt x="69" y="332"/>
                  <a:pt x="65" y="336"/>
                  <a:pt x="65" y="340"/>
                </a:cubicBezTo>
                <a:cubicBezTo>
                  <a:pt x="65" y="373"/>
                  <a:pt x="65" y="373"/>
                  <a:pt x="65" y="373"/>
                </a:cubicBezTo>
                <a:cubicBezTo>
                  <a:pt x="65" y="377"/>
                  <a:pt x="69" y="380"/>
                  <a:pt x="73" y="380"/>
                </a:cubicBezTo>
                <a:cubicBezTo>
                  <a:pt x="339" y="380"/>
                  <a:pt x="339" y="380"/>
                  <a:pt x="339" y="380"/>
                </a:cubicBezTo>
                <a:cubicBezTo>
                  <a:pt x="343" y="380"/>
                  <a:pt x="346" y="377"/>
                  <a:pt x="346" y="373"/>
                </a:cubicBezTo>
                <a:cubicBezTo>
                  <a:pt x="346" y="340"/>
                  <a:pt x="346" y="340"/>
                  <a:pt x="346" y="340"/>
                </a:cubicBezTo>
                <a:cubicBezTo>
                  <a:pt x="346" y="336"/>
                  <a:pt x="343" y="332"/>
                  <a:pt x="339" y="332"/>
                </a:cubicBezTo>
                <a:cubicBezTo>
                  <a:pt x="280" y="332"/>
                  <a:pt x="280" y="332"/>
                  <a:pt x="280" y="332"/>
                </a:cubicBezTo>
                <a:cubicBezTo>
                  <a:pt x="280" y="281"/>
                  <a:pt x="280" y="281"/>
                  <a:pt x="280" y="281"/>
                </a:cubicBezTo>
                <a:cubicBezTo>
                  <a:pt x="406" y="281"/>
                  <a:pt x="406" y="281"/>
                  <a:pt x="406" y="281"/>
                </a:cubicBezTo>
                <a:cubicBezTo>
                  <a:pt x="410" y="281"/>
                  <a:pt x="413" y="277"/>
                  <a:pt x="413" y="273"/>
                </a:cubicBezTo>
                <a:cubicBezTo>
                  <a:pt x="413" y="7"/>
                  <a:pt x="413" y="7"/>
                  <a:pt x="413" y="7"/>
                </a:cubicBezTo>
                <a:cubicBezTo>
                  <a:pt x="413" y="3"/>
                  <a:pt x="410" y="0"/>
                  <a:pt x="406" y="0"/>
                </a:cubicBezTo>
                <a:close/>
                <a:moveTo>
                  <a:pt x="331" y="366"/>
                </a:moveTo>
                <a:cubicBezTo>
                  <a:pt x="80" y="366"/>
                  <a:pt x="80" y="366"/>
                  <a:pt x="80" y="366"/>
                </a:cubicBezTo>
                <a:cubicBezTo>
                  <a:pt x="80" y="347"/>
                  <a:pt x="80" y="347"/>
                  <a:pt x="80" y="347"/>
                </a:cubicBezTo>
                <a:cubicBezTo>
                  <a:pt x="331" y="347"/>
                  <a:pt x="331" y="347"/>
                  <a:pt x="331" y="347"/>
                </a:cubicBezTo>
                <a:lnTo>
                  <a:pt x="331" y="366"/>
                </a:lnTo>
                <a:close/>
                <a:moveTo>
                  <a:pt x="266" y="332"/>
                </a:moveTo>
                <a:cubicBezTo>
                  <a:pt x="148" y="332"/>
                  <a:pt x="148" y="332"/>
                  <a:pt x="148" y="332"/>
                </a:cubicBezTo>
                <a:cubicBezTo>
                  <a:pt x="148" y="281"/>
                  <a:pt x="148" y="281"/>
                  <a:pt x="148" y="281"/>
                </a:cubicBezTo>
                <a:cubicBezTo>
                  <a:pt x="266" y="281"/>
                  <a:pt x="266" y="281"/>
                  <a:pt x="266" y="281"/>
                </a:cubicBezTo>
                <a:lnTo>
                  <a:pt x="266" y="332"/>
                </a:lnTo>
                <a:close/>
                <a:moveTo>
                  <a:pt x="399" y="266"/>
                </a:moveTo>
                <a:cubicBezTo>
                  <a:pt x="15" y="266"/>
                  <a:pt x="15" y="266"/>
                  <a:pt x="15" y="266"/>
                </a:cubicBezTo>
                <a:cubicBezTo>
                  <a:pt x="15" y="15"/>
                  <a:pt x="15" y="15"/>
                  <a:pt x="15" y="15"/>
                </a:cubicBezTo>
                <a:cubicBezTo>
                  <a:pt x="399" y="15"/>
                  <a:pt x="399" y="15"/>
                  <a:pt x="399" y="15"/>
                </a:cubicBezTo>
                <a:lnTo>
                  <a:pt x="399" y="266"/>
                </a:lnTo>
                <a:close/>
                <a:moveTo>
                  <a:pt x="40" y="247"/>
                </a:moveTo>
                <a:cubicBezTo>
                  <a:pt x="373" y="247"/>
                  <a:pt x="373" y="247"/>
                  <a:pt x="373" y="247"/>
                </a:cubicBezTo>
                <a:cubicBezTo>
                  <a:pt x="377" y="247"/>
                  <a:pt x="381" y="244"/>
                  <a:pt x="381" y="240"/>
                </a:cubicBezTo>
                <a:cubicBezTo>
                  <a:pt x="381" y="41"/>
                  <a:pt x="381" y="41"/>
                  <a:pt x="381" y="41"/>
                </a:cubicBezTo>
                <a:cubicBezTo>
                  <a:pt x="381" y="37"/>
                  <a:pt x="377" y="33"/>
                  <a:pt x="373" y="33"/>
                </a:cubicBezTo>
                <a:cubicBezTo>
                  <a:pt x="40" y="33"/>
                  <a:pt x="40" y="33"/>
                  <a:pt x="40" y="33"/>
                </a:cubicBezTo>
                <a:cubicBezTo>
                  <a:pt x="36" y="33"/>
                  <a:pt x="33" y="37"/>
                  <a:pt x="33" y="41"/>
                </a:cubicBezTo>
                <a:cubicBezTo>
                  <a:pt x="33" y="240"/>
                  <a:pt x="33" y="240"/>
                  <a:pt x="33" y="240"/>
                </a:cubicBezTo>
                <a:cubicBezTo>
                  <a:pt x="33" y="244"/>
                  <a:pt x="36" y="247"/>
                  <a:pt x="40" y="247"/>
                </a:cubicBezTo>
                <a:close/>
                <a:moveTo>
                  <a:pt x="47" y="48"/>
                </a:moveTo>
                <a:cubicBezTo>
                  <a:pt x="366" y="48"/>
                  <a:pt x="366" y="48"/>
                  <a:pt x="366" y="48"/>
                </a:cubicBezTo>
                <a:cubicBezTo>
                  <a:pt x="366" y="233"/>
                  <a:pt x="366" y="233"/>
                  <a:pt x="366" y="233"/>
                </a:cubicBezTo>
                <a:cubicBezTo>
                  <a:pt x="47" y="233"/>
                  <a:pt x="47" y="233"/>
                  <a:pt x="47" y="233"/>
                </a:cubicBezTo>
                <a:lnTo>
                  <a:pt x="47" y="48"/>
                </a:lnTo>
                <a:close/>
              </a:path>
            </a:pathLst>
          </a:custGeom>
          <a:solidFill>
            <a:srgbClr val="FFFFFF"/>
          </a:solidFill>
          <a:ln>
            <a:noFill/>
          </a:ln>
        </p:spPr>
        <p:txBody>
          <a:bodyPr vert="horz" wrap="square" lIns="68571" tIns="34286" rIns="68571" bIns="34286" numCol="1" anchor="t" anchorCtr="0" compatLnSpc="1">
            <a:prstTxWarp prst="textNoShape">
              <a:avLst/>
            </a:prstTxWarp>
          </a:bodyPr>
          <a:lstStyle/>
          <a:p>
            <a:endParaRPr lang="en-US">
              <a:latin typeface="+mj-lt"/>
            </a:endParaRPr>
          </a:p>
        </p:txBody>
      </p:sp>
      <p:grpSp>
        <p:nvGrpSpPr>
          <p:cNvPr id="25" name="Group 24"/>
          <p:cNvGrpSpPr/>
          <p:nvPr/>
        </p:nvGrpSpPr>
        <p:grpSpPr>
          <a:xfrm>
            <a:off x="2399736" y="3937875"/>
            <a:ext cx="834403" cy="572117"/>
            <a:chOff x="3198812" y="4589239"/>
            <a:chExt cx="1194016" cy="849168"/>
          </a:xfrm>
        </p:grpSpPr>
        <p:sp>
          <p:nvSpPr>
            <p:cNvPr id="3" name="Rectangle 2"/>
            <p:cNvSpPr/>
            <p:nvPr/>
          </p:nvSpPr>
          <p:spPr bwMode="auto">
            <a:xfrm>
              <a:off x="3228629" y="4589239"/>
              <a:ext cx="1164199" cy="849168"/>
            </a:xfrm>
            <a:prstGeom prst="rect">
              <a:avLst/>
            </a:prstGeom>
            <a:noFill/>
            <a:ln w="28575">
              <a:solidFill>
                <a:schemeClr val="tx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alpha val="98824"/>
                  </a:srgbClr>
                </a:solidFill>
                <a:latin typeface="+mj-lt"/>
                <a:ea typeface="Segoe UI" pitchFamily="34" charset="0"/>
                <a:cs typeface="Segoe UI" pitchFamily="34" charset="0"/>
              </a:endParaRPr>
            </a:p>
          </p:txBody>
        </p:sp>
        <p:cxnSp>
          <p:nvCxnSpPr>
            <p:cNvPr id="21" name="Straight Connector 20"/>
            <p:cNvCxnSpPr/>
            <p:nvPr/>
          </p:nvCxnSpPr>
          <p:spPr>
            <a:xfrm>
              <a:off x="3228629" y="4724400"/>
              <a:ext cx="1164199" cy="0"/>
            </a:xfrm>
            <a:prstGeom prst="line">
              <a:avLst/>
            </a:prstGeom>
            <a:noFill/>
            <a:ln w="28575">
              <a:solidFill>
                <a:schemeClr val="tx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cxnSp>
        <p:sp>
          <p:nvSpPr>
            <p:cNvPr id="23" name="TextBox 22"/>
            <p:cNvSpPr txBox="1"/>
            <p:nvPr/>
          </p:nvSpPr>
          <p:spPr>
            <a:xfrm>
              <a:off x="3198812" y="4699135"/>
              <a:ext cx="1096930" cy="639547"/>
            </a:xfrm>
            <a:prstGeom prst="rect">
              <a:avLst/>
            </a:prstGeom>
            <a:noFill/>
          </p:spPr>
          <p:txBody>
            <a:bodyPr wrap="none" lIns="91440" tIns="91440" rIns="91440" bIns="91440" rtlCol="0">
              <a:spAutoFit/>
            </a:bodyPr>
            <a:lstStyle/>
            <a:p>
              <a:pPr>
                <a:lnSpc>
                  <a:spcPct val="90000"/>
                </a:lnSpc>
                <a:spcBef>
                  <a:spcPct val="20000"/>
                </a:spcBef>
                <a:buSzPct val="90000"/>
              </a:pPr>
              <a:r>
                <a:rPr lang="en-US" sz="800" dirty="0" err="1">
                  <a:solidFill>
                    <a:schemeClr val="tx1">
                      <a:alpha val="99000"/>
                    </a:schemeClr>
                  </a:solidFill>
                  <a:latin typeface="+mj-lt"/>
                  <a:cs typeface="Consolas" pitchFamily="49" charset="0"/>
                </a:rPr>
                <a:t>git</a:t>
              </a:r>
              <a:r>
                <a:rPr lang="en-US" sz="800" dirty="0">
                  <a:solidFill>
                    <a:schemeClr val="tx1">
                      <a:alpha val="99000"/>
                    </a:schemeClr>
                  </a:solidFill>
                  <a:latin typeface="+mj-lt"/>
                  <a:cs typeface="Consolas" pitchFamily="49" charset="0"/>
                </a:rPr>
                <a:t> push </a:t>
              </a:r>
            </a:p>
            <a:p>
              <a:pPr>
                <a:lnSpc>
                  <a:spcPct val="90000"/>
                </a:lnSpc>
                <a:spcBef>
                  <a:spcPct val="20000"/>
                </a:spcBef>
                <a:buSzPct val="90000"/>
              </a:pPr>
              <a:r>
                <a:rPr lang="en-US" sz="800" dirty="0">
                  <a:solidFill>
                    <a:schemeClr val="tx1">
                      <a:alpha val="99000"/>
                    </a:schemeClr>
                  </a:solidFill>
                  <a:latin typeface="+mj-lt"/>
                  <a:cs typeface="Consolas" pitchFamily="49" charset="0"/>
                </a:rPr>
                <a:t>azure master</a:t>
              </a:r>
              <a:endParaRPr lang="en-US" dirty="0" smtClean="0">
                <a:solidFill>
                  <a:schemeClr val="tx1">
                    <a:alpha val="99000"/>
                  </a:schemeClr>
                </a:solidFill>
                <a:latin typeface="+mj-lt"/>
                <a:cs typeface="Consolas" pitchFamily="49" charset="0"/>
              </a:endParaRPr>
            </a:p>
          </p:txBody>
        </p:sp>
      </p:grpSp>
      <p:sp>
        <p:nvSpPr>
          <p:cNvPr id="65" name="TextBox 64"/>
          <p:cNvSpPr txBox="1"/>
          <p:nvPr/>
        </p:nvSpPr>
        <p:spPr>
          <a:xfrm>
            <a:off x="2167467" y="1446846"/>
            <a:ext cx="534180" cy="252761"/>
          </a:xfrm>
          <a:prstGeom prst="rect">
            <a:avLst/>
          </a:prstGeom>
          <a:noFill/>
        </p:spPr>
        <p:txBody>
          <a:bodyPr wrap="none" lIns="68571" tIns="68571" rIns="68571" bIns="68571" rtlCol="0">
            <a:spAutoFit/>
          </a:bodyPr>
          <a:lstStyle/>
          <a:p>
            <a:pPr>
              <a:lnSpc>
                <a:spcPct val="90000"/>
              </a:lnSpc>
              <a:spcBef>
                <a:spcPct val="20000"/>
              </a:spcBef>
              <a:buSzPct val="90000"/>
            </a:pPr>
            <a:r>
              <a:rPr lang="en-US" sz="800" dirty="0">
                <a:solidFill>
                  <a:schemeClr val="tx1">
                    <a:alpha val="99000"/>
                  </a:schemeClr>
                </a:solidFill>
                <a:latin typeface="+mj-lt"/>
              </a:rPr>
              <a:t>ASP.NET</a:t>
            </a:r>
            <a:endParaRPr lang="en-US" sz="1200" dirty="0">
              <a:solidFill>
                <a:schemeClr val="tx1">
                  <a:alpha val="99000"/>
                </a:schemeClr>
              </a:solidFill>
              <a:latin typeface="+mj-lt"/>
            </a:endParaRPr>
          </a:p>
        </p:txBody>
      </p:sp>
      <p:sp>
        <p:nvSpPr>
          <p:cNvPr id="67" name="TextBox 66"/>
          <p:cNvSpPr txBox="1"/>
          <p:nvPr/>
        </p:nvSpPr>
        <p:spPr>
          <a:xfrm>
            <a:off x="2971383" y="1429086"/>
            <a:ext cx="330946" cy="252761"/>
          </a:xfrm>
          <a:prstGeom prst="rect">
            <a:avLst/>
          </a:prstGeom>
          <a:noFill/>
        </p:spPr>
        <p:txBody>
          <a:bodyPr wrap="none" lIns="68571" tIns="68571" rIns="68571" bIns="68571" rtlCol="0">
            <a:spAutoFit/>
          </a:bodyPr>
          <a:lstStyle/>
          <a:p>
            <a:pPr>
              <a:lnSpc>
                <a:spcPct val="90000"/>
              </a:lnSpc>
              <a:spcBef>
                <a:spcPct val="20000"/>
              </a:spcBef>
              <a:buSzPct val="90000"/>
            </a:pPr>
            <a:r>
              <a:rPr lang="en-US" sz="800" dirty="0">
                <a:solidFill>
                  <a:schemeClr val="tx1">
                    <a:alpha val="99000"/>
                  </a:schemeClr>
                </a:solidFill>
                <a:latin typeface="+mj-lt"/>
              </a:rPr>
              <a:t>PHP</a:t>
            </a:r>
            <a:endParaRPr lang="en-US" sz="1200" dirty="0">
              <a:solidFill>
                <a:schemeClr val="tx1">
                  <a:alpha val="99000"/>
                </a:schemeClr>
              </a:solidFill>
              <a:latin typeface="+mj-lt"/>
            </a:endParaRPr>
          </a:p>
        </p:txBody>
      </p:sp>
      <p:sp>
        <p:nvSpPr>
          <p:cNvPr id="68" name="TextBox 67"/>
          <p:cNvSpPr txBox="1"/>
          <p:nvPr/>
        </p:nvSpPr>
        <p:spPr>
          <a:xfrm>
            <a:off x="2576976" y="2947645"/>
            <a:ext cx="534180" cy="252761"/>
          </a:xfrm>
          <a:prstGeom prst="rect">
            <a:avLst/>
          </a:prstGeom>
          <a:noFill/>
        </p:spPr>
        <p:txBody>
          <a:bodyPr wrap="none" lIns="68571" tIns="68571" rIns="68571" bIns="68571" rtlCol="0">
            <a:spAutoFit/>
          </a:bodyPr>
          <a:lstStyle/>
          <a:p>
            <a:pPr>
              <a:lnSpc>
                <a:spcPct val="90000"/>
              </a:lnSpc>
              <a:spcBef>
                <a:spcPct val="20000"/>
              </a:spcBef>
              <a:buSzPct val="90000"/>
            </a:pPr>
            <a:r>
              <a:rPr lang="en-US" sz="800" dirty="0">
                <a:solidFill>
                  <a:schemeClr val="tx1">
                    <a:alpha val="99000"/>
                  </a:schemeClr>
                </a:solidFill>
                <a:latin typeface="+mj-lt"/>
              </a:rPr>
              <a:t>ASP.NET</a:t>
            </a:r>
            <a:endParaRPr lang="en-US" sz="1200" dirty="0">
              <a:solidFill>
                <a:schemeClr val="tx1">
                  <a:alpha val="99000"/>
                </a:schemeClr>
              </a:solidFill>
              <a:latin typeface="+mj-lt"/>
            </a:endParaRPr>
          </a:p>
        </p:txBody>
      </p:sp>
      <p:pic>
        <p:nvPicPr>
          <p:cNvPr id="69" name="Picture 68" descr="http://chuangyiji.com/wp-content/uploads/2011/08/logo.png"/>
          <p:cNvPicPr>
            <a:picLocks noChangeAspect="1" noChangeArrowheads="1"/>
          </p:cNvPicPr>
          <p:nvPr/>
        </p:nvPicPr>
        <p:blipFill rotWithShape="1">
          <a:blip r:embed="rId4">
            <a:extLst>
              <a:ext uri="{BEBA8EAE-BF5A-486C-A8C5-ECC9F3942E4B}">
                <a14:imgProps xmlns:a14="http://schemas.microsoft.com/office/drawing/2010/main">
                  <a14:imgLayer r:embed="rId5">
                    <a14:imgEffect>
                      <a14:artisticPencilGrayscale/>
                    </a14:imgEffect>
                  </a14:imgLayer>
                </a14:imgProps>
              </a:ext>
              <a:ext uri="{28A0092B-C50C-407E-A947-70E740481C1C}">
                <a14:useLocalDpi xmlns:a14="http://schemas.microsoft.com/office/drawing/2010/main" val="0"/>
              </a:ext>
            </a:extLst>
          </a:blip>
          <a:srcRect l="46063" t="36565" r="40697" b="12024"/>
          <a:stretch/>
        </p:blipFill>
        <p:spPr bwMode="auto">
          <a:xfrm>
            <a:off x="2799888" y="4509993"/>
            <a:ext cx="242076" cy="248363"/>
          </a:xfrm>
          <a:prstGeom prst="rect">
            <a:avLst/>
          </a:prstGeom>
          <a:noFill/>
          <a:extLst>
            <a:ext uri="{909E8E84-426E-40DD-AFC4-6F175D3DCCD1}">
              <a14:hiddenFill xmlns:a14="http://schemas.microsoft.com/office/drawing/2010/main">
                <a:solidFill>
                  <a:srgbClr val="FFFFFF"/>
                </a:solidFill>
              </a14:hiddenFill>
            </a:ext>
          </a:extLst>
        </p:spPr>
      </p:pic>
      <p:sp>
        <p:nvSpPr>
          <p:cNvPr id="70" name="TextBox 69"/>
          <p:cNvSpPr txBox="1"/>
          <p:nvPr/>
        </p:nvSpPr>
        <p:spPr>
          <a:xfrm>
            <a:off x="2281797" y="4547845"/>
            <a:ext cx="534180" cy="252761"/>
          </a:xfrm>
          <a:prstGeom prst="rect">
            <a:avLst/>
          </a:prstGeom>
          <a:noFill/>
        </p:spPr>
        <p:txBody>
          <a:bodyPr wrap="none" lIns="68571" tIns="68571" rIns="68571" bIns="68571" rtlCol="0">
            <a:spAutoFit/>
          </a:bodyPr>
          <a:lstStyle/>
          <a:p>
            <a:pPr>
              <a:lnSpc>
                <a:spcPct val="90000"/>
              </a:lnSpc>
              <a:spcBef>
                <a:spcPct val="20000"/>
              </a:spcBef>
              <a:buSzPct val="90000"/>
            </a:pPr>
            <a:r>
              <a:rPr lang="en-US" sz="800" dirty="0">
                <a:solidFill>
                  <a:schemeClr val="tx1">
                    <a:alpha val="99000"/>
                  </a:schemeClr>
                </a:solidFill>
                <a:latin typeface="+mj-lt"/>
              </a:rPr>
              <a:t>ASP.NET</a:t>
            </a:r>
            <a:endParaRPr lang="en-US" sz="1200" dirty="0">
              <a:solidFill>
                <a:schemeClr val="tx1">
                  <a:alpha val="99000"/>
                </a:schemeClr>
              </a:solidFill>
              <a:latin typeface="+mj-lt"/>
            </a:endParaRPr>
          </a:p>
        </p:txBody>
      </p:sp>
      <p:sp>
        <p:nvSpPr>
          <p:cNvPr id="71" name="TextBox 70"/>
          <p:cNvSpPr txBox="1"/>
          <p:nvPr/>
        </p:nvSpPr>
        <p:spPr>
          <a:xfrm>
            <a:off x="3085712" y="4530087"/>
            <a:ext cx="330946" cy="252761"/>
          </a:xfrm>
          <a:prstGeom prst="rect">
            <a:avLst/>
          </a:prstGeom>
          <a:noFill/>
        </p:spPr>
        <p:txBody>
          <a:bodyPr wrap="none" lIns="68571" tIns="68571" rIns="68571" bIns="68571" rtlCol="0">
            <a:spAutoFit/>
          </a:bodyPr>
          <a:lstStyle/>
          <a:p>
            <a:pPr>
              <a:lnSpc>
                <a:spcPct val="90000"/>
              </a:lnSpc>
              <a:spcBef>
                <a:spcPct val="20000"/>
              </a:spcBef>
              <a:buSzPct val="90000"/>
            </a:pPr>
            <a:r>
              <a:rPr lang="en-US" sz="800" dirty="0">
                <a:solidFill>
                  <a:schemeClr val="tx1">
                    <a:alpha val="99000"/>
                  </a:schemeClr>
                </a:solidFill>
                <a:latin typeface="+mj-lt"/>
              </a:rPr>
              <a:t>PHP</a:t>
            </a:r>
            <a:endParaRPr lang="en-US" sz="1200" dirty="0">
              <a:solidFill>
                <a:schemeClr val="tx1">
                  <a:alpha val="99000"/>
                </a:schemeClr>
              </a:solidFill>
              <a:latin typeface="+mj-lt"/>
            </a:endParaRPr>
          </a:p>
        </p:txBody>
      </p:sp>
      <p:sp>
        <p:nvSpPr>
          <p:cNvPr id="74" name="Right Arrow 73"/>
          <p:cNvSpPr/>
          <p:nvPr/>
        </p:nvSpPr>
        <p:spPr bwMode="auto">
          <a:xfrm rot="19408389">
            <a:off x="1454164" y="1355638"/>
            <a:ext cx="571649" cy="218900"/>
          </a:xfrm>
          <a:prstGeom prst="rightArrow">
            <a:avLst/>
          </a:prstGeom>
          <a:noFill/>
          <a:ln w="19050">
            <a:solidFill>
              <a:schemeClr val="tx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alpha val="98824"/>
                </a:srgbClr>
              </a:solidFill>
              <a:latin typeface="+mj-lt"/>
              <a:ea typeface="Segoe UI" pitchFamily="34" charset="0"/>
              <a:cs typeface="Segoe UI" pitchFamily="34" charset="0"/>
            </a:endParaRPr>
          </a:p>
        </p:txBody>
      </p:sp>
      <p:sp>
        <p:nvSpPr>
          <p:cNvPr id="75" name="Right Arrow 74"/>
          <p:cNvSpPr/>
          <p:nvPr/>
        </p:nvSpPr>
        <p:spPr bwMode="auto">
          <a:xfrm>
            <a:off x="1587341" y="2491906"/>
            <a:ext cx="571649" cy="218900"/>
          </a:xfrm>
          <a:prstGeom prst="rightArrow">
            <a:avLst/>
          </a:prstGeom>
          <a:noFill/>
          <a:ln w="19050">
            <a:solidFill>
              <a:schemeClr val="tx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alpha val="98824"/>
                </a:srgbClr>
              </a:solidFill>
              <a:latin typeface="+mj-lt"/>
              <a:ea typeface="Segoe UI" pitchFamily="34" charset="0"/>
              <a:cs typeface="Segoe UI" pitchFamily="34" charset="0"/>
            </a:endParaRPr>
          </a:p>
        </p:txBody>
      </p:sp>
      <p:sp>
        <p:nvSpPr>
          <p:cNvPr id="76" name="Right Arrow 75"/>
          <p:cNvSpPr/>
          <p:nvPr/>
        </p:nvSpPr>
        <p:spPr bwMode="auto">
          <a:xfrm rot="1825862">
            <a:off x="1423148" y="3783061"/>
            <a:ext cx="571649" cy="218900"/>
          </a:xfrm>
          <a:prstGeom prst="rightArrow">
            <a:avLst/>
          </a:prstGeom>
          <a:noFill/>
          <a:ln w="19050">
            <a:solidFill>
              <a:schemeClr val="tx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alpha val="98824"/>
                </a:srgbClr>
              </a:solidFill>
              <a:latin typeface="+mj-lt"/>
              <a:ea typeface="Segoe UI" pitchFamily="34" charset="0"/>
              <a:cs typeface="Segoe UI" pitchFamily="34" charset="0"/>
            </a:endParaRPr>
          </a:p>
        </p:txBody>
      </p:sp>
      <p:sp>
        <p:nvSpPr>
          <p:cNvPr id="77" name="TextBox 76"/>
          <p:cNvSpPr txBox="1"/>
          <p:nvPr/>
        </p:nvSpPr>
        <p:spPr>
          <a:xfrm>
            <a:off x="341798" y="2343156"/>
            <a:ext cx="823420" cy="415499"/>
          </a:xfrm>
          <a:prstGeom prst="rect">
            <a:avLst/>
          </a:prstGeom>
          <a:noFill/>
        </p:spPr>
        <p:txBody>
          <a:bodyPr wrap="none" lIns="68571" tIns="68571" rIns="68571" bIns="68571" rtlCol="0">
            <a:spAutoFit/>
          </a:bodyPr>
          <a:lstStyle/>
          <a:p>
            <a:pPr>
              <a:lnSpc>
                <a:spcPct val="90000"/>
              </a:lnSpc>
              <a:spcBef>
                <a:spcPct val="20000"/>
              </a:spcBef>
              <a:buSzPct val="90000"/>
            </a:pPr>
            <a:r>
              <a:rPr lang="en-US" sz="900" dirty="0">
                <a:solidFill>
                  <a:schemeClr val="tx1">
                    <a:alpha val="99000"/>
                  </a:schemeClr>
                </a:solidFill>
                <a:latin typeface="+mj-lt"/>
                <a:cs typeface="Consolas" pitchFamily="49" charset="0"/>
              </a:rPr>
              <a:t>/* code </a:t>
            </a:r>
          </a:p>
          <a:p>
            <a:pPr>
              <a:lnSpc>
                <a:spcPct val="90000"/>
              </a:lnSpc>
              <a:spcBef>
                <a:spcPct val="20000"/>
              </a:spcBef>
              <a:buSzPct val="90000"/>
            </a:pPr>
            <a:r>
              <a:rPr lang="en-US" sz="900" dirty="0">
                <a:solidFill>
                  <a:schemeClr val="tx1">
                    <a:alpha val="99000"/>
                  </a:schemeClr>
                </a:solidFill>
                <a:latin typeface="+mj-lt"/>
                <a:cs typeface="Consolas" pitchFamily="49" charset="0"/>
              </a:rPr>
              <a:t>awesomely */</a:t>
            </a:r>
          </a:p>
        </p:txBody>
      </p:sp>
      <p:grpSp>
        <p:nvGrpSpPr>
          <p:cNvPr id="89" name="Group 88"/>
          <p:cNvGrpSpPr/>
          <p:nvPr/>
        </p:nvGrpSpPr>
        <p:grpSpPr>
          <a:xfrm>
            <a:off x="3886021" y="742951"/>
            <a:ext cx="1984439" cy="611000"/>
            <a:chOff x="5408612" y="544782"/>
            <a:chExt cx="2971800" cy="902667"/>
          </a:xfrm>
          <a:solidFill>
            <a:schemeClr val="tx1">
              <a:lumMod val="95000"/>
            </a:schemeClr>
          </a:solidFill>
        </p:grpSpPr>
        <p:sp>
          <p:nvSpPr>
            <p:cNvPr id="81" name="Arc 80"/>
            <p:cNvSpPr/>
            <p:nvPr/>
          </p:nvSpPr>
          <p:spPr>
            <a:xfrm>
              <a:off x="5844042" y="674914"/>
              <a:ext cx="2209800" cy="381000"/>
            </a:xfrm>
            <a:prstGeom prst="arc">
              <a:avLst>
                <a:gd name="adj1" fmla="val 11053173"/>
                <a:gd name="adj2" fmla="val 21292173"/>
              </a:avLst>
            </a:prstGeom>
            <a:grpFill/>
            <a:ln w="28575">
              <a:solidFill>
                <a:schemeClr val="tx1">
                  <a:lumMod val="9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mj-lt"/>
              </a:endParaRPr>
            </a:p>
          </p:txBody>
        </p:sp>
        <p:sp>
          <p:nvSpPr>
            <p:cNvPr id="82" name="Rectangle 81"/>
            <p:cNvSpPr/>
            <p:nvPr/>
          </p:nvSpPr>
          <p:spPr bwMode="auto">
            <a:xfrm>
              <a:off x="5882381" y="763217"/>
              <a:ext cx="2024261" cy="454765"/>
            </a:xfrm>
            <a:prstGeom prst="rect">
              <a:avLst/>
            </a:prstGeom>
            <a:grpFill/>
            <a:ln w="28575">
              <a:solidFill>
                <a:schemeClr val="tx1">
                  <a:lumMod val="95000"/>
                </a:schemeClr>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alpha val="98824"/>
                  </a:srgbClr>
                </a:solidFill>
                <a:latin typeface="+mj-lt"/>
                <a:ea typeface="Segoe UI" pitchFamily="34" charset="0"/>
                <a:cs typeface="Segoe UI" pitchFamily="34" charset="0"/>
              </a:endParaRPr>
            </a:p>
          </p:txBody>
        </p:sp>
        <p:sp>
          <p:nvSpPr>
            <p:cNvPr id="83" name="Isosceles Triangle 82"/>
            <p:cNvSpPr/>
            <p:nvPr/>
          </p:nvSpPr>
          <p:spPr bwMode="auto">
            <a:xfrm>
              <a:off x="5425181" y="544782"/>
              <a:ext cx="914400" cy="224018"/>
            </a:xfrm>
            <a:prstGeom prst="triangle">
              <a:avLst/>
            </a:prstGeom>
            <a:grpFill/>
            <a:ln w="28575">
              <a:solidFill>
                <a:schemeClr val="tx1">
                  <a:lumMod val="95000"/>
                </a:schemeClr>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alpha val="98824"/>
                  </a:srgbClr>
                </a:solidFill>
                <a:latin typeface="+mj-lt"/>
                <a:ea typeface="Segoe UI" pitchFamily="34" charset="0"/>
                <a:cs typeface="Segoe UI" pitchFamily="34" charset="0"/>
              </a:endParaRPr>
            </a:p>
          </p:txBody>
        </p:sp>
        <p:sp>
          <p:nvSpPr>
            <p:cNvPr id="84" name="Isosceles Triangle 83"/>
            <p:cNvSpPr/>
            <p:nvPr/>
          </p:nvSpPr>
          <p:spPr bwMode="auto">
            <a:xfrm rot="10800000">
              <a:off x="5437565" y="1223431"/>
              <a:ext cx="914400" cy="224018"/>
            </a:xfrm>
            <a:prstGeom prst="triangle">
              <a:avLst/>
            </a:prstGeom>
            <a:grpFill/>
            <a:ln w="28575">
              <a:solidFill>
                <a:schemeClr val="tx1">
                  <a:lumMod val="95000"/>
                </a:schemeClr>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alpha val="98824"/>
                  </a:srgbClr>
                </a:solidFill>
                <a:latin typeface="+mj-lt"/>
                <a:ea typeface="Segoe UI" pitchFamily="34" charset="0"/>
                <a:cs typeface="Segoe UI" pitchFamily="34" charset="0"/>
              </a:endParaRPr>
            </a:p>
          </p:txBody>
        </p:sp>
        <p:sp>
          <p:nvSpPr>
            <p:cNvPr id="85" name="Isosceles Triangle 84"/>
            <p:cNvSpPr/>
            <p:nvPr/>
          </p:nvSpPr>
          <p:spPr bwMode="auto">
            <a:xfrm rot="10800000">
              <a:off x="5408612" y="995182"/>
              <a:ext cx="914400" cy="224018"/>
            </a:xfrm>
            <a:prstGeom prst="triangle">
              <a:avLst/>
            </a:prstGeom>
            <a:grpFill/>
            <a:ln w="28575">
              <a:solidFill>
                <a:schemeClr val="tx1">
                  <a:lumMod val="95000"/>
                </a:schemeClr>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alpha val="98824"/>
                  </a:srgbClr>
                </a:solidFill>
                <a:latin typeface="+mj-lt"/>
                <a:ea typeface="Segoe UI" pitchFamily="34" charset="0"/>
                <a:cs typeface="Segoe UI" pitchFamily="34" charset="0"/>
              </a:endParaRPr>
            </a:p>
          </p:txBody>
        </p:sp>
        <p:sp>
          <p:nvSpPr>
            <p:cNvPr id="86" name="Isosceles Triangle 85"/>
            <p:cNvSpPr/>
            <p:nvPr/>
          </p:nvSpPr>
          <p:spPr bwMode="auto">
            <a:xfrm>
              <a:off x="5408612" y="766582"/>
              <a:ext cx="914400" cy="224018"/>
            </a:xfrm>
            <a:prstGeom prst="triangle">
              <a:avLst/>
            </a:prstGeom>
            <a:grpFill/>
            <a:ln w="28575">
              <a:solidFill>
                <a:schemeClr val="tx1">
                  <a:lumMod val="95000"/>
                </a:schemeClr>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alpha val="98824"/>
                  </a:srgbClr>
                </a:solidFill>
                <a:latin typeface="+mj-lt"/>
                <a:ea typeface="Segoe UI" pitchFamily="34" charset="0"/>
                <a:cs typeface="Segoe UI" pitchFamily="34" charset="0"/>
              </a:endParaRPr>
            </a:p>
          </p:txBody>
        </p:sp>
        <p:sp>
          <p:nvSpPr>
            <p:cNvPr id="87" name="Arc 86"/>
            <p:cNvSpPr/>
            <p:nvPr/>
          </p:nvSpPr>
          <p:spPr>
            <a:xfrm rot="10648941">
              <a:off x="5978258" y="930096"/>
              <a:ext cx="2209800" cy="381000"/>
            </a:xfrm>
            <a:prstGeom prst="arc">
              <a:avLst>
                <a:gd name="adj1" fmla="val 11053173"/>
                <a:gd name="adj2" fmla="val 21292173"/>
              </a:avLst>
            </a:prstGeom>
            <a:grpFill/>
            <a:ln w="28575">
              <a:solidFill>
                <a:schemeClr val="tx1">
                  <a:lumMod val="9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mj-lt"/>
              </a:endParaRPr>
            </a:p>
          </p:txBody>
        </p:sp>
        <p:sp>
          <p:nvSpPr>
            <p:cNvPr id="88" name="Isosceles Triangle 87"/>
            <p:cNvSpPr/>
            <p:nvPr/>
          </p:nvSpPr>
          <p:spPr bwMode="auto">
            <a:xfrm rot="5400000">
              <a:off x="7735641" y="737715"/>
              <a:ext cx="785176" cy="504366"/>
            </a:xfrm>
            <a:prstGeom prst="triangle">
              <a:avLst/>
            </a:prstGeom>
            <a:grpFill/>
            <a:ln w="28575">
              <a:solidFill>
                <a:schemeClr val="tx1">
                  <a:lumMod val="95000"/>
                </a:schemeClr>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alpha val="98824"/>
                  </a:srgbClr>
                </a:solidFill>
                <a:latin typeface="+mj-lt"/>
                <a:ea typeface="Segoe UI" pitchFamily="34" charset="0"/>
                <a:cs typeface="Segoe UI" pitchFamily="34" charset="0"/>
              </a:endParaRPr>
            </a:p>
          </p:txBody>
        </p:sp>
      </p:grpSp>
      <p:sp>
        <p:nvSpPr>
          <p:cNvPr id="90" name="TextBox 89"/>
          <p:cNvSpPr txBox="1"/>
          <p:nvPr/>
        </p:nvSpPr>
        <p:spPr>
          <a:xfrm>
            <a:off x="4375955" y="916233"/>
            <a:ext cx="1050514" cy="263149"/>
          </a:xfrm>
          <a:prstGeom prst="rect">
            <a:avLst/>
          </a:prstGeom>
          <a:noFill/>
          <a:ln w="28575">
            <a:noFill/>
          </a:ln>
        </p:spPr>
        <p:txBody>
          <a:bodyPr wrap="none" lIns="68571" tIns="68571" rIns="68571" bIns="68571" rtlCol="0">
            <a:spAutoFit/>
          </a:bodyPr>
          <a:lstStyle/>
          <a:p>
            <a:pPr>
              <a:lnSpc>
                <a:spcPct val="90000"/>
              </a:lnSpc>
              <a:spcBef>
                <a:spcPct val="20000"/>
              </a:spcBef>
              <a:buSzPct val="90000"/>
            </a:pPr>
            <a:r>
              <a:rPr lang="en-US" sz="900" dirty="0">
                <a:solidFill>
                  <a:sysClr val="windowText" lastClr="000000">
                    <a:alpha val="99000"/>
                  </a:sysClr>
                </a:solidFill>
                <a:latin typeface="+mj-lt"/>
              </a:rPr>
              <a:t>FTP / Web Deploy</a:t>
            </a:r>
            <a:endParaRPr lang="en-US" sz="1500" dirty="0">
              <a:solidFill>
                <a:sysClr val="windowText" lastClr="000000">
                  <a:alpha val="99000"/>
                </a:sysClr>
              </a:solidFill>
              <a:latin typeface="+mj-lt"/>
            </a:endParaRPr>
          </a:p>
        </p:txBody>
      </p:sp>
      <p:grpSp>
        <p:nvGrpSpPr>
          <p:cNvPr id="120" name="Group 119"/>
          <p:cNvGrpSpPr/>
          <p:nvPr/>
        </p:nvGrpSpPr>
        <p:grpSpPr>
          <a:xfrm>
            <a:off x="3943188" y="2360800"/>
            <a:ext cx="1984439" cy="611000"/>
            <a:chOff x="5408612" y="544782"/>
            <a:chExt cx="2971800" cy="902667"/>
          </a:xfrm>
          <a:solidFill>
            <a:schemeClr val="tx1">
              <a:lumMod val="95000"/>
            </a:schemeClr>
          </a:solidFill>
        </p:grpSpPr>
        <p:sp>
          <p:nvSpPr>
            <p:cNvPr id="121" name="Arc 120"/>
            <p:cNvSpPr/>
            <p:nvPr/>
          </p:nvSpPr>
          <p:spPr>
            <a:xfrm>
              <a:off x="5844042" y="674914"/>
              <a:ext cx="2209800" cy="381000"/>
            </a:xfrm>
            <a:prstGeom prst="arc">
              <a:avLst>
                <a:gd name="adj1" fmla="val 11053173"/>
                <a:gd name="adj2" fmla="val 21292173"/>
              </a:avLst>
            </a:prstGeom>
            <a:grpFill/>
            <a:ln w="28575">
              <a:solidFill>
                <a:schemeClr val="tx1">
                  <a:lumMod val="9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mj-lt"/>
              </a:endParaRPr>
            </a:p>
          </p:txBody>
        </p:sp>
        <p:sp>
          <p:nvSpPr>
            <p:cNvPr id="122" name="Rectangle 121"/>
            <p:cNvSpPr/>
            <p:nvPr/>
          </p:nvSpPr>
          <p:spPr bwMode="auto">
            <a:xfrm>
              <a:off x="5882381" y="763217"/>
              <a:ext cx="2024261" cy="454765"/>
            </a:xfrm>
            <a:prstGeom prst="rect">
              <a:avLst/>
            </a:prstGeom>
            <a:grpFill/>
            <a:ln w="28575">
              <a:solidFill>
                <a:schemeClr val="tx1">
                  <a:lumMod val="95000"/>
                </a:schemeClr>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alpha val="98824"/>
                  </a:srgbClr>
                </a:solidFill>
                <a:latin typeface="+mj-lt"/>
                <a:ea typeface="Segoe UI" pitchFamily="34" charset="0"/>
                <a:cs typeface="Segoe UI" pitchFamily="34" charset="0"/>
              </a:endParaRPr>
            </a:p>
          </p:txBody>
        </p:sp>
        <p:sp>
          <p:nvSpPr>
            <p:cNvPr id="123" name="Isosceles Triangle 122"/>
            <p:cNvSpPr/>
            <p:nvPr/>
          </p:nvSpPr>
          <p:spPr bwMode="auto">
            <a:xfrm>
              <a:off x="5425181" y="544782"/>
              <a:ext cx="914400" cy="224018"/>
            </a:xfrm>
            <a:prstGeom prst="triangle">
              <a:avLst/>
            </a:prstGeom>
            <a:grpFill/>
            <a:ln w="28575">
              <a:solidFill>
                <a:schemeClr val="tx1">
                  <a:lumMod val="95000"/>
                </a:schemeClr>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alpha val="98824"/>
                  </a:srgbClr>
                </a:solidFill>
                <a:latin typeface="+mj-lt"/>
                <a:ea typeface="Segoe UI" pitchFamily="34" charset="0"/>
                <a:cs typeface="Segoe UI" pitchFamily="34" charset="0"/>
              </a:endParaRPr>
            </a:p>
          </p:txBody>
        </p:sp>
        <p:sp>
          <p:nvSpPr>
            <p:cNvPr id="124" name="Isosceles Triangle 123"/>
            <p:cNvSpPr/>
            <p:nvPr/>
          </p:nvSpPr>
          <p:spPr bwMode="auto">
            <a:xfrm rot="10800000">
              <a:off x="5437565" y="1223431"/>
              <a:ext cx="914400" cy="224018"/>
            </a:xfrm>
            <a:prstGeom prst="triangle">
              <a:avLst/>
            </a:prstGeom>
            <a:grpFill/>
            <a:ln w="28575">
              <a:solidFill>
                <a:schemeClr val="tx1">
                  <a:lumMod val="95000"/>
                </a:schemeClr>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alpha val="98824"/>
                  </a:srgbClr>
                </a:solidFill>
                <a:latin typeface="+mj-lt"/>
                <a:ea typeface="Segoe UI" pitchFamily="34" charset="0"/>
                <a:cs typeface="Segoe UI" pitchFamily="34" charset="0"/>
              </a:endParaRPr>
            </a:p>
          </p:txBody>
        </p:sp>
        <p:sp>
          <p:nvSpPr>
            <p:cNvPr id="125" name="Isosceles Triangle 124"/>
            <p:cNvSpPr/>
            <p:nvPr/>
          </p:nvSpPr>
          <p:spPr bwMode="auto">
            <a:xfrm rot="10800000">
              <a:off x="5408612" y="995182"/>
              <a:ext cx="914400" cy="224018"/>
            </a:xfrm>
            <a:prstGeom prst="triangle">
              <a:avLst/>
            </a:prstGeom>
            <a:grpFill/>
            <a:ln w="28575">
              <a:solidFill>
                <a:schemeClr val="tx1">
                  <a:lumMod val="95000"/>
                </a:schemeClr>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alpha val="98824"/>
                  </a:srgbClr>
                </a:solidFill>
                <a:latin typeface="+mj-lt"/>
                <a:ea typeface="Segoe UI" pitchFamily="34" charset="0"/>
                <a:cs typeface="Segoe UI" pitchFamily="34" charset="0"/>
              </a:endParaRPr>
            </a:p>
          </p:txBody>
        </p:sp>
        <p:sp>
          <p:nvSpPr>
            <p:cNvPr id="126" name="Isosceles Triangle 125"/>
            <p:cNvSpPr/>
            <p:nvPr/>
          </p:nvSpPr>
          <p:spPr bwMode="auto">
            <a:xfrm>
              <a:off x="5408612" y="766582"/>
              <a:ext cx="914400" cy="224018"/>
            </a:xfrm>
            <a:prstGeom prst="triangle">
              <a:avLst/>
            </a:prstGeom>
            <a:grpFill/>
            <a:ln w="28575">
              <a:solidFill>
                <a:schemeClr val="tx1">
                  <a:lumMod val="95000"/>
                </a:schemeClr>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alpha val="98824"/>
                  </a:srgbClr>
                </a:solidFill>
                <a:latin typeface="+mj-lt"/>
                <a:ea typeface="Segoe UI" pitchFamily="34" charset="0"/>
                <a:cs typeface="Segoe UI" pitchFamily="34" charset="0"/>
              </a:endParaRPr>
            </a:p>
          </p:txBody>
        </p:sp>
        <p:sp>
          <p:nvSpPr>
            <p:cNvPr id="127" name="Arc 126"/>
            <p:cNvSpPr/>
            <p:nvPr/>
          </p:nvSpPr>
          <p:spPr>
            <a:xfrm rot="10648941">
              <a:off x="5978258" y="930096"/>
              <a:ext cx="2209800" cy="381000"/>
            </a:xfrm>
            <a:prstGeom prst="arc">
              <a:avLst>
                <a:gd name="adj1" fmla="val 11053173"/>
                <a:gd name="adj2" fmla="val 21292173"/>
              </a:avLst>
            </a:prstGeom>
            <a:grpFill/>
            <a:ln w="28575">
              <a:solidFill>
                <a:schemeClr val="tx1">
                  <a:lumMod val="9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mj-lt"/>
              </a:endParaRPr>
            </a:p>
          </p:txBody>
        </p:sp>
        <p:sp>
          <p:nvSpPr>
            <p:cNvPr id="128" name="Isosceles Triangle 127"/>
            <p:cNvSpPr/>
            <p:nvPr/>
          </p:nvSpPr>
          <p:spPr bwMode="auto">
            <a:xfrm rot="5400000">
              <a:off x="7735641" y="737715"/>
              <a:ext cx="785176" cy="504366"/>
            </a:xfrm>
            <a:prstGeom prst="triangle">
              <a:avLst/>
            </a:prstGeom>
            <a:grpFill/>
            <a:ln w="28575">
              <a:solidFill>
                <a:schemeClr val="tx1">
                  <a:lumMod val="95000"/>
                </a:schemeClr>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alpha val="98824"/>
                  </a:srgbClr>
                </a:solidFill>
                <a:latin typeface="+mj-lt"/>
                <a:ea typeface="Segoe UI" pitchFamily="34" charset="0"/>
                <a:cs typeface="Segoe UI" pitchFamily="34" charset="0"/>
              </a:endParaRPr>
            </a:p>
          </p:txBody>
        </p:sp>
      </p:grpSp>
      <p:sp>
        <p:nvSpPr>
          <p:cNvPr id="129" name="TextBox 128"/>
          <p:cNvSpPr txBox="1"/>
          <p:nvPr/>
        </p:nvSpPr>
        <p:spPr>
          <a:xfrm>
            <a:off x="4229017" y="2534082"/>
            <a:ext cx="1302715" cy="263149"/>
          </a:xfrm>
          <a:prstGeom prst="rect">
            <a:avLst/>
          </a:prstGeom>
          <a:noFill/>
          <a:ln w="28575">
            <a:noFill/>
          </a:ln>
        </p:spPr>
        <p:txBody>
          <a:bodyPr wrap="none" lIns="68571" tIns="68571" rIns="68571" bIns="68571" rtlCol="0">
            <a:spAutoFit/>
          </a:bodyPr>
          <a:lstStyle/>
          <a:p>
            <a:pPr>
              <a:lnSpc>
                <a:spcPct val="90000"/>
              </a:lnSpc>
              <a:spcBef>
                <a:spcPct val="20000"/>
              </a:spcBef>
              <a:buSzPct val="90000"/>
            </a:pPr>
            <a:r>
              <a:rPr lang="en-US" sz="900" dirty="0">
                <a:solidFill>
                  <a:sysClr val="windowText" lastClr="000000">
                    <a:alpha val="99000"/>
                  </a:sysClr>
                </a:solidFill>
                <a:latin typeface="+mj-lt"/>
              </a:rPr>
              <a:t>FTP / Web Deploy/ TFS</a:t>
            </a:r>
            <a:endParaRPr lang="en-US" sz="1500" dirty="0">
              <a:solidFill>
                <a:sysClr val="windowText" lastClr="000000">
                  <a:alpha val="99000"/>
                </a:sysClr>
              </a:solidFill>
              <a:latin typeface="+mj-lt"/>
            </a:endParaRPr>
          </a:p>
        </p:txBody>
      </p:sp>
      <p:grpSp>
        <p:nvGrpSpPr>
          <p:cNvPr id="130" name="Group 129"/>
          <p:cNvGrpSpPr/>
          <p:nvPr/>
        </p:nvGrpSpPr>
        <p:grpSpPr>
          <a:xfrm>
            <a:off x="4000352" y="3943351"/>
            <a:ext cx="1984439" cy="611000"/>
            <a:chOff x="5408612" y="544782"/>
            <a:chExt cx="2971800" cy="902667"/>
          </a:xfrm>
          <a:solidFill>
            <a:schemeClr val="tx1">
              <a:lumMod val="95000"/>
            </a:schemeClr>
          </a:solidFill>
        </p:grpSpPr>
        <p:sp>
          <p:nvSpPr>
            <p:cNvPr id="131" name="Arc 130"/>
            <p:cNvSpPr/>
            <p:nvPr/>
          </p:nvSpPr>
          <p:spPr>
            <a:xfrm>
              <a:off x="5844042" y="674914"/>
              <a:ext cx="2209800" cy="381000"/>
            </a:xfrm>
            <a:prstGeom prst="arc">
              <a:avLst>
                <a:gd name="adj1" fmla="val 11053173"/>
                <a:gd name="adj2" fmla="val 21292173"/>
              </a:avLst>
            </a:prstGeom>
            <a:grpFill/>
            <a:ln w="28575">
              <a:solidFill>
                <a:schemeClr val="tx1">
                  <a:lumMod val="9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mj-lt"/>
              </a:endParaRPr>
            </a:p>
          </p:txBody>
        </p:sp>
        <p:sp>
          <p:nvSpPr>
            <p:cNvPr id="132" name="Rectangle 131"/>
            <p:cNvSpPr/>
            <p:nvPr/>
          </p:nvSpPr>
          <p:spPr bwMode="auto">
            <a:xfrm>
              <a:off x="5882381" y="763217"/>
              <a:ext cx="2024261" cy="454765"/>
            </a:xfrm>
            <a:prstGeom prst="rect">
              <a:avLst/>
            </a:prstGeom>
            <a:grpFill/>
            <a:ln w="28575">
              <a:solidFill>
                <a:schemeClr val="tx1">
                  <a:lumMod val="95000"/>
                </a:schemeClr>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alpha val="98824"/>
                  </a:srgbClr>
                </a:solidFill>
                <a:latin typeface="+mj-lt"/>
                <a:ea typeface="Segoe UI" pitchFamily="34" charset="0"/>
                <a:cs typeface="Segoe UI" pitchFamily="34" charset="0"/>
              </a:endParaRPr>
            </a:p>
          </p:txBody>
        </p:sp>
        <p:sp>
          <p:nvSpPr>
            <p:cNvPr id="133" name="Isosceles Triangle 132"/>
            <p:cNvSpPr/>
            <p:nvPr/>
          </p:nvSpPr>
          <p:spPr bwMode="auto">
            <a:xfrm>
              <a:off x="5425181" y="544782"/>
              <a:ext cx="914400" cy="224018"/>
            </a:xfrm>
            <a:prstGeom prst="triangle">
              <a:avLst/>
            </a:prstGeom>
            <a:grpFill/>
            <a:ln w="28575">
              <a:solidFill>
                <a:schemeClr val="tx1">
                  <a:lumMod val="95000"/>
                </a:schemeClr>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alpha val="98824"/>
                  </a:srgbClr>
                </a:solidFill>
                <a:latin typeface="+mj-lt"/>
                <a:ea typeface="Segoe UI" pitchFamily="34" charset="0"/>
                <a:cs typeface="Segoe UI" pitchFamily="34" charset="0"/>
              </a:endParaRPr>
            </a:p>
          </p:txBody>
        </p:sp>
        <p:sp>
          <p:nvSpPr>
            <p:cNvPr id="134" name="Isosceles Triangle 133"/>
            <p:cNvSpPr/>
            <p:nvPr/>
          </p:nvSpPr>
          <p:spPr bwMode="auto">
            <a:xfrm rot="10800000">
              <a:off x="5437565" y="1223431"/>
              <a:ext cx="914400" cy="224018"/>
            </a:xfrm>
            <a:prstGeom prst="triangle">
              <a:avLst/>
            </a:prstGeom>
            <a:grpFill/>
            <a:ln w="28575">
              <a:solidFill>
                <a:schemeClr val="tx1">
                  <a:lumMod val="95000"/>
                </a:schemeClr>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alpha val="98824"/>
                  </a:srgbClr>
                </a:solidFill>
                <a:latin typeface="+mj-lt"/>
                <a:ea typeface="Segoe UI" pitchFamily="34" charset="0"/>
                <a:cs typeface="Segoe UI" pitchFamily="34" charset="0"/>
              </a:endParaRPr>
            </a:p>
          </p:txBody>
        </p:sp>
        <p:sp>
          <p:nvSpPr>
            <p:cNvPr id="135" name="Isosceles Triangle 134"/>
            <p:cNvSpPr/>
            <p:nvPr/>
          </p:nvSpPr>
          <p:spPr bwMode="auto">
            <a:xfrm rot="10800000">
              <a:off x="5408612" y="995182"/>
              <a:ext cx="914400" cy="224018"/>
            </a:xfrm>
            <a:prstGeom prst="triangle">
              <a:avLst/>
            </a:prstGeom>
            <a:grpFill/>
            <a:ln w="28575">
              <a:solidFill>
                <a:schemeClr val="tx1">
                  <a:lumMod val="95000"/>
                </a:schemeClr>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alpha val="98824"/>
                  </a:srgbClr>
                </a:solidFill>
                <a:latin typeface="+mj-lt"/>
                <a:ea typeface="Segoe UI" pitchFamily="34" charset="0"/>
                <a:cs typeface="Segoe UI" pitchFamily="34" charset="0"/>
              </a:endParaRPr>
            </a:p>
          </p:txBody>
        </p:sp>
        <p:sp>
          <p:nvSpPr>
            <p:cNvPr id="136" name="Isosceles Triangle 135"/>
            <p:cNvSpPr/>
            <p:nvPr/>
          </p:nvSpPr>
          <p:spPr bwMode="auto">
            <a:xfrm>
              <a:off x="5408612" y="766582"/>
              <a:ext cx="914400" cy="224018"/>
            </a:xfrm>
            <a:prstGeom prst="triangle">
              <a:avLst/>
            </a:prstGeom>
            <a:grpFill/>
            <a:ln w="28575">
              <a:solidFill>
                <a:schemeClr val="tx1">
                  <a:lumMod val="95000"/>
                </a:schemeClr>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alpha val="98824"/>
                  </a:srgbClr>
                </a:solidFill>
                <a:latin typeface="+mj-lt"/>
                <a:ea typeface="Segoe UI" pitchFamily="34" charset="0"/>
                <a:cs typeface="Segoe UI" pitchFamily="34" charset="0"/>
              </a:endParaRPr>
            </a:p>
          </p:txBody>
        </p:sp>
        <p:sp>
          <p:nvSpPr>
            <p:cNvPr id="137" name="Arc 136"/>
            <p:cNvSpPr/>
            <p:nvPr/>
          </p:nvSpPr>
          <p:spPr>
            <a:xfrm rot="10648941">
              <a:off x="5978258" y="930096"/>
              <a:ext cx="2209800" cy="381000"/>
            </a:xfrm>
            <a:prstGeom prst="arc">
              <a:avLst>
                <a:gd name="adj1" fmla="val 11053173"/>
                <a:gd name="adj2" fmla="val 21292173"/>
              </a:avLst>
            </a:prstGeom>
            <a:grpFill/>
            <a:ln w="28575">
              <a:solidFill>
                <a:schemeClr val="tx1">
                  <a:lumMod val="9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mj-lt"/>
              </a:endParaRPr>
            </a:p>
          </p:txBody>
        </p:sp>
        <p:sp>
          <p:nvSpPr>
            <p:cNvPr id="138" name="Isosceles Triangle 137"/>
            <p:cNvSpPr/>
            <p:nvPr/>
          </p:nvSpPr>
          <p:spPr bwMode="auto">
            <a:xfrm rot="5400000">
              <a:off x="7735641" y="737715"/>
              <a:ext cx="785176" cy="504366"/>
            </a:xfrm>
            <a:prstGeom prst="triangle">
              <a:avLst/>
            </a:prstGeom>
            <a:grpFill/>
            <a:ln w="28575">
              <a:solidFill>
                <a:schemeClr val="tx1">
                  <a:lumMod val="95000"/>
                </a:schemeClr>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alpha val="98824"/>
                  </a:srgbClr>
                </a:solidFill>
                <a:latin typeface="+mj-lt"/>
                <a:ea typeface="Segoe UI" pitchFamily="34" charset="0"/>
                <a:cs typeface="Segoe UI" pitchFamily="34" charset="0"/>
              </a:endParaRPr>
            </a:p>
          </p:txBody>
        </p:sp>
      </p:grpSp>
      <p:sp>
        <p:nvSpPr>
          <p:cNvPr id="139" name="TextBox 138"/>
          <p:cNvSpPr txBox="1"/>
          <p:nvPr/>
        </p:nvSpPr>
        <p:spPr>
          <a:xfrm>
            <a:off x="4783196" y="4116632"/>
            <a:ext cx="285248" cy="263149"/>
          </a:xfrm>
          <a:prstGeom prst="rect">
            <a:avLst/>
          </a:prstGeom>
          <a:noFill/>
          <a:ln w="28575">
            <a:noFill/>
          </a:ln>
        </p:spPr>
        <p:txBody>
          <a:bodyPr wrap="none" lIns="68571" tIns="68571" rIns="68571" bIns="68571" rtlCol="0">
            <a:spAutoFit/>
          </a:bodyPr>
          <a:lstStyle/>
          <a:p>
            <a:pPr>
              <a:lnSpc>
                <a:spcPct val="90000"/>
              </a:lnSpc>
              <a:spcBef>
                <a:spcPct val="20000"/>
              </a:spcBef>
              <a:buSzPct val="90000"/>
            </a:pPr>
            <a:r>
              <a:rPr lang="en-US" sz="900" dirty="0" err="1">
                <a:solidFill>
                  <a:sysClr val="windowText" lastClr="000000">
                    <a:alpha val="99000"/>
                  </a:sysClr>
                </a:solidFill>
                <a:latin typeface="+mj-lt"/>
              </a:rPr>
              <a:t>Git</a:t>
            </a:r>
            <a:endParaRPr lang="en-US" sz="1500" dirty="0">
              <a:solidFill>
                <a:sysClr val="windowText" lastClr="000000">
                  <a:alpha val="99000"/>
                </a:sysClr>
              </a:solidFill>
              <a:latin typeface="+mj-lt"/>
            </a:endParaRPr>
          </a:p>
        </p:txBody>
      </p:sp>
      <p:grpSp>
        <p:nvGrpSpPr>
          <p:cNvPr id="61" name="Group 60"/>
          <p:cNvGrpSpPr/>
          <p:nvPr/>
        </p:nvGrpSpPr>
        <p:grpSpPr>
          <a:xfrm>
            <a:off x="6252749" y="342907"/>
            <a:ext cx="1015059" cy="666323"/>
            <a:chOff x="6786006" y="2667000"/>
            <a:chExt cx="1746806" cy="1066800"/>
          </a:xfrm>
        </p:grpSpPr>
        <p:sp>
          <p:nvSpPr>
            <p:cNvPr id="62" name="Freeform 77"/>
            <p:cNvSpPr>
              <a:spLocks noEditPoints="1"/>
            </p:cNvSpPr>
            <p:nvPr/>
          </p:nvSpPr>
          <p:spPr bwMode="auto">
            <a:xfrm>
              <a:off x="6786006" y="2667000"/>
              <a:ext cx="1746806" cy="1066800"/>
            </a:xfrm>
            <a:custGeom>
              <a:avLst/>
              <a:gdLst>
                <a:gd name="T0" fmla="*/ 340 w 413"/>
                <a:gd name="T1" fmla="*/ 283 h 283"/>
                <a:gd name="T2" fmla="*/ 73 w 413"/>
                <a:gd name="T3" fmla="*/ 283 h 283"/>
                <a:gd name="T4" fmla="*/ 72 w 413"/>
                <a:gd name="T5" fmla="*/ 283 h 283"/>
                <a:gd name="T6" fmla="*/ 0 w 413"/>
                <a:gd name="T7" fmla="*/ 209 h 283"/>
                <a:gd name="T8" fmla="*/ 70 w 413"/>
                <a:gd name="T9" fmla="*/ 135 h 283"/>
                <a:gd name="T10" fmla="*/ 66 w 413"/>
                <a:gd name="T11" fmla="*/ 107 h 283"/>
                <a:gd name="T12" fmla="*/ 173 w 413"/>
                <a:gd name="T13" fmla="*/ 0 h 283"/>
                <a:gd name="T14" fmla="*/ 273 w 413"/>
                <a:gd name="T15" fmla="*/ 69 h 283"/>
                <a:gd name="T16" fmla="*/ 273 w 413"/>
                <a:gd name="T17" fmla="*/ 69 h 283"/>
                <a:gd name="T18" fmla="*/ 346 w 413"/>
                <a:gd name="T19" fmla="*/ 135 h 283"/>
                <a:gd name="T20" fmla="*/ 413 w 413"/>
                <a:gd name="T21" fmla="*/ 209 h 283"/>
                <a:gd name="T22" fmla="*/ 341 w 413"/>
                <a:gd name="T23" fmla="*/ 283 h 283"/>
                <a:gd name="T24" fmla="*/ 340 w 413"/>
                <a:gd name="T25" fmla="*/ 283 h 283"/>
                <a:gd name="T26" fmla="*/ 73 w 413"/>
                <a:gd name="T27" fmla="*/ 268 h 283"/>
                <a:gd name="T28" fmla="*/ 339 w 413"/>
                <a:gd name="T29" fmla="*/ 268 h 283"/>
                <a:gd name="T30" fmla="*/ 340 w 413"/>
                <a:gd name="T31" fmla="*/ 268 h 283"/>
                <a:gd name="T32" fmla="*/ 398 w 413"/>
                <a:gd name="T33" fmla="*/ 209 h 283"/>
                <a:gd name="T34" fmla="*/ 339 w 413"/>
                <a:gd name="T35" fmla="*/ 150 h 283"/>
                <a:gd name="T36" fmla="*/ 332 w 413"/>
                <a:gd name="T37" fmla="*/ 142 h 283"/>
                <a:gd name="T38" fmla="*/ 273 w 413"/>
                <a:gd name="T39" fmla="*/ 83 h 283"/>
                <a:gd name="T40" fmla="*/ 268 w 413"/>
                <a:gd name="T41" fmla="*/ 84 h 283"/>
                <a:gd name="T42" fmla="*/ 261 w 413"/>
                <a:gd name="T43" fmla="*/ 79 h 283"/>
                <a:gd name="T44" fmla="*/ 173 w 413"/>
                <a:gd name="T45" fmla="*/ 15 h 283"/>
                <a:gd name="T46" fmla="*/ 81 w 413"/>
                <a:gd name="T47" fmla="*/ 107 h 283"/>
                <a:gd name="T48" fmla="*/ 87 w 413"/>
                <a:gd name="T49" fmla="*/ 140 h 283"/>
                <a:gd name="T50" fmla="*/ 86 w 413"/>
                <a:gd name="T51" fmla="*/ 147 h 283"/>
                <a:gd name="T52" fmla="*/ 79 w 413"/>
                <a:gd name="T53" fmla="*/ 150 h 283"/>
                <a:gd name="T54" fmla="*/ 73 w 413"/>
                <a:gd name="T55" fmla="*/ 150 h 283"/>
                <a:gd name="T56" fmla="*/ 14 w 413"/>
                <a:gd name="T57" fmla="*/ 209 h 283"/>
                <a:gd name="T58" fmla="*/ 73 w 413"/>
                <a:gd name="T59" fmla="*/ 268 h 283"/>
                <a:gd name="T60" fmla="*/ 73 w 413"/>
                <a:gd name="T61" fmla="*/ 268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3" h="283">
                  <a:moveTo>
                    <a:pt x="340" y="283"/>
                  </a:moveTo>
                  <a:cubicBezTo>
                    <a:pt x="73" y="283"/>
                    <a:pt x="73" y="283"/>
                    <a:pt x="73" y="283"/>
                  </a:cubicBezTo>
                  <a:cubicBezTo>
                    <a:pt x="73" y="283"/>
                    <a:pt x="72" y="283"/>
                    <a:pt x="72" y="283"/>
                  </a:cubicBezTo>
                  <a:cubicBezTo>
                    <a:pt x="32" y="282"/>
                    <a:pt x="0" y="249"/>
                    <a:pt x="0" y="209"/>
                  </a:cubicBezTo>
                  <a:cubicBezTo>
                    <a:pt x="0" y="169"/>
                    <a:pt x="31" y="137"/>
                    <a:pt x="70" y="135"/>
                  </a:cubicBezTo>
                  <a:cubicBezTo>
                    <a:pt x="67" y="126"/>
                    <a:pt x="66" y="117"/>
                    <a:pt x="66" y="107"/>
                  </a:cubicBezTo>
                  <a:cubicBezTo>
                    <a:pt x="66" y="48"/>
                    <a:pt x="114" y="0"/>
                    <a:pt x="173" y="0"/>
                  </a:cubicBezTo>
                  <a:cubicBezTo>
                    <a:pt x="217" y="0"/>
                    <a:pt x="257" y="27"/>
                    <a:pt x="273" y="69"/>
                  </a:cubicBezTo>
                  <a:cubicBezTo>
                    <a:pt x="273" y="69"/>
                    <a:pt x="273" y="69"/>
                    <a:pt x="273" y="69"/>
                  </a:cubicBezTo>
                  <a:cubicBezTo>
                    <a:pt x="311" y="69"/>
                    <a:pt x="343" y="98"/>
                    <a:pt x="346" y="135"/>
                  </a:cubicBezTo>
                  <a:cubicBezTo>
                    <a:pt x="384" y="139"/>
                    <a:pt x="413" y="171"/>
                    <a:pt x="413" y="209"/>
                  </a:cubicBezTo>
                  <a:cubicBezTo>
                    <a:pt x="413" y="249"/>
                    <a:pt x="381" y="282"/>
                    <a:pt x="341" y="283"/>
                  </a:cubicBezTo>
                  <a:cubicBezTo>
                    <a:pt x="340" y="283"/>
                    <a:pt x="340" y="283"/>
                    <a:pt x="340" y="283"/>
                  </a:cubicBezTo>
                  <a:close/>
                  <a:moveTo>
                    <a:pt x="73" y="268"/>
                  </a:moveTo>
                  <a:cubicBezTo>
                    <a:pt x="339" y="268"/>
                    <a:pt x="339" y="268"/>
                    <a:pt x="339" y="268"/>
                  </a:cubicBezTo>
                  <a:cubicBezTo>
                    <a:pt x="339" y="268"/>
                    <a:pt x="340" y="268"/>
                    <a:pt x="340" y="268"/>
                  </a:cubicBezTo>
                  <a:cubicBezTo>
                    <a:pt x="372" y="268"/>
                    <a:pt x="398" y="241"/>
                    <a:pt x="398" y="209"/>
                  </a:cubicBezTo>
                  <a:cubicBezTo>
                    <a:pt x="398" y="176"/>
                    <a:pt x="372" y="150"/>
                    <a:pt x="339" y="150"/>
                  </a:cubicBezTo>
                  <a:cubicBezTo>
                    <a:pt x="335" y="150"/>
                    <a:pt x="332" y="146"/>
                    <a:pt x="332" y="142"/>
                  </a:cubicBezTo>
                  <a:cubicBezTo>
                    <a:pt x="332" y="110"/>
                    <a:pt x="305" y="83"/>
                    <a:pt x="273" y="83"/>
                  </a:cubicBezTo>
                  <a:cubicBezTo>
                    <a:pt x="271" y="83"/>
                    <a:pt x="270" y="83"/>
                    <a:pt x="268" y="84"/>
                  </a:cubicBezTo>
                  <a:cubicBezTo>
                    <a:pt x="265" y="84"/>
                    <a:pt x="262" y="82"/>
                    <a:pt x="261" y="79"/>
                  </a:cubicBezTo>
                  <a:cubicBezTo>
                    <a:pt x="248" y="40"/>
                    <a:pt x="213" y="15"/>
                    <a:pt x="173" y="15"/>
                  </a:cubicBezTo>
                  <a:cubicBezTo>
                    <a:pt x="122" y="15"/>
                    <a:pt x="81" y="56"/>
                    <a:pt x="81" y="107"/>
                  </a:cubicBezTo>
                  <a:cubicBezTo>
                    <a:pt x="81" y="118"/>
                    <a:pt x="83" y="129"/>
                    <a:pt x="87" y="140"/>
                  </a:cubicBezTo>
                  <a:cubicBezTo>
                    <a:pt x="88" y="142"/>
                    <a:pt x="87" y="145"/>
                    <a:pt x="86" y="147"/>
                  </a:cubicBezTo>
                  <a:cubicBezTo>
                    <a:pt x="84" y="149"/>
                    <a:pt x="82" y="150"/>
                    <a:pt x="79" y="150"/>
                  </a:cubicBezTo>
                  <a:cubicBezTo>
                    <a:pt x="77" y="150"/>
                    <a:pt x="75" y="150"/>
                    <a:pt x="73" y="150"/>
                  </a:cubicBezTo>
                  <a:cubicBezTo>
                    <a:pt x="41" y="150"/>
                    <a:pt x="14" y="176"/>
                    <a:pt x="14" y="209"/>
                  </a:cubicBezTo>
                  <a:cubicBezTo>
                    <a:pt x="14" y="241"/>
                    <a:pt x="41" y="268"/>
                    <a:pt x="73" y="268"/>
                  </a:cubicBezTo>
                  <a:cubicBezTo>
                    <a:pt x="73" y="268"/>
                    <a:pt x="73" y="268"/>
                    <a:pt x="73" y="26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63" name="Freeform 78"/>
            <p:cNvSpPr>
              <a:spLocks noEditPoints="1"/>
            </p:cNvSpPr>
            <p:nvPr/>
          </p:nvSpPr>
          <p:spPr bwMode="auto">
            <a:xfrm>
              <a:off x="7300926" y="2971800"/>
              <a:ext cx="546086" cy="546086"/>
            </a:xfrm>
            <a:custGeom>
              <a:avLst/>
              <a:gdLst>
                <a:gd name="T0" fmla="*/ 174 w 347"/>
                <a:gd name="T1" fmla="*/ 0 h 347"/>
                <a:gd name="T2" fmla="*/ 0 w 347"/>
                <a:gd name="T3" fmla="*/ 174 h 347"/>
                <a:gd name="T4" fmla="*/ 174 w 347"/>
                <a:gd name="T5" fmla="*/ 347 h 347"/>
                <a:gd name="T6" fmla="*/ 347 w 347"/>
                <a:gd name="T7" fmla="*/ 174 h 347"/>
                <a:gd name="T8" fmla="*/ 174 w 347"/>
                <a:gd name="T9" fmla="*/ 0 h 347"/>
                <a:gd name="T10" fmla="*/ 332 w 347"/>
                <a:gd name="T11" fmla="*/ 166 h 347"/>
                <a:gd name="T12" fmla="*/ 283 w 347"/>
                <a:gd name="T13" fmla="*/ 166 h 347"/>
                <a:gd name="T14" fmla="*/ 231 w 347"/>
                <a:gd name="T15" fmla="*/ 26 h 347"/>
                <a:gd name="T16" fmla="*/ 332 w 347"/>
                <a:gd name="T17" fmla="*/ 166 h 347"/>
                <a:gd name="T18" fmla="*/ 174 w 347"/>
                <a:gd name="T19" fmla="*/ 332 h 347"/>
                <a:gd name="T20" fmla="*/ 147 w 347"/>
                <a:gd name="T21" fmla="*/ 181 h 347"/>
                <a:gd name="T22" fmla="*/ 200 w 347"/>
                <a:gd name="T23" fmla="*/ 181 h 347"/>
                <a:gd name="T24" fmla="*/ 174 w 347"/>
                <a:gd name="T25" fmla="*/ 332 h 347"/>
                <a:gd name="T26" fmla="*/ 147 w 347"/>
                <a:gd name="T27" fmla="*/ 166 h 347"/>
                <a:gd name="T28" fmla="*/ 174 w 347"/>
                <a:gd name="T29" fmla="*/ 15 h 347"/>
                <a:gd name="T30" fmla="*/ 174 w 347"/>
                <a:gd name="T31" fmla="*/ 15 h 347"/>
                <a:gd name="T32" fmla="*/ 200 w 347"/>
                <a:gd name="T33" fmla="*/ 166 h 347"/>
                <a:gd name="T34" fmla="*/ 147 w 347"/>
                <a:gd name="T35" fmla="*/ 166 h 347"/>
                <a:gd name="T36" fmla="*/ 153 w 347"/>
                <a:gd name="T37" fmla="*/ 19 h 347"/>
                <a:gd name="T38" fmla="*/ 133 w 347"/>
                <a:gd name="T39" fmla="*/ 166 h 347"/>
                <a:gd name="T40" fmla="*/ 79 w 347"/>
                <a:gd name="T41" fmla="*/ 166 h 347"/>
                <a:gd name="T42" fmla="*/ 153 w 347"/>
                <a:gd name="T43" fmla="*/ 19 h 347"/>
                <a:gd name="T44" fmla="*/ 133 w 347"/>
                <a:gd name="T45" fmla="*/ 181 h 347"/>
                <a:gd name="T46" fmla="*/ 153 w 347"/>
                <a:gd name="T47" fmla="*/ 329 h 347"/>
                <a:gd name="T48" fmla="*/ 79 w 347"/>
                <a:gd name="T49" fmla="*/ 181 h 347"/>
                <a:gd name="T50" fmla="*/ 133 w 347"/>
                <a:gd name="T51" fmla="*/ 181 h 347"/>
                <a:gd name="T52" fmla="*/ 194 w 347"/>
                <a:gd name="T53" fmla="*/ 329 h 347"/>
                <a:gd name="T54" fmla="*/ 215 w 347"/>
                <a:gd name="T55" fmla="*/ 181 h 347"/>
                <a:gd name="T56" fmla="*/ 268 w 347"/>
                <a:gd name="T57" fmla="*/ 181 h 347"/>
                <a:gd name="T58" fmla="*/ 194 w 347"/>
                <a:gd name="T59" fmla="*/ 329 h 347"/>
                <a:gd name="T60" fmla="*/ 215 w 347"/>
                <a:gd name="T61" fmla="*/ 166 h 347"/>
                <a:gd name="T62" fmla="*/ 194 w 347"/>
                <a:gd name="T63" fmla="*/ 19 h 347"/>
                <a:gd name="T64" fmla="*/ 268 w 347"/>
                <a:gd name="T65" fmla="*/ 166 h 347"/>
                <a:gd name="T66" fmla="*/ 215 w 347"/>
                <a:gd name="T67" fmla="*/ 166 h 347"/>
                <a:gd name="T68" fmla="*/ 117 w 347"/>
                <a:gd name="T69" fmla="*/ 26 h 347"/>
                <a:gd name="T70" fmla="*/ 64 w 347"/>
                <a:gd name="T71" fmla="*/ 166 h 347"/>
                <a:gd name="T72" fmla="*/ 15 w 347"/>
                <a:gd name="T73" fmla="*/ 166 h 347"/>
                <a:gd name="T74" fmla="*/ 117 w 347"/>
                <a:gd name="T75" fmla="*/ 26 h 347"/>
                <a:gd name="T76" fmla="*/ 15 w 347"/>
                <a:gd name="T77" fmla="*/ 181 h 347"/>
                <a:gd name="T78" fmla="*/ 64 w 347"/>
                <a:gd name="T79" fmla="*/ 181 h 347"/>
                <a:gd name="T80" fmla="*/ 117 w 347"/>
                <a:gd name="T81" fmla="*/ 322 h 347"/>
                <a:gd name="T82" fmla="*/ 15 w 347"/>
                <a:gd name="T83" fmla="*/ 181 h 347"/>
                <a:gd name="T84" fmla="*/ 231 w 347"/>
                <a:gd name="T85" fmla="*/ 322 h 347"/>
                <a:gd name="T86" fmla="*/ 283 w 347"/>
                <a:gd name="T87" fmla="*/ 181 h 347"/>
                <a:gd name="T88" fmla="*/ 332 w 347"/>
                <a:gd name="T89" fmla="*/ 181 h 347"/>
                <a:gd name="T90" fmla="*/ 231 w 347"/>
                <a:gd name="T91" fmla="*/ 322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7" h="347">
                  <a:moveTo>
                    <a:pt x="174" y="0"/>
                  </a:moveTo>
                  <a:cubicBezTo>
                    <a:pt x="78" y="0"/>
                    <a:pt x="0" y="78"/>
                    <a:pt x="0" y="174"/>
                  </a:cubicBezTo>
                  <a:cubicBezTo>
                    <a:pt x="0" y="269"/>
                    <a:pt x="78" y="347"/>
                    <a:pt x="174" y="347"/>
                  </a:cubicBezTo>
                  <a:cubicBezTo>
                    <a:pt x="269" y="347"/>
                    <a:pt x="347" y="269"/>
                    <a:pt x="347" y="174"/>
                  </a:cubicBezTo>
                  <a:cubicBezTo>
                    <a:pt x="347" y="78"/>
                    <a:pt x="269" y="0"/>
                    <a:pt x="174" y="0"/>
                  </a:cubicBezTo>
                  <a:close/>
                  <a:moveTo>
                    <a:pt x="332" y="166"/>
                  </a:moveTo>
                  <a:cubicBezTo>
                    <a:pt x="283" y="166"/>
                    <a:pt x="283" y="166"/>
                    <a:pt x="283" y="166"/>
                  </a:cubicBezTo>
                  <a:cubicBezTo>
                    <a:pt x="281" y="107"/>
                    <a:pt x="261" y="55"/>
                    <a:pt x="231" y="26"/>
                  </a:cubicBezTo>
                  <a:cubicBezTo>
                    <a:pt x="288" y="48"/>
                    <a:pt x="329" y="102"/>
                    <a:pt x="332" y="166"/>
                  </a:cubicBezTo>
                  <a:close/>
                  <a:moveTo>
                    <a:pt x="174" y="332"/>
                  </a:moveTo>
                  <a:cubicBezTo>
                    <a:pt x="165" y="330"/>
                    <a:pt x="148" y="277"/>
                    <a:pt x="147" y="181"/>
                  </a:cubicBezTo>
                  <a:cubicBezTo>
                    <a:pt x="200" y="181"/>
                    <a:pt x="200" y="181"/>
                    <a:pt x="200" y="181"/>
                  </a:cubicBezTo>
                  <a:cubicBezTo>
                    <a:pt x="199" y="277"/>
                    <a:pt x="183" y="330"/>
                    <a:pt x="174" y="332"/>
                  </a:cubicBezTo>
                  <a:close/>
                  <a:moveTo>
                    <a:pt x="147" y="166"/>
                  </a:moveTo>
                  <a:cubicBezTo>
                    <a:pt x="148" y="70"/>
                    <a:pt x="165" y="17"/>
                    <a:pt x="174" y="15"/>
                  </a:cubicBezTo>
                  <a:cubicBezTo>
                    <a:pt x="174" y="15"/>
                    <a:pt x="174" y="15"/>
                    <a:pt x="174" y="15"/>
                  </a:cubicBezTo>
                  <a:cubicBezTo>
                    <a:pt x="183" y="17"/>
                    <a:pt x="199" y="70"/>
                    <a:pt x="200" y="166"/>
                  </a:cubicBezTo>
                  <a:lnTo>
                    <a:pt x="147" y="166"/>
                  </a:lnTo>
                  <a:close/>
                  <a:moveTo>
                    <a:pt x="153" y="19"/>
                  </a:moveTo>
                  <a:cubicBezTo>
                    <a:pt x="138" y="51"/>
                    <a:pt x="133" y="118"/>
                    <a:pt x="133" y="166"/>
                  </a:cubicBezTo>
                  <a:cubicBezTo>
                    <a:pt x="79" y="166"/>
                    <a:pt x="79" y="166"/>
                    <a:pt x="79" y="166"/>
                  </a:cubicBezTo>
                  <a:cubicBezTo>
                    <a:pt x="81" y="94"/>
                    <a:pt x="112" y="34"/>
                    <a:pt x="153" y="19"/>
                  </a:cubicBezTo>
                  <a:close/>
                  <a:moveTo>
                    <a:pt x="133" y="181"/>
                  </a:moveTo>
                  <a:cubicBezTo>
                    <a:pt x="133" y="229"/>
                    <a:pt x="138" y="296"/>
                    <a:pt x="153" y="329"/>
                  </a:cubicBezTo>
                  <a:cubicBezTo>
                    <a:pt x="112" y="313"/>
                    <a:pt x="81" y="254"/>
                    <a:pt x="79" y="181"/>
                  </a:cubicBezTo>
                  <a:lnTo>
                    <a:pt x="133" y="181"/>
                  </a:lnTo>
                  <a:close/>
                  <a:moveTo>
                    <a:pt x="194" y="329"/>
                  </a:moveTo>
                  <a:cubicBezTo>
                    <a:pt x="209" y="296"/>
                    <a:pt x="214" y="229"/>
                    <a:pt x="215" y="181"/>
                  </a:cubicBezTo>
                  <a:cubicBezTo>
                    <a:pt x="268" y="181"/>
                    <a:pt x="268" y="181"/>
                    <a:pt x="268" y="181"/>
                  </a:cubicBezTo>
                  <a:cubicBezTo>
                    <a:pt x="266" y="254"/>
                    <a:pt x="235" y="313"/>
                    <a:pt x="194" y="329"/>
                  </a:cubicBezTo>
                  <a:close/>
                  <a:moveTo>
                    <a:pt x="215" y="166"/>
                  </a:moveTo>
                  <a:cubicBezTo>
                    <a:pt x="214" y="118"/>
                    <a:pt x="209" y="51"/>
                    <a:pt x="194" y="19"/>
                  </a:cubicBezTo>
                  <a:cubicBezTo>
                    <a:pt x="235" y="34"/>
                    <a:pt x="266" y="94"/>
                    <a:pt x="268" y="166"/>
                  </a:cubicBezTo>
                  <a:lnTo>
                    <a:pt x="215" y="166"/>
                  </a:lnTo>
                  <a:close/>
                  <a:moveTo>
                    <a:pt x="117" y="26"/>
                  </a:moveTo>
                  <a:cubicBezTo>
                    <a:pt x="87" y="55"/>
                    <a:pt x="66" y="107"/>
                    <a:pt x="64" y="166"/>
                  </a:cubicBezTo>
                  <a:cubicBezTo>
                    <a:pt x="15" y="166"/>
                    <a:pt x="15" y="166"/>
                    <a:pt x="15" y="166"/>
                  </a:cubicBezTo>
                  <a:cubicBezTo>
                    <a:pt x="18" y="102"/>
                    <a:pt x="59" y="48"/>
                    <a:pt x="117" y="26"/>
                  </a:cubicBezTo>
                  <a:close/>
                  <a:moveTo>
                    <a:pt x="15" y="181"/>
                  </a:moveTo>
                  <a:cubicBezTo>
                    <a:pt x="64" y="181"/>
                    <a:pt x="64" y="181"/>
                    <a:pt x="64" y="181"/>
                  </a:cubicBezTo>
                  <a:cubicBezTo>
                    <a:pt x="66" y="241"/>
                    <a:pt x="87" y="292"/>
                    <a:pt x="117" y="322"/>
                  </a:cubicBezTo>
                  <a:cubicBezTo>
                    <a:pt x="59" y="300"/>
                    <a:pt x="18" y="245"/>
                    <a:pt x="15" y="181"/>
                  </a:cubicBezTo>
                  <a:close/>
                  <a:moveTo>
                    <a:pt x="231" y="322"/>
                  </a:moveTo>
                  <a:cubicBezTo>
                    <a:pt x="261" y="292"/>
                    <a:pt x="281" y="241"/>
                    <a:pt x="283" y="181"/>
                  </a:cubicBezTo>
                  <a:cubicBezTo>
                    <a:pt x="332" y="181"/>
                    <a:pt x="332" y="181"/>
                    <a:pt x="332" y="181"/>
                  </a:cubicBezTo>
                  <a:cubicBezTo>
                    <a:pt x="329" y="245"/>
                    <a:pt x="288" y="300"/>
                    <a:pt x="231" y="32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64" name="Group 63"/>
          <p:cNvGrpSpPr/>
          <p:nvPr/>
        </p:nvGrpSpPr>
        <p:grpSpPr>
          <a:xfrm>
            <a:off x="7501318" y="742957"/>
            <a:ext cx="1015059" cy="666323"/>
            <a:chOff x="6938406" y="4495800"/>
            <a:chExt cx="1746806" cy="1066800"/>
          </a:xfrm>
        </p:grpSpPr>
        <p:sp>
          <p:nvSpPr>
            <p:cNvPr id="66" name="Freeform 79"/>
            <p:cNvSpPr>
              <a:spLocks noEditPoints="1"/>
            </p:cNvSpPr>
            <p:nvPr/>
          </p:nvSpPr>
          <p:spPr bwMode="auto">
            <a:xfrm>
              <a:off x="7393924" y="4800600"/>
              <a:ext cx="649975" cy="597365"/>
            </a:xfrm>
            <a:custGeom>
              <a:avLst/>
              <a:gdLst>
                <a:gd name="T0" fmla="*/ 406 w 413"/>
                <a:gd name="T1" fmla="*/ 0 h 380"/>
                <a:gd name="T2" fmla="*/ 7 w 413"/>
                <a:gd name="T3" fmla="*/ 0 h 380"/>
                <a:gd name="T4" fmla="*/ 0 w 413"/>
                <a:gd name="T5" fmla="*/ 7 h 380"/>
                <a:gd name="T6" fmla="*/ 0 w 413"/>
                <a:gd name="T7" fmla="*/ 273 h 380"/>
                <a:gd name="T8" fmla="*/ 7 w 413"/>
                <a:gd name="T9" fmla="*/ 281 h 380"/>
                <a:gd name="T10" fmla="*/ 133 w 413"/>
                <a:gd name="T11" fmla="*/ 281 h 380"/>
                <a:gd name="T12" fmla="*/ 133 w 413"/>
                <a:gd name="T13" fmla="*/ 332 h 380"/>
                <a:gd name="T14" fmla="*/ 73 w 413"/>
                <a:gd name="T15" fmla="*/ 332 h 380"/>
                <a:gd name="T16" fmla="*/ 65 w 413"/>
                <a:gd name="T17" fmla="*/ 340 h 380"/>
                <a:gd name="T18" fmla="*/ 65 w 413"/>
                <a:gd name="T19" fmla="*/ 373 h 380"/>
                <a:gd name="T20" fmla="*/ 73 w 413"/>
                <a:gd name="T21" fmla="*/ 380 h 380"/>
                <a:gd name="T22" fmla="*/ 339 w 413"/>
                <a:gd name="T23" fmla="*/ 380 h 380"/>
                <a:gd name="T24" fmla="*/ 346 w 413"/>
                <a:gd name="T25" fmla="*/ 373 h 380"/>
                <a:gd name="T26" fmla="*/ 346 w 413"/>
                <a:gd name="T27" fmla="*/ 340 h 380"/>
                <a:gd name="T28" fmla="*/ 339 w 413"/>
                <a:gd name="T29" fmla="*/ 332 h 380"/>
                <a:gd name="T30" fmla="*/ 280 w 413"/>
                <a:gd name="T31" fmla="*/ 332 h 380"/>
                <a:gd name="T32" fmla="*/ 280 w 413"/>
                <a:gd name="T33" fmla="*/ 281 h 380"/>
                <a:gd name="T34" fmla="*/ 406 w 413"/>
                <a:gd name="T35" fmla="*/ 281 h 380"/>
                <a:gd name="T36" fmla="*/ 413 w 413"/>
                <a:gd name="T37" fmla="*/ 273 h 380"/>
                <a:gd name="T38" fmla="*/ 413 w 413"/>
                <a:gd name="T39" fmla="*/ 7 h 380"/>
                <a:gd name="T40" fmla="*/ 406 w 413"/>
                <a:gd name="T41" fmla="*/ 0 h 380"/>
                <a:gd name="T42" fmla="*/ 331 w 413"/>
                <a:gd name="T43" fmla="*/ 366 h 380"/>
                <a:gd name="T44" fmla="*/ 80 w 413"/>
                <a:gd name="T45" fmla="*/ 366 h 380"/>
                <a:gd name="T46" fmla="*/ 80 w 413"/>
                <a:gd name="T47" fmla="*/ 347 h 380"/>
                <a:gd name="T48" fmla="*/ 331 w 413"/>
                <a:gd name="T49" fmla="*/ 347 h 380"/>
                <a:gd name="T50" fmla="*/ 331 w 413"/>
                <a:gd name="T51" fmla="*/ 366 h 380"/>
                <a:gd name="T52" fmla="*/ 266 w 413"/>
                <a:gd name="T53" fmla="*/ 332 h 380"/>
                <a:gd name="T54" fmla="*/ 148 w 413"/>
                <a:gd name="T55" fmla="*/ 332 h 380"/>
                <a:gd name="T56" fmla="*/ 148 w 413"/>
                <a:gd name="T57" fmla="*/ 281 h 380"/>
                <a:gd name="T58" fmla="*/ 266 w 413"/>
                <a:gd name="T59" fmla="*/ 281 h 380"/>
                <a:gd name="T60" fmla="*/ 266 w 413"/>
                <a:gd name="T61" fmla="*/ 332 h 380"/>
                <a:gd name="T62" fmla="*/ 399 w 413"/>
                <a:gd name="T63" fmla="*/ 266 h 380"/>
                <a:gd name="T64" fmla="*/ 15 w 413"/>
                <a:gd name="T65" fmla="*/ 266 h 380"/>
                <a:gd name="T66" fmla="*/ 15 w 413"/>
                <a:gd name="T67" fmla="*/ 15 h 380"/>
                <a:gd name="T68" fmla="*/ 399 w 413"/>
                <a:gd name="T69" fmla="*/ 15 h 380"/>
                <a:gd name="T70" fmla="*/ 399 w 413"/>
                <a:gd name="T71" fmla="*/ 266 h 380"/>
                <a:gd name="T72" fmla="*/ 40 w 413"/>
                <a:gd name="T73" fmla="*/ 247 h 380"/>
                <a:gd name="T74" fmla="*/ 373 w 413"/>
                <a:gd name="T75" fmla="*/ 247 h 380"/>
                <a:gd name="T76" fmla="*/ 381 w 413"/>
                <a:gd name="T77" fmla="*/ 240 h 380"/>
                <a:gd name="T78" fmla="*/ 381 w 413"/>
                <a:gd name="T79" fmla="*/ 41 h 380"/>
                <a:gd name="T80" fmla="*/ 373 w 413"/>
                <a:gd name="T81" fmla="*/ 33 h 380"/>
                <a:gd name="T82" fmla="*/ 40 w 413"/>
                <a:gd name="T83" fmla="*/ 33 h 380"/>
                <a:gd name="T84" fmla="*/ 33 w 413"/>
                <a:gd name="T85" fmla="*/ 41 h 380"/>
                <a:gd name="T86" fmla="*/ 33 w 413"/>
                <a:gd name="T87" fmla="*/ 240 h 380"/>
                <a:gd name="T88" fmla="*/ 40 w 413"/>
                <a:gd name="T89" fmla="*/ 247 h 380"/>
                <a:gd name="T90" fmla="*/ 47 w 413"/>
                <a:gd name="T91" fmla="*/ 48 h 380"/>
                <a:gd name="T92" fmla="*/ 366 w 413"/>
                <a:gd name="T93" fmla="*/ 48 h 380"/>
                <a:gd name="T94" fmla="*/ 366 w 413"/>
                <a:gd name="T95" fmla="*/ 233 h 380"/>
                <a:gd name="T96" fmla="*/ 47 w 413"/>
                <a:gd name="T97" fmla="*/ 233 h 380"/>
                <a:gd name="T98" fmla="*/ 47 w 413"/>
                <a:gd name="T99" fmla="*/ 48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3" h="380">
                  <a:moveTo>
                    <a:pt x="406" y="0"/>
                  </a:moveTo>
                  <a:cubicBezTo>
                    <a:pt x="7" y="0"/>
                    <a:pt x="7" y="0"/>
                    <a:pt x="7" y="0"/>
                  </a:cubicBezTo>
                  <a:cubicBezTo>
                    <a:pt x="3" y="0"/>
                    <a:pt x="0" y="3"/>
                    <a:pt x="0" y="7"/>
                  </a:cubicBezTo>
                  <a:cubicBezTo>
                    <a:pt x="0" y="273"/>
                    <a:pt x="0" y="273"/>
                    <a:pt x="0" y="273"/>
                  </a:cubicBezTo>
                  <a:cubicBezTo>
                    <a:pt x="0" y="277"/>
                    <a:pt x="3" y="281"/>
                    <a:pt x="7" y="281"/>
                  </a:cubicBezTo>
                  <a:cubicBezTo>
                    <a:pt x="133" y="281"/>
                    <a:pt x="133" y="281"/>
                    <a:pt x="133" y="281"/>
                  </a:cubicBezTo>
                  <a:cubicBezTo>
                    <a:pt x="133" y="332"/>
                    <a:pt x="133" y="332"/>
                    <a:pt x="133" y="332"/>
                  </a:cubicBezTo>
                  <a:cubicBezTo>
                    <a:pt x="73" y="332"/>
                    <a:pt x="73" y="332"/>
                    <a:pt x="73" y="332"/>
                  </a:cubicBezTo>
                  <a:cubicBezTo>
                    <a:pt x="69" y="332"/>
                    <a:pt x="65" y="336"/>
                    <a:pt x="65" y="340"/>
                  </a:cubicBezTo>
                  <a:cubicBezTo>
                    <a:pt x="65" y="373"/>
                    <a:pt x="65" y="373"/>
                    <a:pt x="65" y="373"/>
                  </a:cubicBezTo>
                  <a:cubicBezTo>
                    <a:pt x="65" y="377"/>
                    <a:pt x="69" y="380"/>
                    <a:pt x="73" y="380"/>
                  </a:cubicBezTo>
                  <a:cubicBezTo>
                    <a:pt x="339" y="380"/>
                    <a:pt x="339" y="380"/>
                    <a:pt x="339" y="380"/>
                  </a:cubicBezTo>
                  <a:cubicBezTo>
                    <a:pt x="343" y="380"/>
                    <a:pt x="346" y="377"/>
                    <a:pt x="346" y="373"/>
                  </a:cubicBezTo>
                  <a:cubicBezTo>
                    <a:pt x="346" y="340"/>
                    <a:pt x="346" y="340"/>
                    <a:pt x="346" y="340"/>
                  </a:cubicBezTo>
                  <a:cubicBezTo>
                    <a:pt x="346" y="336"/>
                    <a:pt x="343" y="332"/>
                    <a:pt x="339" y="332"/>
                  </a:cubicBezTo>
                  <a:cubicBezTo>
                    <a:pt x="280" y="332"/>
                    <a:pt x="280" y="332"/>
                    <a:pt x="280" y="332"/>
                  </a:cubicBezTo>
                  <a:cubicBezTo>
                    <a:pt x="280" y="281"/>
                    <a:pt x="280" y="281"/>
                    <a:pt x="280" y="281"/>
                  </a:cubicBezTo>
                  <a:cubicBezTo>
                    <a:pt x="406" y="281"/>
                    <a:pt x="406" y="281"/>
                    <a:pt x="406" y="281"/>
                  </a:cubicBezTo>
                  <a:cubicBezTo>
                    <a:pt x="410" y="281"/>
                    <a:pt x="413" y="277"/>
                    <a:pt x="413" y="273"/>
                  </a:cubicBezTo>
                  <a:cubicBezTo>
                    <a:pt x="413" y="7"/>
                    <a:pt x="413" y="7"/>
                    <a:pt x="413" y="7"/>
                  </a:cubicBezTo>
                  <a:cubicBezTo>
                    <a:pt x="413" y="3"/>
                    <a:pt x="410" y="0"/>
                    <a:pt x="406" y="0"/>
                  </a:cubicBezTo>
                  <a:close/>
                  <a:moveTo>
                    <a:pt x="331" y="366"/>
                  </a:moveTo>
                  <a:cubicBezTo>
                    <a:pt x="80" y="366"/>
                    <a:pt x="80" y="366"/>
                    <a:pt x="80" y="366"/>
                  </a:cubicBezTo>
                  <a:cubicBezTo>
                    <a:pt x="80" y="347"/>
                    <a:pt x="80" y="347"/>
                    <a:pt x="80" y="347"/>
                  </a:cubicBezTo>
                  <a:cubicBezTo>
                    <a:pt x="331" y="347"/>
                    <a:pt x="331" y="347"/>
                    <a:pt x="331" y="347"/>
                  </a:cubicBezTo>
                  <a:lnTo>
                    <a:pt x="331" y="366"/>
                  </a:lnTo>
                  <a:close/>
                  <a:moveTo>
                    <a:pt x="266" y="332"/>
                  </a:moveTo>
                  <a:cubicBezTo>
                    <a:pt x="148" y="332"/>
                    <a:pt x="148" y="332"/>
                    <a:pt x="148" y="332"/>
                  </a:cubicBezTo>
                  <a:cubicBezTo>
                    <a:pt x="148" y="281"/>
                    <a:pt x="148" y="281"/>
                    <a:pt x="148" y="281"/>
                  </a:cubicBezTo>
                  <a:cubicBezTo>
                    <a:pt x="266" y="281"/>
                    <a:pt x="266" y="281"/>
                    <a:pt x="266" y="281"/>
                  </a:cubicBezTo>
                  <a:lnTo>
                    <a:pt x="266" y="332"/>
                  </a:lnTo>
                  <a:close/>
                  <a:moveTo>
                    <a:pt x="399" y="266"/>
                  </a:moveTo>
                  <a:cubicBezTo>
                    <a:pt x="15" y="266"/>
                    <a:pt x="15" y="266"/>
                    <a:pt x="15" y="266"/>
                  </a:cubicBezTo>
                  <a:cubicBezTo>
                    <a:pt x="15" y="15"/>
                    <a:pt x="15" y="15"/>
                    <a:pt x="15" y="15"/>
                  </a:cubicBezTo>
                  <a:cubicBezTo>
                    <a:pt x="399" y="15"/>
                    <a:pt x="399" y="15"/>
                    <a:pt x="399" y="15"/>
                  </a:cubicBezTo>
                  <a:lnTo>
                    <a:pt x="399" y="266"/>
                  </a:lnTo>
                  <a:close/>
                  <a:moveTo>
                    <a:pt x="40" y="247"/>
                  </a:moveTo>
                  <a:cubicBezTo>
                    <a:pt x="373" y="247"/>
                    <a:pt x="373" y="247"/>
                    <a:pt x="373" y="247"/>
                  </a:cubicBezTo>
                  <a:cubicBezTo>
                    <a:pt x="377" y="247"/>
                    <a:pt x="381" y="244"/>
                    <a:pt x="381" y="240"/>
                  </a:cubicBezTo>
                  <a:cubicBezTo>
                    <a:pt x="381" y="41"/>
                    <a:pt x="381" y="41"/>
                    <a:pt x="381" y="41"/>
                  </a:cubicBezTo>
                  <a:cubicBezTo>
                    <a:pt x="381" y="37"/>
                    <a:pt x="377" y="33"/>
                    <a:pt x="373" y="33"/>
                  </a:cubicBezTo>
                  <a:cubicBezTo>
                    <a:pt x="40" y="33"/>
                    <a:pt x="40" y="33"/>
                    <a:pt x="40" y="33"/>
                  </a:cubicBezTo>
                  <a:cubicBezTo>
                    <a:pt x="36" y="33"/>
                    <a:pt x="33" y="37"/>
                    <a:pt x="33" y="41"/>
                  </a:cubicBezTo>
                  <a:cubicBezTo>
                    <a:pt x="33" y="240"/>
                    <a:pt x="33" y="240"/>
                    <a:pt x="33" y="240"/>
                  </a:cubicBezTo>
                  <a:cubicBezTo>
                    <a:pt x="33" y="244"/>
                    <a:pt x="36" y="247"/>
                    <a:pt x="40" y="247"/>
                  </a:cubicBezTo>
                  <a:close/>
                  <a:moveTo>
                    <a:pt x="47" y="48"/>
                  </a:moveTo>
                  <a:cubicBezTo>
                    <a:pt x="366" y="48"/>
                    <a:pt x="366" y="48"/>
                    <a:pt x="366" y="48"/>
                  </a:cubicBezTo>
                  <a:cubicBezTo>
                    <a:pt x="366" y="233"/>
                    <a:pt x="366" y="233"/>
                    <a:pt x="366" y="233"/>
                  </a:cubicBezTo>
                  <a:cubicBezTo>
                    <a:pt x="47" y="233"/>
                    <a:pt x="47" y="233"/>
                    <a:pt x="47" y="233"/>
                  </a:cubicBezTo>
                  <a:lnTo>
                    <a:pt x="47" y="4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72" name="Freeform 77"/>
            <p:cNvSpPr>
              <a:spLocks noEditPoints="1"/>
            </p:cNvSpPr>
            <p:nvPr/>
          </p:nvSpPr>
          <p:spPr bwMode="auto">
            <a:xfrm>
              <a:off x="6938406" y="4495800"/>
              <a:ext cx="1746806" cy="1066800"/>
            </a:xfrm>
            <a:custGeom>
              <a:avLst/>
              <a:gdLst>
                <a:gd name="T0" fmla="*/ 340 w 413"/>
                <a:gd name="T1" fmla="*/ 283 h 283"/>
                <a:gd name="T2" fmla="*/ 73 w 413"/>
                <a:gd name="T3" fmla="*/ 283 h 283"/>
                <a:gd name="T4" fmla="*/ 72 w 413"/>
                <a:gd name="T5" fmla="*/ 283 h 283"/>
                <a:gd name="T6" fmla="*/ 0 w 413"/>
                <a:gd name="T7" fmla="*/ 209 h 283"/>
                <a:gd name="T8" fmla="*/ 70 w 413"/>
                <a:gd name="T9" fmla="*/ 135 h 283"/>
                <a:gd name="T10" fmla="*/ 66 w 413"/>
                <a:gd name="T11" fmla="*/ 107 h 283"/>
                <a:gd name="T12" fmla="*/ 173 w 413"/>
                <a:gd name="T13" fmla="*/ 0 h 283"/>
                <a:gd name="T14" fmla="*/ 273 w 413"/>
                <a:gd name="T15" fmla="*/ 69 h 283"/>
                <a:gd name="T16" fmla="*/ 273 w 413"/>
                <a:gd name="T17" fmla="*/ 69 h 283"/>
                <a:gd name="T18" fmla="*/ 346 w 413"/>
                <a:gd name="T19" fmla="*/ 135 h 283"/>
                <a:gd name="T20" fmla="*/ 413 w 413"/>
                <a:gd name="T21" fmla="*/ 209 h 283"/>
                <a:gd name="T22" fmla="*/ 341 w 413"/>
                <a:gd name="T23" fmla="*/ 283 h 283"/>
                <a:gd name="T24" fmla="*/ 340 w 413"/>
                <a:gd name="T25" fmla="*/ 283 h 283"/>
                <a:gd name="T26" fmla="*/ 73 w 413"/>
                <a:gd name="T27" fmla="*/ 268 h 283"/>
                <a:gd name="T28" fmla="*/ 339 w 413"/>
                <a:gd name="T29" fmla="*/ 268 h 283"/>
                <a:gd name="T30" fmla="*/ 340 w 413"/>
                <a:gd name="T31" fmla="*/ 268 h 283"/>
                <a:gd name="T32" fmla="*/ 398 w 413"/>
                <a:gd name="T33" fmla="*/ 209 h 283"/>
                <a:gd name="T34" fmla="*/ 339 w 413"/>
                <a:gd name="T35" fmla="*/ 150 h 283"/>
                <a:gd name="T36" fmla="*/ 332 w 413"/>
                <a:gd name="T37" fmla="*/ 142 h 283"/>
                <a:gd name="T38" fmla="*/ 273 w 413"/>
                <a:gd name="T39" fmla="*/ 83 h 283"/>
                <a:gd name="T40" fmla="*/ 268 w 413"/>
                <a:gd name="T41" fmla="*/ 84 h 283"/>
                <a:gd name="T42" fmla="*/ 261 w 413"/>
                <a:gd name="T43" fmla="*/ 79 h 283"/>
                <a:gd name="T44" fmla="*/ 173 w 413"/>
                <a:gd name="T45" fmla="*/ 15 h 283"/>
                <a:gd name="T46" fmla="*/ 81 w 413"/>
                <a:gd name="T47" fmla="*/ 107 h 283"/>
                <a:gd name="T48" fmla="*/ 87 w 413"/>
                <a:gd name="T49" fmla="*/ 140 h 283"/>
                <a:gd name="T50" fmla="*/ 86 w 413"/>
                <a:gd name="T51" fmla="*/ 147 h 283"/>
                <a:gd name="T52" fmla="*/ 79 w 413"/>
                <a:gd name="T53" fmla="*/ 150 h 283"/>
                <a:gd name="T54" fmla="*/ 73 w 413"/>
                <a:gd name="T55" fmla="*/ 150 h 283"/>
                <a:gd name="T56" fmla="*/ 14 w 413"/>
                <a:gd name="T57" fmla="*/ 209 h 283"/>
                <a:gd name="T58" fmla="*/ 73 w 413"/>
                <a:gd name="T59" fmla="*/ 268 h 283"/>
                <a:gd name="T60" fmla="*/ 73 w 413"/>
                <a:gd name="T61" fmla="*/ 268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3" h="283">
                  <a:moveTo>
                    <a:pt x="340" y="283"/>
                  </a:moveTo>
                  <a:cubicBezTo>
                    <a:pt x="73" y="283"/>
                    <a:pt x="73" y="283"/>
                    <a:pt x="73" y="283"/>
                  </a:cubicBezTo>
                  <a:cubicBezTo>
                    <a:pt x="73" y="283"/>
                    <a:pt x="72" y="283"/>
                    <a:pt x="72" y="283"/>
                  </a:cubicBezTo>
                  <a:cubicBezTo>
                    <a:pt x="32" y="282"/>
                    <a:pt x="0" y="249"/>
                    <a:pt x="0" y="209"/>
                  </a:cubicBezTo>
                  <a:cubicBezTo>
                    <a:pt x="0" y="169"/>
                    <a:pt x="31" y="137"/>
                    <a:pt x="70" y="135"/>
                  </a:cubicBezTo>
                  <a:cubicBezTo>
                    <a:pt x="67" y="126"/>
                    <a:pt x="66" y="117"/>
                    <a:pt x="66" y="107"/>
                  </a:cubicBezTo>
                  <a:cubicBezTo>
                    <a:pt x="66" y="48"/>
                    <a:pt x="114" y="0"/>
                    <a:pt x="173" y="0"/>
                  </a:cubicBezTo>
                  <a:cubicBezTo>
                    <a:pt x="217" y="0"/>
                    <a:pt x="257" y="27"/>
                    <a:pt x="273" y="69"/>
                  </a:cubicBezTo>
                  <a:cubicBezTo>
                    <a:pt x="273" y="69"/>
                    <a:pt x="273" y="69"/>
                    <a:pt x="273" y="69"/>
                  </a:cubicBezTo>
                  <a:cubicBezTo>
                    <a:pt x="311" y="69"/>
                    <a:pt x="343" y="98"/>
                    <a:pt x="346" y="135"/>
                  </a:cubicBezTo>
                  <a:cubicBezTo>
                    <a:pt x="384" y="139"/>
                    <a:pt x="413" y="171"/>
                    <a:pt x="413" y="209"/>
                  </a:cubicBezTo>
                  <a:cubicBezTo>
                    <a:pt x="413" y="249"/>
                    <a:pt x="381" y="282"/>
                    <a:pt x="341" y="283"/>
                  </a:cubicBezTo>
                  <a:cubicBezTo>
                    <a:pt x="340" y="283"/>
                    <a:pt x="340" y="283"/>
                    <a:pt x="340" y="283"/>
                  </a:cubicBezTo>
                  <a:close/>
                  <a:moveTo>
                    <a:pt x="73" y="268"/>
                  </a:moveTo>
                  <a:cubicBezTo>
                    <a:pt x="339" y="268"/>
                    <a:pt x="339" y="268"/>
                    <a:pt x="339" y="268"/>
                  </a:cubicBezTo>
                  <a:cubicBezTo>
                    <a:pt x="339" y="268"/>
                    <a:pt x="340" y="268"/>
                    <a:pt x="340" y="268"/>
                  </a:cubicBezTo>
                  <a:cubicBezTo>
                    <a:pt x="372" y="268"/>
                    <a:pt x="398" y="241"/>
                    <a:pt x="398" y="209"/>
                  </a:cubicBezTo>
                  <a:cubicBezTo>
                    <a:pt x="398" y="176"/>
                    <a:pt x="372" y="150"/>
                    <a:pt x="339" y="150"/>
                  </a:cubicBezTo>
                  <a:cubicBezTo>
                    <a:pt x="335" y="150"/>
                    <a:pt x="332" y="146"/>
                    <a:pt x="332" y="142"/>
                  </a:cubicBezTo>
                  <a:cubicBezTo>
                    <a:pt x="332" y="110"/>
                    <a:pt x="305" y="83"/>
                    <a:pt x="273" y="83"/>
                  </a:cubicBezTo>
                  <a:cubicBezTo>
                    <a:pt x="271" y="83"/>
                    <a:pt x="270" y="83"/>
                    <a:pt x="268" y="84"/>
                  </a:cubicBezTo>
                  <a:cubicBezTo>
                    <a:pt x="265" y="84"/>
                    <a:pt x="262" y="82"/>
                    <a:pt x="261" y="79"/>
                  </a:cubicBezTo>
                  <a:cubicBezTo>
                    <a:pt x="248" y="40"/>
                    <a:pt x="213" y="15"/>
                    <a:pt x="173" y="15"/>
                  </a:cubicBezTo>
                  <a:cubicBezTo>
                    <a:pt x="122" y="15"/>
                    <a:pt x="81" y="56"/>
                    <a:pt x="81" y="107"/>
                  </a:cubicBezTo>
                  <a:cubicBezTo>
                    <a:pt x="81" y="118"/>
                    <a:pt x="83" y="129"/>
                    <a:pt x="87" y="140"/>
                  </a:cubicBezTo>
                  <a:cubicBezTo>
                    <a:pt x="88" y="142"/>
                    <a:pt x="87" y="145"/>
                    <a:pt x="86" y="147"/>
                  </a:cubicBezTo>
                  <a:cubicBezTo>
                    <a:pt x="84" y="149"/>
                    <a:pt x="82" y="150"/>
                    <a:pt x="79" y="150"/>
                  </a:cubicBezTo>
                  <a:cubicBezTo>
                    <a:pt x="77" y="150"/>
                    <a:pt x="75" y="150"/>
                    <a:pt x="73" y="150"/>
                  </a:cubicBezTo>
                  <a:cubicBezTo>
                    <a:pt x="41" y="150"/>
                    <a:pt x="14" y="176"/>
                    <a:pt x="14" y="209"/>
                  </a:cubicBezTo>
                  <a:cubicBezTo>
                    <a:pt x="14" y="241"/>
                    <a:pt x="41" y="268"/>
                    <a:pt x="73" y="268"/>
                  </a:cubicBezTo>
                  <a:cubicBezTo>
                    <a:pt x="73" y="268"/>
                    <a:pt x="73" y="268"/>
                    <a:pt x="73" y="26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73" name="Group 72"/>
          <p:cNvGrpSpPr/>
          <p:nvPr/>
        </p:nvGrpSpPr>
        <p:grpSpPr>
          <a:xfrm>
            <a:off x="6344111" y="3714757"/>
            <a:ext cx="1015059" cy="666323"/>
            <a:chOff x="6786006" y="2667000"/>
            <a:chExt cx="1746806" cy="1066800"/>
          </a:xfrm>
        </p:grpSpPr>
        <p:sp>
          <p:nvSpPr>
            <p:cNvPr id="78" name="Freeform 77"/>
            <p:cNvSpPr>
              <a:spLocks noEditPoints="1"/>
            </p:cNvSpPr>
            <p:nvPr/>
          </p:nvSpPr>
          <p:spPr bwMode="auto">
            <a:xfrm>
              <a:off x="6786006" y="2667000"/>
              <a:ext cx="1746806" cy="1066800"/>
            </a:xfrm>
            <a:custGeom>
              <a:avLst/>
              <a:gdLst>
                <a:gd name="T0" fmla="*/ 340 w 413"/>
                <a:gd name="T1" fmla="*/ 283 h 283"/>
                <a:gd name="T2" fmla="*/ 73 w 413"/>
                <a:gd name="T3" fmla="*/ 283 h 283"/>
                <a:gd name="T4" fmla="*/ 72 w 413"/>
                <a:gd name="T5" fmla="*/ 283 h 283"/>
                <a:gd name="T6" fmla="*/ 0 w 413"/>
                <a:gd name="T7" fmla="*/ 209 h 283"/>
                <a:gd name="T8" fmla="*/ 70 w 413"/>
                <a:gd name="T9" fmla="*/ 135 h 283"/>
                <a:gd name="T10" fmla="*/ 66 w 413"/>
                <a:gd name="T11" fmla="*/ 107 h 283"/>
                <a:gd name="T12" fmla="*/ 173 w 413"/>
                <a:gd name="T13" fmla="*/ 0 h 283"/>
                <a:gd name="T14" fmla="*/ 273 w 413"/>
                <a:gd name="T15" fmla="*/ 69 h 283"/>
                <a:gd name="T16" fmla="*/ 273 w 413"/>
                <a:gd name="T17" fmla="*/ 69 h 283"/>
                <a:gd name="T18" fmla="*/ 346 w 413"/>
                <a:gd name="T19" fmla="*/ 135 h 283"/>
                <a:gd name="T20" fmla="*/ 413 w 413"/>
                <a:gd name="T21" fmla="*/ 209 h 283"/>
                <a:gd name="T22" fmla="*/ 341 w 413"/>
                <a:gd name="T23" fmla="*/ 283 h 283"/>
                <a:gd name="T24" fmla="*/ 340 w 413"/>
                <a:gd name="T25" fmla="*/ 283 h 283"/>
                <a:gd name="T26" fmla="*/ 73 w 413"/>
                <a:gd name="T27" fmla="*/ 268 h 283"/>
                <a:gd name="T28" fmla="*/ 339 w 413"/>
                <a:gd name="T29" fmla="*/ 268 h 283"/>
                <a:gd name="T30" fmla="*/ 340 w 413"/>
                <a:gd name="T31" fmla="*/ 268 h 283"/>
                <a:gd name="T32" fmla="*/ 398 w 413"/>
                <a:gd name="T33" fmla="*/ 209 h 283"/>
                <a:gd name="T34" fmla="*/ 339 w 413"/>
                <a:gd name="T35" fmla="*/ 150 h 283"/>
                <a:gd name="T36" fmla="*/ 332 w 413"/>
                <a:gd name="T37" fmla="*/ 142 h 283"/>
                <a:gd name="T38" fmla="*/ 273 w 413"/>
                <a:gd name="T39" fmla="*/ 83 h 283"/>
                <a:gd name="T40" fmla="*/ 268 w 413"/>
                <a:gd name="T41" fmla="*/ 84 h 283"/>
                <a:gd name="T42" fmla="*/ 261 w 413"/>
                <a:gd name="T43" fmla="*/ 79 h 283"/>
                <a:gd name="T44" fmla="*/ 173 w 413"/>
                <a:gd name="T45" fmla="*/ 15 h 283"/>
                <a:gd name="T46" fmla="*/ 81 w 413"/>
                <a:gd name="T47" fmla="*/ 107 h 283"/>
                <a:gd name="T48" fmla="*/ 87 w 413"/>
                <a:gd name="T49" fmla="*/ 140 h 283"/>
                <a:gd name="T50" fmla="*/ 86 w 413"/>
                <a:gd name="T51" fmla="*/ 147 h 283"/>
                <a:gd name="T52" fmla="*/ 79 w 413"/>
                <a:gd name="T53" fmla="*/ 150 h 283"/>
                <a:gd name="T54" fmla="*/ 73 w 413"/>
                <a:gd name="T55" fmla="*/ 150 h 283"/>
                <a:gd name="T56" fmla="*/ 14 w 413"/>
                <a:gd name="T57" fmla="*/ 209 h 283"/>
                <a:gd name="T58" fmla="*/ 73 w 413"/>
                <a:gd name="T59" fmla="*/ 268 h 283"/>
                <a:gd name="T60" fmla="*/ 73 w 413"/>
                <a:gd name="T61" fmla="*/ 268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3" h="283">
                  <a:moveTo>
                    <a:pt x="340" y="283"/>
                  </a:moveTo>
                  <a:cubicBezTo>
                    <a:pt x="73" y="283"/>
                    <a:pt x="73" y="283"/>
                    <a:pt x="73" y="283"/>
                  </a:cubicBezTo>
                  <a:cubicBezTo>
                    <a:pt x="73" y="283"/>
                    <a:pt x="72" y="283"/>
                    <a:pt x="72" y="283"/>
                  </a:cubicBezTo>
                  <a:cubicBezTo>
                    <a:pt x="32" y="282"/>
                    <a:pt x="0" y="249"/>
                    <a:pt x="0" y="209"/>
                  </a:cubicBezTo>
                  <a:cubicBezTo>
                    <a:pt x="0" y="169"/>
                    <a:pt x="31" y="137"/>
                    <a:pt x="70" y="135"/>
                  </a:cubicBezTo>
                  <a:cubicBezTo>
                    <a:pt x="67" y="126"/>
                    <a:pt x="66" y="117"/>
                    <a:pt x="66" y="107"/>
                  </a:cubicBezTo>
                  <a:cubicBezTo>
                    <a:pt x="66" y="48"/>
                    <a:pt x="114" y="0"/>
                    <a:pt x="173" y="0"/>
                  </a:cubicBezTo>
                  <a:cubicBezTo>
                    <a:pt x="217" y="0"/>
                    <a:pt x="257" y="27"/>
                    <a:pt x="273" y="69"/>
                  </a:cubicBezTo>
                  <a:cubicBezTo>
                    <a:pt x="273" y="69"/>
                    <a:pt x="273" y="69"/>
                    <a:pt x="273" y="69"/>
                  </a:cubicBezTo>
                  <a:cubicBezTo>
                    <a:pt x="311" y="69"/>
                    <a:pt x="343" y="98"/>
                    <a:pt x="346" y="135"/>
                  </a:cubicBezTo>
                  <a:cubicBezTo>
                    <a:pt x="384" y="139"/>
                    <a:pt x="413" y="171"/>
                    <a:pt x="413" y="209"/>
                  </a:cubicBezTo>
                  <a:cubicBezTo>
                    <a:pt x="413" y="249"/>
                    <a:pt x="381" y="282"/>
                    <a:pt x="341" y="283"/>
                  </a:cubicBezTo>
                  <a:cubicBezTo>
                    <a:pt x="340" y="283"/>
                    <a:pt x="340" y="283"/>
                    <a:pt x="340" y="283"/>
                  </a:cubicBezTo>
                  <a:close/>
                  <a:moveTo>
                    <a:pt x="73" y="268"/>
                  </a:moveTo>
                  <a:cubicBezTo>
                    <a:pt x="339" y="268"/>
                    <a:pt x="339" y="268"/>
                    <a:pt x="339" y="268"/>
                  </a:cubicBezTo>
                  <a:cubicBezTo>
                    <a:pt x="339" y="268"/>
                    <a:pt x="340" y="268"/>
                    <a:pt x="340" y="268"/>
                  </a:cubicBezTo>
                  <a:cubicBezTo>
                    <a:pt x="372" y="268"/>
                    <a:pt x="398" y="241"/>
                    <a:pt x="398" y="209"/>
                  </a:cubicBezTo>
                  <a:cubicBezTo>
                    <a:pt x="398" y="176"/>
                    <a:pt x="372" y="150"/>
                    <a:pt x="339" y="150"/>
                  </a:cubicBezTo>
                  <a:cubicBezTo>
                    <a:pt x="335" y="150"/>
                    <a:pt x="332" y="146"/>
                    <a:pt x="332" y="142"/>
                  </a:cubicBezTo>
                  <a:cubicBezTo>
                    <a:pt x="332" y="110"/>
                    <a:pt x="305" y="83"/>
                    <a:pt x="273" y="83"/>
                  </a:cubicBezTo>
                  <a:cubicBezTo>
                    <a:pt x="271" y="83"/>
                    <a:pt x="270" y="83"/>
                    <a:pt x="268" y="84"/>
                  </a:cubicBezTo>
                  <a:cubicBezTo>
                    <a:pt x="265" y="84"/>
                    <a:pt x="262" y="82"/>
                    <a:pt x="261" y="79"/>
                  </a:cubicBezTo>
                  <a:cubicBezTo>
                    <a:pt x="248" y="40"/>
                    <a:pt x="213" y="15"/>
                    <a:pt x="173" y="15"/>
                  </a:cubicBezTo>
                  <a:cubicBezTo>
                    <a:pt x="122" y="15"/>
                    <a:pt x="81" y="56"/>
                    <a:pt x="81" y="107"/>
                  </a:cubicBezTo>
                  <a:cubicBezTo>
                    <a:pt x="81" y="118"/>
                    <a:pt x="83" y="129"/>
                    <a:pt x="87" y="140"/>
                  </a:cubicBezTo>
                  <a:cubicBezTo>
                    <a:pt x="88" y="142"/>
                    <a:pt x="87" y="145"/>
                    <a:pt x="86" y="147"/>
                  </a:cubicBezTo>
                  <a:cubicBezTo>
                    <a:pt x="84" y="149"/>
                    <a:pt x="82" y="150"/>
                    <a:pt x="79" y="150"/>
                  </a:cubicBezTo>
                  <a:cubicBezTo>
                    <a:pt x="77" y="150"/>
                    <a:pt x="75" y="150"/>
                    <a:pt x="73" y="150"/>
                  </a:cubicBezTo>
                  <a:cubicBezTo>
                    <a:pt x="41" y="150"/>
                    <a:pt x="14" y="176"/>
                    <a:pt x="14" y="209"/>
                  </a:cubicBezTo>
                  <a:cubicBezTo>
                    <a:pt x="14" y="241"/>
                    <a:pt x="41" y="268"/>
                    <a:pt x="73" y="268"/>
                  </a:cubicBezTo>
                  <a:cubicBezTo>
                    <a:pt x="73" y="268"/>
                    <a:pt x="73" y="268"/>
                    <a:pt x="73" y="26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79" name="Freeform 78"/>
            <p:cNvSpPr>
              <a:spLocks noEditPoints="1"/>
            </p:cNvSpPr>
            <p:nvPr/>
          </p:nvSpPr>
          <p:spPr bwMode="auto">
            <a:xfrm>
              <a:off x="7300926" y="2971800"/>
              <a:ext cx="546086" cy="546086"/>
            </a:xfrm>
            <a:custGeom>
              <a:avLst/>
              <a:gdLst>
                <a:gd name="T0" fmla="*/ 174 w 347"/>
                <a:gd name="T1" fmla="*/ 0 h 347"/>
                <a:gd name="T2" fmla="*/ 0 w 347"/>
                <a:gd name="T3" fmla="*/ 174 h 347"/>
                <a:gd name="T4" fmla="*/ 174 w 347"/>
                <a:gd name="T5" fmla="*/ 347 h 347"/>
                <a:gd name="T6" fmla="*/ 347 w 347"/>
                <a:gd name="T7" fmla="*/ 174 h 347"/>
                <a:gd name="T8" fmla="*/ 174 w 347"/>
                <a:gd name="T9" fmla="*/ 0 h 347"/>
                <a:gd name="T10" fmla="*/ 332 w 347"/>
                <a:gd name="T11" fmla="*/ 166 h 347"/>
                <a:gd name="T12" fmla="*/ 283 w 347"/>
                <a:gd name="T13" fmla="*/ 166 h 347"/>
                <a:gd name="T14" fmla="*/ 231 w 347"/>
                <a:gd name="T15" fmla="*/ 26 h 347"/>
                <a:gd name="T16" fmla="*/ 332 w 347"/>
                <a:gd name="T17" fmla="*/ 166 h 347"/>
                <a:gd name="T18" fmla="*/ 174 w 347"/>
                <a:gd name="T19" fmla="*/ 332 h 347"/>
                <a:gd name="T20" fmla="*/ 147 w 347"/>
                <a:gd name="T21" fmla="*/ 181 h 347"/>
                <a:gd name="T22" fmla="*/ 200 w 347"/>
                <a:gd name="T23" fmla="*/ 181 h 347"/>
                <a:gd name="T24" fmla="*/ 174 w 347"/>
                <a:gd name="T25" fmla="*/ 332 h 347"/>
                <a:gd name="T26" fmla="*/ 147 w 347"/>
                <a:gd name="T27" fmla="*/ 166 h 347"/>
                <a:gd name="T28" fmla="*/ 174 w 347"/>
                <a:gd name="T29" fmla="*/ 15 h 347"/>
                <a:gd name="T30" fmla="*/ 174 w 347"/>
                <a:gd name="T31" fmla="*/ 15 h 347"/>
                <a:gd name="T32" fmla="*/ 200 w 347"/>
                <a:gd name="T33" fmla="*/ 166 h 347"/>
                <a:gd name="T34" fmla="*/ 147 w 347"/>
                <a:gd name="T35" fmla="*/ 166 h 347"/>
                <a:gd name="T36" fmla="*/ 153 w 347"/>
                <a:gd name="T37" fmla="*/ 19 h 347"/>
                <a:gd name="T38" fmla="*/ 133 w 347"/>
                <a:gd name="T39" fmla="*/ 166 h 347"/>
                <a:gd name="T40" fmla="*/ 79 w 347"/>
                <a:gd name="T41" fmla="*/ 166 h 347"/>
                <a:gd name="T42" fmla="*/ 153 w 347"/>
                <a:gd name="T43" fmla="*/ 19 h 347"/>
                <a:gd name="T44" fmla="*/ 133 w 347"/>
                <a:gd name="T45" fmla="*/ 181 h 347"/>
                <a:gd name="T46" fmla="*/ 153 w 347"/>
                <a:gd name="T47" fmla="*/ 329 h 347"/>
                <a:gd name="T48" fmla="*/ 79 w 347"/>
                <a:gd name="T49" fmla="*/ 181 h 347"/>
                <a:gd name="T50" fmla="*/ 133 w 347"/>
                <a:gd name="T51" fmla="*/ 181 h 347"/>
                <a:gd name="T52" fmla="*/ 194 w 347"/>
                <a:gd name="T53" fmla="*/ 329 h 347"/>
                <a:gd name="T54" fmla="*/ 215 w 347"/>
                <a:gd name="T55" fmla="*/ 181 h 347"/>
                <a:gd name="T56" fmla="*/ 268 w 347"/>
                <a:gd name="T57" fmla="*/ 181 h 347"/>
                <a:gd name="T58" fmla="*/ 194 w 347"/>
                <a:gd name="T59" fmla="*/ 329 h 347"/>
                <a:gd name="T60" fmla="*/ 215 w 347"/>
                <a:gd name="T61" fmla="*/ 166 h 347"/>
                <a:gd name="T62" fmla="*/ 194 w 347"/>
                <a:gd name="T63" fmla="*/ 19 h 347"/>
                <a:gd name="T64" fmla="*/ 268 w 347"/>
                <a:gd name="T65" fmla="*/ 166 h 347"/>
                <a:gd name="T66" fmla="*/ 215 w 347"/>
                <a:gd name="T67" fmla="*/ 166 h 347"/>
                <a:gd name="T68" fmla="*/ 117 w 347"/>
                <a:gd name="T69" fmla="*/ 26 h 347"/>
                <a:gd name="T70" fmla="*/ 64 w 347"/>
                <a:gd name="T71" fmla="*/ 166 h 347"/>
                <a:gd name="T72" fmla="*/ 15 w 347"/>
                <a:gd name="T73" fmla="*/ 166 h 347"/>
                <a:gd name="T74" fmla="*/ 117 w 347"/>
                <a:gd name="T75" fmla="*/ 26 h 347"/>
                <a:gd name="T76" fmla="*/ 15 w 347"/>
                <a:gd name="T77" fmla="*/ 181 h 347"/>
                <a:gd name="T78" fmla="*/ 64 w 347"/>
                <a:gd name="T79" fmla="*/ 181 h 347"/>
                <a:gd name="T80" fmla="*/ 117 w 347"/>
                <a:gd name="T81" fmla="*/ 322 h 347"/>
                <a:gd name="T82" fmla="*/ 15 w 347"/>
                <a:gd name="T83" fmla="*/ 181 h 347"/>
                <a:gd name="T84" fmla="*/ 231 w 347"/>
                <a:gd name="T85" fmla="*/ 322 h 347"/>
                <a:gd name="T86" fmla="*/ 283 w 347"/>
                <a:gd name="T87" fmla="*/ 181 h 347"/>
                <a:gd name="T88" fmla="*/ 332 w 347"/>
                <a:gd name="T89" fmla="*/ 181 h 347"/>
                <a:gd name="T90" fmla="*/ 231 w 347"/>
                <a:gd name="T91" fmla="*/ 322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7" h="347">
                  <a:moveTo>
                    <a:pt x="174" y="0"/>
                  </a:moveTo>
                  <a:cubicBezTo>
                    <a:pt x="78" y="0"/>
                    <a:pt x="0" y="78"/>
                    <a:pt x="0" y="174"/>
                  </a:cubicBezTo>
                  <a:cubicBezTo>
                    <a:pt x="0" y="269"/>
                    <a:pt x="78" y="347"/>
                    <a:pt x="174" y="347"/>
                  </a:cubicBezTo>
                  <a:cubicBezTo>
                    <a:pt x="269" y="347"/>
                    <a:pt x="347" y="269"/>
                    <a:pt x="347" y="174"/>
                  </a:cubicBezTo>
                  <a:cubicBezTo>
                    <a:pt x="347" y="78"/>
                    <a:pt x="269" y="0"/>
                    <a:pt x="174" y="0"/>
                  </a:cubicBezTo>
                  <a:close/>
                  <a:moveTo>
                    <a:pt x="332" y="166"/>
                  </a:moveTo>
                  <a:cubicBezTo>
                    <a:pt x="283" y="166"/>
                    <a:pt x="283" y="166"/>
                    <a:pt x="283" y="166"/>
                  </a:cubicBezTo>
                  <a:cubicBezTo>
                    <a:pt x="281" y="107"/>
                    <a:pt x="261" y="55"/>
                    <a:pt x="231" y="26"/>
                  </a:cubicBezTo>
                  <a:cubicBezTo>
                    <a:pt x="288" y="48"/>
                    <a:pt x="329" y="102"/>
                    <a:pt x="332" y="166"/>
                  </a:cubicBezTo>
                  <a:close/>
                  <a:moveTo>
                    <a:pt x="174" y="332"/>
                  </a:moveTo>
                  <a:cubicBezTo>
                    <a:pt x="165" y="330"/>
                    <a:pt x="148" y="277"/>
                    <a:pt x="147" y="181"/>
                  </a:cubicBezTo>
                  <a:cubicBezTo>
                    <a:pt x="200" y="181"/>
                    <a:pt x="200" y="181"/>
                    <a:pt x="200" y="181"/>
                  </a:cubicBezTo>
                  <a:cubicBezTo>
                    <a:pt x="199" y="277"/>
                    <a:pt x="183" y="330"/>
                    <a:pt x="174" y="332"/>
                  </a:cubicBezTo>
                  <a:close/>
                  <a:moveTo>
                    <a:pt x="147" y="166"/>
                  </a:moveTo>
                  <a:cubicBezTo>
                    <a:pt x="148" y="70"/>
                    <a:pt x="165" y="17"/>
                    <a:pt x="174" y="15"/>
                  </a:cubicBezTo>
                  <a:cubicBezTo>
                    <a:pt x="174" y="15"/>
                    <a:pt x="174" y="15"/>
                    <a:pt x="174" y="15"/>
                  </a:cubicBezTo>
                  <a:cubicBezTo>
                    <a:pt x="183" y="17"/>
                    <a:pt x="199" y="70"/>
                    <a:pt x="200" y="166"/>
                  </a:cubicBezTo>
                  <a:lnTo>
                    <a:pt x="147" y="166"/>
                  </a:lnTo>
                  <a:close/>
                  <a:moveTo>
                    <a:pt x="153" y="19"/>
                  </a:moveTo>
                  <a:cubicBezTo>
                    <a:pt x="138" y="51"/>
                    <a:pt x="133" y="118"/>
                    <a:pt x="133" y="166"/>
                  </a:cubicBezTo>
                  <a:cubicBezTo>
                    <a:pt x="79" y="166"/>
                    <a:pt x="79" y="166"/>
                    <a:pt x="79" y="166"/>
                  </a:cubicBezTo>
                  <a:cubicBezTo>
                    <a:pt x="81" y="94"/>
                    <a:pt x="112" y="34"/>
                    <a:pt x="153" y="19"/>
                  </a:cubicBezTo>
                  <a:close/>
                  <a:moveTo>
                    <a:pt x="133" y="181"/>
                  </a:moveTo>
                  <a:cubicBezTo>
                    <a:pt x="133" y="229"/>
                    <a:pt x="138" y="296"/>
                    <a:pt x="153" y="329"/>
                  </a:cubicBezTo>
                  <a:cubicBezTo>
                    <a:pt x="112" y="313"/>
                    <a:pt x="81" y="254"/>
                    <a:pt x="79" y="181"/>
                  </a:cubicBezTo>
                  <a:lnTo>
                    <a:pt x="133" y="181"/>
                  </a:lnTo>
                  <a:close/>
                  <a:moveTo>
                    <a:pt x="194" y="329"/>
                  </a:moveTo>
                  <a:cubicBezTo>
                    <a:pt x="209" y="296"/>
                    <a:pt x="214" y="229"/>
                    <a:pt x="215" y="181"/>
                  </a:cubicBezTo>
                  <a:cubicBezTo>
                    <a:pt x="268" y="181"/>
                    <a:pt x="268" y="181"/>
                    <a:pt x="268" y="181"/>
                  </a:cubicBezTo>
                  <a:cubicBezTo>
                    <a:pt x="266" y="254"/>
                    <a:pt x="235" y="313"/>
                    <a:pt x="194" y="329"/>
                  </a:cubicBezTo>
                  <a:close/>
                  <a:moveTo>
                    <a:pt x="215" y="166"/>
                  </a:moveTo>
                  <a:cubicBezTo>
                    <a:pt x="214" y="118"/>
                    <a:pt x="209" y="51"/>
                    <a:pt x="194" y="19"/>
                  </a:cubicBezTo>
                  <a:cubicBezTo>
                    <a:pt x="235" y="34"/>
                    <a:pt x="266" y="94"/>
                    <a:pt x="268" y="166"/>
                  </a:cubicBezTo>
                  <a:lnTo>
                    <a:pt x="215" y="166"/>
                  </a:lnTo>
                  <a:close/>
                  <a:moveTo>
                    <a:pt x="117" y="26"/>
                  </a:moveTo>
                  <a:cubicBezTo>
                    <a:pt x="87" y="55"/>
                    <a:pt x="66" y="107"/>
                    <a:pt x="64" y="166"/>
                  </a:cubicBezTo>
                  <a:cubicBezTo>
                    <a:pt x="15" y="166"/>
                    <a:pt x="15" y="166"/>
                    <a:pt x="15" y="166"/>
                  </a:cubicBezTo>
                  <a:cubicBezTo>
                    <a:pt x="18" y="102"/>
                    <a:pt x="59" y="48"/>
                    <a:pt x="117" y="26"/>
                  </a:cubicBezTo>
                  <a:close/>
                  <a:moveTo>
                    <a:pt x="15" y="181"/>
                  </a:moveTo>
                  <a:cubicBezTo>
                    <a:pt x="64" y="181"/>
                    <a:pt x="64" y="181"/>
                    <a:pt x="64" y="181"/>
                  </a:cubicBezTo>
                  <a:cubicBezTo>
                    <a:pt x="66" y="241"/>
                    <a:pt x="87" y="292"/>
                    <a:pt x="117" y="322"/>
                  </a:cubicBezTo>
                  <a:cubicBezTo>
                    <a:pt x="59" y="300"/>
                    <a:pt x="18" y="245"/>
                    <a:pt x="15" y="181"/>
                  </a:cubicBezTo>
                  <a:close/>
                  <a:moveTo>
                    <a:pt x="231" y="322"/>
                  </a:moveTo>
                  <a:cubicBezTo>
                    <a:pt x="261" y="292"/>
                    <a:pt x="281" y="241"/>
                    <a:pt x="283" y="181"/>
                  </a:cubicBezTo>
                  <a:cubicBezTo>
                    <a:pt x="332" y="181"/>
                    <a:pt x="332" y="181"/>
                    <a:pt x="332" y="181"/>
                  </a:cubicBezTo>
                  <a:cubicBezTo>
                    <a:pt x="329" y="245"/>
                    <a:pt x="288" y="300"/>
                    <a:pt x="231" y="32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80" name="Group 79"/>
          <p:cNvGrpSpPr/>
          <p:nvPr/>
        </p:nvGrpSpPr>
        <p:grpSpPr>
          <a:xfrm>
            <a:off x="7558483" y="4114807"/>
            <a:ext cx="1015059" cy="666323"/>
            <a:chOff x="6938406" y="4495800"/>
            <a:chExt cx="1746806" cy="1066800"/>
          </a:xfrm>
        </p:grpSpPr>
        <p:sp>
          <p:nvSpPr>
            <p:cNvPr id="91" name="Freeform 79"/>
            <p:cNvSpPr>
              <a:spLocks noEditPoints="1"/>
            </p:cNvSpPr>
            <p:nvPr/>
          </p:nvSpPr>
          <p:spPr bwMode="auto">
            <a:xfrm>
              <a:off x="7393924" y="4800600"/>
              <a:ext cx="649975" cy="597365"/>
            </a:xfrm>
            <a:custGeom>
              <a:avLst/>
              <a:gdLst>
                <a:gd name="T0" fmla="*/ 406 w 413"/>
                <a:gd name="T1" fmla="*/ 0 h 380"/>
                <a:gd name="T2" fmla="*/ 7 w 413"/>
                <a:gd name="T3" fmla="*/ 0 h 380"/>
                <a:gd name="T4" fmla="*/ 0 w 413"/>
                <a:gd name="T5" fmla="*/ 7 h 380"/>
                <a:gd name="T6" fmla="*/ 0 w 413"/>
                <a:gd name="T7" fmla="*/ 273 h 380"/>
                <a:gd name="T8" fmla="*/ 7 w 413"/>
                <a:gd name="T9" fmla="*/ 281 h 380"/>
                <a:gd name="T10" fmla="*/ 133 w 413"/>
                <a:gd name="T11" fmla="*/ 281 h 380"/>
                <a:gd name="T12" fmla="*/ 133 w 413"/>
                <a:gd name="T13" fmla="*/ 332 h 380"/>
                <a:gd name="T14" fmla="*/ 73 w 413"/>
                <a:gd name="T15" fmla="*/ 332 h 380"/>
                <a:gd name="T16" fmla="*/ 65 w 413"/>
                <a:gd name="T17" fmla="*/ 340 h 380"/>
                <a:gd name="T18" fmla="*/ 65 w 413"/>
                <a:gd name="T19" fmla="*/ 373 h 380"/>
                <a:gd name="T20" fmla="*/ 73 w 413"/>
                <a:gd name="T21" fmla="*/ 380 h 380"/>
                <a:gd name="T22" fmla="*/ 339 w 413"/>
                <a:gd name="T23" fmla="*/ 380 h 380"/>
                <a:gd name="T24" fmla="*/ 346 w 413"/>
                <a:gd name="T25" fmla="*/ 373 h 380"/>
                <a:gd name="T26" fmla="*/ 346 w 413"/>
                <a:gd name="T27" fmla="*/ 340 h 380"/>
                <a:gd name="T28" fmla="*/ 339 w 413"/>
                <a:gd name="T29" fmla="*/ 332 h 380"/>
                <a:gd name="T30" fmla="*/ 280 w 413"/>
                <a:gd name="T31" fmla="*/ 332 h 380"/>
                <a:gd name="T32" fmla="*/ 280 w 413"/>
                <a:gd name="T33" fmla="*/ 281 h 380"/>
                <a:gd name="T34" fmla="*/ 406 w 413"/>
                <a:gd name="T35" fmla="*/ 281 h 380"/>
                <a:gd name="T36" fmla="*/ 413 w 413"/>
                <a:gd name="T37" fmla="*/ 273 h 380"/>
                <a:gd name="T38" fmla="*/ 413 w 413"/>
                <a:gd name="T39" fmla="*/ 7 h 380"/>
                <a:gd name="T40" fmla="*/ 406 w 413"/>
                <a:gd name="T41" fmla="*/ 0 h 380"/>
                <a:gd name="T42" fmla="*/ 331 w 413"/>
                <a:gd name="T43" fmla="*/ 366 h 380"/>
                <a:gd name="T44" fmla="*/ 80 w 413"/>
                <a:gd name="T45" fmla="*/ 366 h 380"/>
                <a:gd name="T46" fmla="*/ 80 w 413"/>
                <a:gd name="T47" fmla="*/ 347 h 380"/>
                <a:gd name="T48" fmla="*/ 331 w 413"/>
                <a:gd name="T49" fmla="*/ 347 h 380"/>
                <a:gd name="T50" fmla="*/ 331 w 413"/>
                <a:gd name="T51" fmla="*/ 366 h 380"/>
                <a:gd name="T52" fmla="*/ 266 w 413"/>
                <a:gd name="T53" fmla="*/ 332 h 380"/>
                <a:gd name="T54" fmla="*/ 148 w 413"/>
                <a:gd name="T55" fmla="*/ 332 h 380"/>
                <a:gd name="T56" fmla="*/ 148 w 413"/>
                <a:gd name="T57" fmla="*/ 281 h 380"/>
                <a:gd name="T58" fmla="*/ 266 w 413"/>
                <a:gd name="T59" fmla="*/ 281 h 380"/>
                <a:gd name="T60" fmla="*/ 266 w 413"/>
                <a:gd name="T61" fmla="*/ 332 h 380"/>
                <a:gd name="T62" fmla="*/ 399 w 413"/>
                <a:gd name="T63" fmla="*/ 266 h 380"/>
                <a:gd name="T64" fmla="*/ 15 w 413"/>
                <a:gd name="T65" fmla="*/ 266 h 380"/>
                <a:gd name="T66" fmla="*/ 15 w 413"/>
                <a:gd name="T67" fmla="*/ 15 h 380"/>
                <a:gd name="T68" fmla="*/ 399 w 413"/>
                <a:gd name="T69" fmla="*/ 15 h 380"/>
                <a:gd name="T70" fmla="*/ 399 w 413"/>
                <a:gd name="T71" fmla="*/ 266 h 380"/>
                <a:gd name="T72" fmla="*/ 40 w 413"/>
                <a:gd name="T73" fmla="*/ 247 h 380"/>
                <a:gd name="T74" fmla="*/ 373 w 413"/>
                <a:gd name="T75" fmla="*/ 247 h 380"/>
                <a:gd name="T76" fmla="*/ 381 w 413"/>
                <a:gd name="T77" fmla="*/ 240 h 380"/>
                <a:gd name="T78" fmla="*/ 381 w 413"/>
                <a:gd name="T79" fmla="*/ 41 h 380"/>
                <a:gd name="T80" fmla="*/ 373 w 413"/>
                <a:gd name="T81" fmla="*/ 33 h 380"/>
                <a:gd name="T82" fmla="*/ 40 w 413"/>
                <a:gd name="T83" fmla="*/ 33 h 380"/>
                <a:gd name="T84" fmla="*/ 33 w 413"/>
                <a:gd name="T85" fmla="*/ 41 h 380"/>
                <a:gd name="T86" fmla="*/ 33 w 413"/>
                <a:gd name="T87" fmla="*/ 240 h 380"/>
                <a:gd name="T88" fmla="*/ 40 w 413"/>
                <a:gd name="T89" fmla="*/ 247 h 380"/>
                <a:gd name="T90" fmla="*/ 47 w 413"/>
                <a:gd name="T91" fmla="*/ 48 h 380"/>
                <a:gd name="T92" fmla="*/ 366 w 413"/>
                <a:gd name="T93" fmla="*/ 48 h 380"/>
                <a:gd name="T94" fmla="*/ 366 w 413"/>
                <a:gd name="T95" fmla="*/ 233 h 380"/>
                <a:gd name="T96" fmla="*/ 47 w 413"/>
                <a:gd name="T97" fmla="*/ 233 h 380"/>
                <a:gd name="T98" fmla="*/ 47 w 413"/>
                <a:gd name="T99" fmla="*/ 48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3" h="380">
                  <a:moveTo>
                    <a:pt x="406" y="0"/>
                  </a:moveTo>
                  <a:cubicBezTo>
                    <a:pt x="7" y="0"/>
                    <a:pt x="7" y="0"/>
                    <a:pt x="7" y="0"/>
                  </a:cubicBezTo>
                  <a:cubicBezTo>
                    <a:pt x="3" y="0"/>
                    <a:pt x="0" y="3"/>
                    <a:pt x="0" y="7"/>
                  </a:cubicBezTo>
                  <a:cubicBezTo>
                    <a:pt x="0" y="273"/>
                    <a:pt x="0" y="273"/>
                    <a:pt x="0" y="273"/>
                  </a:cubicBezTo>
                  <a:cubicBezTo>
                    <a:pt x="0" y="277"/>
                    <a:pt x="3" y="281"/>
                    <a:pt x="7" y="281"/>
                  </a:cubicBezTo>
                  <a:cubicBezTo>
                    <a:pt x="133" y="281"/>
                    <a:pt x="133" y="281"/>
                    <a:pt x="133" y="281"/>
                  </a:cubicBezTo>
                  <a:cubicBezTo>
                    <a:pt x="133" y="332"/>
                    <a:pt x="133" y="332"/>
                    <a:pt x="133" y="332"/>
                  </a:cubicBezTo>
                  <a:cubicBezTo>
                    <a:pt x="73" y="332"/>
                    <a:pt x="73" y="332"/>
                    <a:pt x="73" y="332"/>
                  </a:cubicBezTo>
                  <a:cubicBezTo>
                    <a:pt x="69" y="332"/>
                    <a:pt x="65" y="336"/>
                    <a:pt x="65" y="340"/>
                  </a:cubicBezTo>
                  <a:cubicBezTo>
                    <a:pt x="65" y="373"/>
                    <a:pt x="65" y="373"/>
                    <a:pt x="65" y="373"/>
                  </a:cubicBezTo>
                  <a:cubicBezTo>
                    <a:pt x="65" y="377"/>
                    <a:pt x="69" y="380"/>
                    <a:pt x="73" y="380"/>
                  </a:cubicBezTo>
                  <a:cubicBezTo>
                    <a:pt x="339" y="380"/>
                    <a:pt x="339" y="380"/>
                    <a:pt x="339" y="380"/>
                  </a:cubicBezTo>
                  <a:cubicBezTo>
                    <a:pt x="343" y="380"/>
                    <a:pt x="346" y="377"/>
                    <a:pt x="346" y="373"/>
                  </a:cubicBezTo>
                  <a:cubicBezTo>
                    <a:pt x="346" y="340"/>
                    <a:pt x="346" y="340"/>
                    <a:pt x="346" y="340"/>
                  </a:cubicBezTo>
                  <a:cubicBezTo>
                    <a:pt x="346" y="336"/>
                    <a:pt x="343" y="332"/>
                    <a:pt x="339" y="332"/>
                  </a:cubicBezTo>
                  <a:cubicBezTo>
                    <a:pt x="280" y="332"/>
                    <a:pt x="280" y="332"/>
                    <a:pt x="280" y="332"/>
                  </a:cubicBezTo>
                  <a:cubicBezTo>
                    <a:pt x="280" y="281"/>
                    <a:pt x="280" y="281"/>
                    <a:pt x="280" y="281"/>
                  </a:cubicBezTo>
                  <a:cubicBezTo>
                    <a:pt x="406" y="281"/>
                    <a:pt x="406" y="281"/>
                    <a:pt x="406" y="281"/>
                  </a:cubicBezTo>
                  <a:cubicBezTo>
                    <a:pt x="410" y="281"/>
                    <a:pt x="413" y="277"/>
                    <a:pt x="413" y="273"/>
                  </a:cubicBezTo>
                  <a:cubicBezTo>
                    <a:pt x="413" y="7"/>
                    <a:pt x="413" y="7"/>
                    <a:pt x="413" y="7"/>
                  </a:cubicBezTo>
                  <a:cubicBezTo>
                    <a:pt x="413" y="3"/>
                    <a:pt x="410" y="0"/>
                    <a:pt x="406" y="0"/>
                  </a:cubicBezTo>
                  <a:close/>
                  <a:moveTo>
                    <a:pt x="331" y="366"/>
                  </a:moveTo>
                  <a:cubicBezTo>
                    <a:pt x="80" y="366"/>
                    <a:pt x="80" y="366"/>
                    <a:pt x="80" y="366"/>
                  </a:cubicBezTo>
                  <a:cubicBezTo>
                    <a:pt x="80" y="347"/>
                    <a:pt x="80" y="347"/>
                    <a:pt x="80" y="347"/>
                  </a:cubicBezTo>
                  <a:cubicBezTo>
                    <a:pt x="331" y="347"/>
                    <a:pt x="331" y="347"/>
                    <a:pt x="331" y="347"/>
                  </a:cubicBezTo>
                  <a:lnTo>
                    <a:pt x="331" y="366"/>
                  </a:lnTo>
                  <a:close/>
                  <a:moveTo>
                    <a:pt x="266" y="332"/>
                  </a:moveTo>
                  <a:cubicBezTo>
                    <a:pt x="148" y="332"/>
                    <a:pt x="148" y="332"/>
                    <a:pt x="148" y="332"/>
                  </a:cubicBezTo>
                  <a:cubicBezTo>
                    <a:pt x="148" y="281"/>
                    <a:pt x="148" y="281"/>
                    <a:pt x="148" y="281"/>
                  </a:cubicBezTo>
                  <a:cubicBezTo>
                    <a:pt x="266" y="281"/>
                    <a:pt x="266" y="281"/>
                    <a:pt x="266" y="281"/>
                  </a:cubicBezTo>
                  <a:lnTo>
                    <a:pt x="266" y="332"/>
                  </a:lnTo>
                  <a:close/>
                  <a:moveTo>
                    <a:pt x="399" y="266"/>
                  </a:moveTo>
                  <a:cubicBezTo>
                    <a:pt x="15" y="266"/>
                    <a:pt x="15" y="266"/>
                    <a:pt x="15" y="266"/>
                  </a:cubicBezTo>
                  <a:cubicBezTo>
                    <a:pt x="15" y="15"/>
                    <a:pt x="15" y="15"/>
                    <a:pt x="15" y="15"/>
                  </a:cubicBezTo>
                  <a:cubicBezTo>
                    <a:pt x="399" y="15"/>
                    <a:pt x="399" y="15"/>
                    <a:pt x="399" y="15"/>
                  </a:cubicBezTo>
                  <a:lnTo>
                    <a:pt x="399" y="266"/>
                  </a:lnTo>
                  <a:close/>
                  <a:moveTo>
                    <a:pt x="40" y="247"/>
                  </a:moveTo>
                  <a:cubicBezTo>
                    <a:pt x="373" y="247"/>
                    <a:pt x="373" y="247"/>
                    <a:pt x="373" y="247"/>
                  </a:cubicBezTo>
                  <a:cubicBezTo>
                    <a:pt x="377" y="247"/>
                    <a:pt x="381" y="244"/>
                    <a:pt x="381" y="240"/>
                  </a:cubicBezTo>
                  <a:cubicBezTo>
                    <a:pt x="381" y="41"/>
                    <a:pt x="381" y="41"/>
                    <a:pt x="381" y="41"/>
                  </a:cubicBezTo>
                  <a:cubicBezTo>
                    <a:pt x="381" y="37"/>
                    <a:pt x="377" y="33"/>
                    <a:pt x="373" y="33"/>
                  </a:cubicBezTo>
                  <a:cubicBezTo>
                    <a:pt x="40" y="33"/>
                    <a:pt x="40" y="33"/>
                    <a:pt x="40" y="33"/>
                  </a:cubicBezTo>
                  <a:cubicBezTo>
                    <a:pt x="36" y="33"/>
                    <a:pt x="33" y="37"/>
                    <a:pt x="33" y="41"/>
                  </a:cubicBezTo>
                  <a:cubicBezTo>
                    <a:pt x="33" y="240"/>
                    <a:pt x="33" y="240"/>
                    <a:pt x="33" y="240"/>
                  </a:cubicBezTo>
                  <a:cubicBezTo>
                    <a:pt x="33" y="244"/>
                    <a:pt x="36" y="247"/>
                    <a:pt x="40" y="247"/>
                  </a:cubicBezTo>
                  <a:close/>
                  <a:moveTo>
                    <a:pt x="47" y="48"/>
                  </a:moveTo>
                  <a:cubicBezTo>
                    <a:pt x="366" y="48"/>
                    <a:pt x="366" y="48"/>
                    <a:pt x="366" y="48"/>
                  </a:cubicBezTo>
                  <a:cubicBezTo>
                    <a:pt x="366" y="233"/>
                    <a:pt x="366" y="233"/>
                    <a:pt x="366" y="233"/>
                  </a:cubicBezTo>
                  <a:cubicBezTo>
                    <a:pt x="47" y="233"/>
                    <a:pt x="47" y="233"/>
                    <a:pt x="47" y="233"/>
                  </a:cubicBezTo>
                  <a:lnTo>
                    <a:pt x="47" y="4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92" name="Freeform 77"/>
            <p:cNvSpPr>
              <a:spLocks noEditPoints="1"/>
            </p:cNvSpPr>
            <p:nvPr/>
          </p:nvSpPr>
          <p:spPr bwMode="auto">
            <a:xfrm>
              <a:off x="6938406" y="4495800"/>
              <a:ext cx="1746806" cy="1066800"/>
            </a:xfrm>
            <a:custGeom>
              <a:avLst/>
              <a:gdLst>
                <a:gd name="T0" fmla="*/ 340 w 413"/>
                <a:gd name="T1" fmla="*/ 283 h 283"/>
                <a:gd name="T2" fmla="*/ 73 w 413"/>
                <a:gd name="T3" fmla="*/ 283 h 283"/>
                <a:gd name="T4" fmla="*/ 72 w 413"/>
                <a:gd name="T5" fmla="*/ 283 h 283"/>
                <a:gd name="T6" fmla="*/ 0 w 413"/>
                <a:gd name="T7" fmla="*/ 209 h 283"/>
                <a:gd name="T8" fmla="*/ 70 w 413"/>
                <a:gd name="T9" fmla="*/ 135 h 283"/>
                <a:gd name="T10" fmla="*/ 66 w 413"/>
                <a:gd name="T11" fmla="*/ 107 h 283"/>
                <a:gd name="T12" fmla="*/ 173 w 413"/>
                <a:gd name="T13" fmla="*/ 0 h 283"/>
                <a:gd name="T14" fmla="*/ 273 w 413"/>
                <a:gd name="T15" fmla="*/ 69 h 283"/>
                <a:gd name="T16" fmla="*/ 273 w 413"/>
                <a:gd name="T17" fmla="*/ 69 h 283"/>
                <a:gd name="T18" fmla="*/ 346 w 413"/>
                <a:gd name="T19" fmla="*/ 135 h 283"/>
                <a:gd name="T20" fmla="*/ 413 w 413"/>
                <a:gd name="T21" fmla="*/ 209 h 283"/>
                <a:gd name="T22" fmla="*/ 341 w 413"/>
                <a:gd name="T23" fmla="*/ 283 h 283"/>
                <a:gd name="T24" fmla="*/ 340 w 413"/>
                <a:gd name="T25" fmla="*/ 283 h 283"/>
                <a:gd name="T26" fmla="*/ 73 w 413"/>
                <a:gd name="T27" fmla="*/ 268 h 283"/>
                <a:gd name="T28" fmla="*/ 339 w 413"/>
                <a:gd name="T29" fmla="*/ 268 h 283"/>
                <a:gd name="T30" fmla="*/ 340 w 413"/>
                <a:gd name="T31" fmla="*/ 268 h 283"/>
                <a:gd name="T32" fmla="*/ 398 w 413"/>
                <a:gd name="T33" fmla="*/ 209 h 283"/>
                <a:gd name="T34" fmla="*/ 339 w 413"/>
                <a:gd name="T35" fmla="*/ 150 h 283"/>
                <a:gd name="T36" fmla="*/ 332 w 413"/>
                <a:gd name="T37" fmla="*/ 142 h 283"/>
                <a:gd name="T38" fmla="*/ 273 w 413"/>
                <a:gd name="T39" fmla="*/ 83 h 283"/>
                <a:gd name="T40" fmla="*/ 268 w 413"/>
                <a:gd name="T41" fmla="*/ 84 h 283"/>
                <a:gd name="T42" fmla="*/ 261 w 413"/>
                <a:gd name="T43" fmla="*/ 79 h 283"/>
                <a:gd name="T44" fmla="*/ 173 w 413"/>
                <a:gd name="T45" fmla="*/ 15 h 283"/>
                <a:gd name="T46" fmla="*/ 81 w 413"/>
                <a:gd name="T47" fmla="*/ 107 h 283"/>
                <a:gd name="T48" fmla="*/ 87 w 413"/>
                <a:gd name="T49" fmla="*/ 140 h 283"/>
                <a:gd name="T50" fmla="*/ 86 w 413"/>
                <a:gd name="T51" fmla="*/ 147 h 283"/>
                <a:gd name="T52" fmla="*/ 79 w 413"/>
                <a:gd name="T53" fmla="*/ 150 h 283"/>
                <a:gd name="T54" fmla="*/ 73 w 413"/>
                <a:gd name="T55" fmla="*/ 150 h 283"/>
                <a:gd name="T56" fmla="*/ 14 w 413"/>
                <a:gd name="T57" fmla="*/ 209 h 283"/>
                <a:gd name="T58" fmla="*/ 73 w 413"/>
                <a:gd name="T59" fmla="*/ 268 h 283"/>
                <a:gd name="T60" fmla="*/ 73 w 413"/>
                <a:gd name="T61" fmla="*/ 268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3" h="283">
                  <a:moveTo>
                    <a:pt x="340" y="283"/>
                  </a:moveTo>
                  <a:cubicBezTo>
                    <a:pt x="73" y="283"/>
                    <a:pt x="73" y="283"/>
                    <a:pt x="73" y="283"/>
                  </a:cubicBezTo>
                  <a:cubicBezTo>
                    <a:pt x="73" y="283"/>
                    <a:pt x="72" y="283"/>
                    <a:pt x="72" y="283"/>
                  </a:cubicBezTo>
                  <a:cubicBezTo>
                    <a:pt x="32" y="282"/>
                    <a:pt x="0" y="249"/>
                    <a:pt x="0" y="209"/>
                  </a:cubicBezTo>
                  <a:cubicBezTo>
                    <a:pt x="0" y="169"/>
                    <a:pt x="31" y="137"/>
                    <a:pt x="70" y="135"/>
                  </a:cubicBezTo>
                  <a:cubicBezTo>
                    <a:pt x="67" y="126"/>
                    <a:pt x="66" y="117"/>
                    <a:pt x="66" y="107"/>
                  </a:cubicBezTo>
                  <a:cubicBezTo>
                    <a:pt x="66" y="48"/>
                    <a:pt x="114" y="0"/>
                    <a:pt x="173" y="0"/>
                  </a:cubicBezTo>
                  <a:cubicBezTo>
                    <a:pt x="217" y="0"/>
                    <a:pt x="257" y="27"/>
                    <a:pt x="273" y="69"/>
                  </a:cubicBezTo>
                  <a:cubicBezTo>
                    <a:pt x="273" y="69"/>
                    <a:pt x="273" y="69"/>
                    <a:pt x="273" y="69"/>
                  </a:cubicBezTo>
                  <a:cubicBezTo>
                    <a:pt x="311" y="69"/>
                    <a:pt x="343" y="98"/>
                    <a:pt x="346" y="135"/>
                  </a:cubicBezTo>
                  <a:cubicBezTo>
                    <a:pt x="384" y="139"/>
                    <a:pt x="413" y="171"/>
                    <a:pt x="413" y="209"/>
                  </a:cubicBezTo>
                  <a:cubicBezTo>
                    <a:pt x="413" y="249"/>
                    <a:pt x="381" y="282"/>
                    <a:pt x="341" y="283"/>
                  </a:cubicBezTo>
                  <a:cubicBezTo>
                    <a:pt x="340" y="283"/>
                    <a:pt x="340" y="283"/>
                    <a:pt x="340" y="283"/>
                  </a:cubicBezTo>
                  <a:close/>
                  <a:moveTo>
                    <a:pt x="73" y="268"/>
                  </a:moveTo>
                  <a:cubicBezTo>
                    <a:pt x="339" y="268"/>
                    <a:pt x="339" y="268"/>
                    <a:pt x="339" y="268"/>
                  </a:cubicBezTo>
                  <a:cubicBezTo>
                    <a:pt x="339" y="268"/>
                    <a:pt x="340" y="268"/>
                    <a:pt x="340" y="268"/>
                  </a:cubicBezTo>
                  <a:cubicBezTo>
                    <a:pt x="372" y="268"/>
                    <a:pt x="398" y="241"/>
                    <a:pt x="398" y="209"/>
                  </a:cubicBezTo>
                  <a:cubicBezTo>
                    <a:pt x="398" y="176"/>
                    <a:pt x="372" y="150"/>
                    <a:pt x="339" y="150"/>
                  </a:cubicBezTo>
                  <a:cubicBezTo>
                    <a:pt x="335" y="150"/>
                    <a:pt x="332" y="146"/>
                    <a:pt x="332" y="142"/>
                  </a:cubicBezTo>
                  <a:cubicBezTo>
                    <a:pt x="332" y="110"/>
                    <a:pt x="305" y="83"/>
                    <a:pt x="273" y="83"/>
                  </a:cubicBezTo>
                  <a:cubicBezTo>
                    <a:pt x="271" y="83"/>
                    <a:pt x="270" y="83"/>
                    <a:pt x="268" y="84"/>
                  </a:cubicBezTo>
                  <a:cubicBezTo>
                    <a:pt x="265" y="84"/>
                    <a:pt x="262" y="82"/>
                    <a:pt x="261" y="79"/>
                  </a:cubicBezTo>
                  <a:cubicBezTo>
                    <a:pt x="248" y="40"/>
                    <a:pt x="213" y="15"/>
                    <a:pt x="173" y="15"/>
                  </a:cubicBezTo>
                  <a:cubicBezTo>
                    <a:pt x="122" y="15"/>
                    <a:pt x="81" y="56"/>
                    <a:pt x="81" y="107"/>
                  </a:cubicBezTo>
                  <a:cubicBezTo>
                    <a:pt x="81" y="118"/>
                    <a:pt x="83" y="129"/>
                    <a:pt x="87" y="140"/>
                  </a:cubicBezTo>
                  <a:cubicBezTo>
                    <a:pt x="88" y="142"/>
                    <a:pt x="87" y="145"/>
                    <a:pt x="86" y="147"/>
                  </a:cubicBezTo>
                  <a:cubicBezTo>
                    <a:pt x="84" y="149"/>
                    <a:pt x="82" y="150"/>
                    <a:pt x="79" y="150"/>
                  </a:cubicBezTo>
                  <a:cubicBezTo>
                    <a:pt x="77" y="150"/>
                    <a:pt x="75" y="150"/>
                    <a:pt x="73" y="150"/>
                  </a:cubicBezTo>
                  <a:cubicBezTo>
                    <a:pt x="41" y="150"/>
                    <a:pt x="14" y="176"/>
                    <a:pt x="14" y="209"/>
                  </a:cubicBezTo>
                  <a:cubicBezTo>
                    <a:pt x="14" y="241"/>
                    <a:pt x="41" y="268"/>
                    <a:pt x="73" y="268"/>
                  </a:cubicBezTo>
                  <a:cubicBezTo>
                    <a:pt x="73" y="268"/>
                    <a:pt x="73" y="268"/>
                    <a:pt x="73" y="26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93" name="Group 92"/>
          <p:cNvGrpSpPr/>
          <p:nvPr/>
        </p:nvGrpSpPr>
        <p:grpSpPr>
          <a:xfrm>
            <a:off x="6058288" y="1828807"/>
            <a:ext cx="1015059" cy="666323"/>
            <a:chOff x="6786006" y="2667000"/>
            <a:chExt cx="1746806" cy="1066800"/>
          </a:xfrm>
        </p:grpSpPr>
        <p:sp>
          <p:nvSpPr>
            <p:cNvPr id="94" name="Freeform 77"/>
            <p:cNvSpPr>
              <a:spLocks noEditPoints="1"/>
            </p:cNvSpPr>
            <p:nvPr/>
          </p:nvSpPr>
          <p:spPr bwMode="auto">
            <a:xfrm>
              <a:off x="6786006" y="2667000"/>
              <a:ext cx="1746806" cy="1066800"/>
            </a:xfrm>
            <a:custGeom>
              <a:avLst/>
              <a:gdLst>
                <a:gd name="T0" fmla="*/ 340 w 413"/>
                <a:gd name="T1" fmla="*/ 283 h 283"/>
                <a:gd name="T2" fmla="*/ 73 w 413"/>
                <a:gd name="T3" fmla="*/ 283 h 283"/>
                <a:gd name="T4" fmla="*/ 72 w 413"/>
                <a:gd name="T5" fmla="*/ 283 h 283"/>
                <a:gd name="T6" fmla="*/ 0 w 413"/>
                <a:gd name="T7" fmla="*/ 209 h 283"/>
                <a:gd name="T8" fmla="*/ 70 w 413"/>
                <a:gd name="T9" fmla="*/ 135 h 283"/>
                <a:gd name="T10" fmla="*/ 66 w 413"/>
                <a:gd name="T11" fmla="*/ 107 h 283"/>
                <a:gd name="T12" fmla="*/ 173 w 413"/>
                <a:gd name="T13" fmla="*/ 0 h 283"/>
                <a:gd name="T14" fmla="*/ 273 w 413"/>
                <a:gd name="T15" fmla="*/ 69 h 283"/>
                <a:gd name="T16" fmla="*/ 273 w 413"/>
                <a:gd name="T17" fmla="*/ 69 h 283"/>
                <a:gd name="T18" fmla="*/ 346 w 413"/>
                <a:gd name="T19" fmla="*/ 135 h 283"/>
                <a:gd name="T20" fmla="*/ 413 w 413"/>
                <a:gd name="T21" fmla="*/ 209 h 283"/>
                <a:gd name="T22" fmla="*/ 341 w 413"/>
                <a:gd name="T23" fmla="*/ 283 h 283"/>
                <a:gd name="T24" fmla="*/ 340 w 413"/>
                <a:gd name="T25" fmla="*/ 283 h 283"/>
                <a:gd name="T26" fmla="*/ 73 w 413"/>
                <a:gd name="T27" fmla="*/ 268 h 283"/>
                <a:gd name="T28" fmla="*/ 339 w 413"/>
                <a:gd name="T29" fmla="*/ 268 h 283"/>
                <a:gd name="T30" fmla="*/ 340 w 413"/>
                <a:gd name="T31" fmla="*/ 268 h 283"/>
                <a:gd name="T32" fmla="*/ 398 w 413"/>
                <a:gd name="T33" fmla="*/ 209 h 283"/>
                <a:gd name="T34" fmla="*/ 339 w 413"/>
                <a:gd name="T35" fmla="*/ 150 h 283"/>
                <a:gd name="T36" fmla="*/ 332 w 413"/>
                <a:gd name="T37" fmla="*/ 142 h 283"/>
                <a:gd name="T38" fmla="*/ 273 w 413"/>
                <a:gd name="T39" fmla="*/ 83 h 283"/>
                <a:gd name="T40" fmla="*/ 268 w 413"/>
                <a:gd name="T41" fmla="*/ 84 h 283"/>
                <a:gd name="T42" fmla="*/ 261 w 413"/>
                <a:gd name="T43" fmla="*/ 79 h 283"/>
                <a:gd name="T44" fmla="*/ 173 w 413"/>
                <a:gd name="T45" fmla="*/ 15 h 283"/>
                <a:gd name="T46" fmla="*/ 81 w 413"/>
                <a:gd name="T47" fmla="*/ 107 h 283"/>
                <a:gd name="T48" fmla="*/ 87 w 413"/>
                <a:gd name="T49" fmla="*/ 140 h 283"/>
                <a:gd name="T50" fmla="*/ 86 w 413"/>
                <a:gd name="T51" fmla="*/ 147 h 283"/>
                <a:gd name="T52" fmla="*/ 79 w 413"/>
                <a:gd name="T53" fmla="*/ 150 h 283"/>
                <a:gd name="T54" fmla="*/ 73 w 413"/>
                <a:gd name="T55" fmla="*/ 150 h 283"/>
                <a:gd name="T56" fmla="*/ 14 w 413"/>
                <a:gd name="T57" fmla="*/ 209 h 283"/>
                <a:gd name="T58" fmla="*/ 73 w 413"/>
                <a:gd name="T59" fmla="*/ 268 h 283"/>
                <a:gd name="T60" fmla="*/ 73 w 413"/>
                <a:gd name="T61" fmla="*/ 268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3" h="283">
                  <a:moveTo>
                    <a:pt x="340" y="283"/>
                  </a:moveTo>
                  <a:cubicBezTo>
                    <a:pt x="73" y="283"/>
                    <a:pt x="73" y="283"/>
                    <a:pt x="73" y="283"/>
                  </a:cubicBezTo>
                  <a:cubicBezTo>
                    <a:pt x="73" y="283"/>
                    <a:pt x="72" y="283"/>
                    <a:pt x="72" y="283"/>
                  </a:cubicBezTo>
                  <a:cubicBezTo>
                    <a:pt x="32" y="282"/>
                    <a:pt x="0" y="249"/>
                    <a:pt x="0" y="209"/>
                  </a:cubicBezTo>
                  <a:cubicBezTo>
                    <a:pt x="0" y="169"/>
                    <a:pt x="31" y="137"/>
                    <a:pt x="70" y="135"/>
                  </a:cubicBezTo>
                  <a:cubicBezTo>
                    <a:pt x="67" y="126"/>
                    <a:pt x="66" y="117"/>
                    <a:pt x="66" y="107"/>
                  </a:cubicBezTo>
                  <a:cubicBezTo>
                    <a:pt x="66" y="48"/>
                    <a:pt x="114" y="0"/>
                    <a:pt x="173" y="0"/>
                  </a:cubicBezTo>
                  <a:cubicBezTo>
                    <a:pt x="217" y="0"/>
                    <a:pt x="257" y="27"/>
                    <a:pt x="273" y="69"/>
                  </a:cubicBezTo>
                  <a:cubicBezTo>
                    <a:pt x="273" y="69"/>
                    <a:pt x="273" y="69"/>
                    <a:pt x="273" y="69"/>
                  </a:cubicBezTo>
                  <a:cubicBezTo>
                    <a:pt x="311" y="69"/>
                    <a:pt x="343" y="98"/>
                    <a:pt x="346" y="135"/>
                  </a:cubicBezTo>
                  <a:cubicBezTo>
                    <a:pt x="384" y="139"/>
                    <a:pt x="413" y="171"/>
                    <a:pt x="413" y="209"/>
                  </a:cubicBezTo>
                  <a:cubicBezTo>
                    <a:pt x="413" y="249"/>
                    <a:pt x="381" y="282"/>
                    <a:pt x="341" y="283"/>
                  </a:cubicBezTo>
                  <a:cubicBezTo>
                    <a:pt x="340" y="283"/>
                    <a:pt x="340" y="283"/>
                    <a:pt x="340" y="283"/>
                  </a:cubicBezTo>
                  <a:close/>
                  <a:moveTo>
                    <a:pt x="73" y="268"/>
                  </a:moveTo>
                  <a:cubicBezTo>
                    <a:pt x="339" y="268"/>
                    <a:pt x="339" y="268"/>
                    <a:pt x="339" y="268"/>
                  </a:cubicBezTo>
                  <a:cubicBezTo>
                    <a:pt x="339" y="268"/>
                    <a:pt x="340" y="268"/>
                    <a:pt x="340" y="268"/>
                  </a:cubicBezTo>
                  <a:cubicBezTo>
                    <a:pt x="372" y="268"/>
                    <a:pt x="398" y="241"/>
                    <a:pt x="398" y="209"/>
                  </a:cubicBezTo>
                  <a:cubicBezTo>
                    <a:pt x="398" y="176"/>
                    <a:pt x="372" y="150"/>
                    <a:pt x="339" y="150"/>
                  </a:cubicBezTo>
                  <a:cubicBezTo>
                    <a:pt x="335" y="150"/>
                    <a:pt x="332" y="146"/>
                    <a:pt x="332" y="142"/>
                  </a:cubicBezTo>
                  <a:cubicBezTo>
                    <a:pt x="332" y="110"/>
                    <a:pt x="305" y="83"/>
                    <a:pt x="273" y="83"/>
                  </a:cubicBezTo>
                  <a:cubicBezTo>
                    <a:pt x="271" y="83"/>
                    <a:pt x="270" y="83"/>
                    <a:pt x="268" y="84"/>
                  </a:cubicBezTo>
                  <a:cubicBezTo>
                    <a:pt x="265" y="84"/>
                    <a:pt x="262" y="82"/>
                    <a:pt x="261" y="79"/>
                  </a:cubicBezTo>
                  <a:cubicBezTo>
                    <a:pt x="248" y="40"/>
                    <a:pt x="213" y="15"/>
                    <a:pt x="173" y="15"/>
                  </a:cubicBezTo>
                  <a:cubicBezTo>
                    <a:pt x="122" y="15"/>
                    <a:pt x="81" y="56"/>
                    <a:pt x="81" y="107"/>
                  </a:cubicBezTo>
                  <a:cubicBezTo>
                    <a:pt x="81" y="118"/>
                    <a:pt x="83" y="129"/>
                    <a:pt x="87" y="140"/>
                  </a:cubicBezTo>
                  <a:cubicBezTo>
                    <a:pt x="88" y="142"/>
                    <a:pt x="87" y="145"/>
                    <a:pt x="86" y="147"/>
                  </a:cubicBezTo>
                  <a:cubicBezTo>
                    <a:pt x="84" y="149"/>
                    <a:pt x="82" y="150"/>
                    <a:pt x="79" y="150"/>
                  </a:cubicBezTo>
                  <a:cubicBezTo>
                    <a:pt x="77" y="150"/>
                    <a:pt x="75" y="150"/>
                    <a:pt x="73" y="150"/>
                  </a:cubicBezTo>
                  <a:cubicBezTo>
                    <a:pt x="41" y="150"/>
                    <a:pt x="14" y="176"/>
                    <a:pt x="14" y="209"/>
                  </a:cubicBezTo>
                  <a:cubicBezTo>
                    <a:pt x="14" y="241"/>
                    <a:pt x="41" y="268"/>
                    <a:pt x="73" y="268"/>
                  </a:cubicBezTo>
                  <a:cubicBezTo>
                    <a:pt x="73" y="268"/>
                    <a:pt x="73" y="268"/>
                    <a:pt x="73" y="26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95" name="Freeform 78"/>
            <p:cNvSpPr>
              <a:spLocks noEditPoints="1"/>
            </p:cNvSpPr>
            <p:nvPr/>
          </p:nvSpPr>
          <p:spPr bwMode="auto">
            <a:xfrm>
              <a:off x="7300926" y="2971800"/>
              <a:ext cx="546086" cy="546086"/>
            </a:xfrm>
            <a:custGeom>
              <a:avLst/>
              <a:gdLst>
                <a:gd name="T0" fmla="*/ 174 w 347"/>
                <a:gd name="T1" fmla="*/ 0 h 347"/>
                <a:gd name="T2" fmla="*/ 0 w 347"/>
                <a:gd name="T3" fmla="*/ 174 h 347"/>
                <a:gd name="T4" fmla="*/ 174 w 347"/>
                <a:gd name="T5" fmla="*/ 347 h 347"/>
                <a:gd name="T6" fmla="*/ 347 w 347"/>
                <a:gd name="T7" fmla="*/ 174 h 347"/>
                <a:gd name="T8" fmla="*/ 174 w 347"/>
                <a:gd name="T9" fmla="*/ 0 h 347"/>
                <a:gd name="T10" fmla="*/ 332 w 347"/>
                <a:gd name="T11" fmla="*/ 166 h 347"/>
                <a:gd name="T12" fmla="*/ 283 w 347"/>
                <a:gd name="T13" fmla="*/ 166 h 347"/>
                <a:gd name="T14" fmla="*/ 231 w 347"/>
                <a:gd name="T15" fmla="*/ 26 h 347"/>
                <a:gd name="T16" fmla="*/ 332 w 347"/>
                <a:gd name="T17" fmla="*/ 166 h 347"/>
                <a:gd name="T18" fmla="*/ 174 w 347"/>
                <a:gd name="T19" fmla="*/ 332 h 347"/>
                <a:gd name="T20" fmla="*/ 147 w 347"/>
                <a:gd name="T21" fmla="*/ 181 h 347"/>
                <a:gd name="T22" fmla="*/ 200 w 347"/>
                <a:gd name="T23" fmla="*/ 181 h 347"/>
                <a:gd name="T24" fmla="*/ 174 w 347"/>
                <a:gd name="T25" fmla="*/ 332 h 347"/>
                <a:gd name="T26" fmla="*/ 147 w 347"/>
                <a:gd name="T27" fmla="*/ 166 h 347"/>
                <a:gd name="T28" fmla="*/ 174 w 347"/>
                <a:gd name="T29" fmla="*/ 15 h 347"/>
                <a:gd name="T30" fmla="*/ 174 w 347"/>
                <a:gd name="T31" fmla="*/ 15 h 347"/>
                <a:gd name="T32" fmla="*/ 200 w 347"/>
                <a:gd name="T33" fmla="*/ 166 h 347"/>
                <a:gd name="T34" fmla="*/ 147 w 347"/>
                <a:gd name="T35" fmla="*/ 166 h 347"/>
                <a:gd name="T36" fmla="*/ 153 w 347"/>
                <a:gd name="T37" fmla="*/ 19 h 347"/>
                <a:gd name="T38" fmla="*/ 133 w 347"/>
                <a:gd name="T39" fmla="*/ 166 h 347"/>
                <a:gd name="T40" fmla="*/ 79 w 347"/>
                <a:gd name="T41" fmla="*/ 166 h 347"/>
                <a:gd name="T42" fmla="*/ 153 w 347"/>
                <a:gd name="T43" fmla="*/ 19 h 347"/>
                <a:gd name="T44" fmla="*/ 133 w 347"/>
                <a:gd name="T45" fmla="*/ 181 h 347"/>
                <a:gd name="T46" fmla="*/ 153 w 347"/>
                <a:gd name="T47" fmla="*/ 329 h 347"/>
                <a:gd name="T48" fmla="*/ 79 w 347"/>
                <a:gd name="T49" fmla="*/ 181 h 347"/>
                <a:gd name="T50" fmla="*/ 133 w 347"/>
                <a:gd name="T51" fmla="*/ 181 h 347"/>
                <a:gd name="T52" fmla="*/ 194 w 347"/>
                <a:gd name="T53" fmla="*/ 329 h 347"/>
                <a:gd name="T54" fmla="*/ 215 w 347"/>
                <a:gd name="T55" fmla="*/ 181 h 347"/>
                <a:gd name="T56" fmla="*/ 268 w 347"/>
                <a:gd name="T57" fmla="*/ 181 h 347"/>
                <a:gd name="T58" fmla="*/ 194 w 347"/>
                <a:gd name="T59" fmla="*/ 329 h 347"/>
                <a:gd name="T60" fmla="*/ 215 w 347"/>
                <a:gd name="T61" fmla="*/ 166 h 347"/>
                <a:gd name="T62" fmla="*/ 194 w 347"/>
                <a:gd name="T63" fmla="*/ 19 h 347"/>
                <a:gd name="T64" fmla="*/ 268 w 347"/>
                <a:gd name="T65" fmla="*/ 166 h 347"/>
                <a:gd name="T66" fmla="*/ 215 w 347"/>
                <a:gd name="T67" fmla="*/ 166 h 347"/>
                <a:gd name="T68" fmla="*/ 117 w 347"/>
                <a:gd name="T69" fmla="*/ 26 h 347"/>
                <a:gd name="T70" fmla="*/ 64 w 347"/>
                <a:gd name="T71" fmla="*/ 166 h 347"/>
                <a:gd name="T72" fmla="*/ 15 w 347"/>
                <a:gd name="T73" fmla="*/ 166 h 347"/>
                <a:gd name="T74" fmla="*/ 117 w 347"/>
                <a:gd name="T75" fmla="*/ 26 h 347"/>
                <a:gd name="T76" fmla="*/ 15 w 347"/>
                <a:gd name="T77" fmla="*/ 181 h 347"/>
                <a:gd name="T78" fmla="*/ 64 w 347"/>
                <a:gd name="T79" fmla="*/ 181 h 347"/>
                <a:gd name="T80" fmla="*/ 117 w 347"/>
                <a:gd name="T81" fmla="*/ 322 h 347"/>
                <a:gd name="T82" fmla="*/ 15 w 347"/>
                <a:gd name="T83" fmla="*/ 181 h 347"/>
                <a:gd name="T84" fmla="*/ 231 w 347"/>
                <a:gd name="T85" fmla="*/ 322 h 347"/>
                <a:gd name="T86" fmla="*/ 283 w 347"/>
                <a:gd name="T87" fmla="*/ 181 h 347"/>
                <a:gd name="T88" fmla="*/ 332 w 347"/>
                <a:gd name="T89" fmla="*/ 181 h 347"/>
                <a:gd name="T90" fmla="*/ 231 w 347"/>
                <a:gd name="T91" fmla="*/ 322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7" h="347">
                  <a:moveTo>
                    <a:pt x="174" y="0"/>
                  </a:moveTo>
                  <a:cubicBezTo>
                    <a:pt x="78" y="0"/>
                    <a:pt x="0" y="78"/>
                    <a:pt x="0" y="174"/>
                  </a:cubicBezTo>
                  <a:cubicBezTo>
                    <a:pt x="0" y="269"/>
                    <a:pt x="78" y="347"/>
                    <a:pt x="174" y="347"/>
                  </a:cubicBezTo>
                  <a:cubicBezTo>
                    <a:pt x="269" y="347"/>
                    <a:pt x="347" y="269"/>
                    <a:pt x="347" y="174"/>
                  </a:cubicBezTo>
                  <a:cubicBezTo>
                    <a:pt x="347" y="78"/>
                    <a:pt x="269" y="0"/>
                    <a:pt x="174" y="0"/>
                  </a:cubicBezTo>
                  <a:close/>
                  <a:moveTo>
                    <a:pt x="332" y="166"/>
                  </a:moveTo>
                  <a:cubicBezTo>
                    <a:pt x="283" y="166"/>
                    <a:pt x="283" y="166"/>
                    <a:pt x="283" y="166"/>
                  </a:cubicBezTo>
                  <a:cubicBezTo>
                    <a:pt x="281" y="107"/>
                    <a:pt x="261" y="55"/>
                    <a:pt x="231" y="26"/>
                  </a:cubicBezTo>
                  <a:cubicBezTo>
                    <a:pt x="288" y="48"/>
                    <a:pt x="329" y="102"/>
                    <a:pt x="332" y="166"/>
                  </a:cubicBezTo>
                  <a:close/>
                  <a:moveTo>
                    <a:pt x="174" y="332"/>
                  </a:moveTo>
                  <a:cubicBezTo>
                    <a:pt x="165" y="330"/>
                    <a:pt x="148" y="277"/>
                    <a:pt x="147" y="181"/>
                  </a:cubicBezTo>
                  <a:cubicBezTo>
                    <a:pt x="200" y="181"/>
                    <a:pt x="200" y="181"/>
                    <a:pt x="200" y="181"/>
                  </a:cubicBezTo>
                  <a:cubicBezTo>
                    <a:pt x="199" y="277"/>
                    <a:pt x="183" y="330"/>
                    <a:pt x="174" y="332"/>
                  </a:cubicBezTo>
                  <a:close/>
                  <a:moveTo>
                    <a:pt x="147" y="166"/>
                  </a:moveTo>
                  <a:cubicBezTo>
                    <a:pt x="148" y="70"/>
                    <a:pt x="165" y="17"/>
                    <a:pt x="174" y="15"/>
                  </a:cubicBezTo>
                  <a:cubicBezTo>
                    <a:pt x="174" y="15"/>
                    <a:pt x="174" y="15"/>
                    <a:pt x="174" y="15"/>
                  </a:cubicBezTo>
                  <a:cubicBezTo>
                    <a:pt x="183" y="17"/>
                    <a:pt x="199" y="70"/>
                    <a:pt x="200" y="166"/>
                  </a:cubicBezTo>
                  <a:lnTo>
                    <a:pt x="147" y="166"/>
                  </a:lnTo>
                  <a:close/>
                  <a:moveTo>
                    <a:pt x="153" y="19"/>
                  </a:moveTo>
                  <a:cubicBezTo>
                    <a:pt x="138" y="51"/>
                    <a:pt x="133" y="118"/>
                    <a:pt x="133" y="166"/>
                  </a:cubicBezTo>
                  <a:cubicBezTo>
                    <a:pt x="79" y="166"/>
                    <a:pt x="79" y="166"/>
                    <a:pt x="79" y="166"/>
                  </a:cubicBezTo>
                  <a:cubicBezTo>
                    <a:pt x="81" y="94"/>
                    <a:pt x="112" y="34"/>
                    <a:pt x="153" y="19"/>
                  </a:cubicBezTo>
                  <a:close/>
                  <a:moveTo>
                    <a:pt x="133" y="181"/>
                  </a:moveTo>
                  <a:cubicBezTo>
                    <a:pt x="133" y="229"/>
                    <a:pt x="138" y="296"/>
                    <a:pt x="153" y="329"/>
                  </a:cubicBezTo>
                  <a:cubicBezTo>
                    <a:pt x="112" y="313"/>
                    <a:pt x="81" y="254"/>
                    <a:pt x="79" y="181"/>
                  </a:cubicBezTo>
                  <a:lnTo>
                    <a:pt x="133" y="181"/>
                  </a:lnTo>
                  <a:close/>
                  <a:moveTo>
                    <a:pt x="194" y="329"/>
                  </a:moveTo>
                  <a:cubicBezTo>
                    <a:pt x="209" y="296"/>
                    <a:pt x="214" y="229"/>
                    <a:pt x="215" y="181"/>
                  </a:cubicBezTo>
                  <a:cubicBezTo>
                    <a:pt x="268" y="181"/>
                    <a:pt x="268" y="181"/>
                    <a:pt x="268" y="181"/>
                  </a:cubicBezTo>
                  <a:cubicBezTo>
                    <a:pt x="266" y="254"/>
                    <a:pt x="235" y="313"/>
                    <a:pt x="194" y="329"/>
                  </a:cubicBezTo>
                  <a:close/>
                  <a:moveTo>
                    <a:pt x="215" y="166"/>
                  </a:moveTo>
                  <a:cubicBezTo>
                    <a:pt x="214" y="118"/>
                    <a:pt x="209" y="51"/>
                    <a:pt x="194" y="19"/>
                  </a:cubicBezTo>
                  <a:cubicBezTo>
                    <a:pt x="235" y="34"/>
                    <a:pt x="266" y="94"/>
                    <a:pt x="268" y="166"/>
                  </a:cubicBezTo>
                  <a:lnTo>
                    <a:pt x="215" y="166"/>
                  </a:lnTo>
                  <a:close/>
                  <a:moveTo>
                    <a:pt x="117" y="26"/>
                  </a:moveTo>
                  <a:cubicBezTo>
                    <a:pt x="87" y="55"/>
                    <a:pt x="66" y="107"/>
                    <a:pt x="64" y="166"/>
                  </a:cubicBezTo>
                  <a:cubicBezTo>
                    <a:pt x="15" y="166"/>
                    <a:pt x="15" y="166"/>
                    <a:pt x="15" y="166"/>
                  </a:cubicBezTo>
                  <a:cubicBezTo>
                    <a:pt x="18" y="102"/>
                    <a:pt x="59" y="48"/>
                    <a:pt x="117" y="26"/>
                  </a:cubicBezTo>
                  <a:close/>
                  <a:moveTo>
                    <a:pt x="15" y="181"/>
                  </a:moveTo>
                  <a:cubicBezTo>
                    <a:pt x="64" y="181"/>
                    <a:pt x="64" y="181"/>
                    <a:pt x="64" y="181"/>
                  </a:cubicBezTo>
                  <a:cubicBezTo>
                    <a:pt x="66" y="241"/>
                    <a:pt x="87" y="292"/>
                    <a:pt x="117" y="322"/>
                  </a:cubicBezTo>
                  <a:cubicBezTo>
                    <a:pt x="59" y="300"/>
                    <a:pt x="18" y="245"/>
                    <a:pt x="15" y="181"/>
                  </a:cubicBezTo>
                  <a:close/>
                  <a:moveTo>
                    <a:pt x="231" y="322"/>
                  </a:moveTo>
                  <a:cubicBezTo>
                    <a:pt x="261" y="292"/>
                    <a:pt x="281" y="241"/>
                    <a:pt x="283" y="181"/>
                  </a:cubicBezTo>
                  <a:cubicBezTo>
                    <a:pt x="332" y="181"/>
                    <a:pt x="332" y="181"/>
                    <a:pt x="332" y="181"/>
                  </a:cubicBezTo>
                  <a:cubicBezTo>
                    <a:pt x="329" y="245"/>
                    <a:pt x="288" y="300"/>
                    <a:pt x="231" y="32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96" name="Group 95"/>
          <p:cNvGrpSpPr/>
          <p:nvPr/>
        </p:nvGrpSpPr>
        <p:grpSpPr>
          <a:xfrm>
            <a:off x="7537359" y="2092332"/>
            <a:ext cx="1015059" cy="666323"/>
            <a:chOff x="6938406" y="4495800"/>
            <a:chExt cx="1746806" cy="1066800"/>
          </a:xfrm>
        </p:grpSpPr>
        <p:sp>
          <p:nvSpPr>
            <p:cNvPr id="97" name="Freeform 79"/>
            <p:cNvSpPr>
              <a:spLocks noEditPoints="1"/>
            </p:cNvSpPr>
            <p:nvPr/>
          </p:nvSpPr>
          <p:spPr bwMode="auto">
            <a:xfrm>
              <a:off x="7393924" y="4800600"/>
              <a:ext cx="649975" cy="597365"/>
            </a:xfrm>
            <a:custGeom>
              <a:avLst/>
              <a:gdLst>
                <a:gd name="T0" fmla="*/ 406 w 413"/>
                <a:gd name="T1" fmla="*/ 0 h 380"/>
                <a:gd name="T2" fmla="*/ 7 w 413"/>
                <a:gd name="T3" fmla="*/ 0 h 380"/>
                <a:gd name="T4" fmla="*/ 0 w 413"/>
                <a:gd name="T5" fmla="*/ 7 h 380"/>
                <a:gd name="T6" fmla="*/ 0 w 413"/>
                <a:gd name="T7" fmla="*/ 273 h 380"/>
                <a:gd name="T8" fmla="*/ 7 w 413"/>
                <a:gd name="T9" fmla="*/ 281 h 380"/>
                <a:gd name="T10" fmla="*/ 133 w 413"/>
                <a:gd name="T11" fmla="*/ 281 h 380"/>
                <a:gd name="T12" fmla="*/ 133 w 413"/>
                <a:gd name="T13" fmla="*/ 332 h 380"/>
                <a:gd name="T14" fmla="*/ 73 w 413"/>
                <a:gd name="T15" fmla="*/ 332 h 380"/>
                <a:gd name="T16" fmla="*/ 65 w 413"/>
                <a:gd name="T17" fmla="*/ 340 h 380"/>
                <a:gd name="T18" fmla="*/ 65 w 413"/>
                <a:gd name="T19" fmla="*/ 373 h 380"/>
                <a:gd name="T20" fmla="*/ 73 w 413"/>
                <a:gd name="T21" fmla="*/ 380 h 380"/>
                <a:gd name="T22" fmla="*/ 339 w 413"/>
                <a:gd name="T23" fmla="*/ 380 h 380"/>
                <a:gd name="T24" fmla="*/ 346 w 413"/>
                <a:gd name="T25" fmla="*/ 373 h 380"/>
                <a:gd name="T26" fmla="*/ 346 w 413"/>
                <a:gd name="T27" fmla="*/ 340 h 380"/>
                <a:gd name="T28" fmla="*/ 339 w 413"/>
                <a:gd name="T29" fmla="*/ 332 h 380"/>
                <a:gd name="T30" fmla="*/ 280 w 413"/>
                <a:gd name="T31" fmla="*/ 332 h 380"/>
                <a:gd name="T32" fmla="*/ 280 w 413"/>
                <a:gd name="T33" fmla="*/ 281 h 380"/>
                <a:gd name="T34" fmla="*/ 406 w 413"/>
                <a:gd name="T35" fmla="*/ 281 h 380"/>
                <a:gd name="T36" fmla="*/ 413 w 413"/>
                <a:gd name="T37" fmla="*/ 273 h 380"/>
                <a:gd name="T38" fmla="*/ 413 w 413"/>
                <a:gd name="T39" fmla="*/ 7 h 380"/>
                <a:gd name="T40" fmla="*/ 406 w 413"/>
                <a:gd name="T41" fmla="*/ 0 h 380"/>
                <a:gd name="T42" fmla="*/ 331 w 413"/>
                <a:gd name="T43" fmla="*/ 366 h 380"/>
                <a:gd name="T44" fmla="*/ 80 w 413"/>
                <a:gd name="T45" fmla="*/ 366 h 380"/>
                <a:gd name="T46" fmla="*/ 80 w 413"/>
                <a:gd name="T47" fmla="*/ 347 h 380"/>
                <a:gd name="T48" fmla="*/ 331 w 413"/>
                <a:gd name="T49" fmla="*/ 347 h 380"/>
                <a:gd name="T50" fmla="*/ 331 w 413"/>
                <a:gd name="T51" fmla="*/ 366 h 380"/>
                <a:gd name="T52" fmla="*/ 266 w 413"/>
                <a:gd name="T53" fmla="*/ 332 h 380"/>
                <a:gd name="T54" fmla="*/ 148 w 413"/>
                <a:gd name="T55" fmla="*/ 332 h 380"/>
                <a:gd name="T56" fmla="*/ 148 w 413"/>
                <a:gd name="T57" fmla="*/ 281 h 380"/>
                <a:gd name="T58" fmla="*/ 266 w 413"/>
                <a:gd name="T59" fmla="*/ 281 h 380"/>
                <a:gd name="T60" fmla="*/ 266 w 413"/>
                <a:gd name="T61" fmla="*/ 332 h 380"/>
                <a:gd name="T62" fmla="*/ 399 w 413"/>
                <a:gd name="T63" fmla="*/ 266 h 380"/>
                <a:gd name="T64" fmla="*/ 15 w 413"/>
                <a:gd name="T65" fmla="*/ 266 h 380"/>
                <a:gd name="T66" fmla="*/ 15 w 413"/>
                <a:gd name="T67" fmla="*/ 15 h 380"/>
                <a:gd name="T68" fmla="*/ 399 w 413"/>
                <a:gd name="T69" fmla="*/ 15 h 380"/>
                <a:gd name="T70" fmla="*/ 399 w 413"/>
                <a:gd name="T71" fmla="*/ 266 h 380"/>
                <a:gd name="T72" fmla="*/ 40 w 413"/>
                <a:gd name="T73" fmla="*/ 247 h 380"/>
                <a:gd name="T74" fmla="*/ 373 w 413"/>
                <a:gd name="T75" fmla="*/ 247 h 380"/>
                <a:gd name="T76" fmla="*/ 381 w 413"/>
                <a:gd name="T77" fmla="*/ 240 h 380"/>
                <a:gd name="T78" fmla="*/ 381 w 413"/>
                <a:gd name="T79" fmla="*/ 41 h 380"/>
                <a:gd name="T80" fmla="*/ 373 w 413"/>
                <a:gd name="T81" fmla="*/ 33 h 380"/>
                <a:gd name="T82" fmla="*/ 40 w 413"/>
                <a:gd name="T83" fmla="*/ 33 h 380"/>
                <a:gd name="T84" fmla="*/ 33 w 413"/>
                <a:gd name="T85" fmla="*/ 41 h 380"/>
                <a:gd name="T86" fmla="*/ 33 w 413"/>
                <a:gd name="T87" fmla="*/ 240 h 380"/>
                <a:gd name="T88" fmla="*/ 40 w 413"/>
                <a:gd name="T89" fmla="*/ 247 h 380"/>
                <a:gd name="T90" fmla="*/ 47 w 413"/>
                <a:gd name="T91" fmla="*/ 48 h 380"/>
                <a:gd name="T92" fmla="*/ 366 w 413"/>
                <a:gd name="T93" fmla="*/ 48 h 380"/>
                <a:gd name="T94" fmla="*/ 366 w 413"/>
                <a:gd name="T95" fmla="*/ 233 h 380"/>
                <a:gd name="T96" fmla="*/ 47 w 413"/>
                <a:gd name="T97" fmla="*/ 233 h 380"/>
                <a:gd name="T98" fmla="*/ 47 w 413"/>
                <a:gd name="T99" fmla="*/ 48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3" h="380">
                  <a:moveTo>
                    <a:pt x="406" y="0"/>
                  </a:moveTo>
                  <a:cubicBezTo>
                    <a:pt x="7" y="0"/>
                    <a:pt x="7" y="0"/>
                    <a:pt x="7" y="0"/>
                  </a:cubicBezTo>
                  <a:cubicBezTo>
                    <a:pt x="3" y="0"/>
                    <a:pt x="0" y="3"/>
                    <a:pt x="0" y="7"/>
                  </a:cubicBezTo>
                  <a:cubicBezTo>
                    <a:pt x="0" y="273"/>
                    <a:pt x="0" y="273"/>
                    <a:pt x="0" y="273"/>
                  </a:cubicBezTo>
                  <a:cubicBezTo>
                    <a:pt x="0" y="277"/>
                    <a:pt x="3" y="281"/>
                    <a:pt x="7" y="281"/>
                  </a:cubicBezTo>
                  <a:cubicBezTo>
                    <a:pt x="133" y="281"/>
                    <a:pt x="133" y="281"/>
                    <a:pt x="133" y="281"/>
                  </a:cubicBezTo>
                  <a:cubicBezTo>
                    <a:pt x="133" y="332"/>
                    <a:pt x="133" y="332"/>
                    <a:pt x="133" y="332"/>
                  </a:cubicBezTo>
                  <a:cubicBezTo>
                    <a:pt x="73" y="332"/>
                    <a:pt x="73" y="332"/>
                    <a:pt x="73" y="332"/>
                  </a:cubicBezTo>
                  <a:cubicBezTo>
                    <a:pt x="69" y="332"/>
                    <a:pt x="65" y="336"/>
                    <a:pt x="65" y="340"/>
                  </a:cubicBezTo>
                  <a:cubicBezTo>
                    <a:pt x="65" y="373"/>
                    <a:pt x="65" y="373"/>
                    <a:pt x="65" y="373"/>
                  </a:cubicBezTo>
                  <a:cubicBezTo>
                    <a:pt x="65" y="377"/>
                    <a:pt x="69" y="380"/>
                    <a:pt x="73" y="380"/>
                  </a:cubicBezTo>
                  <a:cubicBezTo>
                    <a:pt x="339" y="380"/>
                    <a:pt x="339" y="380"/>
                    <a:pt x="339" y="380"/>
                  </a:cubicBezTo>
                  <a:cubicBezTo>
                    <a:pt x="343" y="380"/>
                    <a:pt x="346" y="377"/>
                    <a:pt x="346" y="373"/>
                  </a:cubicBezTo>
                  <a:cubicBezTo>
                    <a:pt x="346" y="340"/>
                    <a:pt x="346" y="340"/>
                    <a:pt x="346" y="340"/>
                  </a:cubicBezTo>
                  <a:cubicBezTo>
                    <a:pt x="346" y="336"/>
                    <a:pt x="343" y="332"/>
                    <a:pt x="339" y="332"/>
                  </a:cubicBezTo>
                  <a:cubicBezTo>
                    <a:pt x="280" y="332"/>
                    <a:pt x="280" y="332"/>
                    <a:pt x="280" y="332"/>
                  </a:cubicBezTo>
                  <a:cubicBezTo>
                    <a:pt x="280" y="281"/>
                    <a:pt x="280" y="281"/>
                    <a:pt x="280" y="281"/>
                  </a:cubicBezTo>
                  <a:cubicBezTo>
                    <a:pt x="406" y="281"/>
                    <a:pt x="406" y="281"/>
                    <a:pt x="406" y="281"/>
                  </a:cubicBezTo>
                  <a:cubicBezTo>
                    <a:pt x="410" y="281"/>
                    <a:pt x="413" y="277"/>
                    <a:pt x="413" y="273"/>
                  </a:cubicBezTo>
                  <a:cubicBezTo>
                    <a:pt x="413" y="7"/>
                    <a:pt x="413" y="7"/>
                    <a:pt x="413" y="7"/>
                  </a:cubicBezTo>
                  <a:cubicBezTo>
                    <a:pt x="413" y="3"/>
                    <a:pt x="410" y="0"/>
                    <a:pt x="406" y="0"/>
                  </a:cubicBezTo>
                  <a:close/>
                  <a:moveTo>
                    <a:pt x="331" y="366"/>
                  </a:moveTo>
                  <a:cubicBezTo>
                    <a:pt x="80" y="366"/>
                    <a:pt x="80" y="366"/>
                    <a:pt x="80" y="366"/>
                  </a:cubicBezTo>
                  <a:cubicBezTo>
                    <a:pt x="80" y="347"/>
                    <a:pt x="80" y="347"/>
                    <a:pt x="80" y="347"/>
                  </a:cubicBezTo>
                  <a:cubicBezTo>
                    <a:pt x="331" y="347"/>
                    <a:pt x="331" y="347"/>
                    <a:pt x="331" y="347"/>
                  </a:cubicBezTo>
                  <a:lnTo>
                    <a:pt x="331" y="366"/>
                  </a:lnTo>
                  <a:close/>
                  <a:moveTo>
                    <a:pt x="266" y="332"/>
                  </a:moveTo>
                  <a:cubicBezTo>
                    <a:pt x="148" y="332"/>
                    <a:pt x="148" y="332"/>
                    <a:pt x="148" y="332"/>
                  </a:cubicBezTo>
                  <a:cubicBezTo>
                    <a:pt x="148" y="281"/>
                    <a:pt x="148" y="281"/>
                    <a:pt x="148" y="281"/>
                  </a:cubicBezTo>
                  <a:cubicBezTo>
                    <a:pt x="266" y="281"/>
                    <a:pt x="266" y="281"/>
                    <a:pt x="266" y="281"/>
                  </a:cubicBezTo>
                  <a:lnTo>
                    <a:pt x="266" y="332"/>
                  </a:lnTo>
                  <a:close/>
                  <a:moveTo>
                    <a:pt x="399" y="266"/>
                  </a:moveTo>
                  <a:cubicBezTo>
                    <a:pt x="15" y="266"/>
                    <a:pt x="15" y="266"/>
                    <a:pt x="15" y="266"/>
                  </a:cubicBezTo>
                  <a:cubicBezTo>
                    <a:pt x="15" y="15"/>
                    <a:pt x="15" y="15"/>
                    <a:pt x="15" y="15"/>
                  </a:cubicBezTo>
                  <a:cubicBezTo>
                    <a:pt x="399" y="15"/>
                    <a:pt x="399" y="15"/>
                    <a:pt x="399" y="15"/>
                  </a:cubicBezTo>
                  <a:lnTo>
                    <a:pt x="399" y="266"/>
                  </a:lnTo>
                  <a:close/>
                  <a:moveTo>
                    <a:pt x="40" y="247"/>
                  </a:moveTo>
                  <a:cubicBezTo>
                    <a:pt x="373" y="247"/>
                    <a:pt x="373" y="247"/>
                    <a:pt x="373" y="247"/>
                  </a:cubicBezTo>
                  <a:cubicBezTo>
                    <a:pt x="377" y="247"/>
                    <a:pt x="381" y="244"/>
                    <a:pt x="381" y="240"/>
                  </a:cubicBezTo>
                  <a:cubicBezTo>
                    <a:pt x="381" y="41"/>
                    <a:pt x="381" y="41"/>
                    <a:pt x="381" y="41"/>
                  </a:cubicBezTo>
                  <a:cubicBezTo>
                    <a:pt x="381" y="37"/>
                    <a:pt x="377" y="33"/>
                    <a:pt x="373" y="33"/>
                  </a:cubicBezTo>
                  <a:cubicBezTo>
                    <a:pt x="40" y="33"/>
                    <a:pt x="40" y="33"/>
                    <a:pt x="40" y="33"/>
                  </a:cubicBezTo>
                  <a:cubicBezTo>
                    <a:pt x="36" y="33"/>
                    <a:pt x="33" y="37"/>
                    <a:pt x="33" y="41"/>
                  </a:cubicBezTo>
                  <a:cubicBezTo>
                    <a:pt x="33" y="240"/>
                    <a:pt x="33" y="240"/>
                    <a:pt x="33" y="240"/>
                  </a:cubicBezTo>
                  <a:cubicBezTo>
                    <a:pt x="33" y="244"/>
                    <a:pt x="36" y="247"/>
                    <a:pt x="40" y="247"/>
                  </a:cubicBezTo>
                  <a:close/>
                  <a:moveTo>
                    <a:pt x="47" y="48"/>
                  </a:moveTo>
                  <a:cubicBezTo>
                    <a:pt x="366" y="48"/>
                    <a:pt x="366" y="48"/>
                    <a:pt x="366" y="48"/>
                  </a:cubicBezTo>
                  <a:cubicBezTo>
                    <a:pt x="366" y="233"/>
                    <a:pt x="366" y="233"/>
                    <a:pt x="366" y="233"/>
                  </a:cubicBezTo>
                  <a:cubicBezTo>
                    <a:pt x="47" y="233"/>
                    <a:pt x="47" y="233"/>
                    <a:pt x="47" y="233"/>
                  </a:cubicBezTo>
                  <a:lnTo>
                    <a:pt x="47" y="4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98" name="Freeform 77"/>
            <p:cNvSpPr>
              <a:spLocks noEditPoints="1"/>
            </p:cNvSpPr>
            <p:nvPr/>
          </p:nvSpPr>
          <p:spPr bwMode="auto">
            <a:xfrm>
              <a:off x="6938406" y="4495800"/>
              <a:ext cx="1746806" cy="1066800"/>
            </a:xfrm>
            <a:custGeom>
              <a:avLst/>
              <a:gdLst>
                <a:gd name="T0" fmla="*/ 340 w 413"/>
                <a:gd name="T1" fmla="*/ 283 h 283"/>
                <a:gd name="T2" fmla="*/ 73 w 413"/>
                <a:gd name="T3" fmla="*/ 283 h 283"/>
                <a:gd name="T4" fmla="*/ 72 w 413"/>
                <a:gd name="T5" fmla="*/ 283 h 283"/>
                <a:gd name="T6" fmla="*/ 0 w 413"/>
                <a:gd name="T7" fmla="*/ 209 h 283"/>
                <a:gd name="T8" fmla="*/ 70 w 413"/>
                <a:gd name="T9" fmla="*/ 135 h 283"/>
                <a:gd name="T10" fmla="*/ 66 w 413"/>
                <a:gd name="T11" fmla="*/ 107 h 283"/>
                <a:gd name="T12" fmla="*/ 173 w 413"/>
                <a:gd name="T13" fmla="*/ 0 h 283"/>
                <a:gd name="T14" fmla="*/ 273 w 413"/>
                <a:gd name="T15" fmla="*/ 69 h 283"/>
                <a:gd name="T16" fmla="*/ 273 w 413"/>
                <a:gd name="T17" fmla="*/ 69 h 283"/>
                <a:gd name="T18" fmla="*/ 346 w 413"/>
                <a:gd name="T19" fmla="*/ 135 h 283"/>
                <a:gd name="T20" fmla="*/ 413 w 413"/>
                <a:gd name="T21" fmla="*/ 209 h 283"/>
                <a:gd name="T22" fmla="*/ 341 w 413"/>
                <a:gd name="T23" fmla="*/ 283 h 283"/>
                <a:gd name="T24" fmla="*/ 340 w 413"/>
                <a:gd name="T25" fmla="*/ 283 h 283"/>
                <a:gd name="T26" fmla="*/ 73 w 413"/>
                <a:gd name="T27" fmla="*/ 268 h 283"/>
                <a:gd name="T28" fmla="*/ 339 w 413"/>
                <a:gd name="T29" fmla="*/ 268 h 283"/>
                <a:gd name="T30" fmla="*/ 340 w 413"/>
                <a:gd name="T31" fmla="*/ 268 h 283"/>
                <a:gd name="T32" fmla="*/ 398 w 413"/>
                <a:gd name="T33" fmla="*/ 209 h 283"/>
                <a:gd name="T34" fmla="*/ 339 w 413"/>
                <a:gd name="T35" fmla="*/ 150 h 283"/>
                <a:gd name="T36" fmla="*/ 332 w 413"/>
                <a:gd name="T37" fmla="*/ 142 h 283"/>
                <a:gd name="T38" fmla="*/ 273 w 413"/>
                <a:gd name="T39" fmla="*/ 83 h 283"/>
                <a:gd name="T40" fmla="*/ 268 w 413"/>
                <a:gd name="T41" fmla="*/ 84 h 283"/>
                <a:gd name="T42" fmla="*/ 261 w 413"/>
                <a:gd name="T43" fmla="*/ 79 h 283"/>
                <a:gd name="T44" fmla="*/ 173 w 413"/>
                <a:gd name="T45" fmla="*/ 15 h 283"/>
                <a:gd name="T46" fmla="*/ 81 w 413"/>
                <a:gd name="T47" fmla="*/ 107 h 283"/>
                <a:gd name="T48" fmla="*/ 87 w 413"/>
                <a:gd name="T49" fmla="*/ 140 h 283"/>
                <a:gd name="T50" fmla="*/ 86 w 413"/>
                <a:gd name="T51" fmla="*/ 147 h 283"/>
                <a:gd name="T52" fmla="*/ 79 w 413"/>
                <a:gd name="T53" fmla="*/ 150 h 283"/>
                <a:gd name="T54" fmla="*/ 73 w 413"/>
                <a:gd name="T55" fmla="*/ 150 h 283"/>
                <a:gd name="T56" fmla="*/ 14 w 413"/>
                <a:gd name="T57" fmla="*/ 209 h 283"/>
                <a:gd name="T58" fmla="*/ 73 w 413"/>
                <a:gd name="T59" fmla="*/ 268 h 283"/>
                <a:gd name="T60" fmla="*/ 73 w 413"/>
                <a:gd name="T61" fmla="*/ 268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3" h="283">
                  <a:moveTo>
                    <a:pt x="340" y="283"/>
                  </a:moveTo>
                  <a:cubicBezTo>
                    <a:pt x="73" y="283"/>
                    <a:pt x="73" y="283"/>
                    <a:pt x="73" y="283"/>
                  </a:cubicBezTo>
                  <a:cubicBezTo>
                    <a:pt x="73" y="283"/>
                    <a:pt x="72" y="283"/>
                    <a:pt x="72" y="283"/>
                  </a:cubicBezTo>
                  <a:cubicBezTo>
                    <a:pt x="32" y="282"/>
                    <a:pt x="0" y="249"/>
                    <a:pt x="0" y="209"/>
                  </a:cubicBezTo>
                  <a:cubicBezTo>
                    <a:pt x="0" y="169"/>
                    <a:pt x="31" y="137"/>
                    <a:pt x="70" y="135"/>
                  </a:cubicBezTo>
                  <a:cubicBezTo>
                    <a:pt x="67" y="126"/>
                    <a:pt x="66" y="117"/>
                    <a:pt x="66" y="107"/>
                  </a:cubicBezTo>
                  <a:cubicBezTo>
                    <a:pt x="66" y="48"/>
                    <a:pt x="114" y="0"/>
                    <a:pt x="173" y="0"/>
                  </a:cubicBezTo>
                  <a:cubicBezTo>
                    <a:pt x="217" y="0"/>
                    <a:pt x="257" y="27"/>
                    <a:pt x="273" y="69"/>
                  </a:cubicBezTo>
                  <a:cubicBezTo>
                    <a:pt x="273" y="69"/>
                    <a:pt x="273" y="69"/>
                    <a:pt x="273" y="69"/>
                  </a:cubicBezTo>
                  <a:cubicBezTo>
                    <a:pt x="311" y="69"/>
                    <a:pt x="343" y="98"/>
                    <a:pt x="346" y="135"/>
                  </a:cubicBezTo>
                  <a:cubicBezTo>
                    <a:pt x="384" y="139"/>
                    <a:pt x="413" y="171"/>
                    <a:pt x="413" y="209"/>
                  </a:cubicBezTo>
                  <a:cubicBezTo>
                    <a:pt x="413" y="249"/>
                    <a:pt x="381" y="282"/>
                    <a:pt x="341" y="283"/>
                  </a:cubicBezTo>
                  <a:cubicBezTo>
                    <a:pt x="340" y="283"/>
                    <a:pt x="340" y="283"/>
                    <a:pt x="340" y="283"/>
                  </a:cubicBezTo>
                  <a:close/>
                  <a:moveTo>
                    <a:pt x="73" y="268"/>
                  </a:moveTo>
                  <a:cubicBezTo>
                    <a:pt x="339" y="268"/>
                    <a:pt x="339" y="268"/>
                    <a:pt x="339" y="268"/>
                  </a:cubicBezTo>
                  <a:cubicBezTo>
                    <a:pt x="339" y="268"/>
                    <a:pt x="340" y="268"/>
                    <a:pt x="340" y="268"/>
                  </a:cubicBezTo>
                  <a:cubicBezTo>
                    <a:pt x="372" y="268"/>
                    <a:pt x="398" y="241"/>
                    <a:pt x="398" y="209"/>
                  </a:cubicBezTo>
                  <a:cubicBezTo>
                    <a:pt x="398" y="176"/>
                    <a:pt x="372" y="150"/>
                    <a:pt x="339" y="150"/>
                  </a:cubicBezTo>
                  <a:cubicBezTo>
                    <a:pt x="335" y="150"/>
                    <a:pt x="332" y="146"/>
                    <a:pt x="332" y="142"/>
                  </a:cubicBezTo>
                  <a:cubicBezTo>
                    <a:pt x="332" y="110"/>
                    <a:pt x="305" y="83"/>
                    <a:pt x="273" y="83"/>
                  </a:cubicBezTo>
                  <a:cubicBezTo>
                    <a:pt x="271" y="83"/>
                    <a:pt x="270" y="83"/>
                    <a:pt x="268" y="84"/>
                  </a:cubicBezTo>
                  <a:cubicBezTo>
                    <a:pt x="265" y="84"/>
                    <a:pt x="262" y="82"/>
                    <a:pt x="261" y="79"/>
                  </a:cubicBezTo>
                  <a:cubicBezTo>
                    <a:pt x="248" y="40"/>
                    <a:pt x="213" y="15"/>
                    <a:pt x="173" y="15"/>
                  </a:cubicBezTo>
                  <a:cubicBezTo>
                    <a:pt x="122" y="15"/>
                    <a:pt x="81" y="56"/>
                    <a:pt x="81" y="107"/>
                  </a:cubicBezTo>
                  <a:cubicBezTo>
                    <a:pt x="81" y="118"/>
                    <a:pt x="83" y="129"/>
                    <a:pt x="87" y="140"/>
                  </a:cubicBezTo>
                  <a:cubicBezTo>
                    <a:pt x="88" y="142"/>
                    <a:pt x="87" y="145"/>
                    <a:pt x="86" y="147"/>
                  </a:cubicBezTo>
                  <a:cubicBezTo>
                    <a:pt x="84" y="149"/>
                    <a:pt x="82" y="150"/>
                    <a:pt x="79" y="150"/>
                  </a:cubicBezTo>
                  <a:cubicBezTo>
                    <a:pt x="77" y="150"/>
                    <a:pt x="75" y="150"/>
                    <a:pt x="73" y="150"/>
                  </a:cubicBezTo>
                  <a:cubicBezTo>
                    <a:pt x="41" y="150"/>
                    <a:pt x="14" y="176"/>
                    <a:pt x="14" y="209"/>
                  </a:cubicBezTo>
                  <a:cubicBezTo>
                    <a:pt x="14" y="241"/>
                    <a:pt x="41" y="268"/>
                    <a:pt x="73" y="268"/>
                  </a:cubicBezTo>
                  <a:cubicBezTo>
                    <a:pt x="73" y="268"/>
                    <a:pt x="73" y="268"/>
                    <a:pt x="73" y="26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99" name="Group 98"/>
          <p:cNvGrpSpPr/>
          <p:nvPr/>
        </p:nvGrpSpPr>
        <p:grpSpPr>
          <a:xfrm>
            <a:off x="6701009" y="2514607"/>
            <a:ext cx="1015059" cy="666323"/>
            <a:chOff x="6938406" y="1066800"/>
            <a:chExt cx="1746806" cy="1066800"/>
          </a:xfrm>
        </p:grpSpPr>
        <p:sp>
          <p:nvSpPr>
            <p:cNvPr id="100" name="Freeform 77"/>
            <p:cNvSpPr>
              <a:spLocks noEditPoints="1"/>
            </p:cNvSpPr>
            <p:nvPr/>
          </p:nvSpPr>
          <p:spPr bwMode="auto">
            <a:xfrm>
              <a:off x="6938406" y="1066800"/>
              <a:ext cx="1746806" cy="1066800"/>
            </a:xfrm>
            <a:custGeom>
              <a:avLst/>
              <a:gdLst>
                <a:gd name="T0" fmla="*/ 340 w 413"/>
                <a:gd name="T1" fmla="*/ 283 h 283"/>
                <a:gd name="T2" fmla="*/ 73 w 413"/>
                <a:gd name="T3" fmla="*/ 283 h 283"/>
                <a:gd name="T4" fmla="*/ 72 w 413"/>
                <a:gd name="T5" fmla="*/ 283 h 283"/>
                <a:gd name="T6" fmla="*/ 0 w 413"/>
                <a:gd name="T7" fmla="*/ 209 h 283"/>
                <a:gd name="T8" fmla="*/ 70 w 413"/>
                <a:gd name="T9" fmla="*/ 135 h 283"/>
                <a:gd name="T10" fmla="*/ 66 w 413"/>
                <a:gd name="T11" fmla="*/ 107 h 283"/>
                <a:gd name="T12" fmla="*/ 173 w 413"/>
                <a:gd name="T13" fmla="*/ 0 h 283"/>
                <a:gd name="T14" fmla="*/ 273 w 413"/>
                <a:gd name="T15" fmla="*/ 69 h 283"/>
                <a:gd name="T16" fmla="*/ 273 w 413"/>
                <a:gd name="T17" fmla="*/ 69 h 283"/>
                <a:gd name="T18" fmla="*/ 346 w 413"/>
                <a:gd name="T19" fmla="*/ 135 h 283"/>
                <a:gd name="T20" fmla="*/ 413 w 413"/>
                <a:gd name="T21" fmla="*/ 209 h 283"/>
                <a:gd name="T22" fmla="*/ 341 w 413"/>
                <a:gd name="T23" fmla="*/ 283 h 283"/>
                <a:gd name="T24" fmla="*/ 340 w 413"/>
                <a:gd name="T25" fmla="*/ 283 h 283"/>
                <a:gd name="T26" fmla="*/ 73 w 413"/>
                <a:gd name="T27" fmla="*/ 268 h 283"/>
                <a:gd name="T28" fmla="*/ 339 w 413"/>
                <a:gd name="T29" fmla="*/ 268 h 283"/>
                <a:gd name="T30" fmla="*/ 340 w 413"/>
                <a:gd name="T31" fmla="*/ 268 h 283"/>
                <a:gd name="T32" fmla="*/ 398 w 413"/>
                <a:gd name="T33" fmla="*/ 209 h 283"/>
                <a:gd name="T34" fmla="*/ 339 w 413"/>
                <a:gd name="T35" fmla="*/ 150 h 283"/>
                <a:gd name="T36" fmla="*/ 332 w 413"/>
                <a:gd name="T37" fmla="*/ 142 h 283"/>
                <a:gd name="T38" fmla="*/ 273 w 413"/>
                <a:gd name="T39" fmla="*/ 83 h 283"/>
                <a:gd name="T40" fmla="*/ 268 w 413"/>
                <a:gd name="T41" fmla="*/ 84 h 283"/>
                <a:gd name="T42" fmla="*/ 261 w 413"/>
                <a:gd name="T43" fmla="*/ 79 h 283"/>
                <a:gd name="T44" fmla="*/ 173 w 413"/>
                <a:gd name="T45" fmla="*/ 15 h 283"/>
                <a:gd name="T46" fmla="*/ 81 w 413"/>
                <a:gd name="T47" fmla="*/ 107 h 283"/>
                <a:gd name="T48" fmla="*/ 87 w 413"/>
                <a:gd name="T49" fmla="*/ 140 h 283"/>
                <a:gd name="T50" fmla="*/ 86 w 413"/>
                <a:gd name="T51" fmla="*/ 147 h 283"/>
                <a:gd name="T52" fmla="*/ 79 w 413"/>
                <a:gd name="T53" fmla="*/ 150 h 283"/>
                <a:gd name="T54" fmla="*/ 73 w 413"/>
                <a:gd name="T55" fmla="*/ 150 h 283"/>
                <a:gd name="T56" fmla="*/ 14 w 413"/>
                <a:gd name="T57" fmla="*/ 209 h 283"/>
                <a:gd name="T58" fmla="*/ 73 w 413"/>
                <a:gd name="T59" fmla="*/ 268 h 283"/>
                <a:gd name="T60" fmla="*/ 73 w 413"/>
                <a:gd name="T61" fmla="*/ 268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3" h="283">
                  <a:moveTo>
                    <a:pt x="340" y="283"/>
                  </a:moveTo>
                  <a:cubicBezTo>
                    <a:pt x="73" y="283"/>
                    <a:pt x="73" y="283"/>
                    <a:pt x="73" y="283"/>
                  </a:cubicBezTo>
                  <a:cubicBezTo>
                    <a:pt x="73" y="283"/>
                    <a:pt x="72" y="283"/>
                    <a:pt x="72" y="283"/>
                  </a:cubicBezTo>
                  <a:cubicBezTo>
                    <a:pt x="32" y="282"/>
                    <a:pt x="0" y="249"/>
                    <a:pt x="0" y="209"/>
                  </a:cubicBezTo>
                  <a:cubicBezTo>
                    <a:pt x="0" y="169"/>
                    <a:pt x="31" y="137"/>
                    <a:pt x="70" y="135"/>
                  </a:cubicBezTo>
                  <a:cubicBezTo>
                    <a:pt x="67" y="126"/>
                    <a:pt x="66" y="117"/>
                    <a:pt x="66" y="107"/>
                  </a:cubicBezTo>
                  <a:cubicBezTo>
                    <a:pt x="66" y="48"/>
                    <a:pt x="114" y="0"/>
                    <a:pt x="173" y="0"/>
                  </a:cubicBezTo>
                  <a:cubicBezTo>
                    <a:pt x="217" y="0"/>
                    <a:pt x="257" y="27"/>
                    <a:pt x="273" y="69"/>
                  </a:cubicBezTo>
                  <a:cubicBezTo>
                    <a:pt x="273" y="69"/>
                    <a:pt x="273" y="69"/>
                    <a:pt x="273" y="69"/>
                  </a:cubicBezTo>
                  <a:cubicBezTo>
                    <a:pt x="311" y="69"/>
                    <a:pt x="343" y="98"/>
                    <a:pt x="346" y="135"/>
                  </a:cubicBezTo>
                  <a:cubicBezTo>
                    <a:pt x="384" y="139"/>
                    <a:pt x="413" y="171"/>
                    <a:pt x="413" y="209"/>
                  </a:cubicBezTo>
                  <a:cubicBezTo>
                    <a:pt x="413" y="249"/>
                    <a:pt x="381" y="282"/>
                    <a:pt x="341" y="283"/>
                  </a:cubicBezTo>
                  <a:cubicBezTo>
                    <a:pt x="340" y="283"/>
                    <a:pt x="340" y="283"/>
                    <a:pt x="340" y="283"/>
                  </a:cubicBezTo>
                  <a:close/>
                  <a:moveTo>
                    <a:pt x="73" y="268"/>
                  </a:moveTo>
                  <a:cubicBezTo>
                    <a:pt x="339" y="268"/>
                    <a:pt x="339" y="268"/>
                    <a:pt x="339" y="268"/>
                  </a:cubicBezTo>
                  <a:cubicBezTo>
                    <a:pt x="339" y="268"/>
                    <a:pt x="340" y="268"/>
                    <a:pt x="340" y="268"/>
                  </a:cubicBezTo>
                  <a:cubicBezTo>
                    <a:pt x="372" y="268"/>
                    <a:pt x="398" y="241"/>
                    <a:pt x="398" y="209"/>
                  </a:cubicBezTo>
                  <a:cubicBezTo>
                    <a:pt x="398" y="176"/>
                    <a:pt x="372" y="150"/>
                    <a:pt x="339" y="150"/>
                  </a:cubicBezTo>
                  <a:cubicBezTo>
                    <a:pt x="335" y="150"/>
                    <a:pt x="332" y="146"/>
                    <a:pt x="332" y="142"/>
                  </a:cubicBezTo>
                  <a:cubicBezTo>
                    <a:pt x="332" y="110"/>
                    <a:pt x="305" y="83"/>
                    <a:pt x="273" y="83"/>
                  </a:cubicBezTo>
                  <a:cubicBezTo>
                    <a:pt x="271" y="83"/>
                    <a:pt x="270" y="83"/>
                    <a:pt x="268" y="84"/>
                  </a:cubicBezTo>
                  <a:cubicBezTo>
                    <a:pt x="265" y="84"/>
                    <a:pt x="262" y="82"/>
                    <a:pt x="261" y="79"/>
                  </a:cubicBezTo>
                  <a:cubicBezTo>
                    <a:pt x="248" y="40"/>
                    <a:pt x="213" y="15"/>
                    <a:pt x="173" y="15"/>
                  </a:cubicBezTo>
                  <a:cubicBezTo>
                    <a:pt x="122" y="15"/>
                    <a:pt x="81" y="56"/>
                    <a:pt x="81" y="107"/>
                  </a:cubicBezTo>
                  <a:cubicBezTo>
                    <a:pt x="81" y="118"/>
                    <a:pt x="83" y="129"/>
                    <a:pt x="87" y="140"/>
                  </a:cubicBezTo>
                  <a:cubicBezTo>
                    <a:pt x="88" y="142"/>
                    <a:pt x="87" y="145"/>
                    <a:pt x="86" y="147"/>
                  </a:cubicBezTo>
                  <a:cubicBezTo>
                    <a:pt x="84" y="149"/>
                    <a:pt x="82" y="150"/>
                    <a:pt x="79" y="150"/>
                  </a:cubicBezTo>
                  <a:cubicBezTo>
                    <a:pt x="77" y="150"/>
                    <a:pt x="75" y="150"/>
                    <a:pt x="73" y="150"/>
                  </a:cubicBezTo>
                  <a:cubicBezTo>
                    <a:pt x="41" y="150"/>
                    <a:pt x="14" y="176"/>
                    <a:pt x="14" y="209"/>
                  </a:cubicBezTo>
                  <a:cubicBezTo>
                    <a:pt x="14" y="241"/>
                    <a:pt x="41" y="268"/>
                    <a:pt x="73" y="268"/>
                  </a:cubicBezTo>
                  <a:cubicBezTo>
                    <a:pt x="73" y="268"/>
                    <a:pt x="73" y="268"/>
                    <a:pt x="73" y="26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01" name="Freeform 72"/>
            <p:cNvSpPr>
              <a:spLocks noEditPoints="1"/>
            </p:cNvSpPr>
            <p:nvPr/>
          </p:nvSpPr>
          <p:spPr bwMode="auto">
            <a:xfrm>
              <a:off x="7370703" y="1353797"/>
              <a:ext cx="646645" cy="647978"/>
            </a:xfrm>
            <a:custGeom>
              <a:avLst/>
              <a:gdLst>
                <a:gd name="T0" fmla="*/ 337 w 411"/>
                <a:gd name="T1" fmla="*/ 198 h 412"/>
                <a:gd name="T2" fmla="*/ 284 w 411"/>
                <a:gd name="T3" fmla="*/ 220 h 412"/>
                <a:gd name="T4" fmla="*/ 249 w 411"/>
                <a:gd name="T5" fmla="*/ 185 h 412"/>
                <a:gd name="T6" fmla="*/ 283 w 411"/>
                <a:gd name="T7" fmla="*/ 107 h 412"/>
                <a:gd name="T8" fmla="*/ 176 w 411"/>
                <a:gd name="T9" fmla="*/ 0 h 412"/>
                <a:gd name="T10" fmla="*/ 68 w 411"/>
                <a:gd name="T11" fmla="*/ 107 h 412"/>
                <a:gd name="T12" fmla="*/ 116 w 411"/>
                <a:gd name="T13" fmla="*/ 196 h 412"/>
                <a:gd name="T14" fmla="*/ 96 w 411"/>
                <a:gd name="T15" fmla="*/ 266 h 412"/>
                <a:gd name="T16" fmla="*/ 74 w 411"/>
                <a:gd name="T17" fmla="*/ 263 h 412"/>
                <a:gd name="T18" fmla="*/ 0 w 411"/>
                <a:gd name="T19" fmla="*/ 337 h 412"/>
                <a:gd name="T20" fmla="*/ 74 w 411"/>
                <a:gd name="T21" fmla="*/ 412 h 412"/>
                <a:gd name="T22" fmla="*/ 149 w 411"/>
                <a:gd name="T23" fmla="*/ 337 h 412"/>
                <a:gd name="T24" fmla="*/ 110 w 411"/>
                <a:gd name="T25" fmla="*/ 272 h 412"/>
                <a:gd name="T26" fmla="*/ 130 w 411"/>
                <a:gd name="T27" fmla="*/ 204 h 412"/>
                <a:gd name="T28" fmla="*/ 176 w 411"/>
                <a:gd name="T29" fmla="*/ 214 h 412"/>
                <a:gd name="T30" fmla="*/ 238 w 411"/>
                <a:gd name="T31" fmla="*/ 195 h 412"/>
                <a:gd name="T32" fmla="*/ 275 w 411"/>
                <a:gd name="T33" fmla="*/ 232 h 412"/>
                <a:gd name="T34" fmla="*/ 262 w 411"/>
                <a:gd name="T35" fmla="*/ 273 h 412"/>
                <a:gd name="T36" fmla="*/ 337 w 411"/>
                <a:gd name="T37" fmla="*/ 347 h 412"/>
                <a:gd name="T38" fmla="*/ 411 w 411"/>
                <a:gd name="T39" fmla="*/ 273 h 412"/>
                <a:gd name="T40" fmla="*/ 337 w 411"/>
                <a:gd name="T41" fmla="*/ 198 h 412"/>
                <a:gd name="T42" fmla="*/ 134 w 411"/>
                <a:gd name="T43" fmla="*/ 337 h 412"/>
                <a:gd name="T44" fmla="*/ 74 w 411"/>
                <a:gd name="T45" fmla="*/ 397 h 412"/>
                <a:gd name="T46" fmla="*/ 14 w 411"/>
                <a:gd name="T47" fmla="*/ 337 h 412"/>
                <a:gd name="T48" fmla="*/ 74 w 411"/>
                <a:gd name="T49" fmla="*/ 278 h 412"/>
                <a:gd name="T50" fmla="*/ 134 w 411"/>
                <a:gd name="T51" fmla="*/ 337 h 412"/>
                <a:gd name="T52" fmla="*/ 83 w 411"/>
                <a:gd name="T53" fmla="*/ 107 h 412"/>
                <a:gd name="T54" fmla="*/ 176 w 411"/>
                <a:gd name="T55" fmla="*/ 14 h 412"/>
                <a:gd name="T56" fmla="*/ 268 w 411"/>
                <a:gd name="T57" fmla="*/ 107 h 412"/>
                <a:gd name="T58" fmla="*/ 176 w 411"/>
                <a:gd name="T59" fmla="*/ 200 h 412"/>
                <a:gd name="T60" fmla="*/ 83 w 411"/>
                <a:gd name="T61" fmla="*/ 107 h 412"/>
                <a:gd name="T62" fmla="*/ 337 w 411"/>
                <a:gd name="T63" fmla="*/ 332 h 412"/>
                <a:gd name="T64" fmla="*/ 277 w 411"/>
                <a:gd name="T65" fmla="*/ 273 h 412"/>
                <a:gd name="T66" fmla="*/ 337 w 411"/>
                <a:gd name="T67" fmla="*/ 213 h 412"/>
                <a:gd name="T68" fmla="*/ 397 w 411"/>
                <a:gd name="T69" fmla="*/ 273 h 412"/>
                <a:gd name="T70" fmla="*/ 337 w 411"/>
                <a:gd name="T71" fmla="*/ 33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1" h="412">
                  <a:moveTo>
                    <a:pt x="337" y="198"/>
                  </a:moveTo>
                  <a:cubicBezTo>
                    <a:pt x="316" y="198"/>
                    <a:pt x="298" y="206"/>
                    <a:pt x="284" y="220"/>
                  </a:cubicBezTo>
                  <a:cubicBezTo>
                    <a:pt x="249" y="185"/>
                    <a:pt x="249" y="185"/>
                    <a:pt x="249" y="185"/>
                  </a:cubicBezTo>
                  <a:cubicBezTo>
                    <a:pt x="270" y="166"/>
                    <a:pt x="283" y="138"/>
                    <a:pt x="283" y="107"/>
                  </a:cubicBezTo>
                  <a:cubicBezTo>
                    <a:pt x="283" y="48"/>
                    <a:pt x="235" y="0"/>
                    <a:pt x="176" y="0"/>
                  </a:cubicBezTo>
                  <a:cubicBezTo>
                    <a:pt x="117" y="0"/>
                    <a:pt x="68" y="48"/>
                    <a:pt x="68" y="107"/>
                  </a:cubicBezTo>
                  <a:cubicBezTo>
                    <a:pt x="68" y="144"/>
                    <a:pt x="88" y="177"/>
                    <a:pt x="116" y="196"/>
                  </a:cubicBezTo>
                  <a:cubicBezTo>
                    <a:pt x="96" y="266"/>
                    <a:pt x="96" y="266"/>
                    <a:pt x="96" y="266"/>
                  </a:cubicBezTo>
                  <a:cubicBezTo>
                    <a:pt x="89" y="264"/>
                    <a:pt x="82" y="263"/>
                    <a:pt x="74" y="263"/>
                  </a:cubicBezTo>
                  <a:cubicBezTo>
                    <a:pt x="33" y="263"/>
                    <a:pt x="0" y="296"/>
                    <a:pt x="0" y="337"/>
                  </a:cubicBezTo>
                  <a:cubicBezTo>
                    <a:pt x="0" y="378"/>
                    <a:pt x="33" y="412"/>
                    <a:pt x="74" y="412"/>
                  </a:cubicBezTo>
                  <a:cubicBezTo>
                    <a:pt x="115" y="412"/>
                    <a:pt x="149" y="378"/>
                    <a:pt x="149" y="337"/>
                  </a:cubicBezTo>
                  <a:cubicBezTo>
                    <a:pt x="149" y="309"/>
                    <a:pt x="133" y="284"/>
                    <a:pt x="110" y="272"/>
                  </a:cubicBezTo>
                  <a:cubicBezTo>
                    <a:pt x="130" y="204"/>
                    <a:pt x="130" y="204"/>
                    <a:pt x="130" y="204"/>
                  </a:cubicBezTo>
                  <a:cubicBezTo>
                    <a:pt x="144" y="210"/>
                    <a:pt x="159" y="214"/>
                    <a:pt x="176" y="214"/>
                  </a:cubicBezTo>
                  <a:cubicBezTo>
                    <a:pt x="199" y="214"/>
                    <a:pt x="220" y="207"/>
                    <a:pt x="238" y="195"/>
                  </a:cubicBezTo>
                  <a:cubicBezTo>
                    <a:pt x="275" y="232"/>
                    <a:pt x="275" y="232"/>
                    <a:pt x="275" y="232"/>
                  </a:cubicBezTo>
                  <a:cubicBezTo>
                    <a:pt x="267" y="243"/>
                    <a:pt x="262" y="257"/>
                    <a:pt x="262" y="273"/>
                  </a:cubicBezTo>
                  <a:cubicBezTo>
                    <a:pt x="262" y="314"/>
                    <a:pt x="296" y="347"/>
                    <a:pt x="337" y="347"/>
                  </a:cubicBezTo>
                  <a:cubicBezTo>
                    <a:pt x="378" y="347"/>
                    <a:pt x="411" y="314"/>
                    <a:pt x="411" y="273"/>
                  </a:cubicBezTo>
                  <a:cubicBezTo>
                    <a:pt x="411" y="231"/>
                    <a:pt x="378" y="198"/>
                    <a:pt x="337" y="198"/>
                  </a:cubicBezTo>
                  <a:close/>
                  <a:moveTo>
                    <a:pt x="134" y="337"/>
                  </a:moveTo>
                  <a:cubicBezTo>
                    <a:pt x="134" y="370"/>
                    <a:pt x="107" y="397"/>
                    <a:pt x="74" y="397"/>
                  </a:cubicBezTo>
                  <a:cubicBezTo>
                    <a:pt x="41" y="397"/>
                    <a:pt x="14" y="370"/>
                    <a:pt x="14" y="337"/>
                  </a:cubicBezTo>
                  <a:cubicBezTo>
                    <a:pt x="14" y="304"/>
                    <a:pt x="41" y="278"/>
                    <a:pt x="74" y="278"/>
                  </a:cubicBezTo>
                  <a:cubicBezTo>
                    <a:pt x="107" y="278"/>
                    <a:pt x="134" y="304"/>
                    <a:pt x="134" y="337"/>
                  </a:cubicBezTo>
                  <a:close/>
                  <a:moveTo>
                    <a:pt x="83" y="107"/>
                  </a:moveTo>
                  <a:cubicBezTo>
                    <a:pt x="83" y="56"/>
                    <a:pt x="125" y="14"/>
                    <a:pt x="176" y="14"/>
                  </a:cubicBezTo>
                  <a:cubicBezTo>
                    <a:pt x="227" y="14"/>
                    <a:pt x="268" y="56"/>
                    <a:pt x="268" y="107"/>
                  </a:cubicBezTo>
                  <a:cubicBezTo>
                    <a:pt x="268" y="158"/>
                    <a:pt x="227" y="200"/>
                    <a:pt x="176" y="200"/>
                  </a:cubicBezTo>
                  <a:cubicBezTo>
                    <a:pt x="125" y="200"/>
                    <a:pt x="83" y="158"/>
                    <a:pt x="83" y="107"/>
                  </a:cubicBezTo>
                  <a:close/>
                  <a:moveTo>
                    <a:pt x="337" y="332"/>
                  </a:moveTo>
                  <a:cubicBezTo>
                    <a:pt x="304" y="332"/>
                    <a:pt x="277" y="306"/>
                    <a:pt x="277" y="273"/>
                  </a:cubicBezTo>
                  <a:cubicBezTo>
                    <a:pt x="277" y="240"/>
                    <a:pt x="304" y="213"/>
                    <a:pt x="337" y="213"/>
                  </a:cubicBezTo>
                  <a:cubicBezTo>
                    <a:pt x="370" y="213"/>
                    <a:pt x="397" y="240"/>
                    <a:pt x="397" y="273"/>
                  </a:cubicBezTo>
                  <a:cubicBezTo>
                    <a:pt x="397" y="306"/>
                    <a:pt x="370" y="332"/>
                    <a:pt x="337" y="3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02" name="TextBox 101"/>
          <p:cNvSpPr txBox="1"/>
          <p:nvPr/>
        </p:nvSpPr>
        <p:spPr>
          <a:xfrm>
            <a:off x="7887563" y="4854408"/>
            <a:ext cx="1262934" cy="346249"/>
          </a:xfrm>
          <a:prstGeom prst="rect">
            <a:avLst/>
          </a:prstGeom>
          <a:noFill/>
        </p:spPr>
        <p:txBody>
          <a:bodyPr wrap="none" lIns="68571" tIns="68571" rIns="68571" bIns="68571" rtlCol="0">
            <a:spAutoFit/>
          </a:bodyPr>
          <a:lstStyle/>
          <a:p>
            <a:pPr>
              <a:lnSpc>
                <a:spcPct val="90000"/>
              </a:lnSpc>
              <a:spcBef>
                <a:spcPct val="20000"/>
              </a:spcBef>
              <a:buSzPct val="90000"/>
            </a:pPr>
            <a:r>
              <a:rPr lang="en-US" sz="1500" dirty="0">
                <a:solidFill>
                  <a:schemeClr val="tx1">
                    <a:lumMod val="75000"/>
                    <a:alpha val="99000"/>
                  </a:schemeClr>
                </a:solidFill>
              </a:rPr>
              <a:t>@vishalrjoshi</a:t>
            </a:r>
          </a:p>
        </p:txBody>
      </p:sp>
      <p:sp>
        <p:nvSpPr>
          <p:cNvPr id="103"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04"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8"/>
              </a:rPr>
              <a:t>www.rapidbbs.cn</a:t>
            </a:r>
            <a:endParaRPr lang="zh-CN" altLang="en-US" sz="1200" b="0">
              <a:latin typeface="Arial" charset="0"/>
              <a:ea typeface="ＭＳ Ｐゴシック" pitchFamily="34" charset="-128"/>
            </a:endParaRPr>
          </a:p>
        </p:txBody>
      </p:sp>
      <p:pic>
        <p:nvPicPr>
          <p:cNvPr id="105" name="Picture 2">
            <a:hlinkClick r:id="rId8"/>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06979483"/>
      </p:ext>
    </p:extLst>
  </p:cSld>
  <p:clrMapOvr>
    <a:masterClrMapping/>
  </p:clrMapOvr>
  <mc:AlternateContent xmlns:mc="http://schemas.openxmlformats.org/markup-compatibility/2006" xmlns:p14="http://schemas.microsoft.com/office/powerpoint/2010/main">
    <mc:Choice Requires="p14">
      <p:transition spd="slow" p14:dur="1500">
        <p14:pan/>
      </p:transition>
    </mc:Choice>
    <mc:Fallback xmlns="">
      <p:transition spd="slow">
        <p:fade/>
      </p:transition>
    </mc:Fallback>
  </mc:AlternateContent>
  <p:timing>
    <p:tnLst>
      <p:par>
        <p:cTn id="1" dur="indefinite" restart="never" nodeType="tmRoot"/>
      </p:par>
    </p:tnLst>
  </p:timing>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ivate Cloud Attributes</a:t>
            </a:r>
            <a:endParaRPr lang="en-US" dirty="0"/>
          </a:p>
        </p:txBody>
      </p:sp>
      <p:sp>
        <p:nvSpPr>
          <p:cNvPr id="16" name="Rectangle 15"/>
          <p:cNvSpPr/>
          <p:nvPr/>
        </p:nvSpPr>
        <p:spPr>
          <a:xfrm>
            <a:off x="595402" y="2758272"/>
            <a:ext cx="1975827" cy="1438283"/>
          </a:xfrm>
          <a:prstGeom prst="rect">
            <a:avLst/>
          </a:prstGeom>
          <a:solidFill>
            <a:srgbClr val="0070C0"/>
          </a:solidFill>
          <a:ln>
            <a:noFill/>
          </a:ln>
          <a:effectLst/>
        </p:spPr>
        <p:style>
          <a:lnRef idx="2">
            <a:schemeClr val="accent6">
              <a:shade val="50000"/>
            </a:schemeClr>
          </a:lnRef>
          <a:fillRef idx="1">
            <a:schemeClr val="accent6"/>
          </a:fillRef>
          <a:effectRef idx="0">
            <a:schemeClr val="accent6"/>
          </a:effectRef>
          <a:fontRef idx="minor">
            <a:schemeClr val="lt1"/>
          </a:fontRef>
        </p:style>
        <p:txBody>
          <a:bodyPr lIns="68586" tIns="137172" rIns="68586" bIns="137172" rtlCol="0" anchor="ctr"/>
          <a:lstStyle/>
          <a:p>
            <a:pPr algn="ctr"/>
            <a:r>
              <a:rPr lang="en-GB" sz="2100" dirty="0">
                <a:solidFill>
                  <a:schemeClr val="tx1"/>
                </a:solidFill>
                <a:latin typeface="Segoe UI Light" pitchFamily="34" charset="0"/>
                <a:cs typeface="Segoe UI Light" pitchFamily="34" charset="0"/>
              </a:rPr>
              <a:t>Plus with</a:t>
            </a:r>
            <a:br>
              <a:rPr lang="en-GB" sz="2100" dirty="0">
                <a:solidFill>
                  <a:schemeClr val="tx1"/>
                </a:solidFill>
                <a:latin typeface="Segoe UI Light" pitchFamily="34" charset="0"/>
                <a:cs typeface="Segoe UI Light" pitchFamily="34" charset="0"/>
              </a:rPr>
            </a:br>
            <a:r>
              <a:rPr lang="en-GB" sz="2100" dirty="0">
                <a:solidFill>
                  <a:schemeClr val="tx1"/>
                </a:solidFill>
                <a:latin typeface="Segoe UI Light" pitchFamily="34" charset="0"/>
                <a:cs typeface="Segoe UI Light" pitchFamily="34" charset="0"/>
              </a:rPr>
              <a:t>Private Cloud…</a:t>
            </a:r>
          </a:p>
        </p:txBody>
      </p:sp>
      <p:sp>
        <p:nvSpPr>
          <p:cNvPr id="19" name="Rectangle 18"/>
          <p:cNvSpPr/>
          <p:nvPr/>
        </p:nvSpPr>
        <p:spPr>
          <a:xfrm>
            <a:off x="6597715" y="2758272"/>
            <a:ext cx="1975827" cy="1438283"/>
          </a:xfrm>
          <a:prstGeom prst="rect">
            <a:avLst/>
          </a:prstGeom>
          <a:solidFill>
            <a:srgbClr val="0070C0"/>
          </a:solidFill>
          <a:ln>
            <a:noFill/>
          </a:ln>
          <a:effectLst/>
        </p:spPr>
        <p:style>
          <a:lnRef idx="2">
            <a:schemeClr val="accent6">
              <a:shade val="50000"/>
            </a:schemeClr>
          </a:lnRef>
          <a:fillRef idx="1">
            <a:schemeClr val="accent6"/>
          </a:fillRef>
          <a:effectRef idx="0">
            <a:schemeClr val="accent6"/>
          </a:effectRef>
          <a:fontRef idx="minor">
            <a:schemeClr val="lt1"/>
          </a:fontRef>
        </p:style>
        <p:txBody>
          <a:bodyPr lIns="68586" tIns="137172" rIns="68586" bIns="137172" rtlCol="0" anchor="ctr"/>
          <a:lstStyle/>
          <a:p>
            <a:pPr algn="ctr"/>
            <a:r>
              <a:rPr lang="en-GB" sz="2100" dirty="0">
                <a:solidFill>
                  <a:schemeClr val="tx1"/>
                </a:solidFill>
                <a:latin typeface="Segoe UI Light" pitchFamily="34" charset="0"/>
                <a:cs typeface="Segoe UI Light" pitchFamily="34" charset="0"/>
              </a:rPr>
              <a:t>It’s cloud, </a:t>
            </a:r>
            <a:r>
              <a:rPr lang="en-GB" sz="2100" b="1" dirty="0">
                <a:solidFill>
                  <a:schemeClr val="tx1"/>
                </a:solidFill>
                <a:latin typeface="Segoe UI Light" pitchFamily="34" charset="0"/>
                <a:cs typeface="Segoe UI Light" pitchFamily="34" charset="0"/>
              </a:rPr>
              <a:t>dedicated</a:t>
            </a:r>
            <a:r>
              <a:rPr lang="en-GB" sz="2100" dirty="0">
                <a:solidFill>
                  <a:schemeClr val="tx1"/>
                </a:solidFill>
                <a:latin typeface="Segoe UI Light" pitchFamily="34" charset="0"/>
                <a:cs typeface="Segoe UI Light" pitchFamily="34" charset="0"/>
              </a:rPr>
              <a:t> to you</a:t>
            </a:r>
          </a:p>
        </p:txBody>
      </p:sp>
      <p:grpSp>
        <p:nvGrpSpPr>
          <p:cNvPr id="21" name="Group 20"/>
          <p:cNvGrpSpPr/>
          <p:nvPr/>
        </p:nvGrpSpPr>
        <p:grpSpPr>
          <a:xfrm>
            <a:off x="595402" y="1300940"/>
            <a:ext cx="1975827" cy="1438283"/>
            <a:chOff x="793662" y="1734585"/>
            <a:chExt cx="2633750" cy="1917710"/>
          </a:xfrm>
        </p:grpSpPr>
        <p:sp>
          <p:nvSpPr>
            <p:cNvPr id="7" name="Rectangle 6"/>
            <p:cNvSpPr/>
            <p:nvPr/>
          </p:nvSpPr>
          <p:spPr>
            <a:xfrm>
              <a:off x="793662" y="1734585"/>
              <a:ext cx="2633750" cy="1917710"/>
            </a:xfrm>
            <a:prstGeom prst="rect">
              <a:avLst/>
            </a:prstGeom>
            <a:solidFill>
              <a:schemeClr val="bg2">
                <a:lumMod val="75000"/>
              </a:schemeClr>
            </a:solidFill>
            <a:ln>
              <a:noFill/>
            </a:ln>
            <a:effectLst/>
          </p:spPr>
          <p:style>
            <a:lnRef idx="2">
              <a:schemeClr val="accent6">
                <a:shade val="50000"/>
              </a:schemeClr>
            </a:lnRef>
            <a:fillRef idx="1">
              <a:schemeClr val="accent6"/>
            </a:fillRef>
            <a:effectRef idx="0">
              <a:schemeClr val="accent6"/>
            </a:effectRef>
            <a:fontRef idx="minor">
              <a:schemeClr val="lt1"/>
            </a:fontRef>
          </p:style>
          <p:txBody>
            <a:bodyPr tIns="216000" rtlCol="0" anchor="t"/>
            <a:lstStyle/>
            <a:p>
              <a:pPr algn="ctr"/>
              <a:r>
                <a:rPr lang="en-GB" sz="1800" dirty="0">
                  <a:solidFill>
                    <a:schemeClr val="tx1"/>
                  </a:solidFill>
                  <a:latin typeface="Segoe UI Light" pitchFamily="34" charset="0"/>
                  <a:cs typeface="Segoe UI Light" pitchFamily="34" charset="0"/>
                </a:rPr>
                <a:t>Pooled Resources</a:t>
              </a:r>
            </a:p>
          </p:txBody>
        </p:sp>
        <p:pic>
          <p:nvPicPr>
            <p:cNvPr id="20" name="Picture 7" descr="\\MAGNUM\Projects\Microsoft\Cloud Power FY12\Design\Icons\PNGs\Metering.png"/>
            <p:cNvPicPr>
              <a:picLocks noChangeAspect="1" noChangeArrowheads="1"/>
            </p:cNvPicPr>
            <p:nvPr/>
          </p:nvPicPr>
          <p:blipFill rotWithShape="1">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t="16984" b="15819"/>
            <a:stretch/>
          </p:blipFill>
          <p:spPr bwMode="auto">
            <a:xfrm>
              <a:off x="1293812" y="2362200"/>
              <a:ext cx="1706708" cy="1155700"/>
            </a:xfrm>
            <a:prstGeom prst="rect">
              <a:avLst/>
            </a:prstGeom>
            <a:noFill/>
          </p:spPr>
        </p:pic>
      </p:grpSp>
      <p:grpSp>
        <p:nvGrpSpPr>
          <p:cNvPr id="23" name="Group 22"/>
          <p:cNvGrpSpPr/>
          <p:nvPr/>
        </p:nvGrpSpPr>
        <p:grpSpPr>
          <a:xfrm>
            <a:off x="2596173" y="1300940"/>
            <a:ext cx="1975827" cy="1438283"/>
            <a:chOff x="3460662" y="1734585"/>
            <a:chExt cx="2633750" cy="1917710"/>
          </a:xfrm>
        </p:grpSpPr>
        <p:sp>
          <p:nvSpPr>
            <p:cNvPr id="12" name="Rectangle 11"/>
            <p:cNvSpPr/>
            <p:nvPr/>
          </p:nvSpPr>
          <p:spPr>
            <a:xfrm>
              <a:off x="3460662" y="1734585"/>
              <a:ext cx="2633750" cy="1917710"/>
            </a:xfrm>
            <a:prstGeom prst="rect">
              <a:avLst/>
            </a:prstGeom>
            <a:solidFill>
              <a:schemeClr val="bg2">
                <a:lumMod val="75000"/>
              </a:schemeClr>
            </a:solidFill>
            <a:ln>
              <a:noFill/>
            </a:ln>
            <a:effectLst/>
          </p:spPr>
          <p:style>
            <a:lnRef idx="2">
              <a:schemeClr val="accent6">
                <a:shade val="50000"/>
              </a:schemeClr>
            </a:lnRef>
            <a:fillRef idx="1">
              <a:schemeClr val="accent6"/>
            </a:fillRef>
            <a:effectRef idx="0">
              <a:schemeClr val="accent6"/>
            </a:effectRef>
            <a:fontRef idx="minor">
              <a:schemeClr val="lt1"/>
            </a:fontRef>
          </p:style>
          <p:txBody>
            <a:bodyPr tIns="216000" rtlCol="0" anchor="t"/>
            <a:lstStyle/>
            <a:p>
              <a:pPr algn="ctr"/>
              <a:r>
                <a:rPr lang="en-GB" sz="1800" dirty="0">
                  <a:solidFill>
                    <a:schemeClr val="tx1"/>
                  </a:solidFill>
                  <a:latin typeface="Segoe UI Light" pitchFamily="34" charset="0"/>
                  <a:cs typeface="Segoe UI Light" pitchFamily="34" charset="0"/>
                </a:rPr>
                <a:t>Self-Service</a:t>
              </a:r>
            </a:p>
          </p:txBody>
        </p:sp>
        <p:pic>
          <p:nvPicPr>
            <p:cNvPr id="22" name="Picture 5" descr="\\MAGNUM\Projects\Microsoft\Cloud Power FY12\Design\Icons\PNGs\Self_Service.png"/>
            <p:cNvPicPr>
              <a:picLocks noChangeAspect="1" noChangeArrowheads="1"/>
            </p:cNvPicPr>
            <p:nvPr/>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4069756" y="2186372"/>
              <a:ext cx="1415562" cy="1426476"/>
            </a:xfrm>
            <a:prstGeom prst="rect">
              <a:avLst/>
            </a:prstGeom>
            <a:noFill/>
          </p:spPr>
        </p:pic>
      </p:grpSp>
      <p:grpSp>
        <p:nvGrpSpPr>
          <p:cNvPr id="25" name="Group 24"/>
          <p:cNvGrpSpPr/>
          <p:nvPr/>
        </p:nvGrpSpPr>
        <p:grpSpPr>
          <a:xfrm>
            <a:off x="4596944" y="1300940"/>
            <a:ext cx="1975827" cy="1438283"/>
            <a:chOff x="6127662" y="1734585"/>
            <a:chExt cx="2633750" cy="1917710"/>
          </a:xfrm>
        </p:grpSpPr>
        <p:sp>
          <p:nvSpPr>
            <p:cNvPr id="13" name="Rectangle 12"/>
            <p:cNvSpPr/>
            <p:nvPr/>
          </p:nvSpPr>
          <p:spPr>
            <a:xfrm>
              <a:off x="6127662" y="1734585"/>
              <a:ext cx="2633750" cy="1917710"/>
            </a:xfrm>
            <a:prstGeom prst="rect">
              <a:avLst/>
            </a:prstGeom>
            <a:solidFill>
              <a:schemeClr val="bg2">
                <a:lumMod val="75000"/>
              </a:schemeClr>
            </a:solidFill>
            <a:ln>
              <a:noFill/>
            </a:ln>
            <a:effectLst/>
          </p:spPr>
          <p:style>
            <a:lnRef idx="2">
              <a:schemeClr val="accent6">
                <a:shade val="50000"/>
              </a:schemeClr>
            </a:lnRef>
            <a:fillRef idx="1">
              <a:schemeClr val="accent6"/>
            </a:fillRef>
            <a:effectRef idx="0">
              <a:schemeClr val="accent6"/>
            </a:effectRef>
            <a:fontRef idx="minor">
              <a:schemeClr val="lt1"/>
            </a:fontRef>
          </p:style>
          <p:txBody>
            <a:bodyPr tIns="216000" rtlCol="0" anchor="t"/>
            <a:lstStyle/>
            <a:p>
              <a:pPr algn="ctr"/>
              <a:r>
                <a:rPr lang="en-GB" sz="1800" dirty="0">
                  <a:solidFill>
                    <a:schemeClr val="tx1"/>
                  </a:solidFill>
                  <a:latin typeface="Segoe UI Light" pitchFamily="34" charset="0"/>
                  <a:cs typeface="Segoe UI Light" pitchFamily="34" charset="0"/>
                </a:rPr>
                <a:t>Elastic</a:t>
              </a:r>
            </a:p>
          </p:txBody>
        </p:sp>
        <p:sp>
          <p:nvSpPr>
            <p:cNvPr id="24" name="Left-Right Arrow 23"/>
            <p:cNvSpPr/>
            <p:nvPr/>
          </p:nvSpPr>
          <p:spPr>
            <a:xfrm>
              <a:off x="6551612" y="2590800"/>
              <a:ext cx="1775992" cy="504963"/>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35"/>
              <a:endParaRPr lang="en-US">
                <a:solidFill>
                  <a:srgbClr val="FFFFFF"/>
                </a:solidFill>
                <a:latin typeface="Segoe UI Light" pitchFamily="34" charset="0"/>
                <a:cs typeface="Segoe UI Light" pitchFamily="34" charset="0"/>
              </a:endParaRPr>
            </a:p>
          </p:txBody>
        </p:sp>
      </p:grpSp>
      <p:grpSp>
        <p:nvGrpSpPr>
          <p:cNvPr id="27" name="Group 26"/>
          <p:cNvGrpSpPr/>
          <p:nvPr/>
        </p:nvGrpSpPr>
        <p:grpSpPr>
          <a:xfrm>
            <a:off x="6597715" y="1300940"/>
            <a:ext cx="1975827" cy="1442261"/>
            <a:chOff x="8794662" y="1734585"/>
            <a:chExt cx="2633750" cy="1923015"/>
          </a:xfrm>
        </p:grpSpPr>
        <p:sp>
          <p:nvSpPr>
            <p:cNvPr id="14" name="Rectangle 13"/>
            <p:cNvSpPr/>
            <p:nvPr/>
          </p:nvSpPr>
          <p:spPr>
            <a:xfrm>
              <a:off x="8794662" y="1734585"/>
              <a:ext cx="2633750" cy="1917710"/>
            </a:xfrm>
            <a:prstGeom prst="rect">
              <a:avLst/>
            </a:prstGeom>
            <a:solidFill>
              <a:schemeClr val="bg2">
                <a:lumMod val="75000"/>
              </a:schemeClr>
            </a:solidFill>
            <a:ln>
              <a:noFill/>
            </a:ln>
            <a:effectLst/>
          </p:spPr>
          <p:style>
            <a:lnRef idx="2">
              <a:schemeClr val="accent6">
                <a:shade val="50000"/>
              </a:schemeClr>
            </a:lnRef>
            <a:fillRef idx="1">
              <a:schemeClr val="accent6"/>
            </a:fillRef>
            <a:effectRef idx="0">
              <a:schemeClr val="accent6"/>
            </a:effectRef>
            <a:fontRef idx="minor">
              <a:schemeClr val="lt1"/>
            </a:fontRef>
          </p:style>
          <p:txBody>
            <a:bodyPr tIns="216000" rtlCol="0" anchor="t"/>
            <a:lstStyle/>
            <a:p>
              <a:pPr algn="ctr"/>
              <a:r>
                <a:rPr lang="en-GB" sz="1800" dirty="0">
                  <a:solidFill>
                    <a:schemeClr val="tx1"/>
                  </a:solidFill>
                  <a:latin typeface="Segoe UI Light" pitchFamily="34" charset="0"/>
                  <a:cs typeface="Segoe UI Light" pitchFamily="34" charset="0"/>
                </a:rPr>
                <a:t>Usage Based</a:t>
              </a:r>
            </a:p>
          </p:txBody>
        </p:sp>
        <p:pic>
          <p:nvPicPr>
            <p:cNvPr id="26" name="Picture 4" descr="\\MAGNUM\Projects\Microsoft\Cloud Power FY12\Design\Icons\PNGs\Scalable_Elastic_4.png"/>
            <p:cNvPicPr>
              <a:picLocks noChangeAspect="1" noChangeArrowheads="1"/>
            </p:cNvPicPr>
            <p:nvPr/>
          </p:nvPicPr>
          <p:blipFill>
            <a:blip r:embed="rId6" cstate="email">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a:ext>
              </a:extLst>
            </a:blip>
            <a:stretch>
              <a:fillRect/>
            </a:stretch>
          </p:blipFill>
          <p:spPr bwMode="auto">
            <a:xfrm>
              <a:off x="9390800" y="2141792"/>
              <a:ext cx="1504211" cy="1515808"/>
            </a:xfrm>
            <a:prstGeom prst="rect">
              <a:avLst/>
            </a:prstGeom>
            <a:noFill/>
          </p:spPr>
        </p:pic>
      </p:grpSp>
      <p:grpSp>
        <p:nvGrpSpPr>
          <p:cNvPr id="29" name="Group 28"/>
          <p:cNvGrpSpPr/>
          <p:nvPr/>
        </p:nvGrpSpPr>
        <p:grpSpPr>
          <a:xfrm>
            <a:off x="2596173" y="2758272"/>
            <a:ext cx="1975827" cy="1438283"/>
            <a:chOff x="3460662" y="3677695"/>
            <a:chExt cx="2633750" cy="1917710"/>
          </a:xfrm>
        </p:grpSpPr>
        <p:sp>
          <p:nvSpPr>
            <p:cNvPr id="17" name="Rectangle 16"/>
            <p:cNvSpPr/>
            <p:nvPr/>
          </p:nvSpPr>
          <p:spPr>
            <a:xfrm>
              <a:off x="3460662" y="3677695"/>
              <a:ext cx="2633750" cy="1917710"/>
            </a:xfrm>
            <a:prstGeom prst="rect">
              <a:avLst/>
            </a:prstGeom>
            <a:solidFill>
              <a:schemeClr val="bg2">
                <a:lumMod val="75000"/>
              </a:schemeClr>
            </a:solidFill>
            <a:ln>
              <a:noFill/>
            </a:ln>
            <a:effectLst/>
          </p:spPr>
          <p:style>
            <a:lnRef idx="2">
              <a:schemeClr val="accent6">
                <a:shade val="50000"/>
              </a:schemeClr>
            </a:lnRef>
            <a:fillRef idx="1">
              <a:schemeClr val="accent6"/>
            </a:fillRef>
            <a:effectRef idx="0">
              <a:schemeClr val="accent6"/>
            </a:effectRef>
            <a:fontRef idx="minor">
              <a:schemeClr val="lt1"/>
            </a:fontRef>
          </p:style>
          <p:txBody>
            <a:bodyPr tIns="216000" rtlCol="0" anchor="t"/>
            <a:lstStyle/>
            <a:p>
              <a:pPr algn="ctr"/>
              <a:r>
                <a:rPr lang="en-GB" sz="1800" dirty="0">
                  <a:solidFill>
                    <a:schemeClr val="tx1"/>
                  </a:solidFill>
                  <a:latin typeface="Segoe UI Light" pitchFamily="34" charset="0"/>
                  <a:cs typeface="Segoe UI Light" pitchFamily="34" charset="0"/>
                </a:rPr>
                <a:t>Control</a:t>
              </a:r>
            </a:p>
          </p:txBody>
        </p:sp>
        <p:pic>
          <p:nvPicPr>
            <p:cNvPr id="28" name="Picture 2"/>
            <p:cNvPicPr>
              <a:picLocks noChangeAspect="1" noChangeArrowheads="1"/>
            </p:cNvPicPr>
            <p:nvPr/>
          </p:nvPicPr>
          <p:blipFill>
            <a:blip r:embed="rId8" cstate="email">
              <a:lum bright="100000"/>
              <a:extLst>
                <a:ext uri="{28A0092B-C50C-407E-A947-70E740481C1C}">
                  <a14:useLocalDpi xmlns:a14="http://schemas.microsoft.com/office/drawing/2010/main"/>
                </a:ext>
              </a:extLst>
            </a:blip>
            <a:srcRect/>
            <a:stretch>
              <a:fillRect/>
            </a:stretch>
          </p:blipFill>
          <p:spPr bwMode="auto">
            <a:xfrm>
              <a:off x="4494212" y="4329303"/>
              <a:ext cx="634365" cy="1004697"/>
            </a:xfrm>
            <a:prstGeom prst="rect">
              <a:avLst/>
            </a:prstGeom>
            <a:noFill/>
            <a:ln w="9525">
              <a:noFill/>
              <a:miter lim="800000"/>
              <a:headEnd/>
              <a:tailEnd/>
            </a:ln>
            <a:effectLst/>
          </p:spPr>
        </p:pic>
      </p:grpSp>
      <p:grpSp>
        <p:nvGrpSpPr>
          <p:cNvPr id="31" name="Group 30"/>
          <p:cNvGrpSpPr/>
          <p:nvPr/>
        </p:nvGrpSpPr>
        <p:grpSpPr>
          <a:xfrm>
            <a:off x="4596944" y="2758272"/>
            <a:ext cx="1975827" cy="1438283"/>
            <a:chOff x="6127662" y="3677695"/>
            <a:chExt cx="2633750" cy="1917710"/>
          </a:xfrm>
        </p:grpSpPr>
        <p:sp>
          <p:nvSpPr>
            <p:cNvPr id="18" name="Rectangle 17"/>
            <p:cNvSpPr/>
            <p:nvPr/>
          </p:nvSpPr>
          <p:spPr>
            <a:xfrm>
              <a:off x="6127662" y="3677695"/>
              <a:ext cx="2633750" cy="1917710"/>
            </a:xfrm>
            <a:prstGeom prst="rect">
              <a:avLst/>
            </a:prstGeom>
            <a:solidFill>
              <a:schemeClr val="bg2">
                <a:lumMod val="75000"/>
              </a:schemeClr>
            </a:solidFill>
            <a:ln>
              <a:noFill/>
            </a:ln>
            <a:effectLst/>
          </p:spPr>
          <p:style>
            <a:lnRef idx="2">
              <a:schemeClr val="accent6">
                <a:shade val="50000"/>
              </a:schemeClr>
            </a:lnRef>
            <a:fillRef idx="1">
              <a:schemeClr val="accent6"/>
            </a:fillRef>
            <a:effectRef idx="0">
              <a:schemeClr val="accent6"/>
            </a:effectRef>
            <a:fontRef idx="minor">
              <a:schemeClr val="lt1"/>
            </a:fontRef>
          </p:style>
          <p:txBody>
            <a:bodyPr tIns="216000" rtlCol="0" anchor="t"/>
            <a:lstStyle/>
            <a:p>
              <a:pPr algn="ctr"/>
              <a:r>
                <a:rPr lang="en-GB" sz="1800" dirty="0">
                  <a:solidFill>
                    <a:schemeClr val="tx1"/>
                  </a:solidFill>
                  <a:latin typeface="Segoe UI Light" pitchFamily="34" charset="0"/>
                  <a:cs typeface="Segoe UI Light" pitchFamily="34" charset="0"/>
                </a:rPr>
                <a:t>Customizable</a:t>
              </a:r>
            </a:p>
          </p:txBody>
        </p:sp>
        <p:pic>
          <p:nvPicPr>
            <p:cNvPr id="30" name="Picture 5" descr="\\MAGNUM\Projects\Microsoft\Cloud Power FY12\Design\Icons\PNGs\Self_Service.png"/>
            <p:cNvPicPr>
              <a:picLocks noChangeAspect="1" noChangeArrowheads="1"/>
            </p:cNvPicPr>
            <p:nvPr/>
          </p:nvPicPr>
          <p:blipFill>
            <a:blip r:embed="rId9" cstate="email">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tretch>
              <a:fillRect/>
            </a:stretch>
          </p:blipFill>
          <p:spPr bwMode="auto">
            <a:xfrm>
              <a:off x="6741536" y="4191000"/>
              <a:ext cx="1334076" cy="1313760"/>
            </a:xfrm>
            <a:prstGeom prst="rect">
              <a:avLst/>
            </a:prstGeom>
            <a:noFill/>
          </p:spPr>
        </p:pic>
      </p:grpSp>
      <p:sp>
        <p:nvSpPr>
          <p:cNvPr id="32"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3"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1"/>
              </a:rPr>
              <a:t>www.rapidbbs.cn</a:t>
            </a:r>
            <a:endParaRPr lang="zh-CN" altLang="en-US" sz="1200" b="0">
              <a:latin typeface="Arial" charset="0"/>
              <a:ea typeface="ＭＳ Ｐゴシック" pitchFamily="34" charset="-128"/>
            </a:endParaRPr>
          </a:p>
        </p:txBody>
      </p:sp>
      <p:pic>
        <p:nvPicPr>
          <p:cNvPr id="34" name="Picture 2">
            <a:hlinkClick r:id="rId11"/>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7863215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750"/>
                                        <p:tgtEl>
                                          <p:spTgt spid="21"/>
                                        </p:tgtEl>
                                      </p:cBhvr>
                                    </p:animEffect>
                                    <p:anim calcmode="lin" valueType="num">
                                      <p:cBhvr>
                                        <p:cTn id="8" dur="750" fill="hold"/>
                                        <p:tgtEl>
                                          <p:spTgt spid="21"/>
                                        </p:tgtEl>
                                        <p:attrNameLst>
                                          <p:attrName>ppt_x</p:attrName>
                                        </p:attrNameLst>
                                      </p:cBhvr>
                                      <p:tavLst>
                                        <p:tav tm="0">
                                          <p:val>
                                            <p:strVal val="#ppt_x"/>
                                          </p:val>
                                        </p:tav>
                                        <p:tav tm="100000">
                                          <p:val>
                                            <p:strVal val="#ppt_x"/>
                                          </p:val>
                                        </p:tav>
                                      </p:tavLst>
                                    </p:anim>
                                    <p:anim calcmode="lin" valueType="num">
                                      <p:cBhvr>
                                        <p:cTn id="9" dur="750" fill="hold"/>
                                        <p:tgtEl>
                                          <p:spTgt spid="21"/>
                                        </p:tgtEl>
                                        <p:attrNameLst>
                                          <p:attrName>ppt_y</p:attrName>
                                        </p:attrNameLst>
                                      </p:cBhvr>
                                      <p:tavLst>
                                        <p:tav tm="0">
                                          <p:val>
                                            <p:strVal val="#ppt_y-.1"/>
                                          </p:val>
                                        </p:tav>
                                        <p:tav tm="100000">
                                          <p:val>
                                            <p:strVal val="#ppt_y"/>
                                          </p:val>
                                        </p:tav>
                                      </p:tavLst>
                                    </p:anim>
                                  </p:childTnLst>
                                </p:cTn>
                              </p:par>
                            </p:childTnLst>
                          </p:cTn>
                        </p:par>
                        <p:par>
                          <p:cTn id="10" fill="hold">
                            <p:stCondLst>
                              <p:cond delay="750"/>
                            </p:stCondLst>
                            <p:childTnLst>
                              <p:par>
                                <p:cTn id="11" presetID="47" presetClass="entr" presetSubtype="0" fill="hold" nodeType="afterEffect">
                                  <p:stCondLst>
                                    <p:cond delay="0"/>
                                  </p:stCondLst>
                                  <p:childTnLst>
                                    <p:set>
                                      <p:cBhvr>
                                        <p:cTn id="12" dur="1" fill="hold">
                                          <p:stCondLst>
                                            <p:cond delay="0"/>
                                          </p:stCondLst>
                                        </p:cTn>
                                        <p:tgtEl>
                                          <p:spTgt spid="23"/>
                                        </p:tgtEl>
                                        <p:attrNameLst>
                                          <p:attrName>style.visibility</p:attrName>
                                        </p:attrNameLst>
                                      </p:cBhvr>
                                      <p:to>
                                        <p:strVal val="visible"/>
                                      </p:to>
                                    </p:set>
                                    <p:animEffect transition="in" filter="fade">
                                      <p:cBhvr>
                                        <p:cTn id="13" dur="750"/>
                                        <p:tgtEl>
                                          <p:spTgt spid="23"/>
                                        </p:tgtEl>
                                      </p:cBhvr>
                                    </p:animEffect>
                                    <p:anim calcmode="lin" valueType="num">
                                      <p:cBhvr>
                                        <p:cTn id="14" dur="750" fill="hold"/>
                                        <p:tgtEl>
                                          <p:spTgt spid="23"/>
                                        </p:tgtEl>
                                        <p:attrNameLst>
                                          <p:attrName>ppt_x</p:attrName>
                                        </p:attrNameLst>
                                      </p:cBhvr>
                                      <p:tavLst>
                                        <p:tav tm="0">
                                          <p:val>
                                            <p:strVal val="#ppt_x"/>
                                          </p:val>
                                        </p:tav>
                                        <p:tav tm="100000">
                                          <p:val>
                                            <p:strVal val="#ppt_x"/>
                                          </p:val>
                                        </p:tav>
                                      </p:tavLst>
                                    </p:anim>
                                    <p:anim calcmode="lin" valueType="num">
                                      <p:cBhvr>
                                        <p:cTn id="15" dur="750" fill="hold"/>
                                        <p:tgtEl>
                                          <p:spTgt spid="23"/>
                                        </p:tgtEl>
                                        <p:attrNameLst>
                                          <p:attrName>ppt_y</p:attrName>
                                        </p:attrNameLst>
                                      </p:cBhvr>
                                      <p:tavLst>
                                        <p:tav tm="0">
                                          <p:val>
                                            <p:strVal val="#ppt_y-.1"/>
                                          </p:val>
                                        </p:tav>
                                        <p:tav tm="100000">
                                          <p:val>
                                            <p:strVal val="#ppt_y"/>
                                          </p:val>
                                        </p:tav>
                                      </p:tavLst>
                                    </p:anim>
                                  </p:childTnLst>
                                </p:cTn>
                              </p:par>
                            </p:childTnLst>
                          </p:cTn>
                        </p:par>
                        <p:par>
                          <p:cTn id="16" fill="hold">
                            <p:stCondLst>
                              <p:cond delay="1500"/>
                            </p:stCondLst>
                            <p:childTnLst>
                              <p:par>
                                <p:cTn id="17" presetID="47" presetClass="entr" presetSubtype="0" fill="hold" nodeType="afterEffect">
                                  <p:stCondLst>
                                    <p:cond delay="0"/>
                                  </p:stCondLst>
                                  <p:childTnLst>
                                    <p:set>
                                      <p:cBhvr>
                                        <p:cTn id="18" dur="1" fill="hold">
                                          <p:stCondLst>
                                            <p:cond delay="0"/>
                                          </p:stCondLst>
                                        </p:cTn>
                                        <p:tgtEl>
                                          <p:spTgt spid="25"/>
                                        </p:tgtEl>
                                        <p:attrNameLst>
                                          <p:attrName>style.visibility</p:attrName>
                                        </p:attrNameLst>
                                      </p:cBhvr>
                                      <p:to>
                                        <p:strVal val="visible"/>
                                      </p:to>
                                    </p:set>
                                    <p:animEffect transition="in" filter="fade">
                                      <p:cBhvr>
                                        <p:cTn id="19" dur="750"/>
                                        <p:tgtEl>
                                          <p:spTgt spid="25"/>
                                        </p:tgtEl>
                                      </p:cBhvr>
                                    </p:animEffect>
                                    <p:anim calcmode="lin" valueType="num">
                                      <p:cBhvr>
                                        <p:cTn id="20" dur="750" fill="hold"/>
                                        <p:tgtEl>
                                          <p:spTgt spid="25"/>
                                        </p:tgtEl>
                                        <p:attrNameLst>
                                          <p:attrName>ppt_x</p:attrName>
                                        </p:attrNameLst>
                                      </p:cBhvr>
                                      <p:tavLst>
                                        <p:tav tm="0">
                                          <p:val>
                                            <p:strVal val="#ppt_x"/>
                                          </p:val>
                                        </p:tav>
                                        <p:tav tm="100000">
                                          <p:val>
                                            <p:strVal val="#ppt_x"/>
                                          </p:val>
                                        </p:tav>
                                      </p:tavLst>
                                    </p:anim>
                                    <p:anim calcmode="lin" valueType="num">
                                      <p:cBhvr>
                                        <p:cTn id="21" dur="750" fill="hold"/>
                                        <p:tgtEl>
                                          <p:spTgt spid="25"/>
                                        </p:tgtEl>
                                        <p:attrNameLst>
                                          <p:attrName>ppt_y</p:attrName>
                                        </p:attrNameLst>
                                      </p:cBhvr>
                                      <p:tavLst>
                                        <p:tav tm="0">
                                          <p:val>
                                            <p:strVal val="#ppt_y-.1"/>
                                          </p:val>
                                        </p:tav>
                                        <p:tav tm="100000">
                                          <p:val>
                                            <p:strVal val="#ppt_y"/>
                                          </p:val>
                                        </p:tav>
                                      </p:tavLst>
                                    </p:anim>
                                  </p:childTnLst>
                                </p:cTn>
                              </p:par>
                            </p:childTnLst>
                          </p:cTn>
                        </p:par>
                        <p:par>
                          <p:cTn id="22" fill="hold">
                            <p:stCondLst>
                              <p:cond delay="2250"/>
                            </p:stCondLst>
                            <p:childTnLst>
                              <p:par>
                                <p:cTn id="23" presetID="47" presetClass="entr" presetSubtype="0" fill="hold" nodeType="afterEffect">
                                  <p:stCondLst>
                                    <p:cond delay="0"/>
                                  </p:stCondLst>
                                  <p:childTnLst>
                                    <p:set>
                                      <p:cBhvr>
                                        <p:cTn id="24" dur="1" fill="hold">
                                          <p:stCondLst>
                                            <p:cond delay="0"/>
                                          </p:stCondLst>
                                        </p:cTn>
                                        <p:tgtEl>
                                          <p:spTgt spid="27"/>
                                        </p:tgtEl>
                                        <p:attrNameLst>
                                          <p:attrName>style.visibility</p:attrName>
                                        </p:attrNameLst>
                                      </p:cBhvr>
                                      <p:to>
                                        <p:strVal val="visible"/>
                                      </p:to>
                                    </p:set>
                                    <p:animEffect transition="in" filter="fade">
                                      <p:cBhvr>
                                        <p:cTn id="25" dur="750"/>
                                        <p:tgtEl>
                                          <p:spTgt spid="27"/>
                                        </p:tgtEl>
                                      </p:cBhvr>
                                    </p:animEffect>
                                    <p:anim calcmode="lin" valueType="num">
                                      <p:cBhvr>
                                        <p:cTn id="26" dur="750" fill="hold"/>
                                        <p:tgtEl>
                                          <p:spTgt spid="27"/>
                                        </p:tgtEl>
                                        <p:attrNameLst>
                                          <p:attrName>ppt_x</p:attrName>
                                        </p:attrNameLst>
                                      </p:cBhvr>
                                      <p:tavLst>
                                        <p:tav tm="0">
                                          <p:val>
                                            <p:strVal val="#ppt_x"/>
                                          </p:val>
                                        </p:tav>
                                        <p:tav tm="100000">
                                          <p:val>
                                            <p:strVal val="#ppt_x"/>
                                          </p:val>
                                        </p:tav>
                                      </p:tavLst>
                                    </p:anim>
                                    <p:anim calcmode="lin" valueType="num">
                                      <p:cBhvr>
                                        <p:cTn id="27" dur="750" fill="hold"/>
                                        <p:tgtEl>
                                          <p:spTgt spid="27"/>
                                        </p:tgtEl>
                                        <p:attrNameLst>
                                          <p:attrName>ppt_y</p:attrName>
                                        </p:attrNameLst>
                                      </p:cBhvr>
                                      <p:tavLst>
                                        <p:tav tm="0">
                                          <p:val>
                                            <p:strVal val="#ppt_y-.1"/>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22" presetClass="entr" presetSubtype="1" fill="hold" grpId="0" nodeType="clickEffect">
                                  <p:stCondLst>
                                    <p:cond delay="0"/>
                                  </p:stCondLst>
                                  <p:childTnLst>
                                    <p:set>
                                      <p:cBhvr>
                                        <p:cTn id="31" dur="1" fill="hold">
                                          <p:stCondLst>
                                            <p:cond delay="0"/>
                                          </p:stCondLst>
                                        </p:cTn>
                                        <p:tgtEl>
                                          <p:spTgt spid="16"/>
                                        </p:tgtEl>
                                        <p:attrNameLst>
                                          <p:attrName>style.visibility</p:attrName>
                                        </p:attrNameLst>
                                      </p:cBhvr>
                                      <p:to>
                                        <p:strVal val="visible"/>
                                      </p:to>
                                    </p:set>
                                    <p:animEffect transition="in" filter="wipe(up)">
                                      <p:cBhvr>
                                        <p:cTn id="32" dur="500"/>
                                        <p:tgtEl>
                                          <p:spTgt spid="16"/>
                                        </p:tgtEl>
                                      </p:cBhvr>
                                    </p:animEffect>
                                  </p:childTnLst>
                                </p:cTn>
                              </p:par>
                            </p:childTnLst>
                          </p:cTn>
                        </p:par>
                        <p:par>
                          <p:cTn id="33" fill="hold">
                            <p:stCondLst>
                              <p:cond delay="500"/>
                            </p:stCondLst>
                            <p:childTnLst>
                              <p:par>
                                <p:cTn id="34" presetID="22" presetClass="entr" presetSubtype="8" fill="hold" nodeType="afterEffect">
                                  <p:stCondLst>
                                    <p:cond delay="0"/>
                                  </p:stCondLst>
                                  <p:childTnLst>
                                    <p:set>
                                      <p:cBhvr>
                                        <p:cTn id="35" dur="1" fill="hold">
                                          <p:stCondLst>
                                            <p:cond delay="0"/>
                                          </p:stCondLst>
                                        </p:cTn>
                                        <p:tgtEl>
                                          <p:spTgt spid="29"/>
                                        </p:tgtEl>
                                        <p:attrNameLst>
                                          <p:attrName>style.visibility</p:attrName>
                                        </p:attrNameLst>
                                      </p:cBhvr>
                                      <p:to>
                                        <p:strVal val="visible"/>
                                      </p:to>
                                    </p:set>
                                    <p:animEffect transition="in" filter="wipe(left)">
                                      <p:cBhvr>
                                        <p:cTn id="36" dur="500"/>
                                        <p:tgtEl>
                                          <p:spTgt spid="29"/>
                                        </p:tgtEl>
                                      </p:cBhvr>
                                    </p:animEffect>
                                  </p:childTnLst>
                                </p:cTn>
                              </p:par>
                            </p:childTnLst>
                          </p:cTn>
                        </p:par>
                        <p:par>
                          <p:cTn id="37" fill="hold">
                            <p:stCondLst>
                              <p:cond delay="1000"/>
                            </p:stCondLst>
                            <p:childTnLst>
                              <p:par>
                                <p:cTn id="38" presetID="22" presetClass="entr" presetSubtype="8" fill="hold" nodeType="afterEffect">
                                  <p:stCondLst>
                                    <p:cond delay="0"/>
                                  </p:stCondLst>
                                  <p:childTnLst>
                                    <p:set>
                                      <p:cBhvr>
                                        <p:cTn id="39" dur="1" fill="hold">
                                          <p:stCondLst>
                                            <p:cond delay="0"/>
                                          </p:stCondLst>
                                        </p:cTn>
                                        <p:tgtEl>
                                          <p:spTgt spid="31"/>
                                        </p:tgtEl>
                                        <p:attrNameLst>
                                          <p:attrName>style.visibility</p:attrName>
                                        </p:attrNameLst>
                                      </p:cBhvr>
                                      <p:to>
                                        <p:strVal val="visible"/>
                                      </p:to>
                                    </p:set>
                                    <p:animEffect transition="in" filter="wipe(left)">
                                      <p:cBhvr>
                                        <p:cTn id="40" dur="500"/>
                                        <p:tgtEl>
                                          <p:spTgt spid="31"/>
                                        </p:tgtEl>
                                      </p:cBhvr>
                                    </p:animEffect>
                                  </p:childTnLst>
                                </p:cTn>
                              </p:par>
                            </p:childTnLst>
                          </p:cTn>
                        </p:par>
                        <p:par>
                          <p:cTn id="41" fill="hold">
                            <p:stCondLst>
                              <p:cond delay="1500"/>
                            </p:stCondLst>
                            <p:childTnLst>
                              <p:par>
                                <p:cTn id="42" presetID="10" presetClass="entr" presetSubtype="0" fill="hold" grpId="0" nodeType="afterEffect">
                                  <p:stCondLst>
                                    <p:cond delay="0"/>
                                  </p:stCondLst>
                                  <p:childTnLst>
                                    <p:set>
                                      <p:cBhvr>
                                        <p:cTn id="43" dur="1" fill="hold">
                                          <p:stCondLst>
                                            <p:cond delay="0"/>
                                          </p:stCondLst>
                                        </p:cTn>
                                        <p:tgtEl>
                                          <p:spTgt spid="19"/>
                                        </p:tgtEl>
                                        <p:attrNameLst>
                                          <p:attrName>style.visibility</p:attrName>
                                        </p:attrNameLst>
                                      </p:cBhvr>
                                      <p:to>
                                        <p:strVal val="visible"/>
                                      </p:to>
                                    </p:set>
                                    <p:animEffect transition="in" filter="fade">
                                      <p:cBhvr>
                                        <p:cTn id="44"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9"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6"/>
            <a:ext cx="8363938" cy="457049"/>
          </a:xfrm>
        </p:spPr>
        <p:txBody>
          <a:bodyPr/>
          <a:lstStyle/>
          <a:p>
            <a:r>
              <a:rPr lang="en-US" dirty="0" smtClean="0"/>
              <a:t>Datacenter Services</a:t>
            </a:r>
            <a:endParaRPr lang="en-US" sz="2700" dirty="0">
              <a:solidFill>
                <a:schemeClr val="accent2">
                  <a:alpha val="99000"/>
                </a:schemeClr>
              </a:solidFill>
            </a:endParaRPr>
          </a:p>
        </p:txBody>
      </p:sp>
      <p:sp>
        <p:nvSpPr>
          <p:cNvPr id="4" name="Rectangle 3"/>
          <p:cNvSpPr>
            <a:spLocks noChangeArrowheads="1"/>
          </p:cNvSpPr>
          <p:nvPr/>
        </p:nvSpPr>
        <p:spPr bwMode="auto">
          <a:xfrm>
            <a:off x="6494198" y="2292512"/>
            <a:ext cx="1622024" cy="2562240"/>
          </a:xfrm>
          <a:prstGeom prst="rect">
            <a:avLst/>
          </a:prstGeom>
          <a:noFill/>
          <a:ln w="9525">
            <a:noFill/>
            <a:miter lim="800000"/>
            <a:headEnd/>
            <a:tailEnd/>
          </a:ln>
        </p:spPr>
        <p:txBody>
          <a:bodyPr wrap="square" lIns="68571" tIns="34286" rIns="68571" bIns="34286">
            <a:spAutoFit/>
          </a:bodyPr>
          <a:lstStyle/>
          <a:p>
            <a:r>
              <a:rPr lang="en-US" sz="1800" b="1" dirty="0">
                <a:cs typeface="Segoe UI" charset="0"/>
              </a:rPr>
              <a:t>Extensible Platform</a:t>
            </a:r>
          </a:p>
          <a:p>
            <a:endParaRPr lang="en-US" sz="1800" b="1" dirty="0">
              <a:cs typeface="Segoe UI" charset="0"/>
            </a:endParaRPr>
          </a:p>
          <a:p>
            <a:endParaRPr lang="en-US" sz="1800" b="1" dirty="0">
              <a:cs typeface="Segoe UI" charset="0"/>
            </a:endParaRPr>
          </a:p>
          <a:p>
            <a:r>
              <a:rPr lang="en-US" sz="1500" dirty="0">
                <a:cs typeface="Segoe UI" charset="0"/>
              </a:rPr>
              <a:t>Solution platform provides capability for extensions and value-added services</a:t>
            </a:r>
            <a:endParaRPr lang="en-US" sz="1500" b="1" dirty="0">
              <a:cs typeface="Segoe UI" charset="0"/>
            </a:endParaRPr>
          </a:p>
        </p:txBody>
      </p:sp>
      <p:sp>
        <p:nvSpPr>
          <p:cNvPr id="5" name="Rectangle 4"/>
          <p:cNvSpPr>
            <a:spLocks noChangeArrowheads="1"/>
          </p:cNvSpPr>
          <p:nvPr/>
        </p:nvSpPr>
        <p:spPr bwMode="auto">
          <a:xfrm>
            <a:off x="4521773" y="2292519"/>
            <a:ext cx="1629436" cy="2331407"/>
          </a:xfrm>
          <a:prstGeom prst="rect">
            <a:avLst/>
          </a:prstGeom>
          <a:noFill/>
          <a:ln w="9525">
            <a:noFill/>
            <a:miter lim="800000"/>
            <a:headEnd/>
            <a:tailEnd/>
          </a:ln>
        </p:spPr>
        <p:txBody>
          <a:bodyPr wrap="square" lIns="68571" tIns="34286" rIns="68571" bIns="34286">
            <a:spAutoFit/>
          </a:bodyPr>
          <a:lstStyle/>
          <a:p>
            <a:r>
              <a:rPr lang="en-US" sz="1800" b="1" dirty="0">
                <a:cs typeface="Segoe UI" charset="0"/>
              </a:rPr>
              <a:t>Service Delivery Best Practices</a:t>
            </a:r>
          </a:p>
          <a:p>
            <a:endParaRPr lang="en-US" sz="1800" b="1" dirty="0">
              <a:cs typeface="Segoe UI" charset="0"/>
            </a:endParaRPr>
          </a:p>
          <a:p>
            <a:r>
              <a:rPr lang="en-US" sz="1500" dirty="0">
                <a:cs typeface="Segoe UI" charset="0"/>
              </a:rPr>
              <a:t>Best practices for operating datacenters from Microsoft Cloud Services</a:t>
            </a:r>
            <a:endParaRPr lang="en-US" sz="1500" b="1" dirty="0">
              <a:cs typeface="Segoe UI" charset="0"/>
            </a:endParaRPr>
          </a:p>
        </p:txBody>
      </p:sp>
      <p:sp>
        <p:nvSpPr>
          <p:cNvPr id="6" name="Rectangle 5"/>
          <p:cNvSpPr>
            <a:spLocks noChangeArrowheads="1"/>
          </p:cNvSpPr>
          <p:nvPr/>
        </p:nvSpPr>
        <p:spPr bwMode="auto">
          <a:xfrm>
            <a:off x="2505867" y="2292512"/>
            <a:ext cx="1494484" cy="2516074"/>
          </a:xfrm>
          <a:prstGeom prst="rect">
            <a:avLst/>
          </a:prstGeom>
          <a:noFill/>
          <a:ln w="9525">
            <a:noFill/>
            <a:miter lim="800000"/>
            <a:headEnd/>
            <a:tailEnd/>
          </a:ln>
        </p:spPr>
        <p:txBody>
          <a:bodyPr wrap="square" lIns="68571" tIns="34286" rIns="68571" bIns="34286">
            <a:spAutoFit/>
          </a:bodyPr>
          <a:lstStyle/>
          <a:p>
            <a:r>
              <a:rPr lang="en-US" sz="1800" b="1" dirty="0">
                <a:cs typeface="Segoe UI" charset="0"/>
              </a:rPr>
              <a:t>Deployment Framework</a:t>
            </a:r>
          </a:p>
          <a:p>
            <a:endParaRPr lang="en-US" sz="1800" b="1" dirty="0">
              <a:cs typeface="Segoe UI" charset="0"/>
            </a:endParaRPr>
          </a:p>
          <a:p>
            <a:endParaRPr lang="en-US" sz="1500" dirty="0">
              <a:cs typeface="Segoe UI" charset="0"/>
            </a:endParaRPr>
          </a:p>
          <a:p>
            <a:r>
              <a:rPr lang="en-US" sz="1500" dirty="0">
                <a:cs typeface="Segoe UI" charset="0"/>
              </a:rPr>
              <a:t>Frameworks for assessing, planning, and deploying datacenter capabilities</a:t>
            </a:r>
            <a:endParaRPr lang="en-US" sz="1500" b="1" dirty="0">
              <a:cs typeface="Segoe UI" charset="0"/>
            </a:endParaRPr>
          </a:p>
        </p:txBody>
      </p:sp>
      <p:sp>
        <p:nvSpPr>
          <p:cNvPr id="7" name="Rectangle 6"/>
          <p:cNvSpPr>
            <a:spLocks noChangeArrowheads="1"/>
          </p:cNvSpPr>
          <p:nvPr/>
        </p:nvSpPr>
        <p:spPr bwMode="auto">
          <a:xfrm>
            <a:off x="524547" y="2292512"/>
            <a:ext cx="1646527" cy="2562240"/>
          </a:xfrm>
          <a:prstGeom prst="rect">
            <a:avLst/>
          </a:prstGeom>
          <a:noFill/>
          <a:ln w="9525">
            <a:noFill/>
            <a:miter lim="800000"/>
            <a:headEnd/>
            <a:tailEnd/>
          </a:ln>
        </p:spPr>
        <p:txBody>
          <a:bodyPr wrap="square" lIns="68571" tIns="34286" rIns="68571" bIns="34286">
            <a:spAutoFit/>
          </a:bodyPr>
          <a:lstStyle/>
          <a:p>
            <a:r>
              <a:rPr lang="en-US" sz="1800" b="1" dirty="0">
                <a:cs typeface="Segoe UI" charset="0"/>
              </a:rPr>
              <a:t>Packaged Services</a:t>
            </a:r>
          </a:p>
          <a:p>
            <a:endParaRPr lang="en-US" sz="1800" b="1" dirty="0">
              <a:cs typeface="Segoe UI" charset="0"/>
            </a:endParaRPr>
          </a:p>
          <a:p>
            <a:endParaRPr lang="en-US" sz="1800" b="1" dirty="0">
              <a:cs typeface="Segoe UI" charset="0"/>
            </a:endParaRPr>
          </a:p>
          <a:p>
            <a:r>
              <a:rPr lang="en-US" sz="1500" dirty="0">
                <a:cs typeface="Segoe UI" charset="0"/>
              </a:rPr>
              <a:t>Packaged solution for deploying highly-automated datacenter and cloud services</a:t>
            </a:r>
          </a:p>
        </p:txBody>
      </p:sp>
      <p:pic>
        <p:nvPicPr>
          <p:cNvPr id="8" name="Picture 4" descr="\\MAGNUM\Projects\Microsoft\Cloud Power FY12\Design\ICONS_PNG\Private_Cloud.png"/>
          <p:cNvPicPr>
            <a:picLocks noChangeAspect="1" noChangeArrowheads="1"/>
          </p:cNvPicPr>
          <p:nvPr/>
        </p:nvPicPr>
        <p:blipFill>
          <a:blip r:embed="rId2" cstate="print">
            <a:lum bright="70000" contrast="-70000"/>
            <a:extLst>
              <a:ext uri="{BEBA8EAE-BF5A-486C-A8C5-ECC9F3942E4B}">
                <a14:imgProps xmlns:a14="http://schemas.microsoft.com/office/drawing/2010/main">
                  <a14:imgLayer r:embed="rId3">
                    <a14:imgEffect>
                      <a14:saturation sat="33000"/>
                    </a14:imgEffect>
                  </a14:imgLayer>
                </a14:imgProps>
              </a:ext>
            </a:extLst>
          </a:blip>
          <a:srcRect/>
          <a:stretch>
            <a:fillRect/>
          </a:stretch>
        </p:blipFill>
        <p:spPr bwMode="auto">
          <a:xfrm>
            <a:off x="647074" y="1051467"/>
            <a:ext cx="1371957" cy="1371600"/>
          </a:xfrm>
          <a:prstGeom prst="rect">
            <a:avLst/>
          </a:prstGeom>
          <a:noFill/>
          <a:ln>
            <a:noFill/>
          </a:ln>
        </p:spPr>
      </p:pic>
      <p:pic>
        <p:nvPicPr>
          <p:cNvPr id="10" name="Picture 6" descr="\\MAGNUM\Projects\Microsoft\Cloud Power FY12\Design\ICONS_PNG\Continuous_Availability.png"/>
          <p:cNvPicPr>
            <a:picLocks noChangeAspect="1" noChangeArrowheads="1"/>
          </p:cNvPicPr>
          <p:nvPr/>
        </p:nvPicPr>
        <p:blipFill>
          <a:blip r:embed="rId4" cstate="print">
            <a:lum bright="70000" contrast="-70000"/>
            <a:extLst>
              <a:ext uri="{BEBA8EAE-BF5A-486C-A8C5-ECC9F3942E4B}">
                <a14:imgProps xmlns:a14="http://schemas.microsoft.com/office/drawing/2010/main">
                  <a14:imgLayer r:embed="rId5">
                    <a14:imgEffect>
                      <a14:saturation sat="33000"/>
                    </a14:imgEffect>
                  </a14:imgLayer>
                </a14:imgProps>
              </a:ext>
            </a:extLst>
          </a:blip>
          <a:srcRect/>
          <a:stretch>
            <a:fillRect/>
          </a:stretch>
        </p:blipFill>
        <p:spPr bwMode="auto">
          <a:xfrm>
            <a:off x="2562710" y="1051467"/>
            <a:ext cx="1371957" cy="1371600"/>
          </a:xfrm>
          <a:prstGeom prst="rect">
            <a:avLst/>
          </a:prstGeom>
          <a:noFill/>
        </p:spPr>
      </p:pic>
      <p:pic>
        <p:nvPicPr>
          <p:cNvPr id="11" name="Picture 8" descr="\\MAGNUM\Projects\Microsoft\Cloud Power FY12\Design\Icons\PNGs\Cross Platform.png"/>
          <p:cNvPicPr>
            <a:picLocks noChangeAspect="1" noChangeArrowheads="1"/>
          </p:cNvPicPr>
          <p:nvPr/>
        </p:nvPicPr>
        <p:blipFill>
          <a:blip r:embed="rId6" cstate="print">
            <a:lum bright="70000" contrast="-70000"/>
            <a:extLst>
              <a:ext uri="{BEBA8EAE-BF5A-486C-A8C5-ECC9F3942E4B}">
                <a14:imgProps xmlns:a14="http://schemas.microsoft.com/office/drawing/2010/main">
                  <a14:imgLayer r:embed="rId7">
                    <a14:imgEffect>
                      <a14:saturation sat="33000"/>
                    </a14:imgEffect>
                  </a14:imgLayer>
                </a14:imgProps>
              </a:ext>
            </a:extLst>
          </a:blip>
          <a:stretch>
            <a:fillRect/>
          </a:stretch>
        </p:blipFill>
        <p:spPr bwMode="auto">
          <a:xfrm>
            <a:off x="6619343" y="1205641"/>
            <a:ext cx="1063532" cy="1063256"/>
          </a:xfrm>
          <a:prstGeom prst="rect">
            <a:avLst/>
          </a:prstGeom>
          <a:noFill/>
        </p:spPr>
      </p:pic>
      <p:pic>
        <p:nvPicPr>
          <p:cNvPr id="12" name="Picture 5" descr="\\MAGNUM\Projects\Microsoft\Cloud Power FY12\Design\ICONS_PNG\Consistent_Development_and_Deployment_Platform.png"/>
          <p:cNvPicPr>
            <a:picLocks noChangeAspect="1" noChangeArrowheads="1"/>
          </p:cNvPicPr>
          <p:nvPr/>
        </p:nvPicPr>
        <p:blipFill>
          <a:blip r:embed="rId8" cstate="print">
            <a:lum bright="70000" contrast="-70000"/>
            <a:extLst>
              <a:ext uri="{BEBA8EAE-BF5A-486C-A8C5-ECC9F3942E4B}">
                <a14:imgProps xmlns:a14="http://schemas.microsoft.com/office/drawing/2010/main">
                  <a14:imgLayer r:embed="rId9">
                    <a14:imgEffect>
                      <a14:saturation sat="33000"/>
                    </a14:imgEffect>
                  </a14:imgLayer>
                </a14:imgProps>
              </a:ext>
            </a:extLst>
          </a:blip>
          <a:srcRect/>
          <a:stretch>
            <a:fillRect/>
          </a:stretch>
        </p:blipFill>
        <p:spPr bwMode="auto">
          <a:xfrm>
            <a:off x="4645229" y="1218487"/>
            <a:ext cx="1091948" cy="1091663"/>
          </a:xfrm>
          <a:prstGeom prst="rect">
            <a:avLst/>
          </a:prstGeom>
          <a:noFill/>
        </p:spPr>
      </p:pic>
      <p:sp>
        <p:nvSpPr>
          <p:cNvPr id="13"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4"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0"/>
              </a:rPr>
              <a:t>www.rapidbbs.cn</a:t>
            </a:r>
            <a:endParaRPr lang="zh-CN" altLang="en-US" sz="1200" b="0">
              <a:latin typeface="Arial" charset="0"/>
              <a:ea typeface="ＭＳ Ｐゴシック" pitchFamily="34" charset="-128"/>
            </a:endParaRPr>
          </a:p>
        </p:txBody>
      </p:sp>
      <p:pic>
        <p:nvPicPr>
          <p:cNvPr id="15" name="Picture 2">
            <a:hlinkClick r:id="rId10"/>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690779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Microsoft Private Cloud</a:t>
            </a:r>
            <a:endParaRPr lang="en-US" dirty="0"/>
          </a:p>
        </p:txBody>
      </p:sp>
      <p:grpSp>
        <p:nvGrpSpPr>
          <p:cNvPr id="3" name="Group 2"/>
          <p:cNvGrpSpPr/>
          <p:nvPr/>
        </p:nvGrpSpPr>
        <p:grpSpPr>
          <a:xfrm>
            <a:off x="766112" y="1290079"/>
            <a:ext cx="1845872" cy="2609618"/>
            <a:chOff x="1021217" y="1720105"/>
            <a:chExt cx="2460522" cy="3479491"/>
          </a:xfrm>
        </p:grpSpPr>
        <p:sp>
          <p:nvSpPr>
            <p:cNvPr id="5" name="Rectangle 37"/>
            <p:cNvSpPr>
              <a:spLocks noChangeArrowheads="1"/>
            </p:cNvSpPr>
            <p:nvPr/>
          </p:nvSpPr>
          <p:spPr bwMode="auto">
            <a:xfrm>
              <a:off x="1021217" y="1720105"/>
              <a:ext cx="2460522" cy="3479491"/>
            </a:xfrm>
            <a:prstGeom prst="rect">
              <a:avLst/>
            </a:prstGeom>
            <a:solidFill>
              <a:schemeClr val="bg2">
                <a:lumMod val="75000"/>
              </a:schemeClr>
            </a:solidFill>
            <a:ln w="9525">
              <a:noFill/>
              <a:miter lim="800000"/>
              <a:headEnd/>
              <a:tailEnd/>
            </a:ln>
          </p:spPr>
          <p:txBody>
            <a:bodyPr anchor="b"/>
            <a:lstStyle/>
            <a:p>
              <a:pPr defTabSz="685862" fontAlgn="base">
                <a:spcBef>
                  <a:spcPct val="0"/>
                </a:spcBef>
                <a:spcAft>
                  <a:spcPct val="0"/>
                </a:spcAft>
              </a:pPr>
              <a:r>
                <a:rPr lang="en-US" sz="1500" spc="-38" dirty="0">
                  <a:latin typeface="Segoe UI Light" pitchFamily="34" charset="0"/>
                  <a:cs typeface="Segoe UI Light" pitchFamily="34" charset="0"/>
                </a:rPr>
                <a:t>All About </a:t>
              </a:r>
              <a:br>
                <a:rPr lang="en-US" sz="1500" spc="-38" dirty="0">
                  <a:latin typeface="Segoe UI Light" pitchFamily="34" charset="0"/>
                  <a:cs typeface="Segoe UI Light" pitchFamily="34" charset="0"/>
                </a:rPr>
              </a:br>
              <a:r>
                <a:rPr lang="en-US" sz="1500" spc="-38" dirty="0">
                  <a:latin typeface="Segoe UI Light" pitchFamily="34" charset="0"/>
                  <a:cs typeface="Segoe UI Light" pitchFamily="34" charset="0"/>
                </a:rPr>
                <a:t>the App</a:t>
              </a:r>
            </a:p>
          </p:txBody>
        </p:sp>
        <p:pic>
          <p:nvPicPr>
            <p:cNvPr id="8" name="Picture 7" descr="\\MAGNUM\Projects\Microsoft\Cloud Power FY12\Design\ICONS_PNG\Application.png"/>
            <p:cNvPicPr>
              <a:picLocks noChangeAspect="1" noChangeArrowheads="1"/>
            </p:cNvPicPr>
            <p:nvPr/>
          </p:nvPicPr>
          <p:blipFill>
            <a:blip r:embed="rId2" cstate="email">
              <a:lum bright="100000"/>
              <a:extLst>
                <a:ext uri="{28A0092B-C50C-407E-A947-70E740481C1C}">
                  <a14:useLocalDpi xmlns:a14="http://schemas.microsoft.com/office/drawing/2010/main"/>
                </a:ext>
              </a:extLst>
            </a:blip>
            <a:srcRect/>
            <a:stretch>
              <a:fillRect/>
            </a:stretch>
          </p:blipFill>
          <p:spPr bwMode="auto">
            <a:xfrm>
              <a:off x="1276008" y="2376710"/>
              <a:ext cx="1962850" cy="1962338"/>
            </a:xfrm>
            <a:prstGeom prst="rect">
              <a:avLst/>
            </a:prstGeom>
            <a:noFill/>
          </p:spPr>
        </p:pic>
      </p:grpSp>
      <p:grpSp>
        <p:nvGrpSpPr>
          <p:cNvPr id="12" name="Group 11"/>
          <p:cNvGrpSpPr/>
          <p:nvPr/>
        </p:nvGrpSpPr>
        <p:grpSpPr>
          <a:xfrm>
            <a:off x="2718528" y="1290079"/>
            <a:ext cx="1845872" cy="2609618"/>
            <a:chOff x="3623760" y="1720106"/>
            <a:chExt cx="2460522" cy="3479490"/>
          </a:xfrm>
        </p:grpSpPr>
        <p:sp>
          <p:nvSpPr>
            <p:cNvPr id="4" name="Rectangle 36"/>
            <p:cNvSpPr>
              <a:spLocks noChangeArrowheads="1"/>
            </p:cNvSpPr>
            <p:nvPr/>
          </p:nvSpPr>
          <p:spPr bwMode="auto">
            <a:xfrm>
              <a:off x="3623760" y="1720106"/>
              <a:ext cx="2460522" cy="3479490"/>
            </a:xfrm>
            <a:prstGeom prst="rect">
              <a:avLst/>
            </a:prstGeom>
            <a:solidFill>
              <a:schemeClr val="bg2">
                <a:lumMod val="75000"/>
              </a:schemeClr>
            </a:solidFill>
            <a:ln w="9525">
              <a:noFill/>
              <a:miter lim="800000"/>
              <a:headEnd/>
              <a:tailEnd/>
            </a:ln>
          </p:spPr>
          <p:txBody>
            <a:bodyPr anchor="b"/>
            <a:lstStyle/>
            <a:p>
              <a:pPr defTabSz="685862" fontAlgn="base">
                <a:spcBef>
                  <a:spcPct val="0"/>
                </a:spcBef>
                <a:spcAft>
                  <a:spcPct val="0"/>
                </a:spcAft>
              </a:pPr>
              <a:r>
                <a:rPr lang="en-US" sz="1500" spc="-38" dirty="0">
                  <a:latin typeface="Segoe UI Light" pitchFamily="34" charset="0"/>
                  <a:cs typeface="Segoe UI Light" pitchFamily="34" charset="0"/>
                </a:rPr>
                <a:t>Cross-Platform </a:t>
              </a:r>
              <a:br>
                <a:rPr lang="en-US" sz="1500" spc="-38" dirty="0">
                  <a:latin typeface="Segoe UI Light" pitchFamily="34" charset="0"/>
                  <a:cs typeface="Segoe UI Light" pitchFamily="34" charset="0"/>
                </a:rPr>
              </a:br>
              <a:r>
                <a:rPr lang="en-US" sz="1500" spc="-38" dirty="0">
                  <a:latin typeface="Segoe UI Light" pitchFamily="34" charset="0"/>
                  <a:cs typeface="Segoe UI Light" pitchFamily="34" charset="0"/>
                </a:rPr>
                <a:t>From the Metal Up  </a:t>
              </a:r>
            </a:p>
          </p:txBody>
        </p:sp>
        <p:pic>
          <p:nvPicPr>
            <p:cNvPr id="9" name="Picture 8" descr="cross platform.png"/>
            <p:cNvPicPr>
              <a:picLocks noChangeAspect="1"/>
            </p:cNvPicPr>
            <p:nvPr/>
          </p:nvPicPr>
          <p:blipFill>
            <a:blip r:embed="rId3" cstate="email">
              <a:lum bright="100000"/>
              <a:extLst>
                <a:ext uri="{28A0092B-C50C-407E-A947-70E740481C1C}">
                  <a14:useLocalDpi xmlns:a14="http://schemas.microsoft.com/office/drawing/2010/main"/>
                </a:ext>
              </a:extLst>
            </a:blip>
            <a:stretch>
              <a:fillRect/>
            </a:stretch>
          </p:blipFill>
          <p:spPr>
            <a:xfrm>
              <a:off x="4041692" y="2794036"/>
              <a:ext cx="1572905" cy="980322"/>
            </a:xfrm>
            <a:prstGeom prst="rect">
              <a:avLst/>
            </a:prstGeom>
          </p:spPr>
        </p:pic>
      </p:grpSp>
      <p:grpSp>
        <p:nvGrpSpPr>
          <p:cNvPr id="13" name="Group 12"/>
          <p:cNvGrpSpPr/>
          <p:nvPr/>
        </p:nvGrpSpPr>
        <p:grpSpPr>
          <a:xfrm>
            <a:off x="4670944" y="1290079"/>
            <a:ext cx="1845872" cy="2609618"/>
            <a:chOff x="6226303" y="1720106"/>
            <a:chExt cx="2460522" cy="3479490"/>
          </a:xfrm>
        </p:grpSpPr>
        <p:sp>
          <p:nvSpPr>
            <p:cNvPr id="6" name="Rectangle 38"/>
            <p:cNvSpPr>
              <a:spLocks noChangeArrowheads="1"/>
            </p:cNvSpPr>
            <p:nvPr/>
          </p:nvSpPr>
          <p:spPr bwMode="auto">
            <a:xfrm>
              <a:off x="6226303" y="1720106"/>
              <a:ext cx="2460522" cy="3479490"/>
            </a:xfrm>
            <a:prstGeom prst="rect">
              <a:avLst/>
            </a:prstGeom>
            <a:solidFill>
              <a:schemeClr val="bg2">
                <a:lumMod val="75000"/>
              </a:schemeClr>
            </a:solidFill>
            <a:ln w="9525">
              <a:noFill/>
              <a:miter lim="800000"/>
              <a:headEnd/>
              <a:tailEnd/>
            </a:ln>
          </p:spPr>
          <p:txBody>
            <a:bodyPr anchor="b"/>
            <a:lstStyle/>
            <a:p>
              <a:pPr defTabSz="685862" fontAlgn="base">
                <a:spcBef>
                  <a:spcPct val="0"/>
                </a:spcBef>
                <a:spcAft>
                  <a:spcPct val="0"/>
                </a:spcAft>
              </a:pPr>
              <a:r>
                <a:rPr lang="en-US" sz="1500" spc="-38" dirty="0">
                  <a:latin typeface="Segoe UI Light" pitchFamily="34" charset="0"/>
                  <a:cs typeface="Segoe UI Light" pitchFamily="34" charset="0"/>
                </a:rPr>
                <a:t>Foundation For </a:t>
              </a:r>
              <a:br>
                <a:rPr lang="en-US" sz="1500" spc="-38" dirty="0">
                  <a:latin typeface="Segoe UI Light" pitchFamily="34" charset="0"/>
                  <a:cs typeface="Segoe UI Light" pitchFamily="34" charset="0"/>
                </a:rPr>
              </a:br>
              <a:r>
                <a:rPr lang="en-US" sz="1500" spc="-38" dirty="0">
                  <a:latin typeface="Segoe UI Light" pitchFamily="34" charset="0"/>
                  <a:cs typeface="Segoe UI Light" pitchFamily="34" charset="0"/>
                </a:rPr>
                <a:t>the Future</a:t>
              </a:r>
            </a:p>
          </p:txBody>
        </p:sp>
        <p:pic>
          <p:nvPicPr>
            <p:cNvPr id="10" name="Picture 2" descr="\\MAGNUM\Projects\Microsoft\Cloud Power FY12\Design\Icons\PNGs\Scalable_Elastic_3.png"/>
            <p:cNvPicPr>
              <a:picLocks noChangeAspect="1" noChangeArrowheads="1"/>
            </p:cNvPicPr>
            <p:nvPr/>
          </p:nvPicPr>
          <p:blipFill>
            <a:blip r:embed="rId4" cstate="email">
              <a:lum bright="100000" contrast="100000"/>
              <a:extLst>
                <a:ext uri="{28A0092B-C50C-407E-A947-70E740481C1C}">
                  <a14:useLocalDpi xmlns:a14="http://schemas.microsoft.com/office/drawing/2010/main"/>
                </a:ext>
              </a:extLst>
            </a:blip>
            <a:stretch>
              <a:fillRect/>
            </a:stretch>
          </p:blipFill>
          <p:spPr bwMode="auto">
            <a:xfrm>
              <a:off x="6649179" y="2512874"/>
              <a:ext cx="1588605" cy="1588191"/>
            </a:xfrm>
            <a:prstGeom prst="rect">
              <a:avLst/>
            </a:prstGeom>
            <a:noFill/>
          </p:spPr>
        </p:pic>
      </p:grpSp>
      <p:grpSp>
        <p:nvGrpSpPr>
          <p:cNvPr id="14" name="Group 13"/>
          <p:cNvGrpSpPr/>
          <p:nvPr/>
        </p:nvGrpSpPr>
        <p:grpSpPr>
          <a:xfrm>
            <a:off x="6623359" y="1290079"/>
            <a:ext cx="1845872" cy="2609618"/>
            <a:chOff x="8828846" y="1720106"/>
            <a:chExt cx="2460522" cy="3479490"/>
          </a:xfrm>
        </p:grpSpPr>
        <p:sp>
          <p:nvSpPr>
            <p:cNvPr id="7" name="Rectangle 38"/>
            <p:cNvSpPr>
              <a:spLocks noChangeArrowheads="1"/>
            </p:cNvSpPr>
            <p:nvPr/>
          </p:nvSpPr>
          <p:spPr bwMode="auto">
            <a:xfrm>
              <a:off x="8828846" y="1720106"/>
              <a:ext cx="2460522" cy="3479490"/>
            </a:xfrm>
            <a:prstGeom prst="rect">
              <a:avLst/>
            </a:prstGeom>
            <a:solidFill>
              <a:schemeClr val="bg2">
                <a:lumMod val="75000"/>
              </a:schemeClr>
            </a:solidFill>
            <a:ln w="9525">
              <a:noFill/>
              <a:miter lim="800000"/>
              <a:headEnd/>
              <a:tailEnd/>
            </a:ln>
          </p:spPr>
          <p:txBody>
            <a:bodyPr anchor="b"/>
            <a:lstStyle/>
            <a:p>
              <a:pPr defTabSz="685862" fontAlgn="base">
                <a:spcBef>
                  <a:spcPct val="0"/>
                </a:spcBef>
                <a:spcAft>
                  <a:spcPct val="0"/>
                </a:spcAft>
              </a:pPr>
              <a:r>
                <a:rPr lang="en-US" sz="1500" spc="-38" dirty="0">
                  <a:latin typeface="Segoe UI Light" pitchFamily="34" charset="0"/>
                  <a:cs typeface="Segoe UI Light" pitchFamily="34" charset="0"/>
                </a:rPr>
                <a:t>Cloud On </a:t>
              </a:r>
              <a:br>
                <a:rPr lang="en-US" sz="1500" spc="-38" dirty="0">
                  <a:latin typeface="Segoe UI Light" pitchFamily="34" charset="0"/>
                  <a:cs typeface="Segoe UI Light" pitchFamily="34" charset="0"/>
                </a:rPr>
              </a:br>
              <a:r>
                <a:rPr lang="en-US" sz="1500" spc="-38" dirty="0">
                  <a:latin typeface="Segoe UI Light" pitchFamily="34" charset="0"/>
                  <a:cs typeface="Segoe UI Light" pitchFamily="34" charset="0"/>
                </a:rPr>
                <a:t>Your Terms</a:t>
              </a:r>
            </a:p>
          </p:txBody>
        </p:sp>
        <p:pic>
          <p:nvPicPr>
            <p:cNvPr id="11" name="Picture 10" descr="Private_to_Partner.png"/>
            <p:cNvPicPr>
              <a:picLocks noChangeAspect="1"/>
            </p:cNvPicPr>
            <p:nvPr/>
          </p:nvPicPr>
          <p:blipFill>
            <a:blip r:embed="rId5" cstate="email">
              <a:lum bright="100000"/>
              <a:extLst>
                <a:ext uri="{28A0092B-C50C-407E-A947-70E740481C1C}">
                  <a14:useLocalDpi xmlns:a14="http://schemas.microsoft.com/office/drawing/2010/main"/>
                </a:ext>
              </a:extLst>
            </a:blip>
            <a:stretch>
              <a:fillRect/>
            </a:stretch>
          </p:blipFill>
          <p:spPr>
            <a:xfrm>
              <a:off x="9009813" y="2344705"/>
              <a:ext cx="1994343" cy="1994343"/>
            </a:xfrm>
            <a:prstGeom prst="rect">
              <a:avLst/>
            </a:prstGeom>
          </p:spPr>
        </p:pic>
      </p:grpSp>
      <p:sp>
        <p:nvSpPr>
          <p:cNvPr id="15"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6"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6"/>
              </a:rPr>
              <a:t>www.rapidbbs.cn</a:t>
            </a:r>
            <a:endParaRPr lang="zh-CN" altLang="en-US" sz="1200" b="0">
              <a:latin typeface="Arial" charset="0"/>
              <a:ea typeface="ＭＳ Ｐゴシック" pitchFamily="34" charset="-128"/>
            </a:endParaRPr>
          </a:p>
        </p:txBody>
      </p:sp>
      <p:pic>
        <p:nvPicPr>
          <p:cNvPr id="17" name="Picture 2">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7494276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1000"/>
                                        <p:tgtEl>
                                          <p:spTgt spid="12"/>
                                        </p:tgtEl>
                                      </p:cBhvr>
                                    </p:animEffect>
                                    <p:anim calcmode="lin" valueType="num">
                                      <p:cBhvr>
                                        <p:cTn id="14" dur="1000" fill="hold"/>
                                        <p:tgtEl>
                                          <p:spTgt spid="12"/>
                                        </p:tgtEl>
                                        <p:attrNameLst>
                                          <p:attrName>ppt_x</p:attrName>
                                        </p:attrNameLst>
                                      </p:cBhvr>
                                      <p:tavLst>
                                        <p:tav tm="0">
                                          <p:val>
                                            <p:strVal val="#ppt_x"/>
                                          </p:val>
                                        </p:tav>
                                        <p:tav tm="100000">
                                          <p:val>
                                            <p:strVal val="#ppt_x"/>
                                          </p:val>
                                        </p:tav>
                                      </p:tavLst>
                                    </p:anim>
                                    <p:anim calcmode="lin" valueType="num">
                                      <p:cBhvr>
                                        <p:cTn id="15" dur="1000" fill="hold"/>
                                        <p:tgtEl>
                                          <p:spTgt spid="12"/>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fade">
                                      <p:cBhvr>
                                        <p:cTn id="19" dur="1000"/>
                                        <p:tgtEl>
                                          <p:spTgt spid="13"/>
                                        </p:tgtEl>
                                      </p:cBhvr>
                                    </p:animEffect>
                                    <p:anim calcmode="lin" valueType="num">
                                      <p:cBhvr>
                                        <p:cTn id="20" dur="1000" fill="hold"/>
                                        <p:tgtEl>
                                          <p:spTgt spid="13"/>
                                        </p:tgtEl>
                                        <p:attrNameLst>
                                          <p:attrName>ppt_x</p:attrName>
                                        </p:attrNameLst>
                                      </p:cBhvr>
                                      <p:tavLst>
                                        <p:tav tm="0">
                                          <p:val>
                                            <p:strVal val="#ppt_x"/>
                                          </p:val>
                                        </p:tav>
                                        <p:tav tm="100000">
                                          <p:val>
                                            <p:strVal val="#ppt_x"/>
                                          </p:val>
                                        </p:tav>
                                      </p:tavLst>
                                    </p:anim>
                                    <p:anim calcmode="lin" valueType="num">
                                      <p:cBhvr>
                                        <p:cTn id="21" dur="1000" fill="hold"/>
                                        <p:tgtEl>
                                          <p:spTgt spid="13"/>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nodeType="after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1000"/>
                                        <p:tgtEl>
                                          <p:spTgt spid="14"/>
                                        </p:tgtEl>
                                      </p:cBhvr>
                                    </p:animEffect>
                                    <p:anim calcmode="lin" valueType="num">
                                      <p:cBhvr>
                                        <p:cTn id="26" dur="1000" fill="hold"/>
                                        <p:tgtEl>
                                          <p:spTgt spid="14"/>
                                        </p:tgtEl>
                                        <p:attrNameLst>
                                          <p:attrName>ppt_x</p:attrName>
                                        </p:attrNameLst>
                                      </p:cBhvr>
                                      <p:tavLst>
                                        <p:tav tm="0">
                                          <p:val>
                                            <p:strVal val="#ppt_x"/>
                                          </p:val>
                                        </p:tav>
                                        <p:tav tm="100000">
                                          <p:val>
                                            <p:strVal val="#ppt_x"/>
                                          </p:val>
                                        </p:tav>
                                      </p:tavLst>
                                    </p:anim>
                                    <p:anim calcmode="lin" valueType="num">
                                      <p:cBhvr>
                                        <p:cTn id="27"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9" presetClass="emph" presetSubtype="0" nodeType="clickEffect">
                                  <p:stCondLst>
                                    <p:cond delay="0"/>
                                  </p:stCondLst>
                                  <p:childTnLst>
                                    <p:set>
                                      <p:cBhvr rctx="PPT">
                                        <p:cTn id="31" dur="indefinite"/>
                                        <p:tgtEl>
                                          <p:spTgt spid="3"/>
                                        </p:tgtEl>
                                        <p:attrNameLst>
                                          <p:attrName>style.opacity</p:attrName>
                                        </p:attrNameLst>
                                      </p:cBhvr>
                                      <p:to>
                                        <p:strVal val="0.5"/>
                                      </p:to>
                                    </p:set>
                                    <p:animEffect filter="image" prLst="opacity: 0.5">
                                      <p:cBhvr rctx="IE">
                                        <p:cTn id="32" dur="indefinite"/>
                                        <p:tgtEl>
                                          <p:spTgt spid="3"/>
                                        </p:tgtEl>
                                      </p:cBhvr>
                                    </p:animEffect>
                                  </p:childTnLst>
                                </p:cTn>
                              </p:par>
                              <p:par>
                                <p:cTn id="33" presetID="9" presetClass="emph" presetSubtype="0" nodeType="withEffect">
                                  <p:stCondLst>
                                    <p:cond delay="0"/>
                                  </p:stCondLst>
                                  <p:childTnLst>
                                    <p:set>
                                      <p:cBhvr rctx="PPT">
                                        <p:cTn id="34" dur="indefinite"/>
                                        <p:tgtEl>
                                          <p:spTgt spid="13"/>
                                        </p:tgtEl>
                                        <p:attrNameLst>
                                          <p:attrName>style.opacity</p:attrName>
                                        </p:attrNameLst>
                                      </p:cBhvr>
                                      <p:to>
                                        <p:strVal val="0.5"/>
                                      </p:to>
                                    </p:set>
                                    <p:animEffect filter="image" prLst="opacity: 0.5">
                                      <p:cBhvr rctx="IE">
                                        <p:cTn id="35" dur="indefinite"/>
                                        <p:tgtEl>
                                          <p:spTgt spid="13"/>
                                        </p:tgtEl>
                                      </p:cBhvr>
                                    </p:animEffect>
                                  </p:childTnLst>
                                </p:cTn>
                              </p:par>
                              <p:par>
                                <p:cTn id="36" presetID="9" presetClass="emph" presetSubtype="0" nodeType="withEffect">
                                  <p:stCondLst>
                                    <p:cond delay="0"/>
                                  </p:stCondLst>
                                  <p:childTnLst>
                                    <p:set>
                                      <p:cBhvr rctx="PPT">
                                        <p:cTn id="37" dur="indefinite"/>
                                        <p:tgtEl>
                                          <p:spTgt spid="14"/>
                                        </p:tgtEl>
                                        <p:attrNameLst>
                                          <p:attrName>style.opacity</p:attrName>
                                        </p:attrNameLst>
                                      </p:cBhvr>
                                      <p:to>
                                        <p:strVal val="0.5"/>
                                      </p:to>
                                    </p:set>
                                    <p:animEffect filter="image" prLst="opacity: 0.5">
                                      <p:cBhvr rctx="IE">
                                        <p:cTn id="38" dur="indefinite"/>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ross Platform from the Metal Up</a:t>
            </a:r>
            <a:endParaRPr lang="en-US" dirty="0"/>
          </a:p>
        </p:txBody>
      </p:sp>
      <p:sp>
        <p:nvSpPr>
          <p:cNvPr id="4" name="Rectangle 3"/>
          <p:cNvSpPr/>
          <p:nvPr/>
        </p:nvSpPr>
        <p:spPr>
          <a:xfrm>
            <a:off x="513293" y="3818261"/>
            <a:ext cx="8117414" cy="638183"/>
          </a:xfrm>
          <a:prstGeom prst="rect">
            <a:avLst/>
          </a:prstGeom>
          <a:solidFill>
            <a:schemeClr val="bg2">
              <a:lumMod val="75000"/>
            </a:schemeClr>
          </a:solidFill>
          <a:ln>
            <a:noFill/>
          </a:ln>
          <a:effectLst/>
        </p:spPr>
        <p:style>
          <a:lnRef idx="2">
            <a:schemeClr val="accent6">
              <a:shade val="50000"/>
            </a:schemeClr>
          </a:lnRef>
          <a:fillRef idx="1">
            <a:schemeClr val="accent6"/>
          </a:fillRef>
          <a:effectRef idx="0">
            <a:schemeClr val="accent6"/>
          </a:effectRef>
          <a:fontRef idx="minor">
            <a:schemeClr val="lt1"/>
          </a:fontRef>
        </p:style>
        <p:txBody>
          <a:bodyPr lIns="68586" tIns="137172" rIns="68586" bIns="137172" rtlCol="0" anchor="ctr"/>
          <a:lstStyle/>
          <a:p>
            <a:pPr algn="ctr"/>
            <a:r>
              <a:rPr lang="en-GB" sz="2100" dirty="0">
                <a:solidFill>
                  <a:schemeClr val="tx1"/>
                </a:solidFill>
                <a:latin typeface="Segoe UI Light" pitchFamily="34" charset="0"/>
                <a:cs typeface="Segoe UI Light" pitchFamily="34" charset="0"/>
              </a:rPr>
              <a:t>Fabric</a:t>
            </a:r>
          </a:p>
        </p:txBody>
      </p:sp>
      <p:sp>
        <p:nvSpPr>
          <p:cNvPr id="5" name="Rectangle 4"/>
          <p:cNvSpPr/>
          <p:nvPr/>
        </p:nvSpPr>
        <p:spPr>
          <a:xfrm>
            <a:off x="513293" y="3149447"/>
            <a:ext cx="8117414" cy="638183"/>
          </a:xfrm>
          <a:prstGeom prst="rect">
            <a:avLst/>
          </a:prstGeom>
          <a:solidFill>
            <a:schemeClr val="bg2">
              <a:lumMod val="75000"/>
            </a:schemeClr>
          </a:solidFill>
          <a:ln>
            <a:noFill/>
          </a:ln>
          <a:effectLst/>
        </p:spPr>
        <p:style>
          <a:lnRef idx="2">
            <a:schemeClr val="accent6">
              <a:shade val="50000"/>
            </a:schemeClr>
          </a:lnRef>
          <a:fillRef idx="1">
            <a:schemeClr val="accent6"/>
          </a:fillRef>
          <a:effectRef idx="0">
            <a:schemeClr val="accent6"/>
          </a:effectRef>
          <a:fontRef idx="minor">
            <a:schemeClr val="lt1"/>
          </a:fontRef>
        </p:style>
        <p:txBody>
          <a:bodyPr lIns="68586" tIns="137172" rIns="68586" bIns="137172" rtlCol="0" anchor="ctr"/>
          <a:lstStyle/>
          <a:p>
            <a:pPr algn="ctr"/>
            <a:r>
              <a:rPr lang="en-GB" sz="2100" dirty="0">
                <a:solidFill>
                  <a:schemeClr val="tx1"/>
                </a:solidFill>
                <a:latin typeface="Segoe UI Light" pitchFamily="34" charset="0"/>
                <a:cs typeface="Segoe UI Light" pitchFamily="34" charset="0"/>
              </a:rPr>
              <a:t>Hypervisor</a:t>
            </a:r>
          </a:p>
        </p:txBody>
      </p:sp>
      <p:sp>
        <p:nvSpPr>
          <p:cNvPr id="6" name="Rectangle 5"/>
          <p:cNvSpPr/>
          <p:nvPr/>
        </p:nvSpPr>
        <p:spPr>
          <a:xfrm>
            <a:off x="513293" y="2480631"/>
            <a:ext cx="8117414" cy="638183"/>
          </a:xfrm>
          <a:prstGeom prst="rect">
            <a:avLst/>
          </a:prstGeom>
          <a:solidFill>
            <a:schemeClr val="bg2">
              <a:lumMod val="75000"/>
            </a:schemeClr>
          </a:solidFill>
          <a:ln>
            <a:noFill/>
          </a:ln>
          <a:effectLst/>
        </p:spPr>
        <p:style>
          <a:lnRef idx="2">
            <a:schemeClr val="accent6">
              <a:shade val="50000"/>
            </a:schemeClr>
          </a:lnRef>
          <a:fillRef idx="1">
            <a:schemeClr val="accent6"/>
          </a:fillRef>
          <a:effectRef idx="0">
            <a:schemeClr val="accent6"/>
          </a:effectRef>
          <a:fontRef idx="minor">
            <a:schemeClr val="lt1"/>
          </a:fontRef>
        </p:style>
        <p:txBody>
          <a:bodyPr lIns="68586" tIns="137172" rIns="68586" bIns="137172" rtlCol="0" anchor="ctr"/>
          <a:lstStyle/>
          <a:p>
            <a:pPr algn="ctr"/>
            <a:r>
              <a:rPr lang="en-GB" sz="2100" dirty="0">
                <a:solidFill>
                  <a:schemeClr val="tx1"/>
                </a:solidFill>
                <a:latin typeface="Segoe UI Light" pitchFamily="34" charset="0"/>
                <a:cs typeface="Segoe UI Light" pitchFamily="34" charset="0"/>
              </a:rPr>
              <a:t>OS</a:t>
            </a:r>
          </a:p>
        </p:txBody>
      </p:sp>
      <p:sp>
        <p:nvSpPr>
          <p:cNvPr id="7" name="Rectangle 6"/>
          <p:cNvSpPr/>
          <p:nvPr/>
        </p:nvSpPr>
        <p:spPr>
          <a:xfrm>
            <a:off x="513293" y="1811816"/>
            <a:ext cx="8117414" cy="638183"/>
          </a:xfrm>
          <a:prstGeom prst="rect">
            <a:avLst/>
          </a:prstGeom>
          <a:solidFill>
            <a:schemeClr val="bg2">
              <a:lumMod val="75000"/>
            </a:schemeClr>
          </a:solidFill>
          <a:ln>
            <a:noFill/>
          </a:ln>
          <a:effectLst/>
        </p:spPr>
        <p:style>
          <a:lnRef idx="2">
            <a:schemeClr val="accent6">
              <a:shade val="50000"/>
            </a:schemeClr>
          </a:lnRef>
          <a:fillRef idx="1">
            <a:schemeClr val="accent6"/>
          </a:fillRef>
          <a:effectRef idx="0">
            <a:schemeClr val="accent6"/>
          </a:effectRef>
          <a:fontRef idx="minor">
            <a:schemeClr val="lt1"/>
          </a:fontRef>
        </p:style>
        <p:txBody>
          <a:bodyPr lIns="68586" tIns="137172" rIns="68586" bIns="137172" rtlCol="0" anchor="ctr"/>
          <a:lstStyle/>
          <a:p>
            <a:pPr algn="ctr"/>
            <a:r>
              <a:rPr lang="en-GB" sz="2100" dirty="0">
                <a:solidFill>
                  <a:schemeClr val="tx1"/>
                </a:solidFill>
                <a:latin typeface="Segoe UI Light" pitchFamily="34" charset="0"/>
                <a:cs typeface="Segoe UI Light" pitchFamily="34" charset="0"/>
              </a:rPr>
              <a:t>Management</a:t>
            </a:r>
          </a:p>
        </p:txBody>
      </p:sp>
      <p:sp>
        <p:nvSpPr>
          <p:cNvPr id="8" name="Rectangle 7"/>
          <p:cNvSpPr/>
          <p:nvPr/>
        </p:nvSpPr>
        <p:spPr>
          <a:xfrm>
            <a:off x="513293" y="1143001"/>
            <a:ext cx="8117414" cy="638183"/>
          </a:xfrm>
          <a:prstGeom prst="rect">
            <a:avLst/>
          </a:prstGeom>
          <a:solidFill>
            <a:schemeClr val="bg2">
              <a:lumMod val="75000"/>
            </a:schemeClr>
          </a:solidFill>
          <a:ln>
            <a:noFill/>
          </a:ln>
          <a:effectLst/>
        </p:spPr>
        <p:style>
          <a:lnRef idx="2">
            <a:schemeClr val="accent6">
              <a:shade val="50000"/>
            </a:schemeClr>
          </a:lnRef>
          <a:fillRef idx="1">
            <a:schemeClr val="accent6"/>
          </a:fillRef>
          <a:effectRef idx="0">
            <a:schemeClr val="accent6"/>
          </a:effectRef>
          <a:fontRef idx="minor">
            <a:schemeClr val="lt1"/>
          </a:fontRef>
        </p:style>
        <p:txBody>
          <a:bodyPr lIns="68586" tIns="137172" rIns="68586" bIns="137172" rtlCol="0" anchor="ctr"/>
          <a:lstStyle/>
          <a:p>
            <a:pPr algn="ctr"/>
            <a:r>
              <a:rPr lang="en-GB" sz="2100" dirty="0">
                <a:solidFill>
                  <a:schemeClr val="tx1"/>
                </a:solidFill>
                <a:latin typeface="Segoe UI Light" pitchFamily="34" charset="0"/>
                <a:cs typeface="Segoe UI Light" pitchFamily="34" charset="0"/>
              </a:rPr>
              <a:t>Application Frameworks</a:t>
            </a:r>
          </a:p>
        </p:txBody>
      </p:sp>
      <p:grpSp>
        <p:nvGrpSpPr>
          <p:cNvPr id="20" name="Group 19"/>
          <p:cNvGrpSpPr/>
          <p:nvPr/>
        </p:nvGrpSpPr>
        <p:grpSpPr>
          <a:xfrm>
            <a:off x="513293" y="3829051"/>
            <a:ext cx="8117414" cy="638183"/>
            <a:chOff x="684212" y="5091014"/>
            <a:chExt cx="10820400" cy="850910"/>
          </a:xfrm>
        </p:grpSpPr>
        <p:sp>
          <p:nvSpPr>
            <p:cNvPr id="21" name="Rectangle 20"/>
            <p:cNvSpPr/>
            <p:nvPr/>
          </p:nvSpPr>
          <p:spPr>
            <a:xfrm>
              <a:off x="684212" y="5091014"/>
              <a:ext cx="10820400" cy="850910"/>
            </a:xfrm>
            <a:prstGeom prst="rect">
              <a:avLst/>
            </a:prstGeom>
            <a:solidFill>
              <a:schemeClr val="bg2">
                <a:lumMod val="75000"/>
              </a:schemeClr>
            </a:solidFill>
            <a:ln>
              <a:noFill/>
            </a:ln>
            <a:effectLst/>
          </p:spPr>
          <p:style>
            <a:lnRef idx="2">
              <a:schemeClr val="accent6">
                <a:shade val="50000"/>
              </a:schemeClr>
            </a:lnRef>
            <a:fillRef idx="1">
              <a:schemeClr val="accent6"/>
            </a:fillRef>
            <a:effectRef idx="0">
              <a:schemeClr val="accent6"/>
            </a:effectRef>
            <a:fontRef idx="minor">
              <a:schemeClr val="lt1"/>
            </a:fontRef>
          </p:style>
          <p:txBody>
            <a:bodyPr tIns="182880" bIns="182880" rtlCol="0" anchor="ctr"/>
            <a:lstStyle/>
            <a:p>
              <a:pPr algn="ctr"/>
              <a:endParaRPr lang="en-GB" sz="2100" dirty="0">
                <a:solidFill>
                  <a:schemeClr val="tx1"/>
                </a:solidFill>
                <a:latin typeface="Segoe UI Light" pitchFamily="34" charset="0"/>
                <a:cs typeface="Segoe UI Light" pitchFamily="34" charset="0"/>
              </a:endParaRPr>
            </a:p>
          </p:txBody>
        </p:sp>
        <p:pic>
          <p:nvPicPr>
            <p:cNvPr id="22" name="Picture 3" descr="C:\Users\scorosen\AppData\Local\Microsoft\Windows\Temporary Internet Files\Content.Outlook\QDXNTWDS\HP_Logo.png"/>
            <p:cNvPicPr>
              <a:picLocks noChangeAspect="1" noChangeArrowheads="1"/>
            </p:cNvPicPr>
            <p:nvPr/>
          </p:nvPicPr>
          <p:blipFill>
            <a:blip r:embed="rId2" cstate="print">
              <a:lum bright="100000"/>
              <a:extLst>
                <a:ext uri="{28A0092B-C50C-407E-A947-70E740481C1C}">
                  <a14:useLocalDpi xmlns:a14="http://schemas.microsoft.com/office/drawing/2010/main" val="0"/>
                </a:ext>
              </a:extLst>
            </a:blip>
            <a:srcRect l="22471" t="11905" r="22078" b="13095"/>
            <a:stretch>
              <a:fillRect/>
            </a:stretch>
          </p:blipFill>
          <p:spPr bwMode="auto">
            <a:xfrm>
              <a:off x="836612" y="5182942"/>
              <a:ext cx="609600" cy="619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 descr="\\NAS\Data\Asset.Repository\Logos\Company Logos\Dell.png"/>
            <p:cNvPicPr>
              <a:picLocks noChangeAspect="1" noChangeArrowheads="1"/>
            </p:cNvPicPr>
            <p:nvPr/>
          </p:nvPicPr>
          <p:blipFill>
            <a:blip r:embed="rId3" cstate="print">
              <a:lum bright="100000"/>
            </a:blip>
            <a:srcRect/>
            <a:stretch>
              <a:fillRect/>
            </a:stretch>
          </p:blipFill>
          <p:spPr bwMode="auto">
            <a:xfrm>
              <a:off x="1584591" y="5341295"/>
              <a:ext cx="968334" cy="302724"/>
            </a:xfrm>
            <a:prstGeom prst="rect">
              <a:avLst/>
            </a:prstGeom>
            <a:noFill/>
            <a:ln>
              <a:noFill/>
            </a:ln>
          </p:spPr>
        </p:pic>
        <p:pic>
          <p:nvPicPr>
            <p:cNvPr id="24" name="Picture 4" descr="\\NAS\Data\Asset.Repository\Logos\Fujitsu[1].png"/>
            <p:cNvPicPr>
              <a:picLocks noChangeAspect="1" noChangeArrowheads="1"/>
            </p:cNvPicPr>
            <p:nvPr/>
          </p:nvPicPr>
          <p:blipFill>
            <a:blip r:embed="rId4" cstate="print">
              <a:lum bright="100000"/>
            </a:blip>
            <a:srcRect/>
            <a:stretch>
              <a:fillRect/>
            </a:stretch>
          </p:blipFill>
          <p:spPr bwMode="auto">
            <a:xfrm>
              <a:off x="2691304" y="5181600"/>
              <a:ext cx="1066800" cy="510931"/>
            </a:xfrm>
            <a:prstGeom prst="rect">
              <a:avLst/>
            </a:prstGeom>
            <a:noFill/>
            <a:ln>
              <a:noFill/>
            </a:ln>
          </p:spPr>
        </p:pic>
        <p:pic>
          <p:nvPicPr>
            <p:cNvPr id="25" name="Picture 6" descr="\\NAS\Data\Asset.Repository\Logos\Hitachi[1].png"/>
            <p:cNvPicPr>
              <a:picLocks noChangeAspect="1" noChangeArrowheads="1"/>
            </p:cNvPicPr>
            <p:nvPr/>
          </p:nvPicPr>
          <p:blipFill>
            <a:blip r:embed="rId5" cstate="print">
              <a:lum bright="100000"/>
            </a:blip>
            <a:srcRect/>
            <a:stretch>
              <a:fillRect/>
            </a:stretch>
          </p:blipFill>
          <p:spPr bwMode="auto">
            <a:xfrm>
              <a:off x="3896483" y="5307899"/>
              <a:ext cx="1295400" cy="372876"/>
            </a:xfrm>
            <a:prstGeom prst="rect">
              <a:avLst/>
            </a:prstGeom>
            <a:noFill/>
            <a:ln>
              <a:noFill/>
            </a:ln>
          </p:spPr>
        </p:pic>
        <p:pic>
          <p:nvPicPr>
            <p:cNvPr id="26" name="Picture 1" descr="\\NAS\Data\Asset.Repository\Logos\IBM.png"/>
            <p:cNvPicPr>
              <a:picLocks noChangeAspect="1" noChangeArrowheads="1"/>
            </p:cNvPicPr>
            <p:nvPr/>
          </p:nvPicPr>
          <p:blipFill>
            <a:blip r:embed="rId6" cstate="print">
              <a:lum bright="100000"/>
            </a:blip>
            <a:srcRect/>
            <a:stretch>
              <a:fillRect/>
            </a:stretch>
          </p:blipFill>
          <p:spPr bwMode="auto">
            <a:xfrm>
              <a:off x="6599535" y="5325809"/>
              <a:ext cx="824305" cy="333697"/>
            </a:xfrm>
            <a:prstGeom prst="rect">
              <a:avLst/>
            </a:prstGeom>
            <a:noFill/>
            <a:ln>
              <a:noFill/>
            </a:ln>
          </p:spPr>
        </p:pic>
        <p:pic>
          <p:nvPicPr>
            <p:cNvPr id="27" name="Picture 9" descr="http://www.voicespaces.co.za/images/Nec-logo.png"/>
            <p:cNvPicPr>
              <a:picLocks noChangeAspect="1" noChangeArrowheads="1"/>
            </p:cNvPicPr>
            <p:nvPr/>
          </p:nvPicPr>
          <p:blipFill>
            <a:blip r:embed="rId7" cstate="print">
              <a:lum bright="100000"/>
              <a:extLst>
                <a:ext uri="{28A0092B-C50C-407E-A947-70E740481C1C}">
                  <a14:useLocalDpi xmlns:a14="http://schemas.microsoft.com/office/drawing/2010/main" val="0"/>
                </a:ext>
              </a:extLst>
            </a:blip>
            <a:srcRect/>
            <a:stretch>
              <a:fillRect/>
            </a:stretch>
          </p:blipFill>
          <p:spPr bwMode="auto">
            <a:xfrm>
              <a:off x="7562218" y="5329646"/>
              <a:ext cx="1071833" cy="3260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5" descr="\\NAS\Data\Asset.Repository\Logos\NetApp[2].png"/>
            <p:cNvPicPr>
              <a:picLocks noChangeAspect="1" noChangeArrowheads="1"/>
            </p:cNvPicPr>
            <p:nvPr/>
          </p:nvPicPr>
          <p:blipFill>
            <a:blip r:embed="rId8" cstate="print">
              <a:lum bright="100000"/>
            </a:blip>
            <a:srcRect/>
            <a:stretch>
              <a:fillRect/>
            </a:stretch>
          </p:blipFill>
          <p:spPr bwMode="auto">
            <a:xfrm>
              <a:off x="8772429" y="5291650"/>
              <a:ext cx="1523829" cy="402015"/>
            </a:xfrm>
            <a:prstGeom prst="rect">
              <a:avLst/>
            </a:prstGeom>
            <a:noFill/>
            <a:ln>
              <a:noFill/>
            </a:ln>
          </p:spPr>
        </p:pic>
        <p:pic>
          <p:nvPicPr>
            <p:cNvPr id="29" name="Picture 3" descr="\\NAS\Data\Asset.Repository\Logos\Cisco.png"/>
            <p:cNvPicPr>
              <a:picLocks noChangeAspect="1" noChangeArrowheads="1"/>
            </p:cNvPicPr>
            <p:nvPr/>
          </p:nvPicPr>
          <p:blipFill>
            <a:blip r:embed="rId9" cstate="print">
              <a:lum bright="100000"/>
            </a:blip>
            <a:srcRect/>
            <a:stretch>
              <a:fillRect/>
            </a:stretch>
          </p:blipFill>
          <p:spPr bwMode="auto">
            <a:xfrm>
              <a:off x="10434636" y="5249670"/>
              <a:ext cx="917576" cy="485974"/>
            </a:xfrm>
            <a:prstGeom prst="rect">
              <a:avLst/>
            </a:prstGeom>
            <a:noFill/>
            <a:ln>
              <a:noFill/>
            </a:ln>
          </p:spPr>
        </p:pic>
        <p:pic>
          <p:nvPicPr>
            <p:cNvPr id="30" name="Picture 2" descr="EMC"/>
            <p:cNvPicPr>
              <a:picLocks noChangeAspect="1" noChangeArrowheads="1"/>
            </p:cNvPicPr>
            <p:nvPr/>
          </p:nvPicPr>
          <p:blipFill>
            <a:blip r:embed="rId10">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330262" y="5273675"/>
              <a:ext cx="1130895" cy="44132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1" name="Group 30"/>
          <p:cNvGrpSpPr/>
          <p:nvPr/>
        </p:nvGrpSpPr>
        <p:grpSpPr>
          <a:xfrm>
            <a:off x="513293" y="3149447"/>
            <a:ext cx="8117414" cy="638183"/>
            <a:chOff x="684212" y="4199261"/>
            <a:chExt cx="10820400" cy="850910"/>
          </a:xfrm>
        </p:grpSpPr>
        <p:sp>
          <p:nvSpPr>
            <p:cNvPr id="32" name="Rectangle 31"/>
            <p:cNvSpPr/>
            <p:nvPr/>
          </p:nvSpPr>
          <p:spPr>
            <a:xfrm>
              <a:off x="684212" y="4199261"/>
              <a:ext cx="10820400" cy="850910"/>
            </a:xfrm>
            <a:prstGeom prst="rect">
              <a:avLst/>
            </a:prstGeom>
            <a:solidFill>
              <a:schemeClr val="bg2">
                <a:lumMod val="75000"/>
              </a:schemeClr>
            </a:solidFill>
            <a:ln>
              <a:noFill/>
            </a:ln>
            <a:effectLst/>
          </p:spPr>
          <p:style>
            <a:lnRef idx="2">
              <a:schemeClr val="accent6">
                <a:shade val="50000"/>
              </a:schemeClr>
            </a:lnRef>
            <a:fillRef idx="1">
              <a:schemeClr val="accent6"/>
            </a:fillRef>
            <a:effectRef idx="0">
              <a:schemeClr val="accent6"/>
            </a:effectRef>
            <a:fontRef idx="minor">
              <a:schemeClr val="lt1"/>
            </a:fontRef>
          </p:style>
          <p:txBody>
            <a:bodyPr tIns="182880" bIns="182880" rtlCol="0" anchor="ctr"/>
            <a:lstStyle/>
            <a:p>
              <a:pPr algn="ctr"/>
              <a:endParaRPr lang="en-GB" sz="2100" dirty="0">
                <a:solidFill>
                  <a:schemeClr val="tx1"/>
                </a:solidFill>
                <a:latin typeface="Segoe UI Light" pitchFamily="34" charset="0"/>
                <a:cs typeface="Segoe UI Light" pitchFamily="34" charset="0"/>
              </a:endParaRPr>
            </a:p>
          </p:txBody>
        </p:sp>
        <p:pic>
          <p:nvPicPr>
            <p:cNvPr id="33" name="Picture 2" descr="Microsoft logo and tagline"/>
            <p:cNvPicPr>
              <a:picLocks noChangeAspect="1" noChangeArrowheads="1"/>
            </p:cNvPicPr>
            <p:nvPr/>
          </p:nvPicPr>
          <p:blipFill rotWithShape="1">
            <a:blip r:embed="rId12" cstate="email">
              <a:extLst>
                <a:ext uri="{28A0092B-C50C-407E-A947-70E740481C1C}">
                  <a14:useLocalDpi xmlns:a14="http://schemas.microsoft.com/office/drawing/2010/main"/>
                </a:ext>
              </a:extLst>
            </a:blip>
            <a:srcRect/>
            <a:stretch/>
          </p:blipFill>
          <p:spPr bwMode="gray">
            <a:xfrm>
              <a:off x="2665412" y="4430302"/>
              <a:ext cx="2311890" cy="388828"/>
            </a:xfrm>
            <a:prstGeom prst="rect">
              <a:avLst/>
            </a:prstGeom>
            <a:noFill/>
            <a:ln>
              <a:noFill/>
            </a:ln>
          </p:spPr>
        </p:pic>
        <p:pic>
          <p:nvPicPr>
            <p:cNvPr id="34" name="Picture 2" descr="http://xen.org/images/logos/CITRIX_logo.png"/>
            <p:cNvPicPr>
              <a:picLocks noChangeAspect="1" noChangeArrowheads="1"/>
            </p:cNvPicPr>
            <p:nvPr/>
          </p:nvPicPr>
          <p:blipFill>
            <a:blip r:embed="rId13">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288200" y="4318665"/>
              <a:ext cx="1571598" cy="634335"/>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descr="http://theitbros.com/wp-content/uploads/2011/02/vmware-logo.png"/>
            <p:cNvPicPr>
              <a:picLocks noChangeAspect="1" noChangeArrowheads="1"/>
            </p:cNvPicPr>
            <p:nvPr/>
          </p:nvPicPr>
          <p:blipFill rotWithShape="1">
            <a:blip r:embed="rId15" cstate="print">
              <a:extLst>
                <a:ext uri="{BEBA8EAE-BF5A-486C-A8C5-ECC9F3942E4B}">
                  <a14:imgProps xmlns:a14="http://schemas.microsoft.com/office/drawing/2010/main">
                    <a14:imgLayer r:embed="rId16">
                      <a14:imgEffect>
                        <a14:backgroundRemoval t="30667" b="63556" l="1250" r="99375">
                          <a14:foregroundMark x1="3750" y1="34889" x2="3750" y2="34889"/>
                          <a14:foregroundMark x1="3854" y1="34889" x2="9063" y2="58000"/>
                          <a14:foregroundMark x1="41771" y1="42222" x2="41771" y2="42222"/>
                          <a14:foregroundMark x1="68438" y1="34667" x2="68438" y2="34667"/>
                          <a14:foregroundMark x1="76875" y1="36889" x2="76875" y2="36889"/>
                          <a14:foregroundMark x1="87708" y1="36000" x2="87708" y2="36000"/>
                        </a14:backgroundRemoval>
                      </a14:imgEffect>
                      <a14:imgEffect>
                        <a14:brightnessContrast bright="100000"/>
                      </a14:imgEffect>
                    </a14:imgLayer>
                  </a14:imgProps>
                </a:ext>
                <a:ext uri="{28A0092B-C50C-407E-A947-70E740481C1C}">
                  <a14:useLocalDpi xmlns:a14="http://schemas.microsoft.com/office/drawing/2010/main" val="0"/>
                </a:ext>
              </a:extLst>
            </a:blip>
            <a:srcRect t="29105" b="32546"/>
            <a:stretch/>
          </p:blipFill>
          <p:spPr bwMode="auto">
            <a:xfrm>
              <a:off x="7194076" y="4430302"/>
              <a:ext cx="2163014" cy="38882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6" name="Group 35"/>
          <p:cNvGrpSpPr/>
          <p:nvPr/>
        </p:nvGrpSpPr>
        <p:grpSpPr>
          <a:xfrm>
            <a:off x="513293" y="2371097"/>
            <a:ext cx="8117414" cy="857250"/>
            <a:chOff x="684212" y="3161463"/>
            <a:chExt cx="10820400" cy="1143000"/>
          </a:xfrm>
        </p:grpSpPr>
        <p:sp>
          <p:nvSpPr>
            <p:cNvPr id="37" name="Rectangle 36"/>
            <p:cNvSpPr/>
            <p:nvPr/>
          </p:nvSpPr>
          <p:spPr>
            <a:xfrm>
              <a:off x="684212" y="3307508"/>
              <a:ext cx="10820400" cy="850910"/>
            </a:xfrm>
            <a:prstGeom prst="rect">
              <a:avLst/>
            </a:prstGeom>
            <a:solidFill>
              <a:schemeClr val="bg2">
                <a:lumMod val="75000"/>
              </a:schemeClr>
            </a:solidFill>
            <a:ln>
              <a:noFill/>
            </a:ln>
            <a:effectLst/>
          </p:spPr>
          <p:style>
            <a:lnRef idx="2">
              <a:schemeClr val="accent6">
                <a:shade val="50000"/>
              </a:schemeClr>
            </a:lnRef>
            <a:fillRef idx="1">
              <a:schemeClr val="accent6"/>
            </a:fillRef>
            <a:effectRef idx="0">
              <a:schemeClr val="accent6"/>
            </a:effectRef>
            <a:fontRef idx="minor">
              <a:schemeClr val="lt1"/>
            </a:fontRef>
          </p:style>
          <p:txBody>
            <a:bodyPr tIns="182880" bIns="182880" rtlCol="0" anchor="ctr"/>
            <a:lstStyle/>
            <a:p>
              <a:pPr algn="ctr"/>
              <a:endParaRPr lang="en-GB" sz="2100" dirty="0">
                <a:solidFill>
                  <a:schemeClr val="tx1"/>
                </a:solidFill>
                <a:latin typeface="Segoe UI Light" pitchFamily="34" charset="0"/>
                <a:cs typeface="Segoe UI Light" pitchFamily="34" charset="0"/>
              </a:endParaRPr>
            </a:p>
          </p:txBody>
        </p:sp>
        <p:pic>
          <p:nvPicPr>
            <p:cNvPr id="38" name="Picture 2" descr="D:\SkyDrive\Documents - Work\Images\Product Logos\ws_rgb_r.png"/>
            <p:cNvPicPr>
              <a:picLocks noChangeAspect="1" noChangeArrowheads="1"/>
            </p:cNvPicPr>
            <p:nvPr/>
          </p:nvPicPr>
          <p:blipFill>
            <a:blip r:embed="rId17">
              <a:extLst>
                <a:ext uri="{BEBA8EAE-BF5A-486C-A8C5-ECC9F3942E4B}">
                  <a14:imgProps xmlns:a14="http://schemas.microsoft.com/office/drawing/2010/main">
                    <a14:imgLayer r:embed="rId1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589213" y="3509627"/>
              <a:ext cx="2514599" cy="446672"/>
            </a:xfrm>
            <a:prstGeom prst="rect">
              <a:avLst/>
            </a:prstGeom>
            <a:noFill/>
            <a:extLst>
              <a:ext uri="{909E8E84-426E-40DD-AFC4-6F175D3DCCD1}">
                <a14:hiddenFill xmlns:a14="http://schemas.microsoft.com/office/drawing/2010/main">
                  <a:solidFill>
                    <a:srgbClr val="FFFFFF"/>
                  </a:solidFill>
                </a14:hiddenFill>
              </a:ext>
            </a:extLst>
          </p:spPr>
        </p:pic>
        <p:grpSp>
          <p:nvGrpSpPr>
            <p:cNvPr id="39" name="Group 86"/>
            <p:cNvGrpSpPr/>
            <p:nvPr/>
          </p:nvGrpSpPr>
          <p:grpSpPr>
            <a:xfrm>
              <a:off x="5300410" y="3276600"/>
              <a:ext cx="914400" cy="914400"/>
              <a:chOff x="9599612" y="3047163"/>
              <a:chExt cx="914400" cy="914400"/>
            </a:xfrm>
          </p:grpSpPr>
          <p:pic>
            <p:nvPicPr>
              <p:cNvPr id="42" name="Picture 4" descr="C:\Users\sigurdg\Desktop\RedHat.png"/>
              <p:cNvPicPr>
                <a:picLocks noChangeAspect="1" noChangeArrowheads="1"/>
              </p:cNvPicPr>
              <p:nvPr/>
            </p:nvPicPr>
            <p:blipFill rotWithShape="1">
              <a:blip r:embed="rId19" cstate="print">
                <a:lum bright="100000"/>
              </a:blip>
              <a:srcRect l="36842" t="12033" b="26374"/>
              <a:stretch/>
            </p:blipFill>
            <p:spPr bwMode="auto">
              <a:xfrm>
                <a:off x="9599612" y="3069808"/>
                <a:ext cx="914400" cy="891755"/>
              </a:xfrm>
              <a:prstGeom prst="rect">
                <a:avLst/>
              </a:prstGeom>
              <a:noFill/>
            </p:spPr>
          </p:pic>
          <p:pic>
            <p:nvPicPr>
              <p:cNvPr id="43" name="Picture 4" descr="C:\Users\sigurdg\Desktop\RedHat.png"/>
              <p:cNvPicPr>
                <a:picLocks noChangeAspect="1" noChangeArrowheads="1"/>
              </p:cNvPicPr>
              <p:nvPr/>
            </p:nvPicPr>
            <p:blipFill rotWithShape="1">
              <a:blip r:embed="rId19" cstate="print">
                <a:lum bright="100000"/>
              </a:blip>
              <a:srcRect t="27822" r="63158" b="17675"/>
              <a:stretch/>
            </p:blipFill>
            <p:spPr bwMode="auto">
              <a:xfrm>
                <a:off x="9675812" y="3047163"/>
                <a:ext cx="533400" cy="789096"/>
              </a:xfrm>
              <a:prstGeom prst="rect">
                <a:avLst/>
              </a:prstGeom>
              <a:noFill/>
            </p:spPr>
          </p:pic>
        </p:grpSp>
        <p:pic>
          <p:nvPicPr>
            <p:cNvPr id="40" name="Picture 5" descr="C:\Users\sigurdg\Desktop\SuSe.png"/>
            <p:cNvPicPr>
              <a:picLocks noChangeAspect="1" noChangeArrowheads="1"/>
            </p:cNvPicPr>
            <p:nvPr/>
          </p:nvPicPr>
          <p:blipFill>
            <a:blip r:embed="rId20" cstate="print">
              <a:lum bright="100000"/>
            </a:blip>
            <a:srcRect/>
            <a:stretch>
              <a:fillRect/>
            </a:stretch>
          </p:blipFill>
          <p:spPr bwMode="auto">
            <a:xfrm>
              <a:off x="6411408" y="3161463"/>
              <a:ext cx="1143000" cy="1143000"/>
            </a:xfrm>
            <a:prstGeom prst="rect">
              <a:avLst/>
            </a:prstGeom>
            <a:noFill/>
          </p:spPr>
        </p:pic>
        <p:pic>
          <p:nvPicPr>
            <p:cNvPr id="41" name="Picture 3" descr="C:\Users\sigurdg\Desktop\centOS.png"/>
            <p:cNvPicPr>
              <a:picLocks noChangeAspect="1" noChangeArrowheads="1"/>
            </p:cNvPicPr>
            <p:nvPr/>
          </p:nvPicPr>
          <p:blipFill rotWithShape="1">
            <a:blip r:embed="rId21" cstate="print">
              <a:lum bright="100000"/>
            </a:blip>
            <a:srcRect t="29061" b="22483"/>
            <a:stretch/>
          </p:blipFill>
          <p:spPr bwMode="auto">
            <a:xfrm>
              <a:off x="7751006" y="3452598"/>
              <a:ext cx="1427794" cy="691851"/>
            </a:xfrm>
            <a:prstGeom prst="rect">
              <a:avLst/>
            </a:prstGeom>
            <a:noFill/>
          </p:spPr>
        </p:pic>
      </p:grpSp>
      <p:grpSp>
        <p:nvGrpSpPr>
          <p:cNvPr id="44" name="Group 43"/>
          <p:cNvGrpSpPr/>
          <p:nvPr/>
        </p:nvGrpSpPr>
        <p:grpSpPr>
          <a:xfrm>
            <a:off x="513293" y="1811816"/>
            <a:ext cx="8117414" cy="638183"/>
            <a:chOff x="684212" y="2415754"/>
            <a:chExt cx="10820400" cy="850910"/>
          </a:xfrm>
        </p:grpSpPr>
        <p:sp>
          <p:nvSpPr>
            <p:cNvPr id="45" name="Rectangle 44"/>
            <p:cNvSpPr/>
            <p:nvPr/>
          </p:nvSpPr>
          <p:spPr>
            <a:xfrm>
              <a:off x="684212" y="2415754"/>
              <a:ext cx="10820400" cy="850910"/>
            </a:xfrm>
            <a:prstGeom prst="rect">
              <a:avLst/>
            </a:prstGeom>
            <a:solidFill>
              <a:schemeClr val="bg2">
                <a:lumMod val="75000"/>
              </a:schemeClr>
            </a:solidFill>
            <a:ln>
              <a:noFill/>
            </a:ln>
            <a:effectLst/>
          </p:spPr>
          <p:style>
            <a:lnRef idx="2">
              <a:schemeClr val="accent6">
                <a:shade val="50000"/>
              </a:schemeClr>
            </a:lnRef>
            <a:fillRef idx="1">
              <a:schemeClr val="accent6"/>
            </a:fillRef>
            <a:effectRef idx="0">
              <a:schemeClr val="accent6"/>
            </a:effectRef>
            <a:fontRef idx="minor">
              <a:schemeClr val="lt1"/>
            </a:fontRef>
          </p:style>
          <p:txBody>
            <a:bodyPr tIns="182880" bIns="182880" rtlCol="0" anchor="ctr"/>
            <a:lstStyle/>
            <a:p>
              <a:pPr algn="ctr"/>
              <a:endParaRPr lang="en-GB" sz="2100" dirty="0">
                <a:solidFill>
                  <a:schemeClr val="tx1"/>
                </a:solidFill>
                <a:latin typeface="Segoe UI Light" pitchFamily="34" charset="0"/>
                <a:cs typeface="Segoe UI Light" pitchFamily="34" charset="0"/>
              </a:endParaRPr>
            </a:p>
          </p:txBody>
        </p:sp>
        <p:pic>
          <p:nvPicPr>
            <p:cNvPr id="46" name="Picture 3" descr="C:\Users\scorosen\AppData\Local\Microsoft\Windows\Temporary Internet Files\Content.Outlook\QDXNTWDS\HP_Logo.png"/>
            <p:cNvPicPr>
              <a:picLocks noChangeAspect="1" noChangeArrowheads="1"/>
            </p:cNvPicPr>
            <p:nvPr/>
          </p:nvPicPr>
          <p:blipFill>
            <a:blip r:embed="rId2" cstate="print">
              <a:lum bright="100000"/>
              <a:extLst>
                <a:ext uri="{28A0092B-C50C-407E-A947-70E740481C1C}">
                  <a14:useLocalDpi xmlns:a14="http://schemas.microsoft.com/office/drawing/2010/main" val="0"/>
                </a:ext>
              </a:extLst>
            </a:blip>
            <a:srcRect l="22471" t="11905" r="22078" b="13095"/>
            <a:stretch>
              <a:fillRect/>
            </a:stretch>
          </p:blipFill>
          <p:spPr bwMode="auto">
            <a:xfrm>
              <a:off x="3643067" y="2502655"/>
              <a:ext cx="609600" cy="619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1" descr="\\NAS\Data\Asset.Repository\Logos\IBM.png"/>
            <p:cNvPicPr>
              <a:picLocks noChangeAspect="1" noChangeArrowheads="1"/>
            </p:cNvPicPr>
            <p:nvPr/>
          </p:nvPicPr>
          <p:blipFill>
            <a:blip r:embed="rId6" cstate="print">
              <a:lum bright="100000"/>
            </a:blip>
            <a:srcRect/>
            <a:stretch>
              <a:fillRect/>
            </a:stretch>
          </p:blipFill>
          <p:spPr bwMode="auto">
            <a:xfrm>
              <a:off x="5593053" y="2657466"/>
              <a:ext cx="824305" cy="333697"/>
            </a:xfrm>
            <a:prstGeom prst="rect">
              <a:avLst/>
            </a:prstGeom>
            <a:noFill/>
            <a:ln>
              <a:noFill/>
            </a:ln>
          </p:spPr>
        </p:pic>
        <p:pic>
          <p:nvPicPr>
            <p:cNvPr id="48" name="Picture 47" descr="computer associates logo_rev.png"/>
            <p:cNvPicPr>
              <a:picLocks noChangeAspect="1"/>
            </p:cNvPicPr>
            <p:nvPr/>
          </p:nvPicPr>
          <p:blipFill>
            <a:blip r:embed="rId22" cstate="print"/>
            <a:stretch>
              <a:fillRect/>
            </a:stretch>
          </p:blipFill>
          <p:spPr>
            <a:xfrm>
              <a:off x="4661142" y="2637253"/>
              <a:ext cx="523436" cy="350234"/>
            </a:xfrm>
            <a:prstGeom prst="rect">
              <a:avLst/>
            </a:prstGeom>
          </p:spPr>
        </p:pic>
        <p:pic>
          <p:nvPicPr>
            <p:cNvPr id="49" name="Picture 48" descr="bmc logo_rev.png"/>
            <p:cNvPicPr>
              <a:picLocks noChangeAspect="1"/>
            </p:cNvPicPr>
            <p:nvPr/>
          </p:nvPicPr>
          <p:blipFill>
            <a:blip r:embed="rId23" cstate="print"/>
            <a:stretch>
              <a:fillRect/>
            </a:stretch>
          </p:blipFill>
          <p:spPr>
            <a:xfrm>
              <a:off x="6825834" y="2676009"/>
              <a:ext cx="1991709" cy="315154"/>
            </a:xfrm>
            <a:prstGeom prst="rect">
              <a:avLst/>
            </a:prstGeom>
          </p:spPr>
        </p:pic>
      </p:grpSp>
      <p:grpSp>
        <p:nvGrpSpPr>
          <p:cNvPr id="50" name="Group 49"/>
          <p:cNvGrpSpPr/>
          <p:nvPr/>
        </p:nvGrpSpPr>
        <p:grpSpPr>
          <a:xfrm>
            <a:off x="513293" y="1143001"/>
            <a:ext cx="8117414" cy="638183"/>
            <a:chOff x="684212" y="1524000"/>
            <a:chExt cx="10820400" cy="850910"/>
          </a:xfrm>
        </p:grpSpPr>
        <p:sp>
          <p:nvSpPr>
            <p:cNvPr id="51" name="Rectangle 50"/>
            <p:cNvSpPr/>
            <p:nvPr/>
          </p:nvSpPr>
          <p:spPr>
            <a:xfrm>
              <a:off x="684212" y="1524000"/>
              <a:ext cx="10820400" cy="850910"/>
            </a:xfrm>
            <a:prstGeom prst="rect">
              <a:avLst/>
            </a:prstGeom>
            <a:solidFill>
              <a:schemeClr val="bg2">
                <a:lumMod val="75000"/>
              </a:schemeClr>
            </a:solidFill>
            <a:ln>
              <a:noFill/>
            </a:ln>
            <a:effectLst/>
          </p:spPr>
          <p:style>
            <a:lnRef idx="2">
              <a:schemeClr val="accent6">
                <a:shade val="50000"/>
              </a:schemeClr>
            </a:lnRef>
            <a:fillRef idx="1">
              <a:schemeClr val="accent6"/>
            </a:fillRef>
            <a:effectRef idx="0">
              <a:schemeClr val="accent6"/>
            </a:effectRef>
            <a:fontRef idx="minor">
              <a:schemeClr val="lt1"/>
            </a:fontRef>
          </p:style>
          <p:txBody>
            <a:bodyPr tIns="182880" bIns="182880" rtlCol="0" anchor="ctr"/>
            <a:lstStyle/>
            <a:p>
              <a:pPr algn="ctr"/>
              <a:endParaRPr lang="en-GB" sz="2100" dirty="0">
                <a:solidFill>
                  <a:schemeClr val="tx1"/>
                </a:solidFill>
                <a:latin typeface="Segoe UI Light" pitchFamily="34" charset="0"/>
                <a:cs typeface="Segoe UI Light" pitchFamily="34" charset="0"/>
              </a:endParaRPr>
            </a:p>
          </p:txBody>
        </p:sp>
        <p:pic>
          <p:nvPicPr>
            <p:cNvPr id="52" name="Picture 2" descr="https://mediabank.partners.extranet.microsoft.com/Assets/Active/M-Q/Microsoft_.NET/Microsoft_NET_ADO_.NET/Logos+Logotypes/NET-ADO_bL.png"/>
            <p:cNvPicPr>
              <a:picLocks noChangeAspect="1" noChangeArrowheads="1"/>
            </p:cNvPicPr>
            <p:nvPr/>
          </p:nvPicPr>
          <p:blipFill>
            <a:blip r:embed="rId24" cstate="print">
              <a:lum bright="100000" contrast="100000"/>
              <a:alphaModFix/>
            </a:blip>
            <a:srcRect r="31488"/>
            <a:stretch>
              <a:fillRect/>
            </a:stretch>
          </p:blipFill>
          <p:spPr bwMode="auto">
            <a:xfrm>
              <a:off x="3947867" y="1722830"/>
              <a:ext cx="1546167" cy="446748"/>
            </a:xfrm>
            <a:prstGeom prst="rect">
              <a:avLst/>
            </a:prstGeom>
            <a:noFill/>
          </p:spPr>
        </p:pic>
        <p:pic>
          <p:nvPicPr>
            <p:cNvPr id="53" name="Picture 4" descr="http://www.jbase.com/new/products/images/java.png"/>
            <p:cNvPicPr>
              <a:picLocks noChangeAspect="1" noChangeArrowheads="1"/>
            </p:cNvPicPr>
            <p:nvPr/>
          </p:nvPicPr>
          <p:blipFill>
            <a:blip r:embed="rId25" cstate="print">
              <a:lum bright="100000" contrast="100000"/>
            </a:blip>
            <a:srcRect/>
            <a:stretch>
              <a:fillRect/>
            </a:stretch>
          </p:blipFill>
          <p:spPr bwMode="auto">
            <a:xfrm>
              <a:off x="5877692" y="1645865"/>
              <a:ext cx="322024" cy="600678"/>
            </a:xfrm>
            <a:prstGeom prst="rect">
              <a:avLst/>
            </a:prstGeom>
            <a:noFill/>
          </p:spPr>
        </p:pic>
        <p:pic>
          <p:nvPicPr>
            <p:cNvPr id="54" name="Picture 53" descr="PHP.png"/>
            <p:cNvPicPr>
              <a:picLocks noChangeAspect="1"/>
            </p:cNvPicPr>
            <p:nvPr/>
          </p:nvPicPr>
          <p:blipFill>
            <a:blip r:embed="rId26" cstate="print"/>
            <a:stretch>
              <a:fillRect/>
            </a:stretch>
          </p:blipFill>
          <p:spPr>
            <a:xfrm>
              <a:off x="6583374" y="1740097"/>
              <a:ext cx="783975" cy="412215"/>
            </a:xfrm>
            <a:prstGeom prst="rect">
              <a:avLst/>
            </a:prstGeom>
            <a:noFill/>
          </p:spPr>
        </p:pic>
        <p:pic>
          <p:nvPicPr>
            <p:cNvPr id="55" name="Picture 3"/>
            <p:cNvPicPr>
              <a:picLocks noChangeAspect="1" noChangeArrowheads="1"/>
            </p:cNvPicPr>
            <p:nvPr/>
          </p:nvPicPr>
          <p:blipFill>
            <a:blip r:embed="rId27" cstate="print">
              <a:lum bright="100000"/>
            </a:blip>
            <a:srcRect/>
            <a:stretch>
              <a:fillRect/>
            </a:stretch>
          </p:blipFill>
          <p:spPr bwMode="auto">
            <a:xfrm>
              <a:off x="7751006" y="1655692"/>
              <a:ext cx="581025" cy="581025"/>
            </a:xfrm>
            <a:prstGeom prst="rect">
              <a:avLst/>
            </a:prstGeom>
            <a:noFill/>
            <a:ln w="9525">
              <a:noFill/>
              <a:miter lim="800000"/>
              <a:headEnd/>
              <a:tailEnd/>
            </a:ln>
            <a:effectLst/>
          </p:spPr>
        </p:pic>
      </p:grpSp>
      <p:sp>
        <p:nvSpPr>
          <p:cNvPr id="56"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57"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8"/>
              </a:rPr>
              <a:t>www.rapidbbs.cn</a:t>
            </a:r>
            <a:endParaRPr lang="zh-CN" altLang="en-US" sz="1200" b="0">
              <a:latin typeface="Arial" charset="0"/>
              <a:ea typeface="ＭＳ Ｐゴシック" pitchFamily="34" charset="-128"/>
            </a:endParaRPr>
          </a:p>
        </p:txBody>
      </p:sp>
      <p:pic>
        <p:nvPicPr>
          <p:cNvPr id="58" name="Picture 2">
            <a:hlinkClick r:id="rId28"/>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766783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wipe(down)">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wipe(down)">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grpId="0"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wipe(down)">
                                      <p:cBhvr>
                                        <p:cTn id="22" dur="500"/>
                                        <p:tgtEl>
                                          <p:spTgt spid="7"/>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grpId="0" nodeType="click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wipe(down)">
                                      <p:cBhvr>
                                        <p:cTn id="27" dur="500"/>
                                        <p:tgtEl>
                                          <p:spTgt spid="8"/>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0"/>
                                        </p:tgtEl>
                                        <p:attrNameLst>
                                          <p:attrName>style.visibility</p:attrName>
                                        </p:attrNameLst>
                                      </p:cBhvr>
                                      <p:to>
                                        <p:strVal val="visible"/>
                                      </p:to>
                                    </p:set>
                                    <p:animEffect transition="in" filter="fade">
                                      <p:cBhvr>
                                        <p:cTn id="32" dur="500"/>
                                        <p:tgtEl>
                                          <p:spTgt spid="20"/>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36"/>
                                        </p:tgtEl>
                                        <p:attrNameLst>
                                          <p:attrName>style.visibility</p:attrName>
                                        </p:attrNameLst>
                                      </p:cBhvr>
                                      <p:to>
                                        <p:strVal val="visible"/>
                                      </p:to>
                                    </p:set>
                                    <p:animEffect transition="in" filter="fade">
                                      <p:cBhvr>
                                        <p:cTn id="42" dur="500"/>
                                        <p:tgtEl>
                                          <p:spTgt spid="36"/>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44"/>
                                        </p:tgtEl>
                                        <p:attrNameLst>
                                          <p:attrName>style.visibility</p:attrName>
                                        </p:attrNameLst>
                                      </p:cBhvr>
                                      <p:to>
                                        <p:strVal val="visible"/>
                                      </p:to>
                                    </p:set>
                                    <p:animEffect transition="in" filter="fade">
                                      <p:cBhvr>
                                        <p:cTn id="47" dur="500"/>
                                        <p:tgtEl>
                                          <p:spTgt spid="44"/>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50"/>
                                        </p:tgtEl>
                                        <p:attrNameLst>
                                          <p:attrName>style.visibility</p:attrName>
                                        </p:attrNameLst>
                                      </p:cBhvr>
                                      <p:to>
                                        <p:strVal val="visible"/>
                                      </p:to>
                                    </p:set>
                                    <p:animEffect transition="in" filter="fade">
                                      <p:cBhvr>
                                        <p:cTn id="52"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Lst>
  </p:timing>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ssion Focus</a:t>
            </a:r>
            <a:endParaRPr lang="en-US" dirty="0"/>
          </a:p>
        </p:txBody>
      </p:sp>
      <p:grpSp>
        <p:nvGrpSpPr>
          <p:cNvPr id="8" name="Group 7"/>
          <p:cNvGrpSpPr/>
          <p:nvPr/>
        </p:nvGrpSpPr>
        <p:grpSpPr>
          <a:xfrm>
            <a:off x="1828085" y="1281550"/>
            <a:ext cx="1845872" cy="2609618"/>
            <a:chOff x="1021217" y="1720105"/>
            <a:chExt cx="2460522" cy="3479491"/>
          </a:xfrm>
        </p:grpSpPr>
        <p:sp>
          <p:nvSpPr>
            <p:cNvPr id="5" name="Rectangle 37"/>
            <p:cNvSpPr>
              <a:spLocks noChangeArrowheads="1"/>
            </p:cNvSpPr>
            <p:nvPr/>
          </p:nvSpPr>
          <p:spPr bwMode="auto">
            <a:xfrm>
              <a:off x="1021217" y="1720105"/>
              <a:ext cx="2460522" cy="3479491"/>
            </a:xfrm>
            <a:prstGeom prst="rect">
              <a:avLst/>
            </a:prstGeom>
            <a:solidFill>
              <a:schemeClr val="bg2">
                <a:lumMod val="75000"/>
              </a:schemeClr>
            </a:solidFill>
            <a:ln w="9525">
              <a:noFill/>
              <a:miter lim="800000"/>
              <a:headEnd/>
              <a:tailEnd/>
            </a:ln>
          </p:spPr>
          <p:txBody>
            <a:bodyPr anchor="b"/>
            <a:lstStyle/>
            <a:p>
              <a:pPr defTabSz="685862" fontAlgn="base">
                <a:spcBef>
                  <a:spcPct val="0"/>
                </a:spcBef>
                <a:spcAft>
                  <a:spcPct val="0"/>
                </a:spcAft>
              </a:pPr>
              <a:r>
                <a:rPr lang="en-US" sz="1500" spc="-38" dirty="0">
                  <a:latin typeface="Segoe UI Light" pitchFamily="34" charset="0"/>
                  <a:cs typeface="Segoe UI Light" pitchFamily="34" charset="0"/>
                </a:rPr>
                <a:t>Hypervisor Management</a:t>
              </a:r>
            </a:p>
          </p:txBody>
        </p:sp>
        <p:pic>
          <p:nvPicPr>
            <p:cNvPr id="7" name="Picture 13"/>
            <p:cNvPicPr>
              <a:picLocks noChangeAspect="1" noChangeArrowheads="1"/>
            </p:cNvPicPr>
            <p:nvPr/>
          </p:nvPicPr>
          <p:blipFill>
            <a:blip r:embed="rId2" cstate="email">
              <a:biLevel thresh="50000"/>
              <a:extLst>
                <a:ext uri="{28A0092B-C50C-407E-A947-70E740481C1C}">
                  <a14:useLocalDpi xmlns:a14="http://schemas.microsoft.com/office/drawing/2010/main"/>
                </a:ext>
              </a:extLst>
            </a:blip>
            <a:srcRect/>
            <a:stretch>
              <a:fillRect/>
            </a:stretch>
          </p:blipFill>
          <p:spPr bwMode="auto">
            <a:xfrm>
              <a:off x="1574957" y="2590800"/>
              <a:ext cx="1353041" cy="12590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3" name="Group 12"/>
          <p:cNvGrpSpPr/>
          <p:nvPr/>
        </p:nvGrpSpPr>
        <p:grpSpPr>
          <a:xfrm>
            <a:off x="5600968" y="1278139"/>
            <a:ext cx="1845872" cy="2609618"/>
            <a:chOff x="4944157" y="1704183"/>
            <a:chExt cx="2460522" cy="3479491"/>
          </a:xfrm>
        </p:grpSpPr>
        <p:sp>
          <p:nvSpPr>
            <p:cNvPr id="10" name="Rectangle 37"/>
            <p:cNvSpPr>
              <a:spLocks noChangeArrowheads="1"/>
            </p:cNvSpPr>
            <p:nvPr/>
          </p:nvSpPr>
          <p:spPr bwMode="auto">
            <a:xfrm>
              <a:off x="4944157" y="1704183"/>
              <a:ext cx="2460522" cy="3479491"/>
            </a:xfrm>
            <a:prstGeom prst="rect">
              <a:avLst/>
            </a:prstGeom>
            <a:solidFill>
              <a:schemeClr val="bg2">
                <a:lumMod val="75000"/>
              </a:schemeClr>
            </a:solidFill>
            <a:ln w="9525">
              <a:noFill/>
              <a:miter lim="800000"/>
              <a:headEnd/>
              <a:tailEnd/>
            </a:ln>
          </p:spPr>
          <p:txBody>
            <a:bodyPr anchor="b"/>
            <a:lstStyle/>
            <a:p>
              <a:pPr defTabSz="685862" fontAlgn="base">
                <a:spcBef>
                  <a:spcPct val="0"/>
                </a:spcBef>
                <a:spcAft>
                  <a:spcPct val="0"/>
                </a:spcAft>
              </a:pPr>
              <a:r>
                <a:rPr lang="en-US" sz="1500" spc="-38" dirty="0">
                  <a:latin typeface="Segoe UI Light" pitchFamily="34" charset="0"/>
                  <a:cs typeface="Segoe UI Light" pitchFamily="34" charset="0"/>
                </a:rPr>
                <a:t>Heterogeneous Automation</a:t>
              </a:r>
            </a:p>
          </p:txBody>
        </p:sp>
        <p:pic>
          <p:nvPicPr>
            <p:cNvPr id="12" name="Picture 5"/>
            <p:cNvPicPr>
              <a:picLocks noChangeAspect="1" noChangeArrowheads="1"/>
            </p:cNvPicPr>
            <p:nvPr/>
          </p:nvPicPr>
          <p:blipFill>
            <a:blip r:embed="rId3" cstate="email">
              <a:biLevel thresh="50000"/>
              <a:extLst>
                <a:ext uri="{28A0092B-C50C-407E-A947-70E740481C1C}">
                  <a14:useLocalDpi xmlns:a14="http://schemas.microsoft.com/office/drawing/2010/main"/>
                </a:ext>
              </a:extLst>
            </a:blip>
            <a:srcRect/>
            <a:stretch>
              <a:fillRect/>
            </a:stretch>
          </p:blipFill>
          <p:spPr bwMode="auto">
            <a:xfrm>
              <a:off x="5572350" y="2643131"/>
              <a:ext cx="1131662" cy="11316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3714526" y="1281550"/>
            <a:ext cx="1845872" cy="2609618"/>
            <a:chOff x="4951412" y="1708732"/>
            <a:chExt cx="2460522" cy="3479491"/>
          </a:xfrm>
        </p:grpSpPr>
        <p:sp>
          <p:nvSpPr>
            <p:cNvPr id="15" name="Rectangle 37"/>
            <p:cNvSpPr>
              <a:spLocks noChangeArrowheads="1"/>
            </p:cNvSpPr>
            <p:nvPr/>
          </p:nvSpPr>
          <p:spPr bwMode="auto">
            <a:xfrm>
              <a:off x="4951412" y="1708732"/>
              <a:ext cx="2460522" cy="3479491"/>
            </a:xfrm>
            <a:prstGeom prst="rect">
              <a:avLst/>
            </a:prstGeom>
            <a:solidFill>
              <a:schemeClr val="bg2">
                <a:lumMod val="75000"/>
              </a:schemeClr>
            </a:solidFill>
            <a:ln w="9525">
              <a:noFill/>
              <a:miter lim="800000"/>
              <a:headEnd/>
              <a:tailEnd/>
            </a:ln>
          </p:spPr>
          <p:txBody>
            <a:bodyPr anchor="b"/>
            <a:lstStyle/>
            <a:p>
              <a:pPr defTabSz="685862" fontAlgn="base">
                <a:spcBef>
                  <a:spcPct val="0"/>
                </a:spcBef>
                <a:spcAft>
                  <a:spcPct val="0"/>
                </a:spcAft>
              </a:pPr>
              <a:r>
                <a:rPr lang="en-US" sz="1500" spc="-38" dirty="0">
                  <a:latin typeface="Segoe UI Light" pitchFamily="34" charset="0"/>
                  <a:cs typeface="Segoe UI Light" pitchFamily="34" charset="0"/>
                </a:rPr>
                <a:t>Infrastructure Monitoring</a:t>
              </a:r>
            </a:p>
          </p:txBody>
        </p:sp>
        <p:sp>
          <p:nvSpPr>
            <p:cNvPr id="17" name="Freeform 620"/>
            <p:cNvSpPr>
              <a:spLocks noEditPoints="1"/>
            </p:cNvSpPr>
            <p:nvPr/>
          </p:nvSpPr>
          <p:spPr bwMode="auto">
            <a:xfrm>
              <a:off x="5556703" y="2586385"/>
              <a:ext cx="1249940" cy="1252112"/>
            </a:xfrm>
            <a:custGeom>
              <a:avLst/>
              <a:gdLst>
                <a:gd name="T0" fmla="*/ 977 w 977"/>
                <a:gd name="T1" fmla="*/ 401 h 977"/>
                <a:gd name="T2" fmla="*/ 576 w 977"/>
                <a:gd name="T3" fmla="*/ 0 h 977"/>
                <a:gd name="T4" fmla="*/ 175 w 977"/>
                <a:gd name="T5" fmla="*/ 401 h 977"/>
                <a:gd name="T6" fmla="*/ 238 w 977"/>
                <a:gd name="T7" fmla="*/ 617 h 977"/>
                <a:gd name="T8" fmla="*/ 34 w 977"/>
                <a:gd name="T9" fmla="*/ 821 h 977"/>
                <a:gd name="T10" fmla="*/ 34 w 977"/>
                <a:gd name="T11" fmla="*/ 943 h 977"/>
                <a:gd name="T12" fmla="*/ 156 w 977"/>
                <a:gd name="T13" fmla="*/ 943 h 977"/>
                <a:gd name="T14" fmla="*/ 360 w 977"/>
                <a:gd name="T15" fmla="*/ 739 h 977"/>
                <a:gd name="T16" fmla="*/ 576 w 977"/>
                <a:gd name="T17" fmla="*/ 802 h 977"/>
                <a:gd name="T18" fmla="*/ 977 w 977"/>
                <a:gd name="T19" fmla="*/ 401 h 977"/>
                <a:gd name="T20" fmla="*/ 576 w 977"/>
                <a:gd name="T21" fmla="*/ 652 h 977"/>
                <a:gd name="T22" fmla="*/ 325 w 977"/>
                <a:gd name="T23" fmla="*/ 401 h 977"/>
                <a:gd name="T24" fmla="*/ 576 w 977"/>
                <a:gd name="T25" fmla="*/ 150 h 977"/>
                <a:gd name="T26" fmla="*/ 827 w 977"/>
                <a:gd name="T27" fmla="*/ 401 h 977"/>
                <a:gd name="T28" fmla="*/ 576 w 977"/>
                <a:gd name="T29" fmla="*/ 652 h 9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77" h="977">
                  <a:moveTo>
                    <a:pt x="977" y="401"/>
                  </a:moveTo>
                  <a:cubicBezTo>
                    <a:pt x="977" y="179"/>
                    <a:pt x="798" y="0"/>
                    <a:pt x="576" y="0"/>
                  </a:cubicBezTo>
                  <a:cubicBezTo>
                    <a:pt x="354" y="0"/>
                    <a:pt x="175" y="179"/>
                    <a:pt x="175" y="401"/>
                  </a:cubicBezTo>
                  <a:cubicBezTo>
                    <a:pt x="175" y="480"/>
                    <a:pt x="198" y="554"/>
                    <a:pt x="238" y="617"/>
                  </a:cubicBezTo>
                  <a:cubicBezTo>
                    <a:pt x="34" y="821"/>
                    <a:pt x="34" y="821"/>
                    <a:pt x="34" y="821"/>
                  </a:cubicBezTo>
                  <a:cubicBezTo>
                    <a:pt x="0" y="855"/>
                    <a:pt x="0" y="909"/>
                    <a:pt x="34" y="943"/>
                  </a:cubicBezTo>
                  <a:cubicBezTo>
                    <a:pt x="68" y="977"/>
                    <a:pt x="122" y="977"/>
                    <a:pt x="156" y="943"/>
                  </a:cubicBezTo>
                  <a:cubicBezTo>
                    <a:pt x="360" y="739"/>
                    <a:pt x="360" y="739"/>
                    <a:pt x="360" y="739"/>
                  </a:cubicBezTo>
                  <a:cubicBezTo>
                    <a:pt x="423" y="779"/>
                    <a:pt x="496" y="802"/>
                    <a:pt x="576" y="802"/>
                  </a:cubicBezTo>
                  <a:cubicBezTo>
                    <a:pt x="798" y="802"/>
                    <a:pt x="977" y="623"/>
                    <a:pt x="977" y="401"/>
                  </a:cubicBezTo>
                  <a:close/>
                  <a:moveTo>
                    <a:pt x="576" y="652"/>
                  </a:moveTo>
                  <a:cubicBezTo>
                    <a:pt x="438" y="652"/>
                    <a:pt x="325" y="539"/>
                    <a:pt x="325" y="401"/>
                  </a:cubicBezTo>
                  <a:cubicBezTo>
                    <a:pt x="325" y="262"/>
                    <a:pt x="437" y="150"/>
                    <a:pt x="576" y="150"/>
                  </a:cubicBezTo>
                  <a:cubicBezTo>
                    <a:pt x="714" y="150"/>
                    <a:pt x="827" y="263"/>
                    <a:pt x="827" y="401"/>
                  </a:cubicBezTo>
                  <a:cubicBezTo>
                    <a:pt x="827" y="539"/>
                    <a:pt x="714" y="652"/>
                    <a:pt x="576" y="65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4"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6"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4"/>
              </a:rPr>
              <a:t>www.rapidbbs.cn</a:t>
            </a:r>
            <a:endParaRPr lang="zh-CN" altLang="en-US" sz="1200" b="0">
              <a:latin typeface="Arial" charset="0"/>
              <a:ea typeface="ＭＳ Ｐゴシック" pitchFamily="34" charset="-128"/>
            </a:endParaRPr>
          </a:p>
        </p:txBody>
      </p:sp>
      <p:pic>
        <p:nvPicPr>
          <p:cNvPr id="19" name="Picture 2">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317774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18"/>
                                        </p:tgtEl>
                                        <p:attrNameLst>
                                          <p:attrName>style.visibility</p:attrName>
                                        </p:attrNameLst>
                                      </p:cBhvr>
                                      <p:to>
                                        <p:strVal val="visible"/>
                                      </p:to>
                                    </p:set>
                                    <p:animEffect transition="in" filter="fade">
                                      <p:cBhvr>
                                        <p:cTn id="14" dur="1000"/>
                                        <p:tgtEl>
                                          <p:spTgt spid="18"/>
                                        </p:tgtEl>
                                      </p:cBhvr>
                                    </p:animEffect>
                                    <p:anim calcmode="lin" valueType="num">
                                      <p:cBhvr>
                                        <p:cTn id="15" dur="1000" fill="hold"/>
                                        <p:tgtEl>
                                          <p:spTgt spid="18"/>
                                        </p:tgtEl>
                                        <p:attrNameLst>
                                          <p:attrName>ppt_x</p:attrName>
                                        </p:attrNameLst>
                                      </p:cBhvr>
                                      <p:tavLst>
                                        <p:tav tm="0">
                                          <p:val>
                                            <p:strVal val="#ppt_x"/>
                                          </p:val>
                                        </p:tav>
                                        <p:tav tm="100000">
                                          <p:val>
                                            <p:strVal val="#ppt_x"/>
                                          </p:val>
                                        </p:tav>
                                      </p:tavLst>
                                    </p:anim>
                                    <p:anim calcmode="lin" valueType="num">
                                      <p:cBhvr>
                                        <p:cTn id="16"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fade">
                                      <p:cBhvr>
                                        <p:cTn id="21" dur="1000"/>
                                        <p:tgtEl>
                                          <p:spTgt spid="13"/>
                                        </p:tgtEl>
                                      </p:cBhvr>
                                    </p:animEffect>
                                    <p:anim calcmode="lin" valueType="num">
                                      <p:cBhvr>
                                        <p:cTn id="22" dur="1000" fill="hold"/>
                                        <p:tgtEl>
                                          <p:spTgt spid="13"/>
                                        </p:tgtEl>
                                        <p:attrNameLst>
                                          <p:attrName>ppt_x</p:attrName>
                                        </p:attrNameLst>
                                      </p:cBhvr>
                                      <p:tavLst>
                                        <p:tav tm="0">
                                          <p:val>
                                            <p:strVal val="#ppt_x"/>
                                          </p:val>
                                        </p:tav>
                                        <p:tav tm="100000">
                                          <p:val>
                                            <p:strVal val="#ppt_x"/>
                                          </p:val>
                                        </p:tav>
                                      </p:tavLst>
                                    </p:anim>
                                    <p:anim calcmode="lin" valueType="num">
                                      <p:cBhvr>
                                        <p:cTn id="23"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9" presetClass="emph" presetSubtype="0" nodeType="clickEffect">
                                  <p:stCondLst>
                                    <p:cond delay="0"/>
                                  </p:stCondLst>
                                  <p:childTnLst>
                                    <p:set>
                                      <p:cBhvr rctx="PPT">
                                        <p:cTn id="27" dur="indefinite"/>
                                        <p:tgtEl>
                                          <p:spTgt spid="18"/>
                                        </p:tgtEl>
                                        <p:attrNameLst>
                                          <p:attrName>style.opacity</p:attrName>
                                        </p:attrNameLst>
                                      </p:cBhvr>
                                      <p:to>
                                        <p:strVal val="0.5"/>
                                      </p:to>
                                    </p:set>
                                    <p:animEffect filter="image" prLst="opacity: 0.5">
                                      <p:cBhvr rctx="IE">
                                        <p:cTn id="28" dur="indefinite"/>
                                        <p:tgtEl>
                                          <p:spTgt spid="18"/>
                                        </p:tgtEl>
                                      </p:cBhvr>
                                    </p:animEffect>
                                  </p:childTnLst>
                                </p:cTn>
                              </p:par>
                              <p:par>
                                <p:cTn id="29" presetID="9" presetClass="emph" presetSubtype="0" nodeType="withEffect">
                                  <p:stCondLst>
                                    <p:cond delay="0"/>
                                  </p:stCondLst>
                                  <p:childTnLst>
                                    <p:set>
                                      <p:cBhvr rctx="PPT">
                                        <p:cTn id="30" dur="indefinite"/>
                                        <p:tgtEl>
                                          <p:spTgt spid="13"/>
                                        </p:tgtEl>
                                        <p:attrNameLst>
                                          <p:attrName>style.opacity</p:attrName>
                                        </p:attrNameLst>
                                      </p:cBhvr>
                                      <p:to>
                                        <p:strVal val="0.5"/>
                                      </p:to>
                                    </p:set>
                                    <p:animEffect filter="image" prLst="opacity: 0.5">
                                      <p:cBhvr rctx="IE">
                                        <p:cTn id="31" dur="indefinite"/>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9" descr="C:\Users\mitchelld\Desktop\iStock_000001759899Medium.jpg"/>
          <p:cNvPicPr>
            <a:picLocks noChangeAspect="1" noChangeArrowheads="1"/>
          </p:cNvPicPr>
          <p:nvPr/>
        </p:nvPicPr>
        <p:blipFill rotWithShape="1">
          <a:blip r:embed="rId2">
            <a:extLst>
              <a:ext uri="{28A0092B-C50C-407E-A947-70E740481C1C}">
                <a14:useLocalDpi xmlns:a14="http://schemas.microsoft.com/office/drawing/2010/main" val="0"/>
              </a:ext>
            </a:extLst>
          </a:blip>
          <a:srcRect t="2953" b="10764"/>
          <a:stretch/>
        </p:blipFill>
        <p:spPr bwMode="auto">
          <a:xfrm>
            <a:off x="-7241" y="-1"/>
            <a:ext cx="9144000" cy="5143501"/>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p:cNvSpPr/>
          <p:nvPr/>
        </p:nvSpPr>
        <p:spPr bwMode="auto">
          <a:xfrm>
            <a:off x="2409459" y="464798"/>
            <a:ext cx="2126534" cy="3189606"/>
          </a:xfrm>
          <a:prstGeom prst="rect">
            <a:avLst/>
          </a:prstGeom>
          <a:solidFill>
            <a:srgbClr val="031B2F">
              <a:alpha val="93000"/>
            </a:srgbClr>
          </a:solidFill>
          <a:ln w="9525" cap="flat" cmpd="sng" algn="ctr">
            <a:noFill/>
            <a:prstDash val="solid"/>
            <a:headEnd type="none" w="med" len="med"/>
            <a:tailEnd type="none" w="med" len="med"/>
          </a:ln>
          <a:effectLst/>
        </p:spPr>
        <p:txBody>
          <a:bodyPr vert="horz" wrap="square" lIns="68583" tIns="34292" rIns="68583" bIns="34292" numCol="1" rtlCol="0" anchor="t" anchorCtr="0" compatLnSpc="1">
            <a:prstTxWarp prst="textNoShape">
              <a:avLst/>
            </a:prstTxWarp>
          </a:bodyPr>
          <a:lstStyle/>
          <a:p>
            <a:pPr algn="ctr" defTabSz="685637">
              <a:defRPr/>
            </a:pPr>
            <a:r>
              <a:rPr lang="en-US" sz="2400" kern="0" dirty="0">
                <a:solidFill>
                  <a:srgbClr val="FFFFFF">
                    <a:alpha val="98824"/>
                  </a:srgbClr>
                </a:solidFill>
                <a:latin typeface="Segoe UI Light"/>
                <a:ea typeface="Segoe UI" pitchFamily="34" charset="0"/>
                <a:cs typeface="Segoe UI" pitchFamily="34" charset="0"/>
              </a:rPr>
              <a:t>Virtualized</a:t>
            </a:r>
          </a:p>
        </p:txBody>
      </p:sp>
      <p:sp>
        <p:nvSpPr>
          <p:cNvPr id="21" name="Rectangle 20"/>
          <p:cNvSpPr/>
          <p:nvPr/>
        </p:nvSpPr>
        <p:spPr bwMode="auto">
          <a:xfrm>
            <a:off x="245725" y="464798"/>
            <a:ext cx="2126534" cy="3189606"/>
          </a:xfrm>
          <a:prstGeom prst="rect">
            <a:avLst/>
          </a:prstGeom>
          <a:solidFill>
            <a:srgbClr val="031B2F">
              <a:alpha val="93000"/>
            </a:srgbClr>
          </a:solidFill>
          <a:ln w="9525" cap="flat" cmpd="sng" algn="ctr">
            <a:noFill/>
            <a:prstDash val="solid"/>
            <a:headEnd type="none" w="med" len="med"/>
            <a:tailEnd type="none" w="med" len="med"/>
          </a:ln>
          <a:effectLst/>
        </p:spPr>
        <p:txBody>
          <a:bodyPr vert="horz" wrap="square" lIns="68583" tIns="34292" rIns="68583" bIns="34292" numCol="1" rtlCol="0" anchor="t" anchorCtr="0" compatLnSpc="1">
            <a:prstTxWarp prst="textNoShape">
              <a:avLst/>
            </a:prstTxWarp>
          </a:bodyPr>
          <a:lstStyle/>
          <a:p>
            <a:pPr algn="ctr" defTabSz="685637">
              <a:defRPr/>
            </a:pPr>
            <a:r>
              <a:rPr lang="en-US" sz="2400" kern="0" dirty="0">
                <a:solidFill>
                  <a:srgbClr val="FFFFFF">
                    <a:alpha val="98824"/>
                  </a:srgbClr>
                </a:solidFill>
                <a:latin typeface="Segoe UI Light"/>
                <a:ea typeface="Segoe UI" pitchFamily="34" charset="0"/>
                <a:cs typeface="Segoe UI" pitchFamily="34" charset="0"/>
              </a:rPr>
              <a:t>Traditional</a:t>
            </a:r>
          </a:p>
        </p:txBody>
      </p:sp>
      <p:sp>
        <p:nvSpPr>
          <p:cNvPr id="22" name="Rectangle 21"/>
          <p:cNvSpPr/>
          <p:nvPr/>
        </p:nvSpPr>
        <p:spPr bwMode="auto">
          <a:xfrm>
            <a:off x="6736926" y="464798"/>
            <a:ext cx="2126534" cy="3189606"/>
          </a:xfrm>
          <a:prstGeom prst="rect">
            <a:avLst/>
          </a:prstGeom>
          <a:solidFill>
            <a:srgbClr val="031B2F">
              <a:alpha val="93000"/>
            </a:srgbClr>
          </a:solidFill>
          <a:ln w="9525" cap="flat" cmpd="sng" algn="ctr">
            <a:noFill/>
            <a:prstDash val="solid"/>
            <a:headEnd type="none" w="med" len="med"/>
            <a:tailEnd type="none" w="med" len="med"/>
          </a:ln>
          <a:effectLst/>
        </p:spPr>
        <p:txBody>
          <a:bodyPr vert="horz" wrap="square" lIns="68583" tIns="34292" rIns="68583" bIns="34292" numCol="1" rtlCol="0" anchor="t" anchorCtr="0" compatLnSpc="1">
            <a:prstTxWarp prst="textNoShape">
              <a:avLst/>
            </a:prstTxWarp>
          </a:bodyPr>
          <a:lstStyle/>
          <a:p>
            <a:pPr algn="ctr" defTabSz="685637">
              <a:defRPr/>
            </a:pPr>
            <a:r>
              <a:rPr lang="en-US" sz="2400" kern="0" dirty="0">
                <a:solidFill>
                  <a:srgbClr val="FFFFFF">
                    <a:alpha val="98824"/>
                  </a:srgbClr>
                </a:solidFill>
                <a:latin typeface="Segoe UI Light"/>
                <a:ea typeface="Segoe UI" pitchFamily="34" charset="0"/>
                <a:cs typeface="Segoe UI" pitchFamily="34" charset="0"/>
              </a:rPr>
              <a:t>Public Cloud</a:t>
            </a:r>
          </a:p>
        </p:txBody>
      </p:sp>
      <p:sp>
        <p:nvSpPr>
          <p:cNvPr id="23" name="Rectangle 22"/>
          <p:cNvSpPr/>
          <p:nvPr/>
        </p:nvSpPr>
        <p:spPr bwMode="auto">
          <a:xfrm>
            <a:off x="4573192" y="464798"/>
            <a:ext cx="2126534" cy="3189606"/>
          </a:xfrm>
          <a:prstGeom prst="rect">
            <a:avLst/>
          </a:prstGeom>
          <a:solidFill>
            <a:srgbClr val="031B2F">
              <a:alpha val="93000"/>
            </a:srgbClr>
          </a:solidFill>
          <a:ln w="9525" cap="flat" cmpd="sng" algn="ctr">
            <a:noFill/>
            <a:prstDash val="solid"/>
            <a:headEnd type="none" w="med" len="med"/>
            <a:tailEnd type="none" w="med" len="med"/>
          </a:ln>
          <a:effectLst/>
        </p:spPr>
        <p:txBody>
          <a:bodyPr vert="horz" wrap="square" lIns="68583" tIns="34292" rIns="68583" bIns="34292" numCol="1" rtlCol="0" anchor="t" anchorCtr="0" compatLnSpc="1">
            <a:prstTxWarp prst="textNoShape">
              <a:avLst/>
            </a:prstTxWarp>
          </a:bodyPr>
          <a:lstStyle/>
          <a:p>
            <a:pPr algn="ctr" defTabSz="685637">
              <a:defRPr/>
            </a:pPr>
            <a:r>
              <a:rPr lang="en-US" sz="2400" kern="0" dirty="0">
                <a:solidFill>
                  <a:srgbClr val="FFFFFF">
                    <a:alpha val="98824"/>
                  </a:srgbClr>
                </a:solidFill>
                <a:latin typeface="Segoe UI Light"/>
                <a:ea typeface="Segoe UI" pitchFamily="34" charset="0"/>
                <a:cs typeface="Segoe UI" pitchFamily="34" charset="0"/>
              </a:rPr>
              <a:t>Private Cloud</a:t>
            </a:r>
          </a:p>
        </p:txBody>
      </p:sp>
      <p:sp>
        <p:nvSpPr>
          <p:cNvPr id="24" name="Rectangle 23"/>
          <p:cNvSpPr/>
          <p:nvPr/>
        </p:nvSpPr>
        <p:spPr bwMode="auto">
          <a:xfrm>
            <a:off x="350364" y="2037494"/>
            <a:ext cx="1917256" cy="1502709"/>
          </a:xfrm>
          <a:prstGeom prst="rect">
            <a:avLst/>
          </a:prstGeom>
          <a:solidFill>
            <a:srgbClr val="004518">
              <a:lumMod val="90000"/>
              <a:lumOff val="10000"/>
            </a:srgbClr>
          </a:solidFill>
          <a:ln w="9525" cap="flat" cmpd="sng" algn="ctr">
            <a:noFill/>
            <a:prstDash val="solid"/>
            <a:headEnd type="none" w="med" len="med"/>
            <a:tailEnd type="none" w="med" len="med"/>
          </a:ln>
          <a:effectLst/>
        </p:spPr>
        <p:txBody>
          <a:bodyPr lIns="68583" tIns="34292" rIns="68583" bIns="34292" anchor="ctr"/>
          <a:lstStyle/>
          <a:p>
            <a:pPr algn="ctr" defTabSz="685523">
              <a:defRPr/>
            </a:pPr>
            <a:endParaRPr lang="en-US" kern="0" dirty="0">
              <a:gradFill>
                <a:gsLst>
                  <a:gs pos="0">
                    <a:srgbClr val="FFFFFF"/>
                  </a:gs>
                  <a:gs pos="100000">
                    <a:srgbClr val="FFFFFF"/>
                  </a:gs>
                </a:gsLst>
                <a:lin ang="5400000" scaled="0"/>
              </a:gradFill>
            </a:endParaRPr>
          </a:p>
        </p:txBody>
      </p:sp>
      <p:sp>
        <p:nvSpPr>
          <p:cNvPr id="25" name="Rectangle 24"/>
          <p:cNvSpPr/>
          <p:nvPr/>
        </p:nvSpPr>
        <p:spPr bwMode="auto">
          <a:xfrm>
            <a:off x="2514098" y="1257295"/>
            <a:ext cx="1917256" cy="2282909"/>
          </a:xfrm>
          <a:prstGeom prst="rect">
            <a:avLst/>
          </a:prstGeom>
          <a:solidFill>
            <a:srgbClr val="004518">
              <a:lumMod val="90000"/>
              <a:lumOff val="10000"/>
            </a:srgbClr>
          </a:solidFill>
          <a:ln w="9525" cap="flat" cmpd="sng" algn="ctr">
            <a:noFill/>
            <a:prstDash val="solid"/>
            <a:headEnd type="none" w="med" len="med"/>
            <a:tailEnd type="none" w="med" len="med"/>
          </a:ln>
          <a:effectLst/>
        </p:spPr>
        <p:txBody>
          <a:bodyPr lIns="68583" tIns="34292" rIns="68583" bIns="34292" anchor="ctr"/>
          <a:lstStyle/>
          <a:p>
            <a:pPr algn="ctr" defTabSz="685523">
              <a:defRPr/>
            </a:pPr>
            <a:endParaRPr lang="en-US" kern="0" dirty="0">
              <a:gradFill>
                <a:gsLst>
                  <a:gs pos="0">
                    <a:srgbClr val="FFFFFF"/>
                  </a:gs>
                  <a:gs pos="100000">
                    <a:srgbClr val="FFFFFF"/>
                  </a:gs>
                </a:gsLst>
                <a:lin ang="5400000" scaled="0"/>
              </a:gradFill>
            </a:endParaRPr>
          </a:p>
        </p:txBody>
      </p:sp>
      <p:sp>
        <p:nvSpPr>
          <p:cNvPr id="26" name="Rectangle 25"/>
          <p:cNvSpPr/>
          <p:nvPr/>
        </p:nvSpPr>
        <p:spPr bwMode="auto">
          <a:xfrm>
            <a:off x="4677832" y="3222172"/>
            <a:ext cx="1917256" cy="318031"/>
          </a:xfrm>
          <a:prstGeom prst="rect">
            <a:avLst/>
          </a:prstGeom>
          <a:solidFill>
            <a:srgbClr val="031B2F">
              <a:lumMod val="75000"/>
              <a:lumOff val="25000"/>
            </a:srgbClr>
          </a:solidFill>
          <a:ln w="9525" cap="flat" cmpd="sng" algn="ctr">
            <a:noFill/>
            <a:prstDash val="solid"/>
            <a:headEnd type="none" w="med" len="med"/>
            <a:tailEnd type="none" w="med" len="med"/>
          </a:ln>
          <a:effectLst/>
        </p:spPr>
        <p:txBody>
          <a:bodyPr lIns="68583" tIns="34292" rIns="68583" bIns="34292" anchor="ctr"/>
          <a:lstStyle/>
          <a:p>
            <a:pPr algn="ctr" defTabSz="685523">
              <a:defRPr/>
            </a:pPr>
            <a:endParaRPr lang="en-US" kern="0" dirty="0">
              <a:gradFill>
                <a:gsLst>
                  <a:gs pos="0">
                    <a:srgbClr val="FFFFFF"/>
                  </a:gs>
                  <a:gs pos="100000">
                    <a:srgbClr val="FFFFFF"/>
                  </a:gs>
                </a:gsLst>
                <a:lin ang="5400000" scaled="0"/>
              </a:gradFill>
            </a:endParaRPr>
          </a:p>
        </p:txBody>
      </p:sp>
      <p:sp>
        <p:nvSpPr>
          <p:cNvPr id="27" name="Rectangle 26"/>
          <p:cNvSpPr/>
          <p:nvPr/>
        </p:nvSpPr>
        <p:spPr bwMode="auto">
          <a:xfrm>
            <a:off x="6841566" y="3222172"/>
            <a:ext cx="1917256" cy="318031"/>
          </a:xfrm>
          <a:prstGeom prst="rect">
            <a:avLst/>
          </a:prstGeom>
          <a:solidFill>
            <a:srgbClr val="031B2F">
              <a:lumMod val="75000"/>
              <a:lumOff val="25000"/>
            </a:srgbClr>
          </a:solidFill>
          <a:ln w="9525" cap="flat" cmpd="sng" algn="ctr">
            <a:noFill/>
            <a:prstDash val="solid"/>
            <a:headEnd type="none" w="med" len="med"/>
            <a:tailEnd type="none" w="med" len="med"/>
          </a:ln>
          <a:effectLst/>
        </p:spPr>
        <p:txBody>
          <a:bodyPr lIns="68583" tIns="34292" rIns="68583" bIns="34292" anchor="ctr"/>
          <a:lstStyle/>
          <a:p>
            <a:pPr algn="ctr" defTabSz="685523">
              <a:defRPr/>
            </a:pPr>
            <a:endParaRPr lang="en-US" kern="0" dirty="0">
              <a:gradFill>
                <a:gsLst>
                  <a:gs pos="0">
                    <a:srgbClr val="FFFFFF"/>
                  </a:gs>
                  <a:gs pos="100000">
                    <a:srgbClr val="FFFFFF"/>
                  </a:gs>
                </a:gsLst>
                <a:lin ang="5400000" scaled="0"/>
              </a:gradFill>
            </a:endParaRPr>
          </a:p>
        </p:txBody>
      </p:sp>
      <p:pic>
        <p:nvPicPr>
          <p:cNvPr id="28" name="Picture 9" descr="C:\Users\mitchelld\Desktop\iStock_000001759899Medium.jpg"/>
          <p:cNvPicPr>
            <a:picLocks noChangeAspect="1" noChangeArrowheads="1"/>
          </p:cNvPicPr>
          <p:nvPr/>
        </p:nvPicPr>
        <p:blipFill rotWithShape="1">
          <a:blip r:embed="rId2">
            <a:extLst>
              <a:ext uri="{28A0092B-C50C-407E-A947-70E740481C1C}">
                <a14:useLocalDpi xmlns:a14="http://schemas.microsoft.com/office/drawing/2010/main" val="0"/>
              </a:ext>
            </a:extLst>
          </a:blip>
          <a:srcRect t="64869" b="10764"/>
          <a:stretch/>
        </p:blipFill>
        <p:spPr bwMode="auto">
          <a:xfrm>
            <a:off x="0" y="3690910"/>
            <a:ext cx="9144000" cy="1452590"/>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28"/>
          <p:cNvSpPr/>
          <p:nvPr/>
        </p:nvSpPr>
        <p:spPr bwMode="auto">
          <a:xfrm>
            <a:off x="245723" y="3690912"/>
            <a:ext cx="8615892" cy="564976"/>
          </a:xfrm>
          <a:prstGeom prst="rect">
            <a:avLst/>
          </a:prstGeom>
          <a:solidFill>
            <a:srgbClr val="000000">
              <a:alpha val="89000"/>
            </a:srgbClr>
          </a:solidFill>
          <a:ln w="9525" cap="flat" cmpd="sng" algn="ctr">
            <a:noFill/>
            <a:prstDash val="solid"/>
            <a:headEnd type="none" w="med" len="med"/>
            <a:tailEnd type="none" w="med" len="med"/>
          </a:ln>
          <a:effectLst/>
        </p:spPr>
        <p:txBody>
          <a:bodyPr vert="horz" wrap="square" lIns="68583" tIns="34292" rIns="68583" bIns="34292" numCol="1" rtlCol="0" anchor="ctr" anchorCtr="0" compatLnSpc="1">
            <a:prstTxWarp prst="textNoShape">
              <a:avLst/>
            </a:prstTxWarp>
          </a:bodyPr>
          <a:lstStyle/>
          <a:p>
            <a:pPr algn="ctr" defTabSz="685637">
              <a:lnSpc>
                <a:spcPct val="85000"/>
              </a:lnSpc>
              <a:defRPr/>
            </a:pPr>
            <a:endParaRPr lang="en-US" kern="0" dirty="0">
              <a:solidFill>
                <a:srgbClr val="FFFFFF">
                  <a:alpha val="98824"/>
                </a:srgbClr>
              </a:solidFill>
              <a:latin typeface="Segoe UI" pitchFamily="34" charset="0"/>
              <a:ea typeface="Segoe UI" pitchFamily="34" charset="0"/>
              <a:cs typeface="Segoe UI" pitchFamily="34" charset="0"/>
            </a:endParaRPr>
          </a:p>
        </p:txBody>
      </p:sp>
      <p:sp>
        <p:nvSpPr>
          <p:cNvPr id="30" name="Rectangle 29"/>
          <p:cNvSpPr/>
          <p:nvPr/>
        </p:nvSpPr>
        <p:spPr>
          <a:xfrm>
            <a:off x="2193590" y="3781809"/>
            <a:ext cx="4756820" cy="383182"/>
          </a:xfrm>
          <a:prstGeom prst="rect">
            <a:avLst/>
          </a:prstGeom>
        </p:spPr>
        <p:txBody>
          <a:bodyPr wrap="none" lIns="68586" tIns="34294" rIns="68586" bIns="34294">
            <a:spAutoFit/>
          </a:bodyPr>
          <a:lstStyle/>
          <a:p>
            <a:pPr algn="ctr" defTabSz="685637">
              <a:lnSpc>
                <a:spcPct val="85000"/>
              </a:lnSpc>
            </a:pPr>
            <a:r>
              <a:rPr lang="en-US" sz="2400" dirty="0">
                <a:solidFill>
                  <a:srgbClr val="FFFFFF">
                    <a:alpha val="98824"/>
                  </a:srgbClr>
                </a:solidFill>
                <a:latin typeface="Segoe UI" pitchFamily="34" charset="0"/>
                <a:ea typeface="Segoe UI" pitchFamily="34" charset="0"/>
                <a:cs typeface="Segoe UI" pitchFamily="34" charset="0"/>
              </a:rPr>
              <a:t>Distribution of models used today</a:t>
            </a:r>
          </a:p>
        </p:txBody>
      </p:sp>
      <p:sp>
        <p:nvSpPr>
          <p:cNvPr id="31" name="Rectangle 30"/>
          <p:cNvSpPr/>
          <p:nvPr/>
        </p:nvSpPr>
        <p:spPr>
          <a:xfrm>
            <a:off x="1746452" y="3781809"/>
            <a:ext cx="5651096" cy="383182"/>
          </a:xfrm>
          <a:prstGeom prst="rect">
            <a:avLst/>
          </a:prstGeom>
        </p:spPr>
        <p:txBody>
          <a:bodyPr wrap="none" lIns="68586" tIns="34294" rIns="68586" bIns="34294">
            <a:spAutoFit/>
          </a:bodyPr>
          <a:lstStyle/>
          <a:p>
            <a:pPr algn="ctr" defTabSz="685637">
              <a:lnSpc>
                <a:spcPct val="85000"/>
              </a:lnSpc>
            </a:pPr>
            <a:r>
              <a:rPr lang="en-US" sz="2400" dirty="0">
                <a:solidFill>
                  <a:srgbClr val="FFFFFF">
                    <a:alpha val="98824"/>
                  </a:srgbClr>
                </a:solidFill>
                <a:latin typeface="Segoe UI" pitchFamily="34" charset="0"/>
                <a:ea typeface="Segoe UI" pitchFamily="34" charset="0"/>
                <a:cs typeface="Segoe UI" pitchFamily="34" charset="0"/>
              </a:rPr>
              <a:t>Future distribution of computing models</a:t>
            </a:r>
          </a:p>
        </p:txBody>
      </p:sp>
      <p:pic>
        <p:nvPicPr>
          <p:cNvPr id="32" name="Picture 9" descr="C:\Users\mitchelld\Desktop\iStock_000001759899Medium.jpg"/>
          <p:cNvPicPr>
            <a:picLocks noChangeAspect="1" noChangeArrowheads="1"/>
          </p:cNvPicPr>
          <p:nvPr/>
        </p:nvPicPr>
        <p:blipFill rotWithShape="1">
          <a:blip r:embed="rId2">
            <a:extLst>
              <a:ext uri="{28A0092B-C50C-407E-A947-70E740481C1C}">
                <a14:useLocalDpi xmlns:a14="http://schemas.microsoft.com/office/drawing/2010/main" val="0"/>
              </a:ext>
            </a:extLst>
          </a:blip>
          <a:srcRect t="2953" r="97234" b="10764"/>
          <a:stretch/>
        </p:blipFill>
        <p:spPr bwMode="auto">
          <a:xfrm>
            <a:off x="-7240" y="-1"/>
            <a:ext cx="252964" cy="5143501"/>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9" descr="C:\Users\mitchelld\Desktop\iStock_000001759899Medium.jpg"/>
          <p:cNvPicPr>
            <a:picLocks noChangeAspect="1" noChangeArrowheads="1"/>
          </p:cNvPicPr>
          <p:nvPr/>
        </p:nvPicPr>
        <p:blipFill rotWithShape="1">
          <a:blip r:embed="rId2">
            <a:extLst>
              <a:ext uri="{28A0092B-C50C-407E-A947-70E740481C1C}">
                <a14:useLocalDpi xmlns:a14="http://schemas.microsoft.com/office/drawing/2010/main" val="0"/>
              </a:ext>
            </a:extLst>
          </a:blip>
          <a:srcRect l="96991" t="2953" b="10764"/>
          <a:stretch/>
        </p:blipFill>
        <p:spPr bwMode="auto">
          <a:xfrm>
            <a:off x="8861616" y="-1"/>
            <a:ext cx="275144" cy="5143501"/>
          </a:xfrm>
          <a:prstGeom prst="rect">
            <a:avLst/>
          </a:prstGeom>
          <a:noFill/>
          <a:extLst>
            <a:ext uri="{909E8E84-426E-40DD-AFC4-6F175D3DCCD1}">
              <a14:hiddenFill xmlns:a14="http://schemas.microsoft.com/office/drawing/2010/main">
                <a:solidFill>
                  <a:srgbClr val="FFFFFF"/>
                </a:solidFill>
              </a14:hiddenFill>
            </a:ext>
          </a:extLst>
        </p:spPr>
      </p:pic>
      <p:sp>
        <p:nvSpPr>
          <p:cNvPr id="34" name="Rectangle 33"/>
          <p:cNvSpPr/>
          <p:nvPr/>
        </p:nvSpPr>
        <p:spPr bwMode="auto">
          <a:xfrm>
            <a:off x="1194" y="3973399"/>
            <a:ext cx="9142807" cy="1170102"/>
          </a:xfrm>
          <a:prstGeom prst="rect">
            <a:avLst/>
          </a:prstGeom>
          <a:gradFill rotWithShape="1">
            <a:gsLst>
              <a:gs pos="0">
                <a:srgbClr val="000000">
                  <a:alpha val="0"/>
                </a:srgbClr>
              </a:gs>
              <a:gs pos="100000">
                <a:srgbClr val="000000"/>
              </a:gs>
            </a:gsLst>
            <a:lin ang="5400000" scaled="0"/>
          </a:gradFill>
          <a:ln w="9525" cap="flat" cmpd="sng" algn="ctr">
            <a:noFill/>
            <a:prstDash val="solid"/>
            <a:headEnd type="none" w="med" len="med"/>
            <a:tailEnd type="none" w="med" len="med"/>
          </a:ln>
          <a:effectLst>
            <a:outerShdw blurRad="40000" dist="23000" dir="5400000" rotWithShape="0">
              <a:srgbClr val="000000">
                <a:alpha val="35000"/>
              </a:srgbClr>
            </a:outerShdw>
          </a:effectLst>
        </p:spPr>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defRPr/>
            </a:pPr>
            <a:endParaRPr lang="en-US" sz="1700" kern="0" dirty="0">
              <a:gradFill>
                <a:gsLst>
                  <a:gs pos="0">
                    <a:srgbClr val="FFFFFF"/>
                  </a:gs>
                  <a:gs pos="100000">
                    <a:srgbClr val="FFFFFF"/>
                  </a:gs>
                </a:gsLst>
                <a:lin ang="5400000" scaled="0"/>
              </a:gradFill>
            </a:endParaRPr>
          </a:p>
        </p:txBody>
      </p:sp>
      <p:sp>
        <p:nvSpPr>
          <p:cNvPr id="35" name="Title 4"/>
          <p:cNvSpPr txBox="1">
            <a:spLocks/>
          </p:cNvSpPr>
          <p:nvPr/>
        </p:nvSpPr>
        <p:spPr>
          <a:xfrm>
            <a:off x="382790" y="4515002"/>
            <a:ext cx="8363938" cy="1218795"/>
          </a:xfrm>
          <a:prstGeom prst="rect">
            <a:avLst/>
          </a:prstGeom>
        </p:spPr>
        <p:txBody>
          <a:bodyPr vert="horz" wrap="square" lIns="0" tIns="0" rIns="0" bIns="0" rtlCol="0" anchor="t">
            <a:spAutoFit/>
          </a:bodyPr>
          <a:lstStyle>
            <a:lvl1pPr algn="l" defTabSz="914325"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Segoe UI Light" pitchFamily="34" charset="0"/>
                <a:ea typeface="+mn-ea"/>
                <a:cs typeface="Arial" charset="0"/>
              </a:defRPr>
            </a:lvl1pPr>
          </a:lstStyle>
          <a:p>
            <a:pPr defTabSz="685807">
              <a:defRPr/>
            </a:pPr>
            <a:r>
              <a:rPr lang="en-US">
                <a:gradFill flip="none" rotWithShape="1">
                  <a:gsLst>
                    <a:gs pos="0">
                      <a:srgbClr val="FFFFFF"/>
                    </a:gs>
                    <a:gs pos="86000">
                      <a:srgbClr val="FFFFFF"/>
                    </a:gs>
                  </a:gsLst>
                  <a:lin ang="5400000" scaled="0"/>
                  <a:tileRect/>
                </a:gradFill>
              </a:rPr>
              <a:t>The Evolution of Datacenter Computing</a:t>
            </a:r>
            <a:endParaRPr lang="en-US" dirty="0">
              <a:gradFill flip="none" rotWithShape="1">
                <a:gsLst>
                  <a:gs pos="0">
                    <a:srgbClr val="FFFFFF"/>
                  </a:gs>
                  <a:gs pos="86000">
                    <a:srgbClr val="FFFFFF"/>
                  </a:gs>
                </a:gsLst>
                <a:lin ang="5400000" scaled="0"/>
                <a:tileRect/>
              </a:gradFill>
            </a:endParaRPr>
          </a:p>
        </p:txBody>
      </p:sp>
      <p:sp>
        <p:nvSpPr>
          <p:cNvPr id="36"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7"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pic>
        <p:nvPicPr>
          <p:cNvPr id="38"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26801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30"/>
                                        </p:tgtEl>
                                        <p:attrNameLst>
                                          <p:attrName>style.visibility</p:attrName>
                                        </p:attrNameLst>
                                      </p:cBhvr>
                                      <p:to>
                                        <p:strVal val="visible"/>
                                      </p:to>
                                    </p:set>
                                    <p:animEffect transition="in" filter="fade">
                                      <p:cBhvr>
                                        <p:cTn id="10" dur="500"/>
                                        <p:tgtEl>
                                          <p:spTgt spid="30"/>
                                        </p:tgtEl>
                                      </p:cBhvr>
                                    </p:animEffect>
                                  </p:childTnLst>
                                </p:cTn>
                              </p:par>
                            </p:childTnLst>
                          </p:cTn>
                        </p:par>
                        <p:par>
                          <p:cTn id="11" fill="hold">
                            <p:stCondLst>
                              <p:cond delay="750"/>
                            </p:stCondLst>
                            <p:childTnLst>
                              <p:par>
                                <p:cTn id="12" presetID="2" presetClass="entr" presetSubtype="4" decel="100000" fill="hold" grpId="0" nodeType="afterEffect">
                                  <p:stCondLst>
                                    <p:cond delay="0"/>
                                  </p:stCondLst>
                                  <p:childTnLst>
                                    <p:set>
                                      <p:cBhvr>
                                        <p:cTn id="13" dur="1" fill="hold">
                                          <p:stCondLst>
                                            <p:cond delay="0"/>
                                          </p:stCondLst>
                                        </p:cTn>
                                        <p:tgtEl>
                                          <p:spTgt spid="21"/>
                                        </p:tgtEl>
                                        <p:attrNameLst>
                                          <p:attrName>style.visibility</p:attrName>
                                        </p:attrNameLst>
                                      </p:cBhvr>
                                      <p:to>
                                        <p:strVal val="visible"/>
                                      </p:to>
                                    </p:set>
                                    <p:anim calcmode="lin" valueType="num">
                                      <p:cBhvr additive="base">
                                        <p:cTn id="14" dur="750" fill="hold"/>
                                        <p:tgtEl>
                                          <p:spTgt spid="21"/>
                                        </p:tgtEl>
                                        <p:attrNameLst>
                                          <p:attrName>ppt_x</p:attrName>
                                        </p:attrNameLst>
                                      </p:cBhvr>
                                      <p:tavLst>
                                        <p:tav tm="0">
                                          <p:val>
                                            <p:strVal val="#ppt_x"/>
                                          </p:val>
                                        </p:tav>
                                        <p:tav tm="100000">
                                          <p:val>
                                            <p:strVal val="#ppt_x"/>
                                          </p:val>
                                        </p:tav>
                                      </p:tavLst>
                                    </p:anim>
                                    <p:anim calcmode="lin" valueType="num">
                                      <p:cBhvr additive="base">
                                        <p:cTn id="15" dur="750" fill="hold"/>
                                        <p:tgtEl>
                                          <p:spTgt spid="21"/>
                                        </p:tgtEl>
                                        <p:attrNameLst>
                                          <p:attrName>ppt_y</p:attrName>
                                        </p:attrNameLst>
                                      </p:cBhvr>
                                      <p:tavLst>
                                        <p:tav tm="0">
                                          <p:val>
                                            <p:strVal val="1+#ppt_h/2"/>
                                          </p:val>
                                        </p:tav>
                                        <p:tav tm="100000">
                                          <p:val>
                                            <p:strVal val="#ppt_y"/>
                                          </p:val>
                                        </p:tav>
                                      </p:tavLst>
                                    </p:anim>
                                  </p:childTnLst>
                                </p:cTn>
                              </p:par>
                              <p:par>
                                <p:cTn id="16" presetID="2" presetClass="entr" presetSubtype="4" decel="100000" fill="hold" grpId="0" nodeType="withEffect">
                                  <p:stCondLst>
                                    <p:cond delay="100"/>
                                  </p:stCondLst>
                                  <p:childTnLst>
                                    <p:set>
                                      <p:cBhvr>
                                        <p:cTn id="17" dur="1" fill="hold">
                                          <p:stCondLst>
                                            <p:cond delay="0"/>
                                          </p:stCondLst>
                                        </p:cTn>
                                        <p:tgtEl>
                                          <p:spTgt spid="20"/>
                                        </p:tgtEl>
                                        <p:attrNameLst>
                                          <p:attrName>style.visibility</p:attrName>
                                        </p:attrNameLst>
                                      </p:cBhvr>
                                      <p:to>
                                        <p:strVal val="visible"/>
                                      </p:to>
                                    </p:set>
                                    <p:anim calcmode="lin" valueType="num">
                                      <p:cBhvr additive="base">
                                        <p:cTn id="18" dur="750" fill="hold"/>
                                        <p:tgtEl>
                                          <p:spTgt spid="20"/>
                                        </p:tgtEl>
                                        <p:attrNameLst>
                                          <p:attrName>ppt_x</p:attrName>
                                        </p:attrNameLst>
                                      </p:cBhvr>
                                      <p:tavLst>
                                        <p:tav tm="0">
                                          <p:val>
                                            <p:strVal val="#ppt_x"/>
                                          </p:val>
                                        </p:tav>
                                        <p:tav tm="100000">
                                          <p:val>
                                            <p:strVal val="#ppt_x"/>
                                          </p:val>
                                        </p:tav>
                                      </p:tavLst>
                                    </p:anim>
                                    <p:anim calcmode="lin" valueType="num">
                                      <p:cBhvr additive="base">
                                        <p:cTn id="19" dur="750" fill="hold"/>
                                        <p:tgtEl>
                                          <p:spTgt spid="20"/>
                                        </p:tgtEl>
                                        <p:attrNameLst>
                                          <p:attrName>ppt_y</p:attrName>
                                        </p:attrNameLst>
                                      </p:cBhvr>
                                      <p:tavLst>
                                        <p:tav tm="0">
                                          <p:val>
                                            <p:strVal val="1+#ppt_h/2"/>
                                          </p:val>
                                        </p:tav>
                                        <p:tav tm="100000">
                                          <p:val>
                                            <p:strVal val="#ppt_y"/>
                                          </p:val>
                                        </p:tav>
                                      </p:tavLst>
                                    </p:anim>
                                  </p:childTnLst>
                                </p:cTn>
                              </p:par>
                              <p:par>
                                <p:cTn id="20" presetID="2" presetClass="entr" presetSubtype="4" decel="100000" fill="hold" grpId="0" nodeType="withEffect">
                                  <p:stCondLst>
                                    <p:cond delay="200"/>
                                  </p:stCondLst>
                                  <p:childTnLst>
                                    <p:set>
                                      <p:cBhvr>
                                        <p:cTn id="21" dur="1" fill="hold">
                                          <p:stCondLst>
                                            <p:cond delay="0"/>
                                          </p:stCondLst>
                                        </p:cTn>
                                        <p:tgtEl>
                                          <p:spTgt spid="23"/>
                                        </p:tgtEl>
                                        <p:attrNameLst>
                                          <p:attrName>style.visibility</p:attrName>
                                        </p:attrNameLst>
                                      </p:cBhvr>
                                      <p:to>
                                        <p:strVal val="visible"/>
                                      </p:to>
                                    </p:set>
                                    <p:anim calcmode="lin" valueType="num">
                                      <p:cBhvr additive="base">
                                        <p:cTn id="22" dur="750" fill="hold"/>
                                        <p:tgtEl>
                                          <p:spTgt spid="23"/>
                                        </p:tgtEl>
                                        <p:attrNameLst>
                                          <p:attrName>ppt_x</p:attrName>
                                        </p:attrNameLst>
                                      </p:cBhvr>
                                      <p:tavLst>
                                        <p:tav tm="0">
                                          <p:val>
                                            <p:strVal val="#ppt_x"/>
                                          </p:val>
                                        </p:tav>
                                        <p:tav tm="100000">
                                          <p:val>
                                            <p:strVal val="#ppt_x"/>
                                          </p:val>
                                        </p:tav>
                                      </p:tavLst>
                                    </p:anim>
                                    <p:anim calcmode="lin" valueType="num">
                                      <p:cBhvr additive="base">
                                        <p:cTn id="23" dur="750" fill="hold"/>
                                        <p:tgtEl>
                                          <p:spTgt spid="23"/>
                                        </p:tgtEl>
                                        <p:attrNameLst>
                                          <p:attrName>ppt_y</p:attrName>
                                        </p:attrNameLst>
                                      </p:cBhvr>
                                      <p:tavLst>
                                        <p:tav tm="0">
                                          <p:val>
                                            <p:strVal val="1+#ppt_h/2"/>
                                          </p:val>
                                        </p:tav>
                                        <p:tav tm="100000">
                                          <p:val>
                                            <p:strVal val="#ppt_y"/>
                                          </p:val>
                                        </p:tav>
                                      </p:tavLst>
                                    </p:anim>
                                  </p:childTnLst>
                                </p:cTn>
                              </p:par>
                              <p:par>
                                <p:cTn id="24" presetID="2" presetClass="entr" presetSubtype="4" decel="100000" fill="hold" grpId="0" nodeType="withEffect">
                                  <p:stCondLst>
                                    <p:cond delay="300"/>
                                  </p:stCondLst>
                                  <p:childTnLst>
                                    <p:set>
                                      <p:cBhvr>
                                        <p:cTn id="25" dur="1" fill="hold">
                                          <p:stCondLst>
                                            <p:cond delay="0"/>
                                          </p:stCondLst>
                                        </p:cTn>
                                        <p:tgtEl>
                                          <p:spTgt spid="22"/>
                                        </p:tgtEl>
                                        <p:attrNameLst>
                                          <p:attrName>style.visibility</p:attrName>
                                        </p:attrNameLst>
                                      </p:cBhvr>
                                      <p:to>
                                        <p:strVal val="visible"/>
                                      </p:to>
                                    </p:set>
                                    <p:anim calcmode="lin" valueType="num">
                                      <p:cBhvr additive="base">
                                        <p:cTn id="26" dur="750" fill="hold"/>
                                        <p:tgtEl>
                                          <p:spTgt spid="22"/>
                                        </p:tgtEl>
                                        <p:attrNameLst>
                                          <p:attrName>ppt_x</p:attrName>
                                        </p:attrNameLst>
                                      </p:cBhvr>
                                      <p:tavLst>
                                        <p:tav tm="0">
                                          <p:val>
                                            <p:strVal val="#ppt_x"/>
                                          </p:val>
                                        </p:tav>
                                        <p:tav tm="100000">
                                          <p:val>
                                            <p:strVal val="#ppt_x"/>
                                          </p:val>
                                        </p:tav>
                                      </p:tavLst>
                                    </p:anim>
                                    <p:anim calcmode="lin" valueType="num">
                                      <p:cBhvr additive="base">
                                        <p:cTn id="27" dur="750" fill="hold"/>
                                        <p:tgtEl>
                                          <p:spTgt spid="22"/>
                                        </p:tgtEl>
                                        <p:attrNameLst>
                                          <p:attrName>ppt_y</p:attrName>
                                        </p:attrNameLst>
                                      </p:cBhvr>
                                      <p:tavLst>
                                        <p:tav tm="0">
                                          <p:val>
                                            <p:strVal val="1+#ppt_h/2"/>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grpId="0" nodeType="clickEffect">
                                  <p:stCondLst>
                                    <p:cond delay="0"/>
                                  </p:stCondLst>
                                  <p:childTnLst>
                                    <p:set>
                                      <p:cBhvr>
                                        <p:cTn id="31" dur="1" fill="hold">
                                          <p:stCondLst>
                                            <p:cond delay="0"/>
                                          </p:stCondLst>
                                        </p:cTn>
                                        <p:tgtEl>
                                          <p:spTgt spid="24"/>
                                        </p:tgtEl>
                                        <p:attrNameLst>
                                          <p:attrName>style.visibility</p:attrName>
                                        </p:attrNameLst>
                                      </p:cBhvr>
                                      <p:to>
                                        <p:strVal val="visible"/>
                                      </p:to>
                                    </p:set>
                                    <p:animEffect transition="in" filter="wipe(down)">
                                      <p:cBhvr>
                                        <p:cTn id="32" dur="500"/>
                                        <p:tgtEl>
                                          <p:spTgt spid="24"/>
                                        </p:tgtEl>
                                      </p:cBhvr>
                                    </p:animEffect>
                                  </p:childTnLst>
                                </p:cTn>
                              </p:par>
                              <p:par>
                                <p:cTn id="33" presetID="22" presetClass="entr" presetSubtype="4" fill="hold" grpId="0" nodeType="withEffect">
                                  <p:stCondLst>
                                    <p:cond delay="100"/>
                                  </p:stCondLst>
                                  <p:childTnLst>
                                    <p:set>
                                      <p:cBhvr>
                                        <p:cTn id="34" dur="1" fill="hold">
                                          <p:stCondLst>
                                            <p:cond delay="0"/>
                                          </p:stCondLst>
                                        </p:cTn>
                                        <p:tgtEl>
                                          <p:spTgt spid="25"/>
                                        </p:tgtEl>
                                        <p:attrNameLst>
                                          <p:attrName>style.visibility</p:attrName>
                                        </p:attrNameLst>
                                      </p:cBhvr>
                                      <p:to>
                                        <p:strVal val="visible"/>
                                      </p:to>
                                    </p:set>
                                    <p:animEffect transition="in" filter="wipe(down)">
                                      <p:cBhvr>
                                        <p:cTn id="35" dur="500"/>
                                        <p:tgtEl>
                                          <p:spTgt spid="25"/>
                                        </p:tgtEl>
                                      </p:cBhvr>
                                    </p:animEffect>
                                  </p:childTnLst>
                                </p:cTn>
                              </p:par>
                              <p:par>
                                <p:cTn id="36" presetID="22" presetClass="entr" presetSubtype="4" fill="hold" grpId="0" nodeType="withEffect">
                                  <p:stCondLst>
                                    <p:cond delay="200"/>
                                  </p:stCondLst>
                                  <p:childTnLst>
                                    <p:set>
                                      <p:cBhvr>
                                        <p:cTn id="37" dur="1" fill="hold">
                                          <p:stCondLst>
                                            <p:cond delay="0"/>
                                          </p:stCondLst>
                                        </p:cTn>
                                        <p:tgtEl>
                                          <p:spTgt spid="26"/>
                                        </p:tgtEl>
                                        <p:attrNameLst>
                                          <p:attrName>style.visibility</p:attrName>
                                        </p:attrNameLst>
                                      </p:cBhvr>
                                      <p:to>
                                        <p:strVal val="visible"/>
                                      </p:to>
                                    </p:set>
                                    <p:animEffect transition="in" filter="wipe(down)">
                                      <p:cBhvr>
                                        <p:cTn id="38" dur="500"/>
                                        <p:tgtEl>
                                          <p:spTgt spid="26"/>
                                        </p:tgtEl>
                                      </p:cBhvr>
                                    </p:animEffect>
                                  </p:childTnLst>
                                </p:cTn>
                              </p:par>
                              <p:par>
                                <p:cTn id="39" presetID="22" presetClass="entr" presetSubtype="4" fill="hold" grpId="0" nodeType="withEffect">
                                  <p:stCondLst>
                                    <p:cond delay="300"/>
                                  </p:stCondLst>
                                  <p:childTnLst>
                                    <p:set>
                                      <p:cBhvr>
                                        <p:cTn id="40" dur="1" fill="hold">
                                          <p:stCondLst>
                                            <p:cond delay="0"/>
                                          </p:stCondLst>
                                        </p:cTn>
                                        <p:tgtEl>
                                          <p:spTgt spid="27"/>
                                        </p:tgtEl>
                                        <p:attrNameLst>
                                          <p:attrName>style.visibility</p:attrName>
                                        </p:attrNameLst>
                                      </p:cBhvr>
                                      <p:to>
                                        <p:strVal val="visible"/>
                                      </p:to>
                                    </p:set>
                                    <p:animEffect transition="in" filter="wipe(down)">
                                      <p:cBhvr>
                                        <p:cTn id="41" dur="500"/>
                                        <p:tgtEl>
                                          <p:spTgt spid="27"/>
                                        </p:tgtEl>
                                      </p:cBhvr>
                                    </p:animEffect>
                                  </p:childTnLst>
                                </p:cTn>
                              </p:par>
                            </p:childTnLst>
                          </p:cTn>
                        </p:par>
                      </p:childTnLst>
                    </p:cTn>
                  </p:par>
                  <p:par>
                    <p:cTn id="42" fill="hold">
                      <p:stCondLst>
                        <p:cond delay="indefinite"/>
                      </p:stCondLst>
                      <p:childTnLst>
                        <p:par>
                          <p:cTn id="43" fill="hold">
                            <p:stCondLst>
                              <p:cond delay="0"/>
                            </p:stCondLst>
                            <p:childTnLst>
                              <p:par>
                                <p:cTn id="44" presetID="2" presetClass="entr" presetSubtype="2" decel="100000" fill="hold" grpId="0" nodeType="clickEffect">
                                  <p:stCondLst>
                                    <p:cond delay="250"/>
                                  </p:stCondLst>
                                  <p:childTnLst>
                                    <p:set>
                                      <p:cBhvr>
                                        <p:cTn id="45" dur="1" fill="hold">
                                          <p:stCondLst>
                                            <p:cond delay="0"/>
                                          </p:stCondLst>
                                        </p:cTn>
                                        <p:tgtEl>
                                          <p:spTgt spid="31"/>
                                        </p:tgtEl>
                                        <p:attrNameLst>
                                          <p:attrName>style.visibility</p:attrName>
                                        </p:attrNameLst>
                                      </p:cBhvr>
                                      <p:to>
                                        <p:strVal val="visible"/>
                                      </p:to>
                                    </p:set>
                                    <p:anim calcmode="lin" valueType="num">
                                      <p:cBhvr additive="base">
                                        <p:cTn id="46" dur="500" fill="hold"/>
                                        <p:tgtEl>
                                          <p:spTgt spid="31"/>
                                        </p:tgtEl>
                                        <p:attrNameLst>
                                          <p:attrName>ppt_x</p:attrName>
                                        </p:attrNameLst>
                                      </p:cBhvr>
                                      <p:tavLst>
                                        <p:tav tm="0">
                                          <p:val>
                                            <p:strVal val="1+#ppt_w/2"/>
                                          </p:val>
                                        </p:tav>
                                        <p:tav tm="100000">
                                          <p:val>
                                            <p:strVal val="#ppt_x"/>
                                          </p:val>
                                        </p:tav>
                                      </p:tavLst>
                                    </p:anim>
                                    <p:anim calcmode="lin" valueType="num">
                                      <p:cBhvr additive="base">
                                        <p:cTn id="47" dur="500" fill="hold"/>
                                        <p:tgtEl>
                                          <p:spTgt spid="31"/>
                                        </p:tgtEl>
                                        <p:attrNameLst>
                                          <p:attrName>ppt_y</p:attrName>
                                        </p:attrNameLst>
                                      </p:cBhvr>
                                      <p:tavLst>
                                        <p:tav tm="0">
                                          <p:val>
                                            <p:strVal val="#ppt_y"/>
                                          </p:val>
                                        </p:tav>
                                        <p:tav tm="100000">
                                          <p:val>
                                            <p:strVal val="#ppt_y"/>
                                          </p:val>
                                        </p:tav>
                                      </p:tavLst>
                                    </p:anim>
                                  </p:childTnLst>
                                </p:cTn>
                              </p:par>
                              <p:par>
                                <p:cTn id="48" presetID="2" presetClass="exit" presetSubtype="8" accel="100000" fill="hold" grpId="1" nodeType="withEffect">
                                  <p:stCondLst>
                                    <p:cond delay="0"/>
                                  </p:stCondLst>
                                  <p:childTnLst>
                                    <p:anim calcmode="lin" valueType="num">
                                      <p:cBhvr additive="base">
                                        <p:cTn id="49" dur="500"/>
                                        <p:tgtEl>
                                          <p:spTgt spid="30"/>
                                        </p:tgtEl>
                                        <p:attrNameLst>
                                          <p:attrName>ppt_x</p:attrName>
                                        </p:attrNameLst>
                                      </p:cBhvr>
                                      <p:tavLst>
                                        <p:tav tm="0">
                                          <p:val>
                                            <p:strVal val="ppt_x"/>
                                          </p:val>
                                        </p:tav>
                                        <p:tav tm="100000">
                                          <p:val>
                                            <p:strVal val="0-ppt_w/2"/>
                                          </p:val>
                                        </p:tav>
                                      </p:tavLst>
                                    </p:anim>
                                    <p:anim calcmode="lin" valueType="num">
                                      <p:cBhvr additive="base">
                                        <p:cTn id="50" dur="500"/>
                                        <p:tgtEl>
                                          <p:spTgt spid="30"/>
                                        </p:tgtEl>
                                        <p:attrNameLst>
                                          <p:attrName>ppt_y</p:attrName>
                                        </p:attrNameLst>
                                      </p:cBhvr>
                                      <p:tavLst>
                                        <p:tav tm="0">
                                          <p:val>
                                            <p:strVal val="ppt_y"/>
                                          </p:val>
                                        </p:tav>
                                        <p:tav tm="100000">
                                          <p:val>
                                            <p:strVal val="ppt_y"/>
                                          </p:val>
                                        </p:tav>
                                      </p:tavLst>
                                    </p:anim>
                                    <p:set>
                                      <p:cBhvr>
                                        <p:cTn id="51" dur="1" fill="hold">
                                          <p:stCondLst>
                                            <p:cond delay="499"/>
                                          </p:stCondLst>
                                        </p:cTn>
                                        <p:tgtEl>
                                          <p:spTgt spid="30"/>
                                        </p:tgtEl>
                                        <p:attrNameLst>
                                          <p:attrName>style.visibility</p:attrName>
                                        </p:attrNameLst>
                                      </p:cBhvr>
                                      <p:to>
                                        <p:strVal val="hidden"/>
                                      </p:to>
                                    </p:set>
                                  </p:childTnLst>
                                </p:cTn>
                              </p:par>
                            </p:childTnLst>
                          </p:cTn>
                        </p:par>
                        <p:par>
                          <p:cTn id="52" fill="hold">
                            <p:stCondLst>
                              <p:cond delay="750"/>
                            </p:stCondLst>
                            <p:childTnLst>
                              <p:par>
                                <p:cTn id="53" presetID="6" presetClass="emph" presetSubtype="0" accel="28000" decel="72000" fill="hold" grpId="1" nodeType="afterEffect">
                                  <p:stCondLst>
                                    <p:cond delay="0"/>
                                  </p:stCondLst>
                                  <p:childTnLst>
                                    <p:animScale>
                                      <p:cBhvr>
                                        <p:cTn id="54" dur="750" fill="hold"/>
                                        <p:tgtEl>
                                          <p:spTgt spid="24"/>
                                        </p:tgtEl>
                                      </p:cBhvr>
                                      <p:by x="100000" y="21000"/>
                                    </p:animScale>
                                  </p:childTnLst>
                                </p:cTn>
                              </p:par>
                              <p:par>
                                <p:cTn id="55" presetID="6" presetClass="emph" presetSubtype="0" accel="28000" decel="72000" fill="hold" grpId="1" nodeType="withEffect">
                                  <p:stCondLst>
                                    <p:cond delay="0"/>
                                  </p:stCondLst>
                                  <p:childTnLst>
                                    <p:animScale>
                                      <p:cBhvr>
                                        <p:cTn id="56" dur="750" fill="hold"/>
                                        <p:tgtEl>
                                          <p:spTgt spid="25"/>
                                        </p:tgtEl>
                                      </p:cBhvr>
                                      <p:by x="100000" y="13810"/>
                                    </p:animScale>
                                  </p:childTnLst>
                                </p:cTn>
                              </p:par>
                              <p:par>
                                <p:cTn id="57" presetID="42" presetClass="path" presetSubtype="0" accel="28000" decel="72000" fill="hold" grpId="2" nodeType="withEffect">
                                  <p:stCondLst>
                                    <p:cond delay="0"/>
                                  </p:stCondLst>
                                  <p:childTnLst>
                                    <p:animMotion origin="layout" path="M 2.40656E-6 3.7037E-7 L 2.40656E-6 0.11505 " pathEditMode="relative" rAng="0" ptsTypes="AA">
                                      <p:cBhvr>
                                        <p:cTn id="58" dur="750" fill="hold"/>
                                        <p:tgtEl>
                                          <p:spTgt spid="24"/>
                                        </p:tgtEl>
                                        <p:attrNameLst>
                                          <p:attrName>ppt_x</p:attrName>
                                          <p:attrName>ppt_y</p:attrName>
                                        </p:attrNameLst>
                                      </p:cBhvr>
                                      <p:rCtr x="0" y="5741"/>
                                    </p:animMotion>
                                  </p:childTnLst>
                                </p:cTn>
                              </p:par>
                              <p:par>
                                <p:cTn id="59" presetID="42" presetClass="path" presetSubtype="0" accel="28000" decel="72000" fill="hold" grpId="2" nodeType="withEffect">
                                  <p:stCondLst>
                                    <p:cond delay="0"/>
                                  </p:stCondLst>
                                  <p:childTnLst>
                                    <p:animMotion origin="layout" path="M 3.05509E-6 -3.7037E-6 L 3.05509E-6 0.19098 " pathEditMode="relative" rAng="0" ptsTypes="AA">
                                      <p:cBhvr>
                                        <p:cTn id="60" dur="750" fill="hold"/>
                                        <p:tgtEl>
                                          <p:spTgt spid="25"/>
                                        </p:tgtEl>
                                        <p:attrNameLst>
                                          <p:attrName>ppt_x</p:attrName>
                                          <p:attrName>ppt_y</p:attrName>
                                        </p:attrNameLst>
                                      </p:cBhvr>
                                      <p:rCtr x="0" y="9537"/>
                                    </p:animMotion>
                                  </p:childTnLst>
                                </p:cTn>
                              </p:par>
                              <p:par>
                                <p:cTn id="61" presetID="6" presetClass="emph" presetSubtype="0" accel="28000" decel="72000" fill="hold" grpId="1" nodeType="withEffect">
                                  <p:stCondLst>
                                    <p:cond delay="0"/>
                                  </p:stCondLst>
                                  <p:childTnLst>
                                    <p:animScale>
                                      <p:cBhvr>
                                        <p:cTn id="62" dur="750" fill="hold"/>
                                        <p:tgtEl>
                                          <p:spTgt spid="27"/>
                                        </p:tgtEl>
                                      </p:cBhvr>
                                      <p:by x="100000" y="780430"/>
                                    </p:animScale>
                                  </p:childTnLst>
                                </p:cTn>
                              </p:par>
                              <p:par>
                                <p:cTn id="63" presetID="64" presetClass="path" presetSubtype="0" accel="28000" decel="72000" fill="hold" grpId="2" nodeType="withEffect">
                                  <p:stCondLst>
                                    <p:cond delay="0"/>
                                  </p:stCondLst>
                                  <p:childTnLst>
                                    <p:animMotion origin="layout" path="M 4.35213E-6 4.07407E-6 L 4.35213E-6 -0.20811 " pathEditMode="relative" rAng="0" ptsTypes="AA">
                                      <p:cBhvr>
                                        <p:cTn id="64" dur="750" fill="hold"/>
                                        <p:tgtEl>
                                          <p:spTgt spid="27"/>
                                        </p:tgtEl>
                                        <p:attrNameLst>
                                          <p:attrName>ppt_x</p:attrName>
                                          <p:attrName>ppt_y</p:attrName>
                                        </p:attrNameLst>
                                      </p:cBhvr>
                                      <p:rCtr x="0" y="-10417"/>
                                    </p:animMotion>
                                  </p:childTnLst>
                                </p:cTn>
                              </p:par>
                              <p:par>
                                <p:cTn id="65" presetID="6" presetClass="emph" presetSubtype="0" accel="28000" decel="72000" fill="hold" grpId="1" nodeType="withEffect">
                                  <p:stCondLst>
                                    <p:cond delay="0"/>
                                  </p:stCondLst>
                                  <p:childTnLst>
                                    <p:animScale>
                                      <p:cBhvr>
                                        <p:cTn id="66" dur="750" fill="hold"/>
                                        <p:tgtEl>
                                          <p:spTgt spid="26"/>
                                        </p:tgtEl>
                                      </p:cBhvr>
                                      <p:by x="100000" y="780430"/>
                                    </p:animScale>
                                  </p:childTnLst>
                                </p:cTn>
                              </p:par>
                              <p:par>
                                <p:cTn id="67" presetID="64" presetClass="path" presetSubtype="0" accel="28000" decel="72000" fill="hold" grpId="2" nodeType="withEffect">
                                  <p:stCondLst>
                                    <p:cond delay="0"/>
                                  </p:stCondLst>
                                  <p:childTnLst>
                                    <p:animMotion origin="layout" path="M 4.35213E-6 4.07407E-6 L 4.35213E-6 -0.20811 " pathEditMode="relative" rAng="0" ptsTypes="AA">
                                      <p:cBhvr>
                                        <p:cTn id="68" dur="750" fill="hold"/>
                                        <p:tgtEl>
                                          <p:spTgt spid="26"/>
                                        </p:tgtEl>
                                        <p:attrNameLst>
                                          <p:attrName>ppt_x</p:attrName>
                                          <p:attrName>ppt_y</p:attrName>
                                        </p:attrNameLst>
                                      </p:cBhvr>
                                      <p:rCtr x="0" y="-1041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P spid="23" grpId="0" animBg="1"/>
      <p:bldP spid="24" grpId="0" animBg="1"/>
      <p:bldP spid="24" grpId="1" animBg="1"/>
      <p:bldP spid="24" grpId="2" animBg="1"/>
      <p:bldP spid="25" grpId="0" animBg="1"/>
      <p:bldP spid="25" grpId="1" animBg="1"/>
      <p:bldP spid="25" grpId="2" animBg="1"/>
      <p:bldP spid="26" grpId="0" animBg="1"/>
      <p:bldP spid="26" grpId="1" animBg="1"/>
      <p:bldP spid="26" grpId="2" animBg="1"/>
      <p:bldP spid="27" grpId="0" animBg="1"/>
      <p:bldP spid="27" grpId="1" animBg="1"/>
      <p:bldP spid="27" grpId="2" animBg="1"/>
      <p:bldP spid="29" grpId="0" animBg="1"/>
      <p:bldP spid="30" grpId="0"/>
      <p:bldP spid="30" grpId="1"/>
      <p:bldP spid="31" grpId="0"/>
    </p:bldLst>
  </p:timing>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5"/>
          <p:cNvSpPr>
            <a:spLocks noChangeArrowheads="1"/>
          </p:cNvSpPr>
          <p:nvPr/>
        </p:nvSpPr>
        <p:spPr bwMode="auto">
          <a:xfrm>
            <a:off x="6172618" y="857250"/>
            <a:ext cx="2743915" cy="3714750"/>
          </a:xfrm>
          <a:prstGeom prst="rect">
            <a:avLst/>
          </a:prstGeom>
          <a:solidFill>
            <a:schemeClr val="bg1">
              <a:alpha val="10196"/>
            </a:schemeClr>
          </a:solidFill>
          <a:ln w="9525">
            <a:noFill/>
            <a:miter lim="800000"/>
            <a:headEnd/>
            <a:tailEnd/>
          </a:ln>
        </p:spPr>
        <p:txBody>
          <a:bodyPr wrap="none" lIns="68586" tIns="34294" rIns="68586" bIns="34294" anchor="ctr"/>
          <a:lstStyle/>
          <a:p>
            <a:pPr defTabSz="685862" fontAlgn="base">
              <a:spcBef>
                <a:spcPct val="0"/>
              </a:spcBef>
              <a:spcAft>
                <a:spcPct val="0"/>
              </a:spcAft>
            </a:pPr>
            <a:endParaRPr lang="en-US" dirty="0">
              <a:solidFill>
                <a:srgbClr val="00264A"/>
              </a:solidFill>
              <a:cs typeface="Segoe UI" pitchFamily="34" charset="0"/>
            </a:endParaRPr>
          </a:p>
        </p:txBody>
      </p:sp>
      <p:sp>
        <p:nvSpPr>
          <p:cNvPr id="3" name="Rectangle 34"/>
          <p:cNvSpPr>
            <a:spLocks noChangeArrowheads="1"/>
          </p:cNvSpPr>
          <p:nvPr/>
        </p:nvSpPr>
        <p:spPr bwMode="auto">
          <a:xfrm>
            <a:off x="6172617" y="3286404"/>
            <a:ext cx="2743915" cy="1200698"/>
          </a:xfrm>
          <a:prstGeom prst="rect">
            <a:avLst/>
          </a:prstGeom>
          <a:solidFill>
            <a:schemeClr val="accent1">
              <a:alpha val="85098"/>
            </a:schemeClr>
          </a:solidFill>
          <a:ln w="9525">
            <a:noFill/>
            <a:miter lim="800000"/>
            <a:headEnd/>
            <a:tailEnd/>
          </a:ln>
        </p:spPr>
        <p:txBody>
          <a:bodyPr wrap="none" lIns="68586" tIns="34294" rIns="68586" bIns="34294" anchor="ctr"/>
          <a:lstStyle/>
          <a:p>
            <a:pPr defTabSz="685862" fontAlgn="base">
              <a:spcBef>
                <a:spcPct val="0"/>
              </a:spcBef>
              <a:spcAft>
                <a:spcPct val="0"/>
              </a:spcAft>
            </a:pPr>
            <a:endParaRPr lang="en-US" dirty="0">
              <a:solidFill>
                <a:srgbClr val="21639F"/>
              </a:solidFill>
              <a:cs typeface="Segoe UI" pitchFamily="34" charset="0"/>
            </a:endParaRPr>
          </a:p>
        </p:txBody>
      </p:sp>
      <p:sp>
        <p:nvSpPr>
          <p:cNvPr id="4" name="Rectangle 27"/>
          <p:cNvSpPr>
            <a:spLocks noChangeArrowheads="1"/>
          </p:cNvSpPr>
          <p:nvPr/>
        </p:nvSpPr>
        <p:spPr bwMode="auto">
          <a:xfrm>
            <a:off x="6515605" y="3343885"/>
            <a:ext cx="2400926" cy="1177241"/>
          </a:xfrm>
          <a:prstGeom prst="rect">
            <a:avLst/>
          </a:prstGeom>
          <a:noFill/>
          <a:ln w="9525">
            <a:noFill/>
            <a:miter lim="800000"/>
            <a:headEnd/>
            <a:tailEnd/>
          </a:ln>
        </p:spPr>
        <p:txBody>
          <a:bodyPr wrap="square" lIns="68583" tIns="34292" rIns="68583" bIns="34292">
            <a:spAutoFit/>
          </a:bodyPr>
          <a:lstStyle/>
          <a:p>
            <a:pPr defTabSz="913294">
              <a:lnSpc>
                <a:spcPct val="90000"/>
              </a:lnSpc>
              <a:spcAft>
                <a:spcPts val="675"/>
              </a:spcAft>
            </a:pPr>
            <a:r>
              <a:rPr lang="en-US" sz="1100" dirty="0">
                <a:solidFill>
                  <a:srgbClr val="FFFFFF"/>
                </a:solidFill>
                <a:latin typeface="Segoe" pitchFamily="34" charset="0"/>
                <a:cs typeface="Segoe UI" pitchFamily="34" charset="0"/>
              </a:rPr>
              <a:t>Flexibility with delegation </a:t>
            </a:r>
            <a:br>
              <a:rPr lang="en-US" sz="1100" dirty="0">
                <a:solidFill>
                  <a:srgbClr val="FFFFFF"/>
                </a:solidFill>
                <a:latin typeface="Segoe" pitchFamily="34" charset="0"/>
                <a:cs typeface="Segoe UI" pitchFamily="34" charset="0"/>
              </a:rPr>
            </a:br>
            <a:r>
              <a:rPr lang="en-US" sz="1100" dirty="0">
                <a:solidFill>
                  <a:srgbClr val="FFFFFF"/>
                </a:solidFill>
                <a:latin typeface="Segoe" pitchFamily="34" charset="0"/>
                <a:cs typeface="Segoe UI" pitchFamily="34" charset="0"/>
              </a:rPr>
              <a:t>and control</a:t>
            </a:r>
          </a:p>
          <a:p>
            <a:pPr defTabSz="913294">
              <a:lnSpc>
                <a:spcPct val="90000"/>
              </a:lnSpc>
              <a:spcAft>
                <a:spcPts val="675"/>
              </a:spcAft>
            </a:pPr>
            <a:r>
              <a:rPr lang="en-US" sz="1100" dirty="0">
                <a:solidFill>
                  <a:srgbClr val="FFFFFF"/>
                </a:solidFill>
                <a:latin typeface="Segoe" pitchFamily="34" charset="0"/>
                <a:cs typeface="Segoe UI" pitchFamily="34" charset="0"/>
              </a:rPr>
              <a:t>Applications self-service across clouds</a:t>
            </a:r>
          </a:p>
          <a:p>
            <a:pPr defTabSz="913294">
              <a:lnSpc>
                <a:spcPct val="90000"/>
              </a:lnSpc>
              <a:spcAft>
                <a:spcPts val="675"/>
              </a:spcAft>
            </a:pPr>
            <a:r>
              <a:rPr lang="en-US" sz="1100" dirty="0">
                <a:solidFill>
                  <a:srgbClr val="FFFFFF"/>
                </a:solidFill>
                <a:latin typeface="Segoe" pitchFamily="34" charset="0"/>
                <a:cs typeface="Segoe UI" pitchFamily="34" charset="0"/>
              </a:rPr>
              <a:t>Physical, virtual, and cloud management</a:t>
            </a:r>
          </a:p>
        </p:txBody>
      </p:sp>
      <p:sp>
        <p:nvSpPr>
          <p:cNvPr id="5" name="Rectangle 27"/>
          <p:cNvSpPr>
            <a:spLocks noChangeArrowheads="1"/>
          </p:cNvSpPr>
          <p:nvPr/>
        </p:nvSpPr>
        <p:spPr bwMode="auto">
          <a:xfrm>
            <a:off x="6515605" y="3342781"/>
            <a:ext cx="2400926" cy="1177241"/>
          </a:xfrm>
          <a:prstGeom prst="rect">
            <a:avLst/>
          </a:prstGeom>
          <a:noFill/>
          <a:ln w="9525">
            <a:noFill/>
            <a:miter lim="800000"/>
            <a:headEnd/>
            <a:tailEnd/>
          </a:ln>
        </p:spPr>
        <p:txBody>
          <a:bodyPr wrap="square" lIns="68583" tIns="34292" rIns="68583" bIns="34292">
            <a:spAutoFit/>
          </a:bodyPr>
          <a:lstStyle/>
          <a:p>
            <a:pPr defTabSz="913294">
              <a:lnSpc>
                <a:spcPct val="90000"/>
              </a:lnSpc>
              <a:spcAft>
                <a:spcPts val="675"/>
              </a:spcAft>
            </a:pPr>
            <a:r>
              <a:rPr lang="en-US" sz="1100" b="1" dirty="0">
                <a:solidFill>
                  <a:srgbClr val="FFFFFF"/>
                </a:solidFill>
                <a:latin typeface="Segoe" pitchFamily="34" charset="0"/>
                <a:cs typeface="Segoe UI" pitchFamily="34" charset="0"/>
              </a:rPr>
              <a:t>Flexibility with delegation </a:t>
            </a:r>
            <a:br>
              <a:rPr lang="en-US" sz="1100" b="1" dirty="0">
                <a:solidFill>
                  <a:srgbClr val="FFFFFF"/>
                </a:solidFill>
                <a:latin typeface="Segoe" pitchFamily="34" charset="0"/>
                <a:cs typeface="Segoe UI" pitchFamily="34" charset="0"/>
              </a:rPr>
            </a:br>
            <a:r>
              <a:rPr lang="en-US" sz="1100" b="1" dirty="0">
                <a:solidFill>
                  <a:srgbClr val="FFFFFF"/>
                </a:solidFill>
                <a:latin typeface="Segoe" pitchFamily="34" charset="0"/>
                <a:cs typeface="Segoe UI" pitchFamily="34" charset="0"/>
              </a:rPr>
              <a:t>and control</a:t>
            </a:r>
          </a:p>
          <a:p>
            <a:pPr defTabSz="913294">
              <a:lnSpc>
                <a:spcPct val="90000"/>
              </a:lnSpc>
              <a:spcAft>
                <a:spcPts val="675"/>
              </a:spcAft>
            </a:pPr>
            <a:r>
              <a:rPr lang="en-US" sz="1100" b="1" dirty="0">
                <a:solidFill>
                  <a:srgbClr val="FFFFFF"/>
                </a:solidFill>
                <a:latin typeface="Segoe" pitchFamily="34" charset="0"/>
                <a:cs typeface="Segoe UI" pitchFamily="34" charset="0"/>
              </a:rPr>
              <a:t>Applications self-service across clouds</a:t>
            </a:r>
          </a:p>
          <a:p>
            <a:pPr defTabSz="913294">
              <a:lnSpc>
                <a:spcPct val="90000"/>
              </a:lnSpc>
              <a:spcAft>
                <a:spcPts val="675"/>
              </a:spcAft>
            </a:pPr>
            <a:r>
              <a:rPr lang="en-US" sz="1100" b="1" dirty="0">
                <a:solidFill>
                  <a:srgbClr val="FFFFFF"/>
                </a:solidFill>
                <a:latin typeface="Segoe" pitchFamily="34" charset="0"/>
                <a:cs typeface="Segoe UI" pitchFamily="34" charset="0"/>
              </a:rPr>
              <a:t>Physical, virtual, and cloud management</a:t>
            </a:r>
          </a:p>
        </p:txBody>
      </p:sp>
      <p:sp>
        <p:nvSpPr>
          <p:cNvPr id="6" name="Rectangle 34"/>
          <p:cNvSpPr>
            <a:spLocks noChangeArrowheads="1"/>
          </p:cNvSpPr>
          <p:nvPr/>
        </p:nvSpPr>
        <p:spPr bwMode="auto">
          <a:xfrm>
            <a:off x="3200044" y="857250"/>
            <a:ext cx="2743915" cy="3714750"/>
          </a:xfrm>
          <a:prstGeom prst="rect">
            <a:avLst/>
          </a:prstGeom>
          <a:solidFill>
            <a:schemeClr val="bg1">
              <a:alpha val="10196"/>
            </a:schemeClr>
          </a:solidFill>
          <a:ln w="9525">
            <a:noFill/>
            <a:miter lim="800000"/>
            <a:headEnd/>
            <a:tailEnd/>
          </a:ln>
        </p:spPr>
        <p:txBody>
          <a:bodyPr wrap="none" lIns="68586" tIns="34294" rIns="68586" bIns="34294" anchor="ctr"/>
          <a:lstStyle/>
          <a:p>
            <a:pPr defTabSz="685862" fontAlgn="base">
              <a:spcBef>
                <a:spcPct val="0"/>
              </a:spcBef>
              <a:spcAft>
                <a:spcPct val="0"/>
              </a:spcAft>
            </a:pPr>
            <a:endParaRPr lang="en-US" dirty="0">
              <a:solidFill>
                <a:srgbClr val="00264A"/>
              </a:solidFill>
              <a:cs typeface="Segoe UI" pitchFamily="34" charset="0"/>
            </a:endParaRPr>
          </a:p>
        </p:txBody>
      </p:sp>
      <p:sp>
        <p:nvSpPr>
          <p:cNvPr id="7" name="Rectangle 34"/>
          <p:cNvSpPr>
            <a:spLocks noChangeArrowheads="1"/>
          </p:cNvSpPr>
          <p:nvPr/>
        </p:nvSpPr>
        <p:spPr bwMode="auto">
          <a:xfrm>
            <a:off x="3200044" y="3314701"/>
            <a:ext cx="2743915" cy="1200698"/>
          </a:xfrm>
          <a:prstGeom prst="rect">
            <a:avLst/>
          </a:prstGeom>
          <a:solidFill>
            <a:schemeClr val="accent1">
              <a:alpha val="85098"/>
            </a:schemeClr>
          </a:solidFill>
          <a:ln w="9525">
            <a:noFill/>
            <a:miter lim="800000"/>
            <a:headEnd/>
            <a:tailEnd/>
          </a:ln>
        </p:spPr>
        <p:txBody>
          <a:bodyPr wrap="none" lIns="68586" tIns="34294" rIns="68586" bIns="34294" anchor="ctr"/>
          <a:lstStyle/>
          <a:p>
            <a:pPr defTabSz="685862" fontAlgn="base">
              <a:spcBef>
                <a:spcPct val="0"/>
              </a:spcBef>
              <a:spcAft>
                <a:spcPct val="0"/>
              </a:spcAft>
            </a:pPr>
            <a:endParaRPr lang="en-US" dirty="0">
              <a:solidFill>
                <a:srgbClr val="21639F"/>
              </a:solidFill>
              <a:cs typeface="Segoe UI" pitchFamily="34" charset="0"/>
            </a:endParaRPr>
          </a:p>
        </p:txBody>
      </p:sp>
      <p:sp>
        <p:nvSpPr>
          <p:cNvPr id="8" name="Rectangle 33"/>
          <p:cNvSpPr>
            <a:spLocks noChangeArrowheads="1"/>
          </p:cNvSpPr>
          <p:nvPr/>
        </p:nvSpPr>
        <p:spPr bwMode="auto">
          <a:xfrm>
            <a:off x="227470" y="857250"/>
            <a:ext cx="2743915" cy="3714750"/>
          </a:xfrm>
          <a:prstGeom prst="rect">
            <a:avLst/>
          </a:prstGeom>
          <a:solidFill>
            <a:schemeClr val="bg1">
              <a:alpha val="10196"/>
            </a:schemeClr>
          </a:solidFill>
          <a:ln w="9525">
            <a:noFill/>
            <a:miter lim="800000"/>
            <a:headEnd/>
            <a:tailEnd/>
          </a:ln>
        </p:spPr>
        <p:txBody>
          <a:bodyPr wrap="none" lIns="68586" tIns="34294" rIns="68586" bIns="34294" anchor="ctr"/>
          <a:lstStyle/>
          <a:p>
            <a:pPr defTabSz="685862" fontAlgn="base">
              <a:spcBef>
                <a:spcPct val="0"/>
              </a:spcBef>
              <a:spcAft>
                <a:spcPct val="0"/>
              </a:spcAft>
            </a:pPr>
            <a:endParaRPr lang="en-US" dirty="0">
              <a:solidFill>
                <a:srgbClr val="00264A"/>
              </a:solidFill>
              <a:cs typeface="Segoe UI" pitchFamily="34" charset="0"/>
            </a:endParaRPr>
          </a:p>
        </p:txBody>
      </p:sp>
      <p:sp>
        <p:nvSpPr>
          <p:cNvPr id="9" name="Title 1"/>
          <p:cNvSpPr txBox="1">
            <a:spLocks/>
          </p:cNvSpPr>
          <p:nvPr/>
        </p:nvSpPr>
        <p:spPr>
          <a:xfrm>
            <a:off x="167923" y="205979"/>
            <a:ext cx="8229362" cy="857250"/>
          </a:xfrm>
          <a:prstGeom prst="rect">
            <a:avLst/>
          </a:prstGeom>
        </p:spPr>
        <p:txBody>
          <a:bodyPr lIns="68586" tIns="34294" rIns="68586" bIns="34294">
            <a:normAutofit/>
          </a:bodyPr>
          <a:lstStyle/>
          <a:p>
            <a:pPr defTabSz="684673" fontAlgn="base">
              <a:lnSpc>
                <a:spcPct val="90000"/>
              </a:lnSpc>
              <a:spcBef>
                <a:spcPct val="0"/>
              </a:spcBef>
              <a:spcAft>
                <a:spcPct val="0"/>
              </a:spcAft>
              <a:defRPr/>
            </a:pPr>
            <a:endParaRPr lang="en-US" sz="3600" dirty="0">
              <a:solidFill>
                <a:srgbClr val="FFFFFF"/>
              </a:solidFill>
              <a:effectLst>
                <a:outerShdw blurRad="38100" dist="38100" dir="2700000" algn="tl">
                  <a:srgbClr val="C0C0C0"/>
                </a:outerShdw>
              </a:effectLst>
              <a:cs typeface="Segoe UI" pitchFamily="34" charset="0"/>
            </a:endParaRPr>
          </a:p>
        </p:txBody>
      </p:sp>
      <p:sp>
        <p:nvSpPr>
          <p:cNvPr id="10" name="Rectangle 32"/>
          <p:cNvSpPr txBox="1">
            <a:spLocks/>
          </p:cNvSpPr>
          <p:nvPr/>
        </p:nvSpPr>
        <p:spPr>
          <a:xfrm>
            <a:off x="389436" y="171451"/>
            <a:ext cx="8363938" cy="457049"/>
          </a:xfrm>
          <a:prstGeom prst="rect">
            <a:avLst/>
          </a:prstGeom>
        </p:spPr>
        <p:txBody>
          <a:bodyPr lIns="68586" tIns="34294" rIns="68586" bIns="34294"/>
          <a:lst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sz="2900">
                <a:latin typeface="+mn-lt"/>
              </a:rPr>
              <a:t>System Center 2012 Cloud &amp; Datacenter Management</a:t>
            </a:r>
          </a:p>
        </p:txBody>
      </p:sp>
      <p:sp>
        <p:nvSpPr>
          <p:cNvPr id="11" name="Rectangle 36"/>
          <p:cNvSpPr>
            <a:spLocks noChangeArrowheads="1"/>
          </p:cNvSpPr>
          <p:nvPr/>
        </p:nvSpPr>
        <p:spPr bwMode="auto">
          <a:xfrm>
            <a:off x="3200044" y="914400"/>
            <a:ext cx="2743915" cy="457200"/>
          </a:xfrm>
          <a:prstGeom prst="rect">
            <a:avLst/>
          </a:prstGeom>
          <a:solidFill>
            <a:srgbClr val="002C56">
              <a:alpha val="85097"/>
            </a:srgbClr>
          </a:solidFill>
          <a:ln w="9525">
            <a:noFill/>
            <a:miter lim="800000"/>
            <a:headEnd/>
            <a:tailEnd/>
          </a:ln>
        </p:spPr>
        <p:txBody>
          <a:bodyPr lIns="68586" tIns="34294" rIns="68586" bIns="34294" anchor="ctr"/>
          <a:lstStyle/>
          <a:p>
            <a:pPr algn="ctr" defTabSz="685862" fontAlgn="base">
              <a:spcBef>
                <a:spcPct val="0"/>
              </a:spcBef>
              <a:spcAft>
                <a:spcPct val="0"/>
              </a:spcAft>
            </a:pPr>
            <a:r>
              <a:rPr lang="en-US" dirty="0">
                <a:solidFill>
                  <a:srgbClr val="FFFFFF"/>
                </a:solidFill>
                <a:cs typeface="Segoe UI" pitchFamily="34" charset="0"/>
              </a:rPr>
              <a:t>PREDICTABLE APPLICATIONS</a:t>
            </a:r>
          </a:p>
        </p:txBody>
      </p:sp>
      <p:sp>
        <p:nvSpPr>
          <p:cNvPr id="12" name="Rectangle 37"/>
          <p:cNvSpPr>
            <a:spLocks noChangeArrowheads="1"/>
          </p:cNvSpPr>
          <p:nvPr/>
        </p:nvSpPr>
        <p:spPr bwMode="auto">
          <a:xfrm>
            <a:off x="227470" y="914400"/>
            <a:ext cx="2743915" cy="457200"/>
          </a:xfrm>
          <a:prstGeom prst="rect">
            <a:avLst/>
          </a:prstGeom>
          <a:solidFill>
            <a:srgbClr val="002C56">
              <a:alpha val="85097"/>
            </a:srgbClr>
          </a:solidFill>
          <a:ln w="9525">
            <a:noFill/>
            <a:miter lim="800000"/>
            <a:headEnd/>
            <a:tailEnd/>
          </a:ln>
        </p:spPr>
        <p:txBody>
          <a:bodyPr lIns="68586" tIns="34294" rIns="68586" bIns="34294" anchor="ctr"/>
          <a:lstStyle/>
          <a:p>
            <a:pPr algn="ctr" defTabSz="685862" fontAlgn="base">
              <a:spcBef>
                <a:spcPct val="0"/>
              </a:spcBef>
              <a:spcAft>
                <a:spcPct val="0"/>
              </a:spcAft>
            </a:pPr>
            <a:r>
              <a:rPr lang="en-US" dirty="0">
                <a:solidFill>
                  <a:srgbClr val="FFFFFF"/>
                </a:solidFill>
                <a:cs typeface="Segoe UI" pitchFamily="34" charset="0"/>
              </a:rPr>
              <a:t>PRODUCTIVE </a:t>
            </a:r>
            <a:endParaRPr lang="en-US" dirty="0" smtClean="0">
              <a:solidFill>
                <a:srgbClr val="FFFFFF"/>
              </a:solidFill>
              <a:cs typeface="Segoe UI" pitchFamily="34" charset="0"/>
            </a:endParaRPr>
          </a:p>
          <a:p>
            <a:pPr algn="ctr" defTabSz="685862" fontAlgn="base">
              <a:spcBef>
                <a:spcPct val="0"/>
              </a:spcBef>
              <a:spcAft>
                <a:spcPct val="0"/>
              </a:spcAft>
            </a:pPr>
            <a:r>
              <a:rPr lang="en-US" dirty="0" smtClean="0">
                <a:solidFill>
                  <a:srgbClr val="FFFFFF"/>
                </a:solidFill>
                <a:cs typeface="Segoe UI" pitchFamily="34" charset="0"/>
              </a:rPr>
              <a:t>INFRASTRUCTURE</a:t>
            </a:r>
            <a:endParaRPr lang="en-US" dirty="0">
              <a:solidFill>
                <a:srgbClr val="FFFFFF"/>
              </a:solidFill>
              <a:cs typeface="Segoe UI" pitchFamily="34" charset="0"/>
            </a:endParaRPr>
          </a:p>
        </p:txBody>
      </p:sp>
      <p:sp>
        <p:nvSpPr>
          <p:cNvPr id="13" name="Rectangle 38"/>
          <p:cNvSpPr>
            <a:spLocks noChangeArrowheads="1"/>
          </p:cNvSpPr>
          <p:nvPr/>
        </p:nvSpPr>
        <p:spPr bwMode="auto">
          <a:xfrm>
            <a:off x="6172618" y="914400"/>
            <a:ext cx="2743915" cy="457200"/>
          </a:xfrm>
          <a:prstGeom prst="rect">
            <a:avLst/>
          </a:prstGeom>
          <a:solidFill>
            <a:srgbClr val="002C56">
              <a:alpha val="85097"/>
            </a:srgbClr>
          </a:solidFill>
          <a:ln w="9525">
            <a:noFill/>
            <a:miter lim="800000"/>
            <a:headEnd/>
            <a:tailEnd/>
          </a:ln>
        </p:spPr>
        <p:txBody>
          <a:bodyPr lIns="68586" tIns="34294" rIns="68586" bIns="34294" anchor="ctr"/>
          <a:lstStyle/>
          <a:p>
            <a:pPr algn="ctr" defTabSz="685862" fontAlgn="base">
              <a:spcBef>
                <a:spcPct val="0"/>
              </a:spcBef>
              <a:spcAft>
                <a:spcPct val="0"/>
              </a:spcAft>
            </a:pPr>
            <a:r>
              <a:rPr lang="en-US" dirty="0" smtClean="0">
                <a:solidFill>
                  <a:srgbClr val="FFFFFF"/>
                </a:solidFill>
                <a:cs typeface="Segoe UI" pitchFamily="34" charset="0"/>
              </a:rPr>
              <a:t>YOUR CLOUD</a:t>
            </a:r>
            <a:endParaRPr lang="en-US" dirty="0">
              <a:solidFill>
                <a:srgbClr val="FFFFFF"/>
              </a:solidFill>
              <a:cs typeface="Segoe UI" pitchFamily="34" charset="0"/>
            </a:endParaRPr>
          </a:p>
        </p:txBody>
      </p:sp>
      <p:grpSp>
        <p:nvGrpSpPr>
          <p:cNvPr id="14" name="Group 32"/>
          <p:cNvGrpSpPr>
            <a:grpSpLocks/>
          </p:cNvGrpSpPr>
          <p:nvPr/>
        </p:nvGrpSpPr>
        <p:grpSpPr bwMode="auto">
          <a:xfrm>
            <a:off x="3724054" y="1334692"/>
            <a:ext cx="1600617" cy="1022747"/>
            <a:chOff x="4840288" y="1676400"/>
            <a:chExt cx="2257425" cy="1619250"/>
          </a:xfrm>
        </p:grpSpPr>
        <p:grpSp>
          <p:nvGrpSpPr>
            <p:cNvPr id="15" name="Group 33"/>
            <p:cNvGrpSpPr>
              <a:grpSpLocks/>
            </p:cNvGrpSpPr>
            <p:nvPr/>
          </p:nvGrpSpPr>
          <p:grpSpPr bwMode="auto">
            <a:xfrm>
              <a:off x="4840288" y="1676400"/>
              <a:ext cx="1800225" cy="1619250"/>
              <a:chOff x="4840288" y="1676400"/>
              <a:chExt cx="1800225" cy="1619250"/>
            </a:xfrm>
          </p:grpSpPr>
          <p:pic>
            <p:nvPicPr>
              <p:cNvPr id="17" name="Picture 8"/>
              <p:cNvPicPr>
                <a:picLocks noChangeAspect="1"/>
              </p:cNvPicPr>
              <p:nvPr/>
            </p:nvPicPr>
            <p:blipFill>
              <a:blip r:embed="rId2" cstate="print"/>
              <a:srcRect/>
              <a:stretch>
                <a:fillRect/>
              </a:stretch>
            </p:blipFill>
            <p:spPr bwMode="auto">
              <a:xfrm>
                <a:off x="4840288" y="1676400"/>
                <a:ext cx="1577975" cy="1606550"/>
              </a:xfrm>
              <a:prstGeom prst="rect">
                <a:avLst/>
              </a:prstGeom>
              <a:noFill/>
              <a:ln w="9525">
                <a:noFill/>
                <a:miter lim="800000"/>
                <a:headEnd/>
                <a:tailEnd/>
              </a:ln>
            </p:spPr>
          </p:pic>
          <p:pic>
            <p:nvPicPr>
              <p:cNvPr id="18" name="Picture 9"/>
              <p:cNvPicPr>
                <a:picLocks noChangeAspect="1"/>
              </p:cNvPicPr>
              <p:nvPr/>
            </p:nvPicPr>
            <p:blipFill>
              <a:blip r:embed="rId3" cstate="email"/>
              <a:srcRect/>
              <a:stretch>
                <a:fillRect/>
              </a:stretch>
            </p:blipFill>
            <p:spPr bwMode="auto">
              <a:xfrm>
                <a:off x="5561013" y="2438400"/>
                <a:ext cx="623887" cy="857250"/>
              </a:xfrm>
              <a:prstGeom prst="rect">
                <a:avLst/>
              </a:prstGeom>
              <a:noFill/>
              <a:ln w="9525">
                <a:noFill/>
                <a:miter lim="800000"/>
                <a:headEnd/>
                <a:tailEnd/>
              </a:ln>
            </p:spPr>
          </p:pic>
          <p:pic>
            <p:nvPicPr>
              <p:cNvPr id="19" name="Picture 64"/>
              <p:cNvPicPr>
                <a:picLocks noChangeAspect="1"/>
              </p:cNvPicPr>
              <p:nvPr/>
            </p:nvPicPr>
            <p:blipFill>
              <a:blip r:embed="rId3" cstate="email"/>
              <a:srcRect/>
              <a:stretch>
                <a:fillRect/>
              </a:stretch>
            </p:blipFill>
            <p:spPr bwMode="auto">
              <a:xfrm>
                <a:off x="6018213" y="2438400"/>
                <a:ext cx="622300" cy="855663"/>
              </a:xfrm>
              <a:prstGeom prst="rect">
                <a:avLst/>
              </a:prstGeom>
              <a:noFill/>
              <a:ln w="9525">
                <a:noFill/>
                <a:miter lim="800000"/>
                <a:headEnd/>
                <a:tailEnd/>
              </a:ln>
            </p:spPr>
          </p:pic>
        </p:grpSp>
        <p:pic>
          <p:nvPicPr>
            <p:cNvPr id="16" name="Picture 64"/>
            <p:cNvPicPr>
              <a:picLocks noChangeAspect="1"/>
            </p:cNvPicPr>
            <p:nvPr/>
          </p:nvPicPr>
          <p:blipFill>
            <a:blip r:embed="rId3" cstate="email"/>
            <a:srcRect/>
            <a:stretch>
              <a:fillRect/>
            </a:stretch>
          </p:blipFill>
          <p:spPr bwMode="auto">
            <a:xfrm>
              <a:off x="6475413" y="2438400"/>
              <a:ext cx="622300" cy="855663"/>
            </a:xfrm>
            <a:prstGeom prst="rect">
              <a:avLst/>
            </a:prstGeom>
            <a:noFill/>
            <a:ln w="9525">
              <a:noFill/>
              <a:miter lim="800000"/>
              <a:headEnd/>
              <a:tailEnd/>
            </a:ln>
          </p:spPr>
        </p:pic>
      </p:grpSp>
      <p:grpSp>
        <p:nvGrpSpPr>
          <p:cNvPr id="20" name="Group 38"/>
          <p:cNvGrpSpPr>
            <a:grpSpLocks/>
          </p:cNvGrpSpPr>
          <p:nvPr/>
        </p:nvGrpSpPr>
        <p:grpSpPr bwMode="auto">
          <a:xfrm>
            <a:off x="6401278" y="1543051"/>
            <a:ext cx="2268731" cy="844154"/>
            <a:chOff x="8456612" y="2120673"/>
            <a:chExt cx="3200400" cy="1336479"/>
          </a:xfrm>
        </p:grpSpPr>
        <p:pic>
          <p:nvPicPr>
            <p:cNvPr id="21" name="Picture 7"/>
            <p:cNvPicPr>
              <a:picLocks noChangeAspect="1"/>
            </p:cNvPicPr>
            <p:nvPr/>
          </p:nvPicPr>
          <p:blipFill>
            <a:blip r:embed="rId4" cstate="print"/>
            <a:srcRect/>
            <a:stretch>
              <a:fillRect/>
            </a:stretch>
          </p:blipFill>
          <p:spPr bwMode="auto">
            <a:xfrm>
              <a:off x="8990013" y="2244302"/>
              <a:ext cx="2200275" cy="1212850"/>
            </a:xfrm>
            <a:prstGeom prst="rect">
              <a:avLst/>
            </a:prstGeom>
            <a:noFill/>
            <a:ln w="9525">
              <a:noFill/>
              <a:miter lim="800000"/>
              <a:headEnd/>
              <a:tailEnd/>
            </a:ln>
          </p:spPr>
        </p:pic>
        <p:pic>
          <p:nvPicPr>
            <p:cNvPr id="22" name="Picture 4"/>
            <p:cNvPicPr>
              <a:picLocks noChangeAspect="1"/>
            </p:cNvPicPr>
            <p:nvPr/>
          </p:nvPicPr>
          <p:blipFill>
            <a:blip r:embed="rId5" cstate="email"/>
            <a:srcRect/>
            <a:stretch>
              <a:fillRect/>
            </a:stretch>
          </p:blipFill>
          <p:spPr bwMode="auto">
            <a:xfrm>
              <a:off x="10751750" y="2120673"/>
              <a:ext cx="905262" cy="546327"/>
            </a:xfrm>
            <a:prstGeom prst="rect">
              <a:avLst/>
            </a:prstGeom>
            <a:noFill/>
            <a:ln w="9525">
              <a:noFill/>
              <a:miter lim="800000"/>
              <a:headEnd/>
              <a:tailEnd/>
            </a:ln>
          </p:spPr>
        </p:pic>
        <p:pic>
          <p:nvPicPr>
            <p:cNvPr id="23" name="Picture 4"/>
            <p:cNvPicPr>
              <a:picLocks noChangeAspect="1"/>
            </p:cNvPicPr>
            <p:nvPr/>
          </p:nvPicPr>
          <p:blipFill>
            <a:blip r:embed="rId5" cstate="email"/>
            <a:srcRect/>
            <a:stretch>
              <a:fillRect/>
            </a:stretch>
          </p:blipFill>
          <p:spPr bwMode="auto">
            <a:xfrm rot="10800000">
              <a:off x="8456612" y="2133600"/>
              <a:ext cx="905262" cy="546327"/>
            </a:xfrm>
            <a:prstGeom prst="rect">
              <a:avLst/>
            </a:prstGeom>
            <a:noFill/>
            <a:ln w="9525">
              <a:noFill/>
              <a:miter lim="800000"/>
              <a:headEnd/>
              <a:tailEnd/>
            </a:ln>
          </p:spPr>
        </p:pic>
        <p:cxnSp>
          <p:nvCxnSpPr>
            <p:cNvPr id="24" name="Straight Connector 23"/>
            <p:cNvCxnSpPr/>
            <p:nvPr/>
          </p:nvCxnSpPr>
          <p:spPr>
            <a:xfrm>
              <a:off x="9142052" y="2631514"/>
              <a:ext cx="456960" cy="218662"/>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p:nvCxnSpPr>
          <p:spPr>
            <a:xfrm flipH="1">
              <a:off x="10437332" y="2603238"/>
              <a:ext cx="456960" cy="216778"/>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26" name="Group 44"/>
          <p:cNvGrpSpPr>
            <a:grpSpLocks/>
          </p:cNvGrpSpPr>
          <p:nvPr/>
        </p:nvGrpSpPr>
        <p:grpSpPr bwMode="auto">
          <a:xfrm>
            <a:off x="627623" y="1512094"/>
            <a:ext cx="1904305" cy="1059656"/>
            <a:chOff x="688976" y="1903895"/>
            <a:chExt cx="2686277" cy="1677505"/>
          </a:xfrm>
        </p:grpSpPr>
        <p:grpSp>
          <p:nvGrpSpPr>
            <p:cNvPr id="27" name="Group 45"/>
            <p:cNvGrpSpPr>
              <a:grpSpLocks/>
            </p:cNvGrpSpPr>
            <p:nvPr/>
          </p:nvGrpSpPr>
          <p:grpSpPr bwMode="auto">
            <a:xfrm>
              <a:off x="1349411" y="2168102"/>
              <a:ext cx="2025842" cy="1055877"/>
              <a:chOff x="1349411" y="2168102"/>
              <a:chExt cx="2025842" cy="1055877"/>
            </a:xfrm>
          </p:grpSpPr>
          <p:pic>
            <p:nvPicPr>
              <p:cNvPr id="29" name="Picture 62"/>
              <p:cNvPicPr>
                <a:picLocks noChangeAspect="1"/>
              </p:cNvPicPr>
              <p:nvPr/>
            </p:nvPicPr>
            <p:blipFill>
              <a:blip r:embed="rId4" cstate="print"/>
              <a:srcRect/>
              <a:stretch>
                <a:fillRect/>
              </a:stretch>
            </p:blipFill>
            <p:spPr bwMode="auto">
              <a:xfrm>
                <a:off x="1461406" y="2168102"/>
                <a:ext cx="1913847" cy="1055877"/>
              </a:xfrm>
              <a:prstGeom prst="rect">
                <a:avLst/>
              </a:prstGeom>
              <a:noFill/>
              <a:ln w="9525">
                <a:noFill/>
                <a:miter lim="800000"/>
                <a:headEnd/>
                <a:tailEnd/>
              </a:ln>
            </p:spPr>
          </p:pic>
          <p:sp>
            <p:nvSpPr>
              <p:cNvPr id="30" name="Rectangle 29"/>
              <p:cNvSpPr/>
              <p:nvPr/>
            </p:nvSpPr>
            <p:spPr>
              <a:xfrm>
                <a:off x="1349205" y="2750187"/>
                <a:ext cx="468713" cy="367543"/>
              </a:xfrm>
              <a:prstGeom prst="rect">
                <a:avLst/>
              </a:prstGeom>
              <a:solidFill>
                <a:srgbClr val="002C56"/>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685862" fontAlgn="base">
                  <a:spcBef>
                    <a:spcPct val="0"/>
                  </a:spcBef>
                  <a:spcAft>
                    <a:spcPct val="0"/>
                  </a:spcAft>
                  <a:defRPr/>
                </a:pPr>
                <a:endParaRPr lang="en-US" dirty="0">
                  <a:solidFill>
                    <a:srgbClr val="FFFFFF"/>
                  </a:solidFill>
                </a:endParaRPr>
              </a:p>
            </p:txBody>
          </p:sp>
        </p:grpSp>
        <p:pic>
          <p:nvPicPr>
            <p:cNvPr id="28" name="Picture 46"/>
            <p:cNvPicPr>
              <a:picLocks noChangeAspect="1"/>
            </p:cNvPicPr>
            <p:nvPr/>
          </p:nvPicPr>
          <p:blipFill>
            <a:blip r:embed="rId6" cstate="print"/>
            <a:srcRect/>
            <a:stretch>
              <a:fillRect/>
            </a:stretch>
          </p:blipFill>
          <p:spPr bwMode="auto">
            <a:xfrm>
              <a:off x="688976" y="1903895"/>
              <a:ext cx="1252537" cy="1677505"/>
            </a:xfrm>
            <a:prstGeom prst="rect">
              <a:avLst/>
            </a:prstGeom>
            <a:noFill/>
            <a:ln w="9525">
              <a:noFill/>
              <a:miter lim="800000"/>
              <a:headEnd/>
              <a:tailEnd/>
            </a:ln>
          </p:spPr>
        </p:pic>
      </p:grpSp>
      <p:sp>
        <p:nvSpPr>
          <p:cNvPr id="31" name="Rectangle 30"/>
          <p:cNvSpPr/>
          <p:nvPr/>
        </p:nvSpPr>
        <p:spPr>
          <a:xfrm>
            <a:off x="227470" y="2686050"/>
            <a:ext cx="2743915" cy="567858"/>
          </a:xfrm>
          <a:prstGeom prst="rect">
            <a:avLst/>
          </a:prstGeom>
        </p:spPr>
        <p:txBody>
          <a:bodyPr wrap="square" lIns="68583" tIns="34292" rIns="68583" bIns="34292">
            <a:spAutoFit/>
          </a:bodyPr>
          <a:lstStyle/>
          <a:p>
            <a:pPr algn="ctr" defTabSz="913678">
              <a:lnSpc>
                <a:spcPct val="90000"/>
              </a:lnSpc>
              <a:spcBef>
                <a:spcPct val="20000"/>
              </a:spcBef>
              <a:buSzPct val="90000"/>
              <a:defRPr/>
            </a:pPr>
            <a:r>
              <a:rPr lang="en-US" sz="1200" dirty="0">
                <a:gradFill>
                  <a:gsLst>
                    <a:gs pos="0">
                      <a:srgbClr val="FFFFFF"/>
                    </a:gs>
                    <a:gs pos="100000">
                      <a:srgbClr val="FFFFFF"/>
                    </a:gs>
                  </a:gsLst>
                  <a:lin ang="5400000" scaled="0"/>
                </a:gradFill>
                <a:cs typeface="Segoe UI" pitchFamily="34" charset="0"/>
              </a:rPr>
              <a:t>Deliver flexible and cost effective infrastructure with what you </a:t>
            </a:r>
            <a:br>
              <a:rPr lang="en-US" sz="1200" dirty="0">
                <a:gradFill>
                  <a:gsLst>
                    <a:gs pos="0">
                      <a:srgbClr val="FFFFFF"/>
                    </a:gs>
                    <a:gs pos="100000">
                      <a:srgbClr val="FFFFFF"/>
                    </a:gs>
                  </a:gsLst>
                  <a:lin ang="5400000" scaled="0"/>
                </a:gradFill>
                <a:cs typeface="Segoe UI" pitchFamily="34" charset="0"/>
              </a:rPr>
            </a:br>
            <a:r>
              <a:rPr lang="en-US" sz="1200" dirty="0">
                <a:gradFill>
                  <a:gsLst>
                    <a:gs pos="0">
                      <a:srgbClr val="FFFFFF"/>
                    </a:gs>
                    <a:gs pos="100000">
                      <a:srgbClr val="FFFFFF"/>
                    </a:gs>
                  </a:gsLst>
                  <a:lin ang="5400000" scaled="0"/>
                </a:gradFill>
                <a:cs typeface="Segoe UI" pitchFamily="34" charset="0"/>
              </a:rPr>
              <a:t>already know and own</a:t>
            </a:r>
          </a:p>
        </p:txBody>
      </p:sp>
      <p:sp>
        <p:nvSpPr>
          <p:cNvPr id="32" name="Rectangle 23"/>
          <p:cNvSpPr>
            <a:spLocks noChangeArrowheads="1"/>
          </p:cNvSpPr>
          <p:nvPr/>
        </p:nvSpPr>
        <p:spPr bwMode="auto">
          <a:xfrm>
            <a:off x="627624" y="3359116"/>
            <a:ext cx="2053311" cy="705842"/>
          </a:xfrm>
          <a:prstGeom prst="rect">
            <a:avLst/>
          </a:prstGeom>
          <a:noFill/>
          <a:ln w="9525">
            <a:noFill/>
            <a:miter lim="800000"/>
            <a:headEnd/>
            <a:tailEnd/>
          </a:ln>
        </p:spPr>
        <p:txBody>
          <a:bodyPr wrap="square" lIns="68583" tIns="34292" rIns="68583" bIns="34292">
            <a:spAutoFit/>
          </a:bodyPr>
          <a:lstStyle/>
          <a:p>
            <a:pPr defTabSz="913294">
              <a:lnSpc>
                <a:spcPct val="90000"/>
              </a:lnSpc>
              <a:spcAft>
                <a:spcPts val="675"/>
              </a:spcAft>
            </a:pPr>
            <a:r>
              <a:rPr lang="en-US" sz="1100" dirty="0">
                <a:solidFill>
                  <a:srgbClr val="FFFFFF"/>
                </a:solidFill>
                <a:latin typeface="Segoe" pitchFamily="34" charset="0"/>
                <a:cs typeface="Segoe UI" pitchFamily="34" charset="0"/>
              </a:rPr>
              <a:t>Heterogeneous support</a:t>
            </a:r>
          </a:p>
          <a:p>
            <a:pPr defTabSz="913294">
              <a:lnSpc>
                <a:spcPct val="90000"/>
              </a:lnSpc>
              <a:spcAft>
                <a:spcPts val="675"/>
              </a:spcAft>
            </a:pPr>
            <a:r>
              <a:rPr lang="en-US" sz="1100" dirty="0">
                <a:solidFill>
                  <a:srgbClr val="FFFFFF"/>
                </a:solidFill>
                <a:latin typeface="Segoe" pitchFamily="34" charset="0"/>
                <a:cs typeface="Segoe UI" pitchFamily="34" charset="0"/>
              </a:rPr>
              <a:t>Process automation</a:t>
            </a:r>
          </a:p>
          <a:p>
            <a:pPr defTabSz="913294">
              <a:lnSpc>
                <a:spcPct val="90000"/>
              </a:lnSpc>
              <a:spcAft>
                <a:spcPts val="675"/>
              </a:spcAft>
            </a:pPr>
            <a:r>
              <a:rPr lang="en-US" sz="1100" dirty="0">
                <a:solidFill>
                  <a:srgbClr val="FFFFFF"/>
                </a:solidFill>
                <a:latin typeface="Segoe" pitchFamily="34" charset="0"/>
                <a:cs typeface="Segoe UI" pitchFamily="34" charset="0"/>
              </a:rPr>
              <a:t>Self-service infrastructure</a:t>
            </a:r>
          </a:p>
        </p:txBody>
      </p:sp>
      <p:sp>
        <p:nvSpPr>
          <p:cNvPr id="33" name="Rectangle 32"/>
          <p:cNvSpPr/>
          <p:nvPr/>
        </p:nvSpPr>
        <p:spPr>
          <a:xfrm>
            <a:off x="3200044" y="2686050"/>
            <a:ext cx="2743915" cy="604780"/>
          </a:xfrm>
          <a:prstGeom prst="rect">
            <a:avLst/>
          </a:prstGeom>
        </p:spPr>
        <p:txBody>
          <a:bodyPr wrap="square" lIns="68583" tIns="34292" rIns="68583" bIns="34292">
            <a:spAutoFit/>
          </a:bodyPr>
          <a:lstStyle/>
          <a:p>
            <a:pPr algn="ctr" defTabSz="913678">
              <a:lnSpc>
                <a:spcPct val="90000"/>
              </a:lnSpc>
              <a:spcBef>
                <a:spcPct val="20000"/>
              </a:spcBef>
              <a:buSzPct val="90000"/>
              <a:defRPr/>
            </a:pPr>
            <a:r>
              <a:rPr lang="en-US" sz="1200" dirty="0">
                <a:gradFill>
                  <a:gsLst>
                    <a:gs pos="0">
                      <a:srgbClr val="FFFFFF"/>
                    </a:gs>
                    <a:gs pos="100000">
                      <a:srgbClr val="FFFFFF"/>
                    </a:gs>
                  </a:gsLst>
                  <a:lin ang="5400000" scaled="0"/>
                </a:gradFill>
                <a:cs typeface="Segoe UI" pitchFamily="34" charset="0"/>
              </a:rPr>
              <a:t>Apps power your business </a:t>
            </a:r>
          </a:p>
          <a:p>
            <a:pPr algn="ctr" defTabSz="913678">
              <a:lnSpc>
                <a:spcPct val="90000"/>
              </a:lnSpc>
              <a:spcBef>
                <a:spcPct val="20000"/>
              </a:spcBef>
              <a:buSzPct val="90000"/>
              <a:defRPr/>
            </a:pPr>
            <a:r>
              <a:rPr lang="en-US" sz="1200" dirty="0">
                <a:gradFill>
                  <a:gsLst>
                    <a:gs pos="0">
                      <a:srgbClr val="FFFFFF"/>
                    </a:gs>
                    <a:gs pos="100000">
                      <a:srgbClr val="FFFFFF"/>
                    </a:gs>
                  </a:gsLst>
                  <a:lin ang="5400000" scaled="0"/>
                </a:gradFill>
                <a:cs typeface="Segoe UI" pitchFamily="34" charset="0"/>
              </a:rPr>
              <a:t>Deliver predictable application service levels with deep application insight</a:t>
            </a:r>
          </a:p>
        </p:txBody>
      </p:sp>
      <p:sp>
        <p:nvSpPr>
          <p:cNvPr id="34" name="Rectangle 33"/>
          <p:cNvSpPr/>
          <p:nvPr/>
        </p:nvSpPr>
        <p:spPr>
          <a:xfrm>
            <a:off x="6171572" y="2686050"/>
            <a:ext cx="2743938" cy="567858"/>
          </a:xfrm>
          <a:prstGeom prst="rect">
            <a:avLst/>
          </a:prstGeom>
        </p:spPr>
        <p:txBody>
          <a:bodyPr wrap="square" lIns="68583" tIns="34292" rIns="68583" bIns="34292">
            <a:spAutoFit/>
          </a:bodyPr>
          <a:lstStyle/>
          <a:p>
            <a:pPr algn="ctr" defTabSz="913678">
              <a:lnSpc>
                <a:spcPct val="90000"/>
              </a:lnSpc>
              <a:spcBef>
                <a:spcPct val="20000"/>
              </a:spcBef>
              <a:buSzPct val="90000"/>
              <a:defRPr/>
            </a:pPr>
            <a:r>
              <a:rPr lang="en-US" sz="1200" dirty="0">
                <a:gradFill>
                  <a:gsLst>
                    <a:gs pos="0">
                      <a:srgbClr val="FFFFFF"/>
                    </a:gs>
                    <a:gs pos="100000">
                      <a:srgbClr val="FFFFFF"/>
                    </a:gs>
                  </a:gsLst>
                  <a:lin ang="5400000" scaled="0"/>
                </a:gradFill>
                <a:cs typeface="Segoe UI" pitchFamily="34" charset="0"/>
              </a:rPr>
              <a:t>Private and public cloud computing </a:t>
            </a:r>
            <a:br>
              <a:rPr lang="en-US" sz="1200" dirty="0">
                <a:gradFill>
                  <a:gsLst>
                    <a:gs pos="0">
                      <a:srgbClr val="FFFFFF"/>
                    </a:gs>
                    <a:gs pos="100000">
                      <a:srgbClr val="FFFFFF"/>
                    </a:gs>
                  </a:gsLst>
                  <a:lin ang="5400000" scaled="0"/>
                </a:gradFill>
                <a:cs typeface="Segoe UI" pitchFamily="34" charset="0"/>
              </a:rPr>
            </a:br>
            <a:r>
              <a:rPr lang="en-US" sz="1200" dirty="0">
                <a:gradFill>
                  <a:gsLst>
                    <a:gs pos="0">
                      <a:srgbClr val="FFFFFF"/>
                    </a:gs>
                    <a:gs pos="100000">
                      <a:srgbClr val="FFFFFF"/>
                    </a:gs>
                  </a:gsLst>
                  <a:lin ang="5400000" scaled="0"/>
                </a:gradFill>
                <a:cs typeface="Segoe UI" pitchFamily="34" charset="0"/>
              </a:rPr>
              <a:t>on your terms managed with</a:t>
            </a:r>
            <a:br>
              <a:rPr lang="en-US" sz="1200" dirty="0">
                <a:gradFill>
                  <a:gsLst>
                    <a:gs pos="0">
                      <a:srgbClr val="FFFFFF"/>
                    </a:gs>
                    <a:gs pos="100000">
                      <a:srgbClr val="FFFFFF"/>
                    </a:gs>
                  </a:gsLst>
                  <a:lin ang="5400000" scaled="0"/>
                </a:gradFill>
                <a:cs typeface="Segoe UI" pitchFamily="34" charset="0"/>
              </a:rPr>
            </a:br>
            <a:r>
              <a:rPr lang="en-US" sz="1200" dirty="0">
                <a:gradFill>
                  <a:gsLst>
                    <a:gs pos="0">
                      <a:srgbClr val="FFFFFF"/>
                    </a:gs>
                    <a:gs pos="100000">
                      <a:srgbClr val="FFFFFF"/>
                    </a:gs>
                  </a:gsLst>
                  <a:lin ang="5400000" scaled="0"/>
                </a:gradFill>
                <a:cs typeface="Segoe UI" pitchFamily="34" charset="0"/>
              </a:rPr>
              <a:t>a common toolset</a:t>
            </a:r>
          </a:p>
        </p:txBody>
      </p:sp>
      <p:sp>
        <p:nvSpPr>
          <p:cNvPr id="35" name="Rectangle 24"/>
          <p:cNvSpPr>
            <a:spLocks noChangeArrowheads="1"/>
          </p:cNvSpPr>
          <p:nvPr/>
        </p:nvSpPr>
        <p:spPr bwMode="auto">
          <a:xfrm>
            <a:off x="3543032" y="3359116"/>
            <a:ext cx="2229431" cy="1021429"/>
          </a:xfrm>
          <a:prstGeom prst="rect">
            <a:avLst/>
          </a:prstGeom>
          <a:noFill/>
          <a:ln w="9525">
            <a:noFill/>
            <a:miter lim="800000"/>
            <a:headEnd/>
            <a:tailEnd/>
          </a:ln>
        </p:spPr>
        <p:txBody>
          <a:bodyPr wrap="square" lIns="68583" tIns="34292" rIns="68583" bIns="34292">
            <a:spAutoFit/>
          </a:bodyPr>
          <a:lstStyle/>
          <a:p>
            <a:pPr defTabSz="913294">
              <a:lnSpc>
                <a:spcPct val="90000"/>
              </a:lnSpc>
              <a:spcAft>
                <a:spcPts val="675"/>
              </a:spcAft>
            </a:pPr>
            <a:r>
              <a:rPr lang="en-US" sz="1100" dirty="0">
                <a:solidFill>
                  <a:srgbClr val="FFFFFF"/>
                </a:solidFill>
                <a:latin typeface="Segoe" pitchFamily="34" charset="0"/>
                <a:cs typeface="Segoe UI" pitchFamily="34" charset="0"/>
              </a:rPr>
              <a:t>Deep application monitoring </a:t>
            </a:r>
            <a:br>
              <a:rPr lang="en-US" sz="1100" dirty="0">
                <a:solidFill>
                  <a:srgbClr val="FFFFFF"/>
                </a:solidFill>
                <a:latin typeface="Segoe" pitchFamily="34" charset="0"/>
                <a:cs typeface="Segoe UI" pitchFamily="34" charset="0"/>
              </a:rPr>
            </a:br>
            <a:r>
              <a:rPr lang="en-US" sz="1100" dirty="0">
                <a:solidFill>
                  <a:srgbClr val="FFFFFF"/>
                </a:solidFill>
                <a:latin typeface="Segoe" pitchFamily="34" charset="0"/>
                <a:cs typeface="Segoe UI" pitchFamily="34" charset="0"/>
              </a:rPr>
              <a:t>and diagnosis</a:t>
            </a:r>
          </a:p>
          <a:p>
            <a:pPr defTabSz="913294">
              <a:lnSpc>
                <a:spcPct val="90000"/>
              </a:lnSpc>
              <a:spcAft>
                <a:spcPts val="675"/>
              </a:spcAft>
            </a:pPr>
            <a:r>
              <a:rPr lang="en-US" sz="1100" dirty="0">
                <a:solidFill>
                  <a:srgbClr val="FFFFFF"/>
                </a:solidFill>
                <a:latin typeface="Segoe" pitchFamily="34" charset="0"/>
                <a:cs typeface="Segoe UI" pitchFamily="34" charset="0"/>
              </a:rPr>
              <a:t>Comprehensive application manageability </a:t>
            </a:r>
          </a:p>
          <a:p>
            <a:pPr defTabSz="913294">
              <a:lnSpc>
                <a:spcPct val="90000"/>
              </a:lnSpc>
              <a:spcAft>
                <a:spcPts val="675"/>
              </a:spcAft>
            </a:pPr>
            <a:r>
              <a:rPr lang="en-US" sz="1100" dirty="0">
                <a:solidFill>
                  <a:srgbClr val="FFFFFF"/>
                </a:solidFill>
                <a:latin typeface="Segoe" pitchFamily="34" charset="0"/>
                <a:cs typeface="Segoe UI" pitchFamily="34" charset="0"/>
              </a:rPr>
              <a:t>Service-centric approach</a:t>
            </a:r>
          </a:p>
        </p:txBody>
      </p:sp>
      <p:sp>
        <p:nvSpPr>
          <p:cNvPr id="36" name="Rectangle 24"/>
          <p:cNvSpPr>
            <a:spLocks noChangeArrowheads="1"/>
          </p:cNvSpPr>
          <p:nvPr/>
        </p:nvSpPr>
        <p:spPr bwMode="auto">
          <a:xfrm>
            <a:off x="3543032" y="3360421"/>
            <a:ext cx="2229431" cy="1021429"/>
          </a:xfrm>
          <a:prstGeom prst="rect">
            <a:avLst/>
          </a:prstGeom>
          <a:noFill/>
          <a:ln w="9525">
            <a:noFill/>
            <a:miter lim="800000"/>
            <a:headEnd/>
            <a:tailEnd/>
          </a:ln>
        </p:spPr>
        <p:txBody>
          <a:bodyPr wrap="square" lIns="68583" tIns="34292" rIns="68583" bIns="34292">
            <a:spAutoFit/>
          </a:bodyPr>
          <a:lstStyle/>
          <a:p>
            <a:pPr defTabSz="913294">
              <a:lnSpc>
                <a:spcPct val="90000"/>
              </a:lnSpc>
              <a:spcAft>
                <a:spcPts val="675"/>
              </a:spcAft>
            </a:pPr>
            <a:r>
              <a:rPr lang="en-US" sz="1100" b="1" dirty="0">
                <a:solidFill>
                  <a:srgbClr val="FFFFFF"/>
                </a:solidFill>
                <a:latin typeface="Segoe" pitchFamily="34" charset="0"/>
                <a:cs typeface="Segoe UI" pitchFamily="34" charset="0"/>
              </a:rPr>
              <a:t>Deep application monitoring </a:t>
            </a:r>
            <a:br>
              <a:rPr lang="en-US" sz="1100" b="1" dirty="0">
                <a:solidFill>
                  <a:srgbClr val="FFFFFF"/>
                </a:solidFill>
                <a:latin typeface="Segoe" pitchFamily="34" charset="0"/>
                <a:cs typeface="Segoe UI" pitchFamily="34" charset="0"/>
              </a:rPr>
            </a:br>
            <a:r>
              <a:rPr lang="en-US" sz="1100" b="1" dirty="0">
                <a:solidFill>
                  <a:srgbClr val="FFFFFF"/>
                </a:solidFill>
                <a:latin typeface="Segoe" pitchFamily="34" charset="0"/>
                <a:cs typeface="Segoe UI" pitchFamily="34" charset="0"/>
              </a:rPr>
              <a:t>and diagnosis</a:t>
            </a:r>
          </a:p>
          <a:p>
            <a:pPr defTabSz="913294">
              <a:lnSpc>
                <a:spcPct val="90000"/>
              </a:lnSpc>
              <a:spcAft>
                <a:spcPts val="675"/>
              </a:spcAft>
            </a:pPr>
            <a:r>
              <a:rPr lang="en-US" sz="1100" b="1" dirty="0">
                <a:solidFill>
                  <a:srgbClr val="FFFFFF"/>
                </a:solidFill>
                <a:latin typeface="Segoe" pitchFamily="34" charset="0"/>
                <a:cs typeface="Segoe UI" pitchFamily="34" charset="0"/>
              </a:rPr>
              <a:t>Comprehensive application manageability </a:t>
            </a:r>
          </a:p>
          <a:p>
            <a:pPr defTabSz="913294">
              <a:lnSpc>
                <a:spcPct val="90000"/>
              </a:lnSpc>
              <a:spcAft>
                <a:spcPts val="675"/>
              </a:spcAft>
            </a:pPr>
            <a:r>
              <a:rPr lang="en-US" sz="1100" b="1" dirty="0">
                <a:solidFill>
                  <a:srgbClr val="FFFFFF"/>
                </a:solidFill>
                <a:latin typeface="Segoe" pitchFamily="34" charset="0"/>
                <a:cs typeface="Segoe UI" pitchFamily="34" charset="0"/>
              </a:rPr>
              <a:t>Service-centric approach</a:t>
            </a:r>
          </a:p>
        </p:txBody>
      </p:sp>
      <p:sp>
        <p:nvSpPr>
          <p:cNvPr id="37"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8"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7"/>
              </a:rPr>
              <a:t>www.rapidbbs.cn</a:t>
            </a:r>
            <a:endParaRPr lang="zh-CN" altLang="en-US" sz="1200" b="0">
              <a:latin typeface="Arial" charset="0"/>
              <a:ea typeface="ＭＳ Ｐゴシック" pitchFamily="34" charset="-128"/>
            </a:endParaRPr>
          </a:p>
        </p:txBody>
      </p:sp>
      <p:pic>
        <p:nvPicPr>
          <p:cNvPr id="39" name="Picture 2">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599136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1000"/>
                                        <p:tgtEl>
                                          <p:spTgt spid="36"/>
                                        </p:tgtEl>
                                      </p:cBhvr>
                                    </p:animEffect>
                                  </p:childTnLst>
                                </p:cTn>
                              </p:par>
                              <p:par>
                                <p:cTn id="11" presetID="10" presetClass="exit" presetSubtype="0" fill="hold" grpId="0" nodeType="withEffect">
                                  <p:stCondLst>
                                    <p:cond delay="0"/>
                                  </p:stCondLst>
                                  <p:childTnLst>
                                    <p:animEffect transition="out" filter="fade">
                                      <p:cBhvr>
                                        <p:cTn id="12" dur="500"/>
                                        <p:tgtEl>
                                          <p:spTgt spid="35"/>
                                        </p:tgtEl>
                                      </p:cBhvr>
                                    </p:animEffect>
                                    <p:set>
                                      <p:cBhvr>
                                        <p:cTn id="13" dur="1" fill="hold">
                                          <p:stCondLst>
                                            <p:cond delay="499"/>
                                          </p:stCondLst>
                                        </p:cTn>
                                        <p:tgtEl>
                                          <p:spTgt spid="35"/>
                                        </p:tgtEl>
                                        <p:attrNameLst>
                                          <p:attrName>style.visibility</p:attrName>
                                        </p:attrNameLst>
                                      </p:cBhvr>
                                      <p:to>
                                        <p:strVal val="hidden"/>
                                      </p:to>
                                    </p:set>
                                  </p:childTnLst>
                                </p:cTn>
                              </p:par>
                              <p:par>
                                <p:cTn id="14" presetID="10" presetClass="entr" presetSubtype="0" fill="hold" grpId="0" nodeType="withEffect">
                                  <p:stCondLst>
                                    <p:cond delay="50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1000"/>
                                        <p:tgtEl>
                                          <p:spTgt spid="3"/>
                                        </p:tgtEl>
                                      </p:cBhvr>
                                    </p:animEffect>
                                  </p:childTnLst>
                                </p:cTn>
                              </p:par>
                              <p:par>
                                <p:cTn id="17" presetID="10" presetClass="entr" presetSubtype="0" fill="hold" grpId="0" nodeType="withEffect">
                                  <p:stCondLst>
                                    <p:cond delay="50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1000"/>
                                        <p:tgtEl>
                                          <p:spTgt spid="5"/>
                                        </p:tgtEl>
                                      </p:cBhvr>
                                    </p:animEffect>
                                  </p:childTnLst>
                                </p:cTn>
                              </p:par>
                              <p:par>
                                <p:cTn id="20" presetID="10" presetClass="exit" presetSubtype="0" fill="hold" grpId="0" nodeType="withEffect">
                                  <p:stCondLst>
                                    <p:cond delay="500"/>
                                  </p:stCondLst>
                                  <p:childTnLst>
                                    <p:animEffect transition="out" filter="fade">
                                      <p:cBhvr>
                                        <p:cTn id="21" dur="500"/>
                                        <p:tgtEl>
                                          <p:spTgt spid="4"/>
                                        </p:tgtEl>
                                      </p:cBhvr>
                                    </p:animEffect>
                                    <p:set>
                                      <p:cBhvr>
                                        <p:cTn id="22" dur="1" fill="hold">
                                          <p:stCondLst>
                                            <p:cond delay="499"/>
                                          </p:stCondLst>
                                        </p:cTn>
                                        <p:tgtEl>
                                          <p:spTgt spid="4"/>
                                        </p:tgtEl>
                                        <p:attrNameLst>
                                          <p:attrName>style.visibility</p:attrName>
                                        </p:attrNameLst>
                                      </p:cBhvr>
                                      <p:to>
                                        <p:strVal val="hidden"/>
                                      </p:to>
                                    </p:set>
                                  </p:childTnLst>
                                </p:cTn>
                              </p:par>
                              <p:par>
                                <p:cTn id="23" presetID="9" presetClass="emph" presetSubtype="0" grpId="0" nodeType="withEffect">
                                  <p:stCondLst>
                                    <p:cond delay="0"/>
                                  </p:stCondLst>
                                  <p:childTnLst>
                                    <p:set>
                                      <p:cBhvr rctx="PPT">
                                        <p:cTn id="24" dur="indefinite"/>
                                        <p:tgtEl>
                                          <p:spTgt spid="8"/>
                                        </p:tgtEl>
                                        <p:attrNameLst>
                                          <p:attrName>style.opacity</p:attrName>
                                        </p:attrNameLst>
                                      </p:cBhvr>
                                      <p:to>
                                        <p:strVal val="0.5"/>
                                      </p:to>
                                    </p:set>
                                    <p:animEffect filter="image" prLst="opacity: 0.5">
                                      <p:cBhvr rctx="IE">
                                        <p:cTn id="25" dur="indefinite"/>
                                        <p:tgtEl>
                                          <p:spTgt spid="8"/>
                                        </p:tgtEl>
                                      </p:cBhvr>
                                    </p:animEffect>
                                  </p:childTnLst>
                                </p:cTn>
                              </p:par>
                              <p:par>
                                <p:cTn id="26" presetID="9" presetClass="emph" presetSubtype="0" grpId="0" nodeType="withEffect">
                                  <p:stCondLst>
                                    <p:cond delay="0"/>
                                  </p:stCondLst>
                                  <p:childTnLst>
                                    <p:set>
                                      <p:cBhvr rctx="PPT">
                                        <p:cTn id="27" dur="indefinite"/>
                                        <p:tgtEl>
                                          <p:spTgt spid="12"/>
                                        </p:tgtEl>
                                        <p:attrNameLst>
                                          <p:attrName>style.opacity</p:attrName>
                                        </p:attrNameLst>
                                      </p:cBhvr>
                                      <p:to>
                                        <p:strVal val="0.5"/>
                                      </p:to>
                                    </p:set>
                                    <p:animEffect filter="image" prLst="opacity: 0.5">
                                      <p:cBhvr rctx="IE">
                                        <p:cTn id="28" dur="indefinite"/>
                                        <p:tgtEl>
                                          <p:spTgt spid="12"/>
                                        </p:tgtEl>
                                      </p:cBhvr>
                                    </p:animEffect>
                                  </p:childTnLst>
                                </p:cTn>
                              </p:par>
                              <p:par>
                                <p:cTn id="29" presetID="9" presetClass="emph" presetSubtype="0" nodeType="withEffect">
                                  <p:stCondLst>
                                    <p:cond delay="0"/>
                                  </p:stCondLst>
                                  <p:childTnLst>
                                    <p:set>
                                      <p:cBhvr rctx="PPT">
                                        <p:cTn id="30" dur="indefinite"/>
                                        <p:tgtEl>
                                          <p:spTgt spid="26"/>
                                        </p:tgtEl>
                                        <p:attrNameLst>
                                          <p:attrName>style.opacity</p:attrName>
                                        </p:attrNameLst>
                                      </p:cBhvr>
                                      <p:to>
                                        <p:strVal val="0.5"/>
                                      </p:to>
                                    </p:set>
                                    <p:animEffect filter="image" prLst="opacity: 0.5">
                                      <p:cBhvr rctx="IE">
                                        <p:cTn id="31" dur="indefinite"/>
                                        <p:tgtEl>
                                          <p:spTgt spid="26"/>
                                        </p:tgtEl>
                                      </p:cBhvr>
                                    </p:animEffect>
                                  </p:childTnLst>
                                </p:cTn>
                              </p:par>
                              <p:par>
                                <p:cTn id="32" presetID="9" presetClass="emph" presetSubtype="0" grpId="0" nodeType="withEffect">
                                  <p:stCondLst>
                                    <p:cond delay="0"/>
                                  </p:stCondLst>
                                  <p:childTnLst>
                                    <p:set>
                                      <p:cBhvr rctx="PPT">
                                        <p:cTn id="33" dur="indefinite"/>
                                        <p:tgtEl>
                                          <p:spTgt spid="31"/>
                                        </p:tgtEl>
                                        <p:attrNameLst>
                                          <p:attrName>style.opacity</p:attrName>
                                        </p:attrNameLst>
                                      </p:cBhvr>
                                      <p:to>
                                        <p:strVal val="0.5"/>
                                      </p:to>
                                    </p:set>
                                    <p:animEffect filter="image" prLst="opacity: 0.5">
                                      <p:cBhvr rctx="IE">
                                        <p:cTn id="34" dur="indefinite"/>
                                        <p:tgtEl>
                                          <p:spTgt spid="31"/>
                                        </p:tgtEl>
                                      </p:cBhvr>
                                    </p:animEffect>
                                  </p:childTnLst>
                                </p:cTn>
                              </p:par>
                              <p:par>
                                <p:cTn id="35" presetID="9" presetClass="emph" presetSubtype="0" grpId="0" nodeType="withEffect">
                                  <p:stCondLst>
                                    <p:cond delay="0"/>
                                  </p:stCondLst>
                                  <p:childTnLst>
                                    <p:set>
                                      <p:cBhvr rctx="PPT">
                                        <p:cTn id="36" dur="indefinite"/>
                                        <p:tgtEl>
                                          <p:spTgt spid="32"/>
                                        </p:tgtEl>
                                        <p:attrNameLst>
                                          <p:attrName>style.opacity</p:attrName>
                                        </p:attrNameLst>
                                      </p:cBhvr>
                                      <p:to>
                                        <p:strVal val="0.5"/>
                                      </p:to>
                                    </p:set>
                                    <p:animEffect filter="image" prLst="opacity: 0.5">
                                      <p:cBhvr rctx="IE">
                                        <p:cTn id="37" dur="indefinite"/>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p:bldP spid="5" grpId="0"/>
      <p:bldP spid="7" grpId="0" animBg="1"/>
      <p:bldP spid="8" grpId="0" animBg="1"/>
      <p:bldP spid="12" grpId="0" animBg="1"/>
      <p:bldP spid="31" grpId="0"/>
      <p:bldP spid="32" grpId="0"/>
      <p:bldP spid="35" grpId="0"/>
      <p:bldP spid="36" grpId="0"/>
    </p:bldLst>
  </p:timing>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6" descr="SCCM image grnd.psd"/>
          <p:cNvPicPr>
            <a:picLocks noChangeAspect="1"/>
          </p:cNvPicPr>
          <p:nvPr/>
        </p:nvPicPr>
        <p:blipFill>
          <a:blip r:embed="rId2" cstate="print"/>
          <a:srcRect/>
          <a:stretch>
            <a:fillRect/>
          </a:stretch>
        </p:blipFill>
        <p:spPr bwMode="auto">
          <a:xfrm>
            <a:off x="15959" y="0"/>
            <a:ext cx="9144000" cy="5143500"/>
          </a:xfrm>
          <a:prstGeom prst="rect">
            <a:avLst/>
          </a:prstGeom>
          <a:noFill/>
          <a:ln w="9525">
            <a:noFill/>
            <a:miter lim="800000"/>
            <a:headEnd/>
            <a:tailEnd/>
          </a:ln>
        </p:spPr>
      </p:pic>
      <p:sp>
        <p:nvSpPr>
          <p:cNvPr id="3" name="AutoShape 2"/>
          <p:cNvSpPr>
            <a:spLocks noChangeArrowheads="1"/>
          </p:cNvSpPr>
          <p:nvPr/>
        </p:nvSpPr>
        <p:spPr bwMode="auto">
          <a:xfrm rot="-5400000">
            <a:off x="-21779" y="2165820"/>
            <a:ext cx="3771900" cy="1269060"/>
          </a:xfrm>
          <a:custGeom>
            <a:avLst/>
            <a:gdLst>
              <a:gd name="T0" fmla="*/ 4693469 w 21600"/>
              <a:gd name="T1" fmla="*/ 800894 h 21600"/>
              <a:gd name="T2" fmla="*/ 2438400 w 21600"/>
              <a:gd name="T3" fmla="*/ 1601787 h 21600"/>
              <a:gd name="T4" fmla="*/ 183332 w 21600"/>
              <a:gd name="T5" fmla="*/ 800894 h 21600"/>
              <a:gd name="T6" fmla="*/ 2438400 w 21600"/>
              <a:gd name="T7" fmla="*/ 0 h 21600"/>
              <a:gd name="T8" fmla="*/ 0 60000 65536"/>
              <a:gd name="T9" fmla="*/ 0 60000 65536"/>
              <a:gd name="T10" fmla="*/ 0 60000 65536"/>
              <a:gd name="T11" fmla="*/ 0 60000 65536"/>
              <a:gd name="T12" fmla="*/ 2612 w 21600"/>
              <a:gd name="T13" fmla="*/ 2612 h 21600"/>
              <a:gd name="T14" fmla="*/ 18988 w 21600"/>
              <a:gd name="T15" fmla="*/ 18988 h 21600"/>
            </a:gdLst>
            <a:ahLst/>
            <a:cxnLst>
              <a:cxn ang="T8">
                <a:pos x="T0" y="T1"/>
              </a:cxn>
              <a:cxn ang="T9">
                <a:pos x="T2" y="T3"/>
              </a:cxn>
              <a:cxn ang="T10">
                <a:pos x="T4" y="T5"/>
              </a:cxn>
              <a:cxn ang="T11">
                <a:pos x="T6" y="T7"/>
              </a:cxn>
            </a:cxnLst>
            <a:rect l="T12" t="T13" r="T14" b="T15"/>
            <a:pathLst>
              <a:path w="21600" h="21600">
                <a:moveTo>
                  <a:pt x="0" y="0"/>
                </a:moveTo>
                <a:lnTo>
                  <a:pt x="1624" y="21600"/>
                </a:lnTo>
                <a:lnTo>
                  <a:pt x="19976" y="21600"/>
                </a:lnTo>
                <a:lnTo>
                  <a:pt x="21600" y="0"/>
                </a:lnTo>
                <a:close/>
              </a:path>
            </a:pathLst>
          </a:custGeom>
          <a:solidFill>
            <a:schemeClr val="bg1">
              <a:alpha val="10196"/>
            </a:schemeClr>
          </a:solidFill>
          <a:ln w="9525">
            <a:noFill/>
            <a:miter lim="800000"/>
            <a:headEnd/>
            <a:tailEnd/>
          </a:ln>
        </p:spPr>
        <p:txBody>
          <a:bodyPr vert="eaVert" lIns="68586" tIns="0" rIns="68586" bIns="0" anchor="ctr"/>
          <a:lstStyle/>
          <a:p>
            <a:pPr algn="ctr" defTabSz="685862" fontAlgn="base">
              <a:spcBef>
                <a:spcPct val="0"/>
              </a:spcBef>
              <a:spcAft>
                <a:spcPct val="0"/>
              </a:spcAft>
            </a:pPr>
            <a:endParaRPr lang="en-US" sz="1200" dirty="0">
              <a:solidFill>
                <a:srgbClr val="3DB5F1"/>
              </a:solidFill>
              <a:cs typeface="Segoe UI" pitchFamily="34" charset="0"/>
            </a:endParaRPr>
          </a:p>
          <a:p>
            <a:pPr algn="ctr" defTabSz="685862" fontAlgn="base">
              <a:spcBef>
                <a:spcPct val="0"/>
              </a:spcBef>
              <a:spcAft>
                <a:spcPct val="0"/>
              </a:spcAft>
            </a:pPr>
            <a:endParaRPr lang="en-US" sz="1200" dirty="0">
              <a:solidFill>
                <a:srgbClr val="3DB5F1"/>
              </a:solidFill>
              <a:cs typeface="Segoe UI" pitchFamily="34" charset="0"/>
            </a:endParaRPr>
          </a:p>
          <a:p>
            <a:pPr algn="ctr" defTabSz="685862" fontAlgn="base">
              <a:spcBef>
                <a:spcPct val="0"/>
              </a:spcBef>
              <a:spcAft>
                <a:spcPct val="0"/>
              </a:spcAft>
            </a:pPr>
            <a:r>
              <a:rPr lang="en-US" sz="1200" dirty="0">
                <a:solidFill>
                  <a:srgbClr val="3DB5F1"/>
                </a:solidFill>
                <a:cs typeface="Segoe UI" pitchFamily="34" charset="0"/>
              </a:rPr>
              <a:t>Self Service</a:t>
            </a:r>
          </a:p>
        </p:txBody>
      </p:sp>
      <p:sp>
        <p:nvSpPr>
          <p:cNvPr id="4" name="AutoShape 3"/>
          <p:cNvSpPr>
            <a:spLocks noChangeArrowheads="1"/>
          </p:cNvSpPr>
          <p:nvPr/>
        </p:nvSpPr>
        <p:spPr bwMode="auto">
          <a:xfrm rot="-5400000">
            <a:off x="2512679" y="2107689"/>
            <a:ext cx="3771900" cy="1271024"/>
          </a:xfrm>
          <a:custGeom>
            <a:avLst/>
            <a:gdLst>
              <a:gd name="T0" fmla="*/ 4693469 w 21600"/>
              <a:gd name="T1" fmla="*/ 800100 h 21600"/>
              <a:gd name="T2" fmla="*/ 2438400 w 21600"/>
              <a:gd name="T3" fmla="*/ 1600200 h 21600"/>
              <a:gd name="T4" fmla="*/ 183332 w 21600"/>
              <a:gd name="T5" fmla="*/ 800100 h 21600"/>
              <a:gd name="T6" fmla="*/ 2438400 w 21600"/>
              <a:gd name="T7" fmla="*/ 0 h 21600"/>
              <a:gd name="T8" fmla="*/ 0 60000 65536"/>
              <a:gd name="T9" fmla="*/ 0 60000 65536"/>
              <a:gd name="T10" fmla="*/ 0 60000 65536"/>
              <a:gd name="T11" fmla="*/ 0 60000 65536"/>
              <a:gd name="T12" fmla="*/ 2612 w 21600"/>
              <a:gd name="T13" fmla="*/ 2612 h 21600"/>
              <a:gd name="T14" fmla="*/ 18988 w 21600"/>
              <a:gd name="T15" fmla="*/ 18988 h 21600"/>
            </a:gdLst>
            <a:ahLst/>
            <a:cxnLst>
              <a:cxn ang="T8">
                <a:pos x="T0" y="T1"/>
              </a:cxn>
              <a:cxn ang="T9">
                <a:pos x="T2" y="T3"/>
              </a:cxn>
              <a:cxn ang="T10">
                <a:pos x="T4" y="T5"/>
              </a:cxn>
              <a:cxn ang="T11">
                <a:pos x="T6" y="T7"/>
              </a:cxn>
            </a:cxnLst>
            <a:rect l="T12" t="T13" r="T14" b="T15"/>
            <a:pathLst>
              <a:path w="21600" h="21600">
                <a:moveTo>
                  <a:pt x="0" y="0"/>
                </a:moveTo>
                <a:lnTo>
                  <a:pt x="1624" y="21600"/>
                </a:lnTo>
                <a:lnTo>
                  <a:pt x="19976" y="21600"/>
                </a:lnTo>
                <a:lnTo>
                  <a:pt x="21600" y="0"/>
                </a:lnTo>
                <a:close/>
              </a:path>
            </a:pathLst>
          </a:custGeom>
          <a:solidFill>
            <a:schemeClr val="bg1">
              <a:alpha val="10196"/>
            </a:schemeClr>
          </a:solidFill>
          <a:ln w="9525">
            <a:noFill/>
            <a:miter lim="800000"/>
            <a:headEnd/>
            <a:tailEnd/>
          </a:ln>
        </p:spPr>
        <p:txBody>
          <a:bodyPr vert="eaVert" lIns="137172" tIns="0" rIns="68586" bIns="0" anchor="ctr"/>
          <a:lstStyle/>
          <a:p>
            <a:pPr algn="ctr" defTabSz="685862" fontAlgn="base">
              <a:spcBef>
                <a:spcPct val="0"/>
              </a:spcBef>
              <a:spcAft>
                <a:spcPct val="0"/>
              </a:spcAft>
            </a:pPr>
            <a:endParaRPr lang="en-US" sz="1200" dirty="0">
              <a:solidFill>
                <a:srgbClr val="3DB5F1"/>
              </a:solidFill>
              <a:cs typeface="Segoe UI" pitchFamily="34" charset="0"/>
            </a:endParaRPr>
          </a:p>
          <a:p>
            <a:pPr algn="ctr" defTabSz="685862" fontAlgn="base">
              <a:spcBef>
                <a:spcPct val="0"/>
              </a:spcBef>
              <a:spcAft>
                <a:spcPct val="0"/>
              </a:spcAft>
            </a:pPr>
            <a:r>
              <a:rPr lang="en-US" sz="1200" dirty="0">
                <a:solidFill>
                  <a:srgbClr val="3DB5F1"/>
                </a:solidFill>
                <a:cs typeface="Segoe UI" pitchFamily="34" charset="0"/>
              </a:rPr>
              <a:t>Service Delivery &amp; Automation</a:t>
            </a:r>
          </a:p>
        </p:txBody>
      </p:sp>
      <p:sp>
        <p:nvSpPr>
          <p:cNvPr id="5" name="Title 1"/>
          <p:cNvSpPr txBox="1">
            <a:spLocks/>
          </p:cNvSpPr>
          <p:nvPr/>
        </p:nvSpPr>
        <p:spPr>
          <a:xfrm>
            <a:off x="389436" y="171451"/>
            <a:ext cx="8363938" cy="457049"/>
          </a:xfrm>
          <a:prstGeom prst="rect">
            <a:avLst/>
          </a:prstGeom>
        </p:spPr>
        <p:txBody>
          <a:bodyPr lIns="68586" tIns="34294" rIns="68586" bIns="34294"/>
          <a:lst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sz="3000">
                <a:latin typeface="+mn-lt"/>
              </a:rPr>
              <a:t>System Center Helps Deliver IT as a Service</a:t>
            </a:r>
          </a:p>
        </p:txBody>
      </p:sp>
      <p:sp>
        <p:nvSpPr>
          <p:cNvPr id="6" name="Freeform 132"/>
          <p:cNvSpPr>
            <a:spLocks/>
          </p:cNvSpPr>
          <p:nvPr/>
        </p:nvSpPr>
        <p:spPr bwMode="gray">
          <a:xfrm>
            <a:off x="4021103" y="2283142"/>
            <a:ext cx="755053" cy="177404"/>
          </a:xfrm>
          <a:custGeom>
            <a:avLst/>
            <a:gdLst>
              <a:gd name="T0" fmla="*/ 2147483647 w 364"/>
              <a:gd name="T1" fmla="*/ 2147483647 h 86"/>
              <a:gd name="T2" fmla="*/ 2147483647 w 364"/>
              <a:gd name="T3" fmla="*/ 2147483647 h 86"/>
              <a:gd name="T4" fmla="*/ 2147483647 w 364"/>
              <a:gd name="T5" fmla="*/ 2147483647 h 86"/>
              <a:gd name="T6" fmla="*/ 2147483647 w 364"/>
              <a:gd name="T7" fmla="*/ 2147483647 h 86"/>
              <a:gd name="T8" fmla="*/ 2147483647 w 364"/>
              <a:gd name="T9" fmla="*/ 2147483647 h 86"/>
              <a:gd name="T10" fmla="*/ 2147483647 w 364"/>
              <a:gd name="T11" fmla="*/ 2147483647 h 86"/>
              <a:gd name="T12" fmla="*/ 2147483647 w 364"/>
              <a:gd name="T13" fmla="*/ 2147483647 h 86"/>
              <a:gd name="T14" fmla="*/ 2147483647 w 364"/>
              <a:gd name="T15" fmla="*/ 2147483647 h 86"/>
              <a:gd name="T16" fmla="*/ 2147483647 w 364"/>
              <a:gd name="T17" fmla="*/ 2147483647 h 86"/>
              <a:gd name="T18" fmla="*/ 2147483647 w 364"/>
              <a:gd name="T19" fmla="*/ 2147483647 h 86"/>
              <a:gd name="T20" fmla="*/ 2147483647 w 364"/>
              <a:gd name="T21" fmla="*/ 2147483647 h 86"/>
              <a:gd name="T22" fmla="*/ 2147483647 w 364"/>
              <a:gd name="T23" fmla="*/ 2147483647 h 86"/>
              <a:gd name="T24" fmla="*/ 2147483647 w 364"/>
              <a:gd name="T25" fmla="*/ 2147483647 h 86"/>
              <a:gd name="T26" fmla="*/ 2147483647 w 364"/>
              <a:gd name="T27" fmla="*/ 2147483647 h 86"/>
              <a:gd name="T28" fmla="*/ 0 w 364"/>
              <a:gd name="T29" fmla="*/ 2147483647 h 86"/>
              <a:gd name="T30" fmla="*/ 2147483647 w 364"/>
              <a:gd name="T31" fmla="*/ 2147483647 h 86"/>
              <a:gd name="T32" fmla="*/ 2147483647 w 364"/>
              <a:gd name="T33" fmla="*/ 2147483647 h 86"/>
              <a:gd name="T34" fmla="*/ 2147483647 w 364"/>
              <a:gd name="T35" fmla="*/ 0 h 86"/>
              <a:gd name="T36" fmla="*/ 2147483647 w 364"/>
              <a:gd name="T37" fmla="*/ 2147483647 h 86"/>
              <a:gd name="T38" fmla="*/ 2147483647 w 364"/>
              <a:gd name="T39" fmla="*/ 2147483647 h 86"/>
              <a:gd name="T40" fmla="*/ 2147483647 w 364"/>
              <a:gd name="T41" fmla="*/ 2147483647 h 86"/>
              <a:gd name="T42" fmla="*/ 2147483647 w 364"/>
              <a:gd name="T43" fmla="*/ 2147483647 h 86"/>
              <a:gd name="T44" fmla="*/ 2147483647 w 364"/>
              <a:gd name="T45" fmla="*/ 2147483647 h 86"/>
              <a:gd name="T46" fmla="*/ 2147483647 w 364"/>
              <a:gd name="T47" fmla="*/ 0 h 86"/>
              <a:gd name="T48" fmla="*/ 2147483647 w 364"/>
              <a:gd name="T49" fmla="*/ 2147483647 h 86"/>
              <a:gd name="T50" fmla="*/ 2147483647 w 364"/>
              <a:gd name="T51" fmla="*/ 2147483647 h 86"/>
              <a:gd name="T52" fmla="*/ 2147483647 w 364"/>
              <a:gd name="T53" fmla="*/ 2147483647 h 86"/>
              <a:gd name="T54" fmla="*/ 2147483647 w 364"/>
              <a:gd name="T55" fmla="*/ 2147483647 h 86"/>
              <a:gd name="T56" fmla="*/ 2147483647 w 364"/>
              <a:gd name="T57" fmla="*/ 2147483647 h 86"/>
              <a:gd name="T58" fmla="*/ 2147483647 w 364"/>
              <a:gd name="T59" fmla="*/ 2147483647 h 86"/>
              <a:gd name="T60" fmla="*/ 2147483647 w 364"/>
              <a:gd name="T61" fmla="*/ 2147483647 h 86"/>
              <a:gd name="T62" fmla="*/ 2147483647 w 364"/>
              <a:gd name="T63" fmla="*/ 2147483647 h 86"/>
              <a:gd name="T64" fmla="*/ 2147483647 w 364"/>
              <a:gd name="T65" fmla="*/ 2147483647 h 86"/>
              <a:gd name="T66" fmla="*/ 2147483647 w 364"/>
              <a:gd name="T67" fmla="*/ 2147483647 h 86"/>
              <a:gd name="T68" fmla="*/ 2147483647 w 364"/>
              <a:gd name="T69" fmla="*/ 2147483647 h 86"/>
              <a:gd name="T70" fmla="*/ 2147483647 w 364"/>
              <a:gd name="T71" fmla="*/ 2147483647 h 86"/>
              <a:gd name="T72" fmla="*/ 2147483647 w 364"/>
              <a:gd name="T73" fmla="*/ 2147483647 h 86"/>
              <a:gd name="T74" fmla="*/ 2147483647 w 364"/>
              <a:gd name="T75" fmla="*/ 2147483647 h 86"/>
              <a:gd name="T76" fmla="*/ 2147483647 w 364"/>
              <a:gd name="T77" fmla="*/ 2147483647 h 86"/>
              <a:gd name="T78" fmla="*/ 2147483647 w 364"/>
              <a:gd name="T79" fmla="*/ 2147483647 h 86"/>
              <a:gd name="T80" fmla="*/ 2147483647 w 364"/>
              <a:gd name="T81" fmla="*/ 2147483647 h 86"/>
              <a:gd name="T82" fmla="*/ 2147483647 w 364"/>
              <a:gd name="T83" fmla="*/ 2147483647 h 86"/>
              <a:gd name="T84" fmla="*/ 2147483647 w 364"/>
              <a:gd name="T85" fmla="*/ 2147483647 h 86"/>
              <a:gd name="T86" fmla="*/ 2147483647 w 364"/>
              <a:gd name="T87" fmla="*/ 2147483647 h 86"/>
              <a:gd name="T88" fmla="*/ 2147483647 w 364"/>
              <a:gd name="T89" fmla="*/ 2147483647 h 86"/>
              <a:gd name="T90" fmla="*/ 2147483647 w 364"/>
              <a:gd name="T91" fmla="*/ 2147483647 h 86"/>
              <a:gd name="T92" fmla="*/ 2147483647 w 364"/>
              <a:gd name="T93" fmla="*/ 2147483647 h 86"/>
              <a:gd name="T94" fmla="*/ 2147483647 w 364"/>
              <a:gd name="T95" fmla="*/ 2147483647 h 86"/>
              <a:gd name="T96" fmla="*/ 2147483647 w 364"/>
              <a:gd name="T97" fmla="*/ 2147483647 h 86"/>
              <a:gd name="T98" fmla="*/ 2147483647 w 364"/>
              <a:gd name="T99" fmla="*/ 2147483647 h 86"/>
              <a:gd name="T100" fmla="*/ 2147483647 w 364"/>
              <a:gd name="T101" fmla="*/ 2147483647 h 86"/>
              <a:gd name="T102" fmla="*/ 2147483647 w 364"/>
              <a:gd name="T103" fmla="*/ 2147483647 h 86"/>
              <a:gd name="T104" fmla="*/ 2147483647 w 364"/>
              <a:gd name="T105" fmla="*/ 2147483647 h 86"/>
              <a:gd name="T106" fmla="*/ 2147483647 w 364"/>
              <a:gd name="T107" fmla="*/ 2147483647 h 86"/>
              <a:gd name="T108" fmla="*/ 2147483647 w 364"/>
              <a:gd name="T109" fmla="*/ 2147483647 h 86"/>
              <a:gd name="T110" fmla="*/ 2147483647 w 364"/>
              <a:gd name="T111" fmla="*/ 2147483647 h 86"/>
              <a:gd name="T112" fmla="*/ 2147483647 w 364"/>
              <a:gd name="T113" fmla="*/ 2147483647 h 86"/>
              <a:gd name="T114" fmla="*/ 2147483647 w 364"/>
              <a:gd name="T115" fmla="*/ 2147483647 h 8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64"/>
              <a:gd name="T175" fmla="*/ 0 h 86"/>
              <a:gd name="T176" fmla="*/ 364 w 364"/>
              <a:gd name="T177" fmla="*/ 86 h 8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64" h="86">
                <a:moveTo>
                  <a:pt x="296" y="6"/>
                </a:moveTo>
                <a:lnTo>
                  <a:pt x="334" y="44"/>
                </a:lnTo>
                <a:lnTo>
                  <a:pt x="296" y="82"/>
                </a:lnTo>
                <a:lnTo>
                  <a:pt x="326" y="82"/>
                </a:lnTo>
                <a:lnTo>
                  <a:pt x="364" y="44"/>
                </a:lnTo>
                <a:lnTo>
                  <a:pt x="326" y="6"/>
                </a:lnTo>
                <a:lnTo>
                  <a:pt x="296" y="6"/>
                </a:lnTo>
                <a:lnTo>
                  <a:pt x="180" y="56"/>
                </a:lnTo>
                <a:lnTo>
                  <a:pt x="178" y="54"/>
                </a:lnTo>
                <a:lnTo>
                  <a:pt x="154" y="54"/>
                </a:lnTo>
                <a:lnTo>
                  <a:pt x="152" y="58"/>
                </a:lnTo>
                <a:lnTo>
                  <a:pt x="162" y="64"/>
                </a:lnTo>
                <a:lnTo>
                  <a:pt x="158" y="70"/>
                </a:lnTo>
                <a:lnTo>
                  <a:pt x="148" y="64"/>
                </a:lnTo>
                <a:lnTo>
                  <a:pt x="138" y="70"/>
                </a:lnTo>
                <a:lnTo>
                  <a:pt x="128" y="74"/>
                </a:lnTo>
                <a:lnTo>
                  <a:pt x="128" y="86"/>
                </a:lnTo>
                <a:lnTo>
                  <a:pt x="120" y="86"/>
                </a:lnTo>
                <a:lnTo>
                  <a:pt x="120" y="74"/>
                </a:lnTo>
                <a:lnTo>
                  <a:pt x="114" y="72"/>
                </a:lnTo>
                <a:lnTo>
                  <a:pt x="108" y="70"/>
                </a:lnTo>
                <a:lnTo>
                  <a:pt x="100" y="76"/>
                </a:lnTo>
                <a:lnTo>
                  <a:pt x="96" y="72"/>
                </a:lnTo>
                <a:lnTo>
                  <a:pt x="102" y="64"/>
                </a:lnTo>
                <a:lnTo>
                  <a:pt x="96" y="56"/>
                </a:lnTo>
                <a:lnTo>
                  <a:pt x="96" y="54"/>
                </a:lnTo>
                <a:lnTo>
                  <a:pt x="70" y="54"/>
                </a:lnTo>
                <a:lnTo>
                  <a:pt x="68" y="58"/>
                </a:lnTo>
                <a:lnTo>
                  <a:pt x="78" y="64"/>
                </a:lnTo>
                <a:lnTo>
                  <a:pt x="74" y="70"/>
                </a:lnTo>
                <a:lnTo>
                  <a:pt x="64" y="64"/>
                </a:lnTo>
                <a:lnTo>
                  <a:pt x="56" y="70"/>
                </a:lnTo>
                <a:lnTo>
                  <a:pt x="46" y="74"/>
                </a:lnTo>
                <a:lnTo>
                  <a:pt x="44" y="86"/>
                </a:lnTo>
                <a:lnTo>
                  <a:pt x="36" y="86"/>
                </a:lnTo>
                <a:lnTo>
                  <a:pt x="36" y="74"/>
                </a:lnTo>
                <a:lnTo>
                  <a:pt x="30" y="72"/>
                </a:lnTo>
                <a:lnTo>
                  <a:pt x="24" y="70"/>
                </a:lnTo>
                <a:lnTo>
                  <a:pt x="16" y="76"/>
                </a:lnTo>
                <a:lnTo>
                  <a:pt x="12" y="72"/>
                </a:lnTo>
                <a:lnTo>
                  <a:pt x="18" y="64"/>
                </a:lnTo>
                <a:lnTo>
                  <a:pt x="14" y="56"/>
                </a:lnTo>
                <a:lnTo>
                  <a:pt x="10" y="50"/>
                </a:lnTo>
                <a:lnTo>
                  <a:pt x="0" y="50"/>
                </a:lnTo>
                <a:lnTo>
                  <a:pt x="0" y="42"/>
                </a:lnTo>
                <a:lnTo>
                  <a:pt x="10" y="40"/>
                </a:lnTo>
                <a:lnTo>
                  <a:pt x="10" y="34"/>
                </a:lnTo>
                <a:lnTo>
                  <a:pt x="14" y="28"/>
                </a:lnTo>
                <a:lnTo>
                  <a:pt x="4" y="20"/>
                </a:lnTo>
                <a:lnTo>
                  <a:pt x="8" y="16"/>
                </a:lnTo>
                <a:lnTo>
                  <a:pt x="18" y="20"/>
                </a:lnTo>
                <a:lnTo>
                  <a:pt x="26" y="14"/>
                </a:lnTo>
                <a:lnTo>
                  <a:pt x="36" y="12"/>
                </a:lnTo>
                <a:lnTo>
                  <a:pt x="38" y="0"/>
                </a:lnTo>
                <a:lnTo>
                  <a:pt x="44" y="0"/>
                </a:lnTo>
                <a:lnTo>
                  <a:pt x="46" y="12"/>
                </a:lnTo>
                <a:lnTo>
                  <a:pt x="52" y="14"/>
                </a:lnTo>
                <a:lnTo>
                  <a:pt x="58" y="16"/>
                </a:lnTo>
                <a:lnTo>
                  <a:pt x="64" y="8"/>
                </a:lnTo>
                <a:lnTo>
                  <a:pt x="70" y="14"/>
                </a:lnTo>
                <a:lnTo>
                  <a:pt x="64" y="22"/>
                </a:lnTo>
                <a:lnTo>
                  <a:pt x="68" y="28"/>
                </a:lnTo>
                <a:lnTo>
                  <a:pt x="70" y="32"/>
                </a:lnTo>
                <a:lnTo>
                  <a:pt x="96" y="32"/>
                </a:lnTo>
                <a:lnTo>
                  <a:pt x="96" y="28"/>
                </a:lnTo>
                <a:lnTo>
                  <a:pt x="88" y="20"/>
                </a:lnTo>
                <a:lnTo>
                  <a:pt x="92" y="16"/>
                </a:lnTo>
                <a:lnTo>
                  <a:pt x="102" y="20"/>
                </a:lnTo>
                <a:lnTo>
                  <a:pt x="110" y="14"/>
                </a:lnTo>
                <a:lnTo>
                  <a:pt x="120" y="12"/>
                </a:lnTo>
                <a:lnTo>
                  <a:pt x="122" y="0"/>
                </a:lnTo>
                <a:lnTo>
                  <a:pt x="128" y="0"/>
                </a:lnTo>
                <a:lnTo>
                  <a:pt x="128" y="12"/>
                </a:lnTo>
                <a:lnTo>
                  <a:pt x="136" y="14"/>
                </a:lnTo>
                <a:lnTo>
                  <a:pt x="142" y="16"/>
                </a:lnTo>
                <a:lnTo>
                  <a:pt x="148" y="8"/>
                </a:lnTo>
                <a:lnTo>
                  <a:pt x="154" y="14"/>
                </a:lnTo>
                <a:lnTo>
                  <a:pt x="148" y="22"/>
                </a:lnTo>
                <a:lnTo>
                  <a:pt x="152" y="28"/>
                </a:lnTo>
                <a:lnTo>
                  <a:pt x="154" y="32"/>
                </a:lnTo>
                <a:lnTo>
                  <a:pt x="178" y="32"/>
                </a:lnTo>
                <a:lnTo>
                  <a:pt x="180" y="28"/>
                </a:lnTo>
                <a:lnTo>
                  <a:pt x="172" y="20"/>
                </a:lnTo>
                <a:lnTo>
                  <a:pt x="174" y="16"/>
                </a:lnTo>
                <a:lnTo>
                  <a:pt x="186" y="20"/>
                </a:lnTo>
                <a:lnTo>
                  <a:pt x="194" y="14"/>
                </a:lnTo>
                <a:lnTo>
                  <a:pt x="204" y="12"/>
                </a:lnTo>
                <a:lnTo>
                  <a:pt x="206" y="0"/>
                </a:lnTo>
                <a:lnTo>
                  <a:pt x="212" y="0"/>
                </a:lnTo>
                <a:lnTo>
                  <a:pt x="212" y="12"/>
                </a:lnTo>
                <a:lnTo>
                  <a:pt x="218" y="14"/>
                </a:lnTo>
                <a:lnTo>
                  <a:pt x="224" y="16"/>
                </a:lnTo>
                <a:lnTo>
                  <a:pt x="232" y="8"/>
                </a:lnTo>
                <a:lnTo>
                  <a:pt x="238" y="14"/>
                </a:lnTo>
                <a:lnTo>
                  <a:pt x="232" y="22"/>
                </a:lnTo>
                <a:lnTo>
                  <a:pt x="236" y="28"/>
                </a:lnTo>
                <a:lnTo>
                  <a:pt x="238" y="32"/>
                </a:lnTo>
                <a:lnTo>
                  <a:pt x="276" y="32"/>
                </a:lnTo>
                <a:lnTo>
                  <a:pt x="250" y="6"/>
                </a:lnTo>
                <a:lnTo>
                  <a:pt x="280" y="6"/>
                </a:lnTo>
                <a:lnTo>
                  <a:pt x="320" y="44"/>
                </a:lnTo>
                <a:lnTo>
                  <a:pt x="280" y="82"/>
                </a:lnTo>
                <a:lnTo>
                  <a:pt x="250" y="82"/>
                </a:lnTo>
                <a:lnTo>
                  <a:pt x="278" y="54"/>
                </a:lnTo>
                <a:lnTo>
                  <a:pt x="238" y="54"/>
                </a:lnTo>
                <a:lnTo>
                  <a:pt x="236" y="58"/>
                </a:lnTo>
                <a:lnTo>
                  <a:pt x="244" y="64"/>
                </a:lnTo>
                <a:lnTo>
                  <a:pt x="242" y="70"/>
                </a:lnTo>
                <a:lnTo>
                  <a:pt x="230" y="64"/>
                </a:lnTo>
                <a:lnTo>
                  <a:pt x="222" y="70"/>
                </a:lnTo>
                <a:lnTo>
                  <a:pt x="212" y="74"/>
                </a:lnTo>
                <a:lnTo>
                  <a:pt x="210" y="86"/>
                </a:lnTo>
                <a:lnTo>
                  <a:pt x="204" y="86"/>
                </a:lnTo>
                <a:lnTo>
                  <a:pt x="204" y="74"/>
                </a:lnTo>
                <a:lnTo>
                  <a:pt x="198" y="72"/>
                </a:lnTo>
                <a:lnTo>
                  <a:pt x="192" y="70"/>
                </a:lnTo>
                <a:lnTo>
                  <a:pt x="184" y="76"/>
                </a:lnTo>
                <a:lnTo>
                  <a:pt x="178" y="72"/>
                </a:lnTo>
                <a:lnTo>
                  <a:pt x="184" y="64"/>
                </a:lnTo>
                <a:lnTo>
                  <a:pt x="180" y="56"/>
                </a:lnTo>
                <a:lnTo>
                  <a:pt x="296" y="6"/>
                </a:lnTo>
                <a:lnTo>
                  <a:pt x="26" y="50"/>
                </a:lnTo>
                <a:lnTo>
                  <a:pt x="26" y="44"/>
                </a:lnTo>
                <a:lnTo>
                  <a:pt x="26" y="38"/>
                </a:lnTo>
                <a:lnTo>
                  <a:pt x="28" y="32"/>
                </a:lnTo>
                <a:lnTo>
                  <a:pt x="34" y="28"/>
                </a:lnTo>
                <a:lnTo>
                  <a:pt x="40" y="28"/>
                </a:lnTo>
                <a:lnTo>
                  <a:pt x="46" y="28"/>
                </a:lnTo>
                <a:lnTo>
                  <a:pt x="50" y="30"/>
                </a:lnTo>
                <a:lnTo>
                  <a:pt x="54" y="36"/>
                </a:lnTo>
                <a:lnTo>
                  <a:pt x="56" y="42"/>
                </a:lnTo>
                <a:lnTo>
                  <a:pt x="56" y="48"/>
                </a:lnTo>
                <a:lnTo>
                  <a:pt x="52" y="52"/>
                </a:lnTo>
                <a:lnTo>
                  <a:pt x="48" y="56"/>
                </a:lnTo>
                <a:lnTo>
                  <a:pt x="42" y="58"/>
                </a:lnTo>
                <a:lnTo>
                  <a:pt x="36" y="58"/>
                </a:lnTo>
                <a:lnTo>
                  <a:pt x="30" y="54"/>
                </a:lnTo>
                <a:lnTo>
                  <a:pt x="26" y="50"/>
                </a:lnTo>
                <a:lnTo>
                  <a:pt x="296" y="6"/>
                </a:lnTo>
                <a:lnTo>
                  <a:pt x="110" y="50"/>
                </a:lnTo>
                <a:lnTo>
                  <a:pt x="108" y="44"/>
                </a:lnTo>
                <a:lnTo>
                  <a:pt x="110" y="38"/>
                </a:lnTo>
                <a:lnTo>
                  <a:pt x="112" y="32"/>
                </a:lnTo>
                <a:lnTo>
                  <a:pt x="118" y="28"/>
                </a:lnTo>
                <a:lnTo>
                  <a:pt x="124" y="28"/>
                </a:lnTo>
                <a:lnTo>
                  <a:pt x="128" y="28"/>
                </a:lnTo>
                <a:lnTo>
                  <a:pt x="134" y="30"/>
                </a:lnTo>
                <a:lnTo>
                  <a:pt x="138" y="36"/>
                </a:lnTo>
                <a:lnTo>
                  <a:pt x="140" y="42"/>
                </a:lnTo>
                <a:lnTo>
                  <a:pt x="138" y="48"/>
                </a:lnTo>
                <a:lnTo>
                  <a:pt x="136" y="52"/>
                </a:lnTo>
                <a:lnTo>
                  <a:pt x="132" y="56"/>
                </a:lnTo>
                <a:lnTo>
                  <a:pt x="126" y="58"/>
                </a:lnTo>
                <a:lnTo>
                  <a:pt x="120" y="58"/>
                </a:lnTo>
                <a:lnTo>
                  <a:pt x="114" y="54"/>
                </a:lnTo>
                <a:lnTo>
                  <a:pt x="110" y="50"/>
                </a:lnTo>
                <a:lnTo>
                  <a:pt x="296" y="6"/>
                </a:lnTo>
                <a:lnTo>
                  <a:pt x="194" y="50"/>
                </a:lnTo>
                <a:lnTo>
                  <a:pt x="192" y="44"/>
                </a:lnTo>
                <a:lnTo>
                  <a:pt x="194" y="38"/>
                </a:lnTo>
                <a:lnTo>
                  <a:pt x="196" y="32"/>
                </a:lnTo>
                <a:lnTo>
                  <a:pt x="200" y="28"/>
                </a:lnTo>
                <a:lnTo>
                  <a:pt x="206" y="28"/>
                </a:lnTo>
                <a:lnTo>
                  <a:pt x="212" y="28"/>
                </a:lnTo>
                <a:lnTo>
                  <a:pt x="218" y="30"/>
                </a:lnTo>
                <a:lnTo>
                  <a:pt x="222" y="36"/>
                </a:lnTo>
                <a:lnTo>
                  <a:pt x="222" y="42"/>
                </a:lnTo>
                <a:lnTo>
                  <a:pt x="222" y="48"/>
                </a:lnTo>
                <a:lnTo>
                  <a:pt x="220" y="52"/>
                </a:lnTo>
                <a:lnTo>
                  <a:pt x="214" y="56"/>
                </a:lnTo>
                <a:lnTo>
                  <a:pt x="208" y="58"/>
                </a:lnTo>
                <a:lnTo>
                  <a:pt x="202" y="58"/>
                </a:lnTo>
                <a:lnTo>
                  <a:pt x="198" y="54"/>
                </a:lnTo>
                <a:lnTo>
                  <a:pt x="194" y="50"/>
                </a:lnTo>
                <a:lnTo>
                  <a:pt x="296" y="6"/>
                </a:lnTo>
                <a:close/>
              </a:path>
            </a:pathLst>
          </a:custGeom>
          <a:solidFill>
            <a:srgbClr val="FFFFFF"/>
          </a:solidFill>
          <a:ln w="9525">
            <a:noFill/>
            <a:round/>
            <a:headEnd/>
            <a:tailEnd/>
          </a:ln>
        </p:spPr>
        <p:txBody>
          <a:bodyPr lIns="91432" tIns="45716" rIns="91432" bIns="45716"/>
          <a:lstStyle/>
          <a:p>
            <a:pPr defTabSz="684673" fontAlgn="base">
              <a:spcBef>
                <a:spcPct val="0"/>
              </a:spcBef>
              <a:spcAft>
                <a:spcPct val="0"/>
              </a:spcAft>
            </a:pPr>
            <a:endParaRPr lang="en-US">
              <a:solidFill>
                <a:srgbClr val="FFFFFF"/>
              </a:solidFill>
              <a:cs typeface="Arial" charset="0"/>
            </a:endParaRPr>
          </a:p>
        </p:txBody>
      </p:sp>
      <p:grpSp>
        <p:nvGrpSpPr>
          <p:cNvPr id="7" name="Group 167"/>
          <p:cNvGrpSpPr>
            <a:grpSpLocks/>
          </p:cNvGrpSpPr>
          <p:nvPr/>
        </p:nvGrpSpPr>
        <p:grpSpPr bwMode="auto">
          <a:xfrm>
            <a:off x="1620029" y="2393395"/>
            <a:ext cx="488283" cy="401241"/>
            <a:chOff x="2830513" y="1652588"/>
            <a:chExt cx="419100" cy="346075"/>
          </a:xfrm>
        </p:grpSpPr>
        <p:sp>
          <p:nvSpPr>
            <p:cNvPr id="8" name="AutoShape 3"/>
            <p:cNvSpPr>
              <a:spLocks noChangeAspect="1" noChangeArrowheads="1" noTextEdit="1"/>
            </p:cNvSpPr>
            <p:nvPr/>
          </p:nvSpPr>
          <p:spPr bwMode="auto">
            <a:xfrm>
              <a:off x="2830513" y="1652588"/>
              <a:ext cx="419100" cy="346075"/>
            </a:xfrm>
            <a:prstGeom prst="rect">
              <a:avLst/>
            </a:prstGeom>
            <a:noFill/>
            <a:ln w="9525">
              <a:noFill/>
              <a:miter lim="800000"/>
              <a:headEnd/>
              <a:tailEnd/>
            </a:ln>
          </p:spPr>
          <p:txBody>
            <a:bodyPr/>
            <a:lstStyle/>
            <a:p>
              <a:pPr defTabSz="684673" fontAlgn="base">
                <a:spcBef>
                  <a:spcPct val="0"/>
                </a:spcBef>
                <a:spcAft>
                  <a:spcPct val="0"/>
                </a:spcAft>
                <a:defRPr/>
              </a:pPr>
              <a:endParaRPr lang="en-US" sz="1100" kern="0">
                <a:solidFill>
                  <a:srgbClr val="FFFFFF"/>
                </a:solidFill>
                <a:latin typeface="Segoe Light" charset="0"/>
                <a:cs typeface="Arial" charset="0"/>
              </a:endParaRPr>
            </a:p>
          </p:txBody>
        </p:sp>
        <p:sp>
          <p:nvSpPr>
            <p:cNvPr id="9" name="Freeform 5"/>
            <p:cNvSpPr>
              <a:spLocks/>
            </p:cNvSpPr>
            <p:nvPr/>
          </p:nvSpPr>
          <p:spPr bwMode="auto">
            <a:xfrm>
              <a:off x="2856068" y="1684423"/>
              <a:ext cx="161507" cy="224897"/>
            </a:xfrm>
            <a:custGeom>
              <a:avLst/>
              <a:gdLst>
                <a:gd name="T0" fmla="*/ 2147483647 w 102"/>
                <a:gd name="T1" fmla="*/ 2147483647 h 142"/>
                <a:gd name="T2" fmla="*/ 2147483647 w 102"/>
                <a:gd name="T3" fmla="*/ 2147483647 h 142"/>
                <a:gd name="T4" fmla="*/ 2147483647 w 102"/>
                <a:gd name="T5" fmla="*/ 2147483647 h 142"/>
                <a:gd name="T6" fmla="*/ 0 w 102"/>
                <a:gd name="T7" fmla="*/ 2147483647 h 142"/>
                <a:gd name="T8" fmla="*/ 0 w 102"/>
                <a:gd name="T9" fmla="*/ 2147483647 h 142"/>
                <a:gd name="T10" fmla="*/ 2147483647 w 102"/>
                <a:gd name="T11" fmla="*/ 2147483647 h 142"/>
                <a:gd name="T12" fmla="*/ 2147483647 w 102"/>
                <a:gd name="T13" fmla="*/ 0 h 142"/>
                <a:gd name="T14" fmla="*/ 2147483647 w 102"/>
                <a:gd name="T15" fmla="*/ 0 h 142"/>
                <a:gd name="T16" fmla="*/ 2147483647 w 102"/>
                <a:gd name="T17" fmla="*/ 2147483647 h 142"/>
                <a:gd name="T18" fmla="*/ 2147483647 w 102"/>
                <a:gd name="T19" fmla="*/ 2147483647 h 142"/>
                <a:gd name="T20" fmla="*/ 2147483647 w 102"/>
                <a:gd name="T21" fmla="*/ 2147483647 h 142"/>
                <a:gd name="T22" fmla="*/ 2147483647 w 102"/>
                <a:gd name="T23" fmla="*/ 2147483647 h 142"/>
                <a:gd name="T24" fmla="*/ 2147483647 w 102"/>
                <a:gd name="T25" fmla="*/ 2147483647 h 142"/>
                <a:gd name="T26" fmla="*/ 2147483647 w 102"/>
                <a:gd name="T27" fmla="*/ 2147483647 h 142"/>
                <a:gd name="T28" fmla="*/ 2147483647 w 102"/>
                <a:gd name="T29" fmla="*/ 2147483647 h 142"/>
                <a:gd name="T30" fmla="*/ 2147483647 w 102"/>
                <a:gd name="T31" fmla="*/ 2147483647 h 142"/>
                <a:gd name="T32" fmla="*/ 2147483647 w 102"/>
                <a:gd name="T33" fmla="*/ 2147483647 h 142"/>
                <a:gd name="T34" fmla="*/ 2147483647 w 102"/>
                <a:gd name="T35" fmla="*/ 2147483647 h 142"/>
                <a:gd name="T36" fmla="*/ 2147483647 w 102"/>
                <a:gd name="T37" fmla="*/ 2147483647 h 142"/>
                <a:gd name="T38" fmla="*/ 2147483647 w 102"/>
                <a:gd name="T39" fmla="*/ 2147483647 h 142"/>
                <a:gd name="T40" fmla="*/ 2147483647 w 102"/>
                <a:gd name="T41" fmla="*/ 2147483647 h 142"/>
                <a:gd name="T42" fmla="*/ 2147483647 w 102"/>
                <a:gd name="T43" fmla="*/ 2147483647 h 142"/>
                <a:gd name="T44" fmla="*/ 2147483647 w 102"/>
                <a:gd name="T45" fmla="*/ 2147483647 h 142"/>
                <a:gd name="T46" fmla="*/ 2147483647 w 102"/>
                <a:gd name="T47" fmla="*/ 2147483647 h 142"/>
                <a:gd name="T48" fmla="*/ 2147483647 w 102"/>
                <a:gd name="T49" fmla="*/ 2147483647 h 142"/>
                <a:gd name="T50" fmla="*/ 2147483647 w 102"/>
                <a:gd name="T51" fmla="*/ 2147483647 h 142"/>
                <a:gd name="T52" fmla="*/ 2147483647 w 102"/>
                <a:gd name="T53" fmla="*/ 2147483647 h 142"/>
                <a:gd name="T54" fmla="*/ 2147483647 w 102"/>
                <a:gd name="T55" fmla="*/ 2147483647 h 142"/>
                <a:gd name="T56" fmla="*/ 2147483647 w 102"/>
                <a:gd name="T57" fmla="*/ 2147483647 h 142"/>
                <a:gd name="T58" fmla="*/ 2147483647 w 102"/>
                <a:gd name="T59" fmla="*/ 2147483647 h 142"/>
                <a:gd name="T60" fmla="*/ 2147483647 w 102"/>
                <a:gd name="T61" fmla="*/ 2147483647 h 142"/>
                <a:gd name="T62" fmla="*/ 2147483647 w 102"/>
                <a:gd name="T63" fmla="*/ 2147483647 h 142"/>
                <a:gd name="T64" fmla="*/ 2147483647 w 102"/>
                <a:gd name="T65" fmla="*/ 2147483647 h 142"/>
                <a:gd name="T66" fmla="*/ 2147483647 w 102"/>
                <a:gd name="T67" fmla="*/ 2147483647 h 142"/>
                <a:gd name="T68" fmla="*/ 2147483647 w 102"/>
                <a:gd name="T69" fmla="*/ 2147483647 h 142"/>
                <a:gd name="T70" fmla="*/ 2147483647 w 102"/>
                <a:gd name="T71" fmla="*/ 2147483647 h 142"/>
                <a:gd name="T72" fmla="*/ 2147483647 w 102"/>
                <a:gd name="T73" fmla="*/ 2147483647 h 142"/>
                <a:gd name="T74" fmla="*/ 2147483647 w 102"/>
                <a:gd name="T75" fmla="*/ 2147483647 h 142"/>
                <a:gd name="T76" fmla="*/ 2147483647 w 102"/>
                <a:gd name="T77" fmla="*/ 2147483647 h 142"/>
                <a:gd name="T78" fmla="*/ 2147483647 w 102"/>
                <a:gd name="T79" fmla="*/ 2147483647 h 142"/>
                <a:gd name="T80" fmla="*/ 2147483647 w 102"/>
                <a:gd name="T81" fmla="*/ 2147483647 h 142"/>
                <a:gd name="T82" fmla="*/ 2147483647 w 102"/>
                <a:gd name="T83" fmla="*/ 2147483647 h 142"/>
                <a:gd name="T84" fmla="*/ 2147483647 w 102"/>
                <a:gd name="T85" fmla="*/ 2147483647 h 142"/>
                <a:gd name="T86" fmla="*/ 2147483647 w 102"/>
                <a:gd name="T87" fmla="*/ 2147483647 h 142"/>
                <a:gd name="T88" fmla="*/ 2147483647 w 102"/>
                <a:gd name="T89" fmla="*/ 2147483647 h 142"/>
                <a:gd name="T90" fmla="*/ 2147483647 w 102"/>
                <a:gd name="T91" fmla="*/ 2147483647 h 142"/>
                <a:gd name="T92" fmla="*/ 2147483647 w 102"/>
                <a:gd name="T93" fmla="*/ 2147483647 h 142"/>
                <a:gd name="T94" fmla="*/ 2147483647 w 102"/>
                <a:gd name="T95" fmla="*/ 2147483647 h 142"/>
                <a:gd name="T96" fmla="*/ 2147483647 w 102"/>
                <a:gd name="T97" fmla="*/ 2147483647 h 142"/>
                <a:gd name="T98" fmla="*/ 2147483647 w 102"/>
                <a:gd name="T99" fmla="*/ 2147483647 h 142"/>
                <a:gd name="T100" fmla="*/ 2147483647 w 102"/>
                <a:gd name="T101" fmla="*/ 2147483647 h 142"/>
                <a:gd name="T102" fmla="*/ 2147483647 w 102"/>
                <a:gd name="T103" fmla="*/ 2147483647 h 142"/>
                <a:gd name="T104" fmla="*/ 2147483647 w 102"/>
                <a:gd name="T105" fmla="*/ 2147483647 h 142"/>
                <a:gd name="T106" fmla="*/ 2147483647 w 102"/>
                <a:gd name="T107" fmla="*/ 2147483647 h 142"/>
                <a:gd name="T108" fmla="*/ 2147483647 w 102"/>
                <a:gd name="T109" fmla="*/ 2147483647 h 142"/>
                <a:gd name="T110" fmla="*/ 2147483647 w 102"/>
                <a:gd name="T111" fmla="*/ 2147483647 h 142"/>
                <a:gd name="T112" fmla="*/ 2147483647 w 102"/>
                <a:gd name="T113" fmla="*/ 2147483647 h 142"/>
                <a:gd name="T114" fmla="*/ 2147483647 w 102"/>
                <a:gd name="T115" fmla="*/ 2147483647 h 142"/>
                <a:gd name="T116" fmla="*/ 2147483647 w 102"/>
                <a:gd name="T117" fmla="*/ 2147483647 h 142"/>
                <a:gd name="T118" fmla="*/ 2147483647 w 102"/>
                <a:gd name="T119" fmla="*/ 2147483647 h 142"/>
                <a:gd name="T120" fmla="*/ 2147483647 w 102"/>
                <a:gd name="T121" fmla="*/ 2147483647 h 14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02"/>
                <a:gd name="T184" fmla="*/ 0 h 142"/>
                <a:gd name="T185" fmla="*/ 102 w 102"/>
                <a:gd name="T186" fmla="*/ 142 h 14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02" h="142">
                  <a:moveTo>
                    <a:pt x="94" y="142"/>
                  </a:moveTo>
                  <a:lnTo>
                    <a:pt x="6" y="142"/>
                  </a:lnTo>
                  <a:lnTo>
                    <a:pt x="2" y="140"/>
                  </a:lnTo>
                  <a:lnTo>
                    <a:pt x="0" y="134"/>
                  </a:lnTo>
                  <a:lnTo>
                    <a:pt x="0" y="8"/>
                  </a:lnTo>
                  <a:lnTo>
                    <a:pt x="2" y="2"/>
                  </a:lnTo>
                  <a:lnTo>
                    <a:pt x="6" y="0"/>
                  </a:lnTo>
                  <a:lnTo>
                    <a:pt x="94" y="0"/>
                  </a:lnTo>
                  <a:lnTo>
                    <a:pt x="100" y="2"/>
                  </a:lnTo>
                  <a:lnTo>
                    <a:pt x="102" y="8"/>
                  </a:lnTo>
                  <a:lnTo>
                    <a:pt x="102" y="134"/>
                  </a:lnTo>
                  <a:lnTo>
                    <a:pt x="100" y="140"/>
                  </a:lnTo>
                  <a:lnTo>
                    <a:pt x="94" y="142"/>
                  </a:lnTo>
                  <a:lnTo>
                    <a:pt x="86" y="74"/>
                  </a:lnTo>
                  <a:lnTo>
                    <a:pt x="88" y="72"/>
                  </a:lnTo>
                  <a:lnTo>
                    <a:pt x="90" y="70"/>
                  </a:lnTo>
                  <a:lnTo>
                    <a:pt x="88" y="66"/>
                  </a:lnTo>
                  <a:lnTo>
                    <a:pt x="86" y="66"/>
                  </a:lnTo>
                  <a:lnTo>
                    <a:pt x="18" y="66"/>
                  </a:lnTo>
                  <a:lnTo>
                    <a:pt x="14" y="66"/>
                  </a:lnTo>
                  <a:lnTo>
                    <a:pt x="14" y="70"/>
                  </a:lnTo>
                  <a:lnTo>
                    <a:pt x="14" y="72"/>
                  </a:lnTo>
                  <a:lnTo>
                    <a:pt x="18" y="74"/>
                  </a:lnTo>
                  <a:lnTo>
                    <a:pt x="86" y="74"/>
                  </a:lnTo>
                  <a:lnTo>
                    <a:pt x="94" y="142"/>
                  </a:lnTo>
                  <a:lnTo>
                    <a:pt x="86" y="48"/>
                  </a:lnTo>
                  <a:lnTo>
                    <a:pt x="88" y="46"/>
                  </a:lnTo>
                  <a:lnTo>
                    <a:pt x="90" y="44"/>
                  </a:lnTo>
                  <a:lnTo>
                    <a:pt x="88" y="40"/>
                  </a:lnTo>
                  <a:lnTo>
                    <a:pt x="86" y="40"/>
                  </a:lnTo>
                  <a:lnTo>
                    <a:pt x="18" y="40"/>
                  </a:lnTo>
                  <a:lnTo>
                    <a:pt x="14" y="40"/>
                  </a:lnTo>
                  <a:lnTo>
                    <a:pt x="14" y="44"/>
                  </a:lnTo>
                  <a:lnTo>
                    <a:pt x="14" y="46"/>
                  </a:lnTo>
                  <a:lnTo>
                    <a:pt x="18" y="48"/>
                  </a:lnTo>
                  <a:lnTo>
                    <a:pt x="86" y="48"/>
                  </a:lnTo>
                  <a:lnTo>
                    <a:pt x="94" y="142"/>
                  </a:lnTo>
                  <a:lnTo>
                    <a:pt x="86" y="100"/>
                  </a:lnTo>
                  <a:lnTo>
                    <a:pt x="18" y="100"/>
                  </a:lnTo>
                  <a:lnTo>
                    <a:pt x="14" y="100"/>
                  </a:lnTo>
                  <a:lnTo>
                    <a:pt x="14" y="96"/>
                  </a:lnTo>
                  <a:lnTo>
                    <a:pt x="14" y="94"/>
                  </a:lnTo>
                  <a:lnTo>
                    <a:pt x="18" y="92"/>
                  </a:lnTo>
                  <a:lnTo>
                    <a:pt x="86" y="92"/>
                  </a:lnTo>
                  <a:lnTo>
                    <a:pt x="88" y="94"/>
                  </a:lnTo>
                  <a:lnTo>
                    <a:pt x="90" y="96"/>
                  </a:lnTo>
                  <a:lnTo>
                    <a:pt x="88" y="100"/>
                  </a:lnTo>
                  <a:lnTo>
                    <a:pt x="86" y="100"/>
                  </a:lnTo>
                  <a:lnTo>
                    <a:pt x="94" y="142"/>
                  </a:lnTo>
                  <a:lnTo>
                    <a:pt x="86" y="128"/>
                  </a:lnTo>
                  <a:lnTo>
                    <a:pt x="18" y="128"/>
                  </a:lnTo>
                  <a:lnTo>
                    <a:pt x="14" y="126"/>
                  </a:lnTo>
                  <a:lnTo>
                    <a:pt x="14" y="124"/>
                  </a:lnTo>
                  <a:lnTo>
                    <a:pt x="14" y="120"/>
                  </a:lnTo>
                  <a:lnTo>
                    <a:pt x="18" y="120"/>
                  </a:lnTo>
                  <a:lnTo>
                    <a:pt x="86" y="120"/>
                  </a:lnTo>
                  <a:lnTo>
                    <a:pt x="88" y="120"/>
                  </a:lnTo>
                  <a:lnTo>
                    <a:pt x="90" y="124"/>
                  </a:lnTo>
                  <a:lnTo>
                    <a:pt x="88" y="126"/>
                  </a:lnTo>
                  <a:lnTo>
                    <a:pt x="86" y="128"/>
                  </a:lnTo>
                  <a:lnTo>
                    <a:pt x="94" y="142"/>
                  </a:lnTo>
                  <a:close/>
                </a:path>
              </a:pathLst>
            </a:custGeom>
            <a:solidFill>
              <a:srgbClr val="FFFFFF"/>
            </a:solidFill>
            <a:ln w="9525">
              <a:noFill/>
              <a:round/>
              <a:headEnd/>
              <a:tailEnd/>
            </a:ln>
          </p:spPr>
          <p:txBody>
            <a:bodyPr/>
            <a:lstStyle/>
            <a:p>
              <a:pPr defTabSz="684673" fontAlgn="base">
                <a:spcBef>
                  <a:spcPct val="0"/>
                </a:spcBef>
                <a:spcAft>
                  <a:spcPct val="0"/>
                </a:spcAft>
              </a:pPr>
              <a:endParaRPr lang="en-US" sz="1100">
                <a:solidFill>
                  <a:srgbClr val="FFFFFF"/>
                </a:solidFill>
                <a:cs typeface="Arial" charset="0"/>
              </a:endParaRPr>
            </a:p>
          </p:txBody>
        </p:sp>
        <p:sp>
          <p:nvSpPr>
            <p:cNvPr id="10" name="Freeform 6"/>
            <p:cNvSpPr>
              <a:spLocks/>
            </p:cNvSpPr>
            <p:nvPr/>
          </p:nvSpPr>
          <p:spPr bwMode="auto">
            <a:xfrm>
              <a:off x="2830513" y="1652588"/>
              <a:ext cx="419100" cy="346075"/>
            </a:xfrm>
            <a:custGeom>
              <a:avLst/>
              <a:gdLst>
                <a:gd name="T0" fmla="*/ 2147483647 w 264"/>
                <a:gd name="T1" fmla="*/ 2147483647 h 218"/>
                <a:gd name="T2" fmla="*/ 2147483647 w 264"/>
                <a:gd name="T3" fmla="*/ 2147483647 h 218"/>
                <a:gd name="T4" fmla="*/ 2147483647 w 264"/>
                <a:gd name="T5" fmla="*/ 2147483647 h 218"/>
                <a:gd name="T6" fmla="*/ 2147483647 w 264"/>
                <a:gd name="T7" fmla="*/ 2147483647 h 218"/>
                <a:gd name="T8" fmla="*/ 2147483647 w 264"/>
                <a:gd name="T9" fmla="*/ 2147483647 h 218"/>
                <a:gd name="T10" fmla="*/ 2147483647 w 264"/>
                <a:gd name="T11" fmla="*/ 2147483647 h 218"/>
                <a:gd name="T12" fmla="*/ 2147483647 w 264"/>
                <a:gd name="T13" fmla="*/ 2147483647 h 218"/>
                <a:gd name="T14" fmla="*/ 2147483647 w 264"/>
                <a:gd name="T15" fmla="*/ 2147483647 h 218"/>
                <a:gd name="T16" fmla="*/ 2147483647 w 264"/>
                <a:gd name="T17" fmla="*/ 2147483647 h 218"/>
                <a:gd name="T18" fmla="*/ 2147483647 w 264"/>
                <a:gd name="T19" fmla="*/ 2147483647 h 218"/>
                <a:gd name="T20" fmla="*/ 2147483647 w 264"/>
                <a:gd name="T21" fmla="*/ 2147483647 h 218"/>
                <a:gd name="T22" fmla="*/ 2147483647 w 264"/>
                <a:gd name="T23" fmla="*/ 2147483647 h 218"/>
                <a:gd name="T24" fmla="*/ 2147483647 w 264"/>
                <a:gd name="T25" fmla="*/ 2147483647 h 218"/>
                <a:gd name="T26" fmla="*/ 2147483647 w 264"/>
                <a:gd name="T27" fmla="*/ 2147483647 h 218"/>
                <a:gd name="T28" fmla="*/ 2147483647 w 264"/>
                <a:gd name="T29" fmla="*/ 2147483647 h 218"/>
                <a:gd name="T30" fmla="*/ 2147483647 w 264"/>
                <a:gd name="T31" fmla="*/ 2147483647 h 218"/>
                <a:gd name="T32" fmla="*/ 2147483647 w 264"/>
                <a:gd name="T33" fmla="*/ 2147483647 h 218"/>
                <a:gd name="T34" fmla="*/ 2147483647 w 264"/>
                <a:gd name="T35" fmla="*/ 2147483647 h 218"/>
                <a:gd name="T36" fmla="*/ 2147483647 w 264"/>
                <a:gd name="T37" fmla="*/ 2147483647 h 218"/>
                <a:gd name="T38" fmla="*/ 2147483647 w 264"/>
                <a:gd name="T39" fmla="*/ 2147483647 h 218"/>
                <a:gd name="T40" fmla="*/ 2147483647 w 264"/>
                <a:gd name="T41" fmla="*/ 2147483647 h 218"/>
                <a:gd name="T42" fmla="*/ 2147483647 w 264"/>
                <a:gd name="T43" fmla="*/ 2147483647 h 218"/>
                <a:gd name="T44" fmla="*/ 2147483647 w 264"/>
                <a:gd name="T45" fmla="*/ 2147483647 h 218"/>
                <a:gd name="T46" fmla="*/ 2147483647 w 264"/>
                <a:gd name="T47" fmla="*/ 2147483647 h 218"/>
                <a:gd name="T48" fmla="*/ 2147483647 w 264"/>
                <a:gd name="T49" fmla="*/ 2147483647 h 218"/>
                <a:gd name="T50" fmla="*/ 2147483647 w 264"/>
                <a:gd name="T51" fmla="*/ 2147483647 h 218"/>
                <a:gd name="T52" fmla="*/ 2147483647 w 264"/>
                <a:gd name="T53" fmla="*/ 2147483647 h 218"/>
                <a:gd name="T54" fmla="*/ 2147483647 w 264"/>
                <a:gd name="T55" fmla="*/ 2147483647 h 218"/>
                <a:gd name="T56" fmla="*/ 2147483647 w 264"/>
                <a:gd name="T57" fmla="*/ 2147483647 h 218"/>
                <a:gd name="T58" fmla="*/ 2147483647 w 264"/>
                <a:gd name="T59" fmla="*/ 2147483647 h 218"/>
                <a:gd name="T60" fmla="*/ 2147483647 w 264"/>
                <a:gd name="T61" fmla="*/ 2147483647 h 218"/>
                <a:gd name="T62" fmla="*/ 2147483647 w 264"/>
                <a:gd name="T63" fmla="*/ 2147483647 h 218"/>
                <a:gd name="T64" fmla="*/ 2147483647 w 264"/>
                <a:gd name="T65" fmla="*/ 2147483647 h 218"/>
                <a:gd name="T66" fmla="*/ 2147483647 w 264"/>
                <a:gd name="T67" fmla="*/ 2147483647 h 218"/>
                <a:gd name="T68" fmla="*/ 0 w 264"/>
                <a:gd name="T69" fmla="*/ 2147483647 h 218"/>
                <a:gd name="T70" fmla="*/ 2147483647 w 264"/>
                <a:gd name="T71" fmla="*/ 2147483647 h 218"/>
                <a:gd name="T72" fmla="*/ 2147483647 w 264"/>
                <a:gd name="T73" fmla="*/ 0 h 218"/>
                <a:gd name="T74" fmla="*/ 2147483647 w 264"/>
                <a:gd name="T75" fmla="*/ 2147483647 h 218"/>
                <a:gd name="T76" fmla="*/ 2147483647 w 264"/>
                <a:gd name="T77" fmla="*/ 2147483647 h 218"/>
                <a:gd name="T78" fmla="*/ 2147483647 w 264"/>
                <a:gd name="T79" fmla="*/ 2147483647 h 218"/>
                <a:gd name="T80" fmla="*/ 2147483647 w 264"/>
                <a:gd name="T81" fmla="*/ 2147483647 h 21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64"/>
                <a:gd name="T124" fmla="*/ 0 h 218"/>
                <a:gd name="T125" fmla="*/ 264 w 264"/>
                <a:gd name="T126" fmla="*/ 218 h 21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64" h="218">
                  <a:moveTo>
                    <a:pt x="238" y="116"/>
                  </a:moveTo>
                  <a:lnTo>
                    <a:pt x="172" y="108"/>
                  </a:lnTo>
                  <a:lnTo>
                    <a:pt x="198" y="168"/>
                  </a:lnTo>
                  <a:lnTo>
                    <a:pt x="206" y="144"/>
                  </a:lnTo>
                  <a:lnTo>
                    <a:pt x="254" y="180"/>
                  </a:lnTo>
                  <a:lnTo>
                    <a:pt x="256" y="180"/>
                  </a:lnTo>
                  <a:lnTo>
                    <a:pt x="260" y="178"/>
                  </a:lnTo>
                  <a:lnTo>
                    <a:pt x="262" y="176"/>
                  </a:lnTo>
                  <a:lnTo>
                    <a:pt x="262" y="174"/>
                  </a:lnTo>
                  <a:lnTo>
                    <a:pt x="264" y="172"/>
                  </a:lnTo>
                  <a:lnTo>
                    <a:pt x="262" y="168"/>
                  </a:lnTo>
                  <a:lnTo>
                    <a:pt x="216" y="134"/>
                  </a:lnTo>
                  <a:lnTo>
                    <a:pt x="238" y="116"/>
                  </a:lnTo>
                  <a:lnTo>
                    <a:pt x="156" y="14"/>
                  </a:lnTo>
                  <a:lnTo>
                    <a:pt x="176" y="14"/>
                  </a:lnTo>
                  <a:lnTo>
                    <a:pt x="176" y="16"/>
                  </a:lnTo>
                  <a:lnTo>
                    <a:pt x="156" y="16"/>
                  </a:lnTo>
                  <a:lnTo>
                    <a:pt x="156" y="14"/>
                  </a:lnTo>
                  <a:lnTo>
                    <a:pt x="238" y="116"/>
                  </a:lnTo>
                  <a:lnTo>
                    <a:pt x="156" y="18"/>
                  </a:lnTo>
                  <a:lnTo>
                    <a:pt x="176" y="18"/>
                  </a:lnTo>
                  <a:lnTo>
                    <a:pt x="176" y="32"/>
                  </a:lnTo>
                  <a:lnTo>
                    <a:pt x="156" y="32"/>
                  </a:lnTo>
                  <a:lnTo>
                    <a:pt x="156" y="18"/>
                  </a:lnTo>
                  <a:lnTo>
                    <a:pt x="238" y="116"/>
                  </a:lnTo>
                  <a:lnTo>
                    <a:pt x="142" y="30"/>
                  </a:lnTo>
                  <a:lnTo>
                    <a:pt x="118" y="30"/>
                  </a:lnTo>
                  <a:lnTo>
                    <a:pt x="118" y="28"/>
                  </a:lnTo>
                  <a:lnTo>
                    <a:pt x="142" y="28"/>
                  </a:lnTo>
                  <a:lnTo>
                    <a:pt x="142" y="30"/>
                  </a:lnTo>
                  <a:lnTo>
                    <a:pt x="238" y="116"/>
                  </a:lnTo>
                  <a:lnTo>
                    <a:pt x="192" y="30"/>
                  </a:lnTo>
                  <a:lnTo>
                    <a:pt x="198" y="22"/>
                  </a:lnTo>
                  <a:lnTo>
                    <a:pt x="192" y="16"/>
                  </a:lnTo>
                  <a:lnTo>
                    <a:pt x="198" y="16"/>
                  </a:lnTo>
                  <a:lnTo>
                    <a:pt x="200" y="20"/>
                  </a:lnTo>
                  <a:lnTo>
                    <a:pt x="202" y="16"/>
                  </a:lnTo>
                  <a:lnTo>
                    <a:pt x="206" y="16"/>
                  </a:lnTo>
                  <a:lnTo>
                    <a:pt x="202" y="22"/>
                  </a:lnTo>
                  <a:lnTo>
                    <a:pt x="208" y="30"/>
                  </a:lnTo>
                  <a:lnTo>
                    <a:pt x="202" y="30"/>
                  </a:lnTo>
                  <a:lnTo>
                    <a:pt x="200" y="26"/>
                  </a:lnTo>
                  <a:lnTo>
                    <a:pt x="196" y="30"/>
                  </a:lnTo>
                  <a:lnTo>
                    <a:pt x="192" y="30"/>
                  </a:lnTo>
                  <a:lnTo>
                    <a:pt x="238" y="116"/>
                  </a:lnTo>
                  <a:lnTo>
                    <a:pt x="216" y="40"/>
                  </a:lnTo>
                  <a:lnTo>
                    <a:pt x="8" y="40"/>
                  </a:lnTo>
                  <a:lnTo>
                    <a:pt x="8" y="196"/>
                  </a:lnTo>
                  <a:lnTo>
                    <a:pt x="10" y="202"/>
                  </a:lnTo>
                  <a:lnTo>
                    <a:pt x="12" y="206"/>
                  </a:lnTo>
                  <a:lnTo>
                    <a:pt x="18" y="210"/>
                  </a:lnTo>
                  <a:lnTo>
                    <a:pt x="24" y="210"/>
                  </a:lnTo>
                  <a:lnTo>
                    <a:pt x="202" y="210"/>
                  </a:lnTo>
                  <a:lnTo>
                    <a:pt x="208" y="210"/>
                  </a:lnTo>
                  <a:lnTo>
                    <a:pt x="212" y="206"/>
                  </a:lnTo>
                  <a:lnTo>
                    <a:pt x="216" y="202"/>
                  </a:lnTo>
                  <a:lnTo>
                    <a:pt x="216" y="196"/>
                  </a:lnTo>
                  <a:lnTo>
                    <a:pt x="216" y="162"/>
                  </a:lnTo>
                  <a:lnTo>
                    <a:pt x="224" y="168"/>
                  </a:lnTo>
                  <a:lnTo>
                    <a:pt x="224" y="196"/>
                  </a:lnTo>
                  <a:lnTo>
                    <a:pt x="222" y="204"/>
                  </a:lnTo>
                  <a:lnTo>
                    <a:pt x="218" y="212"/>
                  </a:lnTo>
                  <a:lnTo>
                    <a:pt x="210" y="216"/>
                  </a:lnTo>
                  <a:lnTo>
                    <a:pt x="202" y="218"/>
                  </a:lnTo>
                  <a:lnTo>
                    <a:pt x="24" y="218"/>
                  </a:lnTo>
                  <a:lnTo>
                    <a:pt x="14" y="216"/>
                  </a:lnTo>
                  <a:lnTo>
                    <a:pt x="8" y="212"/>
                  </a:lnTo>
                  <a:lnTo>
                    <a:pt x="2" y="204"/>
                  </a:lnTo>
                  <a:lnTo>
                    <a:pt x="0" y="196"/>
                  </a:lnTo>
                  <a:lnTo>
                    <a:pt x="0" y="24"/>
                  </a:lnTo>
                  <a:lnTo>
                    <a:pt x="2" y="14"/>
                  </a:lnTo>
                  <a:lnTo>
                    <a:pt x="8" y="8"/>
                  </a:lnTo>
                  <a:lnTo>
                    <a:pt x="14" y="2"/>
                  </a:lnTo>
                  <a:lnTo>
                    <a:pt x="24" y="0"/>
                  </a:lnTo>
                  <a:lnTo>
                    <a:pt x="202" y="0"/>
                  </a:lnTo>
                  <a:lnTo>
                    <a:pt x="210" y="2"/>
                  </a:lnTo>
                  <a:lnTo>
                    <a:pt x="218" y="8"/>
                  </a:lnTo>
                  <a:lnTo>
                    <a:pt x="222" y="14"/>
                  </a:lnTo>
                  <a:lnTo>
                    <a:pt x="224" y="24"/>
                  </a:lnTo>
                  <a:lnTo>
                    <a:pt x="224" y="108"/>
                  </a:lnTo>
                  <a:lnTo>
                    <a:pt x="216" y="106"/>
                  </a:lnTo>
                  <a:lnTo>
                    <a:pt x="216" y="40"/>
                  </a:lnTo>
                  <a:lnTo>
                    <a:pt x="238" y="116"/>
                  </a:lnTo>
                  <a:close/>
                </a:path>
              </a:pathLst>
            </a:custGeom>
            <a:solidFill>
              <a:srgbClr val="FFFFFF"/>
            </a:solidFill>
            <a:ln w="9525">
              <a:noFill/>
              <a:round/>
              <a:headEnd/>
              <a:tailEnd/>
            </a:ln>
          </p:spPr>
          <p:txBody>
            <a:bodyPr/>
            <a:lstStyle/>
            <a:p>
              <a:pPr defTabSz="684673" fontAlgn="base">
                <a:spcBef>
                  <a:spcPct val="0"/>
                </a:spcBef>
                <a:spcAft>
                  <a:spcPct val="0"/>
                </a:spcAft>
              </a:pPr>
              <a:endParaRPr lang="en-US" sz="1100">
                <a:solidFill>
                  <a:srgbClr val="FFFFFF"/>
                </a:solidFill>
                <a:cs typeface="Arial" charset="0"/>
              </a:endParaRPr>
            </a:p>
          </p:txBody>
        </p:sp>
      </p:grpSp>
      <p:grpSp>
        <p:nvGrpSpPr>
          <p:cNvPr id="11" name="Group 11"/>
          <p:cNvGrpSpPr>
            <a:grpSpLocks/>
          </p:cNvGrpSpPr>
          <p:nvPr/>
        </p:nvGrpSpPr>
        <p:grpSpPr bwMode="auto">
          <a:xfrm>
            <a:off x="5257980" y="971552"/>
            <a:ext cx="1909069" cy="1232297"/>
            <a:chOff x="4294" y="1066"/>
            <a:chExt cx="1604" cy="1350"/>
          </a:xfrm>
        </p:grpSpPr>
        <p:sp>
          <p:nvSpPr>
            <p:cNvPr id="12" name="Right Arrow 11"/>
            <p:cNvSpPr>
              <a:spLocks noChangeArrowheads="1"/>
            </p:cNvSpPr>
            <p:nvPr/>
          </p:nvSpPr>
          <p:spPr bwMode="auto">
            <a:xfrm>
              <a:off x="4294" y="1066"/>
              <a:ext cx="1604" cy="1350"/>
            </a:xfrm>
            <a:prstGeom prst="rightArrow">
              <a:avLst>
                <a:gd name="adj1" fmla="val 50000"/>
                <a:gd name="adj2" fmla="val 49985"/>
              </a:avLst>
            </a:prstGeom>
            <a:gradFill rotWithShape="1">
              <a:gsLst>
                <a:gs pos="0">
                  <a:schemeClr val="bg1">
                    <a:gamma/>
                    <a:tint val="0"/>
                    <a:invGamma/>
                    <a:alpha val="0"/>
                  </a:schemeClr>
                </a:gs>
                <a:gs pos="100000">
                  <a:schemeClr val="bg1">
                    <a:alpha val="50000"/>
                  </a:schemeClr>
                </a:gs>
              </a:gsLst>
              <a:lin ang="0" scaled="1"/>
            </a:gradFill>
            <a:ln w="9525" algn="ctr">
              <a:noFill/>
              <a:miter lim="800000"/>
              <a:headEnd/>
              <a:tailEnd/>
            </a:ln>
          </p:spPr>
          <p:txBody>
            <a:bodyPr lIns="109833" tIns="0" rIns="0" bIns="54916" anchor="ctr"/>
            <a:lstStyle/>
            <a:p>
              <a:pPr defTabSz="822797" fontAlgn="base">
                <a:spcBef>
                  <a:spcPct val="0"/>
                </a:spcBef>
                <a:spcAft>
                  <a:spcPct val="0"/>
                </a:spcAft>
                <a:defRPr/>
              </a:pPr>
              <a:endParaRPr lang="en-US" sz="1200" b="1">
                <a:solidFill>
                  <a:prstClr val="black"/>
                </a:solidFill>
                <a:cs typeface="Segoe UI" pitchFamily="34" charset="0"/>
              </a:endParaRPr>
            </a:p>
          </p:txBody>
        </p:sp>
        <p:sp>
          <p:nvSpPr>
            <p:cNvPr id="13" name="Text Box 13"/>
            <p:cNvSpPr txBox="1">
              <a:spLocks noChangeArrowheads="1"/>
            </p:cNvSpPr>
            <p:nvPr/>
          </p:nvSpPr>
          <p:spPr bwMode="auto">
            <a:xfrm>
              <a:off x="4584" y="1800"/>
              <a:ext cx="879" cy="149"/>
            </a:xfrm>
            <a:prstGeom prst="rect">
              <a:avLst/>
            </a:prstGeom>
            <a:noFill/>
            <a:ln w="9525">
              <a:noFill/>
              <a:miter lim="800000"/>
              <a:headEnd/>
              <a:tailEnd/>
            </a:ln>
          </p:spPr>
          <p:txBody>
            <a:bodyPr lIns="109833" tIns="0" rIns="109833" bIns="54916" anchor="ctr"/>
            <a:lstStyle/>
            <a:p>
              <a:pPr algn="ctr" defTabSz="822797" fontAlgn="base">
                <a:spcBef>
                  <a:spcPct val="0"/>
                </a:spcBef>
                <a:spcAft>
                  <a:spcPct val="0"/>
                </a:spcAft>
              </a:pPr>
              <a:r>
                <a:rPr lang="en-US" sz="1100" dirty="0">
                  <a:solidFill>
                    <a:srgbClr val="FFFFFF"/>
                  </a:solidFill>
                  <a:cs typeface="Segoe UI" pitchFamily="34" charset="0"/>
                </a:rPr>
                <a:t>Deploy</a:t>
              </a:r>
            </a:p>
          </p:txBody>
        </p:sp>
        <p:sp>
          <p:nvSpPr>
            <p:cNvPr id="14" name="Text Box 14"/>
            <p:cNvSpPr txBox="1">
              <a:spLocks noChangeArrowheads="1"/>
            </p:cNvSpPr>
            <p:nvPr/>
          </p:nvSpPr>
          <p:spPr bwMode="auto">
            <a:xfrm>
              <a:off x="4584" y="1559"/>
              <a:ext cx="879" cy="149"/>
            </a:xfrm>
            <a:prstGeom prst="rect">
              <a:avLst/>
            </a:prstGeom>
            <a:noFill/>
            <a:ln w="9525">
              <a:noFill/>
              <a:miter lim="800000"/>
              <a:headEnd/>
              <a:tailEnd/>
            </a:ln>
          </p:spPr>
          <p:txBody>
            <a:bodyPr lIns="109833" tIns="0" rIns="109833" bIns="54916" anchor="ctr"/>
            <a:lstStyle/>
            <a:p>
              <a:pPr algn="ctr" defTabSz="822797" fontAlgn="base">
                <a:spcBef>
                  <a:spcPct val="0"/>
                </a:spcBef>
                <a:spcAft>
                  <a:spcPct val="0"/>
                </a:spcAft>
              </a:pPr>
              <a:r>
                <a:rPr lang="en-US" sz="1100" dirty="0">
                  <a:solidFill>
                    <a:srgbClr val="FFFFFF"/>
                  </a:solidFill>
                  <a:cs typeface="Segoe UI" pitchFamily="34" charset="0"/>
                </a:rPr>
                <a:t>Configure</a:t>
              </a:r>
            </a:p>
          </p:txBody>
        </p:sp>
      </p:grpSp>
      <p:grpSp>
        <p:nvGrpSpPr>
          <p:cNvPr id="15" name="Group 43"/>
          <p:cNvGrpSpPr>
            <a:grpSpLocks/>
          </p:cNvGrpSpPr>
          <p:nvPr/>
        </p:nvGrpSpPr>
        <p:grpSpPr bwMode="auto">
          <a:xfrm>
            <a:off x="2336854" y="2103835"/>
            <a:ext cx="1404113" cy="1278731"/>
            <a:chOff x="1824" y="1824"/>
            <a:chExt cx="1275" cy="1074"/>
          </a:xfrm>
        </p:grpSpPr>
        <p:sp>
          <p:nvSpPr>
            <p:cNvPr id="16" name="Text Box 44"/>
            <p:cNvSpPr txBox="1">
              <a:spLocks noChangeArrowheads="1"/>
            </p:cNvSpPr>
            <p:nvPr/>
          </p:nvSpPr>
          <p:spPr bwMode="auto">
            <a:xfrm>
              <a:off x="2063" y="2208"/>
              <a:ext cx="684" cy="316"/>
            </a:xfrm>
            <a:prstGeom prst="rect">
              <a:avLst/>
            </a:prstGeom>
            <a:noFill/>
            <a:ln w="9525" algn="ctr">
              <a:noFill/>
              <a:miter lim="800000"/>
              <a:headEnd/>
              <a:tailEnd/>
            </a:ln>
          </p:spPr>
          <p:txBody>
            <a:bodyPr lIns="109833" tIns="0" rIns="0" bIns="54916" anchor="ctr"/>
            <a:lstStyle/>
            <a:p>
              <a:pPr algn="ctr" defTabSz="822797" fontAlgn="base">
                <a:spcBef>
                  <a:spcPct val="0"/>
                </a:spcBef>
                <a:spcAft>
                  <a:spcPct val="0"/>
                </a:spcAft>
              </a:pPr>
              <a:r>
                <a:rPr lang="en-US" sz="1200">
                  <a:solidFill>
                    <a:srgbClr val="FFFFFF"/>
                  </a:solidFill>
                  <a:cs typeface="Segoe UI" pitchFamily="34" charset="0"/>
                </a:rPr>
                <a:t>Service Model</a:t>
              </a:r>
            </a:p>
          </p:txBody>
        </p:sp>
        <p:sp>
          <p:nvSpPr>
            <p:cNvPr id="17" name="Right Arrow 57"/>
            <p:cNvSpPr>
              <a:spLocks noChangeArrowheads="1"/>
            </p:cNvSpPr>
            <p:nvPr/>
          </p:nvSpPr>
          <p:spPr bwMode="auto">
            <a:xfrm rot="10800000" flipH="1">
              <a:off x="1824" y="1824"/>
              <a:ext cx="1275" cy="1074"/>
            </a:xfrm>
            <a:prstGeom prst="rightArrow">
              <a:avLst>
                <a:gd name="adj1" fmla="val 50000"/>
                <a:gd name="adj2" fmla="val 59358"/>
              </a:avLst>
            </a:prstGeom>
            <a:gradFill rotWithShape="1">
              <a:gsLst>
                <a:gs pos="0">
                  <a:schemeClr val="bg1">
                    <a:gamma/>
                    <a:tint val="0"/>
                    <a:invGamma/>
                    <a:alpha val="0"/>
                  </a:schemeClr>
                </a:gs>
                <a:gs pos="100000">
                  <a:schemeClr val="bg1">
                    <a:alpha val="50000"/>
                  </a:schemeClr>
                </a:gs>
              </a:gsLst>
              <a:lin ang="0" scaled="1"/>
            </a:gradFill>
            <a:ln w="9525" algn="ctr">
              <a:noFill/>
              <a:miter lim="800000"/>
              <a:headEnd/>
              <a:tailEnd/>
            </a:ln>
            <a:effectLst/>
          </p:spPr>
          <p:txBody>
            <a:bodyPr rot="10800000" lIns="109833" tIns="0" rIns="0" bIns="54916" anchor="ctr"/>
            <a:lstStyle/>
            <a:p>
              <a:pPr defTabSz="822797" fontAlgn="base">
                <a:spcBef>
                  <a:spcPct val="0"/>
                </a:spcBef>
                <a:spcAft>
                  <a:spcPct val="0"/>
                </a:spcAft>
                <a:defRPr/>
              </a:pPr>
              <a:endParaRPr lang="en-US" sz="1200" b="1">
                <a:solidFill>
                  <a:prstClr val="black"/>
                </a:solidFill>
                <a:cs typeface="Segoe UI" pitchFamily="34" charset="0"/>
              </a:endParaRPr>
            </a:p>
          </p:txBody>
        </p:sp>
        <p:sp>
          <p:nvSpPr>
            <p:cNvPr id="18" name="Freeform 262"/>
            <p:cNvSpPr>
              <a:spLocks/>
            </p:cNvSpPr>
            <p:nvPr/>
          </p:nvSpPr>
          <p:spPr bwMode="gray">
            <a:xfrm>
              <a:off x="2683" y="2269"/>
              <a:ext cx="196" cy="184"/>
            </a:xfrm>
            <a:custGeom>
              <a:avLst/>
              <a:gdLst>
                <a:gd name="T0" fmla="*/ 202954 w 210"/>
                <a:gd name="T1" fmla="*/ 2670 h 206"/>
                <a:gd name="T2" fmla="*/ 5799 w 210"/>
                <a:gd name="T3" fmla="*/ 136164 h 206"/>
                <a:gd name="T4" fmla="*/ 0 w 210"/>
                <a:gd name="T5" fmla="*/ 138835 h 206"/>
                <a:gd name="T6" fmla="*/ 5799 w 210"/>
                <a:gd name="T7" fmla="*/ 141505 h 206"/>
                <a:gd name="T8" fmla="*/ 295734 w 210"/>
                <a:gd name="T9" fmla="*/ 224272 h 206"/>
                <a:gd name="T10" fmla="*/ 301533 w 210"/>
                <a:gd name="T11" fmla="*/ 226942 h 206"/>
                <a:gd name="T12" fmla="*/ 298633 w 210"/>
                <a:gd name="T13" fmla="*/ 221601 h 206"/>
                <a:gd name="T14" fmla="*/ 205854 w 210"/>
                <a:gd name="T15" fmla="*/ 8009 h 206"/>
                <a:gd name="T16" fmla="*/ 202954 w 210"/>
                <a:gd name="T17" fmla="*/ 0 h 206"/>
                <a:gd name="T18" fmla="*/ 202954 w 210"/>
                <a:gd name="T19" fmla="*/ 8009 h 206"/>
                <a:gd name="T20" fmla="*/ 165263 w 210"/>
                <a:gd name="T21" fmla="*/ 130825 h 206"/>
                <a:gd name="T22" fmla="*/ 168162 w 210"/>
                <a:gd name="T23" fmla="*/ 133495 h 206"/>
                <a:gd name="T24" fmla="*/ 295734 w 210"/>
                <a:gd name="T25" fmla="*/ 218931 h 206"/>
                <a:gd name="T26" fmla="*/ 298633 w 210"/>
                <a:gd name="T27" fmla="*/ 216262 h 206"/>
                <a:gd name="T28" fmla="*/ 84081 w 210"/>
                <a:gd name="T29" fmla="*/ 269660 h 206"/>
                <a:gd name="T30" fmla="*/ 89880 w 210"/>
                <a:gd name="T31" fmla="*/ 272330 h 206"/>
                <a:gd name="T32" fmla="*/ 8698 w 210"/>
                <a:gd name="T33" fmla="*/ 136164 h 206"/>
                <a:gd name="T34" fmla="*/ 5799 w 210"/>
                <a:gd name="T35" fmla="*/ 141505 h 206"/>
                <a:gd name="T36" fmla="*/ 168162 w 210"/>
                <a:gd name="T37" fmla="*/ 130825 h 206"/>
                <a:gd name="T38" fmla="*/ 165263 w 210"/>
                <a:gd name="T39" fmla="*/ 128155 h 206"/>
                <a:gd name="T40" fmla="*/ 86980 w 210"/>
                <a:gd name="T41" fmla="*/ 266990 h 206"/>
                <a:gd name="T42" fmla="*/ 92779 w 210"/>
                <a:gd name="T43" fmla="*/ 269660 h 206"/>
                <a:gd name="T44" fmla="*/ 171061 w 210"/>
                <a:gd name="T45" fmla="*/ 128155 h 206"/>
                <a:gd name="T46" fmla="*/ 173961 w 210"/>
                <a:gd name="T47" fmla="*/ 125485 h 206"/>
                <a:gd name="T48" fmla="*/ 168162 w 210"/>
                <a:gd name="T49" fmla="*/ 125485 h 206"/>
                <a:gd name="T50" fmla="*/ 5799 w 210"/>
                <a:gd name="T51" fmla="*/ 136164 h 206"/>
                <a:gd name="T52" fmla="*/ 2899 w 210"/>
                <a:gd name="T53" fmla="*/ 136164 h 206"/>
                <a:gd name="T54" fmla="*/ 2899 w 210"/>
                <a:gd name="T55" fmla="*/ 138835 h 206"/>
                <a:gd name="T56" fmla="*/ 84081 w 210"/>
                <a:gd name="T57" fmla="*/ 275000 h 206"/>
                <a:gd name="T58" fmla="*/ 86980 w 210"/>
                <a:gd name="T59" fmla="*/ 275000 h 206"/>
                <a:gd name="T60" fmla="*/ 298633 w 210"/>
                <a:gd name="T61" fmla="*/ 221601 h 206"/>
                <a:gd name="T62" fmla="*/ 304432 w 210"/>
                <a:gd name="T63" fmla="*/ 218931 h 206"/>
                <a:gd name="T64" fmla="*/ 298633 w 210"/>
                <a:gd name="T65" fmla="*/ 216262 h 206"/>
                <a:gd name="T66" fmla="*/ 171061 w 210"/>
                <a:gd name="T67" fmla="*/ 128155 h 206"/>
                <a:gd name="T68" fmla="*/ 171061 w 210"/>
                <a:gd name="T69" fmla="*/ 130825 h 206"/>
                <a:gd name="T70" fmla="*/ 208753 w 210"/>
                <a:gd name="T71" fmla="*/ 8009 h 206"/>
                <a:gd name="T72" fmla="*/ 202954 w 210"/>
                <a:gd name="T73" fmla="*/ 8009 h 206"/>
                <a:gd name="T74" fmla="*/ 292834 w 210"/>
                <a:gd name="T75" fmla="*/ 224272 h 206"/>
                <a:gd name="T76" fmla="*/ 295734 w 210"/>
                <a:gd name="T77" fmla="*/ 218931 h 206"/>
                <a:gd name="T78" fmla="*/ 5799 w 210"/>
                <a:gd name="T79" fmla="*/ 136164 h 206"/>
                <a:gd name="T80" fmla="*/ 8698 w 210"/>
                <a:gd name="T81" fmla="*/ 141505 h 206"/>
                <a:gd name="T82" fmla="*/ 205854 w 210"/>
                <a:gd name="T83" fmla="*/ 5340 h 206"/>
                <a:gd name="T84" fmla="*/ 202954 w 210"/>
                <a:gd name="T85" fmla="*/ 2670 h 20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10"/>
                <a:gd name="T130" fmla="*/ 0 h 206"/>
                <a:gd name="T131" fmla="*/ 210 w 210"/>
                <a:gd name="T132" fmla="*/ 206 h 20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10" h="206">
                  <a:moveTo>
                    <a:pt x="140" y="2"/>
                  </a:moveTo>
                  <a:lnTo>
                    <a:pt x="4" y="102"/>
                  </a:lnTo>
                  <a:lnTo>
                    <a:pt x="0" y="104"/>
                  </a:lnTo>
                  <a:lnTo>
                    <a:pt x="4" y="106"/>
                  </a:lnTo>
                  <a:lnTo>
                    <a:pt x="204" y="168"/>
                  </a:lnTo>
                  <a:lnTo>
                    <a:pt x="208" y="170"/>
                  </a:lnTo>
                  <a:lnTo>
                    <a:pt x="206" y="166"/>
                  </a:lnTo>
                  <a:lnTo>
                    <a:pt x="142" y="6"/>
                  </a:lnTo>
                  <a:lnTo>
                    <a:pt x="140" y="0"/>
                  </a:lnTo>
                  <a:lnTo>
                    <a:pt x="140" y="6"/>
                  </a:lnTo>
                  <a:lnTo>
                    <a:pt x="114" y="98"/>
                  </a:lnTo>
                  <a:lnTo>
                    <a:pt x="116" y="100"/>
                  </a:lnTo>
                  <a:lnTo>
                    <a:pt x="204" y="164"/>
                  </a:lnTo>
                  <a:lnTo>
                    <a:pt x="206" y="162"/>
                  </a:lnTo>
                  <a:lnTo>
                    <a:pt x="58" y="202"/>
                  </a:lnTo>
                  <a:lnTo>
                    <a:pt x="62" y="204"/>
                  </a:lnTo>
                  <a:lnTo>
                    <a:pt x="6" y="102"/>
                  </a:lnTo>
                  <a:lnTo>
                    <a:pt x="4" y="106"/>
                  </a:lnTo>
                  <a:lnTo>
                    <a:pt x="116" y="98"/>
                  </a:lnTo>
                  <a:lnTo>
                    <a:pt x="114" y="96"/>
                  </a:lnTo>
                  <a:lnTo>
                    <a:pt x="60" y="200"/>
                  </a:lnTo>
                  <a:lnTo>
                    <a:pt x="64" y="202"/>
                  </a:lnTo>
                  <a:lnTo>
                    <a:pt x="118" y="96"/>
                  </a:lnTo>
                  <a:lnTo>
                    <a:pt x="120" y="94"/>
                  </a:lnTo>
                  <a:lnTo>
                    <a:pt x="116" y="94"/>
                  </a:lnTo>
                  <a:lnTo>
                    <a:pt x="4" y="102"/>
                  </a:lnTo>
                  <a:lnTo>
                    <a:pt x="2" y="102"/>
                  </a:lnTo>
                  <a:lnTo>
                    <a:pt x="2" y="104"/>
                  </a:lnTo>
                  <a:lnTo>
                    <a:pt x="58" y="206"/>
                  </a:lnTo>
                  <a:lnTo>
                    <a:pt x="60" y="206"/>
                  </a:lnTo>
                  <a:lnTo>
                    <a:pt x="206" y="166"/>
                  </a:lnTo>
                  <a:lnTo>
                    <a:pt x="210" y="164"/>
                  </a:lnTo>
                  <a:lnTo>
                    <a:pt x="206" y="162"/>
                  </a:lnTo>
                  <a:lnTo>
                    <a:pt x="118" y="96"/>
                  </a:lnTo>
                  <a:lnTo>
                    <a:pt x="118" y="98"/>
                  </a:lnTo>
                  <a:lnTo>
                    <a:pt x="144" y="6"/>
                  </a:lnTo>
                  <a:lnTo>
                    <a:pt x="140" y="6"/>
                  </a:lnTo>
                  <a:lnTo>
                    <a:pt x="202" y="168"/>
                  </a:lnTo>
                  <a:lnTo>
                    <a:pt x="204" y="164"/>
                  </a:lnTo>
                  <a:lnTo>
                    <a:pt x="4" y="102"/>
                  </a:lnTo>
                  <a:lnTo>
                    <a:pt x="6" y="106"/>
                  </a:lnTo>
                  <a:lnTo>
                    <a:pt x="142" y="4"/>
                  </a:lnTo>
                  <a:lnTo>
                    <a:pt x="140" y="2"/>
                  </a:lnTo>
                  <a:close/>
                </a:path>
              </a:pathLst>
            </a:custGeom>
            <a:solidFill>
              <a:schemeClr val="bg1"/>
            </a:solidFill>
            <a:ln w="9525">
              <a:noFill/>
              <a:miter lim="800000"/>
              <a:headEnd/>
              <a:tailEnd/>
            </a:ln>
          </p:spPr>
          <p:txBody>
            <a:bodyPr anchor="ctr"/>
            <a:lstStyle/>
            <a:p>
              <a:pPr defTabSz="684673" fontAlgn="base">
                <a:spcBef>
                  <a:spcPct val="0"/>
                </a:spcBef>
                <a:spcAft>
                  <a:spcPct val="0"/>
                </a:spcAft>
              </a:pPr>
              <a:endParaRPr lang="en-US">
                <a:solidFill>
                  <a:srgbClr val="FFFFFF"/>
                </a:solidFill>
                <a:cs typeface="Arial" charset="0"/>
              </a:endParaRPr>
            </a:p>
          </p:txBody>
        </p:sp>
      </p:grpSp>
      <p:grpSp>
        <p:nvGrpSpPr>
          <p:cNvPr id="19" name="Group 6"/>
          <p:cNvGrpSpPr>
            <a:grpSpLocks/>
          </p:cNvGrpSpPr>
          <p:nvPr/>
        </p:nvGrpSpPr>
        <p:grpSpPr bwMode="auto">
          <a:xfrm>
            <a:off x="8346074" y="2228851"/>
            <a:ext cx="601423" cy="1521619"/>
            <a:chOff x="6518" y="1519"/>
            <a:chExt cx="976" cy="2465"/>
          </a:xfrm>
        </p:grpSpPr>
        <p:pic>
          <p:nvPicPr>
            <p:cNvPr id="20" name="Picture 5" descr="\\192.168.10.9\Shared\Design\Microsoft Events Presentation Resource DVD\DVD_ART36\Artwork_Imagery\Icons - Illustrations\People\White silhouettes\man person.png"/>
            <p:cNvPicPr>
              <a:picLocks noChangeAspect="1" noChangeArrowheads="1"/>
            </p:cNvPicPr>
            <p:nvPr/>
          </p:nvPicPr>
          <p:blipFill>
            <a:blip r:embed="rId3" cstate="print"/>
            <a:srcRect/>
            <a:stretch>
              <a:fillRect/>
            </a:stretch>
          </p:blipFill>
          <p:spPr bwMode="auto">
            <a:xfrm>
              <a:off x="6518" y="1519"/>
              <a:ext cx="976" cy="2279"/>
            </a:xfrm>
            <a:prstGeom prst="rect">
              <a:avLst/>
            </a:prstGeom>
            <a:noFill/>
            <a:ln w="9525">
              <a:noFill/>
              <a:miter lim="800000"/>
              <a:headEnd/>
              <a:tailEnd/>
            </a:ln>
          </p:spPr>
        </p:pic>
        <p:sp>
          <p:nvSpPr>
            <p:cNvPr id="21" name="Oval 8"/>
            <p:cNvSpPr>
              <a:spLocks noChangeArrowheads="1"/>
            </p:cNvSpPr>
            <p:nvPr/>
          </p:nvSpPr>
          <p:spPr bwMode="auto">
            <a:xfrm>
              <a:off x="6623" y="3168"/>
              <a:ext cx="816" cy="816"/>
            </a:xfrm>
            <a:prstGeom prst="ellipse">
              <a:avLst/>
            </a:prstGeom>
            <a:solidFill>
              <a:srgbClr val="3F7C37">
                <a:alpha val="89803"/>
              </a:srgbClr>
            </a:solidFill>
            <a:ln w="9525">
              <a:noFill/>
              <a:round/>
              <a:headEnd/>
              <a:tailEnd/>
            </a:ln>
          </p:spPr>
          <p:txBody>
            <a:bodyPr lIns="0" rIns="0" anchor="ctr"/>
            <a:lstStyle/>
            <a:p>
              <a:pPr algn="ctr" defTabSz="685862" fontAlgn="base">
                <a:spcBef>
                  <a:spcPct val="0"/>
                </a:spcBef>
                <a:spcAft>
                  <a:spcPct val="0"/>
                </a:spcAft>
              </a:pPr>
              <a:r>
                <a:rPr lang="en-US" sz="800">
                  <a:solidFill>
                    <a:srgbClr val="FFFFFF"/>
                  </a:solidFill>
                  <a:cs typeface="Segoe UI" pitchFamily="34" charset="0"/>
                </a:rPr>
                <a:t>DC Admin</a:t>
              </a:r>
            </a:p>
          </p:txBody>
        </p:sp>
      </p:grpSp>
      <p:grpSp>
        <p:nvGrpSpPr>
          <p:cNvPr id="22" name="Group 53"/>
          <p:cNvGrpSpPr>
            <a:grpSpLocks/>
          </p:cNvGrpSpPr>
          <p:nvPr/>
        </p:nvGrpSpPr>
        <p:grpSpPr bwMode="auto">
          <a:xfrm>
            <a:off x="5086484" y="3450431"/>
            <a:ext cx="1909069" cy="1234440"/>
            <a:chOff x="4271" y="2496"/>
            <a:chExt cx="1603" cy="1349"/>
          </a:xfrm>
        </p:grpSpPr>
        <p:sp>
          <p:nvSpPr>
            <p:cNvPr id="23" name="Right Arrow 22"/>
            <p:cNvSpPr>
              <a:spLocks noChangeArrowheads="1"/>
            </p:cNvSpPr>
            <p:nvPr/>
          </p:nvSpPr>
          <p:spPr bwMode="auto">
            <a:xfrm flipH="1">
              <a:off x="4271" y="2496"/>
              <a:ext cx="1603" cy="1349"/>
            </a:xfrm>
            <a:prstGeom prst="rightArrow">
              <a:avLst>
                <a:gd name="adj1" fmla="val 50000"/>
                <a:gd name="adj2" fmla="val 59414"/>
              </a:avLst>
            </a:prstGeom>
            <a:gradFill rotWithShape="1">
              <a:gsLst>
                <a:gs pos="0">
                  <a:schemeClr val="bg1">
                    <a:gamma/>
                    <a:tint val="0"/>
                    <a:invGamma/>
                    <a:alpha val="0"/>
                  </a:schemeClr>
                </a:gs>
                <a:gs pos="100000">
                  <a:schemeClr val="bg1">
                    <a:alpha val="50000"/>
                  </a:schemeClr>
                </a:gs>
              </a:gsLst>
              <a:lin ang="0" scaled="1"/>
            </a:gradFill>
            <a:ln w="9525" algn="ctr">
              <a:noFill/>
              <a:miter lim="800000"/>
              <a:headEnd/>
              <a:tailEnd/>
            </a:ln>
            <a:effectLst/>
          </p:spPr>
          <p:txBody>
            <a:bodyPr lIns="109833" tIns="0" rIns="0" bIns="54916" anchor="ctr"/>
            <a:lstStyle/>
            <a:p>
              <a:pPr defTabSz="822797" fontAlgn="base">
                <a:spcBef>
                  <a:spcPct val="0"/>
                </a:spcBef>
                <a:spcAft>
                  <a:spcPct val="0"/>
                </a:spcAft>
                <a:defRPr/>
              </a:pPr>
              <a:endParaRPr lang="en-US" sz="1200" b="1">
                <a:solidFill>
                  <a:prstClr val="black"/>
                </a:solidFill>
                <a:cs typeface="Segoe UI" pitchFamily="34" charset="0"/>
              </a:endParaRPr>
            </a:p>
          </p:txBody>
        </p:sp>
        <p:sp>
          <p:nvSpPr>
            <p:cNvPr id="24" name="Text Box 56"/>
            <p:cNvSpPr txBox="1">
              <a:spLocks noChangeArrowheads="1"/>
            </p:cNvSpPr>
            <p:nvPr/>
          </p:nvSpPr>
          <p:spPr bwMode="auto">
            <a:xfrm>
              <a:off x="4705" y="3240"/>
              <a:ext cx="878" cy="147"/>
            </a:xfrm>
            <a:prstGeom prst="rect">
              <a:avLst/>
            </a:prstGeom>
            <a:noFill/>
            <a:ln w="9525" algn="ctr">
              <a:noFill/>
              <a:miter lim="800000"/>
              <a:headEnd/>
              <a:tailEnd/>
            </a:ln>
          </p:spPr>
          <p:txBody>
            <a:bodyPr lIns="109833" tIns="0" rIns="0" bIns="54916" anchor="ctr"/>
            <a:lstStyle/>
            <a:p>
              <a:pPr algn="ctr" defTabSz="822797" fontAlgn="base">
                <a:spcBef>
                  <a:spcPct val="0"/>
                </a:spcBef>
                <a:spcAft>
                  <a:spcPct val="0"/>
                </a:spcAft>
              </a:pPr>
              <a:r>
                <a:rPr lang="en-US" sz="1100" dirty="0">
                  <a:solidFill>
                    <a:srgbClr val="FFFFFF"/>
                  </a:solidFill>
                  <a:cs typeface="Segoe UI" pitchFamily="34" charset="0"/>
                </a:rPr>
                <a:t>Operate</a:t>
              </a:r>
            </a:p>
          </p:txBody>
        </p:sp>
        <p:sp>
          <p:nvSpPr>
            <p:cNvPr id="25" name="Text Box 57"/>
            <p:cNvSpPr txBox="1">
              <a:spLocks noChangeArrowheads="1"/>
            </p:cNvSpPr>
            <p:nvPr/>
          </p:nvSpPr>
          <p:spPr bwMode="auto">
            <a:xfrm>
              <a:off x="4705" y="2978"/>
              <a:ext cx="878" cy="148"/>
            </a:xfrm>
            <a:prstGeom prst="rect">
              <a:avLst/>
            </a:prstGeom>
            <a:noFill/>
            <a:ln w="9525" algn="ctr">
              <a:noFill/>
              <a:miter lim="800000"/>
              <a:headEnd/>
              <a:tailEnd/>
            </a:ln>
          </p:spPr>
          <p:txBody>
            <a:bodyPr lIns="109833" tIns="0" rIns="0" bIns="54916" anchor="ctr"/>
            <a:lstStyle/>
            <a:p>
              <a:pPr algn="ctr" defTabSz="822797" fontAlgn="base">
                <a:spcBef>
                  <a:spcPct val="0"/>
                </a:spcBef>
                <a:spcAft>
                  <a:spcPct val="0"/>
                </a:spcAft>
              </a:pPr>
              <a:r>
                <a:rPr lang="en-US" sz="1100" dirty="0">
                  <a:solidFill>
                    <a:srgbClr val="FFFFFF"/>
                  </a:solidFill>
                  <a:cs typeface="Segoe UI" pitchFamily="34" charset="0"/>
                </a:rPr>
                <a:t>Monitor</a:t>
              </a:r>
            </a:p>
          </p:txBody>
        </p:sp>
      </p:grpSp>
      <p:grpSp>
        <p:nvGrpSpPr>
          <p:cNvPr id="26" name="Group 84"/>
          <p:cNvGrpSpPr>
            <a:grpSpLocks/>
          </p:cNvGrpSpPr>
          <p:nvPr/>
        </p:nvGrpSpPr>
        <p:grpSpPr bwMode="auto">
          <a:xfrm>
            <a:off x="7086065" y="1200151"/>
            <a:ext cx="1038495" cy="3380185"/>
            <a:chOff x="6114" y="624"/>
            <a:chExt cx="989" cy="3223"/>
          </a:xfrm>
        </p:grpSpPr>
        <p:sp>
          <p:nvSpPr>
            <p:cNvPr id="27" name="Rectangle 26"/>
            <p:cNvSpPr/>
            <p:nvPr/>
          </p:nvSpPr>
          <p:spPr>
            <a:xfrm>
              <a:off x="6280" y="2899"/>
              <a:ext cx="658" cy="188"/>
            </a:xfrm>
            <a:prstGeom prst="rect">
              <a:avLst/>
            </a:prstGeom>
            <a:noFill/>
            <a:ln w="3175" cap="flat" cmpd="sng" algn="ctr">
              <a:noFill/>
              <a:prstDash val="solid"/>
            </a:ln>
            <a:effectLst/>
          </p:spPr>
          <p:txBody>
            <a:bodyPr lIns="121899" tIns="60949" rIns="121899" bIns="60949" anchor="b"/>
            <a:lstStyle/>
            <a:p>
              <a:pPr algn="ctr" fontAlgn="base">
                <a:spcBef>
                  <a:spcPct val="0"/>
                </a:spcBef>
                <a:spcAft>
                  <a:spcPct val="0"/>
                </a:spcAft>
                <a:defRPr/>
              </a:pPr>
              <a:r>
                <a:rPr lang="en-US" sz="900" kern="0" dirty="0">
                  <a:solidFill>
                    <a:srgbClr val="FFFFFF">
                      <a:alpha val="99000"/>
                    </a:srgbClr>
                  </a:solidFill>
                  <a:cs typeface="Arial" charset="0"/>
                </a:rPr>
                <a:t>Virtual</a:t>
              </a:r>
            </a:p>
          </p:txBody>
        </p:sp>
        <p:sp>
          <p:nvSpPr>
            <p:cNvPr id="28" name="Rectangle 27"/>
            <p:cNvSpPr/>
            <p:nvPr/>
          </p:nvSpPr>
          <p:spPr>
            <a:xfrm>
              <a:off x="6278" y="3676"/>
              <a:ext cx="661" cy="171"/>
            </a:xfrm>
            <a:prstGeom prst="rect">
              <a:avLst/>
            </a:prstGeom>
            <a:noFill/>
            <a:ln w="3175" cap="flat" cmpd="sng" algn="ctr">
              <a:noFill/>
              <a:prstDash val="solid"/>
            </a:ln>
            <a:effectLst/>
          </p:spPr>
          <p:txBody>
            <a:bodyPr lIns="121899" tIns="60949" rIns="121899" bIns="60949" anchor="b"/>
            <a:lstStyle/>
            <a:p>
              <a:pPr algn="ctr" fontAlgn="base">
                <a:spcBef>
                  <a:spcPct val="0"/>
                </a:spcBef>
                <a:spcAft>
                  <a:spcPct val="0"/>
                </a:spcAft>
                <a:defRPr/>
              </a:pPr>
              <a:r>
                <a:rPr lang="en-US" sz="900" kern="0" dirty="0">
                  <a:solidFill>
                    <a:srgbClr val="FFFFFF">
                      <a:alpha val="99000"/>
                    </a:srgbClr>
                  </a:solidFill>
                  <a:cs typeface="Arial" charset="0"/>
                </a:rPr>
                <a:t>Physical</a:t>
              </a:r>
            </a:p>
          </p:txBody>
        </p:sp>
        <p:pic>
          <p:nvPicPr>
            <p:cNvPr id="29" name="Picture 140"/>
            <p:cNvPicPr>
              <a:picLocks noChangeAspect="1"/>
            </p:cNvPicPr>
            <p:nvPr/>
          </p:nvPicPr>
          <p:blipFill>
            <a:blip r:embed="rId4" cstate="print"/>
            <a:srcRect/>
            <a:stretch>
              <a:fillRect/>
            </a:stretch>
          </p:blipFill>
          <p:spPr bwMode="auto">
            <a:xfrm>
              <a:off x="6291" y="2369"/>
              <a:ext cx="635" cy="675"/>
            </a:xfrm>
            <a:prstGeom prst="rect">
              <a:avLst/>
            </a:prstGeom>
            <a:noFill/>
            <a:ln w="9525">
              <a:noFill/>
              <a:miter lim="800000"/>
              <a:headEnd/>
              <a:tailEnd/>
            </a:ln>
          </p:spPr>
        </p:pic>
        <p:pic>
          <p:nvPicPr>
            <p:cNvPr id="30" name="Picture 2"/>
            <p:cNvPicPr>
              <a:picLocks noChangeAspect="1" noChangeArrowheads="1"/>
            </p:cNvPicPr>
            <p:nvPr/>
          </p:nvPicPr>
          <p:blipFill>
            <a:blip r:embed="rId5" cstate="print"/>
            <a:srcRect/>
            <a:stretch>
              <a:fillRect/>
            </a:stretch>
          </p:blipFill>
          <p:spPr bwMode="auto">
            <a:xfrm>
              <a:off x="6411" y="3199"/>
              <a:ext cx="395" cy="545"/>
            </a:xfrm>
            <a:prstGeom prst="rect">
              <a:avLst/>
            </a:prstGeom>
            <a:noFill/>
            <a:ln w="9525">
              <a:noFill/>
              <a:miter lim="800000"/>
              <a:headEnd/>
              <a:tailEnd/>
            </a:ln>
          </p:spPr>
        </p:pic>
        <p:sp>
          <p:nvSpPr>
            <p:cNvPr id="31" name="Rectangle 30"/>
            <p:cNvSpPr/>
            <p:nvPr/>
          </p:nvSpPr>
          <p:spPr>
            <a:xfrm>
              <a:off x="6114" y="1257"/>
              <a:ext cx="989" cy="173"/>
            </a:xfrm>
            <a:prstGeom prst="rect">
              <a:avLst/>
            </a:prstGeom>
            <a:noFill/>
            <a:ln w="3175" cap="flat" cmpd="sng" algn="ctr">
              <a:noFill/>
              <a:prstDash val="solid"/>
            </a:ln>
            <a:effectLst/>
          </p:spPr>
          <p:txBody>
            <a:bodyPr lIns="0" tIns="60949" rIns="0" bIns="60949" anchor="b"/>
            <a:lstStyle>
              <a:defPPr>
                <a:defRPr lang="en-US"/>
              </a:defPPr>
              <a:lvl1pPr algn="l" rtl="0" fontAlgn="base">
                <a:spcBef>
                  <a:spcPct val="0"/>
                </a:spcBef>
                <a:spcAft>
                  <a:spcPct val="0"/>
                </a:spcAft>
                <a:defRPr kern="1200">
                  <a:solidFill>
                    <a:schemeClr val="tx1"/>
                  </a:solidFill>
                  <a:latin typeface="Segoe UI" pitchFamily="34" charset="0"/>
                  <a:ea typeface="+mn-ea"/>
                  <a:cs typeface="Segoe UI" pitchFamily="34" charset="0"/>
                </a:defRPr>
              </a:lvl1pPr>
              <a:lvl2pPr marL="457200" algn="l" rtl="0" fontAlgn="base">
                <a:spcBef>
                  <a:spcPct val="0"/>
                </a:spcBef>
                <a:spcAft>
                  <a:spcPct val="0"/>
                </a:spcAft>
                <a:defRPr kern="1200">
                  <a:solidFill>
                    <a:schemeClr val="tx1"/>
                  </a:solidFill>
                  <a:latin typeface="Segoe UI" pitchFamily="34" charset="0"/>
                  <a:ea typeface="+mn-ea"/>
                  <a:cs typeface="Segoe UI" pitchFamily="34" charset="0"/>
                </a:defRPr>
              </a:lvl2pPr>
              <a:lvl3pPr marL="914400" algn="l" rtl="0" fontAlgn="base">
                <a:spcBef>
                  <a:spcPct val="0"/>
                </a:spcBef>
                <a:spcAft>
                  <a:spcPct val="0"/>
                </a:spcAft>
                <a:defRPr kern="1200">
                  <a:solidFill>
                    <a:schemeClr val="tx1"/>
                  </a:solidFill>
                  <a:latin typeface="Segoe UI" pitchFamily="34" charset="0"/>
                  <a:ea typeface="+mn-ea"/>
                  <a:cs typeface="Segoe UI" pitchFamily="34" charset="0"/>
                </a:defRPr>
              </a:lvl3pPr>
              <a:lvl4pPr marL="1371600" algn="l" rtl="0" fontAlgn="base">
                <a:spcBef>
                  <a:spcPct val="0"/>
                </a:spcBef>
                <a:spcAft>
                  <a:spcPct val="0"/>
                </a:spcAft>
                <a:defRPr kern="1200">
                  <a:solidFill>
                    <a:schemeClr val="tx1"/>
                  </a:solidFill>
                  <a:latin typeface="Segoe UI" pitchFamily="34" charset="0"/>
                  <a:ea typeface="+mn-ea"/>
                  <a:cs typeface="Segoe UI" pitchFamily="34" charset="0"/>
                </a:defRPr>
              </a:lvl4pPr>
              <a:lvl5pPr marL="1828800" algn="l" rtl="0" fontAlgn="base">
                <a:spcBef>
                  <a:spcPct val="0"/>
                </a:spcBef>
                <a:spcAft>
                  <a:spcPct val="0"/>
                </a:spcAft>
                <a:defRPr kern="1200">
                  <a:solidFill>
                    <a:schemeClr val="tx1"/>
                  </a:solidFill>
                  <a:latin typeface="Segoe UI" pitchFamily="34" charset="0"/>
                  <a:ea typeface="+mn-ea"/>
                  <a:cs typeface="Segoe UI" pitchFamily="34" charset="0"/>
                </a:defRPr>
              </a:lvl5pPr>
              <a:lvl6pPr marL="2286000" algn="l" defTabSz="914400" rtl="0" eaLnBrk="1" latinLnBrk="0" hangingPunct="1">
                <a:defRPr kern="1200">
                  <a:solidFill>
                    <a:schemeClr val="tx1"/>
                  </a:solidFill>
                  <a:latin typeface="Segoe UI" pitchFamily="34" charset="0"/>
                  <a:ea typeface="+mn-ea"/>
                  <a:cs typeface="Segoe UI" pitchFamily="34" charset="0"/>
                </a:defRPr>
              </a:lvl6pPr>
              <a:lvl7pPr marL="2743200" algn="l" defTabSz="914400" rtl="0" eaLnBrk="1" latinLnBrk="0" hangingPunct="1">
                <a:defRPr kern="1200">
                  <a:solidFill>
                    <a:schemeClr val="tx1"/>
                  </a:solidFill>
                  <a:latin typeface="Segoe UI" pitchFamily="34" charset="0"/>
                  <a:ea typeface="+mn-ea"/>
                  <a:cs typeface="Segoe UI" pitchFamily="34" charset="0"/>
                </a:defRPr>
              </a:lvl7pPr>
              <a:lvl8pPr marL="3200400" algn="l" defTabSz="914400" rtl="0" eaLnBrk="1" latinLnBrk="0" hangingPunct="1">
                <a:defRPr kern="1200">
                  <a:solidFill>
                    <a:schemeClr val="tx1"/>
                  </a:solidFill>
                  <a:latin typeface="Segoe UI" pitchFamily="34" charset="0"/>
                  <a:ea typeface="+mn-ea"/>
                  <a:cs typeface="Segoe UI" pitchFamily="34" charset="0"/>
                </a:defRPr>
              </a:lvl8pPr>
              <a:lvl9pPr marL="3657600" algn="l" defTabSz="914400" rtl="0" eaLnBrk="1" latinLnBrk="0" hangingPunct="1">
                <a:defRPr kern="1200">
                  <a:solidFill>
                    <a:schemeClr val="tx1"/>
                  </a:solidFill>
                  <a:latin typeface="Segoe UI" pitchFamily="34" charset="0"/>
                  <a:ea typeface="+mn-ea"/>
                  <a:cs typeface="Segoe UI" pitchFamily="34" charset="0"/>
                </a:defRPr>
              </a:lvl9pPr>
            </a:lstStyle>
            <a:p>
              <a:pPr algn="ctr">
                <a:defRPr/>
              </a:pPr>
              <a:r>
                <a:rPr lang="en-US" sz="900" kern="0" dirty="0">
                  <a:solidFill>
                    <a:srgbClr val="FFFFFF">
                      <a:alpha val="99000"/>
                    </a:srgbClr>
                  </a:solidFill>
                  <a:latin typeface="Segoe UI"/>
                  <a:cs typeface="Arial" charset="0"/>
                </a:rPr>
                <a:t>Public</a:t>
              </a:r>
              <a:r>
                <a:rPr lang="en-US" sz="1100" kern="0" dirty="0">
                  <a:solidFill>
                    <a:srgbClr val="FFFFFF">
                      <a:alpha val="99000"/>
                    </a:srgbClr>
                  </a:solidFill>
                  <a:latin typeface="Segoe UI"/>
                  <a:cs typeface="Arial" charset="0"/>
                </a:rPr>
                <a:t> </a:t>
              </a:r>
              <a:r>
                <a:rPr lang="en-US" sz="900" kern="0" dirty="0">
                  <a:solidFill>
                    <a:srgbClr val="FFFFFF">
                      <a:alpha val="99000"/>
                    </a:srgbClr>
                  </a:solidFill>
                  <a:latin typeface="Segoe UI"/>
                  <a:cs typeface="Arial" charset="0"/>
                </a:rPr>
                <a:t>Cloud</a:t>
              </a:r>
            </a:p>
          </p:txBody>
        </p:sp>
        <p:sp>
          <p:nvSpPr>
            <p:cNvPr id="32" name="Rectangle 31"/>
            <p:cNvSpPr/>
            <p:nvPr/>
          </p:nvSpPr>
          <p:spPr>
            <a:xfrm>
              <a:off x="6223" y="2227"/>
              <a:ext cx="868" cy="141"/>
            </a:xfrm>
            <a:prstGeom prst="rect">
              <a:avLst/>
            </a:prstGeom>
            <a:noFill/>
            <a:ln w="3175" cap="flat" cmpd="sng" algn="ctr">
              <a:noFill/>
              <a:prstDash val="solid"/>
            </a:ln>
            <a:effectLst/>
          </p:spPr>
          <p:txBody>
            <a:bodyPr lIns="121899" tIns="60949" rIns="121899" bIns="60949" anchor="b"/>
            <a:lstStyle>
              <a:defPPr>
                <a:defRPr lang="en-US"/>
              </a:defPPr>
              <a:lvl1pPr algn="l" rtl="0" fontAlgn="base">
                <a:spcBef>
                  <a:spcPct val="0"/>
                </a:spcBef>
                <a:spcAft>
                  <a:spcPct val="0"/>
                </a:spcAft>
                <a:defRPr kern="1200">
                  <a:solidFill>
                    <a:schemeClr val="tx1"/>
                  </a:solidFill>
                  <a:latin typeface="Segoe UI" pitchFamily="34" charset="0"/>
                  <a:ea typeface="+mn-ea"/>
                  <a:cs typeface="Segoe UI" pitchFamily="34" charset="0"/>
                </a:defRPr>
              </a:lvl1pPr>
              <a:lvl2pPr marL="457200" algn="l" rtl="0" fontAlgn="base">
                <a:spcBef>
                  <a:spcPct val="0"/>
                </a:spcBef>
                <a:spcAft>
                  <a:spcPct val="0"/>
                </a:spcAft>
                <a:defRPr kern="1200">
                  <a:solidFill>
                    <a:schemeClr val="tx1"/>
                  </a:solidFill>
                  <a:latin typeface="Segoe UI" pitchFamily="34" charset="0"/>
                  <a:ea typeface="+mn-ea"/>
                  <a:cs typeface="Segoe UI" pitchFamily="34" charset="0"/>
                </a:defRPr>
              </a:lvl2pPr>
              <a:lvl3pPr marL="914400" algn="l" rtl="0" fontAlgn="base">
                <a:spcBef>
                  <a:spcPct val="0"/>
                </a:spcBef>
                <a:spcAft>
                  <a:spcPct val="0"/>
                </a:spcAft>
                <a:defRPr kern="1200">
                  <a:solidFill>
                    <a:schemeClr val="tx1"/>
                  </a:solidFill>
                  <a:latin typeface="Segoe UI" pitchFamily="34" charset="0"/>
                  <a:ea typeface="+mn-ea"/>
                  <a:cs typeface="Segoe UI" pitchFamily="34" charset="0"/>
                </a:defRPr>
              </a:lvl3pPr>
              <a:lvl4pPr marL="1371600" algn="l" rtl="0" fontAlgn="base">
                <a:spcBef>
                  <a:spcPct val="0"/>
                </a:spcBef>
                <a:spcAft>
                  <a:spcPct val="0"/>
                </a:spcAft>
                <a:defRPr kern="1200">
                  <a:solidFill>
                    <a:schemeClr val="tx1"/>
                  </a:solidFill>
                  <a:latin typeface="Segoe UI" pitchFamily="34" charset="0"/>
                  <a:ea typeface="+mn-ea"/>
                  <a:cs typeface="Segoe UI" pitchFamily="34" charset="0"/>
                </a:defRPr>
              </a:lvl4pPr>
              <a:lvl5pPr marL="1828800" algn="l" rtl="0" fontAlgn="base">
                <a:spcBef>
                  <a:spcPct val="0"/>
                </a:spcBef>
                <a:spcAft>
                  <a:spcPct val="0"/>
                </a:spcAft>
                <a:defRPr kern="1200">
                  <a:solidFill>
                    <a:schemeClr val="tx1"/>
                  </a:solidFill>
                  <a:latin typeface="Segoe UI" pitchFamily="34" charset="0"/>
                  <a:ea typeface="+mn-ea"/>
                  <a:cs typeface="Segoe UI" pitchFamily="34" charset="0"/>
                </a:defRPr>
              </a:lvl5pPr>
              <a:lvl6pPr marL="2286000" algn="l" defTabSz="914400" rtl="0" eaLnBrk="1" latinLnBrk="0" hangingPunct="1">
                <a:defRPr kern="1200">
                  <a:solidFill>
                    <a:schemeClr val="tx1"/>
                  </a:solidFill>
                  <a:latin typeface="Segoe UI" pitchFamily="34" charset="0"/>
                  <a:ea typeface="+mn-ea"/>
                  <a:cs typeface="Segoe UI" pitchFamily="34" charset="0"/>
                </a:defRPr>
              </a:lvl6pPr>
              <a:lvl7pPr marL="2743200" algn="l" defTabSz="914400" rtl="0" eaLnBrk="1" latinLnBrk="0" hangingPunct="1">
                <a:defRPr kern="1200">
                  <a:solidFill>
                    <a:schemeClr val="tx1"/>
                  </a:solidFill>
                  <a:latin typeface="Segoe UI" pitchFamily="34" charset="0"/>
                  <a:ea typeface="+mn-ea"/>
                  <a:cs typeface="Segoe UI" pitchFamily="34" charset="0"/>
                </a:defRPr>
              </a:lvl7pPr>
              <a:lvl8pPr marL="3200400" algn="l" defTabSz="914400" rtl="0" eaLnBrk="1" latinLnBrk="0" hangingPunct="1">
                <a:defRPr kern="1200">
                  <a:solidFill>
                    <a:schemeClr val="tx1"/>
                  </a:solidFill>
                  <a:latin typeface="Segoe UI" pitchFamily="34" charset="0"/>
                  <a:ea typeface="+mn-ea"/>
                  <a:cs typeface="Segoe UI" pitchFamily="34" charset="0"/>
                </a:defRPr>
              </a:lvl8pPr>
              <a:lvl9pPr marL="3657600" algn="l" defTabSz="914400" rtl="0" eaLnBrk="1" latinLnBrk="0" hangingPunct="1">
                <a:defRPr kern="1200">
                  <a:solidFill>
                    <a:schemeClr val="tx1"/>
                  </a:solidFill>
                  <a:latin typeface="Segoe UI" pitchFamily="34" charset="0"/>
                  <a:ea typeface="+mn-ea"/>
                  <a:cs typeface="Segoe UI" pitchFamily="34" charset="0"/>
                </a:defRPr>
              </a:lvl9pPr>
            </a:lstStyle>
            <a:p>
              <a:pPr algn="ctr">
                <a:defRPr/>
              </a:pPr>
              <a:r>
                <a:rPr lang="en-US" sz="900" kern="0" dirty="0">
                  <a:solidFill>
                    <a:srgbClr val="FFFFFF">
                      <a:alpha val="99000"/>
                    </a:srgbClr>
                  </a:solidFill>
                  <a:latin typeface="Segoe UI"/>
                  <a:cs typeface="Arial" charset="0"/>
                </a:rPr>
                <a:t>Private Cloud</a:t>
              </a:r>
            </a:p>
          </p:txBody>
        </p:sp>
        <p:pic>
          <p:nvPicPr>
            <p:cNvPr id="33" name="Picture 90"/>
            <p:cNvPicPr>
              <a:picLocks noChangeAspect="1"/>
            </p:cNvPicPr>
            <p:nvPr/>
          </p:nvPicPr>
          <p:blipFill>
            <a:blip r:embed="rId6" cstate="print"/>
            <a:srcRect/>
            <a:stretch>
              <a:fillRect/>
            </a:stretch>
          </p:blipFill>
          <p:spPr bwMode="auto">
            <a:xfrm>
              <a:off x="6255" y="1540"/>
              <a:ext cx="708" cy="720"/>
            </a:xfrm>
            <a:prstGeom prst="rect">
              <a:avLst/>
            </a:prstGeom>
            <a:noFill/>
            <a:ln w="9525">
              <a:noFill/>
              <a:miter lim="800000"/>
              <a:headEnd/>
              <a:tailEnd/>
            </a:ln>
          </p:spPr>
        </p:pic>
        <p:pic>
          <p:nvPicPr>
            <p:cNvPr id="34" name="Picture 91"/>
            <p:cNvPicPr>
              <a:picLocks noChangeAspect="1"/>
            </p:cNvPicPr>
            <p:nvPr/>
          </p:nvPicPr>
          <p:blipFill>
            <a:blip r:embed="rId7" cstate="print"/>
            <a:srcRect/>
            <a:stretch>
              <a:fillRect/>
            </a:stretch>
          </p:blipFill>
          <p:spPr bwMode="auto">
            <a:xfrm>
              <a:off x="6272" y="624"/>
              <a:ext cx="672" cy="682"/>
            </a:xfrm>
            <a:prstGeom prst="rect">
              <a:avLst/>
            </a:prstGeom>
            <a:noFill/>
            <a:ln w="9525">
              <a:noFill/>
              <a:miter lim="800000"/>
              <a:headEnd/>
              <a:tailEnd/>
            </a:ln>
          </p:spPr>
        </p:pic>
      </p:grpSp>
      <p:sp>
        <p:nvSpPr>
          <p:cNvPr id="35" name="TextBox 34"/>
          <p:cNvSpPr txBox="1"/>
          <p:nvPr/>
        </p:nvSpPr>
        <p:spPr>
          <a:xfrm>
            <a:off x="5530227" y="2256422"/>
            <a:ext cx="1422586" cy="207749"/>
          </a:xfrm>
          <a:prstGeom prst="rect">
            <a:avLst/>
          </a:prstGeom>
          <a:noFill/>
        </p:spPr>
        <p:txBody>
          <a:bodyPr wrap="none" lIns="68586" tIns="34294" rIns="68586" bIns="34294">
            <a:spAutoFit/>
          </a:bodyPr>
          <a:lstStyle/>
          <a:p>
            <a:pPr defTabSz="685862" fontAlgn="base">
              <a:spcBef>
                <a:spcPct val="0"/>
              </a:spcBef>
              <a:spcAft>
                <a:spcPct val="0"/>
              </a:spcAft>
              <a:defRPr/>
            </a:pPr>
            <a:r>
              <a:rPr lang="en-US" sz="900" dirty="0">
                <a:solidFill>
                  <a:srgbClr val="EEECE1"/>
                </a:solidFill>
                <a:cs typeface="Segoe UI" pitchFamily="34" charset="0"/>
              </a:rPr>
              <a:t>Virtual Machine Manager</a:t>
            </a:r>
          </a:p>
        </p:txBody>
      </p:sp>
      <p:sp>
        <p:nvSpPr>
          <p:cNvPr id="36" name="TextBox 35"/>
          <p:cNvSpPr txBox="1"/>
          <p:nvPr/>
        </p:nvSpPr>
        <p:spPr>
          <a:xfrm>
            <a:off x="5530227" y="2544077"/>
            <a:ext cx="1185970" cy="207749"/>
          </a:xfrm>
          <a:prstGeom prst="rect">
            <a:avLst/>
          </a:prstGeom>
          <a:noFill/>
        </p:spPr>
        <p:txBody>
          <a:bodyPr wrap="none" lIns="68586" tIns="34294" rIns="68586" bIns="34294">
            <a:spAutoFit/>
          </a:bodyPr>
          <a:lstStyle/>
          <a:p>
            <a:pPr defTabSz="685862" fontAlgn="base">
              <a:spcBef>
                <a:spcPct val="0"/>
              </a:spcBef>
              <a:spcAft>
                <a:spcPct val="0"/>
              </a:spcAft>
              <a:defRPr/>
            </a:pPr>
            <a:r>
              <a:rPr lang="en-US" sz="900" dirty="0">
                <a:solidFill>
                  <a:prstClr val="white">
                    <a:lumMod val="85000"/>
                  </a:prstClr>
                </a:solidFill>
                <a:cs typeface="Segoe UI" pitchFamily="34" charset="0"/>
              </a:rPr>
              <a:t>Operations Manager</a:t>
            </a:r>
          </a:p>
        </p:txBody>
      </p:sp>
      <p:sp>
        <p:nvSpPr>
          <p:cNvPr id="37" name="TextBox 36"/>
          <p:cNvSpPr txBox="1"/>
          <p:nvPr/>
        </p:nvSpPr>
        <p:spPr>
          <a:xfrm>
            <a:off x="1516299" y="1637111"/>
            <a:ext cx="882587" cy="207749"/>
          </a:xfrm>
          <a:prstGeom prst="rect">
            <a:avLst/>
          </a:prstGeom>
          <a:noFill/>
        </p:spPr>
        <p:txBody>
          <a:bodyPr wrap="none" lIns="68586" tIns="34294" rIns="68586" bIns="34294">
            <a:spAutoFit/>
          </a:bodyPr>
          <a:lstStyle/>
          <a:p>
            <a:pPr defTabSz="685862" fontAlgn="base">
              <a:spcBef>
                <a:spcPct val="0"/>
              </a:spcBef>
              <a:spcAft>
                <a:spcPct val="0"/>
              </a:spcAft>
              <a:defRPr/>
            </a:pPr>
            <a:r>
              <a:rPr lang="en-US" sz="900" dirty="0">
                <a:solidFill>
                  <a:prstClr val="white">
                    <a:lumMod val="85000"/>
                  </a:prstClr>
                </a:solidFill>
                <a:cs typeface="Segoe UI" pitchFamily="34" charset="0"/>
              </a:rPr>
              <a:t>App Controller</a:t>
            </a:r>
          </a:p>
        </p:txBody>
      </p:sp>
      <p:sp>
        <p:nvSpPr>
          <p:cNvPr id="38" name="TextBox 37"/>
          <p:cNvSpPr txBox="1"/>
          <p:nvPr/>
        </p:nvSpPr>
        <p:spPr>
          <a:xfrm>
            <a:off x="1528328" y="3603732"/>
            <a:ext cx="986152" cy="207749"/>
          </a:xfrm>
          <a:prstGeom prst="rect">
            <a:avLst/>
          </a:prstGeom>
          <a:noFill/>
        </p:spPr>
        <p:txBody>
          <a:bodyPr wrap="none" lIns="68586" tIns="34294" rIns="68586" bIns="34294">
            <a:spAutoFit/>
          </a:bodyPr>
          <a:lstStyle/>
          <a:p>
            <a:pPr defTabSz="685862" fontAlgn="base">
              <a:spcBef>
                <a:spcPct val="0"/>
              </a:spcBef>
              <a:spcAft>
                <a:spcPct val="0"/>
              </a:spcAft>
              <a:defRPr/>
            </a:pPr>
            <a:r>
              <a:rPr lang="en-US" sz="900" dirty="0">
                <a:solidFill>
                  <a:prstClr val="white">
                    <a:lumMod val="85000"/>
                  </a:prstClr>
                </a:solidFill>
                <a:cs typeface="Segoe UI" pitchFamily="34" charset="0"/>
              </a:rPr>
              <a:t>Service Manager</a:t>
            </a:r>
          </a:p>
        </p:txBody>
      </p:sp>
      <p:sp>
        <p:nvSpPr>
          <p:cNvPr id="39" name="TextBox 38"/>
          <p:cNvSpPr txBox="1"/>
          <p:nvPr/>
        </p:nvSpPr>
        <p:spPr>
          <a:xfrm>
            <a:off x="4073714" y="3612305"/>
            <a:ext cx="986152" cy="207749"/>
          </a:xfrm>
          <a:prstGeom prst="rect">
            <a:avLst/>
          </a:prstGeom>
          <a:noFill/>
        </p:spPr>
        <p:txBody>
          <a:bodyPr wrap="none" lIns="68586" tIns="34294" rIns="68586" bIns="34294">
            <a:spAutoFit/>
          </a:bodyPr>
          <a:lstStyle/>
          <a:p>
            <a:pPr defTabSz="685862" fontAlgn="base">
              <a:spcBef>
                <a:spcPct val="0"/>
              </a:spcBef>
              <a:spcAft>
                <a:spcPct val="0"/>
              </a:spcAft>
              <a:defRPr/>
            </a:pPr>
            <a:r>
              <a:rPr lang="en-US" sz="900" dirty="0">
                <a:solidFill>
                  <a:prstClr val="white">
                    <a:lumMod val="85000"/>
                  </a:prstClr>
                </a:solidFill>
                <a:cs typeface="Segoe UI" pitchFamily="34" charset="0"/>
              </a:rPr>
              <a:t>Service Manager</a:t>
            </a:r>
          </a:p>
        </p:txBody>
      </p:sp>
      <p:sp>
        <p:nvSpPr>
          <p:cNvPr id="40" name="TextBox 39"/>
          <p:cNvSpPr txBox="1"/>
          <p:nvPr/>
        </p:nvSpPr>
        <p:spPr>
          <a:xfrm>
            <a:off x="4078715" y="1652060"/>
            <a:ext cx="774644" cy="207749"/>
          </a:xfrm>
          <a:prstGeom prst="rect">
            <a:avLst/>
          </a:prstGeom>
          <a:noFill/>
        </p:spPr>
        <p:txBody>
          <a:bodyPr wrap="none" lIns="68586" tIns="34294" rIns="68586" bIns="34294">
            <a:spAutoFit/>
          </a:bodyPr>
          <a:lstStyle/>
          <a:p>
            <a:pPr defTabSz="685862" fontAlgn="base">
              <a:spcBef>
                <a:spcPct val="0"/>
              </a:spcBef>
              <a:spcAft>
                <a:spcPct val="0"/>
              </a:spcAft>
              <a:defRPr/>
            </a:pPr>
            <a:r>
              <a:rPr lang="en-US" sz="900" dirty="0">
                <a:solidFill>
                  <a:srgbClr val="EEECE1"/>
                </a:solidFill>
                <a:cs typeface="Segoe UI" pitchFamily="34" charset="0"/>
              </a:rPr>
              <a:t>Orchestrator</a:t>
            </a:r>
          </a:p>
        </p:txBody>
      </p:sp>
      <p:sp>
        <p:nvSpPr>
          <p:cNvPr id="41" name="TextBox 40"/>
          <p:cNvSpPr txBox="1"/>
          <p:nvPr/>
        </p:nvSpPr>
        <p:spPr>
          <a:xfrm>
            <a:off x="5530226" y="2840304"/>
            <a:ext cx="1474377" cy="207749"/>
          </a:xfrm>
          <a:prstGeom prst="rect">
            <a:avLst/>
          </a:prstGeom>
          <a:noFill/>
        </p:spPr>
        <p:txBody>
          <a:bodyPr wrap="square" lIns="68586" tIns="34294" rIns="68586" bIns="34294">
            <a:spAutoFit/>
          </a:bodyPr>
          <a:lstStyle/>
          <a:p>
            <a:pPr defTabSz="685862" fontAlgn="base">
              <a:spcBef>
                <a:spcPct val="0"/>
              </a:spcBef>
              <a:spcAft>
                <a:spcPct val="0"/>
              </a:spcAft>
              <a:defRPr/>
            </a:pPr>
            <a:r>
              <a:rPr lang="en-US" sz="900" dirty="0">
                <a:solidFill>
                  <a:srgbClr val="EEECE1"/>
                </a:solidFill>
                <a:cs typeface="Segoe UI" pitchFamily="34" charset="0"/>
              </a:rPr>
              <a:t>Configuration Manager</a:t>
            </a:r>
          </a:p>
        </p:txBody>
      </p:sp>
      <p:pic>
        <p:nvPicPr>
          <p:cNvPr id="42" name="Picture 41"/>
          <p:cNvPicPr>
            <a:picLocks/>
          </p:cNvPicPr>
          <p:nvPr/>
        </p:nvPicPr>
        <p:blipFill>
          <a:blip r:embed="rId8" cstate="print"/>
          <a:srcRect/>
          <a:stretch>
            <a:fillRect/>
          </a:stretch>
        </p:blipFill>
        <p:spPr bwMode="auto">
          <a:xfrm>
            <a:off x="1288354" y="1621036"/>
            <a:ext cx="274391" cy="274320"/>
          </a:xfrm>
          <a:prstGeom prst="rect">
            <a:avLst/>
          </a:prstGeom>
          <a:noFill/>
          <a:ln w="9525">
            <a:noFill/>
            <a:miter lim="800000"/>
            <a:headEnd/>
            <a:tailEnd/>
          </a:ln>
        </p:spPr>
      </p:pic>
      <p:pic>
        <p:nvPicPr>
          <p:cNvPr id="43" name="Picture 42"/>
          <p:cNvPicPr>
            <a:picLocks/>
          </p:cNvPicPr>
          <p:nvPr/>
        </p:nvPicPr>
        <p:blipFill>
          <a:blip r:embed="rId9" cstate="print"/>
          <a:srcRect/>
          <a:stretch>
            <a:fillRect/>
          </a:stretch>
        </p:blipFill>
        <p:spPr bwMode="auto">
          <a:xfrm>
            <a:off x="3835764" y="1618774"/>
            <a:ext cx="274391" cy="274320"/>
          </a:xfrm>
          <a:prstGeom prst="rect">
            <a:avLst/>
          </a:prstGeom>
          <a:noFill/>
          <a:ln w="9525">
            <a:noFill/>
            <a:miter lim="800000"/>
            <a:headEnd/>
            <a:tailEnd/>
          </a:ln>
        </p:spPr>
      </p:pic>
      <p:pic>
        <p:nvPicPr>
          <p:cNvPr id="44" name="Picture 43"/>
          <p:cNvPicPr>
            <a:picLocks/>
          </p:cNvPicPr>
          <p:nvPr/>
        </p:nvPicPr>
        <p:blipFill>
          <a:blip r:embed="rId10" cstate="print"/>
          <a:srcRect/>
          <a:stretch>
            <a:fillRect/>
          </a:stretch>
        </p:blipFill>
        <p:spPr bwMode="auto">
          <a:xfrm>
            <a:off x="3831240" y="3579019"/>
            <a:ext cx="274391" cy="274320"/>
          </a:xfrm>
          <a:prstGeom prst="rect">
            <a:avLst/>
          </a:prstGeom>
          <a:noFill/>
          <a:ln w="9525">
            <a:noFill/>
            <a:miter lim="800000"/>
            <a:headEnd/>
            <a:tailEnd/>
          </a:ln>
        </p:spPr>
      </p:pic>
      <p:pic>
        <p:nvPicPr>
          <p:cNvPr id="45" name="Picture 44"/>
          <p:cNvPicPr>
            <a:picLocks/>
          </p:cNvPicPr>
          <p:nvPr/>
        </p:nvPicPr>
        <p:blipFill>
          <a:blip r:embed="rId10" cstate="print"/>
          <a:srcRect/>
          <a:stretch>
            <a:fillRect/>
          </a:stretch>
        </p:blipFill>
        <p:spPr bwMode="auto">
          <a:xfrm>
            <a:off x="1292404" y="3557587"/>
            <a:ext cx="274391" cy="274320"/>
          </a:xfrm>
          <a:prstGeom prst="rect">
            <a:avLst/>
          </a:prstGeom>
          <a:noFill/>
          <a:ln w="9525">
            <a:noFill/>
            <a:miter lim="800000"/>
            <a:headEnd/>
            <a:tailEnd/>
          </a:ln>
        </p:spPr>
      </p:pic>
      <p:pic>
        <p:nvPicPr>
          <p:cNvPr id="46" name="Picture 45"/>
          <p:cNvPicPr>
            <a:picLocks/>
          </p:cNvPicPr>
          <p:nvPr/>
        </p:nvPicPr>
        <p:blipFill>
          <a:blip r:embed="rId11" cstate="print"/>
          <a:srcRect/>
          <a:stretch>
            <a:fillRect/>
          </a:stretch>
        </p:blipFill>
        <p:spPr bwMode="auto">
          <a:xfrm>
            <a:off x="5284062" y="2223135"/>
            <a:ext cx="274391" cy="274320"/>
          </a:xfrm>
          <a:prstGeom prst="rect">
            <a:avLst/>
          </a:prstGeom>
          <a:noFill/>
          <a:ln w="9525">
            <a:noFill/>
            <a:miter lim="800000"/>
            <a:headEnd/>
            <a:tailEnd/>
          </a:ln>
        </p:spPr>
      </p:pic>
      <p:pic>
        <p:nvPicPr>
          <p:cNvPr id="47" name="Picture 46"/>
          <p:cNvPicPr>
            <a:picLocks/>
          </p:cNvPicPr>
          <p:nvPr/>
        </p:nvPicPr>
        <p:blipFill>
          <a:blip r:embed="rId12" cstate="print"/>
          <a:srcRect/>
          <a:stretch>
            <a:fillRect/>
          </a:stretch>
        </p:blipFill>
        <p:spPr bwMode="auto">
          <a:xfrm>
            <a:off x="5284062" y="2807018"/>
            <a:ext cx="274391" cy="274320"/>
          </a:xfrm>
          <a:prstGeom prst="rect">
            <a:avLst/>
          </a:prstGeom>
          <a:noFill/>
          <a:ln w="9525">
            <a:noFill/>
            <a:miter lim="800000"/>
            <a:headEnd/>
            <a:tailEnd/>
          </a:ln>
        </p:spPr>
      </p:pic>
      <p:pic>
        <p:nvPicPr>
          <p:cNvPr id="48" name="Picture 47"/>
          <p:cNvPicPr>
            <a:picLocks/>
          </p:cNvPicPr>
          <p:nvPr/>
        </p:nvPicPr>
        <p:blipFill>
          <a:blip r:embed="rId13" cstate="print"/>
          <a:srcRect/>
          <a:stretch>
            <a:fillRect/>
          </a:stretch>
        </p:blipFill>
        <p:spPr bwMode="auto">
          <a:xfrm>
            <a:off x="5284062" y="2510790"/>
            <a:ext cx="274391" cy="274320"/>
          </a:xfrm>
          <a:prstGeom prst="rect">
            <a:avLst/>
          </a:prstGeom>
          <a:noFill/>
          <a:ln w="9525">
            <a:noFill/>
            <a:miter lim="800000"/>
            <a:headEnd/>
            <a:tailEnd/>
          </a:ln>
        </p:spPr>
      </p:pic>
      <p:grpSp>
        <p:nvGrpSpPr>
          <p:cNvPr id="49" name="Group 9"/>
          <p:cNvGrpSpPr>
            <a:grpSpLocks/>
          </p:cNvGrpSpPr>
          <p:nvPr/>
        </p:nvGrpSpPr>
        <p:grpSpPr bwMode="auto">
          <a:xfrm>
            <a:off x="855092" y="4800600"/>
            <a:ext cx="7167048" cy="171450"/>
            <a:chOff x="1141412" y="6400800"/>
            <a:chExt cx="9550400" cy="228600"/>
          </a:xfrm>
        </p:grpSpPr>
        <p:sp>
          <p:nvSpPr>
            <p:cNvPr id="50" name="Rectangle 49"/>
            <p:cNvSpPr/>
            <p:nvPr/>
          </p:nvSpPr>
          <p:spPr>
            <a:xfrm>
              <a:off x="1141412" y="6400800"/>
              <a:ext cx="3150141" cy="228600"/>
            </a:xfrm>
            <a:prstGeom prst="rect">
              <a:avLst/>
            </a:prstGeom>
            <a:solidFill>
              <a:schemeClr val="accent1">
                <a:lumMod val="75000"/>
              </a:schemeClr>
            </a:solidFill>
          </p:spPr>
          <p:style>
            <a:lnRef idx="1">
              <a:schemeClr val="accent1"/>
            </a:lnRef>
            <a:fillRef idx="3">
              <a:schemeClr val="accent1"/>
            </a:fillRef>
            <a:effectRef idx="2">
              <a:schemeClr val="accent1"/>
            </a:effectRef>
            <a:fontRef idx="minor">
              <a:schemeClr val="lt1"/>
            </a:fontRef>
          </p:style>
          <p:txBody>
            <a:bodyPr anchor="ctr"/>
            <a:lstStyle/>
            <a:p>
              <a:pPr algn="ctr" defTabSz="685862" fontAlgn="base">
                <a:spcBef>
                  <a:spcPct val="0"/>
                </a:spcBef>
                <a:spcAft>
                  <a:spcPct val="0"/>
                </a:spcAft>
                <a:defRPr/>
              </a:pPr>
              <a:r>
                <a:rPr lang="en-US" sz="1200" dirty="0">
                  <a:solidFill>
                    <a:prstClr val="white"/>
                  </a:solidFill>
                  <a:ea typeface="Segoe UI" pitchFamily="34" charset="0"/>
                  <a:cs typeface="Segoe UI" pitchFamily="34" charset="0"/>
                </a:rPr>
                <a:t>Application Management</a:t>
              </a:r>
            </a:p>
          </p:txBody>
        </p:sp>
        <p:sp>
          <p:nvSpPr>
            <p:cNvPr id="51" name="Rectangle 50"/>
            <p:cNvSpPr/>
            <p:nvPr/>
          </p:nvSpPr>
          <p:spPr>
            <a:xfrm>
              <a:off x="4342336" y="6400800"/>
              <a:ext cx="3148553" cy="228600"/>
            </a:xfrm>
            <a:prstGeom prst="rect">
              <a:avLst/>
            </a:prstGeom>
            <a:solidFill>
              <a:schemeClr val="accent1">
                <a:lumMod val="75000"/>
              </a:schemeClr>
            </a:solidFill>
          </p:spPr>
          <p:style>
            <a:lnRef idx="1">
              <a:schemeClr val="accent1"/>
            </a:lnRef>
            <a:fillRef idx="3">
              <a:schemeClr val="accent1"/>
            </a:fillRef>
            <a:effectRef idx="2">
              <a:schemeClr val="accent1"/>
            </a:effectRef>
            <a:fontRef idx="minor">
              <a:schemeClr val="lt1"/>
            </a:fontRef>
          </p:style>
          <p:txBody>
            <a:bodyPr anchor="ctr"/>
            <a:lstStyle/>
            <a:p>
              <a:pPr algn="ctr" defTabSz="685862" fontAlgn="base">
                <a:spcBef>
                  <a:spcPct val="0"/>
                </a:spcBef>
                <a:spcAft>
                  <a:spcPct val="0"/>
                </a:spcAft>
                <a:defRPr/>
              </a:pPr>
              <a:r>
                <a:rPr lang="en-US" sz="1200" dirty="0">
                  <a:solidFill>
                    <a:prstClr val="white"/>
                  </a:solidFill>
                  <a:ea typeface="Segoe UI" pitchFamily="34" charset="0"/>
                  <a:cs typeface="Segoe UI" pitchFamily="34" charset="0"/>
                </a:rPr>
                <a:t>Service Delivery &amp; Automation</a:t>
              </a:r>
            </a:p>
          </p:txBody>
        </p:sp>
        <p:sp>
          <p:nvSpPr>
            <p:cNvPr id="52" name="Rectangle 51"/>
            <p:cNvSpPr/>
            <p:nvPr/>
          </p:nvSpPr>
          <p:spPr>
            <a:xfrm>
              <a:off x="7541672" y="6400800"/>
              <a:ext cx="3150140" cy="228600"/>
            </a:xfrm>
            <a:prstGeom prst="rect">
              <a:avLst/>
            </a:prstGeom>
            <a:solidFill>
              <a:schemeClr val="accent1">
                <a:lumMod val="75000"/>
              </a:schemeClr>
            </a:solidFill>
          </p:spPr>
          <p:style>
            <a:lnRef idx="1">
              <a:schemeClr val="accent1"/>
            </a:lnRef>
            <a:fillRef idx="3">
              <a:schemeClr val="accent1"/>
            </a:fillRef>
            <a:effectRef idx="2">
              <a:schemeClr val="accent1"/>
            </a:effectRef>
            <a:fontRef idx="minor">
              <a:schemeClr val="lt1"/>
            </a:fontRef>
          </p:style>
          <p:txBody>
            <a:bodyPr anchor="ctr"/>
            <a:lstStyle/>
            <a:p>
              <a:pPr algn="ctr" defTabSz="685862" fontAlgn="base">
                <a:spcBef>
                  <a:spcPct val="0"/>
                </a:spcBef>
                <a:spcAft>
                  <a:spcPct val="0"/>
                </a:spcAft>
                <a:defRPr/>
              </a:pPr>
              <a:r>
                <a:rPr lang="en-US" sz="1200" dirty="0">
                  <a:solidFill>
                    <a:prstClr val="white"/>
                  </a:solidFill>
                  <a:ea typeface="Segoe UI" pitchFamily="34" charset="0"/>
                  <a:cs typeface="Segoe UI" pitchFamily="34" charset="0"/>
                </a:rPr>
                <a:t>Infrastructure Management</a:t>
              </a:r>
            </a:p>
          </p:txBody>
        </p:sp>
      </p:grpSp>
      <p:pic>
        <p:nvPicPr>
          <p:cNvPr id="53" name="Picture 4" descr="C:\MAX\Branding\SC Brand Guide Graphics\SCDPM_256.png"/>
          <p:cNvPicPr>
            <a:picLocks noChangeArrowheads="1"/>
          </p:cNvPicPr>
          <p:nvPr/>
        </p:nvPicPr>
        <p:blipFill rotWithShape="1">
          <a:blip r:embed="rId14" cstate="print"/>
          <a:srcRect l="1886" r="1857" b="3333"/>
          <a:stretch/>
        </p:blipFill>
        <p:spPr bwMode="auto">
          <a:xfrm>
            <a:off x="5284062" y="3103245"/>
            <a:ext cx="274391" cy="274320"/>
          </a:xfrm>
          <a:prstGeom prst="rect">
            <a:avLst/>
          </a:prstGeom>
          <a:solidFill>
            <a:schemeClr val="accent5">
              <a:lumMod val="75000"/>
            </a:schemeClr>
          </a:solidFill>
          <a:effectLst/>
          <a:extLst/>
        </p:spPr>
      </p:pic>
      <p:sp>
        <p:nvSpPr>
          <p:cNvPr id="54" name="TextBox 53"/>
          <p:cNvSpPr txBox="1"/>
          <p:nvPr/>
        </p:nvSpPr>
        <p:spPr>
          <a:xfrm>
            <a:off x="5530227" y="3133793"/>
            <a:ext cx="1474378" cy="207749"/>
          </a:xfrm>
          <a:prstGeom prst="rect">
            <a:avLst/>
          </a:prstGeom>
          <a:noFill/>
        </p:spPr>
        <p:txBody>
          <a:bodyPr wrap="square" lIns="68586" tIns="34294" rIns="68586" bIns="34294">
            <a:spAutoFit/>
          </a:bodyPr>
          <a:lstStyle/>
          <a:p>
            <a:pPr defTabSz="685862" fontAlgn="base">
              <a:spcBef>
                <a:spcPct val="0"/>
              </a:spcBef>
              <a:spcAft>
                <a:spcPct val="0"/>
              </a:spcAft>
              <a:defRPr/>
            </a:pPr>
            <a:r>
              <a:rPr lang="en-US" sz="900" dirty="0">
                <a:solidFill>
                  <a:srgbClr val="EEECE1"/>
                </a:solidFill>
                <a:cs typeface="Segoe UI" pitchFamily="34" charset="0"/>
              </a:rPr>
              <a:t>Data Protection Manager</a:t>
            </a:r>
          </a:p>
        </p:txBody>
      </p:sp>
      <p:grpSp>
        <p:nvGrpSpPr>
          <p:cNvPr id="55" name="Group 54"/>
          <p:cNvGrpSpPr/>
          <p:nvPr/>
        </p:nvGrpSpPr>
        <p:grpSpPr>
          <a:xfrm>
            <a:off x="290067" y="2135981"/>
            <a:ext cx="659738" cy="1639493"/>
            <a:chOff x="5525641" y="2209800"/>
            <a:chExt cx="1485900" cy="3629025"/>
          </a:xfrm>
        </p:grpSpPr>
        <p:pic>
          <p:nvPicPr>
            <p:cNvPr id="56" name="Picture 6" descr="\\192.168.10.9\Shared\Design\Microsoft Events Presentation Resource DVD\DVD_ART36\Artwork_Imagery\Icons - Illustrations\People\White silhouettes\woman person 3.png"/>
            <p:cNvPicPr>
              <a:picLocks noChangeAspect="1" noChangeArrowheads="1"/>
            </p:cNvPicPr>
            <p:nvPr/>
          </p:nvPicPr>
          <p:blipFill>
            <a:blip r:embed="rId15" cstate="print"/>
            <a:srcRect/>
            <a:stretch>
              <a:fillRect/>
            </a:stretch>
          </p:blipFill>
          <p:spPr bwMode="auto">
            <a:xfrm>
              <a:off x="5525641" y="2209800"/>
              <a:ext cx="1485900" cy="3459811"/>
            </a:xfrm>
            <a:prstGeom prst="rect">
              <a:avLst/>
            </a:prstGeom>
            <a:noFill/>
            <a:ln w="9525">
              <a:noFill/>
              <a:miter lim="800000"/>
              <a:headEnd/>
              <a:tailEnd/>
            </a:ln>
          </p:spPr>
        </p:pic>
        <p:sp>
          <p:nvSpPr>
            <p:cNvPr id="57" name="Oval 8"/>
            <p:cNvSpPr>
              <a:spLocks noChangeArrowheads="1"/>
            </p:cNvSpPr>
            <p:nvPr/>
          </p:nvSpPr>
          <p:spPr bwMode="auto">
            <a:xfrm>
              <a:off x="5705836" y="4713167"/>
              <a:ext cx="1125511" cy="1125658"/>
            </a:xfrm>
            <a:prstGeom prst="ellipse">
              <a:avLst/>
            </a:prstGeom>
            <a:solidFill>
              <a:srgbClr val="21639F">
                <a:alpha val="89803"/>
              </a:srgbClr>
            </a:solidFill>
            <a:ln w="9525">
              <a:noFill/>
              <a:round/>
              <a:headEnd/>
              <a:tailEnd/>
            </a:ln>
          </p:spPr>
          <p:txBody>
            <a:bodyPr wrap="none" anchor="ctr"/>
            <a:lstStyle/>
            <a:p>
              <a:pPr algn="ctr" defTabSz="685862" fontAlgn="base">
                <a:spcBef>
                  <a:spcPct val="0"/>
                </a:spcBef>
                <a:spcAft>
                  <a:spcPct val="0"/>
                </a:spcAft>
              </a:pPr>
              <a:r>
                <a:rPr lang="en-US" sz="800" dirty="0">
                  <a:solidFill>
                    <a:srgbClr val="FFFFFF"/>
                  </a:solidFill>
                  <a:cs typeface="Segoe UI" pitchFamily="34" charset="0"/>
                </a:rPr>
                <a:t>App</a:t>
              </a:r>
            </a:p>
            <a:p>
              <a:pPr algn="ctr" defTabSz="685862" fontAlgn="base">
                <a:spcBef>
                  <a:spcPct val="0"/>
                </a:spcBef>
                <a:spcAft>
                  <a:spcPct val="0"/>
                </a:spcAft>
              </a:pPr>
              <a:r>
                <a:rPr lang="en-US" sz="800" dirty="0">
                  <a:solidFill>
                    <a:srgbClr val="FFFFFF"/>
                  </a:solidFill>
                  <a:cs typeface="Segoe UI" pitchFamily="34" charset="0"/>
                </a:rPr>
                <a:t>Owner</a:t>
              </a:r>
            </a:p>
          </p:txBody>
        </p:sp>
      </p:grpSp>
      <p:sp>
        <p:nvSpPr>
          <p:cNvPr id="58"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59"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6"/>
              </a:rPr>
              <a:t>www.rapidbbs.cn</a:t>
            </a:r>
            <a:endParaRPr lang="zh-CN" altLang="en-US" sz="1200" b="0">
              <a:latin typeface="Arial" charset="0"/>
              <a:ea typeface="ＭＳ Ｐゴシック" pitchFamily="34" charset="-128"/>
            </a:endParaRPr>
          </a:p>
        </p:txBody>
      </p:sp>
      <p:pic>
        <p:nvPicPr>
          <p:cNvPr id="60" name="Picture 2">
            <a:hlinkClick r:id="rId16"/>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686031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nodeType="click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wipe(left)">
                                      <p:cBhvr>
                                        <p:cTn id="15" dur="500"/>
                                        <p:tgtEl>
                                          <p:spTgt spid="1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4"/>
                                        </p:tgtEl>
                                        <p:attrNameLst>
                                          <p:attrName>style.visibility</p:attrName>
                                        </p:attrNameLst>
                                      </p:cBhvr>
                                      <p:to>
                                        <p:strVal val="visible"/>
                                      </p:to>
                                    </p:set>
                                    <p:animEffect transition="in" filter="fade">
                                      <p:cBhvr>
                                        <p:cTn id="20" dur="500"/>
                                        <p:tgtEl>
                                          <p:spTgt spid="4"/>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500"/>
                                        <p:tgtEl>
                                          <p:spTgt spid="6"/>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8" fill="hold" nodeType="clickEffect">
                                  <p:stCondLst>
                                    <p:cond delay="0"/>
                                  </p:stCondLst>
                                  <p:childTnLst>
                                    <p:set>
                                      <p:cBhvr>
                                        <p:cTn id="27" dur="1" fill="hold">
                                          <p:stCondLst>
                                            <p:cond delay="0"/>
                                          </p:stCondLst>
                                        </p:cTn>
                                        <p:tgtEl>
                                          <p:spTgt spid="11"/>
                                        </p:tgtEl>
                                        <p:attrNameLst>
                                          <p:attrName>style.visibility</p:attrName>
                                        </p:attrNameLst>
                                      </p:cBhvr>
                                      <p:to>
                                        <p:strVal val="visible"/>
                                      </p:to>
                                    </p:set>
                                    <p:animEffect transition="in" filter="wipe(left)">
                                      <p:cBhvr>
                                        <p:cTn id="28" dur="500"/>
                                        <p:tgtEl>
                                          <p:spTgt spid="11"/>
                                        </p:tgtEl>
                                      </p:cBhvr>
                                    </p:animEffect>
                                  </p:childTnLst>
                                </p:cTn>
                              </p:par>
                            </p:childTnLst>
                          </p:cTn>
                        </p:par>
                        <p:par>
                          <p:cTn id="29" fill="hold">
                            <p:stCondLst>
                              <p:cond delay="500"/>
                            </p:stCondLst>
                            <p:childTnLst>
                              <p:par>
                                <p:cTn id="30" presetID="10" presetClass="entr" presetSubtype="0" fill="hold" nodeType="afterEffect">
                                  <p:stCondLst>
                                    <p:cond delay="0"/>
                                  </p:stCondLst>
                                  <p:childTnLst>
                                    <p:set>
                                      <p:cBhvr>
                                        <p:cTn id="31" dur="1" fill="hold">
                                          <p:stCondLst>
                                            <p:cond delay="0"/>
                                          </p:stCondLst>
                                        </p:cTn>
                                        <p:tgtEl>
                                          <p:spTgt spid="26"/>
                                        </p:tgtEl>
                                        <p:attrNameLst>
                                          <p:attrName>style.visibility</p:attrName>
                                        </p:attrNameLst>
                                      </p:cBhvr>
                                      <p:to>
                                        <p:strVal val="visible"/>
                                      </p:to>
                                    </p:set>
                                    <p:animEffect transition="in" filter="fade">
                                      <p:cBhvr>
                                        <p:cTn id="32" dur="500"/>
                                        <p:tgtEl>
                                          <p:spTgt spid="26"/>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2" fill="hold" nodeType="clickEffect">
                                  <p:stCondLst>
                                    <p:cond delay="0"/>
                                  </p:stCondLst>
                                  <p:childTnLst>
                                    <p:set>
                                      <p:cBhvr>
                                        <p:cTn id="36" dur="1" fill="hold">
                                          <p:stCondLst>
                                            <p:cond delay="0"/>
                                          </p:stCondLst>
                                        </p:cTn>
                                        <p:tgtEl>
                                          <p:spTgt spid="22"/>
                                        </p:tgtEl>
                                        <p:attrNameLst>
                                          <p:attrName>style.visibility</p:attrName>
                                        </p:attrNameLst>
                                      </p:cBhvr>
                                      <p:to>
                                        <p:strVal val="visible"/>
                                      </p:to>
                                    </p:set>
                                    <p:animEffect transition="in" filter="wipe(right)">
                                      <p:cBhvr>
                                        <p:cTn id="37" dur="500"/>
                                        <p:tgtEl>
                                          <p:spTgt spid="22"/>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37"/>
                                        </p:tgtEl>
                                        <p:attrNameLst>
                                          <p:attrName>style.visibility</p:attrName>
                                        </p:attrNameLst>
                                      </p:cBhvr>
                                      <p:to>
                                        <p:strVal val="visible"/>
                                      </p:to>
                                    </p:set>
                                    <p:animEffect transition="in" filter="fade">
                                      <p:cBhvr>
                                        <p:cTn id="42" dur="500"/>
                                        <p:tgtEl>
                                          <p:spTgt spid="37"/>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38"/>
                                        </p:tgtEl>
                                        <p:attrNameLst>
                                          <p:attrName>style.visibility</p:attrName>
                                        </p:attrNameLst>
                                      </p:cBhvr>
                                      <p:to>
                                        <p:strVal val="visible"/>
                                      </p:to>
                                    </p:set>
                                    <p:animEffect transition="in" filter="fade">
                                      <p:cBhvr>
                                        <p:cTn id="45" dur="500"/>
                                        <p:tgtEl>
                                          <p:spTgt spid="38"/>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39"/>
                                        </p:tgtEl>
                                        <p:attrNameLst>
                                          <p:attrName>style.visibility</p:attrName>
                                        </p:attrNameLst>
                                      </p:cBhvr>
                                      <p:to>
                                        <p:strVal val="visible"/>
                                      </p:to>
                                    </p:set>
                                    <p:animEffect transition="in" filter="fade">
                                      <p:cBhvr>
                                        <p:cTn id="48" dur="500"/>
                                        <p:tgtEl>
                                          <p:spTgt spid="39"/>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40"/>
                                        </p:tgtEl>
                                        <p:attrNameLst>
                                          <p:attrName>style.visibility</p:attrName>
                                        </p:attrNameLst>
                                      </p:cBhvr>
                                      <p:to>
                                        <p:strVal val="visible"/>
                                      </p:to>
                                    </p:set>
                                    <p:animEffect transition="in" filter="fade">
                                      <p:cBhvr>
                                        <p:cTn id="51" dur="500"/>
                                        <p:tgtEl>
                                          <p:spTgt spid="40"/>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35"/>
                                        </p:tgtEl>
                                        <p:attrNameLst>
                                          <p:attrName>style.visibility</p:attrName>
                                        </p:attrNameLst>
                                      </p:cBhvr>
                                      <p:to>
                                        <p:strVal val="visible"/>
                                      </p:to>
                                    </p:set>
                                    <p:animEffect transition="in" filter="fade">
                                      <p:cBhvr>
                                        <p:cTn id="54" dur="500"/>
                                        <p:tgtEl>
                                          <p:spTgt spid="35"/>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36"/>
                                        </p:tgtEl>
                                        <p:attrNameLst>
                                          <p:attrName>style.visibility</p:attrName>
                                        </p:attrNameLst>
                                      </p:cBhvr>
                                      <p:to>
                                        <p:strVal val="visible"/>
                                      </p:to>
                                    </p:set>
                                    <p:animEffect transition="in" filter="fade">
                                      <p:cBhvr>
                                        <p:cTn id="57" dur="500"/>
                                        <p:tgtEl>
                                          <p:spTgt spid="36"/>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41"/>
                                        </p:tgtEl>
                                        <p:attrNameLst>
                                          <p:attrName>style.visibility</p:attrName>
                                        </p:attrNameLst>
                                      </p:cBhvr>
                                      <p:to>
                                        <p:strVal val="visible"/>
                                      </p:to>
                                    </p:set>
                                    <p:animEffect transition="in" filter="fade">
                                      <p:cBhvr>
                                        <p:cTn id="60" dur="500"/>
                                        <p:tgtEl>
                                          <p:spTgt spid="41"/>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54"/>
                                        </p:tgtEl>
                                        <p:attrNameLst>
                                          <p:attrName>style.visibility</p:attrName>
                                        </p:attrNameLst>
                                      </p:cBhvr>
                                      <p:to>
                                        <p:strVal val="visible"/>
                                      </p:to>
                                    </p:set>
                                    <p:animEffect transition="in" filter="fade">
                                      <p:cBhvr>
                                        <p:cTn id="63" dur="500"/>
                                        <p:tgtEl>
                                          <p:spTgt spid="54"/>
                                        </p:tgtEl>
                                      </p:cBhvr>
                                    </p:animEffect>
                                  </p:childTnLst>
                                </p:cTn>
                              </p:par>
                              <p:par>
                                <p:cTn id="64" presetID="10" presetClass="entr" presetSubtype="0" fill="hold" nodeType="withEffect">
                                  <p:stCondLst>
                                    <p:cond delay="0"/>
                                  </p:stCondLst>
                                  <p:childTnLst>
                                    <p:set>
                                      <p:cBhvr>
                                        <p:cTn id="65" dur="1" fill="hold">
                                          <p:stCondLst>
                                            <p:cond delay="0"/>
                                          </p:stCondLst>
                                        </p:cTn>
                                        <p:tgtEl>
                                          <p:spTgt spid="42"/>
                                        </p:tgtEl>
                                        <p:attrNameLst>
                                          <p:attrName>style.visibility</p:attrName>
                                        </p:attrNameLst>
                                      </p:cBhvr>
                                      <p:to>
                                        <p:strVal val="visible"/>
                                      </p:to>
                                    </p:set>
                                    <p:animEffect transition="in" filter="fade">
                                      <p:cBhvr>
                                        <p:cTn id="66" dur="500"/>
                                        <p:tgtEl>
                                          <p:spTgt spid="42"/>
                                        </p:tgtEl>
                                      </p:cBhvr>
                                    </p:animEffect>
                                  </p:childTnLst>
                                </p:cTn>
                              </p:par>
                              <p:par>
                                <p:cTn id="67" presetID="10" presetClass="entr" presetSubtype="0" fill="hold" nodeType="withEffect">
                                  <p:stCondLst>
                                    <p:cond delay="0"/>
                                  </p:stCondLst>
                                  <p:childTnLst>
                                    <p:set>
                                      <p:cBhvr>
                                        <p:cTn id="68" dur="1" fill="hold">
                                          <p:stCondLst>
                                            <p:cond delay="0"/>
                                          </p:stCondLst>
                                        </p:cTn>
                                        <p:tgtEl>
                                          <p:spTgt spid="43"/>
                                        </p:tgtEl>
                                        <p:attrNameLst>
                                          <p:attrName>style.visibility</p:attrName>
                                        </p:attrNameLst>
                                      </p:cBhvr>
                                      <p:to>
                                        <p:strVal val="visible"/>
                                      </p:to>
                                    </p:set>
                                    <p:animEffect transition="in" filter="fade">
                                      <p:cBhvr>
                                        <p:cTn id="69" dur="500"/>
                                        <p:tgtEl>
                                          <p:spTgt spid="43"/>
                                        </p:tgtEl>
                                      </p:cBhvr>
                                    </p:animEffect>
                                  </p:childTnLst>
                                </p:cTn>
                              </p:par>
                              <p:par>
                                <p:cTn id="70" presetID="10" presetClass="entr" presetSubtype="0" fill="hold" nodeType="withEffect">
                                  <p:stCondLst>
                                    <p:cond delay="0"/>
                                  </p:stCondLst>
                                  <p:childTnLst>
                                    <p:set>
                                      <p:cBhvr>
                                        <p:cTn id="71" dur="1" fill="hold">
                                          <p:stCondLst>
                                            <p:cond delay="0"/>
                                          </p:stCondLst>
                                        </p:cTn>
                                        <p:tgtEl>
                                          <p:spTgt spid="46"/>
                                        </p:tgtEl>
                                        <p:attrNameLst>
                                          <p:attrName>style.visibility</p:attrName>
                                        </p:attrNameLst>
                                      </p:cBhvr>
                                      <p:to>
                                        <p:strVal val="visible"/>
                                      </p:to>
                                    </p:set>
                                    <p:animEffect transition="in" filter="fade">
                                      <p:cBhvr>
                                        <p:cTn id="72" dur="500"/>
                                        <p:tgtEl>
                                          <p:spTgt spid="46"/>
                                        </p:tgtEl>
                                      </p:cBhvr>
                                    </p:animEffect>
                                  </p:childTnLst>
                                </p:cTn>
                              </p:par>
                              <p:par>
                                <p:cTn id="73" presetID="10" presetClass="entr" presetSubtype="0" fill="hold" nodeType="withEffect">
                                  <p:stCondLst>
                                    <p:cond delay="0"/>
                                  </p:stCondLst>
                                  <p:childTnLst>
                                    <p:set>
                                      <p:cBhvr>
                                        <p:cTn id="74" dur="1" fill="hold">
                                          <p:stCondLst>
                                            <p:cond delay="0"/>
                                          </p:stCondLst>
                                        </p:cTn>
                                        <p:tgtEl>
                                          <p:spTgt spid="53"/>
                                        </p:tgtEl>
                                        <p:attrNameLst>
                                          <p:attrName>style.visibility</p:attrName>
                                        </p:attrNameLst>
                                      </p:cBhvr>
                                      <p:to>
                                        <p:strVal val="visible"/>
                                      </p:to>
                                    </p:set>
                                    <p:animEffect transition="in" filter="fade">
                                      <p:cBhvr>
                                        <p:cTn id="75" dur="500"/>
                                        <p:tgtEl>
                                          <p:spTgt spid="53"/>
                                        </p:tgtEl>
                                      </p:cBhvr>
                                    </p:animEffect>
                                  </p:childTnLst>
                                </p:cTn>
                              </p:par>
                              <p:par>
                                <p:cTn id="76" presetID="10" presetClass="entr" presetSubtype="0" fill="hold" nodeType="withEffect">
                                  <p:stCondLst>
                                    <p:cond delay="0"/>
                                  </p:stCondLst>
                                  <p:childTnLst>
                                    <p:set>
                                      <p:cBhvr>
                                        <p:cTn id="77" dur="1" fill="hold">
                                          <p:stCondLst>
                                            <p:cond delay="0"/>
                                          </p:stCondLst>
                                        </p:cTn>
                                        <p:tgtEl>
                                          <p:spTgt spid="48"/>
                                        </p:tgtEl>
                                        <p:attrNameLst>
                                          <p:attrName>style.visibility</p:attrName>
                                        </p:attrNameLst>
                                      </p:cBhvr>
                                      <p:to>
                                        <p:strVal val="visible"/>
                                      </p:to>
                                    </p:set>
                                    <p:animEffect transition="in" filter="fade">
                                      <p:cBhvr>
                                        <p:cTn id="78" dur="500"/>
                                        <p:tgtEl>
                                          <p:spTgt spid="48"/>
                                        </p:tgtEl>
                                      </p:cBhvr>
                                    </p:animEffect>
                                  </p:childTnLst>
                                </p:cTn>
                              </p:par>
                              <p:par>
                                <p:cTn id="79" presetID="10" presetClass="entr" presetSubtype="0" fill="hold" nodeType="withEffect">
                                  <p:stCondLst>
                                    <p:cond delay="0"/>
                                  </p:stCondLst>
                                  <p:childTnLst>
                                    <p:set>
                                      <p:cBhvr>
                                        <p:cTn id="80" dur="1" fill="hold">
                                          <p:stCondLst>
                                            <p:cond delay="0"/>
                                          </p:stCondLst>
                                        </p:cTn>
                                        <p:tgtEl>
                                          <p:spTgt spid="47"/>
                                        </p:tgtEl>
                                        <p:attrNameLst>
                                          <p:attrName>style.visibility</p:attrName>
                                        </p:attrNameLst>
                                      </p:cBhvr>
                                      <p:to>
                                        <p:strVal val="visible"/>
                                      </p:to>
                                    </p:set>
                                    <p:animEffect transition="in" filter="fade">
                                      <p:cBhvr>
                                        <p:cTn id="81" dur="500"/>
                                        <p:tgtEl>
                                          <p:spTgt spid="47"/>
                                        </p:tgtEl>
                                      </p:cBhvr>
                                    </p:animEffect>
                                  </p:childTnLst>
                                </p:cTn>
                              </p:par>
                              <p:par>
                                <p:cTn id="82" presetID="10" presetClass="entr" presetSubtype="0" fill="hold" nodeType="withEffect">
                                  <p:stCondLst>
                                    <p:cond delay="0"/>
                                  </p:stCondLst>
                                  <p:childTnLst>
                                    <p:set>
                                      <p:cBhvr>
                                        <p:cTn id="83" dur="1" fill="hold">
                                          <p:stCondLst>
                                            <p:cond delay="0"/>
                                          </p:stCondLst>
                                        </p:cTn>
                                        <p:tgtEl>
                                          <p:spTgt spid="45"/>
                                        </p:tgtEl>
                                        <p:attrNameLst>
                                          <p:attrName>style.visibility</p:attrName>
                                        </p:attrNameLst>
                                      </p:cBhvr>
                                      <p:to>
                                        <p:strVal val="visible"/>
                                      </p:to>
                                    </p:set>
                                    <p:animEffect transition="in" filter="fade">
                                      <p:cBhvr>
                                        <p:cTn id="84" dur="500"/>
                                        <p:tgtEl>
                                          <p:spTgt spid="45"/>
                                        </p:tgtEl>
                                      </p:cBhvr>
                                    </p:animEffect>
                                  </p:childTnLst>
                                </p:cTn>
                              </p:par>
                              <p:par>
                                <p:cTn id="85" presetID="10" presetClass="entr" presetSubtype="0" fill="hold" nodeType="withEffect">
                                  <p:stCondLst>
                                    <p:cond delay="0"/>
                                  </p:stCondLst>
                                  <p:childTnLst>
                                    <p:set>
                                      <p:cBhvr>
                                        <p:cTn id="86" dur="1" fill="hold">
                                          <p:stCondLst>
                                            <p:cond delay="0"/>
                                          </p:stCondLst>
                                        </p:cTn>
                                        <p:tgtEl>
                                          <p:spTgt spid="44"/>
                                        </p:tgtEl>
                                        <p:attrNameLst>
                                          <p:attrName>style.visibility</p:attrName>
                                        </p:attrNameLst>
                                      </p:cBhvr>
                                      <p:to>
                                        <p:strVal val="visible"/>
                                      </p:to>
                                    </p:set>
                                    <p:animEffect transition="in" filter="fade">
                                      <p:cBhvr>
                                        <p:cTn id="87" dur="500"/>
                                        <p:tgtEl>
                                          <p:spTgt spid="44"/>
                                        </p:tgtEl>
                                      </p:cBhvr>
                                    </p:animEffect>
                                  </p:childTnLst>
                                </p:cTn>
                              </p:par>
                            </p:childTnLst>
                          </p:cTn>
                        </p:par>
                      </p:childTnLst>
                    </p:cTn>
                  </p:par>
                  <p:par>
                    <p:cTn id="88" fill="hold">
                      <p:stCondLst>
                        <p:cond delay="indefinite"/>
                      </p:stCondLst>
                      <p:childTnLst>
                        <p:par>
                          <p:cTn id="89" fill="hold">
                            <p:stCondLst>
                              <p:cond delay="0"/>
                            </p:stCondLst>
                            <p:childTnLst>
                              <p:par>
                                <p:cTn id="90" presetID="10" presetClass="entr" presetSubtype="0" fill="hold" nodeType="clickEffect">
                                  <p:stCondLst>
                                    <p:cond delay="0"/>
                                  </p:stCondLst>
                                  <p:childTnLst>
                                    <p:set>
                                      <p:cBhvr>
                                        <p:cTn id="91" dur="1" fill="hold">
                                          <p:stCondLst>
                                            <p:cond delay="0"/>
                                          </p:stCondLst>
                                        </p:cTn>
                                        <p:tgtEl>
                                          <p:spTgt spid="49"/>
                                        </p:tgtEl>
                                        <p:attrNameLst>
                                          <p:attrName>style.visibility</p:attrName>
                                        </p:attrNameLst>
                                      </p:cBhvr>
                                      <p:to>
                                        <p:strVal val="visible"/>
                                      </p:to>
                                    </p:set>
                                    <p:animEffect transition="in" filter="fade">
                                      <p:cBhvr>
                                        <p:cTn id="92"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6" grpId="0" animBg="1"/>
      <p:bldP spid="35" grpId="0"/>
      <p:bldP spid="36" grpId="0"/>
      <p:bldP spid="37" grpId="0"/>
      <p:bldP spid="38" grpId="0"/>
      <p:bldP spid="39" grpId="0"/>
      <p:bldP spid="40" grpId="0"/>
      <p:bldP spid="41" grpId="0"/>
      <p:bldP spid="54" grpId="0"/>
    </p:bldLst>
  </p:timing>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389436" y="171451"/>
            <a:ext cx="8363938" cy="457049"/>
          </a:xfrm>
          <a:prstGeom prst="rect">
            <a:avLst/>
          </a:prstGeom>
        </p:spPr>
        <p:txBody>
          <a:bodyPr lIns="68586" tIns="34294" rIns="68586" bIns="34294">
            <a:normAutofit fontScale="67500" lnSpcReduction="20000"/>
          </a:bodyPr>
          <a:lst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smtClean="0">
                <a:latin typeface="Segoe UI" pitchFamily="34" charset="0"/>
                <a:cs typeface="Arial" pitchFamily="34" charset="0"/>
              </a:rPr>
              <a:t>Scalable, Standardized, and Predictable Applications</a:t>
            </a:r>
            <a:endParaRPr lang="en-US"/>
          </a:p>
        </p:txBody>
      </p:sp>
      <p:sp>
        <p:nvSpPr>
          <p:cNvPr id="3" name="Rectangle 19"/>
          <p:cNvSpPr>
            <a:spLocks noChangeArrowheads="1"/>
          </p:cNvSpPr>
          <p:nvPr/>
        </p:nvSpPr>
        <p:spPr bwMode="auto">
          <a:xfrm>
            <a:off x="576413" y="1066801"/>
            <a:ext cx="1865004" cy="3281363"/>
          </a:xfrm>
          <a:prstGeom prst="rect">
            <a:avLst/>
          </a:prstGeom>
          <a:solidFill>
            <a:srgbClr val="F0F2F3">
              <a:alpha val="10000"/>
            </a:srgbClr>
          </a:solidFill>
          <a:ln w="9525">
            <a:noFill/>
            <a:miter lim="800000"/>
            <a:headEnd/>
            <a:tailEnd/>
          </a:ln>
        </p:spPr>
        <p:txBody>
          <a:bodyPr wrap="none" lIns="68586" tIns="34294" rIns="68586" bIns="34294" anchor="ctr"/>
          <a:lstStyle/>
          <a:p>
            <a:pPr defTabSz="685862" fontAlgn="base">
              <a:spcBef>
                <a:spcPct val="0"/>
              </a:spcBef>
              <a:spcAft>
                <a:spcPct val="0"/>
              </a:spcAft>
              <a:defRPr/>
            </a:pPr>
            <a:endParaRPr lang="en-US">
              <a:solidFill>
                <a:srgbClr val="00264A"/>
              </a:solidFill>
              <a:cs typeface="Segoe UI" pitchFamily="34" charset="0"/>
            </a:endParaRPr>
          </a:p>
        </p:txBody>
      </p:sp>
      <p:sp>
        <p:nvSpPr>
          <p:cNvPr id="4" name="Rectangle 3"/>
          <p:cNvSpPr/>
          <p:nvPr/>
        </p:nvSpPr>
        <p:spPr>
          <a:xfrm>
            <a:off x="576413" y="1148954"/>
            <a:ext cx="1865004" cy="355997"/>
          </a:xfrm>
          <a:prstGeom prst="rect">
            <a:avLst/>
          </a:prstGeom>
          <a:solidFill>
            <a:srgbClr val="00264A"/>
          </a:solidFill>
          <a:ln>
            <a:noFill/>
          </a:ln>
          <a:effectLst/>
        </p:spPr>
        <p:style>
          <a:lnRef idx="1">
            <a:schemeClr val="accent1"/>
          </a:lnRef>
          <a:fillRef idx="3">
            <a:schemeClr val="accent1"/>
          </a:fillRef>
          <a:effectRef idx="2">
            <a:schemeClr val="accent1"/>
          </a:effectRef>
          <a:fontRef idx="minor">
            <a:schemeClr val="lt1"/>
          </a:fontRef>
        </p:style>
        <p:txBody>
          <a:bodyPr lIns="68586" tIns="34294" rIns="68586" bIns="34294" anchor="ctr"/>
          <a:lstStyle/>
          <a:p>
            <a:pPr algn="ctr" defTabSz="685862" fontAlgn="base">
              <a:spcBef>
                <a:spcPct val="0"/>
              </a:spcBef>
              <a:spcAft>
                <a:spcPct val="0"/>
              </a:spcAft>
              <a:defRPr/>
            </a:pPr>
            <a:endParaRPr lang="en-US" dirty="0">
              <a:solidFill>
                <a:srgbClr val="FFFFFF"/>
              </a:solidFill>
            </a:endParaRPr>
          </a:p>
        </p:txBody>
      </p:sp>
      <p:sp>
        <p:nvSpPr>
          <p:cNvPr id="5" name="Rectangle 19"/>
          <p:cNvSpPr>
            <a:spLocks noChangeArrowheads="1"/>
          </p:cNvSpPr>
          <p:nvPr/>
        </p:nvSpPr>
        <p:spPr bwMode="auto">
          <a:xfrm>
            <a:off x="6739503" y="1066801"/>
            <a:ext cx="1865004" cy="3281363"/>
          </a:xfrm>
          <a:prstGeom prst="rect">
            <a:avLst/>
          </a:prstGeom>
          <a:solidFill>
            <a:srgbClr val="F0F2F3">
              <a:alpha val="10000"/>
            </a:srgbClr>
          </a:solidFill>
          <a:ln w="9525">
            <a:noFill/>
            <a:miter lim="800000"/>
            <a:headEnd/>
            <a:tailEnd/>
          </a:ln>
        </p:spPr>
        <p:txBody>
          <a:bodyPr wrap="none" lIns="68586" tIns="34294" rIns="68586" bIns="34294" anchor="ctr"/>
          <a:lstStyle/>
          <a:p>
            <a:pPr defTabSz="685862" fontAlgn="base">
              <a:spcBef>
                <a:spcPct val="0"/>
              </a:spcBef>
              <a:spcAft>
                <a:spcPct val="0"/>
              </a:spcAft>
              <a:defRPr/>
            </a:pPr>
            <a:endParaRPr lang="en-US">
              <a:solidFill>
                <a:srgbClr val="00264A"/>
              </a:solidFill>
              <a:cs typeface="Segoe UI" pitchFamily="34" charset="0"/>
            </a:endParaRPr>
          </a:p>
        </p:txBody>
      </p:sp>
      <p:sp>
        <p:nvSpPr>
          <p:cNvPr id="6" name="Rectangle 19"/>
          <p:cNvSpPr>
            <a:spLocks noChangeArrowheads="1"/>
          </p:cNvSpPr>
          <p:nvPr/>
        </p:nvSpPr>
        <p:spPr bwMode="auto">
          <a:xfrm>
            <a:off x="2636731" y="1066801"/>
            <a:ext cx="1865004" cy="3281363"/>
          </a:xfrm>
          <a:prstGeom prst="rect">
            <a:avLst/>
          </a:prstGeom>
          <a:solidFill>
            <a:srgbClr val="F0F2F3">
              <a:alpha val="10000"/>
            </a:srgbClr>
          </a:solidFill>
          <a:ln w="9525">
            <a:noFill/>
            <a:miter lim="800000"/>
            <a:headEnd/>
            <a:tailEnd/>
          </a:ln>
        </p:spPr>
        <p:txBody>
          <a:bodyPr wrap="none" lIns="68586" tIns="34294" rIns="68586" bIns="34294" anchor="ctr"/>
          <a:lstStyle/>
          <a:p>
            <a:pPr defTabSz="685862" fontAlgn="base">
              <a:spcBef>
                <a:spcPct val="0"/>
              </a:spcBef>
              <a:spcAft>
                <a:spcPct val="0"/>
              </a:spcAft>
              <a:defRPr/>
            </a:pPr>
            <a:endParaRPr lang="en-US">
              <a:solidFill>
                <a:srgbClr val="00264A"/>
              </a:solidFill>
              <a:cs typeface="Segoe UI" pitchFamily="34" charset="0"/>
            </a:endParaRPr>
          </a:p>
        </p:txBody>
      </p:sp>
      <p:sp>
        <p:nvSpPr>
          <p:cNvPr id="7" name="Rectangle 19"/>
          <p:cNvSpPr>
            <a:spLocks noChangeArrowheads="1"/>
          </p:cNvSpPr>
          <p:nvPr/>
        </p:nvSpPr>
        <p:spPr bwMode="auto">
          <a:xfrm>
            <a:off x="4673229" y="1066801"/>
            <a:ext cx="1863814" cy="3281363"/>
          </a:xfrm>
          <a:prstGeom prst="rect">
            <a:avLst/>
          </a:prstGeom>
          <a:solidFill>
            <a:srgbClr val="F0F2F3">
              <a:alpha val="10000"/>
            </a:srgbClr>
          </a:solidFill>
          <a:ln w="9525">
            <a:noFill/>
            <a:miter lim="800000"/>
            <a:headEnd/>
            <a:tailEnd/>
          </a:ln>
        </p:spPr>
        <p:txBody>
          <a:bodyPr wrap="none" lIns="68586" tIns="34294" rIns="68586" bIns="34294" anchor="ctr"/>
          <a:lstStyle/>
          <a:p>
            <a:pPr defTabSz="685862" fontAlgn="base">
              <a:spcBef>
                <a:spcPct val="0"/>
              </a:spcBef>
              <a:spcAft>
                <a:spcPct val="0"/>
              </a:spcAft>
              <a:defRPr/>
            </a:pPr>
            <a:endParaRPr lang="en-US">
              <a:solidFill>
                <a:srgbClr val="00264A"/>
              </a:solidFill>
              <a:cs typeface="Segoe UI" pitchFamily="34" charset="0"/>
            </a:endParaRPr>
          </a:p>
        </p:txBody>
      </p:sp>
      <p:sp>
        <p:nvSpPr>
          <p:cNvPr id="8" name="Rectangle 7"/>
          <p:cNvSpPr/>
          <p:nvPr/>
        </p:nvSpPr>
        <p:spPr>
          <a:xfrm>
            <a:off x="2636731" y="1148954"/>
            <a:ext cx="1865004" cy="355997"/>
          </a:xfrm>
          <a:prstGeom prst="rect">
            <a:avLst/>
          </a:prstGeom>
          <a:solidFill>
            <a:srgbClr val="00264A"/>
          </a:solidFill>
          <a:ln>
            <a:noFill/>
          </a:ln>
          <a:effectLst/>
        </p:spPr>
        <p:style>
          <a:lnRef idx="1">
            <a:schemeClr val="accent1"/>
          </a:lnRef>
          <a:fillRef idx="3">
            <a:schemeClr val="accent1"/>
          </a:fillRef>
          <a:effectRef idx="2">
            <a:schemeClr val="accent1"/>
          </a:effectRef>
          <a:fontRef idx="minor">
            <a:schemeClr val="lt1"/>
          </a:fontRef>
        </p:style>
        <p:txBody>
          <a:bodyPr lIns="68586" tIns="34294" rIns="68586" bIns="34294" anchor="ctr"/>
          <a:lstStyle/>
          <a:p>
            <a:pPr algn="ctr" defTabSz="685862" fontAlgn="base">
              <a:spcBef>
                <a:spcPct val="0"/>
              </a:spcBef>
              <a:spcAft>
                <a:spcPct val="0"/>
              </a:spcAft>
              <a:defRPr/>
            </a:pPr>
            <a:endParaRPr lang="en-US" dirty="0">
              <a:solidFill>
                <a:srgbClr val="FFFFFF"/>
              </a:solidFill>
            </a:endParaRPr>
          </a:p>
        </p:txBody>
      </p:sp>
      <p:sp>
        <p:nvSpPr>
          <p:cNvPr id="9" name="Rectangle 8"/>
          <p:cNvSpPr/>
          <p:nvPr/>
        </p:nvSpPr>
        <p:spPr>
          <a:xfrm>
            <a:off x="4673229" y="1156098"/>
            <a:ext cx="1863814" cy="355997"/>
          </a:xfrm>
          <a:prstGeom prst="rect">
            <a:avLst/>
          </a:prstGeom>
          <a:solidFill>
            <a:srgbClr val="00264A"/>
          </a:solidFill>
          <a:ln>
            <a:noFill/>
          </a:ln>
          <a:effectLst/>
        </p:spPr>
        <p:style>
          <a:lnRef idx="1">
            <a:schemeClr val="accent1"/>
          </a:lnRef>
          <a:fillRef idx="3">
            <a:schemeClr val="accent1"/>
          </a:fillRef>
          <a:effectRef idx="2">
            <a:schemeClr val="accent1"/>
          </a:effectRef>
          <a:fontRef idx="minor">
            <a:schemeClr val="lt1"/>
          </a:fontRef>
        </p:style>
        <p:txBody>
          <a:bodyPr lIns="68586" tIns="34294" rIns="68586" bIns="34294" anchor="ctr"/>
          <a:lstStyle/>
          <a:p>
            <a:pPr algn="ctr" defTabSz="685862" fontAlgn="base">
              <a:spcBef>
                <a:spcPct val="0"/>
              </a:spcBef>
              <a:spcAft>
                <a:spcPct val="0"/>
              </a:spcAft>
              <a:defRPr/>
            </a:pPr>
            <a:endParaRPr lang="en-US" dirty="0">
              <a:solidFill>
                <a:srgbClr val="FFFFFF"/>
              </a:solidFill>
            </a:endParaRPr>
          </a:p>
        </p:txBody>
      </p:sp>
      <p:sp>
        <p:nvSpPr>
          <p:cNvPr id="10" name="Rectangle 9"/>
          <p:cNvSpPr/>
          <p:nvPr/>
        </p:nvSpPr>
        <p:spPr>
          <a:xfrm>
            <a:off x="6739503" y="1166814"/>
            <a:ext cx="1865004" cy="355997"/>
          </a:xfrm>
          <a:prstGeom prst="rect">
            <a:avLst/>
          </a:prstGeom>
          <a:solidFill>
            <a:srgbClr val="00264A"/>
          </a:solidFill>
          <a:ln>
            <a:noFill/>
          </a:ln>
          <a:effectLst/>
        </p:spPr>
        <p:style>
          <a:lnRef idx="1">
            <a:schemeClr val="accent1"/>
          </a:lnRef>
          <a:fillRef idx="3">
            <a:schemeClr val="accent1"/>
          </a:fillRef>
          <a:effectRef idx="2">
            <a:schemeClr val="accent1"/>
          </a:effectRef>
          <a:fontRef idx="minor">
            <a:schemeClr val="lt1"/>
          </a:fontRef>
        </p:style>
        <p:txBody>
          <a:bodyPr lIns="68586" tIns="34294" rIns="68586" bIns="34294" anchor="ctr"/>
          <a:lstStyle/>
          <a:p>
            <a:pPr algn="ctr" defTabSz="685862" fontAlgn="base">
              <a:spcBef>
                <a:spcPct val="0"/>
              </a:spcBef>
              <a:spcAft>
                <a:spcPct val="0"/>
              </a:spcAft>
              <a:defRPr/>
            </a:pPr>
            <a:endParaRPr lang="en-US" dirty="0">
              <a:solidFill>
                <a:srgbClr val="FFFFFF"/>
              </a:solidFill>
            </a:endParaRPr>
          </a:p>
        </p:txBody>
      </p:sp>
      <p:sp>
        <p:nvSpPr>
          <p:cNvPr id="11" name="Text Placeholder 18"/>
          <p:cNvSpPr txBox="1">
            <a:spLocks/>
          </p:cNvSpPr>
          <p:nvPr/>
        </p:nvSpPr>
        <p:spPr bwMode="auto">
          <a:xfrm>
            <a:off x="576413" y="1175148"/>
            <a:ext cx="1865004" cy="357188"/>
          </a:xfrm>
          <a:prstGeom prst="rect">
            <a:avLst/>
          </a:prstGeom>
          <a:noFill/>
          <a:ln>
            <a:miter lim="800000"/>
            <a:headEnd/>
            <a:tailEnd/>
          </a:ln>
        </p:spPr>
        <p:txBody>
          <a:bodyPr wrap="square" lIns="68586" tIns="34294" rIns="68586" bIns="34294" numCol="1" anchor="t" anchorCtr="0" compatLnSpc="1">
            <a:prstTxWarp prst="textNoShape">
              <a:avLst/>
            </a:prstTxWarp>
          </a:bodyPr>
          <a:lstStyle>
            <a:lvl1pPr marL="455613" indent="-455613" algn="l" defTabSz="608013" rtl="0" fontAlgn="base">
              <a:spcBef>
                <a:spcPct val="20000"/>
              </a:spcBef>
              <a:spcAft>
                <a:spcPct val="0"/>
              </a:spcAft>
              <a:buFont typeface="Arial" pitchFamily="34" charset="0"/>
              <a:buChar char="•"/>
              <a:defRPr sz="2800" kern="1200">
                <a:solidFill>
                  <a:srgbClr val="FFFFFF"/>
                </a:solidFill>
                <a:latin typeface="+mn-lt"/>
                <a:ea typeface="+mn-ea"/>
                <a:cs typeface="Arial"/>
              </a:defRPr>
            </a:lvl1pPr>
            <a:lvl2pPr marL="989013" indent="-379413" algn="l" defTabSz="608013" rtl="0" fontAlgn="base">
              <a:spcBef>
                <a:spcPct val="20000"/>
              </a:spcBef>
              <a:spcAft>
                <a:spcPct val="0"/>
              </a:spcAft>
              <a:buFont typeface="Arial" pitchFamily="34" charset="0"/>
              <a:buChar char="–"/>
              <a:defRPr sz="2400" kern="1200">
                <a:solidFill>
                  <a:srgbClr val="FFFFFF"/>
                </a:solidFill>
                <a:latin typeface="+mn-lt"/>
                <a:ea typeface="+mn-ea"/>
                <a:cs typeface="Arial"/>
              </a:defRPr>
            </a:lvl2pPr>
            <a:lvl3pPr marL="1522413" indent="-303213" algn="l" defTabSz="608013" rtl="0" fontAlgn="base">
              <a:spcBef>
                <a:spcPct val="20000"/>
              </a:spcBef>
              <a:spcAft>
                <a:spcPct val="0"/>
              </a:spcAft>
              <a:buFont typeface="Arial" pitchFamily="34" charset="0"/>
              <a:buChar char="•"/>
              <a:defRPr kern="1200">
                <a:solidFill>
                  <a:srgbClr val="FFFFFF"/>
                </a:solidFill>
                <a:latin typeface="+mn-lt"/>
                <a:ea typeface="+mn-ea"/>
                <a:cs typeface="Arial"/>
              </a:defRPr>
            </a:lvl3pPr>
            <a:lvl4pPr marL="21320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4pPr>
            <a:lvl5pPr marL="27416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5pPr>
            <a:lvl6pPr marL="3352213" indent="-304747" algn="l" defTabSz="609493" rtl="0" eaLnBrk="1" latinLnBrk="0" hangingPunct="1">
              <a:spcBef>
                <a:spcPct val="20000"/>
              </a:spcBef>
              <a:buFont typeface="Arial"/>
              <a:buChar char="•"/>
              <a:defRPr sz="2700" kern="1200">
                <a:solidFill>
                  <a:schemeClr val="tx1"/>
                </a:solidFill>
                <a:latin typeface="+mn-lt"/>
                <a:ea typeface="+mn-ea"/>
                <a:cs typeface="+mn-cs"/>
              </a:defRPr>
            </a:lvl6pPr>
            <a:lvl7pPr marL="3961707" indent="-304747" algn="l" defTabSz="609493" rtl="0" eaLnBrk="1" latinLnBrk="0" hangingPunct="1">
              <a:spcBef>
                <a:spcPct val="20000"/>
              </a:spcBef>
              <a:buFont typeface="Arial"/>
              <a:buChar char="•"/>
              <a:defRPr sz="2700" kern="1200">
                <a:solidFill>
                  <a:schemeClr val="tx1"/>
                </a:solidFill>
                <a:latin typeface="+mn-lt"/>
                <a:ea typeface="+mn-ea"/>
                <a:cs typeface="+mn-cs"/>
              </a:defRPr>
            </a:lvl7pPr>
            <a:lvl8pPr marL="4571200" indent="-304747" algn="l" defTabSz="609493" rtl="0" eaLnBrk="1" latinLnBrk="0" hangingPunct="1">
              <a:spcBef>
                <a:spcPct val="20000"/>
              </a:spcBef>
              <a:buFont typeface="Arial"/>
              <a:buChar char="•"/>
              <a:defRPr sz="2700" kern="1200">
                <a:solidFill>
                  <a:schemeClr val="tx1"/>
                </a:solidFill>
                <a:latin typeface="+mn-lt"/>
                <a:ea typeface="+mn-ea"/>
                <a:cs typeface="+mn-cs"/>
              </a:defRPr>
            </a:lvl8pPr>
            <a:lvl9pPr marL="5180693" indent="-304747" algn="l" defTabSz="609493"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a:buNone/>
            </a:pPr>
            <a:r>
              <a:rPr lang="en-US" sz="1400" dirty="0">
                <a:solidFill>
                  <a:srgbClr val="3DB5F1"/>
                </a:solidFill>
                <a:cs typeface="Arial" pitchFamily="34" charset="0"/>
              </a:rPr>
              <a:t>ABSTRACTION</a:t>
            </a:r>
          </a:p>
        </p:txBody>
      </p:sp>
      <p:sp>
        <p:nvSpPr>
          <p:cNvPr id="12" name="Text Placeholder 19"/>
          <p:cNvSpPr txBox="1">
            <a:spLocks/>
          </p:cNvSpPr>
          <p:nvPr/>
        </p:nvSpPr>
        <p:spPr bwMode="auto">
          <a:xfrm>
            <a:off x="627624" y="1646636"/>
            <a:ext cx="1772111" cy="2565797"/>
          </a:xfrm>
          <a:prstGeom prst="rect">
            <a:avLst/>
          </a:prstGeom>
          <a:noFill/>
          <a:ln>
            <a:miter lim="800000"/>
            <a:headEnd/>
            <a:tailEnd/>
          </a:ln>
        </p:spPr>
        <p:txBody>
          <a:bodyPr wrap="square" lIns="68586" tIns="34294" rIns="68586" bIns="34294" numCol="1" anchor="t" anchorCtr="0" compatLnSpc="1">
            <a:prstTxWarp prst="textNoShape">
              <a:avLst/>
            </a:prstTxWarp>
          </a:bodyPr>
          <a:lstStyle>
            <a:lvl1pPr marL="455613" indent="-455613" algn="l" defTabSz="608013" rtl="0" fontAlgn="base">
              <a:spcBef>
                <a:spcPct val="20000"/>
              </a:spcBef>
              <a:spcAft>
                <a:spcPct val="0"/>
              </a:spcAft>
              <a:buFont typeface="Arial" pitchFamily="34" charset="0"/>
              <a:buChar char="•"/>
              <a:defRPr sz="2800" kern="1200">
                <a:solidFill>
                  <a:srgbClr val="FFFFFF"/>
                </a:solidFill>
                <a:latin typeface="+mn-lt"/>
                <a:ea typeface="+mn-ea"/>
                <a:cs typeface="Arial"/>
              </a:defRPr>
            </a:lvl1pPr>
            <a:lvl2pPr marL="989013" indent="-379413" algn="l" defTabSz="608013" rtl="0" fontAlgn="base">
              <a:spcBef>
                <a:spcPct val="20000"/>
              </a:spcBef>
              <a:spcAft>
                <a:spcPct val="0"/>
              </a:spcAft>
              <a:buFont typeface="Arial" pitchFamily="34" charset="0"/>
              <a:buChar char="–"/>
              <a:defRPr sz="2400" kern="1200">
                <a:solidFill>
                  <a:srgbClr val="FFFFFF"/>
                </a:solidFill>
                <a:latin typeface="+mn-lt"/>
                <a:ea typeface="+mn-ea"/>
                <a:cs typeface="Arial"/>
              </a:defRPr>
            </a:lvl2pPr>
            <a:lvl3pPr marL="1522413" indent="-303213" algn="l" defTabSz="608013" rtl="0" fontAlgn="base">
              <a:spcBef>
                <a:spcPct val="20000"/>
              </a:spcBef>
              <a:spcAft>
                <a:spcPct val="0"/>
              </a:spcAft>
              <a:buFont typeface="Arial" pitchFamily="34" charset="0"/>
              <a:buChar char="•"/>
              <a:defRPr kern="1200">
                <a:solidFill>
                  <a:srgbClr val="FFFFFF"/>
                </a:solidFill>
                <a:latin typeface="+mn-lt"/>
                <a:ea typeface="+mn-ea"/>
                <a:cs typeface="Arial"/>
              </a:defRPr>
            </a:lvl3pPr>
            <a:lvl4pPr marL="21320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4pPr>
            <a:lvl5pPr marL="27416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5pPr>
            <a:lvl6pPr marL="3352213" indent="-304747" algn="l" defTabSz="609493" rtl="0" eaLnBrk="1" latinLnBrk="0" hangingPunct="1">
              <a:spcBef>
                <a:spcPct val="20000"/>
              </a:spcBef>
              <a:buFont typeface="Arial"/>
              <a:buChar char="•"/>
              <a:defRPr sz="2700" kern="1200">
                <a:solidFill>
                  <a:schemeClr val="tx1"/>
                </a:solidFill>
                <a:latin typeface="+mn-lt"/>
                <a:ea typeface="+mn-ea"/>
                <a:cs typeface="+mn-cs"/>
              </a:defRPr>
            </a:lvl6pPr>
            <a:lvl7pPr marL="3961707" indent="-304747" algn="l" defTabSz="609493" rtl="0" eaLnBrk="1" latinLnBrk="0" hangingPunct="1">
              <a:spcBef>
                <a:spcPct val="20000"/>
              </a:spcBef>
              <a:buFont typeface="Arial"/>
              <a:buChar char="•"/>
              <a:defRPr sz="2700" kern="1200">
                <a:solidFill>
                  <a:schemeClr val="tx1"/>
                </a:solidFill>
                <a:latin typeface="+mn-lt"/>
                <a:ea typeface="+mn-ea"/>
                <a:cs typeface="+mn-cs"/>
              </a:defRPr>
            </a:lvl7pPr>
            <a:lvl8pPr marL="4571200" indent="-304747" algn="l" defTabSz="609493" rtl="0" eaLnBrk="1" latinLnBrk="0" hangingPunct="1">
              <a:spcBef>
                <a:spcPct val="20000"/>
              </a:spcBef>
              <a:buFont typeface="Arial"/>
              <a:buChar char="•"/>
              <a:defRPr sz="2700" kern="1200">
                <a:solidFill>
                  <a:schemeClr val="tx1"/>
                </a:solidFill>
                <a:latin typeface="+mn-lt"/>
                <a:ea typeface="+mn-ea"/>
                <a:cs typeface="+mn-cs"/>
              </a:defRPr>
            </a:lvl8pPr>
            <a:lvl9pPr marL="5180693" indent="-304747" algn="l" defTabSz="609493" rtl="0" eaLnBrk="1" latinLnBrk="0" hangingPunct="1">
              <a:spcBef>
                <a:spcPct val="20000"/>
              </a:spcBef>
              <a:buFont typeface="Arial"/>
              <a:buChar char="•"/>
              <a:defRPr sz="2700" kern="1200">
                <a:solidFill>
                  <a:schemeClr val="tx1"/>
                </a:solidFill>
                <a:latin typeface="+mn-lt"/>
                <a:ea typeface="+mn-ea"/>
                <a:cs typeface="+mn-cs"/>
              </a:defRPr>
            </a:lvl9pPr>
          </a:lstStyle>
          <a:p>
            <a:pPr marL="0" lvl="1" indent="0">
              <a:buNone/>
            </a:pPr>
            <a:r>
              <a:rPr lang="en-US" sz="1100" b="1" dirty="0">
                <a:cs typeface="Arial" pitchFamily="34" charset="0"/>
              </a:rPr>
              <a:t>Server </a:t>
            </a:r>
            <a:r>
              <a:rPr lang="en-US" sz="1100" b="1" dirty="0" err="1">
                <a:cs typeface="Arial" pitchFamily="34" charset="0"/>
              </a:rPr>
              <a:t>App-V</a:t>
            </a:r>
            <a:r>
              <a:rPr lang="en-US" sz="1100" b="1" dirty="0">
                <a:cs typeface="Arial" pitchFamily="34" charset="0"/>
              </a:rPr>
              <a:t> </a:t>
            </a:r>
            <a:r>
              <a:rPr lang="en-US" sz="1100" dirty="0">
                <a:cs typeface="Arial" pitchFamily="34" charset="0"/>
              </a:rPr>
              <a:t>abstracts the application from the OS, encapsulated in a consistent format and dynamically configured at deployment</a:t>
            </a:r>
          </a:p>
        </p:txBody>
      </p:sp>
      <p:sp>
        <p:nvSpPr>
          <p:cNvPr id="13" name="Text Placeholder 20"/>
          <p:cNvSpPr txBox="1">
            <a:spLocks/>
          </p:cNvSpPr>
          <p:nvPr/>
        </p:nvSpPr>
        <p:spPr bwMode="auto">
          <a:xfrm>
            <a:off x="2636731" y="1175148"/>
            <a:ext cx="1865004" cy="357188"/>
          </a:xfrm>
          <a:prstGeom prst="rect">
            <a:avLst/>
          </a:prstGeom>
          <a:noFill/>
          <a:ln>
            <a:miter lim="800000"/>
            <a:headEnd/>
            <a:tailEnd/>
          </a:ln>
        </p:spPr>
        <p:txBody>
          <a:bodyPr wrap="square" lIns="68586" tIns="34294" rIns="68586" bIns="34294" numCol="1" anchor="t" anchorCtr="0" compatLnSpc="1">
            <a:prstTxWarp prst="textNoShape">
              <a:avLst/>
            </a:prstTxWarp>
          </a:bodyPr>
          <a:lstStyle>
            <a:lvl1pPr marL="455613" indent="-455613" algn="l" defTabSz="608013" rtl="0" fontAlgn="base">
              <a:spcBef>
                <a:spcPct val="20000"/>
              </a:spcBef>
              <a:spcAft>
                <a:spcPct val="0"/>
              </a:spcAft>
              <a:buFont typeface="Arial" pitchFamily="34" charset="0"/>
              <a:buChar char="•"/>
              <a:defRPr sz="2800" kern="1200">
                <a:solidFill>
                  <a:srgbClr val="FFFFFF"/>
                </a:solidFill>
                <a:latin typeface="+mn-lt"/>
                <a:ea typeface="+mn-ea"/>
                <a:cs typeface="Arial"/>
              </a:defRPr>
            </a:lvl1pPr>
            <a:lvl2pPr marL="989013" indent="-379413" algn="l" defTabSz="608013" rtl="0" fontAlgn="base">
              <a:spcBef>
                <a:spcPct val="20000"/>
              </a:spcBef>
              <a:spcAft>
                <a:spcPct val="0"/>
              </a:spcAft>
              <a:buFont typeface="Arial" pitchFamily="34" charset="0"/>
              <a:buChar char="–"/>
              <a:defRPr sz="2400" kern="1200">
                <a:solidFill>
                  <a:srgbClr val="FFFFFF"/>
                </a:solidFill>
                <a:latin typeface="+mn-lt"/>
                <a:ea typeface="+mn-ea"/>
                <a:cs typeface="Arial"/>
              </a:defRPr>
            </a:lvl2pPr>
            <a:lvl3pPr marL="1522413" indent="-303213" algn="l" defTabSz="608013" rtl="0" fontAlgn="base">
              <a:spcBef>
                <a:spcPct val="20000"/>
              </a:spcBef>
              <a:spcAft>
                <a:spcPct val="0"/>
              </a:spcAft>
              <a:buFont typeface="Arial" pitchFamily="34" charset="0"/>
              <a:buChar char="•"/>
              <a:defRPr kern="1200">
                <a:solidFill>
                  <a:srgbClr val="FFFFFF"/>
                </a:solidFill>
                <a:latin typeface="+mn-lt"/>
                <a:ea typeface="+mn-ea"/>
                <a:cs typeface="Arial"/>
              </a:defRPr>
            </a:lvl3pPr>
            <a:lvl4pPr marL="21320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4pPr>
            <a:lvl5pPr marL="27416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5pPr>
            <a:lvl6pPr marL="3352213" indent="-304747" algn="l" defTabSz="609493" rtl="0" eaLnBrk="1" latinLnBrk="0" hangingPunct="1">
              <a:spcBef>
                <a:spcPct val="20000"/>
              </a:spcBef>
              <a:buFont typeface="Arial"/>
              <a:buChar char="•"/>
              <a:defRPr sz="2700" kern="1200">
                <a:solidFill>
                  <a:schemeClr val="tx1"/>
                </a:solidFill>
                <a:latin typeface="+mn-lt"/>
                <a:ea typeface="+mn-ea"/>
                <a:cs typeface="+mn-cs"/>
              </a:defRPr>
            </a:lvl6pPr>
            <a:lvl7pPr marL="3961707" indent="-304747" algn="l" defTabSz="609493" rtl="0" eaLnBrk="1" latinLnBrk="0" hangingPunct="1">
              <a:spcBef>
                <a:spcPct val="20000"/>
              </a:spcBef>
              <a:buFont typeface="Arial"/>
              <a:buChar char="•"/>
              <a:defRPr sz="2700" kern="1200">
                <a:solidFill>
                  <a:schemeClr val="tx1"/>
                </a:solidFill>
                <a:latin typeface="+mn-lt"/>
                <a:ea typeface="+mn-ea"/>
                <a:cs typeface="+mn-cs"/>
              </a:defRPr>
            </a:lvl7pPr>
            <a:lvl8pPr marL="4571200" indent="-304747" algn="l" defTabSz="609493" rtl="0" eaLnBrk="1" latinLnBrk="0" hangingPunct="1">
              <a:spcBef>
                <a:spcPct val="20000"/>
              </a:spcBef>
              <a:buFont typeface="Arial"/>
              <a:buChar char="•"/>
              <a:defRPr sz="2700" kern="1200">
                <a:solidFill>
                  <a:schemeClr val="tx1"/>
                </a:solidFill>
                <a:latin typeface="+mn-lt"/>
                <a:ea typeface="+mn-ea"/>
                <a:cs typeface="+mn-cs"/>
              </a:defRPr>
            </a:lvl8pPr>
            <a:lvl9pPr marL="5180693" indent="-304747" algn="l" defTabSz="609493"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a:buNone/>
            </a:pPr>
            <a:r>
              <a:rPr lang="en-US" sz="1400" dirty="0">
                <a:solidFill>
                  <a:srgbClr val="3DB5F1"/>
                </a:solidFill>
                <a:cs typeface="Arial" pitchFamily="34" charset="0"/>
              </a:rPr>
              <a:t>CONSISTENCY</a:t>
            </a:r>
          </a:p>
        </p:txBody>
      </p:sp>
      <p:sp>
        <p:nvSpPr>
          <p:cNvPr id="14" name="Text Placeholder 21"/>
          <p:cNvSpPr txBox="1">
            <a:spLocks/>
          </p:cNvSpPr>
          <p:nvPr/>
        </p:nvSpPr>
        <p:spPr bwMode="auto">
          <a:xfrm>
            <a:off x="2685560" y="1646636"/>
            <a:ext cx="1772111" cy="2565797"/>
          </a:xfrm>
          <a:prstGeom prst="rect">
            <a:avLst/>
          </a:prstGeom>
          <a:noFill/>
          <a:ln>
            <a:miter lim="800000"/>
            <a:headEnd/>
            <a:tailEnd/>
          </a:ln>
        </p:spPr>
        <p:txBody>
          <a:bodyPr wrap="square" lIns="68586" tIns="34294" rIns="68586" bIns="34294" numCol="1" anchor="t" anchorCtr="0" compatLnSpc="1">
            <a:prstTxWarp prst="textNoShape">
              <a:avLst/>
            </a:prstTxWarp>
          </a:bodyPr>
          <a:lstStyle>
            <a:lvl1pPr marL="455613" indent="-455613" algn="l" defTabSz="608013" rtl="0" fontAlgn="base">
              <a:spcBef>
                <a:spcPct val="20000"/>
              </a:spcBef>
              <a:spcAft>
                <a:spcPct val="0"/>
              </a:spcAft>
              <a:buFont typeface="Arial" pitchFamily="34" charset="0"/>
              <a:buChar char="•"/>
              <a:defRPr sz="2800" kern="1200">
                <a:solidFill>
                  <a:srgbClr val="FFFFFF"/>
                </a:solidFill>
                <a:latin typeface="+mn-lt"/>
                <a:ea typeface="+mn-ea"/>
                <a:cs typeface="Arial"/>
              </a:defRPr>
            </a:lvl1pPr>
            <a:lvl2pPr marL="989013" indent="-379413" algn="l" defTabSz="608013" rtl="0" fontAlgn="base">
              <a:spcBef>
                <a:spcPct val="20000"/>
              </a:spcBef>
              <a:spcAft>
                <a:spcPct val="0"/>
              </a:spcAft>
              <a:buFont typeface="Arial" pitchFamily="34" charset="0"/>
              <a:buChar char="–"/>
              <a:defRPr sz="2400" kern="1200">
                <a:solidFill>
                  <a:srgbClr val="FFFFFF"/>
                </a:solidFill>
                <a:latin typeface="+mn-lt"/>
                <a:ea typeface="+mn-ea"/>
                <a:cs typeface="Arial"/>
              </a:defRPr>
            </a:lvl2pPr>
            <a:lvl3pPr marL="1522413" indent="-303213" algn="l" defTabSz="608013" rtl="0" fontAlgn="base">
              <a:spcBef>
                <a:spcPct val="20000"/>
              </a:spcBef>
              <a:spcAft>
                <a:spcPct val="0"/>
              </a:spcAft>
              <a:buFont typeface="Arial" pitchFamily="34" charset="0"/>
              <a:buChar char="•"/>
              <a:defRPr kern="1200">
                <a:solidFill>
                  <a:srgbClr val="FFFFFF"/>
                </a:solidFill>
                <a:latin typeface="+mn-lt"/>
                <a:ea typeface="+mn-ea"/>
                <a:cs typeface="Arial"/>
              </a:defRPr>
            </a:lvl3pPr>
            <a:lvl4pPr marL="21320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4pPr>
            <a:lvl5pPr marL="27416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5pPr>
            <a:lvl6pPr marL="3352213" indent="-304747" algn="l" defTabSz="609493" rtl="0" eaLnBrk="1" latinLnBrk="0" hangingPunct="1">
              <a:spcBef>
                <a:spcPct val="20000"/>
              </a:spcBef>
              <a:buFont typeface="Arial"/>
              <a:buChar char="•"/>
              <a:defRPr sz="2700" kern="1200">
                <a:solidFill>
                  <a:schemeClr val="tx1"/>
                </a:solidFill>
                <a:latin typeface="+mn-lt"/>
                <a:ea typeface="+mn-ea"/>
                <a:cs typeface="+mn-cs"/>
              </a:defRPr>
            </a:lvl6pPr>
            <a:lvl7pPr marL="3961707" indent="-304747" algn="l" defTabSz="609493" rtl="0" eaLnBrk="1" latinLnBrk="0" hangingPunct="1">
              <a:spcBef>
                <a:spcPct val="20000"/>
              </a:spcBef>
              <a:buFont typeface="Arial"/>
              <a:buChar char="•"/>
              <a:defRPr sz="2700" kern="1200">
                <a:solidFill>
                  <a:schemeClr val="tx1"/>
                </a:solidFill>
                <a:latin typeface="+mn-lt"/>
                <a:ea typeface="+mn-ea"/>
                <a:cs typeface="+mn-cs"/>
              </a:defRPr>
            </a:lvl7pPr>
            <a:lvl8pPr marL="4571200" indent="-304747" algn="l" defTabSz="609493" rtl="0" eaLnBrk="1" latinLnBrk="0" hangingPunct="1">
              <a:spcBef>
                <a:spcPct val="20000"/>
              </a:spcBef>
              <a:buFont typeface="Arial"/>
              <a:buChar char="•"/>
              <a:defRPr sz="2700" kern="1200">
                <a:solidFill>
                  <a:schemeClr val="tx1"/>
                </a:solidFill>
                <a:latin typeface="+mn-lt"/>
                <a:ea typeface="+mn-ea"/>
                <a:cs typeface="+mn-cs"/>
              </a:defRPr>
            </a:lvl8pPr>
            <a:lvl9pPr marL="5180693" indent="-304747" algn="l" defTabSz="609493" rtl="0" eaLnBrk="1" latinLnBrk="0" hangingPunct="1">
              <a:spcBef>
                <a:spcPct val="20000"/>
              </a:spcBef>
              <a:buFont typeface="Arial"/>
              <a:buChar char="•"/>
              <a:defRPr sz="2700" kern="1200">
                <a:solidFill>
                  <a:schemeClr val="tx1"/>
                </a:solidFill>
                <a:latin typeface="+mn-lt"/>
                <a:ea typeface="+mn-ea"/>
                <a:cs typeface="+mn-cs"/>
              </a:defRPr>
            </a:lvl9pPr>
          </a:lstStyle>
          <a:p>
            <a:pPr marL="0" lvl="1" indent="0">
              <a:buNone/>
            </a:pPr>
            <a:r>
              <a:rPr lang="en-US" sz="1100" b="1" dirty="0">
                <a:cs typeface="Arial" pitchFamily="34" charset="0"/>
              </a:rPr>
              <a:t>Service Templates </a:t>
            </a:r>
            <a:r>
              <a:rPr lang="en-US" sz="1100" dirty="0">
                <a:cs typeface="Arial" pitchFamily="34" charset="0"/>
              </a:rPr>
              <a:t>provide standardized specifications for deploying applications, defining how they are configured and scaled</a:t>
            </a:r>
          </a:p>
        </p:txBody>
      </p:sp>
      <p:sp>
        <p:nvSpPr>
          <p:cNvPr id="15" name="Text Placeholder 22"/>
          <p:cNvSpPr txBox="1">
            <a:spLocks/>
          </p:cNvSpPr>
          <p:nvPr/>
        </p:nvSpPr>
        <p:spPr bwMode="auto">
          <a:xfrm>
            <a:off x="4673229" y="1183483"/>
            <a:ext cx="1863814" cy="355997"/>
          </a:xfrm>
          <a:prstGeom prst="rect">
            <a:avLst/>
          </a:prstGeom>
          <a:noFill/>
          <a:ln>
            <a:miter lim="800000"/>
            <a:headEnd/>
            <a:tailEnd/>
          </a:ln>
        </p:spPr>
        <p:txBody>
          <a:bodyPr wrap="square" lIns="68586" tIns="34294" rIns="68586" bIns="34294" numCol="1" anchor="t" anchorCtr="0" compatLnSpc="1">
            <a:prstTxWarp prst="textNoShape">
              <a:avLst/>
            </a:prstTxWarp>
          </a:bodyPr>
          <a:lstStyle>
            <a:lvl1pPr marL="455613" indent="-455613" algn="l" defTabSz="608013" rtl="0" fontAlgn="base">
              <a:spcBef>
                <a:spcPct val="20000"/>
              </a:spcBef>
              <a:spcAft>
                <a:spcPct val="0"/>
              </a:spcAft>
              <a:buFont typeface="Arial" pitchFamily="34" charset="0"/>
              <a:buChar char="•"/>
              <a:defRPr sz="2800" kern="1200">
                <a:solidFill>
                  <a:srgbClr val="FFFFFF"/>
                </a:solidFill>
                <a:latin typeface="+mn-lt"/>
                <a:ea typeface="+mn-ea"/>
                <a:cs typeface="Arial"/>
              </a:defRPr>
            </a:lvl1pPr>
            <a:lvl2pPr marL="989013" indent="-379413" algn="l" defTabSz="608013" rtl="0" fontAlgn="base">
              <a:spcBef>
                <a:spcPct val="20000"/>
              </a:spcBef>
              <a:spcAft>
                <a:spcPct val="0"/>
              </a:spcAft>
              <a:buFont typeface="Arial" pitchFamily="34" charset="0"/>
              <a:buChar char="–"/>
              <a:defRPr sz="2400" kern="1200">
                <a:solidFill>
                  <a:srgbClr val="FFFFFF"/>
                </a:solidFill>
                <a:latin typeface="+mn-lt"/>
                <a:ea typeface="+mn-ea"/>
                <a:cs typeface="Arial"/>
              </a:defRPr>
            </a:lvl2pPr>
            <a:lvl3pPr marL="1522413" indent="-303213" algn="l" defTabSz="608013" rtl="0" fontAlgn="base">
              <a:spcBef>
                <a:spcPct val="20000"/>
              </a:spcBef>
              <a:spcAft>
                <a:spcPct val="0"/>
              </a:spcAft>
              <a:buFont typeface="Arial" pitchFamily="34" charset="0"/>
              <a:buChar char="•"/>
              <a:defRPr kern="1200">
                <a:solidFill>
                  <a:srgbClr val="FFFFFF"/>
                </a:solidFill>
                <a:latin typeface="+mn-lt"/>
                <a:ea typeface="+mn-ea"/>
                <a:cs typeface="Arial"/>
              </a:defRPr>
            </a:lvl3pPr>
            <a:lvl4pPr marL="21320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4pPr>
            <a:lvl5pPr marL="27416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5pPr>
            <a:lvl6pPr marL="3352213" indent="-304747" algn="l" defTabSz="609493" rtl="0" eaLnBrk="1" latinLnBrk="0" hangingPunct="1">
              <a:spcBef>
                <a:spcPct val="20000"/>
              </a:spcBef>
              <a:buFont typeface="Arial"/>
              <a:buChar char="•"/>
              <a:defRPr sz="2700" kern="1200">
                <a:solidFill>
                  <a:schemeClr val="tx1"/>
                </a:solidFill>
                <a:latin typeface="+mn-lt"/>
                <a:ea typeface="+mn-ea"/>
                <a:cs typeface="+mn-cs"/>
              </a:defRPr>
            </a:lvl6pPr>
            <a:lvl7pPr marL="3961707" indent="-304747" algn="l" defTabSz="609493" rtl="0" eaLnBrk="1" latinLnBrk="0" hangingPunct="1">
              <a:spcBef>
                <a:spcPct val="20000"/>
              </a:spcBef>
              <a:buFont typeface="Arial"/>
              <a:buChar char="•"/>
              <a:defRPr sz="2700" kern="1200">
                <a:solidFill>
                  <a:schemeClr val="tx1"/>
                </a:solidFill>
                <a:latin typeface="+mn-lt"/>
                <a:ea typeface="+mn-ea"/>
                <a:cs typeface="+mn-cs"/>
              </a:defRPr>
            </a:lvl7pPr>
            <a:lvl8pPr marL="4571200" indent="-304747" algn="l" defTabSz="609493" rtl="0" eaLnBrk="1" latinLnBrk="0" hangingPunct="1">
              <a:spcBef>
                <a:spcPct val="20000"/>
              </a:spcBef>
              <a:buFont typeface="Arial"/>
              <a:buChar char="•"/>
              <a:defRPr sz="2700" kern="1200">
                <a:solidFill>
                  <a:schemeClr val="tx1"/>
                </a:solidFill>
                <a:latin typeface="+mn-lt"/>
                <a:ea typeface="+mn-ea"/>
                <a:cs typeface="+mn-cs"/>
              </a:defRPr>
            </a:lvl8pPr>
            <a:lvl9pPr marL="5180693" indent="-304747" algn="l" defTabSz="609493"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a:buNone/>
            </a:pPr>
            <a:r>
              <a:rPr lang="en-US" sz="1400" dirty="0">
                <a:solidFill>
                  <a:srgbClr val="3DB5F1"/>
                </a:solidFill>
                <a:cs typeface="Arial" pitchFamily="34" charset="0"/>
              </a:rPr>
              <a:t>INSIGHT</a:t>
            </a:r>
          </a:p>
        </p:txBody>
      </p:sp>
      <p:sp>
        <p:nvSpPr>
          <p:cNvPr id="16" name="Text Placeholder 23"/>
          <p:cNvSpPr txBox="1">
            <a:spLocks/>
          </p:cNvSpPr>
          <p:nvPr/>
        </p:nvSpPr>
        <p:spPr bwMode="auto">
          <a:xfrm>
            <a:off x="4686330" y="1653778"/>
            <a:ext cx="1886441" cy="2566988"/>
          </a:xfrm>
          <a:prstGeom prst="rect">
            <a:avLst/>
          </a:prstGeom>
          <a:noFill/>
          <a:ln>
            <a:miter lim="800000"/>
            <a:headEnd/>
            <a:tailEnd/>
          </a:ln>
        </p:spPr>
        <p:txBody>
          <a:bodyPr wrap="square" lIns="68586" tIns="34294" rIns="68586" bIns="34294" numCol="1" anchor="t" anchorCtr="0" compatLnSpc="1">
            <a:prstTxWarp prst="textNoShape">
              <a:avLst/>
            </a:prstTxWarp>
          </a:bodyPr>
          <a:lstStyle>
            <a:lvl1pPr marL="455613" indent="-455613" algn="l" defTabSz="608013" rtl="0" fontAlgn="base">
              <a:spcBef>
                <a:spcPct val="20000"/>
              </a:spcBef>
              <a:spcAft>
                <a:spcPct val="0"/>
              </a:spcAft>
              <a:buFont typeface="Arial" pitchFamily="34" charset="0"/>
              <a:buChar char="•"/>
              <a:defRPr sz="2800" kern="1200">
                <a:solidFill>
                  <a:srgbClr val="FFFFFF"/>
                </a:solidFill>
                <a:latin typeface="+mn-lt"/>
                <a:ea typeface="+mn-ea"/>
                <a:cs typeface="Arial"/>
              </a:defRPr>
            </a:lvl1pPr>
            <a:lvl2pPr marL="989013" indent="-379413" algn="l" defTabSz="608013" rtl="0" fontAlgn="base">
              <a:spcBef>
                <a:spcPct val="20000"/>
              </a:spcBef>
              <a:spcAft>
                <a:spcPct val="0"/>
              </a:spcAft>
              <a:buFont typeface="Arial" pitchFamily="34" charset="0"/>
              <a:buChar char="–"/>
              <a:defRPr sz="2400" kern="1200">
                <a:solidFill>
                  <a:srgbClr val="FFFFFF"/>
                </a:solidFill>
                <a:latin typeface="+mn-lt"/>
                <a:ea typeface="+mn-ea"/>
                <a:cs typeface="Arial"/>
              </a:defRPr>
            </a:lvl2pPr>
            <a:lvl3pPr marL="1522413" indent="-303213" algn="l" defTabSz="608013" rtl="0" fontAlgn="base">
              <a:spcBef>
                <a:spcPct val="20000"/>
              </a:spcBef>
              <a:spcAft>
                <a:spcPct val="0"/>
              </a:spcAft>
              <a:buFont typeface="Arial" pitchFamily="34" charset="0"/>
              <a:buChar char="•"/>
              <a:defRPr kern="1200">
                <a:solidFill>
                  <a:srgbClr val="FFFFFF"/>
                </a:solidFill>
                <a:latin typeface="+mn-lt"/>
                <a:ea typeface="+mn-ea"/>
                <a:cs typeface="Arial"/>
              </a:defRPr>
            </a:lvl3pPr>
            <a:lvl4pPr marL="21320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4pPr>
            <a:lvl5pPr marL="27416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5pPr>
            <a:lvl6pPr marL="3352213" indent="-304747" algn="l" defTabSz="609493" rtl="0" eaLnBrk="1" latinLnBrk="0" hangingPunct="1">
              <a:spcBef>
                <a:spcPct val="20000"/>
              </a:spcBef>
              <a:buFont typeface="Arial"/>
              <a:buChar char="•"/>
              <a:defRPr sz="2700" kern="1200">
                <a:solidFill>
                  <a:schemeClr val="tx1"/>
                </a:solidFill>
                <a:latin typeface="+mn-lt"/>
                <a:ea typeface="+mn-ea"/>
                <a:cs typeface="+mn-cs"/>
              </a:defRPr>
            </a:lvl6pPr>
            <a:lvl7pPr marL="3961707" indent="-304747" algn="l" defTabSz="609493" rtl="0" eaLnBrk="1" latinLnBrk="0" hangingPunct="1">
              <a:spcBef>
                <a:spcPct val="20000"/>
              </a:spcBef>
              <a:buFont typeface="Arial"/>
              <a:buChar char="•"/>
              <a:defRPr sz="2700" kern="1200">
                <a:solidFill>
                  <a:schemeClr val="tx1"/>
                </a:solidFill>
                <a:latin typeface="+mn-lt"/>
                <a:ea typeface="+mn-ea"/>
                <a:cs typeface="+mn-cs"/>
              </a:defRPr>
            </a:lvl7pPr>
            <a:lvl8pPr marL="4571200" indent="-304747" algn="l" defTabSz="609493" rtl="0" eaLnBrk="1" latinLnBrk="0" hangingPunct="1">
              <a:spcBef>
                <a:spcPct val="20000"/>
              </a:spcBef>
              <a:buFont typeface="Arial"/>
              <a:buChar char="•"/>
              <a:defRPr sz="2700" kern="1200">
                <a:solidFill>
                  <a:schemeClr val="tx1"/>
                </a:solidFill>
                <a:latin typeface="+mn-lt"/>
                <a:ea typeface="+mn-ea"/>
                <a:cs typeface="+mn-cs"/>
              </a:defRPr>
            </a:lvl8pPr>
            <a:lvl9pPr marL="5180693" indent="-304747" algn="l" defTabSz="609493" rtl="0" eaLnBrk="1" latinLnBrk="0" hangingPunct="1">
              <a:spcBef>
                <a:spcPct val="20000"/>
              </a:spcBef>
              <a:buFont typeface="Arial"/>
              <a:buChar char="•"/>
              <a:defRPr sz="2700" kern="1200">
                <a:solidFill>
                  <a:schemeClr val="tx1"/>
                </a:solidFill>
                <a:latin typeface="+mn-lt"/>
                <a:ea typeface="+mn-ea"/>
                <a:cs typeface="+mn-cs"/>
              </a:defRPr>
            </a:lvl9pPr>
          </a:lstStyle>
          <a:p>
            <a:pPr marL="0" lvl="1" indent="0">
              <a:buNone/>
            </a:pPr>
            <a:r>
              <a:rPr lang="en-US" sz="1100" b="1" dirty="0">
                <a:cs typeface="Arial" pitchFamily="34" charset="0"/>
              </a:rPr>
              <a:t>Application Performance Monitoring </a:t>
            </a:r>
            <a:r>
              <a:rPr lang="en-US" sz="1100" dirty="0">
                <a:cs typeface="Arial" pitchFamily="34" charset="0"/>
              </a:rPr>
              <a:t>provides the structure to define desired performance levels based on end user experiences</a:t>
            </a:r>
          </a:p>
        </p:txBody>
      </p:sp>
      <p:sp>
        <p:nvSpPr>
          <p:cNvPr id="17" name="Text Placeholder 24"/>
          <p:cNvSpPr txBox="1">
            <a:spLocks/>
          </p:cNvSpPr>
          <p:nvPr/>
        </p:nvSpPr>
        <p:spPr bwMode="auto">
          <a:xfrm>
            <a:off x="6739503" y="1193007"/>
            <a:ext cx="1865004" cy="357188"/>
          </a:xfrm>
          <a:prstGeom prst="rect">
            <a:avLst/>
          </a:prstGeom>
          <a:noFill/>
          <a:ln>
            <a:miter lim="800000"/>
            <a:headEnd/>
            <a:tailEnd/>
          </a:ln>
        </p:spPr>
        <p:txBody>
          <a:bodyPr wrap="square" lIns="68586" tIns="34294" rIns="68586" bIns="34294" numCol="1" anchor="t" anchorCtr="0" compatLnSpc="1">
            <a:prstTxWarp prst="textNoShape">
              <a:avLst/>
            </a:prstTxWarp>
          </a:bodyPr>
          <a:lstStyle>
            <a:lvl1pPr marL="455613" indent="-455613" algn="l" defTabSz="608013" rtl="0" fontAlgn="base">
              <a:spcBef>
                <a:spcPct val="20000"/>
              </a:spcBef>
              <a:spcAft>
                <a:spcPct val="0"/>
              </a:spcAft>
              <a:buFont typeface="Arial" pitchFamily="34" charset="0"/>
              <a:buChar char="•"/>
              <a:defRPr sz="2800" kern="1200">
                <a:solidFill>
                  <a:srgbClr val="FFFFFF"/>
                </a:solidFill>
                <a:latin typeface="+mn-lt"/>
                <a:ea typeface="+mn-ea"/>
                <a:cs typeface="Arial"/>
              </a:defRPr>
            </a:lvl1pPr>
            <a:lvl2pPr marL="989013" indent="-379413" algn="l" defTabSz="608013" rtl="0" fontAlgn="base">
              <a:spcBef>
                <a:spcPct val="20000"/>
              </a:spcBef>
              <a:spcAft>
                <a:spcPct val="0"/>
              </a:spcAft>
              <a:buFont typeface="Arial" pitchFamily="34" charset="0"/>
              <a:buChar char="–"/>
              <a:defRPr sz="2400" kern="1200">
                <a:solidFill>
                  <a:srgbClr val="FFFFFF"/>
                </a:solidFill>
                <a:latin typeface="+mn-lt"/>
                <a:ea typeface="+mn-ea"/>
                <a:cs typeface="Arial"/>
              </a:defRPr>
            </a:lvl2pPr>
            <a:lvl3pPr marL="1522413" indent="-303213" algn="l" defTabSz="608013" rtl="0" fontAlgn="base">
              <a:spcBef>
                <a:spcPct val="20000"/>
              </a:spcBef>
              <a:spcAft>
                <a:spcPct val="0"/>
              </a:spcAft>
              <a:buFont typeface="Arial" pitchFamily="34" charset="0"/>
              <a:buChar char="•"/>
              <a:defRPr kern="1200">
                <a:solidFill>
                  <a:srgbClr val="FFFFFF"/>
                </a:solidFill>
                <a:latin typeface="+mn-lt"/>
                <a:ea typeface="+mn-ea"/>
                <a:cs typeface="Arial"/>
              </a:defRPr>
            </a:lvl3pPr>
            <a:lvl4pPr marL="21320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4pPr>
            <a:lvl5pPr marL="27416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5pPr>
            <a:lvl6pPr marL="3352213" indent="-304747" algn="l" defTabSz="609493" rtl="0" eaLnBrk="1" latinLnBrk="0" hangingPunct="1">
              <a:spcBef>
                <a:spcPct val="20000"/>
              </a:spcBef>
              <a:buFont typeface="Arial"/>
              <a:buChar char="•"/>
              <a:defRPr sz="2700" kern="1200">
                <a:solidFill>
                  <a:schemeClr val="tx1"/>
                </a:solidFill>
                <a:latin typeface="+mn-lt"/>
                <a:ea typeface="+mn-ea"/>
                <a:cs typeface="+mn-cs"/>
              </a:defRPr>
            </a:lvl6pPr>
            <a:lvl7pPr marL="3961707" indent="-304747" algn="l" defTabSz="609493" rtl="0" eaLnBrk="1" latinLnBrk="0" hangingPunct="1">
              <a:spcBef>
                <a:spcPct val="20000"/>
              </a:spcBef>
              <a:buFont typeface="Arial"/>
              <a:buChar char="•"/>
              <a:defRPr sz="2700" kern="1200">
                <a:solidFill>
                  <a:schemeClr val="tx1"/>
                </a:solidFill>
                <a:latin typeface="+mn-lt"/>
                <a:ea typeface="+mn-ea"/>
                <a:cs typeface="+mn-cs"/>
              </a:defRPr>
            </a:lvl7pPr>
            <a:lvl8pPr marL="4571200" indent="-304747" algn="l" defTabSz="609493" rtl="0" eaLnBrk="1" latinLnBrk="0" hangingPunct="1">
              <a:spcBef>
                <a:spcPct val="20000"/>
              </a:spcBef>
              <a:buFont typeface="Arial"/>
              <a:buChar char="•"/>
              <a:defRPr sz="2700" kern="1200">
                <a:solidFill>
                  <a:schemeClr val="tx1"/>
                </a:solidFill>
                <a:latin typeface="+mn-lt"/>
                <a:ea typeface="+mn-ea"/>
                <a:cs typeface="+mn-cs"/>
              </a:defRPr>
            </a:lvl8pPr>
            <a:lvl9pPr marL="5180693" indent="-304747" algn="l" defTabSz="609493"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a:buNone/>
            </a:pPr>
            <a:r>
              <a:rPr lang="en-US" sz="1400" dirty="0">
                <a:solidFill>
                  <a:srgbClr val="3DB5F1"/>
                </a:solidFill>
                <a:cs typeface="Arial" pitchFamily="34" charset="0"/>
              </a:rPr>
              <a:t>CONTROL</a:t>
            </a:r>
          </a:p>
        </p:txBody>
      </p:sp>
      <p:sp>
        <p:nvSpPr>
          <p:cNvPr id="18" name="Text Placeholder 25"/>
          <p:cNvSpPr txBox="1">
            <a:spLocks/>
          </p:cNvSpPr>
          <p:nvPr/>
        </p:nvSpPr>
        <p:spPr bwMode="auto">
          <a:xfrm>
            <a:off x="6763321" y="1664495"/>
            <a:ext cx="1924550" cy="2565797"/>
          </a:xfrm>
          <a:prstGeom prst="rect">
            <a:avLst/>
          </a:prstGeom>
          <a:noFill/>
          <a:ln>
            <a:miter lim="800000"/>
            <a:headEnd/>
            <a:tailEnd/>
          </a:ln>
        </p:spPr>
        <p:txBody>
          <a:bodyPr wrap="square" lIns="68586" tIns="34294" rIns="68586" bIns="34294" numCol="1" anchor="t" anchorCtr="0" compatLnSpc="1">
            <a:prstTxWarp prst="textNoShape">
              <a:avLst/>
            </a:prstTxWarp>
          </a:bodyPr>
          <a:lstStyle>
            <a:lvl1pPr marL="455613" indent="-455613" algn="l" defTabSz="608013" rtl="0" fontAlgn="base">
              <a:spcBef>
                <a:spcPct val="20000"/>
              </a:spcBef>
              <a:spcAft>
                <a:spcPct val="0"/>
              </a:spcAft>
              <a:buFont typeface="Arial" pitchFamily="34" charset="0"/>
              <a:buChar char="•"/>
              <a:defRPr sz="2800" kern="1200">
                <a:solidFill>
                  <a:srgbClr val="FFFFFF"/>
                </a:solidFill>
                <a:latin typeface="+mn-lt"/>
                <a:ea typeface="+mn-ea"/>
                <a:cs typeface="Arial"/>
              </a:defRPr>
            </a:lvl1pPr>
            <a:lvl2pPr marL="989013" indent="-379413" algn="l" defTabSz="608013" rtl="0" fontAlgn="base">
              <a:spcBef>
                <a:spcPct val="20000"/>
              </a:spcBef>
              <a:spcAft>
                <a:spcPct val="0"/>
              </a:spcAft>
              <a:buFont typeface="Arial" pitchFamily="34" charset="0"/>
              <a:buChar char="–"/>
              <a:defRPr sz="2400" kern="1200">
                <a:solidFill>
                  <a:srgbClr val="FFFFFF"/>
                </a:solidFill>
                <a:latin typeface="+mn-lt"/>
                <a:ea typeface="+mn-ea"/>
                <a:cs typeface="Arial"/>
              </a:defRPr>
            </a:lvl2pPr>
            <a:lvl3pPr marL="1522413" indent="-303213" algn="l" defTabSz="608013" rtl="0" fontAlgn="base">
              <a:spcBef>
                <a:spcPct val="20000"/>
              </a:spcBef>
              <a:spcAft>
                <a:spcPct val="0"/>
              </a:spcAft>
              <a:buFont typeface="Arial" pitchFamily="34" charset="0"/>
              <a:buChar char="•"/>
              <a:defRPr kern="1200">
                <a:solidFill>
                  <a:srgbClr val="FFFFFF"/>
                </a:solidFill>
                <a:latin typeface="+mn-lt"/>
                <a:ea typeface="+mn-ea"/>
                <a:cs typeface="Arial"/>
              </a:defRPr>
            </a:lvl3pPr>
            <a:lvl4pPr marL="21320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4pPr>
            <a:lvl5pPr marL="27416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5pPr>
            <a:lvl6pPr marL="3352213" indent="-304747" algn="l" defTabSz="609493" rtl="0" eaLnBrk="1" latinLnBrk="0" hangingPunct="1">
              <a:spcBef>
                <a:spcPct val="20000"/>
              </a:spcBef>
              <a:buFont typeface="Arial"/>
              <a:buChar char="•"/>
              <a:defRPr sz="2700" kern="1200">
                <a:solidFill>
                  <a:schemeClr val="tx1"/>
                </a:solidFill>
                <a:latin typeface="+mn-lt"/>
                <a:ea typeface="+mn-ea"/>
                <a:cs typeface="+mn-cs"/>
              </a:defRPr>
            </a:lvl6pPr>
            <a:lvl7pPr marL="3961707" indent="-304747" algn="l" defTabSz="609493" rtl="0" eaLnBrk="1" latinLnBrk="0" hangingPunct="1">
              <a:spcBef>
                <a:spcPct val="20000"/>
              </a:spcBef>
              <a:buFont typeface="Arial"/>
              <a:buChar char="•"/>
              <a:defRPr sz="2700" kern="1200">
                <a:solidFill>
                  <a:schemeClr val="tx1"/>
                </a:solidFill>
                <a:latin typeface="+mn-lt"/>
                <a:ea typeface="+mn-ea"/>
                <a:cs typeface="+mn-cs"/>
              </a:defRPr>
            </a:lvl7pPr>
            <a:lvl8pPr marL="4571200" indent="-304747" algn="l" defTabSz="609493" rtl="0" eaLnBrk="1" latinLnBrk="0" hangingPunct="1">
              <a:spcBef>
                <a:spcPct val="20000"/>
              </a:spcBef>
              <a:buFont typeface="Arial"/>
              <a:buChar char="•"/>
              <a:defRPr sz="2700" kern="1200">
                <a:solidFill>
                  <a:schemeClr val="tx1"/>
                </a:solidFill>
                <a:latin typeface="+mn-lt"/>
                <a:ea typeface="+mn-ea"/>
                <a:cs typeface="+mn-cs"/>
              </a:defRPr>
            </a:lvl8pPr>
            <a:lvl9pPr marL="5180693" indent="-304747" algn="l" defTabSz="609493" rtl="0" eaLnBrk="1" latinLnBrk="0" hangingPunct="1">
              <a:spcBef>
                <a:spcPct val="20000"/>
              </a:spcBef>
              <a:buFont typeface="Arial"/>
              <a:buChar char="•"/>
              <a:defRPr sz="2700" kern="1200">
                <a:solidFill>
                  <a:schemeClr val="tx1"/>
                </a:solidFill>
                <a:latin typeface="+mn-lt"/>
                <a:ea typeface="+mn-ea"/>
                <a:cs typeface="+mn-cs"/>
              </a:defRPr>
            </a:lvl9pPr>
          </a:lstStyle>
          <a:p>
            <a:pPr marL="0" lvl="1" indent="0">
              <a:buNone/>
            </a:pPr>
            <a:r>
              <a:rPr lang="en-US" sz="1100" b="1" dirty="0">
                <a:cs typeface="Arial" pitchFamily="34" charset="0"/>
              </a:rPr>
              <a:t>App Controller </a:t>
            </a:r>
            <a:r>
              <a:rPr lang="en-US" sz="1100" dirty="0">
                <a:cs typeface="Arial" pitchFamily="34" charset="0"/>
              </a:rPr>
              <a:t>provides visibility of quota utilization across applications running in both on-premise and public-cloud contexts with a single role-based identity</a:t>
            </a:r>
          </a:p>
        </p:txBody>
      </p:sp>
      <p:pic>
        <p:nvPicPr>
          <p:cNvPr id="19" name="Picture 4"/>
          <p:cNvPicPr>
            <a:picLocks noChangeAspect="1" noChangeArrowheads="1"/>
          </p:cNvPicPr>
          <p:nvPr/>
        </p:nvPicPr>
        <p:blipFill>
          <a:blip r:embed="rId2"/>
          <a:srcRect/>
          <a:stretch>
            <a:fillRect/>
          </a:stretch>
        </p:blipFill>
        <p:spPr bwMode="auto">
          <a:xfrm>
            <a:off x="2780834" y="2906317"/>
            <a:ext cx="1619672" cy="1164431"/>
          </a:xfrm>
          <a:prstGeom prst="rect">
            <a:avLst/>
          </a:prstGeom>
          <a:noFill/>
          <a:ln w="9525">
            <a:noFill/>
            <a:miter lim="800000"/>
            <a:headEnd/>
            <a:tailEnd/>
          </a:ln>
        </p:spPr>
      </p:pic>
      <p:pic>
        <p:nvPicPr>
          <p:cNvPr id="20" name="Picture 2" descr="image001"/>
          <p:cNvPicPr>
            <a:picLocks noChangeAspect="1" noChangeArrowheads="1"/>
          </p:cNvPicPr>
          <p:nvPr/>
        </p:nvPicPr>
        <p:blipFill>
          <a:blip r:embed="rId3"/>
          <a:srcRect/>
          <a:stretch>
            <a:fillRect/>
          </a:stretch>
        </p:blipFill>
        <p:spPr bwMode="auto">
          <a:xfrm>
            <a:off x="4800661" y="2906317"/>
            <a:ext cx="1636345" cy="1164431"/>
          </a:xfrm>
          <a:prstGeom prst="rect">
            <a:avLst/>
          </a:prstGeom>
          <a:noFill/>
          <a:ln w="9525">
            <a:noFill/>
            <a:miter lim="800000"/>
            <a:headEnd/>
            <a:tailEnd/>
          </a:ln>
        </p:spPr>
      </p:pic>
      <p:pic>
        <p:nvPicPr>
          <p:cNvPr id="21" name="Picture 2" descr="\\cpzaw-pro-10\MYDocs2\adhall\My Demos\System Center App Controller Walkthrough.demo_Assets\c0559690-2028-4425-ac9f-3111f3b3c9dd\Image_81.Png"/>
          <p:cNvPicPr>
            <a:picLocks noChangeAspect="1" noChangeArrowheads="1"/>
          </p:cNvPicPr>
          <p:nvPr/>
        </p:nvPicPr>
        <p:blipFill>
          <a:blip r:embed="rId4"/>
          <a:srcRect/>
          <a:stretch>
            <a:fillRect/>
          </a:stretch>
        </p:blipFill>
        <p:spPr bwMode="auto">
          <a:xfrm>
            <a:off x="6763321" y="2906317"/>
            <a:ext cx="1826895" cy="1164431"/>
          </a:xfrm>
          <a:prstGeom prst="rect">
            <a:avLst/>
          </a:prstGeom>
          <a:noFill/>
          <a:ln w="9525">
            <a:noFill/>
            <a:miter lim="800000"/>
            <a:headEnd/>
            <a:tailEnd/>
          </a:ln>
        </p:spPr>
      </p:pic>
      <p:pic>
        <p:nvPicPr>
          <p:cNvPr id="22"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4789" y="2906318"/>
            <a:ext cx="1637535" cy="11751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4"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6"/>
              </a:rPr>
              <a:t>www.rapidbbs.cn</a:t>
            </a:r>
            <a:endParaRPr lang="zh-CN" altLang="en-US" sz="1200" b="0">
              <a:latin typeface="Arial" charset="0"/>
              <a:ea typeface="ＭＳ Ｐゴシック" pitchFamily="34" charset="-128"/>
            </a:endParaRPr>
          </a:p>
        </p:txBody>
      </p:sp>
      <p:pic>
        <p:nvPicPr>
          <p:cNvPr id="25" name="Picture 2">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681905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500"/>
                                        <p:tgtEl>
                                          <p:spTgt spid="12"/>
                                        </p:tgtEl>
                                      </p:cBhvr>
                                    </p:animEffect>
                                  </p:childTnLst>
                                </p:cTn>
                              </p:par>
                              <p:par>
                                <p:cTn id="17" presetID="10" presetClass="entr" presetSubtype="0" fill="hold" nodeType="withEffect">
                                  <p:stCondLst>
                                    <p:cond delay="0"/>
                                  </p:stCondLst>
                                  <p:childTnLst>
                                    <p:set>
                                      <p:cBhvr>
                                        <p:cTn id="18" dur="1" fill="hold">
                                          <p:stCondLst>
                                            <p:cond delay="0"/>
                                          </p:stCondLst>
                                        </p:cTn>
                                        <p:tgtEl>
                                          <p:spTgt spid="22"/>
                                        </p:tgtEl>
                                        <p:attrNameLst>
                                          <p:attrName>style.visibility</p:attrName>
                                        </p:attrNameLst>
                                      </p:cBhvr>
                                      <p:to>
                                        <p:strVal val="visible"/>
                                      </p:to>
                                    </p:set>
                                    <p:animEffect transition="in" filter="fade">
                                      <p:cBhvr>
                                        <p:cTn id="19" dur="500"/>
                                        <p:tgtEl>
                                          <p:spTgt spid="22"/>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6"/>
                                        </p:tgtEl>
                                        <p:attrNameLst>
                                          <p:attrName>style.visibility</p:attrName>
                                        </p:attrNameLst>
                                      </p:cBhvr>
                                      <p:to>
                                        <p:strVal val="visible"/>
                                      </p:to>
                                    </p:set>
                                    <p:animEffect transition="in" filter="fade">
                                      <p:cBhvr>
                                        <p:cTn id="24" dur="500"/>
                                        <p:tgtEl>
                                          <p:spTgt spid="6"/>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500"/>
                                        <p:tgtEl>
                                          <p:spTgt spid="8"/>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3"/>
                                        </p:tgtEl>
                                        <p:attrNameLst>
                                          <p:attrName>style.visibility</p:attrName>
                                        </p:attrNameLst>
                                      </p:cBhvr>
                                      <p:to>
                                        <p:strVal val="visible"/>
                                      </p:to>
                                    </p:set>
                                    <p:animEffect transition="in" filter="fade">
                                      <p:cBhvr>
                                        <p:cTn id="30" dur="500"/>
                                        <p:tgtEl>
                                          <p:spTgt spid="13"/>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fade">
                                      <p:cBhvr>
                                        <p:cTn id="33" dur="500"/>
                                        <p:tgtEl>
                                          <p:spTgt spid="14"/>
                                        </p:tgtEl>
                                      </p:cBhvr>
                                    </p:animEffect>
                                  </p:childTnLst>
                                </p:cTn>
                              </p:par>
                              <p:par>
                                <p:cTn id="34" presetID="10" presetClass="entr" presetSubtype="0" fill="hold" nodeType="withEffect">
                                  <p:stCondLst>
                                    <p:cond delay="0"/>
                                  </p:stCondLst>
                                  <p:childTnLst>
                                    <p:set>
                                      <p:cBhvr>
                                        <p:cTn id="35" dur="1" fill="hold">
                                          <p:stCondLst>
                                            <p:cond delay="0"/>
                                          </p:stCondLst>
                                        </p:cTn>
                                        <p:tgtEl>
                                          <p:spTgt spid="19"/>
                                        </p:tgtEl>
                                        <p:attrNameLst>
                                          <p:attrName>style.visibility</p:attrName>
                                        </p:attrNameLst>
                                      </p:cBhvr>
                                      <p:to>
                                        <p:strVal val="visible"/>
                                      </p:to>
                                    </p:set>
                                    <p:animEffect transition="in" filter="fade">
                                      <p:cBhvr>
                                        <p:cTn id="36" dur="500"/>
                                        <p:tgtEl>
                                          <p:spTgt spid="19"/>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7"/>
                                        </p:tgtEl>
                                        <p:attrNameLst>
                                          <p:attrName>style.visibility</p:attrName>
                                        </p:attrNameLst>
                                      </p:cBhvr>
                                      <p:to>
                                        <p:strVal val="visible"/>
                                      </p:to>
                                    </p:set>
                                    <p:animEffect transition="in" filter="fade">
                                      <p:cBhvr>
                                        <p:cTn id="41" dur="500"/>
                                        <p:tgtEl>
                                          <p:spTgt spid="7"/>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9"/>
                                        </p:tgtEl>
                                        <p:attrNameLst>
                                          <p:attrName>style.visibility</p:attrName>
                                        </p:attrNameLst>
                                      </p:cBhvr>
                                      <p:to>
                                        <p:strVal val="visible"/>
                                      </p:to>
                                    </p:set>
                                    <p:animEffect transition="in" filter="fade">
                                      <p:cBhvr>
                                        <p:cTn id="44" dur="500"/>
                                        <p:tgtEl>
                                          <p:spTgt spid="9"/>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fade">
                                      <p:cBhvr>
                                        <p:cTn id="47" dur="500"/>
                                        <p:tgtEl>
                                          <p:spTgt spid="15"/>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6"/>
                                        </p:tgtEl>
                                        <p:attrNameLst>
                                          <p:attrName>style.visibility</p:attrName>
                                        </p:attrNameLst>
                                      </p:cBhvr>
                                      <p:to>
                                        <p:strVal val="visible"/>
                                      </p:to>
                                    </p:set>
                                    <p:animEffect transition="in" filter="fade">
                                      <p:cBhvr>
                                        <p:cTn id="50" dur="500"/>
                                        <p:tgtEl>
                                          <p:spTgt spid="16"/>
                                        </p:tgtEl>
                                      </p:cBhvr>
                                    </p:animEffect>
                                  </p:childTnLst>
                                </p:cTn>
                              </p:par>
                              <p:par>
                                <p:cTn id="51" presetID="10" presetClass="entr" presetSubtype="0" fill="hold" nodeType="withEffect">
                                  <p:stCondLst>
                                    <p:cond delay="0"/>
                                  </p:stCondLst>
                                  <p:childTnLst>
                                    <p:set>
                                      <p:cBhvr>
                                        <p:cTn id="52" dur="1" fill="hold">
                                          <p:stCondLst>
                                            <p:cond delay="0"/>
                                          </p:stCondLst>
                                        </p:cTn>
                                        <p:tgtEl>
                                          <p:spTgt spid="20"/>
                                        </p:tgtEl>
                                        <p:attrNameLst>
                                          <p:attrName>style.visibility</p:attrName>
                                        </p:attrNameLst>
                                      </p:cBhvr>
                                      <p:to>
                                        <p:strVal val="visible"/>
                                      </p:to>
                                    </p:set>
                                    <p:animEffect transition="in" filter="fade">
                                      <p:cBhvr>
                                        <p:cTn id="53" dur="500"/>
                                        <p:tgtEl>
                                          <p:spTgt spid="20"/>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5"/>
                                        </p:tgtEl>
                                        <p:attrNameLst>
                                          <p:attrName>style.visibility</p:attrName>
                                        </p:attrNameLst>
                                      </p:cBhvr>
                                      <p:to>
                                        <p:strVal val="visible"/>
                                      </p:to>
                                    </p:set>
                                    <p:animEffect transition="in" filter="fade">
                                      <p:cBhvr>
                                        <p:cTn id="58" dur="500"/>
                                        <p:tgtEl>
                                          <p:spTgt spid="5"/>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0"/>
                                        </p:tgtEl>
                                        <p:attrNameLst>
                                          <p:attrName>style.visibility</p:attrName>
                                        </p:attrNameLst>
                                      </p:cBhvr>
                                      <p:to>
                                        <p:strVal val="visible"/>
                                      </p:to>
                                    </p:set>
                                    <p:animEffect transition="in" filter="fade">
                                      <p:cBhvr>
                                        <p:cTn id="61" dur="500"/>
                                        <p:tgtEl>
                                          <p:spTgt spid="10"/>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7"/>
                                        </p:tgtEl>
                                        <p:attrNameLst>
                                          <p:attrName>style.visibility</p:attrName>
                                        </p:attrNameLst>
                                      </p:cBhvr>
                                      <p:to>
                                        <p:strVal val="visible"/>
                                      </p:to>
                                    </p:set>
                                    <p:animEffect transition="in" filter="fade">
                                      <p:cBhvr>
                                        <p:cTn id="64" dur="500"/>
                                        <p:tgtEl>
                                          <p:spTgt spid="17"/>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8"/>
                                        </p:tgtEl>
                                        <p:attrNameLst>
                                          <p:attrName>style.visibility</p:attrName>
                                        </p:attrNameLst>
                                      </p:cBhvr>
                                      <p:to>
                                        <p:strVal val="visible"/>
                                      </p:to>
                                    </p:set>
                                    <p:animEffect transition="in" filter="fade">
                                      <p:cBhvr>
                                        <p:cTn id="67" dur="500"/>
                                        <p:tgtEl>
                                          <p:spTgt spid="18"/>
                                        </p:tgtEl>
                                      </p:cBhvr>
                                    </p:animEffect>
                                  </p:childTnLst>
                                </p:cTn>
                              </p:par>
                              <p:par>
                                <p:cTn id="68" presetID="10" presetClass="entr" presetSubtype="0" fill="hold" nodeType="withEffect">
                                  <p:stCondLst>
                                    <p:cond delay="0"/>
                                  </p:stCondLst>
                                  <p:childTnLst>
                                    <p:set>
                                      <p:cBhvr>
                                        <p:cTn id="69" dur="1" fill="hold">
                                          <p:stCondLst>
                                            <p:cond delay="0"/>
                                          </p:stCondLst>
                                        </p:cTn>
                                        <p:tgtEl>
                                          <p:spTgt spid="21"/>
                                        </p:tgtEl>
                                        <p:attrNameLst>
                                          <p:attrName>style.visibility</p:attrName>
                                        </p:attrNameLst>
                                      </p:cBhvr>
                                      <p:to>
                                        <p:strVal val="visible"/>
                                      </p:to>
                                    </p:set>
                                    <p:animEffect transition="in" filter="fade">
                                      <p:cBhvr>
                                        <p:cTn id="70"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Lst>
  </p:timing>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3"/>
          <p:cNvSpPr>
            <a:spLocks/>
          </p:cNvSpPr>
          <p:nvPr/>
        </p:nvSpPr>
        <p:spPr bwMode="auto">
          <a:xfrm rot="2523820">
            <a:off x="2652214" y="1200150"/>
            <a:ext cx="3544223" cy="3370660"/>
          </a:xfrm>
          <a:custGeom>
            <a:avLst/>
            <a:gdLst>
              <a:gd name="T0" fmla="*/ 173 w 330"/>
              <a:gd name="T1" fmla="*/ 0 h 314"/>
              <a:gd name="T2" fmla="*/ 20 w 330"/>
              <a:gd name="T3" fmla="*/ 125 h 314"/>
              <a:gd name="T4" fmla="*/ 45 w 330"/>
              <a:gd name="T5" fmla="*/ 102 h 314"/>
              <a:gd name="T6" fmla="*/ 79 w 330"/>
              <a:gd name="T7" fmla="*/ 132 h 314"/>
              <a:gd name="T8" fmla="*/ 173 w 330"/>
              <a:gd name="T9" fmla="*/ 59 h 314"/>
              <a:gd name="T10" fmla="*/ 271 w 330"/>
              <a:gd name="T11" fmla="*/ 157 h 314"/>
              <a:gd name="T12" fmla="*/ 173 w 330"/>
              <a:gd name="T13" fmla="*/ 255 h 314"/>
              <a:gd name="T14" fmla="*/ 104 w 330"/>
              <a:gd name="T15" fmla="*/ 226 h 314"/>
              <a:gd name="T16" fmla="*/ 75 w 330"/>
              <a:gd name="T17" fmla="*/ 157 h 314"/>
              <a:gd name="T18" fmla="*/ 90 w 330"/>
              <a:gd name="T19" fmla="*/ 157 h 314"/>
              <a:gd name="T20" fmla="*/ 45 w 330"/>
              <a:gd name="T21" fmla="*/ 117 h 314"/>
              <a:gd name="T22" fmla="*/ 0 w 330"/>
              <a:gd name="T23" fmla="*/ 157 h 314"/>
              <a:gd name="T24" fmla="*/ 16 w 330"/>
              <a:gd name="T25" fmla="*/ 157 h 314"/>
              <a:gd name="T26" fmla="*/ 62 w 330"/>
              <a:gd name="T27" fmla="*/ 268 h 314"/>
              <a:gd name="T28" fmla="*/ 173 w 330"/>
              <a:gd name="T29" fmla="*/ 314 h 314"/>
              <a:gd name="T30" fmla="*/ 330 w 330"/>
              <a:gd name="T31" fmla="*/ 157 h 314"/>
              <a:gd name="T32" fmla="*/ 173 w 330"/>
              <a:gd name="T33" fmla="*/ 0 h 31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30"/>
              <a:gd name="T52" fmla="*/ 0 h 314"/>
              <a:gd name="T53" fmla="*/ 330 w 330"/>
              <a:gd name="T54" fmla="*/ 314 h 31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30" h="314">
                <a:moveTo>
                  <a:pt x="173" y="0"/>
                </a:moveTo>
                <a:cubicBezTo>
                  <a:pt x="98" y="0"/>
                  <a:pt x="34" y="54"/>
                  <a:pt x="20" y="125"/>
                </a:cubicBezTo>
                <a:lnTo>
                  <a:pt x="45" y="102"/>
                </a:lnTo>
                <a:lnTo>
                  <a:pt x="79" y="132"/>
                </a:lnTo>
                <a:cubicBezTo>
                  <a:pt x="90" y="90"/>
                  <a:pt x="128" y="59"/>
                  <a:pt x="173" y="59"/>
                </a:cubicBezTo>
                <a:cubicBezTo>
                  <a:pt x="227" y="59"/>
                  <a:pt x="271" y="103"/>
                  <a:pt x="271" y="157"/>
                </a:cubicBezTo>
                <a:cubicBezTo>
                  <a:pt x="271" y="211"/>
                  <a:pt x="227" y="255"/>
                  <a:pt x="173" y="255"/>
                </a:cubicBezTo>
                <a:cubicBezTo>
                  <a:pt x="147" y="255"/>
                  <a:pt x="122" y="245"/>
                  <a:pt x="104" y="226"/>
                </a:cubicBezTo>
                <a:cubicBezTo>
                  <a:pt x="85" y="208"/>
                  <a:pt x="75" y="183"/>
                  <a:pt x="75" y="157"/>
                </a:cubicBezTo>
                <a:lnTo>
                  <a:pt x="90" y="157"/>
                </a:lnTo>
                <a:lnTo>
                  <a:pt x="45" y="117"/>
                </a:lnTo>
                <a:lnTo>
                  <a:pt x="0" y="157"/>
                </a:lnTo>
                <a:lnTo>
                  <a:pt x="16" y="157"/>
                </a:lnTo>
                <a:cubicBezTo>
                  <a:pt x="16" y="199"/>
                  <a:pt x="33" y="238"/>
                  <a:pt x="62" y="268"/>
                </a:cubicBezTo>
                <a:cubicBezTo>
                  <a:pt x="92" y="298"/>
                  <a:pt x="131" y="314"/>
                  <a:pt x="173" y="314"/>
                </a:cubicBezTo>
                <a:cubicBezTo>
                  <a:pt x="260" y="314"/>
                  <a:pt x="330" y="244"/>
                  <a:pt x="330" y="157"/>
                </a:cubicBezTo>
                <a:cubicBezTo>
                  <a:pt x="330" y="70"/>
                  <a:pt x="260" y="0"/>
                  <a:pt x="173" y="0"/>
                </a:cubicBezTo>
                <a:close/>
              </a:path>
            </a:pathLst>
          </a:custGeom>
          <a:solidFill>
            <a:srgbClr val="FFFFFF">
              <a:alpha val="20000"/>
            </a:srgbClr>
          </a:solidFill>
          <a:ln w="9525">
            <a:noFill/>
            <a:round/>
            <a:headEnd/>
            <a:tailEnd/>
          </a:ln>
        </p:spPr>
        <p:txBody>
          <a:bodyPr lIns="68586" tIns="34294" rIns="68586" bIns="34294"/>
          <a:lstStyle/>
          <a:p>
            <a:pPr defTabSz="685862" fontAlgn="base">
              <a:spcBef>
                <a:spcPct val="0"/>
              </a:spcBef>
              <a:spcAft>
                <a:spcPct val="0"/>
              </a:spcAft>
            </a:pPr>
            <a:endParaRPr lang="en-US">
              <a:solidFill>
                <a:srgbClr val="00264A"/>
              </a:solidFill>
              <a:cs typeface="Segoe UI" pitchFamily="34" charset="0"/>
            </a:endParaRPr>
          </a:p>
        </p:txBody>
      </p:sp>
      <p:sp>
        <p:nvSpPr>
          <p:cNvPr id="3" name="AutoShape 52"/>
          <p:cNvSpPr>
            <a:spLocks noChangeArrowheads="1"/>
          </p:cNvSpPr>
          <p:nvPr/>
        </p:nvSpPr>
        <p:spPr bwMode="auto">
          <a:xfrm>
            <a:off x="3566851" y="1028700"/>
            <a:ext cx="1886441" cy="857250"/>
          </a:xfrm>
          <a:prstGeom prst="roundRect">
            <a:avLst>
              <a:gd name="adj" fmla="val 5417"/>
            </a:avLst>
          </a:prstGeom>
          <a:solidFill>
            <a:srgbClr val="1A4E7C">
              <a:alpha val="87057"/>
            </a:srgbClr>
          </a:solidFill>
          <a:ln w="9525">
            <a:noFill/>
            <a:round/>
            <a:headEnd/>
            <a:tailEnd/>
          </a:ln>
        </p:spPr>
        <p:txBody>
          <a:bodyPr lIns="68586" tIns="34294" rIns="68586" bIns="34294"/>
          <a:lstStyle/>
          <a:p>
            <a:pPr algn="ctr" defTabSz="685862" fontAlgn="base">
              <a:spcBef>
                <a:spcPct val="40000"/>
              </a:spcBef>
              <a:spcAft>
                <a:spcPct val="0"/>
              </a:spcAft>
            </a:pPr>
            <a:r>
              <a:rPr lang="en-US" sz="1000" b="1">
                <a:solidFill>
                  <a:srgbClr val="FFFFFF"/>
                </a:solidFill>
                <a:cs typeface="Segoe UI" pitchFamily="34" charset="0"/>
              </a:rPr>
              <a:t>Application Specification</a:t>
            </a:r>
          </a:p>
        </p:txBody>
      </p:sp>
      <p:sp>
        <p:nvSpPr>
          <p:cNvPr id="4" name="AutoShape 52"/>
          <p:cNvSpPr>
            <a:spLocks noChangeArrowheads="1"/>
          </p:cNvSpPr>
          <p:nvPr/>
        </p:nvSpPr>
        <p:spPr bwMode="auto">
          <a:xfrm>
            <a:off x="4938809" y="2343150"/>
            <a:ext cx="1886441" cy="857250"/>
          </a:xfrm>
          <a:prstGeom prst="roundRect">
            <a:avLst>
              <a:gd name="adj" fmla="val 5417"/>
            </a:avLst>
          </a:prstGeom>
          <a:solidFill>
            <a:srgbClr val="1A4E7C">
              <a:alpha val="87057"/>
            </a:srgbClr>
          </a:solidFill>
          <a:ln w="9525">
            <a:noFill/>
            <a:round/>
            <a:headEnd/>
            <a:tailEnd/>
          </a:ln>
        </p:spPr>
        <p:txBody>
          <a:bodyPr lIns="68586" tIns="34294" rIns="68586" bIns="34294"/>
          <a:lstStyle/>
          <a:p>
            <a:pPr algn="ctr" defTabSz="685862" fontAlgn="base">
              <a:spcBef>
                <a:spcPct val="40000"/>
              </a:spcBef>
              <a:spcAft>
                <a:spcPct val="0"/>
              </a:spcAft>
            </a:pPr>
            <a:r>
              <a:rPr lang="en-US" sz="1000" b="1">
                <a:solidFill>
                  <a:srgbClr val="FFFFFF"/>
                </a:solidFill>
                <a:cs typeface="Segoe UI" pitchFamily="34" charset="0"/>
              </a:rPr>
              <a:t>Create Service Template</a:t>
            </a:r>
          </a:p>
          <a:p>
            <a:pPr marL="89305" lvl="1" indent="-3573" algn="ctr" defTabSz="685862" fontAlgn="base">
              <a:spcBef>
                <a:spcPct val="40000"/>
              </a:spcBef>
              <a:spcAft>
                <a:spcPct val="0"/>
              </a:spcAft>
            </a:pPr>
            <a:endParaRPr lang="en-US" sz="1100" b="1">
              <a:solidFill>
                <a:srgbClr val="FFFFFF"/>
              </a:solidFill>
              <a:cs typeface="Segoe UI" pitchFamily="34" charset="0"/>
            </a:endParaRPr>
          </a:p>
          <a:p>
            <a:pPr algn="ctr" defTabSz="685862" fontAlgn="base">
              <a:spcBef>
                <a:spcPct val="40000"/>
              </a:spcBef>
              <a:spcAft>
                <a:spcPct val="0"/>
              </a:spcAft>
            </a:pPr>
            <a:endParaRPr lang="en-US" sz="1100" b="1">
              <a:solidFill>
                <a:srgbClr val="FFFFFF"/>
              </a:solidFill>
              <a:cs typeface="Segoe UI" pitchFamily="34" charset="0"/>
            </a:endParaRPr>
          </a:p>
        </p:txBody>
      </p:sp>
      <p:sp>
        <p:nvSpPr>
          <p:cNvPr id="5" name="AutoShape 52"/>
          <p:cNvSpPr>
            <a:spLocks noChangeArrowheads="1"/>
          </p:cNvSpPr>
          <p:nvPr/>
        </p:nvSpPr>
        <p:spPr bwMode="auto">
          <a:xfrm>
            <a:off x="4652985" y="3771900"/>
            <a:ext cx="1886441" cy="857250"/>
          </a:xfrm>
          <a:prstGeom prst="roundRect">
            <a:avLst>
              <a:gd name="adj" fmla="val 5417"/>
            </a:avLst>
          </a:prstGeom>
          <a:solidFill>
            <a:srgbClr val="1A4E7C">
              <a:alpha val="87057"/>
            </a:srgbClr>
          </a:solidFill>
          <a:ln w="9525">
            <a:noFill/>
            <a:round/>
            <a:headEnd/>
            <a:tailEnd/>
          </a:ln>
        </p:spPr>
        <p:txBody>
          <a:bodyPr lIns="68586" tIns="34294" rIns="68586" bIns="34294"/>
          <a:lstStyle/>
          <a:p>
            <a:pPr algn="ctr" defTabSz="685862" fontAlgn="base">
              <a:spcBef>
                <a:spcPct val="40000"/>
              </a:spcBef>
              <a:spcAft>
                <a:spcPct val="0"/>
              </a:spcAft>
            </a:pPr>
            <a:r>
              <a:rPr lang="en-US" sz="1000" b="1">
                <a:solidFill>
                  <a:srgbClr val="FFFFFF"/>
                </a:solidFill>
                <a:cs typeface="Segoe UI" pitchFamily="34" charset="0"/>
              </a:rPr>
              <a:t>Customize Deployment</a:t>
            </a:r>
          </a:p>
          <a:p>
            <a:pPr marL="89305" lvl="1" indent="-3573" algn="ctr" defTabSz="685862" fontAlgn="base">
              <a:spcBef>
                <a:spcPct val="40000"/>
              </a:spcBef>
              <a:spcAft>
                <a:spcPct val="0"/>
              </a:spcAft>
            </a:pPr>
            <a:endParaRPr lang="en-US" sz="1100" b="1">
              <a:solidFill>
                <a:srgbClr val="FFFFFF"/>
              </a:solidFill>
              <a:cs typeface="Segoe UI" pitchFamily="34" charset="0"/>
            </a:endParaRPr>
          </a:p>
          <a:p>
            <a:pPr algn="ctr" defTabSz="685862" fontAlgn="base">
              <a:spcBef>
                <a:spcPct val="40000"/>
              </a:spcBef>
              <a:spcAft>
                <a:spcPct val="0"/>
              </a:spcAft>
            </a:pPr>
            <a:endParaRPr lang="en-US" sz="1100" b="1">
              <a:solidFill>
                <a:srgbClr val="FFFFFF"/>
              </a:solidFill>
              <a:cs typeface="Segoe UI" pitchFamily="34" charset="0"/>
            </a:endParaRPr>
          </a:p>
        </p:txBody>
      </p:sp>
      <p:sp>
        <p:nvSpPr>
          <p:cNvPr id="6" name="AutoShape 52"/>
          <p:cNvSpPr>
            <a:spLocks noChangeArrowheads="1"/>
          </p:cNvSpPr>
          <p:nvPr/>
        </p:nvSpPr>
        <p:spPr bwMode="auto">
          <a:xfrm>
            <a:off x="2537883" y="3771900"/>
            <a:ext cx="1886441" cy="857250"/>
          </a:xfrm>
          <a:prstGeom prst="roundRect">
            <a:avLst>
              <a:gd name="adj" fmla="val 5417"/>
            </a:avLst>
          </a:prstGeom>
          <a:solidFill>
            <a:srgbClr val="1A4E7C">
              <a:alpha val="87057"/>
            </a:srgbClr>
          </a:solidFill>
          <a:ln w="9525">
            <a:noFill/>
            <a:round/>
            <a:headEnd/>
            <a:tailEnd/>
          </a:ln>
        </p:spPr>
        <p:txBody>
          <a:bodyPr lIns="68586" tIns="34294" rIns="68586" bIns="34294"/>
          <a:lstStyle/>
          <a:p>
            <a:pPr algn="ctr" defTabSz="685862" fontAlgn="base">
              <a:spcBef>
                <a:spcPct val="40000"/>
              </a:spcBef>
              <a:spcAft>
                <a:spcPct val="0"/>
              </a:spcAft>
            </a:pPr>
            <a:r>
              <a:rPr lang="en-US" sz="1000" b="1">
                <a:solidFill>
                  <a:srgbClr val="FFFFFF"/>
                </a:solidFill>
                <a:cs typeface="Segoe UI" pitchFamily="34" charset="0"/>
              </a:rPr>
              <a:t>Deploy Service</a:t>
            </a:r>
          </a:p>
        </p:txBody>
      </p:sp>
      <p:sp>
        <p:nvSpPr>
          <p:cNvPr id="7" name="AutoShape 52"/>
          <p:cNvSpPr>
            <a:spLocks noChangeArrowheads="1"/>
          </p:cNvSpPr>
          <p:nvPr/>
        </p:nvSpPr>
        <p:spPr bwMode="auto">
          <a:xfrm>
            <a:off x="2194895" y="2343150"/>
            <a:ext cx="1886441" cy="857250"/>
          </a:xfrm>
          <a:prstGeom prst="roundRect">
            <a:avLst>
              <a:gd name="adj" fmla="val 5417"/>
            </a:avLst>
          </a:prstGeom>
          <a:solidFill>
            <a:srgbClr val="1A4E7C">
              <a:alpha val="87057"/>
            </a:srgbClr>
          </a:solidFill>
          <a:ln w="9525">
            <a:noFill/>
            <a:round/>
            <a:headEnd/>
            <a:tailEnd/>
          </a:ln>
        </p:spPr>
        <p:txBody>
          <a:bodyPr lIns="68586" tIns="34294" rIns="68586" bIns="34294"/>
          <a:lstStyle/>
          <a:p>
            <a:pPr algn="ctr" defTabSz="685862" fontAlgn="base">
              <a:spcBef>
                <a:spcPct val="40000"/>
              </a:spcBef>
              <a:spcAft>
                <a:spcPct val="0"/>
              </a:spcAft>
            </a:pPr>
            <a:r>
              <a:rPr lang="en-US" sz="1000" b="1" dirty="0">
                <a:solidFill>
                  <a:srgbClr val="FFFFFF"/>
                </a:solidFill>
                <a:cs typeface="Segoe UI" pitchFamily="34" charset="0"/>
              </a:rPr>
              <a:t>Update Template and Apply to Service</a:t>
            </a:r>
          </a:p>
          <a:p>
            <a:pPr marL="89305" lvl="1" indent="-3573" algn="ctr" defTabSz="685862" fontAlgn="base">
              <a:spcBef>
                <a:spcPct val="40000"/>
              </a:spcBef>
              <a:spcAft>
                <a:spcPct val="0"/>
              </a:spcAft>
            </a:pPr>
            <a:endParaRPr lang="en-US" sz="1100" b="1" dirty="0">
              <a:solidFill>
                <a:srgbClr val="FFFFFF"/>
              </a:solidFill>
              <a:cs typeface="Segoe UI" pitchFamily="34" charset="0"/>
            </a:endParaRPr>
          </a:p>
          <a:p>
            <a:pPr algn="ctr" defTabSz="685862" fontAlgn="base">
              <a:spcBef>
                <a:spcPct val="40000"/>
              </a:spcBef>
              <a:spcAft>
                <a:spcPct val="0"/>
              </a:spcAft>
            </a:pPr>
            <a:endParaRPr lang="en-US" sz="1100" b="1" dirty="0">
              <a:solidFill>
                <a:srgbClr val="FFFFFF"/>
              </a:solidFill>
              <a:cs typeface="Segoe UI" pitchFamily="34" charset="0"/>
            </a:endParaRPr>
          </a:p>
        </p:txBody>
      </p:sp>
      <p:sp>
        <p:nvSpPr>
          <p:cNvPr id="8" name="Title 1"/>
          <p:cNvSpPr txBox="1">
            <a:spLocks/>
          </p:cNvSpPr>
          <p:nvPr/>
        </p:nvSpPr>
        <p:spPr bwMode="auto">
          <a:xfrm>
            <a:off x="389436" y="171451"/>
            <a:ext cx="8363938" cy="457049"/>
          </a:xfrm>
          <a:prstGeom prst="rect">
            <a:avLst/>
          </a:prstGeom>
          <a:noFill/>
          <a:ln>
            <a:miter lim="800000"/>
            <a:headEnd/>
            <a:tailEnd/>
          </a:ln>
          <a:effectLst/>
        </p:spPr>
        <p:txBody>
          <a:bodyPr wrap="square" lIns="68586" tIns="34294" rIns="68586" bIns="34294" numCol="1" anchorCtr="0" compatLnSpc="1">
            <a:prstTxWarp prst="textNoShape">
              <a:avLst/>
            </a:prstTxWarp>
          </a:bodyPr>
          <a:lst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smtClean="0">
                <a:latin typeface="Segoe UI" pitchFamily="34" charset="0"/>
                <a:cs typeface="Arial" pitchFamily="34" charset="0"/>
              </a:rPr>
              <a:t>Application delivery lifecycle</a:t>
            </a:r>
            <a:endParaRPr lang="en-US">
              <a:latin typeface="Segoe UI" pitchFamily="34" charset="0"/>
              <a:cs typeface="Arial" pitchFamily="34" charset="0"/>
            </a:endParaRPr>
          </a:p>
        </p:txBody>
      </p:sp>
      <p:pic>
        <p:nvPicPr>
          <p:cNvPr id="9" name="Picture 12"/>
          <p:cNvPicPr>
            <a:picLocks noChangeAspect="1"/>
          </p:cNvPicPr>
          <p:nvPr/>
        </p:nvPicPr>
        <p:blipFill>
          <a:blip r:embed="rId2"/>
          <a:srcRect/>
          <a:stretch>
            <a:fillRect/>
          </a:stretch>
        </p:blipFill>
        <p:spPr bwMode="auto">
          <a:xfrm>
            <a:off x="4119446" y="1410892"/>
            <a:ext cx="470419" cy="409575"/>
          </a:xfrm>
          <a:prstGeom prst="rect">
            <a:avLst/>
          </a:prstGeom>
          <a:noFill/>
          <a:ln w="9525">
            <a:noFill/>
            <a:miter lim="800000"/>
            <a:headEnd/>
            <a:tailEnd/>
          </a:ln>
        </p:spPr>
      </p:pic>
      <p:pic>
        <p:nvPicPr>
          <p:cNvPr id="10" name="Picture 13"/>
          <p:cNvPicPr>
            <a:picLocks noChangeAspect="1"/>
          </p:cNvPicPr>
          <p:nvPr/>
        </p:nvPicPr>
        <p:blipFill>
          <a:blip r:embed="rId3"/>
          <a:srcRect/>
          <a:stretch>
            <a:fillRect/>
          </a:stretch>
        </p:blipFill>
        <p:spPr bwMode="auto">
          <a:xfrm>
            <a:off x="4424326" y="1296592"/>
            <a:ext cx="459701" cy="466725"/>
          </a:xfrm>
          <a:prstGeom prst="rect">
            <a:avLst/>
          </a:prstGeom>
          <a:noFill/>
          <a:ln w="9525">
            <a:noFill/>
            <a:miter lim="800000"/>
            <a:headEnd/>
            <a:tailEnd/>
          </a:ln>
        </p:spPr>
      </p:pic>
      <p:pic>
        <p:nvPicPr>
          <p:cNvPr id="11" name="Picture 14" descr="app.ai"/>
          <p:cNvPicPr>
            <a:picLocks noChangeAspect="1"/>
          </p:cNvPicPr>
          <p:nvPr/>
        </p:nvPicPr>
        <p:blipFill>
          <a:blip r:embed="rId4"/>
          <a:srcRect/>
          <a:stretch>
            <a:fillRect/>
          </a:stretch>
        </p:blipFill>
        <p:spPr bwMode="auto">
          <a:xfrm rot="1078840">
            <a:off x="4602965" y="1537099"/>
            <a:ext cx="347753" cy="364331"/>
          </a:xfrm>
          <a:prstGeom prst="rect">
            <a:avLst/>
          </a:prstGeom>
          <a:noFill/>
          <a:ln w="9525">
            <a:noFill/>
            <a:miter lim="800000"/>
            <a:headEnd/>
            <a:tailEnd/>
          </a:ln>
        </p:spPr>
      </p:pic>
      <p:pic>
        <p:nvPicPr>
          <p:cNvPr id="12" name="Picture 2"/>
          <p:cNvPicPr>
            <a:picLocks noChangeAspect="1" noChangeArrowheads="1"/>
          </p:cNvPicPr>
          <p:nvPr/>
        </p:nvPicPr>
        <p:blipFill>
          <a:blip r:embed="rId5"/>
          <a:srcRect/>
          <a:stretch>
            <a:fillRect/>
          </a:stretch>
        </p:blipFill>
        <p:spPr bwMode="auto">
          <a:xfrm>
            <a:off x="5472873" y="2618186"/>
            <a:ext cx="928404" cy="525065"/>
          </a:xfrm>
          <a:prstGeom prst="rect">
            <a:avLst/>
          </a:prstGeom>
          <a:noFill/>
          <a:ln w="9525">
            <a:noFill/>
            <a:miter lim="800000"/>
            <a:headEnd/>
            <a:tailEnd/>
          </a:ln>
        </p:spPr>
      </p:pic>
      <p:grpSp>
        <p:nvGrpSpPr>
          <p:cNvPr id="13" name="Group 19"/>
          <p:cNvGrpSpPr>
            <a:grpSpLocks/>
          </p:cNvGrpSpPr>
          <p:nvPr/>
        </p:nvGrpSpPr>
        <p:grpSpPr bwMode="auto">
          <a:xfrm>
            <a:off x="5069812" y="3926682"/>
            <a:ext cx="1052787" cy="672704"/>
            <a:chOff x="3700181" y="2545975"/>
            <a:chExt cx="5671616" cy="3505411"/>
          </a:xfrm>
        </p:grpSpPr>
        <p:pic>
          <p:nvPicPr>
            <p:cNvPr id="14" name="Picture 20"/>
            <p:cNvPicPr>
              <a:picLocks noChangeAspect="1"/>
            </p:cNvPicPr>
            <p:nvPr/>
          </p:nvPicPr>
          <p:blipFill>
            <a:blip r:embed="rId6"/>
            <a:srcRect/>
            <a:stretch>
              <a:fillRect/>
            </a:stretch>
          </p:blipFill>
          <p:spPr bwMode="auto">
            <a:xfrm>
              <a:off x="4381218" y="2545975"/>
              <a:ext cx="4990579" cy="2754980"/>
            </a:xfrm>
            <a:prstGeom prst="rect">
              <a:avLst/>
            </a:prstGeom>
            <a:noFill/>
            <a:ln w="9525">
              <a:noFill/>
              <a:miter lim="800000"/>
              <a:headEnd/>
              <a:tailEnd/>
            </a:ln>
          </p:spPr>
        </p:pic>
        <p:pic>
          <p:nvPicPr>
            <p:cNvPr id="15" name="Picture 21"/>
            <p:cNvPicPr>
              <a:picLocks noChangeAspect="1"/>
            </p:cNvPicPr>
            <p:nvPr/>
          </p:nvPicPr>
          <p:blipFill>
            <a:blip r:embed="rId7"/>
            <a:srcRect/>
            <a:stretch>
              <a:fillRect/>
            </a:stretch>
          </p:blipFill>
          <p:spPr bwMode="auto">
            <a:xfrm>
              <a:off x="3700181" y="4064337"/>
              <a:ext cx="1362075" cy="1876425"/>
            </a:xfrm>
            <a:prstGeom prst="rect">
              <a:avLst/>
            </a:prstGeom>
            <a:noFill/>
            <a:ln w="9525">
              <a:noFill/>
              <a:miter lim="800000"/>
              <a:headEnd/>
              <a:tailEnd/>
            </a:ln>
          </p:spPr>
        </p:pic>
        <p:pic>
          <p:nvPicPr>
            <p:cNvPr id="16" name="Picture 22"/>
            <p:cNvPicPr>
              <a:picLocks noChangeAspect="1"/>
            </p:cNvPicPr>
            <p:nvPr/>
          </p:nvPicPr>
          <p:blipFill>
            <a:blip r:embed="rId7"/>
            <a:srcRect/>
            <a:stretch>
              <a:fillRect/>
            </a:stretch>
          </p:blipFill>
          <p:spPr bwMode="auto">
            <a:xfrm>
              <a:off x="4760943" y="4131059"/>
              <a:ext cx="1362075" cy="1876425"/>
            </a:xfrm>
            <a:prstGeom prst="rect">
              <a:avLst/>
            </a:prstGeom>
            <a:noFill/>
            <a:ln w="9525">
              <a:noFill/>
              <a:miter lim="800000"/>
              <a:headEnd/>
              <a:tailEnd/>
            </a:ln>
          </p:spPr>
        </p:pic>
        <p:pic>
          <p:nvPicPr>
            <p:cNvPr id="17" name="Picture 23"/>
            <p:cNvPicPr>
              <a:picLocks noChangeAspect="1"/>
            </p:cNvPicPr>
            <p:nvPr/>
          </p:nvPicPr>
          <p:blipFill>
            <a:blip r:embed="rId7"/>
            <a:srcRect/>
            <a:stretch>
              <a:fillRect/>
            </a:stretch>
          </p:blipFill>
          <p:spPr bwMode="auto">
            <a:xfrm>
              <a:off x="5858132" y="4108239"/>
              <a:ext cx="1362075" cy="1876425"/>
            </a:xfrm>
            <a:prstGeom prst="rect">
              <a:avLst/>
            </a:prstGeom>
            <a:noFill/>
            <a:ln w="9525">
              <a:noFill/>
              <a:miter lim="800000"/>
              <a:headEnd/>
              <a:tailEnd/>
            </a:ln>
          </p:spPr>
        </p:pic>
        <p:pic>
          <p:nvPicPr>
            <p:cNvPr id="18" name="Picture 24"/>
            <p:cNvPicPr>
              <a:picLocks noChangeAspect="1"/>
            </p:cNvPicPr>
            <p:nvPr/>
          </p:nvPicPr>
          <p:blipFill>
            <a:blip r:embed="rId7"/>
            <a:srcRect/>
            <a:stretch>
              <a:fillRect/>
            </a:stretch>
          </p:blipFill>
          <p:spPr bwMode="auto">
            <a:xfrm>
              <a:off x="6918894" y="4174961"/>
              <a:ext cx="1362075" cy="1876425"/>
            </a:xfrm>
            <a:prstGeom prst="rect">
              <a:avLst/>
            </a:prstGeom>
            <a:noFill/>
            <a:ln w="9525">
              <a:noFill/>
              <a:miter lim="800000"/>
              <a:headEnd/>
              <a:tailEnd/>
            </a:ln>
          </p:spPr>
        </p:pic>
        <p:pic>
          <p:nvPicPr>
            <p:cNvPr id="19" name="Picture 26"/>
            <p:cNvPicPr>
              <a:picLocks noChangeAspect="1"/>
            </p:cNvPicPr>
            <p:nvPr/>
          </p:nvPicPr>
          <p:blipFill>
            <a:blip r:embed="rId8"/>
            <a:srcRect/>
            <a:stretch>
              <a:fillRect/>
            </a:stretch>
          </p:blipFill>
          <p:spPr bwMode="auto">
            <a:xfrm>
              <a:off x="4028538" y="2929851"/>
              <a:ext cx="1464809" cy="884546"/>
            </a:xfrm>
            <a:prstGeom prst="rect">
              <a:avLst/>
            </a:prstGeom>
            <a:noFill/>
            <a:ln w="9525">
              <a:noFill/>
              <a:miter lim="800000"/>
              <a:headEnd/>
              <a:tailEnd/>
            </a:ln>
          </p:spPr>
        </p:pic>
      </p:grpSp>
      <p:pic>
        <p:nvPicPr>
          <p:cNvPr id="20" name="Picture 5"/>
          <p:cNvPicPr>
            <a:picLocks noChangeAspect="1" noChangeArrowheads="1"/>
          </p:cNvPicPr>
          <p:nvPr/>
        </p:nvPicPr>
        <p:blipFill>
          <a:blip r:embed="rId9"/>
          <a:srcRect/>
          <a:stretch>
            <a:fillRect/>
          </a:stretch>
        </p:blipFill>
        <p:spPr bwMode="auto">
          <a:xfrm>
            <a:off x="3138114" y="4000501"/>
            <a:ext cx="460892" cy="558404"/>
          </a:xfrm>
          <a:prstGeom prst="rect">
            <a:avLst/>
          </a:prstGeom>
          <a:noFill/>
          <a:ln w="9525">
            <a:noFill/>
            <a:miter lim="800000"/>
            <a:headEnd/>
            <a:tailEnd/>
          </a:ln>
        </p:spPr>
      </p:pic>
      <p:grpSp>
        <p:nvGrpSpPr>
          <p:cNvPr id="21" name="Group 27"/>
          <p:cNvGrpSpPr>
            <a:grpSpLocks/>
          </p:cNvGrpSpPr>
          <p:nvPr/>
        </p:nvGrpSpPr>
        <p:grpSpPr bwMode="auto">
          <a:xfrm>
            <a:off x="3481105" y="4170759"/>
            <a:ext cx="577603" cy="546572"/>
            <a:chOff x="7589484" y="4824626"/>
            <a:chExt cx="2048502" cy="1722379"/>
          </a:xfrm>
        </p:grpSpPr>
        <p:sp>
          <p:nvSpPr>
            <p:cNvPr id="22" name="Rectangle 21"/>
            <p:cNvSpPr/>
            <p:nvPr/>
          </p:nvSpPr>
          <p:spPr>
            <a:xfrm>
              <a:off x="8565162" y="4888408"/>
              <a:ext cx="359017" cy="277645"/>
            </a:xfrm>
            <a:prstGeom prst="rect">
              <a:avLst/>
            </a:prstGeom>
            <a:solidFill>
              <a:srgbClr val="83B9DA"/>
            </a:solidFill>
            <a:ln>
              <a:tailEnd type="stealth" w="lg" len="lg"/>
            </a:ln>
          </p:spPr>
          <p:style>
            <a:lnRef idx="1">
              <a:schemeClr val="accent4"/>
            </a:lnRef>
            <a:fillRef idx="2">
              <a:schemeClr val="accent4"/>
            </a:fillRef>
            <a:effectRef idx="1">
              <a:schemeClr val="accent4"/>
            </a:effectRef>
            <a:fontRef idx="minor">
              <a:schemeClr val="dk1"/>
            </a:fontRef>
          </p:style>
          <p:txBody>
            <a:bodyPr anchor="ct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fontAlgn="base">
                <a:spcBef>
                  <a:spcPct val="0"/>
                </a:spcBef>
                <a:spcAft>
                  <a:spcPct val="0"/>
                </a:spcAft>
                <a:defRPr/>
              </a:pPr>
              <a:endParaRPr lang="en-US" sz="1200" dirty="0" err="1">
                <a:solidFill>
                  <a:srgbClr val="1F497D"/>
                </a:solidFill>
              </a:endParaRPr>
            </a:p>
          </p:txBody>
        </p:sp>
        <p:sp>
          <p:nvSpPr>
            <p:cNvPr id="23" name="Rectangle 22"/>
            <p:cNvSpPr/>
            <p:nvPr/>
          </p:nvSpPr>
          <p:spPr>
            <a:xfrm>
              <a:off x="8717215" y="5042239"/>
              <a:ext cx="359017" cy="277645"/>
            </a:xfrm>
            <a:prstGeom prst="rect">
              <a:avLst/>
            </a:prstGeom>
            <a:solidFill>
              <a:srgbClr val="83B9DA"/>
            </a:solidFill>
            <a:ln>
              <a:tailEnd type="stealth" w="lg" len="lg"/>
            </a:ln>
          </p:spPr>
          <p:style>
            <a:lnRef idx="1">
              <a:schemeClr val="accent4"/>
            </a:lnRef>
            <a:fillRef idx="2">
              <a:schemeClr val="accent4"/>
            </a:fillRef>
            <a:effectRef idx="1">
              <a:schemeClr val="accent4"/>
            </a:effectRef>
            <a:fontRef idx="minor">
              <a:schemeClr val="dk1"/>
            </a:fontRef>
          </p:style>
          <p:txBody>
            <a:bodyPr anchor="ct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fontAlgn="base">
                <a:spcBef>
                  <a:spcPct val="0"/>
                </a:spcBef>
                <a:spcAft>
                  <a:spcPct val="0"/>
                </a:spcAft>
                <a:defRPr/>
              </a:pPr>
              <a:endParaRPr lang="en-US" sz="1200" dirty="0" err="1">
                <a:solidFill>
                  <a:srgbClr val="1F497D"/>
                </a:solidFill>
              </a:endParaRPr>
            </a:p>
          </p:txBody>
        </p:sp>
        <p:sp>
          <p:nvSpPr>
            <p:cNvPr id="24" name="Rectangle 23"/>
            <p:cNvSpPr/>
            <p:nvPr/>
          </p:nvSpPr>
          <p:spPr>
            <a:xfrm>
              <a:off x="8869269" y="5192317"/>
              <a:ext cx="359017" cy="277645"/>
            </a:xfrm>
            <a:prstGeom prst="rect">
              <a:avLst/>
            </a:prstGeom>
            <a:solidFill>
              <a:srgbClr val="83B9DA"/>
            </a:solidFill>
            <a:ln>
              <a:tailEnd type="stealth" w="lg" len="lg"/>
            </a:ln>
          </p:spPr>
          <p:style>
            <a:lnRef idx="1">
              <a:schemeClr val="accent4"/>
            </a:lnRef>
            <a:fillRef idx="2">
              <a:schemeClr val="accent4"/>
            </a:fillRef>
            <a:effectRef idx="1">
              <a:schemeClr val="accent4"/>
            </a:effectRef>
            <a:fontRef idx="minor">
              <a:schemeClr val="dk1"/>
            </a:fontRef>
          </p:style>
          <p:txBody>
            <a:bodyPr anchor="ct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fontAlgn="base">
                <a:spcBef>
                  <a:spcPct val="0"/>
                </a:spcBef>
                <a:spcAft>
                  <a:spcPct val="0"/>
                </a:spcAft>
                <a:defRPr/>
              </a:pPr>
              <a:endParaRPr lang="en-US" sz="1200" dirty="0" err="1">
                <a:solidFill>
                  <a:srgbClr val="1F497D"/>
                </a:solidFill>
              </a:endParaRPr>
            </a:p>
          </p:txBody>
        </p:sp>
        <p:sp>
          <p:nvSpPr>
            <p:cNvPr id="25" name="TextBox 71"/>
            <p:cNvSpPr txBox="1">
              <a:spLocks noChangeArrowheads="1"/>
            </p:cNvSpPr>
            <p:nvPr/>
          </p:nvSpPr>
          <p:spPr bwMode="auto">
            <a:xfrm>
              <a:off x="8187558" y="5577126"/>
              <a:ext cx="1450428" cy="969879"/>
            </a:xfrm>
            <a:prstGeom prst="rect">
              <a:avLst/>
            </a:prstGeom>
            <a:noFill/>
            <a:ln w="9525">
              <a:noFill/>
              <a:miter lim="800000"/>
              <a:headEnd/>
              <a:tailEnd/>
            </a:ln>
          </p:spPr>
          <p:txBody>
            <a:bodyPr>
              <a:spAutoFit/>
            </a:bodyPr>
            <a:lstStyle/>
            <a:p>
              <a:pPr algn="ctr" defTabSz="684673" fontAlgn="base">
                <a:spcBef>
                  <a:spcPct val="0"/>
                </a:spcBef>
                <a:spcAft>
                  <a:spcPct val="0"/>
                </a:spcAft>
                <a:buClr>
                  <a:srgbClr val="00264A"/>
                </a:buClr>
              </a:pPr>
              <a:endParaRPr lang="en-US" b="1" i="1">
                <a:solidFill>
                  <a:srgbClr val="FFFFFF"/>
                </a:solidFill>
                <a:cs typeface="Segoe UI" pitchFamily="34" charset="0"/>
              </a:endParaRPr>
            </a:p>
          </p:txBody>
        </p:sp>
        <p:sp>
          <p:nvSpPr>
            <p:cNvPr id="26" name="Rounded Rectangle 25"/>
            <p:cNvSpPr/>
            <p:nvPr/>
          </p:nvSpPr>
          <p:spPr>
            <a:xfrm>
              <a:off x="8468017" y="4824626"/>
              <a:ext cx="908098" cy="746638"/>
            </a:xfrm>
            <a:prstGeom prst="roundRect">
              <a:avLst/>
            </a:prstGeom>
            <a:noFill/>
            <a:ln>
              <a:solidFill>
                <a:schemeClr val="tx2"/>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fontAlgn="base">
                <a:spcBef>
                  <a:spcPct val="0"/>
                </a:spcBef>
                <a:spcAft>
                  <a:spcPct val="0"/>
                </a:spcAft>
                <a:defRPr/>
              </a:pPr>
              <a:endParaRPr lang="en-US" dirty="0" err="1" smtClean="0">
                <a:solidFill>
                  <a:srgbClr val="00264A">
                    <a:lumMod val="75000"/>
                    <a:lumOff val="25000"/>
                  </a:srgbClr>
                </a:solidFill>
              </a:endParaRPr>
            </a:p>
          </p:txBody>
        </p:sp>
        <p:sp>
          <p:nvSpPr>
            <p:cNvPr id="27" name="Trapezoid 3"/>
            <p:cNvSpPr/>
            <p:nvPr/>
          </p:nvSpPr>
          <p:spPr>
            <a:xfrm rot="5400000" flipV="1">
              <a:off x="7699812" y="4769160"/>
              <a:ext cx="690709" cy="911366"/>
            </a:xfrm>
            <a:custGeom>
              <a:avLst/>
              <a:gdLst>
                <a:gd name="connsiteX0" fmla="*/ 0 w 2873363"/>
                <a:gd name="connsiteY0" fmla="*/ 2254723 h 2254723"/>
                <a:gd name="connsiteX1" fmla="*/ 1275001 w 2873363"/>
                <a:gd name="connsiteY1" fmla="*/ 0 h 2254723"/>
                <a:gd name="connsiteX2" fmla="*/ 1598362 w 2873363"/>
                <a:gd name="connsiteY2" fmla="*/ 0 h 2254723"/>
                <a:gd name="connsiteX3" fmla="*/ 2873363 w 2873363"/>
                <a:gd name="connsiteY3" fmla="*/ 2254723 h 2254723"/>
                <a:gd name="connsiteX4" fmla="*/ 0 w 2873363"/>
                <a:gd name="connsiteY4" fmla="*/ 2254723 h 2254723"/>
                <a:gd name="connsiteX0" fmla="*/ 0 w 2781326"/>
                <a:gd name="connsiteY0" fmla="*/ 2254723 h 3471665"/>
                <a:gd name="connsiteX1" fmla="*/ 1275001 w 2781326"/>
                <a:gd name="connsiteY1" fmla="*/ 0 h 3471665"/>
                <a:gd name="connsiteX2" fmla="*/ 1598362 w 2781326"/>
                <a:gd name="connsiteY2" fmla="*/ 0 h 3471665"/>
                <a:gd name="connsiteX3" fmla="*/ 2781326 w 2781326"/>
                <a:gd name="connsiteY3" fmla="*/ 3471665 h 3471665"/>
                <a:gd name="connsiteX4" fmla="*/ 0 w 2781326"/>
                <a:gd name="connsiteY4" fmla="*/ 2254723 h 3471665"/>
                <a:gd name="connsiteX0" fmla="*/ 0 w 2781326"/>
                <a:gd name="connsiteY0" fmla="*/ 2585015 h 3801957"/>
                <a:gd name="connsiteX1" fmla="*/ 1275001 w 2781326"/>
                <a:gd name="connsiteY1" fmla="*/ 330292 h 3801957"/>
                <a:gd name="connsiteX2" fmla="*/ 1926292 w 2781326"/>
                <a:gd name="connsiteY2" fmla="*/ 0 h 3801957"/>
                <a:gd name="connsiteX3" fmla="*/ 2781326 w 2781326"/>
                <a:gd name="connsiteY3" fmla="*/ 3801957 h 3801957"/>
                <a:gd name="connsiteX4" fmla="*/ 0 w 2781326"/>
                <a:gd name="connsiteY4" fmla="*/ 2585015 h 3801957"/>
                <a:gd name="connsiteX0" fmla="*/ 0 w 2781326"/>
                <a:gd name="connsiteY0" fmla="*/ 2585015 h 3801957"/>
                <a:gd name="connsiteX1" fmla="*/ 628002 w 2781326"/>
                <a:gd name="connsiteY1" fmla="*/ 355906 h 3801957"/>
                <a:gd name="connsiteX2" fmla="*/ 1926292 w 2781326"/>
                <a:gd name="connsiteY2" fmla="*/ 0 h 3801957"/>
                <a:gd name="connsiteX3" fmla="*/ 2781326 w 2781326"/>
                <a:gd name="connsiteY3" fmla="*/ 3801957 h 3801957"/>
                <a:gd name="connsiteX4" fmla="*/ 0 w 2781326"/>
                <a:gd name="connsiteY4" fmla="*/ 2585015 h 3801957"/>
                <a:gd name="connsiteX0" fmla="*/ 54973 w 2153324"/>
                <a:gd name="connsiteY0" fmla="*/ 1636130 h 3801957"/>
                <a:gd name="connsiteX1" fmla="*/ 0 w 2153324"/>
                <a:gd name="connsiteY1" fmla="*/ 355906 h 3801957"/>
                <a:gd name="connsiteX2" fmla="*/ 1298290 w 2153324"/>
                <a:gd name="connsiteY2" fmla="*/ 0 h 3801957"/>
                <a:gd name="connsiteX3" fmla="*/ 2153324 w 2153324"/>
                <a:gd name="connsiteY3" fmla="*/ 3801957 h 3801957"/>
                <a:gd name="connsiteX4" fmla="*/ 54973 w 2153324"/>
                <a:gd name="connsiteY4" fmla="*/ 1636130 h 3801957"/>
                <a:gd name="connsiteX0" fmla="*/ 0 w 3489111"/>
                <a:gd name="connsiteY0" fmla="*/ 2829177 h 3801957"/>
                <a:gd name="connsiteX1" fmla="*/ 1335787 w 3489111"/>
                <a:gd name="connsiteY1" fmla="*/ 355906 h 3801957"/>
                <a:gd name="connsiteX2" fmla="*/ 2634077 w 3489111"/>
                <a:gd name="connsiteY2" fmla="*/ 0 h 3801957"/>
                <a:gd name="connsiteX3" fmla="*/ 3489111 w 3489111"/>
                <a:gd name="connsiteY3" fmla="*/ 3801957 h 3801957"/>
                <a:gd name="connsiteX4" fmla="*/ 0 w 3489111"/>
                <a:gd name="connsiteY4" fmla="*/ 2829177 h 3801957"/>
                <a:gd name="connsiteX0" fmla="*/ 0 w 3217787"/>
                <a:gd name="connsiteY0" fmla="*/ 3077213 h 3801957"/>
                <a:gd name="connsiteX1" fmla="*/ 1064463 w 3217787"/>
                <a:gd name="connsiteY1" fmla="*/ 355906 h 3801957"/>
                <a:gd name="connsiteX2" fmla="*/ 2362753 w 3217787"/>
                <a:gd name="connsiteY2" fmla="*/ 0 h 3801957"/>
                <a:gd name="connsiteX3" fmla="*/ 3217787 w 3217787"/>
                <a:gd name="connsiteY3" fmla="*/ 3801957 h 3801957"/>
                <a:gd name="connsiteX4" fmla="*/ 0 w 3217787"/>
                <a:gd name="connsiteY4" fmla="*/ 3077213 h 3801957"/>
                <a:gd name="connsiteX0" fmla="*/ 0 w 3217787"/>
                <a:gd name="connsiteY0" fmla="*/ 3077213 h 3801957"/>
                <a:gd name="connsiteX1" fmla="*/ 1679138 w 3217787"/>
                <a:gd name="connsiteY1" fmla="*/ 287222 h 3801957"/>
                <a:gd name="connsiteX2" fmla="*/ 2362753 w 3217787"/>
                <a:gd name="connsiteY2" fmla="*/ 0 h 3801957"/>
                <a:gd name="connsiteX3" fmla="*/ 3217787 w 3217787"/>
                <a:gd name="connsiteY3" fmla="*/ 3801957 h 3801957"/>
                <a:gd name="connsiteX4" fmla="*/ 0 w 3217787"/>
                <a:gd name="connsiteY4" fmla="*/ 3077213 h 3801957"/>
                <a:gd name="connsiteX0" fmla="*/ 0 w 3217787"/>
                <a:gd name="connsiteY0" fmla="*/ 3106287 h 3831031"/>
                <a:gd name="connsiteX1" fmla="*/ 2340052 w 3217787"/>
                <a:gd name="connsiteY1" fmla="*/ 0 h 3831031"/>
                <a:gd name="connsiteX2" fmla="*/ 2362753 w 3217787"/>
                <a:gd name="connsiteY2" fmla="*/ 29074 h 3831031"/>
                <a:gd name="connsiteX3" fmla="*/ 3217787 w 3217787"/>
                <a:gd name="connsiteY3" fmla="*/ 3831031 h 3831031"/>
                <a:gd name="connsiteX4" fmla="*/ 0 w 3217787"/>
                <a:gd name="connsiteY4" fmla="*/ 3106287 h 3831031"/>
                <a:gd name="connsiteX0" fmla="*/ 0 w 3107634"/>
                <a:gd name="connsiteY0" fmla="*/ 3106287 h 3106287"/>
                <a:gd name="connsiteX1" fmla="*/ 2340052 w 3107634"/>
                <a:gd name="connsiteY1" fmla="*/ 0 h 3106287"/>
                <a:gd name="connsiteX2" fmla="*/ 2362753 w 3107634"/>
                <a:gd name="connsiteY2" fmla="*/ 29074 h 3106287"/>
                <a:gd name="connsiteX3" fmla="*/ 3107634 w 3107634"/>
                <a:gd name="connsiteY3" fmla="*/ 2841328 h 3106287"/>
                <a:gd name="connsiteX4" fmla="*/ 0 w 3107634"/>
                <a:gd name="connsiteY4" fmla="*/ 3106287 h 3106287"/>
                <a:gd name="connsiteX0" fmla="*/ 0 w 3107634"/>
                <a:gd name="connsiteY0" fmla="*/ 3106287 h 3114225"/>
                <a:gd name="connsiteX1" fmla="*/ 2340052 w 3107634"/>
                <a:gd name="connsiteY1" fmla="*/ 0 h 3114225"/>
                <a:gd name="connsiteX2" fmla="*/ 2362753 w 3107634"/>
                <a:gd name="connsiteY2" fmla="*/ 29074 h 3114225"/>
                <a:gd name="connsiteX3" fmla="*/ 3107634 w 3107634"/>
                <a:gd name="connsiteY3" fmla="*/ 3114225 h 3114225"/>
                <a:gd name="connsiteX4" fmla="*/ 0 w 3107634"/>
                <a:gd name="connsiteY4" fmla="*/ 3106287 h 3114225"/>
                <a:gd name="connsiteX0" fmla="*/ 0 w 3107634"/>
                <a:gd name="connsiteY0" fmla="*/ 3106287 h 3114225"/>
                <a:gd name="connsiteX1" fmla="*/ 2340052 w 3107634"/>
                <a:gd name="connsiteY1" fmla="*/ 0 h 3114225"/>
                <a:gd name="connsiteX2" fmla="*/ 1258390 w 3107634"/>
                <a:gd name="connsiteY2" fmla="*/ 120043 h 3114225"/>
                <a:gd name="connsiteX3" fmla="*/ 3107634 w 3107634"/>
                <a:gd name="connsiteY3" fmla="*/ 3114225 h 3114225"/>
                <a:gd name="connsiteX4" fmla="*/ 0 w 3107634"/>
                <a:gd name="connsiteY4" fmla="*/ 3106287 h 3114225"/>
                <a:gd name="connsiteX0" fmla="*/ 0 w 3107634"/>
                <a:gd name="connsiteY0" fmla="*/ 2986244 h 2994182"/>
                <a:gd name="connsiteX1" fmla="*/ 1196247 w 3107634"/>
                <a:gd name="connsiteY1" fmla="*/ 16406 h 2994182"/>
                <a:gd name="connsiteX2" fmla="*/ 1258390 w 3107634"/>
                <a:gd name="connsiteY2" fmla="*/ 0 h 2994182"/>
                <a:gd name="connsiteX3" fmla="*/ 3107634 w 3107634"/>
                <a:gd name="connsiteY3" fmla="*/ 2994182 h 2994182"/>
                <a:gd name="connsiteX4" fmla="*/ 0 w 3107634"/>
                <a:gd name="connsiteY4" fmla="*/ 2986244 h 2994182"/>
                <a:gd name="connsiteX0" fmla="*/ 0 w 3107634"/>
                <a:gd name="connsiteY0" fmla="*/ 2969838 h 2977776"/>
                <a:gd name="connsiteX1" fmla="*/ 1196247 w 3107634"/>
                <a:gd name="connsiteY1" fmla="*/ 0 h 2977776"/>
                <a:gd name="connsiteX2" fmla="*/ 922227 w 3107634"/>
                <a:gd name="connsiteY2" fmla="*/ 134 h 2977776"/>
                <a:gd name="connsiteX3" fmla="*/ 3107634 w 3107634"/>
                <a:gd name="connsiteY3" fmla="*/ 2977776 h 2977776"/>
                <a:gd name="connsiteX4" fmla="*/ 0 w 3107634"/>
                <a:gd name="connsiteY4" fmla="*/ 2969838 h 2977776"/>
                <a:gd name="connsiteX0" fmla="*/ 0 w 3107634"/>
                <a:gd name="connsiteY0" fmla="*/ 2986378 h 2994316"/>
                <a:gd name="connsiteX1" fmla="*/ 927320 w 3107634"/>
                <a:gd name="connsiteY1" fmla="*/ 0 h 2994316"/>
                <a:gd name="connsiteX2" fmla="*/ 922227 w 3107634"/>
                <a:gd name="connsiteY2" fmla="*/ 16674 h 2994316"/>
                <a:gd name="connsiteX3" fmla="*/ 3107634 w 3107634"/>
                <a:gd name="connsiteY3" fmla="*/ 2994316 h 2994316"/>
                <a:gd name="connsiteX4" fmla="*/ 0 w 3107634"/>
                <a:gd name="connsiteY4" fmla="*/ 2986378 h 2994316"/>
                <a:gd name="connsiteX0" fmla="*/ 0 w 3107634"/>
                <a:gd name="connsiteY0" fmla="*/ 3020300 h 3028238"/>
                <a:gd name="connsiteX1" fmla="*/ 927320 w 3107634"/>
                <a:gd name="connsiteY1" fmla="*/ 33922 h 3028238"/>
                <a:gd name="connsiteX2" fmla="*/ 899376 w 3107634"/>
                <a:gd name="connsiteY2" fmla="*/ 0 h 3028238"/>
                <a:gd name="connsiteX3" fmla="*/ 3107634 w 3107634"/>
                <a:gd name="connsiteY3" fmla="*/ 3028238 h 3028238"/>
                <a:gd name="connsiteX4" fmla="*/ 0 w 3107634"/>
                <a:gd name="connsiteY4" fmla="*/ 3020300 h 3028238"/>
                <a:gd name="connsiteX0" fmla="*/ 101863 w 3209497"/>
                <a:gd name="connsiteY0" fmla="*/ 2986378 h 2994316"/>
                <a:gd name="connsiteX1" fmla="*/ 1029183 w 3209497"/>
                <a:gd name="connsiteY1" fmla="*/ 0 h 2994316"/>
                <a:gd name="connsiteX2" fmla="*/ 1 w 3209497"/>
                <a:gd name="connsiteY2" fmla="*/ 66292 h 2994316"/>
                <a:gd name="connsiteX3" fmla="*/ 3209497 w 3209497"/>
                <a:gd name="connsiteY3" fmla="*/ 2994316 h 2994316"/>
                <a:gd name="connsiteX4" fmla="*/ 101863 w 3209497"/>
                <a:gd name="connsiteY4" fmla="*/ 2986378 h 2994316"/>
                <a:gd name="connsiteX0" fmla="*/ 101863 w 3209497"/>
                <a:gd name="connsiteY0" fmla="*/ 3053180 h 3061118"/>
                <a:gd name="connsiteX1" fmla="*/ 27944 w 3209497"/>
                <a:gd name="connsiteY1" fmla="*/ 0 h 3061118"/>
                <a:gd name="connsiteX2" fmla="*/ 1 w 3209497"/>
                <a:gd name="connsiteY2" fmla="*/ 133094 h 3061118"/>
                <a:gd name="connsiteX3" fmla="*/ 3209497 w 3209497"/>
                <a:gd name="connsiteY3" fmla="*/ 3061118 h 3061118"/>
                <a:gd name="connsiteX4" fmla="*/ 101863 w 3209497"/>
                <a:gd name="connsiteY4" fmla="*/ 3053180 h 3061118"/>
                <a:gd name="connsiteX0" fmla="*/ 73918 w 3181552"/>
                <a:gd name="connsiteY0" fmla="*/ 3075620 h 3083558"/>
                <a:gd name="connsiteX1" fmla="*/ -1 w 3181552"/>
                <a:gd name="connsiteY1" fmla="*/ 22440 h 3083558"/>
                <a:gd name="connsiteX2" fmla="*/ 1310368 w 3181552"/>
                <a:gd name="connsiteY2" fmla="*/ 0 h 3083558"/>
                <a:gd name="connsiteX3" fmla="*/ 3181552 w 3181552"/>
                <a:gd name="connsiteY3" fmla="*/ 3083558 h 3083558"/>
                <a:gd name="connsiteX4" fmla="*/ 73918 w 3181552"/>
                <a:gd name="connsiteY4" fmla="*/ 3075620 h 3083558"/>
                <a:gd name="connsiteX0" fmla="*/ 1 w 3107635"/>
                <a:gd name="connsiteY0" fmla="*/ 3130937 h 3138875"/>
                <a:gd name="connsiteX1" fmla="*/ 1115704 w 3107635"/>
                <a:gd name="connsiteY1" fmla="*/ 1 h 3138875"/>
                <a:gd name="connsiteX2" fmla="*/ 1236451 w 3107635"/>
                <a:gd name="connsiteY2" fmla="*/ 55317 h 3138875"/>
                <a:gd name="connsiteX3" fmla="*/ 3107635 w 3107635"/>
                <a:gd name="connsiteY3" fmla="*/ 3138875 h 3138875"/>
                <a:gd name="connsiteX4" fmla="*/ 1 w 3107635"/>
                <a:gd name="connsiteY4" fmla="*/ 3130937 h 3138875"/>
                <a:gd name="connsiteX0" fmla="*/ 1 w 3107635"/>
                <a:gd name="connsiteY0" fmla="*/ 3192262 h 3200200"/>
                <a:gd name="connsiteX1" fmla="*/ 1115704 w 3107635"/>
                <a:gd name="connsiteY1" fmla="*/ 61326 h 3200200"/>
                <a:gd name="connsiteX2" fmla="*/ 1038196 w 3107635"/>
                <a:gd name="connsiteY2" fmla="*/ -1 h 3200200"/>
                <a:gd name="connsiteX3" fmla="*/ 3107635 w 3107635"/>
                <a:gd name="connsiteY3" fmla="*/ 3200200 h 3200200"/>
                <a:gd name="connsiteX4" fmla="*/ 1 w 3107635"/>
                <a:gd name="connsiteY4" fmla="*/ 3192262 h 3200200"/>
                <a:gd name="connsiteX0" fmla="*/ 1 w 3107635"/>
                <a:gd name="connsiteY0" fmla="*/ 3208706 h 3216644"/>
                <a:gd name="connsiteX1" fmla="*/ 1066143 w 3107635"/>
                <a:gd name="connsiteY1" fmla="*/ 0 h 3216644"/>
                <a:gd name="connsiteX2" fmla="*/ 1038196 w 3107635"/>
                <a:gd name="connsiteY2" fmla="*/ 16443 h 3216644"/>
                <a:gd name="connsiteX3" fmla="*/ 3107635 w 3107635"/>
                <a:gd name="connsiteY3" fmla="*/ 3216644 h 3216644"/>
                <a:gd name="connsiteX4" fmla="*/ 1 w 3107635"/>
                <a:gd name="connsiteY4" fmla="*/ 3208706 h 3216644"/>
                <a:gd name="connsiteX0" fmla="*/ 1 w 3107635"/>
                <a:gd name="connsiteY0" fmla="*/ 3208706 h 3216644"/>
                <a:gd name="connsiteX1" fmla="*/ 1066143 w 3107635"/>
                <a:gd name="connsiteY1" fmla="*/ 0 h 3216644"/>
                <a:gd name="connsiteX2" fmla="*/ 1087773 w 3107635"/>
                <a:gd name="connsiteY2" fmla="*/ 16453 h 3216644"/>
                <a:gd name="connsiteX3" fmla="*/ 3107635 w 3107635"/>
                <a:gd name="connsiteY3" fmla="*/ 3216644 h 3216644"/>
                <a:gd name="connsiteX4" fmla="*/ 1 w 3107635"/>
                <a:gd name="connsiteY4" fmla="*/ 3208706 h 3216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635" h="3216644">
                  <a:moveTo>
                    <a:pt x="1" y="3208706"/>
                  </a:moveTo>
                  <a:lnTo>
                    <a:pt x="1066143" y="0"/>
                  </a:lnTo>
                  <a:lnTo>
                    <a:pt x="1087773" y="16453"/>
                  </a:lnTo>
                  <a:lnTo>
                    <a:pt x="3107635" y="3216644"/>
                  </a:lnTo>
                  <a:lnTo>
                    <a:pt x="1" y="3208706"/>
                  </a:lnTo>
                  <a:close/>
                </a:path>
              </a:pathLst>
            </a:custGeom>
            <a:gradFill>
              <a:gsLst>
                <a:gs pos="0">
                  <a:srgbClr val="83B9DA">
                    <a:alpha val="52000"/>
                  </a:srgbClr>
                </a:gs>
                <a:gs pos="50000">
                  <a:schemeClr val="accent1">
                    <a:tint val="44500"/>
                    <a:satMod val="160000"/>
                    <a:alpha val="80000"/>
                  </a:schemeClr>
                </a:gs>
                <a:gs pos="100000">
                  <a:schemeClr val="accent1">
                    <a:tint val="23500"/>
                    <a:satMod val="160000"/>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fontAlgn="base">
                <a:spcBef>
                  <a:spcPct val="0"/>
                </a:spcBef>
                <a:spcAft>
                  <a:spcPct val="0"/>
                </a:spcAft>
                <a:defRPr/>
              </a:pPr>
              <a:endParaRPr lang="en-US">
                <a:solidFill>
                  <a:srgbClr val="FFFFFF"/>
                </a:solidFill>
              </a:endParaRPr>
            </a:p>
          </p:txBody>
        </p:sp>
      </p:grpSp>
      <p:pic>
        <p:nvPicPr>
          <p:cNvPr id="28" name="Picture 35"/>
          <p:cNvPicPr>
            <a:picLocks noChangeAspect="1"/>
          </p:cNvPicPr>
          <p:nvPr/>
        </p:nvPicPr>
        <p:blipFill>
          <a:blip r:embed="rId10"/>
          <a:srcRect/>
          <a:stretch>
            <a:fillRect/>
          </a:stretch>
        </p:blipFill>
        <p:spPr bwMode="auto">
          <a:xfrm>
            <a:off x="2874919" y="2686050"/>
            <a:ext cx="527585" cy="514350"/>
          </a:xfrm>
          <a:prstGeom prst="rect">
            <a:avLst/>
          </a:prstGeom>
          <a:noFill/>
          <a:ln w="9525">
            <a:noFill/>
            <a:miter lim="800000"/>
            <a:headEnd/>
            <a:tailEnd/>
          </a:ln>
        </p:spPr>
      </p:pic>
      <p:sp>
        <p:nvSpPr>
          <p:cNvPr id="29"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0"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1"/>
              </a:rPr>
              <a:t>www.rapidbbs.cn</a:t>
            </a:r>
            <a:endParaRPr lang="zh-CN" altLang="en-US" sz="1200" b="0">
              <a:latin typeface="Arial" charset="0"/>
              <a:ea typeface="ＭＳ Ｐゴシック" pitchFamily="34" charset="-128"/>
            </a:endParaRPr>
          </a:p>
        </p:txBody>
      </p:sp>
      <p:pic>
        <p:nvPicPr>
          <p:cNvPr id="31" name="Picture 2">
            <a:hlinkClick r:id="rId11"/>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731205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0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10" presetClass="entr" presetSubtype="0" fill="hold" nodeType="with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par>
                                <p:cTn id="16" presetID="10" presetClass="entr" presetSubtype="0" fill="hold" nodeType="with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par>
                                <p:cTn id="19" presetID="10" presetClass="entr" presetSubtype="0" fill="hold" nodeType="with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4"/>
                                        </p:tgtEl>
                                        <p:attrNameLst>
                                          <p:attrName>style.visibility</p:attrName>
                                        </p:attrNameLst>
                                      </p:cBhvr>
                                      <p:to>
                                        <p:strVal val="visible"/>
                                      </p:to>
                                    </p:set>
                                    <p:animEffect transition="in" filter="fade">
                                      <p:cBhvr>
                                        <p:cTn id="26" dur="500"/>
                                        <p:tgtEl>
                                          <p:spTgt spid="4"/>
                                        </p:tgtEl>
                                      </p:cBhvr>
                                    </p:animEffect>
                                  </p:childTnLst>
                                </p:cTn>
                              </p:par>
                              <p:par>
                                <p:cTn id="27" presetID="10" presetClass="entr" presetSubtype="0" fill="hold"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fade">
                                      <p:cBhvr>
                                        <p:cTn id="29" dur="500"/>
                                        <p:tgtEl>
                                          <p:spTgt spid="12"/>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5"/>
                                        </p:tgtEl>
                                        <p:attrNameLst>
                                          <p:attrName>style.visibility</p:attrName>
                                        </p:attrNameLst>
                                      </p:cBhvr>
                                      <p:to>
                                        <p:strVal val="visible"/>
                                      </p:to>
                                    </p:set>
                                    <p:animEffect transition="in" filter="fade">
                                      <p:cBhvr>
                                        <p:cTn id="34" dur="500"/>
                                        <p:tgtEl>
                                          <p:spTgt spid="5"/>
                                        </p:tgtEl>
                                      </p:cBhvr>
                                    </p:animEffect>
                                  </p:childTnLst>
                                </p:cTn>
                              </p:par>
                              <p:par>
                                <p:cTn id="35" presetID="10" presetClass="entr" presetSubtype="0" fill="hold" nodeType="withEffect">
                                  <p:stCondLst>
                                    <p:cond delay="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500"/>
                                        <p:tgtEl>
                                          <p:spTgt spid="13"/>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6"/>
                                        </p:tgtEl>
                                        <p:attrNameLst>
                                          <p:attrName>style.visibility</p:attrName>
                                        </p:attrNameLst>
                                      </p:cBhvr>
                                      <p:to>
                                        <p:strVal val="visible"/>
                                      </p:to>
                                    </p:set>
                                    <p:animEffect transition="in" filter="fade">
                                      <p:cBhvr>
                                        <p:cTn id="42" dur="500"/>
                                        <p:tgtEl>
                                          <p:spTgt spid="6"/>
                                        </p:tgtEl>
                                      </p:cBhvr>
                                    </p:animEffect>
                                  </p:childTnLst>
                                </p:cTn>
                              </p:par>
                              <p:par>
                                <p:cTn id="43" presetID="10" presetClass="entr" presetSubtype="0" fill="hold" nodeType="withEffect">
                                  <p:stCondLst>
                                    <p:cond delay="0"/>
                                  </p:stCondLst>
                                  <p:childTnLst>
                                    <p:set>
                                      <p:cBhvr>
                                        <p:cTn id="44" dur="1" fill="hold">
                                          <p:stCondLst>
                                            <p:cond delay="0"/>
                                          </p:stCondLst>
                                        </p:cTn>
                                        <p:tgtEl>
                                          <p:spTgt spid="20"/>
                                        </p:tgtEl>
                                        <p:attrNameLst>
                                          <p:attrName>style.visibility</p:attrName>
                                        </p:attrNameLst>
                                      </p:cBhvr>
                                      <p:to>
                                        <p:strVal val="visible"/>
                                      </p:to>
                                    </p:set>
                                    <p:animEffect transition="in" filter="fade">
                                      <p:cBhvr>
                                        <p:cTn id="45" dur="500"/>
                                        <p:tgtEl>
                                          <p:spTgt spid="20"/>
                                        </p:tgtEl>
                                      </p:cBhvr>
                                    </p:animEffect>
                                  </p:childTnLst>
                                </p:cTn>
                              </p:par>
                              <p:par>
                                <p:cTn id="46" presetID="10" presetClass="entr" presetSubtype="0" fill="hold" nodeType="withEffect">
                                  <p:stCondLst>
                                    <p:cond delay="0"/>
                                  </p:stCondLst>
                                  <p:childTnLst>
                                    <p:set>
                                      <p:cBhvr>
                                        <p:cTn id="47" dur="1" fill="hold">
                                          <p:stCondLst>
                                            <p:cond delay="0"/>
                                          </p:stCondLst>
                                        </p:cTn>
                                        <p:tgtEl>
                                          <p:spTgt spid="21"/>
                                        </p:tgtEl>
                                        <p:attrNameLst>
                                          <p:attrName>style.visibility</p:attrName>
                                        </p:attrNameLst>
                                      </p:cBhvr>
                                      <p:to>
                                        <p:strVal val="visible"/>
                                      </p:to>
                                    </p:set>
                                    <p:animEffect transition="in" filter="fade">
                                      <p:cBhvr>
                                        <p:cTn id="48" dur="500"/>
                                        <p:tgtEl>
                                          <p:spTgt spid="21"/>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7"/>
                                        </p:tgtEl>
                                        <p:attrNameLst>
                                          <p:attrName>style.visibility</p:attrName>
                                        </p:attrNameLst>
                                      </p:cBhvr>
                                      <p:to>
                                        <p:strVal val="visible"/>
                                      </p:to>
                                    </p:set>
                                    <p:animEffect transition="in" filter="fade">
                                      <p:cBhvr>
                                        <p:cTn id="53" dur="500"/>
                                        <p:tgtEl>
                                          <p:spTgt spid="7"/>
                                        </p:tgtEl>
                                      </p:cBhvr>
                                    </p:animEffect>
                                  </p:childTnLst>
                                </p:cTn>
                              </p:par>
                              <p:par>
                                <p:cTn id="54" presetID="10" presetClass="entr" presetSubtype="0" fill="hold" nodeType="withEffect">
                                  <p:stCondLst>
                                    <p:cond delay="0"/>
                                  </p:stCondLst>
                                  <p:childTnLst>
                                    <p:set>
                                      <p:cBhvr>
                                        <p:cTn id="55" dur="1" fill="hold">
                                          <p:stCondLst>
                                            <p:cond delay="0"/>
                                          </p:stCondLst>
                                        </p:cTn>
                                        <p:tgtEl>
                                          <p:spTgt spid="28"/>
                                        </p:tgtEl>
                                        <p:attrNameLst>
                                          <p:attrName>style.visibility</p:attrName>
                                        </p:attrNameLst>
                                      </p:cBhvr>
                                      <p:to>
                                        <p:strVal val="visible"/>
                                      </p:to>
                                    </p:set>
                                    <p:animEffect transition="in" filter="fade">
                                      <p:cBhvr>
                                        <p:cTn id="56"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5" grpId="0" animBg="1"/>
      <p:bldP spid="6" grpId="0" animBg="1"/>
      <p:bldP spid="7" grpId="0" animBg="1"/>
    </p:bldLst>
  </p:timing>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9"/>
          <p:cNvSpPr>
            <a:spLocks noChangeArrowheads="1"/>
          </p:cNvSpPr>
          <p:nvPr/>
        </p:nvSpPr>
        <p:spPr bwMode="auto">
          <a:xfrm>
            <a:off x="576413" y="1066801"/>
            <a:ext cx="2559320" cy="3281363"/>
          </a:xfrm>
          <a:prstGeom prst="rect">
            <a:avLst/>
          </a:prstGeom>
          <a:solidFill>
            <a:srgbClr val="F0F2F3">
              <a:alpha val="10000"/>
            </a:srgbClr>
          </a:solidFill>
          <a:ln w="9525">
            <a:noFill/>
            <a:miter lim="800000"/>
            <a:headEnd/>
            <a:tailEnd/>
          </a:ln>
        </p:spPr>
        <p:txBody>
          <a:bodyPr wrap="none" lIns="68586" tIns="34294" rIns="68586" bIns="34294" anchor="ctr"/>
          <a:lstStyle/>
          <a:p>
            <a:pPr defTabSz="685862" fontAlgn="base">
              <a:spcBef>
                <a:spcPct val="0"/>
              </a:spcBef>
              <a:spcAft>
                <a:spcPct val="0"/>
              </a:spcAft>
              <a:defRPr/>
            </a:pPr>
            <a:endParaRPr lang="en-US">
              <a:solidFill>
                <a:srgbClr val="00264A"/>
              </a:solidFill>
              <a:cs typeface="Segoe UI" pitchFamily="34" charset="0"/>
            </a:endParaRPr>
          </a:p>
        </p:txBody>
      </p:sp>
      <p:sp>
        <p:nvSpPr>
          <p:cNvPr id="3" name="Rectangle 2"/>
          <p:cNvSpPr/>
          <p:nvPr/>
        </p:nvSpPr>
        <p:spPr>
          <a:xfrm>
            <a:off x="576413" y="1148954"/>
            <a:ext cx="2559320" cy="355997"/>
          </a:xfrm>
          <a:prstGeom prst="rect">
            <a:avLst/>
          </a:prstGeom>
          <a:solidFill>
            <a:srgbClr val="00264A"/>
          </a:solidFill>
          <a:ln>
            <a:noFill/>
          </a:ln>
          <a:effectLst/>
        </p:spPr>
        <p:style>
          <a:lnRef idx="1">
            <a:schemeClr val="accent1"/>
          </a:lnRef>
          <a:fillRef idx="3">
            <a:schemeClr val="accent1"/>
          </a:fillRef>
          <a:effectRef idx="2">
            <a:schemeClr val="accent1"/>
          </a:effectRef>
          <a:fontRef idx="minor">
            <a:schemeClr val="lt1"/>
          </a:fontRef>
        </p:style>
        <p:txBody>
          <a:bodyPr lIns="68586" tIns="34294" rIns="68586" bIns="34294" anchor="ctr"/>
          <a:lstStyle/>
          <a:p>
            <a:pPr algn="ctr" defTabSz="685862" fontAlgn="base">
              <a:spcBef>
                <a:spcPct val="0"/>
              </a:spcBef>
              <a:spcAft>
                <a:spcPct val="0"/>
              </a:spcAft>
              <a:defRPr/>
            </a:pPr>
            <a:endParaRPr lang="en-US" dirty="0">
              <a:solidFill>
                <a:srgbClr val="FFFFFF"/>
              </a:solidFill>
            </a:endParaRPr>
          </a:p>
        </p:txBody>
      </p:sp>
      <p:sp>
        <p:nvSpPr>
          <p:cNvPr id="4" name="Rectangle 19"/>
          <p:cNvSpPr>
            <a:spLocks noChangeArrowheads="1"/>
          </p:cNvSpPr>
          <p:nvPr/>
        </p:nvSpPr>
        <p:spPr bwMode="auto">
          <a:xfrm>
            <a:off x="6027325" y="1066801"/>
            <a:ext cx="2559319" cy="3281363"/>
          </a:xfrm>
          <a:prstGeom prst="rect">
            <a:avLst/>
          </a:prstGeom>
          <a:solidFill>
            <a:srgbClr val="F0F2F3">
              <a:alpha val="10000"/>
            </a:srgbClr>
          </a:solidFill>
          <a:ln w="9525">
            <a:noFill/>
            <a:miter lim="800000"/>
            <a:headEnd/>
            <a:tailEnd/>
          </a:ln>
        </p:spPr>
        <p:txBody>
          <a:bodyPr wrap="none" lIns="68586" tIns="34294" rIns="68586" bIns="34294" anchor="ctr"/>
          <a:lstStyle/>
          <a:p>
            <a:pPr defTabSz="685862" fontAlgn="base">
              <a:spcBef>
                <a:spcPct val="0"/>
              </a:spcBef>
              <a:spcAft>
                <a:spcPct val="0"/>
              </a:spcAft>
              <a:defRPr/>
            </a:pPr>
            <a:endParaRPr lang="en-US">
              <a:solidFill>
                <a:srgbClr val="00264A"/>
              </a:solidFill>
              <a:cs typeface="Segoe UI" pitchFamily="34" charset="0"/>
            </a:endParaRPr>
          </a:p>
        </p:txBody>
      </p:sp>
      <p:sp>
        <p:nvSpPr>
          <p:cNvPr id="5" name="Rectangle 19"/>
          <p:cNvSpPr>
            <a:spLocks noChangeArrowheads="1"/>
          </p:cNvSpPr>
          <p:nvPr/>
        </p:nvSpPr>
        <p:spPr bwMode="auto">
          <a:xfrm>
            <a:off x="3308418" y="1066801"/>
            <a:ext cx="2559320" cy="3281363"/>
          </a:xfrm>
          <a:prstGeom prst="rect">
            <a:avLst/>
          </a:prstGeom>
          <a:solidFill>
            <a:srgbClr val="F0F2F3">
              <a:alpha val="10000"/>
            </a:srgbClr>
          </a:solidFill>
          <a:ln w="9525">
            <a:noFill/>
            <a:miter lim="800000"/>
            <a:headEnd/>
            <a:tailEnd/>
          </a:ln>
        </p:spPr>
        <p:txBody>
          <a:bodyPr wrap="none" lIns="68586" tIns="34294" rIns="68586" bIns="34294" anchor="ctr"/>
          <a:lstStyle/>
          <a:p>
            <a:pPr defTabSz="685862" fontAlgn="base">
              <a:spcBef>
                <a:spcPct val="0"/>
              </a:spcBef>
              <a:spcAft>
                <a:spcPct val="0"/>
              </a:spcAft>
              <a:defRPr/>
            </a:pPr>
            <a:endParaRPr lang="en-US">
              <a:solidFill>
                <a:srgbClr val="00264A"/>
              </a:solidFill>
              <a:cs typeface="Segoe UI" pitchFamily="34" charset="0"/>
            </a:endParaRPr>
          </a:p>
        </p:txBody>
      </p:sp>
      <p:sp>
        <p:nvSpPr>
          <p:cNvPr id="6" name="Rectangle 5"/>
          <p:cNvSpPr/>
          <p:nvPr/>
        </p:nvSpPr>
        <p:spPr>
          <a:xfrm>
            <a:off x="3308418" y="1148954"/>
            <a:ext cx="2559320" cy="355997"/>
          </a:xfrm>
          <a:prstGeom prst="rect">
            <a:avLst/>
          </a:prstGeom>
          <a:solidFill>
            <a:srgbClr val="00264A"/>
          </a:solidFill>
          <a:ln>
            <a:noFill/>
          </a:ln>
          <a:effectLst/>
        </p:spPr>
        <p:style>
          <a:lnRef idx="1">
            <a:schemeClr val="accent1"/>
          </a:lnRef>
          <a:fillRef idx="3">
            <a:schemeClr val="accent1"/>
          </a:fillRef>
          <a:effectRef idx="2">
            <a:schemeClr val="accent1"/>
          </a:effectRef>
          <a:fontRef idx="minor">
            <a:schemeClr val="lt1"/>
          </a:fontRef>
        </p:style>
        <p:txBody>
          <a:bodyPr lIns="68586" tIns="34294" rIns="68586" bIns="34294" anchor="ctr"/>
          <a:lstStyle/>
          <a:p>
            <a:pPr algn="ctr" defTabSz="685862" fontAlgn="base">
              <a:spcBef>
                <a:spcPct val="0"/>
              </a:spcBef>
              <a:spcAft>
                <a:spcPct val="0"/>
              </a:spcAft>
              <a:defRPr/>
            </a:pPr>
            <a:endParaRPr lang="en-US" dirty="0">
              <a:solidFill>
                <a:srgbClr val="FFFFFF"/>
              </a:solidFill>
            </a:endParaRPr>
          </a:p>
        </p:txBody>
      </p:sp>
      <p:sp>
        <p:nvSpPr>
          <p:cNvPr id="7" name="Rectangle 6"/>
          <p:cNvSpPr/>
          <p:nvPr/>
        </p:nvSpPr>
        <p:spPr>
          <a:xfrm>
            <a:off x="6030896" y="1148954"/>
            <a:ext cx="2560511" cy="355997"/>
          </a:xfrm>
          <a:prstGeom prst="rect">
            <a:avLst/>
          </a:prstGeom>
          <a:solidFill>
            <a:srgbClr val="00264A"/>
          </a:solidFill>
          <a:ln>
            <a:noFill/>
          </a:ln>
          <a:effectLst/>
        </p:spPr>
        <p:style>
          <a:lnRef idx="1">
            <a:schemeClr val="accent1"/>
          </a:lnRef>
          <a:fillRef idx="3">
            <a:schemeClr val="accent1"/>
          </a:fillRef>
          <a:effectRef idx="2">
            <a:schemeClr val="accent1"/>
          </a:effectRef>
          <a:fontRef idx="minor">
            <a:schemeClr val="lt1"/>
          </a:fontRef>
        </p:style>
        <p:txBody>
          <a:bodyPr lIns="68586" tIns="34294" rIns="68586" bIns="34294" anchor="ctr"/>
          <a:lstStyle/>
          <a:p>
            <a:pPr algn="ctr" defTabSz="685862" fontAlgn="base">
              <a:spcBef>
                <a:spcPct val="0"/>
              </a:spcBef>
              <a:spcAft>
                <a:spcPct val="0"/>
              </a:spcAft>
              <a:defRPr/>
            </a:pPr>
            <a:endParaRPr lang="en-US" dirty="0">
              <a:solidFill>
                <a:srgbClr val="FFFFFF"/>
              </a:solidFill>
            </a:endParaRPr>
          </a:p>
        </p:txBody>
      </p:sp>
      <p:sp>
        <p:nvSpPr>
          <p:cNvPr id="8" name="Title 36"/>
          <p:cNvSpPr txBox="1">
            <a:spLocks/>
          </p:cNvSpPr>
          <p:nvPr/>
        </p:nvSpPr>
        <p:spPr>
          <a:xfrm>
            <a:off x="389436" y="171451"/>
            <a:ext cx="8363938" cy="457049"/>
          </a:xfrm>
          <a:prstGeom prst="rect">
            <a:avLst/>
          </a:prstGeom>
          <a:effectLst/>
        </p:spPr>
        <p:txBody>
          <a:bodyPr lIns="68586" tIns="34294" rIns="68586" bIns="34294">
            <a:normAutofit/>
          </a:bodyPr>
          <a:lstStyle>
            <a:lvl1pPr algn="l" defTabSz="914363" rtl="0" eaLnBrk="1" latinLnBrk="0" hangingPunct="1">
              <a:lnSpc>
                <a:spcPct val="90000"/>
              </a:lnSpc>
              <a:spcBef>
                <a:spcPct val="0"/>
              </a:spcBef>
              <a:buNone/>
              <a:defRPr lang="en-US" sz="4400" b="0" kern="1200" cap="none" spc="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sz="2400">
                <a:latin typeface="Segoe UI" pitchFamily="34" charset="0"/>
                <a:cs typeface="Arial" pitchFamily="34" charset="0"/>
              </a:rPr>
              <a:t>Application profiles for consistent and predictable apps</a:t>
            </a:r>
            <a:endParaRPr lang="en-US" sz="2400" dirty="0">
              <a:latin typeface="Segoe UI" pitchFamily="34" charset="0"/>
              <a:cs typeface="Arial" pitchFamily="34" charset="0"/>
            </a:endParaRPr>
          </a:p>
        </p:txBody>
      </p:sp>
      <p:sp>
        <p:nvSpPr>
          <p:cNvPr id="9" name="Text Placeholder 21"/>
          <p:cNvSpPr txBox="1">
            <a:spLocks/>
          </p:cNvSpPr>
          <p:nvPr/>
        </p:nvSpPr>
        <p:spPr bwMode="auto">
          <a:xfrm>
            <a:off x="576413" y="1175148"/>
            <a:ext cx="2559320" cy="357188"/>
          </a:xfrm>
          <a:prstGeom prst="rect">
            <a:avLst/>
          </a:prstGeom>
          <a:noFill/>
          <a:ln>
            <a:miter lim="800000"/>
            <a:headEnd/>
            <a:tailEnd/>
          </a:ln>
        </p:spPr>
        <p:txBody>
          <a:bodyPr wrap="square" lIns="68586" tIns="34294" rIns="68586" bIns="34294" numCol="1" anchor="t" anchorCtr="0" compatLnSpc="1">
            <a:prstTxWarp prst="textNoShape">
              <a:avLst/>
            </a:prstTxWarp>
          </a:bodyPr>
          <a:lstStyle>
            <a:lvl1pPr marL="455613" indent="-455613" algn="l" defTabSz="608013" rtl="0" fontAlgn="base">
              <a:spcBef>
                <a:spcPct val="20000"/>
              </a:spcBef>
              <a:spcAft>
                <a:spcPct val="0"/>
              </a:spcAft>
              <a:buFont typeface="Arial" pitchFamily="34" charset="0"/>
              <a:buChar char="•"/>
              <a:defRPr sz="2800" kern="1200">
                <a:solidFill>
                  <a:srgbClr val="FFFFFF"/>
                </a:solidFill>
                <a:latin typeface="+mn-lt"/>
                <a:ea typeface="+mn-ea"/>
                <a:cs typeface="Arial"/>
              </a:defRPr>
            </a:lvl1pPr>
            <a:lvl2pPr marL="989013" indent="-379413" algn="l" defTabSz="608013" rtl="0" fontAlgn="base">
              <a:spcBef>
                <a:spcPct val="20000"/>
              </a:spcBef>
              <a:spcAft>
                <a:spcPct val="0"/>
              </a:spcAft>
              <a:buFont typeface="Arial" pitchFamily="34" charset="0"/>
              <a:buChar char="–"/>
              <a:defRPr sz="2400" kern="1200">
                <a:solidFill>
                  <a:srgbClr val="FFFFFF"/>
                </a:solidFill>
                <a:latin typeface="+mn-lt"/>
                <a:ea typeface="+mn-ea"/>
                <a:cs typeface="Arial"/>
              </a:defRPr>
            </a:lvl2pPr>
            <a:lvl3pPr marL="1522413" indent="-303213" algn="l" defTabSz="608013" rtl="0" fontAlgn="base">
              <a:spcBef>
                <a:spcPct val="20000"/>
              </a:spcBef>
              <a:spcAft>
                <a:spcPct val="0"/>
              </a:spcAft>
              <a:buFont typeface="Arial" pitchFamily="34" charset="0"/>
              <a:buChar char="•"/>
              <a:defRPr kern="1200">
                <a:solidFill>
                  <a:srgbClr val="FFFFFF"/>
                </a:solidFill>
                <a:latin typeface="+mn-lt"/>
                <a:ea typeface="+mn-ea"/>
                <a:cs typeface="Arial"/>
              </a:defRPr>
            </a:lvl3pPr>
            <a:lvl4pPr marL="21320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4pPr>
            <a:lvl5pPr marL="27416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5pPr>
            <a:lvl6pPr marL="3352213" indent="-304747" algn="l" defTabSz="609493" rtl="0" eaLnBrk="1" latinLnBrk="0" hangingPunct="1">
              <a:spcBef>
                <a:spcPct val="20000"/>
              </a:spcBef>
              <a:buFont typeface="Arial"/>
              <a:buChar char="•"/>
              <a:defRPr sz="2700" kern="1200">
                <a:solidFill>
                  <a:schemeClr val="tx1"/>
                </a:solidFill>
                <a:latin typeface="+mn-lt"/>
                <a:ea typeface="+mn-ea"/>
                <a:cs typeface="+mn-cs"/>
              </a:defRPr>
            </a:lvl6pPr>
            <a:lvl7pPr marL="3961707" indent="-304747" algn="l" defTabSz="609493" rtl="0" eaLnBrk="1" latinLnBrk="0" hangingPunct="1">
              <a:spcBef>
                <a:spcPct val="20000"/>
              </a:spcBef>
              <a:buFont typeface="Arial"/>
              <a:buChar char="•"/>
              <a:defRPr sz="2700" kern="1200">
                <a:solidFill>
                  <a:schemeClr val="tx1"/>
                </a:solidFill>
                <a:latin typeface="+mn-lt"/>
                <a:ea typeface="+mn-ea"/>
                <a:cs typeface="+mn-cs"/>
              </a:defRPr>
            </a:lvl7pPr>
            <a:lvl8pPr marL="4571200" indent="-304747" algn="l" defTabSz="609493" rtl="0" eaLnBrk="1" latinLnBrk="0" hangingPunct="1">
              <a:spcBef>
                <a:spcPct val="20000"/>
              </a:spcBef>
              <a:buFont typeface="Arial"/>
              <a:buChar char="•"/>
              <a:defRPr sz="2700" kern="1200">
                <a:solidFill>
                  <a:schemeClr val="tx1"/>
                </a:solidFill>
                <a:latin typeface="+mn-lt"/>
                <a:ea typeface="+mn-ea"/>
                <a:cs typeface="+mn-cs"/>
              </a:defRPr>
            </a:lvl8pPr>
            <a:lvl9pPr marL="5180693" indent="-304747" algn="l" defTabSz="609493"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a:buNone/>
            </a:pPr>
            <a:r>
              <a:rPr lang="en-US" sz="1800" dirty="0">
                <a:solidFill>
                  <a:srgbClr val="3DB5F1"/>
                </a:solidFill>
                <a:cs typeface="Arial" pitchFamily="34" charset="0"/>
              </a:rPr>
              <a:t>Compatibility</a:t>
            </a:r>
          </a:p>
        </p:txBody>
      </p:sp>
      <p:sp>
        <p:nvSpPr>
          <p:cNvPr id="10" name="Text Placeholder 23"/>
          <p:cNvSpPr txBox="1">
            <a:spLocks/>
          </p:cNvSpPr>
          <p:nvPr/>
        </p:nvSpPr>
        <p:spPr bwMode="auto">
          <a:xfrm>
            <a:off x="627623" y="2800350"/>
            <a:ext cx="2458090" cy="1485900"/>
          </a:xfrm>
          <a:prstGeom prst="rect">
            <a:avLst/>
          </a:prstGeom>
          <a:noFill/>
          <a:ln>
            <a:miter lim="800000"/>
            <a:headEnd/>
            <a:tailEnd/>
          </a:ln>
        </p:spPr>
        <p:txBody>
          <a:bodyPr wrap="square" lIns="68586" tIns="34294" rIns="68586" bIns="34294" numCol="1" anchor="t" anchorCtr="0" compatLnSpc="1">
            <a:prstTxWarp prst="textNoShape">
              <a:avLst/>
            </a:prstTxWarp>
          </a:bodyPr>
          <a:lstStyle>
            <a:lvl1pPr marL="455613" indent="-455613" algn="l" defTabSz="608013" rtl="0" fontAlgn="base">
              <a:spcBef>
                <a:spcPct val="20000"/>
              </a:spcBef>
              <a:spcAft>
                <a:spcPct val="0"/>
              </a:spcAft>
              <a:buFont typeface="Arial" pitchFamily="34" charset="0"/>
              <a:buChar char="•"/>
              <a:defRPr sz="2800" kern="1200">
                <a:solidFill>
                  <a:srgbClr val="FFFFFF"/>
                </a:solidFill>
                <a:latin typeface="+mn-lt"/>
                <a:ea typeface="+mn-ea"/>
                <a:cs typeface="Arial"/>
              </a:defRPr>
            </a:lvl1pPr>
            <a:lvl2pPr marL="989013" indent="-379413" algn="l" defTabSz="608013" rtl="0" fontAlgn="base">
              <a:spcBef>
                <a:spcPct val="20000"/>
              </a:spcBef>
              <a:spcAft>
                <a:spcPct val="0"/>
              </a:spcAft>
              <a:buFont typeface="Arial" pitchFamily="34" charset="0"/>
              <a:buChar char="–"/>
              <a:defRPr sz="2400" kern="1200">
                <a:solidFill>
                  <a:srgbClr val="FFFFFF"/>
                </a:solidFill>
                <a:latin typeface="+mn-lt"/>
                <a:ea typeface="+mn-ea"/>
                <a:cs typeface="Arial"/>
              </a:defRPr>
            </a:lvl2pPr>
            <a:lvl3pPr marL="1522413" indent="-303213" algn="l" defTabSz="608013" rtl="0" fontAlgn="base">
              <a:spcBef>
                <a:spcPct val="20000"/>
              </a:spcBef>
              <a:spcAft>
                <a:spcPct val="0"/>
              </a:spcAft>
              <a:buFont typeface="Arial" pitchFamily="34" charset="0"/>
              <a:buChar char="•"/>
              <a:defRPr kern="1200">
                <a:solidFill>
                  <a:srgbClr val="FFFFFF"/>
                </a:solidFill>
                <a:latin typeface="+mn-lt"/>
                <a:ea typeface="+mn-ea"/>
                <a:cs typeface="Arial"/>
              </a:defRPr>
            </a:lvl3pPr>
            <a:lvl4pPr marL="21320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4pPr>
            <a:lvl5pPr marL="27416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5pPr>
            <a:lvl6pPr marL="3352213" indent="-304747" algn="l" defTabSz="609493" rtl="0" eaLnBrk="1" latinLnBrk="0" hangingPunct="1">
              <a:spcBef>
                <a:spcPct val="20000"/>
              </a:spcBef>
              <a:buFont typeface="Arial"/>
              <a:buChar char="•"/>
              <a:defRPr sz="2700" kern="1200">
                <a:solidFill>
                  <a:schemeClr val="tx1"/>
                </a:solidFill>
                <a:latin typeface="+mn-lt"/>
                <a:ea typeface="+mn-ea"/>
                <a:cs typeface="+mn-cs"/>
              </a:defRPr>
            </a:lvl6pPr>
            <a:lvl7pPr marL="3961707" indent="-304747" algn="l" defTabSz="609493" rtl="0" eaLnBrk="1" latinLnBrk="0" hangingPunct="1">
              <a:spcBef>
                <a:spcPct val="20000"/>
              </a:spcBef>
              <a:buFont typeface="Arial"/>
              <a:buChar char="•"/>
              <a:defRPr sz="2700" kern="1200">
                <a:solidFill>
                  <a:schemeClr val="tx1"/>
                </a:solidFill>
                <a:latin typeface="+mn-lt"/>
                <a:ea typeface="+mn-ea"/>
                <a:cs typeface="+mn-cs"/>
              </a:defRPr>
            </a:lvl7pPr>
            <a:lvl8pPr marL="4571200" indent="-304747" algn="l" defTabSz="609493" rtl="0" eaLnBrk="1" latinLnBrk="0" hangingPunct="1">
              <a:spcBef>
                <a:spcPct val="20000"/>
              </a:spcBef>
              <a:buFont typeface="Arial"/>
              <a:buChar char="•"/>
              <a:defRPr sz="2700" kern="1200">
                <a:solidFill>
                  <a:schemeClr val="tx1"/>
                </a:solidFill>
                <a:latin typeface="+mn-lt"/>
                <a:ea typeface="+mn-ea"/>
                <a:cs typeface="+mn-cs"/>
              </a:defRPr>
            </a:lvl8pPr>
            <a:lvl9pPr marL="5180693" indent="-304747" algn="l" defTabSz="609493" rtl="0" eaLnBrk="1" latinLnBrk="0" hangingPunct="1">
              <a:spcBef>
                <a:spcPct val="20000"/>
              </a:spcBef>
              <a:buFont typeface="Arial"/>
              <a:buChar char="•"/>
              <a:defRPr sz="2700" kern="1200">
                <a:solidFill>
                  <a:schemeClr val="tx1"/>
                </a:solidFill>
                <a:latin typeface="+mn-lt"/>
                <a:ea typeface="+mn-ea"/>
                <a:cs typeface="+mn-cs"/>
              </a:defRPr>
            </a:lvl9pPr>
          </a:lstStyle>
          <a:p>
            <a:pPr marL="0" lvl="1" indent="0">
              <a:buNone/>
            </a:pPr>
            <a:r>
              <a:rPr lang="en-US" sz="1200" dirty="0">
                <a:cs typeface="Arial" pitchFamily="34" charset="0"/>
              </a:rPr>
              <a:t>Define which OS versions and editions the application will run on</a:t>
            </a:r>
          </a:p>
          <a:p>
            <a:pPr marL="0" lvl="1" indent="0">
              <a:buNone/>
            </a:pPr>
            <a:endParaRPr lang="en-US" sz="1200" dirty="0">
              <a:cs typeface="Arial" pitchFamily="34" charset="0"/>
            </a:endParaRPr>
          </a:p>
          <a:p>
            <a:pPr marL="0" lvl="1" indent="0">
              <a:buNone/>
            </a:pPr>
            <a:r>
              <a:rPr lang="en-US" sz="1200" dirty="0">
                <a:cs typeface="Arial" pitchFamily="34" charset="0"/>
              </a:rPr>
              <a:t>Windows 2003/2008 (x86, x64)</a:t>
            </a:r>
          </a:p>
          <a:p>
            <a:pPr marL="0" lvl="1" indent="0">
              <a:buNone/>
            </a:pPr>
            <a:r>
              <a:rPr lang="en-US" sz="1200" dirty="0">
                <a:cs typeface="Arial" pitchFamily="34" charset="0"/>
              </a:rPr>
              <a:t>Windows Server 2008 R2 (x64)</a:t>
            </a:r>
          </a:p>
        </p:txBody>
      </p:sp>
      <p:sp>
        <p:nvSpPr>
          <p:cNvPr id="11" name="Text Placeholder 24"/>
          <p:cNvSpPr txBox="1">
            <a:spLocks/>
          </p:cNvSpPr>
          <p:nvPr/>
        </p:nvSpPr>
        <p:spPr bwMode="auto">
          <a:xfrm>
            <a:off x="3304847" y="1175148"/>
            <a:ext cx="2559319" cy="357188"/>
          </a:xfrm>
          <a:prstGeom prst="rect">
            <a:avLst/>
          </a:prstGeom>
          <a:noFill/>
          <a:ln>
            <a:miter lim="800000"/>
            <a:headEnd/>
            <a:tailEnd/>
          </a:ln>
        </p:spPr>
        <p:txBody>
          <a:bodyPr wrap="square" lIns="68586" tIns="34294" rIns="68586" bIns="34294" numCol="1" anchor="t" anchorCtr="0" compatLnSpc="1">
            <a:prstTxWarp prst="textNoShape">
              <a:avLst/>
            </a:prstTxWarp>
          </a:bodyPr>
          <a:lstStyle>
            <a:lvl1pPr marL="455613" indent="-455613" algn="l" defTabSz="608013" rtl="0" fontAlgn="base">
              <a:spcBef>
                <a:spcPct val="20000"/>
              </a:spcBef>
              <a:spcAft>
                <a:spcPct val="0"/>
              </a:spcAft>
              <a:buFont typeface="Arial" pitchFamily="34" charset="0"/>
              <a:buChar char="•"/>
              <a:defRPr sz="2800" kern="1200">
                <a:solidFill>
                  <a:srgbClr val="FFFFFF"/>
                </a:solidFill>
                <a:latin typeface="+mn-lt"/>
                <a:ea typeface="+mn-ea"/>
                <a:cs typeface="Arial"/>
              </a:defRPr>
            </a:lvl1pPr>
            <a:lvl2pPr marL="989013" indent="-379413" algn="l" defTabSz="608013" rtl="0" fontAlgn="base">
              <a:spcBef>
                <a:spcPct val="20000"/>
              </a:spcBef>
              <a:spcAft>
                <a:spcPct val="0"/>
              </a:spcAft>
              <a:buFont typeface="Arial" pitchFamily="34" charset="0"/>
              <a:buChar char="–"/>
              <a:defRPr sz="2400" kern="1200">
                <a:solidFill>
                  <a:srgbClr val="FFFFFF"/>
                </a:solidFill>
                <a:latin typeface="+mn-lt"/>
                <a:ea typeface="+mn-ea"/>
                <a:cs typeface="Arial"/>
              </a:defRPr>
            </a:lvl2pPr>
            <a:lvl3pPr marL="1522413" indent="-303213" algn="l" defTabSz="608013" rtl="0" fontAlgn="base">
              <a:spcBef>
                <a:spcPct val="20000"/>
              </a:spcBef>
              <a:spcAft>
                <a:spcPct val="0"/>
              </a:spcAft>
              <a:buFont typeface="Arial" pitchFamily="34" charset="0"/>
              <a:buChar char="•"/>
              <a:defRPr kern="1200">
                <a:solidFill>
                  <a:srgbClr val="FFFFFF"/>
                </a:solidFill>
                <a:latin typeface="+mn-lt"/>
                <a:ea typeface="+mn-ea"/>
                <a:cs typeface="Arial"/>
              </a:defRPr>
            </a:lvl3pPr>
            <a:lvl4pPr marL="21320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4pPr>
            <a:lvl5pPr marL="27416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5pPr>
            <a:lvl6pPr marL="3352213" indent="-304747" algn="l" defTabSz="609493" rtl="0" eaLnBrk="1" latinLnBrk="0" hangingPunct="1">
              <a:spcBef>
                <a:spcPct val="20000"/>
              </a:spcBef>
              <a:buFont typeface="Arial"/>
              <a:buChar char="•"/>
              <a:defRPr sz="2700" kern="1200">
                <a:solidFill>
                  <a:schemeClr val="tx1"/>
                </a:solidFill>
                <a:latin typeface="+mn-lt"/>
                <a:ea typeface="+mn-ea"/>
                <a:cs typeface="+mn-cs"/>
              </a:defRPr>
            </a:lvl6pPr>
            <a:lvl7pPr marL="3961707" indent="-304747" algn="l" defTabSz="609493" rtl="0" eaLnBrk="1" latinLnBrk="0" hangingPunct="1">
              <a:spcBef>
                <a:spcPct val="20000"/>
              </a:spcBef>
              <a:buFont typeface="Arial"/>
              <a:buChar char="•"/>
              <a:defRPr sz="2700" kern="1200">
                <a:solidFill>
                  <a:schemeClr val="tx1"/>
                </a:solidFill>
                <a:latin typeface="+mn-lt"/>
                <a:ea typeface="+mn-ea"/>
                <a:cs typeface="+mn-cs"/>
              </a:defRPr>
            </a:lvl7pPr>
            <a:lvl8pPr marL="4571200" indent="-304747" algn="l" defTabSz="609493" rtl="0" eaLnBrk="1" latinLnBrk="0" hangingPunct="1">
              <a:spcBef>
                <a:spcPct val="20000"/>
              </a:spcBef>
              <a:buFont typeface="Arial"/>
              <a:buChar char="•"/>
              <a:defRPr sz="2700" kern="1200">
                <a:solidFill>
                  <a:schemeClr val="tx1"/>
                </a:solidFill>
                <a:latin typeface="+mn-lt"/>
                <a:ea typeface="+mn-ea"/>
                <a:cs typeface="+mn-cs"/>
              </a:defRPr>
            </a:lvl8pPr>
            <a:lvl9pPr marL="5180693" indent="-304747" algn="l" defTabSz="609493"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a:buNone/>
            </a:pPr>
            <a:r>
              <a:rPr lang="en-US" sz="1800" dirty="0">
                <a:solidFill>
                  <a:srgbClr val="3DB5F1"/>
                </a:solidFill>
                <a:cs typeface="Arial" pitchFamily="34" charset="0"/>
              </a:rPr>
              <a:t>Definition</a:t>
            </a:r>
          </a:p>
        </p:txBody>
      </p:sp>
      <p:sp>
        <p:nvSpPr>
          <p:cNvPr id="12" name="Text Placeholder 30"/>
          <p:cNvSpPr txBox="1">
            <a:spLocks/>
          </p:cNvSpPr>
          <p:nvPr/>
        </p:nvSpPr>
        <p:spPr bwMode="auto">
          <a:xfrm>
            <a:off x="6028514" y="1175148"/>
            <a:ext cx="2559320" cy="357188"/>
          </a:xfrm>
          <a:prstGeom prst="rect">
            <a:avLst/>
          </a:prstGeom>
          <a:noFill/>
          <a:ln>
            <a:miter lim="800000"/>
            <a:headEnd/>
            <a:tailEnd/>
          </a:ln>
        </p:spPr>
        <p:txBody>
          <a:bodyPr wrap="square" lIns="68586" tIns="34294" rIns="68586" bIns="34294" numCol="1" anchor="t" anchorCtr="0" compatLnSpc="1">
            <a:prstTxWarp prst="textNoShape">
              <a:avLst/>
            </a:prstTxWarp>
          </a:bodyPr>
          <a:lstStyle>
            <a:lvl1pPr marL="455613" indent="-455613" algn="l" defTabSz="608013" rtl="0" fontAlgn="base">
              <a:spcBef>
                <a:spcPct val="20000"/>
              </a:spcBef>
              <a:spcAft>
                <a:spcPct val="0"/>
              </a:spcAft>
              <a:buFont typeface="Arial" pitchFamily="34" charset="0"/>
              <a:buChar char="•"/>
              <a:defRPr sz="2800" kern="1200">
                <a:solidFill>
                  <a:srgbClr val="FFFFFF"/>
                </a:solidFill>
                <a:latin typeface="+mn-lt"/>
                <a:ea typeface="+mn-ea"/>
                <a:cs typeface="Arial"/>
              </a:defRPr>
            </a:lvl1pPr>
            <a:lvl2pPr marL="989013" indent="-379413" algn="l" defTabSz="608013" rtl="0" fontAlgn="base">
              <a:spcBef>
                <a:spcPct val="20000"/>
              </a:spcBef>
              <a:spcAft>
                <a:spcPct val="0"/>
              </a:spcAft>
              <a:buFont typeface="Arial" pitchFamily="34" charset="0"/>
              <a:buChar char="–"/>
              <a:defRPr sz="2400" kern="1200">
                <a:solidFill>
                  <a:srgbClr val="FFFFFF"/>
                </a:solidFill>
                <a:latin typeface="+mn-lt"/>
                <a:ea typeface="+mn-ea"/>
                <a:cs typeface="Arial"/>
              </a:defRPr>
            </a:lvl2pPr>
            <a:lvl3pPr marL="1522413" indent="-303213" algn="l" defTabSz="608013" rtl="0" fontAlgn="base">
              <a:spcBef>
                <a:spcPct val="20000"/>
              </a:spcBef>
              <a:spcAft>
                <a:spcPct val="0"/>
              </a:spcAft>
              <a:buFont typeface="Arial" pitchFamily="34" charset="0"/>
              <a:buChar char="•"/>
              <a:defRPr kern="1200">
                <a:solidFill>
                  <a:srgbClr val="FFFFFF"/>
                </a:solidFill>
                <a:latin typeface="+mn-lt"/>
                <a:ea typeface="+mn-ea"/>
                <a:cs typeface="Arial"/>
              </a:defRPr>
            </a:lvl3pPr>
            <a:lvl4pPr marL="21320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4pPr>
            <a:lvl5pPr marL="27416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5pPr>
            <a:lvl6pPr marL="3352213" indent="-304747" algn="l" defTabSz="609493" rtl="0" eaLnBrk="1" latinLnBrk="0" hangingPunct="1">
              <a:spcBef>
                <a:spcPct val="20000"/>
              </a:spcBef>
              <a:buFont typeface="Arial"/>
              <a:buChar char="•"/>
              <a:defRPr sz="2700" kern="1200">
                <a:solidFill>
                  <a:schemeClr val="tx1"/>
                </a:solidFill>
                <a:latin typeface="+mn-lt"/>
                <a:ea typeface="+mn-ea"/>
                <a:cs typeface="+mn-cs"/>
              </a:defRPr>
            </a:lvl6pPr>
            <a:lvl7pPr marL="3961707" indent="-304747" algn="l" defTabSz="609493" rtl="0" eaLnBrk="1" latinLnBrk="0" hangingPunct="1">
              <a:spcBef>
                <a:spcPct val="20000"/>
              </a:spcBef>
              <a:buFont typeface="Arial"/>
              <a:buChar char="•"/>
              <a:defRPr sz="2700" kern="1200">
                <a:solidFill>
                  <a:schemeClr val="tx1"/>
                </a:solidFill>
                <a:latin typeface="+mn-lt"/>
                <a:ea typeface="+mn-ea"/>
                <a:cs typeface="+mn-cs"/>
              </a:defRPr>
            </a:lvl7pPr>
            <a:lvl8pPr marL="4571200" indent="-304747" algn="l" defTabSz="609493" rtl="0" eaLnBrk="1" latinLnBrk="0" hangingPunct="1">
              <a:spcBef>
                <a:spcPct val="20000"/>
              </a:spcBef>
              <a:buFont typeface="Arial"/>
              <a:buChar char="•"/>
              <a:defRPr sz="2700" kern="1200">
                <a:solidFill>
                  <a:schemeClr val="tx1"/>
                </a:solidFill>
                <a:latin typeface="+mn-lt"/>
                <a:ea typeface="+mn-ea"/>
                <a:cs typeface="+mn-cs"/>
              </a:defRPr>
            </a:lvl8pPr>
            <a:lvl9pPr marL="5180693" indent="-304747" algn="l" defTabSz="609493"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a:buNone/>
            </a:pPr>
            <a:r>
              <a:rPr lang="en-US" sz="1800" dirty="0">
                <a:solidFill>
                  <a:srgbClr val="3DB5F1"/>
                </a:solidFill>
                <a:cs typeface="Arial" pitchFamily="34" charset="0"/>
              </a:rPr>
              <a:t>Execution</a:t>
            </a:r>
          </a:p>
        </p:txBody>
      </p:sp>
      <p:sp>
        <p:nvSpPr>
          <p:cNvPr id="13" name="Text Placeholder 31"/>
          <p:cNvSpPr txBox="1">
            <a:spLocks/>
          </p:cNvSpPr>
          <p:nvPr/>
        </p:nvSpPr>
        <p:spPr bwMode="auto">
          <a:xfrm>
            <a:off x="3460858" y="2800351"/>
            <a:ext cx="2368770" cy="1375172"/>
          </a:xfrm>
          <a:prstGeom prst="rect">
            <a:avLst/>
          </a:prstGeom>
          <a:noFill/>
          <a:ln>
            <a:miter lim="800000"/>
            <a:headEnd/>
            <a:tailEnd/>
          </a:ln>
        </p:spPr>
        <p:txBody>
          <a:bodyPr wrap="square" lIns="68586" tIns="34294" rIns="68586" bIns="34294" numCol="1" anchor="t" anchorCtr="0" compatLnSpc="1">
            <a:prstTxWarp prst="textNoShape">
              <a:avLst/>
            </a:prstTxWarp>
          </a:bodyPr>
          <a:lstStyle>
            <a:lvl1pPr marL="455613" indent="-455613" algn="l" defTabSz="608013" rtl="0" fontAlgn="base">
              <a:spcBef>
                <a:spcPct val="20000"/>
              </a:spcBef>
              <a:spcAft>
                <a:spcPct val="0"/>
              </a:spcAft>
              <a:buFont typeface="Arial" pitchFamily="34" charset="0"/>
              <a:buChar char="•"/>
              <a:defRPr sz="2800" kern="1200">
                <a:solidFill>
                  <a:srgbClr val="FFFFFF"/>
                </a:solidFill>
                <a:latin typeface="+mn-lt"/>
                <a:ea typeface="+mn-ea"/>
                <a:cs typeface="Arial"/>
              </a:defRPr>
            </a:lvl1pPr>
            <a:lvl2pPr marL="989013" indent="-379413" algn="l" defTabSz="608013" rtl="0" fontAlgn="base">
              <a:spcBef>
                <a:spcPct val="20000"/>
              </a:spcBef>
              <a:spcAft>
                <a:spcPct val="0"/>
              </a:spcAft>
              <a:buFont typeface="Arial" pitchFamily="34" charset="0"/>
              <a:buChar char="–"/>
              <a:defRPr sz="2400" kern="1200">
                <a:solidFill>
                  <a:srgbClr val="FFFFFF"/>
                </a:solidFill>
                <a:latin typeface="+mn-lt"/>
                <a:ea typeface="+mn-ea"/>
                <a:cs typeface="Arial"/>
              </a:defRPr>
            </a:lvl2pPr>
            <a:lvl3pPr marL="1522413" indent="-303213" algn="l" defTabSz="608013" rtl="0" fontAlgn="base">
              <a:spcBef>
                <a:spcPct val="20000"/>
              </a:spcBef>
              <a:spcAft>
                <a:spcPct val="0"/>
              </a:spcAft>
              <a:buFont typeface="Arial" pitchFamily="34" charset="0"/>
              <a:buChar char="•"/>
              <a:defRPr kern="1200">
                <a:solidFill>
                  <a:srgbClr val="FFFFFF"/>
                </a:solidFill>
                <a:latin typeface="+mn-lt"/>
                <a:ea typeface="+mn-ea"/>
                <a:cs typeface="Arial"/>
              </a:defRPr>
            </a:lvl3pPr>
            <a:lvl4pPr marL="21320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4pPr>
            <a:lvl5pPr marL="27416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5pPr>
            <a:lvl6pPr marL="3352213" indent="-304747" algn="l" defTabSz="609493" rtl="0" eaLnBrk="1" latinLnBrk="0" hangingPunct="1">
              <a:spcBef>
                <a:spcPct val="20000"/>
              </a:spcBef>
              <a:buFont typeface="Arial"/>
              <a:buChar char="•"/>
              <a:defRPr sz="2700" kern="1200">
                <a:solidFill>
                  <a:schemeClr val="tx1"/>
                </a:solidFill>
                <a:latin typeface="+mn-lt"/>
                <a:ea typeface="+mn-ea"/>
                <a:cs typeface="+mn-cs"/>
              </a:defRPr>
            </a:lvl6pPr>
            <a:lvl7pPr marL="3961707" indent="-304747" algn="l" defTabSz="609493" rtl="0" eaLnBrk="1" latinLnBrk="0" hangingPunct="1">
              <a:spcBef>
                <a:spcPct val="20000"/>
              </a:spcBef>
              <a:buFont typeface="Arial"/>
              <a:buChar char="•"/>
              <a:defRPr sz="2700" kern="1200">
                <a:solidFill>
                  <a:schemeClr val="tx1"/>
                </a:solidFill>
                <a:latin typeface="+mn-lt"/>
                <a:ea typeface="+mn-ea"/>
                <a:cs typeface="+mn-cs"/>
              </a:defRPr>
            </a:lvl7pPr>
            <a:lvl8pPr marL="4571200" indent="-304747" algn="l" defTabSz="609493" rtl="0" eaLnBrk="1" latinLnBrk="0" hangingPunct="1">
              <a:spcBef>
                <a:spcPct val="20000"/>
              </a:spcBef>
              <a:buFont typeface="Arial"/>
              <a:buChar char="•"/>
              <a:defRPr sz="2700" kern="1200">
                <a:solidFill>
                  <a:schemeClr val="tx1"/>
                </a:solidFill>
                <a:latin typeface="+mn-lt"/>
                <a:ea typeface="+mn-ea"/>
                <a:cs typeface="+mn-cs"/>
              </a:defRPr>
            </a:lvl8pPr>
            <a:lvl9pPr marL="5180693" indent="-304747" algn="l" defTabSz="609493" rtl="0" eaLnBrk="1" latinLnBrk="0" hangingPunct="1">
              <a:spcBef>
                <a:spcPct val="20000"/>
              </a:spcBef>
              <a:buFont typeface="Arial"/>
              <a:buChar char="•"/>
              <a:defRPr sz="2700" kern="1200">
                <a:solidFill>
                  <a:schemeClr val="tx1"/>
                </a:solidFill>
                <a:latin typeface="+mn-lt"/>
                <a:ea typeface="+mn-ea"/>
                <a:cs typeface="+mn-cs"/>
              </a:defRPr>
            </a:lvl9pPr>
          </a:lstStyle>
          <a:p>
            <a:pPr marL="0" lvl="1" indent="0">
              <a:buNone/>
            </a:pPr>
            <a:r>
              <a:rPr lang="en-US" sz="1200" dirty="0">
                <a:cs typeface="Arial" pitchFamily="34" charset="0"/>
              </a:rPr>
              <a:t>Capture the OS configuration and the SQL connection information</a:t>
            </a:r>
          </a:p>
          <a:p>
            <a:pPr marL="0" lvl="1" indent="0">
              <a:buNone/>
            </a:pPr>
            <a:endParaRPr lang="en-US" sz="1200" dirty="0">
              <a:cs typeface="Arial" pitchFamily="34" charset="0"/>
            </a:endParaRPr>
          </a:p>
          <a:p>
            <a:pPr marL="0" lvl="1" indent="0">
              <a:buNone/>
            </a:pPr>
            <a:r>
              <a:rPr lang="en-US" sz="1200" dirty="0" err="1">
                <a:cs typeface="Arial" pitchFamily="34" charset="0"/>
              </a:rPr>
              <a:t>Timezone</a:t>
            </a:r>
            <a:r>
              <a:rPr lang="en-US" sz="1200" dirty="0">
                <a:cs typeface="Arial" pitchFamily="34" charset="0"/>
              </a:rPr>
              <a:t>, Product key, admin password,  Domain join, </a:t>
            </a:r>
            <a:r>
              <a:rPr lang="en-US" sz="1200" dirty="0" err="1">
                <a:cs typeface="Arial" pitchFamily="34" charset="0"/>
              </a:rPr>
              <a:t>dacpacs</a:t>
            </a:r>
            <a:endParaRPr lang="en-US" sz="1200" dirty="0">
              <a:cs typeface="Arial" pitchFamily="34" charset="0"/>
            </a:endParaRPr>
          </a:p>
        </p:txBody>
      </p:sp>
      <p:sp>
        <p:nvSpPr>
          <p:cNvPr id="14" name="Text Placeholder 32"/>
          <p:cNvSpPr txBox="1">
            <a:spLocks/>
          </p:cNvSpPr>
          <p:nvPr/>
        </p:nvSpPr>
        <p:spPr bwMode="auto">
          <a:xfrm>
            <a:off x="6185717" y="2800350"/>
            <a:ext cx="2218713" cy="1382316"/>
          </a:xfrm>
          <a:prstGeom prst="rect">
            <a:avLst/>
          </a:prstGeom>
          <a:noFill/>
          <a:ln>
            <a:miter lim="800000"/>
            <a:headEnd/>
            <a:tailEnd/>
          </a:ln>
        </p:spPr>
        <p:txBody>
          <a:bodyPr wrap="square" lIns="68586" tIns="34294" rIns="68586" bIns="34294" numCol="1" anchor="t" anchorCtr="0" compatLnSpc="1">
            <a:prstTxWarp prst="textNoShape">
              <a:avLst/>
            </a:prstTxWarp>
          </a:bodyPr>
          <a:lstStyle>
            <a:lvl1pPr marL="455613" indent="-455613" algn="l" defTabSz="608013" rtl="0" fontAlgn="base">
              <a:spcBef>
                <a:spcPct val="20000"/>
              </a:spcBef>
              <a:spcAft>
                <a:spcPct val="0"/>
              </a:spcAft>
              <a:buFont typeface="Arial" pitchFamily="34" charset="0"/>
              <a:buChar char="•"/>
              <a:defRPr sz="2800" kern="1200">
                <a:solidFill>
                  <a:srgbClr val="FFFFFF"/>
                </a:solidFill>
                <a:latin typeface="+mn-lt"/>
                <a:ea typeface="+mn-ea"/>
                <a:cs typeface="Arial"/>
              </a:defRPr>
            </a:lvl1pPr>
            <a:lvl2pPr marL="989013" indent="-379413" algn="l" defTabSz="608013" rtl="0" fontAlgn="base">
              <a:spcBef>
                <a:spcPct val="20000"/>
              </a:spcBef>
              <a:spcAft>
                <a:spcPct val="0"/>
              </a:spcAft>
              <a:buFont typeface="Arial" pitchFamily="34" charset="0"/>
              <a:buChar char="–"/>
              <a:defRPr sz="2400" kern="1200">
                <a:solidFill>
                  <a:srgbClr val="FFFFFF"/>
                </a:solidFill>
                <a:latin typeface="+mn-lt"/>
                <a:ea typeface="+mn-ea"/>
                <a:cs typeface="Arial"/>
              </a:defRPr>
            </a:lvl2pPr>
            <a:lvl3pPr marL="1522413" indent="-303213" algn="l" defTabSz="608013" rtl="0" fontAlgn="base">
              <a:spcBef>
                <a:spcPct val="20000"/>
              </a:spcBef>
              <a:spcAft>
                <a:spcPct val="0"/>
              </a:spcAft>
              <a:buFont typeface="Arial" pitchFamily="34" charset="0"/>
              <a:buChar char="•"/>
              <a:defRPr kern="1200">
                <a:solidFill>
                  <a:srgbClr val="FFFFFF"/>
                </a:solidFill>
                <a:latin typeface="+mn-lt"/>
                <a:ea typeface="+mn-ea"/>
                <a:cs typeface="Arial"/>
              </a:defRPr>
            </a:lvl3pPr>
            <a:lvl4pPr marL="21320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4pPr>
            <a:lvl5pPr marL="27416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5pPr>
            <a:lvl6pPr marL="3352213" indent="-304747" algn="l" defTabSz="609493" rtl="0" eaLnBrk="1" latinLnBrk="0" hangingPunct="1">
              <a:spcBef>
                <a:spcPct val="20000"/>
              </a:spcBef>
              <a:buFont typeface="Arial"/>
              <a:buChar char="•"/>
              <a:defRPr sz="2700" kern="1200">
                <a:solidFill>
                  <a:schemeClr val="tx1"/>
                </a:solidFill>
                <a:latin typeface="+mn-lt"/>
                <a:ea typeface="+mn-ea"/>
                <a:cs typeface="+mn-cs"/>
              </a:defRPr>
            </a:lvl6pPr>
            <a:lvl7pPr marL="3961707" indent="-304747" algn="l" defTabSz="609493" rtl="0" eaLnBrk="1" latinLnBrk="0" hangingPunct="1">
              <a:spcBef>
                <a:spcPct val="20000"/>
              </a:spcBef>
              <a:buFont typeface="Arial"/>
              <a:buChar char="•"/>
              <a:defRPr sz="2700" kern="1200">
                <a:solidFill>
                  <a:schemeClr val="tx1"/>
                </a:solidFill>
                <a:latin typeface="+mn-lt"/>
                <a:ea typeface="+mn-ea"/>
                <a:cs typeface="+mn-cs"/>
              </a:defRPr>
            </a:lvl7pPr>
            <a:lvl8pPr marL="4571200" indent="-304747" algn="l" defTabSz="609493" rtl="0" eaLnBrk="1" latinLnBrk="0" hangingPunct="1">
              <a:spcBef>
                <a:spcPct val="20000"/>
              </a:spcBef>
              <a:buFont typeface="Arial"/>
              <a:buChar char="•"/>
              <a:defRPr sz="2700" kern="1200">
                <a:solidFill>
                  <a:schemeClr val="tx1"/>
                </a:solidFill>
                <a:latin typeface="+mn-lt"/>
                <a:ea typeface="+mn-ea"/>
                <a:cs typeface="+mn-cs"/>
              </a:defRPr>
            </a:lvl8pPr>
            <a:lvl9pPr marL="5180693" indent="-304747" algn="l" defTabSz="609493" rtl="0" eaLnBrk="1" latinLnBrk="0" hangingPunct="1">
              <a:spcBef>
                <a:spcPct val="20000"/>
              </a:spcBef>
              <a:buFont typeface="Arial"/>
              <a:buChar char="•"/>
              <a:defRPr sz="2700" kern="1200">
                <a:solidFill>
                  <a:schemeClr val="tx1"/>
                </a:solidFill>
                <a:latin typeface="+mn-lt"/>
                <a:ea typeface="+mn-ea"/>
                <a:cs typeface="+mn-cs"/>
              </a:defRPr>
            </a:lvl9pPr>
          </a:lstStyle>
          <a:p>
            <a:pPr marL="0" lvl="1" indent="0">
              <a:buNone/>
            </a:pPr>
            <a:r>
              <a:rPr lang="en-US" sz="1200" dirty="0">
                <a:cs typeface="Arial" pitchFamily="34" charset="0"/>
              </a:rPr>
              <a:t>Run pre-scripts, post-scripts, and </a:t>
            </a:r>
            <a:r>
              <a:rPr lang="en-US" sz="1200" dirty="0" err="1">
                <a:cs typeface="Arial" pitchFamily="34" charset="0"/>
              </a:rPr>
              <a:t>executables</a:t>
            </a:r>
            <a:r>
              <a:rPr lang="en-US" sz="1200" dirty="0">
                <a:cs typeface="Arial" pitchFamily="34" charset="0"/>
              </a:rPr>
              <a:t> as part of the application deployment</a:t>
            </a:r>
          </a:p>
          <a:p>
            <a:pPr marL="0" lvl="1" indent="0">
              <a:buNone/>
            </a:pPr>
            <a:endParaRPr lang="en-US" sz="1200" dirty="0">
              <a:cs typeface="Arial" pitchFamily="34" charset="0"/>
            </a:endParaRPr>
          </a:p>
          <a:p>
            <a:pPr marL="0" lvl="1" indent="0">
              <a:buNone/>
            </a:pPr>
            <a:r>
              <a:rPr lang="en-US" sz="1200" dirty="0">
                <a:cs typeface="Arial" pitchFamily="34" charset="0"/>
              </a:rPr>
              <a:t>Any commands and actions outside of the application</a:t>
            </a:r>
          </a:p>
        </p:txBody>
      </p:sp>
      <p:pic>
        <p:nvPicPr>
          <p:cNvPr id="15" name="Picture 19"/>
          <p:cNvPicPr>
            <a:picLocks noChangeAspect="1"/>
          </p:cNvPicPr>
          <p:nvPr/>
        </p:nvPicPr>
        <p:blipFill>
          <a:blip r:embed="rId2"/>
          <a:srcRect/>
          <a:stretch>
            <a:fillRect/>
          </a:stretch>
        </p:blipFill>
        <p:spPr bwMode="auto">
          <a:xfrm>
            <a:off x="1357666" y="1960960"/>
            <a:ext cx="584750" cy="667940"/>
          </a:xfrm>
          <a:prstGeom prst="rect">
            <a:avLst/>
          </a:prstGeom>
          <a:noFill/>
          <a:ln w="9525">
            <a:noFill/>
            <a:miter lim="800000"/>
            <a:headEnd/>
            <a:tailEnd/>
          </a:ln>
        </p:spPr>
      </p:pic>
      <p:pic>
        <p:nvPicPr>
          <p:cNvPr id="16" name="Picture 20"/>
          <p:cNvPicPr>
            <a:picLocks noChangeAspect="1"/>
          </p:cNvPicPr>
          <p:nvPr/>
        </p:nvPicPr>
        <p:blipFill>
          <a:blip r:embed="rId3"/>
          <a:srcRect/>
          <a:stretch>
            <a:fillRect/>
          </a:stretch>
        </p:blipFill>
        <p:spPr bwMode="auto">
          <a:xfrm>
            <a:off x="1656592" y="1714500"/>
            <a:ext cx="685979" cy="692944"/>
          </a:xfrm>
          <a:prstGeom prst="rect">
            <a:avLst/>
          </a:prstGeom>
          <a:noFill/>
          <a:ln w="9525">
            <a:noFill/>
            <a:miter lim="800000"/>
            <a:headEnd/>
            <a:tailEnd/>
          </a:ln>
        </p:spPr>
      </p:pic>
      <p:pic>
        <p:nvPicPr>
          <p:cNvPr id="17" name="Picture 25"/>
          <p:cNvPicPr>
            <a:picLocks noChangeAspect="1"/>
          </p:cNvPicPr>
          <p:nvPr/>
        </p:nvPicPr>
        <p:blipFill>
          <a:blip r:embed="rId4"/>
          <a:srcRect/>
          <a:stretch>
            <a:fillRect/>
          </a:stretch>
        </p:blipFill>
        <p:spPr bwMode="auto">
          <a:xfrm>
            <a:off x="4718485" y="1700212"/>
            <a:ext cx="539494" cy="615554"/>
          </a:xfrm>
          <a:prstGeom prst="rect">
            <a:avLst/>
          </a:prstGeom>
          <a:noFill/>
          <a:ln w="9525">
            <a:noFill/>
            <a:miter lim="800000"/>
            <a:headEnd/>
            <a:tailEnd/>
          </a:ln>
        </p:spPr>
      </p:pic>
      <p:pic>
        <p:nvPicPr>
          <p:cNvPr id="18" name="Picture 26"/>
          <p:cNvPicPr>
            <a:picLocks noChangeAspect="1"/>
          </p:cNvPicPr>
          <p:nvPr/>
        </p:nvPicPr>
        <p:blipFill>
          <a:blip r:embed="rId5"/>
          <a:srcRect/>
          <a:stretch>
            <a:fillRect/>
          </a:stretch>
        </p:blipFill>
        <p:spPr bwMode="auto">
          <a:xfrm>
            <a:off x="3886022" y="1696642"/>
            <a:ext cx="519248" cy="527447"/>
          </a:xfrm>
          <a:prstGeom prst="rect">
            <a:avLst/>
          </a:prstGeom>
          <a:noFill/>
          <a:ln w="9525">
            <a:noFill/>
            <a:miter lim="800000"/>
            <a:headEnd/>
            <a:tailEnd/>
          </a:ln>
        </p:spPr>
      </p:pic>
      <p:pic>
        <p:nvPicPr>
          <p:cNvPr id="19" name="Picture 27"/>
          <p:cNvPicPr>
            <a:picLocks noChangeAspect="1"/>
          </p:cNvPicPr>
          <p:nvPr/>
        </p:nvPicPr>
        <p:blipFill>
          <a:blip r:embed="rId6"/>
          <a:srcRect/>
          <a:stretch>
            <a:fillRect/>
          </a:stretch>
        </p:blipFill>
        <p:spPr bwMode="auto">
          <a:xfrm>
            <a:off x="4343342" y="2058592"/>
            <a:ext cx="345371" cy="513159"/>
          </a:xfrm>
          <a:prstGeom prst="rect">
            <a:avLst/>
          </a:prstGeom>
          <a:noFill/>
          <a:ln w="9525">
            <a:noFill/>
            <a:miter lim="800000"/>
            <a:headEnd/>
            <a:tailEnd/>
          </a:ln>
        </p:spPr>
      </p:pic>
      <p:pic>
        <p:nvPicPr>
          <p:cNvPr id="20" name="Picture 28"/>
          <p:cNvPicPr>
            <a:picLocks noChangeAspect="1"/>
          </p:cNvPicPr>
          <p:nvPr/>
        </p:nvPicPr>
        <p:blipFill>
          <a:blip r:embed="rId7"/>
          <a:srcRect/>
          <a:stretch>
            <a:fillRect/>
          </a:stretch>
        </p:blipFill>
        <p:spPr bwMode="auto">
          <a:xfrm>
            <a:off x="4629165" y="2295526"/>
            <a:ext cx="271533" cy="276225"/>
          </a:xfrm>
          <a:prstGeom prst="rect">
            <a:avLst/>
          </a:prstGeom>
          <a:noFill/>
          <a:ln w="9525">
            <a:noFill/>
            <a:miter lim="800000"/>
            <a:headEnd/>
            <a:tailEnd/>
          </a:ln>
        </p:spPr>
      </p:pic>
      <p:pic>
        <p:nvPicPr>
          <p:cNvPr id="21" name="Picture 29" descr="app.ai"/>
          <p:cNvPicPr>
            <a:picLocks noChangeAspect="1"/>
          </p:cNvPicPr>
          <p:nvPr/>
        </p:nvPicPr>
        <p:blipFill>
          <a:blip r:embed="rId8"/>
          <a:srcRect/>
          <a:stretch>
            <a:fillRect/>
          </a:stretch>
        </p:blipFill>
        <p:spPr bwMode="auto">
          <a:xfrm rot="1078840">
            <a:off x="6963400" y="1756172"/>
            <a:ext cx="725279" cy="827484"/>
          </a:xfrm>
          <a:prstGeom prst="rect">
            <a:avLst/>
          </a:prstGeom>
          <a:noFill/>
          <a:ln w="9525">
            <a:noFill/>
            <a:miter lim="800000"/>
            <a:headEnd/>
            <a:tailEnd/>
          </a:ln>
        </p:spPr>
      </p:pic>
      <p:sp>
        <p:nvSpPr>
          <p:cNvPr id="22"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3"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9"/>
              </a:rPr>
              <a:t>www.rapidbbs.cn</a:t>
            </a:r>
            <a:endParaRPr lang="zh-CN" altLang="en-US" sz="1200" b="0">
              <a:latin typeface="Arial" charset="0"/>
              <a:ea typeface="ＭＳ Ｐゴシック" pitchFamily="34" charset="-128"/>
            </a:endParaRPr>
          </a:p>
        </p:txBody>
      </p:sp>
      <p:pic>
        <p:nvPicPr>
          <p:cNvPr id="24" name="Picture 2">
            <a:hlinkClick r:id="rId9"/>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365256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par>
                                <p:cTn id="17" presetID="10" presetClass="entr" presetSubtype="0" fill="hold" nodeType="with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par>
                                <p:cTn id="20" presetID="10" presetClass="entr" presetSubtype="0" fill="hold" nodeType="with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500"/>
                                        <p:tgtEl>
                                          <p:spTgt spid="5"/>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6"/>
                                        </p:tgtEl>
                                        <p:attrNameLst>
                                          <p:attrName>style.visibility</p:attrName>
                                        </p:attrNameLst>
                                      </p:cBhvr>
                                      <p:to>
                                        <p:strVal val="visible"/>
                                      </p:to>
                                    </p:set>
                                    <p:animEffect transition="in" filter="fade">
                                      <p:cBhvr>
                                        <p:cTn id="30" dur="500"/>
                                        <p:tgtEl>
                                          <p:spTgt spid="6"/>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1"/>
                                        </p:tgtEl>
                                        <p:attrNameLst>
                                          <p:attrName>style.visibility</p:attrName>
                                        </p:attrNameLst>
                                      </p:cBhvr>
                                      <p:to>
                                        <p:strVal val="visible"/>
                                      </p:to>
                                    </p:set>
                                    <p:animEffect transition="in" filter="fade">
                                      <p:cBhvr>
                                        <p:cTn id="33" dur="500"/>
                                        <p:tgtEl>
                                          <p:spTgt spid="11"/>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3"/>
                                        </p:tgtEl>
                                        <p:attrNameLst>
                                          <p:attrName>style.visibility</p:attrName>
                                        </p:attrNameLst>
                                      </p:cBhvr>
                                      <p:to>
                                        <p:strVal val="visible"/>
                                      </p:to>
                                    </p:set>
                                    <p:animEffect transition="in" filter="fade">
                                      <p:cBhvr>
                                        <p:cTn id="36" dur="500"/>
                                        <p:tgtEl>
                                          <p:spTgt spid="13"/>
                                        </p:tgtEl>
                                      </p:cBhvr>
                                    </p:animEffect>
                                  </p:childTnLst>
                                </p:cTn>
                              </p:par>
                              <p:par>
                                <p:cTn id="37" presetID="10" presetClass="entr" presetSubtype="0" fill="hold" nodeType="withEffect">
                                  <p:stCondLst>
                                    <p:cond delay="0"/>
                                  </p:stCondLst>
                                  <p:childTnLst>
                                    <p:set>
                                      <p:cBhvr>
                                        <p:cTn id="38" dur="1" fill="hold">
                                          <p:stCondLst>
                                            <p:cond delay="0"/>
                                          </p:stCondLst>
                                        </p:cTn>
                                        <p:tgtEl>
                                          <p:spTgt spid="17"/>
                                        </p:tgtEl>
                                        <p:attrNameLst>
                                          <p:attrName>style.visibility</p:attrName>
                                        </p:attrNameLst>
                                      </p:cBhvr>
                                      <p:to>
                                        <p:strVal val="visible"/>
                                      </p:to>
                                    </p:set>
                                    <p:animEffect transition="in" filter="fade">
                                      <p:cBhvr>
                                        <p:cTn id="39" dur="500"/>
                                        <p:tgtEl>
                                          <p:spTgt spid="17"/>
                                        </p:tgtEl>
                                      </p:cBhvr>
                                    </p:animEffect>
                                  </p:childTnLst>
                                </p:cTn>
                              </p:par>
                              <p:par>
                                <p:cTn id="40" presetID="10" presetClass="entr" presetSubtype="0" fill="hold" nodeType="withEffect">
                                  <p:stCondLst>
                                    <p:cond delay="0"/>
                                  </p:stCondLst>
                                  <p:childTnLst>
                                    <p:set>
                                      <p:cBhvr>
                                        <p:cTn id="41" dur="1" fill="hold">
                                          <p:stCondLst>
                                            <p:cond delay="0"/>
                                          </p:stCondLst>
                                        </p:cTn>
                                        <p:tgtEl>
                                          <p:spTgt spid="18"/>
                                        </p:tgtEl>
                                        <p:attrNameLst>
                                          <p:attrName>style.visibility</p:attrName>
                                        </p:attrNameLst>
                                      </p:cBhvr>
                                      <p:to>
                                        <p:strVal val="visible"/>
                                      </p:to>
                                    </p:set>
                                    <p:animEffect transition="in" filter="fade">
                                      <p:cBhvr>
                                        <p:cTn id="42" dur="500"/>
                                        <p:tgtEl>
                                          <p:spTgt spid="18"/>
                                        </p:tgtEl>
                                      </p:cBhvr>
                                    </p:animEffect>
                                  </p:childTnLst>
                                </p:cTn>
                              </p:par>
                              <p:par>
                                <p:cTn id="43" presetID="10" presetClass="entr" presetSubtype="0" fill="hold" nodeType="withEffect">
                                  <p:stCondLst>
                                    <p:cond delay="0"/>
                                  </p:stCondLst>
                                  <p:childTnLst>
                                    <p:set>
                                      <p:cBhvr>
                                        <p:cTn id="44" dur="1" fill="hold">
                                          <p:stCondLst>
                                            <p:cond delay="0"/>
                                          </p:stCondLst>
                                        </p:cTn>
                                        <p:tgtEl>
                                          <p:spTgt spid="19"/>
                                        </p:tgtEl>
                                        <p:attrNameLst>
                                          <p:attrName>style.visibility</p:attrName>
                                        </p:attrNameLst>
                                      </p:cBhvr>
                                      <p:to>
                                        <p:strVal val="visible"/>
                                      </p:to>
                                    </p:set>
                                    <p:animEffect transition="in" filter="fade">
                                      <p:cBhvr>
                                        <p:cTn id="45" dur="500"/>
                                        <p:tgtEl>
                                          <p:spTgt spid="19"/>
                                        </p:tgtEl>
                                      </p:cBhvr>
                                    </p:animEffect>
                                  </p:childTnLst>
                                </p:cTn>
                              </p:par>
                              <p:par>
                                <p:cTn id="46" presetID="10" presetClass="entr" presetSubtype="0" fill="hold" nodeType="withEffect">
                                  <p:stCondLst>
                                    <p:cond delay="0"/>
                                  </p:stCondLst>
                                  <p:childTnLst>
                                    <p:set>
                                      <p:cBhvr>
                                        <p:cTn id="47" dur="1" fill="hold">
                                          <p:stCondLst>
                                            <p:cond delay="0"/>
                                          </p:stCondLst>
                                        </p:cTn>
                                        <p:tgtEl>
                                          <p:spTgt spid="20"/>
                                        </p:tgtEl>
                                        <p:attrNameLst>
                                          <p:attrName>style.visibility</p:attrName>
                                        </p:attrNameLst>
                                      </p:cBhvr>
                                      <p:to>
                                        <p:strVal val="visible"/>
                                      </p:to>
                                    </p:set>
                                    <p:animEffect transition="in" filter="fade">
                                      <p:cBhvr>
                                        <p:cTn id="48" dur="500"/>
                                        <p:tgtEl>
                                          <p:spTgt spid="20"/>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4"/>
                                        </p:tgtEl>
                                        <p:attrNameLst>
                                          <p:attrName>style.visibility</p:attrName>
                                        </p:attrNameLst>
                                      </p:cBhvr>
                                      <p:to>
                                        <p:strVal val="visible"/>
                                      </p:to>
                                    </p:set>
                                    <p:animEffect transition="in" filter="fade">
                                      <p:cBhvr>
                                        <p:cTn id="53" dur="500"/>
                                        <p:tgtEl>
                                          <p:spTgt spid="4"/>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7"/>
                                        </p:tgtEl>
                                        <p:attrNameLst>
                                          <p:attrName>style.visibility</p:attrName>
                                        </p:attrNameLst>
                                      </p:cBhvr>
                                      <p:to>
                                        <p:strVal val="visible"/>
                                      </p:to>
                                    </p:set>
                                    <p:animEffect transition="in" filter="fade">
                                      <p:cBhvr>
                                        <p:cTn id="56" dur="500"/>
                                        <p:tgtEl>
                                          <p:spTgt spid="7"/>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12"/>
                                        </p:tgtEl>
                                        <p:attrNameLst>
                                          <p:attrName>style.visibility</p:attrName>
                                        </p:attrNameLst>
                                      </p:cBhvr>
                                      <p:to>
                                        <p:strVal val="visible"/>
                                      </p:to>
                                    </p:set>
                                    <p:animEffect transition="in" filter="fade">
                                      <p:cBhvr>
                                        <p:cTn id="59" dur="500"/>
                                        <p:tgtEl>
                                          <p:spTgt spid="12"/>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14"/>
                                        </p:tgtEl>
                                        <p:attrNameLst>
                                          <p:attrName>style.visibility</p:attrName>
                                        </p:attrNameLst>
                                      </p:cBhvr>
                                      <p:to>
                                        <p:strVal val="visible"/>
                                      </p:to>
                                    </p:set>
                                    <p:animEffect transition="in" filter="fade">
                                      <p:cBhvr>
                                        <p:cTn id="62" dur="500"/>
                                        <p:tgtEl>
                                          <p:spTgt spid="14"/>
                                        </p:tgtEl>
                                      </p:cBhvr>
                                    </p:animEffect>
                                  </p:childTnLst>
                                </p:cTn>
                              </p:par>
                              <p:par>
                                <p:cTn id="63" presetID="10" presetClass="entr" presetSubtype="0" fill="hold" nodeType="withEffect">
                                  <p:stCondLst>
                                    <p:cond delay="0"/>
                                  </p:stCondLst>
                                  <p:childTnLst>
                                    <p:set>
                                      <p:cBhvr>
                                        <p:cTn id="64" dur="1" fill="hold">
                                          <p:stCondLst>
                                            <p:cond delay="0"/>
                                          </p:stCondLst>
                                        </p:cTn>
                                        <p:tgtEl>
                                          <p:spTgt spid="21"/>
                                        </p:tgtEl>
                                        <p:attrNameLst>
                                          <p:attrName>style.visibility</p:attrName>
                                        </p:attrNameLst>
                                      </p:cBhvr>
                                      <p:to>
                                        <p:strVal val="visible"/>
                                      </p:to>
                                    </p:set>
                                    <p:animEffect transition="in" filter="fade">
                                      <p:cBhvr>
                                        <p:cTn id="65"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5" grpId="0" animBg="1"/>
      <p:bldP spid="6" grpId="0" animBg="1"/>
      <p:bldP spid="7" grpId="0" animBg="1"/>
      <p:bldP spid="9" grpId="0" animBg="1"/>
      <p:bldP spid="10" grpId="0" animBg="1"/>
      <p:bldP spid="11" grpId="0" animBg="1"/>
      <p:bldP spid="12" grpId="0" animBg="1"/>
      <p:bldP spid="13" grpId="0" animBg="1"/>
      <p:bldP spid="14" grpId="0" animBg="1"/>
    </p:bldLst>
  </p:timing>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3"/>
          <p:cNvSpPr>
            <a:spLocks noChangeArrowheads="1"/>
          </p:cNvSpPr>
          <p:nvPr/>
        </p:nvSpPr>
        <p:spPr bwMode="auto">
          <a:xfrm>
            <a:off x="284634" y="1085850"/>
            <a:ext cx="8631898" cy="1503340"/>
          </a:xfrm>
          <a:prstGeom prst="rect">
            <a:avLst/>
          </a:prstGeom>
          <a:solidFill>
            <a:schemeClr val="bg1">
              <a:alpha val="10196"/>
            </a:schemeClr>
          </a:solidFill>
          <a:ln w="9525">
            <a:noFill/>
            <a:miter lim="800000"/>
            <a:headEnd/>
            <a:tailEnd/>
          </a:ln>
        </p:spPr>
        <p:txBody>
          <a:bodyPr wrap="none" lIns="68586" tIns="34294" rIns="68586" bIns="34294" anchor="ctr"/>
          <a:lstStyle/>
          <a:p>
            <a:pPr defTabSz="685862" fontAlgn="base">
              <a:spcBef>
                <a:spcPct val="0"/>
              </a:spcBef>
              <a:spcAft>
                <a:spcPct val="0"/>
              </a:spcAft>
            </a:pPr>
            <a:endParaRPr lang="en-US">
              <a:solidFill>
                <a:srgbClr val="00264A"/>
              </a:solidFill>
              <a:cs typeface="Segoe UI" pitchFamily="34" charset="0"/>
            </a:endParaRPr>
          </a:p>
        </p:txBody>
      </p:sp>
      <p:pic>
        <p:nvPicPr>
          <p:cNvPr id="3" name="Picture 84" descr="app.ai"/>
          <p:cNvPicPr>
            <a:picLocks noChangeAspect="1"/>
          </p:cNvPicPr>
          <p:nvPr/>
        </p:nvPicPr>
        <p:blipFill>
          <a:blip r:embed="rId2"/>
          <a:srcRect/>
          <a:stretch>
            <a:fillRect/>
          </a:stretch>
        </p:blipFill>
        <p:spPr bwMode="auto">
          <a:xfrm>
            <a:off x="4202098" y="1685926"/>
            <a:ext cx="519248" cy="592931"/>
          </a:xfrm>
          <a:prstGeom prst="rect">
            <a:avLst/>
          </a:prstGeom>
          <a:noFill/>
          <a:ln w="9525">
            <a:noFill/>
            <a:miter lim="800000"/>
            <a:headEnd/>
            <a:tailEnd/>
          </a:ln>
          <a:effectLst/>
        </p:spPr>
      </p:pic>
      <p:sp>
        <p:nvSpPr>
          <p:cNvPr id="4" name="Title 1"/>
          <p:cNvSpPr txBox="1">
            <a:spLocks/>
          </p:cNvSpPr>
          <p:nvPr/>
        </p:nvSpPr>
        <p:spPr bwMode="auto">
          <a:xfrm>
            <a:off x="389436" y="171451"/>
            <a:ext cx="8363938" cy="457049"/>
          </a:xfrm>
          <a:prstGeom prst="rect">
            <a:avLst/>
          </a:prstGeom>
          <a:noFill/>
          <a:ln>
            <a:miter lim="800000"/>
            <a:headEnd/>
            <a:tailEnd/>
          </a:ln>
          <a:effectLst/>
        </p:spPr>
        <p:txBody>
          <a:bodyPr wrap="square" lIns="68586" tIns="34294" rIns="68586" bIns="34294" numCol="1" anchorCtr="0" compatLnSpc="1">
            <a:prstTxWarp prst="textNoShape">
              <a:avLst/>
            </a:prstTxWarp>
          </a:bodyPr>
          <a:lst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smtClean="0">
                <a:latin typeface="Segoe UI" pitchFamily="34" charset="0"/>
                <a:cs typeface="Arial" pitchFamily="34" charset="0"/>
              </a:rPr>
              <a:t>SQL profiles for automated SQL deployment</a:t>
            </a:r>
            <a:endParaRPr lang="en-US">
              <a:latin typeface="Segoe UI" pitchFamily="34" charset="0"/>
              <a:cs typeface="Arial" pitchFamily="34" charset="0"/>
            </a:endParaRPr>
          </a:p>
        </p:txBody>
      </p:sp>
      <p:sp>
        <p:nvSpPr>
          <p:cNvPr id="5" name="Rectangle 23"/>
          <p:cNvSpPr>
            <a:spLocks noChangeArrowheads="1"/>
          </p:cNvSpPr>
          <p:nvPr/>
        </p:nvSpPr>
        <p:spPr bwMode="auto">
          <a:xfrm>
            <a:off x="284634" y="2800350"/>
            <a:ext cx="8631898" cy="1657350"/>
          </a:xfrm>
          <a:prstGeom prst="rect">
            <a:avLst/>
          </a:prstGeom>
          <a:solidFill>
            <a:schemeClr val="bg1">
              <a:alpha val="10196"/>
            </a:schemeClr>
          </a:solidFill>
          <a:ln w="9525">
            <a:noFill/>
            <a:miter lim="800000"/>
            <a:headEnd/>
            <a:tailEnd/>
          </a:ln>
        </p:spPr>
        <p:txBody>
          <a:bodyPr wrap="none" lIns="68586" tIns="34294" rIns="68586" bIns="34294" anchor="ctr"/>
          <a:lstStyle/>
          <a:p>
            <a:pPr defTabSz="685862" fontAlgn="base">
              <a:spcBef>
                <a:spcPct val="0"/>
              </a:spcBef>
              <a:spcAft>
                <a:spcPct val="0"/>
              </a:spcAft>
            </a:pPr>
            <a:endParaRPr lang="en-US">
              <a:solidFill>
                <a:srgbClr val="00264A"/>
              </a:solidFill>
              <a:cs typeface="Segoe UI" pitchFamily="34" charset="0"/>
            </a:endParaRPr>
          </a:p>
        </p:txBody>
      </p:sp>
      <p:grpSp>
        <p:nvGrpSpPr>
          <p:cNvPr id="6" name="Group 11"/>
          <p:cNvGrpSpPr>
            <a:grpSpLocks/>
          </p:cNvGrpSpPr>
          <p:nvPr/>
        </p:nvGrpSpPr>
        <p:grpSpPr bwMode="auto">
          <a:xfrm>
            <a:off x="799118" y="1085850"/>
            <a:ext cx="2286595" cy="1503340"/>
            <a:chOff x="2055812" y="1392677"/>
            <a:chExt cx="1981200" cy="1715120"/>
          </a:xfrm>
        </p:grpSpPr>
        <p:sp>
          <p:nvSpPr>
            <p:cNvPr id="7" name="Rectangle 34"/>
            <p:cNvSpPr>
              <a:spLocks noChangeArrowheads="1"/>
            </p:cNvSpPr>
            <p:nvPr/>
          </p:nvSpPr>
          <p:spPr bwMode="auto">
            <a:xfrm>
              <a:off x="2055812" y="1392677"/>
              <a:ext cx="1981200" cy="1715120"/>
            </a:xfrm>
            <a:prstGeom prst="rect">
              <a:avLst/>
            </a:prstGeom>
            <a:solidFill>
              <a:srgbClr val="002C56"/>
            </a:solidFill>
            <a:ln w="9525">
              <a:noFill/>
              <a:miter lim="800000"/>
              <a:headEnd/>
              <a:tailEnd/>
            </a:ln>
          </p:spPr>
          <p:txBody>
            <a:bodyPr wrap="none"/>
            <a:lstStyle/>
            <a:p>
              <a:pPr algn="ctr" defTabSz="685862" fontAlgn="base">
                <a:spcBef>
                  <a:spcPct val="0"/>
                </a:spcBef>
                <a:spcAft>
                  <a:spcPct val="0"/>
                </a:spcAft>
              </a:pPr>
              <a:r>
                <a:rPr lang="en-US" dirty="0">
                  <a:solidFill>
                    <a:srgbClr val="3DB5F1"/>
                  </a:solidFill>
                  <a:cs typeface="Segoe UI" pitchFamily="34" charset="0"/>
                </a:rPr>
                <a:t>Deployment</a:t>
              </a:r>
            </a:p>
          </p:txBody>
        </p:sp>
        <p:sp>
          <p:nvSpPr>
            <p:cNvPr id="8" name="Content Placeholder 2"/>
            <p:cNvSpPr txBox="1">
              <a:spLocks/>
            </p:cNvSpPr>
            <p:nvPr/>
          </p:nvSpPr>
          <p:spPr bwMode="auto">
            <a:xfrm>
              <a:off x="2055812" y="1773016"/>
              <a:ext cx="1966913" cy="1074470"/>
            </a:xfrm>
            <a:prstGeom prst="rect">
              <a:avLst/>
            </a:prstGeom>
            <a:noFill/>
            <a:ln w="9525">
              <a:noFill/>
              <a:miter lim="800000"/>
              <a:headEnd/>
              <a:tailEnd/>
            </a:ln>
          </p:spPr>
          <p:txBody>
            <a:bodyPr>
              <a:spAutoFit/>
            </a:bodyPr>
            <a:lstStyle/>
            <a:p>
              <a:pPr marL="126218" indent="-126218" defTabSz="685862" fontAlgn="base">
                <a:spcBef>
                  <a:spcPct val="30000"/>
                </a:spcBef>
                <a:spcAft>
                  <a:spcPct val="0"/>
                </a:spcAft>
                <a:buFont typeface="Arial" pitchFamily="34" charset="0"/>
                <a:buChar char="•"/>
              </a:pPr>
              <a:r>
                <a:rPr lang="en-US" sz="1200" dirty="0">
                  <a:solidFill>
                    <a:srgbClr val="FFFFFF"/>
                  </a:solidFill>
                  <a:cs typeface="Segoe UI" pitchFamily="34" charset="0"/>
                </a:rPr>
                <a:t>Consistent configurations</a:t>
              </a:r>
            </a:p>
            <a:p>
              <a:pPr marL="126218" indent="-126218" defTabSz="685862" fontAlgn="base">
                <a:spcBef>
                  <a:spcPct val="30000"/>
                </a:spcBef>
                <a:spcAft>
                  <a:spcPct val="0"/>
                </a:spcAft>
                <a:buFont typeface="Arial" pitchFamily="34" charset="0"/>
                <a:buChar char="•"/>
              </a:pPr>
              <a:r>
                <a:rPr lang="en-US" sz="1200" dirty="0">
                  <a:solidFill>
                    <a:srgbClr val="FFFFFF"/>
                  </a:solidFill>
                  <a:cs typeface="Segoe UI" pitchFamily="34" charset="0"/>
                </a:rPr>
                <a:t>Named instances</a:t>
              </a:r>
            </a:p>
            <a:p>
              <a:pPr marL="126218" indent="-126218" defTabSz="685862" fontAlgn="base">
                <a:spcBef>
                  <a:spcPct val="30000"/>
                </a:spcBef>
                <a:spcAft>
                  <a:spcPct val="0"/>
                </a:spcAft>
                <a:buFont typeface="Arial" pitchFamily="34" charset="0"/>
                <a:buChar char="•"/>
              </a:pPr>
              <a:r>
                <a:rPr lang="en-US" sz="1200" dirty="0">
                  <a:solidFill>
                    <a:srgbClr val="FFFFFF"/>
                  </a:solidFill>
                  <a:cs typeface="Segoe UI" pitchFamily="34" charset="0"/>
                </a:rPr>
                <a:t>Product key injection for individualized installations</a:t>
              </a:r>
            </a:p>
          </p:txBody>
        </p:sp>
      </p:grpSp>
      <p:grpSp>
        <p:nvGrpSpPr>
          <p:cNvPr id="9" name="Group 12"/>
          <p:cNvGrpSpPr>
            <a:grpSpLocks/>
          </p:cNvGrpSpPr>
          <p:nvPr/>
        </p:nvGrpSpPr>
        <p:grpSpPr bwMode="auto">
          <a:xfrm>
            <a:off x="5886793" y="1085851"/>
            <a:ext cx="2515254" cy="1519273"/>
            <a:chOff x="2055812" y="1392677"/>
            <a:chExt cx="1981200" cy="1905000"/>
          </a:xfrm>
        </p:grpSpPr>
        <p:sp>
          <p:nvSpPr>
            <p:cNvPr id="10" name="Rectangle 34"/>
            <p:cNvSpPr>
              <a:spLocks noChangeArrowheads="1"/>
            </p:cNvSpPr>
            <p:nvPr/>
          </p:nvSpPr>
          <p:spPr bwMode="auto">
            <a:xfrm>
              <a:off x="2055812" y="1392677"/>
              <a:ext cx="1981200" cy="1905000"/>
            </a:xfrm>
            <a:prstGeom prst="rect">
              <a:avLst/>
            </a:prstGeom>
            <a:solidFill>
              <a:srgbClr val="002C56"/>
            </a:solidFill>
            <a:ln w="9525">
              <a:noFill/>
              <a:miter lim="800000"/>
              <a:headEnd/>
              <a:tailEnd/>
            </a:ln>
          </p:spPr>
          <p:txBody>
            <a:bodyPr wrap="none"/>
            <a:lstStyle/>
            <a:p>
              <a:pPr algn="ctr" defTabSz="685862" fontAlgn="base">
                <a:spcBef>
                  <a:spcPct val="0"/>
                </a:spcBef>
                <a:spcAft>
                  <a:spcPct val="0"/>
                </a:spcAft>
              </a:pPr>
              <a:r>
                <a:rPr lang="en-US" dirty="0">
                  <a:solidFill>
                    <a:srgbClr val="3DB5F1"/>
                  </a:solidFill>
                  <a:cs typeface="Segoe UI" pitchFamily="34" charset="0"/>
                </a:rPr>
                <a:t>Configuration</a:t>
              </a:r>
            </a:p>
          </p:txBody>
        </p:sp>
        <p:sp>
          <p:nvSpPr>
            <p:cNvPr id="11" name="Content Placeholder 2"/>
            <p:cNvSpPr txBox="1">
              <a:spLocks/>
            </p:cNvSpPr>
            <p:nvPr/>
          </p:nvSpPr>
          <p:spPr bwMode="auto">
            <a:xfrm>
              <a:off x="2055812" y="1773678"/>
              <a:ext cx="1966913" cy="1481924"/>
            </a:xfrm>
            <a:prstGeom prst="rect">
              <a:avLst/>
            </a:prstGeom>
            <a:noFill/>
            <a:ln w="9525">
              <a:noFill/>
              <a:miter lim="800000"/>
              <a:headEnd/>
              <a:tailEnd/>
            </a:ln>
          </p:spPr>
          <p:txBody>
            <a:bodyPr>
              <a:spAutoFit/>
            </a:bodyPr>
            <a:lstStyle/>
            <a:p>
              <a:pPr marL="126218" indent="-126218" defTabSz="685862" fontAlgn="base">
                <a:spcBef>
                  <a:spcPct val="30000"/>
                </a:spcBef>
                <a:spcAft>
                  <a:spcPct val="0"/>
                </a:spcAft>
                <a:buFont typeface="Arial" pitchFamily="34" charset="0"/>
                <a:buChar char="•"/>
              </a:pPr>
              <a:r>
                <a:rPr lang="en-US" sz="1200" dirty="0">
                  <a:solidFill>
                    <a:srgbClr val="FFFFFF"/>
                  </a:solidFill>
                  <a:cs typeface="Segoe UI" pitchFamily="34" charset="0"/>
                </a:rPr>
                <a:t>Media sources</a:t>
              </a:r>
            </a:p>
            <a:p>
              <a:pPr marL="126218" indent="-126218" defTabSz="685862" fontAlgn="base">
                <a:spcBef>
                  <a:spcPct val="30000"/>
                </a:spcBef>
                <a:spcAft>
                  <a:spcPct val="0"/>
                </a:spcAft>
                <a:buFont typeface="Arial" pitchFamily="34" charset="0"/>
                <a:buChar char="•"/>
              </a:pPr>
              <a:r>
                <a:rPr lang="en-US" sz="1200" dirty="0">
                  <a:solidFill>
                    <a:srgbClr val="FFFFFF"/>
                  </a:solidFill>
                  <a:cs typeface="Segoe UI" pitchFamily="34" charset="0"/>
                </a:rPr>
                <a:t>Administrators and Security mode</a:t>
              </a:r>
            </a:p>
            <a:p>
              <a:pPr marL="126218" indent="-126218" defTabSz="685862" fontAlgn="base">
                <a:spcBef>
                  <a:spcPct val="30000"/>
                </a:spcBef>
                <a:spcAft>
                  <a:spcPct val="0"/>
                </a:spcAft>
                <a:buFont typeface="Arial" pitchFamily="34" charset="0"/>
                <a:buChar char="•"/>
              </a:pPr>
              <a:r>
                <a:rPr lang="en-US" sz="1200" dirty="0">
                  <a:solidFill>
                    <a:srgbClr val="FFFFFF"/>
                  </a:solidFill>
                  <a:cs typeface="Segoe UI" pitchFamily="34" charset="0"/>
                </a:rPr>
                <a:t>Network configuration</a:t>
              </a:r>
            </a:p>
            <a:p>
              <a:pPr marL="126218" indent="-126218" defTabSz="685862" fontAlgn="base">
                <a:spcBef>
                  <a:spcPct val="30000"/>
                </a:spcBef>
                <a:spcAft>
                  <a:spcPct val="0"/>
                </a:spcAft>
                <a:buFont typeface="Arial" pitchFamily="34" charset="0"/>
                <a:buChar char="•"/>
              </a:pPr>
              <a:r>
                <a:rPr lang="en-US" sz="1200" dirty="0">
                  <a:solidFill>
                    <a:srgbClr val="FFFFFF"/>
                  </a:solidFill>
                  <a:cs typeface="Segoe UI" pitchFamily="34" charset="0"/>
                </a:rPr>
                <a:t>SQL configuration file support</a:t>
              </a:r>
            </a:p>
          </p:txBody>
        </p:sp>
      </p:grpSp>
      <p:grpSp>
        <p:nvGrpSpPr>
          <p:cNvPr id="12" name="Group 15"/>
          <p:cNvGrpSpPr>
            <a:grpSpLocks/>
          </p:cNvGrpSpPr>
          <p:nvPr/>
        </p:nvGrpSpPr>
        <p:grpSpPr bwMode="auto">
          <a:xfrm>
            <a:off x="1199271" y="2800350"/>
            <a:ext cx="2343760" cy="1657350"/>
            <a:chOff x="2055812" y="1392677"/>
            <a:chExt cx="1981200" cy="2209800"/>
          </a:xfrm>
        </p:grpSpPr>
        <p:sp>
          <p:nvSpPr>
            <p:cNvPr id="13" name="Rectangle 34"/>
            <p:cNvSpPr>
              <a:spLocks noChangeArrowheads="1"/>
            </p:cNvSpPr>
            <p:nvPr/>
          </p:nvSpPr>
          <p:spPr bwMode="auto">
            <a:xfrm>
              <a:off x="2055812" y="1392677"/>
              <a:ext cx="1981200" cy="2209800"/>
            </a:xfrm>
            <a:prstGeom prst="rect">
              <a:avLst/>
            </a:prstGeom>
            <a:solidFill>
              <a:srgbClr val="002C56"/>
            </a:solidFill>
            <a:ln w="9525">
              <a:noFill/>
              <a:miter lim="800000"/>
              <a:headEnd/>
              <a:tailEnd/>
            </a:ln>
          </p:spPr>
          <p:txBody>
            <a:bodyPr wrap="none"/>
            <a:lstStyle/>
            <a:p>
              <a:pPr algn="ctr" defTabSz="685862" fontAlgn="base">
                <a:spcBef>
                  <a:spcPct val="0"/>
                </a:spcBef>
                <a:spcAft>
                  <a:spcPct val="0"/>
                </a:spcAft>
              </a:pPr>
              <a:r>
                <a:rPr lang="en-US">
                  <a:solidFill>
                    <a:srgbClr val="3DB5F1"/>
                  </a:solidFill>
                  <a:cs typeface="Segoe UI" pitchFamily="34" charset="0"/>
                </a:rPr>
                <a:t>Service Accounts</a:t>
              </a:r>
            </a:p>
          </p:txBody>
        </p:sp>
        <p:sp>
          <p:nvSpPr>
            <p:cNvPr id="14" name="Content Placeholder 2"/>
            <p:cNvSpPr txBox="1">
              <a:spLocks/>
            </p:cNvSpPr>
            <p:nvPr/>
          </p:nvSpPr>
          <p:spPr bwMode="auto">
            <a:xfrm>
              <a:off x="2055812" y="1865752"/>
              <a:ext cx="1966913" cy="1255728"/>
            </a:xfrm>
            <a:prstGeom prst="rect">
              <a:avLst/>
            </a:prstGeom>
            <a:noFill/>
            <a:ln w="9525">
              <a:noFill/>
              <a:miter lim="800000"/>
              <a:headEnd/>
              <a:tailEnd/>
            </a:ln>
          </p:spPr>
          <p:txBody>
            <a:bodyPr>
              <a:spAutoFit/>
            </a:bodyPr>
            <a:lstStyle/>
            <a:p>
              <a:pPr marL="126218" indent="-126218" defTabSz="685862" fontAlgn="base">
                <a:spcBef>
                  <a:spcPct val="30000"/>
                </a:spcBef>
                <a:spcAft>
                  <a:spcPct val="0"/>
                </a:spcAft>
                <a:buFont typeface="Arial" pitchFamily="34" charset="0"/>
                <a:buChar char="•"/>
              </a:pPr>
              <a:r>
                <a:rPr lang="en-US" sz="1200" dirty="0">
                  <a:solidFill>
                    <a:srgbClr val="FFFFFF"/>
                  </a:solidFill>
                  <a:cs typeface="Segoe UI" pitchFamily="34" charset="0"/>
                </a:rPr>
                <a:t>Define accounts per profile</a:t>
              </a:r>
            </a:p>
            <a:p>
              <a:pPr marL="126218" indent="-126218" defTabSz="685862" fontAlgn="base">
                <a:spcBef>
                  <a:spcPct val="30000"/>
                </a:spcBef>
                <a:spcAft>
                  <a:spcPct val="0"/>
                </a:spcAft>
                <a:buFont typeface="Arial" pitchFamily="34" charset="0"/>
                <a:buChar char="•"/>
              </a:pPr>
              <a:r>
                <a:rPr lang="en-US" sz="1200" dirty="0">
                  <a:solidFill>
                    <a:srgbClr val="FFFFFF"/>
                  </a:solidFill>
                  <a:cs typeface="Segoe UI" pitchFamily="34" charset="0"/>
                </a:rPr>
                <a:t>SQL Service, Agent, and Reporting Services accounts</a:t>
              </a:r>
            </a:p>
            <a:p>
              <a:pPr marL="126218" indent="-126218" defTabSz="685862" fontAlgn="base">
                <a:spcBef>
                  <a:spcPct val="30000"/>
                </a:spcBef>
                <a:spcAft>
                  <a:spcPct val="0"/>
                </a:spcAft>
                <a:buFont typeface="Arial" pitchFamily="34" charset="0"/>
                <a:buChar char="•"/>
              </a:pPr>
              <a:r>
                <a:rPr lang="en-US" sz="1200" dirty="0">
                  <a:solidFill>
                    <a:srgbClr val="FFFFFF"/>
                  </a:solidFill>
                  <a:cs typeface="Segoe UI" pitchFamily="34" charset="0"/>
                </a:rPr>
                <a:t>Define via Run As Accounts</a:t>
              </a:r>
            </a:p>
          </p:txBody>
        </p:sp>
      </p:grpSp>
      <p:grpSp>
        <p:nvGrpSpPr>
          <p:cNvPr id="15" name="Group 18"/>
          <p:cNvGrpSpPr>
            <a:grpSpLocks/>
          </p:cNvGrpSpPr>
          <p:nvPr/>
        </p:nvGrpSpPr>
        <p:grpSpPr bwMode="auto">
          <a:xfrm>
            <a:off x="5486639" y="2800350"/>
            <a:ext cx="2515255" cy="1721334"/>
            <a:chOff x="2055812" y="1392677"/>
            <a:chExt cx="1981200" cy="2295112"/>
          </a:xfrm>
        </p:grpSpPr>
        <p:sp>
          <p:nvSpPr>
            <p:cNvPr id="16" name="Rectangle 34"/>
            <p:cNvSpPr>
              <a:spLocks noChangeArrowheads="1"/>
            </p:cNvSpPr>
            <p:nvPr/>
          </p:nvSpPr>
          <p:spPr bwMode="auto">
            <a:xfrm>
              <a:off x="2055812" y="1392677"/>
              <a:ext cx="1981200" cy="2209800"/>
            </a:xfrm>
            <a:prstGeom prst="rect">
              <a:avLst/>
            </a:prstGeom>
            <a:solidFill>
              <a:srgbClr val="002C56"/>
            </a:solidFill>
            <a:ln w="9525">
              <a:noFill/>
              <a:miter lim="800000"/>
              <a:headEnd/>
              <a:tailEnd/>
            </a:ln>
          </p:spPr>
          <p:txBody>
            <a:bodyPr wrap="none"/>
            <a:lstStyle/>
            <a:p>
              <a:pPr algn="ctr" defTabSz="685862" fontAlgn="base">
                <a:spcBef>
                  <a:spcPct val="0"/>
                </a:spcBef>
                <a:spcAft>
                  <a:spcPct val="0"/>
                </a:spcAft>
              </a:pPr>
              <a:r>
                <a:rPr lang="en-US" dirty="0">
                  <a:solidFill>
                    <a:srgbClr val="3DB5F1"/>
                  </a:solidFill>
                  <a:cs typeface="Segoe UI" pitchFamily="34" charset="0"/>
                </a:rPr>
                <a:t>Connections</a:t>
              </a:r>
            </a:p>
          </p:txBody>
        </p:sp>
        <p:sp>
          <p:nvSpPr>
            <p:cNvPr id="17" name="Content Placeholder 2"/>
            <p:cNvSpPr txBox="1">
              <a:spLocks/>
            </p:cNvSpPr>
            <p:nvPr/>
          </p:nvSpPr>
          <p:spPr bwMode="auto">
            <a:xfrm>
              <a:off x="2055812" y="1865752"/>
              <a:ext cx="1966913" cy="1822037"/>
            </a:xfrm>
            <a:prstGeom prst="rect">
              <a:avLst/>
            </a:prstGeom>
            <a:noFill/>
            <a:ln w="9525">
              <a:noFill/>
              <a:miter lim="800000"/>
              <a:headEnd/>
              <a:tailEnd/>
            </a:ln>
          </p:spPr>
          <p:txBody>
            <a:bodyPr>
              <a:spAutoFit/>
            </a:bodyPr>
            <a:lstStyle/>
            <a:p>
              <a:pPr marL="126218" indent="-126218" defTabSz="685862" fontAlgn="base">
                <a:spcBef>
                  <a:spcPct val="30000"/>
                </a:spcBef>
                <a:spcAft>
                  <a:spcPct val="0"/>
                </a:spcAft>
                <a:buFont typeface="Arial" pitchFamily="34" charset="0"/>
                <a:buChar char="•"/>
              </a:pPr>
              <a:r>
                <a:rPr lang="en-US" sz="1200" dirty="0">
                  <a:solidFill>
                    <a:srgbClr val="FFFFFF"/>
                  </a:solidFill>
                  <a:cs typeface="Segoe UI" pitchFamily="34" charset="0"/>
                </a:rPr>
                <a:t>Data-Tier Application Packages capture connections</a:t>
              </a:r>
            </a:p>
            <a:p>
              <a:pPr marL="126218" indent="-126218" defTabSz="685862" fontAlgn="base">
                <a:spcBef>
                  <a:spcPct val="30000"/>
                </a:spcBef>
                <a:spcAft>
                  <a:spcPct val="0"/>
                </a:spcAft>
                <a:buFont typeface="Arial" pitchFamily="34" charset="0"/>
                <a:buChar char="•"/>
              </a:pPr>
              <a:r>
                <a:rPr lang="en-US" sz="1200" dirty="0">
                  <a:solidFill>
                    <a:srgbClr val="FFFFFF"/>
                  </a:solidFill>
                  <a:cs typeface="Segoe UI" pitchFamily="34" charset="0"/>
                </a:rPr>
                <a:t>Instance definition</a:t>
              </a:r>
            </a:p>
            <a:p>
              <a:pPr marL="126218" indent="-126218" defTabSz="685862" fontAlgn="base">
                <a:spcBef>
                  <a:spcPct val="30000"/>
                </a:spcBef>
                <a:spcAft>
                  <a:spcPct val="0"/>
                </a:spcAft>
                <a:buFont typeface="Arial" pitchFamily="34" charset="0"/>
                <a:buChar char="•"/>
              </a:pPr>
              <a:r>
                <a:rPr lang="en-US" sz="1200" dirty="0">
                  <a:solidFill>
                    <a:srgbClr val="FFFFFF"/>
                  </a:solidFill>
                  <a:cs typeface="Segoe UI" pitchFamily="34" charset="0"/>
                </a:rPr>
                <a:t>Authentication mode</a:t>
              </a:r>
            </a:p>
            <a:p>
              <a:pPr marL="126218" indent="-126218" defTabSz="685862" fontAlgn="base">
                <a:spcBef>
                  <a:spcPct val="30000"/>
                </a:spcBef>
                <a:spcAft>
                  <a:spcPct val="0"/>
                </a:spcAft>
                <a:buFont typeface="Arial" pitchFamily="34" charset="0"/>
                <a:buChar char="•"/>
              </a:pPr>
              <a:r>
                <a:rPr lang="en-US" sz="1200" dirty="0">
                  <a:solidFill>
                    <a:srgbClr val="FFFFFF"/>
                  </a:solidFill>
                  <a:cs typeface="Segoe UI" pitchFamily="34" charset="0"/>
                </a:rPr>
                <a:t>Upgrade and Migration behavior</a:t>
              </a:r>
            </a:p>
          </p:txBody>
        </p:sp>
      </p:grpSp>
      <p:pic>
        <p:nvPicPr>
          <p:cNvPr id="18" name="Picture 117" descr="page.ai"/>
          <p:cNvPicPr>
            <a:picLocks noChangeAspect="1"/>
          </p:cNvPicPr>
          <p:nvPr/>
        </p:nvPicPr>
        <p:blipFill>
          <a:blip r:embed="rId3"/>
          <a:srcRect/>
          <a:stretch>
            <a:fillRect/>
          </a:stretch>
        </p:blipFill>
        <p:spPr bwMode="auto">
          <a:xfrm>
            <a:off x="3799517" y="1714502"/>
            <a:ext cx="469228" cy="535781"/>
          </a:xfrm>
          <a:prstGeom prst="rect">
            <a:avLst/>
          </a:prstGeom>
          <a:noFill/>
          <a:ln w="9525">
            <a:noFill/>
            <a:miter lim="800000"/>
            <a:headEnd/>
            <a:tailEnd/>
          </a:ln>
          <a:effectLst/>
        </p:spPr>
      </p:pic>
      <p:pic>
        <p:nvPicPr>
          <p:cNvPr id="19" name="Picture 136"/>
          <p:cNvPicPr>
            <a:picLocks noChangeAspect="1"/>
          </p:cNvPicPr>
          <p:nvPr/>
        </p:nvPicPr>
        <p:blipFill>
          <a:blip r:embed="rId4"/>
          <a:srcRect/>
          <a:stretch>
            <a:fillRect/>
          </a:stretch>
        </p:blipFill>
        <p:spPr bwMode="auto">
          <a:xfrm>
            <a:off x="4695857" y="1736051"/>
            <a:ext cx="447792" cy="510779"/>
          </a:xfrm>
          <a:prstGeom prst="rect">
            <a:avLst/>
          </a:prstGeom>
          <a:noFill/>
          <a:ln w="9525">
            <a:noFill/>
            <a:miter lim="800000"/>
            <a:headEnd/>
            <a:tailEnd/>
          </a:ln>
          <a:effectLst/>
        </p:spPr>
      </p:pic>
      <p:pic>
        <p:nvPicPr>
          <p:cNvPr id="20" name="Picture 27"/>
          <p:cNvPicPr>
            <a:picLocks noChangeAspect="1"/>
          </p:cNvPicPr>
          <p:nvPr/>
        </p:nvPicPr>
        <p:blipFill>
          <a:blip r:embed="rId5"/>
          <a:srcRect/>
          <a:stretch>
            <a:fillRect/>
          </a:stretch>
        </p:blipFill>
        <p:spPr bwMode="auto">
          <a:xfrm>
            <a:off x="4000351" y="1909698"/>
            <a:ext cx="914638" cy="1358987"/>
          </a:xfrm>
          <a:prstGeom prst="rect">
            <a:avLst/>
          </a:prstGeom>
          <a:noFill/>
          <a:ln w="9525">
            <a:noFill/>
            <a:miter lim="800000"/>
            <a:headEnd/>
            <a:tailEnd/>
          </a:ln>
        </p:spPr>
      </p:pic>
      <p:pic>
        <p:nvPicPr>
          <p:cNvPr id="21" name="Picture 20" descr="stack.ai"/>
          <p:cNvPicPr>
            <a:picLocks noChangeAspect="1"/>
          </p:cNvPicPr>
          <p:nvPr/>
        </p:nvPicPr>
        <p:blipFill>
          <a:blip r:embed="rId6" cstate="print">
            <a:extLst>
              <a:ext uri="{BEBA8EAE-BF5A-486C-A8C5-ECC9F3942E4B}">
                <a14:imgProps xmlns:a14="http://schemas.microsoft.com/office/drawing/2010/main">
                  <a14:imgLayer r:embed="rId7">
                    <a14:imgEffect>
                      <a14:saturation sat="66000"/>
                    </a14:imgEffect>
                  </a14:imgLayer>
                </a14:imgProps>
              </a:ext>
            </a:extLst>
          </a:blip>
          <a:stretch>
            <a:fillRect/>
          </a:stretch>
        </p:blipFill>
        <p:spPr>
          <a:xfrm>
            <a:off x="4485538" y="2621902"/>
            <a:ext cx="549396" cy="646783"/>
          </a:xfrm>
          <a:prstGeom prst="rect">
            <a:avLst/>
          </a:prstGeom>
          <a:effectLst>
            <a:outerShdw blurRad="165100" dist="38100" dir="2700000">
              <a:srgbClr val="000000">
                <a:alpha val="73000"/>
              </a:srgbClr>
            </a:outerShdw>
          </a:effectLst>
        </p:spPr>
      </p:pic>
      <p:pic>
        <p:nvPicPr>
          <p:cNvPr id="22" name="Picture 2">
            <a:hlinkClick r:id="rId8"/>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974792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000"/>
                                        <p:tgtEl>
                                          <p:spTgt spid="2"/>
                                        </p:tgtEl>
                                      </p:cBhvr>
                                    </p:animEffect>
                                  </p:childTnLst>
                                </p:cTn>
                              </p:par>
                              <p:par>
                                <p:cTn id="8" presetID="10" presetClass="entr" presetSubtype="0" fill="hold" grpId="0" nodeType="withEffect">
                                  <p:stCondLst>
                                    <p:cond delay="20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par>
                          <p:cTn id="11" fill="hold">
                            <p:stCondLst>
                              <p:cond delay="2500"/>
                            </p:stCondLst>
                            <p:childTnLst>
                              <p:par>
                                <p:cTn id="12" presetID="10" presetClass="entr" presetSubtype="0" fill="hold" nodeType="afterEffect">
                                  <p:stCondLst>
                                    <p:cond delay="0"/>
                                  </p:stCondLst>
                                  <p:childTnLst>
                                    <p:set>
                                      <p:cBhvr>
                                        <p:cTn id="13" dur="1" fill="hold">
                                          <p:stCondLst>
                                            <p:cond delay="0"/>
                                          </p:stCondLst>
                                        </p:cTn>
                                        <p:tgtEl>
                                          <p:spTgt spid="18"/>
                                        </p:tgtEl>
                                        <p:attrNameLst>
                                          <p:attrName>style.visibility</p:attrName>
                                        </p:attrNameLst>
                                      </p:cBhvr>
                                      <p:to>
                                        <p:strVal val="visible"/>
                                      </p:to>
                                    </p:set>
                                    <p:animEffect transition="in" filter="fade">
                                      <p:cBhvr>
                                        <p:cTn id="14" dur="3000"/>
                                        <p:tgtEl>
                                          <p:spTgt spid="18"/>
                                        </p:tgtEl>
                                      </p:cBhvr>
                                    </p:animEffect>
                                  </p:childTnLst>
                                </p:cTn>
                              </p:par>
                              <p:par>
                                <p:cTn id="15" presetID="10" presetClass="entr" presetSubtype="0" fill="hold"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2000"/>
                                        <p:tgtEl>
                                          <p:spTgt spid="3"/>
                                        </p:tgtEl>
                                      </p:cBhvr>
                                    </p:animEffect>
                                  </p:childTnLst>
                                </p:cTn>
                              </p:par>
                              <p:par>
                                <p:cTn id="18" presetID="10" presetClass="entr" presetSubtype="0" fill="hold" nodeType="withEffect">
                                  <p:stCondLst>
                                    <p:cond delay="0"/>
                                  </p:stCondLst>
                                  <p:childTnLst>
                                    <p:set>
                                      <p:cBhvr>
                                        <p:cTn id="19" dur="1" fill="hold">
                                          <p:stCondLst>
                                            <p:cond delay="0"/>
                                          </p:stCondLst>
                                        </p:cTn>
                                        <p:tgtEl>
                                          <p:spTgt spid="20"/>
                                        </p:tgtEl>
                                        <p:attrNameLst>
                                          <p:attrName>style.visibility</p:attrName>
                                        </p:attrNameLst>
                                      </p:cBhvr>
                                      <p:to>
                                        <p:strVal val="visible"/>
                                      </p:to>
                                    </p:set>
                                    <p:animEffect transition="in" filter="fade">
                                      <p:cBhvr>
                                        <p:cTn id="20" dur="2000"/>
                                        <p:tgtEl>
                                          <p:spTgt spid="20"/>
                                        </p:tgtEl>
                                      </p:cBhvr>
                                    </p:animEffect>
                                  </p:childTnLst>
                                </p:cTn>
                              </p:par>
                              <p:par>
                                <p:cTn id="21" presetID="10" presetClass="entr" presetSubtype="0" fill="hold" nodeType="with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2000"/>
                                        <p:tgtEl>
                                          <p:spTgt spid="19"/>
                                        </p:tgtEl>
                                      </p:cBhvr>
                                    </p:animEffect>
                                  </p:childTnLst>
                                </p:cTn>
                              </p:par>
                              <p:par>
                                <p:cTn id="24" presetID="10" presetClass="entr" presetSubtype="0" fill="hold"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2000"/>
                                        <p:tgtEl>
                                          <p:spTgt spid="2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6"/>
                                        </p:tgtEl>
                                        <p:attrNameLst>
                                          <p:attrName>style.visibility</p:attrName>
                                        </p:attrNameLst>
                                      </p:cBhvr>
                                      <p:to>
                                        <p:strVal val="visible"/>
                                      </p:to>
                                    </p:set>
                                    <p:animEffect transition="in" filter="fade">
                                      <p:cBhvr>
                                        <p:cTn id="31" dur="500"/>
                                        <p:tgtEl>
                                          <p:spTgt spid="6"/>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9"/>
                                        </p:tgtEl>
                                        <p:attrNameLst>
                                          <p:attrName>style.visibility</p:attrName>
                                        </p:attrNameLst>
                                      </p:cBhvr>
                                      <p:to>
                                        <p:strVal val="visible"/>
                                      </p:to>
                                    </p:set>
                                    <p:animEffect transition="in" filter="fade">
                                      <p:cBhvr>
                                        <p:cTn id="36" dur="500"/>
                                        <p:tgtEl>
                                          <p:spTgt spid="9"/>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fade">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12"/>
                                        </p:tgtEl>
                                        <p:attrNameLst>
                                          <p:attrName>style.visibility</p:attrName>
                                        </p:attrNameLst>
                                      </p:cBhvr>
                                      <p:to>
                                        <p:strVal val="visible"/>
                                      </p:to>
                                    </p:set>
                                    <p:animEffect transition="in" filter="fade">
                                      <p:cBhvr>
                                        <p:cTn id="46"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6"/>
            <a:ext cx="8363938" cy="457049"/>
          </a:xfrm>
        </p:spPr>
        <p:txBody>
          <a:bodyPr/>
          <a:lstStyle/>
          <a:p>
            <a:r>
              <a:rPr lang="en-US" dirty="0"/>
              <a:t>Datacenter Services</a:t>
            </a:r>
            <a:endParaRPr lang="en-US" sz="2700" dirty="0">
              <a:solidFill>
                <a:schemeClr val="accent2">
                  <a:alpha val="99000"/>
                </a:schemeClr>
              </a:solidFill>
            </a:endParaRPr>
          </a:p>
        </p:txBody>
      </p:sp>
      <p:sp>
        <p:nvSpPr>
          <p:cNvPr id="3" name="Rounded Rectangle 2"/>
          <p:cNvSpPr/>
          <p:nvPr/>
        </p:nvSpPr>
        <p:spPr bwMode="auto">
          <a:xfrm rot="16200000">
            <a:off x="2745520" y="-988534"/>
            <a:ext cx="3664744" cy="7830397"/>
          </a:xfrm>
          <a:prstGeom prst="roundRect">
            <a:avLst>
              <a:gd name="adj" fmla="val 0"/>
            </a:avLst>
          </a:prstGeom>
          <a:gradFill flip="none" rotWithShape="1">
            <a:gsLst>
              <a:gs pos="0">
                <a:schemeClr val="bg1">
                  <a:lumMod val="85000"/>
                  <a:lumOff val="15000"/>
                  <a:alpha val="65000"/>
                </a:schemeClr>
              </a:gs>
              <a:gs pos="50000">
                <a:schemeClr val="bg1">
                  <a:lumMod val="85000"/>
                  <a:lumOff val="15000"/>
                </a:schemeClr>
              </a:gs>
              <a:gs pos="100000">
                <a:schemeClr val="bg1">
                  <a:lumMod val="85000"/>
                  <a:lumOff val="15000"/>
                </a:schemeClr>
              </a:gs>
            </a:gsLst>
            <a:lin ang="5400000" scaled="0"/>
            <a:tileRect/>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2100" dirty="0">
              <a:gradFill>
                <a:gsLst>
                  <a:gs pos="0">
                    <a:srgbClr val="FFFFFF"/>
                  </a:gs>
                  <a:gs pos="100000">
                    <a:srgbClr val="FFFFFF"/>
                  </a:gs>
                </a:gsLst>
                <a:lin ang="5400000" scaled="0"/>
              </a:gradFill>
            </a:endParaRPr>
          </a:p>
        </p:txBody>
      </p:sp>
      <p:sp>
        <p:nvSpPr>
          <p:cNvPr id="4" name="Rounded Rectangle 3"/>
          <p:cNvSpPr/>
          <p:nvPr/>
        </p:nvSpPr>
        <p:spPr bwMode="auto">
          <a:xfrm>
            <a:off x="3006453" y="3979331"/>
            <a:ext cx="1279034" cy="409997"/>
          </a:xfrm>
          <a:prstGeom prst="roundRect">
            <a:avLst/>
          </a:prstGeom>
          <a:gradFill flip="none" rotWithShape="1">
            <a:gsLst>
              <a:gs pos="0">
                <a:srgbClr val="4EA21C">
                  <a:alpha val="5000"/>
                </a:srgbClr>
              </a:gs>
              <a:gs pos="82000">
                <a:srgbClr val="4EA21C">
                  <a:alpha val="80000"/>
                </a:srgbClr>
              </a:gs>
              <a:gs pos="100000">
                <a:srgbClr val="4EA21C">
                  <a:alpha val="80000"/>
                </a:srgbClr>
              </a:gs>
            </a:gsLst>
            <a:lin ang="0" scaled="1"/>
            <a:tileRect/>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defRPr/>
            </a:pPr>
            <a:r>
              <a:rPr lang="en-US" sz="1800" dirty="0">
                <a:gradFill>
                  <a:gsLst>
                    <a:gs pos="0">
                      <a:srgbClr val="FFFFFF"/>
                    </a:gs>
                    <a:gs pos="100000">
                      <a:srgbClr val="FFFFFF"/>
                    </a:gs>
                  </a:gsLst>
                  <a:lin ang="5400000" scaled="0"/>
                </a:gradFill>
                <a:effectLst>
                  <a:outerShdw blurRad="38100" dist="38100" dir="2700000" algn="tl">
                    <a:srgbClr val="000000">
                      <a:alpha val="43137"/>
                    </a:srgbClr>
                  </a:outerShdw>
                </a:effectLst>
              </a:rPr>
              <a:t>Storage</a:t>
            </a:r>
          </a:p>
        </p:txBody>
      </p:sp>
      <p:sp>
        <p:nvSpPr>
          <p:cNvPr id="5" name="Rounded Rectangle 4"/>
          <p:cNvSpPr/>
          <p:nvPr/>
        </p:nvSpPr>
        <p:spPr bwMode="auto">
          <a:xfrm>
            <a:off x="5397754" y="3979331"/>
            <a:ext cx="1279034" cy="409997"/>
          </a:xfrm>
          <a:prstGeom prst="roundRect">
            <a:avLst/>
          </a:prstGeom>
          <a:gradFill flip="none" rotWithShape="1">
            <a:gsLst>
              <a:gs pos="0">
                <a:srgbClr val="4EA21C">
                  <a:alpha val="5000"/>
                </a:srgbClr>
              </a:gs>
              <a:gs pos="82000">
                <a:srgbClr val="4EA21C">
                  <a:alpha val="80000"/>
                </a:srgbClr>
              </a:gs>
              <a:gs pos="100000">
                <a:srgbClr val="4EA21C">
                  <a:alpha val="80000"/>
                </a:srgbClr>
              </a:gs>
            </a:gsLst>
            <a:lin ang="0" scaled="1"/>
            <a:tileRect/>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defRPr/>
            </a:pPr>
            <a:r>
              <a:rPr lang="en-US" sz="1800" dirty="0">
                <a:gradFill>
                  <a:gsLst>
                    <a:gs pos="0">
                      <a:srgbClr val="FFFFFF"/>
                    </a:gs>
                    <a:gs pos="100000">
                      <a:srgbClr val="FFFFFF"/>
                    </a:gs>
                  </a:gsLst>
                  <a:lin ang="5400000" scaled="0"/>
                </a:gradFill>
                <a:effectLst>
                  <a:outerShdw blurRad="38100" dist="38100" dir="2700000" algn="tl">
                    <a:srgbClr val="000000">
                      <a:alpha val="43137"/>
                    </a:srgbClr>
                  </a:outerShdw>
                </a:effectLst>
              </a:rPr>
              <a:t>Compute</a:t>
            </a:r>
          </a:p>
        </p:txBody>
      </p:sp>
      <p:sp>
        <p:nvSpPr>
          <p:cNvPr id="6" name="Rounded Rectangle 5"/>
          <p:cNvSpPr/>
          <p:nvPr/>
        </p:nvSpPr>
        <p:spPr bwMode="auto">
          <a:xfrm>
            <a:off x="4202104" y="3979331"/>
            <a:ext cx="1279034" cy="409997"/>
          </a:xfrm>
          <a:prstGeom prst="roundRect">
            <a:avLst/>
          </a:prstGeom>
          <a:gradFill flip="none" rotWithShape="1">
            <a:gsLst>
              <a:gs pos="0">
                <a:srgbClr val="4EA21C">
                  <a:alpha val="5000"/>
                </a:srgbClr>
              </a:gs>
              <a:gs pos="82000">
                <a:srgbClr val="4EA21C">
                  <a:alpha val="80000"/>
                </a:srgbClr>
              </a:gs>
              <a:gs pos="100000">
                <a:srgbClr val="4EA21C">
                  <a:alpha val="80000"/>
                </a:srgbClr>
              </a:gs>
            </a:gsLst>
            <a:lin ang="0" scaled="1"/>
            <a:tileRect/>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defRPr/>
            </a:pPr>
            <a:r>
              <a:rPr lang="en-US" sz="1800" dirty="0">
                <a:gradFill>
                  <a:gsLst>
                    <a:gs pos="0">
                      <a:srgbClr val="FFFFFF"/>
                    </a:gs>
                    <a:gs pos="100000">
                      <a:srgbClr val="FFFFFF"/>
                    </a:gs>
                  </a:gsLst>
                  <a:lin ang="5400000" scaled="0"/>
                </a:gradFill>
                <a:effectLst>
                  <a:outerShdw blurRad="38100" dist="38100" dir="2700000" algn="tl">
                    <a:srgbClr val="000000">
                      <a:alpha val="43137"/>
                    </a:srgbClr>
                  </a:outerShdw>
                </a:effectLst>
              </a:rPr>
              <a:t>Network</a:t>
            </a:r>
          </a:p>
        </p:txBody>
      </p:sp>
      <p:sp>
        <p:nvSpPr>
          <p:cNvPr id="7" name="Rounded Rectangle 6"/>
          <p:cNvSpPr/>
          <p:nvPr/>
        </p:nvSpPr>
        <p:spPr bwMode="auto">
          <a:xfrm>
            <a:off x="6593405" y="3977501"/>
            <a:ext cx="1279034" cy="409997"/>
          </a:xfrm>
          <a:prstGeom prst="roundRect">
            <a:avLst/>
          </a:prstGeom>
          <a:gradFill flip="none" rotWithShape="1">
            <a:gsLst>
              <a:gs pos="0">
                <a:srgbClr val="4EA21C">
                  <a:alpha val="5000"/>
                </a:srgbClr>
              </a:gs>
              <a:gs pos="82000">
                <a:srgbClr val="4EA21C">
                  <a:alpha val="80000"/>
                </a:srgbClr>
              </a:gs>
              <a:gs pos="100000">
                <a:srgbClr val="4EA21C">
                  <a:alpha val="80000"/>
                </a:srgbClr>
              </a:gs>
            </a:gsLst>
            <a:lin ang="0" scaled="1"/>
            <a:tileRect/>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defRPr/>
            </a:pPr>
            <a:r>
              <a:rPr lang="en-US" sz="1800" dirty="0">
                <a:gradFill>
                  <a:gsLst>
                    <a:gs pos="0">
                      <a:srgbClr val="FFFFFF"/>
                    </a:gs>
                    <a:gs pos="100000">
                      <a:srgbClr val="FFFFFF"/>
                    </a:gs>
                  </a:gsLst>
                  <a:lin ang="5400000" scaled="0"/>
                </a:gradFill>
                <a:effectLst>
                  <a:outerShdw blurRad="38100" dist="38100" dir="2700000" algn="tl">
                    <a:srgbClr val="000000">
                      <a:alpha val="43137"/>
                    </a:srgbClr>
                  </a:outerShdw>
                </a:effectLst>
              </a:rPr>
              <a:t>Facility</a:t>
            </a:r>
          </a:p>
        </p:txBody>
      </p:sp>
      <p:sp>
        <p:nvSpPr>
          <p:cNvPr id="8" name="Rounded Rectangle 7"/>
          <p:cNvSpPr/>
          <p:nvPr/>
        </p:nvSpPr>
        <p:spPr bwMode="auto">
          <a:xfrm>
            <a:off x="3013063" y="2388052"/>
            <a:ext cx="4859376" cy="356000"/>
          </a:xfrm>
          <a:prstGeom prst="roundRect">
            <a:avLst/>
          </a:prstGeom>
          <a:gradFill flip="none" rotWithShape="1">
            <a:gsLst>
              <a:gs pos="0">
                <a:schemeClr val="accent2">
                  <a:alpha val="5000"/>
                </a:schemeClr>
              </a:gs>
              <a:gs pos="50000">
                <a:srgbClr val="0084DE">
                  <a:alpha val="62745"/>
                </a:srgbClr>
              </a:gs>
              <a:gs pos="100000">
                <a:srgbClr val="008AF2"/>
              </a:gs>
            </a:gsLst>
            <a:lin ang="0" scaled="1"/>
            <a:tileRect/>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1800" dirty="0">
                <a:gradFill>
                  <a:gsLst>
                    <a:gs pos="0">
                      <a:srgbClr val="FFFFFF"/>
                    </a:gs>
                    <a:gs pos="100000">
                      <a:srgbClr val="FFFFFF"/>
                    </a:gs>
                  </a:gsLst>
                  <a:lin ang="5400000" scaled="0"/>
                </a:gradFill>
                <a:effectLst>
                  <a:outerShdw blurRad="38100" dist="38100" dir="2700000" algn="tl">
                    <a:srgbClr val="000000">
                      <a:alpha val="43137"/>
                    </a:srgbClr>
                  </a:outerShdw>
                </a:effectLst>
              </a:rPr>
              <a:t>Management Layer</a:t>
            </a:r>
          </a:p>
        </p:txBody>
      </p:sp>
      <p:sp>
        <p:nvSpPr>
          <p:cNvPr id="9" name="Rounded Rectangle 8"/>
          <p:cNvSpPr/>
          <p:nvPr/>
        </p:nvSpPr>
        <p:spPr bwMode="auto">
          <a:xfrm>
            <a:off x="3013063" y="3194326"/>
            <a:ext cx="4859376" cy="356000"/>
          </a:xfrm>
          <a:prstGeom prst="roundRect">
            <a:avLst/>
          </a:prstGeom>
          <a:gradFill flip="none" rotWithShape="1">
            <a:gsLst>
              <a:gs pos="0">
                <a:schemeClr val="accent2">
                  <a:alpha val="5000"/>
                </a:schemeClr>
              </a:gs>
              <a:gs pos="50000">
                <a:srgbClr val="0084DE">
                  <a:alpha val="62745"/>
                </a:srgbClr>
              </a:gs>
              <a:gs pos="100000">
                <a:srgbClr val="008AF2"/>
              </a:gs>
            </a:gsLst>
            <a:lin ang="0" scaled="1"/>
            <a:tileRect/>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1800" dirty="0">
                <a:gradFill>
                  <a:gsLst>
                    <a:gs pos="0">
                      <a:srgbClr val="FFFFFF"/>
                    </a:gs>
                    <a:gs pos="100000">
                      <a:srgbClr val="FFFFFF"/>
                    </a:gs>
                  </a:gsLst>
                  <a:lin ang="5400000" scaled="0"/>
                </a:gradFill>
                <a:effectLst>
                  <a:outerShdw blurRad="38100" dist="38100" dir="2700000" algn="tl">
                    <a:srgbClr val="000000">
                      <a:alpha val="43137"/>
                    </a:srgbClr>
                  </a:outerShdw>
                </a:effectLst>
              </a:rPr>
              <a:t>Virtualization Layer</a:t>
            </a:r>
          </a:p>
        </p:txBody>
      </p:sp>
      <p:sp>
        <p:nvSpPr>
          <p:cNvPr id="10" name="Rounded Rectangle 9"/>
          <p:cNvSpPr/>
          <p:nvPr/>
        </p:nvSpPr>
        <p:spPr bwMode="auto">
          <a:xfrm>
            <a:off x="3013063" y="1984915"/>
            <a:ext cx="4859376" cy="356000"/>
          </a:xfrm>
          <a:prstGeom prst="roundRect">
            <a:avLst/>
          </a:prstGeom>
          <a:gradFill flip="none" rotWithShape="1">
            <a:gsLst>
              <a:gs pos="0">
                <a:schemeClr val="accent2">
                  <a:alpha val="5000"/>
                </a:schemeClr>
              </a:gs>
              <a:gs pos="50000">
                <a:srgbClr val="0084DE">
                  <a:alpha val="62745"/>
                </a:srgbClr>
              </a:gs>
              <a:gs pos="100000">
                <a:srgbClr val="008AF2"/>
              </a:gs>
            </a:gsLst>
            <a:lin ang="0" scaled="1"/>
            <a:tileRect/>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1800" dirty="0">
                <a:gradFill>
                  <a:gsLst>
                    <a:gs pos="0">
                      <a:srgbClr val="FFFFFF"/>
                    </a:gs>
                    <a:gs pos="100000">
                      <a:srgbClr val="FFFFFF"/>
                    </a:gs>
                  </a:gsLst>
                  <a:lin ang="5400000" scaled="0"/>
                </a:gradFill>
                <a:effectLst>
                  <a:outerShdw blurRad="38100" dist="38100" dir="2700000" algn="tl">
                    <a:srgbClr val="000000">
                      <a:alpha val="43137"/>
                    </a:srgbClr>
                  </a:outerShdw>
                </a:effectLst>
              </a:rPr>
              <a:t>Orchestration Layer</a:t>
            </a:r>
          </a:p>
        </p:txBody>
      </p:sp>
      <p:sp>
        <p:nvSpPr>
          <p:cNvPr id="11" name="Rounded Rectangle 10"/>
          <p:cNvSpPr/>
          <p:nvPr/>
        </p:nvSpPr>
        <p:spPr bwMode="auto">
          <a:xfrm>
            <a:off x="3013063" y="2791189"/>
            <a:ext cx="4859376" cy="356000"/>
          </a:xfrm>
          <a:prstGeom prst="roundRect">
            <a:avLst/>
          </a:prstGeom>
          <a:gradFill flip="none" rotWithShape="1">
            <a:gsLst>
              <a:gs pos="0">
                <a:schemeClr val="accent2">
                  <a:alpha val="5000"/>
                </a:schemeClr>
              </a:gs>
              <a:gs pos="50000">
                <a:srgbClr val="0084DE">
                  <a:alpha val="62745"/>
                </a:srgbClr>
              </a:gs>
              <a:gs pos="100000">
                <a:srgbClr val="008AF2"/>
              </a:gs>
            </a:gsLst>
            <a:lin ang="0" scaled="1"/>
            <a:tileRect/>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1800" dirty="0">
                <a:gradFill>
                  <a:gsLst>
                    <a:gs pos="0">
                      <a:srgbClr val="FFFFFF"/>
                    </a:gs>
                    <a:gs pos="100000">
                      <a:srgbClr val="FFFFFF"/>
                    </a:gs>
                  </a:gsLst>
                  <a:lin ang="5400000" scaled="0"/>
                </a:gradFill>
                <a:effectLst>
                  <a:outerShdw blurRad="38100" dist="38100" dir="2700000" algn="tl">
                    <a:srgbClr val="000000">
                      <a:alpha val="43137"/>
                    </a:srgbClr>
                  </a:outerShdw>
                </a:effectLst>
              </a:rPr>
              <a:t>Automation Layer</a:t>
            </a:r>
          </a:p>
        </p:txBody>
      </p:sp>
      <p:sp>
        <p:nvSpPr>
          <p:cNvPr id="12" name="Rounded Rectangle 11"/>
          <p:cNvSpPr/>
          <p:nvPr/>
        </p:nvSpPr>
        <p:spPr bwMode="auto">
          <a:xfrm>
            <a:off x="3013063" y="3597466"/>
            <a:ext cx="4859376" cy="356000"/>
          </a:xfrm>
          <a:prstGeom prst="roundRect">
            <a:avLst/>
          </a:prstGeom>
          <a:gradFill flip="none" rotWithShape="1">
            <a:gsLst>
              <a:gs pos="0">
                <a:schemeClr val="accent2">
                  <a:alpha val="5000"/>
                </a:schemeClr>
              </a:gs>
              <a:gs pos="50000">
                <a:srgbClr val="0084DE">
                  <a:alpha val="62745"/>
                </a:srgbClr>
              </a:gs>
              <a:gs pos="100000">
                <a:srgbClr val="008AF2"/>
              </a:gs>
            </a:gsLst>
            <a:lin ang="0" scaled="1"/>
            <a:tileRect/>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1800" dirty="0">
                <a:gradFill>
                  <a:gsLst>
                    <a:gs pos="0">
                      <a:srgbClr val="FFFFFF"/>
                    </a:gs>
                    <a:gs pos="100000">
                      <a:srgbClr val="FFFFFF"/>
                    </a:gs>
                  </a:gsLst>
                  <a:lin ang="5400000" scaled="0"/>
                </a:gradFill>
                <a:effectLst>
                  <a:outerShdw blurRad="38100" dist="38100" dir="2700000" algn="tl">
                    <a:srgbClr val="000000">
                      <a:alpha val="43137"/>
                    </a:srgbClr>
                  </a:outerShdw>
                </a:effectLst>
              </a:rPr>
              <a:t>Hardware Layer</a:t>
            </a:r>
          </a:p>
        </p:txBody>
      </p:sp>
      <p:sp>
        <p:nvSpPr>
          <p:cNvPr id="13" name="Left Brace 12"/>
          <p:cNvSpPr/>
          <p:nvPr/>
        </p:nvSpPr>
        <p:spPr>
          <a:xfrm>
            <a:off x="2665734" y="3279805"/>
            <a:ext cx="311597" cy="1122533"/>
          </a:xfrm>
          <a:prstGeom prst="leftBrace">
            <a:avLst>
              <a:gd name="adj1" fmla="val 48265"/>
              <a:gd name="adj2" fmla="val 50000"/>
            </a:avLst>
          </a:prstGeom>
          <a:ln w="31750">
            <a:solidFill>
              <a:schemeClr val="tx1"/>
            </a:solidFill>
          </a:ln>
        </p:spPr>
        <p:style>
          <a:lnRef idx="1">
            <a:schemeClr val="accent1"/>
          </a:lnRef>
          <a:fillRef idx="0">
            <a:schemeClr val="accent1"/>
          </a:fillRef>
          <a:effectRef idx="0">
            <a:schemeClr val="accent1"/>
          </a:effectRef>
          <a:fontRef idx="minor">
            <a:schemeClr val="tx1"/>
          </a:fontRef>
        </p:style>
        <p:txBody>
          <a:bodyPr lIns="68571" tIns="34286" rIns="68571" bIns="34286" rtlCol="0" anchor="ctr"/>
          <a:lstStyle/>
          <a:p>
            <a:pPr algn="ctr"/>
            <a:endParaRPr lang="en-US" sz="1800" dirty="0"/>
          </a:p>
        </p:txBody>
      </p:sp>
      <p:sp>
        <p:nvSpPr>
          <p:cNvPr id="14" name="Left Brace 13"/>
          <p:cNvSpPr/>
          <p:nvPr/>
        </p:nvSpPr>
        <p:spPr>
          <a:xfrm>
            <a:off x="2665734" y="1676784"/>
            <a:ext cx="311597" cy="1231493"/>
          </a:xfrm>
          <a:prstGeom prst="leftBrace">
            <a:avLst>
              <a:gd name="adj1" fmla="val 48265"/>
              <a:gd name="adj2" fmla="val 50000"/>
            </a:avLst>
          </a:prstGeom>
          <a:ln w="31750">
            <a:solidFill>
              <a:schemeClr val="tx1"/>
            </a:solidFill>
          </a:ln>
        </p:spPr>
        <p:style>
          <a:lnRef idx="1">
            <a:schemeClr val="accent1"/>
          </a:lnRef>
          <a:fillRef idx="0">
            <a:schemeClr val="accent1"/>
          </a:fillRef>
          <a:effectRef idx="0">
            <a:schemeClr val="accent1"/>
          </a:effectRef>
          <a:fontRef idx="minor">
            <a:schemeClr val="tx1"/>
          </a:fontRef>
        </p:style>
        <p:txBody>
          <a:bodyPr lIns="68571" tIns="34286" rIns="68571" bIns="34286" rtlCol="0" anchor="ctr"/>
          <a:lstStyle/>
          <a:p>
            <a:pPr algn="ctr"/>
            <a:endParaRPr lang="en-US" sz="1800" dirty="0"/>
          </a:p>
        </p:txBody>
      </p:sp>
      <p:sp>
        <p:nvSpPr>
          <p:cNvPr id="15" name="TextBox 14"/>
          <p:cNvSpPr txBox="1"/>
          <p:nvPr/>
        </p:nvSpPr>
        <p:spPr>
          <a:xfrm>
            <a:off x="912791" y="3509374"/>
            <a:ext cx="1949441" cy="692498"/>
          </a:xfrm>
          <a:prstGeom prst="rect">
            <a:avLst/>
          </a:prstGeom>
          <a:noFill/>
        </p:spPr>
        <p:txBody>
          <a:bodyPr wrap="square" lIns="0" tIns="0" rIns="0" bIns="0" rtlCol="0">
            <a:spAutoFit/>
          </a:bodyPr>
          <a:lstStyle/>
          <a:p>
            <a:pPr algn="ctr" fontAlgn="base">
              <a:spcBef>
                <a:spcPct val="0"/>
              </a:spcBef>
              <a:spcAft>
                <a:spcPct val="0"/>
              </a:spcAft>
              <a:buSzPct val="90000"/>
              <a:defRPr/>
            </a:pPr>
            <a:r>
              <a:rPr lang="en-US" sz="1500" b="1" dirty="0">
                <a:ln w="3175">
                  <a:noFill/>
                </a:ln>
                <a:gradFill flip="none" rotWithShape="1">
                  <a:gsLst>
                    <a:gs pos="0">
                      <a:srgbClr val="FFFFB9"/>
                    </a:gs>
                    <a:gs pos="36000">
                      <a:srgbClr val="FFFF99"/>
                    </a:gs>
                    <a:gs pos="86000">
                      <a:srgbClr val="F6AE1E"/>
                    </a:gs>
                  </a:gsLst>
                  <a:lin ang="5400000" scaled="0"/>
                  <a:tileRect/>
                </a:gradFill>
                <a:effectLst>
                  <a:outerShdw blurRad="50800" dist="38100" dir="2700000" algn="tl" rotWithShape="0">
                    <a:prstClr val="black">
                      <a:alpha val="40000"/>
                    </a:prstClr>
                  </a:outerShdw>
                </a:effectLst>
                <a:latin typeface="Segoe Black" pitchFamily="34" charset="0"/>
                <a:cs typeface="Arial" charset="0"/>
              </a:rPr>
              <a:t>Virtualization provides the foundation</a:t>
            </a:r>
          </a:p>
        </p:txBody>
      </p:sp>
      <p:sp>
        <p:nvSpPr>
          <p:cNvPr id="16" name="TextBox 15"/>
          <p:cNvSpPr txBox="1"/>
          <p:nvPr/>
        </p:nvSpPr>
        <p:spPr>
          <a:xfrm>
            <a:off x="854246" y="1952448"/>
            <a:ext cx="2016275" cy="692497"/>
          </a:xfrm>
          <a:prstGeom prst="rect">
            <a:avLst/>
          </a:prstGeom>
          <a:noFill/>
        </p:spPr>
        <p:txBody>
          <a:bodyPr wrap="square" lIns="0" tIns="0" rIns="0" bIns="0" rtlCol="0">
            <a:spAutoFit/>
          </a:bodyPr>
          <a:lstStyle/>
          <a:p>
            <a:pPr algn="ctr" fontAlgn="base">
              <a:spcBef>
                <a:spcPct val="0"/>
              </a:spcBef>
              <a:spcAft>
                <a:spcPct val="0"/>
              </a:spcAft>
              <a:buSzPct val="90000"/>
              <a:defRPr/>
            </a:pPr>
            <a:r>
              <a:rPr lang="en-US" sz="1500" b="1" dirty="0">
                <a:ln w="3175">
                  <a:noFill/>
                </a:ln>
                <a:gradFill flip="none" rotWithShape="1">
                  <a:gsLst>
                    <a:gs pos="0">
                      <a:srgbClr val="FFFFB9"/>
                    </a:gs>
                    <a:gs pos="36000">
                      <a:srgbClr val="FFFF99"/>
                    </a:gs>
                    <a:gs pos="86000">
                      <a:srgbClr val="F6AE1E"/>
                    </a:gs>
                  </a:gsLst>
                  <a:lin ang="5400000" scaled="0"/>
                  <a:tileRect/>
                </a:gradFill>
                <a:effectLst>
                  <a:outerShdw blurRad="50800" dist="38100" dir="2700000" algn="tl" rotWithShape="0">
                    <a:prstClr val="black">
                      <a:alpha val="40000"/>
                    </a:prstClr>
                  </a:outerShdw>
                </a:effectLst>
                <a:latin typeface="Segoe Black" pitchFamily="34" charset="0"/>
                <a:cs typeface="Arial" charset="0"/>
              </a:rPr>
              <a:t>Additional layers required for</a:t>
            </a:r>
          </a:p>
          <a:p>
            <a:pPr algn="ctr" fontAlgn="base">
              <a:spcBef>
                <a:spcPct val="0"/>
              </a:spcBef>
              <a:spcAft>
                <a:spcPct val="0"/>
              </a:spcAft>
              <a:buSzPct val="90000"/>
              <a:defRPr/>
            </a:pPr>
            <a:r>
              <a:rPr lang="en-US" sz="1500" b="1" dirty="0">
                <a:ln w="3175">
                  <a:noFill/>
                </a:ln>
                <a:gradFill flip="none" rotWithShape="1">
                  <a:gsLst>
                    <a:gs pos="0">
                      <a:srgbClr val="FFFFB9"/>
                    </a:gs>
                    <a:gs pos="36000">
                      <a:srgbClr val="FFFF99"/>
                    </a:gs>
                    <a:gs pos="86000">
                      <a:srgbClr val="F6AE1E"/>
                    </a:gs>
                  </a:gsLst>
                  <a:lin ang="5400000" scaled="0"/>
                  <a:tileRect/>
                </a:gradFill>
                <a:effectLst>
                  <a:outerShdw blurRad="50800" dist="38100" dir="2700000" algn="tl" rotWithShape="0">
                    <a:prstClr val="black">
                      <a:alpha val="40000"/>
                    </a:prstClr>
                  </a:outerShdw>
                </a:effectLst>
                <a:latin typeface="Segoe Black" pitchFamily="34" charset="0"/>
                <a:cs typeface="Arial" charset="0"/>
              </a:rPr>
              <a:t>“Fabric Management”</a:t>
            </a:r>
          </a:p>
        </p:txBody>
      </p:sp>
      <p:sp>
        <p:nvSpPr>
          <p:cNvPr id="17" name="Rounded Rectangle 16"/>
          <p:cNvSpPr/>
          <p:nvPr/>
        </p:nvSpPr>
        <p:spPr bwMode="auto">
          <a:xfrm>
            <a:off x="3017015" y="1579027"/>
            <a:ext cx="4859376" cy="356000"/>
          </a:xfrm>
          <a:prstGeom prst="roundRect">
            <a:avLst/>
          </a:prstGeom>
          <a:gradFill flip="none" rotWithShape="1">
            <a:gsLst>
              <a:gs pos="0">
                <a:schemeClr val="accent2">
                  <a:alpha val="5000"/>
                </a:schemeClr>
              </a:gs>
              <a:gs pos="50000">
                <a:srgbClr val="0084DE">
                  <a:alpha val="62745"/>
                </a:srgbClr>
              </a:gs>
              <a:gs pos="100000">
                <a:srgbClr val="008AF2"/>
              </a:gs>
            </a:gsLst>
            <a:lin ang="0" scaled="1"/>
            <a:tileRect/>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defRPr/>
            </a:pPr>
            <a:r>
              <a:rPr lang="en-US" sz="1800" dirty="0">
                <a:gradFill>
                  <a:gsLst>
                    <a:gs pos="0">
                      <a:srgbClr val="FFFFFF"/>
                    </a:gs>
                    <a:gs pos="100000">
                      <a:srgbClr val="FFFFFF"/>
                    </a:gs>
                  </a:gsLst>
                  <a:lin ang="5400000" scaled="0"/>
                </a:gradFill>
                <a:effectLst>
                  <a:outerShdw blurRad="38100" dist="38100" dir="2700000" algn="tl">
                    <a:srgbClr val="000000">
                      <a:alpha val="43137"/>
                    </a:srgbClr>
                  </a:outerShdw>
                </a:effectLst>
              </a:rPr>
              <a:t>Administrative/Tenant Interfaces</a:t>
            </a:r>
          </a:p>
        </p:txBody>
      </p:sp>
      <p:sp>
        <p:nvSpPr>
          <p:cNvPr id="18"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9"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
              </a:rPr>
              <a:t>www.rapidbbs.cn</a:t>
            </a:r>
            <a:endParaRPr lang="zh-CN" altLang="en-US" sz="1200" b="0">
              <a:latin typeface="Arial" charset="0"/>
              <a:ea typeface="ＭＳ Ｐゴシック" pitchFamily="34" charset="-128"/>
            </a:endParaRPr>
          </a:p>
        </p:txBody>
      </p:sp>
      <p:pic>
        <p:nvPicPr>
          <p:cNvPr id="20" name="Picture 2">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731800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0-#ppt_w/2"/>
                                          </p:val>
                                        </p:tav>
                                        <p:tav tm="100000">
                                          <p:val>
                                            <p:strVal val="#ppt_x"/>
                                          </p:val>
                                        </p:tav>
                                      </p:tavLst>
                                    </p:anim>
                                    <p:anim calcmode="lin" valueType="num">
                                      <p:cBhvr additive="base">
                                        <p:cTn id="12" dur="500" fill="hold"/>
                                        <p:tgtEl>
                                          <p:spTgt spid="5"/>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500" fill="hold"/>
                                        <p:tgtEl>
                                          <p:spTgt spid="6"/>
                                        </p:tgtEl>
                                        <p:attrNameLst>
                                          <p:attrName>ppt_x</p:attrName>
                                        </p:attrNameLst>
                                      </p:cBhvr>
                                      <p:tavLst>
                                        <p:tav tm="0">
                                          <p:val>
                                            <p:strVal val="0-#ppt_w/2"/>
                                          </p:val>
                                        </p:tav>
                                        <p:tav tm="100000">
                                          <p:val>
                                            <p:strVal val="#ppt_x"/>
                                          </p:val>
                                        </p:tav>
                                      </p:tavLst>
                                    </p:anim>
                                    <p:anim calcmode="lin" valueType="num">
                                      <p:cBhvr additive="base">
                                        <p:cTn id="16" dur="500" fill="hold"/>
                                        <p:tgtEl>
                                          <p:spTgt spid="6"/>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500" fill="hold"/>
                                        <p:tgtEl>
                                          <p:spTgt spid="7"/>
                                        </p:tgtEl>
                                        <p:attrNameLst>
                                          <p:attrName>ppt_x</p:attrName>
                                        </p:attrNameLst>
                                      </p:cBhvr>
                                      <p:tavLst>
                                        <p:tav tm="0">
                                          <p:val>
                                            <p:strVal val="0-#ppt_w/2"/>
                                          </p:val>
                                        </p:tav>
                                        <p:tav tm="100000">
                                          <p:val>
                                            <p:strVal val="#ppt_x"/>
                                          </p:val>
                                        </p:tav>
                                      </p:tavLst>
                                    </p:anim>
                                    <p:anim calcmode="lin" valueType="num">
                                      <p:cBhvr additive="base">
                                        <p:cTn id="20" dur="500" fill="hold"/>
                                        <p:tgtEl>
                                          <p:spTgt spid="7"/>
                                        </p:tgtEl>
                                        <p:attrNameLst>
                                          <p:attrName>ppt_y</p:attrName>
                                        </p:attrNameLst>
                                      </p:cBhvr>
                                      <p:tavLst>
                                        <p:tav tm="0">
                                          <p:val>
                                            <p:strVal val="#ppt_y"/>
                                          </p:val>
                                        </p:tav>
                                        <p:tav tm="100000">
                                          <p:val>
                                            <p:strVal val="#ppt_y"/>
                                          </p:val>
                                        </p:tav>
                                      </p:tavLst>
                                    </p:anim>
                                  </p:childTnLst>
                                </p:cTn>
                              </p:par>
                              <p:par>
                                <p:cTn id="21" presetID="2" presetClass="entr" presetSubtype="8" fill="hold" grpId="0" nodeType="withEffect">
                                  <p:stCondLst>
                                    <p:cond delay="0"/>
                                  </p:stCondLst>
                                  <p:childTnLst>
                                    <p:set>
                                      <p:cBhvr>
                                        <p:cTn id="22" dur="1" fill="hold">
                                          <p:stCondLst>
                                            <p:cond delay="0"/>
                                          </p:stCondLst>
                                        </p:cTn>
                                        <p:tgtEl>
                                          <p:spTgt spid="9"/>
                                        </p:tgtEl>
                                        <p:attrNameLst>
                                          <p:attrName>style.visibility</p:attrName>
                                        </p:attrNameLst>
                                      </p:cBhvr>
                                      <p:to>
                                        <p:strVal val="visible"/>
                                      </p:to>
                                    </p:set>
                                    <p:anim calcmode="lin" valueType="num">
                                      <p:cBhvr additive="base">
                                        <p:cTn id="23" dur="500" fill="hold"/>
                                        <p:tgtEl>
                                          <p:spTgt spid="9"/>
                                        </p:tgtEl>
                                        <p:attrNameLst>
                                          <p:attrName>ppt_x</p:attrName>
                                        </p:attrNameLst>
                                      </p:cBhvr>
                                      <p:tavLst>
                                        <p:tav tm="0">
                                          <p:val>
                                            <p:strVal val="0-#ppt_w/2"/>
                                          </p:val>
                                        </p:tav>
                                        <p:tav tm="100000">
                                          <p:val>
                                            <p:strVal val="#ppt_x"/>
                                          </p:val>
                                        </p:tav>
                                      </p:tavLst>
                                    </p:anim>
                                    <p:anim calcmode="lin" valueType="num">
                                      <p:cBhvr additive="base">
                                        <p:cTn id="24" dur="500" fill="hold"/>
                                        <p:tgtEl>
                                          <p:spTgt spid="9"/>
                                        </p:tgtEl>
                                        <p:attrNameLst>
                                          <p:attrName>ppt_y</p:attrName>
                                        </p:attrNameLst>
                                      </p:cBhvr>
                                      <p:tavLst>
                                        <p:tav tm="0">
                                          <p:val>
                                            <p:strVal val="#ppt_y"/>
                                          </p:val>
                                        </p:tav>
                                        <p:tav tm="100000">
                                          <p:val>
                                            <p:strVal val="#ppt_y"/>
                                          </p:val>
                                        </p:tav>
                                      </p:tavLst>
                                    </p:anim>
                                  </p:childTnLst>
                                </p:cTn>
                              </p:par>
                              <p:par>
                                <p:cTn id="25" presetID="2" presetClass="entr" presetSubtype="8" fill="hold" grpId="0" nodeType="withEffect">
                                  <p:stCondLst>
                                    <p:cond delay="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500" fill="hold"/>
                                        <p:tgtEl>
                                          <p:spTgt spid="12"/>
                                        </p:tgtEl>
                                        <p:attrNameLst>
                                          <p:attrName>ppt_x</p:attrName>
                                        </p:attrNameLst>
                                      </p:cBhvr>
                                      <p:tavLst>
                                        <p:tav tm="0">
                                          <p:val>
                                            <p:strVal val="0-#ppt_w/2"/>
                                          </p:val>
                                        </p:tav>
                                        <p:tav tm="100000">
                                          <p:val>
                                            <p:strVal val="#ppt_x"/>
                                          </p:val>
                                        </p:tav>
                                      </p:tavLst>
                                    </p:anim>
                                    <p:anim calcmode="lin" valueType="num">
                                      <p:cBhvr additive="base">
                                        <p:cTn id="28" dur="500" fill="hold"/>
                                        <p:tgtEl>
                                          <p:spTgt spid="12"/>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stCondLst>
                                    <p:cond delay="0"/>
                                  </p:stCondLst>
                                  <p:childTnLst>
                                    <p:set>
                                      <p:cBhvr>
                                        <p:cTn id="30" dur="1" fill="hold">
                                          <p:stCondLst>
                                            <p:cond delay="0"/>
                                          </p:stCondLst>
                                        </p:cTn>
                                        <p:tgtEl>
                                          <p:spTgt spid="13"/>
                                        </p:tgtEl>
                                        <p:attrNameLst>
                                          <p:attrName>style.visibility</p:attrName>
                                        </p:attrNameLst>
                                      </p:cBhvr>
                                      <p:to>
                                        <p:strVal val="visible"/>
                                      </p:to>
                                    </p:set>
                                    <p:anim calcmode="lin" valueType="num">
                                      <p:cBhvr additive="base">
                                        <p:cTn id="31" dur="500" fill="hold"/>
                                        <p:tgtEl>
                                          <p:spTgt spid="13"/>
                                        </p:tgtEl>
                                        <p:attrNameLst>
                                          <p:attrName>ppt_x</p:attrName>
                                        </p:attrNameLst>
                                      </p:cBhvr>
                                      <p:tavLst>
                                        <p:tav tm="0">
                                          <p:val>
                                            <p:strVal val="0-#ppt_w/2"/>
                                          </p:val>
                                        </p:tav>
                                        <p:tav tm="100000">
                                          <p:val>
                                            <p:strVal val="#ppt_x"/>
                                          </p:val>
                                        </p:tav>
                                      </p:tavLst>
                                    </p:anim>
                                    <p:anim calcmode="lin" valueType="num">
                                      <p:cBhvr additive="base">
                                        <p:cTn id="32" dur="500" fill="hold"/>
                                        <p:tgtEl>
                                          <p:spTgt spid="13"/>
                                        </p:tgtEl>
                                        <p:attrNameLst>
                                          <p:attrName>ppt_y</p:attrName>
                                        </p:attrNameLst>
                                      </p:cBhvr>
                                      <p:tavLst>
                                        <p:tav tm="0">
                                          <p:val>
                                            <p:strVal val="#ppt_y"/>
                                          </p:val>
                                        </p:tav>
                                        <p:tav tm="100000">
                                          <p:val>
                                            <p:strVal val="#ppt_y"/>
                                          </p:val>
                                        </p:tav>
                                      </p:tavLst>
                                    </p:anim>
                                  </p:childTnLst>
                                </p:cTn>
                              </p:par>
                              <p:par>
                                <p:cTn id="33" presetID="2" presetClass="entr" presetSubtype="8" fill="hold" grpId="0" nodeType="withEffect">
                                  <p:stCondLst>
                                    <p:cond delay="0"/>
                                  </p:stCondLst>
                                  <p:childTnLst>
                                    <p:set>
                                      <p:cBhvr>
                                        <p:cTn id="34" dur="1" fill="hold">
                                          <p:stCondLst>
                                            <p:cond delay="0"/>
                                          </p:stCondLst>
                                        </p:cTn>
                                        <p:tgtEl>
                                          <p:spTgt spid="15"/>
                                        </p:tgtEl>
                                        <p:attrNameLst>
                                          <p:attrName>style.visibility</p:attrName>
                                        </p:attrNameLst>
                                      </p:cBhvr>
                                      <p:to>
                                        <p:strVal val="visible"/>
                                      </p:to>
                                    </p:set>
                                    <p:anim calcmode="lin" valueType="num">
                                      <p:cBhvr additive="base">
                                        <p:cTn id="35" dur="500" fill="hold"/>
                                        <p:tgtEl>
                                          <p:spTgt spid="15"/>
                                        </p:tgtEl>
                                        <p:attrNameLst>
                                          <p:attrName>ppt_x</p:attrName>
                                        </p:attrNameLst>
                                      </p:cBhvr>
                                      <p:tavLst>
                                        <p:tav tm="0">
                                          <p:val>
                                            <p:strVal val="0-#ppt_w/2"/>
                                          </p:val>
                                        </p:tav>
                                        <p:tav tm="100000">
                                          <p:val>
                                            <p:strVal val="#ppt_x"/>
                                          </p:val>
                                        </p:tav>
                                      </p:tavLst>
                                    </p:anim>
                                    <p:anim calcmode="lin" valueType="num">
                                      <p:cBhvr additive="base">
                                        <p:cTn id="36" dur="500" fill="hold"/>
                                        <p:tgtEl>
                                          <p:spTgt spid="15"/>
                                        </p:tgtEl>
                                        <p:attrNameLst>
                                          <p:attrName>ppt_y</p:attrName>
                                        </p:attrNameLst>
                                      </p:cBhvr>
                                      <p:tavLst>
                                        <p:tav tm="0">
                                          <p:val>
                                            <p:strVal val="#ppt_y"/>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8" fill="hold" grpId="0" nodeType="clickEffect">
                                  <p:stCondLst>
                                    <p:cond delay="0"/>
                                  </p:stCondLst>
                                  <p:childTnLst>
                                    <p:set>
                                      <p:cBhvr>
                                        <p:cTn id="40" dur="1" fill="hold">
                                          <p:stCondLst>
                                            <p:cond delay="0"/>
                                          </p:stCondLst>
                                        </p:cTn>
                                        <p:tgtEl>
                                          <p:spTgt spid="8"/>
                                        </p:tgtEl>
                                        <p:attrNameLst>
                                          <p:attrName>style.visibility</p:attrName>
                                        </p:attrNameLst>
                                      </p:cBhvr>
                                      <p:to>
                                        <p:strVal val="visible"/>
                                      </p:to>
                                    </p:set>
                                    <p:anim calcmode="lin" valueType="num">
                                      <p:cBhvr additive="base">
                                        <p:cTn id="41" dur="500" fill="hold"/>
                                        <p:tgtEl>
                                          <p:spTgt spid="8"/>
                                        </p:tgtEl>
                                        <p:attrNameLst>
                                          <p:attrName>ppt_x</p:attrName>
                                        </p:attrNameLst>
                                      </p:cBhvr>
                                      <p:tavLst>
                                        <p:tav tm="0">
                                          <p:val>
                                            <p:strVal val="0-#ppt_w/2"/>
                                          </p:val>
                                        </p:tav>
                                        <p:tav tm="100000">
                                          <p:val>
                                            <p:strVal val="#ppt_x"/>
                                          </p:val>
                                        </p:tav>
                                      </p:tavLst>
                                    </p:anim>
                                    <p:anim calcmode="lin" valueType="num">
                                      <p:cBhvr additive="base">
                                        <p:cTn id="42" dur="500" fill="hold"/>
                                        <p:tgtEl>
                                          <p:spTgt spid="8"/>
                                        </p:tgtEl>
                                        <p:attrNameLst>
                                          <p:attrName>ppt_y</p:attrName>
                                        </p:attrNameLst>
                                      </p:cBhvr>
                                      <p:tavLst>
                                        <p:tav tm="0">
                                          <p:val>
                                            <p:strVal val="#ppt_y"/>
                                          </p:val>
                                        </p:tav>
                                        <p:tav tm="100000">
                                          <p:val>
                                            <p:strVal val="#ppt_y"/>
                                          </p:val>
                                        </p:tav>
                                      </p:tavLst>
                                    </p:anim>
                                  </p:childTnLst>
                                </p:cTn>
                              </p:par>
                              <p:par>
                                <p:cTn id="43" presetID="2" presetClass="entr" presetSubtype="8" fill="hold" grpId="0" nodeType="withEffect">
                                  <p:stCondLst>
                                    <p:cond delay="0"/>
                                  </p:stCondLst>
                                  <p:childTnLst>
                                    <p:set>
                                      <p:cBhvr>
                                        <p:cTn id="44" dur="1" fill="hold">
                                          <p:stCondLst>
                                            <p:cond delay="0"/>
                                          </p:stCondLst>
                                        </p:cTn>
                                        <p:tgtEl>
                                          <p:spTgt spid="10"/>
                                        </p:tgtEl>
                                        <p:attrNameLst>
                                          <p:attrName>style.visibility</p:attrName>
                                        </p:attrNameLst>
                                      </p:cBhvr>
                                      <p:to>
                                        <p:strVal val="visible"/>
                                      </p:to>
                                    </p:set>
                                    <p:anim calcmode="lin" valueType="num">
                                      <p:cBhvr additive="base">
                                        <p:cTn id="45" dur="500" fill="hold"/>
                                        <p:tgtEl>
                                          <p:spTgt spid="10"/>
                                        </p:tgtEl>
                                        <p:attrNameLst>
                                          <p:attrName>ppt_x</p:attrName>
                                        </p:attrNameLst>
                                      </p:cBhvr>
                                      <p:tavLst>
                                        <p:tav tm="0">
                                          <p:val>
                                            <p:strVal val="0-#ppt_w/2"/>
                                          </p:val>
                                        </p:tav>
                                        <p:tav tm="100000">
                                          <p:val>
                                            <p:strVal val="#ppt_x"/>
                                          </p:val>
                                        </p:tav>
                                      </p:tavLst>
                                    </p:anim>
                                    <p:anim calcmode="lin" valueType="num">
                                      <p:cBhvr additive="base">
                                        <p:cTn id="46" dur="500" fill="hold"/>
                                        <p:tgtEl>
                                          <p:spTgt spid="10"/>
                                        </p:tgtEl>
                                        <p:attrNameLst>
                                          <p:attrName>ppt_y</p:attrName>
                                        </p:attrNameLst>
                                      </p:cBhvr>
                                      <p:tavLst>
                                        <p:tav tm="0">
                                          <p:val>
                                            <p:strVal val="#ppt_y"/>
                                          </p:val>
                                        </p:tav>
                                        <p:tav tm="100000">
                                          <p:val>
                                            <p:strVal val="#ppt_y"/>
                                          </p:val>
                                        </p:tav>
                                      </p:tavLst>
                                    </p:anim>
                                  </p:childTnLst>
                                </p:cTn>
                              </p:par>
                              <p:par>
                                <p:cTn id="47" presetID="2" presetClass="entr" presetSubtype="8" fill="hold" grpId="0" nodeType="withEffect">
                                  <p:stCondLst>
                                    <p:cond delay="0"/>
                                  </p:stCondLst>
                                  <p:childTnLst>
                                    <p:set>
                                      <p:cBhvr>
                                        <p:cTn id="48" dur="1" fill="hold">
                                          <p:stCondLst>
                                            <p:cond delay="0"/>
                                          </p:stCondLst>
                                        </p:cTn>
                                        <p:tgtEl>
                                          <p:spTgt spid="11"/>
                                        </p:tgtEl>
                                        <p:attrNameLst>
                                          <p:attrName>style.visibility</p:attrName>
                                        </p:attrNameLst>
                                      </p:cBhvr>
                                      <p:to>
                                        <p:strVal val="visible"/>
                                      </p:to>
                                    </p:set>
                                    <p:anim calcmode="lin" valueType="num">
                                      <p:cBhvr additive="base">
                                        <p:cTn id="49" dur="500" fill="hold"/>
                                        <p:tgtEl>
                                          <p:spTgt spid="11"/>
                                        </p:tgtEl>
                                        <p:attrNameLst>
                                          <p:attrName>ppt_x</p:attrName>
                                        </p:attrNameLst>
                                      </p:cBhvr>
                                      <p:tavLst>
                                        <p:tav tm="0">
                                          <p:val>
                                            <p:strVal val="0-#ppt_w/2"/>
                                          </p:val>
                                        </p:tav>
                                        <p:tav tm="100000">
                                          <p:val>
                                            <p:strVal val="#ppt_x"/>
                                          </p:val>
                                        </p:tav>
                                      </p:tavLst>
                                    </p:anim>
                                    <p:anim calcmode="lin" valueType="num">
                                      <p:cBhvr additive="base">
                                        <p:cTn id="50" dur="500" fill="hold"/>
                                        <p:tgtEl>
                                          <p:spTgt spid="11"/>
                                        </p:tgtEl>
                                        <p:attrNameLst>
                                          <p:attrName>ppt_y</p:attrName>
                                        </p:attrNameLst>
                                      </p:cBhvr>
                                      <p:tavLst>
                                        <p:tav tm="0">
                                          <p:val>
                                            <p:strVal val="#ppt_y"/>
                                          </p:val>
                                        </p:tav>
                                        <p:tav tm="100000">
                                          <p:val>
                                            <p:strVal val="#ppt_y"/>
                                          </p:val>
                                        </p:tav>
                                      </p:tavLst>
                                    </p:anim>
                                  </p:childTnLst>
                                </p:cTn>
                              </p:par>
                              <p:par>
                                <p:cTn id="51" presetID="2" presetClass="entr" presetSubtype="8" fill="hold" grpId="0" nodeType="withEffect">
                                  <p:stCondLst>
                                    <p:cond delay="0"/>
                                  </p:stCondLst>
                                  <p:childTnLst>
                                    <p:set>
                                      <p:cBhvr>
                                        <p:cTn id="52" dur="1" fill="hold">
                                          <p:stCondLst>
                                            <p:cond delay="0"/>
                                          </p:stCondLst>
                                        </p:cTn>
                                        <p:tgtEl>
                                          <p:spTgt spid="14"/>
                                        </p:tgtEl>
                                        <p:attrNameLst>
                                          <p:attrName>style.visibility</p:attrName>
                                        </p:attrNameLst>
                                      </p:cBhvr>
                                      <p:to>
                                        <p:strVal val="visible"/>
                                      </p:to>
                                    </p:set>
                                    <p:anim calcmode="lin" valueType="num">
                                      <p:cBhvr additive="base">
                                        <p:cTn id="53" dur="500" fill="hold"/>
                                        <p:tgtEl>
                                          <p:spTgt spid="14"/>
                                        </p:tgtEl>
                                        <p:attrNameLst>
                                          <p:attrName>ppt_x</p:attrName>
                                        </p:attrNameLst>
                                      </p:cBhvr>
                                      <p:tavLst>
                                        <p:tav tm="0">
                                          <p:val>
                                            <p:strVal val="0-#ppt_w/2"/>
                                          </p:val>
                                        </p:tav>
                                        <p:tav tm="100000">
                                          <p:val>
                                            <p:strVal val="#ppt_x"/>
                                          </p:val>
                                        </p:tav>
                                      </p:tavLst>
                                    </p:anim>
                                    <p:anim calcmode="lin" valueType="num">
                                      <p:cBhvr additive="base">
                                        <p:cTn id="54" dur="500" fill="hold"/>
                                        <p:tgtEl>
                                          <p:spTgt spid="14"/>
                                        </p:tgtEl>
                                        <p:attrNameLst>
                                          <p:attrName>ppt_y</p:attrName>
                                        </p:attrNameLst>
                                      </p:cBhvr>
                                      <p:tavLst>
                                        <p:tav tm="0">
                                          <p:val>
                                            <p:strVal val="#ppt_y"/>
                                          </p:val>
                                        </p:tav>
                                        <p:tav tm="100000">
                                          <p:val>
                                            <p:strVal val="#ppt_y"/>
                                          </p:val>
                                        </p:tav>
                                      </p:tavLst>
                                    </p:anim>
                                  </p:childTnLst>
                                </p:cTn>
                              </p:par>
                              <p:par>
                                <p:cTn id="55" presetID="2" presetClass="entr" presetSubtype="8" fill="hold" grpId="0" nodeType="withEffect">
                                  <p:stCondLst>
                                    <p:cond delay="0"/>
                                  </p:stCondLst>
                                  <p:childTnLst>
                                    <p:set>
                                      <p:cBhvr>
                                        <p:cTn id="56" dur="1" fill="hold">
                                          <p:stCondLst>
                                            <p:cond delay="0"/>
                                          </p:stCondLst>
                                        </p:cTn>
                                        <p:tgtEl>
                                          <p:spTgt spid="16"/>
                                        </p:tgtEl>
                                        <p:attrNameLst>
                                          <p:attrName>style.visibility</p:attrName>
                                        </p:attrNameLst>
                                      </p:cBhvr>
                                      <p:to>
                                        <p:strVal val="visible"/>
                                      </p:to>
                                    </p:set>
                                    <p:anim calcmode="lin" valueType="num">
                                      <p:cBhvr additive="base">
                                        <p:cTn id="57" dur="500" fill="hold"/>
                                        <p:tgtEl>
                                          <p:spTgt spid="16"/>
                                        </p:tgtEl>
                                        <p:attrNameLst>
                                          <p:attrName>ppt_x</p:attrName>
                                        </p:attrNameLst>
                                      </p:cBhvr>
                                      <p:tavLst>
                                        <p:tav tm="0">
                                          <p:val>
                                            <p:strVal val="0-#ppt_w/2"/>
                                          </p:val>
                                        </p:tav>
                                        <p:tav tm="100000">
                                          <p:val>
                                            <p:strVal val="#ppt_x"/>
                                          </p:val>
                                        </p:tav>
                                      </p:tavLst>
                                    </p:anim>
                                    <p:anim calcmode="lin" valueType="num">
                                      <p:cBhvr additive="base">
                                        <p:cTn id="58" dur="500" fill="hold"/>
                                        <p:tgtEl>
                                          <p:spTgt spid="16"/>
                                        </p:tgtEl>
                                        <p:attrNameLst>
                                          <p:attrName>ppt_y</p:attrName>
                                        </p:attrNameLst>
                                      </p:cBhvr>
                                      <p:tavLst>
                                        <p:tav tm="0">
                                          <p:val>
                                            <p:strVal val="#ppt_y"/>
                                          </p:val>
                                        </p:tav>
                                        <p:tav tm="100000">
                                          <p:val>
                                            <p:strVal val="#ppt_y"/>
                                          </p:val>
                                        </p:tav>
                                      </p:tavLst>
                                    </p:anim>
                                  </p:childTnLst>
                                </p:cTn>
                              </p:par>
                              <p:par>
                                <p:cTn id="59" presetID="2" presetClass="entr" presetSubtype="8" fill="hold" grpId="0" nodeType="withEffect">
                                  <p:stCondLst>
                                    <p:cond delay="0"/>
                                  </p:stCondLst>
                                  <p:childTnLst>
                                    <p:set>
                                      <p:cBhvr>
                                        <p:cTn id="60" dur="1" fill="hold">
                                          <p:stCondLst>
                                            <p:cond delay="0"/>
                                          </p:stCondLst>
                                        </p:cTn>
                                        <p:tgtEl>
                                          <p:spTgt spid="17"/>
                                        </p:tgtEl>
                                        <p:attrNameLst>
                                          <p:attrName>style.visibility</p:attrName>
                                        </p:attrNameLst>
                                      </p:cBhvr>
                                      <p:to>
                                        <p:strVal val="visible"/>
                                      </p:to>
                                    </p:set>
                                    <p:anim calcmode="lin" valueType="num">
                                      <p:cBhvr additive="base">
                                        <p:cTn id="61" dur="500" fill="hold"/>
                                        <p:tgtEl>
                                          <p:spTgt spid="17"/>
                                        </p:tgtEl>
                                        <p:attrNameLst>
                                          <p:attrName>ppt_x</p:attrName>
                                        </p:attrNameLst>
                                      </p:cBhvr>
                                      <p:tavLst>
                                        <p:tav tm="0">
                                          <p:val>
                                            <p:strVal val="0-#ppt_w/2"/>
                                          </p:val>
                                        </p:tav>
                                        <p:tav tm="100000">
                                          <p:val>
                                            <p:strVal val="#ppt_x"/>
                                          </p:val>
                                        </p:tav>
                                      </p:tavLst>
                                    </p:anim>
                                    <p:anim calcmode="lin" valueType="num">
                                      <p:cBhvr additive="base">
                                        <p:cTn id="62" dur="500" fill="hold"/>
                                        <p:tgtEl>
                                          <p:spTgt spid="1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P spid="10" grpId="0" animBg="1"/>
      <p:bldP spid="11" grpId="0" animBg="1"/>
      <p:bldP spid="12" grpId="0" animBg="1"/>
      <p:bldP spid="13" grpId="0" animBg="1"/>
      <p:bldP spid="14" grpId="0" animBg="1"/>
      <p:bldP spid="15" grpId="0"/>
      <p:bldP spid="16" grpId="0"/>
      <p:bldP spid="17" grpId="0" animBg="1"/>
    </p:bldLst>
  </p:timing>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9"/>
          <p:cNvSpPr>
            <a:spLocks noChangeArrowheads="1"/>
          </p:cNvSpPr>
          <p:nvPr/>
        </p:nvSpPr>
        <p:spPr bwMode="auto">
          <a:xfrm>
            <a:off x="576413" y="1066801"/>
            <a:ext cx="1865004" cy="3281363"/>
          </a:xfrm>
          <a:prstGeom prst="rect">
            <a:avLst/>
          </a:prstGeom>
          <a:solidFill>
            <a:srgbClr val="F0F2F3">
              <a:alpha val="10000"/>
            </a:srgbClr>
          </a:solidFill>
          <a:ln w="9525">
            <a:noFill/>
            <a:miter lim="800000"/>
            <a:headEnd/>
            <a:tailEnd/>
          </a:ln>
        </p:spPr>
        <p:txBody>
          <a:bodyPr wrap="none" lIns="68586" tIns="34294" rIns="68586" bIns="34294" anchor="ctr"/>
          <a:lstStyle/>
          <a:p>
            <a:pPr defTabSz="685862" fontAlgn="base">
              <a:spcBef>
                <a:spcPct val="0"/>
              </a:spcBef>
              <a:spcAft>
                <a:spcPct val="0"/>
              </a:spcAft>
              <a:defRPr/>
            </a:pPr>
            <a:endParaRPr lang="en-US">
              <a:solidFill>
                <a:srgbClr val="00264A"/>
              </a:solidFill>
              <a:cs typeface="Segoe UI" pitchFamily="34" charset="0"/>
            </a:endParaRPr>
          </a:p>
        </p:txBody>
      </p:sp>
      <p:sp>
        <p:nvSpPr>
          <p:cNvPr id="3" name="Rectangle 2"/>
          <p:cNvSpPr/>
          <p:nvPr/>
        </p:nvSpPr>
        <p:spPr>
          <a:xfrm>
            <a:off x="576413" y="1148954"/>
            <a:ext cx="1865004" cy="355997"/>
          </a:xfrm>
          <a:prstGeom prst="rect">
            <a:avLst/>
          </a:prstGeom>
          <a:solidFill>
            <a:srgbClr val="00264A"/>
          </a:solidFill>
          <a:ln>
            <a:noFill/>
          </a:ln>
          <a:effectLst/>
        </p:spPr>
        <p:style>
          <a:lnRef idx="1">
            <a:schemeClr val="accent1"/>
          </a:lnRef>
          <a:fillRef idx="3">
            <a:schemeClr val="accent1"/>
          </a:fillRef>
          <a:effectRef idx="2">
            <a:schemeClr val="accent1"/>
          </a:effectRef>
          <a:fontRef idx="minor">
            <a:schemeClr val="lt1"/>
          </a:fontRef>
        </p:style>
        <p:txBody>
          <a:bodyPr lIns="68586" tIns="34294" rIns="68586" bIns="34294" anchor="ctr"/>
          <a:lstStyle/>
          <a:p>
            <a:pPr algn="ctr" defTabSz="685862" fontAlgn="base">
              <a:spcBef>
                <a:spcPct val="0"/>
              </a:spcBef>
              <a:spcAft>
                <a:spcPct val="0"/>
              </a:spcAft>
              <a:defRPr/>
            </a:pPr>
            <a:endParaRPr lang="en-US" dirty="0">
              <a:solidFill>
                <a:srgbClr val="FFFFFF"/>
              </a:solidFill>
            </a:endParaRPr>
          </a:p>
        </p:txBody>
      </p:sp>
      <p:sp>
        <p:nvSpPr>
          <p:cNvPr id="4" name="Rectangle 19"/>
          <p:cNvSpPr>
            <a:spLocks noChangeArrowheads="1"/>
          </p:cNvSpPr>
          <p:nvPr/>
        </p:nvSpPr>
        <p:spPr bwMode="auto">
          <a:xfrm>
            <a:off x="6739503" y="1066801"/>
            <a:ext cx="1865004" cy="3281363"/>
          </a:xfrm>
          <a:prstGeom prst="rect">
            <a:avLst/>
          </a:prstGeom>
          <a:solidFill>
            <a:srgbClr val="F0F2F3">
              <a:alpha val="10000"/>
            </a:srgbClr>
          </a:solidFill>
          <a:ln w="9525">
            <a:noFill/>
            <a:miter lim="800000"/>
            <a:headEnd/>
            <a:tailEnd/>
          </a:ln>
        </p:spPr>
        <p:txBody>
          <a:bodyPr wrap="none" lIns="68586" tIns="34294" rIns="68586" bIns="34294" anchor="ctr"/>
          <a:lstStyle/>
          <a:p>
            <a:pPr defTabSz="685862" fontAlgn="base">
              <a:spcBef>
                <a:spcPct val="0"/>
              </a:spcBef>
              <a:spcAft>
                <a:spcPct val="0"/>
              </a:spcAft>
              <a:defRPr/>
            </a:pPr>
            <a:endParaRPr lang="en-US">
              <a:solidFill>
                <a:srgbClr val="00264A"/>
              </a:solidFill>
              <a:cs typeface="Segoe UI" pitchFamily="34" charset="0"/>
            </a:endParaRPr>
          </a:p>
        </p:txBody>
      </p:sp>
      <p:sp>
        <p:nvSpPr>
          <p:cNvPr id="5" name="Rectangle 19"/>
          <p:cNvSpPr>
            <a:spLocks noChangeArrowheads="1"/>
          </p:cNvSpPr>
          <p:nvPr/>
        </p:nvSpPr>
        <p:spPr bwMode="auto">
          <a:xfrm>
            <a:off x="2636731" y="1066801"/>
            <a:ext cx="1865004" cy="3281363"/>
          </a:xfrm>
          <a:prstGeom prst="rect">
            <a:avLst/>
          </a:prstGeom>
          <a:solidFill>
            <a:srgbClr val="F0F2F3">
              <a:alpha val="10000"/>
            </a:srgbClr>
          </a:solidFill>
          <a:ln w="9525">
            <a:noFill/>
            <a:miter lim="800000"/>
            <a:headEnd/>
            <a:tailEnd/>
          </a:ln>
        </p:spPr>
        <p:txBody>
          <a:bodyPr wrap="none" lIns="68586" tIns="34294" rIns="68586" bIns="34294" anchor="ctr"/>
          <a:lstStyle/>
          <a:p>
            <a:pPr defTabSz="685862" fontAlgn="base">
              <a:spcBef>
                <a:spcPct val="0"/>
              </a:spcBef>
              <a:spcAft>
                <a:spcPct val="0"/>
              </a:spcAft>
              <a:defRPr/>
            </a:pPr>
            <a:endParaRPr lang="en-US">
              <a:solidFill>
                <a:srgbClr val="00264A"/>
              </a:solidFill>
              <a:cs typeface="Segoe UI" pitchFamily="34" charset="0"/>
            </a:endParaRPr>
          </a:p>
        </p:txBody>
      </p:sp>
      <p:sp>
        <p:nvSpPr>
          <p:cNvPr id="6" name="Rectangle 19"/>
          <p:cNvSpPr>
            <a:spLocks noChangeArrowheads="1"/>
          </p:cNvSpPr>
          <p:nvPr/>
        </p:nvSpPr>
        <p:spPr bwMode="auto">
          <a:xfrm>
            <a:off x="4673229" y="1066801"/>
            <a:ext cx="1863814" cy="3281363"/>
          </a:xfrm>
          <a:prstGeom prst="rect">
            <a:avLst/>
          </a:prstGeom>
          <a:solidFill>
            <a:srgbClr val="F0F2F3">
              <a:alpha val="10000"/>
            </a:srgbClr>
          </a:solidFill>
          <a:ln w="9525">
            <a:noFill/>
            <a:miter lim="800000"/>
            <a:headEnd/>
            <a:tailEnd/>
          </a:ln>
        </p:spPr>
        <p:txBody>
          <a:bodyPr wrap="none" lIns="68586" tIns="34294" rIns="68586" bIns="34294" anchor="ctr"/>
          <a:lstStyle/>
          <a:p>
            <a:pPr defTabSz="685862" fontAlgn="base">
              <a:spcBef>
                <a:spcPct val="0"/>
              </a:spcBef>
              <a:spcAft>
                <a:spcPct val="0"/>
              </a:spcAft>
              <a:defRPr/>
            </a:pPr>
            <a:endParaRPr lang="en-US">
              <a:solidFill>
                <a:srgbClr val="00264A"/>
              </a:solidFill>
              <a:cs typeface="Segoe UI" pitchFamily="34" charset="0"/>
            </a:endParaRPr>
          </a:p>
        </p:txBody>
      </p:sp>
      <p:sp>
        <p:nvSpPr>
          <p:cNvPr id="7" name="Rectangle 6"/>
          <p:cNvSpPr/>
          <p:nvPr/>
        </p:nvSpPr>
        <p:spPr>
          <a:xfrm>
            <a:off x="2636731" y="1148954"/>
            <a:ext cx="1865004" cy="355997"/>
          </a:xfrm>
          <a:prstGeom prst="rect">
            <a:avLst/>
          </a:prstGeom>
          <a:solidFill>
            <a:srgbClr val="00264A"/>
          </a:solidFill>
          <a:ln>
            <a:noFill/>
          </a:ln>
          <a:effectLst/>
        </p:spPr>
        <p:style>
          <a:lnRef idx="1">
            <a:schemeClr val="accent1"/>
          </a:lnRef>
          <a:fillRef idx="3">
            <a:schemeClr val="accent1"/>
          </a:fillRef>
          <a:effectRef idx="2">
            <a:schemeClr val="accent1"/>
          </a:effectRef>
          <a:fontRef idx="minor">
            <a:schemeClr val="lt1"/>
          </a:fontRef>
        </p:style>
        <p:txBody>
          <a:bodyPr lIns="68586" tIns="34294" rIns="68586" bIns="34294" anchor="ctr"/>
          <a:lstStyle/>
          <a:p>
            <a:pPr algn="ctr" defTabSz="685862" fontAlgn="base">
              <a:spcBef>
                <a:spcPct val="0"/>
              </a:spcBef>
              <a:spcAft>
                <a:spcPct val="0"/>
              </a:spcAft>
              <a:defRPr/>
            </a:pPr>
            <a:endParaRPr lang="en-US" dirty="0">
              <a:solidFill>
                <a:srgbClr val="FFFFFF"/>
              </a:solidFill>
            </a:endParaRPr>
          </a:p>
        </p:txBody>
      </p:sp>
      <p:sp>
        <p:nvSpPr>
          <p:cNvPr id="8" name="Rectangle 7"/>
          <p:cNvSpPr/>
          <p:nvPr/>
        </p:nvSpPr>
        <p:spPr>
          <a:xfrm>
            <a:off x="4673229" y="1156098"/>
            <a:ext cx="1863814" cy="355997"/>
          </a:xfrm>
          <a:prstGeom prst="rect">
            <a:avLst/>
          </a:prstGeom>
          <a:solidFill>
            <a:srgbClr val="00264A"/>
          </a:solidFill>
          <a:ln>
            <a:noFill/>
          </a:ln>
          <a:effectLst/>
        </p:spPr>
        <p:style>
          <a:lnRef idx="1">
            <a:schemeClr val="accent1"/>
          </a:lnRef>
          <a:fillRef idx="3">
            <a:schemeClr val="accent1"/>
          </a:fillRef>
          <a:effectRef idx="2">
            <a:schemeClr val="accent1"/>
          </a:effectRef>
          <a:fontRef idx="minor">
            <a:schemeClr val="lt1"/>
          </a:fontRef>
        </p:style>
        <p:txBody>
          <a:bodyPr lIns="68586" tIns="34294" rIns="68586" bIns="34294" anchor="ctr"/>
          <a:lstStyle/>
          <a:p>
            <a:pPr algn="ctr" defTabSz="685862" fontAlgn="base">
              <a:spcBef>
                <a:spcPct val="0"/>
              </a:spcBef>
              <a:spcAft>
                <a:spcPct val="0"/>
              </a:spcAft>
              <a:defRPr/>
            </a:pPr>
            <a:endParaRPr lang="en-US" dirty="0">
              <a:solidFill>
                <a:srgbClr val="FFFFFF"/>
              </a:solidFill>
            </a:endParaRPr>
          </a:p>
        </p:txBody>
      </p:sp>
      <p:sp>
        <p:nvSpPr>
          <p:cNvPr id="9" name="Rectangle 8"/>
          <p:cNvSpPr/>
          <p:nvPr/>
        </p:nvSpPr>
        <p:spPr>
          <a:xfrm>
            <a:off x="6739503" y="1166814"/>
            <a:ext cx="1865004" cy="355997"/>
          </a:xfrm>
          <a:prstGeom prst="rect">
            <a:avLst/>
          </a:prstGeom>
          <a:solidFill>
            <a:srgbClr val="00264A"/>
          </a:solidFill>
          <a:ln>
            <a:noFill/>
          </a:ln>
          <a:effectLst/>
        </p:spPr>
        <p:style>
          <a:lnRef idx="1">
            <a:schemeClr val="accent1"/>
          </a:lnRef>
          <a:fillRef idx="3">
            <a:schemeClr val="accent1"/>
          </a:fillRef>
          <a:effectRef idx="2">
            <a:schemeClr val="accent1"/>
          </a:effectRef>
          <a:fontRef idx="minor">
            <a:schemeClr val="lt1"/>
          </a:fontRef>
        </p:style>
        <p:txBody>
          <a:bodyPr lIns="68586" tIns="34294" rIns="68586" bIns="34294" anchor="ctr"/>
          <a:lstStyle/>
          <a:p>
            <a:pPr algn="ctr" defTabSz="685862" fontAlgn="base">
              <a:spcBef>
                <a:spcPct val="0"/>
              </a:spcBef>
              <a:spcAft>
                <a:spcPct val="0"/>
              </a:spcAft>
              <a:defRPr/>
            </a:pPr>
            <a:endParaRPr lang="en-US" dirty="0">
              <a:solidFill>
                <a:srgbClr val="FFFFFF"/>
              </a:solidFill>
            </a:endParaRPr>
          </a:p>
        </p:txBody>
      </p:sp>
      <p:sp>
        <p:nvSpPr>
          <p:cNvPr id="10" name="Rectangle 22"/>
          <p:cNvSpPr txBox="1">
            <a:spLocks/>
          </p:cNvSpPr>
          <p:nvPr/>
        </p:nvSpPr>
        <p:spPr bwMode="auto">
          <a:xfrm>
            <a:off x="389436" y="171451"/>
            <a:ext cx="8363938" cy="457049"/>
          </a:xfrm>
          <a:prstGeom prst="rect">
            <a:avLst/>
          </a:prstGeom>
          <a:noFill/>
          <a:ln>
            <a:miter lim="800000"/>
            <a:headEnd/>
            <a:tailEnd/>
          </a:ln>
        </p:spPr>
        <p:txBody>
          <a:bodyPr wrap="square" lIns="68586" tIns="34294" rIns="68586" bIns="34294" numCol="1" anchorCtr="0" compatLnSpc="1">
            <a:prstTxWarp prst="textNoShape">
              <a:avLst/>
            </a:prstTxWarp>
          </a:bodyPr>
          <a:lst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sz="2400">
                <a:latin typeface="Segoe UI" pitchFamily="34" charset="0"/>
                <a:cs typeface="Arial" pitchFamily="34" charset="0"/>
              </a:rPr>
              <a:t>Delivering consistent applications with Server App-V</a:t>
            </a:r>
          </a:p>
        </p:txBody>
      </p:sp>
      <p:sp>
        <p:nvSpPr>
          <p:cNvPr id="11" name="Text Placeholder 25"/>
          <p:cNvSpPr txBox="1">
            <a:spLocks/>
          </p:cNvSpPr>
          <p:nvPr/>
        </p:nvSpPr>
        <p:spPr bwMode="auto">
          <a:xfrm>
            <a:off x="576413" y="1175148"/>
            <a:ext cx="1865004" cy="357188"/>
          </a:xfrm>
          <a:prstGeom prst="rect">
            <a:avLst/>
          </a:prstGeom>
          <a:noFill/>
          <a:ln>
            <a:miter lim="800000"/>
            <a:headEnd/>
            <a:tailEnd/>
          </a:ln>
        </p:spPr>
        <p:txBody>
          <a:bodyPr wrap="square" lIns="68586" tIns="34294" rIns="68586" bIns="34294" numCol="1" anchor="t" anchorCtr="0" compatLnSpc="1">
            <a:prstTxWarp prst="textNoShape">
              <a:avLst/>
            </a:prstTxWarp>
          </a:bodyPr>
          <a:lstStyle>
            <a:lvl1pPr marL="455613" indent="-455613" algn="l" defTabSz="608013" rtl="0" fontAlgn="base">
              <a:spcBef>
                <a:spcPct val="20000"/>
              </a:spcBef>
              <a:spcAft>
                <a:spcPct val="0"/>
              </a:spcAft>
              <a:buFont typeface="Arial" pitchFamily="34" charset="0"/>
              <a:buChar char="•"/>
              <a:defRPr sz="2800" kern="1200">
                <a:solidFill>
                  <a:srgbClr val="FFFFFF"/>
                </a:solidFill>
                <a:latin typeface="+mn-lt"/>
                <a:ea typeface="+mn-ea"/>
                <a:cs typeface="Arial"/>
              </a:defRPr>
            </a:lvl1pPr>
            <a:lvl2pPr marL="989013" indent="-379413" algn="l" defTabSz="608013" rtl="0" fontAlgn="base">
              <a:spcBef>
                <a:spcPct val="20000"/>
              </a:spcBef>
              <a:spcAft>
                <a:spcPct val="0"/>
              </a:spcAft>
              <a:buFont typeface="Arial" pitchFamily="34" charset="0"/>
              <a:buChar char="–"/>
              <a:defRPr sz="2400" kern="1200">
                <a:solidFill>
                  <a:srgbClr val="FFFFFF"/>
                </a:solidFill>
                <a:latin typeface="+mn-lt"/>
                <a:ea typeface="+mn-ea"/>
                <a:cs typeface="Arial"/>
              </a:defRPr>
            </a:lvl2pPr>
            <a:lvl3pPr marL="1522413" indent="-303213" algn="l" defTabSz="608013" rtl="0" fontAlgn="base">
              <a:spcBef>
                <a:spcPct val="20000"/>
              </a:spcBef>
              <a:spcAft>
                <a:spcPct val="0"/>
              </a:spcAft>
              <a:buFont typeface="Arial" pitchFamily="34" charset="0"/>
              <a:buChar char="•"/>
              <a:defRPr kern="1200">
                <a:solidFill>
                  <a:srgbClr val="FFFFFF"/>
                </a:solidFill>
                <a:latin typeface="+mn-lt"/>
                <a:ea typeface="+mn-ea"/>
                <a:cs typeface="Arial"/>
              </a:defRPr>
            </a:lvl3pPr>
            <a:lvl4pPr marL="21320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4pPr>
            <a:lvl5pPr marL="27416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5pPr>
            <a:lvl6pPr marL="3352213" indent="-304747" algn="l" defTabSz="609493" rtl="0" eaLnBrk="1" latinLnBrk="0" hangingPunct="1">
              <a:spcBef>
                <a:spcPct val="20000"/>
              </a:spcBef>
              <a:buFont typeface="Arial"/>
              <a:buChar char="•"/>
              <a:defRPr sz="2700" kern="1200">
                <a:solidFill>
                  <a:schemeClr val="tx1"/>
                </a:solidFill>
                <a:latin typeface="+mn-lt"/>
                <a:ea typeface="+mn-ea"/>
                <a:cs typeface="+mn-cs"/>
              </a:defRPr>
            </a:lvl6pPr>
            <a:lvl7pPr marL="3961707" indent="-304747" algn="l" defTabSz="609493" rtl="0" eaLnBrk="1" latinLnBrk="0" hangingPunct="1">
              <a:spcBef>
                <a:spcPct val="20000"/>
              </a:spcBef>
              <a:buFont typeface="Arial"/>
              <a:buChar char="•"/>
              <a:defRPr sz="2700" kern="1200">
                <a:solidFill>
                  <a:schemeClr val="tx1"/>
                </a:solidFill>
                <a:latin typeface="+mn-lt"/>
                <a:ea typeface="+mn-ea"/>
                <a:cs typeface="+mn-cs"/>
              </a:defRPr>
            </a:lvl7pPr>
            <a:lvl8pPr marL="4571200" indent="-304747" algn="l" defTabSz="609493" rtl="0" eaLnBrk="1" latinLnBrk="0" hangingPunct="1">
              <a:spcBef>
                <a:spcPct val="20000"/>
              </a:spcBef>
              <a:buFont typeface="Arial"/>
              <a:buChar char="•"/>
              <a:defRPr sz="2700" kern="1200">
                <a:solidFill>
                  <a:schemeClr val="tx1"/>
                </a:solidFill>
                <a:latin typeface="+mn-lt"/>
                <a:ea typeface="+mn-ea"/>
                <a:cs typeface="+mn-cs"/>
              </a:defRPr>
            </a:lvl8pPr>
            <a:lvl9pPr marL="5180693" indent="-304747" algn="l" defTabSz="609493"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a:buNone/>
            </a:pPr>
            <a:r>
              <a:rPr lang="en-US" sz="1800" dirty="0">
                <a:solidFill>
                  <a:srgbClr val="3DB5F1"/>
                </a:solidFill>
                <a:cs typeface="Arial" pitchFamily="34" charset="0"/>
              </a:rPr>
              <a:t>SEQUENCE</a:t>
            </a:r>
          </a:p>
        </p:txBody>
      </p:sp>
      <p:sp>
        <p:nvSpPr>
          <p:cNvPr id="12" name="Text Placeholder 26"/>
          <p:cNvSpPr txBox="1">
            <a:spLocks/>
          </p:cNvSpPr>
          <p:nvPr/>
        </p:nvSpPr>
        <p:spPr bwMode="auto">
          <a:xfrm>
            <a:off x="684788" y="3086101"/>
            <a:ext cx="1631582" cy="1126331"/>
          </a:xfrm>
          <a:prstGeom prst="rect">
            <a:avLst/>
          </a:prstGeom>
          <a:noFill/>
          <a:ln>
            <a:miter lim="800000"/>
            <a:headEnd/>
            <a:tailEnd/>
          </a:ln>
        </p:spPr>
        <p:txBody>
          <a:bodyPr wrap="square" lIns="68586" tIns="34294" rIns="68586" bIns="34294" numCol="1" anchor="t" anchorCtr="0" compatLnSpc="1">
            <a:prstTxWarp prst="textNoShape">
              <a:avLst/>
            </a:prstTxWarp>
          </a:bodyPr>
          <a:lstStyle>
            <a:lvl1pPr marL="455613" indent="-455613" algn="l" defTabSz="608013" rtl="0" fontAlgn="base">
              <a:spcBef>
                <a:spcPct val="20000"/>
              </a:spcBef>
              <a:spcAft>
                <a:spcPct val="0"/>
              </a:spcAft>
              <a:buFont typeface="Arial" pitchFamily="34" charset="0"/>
              <a:buChar char="•"/>
              <a:defRPr sz="2800" kern="1200">
                <a:solidFill>
                  <a:srgbClr val="FFFFFF"/>
                </a:solidFill>
                <a:latin typeface="+mn-lt"/>
                <a:ea typeface="+mn-ea"/>
                <a:cs typeface="Arial"/>
              </a:defRPr>
            </a:lvl1pPr>
            <a:lvl2pPr marL="989013" indent="-379413" algn="l" defTabSz="608013" rtl="0" fontAlgn="base">
              <a:spcBef>
                <a:spcPct val="20000"/>
              </a:spcBef>
              <a:spcAft>
                <a:spcPct val="0"/>
              </a:spcAft>
              <a:buFont typeface="Arial" pitchFamily="34" charset="0"/>
              <a:buChar char="–"/>
              <a:defRPr sz="2400" kern="1200">
                <a:solidFill>
                  <a:srgbClr val="FFFFFF"/>
                </a:solidFill>
                <a:latin typeface="+mn-lt"/>
                <a:ea typeface="+mn-ea"/>
                <a:cs typeface="Arial"/>
              </a:defRPr>
            </a:lvl2pPr>
            <a:lvl3pPr marL="1522413" indent="-303213" algn="l" defTabSz="608013" rtl="0" fontAlgn="base">
              <a:spcBef>
                <a:spcPct val="20000"/>
              </a:spcBef>
              <a:spcAft>
                <a:spcPct val="0"/>
              </a:spcAft>
              <a:buFont typeface="Arial" pitchFamily="34" charset="0"/>
              <a:buChar char="•"/>
              <a:defRPr kern="1200">
                <a:solidFill>
                  <a:srgbClr val="FFFFFF"/>
                </a:solidFill>
                <a:latin typeface="+mn-lt"/>
                <a:ea typeface="+mn-ea"/>
                <a:cs typeface="Arial"/>
              </a:defRPr>
            </a:lvl3pPr>
            <a:lvl4pPr marL="21320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4pPr>
            <a:lvl5pPr marL="27416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5pPr>
            <a:lvl6pPr marL="3352213" indent="-304747" algn="l" defTabSz="609493" rtl="0" eaLnBrk="1" latinLnBrk="0" hangingPunct="1">
              <a:spcBef>
                <a:spcPct val="20000"/>
              </a:spcBef>
              <a:buFont typeface="Arial"/>
              <a:buChar char="•"/>
              <a:defRPr sz="2700" kern="1200">
                <a:solidFill>
                  <a:schemeClr val="tx1"/>
                </a:solidFill>
                <a:latin typeface="+mn-lt"/>
                <a:ea typeface="+mn-ea"/>
                <a:cs typeface="+mn-cs"/>
              </a:defRPr>
            </a:lvl6pPr>
            <a:lvl7pPr marL="3961707" indent="-304747" algn="l" defTabSz="609493" rtl="0" eaLnBrk="1" latinLnBrk="0" hangingPunct="1">
              <a:spcBef>
                <a:spcPct val="20000"/>
              </a:spcBef>
              <a:buFont typeface="Arial"/>
              <a:buChar char="•"/>
              <a:defRPr sz="2700" kern="1200">
                <a:solidFill>
                  <a:schemeClr val="tx1"/>
                </a:solidFill>
                <a:latin typeface="+mn-lt"/>
                <a:ea typeface="+mn-ea"/>
                <a:cs typeface="+mn-cs"/>
              </a:defRPr>
            </a:lvl7pPr>
            <a:lvl8pPr marL="4571200" indent="-304747" algn="l" defTabSz="609493" rtl="0" eaLnBrk="1" latinLnBrk="0" hangingPunct="1">
              <a:spcBef>
                <a:spcPct val="20000"/>
              </a:spcBef>
              <a:buFont typeface="Arial"/>
              <a:buChar char="•"/>
              <a:defRPr sz="2700" kern="1200">
                <a:solidFill>
                  <a:schemeClr val="tx1"/>
                </a:solidFill>
                <a:latin typeface="+mn-lt"/>
                <a:ea typeface="+mn-ea"/>
                <a:cs typeface="+mn-cs"/>
              </a:defRPr>
            </a:lvl8pPr>
            <a:lvl9pPr marL="5180693" indent="-304747" algn="l" defTabSz="609493" rtl="0" eaLnBrk="1" latinLnBrk="0" hangingPunct="1">
              <a:spcBef>
                <a:spcPct val="20000"/>
              </a:spcBef>
              <a:buFont typeface="Arial"/>
              <a:buChar char="•"/>
              <a:defRPr sz="2700" kern="1200">
                <a:solidFill>
                  <a:schemeClr val="tx1"/>
                </a:solidFill>
                <a:latin typeface="+mn-lt"/>
                <a:ea typeface="+mn-ea"/>
                <a:cs typeface="+mn-cs"/>
              </a:defRPr>
            </a:lvl9pPr>
          </a:lstStyle>
          <a:p>
            <a:pPr marL="0" lvl="1" indent="0">
              <a:buNone/>
            </a:pPr>
            <a:r>
              <a:rPr lang="en-US" sz="1100" dirty="0">
                <a:cs typeface="Arial" pitchFamily="34" charset="0"/>
              </a:rPr>
              <a:t>Create application packages from installers or installation procedures using </a:t>
            </a:r>
            <a:r>
              <a:rPr lang="en-US" sz="1100" b="1" dirty="0">
                <a:cs typeface="Arial" pitchFamily="34" charset="0"/>
              </a:rPr>
              <a:t>Server </a:t>
            </a:r>
            <a:r>
              <a:rPr lang="en-US" sz="1100" b="1" dirty="0" err="1">
                <a:cs typeface="Arial" pitchFamily="34" charset="0"/>
              </a:rPr>
              <a:t>App-V</a:t>
            </a:r>
            <a:endParaRPr lang="en-US" sz="1100" b="1" dirty="0">
              <a:cs typeface="Arial" pitchFamily="34" charset="0"/>
            </a:endParaRPr>
          </a:p>
        </p:txBody>
      </p:sp>
      <p:sp>
        <p:nvSpPr>
          <p:cNvPr id="13" name="Text Placeholder 27"/>
          <p:cNvSpPr txBox="1">
            <a:spLocks/>
          </p:cNvSpPr>
          <p:nvPr/>
        </p:nvSpPr>
        <p:spPr bwMode="auto">
          <a:xfrm>
            <a:off x="2636731" y="1175148"/>
            <a:ext cx="1865004" cy="357188"/>
          </a:xfrm>
          <a:prstGeom prst="rect">
            <a:avLst/>
          </a:prstGeom>
          <a:noFill/>
          <a:ln>
            <a:miter lim="800000"/>
            <a:headEnd/>
            <a:tailEnd/>
          </a:ln>
        </p:spPr>
        <p:txBody>
          <a:bodyPr wrap="square" lIns="68586" tIns="34294" rIns="68586" bIns="34294" numCol="1" anchor="t" anchorCtr="0" compatLnSpc="1">
            <a:prstTxWarp prst="textNoShape">
              <a:avLst/>
            </a:prstTxWarp>
          </a:bodyPr>
          <a:lstStyle>
            <a:lvl1pPr marL="455613" indent="-455613" algn="l" defTabSz="608013" rtl="0" fontAlgn="base">
              <a:spcBef>
                <a:spcPct val="20000"/>
              </a:spcBef>
              <a:spcAft>
                <a:spcPct val="0"/>
              </a:spcAft>
              <a:buFont typeface="Arial" pitchFamily="34" charset="0"/>
              <a:buChar char="•"/>
              <a:defRPr sz="2800" kern="1200">
                <a:solidFill>
                  <a:srgbClr val="FFFFFF"/>
                </a:solidFill>
                <a:latin typeface="+mn-lt"/>
                <a:ea typeface="+mn-ea"/>
                <a:cs typeface="Arial"/>
              </a:defRPr>
            </a:lvl1pPr>
            <a:lvl2pPr marL="989013" indent="-379413" algn="l" defTabSz="608013" rtl="0" fontAlgn="base">
              <a:spcBef>
                <a:spcPct val="20000"/>
              </a:spcBef>
              <a:spcAft>
                <a:spcPct val="0"/>
              </a:spcAft>
              <a:buFont typeface="Arial" pitchFamily="34" charset="0"/>
              <a:buChar char="–"/>
              <a:defRPr sz="2400" kern="1200">
                <a:solidFill>
                  <a:srgbClr val="FFFFFF"/>
                </a:solidFill>
                <a:latin typeface="+mn-lt"/>
                <a:ea typeface="+mn-ea"/>
                <a:cs typeface="Arial"/>
              </a:defRPr>
            </a:lvl2pPr>
            <a:lvl3pPr marL="1522413" indent="-303213" algn="l" defTabSz="608013" rtl="0" fontAlgn="base">
              <a:spcBef>
                <a:spcPct val="20000"/>
              </a:spcBef>
              <a:spcAft>
                <a:spcPct val="0"/>
              </a:spcAft>
              <a:buFont typeface="Arial" pitchFamily="34" charset="0"/>
              <a:buChar char="•"/>
              <a:defRPr kern="1200">
                <a:solidFill>
                  <a:srgbClr val="FFFFFF"/>
                </a:solidFill>
                <a:latin typeface="+mn-lt"/>
                <a:ea typeface="+mn-ea"/>
                <a:cs typeface="Arial"/>
              </a:defRPr>
            </a:lvl3pPr>
            <a:lvl4pPr marL="21320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4pPr>
            <a:lvl5pPr marL="27416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5pPr>
            <a:lvl6pPr marL="3352213" indent="-304747" algn="l" defTabSz="609493" rtl="0" eaLnBrk="1" latinLnBrk="0" hangingPunct="1">
              <a:spcBef>
                <a:spcPct val="20000"/>
              </a:spcBef>
              <a:buFont typeface="Arial"/>
              <a:buChar char="•"/>
              <a:defRPr sz="2700" kern="1200">
                <a:solidFill>
                  <a:schemeClr val="tx1"/>
                </a:solidFill>
                <a:latin typeface="+mn-lt"/>
                <a:ea typeface="+mn-ea"/>
                <a:cs typeface="+mn-cs"/>
              </a:defRPr>
            </a:lvl6pPr>
            <a:lvl7pPr marL="3961707" indent="-304747" algn="l" defTabSz="609493" rtl="0" eaLnBrk="1" latinLnBrk="0" hangingPunct="1">
              <a:spcBef>
                <a:spcPct val="20000"/>
              </a:spcBef>
              <a:buFont typeface="Arial"/>
              <a:buChar char="•"/>
              <a:defRPr sz="2700" kern="1200">
                <a:solidFill>
                  <a:schemeClr val="tx1"/>
                </a:solidFill>
                <a:latin typeface="+mn-lt"/>
                <a:ea typeface="+mn-ea"/>
                <a:cs typeface="+mn-cs"/>
              </a:defRPr>
            </a:lvl7pPr>
            <a:lvl8pPr marL="4571200" indent="-304747" algn="l" defTabSz="609493" rtl="0" eaLnBrk="1" latinLnBrk="0" hangingPunct="1">
              <a:spcBef>
                <a:spcPct val="20000"/>
              </a:spcBef>
              <a:buFont typeface="Arial"/>
              <a:buChar char="•"/>
              <a:defRPr sz="2700" kern="1200">
                <a:solidFill>
                  <a:schemeClr val="tx1"/>
                </a:solidFill>
                <a:latin typeface="+mn-lt"/>
                <a:ea typeface="+mn-ea"/>
                <a:cs typeface="+mn-cs"/>
              </a:defRPr>
            </a:lvl8pPr>
            <a:lvl9pPr marL="5180693" indent="-304747" algn="l" defTabSz="609493"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a:buNone/>
            </a:pPr>
            <a:r>
              <a:rPr lang="en-US" sz="1800" dirty="0">
                <a:solidFill>
                  <a:srgbClr val="3DB5F1"/>
                </a:solidFill>
                <a:cs typeface="Arial" pitchFamily="34" charset="0"/>
              </a:rPr>
              <a:t>DEPLOY</a:t>
            </a:r>
          </a:p>
        </p:txBody>
      </p:sp>
      <p:sp>
        <p:nvSpPr>
          <p:cNvPr id="14" name="Text Placeholder 28"/>
          <p:cNvSpPr txBox="1">
            <a:spLocks/>
          </p:cNvSpPr>
          <p:nvPr/>
        </p:nvSpPr>
        <p:spPr bwMode="auto">
          <a:xfrm>
            <a:off x="2742724" y="3086099"/>
            <a:ext cx="1714946" cy="1126332"/>
          </a:xfrm>
          <a:prstGeom prst="rect">
            <a:avLst/>
          </a:prstGeom>
          <a:noFill/>
          <a:ln>
            <a:miter lim="800000"/>
            <a:headEnd/>
            <a:tailEnd/>
          </a:ln>
        </p:spPr>
        <p:txBody>
          <a:bodyPr wrap="square" lIns="68586" tIns="34294" rIns="68586" bIns="34294" numCol="1" anchor="t" anchorCtr="0" compatLnSpc="1">
            <a:prstTxWarp prst="textNoShape">
              <a:avLst/>
            </a:prstTxWarp>
          </a:bodyPr>
          <a:lstStyle>
            <a:lvl1pPr marL="455613" indent="-455613" algn="l" defTabSz="608013" rtl="0" fontAlgn="base">
              <a:spcBef>
                <a:spcPct val="20000"/>
              </a:spcBef>
              <a:spcAft>
                <a:spcPct val="0"/>
              </a:spcAft>
              <a:buFont typeface="Arial" pitchFamily="34" charset="0"/>
              <a:buChar char="•"/>
              <a:defRPr sz="2800" kern="1200">
                <a:solidFill>
                  <a:srgbClr val="FFFFFF"/>
                </a:solidFill>
                <a:latin typeface="+mn-lt"/>
                <a:ea typeface="+mn-ea"/>
                <a:cs typeface="Arial"/>
              </a:defRPr>
            </a:lvl1pPr>
            <a:lvl2pPr marL="989013" indent="-379413" algn="l" defTabSz="608013" rtl="0" fontAlgn="base">
              <a:spcBef>
                <a:spcPct val="20000"/>
              </a:spcBef>
              <a:spcAft>
                <a:spcPct val="0"/>
              </a:spcAft>
              <a:buFont typeface="Arial" pitchFamily="34" charset="0"/>
              <a:buChar char="–"/>
              <a:defRPr sz="2400" kern="1200">
                <a:solidFill>
                  <a:srgbClr val="FFFFFF"/>
                </a:solidFill>
                <a:latin typeface="+mn-lt"/>
                <a:ea typeface="+mn-ea"/>
                <a:cs typeface="Arial"/>
              </a:defRPr>
            </a:lvl2pPr>
            <a:lvl3pPr marL="1522413" indent="-303213" algn="l" defTabSz="608013" rtl="0" fontAlgn="base">
              <a:spcBef>
                <a:spcPct val="20000"/>
              </a:spcBef>
              <a:spcAft>
                <a:spcPct val="0"/>
              </a:spcAft>
              <a:buFont typeface="Arial" pitchFamily="34" charset="0"/>
              <a:buChar char="•"/>
              <a:defRPr kern="1200">
                <a:solidFill>
                  <a:srgbClr val="FFFFFF"/>
                </a:solidFill>
                <a:latin typeface="+mn-lt"/>
                <a:ea typeface="+mn-ea"/>
                <a:cs typeface="Arial"/>
              </a:defRPr>
            </a:lvl3pPr>
            <a:lvl4pPr marL="21320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4pPr>
            <a:lvl5pPr marL="27416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5pPr>
            <a:lvl6pPr marL="3352213" indent="-304747" algn="l" defTabSz="609493" rtl="0" eaLnBrk="1" latinLnBrk="0" hangingPunct="1">
              <a:spcBef>
                <a:spcPct val="20000"/>
              </a:spcBef>
              <a:buFont typeface="Arial"/>
              <a:buChar char="•"/>
              <a:defRPr sz="2700" kern="1200">
                <a:solidFill>
                  <a:schemeClr val="tx1"/>
                </a:solidFill>
                <a:latin typeface="+mn-lt"/>
                <a:ea typeface="+mn-ea"/>
                <a:cs typeface="+mn-cs"/>
              </a:defRPr>
            </a:lvl6pPr>
            <a:lvl7pPr marL="3961707" indent="-304747" algn="l" defTabSz="609493" rtl="0" eaLnBrk="1" latinLnBrk="0" hangingPunct="1">
              <a:spcBef>
                <a:spcPct val="20000"/>
              </a:spcBef>
              <a:buFont typeface="Arial"/>
              <a:buChar char="•"/>
              <a:defRPr sz="2700" kern="1200">
                <a:solidFill>
                  <a:schemeClr val="tx1"/>
                </a:solidFill>
                <a:latin typeface="+mn-lt"/>
                <a:ea typeface="+mn-ea"/>
                <a:cs typeface="+mn-cs"/>
              </a:defRPr>
            </a:lvl7pPr>
            <a:lvl8pPr marL="4571200" indent="-304747" algn="l" defTabSz="609493" rtl="0" eaLnBrk="1" latinLnBrk="0" hangingPunct="1">
              <a:spcBef>
                <a:spcPct val="20000"/>
              </a:spcBef>
              <a:buFont typeface="Arial"/>
              <a:buChar char="•"/>
              <a:defRPr sz="2700" kern="1200">
                <a:solidFill>
                  <a:schemeClr val="tx1"/>
                </a:solidFill>
                <a:latin typeface="+mn-lt"/>
                <a:ea typeface="+mn-ea"/>
                <a:cs typeface="+mn-cs"/>
              </a:defRPr>
            </a:lvl8pPr>
            <a:lvl9pPr marL="5180693" indent="-304747" algn="l" defTabSz="609493" rtl="0" eaLnBrk="1" latinLnBrk="0" hangingPunct="1">
              <a:spcBef>
                <a:spcPct val="20000"/>
              </a:spcBef>
              <a:buFont typeface="Arial"/>
              <a:buChar char="•"/>
              <a:defRPr sz="2700" kern="1200">
                <a:solidFill>
                  <a:schemeClr val="tx1"/>
                </a:solidFill>
                <a:latin typeface="+mn-lt"/>
                <a:ea typeface="+mn-ea"/>
                <a:cs typeface="+mn-cs"/>
              </a:defRPr>
            </a:lvl9pPr>
          </a:lstStyle>
          <a:p>
            <a:pPr marL="0" lvl="1" indent="0">
              <a:buNone/>
            </a:pPr>
            <a:r>
              <a:rPr lang="en-US" sz="1100" dirty="0">
                <a:cs typeface="Arial" pitchFamily="34" charset="0"/>
              </a:rPr>
              <a:t>Deploy and configure applications in a reliable and repeatable way through application profiles and </a:t>
            </a:r>
            <a:r>
              <a:rPr lang="en-US" sz="1100" b="1" dirty="0">
                <a:cs typeface="Arial" pitchFamily="34" charset="0"/>
              </a:rPr>
              <a:t>Service Templates</a:t>
            </a:r>
          </a:p>
        </p:txBody>
      </p:sp>
      <p:sp>
        <p:nvSpPr>
          <p:cNvPr id="15" name="Text Placeholder 29"/>
          <p:cNvSpPr txBox="1">
            <a:spLocks/>
          </p:cNvSpPr>
          <p:nvPr/>
        </p:nvSpPr>
        <p:spPr bwMode="auto">
          <a:xfrm>
            <a:off x="4673229" y="1183483"/>
            <a:ext cx="1863814" cy="355997"/>
          </a:xfrm>
          <a:prstGeom prst="rect">
            <a:avLst/>
          </a:prstGeom>
          <a:noFill/>
          <a:ln>
            <a:miter lim="800000"/>
            <a:headEnd/>
            <a:tailEnd/>
          </a:ln>
        </p:spPr>
        <p:txBody>
          <a:bodyPr wrap="square" lIns="68586" tIns="34294" rIns="68586" bIns="34294" numCol="1" anchor="t" anchorCtr="0" compatLnSpc="1">
            <a:prstTxWarp prst="textNoShape">
              <a:avLst/>
            </a:prstTxWarp>
          </a:bodyPr>
          <a:lstStyle>
            <a:lvl1pPr marL="455613" indent="-455613" algn="l" defTabSz="608013" rtl="0" fontAlgn="base">
              <a:spcBef>
                <a:spcPct val="20000"/>
              </a:spcBef>
              <a:spcAft>
                <a:spcPct val="0"/>
              </a:spcAft>
              <a:buFont typeface="Arial" pitchFamily="34" charset="0"/>
              <a:buChar char="•"/>
              <a:defRPr sz="2800" kern="1200">
                <a:solidFill>
                  <a:srgbClr val="FFFFFF"/>
                </a:solidFill>
                <a:latin typeface="+mn-lt"/>
                <a:ea typeface="+mn-ea"/>
                <a:cs typeface="Arial"/>
              </a:defRPr>
            </a:lvl1pPr>
            <a:lvl2pPr marL="989013" indent="-379413" algn="l" defTabSz="608013" rtl="0" fontAlgn="base">
              <a:spcBef>
                <a:spcPct val="20000"/>
              </a:spcBef>
              <a:spcAft>
                <a:spcPct val="0"/>
              </a:spcAft>
              <a:buFont typeface="Arial" pitchFamily="34" charset="0"/>
              <a:buChar char="–"/>
              <a:defRPr sz="2400" kern="1200">
                <a:solidFill>
                  <a:srgbClr val="FFFFFF"/>
                </a:solidFill>
                <a:latin typeface="+mn-lt"/>
                <a:ea typeface="+mn-ea"/>
                <a:cs typeface="Arial"/>
              </a:defRPr>
            </a:lvl2pPr>
            <a:lvl3pPr marL="1522413" indent="-303213" algn="l" defTabSz="608013" rtl="0" fontAlgn="base">
              <a:spcBef>
                <a:spcPct val="20000"/>
              </a:spcBef>
              <a:spcAft>
                <a:spcPct val="0"/>
              </a:spcAft>
              <a:buFont typeface="Arial" pitchFamily="34" charset="0"/>
              <a:buChar char="•"/>
              <a:defRPr kern="1200">
                <a:solidFill>
                  <a:srgbClr val="FFFFFF"/>
                </a:solidFill>
                <a:latin typeface="+mn-lt"/>
                <a:ea typeface="+mn-ea"/>
                <a:cs typeface="Arial"/>
              </a:defRPr>
            </a:lvl3pPr>
            <a:lvl4pPr marL="21320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4pPr>
            <a:lvl5pPr marL="27416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5pPr>
            <a:lvl6pPr marL="3352213" indent="-304747" algn="l" defTabSz="609493" rtl="0" eaLnBrk="1" latinLnBrk="0" hangingPunct="1">
              <a:spcBef>
                <a:spcPct val="20000"/>
              </a:spcBef>
              <a:buFont typeface="Arial"/>
              <a:buChar char="•"/>
              <a:defRPr sz="2700" kern="1200">
                <a:solidFill>
                  <a:schemeClr val="tx1"/>
                </a:solidFill>
                <a:latin typeface="+mn-lt"/>
                <a:ea typeface="+mn-ea"/>
                <a:cs typeface="+mn-cs"/>
              </a:defRPr>
            </a:lvl6pPr>
            <a:lvl7pPr marL="3961707" indent="-304747" algn="l" defTabSz="609493" rtl="0" eaLnBrk="1" latinLnBrk="0" hangingPunct="1">
              <a:spcBef>
                <a:spcPct val="20000"/>
              </a:spcBef>
              <a:buFont typeface="Arial"/>
              <a:buChar char="•"/>
              <a:defRPr sz="2700" kern="1200">
                <a:solidFill>
                  <a:schemeClr val="tx1"/>
                </a:solidFill>
                <a:latin typeface="+mn-lt"/>
                <a:ea typeface="+mn-ea"/>
                <a:cs typeface="+mn-cs"/>
              </a:defRPr>
            </a:lvl7pPr>
            <a:lvl8pPr marL="4571200" indent="-304747" algn="l" defTabSz="609493" rtl="0" eaLnBrk="1" latinLnBrk="0" hangingPunct="1">
              <a:spcBef>
                <a:spcPct val="20000"/>
              </a:spcBef>
              <a:buFont typeface="Arial"/>
              <a:buChar char="•"/>
              <a:defRPr sz="2700" kern="1200">
                <a:solidFill>
                  <a:schemeClr val="tx1"/>
                </a:solidFill>
                <a:latin typeface="+mn-lt"/>
                <a:ea typeface="+mn-ea"/>
                <a:cs typeface="+mn-cs"/>
              </a:defRPr>
            </a:lvl8pPr>
            <a:lvl9pPr marL="5180693" indent="-304747" algn="l" defTabSz="609493"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a:buNone/>
            </a:pPr>
            <a:r>
              <a:rPr lang="en-US" sz="1800" dirty="0">
                <a:solidFill>
                  <a:srgbClr val="3DB5F1"/>
                </a:solidFill>
                <a:cs typeface="Arial" pitchFamily="34" charset="0"/>
              </a:rPr>
              <a:t>UPDATE</a:t>
            </a:r>
          </a:p>
        </p:txBody>
      </p:sp>
      <p:sp>
        <p:nvSpPr>
          <p:cNvPr id="16" name="Text Placeholder 30"/>
          <p:cNvSpPr txBox="1">
            <a:spLocks/>
          </p:cNvSpPr>
          <p:nvPr/>
        </p:nvSpPr>
        <p:spPr bwMode="auto">
          <a:xfrm>
            <a:off x="4743496" y="3086100"/>
            <a:ext cx="1772111" cy="1134667"/>
          </a:xfrm>
          <a:prstGeom prst="rect">
            <a:avLst/>
          </a:prstGeom>
          <a:noFill/>
          <a:ln>
            <a:miter lim="800000"/>
            <a:headEnd/>
            <a:tailEnd/>
          </a:ln>
        </p:spPr>
        <p:txBody>
          <a:bodyPr wrap="square" lIns="68586" tIns="34294" rIns="68586" bIns="34294" numCol="1" anchor="t" anchorCtr="0" compatLnSpc="1">
            <a:prstTxWarp prst="textNoShape">
              <a:avLst/>
            </a:prstTxWarp>
          </a:bodyPr>
          <a:lstStyle>
            <a:lvl1pPr marL="455613" indent="-455613" algn="l" defTabSz="608013" rtl="0" fontAlgn="base">
              <a:spcBef>
                <a:spcPct val="20000"/>
              </a:spcBef>
              <a:spcAft>
                <a:spcPct val="0"/>
              </a:spcAft>
              <a:buFont typeface="Arial" pitchFamily="34" charset="0"/>
              <a:buChar char="•"/>
              <a:defRPr sz="2800" kern="1200">
                <a:solidFill>
                  <a:srgbClr val="FFFFFF"/>
                </a:solidFill>
                <a:latin typeface="+mn-lt"/>
                <a:ea typeface="+mn-ea"/>
                <a:cs typeface="Arial"/>
              </a:defRPr>
            </a:lvl1pPr>
            <a:lvl2pPr marL="989013" indent="-379413" algn="l" defTabSz="608013" rtl="0" fontAlgn="base">
              <a:spcBef>
                <a:spcPct val="20000"/>
              </a:spcBef>
              <a:spcAft>
                <a:spcPct val="0"/>
              </a:spcAft>
              <a:buFont typeface="Arial" pitchFamily="34" charset="0"/>
              <a:buChar char="–"/>
              <a:defRPr sz="2400" kern="1200">
                <a:solidFill>
                  <a:srgbClr val="FFFFFF"/>
                </a:solidFill>
                <a:latin typeface="+mn-lt"/>
                <a:ea typeface="+mn-ea"/>
                <a:cs typeface="Arial"/>
              </a:defRPr>
            </a:lvl2pPr>
            <a:lvl3pPr marL="1522413" indent="-303213" algn="l" defTabSz="608013" rtl="0" fontAlgn="base">
              <a:spcBef>
                <a:spcPct val="20000"/>
              </a:spcBef>
              <a:spcAft>
                <a:spcPct val="0"/>
              </a:spcAft>
              <a:buFont typeface="Arial" pitchFamily="34" charset="0"/>
              <a:buChar char="•"/>
              <a:defRPr kern="1200">
                <a:solidFill>
                  <a:srgbClr val="FFFFFF"/>
                </a:solidFill>
                <a:latin typeface="+mn-lt"/>
                <a:ea typeface="+mn-ea"/>
                <a:cs typeface="Arial"/>
              </a:defRPr>
            </a:lvl3pPr>
            <a:lvl4pPr marL="21320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4pPr>
            <a:lvl5pPr marL="27416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5pPr>
            <a:lvl6pPr marL="3352213" indent="-304747" algn="l" defTabSz="609493" rtl="0" eaLnBrk="1" latinLnBrk="0" hangingPunct="1">
              <a:spcBef>
                <a:spcPct val="20000"/>
              </a:spcBef>
              <a:buFont typeface="Arial"/>
              <a:buChar char="•"/>
              <a:defRPr sz="2700" kern="1200">
                <a:solidFill>
                  <a:schemeClr val="tx1"/>
                </a:solidFill>
                <a:latin typeface="+mn-lt"/>
                <a:ea typeface="+mn-ea"/>
                <a:cs typeface="+mn-cs"/>
              </a:defRPr>
            </a:lvl6pPr>
            <a:lvl7pPr marL="3961707" indent="-304747" algn="l" defTabSz="609493" rtl="0" eaLnBrk="1" latinLnBrk="0" hangingPunct="1">
              <a:spcBef>
                <a:spcPct val="20000"/>
              </a:spcBef>
              <a:buFont typeface="Arial"/>
              <a:buChar char="•"/>
              <a:defRPr sz="2700" kern="1200">
                <a:solidFill>
                  <a:schemeClr val="tx1"/>
                </a:solidFill>
                <a:latin typeface="+mn-lt"/>
                <a:ea typeface="+mn-ea"/>
                <a:cs typeface="+mn-cs"/>
              </a:defRPr>
            </a:lvl7pPr>
            <a:lvl8pPr marL="4571200" indent="-304747" algn="l" defTabSz="609493" rtl="0" eaLnBrk="1" latinLnBrk="0" hangingPunct="1">
              <a:spcBef>
                <a:spcPct val="20000"/>
              </a:spcBef>
              <a:buFont typeface="Arial"/>
              <a:buChar char="•"/>
              <a:defRPr sz="2700" kern="1200">
                <a:solidFill>
                  <a:schemeClr val="tx1"/>
                </a:solidFill>
                <a:latin typeface="+mn-lt"/>
                <a:ea typeface="+mn-ea"/>
                <a:cs typeface="+mn-cs"/>
              </a:defRPr>
            </a:lvl8pPr>
            <a:lvl9pPr marL="5180693" indent="-304747" algn="l" defTabSz="609493" rtl="0" eaLnBrk="1" latinLnBrk="0" hangingPunct="1">
              <a:spcBef>
                <a:spcPct val="20000"/>
              </a:spcBef>
              <a:buFont typeface="Arial"/>
              <a:buChar char="•"/>
              <a:defRPr sz="2700" kern="1200">
                <a:solidFill>
                  <a:schemeClr val="tx1"/>
                </a:solidFill>
                <a:latin typeface="+mn-lt"/>
                <a:ea typeface="+mn-ea"/>
                <a:cs typeface="+mn-cs"/>
              </a:defRPr>
            </a:lvl9pPr>
          </a:lstStyle>
          <a:p>
            <a:pPr marL="0" lvl="1" indent="0">
              <a:buNone/>
            </a:pPr>
            <a:r>
              <a:rPr lang="en-US" sz="1100" dirty="0">
                <a:cs typeface="Arial" pitchFamily="34" charset="0"/>
              </a:rPr>
              <a:t>Easily update applications that have previously been deployed through </a:t>
            </a:r>
            <a:r>
              <a:rPr lang="en-US" sz="1100" b="1" dirty="0">
                <a:cs typeface="Arial" pitchFamily="34" charset="0"/>
              </a:rPr>
              <a:t>self-service application management</a:t>
            </a:r>
          </a:p>
        </p:txBody>
      </p:sp>
      <p:sp>
        <p:nvSpPr>
          <p:cNvPr id="17" name="Text Placeholder 31"/>
          <p:cNvSpPr txBox="1">
            <a:spLocks/>
          </p:cNvSpPr>
          <p:nvPr/>
        </p:nvSpPr>
        <p:spPr bwMode="auto">
          <a:xfrm>
            <a:off x="6739503" y="1193007"/>
            <a:ext cx="1865004" cy="357188"/>
          </a:xfrm>
          <a:prstGeom prst="rect">
            <a:avLst/>
          </a:prstGeom>
          <a:noFill/>
          <a:ln>
            <a:miter lim="800000"/>
            <a:headEnd/>
            <a:tailEnd/>
          </a:ln>
        </p:spPr>
        <p:txBody>
          <a:bodyPr wrap="square" lIns="68586" tIns="34294" rIns="68586" bIns="34294" numCol="1" anchor="t" anchorCtr="0" compatLnSpc="1">
            <a:prstTxWarp prst="textNoShape">
              <a:avLst/>
            </a:prstTxWarp>
          </a:bodyPr>
          <a:lstStyle>
            <a:lvl1pPr marL="455613" indent="-455613" algn="l" defTabSz="608013" rtl="0" fontAlgn="base">
              <a:spcBef>
                <a:spcPct val="20000"/>
              </a:spcBef>
              <a:spcAft>
                <a:spcPct val="0"/>
              </a:spcAft>
              <a:buFont typeface="Arial" pitchFamily="34" charset="0"/>
              <a:buChar char="•"/>
              <a:defRPr sz="2800" kern="1200">
                <a:solidFill>
                  <a:srgbClr val="FFFFFF"/>
                </a:solidFill>
                <a:latin typeface="+mn-lt"/>
                <a:ea typeface="+mn-ea"/>
                <a:cs typeface="Arial"/>
              </a:defRPr>
            </a:lvl1pPr>
            <a:lvl2pPr marL="989013" indent="-379413" algn="l" defTabSz="608013" rtl="0" fontAlgn="base">
              <a:spcBef>
                <a:spcPct val="20000"/>
              </a:spcBef>
              <a:spcAft>
                <a:spcPct val="0"/>
              </a:spcAft>
              <a:buFont typeface="Arial" pitchFamily="34" charset="0"/>
              <a:buChar char="–"/>
              <a:defRPr sz="2400" kern="1200">
                <a:solidFill>
                  <a:srgbClr val="FFFFFF"/>
                </a:solidFill>
                <a:latin typeface="+mn-lt"/>
                <a:ea typeface="+mn-ea"/>
                <a:cs typeface="Arial"/>
              </a:defRPr>
            </a:lvl2pPr>
            <a:lvl3pPr marL="1522413" indent="-303213" algn="l" defTabSz="608013" rtl="0" fontAlgn="base">
              <a:spcBef>
                <a:spcPct val="20000"/>
              </a:spcBef>
              <a:spcAft>
                <a:spcPct val="0"/>
              </a:spcAft>
              <a:buFont typeface="Arial" pitchFamily="34" charset="0"/>
              <a:buChar char="•"/>
              <a:defRPr kern="1200">
                <a:solidFill>
                  <a:srgbClr val="FFFFFF"/>
                </a:solidFill>
                <a:latin typeface="+mn-lt"/>
                <a:ea typeface="+mn-ea"/>
                <a:cs typeface="Arial"/>
              </a:defRPr>
            </a:lvl3pPr>
            <a:lvl4pPr marL="21320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4pPr>
            <a:lvl5pPr marL="27416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5pPr>
            <a:lvl6pPr marL="3352213" indent="-304747" algn="l" defTabSz="609493" rtl="0" eaLnBrk="1" latinLnBrk="0" hangingPunct="1">
              <a:spcBef>
                <a:spcPct val="20000"/>
              </a:spcBef>
              <a:buFont typeface="Arial"/>
              <a:buChar char="•"/>
              <a:defRPr sz="2700" kern="1200">
                <a:solidFill>
                  <a:schemeClr val="tx1"/>
                </a:solidFill>
                <a:latin typeface="+mn-lt"/>
                <a:ea typeface="+mn-ea"/>
                <a:cs typeface="+mn-cs"/>
              </a:defRPr>
            </a:lvl6pPr>
            <a:lvl7pPr marL="3961707" indent="-304747" algn="l" defTabSz="609493" rtl="0" eaLnBrk="1" latinLnBrk="0" hangingPunct="1">
              <a:spcBef>
                <a:spcPct val="20000"/>
              </a:spcBef>
              <a:buFont typeface="Arial"/>
              <a:buChar char="•"/>
              <a:defRPr sz="2700" kern="1200">
                <a:solidFill>
                  <a:schemeClr val="tx1"/>
                </a:solidFill>
                <a:latin typeface="+mn-lt"/>
                <a:ea typeface="+mn-ea"/>
                <a:cs typeface="+mn-cs"/>
              </a:defRPr>
            </a:lvl7pPr>
            <a:lvl8pPr marL="4571200" indent="-304747" algn="l" defTabSz="609493" rtl="0" eaLnBrk="1" latinLnBrk="0" hangingPunct="1">
              <a:spcBef>
                <a:spcPct val="20000"/>
              </a:spcBef>
              <a:buFont typeface="Arial"/>
              <a:buChar char="•"/>
              <a:defRPr sz="2700" kern="1200">
                <a:solidFill>
                  <a:schemeClr val="tx1"/>
                </a:solidFill>
                <a:latin typeface="+mn-lt"/>
                <a:ea typeface="+mn-ea"/>
                <a:cs typeface="+mn-cs"/>
              </a:defRPr>
            </a:lvl8pPr>
            <a:lvl9pPr marL="5180693" indent="-304747" algn="l" defTabSz="609493"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a:buNone/>
            </a:pPr>
            <a:r>
              <a:rPr lang="en-US" sz="1800" dirty="0">
                <a:solidFill>
                  <a:srgbClr val="3DB5F1"/>
                </a:solidFill>
                <a:cs typeface="Arial" pitchFamily="34" charset="0"/>
              </a:rPr>
              <a:t>AVAILABLE</a:t>
            </a:r>
          </a:p>
        </p:txBody>
      </p:sp>
      <p:sp>
        <p:nvSpPr>
          <p:cNvPr id="18" name="Text Placeholder 32"/>
          <p:cNvSpPr txBox="1">
            <a:spLocks/>
          </p:cNvSpPr>
          <p:nvPr/>
        </p:nvSpPr>
        <p:spPr bwMode="auto">
          <a:xfrm>
            <a:off x="6801432" y="3086099"/>
            <a:ext cx="1772111" cy="1144193"/>
          </a:xfrm>
          <a:prstGeom prst="rect">
            <a:avLst/>
          </a:prstGeom>
          <a:noFill/>
          <a:ln>
            <a:miter lim="800000"/>
            <a:headEnd/>
            <a:tailEnd/>
          </a:ln>
        </p:spPr>
        <p:txBody>
          <a:bodyPr wrap="square" lIns="68586" tIns="34294" rIns="68586" bIns="34294" numCol="1" anchor="t" anchorCtr="0" compatLnSpc="1">
            <a:prstTxWarp prst="textNoShape">
              <a:avLst/>
            </a:prstTxWarp>
          </a:bodyPr>
          <a:lstStyle>
            <a:lvl1pPr marL="455613" indent="-455613" algn="l" defTabSz="608013" rtl="0" fontAlgn="base">
              <a:spcBef>
                <a:spcPct val="20000"/>
              </a:spcBef>
              <a:spcAft>
                <a:spcPct val="0"/>
              </a:spcAft>
              <a:buFont typeface="Arial" pitchFamily="34" charset="0"/>
              <a:buChar char="•"/>
              <a:defRPr sz="2800" kern="1200">
                <a:solidFill>
                  <a:srgbClr val="FFFFFF"/>
                </a:solidFill>
                <a:latin typeface="+mn-lt"/>
                <a:ea typeface="+mn-ea"/>
                <a:cs typeface="Arial"/>
              </a:defRPr>
            </a:lvl1pPr>
            <a:lvl2pPr marL="989013" indent="-379413" algn="l" defTabSz="608013" rtl="0" fontAlgn="base">
              <a:spcBef>
                <a:spcPct val="20000"/>
              </a:spcBef>
              <a:spcAft>
                <a:spcPct val="0"/>
              </a:spcAft>
              <a:buFont typeface="Arial" pitchFamily="34" charset="0"/>
              <a:buChar char="–"/>
              <a:defRPr sz="2400" kern="1200">
                <a:solidFill>
                  <a:srgbClr val="FFFFFF"/>
                </a:solidFill>
                <a:latin typeface="+mn-lt"/>
                <a:ea typeface="+mn-ea"/>
                <a:cs typeface="Arial"/>
              </a:defRPr>
            </a:lvl2pPr>
            <a:lvl3pPr marL="1522413" indent="-303213" algn="l" defTabSz="608013" rtl="0" fontAlgn="base">
              <a:spcBef>
                <a:spcPct val="20000"/>
              </a:spcBef>
              <a:spcAft>
                <a:spcPct val="0"/>
              </a:spcAft>
              <a:buFont typeface="Arial" pitchFamily="34" charset="0"/>
              <a:buChar char="•"/>
              <a:defRPr kern="1200">
                <a:solidFill>
                  <a:srgbClr val="FFFFFF"/>
                </a:solidFill>
                <a:latin typeface="+mn-lt"/>
                <a:ea typeface="+mn-ea"/>
                <a:cs typeface="Arial"/>
              </a:defRPr>
            </a:lvl3pPr>
            <a:lvl4pPr marL="21320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4pPr>
            <a:lvl5pPr marL="27416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5pPr>
            <a:lvl6pPr marL="3352213" indent="-304747" algn="l" defTabSz="609493" rtl="0" eaLnBrk="1" latinLnBrk="0" hangingPunct="1">
              <a:spcBef>
                <a:spcPct val="20000"/>
              </a:spcBef>
              <a:buFont typeface="Arial"/>
              <a:buChar char="•"/>
              <a:defRPr sz="2700" kern="1200">
                <a:solidFill>
                  <a:schemeClr val="tx1"/>
                </a:solidFill>
                <a:latin typeface="+mn-lt"/>
                <a:ea typeface="+mn-ea"/>
                <a:cs typeface="+mn-cs"/>
              </a:defRPr>
            </a:lvl6pPr>
            <a:lvl7pPr marL="3961707" indent="-304747" algn="l" defTabSz="609493" rtl="0" eaLnBrk="1" latinLnBrk="0" hangingPunct="1">
              <a:spcBef>
                <a:spcPct val="20000"/>
              </a:spcBef>
              <a:buFont typeface="Arial"/>
              <a:buChar char="•"/>
              <a:defRPr sz="2700" kern="1200">
                <a:solidFill>
                  <a:schemeClr val="tx1"/>
                </a:solidFill>
                <a:latin typeface="+mn-lt"/>
                <a:ea typeface="+mn-ea"/>
                <a:cs typeface="+mn-cs"/>
              </a:defRPr>
            </a:lvl7pPr>
            <a:lvl8pPr marL="4571200" indent="-304747" algn="l" defTabSz="609493" rtl="0" eaLnBrk="1" latinLnBrk="0" hangingPunct="1">
              <a:spcBef>
                <a:spcPct val="20000"/>
              </a:spcBef>
              <a:buFont typeface="Arial"/>
              <a:buChar char="•"/>
              <a:defRPr sz="2700" kern="1200">
                <a:solidFill>
                  <a:schemeClr val="tx1"/>
                </a:solidFill>
                <a:latin typeface="+mn-lt"/>
                <a:ea typeface="+mn-ea"/>
                <a:cs typeface="+mn-cs"/>
              </a:defRPr>
            </a:lvl8pPr>
            <a:lvl9pPr marL="5180693" indent="-304747" algn="l" defTabSz="609493" rtl="0" eaLnBrk="1" latinLnBrk="0" hangingPunct="1">
              <a:spcBef>
                <a:spcPct val="20000"/>
              </a:spcBef>
              <a:buFont typeface="Arial"/>
              <a:buChar char="•"/>
              <a:defRPr sz="2700" kern="1200">
                <a:solidFill>
                  <a:schemeClr val="tx1"/>
                </a:solidFill>
                <a:latin typeface="+mn-lt"/>
                <a:ea typeface="+mn-ea"/>
                <a:cs typeface="+mn-cs"/>
              </a:defRPr>
            </a:lvl9pPr>
          </a:lstStyle>
          <a:p>
            <a:pPr marL="0" lvl="1" indent="0">
              <a:buNone/>
            </a:pPr>
            <a:r>
              <a:rPr lang="en-US" sz="1100" dirty="0">
                <a:cs typeface="Arial" pitchFamily="34" charset="0"/>
              </a:rPr>
              <a:t>Update the underlying operating system without losing deployed application state through </a:t>
            </a:r>
            <a:r>
              <a:rPr lang="en-US" sz="1100" b="1" dirty="0">
                <a:cs typeface="Arial" pitchFamily="34" charset="0"/>
              </a:rPr>
              <a:t>application abstraction</a:t>
            </a:r>
          </a:p>
        </p:txBody>
      </p:sp>
      <p:pic>
        <p:nvPicPr>
          <p:cNvPr id="19" name="Picture 5"/>
          <p:cNvPicPr>
            <a:picLocks noChangeAspect="1" noChangeArrowheads="1"/>
          </p:cNvPicPr>
          <p:nvPr/>
        </p:nvPicPr>
        <p:blipFill>
          <a:blip r:embed="rId2"/>
          <a:srcRect/>
          <a:stretch>
            <a:fillRect/>
          </a:stretch>
        </p:blipFill>
        <p:spPr bwMode="auto">
          <a:xfrm>
            <a:off x="3066658" y="1662114"/>
            <a:ext cx="933693" cy="1132285"/>
          </a:xfrm>
          <a:prstGeom prst="rect">
            <a:avLst/>
          </a:prstGeom>
          <a:noFill/>
          <a:ln w="9525">
            <a:noFill/>
            <a:miter lim="800000"/>
            <a:headEnd/>
            <a:tailEnd/>
          </a:ln>
        </p:spPr>
      </p:pic>
      <p:pic>
        <p:nvPicPr>
          <p:cNvPr id="20" name="Picture 20"/>
          <p:cNvPicPr>
            <a:picLocks noChangeAspect="1"/>
          </p:cNvPicPr>
          <p:nvPr/>
        </p:nvPicPr>
        <p:blipFill>
          <a:blip r:embed="rId3"/>
          <a:srcRect/>
          <a:stretch>
            <a:fillRect/>
          </a:stretch>
        </p:blipFill>
        <p:spPr bwMode="auto">
          <a:xfrm>
            <a:off x="5048376" y="1659733"/>
            <a:ext cx="1206417" cy="1175147"/>
          </a:xfrm>
          <a:prstGeom prst="rect">
            <a:avLst/>
          </a:prstGeom>
          <a:noFill/>
          <a:ln w="9525">
            <a:noFill/>
            <a:miter lim="800000"/>
            <a:headEnd/>
            <a:tailEnd/>
          </a:ln>
        </p:spPr>
      </p:pic>
      <p:pic>
        <p:nvPicPr>
          <p:cNvPr id="21" name="Picture 21"/>
          <p:cNvPicPr>
            <a:picLocks noChangeAspect="1"/>
          </p:cNvPicPr>
          <p:nvPr/>
        </p:nvPicPr>
        <p:blipFill>
          <a:blip r:embed="rId4"/>
          <a:srcRect/>
          <a:stretch>
            <a:fillRect/>
          </a:stretch>
        </p:blipFill>
        <p:spPr bwMode="auto">
          <a:xfrm>
            <a:off x="7144421" y="1702594"/>
            <a:ext cx="1126625" cy="964406"/>
          </a:xfrm>
          <a:prstGeom prst="rect">
            <a:avLst/>
          </a:prstGeom>
          <a:noFill/>
          <a:ln w="9525">
            <a:noFill/>
            <a:miter lim="800000"/>
            <a:headEnd/>
            <a:tailEnd/>
          </a:ln>
        </p:spPr>
      </p:pic>
      <p:grpSp>
        <p:nvGrpSpPr>
          <p:cNvPr id="22" name="Group 22"/>
          <p:cNvGrpSpPr>
            <a:grpSpLocks/>
          </p:cNvGrpSpPr>
          <p:nvPr/>
        </p:nvGrpSpPr>
        <p:grpSpPr bwMode="auto">
          <a:xfrm>
            <a:off x="856283" y="1543052"/>
            <a:ext cx="1292164" cy="1316831"/>
            <a:chOff x="786431" y="2301057"/>
            <a:chExt cx="1722844" cy="1755350"/>
          </a:xfrm>
        </p:grpSpPr>
        <p:pic>
          <p:nvPicPr>
            <p:cNvPr id="23" name="Picture 23"/>
            <p:cNvPicPr>
              <a:picLocks noChangeAspect="1"/>
            </p:cNvPicPr>
            <p:nvPr/>
          </p:nvPicPr>
          <p:blipFill>
            <a:blip r:embed="rId5"/>
            <a:srcRect/>
            <a:stretch>
              <a:fillRect/>
            </a:stretch>
          </p:blipFill>
          <p:spPr bwMode="auto">
            <a:xfrm>
              <a:off x="786431" y="2301057"/>
              <a:ext cx="1722844" cy="1755350"/>
            </a:xfrm>
            <a:prstGeom prst="rect">
              <a:avLst/>
            </a:prstGeom>
            <a:noFill/>
            <a:ln w="9525">
              <a:noFill/>
              <a:miter lim="800000"/>
              <a:headEnd/>
              <a:tailEnd/>
            </a:ln>
          </p:spPr>
        </p:pic>
        <p:pic>
          <p:nvPicPr>
            <p:cNvPr id="24" name="Picture 24"/>
            <p:cNvPicPr>
              <a:picLocks noChangeAspect="1"/>
            </p:cNvPicPr>
            <p:nvPr/>
          </p:nvPicPr>
          <p:blipFill>
            <a:blip r:embed="rId6"/>
            <a:srcRect/>
            <a:stretch>
              <a:fillRect/>
            </a:stretch>
          </p:blipFill>
          <p:spPr bwMode="auto">
            <a:xfrm>
              <a:off x="1446210" y="2974378"/>
              <a:ext cx="508888" cy="531606"/>
            </a:xfrm>
            <a:prstGeom prst="rect">
              <a:avLst/>
            </a:prstGeom>
            <a:noFill/>
            <a:ln w="9525">
              <a:noFill/>
              <a:miter lim="800000"/>
              <a:headEnd/>
              <a:tailEnd/>
            </a:ln>
          </p:spPr>
        </p:pic>
      </p:grpSp>
      <p:sp>
        <p:nvSpPr>
          <p:cNvPr id="25"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6"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7"/>
              </a:rPr>
              <a:t>www.rapidbbs.cn</a:t>
            </a:r>
            <a:endParaRPr lang="zh-CN" altLang="en-US" sz="1200" b="0">
              <a:latin typeface="Arial" charset="0"/>
              <a:ea typeface="ＭＳ Ｐゴシック" pitchFamily="34" charset="-128"/>
            </a:endParaRPr>
          </a:p>
        </p:txBody>
      </p:sp>
      <p:sp>
        <p:nvSpPr>
          <p:cNvPr id="27" name="TextBox 2"/>
          <p:cNvSpPr txBox="1">
            <a:spLocks noChangeArrowheads="1"/>
          </p:cNvSpPr>
          <p:nvPr/>
        </p:nvSpPr>
        <p:spPr bwMode="auto">
          <a:xfrm>
            <a:off x="766762" y="21907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8" name="TextBox 2"/>
          <p:cNvSpPr txBox="1">
            <a:spLocks noChangeArrowheads="1"/>
          </p:cNvSpPr>
          <p:nvPr/>
        </p:nvSpPr>
        <p:spPr bwMode="auto">
          <a:xfrm>
            <a:off x="3398837" y="48466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7"/>
              </a:rPr>
              <a:t>www.rapidbbs.cn</a:t>
            </a:r>
            <a:endParaRPr lang="zh-CN" altLang="en-US" sz="1200" b="0">
              <a:latin typeface="Arial" charset="0"/>
              <a:ea typeface="ＭＳ Ｐゴシック" pitchFamily="34" charset="-128"/>
            </a:endParaRPr>
          </a:p>
        </p:txBody>
      </p:sp>
      <p:pic>
        <p:nvPicPr>
          <p:cNvPr id="29" name="Picture 2">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488372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500"/>
                                        <p:tgtEl>
                                          <p:spTgt spid="12"/>
                                        </p:tgtEl>
                                      </p:cBhvr>
                                    </p:animEffect>
                                  </p:childTnLst>
                                </p:cTn>
                              </p:par>
                              <p:par>
                                <p:cTn id="17" presetID="10" presetClass="entr" presetSubtype="0" fill="hold" nodeType="withEffect">
                                  <p:stCondLst>
                                    <p:cond delay="0"/>
                                  </p:stCondLst>
                                  <p:childTnLst>
                                    <p:set>
                                      <p:cBhvr>
                                        <p:cTn id="18" dur="1" fill="hold">
                                          <p:stCondLst>
                                            <p:cond delay="0"/>
                                          </p:stCondLst>
                                        </p:cTn>
                                        <p:tgtEl>
                                          <p:spTgt spid="22"/>
                                        </p:tgtEl>
                                        <p:attrNameLst>
                                          <p:attrName>style.visibility</p:attrName>
                                        </p:attrNameLst>
                                      </p:cBhvr>
                                      <p:to>
                                        <p:strVal val="visible"/>
                                      </p:to>
                                    </p:set>
                                    <p:animEffect transition="in" filter="fade">
                                      <p:cBhvr>
                                        <p:cTn id="19" dur="500"/>
                                        <p:tgtEl>
                                          <p:spTgt spid="22"/>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500"/>
                                        <p:tgtEl>
                                          <p:spTgt spid="5"/>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3"/>
                                        </p:tgtEl>
                                        <p:attrNameLst>
                                          <p:attrName>style.visibility</p:attrName>
                                        </p:attrNameLst>
                                      </p:cBhvr>
                                      <p:to>
                                        <p:strVal val="visible"/>
                                      </p:to>
                                    </p:set>
                                    <p:animEffect transition="in" filter="fade">
                                      <p:cBhvr>
                                        <p:cTn id="30" dur="500"/>
                                        <p:tgtEl>
                                          <p:spTgt spid="13"/>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fade">
                                      <p:cBhvr>
                                        <p:cTn id="33" dur="500"/>
                                        <p:tgtEl>
                                          <p:spTgt spid="14"/>
                                        </p:tgtEl>
                                      </p:cBhvr>
                                    </p:animEffect>
                                  </p:childTnLst>
                                </p:cTn>
                              </p:par>
                              <p:par>
                                <p:cTn id="34" presetID="10" presetClass="entr" presetSubtype="0" fill="hold" nodeType="withEffect">
                                  <p:stCondLst>
                                    <p:cond delay="0"/>
                                  </p:stCondLst>
                                  <p:childTnLst>
                                    <p:set>
                                      <p:cBhvr>
                                        <p:cTn id="35" dur="1" fill="hold">
                                          <p:stCondLst>
                                            <p:cond delay="0"/>
                                          </p:stCondLst>
                                        </p:cTn>
                                        <p:tgtEl>
                                          <p:spTgt spid="19"/>
                                        </p:tgtEl>
                                        <p:attrNameLst>
                                          <p:attrName>style.visibility</p:attrName>
                                        </p:attrNameLst>
                                      </p:cBhvr>
                                      <p:to>
                                        <p:strVal val="visible"/>
                                      </p:to>
                                    </p:set>
                                    <p:animEffect transition="in" filter="fade">
                                      <p:cBhvr>
                                        <p:cTn id="36" dur="500"/>
                                        <p:tgtEl>
                                          <p:spTgt spid="19"/>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6"/>
                                        </p:tgtEl>
                                        <p:attrNameLst>
                                          <p:attrName>style.visibility</p:attrName>
                                        </p:attrNameLst>
                                      </p:cBhvr>
                                      <p:to>
                                        <p:strVal val="visible"/>
                                      </p:to>
                                    </p:set>
                                    <p:animEffect transition="in" filter="fade">
                                      <p:cBhvr>
                                        <p:cTn id="41" dur="500"/>
                                        <p:tgtEl>
                                          <p:spTgt spid="6"/>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8"/>
                                        </p:tgtEl>
                                        <p:attrNameLst>
                                          <p:attrName>style.visibility</p:attrName>
                                        </p:attrNameLst>
                                      </p:cBhvr>
                                      <p:to>
                                        <p:strVal val="visible"/>
                                      </p:to>
                                    </p:set>
                                    <p:animEffect transition="in" filter="fade">
                                      <p:cBhvr>
                                        <p:cTn id="44" dur="500"/>
                                        <p:tgtEl>
                                          <p:spTgt spid="8"/>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fade">
                                      <p:cBhvr>
                                        <p:cTn id="47" dur="500"/>
                                        <p:tgtEl>
                                          <p:spTgt spid="15"/>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6"/>
                                        </p:tgtEl>
                                        <p:attrNameLst>
                                          <p:attrName>style.visibility</p:attrName>
                                        </p:attrNameLst>
                                      </p:cBhvr>
                                      <p:to>
                                        <p:strVal val="visible"/>
                                      </p:to>
                                    </p:set>
                                    <p:animEffect transition="in" filter="fade">
                                      <p:cBhvr>
                                        <p:cTn id="50" dur="500"/>
                                        <p:tgtEl>
                                          <p:spTgt spid="16"/>
                                        </p:tgtEl>
                                      </p:cBhvr>
                                    </p:animEffect>
                                  </p:childTnLst>
                                </p:cTn>
                              </p:par>
                              <p:par>
                                <p:cTn id="51" presetID="10" presetClass="entr" presetSubtype="0" fill="hold" nodeType="withEffect">
                                  <p:stCondLst>
                                    <p:cond delay="0"/>
                                  </p:stCondLst>
                                  <p:childTnLst>
                                    <p:set>
                                      <p:cBhvr>
                                        <p:cTn id="52" dur="1" fill="hold">
                                          <p:stCondLst>
                                            <p:cond delay="0"/>
                                          </p:stCondLst>
                                        </p:cTn>
                                        <p:tgtEl>
                                          <p:spTgt spid="20"/>
                                        </p:tgtEl>
                                        <p:attrNameLst>
                                          <p:attrName>style.visibility</p:attrName>
                                        </p:attrNameLst>
                                      </p:cBhvr>
                                      <p:to>
                                        <p:strVal val="visible"/>
                                      </p:to>
                                    </p:set>
                                    <p:animEffect transition="in" filter="fade">
                                      <p:cBhvr>
                                        <p:cTn id="53" dur="500"/>
                                        <p:tgtEl>
                                          <p:spTgt spid="20"/>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4"/>
                                        </p:tgtEl>
                                        <p:attrNameLst>
                                          <p:attrName>style.visibility</p:attrName>
                                        </p:attrNameLst>
                                      </p:cBhvr>
                                      <p:to>
                                        <p:strVal val="visible"/>
                                      </p:to>
                                    </p:set>
                                    <p:animEffect transition="in" filter="fade">
                                      <p:cBhvr>
                                        <p:cTn id="58" dur="500"/>
                                        <p:tgtEl>
                                          <p:spTgt spid="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9"/>
                                        </p:tgtEl>
                                        <p:attrNameLst>
                                          <p:attrName>style.visibility</p:attrName>
                                        </p:attrNameLst>
                                      </p:cBhvr>
                                      <p:to>
                                        <p:strVal val="visible"/>
                                      </p:to>
                                    </p:set>
                                    <p:animEffect transition="in" filter="fade">
                                      <p:cBhvr>
                                        <p:cTn id="61" dur="500"/>
                                        <p:tgtEl>
                                          <p:spTgt spid="9"/>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7"/>
                                        </p:tgtEl>
                                        <p:attrNameLst>
                                          <p:attrName>style.visibility</p:attrName>
                                        </p:attrNameLst>
                                      </p:cBhvr>
                                      <p:to>
                                        <p:strVal val="visible"/>
                                      </p:to>
                                    </p:set>
                                    <p:animEffect transition="in" filter="fade">
                                      <p:cBhvr>
                                        <p:cTn id="64" dur="500"/>
                                        <p:tgtEl>
                                          <p:spTgt spid="17"/>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8"/>
                                        </p:tgtEl>
                                        <p:attrNameLst>
                                          <p:attrName>style.visibility</p:attrName>
                                        </p:attrNameLst>
                                      </p:cBhvr>
                                      <p:to>
                                        <p:strVal val="visible"/>
                                      </p:to>
                                    </p:set>
                                    <p:animEffect transition="in" filter="fade">
                                      <p:cBhvr>
                                        <p:cTn id="67" dur="500"/>
                                        <p:tgtEl>
                                          <p:spTgt spid="18"/>
                                        </p:tgtEl>
                                      </p:cBhvr>
                                    </p:animEffect>
                                  </p:childTnLst>
                                </p:cTn>
                              </p:par>
                              <p:par>
                                <p:cTn id="68" presetID="10" presetClass="entr" presetSubtype="0" fill="hold" nodeType="withEffect">
                                  <p:stCondLst>
                                    <p:cond delay="0"/>
                                  </p:stCondLst>
                                  <p:childTnLst>
                                    <p:set>
                                      <p:cBhvr>
                                        <p:cTn id="69" dur="1" fill="hold">
                                          <p:stCondLst>
                                            <p:cond delay="0"/>
                                          </p:stCondLst>
                                        </p:cTn>
                                        <p:tgtEl>
                                          <p:spTgt spid="21"/>
                                        </p:tgtEl>
                                        <p:attrNameLst>
                                          <p:attrName>style.visibility</p:attrName>
                                        </p:attrNameLst>
                                      </p:cBhvr>
                                      <p:to>
                                        <p:strVal val="visible"/>
                                      </p:to>
                                    </p:set>
                                    <p:animEffect transition="in" filter="fade">
                                      <p:cBhvr>
                                        <p:cTn id="70"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5" grpId="0" animBg="1"/>
      <p:bldP spid="6" grpId="0" animBg="1"/>
      <p:bldP spid="7" grpId="0" animBg="1"/>
      <p:bldP spid="8" grpId="0" animBg="1"/>
      <p:bldP spid="9" grpId="0" animBg="1"/>
      <p:bldP spid="11" grpId="0" animBg="1"/>
      <p:bldP spid="12" grpId="0" animBg="1"/>
      <p:bldP spid="13" grpId="0" animBg="1"/>
      <p:bldP spid="14" grpId="0" animBg="1"/>
      <p:bldP spid="15" grpId="0" animBg="1"/>
      <p:bldP spid="16" grpId="0" animBg="1"/>
      <p:bldP spid="17" grpId="0" animBg="1"/>
      <p:bldP spid="18" grpId="0" animBg="1"/>
    </p:bldLst>
  </p:timing>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9"/>
          <p:cNvSpPr>
            <a:spLocks noChangeArrowheads="1"/>
          </p:cNvSpPr>
          <p:nvPr/>
        </p:nvSpPr>
        <p:spPr bwMode="auto">
          <a:xfrm>
            <a:off x="576413" y="1066801"/>
            <a:ext cx="2559320" cy="3281363"/>
          </a:xfrm>
          <a:prstGeom prst="rect">
            <a:avLst/>
          </a:prstGeom>
          <a:solidFill>
            <a:srgbClr val="F0F2F3">
              <a:alpha val="10000"/>
            </a:srgbClr>
          </a:solidFill>
          <a:ln w="9525">
            <a:noFill/>
            <a:miter lim="800000"/>
            <a:headEnd/>
            <a:tailEnd/>
          </a:ln>
        </p:spPr>
        <p:txBody>
          <a:bodyPr wrap="none" lIns="68586" tIns="34294" rIns="68586" bIns="34294" anchor="ctr"/>
          <a:lstStyle/>
          <a:p>
            <a:pPr defTabSz="685862" fontAlgn="base">
              <a:spcBef>
                <a:spcPct val="0"/>
              </a:spcBef>
              <a:spcAft>
                <a:spcPct val="0"/>
              </a:spcAft>
              <a:defRPr/>
            </a:pPr>
            <a:endParaRPr lang="en-US">
              <a:solidFill>
                <a:srgbClr val="00264A"/>
              </a:solidFill>
              <a:cs typeface="Segoe UI" pitchFamily="34" charset="0"/>
            </a:endParaRPr>
          </a:p>
        </p:txBody>
      </p:sp>
      <p:sp>
        <p:nvSpPr>
          <p:cNvPr id="3" name="Rectangle 2"/>
          <p:cNvSpPr/>
          <p:nvPr/>
        </p:nvSpPr>
        <p:spPr>
          <a:xfrm>
            <a:off x="576413" y="1148954"/>
            <a:ext cx="2559320" cy="355997"/>
          </a:xfrm>
          <a:prstGeom prst="rect">
            <a:avLst/>
          </a:prstGeom>
          <a:solidFill>
            <a:srgbClr val="00264A"/>
          </a:solidFill>
          <a:ln>
            <a:noFill/>
          </a:ln>
          <a:effectLst/>
        </p:spPr>
        <p:style>
          <a:lnRef idx="1">
            <a:schemeClr val="accent1"/>
          </a:lnRef>
          <a:fillRef idx="3">
            <a:schemeClr val="accent1"/>
          </a:fillRef>
          <a:effectRef idx="2">
            <a:schemeClr val="accent1"/>
          </a:effectRef>
          <a:fontRef idx="minor">
            <a:schemeClr val="lt1"/>
          </a:fontRef>
        </p:style>
        <p:txBody>
          <a:bodyPr lIns="68586" tIns="34294" rIns="68586" bIns="34294" anchor="ctr"/>
          <a:lstStyle/>
          <a:p>
            <a:pPr algn="ctr" defTabSz="685862" fontAlgn="base">
              <a:spcBef>
                <a:spcPct val="0"/>
              </a:spcBef>
              <a:spcAft>
                <a:spcPct val="0"/>
              </a:spcAft>
              <a:defRPr/>
            </a:pPr>
            <a:endParaRPr lang="en-US" dirty="0">
              <a:solidFill>
                <a:srgbClr val="FFFFFF"/>
              </a:solidFill>
            </a:endParaRPr>
          </a:p>
        </p:txBody>
      </p:sp>
      <p:sp>
        <p:nvSpPr>
          <p:cNvPr id="4" name="Rectangle 19"/>
          <p:cNvSpPr>
            <a:spLocks noChangeArrowheads="1"/>
          </p:cNvSpPr>
          <p:nvPr/>
        </p:nvSpPr>
        <p:spPr bwMode="auto">
          <a:xfrm>
            <a:off x="6027325" y="1066801"/>
            <a:ext cx="2559319" cy="3281363"/>
          </a:xfrm>
          <a:prstGeom prst="rect">
            <a:avLst/>
          </a:prstGeom>
          <a:solidFill>
            <a:srgbClr val="F0F2F3">
              <a:alpha val="10000"/>
            </a:srgbClr>
          </a:solidFill>
          <a:ln w="9525">
            <a:noFill/>
            <a:miter lim="800000"/>
            <a:headEnd/>
            <a:tailEnd/>
          </a:ln>
        </p:spPr>
        <p:txBody>
          <a:bodyPr wrap="none" lIns="68586" tIns="34294" rIns="68586" bIns="34294" anchor="ctr"/>
          <a:lstStyle/>
          <a:p>
            <a:pPr defTabSz="685862" fontAlgn="base">
              <a:spcBef>
                <a:spcPct val="0"/>
              </a:spcBef>
              <a:spcAft>
                <a:spcPct val="0"/>
              </a:spcAft>
              <a:defRPr/>
            </a:pPr>
            <a:endParaRPr lang="en-US">
              <a:solidFill>
                <a:srgbClr val="00264A"/>
              </a:solidFill>
              <a:cs typeface="Segoe UI" pitchFamily="34" charset="0"/>
            </a:endParaRPr>
          </a:p>
        </p:txBody>
      </p:sp>
      <p:sp>
        <p:nvSpPr>
          <p:cNvPr id="5" name="Rectangle 19"/>
          <p:cNvSpPr>
            <a:spLocks noChangeArrowheads="1"/>
          </p:cNvSpPr>
          <p:nvPr/>
        </p:nvSpPr>
        <p:spPr bwMode="auto">
          <a:xfrm>
            <a:off x="3308418" y="1066801"/>
            <a:ext cx="2559320" cy="3281363"/>
          </a:xfrm>
          <a:prstGeom prst="rect">
            <a:avLst/>
          </a:prstGeom>
          <a:solidFill>
            <a:srgbClr val="F0F2F3">
              <a:alpha val="10000"/>
            </a:srgbClr>
          </a:solidFill>
          <a:ln w="9525">
            <a:noFill/>
            <a:miter lim="800000"/>
            <a:headEnd/>
            <a:tailEnd/>
          </a:ln>
        </p:spPr>
        <p:txBody>
          <a:bodyPr wrap="none" lIns="68586" tIns="34294" rIns="68586" bIns="34294" anchor="ctr"/>
          <a:lstStyle/>
          <a:p>
            <a:pPr defTabSz="685862" fontAlgn="base">
              <a:spcBef>
                <a:spcPct val="0"/>
              </a:spcBef>
              <a:spcAft>
                <a:spcPct val="0"/>
              </a:spcAft>
              <a:defRPr/>
            </a:pPr>
            <a:endParaRPr lang="en-US">
              <a:solidFill>
                <a:srgbClr val="00264A"/>
              </a:solidFill>
              <a:cs typeface="Segoe UI" pitchFamily="34" charset="0"/>
            </a:endParaRPr>
          </a:p>
        </p:txBody>
      </p:sp>
      <p:sp>
        <p:nvSpPr>
          <p:cNvPr id="6" name="Rectangle 5"/>
          <p:cNvSpPr/>
          <p:nvPr/>
        </p:nvSpPr>
        <p:spPr>
          <a:xfrm>
            <a:off x="3308418" y="1148954"/>
            <a:ext cx="2559320" cy="355997"/>
          </a:xfrm>
          <a:prstGeom prst="rect">
            <a:avLst/>
          </a:prstGeom>
          <a:solidFill>
            <a:srgbClr val="00264A"/>
          </a:solidFill>
          <a:ln>
            <a:noFill/>
          </a:ln>
          <a:effectLst/>
        </p:spPr>
        <p:style>
          <a:lnRef idx="1">
            <a:schemeClr val="accent1"/>
          </a:lnRef>
          <a:fillRef idx="3">
            <a:schemeClr val="accent1"/>
          </a:fillRef>
          <a:effectRef idx="2">
            <a:schemeClr val="accent1"/>
          </a:effectRef>
          <a:fontRef idx="minor">
            <a:schemeClr val="lt1"/>
          </a:fontRef>
        </p:style>
        <p:txBody>
          <a:bodyPr lIns="68586" tIns="34294" rIns="68586" bIns="34294" anchor="ctr"/>
          <a:lstStyle/>
          <a:p>
            <a:pPr algn="ctr" defTabSz="685862" fontAlgn="base">
              <a:spcBef>
                <a:spcPct val="0"/>
              </a:spcBef>
              <a:spcAft>
                <a:spcPct val="0"/>
              </a:spcAft>
              <a:defRPr/>
            </a:pPr>
            <a:endParaRPr lang="en-US" dirty="0">
              <a:solidFill>
                <a:srgbClr val="FFFFFF"/>
              </a:solidFill>
            </a:endParaRPr>
          </a:p>
        </p:txBody>
      </p:sp>
      <p:sp>
        <p:nvSpPr>
          <p:cNvPr id="7" name="Rectangle 6"/>
          <p:cNvSpPr/>
          <p:nvPr/>
        </p:nvSpPr>
        <p:spPr>
          <a:xfrm>
            <a:off x="6030896" y="1148954"/>
            <a:ext cx="2560511" cy="355997"/>
          </a:xfrm>
          <a:prstGeom prst="rect">
            <a:avLst/>
          </a:prstGeom>
          <a:solidFill>
            <a:srgbClr val="00264A"/>
          </a:solidFill>
          <a:ln>
            <a:noFill/>
          </a:ln>
          <a:effectLst/>
        </p:spPr>
        <p:style>
          <a:lnRef idx="1">
            <a:schemeClr val="accent1"/>
          </a:lnRef>
          <a:fillRef idx="3">
            <a:schemeClr val="accent1"/>
          </a:fillRef>
          <a:effectRef idx="2">
            <a:schemeClr val="accent1"/>
          </a:effectRef>
          <a:fontRef idx="minor">
            <a:schemeClr val="lt1"/>
          </a:fontRef>
        </p:style>
        <p:txBody>
          <a:bodyPr lIns="68586" tIns="34294" rIns="68586" bIns="34294" anchor="ctr"/>
          <a:lstStyle/>
          <a:p>
            <a:pPr algn="ctr" defTabSz="685862" fontAlgn="base">
              <a:spcBef>
                <a:spcPct val="0"/>
              </a:spcBef>
              <a:spcAft>
                <a:spcPct val="0"/>
              </a:spcAft>
              <a:defRPr/>
            </a:pPr>
            <a:endParaRPr lang="en-US" dirty="0">
              <a:solidFill>
                <a:srgbClr val="FFFFFF"/>
              </a:solidFill>
            </a:endParaRPr>
          </a:p>
        </p:txBody>
      </p:sp>
      <p:sp>
        <p:nvSpPr>
          <p:cNvPr id="8" name="Rectangle 36"/>
          <p:cNvSpPr txBox="1">
            <a:spLocks/>
          </p:cNvSpPr>
          <p:nvPr/>
        </p:nvSpPr>
        <p:spPr bwMode="auto">
          <a:xfrm>
            <a:off x="389436" y="171451"/>
            <a:ext cx="8363938" cy="457049"/>
          </a:xfrm>
          <a:prstGeom prst="rect">
            <a:avLst/>
          </a:prstGeom>
          <a:noFill/>
          <a:ln>
            <a:miter lim="800000"/>
            <a:headEnd/>
            <a:tailEnd/>
          </a:ln>
        </p:spPr>
        <p:txBody>
          <a:bodyPr wrap="square" lIns="68586" tIns="34294" rIns="68586" bIns="34294" numCol="1" anchorCtr="0" compatLnSpc="1">
            <a:prstTxWarp prst="textNoShape">
              <a:avLst/>
            </a:prstTxWarp>
          </a:bodyPr>
          <a:lst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smtClean="0">
                <a:latin typeface="Segoe UI" pitchFamily="34" charset="0"/>
                <a:cs typeface="Arial" pitchFamily="34" charset="0"/>
              </a:rPr>
              <a:t>Virtualizing applications with Server App-V</a:t>
            </a:r>
            <a:endParaRPr lang="en-US">
              <a:latin typeface="Segoe UI" pitchFamily="34" charset="0"/>
              <a:cs typeface="Arial" pitchFamily="34" charset="0"/>
            </a:endParaRPr>
          </a:p>
        </p:txBody>
      </p:sp>
      <p:sp>
        <p:nvSpPr>
          <p:cNvPr id="9" name="Text Placeholder 19"/>
          <p:cNvSpPr txBox="1">
            <a:spLocks/>
          </p:cNvSpPr>
          <p:nvPr/>
        </p:nvSpPr>
        <p:spPr bwMode="auto">
          <a:xfrm>
            <a:off x="576413" y="1175148"/>
            <a:ext cx="2559320" cy="357188"/>
          </a:xfrm>
          <a:prstGeom prst="rect">
            <a:avLst/>
          </a:prstGeom>
          <a:noFill/>
          <a:ln>
            <a:miter lim="800000"/>
            <a:headEnd/>
            <a:tailEnd/>
          </a:ln>
        </p:spPr>
        <p:txBody>
          <a:bodyPr wrap="square" lIns="68586" tIns="34294" rIns="68586" bIns="34294" numCol="1" anchor="t" anchorCtr="0" compatLnSpc="1">
            <a:prstTxWarp prst="textNoShape">
              <a:avLst/>
            </a:prstTxWarp>
          </a:bodyPr>
          <a:lstStyle>
            <a:lvl1pPr marL="455613" indent="-455613" algn="l" defTabSz="608013" rtl="0" fontAlgn="base">
              <a:spcBef>
                <a:spcPct val="20000"/>
              </a:spcBef>
              <a:spcAft>
                <a:spcPct val="0"/>
              </a:spcAft>
              <a:buFont typeface="Arial" pitchFamily="34" charset="0"/>
              <a:buChar char="•"/>
              <a:defRPr sz="2800" kern="1200">
                <a:solidFill>
                  <a:srgbClr val="FFFFFF"/>
                </a:solidFill>
                <a:latin typeface="+mn-lt"/>
                <a:ea typeface="+mn-ea"/>
                <a:cs typeface="Arial"/>
              </a:defRPr>
            </a:lvl1pPr>
            <a:lvl2pPr marL="989013" indent="-379413" algn="l" defTabSz="608013" rtl="0" fontAlgn="base">
              <a:spcBef>
                <a:spcPct val="20000"/>
              </a:spcBef>
              <a:spcAft>
                <a:spcPct val="0"/>
              </a:spcAft>
              <a:buFont typeface="Arial" pitchFamily="34" charset="0"/>
              <a:buChar char="–"/>
              <a:defRPr sz="2400" kern="1200">
                <a:solidFill>
                  <a:srgbClr val="FFFFFF"/>
                </a:solidFill>
                <a:latin typeface="+mn-lt"/>
                <a:ea typeface="+mn-ea"/>
                <a:cs typeface="Arial"/>
              </a:defRPr>
            </a:lvl2pPr>
            <a:lvl3pPr marL="1522413" indent="-303213" algn="l" defTabSz="608013" rtl="0" fontAlgn="base">
              <a:spcBef>
                <a:spcPct val="20000"/>
              </a:spcBef>
              <a:spcAft>
                <a:spcPct val="0"/>
              </a:spcAft>
              <a:buFont typeface="Arial" pitchFamily="34" charset="0"/>
              <a:buChar char="•"/>
              <a:defRPr kern="1200">
                <a:solidFill>
                  <a:srgbClr val="FFFFFF"/>
                </a:solidFill>
                <a:latin typeface="+mn-lt"/>
                <a:ea typeface="+mn-ea"/>
                <a:cs typeface="Arial"/>
              </a:defRPr>
            </a:lvl3pPr>
            <a:lvl4pPr marL="21320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4pPr>
            <a:lvl5pPr marL="27416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5pPr>
            <a:lvl6pPr marL="3352213" indent="-304747" algn="l" defTabSz="609493" rtl="0" eaLnBrk="1" latinLnBrk="0" hangingPunct="1">
              <a:spcBef>
                <a:spcPct val="20000"/>
              </a:spcBef>
              <a:buFont typeface="Arial"/>
              <a:buChar char="•"/>
              <a:defRPr sz="2700" kern="1200">
                <a:solidFill>
                  <a:schemeClr val="tx1"/>
                </a:solidFill>
                <a:latin typeface="+mn-lt"/>
                <a:ea typeface="+mn-ea"/>
                <a:cs typeface="+mn-cs"/>
              </a:defRPr>
            </a:lvl6pPr>
            <a:lvl7pPr marL="3961707" indent="-304747" algn="l" defTabSz="609493" rtl="0" eaLnBrk="1" latinLnBrk="0" hangingPunct="1">
              <a:spcBef>
                <a:spcPct val="20000"/>
              </a:spcBef>
              <a:buFont typeface="Arial"/>
              <a:buChar char="•"/>
              <a:defRPr sz="2700" kern="1200">
                <a:solidFill>
                  <a:schemeClr val="tx1"/>
                </a:solidFill>
                <a:latin typeface="+mn-lt"/>
                <a:ea typeface="+mn-ea"/>
                <a:cs typeface="+mn-cs"/>
              </a:defRPr>
            </a:lvl7pPr>
            <a:lvl8pPr marL="4571200" indent="-304747" algn="l" defTabSz="609493" rtl="0" eaLnBrk="1" latinLnBrk="0" hangingPunct="1">
              <a:spcBef>
                <a:spcPct val="20000"/>
              </a:spcBef>
              <a:buFont typeface="Arial"/>
              <a:buChar char="•"/>
              <a:defRPr sz="2700" kern="1200">
                <a:solidFill>
                  <a:schemeClr val="tx1"/>
                </a:solidFill>
                <a:latin typeface="+mn-lt"/>
                <a:ea typeface="+mn-ea"/>
                <a:cs typeface="+mn-cs"/>
              </a:defRPr>
            </a:lvl8pPr>
            <a:lvl9pPr marL="5180693" indent="-304747" algn="l" defTabSz="609493"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a:buNone/>
            </a:pPr>
            <a:r>
              <a:rPr lang="en-US" sz="1800" dirty="0">
                <a:solidFill>
                  <a:srgbClr val="3DB5F1"/>
                </a:solidFill>
                <a:cs typeface="Arial" pitchFamily="34" charset="0"/>
              </a:rPr>
              <a:t>HOSTS</a:t>
            </a:r>
          </a:p>
        </p:txBody>
      </p:sp>
      <p:sp>
        <p:nvSpPr>
          <p:cNvPr id="10" name="Text Placeholder 20"/>
          <p:cNvSpPr txBox="1">
            <a:spLocks/>
          </p:cNvSpPr>
          <p:nvPr/>
        </p:nvSpPr>
        <p:spPr bwMode="auto">
          <a:xfrm>
            <a:off x="747907" y="2800351"/>
            <a:ext cx="2218713" cy="1240037"/>
          </a:xfrm>
          <a:prstGeom prst="rect">
            <a:avLst/>
          </a:prstGeom>
          <a:noFill/>
          <a:ln>
            <a:miter lim="800000"/>
            <a:headEnd/>
            <a:tailEnd/>
          </a:ln>
        </p:spPr>
        <p:txBody>
          <a:bodyPr wrap="square" lIns="68586" tIns="34294" rIns="68586" bIns="34294" numCol="1" anchor="t" anchorCtr="0" compatLnSpc="1">
            <a:prstTxWarp prst="textNoShape">
              <a:avLst/>
            </a:prstTxWarp>
          </a:bodyPr>
          <a:lstStyle>
            <a:lvl1pPr marL="455613" indent="-455613" algn="l" defTabSz="608013" rtl="0" fontAlgn="base">
              <a:spcBef>
                <a:spcPct val="20000"/>
              </a:spcBef>
              <a:spcAft>
                <a:spcPct val="0"/>
              </a:spcAft>
              <a:buFont typeface="Arial" pitchFamily="34" charset="0"/>
              <a:buChar char="•"/>
              <a:defRPr sz="2800" kern="1200">
                <a:solidFill>
                  <a:srgbClr val="FFFFFF"/>
                </a:solidFill>
                <a:latin typeface="+mn-lt"/>
                <a:ea typeface="+mn-ea"/>
                <a:cs typeface="Arial"/>
              </a:defRPr>
            </a:lvl1pPr>
            <a:lvl2pPr marL="989013" indent="-379413" algn="l" defTabSz="608013" rtl="0" fontAlgn="base">
              <a:spcBef>
                <a:spcPct val="20000"/>
              </a:spcBef>
              <a:spcAft>
                <a:spcPct val="0"/>
              </a:spcAft>
              <a:buFont typeface="Arial" pitchFamily="34" charset="0"/>
              <a:buChar char="–"/>
              <a:defRPr sz="2400" kern="1200">
                <a:solidFill>
                  <a:srgbClr val="FFFFFF"/>
                </a:solidFill>
                <a:latin typeface="+mn-lt"/>
                <a:ea typeface="+mn-ea"/>
                <a:cs typeface="Arial"/>
              </a:defRPr>
            </a:lvl2pPr>
            <a:lvl3pPr marL="1522413" indent="-303213" algn="l" defTabSz="608013" rtl="0" fontAlgn="base">
              <a:spcBef>
                <a:spcPct val="20000"/>
              </a:spcBef>
              <a:spcAft>
                <a:spcPct val="0"/>
              </a:spcAft>
              <a:buFont typeface="Arial" pitchFamily="34" charset="0"/>
              <a:buChar char="•"/>
              <a:defRPr kern="1200">
                <a:solidFill>
                  <a:srgbClr val="FFFFFF"/>
                </a:solidFill>
                <a:latin typeface="+mn-lt"/>
                <a:ea typeface="+mn-ea"/>
                <a:cs typeface="Arial"/>
              </a:defRPr>
            </a:lvl3pPr>
            <a:lvl4pPr marL="21320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4pPr>
            <a:lvl5pPr marL="27416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5pPr>
            <a:lvl6pPr marL="3352213" indent="-304747" algn="l" defTabSz="609493" rtl="0" eaLnBrk="1" latinLnBrk="0" hangingPunct="1">
              <a:spcBef>
                <a:spcPct val="20000"/>
              </a:spcBef>
              <a:buFont typeface="Arial"/>
              <a:buChar char="•"/>
              <a:defRPr sz="2700" kern="1200">
                <a:solidFill>
                  <a:schemeClr val="tx1"/>
                </a:solidFill>
                <a:latin typeface="+mn-lt"/>
                <a:ea typeface="+mn-ea"/>
                <a:cs typeface="+mn-cs"/>
              </a:defRPr>
            </a:lvl6pPr>
            <a:lvl7pPr marL="3961707" indent="-304747" algn="l" defTabSz="609493" rtl="0" eaLnBrk="1" latinLnBrk="0" hangingPunct="1">
              <a:spcBef>
                <a:spcPct val="20000"/>
              </a:spcBef>
              <a:buFont typeface="Arial"/>
              <a:buChar char="•"/>
              <a:defRPr sz="2700" kern="1200">
                <a:solidFill>
                  <a:schemeClr val="tx1"/>
                </a:solidFill>
                <a:latin typeface="+mn-lt"/>
                <a:ea typeface="+mn-ea"/>
                <a:cs typeface="+mn-cs"/>
              </a:defRPr>
            </a:lvl7pPr>
            <a:lvl8pPr marL="4571200" indent="-304747" algn="l" defTabSz="609493" rtl="0" eaLnBrk="1" latinLnBrk="0" hangingPunct="1">
              <a:spcBef>
                <a:spcPct val="20000"/>
              </a:spcBef>
              <a:buFont typeface="Arial"/>
              <a:buChar char="•"/>
              <a:defRPr sz="2700" kern="1200">
                <a:solidFill>
                  <a:schemeClr val="tx1"/>
                </a:solidFill>
                <a:latin typeface="+mn-lt"/>
                <a:ea typeface="+mn-ea"/>
                <a:cs typeface="+mn-cs"/>
              </a:defRPr>
            </a:lvl8pPr>
            <a:lvl9pPr marL="5180693" indent="-304747" algn="l" defTabSz="609493" rtl="0" eaLnBrk="1" latinLnBrk="0" hangingPunct="1">
              <a:spcBef>
                <a:spcPct val="20000"/>
              </a:spcBef>
              <a:buFont typeface="Arial"/>
              <a:buChar char="•"/>
              <a:defRPr sz="2700" kern="1200">
                <a:solidFill>
                  <a:schemeClr val="tx1"/>
                </a:solidFill>
                <a:latin typeface="+mn-lt"/>
                <a:ea typeface="+mn-ea"/>
                <a:cs typeface="+mn-cs"/>
              </a:defRPr>
            </a:lvl9pPr>
          </a:lstStyle>
          <a:p>
            <a:pPr marL="128599" indent="-128599">
              <a:lnSpc>
                <a:spcPct val="90000"/>
              </a:lnSpc>
              <a:spcBef>
                <a:spcPct val="30000"/>
              </a:spcBef>
              <a:buClr>
                <a:srgbClr val="3DB5F1"/>
              </a:buClr>
              <a:buFontTx/>
              <a:buChar char="•"/>
            </a:pPr>
            <a:r>
              <a:rPr lang="en-US" sz="1100" dirty="0"/>
              <a:t>Virtualized Windows Services are registered with the Service Control Manager</a:t>
            </a:r>
          </a:p>
          <a:p>
            <a:pPr marL="128599" indent="-128599">
              <a:lnSpc>
                <a:spcPct val="90000"/>
              </a:lnSpc>
              <a:spcBef>
                <a:spcPct val="30000"/>
              </a:spcBef>
              <a:buClr>
                <a:srgbClr val="3DB5F1"/>
              </a:buClr>
              <a:buFontTx/>
              <a:buChar char="•"/>
            </a:pPr>
            <a:r>
              <a:rPr lang="en-US" sz="1100" dirty="0"/>
              <a:t>Web applications that run on top of IIS 6, 7, 7.5 </a:t>
            </a:r>
          </a:p>
          <a:p>
            <a:pPr marL="128599" indent="-128599">
              <a:lnSpc>
                <a:spcPct val="90000"/>
              </a:lnSpc>
              <a:spcBef>
                <a:spcPct val="30000"/>
              </a:spcBef>
              <a:buClr>
                <a:srgbClr val="3DB5F1"/>
              </a:buClr>
              <a:buFontTx/>
              <a:buChar char="•"/>
            </a:pPr>
            <a:r>
              <a:rPr lang="en-US" sz="1100" dirty="0"/>
              <a:t>All types of user accounts are supported (</a:t>
            </a:r>
            <a:r>
              <a:rPr lang="en-US" sz="1100" dirty="0" err="1"/>
              <a:t>LocalSystem</a:t>
            </a:r>
            <a:r>
              <a:rPr lang="en-US" sz="1100" dirty="0"/>
              <a:t>, Network Service, Domain Accounts)</a:t>
            </a:r>
          </a:p>
        </p:txBody>
      </p:sp>
      <p:sp>
        <p:nvSpPr>
          <p:cNvPr id="11" name="Text Placeholder 21"/>
          <p:cNvSpPr txBox="1">
            <a:spLocks/>
          </p:cNvSpPr>
          <p:nvPr/>
        </p:nvSpPr>
        <p:spPr bwMode="auto">
          <a:xfrm>
            <a:off x="3304847" y="1175148"/>
            <a:ext cx="2559319" cy="357188"/>
          </a:xfrm>
          <a:prstGeom prst="rect">
            <a:avLst/>
          </a:prstGeom>
          <a:noFill/>
          <a:ln>
            <a:miter lim="800000"/>
            <a:headEnd/>
            <a:tailEnd/>
          </a:ln>
        </p:spPr>
        <p:txBody>
          <a:bodyPr wrap="square" lIns="68586" tIns="34294" rIns="68586" bIns="34294" numCol="1" anchor="t" anchorCtr="0" compatLnSpc="1">
            <a:prstTxWarp prst="textNoShape">
              <a:avLst/>
            </a:prstTxWarp>
          </a:bodyPr>
          <a:lstStyle>
            <a:lvl1pPr marL="455613" indent="-455613" algn="l" defTabSz="608013" rtl="0" fontAlgn="base">
              <a:spcBef>
                <a:spcPct val="20000"/>
              </a:spcBef>
              <a:spcAft>
                <a:spcPct val="0"/>
              </a:spcAft>
              <a:buFont typeface="Arial" pitchFamily="34" charset="0"/>
              <a:buChar char="•"/>
              <a:defRPr sz="2800" kern="1200">
                <a:solidFill>
                  <a:srgbClr val="FFFFFF"/>
                </a:solidFill>
                <a:latin typeface="+mn-lt"/>
                <a:ea typeface="+mn-ea"/>
                <a:cs typeface="Arial"/>
              </a:defRPr>
            </a:lvl1pPr>
            <a:lvl2pPr marL="989013" indent="-379413" algn="l" defTabSz="608013" rtl="0" fontAlgn="base">
              <a:spcBef>
                <a:spcPct val="20000"/>
              </a:spcBef>
              <a:spcAft>
                <a:spcPct val="0"/>
              </a:spcAft>
              <a:buFont typeface="Arial" pitchFamily="34" charset="0"/>
              <a:buChar char="–"/>
              <a:defRPr sz="2400" kern="1200">
                <a:solidFill>
                  <a:srgbClr val="FFFFFF"/>
                </a:solidFill>
                <a:latin typeface="+mn-lt"/>
                <a:ea typeface="+mn-ea"/>
                <a:cs typeface="Arial"/>
              </a:defRPr>
            </a:lvl2pPr>
            <a:lvl3pPr marL="1522413" indent="-303213" algn="l" defTabSz="608013" rtl="0" fontAlgn="base">
              <a:spcBef>
                <a:spcPct val="20000"/>
              </a:spcBef>
              <a:spcAft>
                <a:spcPct val="0"/>
              </a:spcAft>
              <a:buFont typeface="Arial" pitchFamily="34" charset="0"/>
              <a:buChar char="•"/>
              <a:defRPr kern="1200">
                <a:solidFill>
                  <a:srgbClr val="FFFFFF"/>
                </a:solidFill>
                <a:latin typeface="+mn-lt"/>
                <a:ea typeface="+mn-ea"/>
                <a:cs typeface="Arial"/>
              </a:defRPr>
            </a:lvl3pPr>
            <a:lvl4pPr marL="21320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4pPr>
            <a:lvl5pPr marL="27416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5pPr>
            <a:lvl6pPr marL="3352213" indent="-304747" algn="l" defTabSz="609493" rtl="0" eaLnBrk="1" latinLnBrk="0" hangingPunct="1">
              <a:spcBef>
                <a:spcPct val="20000"/>
              </a:spcBef>
              <a:buFont typeface="Arial"/>
              <a:buChar char="•"/>
              <a:defRPr sz="2700" kern="1200">
                <a:solidFill>
                  <a:schemeClr val="tx1"/>
                </a:solidFill>
                <a:latin typeface="+mn-lt"/>
                <a:ea typeface="+mn-ea"/>
                <a:cs typeface="+mn-cs"/>
              </a:defRPr>
            </a:lvl6pPr>
            <a:lvl7pPr marL="3961707" indent="-304747" algn="l" defTabSz="609493" rtl="0" eaLnBrk="1" latinLnBrk="0" hangingPunct="1">
              <a:spcBef>
                <a:spcPct val="20000"/>
              </a:spcBef>
              <a:buFont typeface="Arial"/>
              <a:buChar char="•"/>
              <a:defRPr sz="2700" kern="1200">
                <a:solidFill>
                  <a:schemeClr val="tx1"/>
                </a:solidFill>
                <a:latin typeface="+mn-lt"/>
                <a:ea typeface="+mn-ea"/>
                <a:cs typeface="+mn-cs"/>
              </a:defRPr>
            </a:lvl7pPr>
            <a:lvl8pPr marL="4571200" indent="-304747" algn="l" defTabSz="609493" rtl="0" eaLnBrk="1" latinLnBrk="0" hangingPunct="1">
              <a:spcBef>
                <a:spcPct val="20000"/>
              </a:spcBef>
              <a:buFont typeface="Arial"/>
              <a:buChar char="•"/>
              <a:defRPr sz="2700" kern="1200">
                <a:solidFill>
                  <a:schemeClr val="tx1"/>
                </a:solidFill>
                <a:latin typeface="+mn-lt"/>
                <a:ea typeface="+mn-ea"/>
                <a:cs typeface="+mn-cs"/>
              </a:defRPr>
            </a:lvl8pPr>
            <a:lvl9pPr marL="5180693" indent="-304747" algn="l" defTabSz="609493"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a:buNone/>
            </a:pPr>
            <a:r>
              <a:rPr lang="en-US" sz="1800" dirty="0">
                <a:solidFill>
                  <a:srgbClr val="3DB5F1"/>
                </a:solidFill>
                <a:cs typeface="Arial" pitchFamily="34" charset="0"/>
              </a:rPr>
              <a:t>RESOURCES</a:t>
            </a:r>
          </a:p>
        </p:txBody>
      </p:sp>
      <p:sp>
        <p:nvSpPr>
          <p:cNvPr id="12" name="Text Placeholder 22"/>
          <p:cNvSpPr txBox="1">
            <a:spLocks/>
          </p:cNvSpPr>
          <p:nvPr/>
        </p:nvSpPr>
        <p:spPr bwMode="auto">
          <a:xfrm>
            <a:off x="6028514" y="1175148"/>
            <a:ext cx="2559320" cy="357188"/>
          </a:xfrm>
          <a:prstGeom prst="rect">
            <a:avLst/>
          </a:prstGeom>
          <a:noFill/>
          <a:ln>
            <a:miter lim="800000"/>
            <a:headEnd/>
            <a:tailEnd/>
          </a:ln>
        </p:spPr>
        <p:txBody>
          <a:bodyPr wrap="square" lIns="68586" tIns="34294" rIns="68586" bIns="34294" numCol="1" anchor="t" anchorCtr="0" compatLnSpc="1">
            <a:prstTxWarp prst="textNoShape">
              <a:avLst/>
            </a:prstTxWarp>
          </a:bodyPr>
          <a:lstStyle>
            <a:lvl1pPr marL="455613" indent="-455613" algn="l" defTabSz="608013" rtl="0" fontAlgn="base">
              <a:spcBef>
                <a:spcPct val="20000"/>
              </a:spcBef>
              <a:spcAft>
                <a:spcPct val="0"/>
              </a:spcAft>
              <a:buFont typeface="Arial" pitchFamily="34" charset="0"/>
              <a:buChar char="•"/>
              <a:defRPr sz="2800" kern="1200">
                <a:solidFill>
                  <a:srgbClr val="FFFFFF"/>
                </a:solidFill>
                <a:latin typeface="+mn-lt"/>
                <a:ea typeface="+mn-ea"/>
                <a:cs typeface="Arial"/>
              </a:defRPr>
            </a:lvl1pPr>
            <a:lvl2pPr marL="989013" indent="-379413" algn="l" defTabSz="608013" rtl="0" fontAlgn="base">
              <a:spcBef>
                <a:spcPct val="20000"/>
              </a:spcBef>
              <a:spcAft>
                <a:spcPct val="0"/>
              </a:spcAft>
              <a:buFont typeface="Arial" pitchFamily="34" charset="0"/>
              <a:buChar char="–"/>
              <a:defRPr sz="2400" kern="1200">
                <a:solidFill>
                  <a:srgbClr val="FFFFFF"/>
                </a:solidFill>
                <a:latin typeface="+mn-lt"/>
                <a:ea typeface="+mn-ea"/>
                <a:cs typeface="Arial"/>
              </a:defRPr>
            </a:lvl2pPr>
            <a:lvl3pPr marL="1522413" indent="-303213" algn="l" defTabSz="608013" rtl="0" fontAlgn="base">
              <a:spcBef>
                <a:spcPct val="20000"/>
              </a:spcBef>
              <a:spcAft>
                <a:spcPct val="0"/>
              </a:spcAft>
              <a:buFont typeface="Arial" pitchFamily="34" charset="0"/>
              <a:buChar char="•"/>
              <a:defRPr kern="1200">
                <a:solidFill>
                  <a:srgbClr val="FFFFFF"/>
                </a:solidFill>
                <a:latin typeface="+mn-lt"/>
                <a:ea typeface="+mn-ea"/>
                <a:cs typeface="Arial"/>
              </a:defRPr>
            </a:lvl3pPr>
            <a:lvl4pPr marL="21320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4pPr>
            <a:lvl5pPr marL="27416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5pPr>
            <a:lvl6pPr marL="3352213" indent="-304747" algn="l" defTabSz="609493" rtl="0" eaLnBrk="1" latinLnBrk="0" hangingPunct="1">
              <a:spcBef>
                <a:spcPct val="20000"/>
              </a:spcBef>
              <a:buFont typeface="Arial"/>
              <a:buChar char="•"/>
              <a:defRPr sz="2700" kern="1200">
                <a:solidFill>
                  <a:schemeClr val="tx1"/>
                </a:solidFill>
                <a:latin typeface="+mn-lt"/>
                <a:ea typeface="+mn-ea"/>
                <a:cs typeface="+mn-cs"/>
              </a:defRPr>
            </a:lvl6pPr>
            <a:lvl7pPr marL="3961707" indent="-304747" algn="l" defTabSz="609493" rtl="0" eaLnBrk="1" latinLnBrk="0" hangingPunct="1">
              <a:spcBef>
                <a:spcPct val="20000"/>
              </a:spcBef>
              <a:buFont typeface="Arial"/>
              <a:buChar char="•"/>
              <a:defRPr sz="2700" kern="1200">
                <a:solidFill>
                  <a:schemeClr val="tx1"/>
                </a:solidFill>
                <a:latin typeface="+mn-lt"/>
                <a:ea typeface="+mn-ea"/>
                <a:cs typeface="+mn-cs"/>
              </a:defRPr>
            </a:lvl7pPr>
            <a:lvl8pPr marL="4571200" indent="-304747" algn="l" defTabSz="609493" rtl="0" eaLnBrk="1" latinLnBrk="0" hangingPunct="1">
              <a:spcBef>
                <a:spcPct val="20000"/>
              </a:spcBef>
              <a:buFont typeface="Arial"/>
              <a:buChar char="•"/>
              <a:defRPr sz="2700" kern="1200">
                <a:solidFill>
                  <a:schemeClr val="tx1"/>
                </a:solidFill>
                <a:latin typeface="+mn-lt"/>
                <a:ea typeface="+mn-ea"/>
                <a:cs typeface="+mn-cs"/>
              </a:defRPr>
            </a:lvl8pPr>
            <a:lvl9pPr marL="5180693" indent="-304747" algn="l" defTabSz="609493"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a:buNone/>
            </a:pPr>
            <a:r>
              <a:rPr lang="en-US" sz="1800" dirty="0">
                <a:solidFill>
                  <a:srgbClr val="3DB5F1"/>
                </a:solidFill>
                <a:cs typeface="Arial" pitchFamily="34" charset="0"/>
              </a:rPr>
              <a:t>COMPONENTS</a:t>
            </a:r>
          </a:p>
        </p:txBody>
      </p:sp>
      <p:sp>
        <p:nvSpPr>
          <p:cNvPr id="13" name="Text Placeholder 23"/>
          <p:cNvSpPr txBox="1">
            <a:spLocks/>
          </p:cNvSpPr>
          <p:nvPr/>
        </p:nvSpPr>
        <p:spPr bwMode="auto">
          <a:xfrm>
            <a:off x="3460858" y="2800352"/>
            <a:ext cx="2218713" cy="1256705"/>
          </a:xfrm>
          <a:prstGeom prst="rect">
            <a:avLst/>
          </a:prstGeom>
          <a:noFill/>
          <a:ln>
            <a:miter lim="800000"/>
            <a:headEnd/>
            <a:tailEnd/>
          </a:ln>
        </p:spPr>
        <p:txBody>
          <a:bodyPr wrap="square" lIns="68586" tIns="34294" rIns="68586" bIns="34294" numCol="1" anchor="t" anchorCtr="0" compatLnSpc="1">
            <a:prstTxWarp prst="textNoShape">
              <a:avLst/>
            </a:prstTxWarp>
          </a:bodyPr>
          <a:lstStyle>
            <a:lvl1pPr marL="455613" indent="-455613" algn="l" defTabSz="608013" rtl="0" fontAlgn="base">
              <a:spcBef>
                <a:spcPct val="20000"/>
              </a:spcBef>
              <a:spcAft>
                <a:spcPct val="0"/>
              </a:spcAft>
              <a:buFont typeface="Arial" pitchFamily="34" charset="0"/>
              <a:buChar char="•"/>
              <a:defRPr sz="2800" kern="1200">
                <a:solidFill>
                  <a:srgbClr val="FFFFFF"/>
                </a:solidFill>
                <a:latin typeface="+mn-lt"/>
                <a:ea typeface="+mn-ea"/>
                <a:cs typeface="Arial"/>
              </a:defRPr>
            </a:lvl1pPr>
            <a:lvl2pPr marL="989013" indent="-379413" algn="l" defTabSz="608013" rtl="0" fontAlgn="base">
              <a:spcBef>
                <a:spcPct val="20000"/>
              </a:spcBef>
              <a:spcAft>
                <a:spcPct val="0"/>
              </a:spcAft>
              <a:buFont typeface="Arial" pitchFamily="34" charset="0"/>
              <a:buChar char="–"/>
              <a:defRPr sz="2400" kern="1200">
                <a:solidFill>
                  <a:srgbClr val="FFFFFF"/>
                </a:solidFill>
                <a:latin typeface="+mn-lt"/>
                <a:ea typeface="+mn-ea"/>
                <a:cs typeface="Arial"/>
              </a:defRPr>
            </a:lvl2pPr>
            <a:lvl3pPr marL="1522413" indent="-303213" algn="l" defTabSz="608013" rtl="0" fontAlgn="base">
              <a:spcBef>
                <a:spcPct val="20000"/>
              </a:spcBef>
              <a:spcAft>
                <a:spcPct val="0"/>
              </a:spcAft>
              <a:buFont typeface="Arial" pitchFamily="34" charset="0"/>
              <a:buChar char="•"/>
              <a:defRPr kern="1200">
                <a:solidFill>
                  <a:srgbClr val="FFFFFF"/>
                </a:solidFill>
                <a:latin typeface="+mn-lt"/>
                <a:ea typeface="+mn-ea"/>
                <a:cs typeface="Arial"/>
              </a:defRPr>
            </a:lvl3pPr>
            <a:lvl4pPr marL="21320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4pPr>
            <a:lvl5pPr marL="27416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5pPr>
            <a:lvl6pPr marL="3352213" indent="-304747" algn="l" defTabSz="609493" rtl="0" eaLnBrk="1" latinLnBrk="0" hangingPunct="1">
              <a:spcBef>
                <a:spcPct val="20000"/>
              </a:spcBef>
              <a:buFont typeface="Arial"/>
              <a:buChar char="•"/>
              <a:defRPr sz="2700" kern="1200">
                <a:solidFill>
                  <a:schemeClr val="tx1"/>
                </a:solidFill>
                <a:latin typeface="+mn-lt"/>
                <a:ea typeface="+mn-ea"/>
                <a:cs typeface="+mn-cs"/>
              </a:defRPr>
            </a:lvl6pPr>
            <a:lvl7pPr marL="3961707" indent="-304747" algn="l" defTabSz="609493" rtl="0" eaLnBrk="1" latinLnBrk="0" hangingPunct="1">
              <a:spcBef>
                <a:spcPct val="20000"/>
              </a:spcBef>
              <a:buFont typeface="Arial"/>
              <a:buChar char="•"/>
              <a:defRPr sz="2700" kern="1200">
                <a:solidFill>
                  <a:schemeClr val="tx1"/>
                </a:solidFill>
                <a:latin typeface="+mn-lt"/>
                <a:ea typeface="+mn-ea"/>
                <a:cs typeface="+mn-cs"/>
              </a:defRPr>
            </a:lvl7pPr>
            <a:lvl8pPr marL="4571200" indent="-304747" algn="l" defTabSz="609493" rtl="0" eaLnBrk="1" latinLnBrk="0" hangingPunct="1">
              <a:spcBef>
                <a:spcPct val="20000"/>
              </a:spcBef>
              <a:buFont typeface="Arial"/>
              <a:buChar char="•"/>
              <a:defRPr sz="2700" kern="1200">
                <a:solidFill>
                  <a:schemeClr val="tx1"/>
                </a:solidFill>
                <a:latin typeface="+mn-lt"/>
                <a:ea typeface="+mn-ea"/>
                <a:cs typeface="+mn-cs"/>
              </a:defRPr>
            </a:lvl8pPr>
            <a:lvl9pPr marL="5180693" indent="-304747" algn="l" defTabSz="609493" rtl="0" eaLnBrk="1" latinLnBrk="0" hangingPunct="1">
              <a:spcBef>
                <a:spcPct val="20000"/>
              </a:spcBef>
              <a:buFont typeface="Arial"/>
              <a:buChar char="•"/>
              <a:defRPr sz="2700" kern="1200">
                <a:solidFill>
                  <a:schemeClr val="tx1"/>
                </a:solidFill>
                <a:latin typeface="+mn-lt"/>
                <a:ea typeface="+mn-ea"/>
                <a:cs typeface="+mn-cs"/>
              </a:defRPr>
            </a:lvl9pPr>
          </a:lstStyle>
          <a:p>
            <a:pPr marL="128599" indent="-128599">
              <a:spcBef>
                <a:spcPct val="30000"/>
              </a:spcBef>
              <a:buClr>
                <a:srgbClr val="3DB5F1"/>
              </a:buClr>
              <a:buFontTx/>
              <a:buChar char="•"/>
            </a:pPr>
            <a:r>
              <a:rPr lang="en-US" sz="1100" dirty="0"/>
              <a:t>Application binaries</a:t>
            </a:r>
          </a:p>
          <a:p>
            <a:pPr marL="128599" indent="-128599">
              <a:spcBef>
                <a:spcPct val="30000"/>
              </a:spcBef>
              <a:buClr>
                <a:srgbClr val="3DB5F1"/>
              </a:buClr>
              <a:buFontTx/>
              <a:buChar char="•"/>
            </a:pPr>
            <a:r>
              <a:rPr lang="en-US" sz="1100" dirty="0"/>
              <a:t>COM+ and DCOM</a:t>
            </a:r>
          </a:p>
          <a:p>
            <a:pPr marL="128599" indent="-128599">
              <a:spcBef>
                <a:spcPct val="30000"/>
              </a:spcBef>
              <a:buClr>
                <a:srgbClr val="3DB5F1"/>
              </a:buClr>
              <a:buFontTx/>
              <a:buChar char="•"/>
            </a:pPr>
            <a:r>
              <a:rPr lang="en-US" sz="1100" dirty="0"/>
              <a:t>Text-based configurations</a:t>
            </a:r>
          </a:p>
          <a:p>
            <a:pPr marL="128599" indent="-128599">
              <a:spcBef>
                <a:spcPct val="30000"/>
              </a:spcBef>
              <a:buClr>
                <a:srgbClr val="3DB5F1"/>
              </a:buClr>
              <a:buFontTx/>
              <a:buChar char="•"/>
            </a:pPr>
            <a:r>
              <a:rPr lang="en-US" sz="1100" dirty="0"/>
              <a:t>WMI providers</a:t>
            </a:r>
          </a:p>
          <a:p>
            <a:pPr marL="128599" indent="-128599">
              <a:spcBef>
                <a:spcPct val="30000"/>
              </a:spcBef>
              <a:buClr>
                <a:srgbClr val="3DB5F1"/>
              </a:buClr>
              <a:buFontTx/>
              <a:buChar char="•"/>
            </a:pPr>
            <a:r>
              <a:rPr lang="en-US" sz="1100" dirty="0"/>
              <a:t>SSRS</a:t>
            </a:r>
          </a:p>
          <a:p>
            <a:pPr marL="128599" indent="-128599">
              <a:spcBef>
                <a:spcPct val="30000"/>
              </a:spcBef>
              <a:buClr>
                <a:srgbClr val="3DB5F1"/>
              </a:buClr>
              <a:buFontTx/>
              <a:buChar char="•"/>
            </a:pPr>
            <a:r>
              <a:rPr lang="en-US" sz="1100" dirty="0"/>
              <a:t>Local users and groups</a:t>
            </a:r>
          </a:p>
        </p:txBody>
      </p:sp>
      <p:sp>
        <p:nvSpPr>
          <p:cNvPr id="14" name="Text Placeholder 24"/>
          <p:cNvSpPr txBox="1">
            <a:spLocks/>
          </p:cNvSpPr>
          <p:nvPr/>
        </p:nvSpPr>
        <p:spPr bwMode="auto">
          <a:xfrm>
            <a:off x="6185717" y="2800351"/>
            <a:ext cx="2218713" cy="1263849"/>
          </a:xfrm>
          <a:prstGeom prst="rect">
            <a:avLst/>
          </a:prstGeom>
          <a:noFill/>
          <a:ln>
            <a:miter lim="800000"/>
            <a:headEnd/>
            <a:tailEnd/>
          </a:ln>
        </p:spPr>
        <p:txBody>
          <a:bodyPr wrap="square" lIns="68586" tIns="34294" rIns="68586" bIns="34294" numCol="1" anchor="t" anchorCtr="0" compatLnSpc="1">
            <a:prstTxWarp prst="textNoShape">
              <a:avLst/>
            </a:prstTxWarp>
          </a:bodyPr>
          <a:lstStyle>
            <a:lvl1pPr marL="455613" indent="-455613" algn="l" defTabSz="608013" rtl="0" fontAlgn="base">
              <a:spcBef>
                <a:spcPct val="20000"/>
              </a:spcBef>
              <a:spcAft>
                <a:spcPct val="0"/>
              </a:spcAft>
              <a:buFont typeface="Arial" pitchFamily="34" charset="0"/>
              <a:buChar char="•"/>
              <a:defRPr sz="2800" kern="1200">
                <a:solidFill>
                  <a:srgbClr val="FFFFFF"/>
                </a:solidFill>
                <a:latin typeface="+mn-lt"/>
                <a:ea typeface="+mn-ea"/>
                <a:cs typeface="Arial"/>
              </a:defRPr>
            </a:lvl1pPr>
            <a:lvl2pPr marL="989013" indent="-379413" algn="l" defTabSz="608013" rtl="0" fontAlgn="base">
              <a:spcBef>
                <a:spcPct val="20000"/>
              </a:spcBef>
              <a:spcAft>
                <a:spcPct val="0"/>
              </a:spcAft>
              <a:buFont typeface="Arial" pitchFamily="34" charset="0"/>
              <a:buChar char="–"/>
              <a:defRPr sz="2400" kern="1200">
                <a:solidFill>
                  <a:srgbClr val="FFFFFF"/>
                </a:solidFill>
                <a:latin typeface="+mn-lt"/>
                <a:ea typeface="+mn-ea"/>
                <a:cs typeface="Arial"/>
              </a:defRPr>
            </a:lvl2pPr>
            <a:lvl3pPr marL="1522413" indent="-303213" algn="l" defTabSz="608013" rtl="0" fontAlgn="base">
              <a:spcBef>
                <a:spcPct val="20000"/>
              </a:spcBef>
              <a:spcAft>
                <a:spcPct val="0"/>
              </a:spcAft>
              <a:buFont typeface="Arial" pitchFamily="34" charset="0"/>
              <a:buChar char="•"/>
              <a:defRPr kern="1200">
                <a:solidFill>
                  <a:srgbClr val="FFFFFF"/>
                </a:solidFill>
                <a:latin typeface="+mn-lt"/>
                <a:ea typeface="+mn-ea"/>
                <a:cs typeface="Arial"/>
              </a:defRPr>
            </a:lvl3pPr>
            <a:lvl4pPr marL="21320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4pPr>
            <a:lvl5pPr marL="27416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5pPr>
            <a:lvl6pPr marL="3352213" indent="-304747" algn="l" defTabSz="609493" rtl="0" eaLnBrk="1" latinLnBrk="0" hangingPunct="1">
              <a:spcBef>
                <a:spcPct val="20000"/>
              </a:spcBef>
              <a:buFont typeface="Arial"/>
              <a:buChar char="•"/>
              <a:defRPr sz="2700" kern="1200">
                <a:solidFill>
                  <a:schemeClr val="tx1"/>
                </a:solidFill>
                <a:latin typeface="+mn-lt"/>
                <a:ea typeface="+mn-ea"/>
                <a:cs typeface="+mn-cs"/>
              </a:defRPr>
            </a:lvl6pPr>
            <a:lvl7pPr marL="3961707" indent="-304747" algn="l" defTabSz="609493" rtl="0" eaLnBrk="1" latinLnBrk="0" hangingPunct="1">
              <a:spcBef>
                <a:spcPct val="20000"/>
              </a:spcBef>
              <a:buFont typeface="Arial"/>
              <a:buChar char="•"/>
              <a:defRPr sz="2700" kern="1200">
                <a:solidFill>
                  <a:schemeClr val="tx1"/>
                </a:solidFill>
                <a:latin typeface="+mn-lt"/>
                <a:ea typeface="+mn-ea"/>
                <a:cs typeface="+mn-cs"/>
              </a:defRPr>
            </a:lvl7pPr>
            <a:lvl8pPr marL="4571200" indent="-304747" algn="l" defTabSz="609493" rtl="0" eaLnBrk="1" latinLnBrk="0" hangingPunct="1">
              <a:spcBef>
                <a:spcPct val="20000"/>
              </a:spcBef>
              <a:buFont typeface="Arial"/>
              <a:buChar char="•"/>
              <a:defRPr sz="2700" kern="1200">
                <a:solidFill>
                  <a:schemeClr val="tx1"/>
                </a:solidFill>
                <a:latin typeface="+mn-lt"/>
                <a:ea typeface="+mn-ea"/>
                <a:cs typeface="+mn-cs"/>
              </a:defRPr>
            </a:lvl8pPr>
            <a:lvl9pPr marL="5180693" indent="-304747" algn="l" defTabSz="609493" rtl="0" eaLnBrk="1" latinLnBrk="0" hangingPunct="1">
              <a:spcBef>
                <a:spcPct val="20000"/>
              </a:spcBef>
              <a:buFont typeface="Arial"/>
              <a:buChar char="•"/>
              <a:defRPr sz="2700" kern="1200">
                <a:solidFill>
                  <a:schemeClr val="tx1"/>
                </a:solidFill>
                <a:latin typeface="+mn-lt"/>
                <a:ea typeface="+mn-ea"/>
                <a:cs typeface="+mn-cs"/>
              </a:defRPr>
            </a:lvl9pPr>
          </a:lstStyle>
          <a:p>
            <a:pPr marL="128599" indent="-128599">
              <a:spcBef>
                <a:spcPct val="30000"/>
              </a:spcBef>
              <a:buClr>
                <a:srgbClr val="3DB5F1"/>
              </a:buClr>
              <a:buFontTx/>
              <a:buChar char="•"/>
            </a:pPr>
            <a:r>
              <a:rPr lang="en-US" sz="1100" dirty="0"/>
              <a:t>Registry settings</a:t>
            </a:r>
          </a:p>
          <a:p>
            <a:pPr marL="128599" indent="-128599">
              <a:spcBef>
                <a:spcPct val="30000"/>
              </a:spcBef>
              <a:buClr>
                <a:srgbClr val="3DB5F1"/>
              </a:buClr>
              <a:buFontTx/>
              <a:buChar char="•"/>
            </a:pPr>
            <a:r>
              <a:rPr lang="en-US" sz="1100" dirty="0"/>
              <a:t>COM</a:t>
            </a:r>
          </a:p>
          <a:p>
            <a:pPr marL="128599" indent="-128599">
              <a:spcBef>
                <a:spcPct val="30000"/>
              </a:spcBef>
              <a:buClr>
                <a:srgbClr val="3DB5F1"/>
              </a:buClr>
              <a:buFontTx/>
              <a:buChar char="•"/>
            </a:pPr>
            <a:r>
              <a:rPr lang="en-US" sz="1100" dirty="0"/>
              <a:t>Java apps</a:t>
            </a:r>
          </a:p>
          <a:p>
            <a:pPr marL="128599" indent="-128599">
              <a:spcBef>
                <a:spcPct val="30000"/>
              </a:spcBef>
              <a:buClr>
                <a:srgbClr val="3DB5F1"/>
              </a:buClr>
              <a:buFontTx/>
              <a:buChar char="•"/>
            </a:pPr>
            <a:r>
              <a:rPr lang="en-US" sz="1100" dirty="0"/>
              <a:t>.NET components</a:t>
            </a:r>
          </a:p>
          <a:p>
            <a:pPr marL="128599" indent="-128599">
              <a:spcBef>
                <a:spcPct val="30000"/>
              </a:spcBef>
              <a:buClr>
                <a:srgbClr val="3DB5F1"/>
              </a:buClr>
              <a:buFontTx/>
              <a:buChar char="•"/>
            </a:pPr>
            <a:r>
              <a:rPr lang="en-US" sz="1100" dirty="0"/>
              <a:t>State-persisted information stored on the local disk</a:t>
            </a:r>
          </a:p>
        </p:txBody>
      </p:sp>
      <p:pic>
        <p:nvPicPr>
          <p:cNvPr id="15" name="Picture 29"/>
          <p:cNvPicPr>
            <a:picLocks noChangeAspect="1"/>
          </p:cNvPicPr>
          <p:nvPr/>
        </p:nvPicPr>
        <p:blipFill>
          <a:blip r:embed="rId2"/>
          <a:srcRect/>
          <a:stretch>
            <a:fillRect/>
          </a:stretch>
        </p:blipFill>
        <p:spPr bwMode="auto">
          <a:xfrm>
            <a:off x="1413640" y="1657351"/>
            <a:ext cx="814600" cy="822722"/>
          </a:xfrm>
          <a:prstGeom prst="rect">
            <a:avLst/>
          </a:prstGeom>
          <a:noFill/>
          <a:ln w="9525">
            <a:noFill/>
            <a:miter lim="800000"/>
            <a:headEnd/>
            <a:tailEnd/>
          </a:ln>
        </p:spPr>
      </p:pic>
      <p:grpSp>
        <p:nvGrpSpPr>
          <p:cNvPr id="16" name="Group 1"/>
          <p:cNvGrpSpPr>
            <a:grpSpLocks/>
          </p:cNvGrpSpPr>
          <p:nvPr/>
        </p:nvGrpSpPr>
        <p:grpSpPr bwMode="auto">
          <a:xfrm>
            <a:off x="4057518" y="1765699"/>
            <a:ext cx="1034922" cy="634603"/>
            <a:chOff x="5357004" y="2596177"/>
            <a:chExt cx="1379564" cy="845839"/>
          </a:xfrm>
        </p:grpSpPr>
        <p:pic>
          <p:nvPicPr>
            <p:cNvPr id="17" name="Picture 30"/>
            <p:cNvPicPr>
              <a:picLocks noChangeAspect="1"/>
            </p:cNvPicPr>
            <p:nvPr/>
          </p:nvPicPr>
          <p:blipFill>
            <a:blip r:embed="rId3"/>
            <a:srcRect/>
            <a:stretch>
              <a:fillRect/>
            </a:stretch>
          </p:blipFill>
          <p:spPr bwMode="auto">
            <a:xfrm>
              <a:off x="5357004" y="2790059"/>
              <a:ext cx="661988" cy="576262"/>
            </a:xfrm>
            <a:prstGeom prst="rect">
              <a:avLst/>
            </a:prstGeom>
            <a:noFill/>
            <a:ln w="9525">
              <a:noFill/>
              <a:miter lim="800000"/>
              <a:headEnd/>
              <a:tailEnd/>
            </a:ln>
          </p:spPr>
        </p:pic>
        <p:pic>
          <p:nvPicPr>
            <p:cNvPr id="18" name="Picture 31"/>
            <p:cNvPicPr>
              <a:picLocks noChangeAspect="1"/>
            </p:cNvPicPr>
            <p:nvPr/>
          </p:nvPicPr>
          <p:blipFill>
            <a:blip r:embed="rId4"/>
            <a:srcRect/>
            <a:stretch>
              <a:fillRect/>
            </a:stretch>
          </p:blipFill>
          <p:spPr bwMode="auto">
            <a:xfrm>
              <a:off x="5852982" y="2596177"/>
              <a:ext cx="647022" cy="657571"/>
            </a:xfrm>
            <a:prstGeom prst="rect">
              <a:avLst/>
            </a:prstGeom>
            <a:noFill/>
            <a:ln w="9525">
              <a:noFill/>
              <a:miter lim="800000"/>
              <a:headEnd/>
              <a:tailEnd/>
            </a:ln>
          </p:spPr>
        </p:pic>
        <p:pic>
          <p:nvPicPr>
            <p:cNvPr id="19" name="Picture 32" descr="app.ai"/>
            <p:cNvPicPr>
              <a:picLocks noChangeAspect="1"/>
            </p:cNvPicPr>
            <p:nvPr/>
          </p:nvPicPr>
          <p:blipFill>
            <a:blip r:embed="rId5"/>
            <a:srcRect/>
            <a:stretch>
              <a:fillRect/>
            </a:stretch>
          </p:blipFill>
          <p:spPr bwMode="auto">
            <a:xfrm rot="1078840">
              <a:off x="6287588" y="2928895"/>
              <a:ext cx="448980" cy="513121"/>
            </a:xfrm>
            <a:prstGeom prst="rect">
              <a:avLst/>
            </a:prstGeom>
            <a:noFill/>
            <a:ln w="9525">
              <a:noFill/>
              <a:miter lim="800000"/>
              <a:headEnd/>
              <a:tailEnd/>
            </a:ln>
          </p:spPr>
        </p:pic>
      </p:grpSp>
      <p:grpSp>
        <p:nvGrpSpPr>
          <p:cNvPr id="20" name="Group 2"/>
          <p:cNvGrpSpPr>
            <a:grpSpLocks/>
          </p:cNvGrpSpPr>
          <p:nvPr/>
        </p:nvGrpSpPr>
        <p:grpSpPr bwMode="auto">
          <a:xfrm>
            <a:off x="6801432" y="1765699"/>
            <a:ext cx="819363" cy="592931"/>
            <a:chOff x="9689095" y="2482921"/>
            <a:chExt cx="1091840" cy="790959"/>
          </a:xfrm>
        </p:grpSpPr>
        <p:pic>
          <p:nvPicPr>
            <p:cNvPr id="21" name="Picture 33" descr="app.ai"/>
            <p:cNvPicPr>
              <a:picLocks noChangeAspect="1"/>
            </p:cNvPicPr>
            <p:nvPr/>
          </p:nvPicPr>
          <p:blipFill>
            <a:blip r:embed="rId5"/>
            <a:srcRect/>
            <a:stretch>
              <a:fillRect/>
            </a:stretch>
          </p:blipFill>
          <p:spPr bwMode="auto">
            <a:xfrm>
              <a:off x="10088846" y="2482921"/>
              <a:ext cx="692089" cy="790959"/>
            </a:xfrm>
            <a:prstGeom prst="rect">
              <a:avLst/>
            </a:prstGeom>
            <a:noFill/>
            <a:ln w="9525">
              <a:noFill/>
              <a:miter lim="800000"/>
              <a:headEnd/>
              <a:tailEnd/>
            </a:ln>
          </p:spPr>
        </p:pic>
        <p:pic>
          <p:nvPicPr>
            <p:cNvPr id="22" name="Picture 34" descr="jobs.ai"/>
            <p:cNvPicPr>
              <a:picLocks noChangeAspect="1"/>
            </p:cNvPicPr>
            <p:nvPr/>
          </p:nvPicPr>
          <p:blipFill>
            <a:blip r:embed="rId3"/>
            <a:srcRect/>
            <a:stretch>
              <a:fillRect/>
            </a:stretch>
          </p:blipFill>
          <p:spPr bwMode="auto">
            <a:xfrm>
              <a:off x="9689095" y="2689188"/>
              <a:ext cx="583034" cy="507533"/>
            </a:xfrm>
            <a:prstGeom prst="rect">
              <a:avLst/>
            </a:prstGeom>
            <a:noFill/>
            <a:ln w="9525">
              <a:noFill/>
              <a:miter lim="800000"/>
              <a:headEnd/>
              <a:tailEnd/>
            </a:ln>
          </p:spPr>
        </p:pic>
      </p:grpSp>
      <p:sp>
        <p:nvSpPr>
          <p:cNvPr id="23"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4"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6"/>
              </a:rPr>
              <a:t>www.rapidbbs.cn</a:t>
            </a:r>
            <a:endParaRPr lang="zh-CN" altLang="en-US" sz="1200" b="0">
              <a:latin typeface="Arial" charset="0"/>
              <a:ea typeface="ＭＳ Ｐゴシック" pitchFamily="34" charset="-128"/>
            </a:endParaRPr>
          </a:p>
        </p:txBody>
      </p:sp>
      <p:pic>
        <p:nvPicPr>
          <p:cNvPr id="25" name="Picture 2">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522867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par>
                                <p:cTn id="17" presetID="10" presetClass="entr" presetSubtype="0" fill="hold" nodeType="with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500"/>
                                        <p:tgtEl>
                                          <p:spTgt spid="5"/>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1"/>
                                        </p:tgtEl>
                                        <p:attrNameLst>
                                          <p:attrName>style.visibility</p:attrName>
                                        </p:attrNameLst>
                                      </p:cBhvr>
                                      <p:to>
                                        <p:strVal val="visible"/>
                                      </p:to>
                                    </p:set>
                                    <p:animEffect transition="in" filter="fade">
                                      <p:cBhvr>
                                        <p:cTn id="30" dur="500"/>
                                        <p:tgtEl>
                                          <p:spTgt spid="11"/>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3"/>
                                        </p:tgtEl>
                                        <p:attrNameLst>
                                          <p:attrName>style.visibility</p:attrName>
                                        </p:attrNameLst>
                                      </p:cBhvr>
                                      <p:to>
                                        <p:strVal val="visible"/>
                                      </p:to>
                                    </p:set>
                                    <p:animEffect transition="in" filter="fade">
                                      <p:cBhvr>
                                        <p:cTn id="33" dur="500"/>
                                        <p:tgtEl>
                                          <p:spTgt spid="13"/>
                                        </p:tgtEl>
                                      </p:cBhvr>
                                    </p:animEffect>
                                  </p:childTnLst>
                                </p:cTn>
                              </p:par>
                              <p:par>
                                <p:cTn id="34" presetID="10" presetClass="entr" presetSubtype="0" fill="hold" nodeType="withEffect">
                                  <p:stCondLst>
                                    <p:cond delay="0"/>
                                  </p:stCondLst>
                                  <p:childTnLst>
                                    <p:set>
                                      <p:cBhvr>
                                        <p:cTn id="35" dur="1" fill="hold">
                                          <p:stCondLst>
                                            <p:cond delay="0"/>
                                          </p:stCondLst>
                                        </p:cTn>
                                        <p:tgtEl>
                                          <p:spTgt spid="16"/>
                                        </p:tgtEl>
                                        <p:attrNameLst>
                                          <p:attrName>style.visibility</p:attrName>
                                        </p:attrNameLst>
                                      </p:cBhvr>
                                      <p:to>
                                        <p:strVal val="visible"/>
                                      </p:to>
                                    </p:set>
                                    <p:animEffect transition="in" filter="fade">
                                      <p:cBhvr>
                                        <p:cTn id="36" dur="500"/>
                                        <p:tgtEl>
                                          <p:spTgt spid="16"/>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4"/>
                                        </p:tgtEl>
                                        <p:attrNameLst>
                                          <p:attrName>style.visibility</p:attrName>
                                        </p:attrNameLst>
                                      </p:cBhvr>
                                      <p:to>
                                        <p:strVal val="visible"/>
                                      </p:to>
                                    </p:set>
                                    <p:animEffect transition="in" filter="fade">
                                      <p:cBhvr>
                                        <p:cTn id="41" dur="500"/>
                                        <p:tgtEl>
                                          <p:spTgt spid="4"/>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7"/>
                                        </p:tgtEl>
                                        <p:attrNameLst>
                                          <p:attrName>style.visibility</p:attrName>
                                        </p:attrNameLst>
                                      </p:cBhvr>
                                      <p:to>
                                        <p:strVal val="visible"/>
                                      </p:to>
                                    </p:set>
                                    <p:animEffect transition="in" filter="fade">
                                      <p:cBhvr>
                                        <p:cTn id="44" dur="500"/>
                                        <p:tgtEl>
                                          <p:spTgt spid="7"/>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2"/>
                                        </p:tgtEl>
                                        <p:attrNameLst>
                                          <p:attrName>style.visibility</p:attrName>
                                        </p:attrNameLst>
                                      </p:cBhvr>
                                      <p:to>
                                        <p:strVal val="visible"/>
                                      </p:to>
                                    </p:set>
                                    <p:animEffect transition="in" filter="fade">
                                      <p:cBhvr>
                                        <p:cTn id="47" dur="500"/>
                                        <p:tgtEl>
                                          <p:spTgt spid="12"/>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4"/>
                                        </p:tgtEl>
                                        <p:attrNameLst>
                                          <p:attrName>style.visibility</p:attrName>
                                        </p:attrNameLst>
                                      </p:cBhvr>
                                      <p:to>
                                        <p:strVal val="visible"/>
                                      </p:to>
                                    </p:set>
                                    <p:animEffect transition="in" filter="fade">
                                      <p:cBhvr>
                                        <p:cTn id="50" dur="500"/>
                                        <p:tgtEl>
                                          <p:spTgt spid="14"/>
                                        </p:tgtEl>
                                      </p:cBhvr>
                                    </p:animEffect>
                                  </p:childTnLst>
                                </p:cTn>
                              </p:par>
                              <p:par>
                                <p:cTn id="51" presetID="10" presetClass="entr" presetSubtype="0" fill="hold" nodeType="withEffect">
                                  <p:stCondLst>
                                    <p:cond delay="0"/>
                                  </p:stCondLst>
                                  <p:childTnLst>
                                    <p:set>
                                      <p:cBhvr>
                                        <p:cTn id="52" dur="1" fill="hold">
                                          <p:stCondLst>
                                            <p:cond delay="0"/>
                                          </p:stCondLst>
                                        </p:cTn>
                                        <p:tgtEl>
                                          <p:spTgt spid="20"/>
                                        </p:tgtEl>
                                        <p:attrNameLst>
                                          <p:attrName>style.visibility</p:attrName>
                                        </p:attrNameLst>
                                      </p:cBhvr>
                                      <p:to>
                                        <p:strVal val="visible"/>
                                      </p:to>
                                    </p:set>
                                    <p:animEffect transition="in" filter="fade">
                                      <p:cBhvr>
                                        <p:cTn id="53"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5" grpId="0" animBg="1"/>
      <p:bldP spid="6" grpId="0" animBg="1"/>
      <p:bldP spid="7" grpId="0" animBg="1"/>
      <p:bldP spid="9" grpId="0" animBg="1"/>
      <p:bldP spid="10" grpId="0" animBg="1"/>
      <p:bldP spid="11" grpId="0" animBg="1"/>
      <p:bldP spid="12" grpId="0" animBg="1"/>
      <p:bldP spid="13" grpId="0" animBg="1"/>
      <p:bldP spid="14" grpId="0" animBg="1"/>
    </p:bldLst>
  </p:timing>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9"/>
          <p:cNvSpPr>
            <a:spLocks noChangeArrowheads="1"/>
          </p:cNvSpPr>
          <p:nvPr/>
        </p:nvSpPr>
        <p:spPr bwMode="auto">
          <a:xfrm>
            <a:off x="576413" y="1066801"/>
            <a:ext cx="2559320" cy="3281363"/>
          </a:xfrm>
          <a:prstGeom prst="rect">
            <a:avLst/>
          </a:prstGeom>
          <a:solidFill>
            <a:srgbClr val="F0F2F3">
              <a:alpha val="10000"/>
            </a:srgbClr>
          </a:solidFill>
          <a:ln w="9525">
            <a:noFill/>
            <a:miter lim="800000"/>
            <a:headEnd/>
            <a:tailEnd/>
          </a:ln>
        </p:spPr>
        <p:txBody>
          <a:bodyPr wrap="none" lIns="68586" tIns="34294" rIns="68586" bIns="34294" anchor="ctr"/>
          <a:lstStyle/>
          <a:p>
            <a:pPr defTabSz="685862" fontAlgn="base">
              <a:spcBef>
                <a:spcPct val="0"/>
              </a:spcBef>
              <a:spcAft>
                <a:spcPct val="0"/>
              </a:spcAft>
              <a:defRPr/>
            </a:pPr>
            <a:endParaRPr lang="en-US">
              <a:solidFill>
                <a:srgbClr val="00264A"/>
              </a:solidFill>
              <a:cs typeface="Segoe UI" pitchFamily="34" charset="0"/>
            </a:endParaRPr>
          </a:p>
        </p:txBody>
      </p:sp>
      <p:sp>
        <p:nvSpPr>
          <p:cNvPr id="3" name="Rectangle 2"/>
          <p:cNvSpPr/>
          <p:nvPr/>
        </p:nvSpPr>
        <p:spPr>
          <a:xfrm>
            <a:off x="576413" y="1148954"/>
            <a:ext cx="2559320" cy="355997"/>
          </a:xfrm>
          <a:prstGeom prst="rect">
            <a:avLst/>
          </a:prstGeom>
          <a:solidFill>
            <a:srgbClr val="00264A"/>
          </a:solidFill>
          <a:ln>
            <a:noFill/>
          </a:ln>
          <a:effectLst/>
        </p:spPr>
        <p:style>
          <a:lnRef idx="1">
            <a:schemeClr val="accent1"/>
          </a:lnRef>
          <a:fillRef idx="3">
            <a:schemeClr val="accent1"/>
          </a:fillRef>
          <a:effectRef idx="2">
            <a:schemeClr val="accent1"/>
          </a:effectRef>
          <a:fontRef idx="minor">
            <a:schemeClr val="lt1"/>
          </a:fontRef>
        </p:style>
        <p:txBody>
          <a:bodyPr lIns="68586" tIns="34294" rIns="68586" bIns="34294" anchor="ctr"/>
          <a:lstStyle/>
          <a:p>
            <a:pPr algn="ctr" defTabSz="685862" fontAlgn="base">
              <a:spcBef>
                <a:spcPct val="0"/>
              </a:spcBef>
              <a:spcAft>
                <a:spcPct val="0"/>
              </a:spcAft>
              <a:defRPr/>
            </a:pPr>
            <a:endParaRPr lang="en-US" dirty="0">
              <a:solidFill>
                <a:srgbClr val="FFFFFF"/>
              </a:solidFill>
            </a:endParaRPr>
          </a:p>
        </p:txBody>
      </p:sp>
      <p:sp>
        <p:nvSpPr>
          <p:cNvPr id="4" name="Rectangle 19"/>
          <p:cNvSpPr>
            <a:spLocks noChangeArrowheads="1"/>
          </p:cNvSpPr>
          <p:nvPr/>
        </p:nvSpPr>
        <p:spPr bwMode="auto">
          <a:xfrm>
            <a:off x="6027325" y="1066801"/>
            <a:ext cx="2559319" cy="3281363"/>
          </a:xfrm>
          <a:prstGeom prst="rect">
            <a:avLst/>
          </a:prstGeom>
          <a:solidFill>
            <a:srgbClr val="F0F2F3">
              <a:alpha val="10000"/>
            </a:srgbClr>
          </a:solidFill>
          <a:ln w="9525">
            <a:noFill/>
            <a:miter lim="800000"/>
            <a:headEnd/>
            <a:tailEnd/>
          </a:ln>
        </p:spPr>
        <p:txBody>
          <a:bodyPr wrap="none" lIns="68586" tIns="34294" rIns="68586" bIns="34294" anchor="ctr"/>
          <a:lstStyle/>
          <a:p>
            <a:pPr defTabSz="685862" fontAlgn="base">
              <a:spcBef>
                <a:spcPct val="0"/>
              </a:spcBef>
              <a:spcAft>
                <a:spcPct val="0"/>
              </a:spcAft>
              <a:defRPr/>
            </a:pPr>
            <a:endParaRPr lang="en-US">
              <a:solidFill>
                <a:srgbClr val="00264A"/>
              </a:solidFill>
              <a:cs typeface="Segoe UI" pitchFamily="34" charset="0"/>
            </a:endParaRPr>
          </a:p>
        </p:txBody>
      </p:sp>
      <p:sp>
        <p:nvSpPr>
          <p:cNvPr id="5" name="Rectangle 19"/>
          <p:cNvSpPr>
            <a:spLocks noChangeArrowheads="1"/>
          </p:cNvSpPr>
          <p:nvPr/>
        </p:nvSpPr>
        <p:spPr bwMode="auto">
          <a:xfrm>
            <a:off x="3308418" y="1066801"/>
            <a:ext cx="2559320" cy="3281363"/>
          </a:xfrm>
          <a:prstGeom prst="rect">
            <a:avLst/>
          </a:prstGeom>
          <a:solidFill>
            <a:srgbClr val="F0F2F3">
              <a:alpha val="10000"/>
            </a:srgbClr>
          </a:solidFill>
          <a:ln w="9525">
            <a:noFill/>
            <a:miter lim="800000"/>
            <a:headEnd/>
            <a:tailEnd/>
          </a:ln>
        </p:spPr>
        <p:txBody>
          <a:bodyPr wrap="none" lIns="68586" tIns="34294" rIns="68586" bIns="34294" anchor="ctr"/>
          <a:lstStyle/>
          <a:p>
            <a:pPr defTabSz="685862" fontAlgn="base">
              <a:spcBef>
                <a:spcPct val="0"/>
              </a:spcBef>
              <a:spcAft>
                <a:spcPct val="0"/>
              </a:spcAft>
              <a:defRPr/>
            </a:pPr>
            <a:endParaRPr lang="en-US">
              <a:solidFill>
                <a:srgbClr val="00264A"/>
              </a:solidFill>
              <a:cs typeface="Segoe UI" pitchFamily="34" charset="0"/>
            </a:endParaRPr>
          </a:p>
        </p:txBody>
      </p:sp>
      <p:sp>
        <p:nvSpPr>
          <p:cNvPr id="6" name="Rectangle 5"/>
          <p:cNvSpPr/>
          <p:nvPr/>
        </p:nvSpPr>
        <p:spPr>
          <a:xfrm>
            <a:off x="3308418" y="1148954"/>
            <a:ext cx="2559320" cy="355997"/>
          </a:xfrm>
          <a:prstGeom prst="rect">
            <a:avLst/>
          </a:prstGeom>
          <a:solidFill>
            <a:srgbClr val="00264A"/>
          </a:solidFill>
          <a:ln>
            <a:noFill/>
          </a:ln>
          <a:effectLst/>
        </p:spPr>
        <p:style>
          <a:lnRef idx="1">
            <a:schemeClr val="accent1"/>
          </a:lnRef>
          <a:fillRef idx="3">
            <a:schemeClr val="accent1"/>
          </a:fillRef>
          <a:effectRef idx="2">
            <a:schemeClr val="accent1"/>
          </a:effectRef>
          <a:fontRef idx="minor">
            <a:schemeClr val="lt1"/>
          </a:fontRef>
        </p:style>
        <p:txBody>
          <a:bodyPr lIns="68586" tIns="34294" rIns="68586" bIns="34294" anchor="ctr"/>
          <a:lstStyle/>
          <a:p>
            <a:pPr algn="ctr" defTabSz="685862" fontAlgn="base">
              <a:spcBef>
                <a:spcPct val="0"/>
              </a:spcBef>
              <a:spcAft>
                <a:spcPct val="0"/>
              </a:spcAft>
              <a:defRPr/>
            </a:pPr>
            <a:endParaRPr lang="en-US" dirty="0">
              <a:solidFill>
                <a:srgbClr val="FFFFFF"/>
              </a:solidFill>
            </a:endParaRPr>
          </a:p>
        </p:txBody>
      </p:sp>
      <p:sp>
        <p:nvSpPr>
          <p:cNvPr id="7" name="Rectangle 6"/>
          <p:cNvSpPr/>
          <p:nvPr/>
        </p:nvSpPr>
        <p:spPr>
          <a:xfrm>
            <a:off x="6030896" y="1148954"/>
            <a:ext cx="2560511" cy="355997"/>
          </a:xfrm>
          <a:prstGeom prst="rect">
            <a:avLst/>
          </a:prstGeom>
          <a:solidFill>
            <a:srgbClr val="00264A"/>
          </a:solidFill>
          <a:ln>
            <a:noFill/>
          </a:ln>
          <a:effectLst/>
        </p:spPr>
        <p:style>
          <a:lnRef idx="1">
            <a:schemeClr val="accent1"/>
          </a:lnRef>
          <a:fillRef idx="3">
            <a:schemeClr val="accent1"/>
          </a:fillRef>
          <a:effectRef idx="2">
            <a:schemeClr val="accent1"/>
          </a:effectRef>
          <a:fontRef idx="minor">
            <a:schemeClr val="lt1"/>
          </a:fontRef>
        </p:style>
        <p:txBody>
          <a:bodyPr lIns="68586" tIns="34294" rIns="68586" bIns="34294" anchor="ctr"/>
          <a:lstStyle/>
          <a:p>
            <a:pPr algn="ctr" defTabSz="685862" fontAlgn="base">
              <a:spcBef>
                <a:spcPct val="0"/>
              </a:spcBef>
              <a:spcAft>
                <a:spcPct val="0"/>
              </a:spcAft>
              <a:defRPr/>
            </a:pPr>
            <a:endParaRPr lang="en-US" dirty="0">
              <a:solidFill>
                <a:srgbClr val="FFFFFF"/>
              </a:solidFill>
            </a:endParaRPr>
          </a:p>
        </p:txBody>
      </p:sp>
      <p:sp>
        <p:nvSpPr>
          <p:cNvPr id="8" name="Rectangle 36"/>
          <p:cNvSpPr txBox="1">
            <a:spLocks/>
          </p:cNvSpPr>
          <p:nvPr/>
        </p:nvSpPr>
        <p:spPr bwMode="auto">
          <a:xfrm>
            <a:off x="389436" y="171451"/>
            <a:ext cx="8363938" cy="457049"/>
          </a:xfrm>
          <a:prstGeom prst="rect">
            <a:avLst/>
          </a:prstGeom>
          <a:noFill/>
          <a:ln>
            <a:miter lim="800000"/>
            <a:headEnd/>
            <a:tailEnd/>
          </a:ln>
        </p:spPr>
        <p:txBody>
          <a:bodyPr wrap="square" lIns="68586" tIns="34294" rIns="68586" bIns="34294" numCol="1" anchorCtr="0" compatLnSpc="1">
            <a:prstTxWarp prst="textNoShape">
              <a:avLst/>
            </a:prstTxWarp>
          </a:bodyPr>
          <a:lst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smtClean="0">
                <a:latin typeface="Segoe UI" pitchFamily="34" charset="0"/>
                <a:cs typeface="Arial" pitchFamily="34" charset="0"/>
              </a:rPr>
              <a:t>Enabling application self service</a:t>
            </a:r>
            <a:endParaRPr lang="en-US">
              <a:latin typeface="Segoe UI" pitchFamily="34" charset="0"/>
              <a:cs typeface="Arial" pitchFamily="34" charset="0"/>
            </a:endParaRPr>
          </a:p>
        </p:txBody>
      </p:sp>
      <p:sp>
        <p:nvSpPr>
          <p:cNvPr id="9" name="Text Placeholder 35"/>
          <p:cNvSpPr txBox="1">
            <a:spLocks/>
          </p:cNvSpPr>
          <p:nvPr/>
        </p:nvSpPr>
        <p:spPr bwMode="auto">
          <a:xfrm>
            <a:off x="576413" y="1175149"/>
            <a:ext cx="2559320" cy="310753"/>
          </a:xfrm>
          <a:prstGeom prst="rect">
            <a:avLst/>
          </a:prstGeom>
          <a:noFill/>
          <a:ln>
            <a:miter lim="800000"/>
            <a:headEnd/>
            <a:tailEnd/>
          </a:ln>
        </p:spPr>
        <p:txBody>
          <a:bodyPr wrap="square" lIns="68586" tIns="34294" rIns="68586" bIns="34294" numCol="1" anchor="ctr" anchorCtr="0" compatLnSpc="1">
            <a:prstTxWarp prst="textNoShape">
              <a:avLst/>
            </a:prstTxWarp>
          </a:bodyPr>
          <a:lstStyle>
            <a:lvl1pPr marL="455613" indent="-455613" algn="l" defTabSz="608013" rtl="0" fontAlgn="base">
              <a:spcBef>
                <a:spcPct val="20000"/>
              </a:spcBef>
              <a:spcAft>
                <a:spcPct val="0"/>
              </a:spcAft>
              <a:buFont typeface="Arial" pitchFamily="34" charset="0"/>
              <a:buChar char="•"/>
              <a:defRPr sz="2800" kern="1200">
                <a:solidFill>
                  <a:srgbClr val="FFFFFF"/>
                </a:solidFill>
                <a:latin typeface="+mn-lt"/>
                <a:ea typeface="+mn-ea"/>
                <a:cs typeface="Arial"/>
              </a:defRPr>
            </a:lvl1pPr>
            <a:lvl2pPr marL="989013" indent="-379413" algn="l" defTabSz="608013" rtl="0" fontAlgn="base">
              <a:spcBef>
                <a:spcPct val="20000"/>
              </a:spcBef>
              <a:spcAft>
                <a:spcPct val="0"/>
              </a:spcAft>
              <a:buFont typeface="Arial" pitchFamily="34" charset="0"/>
              <a:buChar char="–"/>
              <a:defRPr sz="2400" kern="1200">
                <a:solidFill>
                  <a:srgbClr val="FFFFFF"/>
                </a:solidFill>
                <a:latin typeface="+mn-lt"/>
                <a:ea typeface="+mn-ea"/>
                <a:cs typeface="Arial"/>
              </a:defRPr>
            </a:lvl2pPr>
            <a:lvl3pPr marL="1522413" indent="-303213" algn="l" defTabSz="608013" rtl="0" fontAlgn="base">
              <a:spcBef>
                <a:spcPct val="20000"/>
              </a:spcBef>
              <a:spcAft>
                <a:spcPct val="0"/>
              </a:spcAft>
              <a:buFont typeface="Arial" pitchFamily="34" charset="0"/>
              <a:buChar char="•"/>
              <a:defRPr kern="1200">
                <a:solidFill>
                  <a:srgbClr val="FFFFFF"/>
                </a:solidFill>
                <a:latin typeface="+mn-lt"/>
                <a:ea typeface="+mn-ea"/>
                <a:cs typeface="Arial"/>
              </a:defRPr>
            </a:lvl3pPr>
            <a:lvl4pPr marL="21320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4pPr>
            <a:lvl5pPr marL="27416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5pPr>
            <a:lvl6pPr marL="3352213" indent="-304747" algn="l" defTabSz="609493" rtl="0" eaLnBrk="1" latinLnBrk="0" hangingPunct="1">
              <a:spcBef>
                <a:spcPct val="20000"/>
              </a:spcBef>
              <a:buFont typeface="Arial"/>
              <a:buChar char="•"/>
              <a:defRPr sz="2700" kern="1200">
                <a:solidFill>
                  <a:schemeClr val="tx1"/>
                </a:solidFill>
                <a:latin typeface="+mn-lt"/>
                <a:ea typeface="+mn-ea"/>
                <a:cs typeface="+mn-cs"/>
              </a:defRPr>
            </a:lvl6pPr>
            <a:lvl7pPr marL="3961707" indent="-304747" algn="l" defTabSz="609493" rtl="0" eaLnBrk="1" latinLnBrk="0" hangingPunct="1">
              <a:spcBef>
                <a:spcPct val="20000"/>
              </a:spcBef>
              <a:buFont typeface="Arial"/>
              <a:buChar char="•"/>
              <a:defRPr sz="2700" kern="1200">
                <a:solidFill>
                  <a:schemeClr val="tx1"/>
                </a:solidFill>
                <a:latin typeface="+mn-lt"/>
                <a:ea typeface="+mn-ea"/>
                <a:cs typeface="+mn-cs"/>
              </a:defRPr>
            </a:lvl7pPr>
            <a:lvl8pPr marL="4571200" indent="-304747" algn="l" defTabSz="609493" rtl="0" eaLnBrk="1" latinLnBrk="0" hangingPunct="1">
              <a:spcBef>
                <a:spcPct val="20000"/>
              </a:spcBef>
              <a:buFont typeface="Arial"/>
              <a:buChar char="•"/>
              <a:defRPr sz="2700" kern="1200">
                <a:solidFill>
                  <a:schemeClr val="tx1"/>
                </a:solidFill>
                <a:latin typeface="+mn-lt"/>
                <a:ea typeface="+mn-ea"/>
                <a:cs typeface="+mn-cs"/>
              </a:defRPr>
            </a:lvl8pPr>
            <a:lvl9pPr marL="5180693" indent="-304747" algn="l" defTabSz="609493"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a:buNone/>
            </a:pPr>
            <a:r>
              <a:rPr lang="en-US" sz="1100" dirty="0">
                <a:solidFill>
                  <a:srgbClr val="3DB5F1"/>
                </a:solidFill>
                <a:cs typeface="Arial" pitchFamily="34" charset="0"/>
              </a:rPr>
              <a:t>DELEGATION WITH CONTROL</a:t>
            </a:r>
          </a:p>
        </p:txBody>
      </p:sp>
      <p:sp>
        <p:nvSpPr>
          <p:cNvPr id="10" name="Text Placeholder 37"/>
          <p:cNvSpPr txBox="1">
            <a:spLocks/>
          </p:cNvSpPr>
          <p:nvPr/>
        </p:nvSpPr>
        <p:spPr bwMode="auto">
          <a:xfrm>
            <a:off x="741953" y="2571753"/>
            <a:ext cx="2218712" cy="571501"/>
          </a:xfrm>
          <a:prstGeom prst="rect">
            <a:avLst/>
          </a:prstGeom>
          <a:noFill/>
          <a:ln>
            <a:miter lim="800000"/>
            <a:headEnd/>
            <a:tailEnd/>
          </a:ln>
        </p:spPr>
        <p:txBody>
          <a:bodyPr wrap="square" lIns="68586" tIns="34294" rIns="68586" bIns="34294" numCol="1" anchor="t" anchorCtr="0" compatLnSpc="1">
            <a:prstTxWarp prst="textNoShape">
              <a:avLst/>
            </a:prstTxWarp>
          </a:bodyPr>
          <a:lstStyle>
            <a:lvl1pPr marL="455613" indent="-455613" algn="l" defTabSz="608013" rtl="0" fontAlgn="base">
              <a:spcBef>
                <a:spcPct val="20000"/>
              </a:spcBef>
              <a:spcAft>
                <a:spcPct val="0"/>
              </a:spcAft>
              <a:buFont typeface="Arial" pitchFamily="34" charset="0"/>
              <a:buChar char="•"/>
              <a:defRPr sz="2800" kern="1200">
                <a:solidFill>
                  <a:srgbClr val="FFFFFF"/>
                </a:solidFill>
                <a:latin typeface="+mn-lt"/>
                <a:ea typeface="+mn-ea"/>
                <a:cs typeface="Arial"/>
              </a:defRPr>
            </a:lvl1pPr>
            <a:lvl2pPr marL="989013" indent="-379413" algn="l" defTabSz="608013" rtl="0" fontAlgn="base">
              <a:spcBef>
                <a:spcPct val="20000"/>
              </a:spcBef>
              <a:spcAft>
                <a:spcPct val="0"/>
              </a:spcAft>
              <a:buFont typeface="Arial" pitchFamily="34" charset="0"/>
              <a:buChar char="–"/>
              <a:defRPr sz="2400" kern="1200">
                <a:solidFill>
                  <a:srgbClr val="FFFFFF"/>
                </a:solidFill>
                <a:latin typeface="+mn-lt"/>
                <a:ea typeface="+mn-ea"/>
                <a:cs typeface="Arial"/>
              </a:defRPr>
            </a:lvl2pPr>
            <a:lvl3pPr marL="1522413" indent="-303213" algn="l" defTabSz="608013" rtl="0" fontAlgn="base">
              <a:spcBef>
                <a:spcPct val="20000"/>
              </a:spcBef>
              <a:spcAft>
                <a:spcPct val="0"/>
              </a:spcAft>
              <a:buFont typeface="Arial" pitchFamily="34" charset="0"/>
              <a:buChar char="•"/>
              <a:defRPr kern="1200">
                <a:solidFill>
                  <a:srgbClr val="FFFFFF"/>
                </a:solidFill>
                <a:latin typeface="+mn-lt"/>
                <a:ea typeface="+mn-ea"/>
                <a:cs typeface="Arial"/>
              </a:defRPr>
            </a:lvl3pPr>
            <a:lvl4pPr marL="21320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4pPr>
            <a:lvl5pPr marL="27416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5pPr>
            <a:lvl6pPr marL="3352213" indent="-304747" algn="l" defTabSz="609493" rtl="0" eaLnBrk="1" latinLnBrk="0" hangingPunct="1">
              <a:spcBef>
                <a:spcPct val="20000"/>
              </a:spcBef>
              <a:buFont typeface="Arial"/>
              <a:buChar char="•"/>
              <a:defRPr sz="2700" kern="1200">
                <a:solidFill>
                  <a:schemeClr val="tx1"/>
                </a:solidFill>
                <a:latin typeface="+mn-lt"/>
                <a:ea typeface="+mn-ea"/>
                <a:cs typeface="+mn-cs"/>
              </a:defRPr>
            </a:lvl6pPr>
            <a:lvl7pPr marL="3961707" indent="-304747" algn="l" defTabSz="609493" rtl="0" eaLnBrk="1" latinLnBrk="0" hangingPunct="1">
              <a:spcBef>
                <a:spcPct val="20000"/>
              </a:spcBef>
              <a:buFont typeface="Arial"/>
              <a:buChar char="•"/>
              <a:defRPr sz="2700" kern="1200">
                <a:solidFill>
                  <a:schemeClr val="tx1"/>
                </a:solidFill>
                <a:latin typeface="+mn-lt"/>
                <a:ea typeface="+mn-ea"/>
                <a:cs typeface="+mn-cs"/>
              </a:defRPr>
            </a:lvl7pPr>
            <a:lvl8pPr marL="4571200" indent="-304747" algn="l" defTabSz="609493" rtl="0" eaLnBrk="1" latinLnBrk="0" hangingPunct="1">
              <a:spcBef>
                <a:spcPct val="20000"/>
              </a:spcBef>
              <a:buFont typeface="Arial"/>
              <a:buChar char="•"/>
              <a:defRPr sz="2700" kern="1200">
                <a:solidFill>
                  <a:schemeClr val="tx1"/>
                </a:solidFill>
                <a:latin typeface="+mn-lt"/>
                <a:ea typeface="+mn-ea"/>
                <a:cs typeface="+mn-cs"/>
              </a:defRPr>
            </a:lvl8pPr>
            <a:lvl9pPr marL="5180693" indent="-304747" algn="l" defTabSz="609493" rtl="0" eaLnBrk="1" latinLnBrk="0" hangingPunct="1">
              <a:spcBef>
                <a:spcPct val="20000"/>
              </a:spcBef>
              <a:buFont typeface="Arial"/>
              <a:buChar char="•"/>
              <a:defRPr sz="2700" kern="1200">
                <a:solidFill>
                  <a:schemeClr val="tx1"/>
                </a:solidFill>
                <a:latin typeface="+mn-lt"/>
                <a:ea typeface="+mn-ea"/>
                <a:cs typeface="+mn-cs"/>
              </a:defRPr>
            </a:lvl9pPr>
          </a:lstStyle>
          <a:p>
            <a:pPr marL="0" indent="0">
              <a:spcBef>
                <a:spcPct val="30000"/>
              </a:spcBef>
              <a:buClr>
                <a:srgbClr val="3DB5F1"/>
              </a:buClr>
              <a:buNone/>
            </a:pPr>
            <a:r>
              <a:rPr lang="en-US" sz="1100" dirty="0"/>
              <a:t>Take advantage of standardized templates</a:t>
            </a:r>
          </a:p>
          <a:p>
            <a:pPr marL="0" indent="0">
              <a:spcBef>
                <a:spcPct val="30000"/>
              </a:spcBef>
              <a:buClr>
                <a:srgbClr val="3DB5F1"/>
              </a:buClr>
              <a:buNone/>
            </a:pPr>
            <a:r>
              <a:rPr lang="en-US" sz="1100" dirty="0"/>
              <a:t>Quota enforcement with clear guidance on utilization </a:t>
            </a:r>
          </a:p>
        </p:txBody>
      </p:sp>
      <p:sp>
        <p:nvSpPr>
          <p:cNvPr id="11" name="Text Placeholder 38"/>
          <p:cNvSpPr txBox="1">
            <a:spLocks/>
          </p:cNvSpPr>
          <p:nvPr/>
        </p:nvSpPr>
        <p:spPr bwMode="auto">
          <a:xfrm>
            <a:off x="3304847" y="1175149"/>
            <a:ext cx="2559319" cy="310753"/>
          </a:xfrm>
          <a:prstGeom prst="rect">
            <a:avLst/>
          </a:prstGeom>
          <a:noFill/>
          <a:ln>
            <a:miter lim="800000"/>
            <a:headEnd/>
            <a:tailEnd/>
          </a:ln>
        </p:spPr>
        <p:txBody>
          <a:bodyPr wrap="square" lIns="68586" tIns="34294" rIns="68586" bIns="34294" numCol="1" anchor="ctr" anchorCtr="0" compatLnSpc="1">
            <a:prstTxWarp prst="textNoShape">
              <a:avLst/>
            </a:prstTxWarp>
          </a:bodyPr>
          <a:lstStyle>
            <a:lvl1pPr marL="455613" indent="-455613" algn="l" defTabSz="608013" rtl="0" fontAlgn="base">
              <a:spcBef>
                <a:spcPct val="20000"/>
              </a:spcBef>
              <a:spcAft>
                <a:spcPct val="0"/>
              </a:spcAft>
              <a:buFont typeface="Arial" pitchFamily="34" charset="0"/>
              <a:buChar char="•"/>
              <a:defRPr sz="2800" kern="1200">
                <a:solidFill>
                  <a:srgbClr val="FFFFFF"/>
                </a:solidFill>
                <a:latin typeface="+mn-lt"/>
                <a:ea typeface="+mn-ea"/>
                <a:cs typeface="Arial"/>
              </a:defRPr>
            </a:lvl1pPr>
            <a:lvl2pPr marL="989013" indent="-379413" algn="l" defTabSz="608013" rtl="0" fontAlgn="base">
              <a:spcBef>
                <a:spcPct val="20000"/>
              </a:spcBef>
              <a:spcAft>
                <a:spcPct val="0"/>
              </a:spcAft>
              <a:buFont typeface="Arial" pitchFamily="34" charset="0"/>
              <a:buChar char="–"/>
              <a:defRPr sz="2400" kern="1200">
                <a:solidFill>
                  <a:srgbClr val="FFFFFF"/>
                </a:solidFill>
                <a:latin typeface="+mn-lt"/>
                <a:ea typeface="+mn-ea"/>
                <a:cs typeface="Arial"/>
              </a:defRPr>
            </a:lvl2pPr>
            <a:lvl3pPr marL="1522413" indent="-303213" algn="l" defTabSz="608013" rtl="0" fontAlgn="base">
              <a:spcBef>
                <a:spcPct val="20000"/>
              </a:spcBef>
              <a:spcAft>
                <a:spcPct val="0"/>
              </a:spcAft>
              <a:buFont typeface="Arial" pitchFamily="34" charset="0"/>
              <a:buChar char="•"/>
              <a:defRPr kern="1200">
                <a:solidFill>
                  <a:srgbClr val="FFFFFF"/>
                </a:solidFill>
                <a:latin typeface="+mn-lt"/>
                <a:ea typeface="+mn-ea"/>
                <a:cs typeface="Arial"/>
              </a:defRPr>
            </a:lvl3pPr>
            <a:lvl4pPr marL="21320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4pPr>
            <a:lvl5pPr marL="27416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5pPr>
            <a:lvl6pPr marL="3352213" indent="-304747" algn="l" defTabSz="609493" rtl="0" eaLnBrk="1" latinLnBrk="0" hangingPunct="1">
              <a:spcBef>
                <a:spcPct val="20000"/>
              </a:spcBef>
              <a:buFont typeface="Arial"/>
              <a:buChar char="•"/>
              <a:defRPr sz="2700" kern="1200">
                <a:solidFill>
                  <a:schemeClr val="tx1"/>
                </a:solidFill>
                <a:latin typeface="+mn-lt"/>
                <a:ea typeface="+mn-ea"/>
                <a:cs typeface="+mn-cs"/>
              </a:defRPr>
            </a:lvl6pPr>
            <a:lvl7pPr marL="3961707" indent="-304747" algn="l" defTabSz="609493" rtl="0" eaLnBrk="1" latinLnBrk="0" hangingPunct="1">
              <a:spcBef>
                <a:spcPct val="20000"/>
              </a:spcBef>
              <a:buFont typeface="Arial"/>
              <a:buChar char="•"/>
              <a:defRPr sz="2700" kern="1200">
                <a:solidFill>
                  <a:schemeClr val="tx1"/>
                </a:solidFill>
                <a:latin typeface="+mn-lt"/>
                <a:ea typeface="+mn-ea"/>
                <a:cs typeface="+mn-cs"/>
              </a:defRPr>
            </a:lvl7pPr>
            <a:lvl8pPr marL="4571200" indent="-304747" algn="l" defTabSz="609493" rtl="0" eaLnBrk="1" latinLnBrk="0" hangingPunct="1">
              <a:spcBef>
                <a:spcPct val="20000"/>
              </a:spcBef>
              <a:buFont typeface="Arial"/>
              <a:buChar char="•"/>
              <a:defRPr sz="2700" kern="1200">
                <a:solidFill>
                  <a:schemeClr val="tx1"/>
                </a:solidFill>
                <a:latin typeface="+mn-lt"/>
                <a:ea typeface="+mn-ea"/>
                <a:cs typeface="+mn-cs"/>
              </a:defRPr>
            </a:lvl8pPr>
            <a:lvl9pPr marL="5180693" indent="-304747" algn="l" defTabSz="609493"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a:buNone/>
            </a:pPr>
            <a:r>
              <a:rPr lang="en-US" sz="1100" dirty="0">
                <a:solidFill>
                  <a:srgbClr val="3DB5F1"/>
                </a:solidFill>
                <a:cs typeface="Arial" pitchFamily="34" charset="0"/>
              </a:rPr>
              <a:t>EMPOWERING APPLICATION OWNERS</a:t>
            </a:r>
          </a:p>
        </p:txBody>
      </p:sp>
      <p:sp>
        <p:nvSpPr>
          <p:cNvPr id="12" name="Text Placeholder 39"/>
          <p:cNvSpPr txBox="1">
            <a:spLocks/>
          </p:cNvSpPr>
          <p:nvPr/>
        </p:nvSpPr>
        <p:spPr bwMode="auto">
          <a:xfrm>
            <a:off x="6028514" y="1175149"/>
            <a:ext cx="2559320" cy="310753"/>
          </a:xfrm>
          <a:prstGeom prst="rect">
            <a:avLst/>
          </a:prstGeom>
          <a:noFill/>
          <a:ln>
            <a:miter lim="800000"/>
            <a:headEnd/>
            <a:tailEnd/>
          </a:ln>
        </p:spPr>
        <p:txBody>
          <a:bodyPr wrap="square" lIns="68586" tIns="34294" rIns="68586" bIns="34294" numCol="1" anchor="ctr" anchorCtr="0" compatLnSpc="1">
            <a:prstTxWarp prst="textNoShape">
              <a:avLst/>
            </a:prstTxWarp>
          </a:bodyPr>
          <a:lstStyle>
            <a:lvl1pPr marL="455613" indent="-455613" algn="l" defTabSz="608013" rtl="0" fontAlgn="base">
              <a:spcBef>
                <a:spcPct val="20000"/>
              </a:spcBef>
              <a:spcAft>
                <a:spcPct val="0"/>
              </a:spcAft>
              <a:buFont typeface="Arial" pitchFamily="34" charset="0"/>
              <a:buChar char="•"/>
              <a:defRPr sz="2800" kern="1200">
                <a:solidFill>
                  <a:srgbClr val="FFFFFF"/>
                </a:solidFill>
                <a:latin typeface="+mn-lt"/>
                <a:ea typeface="+mn-ea"/>
                <a:cs typeface="Arial"/>
              </a:defRPr>
            </a:lvl1pPr>
            <a:lvl2pPr marL="989013" indent="-379413" algn="l" defTabSz="608013" rtl="0" fontAlgn="base">
              <a:spcBef>
                <a:spcPct val="20000"/>
              </a:spcBef>
              <a:spcAft>
                <a:spcPct val="0"/>
              </a:spcAft>
              <a:buFont typeface="Arial" pitchFamily="34" charset="0"/>
              <a:buChar char="–"/>
              <a:defRPr sz="2400" kern="1200">
                <a:solidFill>
                  <a:srgbClr val="FFFFFF"/>
                </a:solidFill>
                <a:latin typeface="+mn-lt"/>
                <a:ea typeface="+mn-ea"/>
                <a:cs typeface="Arial"/>
              </a:defRPr>
            </a:lvl2pPr>
            <a:lvl3pPr marL="1522413" indent="-303213" algn="l" defTabSz="608013" rtl="0" fontAlgn="base">
              <a:spcBef>
                <a:spcPct val="20000"/>
              </a:spcBef>
              <a:spcAft>
                <a:spcPct val="0"/>
              </a:spcAft>
              <a:buFont typeface="Arial" pitchFamily="34" charset="0"/>
              <a:buChar char="•"/>
              <a:defRPr kern="1200">
                <a:solidFill>
                  <a:srgbClr val="FFFFFF"/>
                </a:solidFill>
                <a:latin typeface="+mn-lt"/>
                <a:ea typeface="+mn-ea"/>
                <a:cs typeface="Arial"/>
              </a:defRPr>
            </a:lvl3pPr>
            <a:lvl4pPr marL="21320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4pPr>
            <a:lvl5pPr marL="27416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5pPr>
            <a:lvl6pPr marL="3352213" indent="-304747" algn="l" defTabSz="609493" rtl="0" eaLnBrk="1" latinLnBrk="0" hangingPunct="1">
              <a:spcBef>
                <a:spcPct val="20000"/>
              </a:spcBef>
              <a:buFont typeface="Arial"/>
              <a:buChar char="•"/>
              <a:defRPr sz="2700" kern="1200">
                <a:solidFill>
                  <a:schemeClr val="tx1"/>
                </a:solidFill>
                <a:latin typeface="+mn-lt"/>
                <a:ea typeface="+mn-ea"/>
                <a:cs typeface="+mn-cs"/>
              </a:defRPr>
            </a:lvl6pPr>
            <a:lvl7pPr marL="3961707" indent="-304747" algn="l" defTabSz="609493" rtl="0" eaLnBrk="1" latinLnBrk="0" hangingPunct="1">
              <a:spcBef>
                <a:spcPct val="20000"/>
              </a:spcBef>
              <a:buFont typeface="Arial"/>
              <a:buChar char="•"/>
              <a:defRPr sz="2700" kern="1200">
                <a:solidFill>
                  <a:schemeClr val="tx1"/>
                </a:solidFill>
                <a:latin typeface="+mn-lt"/>
                <a:ea typeface="+mn-ea"/>
                <a:cs typeface="+mn-cs"/>
              </a:defRPr>
            </a:lvl7pPr>
            <a:lvl8pPr marL="4571200" indent="-304747" algn="l" defTabSz="609493" rtl="0" eaLnBrk="1" latinLnBrk="0" hangingPunct="1">
              <a:spcBef>
                <a:spcPct val="20000"/>
              </a:spcBef>
              <a:buFont typeface="Arial"/>
              <a:buChar char="•"/>
              <a:defRPr sz="2700" kern="1200">
                <a:solidFill>
                  <a:schemeClr val="tx1"/>
                </a:solidFill>
                <a:latin typeface="+mn-lt"/>
                <a:ea typeface="+mn-ea"/>
                <a:cs typeface="+mn-cs"/>
              </a:defRPr>
            </a:lvl8pPr>
            <a:lvl9pPr marL="5180693" indent="-304747" algn="l" defTabSz="609493"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a:buNone/>
            </a:pPr>
            <a:r>
              <a:rPr lang="en-US" sz="1100" dirty="0">
                <a:solidFill>
                  <a:srgbClr val="3DB5F1"/>
                </a:solidFill>
                <a:cs typeface="Arial" pitchFamily="34" charset="0"/>
              </a:rPr>
              <a:t>SINGLE MANAGEMENT POINT</a:t>
            </a:r>
          </a:p>
        </p:txBody>
      </p:sp>
      <p:sp>
        <p:nvSpPr>
          <p:cNvPr id="13" name="Text Placeholder 40"/>
          <p:cNvSpPr txBox="1">
            <a:spLocks/>
          </p:cNvSpPr>
          <p:nvPr/>
        </p:nvSpPr>
        <p:spPr bwMode="auto">
          <a:xfrm>
            <a:off x="3460858" y="2571752"/>
            <a:ext cx="2218713" cy="571501"/>
          </a:xfrm>
          <a:prstGeom prst="rect">
            <a:avLst/>
          </a:prstGeom>
          <a:noFill/>
          <a:ln>
            <a:miter lim="800000"/>
            <a:headEnd/>
            <a:tailEnd/>
          </a:ln>
        </p:spPr>
        <p:txBody>
          <a:bodyPr wrap="square" lIns="68586" tIns="34294" rIns="68586" bIns="34294" numCol="1" anchor="t" anchorCtr="0" compatLnSpc="1">
            <a:prstTxWarp prst="textNoShape">
              <a:avLst/>
            </a:prstTxWarp>
          </a:bodyPr>
          <a:lstStyle>
            <a:lvl1pPr marL="455613" indent="-455613" algn="l" defTabSz="608013" rtl="0" fontAlgn="base">
              <a:spcBef>
                <a:spcPct val="20000"/>
              </a:spcBef>
              <a:spcAft>
                <a:spcPct val="0"/>
              </a:spcAft>
              <a:buFont typeface="Arial" pitchFamily="34" charset="0"/>
              <a:buChar char="•"/>
              <a:defRPr sz="2800" kern="1200">
                <a:solidFill>
                  <a:srgbClr val="FFFFFF"/>
                </a:solidFill>
                <a:latin typeface="+mn-lt"/>
                <a:ea typeface="+mn-ea"/>
                <a:cs typeface="Arial"/>
              </a:defRPr>
            </a:lvl1pPr>
            <a:lvl2pPr marL="989013" indent="-379413" algn="l" defTabSz="608013" rtl="0" fontAlgn="base">
              <a:spcBef>
                <a:spcPct val="20000"/>
              </a:spcBef>
              <a:spcAft>
                <a:spcPct val="0"/>
              </a:spcAft>
              <a:buFont typeface="Arial" pitchFamily="34" charset="0"/>
              <a:buChar char="–"/>
              <a:defRPr sz="2400" kern="1200">
                <a:solidFill>
                  <a:srgbClr val="FFFFFF"/>
                </a:solidFill>
                <a:latin typeface="+mn-lt"/>
                <a:ea typeface="+mn-ea"/>
                <a:cs typeface="Arial"/>
              </a:defRPr>
            </a:lvl2pPr>
            <a:lvl3pPr marL="1522413" indent="-303213" algn="l" defTabSz="608013" rtl="0" fontAlgn="base">
              <a:spcBef>
                <a:spcPct val="20000"/>
              </a:spcBef>
              <a:spcAft>
                <a:spcPct val="0"/>
              </a:spcAft>
              <a:buFont typeface="Arial" pitchFamily="34" charset="0"/>
              <a:buChar char="•"/>
              <a:defRPr kern="1200">
                <a:solidFill>
                  <a:srgbClr val="FFFFFF"/>
                </a:solidFill>
                <a:latin typeface="+mn-lt"/>
                <a:ea typeface="+mn-ea"/>
                <a:cs typeface="Arial"/>
              </a:defRPr>
            </a:lvl3pPr>
            <a:lvl4pPr marL="21320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4pPr>
            <a:lvl5pPr marL="27416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5pPr>
            <a:lvl6pPr marL="3352213" indent="-304747" algn="l" defTabSz="609493" rtl="0" eaLnBrk="1" latinLnBrk="0" hangingPunct="1">
              <a:spcBef>
                <a:spcPct val="20000"/>
              </a:spcBef>
              <a:buFont typeface="Arial"/>
              <a:buChar char="•"/>
              <a:defRPr sz="2700" kern="1200">
                <a:solidFill>
                  <a:schemeClr val="tx1"/>
                </a:solidFill>
                <a:latin typeface="+mn-lt"/>
                <a:ea typeface="+mn-ea"/>
                <a:cs typeface="+mn-cs"/>
              </a:defRPr>
            </a:lvl6pPr>
            <a:lvl7pPr marL="3961707" indent="-304747" algn="l" defTabSz="609493" rtl="0" eaLnBrk="1" latinLnBrk="0" hangingPunct="1">
              <a:spcBef>
                <a:spcPct val="20000"/>
              </a:spcBef>
              <a:buFont typeface="Arial"/>
              <a:buChar char="•"/>
              <a:defRPr sz="2700" kern="1200">
                <a:solidFill>
                  <a:schemeClr val="tx1"/>
                </a:solidFill>
                <a:latin typeface="+mn-lt"/>
                <a:ea typeface="+mn-ea"/>
                <a:cs typeface="+mn-cs"/>
              </a:defRPr>
            </a:lvl7pPr>
            <a:lvl8pPr marL="4571200" indent="-304747" algn="l" defTabSz="609493" rtl="0" eaLnBrk="1" latinLnBrk="0" hangingPunct="1">
              <a:spcBef>
                <a:spcPct val="20000"/>
              </a:spcBef>
              <a:buFont typeface="Arial"/>
              <a:buChar char="•"/>
              <a:defRPr sz="2700" kern="1200">
                <a:solidFill>
                  <a:schemeClr val="tx1"/>
                </a:solidFill>
                <a:latin typeface="+mn-lt"/>
                <a:ea typeface="+mn-ea"/>
                <a:cs typeface="+mn-cs"/>
              </a:defRPr>
            </a:lvl8pPr>
            <a:lvl9pPr marL="5180693" indent="-304747" algn="l" defTabSz="609493" rtl="0" eaLnBrk="1" latinLnBrk="0" hangingPunct="1">
              <a:spcBef>
                <a:spcPct val="20000"/>
              </a:spcBef>
              <a:buFont typeface="Arial"/>
              <a:buChar char="•"/>
              <a:defRPr sz="2700" kern="1200">
                <a:solidFill>
                  <a:schemeClr val="tx1"/>
                </a:solidFill>
                <a:latin typeface="+mn-lt"/>
                <a:ea typeface="+mn-ea"/>
                <a:cs typeface="+mn-cs"/>
              </a:defRPr>
            </a:lvl9pPr>
          </a:lstStyle>
          <a:p>
            <a:pPr marL="0" indent="0">
              <a:spcBef>
                <a:spcPct val="30000"/>
              </a:spcBef>
              <a:buClr>
                <a:srgbClr val="3DB5F1"/>
              </a:buClr>
              <a:buNone/>
            </a:pPr>
            <a:r>
              <a:rPr lang="en-US" sz="1100" dirty="0"/>
              <a:t>Role-based access to content</a:t>
            </a:r>
          </a:p>
          <a:p>
            <a:pPr marL="0" indent="0">
              <a:spcBef>
                <a:spcPct val="30000"/>
              </a:spcBef>
              <a:buClr>
                <a:srgbClr val="3DB5F1"/>
              </a:buClr>
              <a:buNone/>
            </a:pPr>
            <a:r>
              <a:rPr lang="en-US" sz="1100" dirty="0"/>
              <a:t>Create, manage, and </a:t>
            </a:r>
            <a:br>
              <a:rPr lang="en-US" sz="1100" dirty="0"/>
            </a:br>
            <a:r>
              <a:rPr lang="en-US" sz="1100" dirty="0"/>
              <a:t>move resources between repositories</a:t>
            </a:r>
          </a:p>
        </p:txBody>
      </p:sp>
      <p:sp>
        <p:nvSpPr>
          <p:cNvPr id="14" name="Text Placeholder 42"/>
          <p:cNvSpPr txBox="1">
            <a:spLocks/>
          </p:cNvSpPr>
          <p:nvPr/>
        </p:nvSpPr>
        <p:spPr bwMode="auto">
          <a:xfrm>
            <a:off x="6185717" y="2571751"/>
            <a:ext cx="2218713" cy="514352"/>
          </a:xfrm>
          <a:prstGeom prst="rect">
            <a:avLst/>
          </a:prstGeom>
          <a:noFill/>
          <a:ln>
            <a:miter lim="800000"/>
            <a:headEnd/>
            <a:tailEnd/>
          </a:ln>
        </p:spPr>
        <p:txBody>
          <a:bodyPr wrap="square" lIns="68586" tIns="34294" rIns="68586" bIns="34294" numCol="1" anchor="t" anchorCtr="0" compatLnSpc="1">
            <a:prstTxWarp prst="textNoShape">
              <a:avLst/>
            </a:prstTxWarp>
          </a:bodyPr>
          <a:lstStyle>
            <a:lvl1pPr marL="455613" indent="-455613" algn="l" defTabSz="608013" rtl="0" fontAlgn="base">
              <a:spcBef>
                <a:spcPct val="20000"/>
              </a:spcBef>
              <a:spcAft>
                <a:spcPct val="0"/>
              </a:spcAft>
              <a:buFont typeface="Arial" pitchFamily="34" charset="0"/>
              <a:buChar char="•"/>
              <a:defRPr sz="2800" kern="1200">
                <a:solidFill>
                  <a:srgbClr val="FFFFFF"/>
                </a:solidFill>
                <a:latin typeface="+mn-lt"/>
                <a:ea typeface="+mn-ea"/>
                <a:cs typeface="Arial"/>
              </a:defRPr>
            </a:lvl1pPr>
            <a:lvl2pPr marL="989013" indent="-379413" algn="l" defTabSz="608013" rtl="0" fontAlgn="base">
              <a:spcBef>
                <a:spcPct val="20000"/>
              </a:spcBef>
              <a:spcAft>
                <a:spcPct val="0"/>
              </a:spcAft>
              <a:buFont typeface="Arial" pitchFamily="34" charset="0"/>
              <a:buChar char="–"/>
              <a:defRPr sz="2400" kern="1200">
                <a:solidFill>
                  <a:srgbClr val="FFFFFF"/>
                </a:solidFill>
                <a:latin typeface="+mn-lt"/>
                <a:ea typeface="+mn-ea"/>
                <a:cs typeface="Arial"/>
              </a:defRPr>
            </a:lvl2pPr>
            <a:lvl3pPr marL="1522413" indent="-303213" algn="l" defTabSz="608013" rtl="0" fontAlgn="base">
              <a:spcBef>
                <a:spcPct val="20000"/>
              </a:spcBef>
              <a:spcAft>
                <a:spcPct val="0"/>
              </a:spcAft>
              <a:buFont typeface="Arial" pitchFamily="34" charset="0"/>
              <a:buChar char="•"/>
              <a:defRPr kern="1200">
                <a:solidFill>
                  <a:srgbClr val="FFFFFF"/>
                </a:solidFill>
                <a:latin typeface="+mn-lt"/>
                <a:ea typeface="+mn-ea"/>
                <a:cs typeface="Arial"/>
              </a:defRPr>
            </a:lvl3pPr>
            <a:lvl4pPr marL="21320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4pPr>
            <a:lvl5pPr marL="27416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5pPr>
            <a:lvl6pPr marL="3352213" indent="-304747" algn="l" defTabSz="609493" rtl="0" eaLnBrk="1" latinLnBrk="0" hangingPunct="1">
              <a:spcBef>
                <a:spcPct val="20000"/>
              </a:spcBef>
              <a:buFont typeface="Arial"/>
              <a:buChar char="•"/>
              <a:defRPr sz="2700" kern="1200">
                <a:solidFill>
                  <a:schemeClr val="tx1"/>
                </a:solidFill>
                <a:latin typeface="+mn-lt"/>
                <a:ea typeface="+mn-ea"/>
                <a:cs typeface="+mn-cs"/>
              </a:defRPr>
            </a:lvl6pPr>
            <a:lvl7pPr marL="3961707" indent="-304747" algn="l" defTabSz="609493" rtl="0" eaLnBrk="1" latinLnBrk="0" hangingPunct="1">
              <a:spcBef>
                <a:spcPct val="20000"/>
              </a:spcBef>
              <a:buFont typeface="Arial"/>
              <a:buChar char="•"/>
              <a:defRPr sz="2700" kern="1200">
                <a:solidFill>
                  <a:schemeClr val="tx1"/>
                </a:solidFill>
                <a:latin typeface="+mn-lt"/>
                <a:ea typeface="+mn-ea"/>
                <a:cs typeface="+mn-cs"/>
              </a:defRPr>
            </a:lvl7pPr>
            <a:lvl8pPr marL="4571200" indent="-304747" algn="l" defTabSz="609493" rtl="0" eaLnBrk="1" latinLnBrk="0" hangingPunct="1">
              <a:spcBef>
                <a:spcPct val="20000"/>
              </a:spcBef>
              <a:buFont typeface="Arial"/>
              <a:buChar char="•"/>
              <a:defRPr sz="2700" kern="1200">
                <a:solidFill>
                  <a:schemeClr val="tx1"/>
                </a:solidFill>
                <a:latin typeface="+mn-lt"/>
                <a:ea typeface="+mn-ea"/>
                <a:cs typeface="+mn-cs"/>
              </a:defRPr>
            </a:lvl8pPr>
            <a:lvl9pPr marL="5180693" indent="-304747" algn="l" defTabSz="609493" rtl="0" eaLnBrk="1" latinLnBrk="0" hangingPunct="1">
              <a:spcBef>
                <a:spcPct val="20000"/>
              </a:spcBef>
              <a:buFont typeface="Arial"/>
              <a:buChar char="•"/>
              <a:defRPr sz="2700" kern="1200">
                <a:solidFill>
                  <a:schemeClr val="tx1"/>
                </a:solidFill>
                <a:latin typeface="+mn-lt"/>
                <a:ea typeface="+mn-ea"/>
                <a:cs typeface="+mn-cs"/>
              </a:defRPr>
            </a:lvl9pPr>
          </a:lstStyle>
          <a:p>
            <a:pPr marL="0" indent="0">
              <a:spcBef>
                <a:spcPct val="30000"/>
              </a:spcBef>
              <a:buClr>
                <a:srgbClr val="3DB5F1"/>
              </a:buClr>
              <a:buNone/>
            </a:pPr>
            <a:r>
              <a:rPr lang="en-US" sz="1100" dirty="0"/>
              <a:t>Private and public cloud services plus virtual machines</a:t>
            </a:r>
          </a:p>
          <a:p>
            <a:pPr marL="0" indent="0">
              <a:spcBef>
                <a:spcPct val="30000"/>
              </a:spcBef>
              <a:buClr>
                <a:srgbClr val="3DB5F1"/>
              </a:buClr>
              <a:buNone/>
            </a:pPr>
            <a:r>
              <a:rPr lang="en-US" sz="1100" dirty="0"/>
              <a:t>Job auditing and task progress</a:t>
            </a:r>
          </a:p>
          <a:p>
            <a:pPr marL="0" indent="0">
              <a:spcBef>
                <a:spcPct val="30000"/>
              </a:spcBef>
              <a:buClr>
                <a:srgbClr val="3DB5F1"/>
              </a:buClr>
              <a:buNone/>
            </a:pPr>
            <a:r>
              <a:rPr lang="en-US" sz="1100" dirty="0"/>
              <a:t>Change history</a:t>
            </a:r>
          </a:p>
        </p:txBody>
      </p:sp>
      <p:grpSp>
        <p:nvGrpSpPr>
          <p:cNvPr id="15" name="Group 17"/>
          <p:cNvGrpSpPr>
            <a:grpSpLocks/>
          </p:cNvGrpSpPr>
          <p:nvPr/>
        </p:nvGrpSpPr>
        <p:grpSpPr bwMode="auto">
          <a:xfrm>
            <a:off x="1370767" y="1600200"/>
            <a:ext cx="1009913" cy="769144"/>
            <a:chOff x="1428710" y="1299652"/>
            <a:chExt cx="1657649" cy="1263580"/>
          </a:xfrm>
        </p:grpSpPr>
        <p:pic>
          <p:nvPicPr>
            <p:cNvPr id="16" name="Picture 18"/>
            <p:cNvPicPr>
              <a:picLocks noChangeAspect="1"/>
            </p:cNvPicPr>
            <p:nvPr/>
          </p:nvPicPr>
          <p:blipFill>
            <a:blip r:embed="rId2"/>
            <a:srcRect/>
            <a:stretch>
              <a:fillRect/>
            </a:stretch>
          </p:blipFill>
          <p:spPr bwMode="auto">
            <a:xfrm>
              <a:off x="1785173" y="1557703"/>
              <a:ext cx="988954" cy="1005529"/>
            </a:xfrm>
            <a:prstGeom prst="rect">
              <a:avLst/>
            </a:prstGeom>
            <a:noFill/>
            <a:ln w="9525">
              <a:noFill/>
              <a:miter lim="800000"/>
              <a:headEnd/>
              <a:tailEnd/>
            </a:ln>
          </p:spPr>
        </p:pic>
        <p:pic>
          <p:nvPicPr>
            <p:cNvPr id="17" name="Picture 19"/>
            <p:cNvPicPr>
              <a:picLocks noChangeAspect="1"/>
            </p:cNvPicPr>
            <p:nvPr/>
          </p:nvPicPr>
          <p:blipFill>
            <a:blip r:embed="rId3"/>
            <a:srcRect/>
            <a:stretch>
              <a:fillRect/>
            </a:stretch>
          </p:blipFill>
          <p:spPr bwMode="auto">
            <a:xfrm>
              <a:off x="2084735" y="1299652"/>
              <a:ext cx="423489" cy="386012"/>
            </a:xfrm>
            <a:prstGeom prst="rect">
              <a:avLst/>
            </a:prstGeom>
            <a:noFill/>
            <a:ln w="9525">
              <a:noFill/>
              <a:miter lim="800000"/>
              <a:headEnd/>
              <a:tailEnd/>
            </a:ln>
          </p:spPr>
        </p:pic>
        <p:pic>
          <p:nvPicPr>
            <p:cNvPr id="18" name="Picture 20"/>
            <p:cNvPicPr>
              <a:picLocks noChangeAspect="1"/>
            </p:cNvPicPr>
            <p:nvPr/>
          </p:nvPicPr>
          <p:blipFill>
            <a:blip r:embed="rId4"/>
            <a:srcRect/>
            <a:stretch>
              <a:fillRect/>
            </a:stretch>
          </p:blipFill>
          <p:spPr bwMode="auto">
            <a:xfrm>
              <a:off x="1428710" y="1531155"/>
              <a:ext cx="500063" cy="428625"/>
            </a:xfrm>
            <a:prstGeom prst="rect">
              <a:avLst/>
            </a:prstGeom>
            <a:noFill/>
            <a:ln w="9525">
              <a:noFill/>
              <a:miter lim="800000"/>
              <a:headEnd/>
              <a:tailEnd/>
            </a:ln>
          </p:spPr>
        </p:pic>
        <p:pic>
          <p:nvPicPr>
            <p:cNvPr id="19" name="Picture 21"/>
            <p:cNvPicPr>
              <a:picLocks noChangeAspect="1"/>
            </p:cNvPicPr>
            <p:nvPr/>
          </p:nvPicPr>
          <p:blipFill>
            <a:blip r:embed="rId5"/>
            <a:srcRect/>
            <a:stretch>
              <a:fillRect/>
            </a:stretch>
          </p:blipFill>
          <p:spPr bwMode="auto">
            <a:xfrm>
              <a:off x="2728307" y="1557703"/>
              <a:ext cx="358052" cy="367352"/>
            </a:xfrm>
            <a:prstGeom prst="rect">
              <a:avLst/>
            </a:prstGeom>
            <a:noFill/>
            <a:ln w="9525">
              <a:noFill/>
              <a:miter lim="800000"/>
              <a:headEnd/>
              <a:tailEnd/>
            </a:ln>
          </p:spPr>
        </p:pic>
      </p:grpSp>
      <p:grpSp>
        <p:nvGrpSpPr>
          <p:cNvPr id="20" name="Group 22"/>
          <p:cNvGrpSpPr>
            <a:grpSpLocks/>
          </p:cNvGrpSpPr>
          <p:nvPr/>
        </p:nvGrpSpPr>
        <p:grpSpPr bwMode="auto">
          <a:xfrm>
            <a:off x="4062281" y="1657350"/>
            <a:ext cx="1001576" cy="741760"/>
            <a:chOff x="5221461" y="1647343"/>
            <a:chExt cx="1357450" cy="1005462"/>
          </a:xfrm>
        </p:grpSpPr>
        <p:grpSp>
          <p:nvGrpSpPr>
            <p:cNvPr id="21" name="Group 23"/>
            <p:cNvGrpSpPr>
              <a:grpSpLocks/>
            </p:cNvGrpSpPr>
            <p:nvPr/>
          </p:nvGrpSpPr>
          <p:grpSpPr bwMode="auto">
            <a:xfrm>
              <a:off x="5589842" y="1664173"/>
              <a:ext cx="989069" cy="988632"/>
              <a:chOff x="5589842" y="1664173"/>
              <a:chExt cx="989069" cy="988632"/>
            </a:xfrm>
          </p:grpSpPr>
          <p:pic>
            <p:nvPicPr>
              <p:cNvPr id="23" name="Picture 26"/>
              <p:cNvPicPr>
                <a:picLocks noChangeAspect="1"/>
              </p:cNvPicPr>
              <p:nvPr/>
            </p:nvPicPr>
            <p:blipFill>
              <a:blip r:embed="rId6"/>
              <a:srcRect/>
              <a:stretch>
                <a:fillRect/>
              </a:stretch>
            </p:blipFill>
            <p:spPr bwMode="auto">
              <a:xfrm>
                <a:off x="5589842" y="1814373"/>
                <a:ext cx="629107" cy="838432"/>
              </a:xfrm>
              <a:prstGeom prst="rect">
                <a:avLst/>
              </a:prstGeom>
              <a:noFill/>
              <a:ln w="9525">
                <a:noFill/>
                <a:miter lim="800000"/>
                <a:headEnd/>
                <a:tailEnd/>
              </a:ln>
            </p:spPr>
          </p:pic>
          <p:pic>
            <p:nvPicPr>
              <p:cNvPr id="24" name="Picture 27"/>
              <p:cNvPicPr>
                <a:picLocks noChangeAspect="1"/>
              </p:cNvPicPr>
              <p:nvPr/>
            </p:nvPicPr>
            <p:blipFill>
              <a:blip r:embed="rId6"/>
              <a:srcRect/>
              <a:stretch>
                <a:fillRect/>
              </a:stretch>
            </p:blipFill>
            <p:spPr bwMode="auto">
              <a:xfrm>
                <a:off x="5949804" y="1664173"/>
                <a:ext cx="629107" cy="838432"/>
              </a:xfrm>
              <a:prstGeom prst="rect">
                <a:avLst/>
              </a:prstGeom>
              <a:noFill/>
              <a:ln w="9525">
                <a:noFill/>
                <a:miter lim="800000"/>
                <a:headEnd/>
                <a:tailEnd/>
              </a:ln>
            </p:spPr>
          </p:pic>
        </p:grpSp>
        <p:pic>
          <p:nvPicPr>
            <p:cNvPr id="22" name="Picture 25"/>
            <p:cNvPicPr>
              <a:picLocks noChangeAspect="1"/>
            </p:cNvPicPr>
            <p:nvPr/>
          </p:nvPicPr>
          <p:blipFill>
            <a:blip r:embed="rId6"/>
            <a:srcRect/>
            <a:stretch>
              <a:fillRect/>
            </a:stretch>
          </p:blipFill>
          <p:spPr bwMode="auto">
            <a:xfrm>
              <a:off x="5221461" y="1647343"/>
              <a:ext cx="629107" cy="838432"/>
            </a:xfrm>
            <a:prstGeom prst="rect">
              <a:avLst/>
            </a:prstGeom>
            <a:noFill/>
            <a:ln w="9525">
              <a:noFill/>
              <a:miter lim="800000"/>
              <a:headEnd/>
              <a:tailEnd/>
            </a:ln>
          </p:spPr>
        </p:pic>
      </p:grpSp>
      <p:pic>
        <p:nvPicPr>
          <p:cNvPr id="25" name="Picture 28"/>
          <p:cNvPicPr>
            <a:picLocks noChangeAspect="1"/>
          </p:cNvPicPr>
          <p:nvPr/>
        </p:nvPicPr>
        <p:blipFill>
          <a:blip r:embed="rId7"/>
          <a:srcRect/>
          <a:stretch>
            <a:fillRect/>
          </a:stretch>
        </p:blipFill>
        <p:spPr bwMode="auto">
          <a:xfrm>
            <a:off x="6972925" y="1564483"/>
            <a:ext cx="557358" cy="835819"/>
          </a:xfrm>
          <a:prstGeom prst="rect">
            <a:avLst/>
          </a:prstGeom>
          <a:noFill/>
          <a:ln w="9525">
            <a:noFill/>
            <a:miter lim="800000"/>
            <a:headEnd/>
            <a:tailEnd/>
          </a:ln>
        </p:spPr>
      </p:pic>
      <p:pic>
        <p:nvPicPr>
          <p:cNvPr id="26" name="Picture 4"/>
          <p:cNvPicPr>
            <a:picLocks noChangeAspect="1" noChangeArrowheads="1"/>
          </p:cNvPicPr>
          <p:nvPr/>
        </p:nvPicPr>
        <p:blipFill>
          <a:blip r:embed="rId8" cstate="print">
            <a:clrChange>
              <a:clrFrom>
                <a:srgbClr val="FFFFFF"/>
              </a:clrFrom>
              <a:clrTo>
                <a:srgbClr val="FFFFFF">
                  <a:alpha val="0"/>
                </a:srgbClr>
              </a:clrTo>
            </a:clrChange>
            <a:extLst/>
          </a:blip>
          <a:srcRect/>
          <a:stretch>
            <a:fillRect/>
          </a:stretch>
        </p:blipFill>
        <p:spPr bwMode="auto">
          <a:xfrm>
            <a:off x="2799890" y="2089843"/>
            <a:ext cx="3772883" cy="1238673"/>
          </a:xfrm>
          <a:prstGeom prst="roundRect">
            <a:avLst>
              <a:gd name="adj" fmla="val 8594"/>
            </a:avLst>
          </a:prstGeom>
          <a:solidFill>
            <a:srgbClr val="FFFFFF">
              <a:shade val="85000"/>
            </a:srgbClr>
          </a:solidFill>
          <a:ln>
            <a:noFill/>
          </a:ln>
          <a:effectLst/>
          <a:extLst/>
        </p:spPr>
      </p:pic>
      <p:pic>
        <p:nvPicPr>
          <p:cNvPr id="27" name="Picture 2"/>
          <p:cNvPicPr>
            <a:picLocks noChangeAspect="1" noChangeArrowheads="1"/>
          </p:cNvPicPr>
          <p:nvPr/>
        </p:nvPicPr>
        <p:blipFill>
          <a:blip r:embed="rId9" cstate="print">
            <a:extLst/>
          </a:blip>
          <a:srcRect/>
          <a:stretch>
            <a:fillRect/>
          </a:stretch>
        </p:blipFill>
        <p:spPr bwMode="auto">
          <a:xfrm>
            <a:off x="2799889" y="2106624"/>
            <a:ext cx="3717322" cy="1221892"/>
          </a:xfrm>
          <a:prstGeom prst="roundRect">
            <a:avLst>
              <a:gd name="adj" fmla="val 8594"/>
            </a:avLst>
          </a:prstGeom>
          <a:solidFill>
            <a:srgbClr val="FFFFFF">
              <a:shade val="85000"/>
            </a:srgbClr>
          </a:solidFill>
          <a:ln>
            <a:noFill/>
          </a:ln>
          <a:effectLst/>
          <a:extLst/>
        </p:spPr>
      </p:pic>
      <p:pic>
        <p:nvPicPr>
          <p:cNvPr id="28" name="Picture 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798574" y="2089841"/>
            <a:ext cx="3766434" cy="1238673"/>
          </a:xfrm>
          <a:prstGeom prst="roundRect">
            <a:avLst>
              <a:gd name="adj" fmla="val 8594"/>
            </a:avLst>
          </a:prstGeom>
          <a:solidFill>
            <a:srgbClr val="FFFFFF">
              <a:shade val="85000"/>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9"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0"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1"/>
              </a:rPr>
              <a:t>www.rapidbbs.cn</a:t>
            </a:r>
            <a:endParaRPr lang="zh-CN" altLang="en-US" sz="1200" b="0">
              <a:latin typeface="Arial" charset="0"/>
              <a:ea typeface="ＭＳ Ｐゴシック" pitchFamily="34" charset="-128"/>
            </a:endParaRPr>
          </a:p>
        </p:txBody>
      </p:sp>
      <p:pic>
        <p:nvPicPr>
          <p:cNvPr id="31" name="Picture 2">
            <a:hlinkClick r:id="rId11"/>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9541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animEffect transition="in" filter="fade">
                                      <p:cBhvr>
                                        <p:cTn id="9" dur="500"/>
                                        <p:tgtEl>
                                          <p:spTgt spid="2"/>
                                        </p:tgtEl>
                                      </p:cBhvr>
                                    </p:animEffect>
                                  </p:childTnLst>
                                </p:cTn>
                              </p:par>
                              <p:par>
                                <p:cTn id="10" presetID="10"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1" presetClass="entr" presetSubtype="0" fill="hold" nodeType="with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
                                            <p:bg/>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
                                            <p:txEl>
                                              <p:pRg st="0" end="0"/>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0">
                                            <p:txEl>
                                              <p:pRg st="1" end="1"/>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6"/>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6" presetClass="emph" presetSubtype="0" fill="hold" nodeType="clickEffect">
                                  <p:stCondLst>
                                    <p:cond delay="0"/>
                                  </p:stCondLst>
                                  <p:childTnLst>
                                    <p:animScale>
                                      <p:cBhvr>
                                        <p:cTn id="28" dur="2000" fill="hold"/>
                                        <p:tgtEl>
                                          <p:spTgt spid="26"/>
                                        </p:tgtEl>
                                      </p:cBhvr>
                                      <p:by x="65000" y="65000"/>
                                    </p:animScale>
                                  </p:childTnLst>
                                </p:cTn>
                              </p:par>
                              <p:par>
                                <p:cTn id="29" presetID="56" presetClass="path" presetSubtype="0" accel="50000" decel="50000" fill="hold" nodeType="withEffect">
                                  <p:stCondLst>
                                    <p:cond delay="0"/>
                                  </p:stCondLst>
                                  <p:childTnLst>
                                    <p:animMotion origin="layout" path="M -0.00273 -4.91557E-6 L -0.30906 0.21768 " pathEditMode="relative" rAng="0" ptsTypes="AA">
                                      <p:cBhvr>
                                        <p:cTn id="30" dur="2000" fill="hold"/>
                                        <p:tgtEl>
                                          <p:spTgt spid="26"/>
                                        </p:tgtEl>
                                        <p:attrNameLst>
                                          <p:attrName>ppt_x</p:attrName>
                                          <p:attrName>ppt_y</p:attrName>
                                        </p:attrNameLst>
                                      </p:cBhvr>
                                      <p:rCtr x="-15316" y="10872"/>
                                    </p:animMotion>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1">
                                            <p:txEl>
                                              <p:pRg st="0" end="0"/>
                                            </p:txEl>
                                          </p:spTgt>
                                        </p:tgtEl>
                                        <p:attrNameLst>
                                          <p:attrName>style.visibility</p:attrName>
                                        </p:attrNameLst>
                                      </p:cBhvr>
                                      <p:to>
                                        <p:strVal val="visible"/>
                                      </p:to>
                                    </p:set>
                                  </p:childTnLst>
                                </p:cTn>
                              </p:par>
                              <p:par>
                                <p:cTn id="35" presetID="10" presetClass="entr" presetSubtype="0" fill="hold" grpId="0" nodeType="withEffect">
                                  <p:stCondLst>
                                    <p:cond delay="0"/>
                                  </p:stCondLst>
                                  <p:childTnLst>
                                    <p:set>
                                      <p:cBhvr>
                                        <p:cTn id="36" dur="1" fill="hold">
                                          <p:stCondLst>
                                            <p:cond delay="0"/>
                                          </p:stCondLst>
                                        </p:cTn>
                                        <p:tgtEl>
                                          <p:spTgt spid="5"/>
                                        </p:tgtEl>
                                        <p:attrNameLst>
                                          <p:attrName>style.visibility</p:attrName>
                                        </p:attrNameLst>
                                      </p:cBhvr>
                                      <p:to>
                                        <p:strVal val="visible"/>
                                      </p:to>
                                    </p:set>
                                    <p:animEffect transition="in" filter="fade">
                                      <p:cBhvr>
                                        <p:cTn id="37" dur="500"/>
                                        <p:tgtEl>
                                          <p:spTgt spid="5"/>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6"/>
                                        </p:tgtEl>
                                        <p:attrNameLst>
                                          <p:attrName>style.visibility</p:attrName>
                                        </p:attrNameLst>
                                      </p:cBhvr>
                                      <p:to>
                                        <p:strVal val="visible"/>
                                      </p:to>
                                    </p:set>
                                    <p:animEffect transition="in" filter="fade">
                                      <p:cBhvr>
                                        <p:cTn id="40" dur="500"/>
                                        <p:tgtEl>
                                          <p:spTgt spid="6"/>
                                        </p:tgtEl>
                                      </p:cBhvr>
                                    </p:animEffect>
                                  </p:childTnLst>
                                </p:cTn>
                              </p:par>
                              <p:par>
                                <p:cTn id="41" presetID="1" presetClass="entr" presetSubtype="0" fill="hold" nodeType="withEffect">
                                  <p:stCondLst>
                                    <p:cond delay="0"/>
                                  </p:stCondLst>
                                  <p:childTnLst>
                                    <p:set>
                                      <p:cBhvr>
                                        <p:cTn id="42" dur="1" fill="hold">
                                          <p:stCondLst>
                                            <p:cond delay="0"/>
                                          </p:stCondLst>
                                        </p:cTn>
                                        <p:tgtEl>
                                          <p:spTgt spid="20"/>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3">
                                            <p:bg/>
                                          </p:spTgt>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3">
                                            <p:txEl>
                                              <p:pRg st="0" end="0"/>
                                            </p:txEl>
                                          </p:spTgt>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3">
                                            <p:txEl>
                                              <p:pRg st="1" end="1"/>
                                            </p:txEl>
                                          </p:spTgt>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27"/>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6" presetClass="emph" presetSubtype="0" fill="hold" nodeType="clickEffect">
                                  <p:stCondLst>
                                    <p:cond delay="0"/>
                                  </p:stCondLst>
                                  <p:childTnLst>
                                    <p:animScale>
                                      <p:cBhvr>
                                        <p:cTn id="56" dur="2000" fill="hold"/>
                                        <p:tgtEl>
                                          <p:spTgt spid="27"/>
                                        </p:tgtEl>
                                      </p:cBhvr>
                                      <p:by x="65000" y="65000"/>
                                    </p:animScale>
                                  </p:childTnLst>
                                </p:cTn>
                              </p:par>
                              <p:par>
                                <p:cTn id="57" presetID="56" presetClass="path" presetSubtype="0" accel="50000" decel="50000" fill="hold" nodeType="withEffect">
                                  <p:stCondLst>
                                    <p:cond delay="0"/>
                                  </p:stCondLst>
                                  <p:childTnLst>
                                    <p:animMotion origin="layout" path="M 0.00182 -4.16146E-6 L -0.00756 0.21606 " pathEditMode="relative" rAng="0" ptsTypes="AA">
                                      <p:cBhvr>
                                        <p:cTn id="58" dur="2000" fill="hold"/>
                                        <p:tgtEl>
                                          <p:spTgt spid="27"/>
                                        </p:tgtEl>
                                        <p:attrNameLst>
                                          <p:attrName>ppt_x</p:attrName>
                                          <p:attrName>ppt_y</p:attrName>
                                        </p:attrNameLst>
                                      </p:cBhvr>
                                      <p:rCtr x="-469" y="10803"/>
                                    </p:animMotion>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12">
                                            <p:txEl>
                                              <p:pRg st="0" end="0"/>
                                            </p:txEl>
                                          </p:spTgt>
                                        </p:tgtEl>
                                        <p:attrNameLst>
                                          <p:attrName>style.visibility</p:attrName>
                                        </p:attrNameLst>
                                      </p:cBhvr>
                                      <p:to>
                                        <p:strVal val="visible"/>
                                      </p:to>
                                    </p:set>
                                  </p:childTnLst>
                                </p:cTn>
                              </p:par>
                              <p:par>
                                <p:cTn id="63" presetID="10" presetClass="entr" presetSubtype="0" fill="hold" grpId="0" nodeType="withEffect">
                                  <p:stCondLst>
                                    <p:cond delay="0"/>
                                  </p:stCondLst>
                                  <p:childTnLst>
                                    <p:set>
                                      <p:cBhvr>
                                        <p:cTn id="64" dur="1" fill="hold">
                                          <p:stCondLst>
                                            <p:cond delay="0"/>
                                          </p:stCondLst>
                                        </p:cTn>
                                        <p:tgtEl>
                                          <p:spTgt spid="4"/>
                                        </p:tgtEl>
                                        <p:attrNameLst>
                                          <p:attrName>style.visibility</p:attrName>
                                        </p:attrNameLst>
                                      </p:cBhvr>
                                      <p:to>
                                        <p:strVal val="visible"/>
                                      </p:to>
                                    </p:set>
                                    <p:animEffect transition="in" filter="fade">
                                      <p:cBhvr>
                                        <p:cTn id="65" dur="500"/>
                                        <p:tgtEl>
                                          <p:spTgt spid="4"/>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7"/>
                                        </p:tgtEl>
                                        <p:attrNameLst>
                                          <p:attrName>style.visibility</p:attrName>
                                        </p:attrNameLst>
                                      </p:cBhvr>
                                      <p:to>
                                        <p:strVal val="visible"/>
                                      </p:to>
                                    </p:set>
                                    <p:animEffect transition="in" filter="fade">
                                      <p:cBhvr>
                                        <p:cTn id="68" dur="500"/>
                                        <p:tgtEl>
                                          <p:spTgt spid="7"/>
                                        </p:tgtEl>
                                      </p:cBhvr>
                                    </p:animEffect>
                                  </p:childTnLst>
                                </p:cTn>
                              </p:par>
                              <p:par>
                                <p:cTn id="69" presetID="1" presetClass="entr" presetSubtype="0" fill="hold" nodeType="withEffect">
                                  <p:stCondLst>
                                    <p:cond delay="0"/>
                                  </p:stCondLst>
                                  <p:childTnLst>
                                    <p:set>
                                      <p:cBhvr>
                                        <p:cTn id="70" dur="1" fill="hold">
                                          <p:stCondLst>
                                            <p:cond delay="0"/>
                                          </p:stCondLst>
                                        </p:cTn>
                                        <p:tgtEl>
                                          <p:spTgt spid="25"/>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14">
                                            <p:bg/>
                                          </p:spTgt>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14">
                                            <p:txEl>
                                              <p:pRg st="0" end="0"/>
                                            </p:txEl>
                                          </p:spTgt>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14">
                                            <p:txEl>
                                              <p:pRg st="1" end="1"/>
                                            </p:txEl>
                                          </p:spTgt>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14">
                                            <p:txEl>
                                              <p:pRg st="2" end="2"/>
                                            </p:txEl>
                                          </p:spTgt>
                                        </p:tgtEl>
                                        <p:attrNameLst>
                                          <p:attrName>style.visibility</p:attrName>
                                        </p:attrNameLst>
                                      </p:cBhvr>
                                      <p:to>
                                        <p:strVal val="visible"/>
                                      </p:to>
                                    </p:set>
                                  </p:childTnLst>
                                </p:cTn>
                              </p:par>
                            </p:childTnLst>
                          </p:cTn>
                        </p:par>
                      </p:childTnLst>
                    </p:cTn>
                  </p:par>
                  <p:par>
                    <p:cTn id="79" fill="hold">
                      <p:stCondLst>
                        <p:cond delay="indefinite"/>
                      </p:stCondLst>
                      <p:childTnLst>
                        <p:par>
                          <p:cTn id="80" fill="hold">
                            <p:stCondLst>
                              <p:cond delay="0"/>
                            </p:stCondLst>
                            <p:childTnLst>
                              <p:par>
                                <p:cTn id="81" presetID="1" presetClass="entr" presetSubtype="0" fill="hold" nodeType="clickEffect">
                                  <p:stCondLst>
                                    <p:cond delay="0"/>
                                  </p:stCondLst>
                                  <p:childTnLst>
                                    <p:set>
                                      <p:cBhvr>
                                        <p:cTn id="82" dur="1" fill="hold">
                                          <p:stCondLst>
                                            <p:cond delay="0"/>
                                          </p:stCondLst>
                                        </p:cTn>
                                        <p:tgtEl>
                                          <p:spTgt spid="28"/>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6" presetClass="emph" presetSubtype="0" fill="hold" nodeType="clickEffect">
                                  <p:stCondLst>
                                    <p:cond delay="0"/>
                                  </p:stCondLst>
                                  <p:childTnLst>
                                    <p:animScale>
                                      <p:cBhvr>
                                        <p:cTn id="86" dur="2000" fill="hold"/>
                                        <p:tgtEl>
                                          <p:spTgt spid="28"/>
                                        </p:tgtEl>
                                      </p:cBhvr>
                                      <p:by x="65000" y="65000"/>
                                    </p:animScale>
                                  </p:childTnLst>
                                </p:cTn>
                              </p:par>
                              <p:par>
                                <p:cTn id="87" presetID="56" presetClass="path" presetSubtype="0" accel="50000" decel="50000" fill="hold" nodeType="withEffect">
                                  <p:stCondLst>
                                    <p:cond delay="0"/>
                                  </p:stCondLst>
                                  <p:childTnLst>
                                    <p:animMotion origin="layout" path="M -2.28705E-6 -4.91557E-6 L 0.2881 0.21768 " pathEditMode="relative" rAng="0" ptsTypes="AA">
                                      <p:cBhvr>
                                        <p:cTn id="88" dur="2000" fill="hold"/>
                                        <p:tgtEl>
                                          <p:spTgt spid="28"/>
                                        </p:tgtEl>
                                        <p:attrNameLst>
                                          <p:attrName>ppt_x</p:attrName>
                                          <p:attrName>ppt_y</p:attrName>
                                        </p:attrNameLst>
                                      </p:cBhvr>
                                      <p:rCtr x="14405" y="1087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5" grpId="0" animBg="1"/>
      <p:bldP spid="6" grpId="0" animBg="1"/>
      <p:bldP spid="7" grpId="0" animBg="1"/>
      <p:bldP spid="9" grpId="0" build="p"/>
      <p:bldP spid="10" grpId="0" build="p" animBg="1"/>
      <p:bldP spid="11" grpId="0" build="p"/>
      <p:bldP spid="12" grpId="0" build="p"/>
      <p:bldP spid="13" grpId="0" build="p" animBg="1"/>
      <p:bldP spid="14" grpId="0" build="p" animBg="1"/>
    </p:bldLst>
  </p:timing>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224" name="Picture 240"/>
          <p:cNvPicPr>
            <a:picLocks noChangeAspect="1" noChangeArrowheads="1"/>
          </p:cNvPicPr>
          <p:nvPr/>
        </p:nvPicPr>
        <p:blipFill>
          <a:blip r:embed="rId3" cstate="print"/>
          <a:srcRect/>
          <a:stretch>
            <a:fillRect/>
          </a:stretch>
        </p:blipFill>
        <p:spPr bwMode="auto">
          <a:xfrm>
            <a:off x="5420968" y="3372142"/>
            <a:ext cx="383460" cy="242888"/>
          </a:xfrm>
          <a:prstGeom prst="rect">
            <a:avLst/>
          </a:prstGeom>
          <a:noFill/>
          <a:ln w="9525">
            <a:noFill/>
            <a:miter lim="800000"/>
            <a:headEnd/>
            <a:tailEnd/>
          </a:ln>
        </p:spPr>
      </p:pic>
      <p:grpSp>
        <p:nvGrpSpPr>
          <p:cNvPr id="10" name="Group 6"/>
          <p:cNvGrpSpPr>
            <a:grpSpLocks/>
          </p:cNvGrpSpPr>
          <p:nvPr/>
        </p:nvGrpSpPr>
        <p:grpSpPr bwMode="auto">
          <a:xfrm>
            <a:off x="2709000" y="3379288"/>
            <a:ext cx="1154909" cy="240506"/>
            <a:chOff x="-1920064" y="2147152"/>
            <a:chExt cx="1215648" cy="320790"/>
          </a:xfrm>
        </p:grpSpPr>
        <p:pic>
          <p:nvPicPr>
            <p:cNvPr id="45149" name="Picture 102"/>
            <p:cNvPicPr>
              <a:picLocks noChangeAspect="1"/>
            </p:cNvPicPr>
            <p:nvPr/>
          </p:nvPicPr>
          <p:blipFill>
            <a:blip r:embed="rId4" cstate="print"/>
            <a:srcRect/>
            <a:stretch>
              <a:fillRect/>
            </a:stretch>
          </p:blipFill>
          <p:spPr bwMode="auto">
            <a:xfrm>
              <a:off x="-1920064" y="2147152"/>
              <a:ext cx="324744" cy="320790"/>
            </a:xfrm>
            <a:prstGeom prst="rect">
              <a:avLst/>
            </a:prstGeom>
            <a:noFill/>
            <a:ln w="9525">
              <a:noFill/>
              <a:miter lim="800000"/>
              <a:headEnd/>
              <a:tailEnd/>
            </a:ln>
          </p:spPr>
        </p:pic>
        <p:pic>
          <p:nvPicPr>
            <p:cNvPr id="45150" name="Picture 105"/>
            <p:cNvPicPr>
              <a:picLocks noChangeAspect="1"/>
            </p:cNvPicPr>
            <p:nvPr/>
          </p:nvPicPr>
          <p:blipFill>
            <a:blip r:embed="rId4" cstate="print"/>
            <a:srcRect/>
            <a:stretch>
              <a:fillRect/>
            </a:stretch>
          </p:blipFill>
          <p:spPr bwMode="auto">
            <a:xfrm>
              <a:off x="-1029160" y="2147152"/>
              <a:ext cx="324744" cy="320790"/>
            </a:xfrm>
            <a:prstGeom prst="rect">
              <a:avLst/>
            </a:prstGeom>
            <a:noFill/>
            <a:ln w="9525">
              <a:noFill/>
              <a:miter lim="800000"/>
              <a:headEnd/>
              <a:tailEnd/>
            </a:ln>
          </p:spPr>
        </p:pic>
      </p:grpSp>
      <p:grpSp>
        <p:nvGrpSpPr>
          <p:cNvPr id="11" name="Group 123"/>
          <p:cNvGrpSpPr>
            <a:grpSpLocks/>
          </p:cNvGrpSpPr>
          <p:nvPr/>
        </p:nvGrpSpPr>
        <p:grpSpPr bwMode="auto">
          <a:xfrm>
            <a:off x="5284992" y="3357857"/>
            <a:ext cx="1154910" cy="241697"/>
            <a:chOff x="-1920064" y="2147152"/>
            <a:chExt cx="1215648" cy="320790"/>
          </a:xfrm>
        </p:grpSpPr>
        <p:pic>
          <p:nvPicPr>
            <p:cNvPr id="45147" name="Picture 124"/>
            <p:cNvPicPr>
              <a:picLocks noChangeAspect="1"/>
            </p:cNvPicPr>
            <p:nvPr/>
          </p:nvPicPr>
          <p:blipFill>
            <a:blip r:embed="rId4" cstate="print"/>
            <a:srcRect/>
            <a:stretch>
              <a:fillRect/>
            </a:stretch>
          </p:blipFill>
          <p:spPr bwMode="auto">
            <a:xfrm>
              <a:off x="-1920064" y="2147152"/>
              <a:ext cx="324744" cy="320790"/>
            </a:xfrm>
            <a:prstGeom prst="rect">
              <a:avLst/>
            </a:prstGeom>
            <a:noFill/>
            <a:ln w="9525">
              <a:noFill/>
              <a:miter lim="800000"/>
              <a:headEnd/>
              <a:tailEnd/>
            </a:ln>
          </p:spPr>
        </p:pic>
        <p:pic>
          <p:nvPicPr>
            <p:cNvPr id="45148" name="Picture 125"/>
            <p:cNvPicPr>
              <a:picLocks noChangeAspect="1"/>
            </p:cNvPicPr>
            <p:nvPr/>
          </p:nvPicPr>
          <p:blipFill>
            <a:blip r:embed="rId4" cstate="print"/>
            <a:srcRect/>
            <a:stretch>
              <a:fillRect/>
            </a:stretch>
          </p:blipFill>
          <p:spPr bwMode="auto">
            <a:xfrm>
              <a:off x="-1029160" y="2147152"/>
              <a:ext cx="324744" cy="320790"/>
            </a:xfrm>
            <a:prstGeom prst="rect">
              <a:avLst/>
            </a:prstGeom>
            <a:noFill/>
            <a:ln w="9525">
              <a:noFill/>
              <a:miter lim="800000"/>
              <a:headEnd/>
              <a:tailEnd/>
            </a:ln>
          </p:spPr>
        </p:pic>
      </p:grpSp>
      <p:pic>
        <p:nvPicPr>
          <p:cNvPr id="42237" name="Picture 253"/>
          <p:cNvPicPr>
            <a:picLocks noChangeAspect="1" noChangeArrowheads="1"/>
          </p:cNvPicPr>
          <p:nvPr/>
        </p:nvPicPr>
        <p:blipFill>
          <a:blip r:embed="rId3" cstate="print"/>
          <a:srcRect/>
          <a:stretch>
            <a:fillRect/>
          </a:stretch>
        </p:blipFill>
        <p:spPr bwMode="auto">
          <a:xfrm>
            <a:off x="6008101" y="3372142"/>
            <a:ext cx="383460" cy="242888"/>
          </a:xfrm>
          <a:prstGeom prst="rect">
            <a:avLst/>
          </a:prstGeom>
          <a:noFill/>
          <a:ln w="9525">
            <a:noFill/>
            <a:miter lim="800000"/>
            <a:headEnd/>
            <a:tailEnd/>
          </a:ln>
        </p:spPr>
      </p:pic>
      <p:sp>
        <p:nvSpPr>
          <p:cNvPr id="45066" name="AutoShape 129"/>
          <p:cNvSpPr>
            <a:spLocks noChangeArrowheads="1"/>
          </p:cNvSpPr>
          <p:nvPr/>
        </p:nvSpPr>
        <p:spPr bwMode="auto">
          <a:xfrm>
            <a:off x="113138" y="3086100"/>
            <a:ext cx="7145611" cy="1885950"/>
          </a:xfrm>
          <a:prstGeom prst="roundRect">
            <a:avLst>
              <a:gd name="adj" fmla="val 9282"/>
            </a:avLst>
          </a:prstGeom>
          <a:noFill/>
          <a:ln w="38100">
            <a:solidFill>
              <a:schemeClr val="bg1"/>
            </a:solidFill>
            <a:round/>
            <a:headEnd/>
            <a:tailEnd/>
          </a:ln>
        </p:spPr>
        <p:txBody>
          <a:bodyPr wrap="none" lIns="68586" tIns="34294" rIns="68586" bIns="34294" anchor="ctr"/>
          <a:lstStyle/>
          <a:p>
            <a:endParaRPr lang="en-US" sz="1500">
              <a:solidFill>
                <a:srgbClr val="000000"/>
              </a:solidFill>
            </a:endParaRPr>
          </a:p>
        </p:txBody>
      </p:sp>
      <p:sp>
        <p:nvSpPr>
          <p:cNvPr id="42116" name="AutoShape 132"/>
          <p:cNvSpPr>
            <a:spLocks noChangeArrowheads="1"/>
          </p:cNvSpPr>
          <p:nvPr/>
        </p:nvSpPr>
        <p:spPr bwMode="auto">
          <a:xfrm>
            <a:off x="2587098" y="3243555"/>
            <a:ext cx="2070929" cy="1600200"/>
          </a:xfrm>
          <a:prstGeom prst="roundRect">
            <a:avLst>
              <a:gd name="adj" fmla="val 7972"/>
            </a:avLst>
          </a:prstGeom>
          <a:noFill/>
          <a:ln w="38100">
            <a:solidFill>
              <a:srgbClr val="969696"/>
            </a:solidFill>
            <a:prstDash val="sysDot"/>
            <a:round/>
            <a:headEnd/>
            <a:tailEnd/>
          </a:ln>
        </p:spPr>
        <p:txBody>
          <a:bodyPr wrap="none" lIns="68586" tIns="34294" rIns="68586" bIns="34294" anchor="ctr"/>
          <a:lstStyle/>
          <a:p>
            <a:endParaRPr lang="en-US" sz="1500">
              <a:solidFill>
                <a:srgbClr val="000000"/>
              </a:solidFill>
            </a:endParaRPr>
          </a:p>
        </p:txBody>
      </p:sp>
      <p:sp>
        <p:nvSpPr>
          <p:cNvPr id="42117" name="AutoShape 133"/>
          <p:cNvSpPr>
            <a:spLocks noChangeArrowheads="1"/>
          </p:cNvSpPr>
          <p:nvPr/>
        </p:nvSpPr>
        <p:spPr bwMode="auto">
          <a:xfrm>
            <a:off x="4483563" y="3243555"/>
            <a:ext cx="2608737" cy="1600200"/>
          </a:xfrm>
          <a:prstGeom prst="roundRect">
            <a:avLst>
              <a:gd name="adj" fmla="val 7972"/>
            </a:avLst>
          </a:prstGeom>
          <a:noFill/>
          <a:ln w="38100">
            <a:solidFill>
              <a:schemeClr val="hlink"/>
            </a:solidFill>
            <a:prstDash val="sysDot"/>
            <a:round/>
            <a:headEnd/>
            <a:tailEnd/>
          </a:ln>
        </p:spPr>
        <p:txBody>
          <a:bodyPr wrap="none" lIns="68586" tIns="34294" rIns="68586" bIns="34294" anchor="ctr"/>
          <a:lstStyle/>
          <a:p>
            <a:endParaRPr lang="en-US" sz="1500">
              <a:solidFill>
                <a:srgbClr val="000000"/>
              </a:solidFill>
            </a:endParaRPr>
          </a:p>
        </p:txBody>
      </p:sp>
      <p:pic>
        <p:nvPicPr>
          <p:cNvPr id="42" name="Hyper-V logo"/>
          <p:cNvPicPr>
            <a:picLocks noChangeAspect="1" noChangeArrowheads="1"/>
          </p:cNvPicPr>
          <p:nvPr/>
        </p:nvPicPr>
        <p:blipFill>
          <a:blip r:embed="rId5" cstate="print"/>
          <a:srcRect/>
          <a:stretch>
            <a:fillRect/>
          </a:stretch>
        </p:blipFill>
        <p:spPr bwMode="auto">
          <a:xfrm>
            <a:off x="4330842" y="4366316"/>
            <a:ext cx="591797" cy="322659"/>
          </a:xfrm>
          <a:prstGeom prst="rect">
            <a:avLst/>
          </a:prstGeom>
          <a:noFill/>
          <a:ln w="9525">
            <a:noFill/>
            <a:miter lim="800000"/>
            <a:headEnd/>
            <a:tailEnd/>
          </a:ln>
        </p:spPr>
      </p:pic>
      <p:pic>
        <p:nvPicPr>
          <p:cNvPr id="43" name="Hyper-V logo"/>
          <p:cNvPicPr>
            <a:picLocks noChangeAspect="1" noChangeArrowheads="1"/>
          </p:cNvPicPr>
          <p:nvPr/>
        </p:nvPicPr>
        <p:blipFill>
          <a:blip r:embed="rId5" cstate="print">
            <a:duotone>
              <a:schemeClr val="accent3">
                <a:shade val="45000"/>
                <a:satMod val="135000"/>
              </a:schemeClr>
              <a:prstClr val="white"/>
            </a:duotone>
          </a:blip>
          <a:srcRect/>
          <a:stretch>
            <a:fillRect/>
          </a:stretch>
        </p:blipFill>
        <p:spPr bwMode="auto">
          <a:xfrm>
            <a:off x="3076355" y="4370171"/>
            <a:ext cx="591078" cy="322941"/>
          </a:xfrm>
          <a:prstGeom prst="rect">
            <a:avLst/>
          </a:prstGeom>
          <a:noFill/>
          <a:ln w="9525">
            <a:noFill/>
            <a:miter lim="800000"/>
            <a:headEnd/>
            <a:tailEnd/>
          </a:ln>
        </p:spPr>
      </p:pic>
      <p:grpSp>
        <p:nvGrpSpPr>
          <p:cNvPr id="13" name="Group 169"/>
          <p:cNvGrpSpPr>
            <a:grpSpLocks/>
          </p:cNvGrpSpPr>
          <p:nvPr/>
        </p:nvGrpSpPr>
        <p:grpSpPr bwMode="auto">
          <a:xfrm>
            <a:off x="2638944" y="3818628"/>
            <a:ext cx="1410046" cy="394097"/>
            <a:chOff x="4537" y="3019"/>
            <a:chExt cx="934" cy="331"/>
          </a:xfrm>
        </p:grpSpPr>
        <p:pic>
          <p:nvPicPr>
            <p:cNvPr id="45143" name="Picture 51"/>
            <p:cNvPicPr>
              <a:picLocks noChangeAspect="1"/>
            </p:cNvPicPr>
            <p:nvPr/>
          </p:nvPicPr>
          <p:blipFill>
            <a:blip r:embed="rId6" cstate="print"/>
            <a:srcRect/>
            <a:stretch>
              <a:fillRect/>
            </a:stretch>
          </p:blipFill>
          <p:spPr bwMode="auto">
            <a:xfrm>
              <a:off x="4537" y="3019"/>
              <a:ext cx="323" cy="331"/>
            </a:xfrm>
            <a:prstGeom prst="rect">
              <a:avLst/>
            </a:prstGeom>
            <a:noFill/>
            <a:ln w="9525">
              <a:noFill/>
              <a:miter lim="800000"/>
              <a:headEnd/>
              <a:tailEnd/>
            </a:ln>
          </p:spPr>
        </p:pic>
        <p:pic>
          <p:nvPicPr>
            <p:cNvPr id="45144" name="Picture 52"/>
            <p:cNvPicPr>
              <a:picLocks noChangeAspect="1"/>
            </p:cNvPicPr>
            <p:nvPr/>
          </p:nvPicPr>
          <p:blipFill>
            <a:blip r:embed="rId6" cstate="print"/>
            <a:srcRect/>
            <a:stretch>
              <a:fillRect/>
            </a:stretch>
          </p:blipFill>
          <p:spPr bwMode="auto">
            <a:xfrm>
              <a:off x="5148" y="3019"/>
              <a:ext cx="323" cy="331"/>
            </a:xfrm>
            <a:prstGeom prst="rect">
              <a:avLst/>
            </a:prstGeom>
            <a:noFill/>
            <a:ln w="9525">
              <a:noFill/>
              <a:miter lim="800000"/>
              <a:headEnd/>
              <a:tailEnd/>
            </a:ln>
          </p:spPr>
        </p:pic>
      </p:grpSp>
      <p:grpSp>
        <p:nvGrpSpPr>
          <p:cNvPr id="14" name="Group 167"/>
          <p:cNvGrpSpPr>
            <a:grpSpLocks/>
          </p:cNvGrpSpPr>
          <p:nvPr/>
        </p:nvGrpSpPr>
        <p:grpSpPr bwMode="auto">
          <a:xfrm>
            <a:off x="4983335" y="3757907"/>
            <a:ext cx="1841816" cy="394097"/>
            <a:chOff x="2207" y="2976"/>
            <a:chExt cx="1220" cy="331"/>
          </a:xfrm>
        </p:grpSpPr>
        <p:grpSp>
          <p:nvGrpSpPr>
            <p:cNvPr id="45137" name="Group 19"/>
            <p:cNvGrpSpPr>
              <a:grpSpLocks/>
            </p:cNvGrpSpPr>
            <p:nvPr/>
          </p:nvGrpSpPr>
          <p:grpSpPr bwMode="auto">
            <a:xfrm>
              <a:off x="2735" y="2976"/>
              <a:ext cx="692" cy="331"/>
              <a:chOff x="4611910" y="5123178"/>
              <a:chExt cx="1098996" cy="525975"/>
            </a:xfrm>
          </p:grpSpPr>
          <p:pic>
            <p:nvPicPr>
              <p:cNvPr id="48" name="Picture 47"/>
              <p:cNvPicPr>
                <a:picLocks noChangeAspect="1"/>
              </p:cNvPicPr>
              <p:nvPr/>
            </p:nvPicPr>
            <p:blipFill>
              <a:blip r:embed="rId6" cstate="print">
                <a:duotone>
                  <a:prstClr val="black"/>
                  <a:srgbClr val="D9C3A5">
                    <a:tint val="50000"/>
                    <a:satMod val="180000"/>
                  </a:srgbClr>
                </a:duotone>
                <a:extLst/>
              </a:blip>
              <a:stretch>
                <a:fillRect/>
              </a:stretch>
            </p:blipFill>
            <p:spPr>
              <a:xfrm>
                <a:off x="5199257" y="5123178"/>
                <a:ext cx="511649" cy="525975"/>
              </a:xfrm>
              <a:prstGeom prst="rect">
                <a:avLst/>
              </a:prstGeom>
            </p:spPr>
          </p:pic>
          <p:pic>
            <p:nvPicPr>
              <p:cNvPr id="49" name="Picture 48"/>
              <p:cNvPicPr>
                <a:picLocks noChangeAspect="1"/>
              </p:cNvPicPr>
              <p:nvPr/>
            </p:nvPicPr>
            <p:blipFill>
              <a:blip r:embed="rId6" cstate="print">
                <a:duotone>
                  <a:prstClr val="black"/>
                  <a:schemeClr val="accent1">
                    <a:tint val="45000"/>
                    <a:satMod val="400000"/>
                  </a:schemeClr>
                </a:duotone>
                <a:extLst/>
              </a:blip>
              <a:stretch>
                <a:fillRect/>
              </a:stretch>
            </p:blipFill>
            <p:spPr>
              <a:xfrm>
                <a:off x="4611910" y="5123178"/>
                <a:ext cx="511649" cy="525975"/>
              </a:xfrm>
              <a:prstGeom prst="rect">
                <a:avLst/>
              </a:prstGeom>
            </p:spPr>
          </p:pic>
        </p:grpSp>
        <p:grpSp>
          <p:nvGrpSpPr>
            <p:cNvPr id="45138" name="Group 18"/>
            <p:cNvGrpSpPr>
              <a:grpSpLocks/>
            </p:cNvGrpSpPr>
            <p:nvPr/>
          </p:nvGrpSpPr>
          <p:grpSpPr bwMode="auto">
            <a:xfrm>
              <a:off x="2207" y="2976"/>
              <a:ext cx="452" cy="331"/>
              <a:chOff x="3727921" y="5123179"/>
              <a:chExt cx="717471" cy="525975"/>
            </a:xfrm>
          </p:grpSpPr>
          <p:pic>
            <p:nvPicPr>
              <p:cNvPr id="45139" name="Picture 54"/>
              <p:cNvPicPr>
                <a:picLocks noChangeAspect="1"/>
              </p:cNvPicPr>
              <p:nvPr/>
            </p:nvPicPr>
            <p:blipFill>
              <a:blip r:embed="rId6" cstate="print"/>
              <a:srcRect/>
              <a:stretch>
                <a:fillRect/>
              </a:stretch>
            </p:blipFill>
            <p:spPr bwMode="auto">
              <a:xfrm>
                <a:off x="3933743" y="5123179"/>
                <a:ext cx="511649" cy="525975"/>
              </a:xfrm>
              <a:prstGeom prst="rect">
                <a:avLst/>
              </a:prstGeom>
              <a:noFill/>
              <a:ln w="9525">
                <a:noFill/>
                <a:miter lim="800000"/>
                <a:headEnd/>
                <a:tailEnd/>
              </a:ln>
            </p:spPr>
          </p:pic>
          <p:pic>
            <p:nvPicPr>
              <p:cNvPr id="45140" name="Picture 55"/>
              <p:cNvPicPr>
                <a:picLocks noChangeAspect="1"/>
              </p:cNvPicPr>
              <p:nvPr/>
            </p:nvPicPr>
            <p:blipFill>
              <a:blip r:embed="rId6" cstate="print"/>
              <a:srcRect/>
              <a:stretch>
                <a:fillRect/>
              </a:stretch>
            </p:blipFill>
            <p:spPr bwMode="auto">
              <a:xfrm>
                <a:off x="3727921" y="5123179"/>
                <a:ext cx="511649" cy="525975"/>
              </a:xfrm>
              <a:prstGeom prst="rect">
                <a:avLst/>
              </a:prstGeom>
              <a:noFill/>
              <a:ln w="9525">
                <a:noFill/>
                <a:miter lim="800000"/>
                <a:headEnd/>
                <a:tailEnd/>
              </a:ln>
            </p:spPr>
          </p:pic>
        </p:grpSp>
      </p:grpSp>
      <p:grpSp>
        <p:nvGrpSpPr>
          <p:cNvPr id="18" name="Group 166"/>
          <p:cNvGrpSpPr>
            <a:grpSpLocks/>
          </p:cNvGrpSpPr>
          <p:nvPr/>
        </p:nvGrpSpPr>
        <p:grpSpPr bwMode="auto">
          <a:xfrm>
            <a:off x="5007574" y="4361552"/>
            <a:ext cx="1864463" cy="322659"/>
            <a:chOff x="2220" y="3483"/>
            <a:chExt cx="1235" cy="271"/>
          </a:xfrm>
        </p:grpSpPr>
        <p:pic>
          <p:nvPicPr>
            <p:cNvPr id="45132" name="Hyper-V logo"/>
            <p:cNvPicPr>
              <a:picLocks noChangeAspect="1" noChangeArrowheads="1"/>
            </p:cNvPicPr>
            <p:nvPr/>
          </p:nvPicPr>
          <p:blipFill>
            <a:blip r:embed="rId5" cstate="print"/>
            <a:srcRect/>
            <a:stretch>
              <a:fillRect/>
            </a:stretch>
          </p:blipFill>
          <p:spPr bwMode="auto">
            <a:xfrm>
              <a:off x="2220" y="3483"/>
              <a:ext cx="391" cy="271"/>
            </a:xfrm>
            <a:prstGeom prst="rect">
              <a:avLst/>
            </a:prstGeom>
            <a:noFill/>
            <a:ln w="9525">
              <a:noFill/>
              <a:miter lim="800000"/>
              <a:headEnd/>
              <a:tailEnd/>
            </a:ln>
          </p:spPr>
        </p:pic>
        <p:pic>
          <p:nvPicPr>
            <p:cNvPr id="45133" name="Hyper-V logo"/>
            <p:cNvPicPr>
              <a:picLocks noChangeAspect="1" noChangeArrowheads="1"/>
            </p:cNvPicPr>
            <p:nvPr/>
          </p:nvPicPr>
          <p:blipFill>
            <a:blip r:embed="rId5" cstate="print"/>
            <a:srcRect/>
            <a:stretch>
              <a:fillRect/>
            </a:stretch>
          </p:blipFill>
          <p:spPr bwMode="auto">
            <a:xfrm>
              <a:off x="3063" y="3483"/>
              <a:ext cx="392" cy="271"/>
            </a:xfrm>
            <a:prstGeom prst="rect">
              <a:avLst/>
            </a:prstGeom>
            <a:noFill/>
            <a:ln w="9525">
              <a:noFill/>
              <a:miter lim="800000"/>
              <a:headEnd/>
              <a:tailEnd/>
            </a:ln>
          </p:spPr>
        </p:pic>
        <p:pic>
          <p:nvPicPr>
            <p:cNvPr id="112" name="Hyper-V logo"/>
            <p:cNvPicPr>
              <a:picLocks noChangeAspect="1" noChangeArrowheads="1"/>
            </p:cNvPicPr>
            <p:nvPr/>
          </p:nvPicPr>
          <p:blipFill>
            <a:blip r:embed="rId5" cstate="print">
              <a:duotone>
                <a:schemeClr val="accent3">
                  <a:shade val="45000"/>
                  <a:satMod val="135000"/>
                </a:schemeClr>
                <a:prstClr val="white"/>
              </a:duotone>
            </a:blip>
            <a:srcRect/>
            <a:stretch>
              <a:fillRect/>
            </a:stretch>
          </p:blipFill>
          <p:spPr bwMode="auto">
            <a:xfrm>
              <a:off x="2638" y="3483"/>
              <a:ext cx="391" cy="271"/>
            </a:xfrm>
            <a:prstGeom prst="rect">
              <a:avLst/>
            </a:prstGeom>
            <a:noFill/>
            <a:ln w="9525">
              <a:noFill/>
              <a:miter lim="800000"/>
              <a:headEnd/>
              <a:tailEnd/>
            </a:ln>
          </p:spPr>
        </p:pic>
      </p:grpSp>
      <p:pic>
        <p:nvPicPr>
          <p:cNvPr id="3" name="Picture 2"/>
          <p:cNvPicPr>
            <a:picLocks noChangeAspect="1"/>
          </p:cNvPicPr>
          <p:nvPr/>
        </p:nvPicPr>
        <p:blipFill>
          <a:blip r:embed="rId7" cstate="print"/>
          <a:srcRect/>
          <a:stretch>
            <a:fillRect/>
          </a:stretch>
        </p:blipFill>
        <p:spPr bwMode="auto">
          <a:xfrm>
            <a:off x="4995945" y="3700755"/>
            <a:ext cx="1699907" cy="495300"/>
          </a:xfrm>
          <a:prstGeom prst="rect">
            <a:avLst/>
          </a:prstGeom>
          <a:noFill/>
          <a:ln w="9525">
            <a:noFill/>
            <a:miter lim="800000"/>
            <a:headEnd/>
            <a:tailEnd/>
          </a:ln>
        </p:spPr>
      </p:pic>
      <p:pic>
        <p:nvPicPr>
          <p:cNvPr id="5" name="Picture 4"/>
          <p:cNvPicPr>
            <a:picLocks noChangeAspect="1"/>
          </p:cNvPicPr>
          <p:nvPr/>
        </p:nvPicPr>
        <p:blipFill>
          <a:blip r:embed="rId8" cstate="print">
            <a:duotone>
              <a:prstClr val="black"/>
              <a:schemeClr val="tx2">
                <a:tint val="45000"/>
                <a:satMod val="400000"/>
              </a:schemeClr>
            </a:duotone>
            <a:extLst/>
          </a:blip>
          <a:stretch>
            <a:fillRect/>
          </a:stretch>
        </p:blipFill>
        <p:spPr>
          <a:xfrm>
            <a:off x="3090025" y="4286440"/>
            <a:ext cx="622478" cy="498926"/>
          </a:xfrm>
          <a:prstGeom prst="rect">
            <a:avLst/>
          </a:prstGeom>
        </p:spPr>
      </p:pic>
      <p:grpSp>
        <p:nvGrpSpPr>
          <p:cNvPr id="19" name="Group 224"/>
          <p:cNvGrpSpPr>
            <a:grpSpLocks/>
          </p:cNvGrpSpPr>
          <p:nvPr/>
        </p:nvGrpSpPr>
        <p:grpSpPr bwMode="auto">
          <a:xfrm>
            <a:off x="4270595" y="3763859"/>
            <a:ext cx="682378" cy="394097"/>
            <a:chOff x="3675" y="4512"/>
            <a:chExt cx="452" cy="331"/>
          </a:xfrm>
        </p:grpSpPr>
        <p:pic>
          <p:nvPicPr>
            <p:cNvPr id="45128" name="Picture 77"/>
            <p:cNvPicPr>
              <a:picLocks noChangeAspect="1"/>
            </p:cNvPicPr>
            <p:nvPr/>
          </p:nvPicPr>
          <p:blipFill>
            <a:blip r:embed="rId6" cstate="print"/>
            <a:srcRect/>
            <a:stretch>
              <a:fillRect/>
            </a:stretch>
          </p:blipFill>
          <p:spPr bwMode="auto">
            <a:xfrm>
              <a:off x="3805" y="4512"/>
              <a:ext cx="322" cy="331"/>
            </a:xfrm>
            <a:prstGeom prst="rect">
              <a:avLst/>
            </a:prstGeom>
            <a:noFill/>
            <a:ln w="9525">
              <a:noFill/>
              <a:miter lim="800000"/>
              <a:headEnd/>
              <a:tailEnd/>
            </a:ln>
          </p:spPr>
        </p:pic>
        <p:pic>
          <p:nvPicPr>
            <p:cNvPr id="45129" name="Picture 78"/>
            <p:cNvPicPr>
              <a:picLocks noChangeAspect="1"/>
            </p:cNvPicPr>
            <p:nvPr/>
          </p:nvPicPr>
          <p:blipFill>
            <a:blip r:embed="rId6" cstate="print"/>
            <a:srcRect/>
            <a:stretch>
              <a:fillRect/>
            </a:stretch>
          </p:blipFill>
          <p:spPr bwMode="auto">
            <a:xfrm>
              <a:off x="3675" y="4512"/>
              <a:ext cx="322" cy="331"/>
            </a:xfrm>
            <a:prstGeom prst="rect">
              <a:avLst/>
            </a:prstGeom>
            <a:noFill/>
            <a:ln w="9525">
              <a:noFill/>
              <a:miter lim="800000"/>
              <a:headEnd/>
              <a:tailEnd/>
            </a:ln>
          </p:spPr>
        </p:pic>
        <p:pic>
          <p:nvPicPr>
            <p:cNvPr id="45130" name="Picture 112"/>
            <p:cNvPicPr>
              <a:picLocks noChangeAspect="1"/>
            </p:cNvPicPr>
            <p:nvPr/>
          </p:nvPicPr>
          <p:blipFill>
            <a:blip r:embed="rId6" cstate="print"/>
            <a:srcRect/>
            <a:stretch>
              <a:fillRect/>
            </a:stretch>
          </p:blipFill>
          <p:spPr bwMode="auto">
            <a:xfrm>
              <a:off x="3805" y="4512"/>
              <a:ext cx="322" cy="331"/>
            </a:xfrm>
            <a:prstGeom prst="rect">
              <a:avLst/>
            </a:prstGeom>
            <a:noFill/>
            <a:ln w="9525">
              <a:noFill/>
              <a:miter lim="800000"/>
              <a:headEnd/>
              <a:tailEnd/>
            </a:ln>
          </p:spPr>
        </p:pic>
        <p:pic>
          <p:nvPicPr>
            <p:cNvPr id="45131" name="Picture 113"/>
            <p:cNvPicPr>
              <a:picLocks noChangeAspect="1"/>
            </p:cNvPicPr>
            <p:nvPr/>
          </p:nvPicPr>
          <p:blipFill>
            <a:blip r:embed="rId6" cstate="print"/>
            <a:srcRect/>
            <a:stretch>
              <a:fillRect/>
            </a:stretch>
          </p:blipFill>
          <p:spPr bwMode="auto">
            <a:xfrm>
              <a:off x="3675" y="4512"/>
              <a:ext cx="322" cy="331"/>
            </a:xfrm>
            <a:prstGeom prst="rect">
              <a:avLst/>
            </a:prstGeom>
            <a:noFill/>
            <a:ln w="9525">
              <a:noFill/>
              <a:miter lim="800000"/>
              <a:headEnd/>
              <a:tailEnd/>
            </a:ln>
          </p:spPr>
        </p:pic>
      </p:grpSp>
      <p:grpSp>
        <p:nvGrpSpPr>
          <p:cNvPr id="20" name="Group 225"/>
          <p:cNvGrpSpPr>
            <a:grpSpLocks/>
          </p:cNvGrpSpPr>
          <p:nvPr/>
        </p:nvGrpSpPr>
        <p:grpSpPr bwMode="auto">
          <a:xfrm>
            <a:off x="4270595" y="3757907"/>
            <a:ext cx="682378" cy="394097"/>
            <a:chOff x="3675" y="4512"/>
            <a:chExt cx="452" cy="331"/>
          </a:xfrm>
        </p:grpSpPr>
        <p:pic>
          <p:nvPicPr>
            <p:cNvPr id="45124" name="Picture 77"/>
            <p:cNvPicPr>
              <a:picLocks noChangeAspect="1"/>
            </p:cNvPicPr>
            <p:nvPr/>
          </p:nvPicPr>
          <p:blipFill>
            <a:blip r:embed="rId6" cstate="print"/>
            <a:srcRect/>
            <a:stretch>
              <a:fillRect/>
            </a:stretch>
          </p:blipFill>
          <p:spPr bwMode="auto">
            <a:xfrm>
              <a:off x="3805" y="4512"/>
              <a:ext cx="322" cy="331"/>
            </a:xfrm>
            <a:prstGeom prst="rect">
              <a:avLst/>
            </a:prstGeom>
            <a:noFill/>
            <a:ln w="9525">
              <a:noFill/>
              <a:miter lim="800000"/>
              <a:headEnd/>
              <a:tailEnd/>
            </a:ln>
          </p:spPr>
        </p:pic>
        <p:pic>
          <p:nvPicPr>
            <p:cNvPr id="45125" name="Picture 78"/>
            <p:cNvPicPr>
              <a:picLocks noChangeAspect="1"/>
            </p:cNvPicPr>
            <p:nvPr/>
          </p:nvPicPr>
          <p:blipFill>
            <a:blip r:embed="rId6" cstate="print"/>
            <a:srcRect/>
            <a:stretch>
              <a:fillRect/>
            </a:stretch>
          </p:blipFill>
          <p:spPr bwMode="auto">
            <a:xfrm>
              <a:off x="3675" y="4512"/>
              <a:ext cx="322" cy="331"/>
            </a:xfrm>
            <a:prstGeom prst="rect">
              <a:avLst/>
            </a:prstGeom>
            <a:noFill/>
            <a:ln w="9525">
              <a:noFill/>
              <a:miter lim="800000"/>
              <a:headEnd/>
              <a:tailEnd/>
            </a:ln>
          </p:spPr>
        </p:pic>
        <p:pic>
          <p:nvPicPr>
            <p:cNvPr id="45126" name="Picture 112"/>
            <p:cNvPicPr>
              <a:picLocks noChangeAspect="1"/>
            </p:cNvPicPr>
            <p:nvPr/>
          </p:nvPicPr>
          <p:blipFill>
            <a:blip r:embed="rId6" cstate="print"/>
            <a:srcRect/>
            <a:stretch>
              <a:fillRect/>
            </a:stretch>
          </p:blipFill>
          <p:spPr bwMode="auto">
            <a:xfrm>
              <a:off x="3805" y="4512"/>
              <a:ext cx="322" cy="331"/>
            </a:xfrm>
            <a:prstGeom prst="rect">
              <a:avLst/>
            </a:prstGeom>
            <a:noFill/>
            <a:ln w="9525">
              <a:noFill/>
              <a:miter lim="800000"/>
              <a:headEnd/>
              <a:tailEnd/>
            </a:ln>
          </p:spPr>
        </p:pic>
        <p:pic>
          <p:nvPicPr>
            <p:cNvPr id="45127" name="Picture 113"/>
            <p:cNvPicPr>
              <a:picLocks noChangeAspect="1"/>
            </p:cNvPicPr>
            <p:nvPr/>
          </p:nvPicPr>
          <p:blipFill>
            <a:blip r:embed="rId6" cstate="print"/>
            <a:srcRect/>
            <a:stretch>
              <a:fillRect/>
            </a:stretch>
          </p:blipFill>
          <p:spPr bwMode="auto">
            <a:xfrm>
              <a:off x="3675" y="4512"/>
              <a:ext cx="322" cy="331"/>
            </a:xfrm>
            <a:prstGeom prst="rect">
              <a:avLst/>
            </a:prstGeom>
            <a:noFill/>
            <a:ln w="9525">
              <a:noFill/>
              <a:miter lim="800000"/>
              <a:headEnd/>
              <a:tailEnd/>
            </a:ln>
          </p:spPr>
        </p:pic>
      </p:grpSp>
      <p:pic>
        <p:nvPicPr>
          <p:cNvPr id="45117" name="Picture 98" descr="Cloud"/>
          <p:cNvPicPr>
            <a:picLocks noChangeAspect="1" noChangeArrowheads="1"/>
          </p:cNvPicPr>
          <p:nvPr/>
        </p:nvPicPr>
        <p:blipFill>
          <a:blip r:embed="rId9" cstate="print"/>
          <a:srcRect/>
          <a:stretch>
            <a:fillRect/>
          </a:stretch>
        </p:blipFill>
        <p:spPr bwMode="auto">
          <a:xfrm>
            <a:off x="3314373" y="1085851"/>
            <a:ext cx="3887212" cy="1593056"/>
          </a:xfrm>
          <a:prstGeom prst="rect">
            <a:avLst/>
          </a:prstGeom>
          <a:noFill/>
          <a:ln w="9525">
            <a:noFill/>
            <a:miter lim="800000"/>
            <a:headEnd/>
            <a:tailEnd/>
          </a:ln>
        </p:spPr>
      </p:pic>
      <p:pic>
        <p:nvPicPr>
          <p:cNvPr id="45118" name="Picture 99" descr="Cloud"/>
          <p:cNvPicPr>
            <a:picLocks noChangeAspect="1" noChangeArrowheads="1"/>
          </p:cNvPicPr>
          <p:nvPr/>
        </p:nvPicPr>
        <p:blipFill>
          <a:blip r:embed="rId10" cstate="print"/>
          <a:srcRect/>
          <a:stretch>
            <a:fillRect/>
          </a:stretch>
        </p:blipFill>
        <p:spPr bwMode="auto">
          <a:xfrm>
            <a:off x="601422" y="1371601"/>
            <a:ext cx="2686750" cy="1102519"/>
          </a:xfrm>
          <a:prstGeom prst="rect">
            <a:avLst/>
          </a:prstGeom>
          <a:noFill/>
          <a:ln w="9525">
            <a:noFill/>
            <a:miter lim="800000"/>
            <a:headEnd/>
            <a:tailEnd/>
          </a:ln>
        </p:spPr>
      </p:pic>
      <p:sp>
        <p:nvSpPr>
          <p:cNvPr id="45119" name="Text Box 122"/>
          <p:cNvSpPr txBox="1">
            <a:spLocks noChangeArrowheads="1"/>
          </p:cNvSpPr>
          <p:nvPr/>
        </p:nvSpPr>
        <p:spPr bwMode="auto">
          <a:xfrm>
            <a:off x="857950" y="1997462"/>
            <a:ext cx="1291213" cy="288539"/>
          </a:xfrm>
          <a:prstGeom prst="rect">
            <a:avLst/>
          </a:prstGeom>
          <a:noFill/>
          <a:ln w="9525">
            <a:noFill/>
            <a:miter lim="800000"/>
            <a:headEnd/>
            <a:tailEnd/>
          </a:ln>
        </p:spPr>
        <p:txBody>
          <a:bodyPr wrap="none" lIns="68586" tIns="34294" rIns="68586" bIns="34294" anchor="b">
            <a:spAutoFit/>
          </a:bodyPr>
          <a:lstStyle/>
          <a:p>
            <a:pPr algn="ctr"/>
            <a:r>
              <a:rPr lang="en-US" b="1">
                <a:solidFill>
                  <a:srgbClr val="FFFFFF"/>
                </a:solidFill>
              </a:rPr>
              <a:t>Development</a:t>
            </a:r>
          </a:p>
        </p:txBody>
      </p:sp>
      <p:sp>
        <p:nvSpPr>
          <p:cNvPr id="45123" name="Text Box 121"/>
          <p:cNvSpPr txBox="1">
            <a:spLocks noChangeArrowheads="1"/>
          </p:cNvSpPr>
          <p:nvPr/>
        </p:nvSpPr>
        <p:spPr bwMode="auto">
          <a:xfrm>
            <a:off x="6005026" y="2089141"/>
            <a:ext cx="1090240" cy="288539"/>
          </a:xfrm>
          <a:prstGeom prst="rect">
            <a:avLst/>
          </a:prstGeom>
          <a:noFill/>
          <a:ln w="9525">
            <a:noFill/>
            <a:miter lim="800000"/>
            <a:headEnd/>
            <a:tailEnd/>
          </a:ln>
        </p:spPr>
        <p:txBody>
          <a:bodyPr wrap="none" lIns="68586" tIns="34294" rIns="68586" bIns="34294" anchor="b">
            <a:spAutoFit/>
          </a:bodyPr>
          <a:lstStyle/>
          <a:p>
            <a:pPr algn="ctr"/>
            <a:r>
              <a:rPr lang="en-US" b="1">
                <a:solidFill>
                  <a:srgbClr val="FFFFFF"/>
                </a:solidFill>
              </a:rPr>
              <a:t>Production</a:t>
            </a:r>
          </a:p>
        </p:txBody>
      </p:sp>
      <p:sp>
        <p:nvSpPr>
          <p:cNvPr id="45084" name="Title 1"/>
          <p:cNvSpPr>
            <a:spLocks noGrp="1"/>
          </p:cNvSpPr>
          <p:nvPr>
            <p:ph type="title"/>
          </p:nvPr>
        </p:nvSpPr>
        <p:spPr>
          <a:xfrm>
            <a:off x="195910" y="133946"/>
            <a:ext cx="8402047" cy="415499"/>
          </a:xfrm>
        </p:spPr>
        <p:txBody>
          <a:bodyPr/>
          <a:lstStyle/>
          <a:p>
            <a:pPr eaLnBrk="1" hangingPunct="1"/>
            <a:r>
              <a:rPr lang="en-US" sz="3000" dirty="0"/>
              <a:t>Agenda</a:t>
            </a:r>
          </a:p>
        </p:txBody>
      </p:sp>
      <p:grpSp>
        <p:nvGrpSpPr>
          <p:cNvPr id="22" name="Group 236"/>
          <p:cNvGrpSpPr>
            <a:grpSpLocks/>
          </p:cNvGrpSpPr>
          <p:nvPr/>
        </p:nvGrpSpPr>
        <p:grpSpPr bwMode="auto">
          <a:xfrm>
            <a:off x="3710954" y="1778795"/>
            <a:ext cx="1257628" cy="478631"/>
            <a:chOff x="335" y="1296"/>
            <a:chExt cx="1056" cy="402"/>
          </a:xfrm>
        </p:grpSpPr>
        <p:pic>
          <p:nvPicPr>
            <p:cNvPr id="45115" name="Picture 100" descr="Cloud"/>
            <p:cNvPicPr>
              <a:picLocks noChangeAspect="1" noChangeArrowheads="1"/>
            </p:cNvPicPr>
            <p:nvPr/>
          </p:nvPicPr>
          <p:blipFill>
            <a:blip r:embed="rId11" cstate="print"/>
            <a:srcRect/>
            <a:stretch>
              <a:fillRect/>
            </a:stretch>
          </p:blipFill>
          <p:spPr bwMode="auto">
            <a:xfrm>
              <a:off x="431" y="1296"/>
              <a:ext cx="960" cy="402"/>
            </a:xfrm>
            <a:prstGeom prst="rect">
              <a:avLst/>
            </a:prstGeom>
            <a:noFill/>
            <a:ln w="9525">
              <a:noFill/>
              <a:miter lim="800000"/>
              <a:headEnd/>
              <a:tailEnd/>
            </a:ln>
          </p:spPr>
        </p:pic>
        <p:pic>
          <p:nvPicPr>
            <p:cNvPr id="45116" name="Picture 64"/>
            <p:cNvPicPr>
              <a:picLocks noChangeAspect="1"/>
            </p:cNvPicPr>
            <p:nvPr/>
          </p:nvPicPr>
          <p:blipFill>
            <a:blip r:embed="rId12" cstate="print"/>
            <a:srcRect/>
            <a:stretch>
              <a:fillRect/>
            </a:stretch>
          </p:blipFill>
          <p:spPr bwMode="auto">
            <a:xfrm>
              <a:off x="335" y="1392"/>
              <a:ext cx="231" cy="281"/>
            </a:xfrm>
            <a:prstGeom prst="rect">
              <a:avLst/>
            </a:prstGeom>
            <a:noFill/>
            <a:ln w="9525">
              <a:noFill/>
              <a:miter lim="800000"/>
              <a:headEnd/>
              <a:tailEnd/>
            </a:ln>
          </p:spPr>
        </p:pic>
      </p:grpSp>
      <p:grpSp>
        <p:nvGrpSpPr>
          <p:cNvPr id="23" name="Group 242"/>
          <p:cNvGrpSpPr>
            <a:grpSpLocks/>
          </p:cNvGrpSpPr>
          <p:nvPr/>
        </p:nvGrpSpPr>
        <p:grpSpPr bwMode="auto">
          <a:xfrm>
            <a:off x="4739922" y="1378744"/>
            <a:ext cx="1532734" cy="734616"/>
            <a:chOff x="1199" y="960"/>
            <a:chExt cx="1287" cy="617"/>
          </a:xfrm>
        </p:grpSpPr>
        <p:pic>
          <p:nvPicPr>
            <p:cNvPr id="45111" name="Picture 101" descr="Cloud"/>
            <p:cNvPicPr>
              <a:picLocks noChangeAspect="1" noChangeArrowheads="1"/>
            </p:cNvPicPr>
            <p:nvPr/>
          </p:nvPicPr>
          <p:blipFill>
            <a:blip r:embed="rId13" cstate="print"/>
            <a:srcRect/>
            <a:stretch>
              <a:fillRect/>
            </a:stretch>
          </p:blipFill>
          <p:spPr bwMode="auto">
            <a:xfrm>
              <a:off x="1247" y="960"/>
              <a:ext cx="1152" cy="466"/>
            </a:xfrm>
            <a:prstGeom prst="rect">
              <a:avLst/>
            </a:prstGeom>
            <a:noFill/>
            <a:ln w="9525">
              <a:noFill/>
              <a:miter lim="800000"/>
              <a:headEnd/>
              <a:tailEnd/>
            </a:ln>
          </p:spPr>
        </p:pic>
        <p:pic>
          <p:nvPicPr>
            <p:cNvPr id="45112" name="Picture 64"/>
            <p:cNvPicPr>
              <a:picLocks noChangeAspect="1"/>
            </p:cNvPicPr>
            <p:nvPr/>
          </p:nvPicPr>
          <p:blipFill>
            <a:blip r:embed="rId12" cstate="print"/>
            <a:srcRect/>
            <a:stretch>
              <a:fillRect/>
            </a:stretch>
          </p:blipFill>
          <p:spPr bwMode="auto">
            <a:xfrm>
              <a:off x="1199" y="1248"/>
              <a:ext cx="231" cy="281"/>
            </a:xfrm>
            <a:prstGeom prst="rect">
              <a:avLst/>
            </a:prstGeom>
            <a:noFill/>
            <a:ln w="9525">
              <a:noFill/>
              <a:miter lim="800000"/>
              <a:headEnd/>
              <a:tailEnd/>
            </a:ln>
          </p:spPr>
        </p:pic>
        <p:pic>
          <p:nvPicPr>
            <p:cNvPr id="45113" name="Picture 64"/>
            <p:cNvPicPr>
              <a:picLocks noChangeAspect="1"/>
            </p:cNvPicPr>
            <p:nvPr/>
          </p:nvPicPr>
          <p:blipFill>
            <a:blip r:embed="rId12" cstate="print"/>
            <a:srcRect/>
            <a:stretch>
              <a:fillRect/>
            </a:stretch>
          </p:blipFill>
          <p:spPr bwMode="auto">
            <a:xfrm>
              <a:off x="2015" y="1296"/>
              <a:ext cx="231" cy="281"/>
            </a:xfrm>
            <a:prstGeom prst="rect">
              <a:avLst/>
            </a:prstGeom>
            <a:noFill/>
            <a:ln w="9525">
              <a:noFill/>
              <a:miter lim="800000"/>
              <a:headEnd/>
              <a:tailEnd/>
            </a:ln>
          </p:spPr>
        </p:pic>
        <p:pic>
          <p:nvPicPr>
            <p:cNvPr id="45114" name="Picture 64"/>
            <p:cNvPicPr>
              <a:picLocks noChangeAspect="1"/>
            </p:cNvPicPr>
            <p:nvPr/>
          </p:nvPicPr>
          <p:blipFill>
            <a:blip r:embed="rId12" cstate="print"/>
            <a:srcRect/>
            <a:stretch>
              <a:fillRect/>
            </a:stretch>
          </p:blipFill>
          <p:spPr bwMode="auto">
            <a:xfrm>
              <a:off x="2255" y="1200"/>
              <a:ext cx="231" cy="281"/>
            </a:xfrm>
            <a:prstGeom prst="rect">
              <a:avLst/>
            </a:prstGeom>
            <a:noFill/>
            <a:ln w="9525">
              <a:noFill/>
              <a:miter lim="800000"/>
              <a:headEnd/>
              <a:tailEnd/>
            </a:ln>
          </p:spPr>
        </p:pic>
      </p:grpSp>
      <p:grpSp>
        <p:nvGrpSpPr>
          <p:cNvPr id="24" name="Group 237"/>
          <p:cNvGrpSpPr>
            <a:grpSpLocks/>
          </p:cNvGrpSpPr>
          <p:nvPr/>
        </p:nvGrpSpPr>
        <p:grpSpPr bwMode="auto">
          <a:xfrm>
            <a:off x="1687556" y="1600200"/>
            <a:ext cx="1371957" cy="563166"/>
            <a:chOff x="4415" y="1104"/>
            <a:chExt cx="1152" cy="473"/>
          </a:xfrm>
        </p:grpSpPr>
        <p:pic>
          <p:nvPicPr>
            <p:cNvPr id="45109" name="Picture 104" descr="Cloud"/>
            <p:cNvPicPr>
              <a:picLocks noChangeAspect="1" noChangeArrowheads="1"/>
            </p:cNvPicPr>
            <p:nvPr/>
          </p:nvPicPr>
          <p:blipFill>
            <a:blip r:embed="rId13" cstate="print"/>
            <a:srcRect/>
            <a:stretch>
              <a:fillRect/>
            </a:stretch>
          </p:blipFill>
          <p:spPr bwMode="auto">
            <a:xfrm>
              <a:off x="4415" y="1104"/>
              <a:ext cx="1152" cy="466"/>
            </a:xfrm>
            <a:prstGeom prst="rect">
              <a:avLst/>
            </a:prstGeom>
            <a:noFill/>
            <a:ln w="9525">
              <a:noFill/>
              <a:miter lim="800000"/>
              <a:headEnd/>
              <a:tailEnd/>
            </a:ln>
          </p:spPr>
        </p:pic>
        <p:pic>
          <p:nvPicPr>
            <p:cNvPr id="45110" name="Picture 64"/>
            <p:cNvPicPr>
              <a:picLocks noChangeAspect="1"/>
            </p:cNvPicPr>
            <p:nvPr/>
          </p:nvPicPr>
          <p:blipFill>
            <a:blip r:embed="rId12" cstate="print"/>
            <a:srcRect/>
            <a:stretch>
              <a:fillRect/>
            </a:stretch>
          </p:blipFill>
          <p:spPr bwMode="auto">
            <a:xfrm>
              <a:off x="5327" y="1296"/>
              <a:ext cx="231" cy="281"/>
            </a:xfrm>
            <a:prstGeom prst="rect">
              <a:avLst/>
            </a:prstGeom>
            <a:noFill/>
            <a:ln w="9525">
              <a:noFill/>
              <a:miter lim="800000"/>
              <a:headEnd/>
              <a:tailEnd/>
            </a:ln>
          </p:spPr>
        </p:pic>
      </p:grpSp>
      <p:pic>
        <p:nvPicPr>
          <p:cNvPr id="42097" name="Picture 91"/>
          <p:cNvPicPr>
            <a:picLocks noChangeAspect="1"/>
          </p:cNvPicPr>
          <p:nvPr/>
        </p:nvPicPr>
        <p:blipFill>
          <a:blip r:embed="rId14" cstate="print"/>
          <a:srcRect/>
          <a:stretch>
            <a:fillRect/>
          </a:stretch>
        </p:blipFill>
        <p:spPr bwMode="auto">
          <a:xfrm>
            <a:off x="5368736" y="1602582"/>
            <a:ext cx="290588" cy="254794"/>
          </a:xfrm>
          <a:prstGeom prst="rect">
            <a:avLst/>
          </a:prstGeom>
          <a:noFill/>
          <a:ln w="9525">
            <a:noFill/>
            <a:miter lim="800000"/>
            <a:headEnd/>
            <a:tailEnd/>
          </a:ln>
        </p:spPr>
      </p:pic>
      <p:pic>
        <p:nvPicPr>
          <p:cNvPr id="42098" name="Picture 93"/>
          <p:cNvPicPr>
            <a:picLocks noChangeAspect="1"/>
          </p:cNvPicPr>
          <p:nvPr/>
        </p:nvPicPr>
        <p:blipFill>
          <a:blip r:embed="rId15" cstate="print">
            <a:grayscl/>
          </a:blip>
          <a:srcRect/>
          <a:stretch>
            <a:fillRect/>
          </a:stretch>
        </p:blipFill>
        <p:spPr bwMode="auto">
          <a:xfrm>
            <a:off x="4568427" y="1919289"/>
            <a:ext cx="289398" cy="254794"/>
          </a:xfrm>
          <a:prstGeom prst="rect">
            <a:avLst/>
          </a:prstGeom>
          <a:noFill/>
          <a:ln w="9525">
            <a:noFill/>
            <a:miter lim="800000"/>
            <a:headEnd/>
            <a:tailEnd/>
          </a:ln>
        </p:spPr>
      </p:pic>
      <p:pic>
        <p:nvPicPr>
          <p:cNvPr id="99" name="Picture 98"/>
          <p:cNvPicPr>
            <a:picLocks noChangeAspect="1"/>
          </p:cNvPicPr>
          <p:nvPr/>
        </p:nvPicPr>
        <p:blipFill>
          <a:blip r:embed="rId15" cstate="print">
            <a:duotone>
              <a:schemeClr val="accent1">
                <a:shade val="45000"/>
                <a:satMod val="135000"/>
              </a:schemeClr>
              <a:prstClr val="white"/>
            </a:duotone>
            <a:extLst/>
          </a:blip>
          <a:stretch>
            <a:fillRect/>
          </a:stretch>
        </p:blipFill>
        <p:spPr>
          <a:xfrm>
            <a:off x="2035752" y="1777314"/>
            <a:ext cx="289614" cy="254750"/>
          </a:xfrm>
          <a:prstGeom prst="rect">
            <a:avLst/>
          </a:prstGeom>
        </p:spPr>
      </p:pic>
      <p:pic>
        <p:nvPicPr>
          <p:cNvPr id="42101" name="Picture 56"/>
          <p:cNvPicPr>
            <a:picLocks noChangeAspect="1"/>
          </p:cNvPicPr>
          <p:nvPr/>
        </p:nvPicPr>
        <p:blipFill>
          <a:blip r:embed="rId15" cstate="print"/>
          <a:srcRect/>
          <a:stretch>
            <a:fillRect/>
          </a:stretch>
        </p:blipFill>
        <p:spPr bwMode="auto">
          <a:xfrm>
            <a:off x="2373533" y="1714500"/>
            <a:ext cx="289397" cy="254794"/>
          </a:xfrm>
          <a:prstGeom prst="rect">
            <a:avLst/>
          </a:prstGeom>
          <a:noFill/>
          <a:ln w="9525">
            <a:noFill/>
            <a:miter lim="800000"/>
            <a:headEnd/>
            <a:tailEnd/>
          </a:ln>
        </p:spPr>
      </p:pic>
      <p:pic>
        <p:nvPicPr>
          <p:cNvPr id="42102" name="Picture 90"/>
          <p:cNvPicPr>
            <a:picLocks noChangeAspect="1"/>
          </p:cNvPicPr>
          <p:nvPr/>
        </p:nvPicPr>
        <p:blipFill>
          <a:blip r:embed="rId15" cstate="print"/>
          <a:srcRect/>
          <a:stretch>
            <a:fillRect/>
          </a:stretch>
        </p:blipFill>
        <p:spPr bwMode="auto">
          <a:xfrm>
            <a:off x="5597395" y="1431132"/>
            <a:ext cx="289398" cy="254794"/>
          </a:xfrm>
          <a:prstGeom prst="rect">
            <a:avLst/>
          </a:prstGeom>
          <a:noFill/>
          <a:ln w="9525">
            <a:noFill/>
            <a:miter lim="800000"/>
            <a:headEnd/>
            <a:tailEnd/>
          </a:ln>
        </p:spPr>
      </p:pic>
      <p:pic>
        <p:nvPicPr>
          <p:cNvPr id="42103" name="Picture 92"/>
          <p:cNvPicPr>
            <a:picLocks noChangeAspect="1"/>
          </p:cNvPicPr>
          <p:nvPr/>
        </p:nvPicPr>
        <p:blipFill>
          <a:blip r:embed="rId15" cstate="print"/>
          <a:srcRect/>
          <a:stretch>
            <a:fillRect/>
          </a:stretch>
        </p:blipFill>
        <p:spPr bwMode="auto">
          <a:xfrm>
            <a:off x="5082911" y="1488282"/>
            <a:ext cx="290588" cy="254794"/>
          </a:xfrm>
          <a:prstGeom prst="rect">
            <a:avLst/>
          </a:prstGeom>
          <a:noFill/>
          <a:ln w="9525">
            <a:noFill/>
            <a:miter lim="800000"/>
            <a:headEnd/>
            <a:tailEnd/>
          </a:ln>
        </p:spPr>
      </p:pic>
      <p:pic>
        <p:nvPicPr>
          <p:cNvPr id="42104" name="Picture 66"/>
          <p:cNvPicPr>
            <a:picLocks noChangeAspect="1"/>
          </p:cNvPicPr>
          <p:nvPr/>
        </p:nvPicPr>
        <p:blipFill>
          <a:blip r:embed="rId15" cstate="print"/>
          <a:srcRect/>
          <a:stretch>
            <a:fillRect/>
          </a:stretch>
        </p:blipFill>
        <p:spPr bwMode="auto">
          <a:xfrm>
            <a:off x="4396933" y="1835945"/>
            <a:ext cx="289398" cy="254794"/>
          </a:xfrm>
          <a:prstGeom prst="rect">
            <a:avLst/>
          </a:prstGeom>
          <a:noFill/>
          <a:ln w="9525">
            <a:noFill/>
            <a:miter lim="800000"/>
            <a:headEnd/>
            <a:tailEnd/>
          </a:ln>
        </p:spPr>
      </p:pic>
      <p:sp>
        <p:nvSpPr>
          <p:cNvPr id="45096" name="DIVERSE INFRASTRUCTURE"/>
          <p:cNvSpPr>
            <a:spLocks noChangeArrowheads="1"/>
          </p:cNvSpPr>
          <p:nvPr/>
        </p:nvSpPr>
        <p:spPr bwMode="auto">
          <a:xfrm>
            <a:off x="7292233" y="3268558"/>
            <a:ext cx="1657782" cy="767954"/>
          </a:xfrm>
          <a:prstGeom prst="rect">
            <a:avLst/>
          </a:prstGeom>
          <a:solidFill>
            <a:schemeClr val="bg1">
              <a:alpha val="20000"/>
            </a:schemeClr>
          </a:solidFill>
          <a:ln w="9525" algn="ctr">
            <a:noFill/>
            <a:miter lim="800000"/>
            <a:headEnd/>
            <a:tailEnd/>
          </a:ln>
        </p:spPr>
        <p:txBody>
          <a:bodyPr lIns="68586" tIns="0" rIns="68586" bIns="0" anchor="ctr"/>
          <a:lstStyle/>
          <a:p>
            <a:pPr algn="ctr" defTabSz="684673">
              <a:lnSpc>
                <a:spcPct val="90000"/>
              </a:lnSpc>
            </a:pPr>
            <a:r>
              <a:rPr lang="en-US" sz="1800" dirty="0">
                <a:solidFill>
                  <a:srgbClr val="FFFFFF"/>
                </a:solidFill>
              </a:rPr>
              <a:t>Configure &amp; Deploy</a:t>
            </a:r>
          </a:p>
        </p:txBody>
      </p:sp>
      <p:sp>
        <p:nvSpPr>
          <p:cNvPr id="31" name="Rectangle 30"/>
          <p:cNvSpPr>
            <a:spLocks noChangeArrowheads="1"/>
          </p:cNvSpPr>
          <p:nvPr/>
        </p:nvSpPr>
        <p:spPr bwMode="auto">
          <a:xfrm>
            <a:off x="7315915" y="2286001"/>
            <a:ext cx="1657782" cy="767954"/>
          </a:xfrm>
          <a:prstGeom prst="rect">
            <a:avLst/>
          </a:prstGeom>
          <a:solidFill>
            <a:schemeClr val="bg1">
              <a:alpha val="20000"/>
            </a:schemeClr>
          </a:solidFill>
          <a:ln w="9525" algn="ctr">
            <a:noFill/>
            <a:miter lim="800000"/>
            <a:headEnd/>
            <a:tailEnd/>
          </a:ln>
        </p:spPr>
        <p:txBody>
          <a:bodyPr lIns="68586" tIns="0" rIns="68586" bIns="0" anchor="ctr"/>
          <a:lstStyle/>
          <a:p>
            <a:pPr algn="ctr" defTabSz="684673"/>
            <a:r>
              <a:rPr lang="en-US" sz="1800" dirty="0">
                <a:solidFill>
                  <a:srgbClr val="FFFFFF"/>
                </a:solidFill>
              </a:rPr>
              <a:t>Cloud Abstraction</a:t>
            </a:r>
          </a:p>
        </p:txBody>
      </p:sp>
      <p:sp>
        <p:nvSpPr>
          <p:cNvPr id="32" name="Rectangle 31"/>
          <p:cNvSpPr>
            <a:spLocks noChangeArrowheads="1"/>
          </p:cNvSpPr>
          <p:nvPr/>
        </p:nvSpPr>
        <p:spPr bwMode="auto">
          <a:xfrm>
            <a:off x="7315915" y="1371601"/>
            <a:ext cx="1657782" cy="767954"/>
          </a:xfrm>
          <a:prstGeom prst="rect">
            <a:avLst/>
          </a:prstGeom>
          <a:solidFill>
            <a:schemeClr val="bg1">
              <a:alpha val="20000"/>
            </a:schemeClr>
          </a:solidFill>
          <a:ln w="9525" algn="ctr">
            <a:noFill/>
            <a:miter lim="800000"/>
            <a:headEnd/>
            <a:tailEnd/>
          </a:ln>
        </p:spPr>
        <p:txBody>
          <a:bodyPr lIns="68586" tIns="0" rIns="68586" bIns="0" anchor="ctr"/>
          <a:lstStyle/>
          <a:p>
            <a:pPr algn="ctr" defTabSz="684673"/>
            <a:r>
              <a:rPr lang="en-US" sz="1800">
                <a:solidFill>
                  <a:srgbClr val="FFFFFF"/>
                </a:solidFill>
              </a:rPr>
              <a:t>Delegated Capacity</a:t>
            </a:r>
          </a:p>
        </p:txBody>
      </p:sp>
      <p:sp>
        <p:nvSpPr>
          <p:cNvPr id="33" name="Rectangle 32"/>
          <p:cNvSpPr>
            <a:spLocks noChangeArrowheads="1"/>
          </p:cNvSpPr>
          <p:nvPr/>
        </p:nvSpPr>
        <p:spPr bwMode="auto">
          <a:xfrm>
            <a:off x="7315915" y="431007"/>
            <a:ext cx="1657782" cy="769144"/>
          </a:xfrm>
          <a:prstGeom prst="rect">
            <a:avLst/>
          </a:prstGeom>
          <a:solidFill>
            <a:schemeClr val="bg1">
              <a:alpha val="20000"/>
            </a:schemeClr>
          </a:solidFill>
          <a:ln w="9525" algn="ctr">
            <a:noFill/>
            <a:miter lim="800000"/>
            <a:headEnd/>
            <a:tailEnd/>
          </a:ln>
        </p:spPr>
        <p:txBody>
          <a:bodyPr lIns="68586" tIns="0" rIns="68586" bIns="0" anchor="ctr"/>
          <a:lstStyle/>
          <a:p>
            <a:pPr algn="ctr" defTabSz="684673"/>
            <a:r>
              <a:rPr lang="en-US" sz="1800">
                <a:solidFill>
                  <a:srgbClr val="FFFFFF"/>
                </a:solidFill>
              </a:rPr>
              <a:t>Standardized Services</a:t>
            </a:r>
          </a:p>
        </p:txBody>
      </p:sp>
      <p:pic>
        <p:nvPicPr>
          <p:cNvPr id="42225" name="Picture 241"/>
          <p:cNvPicPr>
            <a:picLocks noChangeAspect="1" noChangeArrowheads="1"/>
          </p:cNvPicPr>
          <p:nvPr/>
        </p:nvPicPr>
        <p:blipFill>
          <a:blip r:embed="rId3" cstate="print"/>
          <a:srcRect/>
          <a:stretch>
            <a:fillRect/>
          </a:stretch>
        </p:blipFill>
        <p:spPr bwMode="auto">
          <a:xfrm>
            <a:off x="3199875" y="3381667"/>
            <a:ext cx="383460" cy="242888"/>
          </a:xfrm>
          <a:prstGeom prst="rect">
            <a:avLst/>
          </a:prstGeom>
          <a:noFill/>
          <a:ln w="9525">
            <a:noFill/>
            <a:miter lim="800000"/>
            <a:headEnd/>
            <a:tailEnd/>
          </a:ln>
        </p:spPr>
      </p:pic>
      <p:pic>
        <p:nvPicPr>
          <p:cNvPr id="2" name="Picture 2"/>
          <p:cNvPicPr>
            <a:picLocks noChangeAspect="1"/>
          </p:cNvPicPr>
          <p:nvPr/>
        </p:nvPicPr>
        <p:blipFill>
          <a:blip r:embed="rId7" cstate="print"/>
          <a:srcRect l="1421" r="34015"/>
          <a:stretch>
            <a:fillRect/>
          </a:stretch>
        </p:blipFill>
        <p:spPr bwMode="auto">
          <a:xfrm>
            <a:off x="2784868" y="3710280"/>
            <a:ext cx="1097542" cy="495300"/>
          </a:xfrm>
          <a:prstGeom prst="rect">
            <a:avLst/>
          </a:prstGeom>
          <a:noFill/>
          <a:ln w="9525">
            <a:noFill/>
            <a:miter lim="800000"/>
            <a:headEnd/>
            <a:tailEnd/>
          </a:ln>
        </p:spPr>
      </p:pic>
      <p:grpSp>
        <p:nvGrpSpPr>
          <p:cNvPr id="25" name="Group 248"/>
          <p:cNvGrpSpPr>
            <a:grpSpLocks/>
          </p:cNvGrpSpPr>
          <p:nvPr/>
        </p:nvGrpSpPr>
        <p:grpSpPr bwMode="auto">
          <a:xfrm>
            <a:off x="5216267" y="4262731"/>
            <a:ext cx="1212277" cy="511969"/>
            <a:chOff x="2495" y="4105"/>
            <a:chExt cx="803" cy="430"/>
          </a:xfrm>
        </p:grpSpPr>
        <p:pic>
          <p:nvPicPr>
            <p:cNvPr id="7" name="Picture 114"/>
            <p:cNvPicPr>
              <a:picLocks noChangeAspect="1"/>
            </p:cNvPicPr>
            <p:nvPr/>
          </p:nvPicPr>
          <p:blipFill>
            <a:blip r:embed="rId8" cstate="print">
              <a:duotone>
                <a:prstClr val="black"/>
                <a:srgbClr val="D9C3A5">
                  <a:tint val="50000"/>
                  <a:satMod val="180000"/>
                </a:srgbClr>
              </a:duotone>
              <a:extLst/>
            </a:blip>
            <a:stretch>
              <a:fillRect/>
            </a:stretch>
          </p:blipFill>
          <p:spPr>
            <a:xfrm>
              <a:off x="2883" y="4110"/>
              <a:ext cx="412" cy="419"/>
            </a:xfrm>
            <a:prstGeom prst="rect">
              <a:avLst/>
            </a:prstGeom>
          </p:spPr>
        </p:pic>
        <p:pic>
          <p:nvPicPr>
            <p:cNvPr id="8" name="Picture 4"/>
            <p:cNvPicPr>
              <a:picLocks noChangeAspect="1"/>
            </p:cNvPicPr>
            <p:nvPr/>
          </p:nvPicPr>
          <p:blipFill>
            <a:blip r:embed="rId8" cstate="print">
              <a:duotone>
                <a:prstClr val="black"/>
                <a:schemeClr val="tx2">
                  <a:tint val="45000"/>
                  <a:satMod val="400000"/>
                </a:schemeClr>
              </a:duotone>
              <a:extLst/>
            </a:blip>
            <a:stretch>
              <a:fillRect/>
            </a:stretch>
          </p:blipFill>
          <p:spPr>
            <a:xfrm>
              <a:off x="2501" y="4113"/>
              <a:ext cx="412" cy="419"/>
            </a:xfrm>
            <a:prstGeom prst="rect">
              <a:avLst/>
            </a:prstGeom>
          </p:spPr>
        </p:pic>
      </p:grpSp>
      <p:sp>
        <p:nvSpPr>
          <p:cNvPr id="42234" name="AutoShape 250"/>
          <p:cNvSpPr>
            <a:spLocks noChangeArrowheads="1"/>
          </p:cNvSpPr>
          <p:nvPr/>
        </p:nvSpPr>
        <p:spPr bwMode="auto">
          <a:xfrm>
            <a:off x="3811035" y="3243555"/>
            <a:ext cx="3333386" cy="1600200"/>
          </a:xfrm>
          <a:prstGeom prst="roundRect">
            <a:avLst>
              <a:gd name="adj" fmla="val 7972"/>
            </a:avLst>
          </a:prstGeom>
          <a:noFill/>
          <a:ln w="38100">
            <a:solidFill>
              <a:schemeClr val="hlink"/>
            </a:solidFill>
            <a:prstDash val="sysDot"/>
            <a:round/>
            <a:headEnd/>
            <a:tailEnd/>
          </a:ln>
        </p:spPr>
        <p:txBody>
          <a:bodyPr wrap="none" lIns="68586" tIns="34294" rIns="68586" bIns="34294" anchor="ctr"/>
          <a:lstStyle/>
          <a:p>
            <a:endParaRPr lang="en-US" sz="1500">
              <a:solidFill>
                <a:srgbClr val="000000"/>
              </a:solidFill>
            </a:endParaRPr>
          </a:p>
        </p:txBody>
      </p:sp>
      <p:sp>
        <p:nvSpPr>
          <p:cNvPr id="42235" name="AutoShape 251"/>
          <p:cNvSpPr>
            <a:spLocks noChangeArrowheads="1"/>
          </p:cNvSpPr>
          <p:nvPr/>
        </p:nvSpPr>
        <p:spPr bwMode="auto">
          <a:xfrm>
            <a:off x="2587097" y="3243555"/>
            <a:ext cx="2694699" cy="1600200"/>
          </a:xfrm>
          <a:prstGeom prst="roundRect">
            <a:avLst>
              <a:gd name="adj" fmla="val 7972"/>
            </a:avLst>
          </a:prstGeom>
          <a:noFill/>
          <a:ln w="38100">
            <a:solidFill>
              <a:srgbClr val="969696"/>
            </a:solidFill>
            <a:prstDash val="sysDot"/>
            <a:round/>
            <a:headEnd/>
            <a:tailEnd/>
          </a:ln>
        </p:spPr>
        <p:txBody>
          <a:bodyPr wrap="none" lIns="68586" tIns="34294" rIns="68586" bIns="34294" anchor="ctr"/>
          <a:lstStyle/>
          <a:p>
            <a:endParaRPr lang="en-US" sz="1500">
              <a:solidFill>
                <a:srgbClr val="000000"/>
              </a:solidFill>
            </a:endParaRPr>
          </a:p>
        </p:txBody>
      </p:sp>
      <p:sp>
        <p:nvSpPr>
          <p:cNvPr id="9" name="TextBox 8"/>
          <p:cNvSpPr txBox="1">
            <a:spLocks noChangeArrowheads="1"/>
          </p:cNvSpPr>
          <p:nvPr/>
        </p:nvSpPr>
        <p:spPr bwMode="auto">
          <a:xfrm>
            <a:off x="1656591" y="2786356"/>
            <a:ext cx="3902537" cy="300083"/>
          </a:xfrm>
          <a:prstGeom prst="rect">
            <a:avLst/>
          </a:prstGeom>
          <a:noFill/>
          <a:ln w="9525">
            <a:noFill/>
            <a:miter lim="800000"/>
            <a:headEnd/>
            <a:tailEnd/>
          </a:ln>
        </p:spPr>
        <p:txBody>
          <a:bodyPr wrap="square" lIns="68586" tIns="34294" rIns="68586" bIns="34294">
            <a:spAutoFit/>
          </a:bodyPr>
          <a:lstStyle/>
          <a:p>
            <a:r>
              <a:rPr lang="en-US" sz="1500" dirty="0">
                <a:solidFill>
                  <a:srgbClr val="FFFFFF"/>
                </a:solidFill>
              </a:rPr>
              <a:t>Assign dedicated and shared resources</a:t>
            </a:r>
          </a:p>
        </p:txBody>
      </p:sp>
      <p:sp>
        <p:nvSpPr>
          <p:cNvPr id="45158" name="Rectangle 102"/>
          <p:cNvSpPr>
            <a:spLocks noChangeArrowheads="1"/>
          </p:cNvSpPr>
          <p:nvPr/>
        </p:nvSpPr>
        <p:spPr bwMode="auto">
          <a:xfrm>
            <a:off x="944411" y="2457450"/>
            <a:ext cx="2057936" cy="628650"/>
          </a:xfrm>
          <a:prstGeom prst="rect">
            <a:avLst/>
          </a:prstGeom>
          <a:gradFill rotWithShape="1">
            <a:gsLst>
              <a:gs pos="0">
                <a:schemeClr val="bg1">
                  <a:gamma/>
                  <a:tint val="0"/>
                  <a:invGamma/>
                  <a:alpha val="0"/>
                </a:schemeClr>
              </a:gs>
              <a:gs pos="100000">
                <a:schemeClr val="bg1">
                  <a:alpha val="25000"/>
                </a:schemeClr>
              </a:gs>
            </a:gsLst>
            <a:lin ang="5400000" scaled="1"/>
          </a:gradFill>
          <a:ln w="9525">
            <a:noFill/>
            <a:miter lim="800000"/>
            <a:headEnd/>
            <a:tailEnd/>
          </a:ln>
          <a:effectLst/>
        </p:spPr>
        <p:txBody>
          <a:bodyPr wrap="none" lIns="68586" tIns="34294" rIns="68586" bIns="34294" anchor="ctr"/>
          <a:lstStyle/>
          <a:p>
            <a:endParaRPr lang="en-US" sz="1500"/>
          </a:p>
        </p:txBody>
      </p:sp>
      <p:sp>
        <p:nvSpPr>
          <p:cNvPr id="45159" name="Rectangle 103"/>
          <p:cNvSpPr>
            <a:spLocks noChangeArrowheads="1"/>
          </p:cNvSpPr>
          <p:nvPr/>
        </p:nvSpPr>
        <p:spPr bwMode="auto">
          <a:xfrm>
            <a:off x="3543032" y="2457450"/>
            <a:ext cx="1429122" cy="628650"/>
          </a:xfrm>
          <a:prstGeom prst="rect">
            <a:avLst/>
          </a:prstGeom>
          <a:gradFill rotWithShape="1">
            <a:gsLst>
              <a:gs pos="0">
                <a:schemeClr val="bg1">
                  <a:gamma/>
                  <a:tint val="0"/>
                  <a:invGamma/>
                  <a:alpha val="0"/>
                </a:schemeClr>
              </a:gs>
              <a:gs pos="100000">
                <a:schemeClr val="bg1">
                  <a:alpha val="25000"/>
                </a:schemeClr>
              </a:gs>
            </a:gsLst>
            <a:lin ang="5400000" scaled="1"/>
          </a:gradFill>
          <a:ln w="9525">
            <a:noFill/>
            <a:miter lim="800000"/>
            <a:headEnd/>
            <a:tailEnd/>
          </a:ln>
          <a:effectLst/>
        </p:spPr>
        <p:txBody>
          <a:bodyPr wrap="none" lIns="68586" tIns="34294" rIns="68586" bIns="34294" anchor="ctr"/>
          <a:lstStyle/>
          <a:p>
            <a:endParaRPr lang="en-US" sz="1500">
              <a:solidFill>
                <a:srgbClr val="000000"/>
              </a:solidFill>
            </a:endParaRPr>
          </a:p>
        </p:txBody>
      </p:sp>
      <p:sp>
        <p:nvSpPr>
          <p:cNvPr id="15" name="TextBox 14"/>
          <p:cNvSpPr txBox="1"/>
          <p:nvPr/>
        </p:nvSpPr>
        <p:spPr>
          <a:xfrm>
            <a:off x="114076" y="3243475"/>
            <a:ext cx="2514317" cy="727121"/>
          </a:xfrm>
          <a:prstGeom prst="rect">
            <a:avLst/>
          </a:prstGeom>
          <a:noFill/>
        </p:spPr>
        <p:txBody>
          <a:bodyPr wrap="square" lIns="68586" tIns="34294" rIns="68586" bIns="34294" rtlCol="0">
            <a:spAutoFit/>
          </a:bodyPr>
          <a:lstStyle/>
          <a:p>
            <a:r>
              <a:rPr lang="en-US" dirty="0" smtClean="0"/>
              <a:t>Windows Server 2012/2008 R2 Hyper-V,</a:t>
            </a:r>
          </a:p>
          <a:p>
            <a:r>
              <a:rPr lang="en-US" dirty="0" smtClean="0"/>
              <a:t>VMware, Citrix </a:t>
            </a:r>
            <a:r>
              <a:rPr lang="en-US" dirty="0" err="1" smtClean="0"/>
              <a:t>XenServer</a:t>
            </a:r>
            <a:endParaRPr lang="en-US" dirty="0"/>
          </a:p>
        </p:txBody>
      </p:sp>
      <p:sp>
        <p:nvSpPr>
          <p:cNvPr id="100" name="TextBox 99"/>
          <p:cNvSpPr txBox="1"/>
          <p:nvPr/>
        </p:nvSpPr>
        <p:spPr>
          <a:xfrm>
            <a:off x="107070" y="3904040"/>
            <a:ext cx="2030048" cy="507830"/>
          </a:xfrm>
          <a:prstGeom prst="rect">
            <a:avLst/>
          </a:prstGeom>
          <a:noFill/>
        </p:spPr>
        <p:txBody>
          <a:bodyPr wrap="square" lIns="68586" tIns="34294" rIns="68586" bIns="34294" rtlCol="0">
            <a:spAutoFit/>
          </a:bodyPr>
          <a:lstStyle/>
          <a:p>
            <a:r>
              <a:rPr lang="en-US" dirty="0" smtClean="0"/>
              <a:t>Intel, AMD, </a:t>
            </a:r>
          </a:p>
          <a:p>
            <a:r>
              <a:rPr lang="en-US" dirty="0" smtClean="0"/>
              <a:t>OEM hardware</a:t>
            </a:r>
            <a:endParaRPr lang="en-US" dirty="0"/>
          </a:p>
        </p:txBody>
      </p:sp>
      <p:sp>
        <p:nvSpPr>
          <p:cNvPr id="101" name="TextBox 100"/>
          <p:cNvSpPr txBox="1"/>
          <p:nvPr/>
        </p:nvSpPr>
        <p:spPr>
          <a:xfrm>
            <a:off x="115014" y="4418390"/>
            <a:ext cx="1692484" cy="284701"/>
          </a:xfrm>
          <a:prstGeom prst="rect">
            <a:avLst/>
          </a:prstGeom>
          <a:noFill/>
        </p:spPr>
        <p:txBody>
          <a:bodyPr wrap="square" lIns="68586" tIns="34294" rIns="68586" bIns="34294" rtlCol="0">
            <a:spAutoFit/>
          </a:bodyPr>
          <a:lstStyle/>
          <a:p>
            <a:r>
              <a:rPr lang="en-US" dirty="0" smtClean="0"/>
              <a:t>Fiber Channel, </a:t>
            </a:r>
            <a:r>
              <a:rPr lang="en-US" dirty="0" err="1" smtClean="0"/>
              <a:t>iSCSI</a:t>
            </a:r>
            <a:endParaRPr lang="en-US" dirty="0"/>
          </a:p>
        </p:txBody>
      </p:sp>
      <p:sp>
        <p:nvSpPr>
          <p:cNvPr id="81"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82"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6"/>
              </a:rPr>
              <a:t>www.rapidbbs.cn</a:t>
            </a:r>
            <a:endParaRPr lang="zh-CN" altLang="en-US" sz="1200" b="0">
              <a:latin typeface="Arial" charset="0"/>
              <a:ea typeface="ＭＳ Ｐゴシック" pitchFamily="34" charset="-128"/>
            </a:endParaRPr>
          </a:p>
        </p:txBody>
      </p:sp>
      <p:pic>
        <p:nvPicPr>
          <p:cNvPr id="83" name="Picture 2">
            <a:hlinkClick r:id="rId16"/>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41722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2235"/>
                                        </p:tgtEl>
                                        <p:attrNameLst>
                                          <p:attrName>style.visibility</p:attrName>
                                        </p:attrNameLst>
                                      </p:cBhvr>
                                      <p:to>
                                        <p:strVal val="visible"/>
                                      </p:to>
                                    </p:set>
                                    <p:animEffect transition="in" filter="fade">
                                      <p:cBhvr>
                                        <p:cTn id="11" dur="500"/>
                                        <p:tgtEl>
                                          <p:spTgt spid="42235"/>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2234"/>
                                        </p:tgtEl>
                                        <p:attrNameLst>
                                          <p:attrName>style.visibility</p:attrName>
                                        </p:attrNameLst>
                                      </p:cBhvr>
                                      <p:to>
                                        <p:strVal val="visible"/>
                                      </p:to>
                                    </p:set>
                                    <p:animEffect transition="in" filter="fade">
                                      <p:cBhvr>
                                        <p:cTn id="15" dur="500"/>
                                        <p:tgtEl>
                                          <p:spTgt spid="42234"/>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xit" presetSubtype="0" fill="hold" grpId="1" nodeType="clickEffect">
                                  <p:stCondLst>
                                    <p:cond delay="0"/>
                                  </p:stCondLst>
                                  <p:childTnLst>
                                    <p:animEffect transition="out" filter="fade">
                                      <p:cBhvr>
                                        <p:cTn id="19" dur="500"/>
                                        <p:tgtEl>
                                          <p:spTgt spid="9"/>
                                        </p:tgtEl>
                                      </p:cBhvr>
                                    </p:animEffect>
                                    <p:set>
                                      <p:cBhvr>
                                        <p:cTn id="20" dur="1" fill="hold">
                                          <p:stCondLst>
                                            <p:cond delay="499"/>
                                          </p:stCondLst>
                                        </p:cTn>
                                        <p:tgtEl>
                                          <p:spTgt spid="9"/>
                                        </p:tgtEl>
                                        <p:attrNameLst>
                                          <p:attrName>style.visibility</p:attrName>
                                        </p:attrNameLst>
                                      </p:cBhvr>
                                      <p:to>
                                        <p:strVal val="hidden"/>
                                      </p:to>
                                    </p:set>
                                  </p:childTnLst>
                                </p:cTn>
                              </p:par>
                            </p:childTnLst>
                          </p:cTn>
                        </p:par>
                        <p:par>
                          <p:cTn id="21" fill="hold">
                            <p:stCondLst>
                              <p:cond delay="500"/>
                            </p:stCondLst>
                            <p:childTnLst>
                              <p:par>
                                <p:cTn id="22" presetID="63" presetClass="path" presetSubtype="0" accel="50000" decel="50000" fill="hold" nodeType="afterEffect">
                                  <p:stCondLst>
                                    <p:cond delay="0"/>
                                  </p:stCondLst>
                                  <p:childTnLst>
                                    <p:animMotion origin="layout" path="M 2.60031E-6 -3.33333E-6 L 0.14825 -3.33333E-6 " pathEditMode="relative" rAng="0" ptsTypes="AA">
                                      <p:cBhvr>
                                        <p:cTn id="23" dur="2000" fill="hold"/>
                                        <p:tgtEl>
                                          <p:spTgt spid="20"/>
                                        </p:tgtEl>
                                        <p:attrNameLst>
                                          <p:attrName>ppt_x</p:attrName>
                                          <p:attrName>ppt_y</p:attrName>
                                        </p:attrNameLst>
                                      </p:cBhvr>
                                      <p:rCtr x="74" y="0"/>
                                    </p:animMotion>
                                  </p:childTnLst>
                                </p:cTn>
                              </p:par>
                              <p:par>
                                <p:cTn id="24" presetID="35" presetClass="path" presetSubtype="0" accel="50000" decel="50000" fill="hold" nodeType="withEffect">
                                  <p:stCondLst>
                                    <p:cond delay="0"/>
                                  </p:stCondLst>
                                  <p:childTnLst>
                                    <p:animMotion origin="layout" path="M 2.60031E-6 -7.40741E-7 L -0.1394 -7.40741E-7 " pathEditMode="relative" rAng="0" ptsTypes="AA">
                                      <p:cBhvr>
                                        <p:cTn id="25" dur="2000" fill="hold"/>
                                        <p:tgtEl>
                                          <p:spTgt spid="19"/>
                                        </p:tgtEl>
                                        <p:attrNameLst>
                                          <p:attrName>ppt_x</p:attrName>
                                          <p:attrName>ppt_y</p:attrName>
                                        </p:attrNameLst>
                                      </p:cBhvr>
                                      <p:rCtr x="-70" y="0"/>
                                    </p:animMotion>
                                  </p:childTnLst>
                                </p:cTn>
                              </p:par>
                              <p:par>
                                <p:cTn id="26" presetID="53" presetClass="exit" presetSubtype="0" fill="hold" nodeType="withEffect">
                                  <p:stCondLst>
                                    <p:cond delay="0"/>
                                  </p:stCondLst>
                                  <p:childTnLst>
                                    <p:anim calcmode="lin" valueType="num">
                                      <p:cBhvr>
                                        <p:cTn id="27" dur="1000"/>
                                        <p:tgtEl>
                                          <p:spTgt spid="42"/>
                                        </p:tgtEl>
                                        <p:attrNameLst>
                                          <p:attrName>ppt_w</p:attrName>
                                        </p:attrNameLst>
                                      </p:cBhvr>
                                      <p:tavLst>
                                        <p:tav tm="0">
                                          <p:val>
                                            <p:strVal val="ppt_w"/>
                                          </p:val>
                                        </p:tav>
                                        <p:tav tm="100000">
                                          <p:val>
                                            <p:fltVal val="0"/>
                                          </p:val>
                                        </p:tav>
                                      </p:tavLst>
                                    </p:anim>
                                    <p:anim calcmode="lin" valueType="num">
                                      <p:cBhvr>
                                        <p:cTn id="28" dur="1000"/>
                                        <p:tgtEl>
                                          <p:spTgt spid="42"/>
                                        </p:tgtEl>
                                        <p:attrNameLst>
                                          <p:attrName>ppt_h</p:attrName>
                                        </p:attrNameLst>
                                      </p:cBhvr>
                                      <p:tavLst>
                                        <p:tav tm="0">
                                          <p:val>
                                            <p:strVal val="ppt_h"/>
                                          </p:val>
                                        </p:tav>
                                        <p:tav tm="100000">
                                          <p:val>
                                            <p:fltVal val="0"/>
                                          </p:val>
                                        </p:tav>
                                      </p:tavLst>
                                    </p:anim>
                                    <p:animEffect transition="out" filter="fade">
                                      <p:cBhvr>
                                        <p:cTn id="29" dur="1000"/>
                                        <p:tgtEl>
                                          <p:spTgt spid="42"/>
                                        </p:tgtEl>
                                      </p:cBhvr>
                                    </p:animEffect>
                                    <p:set>
                                      <p:cBhvr>
                                        <p:cTn id="30" dur="1" fill="hold">
                                          <p:stCondLst>
                                            <p:cond delay="999"/>
                                          </p:stCondLst>
                                        </p:cTn>
                                        <p:tgtEl>
                                          <p:spTgt spid="42"/>
                                        </p:tgtEl>
                                        <p:attrNameLst>
                                          <p:attrName>style.visibility</p:attrName>
                                        </p:attrNameLst>
                                      </p:cBhvr>
                                      <p:to>
                                        <p:strVal val="hidden"/>
                                      </p:to>
                                    </p:set>
                                  </p:childTnLst>
                                </p:cTn>
                              </p:par>
                              <p:par>
                                <p:cTn id="31" presetID="53" presetClass="exit" presetSubtype="0" fill="hold" nodeType="withEffect">
                                  <p:stCondLst>
                                    <p:cond delay="0"/>
                                  </p:stCondLst>
                                  <p:childTnLst>
                                    <p:anim calcmode="lin" valueType="num">
                                      <p:cBhvr>
                                        <p:cTn id="32" dur="1000"/>
                                        <p:tgtEl>
                                          <p:spTgt spid="43"/>
                                        </p:tgtEl>
                                        <p:attrNameLst>
                                          <p:attrName>ppt_w</p:attrName>
                                        </p:attrNameLst>
                                      </p:cBhvr>
                                      <p:tavLst>
                                        <p:tav tm="0">
                                          <p:val>
                                            <p:strVal val="ppt_w"/>
                                          </p:val>
                                        </p:tav>
                                        <p:tav tm="100000">
                                          <p:val>
                                            <p:fltVal val="0"/>
                                          </p:val>
                                        </p:tav>
                                      </p:tavLst>
                                    </p:anim>
                                    <p:anim calcmode="lin" valueType="num">
                                      <p:cBhvr>
                                        <p:cTn id="33" dur="1000"/>
                                        <p:tgtEl>
                                          <p:spTgt spid="43"/>
                                        </p:tgtEl>
                                        <p:attrNameLst>
                                          <p:attrName>ppt_h</p:attrName>
                                        </p:attrNameLst>
                                      </p:cBhvr>
                                      <p:tavLst>
                                        <p:tav tm="0">
                                          <p:val>
                                            <p:strVal val="ppt_h"/>
                                          </p:val>
                                        </p:tav>
                                        <p:tav tm="100000">
                                          <p:val>
                                            <p:fltVal val="0"/>
                                          </p:val>
                                        </p:tav>
                                      </p:tavLst>
                                    </p:anim>
                                    <p:animEffect transition="out" filter="fade">
                                      <p:cBhvr>
                                        <p:cTn id="34" dur="1000"/>
                                        <p:tgtEl>
                                          <p:spTgt spid="43"/>
                                        </p:tgtEl>
                                      </p:cBhvr>
                                    </p:animEffect>
                                    <p:set>
                                      <p:cBhvr>
                                        <p:cTn id="35" dur="1" fill="hold">
                                          <p:stCondLst>
                                            <p:cond delay="999"/>
                                          </p:stCondLst>
                                        </p:cTn>
                                        <p:tgtEl>
                                          <p:spTgt spid="43"/>
                                        </p:tgtEl>
                                        <p:attrNameLst>
                                          <p:attrName>style.visibility</p:attrName>
                                        </p:attrNameLst>
                                      </p:cBhvr>
                                      <p:to>
                                        <p:strVal val="hidden"/>
                                      </p:to>
                                    </p:set>
                                  </p:childTnLst>
                                </p:cTn>
                              </p:par>
                              <p:par>
                                <p:cTn id="36" presetID="53" presetClass="exit" presetSubtype="0" fill="hold" nodeType="withEffect">
                                  <p:stCondLst>
                                    <p:cond delay="0"/>
                                  </p:stCondLst>
                                  <p:childTnLst>
                                    <p:anim calcmode="lin" valueType="num">
                                      <p:cBhvr>
                                        <p:cTn id="37" dur="1000"/>
                                        <p:tgtEl>
                                          <p:spTgt spid="13"/>
                                        </p:tgtEl>
                                        <p:attrNameLst>
                                          <p:attrName>ppt_w</p:attrName>
                                        </p:attrNameLst>
                                      </p:cBhvr>
                                      <p:tavLst>
                                        <p:tav tm="0">
                                          <p:val>
                                            <p:strVal val="ppt_w"/>
                                          </p:val>
                                        </p:tav>
                                        <p:tav tm="100000">
                                          <p:val>
                                            <p:fltVal val="0"/>
                                          </p:val>
                                        </p:tav>
                                      </p:tavLst>
                                    </p:anim>
                                    <p:anim calcmode="lin" valueType="num">
                                      <p:cBhvr>
                                        <p:cTn id="38" dur="1000"/>
                                        <p:tgtEl>
                                          <p:spTgt spid="13"/>
                                        </p:tgtEl>
                                        <p:attrNameLst>
                                          <p:attrName>ppt_h</p:attrName>
                                        </p:attrNameLst>
                                      </p:cBhvr>
                                      <p:tavLst>
                                        <p:tav tm="0">
                                          <p:val>
                                            <p:strVal val="ppt_h"/>
                                          </p:val>
                                        </p:tav>
                                        <p:tav tm="100000">
                                          <p:val>
                                            <p:fltVal val="0"/>
                                          </p:val>
                                        </p:tav>
                                      </p:tavLst>
                                    </p:anim>
                                    <p:animEffect transition="out" filter="fade">
                                      <p:cBhvr>
                                        <p:cTn id="39" dur="1000"/>
                                        <p:tgtEl>
                                          <p:spTgt spid="13"/>
                                        </p:tgtEl>
                                      </p:cBhvr>
                                    </p:animEffect>
                                    <p:set>
                                      <p:cBhvr>
                                        <p:cTn id="40" dur="1" fill="hold">
                                          <p:stCondLst>
                                            <p:cond delay="999"/>
                                          </p:stCondLst>
                                        </p:cTn>
                                        <p:tgtEl>
                                          <p:spTgt spid="13"/>
                                        </p:tgtEl>
                                        <p:attrNameLst>
                                          <p:attrName>style.visibility</p:attrName>
                                        </p:attrNameLst>
                                      </p:cBhvr>
                                      <p:to>
                                        <p:strVal val="hidden"/>
                                      </p:to>
                                    </p:set>
                                  </p:childTnLst>
                                </p:cTn>
                              </p:par>
                              <p:par>
                                <p:cTn id="41" presetID="53" presetClass="exit" presetSubtype="0" fill="hold" nodeType="withEffect">
                                  <p:stCondLst>
                                    <p:cond delay="0"/>
                                  </p:stCondLst>
                                  <p:childTnLst>
                                    <p:anim calcmode="lin" valueType="num">
                                      <p:cBhvr>
                                        <p:cTn id="42" dur="1000"/>
                                        <p:tgtEl>
                                          <p:spTgt spid="14"/>
                                        </p:tgtEl>
                                        <p:attrNameLst>
                                          <p:attrName>ppt_w</p:attrName>
                                        </p:attrNameLst>
                                      </p:cBhvr>
                                      <p:tavLst>
                                        <p:tav tm="0">
                                          <p:val>
                                            <p:strVal val="ppt_w"/>
                                          </p:val>
                                        </p:tav>
                                        <p:tav tm="100000">
                                          <p:val>
                                            <p:fltVal val="0"/>
                                          </p:val>
                                        </p:tav>
                                      </p:tavLst>
                                    </p:anim>
                                    <p:anim calcmode="lin" valueType="num">
                                      <p:cBhvr>
                                        <p:cTn id="43" dur="1000"/>
                                        <p:tgtEl>
                                          <p:spTgt spid="14"/>
                                        </p:tgtEl>
                                        <p:attrNameLst>
                                          <p:attrName>ppt_h</p:attrName>
                                        </p:attrNameLst>
                                      </p:cBhvr>
                                      <p:tavLst>
                                        <p:tav tm="0">
                                          <p:val>
                                            <p:strVal val="ppt_h"/>
                                          </p:val>
                                        </p:tav>
                                        <p:tav tm="100000">
                                          <p:val>
                                            <p:fltVal val="0"/>
                                          </p:val>
                                        </p:tav>
                                      </p:tavLst>
                                    </p:anim>
                                    <p:animEffect transition="out" filter="fade">
                                      <p:cBhvr>
                                        <p:cTn id="44" dur="1000"/>
                                        <p:tgtEl>
                                          <p:spTgt spid="14"/>
                                        </p:tgtEl>
                                      </p:cBhvr>
                                    </p:animEffect>
                                    <p:set>
                                      <p:cBhvr>
                                        <p:cTn id="45" dur="1" fill="hold">
                                          <p:stCondLst>
                                            <p:cond delay="999"/>
                                          </p:stCondLst>
                                        </p:cTn>
                                        <p:tgtEl>
                                          <p:spTgt spid="14"/>
                                        </p:tgtEl>
                                        <p:attrNameLst>
                                          <p:attrName>style.visibility</p:attrName>
                                        </p:attrNameLst>
                                      </p:cBhvr>
                                      <p:to>
                                        <p:strVal val="hidden"/>
                                      </p:to>
                                    </p:set>
                                  </p:childTnLst>
                                </p:cTn>
                              </p:par>
                              <p:par>
                                <p:cTn id="46" presetID="53" presetClass="exit" presetSubtype="0" fill="hold" nodeType="withEffect">
                                  <p:stCondLst>
                                    <p:cond delay="0"/>
                                  </p:stCondLst>
                                  <p:childTnLst>
                                    <p:anim calcmode="lin" valueType="num">
                                      <p:cBhvr>
                                        <p:cTn id="47" dur="1000"/>
                                        <p:tgtEl>
                                          <p:spTgt spid="18"/>
                                        </p:tgtEl>
                                        <p:attrNameLst>
                                          <p:attrName>ppt_w</p:attrName>
                                        </p:attrNameLst>
                                      </p:cBhvr>
                                      <p:tavLst>
                                        <p:tav tm="0">
                                          <p:val>
                                            <p:strVal val="ppt_w"/>
                                          </p:val>
                                        </p:tav>
                                        <p:tav tm="100000">
                                          <p:val>
                                            <p:fltVal val="0"/>
                                          </p:val>
                                        </p:tav>
                                      </p:tavLst>
                                    </p:anim>
                                    <p:anim calcmode="lin" valueType="num">
                                      <p:cBhvr>
                                        <p:cTn id="48" dur="1000"/>
                                        <p:tgtEl>
                                          <p:spTgt spid="18"/>
                                        </p:tgtEl>
                                        <p:attrNameLst>
                                          <p:attrName>ppt_h</p:attrName>
                                        </p:attrNameLst>
                                      </p:cBhvr>
                                      <p:tavLst>
                                        <p:tav tm="0">
                                          <p:val>
                                            <p:strVal val="ppt_h"/>
                                          </p:val>
                                        </p:tav>
                                        <p:tav tm="100000">
                                          <p:val>
                                            <p:fltVal val="0"/>
                                          </p:val>
                                        </p:tav>
                                      </p:tavLst>
                                    </p:anim>
                                    <p:animEffect transition="out" filter="fade">
                                      <p:cBhvr>
                                        <p:cTn id="49" dur="1000"/>
                                        <p:tgtEl>
                                          <p:spTgt spid="18"/>
                                        </p:tgtEl>
                                      </p:cBhvr>
                                    </p:animEffect>
                                    <p:set>
                                      <p:cBhvr>
                                        <p:cTn id="50" dur="1" fill="hold">
                                          <p:stCondLst>
                                            <p:cond delay="999"/>
                                          </p:stCondLst>
                                        </p:cTn>
                                        <p:tgtEl>
                                          <p:spTgt spid="18"/>
                                        </p:tgtEl>
                                        <p:attrNameLst>
                                          <p:attrName>style.visibility</p:attrName>
                                        </p:attrNameLst>
                                      </p:cBhvr>
                                      <p:to>
                                        <p:strVal val="hidden"/>
                                      </p:to>
                                    </p:set>
                                  </p:childTnLst>
                                </p:cTn>
                              </p:par>
                              <p:par>
                                <p:cTn id="51" presetID="53" presetClass="exit" presetSubtype="0" fill="hold" nodeType="withEffect">
                                  <p:stCondLst>
                                    <p:cond delay="0"/>
                                  </p:stCondLst>
                                  <p:childTnLst>
                                    <p:anim calcmode="lin" valueType="num">
                                      <p:cBhvr>
                                        <p:cTn id="52" dur="1000"/>
                                        <p:tgtEl>
                                          <p:spTgt spid="19"/>
                                        </p:tgtEl>
                                        <p:attrNameLst>
                                          <p:attrName>ppt_w</p:attrName>
                                        </p:attrNameLst>
                                      </p:cBhvr>
                                      <p:tavLst>
                                        <p:tav tm="0">
                                          <p:val>
                                            <p:strVal val="ppt_w"/>
                                          </p:val>
                                        </p:tav>
                                        <p:tav tm="100000">
                                          <p:val>
                                            <p:fltVal val="0"/>
                                          </p:val>
                                        </p:tav>
                                      </p:tavLst>
                                    </p:anim>
                                    <p:anim calcmode="lin" valueType="num">
                                      <p:cBhvr>
                                        <p:cTn id="53" dur="1000"/>
                                        <p:tgtEl>
                                          <p:spTgt spid="19"/>
                                        </p:tgtEl>
                                        <p:attrNameLst>
                                          <p:attrName>ppt_h</p:attrName>
                                        </p:attrNameLst>
                                      </p:cBhvr>
                                      <p:tavLst>
                                        <p:tav tm="0">
                                          <p:val>
                                            <p:strVal val="ppt_h"/>
                                          </p:val>
                                        </p:tav>
                                        <p:tav tm="100000">
                                          <p:val>
                                            <p:fltVal val="0"/>
                                          </p:val>
                                        </p:tav>
                                      </p:tavLst>
                                    </p:anim>
                                    <p:animEffect transition="out" filter="fade">
                                      <p:cBhvr>
                                        <p:cTn id="54" dur="1000"/>
                                        <p:tgtEl>
                                          <p:spTgt spid="19"/>
                                        </p:tgtEl>
                                      </p:cBhvr>
                                    </p:animEffect>
                                    <p:set>
                                      <p:cBhvr>
                                        <p:cTn id="55" dur="1" fill="hold">
                                          <p:stCondLst>
                                            <p:cond delay="999"/>
                                          </p:stCondLst>
                                        </p:cTn>
                                        <p:tgtEl>
                                          <p:spTgt spid="19"/>
                                        </p:tgtEl>
                                        <p:attrNameLst>
                                          <p:attrName>style.visibility</p:attrName>
                                        </p:attrNameLst>
                                      </p:cBhvr>
                                      <p:to>
                                        <p:strVal val="hidden"/>
                                      </p:to>
                                    </p:set>
                                  </p:childTnLst>
                                </p:cTn>
                              </p:par>
                              <p:par>
                                <p:cTn id="56" presetID="53" presetClass="exit" presetSubtype="0" fill="hold" nodeType="withEffect">
                                  <p:stCondLst>
                                    <p:cond delay="0"/>
                                  </p:stCondLst>
                                  <p:childTnLst>
                                    <p:anim calcmode="lin" valueType="num">
                                      <p:cBhvr>
                                        <p:cTn id="57" dur="1000"/>
                                        <p:tgtEl>
                                          <p:spTgt spid="20"/>
                                        </p:tgtEl>
                                        <p:attrNameLst>
                                          <p:attrName>ppt_w</p:attrName>
                                        </p:attrNameLst>
                                      </p:cBhvr>
                                      <p:tavLst>
                                        <p:tav tm="0">
                                          <p:val>
                                            <p:strVal val="ppt_w"/>
                                          </p:val>
                                        </p:tav>
                                        <p:tav tm="100000">
                                          <p:val>
                                            <p:fltVal val="0"/>
                                          </p:val>
                                        </p:tav>
                                      </p:tavLst>
                                    </p:anim>
                                    <p:anim calcmode="lin" valueType="num">
                                      <p:cBhvr>
                                        <p:cTn id="58" dur="1000"/>
                                        <p:tgtEl>
                                          <p:spTgt spid="20"/>
                                        </p:tgtEl>
                                        <p:attrNameLst>
                                          <p:attrName>ppt_h</p:attrName>
                                        </p:attrNameLst>
                                      </p:cBhvr>
                                      <p:tavLst>
                                        <p:tav tm="0">
                                          <p:val>
                                            <p:strVal val="ppt_h"/>
                                          </p:val>
                                        </p:tav>
                                        <p:tav tm="100000">
                                          <p:val>
                                            <p:fltVal val="0"/>
                                          </p:val>
                                        </p:tav>
                                      </p:tavLst>
                                    </p:anim>
                                    <p:animEffect transition="out" filter="fade">
                                      <p:cBhvr>
                                        <p:cTn id="59" dur="1000"/>
                                        <p:tgtEl>
                                          <p:spTgt spid="20"/>
                                        </p:tgtEl>
                                      </p:cBhvr>
                                    </p:animEffect>
                                    <p:set>
                                      <p:cBhvr>
                                        <p:cTn id="60" dur="1" fill="hold">
                                          <p:stCondLst>
                                            <p:cond delay="999"/>
                                          </p:stCondLst>
                                        </p:cTn>
                                        <p:tgtEl>
                                          <p:spTgt spid="20"/>
                                        </p:tgtEl>
                                        <p:attrNameLst>
                                          <p:attrName>style.visibility</p:attrName>
                                        </p:attrNameLst>
                                      </p:cBhvr>
                                      <p:to>
                                        <p:strVal val="hidden"/>
                                      </p:to>
                                    </p:set>
                                  </p:childTnLst>
                                </p:cTn>
                              </p:par>
                              <p:par>
                                <p:cTn id="61" presetID="53" presetClass="exit" presetSubtype="0" fill="hold" nodeType="withEffect">
                                  <p:stCondLst>
                                    <p:cond delay="0"/>
                                  </p:stCondLst>
                                  <p:childTnLst>
                                    <p:anim calcmode="lin" valueType="num">
                                      <p:cBhvr>
                                        <p:cTn id="62" dur="1000"/>
                                        <p:tgtEl>
                                          <p:spTgt spid="42224"/>
                                        </p:tgtEl>
                                        <p:attrNameLst>
                                          <p:attrName>ppt_w</p:attrName>
                                        </p:attrNameLst>
                                      </p:cBhvr>
                                      <p:tavLst>
                                        <p:tav tm="0">
                                          <p:val>
                                            <p:strVal val="ppt_w"/>
                                          </p:val>
                                        </p:tav>
                                        <p:tav tm="100000">
                                          <p:val>
                                            <p:fltVal val="0"/>
                                          </p:val>
                                        </p:tav>
                                      </p:tavLst>
                                    </p:anim>
                                    <p:anim calcmode="lin" valueType="num">
                                      <p:cBhvr>
                                        <p:cTn id="63" dur="1000"/>
                                        <p:tgtEl>
                                          <p:spTgt spid="42224"/>
                                        </p:tgtEl>
                                        <p:attrNameLst>
                                          <p:attrName>ppt_h</p:attrName>
                                        </p:attrNameLst>
                                      </p:cBhvr>
                                      <p:tavLst>
                                        <p:tav tm="0">
                                          <p:val>
                                            <p:strVal val="ppt_h"/>
                                          </p:val>
                                        </p:tav>
                                        <p:tav tm="100000">
                                          <p:val>
                                            <p:fltVal val="0"/>
                                          </p:val>
                                        </p:tav>
                                      </p:tavLst>
                                    </p:anim>
                                    <p:animEffect transition="out" filter="fade">
                                      <p:cBhvr>
                                        <p:cTn id="64" dur="1000"/>
                                        <p:tgtEl>
                                          <p:spTgt spid="42224"/>
                                        </p:tgtEl>
                                      </p:cBhvr>
                                    </p:animEffect>
                                    <p:set>
                                      <p:cBhvr>
                                        <p:cTn id="65" dur="1" fill="hold">
                                          <p:stCondLst>
                                            <p:cond delay="999"/>
                                          </p:stCondLst>
                                        </p:cTn>
                                        <p:tgtEl>
                                          <p:spTgt spid="42224"/>
                                        </p:tgtEl>
                                        <p:attrNameLst>
                                          <p:attrName>style.visibility</p:attrName>
                                        </p:attrNameLst>
                                      </p:cBhvr>
                                      <p:to>
                                        <p:strVal val="hidden"/>
                                      </p:to>
                                    </p:set>
                                  </p:childTnLst>
                                </p:cTn>
                              </p:par>
                              <p:par>
                                <p:cTn id="66" presetID="53" presetClass="exit" presetSubtype="0" fill="hold" nodeType="withEffect">
                                  <p:stCondLst>
                                    <p:cond delay="0"/>
                                  </p:stCondLst>
                                  <p:childTnLst>
                                    <p:anim calcmode="lin" valueType="num">
                                      <p:cBhvr>
                                        <p:cTn id="67" dur="1000"/>
                                        <p:tgtEl>
                                          <p:spTgt spid="42225"/>
                                        </p:tgtEl>
                                        <p:attrNameLst>
                                          <p:attrName>ppt_w</p:attrName>
                                        </p:attrNameLst>
                                      </p:cBhvr>
                                      <p:tavLst>
                                        <p:tav tm="0">
                                          <p:val>
                                            <p:strVal val="ppt_w"/>
                                          </p:val>
                                        </p:tav>
                                        <p:tav tm="100000">
                                          <p:val>
                                            <p:fltVal val="0"/>
                                          </p:val>
                                        </p:tav>
                                      </p:tavLst>
                                    </p:anim>
                                    <p:anim calcmode="lin" valueType="num">
                                      <p:cBhvr>
                                        <p:cTn id="68" dur="1000"/>
                                        <p:tgtEl>
                                          <p:spTgt spid="42225"/>
                                        </p:tgtEl>
                                        <p:attrNameLst>
                                          <p:attrName>ppt_h</p:attrName>
                                        </p:attrNameLst>
                                      </p:cBhvr>
                                      <p:tavLst>
                                        <p:tav tm="0">
                                          <p:val>
                                            <p:strVal val="ppt_h"/>
                                          </p:val>
                                        </p:tav>
                                        <p:tav tm="100000">
                                          <p:val>
                                            <p:fltVal val="0"/>
                                          </p:val>
                                        </p:tav>
                                      </p:tavLst>
                                    </p:anim>
                                    <p:animEffect transition="out" filter="fade">
                                      <p:cBhvr>
                                        <p:cTn id="69" dur="1000"/>
                                        <p:tgtEl>
                                          <p:spTgt spid="42225"/>
                                        </p:tgtEl>
                                      </p:cBhvr>
                                    </p:animEffect>
                                    <p:set>
                                      <p:cBhvr>
                                        <p:cTn id="70" dur="1" fill="hold">
                                          <p:stCondLst>
                                            <p:cond delay="999"/>
                                          </p:stCondLst>
                                        </p:cTn>
                                        <p:tgtEl>
                                          <p:spTgt spid="42225"/>
                                        </p:tgtEl>
                                        <p:attrNameLst>
                                          <p:attrName>style.visibility</p:attrName>
                                        </p:attrNameLst>
                                      </p:cBhvr>
                                      <p:to>
                                        <p:strVal val="hidden"/>
                                      </p:to>
                                    </p:set>
                                  </p:childTnLst>
                                </p:cTn>
                              </p:par>
                              <p:par>
                                <p:cTn id="71" presetID="53" presetClass="exit" presetSubtype="0" fill="hold" nodeType="withEffect">
                                  <p:stCondLst>
                                    <p:cond delay="0"/>
                                  </p:stCondLst>
                                  <p:childTnLst>
                                    <p:anim calcmode="lin" valueType="num">
                                      <p:cBhvr>
                                        <p:cTn id="72" dur="1000"/>
                                        <p:tgtEl>
                                          <p:spTgt spid="42237"/>
                                        </p:tgtEl>
                                        <p:attrNameLst>
                                          <p:attrName>ppt_w</p:attrName>
                                        </p:attrNameLst>
                                      </p:cBhvr>
                                      <p:tavLst>
                                        <p:tav tm="0">
                                          <p:val>
                                            <p:strVal val="ppt_w"/>
                                          </p:val>
                                        </p:tav>
                                        <p:tav tm="100000">
                                          <p:val>
                                            <p:fltVal val="0"/>
                                          </p:val>
                                        </p:tav>
                                      </p:tavLst>
                                    </p:anim>
                                    <p:anim calcmode="lin" valueType="num">
                                      <p:cBhvr>
                                        <p:cTn id="73" dur="1000"/>
                                        <p:tgtEl>
                                          <p:spTgt spid="42237"/>
                                        </p:tgtEl>
                                        <p:attrNameLst>
                                          <p:attrName>ppt_h</p:attrName>
                                        </p:attrNameLst>
                                      </p:cBhvr>
                                      <p:tavLst>
                                        <p:tav tm="0">
                                          <p:val>
                                            <p:strVal val="ppt_h"/>
                                          </p:val>
                                        </p:tav>
                                        <p:tav tm="100000">
                                          <p:val>
                                            <p:fltVal val="0"/>
                                          </p:val>
                                        </p:tav>
                                      </p:tavLst>
                                    </p:anim>
                                    <p:animEffect transition="out" filter="fade">
                                      <p:cBhvr>
                                        <p:cTn id="74" dur="1000"/>
                                        <p:tgtEl>
                                          <p:spTgt spid="42237"/>
                                        </p:tgtEl>
                                      </p:cBhvr>
                                    </p:animEffect>
                                    <p:set>
                                      <p:cBhvr>
                                        <p:cTn id="75" dur="1" fill="hold">
                                          <p:stCondLst>
                                            <p:cond delay="999"/>
                                          </p:stCondLst>
                                        </p:cTn>
                                        <p:tgtEl>
                                          <p:spTgt spid="42237"/>
                                        </p:tgtEl>
                                        <p:attrNameLst>
                                          <p:attrName>style.visibility</p:attrName>
                                        </p:attrNameLst>
                                      </p:cBhvr>
                                      <p:to>
                                        <p:strVal val="hidden"/>
                                      </p:to>
                                    </p:set>
                                  </p:childTnLst>
                                </p:cTn>
                              </p:par>
                              <p:par>
                                <p:cTn id="76" presetID="10" presetClass="exit" presetSubtype="0" fill="hold" grpId="1" nodeType="withEffect">
                                  <p:stCondLst>
                                    <p:cond delay="0"/>
                                  </p:stCondLst>
                                  <p:childTnLst>
                                    <p:animEffect transition="out" filter="fade">
                                      <p:cBhvr>
                                        <p:cTn id="77" dur="500"/>
                                        <p:tgtEl>
                                          <p:spTgt spid="42234"/>
                                        </p:tgtEl>
                                      </p:cBhvr>
                                    </p:animEffect>
                                    <p:set>
                                      <p:cBhvr>
                                        <p:cTn id="78" dur="1" fill="hold">
                                          <p:stCondLst>
                                            <p:cond delay="499"/>
                                          </p:stCondLst>
                                        </p:cTn>
                                        <p:tgtEl>
                                          <p:spTgt spid="42234"/>
                                        </p:tgtEl>
                                        <p:attrNameLst>
                                          <p:attrName>style.visibility</p:attrName>
                                        </p:attrNameLst>
                                      </p:cBhvr>
                                      <p:to>
                                        <p:strVal val="hidden"/>
                                      </p:to>
                                    </p:set>
                                  </p:childTnLst>
                                </p:cTn>
                              </p:par>
                              <p:par>
                                <p:cTn id="79" presetID="10" presetClass="exit" presetSubtype="0" fill="hold" grpId="1" nodeType="withEffect">
                                  <p:stCondLst>
                                    <p:cond delay="0"/>
                                  </p:stCondLst>
                                  <p:childTnLst>
                                    <p:animEffect transition="out" filter="fade">
                                      <p:cBhvr>
                                        <p:cTn id="80" dur="500"/>
                                        <p:tgtEl>
                                          <p:spTgt spid="42235"/>
                                        </p:tgtEl>
                                      </p:cBhvr>
                                    </p:animEffect>
                                    <p:set>
                                      <p:cBhvr>
                                        <p:cTn id="81" dur="1" fill="hold">
                                          <p:stCondLst>
                                            <p:cond delay="499"/>
                                          </p:stCondLst>
                                        </p:cTn>
                                        <p:tgtEl>
                                          <p:spTgt spid="42235"/>
                                        </p:tgtEl>
                                        <p:attrNameLst>
                                          <p:attrName>style.visibility</p:attrName>
                                        </p:attrNameLst>
                                      </p:cBhvr>
                                      <p:to>
                                        <p:strVal val="hidden"/>
                                      </p:to>
                                    </p:set>
                                  </p:childTnLst>
                                </p:cTn>
                              </p:par>
                              <p:par>
                                <p:cTn id="82" presetID="10" presetClass="entr" presetSubtype="0" fill="hold" grpId="0" nodeType="withEffect">
                                  <p:stCondLst>
                                    <p:cond delay="0"/>
                                  </p:stCondLst>
                                  <p:childTnLst>
                                    <p:set>
                                      <p:cBhvr>
                                        <p:cTn id="83" dur="1" fill="hold">
                                          <p:stCondLst>
                                            <p:cond delay="0"/>
                                          </p:stCondLst>
                                        </p:cTn>
                                        <p:tgtEl>
                                          <p:spTgt spid="42117"/>
                                        </p:tgtEl>
                                        <p:attrNameLst>
                                          <p:attrName>style.visibility</p:attrName>
                                        </p:attrNameLst>
                                      </p:cBhvr>
                                      <p:to>
                                        <p:strVal val="visible"/>
                                      </p:to>
                                    </p:set>
                                    <p:animEffect transition="in" filter="fade">
                                      <p:cBhvr>
                                        <p:cTn id="84" dur="2000"/>
                                        <p:tgtEl>
                                          <p:spTgt spid="42117"/>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42116"/>
                                        </p:tgtEl>
                                        <p:attrNameLst>
                                          <p:attrName>style.visibility</p:attrName>
                                        </p:attrNameLst>
                                      </p:cBhvr>
                                      <p:to>
                                        <p:strVal val="visible"/>
                                      </p:to>
                                    </p:set>
                                    <p:animEffect transition="in" filter="fade">
                                      <p:cBhvr>
                                        <p:cTn id="87" dur="2000"/>
                                        <p:tgtEl>
                                          <p:spTgt spid="42116"/>
                                        </p:tgtEl>
                                      </p:cBhvr>
                                    </p:animEffect>
                                  </p:childTnLst>
                                </p:cTn>
                              </p:par>
                              <p:par>
                                <p:cTn id="88" presetID="53" presetClass="entr" presetSubtype="0" fill="hold" nodeType="withEffect">
                                  <p:stCondLst>
                                    <p:cond delay="0"/>
                                  </p:stCondLst>
                                  <p:childTnLst>
                                    <p:set>
                                      <p:cBhvr>
                                        <p:cTn id="89" dur="1" fill="hold">
                                          <p:stCondLst>
                                            <p:cond delay="0"/>
                                          </p:stCondLst>
                                        </p:cTn>
                                        <p:tgtEl>
                                          <p:spTgt spid="3"/>
                                        </p:tgtEl>
                                        <p:attrNameLst>
                                          <p:attrName>style.visibility</p:attrName>
                                        </p:attrNameLst>
                                      </p:cBhvr>
                                      <p:to>
                                        <p:strVal val="visible"/>
                                      </p:to>
                                    </p:set>
                                    <p:anim calcmode="lin" valueType="num">
                                      <p:cBhvr>
                                        <p:cTn id="90" dur="2000" fill="hold"/>
                                        <p:tgtEl>
                                          <p:spTgt spid="3"/>
                                        </p:tgtEl>
                                        <p:attrNameLst>
                                          <p:attrName>ppt_w</p:attrName>
                                        </p:attrNameLst>
                                      </p:cBhvr>
                                      <p:tavLst>
                                        <p:tav tm="0">
                                          <p:val>
                                            <p:fltVal val="0"/>
                                          </p:val>
                                        </p:tav>
                                        <p:tav tm="100000">
                                          <p:val>
                                            <p:strVal val="#ppt_w"/>
                                          </p:val>
                                        </p:tav>
                                      </p:tavLst>
                                    </p:anim>
                                    <p:anim calcmode="lin" valueType="num">
                                      <p:cBhvr>
                                        <p:cTn id="91" dur="2000" fill="hold"/>
                                        <p:tgtEl>
                                          <p:spTgt spid="3"/>
                                        </p:tgtEl>
                                        <p:attrNameLst>
                                          <p:attrName>ppt_h</p:attrName>
                                        </p:attrNameLst>
                                      </p:cBhvr>
                                      <p:tavLst>
                                        <p:tav tm="0">
                                          <p:val>
                                            <p:fltVal val="0"/>
                                          </p:val>
                                        </p:tav>
                                        <p:tav tm="100000">
                                          <p:val>
                                            <p:strVal val="#ppt_h"/>
                                          </p:val>
                                        </p:tav>
                                      </p:tavLst>
                                    </p:anim>
                                    <p:animEffect transition="in" filter="fade">
                                      <p:cBhvr>
                                        <p:cTn id="92" dur="2000"/>
                                        <p:tgtEl>
                                          <p:spTgt spid="3"/>
                                        </p:tgtEl>
                                      </p:cBhvr>
                                    </p:animEffect>
                                  </p:childTnLst>
                                </p:cTn>
                              </p:par>
                              <p:par>
                                <p:cTn id="93" presetID="53" presetClass="entr" presetSubtype="0" fill="hold" nodeType="withEffect">
                                  <p:stCondLst>
                                    <p:cond delay="0"/>
                                  </p:stCondLst>
                                  <p:childTnLst>
                                    <p:set>
                                      <p:cBhvr>
                                        <p:cTn id="94" dur="1" fill="hold">
                                          <p:stCondLst>
                                            <p:cond delay="0"/>
                                          </p:stCondLst>
                                        </p:cTn>
                                        <p:tgtEl>
                                          <p:spTgt spid="11"/>
                                        </p:tgtEl>
                                        <p:attrNameLst>
                                          <p:attrName>style.visibility</p:attrName>
                                        </p:attrNameLst>
                                      </p:cBhvr>
                                      <p:to>
                                        <p:strVal val="visible"/>
                                      </p:to>
                                    </p:set>
                                    <p:anim calcmode="lin" valueType="num">
                                      <p:cBhvr>
                                        <p:cTn id="95" dur="2000" fill="hold"/>
                                        <p:tgtEl>
                                          <p:spTgt spid="11"/>
                                        </p:tgtEl>
                                        <p:attrNameLst>
                                          <p:attrName>ppt_w</p:attrName>
                                        </p:attrNameLst>
                                      </p:cBhvr>
                                      <p:tavLst>
                                        <p:tav tm="0">
                                          <p:val>
                                            <p:fltVal val="0"/>
                                          </p:val>
                                        </p:tav>
                                        <p:tav tm="100000">
                                          <p:val>
                                            <p:strVal val="#ppt_w"/>
                                          </p:val>
                                        </p:tav>
                                      </p:tavLst>
                                    </p:anim>
                                    <p:anim calcmode="lin" valueType="num">
                                      <p:cBhvr>
                                        <p:cTn id="96" dur="2000" fill="hold"/>
                                        <p:tgtEl>
                                          <p:spTgt spid="11"/>
                                        </p:tgtEl>
                                        <p:attrNameLst>
                                          <p:attrName>ppt_h</p:attrName>
                                        </p:attrNameLst>
                                      </p:cBhvr>
                                      <p:tavLst>
                                        <p:tav tm="0">
                                          <p:val>
                                            <p:fltVal val="0"/>
                                          </p:val>
                                        </p:tav>
                                        <p:tav tm="100000">
                                          <p:val>
                                            <p:strVal val="#ppt_h"/>
                                          </p:val>
                                        </p:tav>
                                      </p:tavLst>
                                    </p:anim>
                                    <p:animEffect transition="in" filter="fade">
                                      <p:cBhvr>
                                        <p:cTn id="97" dur="2000"/>
                                        <p:tgtEl>
                                          <p:spTgt spid="11"/>
                                        </p:tgtEl>
                                      </p:cBhvr>
                                    </p:animEffect>
                                  </p:childTnLst>
                                </p:cTn>
                              </p:par>
                              <p:par>
                                <p:cTn id="98" presetID="53" presetClass="entr" presetSubtype="0" fill="hold" nodeType="withEffect">
                                  <p:stCondLst>
                                    <p:cond delay="0"/>
                                  </p:stCondLst>
                                  <p:childTnLst>
                                    <p:set>
                                      <p:cBhvr>
                                        <p:cTn id="99" dur="1" fill="hold">
                                          <p:stCondLst>
                                            <p:cond delay="0"/>
                                          </p:stCondLst>
                                        </p:cTn>
                                        <p:tgtEl>
                                          <p:spTgt spid="2"/>
                                        </p:tgtEl>
                                        <p:attrNameLst>
                                          <p:attrName>style.visibility</p:attrName>
                                        </p:attrNameLst>
                                      </p:cBhvr>
                                      <p:to>
                                        <p:strVal val="visible"/>
                                      </p:to>
                                    </p:set>
                                    <p:anim calcmode="lin" valueType="num">
                                      <p:cBhvr>
                                        <p:cTn id="100" dur="2000" fill="hold"/>
                                        <p:tgtEl>
                                          <p:spTgt spid="2"/>
                                        </p:tgtEl>
                                        <p:attrNameLst>
                                          <p:attrName>ppt_w</p:attrName>
                                        </p:attrNameLst>
                                      </p:cBhvr>
                                      <p:tavLst>
                                        <p:tav tm="0">
                                          <p:val>
                                            <p:fltVal val="0"/>
                                          </p:val>
                                        </p:tav>
                                        <p:tav tm="100000">
                                          <p:val>
                                            <p:strVal val="#ppt_w"/>
                                          </p:val>
                                        </p:tav>
                                      </p:tavLst>
                                    </p:anim>
                                    <p:anim calcmode="lin" valueType="num">
                                      <p:cBhvr>
                                        <p:cTn id="101" dur="2000" fill="hold"/>
                                        <p:tgtEl>
                                          <p:spTgt spid="2"/>
                                        </p:tgtEl>
                                        <p:attrNameLst>
                                          <p:attrName>ppt_h</p:attrName>
                                        </p:attrNameLst>
                                      </p:cBhvr>
                                      <p:tavLst>
                                        <p:tav tm="0">
                                          <p:val>
                                            <p:fltVal val="0"/>
                                          </p:val>
                                        </p:tav>
                                        <p:tav tm="100000">
                                          <p:val>
                                            <p:strVal val="#ppt_h"/>
                                          </p:val>
                                        </p:tav>
                                      </p:tavLst>
                                    </p:anim>
                                    <p:animEffect transition="in" filter="fade">
                                      <p:cBhvr>
                                        <p:cTn id="102" dur="2000"/>
                                        <p:tgtEl>
                                          <p:spTgt spid="2"/>
                                        </p:tgtEl>
                                      </p:cBhvr>
                                    </p:animEffect>
                                  </p:childTnLst>
                                </p:cTn>
                              </p:par>
                              <p:par>
                                <p:cTn id="103" presetID="53" presetClass="entr" presetSubtype="0" fill="hold" nodeType="withEffect">
                                  <p:stCondLst>
                                    <p:cond delay="0"/>
                                  </p:stCondLst>
                                  <p:childTnLst>
                                    <p:set>
                                      <p:cBhvr>
                                        <p:cTn id="104" dur="1" fill="hold">
                                          <p:stCondLst>
                                            <p:cond delay="0"/>
                                          </p:stCondLst>
                                        </p:cTn>
                                        <p:tgtEl>
                                          <p:spTgt spid="10"/>
                                        </p:tgtEl>
                                        <p:attrNameLst>
                                          <p:attrName>style.visibility</p:attrName>
                                        </p:attrNameLst>
                                      </p:cBhvr>
                                      <p:to>
                                        <p:strVal val="visible"/>
                                      </p:to>
                                    </p:set>
                                    <p:anim calcmode="lin" valueType="num">
                                      <p:cBhvr>
                                        <p:cTn id="105" dur="2000" fill="hold"/>
                                        <p:tgtEl>
                                          <p:spTgt spid="10"/>
                                        </p:tgtEl>
                                        <p:attrNameLst>
                                          <p:attrName>ppt_w</p:attrName>
                                        </p:attrNameLst>
                                      </p:cBhvr>
                                      <p:tavLst>
                                        <p:tav tm="0">
                                          <p:val>
                                            <p:fltVal val="0"/>
                                          </p:val>
                                        </p:tav>
                                        <p:tav tm="100000">
                                          <p:val>
                                            <p:strVal val="#ppt_w"/>
                                          </p:val>
                                        </p:tav>
                                      </p:tavLst>
                                    </p:anim>
                                    <p:anim calcmode="lin" valueType="num">
                                      <p:cBhvr>
                                        <p:cTn id="106" dur="2000" fill="hold"/>
                                        <p:tgtEl>
                                          <p:spTgt spid="10"/>
                                        </p:tgtEl>
                                        <p:attrNameLst>
                                          <p:attrName>ppt_h</p:attrName>
                                        </p:attrNameLst>
                                      </p:cBhvr>
                                      <p:tavLst>
                                        <p:tav tm="0">
                                          <p:val>
                                            <p:fltVal val="0"/>
                                          </p:val>
                                        </p:tav>
                                        <p:tav tm="100000">
                                          <p:val>
                                            <p:strVal val="#ppt_h"/>
                                          </p:val>
                                        </p:tav>
                                      </p:tavLst>
                                    </p:anim>
                                    <p:animEffect transition="in" filter="fade">
                                      <p:cBhvr>
                                        <p:cTn id="107" dur="2000"/>
                                        <p:tgtEl>
                                          <p:spTgt spid="10"/>
                                        </p:tgtEl>
                                      </p:cBhvr>
                                    </p:animEffect>
                                  </p:childTnLst>
                                </p:cTn>
                              </p:par>
                              <p:par>
                                <p:cTn id="108" presetID="53" presetClass="entr" presetSubtype="0" fill="hold" nodeType="withEffect">
                                  <p:stCondLst>
                                    <p:cond delay="0"/>
                                  </p:stCondLst>
                                  <p:childTnLst>
                                    <p:set>
                                      <p:cBhvr>
                                        <p:cTn id="109" dur="1" fill="hold">
                                          <p:stCondLst>
                                            <p:cond delay="0"/>
                                          </p:stCondLst>
                                        </p:cTn>
                                        <p:tgtEl>
                                          <p:spTgt spid="25"/>
                                        </p:tgtEl>
                                        <p:attrNameLst>
                                          <p:attrName>style.visibility</p:attrName>
                                        </p:attrNameLst>
                                      </p:cBhvr>
                                      <p:to>
                                        <p:strVal val="visible"/>
                                      </p:to>
                                    </p:set>
                                    <p:anim calcmode="lin" valueType="num">
                                      <p:cBhvr>
                                        <p:cTn id="110" dur="2000" fill="hold"/>
                                        <p:tgtEl>
                                          <p:spTgt spid="25"/>
                                        </p:tgtEl>
                                        <p:attrNameLst>
                                          <p:attrName>ppt_w</p:attrName>
                                        </p:attrNameLst>
                                      </p:cBhvr>
                                      <p:tavLst>
                                        <p:tav tm="0">
                                          <p:val>
                                            <p:fltVal val="0"/>
                                          </p:val>
                                        </p:tav>
                                        <p:tav tm="100000">
                                          <p:val>
                                            <p:strVal val="#ppt_w"/>
                                          </p:val>
                                        </p:tav>
                                      </p:tavLst>
                                    </p:anim>
                                    <p:anim calcmode="lin" valueType="num">
                                      <p:cBhvr>
                                        <p:cTn id="111" dur="2000" fill="hold"/>
                                        <p:tgtEl>
                                          <p:spTgt spid="25"/>
                                        </p:tgtEl>
                                        <p:attrNameLst>
                                          <p:attrName>ppt_h</p:attrName>
                                        </p:attrNameLst>
                                      </p:cBhvr>
                                      <p:tavLst>
                                        <p:tav tm="0">
                                          <p:val>
                                            <p:fltVal val="0"/>
                                          </p:val>
                                        </p:tav>
                                        <p:tav tm="100000">
                                          <p:val>
                                            <p:strVal val="#ppt_h"/>
                                          </p:val>
                                        </p:tav>
                                      </p:tavLst>
                                    </p:anim>
                                    <p:animEffect transition="in" filter="fade">
                                      <p:cBhvr>
                                        <p:cTn id="112" dur="2000"/>
                                        <p:tgtEl>
                                          <p:spTgt spid="25"/>
                                        </p:tgtEl>
                                      </p:cBhvr>
                                    </p:animEffect>
                                  </p:childTnLst>
                                </p:cTn>
                              </p:par>
                              <p:par>
                                <p:cTn id="113" presetID="53" presetClass="entr" presetSubtype="0" fill="hold" nodeType="withEffect">
                                  <p:stCondLst>
                                    <p:cond delay="0"/>
                                  </p:stCondLst>
                                  <p:childTnLst>
                                    <p:set>
                                      <p:cBhvr>
                                        <p:cTn id="114" dur="1" fill="hold">
                                          <p:stCondLst>
                                            <p:cond delay="0"/>
                                          </p:stCondLst>
                                        </p:cTn>
                                        <p:tgtEl>
                                          <p:spTgt spid="5"/>
                                        </p:tgtEl>
                                        <p:attrNameLst>
                                          <p:attrName>style.visibility</p:attrName>
                                        </p:attrNameLst>
                                      </p:cBhvr>
                                      <p:to>
                                        <p:strVal val="visible"/>
                                      </p:to>
                                    </p:set>
                                    <p:anim calcmode="lin" valueType="num">
                                      <p:cBhvr>
                                        <p:cTn id="115" dur="2000" fill="hold"/>
                                        <p:tgtEl>
                                          <p:spTgt spid="5"/>
                                        </p:tgtEl>
                                        <p:attrNameLst>
                                          <p:attrName>ppt_w</p:attrName>
                                        </p:attrNameLst>
                                      </p:cBhvr>
                                      <p:tavLst>
                                        <p:tav tm="0">
                                          <p:val>
                                            <p:fltVal val="0"/>
                                          </p:val>
                                        </p:tav>
                                        <p:tav tm="100000">
                                          <p:val>
                                            <p:strVal val="#ppt_w"/>
                                          </p:val>
                                        </p:tav>
                                      </p:tavLst>
                                    </p:anim>
                                    <p:anim calcmode="lin" valueType="num">
                                      <p:cBhvr>
                                        <p:cTn id="116" dur="2000" fill="hold"/>
                                        <p:tgtEl>
                                          <p:spTgt spid="5"/>
                                        </p:tgtEl>
                                        <p:attrNameLst>
                                          <p:attrName>ppt_h</p:attrName>
                                        </p:attrNameLst>
                                      </p:cBhvr>
                                      <p:tavLst>
                                        <p:tav tm="0">
                                          <p:val>
                                            <p:fltVal val="0"/>
                                          </p:val>
                                        </p:tav>
                                        <p:tav tm="100000">
                                          <p:val>
                                            <p:strVal val="#ppt_h"/>
                                          </p:val>
                                        </p:tav>
                                      </p:tavLst>
                                    </p:anim>
                                    <p:animEffect transition="in" filter="fade">
                                      <p:cBhvr>
                                        <p:cTn id="117" dur="2000"/>
                                        <p:tgtEl>
                                          <p:spTgt spid="5"/>
                                        </p:tgtEl>
                                      </p:cBhvr>
                                    </p:animEffect>
                                  </p:childTnLst>
                                </p:cTn>
                              </p:par>
                            </p:childTnLst>
                          </p:cTn>
                        </p:par>
                      </p:childTnLst>
                    </p:cTn>
                  </p:par>
                  <p:par>
                    <p:cTn id="118" fill="hold">
                      <p:stCondLst>
                        <p:cond delay="indefinite"/>
                      </p:stCondLst>
                      <p:childTnLst>
                        <p:par>
                          <p:cTn id="119" fill="hold">
                            <p:stCondLst>
                              <p:cond delay="0"/>
                            </p:stCondLst>
                            <p:childTnLst>
                              <p:par>
                                <p:cTn id="120" presetID="10" presetClass="entr" presetSubtype="0" fill="hold" grpId="0" nodeType="clickEffect">
                                  <p:stCondLst>
                                    <p:cond delay="0"/>
                                  </p:stCondLst>
                                  <p:childTnLst>
                                    <p:set>
                                      <p:cBhvr>
                                        <p:cTn id="121" dur="1" fill="hold">
                                          <p:stCondLst>
                                            <p:cond delay="0"/>
                                          </p:stCondLst>
                                        </p:cTn>
                                        <p:tgtEl>
                                          <p:spTgt spid="31"/>
                                        </p:tgtEl>
                                        <p:attrNameLst>
                                          <p:attrName>style.visibility</p:attrName>
                                        </p:attrNameLst>
                                      </p:cBhvr>
                                      <p:to>
                                        <p:strVal val="visible"/>
                                      </p:to>
                                    </p:set>
                                    <p:animEffect transition="in" filter="fade">
                                      <p:cBhvr>
                                        <p:cTn id="122" dur="500"/>
                                        <p:tgtEl>
                                          <p:spTgt spid="31"/>
                                        </p:tgtEl>
                                      </p:cBhvr>
                                    </p:animEffect>
                                  </p:childTnLst>
                                </p:cTn>
                              </p:par>
                            </p:childTnLst>
                          </p:cTn>
                        </p:par>
                        <p:par>
                          <p:cTn id="123" fill="hold">
                            <p:stCondLst>
                              <p:cond delay="500"/>
                            </p:stCondLst>
                            <p:childTnLst>
                              <p:par>
                                <p:cTn id="124" presetID="22" presetClass="entr" presetSubtype="4" fill="hold" grpId="0" nodeType="afterEffect">
                                  <p:stCondLst>
                                    <p:cond delay="0"/>
                                  </p:stCondLst>
                                  <p:childTnLst>
                                    <p:set>
                                      <p:cBhvr>
                                        <p:cTn id="125" dur="1" fill="hold">
                                          <p:stCondLst>
                                            <p:cond delay="0"/>
                                          </p:stCondLst>
                                        </p:cTn>
                                        <p:tgtEl>
                                          <p:spTgt spid="45159"/>
                                        </p:tgtEl>
                                        <p:attrNameLst>
                                          <p:attrName>style.visibility</p:attrName>
                                        </p:attrNameLst>
                                      </p:cBhvr>
                                      <p:to>
                                        <p:strVal val="visible"/>
                                      </p:to>
                                    </p:set>
                                    <p:animEffect transition="in" filter="wipe(down)">
                                      <p:cBhvr>
                                        <p:cTn id="126" dur="500"/>
                                        <p:tgtEl>
                                          <p:spTgt spid="45159"/>
                                        </p:tgtEl>
                                      </p:cBhvr>
                                    </p:animEffect>
                                  </p:childTnLst>
                                </p:cTn>
                              </p:par>
                              <p:par>
                                <p:cTn id="127" presetID="22" presetClass="entr" presetSubtype="4" fill="hold" grpId="0" nodeType="withEffect">
                                  <p:stCondLst>
                                    <p:cond delay="0"/>
                                  </p:stCondLst>
                                  <p:childTnLst>
                                    <p:set>
                                      <p:cBhvr>
                                        <p:cTn id="128" dur="1" fill="hold">
                                          <p:stCondLst>
                                            <p:cond delay="0"/>
                                          </p:stCondLst>
                                        </p:cTn>
                                        <p:tgtEl>
                                          <p:spTgt spid="45158"/>
                                        </p:tgtEl>
                                        <p:attrNameLst>
                                          <p:attrName>style.visibility</p:attrName>
                                        </p:attrNameLst>
                                      </p:cBhvr>
                                      <p:to>
                                        <p:strVal val="visible"/>
                                      </p:to>
                                    </p:set>
                                    <p:animEffect transition="in" filter="wipe(down)">
                                      <p:cBhvr>
                                        <p:cTn id="129" dur="500"/>
                                        <p:tgtEl>
                                          <p:spTgt spid="45158"/>
                                        </p:tgtEl>
                                      </p:cBhvr>
                                    </p:animEffect>
                                  </p:childTnLst>
                                </p:cTn>
                              </p:par>
                            </p:childTnLst>
                          </p:cTn>
                        </p:par>
                        <p:par>
                          <p:cTn id="130" fill="hold">
                            <p:stCondLst>
                              <p:cond delay="1000"/>
                            </p:stCondLst>
                            <p:childTnLst>
                              <p:par>
                                <p:cTn id="131" presetID="10" presetClass="entr" presetSubtype="0" fill="hold" grpId="0" nodeType="afterEffect">
                                  <p:stCondLst>
                                    <p:cond delay="0"/>
                                  </p:stCondLst>
                                  <p:childTnLst>
                                    <p:set>
                                      <p:cBhvr>
                                        <p:cTn id="132" dur="1" fill="hold">
                                          <p:stCondLst>
                                            <p:cond delay="0"/>
                                          </p:stCondLst>
                                        </p:cTn>
                                        <p:tgtEl>
                                          <p:spTgt spid="45119"/>
                                        </p:tgtEl>
                                        <p:attrNameLst>
                                          <p:attrName>style.visibility</p:attrName>
                                        </p:attrNameLst>
                                      </p:cBhvr>
                                      <p:to>
                                        <p:strVal val="visible"/>
                                      </p:to>
                                    </p:set>
                                    <p:animEffect transition="in" filter="fade">
                                      <p:cBhvr>
                                        <p:cTn id="133" dur="500"/>
                                        <p:tgtEl>
                                          <p:spTgt spid="45119"/>
                                        </p:tgtEl>
                                      </p:cBhvr>
                                    </p:animEffect>
                                  </p:childTnLst>
                                </p:cTn>
                              </p:par>
                              <p:par>
                                <p:cTn id="134" presetID="10" presetClass="entr" presetSubtype="0" fill="hold" grpId="0" nodeType="withEffect">
                                  <p:stCondLst>
                                    <p:cond delay="0"/>
                                  </p:stCondLst>
                                  <p:childTnLst>
                                    <p:set>
                                      <p:cBhvr>
                                        <p:cTn id="135" dur="1" fill="hold">
                                          <p:stCondLst>
                                            <p:cond delay="0"/>
                                          </p:stCondLst>
                                        </p:cTn>
                                        <p:tgtEl>
                                          <p:spTgt spid="45123"/>
                                        </p:tgtEl>
                                        <p:attrNameLst>
                                          <p:attrName>style.visibility</p:attrName>
                                        </p:attrNameLst>
                                      </p:cBhvr>
                                      <p:to>
                                        <p:strVal val="visible"/>
                                      </p:to>
                                    </p:set>
                                    <p:animEffect transition="in" filter="fade">
                                      <p:cBhvr>
                                        <p:cTn id="136" dur="500"/>
                                        <p:tgtEl>
                                          <p:spTgt spid="45123"/>
                                        </p:tgtEl>
                                      </p:cBhvr>
                                    </p:animEffect>
                                  </p:childTnLst>
                                </p:cTn>
                              </p:par>
                              <p:par>
                                <p:cTn id="137" presetID="10" presetClass="entr" presetSubtype="0" fill="hold" nodeType="withEffect">
                                  <p:stCondLst>
                                    <p:cond delay="0"/>
                                  </p:stCondLst>
                                  <p:childTnLst>
                                    <p:set>
                                      <p:cBhvr>
                                        <p:cTn id="138" dur="1" fill="hold">
                                          <p:stCondLst>
                                            <p:cond delay="0"/>
                                          </p:stCondLst>
                                        </p:cTn>
                                        <p:tgtEl>
                                          <p:spTgt spid="45117"/>
                                        </p:tgtEl>
                                        <p:attrNameLst>
                                          <p:attrName>style.visibility</p:attrName>
                                        </p:attrNameLst>
                                      </p:cBhvr>
                                      <p:to>
                                        <p:strVal val="visible"/>
                                      </p:to>
                                    </p:set>
                                    <p:animEffect transition="in" filter="fade">
                                      <p:cBhvr>
                                        <p:cTn id="139" dur="500"/>
                                        <p:tgtEl>
                                          <p:spTgt spid="45117"/>
                                        </p:tgtEl>
                                      </p:cBhvr>
                                    </p:animEffect>
                                  </p:childTnLst>
                                </p:cTn>
                              </p:par>
                              <p:par>
                                <p:cTn id="140" presetID="10" presetClass="entr" presetSubtype="0" fill="hold" nodeType="withEffect">
                                  <p:stCondLst>
                                    <p:cond delay="0"/>
                                  </p:stCondLst>
                                  <p:childTnLst>
                                    <p:set>
                                      <p:cBhvr>
                                        <p:cTn id="141" dur="1" fill="hold">
                                          <p:stCondLst>
                                            <p:cond delay="0"/>
                                          </p:stCondLst>
                                        </p:cTn>
                                        <p:tgtEl>
                                          <p:spTgt spid="45118"/>
                                        </p:tgtEl>
                                        <p:attrNameLst>
                                          <p:attrName>style.visibility</p:attrName>
                                        </p:attrNameLst>
                                      </p:cBhvr>
                                      <p:to>
                                        <p:strVal val="visible"/>
                                      </p:to>
                                    </p:set>
                                    <p:animEffect transition="in" filter="fade">
                                      <p:cBhvr>
                                        <p:cTn id="142" dur="500"/>
                                        <p:tgtEl>
                                          <p:spTgt spid="45118"/>
                                        </p:tgtEl>
                                      </p:cBhvr>
                                    </p:animEffect>
                                  </p:childTnLst>
                                </p:cTn>
                              </p:par>
                            </p:childTnLst>
                          </p:cTn>
                        </p:par>
                      </p:childTnLst>
                    </p:cTn>
                  </p:par>
                  <p:par>
                    <p:cTn id="143" fill="hold">
                      <p:stCondLst>
                        <p:cond delay="indefinite"/>
                      </p:stCondLst>
                      <p:childTnLst>
                        <p:par>
                          <p:cTn id="144" fill="hold">
                            <p:stCondLst>
                              <p:cond delay="0"/>
                            </p:stCondLst>
                            <p:childTnLst>
                              <p:par>
                                <p:cTn id="145" presetID="10" presetClass="exit" presetSubtype="0" fill="hold" grpId="1" nodeType="clickEffect">
                                  <p:stCondLst>
                                    <p:cond delay="0"/>
                                  </p:stCondLst>
                                  <p:childTnLst>
                                    <p:animEffect transition="out" filter="fade">
                                      <p:cBhvr>
                                        <p:cTn id="146" dur="500"/>
                                        <p:tgtEl>
                                          <p:spTgt spid="45159"/>
                                        </p:tgtEl>
                                      </p:cBhvr>
                                    </p:animEffect>
                                    <p:set>
                                      <p:cBhvr>
                                        <p:cTn id="147" dur="1" fill="hold">
                                          <p:stCondLst>
                                            <p:cond delay="499"/>
                                          </p:stCondLst>
                                        </p:cTn>
                                        <p:tgtEl>
                                          <p:spTgt spid="45159"/>
                                        </p:tgtEl>
                                        <p:attrNameLst>
                                          <p:attrName>style.visibility</p:attrName>
                                        </p:attrNameLst>
                                      </p:cBhvr>
                                      <p:to>
                                        <p:strVal val="hidden"/>
                                      </p:to>
                                    </p:set>
                                  </p:childTnLst>
                                </p:cTn>
                              </p:par>
                              <p:par>
                                <p:cTn id="148" presetID="10" presetClass="exit" presetSubtype="0" fill="hold" grpId="1" nodeType="withEffect">
                                  <p:stCondLst>
                                    <p:cond delay="0"/>
                                  </p:stCondLst>
                                  <p:childTnLst>
                                    <p:animEffect transition="out" filter="fade">
                                      <p:cBhvr>
                                        <p:cTn id="149" dur="500"/>
                                        <p:tgtEl>
                                          <p:spTgt spid="45158"/>
                                        </p:tgtEl>
                                      </p:cBhvr>
                                    </p:animEffect>
                                    <p:set>
                                      <p:cBhvr>
                                        <p:cTn id="150" dur="1" fill="hold">
                                          <p:stCondLst>
                                            <p:cond delay="499"/>
                                          </p:stCondLst>
                                        </p:cTn>
                                        <p:tgtEl>
                                          <p:spTgt spid="45158"/>
                                        </p:tgtEl>
                                        <p:attrNameLst>
                                          <p:attrName>style.visibility</p:attrName>
                                        </p:attrNameLst>
                                      </p:cBhvr>
                                      <p:to>
                                        <p:strVal val="hidden"/>
                                      </p:to>
                                    </p:set>
                                  </p:childTnLst>
                                </p:cTn>
                              </p:par>
                              <p:par>
                                <p:cTn id="151" presetID="10" presetClass="entr" presetSubtype="0" fill="hold" grpId="0" nodeType="withEffect">
                                  <p:stCondLst>
                                    <p:cond delay="0"/>
                                  </p:stCondLst>
                                  <p:childTnLst>
                                    <p:set>
                                      <p:cBhvr>
                                        <p:cTn id="152" dur="1" fill="hold">
                                          <p:stCondLst>
                                            <p:cond delay="0"/>
                                          </p:stCondLst>
                                        </p:cTn>
                                        <p:tgtEl>
                                          <p:spTgt spid="32"/>
                                        </p:tgtEl>
                                        <p:attrNameLst>
                                          <p:attrName>style.visibility</p:attrName>
                                        </p:attrNameLst>
                                      </p:cBhvr>
                                      <p:to>
                                        <p:strVal val="visible"/>
                                      </p:to>
                                    </p:set>
                                    <p:animEffect transition="in" filter="fade">
                                      <p:cBhvr>
                                        <p:cTn id="153" dur="500"/>
                                        <p:tgtEl>
                                          <p:spTgt spid="32"/>
                                        </p:tgtEl>
                                      </p:cBhvr>
                                    </p:animEffect>
                                  </p:childTnLst>
                                </p:cTn>
                              </p:par>
                            </p:childTnLst>
                          </p:cTn>
                        </p:par>
                        <p:par>
                          <p:cTn id="154" fill="hold">
                            <p:stCondLst>
                              <p:cond delay="500"/>
                            </p:stCondLst>
                            <p:childTnLst>
                              <p:par>
                                <p:cTn id="155" presetID="10" presetClass="entr" presetSubtype="0" fill="hold" nodeType="afterEffect">
                                  <p:stCondLst>
                                    <p:cond delay="0"/>
                                  </p:stCondLst>
                                  <p:childTnLst>
                                    <p:set>
                                      <p:cBhvr>
                                        <p:cTn id="156" dur="1" fill="hold">
                                          <p:stCondLst>
                                            <p:cond delay="0"/>
                                          </p:stCondLst>
                                        </p:cTn>
                                        <p:tgtEl>
                                          <p:spTgt spid="24"/>
                                        </p:tgtEl>
                                        <p:attrNameLst>
                                          <p:attrName>style.visibility</p:attrName>
                                        </p:attrNameLst>
                                      </p:cBhvr>
                                      <p:to>
                                        <p:strVal val="visible"/>
                                      </p:to>
                                    </p:set>
                                    <p:animEffect transition="in" filter="fade">
                                      <p:cBhvr>
                                        <p:cTn id="157" dur="500"/>
                                        <p:tgtEl>
                                          <p:spTgt spid="24"/>
                                        </p:tgtEl>
                                      </p:cBhvr>
                                    </p:animEffect>
                                  </p:childTnLst>
                                </p:cTn>
                              </p:par>
                              <p:par>
                                <p:cTn id="158" presetID="10" presetClass="entr" presetSubtype="0" fill="hold" nodeType="withEffect">
                                  <p:stCondLst>
                                    <p:cond delay="0"/>
                                  </p:stCondLst>
                                  <p:childTnLst>
                                    <p:set>
                                      <p:cBhvr>
                                        <p:cTn id="159" dur="1" fill="hold">
                                          <p:stCondLst>
                                            <p:cond delay="0"/>
                                          </p:stCondLst>
                                        </p:cTn>
                                        <p:tgtEl>
                                          <p:spTgt spid="23"/>
                                        </p:tgtEl>
                                        <p:attrNameLst>
                                          <p:attrName>style.visibility</p:attrName>
                                        </p:attrNameLst>
                                      </p:cBhvr>
                                      <p:to>
                                        <p:strVal val="visible"/>
                                      </p:to>
                                    </p:set>
                                    <p:animEffect transition="in" filter="fade">
                                      <p:cBhvr>
                                        <p:cTn id="160" dur="500"/>
                                        <p:tgtEl>
                                          <p:spTgt spid="23"/>
                                        </p:tgtEl>
                                      </p:cBhvr>
                                    </p:animEffect>
                                  </p:childTnLst>
                                </p:cTn>
                              </p:par>
                              <p:par>
                                <p:cTn id="161" presetID="10" presetClass="entr" presetSubtype="0" fill="hold" nodeType="withEffect">
                                  <p:stCondLst>
                                    <p:cond delay="0"/>
                                  </p:stCondLst>
                                  <p:childTnLst>
                                    <p:set>
                                      <p:cBhvr>
                                        <p:cTn id="162" dur="1" fill="hold">
                                          <p:stCondLst>
                                            <p:cond delay="0"/>
                                          </p:stCondLst>
                                        </p:cTn>
                                        <p:tgtEl>
                                          <p:spTgt spid="22"/>
                                        </p:tgtEl>
                                        <p:attrNameLst>
                                          <p:attrName>style.visibility</p:attrName>
                                        </p:attrNameLst>
                                      </p:cBhvr>
                                      <p:to>
                                        <p:strVal val="visible"/>
                                      </p:to>
                                    </p:set>
                                    <p:animEffect transition="in" filter="fade">
                                      <p:cBhvr>
                                        <p:cTn id="163" dur="500"/>
                                        <p:tgtEl>
                                          <p:spTgt spid="22"/>
                                        </p:tgtEl>
                                      </p:cBhvr>
                                    </p:animEffect>
                                  </p:childTnLst>
                                </p:cTn>
                              </p:par>
                            </p:childTnLst>
                          </p:cTn>
                        </p:par>
                      </p:childTnLst>
                    </p:cTn>
                  </p:par>
                  <p:par>
                    <p:cTn id="164" fill="hold">
                      <p:stCondLst>
                        <p:cond delay="indefinite"/>
                      </p:stCondLst>
                      <p:childTnLst>
                        <p:par>
                          <p:cTn id="165" fill="hold">
                            <p:stCondLst>
                              <p:cond delay="0"/>
                            </p:stCondLst>
                            <p:childTnLst>
                              <p:par>
                                <p:cTn id="166" presetID="10" presetClass="entr" presetSubtype="0" fill="hold" grpId="0" nodeType="clickEffect">
                                  <p:stCondLst>
                                    <p:cond delay="0"/>
                                  </p:stCondLst>
                                  <p:childTnLst>
                                    <p:set>
                                      <p:cBhvr>
                                        <p:cTn id="167" dur="1" fill="hold">
                                          <p:stCondLst>
                                            <p:cond delay="0"/>
                                          </p:stCondLst>
                                        </p:cTn>
                                        <p:tgtEl>
                                          <p:spTgt spid="33"/>
                                        </p:tgtEl>
                                        <p:attrNameLst>
                                          <p:attrName>style.visibility</p:attrName>
                                        </p:attrNameLst>
                                      </p:cBhvr>
                                      <p:to>
                                        <p:strVal val="visible"/>
                                      </p:to>
                                    </p:set>
                                    <p:animEffect transition="in" filter="fade">
                                      <p:cBhvr>
                                        <p:cTn id="168" dur="500"/>
                                        <p:tgtEl>
                                          <p:spTgt spid="33"/>
                                        </p:tgtEl>
                                      </p:cBhvr>
                                    </p:animEffect>
                                  </p:childTnLst>
                                </p:cTn>
                              </p:par>
                            </p:childTnLst>
                          </p:cTn>
                        </p:par>
                        <p:par>
                          <p:cTn id="169" fill="hold">
                            <p:stCondLst>
                              <p:cond delay="500"/>
                            </p:stCondLst>
                            <p:childTnLst>
                              <p:par>
                                <p:cTn id="170" presetID="37" presetClass="entr" presetSubtype="0" fill="hold" nodeType="afterEffect">
                                  <p:stCondLst>
                                    <p:cond delay="0"/>
                                  </p:stCondLst>
                                  <p:childTnLst>
                                    <p:set>
                                      <p:cBhvr>
                                        <p:cTn id="171" dur="1" fill="hold">
                                          <p:stCondLst>
                                            <p:cond delay="0"/>
                                          </p:stCondLst>
                                        </p:cTn>
                                        <p:tgtEl>
                                          <p:spTgt spid="42104"/>
                                        </p:tgtEl>
                                        <p:attrNameLst>
                                          <p:attrName>style.visibility</p:attrName>
                                        </p:attrNameLst>
                                      </p:cBhvr>
                                      <p:to>
                                        <p:strVal val="visible"/>
                                      </p:to>
                                    </p:set>
                                    <p:animEffect transition="in" filter="fade">
                                      <p:cBhvr>
                                        <p:cTn id="172" dur="1000"/>
                                        <p:tgtEl>
                                          <p:spTgt spid="42104"/>
                                        </p:tgtEl>
                                      </p:cBhvr>
                                    </p:animEffect>
                                    <p:anim calcmode="lin" valueType="num">
                                      <p:cBhvr>
                                        <p:cTn id="173" dur="1000" fill="hold"/>
                                        <p:tgtEl>
                                          <p:spTgt spid="42104"/>
                                        </p:tgtEl>
                                        <p:attrNameLst>
                                          <p:attrName>ppt_x</p:attrName>
                                        </p:attrNameLst>
                                      </p:cBhvr>
                                      <p:tavLst>
                                        <p:tav tm="0">
                                          <p:val>
                                            <p:strVal val="#ppt_x"/>
                                          </p:val>
                                        </p:tav>
                                        <p:tav tm="100000">
                                          <p:val>
                                            <p:strVal val="#ppt_x"/>
                                          </p:val>
                                        </p:tav>
                                      </p:tavLst>
                                    </p:anim>
                                    <p:anim calcmode="lin" valueType="num">
                                      <p:cBhvr>
                                        <p:cTn id="174" dur="900" decel="100000" fill="hold"/>
                                        <p:tgtEl>
                                          <p:spTgt spid="42104"/>
                                        </p:tgtEl>
                                        <p:attrNameLst>
                                          <p:attrName>ppt_y</p:attrName>
                                        </p:attrNameLst>
                                      </p:cBhvr>
                                      <p:tavLst>
                                        <p:tav tm="0">
                                          <p:val>
                                            <p:strVal val="#ppt_y+1"/>
                                          </p:val>
                                        </p:tav>
                                        <p:tav tm="100000">
                                          <p:val>
                                            <p:strVal val="#ppt_y-.03"/>
                                          </p:val>
                                        </p:tav>
                                      </p:tavLst>
                                    </p:anim>
                                    <p:anim calcmode="lin" valueType="num">
                                      <p:cBhvr>
                                        <p:cTn id="175" dur="100" accel="100000" fill="hold">
                                          <p:stCondLst>
                                            <p:cond delay="900"/>
                                          </p:stCondLst>
                                        </p:cTn>
                                        <p:tgtEl>
                                          <p:spTgt spid="42104"/>
                                        </p:tgtEl>
                                        <p:attrNameLst>
                                          <p:attrName>ppt_y</p:attrName>
                                        </p:attrNameLst>
                                      </p:cBhvr>
                                      <p:tavLst>
                                        <p:tav tm="0">
                                          <p:val>
                                            <p:strVal val="#ppt_y-.03"/>
                                          </p:val>
                                        </p:tav>
                                        <p:tav tm="100000">
                                          <p:val>
                                            <p:strVal val="#ppt_y"/>
                                          </p:val>
                                        </p:tav>
                                      </p:tavLst>
                                    </p:anim>
                                  </p:childTnLst>
                                </p:cTn>
                              </p:par>
                              <p:par>
                                <p:cTn id="176" presetID="37" presetClass="entr" presetSubtype="0" fill="hold" nodeType="withEffect">
                                  <p:stCondLst>
                                    <p:cond delay="0"/>
                                  </p:stCondLst>
                                  <p:childTnLst>
                                    <p:set>
                                      <p:cBhvr>
                                        <p:cTn id="177" dur="1" fill="hold">
                                          <p:stCondLst>
                                            <p:cond delay="0"/>
                                          </p:stCondLst>
                                        </p:cTn>
                                        <p:tgtEl>
                                          <p:spTgt spid="42103"/>
                                        </p:tgtEl>
                                        <p:attrNameLst>
                                          <p:attrName>style.visibility</p:attrName>
                                        </p:attrNameLst>
                                      </p:cBhvr>
                                      <p:to>
                                        <p:strVal val="visible"/>
                                      </p:to>
                                    </p:set>
                                    <p:animEffect transition="in" filter="fade">
                                      <p:cBhvr>
                                        <p:cTn id="178" dur="1000"/>
                                        <p:tgtEl>
                                          <p:spTgt spid="42103"/>
                                        </p:tgtEl>
                                      </p:cBhvr>
                                    </p:animEffect>
                                    <p:anim calcmode="lin" valueType="num">
                                      <p:cBhvr>
                                        <p:cTn id="179" dur="1000" fill="hold"/>
                                        <p:tgtEl>
                                          <p:spTgt spid="42103"/>
                                        </p:tgtEl>
                                        <p:attrNameLst>
                                          <p:attrName>ppt_x</p:attrName>
                                        </p:attrNameLst>
                                      </p:cBhvr>
                                      <p:tavLst>
                                        <p:tav tm="0">
                                          <p:val>
                                            <p:strVal val="#ppt_x"/>
                                          </p:val>
                                        </p:tav>
                                        <p:tav tm="100000">
                                          <p:val>
                                            <p:strVal val="#ppt_x"/>
                                          </p:val>
                                        </p:tav>
                                      </p:tavLst>
                                    </p:anim>
                                    <p:anim calcmode="lin" valueType="num">
                                      <p:cBhvr>
                                        <p:cTn id="180" dur="900" decel="100000" fill="hold"/>
                                        <p:tgtEl>
                                          <p:spTgt spid="42103"/>
                                        </p:tgtEl>
                                        <p:attrNameLst>
                                          <p:attrName>ppt_y</p:attrName>
                                        </p:attrNameLst>
                                      </p:cBhvr>
                                      <p:tavLst>
                                        <p:tav tm="0">
                                          <p:val>
                                            <p:strVal val="#ppt_y+1"/>
                                          </p:val>
                                        </p:tav>
                                        <p:tav tm="100000">
                                          <p:val>
                                            <p:strVal val="#ppt_y-.03"/>
                                          </p:val>
                                        </p:tav>
                                      </p:tavLst>
                                    </p:anim>
                                    <p:anim calcmode="lin" valueType="num">
                                      <p:cBhvr>
                                        <p:cTn id="181" dur="100" accel="100000" fill="hold">
                                          <p:stCondLst>
                                            <p:cond delay="900"/>
                                          </p:stCondLst>
                                        </p:cTn>
                                        <p:tgtEl>
                                          <p:spTgt spid="42103"/>
                                        </p:tgtEl>
                                        <p:attrNameLst>
                                          <p:attrName>ppt_y</p:attrName>
                                        </p:attrNameLst>
                                      </p:cBhvr>
                                      <p:tavLst>
                                        <p:tav tm="0">
                                          <p:val>
                                            <p:strVal val="#ppt_y-.03"/>
                                          </p:val>
                                        </p:tav>
                                        <p:tav tm="100000">
                                          <p:val>
                                            <p:strVal val="#ppt_y"/>
                                          </p:val>
                                        </p:tav>
                                      </p:tavLst>
                                    </p:anim>
                                  </p:childTnLst>
                                </p:cTn>
                              </p:par>
                              <p:par>
                                <p:cTn id="182" presetID="37" presetClass="entr" presetSubtype="0" fill="hold" nodeType="withEffect">
                                  <p:stCondLst>
                                    <p:cond delay="0"/>
                                  </p:stCondLst>
                                  <p:childTnLst>
                                    <p:set>
                                      <p:cBhvr>
                                        <p:cTn id="183" dur="1" fill="hold">
                                          <p:stCondLst>
                                            <p:cond delay="0"/>
                                          </p:stCondLst>
                                        </p:cTn>
                                        <p:tgtEl>
                                          <p:spTgt spid="42102"/>
                                        </p:tgtEl>
                                        <p:attrNameLst>
                                          <p:attrName>style.visibility</p:attrName>
                                        </p:attrNameLst>
                                      </p:cBhvr>
                                      <p:to>
                                        <p:strVal val="visible"/>
                                      </p:to>
                                    </p:set>
                                    <p:animEffect transition="in" filter="fade">
                                      <p:cBhvr>
                                        <p:cTn id="184" dur="1000"/>
                                        <p:tgtEl>
                                          <p:spTgt spid="42102"/>
                                        </p:tgtEl>
                                      </p:cBhvr>
                                    </p:animEffect>
                                    <p:anim calcmode="lin" valueType="num">
                                      <p:cBhvr>
                                        <p:cTn id="185" dur="1000" fill="hold"/>
                                        <p:tgtEl>
                                          <p:spTgt spid="42102"/>
                                        </p:tgtEl>
                                        <p:attrNameLst>
                                          <p:attrName>ppt_x</p:attrName>
                                        </p:attrNameLst>
                                      </p:cBhvr>
                                      <p:tavLst>
                                        <p:tav tm="0">
                                          <p:val>
                                            <p:strVal val="#ppt_x"/>
                                          </p:val>
                                        </p:tav>
                                        <p:tav tm="100000">
                                          <p:val>
                                            <p:strVal val="#ppt_x"/>
                                          </p:val>
                                        </p:tav>
                                      </p:tavLst>
                                    </p:anim>
                                    <p:anim calcmode="lin" valueType="num">
                                      <p:cBhvr>
                                        <p:cTn id="186" dur="900" decel="100000" fill="hold"/>
                                        <p:tgtEl>
                                          <p:spTgt spid="42102"/>
                                        </p:tgtEl>
                                        <p:attrNameLst>
                                          <p:attrName>ppt_y</p:attrName>
                                        </p:attrNameLst>
                                      </p:cBhvr>
                                      <p:tavLst>
                                        <p:tav tm="0">
                                          <p:val>
                                            <p:strVal val="#ppt_y+1"/>
                                          </p:val>
                                        </p:tav>
                                        <p:tav tm="100000">
                                          <p:val>
                                            <p:strVal val="#ppt_y-.03"/>
                                          </p:val>
                                        </p:tav>
                                      </p:tavLst>
                                    </p:anim>
                                    <p:anim calcmode="lin" valueType="num">
                                      <p:cBhvr>
                                        <p:cTn id="187" dur="100" accel="100000" fill="hold">
                                          <p:stCondLst>
                                            <p:cond delay="900"/>
                                          </p:stCondLst>
                                        </p:cTn>
                                        <p:tgtEl>
                                          <p:spTgt spid="42102"/>
                                        </p:tgtEl>
                                        <p:attrNameLst>
                                          <p:attrName>ppt_y</p:attrName>
                                        </p:attrNameLst>
                                      </p:cBhvr>
                                      <p:tavLst>
                                        <p:tav tm="0">
                                          <p:val>
                                            <p:strVal val="#ppt_y-.03"/>
                                          </p:val>
                                        </p:tav>
                                        <p:tav tm="100000">
                                          <p:val>
                                            <p:strVal val="#ppt_y"/>
                                          </p:val>
                                        </p:tav>
                                      </p:tavLst>
                                    </p:anim>
                                  </p:childTnLst>
                                </p:cTn>
                              </p:par>
                              <p:par>
                                <p:cTn id="188" presetID="37" presetClass="entr" presetSubtype="0" fill="hold" nodeType="withEffect">
                                  <p:stCondLst>
                                    <p:cond delay="0"/>
                                  </p:stCondLst>
                                  <p:childTnLst>
                                    <p:set>
                                      <p:cBhvr>
                                        <p:cTn id="189" dur="1" fill="hold">
                                          <p:stCondLst>
                                            <p:cond delay="0"/>
                                          </p:stCondLst>
                                        </p:cTn>
                                        <p:tgtEl>
                                          <p:spTgt spid="42101"/>
                                        </p:tgtEl>
                                        <p:attrNameLst>
                                          <p:attrName>style.visibility</p:attrName>
                                        </p:attrNameLst>
                                      </p:cBhvr>
                                      <p:to>
                                        <p:strVal val="visible"/>
                                      </p:to>
                                    </p:set>
                                    <p:animEffect transition="in" filter="fade">
                                      <p:cBhvr>
                                        <p:cTn id="190" dur="1000"/>
                                        <p:tgtEl>
                                          <p:spTgt spid="42101"/>
                                        </p:tgtEl>
                                      </p:cBhvr>
                                    </p:animEffect>
                                    <p:anim calcmode="lin" valueType="num">
                                      <p:cBhvr>
                                        <p:cTn id="191" dur="1000" fill="hold"/>
                                        <p:tgtEl>
                                          <p:spTgt spid="42101"/>
                                        </p:tgtEl>
                                        <p:attrNameLst>
                                          <p:attrName>ppt_x</p:attrName>
                                        </p:attrNameLst>
                                      </p:cBhvr>
                                      <p:tavLst>
                                        <p:tav tm="0">
                                          <p:val>
                                            <p:strVal val="#ppt_x"/>
                                          </p:val>
                                        </p:tav>
                                        <p:tav tm="100000">
                                          <p:val>
                                            <p:strVal val="#ppt_x"/>
                                          </p:val>
                                        </p:tav>
                                      </p:tavLst>
                                    </p:anim>
                                    <p:anim calcmode="lin" valueType="num">
                                      <p:cBhvr>
                                        <p:cTn id="192" dur="900" decel="100000" fill="hold"/>
                                        <p:tgtEl>
                                          <p:spTgt spid="42101"/>
                                        </p:tgtEl>
                                        <p:attrNameLst>
                                          <p:attrName>ppt_y</p:attrName>
                                        </p:attrNameLst>
                                      </p:cBhvr>
                                      <p:tavLst>
                                        <p:tav tm="0">
                                          <p:val>
                                            <p:strVal val="#ppt_y+1"/>
                                          </p:val>
                                        </p:tav>
                                        <p:tav tm="100000">
                                          <p:val>
                                            <p:strVal val="#ppt_y-.03"/>
                                          </p:val>
                                        </p:tav>
                                      </p:tavLst>
                                    </p:anim>
                                    <p:anim calcmode="lin" valueType="num">
                                      <p:cBhvr>
                                        <p:cTn id="193" dur="100" accel="100000" fill="hold">
                                          <p:stCondLst>
                                            <p:cond delay="900"/>
                                          </p:stCondLst>
                                        </p:cTn>
                                        <p:tgtEl>
                                          <p:spTgt spid="42101"/>
                                        </p:tgtEl>
                                        <p:attrNameLst>
                                          <p:attrName>ppt_y</p:attrName>
                                        </p:attrNameLst>
                                      </p:cBhvr>
                                      <p:tavLst>
                                        <p:tav tm="0">
                                          <p:val>
                                            <p:strVal val="#ppt_y-.03"/>
                                          </p:val>
                                        </p:tav>
                                        <p:tav tm="100000">
                                          <p:val>
                                            <p:strVal val="#ppt_y"/>
                                          </p:val>
                                        </p:tav>
                                      </p:tavLst>
                                    </p:anim>
                                  </p:childTnLst>
                                </p:cTn>
                              </p:par>
                            </p:childTnLst>
                          </p:cTn>
                        </p:par>
                        <p:par>
                          <p:cTn id="194" fill="hold">
                            <p:stCondLst>
                              <p:cond delay="1500"/>
                            </p:stCondLst>
                            <p:childTnLst>
                              <p:par>
                                <p:cTn id="195" presetID="37" presetClass="entr" presetSubtype="0" fill="hold" nodeType="afterEffect">
                                  <p:stCondLst>
                                    <p:cond delay="0"/>
                                  </p:stCondLst>
                                  <p:childTnLst>
                                    <p:set>
                                      <p:cBhvr>
                                        <p:cTn id="196" dur="1" fill="hold">
                                          <p:stCondLst>
                                            <p:cond delay="0"/>
                                          </p:stCondLst>
                                        </p:cTn>
                                        <p:tgtEl>
                                          <p:spTgt spid="99"/>
                                        </p:tgtEl>
                                        <p:attrNameLst>
                                          <p:attrName>style.visibility</p:attrName>
                                        </p:attrNameLst>
                                      </p:cBhvr>
                                      <p:to>
                                        <p:strVal val="visible"/>
                                      </p:to>
                                    </p:set>
                                    <p:animEffect transition="in" filter="fade">
                                      <p:cBhvr>
                                        <p:cTn id="197" dur="1000"/>
                                        <p:tgtEl>
                                          <p:spTgt spid="99"/>
                                        </p:tgtEl>
                                      </p:cBhvr>
                                    </p:animEffect>
                                    <p:anim calcmode="lin" valueType="num">
                                      <p:cBhvr>
                                        <p:cTn id="198" dur="1000" fill="hold"/>
                                        <p:tgtEl>
                                          <p:spTgt spid="99"/>
                                        </p:tgtEl>
                                        <p:attrNameLst>
                                          <p:attrName>ppt_x</p:attrName>
                                        </p:attrNameLst>
                                      </p:cBhvr>
                                      <p:tavLst>
                                        <p:tav tm="0">
                                          <p:val>
                                            <p:strVal val="#ppt_x"/>
                                          </p:val>
                                        </p:tav>
                                        <p:tav tm="100000">
                                          <p:val>
                                            <p:strVal val="#ppt_x"/>
                                          </p:val>
                                        </p:tav>
                                      </p:tavLst>
                                    </p:anim>
                                    <p:anim calcmode="lin" valueType="num">
                                      <p:cBhvr>
                                        <p:cTn id="199" dur="900" decel="100000" fill="hold"/>
                                        <p:tgtEl>
                                          <p:spTgt spid="99"/>
                                        </p:tgtEl>
                                        <p:attrNameLst>
                                          <p:attrName>ppt_y</p:attrName>
                                        </p:attrNameLst>
                                      </p:cBhvr>
                                      <p:tavLst>
                                        <p:tav tm="0">
                                          <p:val>
                                            <p:strVal val="#ppt_y+1"/>
                                          </p:val>
                                        </p:tav>
                                        <p:tav tm="100000">
                                          <p:val>
                                            <p:strVal val="#ppt_y-.03"/>
                                          </p:val>
                                        </p:tav>
                                      </p:tavLst>
                                    </p:anim>
                                    <p:anim calcmode="lin" valueType="num">
                                      <p:cBhvr>
                                        <p:cTn id="200" dur="100" accel="100000" fill="hold">
                                          <p:stCondLst>
                                            <p:cond delay="900"/>
                                          </p:stCondLst>
                                        </p:cTn>
                                        <p:tgtEl>
                                          <p:spTgt spid="99"/>
                                        </p:tgtEl>
                                        <p:attrNameLst>
                                          <p:attrName>ppt_y</p:attrName>
                                        </p:attrNameLst>
                                      </p:cBhvr>
                                      <p:tavLst>
                                        <p:tav tm="0">
                                          <p:val>
                                            <p:strVal val="#ppt_y-.03"/>
                                          </p:val>
                                        </p:tav>
                                        <p:tav tm="100000">
                                          <p:val>
                                            <p:strVal val="#ppt_y"/>
                                          </p:val>
                                        </p:tav>
                                      </p:tavLst>
                                    </p:anim>
                                  </p:childTnLst>
                                </p:cTn>
                              </p:par>
                              <p:par>
                                <p:cTn id="201" presetID="37" presetClass="entr" presetSubtype="0" fill="hold" nodeType="withEffect">
                                  <p:stCondLst>
                                    <p:cond delay="0"/>
                                  </p:stCondLst>
                                  <p:childTnLst>
                                    <p:set>
                                      <p:cBhvr>
                                        <p:cTn id="202" dur="1" fill="hold">
                                          <p:stCondLst>
                                            <p:cond delay="0"/>
                                          </p:stCondLst>
                                        </p:cTn>
                                        <p:tgtEl>
                                          <p:spTgt spid="42097"/>
                                        </p:tgtEl>
                                        <p:attrNameLst>
                                          <p:attrName>style.visibility</p:attrName>
                                        </p:attrNameLst>
                                      </p:cBhvr>
                                      <p:to>
                                        <p:strVal val="visible"/>
                                      </p:to>
                                    </p:set>
                                    <p:animEffect transition="in" filter="fade">
                                      <p:cBhvr>
                                        <p:cTn id="203" dur="1000"/>
                                        <p:tgtEl>
                                          <p:spTgt spid="42097"/>
                                        </p:tgtEl>
                                      </p:cBhvr>
                                    </p:animEffect>
                                    <p:anim calcmode="lin" valueType="num">
                                      <p:cBhvr>
                                        <p:cTn id="204" dur="1000" fill="hold"/>
                                        <p:tgtEl>
                                          <p:spTgt spid="42097"/>
                                        </p:tgtEl>
                                        <p:attrNameLst>
                                          <p:attrName>ppt_x</p:attrName>
                                        </p:attrNameLst>
                                      </p:cBhvr>
                                      <p:tavLst>
                                        <p:tav tm="0">
                                          <p:val>
                                            <p:strVal val="#ppt_x"/>
                                          </p:val>
                                        </p:tav>
                                        <p:tav tm="100000">
                                          <p:val>
                                            <p:strVal val="#ppt_x"/>
                                          </p:val>
                                        </p:tav>
                                      </p:tavLst>
                                    </p:anim>
                                    <p:anim calcmode="lin" valueType="num">
                                      <p:cBhvr>
                                        <p:cTn id="205" dur="900" decel="100000" fill="hold"/>
                                        <p:tgtEl>
                                          <p:spTgt spid="42097"/>
                                        </p:tgtEl>
                                        <p:attrNameLst>
                                          <p:attrName>ppt_y</p:attrName>
                                        </p:attrNameLst>
                                      </p:cBhvr>
                                      <p:tavLst>
                                        <p:tav tm="0">
                                          <p:val>
                                            <p:strVal val="#ppt_y+1"/>
                                          </p:val>
                                        </p:tav>
                                        <p:tav tm="100000">
                                          <p:val>
                                            <p:strVal val="#ppt_y-.03"/>
                                          </p:val>
                                        </p:tav>
                                      </p:tavLst>
                                    </p:anim>
                                    <p:anim calcmode="lin" valueType="num">
                                      <p:cBhvr>
                                        <p:cTn id="206" dur="100" accel="100000" fill="hold">
                                          <p:stCondLst>
                                            <p:cond delay="900"/>
                                          </p:stCondLst>
                                        </p:cTn>
                                        <p:tgtEl>
                                          <p:spTgt spid="42097"/>
                                        </p:tgtEl>
                                        <p:attrNameLst>
                                          <p:attrName>ppt_y</p:attrName>
                                        </p:attrNameLst>
                                      </p:cBhvr>
                                      <p:tavLst>
                                        <p:tav tm="0">
                                          <p:val>
                                            <p:strVal val="#ppt_y-.03"/>
                                          </p:val>
                                        </p:tav>
                                        <p:tav tm="100000">
                                          <p:val>
                                            <p:strVal val="#ppt_y"/>
                                          </p:val>
                                        </p:tav>
                                      </p:tavLst>
                                    </p:anim>
                                  </p:childTnLst>
                                </p:cTn>
                              </p:par>
                              <p:par>
                                <p:cTn id="207" presetID="37" presetClass="entr" presetSubtype="0" fill="hold" nodeType="withEffect">
                                  <p:stCondLst>
                                    <p:cond delay="0"/>
                                  </p:stCondLst>
                                  <p:childTnLst>
                                    <p:set>
                                      <p:cBhvr>
                                        <p:cTn id="208" dur="1" fill="hold">
                                          <p:stCondLst>
                                            <p:cond delay="0"/>
                                          </p:stCondLst>
                                        </p:cTn>
                                        <p:tgtEl>
                                          <p:spTgt spid="42098"/>
                                        </p:tgtEl>
                                        <p:attrNameLst>
                                          <p:attrName>style.visibility</p:attrName>
                                        </p:attrNameLst>
                                      </p:cBhvr>
                                      <p:to>
                                        <p:strVal val="visible"/>
                                      </p:to>
                                    </p:set>
                                    <p:animEffect transition="in" filter="fade">
                                      <p:cBhvr>
                                        <p:cTn id="209" dur="1000"/>
                                        <p:tgtEl>
                                          <p:spTgt spid="42098"/>
                                        </p:tgtEl>
                                      </p:cBhvr>
                                    </p:animEffect>
                                    <p:anim calcmode="lin" valueType="num">
                                      <p:cBhvr>
                                        <p:cTn id="210" dur="1000" fill="hold"/>
                                        <p:tgtEl>
                                          <p:spTgt spid="42098"/>
                                        </p:tgtEl>
                                        <p:attrNameLst>
                                          <p:attrName>ppt_x</p:attrName>
                                        </p:attrNameLst>
                                      </p:cBhvr>
                                      <p:tavLst>
                                        <p:tav tm="0">
                                          <p:val>
                                            <p:strVal val="#ppt_x"/>
                                          </p:val>
                                        </p:tav>
                                        <p:tav tm="100000">
                                          <p:val>
                                            <p:strVal val="#ppt_x"/>
                                          </p:val>
                                        </p:tav>
                                      </p:tavLst>
                                    </p:anim>
                                    <p:anim calcmode="lin" valueType="num">
                                      <p:cBhvr>
                                        <p:cTn id="211" dur="900" decel="100000" fill="hold"/>
                                        <p:tgtEl>
                                          <p:spTgt spid="42098"/>
                                        </p:tgtEl>
                                        <p:attrNameLst>
                                          <p:attrName>ppt_y</p:attrName>
                                        </p:attrNameLst>
                                      </p:cBhvr>
                                      <p:tavLst>
                                        <p:tav tm="0">
                                          <p:val>
                                            <p:strVal val="#ppt_y+1"/>
                                          </p:val>
                                        </p:tav>
                                        <p:tav tm="100000">
                                          <p:val>
                                            <p:strVal val="#ppt_y-.03"/>
                                          </p:val>
                                        </p:tav>
                                      </p:tavLst>
                                    </p:anim>
                                    <p:anim calcmode="lin" valueType="num">
                                      <p:cBhvr>
                                        <p:cTn id="212" dur="100" accel="100000" fill="hold">
                                          <p:stCondLst>
                                            <p:cond delay="900"/>
                                          </p:stCondLst>
                                        </p:cTn>
                                        <p:tgtEl>
                                          <p:spTgt spid="42098"/>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116" grpId="0" animBg="1"/>
      <p:bldP spid="42117" grpId="0" animBg="1"/>
      <p:bldP spid="45119" grpId="0"/>
      <p:bldP spid="45123" grpId="0"/>
      <p:bldP spid="31" grpId="0" animBg="1"/>
      <p:bldP spid="32" grpId="0" animBg="1"/>
      <p:bldP spid="33" grpId="0" animBg="1"/>
      <p:bldP spid="42234" grpId="0" animBg="1"/>
      <p:bldP spid="42234" grpId="1" animBg="1"/>
      <p:bldP spid="42235" grpId="0" animBg="1"/>
      <p:bldP spid="42235" grpId="1" animBg="1"/>
      <p:bldP spid="9" grpId="0"/>
      <p:bldP spid="9" grpId="1"/>
      <p:bldP spid="45158" grpId="0" animBg="1"/>
      <p:bldP spid="45158" grpId="1" animBg="1"/>
      <p:bldP spid="45159" grpId="0" animBg="1"/>
      <p:bldP spid="45159" grpId="1" animBg="1"/>
    </p:bldLst>
  </p:timing>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19"/>
          <p:cNvSpPr>
            <a:spLocks noChangeArrowheads="1"/>
          </p:cNvSpPr>
          <p:nvPr/>
        </p:nvSpPr>
        <p:spPr bwMode="auto">
          <a:xfrm>
            <a:off x="2456900" y="1028700"/>
            <a:ext cx="2057936" cy="3429000"/>
          </a:xfrm>
          <a:prstGeom prst="rect">
            <a:avLst/>
          </a:prstGeom>
          <a:solidFill>
            <a:schemeClr val="bg1">
              <a:alpha val="10196"/>
            </a:schemeClr>
          </a:solidFill>
          <a:ln w="9525">
            <a:noFill/>
            <a:miter lim="800000"/>
            <a:headEnd/>
            <a:tailEnd/>
          </a:ln>
        </p:spPr>
        <p:txBody>
          <a:bodyPr wrap="none" lIns="68586" tIns="34294" rIns="68586" bIns="34294" anchor="ctr"/>
          <a:lstStyle/>
          <a:p>
            <a:endParaRPr lang="en-US"/>
          </a:p>
        </p:txBody>
      </p:sp>
      <p:sp>
        <p:nvSpPr>
          <p:cNvPr id="51203" name="Rectangle 22"/>
          <p:cNvSpPr>
            <a:spLocks noGrp="1"/>
          </p:cNvSpPr>
          <p:nvPr>
            <p:ph type="title" idx="4294967295"/>
          </p:nvPr>
        </p:nvSpPr>
        <p:spPr>
          <a:xfrm>
            <a:off x="288111" y="205979"/>
            <a:ext cx="8644998" cy="373949"/>
          </a:xfrm>
        </p:spPr>
        <p:txBody>
          <a:bodyPr/>
          <a:lstStyle/>
          <a:p>
            <a:pPr eaLnBrk="1" hangingPunct="1"/>
            <a:r>
              <a:rPr lang="en-US" sz="2700" dirty="0"/>
              <a:t>Configure and Deploy Fabric</a:t>
            </a:r>
          </a:p>
        </p:txBody>
      </p:sp>
      <p:sp>
        <p:nvSpPr>
          <p:cNvPr id="51204" name="Rectangle 24"/>
          <p:cNvSpPr>
            <a:spLocks noChangeArrowheads="1"/>
          </p:cNvSpPr>
          <p:nvPr/>
        </p:nvSpPr>
        <p:spPr bwMode="auto">
          <a:xfrm>
            <a:off x="2456900" y="1085850"/>
            <a:ext cx="2057936" cy="285750"/>
          </a:xfrm>
          <a:prstGeom prst="rect">
            <a:avLst/>
          </a:prstGeom>
          <a:solidFill>
            <a:srgbClr val="002C56">
              <a:alpha val="85097"/>
            </a:srgbClr>
          </a:solidFill>
          <a:ln w="9525">
            <a:noFill/>
            <a:miter lim="800000"/>
            <a:headEnd/>
            <a:tailEnd/>
          </a:ln>
        </p:spPr>
        <p:txBody>
          <a:bodyPr wrap="none" lIns="68586" tIns="34294" rIns="68586" bIns="34294" anchor="ctr"/>
          <a:lstStyle/>
          <a:p>
            <a:pPr algn="ctr"/>
            <a:r>
              <a:rPr lang="en-US">
                <a:solidFill>
                  <a:srgbClr val="3DB5F1"/>
                </a:solidFill>
              </a:rPr>
              <a:t>STORAGE</a:t>
            </a:r>
          </a:p>
        </p:txBody>
      </p:sp>
      <p:sp>
        <p:nvSpPr>
          <p:cNvPr id="51205" name="Rectangle 76"/>
          <p:cNvSpPr>
            <a:spLocks noChangeArrowheads="1"/>
          </p:cNvSpPr>
          <p:nvPr/>
        </p:nvSpPr>
        <p:spPr bwMode="auto">
          <a:xfrm>
            <a:off x="2571229" y="1485901"/>
            <a:ext cx="1886441" cy="515541"/>
          </a:xfrm>
          <a:prstGeom prst="rect">
            <a:avLst/>
          </a:prstGeom>
          <a:noFill/>
          <a:ln w="9525">
            <a:noFill/>
            <a:miter lim="800000"/>
            <a:headEnd/>
            <a:tailEnd/>
          </a:ln>
        </p:spPr>
        <p:txBody>
          <a:bodyPr lIns="0" tIns="0" rIns="0" bIns="0"/>
          <a:lstStyle/>
          <a:p>
            <a:pPr marL="0" lvl="1" defTabSz="684673">
              <a:lnSpc>
                <a:spcPct val="115000"/>
              </a:lnSpc>
              <a:spcAft>
                <a:spcPts val="450"/>
              </a:spcAft>
              <a:buClr>
                <a:srgbClr val="003366"/>
              </a:buClr>
              <a:buSzPct val="100000"/>
              <a:tabLst>
                <a:tab pos="3426933" algn="r"/>
              </a:tabLst>
            </a:pPr>
            <a:r>
              <a:rPr lang="en-US" sz="1100" dirty="0">
                <a:solidFill>
                  <a:srgbClr val="FFFFFF"/>
                </a:solidFill>
              </a:rPr>
              <a:t>Discover, classify, and allocate storage for use by the private cloud. Provide the correct storage for use with appropriate access.</a:t>
            </a:r>
          </a:p>
        </p:txBody>
      </p:sp>
      <p:sp>
        <p:nvSpPr>
          <p:cNvPr id="51206" name="Rectangle 19"/>
          <p:cNvSpPr>
            <a:spLocks noChangeArrowheads="1"/>
          </p:cNvSpPr>
          <p:nvPr/>
        </p:nvSpPr>
        <p:spPr bwMode="auto">
          <a:xfrm>
            <a:off x="227469" y="1028700"/>
            <a:ext cx="2057936" cy="3429000"/>
          </a:xfrm>
          <a:prstGeom prst="rect">
            <a:avLst/>
          </a:prstGeom>
          <a:solidFill>
            <a:schemeClr val="bg1">
              <a:alpha val="10196"/>
            </a:schemeClr>
          </a:solidFill>
          <a:ln w="9525">
            <a:noFill/>
            <a:miter lim="800000"/>
            <a:headEnd/>
            <a:tailEnd/>
          </a:ln>
        </p:spPr>
        <p:txBody>
          <a:bodyPr wrap="none" lIns="68586" tIns="34294" rIns="68586" bIns="34294" anchor="ctr"/>
          <a:lstStyle/>
          <a:p>
            <a:endParaRPr lang="en-US"/>
          </a:p>
        </p:txBody>
      </p:sp>
      <p:sp>
        <p:nvSpPr>
          <p:cNvPr id="51207" name="Rectangle 24"/>
          <p:cNvSpPr>
            <a:spLocks noChangeArrowheads="1"/>
          </p:cNvSpPr>
          <p:nvPr/>
        </p:nvSpPr>
        <p:spPr bwMode="auto">
          <a:xfrm>
            <a:off x="227469" y="1085850"/>
            <a:ext cx="2057936" cy="285750"/>
          </a:xfrm>
          <a:prstGeom prst="rect">
            <a:avLst/>
          </a:prstGeom>
          <a:solidFill>
            <a:srgbClr val="002C56">
              <a:alpha val="85097"/>
            </a:srgbClr>
          </a:solidFill>
          <a:ln w="9525">
            <a:noFill/>
            <a:miter lim="800000"/>
            <a:headEnd/>
            <a:tailEnd/>
          </a:ln>
        </p:spPr>
        <p:txBody>
          <a:bodyPr wrap="none" lIns="68586" tIns="34294" rIns="68586" bIns="34294" anchor="ctr"/>
          <a:lstStyle/>
          <a:p>
            <a:pPr algn="ctr"/>
            <a:r>
              <a:rPr lang="en-US">
                <a:solidFill>
                  <a:srgbClr val="3DB5F1"/>
                </a:solidFill>
              </a:rPr>
              <a:t>COMPUTE</a:t>
            </a:r>
          </a:p>
        </p:txBody>
      </p:sp>
      <p:sp>
        <p:nvSpPr>
          <p:cNvPr id="51208" name="Rectangle 76"/>
          <p:cNvSpPr>
            <a:spLocks noChangeArrowheads="1"/>
          </p:cNvSpPr>
          <p:nvPr/>
        </p:nvSpPr>
        <p:spPr bwMode="auto">
          <a:xfrm>
            <a:off x="341800" y="1485901"/>
            <a:ext cx="1886441" cy="754856"/>
          </a:xfrm>
          <a:prstGeom prst="rect">
            <a:avLst/>
          </a:prstGeom>
          <a:noFill/>
          <a:ln w="9525">
            <a:noFill/>
            <a:miter lim="800000"/>
            <a:headEnd/>
            <a:tailEnd/>
          </a:ln>
        </p:spPr>
        <p:txBody>
          <a:bodyPr lIns="0" tIns="0" rIns="0" bIns="0"/>
          <a:lstStyle/>
          <a:p>
            <a:pPr marL="0" lvl="1" defTabSz="684673">
              <a:lnSpc>
                <a:spcPct val="115000"/>
              </a:lnSpc>
              <a:spcAft>
                <a:spcPts val="450"/>
              </a:spcAft>
              <a:buClr>
                <a:srgbClr val="003366"/>
              </a:buClr>
              <a:buSzPct val="100000"/>
              <a:tabLst>
                <a:tab pos="3426933" algn="r"/>
              </a:tabLst>
            </a:pPr>
            <a:r>
              <a:rPr lang="en-US" sz="1100" dirty="0">
                <a:solidFill>
                  <a:srgbClr val="FFFFFF"/>
                </a:solidFill>
              </a:rPr>
              <a:t>Deploy your compute resources, taking them from bare metal to fully deployed  for your physical and virtualization hosts.</a:t>
            </a:r>
          </a:p>
        </p:txBody>
      </p:sp>
      <p:sp>
        <p:nvSpPr>
          <p:cNvPr id="51209" name="Rectangle 19"/>
          <p:cNvSpPr>
            <a:spLocks noChangeArrowheads="1"/>
          </p:cNvSpPr>
          <p:nvPr/>
        </p:nvSpPr>
        <p:spPr bwMode="auto">
          <a:xfrm>
            <a:off x="4686330" y="1028700"/>
            <a:ext cx="2057936" cy="3429000"/>
          </a:xfrm>
          <a:prstGeom prst="rect">
            <a:avLst/>
          </a:prstGeom>
          <a:solidFill>
            <a:schemeClr val="bg1">
              <a:alpha val="10196"/>
            </a:schemeClr>
          </a:solidFill>
          <a:ln w="9525">
            <a:noFill/>
            <a:miter lim="800000"/>
            <a:headEnd/>
            <a:tailEnd/>
          </a:ln>
        </p:spPr>
        <p:txBody>
          <a:bodyPr wrap="none" lIns="68586" tIns="34294" rIns="68586" bIns="34294" anchor="ctr"/>
          <a:lstStyle/>
          <a:p>
            <a:endParaRPr lang="en-US"/>
          </a:p>
        </p:txBody>
      </p:sp>
      <p:sp>
        <p:nvSpPr>
          <p:cNvPr id="51210" name="Rectangle 24"/>
          <p:cNvSpPr>
            <a:spLocks noChangeArrowheads="1"/>
          </p:cNvSpPr>
          <p:nvPr/>
        </p:nvSpPr>
        <p:spPr bwMode="auto">
          <a:xfrm>
            <a:off x="4686330" y="1085850"/>
            <a:ext cx="2057936" cy="285750"/>
          </a:xfrm>
          <a:prstGeom prst="rect">
            <a:avLst/>
          </a:prstGeom>
          <a:solidFill>
            <a:srgbClr val="002C56">
              <a:alpha val="85097"/>
            </a:srgbClr>
          </a:solidFill>
          <a:ln w="9525">
            <a:noFill/>
            <a:miter lim="800000"/>
            <a:headEnd/>
            <a:tailEnd/>
          </a:ln>
        </p:spPr>
        <p:txBody>
          <a:bodyPr wrap="none" lIns="68586" tIns="34294" rIns="68586" bIns="34294" anchor="ctr"/>
          <a:lstStyle/>
          <a:p>
            <a:pPr algn="ctr"/>
            <a:r>
              <a:rPr lang="en-US">
                <a:solidFill>
                  <a:srgbClr val="3DB5F1"/>
                </a:solidFill>
              </a:rPr>
              <a:t>NETWORK</a:t>
            </a:r>
          </a:p>
        </p:txBody>
      </p:sp>
      <p:sp>
        <p:nvSpPr>
          <p:cNvPr id="51211" name="Rectangle 76"/>
          <p:cNvSpPr>
            <a:spLocks noChangeArrowheads="1"/>
          </p:cNvSpPr>
          <p:nvPr/>
        </p:nvSpPr>
        <p:spPr bwMode="auto">
          <a:xfrm>
            <a:off x="4800661" y="1485901"/>
            <a:ext cx="1886441" cy="515541"/>
          </a:xfrm>
          <a:prstGeom prst="rect">
            <a:avLst/>
          </a:prstGeom>
          <a:noFill/>
          <a:ln w="9525">
            <a:noFill/>
            <a:miter lim="800000"/>
            <a:headEnd/>
            <a:tailEnd/>
          </a:ln>
        </p:spPr>
        <p:txBody>
          <a:bodyPr lIns="0" tIns="0" rIns="0" bIns="0"/>
          <a:lstStyle/>
          <a:p>
            <a:pPr marL="0" lvl="1" defTabSz="684673">
              <a:lnSpc>
                <a:spcPct val="115000"/>
              </a:lnSpc>
              <a:spcAft>
                <a:spcPts val="450"/>
              </a:spcAft>
              <a:buClr>
                <a:srgbClr val="003366"/>
              </a:buClr>
              <a:buSzPct val="100000"/>
              <a:tabLst>
                <a:tab pos="3426933" algn="r"/>
              </a:tabLst>
            </a:pPr>
            <a:r>
              <a:rPr lang="en-US" sz="1100" dirty="0">
                <a:solidFill>
                  <a:srgbClr val="FFFFFF"/>
                </a:solidFill>
              </a:rPr>
              <a:t>Abstract your complex networking infrastructure into logical networks for cloud use. Assign IP, virtual IP, and MAC addresses from pools and integrate with load balancers.</a:t>
            </a:r>
          </a:p>
        </p:txBody>
      </p:sp>
      <p:sp>
        <p:nvSpPr>
          <p:cNvPr id="51212" name="Rectangle 19"/>
          <p:cNvSpPr>
            <a:spLocks noChangeArrowheads="1"/>
          </p:cNvSpPr>
          <p:nvPr/>
        </p:nvSpPr>
        <p:spPr bwMode="auto">
          <a:xfrm>
            <a:off x="6915761" y="1028700"/>
            <a:ext cx="2057936" cy="3429000"/>
          </a:xfrm>
          <a:prstGeom prst="rect">
            <a:avLst/>
          </a:prstGeom>
          <a:solidFill>
            <a:schemeClr val="bg1">
              <a:alpha val="10196"/>
            </a:schemeClr>
          </a:solidFill>
          <a:ln w="9525">
            <a:noFill/>
            <a:miter lim="800000"/>
            <a:headEnd/>
            <a:tailEnd/>
          </a:ln>
        </p:spPr>
        <p:txBody>
          <a:bodyPr wrap="none" lIns="68586" tIns="34294" rIns="68586" bIns="34294" anchor="ctr"/>
          <a:lstStyle/>
          <a:p>
            <a:endParaRPr lang="en-US"/>
          </a:p>
        </p:txBody>
      </p:sp>
      <p:sp>
        <p:nvSpPr>
          <p:cNvPr id="51213" name="Rectangle 24"/>
          <p:cNvSpPr>
            <a:spLocks noChangeArrowheads="1"/>
          </p:cNvSpPr>
          <p:nvPr/>
        </p:nvSpPr>
        <p:spPr bwMode="auto">
          <a:xfrm>
            <a:off x="6915761" y="1085850"/>
            <a:ext cx="2057936" cy="285750"/>
          </a:xfrm>
          <a:prstGeom prst="rect">
            <a:avLst/>
          </a:prstGeom>
          <a:solidFill>
            <a:srgbClr val="002C56">
              <a:alpha val="85097"/>
            </a:srgbClr>
          </a:solidFill>
          <a:ln w="9525">
            <a:noFill/>
            <a:miter lim="800000"/>
            <a:headEnd/>
            <a:tailEnd/>
          </a:ln>
        </p:spPr>
        <p:txBody>
          <a:bodyPr wrap="none" lIns="68586" tIns="34294" rIns="68586" bIns="34294" anchor="ctr"/>
          <a:lstStyle/>
          <a:p>
            <a:pPr algn="ctr"/>
            <a:r>
              <a:rPr lang="en-US">
                <a:solidFill>
                  <a:srgbClr val="3DB5F1"/>
                </a:solidFill>
              </a:rPr>
              <a:t>CLUSTER</a:t>
            </a:r>
          </a:p>
        </p:txBody>
      </p:sp>
      <p:sp>
        <p:nvSpPr>
          <p:cNvPr id="51214" name="Rectangle 76"/>
          <p:cNvSpPr>
            <a:spLocks noChangeArrowheads="1"/>
          </p:cNvSpPr>
          <p:nvPr/>
        </p:nvSpPr>
        <p:spPr bwMode="auto">
          <a:xfrm>
            <a:off x="7030091" y="1485901"/>
            <a:ext cx="1829276" cy="515541"/>
          </a:xfrm>
          <a:prstGeom prst="rect">
            <a:avLst/>
          </a:prstGeom>
          <a:noFill/>
          <a:ln w="9525">
            <a:noFill/>
            <a:miter lim="800000"/>
            <a:headEnd/>
            <a:tailEnd/>
          </a:ln>
        </p:spPr>
        <p:txBody>
          <a:bodyPr lIns="0" tIns="0" rIns="0" bIns="0"/>
          <a:lstStyle/>
          <a:p>
            <a:pPr marL="0" lvl="1" defTabSz="684673">
              <a:lnSpc>
                <a:spcPct val="115000"/>
              </a:lnSpc>
              <a:spcAft>
                <a:spcPts val="450"/>
              </a:spcAft>
              <a:buClr>
                <a:srgbClr val="003366"/>
              </a:buClr>
              <a:buSzPct val="100000"/>
              <a:tabLst>
                <a:tab pos="3426933" algn="r"/>
              </a:tabLst>
            </a:pPr>
            <a:r>
              <a:rPr lang="en-US" sz="1100" dirty="0">
                <a:solidFill>
                  <a:srgbClr val="FFFFFF"/>
                </a:solidFill>
              </a:rPr>
              <a:t>Consolidate your fabric elements for use in a private cloud.</a:t>
            </a:r>
          </a:p>
        </p:txBody>
      </p:sp>
      <p:pic>
        <p:nvPicPr>
          <p:cNvPr id="51215" name="Picture 39"/>
          <p:cNvPicPr>
            <a:picLocks noChangeAspect="1" noChangeArrowheads="1"/>
          </p:cNvPicPr>
          <p:nvPr/>
        </p:nvPicPr>
        <p:blipFill>
          <a:blip r:embed="rId3" cstate="print"/>
          <a:srcRect/>
          <a:stretch>
            <a:fillRect/>
          </a:stretch>
        </p:blipFill>
        <p:spPr bwMode="auto">
          <a:xfrm>
            <a:off x="398965" y="2914651"/>
            <a:ext cx="1678027" cy="1133475"/>
          </a:xfrm>
          <a:prstGeom prst="rect">
            <a:avLst/>
          </a:prstGeom>
          <a:noFill/>
          <a:ln w="9525">
            <a:noFill/>
            <a:miter lim="800000"/>
            <a:headEnd/>
            <a:tailEnd/>
          </a:ln>
        </p:spPr>
      </p:pic>
      <p:pic>
        <p:nvPicPr>
          <p:cNvPr id="51216" name="Picture 40"/>
          <p:cNvPicPr>
            <a:picLocks noChangeAspect="1" noChangeArrowheads="1"/>
          </p:cNvPicPr>
          <p:nvPr/>
        </p:nvPicPr>
        <p:blipFill>
          <a:blip r:embed="rId4" cstate="print"/>
          <a:srcRect/>
          <a:stretch>
            <a:fillRect/>
          </a:stretch>
        </p:blipFill>
        <p:spPr bwMode="auto">
          <a:xfrm>
            <a:off x="2799890" y="3028951"/>
            <a:ext cx="1389821" cy="1083469"/>
          </a:xfrm>
          <a:prstGeom prst="rect">
            <a:avLst/>
          </a:prstGeom>
          <a:noFill/>
          <a:ln w="9525">
            <a:noFill/>
            <a:miter lim="800000"/>
            <a:headEnd/>
            <a:tailEnd/>
          </a:ln>
        </p:spPr>
      </p:pic>
      <p:pic>
        <p:nvPicPr>
          <p:cNvPr id="51217" name="Picture 41"/>
          <p:cNvPicPr>
            <a:picLocks noChangeAspect="1" noChangeArrowheads="1"/>
          </p:cNvPicPr>
          <p:nvPr/>
        </p:nvPicPr>
        <p:blipFill>
          <a:blip r:embed="rId5" cstate="print"/>
          <a:srcRect/>
          <a:stretch>
            <a:fillRect/>
          </a:stretch>
        </p:blipFill>
        <p:spPr bwMode="auto">
          <a:xfrm>
            <a:off x="5143649" y="3086102"/>
            <a:ext cx="1143298" cy="859631"/>
          </a:xfrm>
          <a:prstGeom prst="rect">
            <a:avLst/>
          </a:prstGeom>
          <a:noFill/>
          <a:ln w="9525">
            <a:noFill/>
            <a:miter lim="800000"/>
            <a:headEnd/>
            <a:tailEnd/>
          </a:ln>
        </p:spPr>
      </p:pic>
      <p:pic>
        <p:nvPicPr>
          <p:cNvPr id="51218" name="Picture 42"/>
          <p:cNvPicPr>
            <a:picLocks noChangeAspect="1" noChangeArrowheads="1"/>
          </p:cNvPicPr>
          <p:nvPr/>
        </p:nvPicPr>
        <p:blipFill>
          <a:blip r:embed="rId6" cstate="print"/>
          <a:srcRect/>
          <a:stretch>
            <a:fillRect/>
          </a:stretch>
        </p:blipFill>
        <p:spPr bwMode="auto">
          <a:xfrm>
            <a:off x="7087257" y="2514601"/>
            <a:ext cx="1747101" cy="1728788"/>
          </a:xfrm>
          <a:prstGeom prst="rect">
            <a:avLst/>
          </a:prstGeom>
          <a:noFill/>
          <a:ln w="9525">
            <a:noFill/>
            <a:miter lim="800000"/>
            <a:headEnd/>
            <a:tailEnd/>
          </a:ln>
        </p:spPr>
      </p:pic>
      <p:sp>
        <p:nvSpPr>
          <p:cNvPr id="19"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0"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7"/>
              </a:rPr>
              <a:t>www.rapidbbs.cn</a:t>
            </a:r>
            <a:endParaRPr lang="zh-CN" altLang="en-US" sz="1200" b="0">
              <a:latin typeface="Arial" charset="0"/>
              <a:ea typeface="ＭＳ Ｐゴシック" pitchFamily="34" charset="-128"/>
            </a:endParaRPr>
          </a:p>
        </p:txBody>
      </p:sp>
      <p:pic>
        <p:nvPicPr>
          <p:cNvPr id="21" name="Picture 2">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377627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p:cNvSpPr>
            <a:spLocks noChangeArrowheads="1"/>
          </p:cNvSpPr>
          <p:nvPr/>
        </p:nvSpPr>
        <p:spPr bwMode="auto">
          <a:xfrm>
            <a:off x="0" y="971550"/>
            <a:ext cx="9144000" cy="3886200"/>
          </a:xfrm>
          <a:prstGeom prst="rect">
            <a:avLst/>
          </a:prstGeom>
          <a:solidFill>
            <a:schemeClr val="bg1">
              <a:alpha val="10196"/>
            </a:schemeClr>
          </a:solidFill>
          <a:ln w="9525">
            <a:noFill/>
            <a:miter lim="800000"/>
            <a:headEnd/>
            <a:tailEnd/>
          </a:ln>
        </p:spPr>
        <p:txBody>
          <a:bodyPr wrap="none" lIns="68586" tIns="34294" rIns="68586" bIns="34294" anchor="ctr"/>
          <a:lstStyle/>
          <a:p>
            <a:endParaRPr lang="en-US">
              <a:solidFill>
                <a:srgbClr val="000000"/>
              </a:solidFill>
            </a:endParaRPr>
          </a:p>
        </p:txBody>
      </p:sp>
      <p:sp>
        <p:nvSpPr>
          <p:cNvPr id="43011" name="Title 25"/>
          <p:cNvSpPr>
            <a:spLocks noGrp="1"/>
          </p:cNvSpPr>
          <p:nvPr>
            <p:ph type="title" idx="4294967295"/>
          </p:nvPr>
        </p:nvSpPr>
        <p:spPr>
          <a:xfrm>
            <a:off x="288111" y="205980"/>
            <a:ext cx="8402048" cy="401648"/>
          </a:xfrm>
        </p:spPr>
        <p:txBody>
          <a:bodyPr/>
          <a:lstStyle/>
          <a:p>
            <a:r>
              <a:rPr lang="en-US" sz="2900" dirty="0"/>
              <a:t>Automated Bare-Metal Hyper-V Deploy in Action</a:t>
            </a:r>
          </a:p>
        </p:txBody>
      </p:sp>
      <p:sp>
        <p:nvSpPr>
          <p:cNvPr id="191499" name="Text Box 14"/>
          <p:cNvSpPr txBox="1">
            <a:spLocks noChangeArrowheads="1"/>
          </p:cNvSpPr>
          <p:nvPr/>
        </p:nvSpPr>
        <p:spPr bwMode="auto">
          <a:xfrm>
            <a:off x="4121347" y="3543301"/>
            <a:ext cx="1134734" cy="507830"/>
          </a:xfrm>
          <a:prstGeom prst="rect">
            <a:avLst/>
          </a:prstGeom>
          <a:noFill/>
          <a:ln w="9525" algn="ctr">
            <a:noFill/>
            <a:miter lim="800000"/>
            <a:headEnd/>
            <a:tailEnd/>
          </a:ln>
        </p:spPr>
        <p:txBody>
          <a:bodyPr wrap="none" lIns="68586" tIns="34294" rIns="68586" bIns="34294">
            <a:spAutoFit/>
          </a:bodyPr>
          <a:lstStyle/>
          <a:p>
            <a:pPr algn="ctr"/>
            <a:r>
              <a:rPr lang="en-US" b="1" dirty="0" smtClean="0">
                <a:solidFill>
                  <a:srgbClr val="FFFFFF"/>
                </a:solidFill>
              </a:rPr>
              <a:t>Bare-metal </a:t>
            </a:r>
            <a:endParaRPr lang="en-US" b="1" dirty="0">
              <a:solidFill>
                <a:srgbClr val="FFFFFF"/>
              </a:solidFill>
            </a:endParaRPr>
          </a:p>
          <a:p>
            <a:pPr algn="ctr"/>
            <a:r>
              <a:rPr lang="en-US" b="1" dirty="0">
                <a:solidFill>
                  <a:srgbClr val="FFFFFF"/>
                </a:solidFill>
              </a:rPr>
              <a:t>s</a:t>
            </a:r>
            <a:r>
              <a:rPr lang="en-US" b="1" dirty="0" smtClean="0">
                <a:solidFill>
                  <a:srgbClr val="FFFFFF"/>
                </a:solidFill>
              </a:rPr>
              <a:t>erver</a:t>
            </a:r>
            <a:endParaRPr lang="en-US" b="1" dirty="0">
              <a:solidFill>
                <a:srgbClr val="FFFFFF"/>
              </a:solidFill>
            </a:endParaRPr>
          </a:p>
        </p:txBody>
      </p:sp>
      <p:pic>
        <p:nvPicPr>
          <p:cNvPr id="64" name="Picture 2"/>
          <p:cNvPicPr>
            <a:picLocks noChangeAspect="1" noChangeArrowheads="1"/>
          </p:cNvPicPr>
          <p:nvPr/>
        </p:nvPicPr>
        <p:blipFill>
          <a:blip r:embed="rId3" cstate="print"/>
          <a:srcRect/>
          <a:stretch>
            <a:fillRect/>
          </a:stretch>
        </p:blipFill>
        <p:spPr bwMode="auto">
          <a:xfrm>
            <a:off x="4153983" y="1943100"/>
            <a:ext cx="1114715" cy="1657350"/>
          </a:xfrm>
          <a:prstGeom prst="rect">
            <a:avLst/>
          </a:prstGeom>
          <a:noFill/>
          <a:ln w="9525">
            <a:noFill/>
            <a:miter lim="800000"/>
            <a:headEnd/>
            <a:tailEnd/>
          </a:ln>
        </p:spPr>
      </p:pic>
      <p:grpSp>
        <p:nvGrpSpPr>
          <p:cNvPr id="43015" name="Group 57"/>
          <p:cNvGrpSpPr>
            <a:grpSpLocks/>
          </p:cNvGrpSpPr>
          <p:nvPr/>
        </p:nvGrpSpPr>
        <p:grpSpPr bwMode="auto">
          <a:xfrm>
            <a:off x="1676223" y="1188244"/>
            <a:ext cx="742882" cy="740581"/>
            <a:chOff x="1182" y="1968"/>
            <a:chExt cx="837" cy="837"/>
          </a:xfrm>
        </p:grpSpPr>
        <p:sp>
          <p:nvSpPr>
            <p:cNvPr id="43071" name="Text Box 14"/>
            <p:cNvSpPr txBox="1">
              <a:spLocks noChangeArrowheads="1"/>
            </p:cNvSpPr>
            <p:nvPr/>
          </p:nvSpPr>
          <p:spPr bwMode="auto">
            <a:xfrm>
              <a:off x="1182" y="2562"/>
              <a:ext cx="837" cy="243"/>
            </a:xfrm>
            <a:prstGeom prst="rect">
              <a:avLst/>
            </a:prstGeom>
            <a:noFill/>
            <a:ln w="9525" algn="ctr">
              <a:noFill/>
              <a:miter lim="800000"/>
              <a:headEnd/>
              <a:tailEnd/>
            </a:ln>
          </p:spPr>
          <p:txBody>
            <a:bodyPr wrap="none">
              <a:spAutoFit/>
            </a:bodyPr>
            <a:lstStyle/>
            <a:p>
              <a:pPr algn="ctr"/>
              <a:r>
                <a:rPr lang="en-US" sz="800" b="1" dirty="0">
                  <a:solidFill>
                    <a:srgbClr val="FFFFFF"/>
                  </a:solidFill>
                </a:rPr>
                <a:t>WDS server</a:t>
              </a:r>
            </a:p>
          </p:txBody>
        </p:sp>
        <p:pic>
          <p:nvPicPr>
            <p:cNvPr id="43072" name="Picture 2"/>
            <p:cNvPicPr>
              <a:picLocks noChangeAspect="1" noChangeArrowheads="1"/>
            </p:cNvPicPr>
            <p:nvPr/>
          </p:nvPicPr>
          <p:blipFill>
            <a:blip r:embed="rId4" cstate="print"/>
            <a:srcRect/>
            <a:stretch>
              <a:fillRect/>
            </a:stretch>
          </p:blipFill>
          <p:spPr bwMode="auto">
            <a:xfrm>
              <a:off x="1369" y="1968"/>
              <a:ext cx="470" cy="649"/>
            </a:xfrm>
            <a:prstGeom prst="rect">
              <a:avLst/>
            </a:prstGeom>
            <a:noFill/>
            <a:ln w="9525">
              <a:noFill/>
              <a:miter lim="800000"/>
              <a:headEnd/>
              <a:tailEnd/>
            </a:ln>
          </p:spPr>
        </p:pic>
      </p:grpSp>
      <p:grpSp>
        <p:nvGrpSpPr>
          <p:cNvPr id="43016" name="Group 48"/>
          <p:cNvGrpSpPr>
            <a:grpSpLocks/>
          </p:cNvGrpSpPr>
          <p:nvPr/>
        </p:nvGrpSpPr>
        <p:grpSpPr bwMode="auto">
          <a:xfrm>
            <a:off x="799118" y="3257550"/>
            <a:ext cx="488283" cy="655248"/>
            <a:chOff x="383" y="2496"/>
            <a:chExt cx="610" cy="814"/>
          </a:xfrm>
        </p:grpSpPr>
        <p:sp>
          <p:nvSpPr>
            <p:cNvPr id="43069" name="Text Box 14"/>
            <p:cNvSpPr txBox="1">
              <a:spLocks noChangeArrowheads="1"/>
            </p:cNvSpPr>
            <p:nvPr/>
          </p:nvSpPr>
          <p:spPr bwMode="auto">
            <a:xfrm>
              <a:off x="451" y="3061"/>
              <a:ext cx="473" cy="249"/>
            </a:xfrm>
            <a:prstGeom prst="rect">
              <a:avLst/>
            </a:prstGeom>
            <a:noFill/>
            <a:ln w="9525" algn="ctr">
              <a:noFill/>
              <a:miter lim="800000"/>
              <a:headEnd/>
              <a:tailEnd/>
            </a:ln>
          </p:spPr>
          <p:txBody>
            <a:bodyPr wrap="none">
              <a:spAutoFit/>
            </a:bodyPr>
            <a:lstStyle/>
            <a:p>
              <a:pPr algn="ctr"/>
              <a:r>
                <a:rPr lang="en-US" sz="700" b="1">
                  <a:solidFill>
                    <a:srgbClr val="FFFFFF"/>
                  </a:solidFill>
                </a:rPr>
                <a:t>VHD</a:t>
              </a:r>
            </a:p>
          </p:txBody>
        </p:sp>
        <p:pic>
          <p:nvPicPr>
            <p:cNvPr id="43070" name="Picture 2"/>
            <p:cNvPicPr>
              <a:picLocks noChangeAspect="1" noChangeArrowheads="1"/>
            </p:cNvPicPr>
            <p:nvPr/>
          </p:nvPicPr>
          <p:blipFill>
            <a:blip r:embed="rId5" cstate="print"/>
            <a:srcRect/>
            <a:stretch>
              <a:fillRect/>
            </a:stretch>
          </p:blipFill>
          <p:spPr bwMode="auto">
            <a:xfrm>
              <a:off x="383" y="2496"/>
              <a:ext cx="610" cy="680"/>
            </a:xfrm>
            <a:prstGeom prst="rect">
              <a:avLst/>
            </a:prstGeom>
            <a:noFill/>
            <a:ln w="9525">
              <a:noFill/>
              <a:miter lim="800000"/>
              <a:headEnd/>
              <a:tailEnd/>
            </a:ln>
          </p:spPr>
        </p:pic>
      </p:grpSp>
      <p:grpSp>
        <p:nvGrpSpPr>
          <p:cNvPr id="43017" name="Group 47"/>
          <p:cNvGrpSpPr>
            <a:grpSpLocks/>
          </p:cNvGrpSpPr>
          <p:nvPr/>
        </p:nvGrpSpPr>
        <p:grpSpPr bwMode="auto">
          <a:xfrm>
            <a:off x="312700" y="3829053"/>
            <a:ext cx="482552" cy="530717"/>
            <a:chOff x="-411" y="2744"/>
            <a:chExt cx="597" cy="657"/>
          </a:xfrm>
        </p:grpSpPr>
        <p:sp>
          <p:nvSpPr>
            <p:cNvPr id="43067" name="Text Box 14"/>
            <p:cNvSpPr txBox="1">
              <a:spLocks noChangeArrowheads="1"/>
            </p:cNvSpPr>
            <p:nvPr/>
          </p:nvSpPr>
          <p:spPr bwMode="auto">
            <a:xfrm>
              <a:off x="-411" y="3153"/>
              <a:ext cx="597" cy="248"/>
            </a:xfrm>
            <a:prstGeom prst="rect">
              <a:avLst/>
            </a:prstGeom>
            <a:noFill/>
            <a:ln w="9525" algn="ctr">
              <a:noFill/>
              <a:miter lim="800000"/>
              <a:headEnd/>
              <a:tailEnd/>
            </a:ln>
          </p:spPr>
          <p:txBody>
            <a:bodyPr wrap="none">
              <a:spAutoFit/>
            </a:bodyPr>
            <a:lstStyle/>
            <a:p>
              <a:pPr algn="ctr"/>
              <a:r>
                <a:rPr lang="en-US" sz="700" b="1">
                  <a:solidFill>
                    <a:srgbClr val="FFFFFF"/>
                  </a:solidFill>
                </a:rPr>
                <a:t>Drivers</a:t>
              </a:r>
            </a:p>
          </p:txBody>
        </p:sp>
        <p:pic>
          <p:nvPicPr>
            <p:cNvPr id="43068" name="Picture 3"/>
            <p:cNvPicPr>
              <a:picLocks noChangeAspect="1" noChangeArrowheads="1"/>
            </p:cNvPicPr>
            <p:nvPr/>
          </p:nvPicPr>
          <p:blipFill>
            <a:blip r:embed="rId6" cstate="print"/>
            <a:srcRect/>
            <a:stretch>
              <a:fillRect/>
            </a:stretch>
          </p:blipFill>
          <p:spPr bwMode="auto">
            <a:xfrm>
              <a:off x="-330" y="2744"/>
              <a:ext cx="433" cy="377"/>
            </a:xfrm>
            <a:prstGeom prst="rect">
              <a:avLst/>
            </a:prstGeom>
            <a:noFill/>
            <a:ln w="9525">
              <a:noFill/>
              <a:miter lim="800000"/>
              <a:headEnd/>
              <a:tailEnd/>
            </a:ln>
          </p:spPr>
        </p:pic>
      </p:grpSp>
      <p:grpSp>
        <p:nvGrpSpPr>
          <p:cNvPr id="43018" name="Group 46"/>
          <p:cNvGrpSpPr>
            <a:grpSpLocks/>
          </p:cNvGrpSpPr>
          <p:nvPr/>
        </p:nvGrpSpPr>
        <p:grpSpPr bwMode="auto">
          <a:xfrm>
            <a:off x="708262" y="4286254"/>
            <a:ext cx="686669" cy="561285"/>
            <a:chOff x="-1395" y="2708"/>
            <a:chExt cx="856" cy="695"/>
          </a:xfrm>
        </p:grpSpPr>
        <p:sp>
          <p:nvSpPr>
            <p:cNvPr id="43065" name="Text Box 14"/>
            <p:cNvSpPr txBox="1">
              <a:spLocks noChangeArrowheads="1"/>
            </p:cNvSpPr>
            <p:nvPr/>
          </p:nvSpPr>
          <p:spPr bwMode="auto">
            <a:xfrm>
              <a:off x="-1395" y="3155"/>
              <a:ext cx="856" cy="248"/>
            </a:xfrm>
            <a:prstGeom prst="rect">
              <a:avLst/>
            </a:prstGeom>
            <a:noFill/>
            <a:ln w="9525" algn="ctr">
              <a:noFill/>
              <a:miter lim="800000"/>
              <a:headEnd/>
              <a:tailEnd/>
            </a:ln>
          </p:spPr>
          <p:txBody>
            <a:bodyPr wrap="none">
              <a:spAutoFit/>
            </a:bodyPr>
            <a:lstStyle/>
            <a:p>
              <a:pPr algn="ctr"/>
              <a:r>
                <a:rPr lang="en-US" sz="700" b="1">
                  <a:solidFill>
                    <a:srgbClr val="FFFFFF"/>
                  </a:solidFill>
                </a:rPr>
                <a:t>Host profile</a:t>
              </a:r>
            </a:p>
          </p:txBody>
        </p:sp>
        <p:pic>
          <p:nvPicPr>
            <p:cNvPr id="43066" name="Picture 4"/>
            <p:cNvPicPr>
              <a:picLocks noChangeAspect="1" noChangeArrowheads="1"/>
            </p:cNvPicPr>
            <p:nvPr/>
          </p:nvPicPr>
          <p:blipFill>
            <a:blip r:embed="rId7" cstate="print"/>
            <a:srcRect/>
            <a:stretch>
              <a:fillRect/>
            </a:stretch>
          </p:blipFill>
          <p:spPr bwMode="auto">
            <a:xfrm>
              <a:off x="-1183" y="2708"/>
              <a:ext cx="434" cy="495"/>
            </a:xfrm>
            <a:prstGeom prst="rect">
              <a:avLst/>
            </a:prstGeom>
            <a:noFill/>
            <a:ln w="9525">
              <a:noFill/>
              <a:miter lim="800000"/>
              <a:headEnd/>
              <a:tailEnd/>
            </a:ln>
          </p:spPr>
        </p:pic>
      </p:grpSp>
      <p:grpSp>
        <p:nvGrpSpPr>
          <p:cNvPr id="43019" name="Group 65"/>
          <p:cNvGrpSpPr>
            <a:grpSpLocks/>
          </p:cNvGrpSpPr>
          <p:nvPr/>
        </p:nvGrpSpPr>
        <p:grpSpPr bwMode="auto">
          <a:xfrm>
            <a:off x="7799433" y="2000251"/>
            <a:ext cx="569267" cy="546497"/>
            <a:chOff x="6320" y="1488"/>
            <a:chExt cx="478" cy="459"/>
          </a:xfrm>
        </p:grpSpPr>
        <p:sp>
          <p:nvSpPr>
            <p:cNvPr id="43063" name="Rectangle 48"/>
            <p:cNvSpPr>
              <a:spLocks noChangeArrowheads="1"/>
            </p:cNvSpPr>
            <p:nvPr/>
          </p:nvSpPr>
          <p:spPr bwMode="auto">
            <a:xfrm>
              <a:off x="6320" y="1766"/>
              <a:ext cx="478" cy="181"/>
            </a:xfrm>
            <a:prstGeom prst="rect">
              <a:avLst/>
            </a:prstGeom>
            <a:noFill/>
            <a:ln w="9525">
              <a:noFill/>
              <a:miter lim="800000"/>
              <a:headEnd/>
              <a:tailEnd/>
            </a:ln>
          </p:spPr>
          <p:txBody>
            <a:bodyPr wrap="none">
              <a:spAutoFit/>
            </a:bodyPr>
            <a:lstStyle/>
            <a:p>
              <a:pPr algn="ctr"/>
              <a:r>
                <a:rPr lang="en-US" sz="800" b="1">
                  <a:solidFill>
                    <a:srgbClr val="FFFFFF"/>
                  </a:solidFill>
                </a:rPr>
                <a:t>contoso</a:t>
              </a:r>
              <a:endParaRPr lang="en-US" sz="800">
                <a:solidFill>
                  <a:srgbClr val="FFFFFF"/>
                </a:solidFill>
              </a:endParaRPr>
            </a:p>
          </p:txBody>
        </p:sp>
        <p:pic>
          <p:nvPicPr>
            <p:cNvPr id="43064" name="Picture 5"/>
            <p:cNvPicPr>
              <a:picLocks noChangeAspect="1" noChangeArrowheads="1"/>
            </p:cNvPicPr>
            <p:nvPr/>
          </p:nvPicPr>
          <p:blipFill>
            <a:blip r:embed="rId8" cstate="print"/>
            <a:srcRect/>
            <a:stretch>
              <a:fillRect/>
            </a:stretch>
          </p:blipFill>
          <p:spPr bwMode="auto">
            <a:xfrm>
              <a:off x="6374" y="1488"/>
              <a:ext cx="374" cy="342"/>
            </a:xfrm>
            <a:prstGeom prst="rect">
              <a:avLst/>
            </a:prstGeom>
            <a:noFill/>
            <a:ln w="9525">
              <a:noFill/>
              <a:miter lim="800000"/>
              <a:headEnd/>
              <a:tailEnd/>
            </a:ln>
          </p:spPr>
        </p:pic>
      </p:grpSp>
      <p:sp>
        <p:nvSpPr>
          <p:cNvPr id="191531" name="Rectangle 43"/>
          <p:cNvSpPr>
            <a:spLocks noChangeArrowheads="1"/>
          </p:cNvSpPr>
          <p:nvPr/>
        </p:nvSpPr>
        <p:spPr bwMode="auto">
          <a:xfrm>
            <a:off x="3543033" y="1200150"/>
            <a:ext cx="2343760" cy="3429000"/>
          </a:xfrm>
          <a:prstGeom prst="rect">
            <a:avLst/>
          </a:prstGeom>
          <a:noFill/>
          <a:ln w="63500">
            <a:solidFill>
              <a:schemeClr val="bg1"/>
            </a:solidFill>
            <a:miter lim="800000"/>
            <a:headEnd/>
            <a:tailEnd/>
          </a:ln>
        </p:spPr>
        <p:txBody>
          <a:bodyPr wrap="none" lIns="68586" tIns="34294" rIns="68586" bIns="34294" anchor="ctr"/>
          <a:lstStyle/>
          <a:p>
            <a:endParaRPr lang="en-US">
              <a:solidFill>
                <a:srgbClr val="000000"/>
              </a:solidFill>
            </a:endParaRPr>
          </a:p>
        </p:txBody>
      </p:sp>
      <p:grpSp>
        <p:nvGrpSpPr>
          <p:cNvPr id="43021" name="Group 56"/>
          <p:cNvGrpSpPr>
            <a:grpSpLocks/>
          </p:cNvGrpSpPr>
          <p:nvPr/>
        </p:nvGrpSpPr>
        <p:grpSpPr bwMode="auto">
          <a:xfrm>
            <a:off x="1626628" y="3713562"/>
            <a:ext cx="842070" cy="747375"/>
            <a:chOff x="1129" y="3024"/>
            <a:chExt cx="945" cy="838"/>
          </a:xfrm>
        </p:grpSpPr>
        <p:sp>
          <p:nvSpPr>
            <p:cNvPr id="43061" name="Text Box 14"/>
            <p:cNvSpPr txBox="1">
              <a:spLocks noChangeArrowheads="1"/>
            </p:cNvSpPr>
            <p:nvPr/>
          </p:nvSpPr>
          <p:spPr bwMode="auto">
            <a:xfrm>
              <a:off x="1129" y="3620"/>
              <a:ext cx="945" cy="242"/>
            </a:xfrm>
            <a:prstGeom prst="rect">
              <a:avLst/>
            </a:prstGeom>
            <a:noFill/>
            <a:ln w="9525" algn="ctr">
              <a:noFill/>
              <a:miter lim="800000"/>
              <a:headEnd/>
              <a:tailEnd/>
            </a:ln>
          </p:spPr>
          <p:txBody>
            <a:bodyPr wrap="none">
              <a:spAutoFit/>
            </a:bodyPr>
            <a:lstStyle/>
            <a:p>
              <a:pPr algn="ctr"/>
              <a:r>
                <a:rPr lang="en-US" sz="800" b="1" dirty="0">
                  <a:solidFill>
                    <a:srgbClr val="FFFFFF"/>
                  </a:solidFill>
                </a:rPr>
                <a:t>Library server</a:t>
              </a:r>
            </a:p>
          </p:txBody>
        </p:sp>
        <p:pic>
          <p:nvPicPr>
            <p:cNvPr id="43062" name="Picture 2"/>
            <p:cNvPicPr>
              <a:picLocks noChangeAspect="1" noChangeArrowheads="1"/>
            </p:cNvPicPr>
            <p:nvPr/>
          </p:nvPicPr>
          <p:blipFill>
            <a:blip r:embed="rId4" cstate="print"/>
            <a:srcRect/>
            <a:stretch>
              <a:fillRect/>
            </a:stretch>
          </p:blipFill>
          <p:spPr bwMode="auto">
            <a:xfrm>
              <a:off x="1369" y="3024"/>
              <a:ext cx="470" cy="649"/>
            </a:xfrm>
            <a:prstGeom prst="rect">
              <a:avLst/>
            </a:prstGeom>
            <a:noFill/>
            <a:ln w="9525">
              <a:noFill/>
              <a:miter lim="800000"/>
              <a:headEnd/>
              <a:tailEnd/>
            </a:ln>
          </p:spPr>
        </p:pic>
      </p:grpSp>
      <p:sp>
        <p:nvSpPr>
          <p:cNvPr id="43022" name="Line 49"/>
          <p:cNvSpPr>
            <a:spLocks noChangeShapeType="1"/>
          </p:cNvSpPr>
          <p:nvPr/>
        </p:nvSpPr>
        <p:spPr bwMode="auto">
          <a:xfrm flipV="1">
            <a:off x="1256437" y="4171950"/>
            <a:ext cx="400154" cy="285750"/>
          </a:xfrm>
          <a:prstGeom prst="line">
            <a:avLst/>
          </a:prstGeom>
          <a:noFill/>
          <a:ln w="38100">
            <a:solidFill>
              <a:srgbClr val="3DB5F1"/>
            </a:solidFill>
            <a:round/>
            <a:headEnd/>
            <a:tailEnd type="triangle" w="med" len="med"/>
          </a:ln>
        </p:spPr>
        <p:txBody>
          <a:bodyPr lIns="68586" tIns="34294" rIns="68586" bIns="34294"/>
          <a:lstStyle/>
          <a:p>
            <a:endParaRPr lang="en-US">
              <a:solidFill>
                <a:srgbClr val="000000"/>
              </a:solidFill>
            </a:endParaRPr>
          </a:p>
        </p:txBody>
      </p:sp>
      <p:sp>
        <p:nvSpPr>
          <p:cNvPr id="43023" name="Line 50"/>
          <p:cNvSpPr>
            <a:spLocks noChangeShapeType="1"/>
          </p:cNvSpPr>
          <p:nvPr/>
        </p:nvSpPr>
        <p:spPr bwMode="auto">
          <a:xfrm flipV="1">
            <a:off x="856284" y="4019550"/>
            <a:ext cx="800308" cy="0"/>
          </a:xfrm>
          <a:prstGeom prst="line">
            <a:avLst/>
          </a:prstGeom>
          <a:noFill/>
          <a:ln w="38100">
            <a:solidFill>
              <a:srgbClr val="3DB5F1"/>
            </a:solidFill>
            <a:round/>
            <a:headEnd/>
            <a:tailEnd type="triangle" w="med" len="med"/>
          </a:ln>
        </p:spPr>
        <p:txBody>
          <a:bodyPr lIns="68586" tIns="34294" rIns="68586" bIns="34294"/>
          <a:lstStyle/>
          <a:p>
            <a:endParaRPr lang="en-US">
              <a:solidFill>
                <a:srgbClr val="000000"/>
              </a:solidFill>
            </a:endParaRPr>
          </a:p>
        </p:txBody>
      </p:sp>
      <p:sp>
        <p:nvSpPr>
          <p:cNvPr id="43024" name="Line 51"/>
          <p:cNvSpPr>
            <a:spLocks noChangeShapeType="1"/>
          </p:cNvSpPr>
          <p:nvPr/>
        </p:nvSpPr>
        <p:spPr bwMode="auto">
          <a:xfrm>
            <a:off x="1256437" y="3686175"/>
            <a:ext cx="400154" cy="171450"/>
          </a:xfrm>
          <a:prstGeom prst="line">
            <a:avLst/>
          </a:prstGeom>
          <a:noFill/>
          <a:ln w="38100">
            <a:solidFill>
              <a:srgbClr val="3DB5F1"/>
            </a:solidFill>
            <a:round/>
            <a:headEnd/>
            <a:tailEnd type="triangle" w="med" len="med"/>
          </a:ln>
        </p:spPr>
        <p:txBody>
          <a:bodyPr lIns="68586" tIns="34294" rIns="68586" bIns="34294"/>
          <a:lstStyle/>
          <a:p>
            <a:endParaRPr lang="en-US">
              <a:solidFill>
                <a:srgbClr val="000000"/>
              </a:solidFill>
            </a:endParaRPr>
          </a:p>
        </p:txBody>
      </p:sp>
      <p:sp>
        <p:nvSpPr>
          <p:cNvPr id="191540" name="AutoShape 52"/>
          <p:cNvSpPr>
            <a:spLocks noChangeArrowheads="1"/>
          </p:cNvSpPr>
          <p:nvPr/>
        </p:nvSpPr>
        <p:spPr bwMode="auto">
          <a:xfrm>
            <a:off x="2368770" y="3771900"/>
            <a:ext cx="1028968" cy="457200"/>
          </a:xfrm>
          <a:prstGeom prst="rightArrow">
            <a:avLst>
              <a:gd name="adj1" fmla="val 50000"/>
              <a:gd name="adj2" fmla="val 56250"/>
            </a:avLst>
          </a:prstGeom>
          <a:gradFill rotWithShape="1">
            <a:gsLst>
              <a:gs pos="0">
                <a:srgbClr val="FFFFFF">
                  <a:alpha val="0"/>
                </a:srgbClr>
              </a:gs>
              <a:gs pos="100000">
                <a:srgbClr val="3DB5F1"/>
              </a:gs>
            </a:gsLst>
            <a:lin ang="0" scaled="1"/>
          </a:gradFill>
          <a:ln w="9525">
            <a:noFill/>
            <a:miter lim="800000"/>
            <a:headEnd/>
            <a:tailEnd/>
          </a:ln>
        </p:spPr>
        <p:txBody>
          <a:bodyPr wrap="none" lIns="68586" tIns="34294" rIns="68586" bIns="34294" anchor="ctr"/>
          <a:lstStyle/>
          <a:p>
            <a:endParaRPr lang="en-US">
              <a:solidFill>
                <a:srgbClr val="000000"/>
              </a:solidFill>
            </a:endParaRPr>
          </a:p>
        </p:txBody>
      </p:sp>
      <p:sp>
        <p:nvSpPr>
          <p:cNvPr id="191541" name="AutoShape 53"/>
          <p:cNvSpPr>
            <a:spLocks noChangeArrowheads="1"/>
          </p:cNvSpPr>
          <p:nvPr/>
        </p:nvSpPr>
        <p:spPr bwMode="auto">
          <a:xfrm>
            <a:off x="2397353" y="1314450"/>
            <a:ext cx="1028968" cy="457200"/>
          </a:xfrm>
          <a:prstGeom prst="rightArrow">
            <a:avLst>
              <a:gd name="adj1" fmla="val 50000"/>
              <a:gd name="adj2" fmla="val 56250"/>
            </a:avLst>
          </a:prstGeom>
          <a:gradFill rotWithShape="1">
            <a:gsLst>
              <a:gs pos="0">
                <a:srgbClr val="FFFFFF">
                  <a:alpha val="0"/>
                </a:srgbClr>
              </a:gs>
              <a:gs pos="100000">
                <a:srgbClr val="3DB5F1"/>
              </a:gs>
            </a:gsLst>
            <a:lin ang="0" scaled="1"/>
          </a:gradFill>
          <a:ln w="9525">
            <a:noFill/>
            <a:miter lim="800000"/>
            <a:headEnd/>
            <a:tailEnd/>
          </a:ln>
        </p:spPr>
        <p:txBody>
          <a:bodyPr wrap="none" lIns="68586" tIns="34294" rIns="68586" bIns="34294" anchor="ctr"/>
          <a:lstStyle/>
          <a:p>
            <a:endParaRPr lang="en-US">
              <a:solidFill>
                <a:srgbClr val="000000"/>
              </a:solidFill>
            </a:endParaRPr>
          </a:p>
        </p:txBody>
      </p:sp>
      <p:sp>
        <p:nvSpPr>
          <p:cNvPr id="191542" name="AutoShape 54"/>
          <p:cNvSpPr>
            <a:spLocks noChangeArrowheads="1"/>
          </p:cNvSpPr>
          <p:nvPr/>
        </p:nvSpPr>
        <p:spPr bwMode="auto">
          <a:xfrm>
            <a:off x="2368770" y="2634854"/>
            <a:ext cx="1028968" cy="457200"/>
          </a:xfrm>
          <a:prstGeom prst="rightArrow">
            <a:avLst>
              <a:gd name="adj1" fmla="val 50000"/>
              <a:gd name="adj2" fmla="val 56250"/>
            </a:avLst>
          </a:prstGeom>
          <a:gradFill rotWithShape="1">
            <a:gsLst>
              <a:gs pos="0">
                <a:srgbClr val="FFFFFF">
                  <a:alpha val="0"/>
                </a:srgbClr>
              </a:gs>
              <a:gs pos="100000">
                <a:srgbClr val="3DB5F1"/>
              </a:gs>
            </a:gsLst>
            <a:lin ang="0" scaled="1"/>
          </a:gradFill>
          <a:ln w="9525">
            <a:noFill/>
            <a:miter lim="800000"/>
            <a:headEnd/>
            <a:tailEnd/>
          </a:ln>
        </p:spPr>
        <p:txBody>
          <a:bodyPr wrap="none" lIns="68586" tIns="34294" rIns="68586" bIns="34294" anchor="ctr"/>
          <a:lstStyle/>
          <a:p>
            <a:endParaRPr lang="en-US">
              <a:solidFill>
                <a:srgbClr val="000000"/>
              </a:solidFill>
            </a:endParaRPr>
          </a:p>
        </p:txBody>
      </p:sp>
      <p:sp>
        <p:nvSpPr>
          <p:cNvPr id="191547" name="AutoShape 59"/>
          <p:cNvSpPr>
            <a:spLocks noChangeArrowheads="1"/>
          </p:cNvSpPr>
          <p:nvPr/>
        </p:nvSpPr>
        <p:spPr bwMode="auto">
          <a:xfrm rot="-16200000">
            <a:off x="1685270" y="1914466"/>
            <a:ext cx="742950" cy="457319"/>
          </a:xfrm>
          <a:prstGeom prst="rightArrow">
            <a:avLst>
              <a:gd name="adj1" fmla="val 50000"/>
              <a:gd name="adj2" fmla="val 51752"/>
            </a:avLst>
          </a:prstGeom>
          <a:gradFill rotWithShape="1">
            <a:gsLst>
              <a:gs pos="0">
                <a:srgbClr val="FFFFFF">
                  <a:alpha val="0"/>
                </a:srgbClr>
              </a:gs>
              <a:gs pos="100000">
                <a:srgbClr val="3DB5F1"/>
              </a:gs>
            </a:gsLst>
            <a:lin ang="0" scaled="1"/>
          </a:gradFill>
          <a:ln w="9525">
            <a:noFill/>
            <a:miter lim="800000"/>
            <a:headEnd/>
            <a:tailEnd/>
          </a:ln>
        </p:spPr>
        <p:txBody>
          <a:bodyPr rot="10800000" vert="eaVert" wrap="none" lIns="68586" tIns="34294" rIns="68586" bIns="34294" anchor="ctr"/>
          <a:lstStyle/>
          <a:p>
            <a:endParaRPr lang="en-US">
              <a:solidFill>
                <a:srgbClr val="000000"/>
              </a:solidFill>
            </a:endParaRPr>
          </a:p>
        </p:txBody>
      </p:sp>
      <p:sp>
        <p:nvSpPr>
          <p:cNvPr id="191548" name="AutoShape 60"/>
          <p:cNvSpPr>
            <a:spLocks noChangeArrowheads="1"/>
          </p:cNvSpPr>
          <p:nvPr/>
        </p:nvSpPr>
        <p:spPr bwMode="auto">
          <a:xfrm>
            <a:off x="6001123" y="3143250"/>
            <a:ext cx="1028968" cy="457200"/>
          </a:xfrm>
          <a:prstGeom prst="rightArrow">
            <a:avLst>
              <a:gd name="adj1" fmla="val 50000"/>
              <a:gd name="adj2" fmla="val 56250"/>
            </a:avLst>
          </a:prstGeom>
          <a:gradFill rotWithShape="1">
            <a:gsLst>
              <a:gs pos="0">
                <a:srgbClr val="FFFFFF">
                  <a:alpha val="0"/>
                </a:srgbClr>
              </a:gs>
              <a:gs pos="100000">
                <a:srgbClr val="3DB5F1"/>
              </a:gs>
            </a:gsLst>
            <a:lin ang="0" scaled="1"/>
          </a:gradFill>
          <a:ln w="9525">
            <a:noFill/>
            <a:miter lim="800000"/>
            <a:headEnd/>
            <a:tailEnd/>
          </a:ln>
        </p:spPr>
        <p:txBody>
          <a:bodyPr wrap="none" lIns="68586" tIns="34294" rIns="68586" bIns="34294" anchor="ctr"/>
          <a:lstStyle/>
          <a:p>
            <a:endParaRPr lang="en-US">
              <a:solidFill>
                <a:srgbClr val="000000"/>
              </a:solidFill>
            </a:endParaRPr>
          </a:p>
        </p:txBody>
      </p:sp>
      <p:sp>
        <p:nvSpPr>
          <p:cNvPr id="191549" name="AutoShape 61"/>
          <p:cNvSpPr>
            <a:spLocks noChangeArrowheads="1"/>
          </p:cNvSpPr>
          <p:nvPr/>
        </p:nvSpPr>
        <p:spPr bwMode="auto">
          <a:xfrm>
            <a:off x="6055907" y="2057400"/>
            <a:ext cx="1602999" cy="457200"/>
          </a:xfrm>
          <a:prstGeom prst="rightArrow">
            <a:avLst>
              <a:gd name="adj1" fmla="val 50000"/>
              <a:gd name="adj2" fmla="val 56246"/>
            </a:avLst>
          </a:prstGeom>
          <a:gradFill rotWithShape="1">
            <a:gsLst>
              <a:gs pos="0">
                <a:srgbClr val="FFFFFF">
                  <a:alpha val="0"/>
                </a:srgbClr>
              </a:gs>
              <a:gs pos="100000">
                <a:srgbClr val="3DB5F1"/>
              </a:gs>
            </a:gsLst>
            <a:lin ang="0" scaled="1"/>
          </a:gradFill>
          <a:ln w="9525">
            <a:noFill/>
            <a:miter lim="800000"/>
            <a:headEnd/>
            <a:tailEnd/>
          </a:ln>
        </p:spPr>
        <p:txBody>
          <a:bodyPr wrap="none" lIns="68586" tIns="34294" rIns="68586" bIns="34294" anchor="ctr"/>
          <a:lstStyle/>
          <a:p>
            <a:endParaRPr lang="en-US">
              <a:solidFill>
                <a:srgbClr val="000000"/>
              </a:solidFill>
            </a:endParaRPr>
          </a:p>
        </p:txBody>
      </p:sp>
      <p:grpSp>
        <p:nvGrpSpPr>
          <p:cNvPr id="43031" name="Group 62"/>
          <p:cNvGrpSpPr>
            <a:grpSpLocks/>
          </p:cNvGrpSpPr>
          <p:nvPr/>
        </p:nvGrpSpPr>
        <p:grpSpPr bwMode="auto">
          <a:xfrm>
            <a:off x="7914360" y="3086101"/>
            <a:ext cx="911065" cy="746482"/>
            <a:chOff x="1095" y="3024"/>
            <a:chExt cx="1020" cy="837"/>
          </a:xfrm>
        </p:grpSpPr>
        <p:sp>
          <p:nvSpPr>
            <p:cNvPr id="43059" name="Text Box 14"/>
            <p:cNvSpPr txBox="1">
              <a:spLocks noChangeArrowheads="1"/>
            </p:cNvSpPr>
            <p:nvPr/>
          </p:nvSpPr>
          <p:spPr bwMode="auto">
            <a:xfrm>
              <a:off x="1095" y="3619"/>
              <a:ext cx="1020" cy="242"/>
            </a:xfrm>
            <a:prstGeom prst="rect">
              <a:avLst/>
            </a:prstGeom>
            <a:noFill/>
            <a:ln w="9525" algn="ctr">
              <a:noFill/>
              <a:miter lim="800000"/>
              <a:headEnd/>
              <a:tailEnd/>
            </a:ln>
          </p:spPr>
          <p:txBody>
            <a:bodyPr wrap="none">
              <a:spAutoFit/>
            </a:bodyPr>
            <a:lstStyle/>
            <a:p>
              <a:pPr algn="ctr"/>
              <a:r>
                <a:rPr lang="en-US" sz="800" b="1" dirty="0">
                  <a:solidFill>
                    <a:srgbClr val="FFFFFF"/>
                  </a:solidFill>
                </a:rPr>
                <a:t>Hyper-V server</a:t>
              </a:r>
            </a:p>
          </p:txBody>
        </p:sp>
        <p:pic>
          <p:nvPicPr>
            <p:cNvPr id="43060" name="Picture 2"/>
            <p:cNvPicPr>
              <a:picLocks noChangeAspect="1" noChangeArrowheads="1"/>
            </p:cNvPicPr>
            <p:nvPr/>
          </p:nvPicPr>
          <p:blipFill>
            <a:blip r:embed="rId4" cstate="print"/>
            <a:srcRect/>
            <a:stretch>
              <a:fillRect/>
            </a:stretch>
          </p:blipFill>
          <p:spPr bwMode="auto">
            <a:xfrm>
              <a:off x="1369" y="3024"/>
              <a:ext cx="470" cy="649"/>
            </a:xfrm>
            <a:prstGeom prst="rect">
              <a:avLst/>
            </a:prstGeom>
            <a:noFill/>
            <a:ln w="9525">
              <a:noFill/>
              <a:miter lim="800000"/>
              <a:headEnd/>
              <a:tailEnd/>
            </a:ln>
          </p:spPr>
        </p:pic>
      </p:grpSp>
      <p:sp>
        <p:nvSpPr>
          <p:cNvPr id="191554" name="Oval 66"/>
          <p:cNvSpPr>
            <a:spLocks noChangeArrowheads="1"/>
          </p:cNvSpPr>
          <p:nvPr/>
        </p:nvSpPr>
        <p:spPr bwMode="auto">
          <a:xfrm>
            <a:off x="2705806" y="2743201"/>
            <a:ext cx="240569" cy="240506"/>
          </a:xfrm>
          <a:prstGeom prst="ellipse">
            <a:avLst/>
          </a:prstGeom>
          <a:solidFill>
            <a:schemeClr val="bg1"/>
          </a:solidFill>
          <a:ln w="9525">
            <a:noFill/>
            <a:round/>
            <a:headEnd/>
            <a:tailEnd/>
          </a:ln>
        </p:spPr>
        <p:txBody>
          <a:bodyPr wrap="none" lIns="68586" tIns="34294" rIns="68586" bIns="34294" anchor="ctr"/>
          <a:lstStyle/>
          <a:p>
            <a:pPr algn="ctr"/>
            <a:r>
              <a:rPr lang="en-US" sz="1200" b="1">
                <a:solidFill>
                  <a:srgbClr val="002C56"/>
                </a:solidFill>
              </a:rPr>
              <a:t>1</a:t>
            </a:r>
          </a:p>
        </p:txBody>
      </p:sp>
      <p:sp>
        <p:nvSpPr>
          <p:cNvPr id="191556" name="Oval 68"/>
          <p:cNvSpPr>
            <a:spLocks noChangeArrowheads="1"/>
          </p:cNvSpPr>
          <p:nvPr/>
        </p:nvSpPr>
        <p:spPr bwMode="auto">
          <a:xfrm>
            <a:off x="1936462" y="1994299"/>
            <a:ext cx="240569" cy="240506"/>
          </a:xfrm>
          <a:prstGeom prst="ellipse">
            <a:avLst/>
          </a:prstGeom>
          <a:solidFill>
            <a:schemeClr val="bg1"/>
          </a:solidFill>
          <a:ln w="9525">
            <a:noFill/>
            <a:round/>
            <a:headEnd/>
            <a:tailEnd/>
          </a:ln>
        </p:spPr>
        <p:txBody>
          <a:bodyPr wrap="none" lIns="68586" tIns="34294" rIns="68586" bIns="34294" anchor="ctr"/>
          <a:lstStyle/>
          <a:p>
            <a:pPr algn="ctr"/>
            <a:r>
              <a:rPr lang="en-US" sz="1200" b="1">
                <a:solidFill>
                  <a:srgbClr val="002C56"/>
                </a:solidFill>
              </a:rPr>
              <a:t>3</a:t>
            </a:r>
          </a:p>
        </p:txBody>
      </p:sp>
      <p:sp>
        <p:nvSpPr>
          <p:cNvPr id="191557" name="AutoShape 69"/>
          <p:cNvSpPr>
            <a:spLocks noChangeArrowheads="1"/>
          </p:cNvSpPr>
          <p:nvPr/>
        </p:nvSpPr>
        <p:spPr bwMode="auto">
          <a:xfrm rot="10800000">
            <a:off x="2254441" y="1314450"/>
            <a:ext cx="1028968" cy="457200"/>
          </a:xfrm>
          <a:prstGeom prst="rightArrow">
            <a:avLst>
              <a:gd name="adj1" fmla="val 50000"/>
              <a:gd name="adj2" fmla="val 56250"/>
            </a:avLst>
          </a:prstGeom>
          <a:gradFill rotWithShape="1">
            <a:gsLst>
              <a:gs pos="0">
                <a:srgbClr val="FFFFFF">
                  <a:alpha val="0"/>
                </a:srgbClr>
              </a:gs>
              <a:gs pos="100000">
                <a:srgbClr val="3DB5F1"/>
              </a:gs>
            </a:gsLst>
            <a:lin ang="0" scaled="1"/>
          </a:gradFill>
          <a:ln w="9525">
            <a:noFill/>
            <a:miter lim="800000"/>
            <a:headEnd/>
            <a:tailEnd/>
          </a:ln>
        </p:spPr>
        <p:txBody>
          <a:bodyPr rot="10800000" wrap="none" lIns="68586" tIns="34294" rIns="68586" bIns="34294" anchor="ctr"/>
          <a:lstStyle/>
          <a:p>
            <a:endParaRPr lang="en-US">
              <a:solidFill>
                <a:srgbClr val="000000"/>
              </a:solidFill>
            </a:endParaRPr>
          </a:p>
        </p:txBody>
      </p:sp>
      <p:sp>
        <p:nvSpPr>
          <p:cNvPr id="191555" name="Oval 67"/>
          <p:cNvSpPr>
            <a:spLocks noChangeArrowheads="1"/>
          </p:cNvSpPr>
          <p:nvPr/>
        </p:nvSpPr>
        <p:spPr bwMode="auto">
          <a:xfrm>
            <a:off x="2705806" y="1422799"/>
            <a:ext cx="240569" cy="240506"/>
          </a:xfrm>
          <a:prstGeom prst="ellipse">
            <a:avLst/>
          </a:prstGeom>
          <a:solidFill>
            <a:schemeClr val="bg1"/>
          </a:solidFill>
          <a:ln w="9525">
            <a:noFill/>
            <a:round/>
            <a:headEnd/>
            <a:tailEnd/>
          </a:ln>
        </p:spPr>
        <p:txBody>
          <a:bodyPr wrap="none" lIns="68586" tIns="34294" rIns="68586" bIns="34294" anchor="ctr"/>
          <a:lstStyle/>
          <a:p>
            <a:pPr algn="ctr"/>
            <a:r>
              <a:rPr lang="en-US" sz="1200" b="1">
                <a:solidFill>
                  <a:srgbClr val="002C56"/>
                </a:solidFill>
              </a:rPr>
              <a:t>2</a:t>
            </a:r>
          </a:p>
        </p:txBody>
      </p:sp>
      <p:sp>
        <p:nvSpPr>
          <p:cNvPr id="191558" name="Oval 70"/>
          <p:cNvSpPr>
            <a:spLocks noChangeArrowheads="1"/>
          </p:cNvSpPr>
          <p:nvPr/>
        </p:nvSpPr>
        <p:spPr bwMode="auto">
          <a:xfrm>
            <a:off x="2705806" y="1422799"/>
            <a:ext cx="240569" cy="240506"/>
          </a:xfrm>
          <a:prstGeom prst="ellipse">
            <a:avLst/>
          </a:prstGeom>
          <a:solidFill>
            <a:schemeClr val="bg1"/>
          </a:solidFill>
          <a:ln w="9525">
            <a:noFill/>
            <a:round/>
            <a:headEnd/>
            <a:tailEnd/>
          </a:ln>
        </p:spPr>
        <p:txBody>
          <a:bodyPr wrap="none" lIns="68586" tIns="34294" rIns="68586" bIns="34294" anchor="ctr"/>
          <a:lstStyle/>
          <a:p>
            <a:pPr algn="ctr"/>
            <a:r>
              <a:rPr lang="en-US" sz="1200" b="1">
                <a:solidFill>
                  <a:srgbClr val="002C56"/>
                </a:solidFill>
              </a:rPr>
              <a:t>4</a:t>
            </a:r>
          </a:p>
        </p:txBody>
      </p:sp>
      <p:sp>
        <p:nvSpPr>
          <p:cNvPr id="191559" name="Oval 71"/>
          <p:cNvSpPr>
            <a:spLocks noChangeArrowheads="1"/>
          </p:cNvSpPr>
          <p:nvPr/>
        </p:nvSpPr>
        <p:spPr bwMode="auto">
          <a:xfrm>
            <a:off x="5335391" y="2451499"/>
            <a:ext cx="240569" cy="240506"/>
          </a:xfrm>
          <a:prstGeom prst="ellipse">
            <a:avLst/>
          </a:prstGeom>
          <a:solidFill>
            <a:schemeClr val="bg1"/>
          </a:solidFill>
          <a:ln w="9525">
            <a:noFill/>
            <a:round/>
            <a:headEnd/>
            <a:tailEnd/>
          </a:ln>
        </p:spPr>
        <p:txBody>
          <a:bodyPr wrap="none" lIns="68586" tIns="34294" rIns="68586" bIns="34294" anchor="ctr"/>
          <a:lstStyle/>
          <a:p>
            <a:pPr algn="ctr"/>
            <a:r>
              <a:rPr lang="en-US" sz="1200" b="1">
                <a:solidFill>
                  <a:srgbClr val="002C56"/>
                </a:solidFill>
              </a:rPr>
              <a:t>5</a:t>
            </a:r>
          </a:p>
        </p:txBody>
      </p:sp>
      <p:sp>
        <p:nvSpPr>
          <p:cNvPr id="191561" name="Oval 73"/>
          <p:cNvSpPr>
            <a:spLocks noChangeArrowheads="1"/>
          </p:cNvSpPr>
          <p:nvPr/>
        </p:nvSpPr>
        <p:spPr bwMode="auto">
          <a:xfrm>
            <a:off x="2705806" y="3880249"/>
            <a:ext cx="240569" cy="240506"/>
          </a:xfrm>
          <a:prstGeom prst="ellipse">
            <a:avLst/>
          </a:prstGeom>
          <a:solidFill>
            <a:schemeClr val="bg1"/>
          </a:solidFill>
          <a:ln w="9525">
            <a:noFill/>
            <a:round/>
            <a:headEnd/>
            <a:tailEnd/>
          </a:ln>
        </p:spPr>
        <p:txBody>
          <a:bodyPr wrap="none" lIns="68586" tIns="34294" rIns="68586" bIns="34294" anchor="ctr"/>
          <a:lstStyle/>
          <a:p>
            <a:pPr algn="ctr"/>
            <a:r>
              <a:rPr lang="en-US" sz="1200" b="1">
                <a:solidFill>
                  <a:srgbClr val="002C56"/>
                </a:solidFill>
              </a:rPr>
              <a:t>6</a:t>
            </a:r>
          </a:p>
        </p:txBody>
      </p:sp>
      <p:sp>
        <p:nvSpPr>
          <p:cNvPr id="191562" name="Oval 74"/>
          <p:cNvSpPr>
            <a:spLocks noChangeArrowheads="1"/>
          </p:cNvSpPr>
          <p:nvPr/>
        </p:nvSpPr>
        <p:spPr bwMode="auto">
          <a:xfrm>
            <a:off x="2705806" y="3880249"/>
            <a:ext cx="240569" cy="240506"/>
          </a:xfrm>
          <a:prstGeom prst="ellipse">
            <a:avLst/>
          </a:prstGeom>
          <a:solidFill>
            <a:schemeClr val="bg1"/>
          </a:solidFill>
          <a:ln w="9525">
            <a:noFill/>
            <a:round/>
            <a:headEnd/>
            <a:tailEnd/>
          </a:ln>
        </p:spPr>
        <p:txBody>
          <a:bodyPr wrap="none" lIns="68586" tIns="34294" rIns="68586" bIns="34294" anchor="ctr"/>
          <a:lstStyle/>
          <a:p>
            <a:pPr algn="ctr"/>
            <a:r>
              <a:rPr lang="en-US" sz="1200" b="1">
                <a:solidFill>
                  <a:srgbClr val="002C56"/>
                </a:solidFill>
              </a:rPr>
              <a:t>7</a:t>
            </a:r>
          </a:p>
        </p:txBody>
      </p:sp>
      <p:sp>
        <p:nvSpPr>
          <p:cNvPr id="191563" name="Oval 75"/>
          <p:cNvSpPr>
            <a:spLocks noChangeArrowheads="1"/>
          </p:cNvSpPr>
          <p:nvPr/>
        </p:nvSpPr>
        <p:spPr bwMode="auto">
          <a:xfrm>
            <a:off x="6364359" y="2165749"/>
            <a:ext cx="240569" cy="240506"/>
          </a:xfrm>
          <a:prstGeom prst="ellipse">
            <a:avLst/>
          </a:prstGeom>
          <a:solidFill>
            <a:schemeClr val="bg1"/>
          </a:solidFill>
          <a:ln w="9525">
            <a:noFill/>
            <a:round/>
            <a:headEnd/>
            <a:tailEnd/>
          </a:ln>
        </p:spPr>
        <p:txBody>
          <a:bodyPr wrap="none" lIns="68586" tIns="34294" rIns="68586" bIns="34294" anchor="ctr"/>
          <a:lstStyle/>
          <a:p>
            <a:pPr algn="ctr"/>
            <a:r>
              <a:rPr lang="en-US" sz="1200" b="1">
                <a:solidFill>
                  <a:srgbClr val="002C56"/>
                </a:solidFill>
              </a:rPr>
              <a:t>8</a:t>
            </a:r>
          </a:p>
        </p:txBody>
      </p:sp>
      <p:sp>
        <p:nvSpPr>
          <p:cNvPr id="191566" name="Oval 78"/>
          <p:cNvSpPr>
            <a:spLocks noChangeArrowheads="1"/>
          </p:cNvSpPr>
          <p:nvPr/>
        </p:nvSpPr>
        <p:spPr bwMode="auto">
          <a:xfrm>
            <a:off x="6344113" y="3257551"/>
            <a:ext cx="240569" cy="240506"/>
          </a:xfrm>
          <a:prstGeom prst="ellipse">
            <a:avLst/>
          </a:prstGeom>
          <a:solidFill>
            <a:schemeClr val="bg1"/>
          </a:solidFill>
          <a:ln w="9525">
            <a:noFill/>
            <a:round/>
            <a:headEnd/>
            <a:tailEnd/>
          </a:ln>
        </p:spPr>
        <p:txBody>
          <a:bodyPr wrap="none" lIns="68586" tIns="34294" rIns="68586" bIns="34294" anchor="ctr"/>
          <a:lstStyle/>
          <a:p>
            <a:pPr algn="ctr"/>
            <a:r>
              <a:rPr lang="en-US" sz="1200" b="1">
                <a:solidFill>
                  <a:srgbClr val="002C56"/>
                </a:solidFill>
              </a:rPr>
              <a:t>9</a:t>
            </a:r>
          </a:p>
        </p:txBody>
      </p:sp>
      <p:sp>
        <p:nvSpPr>
          <p:cNvPr id="191567" name="AutoShape 79"/>
          <p:cNvSpPr>
            <a:spLocks noChangeArrowheads="1"/>
          </p:cNvSpPr>
          <p:nvPr/>
        </p:nvSpPr>
        <p:spPr bwMode="auto">
          <a:xfrm flipV="1">
            <a:off x="5112685" y="1885950"/>
            <a:ext cx="628814" cy="628650"/>
          </a:xfrm>
          <a:custGeom>
            <a:avLst/>
            <a:gdLst>
              <a:gd name="T0" fmla="*/ 707309 w 21600"/>
              <a:gd name="T1" fmla="*/ 723336 h 21600"/>
              <a:gd name="T2" fmla="*/ 618444 w 21600"/>
              <a:gd name="T3" fmla="*/ 143775 h 21600"/>
              <a:gd name="T4" fmla="*/ 598343 w 21600"/>
              <a:gd name="T5" fmla="*/ 608316 h 21600"/>
              <a:gd name="T6" fmla="*/ -21227 w 21600"/>
              <a:gd name="T7" fmla="*/ 702963 h 21600"/>
              <a:gd name="T8" fmla="*/ 33683 w 21600"/>
              <a:gd name="T9" fmla="*/ 448631 h 21600"/>
              <a:gd name="T10" fmla="*/ 288054 w 21600"/>
              <a:gd name="T11" fmla="*/ 503541 h 21600"/>
              <a:gd name="T12" fmla="*/ 0 60000 65536"/>
              <a:gd name="T13" fmla="*/ 0 60000 65536"/>
              <a:gd name="T14" fmla="*/ 0 60000 65536"/>
              <a:gd name="T15" fmla="*/ 0 60000 65536"/>
              <a:gd name="T16" fmla="*/ 0 60000 65536"/>
              <a:gd name="T17" fmla="*/ 0 60000 65536"/>
              <a:gd name="T18" fmla="*/ 3163 w 21600"/>
              <a:gd name="T19" fmla="*/ 3163 h 21600"/>
              <a:gd name="T20" fmla="*/ 18437 w 21600"/>
              <a:gd name="T21" fmla="*/ 1843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5154" y="14439"/>
                </a:moveTo>
                <a:cubicBezTo>
                  <a:pt x="6391" y="16357"/>
                  <a:pt x="8517" y="17517"/>
                  <a:pt x="10800" y="17517"/>
                </a:cubicBezTo>
                <a:cubicBezTo>
                  <a:pt x="14509" y="17517"/>
                  <a:pt x="17517" y="14509"/>
                  <a:pt x="17517" y="10800"/>
                </a:cubicBezTo>
                <a:cubicBezTo>
                  <a:pt x="17517" y="8646"/>
                  <a:pt x="16484" y="6623"/>
                  <a:pt x="14739" y="5359"/>
                </a:cubicBezTo>
                <a:lnTo>
                  <a:pt x="17134" y="2052"/>
                </a:lnTo>
                <a:cubicBezTo>
                  <a:pt x="19939" y="4084"/>
                  <a:pt x="21600" y="7337"/>
                  <a:pt x="21600" y="10800"/>
                </a:cubicBezTo>
                <a:cubicBezTo>
                  <a:pt x="21600" y="16764"/>
                  <a:pt x="16764" y="21600"/>
                  <a:pt x="10800" y="21600"/>
                </a:cubicBezTo>
                <a:cubicBezTo>
                  <a:pt x="7130" y="21600"/>
                  <a:pt x="3711" y="19736"/>
                  <a:pt x="1722" y="16652"/>
                </a:cubicBezTo>
                <a:lnTo>
                  <a:pt x="-547" y="18115"/>
                </a:lnTo>
                <a:lnTo>
                  <a:pt x="868" y="11561"/>
                </a:lnTo>
                <a:lnTo>
                  <a:pt x="7423" y="12976"/>
                </a:lnTo>
                <a:lnTo>
                  <a:pt x="5154" y="14439"/>
                </a:lnTo>
                <a:close/>
              </a:path>
            </a:pathLst>
          </a:custGeom>
          <a:gradFill rotWithShape="1">
            <a:gsLst>
              <a:gs pos="0">
                <a:srgbClr val="FFFFFF">
                  <a:alpha val="0"/>
                </a:srgbClr>
              </a:gs>
              <a:gs pos="100000">
                <a:srgbClr val="3DB5F1"/>
              </a:gs>
            </a:gsLst>
            <a:lin ang="5400000" scaled="1"/>
          </a:gradFill>
          <a:ln w="9525">
            <a:noFill/>
            <a:miter lim="800000"/>
            <a:headEnd/>
            <a:tailEnd/>
          </a:ln>
        </p:spPr>
        <p:txBody>
          <a:bodyPr wrap="none" lIns="68586" tIns="34294" rIns="68586" bIns="34294" anchor="ctr"/>
          <a:lstStyle/>
          <a:p>
            <a:endParaRPr lang="en-US">
              <a:solidFill>
                <a:srgbClr val="000000"/>
              </a:solidFill>
            </a:endParaRPr>
          </a:p>
        </p:txBody>
      </p:sp>
      <p:sp>
        <p:nvSpPr>
          <p:cNvPr id="191568" name="Text Box 80"/>
          <p:cNvSpPr txBox="1">
            <a:spLocks noChangeArrowheads="1"/>
          </p:cNvSpPr>
          <p:nvPr/>
        </p:nvSpPr>
        <p:spPr bwMode="auto">
          <a:xfrm>
            <a:off x="2425934" y="2400302"/>
            <a:ext cx="749102" cy="207749"/>
          </a:xfrm>
          <a:prstGeom prst="rect">
            <a:avLst/>
          </a:prstGeom>
          <a:noFill/>
          <a:ln w="9525">
            <a:noFill/>
            <a:miter lim="800000"/>
            <a:headEnd/>
            <a:tailEnd/>
          </a:ln>
        </p:spPr>
        <p:txBody>
          <a:bodyPr wrap="none" lIns="68586" tIns="34294" rIns="68586" bIns="34294">
            <a:spAutoFit/>
          </a:bodyPr>
          <a:lstStyle/>
          <a:p>
            <a:pPr algn="ctr"/>
            <a:r>
              <a:rPr lang="en-US" sz="900" dirty="0">
                <a:solidFill>
                  <a:srgbClr val="FFFFFF"/>
                </a:solidFill>
              </a:rPr>
              <a:t>OOB reboot</a:t>
            </a:r>
          </a:p>
        </p:txBody>
      </p:sp>
      <p:sp>
        <p:nvSpPr>
          <p:cNvPr id="191569" name="Text Box 81"/>
          <p:cNvSpPr txBox="1">
            <a:spLocks noChangeArrowheads="1"/>
          </p:cNvSpPr>
          <p:nvPr/>
        </p:nvSpPr>
        <p:spPr bwMode="auto">
          <a:xfrm>
            <a:off x="2383063" y="1051323"/>
            <a:ext cx="869383" cy="205978"/>
          </a:xfrm>
          <a:prstGeom prst="rect">
            <a:avLst/>
          </a:prstGeom>
          <a:noFill/>
          <a:ln w="9525">
            <a:noFill/>
            <a:miter lim="800000"/>
            <a:headEnd/>
            <a:tailEnd/>
          </a:ln>
        </p:spPr>
        <p:txBody>
          <a:bodyPr wrap="none" lIns="68586" tIns="34294" rIns="68586" bIns="34294">
            <a:spAutoFit/>
          </a:bodyPr>
          <a:lstStyle/>
          <a:p>
            <a:pPr algn="ctr"/>
            <a:r>
              <a:rPr lang="en-US" sz="900">
                <a:solidFill>
                  <a:srgbClr val="FFFFFF"/>
                </a:solidFill>
              </a:rPr>
              <a:t>Boot from PXE</a:t>
            </a:r>
          </a:p>
        </p:txBody>
      </p:sp>
      <p:sp>
        <p:nvSpPr>
          <p:cNvPr id="191570" name="Text Box 82"/>
          <p:cNvSpPr txBox="1">
            <a:spLocks noChangeArrowheads="1"/>
          </p:cNvSpPr>
          <p:nvPr/>
        </p:nvSpPr>
        <p:spPr bwMode="auto">
          <a:xfrm>
            <a:off x="2360434" y="3543301"/>
            <a:ext cx="914638" cy="205979"/>
          </a:xfrm>
          <a:prstGeom prst="rect">
            <a:avLst/>
          </a:prstGeom>
          <a:noFill/>
          <a:ln w="9525">
            <a:noFill/>
            <a:miter lim="800000"/>
            <a:headEnd/>
            <a:tailEnd/>
          </a:ln>
        </p:spPr>
        <p:txBody>
          <a:bodyPr wrap="none" lIns="68586" tIns="34294" rIns="68586" bIns="34294">
            <a:spAutoFit/>
          </a:bodyPr>
          <a:lstStyle/>
          <a:p>
            <a:pPr algn="ctr"/>
            <a:r>
              <a:rPr lang="en-US" sz="900">
                <a:solidFill>
                  <a:srgbClr val="FFFFFF"/>
                </a:solidFill>
              </a:rPr>
              <a:t>Download VHD</a:t>
            </a:r>
          </a:p>
        </p:txBody>
      </p:sp>
      <p:sp>
        <p:nvSpPr>
          <p:cNvPr id="191571" name="Text Box 83"/>
          <p:cNvSpPr txBox="1">
            <a:spLocks noChangeArrowheads="1"/>
          </p:cNvSpPr>
          <p:nvPr/>
        </p:nvSpPr>
        <p:spPr bwMode="auto">
          <a:xfrm>
            <a:off x="2428515" y="3543302"/>
            <a:ext cx="786815" cy="207749"/>
          </a:xfrm>
          <a:prstGeom prst="rect">
            <a:avLst/>
          </a:prstGeom>
          <a:noFill/>
          <a:ln w="9525">
            <a:noFill/>
            <a:miter lim="800000"/>
            <a:headEnd/>
            <a:tailEnd/>
          </a:ln>
        </p:spPr>
        <p:txBody>
          <a:bodyPr wrap="none" lIns="68586" tIns="34294" rIns="68586" bIns="34294">
            <a:spAutoFit/>
          </a:bodyPr>
          <a:lstStyle/>
          <a:p>
            <a:pPr algn="ctr"/>
            <a:r>
              <a:rPr lang="en-US" sz="900" dirty="0">
                <a:solidFill>
                  <a:srgbClr val="FFFFFF"/>
                </a:solidFill>
              </a:rPr>
              <a:t>Inject drivers</a:t>
            </a:r>
          </a:p>
        </p:txBody>
      </p:sp>
      <p:sp>
        <p:nvSpPr>
          <p:cNvPr id="191572" name="Text Box 84"/>
          <p:cNvSpPr txBox="1">
            <a:spLocks noChangeArrowheads="1"/>
          </p:cNvSpPr>
          <p:nvPr/>
        </p:nvSpPr>
        <p:spPr bwMode="auto">
          <a:xfrm>
            <a:off x="1197446" y="1943101"/>
            <a:ext cx="630640" cy="346259"/>
          </a:xfrm>
          <a:prstGeom prst="rect">
            <a:avLst/>
          </a:prstGeom>
          <a:noFill/>
          <a:ln w="9525">
            <a:noFill/>
            <a:miter lim="800000"/>
            <a:headEnd/>
            <a:tailEnd/>
          </a:ln>
        </p:spPr>
        <p:txBody>
          <a:bodyPr wrap="none" lIns="68586" tIns="34294" rIns="68586" bIns="34294">
            <a:spAutoFit/>
          </a:bodyPr>
          <a:lstStyle/>
          <a:p>
            <a:pPr algn="r"/>
            <a:r>
              <a:rPr lang="en-US" sz="900" dirty="0">
                <a:solidFill>
                  <a:srgbClr val="FFFFFF"/>
                </a:solidFill>
              </a:rPr>
              <a:t>Authorize</a:t>
            </a:r>
          </a:p>
          <a:p>
            <a:pPr algn="r"/>
            <a:r>
              <a:rPr lang="en-US" sz="900" dirty="0">
                <a:solidFill>
                  <a:srgbClr val="FFFFFF"/>
                </a:solidFill>
              </a:rPr>
              <a:t>PXE boot</a:t>
            </a:r>
          </a:p>
        </p:txBody>
      </p:sp>
      <p:sp>
        <p:nvSpPr>
          <p:cNvPr id="191573" name="Text Box 85"/>
          <p:cNvSpPr txBox="1">
            <a:spLocks noChangeArrowheads="1"/>
          </p:cNvSpPr>
          <p:nvPr/>
        </p:nvSpPr>
        <p:spPr bwMode="auto">
          <a:xfrm>
            <a:off x="4071808" y="1485900"/>
            <a:ext cx="1645872" cy="484748"/>
          </a:xfrm>
          <a:prstGeom prst="rect">
            <a:avLst/>
          </a:prstGeom>
          <a:noFill/>
          <a:ln w="9525">
            <a:noFill/>
            <a:miter lim="800000"/>
            <a:headEnd/>
            <a:tailEnd/>
          </a:ln>
        </p:spPr>
        <p:txBody>
          <a:bodyPr lIns="68586" tIns="34294" rIns="68586" bIns="34294">
            <a:spAutoFit/>
          </a:bodyPr>
          <a:lstStyle/>
          <a:p>
            <a:pPr algn="ctr"/>
            <a:r>
              <a:rPr lang="en-US" sz="900" dirty="0">
                <a:solidFill>
                  <a:srgbClr val="FFFFFF"/>
                </a:solidFill>
              </a:rPr>
              <a:t>Run generic command execution scripts and configure partitions</a:t>
            </a:r>
          </a:p>
        </p:txBody>
      </p:sp>
      <p:sp>
        <p:nvSpPr>
          <p:cNvPr id="191574" name="Text Box 86"/>
          <p:cNvSpPr txBox="1">
            <a:spLocks noChangeArrowheads="1"/>
          </p:cNvSpPr>
          <p:nvPr/>
        </p:nvSpPr>
        <p:spPr bwMode="auto">
          <a:xfrm>
            <a:off x="6015414" y="1714501"/>
            <a:ext cx="1062314" cy="346259"/>
          </a:xfrm>
          <a:prstGeom prst="rect">
            <a:avLst/>
          </a:prstGeom>
          <a:noFill/>
          <a:ln w="9525">
            <a:noFill/>
            <a:miter lim="800000"/>
            <a:headEnd/>
            <a:tailEnd/>
          </a:ln>
        </p:spPr>
        <p:txBody>
          <a:bodyPr lIns="68586" tIns="34294" rIns="68586" bIns="34294">
            <a:spAutoFit/>
          </a:bodyPr>
          <a:lstStyle/>
          <a:p>
            <a:pPr algn="ctr"/>
            <a:r>
              <a:rPr lang="en-US" sz="900" dirty="0">
                <a:solidFill>
                  <a:srgbClr val="FFFFFF"/>
                </a:solidFill>
              </a:rPr>
              <a:t>Customize and domain join</a:t>
            </a:r>
          </a:p>
        </p:txBody>
      </p:sp>
      <p:sp>
        <p:nvSpPr>
          <p:cNvPr id="191575" name="Text Box 87"/>
          <p:cNvSpPr txBox="1">
            <a:spLocks noChangeArrowheads="1"/>
          </p:cNvSpPr>
          <p:nvPr/>
        </p:nvSpPr>
        <p:spPr bwMode="auto">
          <a:xfrm>
            <a:off x="6015414" y="2914651"/>
            <a:ext cx="1062314" cy="205979"/>
          </a:xfrm>
          <a:prstGeom prst="rect">
            <a:avLst/>
          </a:prstGeom>
          <a:noFill/>
          <a:ln w="9525">
            <a:noFill/>
            <a:miter lim="800000"/>
            <a:headEnd/>
            <a:tailEnd/>
          </a:ln>
        </p:spPr>
        <p:txBody>
          <a:bodyPr lIns="68586" tIns="34294" rIns="68586" bIns="34294">
            <a:spAutoFit/>
          </a:bodyPr>
          <a:lstStyle/>
          <a:p>
            <a:pPr algn="ctr"/>
            <a:r>
              <a:rPr lang="en-US" sz="900">
                <a:solidFill>
                  <a:srgbClr val="FFFFFF"/>
                </a:solidFill>
              </a:rPr>
              <a:t>Enable Hyper-V</a:t>
            </a:r>
          </a:p>
        </p:txBody>
      </p:sp>
      <p:sp>
        <p:nvSpPr>
          <p:cNvPr id="191576" name="Text Box 88"/>
          <p:cNvSpPr txBox="1">
            <a:spLocks noChangeArrowheads="1"/>
          </p:cNvSpPr>
          <p:nvPr/>
        </p:nvSpPr>
        <p:spPr bwMode="auto">
          <a:xfrm>
            <a:off x="2305650" y="1051323"/>
            <a:ext cx="1028968" cy="205978"/>
          </a:xfrm>
          <a:prstGeom prst="rect">
            <a:avLst/>
          </a:prstGeom>
          <a:noFill/>
          <a:ln w="9525">
            <a:noFill/>
            <a:miter lim="800000"/>
            <a:headEnd/>
            <a:tailEnd/>
          </a:ln>
        </p:spPr>
        <p:txBody>
          <a:bodyPr wrap="none" lIns="68586" tIns="34294" rIns="68586" bIns="34294">
            <a:spAutoFit/>
          </a:bodyPr>
          <a:lstStyle/>
          <a:p>
            <a:pPr algn="ctr"/>
            <a:r>
              <a:rPr lang="en-US" sz="900">
                <a:solidFill>
                  <a:srgbClr val="FFFFFF"/>
                </a:solidFill>
              </a:rPr>
              <a:t>Download WINPE</a:t>
            </a:r>
          </a:p>
        </p:txBody>
      </p:sp>
      <p:grpSp>
        <p:nvGrpSpPr>
          <p:cNvPr id="43052" name="Group 59"/>
          <p:cNvGrpSpPr>
            <a:grpSpLocks/>
          </p:cNvGrpSpPr>
          <p:nvPr/>
        </p:nvGrpSpPr>
        <p:grpSpPr bwMode="auto">
          <a:xfrm>
            <a:off x="7201586" y="2628901"/>
            <a:ext cx="1942415" cy="1369219"/>
            <a:chOff x="8110588" y="395698"/>
            <a:chExt cx="3564048" cy="2721768"/>
          </a:xfrm>
        </p:grpSpPr>
        <p:sp>
          <p:nvSpPr>
            <p:cNvPr id="43057" name="AutoShape 33"/>
            <p:cNvSpPr>
              <a:spLocks noChangeArrowheads="1"/>
            </p:cNvSpPr>
            <p:nvPr/>
          </p:nvSpPr>
          <p:spPr bwMode="auto">
            <a:xfrm>
              <a:off x="8110588" y="999742"/>
              <a:ext cx="2925080" cy="2117724"/>
            </a:xfrm>
            <a:prstGeom prst="roundRect">
              <a:avLst>
                <a:gd name="adj" fmla="val 7972"/>
              </a:avLst>
            </a:prstGeom>
            <a:noFill/>
            <a:ln w="38100">
              <a:solidFill>
                <a:schemeClr val="bg1"/>
              </a:solidFill>
              <a:prstDash val="sysDot"/>
              <a:round/>
              <a:headEnd/>
              <a:tailEnd/>
            </a:ln>
          </p:spPr>
          <p:txBody>
            <a:bodyPr wrap="none" anchor="ctr"/>
            <a:lstStyle/>
            <a:p>
              <a:endParaRPr lang="en-US">
                <a:solidFill>
                  <a:srgbClr val="000000"/>
                </a:solidFill>
              </a:endParaRPr>
            </a:p>
          </p:txBody>
        </p:sp>
        <p:pic>
          <p:nvPicPr>
            <p:cNvPr id="43058" name="Picture 61"/>
            <p:cNvPicPr>
              <a:picLocks noChangeAspect="1"/>
            </p:cNvPicPr>
            <p:nvPr/>
          </p:nvPicPr>
          <p:blipFill>
            <a:blip r:embed="rId9" cstate="print"/>
            <a:srcRect/>
            <a:stretch>
              <a:fillRect/>
            </a:stretch>
          </p:blipFill>
          <p:spPr bwMode="auto">
            <a:xfrm>
              <a:off x="10396698" y="395698"/>
              <a:ext cx="1277938" cy="1208088"/>
            </a:xfrm>
            <a:prstGeom prst="rect">
              <a:avLst/>
            </a:prstGeom>
            <a:noFill/>
            <a:ln w="9525">
              <a:noFill/>
              <a:miter lim="800000"/>
              <a:headEnd/>
              <a:tailEnd/>
            </a:ln>
          </p:spPr>
        </p:pic>
      </p:grpSp>
      <p:grpSp>
        <p:nvGrpSpPr>
          <p:cNvPr id="11" name="Group 62"/>
          <p:cNvGrpSpPr>
            <a:grpSpLocks/>
          </p:cNvGrpSpPr>
          <p:nvPr/>
        </p:nvGrpSpPr>
        <p:grpSpPr bwMode="auto">
          <a:xfrm>
            <a:off x="7171217" y="3086101"/>
            <a:ext cx="911065" cy="746482"/>
            <a:chOff x="1095" y="3024"/>
            <a:chExt cx="1020" cy="837"/>
          </a:xfrm>
        </p:grpSpPr>
        <p:sp>
          <p:nvSpPr>
            <p:cNvPr id="43055" name="Text Box 14"/>
            <p:cNvSpPr txBox="1">
              <a:spLocks noChangeArrowheads="1"/>
            </p:cNvSpPr>
            <p:nvPr/>
          </p:nvSpPr>
          <p:spPr bwMode="auto">
            <a:xfrm>
              <a:off x="1095" y="3619"/>
              <a:ext cx="1020" cy="242"/>
            </a:xfrm>
            <a:prstGeom prst="rect">
              <a:avLst/>
            </a:prstGeom>
            <a:noFill/>
            <a:ln w="9525" algn="ctr">
              <a:noFill/>
              <a:miter lim="800000"/>
              <a:headEnd/>
              <a:tailEnd/>
            </a:ln>
          </p:spPr>
          <p:txBody>
            <a:bodyPr wrap="none">
              <a:spAutoFit/>
            </a:bodyPr>
            <a:lstStyle/>
            <a:p>
              <a:pPr algn="ctr"/>
              <a:r>
                <a:rPr lang="en-US" sz="800" b="1" dirty="0">
                  <a:solidFill>
                    <a:srgbClr val="FFFFFF"/>
                  </a:solidFill>
                </a:rPr>
                <a:t>Hyper-V server</a:t>
              </a:r>
            </a:p>
          </p:txBody>
        </p:sp>
        <p:pic>
          <p:nvPicPr>
            <p:cNvPr id="43056" name="Picture 2"/>
            <p:cNvPicPr>
              <a:picLocks noChangeAspect="1" noChangeArrowheads="1"/>
            </p:cNvPicPr>
            <p:nvPr/>
          </p:nvPicPr>
          <p:blipFill>
            <a:blip r:embed="rId4" cstate="print"/>
            <a:srcRect/>
            <a:stretch>
              <a:fillRect/>
            </a:stretch>
          </p:blipFill>
          <p:spPr bwMode="auto">
            <a:xfrm>
              <a:off x="1369" y="3024"/>
              <a:ext cx="470" cy="649"/>
            </a:xfrm>
            <a:prstGeom prst="rect">
              <a:avLst/>
            </a:prstGeom>
            <a:noFill/>
            <a:ln w="9525">
              <a:noFill/>
              <a:miter lim="800000"/>
              <a:headEnd/>
              <a:tailEnd/>
            </a:ln>
          </p:spPr>
        </p:pic>
      </p:grpSp>
      <p:sp>
        <p:nvSpPr>
          <p:cNvPr id="43054" name="Text Box 14"/>
          <p:cNvSpPr txBox="1">
            <a:spLocks noChangeArrowheads="1"/>
          </p:cNvSpPr>
          <p:nvPr/>
        </p:nvSpPr>
        <p:spPr bwMode="auto">
          <a:xfrm>
            <a:off x="8402652" y="2503886"/>
            <a:ext cx="713356" cy="196206"/>
          </a:xfrm>
          <a:prstGeom prst="rect">
            <a:avLst/>
          </a:prstGeom>
          <a:noFill/>
          <a:ln w="9525" algn="ctr">
            <a:noFill/>
            <a:miter lim="800000"/>
            <a:headEnd/>
            <a:tailEnd/>
          </a:ln>
        </p:spPr>
        <p:txBody>
          <a:bodyPr wrap="none" lIns="68586" tIns="34294" rIns="68586" bIns="34294">
            <a:spAutoFit/>
          </a:bodyPr>
          <a:lstStyle/>
          <a:p>
            <a:pPr algn="ctr"/>
            <a:r>
              <a:rPr lang="en-US" sz="800" b="1" dirty="0">
                <a:solidFill>
                  <a:srgbClr val="FFFFFF"/>
                </a:solidFill>
              </a:rPr>
              <a:t>Host Group</a:t>
            </a:r>
          </a:p>
        </p:txBody>
      </p:sp>
      <p:grpSp>
        <p:nvGrpSpPr>
          <p:cNvPr id="43091" name="Group 83"/>
          <p:cNvGrpSpPr>
            <a:grpSpLocks/>
          </p:cNvGrpSpPr>
          <p:nvPr/>
        </p:nvGrpSpPr>
        <p:grpSpPr bwMode="auto">
          <a:xfrm>
            <a:off x="7180148" y="2501505"/>
            <a:ext cx="1963852" cy="1496615"/>
            <a:chOff x="6029" y="2101"/>
            <a:chExt cx="1649" cy="1257"/>
          </a:xfrm>
        </p:grpSpPr>
        <p:grpSp>
          <p:nvGrpSpPr>
            <p:cNvPr id="43081" name="Group 62"/>
            <p:cNvGrpSpPr>
              <a:grpSpLocks/>
            </p:cNvGrpSpPr>
            <p:nvPr/>
          </p:nvGrpSpPr>
          <p:grpSpPr bwMode="auto">
            <a:xfrm>
              <a:off x="6653" y="2597"/>
              <a:ext cx="765" cy="623"/>
              <a:chOff x="1094" y="3024"/>
              <a:chExt cx="1020" cy="830"/>
            </a:xfrm>
          </p:grpSpPr>
          <p:sp>
            <p:nvSpPr>
              <p:cNvPr id="43082" name="Text Box 14"/>
              <p:cNvSpPr txBox="1">
                <a:spLocks noChangeArrowheads="1"/>
              </p:cNvSpPr>
              <p:nvPr/>
            </p:nvSpPr>
            <p:spPr bwMode="auto">
              <a:xfrm>
                <a:off x="1094" y="3613"/>
                <a:ext cx="1020" cy="241"/>
              </a:xfrm>
              <a:prstGeom prst="rect">
                <a:avLst/>
              </a:prstGeom>
              <a:noFill/>
              <a:ln w="9525" algn="ctr">
                <a:noFill/>
                <a:miter lim="800000"/>
                <a:headEnd/>
                <a:tailEnd/>
              </a:ln>
            </p:spPr>
            <p:txBody>
              <a:bodyPr wrap="none">
                <a:spAutoFit/>
              </a:bodyPr>
              <a:lstStyle/>
              <a:p>
                <a:pPr algn="ctr"/>
                <a:r>
                  <a:rPr lang="en-US" sz="800" b="1" dirty="0">
                    <a:solidFill>
                      <a:srgbClr val="FFFFFF"/>
                    </a:solidFill>
                  </a:rPr>
                  <a:t>Hyper-V server</a:t>
                </a:r>
              </a:p>
            </p:txBody>
          </p:sp>
          <p:pic>
            <p:nvPicPr>
              <p:cNvPr id="43083" name="Picture 2"/>
              <p:cNvPicPr>
                <a:picLocks noChangeAspect="1" noChangeArrowheads="1"/>
              </p:cNvPicPr>
              <p:nvPr/>
            </p:nvPicPr>
            <p:blipFill>
              <a:blip r:embed="rId4" cstate="print"/>
              <a:srcRect/>
              <a:stretch>
                <a:fillRect/>
              </a:stretch>
            </p:blipFill>
            <p:spPr bwMode="auto">
              <a:xfrm>
                <a:off x="1369" y="3024"/>
                <a:ext cx="470" cy="649"/>
              </a:xfrm>
              <a:prstGeom prst="rect">
                <a:avLst/>
              </a:prstGeom>
              <a:noFill/>
              <a:ln w="9525">
                <a:noFill/>
                <a:miter lim="800000"/>
                <a:headEnd/>
                <a:tailEnd/>
              </a:ln>
            </p:spPr>
          </p:pic>
        </p:grpSp>
        <p:grpSp>
          <p:nvGrpSpPr>
            <p:cNvPr id="43084" name="Group 59"/>
            <p:cNvGrpSpPr>
              <a:grpSpLocks/>
            </p:cNvGrpSpPr>
            <p:nvPr/>
          </p:nvGrpSpPr>
          <p:grpSpPr bwMode="auto">
            <a:xfrm>
              <a:off x="6047" y="2208"/>
              <a:ext cx="1631" cy="1150"/>
              <a:chOff x="8110588" y="395698"/>
              <a:chExt cx="3564048" cy="2721768"/>
            </a:xfrm>
          </p:grpSpPr>
          <p:sp>
            <p:nvSpPr>
              <p:cNvPr id="43085" name="AutoShape 33"/>
              <p:cNvSpPr>
                <a:spLocks noChangeArrowheads="1"/>
              </p:cNvSpPr>
              <p:nvPr/>
            </p:nvSpPr>
            <p:spPr bwMode="auto">
              <a:xfrm>
                <a:off x="8110588" y="999742"/>
                <a:ext cx="2925080" cy="2117724"/>
              </a:xfrm>
              <a:prstGeom prst="roundRect">
                <a:avLst>
                  <a:gd name="adj" fmla="val 7972"/>
                </a:avLst>
              </a:prstGeom>
              <a:noFill/>
              <a:ln w="38100">
                <a:solidFill>
                  <a:schemeClr val="bg1"/>
                </a:solidFill>
                <a:prstDash val="sysDot"/>
                <a:round/>
                <a:headEnd/>
                <a:tailEnd/>
              </a:ln>
            </p:spPr>
            <p:txBody>
              <a:bodyPr wrap="none" anchor="ctr"/>
              <a:lstStyle/>
              <a:p>
                <a:endParaRPr lang="en-US">
                  <a:solidFill>
                    <a:srgbClr val="000000"/>
                  </a:solidFill>
                </a:endParaRPr>
              </a:p>
            </p:txBody>
          </p:sp>
          <p:pic>
            <p:nvPicPr>
              <p:cNvPr id="43086" name="Picture 61"/>
              <p:cNvPicPr>
                <a:picLocks noChangeAspect="1"/>
              </p:cNvPicPr>
              <p:nvPr/>
            </p:nvPicPr>
            <p:blipFill>
              <a:blip r:embed="rId9" cstate="print"/>
              <a:srcRect/>
              <a:stretch>
                <a:fillRect/>
              </a:stretch>
            </p:blipFill>
            <p:spPr bwMode="auto">
              <a:xfrm>
                <a:off x="10396698" y="395698"/>
                <a:ext cx="1277938" cy="1208088"/>
              </a:xfrm>
              <a:prstGeom prst="rect">
                <a:avLst/>
              </a:prstGeom>
              <a:noFill/>
              <a:ln w="9525">
                <a:noFill/>
                <a:miter lim="800000"/>
                <a:headEnd/>
                <a:tailEnd/>
              </a:ln>
            </p:spPr>
          </p:pic>
        </p:grpSp>
        <p:grpSp>
          <p:nvGrpSpPr>
            <p:cNvPr id="2" name="Group 62"/>
            <p:cNvGrpSpPr>
              <a:grpSpLocks/>
            </p:cNvGrpSpPr>
            <p:nvPr/>
          </p:nvGrpSpPr>
          <p:grpSpPr bwMode="auto">
            <a:xfrm>
              <a:off x="6029" y="2597"/>
              <a:ext cx="765" cy="623"/>
              <a:chOff x="1094" y="3024"/>
              <a:chExt cx="1020" cy="830"/>
            </a:xfrm>
          </p:grpSpPr>
          <p:sp>
            <p:nvSpPr>
              <p:cNvPr id="43088" name="Text Box 14"/>
              <p:cNvSpPr txBox="1">
                <a:spLocks noChangeArrowheads="1"/>
              </p:cNvSpPr>
              <p:nvPr/>
            </p:nvSpPr>
            <p:spPr bwMode="auto">
              <a:xfrm>
                <a:off x="1094" y="3613"/>
                <a:ext cx="1020" cy="241"/>
              </a:xfrm>
              <a:prstGeom prst="rect">
                <a:avLst/>
              </a:prstGeom>
              <a:noFill/>
              <a:ln w="9525" algn="ctr">
                <a:noFill/>
                <a:miter lim="800000"/>
                <a:headEnd/>
                <a:tailEnd/>
              </a:ln>
            </p:spPr>
            <p:txBody>
              <a:bodyPr wrap="none">
                <a:spAutoFit/>
              </a:bodyPr>
              <a:lstStyle/>
              <a:p>
                <a:pPr algn="ctr"/>
                <a:r>
                  <a:rPr lang="en-US" sz="800" b="1" dirty="0">
                    <a:solidFill>
                      <a:srgbClr val="FFFFFF"/>
                    </a:solidFill>
                  </a:rPr>
                  <a:t>Hyper-V server</a:t>
                </a:r>
              </a:p>
            </p:txBody>
          </p:sp>
          <p:pic>
            <p:nvPicPr>
              <p:cNvPr id="43089" name="Picture 2"/>
              <p:cNvPicPr>
                <a:picLocks noChangeAspect="1" noChangeArrowheads="1"/>
              </p:cNvPicPr>
              <p:nvPr/>
            </p:nvPicPr>
            <p:blipFill>
              <a:blip r:embed="rId4" cstate="print"/>
              <a:srcRect/>
              <a:stretch>
                <a:fillRect/>
              </a:stretch>
            </p:blipFill>
            <p:spPr bwMode="auto">
              <a:xfrm>
                <a:off x="1369" y="3024"/>
                <a:ext cx="470" cy="649"/>
              </a:xfrm>
              <a:prstGeom prst="rect">
                <a:avLst/>
              </a:prstGeom>
              <a:noFill/>
              <a:ln w="9525">
                <a:noFill/>
                <a:miter lim="800000"/>
                <a:headEnd/>
                <a:tailEnd/>
              </a:ln>
            </p:spPr>
          </p:pic>
        </p:grpSp>
        <p:sp>
          <p:nvSpPr>
            <p:cNvPr id="43090" name="Text Box 14"/>
            <p:cNvSpPr txBox="1">
              <a:spLocks noChangeArrowheads="1"/>
            </p:cNvSpPr>
            <p:nvPr/>
          </p:nvSpPr>
          <p:spPr bwMode="auto">
            <a:xfrm>
              <a:off x="7051" y="2101"/>
              <a:ext cx="623" cy="181"/>
            </a:xfrm>
            <a:prstGeom prst="rect">
              <a:avLst/>
            </a:prstGeom>
            <a:noFill/>
            <a:ln w="9525" algn="ctr">
              <a:noFill/>
              <a:miter lim="800000"/>
              <a:headEnd/>
              <a:tailEnd/>
            </a:ln>
          </p:spPr>
          <p:txBody>
            <a:bodyPr wrap="none">
              <a:spAutoFit/>
            </a:bodyPr>
            <a:lstStyle/>
            <a:p>
              <a:pPr algn="ctr"/>
              <a:r>
                <a:rPr lang="en-US" sz="800" b="1" dirty="0">
                  <a:solidFill>
                    <a:srgbClr val="FFFFFF"/>
                  </a:solidFill>
                </a:rPr>
                <a:t>Host Group</a:t>
              </a:r>
            </a:p>
          </p:txBody>
        </p:sp>
      </p:grpSp>
      <p:grpSp>
        <p:nvGrpSpPr>
          <p:cNvPr id="43092" name="Group 57"/>
          <p:cNvGrpSpPr>
            <a:grpSpLocks/>
          </p:cNvGrpSpPr>
          <p:nvPr/>
        </p:nvGrpSpPr>
        <p:grpSpPr bwMode="auto">
          <a:xfrm>
            <a:off x="1662183" y="2559844"/>
            <a:ext cx="771259" cy="741146"/>
            <a:chOff x="1166" y="1968"/>
            <a:chExt cx="868" cy="838"/>
          </a:xfrm>
        </p:grpSpPr>
        <p:sp>
          <p:nvSpPr>
            <p:cNvPr id="43093" name="Text Box 14"/>
            <p:cNvSpPr txBox="1">
              <a:spLocks noChangeArrowheads="1"/>
            </p:cNvSpPr>
            <p:nvPr/>
          </p:nvSpPr>
          <p:spPr bwMode="auto">
            <a:xfrm>
              <a:off x="1166" y="2562"/>
              <a:ext cx="868" cy="244"/>
            </a:xfrm>
            <a:prstGeom prst="rect">
              <a:avLst/>
            </a:prstGeom>
            <a:noFill/>
            <a:ln w="9525" algn="ctr">
              <a:noFill/>
              <a:miter lim="800000"/>
              <a:headEnd/>
              <a:tailEnd/>
            </a:ln>
          </p:spPr>
          <p:txBody>
            <a:bodyPr wrap="none">
              <a:spAutoFit/>
            </a:bodyPr>
            <a:lstStyle/>
            <a:p>
              <a:pPr algn="ctr"/>
              <a:r>
                <a:rPr lang="en-US" sz="800" b="1" dirty="0">
                  <a:solidFill>
                    <a:srgbClr val="FFFFFF"/>
                  </a:solidFill>
                </a:rPr>
                <a:t>VMM server</a:t>
              </a:r>
            </a:p>
          </p:txBody>
        </p:sp>
        <p:pic>
          <p:nvPicPr>
            <p:cNvPr id="43094" name="Picture 2"/>
            <p:cNvPicPr>
              <a:picLocks noChangeAspect="1" noChangeArrowheads="1"/>
            </p:cNvPicPr>
            <p:nvPr/>
          </p:nvPicPr>
          <p:blipFill>
            <a:blip r:embed="rId4" cstate="print"/>
            <a:srcRect/>
            <a:stretch>
              <a:fillRect/>
            </a:stretch>
          </p:blipFill>
          <p:spPr bwMode="auto">
            <a:xfrm>
              <a:off x="1369" y="1968"/>
              <a:ext cx="470" cy="649"/>
            </a:xfrm>
            <a:prstGeom prst="rect">
              <a:avLst/>
            </a:prstGeom>
            <a:noFill/>
            <a:ln w="9525">
              <a:noFill/>
              <a:miter lim="800000"/>
              <a:headEnd/>
              <a:tailEnd/>
            </a:ln>
          </p:spPr>
        </p:pic>
      </p:grpSp>
      <p:sp>
        <p:nvSpPr>
          <p:cNvPr id="43097" name="AutoShape 89"/>
          <p:cNvSpPr>
            <a:spLocks noChangeArrowheads="1"/>
          </p:cNvSpPr>
          <p:nvPr/>
        </p:nvSpPr>
        <p:spPr bwMode="auto">
          <a:xfrm>
            <a:off x="3200044" y="4857750"/>
            <a:ext cx="3029739" cy="114300"/>
          </a:xfrm>
          <a:prstGeom prst="roundRect">
            <a:avLst>
              <a:gd name="adj" fmla="val 39583"/>
            </a:avLst>
          </a:prstGeom>
          <a:solidFill>
            <a:srgbClr val="3DB5F1"/>
          </a:solidFill>
          <a:ln w="25400">
            <a:noFill/>
            <a:round/>
            <a:headEnd/>
            <a:tailEnd/>
          </a:ln>
          <a:effectLst/>
        </p:spPr>
        <p:txBody>
          <a:bodyPr wrap="none" lIns="68586" tIns="34294" rIns="68586" bIns="34294" anchor="ctr"/>
          <a:lstStyle/>
          <a:p>
            <a:endParaRPr lang="en-US">
              <a:solidFill>
                <a:srgbClr val="000000"/>
              </a:solidFill>
            </a:endParaRPr>
          </a:p>
        </p:txBody>
      </p:sp>
      <p:grpSp>
        <p:nvGrpSpPr>
          <p:cNvPr id="43121" name="Group 113"/>
          <p:cNvGrpSpPr>
            <a:grpSpLocks/>
          </p:cNvGrpSpPr>
          <p:nvPr/>
        </p:nvGrpSpPr>
        <p:grpSpPr bwMode="auto">
          <a:xfrm>
            <a:off x="3314374" y="1657351"/>
            <a:ext cx="2743915" cy="2110979"/>
            <a:chOff x="2447" y="4464"/>
            <a:chExt cx="2304" cy="1773"/>
          </a:xfrm>
        </p:grpSpPr>
        <p:sp>
          <p:nvSpPr>
            <p:cNvPr id="43111" name="Text Box 14"/>
            <p:cNvSpPr txBox="1">
              <a:spLocks noChangeArrowheads="1"/>
            </p:cNvSpPr>
            <p:nvPr/>
          </p:nvSpPr>
          <p:spPr bwMode="auto">
            <a:xfrm>
              <a:off x="3345" y="5856"/>
              <a:ext cx="995" cy="220"/>
            </a:xfrm>
            <a:prstGeom prst="rect">
              <a:avLst/>
            </a:prstGeom>
            <a:noFill/>
            <a:ln w="9525" algn="ctr">
              <a:noFill/>
              <a:miter lim="800000"/>
              <a:headEnd/>
              <a:tailEnd/>
            </a:ln>
          </p:spPr>
          <p:txBody>
            <a:bodyPr wrap="none">
              <a:spAutoFit/>
            </a:bodyPr>
            <a:lstStyle/>
            <a:p>
              <a:pPr algn="ctr"/>
              <a:r>
                <a:rPr lang="en-US" sz="1100" b="1" dirty="0">
                  <a:solidFill>
                    <a:srgbClr val="FFFFFF"/>
                  </a:solidFill>
                </a:rPr>
                <a:t>Hyper-V server</a:t>
              </a:r>
            </a:p>
          </p:txBody>
        </p:sp>
        <p:pic>
          <p:nvPicPr>
            <p:cNvPr id="43112" name="Picture 2"/>
            <p:cNvPicPr>
              <a:picLocks noChangeAspect="1" noChangeArrowheads="1"/>
            </p:cNvPicPr>
            <p:nvPr/>
          </p:nvPicPr>
          <p:blipFill>
            <a:blip r:embed="rId4" cstate="print"/>
            <a:srcRect/>
            <a:stretch>
              <a:fillRect/>
            </a:stretch>
          </p:blipFill>
          <p:spPr bwMode="auto">
            <a:xfrm>
              <a:off x="3545" y="5159"/>
              <a:ext cx="594" cy="822"/>
            </a:xfrm>
            <a:prstGeom prst="rect">
              <a:avLst/>
            </a:prstGeom>
            <a:noFill/>
            <a:ln w="9525">
              <a:noFill/>
              <a:miter lim="800000"/>
              <a:headEnd/>
              <a:tailEnd/>
            </a:ln>
          </p:spPr>
        </p:pic>
        <p:grpSp>
          <p:nvGrpSpPr>
            <p:cNvPr id="43113" name="Group 59"/>
            <p:cNvGrpSpPr>
              <a:grpSpLocks/>
            </p:cNvGrpSpPr>
            <p:nvPr/>
          </p:nvGrpSpPr>
          <p:grpSpPr bwMode="auto">
            <a:xfrm>
              <a:off x="2447" y="4612"/>
              <a:ext cx="2304" cy="1625"/>
              <a:chOff x="8110588" y="395698"/>
              <a:chExt cx="3564048" cy="2721768"/>
            </a:xfrm>
          </p:grpSpPr>
          <p:sp>
            <p:nvSpPr>
              <p:cNvPr id="43114" name="AutoShape 33"/>
              <p:cNvSpPr>
                <a:spLocks noChangeArrowheads="1"/>
              </p:cNvSpPr>
              <p:nvPr/>
            </p:nvSpPr>
            <p:spPr bwMode="auto">
              <a:xfrm>
                <a:off x="8110588" y="999742"/>
                <a:ext cx="2925080" cy="2117724"/>
              </a:xfrm>
              <a:prstGeom prst="roundRect">
                <a:avLst>
                  <a:gd name="adj" fmla="val 7972"/>
                </a:avLst>
              </a:prstGeom>
              <a:noFill/>
              <a:ln w="38100">
                <a:solidFill>
                  <a:schemeClr val="bg1"/>
                </a:solidFill>
                <a:prstDash val="sysDot"/>
                <a:round/>
                <a:headEnd/>
                <a:tailEnd/>
              </a:ln>
            </p:spPr>
            <p:txBody>
              <a:bodyPr wrap="none" anchor="ctr"/>
              <a:lstStyle/>
              <a:p>
                <a:endParaRPr lang="en-US">
                  <a:solidFill>
                    <a:srgbClr val="000000"/>
                  </a:solidFill>
                </a:endParaRPr>
              </a:p>
            </p:txBody>
          </p:sp>
          <p:pic>
            <p:nvPicPr>
              <p:cNvPr id="43115" name="Picture 61"/>
              <p:cNvPicPr>
                <a:picLocks noChangeAspect="1"/>
              </p:cNvPicPr>
              <p:nvPr/>
            </p:nvPicPr>
            <p:blipFill>
              <a:blip r:embed="rId9" cstate="print"/>
              <a:srcRect/>
              <a:stretch>
                <a:fillRect/>
              </a:stretch>
            </p:blipFill>
            <p:spPr bwMode="auto">
              <a:xfrm>
                <a:off x="10396698" y="395698"/>
                <a:ext cx="1277938" cy="1208088"/>
              </a:xfrm>
              <a:prstGeom prst="rect">
                <a:avLst/>
              </a:prstGeom>
              <a:noFill/>
              <a:ln w="9525">
                <a:noFill/>
                <a:miter lim="800000"/>
                <a:headEnd/>
                <a:tailEnd/>
              </a:ln>
            </p:spPr>
          </p:pic>
        </p:grpSp>
        <p:sp>
          <p:nvSpPr>
            <p:cNvPr id="43117" name="Text Box 14"/>
            <p:cNvSpPr txBox="1">
              <a:spLocks noChangeArrowheads="1"/>
            </p:cNvSpPr>
            <p:nvPr/>
          </p:nvSpPr>
          <p:spPr bwMode="auto">
            <a:xfrm>
              <a:off x="2465" y="5856"/>
              <a:ext cx="995" cy="220"/>
            </a:xfrm>
            <a:prstGeom prst="rect">
              <a:avLst/>
            </a:prstGeom>
            <a:noFill/>
            <a:ln w="9525" algn="ctr">
              <a:noFill/>
              <a:miter lim="800000"/>
              <a:headEnd/>
              <a:tailEnd/>
            </a:ln>
          </p:spPr>
          <p:txBody>
            <a:bodyPr wrap="none">
              <a:spAutoFit/>
            </a:bodyPr>
            <a:lstStyle/>
            <a:p>
              <a:pPr algn="ctr"/>
              <a:r>
                <a:rPr lang="en-US" sz="1100" b="1" dirty="0">
                  <a:solidFill>
                    <a:srgbClr val="FFFFFF"/>
                  </a:solidFill>
                </a:rPr>
                <a:t>Hyper-V server</a:t>
              </a:r>
            </a:p>
          </p:txBody>
        </p:sp>
        <p:pic>
          <p:nvPicPr>
            <p:cNvPr id="43118" name="Picture 2"/>
            <p:cNvPicPr>
              <a:picLocks noChangeAspect="1" noChangeArrowheads="1"/>
            </p:cNvPicPr>
            <p:nvPr/>
          </p:nvPicPr>
          <p:blipFill>
            <a:blip r:embed="rId4" cstate="print"/>
            <a:srcRect/>
            <a:stretch>
              <a:fillRect/>
            </a:stretch>
          </p:blipFill>
          <p:spPr bwMode="auto">
            <a:xfrm>
              <a:off x="2664" y="5160"/>
              <a:ext cx="594" cy="820"/>
            </a:xfrm>
            <a:prstGeom prst="rect">
              <a:avLst/>
            </a:prstGeom>
            <a:noFill/>
            <a:ln w="9525">
              <a:noFill/>
              <a:miter lim="800000"/>
              <a:headEnd/>
              <a:tailEnd/>
            </a:ln>
          </p:spPr>
        </p:pic>
        <p:sp>
          <p:nvSpPr>
            <p:cNvPr id="43119" name="Text Box 14"/>
            <p:cNvSpPr txBox="1">
              <a:spLocks noChangeArrowheads="1"/>
            </p:cNvSpPr>
            <p:nvPr/>
          </p:nvSpPr>
          <p:spPr bwMode="auto">
            <a:xfrm>
              <a:off x="3963" y="4464"/>
              <a:ext cx="683" cy="194"/>
            </a:xfrm>
            <a:prstGeom prst="rect">
              <a:avLst/>
            </a:prstGeom>
            <a:noFill/>
            <a:ln w="9525" algn="ctr">
              <a:noFill/>
              <a:miter lim="800000"/>
              <a:headEnd/>
              <a:tailEnd/>
            </a:ln>
          </p:spPr>
          <p:txBody>
            <a:bodyPr wrap="none">
              <a:spAutoFit/>
            </a:bodyPr>
            <a:lstStyle/>
            <a:p>
              <a:pPr algn="ctr"/>
              <a:r>
                <a:rPr lang="en-US" sz="900" b="1">
                  <a:solidFill>
                    <a:srgbClr val="FFFFFF"/>
                  </a:solidFill>
                </a:rPr>
                <a:t>Host Group</a:t>
              </a:r>
            </a:p>
          </p:txBody>
        </p:sp>
      </p:grpSp>
      <p:sp>
        <p:nvSpPr>
          <p:cNvPr id="43123" name="Text Box 115"/>
          <p:cNvSpPr txBox="1">
            <a:spLocks noChangeArrowheads="1"/>
          </p:cNvSpPr>
          <p:nvPr/>
        </p:nvSpPr>
        <p:spPr bwMode="auto">
          <a:xfrm>
            <a:off x="3142878" y="4814888"/>
            <a:ext cx="342989" cy="205979"/>
          </a:xfrm>
          <a:prstGeom prst="rect">
            <a:avLst/>
          </a:prstGeom>
          <a:noFill/>
          <a:ln w="9525">
            <a:noFill/>
            <a:miter lim="800000"/>
            <a:headEnd/>
            <a:tailEnd/>
          </a:ln>
          <a:effectLst/>
        </p:spPr>
        <p:txBody>
          <a:bodyPr lIns="68586" tIns="34294" rIns="68586" bIns="34294">
            <a:spAutoFit/>
          </a:bodyPr>
          <a:lstStyle/>
          <a:p>
            <a:pPr algn="ctr"/>
            <a:r>
              <a:rPr lang="en-US" sz="900">
                <a:solidFill>
                  <a:srgbClr val="FFFFFF"/>
                </a:solidFill>
              </a:rPr>
              <a:t>1</a:t>
            </a:r>
          </a:p>
        </p:txBody>
      </p:sp>
      <p:sp>
        <p:nvSpPr>
          <p:cNvPr id="43124" name="Text Box 116"/>
          <p:cNvSpPr txBox="1">
            <a:spLocks noChangeArrowheads="1"/>
          </p:cNvSpPr>
          <p:nvPr/>
        </p:nvSpPr>
        <p:spPr bwMode="auto">
          <a:xfrm>
            <a:off x="3485868" y="4814888"/>
            <a:ext cx="342989" cy="205979"/>
          </a:xfrm>
          <a:prstGeom prst="rect">
            <a:avLst/>
          </a:prstGeom>
          <a:noFill/>
          <a:ln w="9525">
            <a:noFill/>
            <a:miter lim="800000"/>
            <a:headEnd/>
            <a:tailEnd/>
          </a:ln>
          <a:effectLst/>
        </p:spPr>
        <p:txBody>
          <a:bodyPr lIns="68586" tIns="34294" rIns="68586" bIns="34294">
            <a:spAutoFit/>
          </a:bodyPr>
          <a:lstStyle/>
          <a:p>
            <a:pPr algn="ctr"/>
            <a:r>
              <a:rPr lang="en-US" sz="900">
                <a:solidFill>
                  <a:srgbClr val="FFFFFF"/>
                </a:solidFill>
              </a:rPr>
              <a:t>2</a:t>
            </a:r>
          </a:p>
        </p:txBody>
      </p:sp>
      <p:sp>
        <p:nvSpPr>
          <p:cNvPr id="43125" name="Text Box 117"/>
          <p:cNvSpPr txBox="1">
            <a:spLocks noChangeArrowheads="1"/>
          </p:cNvSpPr>
          <p:nvPr/>
        </p:nvSpPr>
        <p:spPr bwMode="auto">
          <a:xfrm>
            <a:off x="3828858" y="4814888"/>
            <a:ext cx="342989" cy="205979"/>
          </a:xfrm>
          <a:prstGeom prst="rect">
            <a:avLst/>
          </a:prstGeom>
          <a:noFill/>
          <a:ln w="9525">
            <a:noFill/>
            <a:miter lim="800000"/>
            <a:headEnd/>
            <a:tailEnd/>
          </a:ln>
          <a:effectLst/>
        </p:spPr>
        <p:txBody>
          <a:bodyPr lIns="68586" tIns="34294" rIns="68586" bIns="34294">
            <a:spAutoFit/>
          </a:bodyPr>
          <a:lstStyle/>
          <a:p>
            <a:pPr algn="ctr"/>
            <a:r>
              <a:rPr lang="en-US" sz="900">
                <a:solidFill>
                  <a:srgbClr val="FFFFFF"/>
                </a:solidFill>
              </a:rPr>
              <a:t>3</a:t>
            </a:r>
          </a:p>
        </p:txBody>
      </p:sp>
      <p:sp>
        <p:nvSpPr>
          <p:cNvPr id="43126" name="Text Box 118"/>
          <p:cNvSpPr txBox="1">
            <a:spLocks noChangeArrowheads="1"/>
          </p:cNvSpPr>
          <p:nvPr/>
        </p:nvSpPr>
        <p:spPr bwMode="auto">
          <a:xfrm>
            <a:off x="4171846" y="4814888"/>
            <a:ext cx="342989" cy="205979"/>
          </a:xfrm>
          <a:prstGeom prst="rect">
            <a:avLst/>
          </a:prstGeom>
          <a:noFill/>
          <a:ln w="9525">
            <a:noFill/>
            <a:miter lim="800000"/>
            <a:headEnd/>
            <a:tailEnd/>
          </a:ln>
          <a:effectLst/>
        </p:spPr>
        <p:txBody>
          <a:bodyPr lIns="68586" tIns="34294" rIns="68586" bIns="34294">
            <a:spAutoFit/>
          </a:bodyPr>
          <a:lstStyle/>
          <a:p>
            <a:pPr algn="ctr"/>
            <a:r>
              <a:rPr lang="en-US" sz="900">
                <a:solidFill>
                  <a:srgbClr val="FFFFFF"/>
                </a:solidFill>
              </a:rPr>
              <a:t>4</a:t>
            </a:r>
          </a:p>
        </p:txBody>
      </p:sp>
      <p:sp>
        <p:nvSpPr>
          <p:cNvPr id="43127" name="Text Box 119"/>
          <p:cNvSpPr txBox="1">
            <a:spLocks noChangeArrowheads="1"/>
          </p:cNvSpPr>
          <p:nvPr/>
        </p:nvSpPr>
        <p:spPr bwMode="auto">
          <a:xfrm>
            <a:off x="4514836" y="4814888"/>
            <a:ext cx="342989" cy="205979"/>
          </a:xfrm>
          <a:prstGeom prst="rect">
            <a:avLst/>
          </a:prstGeom>
          <a:noFill/>
          <a:ln w="9525">
            <a:noFill/>
            <a:miter lim="800000"/>
            <a:headEnd/>
            <a:tailEnd/>
          </a:ln>
          <a:effectLst/>
        </p:spPr>
        <p:txBody>
          <a:bodyPr lIns="68586" tIns="34294" rIns="68586" bIns="34294">
            <a:spAutoFit/>
          </a:bodyPr>
          <a:lstStyle/>
          <a:p>
            <a:pPr algn="ctr"/>
            <a:r>
              <a:rPr lang="en-US" sz="900">
                <a:solidFill>
                  <a:srgbClr val="FFFFFF"/>
                </a:solidFill>
              </a:rPr>
              <a:t>5</a:t>
            </a:r>
          </a:p>
        </p:txBody>
      </p:sp>
      <p:sp>
        <p:nvSpPr>
          <p:cNvPr id="43128" name="Text Box 120"/>
          <p:cNvSpPr txBox="1">
            <a:spLocks noChangeArrowheads="1"/>
          </p:cNvSpPr>
          <p:nvPr/>
        </p:nvSpPr>
        <p:spPr bwMode="auto">
          <a:xfrm>
            <a:off x="4857826" y="4814888"/>
            <a:ext cx="342989" cy="205979"/>
          </a:xfrm>
          <a:prstGeom prst="rect">
            <a:avLst/>
          </a:prstGeom>
          <a:noFill/>
          <a:ln w="9525">
            <a:noFill/>
            <a:miter lim="800000"/>
            <a:headEnd/>
            <a:tailEnd/>
          </a:ln>
          <a:effectLst/>
        </p:spPr>
        <p:txBody>
          <a:bodyPr lIns="68586" tIns="34294" rIns="68586" bIns="34294">
            <a:spAutoFit/>
          </a:bodyPr>
          <a:lstStyle/>
          <a:p>
            <a:pPr algn="ctr"/>
            <a:r>
              <a:rPr lang="en-US" sz="900">
                <a:solidFill>
                  <a:srgbClr val="FFFFFF"/>
                </a:solidFill>
              </a:rPr>
              <a:t>6</a:t>
            </a:r>
          </a:p>
        </p:txBody>
      </p:sp>
      <p:sp>
        <p:nvSpPr>
          <p:cNvPr id="43129" name="Text Box 121"/>
          <p:cNvSpPr txBox="1">
            <a:spLocks noChangeArrowheads="1"/>
          </p:cNvSpPr>
          <p:nvPr/>
        </p:nvSpPr>
        <p:spPr bwMode="auto">
          <a:xfrm>
            <a:off x="5200814" y="4814888"/>
            <a:ext cx="342989" cy="205979"/>
          </a:xfrm>
          <a:prstGeom prst="rect">
            <a:avLst/>
          </a:prstGeom>
          <a:noFill/>
          <a:ln w="9525">
            <a:noFill/>
            <a:miter lim="800000"/>
            <a:headEnd/>
            <a:tailEnd/>
          </a:ln>
          <a:effectLst/>
        </p:spPr>
        <p:txBody>
          <a:bodyPr lIns="68586" tIns="34294" rIns="68586" bIns="34294">
            <a:spAutoFit/>
          </a:bodyPr>
          <a:lstStyle/>
          <a:p>
            <a:pPr algn="ctr"/>
            <a:r>
              <a:rPr lang="en-US" sz="900">
                <a:solidFill>
                  <a:srgbClr val="FFFFFF"/>
                </a:solidFill>
              </a:rPr>
              <a:t>7</a:t>
            </a:r>
          </a:p>
        </p:txBody>
      </p:sp>
      <p:sp>
        <p:nvSpPr>
          <p:cNvPr id="43130" name="Text Box 122"/>
          <p:cNvSpPr txBox="1">
            <a:spLocks noChangeArrowheads="1"/>
          </p:cNvSpPr>
          <p:nvPr/>
        </p:nvSpPr>
        <p:spPr bwMode="auto">
          <a:xfrm>
            <a:off x="5543804" y="4814888"/>
            <a:ext cx="342989" cy="205979"/>
          </a:xfrm>
          <a:prstGeom prst="rect">
            <a:avLst/>
          </a:prstGeom>
          <a:noFill/>
          <a:ln w="9525">
            <a:noFill/>
            <a:miter lim="800000"/>
            <a:headEnd/>
            <a:tailEnd/>
          </a:ln>
          <a:effectLst/>
        </p:spPr>
        <p:txBody>
          <a:bodyPr lIns="68586" tIns="34294" rIns="68586" bIns="34294">
            <a:spAutoFit/>
          </a:bodyPr>
          <a:lstStyle/>
          <a:p>
            <a:pPr algn="ctr"/>
            <a:r>
              <a:rPr lang="en-US" sz="900">
                <a:solidFill>
                  <a:srgbClr val="FFFFFF"/>
                </a:solidFill>
              </a:rPr>
              <a:t>8</a:t>
            </a:r>
          </a:p>
        </p:txBody>
      </p:sp>
      <p:sp>
        <p:nvSpPr>
          <p:cNvPr id="43131" name="Text Box 123"/>
          <p:cNvSpPr txBox="1">
            <a:spLocks noChangeArrowheads="1"/>
          </p:cNvSpPr>
          <p:nvPr/>
        </p:nvSpPr>
        <p:spPr bwMode="auto">
          <a:xfrm>
            <a:off x="5886794" y="4814888"/>
            <a:ext cx="342989" cy="205979"/>
          </a:xfrm>
          <a:prstGeom prst="rect">
            <a:avLst/>
          </a:prstGeom>
          <a:noFill/>
          <a:ln w="9525">
            <a:noFill/>
            <a:miter lim="800000"/>
            <a:headEnd/>
            <a:tailEnd/>
          </a:ln>
          <a:effectLst/>
        </p:spPr>
        <p:txBody>
          <a:bodyPr lIns="68586" tIns="34294" rIns="68586" bIns="34294">
            <a:spAutoFit/>
          </a:bodyPr>
          <a:lstStyle/>
          <a:p>
            <a:pPr algn="ctr"/>
            <a:r>
              <a:rPr lang="en-US" sz="900">
                <a:solidFill>
                  <a:srgbClr val="FFFFFF"/>
                </a:solidFill>
              </a:rPr>
              <a:t>9</a:t>
            </a:r>
          </a:p>
        </p:txBody>
      </p:sp>
      <p:pic>
        <p:nvPicPr>
          <p:cNvPr id="43099" name="Picture 6" descr="SCCM image grnd.psd"/>
          <p:cNvPicPr>
            <a:picLocks noChangeAspect="1"/>
          </p:cNvPicPr>
          <p:nvPr/>
        </p:nvPicPr>
        <p:blipFill>
          <a:blip r:embed="rId10" cstate="print"/>
          <a:srcRect l="33104" t="94412" r="30003"/>
          <a:stretch>
            <a:fillRect/>
          </a:stretch>
        </p:blipFill>
        <p:spPr bwMode="auto">
          <a:xfrm>
            <a:off x="3141688" y="4800601"/>
            <a:ext cx="3088095" cy="286941"/>
          </a:xfrm>
          <a:prstGeom prst="rect">
            <a:avLst/>
          </a:prstGeom>
          <a:noFill/>
          <a:ln w="9525">
            <a:noFill/>
            <a:miter lim="800000"/>
            <a:headEnd/>
            <a:tailEnd/>
          </a:ln>
        </p:spPr>
      </p:pic>
      <p:pic>
        <p:nvPicPr>
          <p:cNvPr id="43100" name="Picture 6" descr="SCCM image grnd.psd"/>
          <p:cNvPicPr>
            <a:picLocks noChangeAspect="1"/>
          </p:cNvPicPr>
          <p:nvPr/>
        </p:nvPicPr>
        <p:blipFill>
          <a:blip r:embed="rId10" cstate="print"/>
          <a:srcRect l="36247" t="94444" r="29994"/>
          <a:stretch>
            <a:fillRect/>
          </a:stretch>
        </p:blipFill>
        <p:spPr bwMode="auto">
          <a:xfrm>
            <a:off x="3485868" y="4800600"/>
            <a:ext cx="2743915" cy="285750"/>
          </a:xfrm>
          <a:prstGeom prst="rect">
            <a:avLst/>
          </a:prstGeom>
          <a:noFill/>
          <a:ln w="9525">
            <a:noFill/>
            <a:miter lim="800000"/>
            <a:headEnd/>
            <a:tailEnd/>
          </a:ln>
        </p:spPr>
      </p:pic>
      <p:pic>
        <p:nvPicPr>
          <p:cNvPr id="43101" name="Picture 6" descr="SCCM image grnd.psd"/>
          <p:cNvPicPr>
            <a:picLocks noChangeAspect="1"/>
          </p:cNvPicPr>
          <p:nvPr/>
        </p:nvPicPr>
        <p:blipFill>
          <a:blip r:embed="rId10" cstate="print"/>
          <a:srcRect l="39374" t="94444" r="29994"/>
          <a:stretch>
            <a:fillRect/>
          </a:stretch>
        </p:blipFill>
        <p:spPr bwMode="auto">
          <a:xfrm>
            <a:off x="3828858" y="4800600"/>
            <a:ext cx="2400925" cy="285750"/>
          </a:xfrm>
          <a:prstGeom prst="rect">
            <a:avLst/>
          </a:prstGeom>
          <a:noFill/>
          <a:ln w="9525">
            <a:noFill/>
            <a:miter lim="800000"/>
            <a:headEnd/>
            <a:tailEnd/>
          </a:ln>
        </p:spPr>
      </p:pic>
      <p:pic>
        <p:nvPicPr>
          <p:cNvPr id="43102" name="Picture 6" descr="SCCM image grnd.psd"/>
          <p:cNvPicPr>
            <a:picLocks noChangeAspect="1"/>
          </p:cNvPicPr>
          <p:nvPr/>
        </p:nvPicPr>
        <p:blipFill>
          <a:blip r:embed="rId10" cstate="print"/>
          <a:srcRect l="42499" t="94444" r="29994"/>
          <a:stretch>
            <a:fillRect/>
          </a:stretch>
        </p:blipFill>
        <p:spPr bwMode="auto">
          <a:xfrm>
            <a:off x="4171846" y="4800600"/>
            <a:ext cx="2057936" cy="285750"/>
          </a:xfrm>
          <a:prstGeom prst="rect">
            <a:avLst/>
          </a:prstGeom>
          <a:noFill/>
          <a:ln w="9525">
            <a:noFill/>
            <a:miter lim="800000"/>
            <a:headEnd/>
            <a:tailEnd/>
          </a:ln>
        </p:spPr>
      </p:pic>
      <p:pic>
        <p:nvPicPr>
          <p:cNvPr id="43103" name="Picture 6" descr="SCCM image grnd.psd"/>
          <p:cNvPicPr>
            <a:picLocks noChangeAspect="1"/>
          </p:cNvPicPr>
          <p:nvPr/>
        </p:nvPicPr>
        <p:blipFill>
          <a:blip r:embed="rId10" cstate="print"/>
          <a:srcRect l="46249" t="94444" r="29994"/>
          <a:stretch>
            <a:fillRect/>
          </a:stretch>
        </p:blipFill>
        <p:spPr bwMode="auto">
          <a:xfrm>
            <a:off x="4514836" y="4800600"/>
            <a:ext cx="1714947" cy="285750"/>
          </a:xfrm>
          <a:prstGeom prst="rect">
            <a:avLst/>
          </a:prstGeom>
          <a:noFill/>
          <a:ln w="9525">
            <a:noFill/>
            <a:miter lim="800000"/>
            <a:headEnd/>
            <a:tailEnd/>
          </a:ln>
        </p:spPr>
      </p:pic>
      <p:pic>
        <p:nvPicPr>
          <p:cNvPr id="43104" name="Picture 6" descr="SCCM image grnd.psd"/>
          <p:cNvPicPr>
            <a:picLocks noChangeAspect="1"/>
          </p:cNvPicPr>
          <p:nvPr/>
        </p:nvPicPr>
        <p:blipFill>
          <a:blip r:embed="rId10" cstate="print"/>
          <a:srcRect l="50000" t="94444" r="29994"/>
          <a:stretch>
            <a:fillRect/>
          </a:stretch>
        </p:blipFill>
        <p:spPr bwMode="auto">
          <a:xfrm>
            <a:off x="4857826" y="4800600"/>
            <a:ext cx="1371957" cy="285750"/>
          </a:xfrm>
          <a:prstGeom prst="rect">
            <a:avLst/>
          </a:prstGeom>
          <a:noFill/>
          <a:ln w="9525">
            <a:noFill/>
            <a:miter lim="800000"/>
            <a:headEnd/>
            <a:tailEnd/>
          </a:ln>
        </p:spPr>
      </p:pic>
      <p:pic>
        <p:nvPicPr>
          <p:cNvPr id="43105" name="Picture 6" descr="SCCM image grnd.psd"/>
          <p:cNvPicPr>
            <a:picLocks noChangeAspect="1"/>
          </p:cNvPicPr>
          <p:nvPr/>
        </p:nvPicPr>
        <p:blipFill>
          <a:blip r:embed="rId10" cstate="print"/>
          <a:srcRect l="54376" t="94444" r="29994"/>
          <a:stretch>
            <a:fillRect/>
          </a:stretch>
        </p:blipFill>
        <p:spPr bwMode="auto">
          <a:xfrm>
            <a:off x="5200814" y="4800600"/>
            <a:ext cx="1028968" cy="285750"/>
          </a:xfrm>
          <a:prstGeom prst="rect">
            <a:avLst/>
          </a:prstGeom>
          <a:noFill/>
          <a:ln w="9525">
            <a:noFill/>
            <a:miter lim="800000"/>
            <a:headEnd/>
            <a:tailEnd/>
          </a:ln>
        </p:spPr>
      </p:pic>
      <p:pic>
        <p:nvPicPr>
          <p:cNvPr id="43106" name="Picture 6" descr="SCCM image grnd.psd"/>
          <p:cNvPicPr>
            <a:picLocks noChangeAspect="1"/>
          </p:cNvPicPr>
          <p:nvPr/>
        </p:nvPicPr>
        <p:blipFill>
          <a:blip r:embed="rId10" cstate="print"/>
          <a:srcRect l="58752" t="94444" r="29994"/>
          <a:stretch>
            <a:fillRect/>
          </a:stretch>
        </p:blipFill>
        <p:spPr bwMode="auto">
          <a:xfrm>
            <a:off x="5543803" y="4800600"/>
            <a:ext cx="685979" cy="285750"/>
          </a:xfrm>
          <a:prstGeom prst="rect">
            <a:avLst/>
          </a:prstGeom>
          <a:noFill/>
          <a:ln w="9525">
            <a:noFill/>
            <a:miter lim="800000"/>
            <a:headEnd/>
            <a:tailEnd/>
          </a:ln>
        </p:spPr>
      </p:pic>
      <p:pic>
        <p:nvPicPr>
          <p:cNvPr id="43107" name="Picture 6" descr="SCCM image grnd.psd"/>
          <p:cNvPicPr>
            <a:picLocks noChangeAspect="1"/>
          </p:cNvPicPr>
          <p:nvPr/>
        </p:nvPicPr>
        <p:blipFill>
          <a:blip r:embed="rId10" cstate="print"/>
          <a:srcRect l="63754" t="94444" r="29994"/>
          <a:stretch>
            <a:fillRect/>
          </a:stretch>
        </p:blipFill>
        <p:spPr bwMode="auto">
          <a:xfrm>
            <a:off x="5886794" y="4800600"/>
            <a:ext cx="342989" cy="285750"/>
          </a:xfrm>
          <a:prstGeom prst="rect">
            <a:avLst/>
          </a:prstGeom>
          <a:noFill/>
          <a:ln w="9525">
            <a:noFill/>
            <a:miter lim="800000"/>
            <a:headEnd/>
            <a:tailEnd/>
          </a:ln>
        </p:spPr>
      </p:pic>
      <p:sp>
        <p:nvSpPr>
          <p:cNvPr id="43096" name="AutoShape 88"/>
          <p:cNvSpPr>
            <a:spLocks noChangeArrowheads="1"/>
          </p:cNvSpPr>
          <p:nvPr/>
        </p:nvSpPr>
        <p:spPr bwMode="auto">
          <a:xfrm>
            <a:off x="3142879" y="4800600"/>
            <a:ext cx="3144069" cy="228600"/>
          </a:xfrm>
          <a:prstGeom prst="roundRect">
            <a:avLst>
              <a:gd name="adj" fmla="val 39583"/>
            </a:avLst>
          </a:prstGeom>
          <a:noFill/>
          <a:ln w="25400">
            <a:solidFill>
              <a:schemeClr val="bg1"/>
            </a:solidFill>
            <a:round/>
            <a:headEnd/>
            <a:tailEnd/>
          </a:ln>
          <a:effectLst/>
        </p:spPr>
        <p:txBody>
          <a:bodyPr wrap="none" lIns="68586" tIns="34294" rIns="68586" bIns="34294" anchor="ctr"/>
          <a:lstStyle/>
          <a:p>
            <a:endParaRPr lang="en-US">
              <a:solidFill>
                <a:srgbClr val="000000"/>
              </a:solidFill>
            </a:endParaRPr>
          </a:p>
        </p:txBody>
      </p:sp>
      <p:sp>
        <p:nvSpPr>
          <p:cNvPr id="107"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08"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1"/>
              </a:rPr>
              <a:t>www.rapidbbs.cn</a:t>
            </a:r>
            <a:endParaRPr lang="zh-CN" altLang="en-US" sz="1200" b="0">
              <a:latin typeface="Arial" charset="0"/>
              <a:ea typeface="ＭＳ Ｐゴシック" pitchFamily="34" charset="-128"/>
            </a:endParaRPr>
          </a:p>
        </p:txBody>
      </p:sp>
      <p:pic>
        <p:nvPicPr>
          <p:cNvPr id="109" name="Picture 2">
            <a:hlinkClick r:id="rId11"/>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053913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91542"/>
                                        </p:tgtEl>
                                        <p:attrNameLst>
                                          <p:attrName>style.visibility</p:attrName>
                                        </p:attrNameLst>
                                      </p:cBhvr>
                                      <p:to>
                                        <p:strVal val="visible"/>
                                      </p:to>
                                    </p:set>
                                    <p:animEffect transition="in" filter="wipe(left)">
                                      <p:cBhvr>
                                        <p:cTn id="7" dur="500"/>
                                        <p:tgtEl>
                                          <p:spTgt spid="19154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91554"/>
                                        </p:tgtEl>
                                        <p:attrNameLst>
                                          <p:attrName>style.visibility</p:attrName>
                                        </p:attrNameLst>
                                      </p:cBhvr>
                                      <p:to>
                                        <p:strVal val="visible"/>
                                      </p:to>
                                    </p:set>
                                    <p:animEffect transition="in" filter="fade">
                                      <p:cBhvr>
                                        <p:cTn id="11" dur="500"/>
                                        <p:tgtEl>
                                          <p:spTgt spid="191554"/>
                                        </p:tgtEl>
                                      </p:cBhvr>
                                    </p:animEffect>
                                  </p:childTnLst>
                                </p:cTn>
                              </p:par>
                              <p:par>
                                <p:cTn id="12" presetID="22" presetClass="exit" presetSubtype="8" fill="hold" nodeType="withEffect">
                                  <p:stCondLst>
                                    <p:cond delay="0"/>
                                  </p:stCondLst>
                                  <p:childTnLst>
                                    <p:animEffect transition="out" filter="wipe(left)">
                                      <p:cBhvr>
                                        <p:cTn id="13" dur="2000"/>
                                        <p:tgtEl>
                                          <p:spTgt spid="43099"/>
                                        </p:tgtEl>
                                      </p:cBhvr>
                                    </p:animEffect>
                                    <p:set>
                                      <p:cBhvr>
                                        <p:cTn id="14" dur="1" fill="hold">
                                          <p:stCondLst>
                                            <p:cond delay="1999"/>
                                          </p:stCondLst>
                                        </p:cTn>
                                        <p:tgtEl>
                                          <p:spTgt spid="43099"/>
                                        </p:tgtEl>
                                        <p:attrNameLst>
                                          <p:attrName>style.visibility</p:attrName>
                                        </p:attrNameLst>
                                      </p:cBhvr>
                                      <p:to>
                                        <p:strVal val="hidden"/>
                                      </p:to>
                                    </p:set>
                                  </p:childTnLst>
                                </p:cTn>
                              </p:par>
                              <p:par>
                                <p:cTn id="15" presetID="10" presetClass="entr" presetSubtype="0" fill="hold" grpId="0" nodeType="withEffect">
                                  <p:stCondLst>
                                    <p:cond delay="0"/>
                                  </p:stCondLst>
                                  <p:childTnLst>
                                    <p:set>
                                      <p:cBhvr>
                                        <p:cTn id="16" dur="1" fill="hold">
                                          <p:stCondLst>
                                            <p:cond delay="0"/>
                                          </p:stCondLst>
                                        </p:cTn>
                                        <p:tgtEl>
                                          <p:spTgt spid="191568"/>
                                        </p:tgtEl>
                                        <p:attrNameLst>
                                          <p:attrName>style.visibility</p:attrName>
                                        </p:attrNameLst>
                                      </p:cBhvr>
                                      <p:to>
                                        <p:strVal val="visible"/>
                                      </p:to>
                                    </p:set>
                                    <p:animEffect transition="in" filter="fade">
                                      <p:cBhvr>
                                        <p:cTn id="17" dur="500"/>
                                        <p:tgtEl>
                                          <p:spTgt spid="191568"/>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2" fill="hold" grpId="0" nodeType="clickEffect">
                                  <p:stCondLst>
                                    <p:cond delay="0"/>
                                  </p:stCondLst>
                                  <p:childTnLst>
                                    <p:set>
                                      <p:cBhvr>
                                        <p:cTn id="21" dur="1" fill="hold">
                                          <p:stCondLst>
                                            <p:cond delay="0"/>
                                          </p:stCondLst>
                                        </p:cTn>
                                        <p:tgtEl>
                                          <p:spTgt spid="191557"/>
                                        </p:tgtEl>
                                        <p:attrNameLst>
                                          <p:attrName>style.visibility</p:attrName>
                                        </p:attrNameLst>
                                      </p:cBhvr>
                                      <p:to>
                                        <p:strVal val="visible"/>
                                      </p:to>
                                    </p:set>
                                    <p:animEffect transition="in" filter="wipe(right)">
                                      <p:cBhvr>
                                        <p:cTn id="22" dur="500"/>
                                        <p:tgtEl>
                                          <p:spTgt spid="191557"/>
                                        </p:tgtEl>
                                      </p:cBhvr>
                                    </p:animEffect>
                                  </p:childTnLst>
                                </p:cTn>
                              </p:par>
                              <p:par>
                                <p:cTn id="23" presetID="10" presetClass="exit" presetSubtype="0" fill="hold" grpId="1" nodeType="withEffect">
                                  <p:stCondLst>
                                    <p:cond delay="0"/>
                                  </p:stCondLst>
                                  <p:childTnLst>
                                    <p:animEffect transition="out" filter="fade">
                                      <p:cBhvr>
                                        <p:cTn id="24" dur="500"/>
                                        <p:tgtEl>
                                          <p:spTgt spid="191568"/>
                                        </p:tgtEl>
                                      </p:cBhvr>
                                    </p:animEffect>
                                    <p:set>
                                      <p:cBhvr>
                                        <p:cTn id="25" dur="1" fill="hold">
                                          <p:stCondLst>
                                            <p:cond delay="499"/>
                                          </p:stCondLst>
                                        </p:cTn>
                                        <p:tgtEl>
                                          <p:spTgt spid="191568"/>
                                        </p:tgtEl>
                                        <p:attrNameLst>
                                          <p:attrName>style.visibility</p:attrName>
                                        </p:attrNameLst>
                                      </p:cBhvr>
                                      <p:to>
                                        <p:strVal val="hidden"/>
                                      </p:to>
                                    </p:set>
                                  </p:childTnLst>
                                </p:cTn>
                              </p:par>
                              <p:par>
                                <p:cTn id="26" presetID="10" presetClass="exit" presetSubtype="0" fill="hold" grpId="1" nodeType="withEffect">
                                  <p:stCondLst>
                                    <p:cond delay="0"/>
                                  </p:stCondLst>
                                  <p:childTnLst>
                                    <p:animEffect transition="out" filter="fade">
                                      <p:cBhvr>
                                        <p:cTn id="27" dur="500"/>
                                        <p:tgtEl>
                                          <p:spTgt spid="191542"/>
                                        </p:tgtEl>
                                      </p:cBhvr>
                                    </p:animEffect>
                                    <p:set>
                                      <p:cBhvr>
                                        <p:cTn id="28" dur="1" fill="hold">
                                          <p:stCondLst>
                                            <p:cond delay="499"/>
                                          </p:stCondLst>
                                        </p:cTn>
                                        <p:tgtEl>
                                          <p:spTgt spid="191542"/>
                                        </p:tgtEl>
                                        <p:attrNameLst>
                                          <p:attrName>style.visibility</p:attrName>
                                        </p:attrNameLst>
                                      </p:cBhvr>
                                      <p:to>
                                        <p:strVal val="hidden"/>
                                      </p:to>
                                    </p:set>
                                  </p:childTnLst>
                                </p:cTn>
                              </p:par>
                              <p:par>
                                <p:cTn id="29" presetID="10" presetClass="exit" presetSubtype="0" fill="hold" grpId="1" nodeType="withEffect">
                                  <p:stCondLst>
                                    <p:cond delay="0"/>
                                  </p:stCondLst>
                                  <p:childTnLst>
                                    <p:animEffect transition="out" filter="fade">
                                      <p:cBhvr>
                                        <p:cTn id="30" dur="500"/>
                                        <p:tgtEl>
                                          <p:spTgt spid="191554"/>
                                        </p:tgtEl>
                                      </p:cBhvr>
                                    </p:animEffect>
                                    <p:set>
                                      <p:cBhvr>
                                        <p:cTn id="31" dur="1" fill="hold">
                                          <p:stCondLst>
                                            <p:cond delay="499"/>
                                          </p:stCondLst>
                                        </p:cTn>
                                        <p:tgtEl>
                                          <p:spTgt spid="191554"/>
                                        </p:tgtEl>
                                        <p:attrNameLst>
                                          <p:attrName>style.visibility</p:attrName>
                                        </p:attrNameLst>
                                      </p:cBhvr>
                                      <p:to>
                                        <p:strVal val="hidden"/>
                                      </p:to>
                                    </p:set>
                                  </p:childTnLst>
                                </p:cTn>
                              </p:par>
                            </p:childTnLst>
                          </p:cTn>
                        </p:par>
                        <p:par>
                          <p:cTn id="32" fill="hold">
                            <p:stCondLst>
                              <p:cond delay="500"/>
                            </p:stCondLst>
                            <p:childTnLst>
                              <p:par>
                                <p:cTn id="33" presetID="10" presetClass="entr" presetSubtype="0" fill="hold" grpId="0" nodeType="afterEffect">
                                  <p:stCondLst>
                                    <p:cond delay="0"/>
                                  </p:stCondLst>
                                  <p:childTnLst>
                                    <p:set>
                                      <p:cBhvr>
                                        <p:cTn id="34" dur="1" fill="hold">
                                          <p:stCondLst>
                                            <p:cond delay="0"/>
                                          </p:stCondLst>
                                        </p:cTn>
                                        <p:tgtEl>
                                          <p:spTgt spid="191555"/>
                                        </p:tgtEl>
                                        <p:attrNameLst>
                                          <p:attrName>style.visibility</p:attrName>
                                        </p:attrNameLst>
                                      </p:cBhvr>
                                      <p:to>
                                        <p:strVal val="visible"/>
                                      </p:to>
                                    </p:set>
                                    <p:animEffect transition="in" filter="fade">
                                      <p:cBhvr>
                                        <p:cTn id="35" dur="500"/>
                                        <p:tgtEl>
                                          <p:spTgt spid="191555"/>
                                        </p:tgtEl>
                                      </p:cBhvr>
                                    </p:animEffect>
                                  </p:childTnLst>
                                </p:cTn>
                              </p:par>
                              <p:par>
                                <p:cTn id="36" presetID="22" presetClass="exit" presetSubtype="8" fill="hold" nodeType="withEffect">
                                  <p:stCondLst>
                                    <p:cond delay="0"/>
                                  </p:stCondLst>
                                  <p:childTnLst>
                                    <p:animEffect transition="out" filter="wipe(left)">
                                      <p:cBhvr>
                                        <p:cTn id="37" dur="2000"/>
                                        <p:tgtEl>
                                          <p:spTgt spid="43100"/>
                                        </p:tgtEl>
                                      </p:cBhvr>
                                    </p:animEffect>
                                    <p:set>
                                      <p:cBhvr>
                                        <p:cTn id="38" dur="1" fill="hold">
                                          <p:stCondLst>
                                            <p:cond delay="1999"/>
                                          </p:stCondLst>
                                        </p:cTn>
                                        <p:tgtEl>
                                          <p:spTgt spid="43100"/>
                                        </p:tgtEl>
                                        <p:attrNameLst>
                                          <p:attrName>style.visibility</p:attrName>
                                        </p:attrNameLst>
                                      </p:cBhvr>
                                      <p:to>
                                        <p:strVal val="hidden"/>
                                      </p:to>
                                    </p:set>
                                  </p:childTnLst>
                                </p:cTn>
                              </p:par>
                              <p:par>
                                <p:cTn id="39" presetID="10" presetClass="entr" presetSubtype="0" fill="hold" grpId="0" nodeType="withEffect">
                                  <p:stCondLst>
                                    <p:cond delay="0"/>
                                  </p:stCondLst>
                                  <p:childTnLst>
                                    <p:set>
                                      <p:cBhvr>
                                        <p:cTn id="40" dur="1" fill="hold">
                                          <p:stCondLst>
                                            <p:cond delay="0"/>
                                          </p:stCondLst>
                                        </p:cTn>
                                        <p:tgtEl>
                                          <p:spTgt spid="191569"/>
                                        </p:tgtEl>
                                        <p:attrNameLst>
                                          <p:attrName>style.visibility</p:attrName>
                                        </p:attrNameLst>
                                      </p:cBhvr>
                                      <p:to>
                                        <p:strVal val="visible"/>
                                      </p:to>
                                    </p:set>
                                    <p:animEffect transition="in" filter="fade">
                                      <p:cBhvr>
                                        <p:cTn id="41" dur="500"/>
                                        <p:tgtEl>
                                          <p:spTgt spid="191569"/>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1" fill="hold" grpId="0" nodeType="clickEffect">
                                  <p:stCondLst>
                                    <p:cond delay="0"/>
                                  </p:stCondLst>
                                  <p:childTnLst>
                                    <p:set>
                                      <p:cBhvr>
                                        <p:cTn id="45" dur="1" fill="hold">
                                          <p:stCondLst>
                                            <p:cond delay="0"/>
                                          </p:stCondLst>
                                        </p:cTn>
                                        <p:tgtEl>
                                          <p:spTgt spid="191547"/>
                                        </p:tgtEl>
                                        <p:attrNameLst>
                                          <p:attrName>style.visibility</p:attrName>
                                        </p:attrNameLst>
                                      </p:cBhvr>
                                      <p:to>
                                        <p:strVal val="visible"/>
                                      </p:to>
                                    </p:set>
                                    <p:animEffect transition="in" filter="wipe(up)">
                                      <p:cBhvr>
                                        <p:cTn id="46" dur="500"/>
                                        <p:tgtEl>
                                          <p:spTgt spid="191547"/>
                                        </p:tgtEl>
                                      </p:cBhvr>
                                    </p:animEffect>
                                  </p:childTnLst>
                                </p:cTn>
                              </p:par>
                              <p:par>
                                <p:cTn id="47" presetID="10" presetClass="exit" presetSubtype="0" fill="hold" grpId="1" nodeType="withEffect">
                                  <p:stCondLst>
                                    <p:cond delay="0"/>
                                  </p:stCondLst>
                                  <p:childTnLst>
                                    <p:animEffect transition="out" filter="fade">
                                      <p:cBhvr>
                                        <p:cTn id="48" dur="500"/>
                                        <p:tgtEl>
                                          <p:spTgt spid="191555"/>
                                        </p:tgtEl>
                                      </p:cBhvr>
                                    </p:animEffect>
                                    <p:set>
                                      <p:cBhvr>
                                        <p:cTn id="49" dur="1" fill="hold">
                                          <p:stCondLst>
                                            <p:cond delay="499"/>
                                          </p:stCondLst>
                                        </p:cTn>
                                        <p:tgtEl>
                                          <p:spTgt spid="191555"/>
                                        </p:tgtEl>
                                        <p:attrNameLst>
                                          <p:attrName>style.visibility</p:attrName>
                                        </p:attrNameLst>
                                      </p:cBhvr>
                                      <p:to>
                                        <p:strVal val="hidden"/>
                                      </p:to>
                                    </p:set>
                                  </p:childTnLst>
                                </p:cTn>
                              </p:par>
                              <p:par>
                                <p:cTn id="50" presetID="10" presetClass="exit" presetSubtype="0" fill="hold" grpId="1" nodeType="withEffect">
                                  <p:stCondLst>
                                    <p:cond delay="0"/>
                                  </p:stCondLst>
                                  <p:childTnLst>
                                    <p:animEffect transition="out" filter="fade">
                                      <p:cBhvr>
                                        <p:cTn id="51" dur="500"/>
                                        <p:tgtEl>
                                          <p:spTgt spid="191557"/>
                                        </p:tgtEl>
                                      </p:cBhvr>
                                    </p:animEffect>
                                    <p:set>
                                      <p:cBhvr>
                                        <p:cTn id="52" dur="1" fill="hold">
                                          <p:stCondLst>
                                            <p:cond delay="499"/>
                                          </p:stCondLst>
                                        </p:cTn>
                                        <p:tgtEl>
                                          <p:spTgt spid="191557"/>
                                        </p:tgtEl>
                                        <p:attrNameLst>
                                          <p:attrName>style.visibility</p:attrName>
                                        </p:attrNameLst>
                                      </p:cBhvr>
                                      <p:to>
                                        <p:strVal val="hidden"/>
                                      </p:to>
                                    </p:set>
                                  </p:childTnLst>
                                </p:cTn>
                              </p:par>
                              <p:par>
                                <p:cTn id="53" presetID="10" presetClass="exit" presetSubtype="0" fill="hold" grpId="1" nodeType="withEffect">
                                  <p:stCondLst>
                                    <p:cond delay="0"/>
                                  </p:stCondLst>
                                  <p:childTnLst>
                                    <p:animEffect transition="out" filter="fade">
                                      <p:cBhvr>
                                        <p:cTn id="54" dur="500"/>
                                        <p:tgtEl>
                                          <p:spTgt spid="191569"/>
                                        </p:tgtEl>
                                      </p:cBhvr>
                                    </p:animEffect>
                                    <p:set>
                                      <p:cBhvr>
                                        <p:cTn id="55" dur="1" fill="hold">
                                          <p:stCondLst>
                                            <p:cond delay="499"/>
                                          </p:stCondLst>
                                        </p:cTn>
                                        <p:tgtEl>
                                          <p:spTgt spid="191569"/>
                                        </p:tgtEl>
                                        <p:attrNameLst>
                                          <p:attrName>style.visibility</p:attrName>
                                        </p:attrNameLst>
                                      </p:cBhvr>
                                      <p:to>
                                        <p:strVal val="hidden"/>
                                      </p:to>
                                    </p:set>
                                  </p:childTnLst>
                                </p:cTn>
                              </p:par>
                            </p:childTnLst>
                          </p:cTn>
                        </p:par>
                        <p:par>
                          <p:cTn id="56" fill="hold">
                            <p:stCondLst>
                              <p:cond delay="500"/>
                            </p:stCondLst>
                            <p:childTnLst>
                              <p:par>
                                <p:cTn id="57" presetID="10" presetClass="entr" presetSubtype="0" fill="hold" grpId="0" nodeType="afterEffect">
                                  <p:stCondLst>
                                    <p:cond delay="0"/>
                                  </p:stCondLst>
                                  <p:childTnLst>
                                    <p:set>
                                      <p:cBhvr>
                                        <p:cTn id="58" dur="1" fill="hold">
                                          <p:stCondLst>
                                            <p:cond delay="0"/>
                                          </p:stCondLst>
                                        </p:cTn>
                                        <p:tgtEl>
                                          <p:spTgt spid="191556"/>
                                        </p:tgtEl>
                                        <p:attrNameLst>
                                          <p:attrName>style.visibility</p:attrName>
                                        </p:attrNameLst>
                                      </p:cBhvr>
                                      <p:to>
                                        <p:strVal val="visible"/>
                                      </p:to>
                                    </p:set>
                                    <p:animEffect transition="in" filter="fade">
                                      <p:cBhvr>
                                        <p:cTn id="59" dur="500"/>
                                        <p:tgtEl>
                                          <p:spTgt spid="191556"/>
                                        </p:tgtEl>
                                      </p:cBhvr>
                                    </p:animEffect>
                                  </p:childTnLst>
                                </p:cTn>
                              </p:par>
                              <p:par>
                                <p:cTn id="60" presetID="22" presetClass="exit" presetSubtype="8" fill="hold" nodeType="withEffect">
                                  <p:stCondLst>
                                    <p:cond delay="0"/>
                                  </p:stCondLst>
                                  <p:childTnLst>
                                    <p:animEffect transition="out" filter="wipe(left)">
                                      <p:cBhvr>
                                        <p:cTn id="61" dur="2000"/>
                                        <p:tgtEl>
                                          <p:spTgt spid="43101"/>
                                        </p:tgtEl>
                                      </p:cBhvr>
                                    </p:animEffect>
                                    <p:set>
                                      <p:cBhvr>
                                        <p:cTn id="62" dur="1" fill="hold">
                                          <p:stCondLst>
                                            <p:cond delay="1999"/>
                                          </p:stCondLst>
                                        </p:cTn>
                                        <p:tgtEl>
                                          <p:spTgt spid="43101"/>
                                        </p:tgtEl>
                                        <p:attrNameLst>
                                          <p:attrName>style.visibility</p:attrName>
                                        </p:attrNameLst>
                                      </p:cBhvr>
                                      <p:to>
                                        <p:strVal val="hidden"/>
                                      </p:to>
                                    </p:set>
                                  </p:childTnLst>
                                </p:cTn>
                              </p:par>
                              <p:par>
                                <p:cTn id="63" presetID="10" presetClass="entr" presetSubtype="0" fill="hold" nodeType="withEffect">
                                  <p:stCondLst>
                                    <p:cond delay="0"/>
                                  </p:stCondLst>
                                  <p:childTnLst>
                                    <p:set>
                                      <p:cBhvr>
                                        <p:cTn id="64" dur="1" fill="hold">
                                          <p:stCondLst>
                                            <p:cond delay="0"/>
                                          </p:stCondLst>
                                        </p:cTn>
                                        <p:tgtEl>
                                          <p:spTgt spid="191572"/>
                                        </p:tgtEl>
                                        <p:attrNameLst>
                                          <p:attrName>style.visibility</p:attrName>
                                        </p:attrNameLst>
                                      </p:cBhvr>
                                      <p:to>
                                        <p:strVal val="visible"/>
                                      </p:to>
                                    </p:set>
                                    <p:animEffect transition="in" filter="fade">
                                      <p:cBhvr>
                                        <p:cTn id="65" dur="500"/>
                                        <p:tgtEl>
                                          <p:spTgt spid="191572"/>
                                        </p:tgtEl>
                                      </p:cBhvr>
                                    </p:animEffect>
                                  </p:childTnLst>
                                </p:cTn>
                              </p:par>
                            </p:childTnLst>
                          </p:cTn>
                        </p:par>
                      </p:childTnLst>
                    </p:cTn>
                  </p:par>
                  <p:par>
                    <p:cTn id="66" fill="hold">
                      <p:stCondLst>
                        <p:cond delay="indefinite"/>
                      </p:stCondLst>
                      <p:childTnLst>
                        <p:par>
                          <p:cTn id="67" fill="hold">
                            <p:stCondLst>
                              <p:cond delay="0"/>
                            </p:stCondLst>
                            <p:childTnLst>
                              <p:par>
                                <p:cTn id="68" presetID="22" presetClass="entr" presetSubtype="8" fill="hold" grpId="0" nodeType="clickEffect">
                                  <p:stCondLst>
                                    <p:cond delay="0"/>
                                  </p:stCondLst>
                                  <p:childTnLst>
                                    <p:set>
                                      <p:cBhvr>
                                        <p:cTn id="69" dur="1" fill="hold">
                                          <p:stCondLst>
                                            <p:cond delay="0"/>
                                          </p:stCondLst>
                                        </p:cTn>
                                        <p:tgtEl>
                                          <p:spTgt spid="191541"/>
                                        </p:tgtEl>
                                        <p:attrNameLst>
                                          <p:attrName>style.visibility</p:attrName>
                                        </p:attrNameLst>
                                      </p:cBhvr>
                                      <p:to>
                                        <p:strVal val="visible"/>
                                      </p:to>
                                    </p:set>
                                    <p:animEffect transition="in" filter="wipe(left)">
                                      <p:cBhvr>
                                        <p:cTn id="70" dur="500"/>
                                        <p:tgtEl>
                                          <p:spTgt spid="191541"/>
                                        </p:tgtEl>
                                      </p:cBhvr>
                                    </p:animEffect>
                                  </p:childTnLst>
                                </p:cTn>
                              </p:par>
                              <p:par>
                                <p:cTn id="71" presetID="10" presetClass="exit" presetSubtype="0" fill="hold" grpId="0" nodeType="withEffect">
                                  <p:stCondLst>
                                    <p:cond delay="0"/>
                                  </p:stCondLst>
                                  <p:childTnLst>
                                    <p:animEffect transition="out" filter="fade">
                                      <p:cBhvr>
                                        <p:cTn id="72" dur="500"/>
                                        <p:tgtEl>
                                          <p:spTgt spid="191572"/>
                                        </p:tgtEl>
                                      </p:cBhvr>
                                    </p:animEffect>
                                    <p:set>
                                      <p:cBhvr>
                                        <p:cTn id="73" dur="1" fill="hold">
                                          <p:stCondLst>
                                            <p:cond delay="499"/>
                                          </p:stCondLst>
                                        </p:cTn>
                                        <p:tgtEl>
                                          <p:spTgt spid="191572"/>
                                        </p:tgtEl>
                                        <p:attrNameLst>
                                          <p:attrName>style.visibility</p:attrName>
                                        </p:attrNameLst>
                                      </p:cBhvr>
                                      <p:to>
                                        <p:strVal val="hidden"/>
                                      </p:to>
                                    </p:set>
                                  </p:childTnLst>
                                </p:cTn>
                              </p:par>
                              <p:par>
                                <p:cTn id="74" presetID="10" presetClass="exit" presetSubtype="0" fill="hold" grpId="1" nodeType="withEffect">
                                  <p:stCondLst>
                                    <p:cond delay="0"/>
                                  </p:stCondLst>
                                  <p:childTnLst>
                                    <p:animEffect transition="out" filter="fade">
                                      <p:cBhvr>
                                        <p:cTn id="75" dur="500"/>
                                        <p:tgtEl>
                                          <p:spTgt spid="191556"/>
                                        </p:tgtEl>
                                      </p:cBhvr>
                                    </p:animEffect>
                                    <p:set>
                                      <p:cBhvr>
                                        <p:cTn id="76" dur="1" fill="hold">
                                          <p:stCondLst>
                                            <p:cond delay="499"/>
                                          </p:stCondLst>
                                        </p:cTn>
                                        <p:tgtEl>
                                          <p:spTgt spid="191556"/>
                                        </p:tgtEl>
                                        <p:attrNameLst>
                                          <p:attrName>style.visibility</p:attrName>
                                        </p:attrNameLst>
                                      </p:cBhvr>
                                      <p:to>
                                        <p:strVal val="hidden"/>
                                      </p:to>
                                    </p:set>
                                  </p:childTnLst>
                                </p:cTn>
                              </p:par>
                              <p:par>
                                <p:cTn id="77" presetID="10" presetClass="exit" presetSubtype="0" fill="hold" grpId="1" nodeType="withEffect">
                                  <p:stCondLst>
                                    <p:cond delay="0"/>
                                  </p:stCondLst>
                                  <p:childTnLst>
                                    <p:animEffect transition="out" filter="fade">
                                      <p:cBhvr>
                                        <p:cTn id="78" dur="500"/>
                                        <p:tgtEl>
                                          <p:spTgt spid="191547"/>
                                        </p:tgtEl>
                                      </p:cBhvr>
                                    </p:animEffect>
                                    <p:set>
                                      <p:cBhvr>
                                        <p:cTn id="79" dur="1" fill="hold">
                                          <p:stCondLst>
                                            <p:cond delay="499"/>
                                          </p:stCondLst>
                                        </p:cTn>
                                        <p:tgtEl>
                                          <p:spTgt spid="191547"/>
                                        </p:tgtEl>
                                        <p:attrNameLst>
                                          <p:attrName>style.visibility</p:attrName>
                                        </p:attrNameLst>
                                      </p:cBhvr>
                                      <p:to>
                                        <p:strVal val="hidden"/>
                                      </p:to>
                                    </p:set>
                                  </p:childTnLst>
                                </p:cTn>
                              </p:par>
                            </p:childTnLst>
                          </p:cTn>
                        </p:par>
                        <p:par>
                          <p:cTn id="80" fill="hold">
                            <p:stCondLst>
                              <p:cond delay="500"/>
                            </p:stCondLst>
                            <p:childTnLst>
                              <p:par>
                                <p:cTn id="81" presetID="10" presetClass="entr" presetSubtype="0" fill="hold" grpId="0" nodeType="afterEffect">
                                  <p:stCondLst>
                                    <p:cond delay="0"/>
                                  </p:stCondLst>
                                  <p:childTnLst>
                                    <p:set>
                                      <p:cBhvr>
                                        <p:cTn id="82" dur="1" fill="hold">
                                          <p:stCondLst>
                                            <p:cond delay="0"/>
                                          </p:stCondLst>
                                        </p:cTn>
                                        <p:tgtEl>
                                          <p:spTgt spid="191558"/>
                                        </p:tgtEl>
                                        <p:attrNameLst>
                                          <p:attrName>style.visibility</p:attrName>
                                        </p:attrNameLst>
                                      </p:cBhvr>
                                      <p:to>
                                        <p:strVal val="visible"/>
                                      </p:to>
                                    </p:set>
                                    <p:animEffect transition="in" filter="fade">
                                      <p:cBhvr>
                                        <p:cTn id="83" dur="500"/>
                                        <p:tgtEl>
                                          <p:spTgt spid="191558"/>
                                        </p:tgtEl>
                                      </p:cBhvr>
                                    </p:animEffect>
                                  </p:childTnLst>
                                </p:cTn>
                              </p:par>
                              <p:par>
                                <p:cTn id="84" presetID="22" presetClass="exit" presetSubtype="8" fill="hold" nodeType="withEffect">
                                  <p:stCondLst>
                                    <p:cond delay="0"/>
                                  </p:stCondLst>
                                  <p:childTnLst>
                                    <p:animEffect transition="out" filter="wipe(left)">
                                      <p:cBhvr>
                                        <p:cTn id="85" dur="2000"/>
                                        <p:tgtEl>
                                          <p:spTgt spid="43102"/>
                                        </p:tgtEl>
                                      </p:cBhvr>
                                    </p:animEffect>
                                    <p:set>
                                      <p:cBhvr>
                                        <p:cTn id="86" dur="1" fill="hold">
                                          <p:stCondLst>
                                            <p:cond delay="1999"/>
                                          </p:stCondLst>
                                        </p:cTn>
                                        <p:tgtEl>
                                          <p:spTgt spid="43102"/>
                                        </p:tgtEl>
                                        <p:attrNameLst>
                                          <p:attrName>style.visibility</p:attrName>
                                        </p:attrNameLst>
                                      </p:cBhvr>
                                      <p:to>
                                        <p:strVal val="hidden"/>
                                      </p:to>
                                    </p:set>
                                  </p:childTnLst>
                                </p:cTn>
                              </p:par>
                              <p:par>
                                <p:cTn id="87" presetID="10" presetClass="entr" presetSubtype="0" fill="hold" nodeType="withEffect">
                                  <p:stCondLst>
                                    <p:cond delay="0"/>
                                  </p:stCondLst>
                                  <p:childTnLst>
                                    <p:set>
                                      <p:cBhvr>
                                        <p:cTn id="88" dur="1" fill="hold">
                                          <p:stCondLst>
                                            <p:cond delay="0"/>
                                          </p:stCondLst>
                                        </p:cTn>
                                        <p:tgtEl>
                                          <p:spTgt spid="191576"/>
                                        </p:tgtEl>
                                        <p:attrNameLst>
                                          <p:attrName>style.visibility</p:attrName>
                                        </p:attrNameLst>
                                      </p:cBhvr>
                                      <p:to>
                                        <p:strVal val="visible"/>
                                      </p:to>
                                    </p:set>
                                    <p:animEffect transition="in" filter="fade">
                                      <p:cBhvr>
                                        <p:cTn id="89" dur="500"/>
                                        <p:tgtEl>
                                          <p:spTgt spid="191576"/>
                                        </p:tgtEl>
                                      </p:cBhvr>
                                    </p:animEffect>
                                  </p:childTnLst>
                                </p:cTn>
                              </p:par>
                            </p:childTnLst>
                          </p:cTn>
                        </p:par>
                      </p:childTnLst>
                    </p:cTn>
                  </p:par>
                  <p:par>
                    <p:cTn id="90" fill="hold">
                      <p:stCondLst>
                        <p:cond delay="indefinite"/>
                      </p:stCondLst>
                      <p:childTnLst>
                        <p:par>
                          <p:cTn id="91" fill="hold">
                            <p:stCondLst>
                              <p:cond delay="0"/>
                            </p:stCondLst>
                            <p:childTnLst>
                              <p:par>
                                <p:cTn id="92" presetID="22" presetClass="entr" presetSubtype="2" fill="hold" grpId="0" nodeType="clickEffect">
                                  <p:stCondLst>
                                    <p:cond delay="0"/>
                                  </p:stCondLst>
                                  <p:childTnLst>
                                    <p:set>
                                      <p:cBhvr>
                                        <p:cTn id="93" dur="1" fill="hold">
                                          <p:stCondLst>
                                            <p:cond delay="0"/>
                                          </p:stCondLst>
                                        </p:cTn>
                                        <p:tgtEl>
                                          <p:spTgt spid="191567"/>
                                        </p:tgtEl>
                                        <p:attrNameLst>
                                          <p:attrName>style.visibility</p:attrName>
                                        </p:attrNameLst>
                                      </p:cBhvr>
                                      <p:to>
                                        <p:strVal val="visible"/>
                                      </p:to>
                                    </p:set>
                                    <p:animEffect transition="in" filter="wipe(right)">
                                      <p:cBhvr>
                                        <p:cTn id="94" dur="500"/>
                                        <p:tgtEl>
                                          <p:spTgt spid="191567"/>
                                        </p:tgtEl>
                                      </p:cBhvr>
                                    </p:animEffect>
                                  </p:childTnLst>
                                </p:cTn>
                              </p:par>
                              <p:par>
                                <p:cTn id="95" presetID="10" presetClass="exit" presetSubtype="0" fill="hold" grpId="0" nodeType="withEffect">
                                  <p:stCondLst>
                                    <p:cond delay="0"/>
                                  </p:stCondLst>
                                  <p:childTnLst>
                                    <p:animEffect transition="out" filter="fade">
                                      <p:cBhvr>
                                        <p:cTn id="96" dur="500"/>
                                        <p:tgtEl>
                                          <p:spTgt spid="191576"/>
                                        </p:tgtEl>
                                      </p:cBhvr>
                                    </p:animEffect>
                                    <p:set>
                                      <p:cBhvr>
                                        <p:cTn id="97" dur="1" fill="hold">
                                          <p:stCondLst>
                                            <p:cond delay="499"/>
                                          </p:stCondLst>
                                        </p:cTn>
                                        <p:tgtEl>
                                          <p:spTgt spid="191576"/>
                                        </p:tgtEl>
                                        <p:attrNameLst>
                                          <p:attrName>style.visibility</p:attrName>
                                        </p:attrNameLst>
                                      </p:cBhvr>
                                      <p:to>
                                        <p:strVal val="hidden"/>
                                      </p:to>
                                    </p:set>
                                  </p:childTnLst>
                                </p:cTn>
                              </p:par>
                              <p:par>
                                <p:cTn id="98" presetID="10" presetClass="exit" presetSubtype="0" fill="hold" grpId="1" nodeType="withEffect">
                                  <p:stCondLst>
                                    <p:cond delay="0"/>
                                  </p:stCondLst>
                                  <p:childTnLst>
                                    <p:animEffect transition="out" filter="fade">
                                      <p:cBhvr>
                                        <p:cTn id="99" dur="500"/>
                                        <p:tgtEl>
                                          <p:spTgt spid="191541"/>
                                        </p:tgtEl>
                                      </p:cBhvr>
                                    </p:animEffect>
                                    <p:set>
                                      <p:cBhvr>
                                        <p:cTn id="100" dur="1" fill="hold">
                                          <p:stCondLst>
                                            <p:cond delay="499"/>
                                          </p:stCondLst>
                                        </p:cTn>
                                        <p:tgtEl>
                                          <p:spTgt spid="191541"/>
                                        </p:tgtEl>
                                        <p:attrNameLst>
                                          <p:attrName>style.visibility</p:attrName>
                                        </p:attrNameLst>
                                      </p:cBhvr>
                                      <p:to>
                                        <p:strVal val="hidden"/>
                                      </p:to>
                                    </p:set>
                                  </p:childTnLst>
                                </p:cTn>
                              </p:par>
                              <p:par>
                                <p:cTn id="101" presetID="10" presetClass="exit" presetSubtype="0" fill="hold" grpId="1" nodeType="withEffect">
                                  <p:stCondLst>
                                    <p:cond delay="0"/>
                                  </p:stCondLst>
                                  <p:childTnLst>
                                    <p:animEffect transition="out" filter="fade">
                                      <p:cBhvr>
                                        <p:cTn id="102" dur="500"/>
                                        <p:tgtEl>
                                          <p:spTgt spid="191558"/>
                                        </p:tgtEl>
                                      </p:cBhvr>
                                    </p:animEffect>
                                    <p:set>
                                      <p:cBhvr>
                                        <p:cTn id="103" dur="1" fill="hold">
                                          <p:stCondLst>
                                            <p:cond delay="499"/>
                                          </p:stCondLst>
                                        </p:cTn>
                                        <p:tgtEl>
                                          <p:spTgt spid="191558"/>
                                        </p:tgtEl>
                                        <p:attrNameLst>
                                          <p:attrName>style.visibility</p:attrName>
                                        </p:attrNameLst>
                                      </p:cBhvr>
                                      <p:to>
                                        <p:strVal val="hidden"/>
                                      </p:to>
                                    </p:set>
                                  </p:childTnLst>
                                </p:cTn>
                              </p:par>
                            </p:childTnLst>
                          </p:cTn>
                        </p:par>
                        <p:par>
                          <p:cTn id="104" fill="hold">
                            <p:stCondLst>
                              <p:cond delay="500"/>
                            </p:stCondLst>
                            <p:childTnLst>
                              <p:par>
                                <p:cTn id="105" presetID="10" presetClass="entr" presetSubtype="0" fill="hold" grpId="0" nodeType="afterEffect">
                                  <p:stCondLst>
                                    <p:cond delay="0"/>
                                  </p:stCondLst>
                                  <p:childTnLst>
                                    <p:set>
                                      <p:cBhvr>
                                        <p:cTn id="106" dur="1" fill="hold">
                                          <p:stCondLst>
                                            <p:cond delay="0"/>
                                          </p:stCondLst>
                                        </p:cTn>
                                        <p:tgtEl>
                                          <p:spTgt spid="191559"/>
                                        </p:tgtEl>
                                        <p:attrNameLst>
                                          <p:attrName>style.visibility</p:attrName>
                                        </p:attrNameLst>
                                      </p:cBhvr>
                                      <p:to>
                                        <p:strVal val="visible"/>
                                      </p:to>
                                    </p:set>
                                    <p:animEffect transition="in" filter="fade">
                                      <p:cBhvr>
                                        <p:cTn id="107" dur="500"/>
                                        <p:tgtEl>
                                          <p:spTgt spid="191559"/>
                                        </p:tgtEl>
                                      </p:cBhvr>
                                    </p:animEffect>
                                  </p:childTnLst>
                                </p:cTn>
                              </p:par>
                              <p:par>
                                <p:cTn id="108" presetID="22" presetClass="exit" presetSubtype="8" fill="hold" nodeType="withEffect">
                                  <p:stCondLst>
                                    <p:cond delay="0"/>
                                  </p:stCondLst>
                                  <p:childTnLst>
                                    <p:animEffect transition="out" filter="wipe(left)">
                                      <p:cBhvr>
                                        <p:cTn id="109" dur="2000"/>
                                        <p:tgtEl>
                                          <p:spTgt spid="43103"/>
                                        </p:tgtEl>
                                      </p:cBhvr>
                                    </p:animEffect>
                                    <p:set>
                                      <p:cBhvr>
                                        <p:cTn id="110" dur="1" fill="hold">
                                          <p:stCondLst>
                                            <p:cond delay="1999"/>
                                          </p:stCondLst>
                                        </p:cTn>
                                        <p:tgtEl>
                                          <p:spTgt spid="43103"/>
                                        </p:tgtEl>
                                        <p:attrNameLst>
                                          <p:attrName>style.visibility</p:attrName>
                                        </p:attrNameLst>
                                      </p:cBhvr>
                                      <p:to>
                                        <p:strVal val="hidden"/>
                                      </p:to>
                                    </p:set>
                                  </p:childTnLst>
                                </p:cTn>
                              </p:par>
                              <p:par>
                                <p:cTn id="111" presetID="10" presetClass="entr" presetSubtype="0" fill="hold" grpId="0" nodeType="withEffect">
                                  <p:stCondLst>
                                    <p:cond delay="0"/>
                                  </p:stCondLst>
                                  <p:childTnLst>
                                    <p:set>
                                      <p:cBhvr>
                                        <p:cTn id="112" dur="1" fill="hold">
                                          <p:stCondLst>
                                            <p:cond delay="0"/>
                                          </p:stCondLst>
                                        </p:cTn>
                                        <p:tgtEl>
                                          <p:spTgt spid="191573"/>
                                        </p:tgtEl>
                                        <p:attrNameLst>
                                          <p:attrName>style.visibility</p:attrName>
                                        </p:attrNameLst>
                                      </p:cBhvr>
                                      <p:to>
                                        <p:strVal val="visible"/>
                                      </p:to>
                                    </p:set>
                                    <p:animEffect transition="in" filter="fade">
                                      <p:cBhvr>
                                        <p:cTn id="113" dur="500"/>
                                        <p:tgtEl>
                                          <p:spTgt spid="191573"/>
                                        </p:tgtEl>
                                      </p:cBhvr>
                                    </p:animEffect>
                                  </p:childTnLst>
                                </p:cTn>
                              </p:par>
                            </p:childTnLst>
                          </p:cTn>
                        </p:par>
                      </p:childTnLst>
                    </p:cTn>
                  </p:par>
                  <p:par>
                    <p:cTn id="114" fill="hold">
                      <p:stCondLst>
                        <p:cond delay="indefinite"/>
                      </p:stCondLst>
                      <p:childTnLst>
                        <p:par>
                          <p:cTn id="115" fill="hold">
                            <p:stCondLst>
                              <p:cond delay="0"/>
                            </p:stCondLst>
                            <p:childTnLst>
                              <p:par>
                                <p:cTn id="116" presetID="22" presetClass="entr" presetSubtype="8" fill="hold" grpId="0" nodeType="clickEffect">
                                  <p:stCondLst>
                                    <p:cond delay="0"/>
                                  </p:stCondLst>
                                  <p:childTnLst>
                                    <p:set>
                                      <p:cBhvr>
                                        <p:cTn id="117" dur="1" fill="hold">
                                          <p:stCondLst>
                                            <p:cond delay="0"/>
                                          </p:stCondLst>
                                        </p:cTn>
                                        <p:tgtEl>
                                          <p:spTgt spid="191540"/>
                                        </p:tgtEl>
                                        <p:attrNameLst>
                                          <p:attrName>style.visibility</p:attrName>
                                        </p:attrNameLst>
                                      </p:cBhvr>
                                      <p:to>
                                        <p:strVal val="visible"/>
                                      </p:to>
                                    </p:set>
                                    <p:animEffect transition="in" filter="wipe(left)">
                                      <p:cBhvr>
                                        <p:cTn id="118" dur="500"/>
                                        <p:tgtEl>
                                          <p:spTgt spid="191540"/>
                                        </p:tgtEl>
                                      </p:cBhvr>
                                    </p:animEffect>
                                  </p:childTnLst>
                                </p:cTn>
                              </p:par>
                              <p:par>
                                <p:cTn id="119" presetID="10" presetClass="exit" presetSubtype="0" fill="hold" grpId="1" nodeType="withEffect">
                                  <p:stCondLst>
                                    <p:cond delay="0"/>
                                  </p:stCondLst>
                                  <p:childTnLst>
                                    <p:animEffect transition="out" filter="fade">
                                      <p:cBhvr>
                                        <p:cTn id="120" dur="500"/>
                                        <p:tgtEl>
                                          <p:spTgt spid="191573"/>
                                        </p:tgtEl>
                                      </p:cBhvr>
                                    </p:animEffect>
                                    <p:set>
                                      <p:cBhvr>
                                        <p:cTn id="121" dur="1" fill="hold">
                                          <p:stCondLst>
                                            <p:cond delay="499"/>
                                          </p:stCondLst>
                                        </p:cTn>
                                        <p:tgtEl>
                                          <p:spTgt spid="191573"/>
                                        </p:tgtEl>
                                        <p:attrNameLst>
                                          <p:attrName>style.visibility</p:attrName>
                                        </p:attrNameLst>
                                      </p:cBhvr>
                                      <p:to>
                                        <p:strVal val="hidden"/>
                                      </p:to>
                                    </p:set>
                                  </p:childTnLst>
                                </p:cTn>
                              </p:par>
                              <p:par>
                                <p:cTn id="122" presetID="10" presetClass="exit" presetSubtype="0" fill="hold" grpId="1" nodeType="withEffect">
                                  <p:stCondLst>
                                    <p:cond delay="0"/>
                                  </p:stCondLst>
                                  <p:childTnLst>
                                    <p:animEffect transition="out" filter="fade">
                                      <p:cBhvr>
                                        <p:cTn id="123" dur="500"/>
                                        <p:tgtEl>
                                          <p:spTgt spid="191559"/>
                                        </p:tgtEl>
                                      </p:cBhvr>
                                    </p:animEffect>
                                    <p:set>
                                      <p:cBhvr>
                                        <p:cTn id="124" dur="1" fill="hold">
                                          <p:stCondLst>
                                            <p:cond delay="499"/>
                                          </p:stCondLst>
                                        </p:cTn>
                                        <p:tgtEl>
                                          <p:spTgt spid="191559"/>
                                        </p:tgtEl>
                                        <p:attrNameLst>
                                          <p:attrName>style.visibility</p:attrName>
                                        </p:attrNameLst>
                                      </p:cBhvr>
                                      <p:to>
                                        <p:strVal val="hidden"/>
                                      </p:to>
                                    </p:set>
                                  </p:childTnLst>
                                </p:cTn>
                              </p:par>
                              <p:par>
                                <p:cTn id="125" presetID="10" presetClass="exit" presetSubtype="0" fill="hold" grpId="1" nodeType="withEffect">
                                  <p:stCondLst>
                                    <p:cond delay="0"/>
                                  </p:stCondLst>
                                  <p:childTnLst>
                                    <p:animEffect transition="out" filter="fade">
                                      <p:cBhvr>
                                        <p:cTn id="126" dur="500"/>
                                        <p:tgtEl>
                                          <p:spTgt spid="191567"/>
                                        </p:tgtEl>
                                      </p:cBhvr>
                                    </p:animEffect>
                                    <p:set>
                                      <p:cBhvr>
                                        <p:cTn id="127" dur="1" fill="hold">
                                          <p:stCondLst>
                                            <p:cond delay="499"/>
                                          </p:stCondLst>
                                        </p:cTn>
                                        <p:tgtEl>
                                          <p:spTgt spid="191567"/>
                                        </p:tgtEl>
                                        <p:attrNameLst>
                                          <p:attrName>style.visibility</p:attrName>
                                        </p:attrNameLst>
                                      </p:cBhvr>
                                      <p:to>
                                        <p:strVal val="hidden"/>
                                      </p:to>
                                    </p:set>
                                  </p:childTnLst>
                                </p:cTn>
                              </p:par>
                            </p:childTnLst>
                          </p:cTn>
                        </p:par>
                        <p:par>
                          <p:cTn id="128" fill="hold">
                            <p:stCondLst>
                              <p:cond delay="500"/>
                            </p:stCondLst>
                            <p:childTnLst>
                              <p:par>
                                <p:cTn id="129" presetID="10" presetClass="entr" presetSubtype="0" fill="hold" grpId="0" nodeType="afterEffect">
                                  <p:stCondLst>
                                    <p:cond delay="0"/>
                                  </p:stCondLst>
                                  <p:childTnLst>
                                    <p:set>
                                      <p:cBhvr>
                                        <p:cTn id="130" dur="1" fill="hold">
                                          <p:stCondLst>
                                            <p:cond delay="0"/>
                                          </p:stCondLst>
                                        </p:cTn>
                                        <p:tgtEl>
                                          <p:spTgt spid="191561"/>
                                        </p:tgtEl>
                                        <p:attrNameLst>
                                          <p:attrName>style.visibility</p:attrName>
                                        </p:attrNameLst>
                                      </p:cBhvr>
                                      <p:to>
                                        <p:strVal val="visible"/>
                                      </p:to>
                                    </p:set>
                                    <p:animEffect transition="in" filter="fade">
                                      <p:cBhvr>
                                        <p:cTn id="131" dur="500"/>
                                        <p:tgtEl>
                                          <p:spTgt spid="191561"/>
                                        </p:tgtEl>
                                      </p:cBhvr>
                                    </p:animEffect>
                                  </p:childTnLst>
                                </p:cTn>
                              </p:par>
                              <p:par>
                                <p:cTn id="132" presetID="10" presetClass="entr" presetSubtype="0" fill="hold" grpId="0" nodeType="withEffect">
                                  <p:stCondLst>
                                    <p:cond delay="0"/>
                                  </p:stCondLst>
                                  <p:childTnLst>
                                    <p:set>
                                      <p:cBhvr>
                                        <p:cTn id="133" dur="1" fill="hold">
                                          <p:stCondLst>
                                            <p:cond delay="0"/>
                                          </p:stCondLst>
                                        </p:cTn>
                                        <p:tgtEl>
                                          <p:spTgt spid="191570"/>
                                        </p:tgtEl>
                                        <p:attrNameLst>
                                          <p:attrName>style.visibility</p:attrName>
                                        </p:attrNameLst>
                                      </p:cBhvr>
                                      <p:to>
                                        <p:strVal val="visible"/>
                                      </p:to>
                                    </p:set>
                                    <p:animEffect transition="in" filter="fade">
                                      <p:cBhvr>
                                        <p:cTn id="134" dur="500"/>
                                        <p:tgtEl>
                                          <p:spTgt spid="191570"/>
                                        </p:tgtEl>
                                      </p:cBhvr>
                                    </p:animEffect>
                                  </p:childTnLst>
                                </p:cTn>
                              </p:par>
                              <p:par>
                                <p:cTn id="135" presetID="22" presetClass="exit" presetSubtype="8" fill="hold" nodeType="withEffect">
                                  <p:stCondLst>
                                    <p:cond delay="0"/>
                                  </p:stCondLst>
                                  <p:childTnLst>
                                    <p:animEffect transition="out" filter="wipe(left)">
                                      <p:cBhvr>
                                        <p:cTn id="136" dur="2000"/>
                                        <p:tgtEl>
                                          <p:spTgt spid="43104"/>
                                        </p:tgtEl>
                                      </p:cBhvr>
                                    </p:animEffect>
                                    <p:set>
                                      <p:cBhvr>
                                        <p:cTn id="137" dur="1" fill="hold">
                                          <p:stCondLst>
                                            <p:cond delay="1999"/>
                                          </p:stCondLst>
                                        </p:cTn>
                                        <p:tgtEl>
                                          <p:spTgt spid="43104"/>
                                        </p:tgtEl>
                                        <p:attrNameLst>
                                          <p:attrName>style.visibility</p:attrName>
                                        </p:attrNameLst>
                                      </p:cBhvr>
                                      <p:to>
                                        <p:strVal val="hidden"/>
                                      </p:to>
                                    </p:set>
                                  </p:childTnLst>
                                </p:cTn>
                              </p:par>
                            </p:childTnLst>
                          </p:cTn>
                        </p:par>
                      </p:childTnLst>
                    </p:cTn>
                  </p:par>
                  <p:par>
                    <p:cTn id="138" fill="hold">
                      <p:stCondLst>
                        <p:cond delay="indefinite"/>
                      </p:stCondLst>
                      <p:childTnLst>
                        <p:par>
                          <p:cTn id="139" fill="hold">
                            <p:stCondLst>
                              <p:cond delay="0"/>
                            </p:stCondLst>
                            <p:childTnLst>
                              <p:par>
                                <p:cTn id="140" presetID="22" presetClass="entr" presetSubtype="8" fill="hold" grpId="1" nodeType="clickEffect">
                                  <p:stCondLst>
                                    <p:cond delay="0"/>
                                  </p:stCondLst>
                                  <p:childTnLst>
                                    <p:set>
                                      <p:cBhvr>
                                        <p:cTn id="141" dur="1" fill="hold">
                                          <p:stCondLst>
                                            <p:cond delay="0"/>
                                          </p:stCondLst>
                                        </p:cTn>
                                        <p:tgtEl>
                                          <p:spTgt spid="191540"/>
                                        </p:tgtEl>
                                        <p:attrNameLst>
                                          <p:attrName>style.visibility</p:attrName>
                                        </p:attrNameLst>
                                      </p:cBhvr>
                                      <p:to>
                                        <p:strVal val="visible"/>
                                      </p:to>
                                    </p:set>
                                    <p:animEffect transition="in" filter="wipe(left)">
                                      <p:cBhvr>
                                        <p:cTn id="142" dur="500"/>
                                        <p:tgtEl>
                                          <p:spTgt spid="191540"/>
                                        </p:tgtEl>
                                      </p:cBhvr>
                                    </p:animEffect>
                                  </p:childTnLst>
                                </p:cTn>
                              </p:par>
                              <p:par>
                                <p:cTn id="143" presetID="10" presetClass="exit" presetSubtype="0" fill="hold" grpId="1" nodeType="withEffect">
                                  <p:stCondLst>
                                    <p:cond delay="0"/>
                                  </p:stCondLst>
                                  <p:childTnLst>
                                    <p:animEffect transition="out" filter="fade">
                                      <p:cBhvr>
                                        <p:cTn id="144" dur="500"/>
                                        <p:tgtEl>
                                          <p:spTgt spid="191570"/>
                                        </p:tgtEl>
                                      </p:cBhvr>
                                    </p:animEffect>
                                    <p:set>
                                      <p:cBhvr>
                                        <p:cTn id="145" dur="1" fill="hold">
                                          <p:stCondLst>
                                            <p:cond delay="499"/>
                                          </p:stCondLst>
                                        </p:cTn>
                                        <p:tgtEl>
                                          <p:spTgt spid="191570"/>
                                        </p:tgtEl>
                                        <p:attrNameLst>
                                          <p:attrName>style.visibility</p:attrName>
                                        </p:attrNameLst>
                                      </p:cBhvr>
                                      <p:to>
                                        <p:strVal val="hidden"/>
                                      </p:to>
                                    </p:set>
                                  </p:childTnLst>
                                </p:cTn>
                              </p:par>
                              <p:par>
                                <p:cTn id="146" presetID="10" presetClass="exit" presetSubtype="0" fill="hold" grpId="1" nodeType="withEffect">
                                  <p:stCondLst>
                                    <p:cond delay="0"/>
                                  </p:stCondLst>
                                  <p:childTnLst>
                                    <p:animEffect transition="out" filter="fade">
                                      <p:cBhvr>
                                        <p:cTn id="147" dur="500"/>
                                        <p:tgtEl>
                                          <p:spTgt spid="191561"/>
                                        </p:tgtEl>
                                      </p:cBhvr>
                                    </p:animEffect>
                                    <p:set>
                                      <p:cBhvr>
                                        <p:cTn id="148" dur="1" fill="hold">
                                          <p:stCondLst>
                                            <p:cond delay="499"/>
                                          </p:stCondLst>
                                        </p:cTn>
                                        <p:tgtEl>
                                          <p:spTgt spid="191561"/>
                                        </p:tgtEl>
                                        <p:attrNameLst>
                                          <p:attrName>style.visibility</p:attrName>
                                        </p:attrNameLst>
                                      </p:cBhvr>
                                      <p:to>
                                        <p:strVal val="hidden"/>
                                      </p:to>
                                    </p:set>
                                  </p:childTnLst>
                                </p:cTn>
                              </p:par>
                            </p:childTnLst>
                          </p:cTn>
                        </p:par>
                        <p:par>
                          <p:cTn id="149" fill="hold">
                            <p:stCondLst>
                              <p:cond delay="500"/>
                            </p:stCondLst>
                            <p:childTnLst>
                              <p:par>
                                <p:cTn id="150" presetID="10" presetClass="entr" presetSubtype="0" fill="hold" grpId="0" nodeType="afterEffect">
                                  <p:stCondLst>
                                    <p:cond delay="0"/>
                                  </p:stCondLst>
                                  <p:childTnLst>
                                    <p:set>
                                      <p:cBhvr>
                                        <p:cTn id="151" dur="1" fill="hold">
                                          <p:stCondLst>
                                            <p:cond delay="0"/>
                                          </p:stCondLst>
                                        </p:cTn>
                                        <p:tgtEl>
                                          <p:spTgt spid="191562"/>
                                        </p:tgtEl>
                                        <p:attrNameLst>
                                          <p:attrName>style.visibility</p:attrName>
                                        </p:attrNameLst>
                                      </p:cBhvr>
                                      <p:to>
                                        <p:strVal val="visible"/>
                                      </p:to>
                                    </p:set>
                                    <p:animEffect transition="in" filter="fade">
                                      <p:cBhvr>
                                        <p:cTn id="152" dur="500"/>
                                        <p:tgtEl>
                                          <p:spTgt spid="191562"/>
                                        </p:tgtEl>
                                      </p:cBhvr>
                                    </p:animEffect>
                                  </p:childTnLst>
                                </p:cTn>
                              </p:par>
                              <p:par>
                                <p:cTn id="153" presetID="10" presetClass="entr" presetSubtype="0" fill="hold" grpId="0" nodeType="withEffect">
                                  <p:stCondLst>
                                    <p:cond delay="0"/>
                                  </p:stCondLst>
                                  <p:childTnLst>
                                    <p:set>
                                      <p:cBhvr>
                                        <p:cTn id="154" dur="1" fill="hold">
                                          <p:stCondLst>
                                            <p:cond delay="0"/>
                                          </p:stCondLst>
                                        </p:cTn>
                                        <p:tgtEl>
                                          <p:spTgt spid="191571"/>
                                        </p:tgtEl>
                                        <p:attrNameLst>
                                          <p:attrName>style.visibility</p:attrName>
                                        </p:attrNameLst>
                                      </p:cBhvr>
                                      <p:to>
                                        <p:strVal val="visible"/>
                                      </p:to>
                                    </p:set>
                                    <p:animEffect transition="in" filter="fade">
                                      <p:cBhvr>
                                        <p:cTn id="155" dur="500"/>
                                        <p:tgtEl>
                                          <p:spTgt spid="191571"/>
                                        </p:tgtEl>
                                      </p:cBhvr>
                                    </p:animEffect>
                                  </p:childTnLst>
                                </p:cTn>
                              </p:par>
                              <p:par>
                                <p:cTn id="156" presetID="22" presetClass="exit" presetSubtype="8" fill="hold" nodeType="withEffect">
                                  <p:stCondLst>
                                    <p:cond delay="0"/>
                                  </p:stCondLst>
                                  <p:childTnLst>
                                    <p:animEffect transition="out" filter="wipe(left)">
                                      <p:cBhvr>
                                        <p:cTn id="157" dur="2000"/>
                                        <p:tgtEl>
                                          <p:spTgt spid="43105"/>
                                        </p:tgtEl>
                                      </p:cBhvr>
                                    </p:animEffect>
                                    <p:set>
                                      <p:cBhvr>
                                        <p:cTn id="158" dur="1" fill="hold">
                                          <p:stCondLst>
                                            <p:cond delay="1999"/>
                                          </p:stCondLst>
                                        </p:cTn>
                                        <p:tgtEl>
                                          <p:spTgt spid="43105"/>
                                        </p:tgtEl>
                                        <p:attrNameLst>
                                          <p:attrName>style.visibility</p:attrName>
                                        </p:attrNameLst>
                                      </p:cBhvr>
                                      <p:to>
                                        <p:strVal val="hidden"/>
                                      </p:to>
                                    </p:set>
                                  </p:childTnLst>
                                </p:cTn>
                              </p:par>
                            </p:childTnLst>
                          </p:cTn>
                        </p:par>
                      </p:childTnLst>
                    </p:cTn>
                  </p:par>
                  <p:par>
                    <p:cTn id="159" fill="hold">
                      <p:stCondLst>
                        <p:cond delay="indefinite"/>
                      </p:stCondLst>
                      <p:childTnLst>
                        <p:par>
                          <p:cTn id="160" fill="hold">
                            <p:stCondLst>
                              <p:cond delay="0"/>
                            </p:stCondLst>
                            <p:childTnLst>
                              <p:par>
                                <p:cTn id="161" presetID="22" presetClass="entr" presetSubtype="8" fill="hold" grpId="0" nodeType="clickEffect">
                                  <p:stCondLst>
                                    <p:cond delay="0"/>
                                  </p:stCondLst>
                                  <p:childTnLst>
                                    <p:set>
                                      <p:cBhvr>
                                        <p:cTn id="162" dur="1" fill="hold">
                                          <p:stCondLst>
                                            <p:cond delay="0"/>
                                          </p:stCondLst>
                                        </p:cTn>
                                        <p:tgtEl>
                                          <p:spTgt spid="191549"/>
                                        </p:tgtEl>
                                        <p:attrNameLst>
                                          <p:attrName>style.visibility</p:attrName>
                                        </p:attrNameLst>
                                      </p:cBhvr>
                                      <p:to>
                                        <p:strVal val="visible"/>
                                      </p:to>
                                    </p:set>
                                    <p:animEffect transition="in" filter="wipe(left)">
                                      <p:cBhvr>
                                        <p:cTn id="163" dur="500"/>
                                        <p:tgtEl>
                                          <p:spTgt spid="191549"/>
                                        </p:tgtEl>
                                      </p:cBhvr>
                                    </p:animEffect>
                                  </p:childTnLst>
                                </p:cTn>
                              </p:par>
                              <p:par>
                                <p:cTn id="164" presetID="10" presetClass="exit" presetSubtype="0" fill="hold" grpId="1" nodeType="withEffect">
                                  <p:stCondLst>
                                    <p:cond delay="0"/>
                                  </p:stCondLst>
                                  <p:childTnLst>
                                    <p:animEffect transition="out" filter="fade">
                                      <p:cBhvr>
                                        <p:cTn id="165" dur="500"/>
                                        <p:tgtEl>
                                          <p:spTgt spid="191571"/>
                                        </p:tgtEl>
                                      </p:cBhvr>
                                    </p:animEffect>
                                    <p:set>
                                      <p:cBhvr>
                                        <p:cTn id="166" dur="1" fill="hold">
                                          <p:stCondLst>
                                            <p:cond delay="499"/>
                                          </p:stCondLst>
                                        </p:cTn>
                                        <p:tgtEl>
                                          <p:spTgt spid="191571"/>
                                        </p:tgtEl>
                                        <p:attrNameLst>
                                          <p:attrName>style.visibility</p:attrName>
                                        </p:attrNameLst>
                                      </p:cBhvr>
                                      <p:to>
                                        <p:strVal val="hidden"/>
                                      </p:to>
                                    </p:set>
                                  </p:childTnLst>
                                </p:cTn>
                              </p:par>
                              <p:par>
                                <p:cTn id="167" presetID="10" presetClass="exit" presetSubtype="0" fill="hold" grpId="2" nodeType="withEffect">
                                  <p:stCondLst>
                                    <p:cond delay="0"/>
                                  </p:stCondLst>
                                  <p:childTnLst>
                                    <p:animEffect transition="out" filter="fade">
                                      <p:cBhvr>
                                        <p:cTn id="168" dur="500"/>
                                        <p:tgtEl>
                                          <p:spTgt spid="191540"/>
                                        </p:tgtEl>
                                      </p:cBhvr>
                                    </p:animEffect>
                                    <p:set>
                                      <p:cBhvr>
                                        <p:cTn id="169" dur="1" fill="hold">
                                          <p:stCondLst>
                                            <p:cond delay="499"/>
                                          </p:stCondLst>
                                        </p:cTn>
                                        <p:tgtEl>
                                          <p:spTgt spid="191540"/>
                                        </p:tgtEl>
                                        <p:attrNameLst>
                                          <p:attrName>style.visibility</p:attrName>
                                        </p:attrNameLst>
                                      </p:cBhvr>
                                      <p:to>
                                        <p:strVal val="hidden"/>
                                      </p:to>
                                    </p:set>
                                  </p:childTnLst>
                                </p:cTn>
                              </p:par>
                              <p:par>
                                <p:cTn id="170" presetID="10" presetClass="exit" presetSubtype="0" fill="hold" grpId="1" nodeType="withEffect">
                                  <p:stCondLst>
                                    <p:cond delay="0"/>
                                  </p:stCondLst>
                                  <p:childTnLst>
                                    <p:animEffect transition="out" filter="fade">
                                      <p:cBhvr>
                                        <p:cTn id="171" dur="500"/>
                                        <p:tgtEl>
                                          <p:spTgt spid="191562"/>
                                        </p:tgtEl>
                                      </p:cBhvr>
                                    </p:animEffect>
                                    <p:set>
                                      <p:cBhvr>
                                        <p:cTn id="172" dur="1" fill="hold">
                                          <p:stCondLst>
                                            <p:cond delay="499"/>
                                          </p:stCondLst>
                                        </p:cTn>
                                        <p:tgtEl>
                                          <p:spTgt spid="191562"/>
                                        </p:tgtEl>
                                        <p:attrNameLst>
                                          <p:attrName>style.visibility</p:attrName>
                                        </p:attrNameLst>
                                      </p:cBhvr>
                                      <p:to>
                                        <p:strVal val="hidden"/>
                                      </p:to>
                                    </p:set>
                                  </p:childTnLst>
                                </p:cTn>
                              </p:par>
                            </p:childTnLst>
                          </p:cTn>
                        </p:par>
                        <p:par>
                          <p:cTn id="173" fill="hold">
                            <p:stCondLst>
                              <p:cond delay="500"/>
                            </p:stCondLst>
                            <p:childTnLst>
                              <p:par>
                                <p:cTn id="174" presetID="10" presetClass="entr" presetSubtype="0" fill="hold" grpId="0" nodeType="afterEffect">
                                  <p:stCondLst>
                                    <p:cond delay="0"/>
                                  </p:stCondLst>
                                  <p:childTnLst>
                                    <p:set>
                                      <p:cBhvr>
                                        <p:cTn id="175" dur="1" fill="hold">
                                          <p:stCondLst>
                                            <p:cond delay="0"/>
                                          </p:stCondLst>
                                        </p:cTn>
                                        <p:tgtEl>
                                          <p:spTgt spid="191563"/>
                                        </p:tgtEl>
                                        <p:attrNameLst>
                                          <p:attrName>style.visibility</p:attrName>
                                        </p:attrNameLst>
                                      </p:cBhvr>
                                      <p:to>
                                        <p:strVal val="visible"/>
                                      </p:to>
                                    </p:set>
                                    <p:animEffect transition="in" filter="fade">
                                      <p:cBhvr>
                                        <p:cTn id="176" dur="500"/>
                                        <p:tgtEl>
                                          <p:spTgt spid="191563"/>
                                        </p:tgtEl>
                                      </p:cBhvr>
                                    </p:animEffect>
                                  </p:childTnLst>
                                </p:cTn>
                              </p:par>
                              <p:par>
                                <p:cTn id="177" presetID="10" presetClass="entr" presetSubtype="0" fill="hold" grpId="0" nodeType="withEffect">
                                  <p:stCondLst>
                                    <p:cond delay="0"/>
                                  </p:stCondLst>
                                  <p:childTnLst>
                                    <p:set>
                                      <p:cBhvr>
                                        <p:cTn id="178" dur="1" fill="hold">
                                          <p:stCondLst>
                                            <p:cond delay="0"/>
                                          </p:stCondLst>
                                        </p:cTn>
                                        <p:tgtEl>
                                          <p:spTgt spid="191574"/>
                                        </p:tgtEl>
                                        <p:attrNameLst>
                                          <p:attrName>style.visibility</p:attrName>
                                        </p:attrNameLst>
                                      </p:cBhvr>
                                      <p:to>
                                        <p:strVal val="visible"/>
                                      </p:to>
                                    </p:set>
                                    <p:animEffect transition="in" filter="fade">
                                      <p:cBhvr>
                                        <p:cTn id="179" dur="500"/>
                                        <p:tgtEl>
                                          <p:spTgt spid="191574"/>
                                        </p:tgtEl>
                                      </p:cBhvr>
                                    </p:animEffect>
                                  </p:childTnLst>
                                </p:cTn>
                              </p:par>
                              <p:par>
                                <p:cTn id="180" presetID="22" presetClass="exit" presetSubtype="8" fill="hold" nodeType="withEffect">
                                  <p:stCondLst>
                                    <p:cond delay="0"/>
                                  </p:stCondLst>
                                  <p:childTnLst>
                                    <p:animEffect transition="out" filter="wipe(left)">
                                      <p:cBhvr>
                                        <p:cTn id="181" dur="2000"/>
                                        <p:tgtEl>
                                          <p:spTgt spid="43106"/>
                                        </p:tgtEl>
                                      </p:cBhvr>
                                    </p:animEffect>
                                    <p:set>
                                      <p:cBhvr>
                                        <p:cTn id="182" dur="1" fill="hold">
                                          <p:stCondLst>
                                            <p:cond delay="1999"/>
                                          </p:stCondLst>
                                        </p:cTn>
                                        <p:tgtEl>
                                          <p:spTgt spid="43106"/>
                                        </p:tgtEl>
                                        <p:attrNameLst>
                                          <p:attrName>style.visibility</p:attrName>
                                        </p:attrNameLst>
                                      </p:cBhvr>
                                      <p:to>
                                        <p:strVal val="hidden"/>
                                      </p:to>
                                    </p:set>
                                  </p:childTnLst>
                                </p:cTn>
                              </p:par>
                            </p:childTnLst>
                          </p:cTn>
                        </p:par>
                      </p:childTnLst>
                    </p:cTn>
                  </p:par>
                  <p:par>
                    <p:cTn id="183" fill="hold">
                      <p:stCondLst>
                        <p:cond delay="indefinite"/>
                      </p:stCondLst>
                      <p:childTnLst>
                        <p:par>
                          <p:cTn id="184" fill="hold">
                            <p:stCondLst>
                              <p:cond delay="0"/>
                            </p:stCondLst>
                            <p:childTnLst>
                              <p:par>
                                <p:cTn id="185" presetID="22" presetClass="entr" presetSubtype="8" fill="hold" grpId="0" nodeType="clickEffect">
                                  <p:stCondLst>
                                    <p:cond delay="0"/>
                                  </p:stCondLst>
                                  <p:childTnLst>
                                    <p:set>
                                      <p:cBhvr>
                                        <p:cTn id="186" dur="1" fill="hold">
                                          <p:stCondLst>
                                            <p:cond delay="0"/>
                                          </p:stCondLst>
                                        </p:cTn>
                                        <p:tgtEl>
                                          <p:spTgt spid="191548"/>
                                        </p:tgtEl>
                                        <p:attrNameLst>
                                          <p:attrName>style.visibility</p:attrName>
                                        </p:attrNameLst>
                                      </p:cBhvr>
                                      <p:to>
                                        <p:strVal val="visible"/>
                                      </p:to>
                                    </p:set>
                                    <p:animEffect transition="in" filter="wipe(left)">
                                      <p:cBhvr>
                                        <p:cTn id="187" dur="500"/>
                                        <p:tgtEl>
                                          <p:spTgt spid="191548"/>
                                        </p:tgtEl>
                                      </p:cBhvr>
                                    </p:animEffect>
                                  </p:childTnLst>
                                </p:cTn>
                              </p:par>
                              <p:par>
                                <p:cTn id="188" presetID="10" presetClass="exit" presetSubtype="0" fill="hold" grpId="1" nodeType="withEffect">
                                  <p:stCondLst>
                                    <p:cond delay="0"/>
                                  </p:stCondLst>
                                  <p:childTnLst>
                                    <p:animEffect transition="out" filter="fade">
                                      <p:cBhvr>
                                        <p:cTn id="189" dur="500"/>
                                        <p:tgtEl>
                                          <p:spTgt spid="191574"/>
                                        </p:tgtEl>
                                      </p:cBhvr>
                                    </p:animEffect>
                                    <p:set>
                                      <p:cBhvr>
                                        <p:cTn id="190" dur="1" fill="hold">
                                          <p:stCondLst>
                                            <p:cond delay="499"/>
                                          </p:stCondLst>
                                        </p:cTn>
                                        <p:tgtEl>
                                          <p:spTgt spid="191574"/>
                                        </p:tgtEl>
                                        <p:attrNameLst>
                                          <p:attrName>style.visibility</p:attrName>
                                        </p:attrNameLst>
                                      </p:cBhvr>
                                      <p:to>
                                        <p:strVal val="hidden"/>
                                      </p:to>
                                    </p:set>
                                  </p:childTnLst>
                                </p:cTn>
                              </p:par>
                              <p:par>
                                <p:cTn id="191" presetID="10" presetClass="exit" presetSubtype="0" fill="hold" grpId="1" nodeType="withEffect">
                                  <p:stCondLst>
                                    <p:cond delay="0"/>
                                  </p:stCondLst>
                                  <p:childTnLst>
                                    <p:animEffect transition="out" filter="fade">
                                      <p:cBhvr>
                                        <p:cTn id="192" dur="500"/>
                                        <p:tgtEl>
                                          <p:spTgt spid="191563"/>
                                        </p:tgtEl>
                                      </p:cBhvr>
                                    </p:animEffect>
                                    <p:set>
                                      <p:cBhvr>
                                        <p:cTn id="193" dur="1" fill="hold">
                                          <p:stCondLst>
                                            <p:cond delay="499"/>
                                          </p:stCondLst>
                                        </p:cTn>
                                        <p:tgtEl>
                                          <p:spTgt spid="191563"/>
                                        </p:tgtEl>
                                        <p:attrNameLst>
                                          <p:attrName>style.visibility</p:attrName>
                                        </p:attrNameLst>
                                      </p:cBhvr>
                                      <p:to>
                                        <p:strVal val="hidden"/>
                                      </p:to>
                                    </p:set>
                                  </p:childTnLst>
                                </p:cTn>
                              </p:par>
                              <p:par>
                                <p:cTn id="194" presetID="10" presetClass="exit" presetSubtype="0" fill="hold" grpId="1" nodeType="withEffect">
                                  <p:stCondLst>
                                    <p:cond delay="0"/>
                                  </p:stCondLst>
                                  <p:childTnLst>
                                    <p:animEffect transition="out" filter="fade">
                                      <p:cBhvr>
                                        <p:cTn id="195" dur="500"/>
                                        <p:tgtEl>
                                          <p:spTgt spid="191549"/>
                                        </p:tgtEl>
                                      </p:cBhvr>
                                    </p:animEffect>
                                    <p:set>
                                      <p:cBhvr>
                                        <p:cTn id="196" dur="1" fill="hold">
                                          <p:stCondLst>
                                            <p:cond delay="499"/>
                                          </p:stCondLst>
                                        </p:cTn>
                                        <p:tgtEl>
                                          <p:spTgt spid="191549"/>
                                        </p:tgtEl>
                                        <p:attrNameLst>
                                          <p:attrName>style.visibility</p:attrName>
                                        </p:attrNameLst>
                                      </p:cBhvr>
                                      <p:to>
                                        <p:strVal val="hidden"/>
                                      </p:to>
                                    </p:set>
                                  </p:childTnLst>
                                </p:cTn>
                              </p:par>
                            </p:childTnLst>
                          </p:cTn>
                        </p:par>
                        <p:par>
                          <p:cTn id="197" fill="hold">
                            <p:stCondLst>
                              <p:cond delay="500"/>
                            </p:stCondLst>
                            <p:childTnLst>
                              <p:par>
                                <p:cTn id="198" presetID="10" presetClass="entr" presetSubtype="0" fill="hold" grpId="0" nodeType="afterEffect">
                                  <p:stCondLst>
                                    <p:cond delay="0"/>
                                  </p:stCondLst>
                                  <p:childTnLst>
                                    <p:set>
                                      <p:cBhvr>
                                        <p:cTn id="199" dur="1" fill="hold">
                                          <p:stCondLst>
                                            <p:cond delay="0"/>
                                          </p:stCondLst>
                                        </p:cTn>
                                        <p:tgtEl>
                                          <p:spTgt spid="191566"/>
                                        </p:tgtEl>
                                        <p:attrNameLst>
                                          <p:attrName>style.visibility</p:attrName>
                                        </p:attrNameLst>
                                      </p:cBhvr>
                                      <p:to>
                                        <p:strVal val="visible"/>
                                      </p:to>
                                    </p:set>
                                    <p:animEffect transition="in" filter="fade">
                                      <p:cBhvr>
                                        <p:cTn id="200" dur="500"/>
                                        <p:tgtEl>
                                          <p:spTgt spid="191566"/>
                                        </p:tgtEl>
                                      </p:cBhvr>
                                    </p:animEffect>
                                  </p:childTnLst>
                                </p:cTn>
                              </p:par>
                              <p:par>
                                <p:cTn id="201" presetID="10" presetClass="entr" presetSubtype="0" fill="hold" grpId="0" nodeType="withEffect">
                                  <p:stCondLst>
                                    <p:cond delay="0"/>
                                  </p:stCondLst>
                                  <p:childTnLst>
                                    <p:set>
                                      <p:cBhvr>
                                        <p:cTn id="202" dur="1" fill="hold">
                                          <p:stCondLst>
                                            <p:cond delay="0"/>
                                          </p:stCondLst>
                                        </p:cTn>
                                        <p:tgtEl>
                                          <p:spTgt spid="191575"/>
                                        </p:tgtEl>
                                        <p:attrNameLst>
                                          <p:attrName>style.visibility</p:attrName>
                                        </p:attrNameLst>
                                      </p:cBhvr>
                                      <p:to>
                                        <p:strVal val="visible"/>
                                      </p:to>
                                    </p:set>
                                    <p:animEffect transition="in" filter="fade">
                                      <p:cBhvr>
                                        <p:cTn id="203" dur="500"/>
                                        <p:tgtEl>
                                          <p:spTgt spid="191575"/>
                                        </p:tgtEl>
                                      </p:cBhvr>
                                    </p:animEffect>
                                  </p:childTnLst>
                                </p:cTn>
                              </p:par>
                              <p:par>
                                <p:cTn id="204" presetID="22" presetClass="exit" presetSubtype="8" fill="hold" nodeType="withEffect">
                                  <p:stCondLst>
                                    <p:cond delay="0"/>
                                  </p:stCondLst>
                                  <p:childTnLst>
                                    <p:animEffect transition="out" filter="wipe(left)">
                                      <p:cBhvr>
                                        <p:cTn id="205" dur="500"/>
                                        <p:tgtEl>
                                          <p:spTgt spid="43107"/>
                                        </p:tgtEl>
                                      </p:cBhvr>
                                    </p:animEffect>
                                    <p:set>
                                      <p:cBhvr>
                                        <p:cTn id="206" dur="1" fill="hold">
                                          <p:stCondLst>
                                            <p:cond delay="499"/>
                                          </p:stCondLst>
                                        </p:cTn>
                                        <p:tgtEl>
                                          <p:spTgt spid="43107"/>
                                        </p:tgtEl>
                                        <p:attrNameLst>
                                          <p:attrName>style.visibility</p:attrName>
                                        </p:attrNameLst>
                                      </p:cBhvr>
                                      <p:to>
                                        <p:strVal val="hidden"/>
                                      </p:to>
                                    </p:set>
                                  </p:childTnLst>
                                </p:cTn>
                              </p:par>
                            </p:childTnLst>
                          </p:cTn>
                        </p:par>
                        <p:par>
                          <p:cTn id="207" fill="hold">
                            <p:stCondLst>
                              <p:cond delay="1000"/>
                            </p:stCondLst>
                            <p:childTnLst>
                              <p:par>
                                <p:cTn id="208" presetID="53" presetClass="entr" presetSubtype="16" fill="hold" nodeType="afterEffect">
                                  <p:stCondLst>
                                    <p:cond delay="0"/>
                                  </p:stCondLst>
                                  <p:childTnLst>
                                    <p:set>
                                      <p:cBhvr>
                                        <p:cTn id="209" dur="1" fill="hold">
                                          <p:stCondLst>
                                            <p:cond delay="0"/>
                                          </p:stCondLst>
                                        </p:cTn>
                                        <p:tgtEl>
                                          <p:spTgt spid="11"/>
                                        </p:tgtEl>
                                        <p:attrNameLst>
                                          <p:attrName>style.visibility</p:attrName>
                                        </p:attrNameLst>
                                      </p:cBhvr>
                                      <p:to>
                                        <p:strVal val="visible"/>
                                      </p:to>
                                    </p:set>
                                    <p:anim calcmode="lin" valueType="num">
                                      <p:cBhvr>
                                        <p:cTn id="210" dur="2000" fill="hold"/>
                                        <p:tgtEl>
                                          <p:spTgt spid="11"/>
                                        </p:tgtEl>
                                        <p:attrNameLst>
                                          <p:attrName>ppt_w</p:attrName>
                                        </p:attrNameLst>
                                      </p:cBhvr>
                                      <p:tavLst>
                                        <p:tav tm="0">
                                          <p:val>
                                            <p:fltVal val="0"/>
                                          </p:val>
                                        </p:tav>
                                        <p:tav tm="100000">
                                          <p:val>
                                            <p:strVal val="#ppt_w"/>
                                          </p:val>
                                        </p:tav>
                                      </p:tavLst>
                                    </p:anim>
                                    <p:anim calcmode="lin" valueType="num">
                                      <p:cBhvr>
                                        <p:cTn id="211" dur="2000" fill="hold"/>
                                        <p:tgtEl>
                                          <p:spTgt spid="11"/>
                                        </p:tgtEl>
                                        <p:attrNameLst>
                                          <p:attrName>ppt_h</p:attrName>
                                        </p:attrNameLst>
                                      </p:cBhvr>
                                      <p:tavLst>
                                        <p:tav tm="0">
                                          <p:val>
                                            <p:fltVal val="0"/>
                                          </p:val>
                                        </p:tav>
                                        <p:tav tm="100000">
                                          <p:val>
                                            <p:strVal val="#ppt_h"/>
                                          </p:val>
                                        </p:tav>
                                      </p:tavLst>
                                    </p:anim>
                                    <p:animEffect transition="in" filter="fade">
                                      <p:cBhvr>
                                        <p:cTn id="212" dur="2000"/>
                                        <p:tgtEl>
                                          <p:spTgt spid="11"/>
                                        </p:tgtEl>
                                      </p:cBhvr>
                                    </p:animEffect>
                                  </p:childTnLst>
                                </p:cTn>
                              </p:par>
                              <p:par>
                                <p:cTn id="213" presetID="53" presetClass="exit" presetSubtype="32" fill="hold" nodeType="withEffect">
                                  <p:stCondLst>
                                    <p:cond delay="0"/>
                                  </p:stCondLst>
                                  <p:childTnLst>
                                    <p:anim calcmode="lin" valueType="num">
                                      <p:cBhvr>
                                        <p:cTn id="214" dur="2000"/>
                                        <p:tgtEl>
                                          <p:spTgt spid="64"/>
                                        </p:tgtEl>
                                        <p:attrNameLst>
                                          <p:attrName>ppt_w</p:attrName>
                                        </p:attrNameLst>
                                      </p:cBhvr>
                                      <p:tavLst>
                                        <p:tav tm="0">
                                          <p:val>
                                            <p:strVal val="ppt_w"/>
                                          </p:val>
                                        </p:tav>
                                        <p:tav tm="100000">
                                          <p:val>
                                            <p:fltVal val="0"/>
                                          </p:val>
                                        </p:tav>
                                      </p:tavLst>
                                    </p:anim>
                                    <p:anim calcmode="lin" valueType="num">
                                      <p:cBhvr>
                                        <p:cTn id="215" dur="2000"/>
                                        <p:tgtEl>
                                          <p:spTgt spid="64"/>
                                        </p:tgtEl>
                                        <p:attrNameLst>
                                          <p:attrName>ppt_h</p:attrName>
                                        </p:attrNameLst>
                                      </p:cBhvr>
                                      <p:tavLst>
                                        <p:tav tm="0">
                                          <p:val>
                                            <p:strVal val="ppt_h"/>
                                          </p:val>
                                        </p:tav>
                                        <p:tav tm="100000">
                                          <p:val>
                                            <p:fltVal val="0"/>
                                          </p:val>
                                        </p:tav>
                                      </p:tavLst>
                                    </p:anim>
                                    <p:animEffect transition="out" filter="fade">
                                      <p:cBhvr>
                                        <p:cTn id="216" dur="2000"/>
                                        <p:tgtEl>
                                          <p:spTgt spid="64"/>
                                        </p:tgtEl>
                                      </p:cBhvr>
                                    </p:animEffect>
                                    <p:set>
                                      <p:cBhvr>
                                        <p:cTn id="217" dur="1" fill="hold">
                                          <p:stCondLst>
                                            <p:cond delay="1999"/>
                                          </p:stCondLst>
                                        </p:cTn>
                                        <p:tgtEl>
                                          <p:spTgt spid="64"/>
                                        </p:tgtEl>
                                        <p:attrNameLst>
                                          <p:attrName>style.visibility</p:attrName>
                                        </p:attrNameLst>
                                      </p:cBhvr>
                                      <p:to>
                                        <p:strVal val="hidden"/>
                                      </p:to>
                                    </p:set>
                                  </p:childTnLst>
                                </p:cTn>
                              </p:par>
                              <p:par>
                                <p:cTn id="218" presetID="63" presetClass="path" presetSubtype="0" accel="50000" decel="50000" fill="hold" nodeType="withEffect">
                                  <p:stCondLst>
                                    <p:cond delay="0"/>
                                  </p:stCondLst>
                                  <p:childTnLst>
                                    <p:animMotion origin="layout" path="M 4.54214E-6 4.10405E-6 L 0.32239 0.11653 " pathEditMode="relative" rAng="0" ptsTypes="AA">
                                      <p:cBhvr>
                                        <p:cTn id="219" dur="2000" fill="hold"/>
                                        <p:tgtEl>
                                          <p:spTgt spid="64"/>
                                        </p:tgtEl>
                                        <p:attrNameLst>
                                          <p:attrName>ppt_x</p:attrName>
                                          <p:attrName>ppt_y</p:attrName>
                                        </p:attrNameLst>
                                      </p:cBhvr>
                                      <p:rCtr x="16113" y="5827"/>
                                    </p:animMotion>
                                  </p:childTnLst>
                                </p:cTn>
                              </p:par>
                              <p:par>
                                <p:cTn id="220" presetID="10" presetClass="exit" presetSubtype="0" fill="hold" nodeType="withEffect">
                                  <p:stCondLst>
                                    <p:cond delay="0"/>
                                  </p:stCondLst>
                                  <p:childTnLst>
                                    <p:animEffect transition="out" filter="fade">
                                      <p:cBhvr>
                                        <p:cTn id="221" dur="500"/>
                                        <p:tgtEl>
                                          <p:spTgt spid="191499"/>
                                        </p:tgtEl>
                                      </p:cBhvr>
                                    </p:animEffect>
                                    <p:set>
                                      <p:cBhvr>
                                        <p:cTn id="222" dur="1" fill="hold">
                                          <p:stCondLst>
                                            <p:cond delay="499"/>
                                          </p:stCondLst>
                                        </p:cTn>
                                        <p:tgtEl>
                                          <p:spTgt spid="191499"/>
                                        </p:tgtEl>
                                        <p:attrNameLst>
                                          <p:attrName>style.visibility</p:attrName>
                                        </p:attrNameLst>
                                      </p:cBhvr>
                                      <p:to>
                                        <p:strVal val="hidden"/>
                                      </p:to>
                                    </p:set>
                                  </p:childTnLst>
                                </p:cTn>
                              </p:par>
                              <p:par>
                                <p:cTn id="223" presetID="10" presetClass="exit" presetSubtype="0" fill="hold" nodeType="withEffect">
                                  <p:stCondLst>
                                    <p:cond delay="0"/>
                                  </p:stCondLst>
                                  <p:childTnLst>
                                    <p:animEffect transition="out" filter="fade">
                                      <p:cBhvr>
                                        <p:cTn id="224" dur="500"/>
                                        <p:tgtEl>
                                          <p:spTgt spid="191531"/>
                                        </p:tgtEl>
                                      </p:cBhvr>
                                    </p:animEffect>
                                    <p:set>
                                      <p:cBhvr>
                                        <p:cTn id="225" dur="1" fill="hold">
                                          <p:stCondLst>
                                            <p:cond delay="499"/>
                                          </p:stCondLst>
                                        </p:cTn>
                                        <p:tgtEl>
                                          <p:spTgt spid="191531"/>
                                        </p:tgtEl>
                                        <p:attrNameLst>
                                          <p:attrName>style.visibility</p:attrName>
                                        </p:attrNameLst>
                                      </p:cBhvr>
                                      <p:to>
                                        <p:strVal val="hidden"/>
                                      </p:to>
                                    </p:set>
                                  </p:childTnLst>
                                </p:cTn>
                              </p:par>
                              <p:par>
                                <p:cTn id="226" presetID="10" presetClass="exit" presetSubtype="0" fill="hold" grpId="1" nodeType="withEffect">
                                  <p:stCondLst>
                                    <p:cond delay="0"/>
                                  </p:stCondLst>
                                  <p:childTnLst>
                                    <p:animEffect transition="out" filter="fade">
                                      <p:cBhvr>
                                        <p:cTn id="227" dur="500"/>
                                        <p:tgtEl>
                                          <p:spTgt spid="191548"/>
                                        </p:tgtEl>
                                      </p:cBhvr>
                                    </p:animEffect>
                                    <p:set>
                                      <p:cBhvr>
                                        <p:cTn id="228" dur="1" fill="hold">
                                          <p:stCondLst>
                                            <p:cond delay="499"/>
                                          </p:stCondLst>
                                        </p:cTn>
                                        <p:tgtEl>
                                          <p:spTgt spid="191548"/>
                                        </p:tgtEl>
                                        <p:attrNameLst>
                                          <p:attrName>style.visibility</p:attrName>
                                        </p:attrNameLst>
                                      </p:cBhvr>
                                      <p:to>
                                        <p:strVal val="hidden"/>
                                      </p:to>
                                    </p:set>
                                  </p:childTnLst>
                                </p:cTn>
                              </p:par>
                              <p:par>
                                <p:cTn id="229" presetID="10" presetClass="exit" presetSubtype="0" fill="hold" grpId="1" nodeType="withEffect">
                                  <p:stCondLst>
                                    <p:cond delay="0"/>
                                  </p:stCondLst>
                                  <p:childTnLst>
                                    <p:animEffect transition="out" filter="fade">
                                      <p:cBhvr>
                                        <p:cTn id="230" dur="500"/>
                                        <p:tgtEl>
                                          <p:spTgt spid="191566"/>
                                        </p:tgtEl>
                                      </p:cBhvr>
                                    </p:animEffect>
                                    <p:set>
                                      <p:cBhvr>
                                        <p:cTn id="231" dur="1" fill="hold">
                                          <p:stCondLst>
                                            <p:cond delay="499"/>
                                          </p:stCondLst>
                                        </p:cTn>
                                        <p:tgtEl>
                                          <p:spTgt spid="191566"/>
                                        </p:tgtEl>
                                        <p:attrNameLst>
                                          <p:attrName>style.visibility</p:attrName>
                                        </p:attrNameLst>
                                      </p:cBhvr>
                                      <p:to>
                                        <p:strVal val="hidden"/>
                                      </p:to>
                                    </p:set>
                                  </p:childTnLst>
                                </p:cTn>
                              </p:par>
                              <p:par>
                                <p:cTn id="232" presetID="10" presetClass="exit" presetSubtype="0" fill="hold" grpId="1" nodeType="withEffect">
                                  <p:stCondLst>
                                    <p:cond delay="0"/>
                                  </p:stCondLst>
                                  <p:childTnLst>
                                    <p:animEffect transition="out" filter="fade">
                                      <p:cBhvr>
                                        <p:cTn id="233" dur="500"/>
                                        <p:tgtEl>
                                          <p:spTgt spid="191575"/>
                                        </p:tgtEl>
                                      </p:cBhvr>
                                    </p:animEffect>
                                    <p:set>
                                      <p:cBhvr>
                                        <p:cTn id="234" dur="1" fill="hold">
                                          <p:stCondLst>
                                            <p:cond delay="499"/>
                                          </p:stCondLst>
                                        </p:cTn>
                                        <p:tgtEl>
                                          <p:spTgt spid="191575"/>
                                        </p:tgtEl>
                                        <p:attrNameLst>
                                          <p:attrName>style.visibility</p:attrName>
                                        </p:attrNameLst>
                                      </p:cBhvr>
                                      <p:to>
                                        <p:strVal val="hidden"/>
                                      </p:to>
                                    </p:set>
                                  </p:childTnLst>
                                </p:cTn>
                              </p:par>
                            </p:childTnLst>
                          </p:cTn>
                        </p:par>
                        <p:par>
                          <p:cTn id="235" fill="hold">
                            <p:stCondLst>
                              <p:cond delay="3000"/>
                            </p:stCondLst>
                            <p:childTnLst>
                              <p:par>
                                <p:cTn id="236" presetID="10" presetClass="entr" presetSubtype="0" fill="hold" nodeType="afterEffect">
                                  <p:stCondLst>
                                    <p:cond delay="0"/>
                                  </p:stCondLst>
                                  <p:childTnLst>
                                    <p:set>
                                      <p:cBhvr>
                                        <p:cTn id="237" dur="1" fill="hold">
                                          <p:stCondLst>
                                            <p:cond delay="0"/>
                                          </p:stCondLst>
                                        </p:cTn>
                                        <p:tgtEl>
                                          <p:spTgt spid="43091"/>
                                        </p:tgtEl>
                                        <p:attrNameLst>
                                          <p:attrName>style.visibility</p:attrName>
                                        </p:attrNameLst>
                                      </p:cBhvr>
                                      <p:to>
                                        <p:strVal val="visible"/>
                                      </p:to>
                                    </p:set>
                                    <p:animEffect transition="in" filter="fade">
                                      <p:cBhvr>
                                        <p:cTn id="238" dur="500"/>
                                        <p:tgtEl>
                                          <p:spTgt spid="43091"/>
                                        </p:tgtEl>
                                      </p:cBhvr>
                                    </p:animEffect>
                                  </p:childTnLst>
                                </p:cTn>
                              </p:par>
                              <p:par>
                                <p:cTn id="239" presetID="10" presetClass="exit" presetSubtype="0" fill="hold" nodeType="withEffect">
                                  <p:stCondLst>
                                    <p:cond delay="0"/>
                                  </p:stCondLst>
                                  <p:childTnLst>
                                    <p:animEffect transition="out" filter="fade">
                                      <p:cBhvr>
                                        <p:cTn id="240" dur="500"/>
                                        <p:tgtEl>
                                          <p:spTgt spid="43031"/>
                                        </p:tgtEl>
                                      </p:cBhvr>
                                    </p:animEffect>
                                    <p:set>
                                      <p:cBhvr>
                                        <p:cTn id="241" dur="1" fill="hold">
                                          <p:stCondLst>
                                            <p:cond delay="499"/>
                                          </p:stCondLst>
                                        </p:cTn>
                                        <p:tgtEl>
                                          <p:spTgt spid="43031"/>
                                        </p:tgtEl>
                                        <p:attrNameLst>
                                          <p:attrName>style.visibility</p:attrName>
                                        </p:attrNameLst>
                                      </p:cBhvr>
                                      <p:to>
                                        <p:strVal val="hidden"/>
                                      </p:to>
                                    </p:set>
                                  </p:childTnLst>
                                </p:cTn>
                              </p:par>
                              <p:par>
                                <p:cTn id="242" presetID="10" presetClass="exit" presetSubtype="0" fill="hold" nodeType="withEffect">
                                  <p:stCondLst>
                                    <p:cond delay="0"/>
                                  </p:stCondLst>
                                  <p:childTnLst>
                                    <p:animEffect transition="out" filter="fade">
                                      <p:cBhvr>
                                        <p:cTn id="243" dur="500"/>
                                        <p:tgtEl>
                                          <p:spTgt spid="43052"/>
                                        </p:tgtEl>
                                      </p:cBhvr>
                                    </p:animEffect>
                                    <p:set>
                                      <p:cBhvr>
                                        <p:cTn id="244" dur="1" fill="hold">
                                          <p:stCondLst>
                                            <p:cond delay="499"/>
                                          </p:stCondLst>
                                        </p:cTn>
                                        <p:tgtEl>
                                          <p:spTgt spid="43052"/>
                                        </p:tgtEl>
                                        <p:attrNameLst>
                                          <p:attrName>style.visibility</p:attrName>
                                        </p:attrNameLst>
                                      </p:cBhvr>
                                      <p:to>
                                        <p:strVal val="hidden"/>
                                      </p:to>
                                    </p:set>
                                  </p:childTnLst>
                                </p:cTn>
                              </p:par>
                              <p:par>
                                <p:cTn id="245" presetID="10" presetClass="exit" presetSubtype="0" fill="hold" nodeType="withEffect">
                                  <p:stCondLst>
                                    <p:cond delay="0"/>
                                  </p:stCondLst>
                                  <p:childTnLst>
                                    <p:animEffect transition="out" filter="fade">
                                      <p:cBhvr>
                                        <p:cTn id="246" dur="500"/>
                                        <p:tgtEl>
                                          <p:spTgt spid="11"/>
                                        </p:tgtEl>
                                      </p:cBhvr>
                                    </p:animEffect>
                                    <p:set>
                                      <p:cBhvr>
                                        <p:cTn id="247" dur="1" fill="hold">
                                          <p:stCondLst>
                                            <p:cond delay="499"/>
                                          </p:stCondLst>
                                        </p:cTn>
                                        <p:tgtEl>
                                          <p:spTgt spid="11"/>
                                        </p:tgtEl>
                                        <p:attrNameLst>
                                          <p:attrName>style.visibility</p:attrName>
                                        </p:attrNameLst>
                                      </p:cBhvr>
                                      <p:to>
                                        <p:strVal val="hidden"/>
                                      </p:to>
                                    </p:set>
                                  </p:childTnLst>
                                </p:cTn>
                              </p:par>
                              <p:par>
                                <p:cTn id="248" presetID="10" presetClass="exit" presetSubtype="0" fill="hold" grpId="0" nodeType="withEffect">
                                  <p:stCondLst>
                                    <p:cond delay="0"/>
                                  </p:stCondLst>
                                  <p:childTnLst>
                                    <p:animEffect transition="out" filter="fade">
                                      <p:cBhvr>
                                        <p:cTn id="249" dur="500"/>
                                        <p:tgtEl>
                                          <p:spTgt spid="43054"/>
                                        </p:tgtEl>
                                      </p:cBhvr>
                                    </p:animEffect>
                                    <p:set>
                                      <p:cBhvr>
                                        <p:cTn id="250" dur="1" fill="hold">
                                          <p:stCondLst>
                                            <p:cond delay="499"/>
                                          </p:stCondLst>
                                        </p:cTn>
                                        <p:tgtEl>
                                          <p:spTgt spid="43054"/>
                                        </p:tgtEl>
                                        <p:attrNameLst>
                                          <p:attrName>style.visibility</p:attrName>
                                        </p:attrNameLst>
                                      </p:cBhvr>
                                      <p:to>
                                        <p:strVal val="hidden"/>
                                      </p:to>
                                    </p:set>
                                  </p:childTnLst>
                                </p:cTn>
                              </p:par>
                            </p:childTnLst>
                          </p:cTn>
                        </p:par>
                        <p:par>
                          <p:cTn id="251" fill="hold">
                            <p:stCondLst>
                              <p:cond delay="3500"/>
                            </p:stCondLst>
                            <p:childTnLst>
                              <p:par>
                                <p:cTn id="252" presetID="6" presetClass="emph" presetSubtype="0" fill="hold" nodeType="afterEffect">
                                  <p:stCondLst>
                                    <p:cond delay="0"/>
                                  </p:stCondLst>
                                  <p:childTnLst>
                                    <p:animScale>
                                      <p:cBhvr>
                                        <p:cTn id="253" dur="2000" fill="hold"/>
                                        <p:tgtEl>
                                          <p:spTgt spid="43091"/>
                                        </p:tgtEl>
                                      </p:cBhvr>
                                      <p:by x="150000" y="150000"/>
                                    </p:animScale>
                                  </p:childTnLst>
                                </p:cTn>
                              </p:par>
                              <p:par>
                                <p:cTn id="254" presetID="35" presetClass="path" presetSubtype="0" accel="50000" decel="50000" fill="hold" nodeType="withEffect">
                                  <p:stCondLst>
                                    <p:cond delay="0"/>
                                  </p:stCondLst>
                                  <p:childTnLst>
                                    <p:animMotion origin="layout" path="M -0.00352 -0.00556 L -0.37839 -0.09306 " pathEditMode="relative" rAng="0" ptsTypes="AA">
                                      <p:cBhvr>
                                        <p:cTn id="255" dur="2000" fill="hold"/>
                                        <p:tgtEl>
                                          <p:spTgt spid="43091"/>
                                        </p:tgtEl>
                                        <p:attrNameLst>
                                          <p:attrName>ppt_x</p:attrName>
                                          <p:attrName>ppt_y</p:attrName>
                                        </p:attrNameLst>
                                      </p:cBhvr>
                                      <p:rCtr x="-188" y="-44"/>
                                    </p:animMotion>
                                  </p:childTnLst>
                                </p:cTn>
                              </p:par>
                            </p:childTnLst>
                          </p:cTn>
                        </p:par>
                        <p:par>
                          <p:cTn id="256" fill="hold">
                            <p:stCondLst>
                              <p:cond delay="5500"/>
                            </p:stCondLst>
                            <p:childTnLst>
                              <p:par>
                                <p:cTn id="257" presetID="10" presetClass="entr" presetSubtype="0" fill="hold" nodeType="afterEffect">
                                  <p:stCondLst>
                                    <p:cond delay="0"/>
                                  </p:stCondLst>
                                  <p:childTnLst>
                                    <p:set>
                                      <p:cBhvr>
                                        <p:cTn id="258" dur="1" fill="hold">
                                          <p:stCondLst>
                                            <p:cond delay="0"/>
                                          </p:stCondLst>
                                        </p:cTn>
                                        <p:tgtEl>
                                          <p:spTgt spid="43121"/>
                                        </p:tgtEl>
                                        <p:attrNameLst>
                                          <p:attrName>style.visibility</p:attrName>
                                        </p:attrNameLst>
                                      </p:cBhvr>
                                      <p:to>
                                        <p:strVal val="visible"/>
                                      </p:to>
                                    </p:set>
                                    <p:animEffect transition="in" filter="fade">
                                      <p:cBhvr>
                                        <p:cTn id="259" dur="500"/>
                                        <p:tgtEl>
                                          <p:spTgt spid="43121"/>
                                        </p:tgtEl>
                                      </p:cBhvr>
                                    </p:animEffect>
                                  </p:childTnLst>
                                </p:cTn>
                              </p:par>
                              <p:par>
                                <p:cTn id="260" presetID="10" presetClass="exit" presetSubtype="0" fill="hold" nodeType="withEffect">
                                  <p:stCondLst>
                                    <p:cond delay="0"/>
                                  </p:stCondLst>
                                  <p:childTnLst>
                                    <p:animEffect transition="out" filter="fade">
                                      <p:cBhvr>
                                        <p:cTn id="261" dur="500"/>
                                        <p:tgtEl>
                                          <p:spTgt spid="43091"/>
                                        </p:tgtEl>
                                      </p:cBhvr>
                                    </p:animEffect>
                                    <p:set>
                                      <p:cBhvr>
                                        <p:cTn id="262" dur="1" fill="hold">
                                          <p:stCondLst>
                                            <p:cond delay="499"/>
                                          </p:stCondLst>
                                        </p:cTn>
                                        <p:tgtEl>
                                          <p:spTgt spid="4309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1540" grpId="0" animBg="1"/>
      <p:bldP spid="191540" grpId="1" animBg="1"/>
      <p:bldP spid="191540" grpId="2" animBg="1"/>
      <p:bldP spid="191541" grpId="0" animBg="1"/>
      <p:bldP spid="191541" grpId="1" animBg="1"/>
      <p:bldP spid="191542" grpId="0" animBg="1"/>
      <p:bldP spid="191542" grpId="1" animBg="1"/>
      <p:bldP spid="191547" grpId="0" animBg="1"/>
      <p:bldP spid="191547" grpId="1" animBg="1"/>
      <p:bldP spid="191548" grpId="0" animBg="1"/>
      <p:bldP spid="191548" grpId="1" animBg="1"/>
      <p:bldP spid="191549" grpId="0" animBg="1"/>
      <p:bldP spid="191549" grpId="1" animBg="1"/>
      <p:bldP spid="191554" grpId="0" animBg="1"/>
      <p:bldP spid="191554" grpId="1" animBg="1"/>
      <p:bldP spid="191556" grpId="0" animBg="1"/>
      <p:bldP spid="191556" grpId="1" animBg="1"/>
      <p:bldP spid="191557" grpId="0" animBg="1"/>
      <p:bldP spid="191557" grpId="1" animBg="1"/>
      <p:bldP spid="191555" grpId="0" animBg="1"/>
      <p:bldP spid="191555" grpId="1" animBg="1"/>
      <p:bldP spid="191558" grpId="0" animBg="1"/>
      <p:bldP spid="191558" grpId="1" animBg="1"/>
      <p:bldP spid="191559" grpId="0" animBg="1"/>
      <p:bldP spid="191559" grpId="1" animBg="1"/>
      <p:bldP spid="191561" grpId="0" animBg="1"/>
      <p:bldP spid="191561" grpId="1" animBg="1"/>
      <p:bldP spid="191562" grpId="0" animBg="1"/>
      <p:bldP spid="191562" grpId="1" animBg="1"/>
      <p:bldP spid="191563" grpId="0" animBg="1"/>
      <p:bldP spid="191563" grpId="1" animBg="1"/>
      <p:bldP spid="191566" grpId="0" animBg="1"/>
      <p:bldP spid="191566" grpId="1" animBg="1"/>
      <p:bldP spid="191567" grpId="0" animBg="1"/>
      <p:bldP spid="191567" grpId="1" animBg="1"/>
      <p:bldP spid="191568" grpId="0"/>
      <p:bldP spid="191568" grpId="1"/>
      <p:bldP spid="191569" grpId="0"/>
      <p:bldP spid="191569" grpId="1"/>
      <p:bldP spid="191570" grpId="0"/>
      <p:bldP spid="191570" grpId="1"/>
      <p:bldP spid="191571" grpId="0"/>
      <p:bldP spid="191571" grpId="1"/>
      <p:bldP spid="191572" grpId="0"/>
      <p:bldP spid="191573" grpId="0"/>
      <p:bldP spid="191573" grpId="1"/>
      <p:bldP spid="191574" grpId="0"/>
      <p:bldP spid="191574" grpId="1"/>
      <p:bldP spid="191575" grpId="0"/>
      <p:bldP spid="191575" grpId="1"/>
      <p:bldP spid="191576" grpId="0"/>
      <p:bldP spid="43054" grpId="0"/>
    </p:bldLst>
  </p:timing>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1"/>
          <p:cNvGrpSpPr>
            <a:grpSpLocks/>
          </p:cNvGrpSpPr>
          <p:nvPr/>
        </p:nvGrpSpPr>
        <p:grpSpPr bwMode="auto">
          <a:xfrm>
            <a:off x="552595" y="1759730"/>
            <a:ext cx="7986411" cy="2522935"/>
            <a:chOff x="782277" y="2133600"/>
            <a:chExt cx="10646135" cy="3363685"/>
          </a:xfrm>
        </p:grpSpPr>
        <p:grpSp>
          <p:nvGrpSpPr>
            <p:cNvPr id="20516" name="Group 79"/>
            <p:cNvGrpSpPr>
              <a:grpSpLocks/>
            </p:cNvGrpSpPr>
            <p:nvPr/>
          </p:nvGrpSpPr>
          <p:grpSpPr bwMode="auto">
            <a:xfrm>
              <a:off x="782277" y="2133600"/>
              <a:ext cx="10646135" cy="3363685"/>
              <a:chOff x="873713" y="1290320"/>
              <a:chExt cx="10646135" cy="3363685"/>
            </a:xfrm>
          </p:grpSpPr>
          <p:sp>
            <p:nvSpPr>
              <p:cNvPr id="81" name="Rectangle 80"/>
              <p:cNvSpPr/>
              <p:nvPr/>
            </p:nvSpPr>
            <p:spPr>
              <a:xfrm>
                <a:off x="873713" y="1290320"/>
                <a:ext cx="10646135" cy="3363685"/>
              </a:xfrm>
              <a:prstGeom prst="rect">
                <a:avLst/>
              </a:prstGeom>
              <a:solidFill>
                <a:srgbClr val="4D4D4D"/>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sp>
            <p:nvSpPr>
              <p:cNvPr id="82" name="Rectangle 81"/>
              <p:cNvSpPr/>
              <p:nvPr/>
            </p:nvSpPr>
            <p:spPr>
              <a:xfrm>
                <a:off x="1280127" y="1777650"/>
                <a:ext cx="3251310" cy="2377914"/>
              </a:xfrm>
              <a:prstGeom prst="rect">
                <a:avLst/>
              </a:prstGeom>
              <a:solidFill>
                <a:schemeClr val="accent1">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sp>
            <p:nvSpPr>
              <p:cNvPr id="83" name="Rectangle 82"/>
              <p:cNvSpPr/>
              <p:nvPr/>
            </p:nvSpPr>
            <p:spPr>
              <a:xfrm>
                <a:off x="4642565" y="1777650"/>
                <a:ext cx="3251310" cy="2377914"/>
              </a:xfrm>
              <a:prstGeom prst="rect">
                <a:avLst/>
              </a:prstGeom>
              <a:solidFill>
                <a:schemeClr val="accent1">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sp>
            <p:nvSpPr>
              <p:cNvPr id="84" name="Rectangle 83"/>
              <p:cNvSpPr/>
              <p:nvPr/>
            </p:nvSpPr>
            <p:spPr>
              <a:xfrm>
                <a:off x="8016117" y="1777650"/>
                <a:ext cx="3251310" cy="2377914"/>
              </a:xfrm>
              <a:prstGeom prst="rect">
                <a:avLst/>
              </a:prstGeom>
              <a:solidFill>
                <a:schemeClr val="accent1">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sp>
            <p:nvSpPr>
              <p:cNvPr id="85" name="Rectangle 84"/>
              <p:cNvSpPr/>
              <p:nvPr/>
            </p:nvSpPr>
            <p:spPr>
              <a:xfrm>
                <a:off x="1402368" y="2184022"/>
                <a:ext cx="3036991" cy="417484"/>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100" b="1" dirty="0">
                    <a:solidFill>
                      <a:prstClr val="white"/>
                    </a:solidFill>
                    <a:cs typeface="Arial"/>
                  </a:rPr>
                  <a:t>Scale out &amp; health policy</a:t>
                </a:r>
              </a:p>
            </p:txBody>
          </p:sp>
          <p:sp>
            <p:nvSpPr>
              <p:cNvPr id="86" name="Rectangle 85"/>
              <p:cNvSpPr/>
              <p:nvPr/>
            </p:nvSpPr>
            <p:spPr>
              <a:xfrm>
                <a:off x="4755281" y="2184022"/>
                <a:ext cx="3036991" cy="417484"/>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100" b="1" dirty="0">
                    <a:solidFill>
                      <a:prstClr val="white"/>
                    </a:solidFill>
                    <a:cs typeface="Arial"/>
                  </a:rPr>
                  <a:t>         </a:t>
                </a:r>
                <a:br>
                  <a:rPr lang="en-US" sz="1100" b="1" dirty="0">
                    <a:solidFill>
                      <a:prstClr val="white"/>
                    </a:solidFill>
                    <a:cs typeface="Arial"/>
                  </a:rPr>
                </a:br>
                <a:r>
                  <a:rPr lang="en-US" sz="1100" b="1" dirty="0">
                    <a:solidFill>
                      <a:prstClr val="white"/>
                    </a:solidFill>
                    <a:cs typeface="Arial"/>
                  </a:rPr>
                  <a:t> Scale out &amp; health policy</a:t>
                </a:r>
              </a:p>
              <a:p>
                <a:pPr algn="ctr">
                  <a:defRPr/>
                </a:pPr>
                <a:endParaRPr lang="en-US" sz="1100" b="1" dirty="0">
                  <a:solidFill>
                    <a:prstClr val="white"/>
                  </a:solidFill>
                  <a:cs typeface="Arial"/>
                </a:endParaRPr>
              </a:p>
            </p:txBody>
          </p:sp>
          <p:sp>
            <p:nvSpPr>
              <p:cNvPr id="87" name="Rectangle 86"/>
              <p:cNvSpPr/>
              <p:nvPr/>
            </p:nvSpPr>
            <p:spPr>
              <a:xfrm>
                <a:off x="8117720" y="2184022"/>
                <a:ext cx="3036991" cy="417484"/>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100" b="1" dirty="0">
                    <a:solidFill>
                      <a:prstClr val="white"/>
                    </a:solidFill>
                    <a:cs typeface="Arial"/>
                  </a:rPr>
                  <a:t>      </a:t>
                </a:r>
                <a:br>
                  <a:rPr lang="en-US" sz="1100" b="1" dirty="0">
                    <a:solidFill>
                      <a:prstClr val="white"/>
                    </a:solidFill>
                    <a:cs typeface="Arial"/>
                  </a:rPr>
                </a:br>
                <a:r>
                  <a:rPr lang="en-US" sz="1100" b="1" dirty="0">
                    <a:solidFill>
                      <a:prstClr val="white"/>
                    </a:solidFill>
                    <a:cs typeface="Arial"/>
                  </a:rPr>
                  <a:t>Scale out &amp; health policy</a:t>
                </a:r>
              </a:p>
              <a:p>
                <a:pPr algn="ctr">
                  <a:defRPr/>
                </a:pPr>
                <a:endParaRPr lang="en-US" sz="1100" b="1" dirty="0">
                  <a:solidFill>
                    <a:prstClr val="white"/>
                  </a:solidFill>
                  <a:cs typeface="Arial"/>
                </a:endParaRPr>
              </a:p>
            </p:txBody>
          </p:sp>
          <p:sp>
            <p:nvSpPr>
              <p:cNvPr id="88" name="TextBox 87"/>
              <p:cNvSpPr txBox="1"/>
              <p:nvPr/>
            </p:nvSpPr>
            <p:spPr>
              <a:xfrm>
                <a:off x="1238850" y="1382388"/>
                <a:ext cx="6980473" cy="410341"/>
              </a:xfrm>
              <a:prstGeom prst="rect">
                <a:avLst/>
              </a:prstGeom>
              <a:noFill/>
              <a:ln>
                <a:noFill/>
              </a:ln>
            </p:spPr>
            <p:txBody>
              <a:bodyPr>
                <a:spAutoFit/>
              </a:bodyPr>
              <a:lstStyle/>
              <a:p>
                <a:pPr>
                  <a:defRPr/>
                </a:pPr>
                <a:r>
                  <a:rPr lang="en-US" b="1" dirty="0">
                    <a:solidFill>
                      <a:prstClr val="white"/>
                    </a:solidFill>
                    <a:latin typeface="Calibri"/>
                    <a:cs typeface="Arial"/>
                  </a:rPr>
                  <a:t>Service template (Multi-tier </a:t>
                </a:r>
                <a:r>
                  <a:rPr lang="en-US" b="1" dirty="0" smtClean="0">
                    <a:solidFill>
                      <a:prstClr val="white"/>
                    </a:solidFill>
                    <a:latin typeface="Calibri"/>
                    <a:cs typeface="Arial"/>
                  </a:rPr>
                  <a:t>applications</a:t>
                </a:r>
                <a:r>
                  <a:rPr lang="en-US" b="1" dirty="0">
                    <a:solidFill>
                      <a:prstClr val="white"/>
                    </a:solidFill>
                    <a:latin typeface="Calibri"/>
                    <a:cs typeface="Arial"/>
                  </a:rPr>
                  <a:t>)</a:t>
                </a:r>
              </a:p>
            </p:txBody>
          </p:sp>
          <p:sp>
            <p:nvSpPr>
              <p:cNvPr id="89" name="Rectangle 88"/>
              <p:cNvSpPr/>
              <p:nvPr/>
            </p:nvSpPr>
            <p:spPr>
              <a:xfrm>
                <a:off x="1391256" y="2652303"/>
                <a:ext cx="3027464" cy="1411192"/>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pic>
            <p:nvPicPr>
              <p:cNvPr id="20529" name="Picture 89" descr="app.ai"/>
              <p:cNvPicPr>
                <a:picLocks noChangeAspect="1"/>
              </p:cNvPicPr>
              <p:nvPr/>
            </p:nvPicPr>
            <p:blipFill>
              <a:blip r:embed="rId3" cstate="email"/>
              <a:srcRect/>
              <a:stretch>
                <a:fillRect/>
              </a:stretch>
            </p:blipFill>
            <p:spPr bwMode="auto">
              <a:xfrm>
                <a:off x="2508073" y="2889250"/>
                <a:ext cx="935989" cy="935989"/>
              </a:xfrm>
              <a:prstGeom prst="rect">
                <a:avLst/>
              </a:prstGeom>
              <a:noFill/>
              <a:ln w="9525">
                <a:noFill/>
                <a:miter lim="800000"/>
                <a:headEnd/>
                <a:tailEnd/>
              </a:ln>
            </p:spPr>
          </p:pic>
          <p:grpSp>
            <p:nvGrpSpPr>
              <p:cNvPr id="20530" name="Group 49"/>
              <p:cNvGrpSpPr>
                <a:grpSpLocks/>
              </p:cNvGrpSpPr>
              <p:nvPr/>
            </p:nvGrpSpPr>
            <p:grpSpPr bwMode="auto">
              <a:xfrm>
                <a:off x="1525154" y="2936240"/>
                <a:ext cx="845820" cy="845820"/>
                <a:chOff x="1789294" y="3434080"/>
                <a:chExt cx="845820" cy="845820"/>
              </a:xfrm>
            </p:grpSpPr>
            <p:pic>
              <p:nvPicPr>
                <p:cNvPr id="20559" name="Picture 119" descr="page.ai"/>
                <p:cNvPicPr>
                  <a:picLocks noChangeAspect="1"/>
                </p:cNvPicPr>
                <p:nvPr/>
              </p:nvPicPr>
              <p:blipFill>
                <a:blip r:embed="rId4" cstate="email"/>
                <a:srcRect/>
                <a:stretch>
                  <a:fillRect/>
                </a:stretch>
              </p:blipFill>
              <p:spPr bwMode="auto">
                <a:xfrm>
                  <a:off x="1789294" y="3434080"/>
                  <a:ext cx="845820" cy="845820"/>
                </a:xfrm>
                <a:prstGeom prst="rect">
                  <a:avLst/>
                </a:prstGeom>
                <a:noFill/>
                <a:ln w="9525">
                  <a:noFill/>
                  <a:miter lim="800000"/>
                  <a:headEnd/>
                  <a:tailEnd/>
                </a:ln>
              </p:spPr>
            </p:pic>
            <p:pic>
              <p:nvPicPr>
                <p:cNvPr id="121" name="Picture 120" descr="jobs.ai"/>
                <p:cNvPicPr>
                  <a:picLocks noChangeAspect="1"/>
                </p:cNvPicPr>
                <p:nvPr/>
              </p:nvPicPr>
              <p:blipFill>
                <a:blip r:embed="rId5" cstate="email"/>
                <a:stretch>
                  <a:fillRect/>
                </a:stretch>
              </p:blipFill>
              <p:spPr>
                <a:xfrm>
                  <a:off x="1955443" y="3627948"/>
                  <a:ext cx="509605" cy="507966"/>
                </a:xfrm>
                <a:prstGeom prst="rect">
                  <a:avLst/>
                </a:prstGeom>
                <a:ln>
                  <a:noFill/>
                </a:ln>
                <a:effectLst>
                  <a:outerShdw blurRad="190500" dist="25400" dir="2700000">
                    <a:srgbClr val="000000">
                      <a:alpha val="81000"/>
                    </a:srgbClr>
                  </a:outerShdw>
                </a:effectLst>
              </p:spPr>
            </p:pic>
          </p:grpSp>
          <p:sp>
            <p:nvSpPr>
              <p:cNvPr id="92" name="TextBox 91"/>
              <p:cNvSpPr txBox="1"/>
              <p:nvPr/>
            </p:nvSpPr>
            <p:spPr>
              <a:xfrm>
                <a:off x="1950074" y="2671352"/>
                <a:ext cx="1971742" cy="348790"/>
              </a:xfrm>
              <a:prstGeom prst="rect">
                <a:avLst/>
              </a:prstGeom>
              <a:noFill/>
              <a:ln>
                <a:noFill/>
              </a:ln>
            </p:spPr>
            <p:txBody>
              <a:bodyPr>
                <a:spAutoFit/>
              </a:bodyPr>
              <a:lstStyle/>
              <a:p>
                <a:pPr algn="ctr">
                  <a:defRPr/>
                </a:pPr>
                <a:r>
                  <a:rPr lang="en-US" sz="1100" dirty="0">
                    <a:solidFill>
                      <a:prstClr val="white"/>
                    </a:solidFill>
                    <a:latin typeface="Calibri"/>
                    <a:cs typeface="Arial"/>
                  </a:rPr>
                  <a:t>IIS</a:t>
                </a:r>
              </a:p>
            </p:txBody>
          </p:sp>
          <p:sp>
            <p:nvSpPr>
              <p:cNvPr id="93" name="TextBox 92"/>
              <p:cNvSpPr txBox="1"/>
              <p:nvPr/>
            </p:nvSpPr>
            <p:spPr>
              <a:xfrm>
                <a:off x="1381730" y="3728554"/>
                <a:ext cx="1087474" cy="307755"/>
              </a:xfrm>
              <a:prstGeom prst="rect">
                <a:avLst/>
              </a:prstGeom>
              <a:noFill/>
              <a:ln>
                <a:noFill/>
              </a:ln>
            </p:spPr>
            <p:txBody>
              <a:bodyPr>
                <a:spAutoFit/>
              </a:bodyPr>
              <a:lstStyle/>
              <a:p>
                <a:pPr algn="ctr">
                  <a:defRPr/>
                </a:pPr>
                <a:r>
                  <a:rPr lang="en-US" sz="900" dirty="0">
                    <a:solidFill>
                      <a:prstClr val="white"/>
                    </a:solidFill>
                    <a:latin typeface="Calibri"/>
                    <a:cs typeface="Arial"/>
                  </a:rPr>
                  <a:t>HW profile</a:t>
                </a:r>
              </a:p>
            </p:txBody>
          </p:sp>
          <p:sp>
            <p:nvSpPr>
              <p:cNvPr id="94" name="TextBox 93"/>
              <p:cNvSpPr txBox="1"/>
              <p:nvPr/>
            </p:nvSpPr>
            <p:spPr>
              <a:xfrm>
                <a:off x="2388239" y="3728554"/>
                <a:ext cx="1085887" cy="307755"/>
              </a:xfrm>
              <a:prstGeom prst="rect">
                <a:avLst/>
              </a:prstGeom>
              <a:noFill/>
              <a:ln>
                <a:noFill/>
              </a:ln>
            </p:spPr>
            <p:txBody>
              <a:bodyPr>
                <a:spAutoFit/>
              </a:bodyPr>
              <a:lstStyle/>
              <a:p>
                <a:pPr algn="ctr">
                  <a:defRPr/>
                </a:pPr>
                <a:r>
                  <a:rPr lang="en-US" sz="900" dirty="0">
                    <a:solidFill>
                      <a:prstClr val="white"/>
                    </a:solidFill>
                    <a:latin typeface="Calibri"/>
                    <a:cs typeface="Arial"/>
                  </a:rPr>
                  <a:t>OS profile</a:t>
                </a:r>
              </a:p>
            </p:txBody>
          </p:sp>
          <p:sp>
            <p:nvSpPr>
              <p:cNvPr id="95" name="TextBox 94"/>
              <p:cNvSpPr txBox="1"/>
              <p:nvPr/>
            </p:nvSpPr>
            <p:spPr>
              <a:xfrm>
                <a:off x="3351885" y="3728554"/>
                <a:ext cx="1087475" cy="307755"/>
              </a:xfrm>
              <a:prstGeom prst="rect">
                <a:avLst/>
              </a:prstGeom>
              <a:noFill/>
              <a:ln>
                <a:noFill/>
              </a:ln>
            </p:spPr>
            <p:txBody>
              <a:bodyPr>
                <a:spAutoFit/>
              </a:bodyPr>
              <a:lstStyle/>
              <a:p>
                <a:pPr algn="ctr">
                  <a:defRPr/>
                </a:pPr>
                <a:r>
                  <a:rPr lang="en-US" sz="900" dirty="0">
                    <a:solidFill>
                      <a:prstClr val="white"/>
                    </a:solidFill>
                    <a:latin typeface="Calibri"/>
                    <a:cs typeface="Arial"/>
                  </a:rPr>
                  <a:t>App profile</a:t>
                </a:r>
              </a:p>
            </p:txBody>
          </p:sp>
          <p:sp>
            <p:nvSpPr>
              <p:cNvPr id="96" name="Rectangle 95"/>
              <p:cNvSpPr/>
              <p:nvPr/>
            </p:nvSpPr>
            <p:spPr>
              <a:xfrm>
                <a:off x="4764807" y="2652303"/>
                <a:ext cx="3027465" cy="1411192"/>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pic>
            <p:nvPicPr>
              <p:cNvPr id="20536" name="Picture 96" descr="app.ai"/>
              <p:cNvPicPr>
                <a:picLocks noChangeAspect="1"/>
              </p:cNvPicPr>
              <p:nvPr/>
            </p:nvPicPr>
            <p:blipFill>
              <a:blip r:embed="rId3" cstate="email"/>
              <a:srcRect/>
              <a:stretch>
                <a:fillRect/>
              </a:stretch>
            </p:blipFill>
            <p:spPr bwMode="auto">
              <a:xfrm>
                <a:off x="5881017" y="2889250"/>
                <a:ext cx="935989" cy="935989"/>
              </a:xfrm>
              <a:prstGeom prst="rect">
                <a:avLst/>
              </a:prstGeom>
              <a:noFill/>
              <a:ln w="9525">
                <a:noFill/>
                <a:miter lim="800000"/>
                <a:headEnd/>
                <a:tailEnd/>
              </a:ln>
            </p:spPr>
          </p:pic>
          <p:grpSp>
            <p:nvGrpSpPr>
              <p:cNvPr id="20537" name="Group 57"/>
              <p:cNvGrpSpPr>
                <a:grpSpLocks/>
              </p:cNvGrpSpPr>
              <p:nvPr/>
            </p:nvGrpSpPr>
            <p:grpSpPr bwMode="auto">
              <a:xfrm>
                <a:off x="4898098" y="2936240"/>
                <a:ext cx="845820" cy="845820"/>
                <a:chOff x="1789294" y="3434080"/>
                <a:chExt cx="845820" cy="845820"/>
              </a:xfrm>
            </p:grpSpPr>
            <p:pic>
              <p:nvPicPr>
                <p:cNvPr id="20557" name="Picture 117" descr="page.ai"/>
                <p:cNvPicPr>
                  <a:picLocks noChangeAspect="1"/>
                </p:cNvPicPr>
                <p:nvPr/>
              </p:nvPicPr>
              <p:blipFill>
                <a:blip r:embed="rId4" cstate="email"/>
                <a:srcRect/>
                <a:stretch>
                  <a:fillRect/>
                </a:stretch>
              </p:blipFill>
              <p:spPr bwMode="auto">
                <a:xfrm>
                  <a:off x="1789294" y="3434080"/>
                  <a:ext cx="845820" cy="845820"/>
                </a:xfrm>
                <a:prstGeom prst="rect">
                  <a:avLst/>
                </a:prstGeom>
                <a:noFill/>
                <a:ln w="9525">
                  <a:noFill/>
                  <a:miter lim="800000"/>
                  <a:headEnd/>
                  <a:tailEnd/>
                </a:ln>
              </p:spPr>
            </p:pic>
            <p:pic>
              <p:nvPicPr>
                <p:cNvPr id="119" name="Picture 118" descr="jobs.ai"/>
                <p:cNvPicPr>
                  <a:picLocks noChangeAspect="1"/>
                </p:cNvPicPr>
                <p:nvPr/>
              </p:nvPicPr>
              <p:blipFill>
                <a:blip r:embed="rId6" cstate="email"/>
                <a:stretch>
                  <a:fillRect/>
                </a:stretch>
              </p:blipFill>
              <p:spPr>
                <a:xfrm>
                  <a:off x="1956051" y="3627948"/>
                  <a:ext cx="509604" cy="507966"/>
                </a:xfrm>
                <a:prstGeom prst="rect">
                  <a:avLst/>
                </a:prstGeom>
                <a:ln>
                  <a:noFill/>
                </a:ln>
                <a:effectLst>
                  <a:outerShdw blurRad="190500" dist="25400" dir="2700000">
                    <a:srgbClr val="000000">
                      <a:alpha val="81000"/>
                    </a:srgbClr>
                  </a:outerShdw>
                </a:effectLst>
              </p:spPr>
            </p:pic>
          </p:grpSp>
          <p:sp>
            <p:nvSpPr>
              <p:cNvPr id="99" name="TextBox 98"/>
              <p:cNvSpPr txBox="1"/>
              <p:nvPr/>
            </p:nvSpPr>
            <p:spPr>
              <a:xfrm>
                <a:off x="4875935" y="2671352"/>
                <a:ext cx="2814733" cy="348790"/>
              </a:xfrm>
              <a:prstGeom prst="rect">
                <a:avLst/>
              </a:prstGeom>
              <a:noFill/>
              <a:ln>
                <a:noFill/>
              </a:ln>
            </p:spPr>
            <p:txBody>
              <a:bodyPr>
                <a:spAutoFit/>
              </a:bodyPr>
              <a:lstStyle/>
              <a:p>
                <a:pPr algn="ctr">
                  <a:defRPr/>
                </a:pPr>
                <a:r>
                  <a:rPr lang="en-US" sz="1100" dirty="0">
                    <a:solidFill>
                      <a:prstClr val="white"/>
                    </a:solidFill>
                    <a:latin typeface="Calibri"/>
                    <a:cs typeface="Arial"/>
                  </a:rPr>
                  <a:t>Application server</a:t>
                </a:r>
              </a:p>
            </p:txBody>
          </p:sp>
          <p:sp>
            <p:nvSpPr>
              <p:cNvPr id="100" name="TextBox 99"/>
              <p:cNvSpPr txBox="1"/>
              <p:nvPr/>
            </p:nvSpPr>
            <p:spPr>
              <a:xfrm>
                <a:off x="4755281" y="3728554"/>
                <a:ext cx="1085887" cy="307755"/>
              </a:xfrm>
              <a:prstGeom prst="rect">
                <a:avLst/>
              </a:prstGeom>
              <a:noFill/>
              <a:ln>
                <a:noFill/>
              </a:ln>
            </p:spPr>
            <p:txBody>
              <a:bodyPr>
                <a:spAutoFit/>
              </a:bodyPr>
              <a:lstStyle/>
              <a:p>
                <a:pPr algn="ctr">
                  <a:defRPr/>
                </a:pPr>
                <a:r>
                  <a:rPr lang="en-US" sz="900" dirty="0">
                    <a:solidFill>
                      <a:prstClr val="white"/>
                    </a:solidFill>
                    <a:latin typeface="Calibri"/>
                    <a:cs typeface="Arial"/>
                  </a:rPr>
                  <a:t>HW profile</a:t>
                </a:r>
              </a:p>
            </p:txBody>
          </p:sp>
          <p:sp>
            <p:nvSpPr>
              <p:cNvPr id="101" name="TextBox 100"/>
              <p:cNvSpPr txBox="1"/>
              <p:nvPr/>
            </p:nvSpPr>
            <p:spPr>
              <a:xfrm>
                <a:off x="5760203" y="3728554"/>
                <a:ext cx="1087474" cy="307755"/>
              </a:xfrm>
              <a:prstGeom prst="rect">
                <a:avLst/>
              </a:prstGeom>
              <a:noFill/>
              <a:ln>
                <a:noFill/>
              </a:ln>
            </p:spPr>
            <p:txBody>
              <a:bodyPr>
                <a:spAutoFit/>
              </a:bodyPr>
              <a:lstStyle/>
              <a:p>
                <a:pPr algn="ctr">
                  <a:defRPr/>
                </a:pPr>
                <a:r>
                  <a:rPr lang="en-US" sz="900" dirty="0">
                    <a:solidFill>
                      <a:prstClr val="white"/>
                    </a:solidFill>
                    <a:latin typeface="Calibri"/>
                    <a:cs typeface="Arial"/>
                  </a:rPr>
                  <a:t>OS profile</a:t>
                </a:r>
              </a:p>
            </p:txBody>
          </p:sp>
          <p:sp>
            <p:nvSpPr>
              <p:cNvPr id="102" name="TextBox 101"/>
              <p:cNvSpPr txBox="1"/>
              <p:nvPr/>
            </p:nvSpPr>
            <p:spPr>
              <a:xfrm>
                <a:off x="6725436" y="3728554"/>
                <a:ext cx="1087474" cy="307755"/>
              </a:xfrm>
              <a:prstGeom prst="rect">
                <a:avLst/>
              </a:prstGeom>
              <a:noFill/>
              <a:ln>
                <a:noFill/>
              </a:ln>
            </p:spPr>
            <p:txBody>
              <a:bodyPr>
                <a:spAutoFit/>
              </a:bodyPr>
              <a:lstStyle/>
              <a:p>
                <a:pPr algn="ctr">
                  <a:defRPr/>
                </a:pPr>
                <a:r>
                  <a:rPr lang="en-US" sz="900" dirty="0">
                    <a:solidFill>
                      <a:prstClr val="white"/>
                    </a:solidFill>
                    <a:latin typeface="Calibri"/>
                    <a:cs typeface="Arial"/>
                  </a:rPr>
                  <a:t>App profile</a:t>
                </a:r>
              </a:p>
            </p:txBody>
          </p:sp>
          <p:sp>
            <p:nvSpPr>
              <p:cNvPr id="103" name="Rectangle 102"/>
              <p:cNvSpPr/>
              <p:nvPr/>
            </p:nvSpPr>
            <p:spPr>
              <a:xfrm>
                <a:off x="8127245" y="2652303"/>
                <a:ext cx="3027465" cy="1411192"/>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pic>
            <p:nvPicPr>
              <p:cNvPr id="20543" name="Picture 103" descr="app.ai"/>
              <p:cNvPicPr>
                <a:picLocks noChangeAspect="1"/>
              </p:cNvPicPr>
              <p:nvPr/>
            </p:nvPicPr>
            <p:blipFill>
              <a:blip r:embed="rId3" cstate="email"/>
              <a:srcRect/>
              <a:stretch>
                <a:fillRect/>
              </a:stretch>
            </p:blipFill>
            <p:spPr bwMode="auto">
              <a:xfrm>
                <a:off x="9243802" y="2889250"/>
                <a:ext cx="935989" cy="935989"/>
              </a:xfrm>
              <a:prstGeom prst="rect">
                <a:avLst/>
              </a:prstGeom>
              <a:noFill/>
              <a:ln w="9525">
                <a:noFill/>
                <a:miter lim="800000"/>
                <a:headEnd/>
                <a:tailEnd/>
              </a:ln>
            </p:spPr>
          </p:pic>
          <p:grpSp>
            <p:nvGrpSpPr>
              <p:cNvPr id="20544" name="Group 67"/>
              <p:cNvGrpSpPr>
                <a:grpSpLocks/>
              </p:cNvGrpSpPr>
              <p:nvPr/>
            </p:nvGrpSpPr>
            <p:grpSpPr bwMode="auto">
              <a:xfrm>
                <a:off x="8260883" y="2936240"/>
                <a:ext cx="845820" cy="845820"/>
                <a:chOff x="1789294" y="3434080"/>
                <a:chExt cx="845820" cy="845820"/>
              </a:xfrm>
            </p:grpSpPr>
            <p:pic>
              <p:nvPicPr>
                <p:cNvPr id="20555" name="Picture 115" descr="page.ai"/>
                <p:cNvPicPr>
                  <a:picLocks noChangeAspect="1"/>
                </p:cNvPicPr>
                <p:nvPr/>
              </p:nvPicPr>
              <p:blipFill>
                <a:blip r:embed="rId4" cstate="email"/>
                <a:srcRect/>
                <a:stretch>
                  <a:fillRect/>
                </a:stretch>
              </p:blipFill>
              <p:spPr bwMode="auto">
                <a:xfrm>
                  <a:off x="1789294" y="3434080"/>
                  <a:ext cx="845820" cy="845820"/>
                </a:xfrm>
                <a:prstGeom prst="rect">
                  <a:avLst/>
                </a:prstGeom>
                <a:noFill/>
                <a:ln w="9525">
                  <a:noFill/>
                  <a:miter lim="800000"/>
                  <a:headEnd/>
                  <a:tailEnd/>
                </a:ln>
              </p:spPr>
            </p:pic>
            <p:pic>
              <p:nvPicPr>
                <p:cNvPr id="117" name="Picture 116" descr="jobs.ai"/>
                <p:cNvPicPr>
                  <a:picLocks noChangeAspect="1"/>
                </p:cNvPicPr>
                <p:nvPr/>
              </p:nvPicPr>
              <p:blipFill>
                <a:blip r:embed="rId6" cstate="email"/>
                <a:stretch>
                  <a:fillRect/>
                </a:stretch>
              </p:blipFill>
              <p:spPr>
                <a:xfrm>
                  <a:off x="1955705" y="3627948"/>
                  <a:ext cx="509604" cy="507966"/>
                </a:xfrm>
                <a:prstGeom prst="rect">
                  <a:avLst/>
                </a:prstGeom>
                <a:ln>
                  <a:noFill/>
                </a:ln>
                <a:effectLst>
                  <a:outerShdw blurRad="190500" dist="25400" dir="2700000">
                    <a:srgbClr val="000000">
                      <a:alpha val="81000"/>
                    </a:srgbClr>
                  </a:outerShdw>
                </a:effectLst>
              </p:spPr>
            </p:pic>
          </p:grpSp>
          <p:sp>
            <p:nvSpPr>
              <p:cNvPr id="106" name="TextBox 105"/>
              <p:cNvSpPr txBox="1"/>
              <p:nvPr/>
            </p:nvSpPr>
            <p:spPr>
              <a:xfrm>
                <a:off x="8333628" y="2661827"/>
                <a:ext cx="2648040" cy="348790"/>
              </a:xfrm>
              <a:prstGeom prst="rect">
                <a:avLst/>
              </a:prstGeom>
              <a:noFill/>
              <a:ln>
                <a:noFill/>
              </a:ln>
            </p:spPr>
            <p:txBody>
              <a:bodyPr>
                <a:spAutoFit/>
              </a:bodyPr>
              <a:lstStyle/>
              <a:p>
                <a:pPr algn="ctr">
                  <a:defRPr/>
                </a:pPr>
                <a:r>
                  <a:rPr lang="en-US" sz="1100" dirty="0">
                    <a:solidFill>
                      <a:prstClr val="white"/>
                    </a:solidFill>
                    <a:latin typeface="Calibri"/>
                    <a:cs typeface="Arial"/>
                  </a:rPr>
                  <a:t>SQL</a:t>
                </a:r>
              </a:p>
            </p:txBody>
          </p:sp>
          <p:sp>
            <p:nvSpPr>
              <p:cNvPr id="107" name="TextBox 106"/>
              <p:cNvSpPr txBox="1"/>
              <p:nvPr/>
            </p:nvSpPr>
            <p:spPr>
              <a:xfrm>
                <a:off x="8117720" y="3728554"/>
                <a:ext cx="1087475" cy="307755"/>
              </a:xfrm>
              <a:prstGeom prst="rect">
                <a:avLst/>
              </a:prstGeom>
              <a:noFill/>
              <a:ln>
                <a:noFill/>
              </a:ln>
            </p:spPr>
            <p:txBody>
              <a:bodyPr>
                <a:spAutoFit/>
              </a:bodyPr>
              <a:lstStyle/>
              <a:p>
                <a:pPr algn="ctr">
                  <a:defRPr/>
                </a:pPr>
                <a:r>
                  <a:rPr lang="en-US" sz="900" dirty="0">
                    <a:solidFill>
                      <a:prstClr val="white"/>
                    </a:solidFill>
                    <a:latin typeface="Calibri"/>
                    <a:cs typeface="Arial"/>
                  </a:rPr>
                  <a:t>HW profile</a:t>
                </a:r>
              </a:p>
            </p:txBody>
          </p:sp>
          <p:sp>
            <p:nvSpPr>
              <p:cNvPr id="108" name="TextBox 107"/>
              <p:cNvSpPr txBox="1"/>
              <p:nvPr/>
            </p:nvSpPr>
            <p:spPr>
              <a:xfrm>
                <a:off x="9122642" y="3728554"/>
                <a:ext cx="1087474" cy="307755"/>
              </a:xfrm>
              <a:prstGeom prst="rect">
                <a:avLst/>
              </a:prstGeom>
              <a:noFill/>
              <a:ln>
                <a:noFill/>
              </a:ln>
            </p:spPr>
            <p:txBody>
              <a:bodyPr>
                <a:spAutoFit/>
              </a:bodyPr>
              <a:lstStyle/>
              <a:p>
                <a:pPr algn="ctr">
                  <a:defRPr/>
                </a:pPr>
                <a:r>
                  <a:rPr lang="en-US" sz="900" dirty="0">
                    <a:solidFill>
                      <a:prstClr val="white"/>
                    </a:solidFill>
                    <a:latin typeface="Calibri"/>
                    <a:cs typeface="Arial"/>
                  </a:rPr>
                  <a:t>OS profile</a:t>
                </a:r>
              </a:p>
            </p:txBody>
          </p:sp>
          <p:sp>
            <p:nvSpPr>
              <p:cNvPr id="109" name="TextBox 108"/>
              <p:cNvSpPr txBox="1"/>
              <p:nvPr/>
            </p:nvSpPr>
            <p:spPr>
              <a:xfrm>
                <a:off x="10087875" y="3728554"/>
                <a:ext cx="1087474" cy="307755"/>
              </a:xfrm>
              <a:prstGeom prst="rect">
                <a:avLst/>
              </a:prstGeom>
              <a:noFill/>
              <a:ln>
                <a:noFill/>
              </a:ln>
            </p:spPr>
            <p:txBody>
              <a:bodyPr>
                <a:spAutoFit/>
              </a:bodyPr>
              <a:lstStyle/>
              <a:p>
                <a:pPr algn="ctr">
                  <a:defRPr/>
                </a:pPr>
                <a:r>
                  <a:rPr lang="en-US" sz="900" dirty="0">
                    <a:solidFill>
                      <a:prstClr val="white"/>
                    </a:solidFill>
                    <a:latin typeface="Calibri"/>
                    <a:cs typeface="Arial"/>
                  </a:rPr>
                  <a:t>App profile</a:t>
                </a:r>
              </a:p>
            </p:txBody>
          </p:sp>
          <p:sp>
            <p:nvSpPr>
              <p:cNvPr id="110" name="TextBox 109"/>
              <p:cNvSpPr txBox="1"/>
              <p:nvPr/>
            </p:nvSpPr>
            <p:spPr>
              <a:xfrm>
                <a:off x="1402368" y="1798286"/>
                <a:ext cx="3027464" cy="369307"/>
              </a:xfrm>
              <a:prstGeom prst="rect">
                <a:avLst/>
              </a:prstGeom>
              <a:noFill/>
              <a:ln>
                <a:noFill/>
              </a:ln>
            </p:spPr>
            <p:txBody>
              <a:bodyPr>
                <a:spAutoFit/>
              </a:bodyPr>
              <a:lstStyle/>
              <a:p>
                <a:pPr algn="ctr">
                  <a:defRPr/>
                </a:pPr>
                <a:r>
                  <a:rPr lang="en-US" sz="1200" b="1" dirty="0">
                    <a:solidFill>
                      <a:prstClr val="black"/>
                    </a:solidFill>
                    <a:latin typeface="Calibri"/>
                    <a:cs typeface="Arial"/>
                  </a:rPr>
                  <a:t>Web tier</a:t>
                </a:r>
                <a:endParaRPr lang="en-US" sz="1200" b="1" dirty="0">
                  <a:solidFill>
                    <a:prstClr val="black"/>
                  </a:solidFill>
                  <a:latin typeface="Calibri"/>
                </a:endParaRPr>
              </a:p>
            </p:txBody>
          </p:sp>
          <p:pic>
            <p:nvPicPr>
              <p:cNvPr id="20550" name="Picture 110" descr="app.ai"/>
              <p:cNvPicPr>
                <a:picLocks noChangeAspect="1"/>
              </p:cNvPicPr>
              <p:nvPr/>
            </p:nvPicPr>
            <p:blipFill>
              <a:blip r:embed="rId7" cstate="email"/>
              <a:srcRect/>
              <a:stretch>
                <a:fillRect/>
              </a:stretch>
            </p:blipFill>
            <p:spPr bwMode="auto">
              <a:xfrm rot="1078840">
                <a:off x="4602952" y="2082802"/>
                <a:ext cx="719653" cy="719653"/>
              </a:xfrm>
              <a:prstGeom prst="rect">
                <a:avLst/>
              </a:prstGeom>
              <a:noFill/>
              <a:ln w="9525">
                <a:noFill/>
                <a:miter lim="800000"/>
                <a:headEnd/>
                <a:tailEnd/>
              </a:ln>
            </p:spPr>
          </p:pic>
          <p:pic>
            <p:nvPicPr>
              <p:cNvPr id="20551" name="Picture 111" descr="app.ai"/>
              <p:cNvPicPr>
                <a:picLocks noChangeAspect="1"/>
              </p:cNvPicPr>
              <p:nvPr/>
            </p:nvPicPr>
            <p:blipFill>
              <a:blip r:embed="rId7" cstate="email"/>
              <a:srcRect/>
              <a:stretch>
                <a:fillRect/>
              </a:stretch>
            </p:blipFill>
            <p:spPr bwMode="auto">
              <a:xfrm rot="1078840">
                <a:off x="7879552" y="2082802"/>
                <a:ext cx="719653" cy="719653"/>
              </a:xfrm>
              <a:prstGeom prst="rect">
                <a:avLst/>
              </a:prstGeom>
              <a:noFill/>
              <a:ln w="9525">
                <a:noFill/>
                <a:miter lim="800000"/>
                <a:headEnd/>
                <a:tailEnd/>
              </a:ln>
            </p:spPr>
          </p:pic>
          <p:pic>
            <p:nvPicPr>
              <p:cNvPr id="20552" name="Picture 112" descr="app.ai"/>
              <p:cNvPicPr>
                <a:picLocks noChangeAspect="1"/>
              </p:cNvPicPr>
              <p:nvPr/>
            </p:nvPicPr>
            <p:blipFill>
              <a:blip r:embed="rId7" cstate="email"/>
              <a:srcRect/>
              <a:stretch>
                <a:fillRect/>
              </a:stretch>
            </p:blipFill>
            <p:spPr bwMode="auto">
              <a:xfrm rot="1078840">
                <a:off x="1097752" y="1993424"/>
                <a:ext cx="719653" cy="719653"/>
              </a:xfrm>
              <a:prstGeom prst="rect">
                <a:avLst/>
              </a:prstGeom>
              <a:noFill/>
              <a:ln w="9525">
                <a:noFill/>
                <a:miter lim="800000"/>
                <a:headEnd/>
                <a:tailEnd/>
              </a:ln>
            </p:spPr>
          </p:pic>
          <p:sp>
            <p:nvSpPr>
              <p:cNvPr id="114" name="TextBox 113"/>
              <p:cNvSpPr txBox="1"/>
              <p:nvPr/>
            </p:nvSpPr>
            <p:spPr>
              <a:xfrm>
                <a:off x="4658441" y="1798286"/>
                <a:ext cx="3198920" cy="369307"/>
              </a:xfrm>
              <a:prstGeom prst="rect">
                <a:avLst/>
              </a:prstGeom>
              <a:noFill/>
              <a:ln>
                <a:noFill/>
              </a:ln>
            </p:spPr>
            <p:txBody>
              <a:bodyPr>
                <a:spAutoFit/>
              </a:bodyPr>
              <a:lstStyle/>
              <a:p>
                <a:pPr algn="ctr">
                  <a:defRPr/>
                </a:pPr>
                <a:r>
                  <a:rPr lang="en-US" sz="1200" b="1" dirty="0">
                    <a:solidFill>
                      <a:prstClr val="black"/>
                    </a:solidFill>
                    <a:latin typeface="Calibri"/>
                    <a:cs typeface="Arial"/>
                  </a:rPr>
                  <a:t>Application tier</a:t>
                </a:r>
                <a:endParaRPr lang="en-US" sz="1200" b="1" dirty="0">
                  <a:solidFill>
                    <a:prstClr val="black"/>
                  </a:solidFill>
                  <a:latin typeface="Calibri"/>
                </a:endParaRPr>
              </a:p>
            </p:txBody>
          </p:sp>
          <p:sp>
            <p:nvSpPr>
              <p:cNvPr id="115" name="TextBox 114"/>
              <p:cNvSpPr txBox="1"/>
              <p:nvPr/>
            </p:nvSpPr>
            <p:spPr>
              <a:xfrm>
                <a:off x="8127245" y="1798286"/>
                <a:ext cx="3027464" cy="369307"/>
              </a:xfrm>
              <a:prstGeom prst="rect">
                <a:avLst/>
              </a:prstGeom>
              <a:noFill/>
              <a:ln>
                <a:noFill/>
              </a:ln>
            </p:spPr>
            <p:txBody>
              <a:bodyPr>
                <a:spAutoFit/>
              </a:bodyPr>
              <a:lstStyle/>
              <a:p>
                <a:pPr algn="ctr">
                  <a:defRPr/>
                </a:pPr>
                <a:r>
                  <a:rPr lang="en-US" sz="1200" b="1" dirty="0">
                    <a:solidFill>
                      <a:prstClr val="black"/>
                    </a:solidFill>
                    <a:latin typeface="Calibri"/>
                    <a:cs typeface="Arial"/>
                  </a:rPr>
                  <a:t>Data tier</a:t>
                </a:r>
                <a:endParaRPr lang="en-US" sz="1200" b="1" dirty="0">
                  <a:solidFill>
                    <a:prstClr val="black"/>
                  </a:solidFill>
                  <a:latin typeface="Calibri"/>
                </a:endParaRPr>
              </a:p>
            </p:txBody>
          </p:sp>
        </p:grpSp>
        <p:pic>
          <p:nvPicPr>
            <p:cNvPr id="20517" name="Picture 122"/>
            <p:cNvPicPr>
              <a:picLocks noChangeAspect="1"/>
            </p:cNvPicPr>
            <p:nvPr/>
          </p:nvPicPr>
          <p:blipFill>
            <a:blip r:embed="rId8" cstate="email"/>
            <a:srcRect/>
            <a:stretch>
              <a:fillRect/>
            </a:stretch>
          </p:blipFill>
          <p:spPr bwMode="auto">
            <a:xfrm>
              <a:off x="3419255" y="3850640"/>
              <a:ext cx="670243" cy="720071"/>
            </a:xfrm>
            <a:prstGeom prst="rect">
              <a:avLst/>
            </a:prstGeom>
            <a:noFill/>
            <a:ln w="9525">
              <a:noFill/>
              <a:miter lim="800000"/>
              <a:headEnd/>
              <a:tailEnd/>
            </a:ln>
          </p:spPr>
        </p:pic>
        <p:pic>
          <p:nvPicPr>
            <p:cNvPr id="20518" name="Picture 123"/>
            <p:cNvPicPr>
              <a:picLocks noChangeAspect="1"/>
            </p:cNvPicPr>
            <p:nvPr/>
          </p:nvPicPr>
          <p:blipFill>
            <a:blip r:embed="rId8" cstate="email"/>
            <a:srcRect/>
            <a:stretch>
              <a:fillRect/>
            </a:stretch>
          </p:blipFill>
          <p:spPr bwMode="auto">
            <a:xfrm>
              <a:off x="6795769" y="3850640"/>
              <a:ext cx="670243" cy="720071"/>
            </a:xfrm>
            <a:prstGeom prst="rect">
              <a:avLst/>
            </a:prstGeom>
            <a:noFill/>
            <a:ln w="9525">
              <a:noFill/>
              <a:miter lim="800000"/>
              <a:headEnd/>
              <a:tailEnd/>
            </a:ln>
          </p:spPr>
        </p:pic>
        <p:pic>
          <p:nvPicPr>
            <p:cNvPr id="20519" name="Picture 124"/>
            <p:cNvPicPr>
              <a:picLocks noChangeAspect="1"/>
            </p:cNvPicPr>
            <p:nvPr/>
          </p:nvPicPr>
          <p:blipFill>
            <a:blip r:embed="rId8" cstate="email"/>
            <a:srcRect/>
            <a:stretch>
              <a:fillRect/>
            </a:stretch>
          </p:blipFill>
          <p:spPr bwMode="auto">
            <a:xfrm>
              <a:off x="10148569" y="3850640"/>
              <a:ext cx="670243" cy="720071"/>
            </a:xfrm>
            <a:prstGeom prst="rect">
              <a:avLst/>
            </a:prstGeom>
            <a:noFill/>
            <a:ln w="9525">
              <a:noFill/>
              <a:miter lim="800000"/>
              <a:headEnd/>
              <a:tailEnd/>
            </a:ln>
          </p:spPr>
        </p:pic>
      </p:grpSp>
      <p:sp>
        <p:nvSpPr>
          <p:cNvPr id="76" name="Rounded Rectangle 75"/>
          <p:cNvSpPr/>
          <p:nvPr/>
        </p:nvSpPr>
        <p:spPr>
          <a:xfrm>
            <a:off x="3151871" y="971551"/>
            <a:ext cx="2549136" cy="509588"/>
          </a:xfrm>
          <a:prstGeom prst="roundRect">
            <a:avLst>
              <a:gd name="adj" fmla="val 10473"/>
            </a:avLst>
          </a:prstGeom>
          <a:gradFill>
            <a:gsLst>
              <a:gs pos="0">
                <a:schemeClr val="accent1">
                  <a:tint val="100000"/>
                  <a:shade val="100000"/>
                  <a:satMod val="130000"/>
                  <a:alpha val="41000"/>
                </a:schemeClr>
              </a:gs>
              <a:gs pos="100000">
                <a:schemeClr val="accent1">
                  <a:tint val="50000"/>
                  <a:shade val="100000"/>
                  <a:satMod val="350000"/>
                  <a:alpha val="28000"/>
                </a:schemeClr>
              </a:gs>
            </a:gsLst>
          </a:gradFill>
          <a:ln>
            <a:noFill/>
          </a:ln>
        </p:spPr>
        <p:style>
          <a:lnRef idx="1">
            <a:schemeClr val="accent1"/>
          </a:lnRef>
          <a:fillRef idx="3">
            <a:schemeClr val="accent1"/>
          </a:fillRef>
          <a:effectRef idx="2">
            <a:schemeClr val="accent1"/>
          </a:effectRef>
          <a:fontRef idx="minor">
            <a:schemeClr val="lt1"/>
          </a:fontRef>
        </p:style>
        <p:txBody>
          <a:bodyPr lIns="68586" tIns="34294" rIns="68586" bIns="34294" anchor="ctr"/>
          <a:lstStyle/>
          <a:p>
            <a:pPr algn="ctr">
              <a:defRPr/>
            </a:pPr>
            <a:endParaRPr lang="en-US" sz="1200" dirty="0">
              <a:solidFill>
                <a:prstClr val="white"/>
              </a:solidFill>
            </a:endParaRPr>
          </a:p>
        </p:txBody>
      </p:sp>
      <p:sp>
        <p:nvSpPr>
          <p:cNvPr id="20485" name="Title 1"/>
          <p:cNvSpPr>
            <a:spLocks noGrp="1"/>
          </p:cNvSpPr>
          <p:nvPr>
            <p:ph type="title"/>
          </p:nvPr>
        </p:nvSpPr>
        <p:spPr>
          <a:xfrm>
            <a:off x="284635" y="34290"/>
            <a:ext cx="8402047" cy="914096"/>
          </a:xfrm>
        </p:spPr>
        <p:txBody>
          <a:bodyPr/>
          <a:lstStyle/>
          <a:p>
            <a:r>
              <a:rPr lang="en-US" dirty="0" smtClean="0"/>
              <a:t>Standardize Application Deployment : Service Templates</a:t>
            </a:r>
          </a:p>
        </p:txBody>
      </p:sp>
      <p:sp>
        <p:nvSpPr>
          <p:cNvPr id="20" name="Rounded Rectangle 19"/>
          <p:cNvSpPr/>
          <p:nvPr/>
        </p:nvSpPr>
        <p:spPr>
          <a:xfrm>
            <a:off x="2755824" y="3788570"/>
            <a:ext cx="3473958" cy="783431"/>
          </a:xfrm>
          <a:prstGeom prst="roundRect">
            <a:avLst>
              <a:gd name="adj" fmla="val 10473"/>
            </a:avLst>
          </a:prstGeom>
          <a:gradFill>
            <a:gsLst>
              <a:gs pos="0">
                <a:schemeClr val="accent1">
                  <a:tint val="100000"/>
                  <a:shade val="100000"/>
                  <a:satMod val="130000"/>
                  <a:alpha val="41000"/>
                </a:schemeClr>
              </a:gs>
              <a:gs pos="100000">
                <a:schemeClr val="accent1">
                  <a:tint val="50000"/>
                  <a:shade val="100000"/>
                  <a:satMod val="350000"/>
                  <a:alpha val="28000"/>
                </a:schemeClr>
              </a:gs>
            </a:gsLst>
          </a:gradFill>
          <a:ln>
            <a:noFill/>
          </a:ln>
        </p:spPr>
        <p:style>
          <a:lnRef idx="1">
            <a:schemeClr val="accent1"/>
          </a:lnRef>
          <a:fillRef idx="3">
            <a:schemeClr val="accent1"/>
          </a:fillRef>
          <a:effectRef idx="2">
            <a:schemeClr val="accent1"/>
          </a:effectRef>
          <a:fontRef idx="minor">
            <a:schemeClr val="lt1"/>
          </a:fontRef>
        </p:style>
        <p:txBody>
          <a:bodyPr lIns="68586" tIns="34294" rIns="68586" bIns="34294" anchor="ctr"/>
          <a:lstStyle/>
          <a:p>
            <a:pPr algn="ctr">
              <a:defRPr/>
            </a:pPr>
            <a:endParaRPr lang="en-US" sz="1200" dirty="0">
              <a:solidFill>
                <a:prstClr val="white"/>
              </a:solidFill>
            </a:endParaRPr>
          </a:p>
        </p:txBody>
      </p:sp>
      <p:grpSp>
        <p:nvGrpSpPr>
          <p:cNvPr id="4" name="Group 20"/>
          <p:cNvGrpSpPr>
            <a:grpSpLocks/>
          </p:cNvGrpSpPr>
          <p:nvPr/>
        </p:nvGrpSpPr>
        <p:grpSpPr bwMode="auto">
          <a:xfrm>
            <a:off x="2524784" y="3013473"/>
            <a:ext cx="3990824" cy="815578"/>
            <a:chOff x="3291130" y="3865372"/>
            <a:chExt cx="5837167" cy="1088133"/>
          </a:xfrm>
        </p:grpSpPr>
        <p:grpSp>
          <p:nvGrpSpPr>
            <p:cNvPr id="5" name="Group 93"/>
            <p:cNvGrpSpPr/>
            <p:nvPr/>
          </p:nvGrpSpPr>
          <p:grpSpPr>
            <a:xfrm rot="507098" flipV="1">
              <a:off x="3291130" y="4094479"/>
              <a:ext cx="1088133" cy="670559"/>
              <a:chOff x="3299935" y="1776092"/>
              <a:chExt cx="1479777" cy="911908"/>
            </a:xfrm>
            <a:solidFill>
              <a:schemeClr val="bg1">
                <a:alpha val="26000"/>
              </a:schemeClr>
            </a:solidFill>
          </p:grpSpPr>
          <p:sp>
            <p:nvSpPr>
              <p:cNvPr id="34" name="Oval 33"/>
              <p:cNvSpPr/>
              <p:nvPr/>
            </p:nvSpPr>
            <p:spPr>
              <a:xfrm rot="20489775">
                <a:off x="3825382" y="2248446"/>
                <a:ext cx="136187" cy="13618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16">
                  <a:defRPr/>
                </a:pPr>
                <a:endParaRPr lang="en-US" dirty="0">
                  <a:solidFill>
                    <a:prstClr val="white"/>
                  </a:solidFill>
                </a:endParaRPr>
              </a:p>
            </p:txBody>
          </p:sp>
          <p:sp>
            <p:nvSpPr>
              <p:cNvPr id="35" name="Oval 34"/>
              <p:cNvSpPr/>
              <p:nvPr/>
            </p:nvSpPr>
            <p:spPr>
              <a:xfrm rot="20489775">
                <a:off x="4088106" y="2096763"/>
                <a:ext cx="136187" cy="13618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16">
                  <a:defRPr/>
                </a:pPr>
                <a:endParaRPr lang="en-US" dirty="0">
                  <a:solidFill>
                    <a:prstClr val="white"/>
                  </a:solidFill>
                </a:endParaRPr>
              </a:p>
            </p:txBody>
          </p:sp>
          <p:sp>
            <p:nvSpPr>
              <p:cNvPr id="36" name="Oval 35"/>
              <p:cNvSpPr/>
              <p:nvPr/>
            </p:nvSpPr>
            <p:spPr>
              <a:xfrm rot="20489775">
                <a:off x="3562659" y="2400130"/>
                <a:ext cx="136187" cy="13618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16">
                  <a:defRPr/>
                </a:pPr>
                <a:endParaRPr lang="en-US" dirty="0">
                  <a:solidFill>
                    <a:prstClr val="white"/>
                  </a:solidFill>
                </a:endParaRPr>
              </a:p>
            </p:txBody>
          </p:sp>
          <p:sp>
            <p:nvSpPr>
              <p:cNvPr id="37" name="Oval 36"/>
              <p:cNvSpPr/>
              <p:nvPr/>
            </p:nvSpPr>
            <p:spPr>
              <a:xfrm rot="20489775">
                <a:off x="3299935" y="2551813"/>
                <a:ext cx="136187" cy="13618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16">
                  <a:defRPr/>
                </a:pPr>
                <a:endParaRPr lang="en-US" dirty="0">
                  <a:solidFill>
                    <a:prstClr val="white"/>
                  </a:solidFill>
                </a:endParaRPr>
              </a:p>
            </p:txBody>
          </p:sp>
          <p:sp>
            <p:nvSpPr>
              <p:cNvPr id="38" name="Oval 37"/>
              <p:cNvSpPr/>
              <p:nvPr/>
            </p:nvSpPr>
            <p:spPr>
              <a:xfrm rot="20489775">
                <a:off x="4643525" y="1776092"/>
                <a:ext cx="136187" cy="13618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16">
                  <a:defRPr/>
                </a:pPr>
                <a:endParaRPr lang="en-US" dirty="0">
                  <a:solidFill>
                    <a:prstClr val="white"/>
                  </a:solidFill>
                </a:endParaRPr>
              </a:p>
            </p:txBody>
          </p:sp>
          <p:sp>
            <p:nvSpPr>
              <p:cNvPr id="39" name="Oval 38"/>
              <p:cNvSpPr/>
              <p:nvPr/>
            </p:nvSpPr>
            <p:spPr>
              <a:xfrm rot="20489775">
                <a:off x="4380801" y="1927775"/>
                <a:ext cx="136187" cy="13618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16">
                  <a:defRPr/>
                </a:pPr>
                <a:endParaRPr lang="en-US" dirty="0">
                  <a:solidFill>
                    <a:prstClr val="white"/>
                  </a:solidFill>
                </a:endParaRPr>
              </a:p>
            </p:txBody>
          </p:sp>
        </p:grpSp>
        <p:grpSp>
          <p:nvGrpSpPr>
            <p:cNvPr id="6" name="Group 93"/>
            <p:cNvGrpSpPr/>
            <p:nvPr/>
          </p:nvGrpSpPr>
          <p:grpSpPr>
            <a:xfrm rot="17626777" flipV="1">
              <a:off x="8248951" y="4074159"/>
              <a:ext cx="1088133" cy="670559"/>
              <a:chOff x="3299935" y="1776092"/>
              <a:chExt cx="1479777" cy="911908"/>
            </a:xfrm>
            <a:solidFill>
              <a:schemeClr val="bg1">
                <a:alpha val="26000"/>
              </a:schemeClr>
            </a:solidFill>
          </p:grpSpPr>
          <p:sp>
            <p:nvSpPr>
              <p:cNvPr id="28" name="Oval 27"/>
              <p:cNvSpPr/>
              <p:nvPr/>
            </p:nvSpPr>
            <p:spPr>
              <a:xfrm rot="20489775">
                <a:off x="3825382" y="2248446"/>
                <a:ext cx="136187" cy="13618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16">
                  <a:defRPr/>
                </a:pPr>
                <a:endParaRPr lang="en-US" dirty="0">
                  <a:solidFill>
                    <a:prstClr val="white"/>
                  </a:solidFill>
                </a:endParaRPr>
              </a:p>
            </p:txBody>
          </p:sp>
          <p:sp>
            <p:nvSpPr>
              <p:cNvPr id="29" name="Oval 28"/>
              <p:cNvSpPr/>
              <p:nvPr/>
            </p:nvSpPr>
            <p:spPr>
              <a:xfrm rot="20489775">
                <a:off x="4088106" y="2096763"/>
                <a:ext cx="136187" cy="13618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16">
                  <a:defRPr/>
                </a:pPr>
                <a:endParaRPr lang="en-US" dirty="0">
                  <a:solidFill>
                    <a:prstClr val="white"/>
                  </a:solidFill>
                </a:endParaRPr>
              </a:p>
            </p:txBody>
          </p:sp>
          <p:sp>
            <p:nvSpPr>
              <p:cNvPr id="30" name="Oval 29"/>
              <p:cNvSpPr/>
              <p:nvPr/>
            </p:nvSpPr>
            <p:spPr>
              <a:xfrm rot="20489775">
                <a:off x="3562659" y="2400130"/>
                <a:ext cx="136187" cy="13618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16">
                  <a:defRPr/>
                </a:pPr>
                <a:endParaRPr lang="en-US" dirty="0">
                  <a:solidFill>
                    <a:prstClr val="white"/>
                  </a:solidFill>
                </a:endParaRPr>
              </a:p>
            </p:txBody>
          </p:sp>
          <p:sp>
            <p:nvSpPr>
              <p:cNvPr id="31" name="Oval 30"/>
              <p:cNvSpPr/>
              <p:nvPr/>
            </p:nvSpPr>
            <p:spPr>
              <a:xfrm rot="20489775">
                <a:off x="3299935" y="2551813"/>
                <a:ext cx="136187" cy="13618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16">
                  <a:defRPr/>
                </a:pPr>
                <a:endParaRPr lang="en-US" dirty="0">
                  <a:solidFill>
                    <a:prstClr val="white"/>
                  </a:solidFill>
                </a:endParaRPr>
              </a:p>
            </p:txBody>
          </p:sp>
          <p:sp>
            <p:nvSpPr>
              <p:cNvPr id="32" name="Oval 31"/>
              <p:cNvSpPr/>
              <p:nvPr/>
            </p:nvSpPr>
            <p:spPr>
              <a:xfrm rot="20489775">
                <a:off x="4643525" y="1776092"/>
                <a:ext cx="136187" cy="13618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16">
                  <a:defRPr/>
                </a:pPr>
                <a:endParaRPr lang="en-US" dirty="0">
                  <a:solidFill>
                    <a:prstClr val="white"/>
                  </a:solidFill>
                </a:endParaRPr>
              </a:p>
            </p:txBody>
          </p:sp>
          <p:sp>
            <p:nvSpPr>
              <p:cNvPr id="33" name="Oval 32"/>
              <p:cNvSpPr/>
              <p:nvPr/>
            </p:nvSpPr>
            <p:spPr>
              <a:xfrm rot="20489775">
                <a:off x="4380801" y="1927775"/>
                <a:ext cx="136187" cy="13618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16">
                  <a:defRPr/>
                </a:pPr>
                <a:endParaRPr lang="en-US" dirty="0">
                  <a:solidFill>
                    <a:prstClr val="white"/>
                  </a:solidFill>
                </a:endParaRPr>
              </a:p>
            </p:txBody>
          </p:sp>
        </p:grpSp>
        <p:grpSp>
          <p:nvGrpSpPr>
            <p:cNvPr id="20568" name="Group 23"/>
            <p:cNvGrpSpPr>
              <a:grpSpLocks/>
            </p:cNvGrpSpPr>
            <p:nvPr/>
          </p:nvGrpSpPr>
          <p:grpSpPr bwMode="auto">
            <a:xfrm>
              <a:off x="6196561" y="4185435"/>
              <a:ext cx="113186" cy="546104"/>
              <a:chOff x="2610268" y="4449595"/>
              <a:chExt cx="113186" cy="546104"/>
            </a:xfrm>
          </p:grpSpPr>
          <p:sp>
            <p:nvSpPr>
              <p:cNvPr id="25" name="Oval 24"/>
              <p:cNvSpPr/>
              <p:nvPr/>
            </p:nvSpPr>
            <p:spPr>
              <a:xfrm rot="4609709" flipV="1">
                <a:off x="2623028" y="4894719"/>
                <a:ext cx="100076" cy="101031"/>
              </a:xfrm>
              <a:prstGeom prst="ellipse">
                <a:avLst/>
              </a:prstGeom>
              <a:solidFill>
                <a:schemeClr val="bg1">
                  <a:alpha val="2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16">
                  <a:defRPr/>
                </a:pPr>
                <a:endParaRPr lang="en-US" dirty="0">
                  <a:solidFill>
                    <a:prstClr val="white"/>
                  </a:solidFill>
                </a:endParaRPr>
              </a:p>
            </p:txBody>
          </p:sp>
          <p:sp>
            <p:nvSpPr>
              <p:cNvPr id="26" name="Oval 25"/>
              <p:cNvSpPr/>
              <p:nvPr/>
            </p:nvSpPr>
            <p:spPr>
              <a:xfrm rot="4609709" flipV="1">
                <a:off x="2616136" y="4672403"/>
                <a:ext cx="101665" cy="99290"/>
              </a:xfrm>
              <a:prstGeom prst="ellipse">
                <a:avLst/>
              </a:prstGeom>
              <a:solidFill>
                <a:schemeClr val="bg1">
                  <a:alpha val="2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16">
                  <a:defRPr/>
                </a:pPr>
                <a:endParaRPr lang="en-US" dirty="0">
                  <a:solidFill>
                    <a:prstClr val="white"/>
                  </a:solidFill>
                </a:endParaRPr>
              </a:p>
            </p:txBody>
          </p:sp>
          <p:sp>
            <p:nvSpPr>
              <p:cNvPr id="27" name="Oval 26"/>
              <p:cNvSpPr/>
              <p:nvPr/>
            </p:nvSpPr>
            <p:spPr>
              <a:xfrm rot="4609709" flipV="1">
                <a:off x="2610833" y="4448346"/>
                <a:ext cx="100077" cy="101031"/>
              </a:xfrm>
              <a:prstGeom prst="ellipse">
                <a:avLst/>
              </a:prstGeom>
              <a:solidFill>
                <a:schemeClr val="bg1">
                  <a:alpha val="2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16">
                  <a:defRPr/>
                </a:pPr>
                <a:endParaRPr lang="en-US" dirty="0">
                  <a:solidFill>
                    <a:prstClr val="white"/>
                  </a:solidFill>
                </a:endParaRPr>
              </a:p>
            </p:txBody>
          </p:sp>
        </p:grpSp>
      </p:grpSp>
      <p:sp>
        <p:nvSpPr>
          <p:cNvPr id="40" name="TextBox 39"/>
          <p:cNvSpPr txBox="1">
            <a:spLocks noChangeArrowheads="1"/>
          </p:cNvSpPr>
          <p:nvPr/>
        </p:nvSpPr>
        <p:spPr bwMode="auto">
          <a:xfrm>
            <a:off x="2963047" y="4311254"/>
            <a:ext cx="753862" cy="208359"/>
          </a:xfrm>
          <a:prstGeom prst="rect">
            <a:avLst/>
          </a:prstGeom>
          <a:noFill/>
          <a:ln w="9525">
            <a:noFill/>
            <a:miter lim="800000"/>
            <a:headEnd/>
            <a:tailEnd/>
          </a:ln>
        </p:spPr>
        <p:txBody>
          <a:bodyPr lIns="68586" tIns="34294" rIns="68586" bIns="34294">
            <a:spAutoFit/>
          </a:bodyPr>
          <a:lstStyle/>
          <a:p>
            <a:pPr algn="ctr"/>
            <a:r>
              <a:rPr lang="en-US" sz="900" b="1" dirty="0">
                <a:solidFill>
                  <a:prstClr val="white"/>
                </a:solidFill>
                <a:latin typeface="Arial" pitchFamily="34" charset="0"/>
                <a:cs typeface="Arial" pitchFamily="34" charset="0"/>
              </a:rPr>
              <a:t>Compute</a:t>
            </a:r>
          </a:p>
        </p:txBody>
      </p:sp>
      <p:pic>
        <p:nvPicPr>
          <p:cNvPr id="41" name="Picture 40"/>
          <p:cNvPicPr>
            <a:picLocks noChangeAspect="1"/>
          </p:cNvPicPr>
          <p:nvPr/>
        </p:nvPicPr>
        <p:blipFill>
          <a:blip r:embed="rId9" cstate="email"/>
          <a:srcRect/>
          <a:stretch>
            <a:fillRect/>
          </a:stretch>
        </p:blipFill>
        <p:spPr bwMode="auto">
          <a:xfrm>
            <a:off x="2868963" y="3748088"/>
            <a:ext cx="534730" cy="595313"/>
          </a:xfrm>
          <a:prstGeom prst="rect">
            <a:avLst/>
          </a:prstGeom>
          <a:noFill/>
          <a:ln w="9525">
            <a:noFill/>
            <a:miter lim="800000"/>
            <a:headEnd/>
            <a:tailEnd/>
          </a:ln>
        </p:spPr>
      </p:pic>
      <p:pic>
        <p:nvPicPr>
          <p:cNvPr id="42" name="Picture 41"/>
          <p:cNvPicPr>
            <a:picLocks noChangeAspect="1"/>
          </p:cNvPicPr>
          <p:nvPr/>
        </p:nvPicPr>
        <p:blipFill>
          <a:blip r:embed="rId9" cstate="email"/>
          <a:srcRect/>
          <a:stretch>
            <a:fillRect/>
          </a:stretch>
        </p:blipFill>
        <p:spPr bwMode="auto">
          <a:xfrm>
            <a:off x="3377492" y="3788569"/>
            <a:ext cx="534730" cy="595313"/>
          </a:xfrm>
          <a:prstGeom prst="rect">
            <a:avLst/>
          </a:prstGeom>
          <a:noFill/>
          <a:ln w="9525">
            <a:noFill/>
            <a:miter lim="800000"/>
            <a:headEnd/>
            <a:tailEnd/>
          </a:ln>
        </p:spPr>
      </p:pic>
      <p:sp>
        <p:nvSpPr>
          <p:cNvPr id="43" name="TextBox 42"/>
          <p:cNvSpPr txBox="1">
            <a:spLocks noChangeArrowheads="1"/>
          </p:cNvSpPr>
          <p:nvPr/>
        </p:nvSpPr>
        <p:spPr bwMode="auto">
          <a:xfrm>
            <a:off x="4205193" y="4314825"/>
            <a:ext cx="665732" cy="208360"/>
          </a:xfrm>
          <a:prstGeom prst="rect">
            <a:avLst/>
          </a:prstGeom>
          <a:noFill/>
          <a:ln w="9525">
            <a:noFill/>
            <a:miter lim="800000"/>
            <a:headEnd/>
            <a:tailEnd/>
          </a:ln>
        </p:spPr>
        <p:txBody>
          <a:bodyPr lIns="68586" tIns="34294" rIns="68586" bIns="34294">
            <a:spAutoFit/>
          </a:bodyPr>
          <a:lstStyle/>
          <a:p>
            <a:pPr algn="ctr"/>
            <a:r>
              <a:rPr lang="en-US" sz="900" b="1" dirty="0">
                <a:solidFill>
                  <a:prstClr val="white"/>
                </a:solidFill>
                <a:latin typeface="Arial" pitchFamily="34" charset="0"/>
                <a:cs typeface="Arial" pitchFamily="34" charset="0"/>
              </a:rPr>
              <a:t>Storage</a:t>
            </a:r>
          </a:p>
        </p:txBody>
      </p:sp>
      <p:pic>
        <p:nvPicPr>
          <p:cNvPr id="56" name="Picture 55"/>
          <p:cNvPicPr>
            <a:picLocks noChangeAspect="1"/>
          </p:cNvPicPr>
          <p:nvPr/>
        </p:nvPicPr>
        <p:blipFill>
          <a:blip r:embed="rId10" cstate="print"/>
          <a:srcRect/>
          <a:stretch>
            <a:fillRect/>
          </a:stretch>
        </p:blipFill>
        <p:spPr bwMode="auto">
          <a:xfrm>
            <a:off x="4295703" y="3848101"/>
            <a:ext cx="485902" cy="492919"/>
          </a:xfrm>
          <a:prstGeom prst="rect">
            <a:avLst/>
          </a:prstGeom>
          <a:noFill/>
          <a:ln w="9525">
            <a:noFill/>
            <a:miter lim="800000"/>
            <a:headEnd/>
            <a:tailEnd/>
          </a:ln>
        </p:spPr>
      </p:pic>
      <p:sp>
        <p:nvSpPr>
          <p:cNvPr id="57" name="TextBox 56"/>
          <p:cNvSpPr txBox="1">
            <a:spLocks noChangeArrowheads="1"/>
          </p:cNvSpPr>
          <p:nvPr/>
        </p:nvSpPr>
        <p:spPr bwMode="auto">
          <a:xfrm>
            <a:off x="5294898" y="4330305"/>
            <a:ext cx="697888" cy="207169"/>
          </a:xfrm>
          <a:prstGeom prst="rect">
            <a:avLst/>
          </a:prstGeom>
          <a:noFill/>
          <a:ln w="9525">
            <a:noFill/>
            <a:miter lim="800000"/>
            <a:headEnd/>
            <a:tailEnd/>
          </a:ln>
        </p:spPr>
        <p:txBody>
          <a:bodyPr lIns="68586" tIns="34294" rIns="68586" bIns="34294">
            <a:spAutoFit/>
          </a:bodyPr>
          <a:lstStyle/>
          <a:p>
            <a:pPr algn="ctr"/>
            <a:r>
              <a:rPr lang="en-US" sz="900" b="1" dirty="0">
                <a:solidFill>
                  <a:prstClr val="white"/>
                </a:solidFill>
                <a:latin typeface="Arial" pitchFamily="34" charset="0"/>
                <a:cs typeface="Arial" pitchFamily="34" charset="0"/>
              </a:rPr>
              <a:t>Network</a:t>
            </a:r>
          </a:p>
        </p:txBody>
      </p:sp>
      <p:pic>
        <p:nvPicPr>
          <p:cNvPr id="58" name="Picture 57"/>
          <p:cNvPicPr>
            <a:picLocks noChangeAspect="1"/>
          </p:cNvPicPr>
          <p:nvPr/>
        </p:nvPicPr>
        <p:blipFill>
          <a:blip r:embed="rId11" cstate="print"/>
          <a:srcRect/>
          <a:stretch>
            <a:fillRect/>
          </a:stretch>
        </p:blipFill>
        <p:spPr bwMode="auto">
          <a:xfrm>
            <a:off x="5333008" y="3889774"/>
            <a:ext cx="622859" cy="469106"/>
          </a:xfrm>
          <a:prstGeom prst="rect">
            <a:avLst/>
          </a:prstGeom>
          <a:noFill/>
          <a:ln w="9525">
            <a:noFill/>
            <a:miter lim="800000"/>
            <a:headEnd/>
            <a:tailEnd/>
          </a:ln>
        </p:spPr>
      </p:pic>
      <p:sp>
        <p:nvSpPr>
          <p:cNvPr id="59" name="Rounded Rectangle 58"/>
          <p:cNvSpPr/>
          <p:nvPr/>
        </p:nvSpPr>
        <p:spPr>
          <a:xfrm>
            <a:off x="2285406" y="2193131"/>
            <a:ext cx="4458861" cy="892969"/>
          </a:xfrm>
          <a:prstGeom prst="roundRect">
            <a:avLst>
              <a:gd name="adj" fmla="val 10473"/>
            </a:avLst>
          </a:prstGeom>
          <a:gradFill>
            <a:gsLst>
              <a:gs pos="0">
                <a:schemeClr val="accent1">
                  <a:tint val="100000"/>
                  <a:shade val="100000"/>
                  <a:satMod val="130000"/>
                  <a:alpha val="41000"/>
                </a:schemeClr>
              </a:gs>
              <a:gs pos="100000">
                <a:schemeClr val="accent1">
                  <a:tint val="50000"/>
                  <a:shade val="100000"/>
                  <a:satMod val="350000"/>
                  <a:alpha val="28000"/>
                </a:schemeClr>
              </a:gs>
            </a:gsLst>
          </a:gradFill>
          <a:ln>
            <a:noFill/>
          </a:ln>
        </p:spPr>
        <p:style>
          <a:lnRef idx="1">
            <a:schemeClr val="accent1"/>
          </a:lnRef>
          <a:fillRef idx="3">
            <a:schemeClr val="accent1"/>
          </a:fillRef>
          <a:effectRef idx="2">
            <a:schemeClr val="accent1"/>
          </a:effectRef>
          <a:fontRef idx="minor">
            <a:schemeClr val="lt1"/>
          </a:fontRef>
        </p:style>
        <p:txBody>
          <a:bodyPr lIns="68586" tIns="34294" rIns="68586" bIns="34294" anchor="ctr"/>
          <a:lstStyle/>
          <a:p>
            <a:pPr algn="ctr">
              <a:defRPr/>
            </a:pPr>
            <a:endParaRPr lang="en-US" sz="1200" dirty="0">
              <a:solidFill>
                <a:prstClr val="white"/>
              </a:solidFill>
            </a:endParaRPr>
          </a:p>
        </p:txBody>
      </p:sp>
      <p:pic>
        <p:nvPicPr>
          <p:cNvPr id="60" name="Picture 59"/>
          <p:cNvPicPr>
            <a:picLocks noChangeAspect="1"/>
          </p:cNvPicPr>
          <p:nvPr/>
        </p:nvPicPr>
        <p:blipFill>
          <a:blip r:embed="rId12" cstate="email"/>
          <a:srcRect/>
          <a:stretch>
            <a:fillRect/>
          </a:stretch>
        </p:blipFill>
        <p:spPr bwMode="auto">
          <a:xfrm>
            <a:off x="2285405" y="2181226"/>
            <a:ext cx="428737" cy="638175"/>
          </a:xfrm>
          <a:prstGeom prst="rect">
            <a:avLst/>
          </a:prstGeom>
          <a:noFill/>
          <a:ln w="9525">
            <a:noFill/>
            <a:miter lim="800000"/>
            <a:headEnd/>
            <a:tailEnd/>
          </a:ln>
        </p:spPr>
      </p:pic>
      <p:pic>
        <p:nvPicPr>
          <p:cNvPr id="61" name="Picture 60"/>
          <p:cNvPicPr>
            <a:picLocks noChangeAspect="1"/>
          </p:cNvPicPr>
          <p:nvPr/>
        </p:nvPicPr>
        <p:blipFill>
          <a:blip r:embed="rId12" cstate="email"/>
          <a:srcRect/>
          <a:stretch>
            <a:fillRect/>
          </a:stretch>
        </p:blipFill>
        <p:spPr bwMode="auto">
          <a:xfrm>
            <a:off x="2602193" y="2171701"/>
            <a:ext cx="428737" cy="638175"/>
          </a:xfrm>
          <a:prstGeom prst="rect">
            <a:avLst/>
          </a:prstGeom>
          <a:noFill/>
          <a:ln w="9525">
            <a:noFill/>
            <a:miter lim="800000"/>
            <a:headEnd/>
            <a:tailEnd/>
          </a:ln>
        </p:spPr>
      </p:pic>
      <p:pic>
        <p:nvPicPr>
          <p:cNvPr id="62" name="Picture 61"/>
          <p:cNvPicPr>
            <a:picLocks noChangeAspect="1"/>
          </p:cNvPicPr>
          <p:nvPr/>
        </p:nvPicPr>
        <p:blipFill>
          <a:blip r:embed="rId13" cstate="email"/>
          <a:srcRect/>
          <a:stretch>
            <a:fillRect/>
          </a:stretch>
        </p:blipFill>
        <p:spPr bwMode="auto">
          <a:xfrm>
            <a:off x="2814180" y="2176464"/>
            <a:ext cx="644296" cy="654844"/>
          </a:xfrm>
          <a:prstGeom prst="rect">
            <a:avLst/>
          </a:prstGeom>
          <a:noFill/>
          <a:ln w="9525">
            <a:noFill/>
            <a:miter lim="800000"/>
            <a:headEnd/>
            <a:tailEnd/>
          </a:ln>
        </p:spPr>
      </p:pic>
      <p:pic>
        <p:nvPicPr>
          <p:cNvPr id="63" name="Picture 62"/>
          <p:cNvPicPr>
            <a:picLocks noChangeAspect="1"/>
          </p:cNvPicPr>
          <p:nvPr/>
        </p:nvPicPr>
        <p:blipFill>
          <a:blip r:embed="rId12" cstate="email"/>
          <a:srcRect/>
          <a:stretch>
            <a:fillRect/>
          </a:stretch>
        </p:blipFill>
        <p:spPr bwMode="auto">
          <a:xfrm>
            <a:off x="4387406" y="2228851"/>
            <a:ext cx="428737" cy="638175"/>
          </a:xfrm>
          <a:prstGeom prst="rect">
            <a:avLst/>
          </a:prstGeom>
          <a:noFill/>
          <a:ln w="9525">
            <a:noFill/>
            <a:miter lim="800000"/>
            <a:headEnd/>
            <a:tailEnd/>
          </a:ln>
        </p:spPr>
      </p:pic>
      <p:pic>
        <p:nvPicPr>
          <p:cNvPr id="64" name="Picture 63"/>
          <p:cNvPicPr>
            <a:picLocks noChangeAspect="1"/>
          </p:cNvPicPr>
          <p:nvPr/>
        </p:nvPicPr>
        <p:blipFill>
          <a:blip r:embed="rId12" cstate="email"/>
          <a:srcRect/>
          <a:stretch>
            <a:fillRect/>
          </a:stretch>
        </p:blipFill>
        <p:spPr bwMode="auto">
          <a:xfrm>
            <a:off x="4703004" y="2219326"/>
            <a:ext cx="428737" cy="638175"/>
          </a:xfrm>
          <a:prstGeom prst="rect">
            <a:avLst/>
          </a:prstGeom>
          <a:noFill/>
          <a:ln w="9525">
            <a:noFill/>
            <a:miter lim="800000"/>
            <a:headEnd/>
            <a:tailEnd/>
          </a:ln>
        </p:spPr>
      </p:pic>
      <p:pic>
        <p:nvPicPr>
          <p:cNvPr id="65" name="Picture 64"/>
          <p:cNvPicPr>
            <a:picLocks noChangeAspect="1"/>
          </p:cNvPicPr>
          <p:nvPr/>
        </p:nvPicPr>
        <p:blipFill>
          <a:blip r:embed="rId12" cstate="email"/>
          <a:srcRect/>
          <a:stretch>
            <a:fillRect/>
          </a:stretch>
        </p:blipFill>
        <p:spPr bwMode="auto">
          <a:xfrm>
            <a:off x="5013838" y="2225279"/>
            <a:ext cx="428737" cy="636984"/>
          </a:xfrm>
          <a:prstGeom prst="rect">
            <a:avLst/>
          </a:prstGeom>
          <a:noFill/>
          <a:ln w="9525">
            <a:noFill/>
            <a:miter lim="800000"/>
            <a:headEnd/>
            <a:tailEnd/>
          </a:ln>
        </p:spPr>
      </p:pic>
      <p:pic>
        <p:nvPicPr>
          <p:cNvPr id="66" name="Picture 65"/>
          <p:cNvPicPr>
            <a:picLocks noChangeAspect="1"/>
          </p:cNvPicPr>
          <p:nvPr/>
        </p:nvPicPr>
        <p:blipFill>
          <a:blip r:embed="rId14" cstate="email"/>
          <a:srcRect/>
          <a:stretch>
            <a:fillRect/>
          </a:stretch>
        </p:blipFill>
        <p:spPr bwMode="auto">
          <a:xfrm>
            <a:off x="3600198" y="2259807"/>
            <a:ext cx="594277" cy="606029"/>
          </a:xfrm>
          <a:prstGeom prst="rect">
            <a:avLst/>
          </a:prstGeom>
          <a:noFill/>
          <a:ln w="9525">
            <a:noFill/>
            <a:miter lim="800000"/>
            <a:headEnd/>
            <a:tailEnd/>
          </a:ln>
        </p:spPr>
      </p:pic>
      <p:pic>
        <p:nvPicPr>
          <p:cNvPr id="67" name="Picture 66"/>
          <p:cNvPicPr>
            <a:picLocks noChangeAspect="1"/>
          </p:cNvPicPr>
          <p:nvPr/>
        </p:nvPicPr>
        <p:blipFill>
          <a:blip r:embed="rId12" cstate="email"/>
          <a:srcRect/>
          <a:stretch>
            <a:fillRect/>
          </a:stretch>
        </p:blipFill>
        <p:spPr bwMode="auto">
          <a:xfrm>
            <a:off x="6003504" y="2226470"/>
            <a:ext cx="428737" cy="638175"/>
          </a:xfrm>
          <a:prstGeom prst="rect">
            <a:avLst/>
          </a:prstGeom>
          <a:noFill/>
          <a:ln w="9525">
            <a:noFill/>
            <a:miter lim="800000"/>
            <a:headEnd/>
            <a:tailEnd/>
          </a:ln>
        </p:spPr>
      </p:pic>
      <p:pic>
        <p:nvPicPr>
          <p:cNvPr id="68" name="Picture 67"/>
          <p:cNvPicPr>
            <a:picLocks noChangeAspect="1"/>
          </p:cNvPicPr>
          <p:nvPr/>
        </p:nvPicPr>
        <p:blipFill>
          <a:blip r:embed="rId15" cstate="email"/>
          <a:srcRect/>
          <a:stretch>
            <a:fillRect/>
          </a:stretch>
        </p:blipFill>
        <p:spPr bwMode="auto">
          <a:xfrm>
            <a:off x="5804618" y="2436019"/>
            <a:ext cx="338226" cy="342900"/>
          </a:xfrm>
          <a:prstGeom prst="rect">
            <a:avLst/>
          </a:prstGeom>
          <a:noFill/>
          <a:ln w="9525">
            <a:noFill/>
            <a:miter lim="800000"/>
            <a:headEnd/>
            <a:tailEnd/>
          </a:ln>
        </p:spPr>
      </p:pic>
      <p:sp>
        <p:nvSpPr>
          <p:cNvPr id="69" name="TextBox 68"/>
          <p:cNvSpPr txBox="1">
            <a:spLocks noChangeArrowheads="1"/>
          </p:cNvSpPr>
          <p:nvPr/>
        </p:nvSpPr>
        <p:spPr bwMode="auto">
          <a:xfrm>
            <a:off x="2380718" y="2772967"/>
            <a:ext cx="914004" cy="346249"/>
          </a:xfrm>
          <a:prstGeom prst="rect">
            <a:avLst/>
          </a:prstGeom>
          <a:noFill/>
          <a:ln w="9525">
            <a:noFill/>
            <a:miter lim="800000"/>
            <a:headEnd/>
            <a:tailEnd/>
          </a:ln>
        </p:spPr>
        <p:txBody>
          <a:bodyPr wrap="square" lIns="68586" tIns="34294" rIns="68586" bIns="34294">
            <a:spAutoFit/>
          </a:bodyPr>
          <a:lstStyle/>
          <a:p>
            <a:pPr algn="ctr"/>
            <a:r>
              <a:rPr lang="en-US" sz="900" b="1" dirty="0">
                <a:solidFill>
                  <a:prstClr val="white"/>
                </a:solidFill>
                <a:latin typeface="Arial" pitchFamily="34" charset="0"/>
                <a:cs typeface="Arial" pitchFamily="34" charset="0"/>
              </a:rPr>
              <a:t>Web (IIS)</a:t>
            </a:r>
          </a:p>
          <a:p>
            <a:pPr algn="ctr"/>
            <a:r>
              <a:rPr lang="en-US" sz="900" b="1" dirty="0">
                <a:solidFill>
                  <a:prstClr val="white"/>
                </a:solidFill>
                <a:latin typeface="Arial" pitchFamily="34" charset="0"/>
                <a:cs typeface="Arial" pitchFamily="34" charset="0"/>
              </a:rPr>
              <a:t>Web Deploy</a:t>
            </a:r>
          </a:p>
        </p:txBody>
      </p:sp>
      <p:sp>
        <p:nvSpPr>
          <p:cNvPr id="70" name="TextBox 69"/>
          <p:cNvSpPr txBox="1">
            <a:spLocks noChangeArrowheads="1"/>
          </p:cNvSpPr>
          <p:nvPr/>
        </p:nvSpPr>
        <p:spPr bwMode="auto">
          <a:xfrm>
            <a:off x="4374600" y="2813449"/>
            <a:ext cx="1226368" cy="207749"/>
          </a:xfrm>
          <a:prstGeom prst="rect">
            <a:avLst/>
          </a:prstGeom>
          <a:noFill/>
          <a:ln w="9525">
            <a:noFill/>
            <a:miter lim="800000"/>
            <a:headEnd/>
            <a:tailEnd/>
          </a:ln>
        </p:spPr>
        <p:txBody>
          <a:bodyPr wrap="square" lIns="68586" tIns="34294" rIns="68586" bIns="34294">
            <a:spAutoFit/>
          </a:bodyPr>
          <a:lstStyle/>
          <a:p>
            <a:pPr algn="ctr"/>
            <a:r>
              <a:rPr lang="en-US" sz="900" b="1" dirty="0">
                <a:solidFill>
                  <a:prstClr val="white"/>
                </a:solidFill>
                <a:latin typeface="Arial" pitchFamily="34" charset="0"/>
                <a:cs typeface="Arial" pitchFamily="34" charset="0"/>
              </a:rPr>
              <a:t>App (Server App-V)</a:t>
            </a:r>
          </a:p>
        </p:txBody>
      </p:sp>
      <p:sp>
        <p:nvSpPr>
          <p:cNvPr id="71" name="TextBox 70"/>
          <p:cNvSpPr txBox="1">
            <a:spLocks noChangeArrowheads="1"/>
          </p:cNvSpPr>
          <p:nvPr/>
        </p:nvSpPr>
        <p:spPr bwMode="auto">
          <a:xfrm>
            <a:off x="5814145" y="2815830"/>
            <a:ext cx="786017" cy="346249"/>
          </a:xfrm>
          <a:prstGeom prst="rect">
            <a:avLst/>
          </a:prstGeom>
          <a:noFill/>
          <a:ln w="9525">
            <a:noFill/>
            <a:miter lim="800000"/>
            <a:headEnd/>
            <a:tailEnd/>
          </a:ln>
        </p:spPr>
        <p:txBody>
          <a:bodyPr lIns="68586" tIns="34294" rIns="68586" bIns="34294">
            <a:spAutoFit/>
          </a:bodyPr>
          <a:lstStyle/>
          <a:p>
            <a:pPr algn="ctr"/>
            <a:r>
              <a:rPr lang="en-US" sz="900" b="1" dirty="0">
                <a:solidFill>
                  <a:prstClr val="white"/>
                </a:solidFill>
                <a:latin typeface="Arial" pitchFamily="34" charset="0"/>
                <a:cs typeface="Arial" pitchFamily="34" charset="0"/>
              </a:rPr>
              <a:t>Data (SQL)</a:t>
            </a:r>
          </a:p>
          <a:p>
            <a:pPr algn="ctr"/>
            <a:r>
              <a:rPr lang="en-US" sz="900" b="1" dirty="0">
                <a:solidFill>
                  <a:prstClr val="white"/>
                </a:solidFill>
                <a:latin typeface="Arial" pitchFamily="34" charset="0"/>
                <a:cs typeface="Arial" pitchFamily="34" charset="0"/>
              </a:rPr>
              <a:t>DAC Packs</a:t>
            </a:r>
          </a:p>
        </p:txBody>
      </p:sp>
      <p:grpSp>
        <p:nvGrpSpPr>
          <p:cNvPr id="8" name="Group 71"/>
          <p:cNvGrpSpPr>
            <a:grpSpLocks/>
          </p:cNvGrpSpPr>
          <p:nvPr/>
        </p:nvGrpSpPr>
        <p:grpSpPr bwMode="auto">
          <a:xfrm>
            <a:off x="2342571" y="1516857"/>
            <a:ext cx="4306421" cy="654844"/>
            <a:chOff x="3535496" y="1889760"/>
            <a:chExt cx="5740103" cy="873760"/>
          </a:xfrm>
        </p:grpSpPr>
        <p:cxnSp>
          <p:nvCxnSpPr>
            <p:cNvPr id="73" name="Straight Connector 72"/>
            <p:cNvCxnSpPr/>
            <p:nvPr/>
          </p:nvCxnSpPr>
          <p:spPr>
            <a:xfrm flipV="1">
              <a:off x="3535496" y="1940597"/>
              <a:ext cx="1219137" cy="813391"/>
            </a:xfrm>
            <a:prstGeom prst="line">
              <a:avLst/>
            </a:prstGeom>
            <a:ln w="38100" cap="rnd"/>
          </p:spPr>
          <p:style>
            <a:lnRef idx="2">
              <a:schemeClr val="accent1"/>
            </a:lnRef>
            <a:fillRef idx="0">
              <a:schemeClr val="accent1"/>
            </a:fillRef>
            <a:effectRef idx="1">
              <a:schemeClr val="accent1"/>
            </a:effectRef>
            <a:fontRef idx="minor">
              <a:schemeClr val="tx1"/>
            </a:fontRef>
          </p:style>
        </p:cxnSp>
        <p:cxnSp>
          <p:nvCxnSpPr>
            <p:cNvPr id="74" name="Straight Connector 73"/>
            <p:cNvCxnSpPr/>
            <p:nvPr/>
          </p:nvCxnSpPr>
          <p:spPr>
            <a:xfrm rot="10800000">
              <a:off x="7843748" y="1889760"/>
              <a:ext cx="1431851" cy="873760"/>
            </a:xfrm>
            <a:prstGeom prst="line">
              <a:avLst/>
            </a:prstGeom>
            <a:ln w="38100" cap="rnd"/>
          </p:spPr>
          <p:style>
            <a:lnRef idx="2">
              <a:schemeClr val="accent1"/>
            </a:lnRef>
            <a:fillRef idx="0">
              <a:schemeClr val="accent1"/>
            </a:fillRef>
            <a:effectRef idx="1">
              <a:schemeClr val="accent1"/>
            </a:effectRef>
            <a:fontRef idx="minor">
              <a:schemeClr val="tx1"/>
            </a:fontRef>
          </p:style>
        </p:cxnSp>
        <p:cxnSp>
          <p:nvCxnSpPr>
            <p:cNvPr id="75" name="Straight Connector 74"/>
            <p:cNvCxnSpPr/>
            <p:nvPr/>
          </p:nvCxnSpPr>
          <p:spPr>
            <a:xfrm rot="16200000" flipV="1">
              <a:off x="5928300" y="2454530"/>
              <a:ext cx="589390" cy="9525"/>
            </a:xfrm>
            <a:prstGeom prst="line">
              <a:avLst/>
            </a:prstGeom>
            <a:ln w="38100" cap="rnd"/>
          </p:spPr>
          <p:style>
            <a:lnRef idx="2">
              <a:schemeClr val="accent1"/>
            </a:lnRef>
            <a:fillRef idx="0">
              <a:schemeClr val="accent1"/>
            </a:fillRef>
            <a:effectRef idx="1">
              <a:schemeClr val="accent1"/>
            </a:effectRef>
            <a:fontRef idx="minor">
              <a:schemeClr val="tx1"/>
            </a:fontRef>
          </p:style>
        </p:cxnSp>
      </p:grpSp>
      <p:pic>
        <p:nvPicPr>
          <p:cNvPr id="78" name="Picture 77"/>
          <p:cNvPicPr>
            <a:picLocks noChangeAspect="1"/>
          </p:cNvPicPr>
          <p:nvPr/>
        </p:nvPicPr>
        <p:blipFill>
          <a:blip r:embed="rId16" cstate="email"/>
          <a:srcRect/>
          <a:stretch>
            <a:fillRect/>
          </a:stretch>
        </p:blipFill>
        <p:spPr bwMode="auto">
          <a:xfrm>
            <a:off x="4068530" y="914401"/>
            <a:ext cx="588322" cy="598885"/>
          </a:xfrm>
          <a:prstGeom prst="rect">
            <a:avLst/>
          </a:prstGeom>
          <a:noFill/>
          <a:ln w="9525">
            <a:noFill/>
            <a:miter lim="800000"/>
            <a:headEnd/>
            <a:tailEnd/>
          </a:ln>
        </p:spPr>
      </p:pic>
      <p:sp>
        <p:nvSpPr>
          <p:cNvPr id="79" name="Down Arrow 78"/>
          <p:cNvSpPr/>
          <p:nvPr/>
        </p:nvSpPr>
        <p:spPr>
          <a:xfrm rot="5400000">
            <a:off x="4655384" y="1088207"/>
            <a:ext cx="142875" cy="195313"/>
          </a:xfrm>
          <a:prstGeom prst="downArrow">
            <a:avLst/>
          </a:prstGeom>
          <a:solidFill>
            <a:srgbClr val="FFFFFF">
              <a:alpha val="40000"/>
            </a:srgbClr>
          </a:solidFill>
          <a:ln>
            <a:noFill/>
          </a:ln>
        </p:spPr>
        <p:style>
          <a:lnRef idx="1">
            <a:schemeClr val="accent1"/>
          </a:lnRef>
          <a:fillRef idx="3">
            <a:schemeClr val="accent1"/>
          </a:fillRef>
          <a:effectRef idx="2">
            <a:schemeClr val="accent1"/>
          </a:effectRef>
          <a:fontRef idx="minor">
            <a:schemeClr val="lt1"/>
          </a:fontRef>
        </p:style>
        <p:txBody>
          <a:bodyPr lIns="68586" tIns="34294" rIns="68586" bIns="34294" anchor="ctr"/>
          <a:lstStyle/>
          <a:p>
            <a:pPr algn="ctr">
              <a:defRPr/>
            </a:pPr>
            <a:endParaRPr lang="en-US" dirty="0">
              <a:solidFill>
                <a:prstClr val="white"/>
              </a:solidFill>
            </a:endParaRPr>
          </a:p>
        </p:txBody>
      </p:sp>
      <p:sp>
        <p:nvSpPr>
          <p:cNvPr id="122" name="Freeform 121"/>
          <p:cNvSpPr/>
          <p:nvPr/>
        </p:nvSpPr>
        <p:spPr>
          <a:xfrm>
            <a:off x="587132" y="1428750"/>
            <a:ext cx="7986411" cy="358378"/>
          </a:xfrm>
          <a:custGeom>
            <a:avLst/>
            <a:gdLst>
              <a:gd name="connsiteX0" fmla="*/ 0 w 10860475"/>
              <a:gd name="connsiteY0" fmla="*/ 254000 h 264160"/>
              <a:gd name="connsiteX1" fmla="*/ 10860475 w 10860475"/>
              <a:gd name="connsiteY1" fmla="*/ 264160 h 264160"/>
              <a:gd name="connsiteX2" fmla="*/ 6542699 w 10860475"/>
              <a:gd name="connsiteY2" fmla="*/ 10160 h 264160"/>
              <a:gd name="connsiteX3" fmla="*/ 5171171 w 10860475"/>
              <a:gd name="connsiteY3" fmla="*/ 0 h 264160"/>
              <a:gd name="connsiteX4" fmla="*/ 0 w 10860475"/>
              <a:gd name="connsiteY4" fmla="*/ 254000 h 264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60475" h="264160">
                <a:moveTo>
                  <a:pt x="0" y="254000"/>
                </a:moveTo>
                <a:lnTo>
                  <a:pt x="10860475" y="264160"/>
                </a:lnTo>
                <a:lnTo>
                  <a:pt x="6542699" y="10160"/>
                </a:lnTo>
                <a:lnTo>
                  <a:pt x="5171171" y="0"/>
                </a:lnTo>
                <a:lnTo>
                  <a:pt x="0" y="254000"/>
                </a:lnTo>
                <a:close/>
              </a:path>
            </a:pathLst>
          </a:custGeom>
          <a:gradFill>
            <a:gsLst>
              <a:gs pos="8000">
                <a:schemeClr val="bg1">
                  <a:lumMod val="50000"/>
                </a:schemeClr>
              </a:gs>
              <a:gs pos="82000">
                <a:schemeClr val="accent1">
                  <a:tint val="50000"/>
                  <a:shade val="100000"/>
                  <a:satMod val="350000"/>
                  <a:alpha val="0"/>
                </a:schemeClr>
              </a:gs>
            </a:gsLst>
            <a:lin ang="16200000" scaled="0"/>
          </a:gradFill>
          <a:ln>
            <a:noFill/>
          </a:ln>
        </p:spPr>
        <p:style>
          <a:lnRef idx="1">
            <a:schemeClr val="accent1"/>
          </a:lnRef>
          <a:fillRef idx="3">
            <a:schemeClr val="accent1"/>
          </a:fillRef>
          <a:effectRef idx="2">
            <a:schemeClr val="accent1"/>
          </a:effectRef>
          <a:fontRef idx="minor">
            <a:schemeClr val="lt1"/>
          </a:fontRef>
        </p:style>
        <p:txBody>
          <a:bodyPr lIns="68586" tIns="34294" rIns="68586" bIns="34294" anchor="ctr"/>
          <a:lstStyle/>
          <a:p>
            <a:pPr algn="ctr">
              <a:defRPr/>
            </a:pPr>
            <a:endParaRPr lang="en-US" dirty="0">
              <a:solidFill>
                <a:prstClr val="white"/>
              </a:solidFill>
            </a:endParaRPr>
          </a:p>
        </p:txBody>
      </p:sp>
      <p:pic>
        <p:nvPicPr>
          <p:cNvPr id="1026" name="Picture 2"/>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4857824" y="1090622"/>
            <a:ext cx="696482" cy="2238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8" name="TextBox 97"/>
          <p:cNvSpPr txBox="1">
            <a:spLocks noChangeArrowheads="1"/>
          </p:cNvSpPr>
          <p:nvPr/>
        </p:nvSpPr>
        <p:spPr bwMode="auto">
          <a:xfrm>
            <a:off x="3257207" y="2800350"/>
            <a:ext cx="1226368" cy="207749"/>
          </a:xfrm>
          <a:prstGeom prst="rect">
            <a:avLst/>
          </a:prstGeom>
          <a:noFill/>
          <a:ln w="9525">
            <a:noFill/>
            <a:miter lim="800000"/>
            <a:headEnd/>
            <a:tailEnd/>
          </a:ln>
        </p:spPr>
        <p:txBody>
          <a:bodyPr wrap="square" lIns="68586" tIns="34294" rIns="68586" bIns="34294">
            <a:spAutoFit/>
          </a:bodyPr>
          <a:lstStyle/>
          <a:p>
            <a:pPr algn="ctr"/>
            <a:r>
              <a:rPr lang="en-US" sz="900" b="1" dirty="0">
                <a:solidFill>
                  <a:prstClr val="white"/>
                </a:solidFill>
                <a:latin typeface="Arial" pitchFamily="34" charset="0"/>
                <a:cs typeface="Arial" pitchFamily="34" charset="0"/>
              </a:rPr>
              <a:t>Custom Scripts</a:t>
            </a:r>
          </a:p>
        </p:txBody>
      </p:sp>
      <p:sp>
        <p:nvSpPr>
          <p:cNvPr id="104"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05"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8"/>
              </a:rPr>
              <a:t>www.rapidbbs.cn</a:t>
            </a:r>
            <a:endParaRPr lang="zh-CN" altLang="en-US" sz="1200" b="0">
              <a:latin typeface="Arial" charset="0"/>
              <a:ea typeface="ＭＳ Ｐゴシック" pitchFamily="34" charset="-128"/>
            </a:endParaRPr>
          </a:p>
        </p:txBody>
      </p:sp>
      <p:pic>
        <p:nvPicPr>
          <p:cNvPr id="111" name="Picture 2">
            <a:hlinkClick r:id="rId18"/>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811095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6"/>
                                        </p:tgtEl>
                                        <p:attrNameLst>
                                          <p:attrName>style.visibility</p:attrName>
                                        </p:attrNameLst>
                                      </p:cBhvr>
                                      <p:to>
                                        <p:strVal val="visible"/>
                                      </p:to>
                                    </p:set>
                                    <p:animEffect transition="in" filter="fade">
                                      <p:cBhvr>
                                        <p:cTn id="7" dur="500"/>
                                        <p:tgtEl>
                                          <p:spTgt spid="76"/>
                                        </p:tgtEl>
                                      </p:cBhvr>
                                    </p:animEffect>
                                  </p:childTnLst>
                                </p:cTn>
                              </p:par>
                              <p:par>
                                <p:cTn id="8" presetID="10" presetClass="entr" presetSubtype="0" fill="hold" nodeType="withEffect">
                                  <p:stCondLst>
                                    <p:cond delay="0"/>
                                  </p:stCondLst>
                                  <p:childTnLst>
                                    <p:set>
                                      <p:cBhvr>
                                        <p:cTn id="9" dur="1" fill="hold">
                                          <p:stCondLst>
                                            <p:cond delay="0"/>
                                          </p:stCondLst>
                                        </p:cTn>
                                        <p:tgtEl>
                                          <p:spTgt spid="1026"/>
                                        </p:tgtEl>
                                        <p:attrNameLst>
                                          <p:attrName>style.visibility</p:attrName>
                                        </p:attrNameLst>
                                      </p:cBhvr>
                                      <p:to>
                                        <p:strVal val="visible"/>
                                      </p:to>
                                    </p:set>
                                    <p:animEffect transition="in" filter="fade">
                                      <p:cBhvr>
                                        <p:cTn id="10" dur="500"/>
                                        <p:tgtEl>
                                          <p:spTgt spid="1026"/>
                                        </p:tgtEl>
                                      </p:cBhvr>
                                    </p:animEffect>
                                  </p:childTnLst>
                                </p:cTn>
                              </p:par>
                              <p:par>
                                <p:cTn id="11" presetID="10" presetClass="entr" presetSubtype="0" fill="hold" nodeType="withEffect">
                                  <p:stCondLst>
                                    <p:cond delay="0"/>
                                  </p:stCondLst>
                                  <p:childTnLst>
                                    <p:set>
                                      <p:cBhvr>
                                        <p:cTn id="12" dur="1" fill="hold">
                                          <p:stCondLst>
                                            <p:cond delay="0"/>
                                          </p:stCondLst>
                                        </p:cTn>
                                        <p:tgtEl>
                                          <p:spTgt spid="78"/>
                                        </p:tgtEl>
                                        <p:attrNameLst>
                                          <p:attrName>style.visibility</p:attrName>
                                        </p:attrNameLst>
                                      </p:cBhvr>
                                      <p:to>
                                        <p:strVal val="visible"/>
                                      </p:to>
                                    </p:set>
                                    <p:animEffect transition="in" filter="fade">
                                      <p:cBhvr>
                                        <p:cTn id="13" dur="500"/>
                                        <p:tgtEl>
                                          <p:spTgt spid="7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9"/>
                                        </p:tgtEl>
                                        <p:attrNameLst>
                                          <p:attrName>style.visibility</p:attrName>
                                        </p:attrNameLst>
                                      </p:cBhvr>
                                      <p:to>
                                        <p:strVal val="visible"/>
                                      </p:to>
                                    </p:set>
                                    <p:animEffect transition="in" filter="fade">
                                      <p:cBhvr>
                                        <p:cTn id="16" dur="500"/>
                                        <p:tgtEl>
                                          <p:spTgt spid="79"/>
                                        </p:tgtEl>
                                      </p:cBhvr>
                                    </p:animEffect>
                                  </p:childTnLst>
                                </p:cTn>
                              </p:par>
                            </p:childTnLst>
                          </p:cTn>
                        </p:par>
                        <p:par>
                          <p:cTn id="17" fill="hold">
                            <p:stCondLst>
                              <p:cond delay="500"/>
                            </p:stCondLst>
                            <p:childTnLst>
                              <p:par>
                                <p:cTn id="18" presetID="53" presetClass="entr" presetSubtype="0" fill="hold" grpId="0" nodeType="afterEffect">
                                  <p:stCondLst>
                                    <p:cond delay="0"/>
                                  </p:stCondLst>
                                  <p:childTnLst>
                                    <p:set>
                                      <p:cBhvr>
                                        <p:cTn id="19" dur="1" fill="hold">
                                          <p:stCondLst>
                                            <p:cond delay="0"/>
                                          </p:stCondLst>
                                        </p:cTn>
                                        <p:tgtEl>
                                          <p:spTgt spid="122"/>
                                        </p:tgtEl>
                                        <p:attrNameLst>
                                          <p:attrName>style.visibility</p:attrName>
                                        </p:attrNameLst>
                                      </p:cBhvr>
                                      <p:to>
                                        <p:strVal val="visible"/>
                                      </p:to>
                                    </p:set>
                                    <p:anim calcmode="lin" valueType="num">
                                      <p:cBhvr>
                                        <p:cTn id="20" dur="500" fill="hold"/>
                                        <p:tgtEl>
                                          <p:spTgt spid="122"/>
                                        </p:tgtEl>
                                        <p:attrNameLst>
                                          <p:attrName>ppt_w</p:attrName>
                                        </p:attrNameLst>
                                      </p:cBhvr>
                                      <p:tavLst>
                                        <p:tav tm="0">
                                          <p:val>
                                            <p:fltVal val="0"/>
                                          </p:val>
                                        </p:tav>
                                        <p:tav tm="100000">
                                          <p:val>
                                            <p:strVal val="#ppt_w"/>
                                          </p:val>
                                        </p:tav>
                                      </p:tavLst>
                                    </p:anim>
                                    <p:anim calcmode="lin" valueType="num">
                                      <p:cBhvr>
                                        <p:cTn id="21" dur="500" fill="hold"/>
                                        <p:tgtEl>
                                          <p:spTgt spid="122"/>
                                        </p:tgtEl>
                                        <p:attrNameLst>
                                          <p:attrName>ppt_h</p:attrName>
                                        </p:attrNameLst>
                                      </p:cBhvr>
                                      <p:tavLst>
                                        <p:tav tm="0">
                                          <p:val>
                                            <p:fltVal val="0"/>
                                          </p:val>
                                        </p:tav>
                                        <p:tav tm="100000">
                                          <p:val>
                                            <p:strVal val="#ppt_h"/>
                                          </p:val>
                                        </p:tav>
                                      </p:tavLst>
                                    </p:anim>
                                    <p:animEffect transition="in" filter="fade">
                                      <p:cBhvr>
                                        <p:cTn id="22" dur="500"/>
                                        <p:tgtEl>
                                          <p:spTgt spid="122"/>
                                        </p:tgtEl>
                                      </p:cBhvr>
                                    </p:animEffect>
                                  </p:childTnLst>
                                </p:cTn>
                              </p:par>
                            </p:childTnLst>
                          </p:cTn>
                        </p:par>
                        <p:par>
                          <p:cTn id="23" fill="hold">
                            <p:stCondLst>
                              <p:cond delay="1000"/>
                            </p:stCondLst>
                            <p:childTnLst>
                              <p:par>
                                <p:cTn id="24" presetID="10" presetClass="entr" presetSubtype="0"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grpId="1" nodeType="clickEffect">
                                  <p:stCondLst>
                                    <p:cond delay="0"/>
                                  </p:stCondLst>
                                  <p:childTnLst>
                                    <p:animEffect transition="out" filter="fade">
                                      <p:cBhvr>
                                        <p:cTn id="30" dur="500"/>
                                        <p:tgtEl>
                                          <p:spTgt spid="122"/>
                                        </p:tgtEl>
                                      </p:cBhvr>
                                    </p:animEffect>
                                    <p:set>
                                      <p:cBhvr>
                                        <p:cTn id="31" dur="1" fill="hold">
                                          <p:stCondLst>
                                            <p:cond delay="499"/>
                                          </p:stCondLst>
                                        </p:cTn>
                                        <p:tgtEl>
                                          <p:spTgt spid="122"/>
                                        </p:tgtEl>
                                        <p:attrNameLst>
                                          <p:attrName>style.visibility</p:attrName>
                                        </p:attrNameLst>
                                      </p:cBhvr>
                                      <p:to>
                                        <p:strVal val="hidden"/>
                                      </p:to>
                                    </p:set>
                                  </p:childTnLst>
                                </p:cTn>
                              </p:par>
                              <p:par>
                                <p:cTn id="32" presetID="10" presetClass="exit" presetSubtype="0" fill="hold" nodeType="withEffect">
                                  <p:stCondLst>
                                    <p:cond delay="0"/>
                                  </p:stCondLst>
                                  <p:childTnLst>
                                    <p:animEffect transition="out" filter="fade">
                                      <p:cBhvr>
                                        <p:cTn id="33" dur="1000"/>
                                        <p:tgtEl>
                                          <p:spTgt spid="10"/>
                                        </p:tgtEl>
                                      </p:cBhvr>
                                    </p:animEffect>
                                    <p:set>
                                      <p:cBhvr>
                                        <p:cTn id="34" dur="1" fill="hold">
                                          <p:stCondLst>
                                            <p:cond delay="999"/>
                                          </p:stCondLst>
                                        </p:cTn>
                                        <p:tgtEl>
                                          <p:spTgt spid="10"/>
                                        </p:tgtEl>
                                        <p:attrNameLst>
                                          <p:attrName>style.visibility</p:attrName>
                                        </p:attrNameLst>
                                      </p:cBhvr>
                                      <p:to>
                                        <p:strVal val="hidden"/>
                                      </p:to>
                                    </p:set>
                                  </p:childTnLst>
                                </p:cTn>
                              </p:par>
                            </p:childTnLst>
                          </p:cTn>
                        </p:par>
                        <p:par>
                          <p:cTn id="35" fill="hold">
                            <p:stCondLst>
                              <p:cond delay="1000"/>
                            </p:stCondLst>
                            <p:childTnLst>
                              <p:par>
                                <p:cTn id="36" presetID="10" presetClass="entr" presetSubtype="0" fill="hold" grpId="0" nodeType="afterEffect">
                                  <p:stCondLst>
                                    <p:cond delay="0"/>
                                  </p:stCondLst>
                                  <p:childTnLst>
                                    <p:set>
                                      <p:cBhvr>
                                        <p:cTn id="37" dur="1" fill="hold">
                                          <p:stCondLst>
                                            <p:cond delay="0"/>
                                          </p:stCondLst>
                                        </p:cTn>
                                        <p:tgtEl>
                                          <p:spTgt spid="59"/>
                                        </p:tgtEl>
                                        <p:attrNameLst>
                                          <p:attrName>style.visibility</p:attrName>
                                        </p:attrNameLst>
                                      </p:cBhvr>
                                      <p:to>
                                        <p:strVal val="visible"/>
                                      </p:to>
                                    </p:set>
                                    <p:animEffect transition="in" filter="fade">
                                      <p:cBhvr>
                                        <p:cTn id="38" dur="100"/>
                                        <p:tgtEl>
                                          <p:spTgt spid="59"/>
                                        </p:tgtEl>
                                      </p:cBhvr>
                                    </p:animEffect>
                                  </p:childTnLst>
                                </p:cTn>
                              </p:par>
                              <p:par>
                                <p:cTn id="39" presetID="10" presetClass="entr" presetSubtype="0" fill="hold" nodeType="withEffect">
                                  <p:stCondLst>
                                    <p:cond delay="0"/>
                                  </p:stCondLst>
                                  <p:childTnLst>
                                    <p:set>
                                      <p:cBhvr>
                                        <p:cTn id="40" dur="1" fill="hold">
                                          <p:stCondLst>
                                            <p:cond delay="0"/>
                                          </p:stCondLst>
                                        </p:cTn>
                                        <p:tgtEl>
                                          <p:spTgt spid="60"/>
                                        </p:tgtEl>
                                        <p:attrNameLst>
                                          <p:attrName>style.visibility</p:attrName>
                                        </p:attrNameLst>
                                      </p:cBhvr>
                                      <p:to>
                                        <p:strVal val="visible"/>
                                      </p:to>
                                    </p:set>
                                    <p:animEffect transition="in" filter="fade">
                                      <p:cBhvr>
                                        <p:cTn id="41" dur="500"/>
                                        <p:tgtEl>
                                          <p:spTgt spid="60"/>
                                        </p:tgtEl>
                                      </p:cBhvr>
                                    </p:animEffect>
                                  </p:childTnLst>
                                </p:cTn>
                              </p:par>
                              <p:par>
                                <p:cTn id="42" presetID="10" presetClass="entr" presetSubtype="0" fill="hold" nodeType="withEffect">
                                  <p:stCondLst>
                                    <p:cond delay="0"/>
                                  </p:stCondLst>
                                  <p:childTnLst>
                                    <p:set>
                                      <p:cBhvr>
                                        <p:cTn id="43" dur="1" fill="hold">
                                          <p:stCondLst>
                                            <p:cond delay="0"/>
                                          </p:stCondLst>
                                        </p:cTn>
                                        <p:tgtEl>
                                          <p:spTgt spid="61"/>
                                        </p:tgtEl>
                                        <p:attrNameLst>
                                          <p:attrName>style.visibility</p:attrName>
                                        </p:attrNameLst>
                                      </p:cBhvr>
                                      <p:to>
                                        <p:strVal val="visible"/>
                                      </p:to>
                                    </p:set>
                                    <p:animEffect transition="in" filter="fade">
                                      <p:cBhvr>
                                        <p:cTn id="44" dur="500"/>
                                        <p:tgtEl>
                                          <p:spTgt spid="61"/>
                                        </p:tgtEl>
                                      </p:cBhvr>
                                    </p:animEffect>
                                  </p:childTnLst>
                                </p:cTn>
                              </p:par>
                              <p:par>
                                <p:cTn id="45" presetID="10" presetClass="entr" presetSubtype="0" fill="hold" nodeType="withEffect">
                                  <p:stCondLst>
                                    <p:cond delay="0"/>
                                  </p:stCondLst>
                                  <p:childTnLst>
                                    <p:set>
                                      <p:cBhvr>
                                        <p:cTn id="46" dur="1" fill="hold">
                                          <p:stCondLst>
                                            <p:cond delay="0"/>
                                          </p:stCondLst>
                                        </p:cTn>
                                        <p:tgtEl>
                                          <p:spTgt spid="62"/>
                                        </p:tgtEl>
                                        <p:attrNameLst>
                                          <p:attrName>style.visibility</p:attrName>
                                        </p:attrNameLst>
                                      </p:cBhvr>
                                      <p:to>
                                        <p:strVal val="visible"/>
                                      </p:to>
                                    </p:set>
                                    <p:animEffect transition="in" filter="fade">
                                      <p:cBhvr>
                                        <p:cTn id="47" dur="500"/>
                                        <p:tgtEl>
                                          <p:spTgt spid="62"/>
                                        </p:tgtEl>
                                      </p:cBhvr>
                                    </p:animEffect>
                                  </p:childTnLst>
                                </p:cTn>
                              </p:par>
                              <p:par>
                                <p:cTn id="48" presetID="10" presetClass="entr" presetSubtype="0" fill="hold" nodeType="withEffect">
                                  <p:stCondLst>
                                    <p:cond delay="0"/>
                                  </p:stCondLst>
                                  <p:childTnLst>
                                    <p:set>
                                      <p:cBhvr>
                                        <p:cTn id="49" dur="1" fill="hold">
                                          <p:stCondLst>
                                            <p:cond delay="0"/>
                                          </p:stCondLst>
                                        </p:cTn>
                                        <p:tgtEl>
                                          <p:spTgt spid="63"/>
                                        </p:tgtEl>
                                        <p:attrNameLst>
                                          <p:attrName>style.visibility</p:attrName>
                                        </p:attrNameLst>
                                      </p:cBhvr>
                                      <p:to>
                                        <p:strVal val="visible"/>
                                      </p:to>
                                    </p:set>
                                    <p:animEffect transition="in" filter="fade">
                                      <p:cBhvr>
                                        <p:cTn id="50" dur="500"/>
                                        <p:tgtEl>
                                          <p:spTgt spid="63"/>
                                        </p:tgtEl>
                                      </p:cBhvr>
                                    </p:animEffect>
                                  </p:childTnLst>
                                </p:cTn>
                              </p:par>
                              <p:par>
                                <p:cTn id="51" presetID="10" presetClass="entr" presetSubtype="0" fill="hold" nodeType="withEffect">
                                  <p:stCondLst>
                                    <p:cond delay="0"/>
                                  </p:stCondLst>
                                  <p:childTnLst>
                                    <p:set>
                                      <p:cBhvr>
                                        <p:cTn id="52" dur="1" fill="hold">
                                          <p:stCondLst>
                                            <p:cond delay="0"/>
                                          </p:stCondLst>
                                        </p:cTn>
                                        <p:tgtEl>
                                          <p:spTgt spid="64"/>
                                        </p:tgtEl>
                                        <p:attrNameLst>
                                          <p:attrName>style.visibility</p:attrName>
                                        </p:attrNameLst>
                                      </p:cBhvr>
                                      <p:to>
                                        <p:strVal val="visible"/>
                                      </p:to>
                                    </p:set>
                                    <p:animEffect transition="in" filter="fade">
                                      <p:cBhvr>
                                        <p:cTn id="53" dur="500"/>
                                        <p:tgtEl>
                                          <p:spTgt spid="64"/>
                                        </p:tgtEl>
                                      </p:cBhvr>
                                    </p:animEffect>
                                  </p:childTnLst>
                                </p:cTn>
                              </p:par>
                              <p:par>
                                <p:cTn id="54" presetID="10" presetClass="entr" presetSubtype="0" fill="hold" nodeType="withEffect">
                                  <p:stCondLst>
                                    <p:cond delay="0"/>
                                  </p:stCondLst>
                                  <p:childTnLst>
                                    <p:set>
                                      <p:cBhvr>
                                        <p:cTn id="55" dur="1" fill="hold">
                                          <p:stCondLst>
                                            <p:cond delay="0"/>
                                          </p:stCondLst>
                                        </p:cTn>
                                        <p:tgtEl>
                                          <p:spTgt spid="65"/>
                                        </p:tgtEl>
                                        <p:attrNameLst>
                                          <p:attrName>style.visibility</p:attrName>
                                        </p:attrNameLst>
                                      </p:cBhvr>
                                      <p:to>
                                        <p:strVal val="visible"/>
                                      </p:to>
                                    </p:set>
                                    <p:animEffect transition="in" filter="fade">
                                      <p:cBhvr>
                                        <p:cTn id="56" dur="500"/>
                                        <p:tgtEl>
                                          <p:spTgt spid="65"/>
                                        </p:tgtEl>
                                      </p:cBhvr>
                                    </p:animEffect>
                                  </p:childTnLst>
                                </p:cTn>
                              </p:par>
                              <p:par>
                                <p:cTn id="57" presetID="10" presetClass="entr" presetSubtype="0" fill="hold" nodeType="withEffect">
                                  <p:stCondLst>
                                    <p:cond delay="0"/>
                                  </p:stCondLst>
                                  <p:childTnLst>
                                    <p:set>
                                      <p:cBhvr>
                                        <p:cTn id="58" dur="1" fill="hold">
                                          <p:stCondLst>
                                            <p:cond delay="0"/>
                                          </p:stCondLst>
                                        </p:cTn>
                                        <p:tgtEl>
                                          <p:spTgt spid="66"/>
                                        </p:tgtEl>
                                        <p:attrNameLst>
                                          <p:attrName>style.visibility</p:attrName>
                                        </p:attrNameLst>
                                      </p:cBhvr>
                                      <p:to>
                                        <p:strVal val="visible"/>
                                      </p:to>
                                    </p:set>
                                    <p:animEffect transition="in" filter="fade">
                                      <p:cBhvr>
                                        <p:cTn id="59" dur="500"/>
                                        <p:tgtEl>
                                          <p:spTgt spid="66"/>
                                        </p:tgtEl>
                                      </p:cBhvr>
                                    </p:animEffect>
                                  </p:childTnLst>
                                </p:cTn>
                              </p:par>
                              <p:par>
                                <p:cTn id="60" presetID="10" presetClass="entr" presetSubtype="0" fill="hold" nodeType="withEffect">
                                  <p:stCondLst>
                                    <p:cond delay="0"/>
                                  </p:stCondLst>
                                  <p:childTnLst>
                                    <p:set>
                                      <p:cBhvr>
                                        <p:cTn id="61" dur="1" fill="hold">
                                          <p:stCondLst>
                                            <p:cond delay="0"/>
                                          </p:stCondLst>
                                        </p:cTn>
                                        <p:tgtEl>
                                          <p:spTgt spid="67"/>
                                        </p:tgtEl>
                                        <p:attrNameLst>
                                          <p:attrName>style.visibility</p:attrName>
                                        </p:attrNameLst>
                                      </p:cBhvr>
                                      <p:to>
                                        <p:strVal val="visible"/>
                                      </p:to>
                                    </p:set>
                                    <p:animEffect transition="in" filter="fade">
                                      <p:cBhvr>
                                        <p:cTn id="62" dur="500"/>
                                        <p:tgtEl>
                                          <p:spTgt spid="67"/>
                                        </p:tgtEl>
                                      </p:cBhvr>
                                    </p:animEffect>
                                  </p:childTnLst>
                                </p:cTn>
                              </p:par>
                              <p:par>
                                <p:cTn id="63" presetID="10" presetClass="entr" presetSubtype="0" fill="hold" nodeType="withEffect">
                                  <p:stCondLst>
                                    <p:cond delay="0"/>
                                  </p:stCondLst>
                                  <p:childTnLst>
                                    <p:set>
                                      <p:cBhvr>
                                        <p:cTn id="64" dur="1" fill="hold">
                                          <p:stCondLst>
                                            <p:cond delay="0"/>
                                          </p:stCondLst>
                                        </p:cTn>
                                        <p:tgtEl>
                                          <p:spTgt spid="68"/>
                                        </p:tgtEl>
                                        <p:attrNameLst>
                                          <p:attrName>style.visibility</p:attrName>
                                        </p:attrNameLst>
                                      </p:cBhvr>
                                      <p:to>
                                        <p:strVal val="visible"/>
                                      </p:to>
                                    </p:set>
                                    <p:animEffect transition="in" filter="fade">
                                      <p:cBhvr>
                                        <p:cTn id="65" dur="500"/>
                                        <p:tgtEl>
                                          <p:spTgt spid="68"/>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69"/>
                                        </p:tgtEl>
                                        <p:attrNameLst>
                                          <p:attrName>style.visibility</p:attrName>
                                        </p:attrNameLst>
                                      </p:cBhvr>
                                      <p:to>
                                        <p:strVal val="visible"/>
                                      </p:to>
                                    </p:set>
                                    <p:animEffect transition="in" filter="fade">
                                      <p:cBhvr>
                                        <p:cTn id="68" dur="500"/>
                                        <p:tgtEl>
                                          <p:spTgt spid="69"/>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70"/>
                                        </p:tgtEl>
                                        <p:attrNameLst>
                                          <p:attrName>style.visibility</p:attrName>
                                        </p:attrNameLst>
                                      </p:cBhvr>
                                      <p:to>
                                        <p:strVal val="visible"/>
                                      </p:to>
                                    </p:set>
                                    <p:animEffect transition="in" filter="fade">
                                      <p:cBhvr>
                                        <p:cTn id="71" dur="500"/>
                                        <p:tgtEl>
                                          <p:spTgt spid="70"/>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71"/>
                                        </p:tgtEl>
                                        <p:attrNameLst>
                                          <p:attrName>style.visibility</p:attrName>
                                        </p:attrNameLst>
                                      </p:cBhvr>
                                      <p:to>
                                        <p:strVal val="visible"/>
                                      </p:to>
                                    </p:set>
                                    <p:animEffect transition="in" filter="fade">
                                      <p:cBhvr>
                                        <p:cTn id="74" dur="500"/>
                                        <p:tgtEl>
                                          <p:spTgt spid="71"/>
                                        </p:tgtEl>
                                      </p:cBhvr>
                                    </p:animEffect>
                                  </p:childTnLst>
                                </p:cTn>
                              </p:par>
                            </p:childTnLst>
                          </p:cTn>
                        </p:par>
                        <p:par>
                          <p:cTn id="75" fill="hold">
                            <p:stCondLst>
                              <p:cond delay="1500"/>
                            </p:stCondLst>
                            <p:childTnLst>
                              <p:par>
                                <p:cTn id="76" presetID="55" presetClass="entr" presetSubtype="0" fill="hold" nodeType="afterEffect">
                                  <p:stCondLst>
                                    <p:cond delay="0"/>
                                  </p:stCondLst>
                                  <p:childTnLst>
                                    <p:set>
                                      <p:cBhvr>
                                        <p:cTn id="77" dur="1" fill="hold">
                                          <p:stCondLst>
                                            <p:cond delay="0"/>
                                          </p:stCondLst>
                                        </p:cTn>
                                        <p:tgtEl>
                                          <p:spTgt spid="8"/>
                                        </p:tgtEl>
                                        <p:attrNameLst>
                                          <p:attrName>style.visibility</p:attrName>
                                        </p:attrNameLst>
                                      </p:cBhvr>
                                      <p:to>
                                        <p:strVal val="visible"/>
                                      </p:to>
                                    </p:set>
                                    <p:anim calcmode="lin" valueType="num">
                                      <p:cBhvr>
                                        <p:cTn id="78" dur="1000" fill="hold"/>
                                        <p:tgtEl>
                                          <p:spTgt spid="8"/>
                                        </p:tgtEl>
                                        <p:attrNameLst>
                                          <p:attrName>ppt_w</p:attrName>
                                        </p:attrNameLst>
                                      </p:cBhvr>
                                      <p:tavLst>
                                        <p:tav tm="0">
                                          <p:val>
                                            <p:strVal val="#ppt_w*0.70"/>
                                          </p:val>
                                        </p:tav>
                                        <p:tav tm="100000">
                                          <p:val>
                                            <p:strVal val="#ppt_w"/>
                                          </p:val>
                                        </p:tav>
                                      </p:tavLst>
                                    </p:anim>
                                    <p:anim calcmode="lin" valueType="num">
                                      <p:cBhvr>
                                        <p:cTn id="79" dur="1000" fill="hold"/>
                                        <p:tgtEl>
                                          <p:spTgt spid="8"/>
                                        </p:tgtEl>
                                        <p:attrNameLst>
                                          <p:attrName>ppt_h</p:attrName>
                                        </p:attrNameLst>
                                      </p:cBhvr>
                                      <p:tavLst>
                                        <p:tav tm="0">
                                          <p:val>
                                            <p:strVal val="#ppt_h"/>
                                          </p:val>
                                        </p:tav>
                                        <p:tav tm="100000">
                                          <p:val>
                                            <p:strVal val="#ppt_h"/>
                                          </p:val>
                                        </p:tav>
                                      </p:tavLst>
                                    </p:anim>
                                    <p:animEffect transition="in" filter="fade">
                                      <p:cBhvr>
                                        <p:cTn id="80" dur="1000"/>
                                        <p:tgtEl>
                                          <p:spTgt spid="8"/>
                                        </p:tgtEl>
                                      </p:cBhvr>
                                    </p:animEffect>
                                  </p:childTnLst>
                                </p:cTn>
                              </p:par>
                            </p:childTnLst>
                          </p:cTn>
                        </p:par>
                        <p:par>
                          <p:cTn id="81" fill="hold">
                            <p:stCondLst>
                              <p:cond delay="2500"/>
                            </p:stCondLst>
                            <p:childTnLst>
                              <p:par>
                                <p:cTn id="82" presetID="10" presetClass="entr" presetSubtype="0" fill="hold" grpId="0" nodeType="afterEffect">
                                  <p:stCondLst>
                                    <p:cond delay="0"/>
                                  </p:stCondLst>
                                  <p:childTnLst>
                                    <p:set>
                                      <p:cBhvr>
                                        <p:cTn id="83" dur="1" fill="hold">
                                          <p:stCondLst>
                                            <p:cond delay="0"/>
                                          </p:stCondLst>
                                        </p:cTn>
                                        <p:tgtEl>
                                          <p:spTgt spid="20"/>
                                        </p:tgtEl>
                                        <p:attrNameLst>
                                          <p:attrName>style.visibility</p:attrName>
                                        </p:attrNameLst>
                                      </p:cBhvr>
                                      <p:to>
                                        <p:strVal val="visible"/>
                                      </p:to>
                                    </p:set>
                                    <p:animEffect transition="in" filter="fade">
                                      <p:cBhvr>
                                        <p:cTn id="84" dur="500"/>
                                        <p:tgtEl>
                                          <p:spTgt spid="20"/>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40"/>
                                        </p:tgtEl>
                                        <p:attrNameLst>
                                          <p:attrName>style.visibility</p:attrName>
                                        </p:attrNameLst>
                                      </p:cBhvr>
                                      <p:to>
                                        <p:strVal val="visible"/>
                                      </p:to>
                                    </p:set>
                                    <p:animEffect transition="in" filter="fade">
                                      <p:cBhvr>
                                        <p:cTn id="87" dur="500"/>
                                        <p:tgtEl>
                                          <p:spTgt spid="40"/>
                                        </p:tgtEl>
                                      </p:cBhvr>
                                    </p:animEffect>
                                  </p:childTnLst>
                                </p:cTn>
                              </p:par>
                              <p:par>
                                <p:cTn id="88" presetID="10" presetClass="entr" presetSubtype="0" fill="hold" nodeType="withEffect">
                                  <p:stCondLst>
                                    <p:cond delay="0"/>
                                  </p:stCondLst>
                                  <p:childTnLst>
                                    <p:set>
                                      <p:cBhvr>
                                        <p:cTn id="89" dur="1" fill="hold">
                                          <p:stCondLst>
                                            <p:cond delay="0"/>
                                          </p:stCondLst>
                                        </p:cTn>
                                        <p:tgtEl>
                                          <p:spTgt spid="41"/>
                                        </p:tgtEl>
                                        <p:attrNameLst>
                                          <p:attrName>style.visibility</p:attrName>
                                        </p:attrNameLst>
                                      </p:cBhvr>
                                      <p:to>
                                        <p:strVal val="visible"/>
                                      </p:to>
                                    </p:set>
                                    <p:animEffect transition="in" filter="fade">
                                      <p:cBhvr>
                                        <p:cTn id="90" dur="500"/>
                                        <p:tgtEl>
                                          <p:spTgt spid="41"/>
                                        </p:tgtEl>
                                      </p:cBhvr>
                                    </p:animEffect>
                                  </p:childTnLst>
                                </p:cTn>
                              </p:par>
                              <p:par>
                                <p:cTn id="91" presetID="10" presetClass="entr" presetSubtype="0" fill="hold" nodeType="withEffect">
                                  <p:stCondLst>
                                    <p:cond delay="0"/>
                                  </p:stCondLst>
                                  <p:childTnLst>
                                    <p:set>
                                      <p:cBhvr>
                                        <p:cTn id="92" dur="1" fill="hold">
                                          <p:stCondLst>
                                            <p:cond delay="0"/>
                                          </p:stCondLst>
                                        </p:cTn>
                                        <p:tgtEl>
                                          <p:spTgt spid="42"/>
                                        </p:tgtEl>
                                        <p:attrNameLst>
                                          <p:attrName>style.visibility</p:attrName>
                                        </p:attrNameLst>
                                      </p:cBhvr>
                                      <p:to>
                                        <p:strVal val="visible"/>
                                      </p:to>
                                    </p:set>
                                    <p:animEffect transition="in" filter="fade">
                                      <p:cBhvr>
                                        <p:cTn id="93" dur="500"/>
                                        <p:tgtEl>
                                          <p:spTgt spid="42"/>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43"/>
                                        </p:tgtEl>
                                        <p:attrNameLst>
                                          <p:attrName>style.visibility</p:attrName>
                                        </p:attrNameLst>
                                      </p:cBhvr>
                                      <p:to>
                                        <p:strVal val="visible"/>
                                      </p:to>
                                    </p:set>
                                    <p:animEffect transition="in" filter="fade">
                                      <p:cBhvr>
                                        <p:cTn id="96" dur="500"/>
                                        <p:tgtEl>
                                          <p:spTgt spid="43"/>
                                        </p:tgtEl>
                                      </p:cBhvr>
                                    </p:animEffect>
                                  </p:childTnLst>
                                </p:cTn>
                              </p:par>
                              <p:par>
                                <p:cTn id="97" presetID="10" presetClass="entr" presetSubtype="0" fill="hold" nodeType="withEffect">
                                  <p:stCondLst>
                                    <p:cond delay="0"/>
                                  </p:stCondLst>
                                  <p:childTnLst>
                                    <p:set>
                                      <p:cBhvr>
                                        <p:cTn id="98" dur="1" fill="hold">
                                          <p:stCondLst>
                                            <p:cond delay="0"/>
                                          </p:stCondLst>
                                        </p:cTn>
                                        <p:tgtEl>
                                          <p:spTgt spid="56"/>
                                        </p:tgtEl>
                                        <p:attrNameLst>
                                          <p:attrName>style.visibility</p:attrName>
                                        </p:attrNameLst>
                                      </p:cBhvr>
                                      <p:to>
                                        <p:strVal val="visible"/>
                                      </p:to>
                                    </p:set>
                                    <p:animEffect transition="in" filter="fade">
                                      <p:cBhvr>
                                        <p:cTn id="99" dur="500"/>
                                        <p:tgtEl>
                                          <p:spTgt spid="56"/>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57"/>
                                        </p:tgtEl>
                                        <p:attrNameLst>
                                          <p:attrName>style.visibility</p:attrName>
                                        </p:attrNameLst>
                                      </p:cBhvr>
                                      <p:to>
                                        <p:strVal val="visible"/>
                                      </p:to>
                                    </p:set>
                                    <p:animEffect transition="in" filter="fade">
                                      <p:cBhvr>
                                        <p:cTn id="102" dur="500"/>
                                        <p:tgtEl>
                                          <p:spTgt spid="57"/>
                                        </p:tgtEl>
                                      </p:cBhvr>
                                    </p:animEffect>
                                  </p:childTnLst>
                                </p:cTn>
                              </p:par>
                              <p:par>
                                <p:cTn id="103" presetID="10" presetClass="entr" presetSubtype="0" fill="hold" nodeType="withEffect">
                                  <p:stCondLst>
                                    <p:cond delay="0"/>
                                  </p:stCondLst>
                                  <p:childTnLst>
                                    <p:set>
                                      <p:cBhvr>
                                        <p:cTn id="104" dur="1" fill="hold">
                                          <p:stCondLst>
                                            <p:cond delay="0"/>
                                          </p:stCondLst>
                                        </p:cTn>
                                        <p:tgtEl>
                                          <p:spTgt spid="58"/>
                                        </p:tgtEl>
                                        <p:attrNameLst>
                                          <p:attrName>style.visibility</p:attrName>
                                        </p:attrNameLst>
                                      </p:cBhvr>
                                      <p:to>
                                        <p:strVal val="visible"/>
                                      </p:to>
                                    </p:set>
                                    <p:animEffect transition="in" filter="fade">
                                      <p:cBhvr>
                                        <p:cTn id="105" dur="500"/>
                                        <p:tgtEl>
                                          <p:spTgt spid="58"/>
                                        </p:tgtEl>
                                      </p:cBhvr>
                                    </p:animEffect>
                                  </p:childTnLst>
                                </p:cTn>
                              </p:par>
                            </p:childTnLst>
                          </p:cTn>
                        </p:par>
                        <p:par>
                          <p:cTn id="106" fill="hold">
                            <p:stCondLst>
                              <p:cond delay="3000"/>
                            </p:stCondLst>
                            <p:childTnLst>
                              <p:par>
                                <p:cTn id="107" presetID="55" presetClass="entr" presetSubtype="0" fill="hold" nodeType="afterEffect">
                                  <p:stCondLst>
                                    <p:cond delay="0"/>
                                  </p:stCondLst>
                                  <p:childTnLst>
                                    <p:set>
                                      <p:cBhvr>
                                        <p:cTn id="108" dur="1" fill="hold">
                                          <p:stCondLst>
                                            <p:cond delay="0"/>
                                          </p:stCondLst>
                                        </p:cTn>
                                        <p:tgtEl>
                                          <p:spTgt spid="4"/>
                                        </p:tgtEl>
                                        <p:attrNameLst>
                                          <p:attrName>style.visibility</p:attrName>
                                        </p:attrNameLst>
                                      </p:cBhvr>
                                      <p:to>
                                        <p:strVal val="visible"/>
                                      </p:to>
                                    </p:set>
                                    <p:anim calcmode="lin" valueType="num">
                                      <p:cBhvr>
                                        <p:cTn id="109" dur="1000" fill="hold"/>
                                        <p:tgtEl>
                                          <p:spTgt spid="4"/>
                                        </p:tgtEl>
                                        <p:attrNameLst>
                                          <p:attrName>ppt_w</p:attrName>
                                        </p:attrNameLst>
                                      </p:cBhvr>
                                      <p:tavLst>
                                        <p:tav tm="0">
                                          <p:val>
                                            <p:strVal val="#ppt_w*0.70"/>
                                          </p:val>
                                        </p:tav>
                                        <p:tav tm="100000">
                                          <p:val>
                                            <p:strVal val="#ppt_w"/>
                                          </p:val>
                                        </p:tav>
                                      </p:tavLst>
                                    </p:anim>
                                    <p:anim calcmode="lin" valueType="num">
                                      <p:cBhvr>
                                        <p:cTn id="110" dur="1000" fill="hold"/>
                                        <p:tgtEl>
                                          <p:spTgt spid="4"/>
                                        </p:tgtEl>
                                        <p:attrNameLst>
                                          <p:attrName>ppt_h</p:attrName>
                                        </p:attrNameLst>
                                      </p:cBhvr>
                                      <p:tavLst>
                                        <p:tav tm="0">
                                          <p:val>
                                            <p:strVal val="#ppt_h"/>
                                          </p:val>
                                        </p:tav>
                                        <p:tav tm="100000">
                                          <p:val>
                                            <p:strVal val="#ppt_h"/>
                                          </p:val>
                                        </p:tav>
                                      </p:tavLst>
                                    </p:anim>
                                    <p:animEffect transition="in" filter="fade">
                                      <p:cBhvr>
                                        <p:cTn id="111" dur="1000"/>
                                        <p:tgtEl>
                                          <p:spTgt spid="4"/>
                                        </p:tgtEl>
                                      </p:cBhvr>
                                    </p:animEffect>
                                  </p:childTnLst>
                                </p:cTn>
                              </p:par>
                              <p:par>
                                <p:cTn id="112" presetID="10" presetClass="entr" presetSubtype="0" fill="hold" grpId="0" nodeType="withEffect">
                                  <p:stCondLst>
                                    <p:cond delay="0"/>
                                  </p:stCondLst>
                                  <p:childTnLst>
                                    <p:set>
                                      <p:cBhvr>
                                        <p:cTn id="113" dur="1" fill="hold">
                                          <p:stCondLst>
                                            <p:cond delay="0"/>
                                          </p:stCondLst>
                                        </p:cTn>
                                        <p:tgtEl>
                                          <p:spTgt spid="98"/>
                                        </p:tgtEl>
                                        <p:attrNameLst>
                                          <p:attrName>style.visibility</p:attrName>
                                        </p:attrNameLst>
                                      </p:cBhvr>
                                      <p:to>
                                        <p:strVal val="visible"/>
                                      </p:to>
                                    </p:set>
                                    <p:animEffect transition="in" filter="fade">
                                      <p:cBhvr>
                                        <p:cTn id="114" dur="500"/>
                                        <p:tgtEl>
                                          <p:spTgt spid="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20" grpId="0" animBg="1"/>
      <p:bldP spid="40" grpId="0"/>
      <p:bldP spid="43" grpId="0"/>
      <p:bldP spid="57" grpId="0"/>
      <p:bldP spid="59" grpId="0" animBg="1"/>
      <p:bldP spid="69" grpId="0"/>
      <p:bldP spid="70" grpId="0"/>
      <p:bldP spid="71" grpId="0"/>
      <p:bldP spid="79" grpId="0" animBg="1"/>
      <p:bldP spid="122" grpId="0" animBg="1"/>
      <p:bldP spid="122" grpId="1" animBg="1"/>
      <p:bldP spid="98" grpId="0"/>
    </p:bldLst>
  </p:timing>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1950" y="138707"/>
            <a:ext cx="8782050" cy="446661"/>
          </a:xfrm>
        </p:spPr>
        <p:txBody>
          <a:bodyPr/>
          <a:lstStyle/>
          <a:p>
            <a:r>
              <a:rPr lang="en-US" sz="3200" dirty="0">
                <a:gradFill flip="none" rotWithShape="1">
                  <a:gsLst>
                    <a:gs pos="0">
                      <a:schemeClr val="tx1"/>
                    </a:gs>
                    <a:gs pos="100000">
                      <a:srgbClr val="C5C5C5"/>
                    </a:gs>
                    <a:gs pos="24000">
                      <a:schemeClr val="tx1"/>
                    </a:gs>
                  </a:gsLst>
                  <a:lin ang="5400000" scaled="0"/>
                  <a:tileRect/>
                </a:gradFill>
                <a:latin typeface="Segoe Light" pitchFamily="34" charset="0"/>
              </a:rPr>
              <a:t>System Center 2012 Capabilities</a:t>
            </a:r>
          </a:p>
        </p:txBody>
      </p:sp>
      <p:grpSp>
        <p:nvGrpSpPr>
          <p:cNvPr id="57" name="Group 56"/>
          <p:cNvGrpSpPr/>
          <p:nvPr/>
        </p:nvGrpSpPr>
        <p:grpSpPr>
          <a:xfrm>
            <a:off x="5232583" y="2963556"/>
            <a:ext cx="2012680" cy="1691879"/>
            <a:chOff x="5791200" y="3877255"/>
            <a:chExt cx="2012680" cy="2255838"/>
          </a:xfrm>
        </p:grpSpPr>
        <p:sp>
          <p:nvSpPr>
            <p:cNvPr id="58" name="Right Arrow 57"/>
            <p:cNvSpPr/>
            <p:nvPr/>
          </p:nvSpPr>
          <p:spPr>
            <a:xfrm flipH="1">
              <a:off x="5791200" y="3877255"/>
              <a:ext cx="2012680" cy="2255838"/>
            </a:xfrm>
            <a:prstGeom prst="rightArrow">
              <a:avLst/>
            </a:prstGeom>
            <a:gradFill flip="none" rotWithShape="1">
              <a:gsLst>
                <a:gs pos="49000">
                  <a:srgbClr val="4F81BD">
                    <a:shade val="51000"/>
                    <a:satMod val="130000"/>
                    <a:lumMod val="96000"/>
                  </a:srgbClr>
                </a:gs>
                <a:gs pos="100000">
                  <a:srgbClr val="4F81BD">
                    <a:lumMod val="93000"/>
                    <a:lumOff val="7000"/>
                  </a:srgbClr>
                </a:gs>
              </a:gsLst>
              <a:lin ang="10800000" scaled="1"/>
              <a:tileRect/>
            </a:gradFill>
            <a:ln w="9525" cap="flat" cmpd="sng" algn="ctr">
              <a:noFill/>
              <a:prstDash val="solid"/>
              <a:headEnd type="none" w="med" len="med"/>
              <a:tailEnd type="none" w="med" len="med"/>
            </a:ln>
            <a:effectLst/>
          </p:spPr>
          <p:txBody>
            <a:bodyPr vert="horz" wrap="square" lIns="109833" tIns="0" rIns="0" bIns="54916" numCol="1" rtlCol="0" anchor="ctr" anchorCtr="0" compatLnSpc="1">
              <a:prstTxWarp prst="textNoShape">
                <a:avLst/>
              </a:prstTxWarp>
            </a:bodyPr>
            <a:lstStyle/>
            <a:p>
              <a:pPr defTabSz="823519" fontAlgn="base">
                <a:spcBef>
                  <a:spcPct val="0"/>
                </a:spcBef>
                <a:spcAft>
                  <a:spcPct val="0"/>
                </a:spcAft>
              </a:pPr>
              <a:endParaRPr lang="en-US" sz="1200" b="1" kern="0">
                <a:gradFill>
                  <a:gsLst>
                    <a:gs pos="0">
                      <a:srgbClr val="FFFFFF"/>
                    </a:gs>
                    <a:gs pos="100000">
                      <a:srgbClr val="FFFFFF"/>
                    </a:gs>
                  </a:gsLst>
                  <a:lin ang="5400000" scaled="0"/>
                </a:gradFill>
                <a:latin typeface="Segoe" pitchFamily="34" charset="0"/>
              </a:endParaRPr>
            </a:p>
          </p:txBody>
        </p:sp>
        <p:sp>
          <p:nvSpPr>
            <p:cNvPr id="59" name="Rounded Rectangle 58"/>
            <p:cNvSpPr/>
            <p:nvPr/>
          </p:nvSpPr>
          <p:spPr>
            <a:xfrm>
              <a:off x="6231043" y="4522935"/>
              <a:ext cx="1120670" cy="274638"/>
            </a:xfrm>
            <a:prstGeom prst="roundRect">
              <a:avLst/>
            </a:prstGeom>
            <a:gradFill>
              <a:gsLst>
                <a:gs pos="0">
                  <a:schemeClr val="tx1"/>
                </a:gs>
                <a:gs pos="53000">
                  <a:schemeClr val="tx1">
                    <a:lumMod val="72000"/>
                  </a:schemeClr>
                </a:gs>
              </a:gsLst>
              <a:lin ang="0" scaled="1"/>
            </a:gradFill>
            <a:ln w="9525" cap="flat" cmpd="sng" algn="ctr">
              <a:noFill/>
              <a:prstDash val="solid"/>
              <a:headEnd type="none" w="med" len="med"/>
              <a:tailEnd type="none" w="med" len="med"/>
            </a:ln>
            <a:effectLst>
              <a:innerShdw blurRad="25400" dist="38100" dir="4800000">
                <a:prstClr val="black">
                  <a:alpha val="48000"/>
                </a:prstClr>
              </a:innerShdw>
            </a:effectLst>
          </p:spPr>
          <p:txBody>
            <a:bodyPr vert="horz" wrap="square" lIns="109833" tIns="0" rIns="109833" bIns="54916" numCol="1" rtlCol="0" anchor="ctr" anchorCtr="0" compatLnSpc="1">
              <a:prstTxWarp prst="textNoShape">
                <a:avLst/>
              </a:prstTxWarp>
            </a:bodyPr>
            <a:lstStyle/>
            <a:p>
              <a:pPr algn="ctr" defTabSz="823519" fontAlgn="base">
                <a:spcBef>
                  <a:spcPct val="0"/>
                </a:spcBef>
                <a:spcAft>
                  <a:spcPct val="0"/>
                </a:spcAft>
              </a:pPr>
              <a:r>
                <a:rPr lang="en-US" sz="1100" kern="0" dirty="0">
                  <a:solidFill>
                    <a:srgbClr val="000000">
                      <a:lumMod val="95000"/>
                      <a:lumOff val="5000"/>
                      <a:alpha val="99000"/>
                    </a:srgbClr>
                  </a:solidFill>
                </a:rPr>
                <a:t>Inventory</a:t>
              </a:r>
            </a:p>
          </p:txBody>
        </p:sp>
        <p:sp>
          <p:nvSpPr>
            <p:cNvPr id="60" name="Rounded Rectangle 59"/>
            <p:cNvSpPr/>
            <p:nvPr/>
          </p:nvSpPr>
          <p:spPr>
            <a:xfrm>
              <a:off x="6231043" y="4874205"/>
              <a:ext cx="1120670" cy="274638"/>
            </a:xfrm>
            <a:prstGeom prst="roundRect">
              <a:avLst/>
            </a:prstGeom>
            <a:gradFill>
              <a:gsLst>
                <a:gs pos="0">
                  <a:schemeClr val="tx1"/>
                </a:gs>
                <a:gs pos="53000">
                  <a:schemeClr val="tx1">
                    <a:lumMod val="72000"/>
                  </a:schemeClr>
                </a:gs>
              </a:gsLst>
              <a:lin ang="0" scaled="1"/>
            </a:gradFill>
            <a:ln w="9525" cap="flat" cmpd="sng" algn="ctr">
              <a:noFill/>
              <a:prstDash val="solid"/>
              <a:headEnd type="none" w="med" len="med"/>
              <a:tailEnd type="none" w="med" len="med"/>
            </a:ln>
            <a:effectLst>
              <a:innerShdw blurRad="25400" dist="38100" dir="4800000">
                <a:prstClr val="black">
                  <a:alpha val="48000"/>
                </a:prstClr>
              </a:innerShdw>
            </a:effectLst>
          </p:spPr>
          <p:txBody>
            <a:bodyPr vert="horz" wrap="square" lIns="109833" tIns="0" rIns="109833" bIns="54916" numCol="1" rtlCol="0" anchor="ctr" anchorCtr="0" compatLnSpc="1">
              <a:prstTxWarp prst="textNoShape">
                <a:avLst/>
              </a:prstTxWarp>
            </a:bodyPr>
            <a:lstStyle/>
            <a:p>
              <a:pPr algn="ctr" defTabSz="823519" fontAlgn="base">
                <a:spcBef>
                  <a:spcPct val="0"/>
                </a:spcBef>
                <a:spcAft>
                  <a:spcPct val="0"/>
                </a:spcAft>
              </a:pPr>
              <a:r>
                <a:rPr lang="en-US" sz="1100" kern="0" dirty="0">
                  <a:solidFill>
                    <a:srgbClr val="000000">
                      <a:lumMod val="95000"/>
                      <a:lumOff val="5000"/>
                      <a:alpha val="99000"/>
                    </a:srgbClr>
                  </a:solidFill>
                </a:rPr>
                <a:t>Monitor</a:t>
              </a:r>
            </a:p>
          </p:txBody>
        </p:sp>
        <p:sp>
          <p:nvSpPr>
            <p:cNvPr id="61" name="Rounded Rectangle 60"/>
            <p:cNvSpPr/>
            <p:nvPr/>
          </p:nvSpPr>
          <p:spPr>
            <a:xfrm>
              <a:off x="6231043" y="5228218"/>
              <a:ext cx="1120670" cy="273050"/>
            </a:xfrm>
            <a:prstGeom prst="roundRect">
              <a:avLst/>
            </a:prstGeom>
            <a:gradFill>
              <a:gsLst>
                <a:gs pos="0">
                  <a:schemeClr val="tx1"/>
                </a:gs>
                <a:gs pos="53000">
                  <a:schemeClr val="tx1">
                    <a:lumMod val="72000"/>
                  </a:schemeClr>
                </a:gs>
              </a:gsLst>
              <a:lin ang="0" scaled="1"/>
            </a:gradFill>
            <a:ln w="9525" cap="flat" cmpd="sng" algn="ctr">
              <a:noFill/>
              <a:prstDash val="solid"/>
              <a:headEnd type="none" w="med" len="med"/>
              <a:tailEnd type="none" w="med" len="med"/>
            </a:ln>
            <a:effectLst>
              <a:innerShdw blurRad="25400" dist="38100" dir="4800000">
                <a:prstClr val="black">
                  <a:alpha val="48000"/>
                </a:prstClr>
              </a:innerShdw>
            </a:effectLst>
          </p:spPr>
          <p:txBody>
            <a:bodyPr vert="horz" wrap="square" lIns="109833" tIns="0" rIns="109833" bIns="54916" numCol="1" rtlCol="0" anchor="ctr" anchorCtr="0" compatLnSpc="1">
              <a:prstTxWarp prst="textNoShape">
                <a:avLst/>
              </a:prstTxWarp>
            </a:bodyPr>
            <a:lstStyle/>
            <a:p>
              <a:pPr algn="ctr" defTabSz="823519" fontAlgn="base">
                <a:spcBef>
                  <a:spcPct val="0"/>
                </a:spcBef>
                <a:spcAft>
                  <a:spcPct val="0"/>
                </a:spcAft>
              </a:pPr>
              <a:r>
                <a:rPr lang="en-US" sz="1100" kern="0" dirty="0">
                  <a:solidFill>
                    <a:srgbClr val="000000">
                      <a:lumMod val="95000"/>
                      <a:lumOff val="5000"/>
                      <a:alpha val="99000"/>
                    </a:srgbClr>
                  </a:solidFill>
                </a:rPr>
                <a:t>Protect</a:t>
              </a:r>
            </a:p>
          </p:txBody>
        </p:sp>
      </p:grpSp>
      <p:grpSp>
        <p:nvGrpSpPr>
          <p:cNvPr id="62" name="Group 61"/>
          <p:cNvGrpSpPr/>
          <p:nvPr/>
        </p:nvGrpSpPr>
        <p:grpSpPr>
          <a:xfrm>
            <a:off x="3804417" y="826588"/>
            <a:ext cx="1344834" cy="3915800"/>
            <a:chOff x="4217766" y="979197"/>
            <a:chExt cx="1344834" cy="5221067"/>
          </a:xfrm>
        </p:grpSpPr>
        <p:sp>
          <p:nvSpPr>
            <p:cNvPr id="63" name="Trapezoid 62"/>
            <p:cNvSpPr/>
            <p:nvPr/>
          </p:nvSpPr>
          <p:spPr>
            <a:xfrm rot="5400000">
              <a:off x="2279649" y="2917314"/>
              <a:ext cx="5221067" cy="1344834"/>
            </a:xfrm>
            <a:prstGeom prst="trapezoid">
              <a:avLst/>
            </a:prstGeom>
            <a:solidFill>
              <a:srgbClr val="003F72">
                <a:alpha val="82000"/>
              </a:srgb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vert270" wrap="square" lIns="91436" tIns="45718" rIns="91436" bIns="45718" numCol="1" rtlCol="0" anchor="ctr" anchorCtr="0" compatLnSpc="1">
              <a:prstTxWarp prst="textNoShape">
                <a:avLst/>
              </a:prstTxWarp>
            </a:bodyPr>
            <a:lstStyle/>
            <a:p>
              <a:pPr algn="ctr" defTabSz="685580"/>
              <a:r>
                <a:rPr lang="en-US" dirty="0">
                  <a:gradFill>
                    <a:gsLst>
                      <a:gs pos="0">
                        <a:srgbClr val="FFFFFF"/>
                      </a:gs>
                      <a:gs pos="100000">
                        <a:srgbClr val="FFFFFF"/>
                      </a:gs>
                    </a:gsLst>
                    <a:lin ang="5400000" scaled="0"/>
                  </a:gradFill>
                </a:rPr>
                <a:t>Process</a:t>
              </a:r>
            </a:p>
            <a:p>
              <a:pPr algn="ctr" defTabSz="685580"/>
              <a:r>
                <a:rPr lang="en-US" dirty="0">
                  <a:gradFill>
                    <a:gsLst>
                      <a:gs pos="0">
                        <a:srgbClr val="FFFFFF"/>
                      </a:gs>
                      <a:gs pos="100000">
                        <a:srgbClr val="FFFFFF"/>
                      </a:gs>
                    </a:gsLst>
                    <a:lin ang="5400000" scaled="0"/>
                  </a:gradFill>
                </a:rPr>
                <a:t>Automation</a:t>
              </a:r>
            </a:p>
            <a:p>
              <a:pPr algn="ctr" defTabSz="685580"/>
              <a:r>
                <a:rPr lang="en-US" dirty="0">
                  <a:gradFill>
                    <a:gsLst>
                      <a:gs pos="0">
                        <a:srgbClr val="FFFFFF"/>
                      </a:gs>
                      <a:gs pos="100000">
                        <a:srgbClr val="FFFFFF"/>
                      </a:gs>
                    </a:gsLst>
                    <a:lin ang="5400000" scaled="0"/>
                  </a:gradFill>
                </a:rPr>
                <a:t>IT Service Management</a:t>
              </a:r>
            </a:p>
            <a:p>
              <a:pPr algn="ctr" defTabSz="685580"/>
              <a:endParaRPr lang="en-US" dirty="0">
                <a:gradFill>
                  <a:gsLst>
                    <a:gs pos="0">
                      <a:srgbClr val="FFFFFF"/>
                    </a:gs>
                    <a:gs pos="100000">
                      <a:srgbClr val="FFFFFF"/>
                    </a:gs>
                  </a:gsLst>
                  <a:lin ang="5400000" scaled="0"/>
                </a:gradFill>
              </a:endParaRPr>
            </a:p>
          </p:txBody>
        </p:sp>
        <p:sp>
          <p:nvSpPr>
            <p:cNvPr id="64" name="Freeform 132"/>
            <p:cNvSpPr>
              <a:spLocks/>
            </p:cNvSpPr>
            <p:nvPr/>
          </p:nvSpPr>
          <p:spPr bwMode="gray">
            <a:xfrm>
              <a:off x="4445810" y="4115957"/>
              <a:ext cx="795218" cy="249415"/>
            </a:xfrm>
            <a:custGeom>
              <a:avLst/>
              <a:gdLst>
                <a:gd name="T0" fmla="*/ 2147483647 w 364"/>
                <a:gd name="T1" fmla="*/ 2147483647 h 86"/>
                <a:gd name="T2" fmla="*/ 2147483647 w 364"/>
                <a:gd name="T3" fmla="*/ 2147483647 h 86"/>
                <a:gd name="T4" fmla="*/ 2147483647 w 364"/>
                <a:gd name="T5" fmla="*/ 2147483647 h 86"/>
                <a:gd name="T6" fmla="*/ 2147483647 w 364"/>
                <a:gd name="T7" fmla="*/ 2147483647 h 86"/>
                <a:gd name="T8" fmla="*/ 2147483647 w 364"/>
                <a:gd name="T9" fmla="*/ 2147483647 h 86"/>
                <a:gd name="T10" fmla="*/ 2147483647 w 364"/>
                <a:gd name="T11" fmla="*/ 2147483647 h 86"/>
                <a:gd name="T12" fmla="*/ 2147483647 w 364"/>
                <a:gd name="T13" fmla="*/ 2147483647 h 86"/>
                <a:gd name="T14" fmla="*/ 2147483647 w 364"/>
                <a:gd name="T15" fmla="*/ 2147483647 h 86"/>
                <a:gd name="T16" fmla="*/ 2147483647 w 364"/>
                <a:gd name="T17" fmla="*/ 2147483647 h 86"/>
                <a:gd name="T18" fmla="*/ 2147483647 w 364"/>
                <a:gd name="T19" fmla="*/ 2147483647 h 86"/>
                <a:gd name="T20" fmla="*/ 2147483647 w 364"/>
                <a:gd name="T21" fmla="*/ 2147483647 h 86"/>
                <a:gd name="T22" fmla="*/ 2147483647 w 364"/>
                <a:gd name="T23" fmla="*/ 2147483647 h 86"/>
                <a:gd name="T24" fmla="*/ 2147483647 w 364"/>
                <a:gd name="T25" fmla="*/ 2147483647 h 86"/>
                <a:gd name="T26" fmla="*/ 2147483647 w 364"/>
                <a:gd name="T27" fmla="*/ 2147483647 h 86"/>
                <a:gd name="T28" fmla="*/ 0 w 364"/>
                <a:gd name="T29" fmla="*/ 2147483647 h 86"/>
                <a:gd name="T30" fmla="*/ 2147483647 w 364"/>
                <a:gd name="T31" fmla="*/ 2147483647 h 86"/>
                <a:gd name="T32" fmla="*/ 2147483647 w 364"/>
                <a:gd name="T33" fmla="*/ 2147483647 h 86"/>
                <a:gd name="T34" fmla="*/ 2147483647 w 364"/>
                <a:gd name="T35" fmla="*/ 0 h 86"/>
                <a:gd name="T36" fmla="*/ 2147483647 w 364"/>
                <a:gd name="T37" fmla="*/ 2147483647 h 86"/>
                <a:gd name="T38" fmla="*/ 2147483647 w 364"/>
                <a:gd name="T39" fmla="*/ 2147483647 h 86"/>
                <a:gd name="T40" fmla="*/ 2147483647 w 364"/>
                <a:gd name="T41" fmla="*/ 2147483647 h 86"/>
                <a:gd name="T42" fmla="*/ 2147483647 w 364"/>
                <a:gd name="T43" fmla="*/ 2147483647 h 86"/>
                <a:gd name="T44" fmla="*/ 2147483647 w 364"/>
                <a:gd name="T45" fmla="*/ 2147483647 h 86"/>
                <a:gd name="T46" fmla="*/ 2147483647 w 364"/>
                <a:gd name="T47" fmla="*/ 0 h 86"/>
                <a:gd name="T48" fmla="*/ 2147483647 w 364"/>
                <a:gd name="T49" fmla="*/ 2147483647 h 86"/>
                <a:gd name="T50" fmla="*/ 2147483647 w 364"/>
                <a:gd name="T51" fmla="*/ 2147483647 h 86"/>
                <a:gd name="T52" fmla="*/ 2147483647 w 364"/>
                <a:gd name="T53" fmla="*/ 2147483647 h 86"/>
                <a:gd name="T54" fmla="*/ 2147483647 w 364"/>
                <a:gd name="T55" fmla="*/ 2147483647 h 86"/>
                <a:gd name="T56" fmla="*/ 2147483647 w 364"/>
                <a:gd name="T57" fmla="*/ 2147483647 h 86"/>
                <a:gd name="T58" fmla="*/ 2147483647 w 364"/>
                <a:gd name="T59" fmla="*/ 2147483647 h 86"/>
                <a:gd name="T60" fmla="*/ 2147483647 w 364"/>
                <a:gd name="T61" fmla="*/ 2147483647 h 86"/>
                <a:gd name="T62" fmla="*/ 2147483647 w 364"/>
                <a:gd name="T63" fmla="*/ 2147483647 h 86"/>
                <a:gd name="T64" fmla="*/ 2147483647 w 364"/>
                <a:gd name="T65" fmla="*/ 2147483647 h 86"/>
                <a:gd name="T66" fmla="*/ 2147483647 w 364"/>
                <a:gd name="T67" fmla="*/ 2147483647 h 86"/>
                <a:gd name="T68" fmla="*/ 2147483647 w 364"/>
                <a:gd name="T69" fmla="*/ 2147483647 h 86"/>
                <a:gd name="T70" fmla="*/ 2147483647 w 364"/>
                <a:gd name="T71" fmla="*/ 2147483647 h 86"/>
                <a:gd name="T72" fmla="*/ 2147483647 w 364"/>
                <a:gd name="T73" fmla="*/ 2147483647 h 86"/>
                <a:gd name="T74" fmla="*/ 2147483647 w 364"/>
                <a:gd name="T75" fmla="*/ 2147483647 h 86"/>
                <a:gd name="T76" fmla="*/ 2147483647 w 364"/>
                <a:gd name="T77" fmla="*/ 2147483647 h 86"/>
                <a:gd name="T78" fmla="*/ 2147483647 w 364"/>
                <a:gd name="T79" fmla="*/ 2147483647 h 86"/>
                <a:gd name="T80" fmla="*/ 2147483647 w 364"/>
                <a:gd name="T81" fmla="*/ 2147483647 h 86"/>
                <a:gd name="T82" fmla="*/ 2147483647 w 364"/>
                <a:gd name="T83" fmla="*/ 2147483647 h 86"/>
                <a:gd name="T84" fmla="*/ 2147483647 w 364"/>
                <a:gd name="T85" fmla="*/ 2147483647 h 86"/>
                <a:gd name="T86" fmla="*/ 2147483647 w 364"/>
                <a:gd name="T87" fmla="*/ 2147483647 h 86"/>
                <a:gd name="T88" fmla="*/ 2147483647 w 364"/>
                <a:gd name="T89" fmla="*/ 2147483647 h 86"/>
                <a:gd name="T90" fmla="*/ 2147483647 w 364"/>
                <a:gd name="T91" fmla="*/ 2147483647 h 86"/>
                <a:gd name="T92" fmla="*/ 2147483647 w 364"/>
                <a:gd name="T93" fmla="*/ 2147483647 h 86"/>
                <a:gd name="T94" fmla="*/ 2147483647 w 364"/>
                <a:gd name="T95" fmla="*/ 2147483647 h 86"/>
                <a:gd name="T96" fmla="*/ 2147483647 w 364"/>
                <a:gd name="T97" fmla="*/ 2147483647 h 86"/>
                <a:gd name="T98" fmla="*/ 2147483647 w 364"/>
                <a:gd name="T99" fmla="*/ 2147483647 h 86"/>
                <a:gd name="T100" fmla="*/ 2147483647 w 364"/>
                <a:gd name="T101" fmla="*/ 2147483647 h 86"/>
                <a:gd name="T102" fmla="*/ 2147483647 w 364"/>
                <a:gd name="T103" fmla="*/ 2147483647 h 86"/>
                <a:gd name="T104" fmla="*/ 2147483647 w 364"/>
                <a:gd name="T105" fmla="*/ 2147483647 h 86"/>
                <a:gd name="T106" fmla="*/ 2147483647 w 364"/>
                <a:gd name="T107" fmla="*/ 2147483647 h 86"/>
                <a:gd name="T108" fmla="*/ 2147483647 w 364"/>
                <a:gd name="T109" fmla="*/ 2147483647 h 86"/>
                <a:gd name="T110" fmla="*/ 2147483647 w 364"/>
                <a:gd name="T111" fmla="*/ 2147483647 h 86"/>
                <a:gd name="T112" fmla="*/ 2147483647 w 364"/>
                <a:gd name="T113" fmla="*/ 2147483647 h 86"/>
                <a:gd name="T114" fmla="*/ 2147483647 w 364"/>
                <a:gd name="T115" fmla="*/ 2147483647 h 8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64"/>
                <a:gd name="T175" fmla="*/ 0 h 86"/>
                <a:gd name="T176" fmla="*/ 364 w 364"/>
                <a:gd name="T177" fmla="*/ 86 h 8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64" h="86">
                  <a:moveTo>
                    <a:pt x="296" y="6"/>
                  </a:moveTo>
                  <a:lnTo>
                    <a:pt x="334" y="44"/>
                  </a:lnTo>
                  <a:lnTo>
                    <a:pt x="296" y="82"/>
                  </a:lnTo>
                  <a:lnTo>
                    <a:pt x="326" y="82"/>
                  </a:lnTo>
                  <a:lnTo>
                    <a:pt x="364" y="44"/>
                  </a:lnTo>
                  <a:lnTo>
                    <a:pt x="326" y="6"/>
                  </a:lnTo>
                  <a:lnTo>
                    <a:pt x="296" y="6"/>
                  </a:lnTo>
                  <a:lnTo>
                    <a:pt x="180" y="56"/>
                  </a:lnTo>
                  <a:lnTo>
                    <a:pt x="178" y="54"/>
                  </a:lnTo>
                  <a:lnTo>
                    <a:pt x="154" y="54"/>
                  </a:lnTo>
                  <a:lnTo>
                    <a:pt x="152" y="58"/>
                  </a:lnTo>
                  <a:lnTo>
                    <a:pt x="162" y="64"/>
                  </a:lnTo>
                  <a:lnTo>
                    <a:pt x="158" y="70"/>
                  </a:lnTo>
                  <a:lnTo>
                    <a:pt x="148" y="64"/>
                  </a:lnTo>
                  <a:lnTo>
                    <a:pt x="138" y="70"/>
                  </a:lnTo>
                  <a:lnTo>
                    <a:pt x="128" y="74"/>
                  </a:lnTo>
                  <a:lnTo>
                    <a:pt x="128" y="86"/>
                  </a:lnTo>
                  <a:lnTo>
                    <a:pt x="120" y="86"/>
                  </a:lnTo>
                  <a:lnTo>
                    <a:pt x="120" y="74"/>
                  </a:lnTo>
                  <a:lnTo>
                    <a:pt x="114" y="72"/>
                  </a:lnTo>
                  <a:lnTo>
                    <a:pt x="108" y="70"/>
                  </a:lnTo>
                  <a:lnTo>
                    <a:pt x="100" y="76"/>
                  </a:lnTo>
                  <a:lnTo>
                    <a:pt x="96" y="72"/>
                  </a:lnTo>
                  <a:lnTo>
                    <a:pt x="102" y="64"/>
                  </a:lnTo>
                  <a:lnTo>
                    <a:pt x="96" y="56"/>
                  </a:lnTo>
                  <a:lnTo>
                    <a:pt x="96" y="54"/>
                  </a:lnTo>
                  <a:lnTo>
                    <a:pt x="70" y="54"/>
                  </a:lnTo>
                  <a:lnTo>
                    <a:pt x="68" y="58"/>
                  </a:lnTo>
                  <a:lnTo>
                    <a:pt x="78" y="64"/>
                  </a:lnTo>
                  <a:lnTo>
                    <a:pt x="74" y="70"/>
                  </a:lnTo>
                  <a:lnTo>
                    <a:pt x="64" y="64"/>
                  </a:lnTo>
                  <a:lnTo>
                    <a:pt x="56" y="70"/>
                  </a:lnTo>
                  <a:lnTo>
                    <a:pt x="46" y="74"/>
                  </a:lnTo>
                  <a:lnTo>
                    <a:pt x="44" y="86"/>
                  </a:lnTo>
                  <a:lnTo>
                    <a:pt x="36" y="86"/>
                  </a:lnTo>
                  <a:lnTo>
                    <a:pt x="36" y="74"/>
                  </a:lnTo>
                  <a:lnTo>
                    <a:pt x="30" y="72"/>
                  </a:lnTo>
                  <a:lnTo>
                    <a:pt x="24" y="70"/>
                  </a:lnTo>
                  <a:lnTo>
                    <a:pt x="16" y="76"/>
                  </a:lnTo>
                  <a:lnTo>
                    <a:pt x="12" y="72"/>
                  </a:lnTo>
                  <a:lnTo>
                    <a:pt x="18" y="64"/>
                  </a:lnTo>
                  <a:lnTo>
                    <a:pt x="14" y="56"/>
                  </a:lnTo>
                  <a:lnTo>
                    <a:pt x="10" y="50"/>
                  </a:lnTo>
                  <a:lnTo>
                    <a:pt x="0" y="50"/>
                  </a:lnTo>
                  <a:lnTo>
                    <a:pt x="0" y="42"/>
                  </a:lnTo>
                  <a:lnTo>
                    <a:pt x="10" y="40"/>
                  </a:lnTo>
                  <a:lnTo>
                    <a:pt x="10" y="34"/>
                  </a:lnTo>
                  <a:lnTo>
                    <a:pt x="14" y="28"/>
                  </a:lnTo>
                  <a:lnTo>
                    <a:pt x="4" y="20"/>
                  </a:lnTo>
                  <a:lnTo>
                    <a:pt x="8" y="16"/>
                  </a:lnTo>
                  <a:lnTo>
                    <a:pt x="18" y="20"/>
                  </a:lnTo>
                  <a:lnTo>
                    <a:pt x="26" y="14"/>
                  </a:lnTo>
                  <a:lnTo>
                    <a:pt x="36" y="12"/>
                  </a:lnTo>
                  <a:lnTo>
                    <a:pt x="38" y="0"/>
                  </a:lnTo>
                  <a:lnTo>
                    <a:pt x="44" y="0"/>
                  </a:lnTo>
                  <a:lnTo>
                    <a:pt x="46" y="12"/>
                  </a:lnTo>
                  <a:lnTo>
                    <a:pt x="52" y="14"/>
                  </a:lnTo>
                  <a:lnTo>
                    <a:pt x="58" y="16"/>
                  </a:lnTo>
                  <a:lnTo>
                    <a:pt x="64" y="8"/>
                  </a:lnTo>
                  <a:lnTo>
                    <a:pt x="70" y="14"/>
                  </a:lnTo>
                  <a:lnTo>
                    <a:pt x="64" y="22"/>
                  </a:lnTo>
                  <a:lnTo>
                    <a:pt x="68" y="28"/>
                  </a:lnTo>
                  <a:lnTo>
                    <a:pt x="70" y="32"/>
                  </a:lnTo>
                  <a:lnTo>
                    <a:pt x="96" y="32"/>
                  </a:lnTo>
                  <a:lnTo>
                    <a:pt x="96" y="28"/>
                  </a:lnTo>
                  <a:lnTo>
                    <a:pt x="88" y="20"/>
                  </a:lnTo>
                  <a:lnTo>
                    <a:pt x="92" y="16"/>
                  </a:lnTo>
                  <a:lnTo>
                    <a:pt x="102" y="20"/>
                  </a:lnTo>
                  <a:lnTo>
                    <a:pt x="110" y="14"/>
                  </a:lnTo>
                  <a:lnTo>
                    <a:pt x="120" y="12"/>
                  </a:lnTo>
                  <a:lnTo>
                    <a:pt x="122" y="0"/>
                  </a:lnTo>
                  <a:lnTo>
                    <a:pt x="128" y="0"/>
                  </a:lnTo>
                  <a:lnTo>
                    <a:pt x="128" y="12"/>
                  </a:lnTo>
                  <a:lnTo>
                    <a:pt x="136" y="14"/>
                  </a:lnTo>
                  <a:lnTo>
                    <a:pt x="142" y="16"/>
                  </a:lnTo>
                  <a:lnTo>
                    <a:pt x="148" y="8"/>
                  </a:lnTo>
                  <a:lnTo>
                    <a:pt x="154" y="14"/>
                  </a:lnTo>
                  <a:lnTo>
                    <a:pt x="148" y="22"/>
                  </a:lnTo>
                  <a:lnTo>
                    <a:pt x="152" y="28"/>
                  </a:lnTo>
                  <a:lnTo>
                    <a:pt x="154" y="32"/>
                  </a:lnTo>
                  <a:lnTo>
                    <a:pt x="178" y="32"/>
                  </a:lnTo>
                  <a:lnTo>
                    <a:pt x="180" y="28"/>
                  </a:lnTo>
                  <a:lnTo>
                    <a:pt x="172" y="20"/>
                  </a:lnTo>
                  <a:lnTo>
                    <a:pt x="174" y="16"/>
                  </a:lnTo>
                  <a:lnTo>
                    <a:pt x="186" y="20"/>
                  </a:lnTo>
                  <a:lnTo>
                    <a:pt x="194" y="14"/>
                  </a:lnTo>
                  <a:lnTo>
                    <a:pt x="204" y="12"/>
                  </a:lnTo>
                  <a:lnTo>
                    <a:pt x="206" y="0"/>
                  </a:lnTo>
                  <a:lnTo>
                    <a:pt x="212" y="0"/>
                  </a:lnTo>
                  <a:lnTo>
                    <a:pt x="212" y="12"/>
                  </a:lnTo>
                  <a:lnTo>
                    <a:pt x="218" y="14"/>
                  </a:lnTo>
                  <a:lnTo>
                    <a:pt x="224" y="16"/>
                  </a:lnTo>
                  <a:lnTo>
                    <a:pt x="232" y="8"/>
                  </a:lnTo>
                  <a:lnTo>
                    <a:pt x="238" y="14"/>
                  </a:lnTo>
                  <a:lnTo>
                    <a:pt x="232" y="22"/>
                  </a:lnTo>
                  <a:lnTo>
                    <a:pt x="236" y="28"/>
                  </a:lnTo>
                  <a:lnTo>
                    <a:pt x="238" y="32"/>
                  </a:lnTo>
                  <a:lnTo>
                    <a:pt x="276" y="32"/>
                  </a:lnTo>
                  <a:lnTo>
                    <a:pt x="250" y="6"/>
                  </a:lnTo>
                  <a:lnTo>
                    <a:pt x="280" y="6"/>
                  </a:lnTo>
                  <a:lnTo>
                    <a:pt x="320" y="44"/>
                  </a:lnTo>
                  <a:lnTo>
                    <a:pt x="280" y="82"/>
                  </a:lnTo>
                  <a:lnTo>
                    <a:pt x="250" y="82"/>
                  </a:lnTo>
                  <a:lnTo>
                    <a:pt x="278" y="54"/>
                  </a:lnTo>
                  <a:lnTo>
                    <a:pt x="238" y="54"/>
                  </a:lnTo>
                  <a:lnTo>
                    <a:pt x="236" y="58"/>
                  </a:lnTo>
                  <a:lnTo>
                    <a:pt x="244" y="64"/>
                  </a:lnTo>
                  <a:lnTo>
                    <a:pt x="242" y="70"/>
                  </a:lnTo>
                  <a:lnTo>
                    <a:pt x="230" y="64"/>
                  </a:lnTo>
                  <a:lnTo>
                    <a:pt x="222" y="70"/>
                  </a:lnTo>
                  <a:lnTo>
                    <a:pt x="212" y="74"/>
                  </a:lnTo>
                  <a:lnTo>
                    <a:pt x="210" y="86"/>
                  </a:lnTo>
                  <a:lnTo>
                    <a:pt x="204" y="86"/>
                  </a:lnTo>
                  <a:lnTo>
                    <a:pt x="204" y="74"/>
                  </a:lnTo>
                  <a:lnTo>
                    <a:pt x="198" y="72"/>
                  </a:lnTo>
                  <a:lnTo>
                    <a:pt x="192" y="70"/>
                  </a:lnTo>
                  <a:lnTo>
                    <a:pt x="184" y="76"/>
                  </a:lnTo>
                  <a:lnTo>
                    <a:pt x="178" y="72"/>
                  </a:lnTo>
                  <a:lnTo>
                    <a:pt x="184" y="64"/>
                  </a:lnTo>
                  <a:lnTo>
                    <a:pt x="180" y="56"/>
                  </a:lnTo>
                  <a:lnTo>
                    <a:pt x="296" y="6"/>
                  </a:lnTo>
                  <a:lnTo>
                    <a:pt x="26" y="50"/>
                  </a:lnTo>
                  <a:lnTo>
                    <a:pt x="26" y="44"/>
                  </a:lnTo>
                  <a:lnTo>
                    <a:pt x="26" y="38"/>
                  </a:lnTo>
                  <a:lnTo>
                    <a:pt x="28" y="32"/>
                  </a:lnTo>
                  <a:lnTo>
                    <a:pt x="34" y="28"/>
                  </a:lnTo>
                  <a:lnTo>
                    <a:pt x="40" y="28"/>
                  </a:lnTo>
                  <a:lnTo>
                    <a:pt x="46" y="28"/>
                  </a:lnTo>
                  <a:lnTo>
                    <a:pt x="50" y="30"/>
                  </a:lnTo>
                  <a:lnTo>
                    <a:pt x="54" y="36"/>
                  </a:lnTo>
                  <a:lnTo>
                    <a:pt x="56" y="42"/>
                  </a:lnTo>
                  <a:lnTo>
                    <a:pt x="56" y="48"/>
                  </a:lnTo>
                  <a:lnTo>
                    <a:pt x="52" y="52"/>
                  </a:lnTo>
                  <a:lnTo>
                    <a:pt x="48" y="56"/>
                  </a:lnTo>
                  <a:lnTo>
                    <a:pt x="42" y="58"/>
                  </a:lnTo>
                  <a:lnTo>
                    <a:pt x="36" y="58"/>
                  </a:lnTo>
                  <a:lnTo>
                    <a:pt x="30" y="54"/>
                  </a:lnTo>
                  <a:lnTo>
                    <a:pt x="26" y="50"/>
                  </a:lnTo>
                  <a:lnTo>
                    <a:pt x="296" y="6"/>
                  </a:lnTo>
                  <a:lnTo>
                    <a:pt x="110" y="50"/>
                  </a:lnTo>
                  <a:lnTo>
                    <a:pt x="108" y="44"/>
                  </a:lnTo>
                  <a:lnTo>
                    <a:pt x="110" y="38"/>
                  </a:lnTo>
                  <a:lnTo>
                    <a:pt x="112" y="32"/>
                  </a:lnTo>
                  <a:lnTo>
                    <a:pt x="118" y="28"/>
                  </a:lnTo>
                  <a:lnTo>
                    <a:pt x="124" y="28"/>
                  </a:lnTo>
                  <a:lnTo>
                    <a:pt x="128" y="28"/>
                  </a:lnTo>
                  <a:lnTo>
                    <a:pt x="134" y="30"/>
                  </a:lnTo>
                  <a:lnTo>
                    <a:pt x="138" y="36"/>
                  </a:lnTo>
                  <a:lnTo>
                    <a:pt x="140" y="42"/>
                  </a:lnTo>
                  <a:lnTo>
                    <a:pt x="138" y="48"/>
                  </a:lnTo>
                  <a:lnTo>
                    <a:pt x="136" y="52"/>
                  </a:lnTo>
                  <a:lnTo>
                    <a:pt x="132" y="56"/>
                  </a:lnTo>
                  <a:lnTo>
                    <a:pt x="126" y="58"/>
                  </a:lnTo>
                  <a:lnTo>
                    <a:pt x="120" y="58"/>
                  </a:lnTo>
                  <a:lnTo>
                    <a:pt x="114" y="54"/>
                  </a:lnTo>
                  <a:lnTo>
                    <a:pt x="110" y="50"/>
                  </a:lnTo>
                  <a:lnTo>
                    <a:pt x="296" y="6"/>
                  </a:lnTo>
                  <a:lnTo>
                    <a:pt x="194" y="50"/>
                  </a:lnTo>
                  <a:lnTo>
                    <a:pt x="192" y="44"/>
                  </a:lnTo>
                  <a:lnTo>
                    <a:pt x="194" y="38"/>
                  </a:lnTo>
                  <a:lnTo>
                    <a:pt x="196" y="32"/>
                  </a:lnTo>
                  <a:lnTo>
                    <a:pt x="200" y="28"/>
                  </a:lnTo>
                  <a:lnTo>
                    <a:pt x="206" y="28"/>
                  </a:lnTo>
                  <a:lnTo>
                    <a:pt x="212" y="28"/>
                  </a:lnTo>
                  <a:lnTo>
                    <a:pt x="218" y="30"/>
                  </a:lnTo>
                  <a:lnTo>
                    <a:pt x="222" y="36"/>
                  </a:lnTo>
                  <a:lnTo>
                    <a:pt x="222" y="42"/>
                  </a:lnTo>
                  <a:lnTo>
                    <a:pt x="222" y="48"/>
                  </a:lnTo>
                  <a:lnTo>
                    <a:pt x="220" y="52"/>
                  </a:lnTo>
                  <a:lnTo>
                    <a:pt x="214" y="56"/>
                  </a:lnTo>
                  <a:lnTo>
                    <a:pt x="208" y="58"/>
                  </a:lnTo>
                  <a:lnTo>
                    <a:pt x="202" y="58"/>
                  </a:lnTo>
                  <a:lnTo>
                    <a:pt x="198" y="54"/>
                  </a:lnTo>
                  <a:lnTo>
                    <a:pt x="194" y="50"/>
                  </a:lnTo>
                  <a:lnTo>
                    <a:pt x="296" y="6"/>
                  </a:lnTo>
                  <a:close/>
                </a:path>
              </a:pathLst>
            </a:custGeom>
            <a:solidFill>
              <a:srgbClr val="FFFFFF"/>
            </a:solidFill>
            <a:ln w="9525">
              <a:noFill/>
              <a:round/>
              <a:headEnd/>
              <a:tailEnd/>
            </a:ln>
          </p:spPr>
          <p:txBody>
            <a:bodyPr lIns="121899" tIns="60949" rIns="121899" bIns="60949"/>
            <a:lstStyle/>
            <a:p>
              <a:pPr defTabSz="684616" fontAlgn="base">
                <a:spcBef>
                  <a:spcPct val="0"/>
                </a:spcBef>
                <a:spcAft>
                  <a:spcPct val="0"/>
                </a:spcAft>
                <a:defRPr/>
              </a:pPr>
              <a:endParaRPr lang="en-US" kern="0">
                <a:solidFill>
                  <a:srgbClr val="FFFFFF"/>
                </a:solidFill>
                <a:latin typeface="Segoe Light" charset="0"/>
                <a:cs typeface="Arial" charset="0"/>
              </a:endParaRPr>
            </a:p>
          </p:txBody>
        </p:sp>
      </p:grpSp>
      <p:grpSp>
        <p:nvGrpSpPr>
          <p:cNvPr id="65" name="Group 64"/>
          <p:cNvGrpSpPr/>
          <p:nvPr/>
        </p:nvGrpSpPr>
        <p:grpSpPr>
          <a:xfrm>
            <a:off x="1153463" y="815896"/>
            <a:ext cx="1234491" cy="3915800"/>
            <a:chOff x="1566810" y="964941"/>
            <a:chExt cx="1234491" cy="5221067"/>
          </a:xfrm>
        </p:grpSpPr>
        <p:sp>
          <p:nvSpPr>
            <p:cNvPr id="66" name="Trapezoid 65"/>
            <p:cNvSpPr/>
            <p:nvPr/>
          </p:nvSpPr>
          <p:spPr>
            <a:xfrm rot="5400000">
              <a:off x="-426478" y="2958229"/>
              <a:ext cx="5221067" cy="1234491"/>
            </a:xfrm>
            <a:prstGeom prst="trapezoid">
              <a:avLst/>
            </a:prstGeom>
            <a:solidFill>
              <a:srgbClr val="003F72">
                <a:alpha val="82000"/>
              </a:srgb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vert270" wrap="square" lIns="91436" tIns="45718" rIns="91436" bIns="45718" numCol="1" rtlCol="0" anchor="ctr" anchorCtr="0" compatLnSpc="1">
              <a:prstTxWarp prst="textNoShape">
                <a:avLst/>
              </a:prstTxWarp>
            </a:bodyPr>
            <a:lstStyle/>
            <a:p>
              <a:pPr algn="ctr" defTabSz="685580"/>
              <a:r>
                <a:rPr lang="en-US" dirty="0">
                  <a:gradFill>
                    <a:gsLst>
                      <a:gs pos="0">
                        <a:srgbClr val="FFFFFF"/>
                      </a:gs>
                      <a:gs pos="100000">
                        <a:srgbClr val="FFFFFF"/>
                      </a:gs>
                    </a:gsLst>
                    <a:lin ang="5400000" scaled="0"/>
                  </a:gradFill>
                </a:rPr>
                <a:t>Self Service</a:t>
              </a:r>
            </a:p>
            <a:p>
              <a:pPr algn="ctr" defTabSz="685580"/>
              <a:r>
                <a:rPr lang="en-US" dirty="0">
                  <a:gradFill>
                    <a:gsLst>
                      <a:gs pos="0">
                        <a:srgbClr val="FFFFFF"/>
                      </a:gs>
                      <a:gs pos="100000">
                        <a:srgbClr val="FFFFFF"/>
                      </a:gs>
                    </a:gsLst>
                    <a:lin ang="5400000" scaled="0"/>
                  </a:gradFill>
                </a:rPr>
                <a:t>Portal</a:t>
              </a:r>
            </a:p>
            <a:p>
              <a:pPr algn="ctr" defTabSz="685580"/>
              <a:endParaRPr lang="en-US" dirty="0">
                <a:gradFill>
                  <a:gsLst>
                    <a:gs pos="0">
                      <a:srgbClr val="FFFFFF"/>
                    </a:gs>
                    <a:gs pos="100000">
                      <a:srgbClr val="FFFFFF"/>
                    </a:gs>
                  </a:gsLst>
                  <a:lin ang="5400000" scaled="0"/>
                </a:gradFill>
              </a:endParaRPr>
            </a:p>
          </p:txBody>
        </p:sp>
        <p:grpSp>
          <p:nvGrpSpPr>
            <p:cNvPr id="67" name="Group 167"/>
            <p:cNvGrpSpPr>
              <a:grpSpLocks/>
            </p:cNvGrpSpPr>
            <p:nvPr/>
          </p:nvGrpSpPr>
          <p:grpSpPr bwMode="auto">
            <a:xfrm>
              <a:off x="1884741" y="4029582"/>
              <a:ext cx="513008" cy="563562"/>
              <a:chOff x="2830513" y="1652588"/>
              <a:chExt cx="419100" cy="346075"/>
            </a:xfrm>
          </p:grpSpPr>
          <p:sp>
            <p:nvSpPr>
              <p:cNvPr id="68" name="AutoShape 3"/>
              <p:cNvSpPr>
                <a:spLocks noChangeAspect="1" noChangeArrowheads="1" noTextEdit="1"/>
              </p:cNvSpPr>
              <p:nvPr/>
            </p:nvSpPr>
            <p:spPr bwMode="auto">
              <a:xfrm>
                <a:off x="2830513" y="1652588"/>
                <a:ext cx="419100" cy="346075"/>
              </a:xfrm>
              <a:prstGeom prst="rect">
                <a:avLst/>
              </a:prstGeom>
              <a:noFill/>
              <a:ln w="9525">
                <a:noFill/>
                <a:miter lim="800000"/>
                <a:headEnd/>
                <a:tailEnd/>
              </a:ln>
            </p:spPr>
            <p:txBody>
              <a:bodyPr/>
              <a:lstStyle/>
              <a:p>
                <a:pPr defTabSz="684616" fontAlgn="base">
                  <a:spcBef>
                    <a:spcPct val="0"/>
                  </a:spcBef>
                  <a:spcAft>
                    <a:spcPct val="0"/>
                  </a:spcAft>
                  <a:defRPr/>
                </a:pPr>
                <a:endParaRPr lang="en-US" sz="1100" kern="0">
                  <a:solidFill>
                    <a:srgbClr val="FFFFFF"/>
                  </a:solidFill>
                  <a:latin typeface="Segoe Light" charset="0"/>
                  <a:cs typeface="Arial" charset="0"/>
                </a:endParaRPr>
              </a:p>
            </p:txBody>
          </p:sp>
          <p:sp>
            <p:nvSpPr>
              <p:cNvPr id="69" name="Freeform 5"/>
              <p:cNvSpPr>
                <a:spLocks/>
              </p:cNvSpPr>
              <p:nvPr/>
            </p:nvSpPr>
            <p:spPr bwMode="auto">
              <a:xfrm>
                <a:off x="2855913" y="1684338"/>
                <a:ext cx="161925" cy="225425"/>
              </a:xfrm>
              <a:custGeom>
                <a:avLst/>
                <a:gdLst>
                  <a:gd name="T0" fmla="*/ 2147483647 w 102"/>
                  <a:gd name="T1" fmla="*/ 2147483647 h 142"/>
                  <a:gd name="T2" fmla="*/ 2147483647 w 102"/>
                  <a:gd name="T3" fmla="*/ 2147483647 h 142"/>
                  <a:gd name="T4" fmla="*/ 2147483647 w 102"/>
                  <a:gd name="T5" fmla="*/ 2147483647 h 142"/>
                  <a:gd name="T6" fmla="*/ 0 w 102"/>
                  <a:gd name="T7" fmla="*/ 2147483647 h 142"/>
                  <a:gd name="T8" fmla="*/ 0 w 102"/>
                  <a:gd name="T9" fmla="*/ 2147483647 h 142"/>
                  <a:gd name="T10" fmla="*/ 2147483647 w 102"/>
                  <a:gd name="T11" fmla="*/ 2147483647 h 142"/>
                  <a:gd name="T12" fmla="*/ 2147483647 w 102"/>
                  <a:gd name="T13" fmla="*/ 0 h 142"/>
                  <a:gd name="T14" fmla="*/ 2147483647 w 102"/>
                  <a:gd name="T15" fmla="*/ 0 h 142"/>
                  <a:gd name="T16" fmla="*/ 2147483647 w 102"/>
                  <a:gd name="T17" fmla="*/ 2147483647 h 142"/>
                  <a:gd name="T18" fmla="*/ 2147483647 w 102"/>
                  <a:gd name="T19" fmla="*/ 2147483647 h 142"/>
                  <a:gd name="T20" fmla="*/ 2147483647 w 102"/>
                  <a:gd name="T21" fmla="*/ 2147483647 h 142"/>
                  <a:gd name="T22" fmla="*/ 2147483647 w 102"/>
                  <a:gd name="T23" fmla="*/ 2147483647 h 142"/>
                  <a:gd name="T24" fmla="*/ 2147483647 w 102"/>
                  <a:gd name="T25" fmla="*/ 2147483647 h 142"/>
                  <a:gd name="T26" fmla="*/ 2147483647 w 102"/>
                  <a:gd name="T27" fmla="*/ 2147483647 h 142"/>
                  <a:gd name="T28" fmla="*/ 2147483647 w 102"/>
                  <a:gd name="T29" fmla="*/ 2147483647 h 142"/>
                  <a:gd name="T30" fmla="*/ 2147483647 w 102"/>
                  <a:gd name="T31" fmla="*/ 2147483647 h 142"/>
                  <a:gd name="T32" fmla="*/ 2147483647 w 102"/>
                  <a:gd name="T33" fmla="*/ 2147483647 h 142"/>
                  <a:gd name="T34" fmla="*/ 2147483647 w 102"/>
                  <a:gd name="T35" fmla="*/ 2147483647 h 142"/>
                  <a:gd name="T36" fmla="*/ 2147483647 w 102"/>
                  <a:gd name="T37" fmla="*/ 2147483647 h 142"/>
                  <a:gd name="T38" fmla="*/ 2147483647 w 102"/>
                  <a:gd name="T39" fmla="*/ 2147483647 h 142"/>
                  <a:gd name="T40" fmla="*/ 2147483647 w 102"/>
                  <a:gd name="T41" fmla="*/ 2147483647 h 142"/>
                  <a:gd name="T42" fmla="*/ 2147483647 w 102"/>
                  <a:gd name="T43" fmla="*/ 2147483647 h 142"/>
                  <a:gd name="T44" fmla="*/ 2147483647 w 102"/>
                  <a:gd name="T45" fmla="*/ 2147483647 h 142"/>
                  <a:gd name="T46" fmla="*/ 2147483647 w 102"/>
                  <a:gd name="T47" fmla="*/ 2147483647 h 142"/>
                  <a:gd name="T48" fmla="*/ 2147483647 w 102"/>
                  <a:gd name="T49" fmla="*/ 2147483647 h 142"/>
                  <a:gd name="T50" fmla="*/ 2147483647 w 102"/>
                  <a:gd name="T51" fmla="*/ 2147483647 h 142"/>
                  <a:gd name="T52" fmla="*/ 2147483647 w 102"/>
                  <a:gd name="T53" fmla="*/ 2147483647 h 142"/>
                  <a:gd name="T54" fmla="*/ 2147483647 w 102"/>
                  <a:gd name="T55" fmla="*/ 2147483647 h 142"/>
                  <a:gd name="T56" fmla="*/ 2147483647 w 102"/>
                  <a:gd name="T57" fmla="*/ 2147483647 h 142"/>
                  <a:gd name="T58" fmla="*/ 2147483647 w 102"/>
                  <a:gd name="T59" fmla="*/ 2147483647 h 142"/>
                  <a:gd name="T60" fmla="*/ 2147483647 w 102"/>
                  <a:gd name="T61" fmla="*/ 2147483647 h 142"/>
                  <a:gd name="T62" fmla="*/ 2147483647 w 102"/>
                  <a:gd name="T63" fmla="*/ 2147483647 h 142"/>
                  <a:gd name="T64" fmla="*/ 2147483647 w 102"/>
                  <a:gd name="T65" fmla="*/ 2147483647 h 142"/>
                  <a:gd name="T66" fmla="*/ 2147483647 w 102"/>
                  <a:gd name="T67" fmla="*/ 2147483647 h 142"/>
                  <a:gd name="T68" fmla="*/ 2147483647 w 102"/>
                  <a:gd name="T69" fmla="*/ 2147483647 h 142"/>
                  <a:gd name="T70" fmla="*/ 2147483647 w 102"/>
                  <a:gd name="T71" fmla="*/ 2147483647 h 142"/>
                  <a:gd name="T72" fmla="*/ 2147483647 w 102"/>
                  <a:gd name="T73" fmla="*/ 2147483647 h 142"/>
                  <a:gd name="T74" fmla="*/ 2147483647 w 102"/>
                  <a:gd name="T75" fmla="*/ 2147483647 h 142"/>
                  <a:gd name="T76" fmla="*/ 2147483647 w 102"/>
                  <a:gd name="T77" fmla="*/ 2147483647 h 142"/>
                  <a:gd name="T78" fmla="*/ 2147483647 w 102"/>
                  <a:gd name="T79" fmla="*/ 2147483647 h 142"/>
                  <a:gd name="T80" fmla="*/ 2147483647 w 102"/>
                  <a:gd name="T81" fmla="*/ 2147483647 h 142"/>
                  <a:gd name="T82" fmla="*/ 2147483647 w 102"/>
                  <a:gd name="T83" fmla="*/ 2147483647 h 142"/>
                  <a:gd name="T84" fmla="*/ 2147483647 w 102"/>
                  <a:gd name="T85" fmla="*/ 2147483647 h 142"/>
                  <a:gd name="T86" fmla="*/ 2147483647 w 102"/>
                  <a:gd name="T87" fmla="*/ 2147483647 h 142"/>
                  <a:gd name="T88" fmla="*/ 2147483647 w 102"/>
                  <a:gd name="T89" fmla="*/ 2147483647 h 142"/>
                  <a:gd name="T90" fmla="*/ 2147483647 w 102"/>
                  <a:gd name="T91" fmla="*/ 2147483647 h 142"/>
                  <a:gd name="T92" fmla="*/ 2147483647 w 102"/>
                  <a:gd name="T93" fmla="*/ 2147483647 h 142"/>
                  <a:gd name="T94" fmla="*/ 2147483647 w 102"/>
                  <a:gd name="T95" fmla="*/ 2147483647 h 142"/>
                  <a:gd name="T96" fmla="*/ 2147483647 w 102"/>
                  <a:gd name="T97" fmla="*/ 2147483647 h 142"/>
                  <a:gd name="T98" fmla="*/ 2147483647 w 102"/>
                  <a:gd name="T99" fmla="*/ 2147483647 h 142"/>
                  <a:gd name="T100" fmla="*/ 2147483647 w 102"/>
                  <a:gd name="T101" fmla="*/ 2147483647 h 142"/>
                  <a:gd name="T102" fmla="*/ 2147483647 w 102"/>
                  <a:gd name="T103" fmla="*/ 2147483647 h 142"/>
                  <a:gd name="T104" fmla="*/ 2147483647 w 102"/>
                  <a:gd name="T105" fmla="*/ 2147483647 h 142"/>
                  <a:gd name="T106" fmla="*/ 2147483647 w 102"/>
                  <a:gd name="T107" fmla="*/ 2147483647 h 142"/>
                  <a:gd name="T108" fmla="*/ 2147483647 w 102"/>
                  <a:gd name="T109" fmla="*/ 2147483647 h 142"/>
                  <a:gd name="T110" fmla="*/ 2147483647 w 102"/>
                  <a:gd name="T111" fmla="*/ 2147483647 h 142"/>
                  <a:gd name="T112" fmla="*/ 2147483647 w 102"/>
                  <a:gd name="T113" fmla="*/ 2147483647 h 142"/>
                  <a:gd name="T114" fmla="*/ 2147483647 w 102"/>
                  <a:gd name="T115" fmla="*/ 2147483647 h 142"/>
                  <a:gd name="T116" fmla="*/ 2147483647 w 102"/>
                  <a:gd name="T117" fmla="*/ 2147483647 h 142"/>
                  <a:gd name="T118" fmla="*/ 2147483647 w 102"/>
                  <a:gd name="T119" fmla="*/ 2147483647 h 142"/>
                  <a:gd name="T120" fmla="*/ 2147483647 w 102"/>
                  <a:gd name="T121" fmla="*/ 2147483647 h 14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02"/>
                  <a:gd name="T184" fmla="*/ 0 h 142"/>
                  <a:gd name="T185" fmla="*/ 102 w 102"/>
                  <a:gd name="T186" fmla="*/ 142 h 14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02" h="142">
                    <a:moveTo>
                      <a:pt x="94" y="142"/>
                    </a:moveTo>
                    <a:lnTo>
                      <a:pt x="6" y="142"/>
                    </a:lnTo>
                    <a:lnTo>
                      <a:pt x="2" y="140"/>
                    </a:lnTo>
                    <a:lnTo>
                      <a:pt x="0" y="134"/>
                    </a:lnTo>
                    <a:lnTo>
                      <a:pt x="0" y="8"/>
                    </a:lnTo>
                    <a:lnTo>
                      <a:pt x="2" y="2"/>
                    </a:lnTo>
                    <a:lnTo>
                      <a:pt x="6" y="0"/>
                    </a:lnTo>
                    <a:lnTo>
                      <a:pt x="94" y="0"/>
                    </a:lnTo>
                    <a:lnTo>
                      <a:pt x="100" y="2"/>
                    </a:lnTo>
                    <a:lnTo>
                      <a:pt x="102" y="8"/>
                    </a:lnTo>
                    <a:lnTo>
                      <a:pt x="102" y="134"/>
                    </a:lnTo>
                    <a:lnTo>
                      <a:pt x="100" y="140"/>
                    </a:lnTo>
                    <a:lnTo>
                      <a:pt x="94" y="142"/>
                    </a:lnTo>
                    <a:lnTo>
                      <a:pt x="86" y="74"/>
                    </a:lnTo>
                    <a:lnTo>
                      <a:pt x="88" y="72"/>
                    </a:lnTo>
                    <a:lnTo>
                      <a:pt x="90" y="70"/>
                    </a:lnTo>
                    <a:lnTo>
                      <a:pt x="88" y="66"/>
                    </a:lnTo>
                    <a:lnTo>
                      <a:pt x="86" y="66"/>
                    </a:lnTo>
                    <a:lnTo>
                      <a:pt x="18" y="66"/>
                    </a:lnTo>
                    <a:lnTo>
                      <a:pt x="14" y="66"/>
                    </a:lnTo>
                    <a:lnTo>
                      <a:pt x="14" y="70"/>
                    </a:lnTo>
                    <a:lnTo>
                      <a:pt x="14" y="72"/>
                    </a:lnTo>
                    <a:lnTo>
                      <a:pt x="18" y="74"/>
                    </a:lnTo>
                    <a:lnTo>
                      <a:pt x="86" y="74"/>
                    </a:lnTo>
                    <a:lnTo>
                      <a:pt x="94" y="142"/>
                    </a:lnTo>
                    <a:lnTo>
                      <a:pt x="86" y="48"/>
                    </a:lnTo>
                    <a:lnTo>
                      <a:pt x="88" y="46"/>
                    </a:lnTo>
                    <a:lnTo>
                      <a:pt x="90" y="44"/>
                    </a:lnTo>
                    <a:lnTo>
                      <a:pt x="88" y="40"/>
                    </a:lnTo>
                    <a:lnTo>
                      <a:pt x="86" y="40"/>
                    </a:lnTo>
                    <a:lnTo>
                      <a:pt x="18" y="40"/>
                    </a:lnTo>
                    <a:lnTo>
                      <a:pt x="14" y="40"/>
                    </a:lnTo>
                    <a:lnTo>
                      <a:pt x="14" y="44"/>
                    </a:lnTo>
                    <a:lnTo>
                      <a:pt x="14" y="46"/>
                    </a:lnTo>
                    <a:lnTo>
                      <a:pt x="18" y="48"/>
                    </a:lnTo>
                    <a:lnTo>
                      <a:pt x="86" y="48"/>
                    </a:lnTo>
                    <a:lnTo>
                      <a:pt x="94" y="142"/>
                    </a:lnTo>
                    <a:lnTo>
                      <a:pt x="86" y="100"/>
                    </a:lnTo>
                    <a:lnTo>
                      <a:pt x="18" y="100"/>
                    </a:lnTo>
                    <a:lnTo>
                      <a:pt x="14" y="100"/>
                    </a:lnTo>
                    <a:lnTo>
                      <a:pt x="14" y="96"/>
                    </a:lnTo>
                    <a:lnTo>
                      <a:pt x="14" y="94"/>
                    </a:lnTo>
                    <a:lnTo>
                      <a:pt x="18" y="92"/>
                    </a:lnTo>
                    <a:lnTo>
                      <a:pt x="86" y="92"/>
                    </a:lnTo>
                    <a:lnTo>
                      <a:pt x="88" y="94"/>
                    </a:lnTo>
                    <a:lnTo>
                      <a:pt x="90" y="96"/>
                    </a:lnTo>
                    <a:lnTo>
                      <a:pt x="88" y="100"/>
                    </a:lnTo>
                    <a:lnTo>
                      <a:pt x="86" y="100"/>
                    </a:lnTo>
                    <a:lnTo>
                      <a:pt x="94" y="142"/>
                    </a:lnTo>
                    <a:lnTo>
                      <a:pt x="86" y="128"/>
                    </a:lnTo>
                    <a:lnTo>
                      <a:pt x="18" y="128"/>
                    </a:lnTo>
                    <a:lnTo>
                      <a:pt x="14" y="126"/>
                    </a:lnTo>
                    <a:lnTo>
                      <a:pt x="14" y="124"/>
                    </a:lnTo>
                    <a:lnTo>
                      <a:pt x="14" y="120"/>
                    </a:lnTo>
                    <a:lnTo>
                      <a:pt x="18" y="120"/>
                    </a:lnTo>
                    <a:lnTo>
                      <a:pt x="86" y="120"/>
                    </a:lnTo>
                    <a:lnTo>
                      <a:pt x="88" y="120"/>
                    </a:lnTo>
                    <a:lnTo>
                      <a:pt x="90" y="124"/>
                    </a:lnTo>
                    <a:lnTo>
                      <a:pt x="88" y="126"/>
                    </a:lnTo>
                    <a:lnTo>
                      <a:pt x="86" y="128"/>
                    </a:lnTo>
                    <a:lnTo>
                      <a:pt x="94" y="142"/>
                    </a:lnTo>
                    <a:close/>
                  </a:path>
                </a:pathLst>
              </a:custGeom>
              <a:solidFill>
                <a:srgbClr val="FFFFFF"/>
              </a:solidFill>
              <a:ln w="9525">
                <a:noFill/>
                <a:round/>
                <a:headEnd/>
                <a:tailEnd/>
              </a:ln>
            </p:spPr>
            <p:txBody>
              <a:bodyPr/>
              <a:lstStyle/>
              <a:p>
                <a:pPr defTabSz="684616" fontAlgn="base">
                  <a:spcBef>
                    <a:spcPct val="0"/>
                  </a:spcBef>
                  <a:spcAft>
                    <a:spcPct val="0"/>
                  </a:spcAft>
                  <a:defRPr/>
                </a:pPr>
                <a:endParaRPr lang="en-US" sz="1100" kern="0">
                  <a:solidFill>
                    <a:srgbClr val="FFFFFF"/>
                  </a:solidFill>
                  <a:latin typeface="Segoe Light" charset="0"/>
                  <a:cs typeface="Arial" charset="0"/>
                </a:endParaRPr>
              </a:p>
            </p:txBody>
          </p:sp>
          <p:sp>
            <p:nvSpPr>
              <p:cNvPr id="70" name="Freeform 6"/>
              <p:cNvSpPr>
                <a:spLocks/>
              </p:cNvSpPr>
              <p:nvPr/>
            </p:nvSpPr>
            <p:spPr bwMode="auto">
              <a:xfrm>
                <a:off x="2830513" y="1652588"/>
                <a:ext cx="419100" cy="346075"/>
              </a:xfrm>
              <a:custGeom>
                <a:avLst/>
                <a:gdLst>
                  <a:gd name="T0" fmla="*/ 2147483647 w 264"/>
                  <a:gd name="T1" fmla="*/ 2147483647 h 218"/>
                  <a:gd name="T2" fmla="*/ 2147483647 w 264"/>
                  <a:gd name="T3" fmla="*/ 2147483647 h 218"/>
                  <a:gd name="T4" fmla="*/ 2147483647 w 264"/>
                  <a:gd name="T5" fmla="*/ 2147483647 h 218"/>
                  <a:gd name="T6" fmla="*/ 2147483647 w 264"/>
                  <a:gd name="T7" fmla="*/ 2147483647 h 218"/>
                  <a:gd name="T8" fmla="*/ 2147483647 w 264"/>
                  <a:gd name="T9" fmla="*/ 2147483647 h 218"/>
                  <a:gd name="T10" fmla="*/ 2147483647 w 264"/>
                  <a:gd name="T11" fmla="*/ 2147483647 h 218"/>
                  <a:gd name="T12" fmla="*/ 2147483647 w 264"/>
                  <a:gd name="T13" fmla="*/ 2147483647 h 218"/>
                  <a:gd name="T14" fmla="*/ 2147483647 w 264"/>
                  <a:gd name="T15" fmla="*/ 2147483647 h 218"/>
                  <a:gd name="T16" fmla="*/ 2147483647 w 264"/>
                  <a:gd name="T17" fmla="*/ 2147483647 h 218"/>
                  <a:gd name="T18" fmla="*/ 2147483647 w 264"/>
                  <a:gd name="T19" fmla="*/ 2147483647 h 218"/>
                  <a:gd name="T20" fmla="*/ 2147483647 w 264"/>
                  <a:gd name="T21" fmla="*/ 2147483647 h 218"/>
                  <a:gd name="T22" fmla="*/ 2147483647 w 264"/>
                  <a:gd name="T23" fmla="*/ 2147483647 h 218"/>
                  <a:gd name="T24" fmla="*/ 2147483647 w 264"/>
                  <a:gd name="T25" fmla="*/ 2147483647 h 218"/>
                  <a:gd name="T26" fmla="*/ 2147483647 w 264"/>
                  <a:gd name="T27" fmla="*/ 2147483647 h 218"/>
                  <a:gd name="T28" fmla="*/ 2147483647 w 264"/>
                  <a:gd name="T29" fmla="*/ 2147483647 h 218"/>
                  <a:gd name="T30" fmla="*/ 2147483647 w 264"/>
                  <a:gd name="T31" fmla="*/ 2147483647 h 218"/>
                  <a:gd name="T32" fmla="*/ 2147483647 w 264"/>
                  <a:gd name="T33" fmla="*/ 2147483647 h 218"/>
                  <a:gd name="T34" fmla="*/ 2147483647 w 264"/>
                  <a:gd name="T35" fmla="*/ 2147483647 h 218"/>
                  <a:gd name="T36" fmla="*/ 2147483647 w 264"/>
                  <a:gd name="T37" fmla="*/ 2147483647 h 218"/>
                  <a:gd name="T38" fmla="*/ 2147483647 w 264"/>
                  <a:gd name="T39" fmla="*/ 2147483647 h 218"/>
                  <a:gd name="T40" fmla="*/ 2147483647 w 264"/>
                  <a:gd name="T41" fmla="*/ 2147483647 h 218"/>
                  <a:gd name="T42" fmla="*/ 2147483647 w 264"/>
                  <a:gd name="T43" fmla="*/ 2147483647 h 218"/>
                  <a:gd name="T44" fmla="*/ 2147483647 w 264"/>
                  <a:gd name="T45" fmla="*/ 2147483647 h 218"/>
                  <a:gd name="T46" fmla="*/ 2147483647 w 264"/>
                  <a:gd name="T47" fmla="*/ 2147483647 h 218"/>
                  <a:gd name="T48" fmla="*/ 2147483647 w 264"/>
                  <a:gd name="T49" fmla="*/ 2147483647 h 218"/>
                  <a:gd name="T50" fmla="*/ 2147483647 w 264"/>
                  <a:gd name="T51" fmla="*/ 2147483647 h 218"/>
                  <a:gd name="T52" fmla="*/ 2147483647 w 264"/>
                  <a:gd name="T53" fmla="*/ 2147483647 h 218"/>
                  <a:gd name="T54" fmla="*/ 2147483647 w 264"/>
                  <a:gd name="T55" fmla="*/ 2147483647 h 218"/>
                  <a:gd name="T56" fmla="*/ 2147483647 w 264"/>
                  <a:gd name="T57" fmla="*/ 2147483647 h 218"/>
                  <a:gd name="T58" fmla="*/ 2147483647 w 264"/>
                  <a:gd name="T59" fmla="*/ 2147483647 h 218"/>
                  <a:gd name="T60" fmla="*/ 2147483647 w 264"/>
                  <a:gd name="T61" fmla="*/ 2147483647 h 218"/>
                  <a:gd name="T62" fmla="*/ 2147483647 w 264"/>
                  <a:gd name="T63" fmla="*/ 2147483647 h 218"/>
                  <a:gd name="T64" fmla="*/ 2147483647 w 264"/>
                  <a:gd name="T65" fmla="*/ 2147483647 h 218"/>
                  <a:gd name="T66" fmla="*/ 2147483647 w 264"/>
                  <a:gd name="T67" fmla="*/ 2147483647 h 218"/>
                  <a:gd name="T68" fmla="*/ 0 w 264"/>
                  <a:gd name="T69" fmla="*/ 2147483647 h 218"/>
                  <a:gd name="T70" fmla="*/ 2147483647 w 264"/>
                  <a:gd name="T71" fmla="*/ 2147483647 h 218"/>
                  <a:gd name="T72" fmla="*/ 2147483647 w 264"/>
                  <a:gd name="T73" fmla="*/ 0 h 218"/>
                  <a:gd name="T74" fmla="*/ 2147483647 w 264"/>
                  <a:gd name="T75" fmla="*/ 2147483647 h 218"/>
                  <a:gd name="T76" fmla="*/ 2147483647 w 264"/>
                  <a:gd name="T77" fmla="*/ 2147483647 h 218"/>
                  <a:gd name="T78" fmla="*/ 2147483647 w 264"/>
                  <a:gd name="T79" fmla="*/ 2147483647 h 218"/>
                  <a:gd name="T80" fmla="*/ 2147483647 w 264"/>
                  <a:gd name="T81" fmla="*/ 2147483647 h 21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64"/>
                  <a:gd name="T124" fmla="*/ 0 h 218"/>
                  <a:gd name="T125" fmla="*/ 264 w 264"/>
                  <a:gd name="T126" fmla="*/ 218 h 21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64" h="218">
                    <a:moveTo>
                      <a:pt x="238" y="116"/>
                    </a:moveTo>
                    <a:lnTo>
                      <a:pt x="172" y="108"/>
                    </a:lnTo>
                    <a:lnTo>
                      <a:pt x="198" y="168"/>
                    </a:lnTo>
                    <a:lnTo>
                      <a:pt x="206" y="144"/>
                    </a:lnTo>
                    <a:lnTo>
                      <a:pt x="254" y="180"/>
                    </a:lnTo>
                    <a:lnTo>
                      <a:pt x="256" y="180"/>
                    </a:lnTo>
                    <a:lnTo>
                      <a:pt x="260" y="178"/>
                    </a:lnTo>
                    <a:lnTo>
                      <a:pt x="262" y="176"/>
                    </a:lnTo>
                    <a:lnTo>
                      <a:pt x="262" y="174"/>
                    </a:lnTo>
                    <a:lnTo>
                      <a:pt x="264" y="172"/>
                    </a:lnTo>
                    <a:lnTo>
                      <a:pt x="262" y="168"/>
                    </a:lnTo>
                    <a:lnTo>
                      <a:pt x="216" y="134"/>
                    </a:lnTo>
                    <a:lnTo>
                      <a:pt x="238" y="116"/>
                    </a:lnTo>
                    <a:lnTo>
                      <a:pt x="156" y="14"/>
                    </a:lnTo>
                    <a:lnTo>
                      <a:pt x="176" y="14"/>
                    </a:lnTo>
                    <a:lnTo>
                      <a:pt x="176" y="16"/>
                    </a:lnTo>
                    <a:lnTo>
                      <a:pt x="156" y="16"/>
                    </a:lnTo>
                    <a:lnTo>
                      <a:pt x="156" y="14"/>
                    </a:lnTo>
                    <a:lnTo>
                      <a:pt x="238" y="116"/>
                    </a:lnTo>
                    <a:lnTo>
                      <a:pt x="156" y="18"/>
                    </a:lnTo>
                    <a:lnTo>
                      <a:pt x="176" y="18"/>
                    </a:lnTo>
                    <a:lnTo>
                      <a:pt x="176" y="32"/>
                    </a:lnTo>
                    <a:lnTo>
                      <a:pt x="156" y="32"/>
                    </a:lnTo>
                    <a:lnTo>
                      <a:pt x="156" y="18"/>
                    </a:lnTo>
                    <a:lnTo>
                      <a:pt x="238" y="116"/>
                    </a:lnTo>
                    <a:lnTo>
                      <a:pt x="142" y="30"/>
                    </a:lnTo>
                    <a:lnTo>
                      <a:pt x="118" y="30"/>
                    </a:lnTo>
                    <a:lnTo>
                      <a:pt x="118" y="28"/>
                    </a:lnTo>
                    <a:lnTo>
                      <a:pt x="142" y="28"/>
                    </a:lnTo>
                    <a:lnTo>
                      <a:pt x="142" y="30"/>
                    </a:lnTo>
                    <a:lnTo>
                      <a:pt x="238" y="116"/>
                    </a:lnTo>
                    <a:lnTo>
                      <a:pt x="192" y="30"/>
                    </a:lnTo>
                    <a:lnTo>
                      <a:pt x="198" y="22"/>
                    </a:lnTo>
                    <a:lnTo>
                      <a:pt x="192" y="16"/>
                    </a:lnTo>
                    <a:lnTo>
                      <a:pt x="198" y="16"/>
                    </a:lnTo>
                    <a:lnTo>
                      <a:pt x="200" y="20"/>
                    </a:lnTo>
                    <a:lnTo>
                      <a:pt x="202" y="16"/>
                    </a:lnTo>
                    <a:lnTo>
                      <a:pt x="206" y="16"/>
                    </a:lnTo>
                    <a:lnTo>
                      <a:pt x="202" y="22"/>
                    </a:lnTo>
                    <a:lnTo>
                      <a:pt x="208" y="30"/>
                    </a:lnTo>
                    <a:lnTo>
                      <a:pt x="202" y="30"/>
                    </a:lnTo>
                    <a:lnTo>
                      <a:pt x="200" y="26"/>
                    </a:lnTo>
                    <a:lnTo>
                      <a:pt x="196" y="30"/>
                    </a:lnTo>
                    <a:lnTo>
                      <a:pt x="192" y="30"/>
                    </a:lnTo>
                    <a:lnTo>
                      <a:pt x="238" y="116"/>
                    </a:lnTo>
                    <a:lnTo>
                      <a:pt x="216" y="40"/>
                    </a:lnTo>
                    <a:lnTo>
                      <a:pt x="8" y="40"/>
                    </a:lnTo>
                    <a:lnTo>
                      <a:pt x="8" y="196"/>
                    </a:lnTo>
                    <a:lnTo>
                      <a:pt x="10" y="202"/>
                    </a:lnTo>
                    <a:lnTo>
                      <a:pt x="12" y="206"/>
                    </a:lnTo>
                    <a:lnTo>
                      <a:pt x="18" y="210"/>
                    </a:lnTo>
                    <a:lnTo>
                      <a:pt x="24" y="210"/>
                    </a:lnTo>
                    <a:lnTo>
                      <a:pt x="202" y="210"/>
                    </a:lnTo>
                    <a:lnTo>
                      <a:pt x="208" y="210"/>
                    </a:lnTo>
                    <a:lnTo>
                      <a:pt x="212" y="206"/>
                    </a:lnTo>
                    <a:lnTo>
                      <a:pt x="216" y="202"/>
                    </a:lnTo>
                    <a:lnTo>
                      <a:pt x="216" y="196"/>
                    </a:lnTo>
                    <a:lnTo>
                      <a:pt x="216" y="162"/>
                    </a:lnTo>
                    <a:lnTo>
                      <a:pt x="224" y="168"/>
                    </a:lnTo>
                    <a:lnTo>
                      <a:pt x="224" y="196"/>
                    </a:lnTo>
                    <a:lnTo>
                      <a:pt x="222" y="204"/>
                    </a:lnTo>
                    <a:lnTo>
                      <a:pt x="218" y="212"/>
                    </a:lnTo>
                    <a:lnTo>
                      <a:pt x="210" y="216"/>
                    </a:lnTo>
                    <a:lnTo>
                      <a:pt x="202" y="218"/>
                    </a:lnTo>
                    <a:lnTo>
                      <a:pt x="24" y="218"/>
                    </a:lnTo>
                    <a:lnTo>
                      <a:pt x="14" y="216"/>
                    </a:lnTo>
                    <a:lnTo>
                      <a:pt x="8" y="212"/>
                    </a:lnTo>
                    <a:lnTo>
                      <a:pt x="2" y="204"/>
                    </a:lnTo>
                    <a:lnTo>
                      <a:pt x="0" y="196"/>
                    </a:lnTo>
                    <a:lnTo>
                      <a:pt x="0" y="24"/>
                    </a:lnTo>
                    <a:lnTo>
                      <a:pt x="2" y="14"/>
                    </a:lnTo>
                    <a:lnTo>
                      <a:pt x="8" y="8"/>
                    </a:lnTo>
                    <a:lnTo>
                      <a:pt x="14" y="2"/>
                    </a:lnTo>
                    <a:lnTo>
                      <a:pt x="24" y="0"/>
                    </a:lnTo>
                    <a:lnTo>
                      <a:pt x="202" y="0"/>
                    </a:lnTo>
                    <a:lnTo>
                      <a:pt x="210" y="2"/>
                    </a:lnTo>
                    <a:lnTo>
                      <a:pt x="218" y="8"/>
                    </a:lnTo>
                    <a:lnTo>
                      <a:pt x="222" y="14"/>
                    </a:lnTo>
                    <a:lnTo>
                      <a:pt x="224" y="24"/>
                    </a:lnTo>
                    <a:lnTo>
                      <a:pt x="224" y="108"/>
                    </a:lnTo>
                    <a:lnTo>
                      <a:pt x="216" y="106"/>
                    </a:lnTo>
                    <a:lnTo>
                      <a:pt x="216" y="40"/>
                    </a:lnTo>
                    <a:lnTo>
                      <a:pt x="238" y="116"/>
                    </a:lnTo>
                    <a:close/>
                  </a:path>
                </a:pathLst>
              </a:custGeom>
              <a:solidFill>
                <a:srgbClr val="FFFFFF"/>
              </a:solidFill>
              <a:ln w="9525">
                <a:noFill/>
                <a:round/>
                <a:headEnd/>
                <a:tailEnd/>
              </a:ln>
            </p:spPr>
            <p:txBody>
              <a:bodyPr/>
              <a:lstStyle/>
              <a:p>
                <a:pPr defTabSz="684616" fontAlgn="base">
                  <a:spcBef>
                    <a:spcPct val="0"/>
                  </a:spcBef>
                  <a:spcAft>
                    <a:spcPct val="0"/>
                  </a:spcAft>
                  <a:defRPr/>
                </a:pPr>
                <a:endParaRPr lang="en-US" sz="1100" kern="0">
                  <a:solidFill>
                    <a:srgbClr val="FFFFFF"/>
                  </a:solidFill>
                  <a:latin typeface="Segoe Light" charset="0"/>
                  <a:cs typeface="Arial" charset="0"/>
                </a:endParaRPr>
              </a:p>
            </p:txBody>
          </p:sp>
        </p:grpSp>
      </p:grpSp>
      <p:grpSp>
        <p:nvGrpSpPr>
          <p:cNvPr id="71" name="Group 70"/>
          <p:cNvGrpSpPr/>
          <p:nvPr/>
        </p:nvGrpSpPr>
        <p:grpSpPr>
          <a:xfrm>
            <a:off x="775156" y="4823335"/>
            <a:ext cx="8157904" cy="160734"/>
            <a:chOff x="751482" y="6291263"/>
            <a:chExt cx="8157904" cy="214312"/>
          </a:xfrm>
        </p:grpSpPr>
        <p:sp>
          <p:nvSpPr>
            <p:cNvPr id="72" name="Pentagon 71"/>
            <p:cNvSpPr/>
            <p:nvPr/>
          </p:nvSpPr>
          <p:spPr>
            <a:xfrm>
              <a:off x="7880418" y="6291263"/>
              <a:ext cx="1028968" cy="214312"/>
            </a:xfrm>
            <a:prstGeom prst="homePlate">
              <a:avLst/>
            </a:prstGeom>
            <a:gradFill>
              <a:gsLst>
                <a:gs pos="0">
                  <a:schemeClr val="tx1"/>
                </a:gs>
                <a:gs pos="53000">
                  <a:schemeClr val="tx1">
                    <a:lumMod val="72000"/>
                  </a:schemeClr>
                </a:gs>
              </a:gsLst>
              <a:lin ang="0" scaled="1"/>
            </a:gradFill>
            <a:ln w="9525" cap="flat" cmpd="sng" algn="ctr">
              <a:noFill/>
              <a:prstDash val="solid"/>
              <a:headEnd type="none" w="med" len="med"/>
              <a:tailEnd type="none" w="med" len="med"/>
            </a:ln>
            <a:effectLst>
              <a:innerShdw blurRad="25400" dist="38100">
                <a:prstClr val="black">
                  <a:alpha val="48000"/>
                </a:prstClr>
              </a:innerShdw>
            </a:effectLst>
          </p:spPr>
          <p:txBody>
            <a:bodyPr vert="horz" wrap="square" lIns="109833" tIns="45720" rIns="109833" bIns="54916" numCol="1" rtlCol="0" anchor="ctr" anchorCtr="0" compatLnSpc="1">
              <a:prstTxWarp prst="textNoShape">
                <a:avLst/>
              </a:prstTxWarp>
            </a:bodyPr>
            <a:lstStyle/>
            <a:p>
              <a:pPr algn="ctr" defTabSz="685580" fontAlgn="base">
                <a:spcBef>
                  <a:spcPct val="0"/>
                </a:spcBef>
                <a:spcAft>
                  <a:spcPct val="0"/>
                </a:spcAft>
              </a:pPr>
              <a:r>
                <a:rPr lang="en-US" sz="900" dirty="0">
                  <a:solidFill>
                    <a:srgbClr val="000000">
                      <a:lumMod val="95000"/>
                      <a:lumOff val="5000"/>
                      <a:alpha val="99000"/>
                    </a:srgbClr>
                  </a:solidFill>
                  <a:latin typeface="Segoe" pitchFamily="34" charset="0"/>
                  <a:cs typeface="Arial" pitchFamily="34" charset="0"/>
                </a:rPr>
                <a:t>Infra</a:t>
              </a:r>
            </a:p>
          </p:txBody>
        </p:sp>
        <p:sp>
          <p:nvSpPr>
            <p:cNvPr id="73" name="Pentagon 72"/>
            <p:cNvSpPr/>
            <p:nvPr/>
          </p:nvSpPr>
          <p:spPr>
            <a:xfrm>
              <a:off x="5209151" y="6291263"/>
              <a:ext cx="2743915" cy="214312"/>
            </a:xfrm>
            <a:prstGeom prst="homePlate">
              <a:avLst/>
            </a:prstGeom>
            <a:gradFill>
              <a:gsLst>
                <a:gs pos="0">
                  <a:schemeClr val="tx1"/>
                </a:gs>
                <a:gs pos="53000">
                  <a:schemeClr val="tx1">
                    <a:lumMod val="72000"/>
                  </a:schemeClr>
                </a:gs>
              </a:gsLst>
              <a:lin ang="0" scaled="1"/>
            </a:gradFill>
            <a:ln w="9525" cap="flat" cmpd="sng" algn="ctr">
              <a:noFill/>
              <a:prstDash val="solid"/>
              <a:headEnd type="none" w="med" len="med"/>
              <a:tailEnd type="none" w="med" len="med"/>
            </a:ln>
            <a:effectLst>
              <a:innerShdw blurRad="25400" dist="38100">
                <a:prstClr val="black">
                  <a:alpha val="48000"/>
                </a:prstClr>
              </a:innerShdw>
            </a:effectLst>
          </p:spPr>
          <p:txBody>
            <a:bodyPr vert="horz" wrap="square" lIns="1188720" tIns="45720" rIns="109833" bIns="54916" numCol="1" rtlCol="0" anchor="ctr" anchorCtr="0" compatLnSpc="1">
              <a:prstTxWarp prst="textNoShape">
                <a:avLst/>
              </a:prstTxWarp>
            </a:bodyPr>
            <a:lstStyle/>
            <a:p>
              <a:pPr defTabSz="823519" fontAlgn="base">
                <a:spcBef>
                  <a:spcPct val="0"/>
                </a:spcBef>
                <a:spcAft>
                  <a:spcPct val="0"/>
                </a:spcAft>
              </a:pPr>
              <a:r>
                <a:rPr lang="en-US" sz="900" dirty="0">
                  <a:solidFill>
                    <a:srgbClr val="000000">
                      <a:lumMod val="95000"/>
                      <a:lumOff val="5000"/>
                      <a:alpha val="99000"/>
                    </a:srgbClr>
                  </a:solidFill>
                  <a:latin typeface="Segoe" pitchFamily="34" charset="0"/>
                  <a:cs typeface="Arial" pitchFamily="34" charset="0"/>
                </a:rPr>
                <a:t>Tools</a:t>
              </a:r>
            </a:p>
          </p:txBody>
        </p:sp>
        <p:sp>
          <p:nvSpPr>
            <p:cNvPr id="74" name="Pentagon 73"/>
            <p:cNvSpPr/>
            <p:nvPr/>
          </p:nvSpPr>
          <p:spPr>
            <a:xfrm>
              <a:off x="2524783" y="6291263"/>
              <a:ext cx="3429893" cy="214312"/>
            </a:xfrm>
            <a:prstGeom prst="homePlate">
              <a:avLst/>
            </a:prstGeom>
            <a:gradFill>
              <a:gsLst>
                <a:gs pos="0">
                  <a:schemeClr val="tx1"/>
                </a:gs>
                <a:gs pos="53000">
                  <a:schemeClr val="tx1">
                    <a:lumMod val="72000"/>
                  </a:schemeClr>
                </a:gs>
              </a:gsLst>
              <a:lin ang="0" scaled="1"/>
            </a:gradFill>
            <a:ln w="9525" cap="flat" cmpd="sng" algn="ctr">
              <a:noFill/>
              <a:prstDash val="solid"/>
              <a:headEnd type="none" w="med" len="med"/>
              <a:tailEnd type="none" w="med" len="med"/>
            </a:ln>
            <a:effectLst>
              <a:innerShdw blurRad="25400" dist="38100">
                <a:prstClr val="black">
                  <a:alpha val="48000"/>
                </a:prstClr>
              </a:innerShdw>
            </a:effectLst>
          </p:spPr>
          <p:txBody>
            <a:bodyPr vert="horz" wrap="square" lIns="109833" tIns="45720" rIns="109833" bIns="54916" numCol="1" rtlCol="0" anchor="ctr" anchorCtr="0" compatLnSpc="1">
              <a:prstTxWarp prst="textNoShape">
                <a:avLst/>
              </a:prstTxWarp>
            </a:bodyPr>
            <a:lstStyle/>
            <a:p>
              <a:pPr algn="ctr" defTabSz="685580" fontAlgn="base">
                <a:spcBef>
                  <a:spcPct val="0"/>
                </a:spcBef>
                <a:spcAft>
                  <a:spcPct val="0"/>
                </a:spcAft>
              </a:pPr>
              <a:r>
                <a:rPr lang="en-US" sz="900" dirty="0">
                  <a:solidFill>
                    <a:srgbClr val="000000">
                      <a:lumMod val="95000"/>
                      <a:lumOff val="5000"/>
                      <a:alpha val="99000"/>
                    </a:srgbClr>
                  </a:solidFill>
                  <a:latin typeface="Segoe" pitchFamily="34" charset="0"/>
                  <a:cs typeface="Arial" pitchFamily="34" charset="0"/>
                </a:rPr>
                <a:t>Process</a:t>
              </a:r>
            </a:p>
          </p:txBody>
        </p:sp>
        <p:sp>
          <p:nvSpPr>
            <p:cNvPr id="75" name="Pentagon 74"/>
            <p:cNvSpPr/>
            <p:nvPr/>
          </p:nvSpPr>
          <p:spPr>
            <a:xfrm>
              <a:off x="751482" y="6291263"/>
              <a:ext cx="2422362" cy="214312"/>
            </a:xfrm>
            <a:prstGeom prst="homePlate">
              <a:avLst/>
            </a:prstGeom>
            <a:gradFill>
              <a:gsLst>
                <a:gs pos="0">
                  <a:schemeClr val="tx1"/>
                </a:gs>
                <a:gs pos="53000">
                  <a:schemeClr val="tx1">
                    <a:lumMod val="72000"/>
                  </a:schemeClr>
                </a:gs>
              </a:gsLst>
              <a:lin ang="0" scaled="1"/>
            </a:gradFill>
            <a:ln w="9525" cap="flat" cmpd="sng" algn="ctr">
              <a:noFill/>
              <a:prstDash val="solid"/>
              <a:headEnd type="none" w="med" len="med"/>
              <a:tailEnd type="none" w="med" len="med"/>
            </a:ln>
            <a:effectLst>
              <a:innerShdw blurRad="25400" dist="38100">
                <a:prstClr val="black">
                  <a:alpha val="48000"/>
                </a:prstClr>
              </a:innerShdw>
            </a:effectLst>
          </p:spPr>
          <p:txBody>
            <a:bodyPr vert="horz" wrap="square" lIns="109833" tIns="45720" rIns="109833" bIns="54916" numCol="1" rtlCol="0" anchor="ctr" anchorCtr="0" compatLnSpc="1">
              <a:prstTxWarp prst="textNoShape">
                <a:avLst/>
              </a:prstTxWarp>
            </a:bodyPr>
            <a:lstStyle/>
            <a:p>
              <a:pPr algn="ctr" defTabSz="685580" fontAlgn="base">
                <a:spcBef>
                  <a:spcPct val="0"/>
                </a:spcBef>
                <a:spcAft>
                  <a:spcPct val="0"/>
                </a:spcAft>
              </a:pPr>
              <a:r>
                <a:rPr lang="en-US" sz="900" dirty="0">
                  <a:solidFill>
                    <a:srgbClr val="000000">
                      <a:lumMod val="95000"/>
                      <a:lumOff val="5000"/>
                      <a:alpha val="99000"/>
                    </a:srgbClr>
                  </a:solidFill>
                  <a:latin typeface="Segoe" pitchFamily="34" charset="0"/>
                  <a:cs typeface="Arial" pitchFamily="34" charset="0"/>
                </a:rPr>
                <a:t>Business Requirements</a:t>
              </a:r>
            </a:p>
          </p:txBody>
        </p:sp>
      </p:grpSp>
      <p:grpSp>
        <p:nvGrpSpPr>
          <p:cNvPr id="76" name="Group 75"/>
          <p:cNvGrpSpPr/>
          <p:nvPr/>
        </p:nvGrpSpPr>
        <p:grpSpPr>
          <a:xfrm>
            <a:off x="5232583" y="1198999"/>
            <a:ext cx="2012680" cy="1693069"/>
            <a:chOff x="5791200" y="1536703"/>
            <a:chExt cx="2012680" cy="2257425"/>
          </a:xfrm>
        </p:grpSpPr>
        <p:sp>
          <p:nvSpPr>
            <p:cNvPr id="77" name="Right Arrow 76"/>
            <p:cNvSpPr/>
            <p:nvPr/>
          </p:nvSpPr>
          <p:spPr>
            <a:xfrm>
              <a:off x="5791200" y="1536703"/>
              <a:ext cx="2012680" cy="2257425"/>
            </a:xfrm>
            <a:prstGeom prst="rightArrow">
              <a:avLst/>
            </a:prstGeom>
            <a:gradFill flip="none" rotWithShape="1">
              <a:gsLst>
                <a:gs pos="49000">
                  <a:srgbClr val="4F81BD">
                    <a:shade val="51000"/>
                    <a:satMod val="130000"/>
                    <a:lumMod val="96000"/>
                  </a:srgbClr>
                </a:gs>
                <a:gs pos="100000">
                  <a:srgbClr val="4F81BD">
                    <a:lumMod val="93000"/>
                    <a:lumOff val="7000"/>
                  </a:srgbClr>
                </a:gs>
              </a:gsLst>
              <a:lin ang="10800000" scaled="1"/>
              <a:tileRect/>
            </a:gradFill>
            <a:ln w="9525" cap="flat" cmpd="sng" algn="ctr">
              <a:noFill/>
              <a:prstDash val="solid"/>
              <a:headEnd type="none" w="med" len="med"/>
              <a:tailEnd type="none" w="med" len="med"/>
            </a:ln>
            <a:effectLst/>
          </p:spPr>
          <p:txBody>
            <a:bodyPr vert="horz" wrap="square" lIns="109833" tIns="0" rIns="0" bIns="54916" numCol="1" rtlCol="0" anchor="ctr" anchorCtr="0" compatLnSpc="1">
              <a:prstTxWarp prst="textNoShape">
                <a:avLst/>
              </a:prstTxWarp>
            </a:bodyPr>
            <a:lstStyle/>
            <a:p>
              <a:pPr defTabSz="823519" fontAlgn="base">
                <a:spcBef>
                  <a:spcPct val="0"/>
                </a:spcBef>
                <a:spcAft>
                  <a:spcPct val="0"/>
                </a:spcAft>
              </a:pPr>
              <a:endParaRPr lang="en-US" sz="1200" b="1" kern="0">
                <a:gradFill>
                  <a:gsLst>
                    <a:gs pos="0">
                      <a:srgbClr val="FFFFFF"/>
                    </a:gs>
                    <a:gs pos="100000">
                      <a:srgbClr val="FFFFFF"/>
                    </a:gs>
                  </a:gsLst>
                  <a:lin ang="5400000" scaled="0"/>
                </a:gradFill>
                <a:latin typeface="Segoe" pitchFamily="34" charset="0"/>
              </a:endParaRPr>
            </a:p>
          </p:txBody>
        </p:sp>
        <p:sp>
          <p:nvSpPr>
            <p:cNvPr id="78" name="Rounded Rectangle 77"/>
            <p:cNvSpPr/>
            <p:nvPr/>
          </p:nvSpPr>
          <p:spPr>
            <a:xfrm>
              <a:off x="6236611" y="2181225"/>
              <a:ext cx="1121861" cy="273050"/>
            </a:xfrm>
            <a:prstGeom prst="roundRect">
              <a:avLst/>
            </a:prstGeom>
            <a:gradFill>
              <a:gsLst>
                <a:gs pos="0">
                  <a:schemeClr val="tx1"/>
                </a:gs>
                <a:gs pos="53000">
                  <a:schemeClr val="tx1">
                    <a:lumMod val="72000"/>
                  </a:schemeClr>
                </a:gs>
              </a:gsLst>
              <a:lin ang="0" scaled="1"/>
            </a:gradFill>
            <a:ln w="9525" cap="flat" cmpd="sng" algn="ctr">
              <a:noFill/>
              <a:prstDash val="solid"/>
              <a:headEnd type="none" w="med" len="med"/>
              <a:tailEnd type="none" w="med" len="med"/>
            </a:ln>
            <a:effectLst>
              <a:innerShdw blurRad="25400" dist="38100" dir="4800000">
                <a:prstClr val="black">
                  <a:alpha val="48000"/>
                </a:prstClr>
              </a:innerShdw>
            </a:effectLst>
          </p:spPr>
          <p:txBody>
            <a:bodyPr vert="horz" wrap="square" lIns="109833" tIns="0" rIns="109833" bIns="54916" numCol="1" rtlCol="0" anchor="ctr" anchorCtr="0" compatLnSpc="1">
              <a:prstTxWarp prst="textNoShape">
                <a:avLst/>
              </a:prstTxWarp>
            </a:bodyPr>
            <a:lstStyle/>
            <a:p>
              <a:pPr algn="ctr" defTabSz="823519" fontAlgn="base">
                <a:spcBef>
                  <a:spcPct val="0"/>
                </a:spcBef>
                <a:spcAft>
                  <a:spcPct val="0"/>
                </a:spcAft>
              </a:pPr>
              <a:r>
                <a:rPr lang="en-US" sz="1100" kern="0" dirty="0">
                  <a:solidFill>
                    <a:srgbClr val="000000">
                      <a:lumMod val="95000"/>
                      <a:lumOff val="5000"/>
                      <a:alpha val="99000"/>
                    </a:srgbClr>
                  </a:solidFill>
                </a:rPr>
                <a:t>Deploy</a:t>
              </a:r>
            </a:p>
          </p:txBody>
        </p:sp>
        <p:sp>
          <p:nvSpPr>
            <p:cNvPr id="79" name="Rounded Rectangle 78"/>
            <p:cNvSpPr/>
            <p:nvPr/>
          </p:nvSpPr>
          <p:spPr>
            <a:xfrm>
              <a:off x="6236611" y="2533650"/>
              <a:ext cx="1121861" cy="274638"/>
            </a:xfrm>
            <a:prstGeom prst="roundRect">
              <a:avLst/>
            </a:prstGeom>
            <a:gradFill>
              <a:gsLst>
                <a:gs pos="0">
                  <a:schemeClr val="tx1"/>
                </a:gs>
                <a:gs pos="53000">
                  <a:schemeClr val="tx1">
                    <a:lumMod val="72000"/>
                  </a:schemeClr>
                </a:gs>
              </a:gsLst>
              <a:lin ang="0" scaled="1"/>
            </a:gradFill>
            <a:ln w="9525" cap="flat" cmpd="sng" algn="ctr">
              <a:noFill/>
              <a:prstDash val="solid"/>
              <a:headEnd type="none" w="med" len="med"/>
              <a:tailEnd type="none" w="med" len="med"/>
            </a:ln>
            <a:effectLst>
              <a:innerShdw blurRad="25400" dist="38100" dir="4800000">
                <a:prstClr val="black">
                  <a:alpha val="48000"/>
                </a:prstClr>
              </a:innerShdw>
            </a:effectLst>
          </p:spPr>
          <p:txBody>
            <a:bodyPr vert="horz" wrap="square" lIns="109833" tIns="0" rIns="109833" bIns="54916" numCol="1" rtlCol="0" anchor="ctr" anchorCtr="0" compatLnSpc="1">
              <a:prstTxWarp prst="textNoShape">
                <a:avLst/>
              </a:prstTxWarp>
            </a:bodyPr>
            <a:lstStyle/>
            <a:p>
              <a:pPr algn="ctr" defTabSz="823519" fontAlgn="base">
                <a:spcBef>
                  <a:spcPct val="0"/>
                </a:spcBef>
                <a:spcAft>
                  <a:spcPct val="0"/>
                </a:spcAft>
              </a:pPr>
              <a:r>
                <a:rPr lang="en-US" sz="1100" kern="0" dirty="0">
                  <a:solidFill>
                    <a:srgbClr val="000000">
                      <a:lumMod val="95000"/>
                      <a:lumOff val="5000"/>
                      <a:alpha val="99000"/>
                    </a:srgbClr>
                  </a:solidFill>
                </a:rPr>
                <a:t>Configure</a:t>
              </a:r>
            </a:p>
          </p:txBody>
        </p:sp>
        <p:sp>
          <p:nvSpPr>
            <p:cNvPr id="80" name="Rounded Rectangle 79"/>
            <p:cNvSpPr/>
            <p:nvPr/>
          </p:nvSpPr>
          <p:spPr>
            <a:xfrm>
              <a:off x="6236611" y="2887666"/>
              <a:ext cx="1121861" cy="274637"/>
            </a:xfrm>
            <a:prstGeom prst="roundRect">
              <a:avLst/>
            </a:prstGeom>
            <a:gradFill>
              <a:gsLst>
                <a:gs pos="0">
                  <a:schemeClr val="tx1"/>
                </a:gs>
                <a:gs pos="53000">
                  <a:schemeClr val="tx1">
                    <a:lumMod val="72000"/>
                  </a:schemeClr>
                </a:gs>
              </a:gsLst>
              <a:lin ang="0" scaled="1"/>
            </a:gradFill>
            <a:ln w="9525" cap="flat" cmpd="sng" algn="ctr">
              <a:noFill/>
              <a:prstDash val="solid"/>
              <a:headEnd type="none" w="med" len="med"/>
              <a:tailEnd type="none" w="med" len="med"/>
            </a:ln>
            <a:effectLst>
              <a:innerShdw blurRad="25400" dist="38100" dir="4800000">
                <a:prstClr val="black">
                  <a:alpha val="48000"/>
                </a:prstClr>
              </a:innerShdw>
            </a:effectLst>
          </p:spPr>
          <p:txBody>
            <a:bodyPr vert="horz" wrap="square" lIns="109833" tIns="0" rIns="109833" bIns="54916" numCol="1" rtlCol="0" anchor="ctr" anchorCtr="0" compatLnSpc="1">
              <a:prstTxWarp prst="textNoShape">
                <a:avLst/>
              </a:prstTxWarp>
            </a:bodyPr>
            <a:lstStyle/>
            <a:p>
              <a:pPr algn="ctr" defTabSz="823519" fontAlgn="base">
                <a:spcBef>
                  <a:spcPct val="0"/>
                </a:spcBef>
                <a:spcAft>
                  <a:spcPct val="0"/>
                </a:spcAft>
              </a:pPr>
              <a:r>
                <a:rPr lang="en-US" sz="1100" kern="0" dirty="0">
                  <a:solidFill>
                    <a:srgbClr val="000000">
                      <a:lumMod val="95000"/>
                      <a:lumOff val="5000"/>
                      <a:alpha val="99000"/>
                    </a:srgbClr>
                  </a:solidFill>
                </a:rPr>
                <a:t>Migrate</a:t>
              </a:r>
            </a:p>
          </p:txBody>
        </p:sp>
      </p:grpSp>
      <p:sp>
        <p:nvSpPr>
          <p:cNvPr id="83" name="Rectangle 82"/>
          <p:cNvSpPr/>
          <p:nvPr/>
        </p:nvSpPr>
        <p:spPr>
          <a:xfrm>
            <a:off x="7427601" y="2135308"/>
            <a:ext cx="807918" cy="184778"/>
          </a:xfrm>
          <a:prstGeom prst="rect">
            <a:avLst/>
          </a:prstGeom>
          <a:noFill/>
          <a:ln w="3175" cap="flat" cmpd="sng" algn="ctr">
            <a:noFill/>
            <a:prstDash val="solid"/>
          </a:ln>
          <a:effectLst/>
        </p:spPr>
        <p:txBody>
          <a:bodyPr lIns="91424" tIns="45712" rIns="91424" bIns="45712" anchor="b"/>
          <a:lstStyle/>
          <a:p>
            <a:pPr algn="ctr" defTabSz="685778" fontAlgn="base">
              <a:spcBef>
                <a:spcPct val="0"/>
              </a:spcBef>
              <a:spcAft>
                <a:spcPct val="0"/>
              </a:spcAft>
              <a:defRPr/>
            </a:pPr>
            <a:r>
              <a:rPr lang="en-US" sz="1100" kern="0" dirty="0">
                <a:solidFill>
                  <a:srgbClr val="FFFFFF">
                    <a:alpha val="99000"/>
                  </a:srgbClr>
                </a:solidFill>
                <a:cs typeface="Arial" charset="0"/>
              </a:rPr>
              <a:t>IaaS</a:t>
            </a:r>
          </a:p>
        </p:txBody>
      </p:sp>
      <p:sp>
        <p:nvSpPr>
          <p:cNvPr id="84" name="Rectangle 83"/>
          <p:cNvSpPr/>
          <p:nvPr/>
        </p:nvSpPr>
        <p:spPr>
          <a:xfrm>
            <a:off x="7484797" y="3328661"/>
            <a:ext cx="782621" cy="223503"/>
          </a:xfrm>
          <a:prstGeom prst="rect">
            <a:avLst/>
          </a:prstGeom>
          <a:noFill/>
          <a:ln w="3175" cap="flat" cmpd="sng" algn="ctr">
            <a:noFill/>
            <a:prstDash val="solid"/>
          </a:ln>
          <a:effectLst/>
        </p:spPr>
        <p:txBody>
          <a:bodyPr lIns="91424" tIns="45712" rIns="91424" bIns="45712" anchor="b"/>
          <a:lstStyle/>
          <a:p>
            <a:pPr algn="ctr" defTabSz="685778" fontAlgn="base">
              <a:spcBef>
                <a:spcPct val="0"/>
              </a:spcBef>
              <a:spcAft>
                <a:spcPct val="0"/>
              </a:spcAft>
              <a:defRPr/>
            </a:pPr>
            <a:r>
              <a:rPr lang="en-US" sz="1100" kern="0" dirty="0">
                <a:solidFill>
                  <a:srgbClr val="FFFFFF">
                    <a:alpha val="99000"/>
                  </a:srgbClr>
                </a:solidFill>
                <a:cs typeface="Arial" charset="0"/>
              </a:rPr>
              <a:t>Virtual</a:t>
            </a:r>
          </a:p>
        </p:txBody>
      </p:sp>
      <p:sp>
        <p:nvSpPr>
          <p:cNvPr id="85" name="Rectangle 84"/>
          <p:cNvSpPr/>
          <p:nvPr/>
        </p:nvSpPr>
        <p:spPr>
          <a:xfrm>
            <a:off x="7490463" y="4178418"/>
            <a:ext cx="786890" cy="203587"/>
          </a:xfrm>
          <a:prstGeom prst="rect">
            <a:avLst/>
          </a:prstGeom>
          <a:noFill/>
          <a:ln w="3175" cap="flat" cmpd="sng" algn="ctr">
            <a:noFill/>
            <a:prstDash val="solid"/>
          </a:ln>
          <a:effectLst/>
        </p:spPr>
        <p:txBody>
          <a:bodyPr lIns="91424" tIns="45712" rIns="91424" bIns="45712" anchor="b"/>
          <a:lstStyle/>
          <a:p>
            <a:pPr algn="ctr" defTabSz="685778" fontAlgn="base">
              <a:spcBef>
                <a:spcPct val="0"/>
              </a:spcBef>
              <a:spcAft>
                <a:spcPct val="0"/>
              </a:spcAft>
              <a:defRPr/>
            </a:pPr>
            <a:r>
              <a:rPr lang="en-US" sz="1100" kern="0" dirty="0">
                <a:solidFill>
                  <a:srgbClr val="FFFFFF">
                    <a:alpha val="99000"/>
                  </a:srgbClr>
                </a:solidFill>
                <a:cs typeface="Arial" charset="0"/>
              </a:rPr>
              <a:t>Physical</a:t>
            </a:r>
          </a:p>
        </p:txBody>
      </p:sp>
      <p:pic>
        <p:nvPicPr>
          <p:cNvPr id="86" name="Picture 284" descr="HP Server tc6100.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781668" y="3606244"/>
            <a:ext cx="226881" cy="491264"/>
          </a:xfrm>
          <a:prstGeom prst="rect">
            <a:avLst/>
          </a:prstGeom>
          <a:noFill/>
          <a:ln w="9525">
            <a:noFill/>
            <a:miter lim="800000"/>
            <a:headEnd/>
            <a:tailEnd/>
          </a:ln>
        </p:spPr>
      </p:pic>
      <p:grpSp>
        <p:nvGrpSpPr>
          <p:cNvPr id="8" name="Group 7"/>
          <p:cNvGrpSpPr/>
          <p:nvPr/>
        </p:nvGrpSpPr>
        <p:grpSpPr>
          <a:xfrm>
            <a:off x="7521133" y="2331614"/>
            <a:ext cx="647442" cy="908395"/>
            <a:chOff x="10025565" y="3569985"/>
            <a:chExt cx="863031" cy="1211193"/>
          </a:xfrm>
        </p:grpSpPr>
        <p:sp>
          <p:nvSpPr>
            <p:cNvPr id="91" name="Isosceles Triangle 90"/>
            <p:cNvSpPr/>
            <p:nvPr/>
          </p:nvSpPr>
          <p:spPr bwMode="auto">
            <a:xfrm rot="8547863">
              <a:off x="10148015" y="3962403"/>
              <a:ext cx="162279" cy="417500"/>
            </a:xfrm>
            <a:prstGeom prst="triangle">
              <a:avLst/>
            </a:prstGeom>
            <a:gradFill rotWithShape="1">
              <a:gsLst>
                <a:gs pos="0">
                  <a:srgbClr val="44C8F5">
                    <a:shade val="51000"/>
                    <a:satMod val="130000"/>
                  </a:srgbClr>
                </a:gs>
                <a:gs pos="80000">
                  <a:srgbClr val="44C8F5">
                    <a:shade val="93000"/>
                    <a:satMod val="130000"/>
                  </a:srgbClr>
                </a:gs>
                <a:gs pos="100000">
                  <a:srgbClr val="44C8F5">
                    <a:shade val="94000"/>
                    <a:satMod val="135000"/>
                  </a:srgbClr>
                </a:gs>
              </a:gsLst>
              <a:lin ang="16200000" scaled="0"/>
            </a:gradFill>
            <a:ln w="9525" cap="flat" cmpd="sng" algn="ctr">
              <a:solidFill>
                <a:srgbClr val="44C8F5">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lIns="91436" tIns="45718" rIns="91436" bIns="45718" anchor="ctr"/>
            <a:lstStyle/>
            <a:p>
              <a:pPr algn="ctr" defTabSz="685580" fontAlgn="base">
                <a:spcBef>
                  <a:spcPct val="0"/>
                </a:spcBef>
                <a:spcAft>
                  <a:spcPct val="0"/>
                </a:spcAft>
                <a:defRPr/>
              </a:pPr>
              <a:endParaRPr lang="en-US" sz="1700" kern="0" dirty="0">
                <a:gradFill>
                  <a:gsLst>
                    <a:gs pos="0">
                      <a:srgbClr val="FFFFFF"/>
                    </a:gs>
                    <a:gs pos="100000">
                      <a:srgbClr val="FFFFFF"/>
                    </a:gs>
                  </a:gsLst>
                  <a:lin ang="5400000" scaled="0"/>
                </a:gradFill>
                <a:latin typeface="Segoe Light" charset="0"/>
                <a:cs typeface="Arial" charset="0"/>
              </a:endParaRPr>
            </a:p>
          </p:txBody>
        </p:sp>
        <p:pic>
          <p:nvPicPr>
            <p:cNvPr id="92" name="Picture 290" descr="HP Server tc6100.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025565" y="3867989"/>
              <a:ext cx="165230" cy="355539"/>
            </a:xfrm>
            <a:prstGeom prst="rect">
              <a:avLst/>
            </a:prstGeom>
            <a:noFill/>
            <a:ln w="9525">
              <a:noFill/>
              <a:miter lim="800000"/>
              <a:headEnd/>
              <a:tailEnd/>
            </a:ln>
          </p:spPr>
        </p:pic>
        <p:sp>
          <p:nvSpPr>
            <p:cNvPr id="93" name="Isosceles Triangle 92"/>
            <p:cNvSpPr/>
            <p:nvPr/>
          </p:nvSpPr>
          <p:spPr bwMode="auto">
            <a:xfrm rot="2867710">
              <a:off x="10165717" y="4351876"/>
              <a:ext cx="157854" cy="408648"/>
            </a:xfrm>
            <a:prstGeom prst="triangle">
              <a:avLst/>
            </a:prstGeom>
            <a:gradFill rotWithShape="1">
              <a:gsLst>
                <a:gs pos="0">
                  <a:srgbClr val="44C8F5">
                    <a:shade val="51000"/>
                    <a:satMod val="130000"/>
                  </a:srgbClr>
                </a:gs>
                <a:gs pos="80000">
                  <a:srgbClr val="44C8F5">
                    <a:shade val="93000"/>
                    <a:satMod val="130000"/>
                  </a:srgbClr>
                </a:gs>
                <a:gs pos="100000">
                  <a:srgbClr val="44C8F5">
                    <a:shade val="94000"/>
                    <a:satMod val="135000"/>
                  </a:srgbClr>
                </a:gs>
              </a:gsLst>
              <a:lin ang="16200000" scaled="0"/>
            </a:gradFill>
            <a:ln w="9525" cap="flat" cmpd="sng" algn="ctr">
              <a:solidFill>
                <a:srgbClr val="44C8F5">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lIns="91436" tIns="45718" rIns="91436" bIns="45718" anchor="ctr"/>
            <a:lstStyle/>
            <a:p>
              <a:pPr algn="ctr" defTabSz="685580" fontAlgn="base">
                <a:spcBef>
                  <a:spcPct val="0"/>
                </a:spcBef>
                <a:spcAft>
                  <a:spcPct val="0"/>
                </a:spcAft>
                <a:defRPr/>
              </a:pPr>
              <a:endParaRPr lang="en-US" sz="1700" kern="0" dirty="0">
                <a:gradFill>
                  <a:gsLst>
                    <a:gs pos="0">
                      <a:srgbClr val="FFFFFF"/>
                    </a:gs>
                    <a:gs pos="100000">
                      <a:srgbClr val="FFFFFF"/>
                    </a:gs>
                  </a:gsLst>
                  <a:lin ang="5400000" scaled="0"/>
                </a:gradFill>
                <a:latin typeface="Segoe Light" charset="0"/>
                <a:cs typeface="Arial" charset="0"/>
              </a:endParaRPr>
            </a:p>
          </p:txBody>
        </p:sp>
        <p:pic>
          <p:nvPicPr>
            <p:cNvPr id="94" name="Picture 303" descr="HP Server tc6100.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035893" y="4424164"/>
              <a:ext cx="165230" cy="357014"/>
            </a:xfrm>
            <a:prstGeom prst="rect">
              <a:avLst/>
            </a:prstGeom>
            <a:noFill/>
            <a:ln w="9525">
              <a:noFill/>
              <a:miter lim="800000"/>
              <a:headEnd/>
              <a:tailEnd/>
            </a:ln>
          </p:spPr>
        </p:pic>
        <p:sp>
          <p:nvSpPr>
            <p:cNvPr id="95" name="Isosceles Triangle 94"/>
            <p:cNvSpPr/>
            <p:nvPr/>
          </p:nvSpPr>
          <p:spPr bwMode="auto">
            <a:xfrm rot="13052137" flipH="1">
              <a:off x="10587643" y="3926997"/>
              <a:ext cx="162279" cy="418975"/>
            </a:xfrm>
            <a:prstGeom prst="triangle">
              <a:avLst/>
            </a:prstGeom>
            <a:gradFill rotWithShape="1">
              <a:gsLst>
                <a:gs pos="0">
                  <a:srgbClr val="44C8F5">
                    <a:shade val="51000"/>
                    <a:satMod val="130000"/>
                  </a:srgbClr>
                </a:gs>
                <a:gs pos="80000">
                  <a:srgbClr val="44C8F5">
                    <a:shade val="93000"/>
                    <a:satMod val="130000"/>
                  </a:srgbClr>
                </a:gs>
                <a:gs pos="100000">
                  <a:srgbClr val="44C8F5">
                    <a:shade val="94000"/>
                    <a:satMod val="135000"/>
                  </a:srgbClr>
                </a:gs>
              </a:gsLst>
              <a:lin ang="16200000" scaled="0"/>
            </a:gradFill>
            <a:ln w="9525" cap="flat" cmpd="sng" algn="ctr">
              <a:solidFill>
                <a:srgbClr val="44C8F5">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lIns="91436" tIns="45718" rIns="91436" bIns="45718" anchor="ctr"/>
            <a:lstStyle/>
            <a:p>
              <a:pPr algn="ctr" defTabSz="685580" fontAlgn="base">
                <a:spcBef>
                  <a:spcPct val="0"/>
                </a:spcBef>
                <a:spcAft>
                  <a:spcPct val="0"/>
                </a:spcAft>
                <a:defRPr/>
              </a:pPr>
              <a:endParaRPr lang="en-US" sz="1700" kern="0" dirty="0">
                <a:gradFill>
                  <a:gsLst>
                    <a:gs pos="0">
                      <a:srgbClr val="FFFFFF"/>
                    </a:gs>
                    <a:gs pos="100000">
                      <a:srgbClr val="FFFFFF"/>
                    </a:gs>
                  </a:gsLst>
                  <a:lin ang="5400000" scaled="0"/>
                </a:gradFill>
                <a:latin typeface="Segoe Light" charset="0"/>
                <a:cs typeface="Arial" charset="0"/>
              </a:endParaRPr>
            </a:p>
          </p:txBody>
        </p:sp>
        <p:sp>
          <p:nvSpPr>
            <p:cNvPr id="96" name="Isosceles Triangle 95"/>
            <p:cNvSpPr/>
            <p:nvPr/>
          </p:nvSpPr>
          <p:spPr bwMode="auto">
            <a:xfrm rot="18732290" flipH="1">
              <a:off x="10605345" y="4317944"/>
              <a:ext cx="157853" cy="408648"/>
            </a:xfrm>
            <a:prstGeom prst="triangle">
              <a:avLst/>
            </a:prstGeom>
            <a:gradFill rotWithShape="1">
              <a:gsLst>
                <a:gs pos="0">
                  <a:srgbClr val="44C8F5">
                    <a:shade val="51000"/>
                    <a:satMod val="130000"/>
                  </a:srgbClr>
                </a:gs>
                <a:gs pos="80000">
                  <a:srgbClr val="44C8F5">
                    <a:shade val="93000"/>
                    <a:satMod val="130000"/>
                  </a:srgbClr>
                </a:gs>
                <a:gs pos="100000">
                  <a:srgbClr val="44C8F5">
                    <a:shade val="94000"/>
                    <a:satMod val="135000"/>
                  </a:srgbClr>
                </a:gs>
              </a:gsLst>
              <a:lin ang="16200000" scaled="0"/>
            </a:gradFill>
            <a:ln w="9525" cap="flat" cmpd="sng" algn="ctr">
              <a:solidFill>
                <a:srgbClr val="44C8F5">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lIns="91436" tIns="45718" rIns="91436" bIns="45718" anchor="ctr"/>
            <a:lstStyle/>
            <a:p>
              <a:pPr algn="ctr" defTabSz="685580" fontAlgn="base">
                <a:spcBef>
                  <a:spcPct val="0"/>
                </a:spcBef>
                <a:spcAft>
                  <a:spcPct val="0"/>
                </a:spcAft>
                <a:defRPr/>
              </a:pPr>
              <a:endParaRPr lang="en-US" sz="1700" kern="0" dirty="0">
                <a:gradFill>
                  <a:gsLst>
                    <a:gs pos="0">
                      <a:srgbClr val="FFFFFF"/>
                    </a:gs>
                    <a:gs pos="100000">
                      <a:srgbClr val="FFFFFF"/>
                    </a:gs>
                  </a:gsLst>
                  <a:lin ang="5400000" scaled="0"/>
                </a:gradFill>
                <a:latin typeface="Segoe Light" charset="0"/>
                <a:cs typeface="Arial" charset="0"/>
              </a:endParaRPr>
            </a:p>
          </p:txBody>
        </p:sp>
        <p:pic>
          <p:nvPicPr>
            <p:cNvPr id="97" name="Picture 303" descr="HP Server tc6100.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713040" y="3810452"/>
              <a:ext cx="165230" cy="357014"/>
            </a:xfrm>
            <a:prstGeom prst="rect">
              <a:avLst/>
            </a:prstGeom>
            <a:noFill/>
            <a:ln w="9525">
              <a:noFill/>
              <a:miter lim="800000"/>
              <a:headEnd/>
              <a:tailEnd/>
            </a:ln>
          </p:spPr>
        </p:pic>
        <p:pic>
          <p:nvPicPr>
            <p:cNvPr id="98" name="Picture 303" descr="HP Server tc6100.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721891" y="4404986"/>
              <a:ext cx="165230" cy="357014"/>
            </a:xfrm>
            <a:prstGeom prst="rect">
              <a:avLst/>
            </a:prstGeom>
            <a:noFill/>
            <a:ln w="9525">
              <a:noFill/>
              <a:miter lim="800000"/>
              <a:headEnd/>
              <a:tailEnd/>
            </a:ln>
          </p:spPr>
        </p:pic>
        <p:sp>
          <p:nvSpPr>
            <p:cNvPr id="99" name="Isosceles Triangle 98"/>
            <p:cNvSpPr/>
            <p:nvPr/>
          </p:nvSpPr>
          <p:spPr bwMode="auto">
            <a:xfrm rot="10800000" flipH="1">
              <a:off x="10384055" y="3804550"/>
              <a:ext cx="140149" cy="364391"/>
            </a:xfrm>
            <a:prstGeom prst="triangle">
              <a:avLst/>
            </a:prstGeom>
            <a:gradFill rotWithShape="1">
              <a:gsLst>
                <a:gs pos="0">
                  <a:srgbClr val="44C8F5">
                    <a:shade val="51000"/>
                    <a:satMod val="130000"/>
                  </a:srgbClr>
                </a:gs>
                <a:gs pos="80000">
                  <a:srgbClr val="44C8F5">
                    <a:shade val="93000"/>
                    <a:satMod val="130000"/>
                  </a:srgbClr>
                </a:gs>
                <a:gs pos="100000">
                  <a:srgbClr val="44C8F5">
                    <a:shade val="94000"/>
                    <a:satMod val="135000"/>
                  </a:srgbClr>
                </a:gs>
              </a:gsLst>
              <a:lin ang="16200000" scaled="0"/>
            </a:gradFill>
            <a:ln w="9525" cap="flat" cmpd="sng" algn="ctr">
              <a:solidFill>
                <a:srgbClr val="44C8F5">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lIns="91436" tIns="45718" rIns="91436" bIns="45718" anchor="ctr"/>
            <a:lstStyle/>
            <a:p>
              <a:pPr algn="ctr" defTabSz="685580" fontAlgn="base">
                <a:spcBef>
                  <a:spcPct val="0"/>
                </a:spcBef>
                <a:spcAft>
                  <a:spcPct val="0"/>
                </a:spcAft>
                <a:defRPr/>
              </a:pPr>
              <a:endParaRPr lang="en-US" sz="1700" kern="0" dirty="0">
                <a:gradFill>
                  <a:gsLst>
                    <a:gs pos="0">
                      <a:srgbClr val="FFFFFF"/>
                    </a:gs>
                    <a:gs pos="100000">
                      <a:srgbClr val="FFFFFF"/>
                    </a:gs>
                  </a:gsLst>
                  <a:lin ang="5400000" scaled="0"/>
                </a:gradFill>
                <a:latin typeface="Segoe Light" charset="0"/>
                <a:cs typeface="Arial" charset="0"/>
              </a:endParaRPr>
            </a:p>
          </p:txBody>
        </p:sp>
        <p:pic>
          <p:nvPicPr>
            <p:cNvPr id="100" name="Picture 296" descr="HP Server tc6100.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370778" y="3569985"/>
              <a:ext cx="165230" cy="355539"/>
            </a:xfrm>
            <a:prstGeom prst="rect">
              <a:avLst/>
            </a:prstGeom>
            <a:noFill/>
            <a:ln w="9525">
              <a:noFill/>
              <a:miter lim="800000"/>
              <a:headEnd/>
              <a:tailEnd/>
            </a:ln>
          </p:spPr>
        </p:pic>
        <p:pic>
          <p:nvPicPr>
            <p:cNvPr id="101" name="Picture 284" descr="HP Server tc6100.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311767" y="4047969"/>
              <a:ext cx="302430" cy="655018"/>
            </a:xfrm>
            <a:prstGeom prst="rect">
              <a:avLst/>
            </a:prstGeom>
            <a:noFill/>
            <a:ln w="9525">
              <a:noFill/>
              <a:miter lim="800000"/>
              <a:headEnd/>
              <a:tailEnd/>
            </a:ln>
          </p:spPr>
        </p:pic>
      </p:grpSp>
      <p:grpSp>
        <p:nvGrpSpPr>
          <p:cNvPr id="9" name="Group 8"/>
          <p:cNvGrpSpPr/>
          <p:nvPr/>
        </p:nvGrpSpPr>
        <p:grpSpPr>
          <a:xfrm>
            <a:off x="7519778" y="1428752"/>
            <a:ext cx="668469" cy="627359"/>
            <a:chOff x="10023758" y="2366168"/>
            <a:chExt cx="891060" cy="836479"/>
          </a:xfrm>
        </p:grpSpPr>
        <p:pic>
          <p:nvPicPr>
            <p:cNvPr id="87" name="Picture 317"/>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0023758" y="2673026"/>
              <a:ext cx="784841" cy="529621"/>
            </a:xfrm>
            <a:prstGeom prst="rect">
              <a:avLst/>
            </a:prstGeom>
            <a:noFill/>
            <a:ln w="9525">
              <a:noFill/>
              <a:miter lim="800000"/>
              <a:headEnd/>
              <a:tailEnd/>
            </a:ln>
          </p:spPr>
        </p:pic>
        <p:sp>
          <p:nvSpPr>
            <p:cNvPr id="102" name="Isosceles Triangle 101"/>
            <p:cNvSpPr/>
            <p:nvPr/>
          </p:nvSpPr>
          <p:spPr bwMode="auto">
            <a:xfrm rot="8547863">
              <a:off x="10184562" y="2627291"/>
              <a:ext cx="162279" cy="417500"/>
            </a:xfrm>
            <a:prstGeom prst="triangle">
              <a:avLst/>
            </a:prstGeom>
            <a:gradFill rotWithShape="1">
              <a:gsLst>
                <a:gs pos="0">
                  <a:srgbClr val="44C8F5">
                    <a:shade val="51000"/>
                    <a:satMod val="130000"/>
                  </a:srgbClr>
                </a:gs>
                <a:gs pos="80000">
                  <a:srgbClr val="44C8F5">
                    <a:shade val="93000"/>
                    <a:satMod val="130000"/>
                  </a:srgbClr>
                </a:gs>
                <a:gs pos="100000">
                  <a:srgbClr val="44C8F5">
                    <a:shade val="94000"/>
                    <a:satMod val="135000"/>
                  </a:srgbClr>
                </a:gs>
              </a:gsLst>
              <a:lin ang="16200000" scaled="0"/>
            </a:gradFill>
            <a:ln w="9525" cap="flat" cmpd="sng" algn="ctr">
              <a:solidFill>
                <a:srgbClr val="44C8F5">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lIns="91436" tIns="45718" rIns="91436" bIns="45718" anchor="ctr"/>
            <a:lstStyle/>
            <a:p>
              <a:pPr algn="ctr" defTabSz="685580" fontAlgn="base">
                <a:spcBef>
                  <a:spcPct val="0"/>
                </a:spcBef>
                <a:spcAft>
                  <a:spcPct val="0"/>
                </a:spcAft>
                <a:defRPr/>
              </a:pPr>
              <a:endParaRPr lang="en-US" sz="1700" kern="0" dirty="0">
                <a:gradFill>
                  <a:gsLst>
                    <a:gs pos="0">
                      <a:srgbClr val="FFFFFF"/>
                    </a:gs>
                    <a:gs pos="100000">
                      <a:srgbClr val="FFFFFF"/>
                    </a:gs>
                  </a:gsLst>
                  <a:lin ang="5400000" scaled="0"/>
                </a:gradFill>
                <a:latin typeface="Segoe Light" charset="0"/>
                <a:cs typeface="Arial" charset="0"/>
              </a:endParaRPr>
            </a:p>
          </p:txBody>
        </p:sp>
        <p:pic>
          <p:nvPicPr>
            <p:cNvPr id="103" name="Picture 290" descr="HP Server tc6100.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062115" y="2531398"/>
              <a:ext cx="165230" cy="355540"/>
            </a:xfrm>
            <a:prstGeom prst="rect">
              <a:avLst/>
            </a:prstGeom>
            <a:noFill/>
            <a:ln w="9525">
              <a:noFill/>
              <a:miter lim="800000"/>
              <a:headEnd/>
              <a:tailEnd/>
            </a:ln>
          </p:spPr>
        </p:pic>
        <p:sp>
          <p:nvSpPr>
            <p:cNvPr id="104" name="Isosceles Triangle 103"/>
            <p:cNvSpPr/>
            <p:nvPr/>
          </p:nvSpPr>
          <p:spPr bwMode="auto">
            <a:xfrm rot="13052137" flipH="1">
              <a:off x="10624192" y="2591885"/>
              <a:ext cx="162279" cy="417500"/>
            </a:xfrm>
            <a:prstGeom prst="triangle">
              <a:avLst/>
            </a:prstGeom>
            <a:gradFill rotWithShape="1">
              <a:gsLst>
                <a:gs pos="0">
                  <a:srgbClr val="44C8F5">
                    <a:shade val="51000"/>
                    <a:satMod val="130000"/>
                  </a:srgbClr>
                </a:gs>
                <a:gs pos="80000">
                  <a:srgbClr val="44C8F5">
                    <a:shade val="93000"/>
                    <a:satMod val="130000"/>
                  </a:srgbClr>
                </a:gs>
                <a:gs pos="100000">
                  <a:srgbClr val="44C8F5">
                    <a:shade val="94000"/>
                    <a:satMod val="135000"/>
                  </a:srgbClr>
                </a:gs>
              </a:gsLst>
              <a:lin ang="16200000" scaled="0"/>
            </a:gradFill>
            <a:ln w="9525" cap="flat" cmpd="sng" algn="ctr">
              <a:solidFill>
                <a:srgbClr val="44C8F5">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lIns="91436" tIns="45718" rIns="91436" bIns="45718" anchor="ctr"/>
            <a:lstStyle/>
            <a:p>
              <a:pPr algn="ctr" defTabSz="685580" fontAlgn="base">
                <a:spcBef>
                  <a:spcPct val="0"/>
                </a:spcBef>
                <a:spcAft>
                  <a:spcPct val="0"/>
                </a:spcAft>
                <a:defRPr/>
              </a:pPr>
              <a:endParaRPr lang="en-US" sz="1700" kern="0" dirty="0">
                <a:gradFill>
                  <a:gsLst>
                    <a:gs pos="0">
                      <a:srgbClr val="FFFFFF"/>
                    </a:gs>
                    <a:gs pos="100000">
                      <a:srgbClr val="FFFFFF"/>
                    </a:gs>
                  </a:gsLst>
                  <a:lin ang="5400000" scaled="0"/>
                </a:gradFill>
                <a:latin typeface="Segoe Light" charset="0"/>
                <a:cs typeface="Arial" charset="0"/>
              </a:endParaRPr>
            </a:p>
          </p:txBody>
        </p:sp>
        <p:pic>
          <p:nvPicPr>
            <p:cNvPr id="105" name="Picture 303" descr="HP Server tc6100.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749588" y="2473866"/>
              <a:ext cx="165230" cy="357014"/>
            </a:xfrm>
            <a:prstGeom prst="rect">
              <a:avLst/>
            </a:prstGeom>
            <a:noFill/>
            <a:ln w="9525">
              <a:noFill/>
              <a:miter lim="800000"/>
              <a:headEnd/>
              <a:tailEnd/>
            </a:ln>
          </p:spPr>
        </p:pic>
        <p:sp>
          <p:nvSpPr>
            <p:cNvPr id="106" name="Isosceles Triangle 105"/>
            <p:cNvSpPr/>
            <p:nvPr/>
          </p:nvSpPr>
          <p:spPr bwMode="auto">
            <a:xfrm rot="10800000" flipH="1">
              <a:off x="10386674" y="2602214"/>
              <a:ext cx="140150" cy="362915"/>
            </a:xfrm>
            <a:prstGeom prst="triangle">
              <a:avLst/>
            </a:prstGeom>
            <a:gradFill rotWithShape="1">
              <a:gsLst>
                <a:gs pos="0">
                  <a:srgbClr val="44C8F5">
                    <a:shade val="51000"/>
                    <a:satMod val="130000"/>
                  </a:srgbClr>
                </a:gs>
                <a:gs pos="80000">
                  <a:srgbClr val="44C8F5">
                    <a:shade val="93000"/>
                    <a:satMod val="130000"/>
                  </a:srgbClr>
                </a:gs>
                <a:gs pos="100000">
                  <a:srgbClr val="44C8F5">
                    <a:shade val="94000"/>
                    <a:satMod val="135000"/>
                  </a:srgbClr>
                </a:gs>
              </a:gsLst>
              <a:lin ang="16200000" scaled="0"/>
            </a:gradFill>
            <a:ln w="9525" cap="flat" cmpd="sng" algn="ctr">
              <a:solidFill>
                <a:srgbClr val="44C8F5">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lIns="91436" tIns="45718" rIns="91436" bIns="45718" anchor="ctr"/>
            <a:lstStyle/>
            <a:p>
              <a:pPr algn="ctr" defTabSz="685580" fontAlgn="base">
                <a:spcBef>
                  <a:spcPct val="0"/>
                </a:spcBef>
                <a:spcAft>
                  <a:spcPct val="0"/>
                </a:spcAft>
                <a:defRPr/>
              </a:pPr>
              <a:endParaRPr lang="en-US" sz="1700" kern="0" dirty="0">
                <a:gradFill>
                  <a:gsLst>
                    <a:gs pos="0">
                      <a:srgbClr val="FFFFFF"/>
                    </a:gs>
                    <a:gs pos="100000">
                      <a:srgbClr val="FFFFFF"/>
                    </a:gs>
                  </a:gsLst>
                  <a:lin ang="5400000" scaled="0"/>
                </a:gradFill>
                <a:latin typeface="Segoe Light" charset="0"/>
                <a:cs typeface="Arial" charset="0"/>
              </a:endParaRPr>
            </a:p>
          </p:txBody>
        </p:sp>
        <p:pic>
          <p:nvPicPr>
            <p:cNvPr id="107" name="Picture 296" descr="HP Server tc6100.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374871" y="2366168"/>
              <a:ext cx="165230" cy="355540"/>
            </a:xfrm>
            <a:prstGeom prst="rect">
              <a:avLst/>
            </a:prstGeom>
            <a:noFill/>
            <a:ln w="9525">
              <a:noFill/>
              <a:miter lim="800000"/>
              <a:headEnd/>
              <a:tailEnd/>
            </a:ln>
          </p:spPr>
        </p:pic>
      </p:grpSp>
      <p:grpSp>
        <p:nvGrpSpPr>
          <p:cNvPr id="109" name="Group 108"/>
          <p:cNvGrpSpPr/>
          <p:nvPr/>
        </p:nvGrpSpPr>
        <p:grpSpPr>
          <a:xfrm>
            <a:off x="5232825" y="789437"/>
            <a:ext cx="2015950" cy="3915915"/>
            <a:chOff x="5791199" y="934386"/>
            <a:chExt cx="2015950" cy="5221220"/>
          </a:xfrm>
        </p:grpSpPr>
        <p:sp>
          <p:nvSpPr>
            <p:cNvPr id="110" name="Rectangle 109"/>
            <p:cNvSpPr/>
            <p:nvPr/>
          </p:nvSpPr>
          <p:spPr>
            <a:xfrm>
              <a:off x="5794469" y="934386"/>
              <a:ext cx="2012680" cy="506703"/>
            </a:xfrm>
            <a:prstGeom prst="rect">
              <a:avLst/>
            </a:prstGeom>
            <a:gradFill flip="none" rotWithShape="1">
              <a:gsLst>
                <a:gs pos="70000">
                  <a:srgbClr val="4F81BD">
                    <a:shade val="51000"/>
                    <a:satMod val="130000"/>
                  </a:srgbClr>
                </a:gs>
                <a:gs pos="100000">
                  <a:srgbClr val="4F81BD"/>
                </a:gs>
              </a:gsLst>
              <a:lin ang="10800000" scaled="1"/>
              <a:tileRect/>
            </a:gradFill>
            <a:ln w="9525" cap="flat" cmpd="sng" algn="ctr">
              <a:noFill/>
              <a:prstDash val="solid"/>
              <a:headEnd type="none" w="med" len="med"/>
              <a:tailEnd type="none" w="med" len="med"/>
            </a:ln>
            <a:effectLst/>
          </p:spPr>
          <p:txBody>
            <a:bodyPr vert="horz" wrap="square" lIns="109833" tIns="0" rIns="109833" bIns="54916" numCol="1" rtlCol="0" anchor="ctr" anchorCtr="0" compatLnSpc="1">
              <a:prstTxWarp prst="textNoShape">
                <a:avLst/>
              </a:prstTxWarp>
            </a:bodyPr>
            <a:lstStyle/>
            <a:p>
              <a:pPr defTabSz="823519" fontAlgn="base">
                <a:spcBef>
                  <a:spcPct val="0"/>
                </a:spcBef>
                <a:spcAft>
                  <a:spcPct val="0"/>
                </a:spcAft>
              </a:pPr>
              <a:r>
                <a:rPr lang="en-US" sz="1200" b="1" kern="0" dirty="0">
                  <a:gradFill>
                    <a:gsLst>
                      <a:gs pos="0">
                        <a:srgbClr val="FFFFFF"/>
                      </a:gs>
                      <a:gs pos="100000">
                        <a:srgbClr val="FFFFFF"/>
                      </a:gs>
                    </a:gsLst>
                    <a:lin ang="5400000" scaled="0"/>
                  </a:gradFill>
                  <a:latin typeface="Segoe" pitchFamily="34" charset="0"/>
                </a:rPr>
                <a:t>                   </a:t>
              </a:r>
            </a:p>
          </p:txBody>
        </p:sp>
        <p:grpSp>
          <p:nvGrpSpPr>
            <p:cNvPr id="111" name="Group 204"/>
            <p:cNvGrpSpPr>
              <a:grpSpLocks/>
            </p:cNvGrpSpPr>
            <p:nvPr/>
          </p:nvGrpSpPr>
          <p:grpSpPr bwMode="auto">
            <a:xfrm>
              <a:off x="6112636" y="995003"/>
              <a:ext cx="330507" cy="406515"/>
              <a:chOff x="2958" y="2526"/>
              <a:chExt cx="258" cy="238"/>
            </a:xfrm>
            <a:solidFill>
              <a:srgbClr val="FFFFFF"/>
            </a:solidFill>
          </p:grpSpPr>
          <p:sp>
            <p:nvSpPr>
              <p:cNvPr id="115" name="Freeform 205"/>
              <p:cNvSpPr>
                <a:spLocks/>
              </p:cNvSpPr>
              <p:nvPr/>
            </p:nvSpPr>
            <p:spPr bwMode="gray">
              <a:xfrm>
                <a:off x="3060" y="2540"/>
                <a:ext cx="136" cy="132"/>
              </a:xfrm>
              <a:custGeom>
                <a:avLst/>
                <a:gdLst>
                  <a:gd name="T0" fmla="*/ 50 w 136"/>
                  <a:gd name="T1" fmla="*/ 84 h 132"/>
                  <a:gd name="T2" fmla="*/ 46 w 136"/>
                  <a:gd name="T3" fmla="*/ 76 h 132"/>
                  <a:gd name="T4" fmla="*/ 42 w 136"/>
                  <a:gd name="T5" fmla="*/ 66 h 132"/>
                  <a:gd name="T6" fmla="*/ 44 w 136"/>
                  <a:gd name="T7" fmla="*/ 58 h 132"/>
                  <a:gd name="T8" fmla="*/ 50 w 136"/>
                  <a:gd name="T9" fmla="*/ 50 h 132"/>
                  <a:gd name="T10" fmla="*/ 56 w 136"/>
                  <a:gd name="T11" fmla="*/ 44 h 132"/>
                  <a:gd name="T12" fmla="*/ 66 w 136"/>
                  <a:gd name="T13" fmla="*/ 42 h 132"/>
                  <a:gd name="T14" fmla="*/ 76 w 136"/>
                  <a:gd name="T15" fmla="*/ 42 h 132"/>
                  <a:gd name="T16" fmla="*/ 84 w 136"/>
                  <a:gd name="T17" fmla="*/ 48 h 132"/>
                  <a:gd name="T18" fmla="*/ 90 w 136"/>
                  <a:gd name="T19" fmla="*/ 56 h 132"/>
                  <a:gd name="T20" fmla="*/ 92 w 136"/>
                  <a:gd name="T21" fmla="*/ 64 h 132"/>
                  <a:gd name="T22" fmla="*/ 90 w 136"/>
                  <a:gd name="T23" fmla="*/ 74 h 132"/>
                  <a:gd name="T24" fmla="*/ 86 w 136"/>
                  <a:gd name="T25" fmla="*/ 82 h 132"/>
                  <a:gd name="T26" fmla="*/ 78 w 136"/>
                  <a:gd name="T27" fmla="*/ 88 h 132"/>
                  <a:gd name="T28" fmla="*/ 68 w 136"/>
                  <a:gd name="T29" fmla="*/ 90 h 132"/>
                  <a:gd name="T30" fmla="*/ 60 w 136"/>
                  <a:gd name="T31" fmla="*/ 88 h 132"/>
                  <a:gd name="T32" fmla="*/ 50 w 136"/>
                  <a:gd name="T33" fmla="*/ 84 h 132"/>
                  <a:gd name="T34" fmla="*/ 34 w 136"/>
                  <a:gd name="T35" fmla="*/ 102 h 132"/>
                  <a:gd name="T36" fmla="*/ 26 w 136"/>
                  <a:gd name="T37" fmla="*/ 92 h 132"/>
                  <a:gd name="T38" fmla="*/ 12 w 136"/>
                  <a:gd name="T39" fmla="*/ 98 h 132"/>
                  <a:gd name="T40" fmla="*/ 6 w 136"/>
                  <a:gd name="T41" fmla="*/ 88 h 132"/>
                  <a:gd name="T42" fmla="*/ 20 w 136"/>
                  <a:gd name="T43" fmla="*/ 80 h 132"/>
                  <a:gd name="T44" fmla="*/ 18 w 136"/>
                  <a:gd name="T45" fmla="*/ 70 h 132"/>
                  <a:gd name="T46" fmla="*/ 18 w 136"/>
                  <a:gd name="T47" fmla="*/ 60 h 132"/>
                  <a:gd name="T48" fmla="*/ 0 w 136"/>
                  <a:gd name="T49" fmla="*/ 54 h 132"/>
                  <a:gd name="T50" fmla="*/ 2 w 136"/>
                  <a:gd name="T51" fmla="*/ 44 h 132"/>
                  <a:gd name="T52" fmla="*/ 22 w 136"/>
                  <a:gd name="T53" fmla="*/ 46 h 132"/>
                  <a:gd name="T54" fmla="*/ 26 w 136"/>
                  <a:gd name="T55" fmla="*/ 38 h 132"/>
                  <a:gd name="T56" fmla="*/ 30 w 136"/>
                  <a:gd name="T57" fmla="*/ 32 h 132"/>
                  <a:gd name="T58" fmla="*/ 36 w 136"/>
                  <a:gd name="T59" fmla="*/ 26 h 132"/>
                  <a:gd name="T60" fmla="*/ 44 w 136"/>
                  <a:gd name="T61" fmla="*/ 22 h 132"/>
                  <a:gd name="T62" fmla="*/ 40 w 136"/>
                  <a:gd name="T63" fmla="*/ 2 h 132"/>
                  <a:gd name="T64" fmla="*/ 50 w 136"/>
                  <a:gd name="T65" fmla="*/ 0 h 132"/>
                  <a:gd name="T66" fmla="*/ 56 w 136"/>
                  <a:gd name="T67" fmla="*/ 16 h 132"/>
                  <a:gd name="T68" fmla="*/ 66 w 136"/>
                  <a:gd name="T69" fmla="*/ 16 h 132"/>
                  <a:gd name="T70" fmla="*/ 78 w 136"/>
                  <a:gd name="T71" fmla="*/ 16 h 132"/>
                  <a:gd name="T72" fmla="*/ 84 w 136"/>
                  <a:gd name="T73" fmla="*/ 0 h 132"/>
                  <a:gd name="T74" fmla="*/ 94 w 136"/>
                  <a:gd name="T75" fmla="*/ 6 h 132"/>
                  <a:gd name="T76" fmla="*/ 90 w 136"/>
                  <a:gd name="T77" fmla="*/ 20 h 132"/>
                  <a:gd name="T78" fmla="*/ 102 w 136"/>
                  <a:gd name="T79" fmla="*/ 28 h 132"/>
                  <a:gd name="T80" fmla="*/ 110 w 136"/>
                  <a:gd name="T81" fmla="*/ 38 h 132"/>
                  <a:gd name="T82" fmla="*/ 124 w 136"/>
                  <a:gd name="T83" fmla="*/ 32 h 132"/>
                  <a:gd name="T84" fmla="*/ 130 w 136"/>
                  <a:gd name="T85" fmla="*/ 42 h 132"/>
                  <a:gd name="T86" fmla="*/ 116 w 136"/>
                  <a:gd name="T87" fmla="*/ 50 h 132"/>
                  <a:gd name="T88" fmla="*/ 118 w 136"/>
                  <a:gd name="T89" fmla="*/ 60 h 132"/>
                  <a:gd name="T90" fmla="*/ 118 w 136"/>
                  <a:gd name="T91" fmla="*/ 72 h 132"/>
                  <a:gd name="T92" fmla="*/ 136 w 136"/>
                  <a:gd name="T93" fmla="*/ 76 h 132"/>
                  <a:gd name="T94" fmla="*/ 134 w 136"/>
                  <a:gd name="T95" fmla="*/ 86 h 132"/>
                  <a:gd name="T96" fmla="*/ 114 w 136"/>
                  <a:gd name="T97" fmla="*/ 84 h 132"/>
                  <a:gd name="T98" fmla="*/ 110 w 136"/>
                  <a:gd name="T99" fmla="*/ 92 h 132"/>
                  <a:gd name="T100" fmla="*/ 104 w 136"/>
                  <a:gd name="T101" fmla="*/ 98 h 132"/>
                  <a:gd name="T102" fmla="*/ 98 w 136"/>
                  <a:gd name="T103" fmla="*/ 104 h 132"/>
                  <a:gd name="T104" fmla="*/ 92 w 136"/>
                  <a:gd name="T105" fmla="*/ 110 h 132"/>
                  <a:gd name="T106" fmla="*/ 96 w 136"/>
                  <a:gd name="T107" fmla="*/ 128 h 132"/>
                  <a:gd name="T108" fmla="*/ 86 w 136"/>
                  <a:gd name="T109" fmla="*/ 132 h 132"/>
                  <a:gd name="T110" fmla="*/ 80 w 136"/>
                  <a:gd name="T111" fmla="*/ 114 h 132"/>
                  <a:gd name="T112" fmla="*/ 68 w 136"/>
                  <a:gd name="T113" fmla="*/ 116 h 132"/>
                  <a:gd name="T114" fmla="*/ 58 w 136"/>
                  <a:gd name="T115" fmla="*/ 114 h 132"/>
                  <a:gd name="T116" fmla="*/ 52 w 136"/>
                  <a:gd name="T117" fmla="*/ 130 h 132"/>
                  <a:gd name="T118" fmla="*/ 40 w 136"/>
                  <a:gd name="T119" fmla="*/ 124 h 132"/>
                  <a:gd name="T120" fmla="*/ 44 w 136"/>
                  <a:gd name="T121" fmla="*/ 110 h 132"/>
                  <a:gd name="T122" fmla="*/ 34 w 136"/>
                  <a:gd name="T123" fmla="*/ 102 h 132"/>
                  <a:gd name="T124" fmla="*/ 50 w 136"/>
                  <a:gd name="T125" fmla="*/ 84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6" h="132">
                    <a:moveTo>
                      <a:pt x="50" y="84"/>
                    </a:moveTo>
                    <a:lnTo>
                      <a:pt x="46" y="76"/>
                    </a:lnTo>
                    <a:lnTo>
                      <a:pt x="42" y="66"/>
                    </a:lnTo>
                    <a:lnTo>
                      <a:pt x="44" y="58"/>
                    </a:lnTo>
                    <a:lnTo>
                      <a:pt x="50" y="50"/>
                    </a:lnTo>
                    <a:lnTo>
                      <a:pt x="56" y="44"/>
                    </a:lnTo>
                    <a:lnTo>
                      <a:pt x="66" y="42"/>
                    </a:lnTo>
                    <a:lnTo>
                      <a:pt x="76" y="42"/>
                    </a:lnTo>
                    <a:lnTo>
                      <a:pt x="84" y="48"/>
                    </a:lnTo>
                    <a:lnTo>
                      <a:pt x="90" y="56"/>
                    </a:lnTo>
                    <a:lnTo>
                      <a:pt x="92" y="64"/>
                    </a:lnTo>
                    <a:lnTo>
                      <a:pt x="90" y="74"/>
                    </a:lnTo>
                    <a:lnTo>
                      <a:pt x="86" y="82"/>
                    </a:lnTo>
                    <a:lnTo>
                      <a:pt x="78" y="88"/>
                    </a:lnTo>
                    <a:lnTo>
                      <a:pt x="68" y="90"/>
                    </a:lnTo>
                    <a:lnTo>
                      <a:pt x="60" y="88"/>
                    </a:lnTo>
                    <a:lnTo>
                      <a:pt x="50" y="84"/>
                    </a:lnTo>
                    <a:lnTo>
                      <a:pt x="34" y="102"/>
                    </a:lnTo>
                    <a:lnTo>
                      <a:pt x="26" y="92"/>
                    </a:lnTo>
                    <a:lnTo>
                      <a:pt x="12" y="98"/>
                    </a:lnTo>
                    <a:lnTo>
                      <a:pt x="6" y="88"/>
                    </a:lnTo>
                    <a:lnTo>
                      <a:pt x="20" y="80"/>
                    </a:lnTo>
                    <a:lnTo>
                      <a:pt x="18" y="70"/>
                    </a:lnTo>
                    <a:lnTo>
                      <a:pt x="18" y="60"/>
                    </a:lnTo>
                    <a:lnTo>
                      <a:pt x="0" y="54"/>
                    </a:lnTo>
                    <a:lnTo>
                      <a:pt x="2" y="44"/>
                    </a:lnTo>
                    <a:lnTo>
                      <a:pt x="22" y="46"/>
                    </a:lnTo>
                    <a:lnTo>
                      <a:pt x="26" y="38"/>
                    </a:lnTo>
                    <a:lnTo>
                      <a:pt x="30" y="32"/>
                    </a:lnTo>
                    <a:lnTo>
                      <a:pt x="36" y="26"/>
                    </a:lnTo>
                    <a:lnTo>
                      <a:pt x="44" y="22"/>
                    </a:lnTo>
                    <a:lnTo>
                      <a:pt x="40" y="2"/>
                    </a:lnTo>
                    <a:lnTo>
                      <a:pt x="50" y="0"/>
                    </a:lnTo>
                    <a:lnTo>
                      <a:pt x="56" y="16"/>
                    </a:lnTo>
                    <a:lnTo>
                      <a:pt x="66" y="16"/>
                    </a:lnTo>
                    <a:lnTo>
                      <a:pt x="78" y="16"/>
                    </a:lnTo>
                    <a:lnTo>
                      <a:pt x="84" y="0"/>
                    </a:lnTo>
                    <a:lnTo>
                      <a:pt x="94" y="6"/>
                    </a:lnTo>
                    <a:lnTo>
                      <a:pt x="90" y="20"/>
                    </a:lnTo>
                    <a:lnTo>
                      <a:pt x="102" y="28"/>
                    </a:lnTo>
                    <a:lnTo>
                      <a:pt x="110" y="38"/>
                    </a:lnTo>
                    <a:lnTo>
                      <a:pt x="124" y="32"/>
                    </a:lnTo>
                    <a:lnTo>
                      <a:pt x="130" y="42"/>
                    </a:lnTo>
                    <a:lnTo>
                      <a:pt x="116" y="50"/>
                    </a:lnTo>
                    <a:lnTo>
                      <a:pt x="118" y="60"/>
                    </a:lnTo>
                    <a:lnTo>
                      <a:pt x="118" y="72"/>
                    </a:lnTo>
                    <a:lnTo>
                      <a:pt x="136" y="76"/>
                    </a:lnTo>
                    <a:lnTo>
                      <a:pt x="134" y="86"/>
                    </a:lnTo>
                    <a:lnTo>
                      <a:pt x="114" y="84"/>
                    </a:lnTo>
                    <a:lnTo>
                      <a:pt x="110" y="92"/>
                    </a:lnTo>
                    <a:lnTo>
                      <a:pt x="104" y="98"/>
                    </a:lnTo>
                    <a:lnTo>
                      <a:pt x="98" y="104"/>
                    </a:lnTo>
                    <a:lnTo>
                      <a:pt x="92" y="110"/>
                    </a:lnTo>
                    <a:lnTo>
                      <a:pt x="96" y="128"/>
                    </a:lnTo>
                    <a:lnTo>
                      <a:pt x="86" y="132"/>
                    </a:lnTo>
                    <a:lnTo>
                      <a:pt x="80" y="114"/>
                    </a:lnTo>
                    <a:lnTo>
                      <a:pt x="68" y="116"/>
                    </a:lnTo>
                    <a:lnTo>
                      <a:pt x="58" y="114"/>
                    </a:lnTo>
                    <a:lnTo>
                      <a:pt x="52" y="130"/>
                    </a:lnTo>
                    <a:lnTo>
                      <a:pt x="40" y="124"/>
                    </a:lnTo>
                    <a:lnTo>
                      <a:pt x="44" y="110"/>
                    </a:lnTo>
                    <a:lnTo>
                      <a:pt x="34" y="102"/>
                    </a:lnTo>
                    <a:lnTo>
                      <a:pt x="50" y="84"/>
                    </a:lnTo>
                    <a:close/>
                  </a:path>
                </a:pathLst>
              </a:custGeom>
              <a:grpFill/>
              <a:ln>
                <a:noFill/>
              </a:ln>
              <a:extLst/>
            </p:spPr>
            <p:txBody>
              <a:bodyPr/>
              <a:lstStyle/>
              <a:p>
                <a:pPr defTabSz="685778" fontAlgn="base">
                  <a:spcBef>
                    <a:spcPct val="0"/>
                  </a:spcBef>
                  <a:spcAft>
                    <a:spcPct val="0"/>
                  </a:spcAft>
                  <a:defRPr/>
                </a:pPr>
                <a:endParaRPr lang="en-US" kern="0">
                  <a:solidFill>
                    <a:srgbClr val="FFFFFF"/>
                  </a:solidFill>
                  <a:latin typeface="Segoe Light" charset="0"/>
                  <a:cs typeface="Arial" charset="0"/>
                </a:endParaRPr>
              </a:p>
            </p:txBody>
          </p:sp>
          <p:sp>
            <p:nvSpPr>
              <p:cNvPr id="116" name="Freeform 206"/>
              <p:cNvSpPr>
                <a:spLocks/>
              </p:cNvSpPr>
              <p:nvPr/>
            </p:nvSpPr>
            <p:spPr bwMode="gray">
              <a:xfrm>
                <a:off x="2958" y="2526"/>
                <a:ext cx="112" cy="114"/>
              </a:xfrm>
              <a:custGeom>
                <a:avLst/>
                <a:gdLst>
                  <a:gd name="T0" fmla="*/ 38 w 112"/>
                  <a:gd name="T1" fmla="*/ 68 h 114"/>
                  <a:gd name="T2" fmla="*/ 34 w 112"/>
                  <a:gd name="T3" fmla="*/ 62 h 114"/>
                  <a:gd name="T4" fmla="*/ 34 w 112"/>
                  <a:gd name="T5" fmla="*/ 54 h 114"/>
                  <a:gd name="T6" fmla="*/ 38 w 112"/>
                  <a:gd name="T7" fmla="*/ 46 h 114"/>
                  <a:gd name="T8" fmla="*/ 44 w 112"/>
                  <a:gd name="T9" fmla="*/ 40 h 114"/>
                  <a:gd name="T10" fmla="*/ 50 w 112"/>
                  <a:gd name="T11" fmla="*/ 36 h 114"/>
                  <a:gd name="T12" fmla="*/ 58 w 112"/>
                  <a:gd name="T13" fmla="*/ 36 h 114"/>
                  <a:gd name="T14" fmla="*/ 66 w 112"/>
                  <a:gd name="T15" fmla="*/ 40 h 114"/>
                  <a:gd name="T16" fmla="*/ 72 w 112"/>
                  <a:gd name="T17" fmla="*/ 46 h 114"/>
                  <a:gd name="T18" fmla="*/ 76 w 112"/>
                  <a:gd name="T19" fmla="*/ 52 h 114"/>
                  <a:gd name="T20" fmla="*/ 76 w 112"/>
                  <a:gd name="T21" fmla="*/ 60 h 114"/>
                  <a:gd name="T22" fmla="*/ 72 w 112"/>
                  <a:gd name="T23" fmla="*/ 68 h 114"/>
                  <a:gd name="T24" fmla="*/ 68 w 112"/>
                  <a:gd name="T25" fmla="*/ 74 h 114"/>
                  <a:gd name="T26" fmla="*/ 60 w 112"/>
                  <a:gd name="T27" fmla="*/ 78 h 114"/>
                  <a:gd name="T28" fmla="*/ 52 w 112"/>
                  <a:gd name="T29" fmla="*/ 78 h 114"/>
                  <a:gd name="T30" fmla="*/ 44 w 112"/>
                  <a:gd name="T31" fmla="*/ 74 h 114"/>
                  <a:gd name="T32" fmla="*/ 38 w 112"/>
                  <a:gd name="T33" fmla="*/ 68 h 114"/>
                  <a:gd name="T34" fmla="*/ 22 w 112"/>
                  <a:gd name="T35" fmla="*/ 80 h 114"/>
                  <a:gd name="T36" fmla="*/ 16 w 112"/>
                  <a:gd name="T37" fmla="*/ 72 h 114"/>
                  <a:gd name="T38" fmla="*/ 2 w 112"/>
                  <a:gd name="T39" fmla="*/ 74 h 114"/>
                  <a:gd name="T40" fmla="*/ 0 w 112"/>
                  <a:gd name="T41" fmla="*/ 64 h 114"/>
                  <a:gd name="T42" fmla="*/ 14 w 112"/>
                  <a:gd name="T43" fmla="*/ 60 h 114"/>
                  <a:gd name="T44" fmla="*/ 14 w 112"/>
                  <a:gd name="T45" fmla="*/ 50 h 114"/>
                  <a:gd name="T46" fmla="*/ 16 w 112"/>
                  <a:gd name="T47" fmla="*/ 42 h 114"/>
                  <a:gd name="T48" fmla="*/ 2 w 112"/>
                  <a:gd name="T49" fmla="*/ 34 h 114"/>
                  <a:gd name="T50" fmla="*/ 6 w 112"/>
                  <a:gd name="T51" fmla="*/ 26 h 114"/>
                  <a:gd name="T52" fmla="*/ 22 w 112"/>
                  <a:gd name="T53" fmla="*/ 32 h 114"/>
                  <a:gd name="T54" fmla="*/ 26 w 112"/>
                  <a:gd name="T55" fmla="*/ 26 h 114"/>
                  <a:gd name="T56" fmla="*/ 32 w 112"/>
                  <a:gd name="T57" fmla="*/ 22 h 114"/>
                  <a:gd name="T58" fmla="*/ 38 w 112"/>
                  <a:gd name="T59" fmla="*/ 18 h 114"/>
                  <a:gd name="T60" fmla="*/ 44 w 112"/>
                  <a:gd name="T61" fmla="*/ 16 h 114"/>
                  <a:gd name="T62" fmla="*/ 44 w 112"/>
                  <a:gd name="T63" fmla="*/ 0 h 114"/>
                  <a:gd name="T64" fmla="*/ 52 w 112"/>
                  <a:gd name="T65" fmla="*/ 0 h 114"/>
                  <a:gd name="T66" fmla="*/ 56 w 112"/>
                  <a:gd name="T67" fmla="*/ 14 h 114"/>
                  <a:gd name="T68" fmla="*/ 64 w 112"/>
                  <a:gd name="T69" fmla="*/ 16 h 114"/>
                  <a:gd name="T70" fmla="*/ 72 w 112"/>
                  <a:gd name="T71" fmla="*/ 18 h 114"/>
                  <a:gd name="T72" fmla="*/ 82 w 112"/>
                  <a:gd name="T73" fmla="*/ 6 h 114"/>
                  <a:gd name="T74" fmla="*/ 90 w 112"/>
                  <a:gd name="T75" fmla="*/ 12 h 114"/>
                  <a:gd name="T76" fmla="*/ 84 w 112"/>
                  <a:gd name="T77" fmla="*/ 24 h 114"/>
                  <a:gd name="T78" fmla="*/ 90 w 112"/>
                  <a:gd name="T79" fmla="*/ 32 h 114"/>
                  <a:gd name="T80" fmla="*/ 96 w 112"/>
                  <a:gd name="T81" fmla="*/ 42 h 114"/>
                  <a:gd name="T82" fmla="*/ 108 w 112"/>
                  <a:gd name="T83" fmla="*/ 40 h 114"/>
                  <a:gd name="T84" fmla="*/ 112 w 112"/>
                  <a:gd name="T85" fmla="*/ 50 h 114"/>
                  <a:gd name="T86" fmla="*/ 98 w 112"/>
                  <a:gd name="T87" fmla="*/ 54 h 114"/>
                  <a:gd name="T88" fmla="*/ 98 w 112"/>
                  <a:gd name="T89" fmla="*/ 62 h 114"/>
                  <a:gd name="T90" fmla="*/ 96 w 112"/>
                  <a:gd name="T91" fmla="*/ 72 h 114"/>
                  <a:gd name="T92" fmla="*/ 108 w 112"/>
                  <a:gd name="T93" fmla="*/ 78 h 114"/>
                  <a:gd name="T94" fmla="*/ 106 w 112"/>
                  <a:gd name="T95" fmla="*/ 86 h 114"/>
                  <a:gd name="T96" fmla="*/ 90 w 112"/>
                  <a:gd name="T97" fmla="*/ 82 h 114"/>
                  <a:gd name="T98" fmla="*/ 86 w 112"/>
                  <a:gd name="T99" fmla="*/ 86 h 114"/>
                  <a:gd name="T100" fmla="*/ 80 w 112"/>
                  <a:gd name="T101" fmla="*/ 92 h 114"/>
                  <a:gd name="T102" fmla="*/ 74 w 112"/>
                  <a:gd name="T103" fmla="*/ 94 h 114"/>
                  <a:gd name="T104" fmla="*/ 68 w 112"/>
                  <a:gd name="T105" fmla="*/ 98 h 114"/>
                  <a:gd name="T106" fmla="*/ 68 w 112"/>
                  <a:gd name="T107" fmla="*/ 114 h 114"/>
                  <a:gd name="T108" fmla="*/ 58 w 112"/>
                  <a:gd name="T109" fmla="*/ 114 h 114"/>
                  <a:gd name="T110" fmla="*/ 56 w 112"/>
                  <a:gd name="T111" fmla="*/ 98 h 114"/>
                  <a:gd name="T112" fmla="*/ 46 w 112"/>
                  <a:gd name="T113" fmla="*/ 98 h 114"/>
                  <a:gd name="T114" fmla="*/ 38 w 112"/>
                  <a:gd name="T115" fmla="*/ 96 h 114"/>
                  <a:gd name="T116" fmla="*/ 30 w 112"/>
                  <a:gd name="T117" fmla="*/ 106 h 114"/>
                  <a:gd name="T118" fmla="*/ 22 w 112"/>
                  <a:gd name="T119" fmla="*/ 100 h 114"/>
                  <a:gd name="T120" fmla="*/ 28 w 112"/>
                  <a:gd name="T121" fmla="*/ 88 h 114"/>
                  <a:gd name="T122" fmla="*/ 22 w 112"/>
                  <a:gd name="T123" fmla="*/ 80 h 114"/>
                  <a:gd name="T124" fmla="*/ 38 w 112"/>
                  <a:gd name="T125" fmla="*/ 68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2" h="114">
                    <a:moveTo>
                      <a:pt x="38" y="68"/>
                    </a:moveTo>
                    <a:lnTo>
                      <a:pt x="34" y="62"/>
                    </a:lnTo>
                    <a:lnTo>
                      <a:pt x="34" y="54"/>
                    </a:lnTo>
                    <a:lnTo>
                      <a:pt x="38" y="46"/>
                    </a:lnTo>
                    <a:lnTo>
                      <a:pt x="44" y="40"/>
                    </a:lnTo>
                    <a:lnTo>
                      <a:pt x="50" y="36"/>
                    </a:lnTo>
                    <a:lnTo>
                      <a:pt x="58" y="36"/>
                    </a:lnTo>
                    <a:lnTo>
                      <a:pt x="66" y="40"/>
                    </a:lnTo>
                    <a:lnTo>
                      <a:pt x="72" y="46"/>
                    </a:lnTo>
                    <a:lnTo>
                      <a:pt x="76" y="52"/>
                    </a:lnTo>
                    <a:lnTo>
                      <a:pt x="76" y="60"/>
                    </a:lnTo>
                    <a:lnTo>
                      <a:pt x="72" y="68"/>
                    </a:lnTo>
                    <a:lnTo>
                      <a:pt x="68" y="74"/>
                    </a:lnTo>
                    <a:lnTo>
                      <a:pt x="60" y="78"/>
                    </a:lnTo>
                    <a:lnTo>
                      <a:pt x="52" y="78"/>
                    </a:lnTo>
                    <a:lnTo>
                      <a:pt x="44" y="74"/>
                    </a:lnTo>
                    <a:lnTo>
                      <a:pt x="38" y="68"/>
                    </a:lnTo>
                    <a:lnTo>
                      <a:pt x="22" y="80"/>
                    </a:lnTo>
                    <a:lnTo>
                      <a:pt x="16" y="72"/>
                    </a:lnTo>
                    <a:lnTo>
                      <a:pt x="2" y="74"/>
                    </a:lnTo>
                    <a:lnTo>
                      <a:pt x="0" y="64"/>
                    </a:lnTo>
                    <a:lnTo>
                      <a:pt x="14" y="60"/>
                    </a:lnTo>
                    <a:lnTo>
                      <a:pt x="14" y="50"/>
                    </a:lnTo>
                    <a:lnTo>
                      <a:pt x="16" y="42"/>
                    </a:lnTo>
                    <a:lnTo>
                      <a:pt x="2" y="34"/>
                    </a:lnTo>
                    <a:lnTo>
                      <a:pt x="6" y="26"/>
                    </a:lnTo>
                    <a:lnTo>
                      <a:pt x="22" y="32"/>
                    </a:lnTo>
                    <a:lnTo>
                      <a:pt x="26" y="26"/>
                    </a:lnTo>
                    <a:lnTo>
                      <a:pt x="32" y="22"/>
                    </a:lnTo>
                    <a:lnTo>
                      <a:pt x="38" y="18"/>
                    </a:lnTo>
                    <a:lnTo>
                      <a:pt x="44" y="16"/>
                    </a:lnTo>
                    <a:lnTo>
                      <a:pt x="44" y="0"/>
                    </a:lnTo>
                    <a:lnTo>
                      <a:pt x="52" y="0"/>
                    </a:lnTo>
                    <a:lnTo>
                      <a:pt x="56" y="14"/>
                    </a:lnTo>
                    <a:lnTo>
                      <a:pt x="64" y="16"/>
                    </a:lnTo>
                    <a:lnTo>
                      <a:pt x="72" y="18"/>
                    </a:lnTo>
                    <a:lnTo>
                      <a:pt x="82" y="6"/>
                    </a:lnTo>
                    <a:lnTo>
                      <a:pt x="90" y="12"/>
                    </a:lnTo>
                    <a:lnTo>
                      <a:pt x="84" y="24"/>
                    </a:lnTo>
                    <a:lnTo>
                      <a:pt x="90" y="32"/>
                    </a:lnTo>
                    <a:lnTo>
                      <a:pt x="96" y="42"/>
                    </a:lnTo>
                    <a:lnTo>
                      <a:pt x="108" y="40"/>
                    </a:lnTo>
                    <a:lnTo>
                      <a:pt x="112" y="50"/>
                    </a:lnTo>
                    <a:lnTo>
                      <a:pt x="98" y="54"/>
                    </a:lnTo>
                    <a:lnTo>
                      <a:pt x="98" y="62"/>
                    </a:lnTo>
                    <a:lnTo>
                      <a:pt x="96" y="72"/>
                    </a:lnTo>
                    <a:lnTo>
                      <a:pt x="108" y="78"/>
                    </a:lnTo>
                    <a:lnTo>
                      <a:pt x="106" y="86"/>
                    </a:lnTo>
                    <a:lnTo>
                      <a:pt x="90" y="82"/>
                    </a:lnTo>
                    <a:lnTo>
                      <a:pt x="86" y="86"/>
                    </a:lnTo>
                    <a:lnTo>
                      <a:pt x="80" y="92"/>
                    </a:lnTo>
                    <a:lnTo>
                      <a:pt x="74" y="94"/>
                    </a:lnTo>
                    <a:lnTo>
                      <a:pt x="68" y="98"/>
                    </a:lnTo>
                    <a:lnTo>
                      <a:pt x="68" y="114"/>
                    </a:lnTo>
                    <a:lnTo>
                      <a:pt x="58" y="114"/>
                    </a:lnTo>
                    <a:lnTo>
                      <a:pt x="56" y="98"/>
                    </a:lnTo>
                    <a:lnTo>
                      <a:pt x="46" y="98"/>
                    </a:lnTo>
                    <a:lnTo>
                      <a:pt x="38" y="96"/>
                    </a:lnTo>
                    <a:lnTo>
                      <a:pt x="30" y="106"/>
                    </a:lnTo>
                    <a:lnTo>
                      <a:pt x="22" y="100"/>
                    </a:lnTo>
                    <a:lnTo>
                      <a:pt x="28" y="88"/>
                    </a:lnTo>
                    <a:lnTo>
                      <a:pt x="22" y="80"/>
                    </a:lnTo>
                    <a:lnTo>
                      <a:pt x="38" y="68"/>
                    </a:lnTo>
                    <a:close/>
                  </a:path>
                </a:pathLst>
              </a:custGeom>
              <a:grpFill/>
              <a:ln>
                <a:noFill/>
              </a:ln>
              <a:extLst/>
            </p:spPr>
            <p:txBody>
              <a:bodyPr/>
              <a:lstStyle/>
              <a:p>
                <a:pPr defTabSz="685778" fontAlgn="base">
                  <a:spcBef>
                    <a:spcPct val="0"/>
                  </a:spcBef>
                  <a:spcAft>
                    <a:spcPct val="0"/>
                  </a:spcAft>
                  <a:defRPr/>
                </a:pPr>
                <a:endParaRPr lang="en-US" kern="0">
                  <a:solidFill>
                    <a:srgbClr val="FFFFFF"/>
                  </a:solidFill>
                  <a:latin typeface="Segoe Light" charset="0"/>
                  <a:cs typeface="Arial" charset="0"/>
                </a:endParaRPr>
              </a:p>
            </p:txBody>
          </p:sp>
          <p:sp>
            <p:nvSpPr>
              <p:cNvPr id="117" name="Freeform 207"/>
              <p:cNvSpPr>
                <a:spLocks/>
              </p:cNvSpPr>
              <p:nvPr/>
            </p:nvSpPr>
            <p:spPr bwMode="gray">
              <a:xfrm>
                <a:off x="3112" y="2662"/>
                <a:ext cx="104" cy="102"/>
              </a:xfrm>
              <a:custGeom>
                <a:avLst/>
                <a:gdLst>
                  <a:gd name="T0" fmla="*/ 42 w 104"/>
                  <a:gd name="T1" fmla="*/ 68 h 102"/>
                  <a:gd name="T2" fmla="*/ 38 w 104"/>
                  <a:gd name="T3" fmla="*/ 62 h 102"/>
                  <a:gd name="T4" fmla="*/ 34 w 104"/>
                  <a:gd name="T5" fmla="*/ 56 h 102"/>
                  <a:gd name="T6" fmla="*/ 32 w 104"/>
                  <a:gd name="T7" fmla="*/ 50 h 102"/>
                  <a:gd name="T8" fmla="*/ 34 w 104"/>
                  <a:gd name="T9" fmla="*/ 42 h 102"/>
                  <a:gd name="T10" fmla="*/ 40 w 104"/>
                  <a:gd name="T11" fmla="*/ 36 h 102"/>
                  <a:gd name="T12" fmla="*/ 46 w 104"/>
                  <a:gd name="T13" fmla="*/ 32 h 102"/>
                  <a:gd name="T14" fmla="*/ 52 w 104"/>
                  <a:gd name="T15" fmla="*/ 32 h 102"/>
                  <a:gd name="T16" fmla="*/ 60 w 104"/>
                  <a:gd name="T17" fmla="*/ 34 h 102"/>
                  <a:gd name="T18" fmla="*/ 66 w 104"/>
                  <a:gd name="T19" fmla="*/ 38 h 102"/>
                  <a:gd name="T20" fmla="*/ 70 w 104"/>
                  <a:gd name="T21" fmla="*/ 44 h 102"/>
                  <a:gd name="T22" fmla="*/ 70 w 104"/>
                  <a:gd name="T23" fmla="*/ 52 h 102"/>
                  <a:gd name="T24" fmla="*/ 68 w 104"/>
                  <a:gd name="T25" fmla="*/ 60 h 102"/>
                  <a:gd name="T26" fmla="*/ 64 w 104"/>
                  <a:gd name="T27" fmla="*/ 66 h 102"/>
                  <a:gd name="T28" fmla="*/ 58 w 104"/>
                  <a:gd name="T29" fmla="*/ 68 h 102"/>
                  <a:gd name="T30" fmla="*/ 50 w 104"/>
                  <a:gd name="T31" fmla="*/ 70 h 102"/>
                  <a:gd name="T32" fmla="*/ 42 w 104"/>
                  <a:gd name="T33" fmla="*/ 68 h 102"/>
                  <a:gd name="T34" fmla="*/ 34 w 104"/>
                  <a:gd name="T35" fmla="*/ 84 h 102"/>
                  <a:gd name="T36" fmla="*/ 26 w 104"/>
                  <a:gd name="T37" fmla="*/ 80 h 102"/>
                  <a:gd name="T38" fmla="*/ 16 w 104"/>
                  <a:gd name="T39" fmla="*/ 86 h 102"/>
                  <a:gd name="T40" fmla="*/ 10 w 104"/>
                  <a:gd name="T41" fmla="*/ 80 h 102"/>
                  <a:gd name="T42" fmla="*/ 20 w 104"/>
                  <a:gd name="T43" fmla="*/ 70 h 102"/>
                  <a:gd name="T44" fmla="*/ 16 w 104"/>
                  <a:gd name="T45" fmla="*/ 64 h 102"/>
                  <a:gd name="T46" fmla="*/ 14 w 104"/>
                  <a:gd name="T47" fmla="*/ 56 h 102"/>
                  <a:gd name="T48" fmla="*/ 0 w 104"/>
                  <a:gd name="T49" fmla="*/ 56 h 102"/>
                  <a:gd name="T50" fmla="*/ 0 w 104"/>
                  <a:gd name="T51" fmla="*/ 48 h 102"/>
                  <a:gd name="T52" fmla="*/ 14 w 104"/>
                  <a:gd name="T53" fmla="*/ 46 h 102"/>
                  <a:gd name="T54" fmla="*/ 18 w 104"/>
                  <a:gd name="T55" fmla="*/ 32 h 102"/>
                  <a:gd name="T56" fmla="*/ 26 w 104"/>
                  <a:gd name="T57" fmla="*/ 22 h 102"/>
                  <a:gd name="T58" fmla="*/ 18 w 104"/>
                  <a:gd name="T59" fmla="*/ 10 h 102"/>
                  <a:gd name="T60" fmla="*/ 26 w 104"/>
                  <a:gd name="T61" fmla="*/ 6 h 102"/>
                  <a:gd name="T62" fmla="*/ 34 w 104"/>
                  <a:gd name="T63" fmla="*/ 16 h 102"/>
                  <a:gd name="T64" fmla="*/ 42 w 104"/>
                  <a:gd name="T65" fmla="*/ 14 h 102"/>
                  <a:gd name="T66" fmla="*/ 50 w 104"/>
                  <a:gd name="T67" fmla="*/ 12 h 102"/>
                  <a:gd name="T68" fmla="*/ 52 w 104"/>
                  <a:gd name="T69" fmla="*/ 0 h 102"/>
                  <a:gd name="T70" fmla="*/ 60 w 104"/>
                  <a:gd name="T71" fmla="*/ 0 h 102"/>
                  <a:gd name="T72" fmla="*/ 60 w 104"/>
                  <a:gd name="T73" fmla="*/ 14 h 102"/>
                  <a:gd name="T74" fmla="*/ 70 w 104"/>
                  <a:gd name="T75" fmla="*/ 16 h 102"/>
                  <a:gd name="T76" fmla="*/ 78 w 104"/>
                  <a:gd name="T77" fmla="*/ 22 h 102"/>
                  <a:gd name="T78" fmla="*/ 86 w 104"/>
                  <a:gd name="T79" fmla="*/ 14 h 102"/>
                  <a:gd name="T80" fmla="*/ 94 w 104"/>
                  <a:gd name="T81" fmla="*/ 22 h 102"/>
                  <a:gd name="T82" fmla="*/ 84 w 104"/>
                  <a:gd name="T83" fmla="*/ 30 h 102"/>
                  <a:gd name="T84" fmla="*/ 88 w 104"/>
                  <a:gd name="T85" fmla="*/ 38 h 102"/>
                  <a:gd name="T86" fmla="*/ 90 w 104"/>
                  <a:gd name="T87" fmla="*/ 44 h 102"/>
                  <a:gd name="T88" fmla="*/ 104 w 104"/>
                  <a:gd name="T89" fmla="*/ 46 h 102"/>
                  <a:gd name="T90" fmla="*/ 104 w 104"/>
                  <a:gd name="T91" fmla="*/ 54 h 102"/>
                  <a:gd name="T92" fmla="*/ 90 w 104"/>
                  <a:gd name="T93" fmla="*/ 56 h 102"/>
                  <a:gd name="T94" fmla="*/ 86 w 104"/>
                  <a:gd name="T95" fmla="*/ 68 h 102"/>
                  <a:gd name="T96" fmla="*/ 78 w 104"/>
                  <a:gd name="T97" fmla="*/ 78 h 102"/>
                  <a:gd name="T98" fmla="*/ 86 w 104"/>
                  <a:gd name="T99" fmla="*/ 92 h 102"/>
                  <a:gd name="T100" fmla="*/ 78 w 104"/>
                  <a:gd name="T101" fmla="*/ 96 h 102"/>
                  <a:gd name="T102" fmla="*/ 70 w 104"/>
                  <a:gd name="T103" fmla="*/ 84 h 102"/>
                  <a:gd name="T104" fmla="*/ 62 w 104"/>
                  <a:gd name="T105" fmla="*/ 88 h 102"/>
                  <a:gd name="T106" fmla="*/ 54 w 104"/>
                  <a:gd name="T107" fmla="*/ 88 h 102"/>
                  <a:gd name="T108" fmla="*/ 52 w 104"/>
                  <a:gd name="T109" fmla="*/ 102 h 102"/>
                  <a:gd name="T110" fmla="*/ 44 w 104"/>
                  <a:gd name="T111" fmla="*/ 100 h 102"/>
                  <a:gd name="T112" fmla="*/ 44 w 104"/>
                  <a:gd name="T113" fmla="*/ 88 h 102"/>
                  <a:gd name="T114" fmla="*/ 34 w 104"/>
                  <a:gd name="T115" fmla="*/ 84 h 102"/>
                  <a:gd name="T116" fmla="*/ 42 w 104"/>
                  <a:gd name="T117" fmla="*/ 6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4" h="102">
                    <a:moveTo>
                      <a:pt x="42" y="68"/>
                    </a:moveTo>
                    <a:lnTo>
                      <a:pt x="38" y="62"/>
                    </a:lnTo>
                    <a:lnTo>
                      <a:pt x="34" y="56"/>
                    </a:lnTo>
                    <a:lnTo>
                      <a:pt x="32" y="50"/>
                    </a:lnTo>
                    <a:lnTo>
                      <a:pt x="34" y="42"/>
                    </a:lnTo>
                    <a:lnTo>
                      <a:pt x="40" y="36"/>
                    </a:lnTo>
                    <a:lnTo>
                      <a:pt x="46" y="32"/>
                    </a:lnTo>
                    <a:lnTo>
                      <a:pt x="52" y="32"/>
                    </a:lnTo>
                    <a:lnTo>
                      <a:pt x="60" y="34"/>
                    </a:lnTo>
                    <a:lnTo>
                      <a:pt x="66" y="38"/>
                    </a:lnTo>
                    <a:lnTo>
                      <a:pt x="70" y="44"/>
                    </a:lnTo>
                    <a:lnTo>
                      <a:pt x="70" y="52"/>
                    </a:lnTo>
                    <a:lnTo>
                      <a:pt x="68" y="60"/>
                    </a:lnTo>
                    <a:lnTo>
                      <a:pt x="64" y="66"/>
                    </a:lnTo>
                    <a:lnTo>
                      <a:pt x="58" y="68"/>
                    </a:lnTo>
                    <a:lnTo>
                      <a:pt x="50" y="70"/>
                    </a:lnTo>
                    <a:lnTo>
                      <a:pt x="42" y="68"/>
                    </a:lnTo>
                    <a:lnTo>
                      <a:pt x="34" y="84"/>
                    </a:lnTo>
                    <a:lnTo>
                      <a:pt x="26" y="80"/>
                    </a:lnTo>
                    <a:lnTo>
                      <a:pt x="16" y="86"/>
                    </a:lnTo>
                    <a:lnTo>
                      <a:pt x="10" y="80"/>
                    </a:lnTo>
                    <a:lnTo>
                      <a:pt x="20" y="70"/>
                    </a:lnTo>
                    <a:lnTo>
                      <a:pt x="16" y="64"/>
                    </a:lnTo>
                    <a:lnTo>
                      <a:pt x="14" y="56"/>
                    </a:lnTo>
                    <a:lnTo>
                      <a:pt x="0" y="56"/>
                    </a:lnTo>
                    <a:lnTo>
                      <a:pt x="0" y="48"/>
                    </a:lnTo>
                    <a:lnTo>
                      <a:pt x="14" y="46"/>
                    </a:lnTo>
                    <a:lnTo>
                      <a:pt x="18" y="32"/>
                    </a:lnTo>
                    <a:lnTo>
                      <a:pt x="26" y="22"/>
                    </a:lnTo>
                    <a:lnTo>
                      <a:pt x="18" y="10"/>
                    </a:lnTo>
                    <a:lnTo>
                      <a:pt x="26" y="6"/>
                    </a:lnTo>
                    <a:lnTo>
                      <a:pt x="34" y="16"/>
                    </a:lnTo>
                    <a:lnTo>
                      <a:pt x="42" y="14"/>
                    </a:lnTo>
                    <a:lnTo>
                      <a:pt x="50" y="12"/>
                    </a:lnTo>
                    <a:lnTo>
                      <a:pt x="52" y="0"/>
                    </a:lnTo>
                    <a:lnTo>
                      <a:pt x="60" y="0"/>
                    </a:lnTo>
                    <a:lnTo>
                      <a:pt x="60" y="14"/>
                    </a:lnTo>
                    <a:lnTo>
                      <a:pt x="70" y="16"/>
                    </a:lnTo>
                    <a:lnTo>
                      <a:pt x="78" y="22"/>
                    </a:lnTo>
                    <a:lnTo>
                      <a:pt x="86" y="14"/>
                    </a:lnTo>
                    <a:lnTo>
                      <a:pt x="94" y="22"/>
                    </a:lnTo>
                    <a:lnTo>
                      <a:pt x="84" y="30"/>
                    </a:lnTo>
                    <a:lnTo>
                      <a:pt x="88" y="38"/>
                    </a:lnTo>
                    <a:lnTo>
                      <a:pt x="90" y="44"/>
                    </a:lnTo>
                    <a:lnTo>
                      <a:pt x="104" y="46"/>
                    </a:lnTo>
                    <a:lnTo>
                      <a:pt x="104" y="54"/>
                    </a:lnTo>
                    <a:lnTo>
                      <a:pt x="90" y="56"/>
                    </a:lnTo>
                    <a:lnTo>
                      <a:pt x="86" y="68"/>
                    </a:lnTo>
                    <a:lnTo>
                      <a:pt x="78" y="78"/>
                    </a:lnTo>
                    <a:lnTo>
                      <a:pt x="86" y="92"/>
                    </a:lnTo>
                    <a:lnTo>
                      <a:pt x="78" y="96"/>
                    </a:lnTo>
                    <a:lnTo>
                      <a:pt x="70" y="84"/>
                    </a:lnTo>
                    <a:lnTo>
                      <a:pt x="62" y="88"/>
                    </a:lnTo>
                    <a:lnTo>
                      <a:pt x="54" y="88"/>
                    </a:lnTo>
                    <a:lnTo>
                      <a:pt x="52" y="102"/>
                    </a:lnTo>
                    <a:lnTo>
                      <a:pt x="44" y="100"/>
                    </a:lnTo>
                    <a:lnTo>
                      <a:pt x="44" y="88"/>
                    </a:lnTo>
                    <a:lnTo>
                      <a:pt x="34" y="84"/>
                    </a:lnTo>
                    <a:lnTo>
                      <a:pt x="42" y="68"/>
                    </a:lnTo>
                    <a:close/>
                  </a:path>
                </a:pathLst>
              </a:custGeom>
              <a:grpFill/>
              <a:ln>
                <a:noFill/>
              </a:ln>
              <a:extLst/>
            </p:spPr>
            <p:txBody>
              <a:bodyPr/>
              <a:lstStyle/>
              <a:p>
                <a:pPr defTabSz="685778" fontAlgn="base">
                  <a:spcBef>
                    <a:spcPct val="0"/>
                  </a:spcBef>
                  <a:spcAft>
                    <a:spcPct val="0"/>
                  </a:spcAft>
                  <a:defRPr/>
                </a:pPr>
                <a:endParaRPr lang="en-US" kern="0">
                  <a:solidFill>
                    <a:srgbClr val="FFFFFF"/>
                  </a:solidFill>
                  <a:latin typeface="Segoe Light" charset="0"/>
                  <a:cs typeface="Arial" charset="0"/>
                </a:endParaRPr>
              </a:p>
            </p:txBody>
          </p:sp>
        </p:grpSp>
        <p:sp>
          <p:nvSpPr>
            <p:cNvPr id="112" name="Rectangle 254"/>
            <p:cNvSpPr>
              <a:spLocks noChangeArrowheads="1"/>
            </p:cNvSpPr>
            <p:nvPr/>
          </p:nvSpPr>
          <p:spPr bwMode="auto">
            <a:xfrm>
              <a:off x="6505331" y="998459"/>
              <a:ext cx="647421" cy="410369"/>
            </a:xfrm>
            <a:prstGeom prst="rect">
              <a:avLst/>
            </a:prstGeom>
            <a:noFill/>
            <a:ln w="9525">
              <a:noFill/>
              <a:miter lim="800000"/>
              <a:headEnd/>
              <a:tailEnd/>
            </a:ln>
          </p:spPr>
          <p:txBody>
            <a:bodyPr wrap="none">
              <a:spAutoFit/>
            </a:bodyPr>
            <a:lstStyle/>
            <a:p>
              <a:pPr defTabSz="684616" fontAlgn="base">
                <a:spcBef>
                  <a:spcPct val="0"/>
                </a:spcBef>
                <a:spcAft>
                  <a:spcPct val="0"/>
                </a:spcAft>
              </a:pPr>
              <a:r>
                <a:rPr lang="en-US" b="1" dirty="0">
                  <a:solidFill>
                    <a:srgbClr val="FFFFFF">
                      <a:alpha val="99000"/>
                    </a:srgbClr>
                  </a:solidFill>
                  <a:latin typeface="Segoe Light" charset="0"/>
                  <a:cs typeface="Arial" charset="0"/>
                </a:rPr>
                <a:t>Tools</a:t>
              </a:r>
            </a:p>
          </p:txBody>
        </p:sp>
        <p:sp>
          <p:nvSpPr>
            <p:cNvPr id="113" name="Rectangle 112"/>
            <p:cNvSpPr/>
            <p:nvPr/>
          </p:nvSpPr>
          <p:spPr>
            <a:xfrm>
              <a:off x="5791199" y="1441089"/>
              <a:ext cx="2012680" cy="4714517"/>
            </a:xfrm>
            <a:prstGeom prst="rect">
              <a:avLst/>
            </a:prstGeom>
            <a:solidFill>
              <a:srgbClr val="003F72">
                <a:alpha val="14902"/>
              </a:srgb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vert270" wrap="square" lIns="91436" tIns="45718" rIns="91436" bIns="45718" numCol="1" rtlCol="0" anchor="ctr" anchorCtr="0" compatLnSpc="1">
              <a:prstTxWarp prst="textNoShape">
                <a:avLst/>
              </a:prstTxWarp>
            </a:bodyPr>
            <a:lstStyle/>
            <a:p>
              <a:pPr algn="ctr" defTabSz="685580"/>
              <a:endParaRPr lang="en-US" dirty="0">
                <a:gradFill>
                  <a:gsLst>
                    <a:gs pos="0">
                      <a:srgbClr val="FFFFFF"/>
                    </a:gs>
                    <a:gs pos="100000">
                      <a:srgbClr val="FFFFFF"/>
                    </a:gs>
                  </a:gsLst>
                  <a:lin ang="5400000" scaled="0"/>
                </a:gradFill>
              </a:endParaRPr>
            </a:p>
          </p:txBody>
        </p:sp>
        <p:cxnSp>
          <p:nvCxnSpPr>
            <p:cNvPr id="114" name="Straight Connector 113"/>
            <p:cNvCxnSpPr/>
            <p:nvPr/>
          </p:nvCxnSpPr>
          <p:spPr>
            <a:xfrm>
              <a:off x="5791200" y="3794125"/>
              <a:ext cx="2012680" cy="0"/>
            </a:xfrm>
            <a:prstGeom prst="line">
              <a:avLst/>
            </a:prstGeom>
            <a:noFill/>
            <a:ln w="19050" cap="flat" cmpd="sng" algn="ctr">
              <a:solidFill>
                <a:schemeClr val="tx1"/>
              </a:solidFill>
              <a:prstDash val="solid"/>
            </a:ln>
            <a:effectLst/>
          </p:spPr>
        </p:cxnSp>
      </p:grpSp>
      <p:grpSp>
        <p:nvGrpSpPr>
          <p:cNvPr id="118" name="Group 117"/>
          <p:cNvGrpSpPr/>
          <p:nvPr/>
        </p:nvGrpSpPr>
        <p:grpSpPr>
          <a:xfrm>
            <a:off x="3970170" y="1279947"/>
            <a:ext cx="3174207" cy="2787360"/>
            <a:chOff x="4528784" y="1583679"/>
            <a:chExt cx="3174207" cy="3716480"/>
          </a:xfrm>
        </p:grpSpPr>
        <p:pic>
          <p:nvPicPr>
            <p:cNvPr id="119" name="Picture 7" descr="C:\Documents and Settings\Eva\My Documents\336\SysCnt-ServiceMgr_h_rgb_r.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528784" y="4876800"/>
              <a:ext cx="1029029" cy="423359"/>
            </a:xfrm>
            <a:prstGeom prst="rect">
              <a:avLst/>
            </a:prstGeom>
            <a:noFill/>
            <a:ln w="9525">
              <a:noFill/>
              <a:miter lim="800000"/>
              <a:headEnd/>
              <a:tailEnd/>
            </a:ln>
          </p:spPr>
        </p:pic>
        <p:pic>
          <p:nvPicPr>
            <p:cNvPr id="121" name="Picture 5" descr="C:\Users\Public\Pictures\DVD_ART35\Logos\System Center Virtual Machine Manager 2008\system center virtual machine manager 2008 grid rev h.png"/>
            <p:cNvPicPr>
              <a:picLocks noChangeAspect="1" noChangeArrowheads="1"/>
            </p:cNvPicPr>
            <p:nvPr/>
          </p:nvPicPr>
          <p:blipFill>
            <a:blip r:embed="rId7">
              <a:extLst>
                <a:ext uri="{28A0092B-C50C-407E-A947-70E740481C1C}">
                  <a14:useLocalDpi xmlns:a14="http://schemas.microsoft.com/office/drawing/2010/main" val="0"/>
                </a:ext>
              </a:extLst>
            </a:blip>
            <a:srcRect t="-2"/>
            <a:stretch>
              <a:fillRect/>
            </a:stretch>
          </p:blipFill>
          <p:spPr bwMode="auto">
            <a:xfrm>
              <a:off x="5870785" y="1583679"/>
              <a:ext cx="971201" cy="354545"/>
            </a:xfrm>
            <a:prstGeom prst="rect">
              <a:avLst/>
            </a:prstGeom>
            <a:noFill/>
            <a:ln w="9525">
              <a:noFill/>
              <a:miter lim="800000"/>
              <a:headEnd/>
              <a:tailEnd/>
            </a:ln>
          </p:spPr>
        </p:pic>
        <p:pic>
          <p:nvPicPr>
            <p:cNvPr id="123" name="Picture 6" descr="C:\Documents and Settings\Eva\My Documents\336\SysCnt-OprtnsMgr_h_rgb_r.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751621" y="3924180"/>
              <a:ext cx="951370" cy="365729"/>
            </a:xfrm>
            <a:prstGeom prst="rect">
              <a:avLst/>
            </a:prstGeom>
            <a:noFill/>
            <a:ln w="9525">
              <a:noFill/>
              <a:miter lim="800000"/>
              <a:headEnd/>
              <a:tailEnd/>
            </a:ln>
          </p:spPr>
        </p:pic>
        <p:pic>
          <p:nvPicPr>
            <p:cNvPr id="124" name="Picture 2" descr="\\server3\internalbin\Resource_DVD_Update_1\DVD_ART35_Update1_revMar09\Logos\System Center Configuration Manager\System Center Configuration Manager logo rev.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870785" y="3312413"/>
              <a:ext cx="1006130" cy="361950"/>
            </a:xfrm>
            <a:prstGeom prst="rect">
              <a:avLst/>
            </a:prstGeom>
            <a:noFill/>
            <a:ln w="9525">
              <a:noFill/>
              <a:miter lim="800000"/>
              <a:headEnd/>
              <a:tailEnd/>
            </a:ln>
          </p:spPr>
        </p:pic>
      </p:grpSp>
      <p:grpSp>
        <p:nvGrpSpPr>
          <p:cNvPr id="128" name="DATACENTER ADMIN"/>
          <p:cNvGrpSpPr/>
          <p:nvPr/>
        </p:nvGrpSpPr>
        <p:grpSpPr>
          <a:xfrm>
            <a:off x="8247884" y="2473541"/>
            <a:ext cx="896116" cy="966245"/>
            <a:chOff x="40524443" y="7897812"/>
            <a:chExt cx="8728725" cy="5652154"/>
          </a:xfrm>
        </p:grpSpPr>
        <p:pic>
          <p:nvPicPr>
            <p:cNvPr id="131" name="Picture 30" descr="ist2_1752327-it-engineer.jpg"/>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bwMode="auto">
            <a:xfrm>
              <a:off x="40524443" y="7897812"/>
              <a:ext cx="8728725" cy="3967150"/>
            </a:xfrm>
            <a:prstGeom prst="rect">
              <a:avLst/>
            </a:prstGeom>
            <a:noFill/>
            <a:ln w="9525">
              <a:noFill/>
              <a:miter lim="800000"/>
              <a:headEnd/>
              <a:tailEnd/>
            </a:ln>
          </p:spPr>
        </p:pic>
        <p:sp>
          <p:nvSpPr>
            <p:cNvPr id="130" name="TextBox 9"/>
            <p:cNvSpPr txBox="1">
              <a:spLocks noChangeArrowheads="1"/>
            </p:cNvSpPr>
            <p:nvPr/>
          </p:nvSpPr>
          <p:spPr bwMode="auto">
            <a:xfrm>
              <a:off x="40591773" y="12267199"/>
              <a:ext cx="7400640" cy="1282767"/>
            </a:xfrm>
            <a:prstGeom prst="rect">
              <a:avLst/>
            </a:prstGeom>
            <a:noFill/>
            <a:ln w="9525">
              <a:noFill/>
              <a:miter lim="800000"/>
              <a:headEnd/>
              <a:tailEnd/>
            </a:ln>
          </p:spPr>
          <p:txBody>
            <a:bodyPr wrap="square" lIns="0" tIns="0" rIns="0" bIns="0">
              <a:spAutoFit/>
            </a:bodyPr>
            <a:lstStyle/>
            <a:p>
              <a:pPr algn="ctr" defTabSz="513164" fontAlgn="base">
                <a:spcBef>
                  <a:spcPct val="0"/>
                </a:spcBef>
                <a:spcAft>
                  <a:spcPct val="0"/>
                </a:spcAft>
              </a:pPr>
              <a:r>
                <a:rPr lang="en-US" sz="800" dirty="0">
                  <a:solidFill>
                    <a:srgbClr val="FFFFFF">
                      <a:alpha val="99000"/>
                    </a:srgbClr>
                  </a:solidFill>
                  <a:cs typeface="Arial" charset="0"/>
                </a:rPr>
                <a:t>Service Provider</a:t>
              </a:r>
              <a:br>
                <a:rPr lang="en-US" sz="800" dirty="0">
                  <a:solidFill>
                    <a:srgbClr val="FFFFFF">
                      <a:alpha val="99000"/>
                    </a:srgbClr>
                  </a:solidFill>
                  <a:cs typeface="Arial" charset="0"/>
                </a:rPr>
              </a:br>
              <a:r>
                <a:rPr lang="en-US" sz="600" dirty="0">
                  <a:solidFill>
                    <a:srgbClr val="FFFFFF">
                      <a:alpha val="99000"/>
                    </a:srgbClr>
                  </a:solidFill>
                  <a:cs typeface="Arial" charset="0"/>
                </a:rPr>
                <a:t>“Datacenter Admin”</a:t>
              </a:r>
            </a:p>
          </p:txBody>
        </p:sp>
      </p:grpSp>
      <p:pic>
        <p:nvPicPr>
          <p:cNvPr id="133" name="Picture 7" descr="C:\Documents and Settings\Eva\My Documents\336\SysCnt-ServiceMgr_h_rgb_r.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204638" y="3864091"/>
            <a:ext cx="1029029" cy="317519"/>
          </a:xfrm>
          <a:prstGeom prst="rect">
            <a:avLst/>
          </a:prstGeom>
          <a:noFill/>
          <a:ln w="9525">
            <a:noFill/>
            <a:miter lim="800000"/>
            <a:headEnd/>
            <a:tailEnd/>
          </a:ln>
        </p:spPr>
      </p:pic>
      <p:pic>
        <p:nvPicPr>
          <p:cNvPr id="126" name="Picture 204"/>
          <p:cNvPicPr>
            <a:picLocks noChangeAspect="1"/>
          </p:cNvPicPr>
          <p:nvPr/>
        </p:nvPicPr>
        <p:blipFill rotWithShape="1">
          <a:blip r:embed="rId11" cstate="print">
            <a:extLst>
              <a:ext uri="{28A0092B-C50C-407E-A947-70E740481C1C}">
                <a14:useLocalDpi xmlns:a14="http://schemas.microsoft.com/office/drawing/2010/main" val="0"/>
              </a:ext>
            </a:extLst>
          </a:blip>
          <a:srcRect/>
          <a:stretch/>
        </p:blipFill>
        <p:spPr bwMode="auto">
          <a:xfrm>
            <a:off x="1" y="2473540"/>
            <a:ext cx="738172" cy="677732"/>
          </a:xfrm>
          <a:prstGeom prst="rect">
            <a:avLst/>
          </a:prstGeom>
          <a:noFill/>
          <a:ln w="9525">
            <a:noFill/>
            <a:miter lim="800000"/>
            <a:headEnd/>
            <a:tailEnd/>
          </a:ln>
        </p:spPr>
      </p:pic>
      <p:sp>
        <p:nvSpPr>
          <p:cNvPr id="129" name="TextBox 91"/>
          <p:cNvSpPr txBox="1">
            <a:spLocks noChangeArrowheads="1"/>
          </p:cNvSpPr>
          <p:nvPr/>
        </p:nvSpPr>
        <p:spPr bwMode="auto">
          <a:xfrm>
            <a:off x="69092" y="3214564"/>
            <a:ext cx="558798" cy="438581"/>
          </a:xfrm>
          <a:prstGeom prst="rect">
            <a:avLst/>
          </a:prstGeom>
          <a:noFill/>
          <a:ln w="9525">
            <a:noFill/>
            <a:miter lim="800000"/>
            <a:headEnd/>
            <a:tailEnd/>
          </a:ln>
        </p:spPr>
        <p:txBody>
          <a:bodyPr wrap="square" lIns="0" tIns="0" rIns="0" bIns="0">
            <a:spAutoFit/>
          </a:bodyPr>
          <a:lstStyle/>
          <a:p>
            <a:pPr algn="ctr" defTabSz="513164" fontAlgn="base">
              <a:spcBef>
                <a:spcPct val="0"/>
              </a:spcBef>
              <a:spcAft>
                <a:spcPct val="0"/>
              </a:spcAft>
            </a:pPr>
            <a:r>
              <a:rPr lang="en-US" sz="800" dirty="0">
                <a:solidFill>
                  <a:srgbClr val="FFFFFF">
                    <a:alpha val="99000"/>
                  </a:srgbClr>
                </a:solidFill>
                <a:cs typeface="Arial" charset="0"/>
              </a:rPr>
              <a:t>Application Owner</a:t>
            </a:r>
          </a:p>
          <a:p>
            <a:pPr algn="ctr" defTabSz="513164" fontAlgn="base">
              <a:spcBef>
                <a:spcPct val="0"/>
              </a:spcBef>
              <a:spcAft>
                <a:spcPct val="0"/>
              </a:spcAft>
            </a:pPr>
            <a:r>
              <a:rPr lang="en-US" sz="600" dirty="0">
                <a:solidFill>
                  <a:srgbClr val="FFFFFF">
                    <a:alpha val="99000"/>
                  </a:srgbClr>
                </a:solidFill>
                <a:cs typeface="Arial" charset="0"/>
              </a:rPr>
              <a:t>“Service Consumer”</a:t>
            </a:r>
          </a:p>
        </p:txBody>
      </p:sp>
      <p:pic>
        <p:nvPicPr>
          <p:cNvPr id="132" name="Picture 2" descr="C:\Users\adi\Desktop\SysCnt-Orchestrator_h_rgb_r.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854138" y="1475576"/>
            <a:ext cx="1145061" cy="328326"/>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p:cNvGrpSpPr/>
          <p:nvPr/>
        </p:nvGrpSpPr>
        <p:grpSpPr>
          <a:xfrm>
            <a:off x="2482249" y="1978142"/>
            <a:ext cx="1219200" cy="1693069"/>
            <a:chOff x="3308803" y="2637518"/>
            <a:chExt cx="1625177" cy="2257425"/>
          </a:xfrm>
        </p:grpSpPr>
        <p:sp>
          <p:nvSpPr>
            <p:cNvPr id="108" name="Right Arrow 107"/>
            <p:cNvSpPr/>
            <p:nvPr/>
          </p:nvSpPr>
          <p:spPr>
            <a:xfrm>
              <a:off x="3308803" y="2637518"/>
              <a:ext cx="1625177" cy="2257425"/>
            </a:xfrm>
            <a:prstGeom prst="rightArrow">
              <a:avLst/>
            </a:prstGeom>
            <a:gradFill flip="none" rotWithShape="1">
              <a:gsLst>
                <a:gs pos="49000">
                  <a:srgbClr val="4F81BD">
                    <a:shade val="51000"/>
                    <a:satMod val="130000"/>
                    <a:lumMod val="96000"/>
                  </a:srgbClr>
                </a:gs>
                <a:gs pos="100000">
                  <a:srgbClr val="4F81BD">
                    <a:lumMod val="93000"/>
                    <a:lumOff val="7000"/>
                  </a:srgbClr>
                </a:gs>
              </a:gsLst>
              <a:lin ang="10800000" scaled="1"/>
              <a:tileRect/>
            </a:gradFill>
            <a:ln w="9525" cap="flat" cmpd="sng" algn="ctr">
              <a:noFill/>
              <a:prstDash val="solid"/>
              <a:headEnd type="none" w="med" len="med"/>
              <a:tailEnd type="none" w="med" len="med"/>
            </a:ln>
            <a:effectLst/>
          </p:spPr>
          <p:txBody>
            <a:bodyPr vert="horz" wrap="square" lIns="0" tIns="0" rIns="274320" bIns="54916" numCol="1" rtlCol="0" anchor="ctr" anchorCtr="0" compatLnSpc="1">
              <a:prstTxWarp prst="textNoShape">
                <a:avLst/>
              </a:prstTxWarp>
            </a:bodyPr>
            <a:lstStyle/>
            <a:p>
              <a:pPr algn="ctr" defTabSz="685580" fontAlgn="base">
                <a:spcBef>
                  <a:spcPct val="0"/>
                </a:spcBef>
                <a:spcAft>
                  <a:spcPct val="0"/>
                </a:spcAft>
              </a:pPr>
              <a:r>
                <a:rPr lang="en-US" dirty="0">
                  <a:gradFill>
                    <a:gsLst>
                      <a:gs pos="0">
                        <a:srgbClr val="FFFFFF"/>
                      </a:gs>
                      <a:gs pos="100000">
                        <a:srgbClr val="FFFFFF"/>
                      </a:gs>
                    </a:gsLst>
                    <a:lin ang="5400000" scaled="0"/>
                  </a:gradFill>
                </a:rPr>
                <a:t>Service Model </a:t>
              </a:r>
            </a:p>
          </p:txBody>
        </p:sp>
        <p:sp>
          <p:nvSpPr>
            <p:cNvPr id="134" name="Freeform 262"/>
            <p:cNvSpPr>
              <a:spLocks/>
            </p:cNvSpPr>
            <p:nvPr/>
          </p:nvSpPr>
          <p:spPr bwMode="gray">
            <a:xfrm>
              <a:off x="4245822" y="3613051"/>
              <a:ext cx="326177" cy="307880"/>
            </a:xfrm>
            <a:custGeom>
              <a:avLst/>
              <a:gdLst>
                <a:gd name="T0" fmla="*/ 140 w 210"/>
                <a:gd name="T1" fmla="*/ 2 h 206"/>
                <a:gd name="T2" fmla="*/ 4 w 210"/>
                <a:gd name="T3" fmla="*/ 102 h 206"/>
                <a:gd name="T4" fmla="*/ 0 w 210"/>
                <a:gd name="T5" fmla="*/ 104 h 206"/>
                <a:gd name="T6" fmla="*/ 4 w 210"/>
                <a:gd name="T7" fmla="*/ 106 h 206"/>
                <a:gd name="T8" fmla="*/ 204 w 210"/>
                <a:gd name="T9" fmla="*/ 168 h 206"/>
                <a:gd name="T10" fmla="*/ 208 w 210"/>
                <a:gd name="T11" fmla="*/ 170 h 206"/>
                <a:gd name="T12" fmla="*/ 206 w 210"/>
                <a:gd name="T13" fmla="*/ 166 h 206"/>
                <a:gd name="T14" fmla="*/ 142 w 210"/>
                <a:gd name="T15" fmla="*/ 6 h 206"/>
                <a:gd name="T16" fmla="*/ 140 w 210"/>
                <a:gd name="T17" fmla="*/ 0 h 206"/>
                <a:gd name="T18" fmla="*/ 140 w 210"/>
                <a:gd name="T19" fmla="*/ 6 h 206"/>
                <a:gd name="T20" fmla="*/ 114 w 210"/>
                <a:gd name="T21" fmla="*/ 98 h 206"/>
                <a:gd name="T22" fmla="*/ 116 w 210"/>
                <a:gd name="T23" fmla="*/ 100 h 206"/>
                <a:gd name="T24" fmla="*/ 204 w 210"/>
                <a:gd name="T25" fmla="*/ 164 h 206"/>
                <a:gd name="T26" fmla="*/ 206 w 210"/>
                <a:gd name="T27" fmla="*/ 162 h 206"/>
                <a:gd name="T28" fmla="*/ 58 w 210"/>
                <a:gd name="T29" fmla="*/ 202 h 206"/>
                <a:gd name="T30" fmla="*/ 62 w 210"/>
                <a:gd name="T31" fmla="*/ 204 h 206"/>
                <a:gd name="T32" fmla="*/ 6 w 210"/>
                <a:gd name="T33" fmla="*/ 102 h 206"/>
                <a:gd name="T34" fmla="*/ 4 w 210"/>
                <a:gd name="T35" fmla="*/ 106 h 206"/>
                <a:gd name="T36" fmla="*/ 116 w 210"/>
                <a:gd name="T37" fmla="*/ 98 h 206"/>
                <a:gd name="T38" fmla="*/ 114 w 210"/>
                <a:gd name="T39" fmla="*/ 96 h 206"/>
                <a:gd name="T40" fmla="*/ 60 w 210"/>
                <a:gd name="T41" fmla="*/ 200 h 206"/>
                <a:gd name="T42" fmla="*/ 64 w 210"/>
                <a:gd name="T43" fmla="*/ 202 h 206"/>
                <a:gd name="T44" fmla="*/ 118 w 210"/>
                <a:gd name="T45" fmla="*/ 96 h 206"/>
                <a:gd name="T46" fmla="*/ 120 w 210"/>
                <a:gd name="T47" fmla="*/ 94 h 206"/>
                <a:gd name="T48" fmla="*/ 116 w 210"/>
                <a:gd name="T49" fmla="*/ 94 h 206"/>
                <a:gd name="T50" fmla="*/ 4 w 210"/>
                <a:gd name="T51" fmla="*/ 102 h 206"/>
                <a:gd name="T52" fmla="*/ 2 w 210"/>
                <a:gd name="T53" fmla="*/ 102 h 206"/>
                <a:gd name="T54" fmla="*/ 2 w 210"/>
                <a:gd name="T55" fmla="*/ 104 h 206"/>
                <a:gd name="T56" fmla="*/ 58 w 210"/>
                <a:gd name="T57" fmla="*/ 206 h 206"/>
                <a:gd name="T58" fmla="*/ 60 w 210"/>
                <a:gd name="T59" fmla="*/ 206 h 206"/>
                <a:gd name="T60" fmla="*/ 206 w 210"/>
                <a:gd name="T61" fmla="*/ 166 h 206"/>
                <a:gd name="T62" fmla="*/ 210 w 210"/>
                <a:gd name="T63" fmla="*/ 164 h 206"/>
                <a:gd name="T64" fmla="*/ 206 w 210"/>
                <a:gd name="T65" fmla="*/ 162 h 206"/>
                <a:gd name="T66" fmla="*/ 118 w 210"/>
                <a:gd name="T67" fmla="*/ 96 h 206"/>
                <a:gd name="T68" fmla="*/ 118 w 210"/>
                <a:gd name="T69" fmla="*/ 98 h 206"/>
                <a:gd name="T70" fmla="*/ 144 w 210"/>
                <a:gd name="T71" fmla="*/ 6 h 206"/>
                <a:gd name="T72" fmla="*/ 140 w 210"/>
                <a:gd name="T73" fmla="*/ 6 h 206"/>
                <a:gd name="T74" fmla="*/ 202 w 210"/>
                <a:gd name="T75" fmla="*/ 168 h 206"/>
                <a:gd name="T76" fmla="*/ 204 w 210"/>
                <a:gd name="T77" fmla="*/ 164 h 206"/>
                <a:gd name="T78" fmla="*/ 4 w 210"/>
                <a:gd name="T79" fmla="*/ 102 h 206"/>
                <a:gd name="T80" fmla="*/ 6 w 210"/>
                <a:gd name="T81" fmla="*/ 106 h 206"/>
                <a:gd name="T82" fmla="*/ 142 w 210"/>
                <a:gd name="T83" fmla="*/ 4 h 206"/>
                <a:gd name="T84" fmla="*/ 140 w 210"/>
                <a:gd name="T85" fmla="*/ 2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0" h="206">
                  <a:moveTo>
                    <a:pt x="140" y="2"/>
                  </a:moveTo>
                  <a:lnTo>
                    <a:pt x="4" y="102"/>
                  </a:lnTo>
                  <a:lnTo>
                    <a:pt x="0" y="104"/>
                  </a:lnTo>
                  <a:lnTo>
                    <a:pt x="4" y="106"/>
                  </a:lnTo>
                  <a:lnTo>
                    <a:pt x="204" y="168"/>
                  </a:lnTo>
                  <a:lnTo>
                    <a:pt x="208" y="170"/>
                  </a:lnTo>
                  <a:lnTo>
                    <a:pt x="206" y="166"/>
                  </a:lnTo>
                  <a:lnTo>
                    <a:pt x="142" y="6"/>
                  </a:lnTo>
                  <a:lnTo>
                    <a:pt x="140" y="0"/>
                  </a:lnTo>
                  <a:lnTo>
                    <a:pt x="140" y="6"/>
                  </a:lnTo>
                  <a:lnTo>
                    <a:pt x="114" y="98"/>
                  </a:lnTo>
                  <a:lnTo>
                    <a:pt x="116" y="100"/>
                  </a:lnTo>
                  <a:lnTo>
                    <a:pt x="204" y="164"/>
                  </a:lnTo>
                  <a:lnTo>
                    <a:pt x="206" y="162"/>
                  </a:lnTo>
                  <a:lnTo>
                    <a:pt x="58" y="202"/>
                  </a:lnTo>
                  <a:lnTo>
                    <a:pt x="62" y="204"/>
                  </a:lnTo>
                  <a:lnTo>
                    <a:pt x="6" y="102"/>
                  </a:lnTo>
                  <a:lnTo>
                    <a:pt x="4" y="106"/>
                  </a:lnTo>
                  <a:lnTo>
                    <a:pt x="116" y="98"/>
                  </a:lnTo>
                  <a:lnTo>
                    <a:pt x="114" y="96"/>
                  </a:lnTo>
                  <a:lnTo>
                    <a:pt x="60" y="200"/>
                  </a:lnTo>
                  <a:lnTo>
                    <a:pt x="64" y="202"/>
                  </a:lnTo>
                  <a:lnTo>
                    <a:pt x="118" y="96"/>
                  </a:lnTo>
                  <a:lnTo>
                    <a:pt x="120" y="94"/>
                  </a:lnTo>
                  <a:lnTo>
                    <a:pt x="116" y="94"/>
                  </a:lnTo>
                  <a:lnTo>
                    <a:pt x="4" y="102"/>
                  </a:lnTo>
                  <a:lnTo>
                    <a:pt x="2" y="102"/>
                  </a:lnTo>
                  <a:lnTo>
                    <a:pt x="2" y="104"/>
                  </a:lnTo>
                  <a:lnTo>
                    <a:pt x="58" y="206"/>
                  </a:lnTo>
                  <a:lnTo>
                    <a:pt x="60" y="206"/>
                  </a:lnTo>
                  <a:lnTo>
                    <a:pt x="206" y="166"/>
                  </a:lnTo>
                  <a:lnTo>
                    <a:pt x="210" y="164"/>
                  </a:lnTo>
                  <a:lnTo>
                    <a:pt x="206" y="162"/>
                  </a:lnTo>
                  <a:lnTo>
                    <a:pt x="118" y="96"/>
                  </a:lnTo>
                  <a:lnTo>
                    <a:pt x="118" y="98"/>
                  </a:lnTo>
                  <a:lnTo>
                    <a:pt x="144" y="6"/>
                  </a:lnTo>
                  <a:lnTo>
                    <a:pt x="140" y="6"/>
                  </a:lnTo>
                  <a:lnTo>
                    <a:pt x="202" y="168"/>
                  </a:lnTo>
                  <a:lnTo>
                    <a:pt x="204" y="164"/>
                  </a:lnTo>
                  <a:lnTo>
                    <a:pt x="4" y="102"/>
                  </a:lnTo>
                  <a:lnTo>
                    <a:pt x="6" y="106"/>
                  </a:lnTo>
                  <a:lnTo>
                    <a:pt x="142" y="4"/>
                  </a:lnTo>
                  <a:lnTo>
                    <a:pt x="140" y="2"/>
                  </a:lnTo>
                  <a:close/>
                </a:path>
              </a:pathLst>
            </a:custGeom>
            <a:solidFill>
              <a:schemeClr val="tx1"/>
            </a:solidFill>
            <a:ln>
              <a:noFill/>
            </a:ln>
            <a:extLst/>
          </p:spPr>
          <p:txBody>
            <a:bodyPr/>
            <a:lstStyle/>
            <a:p>
              <a:pPr defTabSz="684616" fontAlgn="base">
                <a:spcBef>
                  <a:spcPct val="0"/>
                </a:spcBef>
                <a:spcAft>
                  <a:spcPct val="0"/>
                </a:spcAft>
                <a:defRPr/>
              </a:pPr>
              <a:endParaRPr lang="en-US">
                <a:solidFill>
                  <a:srgbClr val="FFFFFF"/>
                </a:solidFill>
                <a:latin typeface="Arial" charset="0"/>
                <a:cs typeface="Arial" charset="0"/>
              </a:endParaRPr>
            </a:p>
          </p:txBody>
        </p:sp>
      </p:grpSp>
      <p:grpSp>
        <p:nvGrpSpPr>
          <p:cNvPr id="5" name="Group 4"/>
          <p:cNvGrpSpPr/>
          <p:nvPr/>
        </p:nvGrpSpPr>
        <p:grpSpPr>
          <a:xfrm>
            <a:off x="1213286" y="1678452"/>
            <a:ext cx="1114843" cy="396147"/>
            <a:chOff x="1380956" y="2714988"/>
            <a:chExt cx="1486070" cy="528196"/>
          </a:xfrm>
        </p:grpSpPr>
        <p:pic>
          <p:nvPicPr>
            <p:cNvPr id="3" name="Picture 2"/>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380956" y="2714988"/>
              <a:ext cx="1486070" cy="314797"/>
            </a:xfrm>
            <a:prstGeom prst="rect">
              <a:avLst/>
            </a:prstGeom>
          </p:spPr>
        </p:pic>
        <p:sp>
          <p:nvSpPr>
            <p:cNvPr id="4" name="TextBox 3"/>
            <p:cNvSpPr txBox="1"/>
            <p:nvPr/>
          </p:nvSpPr>
          <p:spPr>
            <a:xfrm>
              <a:off x="1600202" y="2955925"/>
              <a:ext cx="1114424" cy="287259"/>
            </a:xfrm>
            <a:prstGeom prst="rect">
              <a:avLst/>
            </a:prstGeom>
            <a:noFill/>
          </p:spPr>
          <p:txBody>
            <a:bodyPr wrap="square" rtlCol="0">
              <a:spAutoFit/>
            </a:bodyPr>
            <a:lstStyle/>
            <a:p>
              <a:pPr defTabSz="685778"/>
              <a:r>
                <a:rPr lang="en-US" sz="800" dirty="0">
                  <a:solidFill>
                    <a:srgbClr val="FFFFFF">
                      <a:alpha val="99000"/>
                    </a:srgbClr>
                  </a:solidFill>
                  <a:latin typeface="Segoe" pitchFamily="34" charset="0"/>
                </a:rPr>
                <a:t>App Controller</a:t>
              </a:r>
            </a:p>
          </p:txBody>
        </p:sp>
      </p:grpSp>
      <p:pic>
        <p:nvPicPr>
          <p:cNvPr id="7" name="Picture 6"/>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535148" y="4181705"/>
            <a:ext cx="784165" cy="144413"/>
          </a:xfrm>
          <a:prstGeom prst="rect">
            <a:avLst/>
          </a:prstGeom>
        </p:spPr>
      </p:pic>
      <p:pic>
        <p:nvPicPr>
          <p:cNvPr id="120" name="Picture 119"/>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7505095" y="3328663"/>
            <a:ext cx="784165" cy="206306"/>
          </a:xfrm>
          <a:prstGeom prst="rect">
            <a:avLst/>
          </a:prstGeom>
        </p:spPr>
      </p:pic>
      <p:pic>
        <p:nvPicPr>
          <p:cNvPr id="125" name="Picture 124"/>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7436649" y="2107564"/>
            <a:ext cx="784165" cy="206306"/>
          </a:xfrm>
          <a:prstGeom prst="rect">
            <a:avLst/>
          </a:prstGeom>
        </p:spPr>
      </p:pic>
      <p:pic>
        <p:nvPicPr>
          <p:cNvPr id="82" name="Picture 4" descr="C:\Documents and Settings\Eva\My Documents\336\SysCnt-DPM_h_rgb_r.png"/>
          <p:cNvPicPr>
            <a:picLocks noChangeAspect="1" noChangeArrowheads="1"/>
          </p:cNvPicPr>
          <p:nvPr/>
        </p:nvPicPr>
        <p:blipFill>
          <a:blip r:embed="rId16"/>
          <a:srcRect/>
          <a:stretch>
            <a:fillRect/>
          </a:stretch>
        </p:blipFill>
        <p:spPr bwMode="auto">
          <a:xfrm>
            <a:off x="6147885" y="4253911"/>
            <a:ext cx="1097378" cy="268477"/>
          </a:xfrm>
          <a:prstGeom prst="rect">
            <a:avLst/>
          </a:prstGeom>
          <a:noFill/>
          <a:ln w="9525">
            <a:noFill/>
            <a:miter lim="800000"/>
            <a:headEnd/>
            <a:tailEnd/>
          </a:ln>
        </p:spPr>
      </p:pic>
      <p:sp>
        <p:nvSpPr>
          <p:cNvPr id="88"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89"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7"/>
              </a:rPr>
              <a:t>www.rapidbbs.cn</a:t>
            </a:r>
            <a:endParaRPr lang="zh-CN" altLang="en-US" sz="1200" b="0">
              <a:latin typeface="Arial" charset="0"/>
              <a:ea typeface="ＭＳ Ｐゴシック" pitchFamily="34" charset="-128"/>
            </a:endParaRPr>
          </a:p>
        </p:txBody>
      </p:sp>
      <p:pic>
        <p:nvPicPr>
          <p:cNvPr id="90" name="Picture 2">
            <a:hlinkClick r:id="rId17"/>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498695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9"/>
                                        </p:tgtEl>
                                        <p:attrNameLst>
                                          <p:attrName>style.visibility</p:attrName>
                                        </p:attrNameLst>
                                      </p:cBhvr>
                                      <p:to>
                                        <p:strVal val="visible"/>
                                      </p:to>
                                    </p:set>
                                  </p:childTnLst>
                                </p:cTn>
                              </p:par>
                              <p:par>
                                <p:cTn id="9" presetID="22" presetClass="entr" presetSubtype="8" fill="hold" nodeType="withEffect">
                                  <p:stCondLst>
                                    <p:cond delay="0"/>
                                  </p:stCondLst>
                                  <p:childTnLst>
                                    <p:set>
                                      <p:cBhvr>
                                        <p:cTn id="10" dur="1" fill="hold">
                                          <p:stCondLst>
                                            <p:cond delay="0"/>
                                          </p:stCondLst>
                                        </p:cTn>
                                        <p:tgtEl>
                                          <p:spTgt spid="71"/>
                                        </p:tgtEl>
                                        <p:attrNameLst>
                                          <p:attrName>style.visibility</p:attrName>
                                        </p:attrNameLst>
                                      </p:cBhvr>
                                      <p:to>
                                        <p:strVal val="visible"/>
                                      </p:to>
                                    </p:set>
                                    <p:animEffect transition="in" filter="wipe(left)">
                                      <p:cBhvr>
                                        <p:cTn id="11" dur="1000"/>
                                        <p:tgtEl>
                                          <p:spTgt spid="71"/>
                                        </p:tgtEl>
                                      </p:cBhvr>
                                    </p:animEffect>
                                  </p:childTnLst>
                                </p:cTn>
                              </p:par>
                              <p:par>
                                <p:cTn id="12" presetID="10" presetClass="entr" presetSubtype="0" fill="hold" nodeType="withEffect">
                                  <p:stCondLst>
                                    <p:cond delay="0"/>
                                  </p:stCondLst>
                                  <p:childTnLst>
                                    <p:set>
                                      <p:cBhvr>
                                        <p:cTn id="13" dur="1" fill="hold">
                                          <p:stCondLst>
                                            <p:cond delay="0"/>
                                          </p:stCondLst>
                                        </p:cTn>
                                        <p:tgtEl>
                                          <p:spTgt spid="128"/>
                                        </p:tgtEl>
                                        <p:attrNameLst>
                                          <p:attrName>style.visibility</p:attrName>
                                        </p:attrNameLst>
                                      </p:cBhvr>
                                      <p:to>
                                        <p:strVal val="visible"/>
                                      </p:to>
                                    </p:set>
                                    <p:animEffect transition="in" filter="fade">
                                      <p:cBhvr>
                                        <p:cTn id="14" dur="500"/>
                                        <p:tgtEl>
                                          <p:spTgt spid="128"/>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65"/>
                                        </p:tgtEl>
                                        <p:attrNameLst>
                                          <p:attrName>style.visibility</p:attrName>
                                        </p:attrNameLst>
                                      </p:cBhvr>
                                      <p:to>
                                        <p:strVal val="visible"/>
                                      </p:to>
                                    </p:set>
                                    <p:animEffect transition="in" filter="fade">
                                      <p:cBhvr>
                                        <p:cTn id="19" dur="750"/>
                                        <p:tgtEl>
                                          <p:spTgt spid="65"/>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8" fill="hold" nodeType="clickEffect">
                                  <p:stCondLst>
                                    <p:cond delay="0"/>
                                  </p:stCondLst>
                                  <p:childTnLst>
                                    <p:set>
                                      <p:cBhvr>
                                        <p:cTn id="23" dur="1" fill="hold">
                                          <p:stCondLst>
                                            <p:cond delay="0"/>
                                          </p:stCondLst>
                                        </p:cTn>
                                        <p:tgtEl>
                                          <p:spTgt spid="6"/>
                                        </p:tgtEl>
                                        <p:attrNameLst>
                                          <p:attrName>style.visibility</p:attrName>
                                        </p:attrNameLst>
                                      </p:cBhvr>
                                      <p:to>
                                        <p:strVal val="visible"/>
                                      </p:to>
                                    </p:set>
                                    <p:animEffect transition="in" filter="wipe(left)">
                                      <p:cBhvr>
                                        <p:cTn id="24" dur="500"/>
                                        <p:tgtEl>
                                          <p:spTgt spid="6"/>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62"/>
                                        </p:tgtEl>
                                        <p:attrNameLst>
                                          <p:attrName>style.visibility</p:attrName>
                                        </p:attrNameLst>
                                      </p:cBhvr>
                                      <p:to>
                                        <p:strVal val="visible"/>
                                      </p:to>
                                    </p:set>
                                    <p:animEffect transition="in" filter="fade">
                                      <p:cBhvr>
                                        <p:cTn id="29" dur="750"/>
                                        <p:tgtEl>
                                          <p:spTgt spid="62"/>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109"/>
                                        </p:tgtEl>
                                        <p:attrNameLst>
                                          <p:attrName>style.visibility</p:attrName>
                                        </p:attrNameLst>
                                      </p:cBhvr>
                                      <p:to>
                                        <p:strVal val="visible"/>
                                      </p:to>
                                    </p:set>
                                    <p:animEffect transition="in" filter="fade">
                                      <p:cBhvr>
                                        <p:cTn id="34" dur="500"/>
                                        <p:tgtEl>
                                          <p:spTgt spid="109"/>
                                        </p:tgtEl>
                                      </p:cBhvr>
                                    </p:animEffect>
                                  </p:childTnLst>
                                </p:cTn>
                              </p:par>
                            </p:childTnLst>
                          </p:cTn>
                        </p:par>
                        <p:par>
                          <p:cTn id="35" fill="hold">
                            <p:stCondLst>
                              <p:cond delay="500"/>
                            </p:stCondLst>
                            <p:childTnLst>
                              <p:par>
                                <p:cTn id="36" presetID="22" presetClass="entr" presetSubtype="8" fill="hold" nodeType="afterEffect">
                                  <p:stCondLst>
                                    <p:cond delay="0"/>
                                  </p:stCondLst>
                                  <p:childTnLst>
                                    <p:set>
                                      <p:cBhvr>
                                        <p:cTn id="37" dur="1" fill="hold">
                                          <p:stCondLst>
                                            <p:cond delay="0"/>
                                          </p:stCondLst>
                                        </p:cTn>
                                        <p:tgtEl>
                                          <p:spTgt spid="76"/>
                                        </p:tgtEl>
                                        <p:attrNameLst>
                                          <p:attrName>style.visibility</p:attrName>
                                        </p:attrNameLst>
                                      </p:cBhvr>
                                      <p:to>
                                        <p:strVal val="visible"/>
                                      </p:to>
                                    </p:set>
                                    <p:animEffect transition="in" filter="wipe(left)">
                                      <p:cBhvr>
                                        <p:cTn id="38" dur="750"/>
                                        <p:tgtEl>
                                          <p:spTgt spid="76"/>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8"/>
                                        </p:tgtEl>
                                        <p:attrNameLst>
                                          <p:attrName>style.visibility</p:attrName>
                                        </p:attrNameLst>
                                      </p:cBhvr>
                                      <p:to>
                                        <p:strVal val="visible"/>
                                      </p:to>
                                    </p:set>
                                    <p:animEffect transition="in" filter="fade">
                                      <p:cBhvr>
                                        <p:cTn id="43" dur="500"/>
                                        <p:tgtEl>
                                          <p:spTgt spid="8"/>
                                        </p:tgtEl>
                                      </p:cBhvr>
                                    </p:animEffect>
                                  </p:childTnLst>
                                </p:cTn>
                              </p:par>
                              <p:par>
                                <p:cTn id="44" presetID="10" presetClass="entr" presetSubtype="0" fill="hold" nodeType="withEffect">
                                  <p:stCondLst>
                                    <p:cond delay="0"/>
                                  </p:stCondLst>
                                  <p:childTnLst>
                                    <p:set>
                                      <p:cBhvr>
                                        <p:cTn id="45" dur="1" fill="hold">
                                          <p:stCondLst>
                                            <p:cond delay="0"/>
                                          </p:stCondLst>
                                        </p:cTn>
                                        <p:tgtEl>
                                          <p:spTgt spid="86"/>
                                        </p:tgtEl>
                                        <p:attrNameLst>
                                          <p:attrName>style.visibility</p:attrName>
                                        </p:attrNameLst>
                                      </p:cBhvr>
                                      <p:to>
                                        <p:strVal val="visible"/>
                                      </p:to>
                                    </p:set>
                                    <p:animEffect transition="in" filter="fade">
                                      <p:cBhvr>
                                        <p:cTn id="46" dur="500"/>
                                        <p:tgtEl>
                                          <p:spTgt spid="86"/>
                                        </p:tgtEl>
                                      </p:cBhvr>
                                    </p:animEffect>
                                  </p:childTnLst>
                                </p:cTn>
                              </p:par>
                              <p:par>
                                <p:cTn id="47" presetID="10" presetClass="entr" presetSubtype="0" fill="hold" nodeType="withEffect">
                                  <p:stCondLst>
                                    <p:cond delay="0"/>
                                  </p:stCondLst>
                                  <p:childTnLst>
                                    <p:set>
                                      <p:cBhvr>
                                        <p:cTn id="48" dur="1" fill="hold">
                                          <p:stCondLst>
                                            <p:cond delay="0"/>
                                          </p:stCondLst>
                                        </p:cTn>
                                        <p:tgtEl>
                                          <p:spTgt spid="9"/>
                                        </p:tgtEl>
                                        <p:attrNameLst>
                                          <p:attrName>style.visibility</p:attrName>
                                        </p:attrNameLst>
                                      </p:cBhvr>
                                      <p:to>
                                        <p:strVal val="visible"/>
                                      </p:to>
                                    </p:set>
                                    <p:animEffect transition="in" filter="fade">
                                      <p:cBhvr>
                                        <p:cTn id="49" dur="500"/>
                                        <p:tgtEl>
                                          <p:spTgt spid="9"/>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85"/>
                                        </p:tgtEl>
                                        <p:attrNameLst>
                                          <p:attrName>style.visibility</p:attrName>
                                        </p:attrNameLst>
                                      </p:cBhvr>
                                      <p:to>
                                        <p:strVal val="visible"/>
                                      </p:to>
                                    </p:set>
                                    <p:animEffect transition="in" filter="fade">
                                      <p:cBhvr>
                                        <p:cTn id="52" dur="500"/>
                                        <p:tgtEl>
                                          <p:spTgt spid="85"/>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84"/>
                                        </p:tgtEl>
                                        <p:attrNameLst>
                                          <p:attrName>style.visibility</p:attrName>
                                        </p:attrNameLst>
                                      </p:cBhvr>
                                      <p:to>
                                        <p:strVal val="visible"/>
                                      </p:to>
                                    </p:set>
                                    <p:animEffect transition="in" filter="fade">
                                      <p:cBhvr>
                                        <p:cTn id="55" dur="500"/>
                                        <p:tgtEl>
                                          <p:spTgt spid="84"/>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83"/>
                                        </p:tgtEl>
                                        <p:attrNameLst>
                                          <p:attrName>style.visibility</p:attrName>
                                        </p:attrNameLst>
                                      </p:cBhvr>
                                      <p:to>
                                        <p:strVal val="visible"/>
                                      </p:to>
                                    </p:set>
                                    <p:animEffect transition="in" filter="fade">
                                      <p:cBhvr>
                                        <p:cTn id="58" dur="500"/>
                                        <p:tgtEl>
                                          <p:spTgt spid="83"/>
                                        </p:tgtEl>
                                      </p:cBhvr>
                                    </p:animEffect>
                                  </p:childTnLst>
                                </p:cTn>
                              </p:par>
                            </p:childTnLst>
                          </p:cTn>
                        </p:par>
                      </p:childTnLst>
                    </p:cTn>
                  </p:par>
                  <p:par>
                    <p:cTn id="59" fill="hold">
                      <p:stCondLst>
                        <p:cond delay="indefinite"/>
                      </p:stCondLst>
                      <p:childTnLst>
                        <p:par>
                          <p:cTn id="60" fill="hold">
                            <p:stCondLst>
                              <p:cond delay="0"/>
                            </p:stCondLst>
                            <p:childTnLst>
                              <p:par>
                                <p:cTn id="61" presetID="22" presetClass="entr" presetSubtype="2" fill="hold" nodeType="clickEffect">
                                  <p:stCondLst>
                                    <p:cond delay="0"/>
                                  </p:stCondLst>
                                  <p:childTnLst>
                                    <p:set>
                                      <p:cBhvr>
                                        <p:cTn id="62" dur="1" fill="hold">
                                          <p:stCondLst>
                                            <p:cond delay="0"/>
                                          </p:stCondLst>
                                        </p:cTn>
                                        <p:tgtEl>
                                          <p:spTgt spid="57"/>
                                        </p:tgtEl>
                                        <p:attrNameLst>
                                          <p:attrName>style.visibility</p:attrName>
                                        </p:attrNameLst>
                                      </p:cBhvr>
                                      <p:to>
                                        <p:strVal val="visible"/>
                                      </p:to>
                                    </p:set>
                                    <p:animEffect transition="in" filter="wipe(right)">
                                      <p:cBhvr>
                                        <p:cTn id="63" dur="750"/>
                                        <p:tgtEl>
                                          <p:spTgt spid="57"/>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nodeType="clickEffect">
                                  <p:stCondLst>
                                    <p:cond delay="0"/>
                                  </p:stCondLst>
                                  <p:childTnLst>
                                    <p:set>
                                      <p:cBhvr>
                                        <p:cTn id="67" dur="1" fill="hold">
                                          <p:stCondLst>
                                            <p:cond delay="0"/>
                                          </p:stCondLst>
                                        </p:cTn>
                                        <p:tgtEl>
                                          <p:spTgt spid="118"/>
                                        </p:tgtEl>
                                        <p:attrNameLst>
                                          <p:attrName>style.visibility</p:attrName>
                                        </p:attrNameLst>
                                      </p:cBhvr>
                                      <p:to>
                                        <p:strVal val="visible"/>
                                      </p:to>
                                    </p:set>
                                    <p:animEffect transition="in" filter="fade">
                                      <p:cBhvr>
                                        <p:cTn id="68" dur="1000"/>
                                        <p:tgtEl>
                                          <p:spTgt spid="118"/>
                                        </p:tgtEl>
                                      </p:cBhvr>
                                    </p:animEffect>
                                  </p:childTnLst>
                                </p:cTn>
                              </p:par>
                              <p:par>
                                <p:cTn id="69" presetID="1" presetClass="entr" presetSubtype="0" fill="hold" nodeType="withEffect">
                                  <p:stCondLst>
                                    <p:cond delay="0"/>
                                  </p:stCondLst>
                                  <p:childTnLst>
                                    <p:set>
                                      <p:cBhvr>
                                        <p:cTn id="70" dur="1" fill="hold">
                                          <p:stCondLst>
                                            <p:cond delay="0"/>
                                          </p:stCondLst>
                                        </p:cTn>
                                        <p:tgtEl>
                                          <p:spTgt spid="133"/>
                                        </p:tgtEl>
                                        <p:attrNameLst>
                                          <p:attrName>style.visibility</p:attrName>
                                        </p:attrNameLst>
                                      </p:cBhvr>
                                      <p:to>
                                        <p:strVal val="visible"/>
                                      </p:to>
                                    </p:set>
                                  </p:childTnLst>
                                </p:cTn>
                              </p:par>
                              <p:par>
                                <p:cTn id="71" presetID="10" presetClass="entr" presetSubtype="0" fill="hold" nodeType="withEffect">
                                  <p:stCondLst>
                                    <p:cond delay="0"/>
                                  </p:stCondLst>
                                  <p:childTnLst>
                                    <p:set>
                                      <p:cBhvr>
                                        <p:cTn id="72" dur="1" fill="hold">
                                          <p:stCondLst>
                                            <p:cond delay="0"/>
                                          </p:stCondLst>
                                        </p:cTn>
                                        <p:tgtEl>
                                          <p:spTgt spid="5"/>
                                        </p:tgtEl>
                                        <p:attrNameLst>
                                          <p:attrName>style.visibility</p:attrName>
                                        </p:attrNameLst>
                                      </p:cBhvr>
                                      <p:to>
                                        <p:strVal val="visible"/>
                                      </p:to>
                                    </p:set>
                                    <p:animEffect transition="in" filter="fade">
                                      <p:cBhvr>
                                        <p:cTn id="73" dur="500"/>
                                        <p:tgtEl>
                                          <p:spTgt spid="5"/>
                                        </p:tgtEl>
                                      </p:cBhvr>
                                    </p:animEffect>
                                  </p:childTnLst>
                                </p:cTn>
                              </p:par>
                              <p:par>
                                <p:cTn id="74" presetID="10" presetClass="entr" presetSubtype="0" fill="hold" nodeType="withEffect">
                                  <p:stCondLst>
                                    <p:cond delay="0"/>
                                  </p:stCondLst>
                                  <p:childTnLst>
                                    <p:set>
                                      <p:cBhvr>
                                        <p:cTn id="75" dur="1" fill="hold">
                                          <p:stCondLst>
                                            <p:cond delay="0"/>
                                          </p:stCondLst>
                                        </p:cTn>
                                        <p:tgtEl>
                                          <p:spTgt spid="132"/>
                                        </p:tgtEl>
                                        <p:attrNameLst>
                                          <p:attrName>style.visibility</p:attrName>
                                        </p:attrNameLst>
                                      </p:cBhvr>
                                      <p:to>
                                        <p:strVal val="visible"/>
                                      </p:to>
                                    </p:set>
                                    <p:animEffect transition="in" filter="fade">
                                      <p:cBhvr>
                                        <p:cTn id="76" dur="500"/>
                                        <p:tgtEl>
                                          <p:spTgt spid="132"/>
                                        </p:tgtEl>
                                      </p:cBhvr>
                                    </p:animEffect>
                                  </p:childTnLst>
                                </p:cTn>
                              </p:par>
                              <p:par>
                                <p:cTn id="77" presetID="10" presetClass="exit" presetSubtype="0" fill="hold" grpId="1" nodeType="withEffect">
                                  <p:stCondLst>
                                    <p:cond delay="0"/>
                                  </p:stCondLst>
                                  <p:childTnLst>
                                    <p:animEffect transition="out" filter="fade">
                                      <p:cBhvr>
                                        <p:cTn id="78" dur="500"/>
                                        <p:tgtEl>
                                          <p:spTgt spid="85"/>
                                        </p:tgtEl>
                                      </p:cBhvr>
                                    </p:animEffect>
                                    <p:set>
                                      <p:cBhvr>
                                        <p:cTn id="79" dur="1" fill="hold">
                                          <p:stCondLst>
                                            <p:cond delay="499"/>
                                          </p:stCondLst>
                                        </p:cTn>
                                        <p:tgtEl>
                                          <p:spTgt spid="85"/>
                                        </p:tgtEl>
                                        <p:attrNameLst>
                                          <p:attrName>style.visibility</p:attrName>
                                        </p:attrNameLst>
                                      </p:cBhvr>
                                      <p:to>
                                        <p:strVal val="hidden"/>
                                      </p:to>
                                    </p:set>
                                  </p:childTnLst>
                                </p:cTn>
                              </p:par>
                              <p:par>
                                <p:cTn id="80" presetID="10" presetClass="exit" presetSubtype="0" fill="hold" grpId="1" nodeType="withEffect">
                                  <p:stCondLst>
                                    <p:cond delay="0"/>
                                  </p:stCondLst>
                                  <p:childTnLst>
                                    <p:animEffect transition="out" filter="fade">
                                      <p:cBhvr>
                                        <p:cTn id="81" dur="500"/>
                                        <p:tgtEl>
                                          <p:spTgt spid="84"/>
                                        </p:tgtEl>
                                      </p:cBhvr>
                                    </p:animEffect>
                                    <p:set>
                                      <p:cBhvr>
                                        <p:cTn id="82" dur="1" fill="hold">
                                          <p:stCondLst>
                                            <p:cond delay="499"/>
                                          </p:stCondLst>
                                        </p:cTn>
                                        <p:tgtEl>
                                          <p:spTgt spid="84"/>
                                        </p:tgtEl>
                                        <p:attrNameLst>
                                          <p:attrName>style.visibility</p:attrName>
                                        </p:attrNameLst>
                                      </p:cBhvr>
                                      <p:to>
                                        <p:strVal val="hidden"/>
                                      </p:to>
                                    </p:set>
                                  </p:childTnLst>
                                </p:cTn>
                              </p:par>
                              <p:par>
                                <p:cTn id="83" presetID="10" presetClass="exit" presetSubtype="0" fill="hold" grpId="1" nodeType="withEffect">
                                  <p:stCondLst>
                                    <p:cond delay="0"/>
                                  </p:stCondLst>
                                  <p:childTnLst>
                                    <p:animEffect transition="out" filter="fade">
                                      <p:cBhvr>
                                        <p:cTn id="84" dur="500"/>
                                        <p:tgtEl>
                                          <p:spTgt spid="83"/>
                                        </p:tgtEl>
                                      </p:cBhvr>
                                    </p:animEffect>
                                    <p:set>
                                      <p:cBhvr>
                                        <p:cTn id="85" dur="1" fill="hold">
                                          <p:stCondLst>
                                            <p:cond delay="499"/>
                                          </p:stCondLst>
                                        </p:cTn>
                                        <p:tgtEl>
                                          <p:spTgt spid="83"/>
                                        </p:tgtEl>
                                        <p:attrNameLst>
                                          <p:attrName>style.visibility</p:attrName>
                                        </p:attrNameLst>
                                      </p:cBhvr>
                                      <p:to>
                                        <p:strVal val="hidden"/>
                                      </p:to>
                                    </p:set>
                                  </p:childTnLst>
                                </p:cTn>
                              </p:par>
                              <p:par>
                                <p:cTn id="86" presetID="10" presetClass="entr" presetSubtype="0" fill="hold" nodeType="withEffect">
                                  <p:stCondLst>
                                    <p:cond delay="0"/>
                                  </p:stCondLst>
                                  <p:childTnLst>
                                    <p:set>
                                      <p:cBhvr>
                                        <p:cTn id="87" dur="1" fill="hold">
                                          <p:stCondLst>
                                            <p:cond delay="0"/>
                                          </p:stCondLst>
                                        </p:cTn>
                                        <p:tgtEl>
                                          <p:spTgt spid="125"/>
                                        </p:tgtEl>
                                        <p:attrNameLst>
                                          <p:attrName>style.visibility</p:attrName>
                                        </p:attrNameLst>
                                      </p:cBhvr>
                                      <p:to>
                                        <p:strVal val="visible"/>
                                      </p:to>
                                    </p:set>
                                    <p:animEffect transition="in" filter="fade">
                                      <p:cBhvr>
                                        <p:cTn id="88" dur="500"/>
                                        <p:tgtEl>
                                          <p:spTgt spid="125"/>
                                        </p:tgtEl>
                                      </p:cBhvr>
                                    </p:animEffect>
                                  </p:childTnLst>
                                </p:cTn>
                              </p:par>
                              <p:par>
                                <p:cTn id="89" presetID="10" presetClass="entr" presetSubtype="0" fill="hold" nodeType="withEffect">
                                  <p:stCondLst>
                                    <p:cond delay="0"/>
                                  </p:stCondLst>
                                  <p:childTnLst>
                                    <p:set>
                                      <p:cBhvr>
                                        <p:cTn id="90" dur="1" fill="hold">
                                          <p:stCondLst>
                                            <p:cond delay="0"/>
                                          </p:stCondLst>
                                        </p:cTn>
                                        <p:tgtEl>
                                          <p:spTgt spid="120"/>
                                        </p:tgtEl>
                                        <p:attrNameLst>
                                          <p:attrName>style.visibility</p:attrName>
                                        </p:attrNameLst>
                                      </p:cBhvr>
                                      <p:to>
                                        <p:strVal val="visible"/>
                                      </p:to>
                                    </p:set>
                                    <p:animEffect transition="in" filter="fade">
                                      <p:cBhvr>
                                        <p:cTn id="91" dur="500"/>
                                        <p:tgtEl>
                                          <p:spTgt spid="120"/>
                                        </p:tgtEl>
                                      </p:cBhvr>
                                    </p:animEffect>
                                  </p:childTnLst>
                                </p:cTn>
                              </p:par>
                              <p:par>
                                <p:cTn id="92" presetID="10" presetClass="entr" presetSubtype="0" fill="hold" nodeType="withEffect">
                                  <p:stCondLst>
                                    <p:cond delay="0"/>
                                  </p:stCondLst>
                                  <p:childTnLst>
                                    <p:set>
                                      <p:cBhvr>
                                        <p:cTn id="93" dur="1" fill="hold">
                                          <p:stCondLst>
                                            <p:cond delay="0"/>
                                          </p:stCondLst>
                                        </p:cTn>
                                        <p:tgtEl>
                                          <p:spTgt spid="7"/>
                                        </p:tgtEl>
                                        <p:attrNameLst>
                                          <p:attrName>style.visibility</p:attrName>
                                        </p:attrNameLst>
                                      </p:cBhvr>
                                      <p:to>
                                        <p:strVal val="visible"/>
                                      </p:to>
                                    </p:set>
                                    <p:animEffect transition="in" filter="fade">
                                      <p:cBhvr>
                                        <p:cTn id="94" dur="500"/>
                                        <p:tgtEl>
                                          <p:spTgt spid="7"/>
                                        </p:tgtEl>
                                      </p:cBhvr>
                                    </p:animEffect>
                                  </p:childTnLst>
                                </p:cTn>
                              </p:par>
                              <p:par>
                                <p:cTn id="95" presetID="1" presetClass="entr" presetSubtype="0" fill="hold" nodeType="withEffect">
                                  <p:stCondLst>
                                    <p:cond delay="0"/>
                                  </p:stCondLst>
                                  <p:childTnLst>
                                    <p:set>
                                      <p:cBhvr>
                                        <p:cTn id="96" dur="1" fill="hold">
                                          <p:stCondLst>
                                            <p:cond delay="0"/>
                                          </p:stCondLst>
                                        </p:cTn>
                                        <p:tgtEl>
                                          <p:spTgt spid="8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3" grpId="0"/>
      <p:bldP spid="83" grpId="1"/>
      <p:bldP spid="84" grpId="0"/>
      <p:bldP spid="84" grpId="1"/>
      <p:bldP spid="85" grpId="0"/>
      <p:bldP spid="85" grpId="1"/>
      <p:bldP spid="129" grpId="0"/>
    </p:bldLst>
  </p:timing>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9"/>
          <p:cNvSpPr>
            <a:spLocks noChangeArrowheads="1"/>
          </p:cNvSpPr>
          <p:nvPr/>
        </p:nvSpPr>
        <p:spPr bwMode="auto">
          <a:xfrm>
            <a:off x="576413" y="1066801"/>
            <a:ext cx="2559320" cy="3281363"/>
          </a:xfrm>
          <a:prstGeom prst="rect">
            <a:avLst/>
          </a:prstGeom>
          <a:solidFill>
            <a:srgbClr val="F0F2F3">
              <a:alpha val="10000"/>
            </a:srgbClr>
          </a:solidFill>
          <a:ln w="9525">
            <a:noFill/>
            <a:miter lim="800000"/>
            <a:headEnd/>
            <a:tailEnd/>
          </a:ln>
        </p:spPr>
        <p:txBody>
          <a:bodyPr wrap="none" lIns="68586" tIns="34294" rIns="68586" bIns="34294" anchor="ctr"/>
          <a:lstStyle/>
          <a:p>
            <a:pPr defTabSz="685862" fontAlgn="base">
              <a:spcBef>
                <a:spcPct val="0"/>
              </a:spcBef>
              <a:spcAft>
                <a:spcPct val="0"/>
              </a:spcAft>
              <a:defRPr/>
            </a:pPr>
            <a:endParaRPr lang="en-US">
              <a:solidFill>
                <a:srgbClr val="00264A"/>
              </a:solidFill>
              <a:cs typeface="Segoe UI" pitchFamily="34" charset="0"/>
            </a:endParaRPr>
          </a:p>
        </p:txBody>
      </p:sp>
      <p:sp>
        <p:nvSpPr>
          <p:cNvPr id="8" name="Rectangle 7"/>
          <p:cNvSpPr/>
          <p:nvPr/>
        </p:nvSpPr>
        <p:spPr>
          <a:xfrm>
            <a:off x="576413" y="1148954"/>
            <a:ext cx="2559320" cy="355997"/>
          </a:xfrm>
          <a:prstGeom prst="rect">
            <a:avLst/>
          </a:prstGeom>
          <a:solidFill>
            <a:srgbClr val="00264A"/>
          </a:solidFill>
          <a:ln>
            <a:noFill/>
          </a:ln>
          <a:effectLst/>
        </p:spPr>
        <p:style>
          <a:lnRef idx="1">
            <a:schemeClr val="accent1"/>
          </a:lnRef>
          <a:fillRef idx="3">
            <a:schemeClr val="accent1"/>
          </a:fillRef>
          <a:effectRef idx="2">
            <a:schemeClr val="accent1"/>
          </a:effectRef>
          <a:fontRef idx="minor">
            <a:schemeClr val="lt1"/>
          </a:fontRef>
        </p:style>
        <p:txBody>
          <a:bodyPr lIns="68586" tIns="34294" rIns="68586" bIns="34294" anchor="ctr"/>
          <a:lstStyle/>
          <a:p>
            <a:pPr algn="ctr" defTabSz="685862" fontAlgn="base">
              <a:spcBef>
                <a:spcPct val="0"/>
              </a:spcBef>
              <a:spcAft>
                <a:spcPct val="0"/>
              </a:spcAft>
              <a:defRPr/>
            </a:pPr>
            <a:endParaRPr lang="en-US" dirty="0">
              <a:solidFill>
                <a:srgbClr val="FFFFFF"/>
              </a:solidFill>
            </a:endParaRPr>
          </a:p>
        </p:txBody>
      </p:sp>
      <p:sp>
        <p:nvSpPr>
          <p:cNvPr id="9" name="Rectangle 19"/>
          <p:cNvSpPr>
            <a:spLocks noChangeArrowheads="1"/>
          </p:cNvSpPr>
          <p:nvPr/>
        </p:nvSpPr>
        <p:spPr bwMode="auto">
          <a:xfrm>
            <a:off x="6027325" y="1066801"/>
            <a:ext cx="2559319" cy="3281363"/>
          </a:xfrm>
          <a:prstGeom prst="rect">
            <a:avLst/>
          </a:prstGeom>
          <a:solidFill>
            <a:srgbClr val="F0F2F3">
              <a:alpha val="10000"/>
            </a:srgbClr>
          </a:solidFill>
          <a:ln w="9525">
            <a:noFill/>
            <a:miter lim="800000"/>
            <a:headEnd/>
            <a:tailEnd/>
          </a:ln>
        </p:spPr>
        <p:txBody>
          <a:bodyPr wrap="none" lIns="68586" tIns="34294" rIns="68586" bIns="34294" anchor="ctr"/>
          <a:lstStyle/>
          <a:p>
            <a:pPr defTabSz="685862" fontAlgn="base">
              <a:spcBef>
                <a:spcPct val="0"/>
              </a:spcBef>
              <a:spcAft>
                <a:spcPct val="0"/>
              </a:spcAft>
              <a:defRPr/>
            </a:pPr>
            <a:endParaRPr lang="en-US">
              <a:solidFill>
                <a:srgbClr val="00264A"/>
              </a:solidFill>
              <a:cs typeface="Segoe UI" pitchFamily="34" charset="0"/>
            </a:endParaRPr>
          </a:p>
        </p:txBody>
      </p:sp>
      <p:sp>
        <p:nvSpPr>
          <p:cNvPr id="10" name="Rectangle 19"/>
          <p:cNvSpPr>
            <a:spLocks noChangeArrowheads="1"/>
          </p:cNvSpPr>
          <p:nvPr/>
        </p:nvSpPr>
        <p:spPr bwMode="auto">
          <a:xfrm>
            <a:off x="3308418" y="1066801"/>
            <a:ext cx="2559320" cy="3281363"/>
          </a:xfrm>
          <a:prstGeom prst="rect">
            <a:avLst/>
          </a:prstGeom>
          <a:solidFill>
            <a:srgbClr val="F0F2F3">
              <a:alpha val="10000"/>
            </a:srgbClr>
          </a:solidFill>
          <a:ln w="9525">
            <a:noFill/>
            <a:miter lim="800000"/>
            <a:headEnd/>
            <a:tailEnd/>
          </a:ln>
        </p:spPr>
        <p:txBody>
          <a:bodyPr wrap="none" lIns="68586" tIns="34294" rIns="68586" bIns="34294" anchor="ctr"/>
          <a:lstStyle/>
          <a:p>
            <a:pPr defTabSz="685862" fontAlgn="base">
              <a:spcBef>
                <a:spcPct val="0"/>
              </a:spcBef>
              <a:spcAft>
                <a:spcPct val="0"/>
              </a:spcAft>
              <a:defRPr/>
            </a:pPr>
            <a:endParaRPr lang="en-US">
              <a:solidFill>
                <a:srgbClr val="00264A"/>
              </a:solidFill>
              <a:cs typeface="Segoe UI" pitchFamily="34" charset="0"/>
            </a:endParaRPr>
          </a:p>
        </p:txBody>
      </p:sp>
      <p:sp>
        <p:nvSpPr>
          <p:cNvPr id="11" name="Rectangle 10"/>
          <p:cNvSpPr/>
          <p:nvPr/>
        </p:nvSpPr>
        <p:spPr>
          <a:xfrm>
            <a:off x="3308418" y="1148954"/>
            <a:ext cx="2559320" cy="355997"/>
          </a:xfrm>
          <a:prstGeom prst="rect">
            <a:avLst/>
          </a:prstGeom>
          <a:solidFill>
            <a:srgbClr val="00264A"/>
          </a:solidFill>
          <a:ln>
            <a:noFill/>
          </a:ln>
          <a:effectLst/>
        </p:spPr>
        <p:style>
          <a:lnRef idx="1">
            <a:schemeClr val="accent1"/>
          </a:lnRef>
          <a:fillRef idx="3">
            <a:schemeClr val="accent1"/>
          </a:fillRef>
          <a:effectRef idx="2">
            <a:schemeClr val="accent1"/>
          </a:effectRef>
          <a:fontRef idx="minor">
            <a:schemeClr val="lt1"/>
          </a:fontRef>
        </p:style>
        <p:txBody>
          <a:bodyPr lIns="68586" tIns="34294" rIns="68586" bIns="34294" anchor="ctr"/>
          <a:lstStyle/>
          <a:p>
            <a:pPr algn="ctr" defTabSz="685862" fontAlgn="base">
              <a:spcBef>
                <a:spcPct val="0"/>
              </a:spcBef>
              <a:spcAft>
                <a:spcPct val="0"/>
              </a:spcAft>
              <a:defRPr/>
            </a:pPr>
            <a:endParaRPr lang="en-US" dirty="0">
              <a:solidFill>
                <a:srgbClr val="FFFFFF"/>
              </a:solidFill>
            </a:endParaRPr>
          </a:p>
        </p:txBody>
      </p:sp>
      <p:sp>
        <p:nvSpPr>
          <p:cNvPr id="12" name="Rectangle 11"/>
          <p:cNvSpPr/>
          <p:nvPr/>
        </p:nvSpPr>
        <p:spPr>
          <a:xfrm>
            <a:off x="6030896" y="1148954"/>
            <a:ext cx="2560511" cy="355997"/>
          </a:xfrm>
          <a:prstGeom prst="rect">
            <a:avLst/>
          </a:prstGeom>
          <a:solidFill>
            <a:srgbClr val="00264A"/>
          </a:solidFill>
          <a:ln>
            <a:noFill/>
          </a:ln>
          <a:effectLst/>
        </p:spPr>
        <p:style>
          <a:lnRef idx="1">
            <a:schemeClr val="accent1"/>
          </a:lnRef>
          <a:fillRef idx="3">
            <a:schemeClr val="accent1"/>
          </a:fillRef>
          <a:effectRef idx="2">
            <a:schemeClr val="accent1"/>
          </a:effectRef>
          <a:fontRef idx="minor">
            <a:schemeClr val="lt1"/>
          </a:fontRef>
        </p:style>
        <p:txBody>
          <a:bodyPr lIns="68586" tIns="34294" rIns="68586" bIns="34294" anchor="ctr"/>
          <a:lstStyle/>
          <a:p>
            <a:pPr algn="ctr" defTabSz="685862" fontAlgn="base">
              <a:spcBef>
                <a:spcPct val="0"/>
              </a:spcBef>
              <a:spcAft>
                <a:spcPct val="0"/>
              </a:spcAft>
              <a:defRPr/>
            </a:pPr>
            <a:endParaRPr lang="en-US" dirty="0">
              <a:solidFill>
                <a:srgbClr val="FFFFFF"/>
              </a:solidFill>
            </a:endParaRPr>
          </a:p>
        </p:txBody>
      </p:sp>
      <p:sp>
        <p:nvSpPr>
          <p:cNvPr id="13" name="Rectangle 24"/>
          <p:cNvSpPr>
            <a:spLocks noChangeArrowheads="1"/>
          </p:cNvSpPr>
          <p:nvPr/>
        </p:nvSpPr>
        <p:spPr bwMode="auto">
          <a:xfrm>
            <a:off x="570458" y="3771901"/>
            <a:ext cx="8003084" cy="594122"/>
          </a:xfrm>
          <a:prstGeom prst="rect">
            <a:avLst/>
          </a:prstGeom>
          <a:solidFill>
            <a:srgbClr val="002C56">
              <a:alpha val="91000"/>
            </a:srgbClr>
          </a:solidFill>
          <a:ln w="9525">
            <a:noFill/>
            <a:miter lim="800000"/>
            <a:headEnd/>
            <a:tailEnd/>
          </a:ln>
        </p:spPr>
        <p:txBody>
          <a:bodyPr wrap="none" lIns="68586" tIns="34294" rIns="68586" bIns="34294" anchor="ctr"/>
          <a:lstStyle/>
          <a:p>
            <a:pPr defTabSz="685862" fontAlgn="base">
              <a:spcBef>
                <a:spcPct val="0"/>
              </a:spcBef>
              <a:spcAft>
                <a:spcPct val="0"/>
              </a:spcAft>
            </a:pPr>
            <a:endParaRPr lang="en-US">
              <a:solidFill>
                <a:srgbClr val="00264A"/>
              </a:solidFill>
              <a:cs typeface="Segoe UI" pitchFamily="34" charset="0"/>
            </a:endParaRPr>
          </a:p>
        </p:txBody>
      </p:sp>
      <p:sp>
        <p:nvSpPr>
          <p:cNvPr id="14" name="Rectangle 36"/>
          <p:cNvSpPr>
            <a:spLocks noGrp="1"/>
          </p:cNvSpPr>
          <p:nvPr>
            <p:ph type="title"/>
          </p:nvPr>
        </p:nvSpPr>
        <p:spPr bwMode="auto">
          <a:xfrm>
            <a:off x="389436" y="171451"/>
            <a:ext cx="8363938" cy="373949"/>
          </a:xfrm>
          <a:noFill/>
          <a:ln>
            <a:miter lim="800000"/>
            <a:headEnd/>
            <a:tailEnd/>
          </a:ln>
        </p:spPr>
        <p:txBody>
          <a:bodyPr wrap="square" numCol="1" anchorCtr="0" compatLnSpc="1">
            <a:prstTxWarp prst="textNoShape">
              <a:avLst/>
            </a:prstTxWarp>
          </a:bodyPr>
          <a:lstStyle/>
          <a:p>
            <a:r>
              <a:rPr lang="en-US" sz="2700" dirty="0">
                <a:latin typeface="Segoe UI" pitchFamily="34" charset="0"/>
                <a:cs typeface="Arial" pitchFamily="34" charset="0"/>
              </a:rPr>
              <a:t>The complete application monitoring solution</a:t>
            </a:r>
          </a:p>
        </p:txBody>
      </p:sp>
      <p:sp>
        <p:nvSpPr>
          <p:cNvPr id="15" name="Text Placeholder 36"/>
          <p:cNvSpPr txBox="1">
            <a:spLocks/>
          </p:cNvSpPr>
          <p:nvPr/>
        </p:nvSpPr>
        <p:spPr bwMode="auto">
          <a:xfrm>
            <a:off x="596840" y="1143001"/>
            <a:ext cx="2559320" cy="357188"/>
          </a:xfrm>
          <a:prstGeom prst="rect">
            <a:avLst/>
          </a:prstGeom>
          <a:noFill/>
          <a:ln>
            <a:miter lim="800000"/>
            <a:headEnd/>
            <a:tailEnd/>
          </a:ln>
        </p:spPr>
        <p:txBody>
          <a:bodyPr wrap="square" lIns="68586" tIns="34294" rIns="68586" bIns="34294" numCol="1" anchor="t" anchorCtr="0" compatLnSpc="1">
            <a:prstTxWarp prst="textNoShape">
              <a:avLst/>
            </a:prstTxWarp>
          </a:bodyPr>
          <a:lstStyle>
            <a:lvl1pPr marL="455613" indent="-455613" algn="l" defTabSz="608013" rtl="0" fontAlgn="base">
              <a:spcBef>
                <a:spcPct val="20000"/>
              </a:spcBef>
              <a:spcAft>
                <a:spcPct val="0"/>
              </a:spcAft>
              <a:buFont typeface="Arial" pitchFamily="34" charset="0"/>
              <a:buChar char="•"/>
              <a:defRPr sz="2800" kern="1200">
                <a:solidFill>
                  <a:srgbClr val="FFFFFF"/>
                </a:solidFill>
                <a:latin typeface="+mn-lt"/>
                <a:ea typeface="+mn-ea"/>
                <a:cs typeface="Arial"/>
              </a:defRPr>
            </a:lvl1pPr>
            <a:lvl2pPr marL="989013" indent="-379413" algn="l" defTabSz="608013" rtl="0" fontAlgn="base">
              <a:spcBef>
                <a:spcPct val="20000"/>
              </a:spcBef>
              <a:spcAft>
                <a:spcPct val="0"/>
              </a:spcAft>
              <a:buFont typeface="Arial" pitchFamily="34" charset="0"/>
              <a:buChar char="–"/>
              <a:defRPr sz="2400" kern="1200">
                <a:solidFill>
                  <a:srgbClr val="FFFFFF"/>
                </a:solidFill>
                <a:latin typeface="+mn-lt"/>
                <a:ea typeface="+mn-ea"/>
                <a:cs typeface="Arial"/>
              </a:defRPr>
            </a:lvl2pPr>
            <a:lvl3pPr marL="1522413" indent="-303213" algn="l" defTabSz="608013" rtl="0" fontAlgn="base">
              <a:spcBef>
                <a:spcPct val="20000"/>
              </a:spcBef>
              <a:spcAft>
                <a:spcPct val="0"/>
              </a:spcAft>
              <a:buFont typeface="Arial" pitchFamily="34" charset="0"/>
              <a:buChar char="•"/>
              <a:defRPr kern="1200">
                <a:solidFill>
                  <a:srgbClr val="FFFFFF"/>
                </a:solidFill>
                <a:latin typeface="+mn-lt"/>
                <a:ea typeface="+mn-ea"/>
                <a:cs typeface="Arial"/>
              </a:defRPr>
            </a:lvl3pPr>
            <a:lvl4pPr marL="21320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4pPr>
            <a:lvl5pPr marL="27416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5pPr>
            <a:lvl6pPr marL="3352213" indent="-304747" algn="l" defTabSz="609493" rtl="0" eaLnBrk="1" latinLnBrk="0" hangingPunct="1">
              <a:spcBef>
                <a:spcPct val="20000"/>
              </a:spcBef>
              <a:buFont typeface="Arial"/>
              <a:buChar char="•"/>
              <a:defRPr sz="2700" kern="1200">
                <a:solidFill>
                  <a:schemeClr val="tx1"/>
                </a:solidFill>
                <a:latin typeface="+mn-lt"/>
                <a:ea typeface="+mn-ea"/>
                <a:cs typeface="+mn-cs"/>
              </a:defRPr>
            </a:lvl6pPr>
            <a:lvl7pPr marL="3961707" indent="-304747" algn="l" defTabSz="609493" rtl="0" eaLnBrk="1" latinLnBrk="0" hangingPunct="1">
              <a:spcBef>
                <a:spcPct val="20000"/>
              </a:spcBef>
              <a:buFont typeface="Arial"/>
              <a:buChar char="•"/>
              <a:defRPr sz="2700" kern="1200">
                <a:solidFill>
                  <a:schemeClr val="tx1"/>
                </a:solidFill>
                <a:latin typeface="+mn-lt"/>
                <a:ea typeface="+mn-ea"/>
                <a:cs typeface="+mn-cs"/>
              </a:defRPr>
            </a:lvl7pPr>
            <a:lvl8pPr marL="4571200" indent="-304747" algn="l" defTabSz="609493" rtl="0" eaLnBrk="1" latinLnBrk="0" hangingPunct="1">
              <a:spcBef>
                <a:spcPct val="20000"/>
              </a:spcBef>
              <a:buFont typeface="Arial"/>
              <a:buChar char="•"/>
              <a:defRPr sz="2700" kern="1200">
                <a:solidFill>
                  <a:schemeClr val="tx1"/>
                </a:solidFill>
                <a:latin typeface="+mn-lt"/>
                <a:ea typeface="+mn-ea"/>
                <a:cs typeface="+mn-cs"/>
              </a:defRPr>
            </a:lvl8pPr>
            <a:lvl9pPr marL="5180693" indent="-304747" algn="l" defTabSz="609493"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a:buNone/>
            </a:pPr>
            <a:r>
              <a:rPr lang="en-US" sz="1800" dirty="0">
                <a:solidFill>
                  <a:srgbClr val="3DB5F1"/>
                </a:solidFill>
                <a:cs typeface="Arial" pitchFamily="34" charset="0"/>
              </a:rPr>
              <a:t>Server-Side</a:t>
            </a:r>
          </a:p>
        </p:txBody>
      </p:sp>
      <p:sp>
        <p:nvSpPr>
          <p:cNvPr id="16" name="Text Placeholder 37"/>
          <p:cNvSpPr txBox="1">
            <a:spLocks/>
          </p:cNvSpPr>
          <p:nvPr/>
        </p:nvSpPr>
        <p:spPr bwMode="auto">
          <a:xfrm>
            <a:off x="747907" y="2457451"/>
            <a:ext cx="2218713" cy="1451372"/>
          </a:xfrm>
          <a:prstGeom prst="rect">
            <a:avLst/>
          </a:prstGeom>
          <a:noFill/>
          <a:ln>
            <a:miter lim="800000"/>
            <a:headEnd/>
            <a:tailEnd/>
          </a:ln>
        </p:spPr>
        <p:txBody>
          <a:bodyPr wrap="square" lIns="68586" tIns="34294" rIns="68586" bIns="34294" numCol="1" anchor="t" anchorCtr="0" compatLnSpc="1">
            <a:prstTxWarp prst="textNoShape">
              <a:avLst/>
            </a:prstTxWarp>
          </a:bodyPr>
          <a:lstStyle>
            <a:lvl1pPr marL="455613" indent="-455613" algn="l" defTabSz="608013" rtl="0" fontAlgn="base">
              <a:spcBef>
                <a:spcPct val="20000"/>
              </a:spcBef>
              <a:spcAft>
                <a:spcPct val="0"/>
              </a:spcAft>
              <a:buFont typeface="Arial" pitchFamily="34" charset="0"/>
              <a:buChar char="•"/>
              <a:defRPr sz="2800" kern="1200">
                <a:solidFill>
                  <a:srgbClr val="FFFFFF"/>
                </a:solidFill>
                <a:latin typeface="+mn-lt"/>
                <a:ea typeface="+mn-ea"/>
                <a:cs typeface="Arial"/>
              </a:defRPr>
            </a:lvl1pPr>
            <a:lvl2pPr marL="989013" indent="-379413" algn="l" defTabSz="608013" rtl="0" fontAlgn="base">
              <a:spcBef>
                <a:spcPct val="20000"/>
              </a:spcBef>
              <a:spcAft>
                <a:spcPct val="0"/>
              </a:spcAft>
              <a:buFont typeface="Arial" pitchFamily="34" charset="0"/>
              <a:buChar char="–"/>
              <a:defRPr sz="2400" kern="1200">
                <a:solidFill>
                  <a:srgbClr val="FFFFFF"/>
                </a:solidFill>
                <a:latin typeface="+mn-lt"/>
                <a:ea typeface="+mn-ea"/>
                <a:cs typeface="Arial"/>
              </a:defRPr>
            </a:lvl2pPr>
            <a:lvl3pPr marL="1522413" indent="-303213" algn="l" defTabSz="608013" rtl="0" fontAlgn="base">
              <a:spcBef>
                <a:spcPct val="20000"/>
              </a:spcBef>
              <a:spcAft>
                <a:spcPct val="0"/>
              </a:spcAft>
              <a:buFont typeface="Arial" pitchFamily="34" charset="0"/>
              <a:buChar char="•"/>
              <a:defRPr kern="1200">
                <a:solidFill>
                  <a:srgbClr val="FFFFFF"/>
                </a:solidFill>
                <a:latin typeface="+mn-lt"/>
                <a:ea typeface="+mn-ea"/>
                <a:cs typeface="Arial"/>
              </a:defRPr>
            </a:lvl3pPr>
            <a:lvl4pPr marL="21320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4pPr>
            <a:lvl5pPr marL="27416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5pPr>
            <a:lvl6pPr marL="3352213" indent="-304747" algn="l" defTabSz="609493" rtl="0" eaLnBrk="1" latinLnBrk="0" hangingPunct="1">
              <a:spcBef>
                <a:spcPct val="20000"/>
              </a:spcBef>
              <a:buFont typeface="Arial"/>
              <a:buChar char="•"/>
              <a:defRPr sz="2700" kern="1200">
                <a:solidFill>
                  <a:schemeClr val="tx1"/>
                </a:solidFill>
                <a:latin typeface="+mn-lt"/>
                <a:ea typeface="+mn-ea"/>
                <a:cs typeface="+mn-cs"/>
              </a:defRPr>
            </a:lvl6pPr>
            <a:lvl7pPr marL="3961707" indent="-304747" algn="l" defTabSz="609493" rtl="0" eaLnBrk="1" latinLnBrk="0" hangingPunct="1">
              <a:spcBef>
                <a:spcPct val="20000"/>
              </a:spcBef>
              <a:buFont typeface="Arial"/>
              <a:buChar char="•"/>
              <a:defRPr sz="2700" kern="1200">
                <a:solidFill>
                  <a:schemeClr val="tx1"/>
                </a:solidFill>
                <a:latin typeface="+mn-lt"/>
                <a:ea typeface="+mn-ea"/>
                <a:cs typeface="+mn-cs"/>
              </a:defRPr>
            </a:lvl7pPr>
            <a:lvl8pPr marL="4571200" indent="-304747" algn="l" defTabSz="609493" rtl="0" eaLnBrk="1" latinLnBrk="0" hangingPunct="1">
              <a:spcBef>
                <a:spcPct val="20000"/>
              </a:spcBef>
              <a:buFont typeface="Arial"/>
              <a:buChar char="•"/>
              <a:defRPr sz="2700" kern="1200">
                <a:solidFill>
                  <a:schemeClr val="tx1"/>
                </a:solidFill>
                <a:latin typeface="+mn-lt"/>
                <a:ea typeface="+mn-ea"/>
                <a:cs typeface="+mn-cs"/>
              </a:defRPr>
            </a:lvl8pPr>
            <a:lvl9pPr marL="5180693" indent="-304747" algn="l" defTabSz="609493" rtl="0" eaLnBrk="1" latinLnBrk="0" hangingPunct="1">
              <a:spcBef>
                <a:spcPct val="20000"/>
              </a:spcBef>
              <a:buFont typeface="Arial"/>
              <a:buChar char="•"/>
              <a:defRPr sz="2700" kern="1200">
                <a:solidFill>
                  <a:schemeClr val="tx1"/>
                </a:solidFill>
                <a:latin typeface="+mn-lt"/>
                <a:ea typeface="+mn-ea"/>
                <a:cs typeface="+mn-cs"/>
              </a:defRPr>
            </a:lvl9pPr>
          </a:lstStyle>
          <a:p>
            <a:pPr marL="0" indent="0">
              <a:buNone/>
            </a:pPr>
            <a:r>
              <a:rPr lang="en-US" sz="1200" dirty="0"/>
              <a:t>Monitoring the actual code that is executed and delivered by the application</a:t>
            </a:r>
          </a:p>
        </p:txBody>
      </p:sp>
      <p:sp>
        <p:nvSpPr>
          <p:cNvPr id="17" name="Text Placeholder 38"/>
          <p:cNvSpPr txBox="1">
            <a:spLocks/>
          </p:cNvSpPr>
          <p:nvPr/>
        </p:nvSpPr>
        <p:spPr bwMode="auto">
          <a:xfrm>
            <a:off x="3304847" y="1143001"/>
            <a:ext cx="2559319" cy="357188"/>
          </a:xfrm>
          <a:prstGeom prst="rect">
            <a:avLst/>
          </a:prstGeom>
          <a:noFill/>
          <a:ln>
            <a:miter lim="800000"/>
            <a:headEnd/>
            <a:tailEnd/>
          </a:ln>
        </p:spPr>
        <p:txBody>
          <a:bodyPr wrap="square" lIns="68586" tIns="34294" rIns="68586" bIns="34294" numCol="1" anchor="t" anchorCtr="0" compatLnSpc="1">
            <a:prstTxWarp prst="textNoShape">
              <a:avLst/>
            </a:prstTxWarp>
          </a:bodyPr>
          <a:lstStyle>
            <a:lvl1pPr marL="455613" indent="-455613" algn="l" defTabSz="608013" rtl="0" fontAlgn="base">
              <a:spcBef>
                <a:spcPct val="20000"/>
              </a:spcBef>
              <a:spcAft>
                <a:spcPct val="0"/>
              </a:spcAft>
              <a:buFont typeface="Arial" pitchFamily="34" charset="0"/>
              <a:buChar char="•"/>
              <a:defRPr sz="2800" kern="1200">
                <a:solidFill>
                  <a:srgbClr val="FFFFFF"/>
                </a:solidFill>
                <a:latin typeface="+mn-lt"/>
                <a:ea typeface="+mn-ea"/>
                <a:cs typeface="Arial"/>
              </a:defRPr>
            </a:lvl1pPr>
            <a:lvl2pPr marL="989013" indent="-379413" algn="l" defTabSz="608013" rtl="0" fontAlgn="base">
              <a:spcBef>
                <a:spcPct val="20000"/>
              </a:spcBef>
              <a:spcAft>
                <a:spcPct val="0"/>
              </a:spcAft>
              <a:buFont typeface="Arial" pitchFamily="34" charset="0"/>
              <a:buChar char="–"/>
              <a:defRPr sz="2400" kern="1200">
                <a:solidFill>
                  <a:srgbClr val="FFFFFF"/>
                </a:solidFill>
                <a:latin typeface="+mn-lt"/>
                <a:ea typeface="+mn-ea"/>
                <a:cs typeface="Arial"/>
              </a:defRPr>
            </a:lvl2pPr>
            <a:lvl3pPr marL="1522413" indent="-303213" algn="l" defTabSz="608013" rtl="0" fontAlgn="base">
              <a:spcBef>
                <a:spcPct val="20000"/>
              </a:spcBef>
              <a:spcAft>
                <a:spcPct val="0"/>
              </a:spcAft>
              <a:buFont typeface="Arial" pitchFamily="34" charset="0"/>
              <a:buChar char="•"/>
              <a:defRPr kern="1200">
                <a:solidFill>
                  <a:srgbClr val="FFFFFF"/>
                </a:solidFill>
                <a:latin typeface="+mn-lt"/>
                <a:ea typeface="+mn-ea"/>
                <a:cs typeface="Arial"/>
              </a:defRPr>
            </a:lvl3pPr>
            <a:lvl4pPr marL="21320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4pPr>
            <a:lvl5pPr marL="27416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5pPr>
            <a:lvl6pPr marL="3352213" indent="-304747" algn="l" defTabSz="609493" rtl="0" eaLnBrk="1" latinLnBrk="0" hangingPunct="1">
              <a:spcBef>
                <a:spcPct val="20000"/>
              </a:spcBef>
              <a:buFont typeface="Arial"/>
              <a:buChar char="•"/>
              <a:defRPr sz="2700" kern="1200">
                <a:solidFill>
                  <a:schemeClr val="tx1"/>
                </a:solidFill>
                <a:latin typeface="+mn-lt"/>
                <a:ea typeface="+mn-ea"/>
                <a:cs typeface="+mn-cs"/>
              </a:defRPr>
            </a:lvl6pPr>
            <a:lvl7pPr marL="3961707" indent="-304747" algn="l" defTabSz="609493" rtl="0" eaLnBrk="1" latinLnBrk="0" hangingPunct="1">
              <a:spcBef>
                <a:spcPct val="20000"/>
              </a:spcBef>
              <a:buFont typeface="Arial"/>
              <a:buChar char="•"/>
              <a:defRPr sz="2700" kern="1200">
                <a:solidFill>
                  <a:schemeClr val="tx1"/>
                </a:solidFill>
                <a:latin typeface="+mn-lt"/>
                <a:ea typeface="+mn-ea"/>
                <a:cs typeface="+mn-cs"/>
              </a:defRPr>
            </a:lvl7pPr>
            <a:lvl8pPr marL="4571200" indent="-304747" algn="l" defTabSz="609493" rtl="0" eaLnBrk="1" latinLnBrk="0" hangingPunct="1">
              <a:spcBef>
                <a:spcPct val="20000"/>
              </a:spcBef>
              <a:buFont typeface="Arial"/>
              <a:buChar char="•"/>
              <a:defRPr sz="2700" kern="1200">
                <a:solidFill>
                  <a:schemeClr val="tx1"/>
                </a:solidFill>
                <a:latin typeface="+mn-lt"/>
                <a:ea typeface="+mn-ea"/>
                <a:cs typeface="+mn-cs"/>
              </a:defRPr>
            </a:lvl8pPr>
            <a:lvl9pPr marL="5180693" indent="-304747" algn="l" defTabSz="609493"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a:buNone/>
            </a:pPr>
            <a:r>
              <a:rPr lang="en-US" sz="1800" dirty="0">
                <a:solidFill>
                  <a:srgbClr val="3DB5F1"/>
                </a:solidFill>
                <a:cs typeface="Arial" pitchFamily="34" charset="0"/>
              </a:rPr>
              <a:t>Client-Side</a:t>
            </a:r>
          </a:p>
        </p:txBody>
      </p:sp>
      <p:sp>
        <p:nvSpPr>
          <p:cNvPr id="18" name="Text Placeholder 39"/>
          <p:cNvSpPr txBox="1">
            <a:spLocks/>
          </p:cNvSpPr>
          <p:nvPr/>
        </p:nvSpPr>
        <p:spPr bwMode="auto">
          <a:xfrm>
            <a:off x="6028514" y="1143001"/>
            <a:ext cx="2559320" cy="357188"/>
          </a:xfrm>
          <a:prstGeom prst="rect">
            <a:avLst/>
          </a:prstGeom>
          <a:noFill/>
          <a:ln>
            <a:miter lim="800000"/>
            <a:headEnd/>
            <a:tailEnd/>
          </a:ln>
        </p:spPr>
        <p:txBody>
          <a:bodyPr wrap="square" lIns="68586" tIns="34294" rIns="68586" bIns="34294" numCol="1" anchor="t" anchorCtr="0" compatLnSpc="1">
            <a:prstTxWarp prst="textNoShape">
              <a:avLst/>
            </a:prstTxWarp>
          </a:bodyPr>
          <a:lstStyle>
            <a:lvl1pPr marL="455613" indent="-455613" algn="l" defTabSz="608013" rtl="0" fontAlgn="base">
              <a:spcBef>
                <a:spcPct val="20000"/>
              </a:spcBef>
              <a:spcAft>
                <a:spcPct val="0"/>
              </a:spcAft>
              <a:buFont typeface="Arial" pitchFamily="34" charset="0"/>
              <a:buChar char="•"/>
              <a:defRPr sz="2800" kern="1200">
                <a:solidFill>
                  <a:srgbClr val="FFFFFF"/>
                </a:solidFill>
                <a:latin typeface="+mn-lt"/>
                <a:ea typeface="+mn-ea"/>
                <a:cs typeface="Arial"/>
              </a:defRPr>
            </a:lvl1pPr>
            <a:lvl2pPr marL="989013" indent="-379413" algn="l" defTabSz="608013" rtl="0" fontAlgn="base">
              <a:spcBef>
                <a:spcPct val="20000"/>
              </a:spcBef>
              <a:spcAft>
                <a:spcPct val="0"/>
              </a:spcAft>
              <a:buFont typeface="Arial" pitchFamily="34" charset="0"/>
              <a:buChar char="–"/>
              <a:defRPr sz="2400" kern="1200">
                <a:solidFill>
                  <a:srgbClr val="FFFFFF"/>
                </a:solidFill>
                <a:latin typeface="+mn-lt"/>
                <a:ea typeface="+mn-ea"/>
                <a:cs typeface="Arial"/>
              </a:defRPr>
            </a:lvl2pPr>
            <a:lvl3pPr marL="1522413" indent="-303213" algn="l" defTabSz="608013" rtl="0" fontAlgn="base">
              <a:spcBef>
                <a:spcPct val="20000"/>
              </a:spcBef>
              <a:spcAft>
                <a:spcPct val="0"/>
              </a:spcAft>
              <a:buFont typeface="Arial" pitchFamily="34" charset="0"/>
              <a:buChar char="•"/>
              <a:defRPr kern="1200">
                <a:solidFill>
                  <a:srgbClr val="FFFFFF"/>
                </a:solidFill>
                <a:latin typeface="+mn-lt"/>
                <a:ea typeface="+mn-ea"/>
                <a:cs typeface="Arial"/>
              </a:defRPr>
            </a:lvl3pPr>
            <a:lvl4pPr marL="21320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4pPr>
            <a:lvl5pPr marL="27416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5pPr>
            <a:lvl6pPr marL="3352213" indent="-304747" algn="l" defTabSz="609493" rtl="0" eaLnBrk="1" latinLnBrk="0" hangingPunct="1">
              <a:spcBef>
                <a:spcPct val="20000"/>
              </a:spcBef>
              <a:buFont typeface="Arial"/>
              <a:buChar char="•"/>
              <a:defRPr sz="2700" kern="1200">
                <a:solidFill>
                  <a:schemeClr val="tx1"/>
                </a:solidFill>
                <a:latin typeface="+mn-lt"/>
                <a:ea typeface="+mn-ea"/>
                <a:cs typeface="+mn-cs"/>
              </a:defRPr>
            </a:lvl6pPr>
            <a:lvl7pPr marL="3961707" indent="-304747" algn="l" defTabSz="609493" rtl="0" eaLnBrk="1" latinLnBrk="0" hangingPunct="1">
              <a:spcBef>
                <a:spcPct val="20000"/>
              </a:spcBef>
              <a:buFont typeface="Arial"/>
              <a:buChar char="•"/>
              <a:defRPr sz="2700" kern="1200">
                <a:solidFill>
                  <a:schemeClr val="tx1"/>
                </a:solidFill>
                <a:latin typeface="+mn-lt"/>
                <a:ea typeface="+mn-ea"/>
                <a:cs typeface="+mn-cs"/>
              </a:defRPr>
            </a:lvl7pPr>
            <a:lvl8pPr marL="4571200" indent="-304747" algn="l" defTabSz="609493" rtl="0" eaLnBrk="1" latinLnBrk="0" hangingPunct="1">
              <a:spcBef>
                <a:spcPct val="20000"/>
              </a:spcBef>
              <a:buFont typeface="Arial"/>
              <a:buChar char="•"/>
              <a:defRPr sz="2700" kern="1200">
                <a:solidFill>
                  <a:schemeClr val="tx1"/>
                </a:solidFill>
                <a:latin typeface="+mn-lt"/>
                <a:ea typeface="+mn-ea"/>
                <a:cs typeface="+mn-cs"/>
              </a:defRPr>
            </a:lvl8pPr>
            <a:lvl9pPr marL="5180693" indent="-304747" algn="l" defTabSz="609493"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a:buNone/>
            </a:pPr>
            <a:r>
              <a:rPr lang="en-US" sz="1800" dirty="0">
                <a:solidFill>
                  <a:srgbClr val="3DB5F1"/>
                </a:solidFill>
                <a:cs typeface="Arial" pitchFamily="34" charset="0"/>
              </a:rPr>
              <a:t>Synthetic</a:t>
            </a:r>
          </a:p>
        </p:txBody>
      </p:sp>
      <p:sp>
        <p:nvSpPr>
          <p:cNvPr id="19" name="Text Placeholder 40"/>
          <p:cNvSpPr txBox="1">
            <a:spLocks/>
          </p:cNvSpPr>
          <p:nvPr/>
        </p:nvSpPr>
        <p:spPr bwMode="auto">
          <a:xfrm>
            <a:off x="3460858" y="2457451"/>
            <a:ext cx="2218713" cy="1468041"/>
          </a:xfrm>
          <a:prstGeom prst="rect">
            <a:avLst/>
          </a:prstGeom>
          <a:noFill/>
          <a:ln>
            <a:miter lim="800000"/>
            <a:headEnd/>
            <a:tailEnd/>
          </a:ln>
        </p:spPr>
        <p:txBody>
          <a:bodyPr wrap="square" lIns="68586" tIns="34294" rIns="68586" bIns="34294" numCol="1" anchor="t" anchorCtr="0" compatLnSpc="1">
            <a:prstTxWarp prst="textNoShape">
              <a:avLst/>
            </a:prstTxWarp>
          </a:bodyPr>
          <a:lstStyle>
            <a:lvl1pPr marL="455613" indent="-455613" algn="l" defTabSz="608013" rtl="0" fontAlgn="base">
              <a:spcBef>
                <a:spcPct val="20000"/>
              </a:spcBef>
              <a:spcAft>
                <a:spcPct val="0"/>
              </a:spcAft>
              <a:buFont typeface="Arial" pitchFamily="34" charset="0"/>
              <a:buChar char="•"/>
              <a:defRPr sz="2800" kern="1200">
                <a:solidFill>
                  <a:srgbClr val="FFFFFF"/>
                </a:solidFill>
                <a:latin typeface="+mn-lt"/>
                <a:ea typeface="+mn-ea"/>
                <a:cs typeface="Arial"/>
              </a:defRPr>
            </a:lvl1pPr>
            <a:lvl2pPr marL="989013" indent="-379413" algn="l" defTabSz="608013" rtl="0" fontAlgn="base">
              <a:spcBef>
                <a:spcPct val="20000"/>
              </a:spcBef>
              <a:spcAft>
                <a:spcPct val="0"/>
              </a:spcAft>
              <a:buFont typeface="Arial" pitchFamily="34" charset="0"/>
              <a:buChar char="–"/>
              <a:defRPr sz="2400" kern="1200">
                <a:solidFill>
                  <a:srgbClr val="FFFFFF"/>
                </a:solidFill>
                <a:latin typeface="+mn-lt"/>
                <a:ea typeface="+mn-ea"/>
                <a:cs typeface="Arial"/>
              </a:defRPr>
            </a:lvl2pPr>
            <a:lvl3pPr marL="1522413" indent="-303213" algn="l" defTabSz="608013" rtl="0" fontAlgn="base">
              <a:spcBef>
                <a:spcPct val="20000"/>
              </a:spcBef>
              <a:spcAft>
                <a:spcPct val="0"/>
              </a:spcAft>
              <a:buFont typeface="Arial" pitchFamily="34" charset="0"/>
              <a:buChar char="•"/>
              <a:defRPr kern="1200">
                <a:solidFill>
                  <a:srgbClr val="FFFFFF"/>
                </a:solidFill>
                <a:latin typeface="+mn-lt"/>
                <a:ea typeface="+mn-ea"/>
                <a:cs typeface="Arial"/>
              </a:defRPr>
            </a:lvl3pPr>
            <a:lvl4pPr marL="21320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4pPr>
            <a:lvl5pPr marL="27416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5pPr>
            <a:lvl6pPr marL="3352213" indent="-304747" algn="l" defTabSz="609493" rtl="0" eaLnBrk="1" latinLnBrk="0" hangingPunct="1">
              <a:spcBef>
                <a:spcPct val="20000"/>
              </a:spcBef>
              <a:buFont typeface="Arial"/>
              <a:buChar char="•"/>
              <a:defRPr sz="2700" kern="1200">
                <a:solidFill>
                  <a:schemeClr val="tx1"/>
                </a:solidFill>
                <a:latin typeface="+mn-lt"/>
                <a:ea typeface="+mn-ea"/>
                <a:cs typeface="+mn-cs"/>
              </a:defRPr>
            </a:lvl6pPr>
            <a:lvl7pPr marL="3961707" indent="-304747" algn="l" defTabSz="609493" rtl="0" eaLnBrk="1" latinLnBrk="0" hangingPunct="1">
              <a:spcBef>
                <a:spcPct val="20000"/>
              </a:spcBef>
              <a:buFont typeface="Arial"/>
              <a:buChar char="•"/>
              <a:defRPr sz="2700" kern="1200">
                <a:solidFill>
                  <a:schemeClr val="tx1"/>
                </a:solidFill>
                <a:latin typeface="+mn-lt"/>
                <a:ea typeface="+mn-ea"/>
                <a:cs typeface="+mn-cs"/>
              </a:defRPr>
            </a:lvl7pPr>
            <a:lvl8pPr marL="4571200" indent="-304747" algn="l" defTabSz="609493" rtl="0" eaLnBrk="1" latinLnBrk="0" hangingPunct="1">
              <a:spcBef>
                <a:spcPct val="20000"/>
              </a:spcBef>
              <a:buFont typeface="Arial"/>
              <a:buChar char="•"/>
              <a:defRPr sz="2700" kern="1200">
                <a:solidFill>
                  <a:schemeClr val="tx1"/>
                </a:solidFill>
                <a:latin typeface="+mn-lt"/>
                <a:ea typeface="+mn-ea"/>
                <a:cs typeface="+mn-cs"/>
              </a:defRPr>
            </a:lvl8pPr>
            <a:lvl9pPr marL="5180693" indent="-304747" algn="l" defTabSz="609493" rtl="0" eaLnBrk="1" latinLnBrk="0" hangingPunct="1">
              <a:spcBef>
                <a:spcPct val="20000"/>
              </a:spcBef>
              <a:buFont typeface="Arial"/>
              <a:buChar char="•"/>
              <a:defRPr sz="2700" kern="1200">
                <a:solidFill>
                  <a:schemeClr val="tx1"/>
                </a:solidFill>
                <a:latin typeface="+mn-lt"/>
                <a:ea typeface="+mn-ea"/>
                <a:cs typeface="+mn-cs"/>
              </a:defRPr>
            </a:lvl9pPr>
          </a:lstStyle>
          <a:p>
            <a:pPr marL="0" indent="0">
              <a:buNone/>
            </a:pPr>
            <a:r>
              <a:rPr lang="en-US" sz="1200" dirty="0"/>
              <a:t>End-user experiences related to page load times, server and network latency, and client-side scripting exceptions</a:t>
            </a:r>
          </a:p>
        </p:txBody>
      </p:sp>
      <p:sp>
        <p:nvSpPr>
          <p:cNvPr id="20" name="Text Placeholder 41"/>
          <p:cNvSpPr txBox="1">
            <a:spLocks/>
          </p:cNvSpPr>
          <p:nvPr/>
        </p:nvSpPr>
        <p:spPr bwMode="auto">
          <a:xfrm>
            <a:off x="6185717" y="2457451"/>
            <a:ext cx="2330660" cy="1475185"/>
          </a:xfrm>
          <a:prstGeom prst="rect">
            <a:avLst/>
          </a:prstGeom>
          <a:noFill/>
          <a:ln>
            <a:miter lim="800000"/>
            <a:headEnd/>
            <a:tailEnd/>
          </a:ln>
        </p:spPr>
        <p:txBody>
          <a:bodyPr wrap="square" lIns="68586" tIns="34294" rIns="68586" bIns="34294" numCol="1" anchor="t" anchorCtr="0" compatLnSpc="1">
            <a:prstTxWarp prst="textNoShape">
              <a:avLst/>
            </a:prstTxWarp>
          </a:bodyPr>
          <a:lstStyle>
            <a:lvl1pPr marL="455613" indent="-455613" algn="l" defTabSz="608013" rtl="0" fontAlgn="base">
              <a:spcBef>
                <a:spcPct val="20000"/>
              </a:spcBef>
              <a:spcAft>
                <a:spcPct val="0"/>
              </a:spcAft>
              <a:buFont typeface="Arial" pitchFamily="34" charset="0"/>
              <a:buChar char="•"/>
              <a:defRPr sz="2800" kern="1200">
                <a:solidFill>
                  <a:srgbClr val="FFFFFF"/>
                </a:solidFill>
                <a:latin typeface="+mn-lt"/>
                <a:ea typeface="+mn-ea"/>
                <a:cs typeface="Arial"/>
              </a:defRPr>
            </a:lvl1pPr>
            <a:lvl2pPr marL="989013" indent="-379413" algn="l" defTabSz="608013" rtl="0" fontAlgn="base">
              <a:spcBef>
                <a:spcPct val="20000"/>
              </a:spcBef>
              <a:spcAft>
                <a:spcPct val="0"/>
              </a:spcAft>
              <a:buFont typeface="Arial" pitchFamily="34" charset="0"/>
              <a:buChar char="–"/>
              <a:defRPr sz="2400" kern="1200">
                <a:solidFill>
                  <a:srgbClr val="FFFFFF"/>
                </a:solidFill>
                <a:latin typeface="+mn-lt"/>
                <a:ea typeface="+mn-ea"/>
                <a:cs typeface="Arial"/>
              </a:defRPr>
            </a:lvl2pPr>
            <a:lvl3pPr marL="1522413" indent="-303213" algn="l" defTabSz="608013" rtl="0" fontAlgn="base">
              <a:spcBef>
                <a:spcPct val="20000"/>
              </a:spcBef>
              <a:spcAft>
                <a:spcPct val="0"/>
              </a:spcAft>
              <a:buFont typeface="Arial" pitchFamily="34" charset="0"/>
              <a:buChar char="•"/>
              <a:defRPr kern="1200">
                <a:solidFill>
                  <a:srgbClr val="FFFFFF"/>
                </a:solidFill>
                <a:latin typeface="+mn-lt"/>
                <a:ea typeface="+mn-ea"/>
                <a:cs typeface="Arial"/>
              </a:defRPr>
            </a:lvl3pPr>
            <a:lvl4pPr marL="21320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4pPr>
            <a:lvl5pPr marL="2741613" indent="-303213" algn="l" defTabSz="608013" rtl="0" fontAlgn="base">
              <a:spcBef>
                <a:spcPct val="20000"/>
              </a:spcBef>
              <a:spcAft>
                <a:spcPct val="0"/>
              </a:spcAft>
              <a:buFont typeface="Arial" pitchFamily="34" charset="0"/>
              <a:buChar char="»"/>
              <a:defRPr sz="1600" kern="1200">
                <a:solidFill>
                  <a:srgbClr val="FFFFFF"/>
                </a:solidFill>
                <a:latin typeface="+mn-lt"/>
                <a:ea typeface="+mn-ea"/>
                <a:cs typeface="Arial"/>
              </a:defRPr>
            </a:lvl5pPr>
            <a:lvl6pPr marL="3352213" indent="-304747" algn="l" defTabSz="609493" rtl="0" eaLnBrk="1" latinLnBrk="0" hangingPunct="1">
              <a:spcBef>
                <a:spcPct val="20000"/>
              </a:spcBef>
              <a:buFont typeface="Arial"/>
              <a:buChar char="•"/>
              <a:defRPr sz="2700" kern="1200">
                <a:solidFill>
                  <a:schemeClr val="tx1"/>
                </a:solidFill>
                <a:latin typeface="+mn-lt"/>
                <a:ea typeface="+mn-ea"/>
                <a:cs typeface="+mn-cs"/>
              </a:defRPr>
            </a:lvl6pPr>
            <a:lvl7pPr marL="3961707" indent="-304747" algn="l" defTabSz="609493" rtl="0" eaLnBrk="1" latinLnBrk="0" hangingPunct="1">
              <a:spcBef>
                <a:spcPct val="20000"/>
              </a:spcBef>
              <a:buFont typeface="Arial"/>
              <a:buChar char="•"/>
              <a:defRPr sz="2700" kern="1200">
                <a:solidFill>
                  <a:schemeClr val="tx1"/>
                </a:solidFill>
                <a:latin typeface="+mn-lt"/>
                <a:ea typeface="+mn-ea"/>
                <a:cs typeface="+mn-cs"/>
              </a:defRPr>
            </a:lvl7pPr>
            <a:lvl8pPr marL="4571200" indent="-304747" algn="l" defTabSz="609493" rtl="0" eaLnBrk="1" latinLnBrk="0" hangingPunct="1">
              <a:spcBef>
                <a:spcPct val="20000"/>
              </a:spcBef>
              <a:buFont typeface="Arial"/>
              <a:buChar char="•"/>
              <a:defRPr sz="2700" kern="1200">
                <a:solidFill>
                  <a:schemeClr val="tx1"/>
                </a:solidFill>
                <a:latin typeface="+mn-lt"/>
                <a:ea typeface="+mn-ea"/>
                <a:cs typeface="+mn-cs"/>
              </a:defRPr>
            </a:lvl8pPr>
            <a:lvl9pPr marL="5180693" indent="-304747" algn="l" defTabSz="609493" rtl="0" eaLnBrk="1" latinLnBrk="0" hangingPunct="1">
              <a:spcBef>
                <a:spcPct val="20000"/>
              </a:spcBef>
              <a:buFont typeface="Arial"/>
              <a:buChar char="•"/>
              <a:defRPr sz="2700" kern="1200">
                <a:solidFill>
                  <a:schemeClr val="tx1"/>
                </a:solidFill>
                <a:latin typeface="+mn-lt"/>
                <a:ea typeface="+mn-ea"/>
                <a:cs typeface="+mn-cs"/>
              </a:defRPr>
            </a:lvl9pPr>
          </a:lstStyle>
          <a:p>
            <a:pPr marL="0" indent="0">
              <a:buNone/>
            </a:pPr>
            <a:r>
              <a:rPr lang="en-US" sz="1200" dirty="0"/>
              <a:t>Pre-recorded testing paths through the application that highlight availability, response times, and unexpected responses</a:t>
            </a:r>
          </a:p>
        </p:txBody>
      </p:sp>
      <p:grpSp>
        <p:nvGrpSpPr>
          <p:cNvPr id="21" name="Group 17"/>
          <p:cNvGrpSpPr>
            <a:grpSpLocks/>
          </p:cNvGrpSpPr>
          <p:nvPr/>
        </p:nvGrpSpPr>
        <p:grpSpPr bwMode="auto">
          <a:xfrm>
            <a:off x="1370767" y="1574007"/>
            <a:ext cx="1009913" cy="769144"/>
            <a:chOff x="1428710" y="1299652"/>
            <a:chExt cx="1657649" cy="1263580"/>
          </a:xfrm>
        </p:grpSpPr>
        <p:pic>
          <p:nvPicPr>
            <p:cNvPr id="22" name="Picture 18"/>
            <p:cNvPicPr>
              <a:picLocks noChangeAspect="1"/>
            </p:cNvPicPr>
            <p:nvPr/>
          </p:nvPicPr>
          <p:blipFill>
            <a:blip r:embed="rId2"/>
            <a:srcRect/>
            <a:stretch>
              <a:fillRect/>
            </a:stretch>
          </p:blipFill>
          <p:spPr bwMode="auto">
            <a:xfrm>
              <a:off x="1785173" y="1557703"/>
              <a:ext cx="988954" cy="1005529"/>
            </a:xfrm>
            <a:prstGeom prst="rect">
              <a:avLst/>
            </a:prstGeom>
            <a:noFill/>
            <a:ln w="9525">
              <a:noFill/>
              <a:miter lim="800000"/>
              <a:headEnd/>
              <a:tailEnd/>
            </a:ln>
          </p:spPr>
        </p:pic>
        <p:pic>
          <p:nvPicPr>
            <p:cNvPr id="23" name="Picture 19"/>
            <p:cNvPicPr>
              <a:picLocks noChangeAspect="1"/>
            </p:cNvPicPr>
            <p:nvPr/>
          </p:nvPicPr>
          <p:blipFill>
            <a:blip r:embed="rId3"/>
            <a:srcRect/>
            <a:stretch>
              <a:fillRect/>
            </a:stretch>
          </p:blipFill>
          <p:spPr bwMode="auto">
            <a:xfrm>
              <a:off x="2084735" y="1299652"/>
              <a:ext cx="423489" cy="386012"/>
            </a:xfrm>
            <a:prstGeom prst="rect">
              <a:avLst/>
            </a:prstGeom>
            <a:noFill/>
            <a:ln w="9525">
              <a:noFill/>
              <a:miter lim="800000"/>
              <a:headEnd/>
              <a:tailEnd/>
            </a:ln>
          </p:spPr>
        </p:pic>
        <p:pic>
          <p:nvPicPr>
            <p:cNvPr id="24" name="Picture 20"/>
            <p:cNvPicPr>
              <a:picLocks noChangeAspect="1"/>
            </p:cNvPicPr>
            <p:nvPr/>
          </p:nvPicPr>
          <p:blipFill>
            <a:blip r:embed="rId4"/>
            <a:srcRect/>
            <a:stretch>
              <a:fillRect/>
            </a:stretch>
          </p:blipFill>
          <p:spPr bwMode="auto">
            <a:xfrm>
              <a:off x="1428710" y="1531155"/>
              <a:ext cx="500063" cy="428625"/>
            </a:xfrm>
            <a:prstGeom prst="rect">
              <a:avLst/>
            </a:prstGeom>
            <a:noFill/>
            <a:ln w="9525">
              <a:noFill/>
              <a:miter lim="800000"/>
              <a:headEnd/>
              <a:tailEnd/>
            </a:ln>
          </p:spPr>
        </p:pic>
        <p:pic>
          <p:nvPicPr>
            <p:cNvPr id="25" name="Picture 21"/>
            <p:cNvPicPr>
              <a:picLocks noChangeAspect="1"/>
            </p:cNvPicPr>
            <p:nvPr/>
          </p:nvPicPr>
          <p:blipFill>
            <a:blip r:embed="rId5"/>
            <a:srcRect/>
            <a:stretch>
              <a:fillRect/>
            </a:stretch>
          </p:blipFill>
          <p:spPr bwMode="auto">
            <a:xfrm>
              <a:off x="2728307" y="1557703"/>
              <a:ext cx="358052" cy="367352"/>
            </a:xfrm>
            <a:prstGeom prst="rect">
              <a:avLst/>
            </a:prstGeom>
            <a:noFill/>
            <a:ln w="9525">
              <a:noFill/>
              <a:miter lim="800000"/>
              <a:headEnd/>
              <a:tailEnd/>
            </a:ln>
          </p:spPr>
        </p:pic>
      </p:grpSp>
      <p:grpSp>
        <p:nvGrpSpPr>
          <p:cNvPr id="26" name="Group 22"/>
          <p:cNvGrpSpPr>
            <a:grpSpLocks/>
          </p:cNvGrpSpPr>
          <p:nvPr/>
        </p:nvGrpSpPr>
        <p:grpSpPr bwMode="auto">
          <a:xfrm>
            <a:off x="4062281" y="1582342"/>
            <a:ext cx="1001576" cy="741759"/>
            <a:chOff x="5221463" y="1647343"/>
            <a:chExt cx="1357448" cy="1005462"/>
          </a:xfrm>
        </p:grpSpPr>
        <p:grpSp>
          <p:nvGrpSpPr>
            <p:cNvPr id="27" name="Group 23"/>
            <p:cNvGrpSpPr>
              <a:grpSpLocks/>
            </p:cNvGrpSpPr>
            <p:nvPr/>
          </p:nvGrpSpPr>
          <p:grpSpPr bwMode="auto">
            <a:xfrm>
              <a:off x="5589842" y="1664173"/>
              <a:ext cx="989069" cy="988632"/>
              <a:chOff x="5589842" y="1664173"/>
              <a:chExt cx="989069" cy="988632"/>
            </a:xfrm>
          </p:grpSpPr>
          <p:pic>
            <p:nvPicPr>
              <p:cNvPr id="29" name="Picture 26"/>
              <p:cNvPicPr>
                <a:picLocks noChangeAspect="1"/>
              </p:cNvPicPr>
              <p:nvPr/>
            </p:nvPicPr>
            <p:blipFill>
              <a:blip r:embed="rId6"/>
              <a:srcRect/>
              <a:stretch>
                <a:fillRect/>
              </a:stretch>
            </p:blipFill>
            <p:spPr bwMode="auto">
              <a:xfrm>
                <a:off x="5589842" y="1814373"/>
                <a:ext cx="629107" cy="838432"/>
              </a:xfrm>
              <a:prstGeom prst="rect">
                <a:avLst/>
              </a:prstGeom>
              <a:noFill/>
              <a:ln w="9525">
                <a:noFill/>
                <a:miter lim="800000"/>
                <a:headEnd/>
                <a:tailEnd/>
              </a:ln>
            </p:spPr>
          </p:pic>
          <p:pic>
            <p:nvPicPr>
              <p:cNvPr id="30" name="Picture 27"/>
              <p:cNvPicPr>
                <a:picLocks noChangeAspect="1"/>
              </p:cNvPicPr>
              <p:nvPr/>
            </p:nvPicPr>
            <p:blipFill>
              <a:blip r:embed="rId6"/>
              <a:srcRect/>
              <a:stretch>
                <a:fillRect/>
              </a:stretch>
            </p:blipFill>
            <p:spPr bwMode="auto">
              <a:xfrm>
                <a:off x="5949804" y="1664173"/>
                <a:ext cx="629107" cy="838432"/>
              </a:xfrm>
              <a:prstGeom prst="rect">
                <a:avLst/>
              </a:prstGeom>
              <a:noFill/>
              <a:ln w="9525">
                <a:noFill/>
                <a:miter lim="800000"/>
                <a:headEnd/>
                <a:tailEnd/>
              </a:ln>
            </p:spPr>
          </p:pic>
        </p:grpSp>
        <p:pic>
          <p:nvPicPr>
            <p:cNvPr id="28" name="Picture 25"/>
            <p:cNvPicPr>
              <a:picLocks noChangeAspect="1"/>
            </p:cNvPicPr>
            <p:nvPr/>
          </p:nvPicPr>
          <p:blipFill>
            <a:blip r:embed="rId6"/>
            <a:srcRect/>
            <a:stretch>
              <a:fillRect/>
            </a:stretch>
          </p:blipFill>
          <p:spPr bwMode="auto">
            <a:xfrm>
              <a:off x="5221463" y="1647343"/>
              <a:ext cx="629107" cy="838432"/>
            </a:xfrm>
            <a:prstGeom prst="rect">
              <a:avLst/>
            </a:prstGeom>
            <a:noFill/>
            <a:ln w="9525">
              <a:noFill/>
              <a:miter lim="800000"/>
              <a:headEnd/>
              <a:tailEnd/>
            </a:ln>
          </p:spPr>
        </p:pic>
      </p:grpSp>
      <p:pic>
        <p:nvPicPr>
          <p:cNvPr id="31" name="Picture 29"/>
          <p:cNvPicPr>
            <a:picLocks noChangeAspect="1"/>
          </p:cNvPicPr>
          <p:nvPr/>
        </p:nvPicPr>
        <p:blipFill>
          <a:blip r:embed="rId4"/>
          <a:srcRect/>
          <a:stretch>
            <a:fillRect/>
          </a:stretch>
        </p:blipFill>
        <p:spPr bwMode="auto">
          <a:xfrm>
            <a:off x="6744267" y="1491854"/>
            <a:ext cx="1126625" cy="965597"/>
          </a:xfrm>
          <a:prstGeom prst="rect">
            <a:avLst/>
          </a:prstGeom>
          <a:noFill/>
          <a:ln w="9525">
            <a:noFill/>
            <a:miter lim="800000"/>
            <a:headEnd/>
            <a:tailEnd/>
          </a:ln>
        </p:spPr>
      </p:pic>
      <p:sp>
        <p:nvSpPr>
          <p:cNvPr id="32" name="Rectangle 1"/>
          <p:cNvSpPr>
            <a:spLocks noChangeArrowheads="1"/>
          </p:cNvSpPr>
          <p:nvPr/>
        </p:nvSpPr>
        <p:spPr bwMode="auto">
          <a:xfrm>
            <a:off x="3454828" y="4065986"/>
            <a:ext cx="2351058" cy="288539"/>
          </a:xfrm>
          <a:prstGeom prst="rect">
            <a:avLst/>
          </a:prstGeom>
          <a:noFill/>
          <a:ln w="9525">
            <a:noFill/>
            <a:miter lim="800000"/>
            <a:headEnd/>
            <a:tailEnd/>
          </a:ln>
        </p:spPr>
        <p:txBody>
          <a:bodyPr wrap="none" lIns="68586" tIns="34294" rIns="68586" bIns="34294">
            <a:spAutoFit/>
          </a:bodyPr>
          <a:lstStyle/>
          <a:p>
            <a:pPr algn="ctr" defTabSz="685862" fontAlgn="base">
              <a:spcBef>
                <a:spcPct val="0"/>
              </a:spcBef>
              <a:spcAft>
                <a:spcPct val="0"/>
              </a:spcAft>
            </a:pPr>
            <a:r>
              <a:rPr lang="en-US" b="1">
                <a:solidFill>
                  <a:srgbClr val="FFFFFF"/>
                </a:solidFill>
                <a:cs typeface="Segoe UI" pitchFamily="34" charset="0"/>
              </a:rPr>
              <a:t>Infrastructure Monitoring</a:t>
            </a:r>
          </a:p>
        </p:txBody>
      </p:sp>
      <p:pic>
        <p:nvPicPr>
          <p:cNvPr id="33" name="Picture 34"/>
          <p:cNvPicPr>
            <a:picLocks noChangeAspect="1"/>
          </p:cNvPicPr>
          <p:nvPr/>
        </p:nvPicPr>
        <p:blipFill>
          <a:blip r:embed="rId7"/>
          <a:srcRect/>
          <a:stretch>
            <a:fillRect/>
          </a:stretch>
        </p:blipFill>
        <p:spPr bwMode="auto">
          <a:xfrm>
            <a:off x="4198047" y="2181226"/>
            <a:ext cx="272724" cy="276225"/>
          </a:xfrm>
          <a:prstGeom prst="rect">
            <a:avLst/>
          </a:prstGeom>
          <a:noFill/>
          <a:ln w="9525">
            <a:noFill/>
            <a:miter lim="800000"/>
            <a:headEnd/>
            <a:tailEnd/>
          </a:ln>
        </p:spPr>
      </p:pic>
      <p:sp>
        <p:nvSpPr>
          <p:cNvPr id="34" name="Rectangle 25"/>
          <p:cNvSpPr>
            <a:spLocks noChangeArrowheads="1"/>
          </p:cNvSpPr>
          <p:nvPr/>
        </p:nvSpPr>
        <p:spPr bwMode="auto">
          <a:xfrm>
            <a:off x="570458" y="3429000"/>
            <a:ext cx="8003084" cy="342900"/>
          </a:xfrm>
          <a:prstGeom prst="rect">
            <a:avLst/>
          </a:prstGeom>
          <a:solidFill>
            <a:schemeClr val="tx1"/>
          </a:solidFill>
          <a:ln w="9525">
            <a:noFill/>
            <a:miter lim="800000"/>
            <a:headEnd/>
            <a:tailEnd/>
          </a:ln>
        </p:spPr>
        <p:txBody>
          <a:bodyPr lIns="68586" tIns="34294" rIns="68586" bIns="34294" anchor="ctr"/>
          <a:lstStyle/>
          <a:p>
            <a:pPr algn="ctr" defTabSz="685862" fontAlgn="base">
              <a:spcBef>
                <a:spcPct val="0"/>
              </a:spcBef>
              <a:spcAft>
                <a:spcPct val="0"/>
              </a:spcAft>
            </a:pPr>
            <a:r>
              <a:rPr lang="en-US" dirty="0">
                <a:solidFill>
                  <a:srgbClr val="3DB5F1"/>
                </a:solidFill>
                <a:cs typeface="Segoe UI" pitchFamily="34" charset="0"/>
              </a:rPr>
              <a:t>Use the same tools to monitor with visibility across infrastructure and applications</a:t>
            </a:r>
          </a:p>
        </p:txBody>
      </p:sp>
      <p:pic>
        <p:nvPicPr>
          <p:cNvPr id="35" name="Picture 28" descr="device.ai"/>
          <p:cNvPicPr>
            <a:picLocks noChangeAspect="1"/>
          </p:cNvPicPr>
          <p:nvPr/>
        </p:nvPicPr>
        <p:blipFill>
          <a:blip r:embed="rId8"/>
          <a:srcRect/>
          <a:stretch>
            <a:fillRect/>
          </a:stretch>
        </p:blipFill>
        <p:spPr bwMode="auto">
          <a:xfrm>
            <a:off x="2369962" y="3886201"/>
            <a:ext cx="316789" cy="177404"/>
          </a:xfrm>
          <a:prstGeom prst="rect">
            <a:avLst/>
          </a:prstGeom>
          <a:noFill/>
          <a:ln w="9525">
            <a:noFill/>
            <a:miter lim="800000"/>
            <a:headEnd/>
            <a:tailEnd/>
          </a:ln>
        </p:spPr>
      </p:pic>
      <p:pic>
        <p:nvPicPr>
          <p:cNvPr id="36" name="Picture 31"/>
          <p:cNvPicPr>
            <a:picLocks noChangeAspect="1"/>
          </p:cNvPicPr>
          <p:nvPr/>
        </p:nvPicPr>
        <p:blipFill>
          <a:blip r:embed="rId9"/>
          <a:srcRect/>
          <a:stretch>
            <a:fillRect/>
          </a:stretch>
        </p:blipFill>
        <p:spPr bwMode="auto">
          <a:xfrm>
            <a:off x="4481490" y="3771900"/>
            <a:ext cx="319171" cy="322660"/>
          </a:xfrm>
          <a:prstGeom prst="rect">
            <a:avLst/>
          </a:prstGeom>
          <a:noFill/>
          <a:ln w="9525">
            <a:noFill/>
            <a:miter lim="800000"/>
            <a:headEnd/>
            <a:tailEnd/>
          </a:ln>
        </p:spPr>
      </p:pic>
      <p:pic>
        <p:nvPicPr>
          <p:cNvPr id="37" name="Picture 32"/>
          <p:cNvPicPr>
            <a:picLocks noChangeAspect="1"/>
          </p:cNvPicPr>
          <p:nvPr/>
        </p:nvPicPr>
        <p:blipFill>
          <a:blip r:embed="rId10"/>
          <a:srcRect/>
          <a:stretch>
            <a:fillRect/>
          </a:stretch>
        </p:blipFill>
        <p:spPr bwMode="auto">
          <a:xfrm>
            <a:off x="5606923" y="3771900"/>
            <a:ext cx="337035" cy="342900"/>
          </a:xfrm>
          <a:prstGeom prst="rect">
            <a:avLst/>
          </a:prstGeom>
          <a:noFill/>
          <a:ln w="9525">
            <a:noFill/>
            <a:miter lim="800000"/>
            <a:headEnd/>
            <a:tailEnd/>
          </a:ln>
        </p:spPr>
      </p:pic>
      <p:pic>
        <p:nvPicPr>
          <p:cNvPr id="38" name="Picture 33"/>
          <p:cNvPicPr>
            <a:picLocks noChangeAspect="1"/>
          </p:cNvPicPr>
          <p:nvPr/>
        </p:nvPicPr>
        <p:blipFill>
          <a:blip r:embed="rId11"/>
          <a:srcRect/>
          <a:stretch>
            <a:fillRect/>
          </a:stretch>
        </p:blipFill>
        <p:spPr bwMode="auto">
          <a:xfrm>
            <a:off x="6603736" y="3825480"/>
            <a:ext cx="197695" cy="292894"/>
          </a:xfrm>
          <a:prstGeom prst="rect">
            <a:avLst/>
          </a:prstGeom>
          <a:noFill/>
          <a:ln w="9525">
            <a:noFill/>
            <a:miter lim="800000"/>
            <a:headEnd/>
            <a:tailEnd/>
          </a:ln>
        </p:spPr>
      </p:pic>
      <p:pic>
        <p:nvPicPr>
          <p:cNvPr id="39" name="Picture 42" descr="storage.png"/>
          <p:cNvPicPr>
            <a:picLocks noChangeAspect="1"/>
          </p:cNvPicPr>
          <p:nvPr/>
        </p:nvPicPr>
        <p:blipFill>
          <a:blip r:embed="rId12"/>
          <a:srcRect/>
          <a:stretch>
            <a:fillRect/>
          </a:stretch>
        </p:blipFill>
        <p:spPr bwMode="auto">
          <a:xfrm>
            <a:off x="3314372" y="3771901"/>
            <a:ext cx="285824" cy="290513"/>
          </a:xfrm>
          <a:prstGeom prst="rect">
            <a:avLst/>
          </a:prstGeom>
          <a:noFill/>
          <a:ln w="9525">
            <a:noFill/>
            <a:miter lim="800000"/>
            <a:headEnd/>
            <a:tailEnd/>
          </a:ln>
        </p:spPr>
      </p:pic>
      <p:sp>
        <p:nvSpPr>
          <p:cNvPr id="40"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41"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3"/>
              </a:rPr>
              <a:t>www.rapidbbs.cn</a:t>
            </a:r>
            <a:endParaRPr lang="zh-CN" altLang="en-US" sz="1200" b="0">
              <a:latin typeface="Arial" charset="0"/>
              <a:ea typeface="ＭＳ Ｐゴシック" pitchFamily="34" charset="-128"/>
            </a:endParaRPr>
          </a:p>
        </p:txBody>
      </p:sp>
      <p:pic>
        <p:nvPicPr>
          <p:cNvPr id="42" name="Picture 2">
            <a:hlinkClick r:id="rId13"/>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942216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 presetClass="entr" presetSubtype="0" fill="hold" grpId="0" nodeType="withEffect">
                                  <p:stCondLst>
                                    <p:cond delay="0"/>
                                  </p:stCondLst>
                                  <p:childTnLst>
                                    <p:set>
                                      <p:cBhvr>
                                        <p:cTn id="9" dur="1" fill="hold">
                                          <p:stCondLst>
                                            <p:cond delay="0"/>
                                          </p:stCondLst>
                                        </p:cTn>
                                        <p:tgtEl>
                                          <p:spTgt spid="32"/>
                                        </p:tgtEl>
                                        <p:attrNameLst>
                                          <p:attrName>style.visibility</p:attrName>
                                        </p:attrNameLst>
                                      </p:cBhvr>
                                      <p:to>
                                        <p:strVal val="visible"/>
                                      </p:to>
                                    </p:set>
                                  </p:childTnLst>
                                </p:cTn>
                              </p:par>
                            </p:childTnLst>
                          </p:cTn>
                        </p:par>
                        <p:par>
                          <p:cTn id="10" fill="hold">
                            <p:stCondLst>
                              <p:cond delay="500"/>
                            </p:stCondLst>
                            <p:childTnLst>
                              <p:par>
                                <p:cTn id="11" presetID="1" presetClass="entr" presetSubtype="0" fill="hold" nodeType="afterEffect">
                                  <p:stCondLst>
                                    <p:cond delay="0"/>
                                  </p:stCondLst>
                                  <p:childTnLst>
                                    <p:set>
                                      <p:cBhvr>
                                        <p:cTn id="12" dur="1" fill="hold">
                                          <p:stCondLst>
                                            <p:cond delay="0"/>
                                          </p:stCondLst>
                                        </p:cTn>
                                        <p:tgtEl>
                                          <p:spTgt spid="35"/>
                                        </p:tgtEl>
                                        <p:attrNameLst>
                                          <p:attrName>style.visibility</p:attrName>
                                        </p:attrNameLst>
                                      </p:cBhvr>
                                      <p:to>
                                        <p:strVal val="visible"/>
                                      </p:to>
                                    </p:set>
                                  </p:childTnLst>
                                </p:cTn>
                              </p:par>
                            </p:childTnLst>
                          </p:cTn>
                        </p:par>
                        <p:par>
                          <p:cTn id="13" fill="hold">
                            <p:stCondLst>
                              <p:cond delay="500"/>
                            </p:stCondLst>
                            <p:childTnLst>
                              <p:par>
                                <p:cTn id="14" presetID="1" presetClass="entr" presetSubtype="0" fill="hold" nodeType="afterEffect">
                                  <p:stCondLst>
                                    <p:cond delay="0"/>
                                  </p:stCondLst>
                                  <p:childTnLst>
                                    <p:set>
                                      <p:cBhvr>
                                        <p:cTn id="15" dur="1" fill="hold">
                                          <p:stCondLst>
                                            <p:cond delay="0"/>
                                          </p:stCondLst>
                                        </p:cTn>
                                        <p:tgtEl>
                                          <p:spTgt spid="39"/>
                                        </p:tgtEl>
                                        <p:attrNameLst>
                                          <p:attrName>style.visibility</p:attrName>
                                        </p:attrNameLst>
                                      </p:cBhvr>
                                      <p:to>
                                        <p:strVal val="visible"/>
                                      </p:to>
                                    </p:set>
                                  </p:childTnLst>
                                </p:cTn>
                              </p:par>
                            </p:childTnLst>
                          </p:cTn>
                        </p:par>
                        <p:par>
                          <p:cTn id="16" fill="hold">
                            <p:stCondLst>
                              <p:cond delay="500"/>
                            </p:stCondLst>
                            <p:childTnLst>
                              <p:par>
                                <p:cTn id="17" presetID="1" presetClass="entr" presetSubtype="0" fill="hold" nodeType="afterEffect">
                                  <p:stCondLst>
                                    <p:cond delay="0"/>
                                  </p:stCondLst>
                                  <p:childTnLst>
                                    <p:set>
                                      <p:cBhvr>
                                        <p:cTn id="18" dur="1" fill="hold">
                                          <p:stCondLst>
                                            <p:cond delay="0"/>
                                          </p:stCondLst>
                                        </p:cTn>
                                        <p:tgtEl>
                                          <p:spTgt spid="36"/>
                                        </p:tgtEl>
                                        <p:attrNameLst>
                                          <p:attrName>style.visibility</p:attrName>
                                        </p:attrNameLst>
                                      </p:cBhvr>
                                      <p:to>
                                        <p:strVal val="visible"/>
                                      </p:to>
                                    </p:set>
                                  </p:childTnLst>
                                </p:cTn>
                              </p:par>
                            </p:childTnLst>
                          </p:cTn>
                        </p:par>
                        <p:par>
                          <p:cTn id="19" fill="hold">
                            <p:stCondLst>
                              <p:cond delay="500"/>
                            </p:stCondLst>
                            <p:childTnLst>
                              <p:par>
                                <p:cTn id="20" presetID="1" presetClass="entr" presetSubtype="0" fill="hold" nodeType="afterEffect">
                                  <p:stCondLst>
                                    <p:cond delay="0"/>
                                  </p:stCondLst>
                                  <p:childTnLst>
                                    <p:set>
                                      <p:cBhvr>
                                        <p:cTn id="21" dur="1" fill="hold">
                                          <p:stCondLst>
                                            <p:cond delay="0"/>
                                          </p:stCondLst>
                                        </p:cTn>
                                        <p:tgtEl>
                                          <p:spTgt spid="37"/>
                                        </p:tgtEl>
                                        <p:attrNameLst>
                                          <p:attrName>style.visibility</p:attrName>
                                        </p:attrNameLst>
                                      </p:cBhvr>
                                      <p:to>
                                        <p:strVal val="visible"/>
                                      </p:to>
                                    </p:set>
                                  </p:childTnLst>
                                </p:cTn>
                              </p:par>
                            </p:childTnLst>
                          </p:cTn>
                        </p:par>
                        <p:par>
                          <p:cTn id="22" fill="hold">
                            <p:stCondLst>
                              <p:cond delay="500"/>
                            </p:stCondLst>
                            <p:childTnLst>
                              <p:par>
                                <p:cTn id="23" presetID="1" presetClass="entr" presetSubtype="0" fill="hold" nodeType="afterEffect">
                                  <p:stCondLst>
                                    <p:cond delay="0"/>
                                  </p:stCondLst>
                                  <p:childTnLst>
                                    <p:set>
                                      <p:cBhvr>
                                        <p:cTn id="24" dur="1" fill="hold">
                                          <p:stCondLst>
                                            <p:cond delay="0"/>
                                          </p:stCondLst>
                                        </p:cTn>
                                        <p:tgtEl>
                                          <p:spTgt spid="3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15">
                                            <p:txEl>
                                              <p:pRg st="0" end="0"/>
                                            </p:txEl>
                                          </p:spTgt>
                                        </p:tgtEl>
                                        <p:attrNameLst>
                                          <p:attrName>style.visibility</p:attrName>
                                        </p:attrNameLst>
                                      </p:cBhvr>
                                      <p:to>
                                        <p:strVal val="visible"/>
                                      </p:to>
                                    </p:set>
                                    <p:animEffect transition="in" filter="fade">
                                      <p:cBhvr>
                                        <p:cTn id="29" dur="500"/>
                                        <p:tgtEl>
                                          <p:spTgt spid="15">
                                            <p:txEl>
                                              <p:pRg st="0" end="0"/>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7"/>
                                        </p:tgtEl>
                                        <p:attrNameLst>
                                          <p:attrName>style.visibility</p:attrName>
                                        </p:attrNameLst>
                                      </p:cBhvr>
                                      <p:to>
                                        <p:strVal val="visible"/>
                                      </p:to>
                                    </p:set>
                                    <p:animEffect transition="in" filter="fade">
                                      <p:cBhvr>
                                        <p:cTn id="32" dur="500"/>
                                        <p:tgtEl>
                                          <p:spTgt spid="7"/>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8"/>
                                        </p:tgtEl>
                                        <p:attrNameLst>
                                          <p:attrName>style.visibility</p:attrName>
                                        </p:attrNameLst>
                                      </p:cBhvr>
                                      <p:to>
                                        <p:strVal val="visible"/>
                                      </p:to>
                                    </p:set>
                                    <p:animEffect transition="in" filter="fade">
                                      <p:cBhvr>
                                        <p:cTn id="35" dur="500"/>
                                        <p:tgtEl>
                                          <p:spTgt spid="8"/>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5">
                                            <p:bg/>
                                          </p:spTgt>
                                        </p:tgtEl>
                                        <p:attrNameLst>
                                          <p:attrName>style.visibility</p:attrName>
                                        </p:attrNameLst>
                                      </p:cBhvr>
                                      <p:to>
                                        <p:strVal val="visible"/>
                                      </p:to>
                                    </p:set>
                                    <p:animEffect transition="in" filter="fade">
                                      <p:cBhvr>
                                        <p:cTn id="38" dur="500"/>
                                        <p:tgtEl>
                                          <p:spTgt spid="15">
                                            <p:bg/>
                                          </p:spTgt>
                                        </p:tgtEl>
                                      </p:cBhvr>
                                    </p:animEffect>
                                  </p:childTnLst>
                                </p:cTn>
                              </p:par>
                              <p:par>
                                <p:cTn id="39" presetID="10" presetClass="entr" presetSubtype="0" fill="hold" nodeType="withEffect">
                                  <p:stCondLst>
                                    <p:cond delay="0"/>
                                  </p:stCondLst>
                                  <p:childTnLst>
                                    <p:set>
                                      <p:cBhvr>
                                        <p:cTn id="40" dur="1" fill="hold">
                                          <p:stCondLst>
                                            <p:cond delay="0"/>
                                          </p:stCondLst>
                                        </p:cTn>
                                        <p:tgtEl>
                                          <p:spTgt spid="21"/>
                                        </p:tgtEl>
                                        <p:attrNameLst>
                                          <p:attrName>style.visibility</p:attrName>
                                        </p:attrNameLst>
                                      </p:cBhvr>
                                      <p:to>
                                        <p:strVal val="visible"/>
                                      </p:to>
                                    </p:set>
                                    <p:animEffect transition="in" filter="fade">
                                      <p:cBhvr>
                                        <p:cTn id="41" dur="500"/>
                                        <p:tgtEl>
                                          <p:spTgt spid="21"/>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6">
                                            <p:bg/>
                                          </p:spTgt>
                                        </p:tgtEl>
                                        <p:attrNameLst>
                                          <p:attrName>style.visibility</p:attrName>
                                        </p:attrNameLst>
                                      </p:cBhvr>
                                      <p:to>
                                        <p:strVal val="visible"/>
                                      </p:to>
                                    </p:set>
                                    <p:animEffect transition="in" filter="fade">
                                      <p:cBhvr>
                                        <p:cTn id="44" dur="500"/>
                                        <p:tgtEl>
                                          <p:spTgt spid="16">
                                            <p:bg/>
                                          </p:spTgt>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6">
                                            <p:txEl>
                                              <p:pRg st="0" end="0"/>
                                            </p:txEl>
                                          </p:spTgt>
                                        </p:tgtEl>
                                        <p:attrNameLst>
                                          <p:attrName>style.visibility</p:attrName>
                                        </p:attrNameLst>
                                      </p:cBhvr>
                                      <p:to>
                                        <p:strVal val="visible"/>
                                      </p:to>
                                    </p:set>
                                    <p:animEffect transition="in" filter="fade">
                                      <p:cBhvr>
                                        <p:cTn id="47" dur="500"/>
                                        <p:tgtEl>
                                          <p:spTgt spid="16">
                                            <p:txEl>
                                              <p:pRg st="0" end="0"/>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7">
                                            <p:txEl>
                                              <p:pRg st="0" end="0"/>
                                            </p:txEl>
                                          </p:spTgt>
                                        </p:tgtEl>
                                        <p:attrNameLst>
                                          <p:attrName>style.visibility</p:attrName>
                                        </p:attrNameLst>
                                      </p:cBhvr>
                                      <p:to>
                                        <p:strVal val="visible"/>
                                      </p:to>
                                    </p:set>
                                    <p:animEffect transition="in" filter="fade">
                                      <p:cBhvr>
                                        <p:cTn id="52" dur="500"/>
                                        <p:tgtEl>
                                          <p:spTgt spid="17">
                                            <p:txEl>
                                              <p:pRg st="0" end="0"/>
                                            </p:txEl>
                                          </p:spTgt>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0"/>
                                        </p:tgtEl>
                                        <p:attrNameLst>
                                          <p:attrName>style.visibility</p:attrName>
                                        </p:attrNameLst>
                                      </p:cBhvr>
                                      <p:to>
                                        <p:strVal val="visible"/>
                                      </p:to>
                                    </p:set>
                                    <p:animEffect transition="in" filter="fade">
                                      <p:cBhvr>
                                        <p:cTn id="55" dur="500"/>
                                        <p:tgtEl>
                                          <p:spTgt spid="10"/>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1"/>
                                        </p:tgtEl>
                                        <p:attrNameLst>
                                          <p:attrName>style.visibility</p:attrName>
                                        </p:attrNameLst>
                                      </p:cBhvr>
                                      <p:to>
                                        <p:strVal val="visible"/>
                                      </p:to>
                                    </p:set>
                                    <p:animEffect transition="in" filter="fade">
                                      <p:cBhvr>
                                        <p:cTn id="58" dur="500"/>
                                        <p:tgtEl>
                                          <p:spTgt spid="11"/>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bg/>
                                          </p:spTgt>
                                        </p:tgtEl>
                                        <p:attrNameLst>
                                          <p:attrName>style.visibility</p:attrName>
                                        </p:attrNameLst>
                                      </p:cBhvr>
                                      <p:to>
                                        <p:strVal val="visible"/>
                                      </p:to>
                                    </p:set>
                                    <p:animEffect transition="in" filter="fade">
                                      <p:cBhvr>
                                        <p:cTn id="61" dur="500"/>
                                        <p:tgtEl>
                                          <p:spTgt spid="17">
                                            <p:bg/>
                                          </p:spTgt>
                                        </p:tgtEl>
                                      </p:cBhvr>
                                    </p:animEffect>
                                  </p:childTnLst>
                                </p:cTn>
                              </p:par>
                              <p:par>
                                <p:cTn id="62" presetID="10" presetClass="entr" presetSubtype="0" fill="hold" nodeType="withEffect">
                                  <p:stCondLst>
                                    <p:cond delay="0"/>
                                  </p:stCondLst>
                                  <p:childTnLst>
                                    <p:set>
                                      <p:cBhvr>
                                        <p:cTn id="63" dur="1" fill="hold">
                                          <p:stCondLst>
                                            <p:cond delay="0"/>
                                          </p:stCondLst>
                                        </p:cTn>
                                        <p:tgtEl>
                                          <p:spTgt spid="26"/>
                                        </p:tgtEl>
                                        <p:attrNameLst>
                                          <p:attrName>style.visibility</p:attrName>
                                        </p:attrNameLst>
                                      </p:cBhvr>
                                      <p:to>
                                        <p:strVal val="visible"/>
                                      </p:to>
                                    </p:set>
                                    <p:animEffect transition="in" filter="fade">
                                      <p:cBhvr>
                                        <p:cTn id="64" dur="500"/>
                                        <p:tgtEl>
                                          <p:spTgt spid="26"/>
                                        </p:tgtEl>
                                      </p:cBhvr>
                                    </p:animEffect>
                                  </p:childTnLst>
                                </p:cTn>
                              </p:par>
                              <p:par>
                                <p:cTn id="65" presetID="10" presetClass="entr" presetSubtype="0" fill="hold" nodeType="withEffect">
                                  <p:stCondLst>
                                    <p:cond delay="0"/>
                                  </p:stCondLst>
                                  <p:childTnLst>
                                    <p:set>
                                      <p:cBhvr>
                                        <p:cTn id="66" dur="1" fill="hold">
                                          <p:stCondLst>
                                            <p:cond delay="0"/>
                                          </p:stCondLst>
                                        </p:cTn>
                                        <p:tgtEl>
                                          <p:spTgt spid="33"/>
                                        </p:tgtEl>
                                        <p:attrNameLst>
                                          <p:attrName>style.visibility</p:attrName>
                                        </p:attrNameLst>
                                      </p:cBhvr>
                                      <p:to>
                                        <p:strVal val="visible"/>
                                      </p:to>
                                    </p:set>
                                    <p:animEffect transition="in" filter="fade">
                                      <p:cBhvr>
                                        <p:cTn id="67" dur="500"/>
                                        <p:tgtEl>
                                          <p:spTgt spid="33"/>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9">
                                            <p:bg/>
                                          </p:spTgt>
                                        </p:tgtEl>
                                        <p:attrNameLst>
                                          <p:attrName>style.visibility</p:attrName>
                                        </p:attrNameLst>
                                      </p:cBhvr>
                                      <p:to>
                                        <p:strVal val="visible"/>
                                      </p:to>
                                    </p:set>
                                    <p:animEffect transition="in" filter="fade">
                                      <p:cBhvr>
                                        <p:cTn id="70" dur="500"/>
                                        <p:tgtEl>
                                          <p:spTgt spid="19">
                                            <p:bg/>
                                          </p:spTgt>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19">
                                            <p:txEl>
                                              <p:pRg st="0" end="0"/>
                                            </p:txEl>
                                          </p:spTgt>
                                        </p:tgtEl>
                                        <p:attrNameLst>
                                          <p:attrName>style.visibility</p:attrName>
                                        </p:attrNameLst>
                                      </p:cBhvr>
                                      <p:to>
                                        <p:strVal val="visible"/>
                                      </p:to>
                                    </p:set>
                                    <p:animEffect transition="in" filter="fade">
                                      <p:cBhvr>
                                        <p:cTn id="73" dur="500"/>
                                        <p:tgtEl>
                                          <p:spTgt spid="19">
                                            <p:txEl>
                                              <p:pRg st="0" end="0"/>
                                            </p:txEl>
                                          </p:spTgt>
                                        </p:tgtEl>
                                      </p:cBhvr>
                                    </p:animEffect>
                                  </p:childTnLst>
                                </p:cTn>
                              </p:par>
                            </p:childTnLst>
                          </p:cTn>
                        </p:par>
                      </p:childTnLst>
                    </p:cTn>
                  </p:par>
                  <p:par>
                    <p:cTn id="74" fill="hold">
                      <p:stCondLst>
                        <p:cond delay="indefinite"/>
                      </p:stCondLst>
                      <p:childTnLst>
                        <p:par>
                          <p:cTn id="75" fill="hold">
                            <p:stCondLst>
                              <p:cond delay="0"/>
                            </p:stCondLst>
                            <p:childTnLst>
                              <p:par>
                                <p:cTn id="76" presetID="1" presetClass="entr" presetSubtype="0" fill="hold" grpId="0" nodeType="clickEffect">
                                  <p:stCondLst>
                                    <p:cond delay="0"/>
                                  </p:stCondLst>
                                  <p:childTnLst>
                                    <p:set>
                                      <p:cBhvr>
                                        <p:cTn id="77" dur="1" fill="hold">
                                          <p:stCondLst>
                                            <p:cond delay="0"/>
                                          </p:stCondLst>
                                        </p:cTn>
                                        <p:tgtEl>
                                          <p:spTgt spid="18">
                                            <p:txEl>
                                              <p:pRg st="0" end="0"/>
                                            </p:txEl>
                                          </p:spTgt>
                                        </p:tgtEl>
                                        <p:attrNameLst>
                                          <p:attrName>style.visibility</p:attrName>
                                        </p:attrNameLst>
                                      </p:cBhvr>
                                      <p:to>
                                        <p:strVal val="visible"/>
                                      </p:to>
                                    </p:set>
                                  </p:childTnLst>
                                </p:cTn>
                              </p:par>
                              <p:par>
                                <p:cTn id="78" presetID="10" presetClass="entr" presetSubtype="0" fill="hold" grpId="0" nodeType="withEffect">
                                  <p:stCondLst>
                                    <p:cond delay="0"/>
                                  </p:stCondLst>
                                  <p:childTnLst>
                                    <p:set>
                                      <p:cBhvr>
                                        <p:cTn id="79" dur="1" fill="hold">
                                          <p:stCondLst>
                                            <p:cond delay="0"/>
                                          </p:stCondLst>
                                        </p:cTn>
                                        <p:tgtEl>
                                          <p:spTgt spid="9"/>
                                        </p:tgtEl>
                                        <p:attrNameLst>
                                          <p:attrName>style.visibility</p:attrName>
                                        </p:attrNameLst>
                                      </p:cBhvr>
                                      <p:to>
                                        <p:strVal val="visible"/>
                                      </p:to>
                                    </p:set>
                                    <p:animEffect transition="in" filter="fade">
                                      <p:cBhvr>
                                        <p:cTn id="80" dur="500"/>
                                        <p:tgtEl>
                                          <p:spTgt spid="9"/>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12"/>
                                        </p:tgtEl>
                                        <p:attrNameLst>
                                          <p:attrName>style.visibility</p:attrName>
                                        </p:attrNameLst>
                                      </p:cBhvr>
                                      <p:to>
                                        <p:strVal val="visible"/>
                                      </p:to>
                                    </p:set>
                                    <p:animEffect transition="in" filter="fade">
                                      <p:cBhvr>
                                        <p:cTn id="83" dur="500"/>
                                        <p:tgtEl>
                                          <p:spTgt spid="12"/>
                                        </p:tgtEl>
                                      </p:cBhvr>
                                    </p:animEffect>
                                  </p:childTnLst>
                                </p:cTn>
                              </p:par>
                              <p:par>
                                <p:cTn id="84" presetID="1" presetClass="entr" presetSubtype="0" fill="hold" grpId="0" nodeType="withEffect">
                                  <p:stCondLst>
                                    <p:cond delay="0"/>
                                  </p:stCondLst>
                                  <p:childTnLst>
                                    <p:set>
                                      <p:cBhvr>
                                        <p:cTn id="85" dur="1" fill="hold">
                                          <p:stCondLst>
                                            <p:cond delay="0"/>
                                          </p:stCondLst>
                                        </p:cTn>
                                        <p:tgtEl>
                                          <p:spTgt spid="18">
                                            <p:bg/>
                                          </p:spTgt>
                                        </p:tgtEl>
                                        <p:attrNameLst>
                                          <p:attrName>style.visibility</p:attrName>
                                        </p:attrNameLst>
                                      </p:cBhvr>
                                      <p:to>
                                        <p:strVal val="visible"/>
                                      </p:to>
                                    </p:set>
                                  </p:childTnLst>
                                </p:cTn>
                              </p:par>
                              <p:par>
                                <p:cTn id="86" presetID="1" presetClass="entr" presetSubtype="0" fill="hold" nodeType="withEffect">
                                  <p:stCondLst>
                                    <p:cond delay="0"/>
                                  </p:stCondLst>
                                  <p:childTnLst>
                                    <p:set>
                                      <p:cBhvr>
                                        <p:cTn id="87" dur="1" fill="hold">
                                          <p:stCondLst>
                                            <p:cond delay="0"/>
                                          </p:stCondLst>
                                        </p:cTn>
                                        <p:tgtEl>
                                          <p:spTgt spid="31"/>
                                        </p:tgtEl>
                                        <p:attrNameLst>
                                          <p:attrName>style.visibility</p:attrName>
                                        </p:attrNameLst>
                                      </p:cBhvr>
                                      <p:to>
                                        <p:strVal val="visible"/>
                                      </p:to>
                                    </p:set>
                                  </p:childTnLst>
                                </p:cTn>
                              </p:par>
                              <p:par>
                                <p:cTn id="88" presetID="1" presetClass="entr" presetSubtype="0" fill="hold" grpId="0" nodeType="withEffect">
                                  <p:stCondLst>
                                    <p:cond delay="0"/>
                                  </p:stCondLst>
                                  <p:childTnLst>
                                    <p:set>
                                      <p:cBhvr>
                                        <p:cTn id="89" dur="1" fill="hold">
                                          <p:stCondLst>
                                            <p:cond delay="0"/>
                                          </p:stCondLst>
                                        </p:cTn>
                                        <p:tgtEl>
                                          <p:spTgt spid="20">
                                            <p:bg/>
                                          </p:spTgt>
                                        </p:tgtEl>
                                        <p:attrNameLst>
                                          <p:attrName>style.visibility</p:attrName>
                                        </p:attrNameLst>
                                      </p:cBhvr>
                                      <p:to>
                                        <p:strVal val="visible"/>
                                      </p:to>
                                    </p:set>
                                  </p:childTnLst>
                                </p:cTn>
                              </p:par>
                              <p:par>
                                <p:cTn id="90" presetID="1" presetClass="entr" presetSubtype="0" fill="hold" grpId="0" nodeType="withEffect">
                                  <p:stCondLst>
                                    <p:cond delay="0"/>
                                  </p:stCondLst>
                                  <p:childTnLst>
                                    <p:set>
                                      <p:cBhvr>
                                        <p:cTn id="91" dur="1" fill="hold">
                                          <p:stCondLst>
                                            <p:cond delay="0"/>
                                          </p:stCondLst>
                                        </p:cTn>
                                        <p:tgtEl>
                                          <p:spTgt spid="20">
                                            <p:txEl>
                                              <p:pRg st="0" end="0"/>
                                            </p:txEl>
                                          </p:spTgt>
                                        </p:tgtEl>
                                        <p:attrNameLst>
                                          <p:attrName>style.visibility</p:attrName>
                                        </p:attrNameLst>
                                      </p:cBhvr>
                                      <p:to>
                                        <p:strVal val="visible"/>
                                      </p:to>
                                    </p:set>
                                  </p:childTnLst>
                                </p:cTn>
                              </p:par>
                            </p:childTnLst>
                          </p:cTn>
                        </p:par>
                      </p:childTnLst>
                    </p:cTn>
                  </p:par>
                  <p:par>
                    <p:cTn id="92" fill="hold">
                      <p:stCondLst>
                        <p:cond delay="indefinite"/>
                      </p:stCondLst>
                      <p:childTnLst>
                        <p:par>
                          <p:cTn id="93" fill="hold">
                            <p:stCondLst>
                              <p:cond delay="0"/>
                            </p:stCondLst>
                            <p:childTnLst>
                              <p:par>
                                <p:cTn id="94" presetID="10" presetClass="entr" presetSubtype="0" fill="hold" grpId="0" nodeType="click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5" grpId="0" build="p" animBg="1"/>
      <p:bldP spid="16" grpId="0" build="p" animBg="1"/>
      <p:bldP spid="17" grpId="0" build="p" animBg="1"/>
      <p:bldP spid="18" grpId="0" build="p" animBg="1"/>
      <p:bldP spid="19" grpId="0" build="p" animBg="1"/>
      <p:bldP spid="20" grpId="0" build="p" animBg="1"/>
      <p:bldP spid="32" grpId="0"/>
      <p:bldP spid="34" grpId="0" animBg="1"/>
    </p:bldLst>
  </p:timing>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reeform 13"/>
          <p:cNvSpPr>
            <a:spLocks/>
          </p:cNvSpPr>
          <p:nvPr/>
        </p:nvSpPr>
        <p:spPr bwMode="auto">
          <a:xfrm rot="2523820">
            <a:off x="2652214" y="1200150"/>
            <a:ext cx="3544223" cy="3370660"/>
          </a:xfrm>
          <a:custGeom>
            <a:avLst/>
            <a:gdLst>
              <a:gd name="T0" fmla="*/ 173 w 330"/>
              <a:gd name="T1" fmla="*/ 0 h 314"/>
              <a:gd name="T2" fmla="*/ 20 w 330"/>
              <a:gd name="T3" fmla="*/ 125 h 314"/>
              <a:gd name="T4" fmla="*/ 45 w 330"/>
              <a:gd name="T5" fmla="*/ 102 h 314"/>
              <a:gd name="T6" fmla="*/ 79 w 330"/>
              <a:gd name="T7" fmla="*/ 132 h 314"/>
              <a:gd name="T8" fmla="*/ 173 w 330"/>
              <a:gd name="T9" fmla="*/ 59 h 314"/>
              <a:gd name="T10" fmla="*/ 271 w 330"/>
              <a:gd name="T11" fmla="*/ 157 h 314"/>
              <a:gd name="T12" fmla="*/ 173 w 330"/>
              <a:gd name="T13" fmla="*/ 255 h 314"/>
              <a:gd name="T14" fmla="*/ 104 w 330"/>
              <a:gd name="T15" fmla="*/ 226 h 314"/>
              <a:gd name="T16" fmla="*/ 75 w 330"/>
              <a:gd name="T17" fmla="*/ 157 h 314"/>
              <a:gd name="T18" fmla="*/ 90 w 330"/>
              <a:gd name="T19" fmla="*/ 157 h 314"/>
              <a:gd name="T20" fmla="*/ 45 w 330"/>
              <a:gd name="T21" fmla="*/ 117 h 314"/>
              <a:gd name="T22" fmla="*/ 0 w 330"/>
              <a:gd name="T23" fmla="*/ 157 h 314"/>
              <a:gd name="T24" fmla="*/ 16 w 330"/>
              <a:gd name="T25" fmla="*/ 157 h 314"/>
              <a:gd name="T26" fmla="*/ 62 w 330"/>
              <a:gd name="T27" fmla="*/ 268 h 314"/>
              <a:gd name="T28" fmla="*/ 173 w 330"/>
              <a:gd name="T29" fmla="*/ 314 h 314"/>
              <a:gd name="T30" fmla="*/ 330 w 330"/>
              <a:gd name="T31" fmla="*/ 157 h 314"/>
              <a:gd name="T32" fmla="*/ 173 w 330"/>
              <a:gd name="T33" fmla="*/ 0 h 31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30"/>
              <a:gd name="T52" fmla="*/ 0 h 314"/>
              <a:gd name="T53" fmla="*/ 330 w 330"/>
              <a:gd name="T54" fmla="*/ 314 h 31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30" h="314">
                <a:moveTo>
                  <a:pt x="173" y="0"/>
                </a:moveTo>
                <a:cubicBezTo>
                  <a:pt x="98" y="0"/>
                  <a:pt x="34" y="54"/>
                  <a:pt x="20" y="125"/>
                </a:cubicBezTo>
                <a:lnTo>
                  <a:pt x="45" y="102"/>
                </a:lnTo>
                <a:lnTo>
                  <a:pt x="79" y="132"/>
                </a:lnTo>
                <a:cubicBezTo>
                  <a:pt x="90" y="90"/>
                  <a:pt x="128" y="59"/>
                  <a:pt x="173" y="59"/>
                </a:cubicBezTo>
                <a:cubicBezTo>
                  <a:pt x="227" y="59"/>
                  <a:pt x="271" y="103"/>
                  <a:pt x="271" y="157"/>
                </a:cubicBezTo>
                <a:cubicBezTo>
                  <a:pt x="271" y="211"/>
                  <a:pt x="227" y="255"/>
                  <a:pt x="173" y="255"/>
                </a:cubicBezTo>
                <a:cubicBezTo>
                  <a:pt x="147" y="255"/>
                  <a:pt x="122" y="245"/>
                  <a:pt x="104" y="226"/>
                </a:cubicBezTo>
                <a:cubicBezTo>
                  <a:pt x="85" y="208"/>
                  <a:pt x="75" y="183"/>
                  <a:pt x="75" y="157"/>
                </a:cubicBezTo>
                <a:lnTo>
                  <a:pt x="90" y="157"/>
                </a:lnTo>
                <a:lnTo>
                  <a:pt x="45" y="117"/>
                </a:lnTo>
                <a:lnTo>
                  <a:pt x="0" y="157"/>
                </a:lnTo>
                <a:lnTo>
                  <a:pt x="16" y="157"/>
                </a:lnTo>
                <a:cubicBezTo>
                  <a:pt x="16" y="199"/>
                  <a:pt x="33" y="238"/>
                  <a:pt x="62" y="268"/>
                </a:cubicBezTo>
                <a:cubicBezTo>
                  <a:pt x="92" y="298"/>
                  <a:pt x="131" y="314"/>
                  <a:pt x="173" y="314"/>
                </a:cubicBezTo>
                <a:cubicBezTo>
                  <a:pt x="260" y="314"/>
                  <a:pt x="330" y="244"/>
                  <a:pt x="330" y="157"/>
                </a:cubicBezTo>
                <a:cubicBezTo>
                  <a:pt x="330" y="70"/>
                  <a:pt x="260" y="0"/>
                  <a:pt x="173" y="0"/>
                </a:cubicBezTo>
                <a:close/>
              </a:path>
            </a:pathLst>
          </a:custGeom>
          <a:solidFill>
            <a:srgbClr val="FFFFFF">
              <a:alpha val="20000"/>
            </a:srgbClr>
          </a:solidFill>
          <a:ln w="9525">
            <a:noFill/>
            <a:round/>
            <a:headEnd/>
            <a:tailEnd/>
          </a:ln>
        </p:spPr>
        <p:txBody>
          <a:bodyPr lIns="68586" tIns="34294" rIns="68586" bIns="34294"/>
          <a:lstStyle/>
          <a:p>
            <a:pPr defTabSz="685862" fontAlgn="base">
              <a:spcBef>
                <a:spcPct val="0"/>
              </a:spcBef>
              <a:spcAft>
                <a:spcPct val="0"/>
              </a:spcAft>
            </a:pPr>
            <a:endParaRPr lang="en-US">
              <a:solidFill>
                <a:srgbClr val="00264A"/>
              </a:solidFill>
              <a:cs typeface="Segoe UI" pitchFamily="34" charset="0"/>
            </a:endParaRPr>
          </a:p>
        </p:txBody>
      </p:sp>
      <p:sp>
        <p:nvSpPr>
          <p:cNvPr id="8" name="AutoShape 52"/>
          <p:cNvSpPr>
            <a:spLocks noChangeArrowheads="1"/>
          </p:cNvSpPr>
          <p:nvPr/>
        </p:nvSpPr>
        <p:spPr bwMode="auto">
          <a:xfrm>
            <a:off x="3566851" y="1028700"/>
            <a:ext cx="1886441" cy="857250"/>
          </a:xfrm>
          <a:prstGeom prst="roundRect">
            <a:avLst>
              <a:gd name="adj" fmla="val 5417"/>
            </a:avLst>
          </a:prstGeom>
          <a:solidFill>
            <a:srgbClr val="1A4E7C">
              <a:alpha val="87057"/>
            </a:srgbClr>
          </a:solidFill>
          <a:ln w="9525">
            <a:noFill/>
            <a:round/>
            <a:headEnd/>
            <a:tailEnd/>
          </a:ln>
        </p:spPr>
        <p:txBody>
          <a:bodyPr lIns="68586" tIns="34294" rIns="68586" bIns="34294"/>
          <a:lstStyle/>
          <a:p>
            <a:pPr algn="ctr" defTabSz="685862" fontAlgn="base">
              <a:spcBef>
                <a:spcPct val="40000"/>
              </a:spcBef>
              <a:spcAft>
                <a:spcPct val="0"/>
              </a:spcAft>
            </a:pPr>
            <a:r>
              <a:rPr lang="en-US" sz="1000" b="1">
                <a:solidFill>
                  <a:srgbClr val="FFFFFF"/>
                </a:solidFill>
                <a:cs typeface="Segoe UI" pitchFamily="34" charset="0"/>
              </a:rPr>
              <a:t>Application Specification</a:t>
            </a:r>
          </a:p>
        </p:txBody>
      </p:sp>
      <p:sp>
        <p:nvSpPr>
          <p:cNvPr id="9" name="AutoShape 52"/>
          <p:cNvSpPr>
            <a:spLocks noChangeArrowheads="1"/>
          </p:cNvSpPr>
          <p:nvPr/>
        </p:nvSpPr>
        <p:spPr bwMode="auto">
          <a:xfrm>
            <a:off x="4938809" y="2343150"/>
            <a:ext cx="1886441" cy="857250"/>
          </a:xfrm>
          <a:prstGeom prst="roundRect">
            <a:avLst>
              <a:gd name="adj" fmla="val 5417"/>
            </a:avLst>
          </a:prstGeom>
          <a:solidFill>
            <a:srgbClr val="1A4E7C">
              <a:alpha val="87057"/>
            </a:srgbClr>
          </a:solidFill>
          <a:ln w="9525">
            <a:noFill/>
            <a:round/>
            <a:headEnd/>
            <a:tailEnd/>
          </a:ln>
        </p:spPr>
        <p:txBody>
          <a:bodyPr lIns="68586" tIns="34294" rIns="68586" bIns="34294"/>
          <a:lstStyle/>
          <a:p>
            <a:pPr algn="ctr" defTabSz="685862" fontAlgn="base">
              <a:spcBef>
                <a:spcPct val="40000"/>
              </a:spcBef>
              <a:spcAft>
                <a:spcPct val="0"/>
              </a:spcAft>
            </a:pPr>
            <a:r>
              <a:rPr lang="en-US" sz="1000" b="1">
                <a:solidFill>
                  <a:srgbClr val="FFFFFF"/>
                </a:solidFill>
                <a:cs typeface="Segoe UI" pitchFamily="34" charset="0"/>
              </a:rPr>
              <a:t>Create Service Template</a:t>
            </a:r>
          </a:p>
          <a:p>
            <a:pPr marL="89305" lvl="1" indent="-3573" algn="ctr" defTabSz="685862" fontAlgn="base">
              <a:spcBef>
                <a:spcPct val="40000"/>
              </a:spcBef>
              <a:spcAft>
                <a:spcPct val="0"/>
              </a:spcAft>
            </a:pPr>
            <a:endParaRPr lang="en-US" sz="1100" b="1">
              <a:solidFill>
                <a:srgbClr val="FFFFFF"/>
              </a:solidFill>
              <a:cs typeface="Segoe UI" pitchFamily="34" charset="0"/>
            </a:endParaRPr>
          </a:p>
          <a:p>
            <a:pPr algn="ctr" defTabSz="685862" fontAlgn="base">
              <a:spcBef>
                <a:spcPct val="40000"/>
              </a:spcBef>
              <a:spcAft>
                <a:spcPct val="0"/>
              </a:spcAft>
            </a:pPr>
            <a:endParaRPr lang="en-US" sz="1100" b="1">
              <a:solidFill>
                <a:srgbClr val="FFFFFF"/>
              </a:solidFill>
              <a:cs typeface="Segoe UI" pitchFamily="34" charset="0"/>
            </a:endParaRPr>
          </a:p>
        </p:txBody>
      </p:sp>
      <p:sp>
        <p:nvSpPr>
          <p:cNvPr id="10" name="AutoShape 52"/>
          <p:cNvSpPr>
            <a:spLocks noChangeArrowheads="1"/>
          </p:cNvSpPr>
          <p:nvPr/>
        </p:nvSpPr>
        <p:spPr bwMode="auto">
          <a:xfrm>
            <a:off x="4652985" y="3771900"/>
            <a:ext cx="1886441" cy="857250"/>
          </a:xfrm>
          <a:prstGeom prst="roundRect">
            <a:avLst>
              <a:gd name="adj" fmla="val 5417"/>
            </a:avLst>
          </a:prstGeom>
          <a:solidFill>
            <a:srgbClr val="1A4E7C">
              <a:alpha val="87057"/>
            </a:srgbClr>
          </a:solidFill>
          <a:ln w="9525">
            <a:noFill/>
            <a:round/>
            <a:headEnd/>
            <a:tailEnd/>
          </a:ln>
        </p:spPr>
        <p:txBody>
          <a:bodyPr lIns="68586" tIns="34294" rIns="68586" bIns="34294"/>
          <a:lstStyle/>
          <a:p>
            <a:pPr algn="ctr" defTabSz="685862" fontAlgn="base">
              <a:spcBef>
                <a:spcPct val="40000"/>
              </a:spcBef>
              <a:spcAft>
                <a:spcPct val="0"/>
              </a:spcAft>
            </a:pPr>
            <a:r>
              <a:rPr lang="en-US" sz="1000" b="1">
                <a:solidFill>
                  <a:srgbClr val="FFFFFF"/>
                </a:solidFill>
                <a:cs typeface="Segoe UI" pitchFamily="34" charset="0"/>
              </a:rPr>
              <a:t>Customize Deployment</a:t>
            </a:r>
          </a:p>
          <a:p>
            <a:pPr marL="89305" lvl="1" indent="-3573" algn="ctr" defTabSz="685862" fontAlgn="base">
              <a:spcBef>
                <a:spcPct val="40000"/>
              </a:spcBef>
              <a:spcAft>
                <a:spcPct val="0"/>
              </a:spcAft>
            </a:pPr>
            <a:endParaRPr lang="en-US" sz="1100" b="1">
              <a:solidFill>
                <a:srgbClr val="FFFFFF"/>
              </a:solidFill>
              <a:cs typeface="Segoe UI" pitchFamily="34" charset="0"/>
            </a:endParaRPr>
          </a:p>
          <a:p>
            <a:pPr algn="ctr" defTabSz="685862" fontAlgn="base">
              <a:spcBef>
                <a:spcPct val="40000"/>
              </a:spcBef>
              <a:spcAft>
                <a:spcPct val="0"/>
              </a:spcAft>
            </a:pPr>
            <a:endParaRPr lang="en-US" sz="1100" b="1">
              <a:solidFill>
                <a:srgbClr val="FFFFFF"/>
              </a:solidFill>
              <a:cs typeface="Segoe UI" pitchFamily="34" charset="0"/>
            </a:endParaRPr>
          </a:p>
        </p:txBody>
      </p:sp>
      <p:sp>
        <p:nvSpPr>
          <p:cNvPr id="11" name="AutoShape 52"/>
          <p:cNvSpPr>
            <a:spLocks noChangeArrowheads="1"/>
          </p:cNvSpPr>
          <p:nvPr/>
        </p:nvSpPr>
        <p:spPr bwMode="auto">
          <a:xfrm>
            <a:off x="2537883" y="3771900"/>
            <a:ext cx="1886441" cy="857250"/>
          </a:xfrm>
          <a:prstGeom prst="roundRect">
            <a:avLst>
              <a:gd name="adj" fmla="val 5417"/>
            </a:avLst>
          </a:prstGeom>
          <a:solidFill>
            <a:srgbClr val="1A4E7C">
              <a:alpha val="87057"/>
            </a:srgbClr>
          </a:solidFill>
          <a:ln w="9525">
            <a:noFill/>
            <a:round/>
            <a:headEnd/>
            <a:tailEnd/>
          </a:ln>
        </p:spPr>
        <p:txBody>
          <a:bodyPr lIns="68586" tIns="34294" rIns="68586" bIns="34294"/>
          <a:lstStyle/>
          <a:p>
            <a:pPr algn="ctr" defTabSz="685862" fontAlgn="base">
              <a:spcBef>
                <a:spcPct val="40000"/>
              </a:spcBef>
              <a:spcAft>
                <a:spcPct val="0"/>
              </a:spcAft>
            </a:pPr>
            <a:r>
              <a:rPr lang="en-US" sz="1000" b="1">
                <a:solidFill>
                  <a:srgbClr val="FFFFFF"/>
                </a:solidFill>
                <a:cs typeface="Segoe UI" pitchFamily="34" charset="0"/>
              </a:rPr>
              <a:t>Deploy Service</a:t>
            </a:r>
          </a:p>
        </p:txBody>
      </p:sp>
      <p:sp>
        <p:nvSpPr>
          <p:cNvPr id="12" name="AutoShape 52"/>
          <p:cNvSpPr>
            <a:spLocks noChangeArrowheads="1"/>
          </p:cNvSpPr>
          <p:nvPr/>
        </p:nvSpPr>
        <p:spPr bwMode="auto">
          <a:xfrm>
            <a:off x="2194895" y="2343150"/>
            <a:ext cx="1886441" cy="857250"/>
          </a:xfrm>
          <a:prstGeom prst="roundRect">
            <a:avLst>
              <a:gd name="adj" fmla="val 5417"/>
            </a:avLst>
          </a:prstGeom>
          <a:solidFill>
            <a:srgbClr val="1A4E7C">
              <a:alpha val="87057"/>
            </a:srgbClr>
          </a:solidFill>
          <a:ln w="9525">
            <a:noFill/>
            <a:round/>
            <a:headEnd/>
            <a:tailEnd/>
          </a:ln>
        </p:spPr>
        <p:txBody>
          <a:bodyPr lIns="68586" tIns="34294" rIns="68586" bIns="34294"/>
          <a:lstStyle/>
          <a:p>
            <a:pPr algn="ctr" defTabSz="685862" fontAlgn="base">
              <a:spcBef>
                <a:spcPct val="40000"/>
              </a:spcBef>
              <a:spcAft>
                <a:spcPct val="0"/>
              </a:spcAft>
            </a:pPr>
            <a:r>
              <a:rPr lang="en-US" sz="1000" b="1" dirty="0">
                <a:solidFill>
                  <a:srgbClr val="FFFFFF"/>
                </a:solidFill>
                <a:cs typeface="Segoe UI" pitchFamily="34" charset="0"/>
              </a:rPr>
              <a:t>Update Template and Apply to Service</a:t>
            </a:r>
          </a:p>
          <a:p>
            <a:pPr marL="89305" lvl="1" indent="-3573" algn="ctr" defTabSz="685862" fontAlgn="base">
              <a:spcBef>
                <a:spcPct val="40000"/>
              </a:spcBef>
              <a:spcAft>
                <a:spcPct val="0"/>
              </a:spcAft>
            </a:pPr>
            <a:endParaRPr lang="en-US" sz="1100" b="1" dirty="0">
              <a:solidFill>
                <a:srgbClr val="FFFFFF"/>
              </a:solidFill>
              <a:cs typeface="Segoe UI" pitchFamily="34" charset="0"/>
            </a:endParaRPr>
          </a:p>
          <a:p>
            <a:pPr algn="ctr" defTabSz="685862" fontAlgn="base">
              <a:spcBef>
                <a:spcPct val="40000"/>
              </a:spcBef>
              <a:spcAft>
                <a:spcPct val="0"/>
              </a:spcAft>
            </a:pPr>
            <a:endParaRPr lang="en-US" sz="1100" b="1" dirty="0">
              <a:solidFill>
                <a:srgbClr val="FFFFFF"/>
              </a:solidFill>
              <a:cs typeface="Segoe UI" pitchFamily="34" charset="0"/>
            </a:endParaRPr>
          </a:p>
        </p:txBody>
      </p:sp>
      <p:sp>
        <p:nvSpPr>
          <p:cNvPr id="13" name="Title 1"/>
          <p:cNvSpPr>
            <a:spLocks noGrp="1"/>
          </p:cNvSpPr>
          <p:nvPr>
            <p:ph type="title"/>
          </p:nvPr>
        </p:nvSpPr>
        <p:spPr bwMode="auto">
          <a:xfrm>
            <a:off x="389436" y="171451"/>
            <a:ext cx="8363938" cy="457049"/>
          </a:xfrm>
          <a:noFill/>
          <a:ln>
            <a:miter lim="800000"/>
            <a:headEnd/>
            <a:tailEnd/>
          </a:ln>
          <a:effectLst/>
        </p:spPr>
        <p:txBody>
          <a:bodyPr wrap="square" numCol="1" anchorCtr="0" compatLnSpc="1">
            <a:prstTxWarp prst="textNoShape">
              <a:avLst/>
            </a:prstTxWarp>
          </a:bodyPr>
          <a:lstStyle/>
          <a:p>
            <a:r>
              <a:rPr lang="en-US" dirty="0" smtClean="0">
                <a:latin typeface="Segoe UI" pitchFamily="34" charset="0"/>
                <a:cs typeface="Arial" pitchFamily="34" charset="0"/>
              </a:rPr>
              <a:t>Application delivery </a:t>
            </a:r>
            <a:r>
              <a:rPr lang="en-US" dirty="0">
                <a:latin typeface="Segoe UI" pitchFamily="34" charset="0"/>
                <a:cs typeface="Arial" pitchFamily="34" charset="0"/>
              </a:rPr>
              <a:t>l</a:t>
            </a:r>
            <a:r>
              <a:rPr lang="en-US" dirty="0" smtClean="0">
                <a:latin typeface="Segoe UI" pitchFamily="34" charset="0"/>
                <a:cs typeface="Arial" pitchFamily="34" charset="0"/>
              </a:rPr>
              <a:t>ifecycle - Revisited</a:t>
            </a:r>
          </a:p>
        </p:txBody>
      </p:sp>
      <p:pic>
        <p:nvPicPr>
          <p:cNvPr id="14" name="Picture 12"/>
          <p:cNvPicPr>
            <a:picLocks noChangeAspect="1"/>
          </p:cNvPicPr>
          <p:nvPr/>
        </p:nvPicPr>
        <p:blipFill>
          <a:blip r:embed="rId2"/>
          <a:srcRect/>
          <a:stretch>
            <a:fillRect/>
          </a:stretch>
        </p:blipFill>
        <p:spPr bwMode="auto">
          <a:xfrm>
            <a:off x="4119446" y="1410892"/>
            <a:ext cx="470419" cy="409575"/>
          </a:xfrm>
          <a:prstGeom prst="rect">
            <a:avLst/>
          </a:prstGeom>
          <a:noFill/>
          <a:ln w="9525">
            <a:noFill/>
            <a:miter lim="800000"/>
            <a:headEnd/>
            <a:tailEnd/>
          </a:ln>
        </p:spPr>
      </p:pic>
      <p:pic>
        <p:nvPicPr>
          <p:cNvPr id="15" name="Picture 13"/>
          <p:cNvPicPr>
            <a:picLocks noChangeAspect="1"/>
          </p:cNvPicPr>
          <p:nvPr/>
        </p:nvPicPr>
        <p:blipFill>
          <a:blip r:embed="rId3"/>
          <a:srcRect/>
          <a:stretch>
            <a:fillRect/>
          </a:stretch>
        </p:blipFill>
        <p:spPr bwMode="auto">
          <a:xfrm>
            <a:off x="4424326" y="1296592"/>
            <a:ext cx="459701" cy="466725"/>
          </a:xfrm>
          <a:prstGeom prst="rect">
            <a:avLst/>
          </a:prstGeom>
          <a:noFill/>
          <a:ln w="9525">
            <a:noFill/>
            <a:miter lim="800000"/>
            <a:headEnd/>
            <a:tailEnd/>
          </a:ln>
        </p:spPr>
      </p:pic>
      <p:pic>
        <p:nvPicPr>
          <p:cNvPr id="16" name="Picture 14" descr="app.ai"/>
          <p:cNvPicPr>
            <a:picLocks noChangeAspect="1"/>
          </p:cNvPicPr>
          <p:nvPr/>
        </p:nvPicPr>
        <p:blipFill>
          <a:blip r:embed="rId4"/>
          <a:srcRect/>
          <a:stretch>
            <a:fillRect/>
          </a:stretch>
        </p:blipFill>
        <p:spPr bwMode="auto">
          <a:xfrm rot="1078840">
            <a:off x="4602965" y="1537099"/>
            <a:ext cx="347753" cy="364331"/>
          </a:xfrm>
          <a:prstGeom prst="rect">
            <a:avLst/>
          </a:prstGeom>
          <a:noFill/>
          <a:ln w="9525">
            <a:noFill/>
            <a:miter lim="800000"/>
            <a:headEnd/>
            <a:tailEnd/>
          </a:ln>
        </p:spPr>
      </p:pic>
      <p:pic>
        <p:nvPicPr>
          <p:cNvPr id="17" name="Picture 2"/>
          <p:cNvPicPr>
            <a:picLocks noChangeAspect="1" noChangeArrowheads="1"/>
          </p:cNvPicPr>
          <p:nvPr/>
        </p:nvPicPr>
        <p:blipFill>
          <a:blip r:embed="rId5"/>
          <a:srcRect/>
          <a:stretch>
            <a:fillRect/>
          </a:stretch>
        </p:blipFill>
        <p:spPr bwMode="auto">
          <a:xfrm>
            <a:off x="5472873" y="2618186"/>
            <a:ext cx="928404" cy="525065"/>
          </a:xfrm>
          <a:prstGeom prst="rect">
            <a:avLst/>
          </a:prstGeom>
          <a:noFill/>
          <a:ln w="9525">
            <a:noFill/>
            <a:miter lim="800000"/>
            <a:headEnd/>
            <a:tailEnd/>
          </a:ln>
        </p:spPr>
      </p:pic>
      <p:grpSp>
        <p:nvGrpSpPr>
          <p:cNvPr id="18" name="Group 19"/>
          <p:cNvGrpSpPr>
            <a:grpSpLocks/>
          </p:cNvGrpSpPr>
          <p:nvPr/>
        </p:nvGrpSpPr>
        <p:grpSpPr bwMode="auto">
          <a:xfrm>
            <a:off x="5069812" y="3926682"/>
            <a:ext cx="1052787" cy="672704"/>
            <a:chOff x="3700181" y="2545975"/>
            <a:chExt cx="5671616" cy="3505411"/>
          </a:xfrm>
        </p:grpSpPr>
        <p:pic>
          <p:nvPicPr>
            <p:cNvPr id="19" name="Picture 20"/>
            <p:cNvPicPr>
              <a:picLocks noChangeAspect="1"/>
            </p:cNvPicPr>
            <p:nvPr/>
          </p:nvPicPr>
          <p:blipFill>
            <a:blip r:embed="rId6"/>
            <a:srcRect/>
            <a:stretch>
              <a:fillRect/>
            </a:stretch>
          </p:blipFill>
          <p:spPr bwMode="auto">
            <a:xfrm>
              <a:off x="4381218" y="2545975"/>
              <a:ext cx="4990579" cy="2754980"/>
            </a:xfrm>
            <a:prstGeom prst="rect">
              <a:avLst/>
            </a:prstGeom>
            <a:noFill/>
            <a:ln w="9525">
              <a:noFill/>
              <a:miter lim="800000"/>
              <a:headEnd/>
              <a:tailEnd/>
            </a:ln>
          </p:spPr>
        </p:pic>
        <p:pic>
          <p:nvPicPr>
            <p:cNvPr id="20" name="Picture 21"/>
            <p:cNvPicPr>
              <a:picLocks noChangeAspect="1"/>
            </p:cNvPicPr>
            <p:nvPr/>
          </p:nvPicPr>
          <p:blipFill>
            <a:blip r:embed="rId7"/>
            <a:srcRect/>
            <a:stretch>
              <a:fillRect/>
            </a:stretch>
          </p:blipFill>
          <p:spPr bwMode="auto">
            <a:xfrm>
              <a:off x="3700181" y="4064337"/>
              <a:ext cx="1362075" cy="1876425"/>
            </a:xfrm>
            <a:prstGeom prst="rect">
              <a:avLst/>
            </a:prstGeom>
            <a:noFill/>
            <a:ln w="9525">
              <a:noFill/>
              <a:miter lim="800000"/>
              <a:headEnd/>
              <a:tailEnd/>
            </a:ln>
          </p:spPr>
        </p:pic>
        <p:pic>
          <p:nvPicPr>
            <p:cNvPr id="21" name="Picture 22"/>
            <p:cNvPicPr>
              <a:picLocks noChangeAspect="1"/>
            </p:cNvPicPr>
            <p:nvPr/>
          </p:nvPicPr>
          <p:blipFill>
            <a:blip r:embed="rId7"/>
            <a:srcRect/>
            <a:stretch>
              <a:fillRect/>
            </a:stretch>
          </p:blipFill>
          <p:spPr bwMode="auto">
            <a:xfrm>
              <a:off x="4760943" y="4131059"/>
              <a:ext cx="1362075" cy="1876425"/>
            </a:xfrm>
            <a:prstGeom prst="rect">
              <a:avLst/>
            </a:prstGeom>
            <a:noFill/>
            <a:ln w="9525">
              <a:noFill/>
              <a:miter lim="800000"/>
              <a:headEnd/>
              <a:tailEnd/>
            </a:ln>
          </p:spPr>
        </p:pic>
        <p:pic>
          <p:nvPicPr>
            <p:cNvPr id="22" name="Picture 23"/>
            <p:cNvPicPr>
              <a:picLocks noChangeAspect="1"/>
            </p:cNvPicPr>
            <p:nvPr/>
          </p:nvPicPr>
          <p:blipFill>
            <a:blip r:embed="rId7"/>
            <a:srcRect/>
            <a:stretch>
              <a:fillRect/>
            </a:stretch>
          </p:blipFill>
          <p:spPr bwMode="auto">
            <a:xfrm>
              <a:off x="5858132" y="4108239"/>
              <a:ext cx="1362075" cy="1876425"/>
            </a:xfrm>
            <a:prstGeom prst="rect">
              <a:avLst/>
            </a:prstGeom>
            <a:noFill/>
            <a:ln w="9525">
              <a:noFill/>
              <a:miter lim="800000"/>
              <a:headEnd/>
              <a:tailEnd/>
            </a:ln>
          </p:spPr>
        </p:pic>
        <p:pic>
          <p:nvPicPr>
            <p:cNvPr id="23" name="Picture 24"/>
            <p:cNvPicPr>
              <a:picLocks noChangeAspect="1"/>
            </p:cNvPicPr>
            <p:nvPr/>
          </p:nvPicPr>
          <p:blipFill>
            <a:blip r:embed="rId7"/>
            <a:srcRect/>
            <a:stretch>
              <a:fillRect/>
            </a:stretch>
          </p:blipFill>
          <p:spPr bwMode="auto">
            <a:xfrm>
              <a:off x="6918894" y="4174961"/>
              <a:ext cx="1362075" cy="1876425"/>
            </a:xfrm>
            <a:prstGeom prst="rect">
              <a:avLst/>
            </a:prstGeom>
            <a:noFill/>
            <a:ln w="9525">
              <a:noFill/>
              <a:miter lim="800000"/>
              <a:headEnd/>
              <a:tailEnd/>
            </a:ln>
          </p:spPr>
        </p:pic>
        <p:pic>
          <p:nvPicPr>
            <p:cNvPr id="24" name="Picture 26"/>
            <p:cNvPicPr>
              <a:picLocks noChangeAspect="1"/>
            </p:cNvPicPr>
            <p:nvPr/>
          </p:nvPicPr>
          <p:blipFill>
            <a:blip r:embed="rId8"/>
            <a:srcRect/>
            <a:stretch>
              <a:fillRect/>
            </a:stretch>
          </p:blipFill>
          <p:spPr bwMode="auto">
            <a:xfrm>
              <a:off x="4028538" y="2929851"/>
              <a:ext cx="1464809" cy="884546"/>
            </a:xfrm>
            <a:prstGeom prst="rect">
              <a:avLst/>
            </a:prstGeom>
            <a:noFill/>
            <a:ln w="9525">
              <a:noFill/>
              <a:miter lim="800000"/>
              <a:headEnd/>
              <a:tailEnd/>
            </a:ln>
          </p:spPr>
        </p:pic>
      </p:grpSp>
      <p:pic>
        <p:nvPicPr>
          <p:cNvPr id="25" name="Picture 5"/>
          <p:cNvPicPr>
            <a:picLocks noChangeAspect="1" noChangeArrowheads="1"/>
          </p:cNvPicPr>
          <p:nvPr/>
        </p:nvPicPr>
        <p:blipFill>
          <a:blip r:embed="rId9"/>
          <a:srcRect/>
          <a:stretch>
            <a:fillRect/>
          </a:stretch>
        </p:blipFill>
        <p:spPr bwMode="auto">
          <a:xfrm>
            <a:off x="3138114" y="4000501"/>
            <a:ext cx="460892" cy="558404"/>
          </a:xfrm>
          <a:prstGeom prst="rect">
            <a:avLst/>
          </a:prstGeom>
          <a:noFill/>
          <a:ln w="9525">
            <a:noFill/>
            <a:miter lim="800000"/>
            <a:headEnd/>
            <a:tailEnd/>
          </a:ln>
        </p:spPr>
      </p:pic>
      <p:grpSp>
        <p:nvGrpSpPr>
          <p:cNvPr id="26" name="Group 27"/>
          <p:cNvGrpSpPr>
            <a:grpSpLocks/>
          </p:cNvGrpSpPr>
          <p:nvPr/>
        </p:nvGrpSpPr>
        <p:grpSpPr bwMode="auto">
          <a:xfrm>
            <a:off x="3481105" y="4170759"/>
            <a:ext cx="577603" cy="546572"/>
            <a:chOff x="7589484" y="4824626"/>
            <a:chExt cx="2048502" cy="1722379"/>
          </a:xfrm>
        </p:grpSpPr>
        <p:sp>
          <p:nvSpPr>
            <p:cNvPr id="27" name="Rectangle 26"/>
            <p:cNvSpPr/>
            <p:nvPr/>
          </p:nvSpPr>
          <p:spPr>
            <a:xfrm>
              <a:off x="8565162" y="4888408"/>
              <a:ext cx="359017" cy="277645"/>
            </a:xfrm>
            <a:prstGeom prst="rect">
              <a:avLst/>
            </a:prstGeom>
            <a:solidFill>
              <a:srgbClr val="83B9DA"/>
            </a:solidFill>
            <a:ln>
              <a:tailEnd type="stealth" w="lg" len="lg"/>
            </a:ln>
          </p:spPr>
          <p:style>
            <a:lnRef idx="1">
              <a:schemeClr val="accent4"/>
            </a:lnRef>
            <a:fillRef idx="2">
              <a:schemeClr val="accent4"/>
            </a:fillRef>
            <a:effectRef idx="1">
              <a:schemeClr val="accent4"/>
            </a:effectRef>
            <a:fontRef idx="minor">
              <a:schemeClr val="dk1"/>
            </a:fontRef>
          </p:style>
          <p:txBody>
            <a:bodyPr anchor="ct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fontAlgn="base">
                <a:spcBef>
                  <a:spcPct val="0"/>
                </a:spcBef>
                <a:spcAft>
                  <a:spcPct val="0"/>
                </a:spcAft>
                <a:defRPr/>
              </a:pPr>
              <a:endParaRPr lang="en-US" sz="1200" dirty="0" err="1">
                <a:solidFill>
                  <a:srgbClr val="1F497D"/>
                </a:solidFill>
              </a:endParaRPr>
            </a:p>
          </p:txBody>
        </p:sp>
        <p:sp>
          <p:nvSpPr>
            <p:cNvPr id="28" name="Rectangle 27"/>
            <p:cNvSpPr/>
            <p:nvPr/>
          </p:nvSpPr>
          <p:spPr>
            <a:xfrm>
              <a:off x="8717215" y="5042239"/>
              <a:ext cx="359017" cy="277645"/>
            </a:xfrm>
            <a:prstGeom prst="rect">
              <a:avLst/>
            </a:prstGeom>
            <a:solidFill>
              <a:srgbClr val="83B9DA"/>
            </a:solidFill>
            <a:ln>
              <a:tailEnd type="stealth" w="lg" len="lg"/>
            </a:ln>
          </p:spPr>
          <p:style>
            <a:lnRef idx="1">
              <a:schemeClr val="accent4"/>
            </a:lnRef>
            <a:fillRef idx="2">
              <a:schemeClr val="accent4"/>
            </a:fillRef>
            <a:effectRef idx="1">
              <a:schemeClr val="accent4"/>
            </a:effectRef>
            <a:fontRef idx="minor">
              <a:schemeClr val="dk1"/>
            </a:fontRef>
          </p:style>
          <p:txBody>
            <a:bodyPr anchor="ct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fontAlgn="base">
                <a:spcBef>
                  <a:spcPct val="0"/>
                </a:spcBef>
                <a:spcAft>
                  <a:spcPct val="0"/>
                </a:spcAft>
                <a:defRPr/>
              </a:pPr>
              <a:endParaRPr lang="en-US" sz="1200" dirty="0" err="1">
                <a:solidFill>
                  <a:srgbClr val="1F497D"/>
                </a:solidFill>
              </a:endParaRPr>
            </a:p>
          </p:txBody>
        </p:sp>
        <p:sp>
          <p:nvSpPr>
            <p:cNvPr id="29" name="Rectangle 28"/>
            <p:cNvSpPr/>
            <p:nvPr/>
          </p:nvSpPr>
          <p:spPr>
            <a:xfrm>
              <a:off x="8869269" y="5192317"/>
              <a:ext cx="359017" cy="277645"/>
            </a:xfrm>
            <a:prstGeom prst="rect">
              <a:avLst/>
            </a:prstGeom>
            <a:solidFill>
              <a:srgbClr val="83B9DA"/>
            </a:solidFill>
            <a:ln>
              <a:tailEnd type="stealth" w="lg" len="lg"/>
            </a:ln>
          </p:spPr>
          <p:style>
            <a:lnRef idx="1">
              <a:schemeClr val="accent4"/>
            </a:lnRef>
            <a:fillRef idx="2">
              <a:schemeClr val="accent4"/>
            </a:fillRef>
            <a:effectRef idx="1">
              <a:schemeClr val="accent4"/>
            </a:effectRef>
            <a:fontRef idx="minor">
              <a:schemeClr val="dk1"/>
            </a:fontRef>
          </p:style>
          <p:txBody>
            <a:bodyPr anchor="ct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fontAlgn="base">
                <a:spcBef>
                  <a:spcPct val="0"/>
                </a:spcBef>
                <a:spcAft>
                  <a:spcPct val="0"/>
                </a:spcAft>
                <a:defRPr/>
              </a:pPr>
              <a:endParaRPr lang="en-US" sz="1200" dirty="0" err="1">
                <a:solidFill>
                  <a:srgbClr val="1F497D"/>
                </a:solidFill>
              </a:endParaRPr>
            </a:p>
          </p:txBody>
        </p:sp>
        <p:sp>
          <p:nvSpPr>
            <p:cNvPr id="30" name="TextBox 71"/>
            <p:cNvSpPr txBox="1">
              <a:spLocks noChangeArrowheads="1"/>
            </p:cNvSpPr>
            <p:nvPr/>
          </p:nvSpPr>
          <p:spPr bwMode="auto">
            <a:xfrm>
              <a:off x="8187558" y="5577126"/>
              <a:ext cx="1450428" cy="969879"/>
            </a:xfrm>
            <a:prstGeom prst="rect">
              <a:avLst/>
            </a:prstGeom>
            <a:noFill/>
            <a:ln w="9525">
              <a:noFill/>
              <a:miter lim="800000"/>
              <a:headEnd/>
              <a:tailEnd/>
            </a:ln>
          </p:spPr>
          <p:txBody>
            <a:bodyPr>
              <a:spAutoFit/>
            </a:bodyPr>
            <a:lstStyle/>
            <a:p>
              <a:pPr algn="ctr" defTabSz="684673" fontAlgn="base">
                <a:spcBef>
                  <a:spcPct val="0"/>
                </a:spcBef>
                <a:spcAft>
                  <a:spcPct val="0"/>
                </a:spcAft>
                <a:buClr>
                  <a:srgbClr val="00264A"/>
                </a:buClr>
              </a:pPr>
              <a:endParaRPr lang="en-US" b="1" i="1">
                <a:solidFill>
                  <a:srgbClr val="FFFFFF"/>
                </a:solidFill>
                <a:cs typeface="Segoe UI" pitchFamily="34" charset="0"/>
              </a:endParaRPr>
            </a:p>
          </p:txBody>
        </p:sp>
        <p:sp>
          <p:nvSpPr>
            <p:cNvPr id="31" name="Rounded Rectangle 30"/>
            <p:cNvSpPr/>
            <p:nvPr/>
          </p:nvSpPr>
          <p:spPr>
            <a:xfrm>
              <a:off x="8468017" y="4824626"/>
              <a:ext cx="908098" cy="746638"/>
            </a:xfrm>
            <a:prstGeom prst="roundRect">
              <a:avLst/>
            </a:prstGeom>
            <a:noFill/>
            <a:ln>
              <a:solidFill>
                <a:schemeClr val="tx2"/>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fontAlgn="base">
                <a:spcBef>
                  <a:spcPct val="0"/>
                </a:spcBef>
                <a:spcAft>
                  <a:spcPct val="0"/>
                </a:spcAft>
                <a:defRPr/>
              </a:pPr>
              <a:endParaRPr lang="en-US" dirty="0" err="1" smtClean="0">
                <a:solidFill>
                  <a:srgbClr val="00264A">
                    <a:lumMod val="75000"/>
                    <a:lumOff val="25000"/>
                  </a:srgbClr>
                </a:solidFill>
              </a:endParaRPr>
            </a:p>
          </p:txBody>
        </p:sp>
        <p:sp>
          <p:nvSpPr>
            <p:cNvPr id="32" name="Trapezoid 3"/>
            <p:cNvSpPr/>
            <p:nvPr/>
          </p:nvSpPr>
          <p:spPr>
            <a:xfrm rot="5400000" flipV="1">
              <a:off x="7699812" y="4769160"/>
              <a:ext cx="690709" cy="911366"/>
            </a:xfrm>
            <a:custGeom>
              <a:avLst/>
              <a:gdLst>
                <a:gd name="connsiteX0" fmla="*/ 0 w 2873363"/>
                <a:gd name="connsiteY0" fmla="*/ 2254723 h 2254723"/>
                <a:gd name="connsiteX1" fmla="*/ 1275001 w 2873363"/>
                <a:gd name="connsiteY1" fmla="*/ 0 h 2254723"/>
                <a:gd name="connsiteX2" fmla="*/ 1598362 w 2873363"/>
                <a:gd name="connsiteY2" fmla="*/ 0 h 2254723"/>
                <a:gd name="connsiteX3" fmla="*/ 2873363 w 2873363"/>
                <a:gd name="connsiteY3" fmla="*/ 2254723 h 2254723"/>
                <a:gd name="connsiteX4" fmla="*/ 0 w 2873363"/>
                <a:gd name="connsiteY4" fmla="*/ 2254723 h 2254723"/>
                <a:gd name="connsiteX0" fmla="*/ 0 w 2781326"/>
                <a:gd name="connsiteY0" fmla="*/ 2254723 h 3471665"/>
                <a:gd name="connsiteX1" fmla="*/ 1275001 w 2781326"/>
                <a:gd name="connsiteY1" fmla="*/ 0 h 3471665"/>
                <a:gd name="connsiteX2" fmla="*/ 1598362 w 2781326"/>
                <a:gd name="connsiteY2" fmla="*/ 0 h 3471665"/>
                <a:gd name="connsiteX3" fmla="*/ 2781326 w 2781326"/>
                <a:gd name="connsiteY3" fmla="*/ 3471665 h 3471665"/>
                <a:gd name="connsiteX4" fmla="*/ 0 w 2781326"/>
                <a:gd name="connsiteY4" fmla="*/ 2254723 h 3471665"/>
                <a:gd name="connsiteX0" fmla="*/ 0 w 2781326"/>
                <a:gd name="connsiteY0" fmla="*/ 2585015 h 3801957"/>
                <a:gd name="connsiteX1" fmla="*/ 1275001 w 2781326"/>
                <a:gd name="connsiteY1" fmla="*/ 330292 h 3801957"/>
                <a:gd name="connsiteX2" fmla="*/ 1926292 w 2781326"/>
                <a:gd name="connsiteY2" fmla="*/ 0 h 3801957"/>
                <a:gd name="connsiteX3" fmla="*/ 2781326 w 2781326"/>
                <a:gd name="connsiteY3" fmla="*/ 3801957 h 3801957"/>
                <a:gd name="connsiteX4" fmla="*/ 0 w 2781326"/>
                <a:gd name="connsiteY4" fmla="*/ 2585015 h 3801957"/>
                <a:gd name="connsiteX0" fmla="*/ 0 w 2781326"/>
                <a:gd name="connsiteY0" fmla="*/ 2585015 h 3801957"/>
                <a:gd name="connsiteX1" fmla="*/ 628002 w 2781326"/>
                <a:gd name="connsiteY1" fmla="*/ 355906 h 3801957"/>
                <a:gd name="connsiteX2" fmla="*/ 1926292 w 2781326"/>
                <a:gd name="connsiteY2" fmla="*/ 0 h 3801957"/>
                <a:gd name="connsiteX3" fmla="*/ 2781326 w 2781326"/>
                <a:gd name="connsiteY3" fmla="*/ 3801957 h 3801957"/>
                <a:gd name="connsiteX4" fmla="*/ 0 w 2781326"/>
                <a:gd name="connsiteY4" fmla="*/ 2585015 h 3801957"/>
                <a:gd name="connsiteX0" fmla="*/ 54973 w 2153324"/>
                <a:gd name="connsiteY0" fmla="*/ 1636130 h 3801957"/>
                <a:gd name="connsiteX1" fmla="*/ 0 w 2153324"/>
                <a:gd name="connsiteY1" fmla="*/ 355906 h 3801957"/>
                <a:gd name="connsiteX2" fmla="*/ 1298290 w 2153324"/>
                <a:gd name="connsiteY2" fmla="*/ 0 h 3801957"/>
                <a:gd name="connsiteX3" fmla="*/ 2153324 w 2153324"/>
                <a:gd name="connsiteY3" fmla="*/ 3801957 h 3801957"/>
                <a:gd name="connsiteX4" fmla="*/ 54973 w 2153324"/>
                <a:gd name="connsiteY4" fmla="*/ 1636130 h 3801957"/>
                <a:gd name="connsiteX0" fmla="*/ 0 w 3489111"/>
                <a:gd name="connsiteY0" fmla="*/ 2829177 h 3801957"/>
                <a:gd name="connsiteX1" fmla="*/ 1335787 w 3489111"/>
                <a:gd name="connsiteY1" fmla="*/ 355906 h 3801957"/>
                <a:gd name="connsiteX2" fmla="*/ 2634077 w 3489111"/>
                <a:gd name="connsiteY2" fmla="*/ 0 h 3801957"/>
                <a:gd name="connsiteX3" fmla="*/ 3489111 w 3489111"/>
                <a:gd name="connsiteY3" fmla="*/ 3801957 h 3801957"/>
                <a:gd name="connsiteX4" fmla="*/ 0 w 3489111"/>
                <a:gd name="connsiteY4" fmla="*/ 2829177 h 3801957"/>
                <a:gd name="connsiteX0" fmla="*/ 0 w 3217787"/>
                <a:gd name="connsiteY0" fmla="*/ 3077213 h 3801957"/>
                <a:gd name="connsiteX1" fmla="*/ 1064463 w 3217787"/>
                <a:gd name="connsiteY1" fmla="*/ 355906 h 3801957"/>
                <a:gd name="connsiteX2" fmla="*/ 2362753 w 3217787"/>
                <a:gd name="connsiteY2" fmla="*/ 0 h 3801957"/>
                <a:gd name="connsiteX3" fmla="*/ 3217787 w 3217787"/>
                <a:gd name="connsiteY3" fmla="*/ 3801957 h 3801957"/>
                <a:gd name="connsiteX4" fmla="*/ 0 w 3217787"/>
                <a:gd name="connsiteY4" fmla="*/ 3077213 h 3801957"/>
                <a:gd name="connsiteX0" fmla="*/ 0 w 3217787"/>
                <a:gd name="connsiteY0" fmla="*/ 3077213 h 3801957"/>
                <a:gd name="connsiteX1" fmla="*/ 1679138 w 3217787"/>
                <a:gd name="connsiteY1" fmla="*/ 287222 h 3801957"/>
                <a:gd name="connsiteX2" fmla="*/ 2362753 w 3217787"/>
                <a:gd name="connsiteY2" fmla="*/ 0 h 3801957"/>
                <a:gd name="connsiteX3" fmla="*/ 3217787 w 3217787"/>
                <a:gd name="connsiteY3" fmla="*/ 3801957 h 3801957"/>
                <a:gd name="connsiteX4" fmla="*/ 0 w 3217787"/>
                <a:gd name="connsiteY4" fmla="*/ 3077213 h 3801957"/>
                <a:gd name="connsiteX0" fmla="*/ 0 w 3217787"/>
                <a:gd name="connsiteY0" fmla="*/ 3106287 h 3831031"/>
                <a:gd name="connsiteX1" fmla="*/ 2340052 w 3217787"/>
                <a:gd name="connsiteY1" fmla="*/ 0 h 3831031"/>
                <a:gd name="connsiteX2" fmla="*/ 2362753 w 3217787"/>
                <a:gd name="connsiteY2" fmla="*/ 29074 h 3831031"/>
                <a:gd name="connsiteX3" fmla="*/ 3217787 w 3217787"/>
                <a:gd name="connsiteY3" fmla="*/ 3831031 h 3831031"/>
                <a:gd name="connsiteX4" fmla="*/ 0 w 3217787"/>
                <a:gd name="connsiteY4" fmla="*/ 3106287 h 3831031"/>
                <a:gd name="connsiteX0" fmla="*/ 0 w 3107634"/>
                <a:gd name="connsiteY0" fmla="*/ 3106287 h 3106287"/>
                <a:gd name="connsiteX1" fmla="*/ 2340052 w 3107634"/>
                <a:gd name="connsiteY1" fmla="*/ 0 h 3106287"/>
                <a:gd name="connsiteX2" fmla="*/ 2362753 w 3107634"/>
                <a:gd name="connsiteY2" fmla="*/ 29074 h 3106287"/>
                <a:gd name="connsiteX3" fmla="*/ 3107634 w 3107634"/>
                <a:gd name="connsiteY3" fmla="*/ 2841328 h 3106287"/>
                <a:gd name="connsiteX4" fmla="*/ 0 w 3107634"/>
                <a:gd name="connsiteY4" fmla="*/ 3106287 h 3106287"/>
                <a:gd name="connsiteX0" fmla="*/ 0 w 3107634"/>
                <a:gd name="connsiteY0" fmla="*/ 3106287 h 3114225"/>
                <a:gd name="connsiteX1" fmla="*/ 2340052 w 3107634"/>
                <a:gd name="connsiteY1" fmla="*/ 0 h 3114225"/>
                <a:gd name="connsiteX2" fmla="*/ 2362753 w 3107634"/>
                <a:gd name="connsiteY2" fmla="*/ 29074 h 3114225"/>
                <a:gd name="connsiteX3" fmla="*/ 3107634 w 3107634"/>
                <a:gd name="connsiteY3" fmla="*/ 3114225 h 3114225"/>
                <a:gd name="connsiteX4" fmla="*/ 0 w 3107634"/>
                <a:gd name="connsiteY4" fmla="*/ 3106287 h 3114225"/>
                <a:gd name="connsiteX0" fmla="*/ 0 w 3107634"/>
                <a:gd name="connsiteY0" fmla="*/ 3106287 h 3114225"/>
                <a:gd name="connsiteX1" fmla="*/ 2340052 w 3107634"/>
                <a:gd name="connsiteY1" fmla="*/ 0 h 3114225"/>
                <a:gd name="connsiteX2" fmla="*/ 1258390 w 3107634"/>
                <a:gd name="connsiteY2" fmla="*/ 120043 h 3114225"/>
                <a:gd name="connsiteX3" fmla="*/ 3107634 w 3107634"/>
                <a:gd name="connsiteY3" fmla="*/ 3114225 h 3114225"/>
                <a:gd name="connsiteX4" fmla="*/ 0 w 3107634"/>
                <a:gd name="connsiteY4" fmla="*/ 3106287 h 3114225"/>
                <a:gd name="connsiteX0" fmla="*/ 0 w 3107634"/>
                <a:gd name="connsiteY0" fmla="*/ 2986244 h 2994182"/>
                <a:gd name="connsiteX1" fmla="*/ 1196247 w 3107634"/>
                <a:gd name="connsiteY1" fmla="*/ 16406 h 2994182"/>
                <a:gd name="connsiteX2" fmla="*/ 1258390 w 3107634"/>
                <a:gd name="connsiteY2" fmla="*/ 0 h 2994182"/>
                <a:gd name="connsiteX3" fmla="*/ 3107634 w 3107634"/>
                <a:gd name="connsiteY3" fmla="*/ 2994182 h 2994182"/>
                <a:gd name="connsiteX4" fmla="*/ 0 w 3107634"/>
                <a:gd name="connsiteY4" fmla="*/ 2986244 h 2994182"/>
                <a:gd name="connsiteX0" fmla="*/ 0 w 3107634"/>
                <a:gd name="connsiteY0" fmla="*/ 2969838 h 2977776"/>
                <a:gd name="connsiteX1" fmla="*/ 1196247 w 3107634"/>
                <a:gd name="connsiteY1" fmla="*/ 0 h 2977776"/>
                <a:gd name="connsiteX2" fmla="*/ 922227 w 3107634"/>
                <a:gd name="connsiteY2" fmla="*/ 134 h 2977776"/>
                <a:gd name="connsiteX3" fmla="*/ 3107634 w 3107634"/>
                <a:gd name="connsiteY3" fmla="*/ 2977776 h 2977776"/>
                <a:gd name="connsiteX4" fmla="*/ 0 w 3107634"/>
                <a:gd name="connsiteY4" fmla="*/ 2969838 h 2977776"/>
                <a:gd name="connsiteX0" fmla="*/ 0 w 3107634"/>
                <a:gd name="connsiteY0" fmla="*/ 2986378 h 2994316"/>
                <a:gd name="connsiteX1" fmla="*/ 927320 w 3107634"/>
                <a:gd name="connsiteY1" fmla="*/ 0 h 2994316"/>
                <a:gd name="connsiteX2" fmla="*/ 922227 w 3107634"/>
                <a:gd name="connsiteY2" fmla="*/ 16674 h 2994316"/>
                <a:gd name="connsiteX3" fmla="*/ 3107634 w 3107634"/>
                <a:gd name="connsiteY3" fmla="*/ 2994316 h 2994316"/>
                <a:gd name="connsiteX4" fmla="*/ 0 w 3107634"/>
                <a:gd name="connsiteY4" fmla="*/ 2986378 h 2994316"/>
                <a:gd name="connsiteX0" fmla="*/ 0 w 3107634"/>
                <a:gd name="connsiteY0" fmla="*/ 3020300 h 3028238"/>
                <a:gd name="connsiteX1" fmla="*/ 927320 w 3107634"/>
                <a:gd name="connsiteY1" fmla="*/ 33922 h 3028238"/>
                <a:gd name="connsiteX2" fmla="*/ 899376 w 3107634"/>
                <a:gd name="connsiteY2" fmla="*/ 0 h 3028238"/>
                <a:gd name="connsiteX3" fmla="*/ 3107634 w 3107634"/>
                <a:gd name="connsiteY3" fmla="*/ 3028238 h 3028238"/>
                <a:gd name="connsiteX4" fmla="*/ 0 w 3107634"/>
                <a:gd name="connsiteY4" fmla="*/ 3020300 h 3028238"/>
                <a:gd name="connsiteX0" fmla="*/ 101863 w 3209497"/>
                <a:gd name="connsiteY0" fmla="*/ 2986378 h 2994316"/>
                <a:gd name="connsiteX1" fmla="*/ 1029183 w 3209497"/>
                <a:gd name="connsiteY1" fmla="*/ 0 h 2994316"/>
                <a:gd name="connsiteX2" fmla="*/ 1 w 3209497"/>
                <a:gd name="connsiteY2" fmla="*/ 66292 h 2994316"/>
                <a:gd name="connsiteX3" fmla="*/ 3209497 w 3209497"/>
                <a:gd name="connsiteY3" fmla="*/ 2994316 h 2994316"/>
                <a:gd name="connsiteX4" fmla="*/ 101863 w 3209497"/>
                <a:gd name="connsiteY4" fmla="*/ 2986378 h 2994316"/>
                <a:gd name="connsiteX0" fmla="*/ 101863 w 3209497"/>
                <a:gd name="connsiteY0" fmla="*/ 3053180 h 3061118"/>
                <a:gd name="connsiteX1" fmla="*/ 27944 w 3209497"/>
                <a:gd name="connsiteY1" fmla="*/ 0 h 3061118"/>
                <a:gd name="connsiteX2" fmla="*/ 1 w 3209497"/>
                <a:gd name="connsiteY2" fmla="*/ 133094 h 3061118"/>
                <a:gd name="connsiteX3" fmla="*/ 3209497 w 3209497"/>
                <a:gd name="connsiteY3" fmla="*/ 3061118 h 3061118"/>
                <a:gd name="connsiteX4" fmla="*/ 101863 w 3209497"/>
                <a:gd name="connsiteY4" fmla="*/ 3053180 h 3061118"/>
                <a:gd name="connsiteX0" fmla="*/ 73918 w 3181552"/>
                <a:gd name="connsiteY0" fmla="*/ 3075620 h 3083558"/>
                <a:gd name="connsiteX1" fmla="*/ -1 w 3181552"/>
                <a:gd name="connsiteY1" fmla="*/ 22440 h 3083558"/>
                <a:gd name="connsiteX2" fmla="*/ 1310368 w 3181552"/>
                <a:gd name="connsiteY2" fmla="*/ 0 h 3083558"/>
                <a:gd name="connsiteX3" fmla="*/ 3181552 w 3181552"/>
                <a:gd name="connsiteY3" fmla="*/ 3083558 h 3083558"/>
                <a:gd name="connsiteX4" fmla="*/ 73918 w 3181552"/>
                <a:gd name="connsiteY4" fmla="*/ 3075620 h 3083558"/>
                <a:gd name="connsiteX0" fmla="*/ 1 w 3107635"/>
                <a:gd name="connsiteY0" fmla="*/ 3130937 h 3138875"/>
                <a:gd name="connsiteX1" fmla="*/ 1115704 w 3107635"/>
                <a:gd name="connsiteY1" fmla="*/ 1 h 3138875"/>
                <a:gd name="connsiteX2" fmla="*/ 1236451 w 3107635"/>
                <a:gd name="connsiteY2" fmla="*/ 55317 h 3138875"/>
                <a:gd name="connsiteX3" fmla="*/ 3107635 w 3107635"/>
                <a:gd name="connsiteY3" fmla="*/ 3138875 h 3138875"/>
                <a:gd name="connsiteX4" fmla="*/ 1 w 3107635"/>
                <a:gd name="connsiteY4" fmla="*/ 3130937 h 3138875"/>
                <a:gd name="connsiteX0" fmla="*/ 1 w 3107635"/>
                <a:gd name="connsiteY0" fmla="*/ 3192262 h 3200200"/>
                <a:gd name="connsiteX1" fmla="*/ 1115704 w 3107635"/>
                <a:gd name="connsiteY1" fmla="*/ 61326 h 3200200"/>
                <a:gd name="connsiteX2" fmla="*/ 1038196 w 3107635"/>
                <a:gd name="connsiteY2" fmla="*/ -1 h 3200200"/>
                <a:gd name="connsiteX3" fmla="*/ 3107635 w 3107635"/>
                <a:gd name="connsiteY3" fmla="*/ 3200200 h 3200200"/>
                <a:gd name="connsiteX4" fmla="*/ 1 w 3107635"/>
                <a:gd name="connsiteY4" fmla="*/ 3192262 h 3200200"/>
                <a:gd name="connsiteX0" fmla="*/ 1 w 3107635"/>
                <a:gd name="connsiteY0" fmla="*/ 3208706 h 3216644"/>
                <a:gd name="connsiteX1" fmla="*/ 1066143 w 3107635"/>
                <a:gd name="connsiteY1" fmla="*/ 0 h 3216644"/>
                <a:gd name="connsiteX2" fmla="*/ 1038196 w 3107635"/>
                <a:gd name="connsiteY2" fmla="*/ 16443 h 3216644"/>
                <a:gd name="connsiteX3" fmla="*/ 3107635 w 3107635"/>
                <a:gd name="connsiteY3" fmla="*/ 3216644 h 3216644"/>
                <a:gd name="connsiteX4" fmla="*/ 1 w 3107635"/>
                <a:gd name="connsiteY4" fmla="*/ 3208706 h 3216644"/>
                <a:gd name="connsiteX0" fmla="*/ 1 w 3107635"/>
                <a:gd name="connsiteY0" fmla="*/ 3208706 h 3216644"/>
                <a:gd name="connsiteX1" fmla="*/ 1066143 w 3107635"/>
                <a:gd name="connsiteY1" fmla="*/ 0 h 3216644"/>
                <a:gd name="connsiteX2" fmla="*/ 1087773 w 3107635"/>
                <a:gd name="connsiteY2" fmla="*/ 16453 h 3216644"/>
                <a:gd name="connsiteX3" fmla="*/ 3107635 w 3107635"/>
                <a:gd name="connsiteY3" fmla="*/ 3216644 h 3216644"/>
                <a:gd name="connsiteX4" fmla="*/ 1 w 3107635"/>
                <a:gd name="connsiteY4" fmla="*/ 3208706 h 3216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635" h="3216644">
                  <a:moveTo>
                    <a:pt x="1" y="3208706"/>
                  </a:moveTo>
                  <a:lnTo>
                    <a:pt x="1066143" y="0"/>
                  </a:lnTo>
                  <a:lnTo>
                    <a:pt x="1087773" y="16453"/>
                  </a:lnTo>
                  <a:lnTo>
                    <a:pt x="3107635" y="3216644"/>
                  </a:lnTo>
                  <a:lnTo>
                    <a:pt x="1" y="3208706"/>
                  </a:lnTo>
                  <a:close/>
                </a:path>
              </a:pathLst>
            </a:custGeom>
            <a:gradFill>
              <a:gsLst>
                <a:gs pos="0">
                  <a:srgbClr val="83B9DA">
                    <a:alpha val="52000"/>
                  </a:srgbClr>
                </a:gs>
                <a:gs pos="50000">
                  <a:schemeClr val="accent1">
                    <a:tint val="44500"/>
                    <a:satMod val="160000"/>
                    <a:alpha val="80000"/>
                  </a:schemeClr>
                </a:gs>
                <a:gs pos="100000">
                  <a:schemeClr val="accent1">
                    <a:tint val="23500"/>
                    <a:satMod val="160000"/>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fontAlgn="base">
                <a:spcBef>
                  <a:spcPct val="0"/>
                </a:spcBef>
                <a:spcAft>
                  <a:spcPct val="0"/>
                </a:spcAft>
                <a:defRPr/>
              </a:pPr>
              <a:endParaRPr lang="en-US">
                <a:solidFill>
                  <a:srgbClr val="FFFFFF"/>
                </a:solidFill>
              </a:endParaRPr>
            </a:p>
          </p:txBody>
        </p:sp>
      </p:grpSp>
      <p:pic>
        <p:nvPicPr>
          <p:cNvPr id="33" name="Picture 35"/>
          <p:cNvPicPr>
            <a:picLocks noChangeAspect="1"/>
          </p:cNvPicPr>
          <p:nvPr/>
        </p:nvPicPr>
        <p:blipFill>
          <a:blip r:embed="rId10"/>
          <a:srcRect/>
          <a:stretch>
            <a:fillRect/>
          </a:stretch>
        </p:blipFill>
        <p:spPr bwMode="auto">
          <a:xfrm>
            <a:off x="2874919" y="2686050"/>
            <a:ext cx="527585" cy="514350"/>
          </a:xfrm>
          <a:prstGeom prst="rect">
            <a:avLst/>
          </a:prstGeom>
          <a:noFill/>
          <a:ln w="9525">
            <a:noFill/>
            <a:miter lim="800000"/>
            <a:headEnd/>
            <a:tailEnd/>
          </a:ln>
        </p:spPr>
      </p:pic>
      <p:sp>
        <p:nvSpPr>
          <p:cNvPr id="34" name="Rectangle 24"/>
          <p:cNvSpPr>
            <a:spLocks noChangeArrowheads="1"/>
          </p:cNvSpPr>
          <p:nvPr/>
        </p:nvSpPr>
        <p:spPr bwMode="auto">
          <a:xfrm>
            <a:off x="5086485" y="1885950"/>
            <a:ext cx="1904306" cy="408384"/>
          </a:xfrm>
          <a:prstGeom prst="rect">
            <a:avLst/>
          </a:prstGeom>
          <a:solidFill>
            <a:srgbClr val="002C56"/>
          </a:solidFill>
          <a:ln w="9525" algn="ctr">
            <a:noFill/>
            <a:round/>
            <a:headEnd/>
            <a:tailEnd/>
          </a:ln>
          <a:effectLst/>
        </p:spPr>
        <p:txBody>
          <a:bodyPr lIns="68586" tIns="34294" rIns="68586" bIns="34294" anchor="ctr"/>
          <a:lstStyle/>
          <a:p>
            <a:pPr algn="ctr" defTabSz="685862" fontAlgn="base">
              <a:spcBef>
                <a:spcPct val="0"/>
              </a:spcBef>
              <a:spcAft>
                <a:spcPct val="0"/>
              </a:spcAft>
            </a:pPr>
            <a:endParaRPr lang="en-US" sz="1100" dirty="0">
              <a:solidFill>
                <a:srgbClr val="FFFFFF"/>
              </a:solidFill>
              <a:cs typeface="Segoe UI" pitchFamily="34" charset="0"/>
            </a:endParaRPr>
          </a:p>
          <a:p>
            <a:pPr algn="ctr" defTabSz="685862" fontAlgn="base">
              <a:spcBef>
                <a:spcPct val="0"/>
              </a:spcBef>
              <a:spcAft>
                <a:spcPct val="0"/>
              </a:spcAft>
            </a:pPr>
            <a:r>
              <a:rPr lang="en-US" sz="1100" dirty="0">
                <a:solidFill>
                  <a:srgbClr val="FFFFFF"/>
                </a:solidFill>
                <a:cs typeface="Segoe UI" pitchFamily="34" charset="0"/>
              </a:rPr>
              <a:t>Provision application resources to the VMM library</a:t>
            </a:r>
          </a:p>
          <a:p>
            <a:pPr algn="ctr" defTabSz="685862" fontAlgn="base">
              <a:spcBef>
                <a:spcPct val="0"/>
              </a:spcBef>
              <a:spcAft>
                <a:spcPct val="0"/>
              </a:spcAft>
            </a:pPr>
            <a:endParaRPr lang="en-US" sz="1100" dirty="0">
              <a:solidFill>
                <a:srgbClr val="FFFFFF"/>
              </a:solidFill>
              <a:cs typeface="Segoe UI" pitchFamily="34" charset="0"/>
            </a:endParaRPr>
          </a:p>
        </p:txBody>
      </p:sp>
      <p:sp>
        <p:nvSpPr>
          <p:cNvPr id="35" name="Rectangle 25"/>
          <p:cNvSpPr>
            <a:spLocks noChangeArrowheads="1"/>
          </p:cNvSpPr>
          <p:nvPr/>
        </p:nvSpPr>
        <p:spPr bwMode="auto">
          <a:xfrm>
            <a:off x="5322645" y="3315884"/>
            <a:ext cx="1976952" cy="360769"/>
          </a:xfrm>
          <a:prstGeom prst="rect">
            <a:avLst/>
          </a:prstGeom>
          <a:solidFill>
            <a:srgbClr val="002C56"/>
          </a:solidFill>
          <a:ln w="9525" algn="ctr">
            <a:noFill/>
            <a:round/>
            <a:headEnd/>
            <a:tailEnd/>
          </a:ln>
          <a:effectLst/>
        </p:spPr>
        <p:txBody>
          <a:bodyPr lIns="68586" tIns="34294" rIns="68586" bIns="34294" anchor="ctr"/>
          <a:lstStyle/>
          <a:p>
            <a:pPr defTabSz="685862" fontAlgn="base">
              <a:spcBef>
                <a:spcPct val="0"/>
              </a:spcBef>
              <a:spcAft>
                <a:spcPct val="0"/>
              </a:spcAft>
            </a:pPr>
            <a:endParaRPr lang="en-US" sz="1100" dirty="0">
              <a:solidFill>
                <a:srgbClr val="FFFFFF"/>
              </a:solidFill>
              <a:cs typeface="Segoe UI" pitchFamily="34" charset="0"/>
            </a:endParaRPr>
          </a:p>
          <a:p>
            <a:pPr defTabSz="685862" fontAlgn="base">
              <a:spcBef>
                <a:spcPct val="0"/>
              </a:spcBef>
              <a:spcAft>
                <a:spcPct val="0"/>
              </a:spcAft>
            </a:pPr>
            <a:endParaRPr lang="en-US" sz="1100" dirty="0">
              <a:solidFill>
                <a:srgbClr val="FFFFFF"/>
              </a:solidFill>
              <a:cs typeface="Segoe UI" pitchFamily="34" charset="0"/>
            </a:endParaRPr>
          </a:p>
          <a:p>
            <a:pPr defTabSz="685862" fontAlgn="base">
              <a:spcBef>
                <a:spcPct val="0"/>
              </a:spcBef>
              <a:spcAft>
                <a:spcPct val="0"/>
              </a:spcAft>
            </a:pPr>
            <a:r>
              <a:rPr lang="en-US" sz="1100" dirty="0">
                <a:solidFill>
                  <a:srgbClr val="FFFFFF"/>
                </a:solidFill>
                <a:cs typeface="Segoe UI" pitchFamily="34" charset="0"/>
              </a:rPr>
              <a:t>Publish Service Template, delegate authority and quota</a:t>
            </a:r>
          </a:p>
          <a:p>
            <a:pPr defTabSz="685862" fontAlgn="base">
              <a:spcBef>
                <a:spcPct val="0"/>
              </a:spcBef>
              <a:spcAft>
                <a:spcPct val="0"/>
              </a:spcAft>
            </a:pPr>
            <a:endParaRPr lang="en-US" sz="1100" dirty="0">
              <a:solidFill>
                <a:srgbClr val="FFFFFF"/>
              </a:solidFill>
              <a:cs typeface="Segoe UI" pitchFamily="34" charset="0"/>
            </a:endParaRPr>
          </a:p>
          <a:p>
            <a:pPr defTabSz="685862" fontAlgn="base">
              <a:spcBef>
                <a:spcPct val="0"/>
              </a:spcBef>
              <a:spcAft>
                <a:spcPct val="0"/>
              </a:spcAft>
            </a:pPr>
            <a:endParaRPr lang="en-US" sz="1100" dirty="0">
              <a:solidFill>
                <a:srgbClr val="FFFFFF"/>
              </a:solidFill>
              <a:cs typeface="Segoe UI" pitchFamily="34" charset="0"/>
            </a:endParaRPr>
          </a:p>
        </p:txBody>
      </p:sp>
      <p:sp>
        <p:nvSpPr>
          <p:cNvPr id="36" name="Rectangle 26"/>
          <p:cNvSpPr>
            <a:spLocks noChangeArrowheads="1"/>
          </p:cNvSpPr>
          <p:nvPr/>
        </p:nvSpPr>
        <p:spPr bwMode="auto">
          <a:xfrm>
            <a:off x="1599427" y="3238277"/>
            <a:ext cx="2801079" cy="504233"/>
          </a:xfrm>
          <a:prstGeom prst="rect">
            <a:avLst/>
          </a:prstGeom>
          <a:solidFill>
            <a:srgbClr val="002C56"/>
          </a:solidFill>
          <a:ln w="9525" algn="ctr">
            <a:noFill/>
            <a:round/>
            <a:headEnd/>
            <a:tailEnd/>
          </a:ln>
          <a:effectLst/>
        </p:spPr>
        <p:txBody>
          <a:bodyPr lIns="68586" tIns="34294" rIns="68586" bIns="34294" anchor="ctr"/>
          <a:lstStyle/>
          <a:p>
            <a:pPr defTabSz="685862" fontAlgn="base">
              <a:spcBef>
                <a:spcPct val="0"/>
              </a:spcBef>
              <a:spcAft>
                <a:spcPct val="0"/>
              </a:spcAft>
            </a:pPr>
            <a:r>
              <a:rPr lang="en-US" sz="1100" dirty="0">
                <a:solidFill>
                  <a:srgbClr val="FFFFFF"/>
                </a:solidFill>
                <a:cs typeface="Segoe UI" pitchFamily="34" charset="0"/>
              </a:rPr>
              <a:t>Move the application to production, add into maintenance routines, and configure APM</a:t>
            </a:r>
          </a:p>
        </p:txBody>
      </p:sp>
      <p:sp>
        <p:nvSpPr>
          <p:cNvPr id="37" name="Rectangle 2"/>
          <p:cNvSpPr>
            <a:spLocks noChangeArrowheads="1"/>
          </p:cNvSpPr>
          <p:nvPr/>
        </p:nvSpPr>
        <p:spPr bwMode="auto">
          <a:xfrm>
            <a:off x="5519548" y="1028701"/>
            <a:ext cx="2082191" cy="586979"/>
          </a:xfrm>
          <a:prstGeom prst="rect">
            <a:avLst/>
          </a:prstGeom>
          <a:solidFill>
            <a:srgbClr val="002C56"/>
          </a:solidFill>
          <a:ln w="9525" algn="ctr">
            <a:noFill/>
            <a:round/>
            <a:headEnd/>
            <a:tailEnd/>
          </a:ln>
          <a:effectLst/>
        </p:spPr>
        <p:txBody>
          <a:bodyPr lIns="68586" tIns="34294" rIns="68586" bIns="34294" anchor="ctr"/>
          <a:lstStyle/>
          <a:p>
            <a:pPr marL="342931" lvl="1" defTabSz="685862" fontAlgn="base">
              <a:spcBef>
                <a:spcPct val="0"/>
              </a:spcBef>
              <a:spcAft>
                <a:spcPct val="0"/>
              </a:spcAft>
            </a:pPr>
            <a:r>
              <a:rPr lang="en-US" sz="1100" dirty="0">
                <a:solidFill>
                  <a:srgbClr val="FFFFFF"/>
                </a:solidFill>
                <a:cs typeface="Segoe UI" pitchFamily="34" charset="0"/>
              </a:rPr>
              <a:t>Define the resources and performance requirements for the application </a:t>
            </a:r>
          </a:p>
        </p:txBody>
      </p:sp>
      <p:sp>
        <p:nvSpPr>
          <p:cNvPr id="38" name="Rectangle 3"/>
          <p:cNvSpPr>
            <a:spLocks noChangeArrowheads="1"/>
          </p:cNvSpPr>
          <p:nvPr/>
        </p:nvSpPr>
        <p:spPr bwMode="auto">
          <a:xfrm>
            <a:off x="7087255" y="2463404"/>
            <a:ext cx="1943606" cy="736997"/>
          </a:xfrm>
          <a:prstGeom prst="rect">
            <a:avLst/>
          </a:prstGeom>
          <a:solidFill>
            <a:srgbClr val="002C56"/>
          </a:solidFill>
          <a:ln w="9525" algn="ctr">
            <a:noFill/>
            <a:round/>
            <a:headEnd/>
            <a:tailEnd/>
          </a:ln>
          <a:effectLst/>
        </p:spPr>
        <p:txBody>
          <a:bodyPr lIns="0" tIns="34294" rIns="68586" bIns="34294" anchor="ctr"/>
          <a:lstStyle/>
          <a:p>
            <a:pPr marL="342931" lvl="1" algn="ctr" defTabSz="685862" fontAlgn="base">
              <a:spcBef>
                <a:spcPct val="0"/>
              </a:spcBef>
              <a:spcAft>
                <a:spcPct val="0"/>
              </a:spcAft>
            </a:pPr>
            <a:r>
              <a:rPr lang="en-US" sz="1100" dirty="0">
                <a:solidFill>
                  <a:srgbClr val="FFFFFF"/>
                </a:solidFill>
                <a:cs typeface="Segoe UI" pitchFamily="34" charset="0"/>
              </a:rPr>
              <a:t>Create a new Service Template in the VMM library based on the application requirements</a:t>
            </a:r>
          </a:p>
        </p:txBody>
      </p:sp>
      <p:sp>
        <p:nvSpPr>
          <p:cNvPr id="39" name="Rectangle 4"/>
          <p:cNvSpPr>
            <a:spLocks noChangeArrowheads="1"/>
          </p:cNvSpPr>
          <p:nvPr/>
        </p:nvSpPr>
        <p:spPr bwMode="auto">
          <a:xfrm>
            <a:off x="6629936" y="3886200"/>
            <a:ext cx="1943606" cy="685800"/>
          </a:xfrm>
          <a:prstGeom prst="rect">
            <a:avLst/>
          </a:prstGeom>
          <a:solidFill>
            <a:srgbClr val="002C56"/>
          </a:solidFill>
          <a:ln w="9525" algn="ctr">
            <a:noFill/>
            <a:round/>
            <a:headEnd/>
            <a:tailEnd/>
          </a:ln>
          <a:effectLst/>
        </p:spPr>
        <p:txBody>
          <a:bodyPr lIns="68586" tIns="34294" rIns="68586" bIns="34294" anchor="ctr"/>
          <a:lstStyle/>
          <a:p>
            <a:pPr marL="342931" lvl="1" defTabSz="685862" fontAlgn="base">
              <a:spcBef>
                <a:spcPct val="0"/>
              </a:spcBef>
              <a:spcAft>
                <a:spcPct val="0"/>
              </a:spcAft>
            </a:pPr>
            <a:r>
              <a:rPr lang="en-US" sz="1100" dirty="0">
                <a:solidFill>
                  <a:srgbClr val="FFFFFF"/>
                </a:solidFill>
                <a:cs typeface="Segoe UI" pitchFamily="34" charset="0"/>
              </a:rPr>
              <a:t>Choose most appropriate cloud of server instances for the application</a:t>
            </a:r>
          </a:p>
        </p:txBody>
      </p:sp>
      <p:sp>
        <p:nvSpPr>
          <p:cNvPr id="40" name="Rectangle 5"/>
          <p:cNvSpPr>
            <a:spLocks noChangeArrowheads="1"/>
          </p:cNvSpPr>
          <p:nvPr/>
        </p:nvSpPr>
        <p:spPr bwMode="auto">
          <a:xfrm>
            <a:off x="341798" y="3926682"/>
            <a:ext cx="2047218" cy="664278"/>
          </a:xfrm>
          <a:prstGeom prst="rect">
            <a:avLst/>
          </a:prstGeom>
          <a:solidFill>
            <a:srgbClr val="002C56"/>
          </a:solidFill>
          <a:ln w="9525" algn="ctr">
            <a:noFill/>
            <a:round/>
            <a:headEnd/>
            <a:tailEnd/>
          </a:ln>
          <a:effectLst/>
        </p:spPr>
        <p:txBody>
          <a:bodyPr lIns="68586" tIns="34294" rIns="68586" bIns="34294" anchor="ctr"/>
          <a:lstStyle/>
          <a:p>
            <a:pPr marL="342931" lvl="1" defTabSz="685862" fontAlgn="base">
              <a:spcBef>
                <a:spcPct val="0"/>
              </a:spcBef>
              <a:spcAft>
                <a:spcPct val="0"/>
              </a:spcAft>
            </a:pPr>
            <a:r>
              <a:rPr lang="en-US" sz="1100" dirty="0">
                <a:solidFill>
                  <a:srgbClr val="FFFFFF"/>
                </a:solidFill>
                <a:cs typeface="Segoe UI" pitchFamily="34" charset="0"/>
              </a:rPr>
              <a:t>Start the deployment of the application, either by IT or by an App Owner through App Controller</a:t>
            </a:r>
          </a:p>
        </p:txBody>
      </p:sp>
      <p:sp>
        <p:nvSpPr>
          <p:cNvPr id="41" name="Rectangle 6"/>
          <p:cNvSpPr>
            <a:spLocks noChangeArrowheads="1"/>
          </p:cNvSpPr>
          <p:nvPr/>
        </p:nvSpPr>
        <p:spPr bwMode="auto">
          <a:xfrm>
            <a:off x="170305" y="2334816"/>
            <a:ext cx="1809013" cy="865584"/>
          </a:xfrm>
          <a:prstGeom prst="rect">
            <a:avLst/>
          </a:prstGeom>
          <a:solidFill>
            <a:srgbClr val="002C56"/>
          </a:solidFill>
          <a:ln w="9525" algn="ctr">
            <a:noFill/>
            <a:round/>
            <a:headEnd/>
            <a:tailEnd/>
          </a:ln>
          <a:effectLst/>
        </p:spPr>
        <p:txBody>
          <a:bodyPr lIns="68586" tIns="34294" rIns="68586" bIns="34294" anchor="ctr"/>
          <a:lstStyle/>
          <a:p>
            <a:pPr marL="342931" lvl="1" defTabSz="685862" fontAlgn="base">
              <a:spcBef>
                <a:spcPct val="0"/>
              </a:spcBef>
              <a:spcAft>
                <a:spcPct val="0"/>
              </a:spcAft>
            </a:pPr>
            <a:r>
              <a:rPr lang="en-US" sz="1100" dirty="0">
                <a:solidFill>
                  <a:srgbClr val="FFFFFF"/>
                </a:solidFill>
                <a:cs typeface="Segoe UI" pitchFamily="34" charset="0"/>
              </a:rPr>
              <a:t>Deliver of on-going maintenance of the application and new version upgrades</a:t>
            </a:r>
          </a:p>
        </p:txBody>
      </p:sp>
      <p:sp>
        <p:nvSpPr>
          <p:cNvPr id="42" name="Rectangle 26"/>
          <p:cNvSpPr>
            <a:spLocks noChangeArrowheads="1"/>
          </p:cNvSpPr>
          <p:nvPr/>
        </p:nvSpPr>
        <p:spPr bwMode="auto">
          <a:xfrm>
            <a:off x="1576800" y="1885952"/>
            <a:ext cx="1904305" cy="408383"/>
          </a:xfrm>
          <a:prstGeom prst="rect">
            <a:avLst/>
          </a:prstGeom>
          <a:solidFill>
            <a:srgbClr val="002C56"/>
          </a:solidFill>
          <a:ln w="9525" algn="ctr">
            <a:noFill/>
            <a:round/>
            <a:headEnd/>
            <a:tailEnd/>
          </a:ln>
          <a:effectLst/>
        </p:spPr>
        <p:txBody>
          <a:bodyPr lIns="68586" tIns="34294" rIns="68586" bIns="34294" anchor="ctr"/>
          <a:lstStyle/>
          <a:p>
            <a:pPr defTabSz="685862" fontAlgn="base">
              <a:spcBef>
                <a:spcPct val="0"/>
              </a:spcBef>
              <a:spcAft>
                <a:spcPct val="0"/>
              </a:spcAft>
            </a:pPr>
            <a:r>
              <a:rPr lang="en-US" sz="1100" dirty="0">
                <a:solidFill>
                  <a:srgbClr val="FFFFFF"/>
                </a:solidFill>
                <a:cs typeface="Segoe UI" pitchFamily="34" charset="0"/>
              </a:rPr>
              <a:t>Update the application and version control</a:t>
            </a:r>
          </a:p>
        </p:txBody>
      </p:sp>
      <p:sp>
        <p:nvSpPr>
          <p:cNvPr id="43"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44"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1"/>
              </a:rPr>
              <a:t>www.rapidbbs.cn</a:t>
            </a:r>
            <a:endParaRPr lang="zh-CN" altLang="en-US" sz="1200" b="0">
              <a:latin typeface="Arial" charset="0"/>
              <a:ea typeface="ＭＳ Ｐゴシック" pitchFamily="34" charset="-128"/>
            </a:endParaRPr>
          </a:p>
        </p:txBody>
      </p:sp>
      <p:pic>
        <p:nvPicPr>
          <p:cNvPr id="45" name="Picture 2">
            <a:hlinkClick r:id="rId11"/>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465995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30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37"/>
                                        </p:tgtEl>
                                        <p:attrNameLst>
                                          <p:attrName>style.visibility</p:attrName>
                                        </p:attrNameLst>
                                      </p:cBhvr>
                                      <p:to>
                                        <p:strVal val="visible"/>
                                      </p:to>
                                    </p:set>
                                    <p:animEffect transition="in" filter="fade">
                                      <p:cBhvr>
                                        <p:cTn id="15" dur="500"/>
                                        <p:tgtEl>
                                          <p:spTgt spid="37"/>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500"/>
                                        <p:tgtEl>
                                          <p:spTgt spid="34"/>
                                        </p:tgtEl>
                                      </p:cBhvr>
                                    </p:animEffect>
                                  </p:childTnLst>
                                </p:cTn>
                              </p:par>
                              <p:par>
                                <p:cTn id="19" presetID="10" presetClass="entr" presetSubtype="0" fill="hold" nodeType="with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par>
                                <p:cTn id="22" presetID="10" presetClass="entr" presetSubtype="0" fill="hold" nodeType="withEffect">
                                  <p:stCondLst>
                                    <p:cond delay="0"/>
                                  </p:stCondLst>
                                  <p:childTnLst>
                                    <p:set>
                                      <p:cBhvr>
                                        <p:cTn id="23" dur="1" fill="hold">
                                          <p:stCondLst>
                                            <p:cond delay="0"/>
                                          </p:stCondLst>
                                        </p:cTn>
                                        <p:tgtEl>
                                          <p:spTgt spid="15"/>
                                        </p:tgtEl>
                                        <p:attrNameLst>
                                          <p:attrName>style.visibility</p:attrName>
                                        </p:attrNameLst>
                                      </p:cBhvr>
                                      <p:to>
                                        <p:strVal val="visible"/>
                                      </p:to>
                                    </p:set>
                                    <p:animEffect transition="in" filter="fade">
                                      <p:cBhvr>
                                        <p:cTn id="24" dur="500"/>
                                        <p:tgtEl>
                                          <p:spTgt spid="15"/>
                                        </p:tgtEl>
                                      </p:cBhvr>
                                    </p:animEffect>
                                  </p:childTnLst>
                                </p:cTn>
                              </p:par>
                              <p:par>
                                <p:cTn id="25" presetID="10" presetClass="entr" presetSubtype="0" fill="hold" nodeType="with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500"/>
                                        <p:tgtEl>
                                          <p:spTgt spid="16"/>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9"/>
                                        </p:tgtEl>
                                        <p:attrNameLst>
                                          <p:attrName>style.visibility</p:attrName>
                                        </p:attrNameLst>
                                      </p:cBhvr>
                                      <p:to>
                                        <p:strVal val="visible"/>
                                      </p:to>
                                    </p:set>
                                    <p:animEffect transition="in" filter="fade">
                                      <p:cBhvr>
                                        <p:cTn id="32" dur="500"/>
                                        <p:tgtEl>
                                          <p:spTgt spid="9"/>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38"/>
                                        </p:tgtEl>
                                        <p:attrNameLst>
                                          <p:attrName>style.visibility</p:attrName>
                                        </p:attrNameLst>
                                      </p:cBhvr>
                                      <p:to>
                                        <p:strVal val="visible"/>
                                      </p:to>
                                    </p:set>
                                    <p:animEffect transition="in" filter="fade">
                                      <p:cBhvr>
                                        <p:cTn id="35" dur="500"/>
                                        <p:tgtEl>
                                          <p:spTgt spid="38"/>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35"/>
                                        </p:tgtEl>
                                        <p:attrNameLst>
                                          <p:attrName>style.visibility</p:attrName>
                                        </p:attrNameLst>
                                      </p:cBhvr>
                                      <p:to>
                                        <p:strVal val="visible"/>
                                      </p:to>
                                    </p:set>
                                    <p:animEffect transition="in" filter="fade">
                                      <p:cBhvr>
                                        <p:cTn id="38" dur="500"/>
                                        <p:tgtEl>
                                          <p:spTgt spid="35"/>
                                        </p:tgtEl>
                                      </p:cBhvr>
                                    </p:animEffect>
                                  </p:childTnLst>
                                </p:cTn>
                              </p:par>
                              <p:par>
                                <p:cTn id="39" presetID="10" presetClass="entr" presetSubtype="0" fill="hold" nodeType="withEffect">
                                  <p:stCondLst>
                                    <p:cond delay="0"/>
                                  </p:stCondLst>
                                  <p:childTnLst>
                                    <p:set>
                                      <p:cBhvr>
                                        <p:cTn id="40" dur="1" fill="hold">
                                          <p:stCondLst>
                                            <p:cond delay="0"/>
                                          </p:stCondLst>
                                        </p:cTn>
                                        <p:tgtEl>
                                          <p:spTgt spid="17"/>
                                        </p:tgtEl>
                                        <p:attrNameLst>
                                          <p:attrName>style.visibility</p:attrName>
                                        </p:attrNameLst>
                                      </p:cBhvr>
                                      <p:to>
                                        <p:strVal val="visible"/>
                                      </p:to>
                                    </p:set>
                                    <p:animEffect transition="in" filter="fade">
                                      <p:cBhvr>
                                        <p:cTn id="41" dur="500"/>
                                        <p:tgtEl>
                                          <p:spTgt spid="17"/>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0"/>
                                        </p:tgtEl>
                                        <p:attrNameLst>
                                          <p:attrName>style.visibility</p:attrName>
                                        </p:attrNameLst>
                                      </p:cBhvr>
                                      <p:to>
                                        <p:strVal val="visible"/>
                                      </p:to>
                                    </p:set>
                                    <p:animEffect transition="in" filter="fade">
                                      <p:cBhvr>
                                        <p:cTn id="46" dur="500"/>
                                        <p:tgtEl>
                                          <p:spTgt spid="10"/>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39"/>
                                        </p:tgtEl>
                                        <p:attrNameLst>
                                          <p:attrName>style.visibility</p:attrName>
                                        </p:attrNameLst>
                                      </p:cBhvr>
                                      <p:to>
                                        <p:strVal val="visible"/>
                                      </p:to>
                                    </p:set>
                                    <p:animEffect transition="in" filter="fade">
                                      <p:cBhvr>
                                        <p:cTn id="49" dur="500"/>
                                        <p:tgtEl>
                                          <p:spTgt spid="39"/>
                                        </p:tgtEl>
                                      </p:cBhvr>
                                    </p:animEffect>
                                  </p:childTnLst>
                                </p:cTn>
                              </p:par>
                              <p:par>
                                <p:cTn id="50" presetID="10" presetClass="entr" presetSubtype="0" fill="hold" nodeType="withEffect">
                                  <p:stCondLst>
                                    <p:cond delay="0"/>
                                  </p:stCondLst>
                                  <p:childTnLst>
                                    <p:set>
                                      <p:cBhvr>
                                        <p:cTn id="51" dur="1" fill="hold">
                                          <p:stCondLst>
                                            <p:cond delay="0"/>
                                          </p:stCondLst>
                                        </p:cTn>
                                        <p:tgtEl>
                                          <p:spTgt spid="18"/>
                                        </p:tgtEl>
                                        <p:attrNameLst>
                                          <p:attrName>style.visibility</p:attrName>
                                        </p:attrNameLst>
                                      </p:cBhvr>
                                      <p:to>
                                        <p:strVal val="visible"/>
                                      </p:to>
                                    </p:set>
                                    <p:animEffect transition="in" filter="fade">
                                      <p:cBhvr>
                                        <p:cTn id="52" dur="500"/>
                                        <p:tgtEl>
                                          <p:spTgt spid="18"/>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11"/>
                                        </p:tgtEl>
                                        <p:attrNameLst>
                                          <p:attrName>style.visibility</p:attrName>
                                        </p:attrNameLst>
                                      </p:cBhvr>
                                      <p:to>
                                        <p:strVal val="visible"/>
                                      </p:to>
                                    </p:set>
                                    <p:animEffect transition="in" filter="fade">
                                      <p:cBhvr>
                                        <p:cTn id="57" dur="500"/>
                                        <p:tgtEl>
                                          <p:spTgt spid="11"/>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40"/>
                                        </p:tgtEl>
                                        <p:attrNameLst>
                                          <p:attrName>style.visibility</p:attrName>
                                        </p:attrNameLst>
                                      </p:cBhvr>
                                      <p:to>
                                        <p:strVal val="visible"/>
                                      </p:to>
                                    </p:set>
                                    <p:animEffect transition="in" filter="fade">
                                      <p:cBhvr>
                                        <p:cTn id="60" dur="500"/>
                                        <p:tgtEl>
                                          <p:spTgt spid="40"/>
                                        </p:tgtEl>
                                      </p:cBhvr>
                                    </p:animEffect>
                                  </p:childTnLst>
                                </p:cTn>
                              </p:par>
                              <p:par>
                                <p:cTn id="61" presetID="10" presetClass="entr" presetSubtype="0" fill="hold" nodeType="withEffect">
                                  <p:stCondLst>
                                    <p:cond delay="0"/>
                                  </p:stCondLst>
                                  <p:childTnLst>
                                    <p:set>
                                      <p:cBhvr>
                                        <p:cTn id="62" dur="1" fill="hold">
                                          <p:stCondLst>
                                            <p:cond delay="0"/>
                                          </p:stCondLst>
                                        </p:cTn>
                                        <p:tgtEl>
                                          <p:spTgt spid="25"/>
                                        </p:tgtEl>
                                        <p:attrNameLst>
                                          <p:attrName>style.visibility</p:attrName>
                                        </p:attrNameLst>
                                      </p:cBhvr>
                                      <p:to>
                                        <p:strVal val="visible"/>
                                      </p:to>
                                    </p:set>
                                    <p:animEffect transition="in" filter="fade">
                                      <p:cBhvr>
                                        <p:cTn id="63" dur="500"/>
                                        <p:tgtEl>
                                          <p:spTgt spid="25"/>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36"/>
                                        </p:tgtEl>
                                        <p:attrNameLst>
                                          <p:attrName>style.visibility</p:attrName>
                                        </p:attrNameLst>
                                      </p:cBhvr>
                                      <p:to>
                                        <p:strVal val="visible"/>
                                      </p:to>
                                    </p:set>
                                    <p:animEffect transition="in" filter="fade">
                                      <p:cBhvr>
                                        <p:cTn id="66" dur="500"/>
                                        <p:tgtEl>
                                          <p:spTgt spid="36"/>
                                        </p:tgtEl>
                                      </p:cBhvr>
                                    </p:animEffect>
                                  </p:childTnLst>
                                </p:cTn>
                              </p:par>
                              <p:par>
                                <p:cTn id="67" presetID="10" presetClass="entr" presetSubtype="0" fill="hold" nodeType="withEffect">
                                  <p:stCondLst>
                                    <p:cond delay="0"/>
                                  </p:stCondLst>
                                  <p:childTnLst>
                                    <p:set>
                                      <p:cBhvr>
                                        <p:cTn id="68" dur="1" fill="hold">
                                          <p:stCondLst>
                                            <p:cond delay="0"/>
                                          </p:stCondLst>
                                        </p:cTn>
                                        <p:tgtEl>
                                          <p:spTgt spid="26"/>
                                        </p:tgtEl>
                                        <p:attrNameLst>
                                          <p:attrName>style.visibility</p:attrName>
                                        </p:attrNameLst>
                                      </p:cBhvr>
                                      <p:to>
                                        <p:strVal val="visible"/>
                                      </p:to>
                                    </p:set>
                                    <p:animEffect transition="in" filter="fade">
                                      <p:cBhvr>
                                        <p:cTn id="69" dur="500"/>
                                        <p:tgtEl>
                                          <p:spTgt spid="26"/>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grpId="0" nodeType="clickEffect">
                                  <p:stCondLst>
                                    <p:cond delay="0"/>
                                  </p:stCondLst>
                                  <p:childTnLst>
                                    <p:set>
                                      <p:cBhvr>
                                        <p:cTn id="73" dur="1" fill="hold">
                                          <p:stCondLst>
                                            <p:cond delay="0"/>
                                          </p:stCondLst>
                                        </p:cTn>
                                        <p:tgtEl>
                                          <p:spTgt spid="12"/>
                                        </p:tgtEl>
                                        <p:attrNameLst>
                                          <p:attrName>style.visibility</p:attrName>
                                        </p:attrNameLst>
                                      </p:cBhvr>
                                      <p:to>
                                        <p:strVal val="visible"/>
                                      </p:to>
                                    </p:set>
                                    <p:animEffect transition="in" filter="fade">
                                      <p:cBhvr>
                                        <p:cTn id="74" dur="500"/>
                                        <p:tgtEl>
                                          <p:spTgt spid="12"/>
                                        </p:tgtEl>
                                      </p:cBhvr>
                                    </p:animEffect>
                                  </p:childTnLst>
                                </p:cTn>
                              </p:par>
                              <p:par>
                                <p:cTn id="75" presetID="10" presetClass="entr" presetSubtype="0" fill="hold" nodeType="withEffect">
                                  <p:stCondLst>
                                    <p:cond delay="0"/>
                                  </p:stCondLst>
                                  <p:childTnLst>
                                    <p:set>
                                      <p:cBhvr>
                                        <p:cTn id="76" dur="1" fill="hold">
                                          <p:stCondLst>
                                            <p:cond delay="0"/>
                                          </p:stCondLst>
                                        </p:cTn>
                                        <p:tgtEl>
                                          <p:spTgt spid="33"/>
                                        </p:tgtEl>
                                        <p:attrNameLst>
                                          <p:attrName>style.visibility</p:attrName>
                                        </p:attrNameLst>
                                      </p:cBhvr>
                                      <p:to>
                                        <p:strVal val="visible"/>
                                      </p:to>
                                    </p:set>
                                    <p:animEffect transition="in" filter="fade">
                                      <p:cBhvr>
                                        <p:cTn id="77" dur="500"/>
                                        <p:tgtEl>
                                          <p:spTgt spid="33"/>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41"/>
                                        </p:tgtEl>
                                        <p:attrNameLst>
                                          <p:attrName>style.visibility</p:attrName>
                                        </p:attrNameLst>
                                      </p:cBhvr>
                                      <p:to>
                                        <p:strVal val="visible"/>
                                      </p:to>
                                    </p:set>
                                    <p:animEffect transition="in" filter="fade">
                                      <p:cBhvr>
                                        <p:cTn id="80" dur="500"/>
                                        <p:tgtEl>
                                          <p:spTgt spid="41"/>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42"/>
                                        </p:tgtEl>
                                        <p:attrNameLst>
                                          <p:attrName>style.visibility</p:attrName>
                                        </p:attrNameLst>
                                      </p:cBhvr>
                                      <p:to>
                                        <p:strVal val="visible"/>
                                      </p:to>
                                    </p:set>
                                    <p:animEffect transition="in" filter="fade">
                                      <p:cBhvr>
                                        <p:cTn id="83"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34" grpId="0" animBg="1"/>
      <p:bldP spid="35" grpId="0" animBg="1"/>
      <p:bldP spid="36" grpId="0" animBg="1"/>
      <p:bldP spid="37" grpId="0" animBg="1"/>
      <p:bldP spid="38" grpId="0" animBg="1"/>
      <p:bldP spid="39" grpId="0" animBg="1"/>
      <p:bldP spid="40" grpId="0" animBg="1"/>
      <p:bldP spid="41" grpId="0" animBg="1"/>
      <p:bldP spid="42"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oyal Mail</a:t>
            </a:r>
            <a:endParaRPr lang="en-US" dirty="0"/>
          </a:p>
        </p:txBody>
      </p:sp>
      <p:sp>
        <p:nvSpPr>
          <p:cNvPr id="3" name="Content Placeholder 2"/>
          <p:cNvSpPr>
            <a:spLocks noGrp="1"/>
          </p:cNvSpPr>
          <p:nvPr>
            <p:ph idx="1"/>
          </p:nvPr>
        </p:nvSpPr>
        <p:spPr>
          <a:xfrm>
            <a:off x="389436" y="1085856"/>
            <a:ext cx="8363938" cy="1957459"/>
          </a:xfrm>
        </p:spPr>
        <p:txBody>
          <a:bodyPr/>
          <a:lstStyle/>
          <a:p>
            <a:r>
              <a:rPr lang="en-US" dirty="0"/>
              <a:t>“The Hyper-V project will pay back the original investment in 19 months, and over four years will realize savings of £1.8 million compared to the previous </a:t>
            </a:r>
            <a:r>
              <a:rPr lang="en-US" dirty="0" smtClean="0"/>
              <a:t>operation”</a:t>
            </a:r>
          </a:p>
          <a:p>
            <a:pPr lvl="1"/>
            <a:r>
              <a:rPr lang="en-US" sz="1800" i="1" dirty="0"/>
              <a:t>Adrian Steel, Head of Infrastructure Management</a:t>
            </a:r>
            <a:br>
              <a:rPr lang="en-US" sz="1800" i="1" dirty="0"/>
            </a:br>
            <a:r>
              <a:rPr lang="en-US" sz="1800" i="1" dirty="0"/>
              <a:t>Royal Mail Group</a:t>
            </a:r>
          </a:p>
          <a:p>
            <a:pPr marL="0" indent="0">
              <a:buNone/>
            </a:pPr>
            <a:endParaRPr lang="en-US" dirty="0"/>
          </a:p>
        </p:txBody>
      </p:sp>
      <p:grpSp>
        <p:nvGrpSpPr>
          <p:cNvPr id="4" name="Group 3"/>
          <p:cNvGrpSpPr/>
          <p:nvPr/>
        </p:nvGrpSpPr>
        <p:grpSpPr>
          <a:xfrm>
            <a:off x="456134" y="2921055"/>
            <a:ext cx="1548941" cy="1950586"/>
            <a:chOff x="192502" y="3207625"/>
            <a:chExt cx="1548941" cy="2600781"/>
          </a:xfrm>
          <a:solidFill>
            <a:schemeClr val="accent3"/>
          </a:solidFill>
        </p:grpSpPr>
        <p:sp>
          <p:nvSpPr>
            <p:cNvPr id="5" name="Rectangle 4"/>
            <p:cNvSpPr/>
            <p:nvPr/>
          </p:nvSpPr>
          <p:spPr>
            <a:xfrm>
              <a:off x="192502" y="3207625"/>
              <a:ext cx="1548941" cy="25804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bIns="91440" anchor="b"/>
            <a:lstStyle/>
            <a:p>
              <a:pPr algn="ctr"/>
              <a:endParaRPr lang="en-US" sz="1100" dirty="0">
                <a:solidFill>
                  <a:schemeClr val="tx1"/>
                </a:solidFill>
                <a:latin typeface="Segoe" charset="0"/>
                <a:ea typeface="Segoe UI" pitchFamily="34" charset="0"/>
                <a:cs typeface="Segoe UI" pitchFamily="34" charset="0"/>
              </a:endParaRPr>
            </a:p>
          </p:txBody>
        </p:sp>
        <p:pic>
          <p:nvPicPr>
            <p:cNvPr id="6" name="Picture 30" descr="Reduced-Cost.png"/>
            <p:cNvPicPr>
              <a:picLocks noChangeAspect="1"/>
            </p:cNvPicPr>
            <p:nvPr/>
          </p:nvPicPr>
          <p:blipFill>
            <a:blip r:embed="rId2" cstate="print"/>
            <a:srcRect l="10599" r="12095"/>
            <a:stretch>
              <a:fillRect/>
            </a:stretch>
          </p:blipFill>
          <p:spPr bwMode="auto">
            <a:xfrm>
              <a:off x="389795" y="3433988"/>
              <a:ext cx="1112581" cy="1635754"/>
            </a:xfrm>
            <a:prstGeom prst="rect">
              <a:avLst/>
            </a:prstGeom>
            <a:grpFill/>
            <a:ln w="9525">
              <a:noFill/>
              <a:miter lim="800000"/>
              <a:headEnd/>
              <a:tailEnd/>
            </a:ln>
          </p:spPr>
        </p:pic>
        <p:sp>
          <p:nvSpPr>
            <p:cNvPr id="7" name="Rectangle 6"/>
            <p:cNvSpPr/>
            <p:nvPr/>
          </p:nvSpPr>
          <p:spPr>
            <a:xfrm>
              <a:off x="214514" y="5069742"/>
              <a:ext cx="1487826" cy="738664"/>
            </a:xfrm>
            <a:prstGeom prst="rect">
              <a:avLst/>
            </a:prstGeom>
            <a:grpFill/>
          </p:spPr>
          <p:txBody>
            <a:bodyPr wrap="square">
              <a:spAutoFit/>
            </a:bodyPr>
            <a:lstStyle/>
            <a:p>
              <a:pPr marL="1191" lvl="2" algn="ctr" fontAlgn="base">
                <a:buClr>
                  <a:schemeClr val="accent2"/>
                </a:buClr>
                <a:buSzPct val="100000"/>
                <a:tabLst>
                  <a:tab pos="3428599" algn="r"/>
                </a:tabLst>
                <a:defRPr/>
              </a:pPr>
              <a:r>
                <a:rPr lang="en-US" sz="1500" dirty="0">
                  <a:latin typeface="Segoe" pitchFamily="34" charset="0"/>
                  <a:sym typeface="Wingdings" pitchFamily="2" charset="2"/>
                </a:rPr>
                <a:t>REDUCED COSTS</a:t>
              </a:r>
            </a:p>
          </p:txBody>
        </p:sp>
      </p:grpSp>
      <p:grpSp>
        <p:nvGrpSpPr>
          <p:cNvPr id="8" name="Group 7"/>
          <p:cNvGrpSpPr/>
          <p:nvPr/>
        </p:nvGrpSpPr>
        <p:grpSpPr>
          <a:xfrm>
            <a:off x="2163501" y="2921061"/>
            <a:ext cx="1547144" cy="1935301"/>
            <a:chOff x="1996093" y="3200400"/>
            <a:chExt cx="1547144" cy="2580401"/>
          </a:xfrm>
        </p:grpSpPr>
        <p:sp>
          <p:nvSpPr>
            <p:cNvPr id="9" name="Rectangle 8"/>
            <p:cNvSpPr/>
            <p:nvPr/>
          </p:nvSpPr>
          <p:spPr>
            <a:xfrm>
              <a:off x="1996093" y="3200400"/>
              <a:ext cx="1547144" cy="2580401"/>
            </a:xfrm>
            <a:prstGeom prst="rect">
              <a:avLst/>
            </a:prstGeom>
            <a:ln>
              <a:noFill/>
            </a:ln>
          </p:spPr>
          <p:style>
            <a:lnRef idx="2">
              <a:schemeClr val="accent4">
                <a:shade val="50000"/>
              </a:schemeClr>
            </a:lnRef>
            <a:fillRef idx="1">
              <a:schemeClr val="accent4"/>
            </a:fillRef>
            <a:effectRef idx="0">
              <a:schemeClr val="accent4"/>
            </a:effectRef>
            <a:fontRef idx="minor">
              <a:schemeClr val="lt1"/>
            </a:fontRef>
          </p:style>
          <p:txBody>
            <a:bodyPr bIns="0" anchor="b"/>
            <a:lstStyle/>
            <a:p>
              <a:pPr algn="ctr"/>
              <a:endParaRPr lang="en-US" sz="1100" dirty="0">
                <a:solidFill>
                  <a:schemeClr val="tx1"/>
                </a:solidFill>
                <a:latin typeface="Segoe" charset="0"/>
                <a:ea typeface="Segoe UI" pitchFamily="34" charset="0"/>
                <a:cs typeface="Segoe UI" pitchFamily="34" charset="0"/>
              </a:endParaRPr>
            </a:p>
          </p:txBody>
        </p:sp>
        <p:pic>
          <p:nvPicPr>
            <p:cNvPr id="10" name="Picture 36" descr="flexibility.png"/>
            <p:cNvPicPr>
              <a:picLocks noChangeAspect="1"/>
            </p:cNvPicPr>
            <p:nvPr/>
          </p:nvPicPr>
          <p:blipFill>
            <a:blip r:embed="rId3" cstate="print"/>
            <a:srcRect l="8323" t="7976" r="6375" b="6839"/>
            <a:stretch>
              <a:fillRect/>
            </a:stretch>
          </p:blipFill>
          <p:spPr bwMode="auto">
            <a:xfrm>
              <a:off x="2112807" y="3597213"/>
              <a:ext cx="1313716" cy="1309305"/>
            </a:xfrm>
            <a:prstGeom prst="rect">
              <a:avLst/>
            </a:prstGeom>
            <a:noFill/>
            <a:ln w="9525">
              <a:noFill/>
              <a:miter lim="800000"/>
              <a:headEnd/>
              <a:tailEnd/>
            </a:ln>
          </p:spPr>
        </p:pic>
        <p:sp>
          <p:nvSpPr>
            <p:cNvPr id="11" name="Rectangle 10"/>
            <p:cNvSpPr/>
            <p:nvPr/>
          </p:nvSpPr>
          <p:spPr>
            <a:xfrm>
              <a:off x="2025752" y="5069742"/>
              <a:ext cx="1487826" cy="430887"/>
            </a:xfrm>
            <a:prstGeom prst="rect">
              <a:avLst/>
            </a:prstGeom>
            <a:grpFill/>
          </p:spPr>
          <p:txBody>
            <a:bodyPr wrap="square">
              <a:spAutoFit/>
            </a:bodyPr>
            <a:lstStyle/>
            <a:p>
              <a:pPr marL="1191" lvl="2" algn="ctr" fontAlgn="base">
                <a:buClr>
                  <a:schemeClr val="accent2"/>
                </a:buClr>
                <a:buSzPct val="100000"/>
                <a:tabLst>
                  <a:tab pos="3428599" algn="r"/>
                </a:tabLst>
              </a:pPr>
              <a:r>
                <a:rPr lang="en-US" sz="1500" dirty="0">
                  <a:latin typeface="Segoe" pitchFamily="34" charset="0"/>
                  <a:sym typeface="Wingdings" pitchFamily="2" charset="2"/>
                </a:rPr>
                <a:t>FLEXIBILITY</a:t>
              </a:r>
            </a:p>
          </p:txBody>
        </p:sp>
      </p:grpSp>
      <p:grpSp>
        <p:nvGrpSpPr>
          <p:cNvPr id="12" name="Group 11"/>
          <p:cNvGrpSpPr/>
          <p:nvPr/>
        </p:nvGrpSpPr>
        <p:grpSpPr>
          <a:xfrm>
            <a:off x="3869077" y="2921061"/>
            <a:ext cx="1547144" cy="1935301"/>
            <a:chOff x="3797886" y="3200400"/>
            <a:chExt cx="1547144" cy="2580401"/>
          </a:xfrm>
        </p:grpSpPr>
        <p:sp>
          <p:nvSpPr>
            <p:cNvPr id="13" name="Rectangle 12"/>
            <p:cNvSpPr/>
            <p:nvPr/>
          </p:nvSpPr>
          <p:spPr>
            <a:xfrm>
              <a:off x="3797886" y="3200400"/>
              <a:ext cx="1547144" cy="2580401"/>
            </a:xfrm>
            <a:prstGeom prst="rect">
              <a:avLst/>
            </a:prstGeom>
            <a:solidFill>
              <a:srgbClr val="ACBBC8"/>
            </a:solidFill>
            <a:ln>
              <a:noFill/>
            </a:ln>
          </p:spPr>
          <p:style>
            <a:lnRef idx="2">
              <a:schemeClr val="accent6">
                <a:shade val="50000"/>
              </a:schemeClr>
            </a:lnRef>
            <a:fillRef idx="1">
              <a:schemeClr val="accent6"/>
            </a:fillRef>
            <a:effectRef idx="0">
              <a:schemeClr val="accent6"/>
            </a:effectRef>
            <a:fontRef idx="minor">
              <a:schemeClr val="lt1"/>
            </a:fontRef>
          </p:style>
          <p:txBody>
            <a:bodyPr bIns="0" anchor="b"/>
            <a:lstStyle/>
            <a:p>
              <a:pPr algn="ctr"/>
              <a:endParaRPr lang="en-US" sz="800" dirty="0">
                <a:solidFill>
                  <a:schemeClr val="tx1"/>
                </a:solidFill>
                <a:latin typeface="Segoe UI" pitchFamily="34" charset="0"/>
                <a:ea typeface="Segoe UI" pitchFamily="34" charset="0"/>
                <a:cs typeface="Segoe UI" pitchFamily="34" charset="0"/>
              </a:endParaRPr>
            </a:p>
          </p:txBody>
        </p:sp>
        <p:pic>
          <p:nvPicPr>
            <p:cNvPr id="14" name="Picture 2" descr="C:\Users\sigurdg\Desktop\Agility.png"/>
            <p:cNvPicPr>
              <a:picLocks noChangeAspect="1" noChangeArrowheads="1"/>
            </p:cNvPicPr>
            <p:nvPr/>
          </p:nvPicPr>
          <p:blipFill>
            <a:blip r:embed="rId4" cstate="print"/>
            <a:srcRect/>
            <a:stretch>
              <a:fillRect/>
            </a:stretch>
          </p:blipFill>
          <p:spPr bwMode="auto">
            <a:xfrm>
              <a:off x="3997186" y="3679521"/>
              <a:ext cx="1148545" cy="1144689"/>
            </a:xfrm>
            <a:prstGeom prst="rect">
              <a:avLst/>
            </a:prstGeom>
            <a:noFill/>
          </p:spPr>
        </p:pic>
        <p:sp>
          <p:nvSpPr>
            <p:cNvPr id="15" name="Rectangle 14"/>
            <p:cNvSpPr/>
            <p:nvPr/>
          </p:nvSpPr>
          <p:spPr>
            <a:xfrm>
              <a:off x="3827545" y="5069742"/>
              <a:ext cx="1487826" cy="430887"/>
            </a:xfrm>
            <a:prstGeom prst="rect">
              <a:avLst/>
            </a:prstGeom>
            <a:grpFill/>
          </p:spPr>
          <p:txBody>
            <a:bodyPr wrap="square">
              <a:spAutoFit/>
            </a:bodyPr>
            <a:lstStyle/>
            <a:p>
              <a:pPr marL="1191" lvl="2" algn="ctr" fontAlgn="base">
                <a:buClr>
                  <a:schemeClr val="accent2"/>
                </a:buClr>
                <a:buSzPct val="100000"/>
                <a:tabLst>
                  <a:tab pos="3428599" algn="r"/>
                </a:tabLst>
              </a:pPr>
              <a:r>
                <a:rPr lang="en-US" sz="1500" dirty="0">
                  <a:latin typeface="Segoe" pitchFamily="34" charset="0"/>
                  <a:sym typeface="Wingdings" pitchFamily="2" charset="2"/>
                </a:rPr>
                <a:t>AGILITY</a:t>
              </a:r>
            </a:p>
          </p:txBody>
        </p:sp>
      </p:grpSp>
      <p:grpSp>
        <p:nvGrpSpPr>
          <p:cNvPr id="16" name="Group 15"/>
          <p:cNvGrpSpPr/>
          <p:nvPr/>
        </p:nvGrpSpPr>
        <p:grpSpPr>
          <a:xfrm>
            <a:off x="5574653" y="2921061"/>
            <a:ext cx="1547144" cy="1944181"/>
            <a:chOff x="5599678" y="3216165"/>
            <a:chExt cx="1547144" cy="2592241"/>
          </a:xfrm>
          <a:solidFill>
            <a:schemeClr val="accent6">
              <a:lumMod val="75000"/>
              <a:lumOff val="25000"/>
            </a:schemeClr>
          </a:solidFill>
        </p:grpSpPr>
        <p:sp>
          <p:nvSpPr>
            <p:cNvPr id="17" name="Rectangle 16"/>
            <p:cNvSpPr/>
            <p:nvPr/>
          </p:nvSpPr>
          <p:spPr>
            <a:xfrm>
              <a:off x="5599678" y="3216165"/>
              <a:ext cx="1547144" cy="25804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bIns="91440" anchor="b"/>
            <a:lstStyle/>
            <a:p>
              <a:pPr algn="ctr"/>
              <a:endParaRPr lang="en-US" sz="800" dirty="0">
                <a:solidFill>
                  <a:schemeClr val="tx1"/>
                </a:solidFill>
                <a:latin typeface="Segoe UI" pitchFamily="34" charset="0"/>
                <a:ea typeface="Segoe UI" pitchFamily="34" charset="0"/>
                <a:cs typeface="Segoe UI" pitchFamily="34" charset="0"/>
              </a:endParaRPr>
            </a:p>
          </p:txBody>
        </p:sp>
        <p:pic>
          <p:nvPicPr>
            <p:cNvPr id="18" name="Picture 37" descr="lightswitch.png"/>
            <p:cNvPicPr>
              <a:picLocks noChangeAspect="1"/>
            </p:cNvPicPr>
            <p:nvPr/>
          </p:nvPicPr>
          <p:blipFill>
            <a:blip r:embed="rId5" cstate="print"/>
            <a:srcRect l="13715" t="8690" r="17384" b="11856"/>
            <a:stretch>
              <a:fillRect/>
            </a:stretch>
          </p:blipFill>
          <p:spPr bwMode="auto">
            <a:xfrm>
              <a:off x="5767876" y="3458438"/>
              <a:ext cx="1210749" cy="1586854"/>
            </a:xfrm>
            <a:prstGeom prst="rect">
              <a:avLst/>
            </a:prstGeom>
            <a:grpFill/>
            <a:ln w="9525">
              <a:noFill/>
              <a:miter lim="800000"/>
              <a:headEnd/>
              <a:tailEnd/>
            </a:ln>
          </p:spPr>
        </p:pic>
        <p:sp>
          <p:nvSpPr>
            <p:cNvPr id="19" name="Rectangle 18"/>
            <p:cNvSpPr/>
            <p:nvPr/>
          </p:nvSpPr>
          <p:spPr>
            <a:xfrm>
              <a:off x="5629337" y="5069742"/>
              <a:ext cx="1487826" cy="738664"/>
            </a:xfrm>
            <a:prstGeom prst="rect">
              <a:avLst/>
            </a:prstGeom>
            <a:grpFill/>
          </p:spPr>
          <p:txBody>
            <a:bodyPr wrap="square">
              <a:spAutoFit/>
            </a:bodyPr>
            <a:lstStyle/>
            <a:p>
              <a:pPr marL="1191" lvl="2" algn="ctr" fontAlgn="base">
                <a:buClr>
                  <a:schemeClr val="accent2"/>
                </a:buClr>
                <a:buSzPct val="100000"/>
                <a:tabLst>
                  <a:tab pos="3428599" algn="r"/>
                </a:tabLst>
              </a:pPr>
              <a:r>
                <a:rPr lang="en-US" sz="1500" dirty="0">
                  <a:latin typeface="Segoe" pitchFamily="34" charset="0"/>
                  <a:sym typeface="Wingdings" pitchFamily="2" charset="2"/>
                </a:rPr>
                <a:t>EASY TO IMPLEMENT</a:t>
              </a:r>
            </a:p>
          </p:txBody>
        </p:sp>
      </p:grpSp>
      <p:grpSp>
        <p:nvGrpSpPr>
          <p:cNvPr id="20" name="Group 19"/>
          <p:cNvGrpSpPr/>
          <p:nvPr/>
        </p:nvGrpSpPr>
        <p:grpSpPr>
          <a:xfrm>
            <a:off x="7280229" y="2917447"/>
            <a:ext cx="1550030" cy="1951232"/>
            <a:chOff x="7401469" y="3206764"/>
            <a:chExt cx="1550030" cy="2601641"/>
          </a:xfrm>
        </p:grpSpPr>
        <p:sp>
          <p:nvSpPr>
            <p:cNvPr id="21" name="Rectangle 20"/>
            <p:cNvSpPr/>
            <p:nvPr/>
          </p:nvSpPr>
          <p:spPr>
            <a:xfrm>
              <a:off x="7401469" y="3206764"/>
              <a:ext cx="1550030" cy="2585213"/>
            </a:xfrm>
            <a:prstGeom prst="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bIns="91440" anchor="b"/>
            <a:lstStyle/>
            <a:p>
              <a:pPr algn="ctr"/>
              <a:endParaRPr lang="en-US" sz="800" dirty="0">
                <a:solidFill>
                  <a:schemeClr val="tx1"/>
                </a:solidFill>
                <a:latin typeface="Segoe UI" pitchFamily="34" charset="0"/>
                <a:ea typeface="Segoe UI" pitchFamily="34" charset="0"/>
                <a:cs typeface="Segoe UI" pitchFamily="34" charset="0"/>
              </a:endParaRPr>
            </a:p>
          </p:txBody>
        </p:sp>
        <p:pic>
          <p:nvPicPr>
            <p:cNvPr id="22" name="Picture 2" descr="\\MAGNUM\Projects\Microsoft\Cloud Power FY12\Design\Icons\PNGs\User.png"/>
            <p:cNvPicPr>
              <a:picLocks noChangeAspect="1" noChangeArrowheads="1"/>
            </p:cNvPicPr>
            <p:nvPr/>
          </p:nvPicPr>
          <p:blipFill>
            <a:blip r:embed="rId6" cstate="print">
              <a:lum bright="100000"/>
            </a:blip>
            <a:srcRect/>
            <a:stretch>
              <a:fillRect/>
            </a:stretch>
          </p:blipFill>
          <p:spPr bwMode="auto">
            <a:xfrm>
              <a:off x="7504208" y="3568908"/>
              <a:ext cx="1344553" cy="1372933"/>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pic>
        <p:sp>
          <p:nvSpPr>
            <p:cNvPr id="23" name="Rectangle 22"/>
            <p:cNvSpPr/>
            <p:nvPr/>
          </p:nvSpPr>
          <p:spPr>
            <a:xfrm>
              <a:off x="7432571" y="5069741"/>
              <a:ext cx="1487826" cy="738664"/>
            </a:xfrm>
            <a:prstGeom prst="rect">
              <a:avLst/>
            </a:prstGeom>
            <a:grpFill/>
          </p:spPr>
          <p:txBody>
            <a:bodyPr wrap="square">
              <a:spAutoFit/>
            </a:bodyPr>
            <a:lstStyle/>
            <a:p>
              <a:pPr marL="1191" lvl="2" algn="ctr" fontAlgn="base">
                <a:buClr>
                  <a:schemeClr val="accent2"/>
                </a:buClr>
                <a:buSzPct val="100000"/>
                <a:tabLst>
                  <a:tab pos="3428599" algn="r"/>
                </a:tabLst>
              </a:pPr>
              <a:r>
                <a:rPr lang="en-US" sz="1500" dirty="0">
                  <a:latin typeface="Segoe" pitchFamily="34" charset="0"/>
                  <a:sym typeface="Wingdings" pitchFamily="2" charset="2"/>
                </a:rPr>
                <a:t>MANAGED CHANGE</a:t>
              </a:r>
            </a:p>
          </p:txBody>
        </p:sp>
      </p:grpSp>
      <p:sp>
        <p:nvSpPr>
          <p:cNvPr id="24"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5"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7"/>
              </a:rPr>
              <a:t>www.rapidbbs.cn</a:t>
            </a:r>
            <a:endParaRPr lang="zh-CN" altLang="en-US" sz="1200" b="0">
              <a:latin typeface="Arial" charset="0"/>
              <a:ea typeface="ＭＳ Ｐゴシック" pitchFamily="34" charset="-128"/>
            </a:endParaRPr>
          </a:p>
        </p:txBody>
      </p:sp>
      <p:pic>
        <p:nvPicPr>
          <p:cNvPr id="26" name="Picture 2">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17133095"/>
      </p:ext>
    </p:extLst>
  </p:cSld>
  <p:clrMapOvr>
    <a:masterClrMapping/>
  </p:clrMapOvr>
  <p:transition>
    <p:fade/>
  </p:transition>
  <p:timing>
    <p:tnLst>
      <p:par>
        <p:cTn id="1" dur="indefinite" restart="never" nodeType="tmRoot"/>
      </p:par>
    </p:tnLst>
  </p:timing>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9" name="Elbow Connector 118"/>
          <p:cNvCxnSpPr>
            <a:stCxn id="251" idx="2"/>
          </p:cNvCxnSpPr>
          <p:nvPr/>
        </p:nvCxnSpPr>
        <p:spPr>
          <a:xfrm rot="5400000">
            <a:off x="5102922" y="4401638"/>
            <a:ext cx="359230" cy="373386"/>
          </a:xfrm>
          <a:prstGeom prst="bentConnector2">
            <a:avLst/>
          </a:prstGeom>
          <a:ln w="12700">
            <a:solidFill>
              <a:schemeClr val="bg1"/>
            </a:solidFill>
            <a:tailEnd type="oval" w="med" len="med"/>
          </a:ln>
        </p:spPr>
        <p:style>
          <a:lnRef idx="1">
            <a:schemeClr val="accent1"/>
          </a:lnRef>
          <a:fillRef idx="0">
            <a:schemeClr val="accent1"/>
          </a:fillRef>
          <a:effectRef idx="0">
            <a:schemeClr val="accent1"/>
          </a:effectRef>
          <a:fontRef idx="minor">
            <a:schemeClr val="tx1"/>
          </a:fontRef>
        </p:style>
      </p:cxnSp>
      <p:grpSp>
        <p:nvGrpSpPr>
          <p:cNvPr id="4" name="Group 4"/>
          <p:cNvGrpSpPr/>
          <p:nvPr/>
        </p:nvGrpSpPr>
        <p:grpSpPr>
          <a:xfrm>
            <a:off x="3370545" y="2273166"/>
            <a:ext cx="5677202" cy="551204"/>
            <a:chOff x="4492890" y="3030884"/>
            <a:chExt cx="7567631" cy="734939"/>
          </a:xfrm>
          <a:solidFill>
            <a:schemeClr val="tx2">
              <a:lumMod val="50000"/>
            </a:schemeClr>
          </a:solidFill>
        </p:grpSpPr>
        <p:sp>
          <p:nvSpPr>
            <p:cNvPr id="100" name="Rectangle 99"/>
            <p:cNvSpPr/>
            <p:nvPr/>
          </p:nvSpPr>
          <p:spPr bwMode="auto">
            <a:xfrm flipH="1" flipV="1">
              <a:off x="4495072" y="3067058"/>
              <a:ext cx="7565449" cy="698765"/>
            </a:xfrm>
            <a:prstGeom prst="rect">
              <a:avLst/>
            </a:prstGeom>
            <a:grpFill/>
            <a:ln w="9525" cap="flat" cmpd="sng" algn="ctr">
              <a:noFill/>
              <a:prstDash val="solid"/>
              <a:headEnd type="none" w="med" len="med"/>
              <a:tailEnd type="none" w="med" len="med"/>
            </a:ln>
            <a:effectLst>
              <a:innerShdw blurRad="25400" dist="38100" dir="16200000">
                <a:prstClr val="black">
                  <a:alpha val="48000"/>
                </a:prstClr>
              </a:innerShdw>
            </a:effectLst>
          </p:spPr>
          <p:txBody>
            <a:bodyPr vert="horz" wrap="square" lIns="109833" tIns="0" rIns="109833" bIns="54916" numCol="1" rtlCol="0" anchor="ctr" anchorCtr="0" compatLnSpc="1">
              <a:prstTxWarp prst="textNoShape">
                <a:avLst/>
              </a:prstTxWarp>
            </a:bodyPr>
            <a:lstStyle/>
            <a:p>
              <a:pPr algn="ctr" defTabSz="823587" fontAlgn="base">
                <a:spcBef>
                  <a:spcPct val="0"/>
                </a:spcBef>
                <a:spcAft>
                  <a:spcPct val="0"/>
                </a:spcAft>
              </a:pPr>
              <a:endParaRPr lang="en-US" sz="1100" b="1" kern="0" dirty="0">
                <a:solidFill>
                  <a:srgbClr val="FFFFFF"/>
                </a:solidFill>
                <a:latin typeface="Segoe" pitchFamily="34" charset="0"/>
              </a:endParaRPr>
            </a:p>
          </p:txBody>
        </p:sp>
        <p:sp>
          <p:nvSpPr>
            <p:cNvPr id="32796" name="TextBox 135"/>
            <p:cNvSpPr txBox="1">
              <a:spLocks noChangeArrowheads="1"/>
            </p:cNvSpPr>
            <p:nvPr/>
          </p:nvSpPr>
          <p:spPr bwMode="auto">
            <a:xfrm>
              <a:off x="4492890" y="3030884"/>
              <a:ext cx="818815" cy="430887"/>
            </a:xfrm>
            <a:prstGeom prst="rect">
              <a:avLst/>
            </a:prstGeom>
            <a:noFill/>
            <a:ln w="9525">
              <a:noFill/>
              <a:miter lim="800000"/>
              <a:headEnd/>
              <a:tailEnd/>
            </a:ln>
          </p:spPr>
          <p:txBody>
            <a:bodyPr wrap="none">
              <a:spAutoFit/>
            </a:bodyPr>
            <a:lstStyle/>
            <a:p>
              <a:pPr defTabSz="913294"/>
              <a:r>
                <a:rPr lang="en-US" sz="1500" dirty="0">
                  <a:solidFill>
                    <a:srgbClr val="FFFFFF"/>
                  </a:solidFill>
                  <a:latin typeface="Segoe" pitchFamily="34" charset="0"/>
                </a:rPr>
                <a:t>2003</a:t>
              </a:r>
            </a:p>
          </p:txBody>
        </p:sp>
        <p:pic>
          <p:nvPicPr>
            <p:cNvPr id="3" name="Picture 3" descr="C:\Users\mchan\Desktop\SMS03-R2_rgb_r[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06842" y="3373255"/>
              <a:ext cx="1430746" cy="306113"/>
            </a:xfrm>
            <a:prstGeom prst="rect">
              <a:avLst/>
            </a:prstGeom>
            <a:grpFill/>
            <a:extLst/>
          </p:spPr>
        </p:pic>
      </p:grpSp>
      <p:grpSp>
        <p:nvGrpSpPr>
          <p:cNvPr id="5" name="Group 226"/>
          <p:cNvGrpSpPr/>
          <p:nvPr/>
        </p:nvGrpSpPr>
        <p:grpSpPr>
          <a:xfrm>
            <a:off x="7219109" y="698601"/>
            <a:ext cx="2041492" cy="533866"/>
            <a:chOff x="9622971" y="931466"/>
            <a:chExt cx="2721281" cy="711821"/>
          </a:xfrm>
          <a:solidFill>
            <a:schemeClr val="tx2">
              <a:lumMod val="50000"/>
            </a:schemeClr>
          </a:solidFill>
        </p:grpSpPr>
        <p:sp>
          <p:nvSpPr>
            <p:cNvPr id="129" name="Rectangle 128"/>
            <p:cNvSpPr/>
            <p:nvPr/>
          </p:nvSpPr>
          <p:spPr bwMode="auto">
            <a:xfrm flipH="1" flipV="1">
              <a:off x="9622971" y="931466"/>
              <a:ext cx="2437554" cy="711821"/>
            </a:xfrm>
            <a:prstGeom prst="rect">
              <a:avLst/>
            </a:prstGeom>
            <a:grpFill/>
            <a:ln w="9525" cap="flat" cmpd="sng" algn="ctr">
              <a:noFill/>
              <a:prstDash val="solid"/>
              <a:headEnd type="none" w="med" len="med"/>
              <a:tailEnd type="none" w="med" len="med"/>
            </a:ln>
            <a:effectLst>
              <a:innerShdw blurRad="25400" dist="38100" dir="16200000">
                <a:prstClr val="black">
                  <a:alpha val="48000"/>
                </a:prstClr>
              </a:innerShdw>
            </a:effectLst>
          </p:spPr>
          <p:txBody>
            <a:bodyPr vert="horz" wrap="square" lIns="109833" tIns="0" rIns="109833" bIns="54916" numCol="1" rtlCol="0" anchor="ctr" anchorCtr="0" compatLnSpc="1">
              <a:prstTxWarp prst="textNoShape">
                <a:avLst/>
              </a:prstTxWarp>
            </a:bodyPr>
            <a:lstStyle/>
            <a:p>
              <a:pPr algn="ctr" defTabSz="823587" fontAlgn="base">
                <a:spcBef>
                  <a:spcPct val="0"/>
                </a:spcBef>
                <a:spcAft>
                  <a:spcPct val="0"/>
                </a:spcAft>
              </a:pPr>
              <a:endParaRPr lang="en-US" sz="1100" b="1" kern="0" dirty="0">
                <a:solidFill>
                  <a:srgbClr val="FFFFFF"/>
                </a:solidFill>
                <a:latin typeface="Segoe" pitchFamily="34" charset="0"/>
              </a:endParaRPr>
            </a:p>
          </p:txBody>
        </p:sp>
        <p:pic>
          <p:nvPicPr>
            <p:cNvPr id="114" name="Picture 2"/>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10432762" y="1176826"/>
              <a:ext cx="1324896" cy="345158"/>
            </a:xfrm>
            <a:prstGeom prst="rect">
              <a:avLst/>
            </a:prstGeom>
            <a:grpFill/>
            <a:ln w="9525">
              <a:noFill/>
              <a:miter lim="800000"/>
              <a:headEnd/>
              <a:tailEnd/>
            </a:ln>
          </p:spPr>
        </p:pic>
        <p:sp>
          <p:nvSpPr>
            <p:cNvPr id="8" name="TextBox 7"/>
            <p:cNvSpPr txBox="1"/>
            <p:nvPr/>
          </p:nvSpPr>
          <p:spPr>
            <a:xfrm>
              <a:off x="11514444" y="1197767"/>
              <a:ext cx="829808" cy="287259"/>
            </a:xfrm>
            <a:prstGeom prst="rect">
              <a:avLst/>
            </a:prstGeom>
            <a:noFill/>
          </p:spPr>
          <p:txBody>
            <a:bodyPr wrap="square" rtlCol="0">
              <a:spAutoFit/>
            </a:bodyPr>
            <a:lstStyle/>
            <a:p>
              <a:r>
                <a:rPr lang="en-US" sz="800" dirty="0">
                  <a:solidFill>
                    <a:srgbClr val="FFFFFF"/>
                  </a:solidFill>
                </a:rPr>
                <a:t>2012</a:t>
              </a:r>
            </a:p>
          </p:txBody>
        </p:sp>
        <p:sp>
          <p:nvSpPr>
            <p:cNvPr id="130" name="TextBox 154"/>
            <p:cNvSpPr txBox="1">
              <a:spLocks noChangeArrowheads="1"/>
            </p:cNvSpPr>
            <p:nvPr/>
          </p:nvSpPr>
          <p:spPr bwMode="auto">
            <a:xfrm>
              <a:off x="9696662" y="970893"/>
              <a:ext cx="818815" cy="430886"/>
            </a:xfrm>
            <a:prstGeom prst="rect">
              <a:avLst/>
            </a:prstGeom>
            <a:noFill/>
            <a:ln w="9525">
              <a:noFill/>
              <a:miter lim="800000"/>
              <a:headEnd/>
              <a:tailEnd/>
            </a:ln>
          </p:spPr>
          <p:txBody>
            <a:bodyPr wrap="none">
              <a:spAutoFit/>
            </a:bodyPr>
            <a:lstStyle/>
            <a:p>
              <a:pPr defTabSz="913294"/>
              <a:r>
                <a:rPr lang="en-US" sz="1500" dirty="0">
                  <a:solidFill>
                    <a:srgbClr val="FFFFFF"/>
                  </a:solidFill>
                  <a:latin typeface="Segoe" pitchFamily="34" charset="0"/>
                </a:rPr>
                <a:t>2012</a:t>
              </a:r>
            </a:p>
          </p:txBody>
        </p:sp>
      </p:grpSp>
      <p:grpSp>
        <p:nvGrpSpPr>
          <p:cNvPr id="6" name="Group 225"/>
          <p:cNvGrpSpPr/>
          <p:nvPr/>
        </p:nvGrpSpPr>
        <p:grpSpPr>
          <a:xfrm>
            <a:off x="6209965" y="1230009"/>
            <a:ext cx="2837786" cy="533866"/>
            <a:chOff x="8277796" y="1640010"/>
            <a:chExt cx="3782729" cy="711821"/>
          </a:xfrm>
          <a:solidFill>
            <a:schemeClr val="tx2">
              <a:lumMod val="50000"/>
            </a:schemeClr>
          </a:solidFill>
        </p:grpSpPr>
        <p:sp>
          <p:nvSpPr>
            <p:cNvPr id="112" name="Rectangle 111"/>
            <p:cNvSpPr/>
            <p:nvPr/>
          </p:nvSpPr>
          <p:spPr bwMode="auto">
            <a:xfrm flipH="1" flipV="1">
              <a:off x="8277796" y="1640010"/>
              <a:ext cx="3782729" cy="711821"/>
            </a:xfrm>
            <a:prstGeom prst="rect">
              <a:avLst/>
            </a:prstGeom>
            <a:grpFill/>
            <a:ln w="9525" cap="flat" cmpd="sng" algn="ctr">
              <a:noFill/>
              <a:prstDash val="solid"/>
              <a:headEnd type="none" w="med" len="med"/>
              <a:tailEnd type="none" w="med" len="med"/>
            </a:ln>
            <a:effectLst>
              <a:innerShdw blurRad="25400" dist="38100" dir="16200000">
                <a:prstClr val="black">
                  <a:alpha val="48000"/>
                </a:prstClr>
              </a:innerShdw>
            </a:effectLst>
          </p:spPr>
          <p:txBody>
            <a:bodyPr vert="horz" wrap="square" lIns="109833" tIns="0" rIns="109833" bIns="54916" numCol="1" rtlCol="0" anchor="ctr" anchorCtr="0" compatLnSpc="1">
              <a:prstTxWarp prst="textNoShape">
                <a:avLst/>
              </a:prstTxWarp>
            </a:bodyPr>
            <a:lstStyle/>
            <a:p>
              <a:pPr algn="ctr" defTabSz="823587" fontAlgn="base">
                <a:spcBef>
                  <a:spcPct val="0"/>
                </a:spcBef>
                <a:spcAft>
                  <a:spcPct val="0"/>
                </a:spcAft>
              </a:pPr>
              <a:endParaRPr lang="en-US" sz="1100" b="1" kern="0" dirty="0">
                <a:solidFill>
                  <a:srgbClr val="FFFFFF"/>
                </a:solidFill>
                <a:latin typeface="Segoe" pitchFamily="34" charset="0"/>
              </a:endParaRPr>
            </a:p>
          </p:txBody>
        </p:sp>
        <p:sp>
          <p:nvSpPr>
            <p:cNvPr id="113" name="TextBox 154"/>
            <p:cNvSpPr txBox="1">
              <a:spLocks noChangeArrowheads="1"/>
            </p:cNvSpPr>
            <p:nvPr/>
          </p:nvSpPr>
          <p:spPr bwMode="auto">
            <a:xfrm>
              <a:off x="8432848" y="1711481"/>
              <a:ext cx="799754" cy="430886"/>
            </a:xfrm>
            <a:prstGeom prst="rect">
              <a:avLst/>
            </a:prstGeom>
            <a:noFill/>
            <a:ln w="9525">
              <a:noFill/>
              <a:miter lim="800000"/>
              <a:headEnd/>
              <a:tailEnd/>
            </a:ln>
          </p:spPr>
          <p:txBody>
            <a:bodyPr wrap="none">
              <a:spAutoFit/>
            </a:bodyPr>
            <a:lstStyle/>
            <a:p>
              <a:pPr defTabSz="913294"/>
              <a:r>
                <a:rPr lang="en-US" sz="1500" dirty="0">
                  <a:solidFill>
                    <a:srgbClr val="FFFFFF"/>
                  </a:solidFill>
                  <a:latin typeface="Segoe" pitchFamily="34" charset="0"/>
                </a:rPr>
                <a:t>2011</a:t>
              </a:r>
            </a:p>
          </p:txBody>
        </p:sp>
        <p:pic>
          <p:nvPicPr>
            <p:cNvPr id="1032" name="Picture 8" descr="\\eventsql\dvd\Online_ART\DVD_Art_Sept-2-2010\Logos\Windows Intune\Win-Intune_v_r.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071122" y="1867141"/>
              <a:ext cx="914400" cy="374597"/>
            </a:xfrm>
            <a:prstGeom prst="rect">
              <a:avLst/>
            </a:prstGeom>
            <a:grpFill/>
            <a:extLst/>
          </p:spPr>
        </p:pic>
      </p:grpSp>
      <p:grpSp>
        <p:nvGrpSpPr>
          <p:cNvPr id="9" name="Group 12"/>
          <p:cNvGrpSpPr/>
          <p:nvPr/>
        </p:nvGrpSpPr>
        <p:grpSpPr>
          <a:xfrm>
            <a:off x="4613983" y="1763877"/>
            <a:ext cx="4433763" cy="533866"/>
            <a:chOff x="7043056" y="1926732"/>
            <a:chExt cx="5009923" cy="711821"/>
          </a:xfrm>
          <a:solidFill>
            <a:schemeClr val="tx2">
              <a:lumMod val="50000"/>
            </a:schemeClr>
          </a:solidFill>
        </p:grpSpPr>
        <p:sp>
          <p:nvSpPr>
            <p:cNvPr id="104" name="Rectangle 103"/>
            <p:cNvSpPr/>
            <p:nvPr/>
          </p:nvSpPr>
          <p:spPr bwMode="auto">
            <a:xfrm flipH="1" flipV="1">
              <a:off x="7043056" y="1926732"/>
              <a:ext cx="5009923" cy="711821"/>
            </a:xfrm>
            <a:prstGeom prst="rect">
              <a:avLst/>
            </a:prstGeom>
            <a:grpFill/>
            <a:ln w="9525" cap="flat" cmpd="sng" algn="ctr">
              <a:noFill/>
              <a:prstDash val="solid"/>
              <a:headEnd type="none" w="med" len="med"/>
              <a:tailEnd type="none" w="med" len="med"/>
            </a:ln>
            <a:effectLst>
              <a:innerShdw blurRad="25400" dist="38100" dir="16200000">
                <a:prstClr val="black">
                  <a:alpha val="48000"/>
                </a:prstClr>
              </a:innerShdw>
            </a:effectLst>
          </p:spPr>
          <p:txBody>
            <a:bodyPr vert="horz" wrap="square" lIns="109833" tIns="0" rIns="109833" bIns="54916" numCol="1" rtlCol="0" anchor="ctr" anchorCtr="0" compatLnSpc="1">
              <a:prstTxWarp prst="textNoShape">
                <a:avLst/>
              </a:prstTxWarp>
            </a:bodyPr>
            <a:lstStyle/>
            <a:p>
              <a:pPr algn="ctr" defTabSz="823587" fontAlgn="base">
                <a:spcBef>
                  <a:spcPct val="0"/>
                </a:spcBef>
                <a:spcAft>
                  <a:spcPct val="0"/>
                </a:spcAft>
              </a:pPr>
              <a:endParaRPr lang="en-US" sz="1100" b="1" kern="0" dirty="0">
                <a:solidFill>
                  <a:srgbClr val="FFFFFF"/>
                </a:solidFill>
                <a:latin typeface="Segoe" pitchFamily="34" charset="0"/>
              </a:endParaRPr>
            </a:p>
          </p:txBody>
        </p:sp>
        <p:sp>
          <p:nvSpPr>
            <p:cNvPr id="32798" name="TextBox 154"/>
            <p:cNvSpPr txBox="1">
              <a:spLocks noChangeArrowheads="1"/>
            </p:cNvSpPr>
            <p:nvPr/>
          </p:nvSpPr>
          <p:spPr bwMode="auto">
            <a:xfrm>
              <a:off x="7144023" y="1926732"/>
              <a:ext cx="694094" cy="430886"/>
            </a:xfrm>
            <a:prstGeom prst="rect">
              <a:avLst/>
            </a:prstGeom>
            <a:noFill/>
            <a:ln w="9525">
              <a:noFill/>
              <a:miter lim="800000"/>
              <a:headEnd/>
              <a:tailEnd/>
            </a:ln>
          </p:spPr>
          <p:txBody>
            <a:bodyPr wrap="none">
              <a:spAutoFit/>
            </a:bodyPr>
            <a:lstStyle/>
            <a:p>
              <a:pPr defTabSz="913294"/>
              <a:r>
                <a:rPr lang="en-US" sz="1500" dirty="0">
                  <a:solidFill>
                    <a:srgbClr val="FFFFFF"/>
                  </a:solidFill>
                  <a:latin typeface="Segoe" pitchFamily="34" charset="0"/>
                </a:rPr>
                <a:t>2007</a:t>
              </a:r>
            </a:p>
          </p:txBody>
        </p:sp>
        <p:pic>
          <p:nvPicPr>
            <p:cNvPr id="1027" name="Picture 3" descr="\\eventsql\dvd\Online_ART\DVD_Art_Sept-2-2010\Logos\System Center\System Center Configuration Manager 2007\System Center Configuration Manager 2007 logo rev.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629641" y="2217710"/>
              <a:ext cx="1536868" cy="370558"/>
            </a:xfrm>
            <a:prstGeom prst="rect">
              <a:avLst/>
            </a:prstGeom>
            <a:grpFill/>
            <a:extLst/>
          </p:spPr>
        </p:pic>
      </p:grpSp>
      <p:grpSp>
        <p:nvGrpSpPr>
          <p:cNvPr id="10" name="Group 10"/>
          <p:cNvGrpSpPr/>
          <p:nvPr/>
        </p:nvGrpSpPr>
        <p:grpSpPr>
          <a:xfrm>
            <a:off x="1711076" y="2824367"/>
            <a:ext cx="7336675" cy="524074"/>
            <a:chOff x="2852057" y="3340723"/>
            <a:chExt cx="9200929" cy="698765"/>
          </a:xfrm>
          <a:solidFill>
            <a:schemeClr val="tx2">
              <a:lumMod val="50000"/>
            </a:schemeClr>
          </a:solidFill>
        </p:grpSpPr>
        <p:sp>
          <p:nvSpPr>
            <p:cNvPr id="99" name="Rectangle 98"/>
            <p:cNvSpPr/>
            <p:nvPr/>
          </p:nvSpPr>
          <p:spPr bwMode="auto">
            <a:xfrm flipH="1" flipV="1">
              <a:off x="2852057" y="3340723"/>
              <a:ext cx="9200929" cy="698765"/>
            </a:xfrm>
            <a:prstGeom prst="rect">
              <a:avLst/>
            </a:prstGeom>
            <a:grpFill/>
            <a:ln w="9525" cap="flat" cmpd="sng" algn="ctr">
              <a:noFill/>
              <a:prstDash val="solid"/>
              <a:headEnd type="none" w="med" len="med"/>
              <a:tailEnd type="none" w="med" len="med"/>
            </a:ln>
            <a:effectLst>
              <a:innerShdw blurRad="25400" dist="38100" dir="16200000">
                <a:prstClr val="black">
                  <a:alpha val="48000"/>
                </a:prstClr>
              </a:innerShdw>
            </a:effectLst>
          </p:spPr>
          <p:txBody>
            <a:bodyPr vert="horz" wrap="square" lIns="109833" tIns="0" rIns="109833" bIns="54916" numCol="1" rtlCol="0" anchor="ctr" anchorCtr="0" compatLnSpc="1">
              <a:prstTxWarp prst="textNoShape">
                <a:avLst/>
              </a:prstTxWarp>
            </a:bodyPr>
            <a:lstStyle/>
            <a:p>
              <a:pPr algn="ctr" defTabSz="823587" fontAlgn="base">
                <a:spcBef>
                  <a:spcPct val="0"/>
                </a:spcBef>
                <a:spcAft>
                  <a:spcPct val="0"/>
                </a:spcAft>
              </a:pPr>
              <a:endParaRPr lang="en-US" sz="1100" b="1" kern="0" dirty="0">
                <a:solidFill>
                  <a:srgbClr val="FFFFFF"/>
                </a:solidFill>
                <a:latin typeface="Segoe" pitchFamily="34" charset="0"/>
              </a:endParaRPr>
            </a:p>
          </p:txBody>
        </p:sp>
        <p:sp>
          <p:nvSpPr>
            <p:cNvPr id="32792" name="TextBox 128"/>
            <p:cNvSpPr txBox="1">
              <a:spLocks noChangeArrowheads="1"/>
            </p:cNvSpPr>
            <p:nvPr/>
          </p:nvSpPr>
          <p:spPr bwMode="auto">
            <a:xfrm>
              <a:off x="3460053" y="3361107"/>
              <a:ext cx="770358" cy="430886"/>
            </a:xfrm>
            <a:prstGeom prst="rect">
              <a:avLst/>
            </a:prstGeom>
            <a:noFill/>
            <a:ln w="9525">
              <a:noFill/>
              <a:miter lim="800000"/>
              <a:headEnd/>
              <a:tailEnd/>
            </a:ln>
          </p:spPr>
          <p:txBody>
            <a:bodyPr wrap="none">
              <a:spAutoFit/>
            </a:bodyPr>
            <a:lstStyle/>
            <a:p>
              <a:pPr defTabSz="913294"/>
              <a:r>
                <a:rPr lang="en-US" sz="1500" dirty="0">
                  <a:solidFill>
                    <a:srgbClr val="FFFFFF"/>
                  </a:solidFill>
                  <a:latin typeface="Segoe" pitchFamily="34" charset="0"/>
                </a:rPr>
                <a:t>1999</a:t>
              </a:r>
            </a:p>
          </p:txBody>
        </p:sp>
        <p:sp>
          <p:nvSpPr>
            <p:cNvPr id="106" name="Freeform 37"/>
            <p:cNvSpPr>
              <a:spLocks/>
            </p:cNvSpPr>
            <p:nvPr/>
          </p:nvSpPr>
          <p:spPr bwMode="auto">
            <a:xfrm>
              <a:off x="4159476" y="3439748"/>
              <a:ext cx="1282643" cy="477837"/>
            </a:xfrm>
            <a:custGeom>
              <a:avLst/>
              <a:gdLst>
                <a:gd name="T0" fmla="*/ 2147483647 w 2064"/>
                <a:gd name="T1" fmla="*/ 2147483647 h 1342"/>
                <a:gd name="T2" fmla="*/ 2147483647 w 2064"/>
                <a:gd name="T3" fmla="*/ 2147483647 h 1342"/>
                <a:gd name="T4" fmla="*/ 2147483647 w 2064"/>
                <a:gd name="T5" fmla="*/ 2147483647 h 1342"/>
                <a:gd name="T6" fmla="*/ 2147483647 w 2064"/>
                <a:gd name="T7" fmla="*/ 2147483647 h 1342"/>
                <a:gd name="T8" fmla="*/ 2147483647 w 2064"/>
                <a:gd name="T9" fmla="*/ 2147483647 h 1342"/>
                <a:gd name="T10" fmla="*/ 2147483647 w 2064"/>
                <a:gd name="T11" fmla="*/ 2147483647 h 1342"/>
                <a:gd name="T12" fmla="*/ 2147483647 w 2064"/>
                <a:gd name="T13" fmla="*/ 2147483647 h 1342"/>
                <a:gd name="T14" fmla="*/ 2147483647 w 2064"/>
                <a:gd name="T15" fmla="*/ 2147483647 h 1342"/>
                <a:gd name="T16" fmla="*/ 2147483647 w 2064"/>
                <a:gd name="T17" fmla="*/ 2147483647 h 1342"/>
                <a:gd name="T18" fmla="*/ 2147483647 w 2064"/>
                <a:gd name="T19" fmla="*/ 1665402977 h 1342"/>
                <a:gd name="T20" fmla="*/ 2147483647 w 2064"/>
                <a:gd name="T21" fmla="*/ 1350350825 h 1342"/>
                <a:gd name="T22" fmla="*/ 2147483647 w 2064"/>
                <a:gd name="T23" fmla="*/ 1035298318 h 1342"/>
                <a:gd name="T24" fmla="*/ 2147483647 w 2064"/>
                <a:gd name="T25" fmla="*/ 720119585 h 1342"/>
                <a:gd name="T26" fmla="*/ 2147483647 w 2064"/>
                <a:gd name="T27" fmla="*/ 450074629 h 1342"/>
                <a:gd name="T28" fmla="*/ 2147483647 w 2064"/>
                <a:gd name="T29" fmla="*/ 270045045 h 1342"/>
                <a:gd name="T30" fmla="*/ 2147483647 w 2064"/>
                <a:gd name="T31" fmla="*/ 135022344 h 1342"/>
                <a:gd name="T32" fmla="*/ 2147483647 w 2064"/>
                <a:gd name="T33" fmla="*/ 45007563 h 1342"/>
                <a:gd name="T34" fmla="*/ 2147483647 w 2064"/>
                <a:gd name="T35" fmla="*/ 0 h 1342"/>
                <a:gd name="T36" fmla="*/ 2147483647 w 2064"/>
                <a:gd name="T37" fmla="*/ 0 h 1342"/>
                <a:gd name="T38" fmla="*/ 2147483647 w 2064"/>
                <a:gd name="T39" fmla="*/ 45007563 h 1342"/>
                <a:gd name="T40" fmla="*/ 2147483647 w 2064"/>
                <a:gd name="T41" fmla="*/ 135022344 h 1342"/>
                <a:gd name="T42" fmla="*/ 2147483647 w 2064"/>
                <a:gd name="T43" fmla="*/ 270045045 h 1342"/>
                <a:gd name="T44" fmla="*/ 2147483647 w 2064"/>
                <a:gd name="T45" fmla="*/ 450074629 h 1342"/>
                <a:gd name="T46" fmla="*/ 2147483647 w 2064"/>
                <a:gd name="T47" fmla="*/ 720119585 h 1342"/>
                <a:gd name="T48" fmla="*/ 875387497 w 2064"/>
                <a:gd name="T49" fmla="*/ 1035298318 h 1342"/>
                <a:gd name="T50" fmla="*/ 0 w 2064"/>
                <a:gd name="T51" fmla="*/ 1350350825 h 1342"/>
                <a:gd name="T52" fmla="*/ 0 w 2064"/>
                <a:gd name="T53" fmla="*/ 1665402977 h 1342"/>
                <a:gd name="T54" fmla="*/ 0 w 2064"/>
                <a:gd name="T55" fmla="*/ 2147483647 h 1342"/>
                <a:gd name="T56" fmla="*/ 0 w 2064"/>
                <a:gd name="T57" fmla="*/ 2147483647 h 1342"/>
                <a:gd name="T58" fmla="*/ 875387497 w 2064"/>
                <a:gd name="T59" fmla="*/ 2147483647 h 1342"/>
                <a:gd name="T60" fmla="*/ 2147483647 w 2064"/>
                <a:gd name="T61" fmla="*/ 2147483647 h 1342"/>
                <a:gd name="T62" fmla="*/ 2147483647 w 2064"/>
                <a:gd name="T63" fmla="*/ 2147483647 h 1342"/>
                <a:gd name="T64" fmla="*/ 2147483647 w 2064"/>
                <a:gd name="T65" fmla="*/ 2147483647 h 1342"/>
                <a:gd name="T66" fmla="*/ 2147483647 w 2064"/>
                <a:gd name="T67" fmla="*/ 2147483647 h 1342"/>
                <a:gd name="T68" fmla="*/ 2147483647 w 2064"/>
                <a:gd name="T69" fmla="*/ 2147483647 h 1342"/>
                <a:gd name="T70" fmla="*/ 2147483647 w 2064"/>
                <a:gd name="T71" fmla="*/ 2147483647 h 1342"/>
                <a:gd name="T72" fmla="*/ 2147483647 w 2064"/>
                <a:gd name="T73" fmla="*/ 2147483647 h 13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064"/>
                <a:gd name="T112" fmla="*/ 0 h 1342"/>
                <a:gd name="T113" fmla="*/ 2064 w 2064"/>
                <a:gd name="T114" fmla="*/ 1342 h 13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064" h="1342">
                  <a:moveTo>
                    <a:pt x="2022" y="1342"/>
                  </a:moveTo>
                  <a:lnTo>
                    <a:pt x="2031" y="1342"/>
                  </a:lnTo>
                  <a:lnTo>
                    <a:pt x="2039" y="1339"/>
                  </a:lnTo>
                  <a:lnTo>
                    <a:pt x="2046" y="1336"/>
                  </a:lnTo>
                  <a:lnTo>
                    <a:pt x="2052" y="1331"/>
                  </a:lnTo>
                  <a:lnTo>
                    <a:pt x="2057" y="1325"/>
                  </a:lnTo>
                  <a:lnTo>
                    <a:pt x="2060" y="1320"/>
                  </a:lnTo>
                  <a:lnTo>
                    <a:pt x="2063" y="1313"/>
                  </a:lnTo>
                  <a:lnTo>
                    <a:pt x="2064" y="1304"/>
                  </a:lnTo>
                  <a:lnTo>
                    <a:pt x="2064" y="37"/>
                  </a:lnTo>
                  <a:lnTo>
                    <a:pt x="2063" y="30"/>
                  </a:lnTo>
                  <a:lnTo>
                    <a:pt x="2060" y="23"/>
                  </a:lnTo>
                  <a:lnTo>
                    <a:pt x="2057" y="16"/>
                  </a:lnTo>
                  <a:lnTo>
                    <a:pt x="2052" y="10"/>
                  </a:lnTo>
                  <a:lnTo>
                    <a:pt x="2046" y="6"/>
                  </a:lnTo>
                  <a:lnTo>
                    <a:pt x="2039" y="3"/>
                  </a:lnTo>
                  <a:lnTo>
                    <a:pt x="2031" y="1"/>
                  </a:lnTo>
                  <a:lnTo>
                    <a:pt x="2022" y="0"/>
                  </a:lnTo>
                  <a:lnTo>
                    <a:pt x="42" y="0"/>
                  </a:lnTo>
                  <a:lnTo>
                    <a:pt x="33" y="1"/>
                  </a:lnTo>
                  <a:lnTo>
                    <a:pt x="25" y="3"/>
                  </a:lnTo>
                  <a:lnTo>
                    <a:pt x="18" y="6"/>
                  </a:lnTo>
                  <a:lnTo>
                    <a:pt x="12" y="10"/>
                  </a:lnTo>
                  <a:lnTo>
                    <a:pt x="7" y="16"/>
                  </a:lnTo>
                  <a:lnTo>
                    <a:pt x="2" y="23"/>
                  </a:lnTo>
                  <a:lnTo>
                    <a:pt x="0" y="30"/>
                  </a:lnTo>
                  <a:lnTo>
                    <a:pt x="0" y="37"/>
                  </a:lnTo>
                  <a:lnTo>
                    <a:pt x="0" y="1304"/>
                  </a:lnTo>
                  <a:lnTo>
                    <a:pt x="0" y="1313"/>
                  </a:lnTo>
                  <a:lnTo>
                    <a:pt x="2" y="1320"/>
                  </a:lnTo>
                  <a:lnTo>
                    <a:pt x="7" y="1325"/>
                  </a:lnTo>
                  <a:lnTo>
                    <a:pt x="12" y="1331"/>
                  </a:lnTo>
                  <a:lnTo>
                    <a:pt x="18" y="1336"/>
                  </a:lnTo>
                  <a:lnTo>
                    <a:pt x="25" y="1339"/>
                  </a:lnTo>
                  <a:lnTo>
                    <a:pt x="33" y="1342"/>
                  </a:lnTo>
                  <a:lnTo>
                    <a:pt x="42" y="1342"/>
                  </a:lnTo>
                  <a:lnTo>
                    <a:pt x="2022" y="1342"/>
                  </a:lnTo>
                  <a:close/>
                </a:path>
              </a:pathLst>
            </a:custGeom>
            <a:grpFill/>
            <a:ln w="3175">
              <a:noFill/>
              <a:round/>
              <a:headEnd/>
              <a:tailEnd/>
            </a:ln>
          </p:spPr>
          <p:txBody>
            <a:bodyPr anchor="ctr"/>
            <a:lstStyle/>
            <a:p>
              <a:pPr algn="ctr" defTabSz="913294"/>
              <a:r>
                <a:rPr lang="en-US" sz="900" dirty="0">
                  <a:solidFill>
                    <a:srgbClr val="FFFFFF"/>
                  </a:solidFill>
                  <a:latin typeface="Segoe" pitchFamily="34" charset="0"/>
                </a:rPr>
                <a:t>SMS 2.0</a:t>
              </a:r>
            </a:p>
          </p:txBody>
        </p:sp>
      </p:grpSp>
      <p:grpSp>
        <p:nvGrpSpPr>
          <p:cNvPr id="11" name="Group 9"/>
          <p:cNvGrpSpPr/>
          <p:nvPr/>
        </p:nvGrpSpPr>
        <p:grpSpPr>
          <a:xfrm>
            <a:off x="98548" y="3328098"/>
            <a:ext cx="8949202" cy="544420"/>
            <a:chOff x="123824" y="4012361"/>
            <a:chExt cx="11929162" cy="725893"/>
          </a:xfrm>
          <a:solidFill>
            <a:schemeClr val="tx2">
              <a:lumMod val="50000"/>
            </a:schemeClr>
          </a:solidFill>
        </p:grpSpPr>
        <p:sp>
          <p:nvSpPr>
            <p:cNvPr id="95" name="Rectangle 94"/>
            <p:cNvSpPr/>
            <p:nvPr/>
          </p:nvSpPr>
          <p:spPr bwMode="auto">
            <a:xfrm flipH="1" flipV="1">
              <a:off x="123824" y="4039489"/>
              <a:ext cx="11929162" cy="698765"/>
            </a:xfrm>
            <a:prstGeom prst="rect">
              <a:avLst/>
            </a:prstGeom>
            <a:grpFill/>
            <a:ln w="9525" cap="flat" cmpd="sng" algn="ctr">
              <a:noFill/>
              <a:prstDash val="solid"/>
              <a:headEnd type="none" w="med" len="med"/>
              <a:tailEnd type="none" w="med" len="med"/>
            </a:ln>
            <a:effectLst>
              <a:innerShdw blurRad="25400" dist="38100" dir="16200000">
                <a:prstClr val="black">
                  <a:alpha val="48000"/>
                </a:prstClr>
              </a:innerShdw>
            </a:effectLst>
          </p:spPr>
          <p:txBody>
            <a:bodyPr vert="horz" wrap="square" lIns="109833" tIns="0" rIns="109833" bIns="54916" numCol="1" rtlCol="0" anchor="ctr" anchorCtr="0" compatLnSpc="1">
              <a:prstTxWarp prst="textNoShape">
                <a:avLst/>
              </a:prstTxWarp>
            </a:bodyPr>
            <a:lstStyle/>
            <a:p>
              <a:pPr algn="ctr" defTabSz="823587" fontAlgn="base">
                <a:spcBef>
                  <a:spcPct val="0"/>
                </a:spcBef>
                <a:spcAft>
                  <a:spcPct val="0"/>
                </a:spcAft>
              </a:pPr>
              <a:endParaRPr lang="en-US" sz="1100" b="1" kern="0" dirty="0">
                <a:solidFill>
                  <a:srgbClr val="FFFFFF"/>
                </a:solidFill>
                <a:latin typeface="Segoe" pitchFamily="34" charset="0"/>
              </a:endParaRPr>
            </a:p>
          </p:txBody>
        </p:sp>
        <p:sp>
          <p:nvSpPr>
            <p:cNvPr id="32787" name="TextBox 12"/>
            <p:cNvSpPr txBox="1">
              <a:spLocks noChangeArrowheads="1"/>
            </p:cNvSpPr>
            <p:nvPr/>
          </p:nvSpPr>
          <p:spPr bwMode="auto">
            <a:xfrm>
              <a:off x="730257" y="4012361"/>
              <a:ext cx="818815" cy="430886"/>
            </a:xfrm>
            <a:prstGeom prst="rect">
              <a:avLst/>
            </a:prstGeom>
            <a:noFill/>
            <a:ln w="9525">
              <a:noFill/>
              <a:miter lim="800000"/>
              <a:headEnd/>
              <a:tailEnd/>
            </a:ln>
          </p:spPr>
          <p:txBody>
            <a:bodyPr wrap="none">
              <a:spAutoFit/>
            </a:bodyPr>
            <a:lstStyle/>
            <a:p>
              <a:pPr defTabSz="913294"/>
              <a:r>
                <a:rPr lang="en-US" sz="1500" dirty="0">
                  <a:solidFill>
                    <a:srgbClr val="FFFFFF"/>
                  </a:solidFill>
                  <a:latin typeface="Segoe" pitchFamily="34" charset="0"/>
                </a:rPr>
                <a:t>1994</a:t>
              </a:r>
            </a:p>
          </p:txBody>
        </p:sp>
        <p:sp>
          <p:nvSpPr>
            <p:cNvPr id="105" name="Freeform 37"/>
            <p:cNvSpPr>
              <a:spLocks/>
            </p:cNvSpPr>
            <p:nvPr/>
          </p:nvSpPr>
          <p:spPr bwMode="auto">
            <a:xfrm>
              <a:off x="1198562" y="4149952"/>
              <a:ext cx="1566862" cy="477837"/>
            </a:xfrm>
            <a:custGeom>
              <a:avLst/>
              <a:gdLst>
                <a:gd name="T0" fmla="*/ 2147483647 w 2064"/>
                <a:gd name="T1" fmla="*/ 2147483647 h 1342"/>
                <a:gd name="T2" fmla="*/ 2147483647 w 2064"/>
                <a:gd name="T3" fmla="*/ 2147483647 h 1342"/>
                <a:gd name="T4" fmla="*/ 2147483647 w 2064"/>
                <a:gd name="T5" fmla="*/ 2147483647 h 1342"/>
                <a:gd name="T6" fmla="*/ 2147483647 w 2064"/>
                <a:gd name="T7" fmla="*/ 2147483647 h 1342"/>
                <a:gd name="T8" fmla="*/ 2147483647 w 2064"/>
                <a:gd name="T9" fmla="*/ 2147483647 h 1342"/>
                <a:gd name="T10" fmla="*/ 2147483647 w 2064"/>
                <a:gd name="T11" fmla="*/ 2147483647 h 1342"/>
                <a:gd name="T12" fmla="*/ 2147483647 w 2064"/>
                <a:gd name="T13" fmla="*/ 2147483647 h 1342"/>
                <a:gd name="T14" fmla="*/ 2147483647 w 2064"/>
                <a:gd name="T15" fmla="*/ 2147483647 h 1342"/>
                <a:gd name="T16" fmla="*/ 2147483647 w 2064"/>
                <a:gd name="T17" fmla="*/ 2147483647 h 1342"/>
                <a:gd name="T18" fmla="*/ 2147483647 w 2064"/>
                <a:gd name="T19" fmla="*/ 1665402977 h 1342"/>
                <a:gd name="T20" fmla="*/ 2147483647 w 2064"/>
                <a:gd name="T21" fmla="*/ 1350350825 h 1342"/>
                <a:gd name="T22" fmla="*/ 2147483647 w 2064"/>
                <a:gd name="T23" fmla="*/ 1035298318 h 1342"/>
                <a:gd name="T24" fmla="*/ 2147483647 w 2064"/>
                <a:gd name="T25" fmla="*/ 720119585 h 1342"/>
                <a:gd name="T26" fmla="*/ 2147483647 w 2064"/>
                <a:gd name="T27" fmla="*/ 450074629 h 1342"/>
                <a:gd name="T28" fmla="*/ 2147483647 w 2064"/>
                <a:gd name="T29" fmla="*/ 270045045 h 1342"/>
                <a:gd name="T30" fmla="*/ 2147483647 w 2064"/>
                <a:gd name="T31" fmla="*/ 135022344 h 1342"/>
                <a:gd name="T32" fmla="*/ 2147483647 w 2064"/>
                <a:gd name="T33" fmla="*/ 45007563 h 1342"/>
                <a:gd name="T34" fmla="*/ 2147483647 w 2064"/>
                <a:gd name="T35" fmla="*/ 0 h 1342"/>
                <a:gd name="T36" fmla="*/ 2147483647 w 2064"/>
                <a:gd name="T37" fmla="*/ 0 h 1342"/>
                <a:gd name="T38" fmla="*/ 2147483647 w 2064"/>
                <a:gd name="T39" fmla="*/ 45007563 h 1342"/>
                <a:gd name="T40" fmla="*/ 2147483647 w 2064"/>
                <a:gd name="T41" fmla="*/ 135022344 h 1342"/>
                <a:gd name="T42" fmla="*/ 2147483647 w 2064"/>
                <a:gd name="T43" fmla="*/ 270045045 h 1342"/>
                <a:gd name="T44" fmla="*/ 2147483647 w 2064"/>
                <a:gd name="T45" fmla="*/ 450074629 h 1342"/>
                <a:gd name="T46" fmla="*/ 2147483647 w 2064"/>
                <a:gd name="T47" fmla="*/ 720119585 h 1342"/>
                <a:gd name="T48" fmla="*/ 875387497 w 2064"/>
                <a:gd name="T49" fmla="*/ 1035298318 h 1342"/>
                <a:gd name="T50" fmla="*/ 0 w 2064"/>
                <a:gd name="T51" fmla="*/ 1350350825 h 1342"/>
                <a:gd name="T52" fmla="*/ 0 w 2064"/>
                <a:gd name="T53" fmla="*/ 1665402977 h 1342"/>
                <a:gd name="T54" fmla="*/ 0 w 2064"/>
                <a:gd name="T55" fmla="*/ 2147483647 h 1342"/>
                <a:gd name="T56" fmla="*/ 0 w 2064"/>
                <a:gd name="T57" fmla="*/ 2147483647 h 1342"/>
                <a:gd name="T58" fmla="*/ 875387497 w 2064"/>
                <a:gd name="T59" fmla="*/ 2147483647 h 1342"/>
                <a:gd name="T60" fmla="*/ 2147483647 w 2064"/>
                <a:gd name="T61" fmla="*/ 2147483647 h 1342"/>
                <a:gd name="T62" fmla="*/ 2147483647 w 2064"/>
                <a:gd name="T63" fmla="*/ 2147483647 h 1342"/>
                <a:gd name="T64" fmla="*/ 2147483647 w 2064"/>
                <a:gd name="T65" fmla="*/ 2147483647 h 1342"/>
                <a:gd name="T66" fmla="*/ 2147483647 w 2064"/>
                <a:gd name="T67" fmla="*/ 2147483647 h 1342"/>
                <a:gd name="T68" fmla="*/ 2147483647 w 2064"/>
                <a:gd name="T69" fmla="*/ 2147483647 h 1342"/>
                <a:gd name="T70" fmla="*/ 2147483647 w 2064"/>
                <a:gd name="T71" fmla="*/ 2147483647 h 1342"/>
                <a:gd name="T72" fmla="*/ 2147483647 w 2064"/>
                <a:gd name="T73" fmla="*/ 2147483647 h 13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064"/>
                <a:gd name="T112" fmla="*/ 0 h 1342"/>
                <a:gd name="T113" fmla="*/ 2064 w 2064"/>
                <a:gd name="T114" fmla="*/ 1342 h 13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064" h="1342">
                  <a:moveTo>
                    <a:pt x="2022" y="1342"/>
                  </a:moveTo>
                  <a:lnTo>
                    <a:pt x="2031" y="1342"/>
                  </a:lnTo>
                  <a:lnTo>
                    <a:pt x="2039" y="1339"/>
                  </a:lnTo>
                  <a:lnTo>
                    <a:pt x="2046" y="1336"/>
                  </a:lnTo>
                  <a:lnTo>
                    <a:pt x="2052" y="1331"/>
                  </a:lnTo>
                  <a:lnTo>
                    <a:pt x="2057" y="1325"/>
                  </a:lnTo>
                  <a:lnTo>
                    <a:pt x="2060" y="1320"/>
                  </a:lnTo>
                  <a:lnTo>
                    <a:pt x="2063" y="1313"/>
                  </a:lnTo>
                  <a:lnTo>
                    <a:pt x="2064" y="1304"/>
                  </a:lnTo>
                  <a:lnTo>
                    <a:pt x="2064" y="37"/>
                  </a:lnTo>
                  <a:lnTo>
                    <a:pt x="2063" y="30"/>
                  </a:lnTo>
                  <a:lnTo>
                    <a:pt x="2060" y="23"/>
                  </a:lnTo>
                  <a:lnTo>
                    <a:pt x="2057" y="16"/>
                  </a:lnTo>
                  <a:lnTo>
                    <a:pt x="2052" y="10"/>
                  </a:lnTo>
                  <a:lnTo>
                    <a:pt x="2046" y="6"/>
                  </a:lnTo>
                  <a:lnTo>
                    <a:pt x="2039" y="3"/>
                  </a:lnTo>
                  <a:lnTo>
                    <a:pt x="2031" y="1"/>
                  </a:lnTo>
                  <a:lnTo>
                    <a:pt x="2022" y="0"/>
                  </a:lnTo>
                  <a:lnTo>
                    <a:pt x="42" y="0"/>
                  </a:lnTo>
                  <a:lnTo>
                    <a:pt x="33" y="1"/>
                  </a:lnTo>
                  <a:lnTo>
                    <a:pt x="25" y="3"/>
                  </a:lnTo>
                  <a:lnTo>
                    <a:pt x="18" y="6"/>
                  </a:lnTo>
                  <a:lnTo>
                    <a:pt x="12" y="10"/>
                  </a:lnTo>
                  <a:lnTo>
                    <a:pt x="7" y="16"/>
                  </a:lnTo>
                  <a:lnTo>
                    <a:pt x="2" y="23"/>
                  </a:lnTo>
                  <a:lnTo>
                    <a:pt x="0" y="30"/>
                  </a:lnTo>
                  <a:lnTo>
                    <a:pt x="0" y="37"/>
                  </a:lnTo>
                  <a:lnTo>
                    <a:pt x="0" y="1304"/>
                  </a:lnTo>
                  <a:lnTo>
                    <a:pt x="0" y="1313"/>
                  </a:lnTo>
                  <a:lnTo>
                    <a:pt x="2" y="1320"/>
                  </a:lnTo>
                  <a:lnTo>
                    <a:pt x="7" y="1325"/>
                  </a:lnTo>
                  <a:lnTo>
                    <a:pt x="12" y="1331"/>
                  </a:lnTo>
                  <a:lnTo>
                    <a:pt x="18" y="1336"/>
                  </a:lnTo>
                  <a:lnTo>
                    <a:pt x="25" y="1339"/>
                  </a:lnTo>
                  <a:lnTo>
                    <a:pt x="33" y="1342"/>
                  </a:lnTo>
                  <a:lnTo>
                    <a:pt x="42" y="1342"/>
                  </a:lnTo>
                  <a:lnTo>
                    <a:pt x="2022" y="1342"/>
                  </a:lnTo>
                  <a:close/>
                </a:path>
              </a:pathLst>
            </a:custGeom>
            <a:noFill/>
            <a:ln w="3175">
              <a:noFill/>
              <a:round/>
              <a:headEnd/>
              <a:tailEnd/>
            </a:ln>
          </p:spPr>
          <p:txBody>
            <a:bodyPr anchor="ctr"/>
            <a:lstStyle/>
            <a:p>
              <a:pPr algn="ctr" defTabSz="913294"/>
              <a:r>
                <a:rPr lang="en-US" sz="900" dirty="0">
                  <a:solidFill>
                    <a:srgbClr val="FFFFFF"/>
                  </a:solidFill>
                  <a:latin typeface="Segoe" pitchFamily="34" charset="0"/>
                </a:rPr>
                <a:t>SMS 1.0</a:t>
              </a:r>
            </a:p>
          </p:txBody>
        </p:sp>
      </p:grpSp>
      <p:cxnSp>
        <p:nvCxnSpPr>
          <p:cNvPr id="23" name="Straight Connector 22"/>
          <p:cNvCxnSpPr/>
          <p:nvPr/>
        </p:nvCxnSpPr>
        <p:spPr>
          <a:xfrm>
            <a:off x="836934" y="3628133"/>
            <a:ext cx="0" cy="205740"/>
          </a:xfrm>
          <a:prstGeom prst="line">
            <a:avLst/>
          </a:prstGeom>
          <a:ln w="12700">
            <a:solidFill>
              <a:schemeClr val="bg1"/>
            </a:solidFill>
            <a:headEnd type="oval"/>
          </a:ln>
        </p:spPr>
        <p:style>
          <a:lnRef idx="1">
            <a:schemeClr val="accent1"/>
          </a:lnRef>
          <a:fillRef idx="0">
            <a:schemeClr val="accent1"/>
          </a:fillRef>
          <a:effectRef idx="0">
            <a:schemeClr val="accent1"/>
          </a:effectRef>
          <a:fontRef idx="minor">
            <a:schemeClr val="tx1"/>
          </a:fontRef>
        </p:style>
      </p:cxnSp>
      <p:sp>
        <p:nvSpPr>
          <p:cNvPr id="7" name="Title 6"/>
          <p:cNvSpPr>
            <a:spLocks noGrp="1"/>
          </p:cNvSpPr>
          <p:nvPr>
            <p:ph type="title"/>
          </p:nvPr>
        </p:nvSpPr>
        <p:spPr/>
        <p:txBody>
          <a:bodyPr/>
          <a:lstStyle/>
          <a:p>
            <a:r>
              <a:rPr lang="en-US" dirty="0" smtClean="0">
                <a:solidFill>
                  <a:schemeClr val="tx1"/>
                </a:solidFill>
              </a:rPr>
              <a:t>Evolution of Microsoft Client Management</a:t>
            </a:r>
            <a:endParaRPr lang="en-US" dirty="0">
              <a:solidFill>
                <a:schemeClr val="tx1"/>
              </a:solidFill>
            </a:endParaRPr>
          </a:p>
        </p:txBody>
      </p:sp>
      <p:cxnSp>
        <p:nvCxnSpPr>
          <p:cNvPr id="83" name="Straight Connector 82"/>
          <p:cNvCxnSpPr/>
          <p:nvPr/>
        </p:nvCxnSpPr>
        <p:spPr>
          <a:xfrm>
            <a:off x="2478996" y="3186716"/>
            <a:ext cx="8868" cy="685800"/>
          </a:xfrm>
          <a:prstGeom prst="line">
            <a:avLst/>
          </a:prstGeom>
          <a:ln w="12700">
            <a:solidFill>
              <a:schemeClr val="bg1"/>
            </a:solidFill>
            <a:headEnd type="oval"/>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a:stCxn id="32798" idx="2"/>
          </p:cNvCxnSpPr>
          <p:nvPr/>
        </p:nvCxnSpPr>
        <p:spPr>
          <a:xfrm flipH="1">
            <a:off x="4986457" y="2087042"/>
            <a:ext cx="24017" cy="1817561"/>
          </a:xfrm>
          <a:prstGeom prst="line">
            <a:avLst/>
          </a:prstGeom>
          <a:ln w="12700">
            <a:solidFill>
              <a:schemeClr val="bg1"/>
            </a:solidFill>
            <a:headEnd type="ova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3651517" y="2638076"/>
            <a:ext cx="0" cy="1234440"/>
          </a:xfrm>
          <a:prstGeom prst="line">
            <a:avLst/>
          </a:prstGeom>
          <a:ln w="12700">
            <a:solidFill>
              <a:schemeClr val="bg1"/>
            </a:solidFill>
            <a:headEnd type="oval"/>
          </a:ln>
        </p:spPr>
        <p:style>
          <a:lnRef idx="1">
            <a:schemeClr val="accent1"/>
          </a:lnRef>
          <a:fillRef idx="0">
            <a:schemeClr val="accent1"/>
          </a:fillRef>
          <a:effectRef idx="0">
            <a:schemeClr val="accent1"/>
          </a:effectRef>
          <a:fontRef idx="minor">
            <a:schemeClr val="tx1"/>
          </a:fontRef>
        </p:style>
      </p:cxnSp>
      <p:sp>
        <p:nvSpPr>
          <p:cNvPr id="79" name="Pentagon 78"/>
          <p:cNvSpPr/>
          <p:nvPr/>
        </p:nvSpPr>
        <p:spPr>
          <a:xfrm>
            <a:off x="98551" y="3884057"/>
            <a:ext cx="1612526" cy="524658"/>
          </a:xfrm>
          <a:prstGeom prst="homePlate">
            <a:avLst/>
          </a:prstGeom>
          <a:solidFill>
            <a:schemeClr val="accent3">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r>
              <a:rPr lang="en-US" sz="900" dirty="0">
                <a:solidFill>
                  <a:srgbClr val="FFFFFF"/>
                </a:solidFill>
              </a:rPr>
              <a:t>Client Management Infancy (NT Domain)</a:t>
            </a:r>
          </a:p>
        </p:txBody>
      </p:sp>
      <p:sp>
        <p:nvSpPr>
          <p:cNvPr id="253" name="Chevron 252"/>
          <p:cNvSpPr/>
          <p:nvPr/>
        </p:nvSpPr>
        <p:spPr>
          <a:xfrm>
            <a:off x="1580796" y="3884654"/>
            <a:ext cx="1919787" cy="524063"/>
          </a:xfrm>
          <a:prstGeom prst="chevron">
            <a:avLst/>
          </a:prstGeom>
          <a:solidFill>
            <a:schemeClr val="accent3">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r>
              <a:rPr lang="en-US" sz="900" dirty="0">
                <a:solidFill>
                  <a:srgbClr val="FFFFFF"/>
                </a:solidFill>
              </a:rPr>
              <a:t>Groups Model</a:t>
            </a:r>
          </a:p>
        </p:txBody>
      </p:sp>
      <p:sp>
        <p:nvSpPr>
          <p:cNvPr id="251" name="Chevron 250"/>
          <p:cNvSpPr/>
          <p:nvPr/>
        </p:nvSpPr>
        <p:spPr>
          <a:xfrm>
            <a:off x="4796104" y="3884653"/>
            <a:ext cx="1608352" cy="524065"/>
          </a:xfrm>
          <a:prstGeom prst="chevron">
            <a:avLst/>
          </a:prstGeom>
          <a:solidFill>
            <a:schemeClr val="accent3">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r>
              <a:rPr lang="en-US" sz="900" dirty="0">
                <a:solidFill>
                  <a:srgbClr val="FFFFFF"/>
                </a:solidFill>
              </a:rPr>
              <a:t>Comprehensive Management</a:t>
            </a:r>
          </a:p>
        </p:txBody>
      </p:sp>
      <p:sp>
        <p:nvSpPr>
          <p:cNvPr id="252" name="Chevron 251"/>
          <p:cNvSpPr/>
          <p:nvPr/>
        </p:nvSpPr>
        <p:spPr>
          <a:xfrm>
            <a:off x="3372183" y="3884654"/>
            <a:ext cx="1539411" cy="524063"/>
          </a:xfrm>
          <a:prstGeom prst="chevron">
            <a:avLst/>
          </a:prstGeom>
          <a:solidFill>
            <a:schemeClr val="accent3">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r>
              <a:rPr lang="en-US" sz="900" dirty="0">
                <a:solidFill>
                  <a:srgbClr val="FFFFFF"/>
                </a:solidFill>
              </a:rPr>
              <a:t>Laptops, Servers, Enterprise Scale</a:t>
            </a:r>
          </a:p>
        </p:txBody>
      </p:sp>
      <p:sp>
        <p:nvSpPr>
          <p:cNvPr id="80" name="Chevron 79"/>
          <p:cNvSpPr/>
          <p:nvPr/>
        </p:nvSpPr>
        <p:spPr>
          <a:xfrm>
            <a:off x="7596190" y="3884653"/>
            <a:ext cx="1547811" cy="524065"/>
          </a:xfrm>
          <a:prstGeom prst="chevron">
            <a:avLst/>
          </a:prstGeom>
          <a:solidFill>
            <a:schemeClr val="accent3">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r>
              <a:rPr lang="en-US" sz="900" dirty="0">
                <a:solidFill>
                  <a:srgbClr val="FFFFFF"/>
                </a:solidFill>
              </a:rPr>
              <a:t>Consumerization of IT</a:t>
            </a:r>
          </a:p>
        </p:txBody>
      </p:sp>
      <p:cxnSp>
        <p:nvCxnSpPr>
          <p:cNvPr id="115" name="Straight Connector 114"/>
          <p:cNvCxnSpPr/>
          <p:nvPr/>
        </p:nvCxnSpPr>
        <p:spPr>
          <a:xfrm>
            <a:off x="6619048" y="1609376"/>
            <a:ext cx="1" cy="2263140"/>
          </a:xfrm>
          <a:prstGeom prst="line">
            <a:avLst/>
          </a:prstGeom>
          <a:ln w="12700">
            <a:solidFill>
              <a:schemeClr val="bg1"/>
            </a:solidFill>
            <a:headEnd type="oval"/>
          </a:ln>
        </p:spPr>
        <p:style>
          <a:lnRef idx="1">
            <a:schemeClr val="accent1"/>
          </a:lnRef>
          <a:fillRef idx="0">
            <a:schemeClr val="accent1"/>
          </a:fillRef>
          <a:effectRef idx="0">
            <a:schemeClr val="accent1"/>
          </a:effectRef>
          <a:fontRef idx="minor">
            <a:schemeClr val="tx1"/>
          </a:fontRef>
        </p:style>
      </p:cxnSp>
      <p:pic>
        <p:nvPicPr>
          <p:cNvPr id="1029" name="Picture 5" descr="\\eventsql\dvd\Online_ART\DVD_Art_Sept-2-2010\Logos\Windows Server 2008\Windows Server Active Directory\Windows Server Active Directory v r logo.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382555" y="4533469"/>
            <a:ext cx="897625" cy="405883"/>
          </a:xfrm>
          <a:prstGeom prst="rect">
            <a:avLst/>
          </a:prstGeom>
          <a:noFill/>
          <a:extLst>
            <a:ext uri="{909E8E84-426E-40DD-AFC4-6F175D3DCCD1}">
              <a14:hiddenFill xmlns:a14="http://schemas.microsoft.com/office/drawing/2010/main">
                <a:solidFill>
                  <a:srgbClr val="FFFFFF"/>
                </a:solidFill>
              </a14:hiddenFill>
            </a:ext>
          </a:extLst>
        </p:spPr>
      </p:pic>
      <p:cxnSp>
        <p:nvCxnSpPr>
          <p:cNvPr id="128" name="Elbow Connector 127"/>
          <p:cNvCxnSpPr/>
          <p:nvPr/>
        </p:nvCxnSpPr>
        <p:spPr>
          <a:xfrm rot="10800000" flipV="1">
            <a:off x="2195882" y="4408716"/>
            <a:ext cx="557709" cy="386123"/>
          </a:xfrm>
          <a:prstGeom prst="bentConnector3">
            <a:avLst>
              <a:gd name="adj1" fmla="val -1056"/>
            </a:avLst>
          </a:prstGeom>
          <a:ln w="12700">
            <a:solidFill>
              <a:schemeClr val="bg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7549310" y="1060736"/>
            <a:ext cx="1" cy="2811780"/>
          </a:xfrm>
          <a:prstGeom prst="line">
            <a:avLst/>
          </a:prstGeom>
          <a:ln w="12700">
            <a:solidFill>
              <a:schemeClr val="bg1"/>
            </a:solidFill>
            <a:headEnd type="oval"/>
          </a:ln>
        </p:spPr>
        <p:style>
          <a:lnRef idx="1">
            <a:schemeClr val="accent1"/>
          </a:lnRef>
          <a:fillRef idx="0">
            <a:schemeClr val="accent1"/>
          </a:fillRef>
          <a:effectRef idx="0">
            <a:schemeClr val="accent1"/>
          </a:effectRef>
          <a:fontRef idx="minor">
            <a:schemeClr val="tx1"/>
          </a:fontRef>
        </p:style>
      </p:cxnSp>
      <p:sp>
        <p:nvSpPr>
          <p:cNvPr id="135" name="Chevron 134"/>
          <p:cNvSpPr/>
          <p:nvPr/>
        </p:nvSpPr>
        <p:spPr>
          <a:xfrm>
            <a:off x="6278645" y="3884650"/>
            <a:ext cx="1450390" cy="524067"/>
          </a:xfrm>
          <a:prstGeom prst="chevron">
            <a:avLst/>
          </a:prstGeom>
          <a:solidFill>
            <a:schemeClr val="accent3">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r>
              <a:rPr lang="en-US" sz="900" dirty="0">
                <a:solidFill>
                  <a:srgbClr val="FFFFFF"/>
                </a:solidFill>
              </a:rPr>
              <a:t>Management from the Cloud</a:t>
            </a:r>
          </a:p>
        </p:txBody>
      </p:sp>
      <p:sp>
        <p:nvSpPr>
          <p:cNvPr id="2" name="AutoShape 2" descr="https://mediabank.partners.extranet.microsoft.com/Assets/Active/R-T/Systems_Management_Server_2003_R2/Logos+Logotypes/SMS03-R2_rgb_r.png"/>
          <p:cNvSpPr>
            <a:spLocks noChangeAspect="1" noChangeArrowheads="1"/>
          </p:cNvSpPr>
          <p:nvPr/>
        </p:nvSpPr>
        <p:spPr bwMode="auto">
          <a:xfrm>
            <a:off x="47639" y="-102394"/>
            <a:ext cx="228660" cy="2286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6" tIns="34294" rIns="68586" bIns="34294" numCol="1" anchor="t" anchorCtr="0" compatLnSpc="1">
            <a:prstTxWarp prst="textNoShape">
              <a:avLst/>
            </a:prstTxWarp>
          </a:bodyPr>
          <a:lstStyle/>
          <a:p>
            <a:endParaRPr lang="en-US">
              <a:solidFill>
                <a:srgbClr val="FFFFFF"/>
              </a:solidFill>
            </a:endParaRPr>
          </a:p>
        </p:txBody>
      </p:sp>
      <p:cxnSp>
        <p:nvCxnSpPr>
          <p:cNvPr id="51" name="Elbow Connector 50"/>
          <p:cNvCxnSpPr/>
          <p:nvPr/>
        </p:nvCxnSpPr>
        <p:spPr>
          <a:xfrm rot="16200000" flipH="1">
            <a:off x="6297874" y="4430542"/>
            <a:ext cx="376466" cy="317882"/>
          </a:xfrm>
          <a:prstGeom prst="bentConnector2">
            <a:avLst/>
          </a:prstGeom>
          <a:ln w="12700">
            <a:solidFill>
              <a:schemeClr val="bg1"/>
            </a:solidFill>
            <a:tailEnd type="oval" w="med" len="med"/>
          </a:ln>
        </p:spPr>
        <p:style>
          <a:lnRef idx="1">
            <a:schemeClr val="accent1"/>
          </a:lnRef>
          <a:fillRef idx="0">
            <a:schemeClr val="accent1"/>
          </a:fillRef>
          <a:effectRef idx="0">
            <a:schemeClr val="accent1"/>
          </a:effectRef>
          <a:fontRef idx="minor">
            <a:schemeClr val="tx1"/>
          </a:fontRef>
        </p:style>
      </p:cxnSp>
      <p:pic>
        <p:nvPicPr>
          <p:cNvPr id="18" name="Picture 3" descr="\\sharepoint\sites\mspmg\pm\Shared Documents\Product\Endpoint Protection\Logos\FEP no version white on transparent.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774177" y="4629274"/>
            <a:ext cx="999662" cy="29688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eventsql\dvd\Online_ART\DVD_Art_Sept-2-2010\Logos\Microsoft Desktop Optimization Pack\Desktop Optimzation Pack for Software Assurance logo r.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613413" y="4663520"/>
            <a:ext cx="1425265" cy="245465"/>
          </a:xfrm>
          <a:prstGeom prst="rect">
            <a:avLst/>
          </a:prstGeom>
          <a:noFill/>
          <a:extLst>
            <a:ext uri="{909E8E84-426E-40DD-AFC4-6F175D3DCCD1}">
              <a14:hiddenFill xmlns:a14="http://schemas.microsoft.com/office/drawing/2010/main">
                <a:solidFill>
                  <a:srgbClr val="FFFFFF"/>
                </a:solidFill>
              </a14:hiddenFill>
            </a:ext>
          </a:extLst>
        </p:spPr>
      </p:pic>
      <p:sp>
        <p:nvSpPr>
          <p:cNvPr id="47"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48"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0"/>
              </a:rPr>
              <a:t>www.rapidbbs.cn</a:t>
            </a:r>
            <a:endParaRPr lang="zh-CN" altLang="en-US" sz="1200" b="0">
              <a:latin typeface="Arial" charset="0"/>
              <a:ea typeface="ＭＳ Ｐゴシック" pitchFamily="34" charset="-128"/>
            </a:endParaRPr>
          </a:p>
        </p:txBody>
      </p:sp>
      <p:pic>
        <p:nvPicPr>
          <p:cNvPr id="49" name="Picture 2">
            <a:hlinkClick r:id="rId10"/>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36406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79"/>
                                        </p:tgtEl>
                                        <p:attrNameLst>
                                          <p:attrName>style.visibility</p:attrName>
                                        </p:attrNameLst>
                                      </p:cBhvr>
                                      <p:to>
                                        <p:strVal val="visible"/>
                                      </p:to>
                                    </p:set>
                                    <p:animEffect transition="in" filter="wipe(left)">
                                      <p:cBhvr>
                                        <p:cTn id="7" dur="500"/>
                                        <p:tgtEl>
                                          <p:spTgt spid="79"/>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wipe(down)">
                                      <p:cBhvr>
                                        <p:cTn id="11" dur="500"/>
                                        <p:tgtEl>
                                          <p:spTgt spid="23"/>
                                        </p:tgtEl>
                                      </p:cBhvr>
                                    </p:animEffect>
                                  </p:childTnLst>
                                </p:cTn>
                              </p:par>
                              <p:par>
                                <p:cTn id="12" presetID="10" presetClass="entr" presetSubtype="0" fill="hold" nodeType="with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500"/>
                                        <p:tgtEl>
                                          <p:spTgt spid="11"/>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8" fill="hold" grpId="0" nodeType="clickEffect">
                                  <p:stCondLst>
                                    <p:cond delay="0"/>
                                  </p:stCondLst>
                                  <p:childTnLst>
                                    <p:set>
                                      <p:cBhvr>
                                        <p:cTn id="18" dur="1" fill="hold">
                                          <p:stCondLst>
                                            <p:cond delay="0"/>
                                          </p:stCondLst>
                                        </p:cTn>
                                        <p:tgtEl>
                                          <p:spTgt spid="253"/>
                                        </p:tgtEl>
                                        <p:attrNameLst>
                                          <p:attrName>style.visibility</p:attrName>
                                        </p:attrNameLst>
                                      </p:cBhvr>
                                      <p:to>
                                        <p:strVal val="visible"/>
                                      </p:to>
                                    </p:set>
                                    <p:animEffect transition="in" filter="wipe(left)">
                                      <p:cBhvr>
                                        <p:cTn id="19" dur="500"/>
                                        <p:tgtEl>
                                          <p:spTgt spid="253"/>
                                        </p:tgtEl>
                                      </p:cBhvr>
                                    </p:animEffect>
                                  </p:childTnLst>
                                </p:cTn>
                              </p:par>
                            </p:childTnLst>
                          </p:cTn>
                        </p:par>
                        <p:par>
                          <p:cTn id="20" fill="hold">
                            <p:stCondLst>
                              <p:cond delay="500"/>
                            </p:stCondLst>
                            <p:childTnLst>
                              <p:par>
                                <p:cTn id="21" presetID="22" presetClass="entr" presetSubtype="4" fill="hold" nodeType="afterEffect">
                                  <p:stCondLst>
                                    <p:cond delay="0"/>
                                  </p:stCondLst>
                                  <p:childTnLst>
                                    <p:set>
                                      <p:cBhvr>
                                        <p:cTn id="22" dur="1" fill="hold">
                                          <p:stCondLst>
                                            <p:cond delay="0"/>
                                          </p:stCondLst>
                                        </p:cTn>
                                        <p:tgtEl>
                                          <p:spTgt spid="83"/>
                                        </p:tgtEl>
                                        <p:attrNameLst>
                                          <p:attrName>style.visibility</p:attrName>
                                        </p:attrNameLst>
                                      </p:cBhvr>
                                      <p:to>
                                        <p:strVal val="visible"/>
                                      </p:to>
                                    </p:set>
                                    <p:animEffect transition="in" filter="wipe(down)">
                                      <p:cBhvr>
                                        <p:cTn id="23" dur="500"/>
                                        <p:tgtEl>
                                          <p:spTgt spid="83"/>
                                        </p:tgtEl>
                                      </p:cBhvr>
                                    </p:animEffect>
                                  </p:childTnLst>
                                </p:cTn>
                              </p:par>
                              <p:par>
                                <p:cTn id="24" presetID="10" presetClass="entr" presetSubtype="0" fill="hold" nodeType="with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029"/>
                                        </p:tgtEl>
                                        <p:attrNameLst>
                                          <p:attrName>style.visibility</p:attrName>
                                        </p:attrNameLst>
                                      </p:cBhvr>
                                      <p:to>
                                        <p:strVal val="visible"/>
                                      </p:to>
                                    </p:set>
                                    <p:animEffect transition="in" filter="fade">
                                      <p:cBhvr>
                                        <p:cTn id="31" dur="500"/>
                                        <p:tgtEl>
                                          <p:spTgt spid="1029"/>
                                        </p:tgtEl>
                                      </p:cBhvr>
                                    </p:animEffect>
                                  </p:childTnLst>
                                </p:cTn>
                              </p:par>
                            </p:childTnLst>
                          </p:cTn>
                        </p:par>
                        <p:par>
                          <p:cTn id="32" fill="hold">
                            <p:stCondLst>
                              <p:cond delay="500"/>
                            </p:stCondLst>
                            <p:childTnLst>
                              <p:par>
                                <p:cTn id="33" presetID="22" presetClass="entr" presetSubtype="8" fill="hold" nodeType="afterEffect">
                                  <p:stCondLst>
                                    <p:cond delay="0"/>
                                  </p:stCondLst>
                                  <p:childTnLst>
                                    <p:set>
                                      <p:cBhvr>
                                        <p:cTn id="34" dur="1" fill="hold">
                                          <p:stCondLst>
                                            <p:cond delay="0"/>
                                          </p:stCondLst>
                                        </p:cTn>
                                        <p:tgtEl>
                                          <p:spTgt spid="128"/>
                                        </p:tgtEl>
                                        <p:attrNameLst>
                                          <p:attrName>style.visibility</p:attrName>
                                        </p:attrNameLst>
                                      </p:cBhvr>
                                      <p:to>
                                        <p:strVal val="visible"/>
                                      </p:to>
                                    </p:set>
                                    <p:animEffect transition="in" filter="wipe(left)">
                                      <p:cBhvr>
                                        <p:cTn id="35" dur="500"/>
                                        <p:tgtEl>
                                          <p:spTgt spid="128"/>
                                        </p:tgtEl>
                                      </p:cBhvr>
                                    </p:animEffect>
                                  </p:childTnLst>
                                </p:cTn>
                              </p:par>
                            </p:childTnLst>
                          </p:cTn>
                        </p:par>
                        <p:par>
                          <p:cTn id="36" fill="hold">
                            <p:stCondLst>
                              <p:cond delay="1000"/>
                            </p:stCondLst>
                            <p:childTnLst>
                              <p:par>
                                <p:cTn id="37" presetID="22" presetClass="entr" presetSubtype="8" fill="hold" grpId="0" nodeType="afterEffect">
                                  <p:stCondLst>
                                    <p:cond delay="0"/>
                                  </p:stCondLst>
                                  <p:childTnLst>
                                    <p:set>
                                      <p:cBhvr>
                                        <p:cTn id="38" dur="1" fill="hold">
                                          <p:stCondLst>
                                            <p:cond delay="0"/>
                                          </p:stCondLst>
                                        </p:cTn>
                                        <p:tgtEl>
                                          <p:spTgt spid="252"/>
                                        </p:tgtEl>
                                        <p:attrNameLst>
                                          <p:attrName>style.visibility</p:attrName>
                                        </p:attrNameLst>
                                      </p:cBhvr>
                                      <p:to>
                                        <p:strVal val="visible"/>
                                      </p:to>
                                    </p:set>
                                    <p:animEffect transition="in" filter="wipe(left)">
                                      <p:cBhvr>
                                        <p:cTn id="39" dur="500"/>
                                        <p:tgtEl>
                                          <p:spTgt spid="252"/>
                                        </p:tgtEl>
                                      </p:cBhvr>
                                    </p:animEffect>
                                  </p:childTnLst>
                                </p:cTn>
                              </p:par>
                            </p:childTnLst>
                          </p:cTn>
                        </p:par>
                        <p:par>
                          <p:cTn id="40" fill="hold">
                            <p:stCondLst>
                              <p:cond delay="1500"/>
                            </p:stCondLst>
                            <p:childTnLst>
                              <p:par>
                                <p:cTn id="41" presetID="22" presetClass="entr" presetSubtype="4" fill="hold" nodeType="afterEffect">
                                  <p:stCondLst>
                                    <p:cond delay="0"/>
                                  </p:stCondLst>
                                  <p:childTnLst>
                                    <p:set>
                                      <p:cBhvr>
                                        <p:cTn id="42" dur="1" fill="hold">
                                          <p:stCondLst>
                                            <p:cond delay="0"/>
                                          </p:stCondLst>
                                        </p:cTn>
                                        <p:tgtEl>
                                          <p:spTgt spid="87"/>
                                        </p:tgtEl>
                                        <p:attrNameLst>
                                          <p:attrName>style.visibility</p:attrName>
                                        </p:attrNameLst>
                                      </p:cBhvr>
                                      <p:to>
                                        <p:strVal val="visible"/>
                                      </p:to>
                                    </p:set>
                                    <p:animEffect transition="in" filter="wipe(down)">
                                      <p:cBhvr>
                                        <p:cTn id="43" dur="500"/>
                                        <p:tgtEl>
                                          <p:spTgt spid="87"/>
                                        </p:tgtEl>
                                      </p:cBhvr>
                                    </p:animEffect>
                                  </p:childTnLst>
                                </p:cTn>
                              </p:par>
                              <p:par>
                                <p:cTn id="44" presetID="10" presetClass="entr" presetSubtype="0" fill="hold" nodeType="withEffect">
                                  <p:stCondLst>
                                    <p:cond delay="0"/>
                                  </p:stCondLst>
                                  <p:childTnLst>
                                    <p:set>
                                      <p:cBhvr>
                                        <p:cTn id="45" dur="1" fill="hold">
                                          <p:stCondLst>
                                            <p:cond delay="0"/>
                                          </p:stCondLst>
                                        </p:cTn>
                                        <p:tgtEl>
                                          <p:spTgt spid="4"/>
                                        </p:tgtEl>
                                        <p:attrNameLst>
                                          <p:attrName>style.visibility</p:attrName>
                                        </p:attrNameLst>
                                      </p:cBhvr>
                                      <p:to>
                                        <p:strVal val="visible"/>
                                      </p:to>
                                    </p:set>
                                    <p:animEffect transition="in" filter="fade">
                                      <p:cBhvr>
                                        <p:cTn id="46" dur="500"/>
                                        <p:tgtEl>
                                          <p:spTgt spid="4"/>
                                        </p:tgtEl>
                                      </p:cBhvr>
                                    </p:animEffect>
                                  </p:childTnLst>
                                </p:cTn>
                              </p:par>
                            </p:childTnLst>
                          </p:cTn>
                        </p:par>
                      </p:childTnLst>
                    </p:cTn>
                  </p:par>
                  <p:par>
                    <p:cTn id="47" fill="hold">
                      <p:stCondLst>
                        <p:cond delay="indefinite"/>
                      </p:stCondLst>
                      <p:childTnLst>
                        <p:par>
                          <p:cTn id="48" fill="hold">
                            <p:stCondLst>
                              <p:cond delay="0"/>
                            </p:stCondLst>
                            <p:childTnLst>
                              <p:par>
                                <p:cTn id="49" presetID="22" presetClass="entr" presetSubtype="8" fill="hold" grpId="0" nodeType="clickEffect">
                                  <p:stCondLst>
                                    <p:cond delay="0"/>
                                  </p:stCondLst>
                                  <p:childTnLst>
                                    <p:set>
                                      <p:cBhvr>
                                        <p:cTn id="50" dur="1" fill="hold">
                                          <p:stCondLst>
                                            <p:cond delay="0"/>
                                          </p:stCondLst>
                                        </p:cTn>
                                        <p:tgtEl>
                                          <p:spTgt spid="251"/>
                                        </p:tgtEl>
                                        <p:attrNameLst>
                                          <p:attrName>style.visibility</p:attrName>
                                        </p:attrNameLst>
                                      </p:cBhvr>
                                      <p:to>
                                        <p:strVal val="visible"/>
                                      </p:to>
                                    </p:set>
                                    <p:animEffect transition="in" filter="wipe(left)">
                                      <p:cBhvr>
                                        <p:cTn id="51" dur="500"/>
                                        <p:tgtEl>
                                          <p:spTgt spid="251"/>
                                        </p:tgtEl>
                                      </p:cBhvr>
                                    </p:animEffect>
                                  </p:childTnLst>
                                </p:cTn>
                              </p:par>
                            </p:childTnLst>
                          </p:cTn>
                        </p:par>
                        <p:par>
                          <p:cTn id="52" fill="hold">
                            <p:stCondLst>
                              <p:cond delay="500"/>
                            </p:stCondLst>
                            <p:childTnLst>
                              <p:par>
                                <p:cTn id="53" presetID="22" presetClass="entr" presetSubtype="4" fill="hold" nodeType="afterEffect">
                                  <p:stCondLst>
                                    <p:cond delay="0"/>
                                  </p:stCondLst>
                                  <p:childTnLst>
                                    <p:set>
                                      <p:cBhvr>
                                        <p:cTn id="54" dur="1" fill="hold">
                                          <p:stCondLst>
                                            <p:cond delay="0"/>
                                          </p:stCondLst>
                                        </p:cTn>
                                        <p:tgtEl>
                                          <p:spTgt spid="89"/>
                                        </p:tgtEl>
                                        <p:attrNameLst>
                                          <p:attrName>style.visibility</p:attrName>
                                        </p:attrNameLst>
                                      </p:cBhvr>
                                      <p:to>
                                        <p:strVal val="visible"/>
                                      </p:to>
                                    </p:set>
                                    <p:animEffect transition="in" filter="wipe(down)">
                                      <p:cBhvr>
                                        <p:cTn id="55" dur="500"/>
                                        <p:tgtEl>
                                          <p:spTgt spid="89"/>
                                        </p:tgtEl>
                                      </p:cBhvr>
                                    </p:animEffect>
                                  </p:childTnLst>
                                </p:cTn>
                              </p:par>
                              <p:par>
                                <p:cTn id="56" presetID="10" presetClass="entr" presetSubtype="0" fill="hold" nodeType="withEffect">
                                  <p:stCondLst>
                                    <p:cond delay="0"/>
                                  </p:stCondLst>
                                  <p:childTnLst>
                                    <p:set>
                                      <p:cBhvr>
                                        <p:cTn id="57" dur="1" fill="hold">
                                          <p:stCondLst>
                                            <p:cond delay="0"/>
                                          </p:stCondLst>
                                        </p:cTn>
                                        <p:tgtEl>
                                          <p:spTgt spid="9"/>
                                        </p:tgtEl>
                                        <p:attrNameLst>
                                          <p:attrName>style.visibility</p:attrName>
                                        </p:attrNameLst>
                                      </p:cBhvr>
                                      <p:to>
                                        <p:strVal val="visible"/>
                                      </p:to>
                                    </p:set>
                                    <p:animEffect transition="in" filter="fade">
                                      <p:cBhvr>
                                        <p:cTn id="58" dur="500"/>
                                        <p:tgtEl>
                                          <p:spTgt spid="9"/>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nodeType="clickEffect">
                                  <p:stCondLst>
                                    <p:cond delay="0"/>
                                  </p:stCondLst>
                                  <p:childTnLst>
                                    <p:set>
                                      <p:cBhvr>
                                        <p:cTn id="62" dur="1" fill="hold">
                                          <p:stCondLst>
                                            <p:cond delay="0"/>
                                          </p:stCondLst>
                                        </p:cTn>
                                        <p:tgtEl>
                                          <p:spTgt spid="1030"/>
                                        </p:tgtEl>
                                        <p:attrNameLst>
                                          <p:attrName>style.visibility</p:attrName>
                                        </p:attrNameLst>
                                      </p:cBhvr>
                                      <p:to>
                                        <p:strVal val="visible"/>
                                      </p:to>
                                    </p:set>
                                    <p:animEffect transition="in" filter="fade">
                                      <p:cBhvr>
                                        <p:cTn id="63" dur="500"/>
                                        <p:tgtEl>
                                          <p:spTgt spid="1030"/>
                                        </p:tgtEl>
                                      </p:cBhvr>
                                    </p:animEffect>
                                  </p:childTnLst>
                                </p:cTn>
                              </p:par>
                            </p:childTnLst>
                          </p:cTn>
                        </p:par>
                        <p:par>
                          <p:cTn id="64" fill="hold">
                            <p:stCondLst>
                              <p:cond delay="500"/>
                            </p:stCondLst>
                            <p:childTnLst>
                              <p:par>
                                <p:cTn id="65" presetID="22" presetClass="entr" presetSubtype="8" fill="hold" nodeType="afterEffect">
                                  <p:stCondLst>
                                    <p:cond delay="0"/>
                                  </p:stCondLst>
                                  <p:childTnLst>
                                    <p:set>
                                      <p:cBhvr>
                                        <p:cTn id="66" dur="1" fill="hold">
                                          <p:stCondLst>
                                            <p:cond delay="0"/>
                                          </p:stCondLst>
                                        </p:cTn>
                                        <p:tgtEl>
                                          <p:spTgt spid="119"/>
                                        </p:tgtEl>
                                        <p:attrNameLst>
                                          <p:attrName>style.visibility</p:attrName>
                                        </p:attrNameLst>
                                      </p:cBhvr>
                                      <p:to>
                                        <p:strVal val="visible"/>
                                      </p:to>
                                    </p:set>
                                    <p:animEffect transition="in" filter="wipe(left)">
                                      <p:cBhvr>
                                        <p:cTn id="67" dur="500"/>
                                        <p:tgtEl>
                                          <p:spTgt spid="119"/>
                                        </p:tgtEl>
                                      </p:cBhvr>
                                    </p:animEffect>
                                  </p:childTnLst>
                                </p:cTn>
                              </p:par>
                            </p:childTnLst>
                          </p:cTn>
                        </p:par>
                        <p:par>
                          <p:cTn id="68" fill="hold">
                            <p:stCondLst>
                              <p:cond delay="1000"/>
                            </p:stCondLst>
                            <p:childTnLst>
                              <p:par>
                                <p:cTn id="69" presetID="22" presetClass="entr" presetSubtype="8" fill="hold" grpId="0" nodeType="afterEffect">
                                  <p:stCondLst>
                                    <p:cond delay="0"/>
                                  </p:stCondLst>
                                  <p:childTnLst>
                                    <p:set>
                                      <p:cBhvr>
                                        <p:cTn id="70" dur="1" fill="hold">
                                          <p:stCondLst>
                                            <p:cond delay="0"/>
                                          </p:stCondLst>
                                        </p:cTn>
                                        <p:tgtEl>
                                          <p:spTgt spid="135"/>
                                        </p:tgtEl>
                                        <p:attrNameLst>
                                          <p:attrName>style.visibility</p:attrName>
                                        </p:attrNameLst>
                                      </p:cBhvr>
                                      <p:to>
                                        <p:strVal val="visible"/>
                                      </p:to>
                                    </p:set>
                                    <p:animEffect transition="in" filter="wipe(left)">
                                      <p:cBhvr>
                                        <p:cTn id="71" dur="500"/>
                                        <p:tgtEl>
                                          <p:spTgt spid="135"/>
                                        </p:tgtEl>
                                      </p:cBhvr>
                                    </p:animEffect>
                                  </p:childTnLst>
                                </p:cTn>
                              </p:par>
                            </p:childTnLst>
                          </p:cTn>
                        </p:par>
                        <p:par>
                          <p:cTn id="72" fill="hold">
                            <p:stCondLst>
                              <p:cond delay="1500"/>
                            </p:stCondLst>
                            <p:childTnLst>
                              <p:par>
                                <p:cTn id="73" presetID="22" presetClass="entr" presetSubtype="8" fill="hold" nodeType="afterEffect">
                                  <p:stCondLst>
                                    <p:cond delay="0"/>
                                  </p:stCondLst>
                                  <p:childTnLst>
                                    <p:set>
                                      <p:cBhvr>
                                        <p:cTn id="74" dur="1" fill="hold">
                                          <p:stCondLst>
                                            <p:cond delay="0"/>
                                          </p:stCondLst>
                                        </p:cTn>
                                        <p:tgtEl>
                                          <p:spTgt spid="51"/>
                                        </p:tgtEl>
                                        <p:attrNameLst>
                                          <p:attrName>style.visibility</p:attrName>
                                        </p:attrNameLst>
                                      </p:cBhvr>
                                      <p:to>
                                        <p:strVal val="visible"/>
                                      </p:to>
                                    </p:set>
                                    <p:animEffect transition="in" filter="wipe(left)">
                                      <p:cBhvr>
                                        <p:cTn id="75" dur="500"/>
                                        <p:tgtEl>
                                          <p:spTgt spid="51"/>
                                        </p:tgtEl>
                                      </p:cBhvr>
                                    </p:animEffect>
                                  </p:childTnLst>
                                </p:cTn>
                              </p:par>
                            </p:childTnLst>
                          </p:cTn>
                        </p:par>
                        <p:par>
                          <p:cTn id="76" fill="hold">
                            <p:stCondLst>
                              <p:cond delay="2000"/>
                            </p:stCondLst>
                            <p:childTnLst>
                              <p:par>
                                <p:cTn id="77" presetID="22" presetClass="entr" presetSubtype="8" fill="hold" nodeType="afterEffect">
                                  <p:stCondLst>
                                    <p:cond delay="0"/>
                                  </p:stCondLst>
                                  <p:childTnLst>
                                    <p:set>
                                      <p:cBhvr>
                                        <p:cTn id="78" dur="1" fill="hold">
                                          <p:stCondLst>
                                            <p:cond delay="0"/>
                                          </p:stCondLst>
                                        </p:cTn>
                                        <p:tgtEl>
                                          <p:spTgt spid="18"/>
                                        </p:tgtEl>
                                        <p:attrNameLst>
                                          <p:attrName>style.visibility</p:attrName>
                                        </p:attrNameLst>
                                      </p:cBhvr>
                                      <p:to>
                                        <p:strVal val="visible"/>
                                      </p:to>
                                    </p:set>
                                    <p:animEffect transition="in" filter="wipe(left)">
                                      <p:cBhvr>
                                        <p:cTn id="79" dur="500"/>
                                        <p:tgtEl>
                                          <p:spTgt spid="18"/>
                                        </p:tgtEl>
                                      </p:cBhvr>
                                    </p:animEffect>
                                  </p:childTnLst>
                                </p:cTn>
                              </p:par>
                            </p:childTnLst>
                          </p:cTn>
                        </p:par>
                        <p:par>
                          <p:cTn id="80" fill="hold">
                            <p:stCondLst>
                              <p:cond delay="2500"/>
                            </p:stCondLst>
                            <p:childTnLst>
                              <p:par>
                                <p:cTn id="81" presetID="22" presetClass="entr" presetSubtype="4" fill="hold" nodeType="afterEffect">
                                  <p:stCondLst>
                                    <p:cond delay="0"/>
                                  </p:stCondLst>
                                  <p:childTnLst>
                                    <p:set>
                                      <p:cBhvr>
                                        <p:cTn id="82" dur="1" fill="hold">
                                          <p:stCondLst>
                                            <p:cond delay="0"/>
                                          </p:stCondLst>
                                        </p:cTn>
                                        <p:tgtEl>
                                          <p:spTgt spid="115"/>
                                        </p:tgtEl>
                                        <p:attrNameLst>
                                          <p:attrName>style.visibility</p:attrName>
                                        </p:attrNameLst>
                                      </p:cBhvr>
                                      <p:to>
                                        <p:strVal val="visible"/>
                                      </p:to>
                                    </p:set>
                                    <p:animEffect transition="in" filter="wipe(down)">
                                      <p:cBhvr>
                                        <p:cTn id="83" dur="500"/>
                                        <p:tgtEl>
                                          <p:spTgt spid="115"/>
                                        </p:tgtEl>
                                      </p:cBhvr>
                                    </p:animEffect>
                                  </p:childTnLst>
                                </p:cTn>
                              </p:par>
                              <p:par>
                                <p:cTn id="84" presetID="10" presetClass="entr" presetSubtype="0" fill="hold" nodeType="withEffect">
                                  <p:stCondLst>
                                    <p:cond delay="0"/>
                                  </p:stCondLst>
                                  <p:childTnLst>
                                    <p:set>
                                      <p:cBhvr>
                                        <p:cTn id="85" dur="1" fill="hold">
                                          <p:stCondLst>
                                            <p:cond delay="0"/>
                                          </p:stCondLst>
                                        </p:cTn>
                                        <p:tgtEl>
                                          <p:spTgt spid="6"/>
                                        </p:tgtEl>
                                        <p:attrNameLst>
                                          <p:attrName>style.visibility</p:attrName>
                                        </p:attrNameLst>
                                      </p:cBhvr>
                                      <p:to>
                                        <p:strVal val="visible"/>
                                      </p:to>
                                    </p:set>
                                    <p:animEffect transition="in" filter="fade">
                                      <p:cBhvr>
                                        <p:cTn id="86" dur="500"/>
                                        <p:tgtEl>
                                          <p:spTgt spid="6"/>
                                        </p:tgtEl>
                                      </p:cBhvr>
                                    </p:animEffect>
                                  </p:childTnLst>
                                </p:cTn>
                              </p:par>
                            </p:childTnLst>
                          </p:cTn>
                        </p:par>
                      </p:childTnLst>
                    </p:cTn>
                  </p:par>
                  <p:par>
                    <p:cTn id="87" fill="hold">
                      <p:stCondLst>
                        <p:cond delay="indefinite"/>
                      </p:stCondLst>
                      <p:childTnLst>
                        <p:par>
                          <p:cTn id="88" fill="hold">
                            <p:stCondLst>
                              <p:cond delay="0"/>
                            </p:stCondLst>
                            <p:childTnLst>
                              <p:par>
                                <p:cTn id="89" presetID="22" presetClass="entr" presetSubtype="8" fill="hold" grpId="0" nodeType="clickEffect">
                                  <p:stCondLst>
                                    <p:cond delay="0"/>
                                  </p:stCondLst>
                                  <p:childTnLst>
                                    <p:set>
                                      <p:cBhvr>
                                        <p:cTn id="90" dur="1" fill="hold">
                                          <p:stCondLst>
                                            <p:cond delay="0"/>
                                          </p:stCondLst>
                                        </p:cTn>
                                        <p:tgtEl>
                                          <p:spTgt spid="80"/>
                                        </p:tgtEl>
                                        <p:attrNameLst>
                                          <p:attrName>style.visibility</p:attrName>
                                        </p:attrNameLst>
                                      </p:cBhvr>
                                      <p:to>
                                        <p:strVal val="visible"/>
                                      </p:to>
                                    </p:set>
                                    <p:animEffect transition="in" filter="wipe(left)">
                                      <p:cBhvr>
                                        <p:cTn id="91" dur="500"/>
                                        <p:tgtEl>
                                          <p:spTgt spid="80"/>
                                        </p:tgtEl>
                                      </p:cBhvr>
                                    </p:animEffect>
                                  </p:childTnLst>
                                </p:cTn>
                              </p:par>
                            </p:childTnLst>
                          </p:cTn>
                        </p:par>
                        <p:par>
                          <p:cTn id="92" fill="hold">
                            <p:stCondLst>
                              <p:cond delay="500"/>
                            </p:stCondLst>
                            <p:childTnLst>
                              <p:par>
                                <p:cTn id="93" presetID="22" presetClass="entr" presetSubtype="4" fill="hold" nodeType="afterEffect">
                                  <p:stCondLst>
                                    <p:cond delay="0"/>
                                  </p:stCondLst>
                                  <p:childTnLst>
                                    <p:set>
                                      <p:cBhvr>
                                        <p:cTn id="94" dur="1" fill="hold">
                                          <p:stCondLst>
                                            <p:cond delay="0"/>
                                          </p:stCondLst>
                                        </p:cTn>
                                        <p:tgtEl>
                                          <p:spTgt spid="134"/>
                                        </p:tgtEl>
                                        <p:attrNameLst>
                                          <p:attrName>style.visibility</p:attrName>
                                        </p:attrNameLst>
                                      </p:cBhvr>
                                      <p:to>
                                        <p:strVal val="visible"/>
                                      </p:to>
                                    </p:set>
                                    <p:animEffect transition="in" filter="wipe(down)">
                                      <p:cBhvr>
                                        <p:cTn id="95" dur="500"/>
                                        <p:tgtEl>
                                          <p:spTgt spid="134"/>
                                        </p:tgtEl>
                                      </p:cBhvr>
                                    </p:animEffect>
                                  </p:childTnLst>
                                </p:cTn>
                              </p:par>
                              <p:par>
                                <p:cTn id="96" presetID="10" presetClass="entr" presetSubtype="0" fill="hold" nodeType="withEffect">
                                  <p:stCondLst>
                                    <p:cond delay="0"/>
                                  </p:stCondLst>
                                  <p:childTnLst>
                                    <p:set>
                                      <p:cBhvr>
                                        <p:cTn id="97" dur="1" fill="hold">
                                          <p:stCondLst>
                                            <p:cond delay="0"/>
                                          </p:stCondLst>
                                        </p:cTn>
                                        <p:tgtEl>
                                          <p:spTgt spid="5"/>
                                        </p:tgtEl>
                                        <p:attrNameLst>
                                          <p:attrName>style.visibility</p:attrName>
                                        </p:attrNameLst>
                                      </p:cBhvr>
                                      <p:to>
                                        <p:strVal val="visible"/>
                                      </p:to>
                                    </p:set>
                                    <p:animEffect transition="in" filter="fade">
                                      <p:cBhvr>
                                        <p:cTn id="98"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 grpId="0" animBg="1"/>
      <p:bldP spid="253" grpId="0" animBg="1"/>
      <p:bldP spid="251" grpId="0" animBg="1"/>
      <p:bldP spid="252" grpId="0" animBg="1"/>
      <p:bldP spid="80" grpId="0" animBg="1"/>
      <p:bldP spid="135" grpId="0" animBg="1"/>
    </p:bldLst>
  </p:timing>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428119" y="3225573"/>
            <a:ext cx="3869460" cy="1612249"/>
            <a:chOff x="556555" y="4300761"/>
            <a:chExt cx="5030298" cy="2149665"/>
          </a:xfrm>
        </p:grpSpPr>
        <p:sp>
          <p:nvSpPr>
            <p:cNvPr id="12" name="Rounded Rectangle 11"/>
            <p:cNvSpPr/>
            <p:nvPr/>
          </p:nvSpPr>
          <p:spPr bwMode="auto">
            <a:xfrm>
              <a:off x="2697689" y="4300761"/>
              <a:ext cx="2889164" cy="2148861"/>
            </a:xfrm>
            <a:prstGeom prst="roundRect">
              <a:avLst>
                <a:gd name="adj" fmla="val 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2" name="Rectangle 41"/>
            <p:cNvSpPr/>
            <p:nvPr/>
          </p:nvSpPr>
          <p:spPr>
            <a:xfrm>
              <a:off x="2790908" y="4588510"/>
              <a:ext cx="2795945" cy="1600438"/>
            </a:xfrm>
            <a:prstGeom prst="rect">
              <a:avLst/>
            </a:prstGeom>
          </p:spPr>
          <p:txBody>
            <a:bodyPr wrap="square">
              <a:spAutoFit/>
            </a:bodyPr>
            <a:lstStyle/>
            <a:p>
              <a:r>
                <a:rPr lang="en-US" sz="1800" dirty="0">
                  <a:solidFill>
                    <a:srgbClr val="FFFFFF"/>
                  </a:solidFill>
                  <a:latin typeface="Segoe UI Light" pitchFamily="34" charset="0"/>
                </a:rPr>
                <a:t>I want to connect to people and be productive anywhere, anytime</a:t>
              </a:r>
            </a:p>
          </p:txBody>
        </p:sp>
        <p:pic>
          <p:nvPicPr>
            <p:cNvPr id="35" name="Picture 34"/>
            <p:cNvPicPr>
              <a:picLocks noChangeAspect="1"/>
            </p:cNvPicPr>
            <p:nvPr/>
          </p:nvPicPr>
          <p:blipFill rotWithShape="1">
            <a:blip r:embed="rId3" cstate="print">
              <a:extLst>
                <a:ext uri="{28A0092B-C50C-407E-A947-70E740481C1C}">
                  <a14:useLocalDpi xmlns:a14="http://schemas.microsoft.com/office/drawing/2010/main" val="0"/>
                </a:ext>
              </a:extLst>
            </a:blip>
            <a:srcRect l="24995" t="2045" r="11601"/>
            <a:stretch/>
          </p:blipFill>
          <p:spPr>
            <a:xfrm>
              <a:off x="556555" y="4300761"/>
              <a:ext cx="2145893" cy="2149665"/>
            </a:xfrm>
            <a:prstGeom prst="rect">
              <a:avLst/>
            </a:prstGeom>
            <a:noFill/>
            <a:ln>
              <a:noFill/>
            </a:ln>
          </p:spPr>
        </p:pic>
      </p:grpSp>
      <p:grpSp>
        <p:nvGrpSpPr>
          <p:cNvPr id="43" name="Group 42"/>
          <p:cNvGrpSpPr/>
          <p:nvPr/>
        </p:nvGrpSpPr>
        <p:grpSpPr>
          <a:xfrm>
            <a:off x="5799594" y="3144645"/>
            <a:ext cx="2813539" cy="1714500"/>
            <a:chOff x="5648099" y="3921385"/>
            <a:chExt cx="2255384" cy="2286000"/>
          </a:xfrm>
          <a:solidFill>
            <a:schemeClr val="tx2"/>
          </a:solidFill>
          <a:effectLst/>
        </p:grpSpPr>
        <p:sp>
          <p:nvSpPr>
            <p:cNvPr id="44" name="Rounded Rectangle 43"/>
            <p:cNvSpPr/>
            <p:nvPr/>
          </p:nvSpPr>
          <p:spPr bwMode="auto">
            <a:xfrm>
              <a:off x="5648099" y="3921385"/>
              <a:ext cx="2255384" cy="2286000"/>
            </a:xfrm>
            <a:prstGeom prst="roundRect">
              <a:avLst>
                <a:gd name="adj" fmla="val 0"/>
              </a:avLst>
            </a:prstGeom>
            <a:grpFill/>
            <a:ln w="12700" cap="rnd">
              <a:solidFill>
                <a:schemeClr val="bg1"/>
              </a:solidFill>
              <a:prstDash val="sysDot"/>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7" name="Rectangle 46"/>
            <p:cNvSpPr/>
            <p:nvPr/>
          </p:nvSpPr>
          <p:spPr>
            <a:xfrm>
              <a:off x="5684176" y="4829168"/>
              <a:ext cx="2215035" cy="492443"/>
            </a:xfrm>
            <a:prstGeom prst="rect">
              <a:avLst/>
            </a:prstGeom>
            <a:grpFill/>
          </p:spPr>
          <p:txBody>
            <a:bodyPr wrap="square">
              <a:spAutoFit/>
            </a:bodyPr>
            <a:lstStyle/>
            <a:p>
              <a:pPr algn="ctr"/>
              <a:r>
                <a:rPr lang="en-US" sz="1800" b="1" dirty="0">
                  <a:solidFill>
                    <a:srgbClr val="FFFFFF"/>
                  </a:solidFill>
                </a:rPr>
                <a:t>Security and Access</a:t>
              </a:r>
            </a:p>
          </p:txBody>
        </p:sp>
      </p:grpSp>
      <p:sp>
        <p:nvSpPr>
          <p:cNvPr id="41" name="Rectangle 40"/>
          <p:cNvSpPr/>
          <p:nvPr/>
        </p:nvSpPr>
        <p:spPr>
          <a:xfrm>
            <a:off x="5688747" y="3541030"/>
            <a:ext cx="2481337" cy="1177245"/>
          </a:xfrm>
          <a:prstGeom prst="rect">
            <a:avLst/>
          </a:prstGeom>
          <a:effectLst/>
        </p:spPr>
        <p:txBody>
          <a:bodyPr wrap="square" lIns="68586" tIns="34294" rIns="68586" bIns="34294">
            <a:spAutoFit/>
          </a:bodyPr>
          <a:lstStyle/>
          <a:p>
            <a:r>
              <a:rPr lang="en-US" sz="1800" b="1" dirty="0">
                <a:solidFill>
                  <a:srgbClr val="FFFFFF"/>
                </a:solidFill>
                <a:latin typeface="Segoe UI Light" pitchFamily="34" charset="0"/>
              </a:rPr>
              <a:t>How can IT provide access to apps and data while maintaining security?</a:t>
            </a:r>
            <a:endParaRPr lang="en-US" sz="1800" dirty="0">
              <a:solidFill>
                <a:srgbClr val="FFFFFF"/>
              </a:solidFill>
              <a:latin typeface="Segoe UI Light" pitchFamily="34" charset="0"/>
            </a:endParaRPr>
          </a:p>
        </p:txBody>
      </p:sp>
      <p:sp>
        <p:nvSpPr>
          <p:cNvPr id="73" name="Rectangle 72"/>
          <p:cNvSpPr/>
          <p:nvPr/>
        </p:nvSpPr>
        <p:spPr>
          <a:xfrm>
            <a:off x="5688746" y="1800155"/>
            <a:ext cx="2139073" cy="900247"/>
          </a:xfrm>
          <a:prstGeom prst="rect">
            <a:avLst/>
          </a:prstGeom>
          <a:effectLst/>
        </p:spPr>
        <p:txBody>
          <a:bodyPr wrap="square" lIns="68586" tIns="34294" rIns="68586" bIns="34294">
            <a:spAutoFit/>
          </a:bodyPr>
          <a:lstStyle/>
          <a:p>
            <a:r>
              <a:rPr lang="en-US" sz="1800" b="1" dirty="0">
                <a:solidFill>
                  <a:srgbClr val="FFFFFF"/>
                </a:solidFill>
                <a:latin typeface="Segoe UI Light" pitchFamily="34" charset="0"/>
              </a:rPr>
              <a:t>How can IT support and manage all those devices? </a:t>
            </a:r>
            <a:endParaRPr lang="en-US" sz="1800" dirty="0">
              <a:solidFill>
                <a:srgbClr val="FFFFFF"/>
              </a:solidFill>
              <a:latin typeface="Segoe UI Light" pitchFamily="34" charset="0"/>
            </a:endParaRPr>
          </a:p>
        </p:txBody>
      </p:sp>
      <p:grpSp>
        <p:nvGrpSpPr>
          <p:cNvPr id="8" name="Group 7"/>
          <p:cNvGrpSpPr/>
          <p:nvPr/>
        </p:nvGrpSpPr>
        <p:grpSpPr>
          <a:xfrm>
            <a:off x="425854" y="1408008"/>
            <a:ext cx="3871727" cy="1611646"/>
            <a:chOff x="553608" y="1877341"/>
            <a:chExt cx="5033245" cy="2148861"/>
          </a:xfrm>
        </p:grpSpPr>
        <p:pic>
          <p:nvPicPr>
            <p:cNvPr id="34" name="Picture 33"/>
            <p:cNvPicPr>
              <a:picLocks noChangeAspect="1"/>
            </p:cNvPicPr>
            <p:nvPr/>
          </p:nvPicPr>
          <p:blipFill rotWithShape="1">
            <a:blip r:embed="rId4" cstate="print">
              <a:extLst>
                <a:ext uri="{28A0092B-C50C-407E-A947-70E740481C1C}">
                  <a14:useLocalDpi xmlns:a14="http://schemas.microsoft.com/office/drawing/2010/main" val="0"/>
                </a:ext>
              </a:extLst>
            </a:blip>
            <a:srcRect t="3492" b="28130"/>
            <a:stretch/>
          </p:blipFill>
          <p:spPr>
            <a:xfrm>
              <a:off x="553608" y="1877341"/>
              <a:ext cx="2148840" cy="2148860"/>
            </a:xfrm>
            <a:prstGeom prst="rect">
              <a:avLst/>
            </a:prstGeom>
            <a:noFill/>
            <a:ln>
              <a:noFill/>
            </a:ln>
          </p:spPr>
        </p:pic>
        <p:sp>
          <p:nvSpPr>
            <p:cNvPr id="11" name="Rounded Rectangle 10"/>
            <p:cNvSpPr/>
            <p:nvPr/>
          </p:nvSpPr>
          <p:spPr bwMode="auto">
            <a:xfrm>
              <a:off x="2697689" y="1877341"/>
              <a:ext cx="2889164" cy="2148861"/>
            </a:xfrm>
            <a:prstGeom prst="roundRect">
              <a:avLst>
                <a:gd name="adj" fmla="val 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74" name="Rectangle 73"/>
            <p:cNvSpPr/>
            <p:nvPr/>
          </p:nvSpPr>
          <p:spPr>
            <a:xfrm>
              <a:off x="2904477" y="2540101"/>
              <a:ext cx="2372374" cy="861775"/>
            </a:xfrm>
            <a:prstGeom prst="rect">
              <a:avLst/>
            </a:prstGeom>
          </p:spPr>
          <p:txBody>
            <a:bodyPr wrap="square">
              <a:spAutoFit/>
            </a:bodyPr>
            <a:lstStyle/>
            <a:p>
              <a:r>
                <a:rPr lang="en-US" sz="1800" dirty="0">
                  <a:solidFill>
                    <a:srgbClr val="FFFFFF"/>
                  </a:solidFill>
                  <a:latin typeface="Segoe UI Light" pitchFamily="34" charset="0"/>
                </a:rPr>
                <a:t>I want to use the device I prefer</a:t>
              </a:r>
            </a:p>
          </p:txBody>
        </p:sp>
      </p:grpSp>
      <p:sp>
        <p:nvSpPr>
          <p:cNvPr id="4" name="Title 3"/>
          <p:cNvSpPr>
            <a:spLocks noGrp="1"/>
          </p:cNvSpPr>
          <p:nvPr>
            <p:ph type="title"/>
          </p:nvPr>
        </p:nvSpPr>
        <p:spPr/>
        <p:txBody>
          <a:bodyPr/>
          <a:lstStyle/>
          <a:p>
            <a:r>
              <a:rPr lang="en-US" dirty="0" smtClean="0">
                <a:solidFill>
                  <a:schemeClr val="tx1"/>
                </a:solidFill>
              </a:rPr>
              <a:t>Challenges to Enabling </a:t>
            </a:r>
            <a:r>
              <a:rPr lang="en-US" dirty="0" err="1" smtClean="0">
                <a:solidFill>
                  <a:schemeClr val="tx1"/>
                </a:solidFill>
              </a:rPr>
              <a:t>Consumerization</a:t>
            </a:r>
            <a:endParaRPr lang="en-US" dirty="0">
              <a:solidFill>
                <a:schemeClr val="tx1"/>
              </a:solidFill>
            </a:endParaRPr>
          </a:p>
        </p:txBody>
      </p:sp>
      <p:sp>
        <p:nvSpPr>
          <p:cNvPr id="45" name="Title 1"/>
          <p:cNvSpPr txBox="1">
            <a:spLocks/>
          </p:cNvSpPr>
          <p:nvPr/>
        </p:nvSpPr>
        <p:spPr>
          <a:xfrm>
            <a:off x="646530" y="1332207"/>
            <a:ext cx="2062355" cy="1611646"/>
          </a:xfrm>
          <a:prstGeom prst="rect">
            <a:avLst/>
          </a:prstGeom>
          <a:effectLst/>
        </p:spPr>
        <p:txBody>
          <a:bodyPr vert="horz" lIns="0" tIns="44987" rIns="0" bIns="44987" rtlCol="0" anchor="ctr">
            <a:noAutofit/>
          </a:bodyPr>
          <a:lstStyle>
            <a:lvl1pPr algn="l" defTabSz="1199543" rtl="0" eaLnBrk="1" latinLnBrk="0" hangingPunct="1">
              <a:spcBef>
                <a:spcPct val="0"/>
              </a:spcBef>
              <a:buNone/>
              <a:defRPr sz="4200" kern="1200">
                <a:solidFill>
                  <a:schemeClr val="bg1"/>
                </a:solidFill>
                <a:latin typeface="Segoe Light"/>
                <a:ea typeface="+mj-ea"/>
                <a:cs typeface="+mj-cs"/>
              </a:defRPr>
            </a:lvl1pPr>
          </a:lstStyle>
          <a:p>
            <a:r>
              <a:rPr lang="en-US" sz="1800" b="1" dirty="0">
                <a:solidFill>
                  <a:srgbClr val="FFFFFF"/>
                </a:solidFill>
              </a:rPr>
              <a:t>Management of diverse devices</a:t>
            </a:r>
            <a:endParaRPr lang="en-US" sz="1500" b="1" dirty="0">
              <a:solidFill>
                <a:srgbClr val="FFFFFF"/>
              </a:solidFill>
            </a:endParaRPr>
          </a:p>
        </p:txBody>
      </p:sp>
      <p:sp>
        <p:nvSpPr>
          <p:cNvPr id="46" name="Title 1"/>
          <p:cNvSpPr txBox="1">
            <a:spLocks/>
          </p:cNvSpPr>
          <p:nvPr/>
        </p:nvSpPr>
        <p:spPr>
          <a:xfrm>
            <a:off x="646530" y="3102059"/>
            <a:ext cx="2062355" cy="1611647"/>
          </a:xfrm>
          <a:prstGeom prst="rect">
            <a:avLst/>
          </a:prstGeom>
          <a:effectLst/>
        </p:spPr>
        <p:txBody>
          <a:bodyPr vert="horz" lIns="0" tIns="44987" rIns="0" bIns="44987" rtlCol="0" anchor="ctr">
            <a:noAutofit/>
          </a:bodyPr>
          <a:lstStyle>
            <a:lvl1pPr algn="l" defTabSz="1199543" rtl="0" eaLnBrk="1" latinLnBrk="0" hangingPunct="1">
              <a:spcBef>
                <a:spcPct val="0"/>
              </a:spcBef>
              <a:buNone/>
              <a:defRPr sz="4200" kern="1200">
                <a:solidFill>
                  <a:schemeClr val="bg1"/>
                </a:solidFill>
                <a:latin typeface="Segoe Light"/>
                <a:ea typeface="+mj-ea"/>
                <a:cs typeface="+mj-cs"/>
              </a:defRPr>
            </a:lvl1pPr>
          </a:lstStyle>
          <a:p>
            <a:r>
              <a:rPr lang="en-US" sz="1800" b="1" dirty="0">
                <a:solidFill>
                  <a:srgbClr val="FFFFFF"/>
                </a:solidFill>
              </a:rPr>
              <a:t>Secure, anywhere </a:t>
            </a:r>
            <a:br>
              <a:rPr lang="en-US" sz="1800" b="1" dirty="0">
                <a:solidFill>
                  <a:srgbClr val="FFFFFF"/>
                </a:solidFill>
              </a:rPr>
            </a:br>
            <a:r>
              <a:rPr lang="en-US" sz="1800" b="1" dirty="0">
                <a:solidFill>
                  <a:srgbClr val="FFFFFF"/>
                </a:solidFill>
              </a:rPr>
              <a:t>access to apps </a:t>
            </a:r>
            <a:br>
              <a:rPr lang="en-US" sz="1800" b="1" dirty="0">
                <a:solidFill>
                  <a:srgbClr val="FFFFFF"/>
                </a:solidFill>
              </a:rPr>
            </a:br>
            <a:r>
              <a:rPr lang="en-US" sz="1800" b="1" dirty="0">
                <a:solidFill>
                  <a:srgbClr val="FFFFFF"/>
                </a:solidFill>
              </a:rPr>
              <a:t>&amp; data</a:t>
            </a:r>
          </a:p>
        </p:txBody>
      </p:sp>
      <p:cxnSp>
        <p:nvCxnSpPr>
          <p:cNvPr id="71" name="Straight Arrow Connector 70"/>
          <p:cNvCxnSpPr/>
          <p:nvPr/>
        </p:nvCxnSpPr>
        <p:spPr>
          <a:xfrm flipV="1">
            <a:off x="4297580" y="4119265"/>
            <a:ext cx="1266092" cy="2"/>
          </a:xfrm>
          <a:prstGeom prst="straightConnector1">
            <a:avLst/>
          </a:prstGeom>
          <a:ln w="38100" cap="rnd">
            <a:solidFill>
              <a:schemeClr val="tx1"/>
            </a:solidFill>
            <a:prstDash val="sysDot"/>
            <a:tailEnd type="oval"/>
          </a:ln>
          <a:effectLst/>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flipV="1">
            <a:off x="4297580" y="2248014"/>
            <a:ext cx="1266092" cy="1"/>
          </a:xfrm>
          <a:prstGeom prst="straightConnector1">
            <a:avLst/>
          </a:prstGeom>
          <a:ln w="38100" cap="rnd">
            <a:solidFill>
              <a:schemeClr val="tx1"/>
            </a:solidFill>
            <a:prstDash val="sysDot"/>
            <a:tailEnd type="oval"/>
          </a:ln>
          <a:effectLst/>
        </p:spPr>
        <p:style>
          <a:lnRef idx="1">
            <a:schemeClr val="accent1"/>
          </a:lnRef>
          <a:fillRef idx="0">
            <a:schemeClr val="accent1"/>
          </a:fillRef>
          <a:effectRef idx="0">
            <a:schemeClr val="accent1"/>
          </a:effectRef>
          <a:fontRef idx="minor">
            <a:schemeClr val="tx1"/>
          </a:fontRef>
        </p:style>
      </p:cxnSp>
      <p:grpSp>
        <p:nvGrpSpPr>
          <p:cNvPr id="48" name="Group 47"/>
          <p:cNvGrpSpPr/>
          <p:nvPr/>
        </p:nvGrpSpPr>
        <p:grpSpPr>
          <a:xfrm>
            <a:off x="2938766" y="3144645"/>
            <a:ext cx="2813541" cy="1714500"/>
            <a:chOff x="8748485" y="3921385"/>
            <a:chExt cx="2320598" cy="2286000"/>
          </a:xfrm>
          <a:solidFill>
            <a:schemeClr val="tx2"/>
          </a:solidFill>
          <a:effectLst/>
        </p:grpSpPr>
        <p:sp>
          <p:nvSpPr>
            <p:cNvPr id="49" name="Rounded Rectangle 48"/>
            <p:cNvSpPr/>
            <p:nvPr/>
          </p:nvSpPr>
          <p:spPr bwMode="auto">
            <a:xfrm>
              <a:off x="8748485" y="3921385"/>
              <a:ext cx="2320596" cy="2286000"/>
            </a:xfrm>
            <a:prstGeom prst="roundRect">
              <a:avLst>
                <a:gd name="adj" fmla="val 0"/>
              </a:avLst>
            </a:prstGeom>
            <a:grpFill/>
            <a:ln w="12700" cap="rnd">
              <a:solidFill>
                <a:schemeClr val="bg1"/>
              </a:solidFill>
              <a:prstDash val="sysDot"/>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0" name="Rectangle 49"/>
            <p:cNvSpPr/>
            <p:nvPr/>
          </p:nvSpPr>
          <p:spPr>
            <a:xfrm>
              <a:off x="8748488" y="4833552"/>
              <a:ext cx="2320595" cy="492443"/>
            </a:xfrm>
            <a:prstGeom prst="rect">
              <a:avLst/>
            </a:prstGeom>
            <a:grpFill/>
          </p:spPr>
          <p:txBody>
            <a:bodyPr wrap="square">
              <a:spAutoFit/>
            </a:bodyPr>
            <a:lstStyle/>
            <a:p>
              <a:pPr algn="ctr"/>
              <a:r>
                <a:rPr lang="en-US" sz="1800" b="1" dirty="0">
                  <a:solidFill>
                    <a:srgbClr val="FFFFFF"/>
                  </a:solidFill>
                </a:rPr>
                <a:t>Application Experience</a:t>
              </a:r>
            </a:p>
          </p:txBody>
        </p:sp>
      </p:grpSp>
      <p:grpSp>
        <p:nvGrpSpPr>
          <p:cNvPr id="51" name="Group 50"/>
          <p:cNvGrpSpPr/>
          <p:nvPr/>
        </p:nvGrpSpPr>
        <p:grpSpPr>
          <a:xfrm>
            <a:off x="2938765" y="1383633"/>
            <a:ext cx="5669038" cy="1714500"/>
            <a:chOff x="8500835" y="1263584"/>
            <a:chExt cx="2320595" cy="2286000"/>
          </a:xfrm>
          <a:solidFill>
            <a:schemeClr val="tx2"/>
          </a:solidFill>
          <a:effectLst/>
        </p:grpSpPr>
        <p:sp>
          <p:nvSpPr>
            <p:cNvPr id="52" name="Rounded Rectangle 51"/>
            <p:cNvSpPr/>
            <p:nvPr/>
          </p:nvSpPr>
          <p:spPr bwMode="auto">
            <a:xfrm>
              <a:off x="8500835" y="1263584"/>
              <a:ext cx="2320595" cy="2286000"/>
            </a:xfrm>
            <a:prstGeom prst="roundRect">
              <a:avLst>
                <a:gd name="adj" fmla="val 0"/>
              </a:avLst>
            </a:prstGeom>
            <a:grpFill/>
            <a:ln w="12700" cap="rnd">
              <a:solidFill>
                <a:schemeClr val="bg1"/>
              </a:solidFill>
              <a:prstDash val="sysDot"/>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3" name="Rectangle 52"/>
            <p:cNvSpPr/>
            <p:nvPr/>
          </p:nvSpPr>
          <p:spPr>
            <a:xfrm>
              <a:off x="8924214" y="1991085"/>
              <a:ext cx="1352659" cy="861775"/>
            </a:xfrm>
            <a:prstGeom prst="rect">
              <a:avLst/>
            </a:prstGeom>
            <a:grpFill/>
          </p:spPr>
          <p:txBody>
            <a:bodyPr wrap="square">
              <a:spAutoFit/>
            </a:bodyPr>
            <a:lstStyle/>
            <a:p>
              <a:pPr algn="ctr"/>
              <a:r>
                <a:rPr lang="en-US" sz="1800" b="1" dirty="0">
                  <a:solidFill>
                    <a:srgbClr val="FFFFFF"/>
                  </a:solidFill>
                </a:rPr>
                <a:t>Devices </a:t>
              </a:r>
              <a:r>
                <a:rPr lang="en-US" sz="1800" b="1" dirty="0">
                  <a:solidFill>
                    <a:srgbClr val="FFFFFF"/>
                  </a:solidFill>
                  <a:sym typeface="Wingdings" pitchFamily="2" charset="2"/>
                </a:rPr>
                <a:t> User</a:t>
              </a:r>
            </a:p>
            <a:p>
              <a:pPr algn="ctr"/>
              <a:r>
                <a:rPr lang="en-US" sz="1800" b="1" dirty="0">
                  <a:solidFill>
                    <a:srgbClr val="FFFFFF"/>
                  </a:solidFill>
                </a:rPr>
                <a:t>     Corporate </a:t>
              </a:r>
              <a:r>
                <a:rPr lang="en-US" sz="1800" b="1" dirty="0">
                  <a:solidFill>
                    <a:srgbClr val="FFFFFF"/>
                  </a:solidFill>
                  <a:sym typeface="Wingdings" pitchFamily="2" charset="2"/>
                </a:rPr>
                <a:t> Consumer</a:t>
              </a:r>
              <a:endParaRPr lang="en-US" sz="1800" b="1" dirty="0">
                <a:solidFill>
                  <a:srgbClr val="FFFFFF"/>
                </a:solidFill>
              </a:endParaRPr>
            </a:p>
          </p:txBody>
        </p:sp>
      </p:grpSp>
      <p:sp>
        <p:nvSpPr>
          <p:cNvPr id="58" name="Title 2"/>
          <p:cNvSpPr txBox="1">
            <a:spLocks/>
          </p:cNvSpPr>
          <p:nvPr/>
        </p:nvSpPr>
        <p:spPr>
          <a:xfrm>
            <a:off x="326461" y="129593"/>
            <a:ext cx="8686800" cy="737183"/>
          </a:xfrm>
          <a:prstGeom prst="rect">
            <a:avLst/>
          </a:prstGeom>
        </p:spPr>
        <p:txBody>
          <a:bodyPr vert="horz" wrap="square" lIns="0" tIns="44987" rIns="0" bIns="44987" rtlCol="0" anchor="t" anchorCtr="0">
            <a:spAutoFit/>
          </a:bodyPr>
          <a:lstStyle>
            <a:lvl1pPr algn="l" defTabSz="1199543" rtl="0" eaLnBrk="1" latinLnBrk="0" hangingPunct="1">
              <a:spcBef>
                <a:spcPct val="0"/>
              </a:spcBef>
              <a:buNone/>
              <a:defRPr sz="4200" kern="1200">
                <a:solidFill>
                  <a:schemeClr val="bg1"/>
                </a:solidFill>
                <a:latin typeface="Segoe Light"/>
                <a:ea typeface="+mj-ea"/>
                <a:cs typeface="+mj-cs"/>
              </a:defRPr>
            </a:lvl1pPr>
          </a:lstStyle>
          <a:p>
            <a:r>
              <a:rPr lang="en-US" dirty="0" smtClean="0">
                <a:solidFill>
                  <a:srgbClr val="FFFFFF"/>
                </a:solidFill>
              </a:rPr>
              <a:t>Infrastructure Considerations</a:t>
            </a:r>
            <a:endParaRPr lang="en-US" dirty="0">
              <a:solidFill>
                <a:srgbClr val="FFFFFF"/>
              </a:solidFill>
            </a:endParaRPr>
          </a:p>
        </p:txBody>
      </p:sp>
      <p:sp>
        <p:nvSpPr>
          <p:cNvPr id="3" name="Rounded Rectangle 2"/>
          <p:cNvSpPr/>
          <p:nvPr/>
        </p:nvSpPr>
        <p:spPr>
          <a:xfrm>
            <a:off x="1999110" y="-721178"/>
            <a:ext cx="2801491" cy="3429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r>
              <a:rPr lang="en-US" dirty="0" smtClean="0">
                <a:solidFill>
                  <a:srgbClr val="FFFFFF"/>
                </a:solidFill>
              </a:rPr>
              <a:t>Infrastructure Considerations</a:t>
            </a:r>
            <a:endParaRPr lang="en-US" dirty="0">
              <a:solidFill>
                <a:srgbClr val="FFFFFF"/>
              </a:solidFill>
            </a:endParaRPr>
          </a:p>
        </p:txBody>
      </p:sp>
      <p:sp>
        <p:nvSpPr>
          <p:cNvPr id="28"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9"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5"/>
              </a:rPr>
              <a:t>www.rapidbbs.cn</a:t>
            </a:r>
            <a:endParaRPr lang="zh-CN" altLang="en-US" sz="1200" b="0">
              <a:latin typeface="Arial" charset="0"/>
              <a:ea typeface="ＭＳ Ｐゴシック" pitchFamily="34" charset="-128"/>
            </a:endParaRPr>
          </a:p>
        </p:txBody>
      </p:sp>
      <p:pic>
        <p:nvPicPr>
          <p:cNvPr id="30" name="Picture 2">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03468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1000" fill="hold"/>
                                        <p:tgtEl>
                                          <p:spTgt spid="8"/>
                                        </p:tgtEl>
                                        <p:attrNameLst>
                                          <p:attrName>ppt_x</p:attrName>
                                        </p:attrNameLst>
                                      </p:cBhvr>
                                      <p:tavLst>
                                        <p:tav tm="0">
                                          <p:val>
                                            <p:strVal val="0-#ppt_w/2"/>
                                          </p:val>
                                        </p:tav>
                                        <p:tav tm="100000">
                                          <p:val>
                                            <p:strVal val="#ppt_x"/>
                                          </p:val>
                                        </p:tav>
                                      </p:tavLst>
                                    </p:anim>
                                    <p:anim calcmode="lin" valueType="num">
                                      <p:cBhvr additive="base">
                                        <p:cTn id="8" dur="1000" fill="hold"/>
                                        <p:tgtEl>
                                          <p:spTgt spid="8"/>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2" presetClass="entr" presetSubtype="8" fill="hold" nodeType="afterEffect">
                                  <p:stCondLst>
                                    <p:cond delay="0"/>
                                  </p:stCondLst>
                                  <p:childTnLst>
                                    <p:set>
                                      <p:cBhvr>
                                        <p:cTn id="11" dur="1" fill="hold">
                                          <p:stCondLst>
                                            <p:cond delay="0"/>
                                          </p:stCondLst>
                                        </p:cTn>
                                        <p:tgtEl>
                                          <p:spTgt spid="76"/>
                                        </p:tgtEl>
                                        <p:attrNameLst>
                                          <p:attrName>style.visibility</p:attrName>
                                        </p:attrNameLst>
                                      </p:cBhvr>
                                      <p:to>
                                        <p:strVal val="visible"/>
                                      </p:to>
                                    </p:set>
                                    <p:animEffect transition="in" filter="wipe(left)">
                                      <p:cBhvr>
                                        <p:cTn id="12" dur="500"/>
                                        <p:tgtEl>
                                          <p:spTgt spid="76"/>
                                        </p:tgtEl>
                                      </p:cBhvr>
                                    </p:animEffect>
                                  </p:childTnLst>
                                </p:cTn>
                              </p:par>
                            </p:childTnLst>
                          </p:cTn>
                        </p:par>
                        <p:par>
                          <p:cTn id="13" fill="hold">
                            <p:stCondLst>
                              <p:cond delay="1500"/>
                            </p:stCondLst>
                            <p:childTnLst>
                              <p:par>
                                <p:cTn id="14" presetID="10" presetClass="entr" presetSubtype="0" fill="hold" grpId="0" nodeType="afterEffect">
                                  <p:stCondLst>
                                    <p:cond delay="0"/>
                                  </p:stCondLst>
                                  <p:childTnLst>
                                    <p:set>
                                      <p:cBhvr>
                                        <p:cTn id="15" dur="1" fill="hold">
                                          <p:stCondLst>
                                            <p:cond delay="0"/>
                                          </p:stCondLst>
                                        </p:cTn>
                                        <p:tgtEl>
                                          <p:spTgt spid="73"/>
                                        </p:tgtEl>
                                        <p:attrNameLst>
                                          <p:attrName>style.visibility</p:attrName>
                                        </p:attrNameLst>
                                      </p:cBhvr>
                                      <p:to>
                                        <p:strVal val="visible"/>
                                      </p:to>
                                    </p:set>
                                    <p:animEffect transition="in" filter="fade">
                                      <p:cBhvr>
                                        <p:cTn id="16" dur="500"/>
                                        <p:tgtEl>
                                          <p:spTgt spid="73"/>
                                        </p:tgtEl>
                                      </p:cBhvr>
                                    </p:animEffect>
                                  </p:childTnLst>
                                </p:cTn>
                              </p:par>
                            </p:childTnLst>
                          </p:cTn>
                        </p:par>
                      </p:childTnLst>
                    </p:cTn>
                  </p:par>
                  <p:par>
                    <p:cTn id="17" fill="hold">
                      <p:stCondLst>
                        <p:cond delay="indefinite"/>
                      </p:stCondLst>
                      <p:childTnLst>
                        <p:par>
                          <p:cTn id="18" fill="hold">
                            <p:stCondLst>
                              <p:cond delay="0"/>
                            </p:stCondLst>
                            <p:childTnLst>
                              <p:par>
                                <p:cTn id="19" presetID="2" presetClass="entr" presetSubtype="8" decel="10000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 calcmode="lin" valueType="num">
                                      <p:cBhvr additive="base">
                                        <p:cTn id="21" dur="1000" fill="hold"/>
                                        <p:tgtEl>
                                          <p:spTgt spid="7"/>
                                        </p:tgtEl>
                                        <p:attrNameLst>
                                          <p:attrName>ppt_x</p:attrName>
                                        </p:attrNameLst>
                                      </p:cBhvr>
                                      <p:tavLst>
                                        <p:tav tm="0">
                                          <p:val>
                                            <p:strVal val="0-#ppt_w/2"/>
                                          </p:val>
                                        </p:tav>
                                        <p:tav tm="100000">
                                          <p:val>
                                            <p:strVal val="#ppt_x"/>
                                          </p:val>
                                        </p:tav>
                                      </p:tavLst>
                                    </p:anim>
                                    <p:anim calcmode="lin" valueType="num">
                                      <p:cBhvr additive="base">
                                        <p:cTn id="22" dur="1000" fill="hold"/>
                                        <p:tgtEl>
                                          <p:spTgt spid="7"/>
                                        </p:tgtEl>
                                        <p:attrNameLst>
                                          <p:attrName>ppt_y</p:attrName>
                                        </p:attrNameLst>
                                      </p:cBhvr>
                                      <p:tavLst>
                                        <p:tav tm="0">
                                          <p:val>
                                            <p:strVal val="#ppt_y"/>
                                          </p:val>
                                        </p:tav>
                                        <p:tav tm="100000">
                                          <p:val>
                                            <p:strVal val="#ppt_y"/>
                                          </p:val>
                                        </p:tav>
                                      </p:tavLst>
                                    </p:anim>
                                  </p:childTnLst>
                                </p:cTn>
                              </p:par>
                            </p:childTnLst>
                          </p:cTn>
                        </p:par>
                        <p:par>
                          <p:cTn id="23" fill="hold">
                            <p:stCondLst>
                              <p:cond delay="1000"/>
                            </p:stCondLst>
                            <p:childTnLst>
                              <p:par>
                                <p:cTn id="24" presetID="22" presetClass="entr" presetSubtype="8" fill="hold" nodeType="afterEffect">
                                  <p:stCondLst>
                                    <p:cond delay="0"/>
                                  </p:stCondLst>
                                  <p:childTnLst>
                                    <p:set>
                                      <p:cBhvr>
                                        <p:cTn id="25" dur="1" fill="hold">
                                          <p:stCondLst>
                                            <p:cond delay="0"/>
                                          </p:stCondLst>
                                        </p:cTn>
                                        <p:tgtEl>
                                          <p:spTgt spid="71"/>
                                        </p:tgtEl>
                                        <p:attrNameLst>
                                          <p:attrName>style.visibility</p:attrName>
                                        </p:attrNameLst>
                                      </p:cBhvr>
                                      <p:to>
                                        <p:strVal val="visible"/>
                                      </p:to>
                                    </p:set>
                                    <p:animEffect transition="in" filter="wipe(left)">
                                      <p:cBhvr>
                                        <p:cTn id="26" dur="500"/>
                                        <p:tgtEl>
                                          <p:spTgt spid="71"/>
                                        </p:tgtEl>
                                      </p:cBhvr>
                                    </p:animEffect>
                                  </p:childTnLst>
                                </p:cTn>
                              </p:par>
                            </p:childTnLst>
                          </p:cTn>
                        </p:par>
                        <p:par>
                          <p:cTn id="27" fill="hold">
                            <p:stCondLst>
                              <p:cond delay="1500"/>
                            </p:stCondLst>
                            <p:childTnLst>
                              <p:par>
                                <p:cTn id="28" presetID="10" presetClass="entr" presetSubtype="0" fill="hold" grpId="0" nodeType="afterEffect">
                                  <p:stCondLst>
                                    <p:cond delay="0"/>
                                  </p:stCondLst>
                                  <p:childTnLst>
                                    <p:set>
                                      <p:cBhvr>
                                        <p:cTn id="29" dur="1" fill="hold">
                                          <p:stCondLst>
                                            <p:cond delay="0"/>
                                          </p:stCondLst>
                                        </p:cTn>
                                        <p:tgtEl>
                                          <p:spTgt spid="41"/>
                                        </p:tgtEl>
                                        <p:attrNameLst>
                                          <p:attrName>style.visibility</p:attrName>
                                        </p:attrNameLst>
                                      </p:cBhvr>
                                      <p:to>
                                        <p:strVal val="visible"/>
                                      </p:to>
                                    </p:set>
                                    <p:animEffect transition="in" filter="fade">
                                      <p:cBhvr>
                                        <p:cTn id="30" dur="500"/>
                                        <p:tgtEl>
                                          <p:spTgt spid="41"/>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xit" presetSubtype="0" fill="hold" nodeType="clickEffect">
                                  <p:stCondLst>
                                    <p:cond delay="0"/>
                                  </p:stCondLst>
                                  <p:childTnLst>
                                    <p:animEffect transition="out" filter="fade">
                                      <p:cBhvr>
                                        <p:cTn id="34" dur="500"/>
                                        <p:tgtEl>
                                          <p:spTgt spid="8"/>
                                        </p:tgtEl>
                                      </p:cBhvr>
                                    </p:animEffect>
                                    <p:set>
                                      <p:cBhvr>
                                        <p:cTn id="35" dur="1" fill="hold">
                                          <p:stCondLst>
                                            <p:cond delay="499"/>
                                          </p:stCondLst>
                                        </p:cTn>
                                        <p:tgtEl>
                                          <p:spTgt spid="8"/>
                                        </p:tgtEl>
                                        <p:attrNameLst>
                                          <p:attrName>style.visibility</p:attrName>
                                        </p:attrNameLst>
                                      </p:cBhvr>
                                      <p:to>
                                        <p:strVal val="hidden"/>
                                      </p:to>
                                    </p:set>
                                  </p:childTnLst>
                                </p:cTn>
                              </p:par>
                              <p:par>
                                <p:cTn id="36" presetID="10" presetClass="exit" presetSubtype="0" fill="hold" nodeType="withEffect">
                                  <p:stCondLst>
                                    <p:cond delay="0"/>
                                  </p:stCondLst>
                                  <p:childTnLst>
                                    <p:animEffect transition="out" filter="fade">
                                      <p:cBhvr>
                                        <p:cTn id="37" dur="500"/>
                                        <p:tgtEl>
                                          <p:spTgt spid="7"/>
                                        </p:tgtEl>
                                      </p:cBhvr>
                                    </p:animEffect>
                                    <p:set>
                                      <p:cBhvr>
                                        <p:cTn id="38" dur="1" fill="hold">
                                          <p:stCondLst>
                                            <p:cond delay="499"/>
                                          </p:stCondLst>
                                        </p:cTn>
                                        <p:tgtEl>
                                          <p:spTgt spid="7"/>
                                        </p:tgtEl>
                                        <p:attrNameLst>
                                          <p:attrName>style.visibility</p:attrName>
                                        </p:attrNameLst>
                                      </p:cBhvr>
                                      <p:to>
                                        <p:strVal val="hidden"/>
                                      </p:to>
                                    </p:set>
                                  </p:childTnLst>
                                </p:cTn>
                              </p:par>
                              <p:par>
                                <p:cTn id="39" presetID="10" presetClass="exit" presetSubtype="0" fill="hold" nodeType="withEffect">
                                  <p:stCondLst>
                                    <p:cond delay="0"/>
                                  </p:stCondLst>
                                  <p:childTnLst>
                                    <p:animEffect transition="out" filter="fade">
                                      <p:cBhvr>
                                        <p:cTn id="40" dur="500"/>
                                        <p:tgtEl>
                                          <p:spTgt spid="76"/>
                                        </p:tgtEl>
                                      </p:cBhvr>
                                    </p:animEffect>
                                    <p:set>
                                      <p:cBhvr>
                                        <p:cTn id="41" dur="1" fill="hold">
                                          <p:stCondLst>
                                            <p:cond delay="499"/>
                                          </p:stCondLst>
                                        </p:cTn>
                                        <p:tgtEl>
                                          <p:spTgt spid="76"/>
                                        </p:tgtEl>
                                        <p:attrNameLst>
                                          <p:attrName>style.visibility</p:attrName>
                                        </p:attrNameLst>
                                      </p:cBhvr>
                                      <p:to>
                                        <p:strVal val="hidden"/>
                                      </p:to>
                                    </p:set>
                                  </p:childTnLst>
                                </p:cTn>
                              </p:par>
                              <p:par>
                                <p:cTn id="42" presetID="10" presetClass="exit" presetSubtype="0" fill="hold" nodeType="withEffect">
                                  <p:stCondLst>
                                    <p:cond delay="0"/>
                                  </p:stCondLst>
                                  <p:childTnLst>
                                    <p:animEffect transition="out" filter="fade">
                                      <p:cBhvr>
                                        <p:cTn id="43" dur="500"/>
                                        <p:tgtEl>
                                          <p:spTgt spid="71"/>
                                        </p:tgtEl>
                                      </p:cBhvr>
                                    </p:animEffect>
                                    <p:set>
                                      <p:cBhvr>
                                        <p:cTn id="44" dur="1" fill="hold">
                                          <p:stCondLst>
                                            <p:cond delay="499"/>
                                          </p:stCondLst>
                                        </p:cTn>
                                        <p:tgtEl>
                                          <p:spTgt spid="71"/>
                                        </p:tgtEl>
                                        <p:attrNameLst>
                                          <p:attrName>style.visibility</p:attrName>
                                        </p:attrNameLst>
                                      </p:cBhvr>
                                      <p:to>
                                        <p:strVal val="hidden"/>
                                      </p:to>
                                    </p:set>
                                  </p:childTnLst>
                                </p:cTn>
                              </p:par>
                              <p:par>
                                <p:cTn id="45" presetID="42" presetClass="path" presetSubtype="0" accel="50000" decel="50000" fill="hold" grpId="1" nodeType="withEffect">
                                  <p:stCondLst>
                                    <p:cond delay="0"/>
                                  </p:stCondLst>
                                  <p:childTnLst>
                                    <p:animMotion origin="layout" path="M -0.00052 -0.00486 L -0.56415 -0.00486 " pathEditMode="relative" rAng="0" ptsTypes="AA">
                                      <p:cBhvr>
                                        <p:cTn id="46" dur="2000" fill="hold"/>
                                        <p:tgtEl>
                                          <p:spTgt spid="41"/>
                                        </p:tgtEl>
                                        <p:attrNameLst>
                                          <p:attrName>ppt_x</p:attrName>
                                          <p:attrName>ppt_y</p:attrName>
                                        </p:attrNameLst>
                                      </p:cBhvr>
                                      <p:rCtr x="-28188" y="0"/>
                                    </p:animMotion>
                                  </p:childTnLst>
                                </p:cTn>
                              </p:par>
                              <p:par>
                                <p:cTn id="47" presetID="42" presetClass="path" presetSubtype="0" accel="50000" decel="50000" fill="hold" grpId="1" nodeType="withEffect">
                                  <p:stCondLst>
                                    <p:cond delay="0"/>
                                  </p:stCondLst>
                                  <p:childTnLst>
                                    <p:animMotion origin="layout" path="M -0.00326 4.71785E-6 L -0.56428 4.71785E-6 " pathEditMode="relative" rAng="0" ptsTypes="AA">
                                      <p:cBhvr>
                                        <p:cTn id="48" dur="2000" fill="hold"/>
                                        <p:tgtEl>
                                          <p:spTgt spid="73"/>
                                        </p:tgtEl>
                                        <p:attrNameLst>
                                          <p:attrName>ppt_x</p:attrName>
                                          <p:attrName>ppt_y</p:attrName>
                                        </p:attrNameLst>
                                      </p:cBhvr>
                                      <p:rCtr x="-28058" y="0"/>
                                    </p:animMotion>
                                  </p:childTnLst>
                                </p:cTn>
                              </p:par>
                            </p:childTnLst>
                          </p:cTn>
                        </p:par>
                      </p:childTnLst>
                    </p:cTn>
                  </p:par>
                  <p:par>
                    <p:cTn id="49" fill="hold">
                      <p:stCondLst>
                        <p:cond delay="indefinite"/>
                      </p:stCondLst>
                      <p:childTnLst>
                        <p:par>
                          <p:cTn id="50" fill="hold">
                            <p:stCondLst>
                              <p:cond delay="0"/>
                            </p:stCondLst>
                            <p:childTnLst>
                              <p:par>
                                <p:cTn id="51" presetID="10" presetClass="exit" presetSubtype="0" fill="hold" grpId="0" nodeType="clickEffect">
                                  <p:stCondLst>
                                    <p:cond delay="0"/>
                                  </p:stCondLst>
                                  <p:childTnLst>
                                    <p:animEffect transition="out" filter="fade">
                                      <p:cBhvr>
                                        <p:cTn id="52" dur="500"/>
                                        <p:tgtEl>
                                          <p:spTgt spid="4"/>
                                        </p:tgtEl>
                                      </p:cBhvr>
                                    </p:animEffect>
                                    <p:set>
                                      <p:cBhvr>
                                        <p:cTn id="53" dur="1" fill="hold">
                                          <p:stCondLst>
                                            <p:cond delay="499"/>
                                          </p:stCondLst>
                                        </p:cTn>
                                        <p:tgtEl>
                                          <p:spTgt spid="4"/>
                                        </p:tgtEl>
                                        <p:attrNameLst>
                                          <p:attrName>style.visibility</p:attrName>
                                        </p:attrNameLst>
                                      </p:cBhvr>
                                      <p:to>
                                        <p:strVal val="hidden"/>
                                      </p:to>
                                    </p:set>
                                  </p:childTnLst>
                                </p:cTn>
                              </p:par>
                              <p:par>
                                <p:cTn id="54" presetID="10" presetClass="exit" presetSubtype="0" fill="hold" grpId="2" nodeType="withEffect">
                                  <p:stCondLst>
                                    <p:cond delay="0"/>
                                  </p:stCondLst>
                                  <p:childTnLst>
                                    <p:animEffect transition="out" filter="fade">
                                      <p:cBhvr>
                                        <p:cTn id="55" dur="500"/>
                                        <p:tgtEl>
                                          <p:spTgt spid="73"/>
                                        </p:tgtEl>
                                      </p:cBhvr>
                                    </p:animEffect>
                                    <p:set>
                                      <p:cBhvr>
                                        <p:cTn id="56" dur="1" fill="hold">
                                          <p:stCondLst>
                                            <p:cond delay="499"/>
                                          </p:stCondLst>
                                        </p:cTn>
                                        <p:tgtEl>
                                          <p:spTgt spid="73"/>
                                        </p:tgtEl>
                                        <p:attrNameLst>
                                          <p:attrName>style.visibility</p:attrName>
                                        </p:attrNameLst>
                                      </p:cBhvr>
                                      <p:to>
                                        <p:strVal val="hidden"/>
                                      </p:to>
                                    </p:set>
                                  </p:childTnLst>
                                </p:cTn>
                              </p:par>
                              <p:par>
                                <p:cTn id="57" presetID="10" presetClass="exit" presetSubtype="0" fill="hold" grpId="2" nodeType="withEffect">
                                  <p:stCondLst>
                                    <p:cond delay="0"/>
                                  </p:stCondLst>
                                  <p:childTnLst>
                                    <p:animEffect transition="out" filter="fade">
                                      <p:cBhvr>
                                        <p:cTn id="58" dur="500"/>
                                        <p:tgtEl>
                                          <p:spTgt spid="41"/>
                                        </p:tgtEl>
                                      </p:cBhvr>
                                    </p:animEffect>
                                    <p:set>
                                      <p:cBhvr>
                                        <p:cTn id="59" dur="1" fill="hold">
                                          <p:stCondLst>
                                            <p:cond delay="499"/>
                                          </p:stCondLst>
                                        </p:cTn>
                                        <p:tgtEl>
                                          <p:spTgt spid="41"/>
                                        </p:tgtEl>
                                        <p:attrNameLst>
                                          <p:attrName>style.visibility</p:attrName>
                                        </p:attrNameLst>
                                      </p:cBhvr>
                                      <p:to>
                                        <p:strVal val="hidden"/>
                                      </p:to>
                                    </p:set>
                                  </p:childTnLst>
                                </p:cTn>
                              </p:par>
                            </p:childTnLst>
                          </p:cTn>
                        </p:par>
                        <p:par>
                          <p:cTn id="60" fill="hold">
                            <p:stCondLst>
                              <p:cond delay="500"/>
                            </p:stCondLst>
                            <p:childTnLst>
                              <p:par>
                                <p:cTn id="61" presetID="10" presetClass="entr" presetSubtype="0" fill="hold" grpId="0" nodeType="afterEffect">
                                  <p:stCondLst>
                                    <p:cond delay="0"/>
                                  </p:stCondLst>
                                  <p:childTnLst>
                                    <p:set>
                                      <p:cBhvr>
                                        <p:cTn id="62" dur="1" fill="hold">
                                          <p:stCondLst>
                                            <p:cond delay="0"/>
                                          </p:stCondLst>
                                        </p:cTn>
                                        <p:tgtEl>
                                          <p:spTgt spid="58"/>
                                        </p:tgtEl>
                                        <p:attrNameLst>
                                          <p:attrName>style.visibility</p:attrName>
                                        </p:attrNameLst>
                                      </p:cBhvr>
                                      <p:to>
                                        <p:strVal val="visible"/>
                                      </p:to>
                                    </p:set>
                                    <p:animEffect transition="in" filter="fade">
                                      <p:cBhvr>
                                        <p:cTn id="63" dur="500"/>
                                        <p:tgtEl>
                                          <p:spTgt spid="58"/>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45"/>
                                        </p:tgtEl>
                                        <p:attrNameLst>
                                          <p:attrName>style.visibility</p:attrName>
                                        </p:attrNameLst>
                                      </p:cBhvr>
                                      <p:to>
                                        <p:strVal val="visible"/>
                                      </p:to>
                                    </p:set>
                                    <p:animEffect transition="in" filter="fade">
                                      <p:cBhvr>
                                        <p:cTn id="66" dur="500"/>
                                        <p:tgtEl>
                                          <p:spTgt spid="45"/>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46"/>
                                        </p:tgtEl>
                                        <p:attrNameLst>
                                          <p:attrName>style.visibility</p:attrName>
                                        </p:attrNameLst>
                                      </p:cBhvr>
                                      <p:to>
                                        <p:strVal val="visible"/>
                                      </p:to>
                                    </p:set>
                                    <p:animEffect transition="in" filter="fade">
                                      <p:cBhvr>
                                        <p:cTn id="69" dur="500"/>
                                        <p:tgtEl>
                                          <p:spTgt spid="46"/>
                                        </p:tgtEl>
                                      </p:cBhvr>
                                    </p:animEffect>
                                  </p:childTnLst>
                                </p:cTn>
                              </p:par>
                            </p:childTnLst>
                          </p:cTn>
                        </p:par>
                      </p:childTnLst>
                    </p:cTn>
                  </p:par>
                  <p:par>
                    <p:cTn id="70" fill="hold">
                      <p:stCondLst>
                        <p:cond delay="indefinite"/>
                      </p:stCondLst>
                      <p:childTnLst>
                        <p:par>
                          <p:cTn id="71" fill="hold">
                            <p:stCondLst>
                              <p:cond delay="0"/>
                            </p:stCondLst>
                            <p:childTnLst>
                              <p:par>
                                <p:cTn id="72" presetID="2" presetClass="entr" presetSubtype="2" decel="100000" fill="hold" nodeType="clickEffect">
                                  <p:stCondLst>
                                    <p:cond delay="0"/>
                                  </p:stCondLst>
                                  <p:childTnLst>
                                    <p:set>
                                      <p:cBhvr>
                                        <p:cTn id="73" dur="1" fill="hold">
                                          <p:stCondLst>
                                            <p:cond delay="0"/>
                                          </p:stCondLst>
                                        </p:cTn>
                                        <p:tgtEl>
                                          <p:spTgt spid="51"/>
                                        </p:tgtEl>
                                        <p:attrNameLst>
                                          <p:attrName>style.visibility</p:attrName>
                                        </p:attrNameLst>
                                      </p:cBhvr>
                                      <p:to>
                                        <p:strVal val="visible"/>
                                      </p:to>
                                    </p:set>
                                    <p:anim calcmode="lin" valueType="num">
                                      <p:cBhvr additive="base">
                                        <p:cTn id="74" dur="750" fill="hold"/>
                                        <p:tgtEl>
                                          <p:spTgt spid="51"/>
                                        </p:tgtEl>
                                        <p:attrNameLst>
                                          <p:attrName>ppt_x</p:attrName>
                                        </p:attrNameLst>
                                      </p:cBhvr>
                                      <p:tavLst>
                                        <p:tav tm="0">
                                          <p:val>
                                            <p:strVal val="1+#ppt_w/2"/>
                                          </p:val>
                                        </p:tav>
                                        <p:tav tm="100000">
                                          <p:val>
                                            <p:strVal val="#ppt_x"/>
                                          </p:val>
                                        </p:tav>
                                      </p:tavLst>
                                    </p:anim>
                                    <p:anim calcmode="lin" valueType="num">
                                      <p:cBhvr additive="base">
                                        <p:cTn id="75" dur="750" fill="hold"/>
                                        <p:tgtEl>
                                          <p:spTgt spid="51"/>
                                        </p:tgtEl>
                                        <p:attrNameLst>
                                          <p:attrName>ppt_y</p:attrName>
                                        </p:attrNameLst>
                                      </p:cBhvr>
                                      <p:tavLst>
                                        <p:tav tm="0">
                                          <p:val>
                                            <p:strVal val="#ppt_y"/>
                                          </p:val>
                                        </p:tav>
                                        <p:tav tm="100000">
                                          <p:val>
                                            <p:strVal val="#ppt_y"/>
                                          </p:val>
                                        </p:tav>
                                      </p:tavLst>
                                    </p:anim>
                                  </p:childTnLst>
                                </p:cTn>
                              </p:par>
                            </p:childTnLst>
                          </p:cTn>
                        </p:par>
                      </p:childTnLst>
                    </p:cTn>
                  </p:par>
                  <p:par>
                    <p:cTn id="76" fill="hold">
                      <p:stCondLst>
                        <p:cond delay="indefinite"/>
                      </p:stCondLst>
                      <p:childTnLst>
                        <p:par>
                          <p:cTn id="77" fill="hold">
                            <p:stCondLst>
                              <p:cond delay="0"/>
                            </p:stCondLst>
                            <p:childTnLst>
                              <p:par>
                                <p:cTn id="78" presetID="2" presetClass="entr" presetSubtype="2" decel="100000" fill="hold" nodeType="clickEffect">
                                  <p:stCondLst>
                                    <p:cond delay="0"/>
                                  </p:stCondLst>
                                  <p:childTnLst>
                                    <p:set>
                                      <p:cBhvr>
                                        <p:cTn id="79" dur="1" fill="hold">
                                          <p:stCondLst>
                                            <p:cond delay="0"/>
                                          </p:stCondLst>
                                        </p:cTn>
                                        <p:tgtEl>
                                          <p:spTgt spid="48"/>
                                        </p:tgtEl>
                                        <p:attrNameLst>
                                          <p:attrName>style.visibility</p:attrName>
                                        </p:attrNameLst>
                                      </p:cBhvr>
                                      <p:to>
                                        <p:strVal val="visible"/>
                                      </p:to>
                                    </p:set>
                                    <p:anim calcmode="lin" valueType="num">
                                      <p:cBhvr additive="base">
                                        <p:cTn id="80" dur="750" fill="hold"/>
                                        <p:tgtEl>
                                          <p:spTgt spid="48"/>
                                        </p:tgtEl>
                                        <p:attrNameLst>
                                          <p:attrName>ppt_x</p:attrName>
                                        </p:attrNameLst>
                                      </p:cBhvr>
                                      <p:tavLst>
                                        <p:tav tm="0">
                                          <p:val>
                                            <p:strVal val="1+#ppt_w/2"/>
                                          </p:val>
                                        </p:tav>
                                        <p:tav tm="100000">
                                          <p:val>
                                            <p:strVal val="#ppt_x"/>
                                          </p:val>
                                        </p:tav>
                                      </p:tavLst>
                                    </p:anim>
                                    <p:anim calcmode="lin" valueType="num">
                                      <p:cBhvr additive="base">
                                        <p:cTn id="81" dur="750" fill="hold"/>
                                        <p:tgtEl>
                                          <p:spTgt spid="48"/>
                                        </p:tgtEl>
                                        <p:attrNameLst>
                                          <p:attrName>ppt_y</p:attrName>
                                        </p:attrNameLst>
                                      </p:cBhvr>
                                      <p:tavLst>
                                        <p:tav tm="0">
                                          <p:val>
                                            <p:strVal val="#ppt_y"/>
                                          </p:val>
                                        </p:tav>
                                        <p:tav tm="100000">
                                          <p:val>
                                            <p:strVal val="#ppt_y"/>
                                          </p:val>
                                        </p:tav>
                                      </p:tavLst>
                                    </p:anim>
                                  </p:childTnLst>
                                </p:cTn>
                              </p:par>
                              <p:par>
                                <p:cTn id="82" presetID="2" presetClass="entr" presetSubtype="2" decel="100000" fill="hold" nodeType="withEffect">
                                  <p:stCondLst>
                                    <p:cond delay="750"/>
                                  </p:stCondLst>
                                  <p:childTnLst>
                                    <p:set>
                                      <p:cBhvr>
                                        <p:cTn id="83" dur="1" fill="hold">
                                          <p:stCondLst>
                                            <p:cond delay="0"/>
                                          </p:stCondLst>
                                        </p:cTn>
                                        <p:tgtEl>
                                          <p:spTgt spid="43"/>
                                        </p:tgtEl>
                                        <p:attrNameLst>
                                          <p:attrName>style.visibility</p:attrName>
                                        </p:attrNameLst>
                                      </p:cBhvr>
                                      <p:to>
                                        <p:strVal val="visible"/>
                                      </p:to>
                                    </p:set>
                                    <p:anim calcmode="lin" valueType="num">
                                      <p:cBhvr additive="base">
                                        <p:cTn id="84" dur="750" fill="hold"/>
                                        <p:tgtEl>
                                          <p:spTgt spid="43"/>
                                        </p:tgtEl>
                                        <p:attrNameLst>
                                          <p:attrName>ppt_x</p:attrName>
                                        </p:attrNameLst>
                                      </p:cBhvr>
                                      <p:tavLst>
                                        <p:tav tm="0">
                                          <p:val>
                                            <p:strVal val="1+#ppt_w/2"/>
                                          </p:val>
                                        </p:tav>
                                        <p:tav tm="100000">
                                          <p:val>
                                            <p:strVal val="#ppt_x"/>
                                          </p:val>
                                        </p:tav>
                                      </p:tavLst>
                                    </p:anim>
                                    <p:anim calcmode="lin" valueType="num">
                                      <p:cBhvr additive="base">
                                        <p:cTn id="85" dur="750" fill="hold"/>
                                        <p:tgtEl>
                                          <p:spTgt spid="4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P spid="41" grpId="1"/>
      <p:bldP spid="41" grpId="2"/>
      <p:bldP spid="73" grpId="0"/>
      <p:bldP spid="73" grpId="1"/>
      <p:bldP spid="73" grpId="2"/>
      <p:bldP spid="4" grpId="0"/>
      <p:bldP spid="45" grpId="0"/>
      <p:bldP spid="46" grpId="0"/>
      <p:bldP spid="58" grpId="0"/>
    </p:bldLst>
  </p:timing>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43"/>
          <p:cNvSpPr>
            <a:spLocks noGrp="1"/>
          </p:cNvSpPr>
          <p:nvPr>
            <p:ph type="title"/>
          </p:nvPr>
        </p:nvSpPr>
        <p:spPr/>
        <p:txBody>
          <a:bodyPr>
            <a:normAutofit/>
          </a:bodyPr>
          <a:lstStyle/>
          <a:p>
            <a:r>
              <a:rPr lang="en-US" dirty="0" smtClean="0"/>
              <a:t>System Center 2012 Configuration Manager</a:t>
            </a:r>
            <a:endParaRPr lang="en-US" dirty="0"/>
          </a:p>
        </p:txBody>
      </p:sp>
      <p:grpSp>
        <p:nvGrpSpPr>
          <p:cNvPr id="2" name="Group 1"/>
          <p:cNvGrpSpPr/>
          <p:nvPr/>
        </p:nvGrpSpPr>
        <p:grpSpPr>
          <a:xfrm>
            <a:off x="402540" y="1393770"/>
            <a:ext cx="2675317" cy="3291840"/>
            <a:chOff x="536581" y="1858360"/>
            <a:chExt cx="3566160" cy="4389120"/>
          </a:xfrm>
        </p:grpSpPr>
        <p:sp>
          <p:nvSpPr>
            <p:cNvPr id="78" name="TextBox 77"/>
            <p:cNvSpPr txBox="1"/>
            <p:nvPr/>
          </p:nvSpPr>
          <p:spPr>
            <a:xfrm>
              <a:off x="536581" y="2120751"/>
              <a:ext cx="3566160" cy="492443"/>
            </a:xfrm>
            <a:prstGeom prst="rect">
              <a:avLst/>
            </a:prstGeom>
            <a:noFill/>
          </p:spPr>
          <p:txBody>
            <a:bodyPr wrap="square" rtlCol="0">
              <a:spAutoFit/>
            </a:bodyPr>
            <a:lstStyle/>
            <a:p>
              <a:pPr algn="ctr"/>
              <a:r>
                <a:rPr lang="en-US" sz="1800" b="1" dirty="0">
                  <a:solidFill>
                    <a:srgbClr val="FFFFFF"/>
                  </a:solidFill>
                  <a:latin typeface="Segoe Semibold" pitchFamily="34" charset="0"/>
                  <a:cs typeface="Arial" pitchFamily="34" charset="0"/>
                </a:rPr>
                <a:t>Empower Users</a:t>
              </a:r>
            </a:p>
          </p:txBody>
        </p:sp>
        <p:sp>
          <p:nvSpPr>
            <p:cNvPr id="33" name="Rectangle 32"/>
            <p:cNvSpPr/>
            <p:nvPr/>
          </p:nvSpPr>
          <p:spPr bwMode="auto">
            <a:xfrm>
              <a:off x="536581" y="1858360"/>
              <a:ext cx="3566160" cy="4389120"/>
            </a:xfrm>
            <a:prstGeom prst="rect">
              <a:avLst/>
            </a:prstGeom>
            <a:ln w="12700">
              <a:solidFill>
                <a:srgbClr val="FFFFFF"/>
              </a:solidFill>
              <a:prstDash val="sysDot"/>
            </a:ln>
          </p:spPr>
          <p:txBody>
            <a:bodyPr vert="horz" wrap="square" lIns="137160" tIns="137160" rIns="45720" bIns="137160" numCol="1" rtlCol="0" anchor="t" anchorCtr="0" compatLnSpc="1">
              <a:prstTxWarp prst="textNoShape">
                <a:avLst/>
              </a:prstTxWarp>
            </a:bodyPr>
            <a:lstStyle/>
            <a:p>
              <a:pPr algn="ctr" defTabSz="685754" fontAlgn="base">
                <a:spcBef>
                  <a:spcPct val="0"/>
                </a:spcBef>
                <a:spcAft>
                  <a:spcPct val="0"/>
                </a:spcAft>
                <a:defRPr/>
              </a:pPr>
              <a:endParaRPr lang="en-US" kern="0" dirty="0">
                <a:solidFill>
                  <a:srgbClr val="FFFFFF"/>
                </a:solidFill>
                <a:latin typeface="Segoe Light"/>
                <a:ea typeface="Segoe UI" pitchFamily="34" charset="0"/>
                <a:cs typeface="Segoe UI" pitchFamily="34" charset="0"/>
              </a:endParaRPr>
            </a:p>
          </p:txBody>
        </p:sp>
        <p:sp>
          <p:nvSpPr>
            <p:cNvPr id="34" name="Rectangle 33"/>
            <p:cNvSpPr/>
            <p:nvPr/>
          </p:nvSpPr>
          <p:spPr>
            <a:xfrm>
              <a:off x="823698" y="4546420"/>
              <a:ext cx="2991926" cy="1354217"/>
            </a:xfrm>
            <a:prstGeom prst="rect">
              <a:avLst/>
            </a:prstGeom>
          </p:spPr>
          <p:txBody>
            <a:bodyPr wrap="square">
              <a:spAutoFit/>
            </a:bodyPr>
            <a:lstStyle/>
            <a:p>
              <a:pPr algn="ctr"/>
              <a:r>
                <a:rPr lang="en-US" sz="1500" dirty="0">
                  <a:solidFill>
                    <a:srgbClr val="FFFFFF"/>
                  </a:solidFill>
                  <a:latin typeface="Segoe" pitchFamily="34" charset="0"/>
                  <a:cs typeface="Arial" pitchFamily="34" charset="0"/>
                </a:rPr>
                <a:t>Empower people to be more productive from almost anywhere on almost any device. </a:t>
              </a:r>
            </a:p>
          </p:txBody>
        </p:sp>
        <p:grpSp>
          <p:nvGrpSpPr>
            <p:cNvPr id="14" name="Group 13"/>
            <p:cNvGrpSpPr/>
            <p:nvPr/>
          </p:nvGrpSpPr>
          <p:grpSpPr>
            <a:xfrm>
              <a:off x="1557324" y="2734553"/>
              <a:ext cx="1524674" cy="1388894"/>
              <a:chOff x="1573530" y="2777697"/>
              <a:chExt cx="1304930" cy="1188720"/>
            </a:xfrm>
          </p:grpSpPr>
          <p:pic>
            <p:nvPicPr>
              <p:cNvPr id="30" name="Picture 3" descr="\\MAGNUM\Projects\Microsoft\Cloud Power FY12\Design\ICONS_PNG\User.png"/>
              <p:cNvPicPr>
                <a:picLocks noChangeAspect="1" noChangeArrowheads="1"/>
              </p:cNvPicPr>
              <p:nvPr/>
            </p:nvPicPr>
            <p:blipFill>
              <a:blip r:embed="rId3" cstate="print">
                <a:biLevel thresh="25000"/>
              </a:blip>
              <a:srcRect/>
              <a:stretch>
                <a:fillRect/>
              </a:stretch>
            </p:blipFill>
            <p:spPr bwMode="auto">
              <a:xfrm>
                <a:off x="1573530" y="2777697"/>
                <a:ext cx="1188720" cy="1188720"/>
              </a:xfrm>
              <a:prstGeom prst="rect">
                <a:avLst/>
              </a:prstGeom>
              <a:noFill/>
            </p:spPr>
          </p:pic>
          <p:pic>
            <p:nvPicPr>
              <p:cNvPr id="13" name="Picture 12"/>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flipH="1">
                <a:off x="2466980" y="3041789"/>
                <a:ext cx="411480" cy="608143"/>
              </a:xfrm>
              <a:prstGeom prst="rect">
                <a:avLst/>
              </a:prstGeom>
            </p:spPr>
          </p:pic>
        </p:grpSp>
      </p:grpSp>
      <p:grpSp>
        <p:nvGrpSpPr>
          <p:cNvPr id="4" name="Group 3"/>
          <p:cNvGrpSpPr/>
          <p:nvPr/>
        </p:nvGrpSpPr>
        <p:grpSpPr>
          <a:xfrm>
            <a:off x="6060317" y="1393770"/>
            <a:ext cx="2675317" cy="3291840"/>
            <a:chOff x="8078317" y="1858360"/>
            <a:chExt cx="3566160" cy="4389120"/>
          </a:xfrm>
        </p:grpSpPr>
        <p:sp>
          <p:nvSpPr>
            <p:cNvPr id="79" name="TextBox 78"/>
            <p:cNvSpPr txBox="1"/>
            <p:nvPr/>
          </p:nvSpPr>
          <p:spPr>
            <a:xfrm>
              <a:off x="8091732" y="2120751"/>
              <a:ext cx="3539331" cy="861775"/>
            </a:xfrm>
            <a:prstGeom prst="rect">
              <a:avLst/>
            </a:prstGeom>
            <a:noFill/>
          </p:spPr>
          <p:txBody>
            <a:bodyPr wrap="square" rtlCol="0">
              <a:spAutoFit/>
            </a:bodyPr>
            <a:lstStyle/>
            <a:p>
              <a:pPr algn="ctr"/>
              <a:r>
                <a:rPr lang="en-US" sz="1800" b="1" dirty="0">
                  <a:solidFill>
                    <a:srgbClr val="FFFFFF"/>
                  </a:solidFill>
                  <a:latin typeface="Segoe Semibold" pitchFamily="34" charset="0"/>
                  <a:cs typeface="Arial" pitchFamily="34" charset="0"/>
                </a:rPr>
                <a:t>Simplify Administration</a:t>
              </a:r>
            </a:p>
          </p:txBody>
        </p:sp>
        <p:sp>
          <p:nvSpPr>
            <p:cNvPr id="43" name="Rectangle 42"/>
            <p:cNvSpPr/>
            <p:nvPr/>
          </p:nvSpPr>
          <p:spPr>
            <a:xfrm>
              <a:off x="8078317" y="4546420"/>
              <a:ext cx="3566160" cy="738664"/>
            </a:xfrm>
            <a:prstGeom prst="rect">
              <a:avLst/>
            </a:prstGeom>
          </p:spPr>
          <p:txBody>
            <a:bodyPr wrap="square">
              <a:spAutoFit/>
            </a:bodyPr>
            <a:lstStyle/>
            <a:p>
              <a:pPr algn="ctr"/>
              <a:r>
                <a:rPr lang="en-US" sz="1500" dirty="0">
                  <a:solidFill>
                    <a:srgbClr val="FFFFFF"/>
                  </a:solidFill>
                  <a:latin typeface="Segoe" pitchFamily="34" charset="0"/>
                  <a:cs typeface="Arial" pitchFamily="34" charset="0"/>
                </a:rPr>
                <a:t>Improve IT effectiveness </a:t>
              </a:r>
              <a:br>
                <a:rPr lang="en-US" sz="1500" dirty="0">
                  <a:solidFill>
                    <a:srgbClr val="FFFFFF"/>
                  </a:solidFill>
                  <a:latin typeface="Segoe" pitchFamily="34" charset="0"/>
                  <a:cs typeface="Arial" pitchFamily="34" charset="0"/>
                </a:rPr>
              </a:br>
              <a:r>
                <a:rPr lang="en-US" sz="1500" dirty="0">
                  <a:solidFill>
                    <a:srgbClr val="FFFFFF"/>
                  </a:solidFill>
                  <a:latin typeface="Segoe" pitchFamily="34" charset="0"/>
                  <a:cs typeface="Arial" pitchFamily="34" charset="0"/>
                </a:rPr>
                <a:t>and efficiency.</a:t>
              </a:r>
            </a:p>
          </p:txBody>
        </p:sp>
        <p:sp>
          <p:nvSpPr>
            <p:cNvPr id="36" name="Rectangle 35"/>
            <p:cNvSpPr/>
            <p:nvPr/>
          </p:nvSpPr>
          <p:spPr bwMode="auto">
            <a:xfrm>
              <a:off x="8078317" y="1858360"/>
              <a:ext cx="3566160" cy="4389120"/>
            </a:xfrm>
            <a:prstGeom prst="rect">
              <a:avLst/>
            </a:prstGeom>
            <a:ln w="12700">
              <a:solidFill>
                <a:srgbClr val="FFFFFF"/>
              </a:solidFill>
              <a:prstDash val="sysDot"/>
            </a:ln>
          </p:spPr>
          <p:txBody>
            <a:bodyPr vert="horz" wrap="square" lIns="137160" tIns="137160" rIns="45720" bIns="137160" numCol="1" rtlCol="0" anchor="t" anchorCtr="0" compatLnSpc="1">
              <a:prstTxWarp prst="textNoShape">
                <a:avLst/>
              </a:prstTxWarp>
            </a:bodyPr>
            <a:lstStyle/>
            <a:p>
              <a:pPr algn="ctr" defTabSz="685754" fontAlgn="base">
                <a:spcBef>
                  <a:spcPct val="0"/>
                </a:spcBef>
                <a:spcAft>
                  <a:spcPct val="0"/>
                </a:spcAft>
                <a:defRPr/>
              </a:pPr>
              <a:endParaRPr lang="en-US" kern="0" dirty="0">
                <a:solidFill>
                  <a:srgbClr val="FFFFFF"/>
                </a:solidFill>
                <a:latin typeface="Segoe Light"/>
                <a:ea typeface="Segoe UI" pitchFamily="34" charset="0"/>
                <a:cs typeface="Segoe UI" pitchFamily="34" charset="0"/>
              </a:endParaRPr>
            </a:p>
          </p:txBody>
        </p:sp>
        <p:pic>
          <p:nvPicPr>
            <p:cNvPr id="15" name="Picture 14"/>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8850924" y="3204584"/>
              <a:ext cx="724565" cy="896249"/>
            </a:xfrm>
            <a:prstGeom prst="rect">
              <a:avLst/>
            </a:prstGeom>
          </p:spPr>
        </p:pic>
        <p:grpSp>
          <p:nvGrpSpPr>
            <p:cNvPr id="19" name="Group 18"/>
            <p:cNvGrpSpPr/>
            <p:nvPr/>
          </p:nvGrpSpPr>
          <p:grpSpPr>
            <a:xfrm>
              <a:off x="9570411" y="3028765"/>
              <a:ext cx="1021601" cy="798337"/>
              <a:chOff x="9570411" y="2856637"/>
              <a:chExt cx="1021601" cy="798337"/>
            </a:xfrm>
          </p:grpSpPr>
          <p:pic>
            <p:nvPicPr>
              <p:cNvPr id="16" name="Picture 15"/>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9570411" y="2856637"/>
                <a:ext cx="1021601" cy="798337"/>
              </a:xfrm>
              <a:prstGeom prst="rect">
                <a:avLst/>
              </a:prstGeom>
            </p:spPr>
          </p:pic>
          <p:cxnSp>
            <p:nvCxnSpPr>
              <p:cNvPr id="18" name="Straight Connector 17"/>
              <p:cNvCxnSpPr/>
              <p:nvPr/>
            </p:nvCxnSpPr>
            <p:spPr>
              <a:xfrm>
                <a:off x="9763539" y="3200400"/>
                <a:ext cx="453887"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6" name="Straight Connector 55"/>
              <p:cNvCxnSpPr/>
              <p:nvPr/>
            </p:nvCxnSpPr>
            <p:spPr>
              <a:xfrm>
                <a:off x="9763539" y="3276600"/>
                <a:ext cx="453887"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7" name="Straight Connector 56"/>
              <p:cNvCxnSpPr/>
              <p:nvPr/>
            </p:nvCxnSpPr>
            <p:spPr>
              <a:xfrm>
                <a:off x="9763539" y="3352800"/>
                <a:ext cx="453887"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8" name="Straight Connector 57"/>
              <p:cNvCxnSpPr/>
              <p:nvPr/>
            </p:nvCxnSpPr>
            <p:spPr>
              <a:xfrm>
                <a:off x="9763539" y="3429000"/>
                <a:ext cx="453887"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grpSp>
      </p:grpSp>
      <p:grpSp>
        <p:nvGrpSpPr>
          <p:cNvPr id="3" name="Group 2"/>
          <p:cNvGrpSpPr/>
          <p:nvPr/>
        </p:nvGrpSpPr>
        <p:grpSpPr>
          <a:xfrm>
            <a:off x="3230414" y="1393770"/>
            <a:ext cx="2675317" cy="3291840"/>
            <a:chOff x="4306096" y="1858360"/>
            <a:chExt cx="3566160" cy="4389120"/>
          </a:xfrm>
        </p:grpSpPr>
        <p:sp>
          <p:nvSpPr>
            <p:cNvPr id="75" name="TextBox 74"/>
            <p:cNvSpPr txBox="1"/>
            <p:nvPr/>
          </p:nvSpPr>
          <p:spPr>
            <a:xfrm>
              <a:off x="4306097" y="2120751"/>
              <a:ext cx="3566159" cy="492443"/>
            </a:xfrm>
            <a:prstGeom prst="rect">
              <a:avLst/>
            </a:prstGeom>
            <a:noFill/>
          </p:spPr>
          <p:txBody>
            <a:bodyPr wrap="square" rtlCol="0">
              <a:spAutoFit/>
            </a:bodyPr>
            <a:lstStyle/>
            <a:p>
              <a:pPr algn="ctr"/>
              <a:r>
                <a:rPr lang="en-US" sz="1800" b="1" dirty="0">
                  <a:solidFill>
                    <a:srgbClr val="FFFFFF"/>
                  </a:solidFill>
                  <a:latin typeface="Segoe Semibold" pitchFamily="34" charset="0"/>
                  <a:cs typeface="Arial" pitchFamily="34" charset="0"/>
                </a:rPr>
                <a:t>Unify Infrastructure</a:t>
              </a:r>
            </a:p>
          </p:txBody>
        </p:sp>
        <p:sp>
          <p:nvSpPr>
            <p:cNvPr id="42" name="Rectangle 41"/>
            <p:cNvSpPr/>
            <p:nvPr/>
          </p:nvSpPr>
          <p:spPr>
            <a:xfrm>
              <a:off x="4306097" y="4546420"/>
              <a:ext cx="3566159" cy="1046440"/>
            </a:xfrm>
            <a:prstGeom prst="rect">
              <a:avLst/>
            </a:prstGeom>
          </p:spPr>
          <p:txBody>
            <a:bodyPr wrap="square">
              <a:spAutoFit/>
            </a:bodyPr>
            <a:lstStyle/>
            <a:p>
              <a:pPr algn="ctr"/>
              <a:r>
                <a:rPr lang="en-US" sz="1500" dirty="0">
                  <a:solidFill>
                    <a:srgbClr val="FFFFFF"/>
                  </a:solidFill>
                  <a:latin typeface="Segoe" pitchFamily="34" charset="0"/>
                  <a:cs typeface="Arial" pitchFamily="34" charset="0"/>
                </a:rPr>
                <a:t>Reduce costs by unifying </a:t>
              </a:r>
              <a:br>
                <a:rPr lang="en-US" sz="1500" dirty="0">
                  <a:solidFill>
                    <a:srgbClr val="FFFFFF"/>
                  </a:solidFill>
                  <a:latin typeface="Segoe" pitchFamily="34" charset="0"/>
                  <a:cs typeface="Arial" pitchFamily="34" charset="0"/>
                </a:rPr>
              </a:br>
              <a:r>
                <a:rPr lang="en-US" sz="1500" dirty="0">
                  <a:solidFill>
                    <a:srgbClr val="FFFFFF"/>
                  </a:solidFill>
                  <a:latin typeface="Segoe" pitchFamily="34" charset="0"/>
                  <a:cs typeface="Arial" pitchFamily="34" charset="0"/>
                </a:rPr>
                <a:t>IT management </a:t>
              </a:r>
              <a:br>
                <a:rPr lang="en-US" sz="1500" dirty="0">
                  <a:solidFill>
                    <a:srgbClr val="FFFFFF"/>
                  </a:solidFill>
                  <a:latin typeface="Segoe" pitchFamily="34" charset="0"/>
                  <a:cs typeface="Arial" pitchFamily="34" charset="0"/>
                </a:rPr>
              </a:br>
              <a:r>
                <a:rPr lang="en-US" sz="1500" dirty="0">
                  <a:solidFill>
                    <a:srgbClr val="FFFFFF"/>
                  </a:solidFill>
                  <a:latin typeface="Segoe" pitchFamily="34" charset="0"/>
                  <a:cs typeface="Arial" pitchFamily="34" charset="0"/>
                </a:rPr>
                <a:t>infrastructure.</a:t>
              </a:r>
            </a:p>
          </p:txBody>
        </p:sp>
        <p:sp>
          <p:nvSpPr>
            <p:cNvPr id="35" name="Rectangle 34"/>
            <p:cNvSpPr/>
            <p:nvPr/>
          </p:nvSpPr>
          <p:spPr bwMode="auto">
            <a:xfrm>
              <a:off x="4306096" y="1858360"/>
              <a:ext cx="3566160" cy="4389120"/>
            </a:xfrm>
            <a:prstGeom prst="rect">
              <a:avLst/>
            </a:prstGeom>
            <a:ln w="12700">
              <a:solidFill>
                <a:srgbClr val="FFFFFF"/>
              </a:solidFill>
              <a:prstDash val="sysDot"/>
            </a:ln>
          </p:spPr>
          <p:txBody>
            <a:bodyPr vert="horz" wrap="square" lIns="137160" tIns="137160" rIns="45720" bIns="137160" numCol="1" rtlCol="0" anchor="t" anchorCtr="0" compatLnSpc="1">
              <a:prstTxWarp prst="textNoShape">
                <a:avLst/>
              </a:prstTxWarp>
            </a:bodyPr>
            <a:lstStyle/>
            <a:p>
              <a:pPr algn="ctr" defTabSz="685754" fontAlgn="base">
                <a:spcBef>
                  <a:spcPct val="0"/>
                </a:spcBef>
                <a:spcAft>
                  <a:spcPct val="0"/>
                </a:spcAft>
                <a:defRPr/>
              </a:pPr>
              <a:endParaRPr lang="en-US" kern="0" dirty="0">
                <a:solidFill>
                  <a:srgbClr val="FFFFFF"/>
                </a:solidFill>
                <a:latin typeface="Segoe Light"/>
                <a:ea typeface="Segoe UI" pitchFamily="34" charset="0"/>
                <a:cs typeface="Segoe UI" pitchFamily="34" charset="0"/>
              </a:endParaRPr>
            </a:p>
          </p:txBody>
        </p:sp>
        <p:pic>
          <p:nvPicPr>
            <p:cNvPr id="37" name="Picture 36"/>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677697" y="2856637"/>
              <a:ext cx="640080" cy="412108"/>
            </a:xfrm>
            <a:prstGeom prst="rect">
              <a:avLst/>
            </a:prstGeom>
          </p:spPr>
        </p:pic>
        <p:pic>
          <p:nvPicPr>
            <p:cNvPr id="45" name="Picture 44"/>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037617" y="3736066"/>
              <a:ext cx="640080" cy="412108"/>
            </a:xfrm>
            <a:prstGeom prst="rect">
              <a:avLst/>
            </a:prstGeom>
          </p:spPr>
        </p:pic>
        <p:pic>
          <p:nvPicPr>
            <p:cNvPr id="47" name="Picture 46"/>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341431" y="3736066"/>
              <a:ext cx="640080" cy="412108"/>
            </a:xfrm>
            <a:prstGeom prst="rect">
              <a:avLst/>
            </a:prstGeom>
          </p:spPr>
        </p:pic>
        <p:cxnSp>
          <p:nvCxnSpPr>
            <p:cNvPr id="51" name="Straight Connector 50"/>
            <p:cNvCxnSpPr/>
            <p:nvPr/>
          </p:nvCxnSpPr>
          <p:spPr>
            <a:xfrm>
              <a:off x="6415928" y="3200400"/>
              <a:ext cx="182880" cy="365760"/>
            </a:xfrm>
            <a:prstGeom prst="line">
              <a:avLst/>
            </a:prstGeom>
            <a:noFill/>
            <a:ln w="19050" cap="rnd" cmpd="sng" algn="ctr">
              <a:solidFill>
                <a:srgbClr val="FFFFFF"/>
              </a:solidFill>
              <a:prstDash val="sysDot"/>
              <a:headEnd type="none"/>
              <a:tailEnd type="none"/>
            </a:ln>
            <a:effectLst/>
          </p:spPr>
        </p:cxnSp>
        <p:cxnSp>
          <p:nvCxnSpPr>
            <p:cNvPr id="54" name="Straight Connector 53"/>
            <p:cNvCxnSpPr/>
            <p:nvPr/>
          </p:nvCxnSpPr>
          <p:spPr>
            <a:xfrm flipH="1" flipV="1">
              <a:off x="5745483" y="3942120"/>
              <a:ext cx="457200" cy="1"/>
            </a:xfrm>
            <a:prstGeom prst="line">
              <a:avLst/>
            </a:prstGeom>
            <a:noFill/>
            <a:ln w="19050" cap="rnd" cmpd="sng" algn="ctr">
              <a:solidFill>
                <a:srgbClr val="FFFFFF"/>
              </a:solidFill>
              <a:prstDash val="sysDot"/>
              <a:headEnd type="none"/>
              <a:tailEnd type="none"/>
            </a:ln>
            <a:effectLst/>
          </p:spPr>
        </p:cxnSp>
        <p:cxnSp>
          <p:nvCxnSpPr>
            <p:cNvPr id="59" name="Straight Connector 58"/>
            <p:cNvCxnSpPr/>
            <p:nvPr/>
          </p:nvCxnSpPr>
          <p:spPr>
            <a:xfrm flipH="1">
              <a:off x="5378132" y="3200400"/>
              <a:ext cx="182880" cy="365760"/>
            </a:xfrm>
            <a:prstGeom prst="line">
              <a:avLst/>
            </a:prstGeom>
            <a:noFill/>
            <a:ln w="19050" cap="rnd" cmpd="sng" algn="ctr">
              <a:solidFill>
                <a:srgbClr val="FFFFFF"/>
              </a:solidFill>
              <a:prstDash val="sysDot"/>
              <a:headEnd type="none"/>
              <a:tailEnd type="none"/>
            </a:ln>
            <a:effectLst/>
          </p:spPr>
        </p:cxnSp>
      </p:grpSp>
      <p:sp>
        <p:nvSpPr>
          <p:cNvPr id="31"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2"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8"/>
              </a:rPr>
              <a:t>www.rapidbbs.cn</a:t>
            </a:r>
            <a:endParaRPr lang="zh-CN" altLang="en-US" sz="1200" b="0">
              <a:latin typeface="Arial" charset="0"/>
              <a:ea typeface="ＭＳ Ｐゴシック" pitchFamily="34" charset="-128"/>
            </a:endParaRPr>
          </a:p>
        </p:txBody>
      </p:sp>
      <p:pic>
        <p:nvPicPr>
          <p:cNvPr id="38" name="Picture 2">
            <a:hlinkClick r:id="rId8"/>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17403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1000"/>
                                        <p:tgtEl>
                                          <p:spTgt spid="3"/>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p:cNvSpPr/>
          <p:nvPr/>
        </p:nvSpPr>
        <p:spPr>
          <a:xfrm>
            <a:off x="341798" y="1733615"/>
            <a:ext cx="1783544" cy="10499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t" anchorCtr="0"/>
          <a:lstStyle/>
          <a:p>
            <a:r>
              <a:rPr lang="en-US" dirty="0">
                <a:solidFill>
                  <a:srgbClr val="FFFFFF"/>
                </a:solidFill>
              </a:rPr>
              <a:t>Application “Package”</a:t>
            </a:r>
          </a:p>
        </p:txBody>
      </p:sp>
      <p:sp>
        <p:nvSpPr>
          <p:cNvPr id="2" name="Title 1"/>
          <p:cNvSpPr>
            <a:spLocks noGrp="1"/>
          </p:cNvSpPr>
          <p:nvPr>
            <p:ph type="title"/>
          </p:nvPr>
        </p:nvSpPr>
        <p:spPr>
          <a:xfrm>
            <a:off x="389436" y="171460"/>
            <a:ext cx="8363938" cy="789447"/>
          </a:xfrm>
        </p:spPr>
        <p:txBody>
          <a:bodyPr/>
          <a:lstStyle/>
          <a:p>
            <a:r>
              <a:rPr lang="en-US" dirty="0" smtClean="0"/>
              <a:t>User-centric Application Delivery</a:t>
            </a:r>
            <a:br>
              <a:rPr lang="en-US" dirty="0" smtClean="0"/>
            </a:br>
            <a:r>
              <a:rPr lang="en-US" sz="2400" dirty="0"/>
              <a:t>New Application Model</a:t>
            </a:r>
          </a:p>
        </p:txBody>
      </p:sp>
      <p:sp>
        <p:nvSpPr>
          <p:cNvPr id="20" name="Rectangle 19"/>
          <p:cNvSpPr/>
          <p:nvPr/>
        </p:nvSpPr>
        <p:spPr bwMode="auto">
          <a:xfrm>
            <a:off x="4385238" y="1762854"/>
            <a:ext cx="3704285" cy="274320"/>
          </a:xfrm>
          <a:prstGeom prst="rect">
            <a:avLst/>
          </a:prstGeom>
          <a:solidFill>
            <a:schemeClr val="accent3"/>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lIns="137172" tIns="34294" rIns="68586" bIns="34294" rtlCol="0" anchor="ctr"/>
          <a:lstStyle/>
          <a:p>
            <a:r>
              <a:rPr lang="en-US" sz="1100" dirty="0">
                <a:solidFill>
                  <a:srgbClr val="FFFFFF">
                    <a:alpha val="99000"/>
                  </a:srgbClr>
                </a:solidFill>
              </a:rPr>
              <a:t>Keep your apps organized and managed</a:t>
            </a:r>
          </a:p>
        </p:txBody>
      </p:sp>
      <p:sp>
        <p:nvSpPr>
          <p:cNvPr id="25" name="Oval 24"/>
          <p:cNvSpPr/>
          <p:nvPr/>
        </p:nvSpPr>
        <p:spPr>
          <a:xfrm>
            <a:off x="4034265" y="1797144"/>
            <a:ext cx="205794" cy="205740"/>
          </a:xfrm>
          <a:custGeom>
            <a:avLst/>
            <a:gdLst/>
            <a:ahLst/>
            <a:cxnLst/>
            <a:rect l="l" t="t" r="r" b="b"/>
            <a:pathLst>
              <a:path w="443524" h="432548">
                <a:moveTo>
                  <a:pt x="226354" y="51957"/>
                </a:moveTo>
                <a:lnTo>
                  <a:pt x="226354" y="134116"/>
                </a:lnTo>
                <a:lnTo>
                  <a:pt x="52851" y="134116"/>
                </a:lnTo>
                <a:lnTo>
                  <a:pt x="52851" y="298433"/>
                </a:lnTo>
                <a:lnTo>
                  <a:pt x="226354" y="298433"/>
                </a:lnTo>
                <a:lnTo>
                  <a:pt x="226354" y="380592"/>
                </a:lnTo>
                <a:lnTo>
                  <a:pt x="390671" y="216275"/>
                </a:lnTo>
                <a:close/>
                <a:moveTo>
                  <a:pt x="221762" y="0"/>
                </a:moveTo>
                <a:cubicBezTo>
                  <a:pt x="344238" y="0"/>
                  <a:pt x="443524" y="96829"/>
                  <a:pt x="443524" y="216274"/>
                </a:cubicBezTo>
                <a:cubicBezTo>
                  <a:pt x="443524" y="335719"/>
                  <a:pt x="344238" y="432548"/>
                  <a:pt x="221762" y="432548"/>
                </a:cubicBezTo>
                <a:cubicBezTo>
                  <a:pt x="99286" y="432548"/>
                  <a:pt x="0" y="335719"/>
                  <a:pt x="0" y="216274"/>
                </a:cubicBezTo>
                <a:cubicBezTo>
                  <a:pt x="0" y="96829"/>
                  <a:pt x="99286" y="0"/>
                  <a:pt x="221762" y="0"/>
                </a:cubicBez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endParaRPr lang="en-US" sz="800" dirty="0">
              <a:solidFill>
                <a:srgbClr val="FFFFFF"/>
              </a:solidFill>
            </a:endParaRPr>
          </a:p>
        </p:txBody>
      </p:sp>
      <p:sp>
        <p:nvSpPr>
          <p:cNvPr id="3" name="TextBox 2"/>
          <p:cNvSpPr txBox="1"/>
          <p:nvPr/>
        </p:nvSpPr>
        <p:spPr>
          <a:xfrm>
            <a:off x="969455" y="2893486"/>
            <a:ext cx="793734" cy="242372"/>
          </a:xfrm>
          <a:prstGeom prst="rect">
            <a:avLst/>
          </a:prstGeom>
          <a:noFill/>
        </p:spPr>
        <p:txBody>
          <a:bodyPr wrap="square" lIns="68586" tIns="34294" rIns="68586" bIns="34294" rtlCol="0">
            <a:spAutoFit/>
          </a:bodyPr>
          <a:lstStyle/>
          <a:p>
            <a:r>
              <a:rPr lang="en-US" sz="1100" dirty="0">
                <a:solidFill>
                  <a:srgbClr val="FFFFFF"/>
                </a:solidFill>
              </a:rPr>
              <a:t>App-V</a:t>
            </a:r>
          </a:p>
        </p:txBody>
      </p:sp>
      <p:sp>
        <p:nvSpPr>
          <p:cNvPr id="58" name="TextBox 57"/>
          <p:cNvSpPr txBox="1"/>
          <p:nvPr/>
        </p:nvSpPr>
        <p:spPr>
          <a:xfrm>
            <a:off x="969455" y="3204622"/>
            <a:ext cx="1176570" cy="242372"/>
          </a:xfrm>
          <a:prstGeom prst="rect">
            <a:avLst/>
          </a:prstGeom>
          <a:noFill/>
        </p:spPr>
        <p:txBody>
          <a:bodyPr wrap="square" lIns="68586" tIns="34294" rIns="68586" bIns="34294" rtlCol="0">
            <a:spAutoFit/>
          </a:bodyPr>
          <a:lstStyle/>
          <a:p>
            <a:r>
              <a:rPr lang="en-US" sz="1100" dirty="0">
                <a:solidFill>
                  <a:srgbClr val="FFFFFF"/>
                </a:solidFill>
              </a:rPr>
              <a:t>Windows Script</a:t>
            </a:r>
          </a:p>
        </p:txBody>
      </p:sp>
      <p:sp>
        <p:nvSpPr>
          <p:cNvPr id="59" name="TextBox 58"/>
          <p:cNvSpPr txBox="1"/>
          <p:nvPr/>
        </p:nvSpPr>
        <p:spPr>
          <a:xfrm>
            <a:off x="969455" y="3851131"/>
            <a:ext cx="1176570" cy="242372"/>
          </a:xfrm>
          <a:prstGeom prst="rect">
            <a:avLst/>
          </a:prstGeom>
          <a:noFill/>
        </p:spPr>
        <p:txBody>
          <a:bodyPr wrap="square" lIns="68586" tIns="34294" rIns="68586" bIns="34294" rtlCol="0">
            <a:spAutoFit/>
          </a:bodyPr>
          <a:lstStyle/>
          <a:p>
            <a:r>
              <a:rPr lang="en-US" sz="1100" dirty="0">
                <a:solidFill>
                  <a:srgbClr val="FFFFFF"/>
                </a:solidFill>
              </a:rPr>
              <a:t>CAB</a:t>
            </a:r>
          </a:p>
        </p:txBody>
      </p:sp>
      <p:sp>
        <p:nvSpPr>
          <p:cNvPr id="60" name="TextBox 59"/>
          <p:cNvSpPr txBox="1"/>
          <p:nvPr/>
        </p:nvSpPr>
        <p:spPr>
          <a:xfrm>
            <a:off x="969456" y="3522601"/>
            <a:ext cx="1378987" cy="242372"/>
          </a:xfrm>
          <a:prstGeom prst="rect">
            <a:avLst/>
          </a:prstGeom>
          <a:noFill/>
        </p:spPr>
        <p:txBody>
          <a:bodyPr wrap="square" lIns="68586" tIns="34294" rIns="68586" bIns="34294" rtlCol="0">
            <a:spAutoFit/>
          </a:bodyPr>
          <a:lstStyle/>
          <a:p>
            <a:r>
              <a:rPr lang="en-US" sz="1100" dirty="0">
                <a:solidFill>
                  <a:srgbClr val="FFFFFF"/>
                </a:solidFill>
              </a:rPr>
              <a:t>Windows Installer</a:t>
            </a:r>
          </a:p>
        </p:txBody>
      </p:sp>
      <p:grpSp>
        <p:nvGrpSpPr>
          <p:cNvPr id="61" name="Group 60"/>
          <p:cNvGrpSpPr/>
          <p:nvPr/>
        </p:nvGrpSpPr>
        <p:grpSpPr>
          <a:xfrm>
            <a:off x="668641" y="3201939"/>
            <a:ext cx="251016" cy="324432"/>
            <a:chOff x="440247" y="2406248"/>
            <a:chExt cx="326321" cy="432576"/>
          </a:xfrm>
        </p:grpSpPr>
        <p:pic>
          <p:nvPicPr>
            <p:cNvPr id="62" name="Picture 3" descr="C:\Users\davidra\Documents\ClipArtforPowerpoint\DVD_ART36\Artwork_Imagery\Icons - Illustrations\_ VIRTUALIZATION ICONS\Windows Logo.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contrast="100000"/>
                      </a14:imgEffect>
                    </a14:imgLayer>
                  </a14:imgProps>
                </a:ext>
              </a:extLst>
            </a:blip>
            <a:srcRect/>
            <a:stretch>
              <a:fillRect/>
            </a:stretch>
          </p:blipFill>
          <p:spPr bwMode="auto">
            <a:xfrm>
              <a:off x="440247" y="2406248"/>
              <a:ext cx="326321" cy="283389"/>
            </a:xfrm>
            <a:prstGeom prst="rect">
              <a:avLst/>
            </a:prstGeom>
            <a:noFill/>
            <a:ln>
              <a:noFill/>
            </a:ln>
          </p:spPr>
        </p:pic>
        <p:pic>
          <p:nvPicPr>
            <p:cNvPr id="63" name="Picture 8" descr="C:\Users\davidra\Documents\ClipArtforPowerpoint\DVD_ART36\Artwork_Imagery\Icons - Illustrations\_ WINDOWS VISTA ICONS\Right Green Arrow.png"/>
            <p:cNvPicPr>
              <a:picLocks noChangeAspect="1" noChangeArrowheads="1"/>
            </p:cNvPicPr>
            <p:nvPr/>
          </p:nvPicPr>
          <p:blipFill>
            <a:blip r:embed="rId5" cstate="print">
              <a:biLevel thresh="25000"/>
            </a:blip>
            <a:srcRect/>
            <a:stretch>
              <a:fillRect/>
            </a:stretch>
          </p:blipFill>
          <p:spPr bwMode="auto">
            <a:xfrm rot="2245939">
              <a:off x="523320" y="2646468"/>
              <a:ext cx="233863" cy="192356"/>
            </a:xfrm>
            <a:prstGeom prst="rect">
              <a:avLst/>
            </a:prstGeom>
            <a:noFill/>
            <a:ln>
              <a:noFill/>
            </a:ln>
          </p:spPr>
        </p:pic>
      </p:grpSp>
      <p:pic>
        <p:nvPicPr>
          <p:cNvPr id="65" name="Picture 2" descr="C:\Users\davidra\Documents\ClipArtforPowerpoint\DVD_ART36\Logos\Visual Studio\Visual C# 2008 Express Edition\Visual C# 2008 Express Edition V Logo.png"/>
          <p:cNvPicPr>
            <a:picLocks noChangeAspect="1" noChangeArrowheads="1"/>
          </p:cNvPicPr>
          <p:nvPr/>
        </p:nvPicPr>
        <p:blipFill>
          <a:blip r:embed="rId6">
            <a:extLst>
              <a:ext uri="{BEBA8EAE-BF5A-486C-A8C5-ECC9F3942E4B}">
                <a14:imgProps xmlns:a14="http://schemas.microsoft.com/office/drawing/2010/main">
                  <a14:imgLayer r:embed="rId7">
                    <a14:imgEffect>
                      <a14:brightnessContrast bright="100000" contrast="100000"/>
                    </a14:imgEffect>
                  </a14:imgLayer>
                </a14:imgProps>
              </a:ext>
            </a:extLst>
          </a:blip>
          <a:srcRect l="29000" r="33000" b="62174"/>
          <a:stretch>
            <a:fillRect/>
          </a:stretch>
        </p:blipFill>
        <p:spPr bwMode="auto">
          <a:xfrm>
            <a:off x="650468" y="3588769"/>
            <a:ext cx="287359" cy="138673"/>
          </a:xfrm>
          <a:prstGeom prst="rect">
            <a:avLst/>
          </a:prstGeom>
          <a:noFill/>
        </p:spPr>
      </p:pic>
      <p:sp>
        <p:nvSpPr>
          <p:cNvPr id="54" name="Rectangle 53"/>
          <p:cNvSpPr/>
          <p:nvPr/>
        </p:nvSpPr>
        <p:spPr>
          <a:xfrm>
            <a:off x="7835230" y="167880"/>
            <a:ext cx="960370" cy="275383"/>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0" tIns="0" rIns="0" bIns="0" rtlCol="0" anchor="ctr" anchorCtr="0"/>
          <a:lstStyle/>
          <a:p>
            <a:pPr algn="ctr"/>
            <a:r>
              <a:rPr lang="en-US" sz="1200" dirty="0">
                <a:solidFill>
                  <a:srgbClr val="FFFFFF"/>
                </a:solidFill>
                <a:ea typeface="Segoe UI" pitchFamily="34" charset="0"/>
                <a:cs typeface="Segoe UI" pitchFamily="34" charset="0"/>
              </a:rPr>
              <a:t>Empower</a:t>
            </a:r>
          </a:p>
        </p:txBody>
      </p:sp>
      <p:sp>
        <p:nvSpPr>
          <p:cNvPr id="55" name="Rectangle 54"/>
          <p:cNvSpPr/>
          <p:nvPr/>
        </p:nvSpPr>
        <p:spPr>
          <a:xfrm>
            <a:off x="2182756" y="1435690"/>
            <a:ext cx="5968014" cy="2581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r>
              <a:rPr lang="en-US" dirty="0" smtClean="0">
                <a:solidFill>
                  <a:srgbClr val="FFFFFF"/>
                </a:solidFill>
              </a:rPr>
              <a:t>General Information</a:t>
            </a:r>
            <a:endParaRPr lang="en-US" dirty="0">
              <a:solidFill>
                <a:srgbClr val="FFFFFF"/>
              </a:solidFill>
            </a:endParaRPr>
          </a:p>
        </p:txBody>
      </p:sp>
      <p:sp>
        <p:nvSpPr>
          <p:cNvPr id="56" name="Rectangle 55"/>
          <p:cNvSpPr/>
          <p:nvPr/>
        </p:nvSpPr>
        <p:spPr>
          <a:xfrm flipH="1">
            <a:off x="2173228" y="1729278"/>
            <a:ext cx="5968014" cy="685800"/>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102880" tIns="102880" rIns="68586" bIns="34294" rtlCol="0" anchor="t" anchorCtr="0"/>
          <a:lstStyle/>
          <a:p>
            <a:r>
              <a:rPr lang="en-US" sz="1100" dirty="0">
                <a:solidFill>
                  <a:srgbClr val="FFFFFF"/>
                </a:solidFill>
                <a:ea typeface="Segoe UI" pitchFamily="34" charset="0"/>
                <a:cs typeface="Segoe UI" pitchFamily="34" charset="0"/>
              </a:rPr>
              <a:t>Administrator Properties</a:t>
            </a:r>
          </a:p>
          <a:p>
            <a:endParaRPr lang="en-US" sz="1100" dirty="0">
              <a:solidFill>
                <a:srgbClr val="FFFFFF"/>
              </a:solidFill>
              <a:ea typeface="Segoe UI" pitchFamily="34" charset="0"/>
              <a:cs typeface="Segoe UI" pitchFamily="34" charset="0"/>
            </a:endParaRPr>
          </a:p>
          <a:p>
            <a:r>
              <a:rPr lang="en-US" sz="1100" dirty="0">
                <a:solidFill>
                  <a:srgbClr val="FFFFFF"/>
                </a:solidFill>
                <a:ea typeface="Segoe UI" pitchFamily="34" charset="0"/>
                <a:cs typeface="Segoe UI" pitchFamily="34" charset="0"/>
              </a:rPr>
              <a:t>End User Metadata</a:t>
            </a:r>
          </a:p>
          <a:p>
            <a:endParaRPr lang="en-US" sz="1100" dirty="0">
              <a:solidFill>
                <a:srgbClr val="FFFFFF"/>
              </a:solidFill>
              <a:ea typeface="Segoe UI" pitchFamily="34" charset="0"/>
              <a:cs typeface="Segoe UI" pitchFamily="34" charset="0"/>
            </a:endParaRPr>
          </a:p>
          <a:p>
            <a:endParaRPr lang="en-US" sz="1100" dirty="0">
              <a:solidFill>
                <a:srgbClr val="FFFFFF"/>
              </a:solidFill>
              <a:ea typeface="Segoe UI" pitchFamily="34" charset="0"/>
              <a:cs typeface="Segoe UI" pitchFamily="34" charset="0"/>
            </a:endParaRPr>
          </a:p>
          <a:p>
            <a:pPr marL="175039" indent="-175039">
              <a:buFont typeface="Arial" pitchFamily="34" charset="0"/>
              <a:buChar char="•"/>
            </a:pPr>
            <a:endParaRPr lang="en-US" sz="1100" dirty="0">
              <a:solidFill>
                <a:srgbClr val="FFFFFF"/>
              </a:solidFill>
              <a:ea typeface="Segoe UI" pitchFamily="34" charset="0"/>
              <a:cs typeface="Segoe UI" pitchFamily="34" charset="0"/>
            </a:endParaRPr>
          </a:p>
        </p:txBody>
      </p:sp>
      <p:sp>
        <p:nvSpPr>
          <p:cNvPr id="57" name="Oval 24"/>
          <p:cNvSpPr/>
          <p:nvPr/>
        </p:nvSpPr>
        <p:spPr>
          <a:xfrm>
            <a:off x="4034265" y="2135282"/>
            <a:ext cx="205794" cy="205740"/>
          </a:xfrm>
          <a:custGeom>
            <a:avLst/>
            <a:gdLst/>
            <a:ahLst/>
            <a:cxnLst/>
            <a:rect l="l" t="t" r="r" b="b"/>
            <a:pathLst>
              <a:path w="443524" h="432548">
                <a:moveTo>
                  <a:pt x="226354" y="51957"/>
                </a:moveTo>
                <a:lnTo>
                  <a:pt x="226354" y="134116"/>
                </a:lnTo>
                <a:lnTo>
                  <a:pt x="52851" y="134116"/>
                </a:lnTo>
                <a:lnTo>
                  <a:pt x="52851" y="298433"/>
                </a:lnTo>
                <a:lnTo>
                  <a:pt x="226354" y="298433"/>
                </a:lnTo>
                <a:lnTo>
                  <a:pt x="226354" y="380592"/>
                </a:lnTo>
                <a:lnTo>
                  <a:pt x="390671" y="216275"/>
                </a:lnTo>
                <a:close/>
                <a:moveTo>
                  <a:pt x="221762" y="0"/>
                </a:moveTo>
                <a:cubicBezTo>
                  <a:pt x="344238" y="0"/>
                  <a:pt x="443524" y="96829"/>
                  <a:pt x="443524" y="216274"/>
                </a:cubicBezTo>
                <a:cubicBezTo>
                  <a:pt x="443524" y="335719"/>
                  <a:pt x="344238" y="432548"/>
                  <a:pt x="221762" y="432548"/>
                </a:cubicBezTo>
                <a:cubicBezTo>
                  <a:pt x="99286" y="432548"/>
                  <a:pt x="0" y="335719"/>
                  <a:pt x="0" y="216274"/>
                </a:cubicBezTo>
                <a:cubicBezTo>
                  <a:pt x="0" y="96829"/>
                  <a:pt x="99286" y="0"/>
                  <a:pt x="221762" y="0"/>
                </a:cubicBez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endParaRPr lang="en-US" sz="800" dirty="0">
              <a:solidFill>
                <a:srgbClr val="FFFFFF"/>
              </a:solidFill>
            </a:endParaRPr>
          </a:p>
        </p:txBody>
      </p:sp>
      <p:sp>
        <p:nvSpPr>
          <p:cNvPr id="66" name="Rectangle 65"/>
          <p:cNvSpPr/>
          <p:nvPr/>
        </p:nvSpPr>
        <p:spPr bwMode="auto">
          <a:xfrm>
            <a:off x="4385238" y="2100992"/>
            <a:ext cx="3704285" cy="274320"/>
          </a:xfrm>
          <a:prstGeom prst="rect">
            <a:avLst/>
          </a:prstGeom>
          <a:solidFill>
            <a:schemeClr val="accent3"/>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lIns="137172" tIns="34294" rIns="68586" bIns="34294" rtlCol="0" anchor="ctr"/>
          <a:lstStyle/>
          <a:p>
            <a:r>
              <a:rPr lang="en-US" sz="1100" dirty="0">
                <a:solidFill>
                  <a:srgbClr val="FFFFFF">
                    <a:alpha val="99000"/>
                  </a:srgbClr>
                </a:solidFill>
              </a:rPr>
              <a:t>The “friendly” information for your users </a:t>
            </a:r>
            <a:r>
              <a:rPr lang="en-US" sz="900" dirty="0">
                <a:solidFill>
                  <a:srgbClr val="FFFFFF">
                    <a:alpha val="99000"/>
                  </a:srgbClr>
                </a:solidFill>
              </a:rPr>
              <a:t>(appears in Catalog)   </a:t>
            </a:r>
            <a:endParaRPr lang="en-US" sz="1100" dirty="0">
              <a:solidFill>
                <a:srgbClr val="FFFFFF">
                  <a:alpha val="99000"/>
                </a:srgbClr>
              </a:solidFill>
            </a:endParaRPr>
          </a:p>
        </p:txBody>
      </p:sp>
      <p:sp>
        <p:nvSpPr>
          <p:cNvPr id="68" name="Rectangle 67"/>
          <p:cNvSpPr/>
          <p:nvPr/>
        </p:nvSpPr>
        <p:spPr bwMode="auto">
          <a:xfrm>
            <a:off x="4385238" y="2877250"/>
            <a:ext cx="3704285" cy="274320"/>
          </a:xfrm>
          <a:prstGeom prst="rect">
            <a:avLst/>
          </a:prstGeom>
          <a:solidFill>
            <a:schemeClr val="accent3"/>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lIns="137172" tIns="34294" rIns="68586" bIns="34294" rtlCol="0" anchor="ctr"/>
          <a:lstStyle/>
          <a:p>
            <a:r>
              <a:rPr lang="en-US" sz="1100" dirty="0">
                <a:solidFill>
                  <a:srgbClr val="FFFFFF">
                    <a:alpha val="99000"/>
                  </a:srgbClr>
                </a:solidFill>
              </a:rPr>
              <a:t>Is app installed?</a:t>
            </a:r>
          </a:p>
        </p:txBody>
      </p:sp>
      <p:sp>
        <p:nvSpPr>
          <p:cNvPr id="69" name="Oval 24"/>
          <p:cNvSpPr/>
          <p:nvPr/>
        </p:nvSpPr>
        <p:spPr>
          <a:xfrm>
            <a:off x="4034265" y="2911540"/>
            <a:ext cx="205794" cy="205740"/>
          </a:xfrm>
          <a:custGeom>
            <a:avLst/>
            <a:gdLst/>
            <a:ahLst/>
            <a:cxnLst/>
            <a:rect l="l" t="t" r="r" b="b"/>
            <a:pathLst>
              <a:path w="443524" h="432548">
                <a:moveTo>
                  <a:pt x="226354" y="51957"/>
                </a:moveTo>
                <a:lnTo>
                  <a:pt x="226354" y="134116"/>
                </a:lnTo>
                <a:lnTo>
                  <a:pt x="52851" y="134116"/>
                </a:lnTo>
                <a:lnTo>
                  <a:pt x="52851" y="298433"/>
                </a:lnTo>
                <a:lnTo>
                  <a:pt x="226354" y="298433"/>
                </a:lnTo>
                <a:lnTo>
                  <a:pt x="226354" y="380592"/>
                </a:lnTo>
                <a:lnTo>
                  <a:pt x="390671" y="216275"/>
                </a:lnTo>
                <a:close/>
                <a:moveTo>
                  <a:pt x="221762" y="0"/>
                </a:moveTo>
                <a:cubicBezTo>
                  <a:pt x="344238" y="0"/>
                  <a:pt x="443524" y="96829"/>
                  <a:pt x="443524" y="216274"/>
                </a:cubicBezTo>
                <a:cubicBezTo>
                  <a:pt x="443524" y="335719"/>
                  <a:pt x="344238" y="432548"/>
                  <a:pt x="221762" y="432548"/>
                </a:cubicBezTo>
                <a:cubicBezTo>
                  <a:pt x="99286" y="432548"/>
                  <a:pt x="0" y="335719"/>
                  <a:pt x="0" y="216274"/>
                </a:cubicBezTo>
                <a:cubicBezTo>
                  <a:pt x="0" y="96829"/>
                  <a:pt x="99286" y="0"/>
                  <a:pt x="221762" y="0"/>
                </a:cubicBez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endParaRPr lang="en-US" sz="800" dirty="0">
              <a:solidFill>
                <a:srgbClr val="FFFFFF"/>
              </a:solidFill>
            </a:endParaRPr>
          </a:p>
        </p:txBody>
      </p:sp>
      <p:sp>
        <p:nvSpPr>
          <p:cNvPr id="70" name="Rectangle 69"/>
          <p:cNvSpPr/>
          <p:nvPr/>
        </p:nvSpPr>
        <p:spPr>
          <a:xfrm>
            <a:off x="2182756" y="2525456"/>
            <a:ext cx="5968014" cy="2581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r>
              <a:rPr lang="en-US" dirty="0">
                <a:solidFill>
                  <a:srgbClr val="FFFFFF"/>
                </a:solidFill>
              </a:rPr>
              <a:t>Deployment Type</a:t>
            </a:r>
          </a:p>
        </p:txBody>
      </p:sp>
      <p:sp>
        <p:nvSpPr>
          <p:cNvPr id="71" name="Rectangle 70"/>
          <p:cNvSpPr/>
          <p:nvPr/>
        </p:nvSpPr>
        <p:spPr>
          <a:xfrm flipH="1">
            <a:off x="2182756" y="2820619"/>
            <a:ext cx="5968014" cy="1754280"/>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102880" tIns="102880" rIns="68586" bIns="34294" rtlCol="0" anchor="t" anchorCtr="0"/>
          <a:lstStyle/>
          <a:p>
            <a:r>
              <a:rPr lang="en-US" sz="1100" dirty="0">
                <a:solidFill>
                  <a:srgbClr val="FFFFFF"/>
                </a:solidFill>
                <a:ea typeface="Segoe UI" pitchFamily="34" charset="0"/>
                <a:cs typeface="Segoe UI" pitchFamily="34" charset="0"/>
              </a:rPr>
              <a:t>Detection Method</a:t>
            </a:r>
          </a:p>
          <a:p>
            <a:endParaRPr lang="en-US" sz="1100" dirty="0">
              <a:solidFill>
                <a:srgbClr val="FFFFFF"/>
              </a:solidFill>
              <a:ea typeface="Segoe UI" pitchFamily="34" charset="0"/>
              <a:cs typeface="Segoe UI" pitchFamily="34" charset="0"/>
            </a:endParaRPr>
          </a:p>
          <a:p>
            <a:r>
              <a:rPr lang="en-US" sz="1100" dirty="0">
                <a:solidFill>
                  <a:srgbClr val="FFFFFF"/>
                </a:solidFill>
                <a:ea typeface="Segoe UI" pitchFamily="34" charset="0"/>
                <a:cs typeface="Segoe UI" pitchFamily="34" charset="0"/>
              </a:rPr>
              <a:t>Install Command</a:t>
            </a:r>
          </a:p>
          <a:p>
            <a:endParaRPr lang="en-US" sz="1100" dirty="0">
              <a:solidFill>
                <a:srgbClr val="FFFFFF"/>
              </a:solidFill>
              <a:ea typeface="Segoe UI" pitchFamily="34" charset="0"/>
              <a:cs typeface="Segoe UI" pitchFamily="34" charset="0"/>
            </a:endParaRPr>
          </a:p>
          <a:p>
            <a:r>
              <a:rPr lang="en-US" sz="1100" dirty="0">
                <a:solidFill>
                  <a:srgbClr val="FFFFFF"/>
                </a:solidFill>
                <a:ea typeface="Segoe UI" pitchFamily="34" charset="0"/>
                <a:cs typeface="Segoe UI" pitchFamily="34" charset="0"/>
              </a:rPr>
              <a:t>Requirement Rules</a:t>
            </a:r>
          </a:p>
          <a:p>
            <a:endParaRPr lang="en-US" sz="1100" dirty="0">
              <a:solidFill>
                <a:srgbClr val="FFFFFF"/>
              </a:solidFill>
              <a:ea typeface="Segoe UI" pitchFamily="34" charset="0"/>
              <a:cs typeface="Segoe UI" pitchFamily="34" charset="0"/>
            </a:endParaRPr>
          </a:p>
          <a:p>
            <a:r>
              <a:rPr lang="en-US" sz="1100" dirty="0">
                <a:solidFill>
                  <a:srgbClr val="FFFFFF"/>
                </a:solidFill>
                <a:ea typeface="Segoe UI" pitchFamily="34" charset="0"/>
                <a:cs typeface="Segoe UI" pitchFamily="34" charset="0"/>
              </a:rPr>
              <a:t>Dependencies</a:t>
            </a:r>
          </a:p>
          <a:p>
            <a:endParaRPr lang="en-US" sz="1100" dirty="0">
              <a:solidFill>
                <a:srgbClr val="FFFFFF"/>
              </a:solidFill>
              <a:ea typeface="Segoe UI" pitchFamily="34" charset="0"/>
              <a:cs typeface="Segoe UI" pitchFamily="34" charset="0"/>
            </a:endParaRPr>
          </a:p>
          <a:p>
            <a:r>
              <a:rPr lang="en-US" sz="1100" dirty="0" err="1">
                <a:solidFill>
                  <a:srgbClr val="FFFFFF"/>
                </a:solidFill>
                <a:ea typeface="Segoe UI" pitchFamily="34" charset="0"/>
                <a:cs typeface="Segoe UI" pitchFamily="34" charset="0"/>
              </a:rPr>
              <a:t>Supersedence</a:t>
            </a:r>
            <a:endParaRPr lang="en-US" sz="1100" dirty="0">
              <a:solidFill>
                <a:srgbClr val="FFFFFF"/>
              </a:solidFill>
              <a:ea typeface="Segoe UI" pitchFamily="34" charset="0"/>
              <a:cs typeface="Segoe UI" pitchFamily="34" charset="0"/>
            </a:endParaRPr>
          </a:p>
          <a:p>
            <a:endParaRPr lang="en-US" sz="1100" dirty="0">
              <a:solidFill>
                <a:srgbClr val="FFFFFF"/>
              </a:solidFill>
              <a:ea typeface="Segoe UI" pitchFamily="34" charset="0"/>
              <a:cs typeface="Segoe UI" pitchFamily="34" charset="0"/>
            </a:endParaRPr>
          </a:p>
          <a:p>
            <a:pPr marL="175039" indent="-175039">
              <a:buFont typeface="Arial" pitchFamily="34" charset="0"/>
              <a:buChar char="•"/>
            </a:pPr>
            <a:endParaRPr lang="en-US" sz="1100" dirty="0">
              <a:solidFill>
                <a:srgbClr val="FFFFFF"/>
              </a:solidFill>
              <a:ea typeface="Segoe UI" pitchFamily="34" charset="0"/>
              <a:cs typeface="Segoe UI" pitchFamily="34" charset="0"/>
            </a:endParaRPr>
          </a:p>
        </p:txBody>
      </p:sp>
      <p:sp>
        <p:nvSpPr>
          <p:cNvPr id="72" name="Oval 24"/>
          <p:cNvSpPr/>
          <p:nvPr/>
        </p:nvSpPr>
        <p:spPr>
          <a:xfrm>
            <a:off x="4034265" y="3249677"/>
            <a:ext cx="205794" cy="205740"/>
          </a:xfrm>
          <a:custGeom>
            <a:avLst/>
            <a:gdLst/>
            <a:ahLst/>
            <a:cxnLst/>
            <a:rect l="l" t="t" r="r" b="b"/>
            <a:pathLst>
              <a:path w="443524" h="432548">
                <a:moveTo>
                  <a:pt x="226354" y="51957"/>
                </a:moveTo>
                <a:lnTo>
                  <a:pt x="226354" y="134116"/>
                </a:lnTo>
                <a:lnTo>
                  <a:pt x="52851" y="134116"/>
                </a:lnTo>
                <a:lnTo>
                  <a:pt x="52851" y="298433"/>
                </a:lnTo>
                <a:lnTo>
                  <a:pt x="226354" y="298433"/>
                </a:lnTo>
                <a:lnTo>
                  <a:pt x="226354" y="380592"/>
                </a:lnTo>
                <a:lnTo>
                  <a:pt x="390671" y="216275"/>
                </a:lnTo>
                <a:close/>
                <a:moveTo>
                  <a:pt x="221762" y="0"/>
                </a:moveTo>
                <a:cubicBezTo>
                  <a:pt x="344238" y="0"/>
                  <a:pt x="443524" y="96829"/>
                  <a:pt x="443524" y="216274"/>
                </a:cubicBezTo>
                <a:cubicBezTo>
                  <a:pt x="443524" y="335719"/>
                  <a:pt x="344238" y="432548"/>
                  <a:pt x="221762" y="432548"/>
                </a:cubicBezTo>
                <a:cubicBezTo>
                  <a:pt x="99286" y="432548"/>
                  <a:pt x="0" y="335719"/>
                  <a:pt x="0" y="216274"/>
                </a:cubicBezTo>
                <a:cubicBezTo>
                  <a:pt x="0" y="96829"/>
                  <a:pt x="99286" y="0"/>
                  <a:pt x="221762" y="0"/>
                </a:cubicBez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endParaRPr lang="en-US" sz="800" dirty="0">
              <a:solidFill>
                <a:srgbClr val="FFFFFF"/>
              </a:solidFill>
            </a:endParaRPr>
          </a:p>
        </p:txBody>
      </p:sp>
      <p:sp>
        <p:nvSpPr>
          <p:cNvPr id="73" name="Rectangle 72"/>
          <p:cNvSpPr/>
          <p:nvPr/>
        </p:nvSpPr>
        <p:spPr bwMode="auto">
          <a:xfrm>
            <a:off x="4385238" y="3215864"/>
            <a:ext cx="3704285" cy="274320"/>
          </a:xfrm>
          <a:prstGeom prst="rect">
            <a:avLst/>
          </a:prstGeom>
          <a:solidFill>
            <a:schemeClr val="accent3"/>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lIns="137172" tIns="34294" rIns="68586" bIns="34294" rtlCol="0" anchor="ctr"/>
          <a:lstStyle/>
          <a:p>
            <a:r>
              <a:rPr lang="en-US" sz="1100" dirty="0">
                <a:solidFill>
                  <a:srgbClr val="FFFFFF">
                    <a:alpha val="99000"/>
                  </a:srgbClr>
                </a:solidFill>
              </a:rPr>
              <a:t>Command line and options</a:t>
            </a:r>
            <a:r>
              <a:rPr lang="en-US" sz="900" dirty="0">
                <a:solidFill>
                  <a:srgbClr val="FFFFFF">
                    <a:alpha val="99000"/>
                  </a:srgbClr>
                </a:solidFill>
              </a:rPr>
              <a:t>   </a:t>
            </a:r>
            <a:endParaRPr lang="en-US" sz="1100" dirty="0">
              <a:solidFill>
                <a:srgbClr val="FFFFFF">
                  <a:alpha val="99000"/>
                </a:srgbClr>
              </a:solidFill>
            </a:endParaRPr>
          </a:p>
        </p:txBody>
      </p:sp>
      <p:sp>
        <p:nvSpPr>
          <p:cNvPr id="74" name="Rectangle 73"/>
          <p:cNvSpPr/>
          <p:nvPr/>
        </p:nvSpPr>
        <p:spPr bwMode="auto">
          <a:xfrm>
            <a:off x="4385238" y="3554477"/>
            <a:ext cx="3704285" cy="274320"/>
          </a:xfrm>
          <a:prstGeom prst="rect">
            <a:avLst/>
          </a:prstGeom>
          <a:solidFill>
            <a:schemeClr val="accent3"/>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lIns="137172" tIns="34294" rIns="68586" bIns="34294" rtlCol="0" anchor="ctr"/>
          <a:lstStyle/>
          <a:p>
            <a:r>
              <a:rPr lang="en-US" sz="1100" dirty="0">
                <a:solidFill>
                  <a:srgbClr val="FFFFFF">
                    <a:alpha val="99000"/>
                  </a:srgbClr>
                </a:solidFill>
              </a:rPr>
              <a:t>Can/cannot install app</a:t>
            </a:r>
          </a:p>
        </p:txBody>
      </p:sp>
      <p:sp>
        <p:nvSpPr>
          <p:cNvPr id="75" name="Rectangle 74"/>
          <p:cNvSpPr/>
          <p:nvPr/>
        </p:nvSpPr>
        <p:spPr bwMode="auto">
          <a:xfrm>
            <a:off x="4385238" y="3893091"/>
            <a:ext cx="3704285" cy="274320"/>
          </a:xfrm>
          <a:prstGeom prst="rect">
            <a:avLst/>
          </a:prstGeom>
          <a:solidFill>
            <a:schemeClr val="accent3"/>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lIns="137172" tIns="34294" rIns="68586" bIns="34294" rtlCol="0" anchor="ctr"/>
          <a:lstStyle/>
          <a:p>
            <a:r>
              <a:rPr lang="en-US" sz="1100" dirty="0">
                <a:solidFill>
                  <a:srgbClr val="FFFFFF">
                    <a:alpha val="99000"/>
                  </a:srgbClr>
                </a:solidFill>
              </a:rPr>
              <a:t>Apps that must be present</a:t>
            </a:r>
          </a:p>
        </p:txBody>
      </p:sp>
      <p:sp>
        <p:nvSpPr>
          <p:cNvPr id="76" name="Rectangle 75"/>
          <p:cNvSpPr/>
          <p:nvPr/>
        </p:nvSpPr>
        <p:spPr bwMode="auto">
          <a:xfrm>
            <a:off x="4385238" y="4231704"/>
            <a:ext cx="3704285" cy="274320"/>
          </a:xfrm>
          <a:prstGeom prst="rect">
            <a:avLst/>
          </a:prstGeom>
          <a:solidFill>
            <a:schemeClr val="accent3"/>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lIns="137172" tIns="34294" rIns="68586" bIns="34294" rtlCol="0" anchor="ctr"/>
          <a:lstStyle/>
          <a:p>
            <a:r>
              <a:rPr lang="en-US" sz="1100" dirty="0">
                <a:solidFill>
                  <a:srgbClr val="FFFFFF">
                    <a:alpha val="99000"/>
                  </a:srgbClr>
                </a:solidFill>
              </a:rPr>
              <a:t>Application version control</a:t>
            </a:r>
          </a:p>
        </p:txBody>
      </p:sp>
      <p:sp>
        <p:nvSpPr>
          <p:cNvPr id="77" name="Oval 24"/>
          <p:cNvSpPr/>
          <p:nvPr/>
        </p:nvSpPr>
        <p:spPr>
          <a:xfrm>
            <a:off x="4034265" y="3588767"/>
            <a:ext cx="205794" cy="205740"/>
          </a:xfrm>
          <a:custGeom>
            <a:avLst/>
            <a:gdLst/>
            <a:ahLst/>
            <a:cxnLst/>
            <a:rect l="l" t="t" r="r" b="b"/>
            <a:pathLst>
              <a:path w="443524" h="432548">
                <a:moveTo>
                  <a:pt x="226354" y="51957"/>
                </a:moveTo>
                <a:lnTo>
                  <a:pt x="226354" y="134116"/>
                </a:lnTo>
                <a:lnTo>
                  <a:pt x="52851" y="134116"/>
                </a:lnTo>
                <a:lnTo>
                  <a:pt x="52851" y="298433"/>
                </a:lnTo>
                <a:lnTo>
                  <a:pt x="226354" y="298433"/>
                </a:lnTo>
                <a:lnTo>
                  <a:pt x="226354" y="380592"/>
                </a:lnTo>
                <a:lnTo>
                  <a:pt x="390671" y="216275"/>
                </a:lnTo>
                <a:close/>
                <a:moveTo>
                  <a:pt x="221762" y="0"/>
                </a:moveTo>
                <a:cubicBezTo>
                  <a:pt x="344238" y="0"/>
                  <a:pt x="443524" y="96829"/>
                  <a:pt x="443524" y="216274"/>
                </a:cubicBezTo>
                <a:cubicBezTo>
                  <a:pt x="443524" y="335719"/>
                  <a:pt x="344238" y="432548"/>
                  <a:pt x="221762" y="432548"/>
                </a:cubicBezTo>
                <a:cubicBezTo>
                  <a:pt x="99286" y="432548"/>
                  <a:pt x="0" y="335719"/>
                  <a:pt x="0" y="216274"/>
                </a:cubicBezTo>
                <a:cubicBezTo>
                  <a:pt x="0" y="96829"/>
                  <a:pt x="99286" y="0"/>
                  <a:pt x="221762" y="0"/>
                </a:cubicBez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endParaRPr lang="en-US" sz="800" dirty="0">
              <a:solidFill>
                <a:srgbClr val="FFFFFF"/>
              </a:solidFill>
            </a:endParaRPr>
          </a:p>
        </p:txBody>
      </p:sp>
      <p:sp>
        <p:nvSpPr>
          <p:cNvPr id="78" name="Oval 24"/>
          <p:cNvSpPr/>
          <p:nvPr/>
        </p:nvSpPr>
        <p:spPr>
          <a:xfrm>
            <a:off x="4034265" y="3927381"/>
            <a:ext cx="205794" cy="205740"/>
          </a:xfrm>
          <a:custGeom>
            <a:avLst/>
            <a:gdLst/>
            <a:ahLst/>
            <a:cxnLst/>
            <a:rect l="l" t="t" r="r" b="b"/>
            <a:pathLst>
              <a:path w="443524" h="432548">
                <a:moveTo>
                  <a:pt x="226354" y="51957"/>
                </a:moveTo>
                <a:lnTo>
                  <a:pt x="226354" y="134116"/>
                </a:lnTo>
                <a:lnTo>
                  <a:pt x="52851" y="134116"/>
                </a:lnTo>
                <a:lnTo>
                  <a:pt x="52851" y="298433"/>
                </a:lnTo>
                <a:lnTo>
                  <a:pt x="226354" y="298433"/>
                </a:lnTo>
                <a:lnTo>
                  <a:pt x="226354" y="380592"/>
                </a:lnTo>
                <a:lnTo>
                  <a:pt x="390671" y="216275"/>
                </a:lnTo>
                <a:close/>
                <a:moveTo>
                  <a:pt x="221762" y="0"/>
                </a:moveTo>
                <a:cubicBezTo>
                  <a:pt x="344238" y="0"/>
                  <a:pt x="443524" y="96829"/>
                  <a:pt x="443524" y="216274"/>
                </a:cubicBezTo>
                <a:cubicBezTo>
                  <a:pt x="443524" y="335719"/>
                  <a:pt x="344238" y="432548"/>
                  <a:pt x="221762" y="432548"/>
                </a:cubicBezTo>
                <a:cubicBezTo>
                  <a:pt x="99286" y="432548"/>
                  <a:pt x="0" y="335719"/>
                  <a:pt x="0" y="216274"/>
                </a:cubicBezTo>
                <a:cubicBezTo>
                  <a:pt x="0" y="96829"/>
                  <a:pt x="99286" y="0"/>
                  <a:pt x="221762" y="0"/>
                </a:cubicBez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endParaRPr lang="en-US" sz="800" dirty="0">
              <a:solidFill>
                <a:srgbClr val="FFFFFF"/>
              </a:solidFill>
            </a:endParaRPr>
          </a:p>
        </p:txBody>
      </p:sp>
      <p:sp>
        <p:nvSpPr>
          <p:cNvPr id="79" name="Oval 24"/>
          <p:cNvSpPr/>
          <p:nvPr/>
        </p:nvSpPr>
        <p:spPr>
          <a:xfrm>
            <a:off x="4034265" y="4265994"/>
            <a:ext cx="205794" cy="205740"/>
          </a:xfrm>
          <a:custGeom>
            <a:avLst/>
            <a:gdLst/>
            <a:ahLst/>
            <a:cxnLst/>
            <a:rect l="l" t="t" r="r" b="b"/>
            <a:pathLst>
              <a:path w="443524" h="432548">
                <a:moveTo>
                  <a:pt x="226354" y="51957"/>
                </a:moveTo>
                <a:lnTo>
                  <a:pt x="226354" y="134116"/>
                </a:lnTo>
                <a:lnTo>
                  <a:pt x="52851" y="134116"/>
                </a:lnTo>
                <a:lnTo>
                  <a:pt x="52851" y="298433"/>
                </a:lnTo>
                <a:lnTo>
                  <a:pt x="226354" y="298433"/>
                </a:lnTo>
                <a:lnTo>
                  <a:pt x="226354" y="380592"/>
                </a:lnTo>
                <a:lnTo>
                  <a:pt x="390671" y="216275"/>
                </a:lnTo>
                <a:close/>
                <a:moveTo>
                  <a:pt x="221762" y="0"/>
                </a:moveTo>
                <a:cubicBezTo>
                  <a:pt x="344238" y="0"/>
                  <a:pt x="443524" y="96829"/>
                  <a:pt x="443524" y="216274"/>
                </a:cubicBezTo>
                <a:cubicBezTo>
                  <a:pt x="443524" y="335719"/>
                  <a:pt x="344238" y="432548"/>
                  <a:pt x="221762" y="432548"/>
                </a:cubicBezTo>
                <a:cubicBezTo>
                  <a:pt x="99286" y="432548"/>
                  <a:pt x="0" y="335719"/>
                  <a:pt x="0" y="216274"/>
                </a:cubicBezTo>
                <a:cubicBezTo>
                  <a:pt x="0" y="96829"/>
                  <a:pt x="99286" y="0"/>
                  <a:pt x="221762" y="0"/>
                </a:cubicBez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endParaRPr lang="en-US" sz="800" dirty="0">
              <a:solidFill>
                <a:srgbClr val="FFFFFF"/>
              </a:solidFill>
            </a:endParaRPr>
          </a:p>
        </p:txBody>
      </p:sp>
      <p:grpSp>
        <p:nvGrpSpPr>
          <p:cNvPr id="80" name="Group 79"/>
          <p:cNvGrpSpPr>
            <a:grpSpLocks noChangeAspect="1"/>
          </p:cNvGrpSpPr>
          <p:nvPr/>
        </p:nvGrpSpPr>
        <p:grpSpPr>
          <a:xfrm>
            <a:off x="1097117" y="2085268"/>
            <a:ext cx="293590" cy="378619"/>
            <a:chOff x="5404688" y="2619375"/>
            <a:chExt cx="391351" cy="504825"/>
          </a:xfrm>
        </p:grpSpPr>
        <p:sp>
          <p:nvSpPr>
            <p:cNvPr id="81" name="TextBox 80"/>
            <p:cNvSpPr txBox="1"/>
            <p:nvPr/>
          </p:nvSpPr>
          <p:spPr>
            <a:xfrm>
              <a:off x="5404688" y="2693903"/>
              <a:ext cx="391351" cy="246221"/>
            </a:xfrm>
            <a:prstGeom prst="rect">
              <a:avLst/>
            </a:prstGeom>
            <a:noFill/>
          </p:spPr>
          <p:txBody>
            <a:bodyPr wrap="square" lIns="0" tIns="0" rIns="0" bIns="0" rtlCol="0">
              <a:spAutoFit/>
            </a:bodyPr>
            <a:lstStyle/>
            <a:p>
              <a:pPr algn="ctr"/>
              <a:r>
                <a:rPr lang="en-US" sz="1200" dirty="0">
                  <a:solidFill>
                    <a:srgbClr val="363535"/>
                  </a:solidFill>
                </a:rPr>
                <a:t>&lt;  &gt;</a:t>
              </a:r>
            </a:p>
          </p:txBody>
        </p:sp>
        <p:sp>
          <p:nvSpPr>
            <p:cNvPr id="82" name="Flowchart: Card 81"/>
            <p:cNvSpPr/>
            <p:nvPr/>
          </p:nvSpPr>
          <p:spPr bwMode="auto">
            <a:xfrm flipH="1">
              <a:off x="5404688" y="2619375"/>
              <a:ext cx="391351" cy="504825"/>
            </a:xfrm>
            <a:prstGeom prst="flowChartPunchedCard">
              <a:avLst/>
            </a:prstGeom>
            <a:ln w="12700">
              <a:solidFill>
                <a:schemeClr val="bg1"/>
              </a:solidFill>
              <a:prstDash val="sysDot"/>
            </a:ln>
          </p:spPr>
          <p:style>
            <a:lnRef idx="1">
              <a:schemeClr val="accent1"/>
            </a:lnRef>
            <a:fillRef idx="0">
              <a:schemeClr val="accent1"/>
            </a:fillRef>
            <a:effectRef idx="0">
              <a:schemeClr val="accent1"/>
            </a:effectRef>
            <a:fontRef idx="minor">
              <a:schemeClr val="tx1"/>
            </a:fontRef>
          </p:style>
          <p:txBody>
            <a:bodyPr lIns="91440" tIns="91440" rIns="91440" bIns="91440" rtlCol="0" anchor="ctr" anchorCtr="0"/>
            <a:lstStyle/>
            <a:p>
              <a:pPr algn="ctr"/>
              <a:endParaRPr lang="en-US" sz="1100" dirty="0">
                <a:solidFill>
                  <a:srgbClr val="FFFFFF"/>
                </a:solidFill>
                <a:ea typeface="Segoe UI" pitchFamily="34" charset="0"/>
                <a:cs typeface="Segoe UI" pitchFamily="34" charset="0"/>
              </a:endParaRPr>
            </a:p>
          </p:txBody>
        </p:sp>
        <p:sp>
          <p:nvSpPr>
            <p:cNvPr id="83" name="Isosceles Triangle 82"/>
            <p:cNvSpPr/>
            <p:nvPr/>
          </p:nvSpPr>
          <p:spPr bwMode="auto">
            <a:xfrm rot="3138243" flipH="1" flipV="1">
              <a:off x="5672563" y="2656268"/>
              <a:ext cx="132992" cy="60390"/>
            </a:xfrm>
            <a:prstGeom prst="triangle">
              <a:avLst>
                <a:gd name="adj" fmla="val 3570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100" dirty="0">
                <a:solidFill>
                  <a:srgbClr val="FFFFFF"/>
                </a:solidFill>
              </a:endParaRPr>
            </a:p>
          </p:txBody>
        </p:sp>
        <p:pic>
          <p:nvPicPr>
            <p:cNvPr id="84" name="Picture 83"/>
            <p:cNvPicPr>
              <a:picLocks noChangeAspect="1"/>
            </p:cNvPicPr>
            <p:nvPr/>
          </p:nvPicPr>
          <p:blipFill>
            <a:blip r:embed="rId8" cstate="print">
              <a:lum bright="70000" contrast="-70000"/>
              <a:extLst>
                <a:ext uri="{28A0092B-C50C-407E-A947-70E740481C1C}">
                  <a14:useLocalDpi xmlns:a14="http://schemas.microsoft.com/office/drawing/2010/main" val="0"/>
                </a:ext>
              </a:extLst>
            </a:blip>
            <a:stretch>
              <a:fillRect/>
            </a:stretch>
          </p:blipFill>
          <p:spPr>
            <a:xfrm>
              <a:off x="5521270" y="2744609"/>
              <a:ext cx="162200" cy="162200"/>
            </a:xfrm>
            <a:prstGeom prst="rect">
              <a:avLst/>
            </a:prstGeom>
          </p:spPr>
        </p:pic>
        <p:cxnSp>
          <p:nvCxnSpPr>
            <p:cNvPr id="85" name="Straight Connector 84"/>
            <p:cNvCxnSpPr/>
            <p:nvPr/>
          </p:nvCxnSpPr>
          <p:spPr>
            <a:xfrm>
              <a:off x="5463988" y="2940124"/>
              <a:ext cx="257736" cy="0"/>
            </a:xfrm>
            <a:prstGeom prst="line">
              <a:avLst/>
            </a:prstGeom>
            <a:ln w="9525">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86" name="Straight Connector 85"/>
            <p:cNvCxnSpPr/>
            <p:nvPr/>
          </p:nvCxnSpPr>
          <p:spPr>
            <a:xfrm>
              <a:off x="5463988" y="3048000"/>
              <a:ext cx="257736" cy="0"/>
            </a:xfrm>
            <a:prstGeom prst="line">
              <a:avLst/>
            </a:prstGeom>
            <a:ln w="9525">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87" name="Straight Connector 86"/>
            <p:cNvCxnSpPr/>
            <p:nvPr/>
          </p:nvCxnSpPr>
          <p:spPr>
            <a:xfrm>
              <a:off x="5463988" y="2994062"/>
              <a:ext cx="257736" cy="0"/>
            </a:xfrm>
            <a:prstGeom prst="line">
              <a:avLst/>
            </a:prstGeom>
            <a:ln w="9525">
              <a:solidFill>
                <a:schemeClr val="bg1"/>
              </a:solidFill>
            </a:ln>
            <a:effectLst/>
          </p:spPr>
          <p:style>
            <a:lnRef idx="2">
              <a:schemeClr val="accent1"/>
            </a:lnRef>
            <a:fillRef idx="0">
              <a:schemeClr val="accent1"/>
            </a:fillRef>
            <a:effectRef idx="1">
              <a:schemeClr val="accent1"/>
            </a:effectRef>
            <a:fontRef idx="minor">
              <a:schemeClr val="tx1"/>
            </a:fontRef>
          </p:style>
        </p:cxnSp>
      </p:grpSp>
      <p:pic>
        <p:nvPicPr>
          <p:cNvPr id="88" name="Picture 87"/>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41602" y="2901926"/>
            <a:ext cx="305093" cy="244154"/>
          </a:xfrm>
          <a:prstGeom prst="rect">
            <a:avLst/>
          </a:prstGeom>
          <a:solidFill>
            <a:schemeClr val="accent1"/>
          </a:solidFill>
        </p:spPr>
      </p:pic>
      <p:sp>
        <p:nvSpPr>
          <p:cNvPr id="43" name="Rectangle 42"/>
          <p:cNvSpPr/>
          <p:nvPr/>
        </p:nvSpPr>
        <p:spPr>
          <a:xfrm flipH="1">
            <a:off x="341797" y="2820619"/>
            <a:ext cx="1783544" cy="1754280"/>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102880" tIns="102880" rIns="68586" bIns="34294" rtlCol="0" anchor="t" anchorCtr="0"/>
          <a:lstStyle/>
          <a:p>
            <a:endParaRPr lang="en-US" sz="1100" dirty="0">
              <a:solidFill>
                <a:srgbClr val="363535"/>
              </a:solidFill>
              <a:ea typeface="Segoe UI" pitchFamily="34" charset="0"/>
              <a:cs typeface="Segoe UI" pitchFamily="34" charset="0"/>
            </a:endParaRPr>
          </a:p>
        </p:txBody>
      </p:sp>
      <p:pic>
        <p:nvPicPr>
          <p:cNvPr id="44" name="Picture 43"/>
          <p:cNvPicPr>
            <a:picLocks noChangeAspect="1"/>
          </p:cNvPicPr>
          <p:nvPr/>
        </p:nvPicPr>
        <p:blipFill>
          <a:blip r:embed="rId10" cstate="screen">
            <a:extLst>
              <a:ext uri="{BEBA8EAE-BF5A-486C-A8C5-ECC9F3942E4B}">
                <a14:imgProps xmlns:a14="http://schemas.microsoft.com/office/drawing/2010/main">
                  <a14:imgLayer r:embed="rId11">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753663" y="3828166"/>
            <a:ext cx="137196" cy="263279"/>
          </a:xfrm>
          <a:prstGeom prst="rect">
            <a:avLst/>
          </a:prstGeom>
          <a:effectLst/>
        </p:spPr>
      </p:pic>
      <p:sp>
        <p:nvSpPr>
          <p:cNvPr id="45"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46"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2"/>
              </a:rPr>
              <a:t>www.rapidbbs.cn</a:t>
            </a:r>
            <a:endParaRPr lang="zh-CN" altLang="en-US" sz="1200" b="0">
              <a:latin typeface="Arial" charset="0"/>
              <a:ea typeface="ＭＳ Ｐゴシック" pitchFamily="34" charset="-128"/>
            </a:endParaRPr>
          </a:p>
        </p:txBody>
      </p:sp>
      <p:pic>
        <p:nvPicPr>
          <p:cNvPr id="47" name="Picture 2">
            <a:hlinkClick r:id="rId12"/>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98201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fade">
                                      <p:cBhvr>
                                        <p:cTn id="7" dur="500"/>
                                        <p:tgtEl>
                                          <p:spTgt spid="5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6"/>
                                        </p:tgtEl>
                                        <p:attrNameLst>
                                          <p:attrName>style.visibility</p:attrName>
                                        </p:attrNameLst>
                                      </p:cBhvr>
                                      <p:to>
                                        <p:strVal val="visible"/>
                                      </p:to>
                                    </p:set>
                                    <p:animEffect transition="in" filter="fade">
                                      <p:cBhvr>
                                        <p:cTn id="10" dur="500"/>
                                        <p:tgtEl>
                                          <p:spTgt spid="56"/>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56">
                                            <p:txEl>
                                              <p:pRg st="0" end="0"/>
                                            </p:txEl>
                                          </p:spTgt>
                                        </p:tgtEl>
                                        <p:attrNameLst>
                                          <p:attrName>style.visibility</p:attrName>
                                        </p:attrNameLst>
                                      </p:cBhvr>
                                      <p:to>
                                        <p:strVal val="visible"/>
                                      </p:to>
                                    </p:set>
                                    <p:animEffect transition="in" filter="fade">
                                      <p:cBhvr>
                                        <p:cTn id="14" dur="500"/>
                                        <p:tgtEl>
                                          <p:spTgt spid="56">
                                            <p:txEl>
                                              <p:pRg st="0" end="0"/>
                                            </p:txEl>
                                          </p:spTgt>
                                        </p:tgtEl>
                                      </p:cBhvr>
                                    </p:animEffect>
                                  </p:childTnLst>
                                </p:cTn>
                              </p:par>
                              <p:par>
                                <p:cTn id="15" presetID="10" presetClass="entr" presetSubtype="0" fill="hold" nodeType="withEffect">
                                  <p:stCondLst>
                                    <p:cond delay="0"/>
                                  </p:stCondLst>
                                  <p:childTnLst>
                                    <p:set>
                                      <p:cBhvr>
                                        <p:cTn id="16" dur="1" fill="hold">
                                          <p:stCondLst>
                                            <p:cond delay="0"/>
                                          </p:stCondLst>
                                        </p:cTn>
                                        <p:tgtEl>
                                          <p:spTgt spid="80"/>
                                        </p:tgtEl>
                                        <p:attrNameLst>
                                          <p:attrName>style.visibility</p:attrName>
                                        </p:attrNameLst>
                                      </p:cBhvr>
                                      <p:to>
                                        <p:strVal val="visible"/>
                                      </p:to>
                                    </p:set>
                                    <p:animEffect transition="in" filter="fade">
                                      <p:cBhvr>
                                        <p:cTn id="17" dur="500"/>
                                        <p:tgtEl>
                                          <p:spTgt spid="80"/>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42"/>
                                        </p:tgtEl>
                                        <p:attrNameLst>
                                          <p:attrName>style.visibility</p:attrName>
                                        </p:attrNameLst>
                                      </p:cBhvr>
                                      <p:to>
                                        <p:strVal val="visible"/>
                                      </p:to>
                                    </p:set>
                                    <p:animEffect transition="in" filter="fade">
                                      <p:cBhvr>
                                        <p:cTn id="20" dur="500"/>
                                        <p:tgtEl>
                                          <p:spTgt spid="42"/>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25"/>
                                        </p:tgtEl>
                                        <p:attrNameLst>
                                          <p:attrName>style.visibility</p:attrName>
                                        </p:attrNameLst>
                                      </p:cBhvr>
                                      <p:to>
                                        <p:strVal val="visible"/>
                                      </p:to>
                                    </p:set>
                                    <p:animEffect transition="in" filter="fade">
                                      <p:cBhvr>
                                        <p:cTn id="23" dur="500"/>
                                        <p:tgtEl>
                                          <p:spTgt spid="25"/>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0"/>
                                        </p:tgtEl>
                                        <p:attrNameLst>
                                          <p:attrName>style.visibility</p:attrName>
                                        </p:attrNameLst>
                                      </p:cBhvr>
                                      <p:to>
                                        <p:strVal val="visible"/>
                                      </p:to>
                                    </p:set>
                                    <p:animEffect transition="in" filter="fade">
                                      <p:cBhvr>
                                        <p:cTn id="26" dur="500"/>
                                        <p:tgtEl>
                                          <p:spTgt spid="20"/>
                                        </p:tgtEl>
                                      </p:cBhvr>
                                    </p:animEffect>
                                  </p:childTnLst>
                                </p:cTn>
                              </p:par>
                            </p:childTnLst>
                          </p:cTn>
                        </p:par>
                        <p:par>
                          <p:cTn id="27" fill="hold">
                            <p:stCondLst>
                              <p:cond delay="1000"/>
                            </p:stCondLst>
                            <p:childTnLst>
                              <p:par>
                                <p:cTn id="28" presetID="10" presetClass="entr" presetSubtype="0" fill="hold" nodeType="afterEffect">
                                  <p:stCondLst>
                                    <p:cond delay="0"/>
                                  </p:stCondLst>
                                  <p:childTnLst>
                                    <p:set>
                                      <p:cBhvr>
                                        <p:cTn id="29" dur="1" fill="hold">
                                          <p:stCondLst>
                                            <p:cond delay="0"/>
                                          </p:stCondLst>
                                        </p:cTn>
                                        <p:tgtEl>
                                          <p:spTgt spid="56">
                                            <p:txEl>
                                              <p:pRg st="2" end="2"/>
                                            </p:txEl>
                                          </p:spTgt>
                                        </p:tgtEl>
                                        <p:attrNameLst>
                                          <p:attrName>style.visibility</p:attrName>
                                        </p:attrNameLst>
                                      </p:cBhvr>
                                      <p:to>
                                        <p:strVal val="visible"/>
                                      </p:to>
                                    </p:set>
                                    <p:animEffect transition="in" filter="fade">
                                      <p:cBhvr>
                                        <p:cTn id="30" dur="500"/>
                                        <p:tgtEl>
                                          <p:spTgt spid="56">
                                            <p:txEl>
                                              <p:pRg st="2" end="2"/>
                                            </p:tx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7"/>
                                        </p:tgtEl>
                                        <p:attrNameLst>
                                          <p:attrName>style.visibility</p:attrName>
                                        </p:attrNameLst>
                                      </p:cBhvr>
                                      <p:to>
                                        <p:strVal val="visible"/>
                                      </p:to>
                                    </p:set>
                                    <p:animEffect transition="in" filter="fade">
                                      <p:cBhvr>
                                        <p:cTn id="33" dur="500"/>
                                        <p:tgtEl>
                                          <p:spTgt spid="57"/>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66"/>
                                        </p:tgtEl>
                                        <p:attrNameLst>
                                          <p:attrName>style.visibility</p:attrName>
                                        </p:attrNameLst>
                                      </p:cBhvr>
                                      <p:to>
                                        <p:strVal val="visible"/>
                                      </p:to>
                                    </p:set>
                                    <p:animEffect transition="in" filter="fade">
                                      <p:cBhvr>
                                        <p:cTn id="36" dur="500"/>
                                        <p:tgtEl>
                                          <p:spTgt spid="66"/>
                                        </p:tgtEl>
                                      </p:cBhvr>
                                    </p:animEffect>
                                  </p:childTnLst>
                                </p:cTn>
                              </p:par>
                            </p:childTnLst>
                          </p:cTn>
                        </p:par>
                        <p:par>
                          <p:cTn id="37" fill="hold">
                            <p:stCondLst>
                              <p:cond delay="1500"/>
                            </p:stCondLst>
                            <p:childTnLst>
                              <p:par>
                                <p:cTn id="38" presetID="10" presetClass="entr" presetSubtype="0" fill="hold" grpId="0" nodeType="afterEffect">
                                  <p:stCondLst>
                                    <p:cond delay="0"/>
                                  </p:stCondLst>
                                  <p:childTnLst>
                                    <p:set>
                                      <p:cBhvr>
                                        <p:cTn id="39" dur="1" fill="hold">
                                          <p:stCondLst>
                                            <p:cond delay="0"/>
                                          </p:stCondLst>
                                        </p:cTn>
                                        <p:tgtEl>
                                          <p:spTgt spid="70"/>
                                        </p:tgtEl>
                                        <p:attrNameLst>
                                          <p:attrName>style.visibility</p:attrName>
                                        </p:attrNameLst>
                                      </p:cBhvr>
                                      <p:to>
                                        <p:strVal val="visible"/>
                                      </p:to>
                                    </p:set>
                                    <p:animEffect transition="in" filter="fade">
                                      <p:cBhvr>
                                        <p:cTn id="40" dur="500"/>
                                        <p:tgtEl>
                                          <p:spTgt spid="70"/>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71"/>
                                        </p:tgtEl>
                                        <p:attrNameLst>
                                          <p:attrName>style.visibility</p:attrName>
                                        </p:attrNameLst>
                                      </p:cBhvr>
                                      <p:to>
                                        <p:strVal val="visible"/>
                                      </p:to>
                                    </p:set>
                                    <p:animEffect transition="in" filter="fade">
                                      <p:cBhvr>
                                        <p:cTn id="43" dur="500"/>
                                        <p:tgtEl>
                                          <p:spTgt spid="71"/>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43"/>
                                        </p:tgtEl>
                                        <p:attrNameLst>
                                          <p:attrName>style.visibility</p:attrName>
                                        </p:attrNameLst>
                                      </p:cBhvr>
                                      <p:to>
                                        <p:strVal val="visible"/>
                                      </p:to>
                                    </p:set>
                                    <p:animEffect transition="in" filter="fade">
                                      <p:cBhvr>
                                        <p:cTn id="46" dur="500"/>
                                        <p:tgtEl>
                                          <p:spTgt spid="43"/>
                                        </p:tgtEl>
                                      </p:cBhvr>
                                    </p:animEffect>
                                  </p:childTnLst>
                                </p:cTn>
                              </p:par>
                            </p:childTnLst>
                          </p:cTn>
                        </p:par>
                        <p:par>
                          <p:cTn id="47" fill="hold">
                            <p:stCondLst>
                              <p:cond delay="2000"/>
                            </p:stCondLst>
                            <p:childTnLst>
                              <p:par>
                                <p:cTn id="48" presetID="10" presetClass="entr" presetSubtype="0" fill="hold" nodeType="afterEffect">
                                  <p:stCondLst>
                                    <p:cond delay="0"/>
                                  </p:stCondLst>
                                  <p:childTnLst>
                                    <p:set>
                                      <p:cBhvr>
                                        <p:cTn id="49" dur="1" fill="hold">
                                          <p:stCondLst>
                                            <p:cond delay="0"/>
                                          </p:stCondLst>
                                        </p:cTn>
                                        <p:tgtEl>
                                          <p:spTgt spid="71">
                                            <p:txEl>
                                              <p:pRg st="0" end="0"/>
                                            </p:txEl>
                                          </p:spTgt>
                                        </p:tgtEl>
                                        <p:attrNameLst>
                                          <p:attrName>style.visibility</p:attrName>
                                        </p:attrNameLst>
                                      </p:cBhvr>
                                      <p:to>
                                        <p:strVal val="visible"/>
                                      </p:to>
                                    </p:set>
                                    <p:animEffect transition="in" filter="fade">
                                      <p:cBhvr>
                                        <p:cTn id="50" dur="500"/>
                                        <p:tgtEl>
                                          <p:spTgt spid="71">
                                            <p:txEl>
                                              <p:pRg st="0" end="0"/>
                                            </p:txEl>
                                          </p:spTgt>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69"/>
                                        </p:tgtEl>
                                        <p:attrNameLst>
                                          <p:attrName>style.visibility</p:attrName>
                                        </p:attrNameLst>
                                      </p:cBhvr>
                                      <p:to>
                                        <p:strVal val="visible"/>
                                      </p:to>
                                    </p:set>
                                    <p:animEffect transition="in" filter="fade">
                                      <p:cBhvr>
                                        <p:cTn id="53" dur="500"/>
                                        <p:tgtEl>
                                          <p:spTgt spid="69"/>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68"/>
                                        </p:tgtEl>
                                        <p:attrNameLst>
                                          <p:attrName>style.visibility</p:attrName>
                                        </p:attrNameLst>
                                      </p:cBhvr>
                                      <p:to>
                                        <p:strVal val="visible"/>
                                      </p:to>
                                    </p:set>
                                    <p:animEffect transition="in" filter="fade">
                                      <p:cBhvr>
                                        <p:cTn id="56" dur="500"/>
                                        <p:tgtEl>
                                          <p:spTgt spid="68"/>
                                        </p:tgtEl>
                                      </p:cBhvr>
                                    </p:animEffect>
                                  </p:childTnLst>
                                </p:cTn>
                              </p:par>
                              <p:par>
                                <p:cTn id="57" presetID="10" presetClass="entr" presetSubtype="0" fill="hold" nodeType="withEffect">
                                  <p:stCondLst>
                                    <p:cond delay="0"/>
                                  </p:stCondLst>
                                  <p:childTnLst>
                                    <p:set>
                                      <p:cBhvr>
                                        <p:cTn id="58" dur="1" fill="hold">
                                          <p:stCondLst>
                                            <p:cond delay="0"/>
                                          </p:stCondLst>
                                        </p:cTn>
                                        <p:tgtEl>
                                          <p:spTgt spid="88"/>
                                        </p:tgtEl>
                                        <p:attrNameLst>
                                          <p:attrName>style.visibility</p:attrName>
                                        </p:attrNameLst>
                                      </p:cBhvr>
                                      <p:to>
                                        <p:strVal val="visible"/>
                                      </p:to>
                                    </p:set>
                                    <p:animEffect transition="in" filter="fade">
                                      <p:cBhvr>
                                        <p:cTn id="59" dur="500"/>
                                        <p:tgtEl>
                                          <p:spTgt spid="88"/>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3"/>
                                        </p:tgtEl>
                                        <p:attrNameLst>
                                          <p:attrName>style.visibility</p:attrName>
                                        </p:attrNameLst>
                                      </p:cBhvr>
                                      <p:to>
                                        <p:strVal val="visible"/>
                                      </p:to>
                                    </p:set>
                                    <p:animEffect transition="in" filter="fade">
                                      <p:cBhvr>
                                        <p:cTn id="62" dur="500"/>
                                        <p:tgtEl>
                                          <p:spTgt spid="3"/>
                                        </p:tgtEl>
                                      </p:cBhvr>
                                    </p:animEffect>
                                  </p:childTnLst>
                                </p:cTn>
                              </p:par>
                            </p:childTnLst>
                          </p:cTn>
                        </p:par>
                        <p:par>
                          <p:cTn id="63" fill="hold">
                            <p:stCondLst>
                              <p:cond delay="2500"/>
                            </p:stCondLst>
                            <p:childTnLst>
                              <p:par>
                                <p:cTn id="64" presetID="10" presetClass="entr" presetSubtype="0" fill="hold" nodeType="afterEffect">
                                  <p:stCondLst>
                                    <p:cond delay="0"/>
                                  </p:stCondLst>
                                  <p:childTnLst>
                                    <p:set>
                                      <p:cBhvr>
                                        <p:cTn id="65" dur="1" fill="hold">
                                          <p:stCondLst>
                                            <p:cond delay="0"/>
                                          </p:stCondLst>
                                        </p:cTn>
                                        <p:tgtEl>
                                          <p:spTgt spid="71">
                                            <p:txEl>
                                              <p:pRg st="2" end="2"/>
                                            </p:txEl>
                                          </p:spTgt>
                                        </p:tgtEl>
                                        <p:attrNameLst>
                                          <p:attrName>style.visibility</p:attrName>
                                        </p:attrNameLst>
                                      </p:cBhvr>
                                      <p:to>
                                        <p:strVal val="visible"/>
                                      </p:to>
                                    </p:set>
                                    <p:animEffect transition="in" filter="fade">
                                      <p:cBhvr>
                                        <p:cTn id="66" dur="500"/>
                                        <p:tgtEl>
                                          <p:spTgt spid="71">
                                            <p:txEl>
                                              <p:pRg st="2" end="2"/>
                                            </p:txEl>
                                          </p:spTgt>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72"/>
                                        </p:tgtEl>
                                        <p:attrNameLst>
                                          <p:attrName>style.visibility</p:attrName>
                                        </p:attrNameLst>
                                      </p:cBhvr>
                                      <p:to>
                                        <p:strVal val="visible"/>
                                      </p:to>
                                    </p:set>
                                    <p:animEffect transition="in" filter="fade">
                                      <p:cBhvr>
                                        <p:cTn id="69" dur="500"/>
                                        <p:tgtEl>
                                          <p:spTgt spid="72"/>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73"/>
                                        </p:tgtEl>
                                        <p:attrNameLst>
                                          <p:attrName>style.visibility</p:attrName>
                                        </p:attrNameLst>
                                      </p:cBhvr>
                                      <p:to>
                                        <p:strVal val="visible"/>
                                      </p:to>
                                    </p:set>
                                    <p:animEffect transition="in" filter="fade">
                                      <p:cBhvr>
                                        <p:cTn id="72" dur="500"/>
                                        <p:tgtEl>
                                          <p:spTgt spid="73"/>
                                        </p:tgtEl>
                                      </p:cBhvr>
                                    </p:animEffect>
                                  </p:childTnLst>
                                </p:cTn>
                              </p:par>
                              <p:par>
                                <p:cTn id="73" presetID="10" presetClass="entr" presetSubtype="0" fill="hold" nodeType="withEffect">
                                  <p:stCondLst>
                                    <p:cond delay="0"/>
                                  </p:stCondLst>
                                  <p:childTnLst>
                                    <p:set>
                                      <p:cBhvr>
                                        <p:cTn id="74" dur="1" fill="hold">
                                          <p:stCondLst>
                                            <p:cond delay="0"/>
                                          </p:stCondLst>
                                        </p:cTn>
                                        <p:tgtEl>
                                          <p:spTgt spid="61"/>
                                        </p:tgtEl>
                                        <p:attrNameLst>
                                          <p:attrName>style.visibility</p:attrName>
                                        </p:attrNameLst>
                                      </p:cBhvr>
                                      <p:to>
                                        <p:strVal val="visible"/>
                                      </p:to>
                                    </p:set>
                                    <p:animEffect transition="in" filter="fade">
                                      <p:cBhvr>
                                        <p:cTn id="75" dur="500"/>
                                        <p:tgtEl>
                                          <p:spTgt spid="61"/>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58"/>
                                        </p:tgtEl>
                                        <p:attrNameLst>
                                          <p:attrName>style.visibility</p:attrName>
                                        </p:attrNameLst>
                                      </p:cBhvr>
                                      <p:to>
                                        <p:strVal val="visible"/>
                                      </p:to>
                                    </p:set>
                                    <p:animEffect transition="in" filter="fade">
                                      <p:cBhvr>
                                        <p:cTn id="78" dur="500"/>
                                        <p:tgtEl>
                                          <p:spTgt spid="58"/>
                                        </p:tgtEl>
                                      </p:cBhvr>
                                    </p:animEffect>
                                  </p:childTnLst>
                                </p:cTn>
                              </p:par>
                            </p:childTnLst>
                          </p:cTn>
                        </p:par>
                        <p:par>
                          <p:cTn id="79" fill="hold">
                            <p:stCondLst>
                              <p:cond delay="3000"/>
                            </p:stCondLst>
                            <p:childTnLst>
                              <p:par>
                                <p:cTn id="80" presetID="10" presetClass="entr" presetSubtype="0" fill="hold" nodeType="afterEffect">
                                  <p:stCondLst>
                                    <p:cond delay="0"/>
                                  </p:stCondLst>
                                  <p:childTnLst>
                                    <p:set>
                                      <p:cBhvr>
                                        <p:cTn id="81" dur="1" fill="hold">
                                          <p:stCondLst>
                                            <p:cond delay="0"/>
                                          </p:stCondLst>
                                        </p:cTn>
                                        <p:tgtEl>
                                          <p:spTgt spid="71">
                                            <p:txEl>
                                              <p:pRg st="4" end="4"/>
                                            </p:txEl>
                                          </p:spTgt>
                                        </p:tgtEl>
                                        <p:attrNameLst>
                                          <p:attrName>style.visibility</p:attrName>
                                        </p:attrNameLst>
                                      </p:cBhvr>
                                      <p:to>
                                        <p:strVal val="visible"/>
                                      </p:to>
                                    </p:set>
                                    <p:animEffect transition="in" filter="fade">
                                      <p:cBhvr>
                                        <p:cTn id="82" dur="500"/>
                                        <p:tgtEl>
                                          <p:spTgt spid="71">
                                            <p:txEl>
                                              <p:pRg st="4" end="4"/>
                                            </p:txEl>
                                          </p:spTgt>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60"/>
                                        </p:tgtEl>
                                        <p:attrNameLst>
                                          <p:attrName>style.visibility</p:attrName>
                                        </p:attrNameLst>
                                      </p:cBhvr>
                                      <p:to>
                                        <p:strVal val="visible"/>
                                      </p:to>
                                    </p:set>
                                    <p:animEffect transition="in" filter="fade">
                                      <p:cBhvr>
                                        <p:cTn id="85" dur="500"/>
                                        <p:tgtEl>
                                          <p:spTgt spid="60"/>
                                        </p:tgtEl>
                                      </p:cBhvr>
                                    </p:animEffect>
                                  </p:childTnLst>
                                </p:cTn>
                              </p:par>
                              <p:par>
                                <p:cTn id="86" presetID="10" presetClass="entr" presetSubtype="0" fill="hold" nodeType="withEffect">
                                  <p:stCondLst>
                                    <p:cond delay="0"/>
                                  </p:stCondLst>
                                  <p:childTnLst>
                                    <p:set>
                                      <p:cBhvr>
                                        <p:cTn id="87" dur="1" fill="hold">
                                          <p:stCondLst>
                                            <p:cond delay="0"/>
                                          </p:stCondLst>
                                        </p:cTn>
                                        <p:tgtEl>
                                          <p:spTgt spid="65"/>
                                        </p:tgtEl>
                                        <p:attrNameLst>
                                          <p:attrName>style.visibility</p:attrName>
                                        </p:attrNameLst>
                                      </p:cBhvr>
                                      <p:to>
                                        <p:strVal val="visible"/>
                                      </p:to>
                                    </p:set>
                                    <p:animEffect transition="in" filter="fade">
                                      <p:cBhvr>
                                        <p:cTn id="88" dur="500"/>
                                        <p:tgtEl>
                                          <p:spTgt spid="65"/>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77"/>
                                        </p:tgtEl>
                                        <p:attrNameLst>
                                          <p:attrName>style.visibility</p:attrName>
                                        </p:attrNameLst>
                                      </p:cBhvr>
                                      <p:to>
                                        <p:strVal val="visible"/>
                                      </p:to>
                                    </p:set>
                                    <p:animEffect transition="in" filter="fade">
                                      <p:cBhvr>
                                        <p:cTn id="91" dur="500"/>
                                        <p:tgtEl>
                                          <p:spTgt spid="77"/>
                                        </p:tgtEl>
                                      </p:cBhvr>
                                    </p:animEffect>
                                  </p:childTnLst>
                                </p:cTn>
                              </p:par>
                              <p:par>
                                <p:cTn id="92" presetID="10" presetClass="entr" presetSubtype="0" fill="hold" grpId="0" nodeType="withEffect">
                                  <p:stCondLst>
                                    <p:cond delay="0"/>
                                  </p:stCondLst>
                                  <p:childTnLst>
                                    <p:set>
                                      <p:cBhvr>
                                        <p:cTn id="93" dur="1" fill="hold">
                                          <p:stCondLst>
                                            <p:cond delay="0"/>
                                          </p:stCondLst>
                                        </p:cTn>
                                        <p:tgtEl>
                                          <p:spTgt spid="74"/>
                                        </p:tgtEl>
                                        <p:attrNameLst>
                                          <p:attrName>style.visibility</p:attrName>
                                        </p:attrNameLst>
                                      </p:cBhvr>
                                      <p:to>
                                        <p:strVal val="visible"/>
                                      </p:to>
                                    </p:set>
                                    <p:animEffect transition="in" filter="fade">
                                      <p:cBhvr>
                                        <p:cTn id="94" dur="500"/>
                                        <p:tgtEl>
                                          <p:spTgt spid="74"/>
                                        </p:tgtEl>
                                      </p:cBhvr>
                                    </p:animEffect>
                                  </p:childTnLst>
                                </p:cTn>
                              </p:par>
                            </p:childTnLst>
                          </p:cTn>
                        </p:par>
                        <p:par>
                          <p:cTn id="95" fill="hold">
                            <p:stCondLst>
                              <p:cond delay="3500"/>
                            </p:stCondLst>
                            <p:childTnLst>
                              <p:par>
                                <p:cTn id="96" presetID="10" presetClass="entr" presetSubtype="0" fill="hold" nodeType="afterEffect">
                                  <p:stCondLst>
                                    <p:cond delay="0"/>
                                  </p:stCondLst>
                                  <p:childTnLst>
                                    <p:set>
                                      <p:cBhvr>
                                        <p:cTn id="97" dur="1" fill="hold">
                                          <p:stCondLst>
                                            <p:cond delay="0"/>
                                          </p:stCondLst>
                                        </p:cTn>
                                        <p:tgtEl>
                                          <p:spTgt spid="71">
                                            <p:txEl>
                                              <p:pRg st="6" end="6"/>
                                            </p:txEl>
                                          </p:spTgt>
                                        </p:tgtEl>
                                        <p:attrNameLst>
                                          <p:attrName>style.visibility</p:attrName>
                                        </p:attrNameLst>
                                      </p:cBhvr>
                                      <p:to>
                                        <p:strVal val="visible"/>
                                      </p:to>
                                    </p:set>
                                    <p:animEffect transition="in" filter="fade">
                                      <p:cBhvr>
                                        <p:cTn id="98" dur="500"/>
                                        <p:tgtEl>
                                          <p:spTgt spid="71">
                                            <p:txEl>
                                              <p:pRg st="6" end="6"/>
                                            </p:txEl>
                                          </p:spTgt>
                                        </p:tgtEl>
                                      </p:cBhvr>
                                    </p:animEffect>
                                  </p:childTnLst>
                                </p:cTn>
                              </p:par>
                              <p:par>
                                <p:cTn id="99" presetID="10" presetClass="entr" presetSubtype="0" fill="hold" grpId="0" nodeType="withEffect">
                                  <p:stCondLst>
                                    <p:cond delay="0"/>
                                  </p:stCondLst>
                                  <p:childTnLst>
                                    <p:set>
                                      <p:cBhvr>
                                        <p:cTn id="100" dur="1" fill="hold">
                                          <p:stCondLst>
                                            <p:cond delay="0"/>
                                          </p:stCondLst>
                                        </p:cTn>
                                        <p:tgtEl>
                                          <p:spTgt spid="59"/>
                                        </p:tgtEl>
                                        <p:attrNameLst>
                                          <p:attrName>style.visibility</p:attrName>
                                        </p:attrNameLst>
                                      </p:cBhvr>
                                      <p:to>
                                        <p:strVal val="visible"/>
                                      </p:to>
                                    </p:set>
                                    <p:animEffect transition="in" filter="fade">
                                      <p:cBhvr>
                                        <p:cTn id="101" dur="500"/>
                                        <p:tgtEl>
                                          <p:spTgt spid="59"/>
                                        </p:tgtEl>
                                      </p:cBhvr>
                                    </p:animEffect>
                                  </p:childTnLst>
                                </p:cTn>
                              </p:par>
                              <p:par>
                                <p:cTn id="102" presetID="10" presetClass="entr" presetSubtype="0" fill="hold" nodeType="withEffect">
                                  <p:stCondLst>
                                    <p:cond delay="0"/>
                                  </p:stCondLst>
                                  <p:childTnLst>
                                    <p:set>
                                      <p:cBhvr>
                                        <p:cTn id="103" dur="1" fill="hold">
                                          <p:stCondLst>
                                            <p:cond delay="0"/>
                                          </p:stCondLst>
                                        </p:cTn>
                                        <p:tgtEl>
                                          <p:spTgt spid="44"/>
                                        </p:tgtEl>
                                        <p:attrNameLst>
                                          <p:attrName>style.visibility</p:attrName>
                                        </p:attrNameLst>
                                      </p:cBhvr>
                                      <p:to>
                                        <p:strVal val="visible"/>
                                      </p:to>
                                    </p:set>
                                    <p:animEffect transition="in" filter="fade">
                                      <p:cBhvr>
                                        <p:cTn id="104" dur="500"/>
                                        <p:tgtEl>
                                          <p:spTgt spid="44"/>
                                        </p:tgtEl>
                                      </p:cBhvr>
                                    </p:animEffect>
                                  </p:childTnLst>
                                </p:cTn>
                              </p:par>
                              <p:par>
                                <p:cTn id="105" presetID="10" presetClass="entr" presetSubtype="0" fill="hold" grpId="0" nodeType="withEffect">
                                  <p:stCondLst>
                                    <p:cond delay="0"/>
                                  </p:stCondLst>
                                  <p:childTnLst>
                                    <p:set>
                                      <p:cBhvr>
                                        <p:cTn id="106" dur="1" fill="hold">
                                          <p:stCondLst>
                                            <p:cond delay="0"/>
                                          </p:stCondLst>
                                        </p:cTn>
                                        <p:tgtEl>
                                          <p:spTgt spid="78"/>
                                        </p:tgtEl>
                                        <p:attrNameLst>
                                          <p:attrName>style.visibility</p:attrName>
                                        </p:attrNameLst>
                                      </p:cBhvr>
                                      <p:to>
                                        <p:strVal val="visible"/>
                                      </p:to>
                                    </p:set>
                                    <p:animEffect transition="in" filter="fade">
                                      <p:cBhvr>
                                        <p:cTn id="107" dur="500"/>
                                        <p:tgtEl>
                                          <p:spTgt spid="78"/>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75"/>
                                        </p:tgtEl>
                                        <p:attrNameLst>
                                          <p:attrName>style.visibility</p:attrName>
                                        </p:attrNameLst>
                                      </p:cBhvr>
                                      <p:to>
                                        <p:strVal val="visible"/>
                                      </p:to>
                                    </p:set>
                                    <p:animEffect transition="in" filter="fade">
                                      <p:cBhvr>
                                        <p:cTn id="110" dur="500"/>
                                        <p:tgtEl>
                                          <p:spTgt spid="75"/>
                                        </p:tgtEl>
                                      </p:cBhvr>
                                    </p:animEffect>
                                  </p:childTnLst>
                                </p:cTn>
                              </p:par>
                            </p:childTnLst>
                          </p:cTn>
                        </p:par>
                        <p:par>
                          <p:cTn id="111" fill="hold">
                            <p:stCondLst>
                              <p:cond delay="4000"/>
                            </p:stCondLst>
                            <p:childTnLst>
                              <p:par>
                                <p:cTn id="112" presetID="10" presetClass="entr" presetSubtype="0" fill="hold" nodeType="afterEffect">
                                  <p:stCondLst>
                                    <p:cond delay="0"/>
                                  </p:stCondLst>
                                  <p:childTnLst>
                                    <p:set>
                                      <p:cBhvr>
                                        <p:cTn id="113" dur="1" fill="hold">
                                          <p:stCondLst>
                                            <p:cond delay="0"/>
                                          </p:stCondLst>
                                        </p:cTn>
                                        <p:tgtEl>
                                          <p:spTgt spid="71">
                                            <p:txEl>
                                              <p:pRg st="8" end="8"/>
                                            </p:txEl>
                                          </p:spTgt>
                                        </p:tgtEl>
                                        <p:attrNameLst>
                                          <p:attrName>style.visibility</p:attrName>
                                        </p:attrNameLst>
                                      </p:cBhvr>
                                      <p:to>
                                        <p:strVal val="visible"/>
                                      </p:to>
                                    </p:set>
                                    <p:animEffect transition="in" filter="fade">
                                      <p:cBhvr>
                                        <p:cTn id="114" dur="500"/>
                                        <p:tgtEl>
                                          <p:spTgt spid="71">
                                            <p:txEl>
                                              <p:pRg st="8" end="8"/>
                                            </p:txEl>
                                          </p:spTgt>
                                        </p:tgtEl>
                                      </p:cBhvr>
                                    </p:animEffect>
                                  </p:childTnLst>
                                </p:cTn>
                              </p:par>
                              <p:par>
                                <p:cTn id="115" presetID="10" presetClass="entr" presetSubtype="0" fill="hold" grpId="0" nodeType="withEffect">
                                  <p:stCondLst>
                                    <p:cond delay="0"/>
                                  </p:stCondLst>
                                  <p:childTnLst>
                                    <p:set>
                                      <p:cBhvr>
                                        <p:cTn id="116" dur="1" fill="hold">
                                          <p:stCondLst>
                                            <p:cond delay="0"/>
                                          </p:stCondLst>
                                        </p:cTn>
                                        <p:tgtEl>
                                          <p:spTgt spid="79"/>
                                        </p:tgtEl>
                                        <p:attrNameLst>
                                          <p:attrName>style.visibility</p:attrName>
                                        </p:attrNameLst>
                                      </p:cBhvr>
                                      <p:to>
                                        <p:strVal val="visible"/>
                                      </p:to>
                                    </p:set>
                                    <p:animEffect transition="in" filter="fade">
                                      <p:cBhvr>
                                        <p:cTn id="117" dur="500"/>
                                        <p:tgtEl>
                                          <p:spTgt spid="79"/>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76"/>
                                        </p:tgtEl>
                                        <p:attrNameLst>
                                          <p:attrName>style.visibility</p:attrName>
                                        </p:attrNameLst>
                                      </p:cBhvr>
                                      <p:to>
                                        <p:strVal val="visible"/>
                                      </p:to>
                                    </p:set>
                                    <p:animEffect transition="in" filter="fade">
                                      <p:cBhvr>
                                        <p:cTn id="120"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20" grpId="0" animBg="1"/>
      <p:bldP spid="25" grpId="0" animBg="1"/>
      <p:bldP spid="3" grpId="0"/>
      <p:bldP spid="58" grpId="0"/>
      <p:bldP spid="59" grpId="0"/>
      <p:bldP spid="60" grpId="0"/>
      <p:bldP spid="55" grpId="0" animBg="1"/>
      <p:bldP spid="56" grpId="0" animBg="1"/>
      <p:bldP spid="57" grpId="0" animBg="1"/>
      <p:bldP spid="66" grpId="0" animBg="1"/>
      <p:bldP spid="68" grpId="0" animBg="1"/>
      <p:bldP spid="69" grpId="0" animBg="1"/>
      <p:bldP spid="70" grpId="0" animBg="1"/>
      <p:bldP spid="71" grpId="0" animBg="1"/>
      <p:bldP spid="72" grpId="0" animBg="1"/>
      <p:bldP spid="73" grpId="0" animBg="1"/>
      <p:bldP spid="74" grpId="0" animBg="1"/>
      <p:bldP spid="75" grpId="0" animBg="1"/>
      <p:bldP spid="76" grpId="0" animBg="1"/>
      <p:bldP spid="77" grpId="0" animBg="1"/>
      <p:bldP spid="78" grpId="0" animBg="1"/>
      <p:bldP spid="79" grpId="0" animBg="1"/>
      <p:bldP spid="43" grpId="0" animBg="1"/>
    </p:bldLst>
  </p:timing>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rPr>
              <a:t>Reduced Infrastructure Requirements</a:t>
            </a:r>
            <a:endParaRPr lang="en-US" dirty="0">
              <a:solidFill>
                <a:schemeClr val="tx1"/>
              </a:solidFill>
            </a:endParaRPr>
          </a:p>
        </p:txBody>
      </p:sp>
      <p:sp>
        <p:nvSpPr>
          <p:cNvPr id="10" name="Rectangle 9"/>
          <p:cNvSpPr/>
          <p:nvPr/>
        </p:nvSpPr>
        <p:spPr>
          <a:xfrm>
            <a:off x="7835230" y="167880"/>
            <a:ext cx="960370" cy="275383"/>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0" tIns="0" rIns="0" bIns="0" rtlCol="0" anchor="ctr" anchorCtr="0"/>
          <a:lstStyle/>
          <a:p>
            <a:pPr algn="ctr"/>
            <a:r>
              <a:rPr lang="en-US" sz="1200" dirty="0">
                <a:solidFill>
                  <a:srgbClr val="FFFFFF"/>
                </a:solidFill>
                <a:ea typeface="Segoe UI" pitchFamily="34" charset="0"/>
                <a:cs typeface="Segoe UI" pitchFamily="34" charset="0"/>
              </a:rPr>
              <a:t>Unify</a:t>
            </a:r>
          </a:p>
        </p:txBody>
      </p:sp>
      <p:grpSp>
        <p:nvGrpSpPr>
          <p:cNvPr id="6" name="Group 5"/>
          <p:cNvGrpSpPr/>
          <p:nvPr/>
        </p:nvGrpSpPr>
        <p:grpSpPr>
          <a:xfrm>
            <a:off x="560824" y="1138455"/>
            <a:ext cx="2616246" cy="910637"/>
            <a:chOff x="539750" y="1517938"/>
            <a:chExt cx="3487420" cy="1214183"/>
          </a:xfrm>
        </p:grpSpPr>
        <p:sp>
          <p:nvSpPr>
            <p:cNvPr id="11" name="Rectangle 10"/>
            <p:cNvSpPr/>
            <p:nvPr/>
          </p:nvSpPr>
          <p:spPr>
            <a:xfrm>
              <a:off x="552450" y="1517938"/>
              <a:ext cx="3474720" cy="344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rgbClr val="FFFFFF"/>
                  </a:solidFill>
                </a:rPr>
                <a:t>Central Administration Site</a:t>
              </a:r>
            </a:p>
          </p:txBody>
        </p:sp>
        <p:sp>
          <p:nvSpPr>
            <p:cNvPr id="13" name="Rectangle 12"/>
            <p:cNvSpPr/>
            <p:nvPr/>
          </p:nvSpPr>
          <p:spPr>
            <a:xfrm flipH="1">
              <a:off x="539750" y="1909161"/>
              <a:ext cx="3474720" cy="822960"/>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137160" tIns="137160" rtlCol="0" anchor="t" anchorCtr="0"/>
            <a:lstStyle/>
            <a:p>
              <a:pPr marL="129791" indent="-129791">
                <a:buFont typeface="Arial" pitchFamily="34" charset="0"/>
                <a:buChar char="•"/>
              </a:pPr>
              <a:r>
                <a:rPr lang="en-US" sz="1100" dirty="0">
                  <a:solidFill>
                    <a:srgbClr val="FFFFFF"/>
                  </a:solidFill>
                  <a:ea typeface="Segoe UI" pitchFamily="34" charset="0"/>
                  <a:cs typeface="Segoe UI" pitchFamily="34" charset="0"/>
                </a:rPr>
                <a:t>Central primary site administration </a:t>
              </a:r>
            </a:p>
            <a:p>
              <a:pPr marL="129791" indent="-129791">
                <a:buFont typeface="Arial" pitchFamily="34" charset="0"/>
                <a:buChar char="•"/>
              </a:pPr>
              <a:r>
                <a:rPr lang="en-US" sz="1100" dirty="0">
                  <a:solidFill>
                    <a:srgbClr val="FFFFFF"/>
                  </a:solidFill>
                  <a:ea typeface="Segoe UI" pitchFamily="34" charset="0"/>
                  <a:cs typeface="Segoe UI" pitchFamily="34" charset="0"/>
                </a:rPr>
                <a:t>Reporting</a:t>
              </a:r>
            </a:p>
          </p:txBody>
        </p:sp>
      </p:grpSp>
      <p:grpSp>
        <p:nvGrpSpPr>
          <p:cNvPr id="5" name="Group 4"/>
          <p:cNvGrpSpPr/>
          <p:nvPr/>
        </p:nvGrpSpPr>
        <p:grpSpPr>
          <a:xfrm>
            <a:off x="3316290" y="1138455"/>
            <a:ext cx="2616246" cy="910637"/>
            <a:chOff x="4601137" y="1517938"/>
            <a:chExt cx="3487420" cy="1214183"/>
          </a:xfrm>
        </p:grpSpPr>
        <p:sp>
          <p:nvSpPr>
            <p:cNvPr id="14" name="Rectangle 13"/>
            <p:cNvSpPr/>
            <p:nvPr/>
          </p:nvSpPr>
          <p:spPr>
            <a:xfrm>
              <a:off x="4613837" y="1517938"/>
              <a:ext cx="3474720" cy="344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rgbClr val="FFFFFF"/>
                  </a:solidFill>
                </a:rPr>
                <a:t>Primary Sites</a:t>
              </a:r>
            </a:p>
          </p:txBody>
        </p:sp>
        <p:sp>
          <p:nvSpPr>
            <p:cNvPr id="15" name="Rectangle 14"/>
            <p:cNvSpPr/>
            <p:nvPr/>
          </p:nvSpPr>
          <p:spPr>
            <a:xfrm flipH="1">
              <a:off x="4601137" y="1909161"/>
              <a:ext cx="3474720" cy="822960"/>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137160" tIns="137160" rtlCol="0" anchor="t" anchorCtr="0"/>
            <a:lstStyle/>
            <a:p>
              <a:pPr marL="129791" indent="-129791">
                <a:buFont typeface="Arial" pitchFamily="34" charset="0"/>
                <a:buChar char="•"/>
              </a:pPr>
              <a:r>
                <a:rPr lang="en-US" sz="1100" dirty="0">
                  <a:solidFill>
                    <a:srgbClr val="FFFFFF"/>
                  </a:solidFill>
                  <a:ea typeface="Segoe UI" pitchFamily="34" charset="0"/>
                  <a:cs typeface="Segoe UI" pitchFamily="34" charset="0"/>
                </a:rPr>
                <a:t>Client management and settings </a:t>
              </a:r>
            </a:p>
            <a:p>
              <a:pPr marL="129791" indent="-129791">
                <a:buFont typeface="Arial" pitchFamily="34" charset="0"/>
                <a:buChar char="•"/>
              </a:pPr>
              <a:r>
                <a:rPr lang="en-US" sz="1100" dirty="0">
                  <a:solidFill>
                    <a:srgbClr val="FFFFFF"/>
                  </a:solidFill>
                  <a:ea typeface="Segoe UI" pitchFamily="34" charset="0"/>
                  <a:cs typeface="Segoe UI" pitchFamily="34" charset="0"/>
                </a:rPr>
                <a:t>Delegated administration</a:t>
              </a:r>
            </a:p>
            <a:p>
              <a:pPr marL="175039" indent="-175039">
                <a:buFont typeface="Arial" pitchFamily="34" charset="0"/>
                <a:buChar char="•"/>
              </a:pPr>
              <a:endParaRPr lang="en-US" sz="1100" dirty="0">
                <a:solidFill>
                  <a:srgbClr val="FFFFFF"/>
                </a:solidFill>
                <a:ea typeface="Segoe UI" pitchFamily="34" charset="0"/>
                <a:cs typeface="Segoe UI" pitchFamily="34" charset="0"/>
              </a:endParaRPr>
            </a:p>
          </p:txBody>
        </p:sp>
      </p:grpSp>
      <p:grpSp>
        <p:nvGrpSpPr>
          <p:cNvPr id="4" name="Group 3"/>
          <p:cNvGrpSpPr/>
          <p:nvPr/>
        </p:nvGrpSpPr>
        <p:grpSpPr>
          <a:xfrm>
            <a:off x="6071757" y="1138455"/>
            <a:ext cx="2616246" cy="910637"/>
            <a:chOff x="8256905" y="1517938"/>
            <a:chExt cx="3487420" cy="1214183"/>
          </a:xfrm>
        </p:grpSpPr>
        <p:sp>
          <p:nvSpPr>
            <p:cNvPr id="16" name="Rectangle 15"/>
            <p:cNvSpPr/>
            <p:nvPr/>
          </p:nvSpPr>
          <p:spPr>
            <a:xfrm>
              <a:off x="8269605" y="1517938"/>
              <a:ext cx="3474720" cy="344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rgbClr val="FFFFFF"/>
                  </a:solidFill>
                </a:rPr>
                <a:t>Secondary Sites</a:t>
              </a:r>
            </a:p>
          </p:txBody>
        </p:sp>
        <p:sp>
          <p:nvSpPr>
            <p:cNvPr id="17" name="Rectangle 16"/>
            <p:cNvSpPr/>
            <p:nvPr/>
          </p:nvSpPr>
          <p:spPr>
            <a:xfrm flipH="1">
              <a:off x="8256905" y="1909161"/>
              <a:ext cx="3474720" cy="822960"/>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137160" tIns="137160" rtlCol="0" anchor="t" anchorCtr="0"/>
            <a:lstStyle/>
            <a:p>
              <a:pPr marL="129791" indent="-129791">
                <a:buFont typeface="Arial" pitchFamily="34" charset="0"/>
                <a:buChar char="•"/>
              </a:pPr>
              <a:r>
                <a:rPr lang="en-US" sz="1100" dirty="0">
                  <a:solidFill>
                    <a:srgbClr val="FFFFFF"/>
                  </a:solidFill>
                  <a:ea typeface="Segoe UI" pitchFamily="34" charset="0"/>
                  <a:cs typeface="Segoe UI" pitchFamily="34" charset="0"/>
                </a:rPr>
                <a:t>Content routing</a:t>
              </a:r>
            </a:p>
            <a:p>
              <a:pPr marL="129791" indent="-129791">
                <a:buFont typeface="Arial" pitchFamily="34" charset="0"/>
                <a:buChar char="•"/>
              </a:pPr>
              <a:r>
                <a:rPr lang="en-US" sz="1100" dirty="0">
                  <a:solidFill>
                    <a:srgbClr val="FFFFFF"/>
                  </a:solidFill>
                  <a:ea typeface="Segoe UI" pitchFamily="34" charset="0"/>
                  <a:cs typeface="Segoe UI" pitchFamily="34" charset="0"/>
                </a:rPr>
                <a:t>Distributions points </a:t>
              </a:r>
            </a:p>
            <a:p>
              <a:endParaRPr lang="en-US" sz="1100" dirty="0">
                <a:solidFill>
                  <a:srgbClr val="FFFFFF"/>
                </a:solidFill>
                <a:ea typeface="Segoe UI" pitchFamily="34" charset="0"/>
                <a:cs typeface="Segoe UI" pitchFamily="34" charset="0"/>
              </a:endParaRPr>
            </a:p>
            <a:p>
              <a:pPr marL="175039" indent="-175039">
                <a:buFont typeface="Arial" pitchFamily="34" charset="0"/>
                <a:buChar char="•"/>
              </a:pPr>
              <a:endParaRPr lang="en-US" sz="1100" dirty="0">
                <a:solidFill>
                  <a:srgbClr val="FFFFFF"/>
                </a:solidFill>
                <a:ea typeface="Segoe UI" pitchFamily="34" charset="0"/>
                <a:cs typeface="Segoe UI" pitchFamily="34" charset="0"/>
              </a:endParaRPr>
            </a:p>
          </p:txBody>
        </p:sp>
      </p:grpSp>
      <p:pic>
        <p:nvPicPr>
          <p:cNvPr id="19" name="Picture 2" descr="\\MAGNUM\Projects\Microsoft\Cloud Power FY12\Design\ICONS_PNG\Building.png"/>
          <p:cNvPicPr>
            <a:picLocks noChangeAspect="1" noChangeArrowheads="1"/>
          </p:cNvPicPr>
          <p:nvPr/>
        </p:nvPicPr>
        <p:blipFill rotWithShape="1">
          <a:blip r:embed="rId3" cstate="print">
            <a:biLevel thresh="25000"/>
          </a:blip>
          <a:srcRect l="12148" t="16476" b="13427"/>
          <a:stretch/>
        </p:blipFill>
        <p:spPr bwMode="auto">
          <a:xfrm>
            <a:off x="4194711" y="2138127"/>
            <a:ext cx="823174" cy="656638"/>
          </a:xfrm>
          <a:prstGeom prst="rect">
            <a:avLst/>
          </a:prstGeom>
          <a:noFill/>
        </p:spPr>
      </p:pic>
      <p:sp>
        <p:nvSpPr>
          <p:cNvPr id="37" name="TextBox 36"/>
          <p:cNvSpPr txBox="1"/>
          <p:nvPr/>
        </p:nvSpPr>
        <p:spPr>
          <a:xfrm>
            <a:off x="3911032" y="2781214"/>
            <a:ext cx="1424359" cy="588621"/>
          </a:xfrm>
          <a:prstGeom prst="rect">
            <a:avLst/>
          </a:prstGeom>
          <a:noFill/>
          <a:ln>
            <a:noFill/>
          </a:ln>
        </p:spPr>
        <p:txBody>
          <a:bodyPr wrap="square" lIns="68586" tIns="34294" rIns="68586" bIns="34294" rtlCol="0">
            <a:spAutoFit/>
          </a:bodyPr>
          <a:lstStyle/>
          <a:p>
            <a:pPr algn="ctr"/>
            <a:r>
              <a:rPr lang="en-US" sz="1100" dirty="0">
                <a:solidFill>
                  <a:srgbClr val="FFFFFF"/>
                </a:solidFill>
              </a:rPr>
              <a:t>Central Administration </a:t>
            </a:r>
            <a:br>
              <a:rPr lang="en-US" sz="1100" dirty="0">
                <a:solidFill>
                  <a:srgbClr val="FFFFFF"/>
                </a:solidFill>
              </a:rPr>
            </a:br>
            <a:r>
              <a:rPr lang="en-US" sz="1100" dirty="0">
                <a:solidFill>
                  <a:srgbClr val="FFFFFF"/>
                </a:solidFill>
              </a:rPr>
              <a:t>Site</a:t>
            </a:r>
          </a:p>
        </p:txBody>
      </p:sp>
      <p:grpSp>
        <p:nvGrpSpPr>
          <p:cNvPr id="51" name="Group 50"/>
          <p:cNvGrpSpPr/>
          <p:nvPr/>
        </p:nvGrpSpPr>
        <p:grpSpPr>
          <a:xfrm>
            <a:off x="2153079" y="3071972"/>
            <a:ext cx="970195" cy="745950"/>
            <a:chOff x="3251999" y="4362188"/>
            <a:chExt cx="1293256" cy="994600"/>
          </a:xfrm>
        </p:grpSpPr>
        <p:pic>
          <p:nvPicPr>
            <p:cNvPr id="20" name="Picture 2" descr="\\MAGNUM\Projects\Microsoft\Cloud Power FY12\Design\ICONS_PNG\Building.png"/>
            <p:cNvPicPr>
              <a:picLocks noChangeAspect="1" noChangeArrowheads="1"/>
            </p:cNvPicPr>
            <p:nvPr/>
          </p:nvPicPr>
          <p:blipFill rotWithShape="1">
            <a:blip r:embed="rId3" cstate="print">
              <a:biLevel thresh="25000"/>
            </a:blip>
            <a:srcRect l="12148" t="16476" b="13427"/>
            <a:stretch/>
          </p:blipFill>
          <p:spPr bwMode="auto">
            <a:xfrm>
              <a:off x="3524250" y="4362188"/>
              <a:ext cx="822960" cy="656638"/>
            </a:xfrm>
            <a:prstGeom prst="rect">
              <a:avLst/>
            </a:prstGeom>
            <a:noFill/>
          </p:spPr>
        </p:pic>
        <p:sp>
          <p:nvSpPr>
            <p:cNvPr id="38" name="TextBox 37"/>
            <p:cNvSpPr txBox="1"/>
            <p:nvPr/>
          </p:nvSpPr>
          <p:spPr>
            <a:xfrm>
              <a:off x="3251999" y="5007975"/>
              <a:ext cx="1293256" cy="348813"/>
            </a:xfrm>
            <a:prstGeom prst="rect">
              <a:avLst/>
            </a:prstGeom>
            <a:noFill/>
            <a:ln>
              <a:noFill/>
            </a:ln>
          </p:spPr>
          <p:txBody>
            <a:bodyPr wrap="square" rtlCol="0">
              <a:spAutoFit/>
            </a:bodyPr>
            <a:lstStyle/>
            <a:p>
              <a:pPr algn="ctr"/>
              <a:r>
                <a:rPr lang="en-US" sz="1100" dirty="0">
                  <a:solidFill>
                    <a:srgbClr val="FFFFFF"/>
                  </a:solidFill>
                </a:rPr>
                <a:t>Primary Site </a:t>
              </a:r>
            </a:p>
          </p:txBody>
        </p:sp>
      </p:grpSp>
      <p:grpSp>
        <p:nvGrpSpPr>
          <p:cNvPr id="52" name="Group 51"/>
          <p:cNvGrpSpPr/>
          <p:nvPr/>
        </p:nvGrpSpPr>
        <p:grpSpPr>
          <a:xfrm>
            <a:off x="6087080" y="3071972"/>
            <a:ext cx="1003093" cy="745950"/>
            <a:chOff x="7641162" y="4362188"/>
            <a:chExt cx="1337109" cy="994600"/>
          </a:xfrm>
        </p:grpSpPr>
        <p:pic>
          <p:nvPicPr>
            <p:cNvPr id="21" name="Picture 2" descr="\\MAGNUM\Projects\Microsoft\Cloud Power FY12\Design\ICONS_PNG\Building.png"/>
            <p:cNvPicPr>
              <a:picLocks noChangeAspect="1" noChangeArrowheads="1"/>
            </p:cNvPicPr>
            <p:nvPr/>
          </p:nvPicPr>
          <p:blipFill rotWithShape="1">
            <a:blip r:embed="rId3" cstate="print">
              <a:biLevel thresh="25000"/>
            </a:blip>
            <a:srcRect l="12148" t="16476" b="13427"/>
            <a:stretch/>
          </p:blipFill>
          <p:spPr bwMode="auto">
            <a:xfrm>
              <a:off x="7847012" y="4362188"/>
              <a:ext cx="822960" cy="656638"/>
            </a:xfrm>
            <a:prstGeom prst="rect">
              <a:avLst/>
            </a:prstGeom>
            <a:noFill/>
          </p:spPr>
        </p:pic>
        <p:sp>
          <p:nvSpPr>
            <p:cNvPr id="39" name="TextBox 38"/>
            <p:cNvSpPr txBox="1"/>
            <p:nvPr/>
          </p:nvSpPr>
          <p:spPr>
            <a:xfrm>
              <a:off x="7641162" y="5007975"/>
              <a:ext cx="1337109" cy="348813"/>
            </a:xfrm>
            <a:prstGeom prst="rect">
              <a:avLst/>
            </a:prstGeom>
            <a:noFill/>
            <a:ln>
              <a:noFill/>
            </a:ln>
          </p:spPr>
          <p:txBody>
            <a:bodyPr wrap="square" rtlCol="0">
              <a:spAutoFit/>
            </a:bodyPr>
            <a:lstStyle/>
            <a:p>
              <a:pPr algn="ctr"/>
              <a:r>
                <a:rPr lang="en-US" sz="1100" dirty="0">
                  <a:solidFill>
                    <a:srgbClr val="FFFFFF"/>
                  </a:solidFill>
                </a:rPr>
                <a:t>Primary Site </a:t>
              </a:r>
            </a:p>
          </p:txBody>
        </p:sp>
      </p:grpSp>
      <p:grpSp>
        <p:nvGrpSpPr>
          <p:cNvPr id="18" name="Group 17"/>
          <p:cNvGrpSpPr/>
          <p:nvPr/>
        </p:nvGrpSpPr>
        <p:grpSpPr>
          <a:xfrm>
            <a:off x="1106895" y="4257360"/>
            <a:ext cx="3203869" cy="831608"/>
            <a:chOff x="1718549" y="5873255"/>
            <a:chExt cx="4270713" cy="1108811"/>
          </a:xfrm>
        </p:grpSpPr>
        <p:pic>
          <p:nvPicPr>
            <p:cNvPr id="32" name="Picture 31"/>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038589" y="5873255"/>
              <a:ext cx="731520" cy="470980"/>
            </a:xfrm>
            <a:prstGeom prst="rect">
              <a:avLst/>
            </a:prstGeom>
            <a:effectLst/>
          </p:spPr>
        </p:pic>
        <p:pic>
          <p:nvPicPr>
            <p:cNvPr id="33" name="Picture 32"/>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488145" y="5873255"/>
              <a:ext cx="731520" cy="470980"/>
            </a:xfrm>
            <a:prstGeom prst="rect">
              <a:avLst/>
            </a:prstGeom>
            <a:effectLst/>
          </p:spPr>
        </p:pic>
        <p:pic>
          <p:nvPicPr>
            <p:cNvPr id="35" name="Picture 34"/>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937702" y="5873255"/>
              <a:ext cx="731520" cy="470980"/>
            </a:xfrm>
            <a:prstGeom prst="rect">
              <a:avLst/>
            </a:prstGeom>
            <a:effectLst/>
          </p:spPr>
        </p:pic>
        <p:sp>
          <p:nvSpPr>
            <p:cNvPr id="41" name="TextBox 40"/>
            <p:cNvSpPr txBox="1"/>
            <p:nvPr/>
          </p:nvSpPr>
          <p:spPr>
            <a:xfrm>
              <a:off x="1718549" y="6407550"/>
              <a:ext cx="1371600" cy="574516"/>
            </a:xfrm>
            <a:prstGeom prst="rect">
              <a:avLst/>
            </a:prstGeom>
            <a:noFill/>
            <a:ln>
              <a:noFill/>
            </a:ln>
          </p:spPr>
          <p:txBody>
            <a:bodyPr wrap="square" rtlCol="0">
              <a:spAutoFit/>
            </a:bodyPr>
            <a:lstStyle/>
            <a:p>
              <a:pPr algn="ctr"/>
              <a:r>
                <a:rPr lang="en-US" sz="1100">
                  <a:solidFill>
                    <a:srgbClr val="FFFFFF"/>
                  </a:solidFill>
                </a:rPr>
                <a:t>Secondary Site </a:t>
              </a:r>
              <a:endParaRPr lang="en-US" sz="1100" dirty="0">
                <a:solidFill>
                  <a:srgbClr val="FFFFFF"/>
                </a:solidFill>
              </a:endParaRPr>
            </a:p>
          </p:txBody>
        </p:sp>
        <p:sp>
          <p:nvSpPr>
            <p:cNvPr id="42" name="TextBox 41"/>
            <p:cNvSpPr txBox="1"/>
            <p:nvPr/>
          </p:nvSpPr>
          <p:spPr>
            <a:xfrm>
              <a:off x="3168105" y="6407550"/>
              <a:ext cx="1371600" cy="574516"/>
            </a:xfrm>
            <a:prstGeom prst="rect">
              <a:avLst/>
            </a:prstGeom>
            <a:noFill/>
            <a:ln>
              <a:noFill/>
            </a:ln>
          </p:spPr>
          <p:txBody>
            <a:bodyPr wrap="square" rtlCol="0">
              <a:spAutoFit/>
            </a:bodyPr>
            <a:lstStyle/>
            <a:p>
              <a:pPr algn="ctr"/>
              <a:r>
                <a:rPr lang="en-US" sz="1100">
                  <a:solidFill>
                    <a:srgbClr val="FFFFFF"/>
                  </a:solidFill>
                </a:rPr>
                <a:t>Secondary Site </a:t>
              </a:r>
              <a:endParaRPr lang="en-US" sz="1100" dirty="0">
                <a:solidFill>
                  <a:srgbClr val="FFFFFF"/>
                </a:solidFill>
              </a:endParaRPr>
            </a:p>
          </p:txBody>
        </p:sp>
        <p:sp>
          <p:nvSpPr>
            <p:cNvPr id="44" name="TextBox 43"/>
            <p:cNvSpPr txBox="1"/>
            <p:nvPr/>
          </p:nvSpPr>
          <p:spPr>
            <a:xfrm>
              <a:off x="4617662" y="6407550"/>
              <a:ext cx="1371600" cy="574516"/>
            </a:xfrm>
            <a:prstGeom prst="rect">
              <a:avLst/>
            </a:prstGeom>
            <a:noFill/>
            <a:ln>
              <a:noFill/>
            </a:ln>
          </p:spPr>
          <p:txBody>
            <a:bodyPr wrap="square" rtlCol="0">
              <a:spAutoFit/>
            </a:bodyPr>
            <a:lstStyle/>
            <a:p>
              <a:pPr algn="ctr"/>
              <a:r>
                <a:rPr lang="en-US" sz="1100">
                  <a:solidFill>
                    <a:srgbClr val="FFFFFF"/>
                  </a:solidFill>
                </a:rPr>
                <a:t>Secondary Site </a:t>
              </a:r>
              <a:endParaRPr lang="en-US" sz="1100" dirty="0">
                <a:solidFill>
                  <a:srgbClr val="FFFFFF"/>
                </a:solidFill>
              </a:endParaRPr>
            </a:p>
          </p:txBody>
        </p:sp>
      </p:grpSp>
      <p:grpSp>
        <p:nvGrpSpPr>
          <p:cNvPr id="30" name="Group 29"/>
          <p:cNvGrpSpPr/>
          <p:nvPr/>
        </p:nvGrpSpPr>
        <p:grpSpPr>
          <a:xfrm>
            <a:off x="4948546" y="4257360"/>
            <a:ext cx="3203869" cy="831608"/>
            <a:chOff x="6839416" y="5873255"/>
            <a:chExt cx="4270713" cy="1108811"/>
          </a:xfrm>
        </p:grpSpPr>
        <p:pic>
          <p:nvPicPr>
            <p:cNvPr id="45" name="Picture 44"/>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159456" y="5873255"/>
              <a:ext cx="731520" cy="470980"/>
            </a:xfrm>
            <a:prstGeom prst="rect">
              <a:avLst/>
            </a:prstGeom>
            <a:effectLst/>
          </p:spPr>
        </p:pic>
        <p:pic>
          <p:nvPicPr>
            <p:cNvPr id="46" name="Picture 45"/>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609012" y="5873255"/>
              <a:ext cx="731520" cy="470980"/>
            </a:xfrm>
            <a:prstGeom prst="rect">
              <a:avLst/>
            </a:prstGeom>
            <a:effectLst/>
          </p:spPr>
        </p:pic>
        <p:pic>
          <p:nvPicPr>
            <p:cNvPr id="47" name="Picture 46"/>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0058569" y="5873255"/>
              <a:ext cx="731520" cy="470980"/>
            </a:xfrm>
            <a:prstGeom prst="rect">
              <a:avLst/>
            </a:prstGeom>
            <a:effectLst/>
          </p:spPr>
        </p:pic>
        <p:sp>
          <p:nvSpPr>
            <p:cNvPr id="48" name="TextBox 47"/>
            <p:cNvSpPr txBox="1"/>
            <p:nvPr/>
          </p:nvSpPr>
          <p:spPr>
            <a:xfrm>
              <a:off x="6839416" y="6407550"/>
              <a:ext cx="1371600" cy="574516"/>
            </a:xfrm>
            <a:prstGeom prst="rect">
              <a:avLst/>
            </a:prstGeom>
            <a:noFill/>
            <a:ln>
              <a:noFill/>
            </a:ln>
          </p:spPr>
          <p:txBody>
            <a:bodyPr wrap="square" rtlCol="0">
              <a:spAutoFit/>
            </a:bodyPr>
            <a:lstStyle/>
            <a:p>
              <a:pPr algn="ctr"/>
              <a:r>
                <a:rPr lang="en-US" sz="1100" dirty="0">
                  <a:solidFill>
                    <a:srgbClr val="FFFFFF"/>
                  </a:solidFill>
                </a:rPr>
                <a:t>Secondary Site </a:t>
              </a:r>
            </a:p>
          </p:txBody>
        </p:sp>
        <p:sp>
          <p:nvSpPr>
            <p:cNvPr id="49" name="TextBox 48"/>
            <p:cNvSpPr txBox="1"/>
            <p:nvPr/>
          </p:nvSpPr>
          <p:spPr>
            <a:xfrm>
              <a:off x="8288972" y="6407550"/>
              <a:ext cx="1371600" cy="574516"/>
            </a:xfrm>
            <a:prstGeom prst="rect">
              <a:avLst/>
            </a:prstGeom>
            <a:noFill/>
            <a:ln>
              <a:noFill/>
            </a:ln>
          </p:spPr>
          <p:txBody>
            <a:bodyPr wrap="square" rtlCol="0">
              <a:spAutoFit/>
            </a:bodyPr>
            <a:lstStyle/>
            <a:p>
              <a:pPr algn="ctr"/>
              <a:r>
                <a:rPr lang="en-US" sz="1100" dirty="0">
                  <a:solidFill>
                    <a:srgbClr val="FFFFFF"/>
                  </a:solidFill>
                </a:rPr>
                <a:t>Secondary Site </a:t>
              </a:r>
            </a:p>
          </p:txBody>
        </p:sp>
        <p:sp>
          <p:nvSpPr>
            <p:cNvPr id="50" name="TextBox 49"/>
            <p:cNvSpPr txBox="1"/>
            <p:nvPr/>
          </p:nvSpPr>
          <p:spPr>
            <a:xfrm>
              <a:off x="9738529" y="6407550"/>
              <a:ext cx="1371600" cy="574516"/>
            </a:xfrm>
            <a:prstGeom prst="rect">
              <a:avLst/>
            </a:prstGeom>
            <a:noFill/>
            <a:ln>
              <a:noFill/>
            </a:ln>
          </p:spPr>
          <p:txBody>
            <a:bodyPr wrap="square" rtlCol="0">
              <a:spAutoFit/>
            </a:bodyPr>
            <a:lstStyle/>
            <a:p>
              <a:pPr algn="ctr"/>
              <a:r>
                <a:rPr lang="en-US" sz="1100" dirty="0">
                  <a:solidFill>
                    <a:srgbClr val="FFFFFF"/>
                  </a:solidFill>
                </a:rPr>
                <a:t>Secondary Site </a:t>
              </a:r>
            </a:p>
          </p:txBody>
        </p:sp>
      </p:grpSp>
      <p:cxnSp>
        <p:nvCxnSpPr>
          <p:cNvPr id="53" name="Straight Arrow Connector 52"/>
          <p:cNvCxnSpPr/>
          <p:nvPr/>
        </p:nvCxnSpPr>
        <p:spPr>
          <a:xfrm flipH="1">
            <a:off x="2900215" y="2634113"/>
            <a:ext cx="1247289" cy="437861"/>
          </a:xfrm>
          <a:prstGeom prst="straightConnector1">
            <a:avLst/>
          </a:prstGeom>
          <a:ln w="25400" cap="rnd">
            <a:solidFill>
              <a:schemeClr val="tx1"/>
            </a:solidFill>
            <a:prstDash val="sysDot"/>
            <a:tailEnd type="oval" w="sm" len="sm"/>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a:off x="5113776" y="2634113"/>
            <a:ext cx="1247289" cy="437861"/>
          </a:xfrm>
          <a:prstGeom prst="straightConnector1">
            <a:avLst/>
          </a:prstGeom>
          <a:ln w="25400" cap="rnd">
            <a:solidFill>
              <a:schemeClr val="tx1"/>
            </a:solidFill>
            <a:prstDash val="sysDot"/>
            <a:tailEnd type="oval" w="sm" len="sm"/>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flipH="1">
            <a:off x="1605987" y="3839534"/>
            <a:ext cx="998995" cy="308315"/>
          </a:xfrm>
          <a:prstGeom prst="straightConnector1">
            <a:avLst/>
          </a:prstGeom>
          <a:ln w="25400" cap="rnd">
            <a:solidFill>
              <a:schemeClr val="tx1"/>
            </a:solidFill>
            <a:prstDash val="sysDot"/>
            <a:tailEnd type="oval" w="sm" len="sm"/>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a:off x="2670415" y="3839534"/>
            <a:ext cx="998995" cy="308315"/>
          </a:xfrm>
          <a:prstGeom prst="straightConnector1">
            <a:avLst/>
          </a:prstGeom>
          <a:ln w="25400" cap="rnd">
            <a:solidFill>
              <a:schemeClr val="tx1"/>
            </a:solidFill>
            <a:prstDash val="sysDot"/>
            <a:tailEnd type="oval" w="sm" len="sm"/>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a:off x="2638912" y="3881438"/>
            <a:ext cx="0" cy="266411"/>
          </a:xfrm>
          <a:prstGeom prst="straightConnector1">
            <a:avLst/>
          </a:prstGeom>
          <a:ln w="25400" cap="rnd">
            <a:solidFill>
              <a:schemeClr val="tx1"/>
            </a:solidFill>
            <a:prstDash val="sysDot"/>
            <a:tailEnd type="oval" w="sm" len="sm"/>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flipH="1">
            <a:off x="5565509" y="3839534"/>
            <a:ext cx="998995" cy="308315"/>
          </a:xfrm>
          <a:prstGeom prst="straightConnector1">
            <a:avLst/>
          </a:prstGeom>
          <a:ln w="25400" cap="rnd">
            <a:solidFill>
              <a:schemeClr val="tx1"/>
            </a:solidFill>
            <a:prstDash val="sysDot"/>
            <a:tailEnd type="oval" w="sm" len="sm"/>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a:off x="6629935" y="3839534"/>
            <a:ext cx="998995" cy="308315"/>
          </a:xfrm>
          <a:prstGeom prst="straightConnector1">
            <a:avLst/>
          </a:prstGeom>
          <a:ln w="25400" cap="rnd">
            <a:solidFill>
              <a:schemeClr val="tx1"/>
            </a:solidFill>
            <a:prstDash val="sysDot"/>
            <a:tailEnd type="oval" w="sm" len="sm"/>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a:off x="6598433" y="3881438"/>
            <a:ext cx="0" cy="266411"/>
          </a:xfrm>
          <a:prstGeom prst="straightConnector1">
            <a:avLst/>
          </a:prstGeom>
          <a:ln w="25400" cap="rnd">
            <a:solidFill>
              <a:schemeClr val="tx1"/>
            </a:solidFill>
            <a:prstDash val="sysDot"/>
            <a:tailEnd type="oval" w="sm" len="sm"/>
          </a:ln>
        </p:spPr>
        <p:style>
          <a:lnRef idx="1">
            <a:schemeClr val="accent1"/>
          </a:lnRef>
          <a:fillRef idx="0">
            <a:schemeClr val="accent1"/>
          </a:fillRef>
          <a:effectRef idx="0">
            <a:schemeClr val="accent1"/>
          </a:effectRef>
          <a:fontRef idx="minor">
            <a:schemeClr val="tx1"/>
          </a:fontRef>
        </p:style>
      </p:cxnSp>
      <p:sp>
        <p:nvSpPr>
          <p:cNvPr id="43"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54"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5"/>
              </a:rPr>
              <a:t>www.rapidbbs.cn</a:t>
            </a:r>
            <a:endParaRPr lang="zh-CN" altLang="en-US" sz="1200" b="0">
              <a:latin typeface="Arial" charset="0"/>
              <a:ea typeface="ＭＳ Ｐゴシック" pitchFamily="34" charset="-128"/>
            </a:endParaRPr>
          </a:p>
        </p:txBody>
      </p:sp>
      <p:pic>
        <p:nvPicPr>
          <p:cNvPr id="57" name="Picture 2">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37236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1000"/>
                                        <p:tgtEl>
                                          <p:spTgt spid="1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7"/>
                                        </p:tgtEl>
                                        <p:attrNameLst>
                                          <p:attrName>style.visibility</p:attrName>
                                        </p:attrNameLst>
                                      </p:cBhvr>
                                      <p:to>
                                        <p:strVal val="visible"/>
                                      </p:to>
                                    </p:set>
                                    <p:animEffect transition="in" filter="fade">
                                      <p:cBhvr>
                                        <p:cTn id="13" dur="1000"/>
                                        <p:tgtEl>
                                          <p:spTgt spid="3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1000"/>
                                        <p:tgtEl>
                                          <p:spTgt spid="5"/>
                                        </p:tgtEl>
                                      </p:cBhvr>
                                    </p:animEffect>
                                  </p:childTnLst>
                                </p:cTn>
                              </p:par>
                            </p:childTnLst>
                          </p:cTn>
                        </p:par>
                        <p:par>
                          <p:cTn id="19" fill="hold">
                            <p:stCondLst>
                              <p:cond delay="1000"/>
                            </p:stCondLst>
                            <p:childTnLst>
                              <p:par>
                                <p:cTn id="20" presetID="22" presetClass="entr" presetSubtype="2" fill="hold" nodeType="afterEffect">
                                  <p:stCondLst>
                                    <p:cond delay="0"/>
                                  </p:stCondLst>
                                  <p:childTnLst>
                                    <p:set>
                                      <p:cBhvr>
                                        <p:cTn id="21" dur="1" fill="hold">
                                          <p:stCondLst>
                                            <p:cond delay="0"/>
                                          </p:stCondLst>
                                        </p:cTn>
                                        <p:tgtEl>
                                          <p:spTgt spid="53"/>
                                        </p:tgtEl>
                                        <p:attrNameLst>
                                          <p:attrName>style.visibility</p:attrName>
                                        </p:attrNameLst>
                                      </p:cBhvr>
                                      <p:to>
                                        <p:strVal val="visible"/>
                                      </p:to>
                                    </p:set>
                                    <p:animEffect transition="in" filter="wipe(right)">
                                      <p:cBhvr>
                                        <p:cTn id="22" dur="500"/>
                                        <p:tgtEl>
                                          <p:spTgt spid="53"/>
                                        </p:tgtEl>
                                      </p:cBhvr>
                                    </p:animEffect>
                                  </p:childTnLst>
                                </p:cTn>
                              </p:par>
                              <p:par>
                                <p:cTn id="23" presetID="22" presetClass="entr" presetSubtype="8" fill="hold" nodeType="withEffect">
                                  <p:stCondLst>
                                    <p:cond delay="0"/>
                                  </p:stCondLst>
                                  <p:childTnLst>
                                    <p:set>
                                      <p:cBhvr>
                                        <p:cTn id="24" dur="1" fill="hold">
                                          <p:stCondLst>
                                            <p:cond delay="0"/>
                                          </p:stCondLst>
                                        </p:cTn>
                                        <p:tgtEl>
                                          <p:spTgt spid="55"/>
                                        </p:tgtEl>
                                        <p:attrNameLst>
                                          <p:attrName>style.visibility</p:attrName>
                                        </p:attrNameLst>
                                      </p:cBhvr>
                                      <p:to>
                                        <p:strVal val="visible"/>
                                      </p:to>
                                    </p:set>
                                    <p:animEffect transition="in" filter="wipe(left)">
                                      <p:cBhvr>
                                        <p:cTn id="25" dur="500"/>
                                        <p:tgtEl>
                                          <p:spTgt spid="55"/>
                                        </p:tgtEl>
                                      </p:cBhvr>
                                    </p:animEffect>
                                  </p:childTnLst>
                                </p:cTn>
                              </p:par>
                            </p:childTnLst>
                          </p:cTn>
                        </p:par>
                        <p:par>
                          <p:cTn id="26" fill="hold">
                            <p:stCondLst>
                              <p:cond delay="1500"/>
                            </p:stCondLst>
                            <p:childTnLst>
                              <p:par>
                                <p:cTn id="27" presetID="10" presetClass="entr" presetSubtype="0" fill="hold" nodeType="afterEffect">
                                  <p:stCondLst>
                                    <p:cond delay="0"/>
                                  </p:stCondLst>
                                  <p:childTnLst>
                                    <p:set>
                                      <p:cBhvr>
                                        <p:cTn id="28" dur="1" fill="hold">
                                          <p:stCondLst>
                                            <p:cond delay="0"/>
                                          </p:stCondLst>
                                        </p:cTn>
                                        <p:tgtEl>
                                          <p:spTgt spid="51"/>
                                        </p:tgtEl>
                                        <p:attrNameLst>
                                          <p:attrName>style.visibility</p:attrName>
                                        </p:attrNameLst>
                                      </p:cBhvr>
                                      <p:to>
                                        <p:strVal val="visible"/>
                                      </p:to>
                                    </p:set>
                                    <p:animEffect transition="in" filter="fade">
                                      <p:cBhvr>
                                        <p:cTn id="29" dur="1000"/>
                                        <p:tgtEl>
                                          <p:spTgt spid="51"/>
                                        </p:tgtEl>
                                      </p:cBhvr>
                                    </p:animEffect>
                                  </p:childTnLst>
                                </p:cTn>
                              </p:par>
                              <p:par>
                                <p:cTn id="30" presetID="10" presetClass="entr" presetSubtype="0" fill="hold" nodeType="withEffect">
                                  <p:stCondLst>
                                    <p:cond delay="0"/>
                                  </p:stCondLst>
                                  <p:childTnLst>
                                    <p:set>
                                      <p:cBhvr>
                                        <p:cTn id="31" dur="1" fill="hold">
                                          <p:stCondLst>
                                            <p:cond delay="0"/>
                                          </p:stCondLst>
                                        </p:cTn>
                                        <p:tgtEl>
                                          <p:spTgt spid="52"/>
                                        </p:tgtEl>
                                        <p:attrNameLst>
                                          <p:attrName>style.visibility</p:attrName>
                                        </p:attrNameLst>
                                      </p:cBhvr>
                                      <p:to>
                                        <p:strVal val="visible"/>
                                      </p:to>
                                    </p:set>
                                    <p:animEffect transition="in" filter="fade">
                                      <p:cBhvr>
                                        <p:cTn id="32" dur="1000"/>
                                        <p:tgtEl>
                                          <p:spTgt spid="52"/>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4"/>
                                        </p:tgtEl>
                                        <p:attrNameLst>
                                          <p:attrName>style.visibility</p:attrName>
                                        </p:attrNameLst>
                                      </p:cBhvr>
                                      <p:to>
                                        <p:strVal val="visible"/>
                                      </p:to>
                                    </p:set>
                                    <p:animEffect transition="in" filter="fade">
                                      <p:cBhvr>
                                        <p:cTn id="37" dur="1000"/>
                                        <p:tgtEl>
                                          <p:spTgt spid="4"/>
                                        </p:tgtEl>
                                      </p:cBhvr>
                                    </p:animEffect>
                                  </p:childTnLst>
                                </p:cTn>
                              </p:par>
                            </p:childTnLst>
                          </p:cTn>
                        </p:par>
                        <p:par>
                          <p:cTn id="38" fill="hold">
                            <p:stCondLst>
                              <p:cond delay="1000"/>
                            </p:stCondLst>
                            <p:childTnLst>
                              <p:par>
                                <p:cTn id="39" presetID="22" presetClass="entr" presetSubtype="1" fill="hold" nodeType="afterEffect">
                                  <p:stCondLst>
                                    <p:cond delay="0"/>
                                  </p:stCondLst>
                                  <p:childTnLst>
                                    <p:set>
                                      <p:cBhvr>
                                        <p:cTn id="40" dur="1" fill="hold">
                                          <p:stCondLst>
                                            <p:cond delay="0"/>
                                          </p:stCondLst>
                                        </p:cTn>
                                        <p:tgtEl>
                                          <p:spTgt spid="56"/>
                                        </p:tgtEl>
                                        <p:attrNameLst>
                                          <p:attrName>style.visibility</p:attrName>
                                        </p:attrNameLst>
                                      </p:cBhvr>
                                      <p:to>
                                        <p:strVal val="visible"/>
                                      </p:to>
                                    </p:set>
                                    <p:animEffect transition="in" filter="wipe(up)">
                                      <p:cBhvr>
                                        <p:cTn id="41" dur="500"/>
                                        <p:tgtEl>
                                          <p:spTgt spid="56"/>
                                        </p:tgtEl>
                                      </p:cBhvr>
                                    </p:animEffect>
                                  </p:childTnLst>
                                </p:cTn>
                              </p:par>
                              <p:par>
                                <p:cTn id="42" presetID="22" presetClass="entr" presetSubtype="1" fill="hold" nodeType="withEffect">
                                  <p:stCondLst>
                                    <p:cond delay="0"/>
                                  </p:stCondLst>
                                  <p:childTnLst>
                                    <p:set>
                                      <p:cBhvr>
                                        <p:cTn id="43" dur="1" fill="hold">
                                          <p:stCondLst>
                                            <p:cond delay="0"/>
                                          </p:stCondLst>
                                        </p:cTn>
                                        <p:tgtEl>
                                          <p:spTgt spid="60"/>
                                        </p:tgtEl>
                                        <p:attrNameLst>
                                          <p:attrName>style.visibility</p:attrName>
                                        </p:attrNameLst>
                                      </p:cBhvr>
                                      <p:to>
                                        <p:strVal val="visible"/>
                                      </p:to>
                                    </p:set>
                                    <p:animEffect transition="in" filter="wipe(up)">
                                      <p:cBhvr>
                                        <p:cTn id="44" dur="500"/>
                                        <p:tgtEl>
                                          <p:spTgt spid="60"/>
                                        </p:tgtEl>
                                      </p:cBhvr>
                                    </p:animEffect>
                                  </p:childTnLst>
                                </p:cTn>
                              </p:par>
                              <p:par>
                                <p:cTn id="45" presetID="22" presetClass="entr" presetSubtype="1" fill="hold" nodeType="withEffect">
                                  <p:stCondLst>
                                    <p:cond delay="0"/>
                                  </p:stCondLst>
                                  <p:childTnLst>
                                    <p:set>
                                      <p:cBhvr>
                                        <p:cTn id="46" dur="1" fill="hold">
                                          <p:stCondLst>
                                            <p:cond delay="0"/>
                                          </p:stCondLst>
                                        </p:cTn>
                                        <p:tgtEl>
                                          <p:spTgt spid="59"/>
                                        </p:tgtEl>
                                        <p:attrNameLst>
                                          <p:attrName>style.visibility</p:attrName>
                                        </p:attrNameLst>
                                      </p:cBhvr>
                                      <p:to>
                                        <p:strVal val="visible"/>
                                      </p:to>
                                    </p:set>
                                    <p:animEffect transition="in" filter="wipe(up)">
                                      <p:cBhvr>
                                        <p:cTn id="47" dur="500"/>
                                        <p:tgtEl>
                                          <p:spTgt spid="59"/>
                                        </p:tgtEl>
                                      </p:cBhvr>
                                    </p:animEffect>
                                  </p:childTnLst>
                                </p:cTn>
                              </p:par>
                              <p:par>
                                <p:cTn id="48" presetID="22" presetClass="entr" presetSubtype="1" fill="hold" nodeType="withEffect">
                                  <p:stCondLst>
                                    <p:cond delay="0"/>
                                  </p:stCondLst>
                                  <p:childTnLst>
                                    <p:set>
                                      <p:cBhvr>
                                        <p:cTn id="49" dur="1" fill="hold">
                                          <p:stCondLst>
                                            <p:cond delay="0"/>
                                          </p:stCondLst>
                                        </p:cTn>
                                        <p:tgtEl>
                                          <p:spTgt spid="62"/>
                                        </p:tgtEl>
                                        <p:attrNameLst>
                                          <p:attrName>style.visibility</p:attrName>
                                        </p:attrNameLst>
                                      </p:cBhvr>
                                      <p:to>
                                        <p:strVal val="visible"/>
                                      </p:to>
                                    </p:set>
                                    <p:animEffect transition="in" filter="wipe(up)">
                                      <p:cBhvr>
                                        <p:cTn id="50" dur="500"/>
                                        <p:tgtEl>
                                          <p:spTgt spid="62"/>
                                        </p:tgtEl>
                                      </p:cBhvr>
                                    </p:animEffect>
                                  </p:childTnLst>
                                </p:cTn>
                              </p:par>
                              <p:par>
                                <p:cTn id="51" presetID="22" presetClass="entr" presetSubtype="1" fill="hold" nodeType="withEffect">
                                  <p:stCondLst>
                                    <p:cond delay="0"/>
                                  </p:stCondLst>
                                  <p:childTnLst>
                                    <p:set>
                                      <p:cBhvr>
                                        <p:cTn id="52" dur="1" fill="hold">
                                          <p:stCondLst>
                                            <p:cond delay="0"/>
                                          </p:stCondLst>
                                        </p:cTn>
                                        <p:tgtEl>
                                          <p:spTgt spid="64"/>
                                        </p:tgtEl>
                                        <p:attrNameLst>
                                          <p:attrName>style.visibility</p:attrName>
                                        </p:attrNameLst>
                                      </p:cBhvr>
                                      <p:to>
                                        <p:strVal val="visible"/>
                                      </p:to>
                                    </p:set>
                                    <p:animEffect transition="in" filter="wipe(up)">
                                      <p:cBhvr>
                                        <p:cTn id="53" dur="500"/>
                                        <p:tgtEl>
                                          <p:spTgt spid="64"/>
                                        </p:tgtEl>
                                      </p:cBhvr>
                                    </p:animEffect>
                                  </p:childTnLst>
                                </p:cTn>
                              </p:par>
                              <p:par>
                                <p:cTn id="54" presetID="22" presetClass="entr" presetSubtype="1" fill="hold" nodeType="withEffect">
                                  <p:stCondLst>
                                    <p:cond delay="0"/>
                                  </p:stCondLst>
                                  <p:childTnLst>
                                    <p:set>
                                      <p:cBhvr>
                                        <p:cTn id="55" dur="1" fill="hold">
                                          <p:stCondLst>
                                            <p:cond delay="0"/>
                                          </p:stCondLst>
                                        </p:cTn>
                                        <p:tgtEl>
                                          <p:spTgt spid="63"/>
                                        </p:tgtEl>
                                        <p:attrNameLst>
                                          <p:attrName>style.visibility</p:attrName>
                                        </p:attrNameLst>
                                      </p:cBhvr>
                                      <p:to>
                                        <p:strVal val="visible"/>
                                      </p:to>
                                    </p:set>
                                    <p:animEffect transition="in" filter="wipe(up)">
                                      <p:cBhvr>
                                        <p:cTn id="56" dur="500"/>
                                        <p:tgtEl>
                                          <p:spTgt spid="63"/>
                                        </p:tgtEl>
                                      </p:cBhvr>
                                    </p:animEffect>
                                  </p:childTnLst>
                                </p:cTn>
                              </p:par>
                            </p:childTnLst>
                          </p:cTn>
                        </p:par>
                        <p:par>
                          <p:cTn id="57" fill="hold">
                            <p:stCondLst>
                              <p:cond delay="1500"/>
                            </p:stCondLst>
                            <p:childTnLst>
                              <p:par>
                                <p:cTn id="58" presetID="10" presetClass="entr" presetSubtype="0" fill="hold" nodeType="afterEffect">
                                  <p:stCondLst>
                                    <p:cond delay="0"/>
                                  </p:stCondLst>
                                  <p:childTnLst>
                                    <p:set>
                                      <p:cBhvr>
                                        <p:cTn id="59" dur="1" fill="hold">
                                          <p:stCondLst>
                                            <p:cond delay="0"/>
                                          </p:stCondLst>
                                        </p:cTn>
                                        <p:tgtEl>
                                          <p:spTgt spid="18"/>
                                        </p:tgtEl>
                                        <p:attrNameLst>
                                          <p:attrName>style.visibility</p:attrName>
                                        </p:attrNameLst>
                                      </p:cBhvr>
                                      <p:to>
                                        <p:strVal val="visible"/>
                                      </p:to>
                                    </p:set>
                                    <p:animEffect transition="in" filter="fade">
                                      <p:cBhvr>
                                        <p:cTn id="60" dur="1000"/>
                                        <p:tgtEl>
                                          <p:spTgt spid="18"/>
                                        </p:tgtEl>
                                      </p:cBhvr>
                                    </p:animEffect>
                                  </p:childTnLst>
                                </p:cTn>
                              </p:par>
                              <p:par>
                                <p:cTn id="61" presetID="10" presetClass="entr" presetSubtype="0" fill="hold" nodeType="withEffect">
                                  <p:stCondLst>
                                    <p:cond delay="0"/>
                                  </p:stCondLst>
                                  <p:childTnLst>
                                    <p:set>
                                      <p:cBhvr>
                                        <p:cTn id="62" dur="1" fill="hold">
                                          <p:stCondLst>
                                            <p:cond delay="0"/>
                                          </p:stCondLst>
                                        </p:cTn>
                                        <p:tgtEl>
                                          <p:spTgt spid="30"/>
                                        </p:tgtEl>
                                        <p:attrNameLst>
                                          <p:attrName>style.visibility</p:attrName>
                                        </p:attrNameLst>
                                      </p:cBhvr>
                                      <p:to>
                                        <p:strVal val="visible"/>
                                      </p:to>
                                    </p:set>
                                    <p:animEffect transition="in" filter="fade">
                                      <p:cBhvr>
                                        <p:cTn id="63" dur="10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Lst>
  </p:timing>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830997"/>
          </a:xfrm>
        </p:spPr>
        <p:txBody>
          <a:bodyPr/>
          <a:lstStyle/>
          <a:p>
            <a:r>
              <a:rPr lang="en-US" dirty="0" smtClean="0"/>
              <a:t>Comprehensive Protection Stack </a:t>
            </a:r>
            <a:br>
              <a:rPr lang="en-US" dirty="0" smtClean="0"/>
            </a:br>
            <a:r>
              <a:rPr lang="en-US" sz="2700" dirty="0">
                <a:solidFill>
                  <a:schemeClr val="accent2">
                    <a:alpha val="99000"/>
                  </a:schemeClr>
                </a:solidFill>
              </a:rPr>
              <a:t>Building on Windows Platform security</a:t>
            </a:r>
          </a:p>
        </p:txBody>
      </p:sp>
      <p:sp>
        <p:nvSpPr>
          <p:cNvPr id="3" name="Rounded Rectangle 2"/>
          <p:cNvSpPr/>
          <p:nvPr/>
        </p:nvSpPr>
        <p:spPr bwMode="auto">
          <a:xfrm>
            <a:off x="4228356" y="1390219"/>
            <a:ext cx="2400925" cy="2747276"/>
          </a:xfrm>
          <a:prstGeom prst="roundRect">
            <a:avLst>
              <a:gd name="adj" fmla="val 0"/>
            </a:avLst>
          </a:prstGeom>
          <a:noFill/>
          <a:ln w="12700" cap="flat" cmpd="sng" algn="ctr">
            <a:solidFill>
              <a:srgbClr val="FFFFFF"/>
            </a:solidFill>
            <a:prstDash val="sysDot"/>
          </a:ln>
          <a:effectLst/>
        </p:spPr>
        <p:txBody>
          <a:bodyPr lIns="0" tIns="68586" rIns="0" bIns="0" rtlCol="0" anchor="t" anchorCtr="0"/>
          <a:lstStyle/>
          <a:p>
            <a:pPr algn="ctr" defTabSz="685862">
              <a:defRPr/>
            </a:pPr>
            <a:r>
              <a:rPr lang="en-US" sz="1200" kern="0" dirty="0">
                <a:solidFill>
                  <a:srgbClr val="FFFFFF"/>
                </a:solidFill>
                <a:latin typeface="Segoe Semibold" pitchFamily="34" charset="0"/>
                <a:ea typeface="Segoe UI" pitchFamily="34" charset="0"/>
                <a:cs typeface="Segoe UI" pitchFamily="34" charset="0"/>
              </a:rPr>
              <a:t>Proactive Techniques </a:t>
            </a:r>
            <a:br>
              <a:rPr lang="en-US" sz="1200" kern="0" dirty="0">
                <a:solidFill>
                  <a:srgbClr val="FFFFFF"/>
                </a:solidFill>
                <a:latin typeface="Segoe Semibold" pitchFamily="34" charset="0"/>
                <a:ea typeface="Segoe UI" pitchFamily="34" charset="0"/>
                <a:cs typeface="Segoe UI" pitchFamily="34" charset="0"/>
              </a:rPr>
            </a:br>
            <a:r>
              <a:rPr lang="en-US" sz="1100" kern="0" dirty="0">
                <a:solidFill>
                  <a:srgbClr val="FFFFFF"/>
                </a:solidFill>
                <a:ea typeface="Segoe UI" pitchFamily="34" charset="0"/>
                <a:cs typeface="Segoe UI" pitchFamily="34" charset="0"/>
              </a:rPr>
              <a:t>(Against Unknown Threats)</a:t>
            </a:r>
          </a:p>
        </p:txBody>
      </p:sp>
      <p:pic>
        <p:nvPicPr>
          <p:cNvPr id="4"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rcRect/>
          <a:stretch>
            <a:fillRect/>
          </a:stretch>
        </p:blipFill>
        <p:spPr bwMode="auto">
          <a:xfrm>
            <a:off x="7209536" y="958506"/>
            <a:ext cx="1166164" cy="571280"/>
          </a:xfrm>
          <a:prstGeom prst="rect">
            <a:avLst/>
          </a:prstGeom>
          <a:noFill/>
          <a:ln>
            <a:noFill/>
          </a:ln>
          <a:effectLst>
            <a:outerShdw blurRad="63500" sx="102000" sy="102000" algn="ctr" rotWithShape="0">
              <a:srgbClr val="FFFFFF">
                <a:alpha val="4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tangle 4"/>
          <p:cNvSpPr/>
          <p:nvPr/>
        </p:nvSpPr>
        <p:spPr>
          <a:xfrm flipH="1">
            <a:off x="397771" y="2204379"/>
            <a:ext cx="1051387" cy="271338"/>
          </a:xfrm>
          <a:prstGeom prst="rect">
            <a:avLst/>
          </a:prstGeom>
          <a:noFill/>
          <a:ln w="12700" cap="flat" cmpd="sng" algn="ctr">
            <a:noFill/>
            <a:prstDash val="sysDot"/>
          </a:ln>
          <a:effectLst/>
        </p:spPr>
        <p:txBody>
          <a:bodyPr lIns="0" tIns="0" rIns="0" bIns="0" rtlCol="0" anchor="ctr" anchorCtr="0"/>
          <a:lstStyle/>
          <a:p>
            <a:pPr algn="r" defTabSz="685862">
              <a:defRPr/>
            </a:pPr>
            <a:r>
              <a:rPr lang="en-US" sz="1200" kern="0" dirty="0">
                <a:solidFill>
                  <a:srgbClr val="FFFFFF"/>
                </a:solidFill>
                <a:ea typeface="Segoe UI" pitchFamily="34" charset="0"/>
                <a:cs typeface="Segoe UI" pitchFamily="34" charset="0"/>
              </a:rPr>
              <a:t>APPLICATION</a:t>
            </a:r>
          </a:p>
        </p:txBody>
      </p:sp>
      <p:sp>
        <p:nvSpPr>
          <p:cNvPr id="6" name="Rectangle 5"/>
          <p:cNvSpPr/>
          <p:nvPr/>
        </p:nvSpPr>
        <p:spPr>
          <a:xfrm flipH="1">
            <a:off x="397771" y="3036035"/>
            <a:ext cx="1051387" cy="271338"/>
          </a:xfrm>
          <a:prstGeom prst="rect">
            <a:avLst/>
          </a:prstGeom>
          <a:noFill/>
          <a:ln w="12700" cap="flat" cmpd="sng" algn="ctr">
            <a:noFill/>
            <a:prstDash val="sysDot"/>
          </a:ln>
          <a:effectLst/>
        </p:spPr>
        <p:txBody>
          <a:bodyPr lIns="0" tIns="0" rIns="0" bIns="0" rtlCol="0" anchor="ctr" anchorCtr="0"/>
          <a:lstStyle/>
          <a:p>
            <a:pPr algn="r" defTabSz="685862">
              <a:defRPr/>
            </a:pPr>
            <a:r>
              <a:rPr lang="en-US" sz="1200" kern="0" dirty="0">
                <a:solidFill>
                  <a:srgbClr val="FFFFFF"/>
                </a:solidFill>
                <a:ea typeface="Segoe UI" pitchFamily="34" charset="0"/>
                <a:cs typeface="Segoe UI" pitchFamily="34" charset="0"/>
              </a:rPr>
              <a:t>FILE SYSTEM</a:t>
            </a:r>
          </a:p>
        </p:txBody>
      </p:sp>
      <p:sp>
        <p:nvSpPr>
          <p:cNvPr id="7" name="Rectangle 6"/>
          <p:cNvSpPr/>
          <p:nvPr/>
        </p:nvSpPr>
        <p:spPr>
          <a:xfrm flipH="1">
            <a:off x="397771" y="3737021"/>
            <a:ext cx="1051387" cy="271338"/>
          </a:xfrm>
          <a:prstGeom prst="rect">
            <a:avLst/>
          </a:prstGeom>
          <a:noFill/>
          <a:ln w="12700" cap="flat" cmpd="sng" algn="ctr">
            <a:noFill/>
            <a:prstDash val="sysDot"/>
          </a:ln>
          <a:effectLst/>
        </p:spPr>
        <p:txBody>
          <a:bodyPr lIns="0" tIns="0" rIns="0" bIns="0" rtlCol="0" anchor="ctr" anchorCtr="0"/>
          <a:lstStyle/>
          <a:p>
            <a:pPr algn="r" defTabSz="685862">
              <a:defRPr/>
            </a:pPr>
            <a:r>
              <a:rPr lang="en-US" sz="1200" kern="0" dirty="0">
                <a:solidFill>
                  <a:srgbClr val="FFFFFF"/>
                </a:solidFill>
                <a:ea typeface="Segoe UI" pitchFamily="34" charset="0"/>
                <a:cs typeface="Segoe UI" pitchFamily="34" charset="0"/>
              </a:rPr>
              <a:t>NETWORK</a:t>
            </a:r>
          </a:p>
        </p:txBody>
      </p:sp>
      <p:sp>
        <p:nvSpPr>
          <p:cNvPr id="8" name="Rounded Rectangle 7"/>
          <p:cNvSpPr/>
          <p:nvPr/>
        </p:nvSpPr>
        <p:spPr bwMode="auto">
          <a:xfrm>
            <a:off x="1585882" y="1390219"/>
            <a:ext cx="2400925" cy="2747276"/>
          </a:xfrm>
          <a:prstGeom prst="roundRect">
            <a:avLst>
              <a:gd name="adj" fmla="val 0"/>
            </a:avLst>
          </a:prstGeom>
          <a:noFill/>
          <a:ln w="12700" cap="flat" cmpd="sng" algn="ctr">
            <a:solidFill>
              <a:srgbClr val="FFFFFF"/>
            </a:solidFill>
            <a:prstDash val="sysDot"/>
          </a:ln>
          <a:effectLst/>
        </p:spPr>
        <p:txBody>
          <a:bodyPr lIns="0" tIns="68586" rIns="0" bIns="0" rtlCol="0" anchor="t" anchorCtr="0"/>
          <a:lstStyle/>
          <a:p>
            <a:pPr algn="ctr" defTabSz="685862">
              <a:defRPr/>
            </a:pPr>
            <a:r>
              <a:rPr lang="en-US" sz="1200" kern="0" dirty="0">
                <a:solidFill>
                  <a:srgbClr val="FFFFFF"/>
                </a:solidFill>
                <a:latin typeface="Segoe Semibold" pitchFamily="34" charset="0"/>
                <a:ea typeface="Segoe UI" pitchFamily="34" charset="0"/>
                <a:cs typeface="Segoe UI" pitchFamily="34" charset="0"/>
              </a:rPr>
              <a:t>Reactive Techniques </a:t>
            </a:r>
            <a:r>
              <a:rPr lang="en-US" sz="1200" kern="0" dirty="0">
                <a:solidFill>
                  <a:srgbClr val="FFFFFF"/>
                </a:solidFill>
                <a:ea typeface="Segoe UI" pitchFamily="34" charset="0"/>
                <a:cs typeface="Segoe UI" pitchFamily="34" charset="0"/>
              </a:rPr>
              <a:t/>
            </a:r>
            <a:br>
              <a:rPr lang="en-US" sz="1200" kern="0" dirty="0">
                <a:solidFill>
                  <a:srgbClr val="FFFFFF"/>
                </a:solidFill>
                <a:ea typeface="Segoe UI" pitchFamily="34" charset="0"/>
                <a:cs typeface="Segoe UI" pitchFamily="34" charset="0"/>
              </a:rPr>
            </a:br>
            <a:r>
              <a:rPr lang="en-US" sz="1100" kern="0" dirty="0">
                <a:solidFill>
                  <a:srgbClr val="FFFFFF"/>
                </a:solidFill>
                <a:ea typeface="Segoe UI" pitchFamily="34" charset="0"/>
                <a:cs typeface="Segoe UI" pitchFamily="34" charset="0"/>
              </a:rPr>
              <a:t>(Against Known Threats)</a:t>
            </a:r>
          </a:p>
        </p:txBody>
      </p:sp>
      <p:sp>
        <p:nvSpPr>
          <p:cNvPr id="9" name="Rectangle 8"/>
          <p:cNvSpPr/>
          <p:nvPr/>
        </p:nvSpPr>
        <p:spPr>
          <a:xfrm>
            <a:off x="1585883" y="1938026"/>
            <a:ext cx="5043399" cy="258150"/>
          </a:xfrm>
          <a:prstGeom prst="rect">
            <a:avLst/>
          </a:prstGeom>
          <a:solidFill>
            <a:schemeClr val="accent5"/>
          </a:solidFill>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100" dirty="0">
                <a:gradFill>
                  <a:gsLst>
                    <a:gs pos="0">
                      <a:srgbClr val="FFFFFF"/>
                    </a:gs>
                    <a:gs pos="100000">
                      <a:srgbClr val="FFFFFF"/>
                    </a:gs>
                  </a:gsLst>
                  <a:lin ang="5400000" scaled="0"/>
                </a:gradFill>
              </a:rPr>
              <a:t>Behavior Monitoring</a:t>
            </a:r>
          </a:p>
        </p:txBody>
      </p:sp>
      <p:sp>
        <p:nvSpPr>
          <p:cNvPr id="17" name="Rectangle 16"/>
          <p:cNvSpPr/>
          <p:nvPr/>
        </p:nvSpPr>
        <p:spPr>
          <a:xfrm>
            <a:off x="1585882" y="3607883"/>
            <a:ext cx="5043399" cy="267462"/>
          </a:xfrm>
          <a:prstGeom prst="rect">
            <a:avLst/>
          </a:prstGeom>
          <a:solidFill>
            <a:schemeClr val="accent5"/>
          </a:solidFill>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100" dirty="0">
                <a:gradFill>
                  <a:gsLst>
                    <a:gs pos="0">
                      <a:srgbClr val="FFFFFF"/>
                    </a:gs>
                    <a:gs pos="100000">
                      <a:srgbClr val="FFFFFF"/>
                    </a:gs>
                  </a:gsLst>
                  <a:lin ang="5400000" scaled="0"/>
                </a:gradFill>
              </a:rPr>
              <a:t>Vulnerability Shielding (Network Inspection System)</a:t>
            </a:r>
          </a:p>
        </p:txBody>
      </p:sp>
      <p:sp>
        <p:nvSpPr>
          <p:cNvPr id="18" name="Rectangle 17"/>
          <p:cNvSpPr/>
          <p:nvPr/>
        </p:nvSpPr>
        <p:spPr>
          <a:xfrm>
            <a:off x="1585882" y="3870034"/>
            <a:ext cx="5043399" cy="267462"/>
          </a:xfrm>
          <a:prstGeom prst="rect">
            <a:avLst/>
          </a:prstGeom>
          <a:solidFill>
            <a:schemeClr val="accent5"/>
          </a:solidFill>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100" dirty="0">
                <a:gradFill>
                  <a:gsLst>
                    <a:gs pos="0">
                      <a:srgbClr val="FFFFFF"/>
                    </a:gs>
                    <a:gs pos="100000">
                      <a:srgbClr val="FFFFFF"/>
                    </a:gs>
                  </a:gsLst>
                  <a:lin ang="5400000" scaled="0"/>
                </a:gradFill>
              </a:rPr>
              <a:t>Windows Firewall Centralized Management</a:t>
            </a:r>
          </a:p>
        </p:txBody>
      </p:sp>
      <p:sp>
        <p:nvSpPr>
          <p:cNvPr id="19" name="Rounded Rectangle 18"/>
          <p:cNvSpPr/>
          <p:nvPr/>
        </p:nvSpPr>
        <p:spPr bwMode="auto">
          <a:xfrm>
            <a:off x="390742" y="1938028"/>
            <a:ext cx="6238539" cy="804044"/>
          </a:xfrm>
          <a:prstGeom prst="roundRect">
            <a:avLst>
              <a:gd name="adj" fmla="val 0"/>
            </a:avLst>
          </a:prstGeom>
          <a:noFill/>
          <a:ln w="12700" cap="flat" cmpd="sng" algn="ctr">
            <a:solidFill>
              <a:srgbClr val="FFFFFF"/>
            </a:solidFill>
            <a:prstDash val="sysDot"/>
          </a:ln>
          <a:effectLst/>
        </p:spPr>
        <p:txBody>
          <a:bodyPr lIns="0" tIns="68586" rIns="0" bIns="0" rtlCol="0" anchor="t" anchorCtr="0"/>
          <a:lstStyle/>
          <a:p>
            <a:pPr algn="ctr" defTabSz="685862">
              <a:defRPr/>
            </a:pPr>
            <a:endParaRPr lang="en-US" sz="1100" kern="0" dirty="0">
              <a:solidFill>
                <a:srgbClr val="FFFFFF"/>
              </a:solidFill>
              <a:ea typeface="Segoe UI" pitchFamily="34" charset="0"/>
              <a:cs typeface="Segoe UI" pitchFamily="34" charset="0"/>
            </a:endParaRPr>
          </a:p>
        </p:txBody>
      </p:sp>
      <p:sp>
        <p:nvSpPr>
          <p:cNvPr id="20" name="Rounded Rectangle 19"/>
          <p:cNvSpPr/>
          <p:nvPr/>
        </p:nvSpPr>
        <p:spPr bwMode="auto">
          <a:xfrm>
            <a:off x="390742" y="2769684"/>
            <a:ext cx="6238539" cy="804044"/>
          </a:xfrm>
          <a:prstGeom prst="roundRect">
            <a:avLst>
              <a:gd name="adj" fmla="val 0"/>
            </a:avLst>
          </a:prstGeom>
          <a:noFill/>
          <a:ln w="12700" cap="flat" cmpd="sng" algn="ctr">
            <a:solidFill>
              <a:srgbClr val="FFFFFF"/>
            </a:solidFill>
            <a:prstDash val="sysDot"/>
          </a:ln>
          <a:effectLst/>
        </p:spPr>
        <p:txBody>
          <a:bodyPr lIns="0" tIns="68586" rIns="0" bIns="0" rtlCol="0" anchor="t" anchorCtr="0"/>
          <a:lstStyle/>
          <a:p>
            <a:pPr algn="ctr" defTabSz="685862">
              <a:defRPr/>
            </a:pPr>
            <a:endParaRPr lang="en-US" sz="1100" kern="0" dirty="0">
              <a:solidFill>
                <a:srgbClr val="FFFFFF"/>
              </a:solidFill>
              <a:ea typeface="Segoe UI" pitchFamily="34" charset="0"/>
              <a:cs typeface="Segoe UI" pitchFamily="34" charset="0"/>
            </a:endParaRPr>
          </a:p>
        </p:txBody>
      </p:sp>
      <p:sp>
        <p:nvSpPr>
          <p:cNvPr id="21" name="Rounded Rectangle 20"/>
          <p:cNvSpPr/>
          <p:nvPr/>
        </p:nvSpPr>
        <p:spPr bwMode="auto">
          <a:xfrm>
            <a:off x="390742" y="3607884"/>
            <a:ext cx="6238539" cy="529613"/>
          </a:xfrm>
          <a:prstGeom prst="roundRect">
            <a:avLst>
              <a:gd name="adj" fmla="val 0"/>
            </a:avLst>
          </a:prstGeom>
          <a:noFill/>
          <a:ln w="12700" cap="flat" cmpd="sng" algn="ctr">
            <a:solidFill>
              <a:srgbClr val="FFFFFF"/>
            </a:solidFill>
            <a:prstDash val="sysDot"/>
          </a:ln>
          <a:effectLst/>
        </p:spPr>
        <p:txBody>
          <a:bodyPr lIns="0" tIns="68586" rIns="0" bIns="0" rtlCol="0" anchor="t" anchorCtr="0"/>
          <a:lstStyle/>
          <a:p>
            <a:pPr algn="ctr" defTabSz="685862">
              <a:defRPr/>
            </a:pPr>
            <a:endParaRPr lang="en-US" sz="1100" kern="0" dirty="0">
              <a:solidFill>
                <a:srgbClr val="FFFFFF"/>
              </a:solidFill>
              <a:ea typeface="Segoe UI" pitchFamily="34" charset="0"/>
              <a:cs typeface="Segoe UI" pitchFamily="34" charset="0"/>
            </a:endParaRPr>
          </a:p>
        </p:txBody>
      </p:sp>
      <p:sp>
        <p:nvSpPr>
          <p:cNvPr id="22" name="Rectangle 21"/>
          <p:cNvSpPr/>
          <p:nvPr/>
        </p:nvSpPr>
        <p:spPr>
          <a:xfrm flipH="1">
            <a:off x="6726895" y="1662851"/>
            <a:ext cx="2051811" cy="271338"/>
          </a:xfrm>
          <a:prstGeom prst="rect">
            <a:avLst/>
          </a:prstGeom>
          <a:noFill/>
          <a:ln w="12700" cap="flat" cmpd="sng" algn="ctr">
            <a:noFill/>
            <a:prstDash val="sysDot"/>
          </a:ln>
          <a:effectLst/>
        </p:spPr>
        <p:txBody>
          <a:bodyPr lIns="0" tIns="0" rIns="0" bIns="0" rtlCol="0" anchor="t" anchorCtr="0"/>
          <a:lstStyle/>
          <a:p>
            <a:pPr algn="ctr" defTabSz="685862">
              <a:defRPr/>
            </a:pPr>
            <a:r>
              <a:rPr lang="en-US" sz="1200" kern="0" dirty="0">
                <a:solidFill>
                  <a:srgbClr val="FFFFFF"/>
                </a:solidFill>
                <a:ea typeface="Segoe UI" pitchFamily="34" charset="0"/>
                <a:cs typeface="Segoe UI" pitchFamily="34" charset="0"/>
              </a:rPr>
              <a:t>DYNAMIC CLOUD UPDATES</a:t>
            </a:r>
          </a:p>
        </p:txBody>
      </p:sp>
      <p:cxnSp>
        <p:nvCxnSpPr>
          <p:cNvPr id="23" name="Straight Connector 22"/>
          <p:cNvCxnSpPr/>
          <p:nvPr/>
        </p:nvCxnSpPr>
        <p:spPr>
          <a:xfrm>
            <a:off x="7731174" y="1975767"/>
            <a:ext cx="0" cy="2161730"/>
          </a:xfrm>
          <a:prstGeom prst="line">
            <a:avLst/>
          </a:prstGeom>
          <a:noFill/>
          <a:ln w="12700" cap="flat" cmpd="sng" algn="ctr">
            <a:solidFill>
              <a:srgbClr val="FFFFFF"/>
            </a:solidFill>
            <a:prstDash val="dash"/>
            <a:headEnd type="none"/>
            <a:tailEnd type="none"/>
          </a:ln>
          <a:effectLst/>
        </p:spPr>
      </p:cxnSp>
      <p:sp>
        <p:nvSpPr>
          <p:cNvPr id="24" name="Rectangle 23"/>
          <p:cNvSpPr/>
          <p:nvPr/>
        </p:nvSpPr>
        <p:spPr>
          <a:xfrm rot="16200000" flipH="1">
            <a:off x="7082681" y="3030439"/>
            <a:ext cx="1890932" cy="243866"/>
          </a:xfrm>
          <a:prstGeom prst="rect">
            <a:avLst/>
          </a:prstGeom>
          <a:noFill/>
          <a:ln w="12700" cap="flat" cmpd="sng" algn="ctr">
            <a:noFill/>
            <a:prstDash val="sysDot"/>
          </a:ln>
          <a:effectLst/>
        </p:spPr>
        <p:txBody>
          <a:bodyPr lIns="0" tIns="0" rIns="0" bIns="0" rtlCol="0" anchor="ctr" anchorCtr="0"/>
          <a:lstStyle/>
          <a:p>
            <a:pPr algn="ctr" defTabSz="685862">
              <a:defRPr/>
            </a:pPr>
            <a:r>
              <a:rPr lang="en-US" sz="1200" kern="0" dirty="0">
                <a:solidFill>
                  <a:srgbClr val="FFFFFF"/>
                </a:solidFill>
                <a:ea typeface="Segoe UI" pitchFamily="34" charset="0"/>
                <a:cs typeface="Segoe UI" pitchFamily="34" charset="0"/>
              </a:rPr>
              <a:t>Microsoft Malware Protection Center</a:t>
            </a:r>
          </a:p>
        </p:txBody>
      </p:sp>
      <p:sp>
        <p:nvSpPr>
          <p:cNvPr id="25" name="Rectangle 24"/>
          <p:cNvSpPr/>
          <p:nvPr/>
        </p:nvSpPr>
        <p:spPr>
          <a:xfrm rot="16200000" flipH="1">
            <a:off x="6287728" y="3030439"/>
            <a:ext cx="2300470" cy="243866"/>
          </a:xfrm>
          <a:prstGeom prst="rect">
            <a:avLst/>
          </a:prstGeom>
          <a:noFill/>
          <a:ln w="12700" cap="flat" cmpd="sng" algn="ctr">
            <a:noFill/>
            <a:prstDash val="sysDot"/>
          </a:ln>
          <a:effectLst/>
        </p:spPr>
        <p:txBody>
          <a:bodyPr lIns="0" tIns="0" rIns="0" bIns="0" rtlCol="0" anchor="ctr" anchorCtr="0"/>
          <a:lstStyle/>
          <a:p>
            <a:pPr algn="ctr" defTabSz="685862">
              <a:defRPr/>
            </a:pPr>
            <a:r>
              <a:rPr lang="en-US" sz="1200" kern="0" dirty="0">
                <a:solidFill>
                  <a:srgbClr val="FFFFFF"/>
                </a:solidFill>
                <a:ea typeface="Segoe UI" pitchFamily="34" charset="0"/>
                <a:cs typeface="Segoe UI" pitchFamily="34" charset="0"/>
              </a:rPr>
              <a:t>Dynamic Signature</a:t>
            </a:r>
            <a:br>
              <a:rPr lang="en-US" sz="1200" kern="0" dirty="0">
                <a:solidFill>
                  <a:srgbClr val="FFFFFF"/>
                </a:solidFill>
                <a:ea typeface="Segoe UI" pitchFamily="34" charset="0"/>
                <a:cs typeface="Segoe UI" pitchFamily="34" charset="0"/>
              </a:rPr>
            </a:br>
            <a:r>
              <a:rPr lang="en-US" sz="1200" kern="0" dirty="0">
                <a:solidFill>
                  <a:srgbClr val="FFFFFF"/>
                </a:solidFill>
                <a:ea typeface="Segoe UI" pitchFamily="34" charset="0"/>
                <a:cs typeface="Segoe UI" pitchFamily="34" charset="0"/>
              </a:rPr>
              <a:t> Service</a:t>
            </a:r>
          </a:p>
        </p:txBody>
      </p:sp>
      <p:sp>
        <p:nvSpPr>
          <p:cNvPr id="26" name="Rectangle 25"/>
          <p:cNvSpPr/>
          <p:nvPr/>
        </p:nvSpPr>
        <p:spPr>
          <a:xfrm>
            <a:off x="1585882" y="4401453"/>
            <a:ext cx="411587" cy="274320"/>
          </a:xfrm>
          <a:prstGeom prst="rect">
            <a:avLst/>
          </a:prstGeom>
          <a:solidFill>
            <a:schemeClr val="accent5"/>
          </a:solidFill>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100" dirty="0">
              <a:gradFill>
                <a:gsLst>
                  <a:gs pos="0">
                    <a:srgbClr val="FFFFFF"/>
                  </a:gs>
                  <a:gs pos="100000">
                    <a:srgbClr val="FFFFFF"/>
                  </a:gs>
                </a:gsLst>
                <a:lin ang="5400000" scaled="0"/>
              </a:gradFill>
            </a:endParaRPr>
          </a:p>
        </p:txBody>
      </p:sp>
      <p:sp>
        <p:nvSpPr>
          <p:cNvPr id="27" name="Rectangle 26"/>
          <p:cNvSpPr/>
          <p:nvPr/>
        </p:nvSpPr>
        <p:spPr>
          <a:xfrm flipH="1">
            <a:off x="2077523" y="4401453"/>
            <a:ext cx="3358922" cy="271338"/>
          </a:xfrm>
          <a:prstGeom prst="rect">
            <a:avLst/>
          </a:prstGeom>
          <a:noFill/>
          <a:ln w="12700" cap="flat" cmpd="sng" algn="ctr">
            <a:noFill/>
            <a:prstDash val="sysDot"/>
          </a:ln>
          <a:effectLst/>
        </p:spPr>
        <p:txBody>
          <a:bodyPr lIns="0" tIns="0" rIns="0" bIns="0" rtlCol="0" anchor="ctr" anchorCtr="0"/>
          <a:lstStyle/>
          <a:p>
            <a:pPr defTabSz="685862">
              <a:defRPr/>
            </a:pPr>
            <a:r>
              <a:rPr lang="en-US" sz="1200" kern="0" dirty="0">
                <a:solidFill>
                  <a:srgbClr val="FFFFFF"/>
                </a:solidFill>
                <a:ea typeface="Segoe UI" pitchFamily="34" charset="0"/>
                <a:cs typeface="Segoe UI" pitchFamily="34" charset="0"/>
              </a:rPr>
              <a:t>System Center  Endpoint Protection</a:t>
            </a:r>
          </a:p>
        </p:txBody>
      </p:sp>
      <p:sp>
        <p:nvSpPr>
          <p:cNvPr id="28" name="Rectangle 27"/>
          <p:cNvSpPr/>
          <p:nvPr/>
        </p:nvSpPr>
        <p:spPr>
          <a:xfrm>
            <a:off x="1585882" y="4697730"/>
            <a:ext cx="411587" cy="274320"/>
          </a:xfrm>
          <a:prstGeom prst="rect">
            <a:avLst/>
          </a:prstGeom>
          <a:solidFill>
            <a:schemeClr val="accent3"/>
          </a:solidFill>
          <a:ln w="12700" cap="flat" cmpd="sng" algn="ctr">
            <a:solidFill>
              <a:srgbClr val="FFFFFF"/>
            </a:solidFill>
            <a:prstDash val="sysDot"/>
          </a:ln>
          <a:effectLst/>
        </p:spPr>
        <p:txBody>
          <a:bodyPr lIns="0" tIns="0" rIns="0" bIns="0" rtlCol="0" anchor="ctr" anchorCtr="0"/>
          <a:lstStyle/>
          <a:p>
            <a:pPr algn="ctr" defTabSz="685862">
              <a:defRPr/>
            </a:pPr>
            <a:endParaRPr lang="en-US" sz="1200" kern="0" dirty="0">
              <a:solidFill>
                <a:srgbClr val="FFFFFF"/>
              </a:solidFill>
              <a:ea typeface="Segoe UI" pitchFamily="34" charset="0"/>
              <a:cs typeface="Segoe UI" pitchFamily="34" charset="0"/>
            </a:endParaRPr>
          </a:p>
        </p:txBody>
      </p:sp>
      <p:sp>
        <p:nvSpPr>
          <p:cNvPr id="29" name="Rectangle 28"/>
          <p:cNvSpPr/>
          <p:nvPr/>
        </p:nvSpPr>
        <p:spPr>
          <a:xfrm flipH="1">
            <a:off x="2077524" y="4699221"/>
            <a:ext cx="2370218" cy="271338"/>
          </a:xfrm>
          <a:prstGeom prst="rect">
            <a:avLst/>
          </a:prstGeom>
          <a:noFill/>
          <a:ln w="12700" cap="flat" cmpd="sng" algn="ctr">
            <a:noFill/>
            <a:prstDash val="sysDot"/>
          </a:ln>
          <a:effectLst/>
        </p:spPr>
        <p:txBody>
          <a:bodyPr lIns="0" tIns="0" rIns="0" bIns="0" rtlCol="0" anchor="ctr" anchorCtr="0"/>
          <a:lstStyle/>
          <a:p>
            <a:pPr defTabSz="685862">
              <a:defRPr/>
            </a:pPr>
            <a:r>
              <a:rPr lang="en-US" sz="1200" kern="0" dirty="0">
                <a:solidFill>
                  <a:srgbClr val="FFFFFF"/>
                </a:solidFill>
                <a:ea typeface="Segoe UI" pitchFamily="34" charset="0"/>
                <a:cs typeface="Segoe UI" pitchFamily="34" charset="0"/>
              </a:rPr>
              <a:t>Windows 7</a:t>
            </a:r>
          </a:p>
        </p:txBody>
      </p:sp>
      <p:sp>
        <p:nvSpPr>
          <p:cNvPr id="10" name="Rectangle 9"/>
          <p:cNvSpPr/>
          <p:nvPr/>
        </p:nvSpPr>
        <p:spPr>
          <a:xfrm flipH="1">
            <a:off x="1585880" y="2196177"/>
            <a:ext cx="1200465" cy="548640"/>
          </a:xfrm>
          <a:prstGeom prst="rect">
            <a:avLst/>
          </a:prstGeom>
          <a:solidFill>
            <a:schemeClr val="accent3"/>
          </a:solidFill>
          <a:ln w="12700" cap="flat" cmpd="sng" algn="ctr">
            <a:solidFill>
              <a:srgbClr val="FFFFFF"/>
            </a:solidFill>
            <a:prstDash val="sysDot"/>
          </a:ln>
          <a:effectLst/>
        </p:spPr>
        <p:txBody>
          <a:bodyPr lIns="0" tIns="0" rIns="0" bIns="0" rtlCol="0" anchor="ctr" anchorCtr="0"/>
          <a:lstStyle/>
          <a:p>
            <a:pPr algn="ctr" defTabSz="685862">
              <a:defRPr/>
            </a:pPr>
            <a:r>
              <a:rPr lang="en-US" sz="1200" kern="0" dirty="0">
                <a:solidFill>
                  <a:srgbClr val="FFFFFF"/>
                </a:solidFill>
                <a:ea typeface="Segoe UI" pitchFamily="34" charset="0"/>
                <a:cs typeface="Segoe UI" pitchFamily="34" charset="0"/>
              </a:rPr>
              <a:t>Data Execution </a:t>
            </a:r>
            <a:br>
              <a:rPr lang="en-US" sz="1200" kern="0" dirty="0">
                <a:solidFill>
                  <a:srgbClr val="FFFFFF"/>
                </a:solidFill>
                <a:ea typeface="Segoe UI" pitchFamily="34" charset="0"/>
                <a:cs typeface="Segoe UI" pitchFamily="34" charset="0"/>
              </a:rPr>
            </a:br>
            <a:r>
              <a:rPr lang="en-US" sz="1200" kern="0" dirty="0">
                <a:solidFill>
                  <a:srgbClr val="FFFFFF"/>
                </a:solidFill>
                <a:ea typeface="Segoe UI" pitchFamily="34" charset="0"/>
                <a:cs typeface="Segoe UI" pitchFamily="34" charset="0"/>
              </a:rPr>
              <a:t>Prevention</a:t>
            </a:r>
          </a:p>
        </p:txBody>
      </p:sp>
      <p:sp>
        <p:nvSpPr>
          <p:cNvPr id="11" name="Rectangle 10"/>
          <p:cNvSpPr/>
          <p:nvPr/>
        </p:nvSpPr>
        <p:spPr>
          <a:xfrm flipH="1">
            <a:off x="2786344" y="2196177"/>
            <a:ext cx="1329528" cy="548640"/>
          </a:xfrm>
          <a:prstGeom prst="rect">
            <a:avLst/>
          </a:prstGeom>
          <a:solidFill>
            <a:schemeClr val="accent3"/>
          </a:solidFill>
          <a:ln w="12700" cap="flat" cmpd="sng" algn="ctr">
            <a:solidFill>
              <a:srgbClr val="FFFFFF"/>
            </a:solidFill>
            <a:prstDash val="sysDot"/>
          </a:ln>
          <a:effectLst/>
        </p:spPr>
        <p:txBody>
          <a:bodyPr lIns="0" tIns="0" rIns="0" bIns="0" rtlCol="0" anchor="ctr" anchorCtr="0"/>
          <a:lstStyle/>
          <a:p>
            <a:pPr algn="ctr" defTabSz="685862">
              <a:defRPr/>
            </a:pPr>
            <a:r>
              <a:rPr lang="en-US" sz="1200" kern="0" dirty="0">
                <a:solidFill>
                  <a:srgbClr val="FFFFFF"/>
                </a:solidFill>
                <a:ea typeface="Segoe UI" pitchFamily="34" charset="0"/>
                <a:cs typeface="Segoe UI" pitchFamily="34" charset="0"/>
              </a:rPr>
              <a:t>Address Space Layout Randomization</a:t>
            </a:r>
          </a:p>
        </p:txBody>
      </p:sp>
      <p:sp>
        <p:nvSpPr>
          <p:cNvPr id="12" name="Rectangle 11"/>
          <p:cNvSpPr/>
          <p:nvPr/>
        </p:nvSpPr>
        <p:spPr>
          <a:xfrm flipH="1">
            <a:off x="5416987" y="2196177"/>
            <a:ext cx="1212289" cy="548640"/>
          </a:xfrm>
          <a:prstGeom prst="rect">
            <a:avLst/>
          </a:prstGeom>
          <a:solidFill>
            <a:schemeClr val="accent3"/>
          </a:solidFill>
          <a:ln w="12700" cap="flat" cmpd="sng" algn="ctr">
            <a:solidFill>
              <a:srgbClr val="FFFFFF"/>
            </a:solidFill>
            <a:prstDash val="sysDot"/>
          </a:ln>
          <a:effectLst/>
        </p:spPr>
        <p:txBody>
          <a:bodyPr lIns="0" tIns="0" rIns="0" bIns="0" rtlCol="0" anchor="ctr" anchorCtr="0"/>
          <a:lstStyle/>
          <a:p>
            <a:pPr algn="ctr" defTabSz="685862">
              <a:defRPr/>
            </a:pPr>
            <a:r>
              <a:rPr lang="en-US" sz="1200" kern="0" dirty="0">
                <a:solidFill>
                  <a:srgbClr val="FFFFFF"/>
                </a:solidFill>
                <a:ea typeface="Segoe UI" pitchFamily="34" charset="0"/>
                <a:cs typeface="Segoe UI" pitchFamily="34" charset="0"/>
              </a:rPr>
              <a:t>Windows Resource Protection</a:t>
            </a:r>
          </a:p>
        </p:txBody>
      </p:sp>
      <p:sp>
        <p:nvSpPr>
          <p:cNvPr id="31" name="Rectangle 30"/>
          <p:cNvSpPr/>
          <p:nvPr/>
        </p:nvSpPr>
        <p:spPr>
          <a:xfrm flipH="1">
            <a:off x="4115872" y="2196177"/>
            <a:ext cx="1301116" cy="548640"/>
          </a:xfrm>
          <a:prstGeom prst="rect">
            <a:avLst/>
          </a:prstGeom>
          <a:solidFill>
            <a:schemeClr val="accent3"/>
          </a:solidFill>
          <a:ln w="12700" cap="flat" cmpd="sng" algn="ctr">
            <a:solidFill>
              <a:srgbClr val="FFFFFF"/>
            </a:solidFill>
            <a:prstDash val="sysDot"/>
          </a:ln>
          <a:effectLst/>
        </p:spPr>
        <p:txBody>
          <a:bodyPr lIns="0" tIns="0" rIns="0" bIns="0" rtlCol="0" anchor="ctr" anchorCtr="0"/>
          <a:lstStyle/>
          <a:p>
            <a:pPr algn="ctr" defTabSz="685862">
              <a:defRPr/>
            </a:pPr>
            <a:r>
              <a:rPr lang="en-US" sz="1200" kern="0" dirty="0">
                <a:solidFill>
                  <a:srgbClr val="FFFFFF"/>
                </a:solidFill>
                <a:ea typeface="Segoe UI" pitchFamily="34" charset="0"/>
                <a:cs typeface="Segoe UI" pitchFamily="34" charset="0"/>
              </a:rPr>
              <a:t>User Account Control</a:t>
            </a:r>
          </a:p>
        </p:txBody>
      </p:sp>
      <p:sp>
        <p:nvSpPr>
          <p:cNvPr id="13" name="Rectangle 12"/>
          <p:cNvSpPr/>
          <p:nvPr/>
        </p:nvSpPr>
        <p:spPr>
          <a:xfrm>
            <a:off x="1585882" y="2769683"/>
            <a:ext cx="2400925" cy="258150"/>
          </a:xfrm>
          <a:prstGeom prst="rect">
            <a:avLst/>
          </a:prstGeom>
          <a:solidFill>
            <a:schemeClr val="accent5"/>
          </a:solidFill>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100" dirty="0">
                <a:gradFill>
                  <a:gsLst>
                    <a:gs pos="0">
                      <a:srgbClr val="FFFFFF"/>
                    </a:gs>
                    <a:gs pos="100000">
                      <a:srgbClr val="FFFFFF"/>
                    </a:gs>
                  </a:gsLst>
                  <a:lin ang="5400000" scaled="0"/>
                </a:gradFill>
              </a:rPr>
              <a:t>Antimalware</a:t>
            </a:r>
          </a:p>
        </p:txBody>
      </p:sp>
      <p:sp>
        <p:nvSpPr>
          <p:cNvPr id="16" name="Rectangle 15"/>
          <p:cNvSpPr/>
          <p:nvPr/>
        </p:nvSpPr>
        <p:spPr>
          <a:xfrm>
            <a:off x="4228355" y="2769683"/>
            <a:ext cx="2400925" cy="258150"/>
          </a:xfrm>
          <a:prstGeom prst="rect">
            <a:avLst/>
          </a:prstGeom>
          <a:solidFill>
            <a:schemeClr val="accent5"/>
          </a:solidFill>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100" dirty="0">
                <a:gradFill>
                  <a:gsLst>
                    <a:gs pos="0">
                      <a:srgbClr val="FFFFFF"/>
                    </a:gs>
                    <a:gs pos="100000">
                      <a:srgbClr val="FFFFFF"/>
                    </a:gs>
                  </a:gsLst>
                  <a:lin ang="5400000" scaled="0"/>
                </a:gradFill>
              </a:rPr>
              <a:t>Dynamic Translation and Emulation </a:t>
            </a:r>
          </a:p>
        </p:txBody>
      </p:sp>
      <p:sp>
        <p:nvSpPr>
          <p:cNvPr id="14" name="Rectangle 13"/>
          <p:cNvSpPr/>
          <p:nvPr/>
        </p:nvSpPr>
        <p:spPr>
          <a:xfrm flipH="1">
            <a:off x="1585878" y="3031044"/>
            <a:ext cx="1739520" cy="547594"/>
          </a:xfrm>
          <a:prstGeom prst="rect">
            <a:avLst/>
          </a:prstGeom>
          <a:solidFill>
            <a:schemeClr val="accent3"/>
          </a:solidFill>
          <a:ln w="12700" cap="flat" cmpd="sng" algn="ctr">
            <a:solidFill>
              <a:srgbClr val="FFFFFF"/>
            </a:solidFill>
            <a:prstDash val="sysDot"/>
          </a:ln>
          <a:effectLst/>
        </p:spPr>
        <p:txBody>
          <a:bodyPr lIns="0" tIns="0" rIns="0" bIns="0" rtlCol="0" anchor="ctr" anchorCtr="0"/>
          <a:lstStyle/>
          <a:p>
            <a:pPr algn="ctr" defTabSz="685862">
              <a:defRPr/>
            </a:pPr>
            <a:r>
              <a:rPr lang="en-US" sz="1100" kern="0" dirty="0">
                <a:solidFill>
                  <a:srgbClr val="FFFFFF"/>
                </a:solidFill>
                <a:ea typeface="Segoe UI" pitchFamily="34" charset="0"/>
                <a:cs typeface="Segoe UI" pitchFamily="34" charset="0"/>
              </a:rPr>
              <a:t>Internet Explorer</a:t>
            </a:r>
            <a:r>
              <a:rPr lang="en-US" sz="1100" kern="0" baseline="30000" dirty="0">
                <a:solidFill>
                  <a:srgbClr val="FFFFFF"/>
                </a:solidFill>
                <a:ea typeface="Segoe UI" pitchFamily="34" charset="0"/>
                <a:cs typeface="Segoe UI" pitchFamily="34" charset="0"/>
              </a:rPr>
              <a:t>® </a:t>
            </a:r>
            <a:r>
              <a:rPr lang="en-US" sz="1100" kern="0" dirty="0">
                <a:solidFill>
                  <a:srgbClr val="FFFFFF"/>
                </a:solidFill>
                <a:ea typeface="Segoe UI" pitchFamily="34" charset="0"/>
                <a:cs typeface="Segoe UI" pitchFamily="34" charset="0"/>
              </a:rPr>
              <a:t> 8 SmartScreen</a:t>
            </a:r>
          </a:p>
        </p:txBody>
      </p:sp>
      <p:sp>
        <p:nvSpPr>
          <p:cNvPr id="15" name="Rectangle 14"/>
          <p:cNvSpPr/>
          <p:nvPr/>
        </p:nvSpPr>
        <p:spPr>
          <a:xfrm flipH="1">
            <a:off x="4912790" y="3031044"/>
            <a:ext cx="1701072" cy="547594"/>
          </a:xfrm>
          <a:prstGeom prst="rect">
            <a:avLst/>
          </a:prstGeom>
          <a:solidFill>
            <a:schemeClr val="accent3"/>
          </a:solidFill>
          <a:ln w="12700" cap="flat" cmpd="sng" algn="ctr">
            <a:solidFill>
              <a:srgbClr val="FFFFFF"/>
            </a:solidFill>
            <a:prstDash val="sysDot"/>
          </a:ln>
          <a:effectLst/>
        </p:spPr>
        <p:txBody>
          <a:bodyPr lIns="0" tIns="0" rIns="0" bIns="0" rtlCol="0" anchor="ctr" anchorCtr="0"/>
          <a:lstStyle/>
          <a:p>
            <a:pPr algn="ctr" defTabSz="685862">
              <a:defRPr/>
            </a:pPr>
            <a:r>
              <a:rPr lang="en-US" sz="1200" kern="0" dirty="0">
                <a:solidFill>
                  <a:srgbClr val="FFFFFF"/>
                </a:solidFill>
                <a:ea typeface="Segoe UI" pitchFamily="34" charset="0"/>
                <a:cs typeface="Segoe UI" pitchFamily="34" charset="0"/>
              </a:rPr>
              <a:t>Microsoft </a:t>
            </a:r>
            <a:r>
              <a:rPr lang="en-US" sz="1200" kern="0" dirty="0">
                <a:solidFill>
                  <a:srgbClr val="FFFFFF"/>
                </a:solidFill>
                <a:ea typeface="Segoe UI" pitchFamily="34" charset="0"/>
              </a:rPr>
              <a:t>BitLocker</a:t>
            </a:r>
            <a:endParaRPr lang="en-US" sz="1200" kern="0" dirty="0">
              <a:solidFill>
                <a:srgbClr val="FFFFFF"/>
              </a:solidFill>
              <a:ea typeface="Segoe UI" pitchFamily="34" charset="0"/>
              <a:cs typeface="Segoe UI" pitchFamily="34" charset="0"/>
            </a:endParaRPr>
          </a:p>
        </p:txBody>
      </p:sp>
      <p:sp>
        <p:nvSpPr>
          <p:cNvPr id="30" name="Rectangle 29"/>
          <p:cNvSpPr/>
          <p:nvPr/>
        </p:nvSpPr>
        <p:spPr>
          <a:xfrm flipH="1">
            <a:off x="3325398" y="3031044"/>
            <a:ext cx="1587390" cy="547594"/>
          </a:xfrm>
          <a:prstGeom prst="rect">
            <a:avLst/>
          </a:prstGeom>
          <a:solidFill>
            <a:schemeClr val="accent3"/>
          </a:solidFill>
          <a:ln w="12700" cap="flat" cmpd="sng" algn="ctr">
            <a:solidFill>
              <a:srgbClr val="FFFFFF"/>
            </a:solidFill>
            <a:prstDash val="sysDot"/>
          </a:ln>
          <a:effectLst/>
        </p:spPr>
        <p:txBody>
          <a:bodyPr lIns="0" tIns="0" rIns="0" bIns="0" rtlCol="0" anchor="ctr" anchorCtr="0"/>
          <a:lstStyle/>
          <a:p>
            <a:pPr algn="ctr" defTabSz="685862">
              <a:defRPr/>
            </a:pPr>
            <a:r>
              <a:rPr lang="en-US" sz="1200" kern="0" dirty="0">
                <a:solidFill>
                  <a:srgbClr val="FFFFFF"/>
                </a:solidFill>
                <a:ea typeface="Segoe UI" pitchFamily="34" charset="0"/>
                <a:cs typeface="Segoe UI" pitchFamily="34" charset="0"/>
              </a:rPr>
              <a:t>Microsoft AppLocker</a:t>
            </a:r>
          </a:p>
        </p:txBody>
      </p:sp>
      <p:sp>
        <p:nvSpPr>
          <p:cNvPr id="32"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3"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4"/>
              </a:rPr>
              <a:t>www.rapidbbs.cn</a:t>
            </a:r>
            <a:endParaRPr lang="zh-CN" altLang="en-US" sz="1200" b="0">
              <a:latin typeface="Arial" charset="0"/>
              <a:ea typeface="ＭＳ Ｐゴシック" pitchFamily="34" charset="-128"/>
            </a:endParaRPr>
          </a:p>
        </p:txBody>
      </p:sp>
      <p:pic>
        <p:nvPicPr>
          <p:cNvPr id="34" name="Picture 2">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69112195"/>
      </p:ext>
    </p:extLst>
  </p:cSld>
  <p:clrMapOvr>
    <a:masterClrMapping/>
  </p:clrMapOvr>
  <p:transition>
    <p:fade/>
  </p:transition>
  <p:timing>
    <p:tnLst>
      <p:par>
        <p:cTn id="1" dur="indefinite" restart="never" nodeType="tmRoot"/>
      </p:par>
    </p:tnLst>
  </p:timing>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415499"/>
          </a:xfrm>
        </p:spPr>
        <p:txBody>
          <a:bodyPr/>
          <a:lstStyle/>
          <a:p>
            <a:r>
              <a:rPr lang="en-US" sz="3000" dirty="0"/>
              <a:t>Behavior Monitoring And Dynamic Signatures</a:t>
            </a:r>
          </a:p>
        </p:txBody>
      </p:sp>
      <p:sp>
        <p:nvSpPr>
          <p:cNvPr id="3" name="Rectangle 2"/>
          <p:cNvSpPr/>
          <p:nvPr/>
        </p:nvSpPr>
        <p:spPr>
          <a:xfrm flipH="1">
            <a:off x="397759" y="1102518"/>
            <a:ext cx="3224100" cy="3869532"/>
          </a:xfrm>
          <a:prstGeom prst="rect">
            <a:avLst/>
          </a:prstGeom>
          <a:noFill/>
          <a:ln w="12700" cap="flat" cmpd="sng" algn="ctr">
            <a:solidFill>
              <a:srgbClr val="FFFFFF"/>
            </a:solidFill>
            <a:prstDash val="sysDot"/>
          </a:ln>
          <a:effectLst/>
        </p:spPr>
        <p:txBody>
          <a:bodyPr lIns="102880" tIns="102880" rIns="68586" bIns="34294" rtlCol="0" anchor="t" anchorCtr="0"/>
          <a:lstStyle/>
          <a:p>
            <a:pPr defTabSz="685862">
              <a:spcAft>
                <a:spcPts val="450"/>
              </a:spcAft>
              <a:defRPr/>
            </a:pPr>
            <a:r>
              <a:rPr lang="en-US" sz="1500" kern="0" dirty="0">
                <a:solidFill>
                  <a:srgbClr val="FFFFFF"/>
                </a:solidFill>
                <a:latin typeface="Segoe Semibold" pitchFamily="34" charset="0"/>
                <a:ea typeface="Segoe UI" pitchFamily="34" charset="0"/>
                <a:cs typeface="Segoe UI" pitchFamily="34" charset="0"/>
              </a:rPr>
              <a:t>Live system monitoring identifies new threats</a:t>
            </a:r>
          </a:p>
          <a:p>
            <a:pPr marL="171466" indent="-171466" defTabSz="685862">
              <a:lnSpc>
                <a:spcPct val="95000"/>
              </a:lnSpc>
              <a:spcAft>
                <a:spcPts val="450"/>
              </a:spcAft>
              <a:buClr>
                <a:srgbClr val="8E499C"/>
              </a:buClr>
              <a:buFont typeface="Wingdings" pitchFamily="2" charset="2"/>
              <a:buChar char="§"/>
              <a:defRPr/>
            </a:pPr>
            <a:r>
              <a:rPr lang="en-US" kern="0" dirty="0">
                <a:solidFill>
                  <a:srgbClr val="FFFFFF"/>
                </a:solidFill>
                <a:ea typeface="Segoe UI" pitchFamily="34" charset="0"/>
              </a:rPr>
              <a:t>Tracks behavior of unknown processes and known bad processes</a:t>
            </a:r>
          </a:p>
          <a:p>
            <a:pPr marL="171466" indent="-171466" defTabSz="685862">
              <a:lnSpc>
                <a:spcPct val="95000"/>
              </a:lnSpc>
              <a:spcAft>
                <a:spcPts val="450"/>
              </a:spcAft>
              <a:buClr>
                <a:srgbClr val="8E499C"/>
              </a:buClr>
              <a:buFont typeface="Wingdings" pitchFamily="2" charset="2"/>
              <a:buChar char="§"/>
              <a:defRPr/>
            </a:pPr>
            <a:r>
              <a:rPr lang="en-US" kern="0" dirty="0">
                <a:solidFill>
                  <a:srgbClr val="FFFFFF"/>
                </a:solidFill>
                <a:ea typeface="Segoe UI" pitchFamily="34" charset="0"/>
              </a:rPr>
              <a:t>Multiple sensors to detect </a:t>
            </a:r>
            <a:r>
              <a:rPr lang="en-US" kern="0" dirty="0" smtClean="0">
                <a:solidFill>
                  <a:srgbClr val="FFFFFF"/>
                </a:solidFill>
                <a:ea typeface="Segoe UI" pitchFamily="34" charset="0"/>
              </a:rPr>
              <a:t/>
            </a:r>
            <a:br>
              <a:rPr lang="en-US" kern="0" dirty="0" smtClean="0">
                <a:solidFill>
                  <a:srgbClr val="FFFFFF"/>
                </a:solidFill>
                <a:ea typeface="Segoe UI" pitchFamily="34" charset="0"/>
              </a:rPr>
            </a:br>
            <a:r>
              <a:rPr lang="en-US" kern="0" dirty="0" smtClean="0">
                <a:solidFill>
                  <a:srgbClr val="FFFFFF"/>
                </a:solidFill>
                <a:ea typeface="Segoe UI" pitchFamily="34" charset="0"/>
              </a:rPr>
              <a:t>OS </a:t>
            </a:r>
            <a:r>
              <a:rPr lang="en-US" kern="0" dirty="0">
                <a:solidFill>
                  <a:srgbClr val="FFFFFF"/>
                </a:solidFill>
                <a:ea typeface="Segoe UI" pitchFamily="34" charset="0"/>
              </a:rPr>
              <a:t>anomaly</a:t>
            </a:r>
          </a:p>
          <a:p>
            <a:pPr defTabSz="685862">
              <a:defRPr/>
            </a:pPr>
            <a:endParaRPr lang="en-US" kern="0" dirty="0">
              <a:solidFill>
                <a:srgbClr val="FFFFFF"/>
              </a:solidFill>
              <a:ea typeface="Segoe UI" pitchFamily="34" charset="0"/>
              <a:cs typeface="Segoe UI" pitchFamily="34" charset="0"/>
            </a:endParaRPr>
          </a:p>
          <a:p>
            <a:pPr defTabSz="685862">
              <a:spcAft>
                <a:spcPts val="450"/>
              </a:spcAft>
              <a:defRPr/>
            </a:pPr>
            <a:r>
              <a:rPr lang="en-US" sz="1500" kern="0" dirty="0">
                <a:solidFill>
                  <a:srgbClr val="FFFFFF"/>
                </a:solidFill>
                <a:latin typeface="Segoe Semibold" pitchFamily="34" charset="0"/>
                <a:ea typeface="Segoe UI" pitchFamily="34" charset="0"/>
                <a:cs typeface="Segoe UI" pitchFamily="34" charset="0"/>
              </a:rPr>
              <a:t>Updates for new threats delivered through the cloud in real time</a:t>
            </a:r>
          </a:p>
          <a:p>
            <a:pPr marL="171466" indent="-171466" defTabSz="685862">
              <a:lnSpc>
                <a:spcPct val="95000"/>
              </a:lnSpc>
              <a:spcAft>
                <a:spcPts val="450"/>
              </a:spcAft>
              <a:buClr>
                <a:srgbClr val="8E499C"/>
              </a:buClr>
              <a:buFont typeface="Wingdings" pitchFamily="2" charset="2"/>
              <a:buChar char="§"/>
              <a:defRPr/>
            </a:pPr>
            <a:r>
              <a:rPr lang="en-US" kern="0" dirty="0">
                <a:solidFill>
                  <a:srgbClr val="FFFFFF"/>
                </a:solidFill>
                <a:ea typeface="Segoe UI" pitchFamily="34" charset="0"/>
              </a:rPr>
              <a:t>Real time signature delivery with Microsoft Active Protection Service</a:t>
            </a:r>
          </a:p>
          <a:p>
            <a:pPr marL="171466" indent="-171466" defTabSz="685862">
              <a:lnSpc>
                <a:spcPct val="95000"/>
              </a:lnSpc>
              <a:spcAft>
                <a:spcPts val="450"/>
              </a:spcAft>
              <a:buClr>
                <a:srgbClr val="8E499C"/>
              </a:buClr>
              <a:buFont typeface="Wingdings" pitchFamily="2" charset="2"/>
              <a:buChar char="§"/>
              <a:defRPr/>
            </a:pPr>
            <a:r>
              <a:rPr lang="en-US" kern="0" dirty="0">
                <a:solidFill>
                  <a:srgbClr val="FFFFFF"/>
                </a:solidFill>
                <a:ea typeface="Segoe UI" pitchFamily="34" charset="0"/>
              </a:rPr>
              <a:t>Immediate protection against </a:t>
            </a:r>
            <a:r>
              <a:rPr lang="en-US" kern="0" dirty="0" smtClean="0">
                <a:solidFill>
                  <a:srgbClr val="FFFFFF"/>
                </a:solidFill>
                <a:ea typeface="Segoe UI" pitchFamily="34" charset="0"/>
              </a:rPr>
              <a:t/>
            </a:r>
            <a:br>
              <a:rPr lang="en-US" kern="0" dirty="0" smtClean="0">
                <a:solidFill>
                  <a:srgbClr val="FFFFFF"/>
                </a:solidFill>
                <a:ea typeface="Segoe UI" pitchFamily="34" charset="0"/>
              </a:rPr>
            </a:br>
            <a:r>
              <a:rPr lang="en-US" kern="0" dirty="0" smtClean="0">
                <a:solidFill>
                  <a:srgbClr val="FFFFFF"/>
                </a:solidFill>
                <a:ea typeface="Segoe UI" pitchFamily="34" charset="0"/>
              </a:rPr>
              <a:t>new </a:t>
            </a:r>
            <a:r>
              <a:rPr lang="en-US" kern="0" dirty="0">
                <a:solidFill>
                  <a:srgbClr val="FFFFFF"/>
                </a:solidFill>
                <a:ea typeface="Segoe UI" pitchFamily="34" charset="0"/>
              </a:rPr>
              <a:t>threats without waiting for scheduled updates</a:t>
            </a:r>
          </a:p>
          <a:p>
            <a:pPr marL="214332" indent="-214332" defTabSz="685862">
              <a:buFont typeface="Arial" pitchFamily="34" charset="0"/>
              <a:buChar char="•"/>
              <a:defRPr/>
            </a:pPr>
            <a:endParaRPr lang="en-US" kern="0" dirty="0" smtClean="0">
              <a:solidFill>
                <a:srgbClr val="FFFFFF"/>
              </a:solidFill>
              <a:ea typeface="Segoe UI" pitchFamily="34" charset="0"/>
            </a:endParaRPr>
          </a:p>
          <a:p>
            <a:pPr marL="214332" indent="-214332" defTabSz="685862">
              <a:buFont typeface="Arial" pitchFamily="34" charset="0"/>
              <a:buChar char="•"/>
              <a:defRPr/>
            </a:pPr>
            <a:endParaRPr lang="en-US" kern="0" dirty="0">
              <a:solidFill>
                <a:srgbClr val="FFFFFF"/>
              </a:solidFill>
              <a:ea typeface="Segoe UI" pitchFamily="34" charset="0"/>
              <a:cs typeface="Segoe UI" pitchFamily="34" charset="0"/>
            </a:endParaRPr>
          </a:p>
        </p:txBody>
      </p:sp>
      <p:sp>
        <p:nvSpPr>
          <p:cNvPr id="4" name="Rectangle 3"/>
          <p:cNvSpPr/>
          <p:nvPr/>
        </p:nvSpPr>
        <p:spPr>
          <a:xfrm flipH="1">
            <a:off x="3834768" y="1102517"/>
            <a:ext cx="1166164" cy="617220"/>
          </a:xfrm>
          <a:prstGeom prst="rect">
            <a:avLst/>
          </a:prstGeom>
          <a:solidFill>
            <a:schemeClr val="accent1">
              <a:alpha val="40000"/>
            </a:schemeClr>
          </a:solidFill>
          <a:ln w="12700" cap="flat" cmpd="sng" algn="ctr">
            <a:solidFill>
              <a:srgbClr val="FFFFFF"/>
            </a:solidFill>
            <a:prstDash val="sysDot"/>
          </a:ln>
          <a:effectLst/>
        </p:spPr>
        <p:txBody>
          <a:bodyPr lIns="0" tIns="0" rIns="0" bIns="0" rtlCol="0" anchor="ctr" anchorCtr="0"/>
          <a:lstStyle/>
          <a:p>
            <a:pPr algn="ctr" defTabSz="685862">
              <a:defRPr/>
            </a:pPr>
            <a:r>
              <a:rPr lang="en-US" sz="1200" kern="0" dirty="0">
                <a:solidFill>
                  <a:srgbClr val="FFFFFF"/>
                </a:solidFill>
                <a:ea typeface="Segoe UI" pitchFamily="34" charset="0"/>
                <a:cs typeface="Segoe UI" pitchFamily="34" charset="0"/>
              </a:rPr>
              <a:t>RESEARCHERS</a:t>
            </a:r>
          </a:p>
        </p:txBody>
      </p:sp>
      <p:sp>
        <p:nvSpPr>
          <p:cNvPr id="5" name="Rectangle 4"/>
          <p:cNvSpPr/>
          <p:nvPr/>
        </p:nvSpPr>
        <p:spPr>
          <a:xfrm flipH="1">
            <a:off x="7563109" y="1102517"/>
            <a:ext cx="1166164" cy="617220"/>
          </a:xfrm>
          <a:prstGeom prst="rect">
            <a:avLst/>
          </a:prstGeom>
          <a:solidFill>
            <a:schemeClr val="accent1">
              <a:alpha val="40000"/>
            </a:schemeClr>
          </a:solidFill>
          <a:ln w="12700" cap="flat" cmpd="sng" algn="ctr">
            <a:solidFill>
              <a:srgbClr val="FFFFFF"/>
            </a:solidFill>
            <a:prstDash val="sysDot"/>
          </a:ln>
          <a:effectLst/>
        </p:spPr>
        <p:txBody>
          <a:bodyPr lIns="0" tIns="0" rIns="0" bIns="0" rtlCol="0" anchor="ctr" anchorCtr="0"/>
          <a:lstStyle/>
          <a:p>
            <a:pPr algn="ctr" defTabSz="685862">
              <a:defRPr/>
            </a:pPr>
            <a:r>
              <a:rPr lang="en-US" sz="1200" kern="0" dirty="0">
                <a:solidFill>
                  <a:srgbClr val="FFFFFF"/>
                </a:solidFill>
                <a:ea typeface="Segoe UI" pitchFamily="34" charset="0"/>
                <a:cs typeface="Segoe UI" pitchFamily="34" charset="0"/>
              </a:rPr>
              <a:t>REPUTATION</a:t>
            </a:r>
          </a:p>
        </p:txBody>
      </p:sp>
      <p:sp>
        <p:nvSpPr>
          <p:cNvPr id="6" name="Rectangle 5"/>
          <p:cNvSpPr/>
          <p:nvPr/>
        </p:nvSpPr>
        <p:spPr>
          <a:xfrm flipH="1">
            <a:off x="5077549" y="1102517"/>
            <a:ext cx="1166164" cy="617220"/>
          </a:xfrm>
          <a:prstGeom prst="rect">
            <a:avLst/>
          </a:prstGeom>
          <a:solidFill>
            <a:schemeClr val="accent1">
              <a:alpha val="40000"/>
            </a:schemeClr>
          </a:solidFill>
          <a:ln w="12700" cap="flat" cmpd="sng" algn="ctr">
            <a:solidFill>
              <a:srgbClr val="FFFFFF"/>
            </a:solidFill>
            <a:prstDash val="sysDot"/>
          </a:ln>
          <a:effectLst/>
        </p:spPr>
        <p:txBody>
          <a:bodyPr lIns="0" tIns="0" rIns="0" bIns="0" rtlCol="0" anchor="ctr" anchorCtr="0"/>
          <a:lstStyle/>
          <a:p>
            <a:pPr algn="ctr" defTabSz="685862">
              <a:defRPr/>
            </a:pPr>
            <a:r>
              <a:rPr lang="en-US" sz="1200" kern="0" dirty="0">
                <a:solidFill>
                  <a:srgbClr val="FFFFFF"/>
                </a:solidFill>
                <a:ea typeface="Segoe UI" pitchFamily="34" charset="0"/>
                <a:cs typeface="Segoe UI" pitchFamily="34" charset="0"/>
              </a:rPr>
              <a:t>REAL-TIME SIGNATURE DELIVERY</a:t>
            </a:r>
          </a:p>
        </p:txBody>
      </p:sp>
      <p:sp>
        <p:nvSpPr>
          <p:cNvPr id="7" name="Rectangle 6"/>
          <p:cNvSpPr/>
          <p:nvPr/>
        </p:nvSpPr>
        <p:spPr>
          <a:xfrm flipH="1">
            <a:off x="6320329" y="1102517"/>
            <a:ext cx="1166164" cy="617220"/>
          </a:xfrm>
          <a:prstGeom prst="rect">
            <a:avLst/>
          </a:prstGeom>
          <a:solidFill>
            <a:schemeClr val="accent1">
              <a:alpha val="40000"/>
            </a:schemeClr>
          </a:solidFill>
          <a:ln w="12700" cap="flat" cmpd="sng" algn="ctr">
            <a:solidFill>
              <a:srgbClr val="FFFFFF"/>
            </a:solidFill>
            <a:prstDash val="sysDot"/>
          </a:ln>
          <a:effectLst/>
        </p:spPr>
        <p:txBody>
          <a:bodyPr lIns="0" tIns="0" rIns="0" bIns="0" rtlCol="0" anchor="ctr" anchorCtr="0"/>
          <a:lstStyle/>
          <a:p>
            <a:pPr algn="ctr" defTabSz="685862">
              <a:defRPr/>
            </a:pPr>
            <a:r>
              <a:rPr lang="en-US" sz="1200" kern="0" dirty="0">
                <a:solidFill>
                  <a:srgbClr val="FFFFFF"/>
                </a:solidFill>
                <a:ea typeface="Segoe UI" pitchFamily="34" charset="0"/>
                <a:cs typeface="Segoe UI" pitchFamily="34" charset="0"/>
              </a:rPr>
              <a:t>BEHAVIOR CLASSIFIERS</a:t>
            </a:r>
          </a:p>
        </p:txBody>
      </p:sp>
      <p:pic>
        <p:nvPicPr>
          <p:cNvPr id="8"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rcRect/>
          <a:stretch>
            <a:fillRect/>
          </a:stretch>
        </p:blipFill>
        <p:spPr bwMode="auto">
          <a:xfrm>
            <a:off x="5691460" y="2224333"/>
            <a:ext cx="1166164" cy="571280"/>
          </a:xfrm>
          <a:prstGeom prst="rect">
            <a:avLst/>
          </a:prstGeom>
          <a:noFill/>
          <a:ln>
            <a:noFill/>
          </a:ln>
          <a:effectLst>
            <a:outerShdw blurRad="63500" sx="102000" sy="102000" algn="ctr" rotWithShape="0">
              <a:srgbClr val="FFFFFF">
                <a:alpha val="4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Rectangle 8"/>
          <p:cNvSpPr/>
          <p:nvPr/>
        </p:nvSpPr>
        <p:spPr>
          <a:xfrm flipH="1">
            <a:off x="5471224" y="2803386"/>
            <a:ext cx="1692025" cy="271338"/>
          </a:xfrm>
          <a:prstGeom prst="rect">
            <a:avLst/>
          </a:prstGeom>
          <a:noFill/>
          <a:ln w="12700" cap="flat" cmpd="sng" algn="ctr">
            <a:noFill/>
            <a:prstDash val="sysDot"/>
          </a:ln>
          <a:effectLst/>
        </p:spPr>
        <p:txBody>
          <a:bodyPr lIns="0" tIns="0" rIns="0" bIns="0" rtlCol="0" anchor="t" anchorCtr="0"/>
          <a:lstStyle/>
          <a:p>
            <a:pPr algn="ctr" defTabSz="685862">
              <a:defRPr/>
            </a:pPr>
            <a:r>
              <a:rPr lang="en-US" sz="1200" kern="0" dirty="0">
                <a:solidFill>
                  <a:srgbClr val="FFFFFF"/>
                </a:solidFill>
                <a:ea typeface="Segoe UI" pitchFamily="34" charset="0"/>
                <a:hlinkClick r:id="rId4"/>
              </a:rPr>
              <a:t>Microsoft Active Protection Service</a:t>
            </a:r>
            <a:endParaRPr lang="en-US" sz="1200" kern="0" dirty="0">
              <a:solidFill>
                <a:srgbClr val="FFFFFF"/>
              </a:solidFill>
              <a:ea typeface="Segoe UI" pitchFamily="34" charset="0"/>
              <a:cs typeface="Segoe UI" pitchFamily="34" charset="0"/>
            </a:endParaRPr>
          </a:p>
        </p:txBody>
      </p:sp>
      <p:sp>
        <p:nvSpPr>
          <p:cNvPr id="10" name="Curved Left Arrow 9"/>
          <p:cNvSpPr/>
          <p:nvPr/>
        </p:nvSpPr>
        <p:spPr bwMode="auto">
          <a:xfrm rot="10800000">
            <a:off x="4073701" y="2501305"/>
            <a:ext cx="945690" cy="1906307"/>
          </a:xfrm>
          <a:prstGeom prst="curvedLeftArrow">
            <a:avLst>
              <a:gd name="adj1" fmla="val 17103"/>
              <a:gd name="adj2" fmla="val 36307"/>
              <a:gd name="adj3" fmla="val 23057"/>
            </a:avLst>
          </a:prstGeom>
          <a:gradFill rotWithShape="1">
            <a:gsLst>
              <a:gs pos="0">
                <a:srgbClr val="FFFFFF"/>
              </a:gs>
              <a:gs pos="100000">
                <a:srgbClr val="FFFFFF">
                  <a:alpha val="0"/>
                </a:srgbClr>
              </a:gs>
              <a:gs pos="78000">
                <a:srgbClr val="FFFFFF">
                  <a:alpha val="20000"/>
                </a:srgbClr>
              </a:gs>
            </a:gsLst>
            <a:lin ang="16200000" scaled="0"/>
          </a:gra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rgbClr val="FFC000">
                <a:shade val="25000"/>
                <a:satMod val="150000"/>
              </a:srgbClr>
            </a:contourClr>
          </a:sp3d>
        </p:spPr>
        <p:txBody>
          <a:bodyPr vert="horz" wrap="square" lIns="68583" tIns="34292" rIns="68583" bIns="34292" numCol="1" rtlCol="0" anchor="ctr" anchorCtr="0" compatLnSpc="1">
            <a:prstTxWarp prst="textNoShape">
              <a:avLst/>
            </a:prstTxWarp>
          </a:bodyPr>
          <a:lstStyle/>
          <a:p>
            <a:pPr algn="ctr" defTabSz="685637">
              <a:defRPr/>
            </a:pPr>
            <a:endParaRPr lang="en-US" sz="1800" kern="0" dirty="0">
              <a:solidFill>
                <a:srgbClr val="000000"/>
              </a:solidFill>
              <a:effectLst>
                <a:outerShdw blurRad="38100" dist="38100" dir="2700000" algn="tl">
                  <a:srgbClr val="000000">
                    <a:alpha val="43137"/>
                  </a:srgbClr>
                </a:outerShdw>
              </a:effectLst>
              <a:latin typeface="Segoe" pitchFamily="34" charset="0"/>
            </a:endParaRPr>
          </a:p>
        </p:txBody>
      </p:sp>
      <p:sp>
        <p:nvSpPr>
          <p:cNvPr id="11" name="Curved Left Arrow 10"/>
          <p:cNvSpPr/>
          <p:nvPr/>
        </p:nvSpPr>
        <p:spPr bwMode="auto">
          <a:xfrm>
            <a:off x="7490699" y="2501305"/>
            <a:ext cx="945690" cy="1906307"/>
          </a:xfrm>
          <a:prstGeom prst="curvedLeftArrow">
            <a:avLst>
              <a:gd name="adj1" fmla="val 17103"/>
              <a:gd name="adj2" fmla="val 36307"/>
              <a:gd name="adj3" fmla="val 23057"/>
            </a:avLst>
          </a:prstGeom>
          <a:gradFill rotWithShape="1">
            <a:gsLst>
              <a:gs pos="0">
                <a:srgbClr val="FFFFFF"/>
              </a:gs>
              <a:gs pos="100000">
                <a:srgbClr val="FFFFFF">
                  <a:alpha val="0"/>
                </a:srgbClr>
              </a:gs>
              <a:gs pos="78000">
                <a:srgbClr val="FFFFFF">
                  <a:alpha val="20000"/>
                </a:srgbClr>
              </a:gs>
            </a:gsLst>
            <a:lin ang="16200000" scaled="0"/>
          </a:gra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rgbClr val="FFC000">
                <a:shade val="25000"/>
                <a:satMod val="150000"/>
              </a:srgbClr>
            </a:contourClr>
          </a:sp3d>
        </p:spPr>
        <p:txBody>
          <a:bodyPr vert="horz" wrap="square" lIns="68583" tIns="34292" rIns="68583" bIns="34292" numCol="1" rtlCol="0" anchor="ctr" anchorCtr="0" compatLnSpc="1">
            <a:prstTxWarp prst="textNoShape">
              <a:avLst/>
            </a:prstTxWarp>
          </a:bodyPr>
          <a:lstStyle/>
          <a:p>
            <a:pPr algn="ctr" defTabSz="685637">
              <a:defRPr/>
            </a:pPr>
            <a:endParaRPr lang="en-US" sz="1800" kern="0" dirty="0">
              <a:solidFill>
                <a:srgbClr val="000000"/>
              </a:solidFill>
              <a:effectLst>
                <a:outerShdw blurRad="38100" dist="38100" dir="2700000" algn="tl">
                  <a:srgbClr val="000000">
                    <a:alpha val="43137"/>
                  </a:srgbClr>
                </a:outerShdw>
              </a:effectLst>
              <a:latin typeface="Segoe" pitchFamily="34" charset="0"/>
            </a:endParaRPr>
          </a:p>
        </p:txBody>
      </p:sp>
      <p:sp>
        <p:nvSpPr>
          <p:cNvPr id="12" name="Rectangle 11"/>
          <p:cNvSpPr/>
          <p:nvPr/>
        </p:nvSpPr>
        <p:spPr>
          <a:xfrm>
            <a:off x="4190366" y="3203479"/>
            <a:ext cx="1028968" cy="548640"/>
          </a:xfrm>
          <a:prstGeom prst="rect">
            <a:avLst/>
          </a:prstGeom>
          <a:solidFill>
            <a:schemeClr val="accent3"/>
          </a:solidFill>
          <a:ln w="25400" cap="flat" cmpd="sng" algn="ctr">
            <a:noFill/>
            <a:prstDash val="solid"/>
          </a:ln>
          <a:effectLst/>
        </p:spPr>
        <p:txBody>
          <a:bodyPr lIns="68586" tIns="34294" rIns="68586" bIns="34294" rtlCol="0" anchor="ctr"/>
          <a:lstStyle/>
          <a:p>
            <a:pPr algn="ctr" defTabSz="685862">
              <a:defRPr/>
            </a:pPr>
            <a:r>
              <a:rPr lang="en-US" sz="1200" kern="0" dirty="0">
                <a:solidFill>
                  <a:srgbClr val="FFFFFF"/>
                </a:solidFill>
                <a:ea typeface="Segoe UI" pitchFamily="34" charset="0"/>
                <a:cs typeface="Segoe UI" pitchFamily="34" charset="0"/>
              </a:rPr>
              <a:t>Properties/</a:t>
            </a:r>
          </a:p>
          <a:p>
            <a:pPr algn="ctr" defTabSz="685862">
              <a:defRPr/>
            </a:pPr>
            <a:r>
              <a:rPr lang="en-US" sz="1200" kern="0" dirty="0">
                <a:solidFill>
                  <a:srgbClr val="FFFFFF"/>
                </a:solidFill>
                <a:ea typeface="Segoe UI" pitchFamily="34" charset="0"/>
                <a:cs typeface="Segoe UI" pitchFamily="34" charset="0"/>
              </a:rPr>
              <a:t>Behavior</a:t>
            </a:r>
          </a:p>
        </p:txBody>
      </p:sp>
      <p:sp>
        <p:nvSpPr>
          <p:cNvPr id="13" name="Rectangle 12"/>
          <p:cNvSpPr/>
          <p:nvPr/>
        </p:nvSpPr>
        <p:spPr>
          <a:xfrm>
            <a:off x="7275164" y="3203479"/>
            <a:ext cx="1028968" cy="548640"/>
          </a:xfrm>
          <a:prstGeom prst="rect">
            <a:avLst/>
          </a:prstGeom>
          <a:solidFill>
            <a:schemeClr val="accent3"/>
          </a:solidFill>
          <a:ln w="25400" cap="flat" cmpd="sng" algn="ctr">
            <a:noFill/>
            <a:prstDash val="solid"/>
          </a:ln>
          <a:effectLst/>
        </p:spPr>
        <p:txBody>
          <a:bodyPr lIns="68586" tIns="34294" rIns="68586" bIns="34294" rtlCol="0" anchor="ctr"/>
          <a:lstStyle/>
          <a:p>
            <a:pPr algn="ctr" defTabSz="685862">
              <a:defRPr/>
            </a:pPr>
            <a:r>
              <a:rPr lang="en-US" sz="1200" kern="0" dirty="0">
                <a:solidFill>
                  <a:srgbClr val="FFFFFF"/>
                </a:solidFill>
                <a:ea typeface="Segoe UI" pitchFamily="34" charset="0"/>
                <a:cs typeface="Segoe UI" pitchFamily="34" charset="0"/>
              </a:rPr>
              <a:t>Real-time signature</a:t>
            </a:r>
          </a:p>
        </p:txBody>
      </p:sp>
      <p:pic>
        <p:nvPicPr>
          <p:cNvPr id="14" name="Picture 13"/>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879045" y="4269976"/>
            <a:ext cx="882568" cy="568082"/>
          </a:xfrm>
          <a:prstGeom prst="rect">
            <a:avLst/>
          </a:prstGeom>
        </p:spPr>
      </p:pic>
      <p:sp>
        <p:nvSpPr>
          <p:cNvPr id="15" name="Rectangle 14"/>
          <p:cNvSpPr/>
          <p:nvPr/>
        </p:nvSpPr>
        <p:spPr>
          <a:xfrm flipH="1">
            <a:off x="5260990" y="3242006"/>
            <a:ext cx="891772" cy="480060"/>
          </a:xfrm>
          <a:prstGeom prst="rect">
            <a:avLst/>
          </a:prstGeom>
          <a:noFill/>
          <a:ln w="12700" cap="flat" cmpd="sng" algn="ctr">
            <a:solidFill>
              <a:srgbClr val="FFFFFF"/>
            </a:solidFill>
            <a:prstDash val="sysDot"/>
          </a:ln>
          <a:effectLst/>
        </p:spPr>
        <p:txBody>
          <a:bodyPr lIns="0" tIns="0" rIns="0" bIns="0" rtlCol="0" anchor="ctr" anchorCtr="0"/>
          <a:lstStyle/>
          <a:p>
            <a:pPr algn="ctr" defTabSz="685862">
              <a:defRPr/>
            </a:pPr>
            <a:r>
              <a:rPr lang="en-US" sz="1200" kern="0" dirty="0">
                <a:solidFill>
                  <a:srgbClr val="FFFFFF"/>
                </a:solidFill>
                <a:ea typeface="Segoe UI" pitchFamily="34" charset="0"/>
                <a:cs typeface="Segoe UI" pitchFamily="34" charset="0"/>
              </a:rPr>
              <a:t>Sample</a:t>
            </a:r>
          </a:p>
          <a:p>
            <a:pPr algn="ctr" defTabSz="685862">
              <a:defRPr/>
            </a:pPr>
            <a:r>
              <a:rPr lang="en-US" sz="1200" kern="0" dirty="0">
                <a:solidFill>
                  <a:srgbClr val="FFFFFF"/>
                </a:solidFill>
                <a:ea typeface="Segoe UI" pitchFamily="34" charset="0"/>
                <a:cs typeface="Segoe UI" pitchFamily="34" charset="0"/>
              </a:rPr>
              <a:t>request</a:t>
            </a:r>
          </a:p>
        </p:txBody>
      </p:sp>
      <p:sp>
        <p:nvSpPr>
          <p:cNvPr id="16" name="Rectangle 15"/>
          <p:cNvSpPr/>
          <p:nvPr/>
        </p:nvSpPr>
        <p:spPr>
          <a:xfrm flipH="1">
            <a:off x="6336203" y="3239149"/>
            <a:ext cx="891772" cy="480060"/>
          </a:xfrm>
          <a:prstGeom prst="rect">
            <a:avLst/>
          </a:prstGeom>
          <a:noFill/>
          <a:ln w="12700" cap="flat" cmpd="sng" algn="ctr">
            <a:solidFill>
              <a:srgbClr val="FFFFFF"/>
            </a:solidFill>
            <a:prstDash val="sysDot"/>
          </a:ln>
          <a:effectLst/>
        </p:spPr>
        <p:txBody>
          <a:bodyPr lIns="0" tIns="0" rIns="0" bIns="0" rtlCol="0" anchor="ctr" anchorCtr="0"/>
          <a:lstStyle/>
          <a:p>
            <a:pPr algn="ctr" defTabSz="685862">
              <a:defRPr/>
            </a:pPr>
            <a:r>
              <a:rPr lang="en-US" sz="1200" kern="0" dirty="0">
                <a:solidFill>
                  <a:srgbClr val="FFFFFF"/>
                </a:solidFill>
                <a:ea typeface="Segoe UI" pitchFamily="34" charset="0"/>
                <a:cs typeface="Segoe UI" pitchFamily="34" charset="0"/>
              </a:rPr>
              <a:t>Sample</a:t>
            </a:r>
          </a:p>
          <a:p>
            <a:pPr algn="ctr" defTabSz="685862">
              <a:defRPr/>
            </a:pPr>
            <a:r>
              <a:rPr lang="en-US" sz="1200" kern="0" dirty="0">
                <a:solidFill>
                  <a:srgbClr val="FFFFFF"/>
                </a:solidFill>
                <a:ea typeface="Segoe UI" pitchFamily="34" charset="0"/>
                <a:cs typeface="Segoe UI" pitchFamily="34" charset="0"/>
              </a:rPr>
              <a:t>submit</a:t>
            </a:r>
          </a:p>
        </p:txBody>
      </p:sp>
      <p:cxnSp>
        <p:nvCxnSpPr>
          <p:cNvPr id="17" name="Straight Connector 16"/>
          <p:cNvCxnSpPr/>
          <p:nvPr/>
        </p:nvCxnSpPr>
        <p:spPr>
          <a:xfrm>
            <a:off x="5538738" y="3748442"/>
            <a:ext cx="0" cy="411480"/>
          </a:xfrm>
          <a:prstGeom prst="line">
            <a:avLst/>
          </a:prstGeom>
          <a:noFill/>
          <a:ln w="12700" cap="flat" cmpd="sng" algn="ctr">
            <a:solidFill>
              <a:srgbClr val="FFFFFF"/>
            </a:solidFill>
            <a:prstDash val="sysDot"/>
            <a:tailEnd type="triangle"/>
          </a:ln>
          <a:effectLst/>
        </p:spPr>
      </p:cxnSp>
      <p:cxnSp>
        <p:nvCxnSpPr>
          <p:cNvPr id="18" name="Straight Connector 17"/>
          <p:cNvCxnSpPr/>
          <p:nvPr/>
        </p:nvCxnSpPr>
        <p:spPr>
          <a:xfrm flipV="1">
            <a:off x="6963677" y="2713369"/>
            <a:ext cx="0" cy="525780"/>
          </a:xfrm>
          <a:prstGeom prst="line">
            <a:avLst/>
          </a:prstGeom>
          <a:noFill/>
          <a:ln w="12700" cap="flat" cmpd="sng" algn="ctr">
            <a:solidFill>
              <a:srgbClr val="FFFFFF"/>
            </a:solidFill>
            <a:prstDash val="sysDot"/>
            <a:tailEnd type="triangle"/>
          </a:ln>
          <a:effectLst/>
        </p:spPr>
      </p:cxnSp>
      <p:cxnSp>
        <p:nvCxnSpPr>
          <p:cNvPr id="19" name="Straight Connector 18"/>
          <p:cNvCxnSpPr/>
          <p:nvPr/>
        </p:nvCxnSpPr>
        <p:spPr>
          <a:xfrm>
            <a:off x="6281792" y="1833294"/>
            <a:ext cx="0" cy="342900"/>
          </a:xfrm>
          <a:prstGeom prst="line">
            <a:avLst/>
          </a:prstGeom>
          <a:noFill/>
          <a:ln w="12700" cap="flat" cmpd="sng" algn="ctr">
            <a:solidFill>
              <a:srgbClr val="FFFFFF"/>
            </a:solidFill>
            <a:prstDash val="sysDot"/>
            <a:headEnd type="triangle"/>
            <a:tailEnd type="triangle"/>
          </a:ln>
          <a:effectLst/>
        </p:spPr>
      </p:cxnSp>
      <p:sp>
        <p:nvSpPr>
          <p:cNvPr id="20" name="Oval 19"/>
          <p:cNvSpPr/>
          <p:nvPr/>
        </p:nvSpPr>
        <p:spPr>
          <a:xfrm>
            <a:off x="4584805" y="3785089"/>
            <a:ext cx="240093" cy="240030"/>
          </a:xfrm>
          <a:prstGeom prst="ellipse">
            <a:avLst/>
          </a:prstGeom>
          <a:solidFill>
            <a:schemeClr val="accent2">
              <a:alpha val="75000"/>
            </a:schemeClr>
          </a:solidFill>
          <a:ln w="12700" cap="rnd">
            <a:solidFill>
              <a:srgbClr val="FFFFFF"/>
            </a:solidFill>
            <a:prstDash val="sysDot"/>
          </a:ln>
          <a:effectLst/>
        </p:spPr>
        <p:style>
          <a:lnRef idx="1">
            <a:schemeClr val="accent1"/>
          </a:lnRef>
          <a:fillRef idx="3">
            <a:schemeClr val="accent1"/>
          </a:fillRef>
          <a:effectRef idx="2">
            <a:schemeClr val="accent1"/>
          </a:effectRef>
          <a:fontRef idx="minor">
            <a:schemeClr val="lt1"/>
          </a:fontRef>
        </p:style>
        <p:txBody>
          <a:bodyPr lIns="91432" tIns="45716" rIns="91432" bIns="45716" rtlCol="0" anchor="ctr"/>
          <a:lstStyle/>
          <a:p>
            <a:pPr algn="ctr"/>
            <a:r>
              <a:rPr lang="en-US" dirty="0">
                <a:solidFill>
                  <a:srgbClr val="FFFFFF"/>
                </a:solidFill>
              </a:rPr>
              <a:t>1</a:t>
            </a:r>
          </a:p>
        </p:txBody>
      </p:sp>
      <p:sp>
        <p:nvSpPr>
          <p:cNvPr id="21" name="Oval 20"/>
          <p:cNvSpPr/>
          <p:nvPr/>
        </p:nvSpPr>
        <p:spPr>
          <a:xfrm>
            <a:off x="5731004" y="3785089"/>
            <a:ext cx="240093" cy="240030"/>
          </a:xfrm>
          <a:prstGeom prst="ellipse">
            <a:avLst/>
          </a:prstGeom>
          <a:solidFill>
            <a:schemeClr val="accent2">
              <a:alpha val="75000"/>
            </a:schemeClr>
          </a:solidFill>
          <a:ln w="12700" cap="rnd">
            <a:solidFill>
              <a:srgbClr val="FFFFFF"/>
            </a:solidFill>
            <a:prstDash val="sysDot"/>
          </a:ln>
          <a:effectLst/>
        </p:spPr>
        <p:style>
          <a:lnRef idx="1">
            <a:schemeClr val="accent1"/>
          </a:lnRef>
          <a:fillRef idx="3">
            <a:schemeClr val="accent1"/>
          </a:fillRef>
          <a:effectRef idx="2">
            <a:schemeClr val="accent1"/>
          </a:effectRef>
          <a:fontRef idx="minor">
            <a:schemeClr val="lt1"/>
          </a:fontRef>
        </p:style>
        <p:txBody>
          <a:bodyPr lIns="91432" tIns="45716" rIns="91432" bIns="45716" rtlCol="0" anchor="ctr"/>
          <a:lstStyle/>
          <a:p>
            <a:pPr algn="ctr"/>
            <a:r>
              <a:rPr lang="en-US" dirty="0">
                <a:solidFill>
                  <a:srgbClr val="FFFFFF"/>
                </a:solidFill>
              </a:rPr>
              <a:t>2</a:t>
            </a:r>
          </a:p>
        </p:txBody>
      </p:sp>
      <p:sp>
        <p:nvSpPr>
          <p:cNvPr id="22" name="Oval 21"/>
          <p:cNvSpPr/>
          <p:nvPr/>
        </p:nvSpPr>
        <p:spPr>
          <a:xfrm>
            <a:off x="6662043" y="3785089"/>
            <a:ext cx="240093" cy="240030"/>
          </a:xfrm>
          <a:prstGeom prst="ellipse">
            <a:avLst/>
          </a:prstGeom>
          <a:solidFill>
            <a:schemeClr val="accent2">
              <a:alpha val="75000"/>
            </a:schemeClr>
          </a:solidFill>
          <a:ln w="12700" cap="rnd">
            <a:solidFill>
              <a:srgbClr val="FFFFFF"/>
            </a:solidFill>
            <a:prstDash val="sysDot"/>
          </a:ln>
          <a:effectLst/>
        </p:spPr>
        <p:style>
          <a:lnRef idx="1">
            <a:schemeClr val="accent1"/>
          </a:lnRef>
          <a:fillRef idx="3">
            <a:schemeClr val="accent1"/>
          </a:fillRef>
          <a:effectRef idx="2">
            <a:schemeClr val="accent1"/>
          </a:effectRef>
          <a:fontRef idx="minor">
            <a:schemeClr val="lt1"/>
          </a:fontRef>
        </p:style>
        <p:txBody>
          <a:bodyPr lIns="91432" tIns="45716" rIns="91432" bIns="45716" rtlCol="0" anchor="ctr"/>
          <a:lstStyle/>
          <a:p>
            <a:pPr algn="ctr"/>
            <a:r>
              <a:rPr lang="en-US" dirty="0">
                <a:solidFill>
                  <a:srgbClr val="FFFFFF"/>
                </a:solidFill>
              </a:rPr>
              <a:t>3</a:t>
            </a:r>
          </a:p>
        </p:txBody>
      </p:sp>
      <p:sp>
        <p:nvSpPr>
          <p:cNvPr id="23" name="Oval 22"/>
          <p:cNvSpPr/>
          <p:nvPr/>
        </p:nvSpPr>
        <p:spPr>
          <a:xfrm>
            <a:off x="7669602" y="3785089"/>
            <a:ext cx="240093" cy="240030"/>
          </a:xfrm>
          <a:prstGeom prst="ellipse">
            <a:avLst/>
          </a:prstGeom>
          <a:solidFill>
            <a:schemeClr val="accent2">
              <a:alpha val="75000"/>
            </a:schemeClr>
          </a:solidFill>
          <a:ln w="12700" cap="rnd">
            <a:solidFill>
              <a:srgbClr val="FFFFFF"/>
            </a:solidFill>
            <a:prstDash val="sysDot"/>
          </a:ln>
          <a:effectLst/>
        </p:spPr>
        <p:style>
          <a:lnRef idx="1">
            <a:schemeClr val="accent1"/>
          </a:lnRef>
          <a:fillRef idx="3">
            <a:schemeClr val="accent1"/>
          </a:fillRef>
          <a:effectRef idx="2">
            <a:schemeClr val="accent1"/>
          </a:effectRef>
          <a:fontRef idx="minor">
            <a:schemeClr val="lt1"/>
          </a:fontRef>
        </p:style>
        <p:txBody>
          <a:bodyPr lIns="91432" tIns="45716" rIns="91432" bIns="45716" rtlCol="0" anchor="ctr"/>
          <a:lstStyle/>
          <a:p>
            <a:pPr algn="ctr"/>
            <a:r>
              <a:rPr lang="en-US" dirty="0">
                <a:solidFill>
                  <a:srgbClr val="FFFFFF"/>
                </a:solidFill>
              </a:rPr>
              <a:t>4</a:t>
            </a:r>
          </a:p>
        </p:txBody>
      </p:sp>
      <p:sp>
        <p:nvSpPr>
          <p:cNvPr id="24"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5"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6"/>
              </a:rPr>
              <a:t>www.rapidbbs.cn</a:t>
            </a:r>
            <a:endParaRPr lang="zh-CN" altLang="en-US" sz="1200" b="0">
              <a:latin typeface="Arial" charset="0"/>
              <a:ea typeface="ＭＳ Ｐゴシック" pitchFamily="34" charset="-128"/>
            </a:endParaRPr>
          </a:p>
        </p:txBody>
      </p:sp>
      <p:pic>
        <p:nvPicPr>
          <p:cNvPr id="26" name="Picture 2">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25791193"/>
      </p:ext>
    </p:extLst>
  </p:cSld>
  <p:clrMapOvr>
    <a:masterClrMapping/>
  </p:clrMapOvr>
  <p:transition>
    <p:fade/>
  </p:transition>
  <p:timing>
    <p:tnLst>
      <p:par>
        <p:cTn id="1" dur="indefinite" restart="never" nodeType="tmRoot"/>
      </p:par>
    </p:tnLst>
  </p:timing>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457049"/>
          </a:xfrm>
        </p:spPr>
        <p:txBody>
          <a:bodyPr/>
          <a:lstStyle/>
          <a:p>
            <a:r>
              <a:rPr lang="en-US" dirty="0" smtClean="0"/>
              <a:t>Summary</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723877713"/>
              </p:ext>
            </p:extLst>
          </p:nvPr>
        </p:nvGraphicFramePr>
        <p:xfrm>
          <a:off x="688867" y="1160567"/>
          <a:ext cx="8121672" cy="3860735"/>
        </p:xfrm>
        <a:graphic>
          <a:graphicData uri="http://schemas.openxmlformats.org/drawingml/2006/table">
            <a:tbl>
              <a:tblPr firstRow="1" bandRow="1">
                <a:tableStyleId>{F2DE63D5-997A-4646-A377-4702673A728D}</a:tableStyleId>
              </a:tblPr>
              <a:tblGrid>
                <a:gridCol w="1870361"/>
                <a:gridCol w="3027541"/>
                <a:gridCol w="3223770"/>
              </a:tblGrid>
              <a:tr h="502920">
                <a:tc>
                  <a:txBody>
                    <a:bodyPr/>
                    <a:lstStyle/>
                    <a:p>
                      <a:r>
                        <a:rPr lang="en-US" sz="1400" b="0" dirty="0" smtClean="0">
                          <a:solidFill>
                            <a:schemeClr val="tx1"/>
                          </a:solidFill>
                          <a:latin typeface="+mj-lt"/>
                        </a:rPr>
                        <a:t>Key Scenarios</a:t>
                      </a:r>
                      <a:endParaRPr lang="en-US" sz="1400" b="0" dirty="0">
                        <a:solidFill>
                          <a:schemeClr val="tx1"/>
                        </a:solidFill>
                        <a:latin typeface="+mj-lt"/>
                      </a:endParaRPr>
                    </a:p>
                  </a:txBody>
                  <a:tcPr marL="68598" marR="68598" marT="34290" marB="34290">
                    <a:lnL w="12700" cap="flat" cmpd="sng" algn="ctr">
                      <a:solidFill>
                        <a:schemeClr val="tx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r>
                        <a:rPr lang="en-US" sz="1400" b="0" dirty="0" smtClean="0">
                          <a:solidFill>
                            <a:schemeClr val="tx1"/>
                          </a:solidFill>
                          <a:latin typeface="+mj-lt"/>
                        </a:rPr>
                        <a:t>Forefront Endpoint Protection 2010</a:t>
                      </a:r>
                      <a:endParaRPr lang="en-US" sz="1400" b="0" dirty="0">
                        <a:solidFill>
                          <a:schemeClr val="tx1"/>
                        </a:solidFill>
                        <a:latin typeface="+mj-lt"/>
                      </a:endParaRPr>
                    </a:p>
                  </a:txBody>
                  <a:tcPr marL="68598" marR="68598" marT="34290" marB="3429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r>
                        <a:rPr lang="en-US" sz="1400" b="0" dirty="0" smtClean="0">
                          <a:solidFill>
                            <a:schemeClr val="tx1"/>
                          </a:solidFill>
                          <a:latin typeface="+mj-lt"/>
                        </a:rPr>
                        <a:t>System Center 2012 Endpoint Protection </a:t>
                      </a:r>
                      <a:endParaRPr lang="en-US" sz="1400" b="0" dirty="0">
                        <a:solidFill>
                          <a:schemeClr val="tx1"/>
                        </a:solidFill>
                        <a:latin typeface="+mj-lt"/>
                      </a:endParaRPr>
                    </a:p>
                  </a:txBody>
                  <a:tcPr marL="68598" marR="68598" marT="34290" marB="34290">
                    <a:lnL w="12700" cap="flat" cmpd="sng" algn="ctr">
                      <a:solidFill>
                        <a:schemeClr val="tx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r>
              <a:tr h="411302">
                <a:tc>
                  <a:txBody>
                    <a:bodyPr/>
                    <a:lstStyle/>
                    <a:p>
                      <a:r>
                        <a:rPr lang="en-US" sz="1100" dirty="0" smtClean="0">
                          <a:solidFill>
                            <a:schemeClr val="tx1"/>
                          </a:solidFill>
                        </a:rPr>
                        <a:t>Unified infrastructure</a:t>
                      </a:r>
                      <a:endParaRPr lang="en-US" sz="1100" dirty="0">
                        <a:solidFill>
                          <a:schemeClr val="tx1"/>
                        </a:solidFill>
                      </a:endParaRPr>
                    </a:p>
                  </a:txBody>
                  <a:tcPr marL="68598" marR="68598" marT="34290" marB="3429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alpha val="30000"/>
                      </a:schemeClr>
                    </a:solidFill>
                  </a:tcPr>
                </a:tc>
                <a:tc>
                  <a:txBody>
                    <a:bodyPr/>
                    <a:lstStyle/>
                    <a:p>
                      <a:r>
                        <a:rPr lang="en-US" sz="1100" dirty="0" smtClean="0">
                          <a:solidFill>
                            <a:schemeClr val="tx1"/>
                          </a:solidFill>
                        </a:rPr>
                        <a:t>System</a:t>
                      </a:r>
                      <a:r>
                        <a:rPr lang="en-US" sz="1100" baseline="0" dirty="0" smtClean="0">
                          <a:solidFill>
                            <a:schemeClr val="tx1"/>
                          </a:solidFill>
                        </a:rPr>
                        <a:t> Center Configuration Manager </a:t>
                      </a:r>
                      <a:r>
                        <a:rPr lang="en-US" sz="1100" dirty="0" smtClean="0">
                          <a:solidFill>
                            <a:schemeClr val="tx1"/>
                          </a:solidFill>
                        </a:rPr>
                        <a:t>2007</a:t>
                      </a:r>
                      <a:endParaRPr lang="en-US" sz="1100" dirty="0">
                        <a:solidFill>
                          <a:schemeClr val="tx1"/>
                        </a:solidFill>
                      </a:endParaRPr>
                    </a:p>
                  </a:txBody>
                  <a:tcPr marL="68598" marR="68598" marT="34290" marB="3429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alpha val="30000"/>
                      </a:schemeClr>
                    </a:solidFill>
                  </a:tcPr>
                </a:tc>
                <a:tc>
                  <a:txBody>
                    <a:bodyPr/>
                    <a:lstStyle/>
                    <a:p>
                      <a:r>
                        <a:rPr lang="en-US" sz="1100" dirty="0" smtClean="0">
                          <a:solidFill>
                            <a:schemeClr val="tx1"/>
                          </a:solidFill>
                        </a:rPr>
                        <a:t>System Center 2012 Configuration Manager</a:t>
                      </a:r>
                      <a:endParaRPr lang="en-US" sz="1100" dirty="0">
                        <a:solidFill>
                          <a:schemeClr val="tx1"/>
                        </a:solidFill>
                      </a:endParaRPr>
                    </a:p>
                  </a:txBody>
                  <a:tcPr marL="68598" marR="68598" marT="34290" marB="3429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alpha val="30000"/>
                      </a:schemeClr>
                    </a:solidFill>
                  </a:tcPr>
                </a:tc>
              </a:tr>
              <a:tr h="358289">
                <a:tc>
                  <a:txBody>
                    <a:bodyPr/>
                    <a:lstStyle/>
                    <a:p>
                      <a:r>
                        <a:rPr lang="en-US" sz="1100" dirty="0" smtClean="0">
                          <a:solidFill>
                            <a:schemeClr val="tx1"/>
                          </a:solidFill>
                        </a:rPr>
                        <a:t>Server setup</a:t>
                      </a:r>
                      <a:endParaRPr lang="en-US" sz="1100" dirty="0">
                        <a:solidFill>
                          <a:schemeClr val="tx1"/>
                        </a:solidFill>
                      </a:endParaRPr>
                    </a:p>
                  </a:txBody>
                  <a:tcPr marL="68598" marR="68598" marT="34290" marB="3429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alpha val="30000"/>
                      </a:schemeClr>
                    </a:solidFill>
                  </a:tcPr>
                </a:tc>
                <a:tc>
                  <a:txBody>
                    <a:bodyPr/>
                    <a:lstStyle/>
                    <a:p>
                      <a:r>
                        <a:rPr lang="en-US" sz="1100" dirty="0" smtClean="0">
                          <a:solidFill>
                            <a:schemeClr val="tx1"/>
                          </a:solidFill>
                        </a:rPr>
                        <a:t>Separate install</a:t>
                      </a:r>
                      <a:endParaRPr lang="en-US" sz="1100" dirty="0">
                        <a:solidFill>
                          <a:schemeClr val="tx1"/>
                        </a:solidFill>
                      </a:endParaRPr>
                    </a:p>
                  </a:txBody>
                  <a:tcPr marL="68598" marR="68598" marT="34290" marB="3429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alpha val="30000"/>
                      </a:schemeClr>
                    </a:solidFill>
                  </a:tcPr>
                </a:tc>
                <a:tc>
                  <a:txBody>
                    <a:bodyPr/>
                    <a:lstStyle/>
                    <a:p>
                      <a:r>
                        <a:rPr lang="en-US" sz="1100" baseline="0" dirty="0" smtClean="0">
                          <a:solidFill>
                            <a:schemeClr val="tx1"/>
                          </a:solidFill>
                        </a:rPr>
                        <a:t>Unified setup</a:t>
                      </a:r>
                      <a:endParaRPr lang="en-US" sz="1100" dirty="0">
                        <a:solidFill>
                          <a:schemeClr val="tx1"/>
                        </a:solidFill>
                      </a:endParaRPr>
                    </a:p>
                  </a:txBody>
                  <a:tcPr marL="68598" marR="68598" marT="34290" marB="3429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alpha val="30000"/>
                      </a:schemeClr>
                    </a:solidFill>
                  </a:tcPr>
                </a:tc>
              </a:tr>
              <a:tr h="350267">
                <a:tc>
                  <a:txBody>
                    <a:bodyPr/>
                    <a:lstStyle/>
                    <a:p>
                      <a:r>
                        <a:rPr lang="en-US" sz="1100" dirty="0" smtClean="0">
                          <a:solidFill>
                            <a:schemeClr val="tx1"/>
                          </a:solidFill>
                        </a:rPr>
                        <a:t>Client deployment</a:t>
                      </a:r>
                      <a:endParaRPr lang="en-US" sz="1100" dirty="0">
                        <a:solidFill>
                          <a:schemeClr val="tx1"/>
                        </a:solidFill>
                      </a:endParaRPr>
                    </a:p>
                  </a:txBody>
                  <a:tcPr marL="68598" marR="68598" marT="34290" marB="3429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alpha val="30000"/>
                      </a:schemeClr>
                    </a:solidFill>
                  </a:tcPr>
                </a:tc>
                <a:tc>
                  <a:txBody>
                    <a:bodyPr/>
                    <a:lstStyle/>
                    <a:p>
                      <a:r>
                        <a:rPr lang="en-US" sz="1100" dirty="0" smtClean="0">
                          <a:solidFill>
                            <a:schemeClr val="tx1"/>
                          </a:solidFill>
                        </a:rPr>
                        <a:t>ConfigMgr</a:t>
                      </a:r>
                      <a:r>
                        <a:rPr lang="en-US" sz="1100" baseline="0" dirty="0" smtClean="0">
                          <a:solidFill>
                            <a:schemeClr val="tx1"/>
                          </a:solidFill>
                        </a:rPr>
                        <a:t> distribution process</a:t>
                      </a:r>
                      <a:endParaRPr lang="en-US" sz="1100" dirty="0">
                        <a:solidFill>
                          <a:schemeClr val="tx1"/>
                        </a:solidFill>
                      </a:endParaRPr>
                    </a:p>
                  </a:txBody>
                  <a:tcPr marL="68598" marR="68598" marT="34290" marB="3429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alpha val="30000"/>
                      </a:schemeClr>
                    </a:solidFill>
                  </a:tcPr>
                </a:tc>
                <a:tc>
                  <a:txBody>
                    <a:bodyPr/>
                    <a:lstStyle/>
                    <a:p>
                      <a:r>
                        <a:rPr lang="en-US" sz="1100" dirty="0" smtClean="0">
                          <a:solidFill>
                            <a:schemeClr val="tx1"/>
                          </a:solidFill>
                        </a:rPr>
                        <a:t>Integrated</a:t>
                      </a:r>
                      <a:endParaRPr lang="en-US" sz="1100" dirty="0">
                        <a:solidFill>
                          <a:schemeClr val="tx1"/>
                        </a:solidFill>
                      </a:endParaRPr>
                    </a:p>
                  </a:txBody>
                  <a:tcPr marL="68598" marR="68598" marT="34290" marB="3429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alpha val="30000"/>
                      </a:schemeClr>
                    </a:solidFill>
                  </a:tcPr>
                </a:tc>
              </a:tr>
              <a:tr h="411480">
                <a:tc>
                  <a:txBody>
                    <a:bodyPr/>
                    <a:lstStyle/>
                    <a:p>
                      <a:r>
                        <a:rPr lang="en-US" sz="1100" dirty="0" smtClean="0">
                          <a:solidFill>
                            <a:schemeClr val="tx1"/>
                          </a:solidFill>
                        </a:rPr>
                        <a:t>Signature updates</a:t>
                      </a:r>
                      <a:endParaRPr lang="en-US" sz="1100" dirty="0">
                        <a:solidFill>
                          <a:schemeClr val="tx1"/>
                        </a:solidFill>
                      </a:endParaRPr>
                    </a:p>
                  </a:txBody>
                  <a:tcPr marL="68598" marR="68598" marT="34290" marB="3429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alpha val="30000"/>
                      </a:schemeClr>
                    </a:solidFill>
                  </a:tcPr>
                </a:tc>
                <a:tc>
                  <a:txBody>
                    <a:bodyPr/>
                    <a:lstStyle/>
                    <a:p>
                      <a:r>
                        <a:rPr lang="en-US" sz="1100" dirty="0" smtClean="0">
                          <a:solidFill>
                            <a:schemeClr val="tx1"/>
                          </a:solidFill>
                        </a:rPr>
                        <a:t>Multiple sources</a:t>
                      </a:r>
                      <a:r>
                        <a:rPr lang="en-US" sz="1100" baseline="0" dirty="0" smtClean="0">
                          <a:solidFill>
                            <a:schemeClr val="tx1"/>
                          </a:solidFill>
                        </a:rPr>
                        <a:t> (WSUS, File Share, Microsoft Update)</a:t>
                      </a:r>
                      <a:endParaRPr lang="en-US" sz="1100" dirty="0">
                        <a:solidFill>
                          <a:schemeClr val="tx1"/>
                        </a:solidFill>
                      </a:endParaRPr>
                    </a:p>
                  </a:txBody>
                  <a:tcPr marL="68598" marR="68598" marT="34290" marB="3429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alpha val="30000"/>
                      </a:schemeClr>
                    </a:solidFill>
                  </a:tcPr>
                </a:tc>
                <a:tc>
                  <a:txBody>
                    <a:bodyPr/>
                    <a:lstStyle/>
                    <a:p>
                      <a:r>
                        <a:rPr lang="en-US" sz="1100" dirty="0" smtClean="0">
                          <a:solidFill>
                            <a:schemeClr val="tx1"/>
                          </a:solidFill>
                        </a:rPr>
                        <a:t>Multiple sources with automatic deployment rules from ConfigMgr console</a:t>
                      </a:r>
                      <a:endParaRPr lang="en-US" sz="1100" dirty="0">
                        <a:solidFill>
                          <a:schemeClr val="tx1"/>
                        </a:solidFill>
                      </a:endParaRPr>
                    </a:p>
                  </a:txBody>
                  <a:tcPr marL="68598" marR="68598" marT="34290" marB="3429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alpha val="30000"/>
                      </a:schemeClr>
                    </a:solidFill>
                  </a:tcPr>
                </a:tc>
              </a:tr>
              <a:tr h="393321">
                <a:tc>
                  <a:txBody>
                    <a:bodyPr/>
                    <a:lstStyle/>
                    <a:p>
                      <a:r>
                        <a:rPr lang="en-US" sz="1100" dirty="0" smtClean="0">
                          <a:solidFill>
                            <a:schemeClr val="tx1"/>
                          </a:solidFill>
                        </a:rPr>
                        <a:t>Proactive protection</a:t>
                      </a:r>
                      <a:endParaRPr lang="en-US" sz="1100" dirty="0">
                        <a:solidFill>
                          <a:schemeClr val="tx1"/>
                        </a:solidFill>
                      </a:endParaRPr>
                    </a:p>
                  </a:txBody>
                  <a:tcPr marL="68598" marR="68598" marT="34290" marB="3429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alpha val="30000"/>
                      </a:schemeClr>
                    </a:solidFill>
                  </a:tcPr>
                </a:tc>
                <a:tc>
                  <a:txBody>
                    <a:bodyPr/>
                    <a:lstStyle/>
                    <a:p>
                      <a:endParaRPr lang="en-US" sz="1100" dirty="0">
                        <a:solidFill>
                          <a:schemeClr val="tx1"/>
                        </a:solidFill>
                      </a:endParaRPr>
                    </a:p>
                  </a:txBody>
                  <a:tcPr marL="68598" marR="68598" marT="34290" marB="3429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alpha val="30000"/>
                      </a:schemeClr>
                    </a:solidFill>
                  </a:tcPr>
                </a:tc>
                <a:tc>
                  <a:txBody>
                    <a:bodyPr/>
                    <a:lstStyle/>
                    <a:p>
                      <a:endParaRPr lang="en-US" sz="1100" dirty="0">
                        <a:solidFill>
                          <a:schemeClr val="tx1"/>
                        </a:solidFill>
                      </a:endParaRPr>
                    </a:p>
                  </a:txBody>
                  <a:tcPr marL="68598" marR="68598" marT="34290" marB="3429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alpha val="30000"/>
                      </a:schemeClr>
                    </a:solidFill>
                  </a:tcPr>
                </a:tc>
              </a:tr>
              <a:tr h="358289">
                <a:tc>
                  <a:txBody>
                    <a:bodyPr/>
                    <a:lstStyle/>
                    <a:p>
                      <a:r>
                        <a:rPr lang="en-US" sz="1100" dirty="0" smtClean="0">
                          <a:solidFill>
                            <a:schemeClr val="tx1"/>
                          </a:solidFill>
                        </a:rPr>
                        <a:t>Firewall management</a:t>
                      </a:r>
                      <a:endParaRPr lang="en-US" sz="1100" dirty="0">
                        <a:solidFill>
                          <a:schemeClr val="tx1"/>
                        </a:solidFill>
                      </a:endParaRPr>
                    </a:p>
                  </a:txBody>
                  <a:tcPr marL="68598" marR="68598" marT="34290" marB="3429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alpha val="30000"/>
                      </a:schemeClr>
                    </a:solidFill>
                  </a:tcPr>
                </a:tc>
                <a:tc>
                  <a:txBody>
                    <a:bodyPr/>
                    <a:lstStyle/>
                    <a:p>
                      <a:endParaRPr lang="en-US" sz="1100" dirty="0">
                        <a:solidFill>
                          <a:schemeClr val="tx1"/>
                        </a:solidFill>
                      </a:endParaRPr>
                    </a:p>
                  </a:txBody>
                  <a:tcPr marL="68598" marR="68598" marT="34290" marB="3429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alpha val="30000"/>
                      </a:schemeClr>
                    </a:solidFill>
                  </a:tcPr>
                </a:tc>
                <a:tc>
                  <a:txBody>
                    <a:bodyPr/>
                    <a:lstStyle/>
                    <a:p>
                      <a:pPr marL="0" marR="0" indent="0" algn="l" defTabSz="609493" rtl="0" eaLnBrk="1" fontAlgn="auto" latinLnBrk="0" hangingPunct="1">
                        <a:lnSpc>
                          <a:spcPct val="100000"/>
                        </a:lnSpc>
                        <a:spcBef>
                          <a:spcPts val="0"/>
                        </a:spcBef>
                        <a:spcAft>
                          <a:spcPts val="0"/>
                        </a:spcAft>
                        <a:buClrTx/>
                        <a:buSzTx/>
                        <a:buFontTx/>
                        <a:buNone/>
                        <a:tabLst/>
                        <a:defRPr/>
                      </a:pPr>
                      <a:endParaRPr lang="en-US" sz="1100" dirty="0">
                        <a:solidFill>
                          <a:schemeClr val="tx1"/>
                        </a:solidFill>
                      </a:endParaRPr>
                    </a:p>
                  </a:txBody>
                  <a:tcPr marL="68598" marR="68598" marT="34290" marB="3429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alpha val="30000"/>
                      </a:schemeClr>
                    </a:solidFill>
                  </a:tcPr>
                </a:tc>
              </a:tr>
              <a:tr h="358289">
                <a:tc>
                  <a:txBody>
                    <a:bodyPr/>
                    <a:lstStyle/>
                    <a:p>
                      <a:r>
                        <a:rPr lang="en-US" sz="1100" dirty="0" smtClean="0">
                          <a:solidFill>
                            <a:schemeClr val="tx1"/>
                          </a:solidFill>
                        </a:rPr>
                        <a:t>Role based administration</a:t>
                      </a:r>
                      <a:endParaRPr lang="en-US" sz="1100" dirty="0">
                        <a:solidFill>
                          <a:schemeClr val="tx1"/>
                        </a:solidFill>
                      </a:endParaRPr>
                    </a:p>
                  </a:txBody>
                  <a:tcPr marL="68598" marR="68598" marT="34290" marB="3429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alpha val="30000"/>
                      </a:schemeClr>
                    </a:solidFill>
                  </a:tcPr>
                </a:tc>
                <a:tc>
                  <a:txBody>
                    <a:bodyPr/>
                    <a:lstStyle/>
                    <a:p>
                      <a:endParaRPr lang="en-US" sz="1100" dirty="0">
                        <a:solidFill>
                          <a:schemeClr val="tx1"/>
                        </a:solidFill>
                      </a:endParaRPr>
                    </a:p>
                  </a:txBody>
                  <a:tcPr marL="68598" marR="68598" marT="34290" marB="3429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alpha val="30000"/>
                      </a:schemeClr>
                    </a:solidFill>
                  </a:tcPr>
                </a:tc>
                <a:tc>
                  <a:txBody>
                    <a:bodyPr/>
                    <a:lstStyle/>
                    <a:p>
                      <a:r>
                        <a:rPr lang="en-US" sz="1100" dirty="0" smtClean="0">
                          <a:solidFill>
                            <a:schemeClr val="tx1"/>
                          </a:solidFill>
                        </a:rPr>
                        <a:t>New</a:t>
                      </a:r>
                      <a:endParaRPr lang="en-US" sz="1100" dirty="0">
                        <a:solidFill>
                          <a:schemeClr val="tx1"/>
                        </a:solidFill>
                      </a:endParaRPr>
                    </a:p>
                  </a:txBody>
                  <a:tcPr marL="68598" marR="68598" marT="34290" marB="3429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alpha val="30000"/>
                      </a:schemeClr>
                    </a:solidFill>
                  </a:tcPr>
                </a:tc>
              </a:tr>
              <a:tr h="358289">
                <a:tc>
                  <a:txBody>
                    <a:bodyPr/>
                    <a:lstStyle/>
                    <a:p>
                      <a:r>
                        <a:rPr lang="en-US" sz="1100" dirty="0" smtClean="0">
                          <a:solidFill>
                            <a:schemeClr val="tx1"/>
                          </a:solidFill>
                        </a:rPr>
                        <a:t>Alerts and monitoring</a:t>
                      </a:r>
                      <a:endParaRPr lang="en-US" sz="1100" dirty="0">
                        <a:solidFill>
                          <a:schemeClr val="tx1"/>
                        </a:solidFill>
                      </a:endParaRPr>
                    </a:p>
                  </a:txBody>
                  <a:tcPr marL="68598" marR="68598" marT="34290" marB="3429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alpha val="30000"/>
                      </a:schemeClr>
                    </a:solidFill>
                  </a:tcPr>
                </a:tc>
                <a:tc>
                  <a:txBody>
                    <a:bodyPr/>
                    <a:lstStyle/>
                    <a:p>
                      <a:endParaRPr lang="en-US" sz="1100" dirty="0">
                        <a:solidFill>
                          <a:schemeClr val="tx1"/>
                        </a:solidFill>
                      </a:endParaRPr>
                    </a:p>
                  </a:txBody>
                  <a:tcPr marL="68598" marR="68598" marT="34290" marB="3429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alpha val="30000"/>
                      </a:schemeClr>
                    </a:solidFill>
                  </a:tcPr>
                </a:tc>
                <a:tc>
                  <a:txBody>
                    <a:bodyPr/>
                    <a:lstStyle/>
                    <a:p>
                      <a:r>
                        <a:rPr lang="en-US" sz="1100" dirty="0" smtClean="0">
                          <a:solidFill>
                            <a:schemeClr val="tx1"/>
                          </a:solidFill>
                        </a:rPr>
                        <a:t>Real</a:t>
                      </a:r>
                      <a:r>
                        <a:rPr lang="en-US" sz="1100" baseline="0" dirty="0" smtClean="0">
                          <a:solidFill>
                            <a:schemeClr val="tx1"/>
                          </a:solidFill>
                        </a:rPr>
                        <a:t> time alerts</a:t>
                      </a:r>
                      <a:endParaRPr lang="en-US" sz="1100" dirty="0">
                        <a:solidFill>
                          <a:schemeClr val="tx1"/>
                        </a:solidFill>
                      </a:endParaRPr>
                    </a:p>
                  </a:txBody>
                  <a:tcPr marL="68598" marR="68598" marT="34290" marB="3429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alpha val="30000"/>
                      </a:schemeClr>
                    </a:solidFill>
                  </a:tcPr>
                </a:tc>
              </a:tr>
              <a:tr h="358289">
                <a:tc>
                  <a:txBody>
                    <a:bodyPr/>
                    <a:lstStyle/>
                    <a:p>
                      <a:r>
                        <a:rPr lang="en-US" sz="1100" dirty="0" smtClean="0">
                          <a:solidFill>
                            <a:schemeClr val="tx1"/>
                          </a:solidFill>
                        </a:rPr>
                        <a:t>Reports</a:t>
                      </a:r>
                      <a:endParaRPr lang="en-US" sz="1100" dirty="0">
                        <a:solidFill>
                          <a:schemeClr val="tx1"/>
                        </a:solidFill>
                      </a:endParaRPr>
                    </a:p>
                  </a:txBody>
                  <a:tcPr marL="68598" marR="68598" marT="34290" marB="3429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alpha val="30000"/>
                      </a:schemeClr>
                    </a:solidFill>
                  </a:tcPr>
                </a:tc>
                <a:tc>
                  <a:txBody>
                    <a:bodyPr/>
                    <a:lstStyle/>
                    <a:p>
                      <a:endParaRPr lang="en-US" sz="1100" dirty="0">
                        <a:solidFill>
                          <a:schemeClr val="tx1"/>
                        </a:solidFill>
                      </a:endParaRPr>
                    </a:p>
                  </a:txBody>
                  <a:tcPr marL="68598" marR="68598" marT="34290" marB="3429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alpha val="30000"/>
                      </a:schemeClr>
                    </a:solidFill>
                  </a:tcPr>
                </a:tc>
                <a:tc>
                  <a:txBody>
                    <a:bodyPr/>
                    <a:lstStyle/>
                    <a:p>
                      <a:r>
                        <a:rPr lang="en-US" sz="1100" dirty="0" smtClean="0">
                          <a:solidFill>
                            <a:schemeClr val="tx1"/>
                          </a:solidFill>
                        </a:rPr>
                        <a:t>Additional user</a:t>
                      </a:r>
                      <a:r>
                        <a:rPr lang="en-US" sz="1100" baseline="0" dirty="0" smtClean="0">
                          <a:solidFill>
                            <a:schemeClr val="tx1"/>
                          </a:solidFill>
                        </a:rPr>
                        <a:t> centric reports</a:t>
                      </a:r>
                      <a:endParaRPr lang="en-US" sz="1100" dirty="0">
                        <a:solidFill>
                          <a:schemeClr val="tx1"/>
                        </a:solidFill>
                      </a:endParaRPr>
                    </a:p>
                  </a:txBody>
                  <a:tcPr marL="68598" marR="68598" marT="34290" marB="3429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alpha val="30000"/>
                      </a:schemeClr>
                    </a:solidFill>
                  </a:tcPr>
                </a:tc>
              </a:tr>
            </a:tbl>
          </a:graphicData>
        </a:graphic>
      </p:graphicFrame>
      <p:sp>
        <p:nvSpPr>
          <p:cNvPr id="4" name="Rectangle 3"/>
          <p:cNvSpPr/>
          <p:nvPr/>
        </p:nvSpPr>
        <p:spPr>
          <a:xfrm>
            <a:off x="333055" y="1510094"/>
            <a:ext cx="342989" cy="1508760"/>
          </a:xfrm>
          <a:prstGeom prst="rect">
            <a:avLst/>
          </a:prstGeom>
          <a:solidFill>
            <a:schemeClr val="accent2"/>
          </a:solidFill>
          <a:ln>
            <a:noFill/>
          </a:ln>
        </p:spPr>
        <p:style>
          <a:lnRef idx="1">
            <a:schemeClr val="accent1"/>
          </a:lnRef>
          <a:fillRef idx="0">
            <a:schemeClr val="accent1"/>
          </a:fillRef>
          <a:effectRef idx="0">
            <a:schemeClr val="accent1"/>
          </a:effectRef>
          <a:fontRef idx="minor">
            <a:schemeClr val="tx1"/>
          </a:fontRef>
        </p:style>
        <p:txBody>
          <a:bodyPr vert="vert270" lIns="0" tIns="34294" rIns="0" bIns="34294" rtlCol="0" anchor="ctr"/>
          <a:lstStyle/>
          <a:p>
            <a:pPr algn="ctr"/>
            <a:r>
              <a:rPr lang="en-US" sz="1200" dirty="0">
                <a:solidFill>
                  <a:srgbClr val="FFFFFF"/>
                </a:solidFill>
              </a:rPr>
              <a:t>Unify</a:t>
            </a:r>
          </a:p>
        </p:txBody>
      </p:sp>
      <p:sp>
        <p:nvSpPr>
          <p:cNvPr id="5" name="Rectangle 4"/>
          <p:cNvSpPr/>
          <p:nvPr/>
        </p:nvSpPr>
        <p:spPr>
          <a:xfrm>
            <a:off x="333055" y="3029729"/>
            <a:ext cx="342989" cy="754380"/>
          </a:xfrm>
          <a:prstGeom prst="rect">
            <a:avLst/>
          </a:prstGeom>
          <a:solidFill>
            <a:schemeClr val="accent2"/>
          </a:solidFill>
          <a:ln>
            <a:noFill/>
          </a:ln>
        </p:spPr>
        <p:style>
          <a:lnRef idx="1">
            <a:schemeClr val="accent1"/>
          </a:lnRef>
          <a:fillRef idx="0">
            <a:schemeClr val="accent1"/>
          </a:fillRef>
          <a:effectRef idx="0">
            <a:schemeClr val="accent1"/>
          </a:effectRef>
          <a:fontRef idx="minor">
            <a:schemeClr val="tx1"/>
          </a:fontRef>
        </p:style>
        <p:txBody>
          <a:bodyPr vert="vert270" lIns="68586" tIns="34294" rIns="68586" bIns="34294" rtlCol="0" anchor="ctr"/>
          <a:lstStyle/>
          <a:p>
            <a:pPr algn="ctr"/>
            <a:r>
              <a:rPr lang="en-US" sz="1200" dirty="0">
                <a:solidFill>
                  <a:srgbClr val="FFFFFF"/>
                </a:solidFill>
              </a:rPr>
              <a:t>Protect</a:t>
            </a:r>
          </a:p>
        </p:txBody>
      </p:sp>
      <p:sp>
        <p:nvSpPr>
          <p:cNvPr id="6" name="Rectangle 5"/>
          <p:cNvSpPr/>
          <p:nvPr/>
        </p:nvSpPr>
        <p:spPr>
          <a:xfrm>
            <a:off x="333055" y="3794984"/>
            <a:ext cx="342989" cy="1062990"/>
          </a:xfrm>
          <a:prstGeom prst="rect">
            <a:avLst/>
          </a:prstGeom>
          <a:solidFill>
            <a:schemeClr val="accent2"/>
          </a:solidFill>
          <a:ln>
            <a:noFill/>
          </a:ln>
        </p:spPr>
        <p:style>
          <a:lnRef idx="1">
            <a:schemeClr val="accent1"/>
          </a:lnRef>
          <a:fillRef idx="0">
            <a:schemeClr val="accent1"/>
          </a:fillRef>
          <a:effectRef idx="0">
            <a:schemeClr val="accent1"/>
          </a:effectRef>
          <a:fontRef idx="minor">
            <a:schemeClr val="tx1"/>
          </a:fontRef>
        </p:style>
        <p:txBody>
          <a:bodyPr vert="vert270" lIns="68586" tIns="34294" rIns="68586" bIns="34294" rtlCol="0" anchor="ctr"/>
          <a:lstStyle/>
          <a:p>
            <a:pPr algn="ctr"/>
            <a:r>
              <a:rPr lang="en-US" sz="1200" dirty="0">
                <a:solidFill>
                  <a:srgbClr val="FFFFFF"/>
                </a:solidFill>
              </a:rPr>
              <a:t>Simplify</a:t>
            </a:r>
          </a:p>
        </p:txBody>
      </p:sp>
      <p:pic>
        <p:nvPicPr>
          <p:cNvPr id="7" name="Picture 2" descr="C:\Users\victor.melniciuc\Desktop\----Test Folder\Icon Works\UI\PNGs\Accept.png"/>
          <p:cNvPicPr preferRelativeResize="0">
            <a:picLocks noChangeArrowheads="1"/>
          </p:cNvPicPr>
          <p:nvPr/>
        </p:nvPicPr>
        <p:blipFill>
          <a:blip r:embed="rId3" cstate="print">
            <a:extLst>
              <a:ext uri="{BEBA8EAE-BF5A-486C-A8C5-ECC9F3942E4B}">
                <a14:imgProps xmlns:a14="http://schemas.microsoft.com/office/drawing/2010/main">
                  <a14:imgLayer r:embed="rId4">
                    <a14:imgEffect>
                      <a14:brightnessContrast bright="100000" contrast="100000"/>
                    </a14:imgEffect>
                  </a14:imgLayer>
                </a14:imgProps>
              </a:ext>
            </a:extLst>
          </a:blip>
          <a:srcRect/>
          <a:stretch>
            <a:fillRect/>
          </a:stretch>
        </p:blipFill>
        <p:spPr bwMode="auto">
          <a:xfrm>
            <a:off x="3364906" y="3066294"/>
            <a:ext cx="294628" cy="279422"/>
          </a:xfrm>
          <a:prstGeom prst="rect">
            <a:avLst/>
          </a:prstGeom>
          <a:noFill/>
          <a:effectLst>
            <a:outerShdw dist="12700" dir="5400000" algn="t" rotWithShape="0">
              <a:prstClr val="black">
                <a:alpha val="48000"/>
              </a:prstClr>
            </a:outerShdw>
          </a:effectLst>
        </p:spPr>
      </p:pic>
      <p:pic>
        <p:nvPicPr>
          <p:cNvPr id="9" name="Picture 2" descr="C:\Users\victor.melniciuc\Desktop\----Test Folder\Icon Works\UI\PNGs\Accept.png"/>
          <p:cNvPicPr preferRelativeResize="0">
            <a:picLocks noChangeArrowheads="1"/>
          </p:cNvPicPr>
          <p:nvPr/>
        </p:nvPicPr>
        <p:blipFill>
          <a:blip r:embed="rId3" cstate="print">
            <a:extLst>
              <a:ext uri="{BEBA8EAE-BF5A-486C-A8C5-ECC9F3942E4B}">
                <a14:imgProps xmlns:a14="http://schemas.microsoft.com/office/drawing/2010/main">
                  <a14:imgLayer r:embed="rId4">
                    <a14:imgEffect>
                      <a14:brightnessContrast bright="100000" contrast="100000"/>
                    </a14:imgEffect>
                  </a14:imgLayer>
                </a14:imgProps>
              </a:ext>
            </a:extLst>
          </a:blip>
          <a:srcRect/>
          <a:stretch>
            <a:fillRect/>
          </a:stretch>
        </p:blipFill>
        <p:spPr bwMode="auto">
          <a:xfrm>
            <a:off x="3364906" y="3452557"/>
            <a:ext cx="294628" cy="279422"/>
          </a:xfrm>
          <a:prstGeom prst="rect">
            <a:avLst/>
          </a:prstGeom>
          <a:noFill/>
          <a:effectLst>
            <a:outerShdw dist="12700" dir="5400000" algn="t" rotWithShape="0">
              <a:prstClr val="black">
                <a:alpha val="48000"/>
              </a:prstClr>
            </a:outerShdw>
          </a:effectLst>
        </p:spPr>
      </p:pic>
      <p:pic>
        <p:nvPicPr>
          <p:cNvPr id="11" name="Picture 2" descr="C:\Users\victor.melniciuc\Desktop\----Test Folder\Icon Works\UI\PNGs\Accept.png"/>
          <p:cNvPicPr preferRelativeResize="0">
            <a:picLocks noChangeArrowheads="1"/>
          </p:cNvPicPr>
          <p:nvPr/>
        </p:nvPicPr>
        <p:blipFill>
          <a:blip r:embed="rId3" cstate="print">
            <a:extLst>
              <a:ext uri="{BEBA8EAE-BF5A-486C-A8C5-ECC9F3942E4B}">
                <a14:imgProps xmlns:a14="http://schemas.microsoft.com/office/drawing/2010/main">
                  <a14:imgLayer r:embed="rId4">
                    <a14:imgEffect>
                      <a14:brightnessContrast bright="100000" contrast="100000"/>
                    </a14:imgEffect>
                  </a14:imgLayer>
                </a14:imgProps>
              </a:ext>
            </a:extLst>
          </a:blip>
          <a:srcRect/>
          <a:stretch>
            <a:fillRect/>
          </a:stretch>
        </p:blipFill>
        <p:spPr bwMode="auto">
          <a:xfrm>
            <a:off x="3364906" y="4169907"/>
            <a:ext cx="294628" cy="279422"/>
          </a:xfrm>
          <a:prstGeom prst="rect">
            <a:avLst/>
          </a:prstGeom>
          <a:noFill/>
          <a:effectLst>
            <a:outerShdw dist="12700" dir="5400000" algn="t" rotWithShape="0">
              <a:prstClr val="black">
                <a:alpha val="48000"/>
              </a:prstClr>
            </a:outerShdw>
          </a:effectLst>
        </p:spPr>
      </p:pic>
      <p:pic>
        <p:nvPicPr>
          <p:cNvPr id="12" name="Picture 2" descr="C:\Users\victor.melniciuc\Desktop\----Test Folder\Icon Works\UI\PNGs\Accept.png"/>
          <p:cNvPicPr preferRelativeResize="0">
            <a:picLocks noChangeArrowheads="1"/>
          </p:cNvPicPr>
          <p:nvPr/>
        </p:nvPicPr>
        <p:blipFill>
          <a:blip r:embed="rId3" cstate="print">
            <a:extLst>
              <a:ext uri="{BEBA8EAE-BF5A-486C-A8C5-ECC9F3942E4B}">
                <a14:imgProps xmlns:a14="http://schemas.microsoft.com/office/drawing/2010/main">
                  <a14:imgLayer r:embed="rId4">
                    <a14:imgEffect>
                      <a14:brightnessContrast bright="100000" contrast="100000"/>
                    </a14:imgEffect>
                  </a14:imgLayer>
                </a14:imgProps>
              </a:ext>
            </a:extLst>
          </a:blip>
          <a:srcRect/>
          <a:stretch>
            <a:fillRect/>
          </a:stretch>
        </p:blipFill>
        <p:spPr bwMode="auto">
          <a:xfrm>
            <a:off x="3364906" y="4532521"/>
            <a:ext cx="294628" cy="279422"/>
          </a:xfrm>
          <a:prstGeom prst="rect">
            <a:avLst/>
          </a:prstGeom>
          <a:noFill/>
          <a:effectLst>
            <a:outerShdw dist="12700" dir="5400000" algn="t" rotWithShape="0">
              <a:prstClr val="black">
                <a:alpha val="48000"/>
              </a:prstClr>
            </a:outerShdw>
          </a:effectLst>
        </p:spPr>
      </p:pic>
      <p:pic>
        <p:nvPicPr>
          <p:cNvPr id="8" name="Picture 2" descr="C:\Users\victor.melniciuc\Desktop\----Test Folder\Icon Works\UI\PNGs\Accept.png"/>
          <p:cNvPicPr preferRelativeResize="0">
            <a:picLocks noChangeArrowheads="1"/>
          </p:cNvPicPr>
          <p:nvPr/>
        </p:nvPicPr>
        <p:blipFill>
          <a:blip r:embed="rId3" cstate="print">
            <a:extLst>
              <a:ext uri="{BEBA8EAE-BF5A-486C-A8C5-ECC9F3942E4B}">
                <a14:imgProps xmlns:a14="http://schemas.microsoft.com/office/drawing/2010/main">
                  <a14:imgLayer r:embed="rId4">
                    <a14:imgEffect>
                      <a14:brightnessContrast bright="100000" contrast="100000"/>
                    </a14:imgEffect>
                  </a14:imgLayer>
                </a14:imgProps>
              </a:ext>
            </a:extLst>
          </a:blip>
          <a:srcRect/>
          <a:stretch>
            <a:fillRect/>
          </a:stretch>
        </p:blipFill>
        <p:spPr bwMode="auto">
          <a:xfrm>
            <a:off x="6436136" y="3062349"/>
            <a:ext cx="294628" cy="279422"/>
          </a:xfrm>
          <a:prstGeom prst="rect">
            <a:avLst/>
          </a:prstGeom>
          <a:noFill/>
          <a:effectLst>
            <a:outerShdw dist="12700" dir="5400000" algn="t" rotWithShape="0">
              <a:prstClr val="black">
                <a:alpha val="48000"/>
              </a:prstClr>
            </a:outerShdw>
          </a:effectLst>
        </p:spPr>
      </p:pic>
      <p:pic>
        <p:nvPicPr>
          <p:cNvPr id="10" name="Picture 2" descr="C:\Users\victor.melniciuc\Desktop\----Test Folder\Icon Works\UI\PNGs\Accept.png"/>
          <p:cNvPicPr preferRelativeResize="0">
            <a:picLocks noChangeArrowheads="1"/>
          </p:cNvPicPr>
          <p:nvPr/>
        </p:nvPicPr>
        <p:blipFill>
          <a:blip r:embed="rId3" cstate="print">
            <a:extLst>
              <a:ext uri="{BEBA8EAE-BF5A-486C-A8C5-ECC9F3942E4B}">
                <a14:imgProps xmlns:a14="http://schemas.microsoft.com/office/drawing/2010/main">
                  <a14:imgLayer r:embed="rId4">
                    <a14:imgEffect>
                      <a14:brightnessContrast bright="100000" contrast="100000"/>
                    </a14:imgEffect>
                  </a14:imgLayer>
                </a14:imgProps>
              </a:ext>
            </a:extLst>
          </a:blip>
          <a:srcRect/>
          <a:stretch>
            <a:fillRect/>
          </a:stretch>
        </p:blipFill>
        <p:spPr bwMode="auto">
          <a:xfrm>
            <a:off x="6436136" y="3448612"/>
            <a:ext cx="294628" cy="279422"/>
          </a:xfrm>
          <a:prstGeom prst="rect">
            <a:avLst/>
          </a:prstGeom>
          <a:noFill/>
          <a:effectLst>
            <a:outerShdw dist="12700" dir="5400000" algn="t" rotWithShape="0">
              <a:prstClr val="black">
                <a:alpha val="48000"/>
              </a:prstClr>
            </a:outerShdw>
          </a:effectLst>
        </p:spPr>
      </p:pic>
      <p:sp>
        <p:nvSpPr>
          <p:cNvPr id="13"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4"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5"/>
              </a:rPr>
              <a:t>www.rapidbbs.cn</a:t>
            </a:r>
            <a:endParaRPr lang="zh-CN" altLang="en-US" sz="1200" b="0">
              <a:latin typeface="Arial" charset="0"/>
              <a:ea typeface="ＭＳ Ｐゴシック" pitchFamily="34" charset="-128"/>
            </a:endParaRPr>
          </a:p>
        </p:txBody>
      </p:sp>
      <p:pic>
        <p:nvPicPr>
          <p:cNvPr id="15" name="Picture 2">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17230531"/>
      </p:ext>
    </p:extLst>
  </p:cSld>
  <p:clrMapOvr>
    <a:masterClrMapping/>
  </p:clrMapOvr>
  <p:transition>
    <p:fade/>
  </p:transition>
  <p:timing>
    <p:tnLst>
      <p:par>
        <p:cTn id="1" dur="indefinite" restart="never" nodeType="tmRoot"/>
      </p:par>
    </p:tnLst>
  </p:timing>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plication Data Types, cont.</a:t>
            </a:r>
            <a:endParaRPr lang="en-US" dirty="0"/>
          </a:p>
        </p:txBody>
      </p:sp>
      <p:pic>
        <p:nvPicPr>
          <p:cNvPr id="8" name="Picture 7"/>
          <p:cNvPicPr>
            <a:picLocks noChangeAspect="1" noChangeArrowheads="1"/>
          </p:cNvPicPr>
          <p:nvPr/>
        </p:nvPicPr>
        <p:blipFill rotWithShape="1">
          <a:blip r:embed="rId2" cstate="print">
            <a:biLevel thresh="25000"/>
            <a:extLst>
              <a:ext uri="{28A0092B-C50C-407E-A947-70E740481C1C}">
                <a14:useLocalDpi xmlns:a14="http://schemas.microsoft.com/office/drawing/2010/main" val="0"/>
              </a:ext>
            </a:extLst>
          </a:blip>
          <a:stretch/>
        </p:blipFill>
        <p:spPr bwMode="auto">
          <a:xfrm>
            <a:off x="2685558" y="1085850"/>
            <a:ext cx="830034" cy="754380"/>
          </a:xfrm>
          <a:prstGeom prst="rect">
            <a:avLst/>
          </a:prstGeom>
          <a:noFill/>
          <a:ln>
            <a:noFill/>
          </a:ln>
        </p:spPr>
      </p:pic>
      <p:sp>
        <p:nvSpPr>
          <p:cNvPr id="9" name="Rectangle 8"/>
          <p:cNvSpPr/>
          <p:nvPr/>
        </p:nvSpPr>
        <p:spPr>
          <a:xfrm flipH="1">
            <a:off x="3629769" y="1238791"/>
            <a:ext cx="2142694" cy="239472"/>
          </a:xfrm>
          <a:prstGeom prst="rect">
            <a:avLst/>
          </a:prstGeom>
          <a:noFill/>
          <a:ln w="12700" cap="flat" cmpd="sng" algn="ctr">
            <a:noFill/>
            <a:prstDash val="sysDot"/>
          </a:ln>
          <a:effectLst/>
        </p:spPr>
        <p:txBody>
          <a:bodyPr lIns="0" tIns="0" rIns="0" bIns="0" rtlCol="0" anchor="t" anchorCtr="0"/>
          <a:lstStyle/>
          <a:p>
            <a:pPr defTabSz="685862">
              <a:defRPr/>
            </a:pPr>
            <a:r>
              <a:rPr lang="en-US" sz="1100" kern="0" dirty="0">
                <a:solidFill>
                  <a:srgbClr val="FFFFFF"/>
                </a:solidFill>
                <a:ea typeface="Segoe UI" pitchFamily="34" charset="0"/>
              </a:rPr>
              <a:t>CENTRAL </a:t>
            </a:r>
            <a:br>
              <a:rPr lang="en-US" sz="1100" kern="0" dirty="0">
                <a:solidFill>
                  <a:srgbClr val="FFFFFF"/>
                </a:solidFill>
                <a:ea typeface="Segoe UI" pitchFamily="34" charset="0"/>
              </a:rPr>
            </a:br>
            <a:r>
              <a:rPr lang="en-US" sz="1100" kern="0" dirty="0">
                <a:solidFill>
                  <a:srgbClr val="FFFFFF"/>
                </a:solidFill>
                <a:ea typeface="Segoe UI" pitchFamily="34" charset="0"/>
              </a:rPr>
              <a:t>ADMINISTRATION  </a:t>
            </a:r>
            <a:br>
              <a:rPr lang="en-US" sz="1100" kern="0" dirty="0">
                <a:solidFill>
                  <a:srgbClr val="FFFFFF"/>
                </a:solidFill>
                <a:ea typeface="Segoe UI" pitchFamily="34" charset="0"/>
              </a:rPr>
            </a:br>
            <a:r>
              <a:rPr lang="en-US" sz="1100" kern="0" dirty="0">
                <a:solidFill>
                  <a:srgbClr val="FFFFFF"/>
                </a:solidFill>
                <a:ea typeface="Segoe UI" pitchFamily="34" charset="0"/>
              </a:rPr>
              <a:t>SITE</a:t>
            </a:r>
          </a:p>
        </p:txBody>
      </p:sp>
      <p:pic>
        <p:nvPicPr>
          <p:cNvPr id="10" name="Picture 9"/>
          <p:cNvPicPr>
            <a:picLocks noChangeAspect="1"/>
          </p:cNvPicPr>
          <p:nvPr/>
        </p:nvPicPr>
        <p:blipFill rotWithShape="1">
          <a:blip r:embed="rId3" cstate="print">
            <a:extLst>
              <a:ext uri="{28A0092B-C50C-407E-A947-70E740481C1C}">
                <a14:useLocalDpi xmlns:a14="http://schemas.microsoft.com/office/drawing/2010/main" val="0"/>
              </a:ext>
            </a:extLst>
          </a:blip>
          <a:srcRect l="67536"/>
          <a:stretch/>
        </p:blipFill>
        <p:spPr>
          <a:xfrm>
            <a:off x="2771899" y="3218344"/>
            <a:ext cx="342989" cy="539156"/>
          </a:xfrm>
          <a:prstGeom prst="rect">
            <a:avLst/>
          </a:prstGeom>
        </p:spPr>
      </p:pic>
      <p:sp>
        <p:nvSpPr>
          <p:cNvPr id="11" name="Rectangle 10"/>
          <p:cNvSpPr/>
          <p:nvPr/>
        </p:nvSpPr>
        <p:spPr>
          <a:xfrm flipH="1">
            <a:off x="1045145" y="3368185"/>
            <a:ext cx="1809717" cy="239472"/>
          </a:xfrm>
          <a:prstGeom prst="rect">
            <a:avLst/>
          </a:prstGeom>
          <a:noFill/>
          <a:ln w="12700" cap="flat" cmpd="sng" algn="ctr">
            <a:noFill/>
            <a:prstDash val="sysDot"/>
          </a:ln>
          <a:effectLst/>
        </p:spPr>
        <p:txBody>
          <a:bodyPr lIns="0" tIns="0" rIns="0" bIns="0" rtlCol="0" anchor="t" anchorCtr="0"/>
          <a:lstStyle/>
          <a:p>
            <a:pPr defTabSz="685862">
              <a:defRPr/>
            </a:pPr>
            <a:r>
              <a:rPr lang="en-US" sz="1100" kern="0" dirty="0">
                <a:solidFill>
                  <a:srgbClr val="FFFFFF"/>
                </a:solidFill>
                <a:ea typeface="Segoe UI" pitchFamily="34" charset="0"/>
              </a:rPr>
              <a:t>SECONDARY SITE</a:t>
            </a:r>
          </a:p>
          <a:p>
            <a:pPr defTabSz="685862">
              <a:defRPr/>
            </a:pPr>
            <a:r>
              <a:rPr lang="en-US" sz="1100" kern="0" dirty="0">
                <a:solidFill>
                  <a:srgbClr val="FFFFFF"/>
                </a:solidFill>
                <a:ea typeface="Segoe UI" pitchFamily="34" charset="0"/>
              </a:rPr>
              <a:t>W/DISTRIBUTION POINT</a:t>
            </a:r>
          </a:p>
        </p:txBody>
      </p:sp>
      <p:cxnSp>
        <p:nvCxnSpPr>
          <p:cNvPr id="13" name="Straight Connector 12"/>
          <p:cNvCxnSpPr/>
          <p:nvPr/>
        </p:nvCxnSpPr>
        <p:spPr>
          <a:xfrm flipH="1">
            <a:off x="2102477" y="1884326"/>
            <a:ext cx="411587" cy="275945"/>
          </a:xfrm>
          <a:prstGeom prst="line">
            <a:avLst/>
          </a:prstGeom>
          <a:noFill/>
          <a:ln w="38100" cap="rnd" cmpd="sng" algn="ctr">
            <a:solidFill>
              <a:schemeClr val="accent3"/>
            </a:solidFill>
            <a:prstDash val="sysDot"/>
            <a:headEnd type="none"/>
            <a:tailEnd type="triangle" w="med" len="med"/>
          </a:ln>
          <a:effectLst/>
        </p:spPr>
      </p:cxnSp>
      <p:pic>
        <p:nvPicPr>
          <p:cNvPr id="17" name="Picture 16"/>
          <p:cNvPicPr>
            <a:picLocks noChangeAspect="1"/>
          </p:cNvPicPr>
          <p:nvPr/>
        </p:nvPicPr>
        <p:blipFill rotWithShape="1">
          <a:blip r:embed="rId3" cstate="print">
            <a:extLst>
              <a:ext uri="{28A0092B-C50C-407E-A947-70E740481C1C}">
                <a14:useLocalDpi xmlns:a14="http://schemas.microsoft.com/office/drawing/2010/main" val="0"/>
              </a:ext>
            </a:extLst>
          </a:blip>
          <a:srcRect l="67536"/>
          <a:stretch/>
        </p:blipFill>
        <p:spPr>
          <a:xfrm>
            <a:off x="1737786" y="2343151"/>
            <a:ext cx="342989" cy="539156"/>
          </a:xfrm>
          <a:prstGeom prst="rect">
            <a:avLst/>
          </a:prstGeom>
        </p:spPr>
      </p:pic>
      <p:sp>
        <p:nvSpPr>
          <p:cNvPr id="18" name="Rectangle 17"/>
          <p:cNvSpPr/>
          <p:nvPr/>
        </p:nvSpPr>
        <p:spPr>
          <a:xfrm flipH="1">
            <a:off x="3260897" y="3368185"/>
            <a:ext cx="1534927" cy="239472"/>
          </a:xfrm>
          <a:prstGeom prst="rect">
            <a:avLst/>
          </a:prstGeom>
          <a:noFill/>
          <a:ln w="12700" cap="flat" cmpd="sng" algn="ctr">
            <a:noFill/>
            <a:prstDash val="sysDot"/>
          </a:ln>
          <a:effectLst/>
        </p:spPr>
        <p:txBody>
          <a:bodyPr lIns="0" tIns="0" rIns="0" bIns="0" rtlCol="0" anchor="t" anchorCtr="0"/>
          <a:lstStyle/>
          <a:p>
            <a:pPr defTabSz="685862">
              <a:defRPr/>
            </a:pPr>
            <a:r>
              <a:rPr lang="en-US" sz="1100" kern="0" dirty="0">
                <a:solidFill>
                  <a:srgbClr val="FFFFFF"/>
                </a:solidFill>
                <a:ea typeface="Segoe UI" pitchFamily="34" charset="0"/>
              </a:rPr>
              <a:t>DISTRIBUTION POINT</a:t>
            </a:r>
          </a:p>
        </p:txBody>
      </p:sp>
      <p:sp>
        <p:nvSpPr>
          <p:cNvPr id="19" name="Rectangle 18"/>
          <p:cNvSpPr/>
          <p:nvPr/>
        </p:nvSpPr>
        <p:spPr>
          <a:xfrm flipH="1">
            <a:off x="2252269" y="2492992"/>
            <a:ext cx="1553382" cy="239472"/>
          </a:xfrm>
          <a:prstGeom prst="rect">
            <a:avLst/>
          </a:prstGeom>
          <a:noFill/>
          <a:ln w="12700" cap="flat" cmpd="sng" algn="ctr">
            <a:noFill/>
            <a:prstDash val="sysDot"/>
          </a:ln>
          <a:effectLst/>
        </p:spPr>
        <p:txBody>
          <a:bodyPr lIns="0" tIns="0" rIns="0" bIns="0" rtlCol="0" anchor="t" anchorCtr="0"/>
          <a:lstStyle/>
          <a:p>
            <a:pPr defTabSz="685862">
              <a:defRPr/>
            </a:pPr>
            <a:r>
              <a:rPr lang="en-US" sz="1100" kern="0" dirty="0">
                <a:solidFill>
                  <a:srgbClr val="FFFFFF"/>
                </a:solidFill>
                <a:ea typeface="Segoe UI" pitchFamily="34" charset="0"/>
              </a:rPr>
              <a:t>PRIMARY SITE</a:t>
            </a:r>
          </a:p>
        </p:txBody>
      </p:sp>
      <p:pic>
        <p:nvPicPr>
          <p:cNvPr id="20" name="Picture 19"/>
          <p:cNvPicPr>
            <a:picLocks noChangeAspect="1"/>
          </p:cNvPicPr>
          <p:nvPr/>
        </p:nvPicPr>
        <p:blipFill rotWithShape="1">
          <a:blip r:embed="rId3" cstate="print">
            <a:extLst>
              <a:ext uri="{28A0092B-C50C-407E-A947-70E740481C1C}">
                <a14:useLocalDpi xmlns:a14="http://schemas.microsoft.com/office/drawing/2010/main" val="0"/>
              </a:ext>
            </a:extLst>
          </a:blip>
          <a:srcRect l="67536"/>
          <a:stretch/>
        </p:blipFill>
        <p:spPr>
          <a:xfrm>
            <a:off x="576767" y="3218344"/>
            <a:ext cx="342989" cy="539156"/>
          </a:xfrm>
          <a:prstGeom prst="rect">
            <a:avLst/>
          </a:prstGeom>
        </p:spPr>
      </p:pic>
      <p:sp>
        <p:nvSpPr>
          <p:cNvPr id="21" name="Rectangle 20"/>
          <p:cNvSpPr/>
          <p:nvPr/>
        </p:nvSpPr>
        <p:spPr>
          <a:xfrm flipH="1">
            <a:off x="1198330" y="4340201"/>
            <a:ext cx="2482610" cy="239472"/>
          </a:xfrm>
          <a:prstGeom prst="rect">
            <a:avLst/>
          </a:prstGeom>
          <a:noFill/>
          <a:ln w="12700" cap="flat" cmpd="sng" algn="ctr">
            <a:noFill/>
            <a:prstDash val="sysDot"/>
          </a:ln>
          <a:effectLst/>
        </p:spPr>
        <p:txBody>
          <a:bodyPr lIns="0" tIns="0" rIns="0" bIns="0" rtlCol="0" anchor="t" anchorCtr="0"/>
          <a:lstStyle/>
          <a:p>
            <a:pPr defTabSz="685862">
              <a:defRPr/>
            </a:pPr>
            <a:r>
              <a:rPr lang="en-US" sz="1100" kern="0" dirty="0">
                <a:solidFill>
                  <a:srgbClr val="FFFFFF"/>
                </a:solidFill>
                <a:ea typeface="Segoe UI" pitchFamily="34" charset="0"/>
              </a:rPr>
              <a:t> DISTRIBUTION POINT </a:t>
            </a:r>
            <a:br>
              <a:rPr lang="en-US" sz="1100" kern="0" dirty="0">
                <a:solidFill>
                  <a:srgbClr val="FFFFFF"/>
                </a:solidFill>
                <a:ea typeface="Segoe UI" pitchFamily="34" charset="0"/>
              </a:rPr>
            </a:br>
            <a:r>
              <a:rPr lang="en-US" sz="1100" kern="0" dirty="0">
                <a:solidFill>
                  <a:srgbClr val="FFFFFF"/>
                </a:solidFill>
                <a:ea typeface="Segoe UI" pitchFamily="34" charset="0"/>
              </a:rPr>
              <a:t>– CLIENT OS</a:t>
            </a:r>
          </a:p>
        </p:txBody>
      </p:sp>
      <p:cxnSp>
        <p:nvCxnSpPr>
          <p:cNvPr id="22" name="Straight Connector 21"/>
          <p:cNvCxnSpPr/>
          <p:nvPr/>
        </p:nvCxnSpPr>
        <p:spPr>
          <a:xfrm flipH="1">
            <a:off x="920712" y="2854870"/>
            <a:ext cx="685979" cy="240030"/>
          </a:xfrm>
          <a:prstGeom prst="line">
            <a:avLst/>
          </a:prstGeom>
          <a:noFill/>
          <a:ln w="38100" cap="rnd" cmpd="sng" algn="ctr">
            <a:solidFill>
              <a:schemeClr val="accent3"/>
            </a:solidFill>
            <a:prstDash val="sysDot"/>
            <a:headEnd type="none"/>
            <a:tailEnd type="triangle" w="med" len="med"/>
          </a:ln>
          <a:effectLst/>
        </p:spPr>
      </p:cxnSp>
      <p:pic>
        <p:nvPicPr>
          <p:cNvPr id="30" name="Picture 29"/>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41798" y="4195012"/>
            <a:ext cx="745818" cy="480060"/>
          </a:xfrm>
          <a:prstGeom prst="rect">
            <a:avLst/>
          </a:prstGeom>
        </p:spPr>
      </p:pic>
      <p:cxnSp>
        <p:nvCxnSpPr>
          <p:cNvPr id="32" name="Straight Connector 31"/>
          <p:cNvCxnSpPr/>
          <p:nvPr/>
        </p:nvCxnSpPr>
        <p:spPr>
          <a:xfrm>
            <a:off x="747206" y="3831122"/>
            <a:ext cx="0" cy="274320"/>
          </a:xfrm>
          <a:prstGeom prst="line">
            <a:avLst/>
          </a:prstGeom>
          <a:noFill/>
          <a:ln w="38100" cap="rnd" cmpd="sng" algn="ctr">
            <a:solidFill>
              <a:schemeClr val="accent6"/>
            </a:solidFill>
            <a:prstDash val="sysDot"/>
            <a:headEnd type="none"/>
            <a:tailEnd type="triangle" w="med" len="med"/>
          </a:ln>
          <a:effectLst/>
        </p:spPr>
      </p:cxnSp>
      <p:cxnSp>
        <p:nvCxnSpPr>
          <p:cNvPr id="35" name="Straight Connector 34"/>
          <p:cNvCxnSpPr/>
          <p:nvPr/>
        </p:nvCxnSpPr>
        <p:spPr>
          <a:xfrm>
            <a:off x="2038256" y="2987327"/>
            <a:ext cx="692641" cy="231017"/>
          </a:xfrm>
          <a:prstGeom prst="line">
            <a:avLst/>
          </a:prstGeom>
          <a:noFill/>
          <a:ln w="38100" cap="rnd" cmpd="sng" algn="ctr">
            <a:solidFill>
              <a:schemeClr val="accent6"/>
            </a:solidFill>
            <a:prstDash val="sysDot"/>
            <a:headEnd type="none"/>
            <a:tailEnd type="triangle" w="med" len="med"/>
          </a:ln>
          <a:effectLst/>
        </p:spPr>
      </p:cxnSp>
      <p:sp>
        <p:nvSpPr>
          <p:cNvPr id="48" name="Rectangle 47"/>
          <p:cNvSpPr/>
          <p:nvPr/>
        </p:nvSpPr>
        <p:spPr>
          <a:xfrm flipH="1">
            <a:off x="341798" y="832050"/>
            <a:ext cx="1543452" cy="1131079"/>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wrap="square" lIns="102880" tIns="102880" rIns="0" bIns="102880" rtlCol="0" anchor="t" anchorCtr="0">
            <a:spAutoFit/>
          </a:bodyPr>
          <a:lstStyle/>
          <a:p>
            <a:pPr marL="427474"/>
            <a:r>
              <a:rPr lang="en-US" sz="1200" dirty="0">
                <a:solidFill>
                  <a:srgbClr val="FFFFFF"/>
                </a:solidFill>
                <a:ea typeface="Segoe UI" pitchFamily="34" charset="0"/>
                <a:cs typeface="Segoe UI" pitchFamily="34" charset="0"/>
              </a:rPr>
              <a:t>Global Data</a:t>
            </a:r>
          </a:p>
          <a:p>
            <a:pPr marL="427474"/>
            <a:endParaRPr lang="en-US" sz="1200" dirty="0">
              <a:solidFill>
                <a:srgbClr val="FFFFFF"/>
              </a:solidFill>
              <a:ea typeface="Segoe UI" pitchFamily="34" charset="0"/>
              <a:cs typeface="Segoe UI" pitchFamily="34" charset="0"/>
            </a:endParaRPr>
          </a:p>
          <a:p>
            <a:pPr marL="427474"/>
            <a:r>
              <a:rPr lang="en-US" sz="1200" dirty="0">
                <a:solidFill>
                  <a:srgbClr val="FFFFFF"/>
                </a:solidFill>
                <a:ea typeface="Segoe UI" pitchFamily="34" charset="0"/>
                <a:cs typeface="Segoe UI" pitchFamily="34" charset="0"/>
              </a:rPr>
              <a:t>Site Data</a:t>
            </a:r>
            <a:endParaRPr lang="en-US" sz="1100" dirty="0">
              <a:solidFill>
                <a:srgbClr val="FFFFFF"/>
              </a:solidFill>
              <a:ea typeface="Segoe UI" pitchFamily="34" charset="0"/>
              <a:cs typeface="Segoe UI" pitchFamily="34" charset="0"/>
            </a:endParaRPr>
          </a:p>
          <a:p>
            <a:pPr marL="427474"/>
            <a:endParaRPr lang="en-US" sz="1200" dirty="0">
              <a:solidFill>
                <a:srgbClr val="FFFFFF"/>
              </a:solidFill>
              <a:ea typeface="Segoe UI" pitchFamily="34" charset="0"/>
              <a:cs typeface="Segoe UI" pitchFamily="34" charset="0"/>
            </a:endParaRPr>
          </a:p>
          <a:p>
            <a:pPr marL="427474"/>
            <a:r>
              <a:rPr lang="en-US" sz="1200" dirty="0">
                <a:solidFill>
                  <a:srgbClr val="FFFFFF"/>
                </a:solidFill>
                <a:ea typeface="Segoe UI" pitchFamily="34" charset="0"/>
                <a:cs typeface="Segoe UI" pitchFamily="34" charset="0"/>
              </a:rPr>
              <a:t>Content</a:t>
            </a:r>
            <a:endParaRPr lang="en-US" sz="1100" dirty="0">
              <a:solidFill>
                <a:srgbClr val="FFFFFF"/>
              </a:solidFill>
              <a:ea typeface="Segoe UI" pitchFamily="34" charset="0"/>
              <a:cs typeface="Segoe UI" pitchFamily="34" charset="0"/>
            </a:endParaRPr>
          </a:p>
        </p:txBody>
      </p:sp>
      <p:cxnSp>
        <p:nvCxnSpPr>
          <p:cNvPr id="52" name="Straight Connector 51"/>
          <p:cNvCxnSpPr/>
          <p:nvPr/>
        </p:nvCxnSpPr>
        <p:spPr>
          <a:xfrm>
            <a:off x="456129" y="1003498"/>
            <a:ext cx="342989" cy="0"/>
          </a:xfrm>
          <a:prstGeom prst="line">
            <a:avLst/>
          </a:prstGeom>
          <a:noFill/>
          <a:ln w="38100" cap="rnd" cmpd="sng" algn="ctr">
            <a:solidFill>
              <a:schemeClr val="accent3"/>
            </a:solidFill>
            <a:prstDash val="sysDot"/>
            <a:headEnd type="none"/>
            <a:tailEnd type="triangle" w="med" len="med"/>
          </a:ln>
          <a:effectLst/>
        </p:spPr>
      </p:cxnSp>
      <p:cxnSp>
        <p:nvCxnSpPr>
          <p:cNvPr id="57" name="Straight Connector 56"/>
          <p:cNvCxnSpPr/>
          <p:nvPr/>
        </p:nvCxnSpPr>
        <p:spPr>
          <a:xfrm>
            <a:off x="456129" y="1403549"/>
            <a:ext cx="342989" cy="0"/>
          </a:xfrm>
          <a:prstGeom prst="line">
            <a:avLst/>
          </a:prstGeom>
          <a:noFill/>
          <a:ln w="38100" cap="rnd" cmpd="sng" algn="ctr">
            <a:solidFill>
              <a:schemeClr val="accent5"/>
            </a:solidFill>
            <a:prstDash val="sysDot"/>
            <a:headEnd type="none"/>
            <a:tailEnd type="triangle" w="med" len="med"/>
          </a:ln>
          <a:effectLst/>
        </p:spPr>
      </p:cxnSp>
      <p:pic>
        <p:nvPicPr>
          <p:cNvPr id="26" name="Picture 25"/>
          <p:cNvPicPr>
            <a:picLocks noChangeAspect="1"/>
          </p:cNvPicPr>
          <p:nvPr/>
        </p:nvPicPr>
        <p:blipFill rotWithShape="1">
          <a:blip r:embed="rId3" cstate="print">
            <a:extLst>
              <a:ext uri="{28A0092B-C50C-407E-A947-70E740481C1C}">
                <a14:useLocalDpi xmlns:a14="http://schemas.microsoft.com/office/drawing/2010/main" val="0"/>
              </a:ext>
            </a:extLst>
          </a:blip>
          <a:srcRect l="67536"/>
          <a:stretch/>
        </p:blipFill>
        <p:spPr>
          <a:xfrm>
            <a:off x="3711863" y="2351950"/>
            <a:ext cx="342989" cy="539156"/>
          </a:xfrm>
          <a:prstGeom prst="rect">
            <a:avLst/>
          </a:prstGeom>
        </p:spPr>
      </p:pic>
      <p:sp>
        <p:nvSpPr>
          <p:cNvPr id="27" name="Rectangle 26"/>
          <p:cNvSpPr/>
          <p:nvPr/>
        </p:nvSpPr>
        <p:spPr>
          <a:xfrm flipH="1">
            <a:off x="4229010" y="2457450"/>
            <a:ext cx="1553382" cy="239472"/>
          </a:xfrm>
          <a:prstGeom prst="rect">
            <a:avLst/>
          </a:prstGeom>
          <a:noFill/>
          <a:ln w="12700" cap="flat" cmpd="sng" algn="ctr">
            <a:noFill/>
            <a:prstDash val="sysDot"/>
          </a:ln>
          <a:effectLst/>
        </p:spPr>
        <p:txBody>
          <a:bodyPr lIns="0" tIns="0" rIns="0" bIns="0" rtlCol="0" anchor="t" anchorCtr="0"/>
          <a:lstStyle/>
          <a:p>
            <a:pPr defTabSz="685862">
              <a:defRPr/>
            </a:pPr>
            <a:r>
              <a:rPr lang="en-US" sz="1100" kern="0" dirty="0">
                <a:solidFill>
                  <a:srgbClr val="FFFFFF"/>
                </a:solidFill>
                <a:ea typeface="Segoe UI" pitchFamily="34" charset="0"/>
              </a:rPr>
              <a:t>PRIMARY SITE</a:t>
            </a:r>
          </a:p>
        </p:txBody>
      </p:sp>
      <p:cxnSp>
        <p:nvCxnSpPr>
          <p:cNvPr id="31" name="Straight Connector 30"/>
          <p:cNvCxnSpPr/>
          <p:nvPr/>
        </p:nvCxnSpPr>
        <p:spPr>
          <a:xfrm>
            <a:off x="3239860" y="2020277"/>
            <a:ext cx="417502" cy="274320"/>
          </a:xfrm>
          <a:prstGeom prst="line">
            <a:avLst/>
          </a:prstGeom>
          <a:noFill/>
          <a:ln w="38100" cap="rnd" cmpd="sng" algn="ctr">
            <a:solidFill>
              <a:schemeClr val="accent3"/>
            </a:solidFill>
            <a:prstDash val="sysDot"/>
            <a:headEnd type="none"/>
            <a:tailEnd type="triangle" w="med" len="med"/>
          </a:ln>
          <a:effectLst/>
        </p:spPr>
      </p:cxnSp>
      <p:cxnSp>
        <p:nvCxnSpPr>
          <p:cNvPr id="34" name="Straight Connector 33"/>
          <p:cNvCxnSpPr/>
          <p:nvPr/>
        </p:nvCxnSpPr>
        <p:spPr>
          <a:xfrm flipH="1" flipV="1">
            <a:off x="3360105" y="1897380"/>
            <a:ext cx="411587" cy="274320"/>
          </a:xfrm>
          <a:prstGeom prst="line">
            <a:avLst/>
          </a:prstGeom>
          <a:noFill/>
          <a:ln w="38100" cap="rnd" cmpd="sng" algn="ctr">
            <a:solidFill>
              <a:schemeClr val="accent3"/>
            </a:solidFill>
            <a:prstDash val="sysDot"/>
            <a:headEnd type="none"/>
            <a:tailEnd type="triangle" w="med" len="med"/>
          </a:ln>
          <a:effectLst/>
        </p:spPr>
      </p:cxnSp>
      <p:cxnSp>
        <p:nvCxnSpPr>
          <p:cNvPr id="37" name="Straight Connector 36"/>
          <p:cNvCxnSpPr/>
          <p:nvPr/>
        </p:nvCxnSpPr>
        <p:spPr>
          <a:xfrm flipV="1">
            <a:off x="2225003" y="1976452"/>
            <a:ext cx="400626" cy="260996"/>
          </a:xfrm>
          <a:prstGeom prst="line">
            <a:avLst/>
          </a:prstGeom>
          <a:noFill/>
          <a:ln w="38100" cap="rnd" cmpd="sng" algn="ctr">
            <a:solidFill>
              <a:schemeClr val="accent3"/>
            </a:solidFill>
            <a:prstDash val="sysDot"/>
            <a:headEnd type="none"/>
            <a:tailEnd type="triangle" w="med" len="med"/>
          </a:ln>
          <a:effectLst/>
        </p:spPr>
      </p:cxnSp>
      <p:cxnSp>
        <p:nvCxnSpPr>
          <p:cNvPr id="39" name="Straight Connector 38"/>
          <p:cNvCxnSpPr/>
          <p:nvPr/>
        </p:nvCxnSpPr>
        <p:spPr>
          <a:xfrm flipV="1">
            <a:off x="863547" y="2694849"/>
            <a:ext cx="685979" cy="240030"/>
          </a:xfrm>
          <a:prstGeom prst="line">
            <a:avLst/>
          </a:prstGeom>
          <a:noFill/>
          <a:ln w="38100" cap="rnd" cmpd="sng" algn="ctr">
            <a:solidFill>
              <a:schemeClr val="accent3"/>
            </a:solidFill>
            <a:prstDash val="sysDot"/>
            <a:headEnd type="none"/>
            <a:tailEnd type="triangle" w="med" len="med"/>
          </a:ln>
          <a:effectLst/>
        </p:spPr>
      </p:cxnSp>
      <p:cxnSp>
        <p:nvCxnSpPr>
          <p:cNvPr id="41" name="Straight Connector 40"/>
          <p:cNvCxnSpPr/>
          <p:nvPr/>
        </p:nvCxnSpPr>
        <p:spPr>
          <a:xfrm>
            <a:off x="3085712" y="2134577"/>
            <a:ext cx="417502" cy="274320"/>
          </a:xfrm>
          <a:prstGeom prst="line">
            <a:avLst/>
          </a:prstGeom>
          <a:noFill/>
          <a:ln w="38100" cap="rnd" cmpd="sng" algn="ctr">
            <a:solidFill>
              <a:schemeClr val="accent6"/>
            </a:solidFill>
            <a:prstDash val="sysDot"/>
            <a:headEnd type="none"/>
            <a:tailEnd type="triangle" w="med" len="med"/>
          </a:ln>
          <a:effectLst/>
        </p:spPr>
      </p:cxnSp>
      <p:cxnSp>
        <p:nvCxnSpPr>
          <p:cNvPr id="49" name="Straight Connector 48"/>
          <p:cNvCxnSpPr/>
          <p:nvPr/>
        </p:nvCxnSpPr>
        <p:spPr>
          <a:xfrm flipH="1">
            <a:off x="2285404" y="2103122"/>
            <a:ext cx="411587" cy="275945"/>
          </a:xfrm>
          <a:prstGeom prst="line">
            <a:avLst/>
          </a:prstGeom>
          <a:noFill/>
          <a:ln w="38100" cap="rnd" cmpd="sng" algn="ctr">
            <a:solidFill>
              <a:schemeClr val="accent6"/>
            </a:solidFill>
            <a:prstDash val="sysDot"/>
            <a:headEnd type="none"/>
            <a:tailEnd type="triangle" w="med" len="med"/>
          </a:ln>
          <a:effectLst/>
        </p:spPr>
      </p:cxnSp>
      <p:cxnSp>
        <p:nvCxnSpPr>
          <p:cNvPr id="50" name="Straight Connector 49"/>
          <p:cNvCxnSpPr/>
          <p:nvPr/>
        </p:nvCxnSpPr>
        <p:spPr>
          <a:xfrm flipH="1">
            <a:off x="1035043" y="3037749"/>
            <a:ext cx="685979" cy="240030"/>
          </a:xfrm>
          <a:prstGeom prst="line">
            <a:avLst/>
          </a:prstGeom>
          <a:noFill/>
          <a:ln w="38100" cap="rnd" cmpd="sng" algn="ctr">
            <a:solidFill>
              <a:schemeClr val="accent6"/>
            </a:solidFill>
            <a:prstDash val="sysDot"/>
            <a:headEnd type="none"/>
            <a:tailEnd type="triangle" w="med" len="med"/>
          </a:ln>
          <a:effectLst/>
        </p:spPr>
      </p:cxnSp>
      <p:cxnSp>
        <p:nvCxnSpPr>
          <p:cNvPr id="51" name="Straight Connector 50"/>
          <p:cNvCxnSpPr/>
          <p:nvPr/>
        </p:nvCxnSpPr>
        <p:spPr>
          <a:xfrm>
            <a:off x="456129" y="1747049"/>
            <a:ext cx="342989" cy="0"/>
          </a:xfrm>
          <a:prstGeom prst="line">
            <a:avLst/>
          </a:prstGeom>
          <a:noFill/>
          <a:ln w="38100" cap="rnd" cmpd="sng" algn="ctr">
            <a:solidFill>
              <a:schemeClr val="accent6"/>
            </a:solidFill>
            <a:prstDash val="sysDot"/>
            <a:headEnd type="none"/>
            <a:tailEnd type="triangle" w="med" len="med"/>
          </a:ln>
          <a:effectLst/>
        </p:spPr>
      </p:cxnSp>
      <p:grpSp>
        <p:nvGrpSpPr>
          <p:cNvPr id="56" name="Group 55"/>
          <p:cNvGrpSpPr/>
          <p:nvPr/>
        </p:nvGrpSpPr>
        <p:grpSpPr>
          <a:xfrm>
            <a:off x="5715298" y="2735089"/>
            <a:ext cx="3096431" cy="1208263"/>
            <a:chOff x="567090" y="3838072"/>
            <a:chExt cx="4127500" cy="1611017"/>
          </a:xfrm>
        </p:grpSpPr>
        <p:sp>
          <p:nvSpPr>
            <p:cNvPr id="58" name="Rectangle 57"/>
            <p:cNvSpPr/>
            <p:nvPr/>
          </p:nvSpPr>
          <p:spPr>
            <a:xfrm>
              <a:off x="579790" y="3838072"/>
              <a:ext cx="4114800" cy="3442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Ins="45720" rtlCol="0" anchor="ctr"/>
            <a:lstStyle/>
            <a:p>
              <a:pPr algn="ctr"/>
              <a:r>
                <a:rPr lang="en-US" dirty="0" smtClean="0">
                  <a:solidFill>
                    <a:srgbClr val="FFFFFF"/>
                  </a:solidFill>
                </a:rPr>
                <a:t>Site Data</a:t>
              </a:r>
              <a:endParaRPr lang="en-US" dirty="0">
                <a:solidFill>
                  <a:srgbClr val="FFFFFF"/>
                </a:solidFill>
              </a:endParaRPr>
            </a:p>
          </p:txBody>
        </p:sp>
        <p:sp>
          <p:nvSpPr>
            <p:cNvPr id="59" name="Rectangle 58"/>
            <p:cNvSpPr/>
            <p:nvPr/>
          </p:nvSpPr>
          <p:spPr>
            <a:xfrm flipH="1">
              <a:off x="567090" y="4229295"/>
              <a:ext cx="4114800" cy="1219794"/>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137160" tIns="137160" rIns="45720" rtlCol="0" anchor="t" anchorCtr="0"/>
            <a:lstStyle/>
            <a:p>
              <a:pPr marL="214332" indent="-214332">
                <a:buFont typeface="Arial" pitchFamily="34" charset="0"/>
                <a:buChar char="•"/>
              </a:pPr>
              <a:r>
                <a:rPr lang="en-US" sz="1200" dirty="0">
                  <a:solidFill>
                    <a:srgbClr val="FFFFFF"/>
                  </a:solidFill>
                </a:rPr>
                <a:t>Available at:  Central Administration Site, Replicating Primary</a:t>
              </a:r>
            </a:p>
            <a:p>
              <a:pPr marL="214332" indent="-214332">
                <a:buFont typeface="Arial" pitchFamily="34" charset="0"/>
                <a:buChar char="•"/>
              </a:pPr>
              <a:r>
                <a:rPr lang="en-US" sz="1200" dirty="0">
                  <a:solidFill>
                    <a:srgbClr val="FFFFFF"/>
                  </a:solidFill>
                </a:rPr>
                <a:t>Examples include HINV, Status, Collection Membership Results	</a:t>
              </a:r>
            </a:p>
            <a:p>
              <a:pPr marL="214332" indent="-214332">
                <a:lnSpc>
                  <a:spcPct val="90000"/>
                </a:lnSpc>
                <a:spcBef>
                  <a:spcPct val="20000"/>
                </a:spcBef>
                <a:buClr>
                  <a:srgbClr val="84A8D8"/>
                </a:buClr>
                <a:buSzPct val="100000"/>
                <a:buFont typeface="Arial" pitchFamily="34" charset="0"/>
                <a:buChar char="•"/>
              </a:pPr>
              <a:endParaRPr lang="en-US" sz="1200" dirty="0">
                <a:solidFill>
                  <a:srgbClr val="FFFFFF">
                    <a:alpha val="99000"/>
                  </a:srgbClr>
                </a:solidFill>
              </a:endParaRPr>
            </a:p>
          </p:txBody>
        </p:sp>
      </p:grpSp>
      <p:grpSp>
        <p:nvGrpSpPr>
          <p:cNvPr id="60" name="Group 59"/>
          <p:cNvGrpSpPr/>
          <p:nvPr/>
        </p:nvGrpSpPr>
        <p:grpSpPr>
          <a:xfrm>
            <a:off x="5717469" y="675563"/>
            <a:ext cx="3096431" cy="1904784"/>
            <a:chOff x="567090" y="3838072"/>
            <a:chExt cx="4127500" cy="2539712"/>
          </a:xfrm>
        </p:grpSpPr>
        <p:sp>
          <p:nvSpPr>
            <p:cNvPr id="61" name="Rectangle 60"/>
            <p:cNvSpPr/>
            <p:nvPr/>
          </p:nvSpPr>
          <p:spPr>
            <a:xfrm>
              <a:off x="579790" y="3838072"/>
              <a:ext cx="4114800" cy="344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Ins="45720" rtlCol="0" anchor="ctr"/>
            <a:lstStyle/>
            <a:p>
              <a:pPr algn="ctr"/>
              <a:r>
                <a:rPr lang="en-US" dirty="0" smtClean="0">
                  <a:solidFill>
                    <a:srgbClr val="FFFFFF"/>
                  </a:solidFill>
                </a:rPr>
                <a:t>Global Data</a:t>
              </a:r>
              <a:endParaRPr lang="en-US" dirty="0">
                <a:solidFill>
                  <a:srgbClr val="FFFFFF"/>
                </a:solidFill>
              </a:endParaRPr>
            </a:p>
          </p:txBody>
        </p:sp>
        <p:sp>
          <p:nvSpPr>
            <p:cNvPr id="62" name="Rectangle 61"/>
            <p:cNvSpPr/>
            <p:nvPr/>
          </p:nvSpPr>
          <p:spPr>
            <a:xfrm flipH="1">
              <a:off x="567090" y="4229294"/>
              <a:ext cx="4114800" cy="2148490"/>
            </a:xfrm>
            <a:prstGeom prst="rect">
              <a:avLst/>
            </a:prstGeom>
            <a:ln w="12700">
              <a:solidFill>
                <a:srgbClr val="FFFFFF"/>
              </a:solidFill>
              <a:prstDash val="sysDot"/>
            </a:ln>
          </p:spPr>
          <p:style>
            <a:lnRef idx="1">
              <a:schemeClr val="accent1"/>
            </a:lnRef>
            <a:fillRef idx="0">
              <a:schemeClr val="accent1"/>
            </a:fillRef>
            <a:effectRef idx="0">
              <a:schemeClr val="accent1"/>
            </a:effectRef>
            <a:fontRef idx="minor">
              <a:schemeClr val="tx1"/>
            </a:fontRef>
          </p:style>
          <p:txBody>
            <a:bodyPr lIns="137160" tIns="137160" rIns="45720" rtlCol="0" anchor="t" anchorCtr="0"/>
            <a:lstStyle/>
            <a:p>
              <a:pPr marL="214332" indent="-214332">
                <a:buFont typeface="Arial" pitchFamily="34" charset="0"/>
                <a:buChar char="•"/>
              </a:pPr>
              <a:r>
                <a:rPr lang="en-US" sz="1200" dirty="0">
                  <a:solidFill>
                    <a:srgbClr val="FFFFFF"/>
                  </a:solidFill>
                </a:rPr>
                <a:t>Available at: Central Administration Site and all Primary Sites</a:t>
              </a:r>
            </a:p>
            <a:p>
              <a:pPr marL="214332" indent="-214332">
                <a:buFont typeface="Arial" pitchFamily="34" charset="0"/>
                <a:buChar char="•"/>
              </a:pPr>
              <a:r>
                <a:rPr lang="en-US" sz="1200" dirty="0">
                  <a:solidFill>
                    <a:srgbClr val="FFFFFF"/>
                  </a:solidFill>
                </a:rPr>
                <a:t>Examples include Collection rules, Package metadata, Deployments, Security Scopes</a:t>
              </a:r>
            </a:p>
            <a:p>
              <a:pPr marL="214332" indent="-214332">
                <a:buFont typeface="Arial" pitchFamily="34" charset="0"/>
                <a:buChar char="•"/>
              </a:pPr>
              <a:r>
                <a:rPr lang="en-US" sz="1200" dirty="0">
                  <a:solidFill>
                    <a:srgbClr val="FFFFFF"/>
                  </a:solidFill>
                </a:rPr>
                <a:t>A subset of global data also goes to and from Secondary sites (</a:t>
              </a:r>
              <a:r>
                <a:rPr lang="sv-SE" sz="1200" dirty="0">
                  <a:solidFill>
                    <a:srgbClr val="FFFFFF"/>
                  </a:solidFill>
                </a:rPr>
                <a:t>Package metadata and status, Program metadata)</a:t>
              </a:r>
              <a:endParaRPr lang="en-US" sz="1200" dirty="0">
                <a:solidFill>
                  <a:srgbClr val="FFFFFF"/>
                </a:solidFill>
              </a:endParaRPr>
            </a:p>
            <a:p>
              <a:pPr marL="214332" indent="-214332">
                <a:lnSpc>
                  <a:spcPct val="90000"/>
                </a:lnSpc>
                <a:spcBef>
                  <a:spcPct val="20000"/>
                </a:spcBef>
                <a:buClr>
                  <a:srgbClr val="84A8D8"/>
                </a:buClr>
                <a:buSzPct val="100000"/>
                <a:buFont typeface="Arial" pitchFamily="34" charset="0"/>
                <a:buChar char="•"/>
              </a:pPr>
              <a:endParaRPr lang="en-US" sz="1200" dirty="0">
                <a:solidFill>
                  <a:srgbClr val="FFFFFF">
                    <a:alpha val="99000"/>
                  </a:srgbClr>
                </a:solidFill>
              </a:endParaRPr>
            </a:p>
          </p:txBody>
        </p:sp>
      </p:grpSp>
      <p:grpSp>
        <p:nvGrpSpPr>
          <p:cNvPr id="63" name="Group 62"/>
          <p:cNvGrpSpPr/>
          <p:nvPr/>
        </p:nvGrpSpPr>
        <p:grpSpPr>
          <a:xfrm>
            <a:off x="5726997" y="4071297"/>
            <a:ext cx="3096431" cy="843604"/>
            <a:chOff x="567090" y="3838072"/>
            <a:chExt cx="4127500" cy="1124805"/>
          </a:xfrm>
        </p:grpSpPr>
        <p:sp>
          <p:nvSpPr>
            <p:cNvPr id="64" name="Rectangle 63"/>
            <p:cNvSpPr/>
            <p:nvPr/>
          </p:nvSpPr>
          <p:spPr>
            <a:xfrm>
              <a:off x="579790" y="3838072"/>
              <a:ext cx="4114800" cy="3442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45720" rtlCol="0" anchor="ctr"/>
            <a:lstStyle/>
            <a:p>
              <a:pPr algn="ctr"/>
              <a:r>
                <a:rPr lang="en-US" dirty="0" smtClean="0">
                  <a:solidFill>
                    <a:srgbClr val="FFFFFF"/>
                  </a:solidFill>
                </a:rPr>
                <a:t>Content</a:t>
              </a:r>
              <a:endParaRPr lang="en-US" dirty="0">
                <a:solidFill>
                  <a:srgbClr val="FFFFFF"/>
                </a:solidFill>
              </a:endParaRPr>
            </a:p>
          </p:txBody>
        </p:sp>
        <p:sp>
          <p:nvSpPr>
            <p:cNvPr id="65" name="Rectangle 64"/>
            <p:cNvSpPr/>
            <p:nvPr/>
          </p:nvSpPr>
          <p:spPr>
            <a:xfrm flipH="1">
              <a:off x="567090" y="4229295"/>
              <a:ext cx="4114800" cy="733582"/>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137160" tIns="137160" rIns="45720" rtlCol="0" anchor="t" anchorCtr="0"/>
            <a:lstStyle/>
            <a:p>
              <a:pPr marL="214332" indent="-214332">
                <a:buFont typeface="Arial" pitchFamily="34" charset="0"/>
                <a:buChar char="•"/>
              </a:pPr>
              <a:r>
                <a:rPr lang="en-US" sz="1200" dirty="0">
                  <a:solidFill>
                    <a:srgbClr val="FFFFFF"/>
                  </a:solidFill>
                </a:rPr>
                <a:t>Available where content has been distributed to a Distribution Point	</a:t>
              </a:r>
            </a:p>
            <a:p>
              <a:pPr marL="214332" indent="-214332">
                <a:lnSpc>
                  <a:spcPct val="90000"/>
                </a:lnSpc>
                <a:spcBef>
                  <a:spcPct val="20000"/>
                </a:spcBef>
                <a:buClr>
                  <a:srgbClr val="84A8D8"/>
                </a:buClr>
                <a:buSzPct val="100000"/>
                <a:buFont typeface="Arial" pitchFamily="34" charset="0"/>
                <a:buChar char="•"/>
              </a:pPr>
              <a:endParaRPr lang="en-US" sz="1200" dirty="0">
                <a:solidFill>
                  <a:srgbClr val="FFFFFF">
                    <a:alpha val="99000"/>
                  </a:srgbClr>
                </a:solidFill>
              </a:endParaRPr>
            </a:p>
          </p:txBody>
        </p:sp>
      </p:grpSp>
      <p:cxnSp>
        <p:nvCxnSpPr>
          <p:cNvPr id="66" name="Straight Connector 65"/>
          <p:cNvCxnSpPr/>
          <p:nvPr/>
        </p:nvCxnSpPr>
        <p:spPr>
          <a:xfrm flipV="1">
            <a:off x="2045312" y="1771650"/>
            <a:ext cx="411587" cy="274320"/>
          </a:xfrm>
          <a:prstGeom prst="line">
            <a:avLst/>
          </a:prstGeom>
          <a:noFill/>
          <a:ln w="38100" cap="rnd" cmpd="sng" algn="ctr">
            <a:solidFill>
              <a:schemeClr val="accent5"/>
            </a:solidFill>
            <a:prstDash val="sysDot"/>
            <a:headEnd type="none"/>
            <a:tailEnd type="triangle" w="med" len="med"/>
          </a:ln>
          <a:effectLst/>
        </p:spPr>
      </p:cxnSp>
      <p:cxnSp>
        <p:nvCxnSpPr>
          <p:cNvPr id="67" name="Straight Connector 66"/>
          <p:cNvCxnSpPr/>
          <p:nvPr/>
        </p:nvCxnSpPr>
        <p:spPr>
          <a:xfrm flipH="1" flipV="1">
            <a:off x="3485868" y="1783080"/>
            <a:ext cx="411587" cy="274320"/>
          </a:xfrm>
          <a:prstGeom prst="line">
            <a:avLst/>
          </a:prstGeom>
          <a:noFill/>
          <a:ln w="38100" cap="rnd" cmpd="sng" algn="ctr">
            <a:solidFill>
              <a:schemeClr val="accent5"/>
            </a:solidFill>
            <a:prstDash val="sysDot"/>
            <a:headEnd type="none"/>
            <a:tailEnd type="triangle" w="med" len="med"/>
          </a:ln>
          <a:effectLst/>
        </p:spPr>
      </p:cxnSp>
      <p:sp>
        <p:nvSpPr>
          <p:cNvPr id="42"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43"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4"/>
              </a:rPr>
              <a:t>www.rapidbbs.cn</a:t>
            </a:r>
            <a:endParaRPr lang="zh-CN" altLang="en-US" sz="1200" b="0">
              <a:latin typeface="Arial" charset="0"/>
              <a:ea typeface="ＭＳ Ｐゴシック" pitchFamily="34" charset="-128"/>
            </a:endParaRPr>
          </a:p>
        </p:txBody>
      </p:sp>
      <p:pic>
        <p:nvPicPr>
          <p:cNvPr id="44" name="Picture 2">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028388"/>
      </p:ext>
    </p:extLst>
  </p:cSld>
  <p:clrMapOvr>
    <a:masterClrMapping/>
  </p:clrMapOvr>
  <p:transition>
    <p:fade/>
  </p:transition>
  <p:timing>
    <p:tnLst>
      <p:par>
        <p:cTn id="1" dur="indefinite" restart="never" nodeType="tmRoot"/>
      </p:par>
    </p:tnLst>
  </p:timing>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p:cNvGrpSpPr/>
          <p:nvPr/>
        </p:nvGrpSpPr>
        <p:grpSpPr>
          <a:xfrm>
            <a:off x="-1" y="972785"/>
            <a:ext cx="3034701" cy="1969919"/>
            <a:chOff x="-1" y="1297045"/>
            <a:chExt cx="4045214" cy="2626559"/>
          </a:xfrm>
        </p:grpSpPr>
        <p:sp>
          <p:nvSpPr>
            <p:cNvPr id="38" name="Orange"/>
            <p:cNvSpPr/>
            <p:nvPr/>
          </p:nvSpPr>
          <p:spPr bwMode="auto">
            <a:xfrm>
              <a:off x="0" y="1297045"/>
              <a:ext cx="4045213" cy="2606040"/>
            </a:xfrm>
            <a:prstGeom prst="roundRect">
              <a:avLst>
                <a:gd name="adj" fmla="val 0"/>
              </a:avLst>
            </a:prstGeom>
            <a:solidFill>
              <a:schemeClr val="accent3"/>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t" anchorCtr="0" compatLnSpc="1">
              <a:prstTxWarp prst="textNoShape">
                <a:avLst/>
              </a:prstTxWarp>
            </a:bodyPr>
            <a:lstStyle/>
            <a:p>
              <a:pPr defTabSz="685637"/>
              <a:r>
                <a:rPr lang="en-US" sz="1500" b="1" dirty="0" err="1"/>
                <a:t>Consumerization</a:t>
              </a:r>
              <a:r>
                <a:rPr lang="en-US" sz="1500" b="1" dirty="0"/>
                <a:t> of IT</a:t>
              </a:r>
            </a:p>
            <a:p>
              <a:pPr defTabSz="685637"/>
              <a:endParaRPr lang="en-US" sz="1700" dirty="0">
                <a:solidFill>
                  <a:schemeClr val="tx1">
                    <a:alpha val="99000"/>
                  </a:schemeClr>
                </a:solidFill>
                <a:latin typeface="Segoe UI" pitchFamily="34" charset="0"/>
                <a:ea typeface="Segoe UI" pitchFamily="34" charset="0"/>
                <a:cs typeface="Segoe UI" pitchFamily="34" charset="0"/>
              </a:endParaRPr>
            </a:p>
          </p:txBody>
        </p:sp>
        <p:sp>
          <p:nvSpPr>
            <p:cNvPr id="179" name="Rectangle 3"/>
            <p:cNvSpPr txBox="1">
              <a:spLocks noChangeArrowheads="1"/>
            </p:cNvSpPr>
            <p:nvPr/>
          </p:nvSpPr>
          <p:spPr bwMode="auto">
            <a:xfrm>
              <a:off x="0" y="2033613"/>
              <a:ext cx="3884612" cy="1132905"/>
            </a:xfrm>
            <a:prstGeom prst="rect">
              <a:avLst/>
            </a:prstGeom>
            <a:noFill/>
            <a:ln w="9525">
              <a:noFill/>
              <a:miter lim="800000"/>
              <a:headEnd/>
              <a:tailEnd/>
            </a:ln>
          </p:spPr>
          <p:txBody>
            <a:bodyPr vert="horz" wrap="square" lIns="0" tIns="76822" rIns="0" bIns="21949" numCol="1" anchor="ctr" anchorCtr="0" compatLnSpc="1">
              <a:prstTxWarp prst="textNoShape">
                <a:avLst/>
              </a:prstTxWarp>
              <a:noAutofit/>
            </a:bodyPr>
            <a:lstStyle>
              <a:defPPr>
                <a:defRPr lang="en-US"/>
              </a:defPPr>
              <a:lvl1pPr lvl="0" algn="ctr" defTabSz="1188672">
                <a:lnSpc>
                  <a:spcPct val="90000"/>
                </a:lnSpc>
                <a:defRPr sz="2400" spc="-150">
                  <a:ln w="3175">
                    <a:noFill/>
                  </a:ln>
                  <a:gradFill flip="none" rotWithShape="1">
                    <a:gsLst>
                      <a:gs pos="0">
                        <a:schemeClr val="tx1"/>
                      </a:gs>
                      <a:gs pos="86000">
                        <a:schemeClr val="tx1"/>
                      </a:gs>
                    </a:gsLst>
                    <a:lin ang="5400000" scaled="0"/>
                    <a:tileRect/>
                  </a:gradFill>
                  <a:effectLst>
                    <a:outerShdw blurRad="127000" algn="ctr" rotWithShape="0">
                      <a:srgbClr val="0A1E4A">
                        <a:alpha val="40000"/>
                      </a:srgbClr>
                    </a:outerShdw>
                  </a:effectLst>
                  <a:latin typeface="Segoe Light" pitchFamily="34" charset="0"/>
                  <a:cs typeface="Arial" charset="0"/>
                </a:defRPr>
              </a:lvl1pPr>
            </a:lstStyle>
            <a:p>
              <a:pPr algn="r" defTabSz="913919" fontAlgn="base">
                <a:spcBef>
                  <a:spcPct val="0"/>
                </a:spcBef>
                <a:spcAft>
                  <a:spcPct val="0"/>
                </a:spcAft>
              </a:pPr>
              <a:r>
                <a:rPr lang="en-US" sz="11300" spc="-750" dirty="0">
                  <a:solidFill>
                    <a:schemeClr val="tx1"/>
                  </a:solidFill>
                  <a:effectLst/>
                  <a:latin typeface="Segoe" pitchFamily="34" charset="0"/>
                </a:rPr>
                <a:t>95</a:t>
              </a:r>
              <a:r>
                <a:rPr lang="en-US" sz="3400" spc="0" dirty="0">
                  <a:solidFill>
                    <a:schemeClr val="tx1"/>
                  </a:solidFill>
                  <a:effectLst/>
                  <a:latin typeface="Segoe UI Light" pitchFamily="34" charset="0"/>
                </a:rPr>
                <a:t>%</a:t>
              </a:r>
            </a:p>
          </p:txBody>
        </p:sp>
        <p:sp>
          <p:nvSpPr>
            <p:cNvPr id="59" name="Rectangle 58"/>
            <p:cNvSpPr/>
            <p:nvPr/>
          </p:nvSpPr>
          <p:spPr>
            <a:xfrm>
              <a:off x="-1" y="3349088"/>
              <a:ext cx="4045213" cy="574516"/>
            </a:xfrm>
            <a:prstGeom prst="rect">
              <a:avLst/>
            </a:prstGeom>
            <a:ln>
              <a:noFill/>
            </a:ln>
          </p:spPr>
          <p:txBody>
            <a:bodyPr wrap="square">
              <a:spAutoFit/>
            </a:bodyPr>
            <a:lstStyle/>
            <a:p>
              <a:pPr algn="r" defTabSz="913919" fontAlgn="base">
                <a:spcBef>
                  <a:spcPct val="0"/>
                </a:spcBef>
                <a:spcAft>
                  <a:spcPct val="0"/>
                </a:spcAft>
              </a:pPr>
              <a:r>
                <a:rPr lang="en-US" sz="1100" spc="-38" dirty="0">
                  <a:latin typeface="Segoe UI" pitchFamily="34" charset="0"/>
                  <a:ea typeface="Segoe UI" pitchFamily="34" charset="0"/>
                  <a:cs typeface="Segoe UI" pitchFamily="34" charset="0"/>
                </a:rPr>
                <a:t>Percentage of information workers who report using at least one self-purchased device for work</a:t>
              </a:r>
            </a:p>
          </p:txBody>
        </p:sp>
      </p:grpSp>
      <p:grpSp>
        <p:nvGrpSpPr>
          <p:cNvPr id="17" name="Group 16"/>
          <p:cNvGrpSpPr/>
          <p:nvPr/>
        </p:nvGrpSpPr>
        <p:grpSpPr>
          <a:xfrm>
            <a:off x="3119633" y="972784"/>
            <a:ext cx="2904734" cy="3999266"/>
            <a:chOff x="4158427" y="1297045"/>
            <a:chExt cx="3871970" cy="5332355"/>
          </a:xfrm>
        </p:grpSpPr>
        <p:grpSp>
          <p:nvGrpSpPr>
            <p:cNvPr id="16" name="Group 15"/>
            <p:cNvGrpSpPr/>
            <p:nvPr/>
          </p:nvGrpSpPr>
          <p:grpSpPr>
            <a:xfrm>
              <a:off x="4158427" y="1297045"/>
              <a:ext cx="3871970" cy="5332355"/>
              <a:chOff x="4158427" y="1297045"/>
              <a:chExt cx="3871970" cy="5332355"/>
            </a:xfrm>
          </p:grpSpPr>
          <p:sp>
            <p:nvSpPr>
              <p:cNvPr id="43" name="Rectangle 42"/>
              <p:cNvSpPr>
                <a:spLocks noChangeAspect="1"/>
              </p:cNvSpPr>
              <p:nvPr/>
            </p:nvSpPr>
            <p:spPr bwMode="auto">
              <a:xfrm>
                <a:off x="4158427" y="1297045"/>
                <a:ext cx="3871970" cy="533235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nSpc>
                    <a:spcPts val="4062"/>
                  </a:lnSpc>
                </a:pPr>
                <a:r>
                  <a:rPr lang="en-US" sz="3800" spc="-75" dirty="0">
                    <a:solidFill>
                      <a:srgbClr val="363535"/>
                    </a:solidFill>
                    <a:latin typeface="Segoe UI Light" pitchFamily="34" charset="0"/>
                  </a:rPr>
                  <a:t>RISE OF </a:t>
                </a:r>
              </a:p>
              <a:p>
                <a:pPr>
                  <a:lnSpc>
                    <a:spcPts val="4062"/>
                  </a:lnSpc>
                </a:pPr>
                <a:r>
                  <a:rPr lang="en-US" sz="3800" spc="-75" dirty="0">
                    <a:solidFill>
                      <a:srgbClr val="363535"/>
                    </a:solidFill>
                    <a:latin typeface="Segoe UI Light" pitchFamily="34" charset="0"/>
                  </a:rPr>
                  <a:t>THE CLOUD</a:t>
                </a:r>
              </a:p>
              <a:p>
                <a:pPr algn="ctr" defTabSz="685637" fontAlgn="base">
                  <a:spcBef>
                    <a:spcPct val="0"/>
                  </a:spcBef>
                  <a:spcAft>
                    <a:spcPct val="0"/>
                  </a:spcAft>
                </a:pPr>
                <a:endParaRPr lang="en-US" sz="3800" spc="-75" dirty="0" err="1">
                  <a:solidFill>
                    <a:srgbClr val="363535"/>
                  </a:solidFill>
                  <a:ea typeface="Segoe UI" pitchFamily="34" charset="0"/>
                  <a:cs typeface="Segoe UI" pitchFamily="34" charset="0"/>
                </a:endParaRPr>
              </a:p>
            </p:txBody>
          </p:sp>
          <p:sp>
            <p:nvSpPr>
              <p:cNvPr id="44" name="Freeform 77"/>
              <p:cNvSpPr>
                <a:spLocks noEditPoints="1"/>
              </p:cNvSpPr>
              <p:nvPr/>
            </p:nvSpPr>
            <p:spPr bwMode="auto">
              <a:xfrm>
                <a:off x="4233596" y="2827404"/>
                <a:ext cx="3719112" cy="2499922"/>
              </a:xfrm>
              <a:custGeom>
                <a:avLst/>
                <a:gdLst>
                  <a:gd name="T0" fmla="*/ 340 w 413"/>
                  <a:gd name="T1" fmla="*/ 283 h 283"/>
                  <a:gd name="T2" fmla="*/ 73 w 413"/>
                  <a:gd name="T3" fmla="*/ 283 h 283"/>
                  <a:gd name="T4" fmla="*/ 72 w 413"/>
                  <a:gd name="T5" fmla="*/ 283 h 283"/>
                  <a:gd name="T6" fmla="*/ 0 w 413"/>
                  <a:gd name="T7" fmla="*/ 209 h 283"/>
                  <a:gd name="T8" fmla="*/ 70 w 413"/>
                  <a:gd name="T9" fmla="*/ 135 h 283"/>
                  <a:gd name="T10" fmla="*/ 66 w 413"/>
                  <a:gd name="T11" fmla="*/ 107 h 283"/>
                  <a:gd name="T12" fmla="*/ 173 w 413"/>
                  <a:gd name="T13" fmla="*/ 0 h 283"/>
                  <a:gd name="T14" fmla="*/ 273 w 413"/>
                  <a:gd name="T15" fmla="*/ 69 h 283"/>
                  <a:gd name="T16" fmla="*/ 273 w 413"/>
                  <a:gd name="T17" fmla="*/ 69 h 283"/>
                  <a:gd name="T18" fmla="*/ 346 w 413"/>
                  <a:gd name="T19" fmla="*/ 135 h 283"/>
                  <a:gd name="T20" fmla="*/ 413 w 413"/>
                  <a:gd name="T21" fmla="*/ 209 h 283"/>
                  <a:gd name="T22" fmla="*/ 341 w 413"/>
                  <a:gd name="T23" fmla="*/ 283 h 283"/>
                  <a:gd name="T24" fmla="*/ 340 w 413"/>
                  <a:gd name="T25" fmla="*/ 283 h 283"/>
                  <a:gd name="T26" fmla="*/ 73 w 413"/>
                  <a:gd name="T27" fmla="*/ 268 h 283"/>
                  <a:gd name="T28" fmla="*/ 339 w 413"/>
                  <a:gd name="T29" fmla="*/ 268 h 283"/>
                  <a:gd name="T30" fmla="*/ 340 w 413"/>
                  <a:gd name="T31" fmla="*/ 268 h 283"/>
                  <a:gd name="T32" fmla="*/ 398 w 413"/>
                  <a:gd name="T33" fmla="*/ 209 h 283"/>
                  <a:gd name="T34" fmla="*/ 339 w 413"/>
                  <a:gd name="T35" fmla="*/ 150 h 283"/>
                  <a:gd name="T36" fmla="*/ 332 w 413"/>
                  <a:gd name="T37" fmla="*/ 142 h 283"/>
                  <a:gd name="T38" fmla="*/ 273 w 413"/>
                  <a:gd name="T39" fmla="*/ 83 h 283"/>
                  <a:gd name="T40" fmla="*/ 268 w 413"/>
                  <a:gd name="T41" fmla="*/ 84 h 283"/>
                  <a:gd name="T42" fmla="*/ 261 w 413"/>
                  <a:gd name="T43" fmla="*/ 79 h 283"/>
                  <a:gd name="T44" fmla="*/ 173 w 413"/>
                  <a:gd name="T45" fmla="*/ 15 h 283"/>
                  <a:gd name="T46" fmla="*/ 81 w 413"/>
                  <a:gd name="T47" fmla="*/ 107 h 283"/>
                  <a:gd name="T48" fmla="*/ 87 w 413"/>
                  <a:gd name="T49" fmla="*/ 140 h 283"/>
                  <a:gd name="T50" fmla="*/ 86 w 413"/>
                  <a:gd name="T51" fmla="*/ 147 h 283"/>
                  <a:gd name="T52" fmla="*/ 79 w 413"/>
                  <a:gd name="T53" fmla="*/ 150 h 283"/>
                  <a:gd name="T54" fmla="*/ 73 w 413"/>
                  <a:gd name="T55" fmla="*/ 150 h 283"/>
                  <a:gd name="T56" fmla="*/ 14 w 413"/>
                  <a:gd name="T57" fmla="*/ 209 h 283"/>
                  <a:gd name="T58" fmla="*/ 73 w 413"/>
                  <a:gd name="T59" fmla="*/ 268 h 283"/>
                  <a:gd name="T60" fmla="*/ 73 w 413"/>
                  <a:gd name="T61" fmla="*/ 268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3" h="283">
                    <a:moveTo>
                      <a:pt x="340" y="283"/>
                    </a:moveTo>
                    <a:cubicBezTo>
                      <a:pt x="73" y="283"/>
                      <a:pt x="73" y="283"/>
                      <a:pt x="73" y="283"/>
                    </a:cubicBezTo>
                    <a:cubicBezTo>
                      <a:pt x="73" y="283"/>
                      <a:pt x="72" y="283"/>
                      <a:pt x="72" y="283"/>
                    </a:cubicBezTo>
                    <a:cubicBezTo>
                      <a:pt x="32" y="282"/>
                      <a:pt x="0" y="249"/>
                      <a:pt x="0" y="209"/>
                    </a:cubicBezTo>
                    <a:cubicBezTo>
                      <a:pt x="0" y="169"/>
                      <a:pt x="31" y="137"/>
                      <a:pt x="70" y="135"/>
                    </a:cubicBezTo>
                    <a:cubicBezTo>
                      <a:pt x="67" y="126"/>
                      <a:pt x="66" y="117"/>
                      <a:pt x="66" y="107"/>
                    </a:cubicBezTo>
                    <a:cubicBezTo>
                      <a:pt x="66" y="48"/>
                      <a:pt x="114" y="0"/>
                      <a:pt x="173" y="0"/>
                    </a:cubicBezTo>
                    <a:cubicBezTo>
                      <a:pt x="217" y="0"/>
                      <a:pt x="257" y="27"/>
                      <a:pt x="273" y="69"/>
                    </a:cubicBezTo>
                    <a:cubicBezTo>
                      <a:pt x="273" y="69"/>
                      <a:pt x="273" y="69"/>
                      <a:pt x="273" y="69"/>
                    </a:cubicBezTo>
                    <a:cubicBezTo>
                      <a:pt x="311" y="69"/>
                      <a:pt x="343" y="98"/>
                      <a:pt x="346" y="135"/>
                    </a:cubicBezTo>
                    <a:cubicBezTo>
                      <a:pt x="384" y="139"/>
                      <a:pt x="413" y="171"/>
                      <a:pt x="413" y="209"/>
                    </a:cubicBezTo>
                    <a:cubicBezTo>
                      <a:pt x="413" y="249"/>
                      <a:pt x="381" y="282"/>
                      <a:pt x="341" y="283"/>
                    </a:cubicBezTo>
                    <a:cubicBezTo>
                      <a:pt x="340" y="283"/>
                      <a:pt x="340" y="283"/>
                      <a:pt x="340" y="283"/>
                    </a:cubicBezTo>
                    <a:close/>
                    <a:moveTo>
                      <a:pt x="73" y="268"/>
                    </a:moveTo>
                    <a:cubicBezTo>
                      <a:pt x="339" y="268"/>
                      <a:pt x="339" y="268"/>
                      <a:pt x="339" y="268"/>
                    </a:cubicBezTo>
                    <a:cubicBezTo>
                      <a:pt x="339" y="268"/>
                      <a:pt x="340" y="268"/>
                      <a:pt x="340" y="268"/>
                    </a:cubicBezTo>
                    <a:cubicBezTo>
                      <a:pt x="372" y="268"/>
                      <a:pt x="398" y="241"/>
                      <a:pt x="398" y="209"/>
                    </a:cubicBezTo>
                    <a:cubicBezTo>
                      <a:pt x="398" y="176"/>
                      <a:pt x="372" y="150"/>
                      <a:pt x="339" y="150"/>
                    </a:cubicBezTo>
                    <a:cubicBezTo>
                      <a:pt x="335" y="150"/>
                      <a:pt x="332" y="146"/>
                      <a:pt x="332" y="142"/>
                    </a:cubicBezTo>
                    <a:cubicBezTo>
                      <a:pt x="332" y="110"/>
                      <a:pt x="305" y="83"/>
                      <a:pt x="273" y="83"/>
                    </a:cubicBezTo>
                    <a:cubicBezTo>
                      <a:pt x="271" y="83"/>
                      <a:pt x="270" y="83"/>
                      <a:pt x="268" y="84"/>
                    </a:cubicBezTo>
                    <a:cubicBezTo>
                      <a:pt x="265" y="84"/>
                      <a:pt x="262" y="82"/>
                      <a:pt x="261" y="79"/>
                    </a:cubicBezTo>
                    <a:cubicBezTo>
                      <a:pt x="248" y="40"/>
                      <a:pt x="213" y="15"/>
                      <a:pt x="173" y="15"/>
                    </a:cubicBezTo>
                    <a:cubicBezTo>
                      <a:pt x="122" y="15"/>
                      <a:pt x="81" y="56"/>
                      <a:pt x="81" y="107"/>
                    </a:cubicBezTo>
                    <a:cubicBezTo>
                      <a:pt x="81" y="118"/>
                      <a:pt x="83" y="129"/>
                      <a:pt x="87" y="140"/>
                    </a:cubicBezTo>
                    <a:cubicBezTo>
                      <a:pt x="88" y="142"/>
                      <a:pt x="87" y="145"/>
                      <a:pt x="86" y="147"/>
                    </a:cubicBezTo>
                    <a:cubicBezTo>
                      <a:pt x="84" y="149"/>
                      <a:pt x="82" y="150"/>
                      <a:pt x="79" y="150"/>
                    </a:cubicBezTo>
                    <a:cubicBezTo>
                      <a:pt x="77" y="150"/>
                      <a:pt x="75" y="150"/>
                      <a:pt x="73" y="150"/>
                    </a:cubicBezTo>
                    <a:cubicBezTo>
                      <a:pt x="41" y="150"/>
                      <a:pt x="14" y="176"/>
                      <a:pt x="14" y="209"/>
                    </a:cubicBezTo>
                    <a:cubicBezTo>
                      <a:pt x="14" y="241"/>
                      <a:pt x="41" y="268"/>
                      <a:pt x="73" y="268"/>
                    </a:cubicBezTo>
                    <a:cubicBezTo>
                      <a:pt x="73" y="268"/>
                      <a:pt x="73" y="268"/>
                      <a:pt x="73" y="268"/>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
            <p:nvSpPr>
              <p:cNvPr id="257" name="Rectangle 3"/>
              <p:cNvSpPr txBox="1">
                <a:spLocks noChangeArrowheads="1"/>
              </p:cNvSpPr>
              <p:nvPr/>
            </p:nvSpPr>
            <p:spPr bwMode="auto">
              <a:xfrm>
                <a:off x="4158427" y="3852038"/>
                <a:ext cx="3871970" cy="1223677"/>
              </a:xfrm>
              <a:prstGeom prst="rect">
                <a:avLst/>
              </a:prstGeom>
              <a:noFill/>
              <a:ln w="9525">
                <a:noFill/>
                <a:miter lim="800000"/>
                <a:headEnd/>
                <a:tailEnd/>
              </a:ln>
            </p:spPr>
            <p:txBody>
              <a:bodyPr vert="horz" wrap="square" lIns="0" tIns="76822" rIns="0" bIns="21949" numCol="1" anchor="ctr" anchorCtr="0" compatLnSpc="1">
                <a:prstTxWarp prst="textNoShape">
                  <a:avLst/>
                </a:prstTxWarp>
                <a:noAutofit/>
              </a:bodyPr>
              <a:lstStyle>
                <a:defPPr>
                  <a:defRPr lang="en-US"/>
                </a:defPPr>
                <a:lvl1pPr lvl="0" algn="ctr" defTabSz="1188672">
                  <a:lnSpc>
                    <a:spcPct val="90000"/>
                  </a:lnSpc>
                  <a:defRPr sz="2400" spc="-150">
                    <a:ln w="3175">
                      <a:noFill/>
                    </a:ln>
                    <a:gradFill flip="none" rotWithShape="1">
                      <a:gsLst>
                        <a:gs pos="0">
                          <a:schemeClr val="tx1"/>
                        </a:gs>
                        <a:gs pos="86000">
                          <a:schemeClr val="tx1"/>
                        </a:gs>
                      </a:gsLst>
                      <a:lin ang="5400000" scaled="0"/>
                      <a:tileRect/>
                    </a:gradFill>
                    <a:effectLst>
                      <a:outerShdw blurRad="127000" algn="ctr" rotWithShape="0">
                        <a:srgbClr val="0A1E4A">
                          <a:alpha val="40000"/>
                        </a:srgbClr>
                      </a:outerShdw>
                    </a:effectLst>
                    <a:latin typeface="Segoe Light" pitchFamily="34" charset="0"/>
                    <a:cs typeface="Arial" charset="0"/>
                  </a:defRPr>
                </a:lvl1pPr>
              </a:lstStyle>
              <a:p>
                <a:pPr defTabSz="913919" fontAlgn="base">
                  <a:spcBef>
                    <a:spcPct val="0"/>
                  </a:spcBef>
                  <a:spcAft>
                    <a:spcPct val="0"/>
                  </a:spcAft>
                </a:pPr>
                <a:r>
                  <a:rPr lang="en-US" sz="11300" spc="-750" dirty="0">
                    <a:solidFill>
                      <a:srgbClr val="363535"/>
                    </a:solidFill>
                    <a:effectLst/>
                    <a:latin typeface="Segoe" charset="0"/>
                  </a:rPr>
                  <a:t>15</a:t>
                </a:r>
                <a:r>
                  <a:rPr lang="en-US" sz="3400" spc="-750" dirty="0">
                    <a:solidFill>
                      <a:srgbClr val="363535"/>
                    </a:solidFill>
                    <a:effectLst/>
                    <a:latin typeface="+mn-lt"/>
                  </a:rPr>
                  <a:t>%</a:t>
                </a:r>
              </a:p>
            </p:txBody>
          </p:sp>
        </p:grpSp>
        <p:sp>
          <p:nvSpPr>
            <p:cNvPr id="258" name="Rectangle 257"/>
            <p:cNvSpPr/>
            <p:nvPr/>
          </p:nvSpPr>
          <p:spPr>
            <a:xfrm>
              <a:off x="4477910" y="5490475"/>
              <a:ext cx="3233003" cy="923329"/>
            </a:xfrm>
            <a:prstGeom prst="rect">
              <a:avLst/>
            </a:prstGeom>
          </p:spPr>
          <p:txBody>
            <a:bodyPr wrap="square">
              <a:spAutoFit/>
            </a:bodyPr>
            <a:lstStyle/>
            <a:p>
              <a:pPr defTabSz="913919" fontAlgn="base">
                <a:spcBef>
                  <a:spcPct val="0"/>
                </a:spcBef>
                <a:spcAft>
                  <a:spcPct val="0"/>
                </a:spcAft>
              </a:pPr>
              <a:r>
                <a:rPr lang="en-US" sz="1300" dirty="0">
                  <a:solidFill>
                    <a:srgbClr val="363535"/>
                  </a:solidFill>
                  <a:latin typeface="Segoe UI" pitchFamily="34" charset="0"/>
                  <a:ea typeface="Segoe UI" pitchFamily="34" charset="0"/>
                  <a:cs typeface="Segoe UI" pitchFamily="34" charset="0"/>
                </a:rPr>
                <a:t>Percentage of IT spend towards public and private cloud in 2011</a:t>
              </a:r>
            </a:p>
          </p:txBody>
        </p:sp>
      </p:grpSp>
      <p:grpSp>
        <p:nvGrpSpPr>
          <p:cNvPr id="13" name="Group 12"/>
          <p:cNvGrpSpPr/>
          <p:nvPr/>
        </p:nvGrpSpPr>
        <p:grpSpPr>
          <a:xfrm>
            <a:off x="-1" y="3017521"/>
            <a:ext cx="3032026" cy="1969919"/>
            <a:chOff x="-1" y="4023360"/>
            <a:chExt cx="4041648" cy="2626559"/>
          </a:xfrm>
        </p:grpSpPr>
        <p:grpSp>
          <p:nvGrpSpPr>
            <p:cNvPr id="8" name="Group 7"/>
            <p:cNvGrpSpPr/>
            <p:nvPr/>
          </p:nvGrpSpPr>
          <p:grpSpPr>
            <a:xfrm>
              <a:off x="-1" y="4023360"/>
              <a:ext cx="4041648" cy="2606040"/>
              <a:chOff x="0" y="3983405"/>
              <a:chExt cx="3765367" cy="2765756"/>
            </a:xfrm>
          </p:grpSpPr>
          <p:sp>
            <p:nvSpPr>
              <p:cNvPr id="30" name="Orange"/>
              <p:cNvSpPr/>
              <p:nvPr/>
            </p:nvSpPr>
            <p:spPr bwMode="auto">
              <a:xfrm>
                <a:off x="0" y="3983405"/>
                <a:ext cx="3765367" cy="2765756"/>
              </a:xfrm>
              <a:prstGeom prst="roundRect">
                <a:avLst>
                  <a:gd name="adj" fmla="val 0"/>
                </a:avLst>
              </a:prstGeom>
              <a:solidFill>
                <a:srgbClr val="94C949"/>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t" anchorCtr="0" compatLnSpc="1">
                <a:prstTxWarp prst="textNoShape">
                  <a:avLst/>
                </a:prstTxWarp>
              </a:bodyPr>
              <a:lstStyle/>
              <a:p>
                <a:pPr defTabSz="685637" fontAlgn="base">
                  <a:spcBef>
                    <a:spcPct val="0"/>
                  </a:spcBef>
                  <a:spcAft>
                    <a:spcPct val="0"/>
                  </a:spcAft>
                </a:pPr>
                <a:r>
                  <a:rPr lang="en-US" sz="1500" b="1" dirty="0">
                    <a:ea typeface="Segoe UI" pitchFamily="34" charset="0"/>
                    <a:cs typeface="Segoe UI" pitchFamily="34" charset="0"/>
                  </a:rPr>
                  <a:t>Multi Generational Workforce</a:t>
                </a:r>
              </a:p>
              <a:p>
                <a:pPr defTabSz="685637"/>
                <a:endParaRPr lang="en-US" sz="1700" dirty="0">
                  <a:solidFill>
                    <a:schemeClr val="tx1">
                      <a:alpha val="99000"/>
                    </a:schemeClr>
                  </a:solidFill>
                  <a:latin typeface="Segoe UI" pitchFamily="34" charset="0"/>
                  <a:ea typeface="Segoe UI" pitchFamily="34" charset="0"/>
                  <a:cs typeface="Segoe UI" pitchFamily="34" charset="0"/>
                </a:endParaRPr>
              </a:p>
            </p:txBody>
          </p:sp>
          <p:sp>
            <p:nvSpPr>
              <p:cNvPr id="31" name="Rectangle 3"/>
              <p:cNvSpPr txBox="1">
                <a:spLocks noChangeArrowheads="1"/>
              </p:cNvSpPr>
              <p:nvPr/>
            </p:nvSpPr>
            <p:spPr bwMode="auto">
              <a:xfrm>
                <a:off x="1" y="4799831"/>
                <a:ext cx="3619066" cy="1132905"/>
              </a:xfrm>
              <a:prstGeom prst="rect">
                <a:avLst/>
              </a:prstGeom>
              <a:noFill/>
              <a:ln w="9525">
                <a:noFill/>
                <a:miter lim="800000"/>
                <a:headEnd/>
                <a:tailEnd/>
              </a:ln>
            </p:spPr>
            <p:txBody>
              <a:bodyPr vert="horz" wrap="square" lIns="0" tIns="76822" rIns="0" bIns="21949" numCol="1" anchor="ctr" anchorCtr="0" compatLnSpc="1">
                <a:prstTxWarp prst="textNoShape">
                  <a:avLst/>
                </a:prstTxWarp>
                <a:noAutofit/>
              </a:bodyPr>
              <a:lstStyle>
                <a:defPPr>
                  <a:defRPr lang="en-US"/>
                </a:defPPr>
                <a:lvl1pPr lvl="0" algn="ctr" defTabSz="1188672">
                  <a:lnSpc>
                    <a:spcPct val="90000"/>
                  </a:lnSpc>
                  <a:defRPr sz="2400" spc="-150">
                    <a:ln w="3175">
                      <a:noFill/>
                    </a:ln>
                    <a:gradFill flip="none" rotWithShape="1">
                      <a:gsLst>
                        <a:gs pos="0">
                          <a:schemeClr val="tx1"/>
                        </a:gs>
                        <a:gs pos="86000">
                          <a:schemeClr val="tx1"/>
                        </a:gs>
                      </a:gsLst>
                      <a:lin ang="5400000" scaled="0"/>
                      <a:tileRect/>
                    </a:gradFill>
                    <a:effectLst>
                      <a:outerShdw blurRad="127000" algn="ctr" rotWithShape="0">
                        <a:srgbClr val="0A1E4A">
                          <a:alpha val="40000"/>
                        </a:srgbClr>
                      </a:outerShdw>
                    </a:effectLst>
                    <a:latin typeface="Segoe Light" pitchFamily="34" charset="0"/>
                    <a:cs typeface="Arial" charset="0"/>
                  </a:defRPr>
                </a:lvl1pPr>
              </a:lstStyle>
              <a:p>
                <a:pPr algn="r" defTabSz="913919" fontAlgn="base">
                  <a:spcBef>
                    <a:spcPct val="0"/>
                  </a:spcBef>
                  <a:spcAft>
                    <a:spcPct val="0"/>
                  </a:spcAft>
                </a:pPr>
                <a:r>
                  <a:rPr lang="en-US" sz="11300" spc="-600" dirty="0">
                    <a:solidFill>
                      <a:schemeClr val="tx1"/>
                    </a:solidFill>
                    <a:effectLst/>
                    <a:latin typeface="Segoe" pitchFamily="34" charset="0"/>
                  </a:rPr>
                  <a:t>34</a:t>
                </a:r>
                <a:endParaRPr lang="en-US" sz="3400" spc="-600" dirty="0">
                  <a:solidFill>
                    <a:schemeClr val="tx1"/>
                  </a:solidFill>
                  <a:effectLst/>
                  <a:latin typeface="Segoe UI Light" pitchFamily="34" charset="0"/>
                </a:endParaRPr>
              </a:p>
            </p:txBody>
          </p:sp>
        </p:grpSp>
        <p:sp>
          <p:nvSpPr>
            <p:cNvPr id="32" name="Rectangle 31"/>
            <p:cNvSpPr/>
            <p:nvPr/>
          </p:nvSpPr>
          <p:spPr>
            <a:xfrm>
              <a:off x="2" y="6075403"/>
              <a:ext cx="4015264" cy="574516"/>
            </a:xfrm>
            <a:prstGeom prst="rect">
              <a:avLst/>
            </a:prstGeom>
            <a:noFill/>
            <a:ln>
              <a:noFill/>
            </a:ln>
          </p:spPr>
          <p:txBody>
            <a:bodyPr wrap="square">
              <a:spAutoFit/>
            </a:bodyPr>
            <a:lstStyle/>
            <a:p>
              <a:pPr algn="r" defTabSz="913919" fontAlgn="base">
                <a:spcBef>
                  <a:spcPct val="0"/>
                </a:spcBef>
                <a:spcAft>
                  <a:spcPct val="0"/>
                </a:spcAft>
              </a:pPr>
              <a:r>
                <a:rPr lang="en-US" sz="1100" spc="-15" dirty="0">
                  <a:ea typeface="Segoe UI" pitchFamily="34" charset="0"/>
                  <a:cs typeface="Segoe UI" pitchFamily="34" charset="0"/>
                </a:rPr>
                <a:t>Amount of </a:t>
              </a:r>
              <a:r>
                <a:rPr lang="en-US" sz="1100" spc="-15" dirty="0"/>
                <a:t>hours per week </a:t>
              </a:r>
              <a:r>
                <a:rPr lang="en-US" sz="1100" spc="-15" dirty="0">
                  <a:ea typeface="Segoe UI" pitchFamily="34" charset="0"/>
                  <a:cs typeface="Segoe UI" pitchFamily="34" charset="0"/>
                </a:rPr>
                <a:t>Chinese </a:t>
              </a:r>
              <a:r>
                <a:rPr lang="en-US" sz="1100" spc="-15" dirty="0" err="1">
                  <a:ea typeface="Segoe UI" pitchFamily="34" charset="0"/>
                  <a:cs typeface="Segoe UI" pitchFamily="34" charset="0"/>
                </a:rPr>
                <a:t>millennials</a:t>
              </a:r>
              <a:r>
                <a:rPr lang="en-US" sz="1100" spc="-15" dirty="0">
                  <a:ea typeface="Segoe UI" pitchFamily="34" charset="0"/>
                  <a:cs typeface="Segoe UI" pitchFamily="34" charset="0"/>
                </a:rPr>
                <a:t> spend </a:t>
              </a:r>
              <a:r>
                <a:rPr lang="en-US" sz="1100" spc="-15" dirty="0"/>
                <a:t>using real time communication tools</a:t>
              </a:r>
            </a:p>
          </p:txBody>
        </p:sp>
      </p:grpSp>
      <p:grpSp>
        <p:nvGrpSpPr>
          <p:cNvPr id="15" name="Group 14"/>
          <p:cNvGrpSpPr/>
          <p:nvPr/>
        </p:nvGrpSpPr>
        <p:grpSpPr>
          <a:xfrm>
            <a:off x="6119169" y="3017521"/>
            <a:ext cx="3032026" cy="1969919"/>
            <a:chOff x="8156767" y="4023360"/>
            <a:chExt cx="4041648" cy="2626559"/>
          </a:xfrm>
        </p:grpSpPr>
        <p:sp>
          <p:nvSpPr>
            <p:cNvPr id="51" name="Orange"/>
            <p:cNvSpPr/>
            <p:nvPr/>
          </p:nvSpPr>
          <p:spPr bwMode="auto">
            <a:xfrm>
              <a:off x="8156767" y="4023360"/>
              <a:ext cx="4041648" cy="2606040"/>
            </a:xfrm>
            <a:prstGeom prst="roundRect">
              <a:avLst>
                <a:gd name="adj" fmla="val 0"/>
              </a:avLst>
            </a:prstGeom>
            <a:solidFill>
              <a:srgbClr val="F6AE1E"/>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t" anchorCtr="0" compatLnSpc="1">
              <a:prstTxWarp prst="textNoShape">
                <a:avLst/>
              </a:prstTxWarp>
            </a:bodyPr>
            <a:lstStyle/>
            <a:p>
              <a:pPr defTabSz="685637" fontAlgn="base">
                <a:spcBef>
                  <a:spcPct val="0"/>
                </a:spcBef>
                <a:spcAft>
                  <a:spcPct val="0"/>
                </a:spcAft>
              </a:pPr>
              <a:r>
                <a:rPr lang="en-US" sz="1500" b="1" spc="-60" dirty="0">
                  <a:ea typeface="Segoe UI" pitchFamily="34" charset="0"/>
                  <a:cs typeface="Segoe UI" pitchFamily="34" charset="0"/>
                </a:rPr>
                <a:t>Mobile &amp; Distributed Workforce</a:t>
              </a:r>
            </a:p>
          </p:txBody>
        </p:sp>
        <p:sp>
          <p:nvSpPr>
            <p:cNvPr id="52" name="Rectangle 3"/>
            <p:cNvSpPr txBox="1">
              <a:spLocks noChangeArrowheads="1"/>
            </p:cNvSpPr>
            <p:nvPr/>
          </p:nvSpPr>
          <p:spPr bwMode="auto">
            <a:xfrm>
              <a:off x="8156767" y="4792639"/>
              <a:ext cx="4032058" cy="1067482"/>
            </a:xfrm>
            <a:prstGeom prst="rect">
              <a:avLst/>
            </a:prstGeom>
            <a:noFill/>
            <a:ln w="9525">
              <a:noFill/>
              <a:miter lim="800000"/>
              <a:headEnd/>
              <a:tailEnd/>
            </a:ln>
          </p:spPr>
          <p:txBody>
            <a:bodyPr vert="horz" wrap="square" lIns="0" tIns="76822" rIns="0" bIns="21949" numCol="1" anchor="ctr" anchorCtr="0" compatLnSpc="1">
              <a:prstTxWarp prst="textNoShape">
                <a:avLst/>
              </a:prstTxWarp>
              <a:noAutofit/>
            </a:bodyPr>
            <a:lstStyle>
              <a:defPPr>
                <a:defRPr lang="en-US"/>
              </a:defPPr>
              <a:lvl1pPr lvl="0" algn="ctr" defTabSz="1188672">
                <a:lnSpc>
                  <a:spcPct val="90000"/>
                </a:lnSpc>
                <a:defRPr sz="2400" spc="-150">
                  <a:ln w="3175">
                    <a:noFill/>
                  </a:ln>
                  <a:gradFill flip="none" rotWithShape="1">
                    <a:gsLst>
                      <a:gs pos="0">
                        <a:schemeClr val="tx1"/>
                      </a:gs>
                      <a:gs pos="86000">
                        <a:schemeClr val="tx1"/>
                      </a:gs>
                    </a:gsLst>
                    <a:lin ang="5400000" scaled="0"/>
                    <a:tileRect/>
                  </a:gradFill>
                  <a:effectLst>
                    <a:outerShdw blurRad="127000" algn="ctr" rotWithShape="0">
                      <a:srgbClr val="0A1E4A">
                        <a:alpha val="40000"/>
                      </a:srgbClr>
                    </a:outerShdw>
                  </a:effectLst>
                  <a:latin typeface="Segoe Light" pitchFamily="34" charset="0"/>
                  <a:cs typeface="Arial" charset="0"/>
                </a:defRPr>
              </a:lvl1pPr>
            </a:lstStyle>
            <a:p>
              <a:pPr algn="l" defTabSz="913919" fontAlgn="base">
                <a:spcBef>
                  <a:spcPct val="0"/>
                </a:spcBef>
                <a:spcAft>
                  <a:spcPct val="0"/>
                </a:spcAft>
              </a:pPr>
              <a:r>
                <a:rPr lang="en-US" sz="11300" spc="-2250" dirty="0">
                  <a:solidFill>
                    <a:schemeClr val="tx1"/>
                  </a:solidFill>
                  <a:effectLst/>
                  <a:latin typeface="Segoe" pitchFamily="34" charset="0"/>
                </a:rPr>
                <a:t>1  </a:t>
              </a:r>
              <a:r>
                <a:rPr lang="en-US" sz="11300" spc="-750" dirty="0">
                  <a:solidFill>
                    <a:schemeClr val="tx1"/>
                  </a:solidFill>
                  <a:effectLst/>
                  <a:latin typeface="Segoe" pitchFamily="34" charset="0"/>
                </a:rPr>
                <a:t>.</a:t>
              </a:r>
              <a:r>
                <a:rPr lang="en-US" sz="11300" spc="-1500" dirty="0">
                  <a:solidFill>
                    <a:schemeClr val="tx1"/>
                  </a:solidFill>
                  <a:effectLst/>
                  <a:latin typeface="Segoe" pitchFamily="34" charset="0"/>
                </a:rPr>
                <a:t>2 </a:t>
              </a:r>
              <a:r>
                <a:rPr lang="en-US" sz="3400" spc="-750" dirty="0">
                  <a:solidFill>
                    <a:schemeClr val="tx1"/>
                  </a:solidFill>
                  <a:effectLst/>
                  <a:latin typeface="Segoe" pitchFamily="34" charset="0"/>
                </a:rPr>
                <a:t>B</a:t>
              </a:r>
              <a:endParaRPr lang="en-US" sz="3400" spc="0" dirty="0">
                <a:solidFill>
                  <a:schemeClr val="tx1"/>
                </a:solidFill>
                <a:effectLst/>
                <a:latin typeface="Segoe UI Light" pitchFamily="34" charset="0"/>
              </a:endParaRPr>
            </a:p>
          </p:txBody>
        </p:sp>
        <p:sp>
          <p:nvSpPr>
            <p:cNvPr id="50" name="Rectangle 49"/>
            <p:cNvSpPr/>
            <p:nvPr/>
          </p:nvSpPr>
          <p:spPr>
            <a:xfrm>
              <a:off x="8156767" y="6075403"/>
              <a:ext cx="4041648" cy="574516"/>
            </a:xfrm>
            <a:prstGeom prst="rect">
              <a:avLst/>
            </a:prstGeom>
            <a:noFill/>
            <a:ln>
              <a:noFill/>
            </a:ln>
          </p:spPr>
          <p:txBody>
            <a:bodyPr wrap="square">
              <a:spAutoFit/>
            </a:bodyPr>
            <a:lstStyle/>
            <a:p>
              <a:pPr defTabSz="913919" fontAlgn="base">
                <a:spcBef>
                  <a:spcPct val="0"/>
                </a:spcBef>
                <a:spcAft>
                  <a:spcPct val="0"/>
                </a:spcAft>
              </a:pPr>
              <a:r>
                <a:rPr lang="en-US" sz="1100" dirty="0">
                  <a:ea typeface="Segoe UI" pitchFamily="34" charset="0"/>
                  <a:cs typeface="Segoe UI" pitchFamily="34" charset="0"/>
                </a:rPr>
                <a:t>Number of mobile users worldwide by 2013 (</a:t>
              </a:r>
              <a:r>
                <a:rPr lang="en-US" sz="1100" dirty="0"/>
                <a:t>more than 1/3 of the world’s workforce) </a:t>
              </a:r>
            </a:p>
          </p:txBody>
        </p:sp>
      </p:grpSp>
      <p:grpSp>
        <p:nvGrpSpPr>
          <p:cNvPr id="14" name="Group 13"/>
          <p:cNvGrpSpPr/>
          <p:nvPr/>
        </p:nvGrpSpPr>
        <p:grpSpPr>
          <a:xfrm>
            <a:off x="6111974" y="972786"/>
            <a:ext cx="3039220" cy="1969919"/>
            <a:chOff x="8147177" y="1297046"/>
            <a:chExt cx="4051238" cy="2626559"/>
          </a:xfrm>
        </p:grpSpPr>
        <p:sp>
          <p:nvSpPr>
            <p:cNvPr id="56" name="Orange"/>
            <p:cNvSpPr/>
            <p:nvPr/>
          </p:nvSpPr>
          <p:spPr bwMode="auto">
            <a:xfrm>
              <a:off x="8156767" y="1297046"/>
              <a:ext cx="4041648" cy="2606040"/>
            </a:xfrm>
            <a:prstGeom prst="roundRect">
              <a:avLst>
                <a:gd name="adj" fmla="val 0"/>
              </a:avLst>
            </a:prstGeom>
            <a:solidFill>
              <a:srgbClr val="3BBEB4"/>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t" anchorCtr="0" compatLnSpc="1">
              <a:prstTxWarp prst="textNoShape">
                <a:avLst/>
              </a:prstTxWarp>
            </a:bodyPr>
            <a:lstStyle/>
            <a:p>
              <a:pPr defTabSz="685637" fontAlgn="base">
                <a:spcBef>
                  <a:spcPct val="0"/>
                </a:spcBef>
                <a:spcAft>
                  <a:spcPct val="0"/>
                </a:spcAft>
              </a:pPr>
              <a:r>
                <a:rPr lang="en-US" sz="1500" b="1" spc="-75" dirty="0">
                  <a:ea typeface="Segoe UI" pitchFamily="34" charset="0"/>
                  <a:cs typeface="Segoe UI" pitchFamily="34" charset="0"/>
                </a:rPr>
                <a:t>Infrastructure Cost &amp; Complexity</a:t>
              </a:r>
            </a:p>
            <a:p>
              <a:pPr defTabSz="685637" fontAlgn="base">
                <a:spcBef>
                  <a:spcPct val="0"/>
                </a:spcBef>
                <a:spcAft>
                  <a:spcPct val="0"/>
                </a:spcAft>
              </a:pPr>
              <a:endParaRPr lang="en-US" sz="1700" dirty="0">
                <a:solidFill>
                  <a:schemeClr val="tx1">
                    <a:alpha val="99000"/>
                  </a:schemeClr>
                </a:solidFill>
                <a:ea typeface="Segoe UI" pitchFamily="34" charset="0"/>
                <a:cs typeface="Segoe UI" pitchFamily="34" charset="0"/>
              </a:endParaRPr>
            </a:p>
          </p:txBody>
        </p:sp>
        <p:sp>
          <p:nvSpPr>
            <p:cNvPr id="57" name="Rectangle 3"/>
            <p:cNvSpPr txBox="1">
              <a:spLocks noChangeArrowheads="1"/>
            </p:cNvSpPr>
            <p:nvPr/>
          </p:nvSpPr>
          <p:spPr bwMode="auto">
            <a:xfrm>
              <a:off x="8156767" y="2033614"/>
              <a:ext cx="4032057" cy="1132905"/>
            </a:xfrm>
            <a:prstGeom prst="rect">
              <a:avLst/>
            </a:prstGeom>
            <a:noFill/>
            <a:ln w="9525">
              <a:noFill/>
              <a:miter lim="800000"/>
              <a:headEnd/>
              <a:tailEnd/>
            </a:ln>
          </p:spPr>
          <p:txBody>
            <a:bodyPr vert="horz" wrap="square" lIns="0" tIns="76822" rIns="0" bIns="21949" numCol="1" anchor="ctr" anchorCtr="0" compatLnSpc="1">
              <a:prstTxWarp prst="textNoShape">
                <a:avLst/>
              </a:prstTxWarp>
              <a:noAutofit/>
            </a:bodyPr>
            <a:lstStyle>
              <a:defPPr>
                <a:defRPr lang="en-US"/>
              </a:defPPr>
              <a:lvl1pPr lvl="0" algn="ctr" defTabSz="1188672">
                <a:lnSpc>
                  <a:spcPct val="90000"/>
                </a:lnSpc>
                <a:defRPr sz="2400" spc="-150">
                  <a:ln w="3175">
                    <a:noFill/>
                  </a:ln>
                  <a:gradFill flip="none" rotWithShape="1">
                    <a:gsLst>
                      <a:gs pos="0">
                        <a:schemeClr val="tx1"/>
                      </a:gs>
                      <a:gs pos="86000">
                        <a:schemeClr val="tx1"/>
                      </a:gs>
                    </a:gsLst>
                    <a:lin ang="5400000" scaled="0"/>
                    <a:tileRect/>
                  </a:gradFill>
                  <a:effectLst>
                    <a:outerShdw blurRad="127000" algn="ctr" rotWithShape="0">
                      <a:srgbClr val="0A1E4A">
                        <a:alpha val="40000"/>
                      </a:srgbClr>
                    </a:outerShdw>
                  </a:effectLst>
                  <a:latin typeface="Segoe Light" pitchFamily="34" charset="0"/>
                  <a:cs typeface="Arial" charset="0"/>
                </a:defRPr>
              </a:lvl1pPr>
            </a:lstStyle>
            <a:p>
              <a:pPr algn="l" defTabSz="913919" fontAlgn="base">
                <a:spcBef>
                  <a:spcPct val="0"/>
                </a:spcBef>
                <a:spcAft>
                  <a:spcPct val="0"/>
                </a:spcAft>
              </a:pPr>
              <a:r>
                <a:rPr lang="en-US" sz="11300" spc="-750" dirty="0">
                  <a:solidFill>
                    <a:schemeClr val="tx1"/>
                  </a:solidFill>
                  <a:effectLst/>
                  <a:latin typeface="Segoe" pitchFamily="34" charset="0"/>
                </a:rPr>
                <a:t>70</a:t>
              </a:r>
              <a:r>
                <a:rPr lang="en-US" sz="3400" spc="0" dirty="0">
                  <a:solidFill>
                    <a:schemeClr val="tx1"/>
                  </a:solidFill>
                  <a:effectLst/>
                  <a:latin typeface="Segoe UI Light" pitchFamily="34" charset="0"/>
                </a:rPr>
                <a:t>%</a:t>
              </a:r>
            </a:p>
          </p:txBody>
        </p:sp>
        <p:sp>
          <p:nvSpPr>
            <p:cNvPr id="55" name="Rectangle 54"/>
            <p:cNvSpPr/>
            <p:nvPr/>
          </p:nvSpPr>
          <p:spPr>
            <a:xfrm>
              <a:off x="8147177" y="3349089"/>
              <a:ext cx="4041648" cy="574516"/>
            </a:xfrm>
            <a:prstGeom prst="rect">
              <a:avLst/>
            </a:prstGeom>
            <a:noFill/>
            <a:ln>
              <a:noFill/>
            </a:ln>
          </p:spPr>
          <p:txBody>
            <a:bodyPr wrap="square">
              <a:spAutoFit/>
            </a:bodyPr>
            <a:lstStyle/>
            <a:p>
              <a:pPr defTabSz="913919" fontAlgn="base">
                <a:spcBef>
                  <a:spcPct val="0"/>
                </a:spcBef>
                <a:spcAft>
                  <a:spcPct val="0"/>
                </a:spcAft>
              </a:pPr>
              <a:r>
                <a:rPr lang="en-US" sz="1100" dirty="0"/>
                <a:t>Percentage of IT budgets spent maintaining inflexible &amp; </a:t>
              </a:r>
              <a:r>
                <a:rPr lang="en-US" sz="1100" dirty="0" err="1"/>
                <a:t>siloed</a:t>
              </a:r>
              <a:r>
                <a:rPr lang="en-US" sz="1100" dirty="0"/>
                <a:t> data center</a:t>
              </a:r>
              <a:r>
                <a:rPr lang="en-US" sz="1100" dirty="0">
                  <a:effectLst>
                    <a:outerShdw blurRad="38100" dist="38100" dir="2700000" algn="tl">
                      <a:srgbClr val="000000">
                        <a:alpha val="43137"/>
                      </a:srgbClr>
                    </a:outerShdw>
                  </a:effectLst>
                </a:rPr>
                <a:t> </a:t>
              </a:r>
              <a:r>
                <a:rPr lang="en-US" sz="1100" dirty="0"/>
                <a:t>equipment</a:t>
              </a:r>
            </a:p>
          </p:txBody>
        </p:sp>
      </p:grpSp>
      <p:sp>
        <p:nvSpPr>
          <p:cNvPr id="60" name="Title 1"/>
          <p:cNvSpPr txBox="1">
            <a:spLocks/>
          </p:cNvSpPr>
          <p:nvPr/>
        </p:nvSpPr>
        <p:spPr>
          <a:xfrm>
            <a:off x="389436" y="171451"/>
            <a:ext cx="8363938" cy="457049"/>
          </a:xfrm>
          <a:prstGeom prst="rect">
            <a:avLst/>
          </a:prstGeom>
        </p:spPr>
        <p:txBody>
          <a:bodyPr lIns="68586" tIns="34294" rIns="68586" bIns="34294"/>
          <a:lst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dirty="0">
                <a:sym typeface="Wingdings" pitchFamily="2" charset="2"/>
              </a:rPr>
              <a:t>Increasingly Demanding </a:t>
            </a:r>
            <a:r>
              <a:rPr lang="en-US" b="1" dirty="0">
                <a:solidFill>
                  <a:srgbClr val="F6AE1E"/>
                </a:solidFill>
                <a:sym typeface="Wingdings" pitchFamily="2" charset="2"/>
              </a:rPr>
              <a:t>Environment</a:t>
            </a:r>
            <a:endParaRPr lang="en-US" b="1" dirty="0">
              <a:solidFill>
                <a:srgbClr val="F6AE1E"/>
              </a:solidFill>
            </a:endParaRPr>
          </a:p>
        </p:txBody>
      </p:sp>
      <p:sp>
        <p:nvSpPr>
          <p:cNvPr id="26" name="Right Triangle 25"/>
          <p:cNvSpPr/>
          <p:nvPr/>
        </p:nvSpPr>
        <p:spPr bwMode="auto">
          <a:xfrm>
            <a:off x="0" y="4772026"/>
            <a:ext cx="400154" cy="371475"/>
          </a:xfrm>
          <a:prstGeom prst="rtTriangle">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27"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8"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pic>
        <p:nvPicPr>
          <p:cNvPr id="29"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90709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fade">
                                      <p:cBhvr>
                                        <p:cTn id="22" dur="500"/>
                                        <p:tgtEl>
                                          <p:spTgt spid="1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p:cNvPicPr>
            <a:picLocks noChangeAspect="1"/>
          </p:cNvPicPr>
          <p:nvPr/>
        </p:nvPicPr>
        <p:blipFill rotWithShape="1">
          <a:blip r:embed="rId3">
            <a:extLst>
              <a:ext uri="{28A0092B-C50C-407E-A947-70E740481C1C}">
                <a14:useLocalDpi xmlns:a14="http://schemas.microsoft.com/office/drawing/2010/main" val="0"/>
              </a:ext>
            </a:extLst>
          </a:blip>
          <a:srcRect r="50000"/>
          <a:stretch/>
        </p:blipFill>
        <p:spPr>
          <a:xfrm>
            <a:off x="7304206" y="841248"/>
            <a:ext cx="1849525" cy="3771900"/>
          </a:xfrm>
          <a:prstGeom prst="rect">
            <a:avLst/>
          </a:prstGeom>
        </p:spPr>
      </p:pic>
      <p:sp>
        <p:nvSpPr>
          <p:cNvPr id="6" name="Rectangle 5"/>
          <p:cNvSpPr/>
          <p:nvPr/>
        </p:nvSpPr>
        <p:spPr bwMode="auto">
          <a:xfrm>
            <a:off x="0" y="7"/>
            <a:ext cx="9144000" cy="3428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pic>
        <p:nvPicPr>
          <p:cNvPr id="10" name="Picture 9"/>
          <p:cNvPicPr>
            <a:picLocks noChangeAspect="1"/>
          </p:cNvPicPr>
          <p:nvPr/>
        </p:nvPicPr>
        <p:blipFill rotWithShape="1">
          <a:blip r:embed="rId4" cstate="print">
            <a:extLst>
              <a:ext uri="{28A0092B-C50C-407E-A947-70E740481C1C}">
                <a14:useLocalDpi xmlns:a14="http://schemas.microsoft.com/office/drawing/2010/main" val="0"/>
              </a:ext>
            </a:extLst>
          </a:blip>
          <a:srcRect l="49222"/>
          <a:stretch/>
        </p:blipFill>
        <p:spPr>
          <a:xfrm rot="10800000">
            <a:off x="8519058" y="-6208"/>
            <a:ext cx="634666" cy="626024"/>
          </a:xfrm>
          <a:prstGeom prst="rect">
            <a:avLst/>
          </a:prstGeom>
        </p:spPr>
      </p:pic>
      <p:sp>
        <p:nvSpPr>
          <p:cNvPr id="11" name="Title 3"/>
          <p:cNvSpPr txBox="1">
            <a:spLocks/>
          </p:cNvSpPr>
          <p:nvPr/>
        </p:nvSpPr>
        <p:spPr>
          <a:xfrm>
            <a:off x="389436" y="302088"/>
            <a:ext cx="8363938" cy="560923"/>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lang="en-US" dirty="0" smtClean="0">
                <a:solidFill>
                  <a:schemeClr val="tx1"/>
                </a:solidFill>
              </a:rPr>
              <a:t>Windows </a:t>
            </a:r>
            <a:r>
              <a:rPr lang="en-US" dirty="0">
                <a:solidFill>
                  <a:schemeClr val="tx1"/>
                </a:solidFill>
              </a:rPr>
              <a:t>A</a:t>
            </a:r>
            <a:r>
              <a:rPr lang="en-US" dirty="0" smtClean="0">
                <a:solidFill>
                  <a:srgbClr val="00AEEF"/>
                </a:solidFill>
              </a:rPr>
              <a:t>z</a:t>
            </a:r>
            <a:r>
              <a:rPr lang="en-US" dirty="0" smtClean="0">
                <a:solidFill>
                  <a:schemeClr val="tx1"/>
                </a:solidFill>
              </a:rPr>
              <a:t>ure</a:t>
            </a:r>
            <a:endParaRPr lang="en-US" dirty="0">
              <a:solidFill>
                <a:schemeClr val="tx1"/>
              </a:solidFill>
            </a:endParaRPr>
          </a:p>
        </p:txBody>
      </p:sp>
      <p:grpSp>
        <p:nvGrpSpPr>
          <p:cNvPr id="15" name="Group 14"/>
          <p:cNvGrpSpPr/>
          <p:nvPr/>
        </p:nvGrpSpPr>
        <p:grpSpPr>
          <a:xfrm>
            <a:off x="538140" y="1497571"/>
            <a:ext cx="2603437" cy="2432705"/>
            <a:chOff x="627895" y="2692245"/>
            <a:chExt cx="2185744" cy="2042935"/>
          </a:xfrm>
        </p:grpSpPr>
        <p:sp>
          <p:nvSpPr>
            <p:cNvPr id="12" name="Rectangle 11"/>
            <p:cNvSpPr/>
            <p:nvPr/>
          </p:nvSpPr>
          <p:spPr bwMode="auto">
            <a:xfrm>
              <a:off x="627895" y="2692245"/>
              <a:ext cx="2185744" cy="2042935"/>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274320" numCol="1" rtlCol="0" anchor="b" anchorCtr="0" compatLnSpc="1">
              <a:prstTxWarp prst="textNoShape">
                <a:avLst/>
              </a:prstTxWarp>
            </a:bodyPr>
            <a:lstStyle/>
            <a:p>
              <a:pPr algn="ctr" defTabSz="685495" fontAlgn="base">
                <a:spcBef>
                  <a:spcPct val="0"/>
                </a:spcBef>
                <a:spcAft>
                  <a:spcPct val="0"/>
                </a:spcAft>
              </a:pPr>
              <a:r>
                <a:rPr lang="en-US" sz="2400" dirty="0">
                  <a:gradFill>
                    <a:gsLst>
                      <a:gs pos="0">
                        <a:srgbClr val="FFFFFF"/>
                      </a:gs>
                      <a:gs pos="100000">
                        <a:srgbClr val="FFFFFF"/>
                      </a:gs>
                    </a:gsLst>
                    <a:lin ang="5400000" scaled="0"/>
                  </a:gradFill>
                </a:rPr>
                <a:t>flexible</a:t>
              </a:r>
            </a:p>
          </p:txBody>
        </p:sp>
        <p:pic>
          <p:nvPicPr>
            <p:cNvPr id="3" name="Picture 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13816" y="3276189"/>
              <a:ext cx="1061072" cy="646289"/>
            </a:xfrm>
            <a:prstGeom prst="rect">
              <a:avLst/>
            </a:prstGeom>
          </p:spPr>
        </p:pic>
      </p:grpSp>
      <p:grpSp>
        <p:nvGrpSpPr>
          <p:cNvPr id="17" name="Group 16"/>
          <p:cNvGrpSpPr/>
          <p:nvPr/>
        </p:nvGrpSpPr>
        <p:grpSpPr>
          <a:xfrm>
            <a:off x="3278878" y="1497571"/>
            <a:ext cx="2603437" cy="2432705"/>
            <a:chOff x="2992889" y="2692245"/>
            <a:chExt cx="2185744" cy="2042935"/>
          </a:xfrm>
        </p:grpSpPr>
        <p:sp>
          <p:nvSpPr>
            <p:cNvPr id="13" name="Rectangle 12"/>
            <p:cNvSpPr/>
            <p:nvPr/>
          </p:nvSpPr>
          <p:spPr bwMode="auto">
            <a:xfrm>
              <a:off x="2992889" y="2692245"/>
              <a:ext cx="2185744" cy="2042935"/>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274320" numCol="1" rtlCol="0" anchor="b" anchorCtr="0" compatLnSpc="1">
              <a:prstTxWarp prst="textNoShape">
                <a:avLst/>
              </a:prstTxWarp>
            </a:bodyPr>
            <a:lstStyle/>
            <a:p>
              <a:pPr algn="ctr" defTabSz="685495" fontAlgn="base">
                <a:spcBef>
                  <a:spcPct val="0"/>
                </a:spcBef>
                <a:spcAft>
                  <a:spcPct val="0"/>
                </a:spcAft>
              </a:pPr>
              <a:r>
                <a:rPr lang="en-US" sz="2400" dirty="0">
                  <a:gradFill>
                    <a:gsLst>
                      <a:gs pos="0">
                        <a:srgbClr val="FFFFFF"/>
                      </a:gs>
                      <a:gs pos="100000">
                        <a:srgbClr val="FFFFFF"/>
                      </a:gs>
                    </a:gsLst>
                    <a:lin ang="5400000" scaled="0"/>
                  </a:gradFill>
                </a:rPr>
                <a:t>open</a:t>
              </a:r>
            </a:p>
          </p:txBody>
        </p:sp>
        <p:pic>
          <p:nvPicPr>
            <p:cNvPr id="4" name="Picture 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73579" y="3253697"/>
              <a:ext cx="948906" cy="687139"/>
            </a:xfrm>
            <a:prstGeom prst="rect">
              <a:avLst/>
            </a:prstGeom>
          </p:spPr>
        </p:pic>
      </p:grpSp>
      <p:grpSp>
        <p:nvGrpSpPr>
          <p:cNvPr id="24" name="Group 23"/>
          <p:cNvGrpSpPr/>
          <p:nvPr/>
        </p:nvGrpSpPr>
        <p:grpSpPr>
          <a:xfrm>
            <a:off x="6019616" y="1497571"/>
            <a:ext cx="2603437" cy="2432705"/>
            <a:chOff x="5368948" y="2692245"/>
            <a:chExt cx="2185744" cy="2042935"/>
          </a:xfrm>
        </p:grpSpPr>
        <p:sp>
          <p:nvSpPr>
            <p:cNvPr id="14" name="Rectangle 13"/>
            <p:cNvSpPr/>
            <p:nvPr/>
          </p:nvSpPr>
          <p:spPr bwMode="auto">
            <a:xfrm>
              <a:off x="5368948" y="2692245"/>
              <a:ext cx="2185744" cy="2042935"/>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274320" numCol="1" rtlCol="0" anchor="b" anchorCtr="0" compatLnSpc="1">
              <a:prstTxWarp prst="textNoShape">
                <a:avLst/>
              </a:prstTxWarp>
            </a:bodyPr>
            <a:lstStyle/>
            <a:p>
              <a:pPr algn="ctr" defTabSz="685495" fontAlgn="base">
                <a:spcBef>
                  <a:spcPct val="0"/>
                </a:spcBef>
                <a:spcAft>
                  <a:spcPct val="0"/>
                </a:spcAft>
              </a:pPr>
              <a:r>
                <a:rPr lang="en-US" sz="2400" dirty="0">
                  <a:gradFill>
                    <a:gsLst>
                      <a:gs pos="0">
                        <a:srgbClr val="FFFFFF"/>
                      </a:gs>
                      <a:gs pos="100000">
                        <a:srgbClr val="FFFFFF"/>
                      </a:gs>
                    </a:gsLst>
                    <a:lin ang="5400000" scaled="0"/>
                  </a:gradFill>
                </a:rPr>
                <a:t>solid</a:t>
              </a:r>
            </a:p>
          </p:txBody>
        </p:sp>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907955" y="3210376"/>
              <a:ext cx="1196887" cy="717297"/>
            </a:xfrm>
            <a:prstGeom prst="rect">
              <a:avLst/>
            </a:prstGeom>
          </p:spPr>
        </p:pic>
      </p:grpSp>
      <p:pic>
        <p:nvPicPr>
          <p:cNvPr id="19" name="Picture 1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0800000">
            <a:off x="7601740" y="-6207"/>
            <a:ext cx="1249882" cy="626024"/>
          </a:xfrm>
          <a:prstGeom prst="rect">
            <a:avLst/>
          </a:prstGeom>
        </p:spPr>
      </p:pic>
      <p:pic>
        <p:nvPicPr>
          <p:cNvPr id="20" name="Picture 1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0800000">
            <a:off x="6684419" y="-6207"/>
            <a:ext cx="1249882" cy="626024"/>
          </a:xfrm>
          <a:prstGeom prst="rect">
            <a:avLst/>
          </a:prstGeom>
        </p:spPr>
      </p:pic>
      <p:sp>
        <p:nvSpPr>
          <p:cNvPr id="21"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2"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8"/>
              </a:rPr>
              <a:t>www.rapidbbs.cn</a:t>
            </a:r>
            <a:endParaRPr lang="zh-CN" altLang="en-US" sz="1200" b="0">
              <a:latin typeface="Arial" charset="0"/>
              <a:ea typeface="ＭＳ Ｐゴシック" pitchFamily="34" charset="-128"/>
            </a:endParaRPr>
          </a:p>
        </p:txBody>
      </p:sp>
      <p:sp>
        <p:nvSpPr>
          <p:cNvPr id="23" name="TextBox 2"/>
          <p:cNvSpPr txBox="1">
            <a:spLocks noChangeArrowheads="1"/>
          </p:cNvSpPr>
          <p:nvPr/>
        </p:nvSpPr>
        <p:spPr bwMode="auto">
          <a:xfrm>
            <a:off x="766762" y="21907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5" name="TextBox 2"/>
          <p:cNvSpPr txBox="1">
            <a:spLocks noChangeArrowheads="1"/>
          </p:cNvSpPr>
          <p:nvPr/>
        </p:nvSpPr>
        <p:spPr bwMode="auto">
          <a:xfrm>
            <a:off x="3398837" y="48466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8"/>
              </a:rPr>
              <a:t>www.rapidbbs.cn</a:t>
            </a:r>
            <a:endParaRPr lang="zh-CN" altLang="en-US" sz="1200" b="0">
              <a:latin typeface="Arial" charset="0"/>
              <a:ea typeface="ＭＳ Ｐゴシック" pitchFamily="34" charset="-128"/>
            </a:endParaRPr>
          </a:p>
        </p:txBody>
      </p:sp>
      <p:pic>
        <p:nvPicPr>
          <p:cNvPr id="26" name="Picture 2">
            <a:hlinkClick r:id="rId8"/>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062208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xit" presetSubtype="4" fill="hold" nodeType="withEffect">
                                  <p:stCondLst>
                                    <p:cond delay="0"/>
                                  </p:stCondLst>
                                  <p:childTnLst>
                                    <p:animEffect transition="out" filter="wipe(down)">
                                      <p:cBhvr>
                                        <p:cTn id="6" dur="500"/>
                                        <p:tgtEl>
                                          <p:spTgt spid="18"/>
                                        </p:tgtEl>
                                      </p:cBhvr>
                                    </p:animEffect>
                                    <p:set>
                                      <p:cBhvr>
                                        <p:cTn id="7" dur="1" fill="hold">
                                          <p:stCondLst>
                                            <p:cond delay="499"/>
                                          </p:stCondLst>
                                        </p:cTn>
                                        <p:tgtEl>
                                          <p:spTgt spid="18"/>
                                        </p:tgtEl>
                                        <p:attrNameLst>
                                          <p:attrName>style.visibility</p:attrName>
                                        </p:attrNameLst>
                                      </p:cBhvr>
                                      <p:to>
                                        <p:strVal val="hidden"/>
                                      </p:to>
                                    </p:set>
                                  </p:childTnLst>
                                </p:cTn>
                              </p:par>
                              <p:par>
                                <p:cTn id="8" presetID="22" presetClass="entr" presetSubtype="2"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wipe(right)">
                                      <p:cBhvr>
                                        <p:cTn id="10" dur="500"/>
                                        <p:tgtEl>
                                          <p:spTgt spid="10"/>
                                        </p:tgtEl>
                                      </p:cBhvr>
                                    </p:animEffect>
                                  </p:childTnLst>
                                </p:cTn>
                              </p:par>
                              <p:par>
                                <p:cTn id="11" presetID="22" presetClass="entr" presetSubtype="2" fill="hold" nodeType="withEffect">
                                  <p:stCondLst>
                                    <p:cond delay="250"/>
                                  </p:stCondLst>
                                  <p:childTnLst>
                                    <p:set>
                                      <p:cBhvr>
                                        <p:cTn id="12" dur="1" fill="hold">
                                          <p:stCondLst>
                                            <p:cond delay="0"/>
                                          </p:stCondLst>
                                        </p:cTn>
                                        <p:tgtEl>
                                          <p:spTgt spid="19"/>
                                        </p:tgtEl>
                                        <p:attrNameLst>
                                          <p:attrName>style.visibility</p:attrName>
                                        </p:attrNameLst>
                                      </p:cBhvr>
                                      <p:to>
                                        <p:strVal val="visible"/>
                                      </p:to>
                                    </p:set>
                                    <p:animEffect transition="in" filter="wipe(right)">
                                      <p:cBhvr>
                                        <p:cTn id="13" dur="500"/>
                                        <p:tgtEl>
                                          <p:spTgt spid="19"/>
                                        </p:tgtEl>
                                      </p:cBhvr>
                                    </p:animEffect>
                                  </p:childTnLst>
                                </p:cTn>
                              </p:par>
                              <p:par>
                                <p:cTn id="14" presetID="22" presetClass="entr" presetSubtype="2" fill="hold" nodeType="withEffect">
                                  <p:stCondLst>
                                    <p:cond delay="500"/>
                                  </p:stCondLst>
                                  <p:childTnLst>
                                    <p:set>
                                      <p:cBhvr>
                                        <p:cTn id="15" dur="1" fill="hold">
                                          <p:stCondLst>
                                            <p:cond delay="0"/>
                                          </p:stCondLst>
                                        </p:cTn>
                                        <p:tgtEl>
                                          <p:spTgt spid="20"/>
                                        </p:tgtEl>
                                        <p:attrNameLst>
                                          <p:attrName>style.visibility</p:attrName>
                                        </p:attrNameLst>
                                      </p:cBhvr>
                                      <p:to>
                                        <p:strVal val="visible"/>
                                      </p:to>
                                    </p:set>
                                    <p:animEffect transition="in" filter="wipe(right)">
                                      <p:cBhvr>
                                        <p:cTn id="16" dur="500"/>
                                        <p:tgtEl>
                                          <p:spTgt spid="2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1000"/>
                                        <p:tgtEl>
                                          <p:spTgt spid="11"/>
                                        </p:tgtEl>
                                      </p:cBhvr>
                                    </p:animEffect>
                                  </p:childTnLst>
                                </p:cTn>
                              </p:par>
                              <p:par>
                                <p:cTn id="20" presetID="10" presetClass="entr" presetSubtype="0" fill="hold" nodeType="withEffect">
                                  <p:stCondLst>
                                    <p:cond delay="250"/>
                                  </p:stCondLst>
                                  <p:childTnLst>
                                    <p:set>
                                      <p:cBhvr>
                                        <p:cTn id="21" dur="1" fill="hold">
                                          <p:stCondLst>
                                            <p:cond delay="0"/>
                                          </p:stCondLst>
                                        </p:cTn>
                                        <p:tgtEl>
                                          <p:spTgt spid="15"/>
                                        </p:tgtEl>
                                        <p:attrNameLst>
                                          <p:attrName>style.visibility</p:attrName>
                                        </p:attrNameLst>
                                      </p:cBhvr>
                                      <p:to>
                                        <p:strVal val="visible"/>
                                      </p:to>
                                    </p:set>
                                    <p:animEffect transition="in" filter="fade">
                                      <p:cBhvr>
                                        <p:cTn id="22" dur="500"/>
                                        <p:tgtEl>
                                          <p:spTgt spid="15"/>
                                        </p:tgtEl>
                                      </p:cBhvr>
                                    </p:animEffect>
                                  </p:childTnLst>
                                </p:cTn>
                              </p:par>
                              <p:par>
                                <p:cTn id="23" presetID="10" presetClass="entr" presetSubtype="0" fill="hold" nodeType="withEffect">
                                  <p:stCondLst>
                                    <p:cond delay="500"/>
                                  </p:stCondLst>
                                  <p:childTnLst>
                                    <p:set>
                                      <p:cBhvr>
                                        <p:cTn id="24" dur="1" fill="hold">
                                          <p:stCondLst>
                                            <p:cond delay="0"/>
                                          </p:stCondLst>
                                        </p:cTn>
                                        <p:tgtEl>
                                          <p:spTgt spid="17"/>
                                        </p:tgtEl>
                                        <p:attrNameLst>
                                          <p:attrName>style.visibility</p:attrName>
                                        </p:attrNameLst>
                                      </p:cBhvr>
                                      <p:to>
                                        <p:strVal val="visible"/>
                                      </p:to>
                                    </p:set>
                                    <p:animEffect transition="in" filter="fade">
                                      <p:cBhvr>
                                        <p:cTn id="25" dur="500"/>
                                        <p:tgtEl>
                                          <p:spTgt spid="17"/>
                                        </p:tgtEl>
                                      </p:cBhvr>
                                    </p:animEffect>
                                  </p:childTnLst>
                                </p:cTn>
                              </p:par>
                              <p:par>
                                <p:cTn id="26" presetID="10" presetClass="entr" presetSubtype="0" fill="hold" nodeType="withEffect">
                                  <p:stCondLst>
                                    <p:cond delay="750"/>
                                  </p:stCondLst>
                                  <p:childTnLst>
                                    <p:set>
                                      <p:cBhvr>
                                        <p:cTn id="27" dur="1" fill="hold">
                                          <p:stCondLst>
                                            <p:cond delay="0"/>
                                          </p:stCondLst>
                                        </p:cTn>
                                        <p:tgtEl>
                                          <p:spTgt spid="24"/>
                                        </p:tgtEl>
                                        <p:attrNameLst>
                                          <p:attrName>style.visibility</p:attrName>
                                        </p:attrNameLst>
                                      </p:cBhvr>
                                      <p:to>
                                        <p:strVal val="visible"/>
                                      </p:to>
                                    </p:set>
                                    <p:animEffect transition="in" filter="fade">
                                      <p:cBhvr>
                                        <p:cTn id="28"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txBox="1">
            <a:spLocks/>
          </p:cNvSpPr>
          <p:nvPr/>
        </p:nvSpPr>
        <p:spPr>
          <a:xfrm>
            <a:off x="389436" y="171451"/>
            <a:ext cx="8363938" cy="457049"/>
          </a:xfrm>
          <a:prstGeom prst="rect">
            <a:avLst/>
          </a:prstGeom>
        </p:spPr>
        <p:txBody>
          <a:bodyPr lIns="68586" tIns="34294" rIns="68586" bIns="34294"/>
          <a:lst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dirty="0"/>
              <a:t>Office 365 </a:t>
            </a:r>
            <a:r>
              <a:rPr lang="en-US" dirty="0" smtClean="0"/>
              <a:t>Delivers World Class Capabilities</a:t>
            </a:r>
            <a:endParaRPr lang="en-US" dirty="0"/>
          </a:p>
        </p:txBody>
      </p:sp>
      <p:grpSp>
        <p:nvGrpSpPr>
          <p:cNvPr id="9" name="Group 8"/>
          <p:cNvGrpSpPr/>
          <p:nvPr/>
        </p:nvGrpSpPr>
        <p:grpSpPr>
          <a:xfrm>
            <a:off x="0" y="972784"/>
            <a:ext cx="4527146" cy="1977614"/>
            <a:chOff x="0" y="1297045"/>
            <a:chExt cx="6034623" cy="2636819"/>
          </a:xfrm>
        </p:grpSpPr>
        <p:sp>
          <p:nvSpPr>
            <p:cNvPr id="16" name="Orange"/>
            <p:cNvSpPr/>
            <p:nvPr/>
          </p:nvSpPr>
          <p:spPr bwMode="auto">
            <a:xfrm>
              <a:off x="0" y="1297045"/>
              <a:ext cx="6016752" cy="2606040"/>
            </a:xfrm>
            <a:prstGeom prst="roundRect">
              <a:avLst>
                <a:gd name="adj" fmla="val 0"/>
              </a:avLst>
            </a:prstGeom>
            <a:solidFill>
              <a:schemeClr val="accent3"/>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t" anchorCtr="0" compatLnSpc="1">
              <a:prstTxWarp prst="textNoShape">
                <a:avLst/>
              </a:prstTxWarp>
            </a:bodyPr>
            <a:lstStyle/>
            <a:p>
              <a:pPr defTabSz="685637"/>
              <a:endParaRPr lang="en-US" sz="1700" dirty="0">
                <a:solidFill>
                  <a:schemeClr val="tx1">
                    <a:alpha val="99000"/>
                  </a:schemeClr>
                </a:solidFill>
                <a:latin typeface="Segoe UI" pitchFamily="34" charset="0"/>
                <a:ea typeface="Segoe UI" pitchFamily="34" charset="0"/>
                <a:cs typeface="Segoe UI" pitchFamily="34" charset="0"/>
              </a:endParaRPr>
            </a:p>
          </p:txBody>
        </p:sp>
        <p:sp>
          <p:nvSpPr>
            <p:cNvPr id="18" name="Rectangle 17"/>
            <p:cNvSpPr/>
            <p:nvPr/>
          </p:nvSpPr>
          <p:spPr>
            <a:xfrm>
              <a:off x="294967" y="2333425"/>
              <a:ext cx="5739656" cy="1600439"/>
            </a:xfrm>
            <a:prstGeom prst="rect">
              <a:avLst/>
            </a:prstGeom>
            <a:ln>
              <a:noFill/>
            </a:ln>
          </p:spPr>
          <p:txBody>
            <a:bodyPr wrap="square">
              <a:spAutoFit/>
            </a:bodyPr>
            <a:lstStyle/>
            <a:p>
              <a:pPr marL="214332" indent="-214332" defTabSz="913919" fontAlgn="base">
                <a:lnSpc>
                  <a:spcPct val="150000"/>
                </a:lnSpc>
                <a:spcBef>
                  <a:spcPct val="0"/>
                </a:spcBef>
                <a:spcAft>
                  <a:spcPct val="0"/>
                </a:spcAft>
                <a:buFont typeface="Arial" pitchFamily="34" charset="0"/>
                <a:buChar char="•"/>
              </a:pPr>
              <a:r>
                <a:rPr lang="en-US" sz="1200" dirty="0">
                  <a:ea typeface="Segoe UI" pitchFamily="34" charset="0"/>
                  <a:cs typeface="Segoe UI" pitchFamily="34" charset="0"/>
                </a:rPr>
                <a:t>Pay-as-you-go, per-user licensing</a:t>
              </a:r>
            </a:p>
            <a:p>
              <a:pPr marL="214332" indent="-214332" defTabSz="913919" fontAlgn="base">
                <a:lnSpc>
                  <a:spcPct val="150000"/>
                </a:lnSpc>
                <a:spcBef>
                  <a:spcPct val="0"/>
                </a:spcBef>
                <a:spcAft>
                  <a:spcPct val="0"/>
                </a:spcAft>
                <a:buFont typeface="Arial" pitchFamily="34" charset="0"/>
                <a:buChar char="•"/>
              </a:pPr>
              <a:r>
                <a:rPr lang="en-US" sz="1200" dirty="0">
                  <a:ea typeface="Segoe UI" pitchFamily="34" charset="0"/>
                  <a:cs typeface="Segoe UI" pitchFamily="34" charset="0"/>
                </a:rPr>
                <a:t>Complete Office experience with services integration</a:t>
              </a:r>
            </a:p>
            <a:p>
              <a:pPr marL="214332" indent="-214332" defTabSz="913919" fontAlgn="base">
                <a:lnSpc>
                  <a:spcPct val="150000"/>
                </a:lnSpc>
                <a:spcBef>
                  <a:spcPct val="0"/>
                </a:spcBef>
                <a:spcAft>
                  <a:spcPct val="0"/>
                </a:spcAft>
                <a:buFont typeface="Arial" pitchFamily="34" charset="0"/>
                <a:buChar char="•"/>
              </a:pPr>
              <a:r>
                <a:rPr lang="en-US" sz="1200" dirty="0">
                  <a:ea typeface="Segoe UI" pitchFamily="34" charset="0"/>
                  <a:cs typeface="Segoe UI" pitchFamily="34" charset="0"/>
                </a:rPr>
                <a:t>Always the latest version of Office and Office Web Apps</a:t>
              </a:r>
            </a:p>
            <a:p>
              <a:pPr marL="214332" indent="-214332" defTabSz="913919" fontAlgn="base">
                <a:lnSpc>
                  <a:spcPct val="150000"/>
                </a:lnSpc>
                <a:spcBef>
                  <a:spcPct val="0"/>
                </a:spcBef>
                <a:spcAft>
                  <a:spcPct val="0"/>
                </a:spcAft>
                <a:buFont typeface="Arial" pitchFamily="34" charset="0"/>
                <a:buChar char="•"/>
                <a:tabLst>
                  <a:tab pos="465249" algn="l"/>
                </a:tabLst>
              </a:pPr>
              <a:r>
                <a:rPr lang="en-US" sz="1200" dirty="0">
                  <a:ea typeface="Segoe UI" pitchFamily="34" charset="0"/>
                  <a:cs typeface="Segoe UI" pitchFamily="34" charset="0"/>
                </a:rPr>
                <a:t>Familiar Office user experience</a:t>
              </a:r>
            </a:p>
          </p:txBody>
        </p:sp>
        <p:pic>
          <p:nvPicPr>
            <p:cNvPr id="34" name="Picture 2"/>
            <p:cNvPicPr>
              <a:picLocks noChangeAspect="1" noChangeArrowheads="1"/>
            </p:cNvPicPr>
            <p:nvPr/>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bwMode="auto">
            <a:xfrm>
              <a:off x="162729" y="1400062"/>
              <a:ext cx="2634359" cy="914400"/>
            </a:xfrm>
            <a:prstGeom prst="rect">
              <a:avLst/>
            </a:prstGeom>
            <a:noFill/>
            <a:effectLst/>
          </p:spPr>
        </p:pic>
      </p:grpSp>
      <p:grpSp>
        <p:nvGrpSpPr>
          <p:cNvPr id="10" name="Group 9"/>
          <p:cNvGrpSpPr/>
          <p:nvPr/>
        </p:nvGrpSpPr>
        <p:grpSpPr>
          <a:xfrm>
            <a:off x="1" y="3017521"/>
            <a:ext cx="4527145" cy="1977614"/>
            <a:chOff x="0" y="4023360"/>
            <a:chExt cx="6034622" cy="2636819"/>
          </a:xfrm>
        </p:grpSpPr>
        <p:sp>
          <p:nvSpPr>
            <p:cNvPr id="22" name="Orange"/>
            <p:cNvSpPr/>
            <p:nvPr/>
          </p:nvSpPr>
          <p:spPr bwMode="auto">
            <a:xfrm>
              <a:off x="0" y="4023360"/>
              <a:ext cx="6016752" cy="2606040"/>
            </a:xfrm>
            <a:prstGeom prst="roundRect">
              <a:avLst>
                <a:gd name="adj" fmla="val 0"/>
              </a:avLst>
            </a:prstGeom>
            <a:solidFill>
              <a:srgbClr val="94C949"/>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t" anchorCtr="0" compatLnSpc="1">
              <a:prstTxWarp prst="textNoShape">
                <a:avLst/>
              </a:prstTxWarp>
            </a:bodyPr>
            <a:lstStyle/>
            <a:p>
              <a:pPr defTabSz="685637"/>
              <a:endParaRPr lang="en-US" sz="1700" dirty="0">
                <a:solidFill>
                  <a:schemeClr val="tx1">
                    <a:alpha val="99000"/>
                  </a:schemeClr>
                </a:solidFill>
                <a:latin typeface="Segoe UI" pitchFamily="34" charset="0"/>
                <a:ea typeface="Segoe UI" pitchFamily="34" charset="0"/>
                <a:cs typeface="Segoe UI" pitchFamily="34" charset="0"/>
              </a:endParaRPr>
            </a:p>
          </p:txBody>
        </p:sp>
        <p:sp>
          <p:nvSpPr>
            <p:cNvPr id="37" name="Rectangle 36"/>
            <p:cNvSpPr/>
            <p:nvPr/>
          </p:nvSpPr>
          <p:spPr>
            <a:xfrm>
              <a:off x="294967" y="5059740"/>
              <a:ext cx="5739655" cy="1600439"/>
            </a:xfrm>
            <a:prstGeom prst="rect">
              <a:avLst/>
            </a:prstGeom>
            <a:ln>
              <a:noFill/>
            </a:ln>
          </p:spPr>
          <p:txBody>
            <a:bodyPr wrap="square">
              <a:spAutoFit/>
            </a:bodyPr>
            <a:lstStyle/>
            <a:p>
              <a:pPr marL="214332" indent="-214332" defTabSz="913919" fontAlgn="base">
                <a:lnSpc>
                  <a:spcPct val="150000"/>
                </a:lnSpc>
                <a:spcBef>
                  <a:spcPct val="0"/>
                </a:spcBef>
                <a:spcAft>
                  <a:spcPct val="0"/>
                </a:spcAft>
                <a:buFont typeface="Arial" pitchFamily="34" charset="0"/>
                <a:buChar char="•"/>
              </a:pPr>
              <a:r>
                <a:rPr lang="en-US" sz="1200" dirty="0">
                  <a:ea typeface="Segoe UI" pitchFamily="34" charset="0"/>
                  <a:cs typeface="Segoe UI" pitchFamily="34" charset="0"/>
                </a:rPr>
                <a:t>My Sites to manage and share documents</a:t>
              </a:r>
            </a:p>
            <a:p>
              <a:pPr marL="214332" indent="-214332" defTabSz="913919" fontAlgn="base">
                <a:lnSpc>
                  <a:spcPct val="150000"/>
                </a:lnSpc>
                <a:spcBef>
                  <a:spcPct val="0"/>
                </a:spcBef>
                <a:spcAft>
                  <a:spcPct val="0"/>
                </a:spcAft>
                <a:buFont typeface="Arial" pitchFamily="34" charset="0"/>
                <a:buChar char="•"/>
              </a:pPr>
              <a:r>
                <a:rPr lang="en-US" sz="1200" dirty="0">
                  <a:ea typeface="Segoe UI" pitchFamily="34" charset="0"/>
                  <a:cs typeface="Segoe UI" pitchFamily="34" charset="0"/>
                </a:rPr>
                <a:t>Access documents offline</a:t>
              </a:r>
            </a:p>
            <a:p>
              <a:pPr marL="214332" indent="-214332" defTabSz="913919" fontAlgn="base">
                <a:lnSpc>
                  <a:spcPct val="150000"/>
                </a:lnSpc>
                <a:spcBef>
                  <a:spcPct val="0"/>
                </a:spcBef>
                <a:spcAft>
                  <a:spcPct val="0"/>
                </a:spcAft>
                <a:buFont typeface="Arial" pitchFamily="34" charset="0"/>
                <a:buChar char="•"/>
              </a:pPr>
              <a:r>
                <a:rPr lang="en-US" sz="1200" dirty="0">
                  <a:ea typeface="Segoe UI" pitchFamily="34" charset="0"/>
                  <a:cs typeface="Segoe UI" pitchFamily="34" charset="0"/>
                </a:rPr>
                <a:t>Document-level permissions</a:t>
              </a:r>
            </a:p>
            <a:p>
              <a:pPr marL="214332" indent="-214332" defTabSz="913919" fontAlgn="base">
                <a:lnSpc>
                  <a:spcPct val="150000"/>
                </a:lnSpc>
                <a:spcBef>
                  <a:spcPct val="0"/>
                </a:spcBef>
                <a:spcAft>
                  <a:spcPct val="0"/>
                </a:spcAft>
                <a:buFont typeface="Arial" pitchFamily="34" charset="0"/>
                <a:buChar char="•"/>
              </a:pPr>
              <a:r>
                <a:rPr lang="en-US" sz="1200" dirty="0">
                  <a:ea typeface="Segoe UI" pitchFamily="34" charset="0"/>
                  <a:cs typeface="Segoe UI" pitchFamily="34" charset="0"/>
                </a:rPr>
                <a:t>Share documents securely with Extranet Sites</a:t>
              </a:r>
            </a:p>
          </p:txBody>
        </p:sp>
        <p:pic>
          <p:nvPicPr>
            <p:cNvPr id="39" name="Picture 2" descr="C:\Users\petern\Desktop\Design Stuff\Icons\Microsoft logos\MS_ShrPtOnline_Wht_rgb.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4175736"/>
              <a:ext cx="4435074" cy="9144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 name="Group 6"/>
          <p:cNvGrpSpPr/>
          <p:nvPr/>
        </p:nvGrpSpPr>
        <p:grpSpPr>
          <a:xfrm>
            <a:off x="4638158" y="3017521"/>
            <a:ext cx="4505842" cy="1977614"/>
            <a:chOff x="6182600" y="4023360"/>
            <a:chExt cx="6006225" cy="2636819"/>
          </a:xfrm>
          <a:solidFill>
            <a:schemeClr val="accent1"/>
          </a:solidFill>
        </p:grpSpPr>
        <p:sp>
          <p:nvSpPr>
            <p:cNvPr id="25" name="Orange"/>
            <p:cNvSpPr/>
            <p:nvPr/>
          </p:nvSpPr>
          <p:spPr bwMode="auto">
            <a:xfrm>
              <a:off x="6182600" y="4023360"/>
              <a:ext cx="6006225" cy="2606040"/>
            </a:xfrm>
            <a:prstGeom prst="roundRect">
              <a:avLst>
                <a:gd name="adj" fmla="val 0"/>
              </a:avLst>
            </a:pr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t" anchorCtr="0" compatLnSpc="1">
              <a:prstTxWarp prst="textNoShape">
                <a:avLst/>
              </a:prstTxWarp>
            </a:bodyPr>
            <a:lstStyle/>
            <a:p>
              <a:pPr defTabSz="685637" fontAlgn="base">
                <a:spcBef>
                  <a:spcPct val="0"/>
                </a:spcBef>
                <a:spcAft>
                  <a:spcPct val="0"/>
                </a:spcAft>
              </a:pPr>
              <a:endParaRPr lang="en-US" sz="1500" b="1" spc="-60" dirty="0">
                <a:ea typeface="Segoe UI" pitchFamily="34" charset="0"/>
                <a:cs typeface="Segoe UI" pitchFamily="34" charset="0"/>
              </a:endParaRPr>
            </a:p>
          </p:txBody>
        </p:sp>
        <p:sp>
          <p:nvSpPr>
            <p:cNvPr id="38" name="Rectangle 37"/>
            <p:cNvSpPr/>
            <p:nvPr/>
          </p:nvSpPr>
          <p:spPr>
            <a:xfrm>
              <a:off x="6430297" y="5059740"/>
              <a:ext cx="5758527" cy="1600439"/>
            </a:xfrm>
            <a:prstGeom prst="rect">
              <a:avLst/>
            </a:prstGeom>
            <a:grpFill/>
            <a:ln>
              <a:noFill/>
            </a:ln>
          </p:spPr>
          <p:txBody>
            <a:bodyPr wrap="square">
              <a:spAutoFit/>
            </a:bodyPr>
            <a:lstStyle/>
            <a:p>
              <a:pPr marL="214332" indent="-214332" defTabSz="913919" fontAlgn="base">
                <a:lnSpc>
                  <a:spcPct val="150000"/>
                </a:lnSpc>
                <a:spcBef>
                  <a:spcPct val="0"/>
                </a:spcBef>
                <a:spcAft>
                  <a:spcPct val="0"/>
                </a:spcAft>
                <a:buFont typeface="Arial" pitchFamily="34" charset="0"/>
                <a:buChar char="•"/>
              </a:pPr>
              <a:r>
                <a:rPr lang="en-US" sz="1200" dirty="0">
                  <a:ea typeface="Segoe UI" pitchFamily="34" charset="0"/>
                  <a:cs typeface="Segoe UI" pitchFamily="34" charset="0"/>
                </a:rPr>
                <a:t>25Gb mailbox with voicemail &amp; unified messaging</a:t>
              </a:r>
            </a:p>
            <a:p>
              <a:pPr marL="214332" indent="-214332" defTabSz="913919" fontAlgn="base">
                <a:lnSpc>
                  <a:spcPct val="150000"/>
                </a:lnSpc>
                <a:spcBef>
                  <a:spcPct val="0"/>
                </a:spcBef>
                <a:spcAft>
                  <a:spcPct val="0"/>
                </a:spcAft>
                <a:buFont typeface="Arial" pitchFamily="34" charset="0"/>
                <a:buChar char="•"/>
              </a:pPr>
              <a:r>
                <a:rPr lang="en-US" sz="1200" dirty="0">
                  <a:ea typeface="Segoe UI" pitchFamily="34" charset="0"/>
                  <a:cs typeface="Segoe UI" pitchFamily="34" charset="0"/>
                </a:rPr>
                <a:t>Integrated personal archiving</a:t>
              </a:r>
            </a:p>
            <a:p>
              <a:pPr marL="214332" indent="-214332" defTabSz="913919" fontAlgn="base">
                <a:lnSpc>
                  <a:spcPct val="150000"/>
                </a:lnSpc>
                <a:spcBef>
                  <a:spcPct val="0"/>
                </a:spcBef>
                <a:spcAft>
                  <a:spcPct val="0"/>
                </a:spcAft>
                <a:buFont typeface="Arial" pitchFamily="34" charset="0"/>
                <a:buChar char="•"/>
              </a:pPr>
              <a:r>
                <a:rPr lang="en-US" sz="1200" dirty="0">
                  <a:ea typeface="Segoe UI" pitchFamily="34" charset="0"/>
                  <a:cs typeface="Segoe UI" pitchFamily="34" charset="0"/>
                </a:rPr>
                <a:t>Retention policies and legal hold</a:t>
              </a:r>
            </a:p>
            <a:p>
              <a:pPr marL="214332" indent="-214332" defTabSz="913919" fontAlgn="base">
                <a:lnSpc>
                  <a:spcPct val="150000"/>
                </a:lnSpc>
                <a:spcBef>
                  <a:spcPct val="0"/>
                </a:spcBef>
                <a:spcAft>
                  <a:spcPct val="0"/>
                </a:spcAft>
                <a:buFont typeface="Arial" pitchFamily="34" charset="0"/>
                <a:buChar char="•"/>
              </a:pPr>
              <a:r>
                <a:rPr lang="en-US" sz="1200" dirty="0">
                  <a:ea typeface="Segoe UI" pitchFamily="34" charset="0"/>
                  <a:cs typeface="Segoe UI" pitchFamily="34" charset="0"/>
                </a:rPr>
                <a:t>Free/busy coexistence</a:t>
              </a:r>
            </a:p>
          </p:txBody>
        </p:sp>
        <p:pic>
          <p:nvPicPr>
            <p:cNvPr id="40" name="Picture 3" descr="C:\Users\petern\Desktop\Design Stuff\Icons\Microsoft logos\MS_Exchange_Online_Wht_rgb.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82601" y="4175736"/>
              <a:ext cx="4179041" cy="914400"/>
            </a:xfrm>
            <a:prstGeom prst="rect">
              <a:avLst/>
            </a:prstGeom>
            <a:grpFill/>
            <a:extLst/>
          </p:spPr>
        </p:pic>
      </p:grpSp>
      <p:grpSp>
        <p:nvGrpSpPr>
          <p:cNvPr id="8" name="Group 7"/>
          <p:cNvGrpSpPr/>
          <p:nvPr/>
        </p:nvGrpSpPr>
        <p:grpSpPr>
          <a:xfrm>
            <a:off x="4638160" y="972786"/>
            <a:ext cx="4505841" cy="1977614"/>
            <a:chOff x="6182601" y="1297046"/>
            <a:chExt cx="6006224" cy="2636819"/>
          </a:xfrm>
        </p:grpSpPr>
        <p:sp>
          <p:nvSpPr>
            <p:cNvPr id="29" name="Orange"/>
            <p:cNvSpPr/>
            <p:nvPr/>
          </p:nvSpPr>
          <p:spPr bwMode="auto">
            <a:xfrm>
              <a:off x="6182601" y="1297046"/>
              <a:ext cx="6006224" cy="2606040"/>
            </a:xfrm>
            <a:prstGeom prst="roundRect">
              <a:avLst>
                <a:gd name="adj" fmla="val 0"/>
              </a:avLst>
            </a:prstGeom>
            <a:solidFill>
              <a:srgbClr val="3BBEB4"/>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t" anchorCtr="0" compatLnSpc="1">
              <a:prstTxWarp prst="textNoShape">
                <a:avLst/>
              </a:prstTxWarp>
            </a:bodyPr>
            <a:lstStyle/>
            <a:p>
              <a:pPr defTabSz="685637" fontAlgn="base">
                <a:spcBef>
                  <a:spcPct val="0"/>
                </a:spcBef>
                <a:spcAft>
                  <a:spcPct val="0"/>
                </a:spcAft>
              </a:pPr>
              <a:endParaRPr lang="en-US" sz="1700" dirty="0">
                <a:solidFill>
                  <a:schemeClr val="tx1">
                    <a:alpha val="99000"/>
                  </a:schemeClr>
                </a:solidFill>
                <a:ea typeface="Segoe UI" pitchFamily="34" charset="0"/>
                <a:cs typeface="Segoe UI" pitchFamily="34" charset="0"/>
              </a:endParaRPr>
            </a:p>
          </p:txBody>
        </p:sp>
        <p:sp>
          <p:nvSpPr>
            <p:cNvPr id="35" name="Rectangle 34"/>
            <p:cNvSpPr/>
            <p:nvPr/>
          </p:nvSpPr>
          <p:spPr>
            <a:xfrm>
              <a:off x="6430297" y="2333426"/>
              <a:ext cx="5758528" cy="1600439"/>
            </a:xfrm>
            <a:prstGeom prst="rect">
              <a:avLst/>
            </a:prstGeom>
            <a:ln>
              <a:noFill/>
            </a:ln>
          </p:spPr>
          <p:txBody>
            <a:bodyPr wrap="square">
              <a:spAutoFit/>
            </a:bodyPr>
            <a:lstStyle/>
            <a:p>
              <a:pPr marL="214332" indent="-214332" defTabSz="913919" fontAlgn="base">
                <a:lnSpc>
                  <a:spcPct val="150000"/>
                </a:lnSpc>
                <a:spcBef>
                  <a:spcPct val="0"/>
                </a:spcBef>
                <a:spcAft>
                  <a:spcPct val="0"/>
                </a:spcAft>
                <a:buFont typeface="Arial" pitchFamily="34" charset="0"/>
                <a:buChar char="•"/>
              </a:pPr>
              <a:r>
                <a:rPr lang="en-US" sz="1200" dirty="0">
                  <a:ea typeface="Segoe UI" pitchFamily="34" charset="0"/>
                  <a:cs typeface="Segoe UI" pitchFamily="34" charset="0"/>
                </a:rPr>
                <a:t>IM &amp; Presence across firewalls</a:t>
              </a:r>
            </a:p>
            <a:p>
              <a:pPr marL="214332" indent="-214332" defTabSz="913919" fontAlgn="base">
                <a:lnSpc>
                  <a:spcPct val="150000"/>
                </a:lnSpc>
                <a:spcBef>
                  <a:spcPct val="0"/>
                </a:spcBef>
                <a:spcAft>
                  <a:spcPct val="0"/>
                </a:spcAft>
                <a:buFont typeface="Arial" pitchFamily="34" charset="0"/>
                <a:buChar char="•"/>
              </a:pPr>
              <a:r>
                <a:rPr lang="en-US" sz="1200" dirty="0">
                  <a:ea typeface="Segoe UI" pitchFamily="34" charset="0"/>
                  <a:cs typeface="Segoe UI" pitchFamily="34" charset="0"/>
                </a:rPr>
                <a:t>GAL/Skill search in SharePoint</a:t>
              </a:r>
            </a:p>
            <a:p>
              <a:pPr marL="214332" indent="-214332" defTabSz="913919" fontAlgn="base">
                <a:lnSpc>
                  <a:spcPct val="150000"/>
                </a:lnSpc>
                <a:spcBef>
                  <a:spcPct val="0"/>
                </a:spcBef>
                <a:spcAft>
                  <a:spcPct val="0"/>
                </a:spcAft>
                <a:buFont typeface="Arial" pitchFamily="34" charset="0"/>
                <a:buChar char="•"/>
              </a:pPr>
              <a:r>
                <a:rPr lang="en-US" sz="1200" dirty="0">
                  <a:ea typeface="Segoe UI" pitchFamily="34" charset="0"/>
                  <a:cs typeface="Segoe UI" pitchFamily="34" charset="0"/>
                </a:rPr>
                <a:t>Online meeting with desktop sharing</a:t>
              </a:r>
            </a:p>
            <a:p>
              <a:pPr marL="214332" indent="-214332" defTabSz="913919" fontAlgn="base">
                <a:lnSpc>
                  <a:spcPct val="150000"/>
                </a:lnSpc>
                <a:spcBef>
                  <a:spcPct val="0"/>
                </a:spcBef>
                <a:spcAft>
                  <a:spcPct val="0"/>
                </a:spcAft>
                <a:buFont typeface="Arial" pitchFamily="34" charset="0"/>
                <a:buChar char="•"/>
              </a:pPr>
              <a:r>
                <a:rPr lang="en-US" sz="1200" dirty="0">
                  <a:ea typeface="Segoe UI" pitchFamily="34" charset="0"/>
                  <a:cs typeface="Segoe UI" pitchFamily="34" charset="0"/>
                </a:rPr>
                <a:t>Windows Live federation</a:t>
              </a:r>
            </a:p>
          </p:txBody>
        </p:sp>
        <p:pic>
          <p:nvPicPr>
            <p:cNvPr id="44" name="Picture 4" descr="C:\Users\petern\Desktop\Design Stuff\Icons\Microsoft logos\MS_LyncOnline_Wht_rgb.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182602" y="1400062"/>
              <a:ext cx="3061129" cy="914400"/>
            </a:xfrm>
            <a:prstGeom prst="rect">
              <a:avLst/>
            </a:prstGeom>
            <a:noFill/>
            <a:extLst>
              <a:ext uri="{909E8E84-426E-40DD-AFC4-6F175D3DCCD1}">
                <a14:hiddenFill xmlns:a14="http://schemas.microsoft.com/office/drawing/2010/main">
                  <a:solidFill>
                    <a:srgbClr val="FFFFFF"/>
                  </a:solidFill>
                </a14:hiddenFill>
              </a:ext>
            </a:extLst>
          </p:spPr>
        </p:pic>
      </p:grpSp>
      <p:sp>
        <p:nvSpPr>
          <p:cNvPr id="19"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0"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8"/>
              </a:rPr>
              <a:t>www.rapidbbs.cn</a:t>
            </a:r>
            <a:endParaRPr lang="zh-CN" altLang="en-US" sz="1200" b="0">
              <a:latin typeface="Arial" charset="0"/>
              <a:ea typeface="ＭＳ Ｐゴシック" pitchFamily="34" charset="-128"/>
            </a:endParaRPr>
          </a:p>
        </p:txBody>
      </p:sp>
      <p:pic>
        <p:nvPicPr>
          <p:cNvPr id="21" name="Picture 2">
            <a:hlinkClick r:id="rId8"/>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0519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1"/>
          <p:cNvSpPr txBox="1">
            <a:spLocks/>
          </p:cNvSpPr>
          <p:nvPr/>
        </p:nvSpPr>
        <p:spPr>
          <a:xfrm>
            <a:off x="389436" y="171451"/>
            <a:ext cx="8363938" cy="457049"/>
          </a:xfrm>
          <a:prstGeom prst="rect">
            <a:avLst/>
          </a:prstGeom>
        </p:spPr>
        <p:txBody>
          <a:bodyPr lIns="68586" tIns="34294" rIns="68586" bIns="34294"/>
          <a:lst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dirty="0"/>
              <a:t>The Trust Principles</a:t>
            </a:r>
          </a:p>
        </p:txBody>
      </p:sp>
      <p:grpSp>
        <p:nvGrpSpPr>
          <p:cNvPr id="19" name="Group 18"/>
          <p:cNvGrpSpPr/>
          <p:nvPr/>
        </p:nvGrpSpPr>
        <p:grpSpPr>
          <a:xfrm>
            <a:off x="338973" y="1526462"/>
            <a:ext cx="2103121" cy="3188405"/>
            <a:chOff x="378105" y="2168012"/>
            <a:chExt cx="2803431" cy="4251207"/>
          </a:xfrm>
        </p:grpSpPr>
        <p:sp>
          <p:nvSpPr>
            <p:cNvPr id="23" name="Rectangle 22"/>
            <p:cNvSpPr/>
            <p:nvPr/>
          </p:nvSpPr>
          <p:spPr>
            <a:xfrm rot="5400000">
              <a:off x="-345783" y="2891901"/>
              <a:ext cx="4251207" cy="2803430"/>
            </a:xfrm>
            <a:prstGeom prst="rect">
              <a:avLst/>
            </a:prstGeom>
            <a:solidFill>
              <a:srgbClr val="FFFFFF"/>
            </a:solid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lIns="685800" tIns="60947" rIns="121893" bIns="60947" anchor="ctr"/>
            <a:lstStyle/>
            <a:p>
              <a:pPr algn="ctr" defTabSz="914023">
                <a:lnSpc>
                  <a:spcPct val="90000"/>
                </a:lnSpc>
              </a:pPr>
              <a:endParaRPr lang="en-US" dirty="0">
                <a:solidFill>
                  <a:schemeClr val="accent3"/>
                </a:solidFill>
              </a:endParaRPr>
            </a:p>
          </p:txBody>
        </p:sp>
        <p:sp>
          <p:nvSpPr>
            <p:cNvPr id="12" name="Pentagon 11"/>
            <p:cNvSpPr/>
            <p:nvPr/>
          </p:nvSpPr>
          <p:spPr>
            <a:xfrm rot="5400000">
              <a:off x="638744" y="1907373"/>
              <a:ext cx="2282152" cy="2803430"/>
            </a:xfrm>
            <a:prstGeom prst="homePlate">
              <a:avLst>
                <a:gd name="adj" fmla="val 18562"/>
              </a:avLst>
            </a:prstGeom>
            <a:solidFill>
              <a:srgbClr val="ED5326">
                <a:alpha val="85098"/>
              </a:srgbClr>
            </a:solidFill>
            <a:ln w="889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lIns="914400" tIns="60947" rIns="121893" bIns="60947" anchor="t"/>
            <a:lstStyle/>
            <a:p>
              <a:pPr algn="ctr" defTabSz="914023">
                <a:lnSpc>
                  <a:spcPct val="90000"/>
                </a:lnSpc>
              </a:pPr>
              <a:r>
                <a:rPr lang="en-US" b="1" dirty="0" smtClean="0">
                  <a:solidFill>
                    <a:schemeClr val="tx1"/>
                  </a:solidFill>
                </a:rPr>
                <a:t>Your Privacy Matters</a:t>
              </a:r>
              <a:endParaRPr lang="en-US" b="1" dirty="0">
                <a:solidFill>
                  <a:schemeClr val="tx1"/>
                </a:solidFill>
              </a:endParaRPr>
            </a:p>
          </p:txBody>
        </p:sp>
        <p:sp>
          <p:nvSpPr>
            <p:cNvPr id="14" name="TextBox 13"/>
            <p:cNvSpPr txBox="1"/>
            <p:nvPr/>
          </p:nvSpPr>
          <p:spPr>
            <a:xfrm>
              <a:off x="378105" y="4808367"/>
              <a:ext cx="2803430" cy="820737"/>
            </a:xfrm>
            <a:prstGeom prst="rect">
              <a:avLst/>
            </a:prstGeom>
            <a:noFill/>
          </p:spPr>
          <p:txBody>
            <a:bodyPr wrap="square" lIns="91440" tIns="91440" rIns="91440" bIns="91440" rtlCol="0" anchor="ctr">
              <a:spAutoFit/>
            </a:bodyPr>
            <a:lstStyle/>
            <a:p>
              <a:pPr algn="ctr"/>
              <a:r>
                <a:rPr lang="en-US" dirty="0" smtClean="0">
                  <a:solidFill>
                    <a:schemeClr val="accent3"/>
                  </a:solidFill>
                </a:rPr>
                <a:t>We </a:t>
              </a:r>
              <a:r>
                <a:rPr lang="en-US" dirty="0">
                  <a:solidFill>
                    <a:schemeClr val="accent3"/>
                  </a:solidFill>
                </a:rPr>
                <a:t>respect </a:t>
              </a:r>
            </a:p>
            <a:p>
              <a:pPr algn="ctr"/>
              <a:r>
                <a:rPr lang="en-US" dirty="0">
                  <a:solidFill>
                    <a:schemeClr val="accent3"/>
                  </a:solidFill>
                </a:rPr>
                <a:t>your </a:t>
              </a:r>
              <a:r>
                <a:rPr lang="en-US" dirty="0" smtClean="0">
                  <a:solidFill>
                    <a:schemeClr val="accent3"/>
                  </a:solidFill>
                </a:rPr>
                <a:t>privacy</a:t>
              </a:r>
              <a:endParaRPr lang="en-US" dirty="0">
                <a:solidFill>
                  <a:schemeClr val="accent3"/>
                </a:solidFill>
              </a:endParaRPr>
            </a:p>
          </p:txBody>
        </p:sp>
      </p:grpSp>
      <p:grpSp>
        <p:nvGrpSpPr>
          <p:cNvPr id="30" name="Group 29"/>
          <p:cNvGrpSpPr/>
          <p:nvPr/>
        </p:nvGrpSpPr>
        <p:grpSpPr>
          <a:xfrm>
            <a:off x="2471921" y="1526462"/>
            <a:ext cx="2103121" cy="3188405"/>
            <a:chOff x="3260623" y="2168012"/>
            <a:chExt cx="2803431" cy="4251207"/>
          </a:xfrm>
        </p:grpSpPr>
        <p:sp>
          <p:nvSpPr>
            <p:cNvPr id="24" name="Rectangle 23"/>
            <p:cNvSpPr/>
            <p:nvPr/>
          </p:nvSpPr>
          <p:spPr>
            <a:xfrm rot="5400000">
              <a:off x="2536735" y="2891901"/>
              <a:ext cx="4251207" cy="2803430"/>
            </a:xfrm>
            <a:prstGeom prst="rect">
              <a:avLst/>
            </a:prstGeom>
            <a:solidFill>
              <a:srgbClr val="FFFFFF"/>
            </a:solid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lIns="685800" tIns="60947" rIns="121893" bIns="60947" anchor="ctr"/>
            <a:lstStyle/>
            <a:p>
              <a:pPr algn="ctr" defTabSz="914023">
                <a:lnSpc>
                  <a:spcPct val="90000"/>
                </a:lnSpc>
              </a:pPr>
              <a:endParaRPr lang="en-US" spc="-45" dirty="0">
                <a:solidFill>
                  <a:schemeClr val="accent3"/>
                </a:solidFill>
              </a:endParaRPr>
            </a:p>
          </p:txBody>
        </p:sp>
        <p:sp>
          <p:nvSpPr>
            <p:cNvPr id="13" name="Pentagon 12"/>
            <p:cNvSpPr/>
            <p:nvPr/>
          </p:nvSpPr>
          <p:spPr>
            <a:xfrm rot="5400000">
              <a:off x="3521262" y="1907373"/>
              <a:ext cx="2282152" cy="2803430"/>
            </a:xfrm>
            <a:prstGeom prst="homePlate">
              <a:avLst>
                <a:gd name="adj" fmla="val 18562"/>
              </a:avLst>
            </a:prstGeom>
            <a:solidFill>
              <a:srgbClr val="ED5326">
                <a:alpha val="85098"/>
              </a:srgbClr>
            </a:solidFill>
            <a:ln w="889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lIns="914400" tIns="60947" rIns="121893" bIns="60947" anchor="t"/>
            <a:lstStyle/>
            <a:p>
              <a:pPr algn="ctr" defTabSz="914023">
                <a:lnSpc>
                  <a:spcPct val="90000"/>
                </a:lnSpc>
              </a:pPr>
              <a:r>
                <a:rPr lang="en-US" b="1" spc="-68" dirty="0">
                  <a:solidFill>
                    <a:schemeClr val="tx1"/>
                  </a:solidFill>
                </a:rPr>
                <a:t>Leadership in Transparency</a:t>
              </a:r>
            </a:p>
          </p:txBody>
        </p:sp>
        <p:sp>
          <p:nvSpPr>
            <p:cNvPr id="27" name="TextBox 26"/>
            <p:cNvSpPr txBox="1"/>
            <p:nvPr/>
          </p:nvSpPr>
          <p:spPr>
            <a:xfrm>
              <a:off x="3392129" y="4659608"/>
              <a:ext cx="2462982" cy="1395253"/>
            </a:xfrm>
            <a:prstGeom prst="rect">
              <a:avLst/>
            </a:prstGeom>
            <a:noFill/>
          </p:spPr>
          <p:txBody>
            <a:bodyPr wrap="square" lIns="91440" tIns="91440" rIns="91440" bIns="91440" rtlCol="0" anchor="ctr">
              <a:spAutoFit/>
            </a:bodyPr>
            <a:lstStyle/>
            <a:p>
              <a:pPr algn="ctr"/>
              <a:r>
                <a:rPr lang="en-US" spc="-75" dirty="0">
                  <a:solidFill>
                    <a:schemeClr val="accent3"/>
                  </a:solidFill>
                </a:rPr>
                <a:t>You know  </a:t>
              </a:r>
              <a:r>
                <a:rPr lang="en-US" b="1" spc="-75" dirty="0">
                  <a:solidFill>
                    <a:schemeClr val="accent3"/>
                  </a:solidFill>
                </a:rPr>
                <a:t>where</a:t>
              </a:r>
              <a:r>
                <a:rPr lang="en-US" spc="-75" dirty="0">
                  <a:solidFill>
                    <a:schemeClr val="accent3"/>
                  </a:solidFill>
                </a:rPr>
                <a:t> data resides, </a:t>
              </a:r>
              <a:r>
                <a:rPr lang="en-US" b="1" spc="-75" dirty="0">
                  <a:solidFill>
                    <a:schemeClr val="accent3"/>
                  </a:solidFill>
                </a:rPr>
                <a:t>who</a:t>
              </a:r>
              <a:r>
                <a:rPr lang="en-US" spc="-75" dirty="0">
                  <a:solidFill>
                    <a:schemeClr val="accent3"/>
                  </a:solidFill>
                </a:rPr>
                <a:t> can access  it and </a:t>
              </a:r>
              <a:r>
                <a:rPr lang="en-US" b="1" spc="-75" dirty="0">
                  <a:solidFill>
                    <a:schemeClr val="accent3"/>
                  </a:solidFill>
                </a:rPr>
                <a:t>what</a:t>
              </a:r>
              <a:r>
                <a:rPr lang="en-US" spc="-75" dirty="0">
                  <a:solidFill>
                    <a:schemeClr val="accent3"/>
                  </a:solidFill>
                </a:rPr>
                <a:t> we do  with it</a:t>
              </a:r>
            </a:p>
          </p:txBody>
        </p:sp>
      </p:grpSp>
      <p:grpSp>
        <p:nvGrpSpPr>
          <p:cNvPr id="31" name="Group 30"/>
          <p:cNvGrpSpPr/>
          <p:nvPr/>
        </p:nvGrpSpPr>
        <p:grpSpPr>
          <a:xfrm>
            <a:off x="4604867" y="1526461"/>
            <a:ext cx="2103120" cy="3188405"/>
            <a:chOff x="6143140" y="2168012"/>
            <a:chExt cx="2803430" cy="4251206"/>
          </a:xfrm>
        </p:grpSpPr>
        <p:sp>
          <p:nvSpPr>
            <p:cNvPr id="22" name="Rectangle 21"/>
            <p:cNvSpPr/>
            <p:nvPr/>
          </p:nvSpPr>
          <p:spPr>
            <a:xfrm rot="5400000">
              <a:off x="5419252" y="2891900"/>
              <a:ext cx="4251206" cy="2803430"/>
            </a:xfrm>
            <a:prstGeom prst="rect">
              <a:avLst/>
            </a:prstGeom>
            <a:solidFill>
              <a:srgbClr val="FFFFFF"/>
            </a:solid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lIns="685800" tIns="60947" rIns="121893" bIns="60947" anchor="t"/>
            <a:lstStyle/>
            <a:p>
              <a:pPr algn="ctr" defTabSz="914023">
                <a:lnSpc>
                  <a:spcPct val="90000"/>
                </a:lnSpc>
              </a:pPr>
              <a:endParaRPr lang="en-US" dirty="0">
                <a:solidFill>
                  <a:schemeClr val="accent3"/>
                </a:solidFill>
              </a:endParaRPr>
            </a:p>
          </p:txBody>
        </p:sp>
        <p:sp>
          <p:nvSpPr>
            <p:cNvPr id="10" name="Pentagon 9"/>
            <p:cNvSpPr/>
            <p:nvPr/>
          </p:nvSpPr>
          <p:spPr>
            <a:xfrm rot="5400000">
              <a:off x="6384945" y="1926207"/>
              <a:ext cx="2319820" cy="2803430"/>
            </a:xfrm>
            <a:prstGeom prst="homePlate">
              <a:avLst>
                <a:gd name="adj" fmla="val 18562"/>
              </a:avLst>
            </a:prstGeom>
            <a:solidFill>
              <a:srgbClr val="ED5326">
                <a:alpha val="85098"/>
              </a:srgbClr>
            </a:solidFill>
            <a:ln w="889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lIns="914400" tIns="60947" rIns="121893" bIns="60947" anchor="t"/>
            <a:lstStyle/>
            <a:p>
              <a:pPr algn="ctr" defTabSz="914023">
                <a:lnSpc>
                  <a:spcPct val="90000"/>
                </a:lnSpc>
              </a:pPr>
              <a:r>
                <a:rPr lang="en-US" b="1" dirty="0">
                  <a:solidFill>
                    <a:schemeClr val="tx1"/>
                  </a:solidFill>
                </a:rPr>
                <a:t>Independently </a:t>
              </a:r>
              <a:r>
                <a:rPr lang="en-US" b="1" dirty="0" smtClean="0">
                  <a:solidFill>
                    <a:schemeClr val="tx1"/>
                  </a:solidFill>
                </a:rPr>
                <a:t>Verified</a:t>
              </a:r>
              <a:endParaRPr lang="en-US" b="1" dirty="0">
                <a:solidFill>
                  <a:schemeClr val="tx1"/>
                </a:solidFill>
              </a:endParaRPr>
            </a:p>
          </p:txBody>
        </p:sp>
        <p:sp>
          <p:nvSpPr>
            <p:cNvPr id="28" name="TextBox 27"/>
            <p:cNvSpPr txBox="1"/>
            <p:nvPr/>
          </p:nvSpPr>
          <p:spPr>
            <a:xfrm>
              <a:off x="6313364" y="4659609"/>
              <a:ext cx="2462983" cy="1395253"/>
            </a:xfrm>
            <a:prstGeom prst="rect">
              <a:avLst/>
            </a:prstGeom>
            <a:noFill/>
          </p:spPr>
          <p:txBody>
            <a:bodyPr wrap="square" lIns="91440" tIns="91440" rIns="91440" bIns="91440" rtlCol="0" anchor="ctr">
              <a:spAutoFit/>
            </a:bodyPr>
            <a:lstStyle/>
            <a:p>
              <a:pPr algn="ctr"/>
              <a:r>
                <a:rPr lang="en-US" spc="-75" dirty="0">
                  <a:solidFill>
                    <a:schemeClr val="accent3"/>
                  </a:solidFill>
                </a:rPr>
                <a:t>Compliance with World Class Industry standards verified by 3rd parties</a:t>
              </a:r>
            </a:p>
          </p:txBody>
        </p:sp>
      </p:grpSp>
      <p:grpSp>
        <p:nvGrpSpPr>
          <p:cNvPr id="32" name="Group 31"/>
          <p:cNvGrpSpPr/>
          <p:nvPr/>
        </p:nvGrpSpPr>
        <p:grpSpPr>
          <a:xfrm>
            <a:off x="6737813" y="1526461"/>
            <a:ext cx="2103120" cy="3188405"/>
            <a:chOff x="9025655" y="2168012"/>
            <a:chExt cx="2803430" cy="4251206"/>
          </a:xfrm>
        </p:grpSpPr>
        <p:sp>
          <p:nvSpPr>
            <p:cNvPr id="21" name="Rectangle 20"/>
            <p:cNvSpPr/>
            <p:nvPr/>
          </p:nvSpPr>
          <p:spPr>
            <a:xfrm rot="5400000">
              <a:off x="8301767" y="2891900"/>
              <a:ext cx="4251206" cy="2803430"/>
            </a:xfrm>
            <a:prstGeom prst="rect">
              <a:avLst/>
            </a:prstGeom>
            <a:solidFill>
              <a:srgbClr val="FFFFFF"/>
            </a:solid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lIns="685800" tIns="60947" rIns="121893" bIns="60947" anchor="t"/>
            <a:lstStyle/>
            <a:p>
              <a:pPr algn="ctr" defTabSz="914023">
                <a:lnSpc>
                  <a:spcPct val="90000"/>
                </a:lnSpc>
              </a:pPr>
              <a:endParaRPr lang="en-US" sz="1800" dirty="0">
                <a:solidFill>
                  <a:schemeClr val="accent3"/>
                </a:solidFill>
              </a:endParaRPr>
            </a:p>
          </p:txBody>
        </p:sp>
        <p:sp>
          <p:nvSpPr>
            <p:cNvPr id="9" name="Pentagon 8"/>
            <p:cNvSpPr/>
            <p:nvPr/>
          </p:nvSpPr>
          <p:spPr>
            <a:xfrm rot="5400000">
              <a:off x="9267459" y="1926209"/>
              <a:ext cx="2319821" cy="2803430"/>
            </a:xfrm>
            <a:prstGeom prst="homePlate">
              <a:avLst>
                <a:gd name="adj" fmla="val 18562"/>
              </a:avLst>
            </a:prstGeom>
            <a:solidFill>
              <a:srgbClr val="ED5326">
                <a:alpha val="85098"/>
              </a:srgbClr>
            </a:solidFill>
            <a:ln w="889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lIns="914400" tIns="60947" rIns="121893" bIns="60947" anchor="t"/>
            <a:lstStyle/>
            <a:p>
              <a:pPr algn="ctr" defTabSz="914023">
                <a:lnSpc>
                  <a:spcPct val="90000"/>
                </a:lnSpc>
              </a:pPr>
              <a:r>
                <a:rPr lang="en-US" b="1" dirty="0">
                  <a:solidFill>
                    <a:schemeClr val="tx1"/>
                  </a:solidFill>
                </a:rPr>
                <a:t>Relentless on </a:t>
              </a:r>
              <a:r>
                <a:rPr lang="en-US" b="1" dirty="0" smtClean="0">
                  <a:solidFill>
                    <a:schemeClr val="tx1"/>
                  </a:solidFill>
                </a:rPr>
                <a:t>Security</a:t>
              </a:r>
              <a:endParaRPr lang="en-US" b="1" dirty="0">
                <a:solidFill>
                  <a:schemeClr val="tx1"/>
                </a:solidFill>
              </a:endParaRPr>
            </a:p>
          </p:txBody>
        </p:sp>
        <p:sp>
          <p:nvSpPr>
            <p:cNvPr id="29" name="TextBox 28"/>
            <p:cNvSpPr txBox="1"/>
            <p:nvPr/>
          </p:nvSpPr>
          <p:spPr>
            <a:xfrm>
              <a:off x="9164720" y="4808368"/>
              <a:ext cx="2462983" cy="820737"/>
            </a:xfrm>
            <a:prstGeom prst="rect">
              <a:avLst/>
            </a:prstGeom>
            <a:noFill/>
          </p:spPr>
          <p:txBody>
            <a:bodyPr wrap="square" lIns="91440" tIns="91440" rIns="91440" bIns="91440" rtlCol="0" anchor="ctr">
              <a:spAutoFit/>
            </a:bodyPr>
            <a:lstStyle/>
            <a:p>
              <a:pPr algn="ctr"/>
              <a:r>
                <a:rPr lang="en-US" spc="-75" dirty="0">
                  <a:solidFill>
                    <a:schemeClr val="accent3"/>
                  </a:solidFill>
                </a:rPr>
                <a:t>Excellence in Cutting edge security practices </a:t>
              </a:r>
            </a:p>
          </p:txBody>
        </p:sp>
      </p:grpSp>
      <p:sp>
        <p:nvSpPr>
          <p:cNvPr id="20" name="Rectangle 19"/>
          <p:cNvSpPr/>
          <p:nvPr/>
        </p:nvSpPr>
        <p:spPr bwMode="auto">
          <a:xfrm>
            <a:off x="338973" y="1066607"/>
            <a:ext cx="8501961" cy="445770"/>
          </a:xfrm>
          <a:prstGeom prst="rect">
            <a:avLst/>
          </a:prstGeom>
          <a:solidFill>
            <a:schemeClr val="accent3"/>
          </a:solidFill>
          <a:ln w="76200" cap="flat" cmpd="sng" algn="ctr">
            <a:solidFill>
              <a:schemeClr val="bg2"/>
            </a:solidFill>
            <a:prstDash val="solid"/>
          </a:ln>
          <a:effectLst/>
        </p:spPr>
        <p:txBody>
          <a:bodyPr lIns="96021" tIns="24004" rIns="48008" bIns="24004" rtlCol="0" anchor="ctr"/>
          <a:lstStyle/>
          <a:p>
            <a:pPr algn="ctr"/>
            <a:r>
              <a:rPr lang="en-US" sz="2100" b="1" dirty="0">
                <a:latin typeface="Segoe UI" pitchFamily="34" charset="0"/>
                <a:cs typeface="Segoe UI" pitchFamily="34" charset="0"/>
              </a:rPr>
              <a:t>Cohesive Process Combining 4 Pillars</a:t>
            </a:r>
          </a:p>
        </p:txBody>
      </p:sp>
      <p:sp>
        <p:nvSpPr>
          <p:cNvPr id="25" name="Rectangle 24"/>
          <p:cNvSpPr/>
          <p:nvPr/>
        </p:nvSpPr>
        <p:spPr bwMode="auto">
          <a:xfrm>
            <a:off x="2399735" y="1670947"/>
            <a:ext cx="4344531" cy="1801609"/>
          </a:xfrm>
          <a:prstGeom prst="rect">
            <a:avLst/>
          </a:prstGeom>
          <a:solidFill>
            <a:schemeClr val="accent6"/>
          </a:solidFill>
          <a:ln w="76200">
            <a:solidFill>
              <a:srgbClr val="FFFFFF"/>
            </a:solidFill>
            <a:headEnd type="none" w="med" len="med"/>
            <a:tailEnd type="none" w="med" len="med"/>
          </a:ln>
          <a:effectLst>
            <a:outerShdw blurRad="63500" sx="102000" sy="102000" algn="ctr"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57128" tIns="28564" rIns="57128" bIns="28564" numCol="1" rtlCol="0" anchor="ctr" anchorCtr="0" compatLnSpc="1">
            <a:prstTxWarp prst="textNoShape">
              <a:avLst/>
            </a:prstTxWarp>
          </a:bodyPr>
          <a:lstStyle/>
          <a:p>
            <a:pPr fontAlgn="b"/>
            <a:r>
              <a:rPr lang="en-US" sz="2100" dirty="0"/>
              <a:t>OSP323</a:t>
            </a:r>
            <a:endParaRPr lang="en-US" sz="2100" b="1" dirty="0"/>
          </a:p>
          <a:p>
            <a:pPr fontAlgn="b"/>
            <a:endParaRPr lang="en-US" sz="400" b="1" dirty="0"/>
          </a:p>
          <a:p>
            <a:pPr fontAlgn="b"/>
            <a:r>
              <a:rPr lang="en-US" sz="1800" dirty="0"/>
              <a:t>Microsoft Office 365 </a:t>
            </a:r>
          </a:p>
          <a:p>
            <a:pPr fontAlgn="b"/>
            <a:r>
              <a:rPr lang="en-US" sz="1800" dirty="0"/>
              <a:t>Security, Privacy, &amp; Trust</a:t>
            </a:r>
          </a:p>
          <a:p>
            <a:pPr fontAlgn="b"/>
            <a:endParaRPr lang="en-US" sz="800" dirty="0"/>
          </a:p>
          <a:p>
            <a:pPr fontAlgn="b"/>
            <a:r>
              <a:rPr lang="de-DE" sz="1800" dirty="0" err="1"/>
              <a:t>Friday</a:t>
            </a:r>
            <a:r>
              <a:rPr lang="de-DE" sz="1800" dirty="0"/>
              <a:t> (June 29th) - 8:30 AM</a:t>
            </a:r>
            <a:endParaRPr lang="en-US" sz="1800" dirty="0"/>
          </a:p>
        </p:txBody>
      </p:sp>
      <p:sp>
        <p:nvSpPr>
          <p:cNvPr id="33" name="Right Triangle 32"/>
          <p:cNvSpPr/>
          <p:nvPr/>
        </p:nvSpPr>
        <p:spPr bwMode="auto">
          <a:xfrm>
            <a:off x="0" y="4772026"/>
            <a:ext cx="400154" cy="371475"/>
          </a:xfrm>
          <a:prstGeom prst="rtTriangle">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34"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5"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pic>
        <p:nvPicPr>
          <p:cNvPr id="36"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79735096"/>
      </p:ext>
    </p:extLst>
  </p:cSld>
  <p:clrMapOvr>
    <a:masterClrMapping/>
  </p:clrMapOvr>
  <mc:AlternateContent xmlns:mc="http://schemas.openxmlformats.org/markup-compatibility/2006" xmlns:p14="http://schemas.microsoft.com/office/powerpoint/2010/main">
    <mc:Choice Requires="p14">
      <p:transition spd="slow" p14:dur="2000">
        <p14:prism dir="u" isContent="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Lst>
  </p:timing>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p:cNvSpPr/>
          <p:nvPr/>
        </p:nvSpPr>
        <p:spPr bwMode="auto">
          <a:xfrm>
            <a:off x="0" y="1000126"/>
            <a:ext cx="9144000" cy="47625"/>
          </a:xfrm>
          <a:prstGeom prst="rect">
            <a:avLst/>
          </a:prstGeom>
          <a:solidFill>
            <a:schemeClr val="accent5"/>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57134" tIns="28567" rIns="57134" bIns="28567" anchor="ctr"/>
          <a:lstStyle/>
          <a:p>
            <a:pPr algn="ctr" defTabSz="570369">
              <a:defRPr/>
            </a:pPr>
            <a:endParaRPr lang="en-US" dirty="0">
              <a:solidFill>
                <a:schemeClr val="tx1"/>
              </a:solidFill>
              <a:ea typeface="ＭＳ Ｐゴシック" pitchFamily="-65" charset="-128"/>
            </a:endParaRPr>
          </a:p>
        </p:txBody>
      </p:sp>
      <p:grpSp>
        <p:nvGrpSpPr>
          <p:cNvPr id="26" name="Group 29"/>
          <p:cNvGrpSpPr>
            <a:grpSpLocks/>
          </p:cNvGrpSpPr>
          <p:nvPr/>
        </p:nvGrpSpPr>
        <p:grpSpPr bwMode="auto">
          <a:xfrm>
            <a:off x="0" y="1114228"/>
            <a:ext cx="9144000" cy="1302743"/>
            <a:chOff x="0" y="2574925"/>
            <a:chExt cx="15206454" cy="2084388"/>
          </a:xfrm>
          <a:solidFill>
            <a:schemeClr val="accent5"/>
          </a:solidFill>
        </p:grpSpPr>
        <p:sp>
          <p:nvSpPr>
            <p:cNvPr id="27" name="Freeform 6"/>
            <p:cNvSpPr>
              <a:spLocks/>
            </p:cNvSpPr>
            <p:nvPr/>
          </p:nvSpPr>
          <p:spPr bwMode="auto">
            <a:xfrm>
              <a:off x="0" y="2574925"/>
              <a:ext cx="4983018" cy="2084388"/>
            </a:xfrm>
            <a:prstGeom prst="rect">
              <a:avLst/>
            </a:prstGeom>
            <a:grpFill/>
            <a:ln w="12700" cap="rnd">
              <a:noFill/>
              <a:prstDash val="solid"/>
              <a:headEnd type="oval"/>
            </a:ln>
            <a:effectLst/>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solidFill>
                  <a:srgbClr val="FFFFFF"/>
                </a:solidFill>
                <a:ea typeface="ＭＳ Ｐゴシック" pitchFamily="-65" charset="-128"/>
              </a:endParaRPr>
            </a:p>
          </p:txBody>
        </p:sp>
        <p:sp>
          <p:nvSpPr>
            <p:cNvPr id="28" name="Freeform 6"/>
            <p:cNvSpPr>
              <a:spLocks/>
            </p:cNvSpPr>
            <p:nvPr/>
          </p:nvSpPr>
          <p:spPr bwMode="auto">
            <a:xfrm>
              <a:off x="5111718" y="2574925"/>
              <a:ext cx="4983018" cy="2084388"/>
            </a:xfrm>
            <a:prstGeom prst="rect">
              <a:avLst/>
            </a:prstGeom>
            <a:grpFill/>
            <a:ln w="12700" cap="rnd">
              <a:noFill/>
              <a:prstDash val="solid"/>
              <a:headEnd type="oval"/>
            </a:ln>
            <a:effectLst/>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solidFill>
                  <a:srgbClr val="FFFFFF"/>
                </a:solidFill>
                <a:ea typeface="ＭＳ Ｐゴシック" pitchFamily="-65" charset="-128"/>
              </a:endParaRPr>
            </a:p>
          </p:txBody>
        </p:sp>
        <p:sp>
          <p:nvSpPr>
            <p:cNvPr id="34" name="Freeform 6"/>
            <p:cNvSpPr>
              <a:spLocks/>
            </p:cNvSpPr>
            <p:nvPr/>
          </p:nvSpPr>
          <p:spPr bwMode="auto">
            <a:xfrm>
              <a:off x="10223436" y="2574925"/>
              <a:ext cx="4983018" cy="2084388"/>
            </a:xfrm>
            <a:prstGeom prst="rect">
              <a:avLst/>
            </a:prstGeom>
            <a:grpFill/>
            <a:ln w="12700" cap="rnd">
              <a:noFill/>
              <a:prstDash val="solid"/>
              <a:headEnd type="oval"/>
            </a:ln>
            <a:effectLst/>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solidFill>
                  <a:srgbClr val="FFFFFF"/>
                </a:solidFill>
                <a:ea typeface="ＭＳ Ｐゴシック" pitchFamily="-65" charset="-128"/>
              </a:endParaRPr>
            </a:p>
          </p:txBody>
        </p:sp>
      </p:grpSp>
      <p:sp>
        <p:nvSpPr>
          <p:cNvPr id="37" name="Rectangle 29"/>
          <p:cNvSpPr>
            <a:spLocks noChangeArrowheads="1"/>
          </p:cNvSpPr>
          <p:nvPr/>
        </p:nvSpPr>
        <p:spPr bwMode="auto">
          <a:xfrm>
            <a:off x="65581" y="2588618"/>
            <a:ext cx="2568774" cy="1244580"/>
          </a:xfrm>
          <a:prstGeom prst="rect">
            <a:avLst/>
          </a:prstGeom>
          <a:noFill/>
          <a:ln w="9525">
            <a:noFill/>
            <a:miter lim="800000"/>
            <a:headEnd/>
            <a:tailEnd/>
          </a:ln>
        </p:spPr>
        <p:txBody>
          <a:bodyPr lIns="68574" tIns="34288" rIns="68574" bIns="34288">
            <a:spAutoFit/>
          </a:bodyPr>
          <a:lstStyle/>
          <a:p>
            <a:pPr defTabSz="685720" fontAlgn="base">
              <a:lnSpc>
                <a:spcPct val="90000"/>
              </a:lnSpc>
              <a:spcAft>
                <a:spcPts val="375"/>
              </a:spcAft>
              <a:buClr>
                <a:srgbClr val="F69F1E"/>
              </a:buClr>
              <a:buSzPct val="90000"/>
              <a:defRPr/>
            </a:pPr>
            <a:r>
              <a:rPr lang="en-US" sz="1800" b="1" dirty="0">
                <a:solidFill>
                  <a:srgbClr val="94C949"/>
                </a:solidFill>
              </a:rPr>
              <a:t>Federated identity and single sign-on</a:t>
            </a:r>
          </a:p>
          <a:p>
            <a:pPr marL="2976" indent="-2976">
              <a:lnSpc>
                <a:spcPts val="1625"/>
              </a:lnSpc>
              <a:spcAft>
                <a:spcPts val="375"/>
              </a:spcAft>
              <a:defRPr/>
            </a:pPr>
            <a:r>
              <a:rPr lang="en-US" sz="1100" dirty="0"/>
              <a:t>Different identity options for your organization, including full support for single sign on with the cloud</a:t>
            </a:r>
          </a:p>
        </p:txBody>
      </p:sp>
      <p:sp>
        <p:nvSpPr>
          <p:cNvPr id="38" name="Rectangle 29"/>
          <p:cNvSpPr>
            <a:spLocks noChangeArrowheads="1"/>
          </p:cNvSpPr>
          <p:nvPr/>
        </p:nvSpPr>
        <p:spPr bwMode="auto">
          <a:xfrm>
            <a:off x="3073797" y="2588618"/>
            <a:ext cx="2996406" cy="1036190"/>
          </a:xfrm>
          <a:prstGeom prst="rect">
            <a:avLst/>
          </a:prstGeom>
          <a:noFill/>
          <a:ln w="9525">
            <a:noFill/>
            <a:miter lim="800000"/>
            <a:headEnd/>
            <a:tailEnd/>
          </a:ln>
        </p:spPr>
        <p:txBody>
          <a:bodyPr wrap="square" lIns="68574" tIns="34288" rIns="68574" bIns="34288">
            <a:spAutoFit/>
          </a:bodyPr>
          <a:lstStyle/>
          <a:p>
            <a:pPr defTabSz="685720" fontAlgn="base">
              <a:lnSpc>
                <a:spcPct val="90000"/>
              </a:lnSpc>
              <a:spcAft>
                <a:spcPts val="375"/>
              </a:spcAft>
              <a:buClr>
                <a:srgbClr val="F69F1E"/>
              </a:buClr>
              <a:buSzPct val="90000"/>
              <a:defRPr/>
            </a:pPr>
            <a:r>
              <a:rPr lang="en-US" sz="1800" b="1" dirty="0">
                <a:solidFill>
                  <a:srgbClr val="94C949"/>
                </a:solidFill>
              </a:rPr>
              <a:t>Role-based </a:t>
            </a:r>
            <a:br>
              <a:rPr lang="en-US" sz="1800" b="1" dirty="0">
                <a:solidFill>
                  <a:srgbClr val="94C949"/>
                </a:solidFill>
              </a:rPr>
            </a:br>
            <a:r>
              <a:rPr lang="en-US" sz="1800" b="1" dirty="0">
                <a:solidFill>
                  <a:srgbClr val="94C949"/>
                </a:solidFill>
              </a:rPr>
              <a:t>access</a:t>
            </a:r>
          </a:p>
          <a:p>
            <a:pPr marL="2976" indent="-2976">
              <a:lnSpc>
                <a:spcPts val="1625"/>
              </a:lnSpc>
              <a:spcAft>
                <a:spcPts val="375"/>
              </a:spcAft>
              <a:defRPr/>
            </a:pPr>
            <a:r>
              <a:rPr lang="en-US" sz="1100" dirty="0"/>
              <a:t>More granular role based access for administrators, partners and end users</a:t>
            </a:r>
          </a:p>
        </p:txBody>
      </p:sp>
      <p:sp>
        <p:nvSpPr>
          <p:cNvPr id="39" name="Rectangle 29"/>
          <p:cNvSpPr>
            <a:spLocks noChangeArrowheads="1"/>
          </p:cNvSpPr>
          <p:nvPr/>
        </p:nvSpPr>
        <p:spPr bwMode="auto">
          <a:xfrm>
            <a:off x="6230254" y="2599201"/>
            <a:ext cx="2568774" cy="1244580"/>
          </a:xfrm>
          <a:prstGeom prst="rect">
            <a:avLst/>
          </a:prstGeom>
          <a:noFill/>
          <a:ln w="9525">
            <a:noFill/>
            <a:miter lim="800000"/>
            <a:headEnd/>
            <a:tailEnd/>
          </a:ln>
        </p:spPr>
        <p:txBody>
          <a:bodyPr lIns="68574" tIns="34288" rIns="68574" bIns="34288">
            <a:spAutoFit/>
          </a:bodyPr>
          <a:lstStyle/>
          <a:p>
            <a:pPr defTabSz="685720" fontAlgn="base">
              <a:lnSpc>
                <a:spcPct val="90000"/>
              </a:lnSpc>
              <a:spcAft>
                <a:spcPts val="375"/>
              </a:spcAft>
              <a:buClr>
                <a:srgbClr val="F69F1E"/>
              </a:buClr>
              <a:buSzPct val="90000"/>
              <a:defRPr/>
            </a:pPr>
            <a:r>
              <a:rPr lang="en-US" sz="1800" b="1" dirty="0">
                <a:solidFill>
                  <a:srgbClr val="94C949"/>
                </a:solidFill>
              </a:rPr>
              <a:t>Simplified </a:t>
            </a:r>
            <a:br>
              <a:rPr lang="en-US" sz="1800" b="1" dirty="0">
                <a:solidFill>
                  <a:srgbClr val="94C949"/>
                </a:solidFill>
              </a:rPr>
            </a:br>
            <a:r>
              <a:rPr lang="en-US" sz="1800" b="1" dirty="0">
                <a:solidFill>
                  <a:srgbClr val="94C949"/>
                </a:solidFill>
              </a:rPr>
              <a:t>management</a:t>
            </a:r>
          </a:p>
          <a:p>
            <a:pPr marL="2976" indent="-2976">
              <a:lnSpc>
                <a:spcPts val="1625"/>
              </a:lnSpc>
              <a:spcAft>
                <a:spcPts val="375"/>
              </a:spcAft>
              <a:defRPr/>
            </a:pPr>
            <a:r>
              <a:rPr lang="en-US" sz="1100" dirty="0"/>
              <a:t>Remote </a:t>
            </a:r>
            <a:r>
              <a:rPr lang="en-US" sz="1100" dirty="0" err="1"/>
              <a:t>PowerShell</a:t>
            </a:r>
            <a:r>
              <a:rPr lang="en-US" sz="1100" dirty="0"/>
              <a:t> and fall through experience to specific services to gain similar server configuration control</a:t>
            </a:r>
          </a:p>
        </p:txBody>
      </p:sp>
      <p:pic>
        <p:nvPicPr>
          <p:cNvPr id="3074" name="Picture 2" descr="\\MAGNUM\Projects\Microsoft\Cloud Power FY12\Design\Icons\PNGs\Gears.png"/>
          <p:cNvPicPr>
            <a:picLocks noChangeAspect="1" noChangeArrowheads="1"/>
          </p:cNvPicPr>
          <p:nvPr/>
        </p:nvPicPr>
        <p:blipFill>
          <a:blip r:embed="rId3" cstate="screen">
            <a:lum bright="100000"/>
          </a:blip>
          <a:srcRect/>
          <a:stretch>
            <a:fillRect/>
          </a:stretch>
        </p:blipFill>
        <p:spPr bwMode="auto">
          <a:xfrm>
            <a:off x="6845395" y="947249"/>
            <a:ext cx="1600805" cy="1600805"/>
          </a:xfrm>
          <a:prstGeom prst="rect">
            <a:avLst/>
          </a:prstGeom>
          <a:noFill/>
        </p:spPr>
      </p:pic>
      <p:grpSp>
        <p:nvGrpSpPr>
          <p:cNvPr id="42" name="Group 41"/>
          <p:cNvGrpSpPr/>
          <p:nvPr/>
        </p:nvGrpSpPr>
        <p:grpSpPr>
          <a:xfrm>
            <a:off x="3743806" y="1244033"/>
            <a:ext cx="1655195" cy="1128977"/>
            <a:chOff x="6070967" y="1963063"/>
            <a:chExt cx="2648312" cy="1806364"/>
          </a:xfrm>
        </p:grpSpPr>
        <p:pic>
          <p:nvPicPr>
            <p:cNvPr id="3075" name="Picture 3" descr="\\MAGNUM\Projects\Microsoft\Cloud Power FY12\Design\Icons\PNGs\IT_guy.png"/>
            <p:cNvPicPr>
              <a:picLocks noChangeAspect="1" noChangeArrowheads="1"/>
            </p:cNvPicPr>
            <p:nvPr/>
          </p:nvPicPr>
          <p:blipFill>
            <a:blip r:embed="rId4" cstate="screen">
              <a:lum bright="100000"/>
            </a:blip>
            <a:srcRect/>
            <a:stretch>
              <a:fillRect/>
            </a:stretch>
          </p:blipFill>
          <p:spPr bwMode="auto">
            <a:xfrm>
              <a:off x="6499434" y="1963063"/>
              <a:ext cx="1806366" cy="1806364"/>
            </a:xfrm>
            <a:prstGeom prst="rect">
              <a:avLst/>
            </a:prstGeom>
            <a:noFill/>
          </p:spPr>
        </p:pic>
        <p:pic>
          <p:nvPicPr>
            <p:cNvPr id="40" name="Picture 3" descr="\\MAGNUM\Projects\Microsoft\Cloud Power FY12\Design\Icons\PNGs\IT_guy.png"/>
            <p:cNvPicPr>
              <a:picLocks noChangeAspect="1" noChangeArrowheads="1"/>
            </p:cNvPicPr>
            <p:nvPr/>
          </p:nvPicPr>
          <p:blipFill>
            <a:blip r:embed="rId5" cstate="screen">
              <a:lum bright="100000"/>
            </a:blip>
            <a:srcRect/>
            <a:stretch>
              <a:fillRect/>
            </a:stretch>
          </p:blipFill>
          <p:spPr bwMode="auto">
            <a:xfrm>
              <a:off x="7405091" y="2209152"/>
              <a:ext cx="1314188" cy="1314186"/>
            </a:xfrm>
            <a:prstGeom prst="rect">
              <a:avLst/>
            </a:prstGeom>
            <a:noFill/>
          </p:spPr>
        </p:pic>
        <p:pic>
          <p:nvPicPr>
            <p:cNvPr id="41" name="Picture 3" descr="\\MAGNUM\Projects\Microsoft\Cloud Power FY12\Design\Icons\PNGs\IT_guy.png"/>
            <p:cNvPicPr>
              <a:picLocks noChangeAspect="1" noChangeArrowheads="1"/>
            </p:cNvPicPr>
            <p:nvPr/>
          </p:nvPicPr>
          <p:blipFill>
            <a:blip r:embed="rId5" cstate="screen">
              <a:lum bright="100000"/>
            </a:blip>
            <a:srcRect/>
            <a:stretch>
              <a:fillRect/>
            </a:stretch>
          </p:blipFill>
          <p:spPr bwMode="auto">
            <a:xfrm>
              <a:off x="6070967" y="2209152"/>
              <a:ext cx="1314188" cy="1314186"/>
            </a:xfrm>
            <a:prstGeom prst="rect">
              <a:avLst/>
            </a:prstGeom>
            <a:noFill/>
          </p:spPr>
        </p:pic>
      </p:grpSp>
      <p:grpSp>
        <p:nvGrpSpPr>
          <p:cNvPr id="18" name="Group 17"/>
          <p:cNvGrpSpPr/>
          <p:nvPr/>
        </p:nvGrpSpPr>
        <p:grpSpPr>
          <a:xfrm>
            <a:off x="499862" y="1200673"/>
            <a:ext cx="1700212" cy="1131067"/>
            <a:chOff x="1084853" y="1921074"/>
            <a:chExt cx="2720339" cy="1809707"/>
          </a:xfrm>
        </p:grpSpPr>
        <p:pic>
          <p:nvPicPr>
            <p:cNvPr id="35" name="Picture 4" descr="\\MAGNUM\Projects\Microsoft\Cloud Power FY12\Design\Icons\PNGs\Cloud.png"/>
            <p:cNvPicPr>
              <a:picLocks noChangeAspect="1" noChangeArrowheads="1"/>
            </p:cNvPicPr>
            <p:nvPr/>
          </p:nvPicPr>
          <p:blipFill>
            <a:blip r:embed="rId6" cstate="screen">
              <a:lum bright="100000" contrast="100000"/>
            </a:blip>
            <a:srcRect t="16859" b="16555"/>
            <a:stretch>
              <a:fillRect/>
            </a:stretch>
          </p:blipFill>
          <p:spPr bwMode="auto">
            <a:xfrm>
              <a:off x="1084853" y="1921074"/>
              <a:ext cx="2720339" cy="1809707"/>
            </a:xfrm>
            <a:prstGeom prst="rect">
              <a:avLst/>
            </a:prstGeom>
            <a:noFill/>
          </p:spPr>
        </p:pic>
        <p:sp>
          <p:nvSpPr>
            <p:cNvPr id="17" name="TextBox 16"/>
            <p:cNvSpPr txBox="1"/>
            <p:nvPr/>
          </p:nvSpPr>
          <p:spPr>
            <a:xfrm>
              <a:off x="1876095" y="2727434"/>
              <a:ext cx="1228580" cy="350866"/>
            </a:xfrm>
            <a:prstGeom prst="rect">
              <a:avLst/>
            </a:prstGeom>
            <a:noFill/>
          </p:spPr>
          <p:txBody>
            <a:bodyPr wrap="none" lIns="0" tIns="0" rIns="0" bIns="0" rtlCol="0">
              <a:spAutoFit/>
            </a:bodyPr>
            <a:lstStyle/>
            <a:p>
              <a:r>
                <a:rPr lang="en-US" b="1" dirty="0" smtClean="0">
                  <a:solidFill>
                    <a:srgbClr val="94C949"/>
                  </a:solidFill>
                </a:rPr>
                <a:t>ADFS 2.0</a:t>
              </a:r>
            </a:p>
          </p:txBody>
        </p:sp>
      </p:grpSp>
      <p:sp>
        <p:nvSpPr>
          <p:cNvPr id="19" name="Title 1"/>
          <p:cNvSpPr txBox="1">
            <a:spLocks/>
          </p:cNvSpPr>
          <p:nvPr/>
        </p:nvSpPr>
        <p:spPr>
          <a:xfrm>
            <a:off x="389436" y="171451"/>
            <a:ext cx="8363938" cy="457049"/>
          </a:xfrm>
          <a:prstGeom prst="rect">
            <a:avLst/>
          </a:prstGeom>
        </p:spPr>
        <p:txBody>
          <a:bodyPr lIns="68586" tIns="34294" rIns="68586" bIns="34294"/>
          <a:lst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dirty="0"/>
              <a:t>Office 365 </a:t>
            </a:r>
            <a:r>
              <a:rPr lang="en-US" dirty="0" smtClean="0"/>
              <a:t>Keeps You Efficient &amp; in Control</a:t>
            </a:r>
            <a:endParaRPr lang="en-US" dirty="0"/>
          </a:p>
        </p:txBody>
      </p:sp>
      <p:sp>
        <p:nvSpPr>
          <p:cNvPr id="20" name="Right Triangle 19"/>
          <p:cNvSpPr/>
          <p:nvPr/>
        </p:nvSpPr>
        <p:spPr bwMode="auto">
          <a:xfrm>
            <a:off x="0" y="4772026"/>
            <a:ext cx="400154" cy="371475"/>
          </a:xfrm>
          <a:prstGeom prst="rtTriangle">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21"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3"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7"/>
              </a:rPr>
              <a:t>www.rapidbbs.cn</a:t>
            </a:r>
            <a:endParaRPr lang="zh-CN" altLang="en-US" sz="1200" b="0">
              <a:latin typeface="Arial" charset="0"/>
              <a:ea typeface="ＭＳ Ｐゴシック" pitchFamily="34" charset="-128"/>
            </a:endParaRPr>
          </a:p>
        </p:txBody>
      </p:sp>
      <p:pic>
        <p:nvPicPr>
          <p:cNvPr id="24" name="Picture 2">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32527580"/>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par>
    </p:tnLst>
  </p:timing>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0" y="1000126"/>
            <a:ext cx="9144000" cy="47625"/>
          </a:xfrm>
          <a:prstGeom prst="rect">
            <a:avLst/>
          </a:prstGeom>
          <a:solidFill>
            <a:schemeClr val="accent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57134" tIns="28567" rIns="57134" bIns="28567" anchor="ctr"/>
          <a:lstStyle/>
          <a:p>
            <a:pPr algn="ctr" defTabSz="570369">
              <a:defRPr/>
            </a:pPr>
            <a:endParaRPr lang="en-US" dirty="0">
              <a:solidFill>
                <a:schemeClr val="tx1"/>
              </a:solidFill>
              <a:ea typeface="ＭＳ Ｐゴシック" pitchFamily="-65" charset="-128"/>
            </a:endParaRPr>
          </a:p>
        </p:txBody>
      </p:sp>
      <p:grpSp>
        <p:nvGrpSpPr>
          <p:cNvPr id="5" name="Group 29"/>
          <p:cNvGrpSpPr>
            <a:grpSpLocks/>
          </p:cNvGrpSpPr>
          <p:nvPr/>
        </p:nvGrpSpPr>
        <p:grpSpPr bwMode="auto">
          <a:xfrm>
            <a:off x="0" y="1114228"/>
            <a:ext cx="9144000" cy="1302743"/>
            <a:chOff x="0" y="2574925"/>
            <a:chExt cx="15206454" cy="2084388"/>
          </a:xfrm>
          <a:solidFill>
            <a:schemeClr val="accent1"/>
          </a:solidFill>
        </p:grpSpPr>
        <p:sp>
          <p:nvSpPr>
            <p:cNvPr id="6" name="Freeform 6"/>
            <p:cNvSpPr>
              <a:spLocks/>
            </p:cNvSpPr>
            <p:nvPr/>
          </p:nvSpPr>
          <p:spPr bwMode="auto">
            <a:xfrm>
              <a:off x="0" y="2574925"/>
              <a:ext cx="4983018" cy="2084388"/>
            </a:xfrm>
            <a:prstGeom prst="rect">
              <a:avLst/>
            </a:prstGeom>
            <a:grpFill/>
            <a:ln w="12700" cap="rnd">
              <a:noFill/>
              <a:prstDash val="solid"/>
              <a:headEnd type="oval"/>
            </a:ln>
            <a:effectLst/>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solidFill>
                  <a:srgbClr val="FFFFFF"/>
                </a:solidFill>
                <a:ea typeface="ＭＳ Ｐゴシック" pitchFamily="-65" charset="-128"/>
              </a:endParaRPr>
            </a:p>
          </p:txBody>
        </p:sp>
        <p:sp>
          <p:nvSpPr>
            <p:cNvPr id="7" name="Freeform 6"/>
            <p:cNvSpPr>
              <a:spLocks/>
            </p:cNvSpPr>
            <p:nvPr/>
          </p:nvSpPr>
          <p:spPr bwMode="auto">
            <a:xfrm>
              <a:off x="5111718" y="2574925"/>
              <a:ext cx="4983018" cy="2084388"/>
            </a:xfrm>
            <a:prstGeom prst="rect">
              <a:avLst/>
            </a:prstGeom>
            <a:grpFill/>
            <a:ln w="12700" cap="rnd">
              <a:noFill/>
              <a:prstDash val="solid"/>
              <a:headEnd type="oval"/>
            </a:ln>
            <a:effectLst/>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solidFill>
                  <a:srgbClr val="FFFFFF"/>
                </a:solidFill>
                <a:ea typeface="ＭＳ Ｐゴシック" pitchFamily="-65" charset="-128"/>
              </a:endParaRPr>
            </a:p>
          </p:txBody>
        </p:sp>
        <p:sp>
          <p:nvSpPr>
            <p:cNvPr id="8" name="Freeform 6"/>
            <p:cNvSpPr>
              <a:spLocks/>
            </p:cNvSpPr>
            <p:nvPr/>
          </p:nvSpPr>
          <p:spPr bwMode="auto">
            <a:xfrm>
              <a:off x="10223436" y="2574925"/>
              <a:ext cx="4983018" cy="2084388"/>
            </a:xfrm>
            <a:prstGeom prst="rect">
              <a:avLst/>
            </a:prstGeom>
            <a:grpFill/>
            <a:ln w="12700" cap="rnd">
              <a:noFill/>
              <a:prstDash val="solid"/>
              <a:headEnd type="oval"/>
            </a:ln>
            <a:effectLst/>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solidFill>
                  <a:srgbClr val="FFFFFF"/>
                </a:solidFill>
                <a:ea typeface="ＭＳ Ｐゴシック" pitchFamily="-65" charset="-128"/>
              </a:endParaRPr>
            </a:p>
          </p:txBody>
        </p:sp>
      </p:grpSp>
      <p:pic>
        <p:nvPicPr>
          <p:cNvPr id="10" name="Picture 9"/>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6465075" y="1634477"/>
            <a:ext cx="2407969" cy="279893"/>
          </a:xfrm>
          <a:prstGeom prst="rect">
            <a:avLst/>
          </a:prstGeom>
        </p:spPr>
      </p:pic>
      <p:pic>
        <p:nvPicPr>
          <p:cNvPr id="11" name="Picture 2" descr="\\MAGNUM\Projects\Microsoft\Cloud Power FY12\Design\Icons\PNGs\Storefront.png"/>
          <p:cNvPicPr>
            <a:picLocks noChangeAspect="1" noChangeArrowheads="1"/>
          </p:cNvPicPr>
          <p:nvPr/>
        </p:nvPicPr>
        <p:blipFill>
          <a:blip r:embed="rId3" cstate="screen">
            <a:lum bright="100000"/>
          </a:blip>
          <a:srcRect/>
          <a:stretch>
            <a:fillRect/>
          </a:stretch>
        </p:blipFill>
        <p:spPr bwMode="auto">
          <a:xfrm>
            <a:off x="3712132" y="904876"/>
            <a:ext cx="1716290" cy="1716290"/>
          </a:xfrm>
          <a:prstGeom prst="rect">
            <a:avLst/>
          </a:prstGeom>
          <a:noFill/>
        </p:spPr>
      </p:pic>
      <p:pic>
        <p:nvPicPr>
          <p:cNvPr id="12" name="Picture 3" descr="\\MAGNUM\Projects\Microsoft\Cloud Power FY12\Design\Icons\PNGs\Open_Web_Platform.png"/>
          <p:cNvPicPr>
            <a:picLocks noChangeAspect="1" noChangeArrowheads="1"/>
          </p:cNvPicPr>
          <p:nvPr/>
        </p:nvPicPr>
        <p:blipFill>
          <a:blip r:embed="rId4" cstate="screen">
            <a:lum bright="100000"/>
          </a:blip>
          <a:srcRect/>
          <a:stretch>
            <a:fillRect/>
          </a:stretch>
        </p:blipFill>
        <p:spPr bwMode="auto">
          <a:xfrm>
            <a:off x="889195" y="1158469"/>
            <a:ext cx="1211851" cy="1211851"/>
          </a:xfrm>
          <a:prstGeom prst="rect">
            <a:avLst/>
          </a:prstGeom>
          <a:noFill/>
        </p:spPr>
      </p:pic>
      <p:sp>
        <p:nvSpPr>
          <p:cNvPr id="13" name="Rectangle 29"/>
          <p:cNvSpPr>
            <a:spLocks noChangeArrowheads="1"/>
          </p:cNvSpPr>
          <p:nvPr/>
        </p:nvSpPr>
        <p:spPr bwMode="auto">
          <a:xfrm>
            <a:off x="65581" y="2588619"/>
            <a:ext cx="2568774" cy="1039120"/>
          </a:xfrm>
          <a:prstGeom prst="rect">
            <a:avLst/>
          </a:prstGeom>
          <a:noFill/>
          <a:ln w="9525">
            <a:noFill/>
            <a:miter lim="800000"/>
            <a:headEnd/>
            <a:tailEnd/>
          </a:ln>
        </p:spPr>
        <p:txBody>
          <a:bodyPr lIns="68574" tIns="34288" rIns="68574" bIns="34288">
            <a:spAutoFit/>
          </a:bodyPr>
          <a:lstStyle/>
          <a:p>
            <a:pPr defTabSz="685720" fontAlgn="base">
              <a:lnSpc>
                <a:spcPct val="90000"/>
              </a:lnSpc>
              <a:spcAft>
                <a:spcPts val="375"/>
              </a:spcAft>
              <a:buClr>
                <a:srgbClr val="F69F1E"/>
              </a:buClr>
              <a:buSzPct val="90000"/>
              <a:defRPr/>
            </a:pPr>
            <a:r>
              <a:rPr lang="en-US" sz="1800" b="1" dirty="0">
                <a:solidFill>
                  <a:schemeClr val="accent1"/>
                </a:solidFill>
                <a:latin typeface="+mj-lt"/>
              </a:rPr>
              <a:t>Platform </a:t>
            </a:r>
            <a:br>
              <a:rPr lang="en-US" sz="1800" b="1" dirty="0">
                <a:solidFill>
                  <a:schemeClr val="accent1"/>
                </a:solidFill>
                <a:latin typeface="+mj-lt"/>
              </a:rPr>
            </a:br>
            <a:r>
              <a:rPr lang="en-US" sz="1800" b="1" dirty="0">
                <a:solidFill>
                  <a:schemeClr val="accent1"/>
                </a:solidFill>
                <a:latin typeface="+mj-lt"/>
              </a:rPr>
              <a:t>Web Services</a:t>
            </a:r>
          </a:p>
          <a:p>
            <a:pPr marL="2976" indent="-2976">
              <a:lnSpc>
                <a:spcPts val="1625"/>
              </a:lnSpc>
              <a:spcAft>
                <a:spcPts val="375"/>
              </a:spcAft>
              <a:defRPr/>
            </a:pPr>
            <a:r>
              <a:rPr lang="en-US" sz="1100" dirty="0"/>
              <a:t>New programmability layer allowing third parties to interact with platform</a:t>
            </a:r>
          </a:p>
        </p:txBody>
      </p:sp>
      <p:sp>
        <p:nvSpPr>
          <p:cNvPr id="14" name="Rectangle 29"/>
          <p:cNvSpPr>
            <a:spLocks noChangeArrowheads="1"/>
          </p:cNvSpPr>
          <p:nvPr/>
        </p:nvSpPr>
        <p:spPr bwMode="auto">
          <a:xfrm>
            <a:off x="3073797" y="2588619"/>
            <a:ext cx="2996406" cy="1087210"/>
          </a:xfrm>
          <a:prstGeom prst="rect">
            <a:avLst/>
          </a:prstGeom>
          <a:noFill/>
          <a:ln w="9525">
            <a:noFill/>
            <a:miter lim="800000"/>
            <a:headEnd/>
            <a:tailEnd/>
          </a:ln>
        </p:spPr>
        <p:txBody>
          <a:bodyPr wrap="square" lIns="68574" tIns="34288" rIns="68574" bIns="34288">
            <a:spAutoFit/>
          </a:bodyPr>
          <a:lstStyle/>
          <a:p>
            <a:pPr defTabSz="685720" fontAlgn="base">
              <a:lnSpc>
                <a:spcPct val="90000"/>
              </a:lnSpc>
              <a:spcAft>
                <a:spcPts val="375"/>
              </a:spcAft>
              <a:buClr>
                <a:srgbClr val="F69F1E"/>
              </a:buClr>
              <a:buSzPct val="90000"/>
              <a:defRPr/>
            </a:pPr>
            <a:r>
              <a:rPr lang="en-US" sz="1800" b="1" dirty="0">
                <a:solidFill>
                  <a:schemeClr val="accent1"/>
                </a:solidFill>
                <a:latin typeface="+mj-lt"/>
              </a:rPr>
              <a:t>Office 365</a:t>
            </a:r>
          </a:p>
          <a:p>
            <a:pPr defTabSz="685720" fontAlgn="base">
              <a:lnSpc>
                <a:spcPct val="90000"/>
              </a:lnSpc>
              <a:spcAft>
                <a:spcPts val="375"/>
              </a:spcAft>
              <a:buClr>
                <a:srgbClr val="F69F1E"/>
              </a:buClr>
              <a:buSzPct val="90000"/>
              <a:defRPr/>
            </a:pPr>
            <a:r>
              <a:rPr lang="en-US" sz="1800" b="1" dirty="0">
                <a:solidFill>
                  <a:schemeClr val="accent1"/>
                </a:solidFill>
                <a:latin typeface="+mj-lt"/>
              </a:rPr>
              <a:t>Marketplace</a:t>
            </a:r>
          </a:p>
          <a:p>
            <a:pPr marL="2976" indent="-2976">
              <a:lnSpc>
                <a:spcPts val="1625"/>
              </a:lnSpc>
              <a:spcAft>
                <a:spcPts val="375"/>
              </a:spcAft>
              <a:defRPr/>
            </a:pPr>
            <a:r>
              <a:rPr lang="en-US" sz="1100" spc="-30" dirty="0"/>
              <a:t>Helps you find partner applications and services to complement the Office 365 platform</a:t>
            </a:r>
          </a:p>
        </p:txBody>
      </p:sp>
      <p:sp>
        <p:nvSpPr>
          <p:cNvPr id="15" name="Rectangle 29"/>
          <p:cNvSpPr>
            <a:spLocks noChangeArrowheads="1"/>
          </p:cNvSpPr>
          <p:nvPr/>
        </p:nvSpPr>
        <p:spPr bwMode="auto">
          <a:xfrm>
            <a:off x="6230254" y="2599201"/>
            <a:ext cx="2568774" cy="1036190"/>
          </a:xfrm>
          <a:prstGeom prst="rect">
            <a:avLst/>
          </a:prstGeom>
          <a:noFill/>
          <a:ln w="9525">
            <a:noFill/>
            <a:miter lim="800000"/>
            <a:headEnd/>
            <a:tailEnd/>
          </a:ln>
        </p:spPr>
        <p:txBody>
          <a:bodyPr lIns="68574" tIns="34288" rIns="68574" bIns="34288">
            <a:spAutoFit/>
          </a:bodyPr>
          <a:lstStyle/>
          <a:p>
            <a:pPr defTabSz="685720" fontAlgn="base">
              <a:lnSpc>
                <a:spcPct val="90000"/>
              </a:lnSpc>
              <a:spcAft>
                <a:spcPts val="375"/>
              </a:spcAft>
              <a:buClr>
                <a:srgbClr val="F69F1E"/>
              </a:buClr>
              <a:buSzPct val="90000"/>
              <a:defRPr/>
            </a:pPr>
            <a:r>
              <a:rPr lang="en-US" sz="1800" b="1" dirty="0">
                <a:solidFill>
                  <a:schemeClr val="accent1"/>
                </a:solidFill>
                <a:latin typeface="+mj-lt"/>
              </a:rPr>
              <a:t>Microsoft® </a:t>
            </a:r>
            <a:br>
              <a:rPr lang="en-US" sz="1800" b="1" dirty="0">
                <a:solidFill>
                  <a:schemeClr val="accent1"/>
                </a:solidFill>
                <a:latin typeface="+mj-lt"/>
              </a:rPr>
            </a:br>
            <a:r>
              <a:rPr lang="en-US" sz="1800" b="1" dirty="0">
                <a:solidFill>
                  <a:schemeClr val="accent1"/>
                </a:solidFill>
                <a:latin typeface="+mj-lt"/>
              </a:rPr>
              <a:t>Azure</a:t>
            </a:r>
          </a:p>
          <a:p>
            <a:pPr marL="2976" indent="-2976">
              <a:lnSpc>
                <a:spcPts val="1625"/>
              </a:lnSpc>
              <a:spcAft>
                <a:spcPts val="375"/>
              </a:spcAft>
              <a:defRPr/>
            </a:pPr>
            <a:r>
              <a:rPr lang="en-US" sz="1100" dirty="0"/>
              <a:t>Connect your platform with applications developed for Azure</a:t>
            </a:r>
          </a:p>
        </p:txBody>
      </p:sp>
      <p:sp>
        <p:nvSpPr>
          <p:cNvPr id="16" name="Title 1"/>
          <p:cNvSpPr txBox="1">
            <a:spLocks/>
          </p:cNvSpPr>
          <p:nvPr/>
        </p:nvSpPr>
        <p:spPr>
          <a:xfrm>
            <a:off x="389436" y="171451"/>
            <a:ext cx="8363938" cy="457049"/>
          </a:xfrm>
          <a:prstGeom prst="rect">
            <a:avLst/>
          </a:prstGeom>
        </p:spPr>
        <p:txBody>
          <a:bodyPr lIns="68586" tIns="34294" rIns="68586" bIns="34294"/>
          <a:lst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pPr defTabSz="685757"/>
            <a:r>
              <a:rPr lang="en-US" dirty="0"/>
              <a:t>Office 365 is </a:t>
            </a:r>
            <a:r>
              <a:rPr lang="en-US" dirty="0" smtClean="0"/>
              <a:t>Extensible</a:t>
            </a:r>
            <a:endParaRPr lang="en-US" dirty="0"/>
          </a:p>
        </p:txBody>
      </p:sp>
      <p:sp>
        <p:nvSpPr>
          <p:cNvPr id="17"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8"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5"/>
              </a:rPr>
              <a:t>www.rapidbbs.cn</a:t>
            </a:r>
            <a:endParaRPr lang="zh-CN" altLang="en-US" sz="1200" b="0">
              <a:latin typeface="Arial" charset="0"/>
              <a:ea typeface="ＭＳ Ｐゴシック" pitchFamily="34" charset="-128"/>
            </a:endParaRPr>
          </a:p>
        </p:txBody>
      </p:sp>
      <p:pic>
        <p:nvPicPr>
          <p:cNvPr id="19" name="Picture 2">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78185249"/>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par>
    </p:tnLst>
  </p:timing>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29"/>
          <p:cNvGrpSpPr>
            <a:grpSpLocks/>
          </p:cNvGrpSpPr>
          <p:nvPr/>
        </p:nvGrpSpPr>
        <p:grpSpPr bwMode="auto">
          <a:xfrm>
            <a:off x="0" y="1114228"/>
            <a:ext cx="9144000" cy="1302743"/>
            <a:chOff x="0" y="2574925"/>
            <a:chExt cx="15206454" cy="2084388"/>
          </a:xfrm>
          <a:solidFill>
            <a:schemeClr val="accent4"/>
          </a:solidFill>
        </p:grpSpPr>
        <p:sp>
          <p:nvSpPr>
            <p:cNvPr id="5" name="Freeform 6"/>
            <p:cNvSpPr>
              <a:spLocks/>
            </p:cNvSpPr>
            <p:nvPr/>
          </p:nvSpPr>
          <p:spPr bwMode="auto">
            <a:xfrm>
              <a:off x="0" y="2574925"/>
              <a:ext cx="4983018" cy="2084388"/>
            </a:xfrm>
            <a:prstGeom prst="rect">
              <a:avLst/>
            </a:prstGeom>
            <a:grpFill/>
            <a:ln w="12700" cap="rnd">
              <a:noFill/>
              <a:prstDash val="solid"/>
              <a:headEnd type="oval"/>
            </a:ln>
            <a:effectLst/>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solidFill>
                  <a:srgbClr val="FFFFFF"/>
                </a:solidFill>
                <a:ea typeface="ＭＳ Ｐゴシック" pitchFamily="-65" charset="-128"/>
              </a:endParaRPr>
            </a:p>
          </p:txBody>
        </p:sp>
        <p:sp>
          <p:nvSpPr>
            <p:cNvPr id="6" name="Freeform 6"/>
            <p:cNvSpPr>
              <a:spLocks/>
            </p:cNvSpPr>
            <p:nvPr/>
          </p:nvSpPr>
          <p:spPr bwMode="auto">
            <a:xfrm>
              <a:off x="5111718" y="2574925"/>
              <a:ext cx="4983018" cy="2084388"/>
            </a:xfrm>
            <a:prstGeom prst="rect">
              <a:avLst/>
            </a:prstGeom>
            <a:grpFill/>
            <a:ln w="12700" cap="rnd">
              <a:noFill/>
              <a:prstDash val="solid"/>
              <a:headEnd type="oval"/>
            </a:ln>
            <a:effectLst/>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solidFill>
                  <a:srgbClr val="FFFFFF"/>
                </a:solidFill>
                <a:ea typeface="ＭＳ Ｐゴシック" pitchFamily="-65" charset="-128"/>
              </a:endParaRPr>
            </a:p>
          </p:txBody>
        </p:sp>
        <p:sp>
          <p:nvSpPr>
            <p:cNvPr id="7" name="Freeform 6"/>
            <p:cNvSpPr>
              <a:spLocks/>
            </p:cNvSpPr>
            <p:nvPr/>
          </p:nvSpPr>
          <p:spPr bwMode="auto">
            <a:xfrm>
              <a:off x="10223436" y="2574925"/>
              <a:ext cx="4983018" cy="2084388"/>
            </a:xfrm>
            <a:prstGeom prst="rect">
              <a:avLst/>
            </a:prstGeom>
            <a:grpFill/>
            <a:ln w="12700" cap="rnd">
              <a:noFill/>
              <a:prstDash val="solid"/>
              <a:headEnd type="oval"/>
            </a:ln>
            <a:effectLst/>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solidFill>
                  <a:srgbClr val="FFFFFF"/>
                </a:solidFill>
                <a:ea typeface="ＭＳ Ｐゴシック" pitchFamily="-65" charset="-128"/>
              </a:endParaRPr>
            </a:p>
          </p:txBody>
        </p:sp>
      </p:grpSp>
      <p:sp>
        <p:nvSpPr>
          <p:cNvPr id="9" name="Rectangle 29"/>
          <p:cNvSpPr>
            <a:spLocks noChangeArrowheads="1"/>
          </p:cNvSpPr>
          <p:nvPr/>
        </p:nvSpPr>
        <p:spPr bwMode="auto">
          <a:xfrm>
            <a:off x="65581" y="2588619"/>
            <a:ext cx="2568774" cy="1452971"/>
          </a:xfrm>
          <a:prstGeom prst="rect">
            <a:avLst/>
          </a:prstGeom>
          <a:noFill/>
          <a:ln w="9525">
            <a:noFill/>
            <a:miter lim="800000"/>
            <a:headEnd/>
            <a:tailEnd/>
          </a:ln>
        </p:spPr>
        <p:txBody>
          <a:bodyPr lIns="68574" tIns="34288" rIns="68574" bIns="34288">
            <a:spAutoFit/>
          </a:bodyPr>
          <a:lstStyle/>
          <a:p>
            <a:pPr defTabSz="685720" fontAlgn="base">
              <a:lnSpc>
                <a:spcPct val="90000"/>
              </a:lnSpc>
              <a:spcAft>
                <a:spcPts val="375"/>
              </a:spcAft>
              <a:buClr>
                <a:srgbClr val="F69F1E"/>
              </a:buClr>
              <a:buSzPct val="90000"/>
              <a:defRPr/>
            </a:pPr>
            <a:r>
              <a:rPr lang="en-US" sz="1800" b="1" dirty="0">
                <a:solidFill>
                  <a:schemeClr val="accent4"/>
                </a:solidFill>
                <a:latin typeface="+mj-lt"/>
              </a:rPr>
              <a:t>Workload migration flexibility</a:t>
            </a:r>
          </a:p>
          <a:p>
            <a:pPr marL="2976" indent="-2976">
              <a:lnSpc>
                <a:spcPts val="1625"/>
              </a:lnSpc>
              <a:spcAft>
                <a:spcPts val="375"/>
              </a:spcAft>
              <a:defRPr/>
            </a:pPr>
            <a:r>
              <a:rPr lang="en-US" sz="1100" dirty="0"/>
              <a:t>Move or extend on-premises workloads to the cloud at your pace, move back from cloud to on-premises at will</a:t>
            </a:r>
          </a:p>
        </p:txBody>
      </p:sp>
      <p:sp>
        <p:nvSpPr>
          <p:cNvPr id="10" name="Rectangle 29"/>
          <p:cNvSpPr>
            <a:spLocks noChangeArrowheads="1"/>
          </p:cNvSpPr>
          <p:nvPr/>
        </p:nvSpPr>
        <p:spPr bwMode="auto">
          <a:xfrm>
            <a:off x="3148083" y="2588619"/>
            <a:ext cx="2568773" cy="1292671"/>
          </a:xfrm>
          <a:prstGeom prst="rect">
            <a:avLst/>
          </a:prstGeom>
          <a:noFill/>
          <a:ln w="9525">
            <a:noFill/>
            <a:miter lim="800000"/>
            <a:headEnd/>
            <a:tailEnd/>
          </a:ln>
        </p:spPr>
        <p:txBody>
          <a:bodyPr lIns="68574" tIns="34288" rIns="68574" bIns="34288">
            <a:spAutoFit/>
          </a:bodyPr>
          <a:lstStyle/>
          <a:p>
            <a:pPr defTabSz="685720" fontAlgn="base">
              <a:lnSpc>
                <a:spcPct val="90000"/>
              </a:lnSpc>
              <a:spcAft>
                <a:spcPts val="375"/>
              </a:spcAft>
              <a:buClr>
                <a:srgbClr val="F69F1E"/>
              </a:buClr>
              <a:buSzPct val="90000"/>
              <a:defRPr/>
            </a:pPr>
            <a:r>
              <a:rPr lang="en-US" sz="1800" b="1" dirty="0">
                <a:solidFill>
                  <a:schemeClr val="accent4"/>
                </a:solidFill>
                <a:latin typeface="+mj-lt"/>
              </a:rPr>
              <a:t>User migration </a:t>
            </a:r>
          </a:p>
          <a:p>
            <a:pPr defTabSz="685720" fontAlgn="base">
              <a:lnSpc>
                <a:spcPct val="90000"/>
              </a:lnSpc>
              <a:spcAft>
                <a:spcPts val="375"/>
              </a:spcAft>
              <a:buClr>
                <a:srgbClr val="F69F1E"/>
              </a:buClr>
              <a:buSzPct val="90000"/>
              <a:defRPr/>
            </a:pPr>
            <a:r>
              <a:rPr lang="en-US" sz="1800" b="1" dirty="0">
                <a:solidFill>
                  <a:schemeClr val="accent4"/>
                </a:solidFill>
                <a:latin typeface="+mj-lt"/>
              </a:rPr>
              <a:t>flexibility</a:t>
            </a:r>
          </a:p>
          <a:p>
            <a:pPr marL="2976" indent="-2976">
              <a:lnSpc>
                <a:spcPts val="1625"/>
              </a:lnSpc>
              <a:spcAft>
                <a:spcPts val="375"/>
              </a:spcAft>
              <a:defRPr/>
            </a:pPr>
            <a:r>
              <a:rPr lang="en-US" sz="1100" dirty="0"/>
              <a:t>Keep some users on-line and some users on-premises or keep them all in a single environment</a:t>
            </a:r>
          </a:p>
        </p:txBody>
      </p:sp>
      <p:sp>
        <p:nvSpPr>
          <p:cNvPr id="11" name="Rectangle 29"/>
          <p:cNvSpPr>
            <a:spLocks noChangeArrowheads="1"/>
          </p:cNvSpPr>
          <p:nvPr/>
        </p:nvSpPr>
        <p:spPr bwMode="auto">
          <a:xfrm>
            <a:off x="6230254" y="2599201"/>
            <a:ext cx="2568774" cy="1244580"/>
          </a:xfrm>
          <a:prstGeom prst="rect">
            <a:avLst/>
          </a:prstGeom>
          <a:noFill/>
          <a:ln w="9525">
            <a:noFill/>
            <a:miter lim="800000"/>
            <a:headEnd/>
            <a:tailEnd/>
          </a:ln>
        </p:spPr>
        <p:txBody>
          <a:bodyPr lIns="68574" tIns="34288" rIns="68574" bIns="34288">
            <a:spAutoFit/>
          </a:bodyPr>
          <a:lstStyle/>
          <a:p>
            <a:pPr defTabSz="685720" fontAlgn="base">
              <a:lnSpc>
                <a:spcPct val="90000"/>
              </a:lnSpc>
              <a:spcAft>
                <a:spcPts val="375"/>
              </a:spcAft>
              <a:buClr>
                <a:srgbClr val="F69F1E"/>
              </a:buClr>
              <a:buSzPct val="90000"/>
              <a:defRPr/>
            </a:pPr>
            <a:r>
              <a:rPr lang="en-US" sz="1800" b="1" dirty="0">
                <a:solidFill>
                  <a:schemeClr val="accent4"/>
                </a:solidFill>
                <a:latin typeface="+mj-lt"/>
              </a:rPr>
              <a:t>Single licensing agreement</a:t>
            </a:r>
          </a:p>
          <a:p>
            <a:pPr marL="2976" indent="-2976">
              <a:lnSpc>
                <a:spcPts val="1625"/>
              </a:lnSpc>
              <a:spcAft>
                <a:spcPts val="375"/>
              </a:spcAft>
              <a:defRPr/>
            </a:pPr>
            <a:r>
              <a:rPr lang="en-US" sz="1100" dirty="0"/>
              <a:t>Supports all scenarios, to help you optimize costs and transition when it make sense for your business </a:t>
            </a:r>
          </a:p>
        </p:txBody>
      </p:sp>
      <p:sp>
        <p:nvSpPr>
          <p:cNvPr id="12" name="Rectangle 11"/>
          <p:cNvSpPr/>
          <p:nvPr/>
        </p:nvSpPr>
        <p:spPr bwMode="auto">
          <a:xfrm>
            <a:off x="0" y="1000126"/>
            <a:ext cx="9144000" cy="47625"/>
          </a:xfrm>
          <a:prstGeom prst="rect">
            <a:avLst/>
          </a:prstGeom>
          <a:solidFill>
            <a:schemeClr val="accent4"/>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57134" tIns="28567" rIns="57134" bIns="28567" anchor="ctr"/>
          <a:lstStyle/>
          <a:p>
            <a:pPr algn="ctr" defTabSz="570369">
              <a:defRPr/>
            </a:pPr>
            <a:endParaRPr lang="en-US" dirty="0">
              <a:solidFill>
                <a:schemeClr val="tx1"/>
              </a:solidFill>
              <a:ea typeface="ＭＳ Ｐゴシック" pitchFamily="-65" charset="-128"/>
            </a:endParaRPr>
          </a:p>
        </p:txBody>
      </p:sp>
      <p:pic>
        <p:nvPicPr>
          <p:cNvPr id="16" name="Picture 2" descr="\\MAGNUM\Projects\Microsoft\Cloud Power FY12\Design\Icons\PNGs\Laptop.png"/>
          <p:cNvPicPr>
            <a:picLocks noChangeAspect="1" noChangeArrowheads="1"/>
          </p:cNvPicPr>
          <p:nvPr/>
        </p:nvPicPr>
        <p:blipFill>
          <a:blip r:embed="rId2" cstate="screen">
            <a:lum bright="100000"/>
          </a:blip>
          <a:srcRect/>
          <a:stretch>
            <a:fillRect/>
          </a:stretch>
        </p:blipFill>
        <p:spPr bwMode="auto">
          <a:xfrm>
            <a:off x="432151" y="1456438"/>
            <a:ext cx="960533" cy="960533"/>
          </a:xfrm>
          <a:prstGeom prst="rect">
            <a:avLst/>
          </a:prstGeom>
          <a:noFill/>
        </p:spPr>
      </p:pic>
      <p:pic>
        <p:nvPicPr>
          <p:cNvPr id="17" name="Picture 4" descr="\\MAGNUM\Projects\Microsoft\Cloud Power FY12\Design\Icons\PNGs\Cloud.png"/>
          <p:cNvPicPr>
            <a:picLocks noChangeAspect="1" noChangeArrowheads="1"/>
          </p:cNvPicPr>
          <p:nvPr/>
        </p:nvPicPr>
        <p:blipFill>
          <a:blip r:embed="rId3" cstate="screen">
            <a:lum bright="100000" contrast="100000"/>
          </a:blip>
          <a:srcRect/>
          <a:stretch>
            <a:fillRect/>
          </a:stretch>
        </p:blipFill>
        <p:spPr bwMode="auto">
          <a:xfrm>
            <a:off x="1344022" y="1138570"/>
            <a:ext cx="891265" cy="592915"/>
          </a:xfrm>
          <a:prstGeom prst="rect">
            <a:avLst/>
          </a:prstGeom>
          <a:noFill/>
        </p:spPr>
      </p:pic>
      <p:pic>
        <p:nvPicPr>
          <p:cNvPr id="21" name="Picture 4" descr="\\MAGNUM\Projects\Microsoft\Cloud Power FY12\Design\Icons\PNGs\Simple_Licensing.png"/>
          <p:cNvPicPr>
            <a:picLocks noChangeAspect="1" noChangeArrowheads="1"/>
          </p:cNvPicPr>
          <p:nvPr/>
        </p:nvPicPr>
        <p:blipFill>
          <a:blip r:embed="rId4" cstate="screen">
            <a:lum bright="100000"/>
          </a:blip>
          <a:srcRect/>
          <a:stretch>
            <a:fillRect/>
          </a:stretch>
        </p:blipFill>
        <p:spPr bwMode="auto">
          <a:xfrm>
            <a:off x="7007872" y="1133617"/>
            <a:ext cx="1255459" cy="1255459"/>
          </a:xfrm>
          <a:prstGeom prst="rect">
            <a:avLst/>
          </a:prstGeom>
          <a:noFill/>
        </p:spPr>
      </p:pic>
      <p:pic>
        <p:nvPicPr>
          <p:cNvPr id="1026" name="Picture 2" descr="C:\Users\kelleyc\Desktop\untitled.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4838386" y="995093"/>
            <a:ext cx="1159794" cy="1159794"/>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C:\Users\kelleyc\Desktop\untitled2.png"/>
          <p:cNvPicPr>
            <a:picLocks noChangeAspect="1" noChangeArrowheads="1"/>
          </p:cNvPicPr>
          <p:nvPr/>
        </p:nvPicPr>
        <p:blipFill>
          <a:blip r:embed="rId7">
            <a:extLst>
              <a:ext uri="{BEBA8EAE-BF5A-486C-A8C5-ECC9F3942E4B}">
                <a14:imgProps xmlns:a14="http://schemas.microsoft.com/office/drawing/2010/main">
                  <a14:imgLayer r:embed="rId8">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3073796" y="1391415"/>
            <a:ext cx="1126168" cy="1126168"/>
          </a:xfrm>
          <a:prstGeom prst="rect">
            <a:avLst/>
          </a:prstGeom>
          <a:noFill/>
          <a:extLst>
            <a:ext uri="{909E8E84-426E-40DD-AFC4-6F175D3DCCD1}">
              <a14:hiddenFill xmlns:a14="http://schemas.microsoft.com/office/drawing/2010/main">
                <a:solidFill>
                  <a:srgbClr val="FFFFFF"/>
                </a:solidFill>
              </a14:hiddenFill>
            </a:ext>
          </a:extLst>
        </p:spPr>
      </p:pic>
      <p:sp>
        <p:nvSpPr>
          <p:cNvPr id="22" name="Title 1"/>
          <p:cNvSpPr txBox="1">
            <a:spLocks/>
          </p:cNvSpPr>
          <p:nvPr/>
        </p:nvSpPr>
        <p:spPr>
          <a:xfrm>
            <a:off x="389435" y="171451"/>
            <a:ext cx="8572544" cy="457049"/>
          </a:xfrm>
          <a:prstGeom prst="rect">
            <a:avLst/>
          </a:prstGeom>
        </p:spPr>
        <p:txBody>
          <a:bodyPr lIns="68586" tIns="34294" rIns="68586" bIns="34294"/>
          <a:lst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pPr defTabSz="685757"/>
            <a:r>
              <a:rPr lang="en-US" dirty="0"/>
              <a:t>Office 365 </a:t>
            </a:r>
            <a:r>
              <a:rPr lang="en-US" dirty="0" smtClean="0"/>
              <a:t>Allows You </a:t>
            </a:r>
            <a:r>
              <a:rPr lang="en-US" dirty="0"/>
              <a:t>to </a:t>
            </a:r>
            <a:r>
              <a:rPr lang="en-US" dirty="0" smtClean="0"/>
              <a:t>Live </a:t>
            </a:r>
            <a:r>
              <a:rPr lang="en-US" dirty="0"/>
              <a:t>in a </a:t>
            </a:r>
            <a:r>
              <a:rPr lang="en-US" dirty="0" smtClean="0"/>
              <a:t>Hybrid World</a:t>
            </a:r>
            <a:endParaRPr lang="en-US" dirty="0"/>
          </a:p>
        </p:txBody>
      </p:sp>
      <p:cxnSp>
        <p:nvCxnSpPr>
          <p:cNvPr id="23" name="Straight Arrow Connector 22"/>
          <p:cNvCxnSpPr/>
          <p:nvPr/>
        </p:nvCxnSpPr>
        <p:spPr>
          <a:xfrm flipV="1">
            <a:off x="4199964" y="1503878"/>
            <a:ext cx="638422" cy="362327"/>
          </a:xfrm>
          <a:prstGeom prst="curvedConnector3">
            <a:avLst>
              <a:gd name="adj1" fmla="val 50000"/>
            </a:avLst>
          </a:prstGeom>
          <a:ln w="60325">
            <a:solidFill>
              <a:schemeClr val="tx1"/>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28" name="Curved Connector 1027"/>
          <p:cNvCxnSpPr/>
          <p:nvPr/>
        </p:nvCxnSpPr>
        <p:spPr>
          <a:xfrm flipV="1">
            <a:off x="749140" y="1311412"/>
            <a:ext cx="600828" cy="329385"/>
          </a:xfrm>
          <a:prstGeom prst="curvedConnector3">
            <a:avLst>
              <a:gd name="adj1" fmla="val -34708"/>
            </a:avLst>
          </a:prstGeom>
          <a:ln w="66675">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42" name="Curved Connector 41"/>
          <p:cNvCxnSpPr/>
          <p:nvPr/>
        </p:nvCxnSpPr>
        <p:spPr>
          <a:xfrm rot="10800000" flipV="1">
            <a:off x="1337349" y="1631006"/>
            <a:ext cx="843989" cy="373629"/>
          </a:xfrm>
          <a:prstGeom prst="curvedConnector3">
            <a:avLst>
              <a:gd name="adj1" fmla="val -15547"/>
            </a:avLst>
          </a:prstGeom>
          <a:ln w="66675">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bwMode="auto">
          <a:xfrm>
            <a:off x="2399735" y="1670947"/>
            <a:ext cx="4344531" cy="1801609"/>
          </a:xfrm>
          <a:prstGeom prst="rect">
            <a:avLst/>
          </a:prstGeom>
          <a:solidFill>
            <a:schemeClr val="accent6"/>
          </a:solidFill>
          <a:ln w="76200">
            <a:solidFill>
              <a:srgbClr val="FFFFFF"/>
            </a:solidFill>
            <a:headEnd type="none" w="med" len="med"/>
            <a:tailEnd type="none" w="med" len="med"/>
          </a:ln>
          <a:effectLst>
            <a:outerShdw blurRad="63500" sx="102000" sy="102000" algn="ctr"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57128" tIns="28564" rIns="57128" bIns="28564" numCol="1" rtlCol="0" anchor="ctr" anchorCtr="0" compatLnSpc="1">
            <a:prstTxWarp prst="textNoShape">
              <a:avLst/>
            </a:prstTxWarp>
          </a:bodyPr>
          <a:lstStyle/>
          <a:p>
            <a:pPr fontAlgn="b"/>
            <a:r>
              <a:rPr lang="en-US" sz="2100" b="1" dirty="0"/>
              <a:t>OSP224</a:t>
            </a:r>
          </a:p>
          <a:p>
            <a:pPr fontAlgn="b"/>
            <a:endParaRPr lang="en-US" sz="400" b="1" dirty="0"/>
          </a:p>
          <a:p>
            <a:pPr fontAlgn="b"/>
            <a:r>
              <a:rPr lang="en-US" sz="1800" dirty="0"/>
              <a:t>Microsoft Office 365 </a:t>
            </a:r>
          </a:p>
          <a:p>
            <a:pPr fontAlgn="b"/>
            <a:r>
              <a:rPr lang="en-US" sz="1800" dirty="0"/>
              <a:t>Management &amp; Deployment</a:t>
            </a:r>
          </a:p>
          <a:p>
            <a:pPr fontAlgn="b"/>
            <a:endParaRPr lang="en-US" sz="800" dirty="0"/>
          </a:p>
          <a:p>
            <a:pPr fontAlgn="b"/>
            <a:r>
              <a:rPr lang="en-US" sz="1800" dirty="0"/>
              <a:t>Wednesday (June 27th) - 5:00 PM</a:t>
            </a:r>
          </a:p>
        </p:txBody>
      </p:sp>
      <p:sp>
        <p:nvSpPr>
          <p:cNvPr id="24"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5"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9"/>
              </a:rPr>
              <a:t>www.rapidbbs.cn</a:t>
            </a:r>
            <a:endParaRPr lang="zh-CN" altLang="en-US" sz="1200" b="0">
              <a:latin typeface="Arial" charset="0"/>
              <a:ea typeface="ＭＳ Ｐゴシック" pitchFamily="34" charset="-128"/>
            </a:endParaRPr>
          </a:p>
        </p:txBody>
      </p:sp>
      <p:pic>
        <p:nvPicPr>
          <p:cNvPr id="26" name="Picture 2">
            <a:hlinkClick r:id="rId9"/>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56332357"/>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29"/>
          <p:cNvGrpSpPr>
            <a:grpSpLocks/>
          </p:cNvGrpSpPr>
          <p:nvPr/>
        </p:nvGrpSpPr>
        <p:grpSpPr bwMode="auto">
          <a:xfrm>
            <a:off x="0" y="1114228"/>
            <a:ext cx="9144000" cy="1302743"/>
            <a:chOff x="0" y="2574925"/>
            <a:chExt cx="15206454" cy="2084388"/>
          </a:xfrm>
          <a:solidFill>
            <a:schemeClr val="accent2"/>
          </a:solidFill>
        </p:grpSpPr>
        <p:sp>
          <p:nvSpPr>
            <p:cNvPr id="5" name="Freeform 6"/>
            <p:cNvSpPr>
              <a:spLocks/>
            </p:cNvSpPr>
            <p:nvPr/>
          </p:nvSpPr>
          <p:spPr bwMode="auto">
            <a:xfrm>
              <a:off x="0" y="2574925"/>
              <a:ext cx="4983018" cy="2084388"/>
            </a:xfrm>
            <a:prstGeom prst="rect">
              <a:avLst/>
            </a:prstGeom>
            <a:grpFill/>
            <a:ln w="12700" cap="rnd">
              <a:noFill/>
              <a:prstDash val="solid"/>
              <a:headEnd type="oval"/>
            </a:ln>
            <a:effectLst/>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solidFill>
                  <a:srgbClr val="FFFFFF"/>
                </a:solidFill>
                <a:ea typeface="ＭＳ Ｐゴシック" pitchFamily="-65" charset="-128"/>
              </a:endParaRPr>
            </a:p>
          </p:txBody>
        </p:sp>
        <p:sp>
          <p:nvSpPr>
            <p:cNvPr id="6" name="Freeform 6"/>
            <p:cNvSpPr>
              <a:spLocks/>
            </p:cNvSpPr>
            <p:nvPr/>
          </p:nvSpPr>
          <p:spPr bwMode="auto">
            <a:xfrm>
              <a:off x="5111718" y="2574925"/>
              <a:ext cx="4983018" cy="2084388"/>
            </a:xfrm>
            <a:prstGeom prst="rect">
              <a:avLst/>
            </a:prstGeom>
            <a:grpFill/>
            <a:ln w="12700" cap="rnd">
              <a:noFill/>
              <a:prstDash val="solid"/>
              <a:headEnd type="oval"/>
            </a:ln>
            <a:effectLst/>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solidFill>
                  <a:srgbClr val="FFFFFF"/>
                </a:solidFill>
                <a:ea typeface="ＭＳ Ｐゴシック" pitchFamily="-65" charset="-128"/>
              </a:endParaRPr>
            </a:p>
          </p:txBody>
        </p:sp>
        <p:sp>
          <p:nvSpPr>
            <p:cNvPr id="7" name="Freeform 6"/>
            <p:cNvSpPr>
              <a:spLocks/>
            </p:cNvSpPr>
            <p:nvPr/>
          </p:nvSpPr>
          <p:spPr bwMode="auto">
            <a:xfrm>
              <a:off x="10223436" y="2574925"/>
              <a:ext cx="4983018" cy="2084388"/>
            </a:xfrm>
            <a:prstGeom prst="rect">
              <a:avLst/>
            </a:prstGeom>
            <a:grpFill/>
            <a:ln w="12700" cap="rnd">
              <a:noFill/>
              <a:prstDash val="solid"/>
              <a:headEnd type="oval"/>
            </a:ln>
            <a:effectLst/>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solidFill>
                  <a:srgbClr val="FFFFFF"/>
                </a:solidFill>
                <a:ea typeface="ＭＳ Ｐゴシック" pitchFamily="-65" charset="-128"/>
              </a:endParaRPr>
            </a:p>
          </p:txBody>
        </p:sp>
      </p:grpSp>
      <p:sp>
        <p:nvSpPr>
          <p:cNvPr id="9" name="Rectangle 29"/>
          <p:cNvSpPr>
            <a:spLocks noChangeArrowheads="1"/>
          </p:cNvSpPr>
          <p:nvPr/>
        </p:nvSpPr>
        <p:spPr bwMode="auto">
          <a:xfrm>
            <a:off x="65581" y="2588619"/>
            <a:ext cx="2568774" cy="1501061"/>
          </a:xfrm>
          <a:prstGeom prst="rect">
            <a:avLst/>
          </a:prstGeom>
          <a:noFill/>
          <a:ln w="9525">
            <a:noFill/>
            <a:miter lim="800000"/>
            <a:headEnd/>
            <a:tailEnd/>
          </a:ln>
        </p:spPr>
        <p:txBody>
          <a:bodyPr lIns="68574" tIns="34288" rIns="68574" bIns="34288">
            <a:spAutoFit/>
          </a:bodyPr>
          <a:lstStyle/>
          <a:p>
            <a:pPr defTabSz="685720" fontAlgn="base">
              <a:lnSpc>
                <a:spcPct val="90000"/>
              </a:lnSpc>
              <a:spcAft>
                <a:spcPts val="375"/>
              </a:spcAft>
              <a:buClr>
                <a:srgbClr val="F69F1E"/>
              </a:buClr>
              <a:buSzPct val="90000"/>
              <a:defRPr/>
            </a:pPr>
            <a:r>
              <a:rPr lang="en-US" sz="1800" b="1" dirty="0">
                <a:solidFill>
                  <a:schemeClr val="accent2"/>
                </a:solidFill>
                <a:latin typeface="+mj-lt"/>
              </a:rPr>
              <a:t>Self service </a:t>
            </a:r>
          </a:p>
          <a:p>
            <a:pPr defTabSz="685720" fontAlgn="base">
              <a:lnSpc>
                <a:spcPct val="90000"/>
              </a:lnSpc>
              <a:spcAft>
                <a:spcPts val="375"/>
              </a:spcAft>
              <a:buClr>
                <a:srgbClr val="F69F1E"/>
              </a:buClr>
              <a:buSzPct val="90000"/>
              <a:defRPr/>
            </a:pPr>
            <a:r>
              <a:rPr lang="en-US" sz="1800" b="1" dirty="0">
                <a:solidFill>
                  <a:schemeClr val="accent2"/>
                </a:solidFill>
                <a:latin typeface="+mj-lt"/>
              </a:rPr>
              <a:t>dashboard</a:t>
            </a:r>
          </a:p>
          <a:p>
            <a:pPr marL="2976" indent="-2976">
              <a:lnSpc>
                <a:spcPts val="1625"/>
              </a:lnSpc>
              <a:spcAft>
                <a:spcPts val="375"/>
              </a:spcAft>
              <a:defRPr/>
            </a:pPr>
            <a:r>
              <a:rPr lang="en-US" sz="1100" dirty="0"/>
              <a:t>The Service Health Dashboard provides current information about the service status accessible on the Web or via RSS</a:t>
            </a:r>
          </a:p>
        </p:txBody>
      </p:sp>
      <p:sp>
        <p:nvSpPr>
          <p:cNvPr id="10" name="Rectangle 29"/>
          <p:cNvSpPr>
            <a:spLocks noChangeArrowheads="1"/>
          </p:cNvSpPr>
          <p:nvPr/>
        </p:nvSpPr>
        <p:spPr bwMode="auto">
          <a:xfrm>
            <a:off x="3073797" y="2588619"/>
            <a:ext cx="2996406" cy="1084280"/>
          </a:xfrm>
          <a:prstGeom prst="rect">
            <a:avLst/>
          </a:prstGeom>
          <a:noFill/>
          <a:ln w="9525">
            <a:noFill/>
            <a:miter lim="800000"/>
            <a:headEnd/>
            <a:tailEnd/>
          </a:ln>
        </p:spPr>
        <p:txBody>
          <a:bodyPr wrap="square" lIns="68574" tIns="34288" rIns="68574" bIns="34288">
            <a:spAutoFit/>
          </a:bodyPr>
          <a:lstStyle/>
          <a:p>
            <a:pPr defTabSz="685720" fontAlgn="base">
              <a:lnSpc>
                <a:spcPct val="90000"/>
              </a:lnSpc>
              <a:spcAft>
                <a:spcPts val="375"/>
              </a:spcAft>
              <a:buClr>
                <a:srgbClr val="F69F1E"/>
              </a:buClr>
              <a:buSzPct val="90000"/>
              <a:defRPr/>
            </a:pPr>
            <a:r>
              <a:rPr lang="en-US" sz="1800" b="1" dirty="0">
                <a:solidFill>
                  <a:schemeClr val="accent2"/>
                </a:solidFill>
                <a:latin typeface="+mj-lt"/>
              </a:rPr>
              <a:t>24x7</a:t>
            </a:r>
          </a:p>
          <a:p>
            <a:pPr defTabSz="685720" fontAlgn="base">
              <a:lnSpc>
                <a:spcPct val="90000"/>
              </a:lnSpc>
              <a:spcAft>
                <a:spcPts val="375"/>
              </a:spcAft>
              <a:buClr>
                <a:srgbClr val="F69F1E"/>
              </a:buClr>
              <a:buSzPct val="90000"/>
              <a:defRPr/>
            </a:pPr>
            <a:r>
              <a:rPr lang="en-US" sz="1800" b="1" dirty="0">
                <a:solidFill>
                  <a:schemeClr val="accent2"/>
                </a:solidFill>
                <a:latin typeface="+mj-lt"/>
              </a:rPr>
              <a:t>support</a:t>
            </a:r>
          </a:p>
          <a:p>
            <a:pPr marL="2976" indent="-2976">
              <a:lnSpc>
                <a:spcPts val="1625"/>
              </a:lnSpc>
              <a:spcAft>
                <a:spcPts val="375"/>
              </a:spcAft>
              <a:defRPr/>
            </a:pPr>
            <a:r>
              <a:rPr lang="en-US" sz="1100" dirty="0"/>
              <a:t>24x7 phone or online accessible IT-level support dedicated to Office 365</a:t>
            </a:r>
          </a:p>
        </p:txBody>
      </p:sp>
      <p:sp>
        <p:nvSpPr>
          <p:cNvPr id="11" name="Rectangle 29"/>
          <p:cNvSpPr>
            <a:spLocks noChangeArrowheads="1"/>
          </p:cNvSpPr>
          <p:nvPr/>
        </p:nvSpPr>
        <p:spPr bwMode="auto">
          <a:xfrm>
            <a:off x="6230254" y="2599202"/>
            <a:ext cx="2568774" cy="1292671"/>
          </a:xfrm>
          <a:prstGeom prst="rect">
            <a:avLst/>
          </a:prstGeom>
          <a:noFill/>
          <a:ln w="9525">
            <a:noFill/>
            <a:miter lim="800000"/>
            <a:headEnd/>
            <a:tailEnd/>
          </a:ln>
        </p:spPr>
        <p:txBody>
          <a:bodyPr lIns="68574" tIns="34288" rIns="68574" bIns="34288">
            <a:spAutoFit/>
          </a:bodyPr>
          <a:lstStyle/>
          <a:p>
            <a:pPr defTabSz="685720" fontAlgn="base">
              <a:lnSpc>
                <a:spcPct val="90000"/>
              </a:lnSpc>
              <a:spcAft>
                <a:spcPts val="375"/>
              </a:spcAft>
              <a:buClr>
                <a:srgbClr val="F69F1E"/>
              </a:buClr>
              <a:buSzPct val="90000"/>
              <a:defRPr/>
            </a:pPr>
            <a:r>
              <a:rPr lang="en-US" sz="1800" b="1" dirty="0">
                <a:solidFill>
                  <a:schemeClr val="accent2"/>
                </a:solidFill>
                <a:latin typeface="+mj-lt"/>
              </a:rPr>
              <a:t>Partner ecosystem</a:t>
            </a:r>
          </a:p>
          <a:p>
            <a:pPr defTabSz="685720" fontAlgn="base">
              <a:lnSpc>
                <a:spcPct val="90000"/>
              </a:lnSpc>
              <a:spcAft>
                <a:spcPts val="375"/>
              </a:spcAft>
              <a:buClr>
                <a:srgbClr val="F69F1E"/>
              </a:buClr>
              <a:buSzPct val="90000"/>
              <a:defRPr/>
            </a:pPr>
            <a:r>
              <a:rPr lang="en-US" sz="1800" b="1" dirty="0">
                <a:solidFill>
                  <a:schemeClr val="accent2"/>
                </a:solidFill>
                <a:latin typeface="+mj-lt"/>
              </a:rPr>
              <a:t>&amp; community</a:t>
            </a:r>
          </a:p>
          <a:p>
            <a:pPr marL="2976" indent="-2976">
              <a:lnSpc>
                <a:spcPts val="1625"/>
              </a:lnSpc>
              <a:spcAft>
                <a:spcPts val="375"/>
              </a:spcAft>
              <a:defRPr/>
            </a:pPr>
            <a:r>
              <a:rPr lang="en-US" sz="1100" dirty="0"/>
              <a:t>Broad community of 16,000+ WW partners and online community forums available to help you</a:t>
            </a:r>
          </a:p>
        </p:txBody>
      </p:sp>
      <p:pic>
        <p:nvPicPr>
          <p:cNvPr id="12" name="Picture 2" descr="\\MAGNUM\Projects\Microsoft\Cloud Power FY12\Design\Icons\PNGs\Professionals.png"/>
          <p:cNvPicPr>
            <a:picLocks noChangeAspect="1" noChangeArrowheads="1"/>
          </p:cNvPicPr>
          <p:nvPr/>
        </p:nvPicPr>
        <p:blipFill>
          <a:blip r:embed="rId2" cstate="screen">
            <a:lum bright="100000"/>
          </a:blip>
          <a:srcRect/>
          <a:stretch>
            <a:fillRect/>
          </a:stretch>
        </p:blipFill>
        <p:spPr bwMode="auto">
          <a:xfrm>
            <a:off x="7078470" y="1199215"/>
            <a:ext cx="1134656" cy="1134656"/>
          </a:xfrm>
          <a:prstGeom prst="rect">
            <a:avLst/>
          </a:prstGeom>
          <a:noFill/>
        </p:spPr>
      </p:pic>
      <p:sp>
        <p:nvSpPr>
          <p:cNvPr id="15" name="Rectangle 14"/>
          <p:cNvSpPr/>
          <p:nvPr/>
        </p:nvSpPr>
        <p:spPr bwMode="auto">
          <a:xfrm>
            <a:off x="0" y="1000126"/>
            <a:ext cx="9144000" cy="47625"/>
          </a:xfrm>
          <a:prstGeom prst="rect">
            <a:avLst/>
          </a:prstGeom>
          <a:solidFill>
            <a:schemeClr val="accent2"/>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57134" tIns="28567" rIns="57134" bIns="28567" anchor="ctr"/>
          <a:lstStyle/>
          <a:p>
            <a:pPr algn="ctr" defTabSz="570369">
              <a:defRPr/>
            </a:pPr>
            <a:endParaRPr lang="en-US" dirty="0">
              <a:solidFill>
                <a:schemeClr val="tx1"/>
              </a:solidFill>
              <a:ea typeface="ＭＳ Ｐゴシック" pitchFamily="-65" charset="-128"/>
            </a:endParaRPr>
          </a:p>
        </p:txBody>
      </p:sp>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9945" y="1397672"/>
            <a:ext cx="1356517" cy="696265"/>
          </a:xfrm>
          <a:prstGeom prst="rect">
            <a:avLst/>
          </a:prstGeom>
        </p:spPr>
      </p:pic>
      <p:pic>
        <p:nvPicPr>
          <p:cNvPr id="2050" name="Picture 2" descr="C:\Users\kelleyc\Desktop\untitled3.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14579" y="1198237"/>
            <a:ext cx="1114842" cy="1114842"/>
          </a:xfrm>
          <a:prstGeom prst="rect">
            <a:avLst/>
          </a:prstGeom>
          <a:noFill/>
          <a:extLst>
            <a:ext uri="{909E8E84-426E-40DD-AFC4-6F175D3DCCD1}">
              <a14:hiddenFill xmlns:a14="http://schemas.microsoft.com/office/drawing/2010/main">
                <a:solidFill>
                  <a:srgbClr val="FFFFFF"/>
                </a:solidFill>
              </a14:hiddenFill>
            </a:ext>
          </a:extLst>
        </p:spPr>
      </p:pic>
      <p:sp>
        <p:nvSpPr>
          <p:cNvPr id="14" name="Title 1"/>
          <p:cNvSpPr txBox="1">
            <a:spLocks/>
          </p:cNvSpPr>
          <p:nvPr/>
        </p:nvSpPr>
        <p:spPr>
          <a:xfrm>
            <a:off x="389436" y="171451"/>
            <a:ext cx="8363938" cy="457049"/>
          </a:xfrm>
          <a:prstGeom prst="rect">
            <a:avLst/>
          </a:prstGeom>
        </p:spPr>
        <p:txBody>
          <a:bodyPr lIns="68586" tIns="34294" rIns="68586" bIns="34294"/>
          <a:lst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fr-FR" dirty="0"/>
              <a:t>Office 365 </a:t>
            </a:r>
            <a:r>
              <a:rPr lang="fr-FR" dirty="0" smtClean="0"/>
              <a:t>Provides Enterprise Grade Support</a:t>
            </a:r>
            <a:endParaRPr lang="fr-FR" dirty="0"/>
          </a:p>
        </p:txBody>
      </p:sp>
      <p:sp>
        <p:nvSpPr>
          <p:cNvPr id="17" name="Rectangle 16"/>
          <p:cNvSpPr/>
          <p:nvPr/>
        </p:nvSpPr>
        <p:spPr bwMode="auto">
          <a:xfrm>
            <a:off x="2399735" y="1670947"/>
            <a:ext cx="4344531" cy="1801609"/>
          </a:xfrm>
          <a:prstGeom prst="rect">
            <a:avLst/>
          </a:prstGeom>
          <a:solidFill>
            <a:schemeClr val="accent6"/>
          </a:solidFill>
          <a:ln w="76200">
            <a:solidFill>
              <a:srgbClr val="FFFFFF"/>
            </a:solidFill>
            <a:headEnd type="none" w="med" len="med"/>
            <a:tailEnd type="none" w="med" len="med"/>
          </a:ln>
          <a:effectLst>
            <a:outerShdw blurRad="63500" sx="102000" sy="102000" algn="ctr"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57128" tIns="28564" rIns="57128" bIns="28564" numCol="1" rtlCol="0" anchor="ctr" anchorCtr="0" compatLnSpc="1">
            <a:prstTxWarp prst="textNoShape">
              <a:avLst/>
            </a:prstTxWarp>
          </a:bodyPr>
          <a:lstStyle/>
          <a:p>
            <a:pPr fontAlgn="b"/>
            <a:r>
              <a:rPr lang="en-US" sz="2100" b="1" dirty="0"/>
              <a:t>OSP324</a:t>
            </a:r>
          </a:p>
          <a:p>
            <a:pPr fontAlgn="b"/>
            <a:endParaRPr lang="en-US" sz="400" b="1" dirty="0"/>
          </a:p>
          <a:p>
            <a:pPr fontAlgn="b"/>
            <a:r>
              <a:rPr lang="en-US" sz="1800" dirty="0"/>
              <a:t>Microsoft Office 365 </a:t>
            </a:r>
          </a:p>
          <a:p>
            <a:pPr fontAlgn="b"/>
            <a:r>
              <a:rPr lang="en-US" sz="1800" dirty="0"/>
              <a:t>Service Reliability &amp; Disaster Recovery</a:t>
            </a:r>
          </a:p>
          <a:p>
            <a:pPr fontAlgn="b"/>
            <a:endParaRPr lang="en-US" sz="800" dirty="0"/>
          </a:p>
          <a:p>
            <a:pPr fontAlgn="b"/>
            <a:r>
              <a:rPr lang="de-DE" sz="1800" dirty="0" err="1"/>
              <a:t>Friday</a:t>
            </a:r>
            <a:r>
              <a:rPr lang="de-DE" sz="1800" dirty="0"/>
              <a:t> (June 29th) - 10:15 AM</a:t>
            </a:r>
            <a:endParaRPr lang="en-US" sz="1800" dirty="0"/>
          </a:p>
        </p:txBody>
      </p:sp>
      <p:sp>
        <p:nvSpPr>
          <p:cNvPr id="18"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9"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5"/>
              </a:rPr>
              <a:t>www.rapidbbs.cn</a:t>
            </a:r>
            <a:endParaRPr lang="zh-CN" altLang="en-US" sz="1200" b="0">
              <a:latin typeface="Arial" charset="0"/>
              <a:ea typeface="ＭＳ Ｐゴシック" pitchFamily="34" charset="-128"/>
            </a:endParaRPr>
          </a:p>
        </p:txBody>
      </p:sp>
      <p:pic>
        <p:nvPicPr>
          <p:cNvPr id="20" name="Picture 2">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98990772"/>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reeform 6"/>
          <p:cNvSpPr>
            <a:spLocks/>
          </p:cNvSpPr>
          <p:nvPr/>
        </p:nvSpPr>
        <p:spPr bwMode="auto">
          <a:xfrm>
            <a:off x="4572000" y="968076"/>
            <a:ext cx="4572000" cy="1941380"/>
          </a:xfrm>
          <a:prstGeom prst="rect">
            <a:avLst/>
          </a:prstGeom>
          <a:solidFill>
            <a:schemeClr val="accent3"/>
          </a:solidFill>
          <a:ln w="12700" cap="rnd">
            <a:noFill/>
            <a:prstDash val="solid"/>
            <a:headEnd type="oval"/>
          </a:ln>
          <a:effectLst/>
        </p:spPr>
        <p:style>
          <a:lnRef idx="1">
            <a:schemeClr val="accent1"/>
          </a:lnRef>
          <a:fillRef idx="0">
            <a:schemeClr val="accent1"/>
          </a:fillRef>
          <a:effectRef idx="0">
            <a:schemeClr val="accent1"/>
          </a:effectRef>
          <a:fontRef idx="minor">
            <a:schemeClr val="tx1"/>
          </a:fontRef>
        </p:style>
        <p:txBody>
          <a:bodyPr lIns="57140" tIns="28570" rIns="57140" bIns="28570" rtlCol="0" anchor="ctr"/>
          <a:lstStyle/>
          <a:p>
            <a:pPr algn="ctr"/>
            <a:endParaRPr lang="en-US" kern="0">
              <a:solidFill>
                <a:sysClr val="window" lastClr="FFFFFF"/>
              </a:solidFill>
            </a:endParaRPr>
          </a:p>
        </p:txBody>
      </p:sp>
      <p:sp>
        <p:nvSpPr>
          <p:cNvPr id="10" name="Freeform 6"/>
          <p:cNvSpPr>
            <a:spLocks/>
          </p:cNvSpPr>
          <p:nvPr/>
        </p:nvSpPr>
        <p:spPr bwMode="auto">
          <a:xfrm>
            <a:off x="1" y="968076"/>
            <a:ext cx="4453247" cy="1941380"/>
          </a:xfrm>
          <a:prstGeom prst="rect">
            <a:avLst/>
          </a:prstGeom>
          <a:solidFill>
            <a:schemeClr val="accent4"/>
          </a:solidFill>
          <a:ln w="12700" cap="rnd">
            <a:noFill/>
            <a:prstDash val="solid"/>
            <a:headEnd type="oval"/>
          </a:ln>
          <a:effectLst/>
        </p:spPr>
        <p:style>
          <a:lnRef idx="1">
            <a:schemeClr val="accent1"/>
          </a:lnRef>
          <a:fillRef idx="0">
            <a:schemeClr val="accent1"/>
          </a:fillRef>
          <a:effectRef idx="0">
            <a:schemeClr val="accent1"/>
          </a:effectRef>
          <a:fontRef idx="minor">
            <a:schemeClr val="tx1"/>
          </a:fontRef>
        </p:style>
        <p:txBody>
          <a:bodyPr lIns="57140" tIns="28570" rIns="57140" bIns="28570" rtlCol="0" anchor="ctr"/>
          <a:lstStyle/>
          <a:p>
            <a:pPr algn="ctr"/>
            <a:endParaRPr lang="en-US" kern="0">
              <a:solidFill>
                <a:sysClr val="window" lastClr="FFFFFF"/>
              </a:solidFill>
            </a:endParaRPr>
          </a:p>
        </p:txBody>
      </p:sp>
      <p:sp>
        <p:nvSpPr>
          <p:cNvPr id="6" name="TextBox 5"/>
          <p:cNvSpPr txBox="1"/>
          <p:nvPr/>
        </p:nvSpPr>
        <p:spPr>
          <a:xfrm>
            <a:off x="7087255" y="1123166"/>
            <a:ext cx="1841505" cy="1734335"/>
          </a:xfrm>
          <a:prstGeom prst="roundRect">
            <a:avLst>
              <a:gd name="adj" fmla="val 0"/>
            </a:avLst>
          </a:prstGeom>
          <a:noFill/>
          <a:ln w="12700" cap="rnd" cmpd="sng" algn="ctr">
            <a:noFill/>
            <a:prstDash val="sysDash"/>
            <a:headEnd type="oval"/>
          </a:ln>
          <a:effectLst/>
        </p:spPr>
        <p:txBody>
          <a:bodyPr lIns="57119" tIns="28558" rIns="57119" bIns="28558" rtlCol="0" anchor="t" anchorCtr="0"/>
          <a:lstStyle>
            <a:defPPr>
              <a:defRPr lang="en-US"/>
            </a:defPPr>
            <a:lvl1pPr marR="0" lvl="0" indent="0" defTabSz="914400" fontAlgn="auto">
              <a:lnSpc>
                <a:spcPct val="100000"/>
              </a:lnSpc>
              <a:spcBef>
                <a:spcPts val="0"/>
              </a:spcBef>
              <a:spcAft>
                <a:spcPts val="0"/>
              </a:spcAft>
              <a:buClrTx/>
              <a:buSzTx/>
              <a:buFontTx/>
              <a:buNone/>
              <a:tabLst/>
              <a:defRPr sz="2800">
                <a:solidFill>
                  <a:schemeClr val="accent1">
                    <a:alpha val="99000"/>
                  </a:schemeClr>
                </a:solidFill>
                <a:latin typeface="Segoe UI Light" pitchFamily="34" charset="0"/>
              </a:defRPr>
            </a:lvl1pPr>
          </a:lstStyle>
          <a:p>
            <a:pPr algn="r">
              <a:defRPr/>
            </a:pPr>
            <a:r>
              <a:rPr lang="en-US" sz="1800" dirty="0">
                <a:solidFill>
                  <a:prstClr val="white">
                    <a:alpha val="99000"/>
                  </a:prstClr>
                </a:solidFill>
              </a:rPr>
              <a:t>Rich feature offering that meets a user’s </a:t>
            </a:r>
            <a:br>
              <a:rPr lang="en-US" sz="1800" dirty="0">
                <a:solidFill>
                  <a:prstClr val="white">
                    <a:alpha val="99000"/>
                  </a:prstClr>
                </a:solidFill>
              </a:rPr>
            </a:br>
            <a:r>
              <a:rPr lang="en-US" sz="1800" dirty="0">
                <a:solidFill>
                  <a:prstClr val="white">
                    <a:alpha val="99000"/>
                  </a:prstClr>
                </a:solidFill>
              </a:rPr>
              <a:t>full messaging and collaboration needs</a:t>
            </a:r>
          </a:p>
        </p:txBody>
      </p:sp>
      <p:sp>
        <p:nvSpPr>
          <p:cNvPr id="9" name="TextBox 8"/>
          <p:cNvSpPr txBox="1"/>
          <p:nvPr/>
        </p:nvSpPr>
        <p:spPr>
          <a:xfrm>
            <a:off x="275690" y="1123168"/>
            <a:ext cx="1802492" cy="1477237"/>
          </a:xfrm>
          <a:prstGeom prst="roundRect">
            <a:avLst>
              <a:gd name="adj" fmla="val 0"/>
            </a:avLst>
          </a:prstGeom>
          <a:noFill/>
          <a:ln w="12700" cap="rnd" cmpd="sng" algn="ctr">
            <a:noFill/>
            <a:prstDash val="sysDash"/>
            <a:headEnd type="oval"/>
          </a:ln>
          <a:effectLst/>
        </p:spPr>
        <p:txBody>
          <a:bodyPr lIns="57119" tIns="28558" rIns="57119" bIns="28558" rtlCol="0" anchor="t" anchorCtr="0"/>
          <a:lstStyle>
            <a:defPPr>
              <a:defRPr lang="en-US"/>
            </a:defPPr>
            <a:lvl1pPr algn="ctr">
              <a:defRPr sz="1400">
                <a:solidFill>
                  <a:prstClr val="black">
                    <a:alpha val="99000"/>
                  </a:prstClr>
                </a:solidFill>
              </a:defRPr>
            </a:lvl1pPr>
          </a:lstStyle>
          <a:p>
            <a:pPr algn="l" defTabSz="571392">
              <a:defRPr/>
            </a:pPr>
            <a:r>
              <a:rPr lang="en-US" sz="1800" dirty="0">
                <a:solidFill>
                  <a:prstClr val="white">
                    <a:alpha val="99000"/>
                  </a:prstClr>
                </a:solidFill>
                <a:latin typeface="Segoe UI Light" pitchFamily="34" charset="0"/>
              </a:rPr>
              <a:t>Low cost offering </a:t>
            </a:r>
            <a:br>
              <a:rPr lang="en-US" sz="1800" dirty="0">
                <a:solidFill>
                  <a:prstClr val="white">
                    <a:alpha val="99000"/>
                  </a:prstClr>
                </a:solidFill>
                <a:latin typeface="Segoe UI Light" pitchFamily="34" charset="0"/>
              </a:rPr>
            </a:br>
            <a:r>
              <a:rPr lang="en-US" sz="1800" dirty="0">
                <a:solidFill>
                  <a:prstClr val="white">
                    <a:alpha val="99000"/>
                  </a:prstClr>
                </a:solidFill>
                <a:latin typeface="Segoe UI Light" pitchFamily="34" charset="0"/>
              </a:rPr>
              <a:t>to users that </a:t>
            </a:r>
            <a:br>
              <a:rPr lang="en-US" sz="1800" dirty="0">
                <a:solidFill>
                  <a:prstClr val="white">
                    <a:alpha val="99000"/>
                  </a:prstClr>
                </a:solidFill>
                <a:latin typeface="Segoe UI Light" pitchFamily="34" charset="0"/>
              </a:rPr>
            </a:br>
            <a:r>
              <a:rPr lang="en-US" sz="1800" dirty="0">
                <a:solidFill>
                  <a:prstClr val="white">
                    <a:alpha val="99000"/>
                  </a:prstClr>
                </a:solidFill>
                <a:latin typeface="Segoe UI Light" pitchFamily="34" charset="0"/>
              </a:rPr>
              <a:t>do not have messaging and collaboration capabilities today</a:t>
            </a:r>
          </a:p>
        </p:txBody>
      </p:sp>
      <p:sp>
        <p:nvSpPr>
          <p:cNvPr id="22" name="TextBox 21"/>
          <p:cNvSpPr txBox="1"/>
          <p:nvPr/>
        </p:nvSpPr>
        <p:spPr>
          <a:xfrm>
            <a:off x="1" y="2998684"/>
            <a:ext cx="4309673" cy="2262158"/>
          </a:xfrm>
          <a:prstGeom prst="rect">
            <a:avLst/>
          </a:prstGeom>
          <a:noFill/>
        </p:spPr>
        <p:txBody>
          <a:bodyPr wrap="square" lIns="0" tIns="0" rIns="0" bIns="0" numCol="1" rtlCol="0">
            <a:spAutoFit/>
          </a:bodyPr>
          <a:lstStyle/>
          <a:p>
            <a:pPr marL="1984" lvl="1" algn="r">
              <a:spcAft>
                <a:spcPts val="375"/>
              </a:spcAft>
              <a:tabLst>
                <a:tab pos="2323265" algn="l"/>
              </a:tabLst>
            </a:pPr>
            <a:r>
              <a:rPr lang="en-US" sz="1800" b="1" dirty="0">
                <a:solidFill>
                  <a:srgbClr val="3BBEB4"/>
                </a:solidFill>
                <a:latin typeface="+mj-lt"/>
                <a:ea typeface="Segoe UI" pitchFamily="34" charset="0"/>
                <a:cs typeface="Segoe UI" pitchFamily="34" charset="0"/>
              </a:rPr>
              <a:t>Kiosk worker offer</a:t>
            </a:r>
            <a:endParaRPr lang="en-US" sz="1800" b="1" dirty="0">
              <a:solidFill>
                <a:srgbClr val="3BBEB4"/>
              </a:solidFill>
              <a:latin typeface="+mj-lt"/>
            </a:endParaRPr>
          </a:p>
          <a:p>
            <a:pPr marL="114278" lvl="1" indent="-114278" algn="r">
              <a:spcBef>
                <a:spcPts val="375"/>
              </a:spcBef>
              <a:buFont typeface="Arial" pitchFamily="34" charset="0"/>
              <a:buChar char="•"/>
              <a:tabLst>
                <a:tab pos="2323265" algn="l"/>
              </a:tabLst>
            </a:pPr>
            <a:r>
              <a:rPr lang="en-US" sz="1100" dirty="0"/>
              <a:t>1 GB mailbox</a:t>
            </a:r>
          </a:p>
          <a:p>
            <a:pPr marL="114278" lvl="1" indent="-114278" algn="r">
              <a:spcBef>
                <a:spcPts val="375"/>
              </a:spcBef>
              <a:buFont typeface="Arial" pitchFamily="34" charset="0"/>
              <a:buChar char="•"/>
              <a:tabLst>
                <a:tab pos="2323265" algn="l"/>
              </a:tabLst>
            </a:pPr>
            <a:r>
              <a:rPr lang="en-US" sz="1100" dirty="0"/>
              <a:t>Outlook Web App only</a:t>
            </a:r>
          </a:p>
          <a:p>
            <a:pPr marL="114278" lvl="1" indent="-114278" algn="r">
              <a:spcBef>
                <a:spcPts val="375"/>
              </a:spcBef>
              <a:buFont typeface="Arial" pitchFamily="34" charset="0"/>
              <a:buChar char="•"/>
              <a:tabLst>
                <a:tab pos="2323265" algn="l"/>
              </a:tabLst>
            </a:pPr>
            <a:r>
              <a:rPr lang="en-US" sz="1100" dirty="0"/>
              <a:t>POP &amp; ActiveSync support</a:t>
            </a:r>
          </a:p>
          <a:p>
            <a:pPr marL="114278" lvl="1" indent="-114278" algn="r">
              <a:spcBef>
                <a:spcPts val="375"/>
              </a:spcBef>
              <a:buFont typeface="Arial" pitchFamily="34" charset="0"/>
              <a:buChar char="•"/>
              <a:tabLst>
                <a:tab pos="2323265" algn="l"/>
              </a:tabLst>
            </a:pPr>
            <a:r>
              <a:rPr lang="en-US" sz="1100" dirty="0"/>
              <a:t>Messaging, calendar, contacts</a:t>
            </a:r>
          </a:p>
          <a:p>
            <a:pPr marL="114278" lvl="1" indent="-114278" algn="r">
              <a:spcBef>
                <a:spcPts val="375"/>
              </a:spcBef>
              <a:buFont typeface="Arial" pitchFamily="34" charset="0"/>
              <a:buChar char="•"/>
              <a:tabLst>
                <a:tab pos="2323265" algn="l"/>
              </a:tabLst>
            </a:pPr>
            <a:r>
              <a:rPr lang="en-US" sz="1100" dirty="0"/>
              <a:t>Forefront antivirus &amp; anti-spam</a:t>
            </a:r>
          </a:p>
          <a:p>
            <a:pPr marL="114278" lvl="1" indent="-114278" algn="r">
              <a:spcBef>
                <a:spcPts val="375"/>
              </a:spcBef>
              <a:buFont typeface="Arial" pitchFamily="34" charset="0"/>
              <a:buChar char="•"/>
              <a:tabLst>
                <a:tab pos="2323265" algn="l"/>
              </a:tabLst>
            </a:pPr>
            <a:r>
              <a:rPr lang="en-US" sz="1100" dirty="0"/>
              <a:t>SharePoint Access (0MB storage)</a:t>
            </a:r>
          </a:p>
          <a:p>
            <a:pPr marL="114278" lvl="1" indent="-114278" algn="r">
              <a:spcBef>
                <a:spcPts val="375"/>
              </a:spcBef>
              <a:buFont typeface="Arial" pitchFamily="34" charset="0"/>
              <a:buChar char="•"/>
              <a:tabLst>
                <a:tab pos="2323265" algn="l"/>
              </a:tabLst>
            </a:pPr>
            <a:r>
              <a:rPr lang="en-US" sz="1100" dirty="0"/>
              <a:t>Site search capabilities</a:t>
            </a:r>
          </a:p>
          <a:p>
            <a:pPr marL="114278" lvl="1" indent="-114278" algn="r">
              <a:spcBef>
                <a:spcPts val="375"/>
              </a:spcBef>
              <a:buFont typeface="Arial" pitchFamily="34" charset="0"/>
              <a:buChar char="•"/>
              <a:tabLst>
                <a:tab pos="2323265" algn="l"/>
              </a:tabLst>
            </a:pPr>
            <a:r>
              <a:rPr lang="en-US" sz="1100" dirty="0"/>
              <a:t>Office Web Apps</a:t>
            </a:r>
          </a:p>
          <a:p>
            <a:pPr algn="r"/>
            <a:endParaRPr lang="en-US" sz="1100" dirty="0" err="1"/>
          </a:p>
        </p:txBody>
      </p:sp>
      <p:sp>
        <p:nvSpPr>
          <p:cNvPr id="24" name="TextBox 23"/>
          <p:cNvSpPr txBox="1"/>
          <p:nvPr/>
        </p:nvSpPr>
        <p:spPr>
          <a:xfrm>
            <a:off x="4763257" y="2998684"/>
            <a:ext cx="4309673" cy="2262158"/>
          </a:xfrm>
          <a:prstGeom prst="rect">
            <a:avLst/>
          </a:prstGeom>
          <a:noFill/>
        </p:spPr>
        <p:txBody>
          <a:bodyPr wrap="square" lIns="0" tIns="0" rIns="0" bIns="0" numCol="1" rtlCol="0">
            <a:spAutoFit/>
          </a:bodyPr>
          <a:lstStyle/>
          <a:p>
            <a:pPr>
              <a:spcAft>
                <a:spcPts val="375"/>
              </a:spcAft>
            </a:pPr>
            <a:r>
              <a:rPr lang="en-US" sz="1800" b="1" dirty="0">
                <a:solidFill>
                  <a:srgbClr val="ED5326"/>
                </a:solidFill>
                <a:latin typeface="+mj-lt"/>
                <a:ea typeface="Segoe UI" pitchFamily="34" charset="0"/>
                <a:cs typeface="Segoe UI" pitchFamily="34" charset="0"/>
              </a:rPr>
              <a:t>Information worker offer</a:t>
            </a:r>
            <a:endParaRPr lang="en-US" sz="1800" b="1" dirty="0">
              <a:solidFill>
                <a:srgbClr val="ED5326"/>
              </a:solidFill>
              <a:latin typeface="+mj-lt"/>
            </a:endParaRPr>
          </a:p>
          <a:p>
            <a:pPr marL="114278" lvl="1" indent="-114278">
              <a:spcBef>
                <a:spcPts val="375"/>
              </a:spcBef>
              <a:buFont typeface="Arial" pitchFamily="34" charset="0"/>
              <a:buChar char="•"/>
              <a:tabLst>
                <a:tab pos="2323265" algn="l"/>
              </a:tabLst>
            </a:pPr>
            <a:r>
              <a:rPr lang="en-US" sz="1100" dirty="0"/>
              <a:t>25GB mailbox</a:t>
            </a:r>
          </a:p>
          <a:p>
            <a:pPr marL="114278" lvl="1" indent="-114278">
              <a:spcBef>
                <a:spcPts val="375"/>
              </a:spcBef>
              <a:buFont typeface="Arial" pitchFamily="34" charset="0"/>
              <a:buChar char="•"/>
              <a:tabLst>
                <a:tab pos="2323265" algn="l"/>
              </a:tabLst>
            </a:pPr>
            <a:r>
              <a:rPr lang="en-US" sz="1100" dirty="0"/>
              <a:t>500MB SharePoint storage</a:t>
            </a:r>
          </a:p>
          <a:p>
            <a:pPr marL="114278" lvl="1" indent="-114278">
              <a:spcBef>
                <a:spcPts val="375"/>
              </a:spcBef>
              <a:buFont typeface="Arial" pitchFamily="34" charset="0"/>
              <a:buChar char="•"/>
              <a:tabLst>
                <a:tab pos="2323265" algn="l"/>
              </a:tabLst>
            </a:pPr>
            <a:r>
              <a:rPr lang="en-US" sz="1100" dirty="0"/>
              <a:t>Client Connectivity</a:t>
            </a:r>
          </a:p>
          <a:p>
            <a:pPr marL="114278" lvl="1" indent="-114278">
              <a:spcBef>
                <a:spcPts val="375"/>
              </a:spcBef>
              <a:buFont typeface="Arial" pitchFamily="34" charset="0"/>
              <a:buChar char="•"/>
              <a:tabLst>
                <a:tab pos="2323265" algn="l"/>
              </a:tabLst>
            </a:pPr>
            <a:r>
              <a:rPr lang="en-US" sz="1100" dirty="0"/>
              <a:t>Mobility</a:t>
            </a:r>
          </a:p>
          <a:p>
            <a:pPr marL="114278" lvl="1" indent="-114278">
              <a:spcBef>
                <a:spcPts val="375"/>
              </a:spcBef>
              <a:buFont typeface="Arial" pitchFamily="34" charset="0"/>
              <a:buChar char="•"/>
              <a:tabLst>
                <a:tab pos="2323265" algn="l"/>
              </a:tabLst>
            </a:pPr>
            <a:r>
              <a:rPr lang="en-US" sz="1100" dirty="0" err="1"/>
              <a:t>Lync</a:t>
            </a:r>
            <a:r>
              <a:rPr lang="en-US" sz="1100" dirty="0"/>
              <a:t> capabilities</a:t>
            </a:r>
          </a:p>
          <a:p>
            <a:pPr marL="114278" lvl="1" indent="-114278">
              <a:spcBef>
                <a:spcPts val="375"/>
              </a:spcBef>
              <a:buFont typeface="Arial" pitchFamily="34" charset="0"/>
              <a:buChar char="•"/>
              <a:tabLst>
                <a:tab pos="2323265" algn="l"/>
              </a:tabLst>
            </a:pPr>
            <a:r>
              <a:rPr lang="en-US" sz="1100" dirty="0"/>
              <a:t>Exchange &amp; SharePoint capabilities</a:t>
            </a:r>
          </a:p>
          <a:p>
            <a:pPr marL="114278" lvl="1" indent="-114278">
              <a:spcBef>
                <a:spcPts val="375"/>
              </a:spcBef>
              <a:buFont typeface="Arial" pitchFamily="34" charset="0"/>
              <a:buChar char="•"/>
              <a:tabLst>
                <a:tab pos="2323265" algn="l"/>
              </a:tabLst>
            </a:pPr>
            <a:r>
              <a:rPr lang="en-US" sz="1100" dirty="0"/>
              <a:t>Office Professional Plus</a:t>
            </a:r>
          </a:p>
          <a:p>
            <a:pPr marL="114278" lvl="1" indent="-114278">
              <a:spcBef>
                <a:spcPts val="375"/>
              </a:spcBef>
              <a:buFont typeface="Arial" pitchFamily="34" charset="0"/>
              <a:buChar char="•"/>
              <a:tabLst>
                <a:tab pos="2323265" algn="l"/>
              </a:tabLst>
            </a:pPr>
            <a:r>
              <a:rPr lang="en-US" sz="1100" dirty="0"/>
              <a:t>On-premises access rights</a:t>
            </a:r>
          </a:p>
          <a:p>
            <a:endParaRPr lang="en-US" sz="1100" dirty="0" err="1"/>
          </a:p>
        </p:txBody>
      </p:sp>
      <p:pic>
        <p:nvPicPr>
          <p:cNvPr id="12" name="Picture 2" descr="C:\Users\sigurdg\Desktop\Icon_1.png"/>
          <p:cNvPicPr>
            <a:picLocks noChangeAspect="1" noChangeArrowheads="1"/>
          </p:cNvPicPr>
          <p:nvPr/>
        </p:nvPicPr>
        <p:blipFill>
          <a:blip r:embed="rId3">
            <a:lum bright="100000"/>
          </a:blip>
          <a:srcRect/>
          <a:stretch>
            <a:fillRect/>
          </a:stretch>
        </p:blipFill>
        <p:spPr bwMode="auto">
          <a:xfrm>
            <a:off x="2219993" y="871780"/>
            <a:ext cx="2114550" cy="2114550"/>
          </a:xfrm>
          <a:prstGeom prst="rect">
            <a:avLst/>
          </a:prstGeom>
          <a:noFill/>
        </p:spPr>
      </p:pic>
      <p:pic>
        <p:nvPicPr>
          <p:cNvPr id="13" name="Picture 3" descr="\\MAGNUM\Projects\Microsoft\Cloud Power FY12\Design\Icons\PNGs\Icon_2.png"/>
          <p:cNvPicPr>
            <a:picLocks noChangeAspect="1" noChangeArrowheads="1"/>
          </p:cNvPicPr>
          <p:nvPr/>
        </p:nvPicPr>
        <p:blipFill>
          <a:blip r:embed="rId4">
            <a:lum bright="100000"/>
          </a:blip>
          <a:srcRect/>
          <a:stretch>
            <a:fillRect/>
          </a:stretch>
        </p:blipFill>
        <p:spPr bwMode="auto">
          <a:xfrm>
            <a:off x="4581920" y="871780"/>
            <a:ext cx="2114550" cy="2114550"/>
          </a:xfrm>
          <a:prstGeom prst="rect">
            <a:avLst/>
          </a:prstGeom>
          <a:noFill/>
        </p:spPr>
      </p:pic>
      <p:sp>
        <p:nvSpPr>
          <p:cNvPr id="14" name="Title 1"/>
          <p:cNvSpPr txBox="1">
            <a:spLocks/>
          </p:cNvSpPr>
          <p:nvPr/>
        </p:nvSpPr>
        <p:spPr>
          <a:xfrm>
            <a:off x="389436" y="171451"/>
            <a:ext cx="8754565" cy="457049"/>
          </a:xfrm>
          <a:prstGeom prst="rect">
            <a:avLst/>
          </a:prstGeom>
        </p:spPr>
        <p:txBody>
          <a:bodyPr lIns="68586" tIns="34294" rIns="68586" bIns="34294"/>
          <a:lst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spc="-135" dirty="0"/>
              <a:t>Office 365 Supports a Diverse </a:t>
            </a:r>
            <a:r>
              <a:rPr lang="en-US" spc="-135" dirty="0">
                <a:solidFill>
                  <a:schemeClr val="tx1">
                    <a:alpha val="99000"/>
                  </a:schemeClr>
                </a:solidFill>
              </a:rPr>
              <a:t>Enterprise</a:t>
            </a:r>
            <a:r>
              <a:rPr lang="en-US" spc="-135" dirty="0">
                <a:solidFill>
                  <a:schemeClr val="accent6">
                    <a:alpha val="99000"/>
                  </a:schemeClr>
                </a:solidFill>
              </a:rPr>
              <a:t> </a:t>
            </a:r>
            <a:r>
              <a:rPr lang="en-US" spc="-135" dirty="0"/>
              <a:t>Workforce</a:t>
            </a:r>
            <a:endParaRPr lang="fr-FR" spc="-135" dirty="0"/>
          </a:p>
        </p:txBody>
      </p:sp>
      <p:sp>
        <p:nvSpPr>
          <p:cNvPr id="15" name="Right Triangle 14"/>
          <p:cNvSpPr/>
          <p:nvPr/>
        </p:nvSpPr>
        <p:spPr bwMode="auto">
          <a:xfrm>
            <a:off x="0" y="4772026"/>
            <a:ext cx="400154" cy="371475"/>
          </a:xfrm>
          <a:prstGeom prst="rtTriangle">
            <a:avLst/>
          </a:prstGeom>
          <a:solidFill>
            <a:schemeClr val="tx2">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16"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7"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5"/>
              </a:rPr>
              <a:t>www.rapidbbs.cn</a:t>
            </a:r>
            <a:endParaRPr lang="zh-CN" altLang="en-US" sz="1200" b="0">
              <a:latin typeface="Arial" charset="0"/>
              <a:ea typeface="ＭＳ Ｐゴシック" pitchFamily="34" charset="-128"/>
            </a:endParaRPr>
          </a:p>
        </p:txBody>
      </p:sp>
      <p:pic>
        <p:nvPicPr>
          <p:cNvPr id="18" name="Picture 2">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34631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7" name="Curved Connector 46"/>
          <p:cNvCxnSpPr/>
          <p:nvPr/>
        </p:nvCxnSpPr>
        <p:spPr>
          <a:xfrm rot="16200000">
            <a:off x="2295458" y="1441631"/>
            <a:ext cx="1024810" cy="1087419"/>
          </a:xfrm>
          <a:prstGeom prst="curvedConnector2">
            <a:avLst/>
          </a:prstGeom>
          <a:ln w="88900">
            <a:solidFill>
              <a:schemeClr val="tx1"/>
            </a:solidFill>
            <a:prstDash val="sysDot"/>
            <a:headEnd type="none"/>
            <a:tailEnd type="triangle" w="lg" len="sm"/>
          </a:ln>
        </p:spPr>
        <p:style>
          <a:lnRef idx="1">
            <a:schemeClr val="accent1"/>
          </a:lnRef>
          <a:fillRef idx="0">
            <a:schemeClr val="accent1"/>
          </a:fillRef>
          <a:effectRef idx="0">
            <a:schemeClr val="accent1"/>
          </a:effectRef>
          <a:fontRef idx="minor">
            <a:schemeClr val="tx1"/>
          </a:fontRef>
        </p:style>
      </p:cxnSp>
      <p:grpSp>
        <p:nvGrpSpPr>
          <p:cNvPr id="1025" name="Group 1024"/>
          <p:cNvGrpSpPr/>
          <p:nvPr/>
        </p:nvGrpSpPr>
        <p:grpSpPr>
          <a:xfrm>
            <a:off x="256618" y="2485612"/>
            <a:ext cx="2439868" cy="751843"/>
            <a:chOff x="283076" y="3181415"/>
            <a:chExt cx="3252310" cy="1002457"/>
          </a:xfrm>
        </p:grpSpPr>
        <p:sp>
          <p:nvSpPr>
            <p:cNvPr id="52" name="Rounded Rectangle 14"/>
            <p:cNvSpPr/>
            <p:nvPr/>
          </p:nvSpPr>
          <p:spPr bwMode="auto">
            <a:xfrm>
              <a:off x="283076" y="3181415"/>
              <a:ext cx="3252310" cy="1002457"/>
            </a:xfrm>
            <a:prstGeom prst="rect">
              <a:avLst/>
            </a:prstGeom>
            <a:solidFill>
              <a:schemeClr val="accent1"/>
            </a:solidFill>
            <a:ln w="50800" cap="flat" cmpd="sng" algn="ctr">
              <a:solidFill>
                <a:schemeClr val="tx1"/>
              </a:solidFill>
              <a:prstDash val="solid"/>
              <a:miter lim="800000"/>
            </a:ln>
            <a:effectLst/>
          </p:spPr>
          <p:txBody>
            <a:bodyPr lIns="914400" tIns="45718" rIns="91435" bIns="45718" rtlCol="0" anchor="ctr"/>
            <a:lstStyle/>
            <a:p>
              <a:pPr algn="r" fontAlgn="base">
                <a:lnSpc>
                  <a:spcPct val="90000"/>
                </a:lnSpc>
                <a:spcBef>
                  <a:spcPct val="0"/>
                </a:spcBef>
                <a:spcAft>
                  <a:spcPct val="0"/>
                </a:spcAft>
              </a:pPr>
              <a:r>
                <a:rPr lang="en-US" sz="1500" b="1" dirty="0">
                  <a:ln w="12700">
                    <a:solidFill>
                      <a:schemeClr val="bg1">
                        <a:alpha val="0"/>
                      </a:schemeClr>
                    </a:solidFill>
                    <a:prstDash val="solid"/>
                  </a:ln>
                </a:rPr>
                <a:t>Monthly</a:t>
              </a:r>
              <a:br>
                <a:rPr lang="en-US" sz="1500" b="1" dirty="0">
                  <a:ln w="12700">
                    <a:solidFill>
                      <a:schemeClr val="bg1">
                        <a:alpha val="0"/>
                      </a:schemeClr>
                    </a:solidFill>
                    <a:prstDash val="solid"/>
                  </a:ln>
                </a:rPr>
              </a:br>
              <a:r>
                <a:rPr lang="en-US" sz="1500" b="1" dirty="0">
                  <a:ln w="12700">
                    <a:solidFill>
                      <a:schemeClr val="bg1">
                        <a:alpha val="0"/>
                      </a:schemeClr>
                    </a:solidFill>
                    <a:prstDash val="solid"/>
                  </a:ln>
                </a:rPr>
                <a:t>Service Update Communications</a:t>
              </a:r>
            </a:p>
          </p:txBody>
        </p:sp>
        <p:grpSp>
          <p:nvGrpSpPr>
            <p:cNvPr id="53" name="Group 52"/>
            <p:cNvGrpSpPr/>
            <p:nvPr/>
          </p:nvGrpSpPr>
          <p:grpSpPr>
            <a:xfrm rot="325823">
              <a:off x="472499" y="3371236"/>
              <a:ext cx="658207" cy="711302"/>
              <a:chOff x="10176387" y="837998"/>
              <a:chExt cx="1085911" cy="1173505"/>
            </a:xfrm>
          </p:grpSpPr>
          <p:sp>
            <p:nvSpPr>
              <p:cNvPr id="54" name="Circular Arrow 53"/>
              <p:cNvSpPr/>
              <p:nvPr/>
            </p:nvSpPr>
            <p:spPr bwMode="auto">
              <a:xfrm>
                <a:off x="10176387" y="837998"/>
                <a:ext cx="1061883" cy="1109593"/>
              </a:xfrm>
              <a:prstGeom prst="circularArrow">
                <a:avLst>
                  <a:gd name="adj1" fmla="val 12500"/>
                  <a:gd name="adj2" fmla="val 1142319"/>
                  <a:gd name="adj3" fmla="val 20457681"/>
                  <a:gd name="adj4" fmla="val 10800000"/>
                  <a:gd name="adj5" fmla="val 16678"/>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55" name="Circular Arrow 54"/>
              <p:cNvSpPr/>
              <p:nvPr/>
            </p:nvSpPr>
            <p:spPr bwMode="auto">
              <a:xfrm rot="10800000">
                <a:off x="10200415" y="901910"/>
                <a:ext cx="1061883" cy="1109593"/>
              </a:xfrm>
              <a:prstGeom prst="circularArrow">
                <a:avLst>
                  <a:gd name="adj1" fmla="val 12500"/>
                  <a:gd name="adj2" fmla="val 1142319"/>
                  <a:gd name="adj3" fmla="val 20457681"/>
                  <a:gd name="adj4" fmla="val 10800000"/>
                  <a:gd name="adj5" fmla="val 18478"/>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grpSp>
      </p:grpSp>
      <p:cxnSp>
        <p:nvCxnSpPr>
          <p:cNvPr id="42" name="Curved Connector 41"/>
          <p:cNvCxnSpPr/>
          <p:nvPr/>
        </p:nvCxnSpPr>
        <p:spPr>
          <a:xfrm rot="10800000">
            <a:off x="2288054" y="3316652"/>
            <a:ext cx="1025077" cy="1079946"/>
          </a:xfrm>
          <a:prstGeom prst="curvedConnector2">
            <a:avLst/>
          </a:prstGeom>
          <a:ln w="88900">
            <a:solidFill>
              <a:schemeClr val="tx1"/>
            </a:solidFill>
            <a:prstDash val="sysDot"/>
            <a:headEnd type="none"/>
            <a:tailEnd type="triangle" w="lg" len="sm"/>
          </a:ln>
        </p:spPr>
        <p:style>
          <a:lnRef idx="1">
            <a:schemeClr val="accent1"/>
          </a:lnRef>
          <a:fillRef idx="0">
            <a:schemeClr val="accent1"/>
          </a:fillRef>
          <a:effectRef idx="0">
            <a:schemeClr val="accent1"/>
          </a:effectRef>
          <a:fontRef idx="minor">
            <a:schemeClr val="tx1"/>
          </a:fontRef>
        </p:style>
      </p:cxnSp>
      <p:grpSp>
        <p:nvGrpSpPr>
          <p:cNvPr id="1024" name="Group 1023"/>
          <p:cNvGrpSpPr/>
          <p:nvPr/>
        </p:nvGrpSpPr>
        <p:grpSpPr>
          <a:xfrm>
            <a:off x="3218805" y="4017089"/>
            <a:ext cx="2439868" cy="754380"/>
            <a:chOff x="4261126" y="5400362"/>
            <a:chExt cx="3252310" cy="1005840"/>
          </a:xfrm>
        </p:grpSpPr>
        <p:sp>
          <p:nvSpPr>
            <p:cNvPr id="43" name="Rounded Rectangle 14"/>
            <p:cNvSpPr/>
            <p:nvPr/>
          </p:nvSpPr>
          <p:spPr bwMode="auto">
            <a:xfrm>
              <a:off x="4261126" y="5400362"/>
              <a:ext cx="3252310" cy="1005840"/>
            </a:xfrm>
            <a:prstGeom prst="rect">
              <a:avLst/>
            </a:prstGeom>
            <a:solidFill>
              <a:srgbClr val="ED5326"/>
            </a:solidFill>
            <a:ln w="50800" cap="flat" cmpd="sng" algn="ctr">
              <a:solidFill>
                <a:schemeClr val="tx1"/>
              </a:solidFill>
              <a:prstDash val="solid"/>
              <a:miter lim="800000"/>
            </a:ln>
            <a:effectLst/>
          </p:spPr>
          <p:txBody>
            <a:bodyPr lIns="914400" tIns="45718" rIns="91435" bIns="45718" rtlCol="0" anchor="ctr"/>
            <a:lstStyle/>
            <a:p>
              <a:pPr algn="r" fontAlgn="base">
                <a:lnSpc>
                  <a:spcPct val="90000"/>
                </a:lnSpc>
                <a:spcBef>
                  <a:spcPct val="0"/>
                </a:spcBef>
                <a:spcAft>
                  <a:spcPct val="0"/>
                </a:spcAft>
              </a:pPr>
              <a:r>
                <a:rPr lang="en-US" sz="1500" b="1" dirty="0">
                  <a:ln w="12700">
                    <a:solidFill>
                      <a:schemeClr val="bg1">
                        <a:alpha val="0"/>
                      </a:schemeClr>
                    </a:solidFill>
                    <a:prstDash val="solid"/>
                  </a:ln>
                </a:rPr>
                <a:t>Top Feature </a:t>
              </a:r>
              <a:br>
                <a:rPr lang="en-US" sz="1500" b="1" dirty="0">
                  <a:ln w="12700">
                    <a:solidFill>
                      <a:schemeClr val="bg1">
                        <a:alpha val="0"/>
                      </a:schemeClr>
                    </a:solidFill>
                    <a:prstDash val="solid"/>
                  </a:ln>
                </a:rPr>
              </a:br>
              <a:r>
                <a:rPr lang="en-US" sz="1500" b="1" dirty="0">
                  <a:ln w="12700">
                    <a:solidFill>
                      <a:schemeClr val="bg1">
                        <a:alpha val="0"/>
                      </a:schemeClr>
                    </a:solidFill>
                    <a:prstDash val="solid"/>
                  </a:ln>
                </a:rPr>
                <a:t>Requests </a:t>
              </a:r>
              <a:br>
                <a:rPr lang="en-US" sz="1500" b="1" dirty="0">
                  <a:ln w="12700">
                    <a:solidFill>
                      <a:schemeClr val="bg1">
                        <a:alpha val="0"/>
                      </a:schemeClr>
                    </a:solidFill>
                    <a:prstDash val="solid"/>
                  </a:ln>
                </a:rPr>
              </a:br>
              <a:r>
                <a:rPr lang="en-US" sz="1500" b="1" dirty="0">
                  <a:ln w="12700">
                    <a:solidFill>
                      <a:schemeClr val="bg1">
                        <a:alpha val="0"/>
                      </a:schemeClr>
                    </a:solidFill>
                    <a:prstDash val="solid"/>
                  </a:ln>
                </a:rPr>
                <a:t>Identified</a:t>
              </a:r>
            </a:p>
          </p:txBody>
        </p:sp>
        <p:grpSp>
          <p:nvGrpSpPr>
            <p:cNvPr id="44" name="Group 43"/>
            <p:cNvGrpSpPr/>
            <p:nvPr/>
          </p:nvGrpSpPr>
          <p:grpSpPr>
            <a:xfrm rot="325823">
              <a:off x="4373782" y="5559626"/>
              <a:ext cx="658207" cy="706598"/>
              <a:chOff x="10176387" y="837998"/>
              <a:chExt cx="1085911" cy="1173505"/>
            </a:xfrm>
          </p:grpSpPr>
          <p:sp>
            <p:nvSpPr>
              <p:cNvPr id="46" name="Circular Arrow 45"/>
              <p:cNvSpPr/>
              <p:nvPr/>
            </p:nvSpPr>
            <p:spPr bwMode="auto">
              <a:xfrm rot="10800000">
                <a:off x="10200415" y="901910"/>
                <a:ext cx="1061883" cy="1109593"/>
              </a:xfrm>
              <a:prstGeom prst="circularArrow">
                <a:avLst>
                  <a:gd name="adj1" fmla="val 12500"/>
                  <a:gd name="adj2" fmla="val 1142319"/>
                  <a:gd name="adj3" fmla="val 20457681"/>
                  <a:gd name="adj4" fmla="val 10800000"/>
                  <a:gd name="adj5" fmla="val 18478"/>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45" name="Circular Arrow 44"/>
              <p:cNvSpPr/>
              <p:nvPr/>
            </p:nvSpPr>
            <p:spPr bwMode="auto">
              <a:xfrm>
                <a:off x="10176387" y="837998"/>
                <a:ext cx="1061883" cy="1109593"/>
              </a:xfrm>
              <a:prstGeom prst="circularArrow">
                <a:avLst>
                  <a:gd name="adj1" fmla="val 12500"/>
                  <a:gd name="adj2" fmla="val 1142319"/>
                  <a:gd name="adj3" fmla="val 20457681"/>
                  <a:gd name="adj4" fmla="val 10800000"/>
                  <a:gd name="adj5" fmla="val 16678"/>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grpSp>
      </p:grpSp>
      <p:sp>
        <p:nvSpPr>
          <p:cNvPr id="10" name="Rectangle 9"/>
          <p:cNvSpPr/>
          <p:nvPr/>
        </p:nvSpPr>
        <p:spPr>
          <a:xfrm>
            <a:off x="3148742" y="2470186"/>
            <a:ext cx="2774532" cy="1054880"/>
          </a:xfrm>
          <a:prstGeom prst="rect">
            <a:avLst/>
          </a:prstGeom>
        </p:spPr>
        <p:txBody>
          <a:bodyPr wrap="square" lIns="57128" tIns="28566" rIns="57128" bIns="28566">
            <a:spAutoFit/>
          </a:bodyPr>
          <a:lstStyle/>
          <a:p>
            <a:pPr algn="ctr" fontAlgn="base">
              <a:lnSpc>
                <a:spcPct val="90000"/>
              </a:lnSpc>
              <a:spcBef>
                <a:spcPct val="0"/>
              </a:spcBef>
              <a:spcAft>
                <a:spcPct val="0"/>
              </a:spcAft>
            </a:pPr>
            <a:r>
              <a:rPr lang="en-US" sz="3600" b="1" spc="-30" dirty="0">
                <a:ln w="10541" cmpd="sng">
                  <a:solidFill>
                    <a:schemeClr val="bg1">
                      <a:alpha val="0"/>
                    </a:schemeClr>
                  </a:solidFill>
                  <a:prstDash val="solid"/>
                </a:ln>
                <a:solidFill>
                  <a:srgbClr val="F6AE1E"/>
                </a:solidFill>
                <a:latin typeface="+mj-lt"/>
              </a:rPr>
              <a:t>Rhythm of </a:t>
            </a:r>
            <a:r>
              <a:rPr lang="en-US" sz="3600" b="1" dirty="0">
                <a:ln w="10541" cmpd="sng">
                  <a:solidFill>
                    <a:schemeClr val="bg1">
                      <a:alpha val="0"/>
                    </a:schemeClr>
                  </a:solidFill>
                  <a:prstDash val="solid"/>
                </a:ln>
                <a:solidFill>
                  <a:srgbClr val="F6AE1E"/>
                </a:solidFill>
                <a:latin typeface="+mj-lt"/>
              </a:rPr>
              <a:t/>
            </a:r>
            <a:br>
              <a:rPr lang="en-US" sz="3600" b="1" dirty="0">
                <a:ln w="10541" cmpd="sng">
                  <a:solidFill>
                    <a:schemeClr val="bg1">
                      <a:alpha val="0"/>
                    </a:schemeClr>
                  </a:solidFill>
                  <a:prstDash val="solid"/>
                </a:ln>
                <a:solidFill>
                  <a:srgbClr val="F6AE1E"/>
                </a:solidFill>
                <a:latin typeface="+mj-lt"/>
              </a:rPr>
            </a:br>
            <a:r>
              <a:rPr lang="en-US" sz="3600" b="1" spc="-113" dirty="0">
                <a:ln w="10541" cmpd="sng">
                  <a:solidFill>
                    <a:schemeClr val="bg1">
                      <a:alpha val="0"/>
                    </a:schemeClr>
                  </a:solidFill>
                  <a:prstDash val="solid"/>
                </a:ln>
                <a:solidFill>
                  <a:srgbClr val="F6AE1E"/>
                </a:solidFill>
                <a:latin typeface="+mj-lt"/>
              </a:rPr>
              <a:t>the Service</a:t>
            </a:r>
          </a:p>
        </p:txBody>
      </p:sp>
      <p:sp>
        <p:nvSpPr>
          <p:cNvPr id="21" name="Title 1"/>
          <p:cNvSpPr txBox="1">
            <a:spLocks/>
          </p:cNvSpPr>
          <p:nvPr/>
        </p:nvSpPr>
        <p:spPr>
          <a:xfrm>
            <a:off x="389436" y="171451"/>
            <a:ext cx="8363938" cy="457049"/>
          </a:xfrm>
          <a:prstGeom prst="rect">
            <a:avLst/>
          </a:prstGeom>
        </p:spPr>
        <p:txBody>
          <a:bodyPr lIns="68586" tIns="34294" rIns="68586" bIns="34294"/>
          <a:lst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dirty="0"/>
              <a:t>Continuous Improvements</a:t>
            </a:r>
            <a:endParaRPr lang="en-US" b="1" u="sng" dirty="0"/>
          </a:p>
        </p:txBody>
      </p:sp>
      <p:cxnSp>
        <p:nvCxnSpPr>
          <p:cNvPr id="38" name="Curved Connector 37"/>
          <p:cNvCxnSpPr/>
          <p:nvPr/>
        </p:nvCxnSpPr>
        <p:spPr>
          <a:xfrm rot="5400000">
            <a:off x="5822744" y="3414419"/>
            <a:ext cx="1024810" cy="1087419"/>
          </a:xfrm>
          <a:prstGeom prst="curvedConnector2">
            <a:avLst/>
          </a:prstGeom>
          <a:ln w="88900">
            <a:solidFill>
              <a:schemeClr val="tx1"/>
            </a:solidFill>
            <a:prstDash val="sysDot"/>
            <a:headEnd type="none"/>
            <a:tailEnd type="triangle" w="lg" len="sm"/>
          </a:ln>
        </p:spPr>
        <p:style>
          <a:lnRef idx="1">
            <a:schemeClr val="accent1"/>
          </a:lnRef>
          <a:fillRef idx="0">
            <a:schemeClr val="accent1"/>
          </a:fillRef>
          <a:effectRef idx="0">
            <a:schemeClr val="accent1"/>
          </a:effectRef>
          <a:fontRef idx="minor">
            <a:schemeClr val="tx1"/>
          </a:fontRef>
        </p:style>
      </p:cxnSp>
      <p:grpSp>
        <p:nvGrpSpPr>
          <p:cNvPr id="63" name="Group 62"/>
          <p:cNvGrpSpPr/>
          <p:nvPr/>
        </p:nvGrpSpPr>
        <p:grpSpPr>
          <a:xfrm>
            <a:off x="6393181" y="2673649"/>
            <a:ext cx="2439868" cy="751843"/>
            <a:chOff x="8610510" y="3697595"/>
            <a:chExt cx="3252310" cy="1002457"/>
          </a:xfrm>
        </p:grpSpPr>
        <p:sp>
          <p:nvSpPr>
            <p:cNvPr id="37" name="Rounded Rectangle 14"/>
            <p:cNvSpPr/>
            <p:nvPr/>
          </p:nvSpPr>
          <p:spPr bwMode="auto">
            <a:xfrm>
              <a:off x="8610510" y="3697595"/>
              <a:ext cx="3252310" cy="1002457"/>
            </a:xfrm>
            <a:prstGeom prst="rect">
              <a:avLst/>
            </a:prstGeom>
            <a:solidFill>
              <a:schemeClr val="accent4"/>
            </a:solidFill>
            <a:ln w="50800" cap="flat" cmpd="sng" algn="ctr">
              <a:solidFill>
                <a:schemeClr val="tx1"/>
              </a:solidFill>
              <a:prstDash val="solid"/>
              <a:miter lim="800000"/>
            </a:ln>
            <a:effectLst/>
          </p:spPr>
          <p:txBody>
            <a:bodyPr lIns="914400" tIns="45718" rIns="91435" bIns="45718" rtlCol="0" anchor="ctr"/>
            <a:lstStyle/>
            <a:p>
              <a:pPr algn="r" fontAlgn="base">
                <a:lnSpc>
                  <a:spcPct val="90000"/>
                </a:lnSpc>
                <a:spcBef>
                  <a:spcPct val="0"/>
                </a:spcBef>
                <a:spcAft>
                  <a:spcPct val="0"/>
                </a:spcAft>
              </a:pPr>
              <a:r>
                <a:rPr lang="en-US" sz="1500" b="1" dirty="0">
                  <a:ln w="12700">
                    <a:solidFill>
                      <a:schemeClr val="bg1">
                        <a:alpha val="0"/>
                      </a:schemeClr>
                    </a:solidFill>
                    <a:prstDash val="solid"/>
                  </a:ln>
                </a:rPr>
                <a:t>Field, </a:t>
              </a:r>
              <a:br>
                <a:rPr lang="en-US" sz="1500" b="1" dirty="0">
                  <a:ln w="12700">
                    <a:solidFill>
                      <a:schemeClr val="bg1">
                        <a:alpha val="0"/>
                      </a:schemeClr>
                    </a:solidFill>
                    <a:prstDash val="solid"/>
                  </a:ln>
                </a:rPr>
              </a:br>
              <a:r>
                <a:rPr lang="en-US" sz="1500" b="1" dirty="0">
                  <a:ln w="12700">
                    <a:solidFill>
                      <a:schemeClr val="bg1">
                        <a:alpha val="0"/>
                      </a:schemeClr>
                    </a:solidFill>
                    <a:prstDash val="solid"/>
                  </a:ln>
                </a:rPr>
                <a:t>Partner, And </a:t>
              </a:r>
              <a:br>
                <a:rPr lang="en-US" sz="1500" b="1" dirty="0">
                  <a:ln w="12700">
                    <a:solidFill>
                      <a:schemeClr val="bg1">
                        <a:alpha val="0"/>
                      </a:schemeClr>
                    </a:solidFill>
                    <a:prstDash val="solid"/>
                  </a:ln>
                </a:rPr>
              </a:br>
              <a:r>
                <a:rPr lang="en-US" sz="1500" b="1" dirty="0">
                  <a:ln w="12700">
                    <a:solidFill>
                      <a:schemeClr val="bg1">
                        <a:alpha val="0"/>
                      </a:schemeClr>
                    </a:solidFill>
                    <a:prstDash val="solid"/>
                  </a:ln>
                </a:rPr>
                <a:t>Customer Inputs</a:t>
              </a:r>
            </a:p>
          </p:txBody>
        </p:sp>
        <p:grpSp>
          <p:nvGrpSpPr>
            <p:cNvPr id="39" name="Group 38"/>
            <p:cNvGrpSpPr/>
            <p:nvPr/>
          </p:nvGrpSpPr>
          <p:grpSpPr>
            <a:xfrm rot="325823">
              <a:off x="8814431" y="3857919"/>
              <a:ext cx="658207" cy="711302"/>
              <a:chOff x="10176387" y="837998"/>
              <a:chExt cx="1085911" cy="1173505"/>
            </a:xfrm>
          </p:grpSpPr>
          <p:sp>
            <p:nvSpPr>
              <p:cNvPr id="40" name="Circular Arrow 39"/>
              <p:cNvSpPr/>
              <p:nvPr/>
            </p:nvSpPr>
            <p:spPr bwMode="auto">
              <a:xfrm>
                <a:off x="10176387" y="837998"/>
                <a:ext cx="1061883" cy="1109593"/>
              </a:xfrm>
              <a:prstGeom prst="circularArrow">
                <a:avLst>
                  <a:gd name="adj1" fmla="val 12500"/>
                  <a:gd name="adj2" fmla="val 1142319"/>
                  <a:gd name="adj3" fmla="val 20457681"/>
                  <a:gd name="adj4" fmla="val 10800000"/>
                  <a:gd name="adj5" fmla="val 16678"/>
                </a:avLst>
              </a:prstGeom>
              <a:solidFill>
                <a:schemeClr val="tx1"/>
              </a:solidFill>
              <a:ln>
                <a:solidFill>
                  <a:schemeClr val="tx1"/>
                </a:solidFill>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41" name="Circular Arrow 40"/>
              <p:cNvSpPr/>
              <p:nvPr/>
            </p:nvSpPr>
            <p:spPr bwMode="auto">
              <a:xfrm rot="10800000">
                <a:off x="10200415" y="901910"/>
                <a:ext cx="1061883" cy="1109593"/>
              </a:xfrm>
              <a:prstGeom prst="circularArrow">
                <a:avLst>
                  <a:gd name="adj1" fmla="val 12500"/>
                  <a:gd name="adj2" fmla="val 1142319"/>
                  <a:gd name="adj3" fmla="val 20457681"/>
                  <a:gd name="adj4" fmla="val 10800000"/>
                  <a:gd name="adj5" fmla="val 18478"/>
                </a:avLst>
              </a:prstGeom>
              <a:solidFill>
                <a:schemeClr val="tx1"/>
              </a:solidFill>
              <a:ln>
                <a:solidFill>
                  <a:schemeClr val="tx1"/>
                </a:solidFill>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grpSp>
      </p:grpSp>
      <p:cxnSp>
        <p:nvCxnSpPr>
          <p:cNvPr id="15" name="Curved Connector 14"/>
          <p:cNvCxnSpPr/>
          <p:nvPr/>
        </p:nvCxnSpPr>
        <p:spPr>
          <a:xfrm>
            <a:off x="5840946" y="1473706"/>
            <a:ext cx="1025077" cy="1087136"/>
          </a:xfrm>
          <a:prstGeom prst="curvedConnector2">
            <a:avLst/>
          </a:prstGeom>
          <a:ln w="88900">
            <a:solidFill>
              <a:schemeClr val="tx1"/>
            </a:solidFill>
            <a:prstDash val="sysDot"/>
            <a:headEnd type="none"/>
            <a:tailEnd type="triangle" w="lg" len="sm"/>
          </a:ln>
        </p:spPr>
        <p:style>
          <a:lnRef idx="1">
            <a:schemeClr val="accent1"/>
          </a:lnRef>
          <a:fillRef idx="0">
            <a:schemeClr val="accent1"/>
          </a:fillRef>
          <a:effectRef idx="0">
            <a:schemeClr val="accent1"/>
          </a:effectRef>
          <a:fontRef idx="minor">
            <a:schemeClr val="tx1"/>
          </a:fontRef>
        </p:style>
      </p:cxnSp>
      <p:grpSp>
        <p:nvGrpSpPr>
          <p:cNvPr id="62" name="Group 61"/>
          <p:cNvGrpSpPr/>
          <p:nvPr/>
        </p:nvGrpSpPr>
        <p:grpSpPr>
          <a:xfrm>
            <a:off x="3406891" y="1095835"/>
            <a:ext cx="2439868" cy="751843"/>
            <a:chOff x="4644574" y="1461111"/>
            <a:chExt cx="3252310" cy="1002457"/>
          </a:xfrm>
        </p:grpSpPr>
        <p:sp>
          <p:nvSpPr>
            <p:cNvPr id="4" name="Rounded Rectangle 14"/>
            <p:cNvSpPr/>
            <p:nvPr/>
          </p:nvSpPr>
          <p:spPr bwMode="auto">
            <a:xfrm>
              <a:off x="4644574" y="1461111"/>
              <a:ext cx="3252310" cy="1002457"/>
            </a:xfrm>
            <a:prstGeom prst="rect">
              <a:avLst/>
            </a:prstGeom>
            <a:solidFill>
              <a:schemeClr val="accent5"/>
            </a:solidFill>
            <a:ln w="50800" cap="flat" cmpd="sng" algn="ctr">
              <a:solidFill>
                <a:schemeClr val="tx1"/>
              </a:solidFill>
              <a:prstDash val="solid"/>
              <a:miter lim="800000"/>
            </a:ln>
            <a:effectLst/>
          </p:spPr>
          <p:txBody>
            <a:bodyPr lIns="914400" tIns="45718" rIns="91435" bIns="45718" rtlCol="0" anchor="ctr"/>
            <a:lstStyle/>
            <a:p>
              <a:pPr algn="r" fontAlgn="base">
                <a:lnSpc>
                  <a:spcPct val="90000"/>
                </a:lnSpc>
                <a:spcBef>
                  <a:spcPct val="0"/>
                </a:spcBef>
                <a:spcAft>
                  <a:spcPct val="0"/>
                </a:spcAft>
              </a:pPr>
              <a:r>
                <a:rPr lang="en-US" sz="1500" b="1" dirty="0">
                  <a:ln w="12700">
                    <a:solidFill>
                      <a:schemeClr val="bg1">
                        <a:alpha val="0"/>
                      </a:schemeClr>
                    </a:solidFill>
                    <a:prstDash val="solid"/>
                  </a:ln>
                </a:rPr>
                <a:t>12 Month </a:t>
              </a:r>
              <a:br>
                <a:rPr lang="en-US" sz="1500" b="1" dirty="0">
                  <a:ln w="12700">
                    <a:solidFill>
                      <a:schemeClr val="bg1">
                        <a:alpha val="0"/>
                      </a:schemeClr>
                    </a:solidFill>
                    <a:prstDash val="solid"/>
                  </a:ln>
                </a:rPr>
              </a:br>
              <a:r>
                <a:rPr lang="en-US" sz="1500" b="1" dirty="0">
                  <a:ln w="12700">
                    <a:solidFill>
                      <a:schemeClr val="bg1">
                        <a:alpha val="0"/>
                      </a:schemeClr>
                    </a:solidFill>
                    <a:prstDash val="solid"/>
                  </a:ln>
                </a:rPr>
                <a:t>Roadmap </a:t>
              </a:r>
              <a:br>
                <a:rPr lang="en-US" sz="1500" b="1" dirty="0">
                  <a:ln w="12700">
                    <a:solidFill>
                      <a:schemeClr val="bg1">
                        <a:alpha val="0"/>
                      </a:schemeClr>
                    </a:solidFill>
                    <a:prstDash val="solid"/>
                  </a:ln>
                </a:rPr>
              </a:br>
              <a:r>
                <a:rPr lang="en-US" sz="1500" b="1" dirty="0">
                  <a:ln w="12700">
                    <a:solidFill>
                      <a:schemeClr val="bg1">
                        <a:alpha val="0"/>
                      </a:schemeClr>
                    </a:solidFill>
                    <a:prstDash val="solid"/>
                  </a:ln>
                </a:rPr>
                <a:t>Communicated</a:t>
              </a:r>
            </a:p>
          </p:txBody>
        </p:sp>
        <p:grpSp>
          <p:nvGrpSpPr>
            <p:cNvPr id="17" name="Group 16"/>
            <p:cNvGrpSpPr/>
            <p:nvPr/>
          </p:nvGrpSpPr>
          <p:grpSpPr>
            <a:xfrm rot="325823">
              <a:off x="4742482" y="1605620"/>
              <a:ext cx="658214" cy="711303"/>
              <a:chOff x="9787374" y="941179"/>
              <a:chExt cx="1085923" cy="1173506"/>
            </a:xfrm>
          </p:grpSpPr>
          <p:sp>
            <p:nvSpPr>
              <p:cNvPr id="16" name="Circular Arrow 15"/>
              <p:cNvSpPr/>
              <p:nvPr/>
            </p:nvSpPr>
            <p:spPr bwMode="auto">
              <a:xfrm>
                <a:off x="9787374" y="941179"/>
                <a:ext cx="1061885" cy="1109593"/>
              </a:xfrm>
              <a:prstGeom prst="circularArrow">
                <a:avLst>
                  <a:gd name="adj1" fmla="val 12500"/>
                  <a:gd name="adj2" fmla="val 1142319"/>
                  <a:gd name="adj3" fmla="val 20457681"/>
                  <a:gd name="adj4" fmla="val 10800000"/>
                  <a:gd name="adj5" fmla="val 16678"/>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25" name="Circular Arrow 24"/>
              <p:cNvSpPr/>
              <p:nvPr/>
            </p:nvSpPr>
            <p:spPr bwMode="auto">
              <a:xfrm rot="10800000">
                <a:off x="9811413" y="1005092"/>
                <a:ext cx="1061884" cy="1109593"/>
              </a:xfrm>
              <a:prstGeom prst="circularArrow">
                <a:avLst>
                  <a:gd name="adj1" fmla="val 12500"/>
                  <a:gd name="adj2" fmla="val 1142319"/>
                  <a:gd name="adj3" fmla="val 20457681"/>
                  <a:gd name="adj4" fmla="val 10800000"/>
                  <a:gd name="adj5" fmla="val 18478"/>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grpSp>
      </p:grpSp>
      <p:sp>
        <p:nvSpPr>
          <p:cNvPr id="28"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9"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
              </a:rPr>
              <a:t>www.rapidbbs.cn</a:t>
            </a:r>
            <a:endParaRPr lang="zh-CN" altLang="en-US" sz="1200" b="0">
              <a:latin typeface="Arial" charset="0"/>
              <a:ea typeface="ＭＳ Ｐゴシック" pitchFamily="34" charset="-128"/>
            </a:endParaRPr>
          </a:p>
        </p:txBody>
      </p:sp>
      <p:pic>
        <p:nvPicPr>
          <p:cNvPr id="30" name="Picture 2">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70200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2"/>
                                        </p:tgtEl>
                                        <p:attrNameLst>
                                          <p:attrName>style.visibility</p:attrName>
                                        </p:attrNameLst>
                                      </p:cBhvr>
                                      <p:to>
                                        <p:strVal val="visible"/>
                                      </p:to>
                                    </p:set>
                                    <p:animEffect transition="in" filter="fade">
                                      <p:cBhvr>
                                        <p:cTn id="7" dur="500"/>
                                        <p:tgtEl>
                                          <p:spTgt spid="62"/>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15"/>
                                        </p:tgtEl>
                                        <p:attrNameLst>
                                          <p:attrName>style.visibility</p:attrName>
                                        </p:attrNameLst>
                                      </p:cBhvr>
                                      <p:to>
                                        <p:strVal val="visible"/>
                                      </p:to>
                                    </p:set>
                                    <p:animEffect transition="in" filter="wipe(up)">
                                      <p:cBhvr>
                                        <p:cTn id="11" dur="500"/>
                                        <p:tgtEl>
                                          <p:spTgt spid="1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63"/>
                                        </p:tgtEl>
                                        <p:attrNameLst>
                                          <p:attrName>style.visibility</p:attrName>
                                        </p:attrNameLst>
                                      </p:cBhvr>
                                      <p:to>
                                        <p:strVal val="visible"/>
                                      </p:to>
                                    </p:set>
                                    <p:animEffect transition="in" filter="fade">
                                      <p:cBhvr>
                                        <p:cTn id="15" dur="500"/>
                                        <p:tgtEl>
                                          <p:spTgt spid="63"/>
                                        </p:tgtEl>
                                      </p:cBhvr>
                                    </p:animEffect>
                                  </p:childTnLst>
                                </p:cTn>
                              </p:par>
                            </p:childTnLst>
                          </p:cTn>
                        </p:par>
                        <p:par>
                          <p:cTn id="16" fill="hold">
                            <p:stCondLst>
                              <p:cond delay="1500"/>
                            </p:stCondLst>
                            <p:childTnLst>
                              <p:par>
                                <p:cTn id="17" presetID="22" presetClass="entr" presetSubtype="1" fill="hold" nodeType="after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wipe(up)">
                                      <p:cBhvr>
                                        <p:cTn id="19" dur="500"/>
                                        <p:tgtEl>
                                          <p:spTgt spid="38"/>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1024"/>
                                        </p:tgtEl>
                                        <p:attrNameLst>
                                          <p:attrName>style.visibility</p:attrName>
                                        </p:attrNameLst>
                                      </p:cBhvr>
                                      <p:to>
                                        <p:strVal val="visible"/>
                                      </p:to>
                                    </p:set>
                                    <p:animEffect transition="in" filter="fade">
                                      <p:cBhvr>
                                        <p:cTn id="23" dur="500"/>
                                        <p:tgtEl>
                                          <p:spTgt spid="1024"/>
                                        </p:tgtEl>
                                      </p:cBhvr>
                                    </p:animEffect>
                                  </p:childTnLst>
                                </p:cTn>
                              </p:par>
                            </p:childTnLst>
                          </p:cTn>
                        </p:par>
                        <p:par>
                          <p:cTn id="24" fill="hold">
                            <p:stCondLst>
                              <p:cond delay="2500"/>
                            </p:stCondLst>
                            <p:childTnLst>
                              <p:par>
                                <p:cTn id="25" presetID="22" presetClass="entr" presetSubtype="4" fill="hold" nodeType="afterEffect">
                                  <p:stCondLst>
                                    <p:cond delay="0"/>
                                  </p:stCondLst>
                                  <p:childTnLst>
                                    <p:set>
                                      <p:cBhvr>
                                        <p:cTn id="26" dur="1" fill="hold">
                                          <p:stCondLst>
                                            <p:cond delay="0"/>
                                          </p:stCondLst>
                                        </p:cTn>
                                        <p:tgtEl>
                                          <p:spTgt spid="42"/>
                                        </p:tgtEl>
                                        <p:attrNameLst>
                                          <p:attrName>style.visibility</p:attrName>
                                        </p:attrNameLst>
                                      </p:cBhvr>
                                      <p:to>
                                        <p:strVal val="visible"/>
                                      </p:to>
                                    </p:set>
                                    <p:animEffect transition="in" filter="wipe(down)">
                                      <p:cBhvr>
                                        <p:cTn id="27" dur="500"/>
                                        <p:tgtEl>
                                          <p:spTgt spid="42"/>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1025"/>
                                        </p:tgtEl>
                                        <p:attrNameLst>
                                          <p:attrName>style.visibility</p:attrName>
                                        </p:attrNameLst>
                                      </p:cBhvr>
                                      <p:to>
                                        <p:strVal val="visible"/>
                                      </p:to>
                                    </p:set>
                                    <p:animEffect transition="in" filter="fade">
                                      <p:cBhvr>
                                        <p:cTn id="31" dur="500"/>
                                        <p:tgtEl>
                                          <p:spTgt spid="1025"/>
                                        </p:tgtEl>
                                      </p:cBhvr>
                                    </p:animEffect>
                                  </p:childTnLst>
                                </p:cTn>
                              </p:par>
                            </p:childTnLst>
                          </p:cTn>
                        </p:par>
                        <p:par>
                          <p:cTn id="32" fill="hold">
                            <p:stCondLst>
                              <p:cond delay="3500"/>
                            </p:stCondLst>
                            <p:childTnLst>
                              <p:par>
                                <p:cTn id="33" presetID="22" presetClass="entr" presetSubtype="4" fill="hold" nodeType="afterEffect">
                                  <p:stCondLst>
                                    <p:cond delay="0"/>
                                  </p:stCondLst>
                                  <p:childTnLst>
                                    <p:set>
                                      <p:cBhvr>
                                        <p:cTn id="34" dur="1" fill="hold">
                                          <p:stCondLst>
                                            <p:cond delay="0"/>
                                          </p:stCondLst>
                                        </p:cTn>
                                        <p:tgtEl>
                                          <p:spTgt spid="47"/>
                                        </p:tgtEl>
                                        <p:attrNameLst>
                                          <p:attrName>style.visibility</p:attrName>
                                        </p:attrNameLst>
                                      </p:cBhvr>
                                      <p:to>
                                        <p:strVal val="visible"/>
                                      </p:to>
                                    </p:set>
                                    <p:animEffect transition="in" filter="wipe(down)">
                                      <p:cBhvr>
                                        <p:cTn id="35"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0"/>
            <a:ext cx="9144000" cy="51435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34294" tIns="34294" rIns="34294" bIns="34294" numCol="1" spcCol="0" rtlCol="0" fromWordArt="0" anchor="ctr" anchorCtr="0" forceAA="0" compatLnSpc="1">
            <a:prstTxWarp prst="textNoShape">
              <a:avLst/>
            </a:prstTxWarp>
            <a:noAutofit/>
          </a:bodyPr>
          <a:lstStyle>
            <a:defPPr>
              <a:defRPr lang="en-US"/>
            </a:defPPr>
            <a:lvl1pPr marL="0" algn="l" defTabSz="914156" rtl="0" eaLnBrk="1" latinLnBrk="0" hangingPunct="1">
              <a:defRPr sz="1800" kern="1200">
                <a:solidFill>
                  <a:schemeClr val="lt1"/>
                </a:solidFill>
                <a:latin typeface="+mn-lt"/>
                <a:ea typeface="+mn-ea"/>
                <a:cs typeface="+mn-cs"/>
              </a:defRPr>
            </a:lvl1pPr>
            <a:lvl2pPr marL="457078" algn="l" defTabSz="914156" rtl="0" eaLnBrk="1" latinLnBrk="0" hangingPunct="1">
              <a:defRPr sz="1800" kern="1200">
                <a:solidFill>
                  <a:schemeClr val="lt1"/>
                </a:solidFill>
                <a:latin typeface="+mn-lt"/>
                <a:ea typeface="+mn-ea"/>
                <a:cs typeface="+mn-cs"/>
              </a:defRPr>
            </a:lvl2pPr>
            <a:lvl3pPr marL="914156" algn="l" defTabSz="914156" rtl="0" eaLnBrk="1" latinLnBrk="0" hangingPunct="1">
              <a:defRPr sz="1800" kern="1200">
                <a:solidFill>
                  <a:schemeClr val="lt1"/>
                </a:solidFill>
                <a:latin typeface="+mn-lt"/>
                <a:ea typeface="+mn-ea"/>
                <a:cs typeface="+mn-cs"/>
              </a:defRPr>
            </a:lvl3pPr>
            <a:lvl4pPr marL="1371233" algn="l" defTabSz="914156" rtl="0" eaLnBrk="1" latinLnBrk="0" hangingPunct="1">
              <a:defRPr sz="1800" kern="1200">
                <a:solidFill>
                  <a:schemeClr val="lt1"/>
                </a:solidFill>
                <a:latin typeface="+mn-lt"/>
                <a:ea typeface="+mn-ea"/>
                <a:cs typeface="+mn-cs"/>
              </a:defRPr>
            </a:lvl4pPr>
            <a:lvl5pPr marL="1828313" algn="l" defTabSz="914156" rtl="0" eaLnBrk="1" latinLnBrk="0" hangingPunct="1">
              <a:defRPr sz="1800" kern="1200">
                <a:solidFill>
                  <a:schemeClr val="lt1"/>
                </a:solidFill>
                <a:latin typeface="+mn-lt"/>
                <a:ea typeface="+mn-ea"/>
                <a:cs typeface="+mn-cs"/>
              </a:defRPr>
            </a:lvl5pPr>
            <a:lvl6pPr marL="2285391" algn="l" defTabSz="914156" rtl="0" eaLnBrk="1" latinLnBrk="0" hangingPunct="1">
              <a:defRPr sz="1800" kern="1200">
                <a:solidFill>
                  <a:schemeClr val="lt1"/>
                </a:solidFill>
                <a:latin typeface="+mn-lt"/>
                <a:ea typeface="+mn-ea"/>
                <a:cs typeface="+mn-cs"/>
              </a:defRPr>
            </a:lvl6pPr>
            <a:lvl7pPr marL="2742468" algn="l" defTabSz="914156" rtl="0" eaLnBrk="1" latinLnBrk="0" hangingPunct="1">
              <a:defRPr sz="1800" kern="1200">
                <a:solidFill>
                  <a:schemeClr val="lt1"/>
                </a:solidFill>
                <a:latin typeface="+mn-lt"/>
                <a:ea typeface="+mn-ea"/>
                <a:cs typeface="+mn-cs"/>
              </a:defRPr>
            </a:lvl7pPr>
            <a:lvl8pPr marL="3199546" algn="l" defTabSz="914156" rtl="0" eaLnBrk="1" latinLnBrk="0" hangingPunct="1">
              <a:defRPr sz="1800" kern="1200">
                <a:solidFill>
                  <a:schemeClr val="lt1"/>
                </a:solidFill>
                <a:latin typeface="+mn-lt"/>
                <a:ea typeface="+mn-ea"/>
                <a:cs typeface="+mn-cs"/>
              </a:defRPr>
            </a:lvl8pPr>
            <a:lvl9pPr marL="3656624" algn="l" defTabSz="914156" rtl="0" eaLnBrk="1" latinLnBrk="0" hangingPunct="1">
              <a:defRPr sz="1800" kern="1200">
                <a:solidFill>
                  <a:schemeClr val="lt1"/>
                </a:solidFill>
                <a:latin typeface="+mn-lt"/>
                <a:ea typeface="+mn-ea"/>
                <a:cs typeface="+mn-cs"/>
              </a:defRPr>
            </a:lvl9pPr>
          </a:lstStyle>
          <a:p>
            <a:pPr lvl="0"/>
            <a:endParaRPr lang="en-US" i="1" dirty="0"/>
          </a:p>
        </p:txBody>
      </p:sp>
      <p:grpSp>
        <p:nvGrpSpPr>
          <p:cNvPr id="3" name="Group 2"/>
          <p:cNvGrpSpPr/>
          <p:nvPr/>
        </p:nvGrpSpPr>
        <p:grpSpPr>
          <a:xfrm>
            <a:off x="215286" y="768944"/>
            <a:ext cx="6178086" cy="4220843"/>
            <a:chOff x="6467431" y="2188243"/>
            <a:chExt cx="5579931" cy="3813178"/>
          </a:xfrm>
          <a:effectLst>
            <a:outerShdw blurRad="63500" sx="101000" sy="101000" algn="ctr" rotWithShape="0">
              <a:prstClr val="black">
                <a:alpha val="20000"/>
              </a:prstClr>
            </a:outerShdw>
          </a:effectLst>
        </p:grpSpPr>
        <p:pic>
          <p:nvPicPr>
            <p:cNvPr id="12" name="Picture 2" descr="http://sharepoint/sites/bex/Mango/Shared%20Documents/20,121.01%20Mango%20Business%20Screenshots/1023.1_MangoScreenshot_OfficeHub_Panorama/1023_1_Mango_OfficeHub_Panorama_06091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51268" y="2697656"/>
              <a:ext cx="5396094" cy="2785807"/>
            </a:xfrm>
            <a:prstGeom prst="rect">
              <a:avLst/>
            </a:prstGeom>
            <a:noFill/>
            <a:ln w="3175">
              <a:solidFill>
                <a:schemeClr val="bg1">
                  <a:lumMod val="75000"/>
                </a:schemeClr>
              </a:solidFill>
            </a:ln>
            <a:extLst>
              <a:ext uri="{909E8E84-426E-40DD-AFC4-6F175D3DCCD1}">
                <a14:hiddenFill xmlns:a14="http://schemas.microsoft.com/office/drawing/2010/main">
                  <a:solidFill>
                    <a:srgbClr val="FFFFFF"/>
                  </a:solidFill>
                </a14:hiddenFill>
              </a:ext>
            </a:extLst>
          </p:spPr>
        </p:pic>
        <p:pic>
          <p:nvPicPr>
            <p:cNvPr id="13"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67431" y="2188243"/>
              <a:ext cx="2031302" cy="38131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 name="Title 1"/>
          <p:cNvSpPr>
            <a:spLocks noGrp="1"/>
          </p:cNvSpPr>
          <p:nvPr>
            <p:ph type="title"/>
          </p:nvPr>
        </p:nvSpPr>
        <p:spPr>
          <a:xfrm>
            <a:off x="389436" y="171451"/>
            <a:ext cx="8363938" cy="457049"/>
          </a:xfrm>
        </p:spPr>
        <p:txBody>
          <a:bodyPr/>
          <a:lstStyle/>
          <a:p>
            <a:r>
              <a:rPr lang="en-US" dirty="0"/>
              <a:t>Windows Phone Updates </a:t>
            </a:r>
          </a:p>
        </p:txBody>
      </p:sp>
      <p:sp>
        <p:nvSpPr>
          <p:cNvPr id="16" name="Rectangle 15"/>
          <p:cNvSpPr/>
          <p:nvPr/>
        </p:nvSpPr>
        <p:spPr bwMode="auto">
          <a:xfrm>
            <a:off x="5287669" y="851714"/>
            <a:ext cx="3641045" cy="4026315"/>
          </a:xfrm>
          <a:prstGeom prst="rect">
            <a:avLst/>
          </a:prstGeom>
          <a:solidFill>
            <a:srgbClr val="94C949"/>
          </a:solidFill>
          <a:ln w="76200">
            <a:solidFill>
              <a:schemeClr val="tx1"/>
            </a:solidFill>
            <a:miter lim="800000"/>
            <a:headEnd type="none" w="med" len="med"/>
            <a:tailEnd type="none" w="med" len="med"/>
          </a:ln>
          <a:effectLst>
            <a:outerShdw blurRad="63500" sx="101000" sy="101000" algn="ctr" rotWithShape="0">
              <a:prstClr val="black">
                <a:alpha val="20000"/>
              </a:prstClr>
            </a:outerShdw>
          </a:effectLst>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14255" tIns="114255" rIns="114255" bIns="28563" numCol="1" spcCol="0" rtlCol="0" fromWordArt="0" anchor="t" anchorCtr="0" forceAA="0" compatLnSpc="1">
            <a:prstTxWarp prst="textNoShape">
              <a:avLst/>
            </a:prstTxWarp>
            <a:noAutofit/>
          </a:bodyPr>
          <a:lstStyle/>
          <a:p>
            <a:pPr defTabSz="571089">
              <a:spcAft>
                <a:spcPts val="750"/>
              </a:spcAft>
              <a:buClr>
                <a:prstClr val="black"/>
              </a:buClr>
            </a:pPr>
            <a:r>
              <a:rPr lang="en-US" sz="1500" b="1" dirty="0">
                <a:solidFill>
                  <a:schemeClr val="tx1"/>
                </a:solidFill>
              </a:rPr>
              <a:t>Fast set up using auto detection with a single input of Office 365 ID and password</a:t>
            </a:r>
          </a:p>
          <a:p>
            <a:pPr defTabSz="571089">
              <a:spcAft>
                <a:spcPts val="750"/>
              </a:spcAft>
              <a:buClr>
                <a:prstClr val="black"/>
              </a:buClr>
            </a:pPr>
            <a:r>
              <a:rPr lang="en-US" sz="1500" b="1" dirty="0">
                <a:solidFill>
                  <a:schemeClr val="tx1"/>
                </a:solidFill>
              </a:rPr>
              <a:t>Access to email, calendar, tasks, contacts with Outlook Mobile built in</a:t>
            </a:r>
          </a:p>
          <a:p>
            <a:pPr defTabSz="571089">
              <a:spcAft>
                <a:spcPts val="750"/>
              </a:spcAft>
              <a:buClr>
                <a:prstClr val="black"/>
              </a:buClr>
            </a:pPr>
            <a:r>
              <a:rPr lang="en-US" sz="1500" b="1" dirty="0">
                <a:solidFill>
                  <a:schemeClr val="tx1"/>
                </a:solidFill>
              </a:rPr>
              <a:t>Access to Office documents with Office Mobile built in</a:t>
            </a:r>
          </a:p>
          <a:p>
            <a:pPr defTabSz="571089">
              <a:spcAft>
                <a:spcPts val="750"/>
              </a:spcAft>
              <a:buClr>
                <a:prstClr val="black"/>
              </a:buClr>
            </a:pPr>
            <a:r>
              <a:rPr lang="en-US" sz="1500" b="1" dirty="0">
                <a:solidFill>
                  <a:schemeClr val="tx1"/>
                </a:solidFill>
              </a:rPr>
              <a:t>SharePoint Workspace Mobile designed to keep the mobile workforce up to date</a:t>
            </a:r>
          </a:p>
          <a:p>
            <a:pPr defTabSz="571089">
              <a:spcAft>
                <a:spcPts val="750"/>
              </a:spcAft>
              <a:buClr>
                <a:prstClr val="black"/>
              </a:buClr>
            </a:pPr>
            <a:r>
              <a:rPr lang="en-US" sz="1500" b="1" dirty="0">
                <a:solidFill>
                  <a:schemeClr val="tx1"/>
                </a:solidFill>
              </a:rPr>
              <a:t>Instant messaging &amp; online meetings with Lync Mobile app available as a free download in the Marketplace</a:t>
            </a:r>
          </a:p>
          <a:p>
            <a:pPr defTabSz="571089">
              <a:spcAft>
                <a:spcPts val="750"/>
              </a:spcAft>
              <a:buClr>
                <a:prstClr val="black"/>
              </a:buClr>
            </a:pPr>
            <a:r>
              <a:rPr lang="en-US" sz="1500" b="1" dirty="0">
                <a:solidFill>
                  <a:schemeClr val="tx1"/>
                </a:solidFill>
              </a:rPr>
              <a:t>New security features</a:t>
            </a:r>
          </a:p>
        </p:txBody>
      </p:sp>
      <p:sp>
        <p:nvSpPr>
          <p:cNvPr id="8"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9"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5"/>
              </a:rPr>
              <a:t>www.rapidbbs.cn</a:t>
            </a:r>
            <a:endParaRPr lang="zh-CN" altLang="en-US" sz="1200" b="0">
              <a:latin typeface="Arial" charset="0"/>
              <a:ea typeface="ＭＳ Ｐゴシック" pitchFamily="34" charset="-128"/>
            </a:endParaRPr>
          </a:p>
        </p:txBody>
      </p:sp>
      <p:pic>
        <p:nvPicPr>
          <p:cNvPr id="10" name="Picture 2">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73611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reeform 6"/>
          <p:cNvSpPr>
            <a:spLocks/>
          </p:cNvSpPr>
          <p:nvPr/>
        </p:nvSpPr>
        <p:spPr bwMode="auto">
          <a:xfrm>
            <a:off x="4572000" y="849830"/>
            <a:ext cx="4572000" cy="1531977"/>
          </a:xfrm>
          <a:prstGeom prst="rect">
            <a:avLst/>
          </a:prstGeom>
          <a:solidFill>
            <a:schemeClr val="accent3"/>
          </a:solidFill>
          <a:ln w="12700" cap="rnd">
            <a:noFill/>
            <a:prstDash val="solid"/>
            <a:headEnd type="oval"/>
          </a:ln>
          <a:effectLst/>
        </p:spPr>
        <p:style>
          <a:lnRef idx="1">
            <a:schemeClr val="accent1"/>
          </a:lnRef>
          <a:fillRef idx="0">
            <a:schemeClr val="accent1"/>
          </a:fillRef>
          <a:effectRef idx="0">
            <a:schemeClr val="accent1"/>
          </a:effectRef>
          <a:fontRef idx="minor">
            <a:schemeClr val="tx1"/>
          </a:fontRef>
        </p:style>
        <p:txBody>
          <a:bodyPr lIns="57140" tIns="28570" rIns="57140" bIns="28570" rtlCol="0" anchor="ctr"/>
          <a:lstStyle/>
          <a:p>
            <a:pPr algn="ctr"/>
            <a:endParaRPr lang="en-US" kern="0">
              <a:solidFill>
                <a:sysClr val="window" lastClr="FFFFFF"/>
              </a:solidFill>
            </a:endParaRPr>
          </a:p>
        </p:txBody>
      </p:sp>
      <p:sp>
        <p:nvSpPr>
          <p:cNvPr id="10" name="Freeform 6"/>
          <p:cNvSpPr>
            <a:spLocks/>
          </p:cNvSpPr>
          <p:nvPr/>
        </p:nvSpPr>
        <p:spPr bwMode="auto">
          <a:xfrm>
            <a:off x="1" y="849830"/>
            <a:ext cx="4453247" cy="1531977"/>
          </a:xfrm>
          <a:prstGeom prst="rect">
            <a:avLst/>
          </a:prstGeom>
          <a:solidFill>
            <a:schemeClr val="accent4"/>
          </a:solidFill>
          <a:ln w="12700" cap="rnd">
            <a:noFill/>
            <a:prstDash val="solid"/>
            <a:headEnd type="oval"/>
          </a:ln>
          <a:effectLst/>
        </p:spPr>
        <p:style>
          <a:lnRef idx="1">
            <a:schemeClr val="accent1"/>
          </a:lnRef>
          <a:fillRef idx="0">
            <a:schemeClr val="accent1"/>
          </a:fillRef>
          <a:effectRef idx="0">
            <a:schemeClr val="accent1"/>
          </a:effectRef>
          <a:fontRef idx="minor">
            <a:schemeClr val="tx1"/>
          </a:fontRef>
        </p:style>
        <p:txBody>
          <a:bodyPr lIns="57140" tIns="28570" rIns="57140" bIns="28570" rtlCol="0" anchor="ctr"/>
          <a:lstStyle/>
          <a:p>
            <a:pPr algn="ctr"/>
            <a:endParaRPr lang="en-US" kern="0">
              <a:solidFill>
                <a:sysClr val="window" lastClr="FFFFFF"/>
              </a:solidFill>
            </a:endParaRPr>
          </a:p>
        </p:txBody>
      </p:sp>
      <p:sp>
        <p:nvSpPr>
          <p:cNvPr id="22" name="TextBox 21"/>
          <p:cNvSpPr txBox="1"/>
          <p:nvPr/>
        </p:nvSpPr>
        <p:spPr>
          <a:xfrm>
            <a:off x="1" y="2407459"/>
            <a:ext cx="4309673" cy="2262158"/>
          </a:xfrm>
          <a:prstGeom prst="rect">
            <a:avLst/>
          </a:prstGeom>
          <a:noFill/>
        </p:spPr>
        <p:txBody>
          <a:bodyPr wrap="square" lIns="0" tIns="0" rIns="0" bIns="0" numCol="1" rtlCol="0">
            <a:spAutoFit/>
          </a:bodyPr>
          <a:lstStyle/>
          <a:p>
            <a:pPr marL="1984" lvl="1" algn="r">
              <a:spcAft>
                <a:spcPts val="375"/>
              </a:spcAft>
              <a:tabLst>
                <a:tab pos="2323265" algn="l"/>
              </a:tabLst>
            </a:pPr>
            <a:r>
              <a:rPr lang="en-US" sz="1800" b="1" dirty="0">
                <a:solidFill>
                  <a:srgbClr val="3BBEB4"/>
                </a:solidFill>
                <a:latin typeface="+mj-lt"/>
                <a:ea typeface="Segoe UI" pitchFamily="34" charset="0"/>
                <a:cs typeface="Segoe UI" pitchFamily="34" charset="0"/>
              </a:rPr>
              <a:t>Admin</a:t>
            </a:r>
            <a:endParaRPr lang="en-US" sz="1800" b="1" dirty="0">
              <a:solidFill>
                <a:srgbClr val="3BBEB4"/>
              </a:solidFill>
              <a:latin typeface="+mj-lt"/>
            </a:endParaRPr>
          </a:p>
          <a:p>
            <a:pPr marL="114278" lvl="1" indent="-114278" algn="r">
              <a:spcBef>
                <a:spcPts val="375"/>
              </a:spcBef>
              <a:buFont typeface="Arial" pitchFamily="34" charset="0"/>
              <a:buChar char="•"/>
              <a:tabLst>
                <a:tab pos="2323265" algn="l"/>
              </a:tabLst>
            </a:pPr>
            <a:r>
              <a:rPr lang="en-US" sz="1100" dirty="0"/>
              <a:t>Web-based admin portal to manage users &amp; settings</a:t>
            </a:r>
          </a:p>
          <a:p>
            <a:pPr marL="114278" lvl="1" indent="-114278" algn="r">
              <a:spcBef>
                <a:spcPts val="375"/>
              </a:spcBef>
              <a:buFont typeface="Arial" pitchFamily="34" charset="0"/>
              <a:buChar char="•"/>
              <a:tabLst>
                <a:tab pos="2323265" algn="l"/>
              </a:tabLst>
            </a:pPr>
            <a:r>
              <a:rPr lang="en-US" sz="1100" dirty="0"/>
              <a:t>Impersonation console for Delegate Admin Partners (DAPS)</a:t>
            </a:r>
          </a:p>
          <a:p>
            <a:pPr marL="114278" lvl="1" indent="-114278" algn="r">
              <a:spcBef>
                <a:spcPts val="375"/>
              </a:spcBef>
              <a:buFont typeface="Arial" pitchFamily="34" charset="0"/>
              <a:buChar char="•"/>
              <a:tabLst>
                <a:tab pos="2323265" algn="l"/>
              </a:tabLst>
            </a:pPr>
            <a:r>
              <a:rPr lang="en-US" sz="1100" dirty="0"/>
              <a:t>Role-based administration </a:t>
            </a:r>
          </a:p>
          <a:p>
            <a:pPr marL="114278" lvl="1" indent="-114278" algn="r">
              <a:spcBef>
                <a:spcPts val="375"/>
              </a:spcBef>
              <a:buFont typeface="Arial" pitchFamily="34" charset="0"/>
              <a:buChar char="•"/>
              <a:tabLst>
                <a:tab pos="2323265" algn="l"/>
              </a:tabLst>
            </a:pPr>
            <a:r>
              <a:rPr lang="en-US" sz="1100" dirty="0"/>
              <a:t>Familiar admin console with functionality to reset device passwords, lock &amp; wipe lost devices</a:t>
            </a:r>
          </a:p>
          <a:p>
            <a:pPr marL="114278" lvl="1" indent="-114278" algn="r">
              <a:spcBef>
                <a:spcPts val="375"/>
              </a:spcBef>
              <a:buFont typeface="Arial" pitchFamily="34" charset="0"/>
              <a:buChar char="•"/>
              <a:tabLst>
                <a:tab pos="2323265" algn="l"/>
              </a:tabLst>
            </a:pPr>
            <a:r>
              <a:rPr lang="en-US" sz="1100" dirty="0"/>
              <a:t>BES Express set of IT Policies</a:t>
            </a:r>
          </a:p>
          <a:p>
            <a:pPr marL="114278" lvl="1" indent="-114278" algn="r">
              <a:spcBef>
                <a:spcPts val="375"/>
              </a:spcBef>
              <a:buFont typeface="Arial" pitchFamily="34" charset="0"/>
              <a:buChar char="•"/>
              <a:tabLst>
                <a:tab pos="2323265" algn="l"/>
              </a:tabLst>
            </a:pPr>
            <a:r>
              <a:rPr lang="en-US" sz="1100" dirty="0"/>
              <a:t>Support for BlackBerry® Balance™</a:t>
            </a:r>
          </a:p>
          <a:p>
            <a:pPr marL="114278" lvl="1" indent="-114278" algn="r">
              <a:spcBef>
                <a:spcPts val="375"/>
              </a:spcBef>
              <a:buFont typeface="Arial" pitchFamily="34" charset="0"/>
              <a:buChar char="•"/>
              <a:tabLst>
                <a:tab pos="2323265" algn="l"/>
              </a:tabLst>
            </a:pPr>
            <a:r>
              <a:rPr lang="en-US" sz="1100" dirty="0"/>
              <a:t>Enterprise-Only Wipe</a:t>
            </a:r>
          </a:p>
          <a:p>
            <a:pPr marL="114278" lvl="1" indent="-114278" algn="r">
              <a:spcBef>
                <a:spcPts val="375"/>
              </a:spcBef>
              <a:buFont typeface="Arial" pitchFamily="34" charset="0"/>
              <a:buChar char="•"/>
              <a:tabLst>
                <a:tab pos="2323265" algn="l"/>
              </a:tabLst>
            </a:pPr>
            <a:r>
              <a:rPr lang="en-US" sz="1100" dirty="0"/>
              <a:t>Protection of corporate data</a:t>
            </a:r>
          </a:p>
        </p:txBody>
      </p:sp>
      <p:sp>
        <p:nvSpPr>
          <p:cNvPr id="24" name="TextBox 23"/>
          <p:cNvSpPr txBox="1"/>
          <p:nvPr/>
        </p:nvSpPr>
        <p:spPr>
          <a:xfrm>
            <a:off x="4763257" y="2407457"/>
            <a:ext cx="4309673" cy="2092881"/>
          </a:xfrm>
          <a:prstGeom prst="rect">
            <a:avLst/>
          </a:prstGeom>
          <a:noFill/>
        </p:spPr>
        <p:txBody>
          <a:bodyPr wrap="square" lIns="0" tIns="0" rIns="0" bIns="0" numCol="1" rtlCol="0">
            <a:spAutoFit/>
          </a:bodyPr>
          <a:lstStyle/>
          <a:p>
            <a:pPr>
              <a:spcAft>
                <a:spcPts val="375"/>
              </a:spcAft>
            </a:pPr>
            <a:r>
              <a:rPr lang="en-US" sz="1800" b="1" dirty="0">
                <a:solidFill>
                  <a:srgbClr val="ED5326"/>
                </a:solidFill>
                <a:latin typeface="+mj-lt"/>
                <a:ea typeface="Segoe UI" pitchFamily="34" charset="0"/>
                <a:cs typeface="Segoe UI" pitchFamily="34" charset="0"/>
              </a:rPr>
              <a:t>End User</a:t>
            </a:r>
            <a:endParaRPr lang="en-US" sz="1800" b="1" dirty="0">
              <a:solidFill>
                <a:srgbClr val="ED5326"/>
              </a:solidFill>
              <a:latin typeface="+mj-lt"/>
            </a:endParaRPr>
          </a:p>
          <a:p>
            <a:pPr marL="114278" lvl="1" indent="-114278">
              <a:spcBef>
                <a:spcPts val="375"/>
              </a:spcBef>
              <a:buFont typeface="Arial" pitchFamily="34" charset="0"/>
              <a:buChar char="•"/>
              <a:tabLst>
                <a:tab pos="2323265" algn="l"/>
              </a:tabLst>
            </a:pPr>
            <a:r>
              <a:rPr lang="en-US" sz="1100" dirty="0"/>
              <a:t>Mobile Synchronization of Exchange Online</a:t>
            </a:r>
          </a:p>
          <a:p>
            <a:pPr marL="114278" lvl="1" indent="-114278">
              <a:spcBef>
                <a:spcPts val="375"/>
              </a:spcBef>
              <a:buFont typeface="Arial" pitchFamily="34" charset="0"/>
              <a:buChar char="•"/>
              <a:tabLst>
                <a:tab pos="2323265" algn="l"/>
              </a:tabLst>
            </a:pPr>
            <a:r>
              <a:rPr lang="en-US" sz="1100" dirty="0"/>
              <a:t>Email, Contacts, Calendar, Tasks, Notes, etc.</a:t>
            </a:r>
          </a:p>
          <a:p>
            <a:pPr marL="114278" lvl="1" indent="-114278">
              <a:spcBef>
                <a:spcPts val="375"/>
              </a:spcBef>
              <a:buFont typeface="Arial" pitchFamily="34" charset="0"/>
              <a:buChar char="•"/>
              <a:tabLst>
                <a:tab pos="2323265" algn="l"/>
              </a:tabLst>
            </a:pPr>
            <a:r>
              <a:rPr lang="en-US" sz="1100" dirty="0"/>
              <a:t>BlackBerry Balance Support</a:t>
            </a:r>
          </a:p>
          <a:p>
            <a:pPr marL="114278" lvl="1" indent="-114278">
              <a:spcBef>
                <a:spcPts val="375"/>
              </a:spcBef>
              <a:buFont typeface="Arial" pitchFamily="34" charset="0"/>
              <a:buChar char="•"/>
              <a:tabLst>
                <a:tab pos="2323265" algn="l"/>
              </a:tabLst>
            </a:pPr>
            <a:r>
              <a:rPr lang="en-US" sz="1100" dirty="0"/>
              <a:t>Web-based self-service console</a:t>
            </a:r>
          </a:p>
          <a:p>
            <a:pPr marL="114278" lvl="1" indent="-114278">
              <a:spcBef>
                <a:spcPts val="375"/>
              </a:spcBef>
              <a:buFont typeface="Arial" pitchFamily="34" charset="0"/>
              <a:buChar char="•"/>
              <a:tabLst>
                <a:tab pos="2323265" algn="l"/>
              </a:tabLst>
            </a:pPr>
            <a:r>
              <a:rPr lang="en-US" sz="1100" dirty="0"/>
              <a:t>Device Switch, Backup &amp; Restore</a:t>
            </a:r>
          </a:p>
          <a:p>
            <a:pPr marL="114278" lvl="1" indent="-114278">
              <a:spcBef>
                <a:spcPts val="375"/>
              </a:spcBef>
              <a:buFont typeface="Arial" pitchFamily="34" charset="0"/>
              <a:buChar char="•"/>
              <a:tabLst>
                <a:tab pos="2323265" algn="l"/>
              </a:tabLst>
            </a:pPr>
            <a:r>
              <a:rPr lang="en-US" sz="1100" dirty="0"/>
              <a:t>Set Enterprise Activation Password</a:t>
            </a:r>
          </a:p>
          <a:p>
            <a:pPr marL="114278" lvl="1" indent="-114278">
              <a:spcBef>
                <a:spcPts val="375"/>
              </a:spcBef>
              <a:buFont typeface="Arial" pitchFamily="34" charset="0"/>
              <a:buChar char="•"/>
              <a:tabLst>
                <a:tab pos="2323265" algn="l"/>
              </a:tabLst>
            </a:pPr>
            <a:r>
              <a:rPr lang="en-US" sz="1100" dirty="0"/>
              <a:t>Remotely Lock/Wipe Device</a:t>
            </a:r>
          </a:p>
          <a:p>
            <a:pPr marL="114278" lvl="1" indent="-114278">
              <a:spcBef>
                <a:spcPts val="375"/>
              </a:spcBef>
              <a:buFont typeface="Arial" pitchFamily="34" charset="0"/>
              <a:buChar char="•"/>
              <a:tabLst>
                <a:tab pos="2323265" algn="l"/>
              </a:tabLst>
            </a:pPr>
            <a:r>
              <a:rPr lang="en-US" sz="1100" dirty="0"/>
              <a:t>Familiar BlackBerry experience &amp; performance</a:t>
            </a:r>
          </a:p>
        </p:txBody>
      </p:sp>
      <p:sp>
        <p:nvSpPr>
          <p:cNvPr id="14" name="Title 1"/>
          <p:cNvSpPr txBox="1">
            <a:spLocks/>
          </p:cNvSpPr>
          <p:nvPr/>
        </p:nvSpPr>
        <p:spPr>
          <a:xfrm>
            <a:off x="389436" y="171451"/>
            <a:ext cx="8754565" cy="457049"/>
          </a:xfrm>
          <a:prstGeom prst="rect">
            <a:avLst/>
          </a:prstGeom>
        </p:spPr>
        <p:txBody>
          <a:bodyPr lIns="68586" tIns="34294" rIns="68586" bIns="34294"/>
          <a:lst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spc="0" dirty="0"/>
              <a:t>Blackberry Device Support</a:t>
            </a:r>
          </a:p>
        </p:txBody>
      </p:sp>
      <p:pic>
        <p:nvPicPr>
          <p:cNvPr id="15" name="Picture 4" descr="\\MAGNUM\Projects\Microsoft\Cloud Power FY12\Design\Icons\PNGs\IT_guy.png"/>
          <p:cNvPicPr>
            <a:picLocks noChangeAspect="1" noChangeArrowheads="1"/>
          </p:cNvPicPr>
          <p:nvPr/>
        </p:nvPicPr>
        <p:blipFill>
          <a:blip r:embed="rId3" cstate="print">
            <a:lum bright="100000"/>
          </a:blip>
          <a:stretch>
            <a:fillRect/>
          </a:stretch>
        </p:blipFill>
        <p:spPr bwMode="auto">
          <a:xfrm>
            <a:off x="2802570" y="790696"/>
            <a:ext cx="1650677" cy="1650248"/>
          </a:xfrm>
          <a:prstGeom prst="rect">
            <a:avLst/>
          </a:prstGeom>
          <a:noFill/>
        </p:spPr>
      </p:pic>
      <p:pic>
        <p:nvPicPr>
          <p:cNvPr id="17" name="Picture 3" descr="\\MAGNUM\Projects\Microsoft\Cloud Power FY12\Design\ICONS_PNG\User.png"/>
          <p:cNvPicPr>
            <a:picLocks noChangeAspect="1" noChangeArrowheads="1"/>
          </p:cNvPicPr>
          <p:nvPr/>
        </p:nvPicPr>
        <p:blipFill>
          <a:blip r:embed="rId4" cstate="print">
            <a:lum bright="100000"/>
          </a:blip>
          <a:srcRect/>
          <a:stretch>
            <a:fillRect/>
          </a:stretch>
        </p:blipFill>
        <p:spPr bwMode="auto">
          <a:xfrm>
            <a:off x="4763257" y="970647"/>
            <a:ext cx="1371957" cy="1371600"/>
          </a:xfrm>
          <a:prstGeom prst="rect">
            <a:avLst/>
          </a:prstGeom>
          <a:noFill/>
        </p:spPr>
      </p:pic>
      <p:sp>
        <p:nvSpPr>
          <p:cNvPr id="19" name="Rectangle 18"/>
          <p:cNvSpPr/>
          <p:nvPr/>
        </p:nvSpPr>
        <p:spPr>
          <a:xfrm>
            <a:off x="1" y="4568759"/>
            <a:ext cx="9143999" cy="525785"/>
          </a:xfrm>
          <a:prstGeom prst="rect">
            <a:avLst/>
          </a:prstGeom>
        </p:spPr>
        <p:txBody>
          <a:bodyPr wrap="square" lIns="0" tIns="0" rIns="0" bIns="0" anchor="ctr">
            <a:spAutoFit/>
          </a:bodyPr>
          <a:lstStyle/>
          <a:p>
            <a:pPr algn="ctr">
              <a:lnSpc>
                <a:spcPts val="4062"/>
              </a:lnSpc>
            </a:pPr>
            <a:r>
              <a:rPr lang="en-US" sz="2100" b="1" dirty="0">
                <a:solidFill>
                  <a:schemeClr val="tx1">
                    <a:alpha val="99000"/>
                  </a:schemeClr>
                </a:solidFill>
              </a:rPr>
              <a:t>RIM Blackberry® Business Cloud Services Benefits</a:t>
            </a:r>
            <a:endParaRPr lang="en-US" sz="2100" dirty="0">
              <a:solidFill>
                <a:schemeClr val="tx1">
                  <a:alpha val="99000"/>
                </a:schemeClr>
              </a:solidFill>
            </a:endParaRPr>
          </a:p>
        </p:txBody>
      </p:sp>
      <p:sp>
        <p:nvSpPr>
          <p:cNvPr id="12" name="Right Triangle 11"/>
          <p:cNvSpPr/>
          <p:nvPr/>
        </p:nvSpPr>
        <p:spPr bwMode="auto">
          <a:xfrm>
            <a:off x="0" y="4772026"/>
            <a:ext cx="400154" cy="371475"/>
          </a:xfrm>
          <a:prstGeom prst="rtTriangle">
            <a:avLst/>
          </a:prstGeom>
          <a:solidFill>
            <a:schemeClr val="tx2">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13"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6"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5"/>
              </a:rPr>
              <a:t>www.rapidbbs.cn</a:t>
            </a:r>
            <a:endParaRPr lang="zh-CN" altLang="en-US" sz="1200" b="0">
              <a:latin typeface="Arial" charset="0"/>
              <a:ea typeface="ＭＳ Ｐゴシック" pitchFamily="34" charset="-128"/>
            </a:endParaRPr>
          </a:p>
        </p:txBody>
      </p:sp>
      <p:pic>
        <p:nvPicPr>
          <p:cNvPr id="18" name="Picture 2">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43919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p:cNvPicPr>
            <a:picLocks noChangeAspect="1"/>
          </p:cNvPicPr>
          <p:nvPr/>
        </p:nvPicPr>
        <p:blipFill rotWithShape="1">
          <a:blip r:embed="rId3">
            <a:extLst>
              <a:ext uri="{28A0092B-C50C-407E-A947-70E740481C1C}">
                <a14:useLocalDpi xmlns:a14="http://schemas.microsoft.com/office/drawing/2010/main" val="0"/>
              </a:ext>
            </a:extLst>
          </a:blip>
          <a:srcRect r="50000"/>
          <a:stretch/>
        </p:blipFill>
        <p:spPr>
          <a:xfrm>
            <a:off x="7304206" y="841248"/>
            <a:ext cx="1849525" cy="3771900"/>
          </a:xfrm>
          <a:prstGeom prst="rect">
            <a:avLst/>
          </a:prstGeom>
        </p:spPr>
      </p:pic>
      <p:sp>
        <p:nvSpPr>
          <p:cNvPr id="6" name="Rectangle 5"/>
          <p:cNvSpPr/>
          <p:nvPr/>
        </p:nvSpPr>
        <p:spPr bwMode="auto">
          <a:xfrm>
            <a:off x="0" y="7"/>
            <a:ext cx="9144000" cy="3428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pic>
        <p:nvPicPr>
          <p:cNvPr id="10" name="Picture 9"/>
          <p:cNvPicPr>
            <a:picLocks noChangeAspect="1"/>
          </p:cNvPicPr>
          <p:nvPr/>
        </p:nvPicPr>
        <p:blipFill rotWithShape="1">
          <a:blip r:embed="rId4" cstate="print">
            <a:extLst>
              <a:ext uri="{28A0092B-C50C-407E-A947-70E740481C1C}">
                <a14:useLocalDpi xmlns:a14="http://schemas.microsoft.com/office/drawing/2010/main" val="0"/>
              </a:ext>
            </a:extLst>
          </a:blip>
          <a:srcRect l="49222"/>
          <a:stretch/>
        </p:blipFill>
        <p:spPr>
          <a:xfrm rot="10800000">
            <a:off x="8519058" y="-6208"/>
            <a:ext cx="634666" cy="626024"/>
          </a:xfrm>
          <a:prstGeom prst="rect">
            <a:avLst/>
          </a:prstGeom>
        </p:spPr>
      </p:pic>
      <p:sp>
        <p:nvSpPr>
          <p:cNvPr id="11" name="Title 3"/>
          <p:cNvSpPr txBox="1">
            <a:spLocks/>
          </p:cNvSpPr>
          <p:nvPr/>
        </p:nvSpPr>
        <p:spPr>
          <a:xfrm>
            <a:off x="389436" y="302088"/>
            <a:ext cx="8363938" cy="560923"/>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lang="en-US" dirty="0" smtClean="0">
                <a:solidFill>
                  <a:schemeClr val="tx1"/>
                </a:solidFill>
              </a:rPr>
              <a:t>Windows </a:t>
            </a:r>
            <a:r>
              <a:rPr lang="en-US" dirty="0">
                <a:solidFill>
                  <a:schemeClr val="tx1"/>
                </a:solidFill>
              </a:rPr>
              <a:t>A</a:t>
            </a:r>
            <a:r>
              <a:rPr lang="en-US" dirty="0" smtClean="0">
                <a:solidFill>
                  <a:srgbClr val="00AEEF"/>
                </a:solidFill>
              </a:rPr>
              <a:t>z</a:t>
            </a:r>
            <a:r>
              <a:rPr lang="en-US" dirty="0" smtClean="0">
                <a:solidFill>
                  <a:schemeClr val="tx1"/>
                </a:solidFill>
              </a:rPr>
              <a:t>ure</a:t>
            </a:r>
            <a:endParaRPr lang="en-US" dirty="0">
              <a:solidFill>
                <a:schemeClr val="tx1"/>
              </a:solidFill>
            </a:endParaRPr>
          </a:p>
        </p:txBody>
      </p:sp>
      <p:pic>
        <p:nvPicPr>
          <p:cNvPr id="19" name="Picture 1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0800000">
            <a:off x="7601740" y="-6207"/>
            <a:ext cx="1249882" cy="626024"/>
          </a:xfrm>
          <a:prstGeom prst="rect">
            <a:avLst/>
          </a:prstGeom>
        </p:spPr>
      </p:pic>
      <p:pic>
        <p:nvPicPr>
          <p:cNvPr id="20" name="Picture 1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0800000">
            <a:off x="6684419" y="-6207"/>
            <a:ext cx="1249882" cy="626024"/>
          </a:xfrm>
          <a:prstGeom prst="rect">
            <a:avLst/>
          </a:prstGeom>
        </p:spPr>
      </p:pic>
      <p:sp>
        <p:nvSpPr>
          <p:cNvPr id="21" name="Rectangle 20"/>
          <p:cNvSpPr/>
          <p:nvPr/>
        </p:nvSpPr>
        <p:spPr bwMode="auto">
          <a:xfrm>
            <a:off x="542297" y="1257262"/>
            <a:ext cx="2283526" cy="3246950"/>
          </a:xfrm>
          <a:prstGeom prst="rect">
            <a:avLst/>
          </a:prstGeom>
          <a:solidFill>
            <a:schemeClr val="tx2">
              <a:lumMod val="75000"/>
            </a:schemeClr>
          </a:solidFill>
          <a:ln w="9525" cap="flat" cmpd="sng" algn="ctr">
            <a:noFill/>
            <a:prstDash val="solid"/>
          </a:ln>
          <a:effectLst/>
        </p:spPr>
        <p:txBody>
          <a:bodyPr lIns="68571" tIns="34286" rIns="68571" bIns="34286" rtlCol="0" anchor="t" anchorCtr="0"/>
          <a:lstStyle/>
          <a:p>
            <a:pPr defTabSz="914096"/>
            <a:endParaRPr lang="en-US" sz="1100" dirty="0" err="1">
              <a:gradFill>
                <a:gsLst>
                  <a:gs pos="0">
                    <a:schemeClr val="tx1"/>
                  </a:gs>
                  <a:gs pos="100000">
                    <a:schemeClr val="tx1"/>
                  </a:gs>
                </a:gsLst>
                <a:lin ang="5400000" scaled="0"/>
              </a:gradFill>
              <a:ea typeface="Segoe UI" pitchFamily="34" charset="0"/>
              <a:cs typeface="Segoe UI" pitchFamily="34" charset="0"/>
            </a:endParaRPr>
          </a:p>
        </p:txBody>
      </p:sp>
      <p:grpSp>
        <p:nvGrpSpPr>
          <p:cNvPr id="22" name="Group 21"/>
          <p:cNvGrpSpPr/>
          <p:nvPr/>
        </p:nvGrpSpPr>
        <p:grpSpPr>
          <a:xfrm>
            <a:off x="606361" y="1404220"/>
            <a:ext cx="2127321" cy="2972217"/>
            <a:chOff x="923702" y="1623418"/>
            <a:chExt cx="2835690" cy="3962956"/>
          </a:xfrm>
        </p:grpSpPr>
        <p:sp>
          <p:nvSpPr>
            <p:cNvPr id="23" name="Rectangle 22"/>
            <p:cNvSpPr/>
            <p:nvPr/>
          </p:nvSpPr>
          <p:spPr>
            <a:xfrm>
              <a:off x="923702" y="2647701"/>
              <a:ext cx="2835690" cy="688747"/>
            </a:xfrm>
            <a:prstGeom prst="rect">
              <a:avLst/>
            </a:prstGeom>
            <a:noFill/>
            <a:ln w="9525" cap="flat" cmpd="sng" algn="ctr">
              <a:noFill/>
              <a:prstDash val="solid"/>
            </a:ln>
            <a:effectLst/>
          </p:spPr>
          <p:txBody>
            <a:bodyPr tIns="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914021" fontAlgn="base">
                <a:lnSpc>
                  <a:spcPts val="1725"/>
                </a:lnSpc>
                <a:spcAft>
                  <a:spcPct val="0"/>
                </a:spcAft>
              </a:pPr>
              <a:r>
                <a:rPr lang="en-US" b="1" dirty="0">
                  <a:gradFill>
                    <a:gsLst>
                      <a:gs pos="0">
                        <a:schemeClr val="tx1"/>
                      </a:gs>
                      <a:gs pos="100000">
                        <a:schemeClr val="tx1"/>
                      </a:gs>
                    </a:gsLst>
                    <a:lin ang="5400000" scaled="0"/>
                  </a:gradFill>
                  <a:ea typeface="Kozuka Gothic Pro R" pitchFamily="34" charset="-128"/>
                </a:rPr>
                <a:t>virtual machines</a:t>
              </a:r>
            </a:p>
          </p:txBody>
        </p:sp>
        <p:sp>
          <p:nvSpPr>
            <p:cNvPr id="25" name="Rectangle 24"/>
            <p:cNvSpPr/>
            <p:nvPr/>
          </p:nvSpPr>
          <p:spPr>
            <a:xfrm>
              <a:off x="927915" y="3610501"/>
              <a:ext cx="2831477" cy="1975873"/>
            </a:xfrm>
            <a:prstGeom prst="rect">
              <a:avLst/>
            </a:prstGeom>
            <a:noFill/>
            <a:ln w="9525" cap="flat" cmpd="sng" algn="ctr">
              <a:noFill/>
              <a:prstDash val="solid"/>
            </a:ln>
            <a:effectLst/>
          </p:spPr>
          <p:txBody>
            <a:bodyPr rtlCol="0" anchor="t" anchorCtr="0"/>
            <a:lstStyle/>
            <a:p>
              <a:pPr marL="2382"/>
              <a:r>
                <a:rPr lang="en-US" sz="1200" dirty="0">
                  <a:solidFill>
                    <a:schemeClr val="tx1">
                      <a:alpha val="99000"/>
                    </a:schemeClr>
                  </a:solidFill>
                </a:rPr>
                <a:t>Windows Server &amp; Linux</a:t>
              </a:r>
            </a:p>
            <a:p>
              <a:pPr marL="2382"/>
              <a:endParaRPr lang="en-US" sz="1200" dirty="0">
                <a:solidFill>
                  <a:schemeClr val="tx1">
                    <a:alpha val="99000"/>
                  </a:schemeClr>
                </a:solidFill>
              </a:endParaRPr>
            </a:p>
            <a:p>
              <a:pPr marL="2382"/>
              <a:r>
                <a:rPr lang="en-US" sz="1200" dirty="0">
                  <a:solidFill>
                    <a:schemeClr val="tx1">
                      <a:alpha val="99000"/>
                    </a:schemeClr>
                  </a:solidFill>
                </a:rPr>
                <a:t>Flexible Workload Support</a:t>
              </a:r>
            </a:p>
            <a:p>
              <a:pPr marL="2382"/>
              <a:endParaRPr lang="en-US" sz="1200" dirty="0">
                <a:solidFill>
                  <a:schemeClr val="tx1">
                    <a:alpha val="99000"/>
                  </a:schemeClr>
                </a:solidFill>
              </a:endParaRPr>
            </a:p>
            <a:p>
              <a:pPr marL="2382"/>
              <a:r>
                <a:rPr lang="en-US" sz="1200" dirty="0">
                  <a:solidFill>
                    <a:schemeClr val="tx1">
                      <a:alpha val="99000"/>
                    </a:schemeClr>
                  </a:solidFill>
                </a:rPr>
                <a:t>Virtual Private Networking</a:t>
              </a:r>
            </a:p>
          </p:txBody>
        </p:sp>
        <p:pic>
          <p:nvPicPr>
            <p:cNvPr id="26" name="Picture 2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79062" y="1623418"/>
              <a:ext cx="928818" cy="961934"/>
            </a:xfrm>
            <a:prstGeom prst="rect">
              <a:avLst/>
            </a:prstGeom>
          </p:spPr>
        </p:pic>
      </p:grpSp>
      <p:grpSp>
        <p:nvGrpSpPr>
          <p:cNvPr id="7" name="Group 6"/>
          <p:cNvGrpSpPr/>
          <p:nvPr/>
        </p:nvGrpSpPr>
        <p:grpSpPr>
          <a:xfrm>
            <a:off x="3277679" y="1271056"/>
            <a:ext cx="2283526" cy="3246950"/>
            <a:chOff x="4369101" y="1694740"/>
            <a:chExt cx="3043908" cy="4329267"/>
          </a:xfrm>
        </p:grpSpPr>
        <p:sp>
          <p:nvSpPr>
            <p:cNvPr id="37" name="Rectangle 36"/>
            <p:cNvSpPr/>
            <p:nvPr/>
          </p:nvSpPr>
          <p:spPr bwMode="auto">
            <a:xfrm>
              <a:off x="4369101" y="1694740"/>
              <a:ext cx="3043908" cy="4329267"/>
            </a:xfrm>
            <a:prstGeom prst="rect">
              <a:avLst/>
            </a:prstGeom>
            <a:solidFill>
              <a:schemeClr val="tx2">
                <a:lumMod val="75000"/>
              </a:schemeClr>
            </a:solidFill>
            <a:ln w="9525" cap="flat" cmpd="sng" algn="ctr">
              <a:noFill/>
              <a:prstDash val="solid"/>
            </a:ln>
            <a:effectLst/>
          </p:spPr>
          <p:txBody>
            <a:bodyPr rtlCol="0" anchor="t" anchorCtr="0"/>
            <a:lstStyle/>
            <a:p>
              <a:pPr defTabSz="914096"/>
              <a:endParaRPr lang="en-US" sz="1100" dirty="0" err="1">
                <a:gradFill>
                  <a:gsLst>
                    <a:gs pos="0">
                      <a:schemeClr val="tx1"/>
                    </a:gs>
                    <a:gs pos="100000">
                      <a:schemeClr val="tx1"/>
                    </a:gs>
                  </a:gsLst>
                  <a:lin ang="5400000" scaled="0"/>
                </a:gradFill>
                <a:ea typeface="Segoe UI" pitchFamily="34" charset="0"/>
                <a:cs typeface="Segoe UI" pitchFamily="34" charset="0"/>
              </a:endParaRPr>
            </a:p>
          </p:txBody>
        </p:sp>
        <p:grpSp>
          <p:nvGrpSpPr>
            <p:cNvPr id="38" name="Group 37"/>
            <p:cNvGrpSpPr/>
            <p:nvPr/>
          </p:nvGrpSpPr>
          <p:grpSpPr>
            <a:xfrm>
              <a:off x="4454489" y="2914966"/>
              <a:ext cx="2958520" cy="2938673"/>
              <a:chOff x="923702" y="2647701"/>
              <a:chExt cx="2958520" cy="2938673"/>
            </a:xfrm>
          </p:grpSpPr>
          <p:sp>
            <p:nvSpPr>
              <p:cNvPr id="39" name="Rectangle 38"/>
              <p:cNvSpPr/>
              <p:nvPr/>
            </p:nvSpPr>
            <p:spPr>
              <a:xfrm>
                <a:off x="923702" y="2647701"/>
                <a:ext cx="2835690" cy="688747"/>
              </a:xfrm>
              <a:prstGeom prst="rect">
                <a:avLst/>
              </a:prstGeom>
              <a:noFill/>
              <a:ln w="9525" cap="flat" cmpd="sng" algn="ctr">
                <a:noFill/>
                <a:prstDash val="solid"/>
              </a:ln>
              <a:effectLst/>
            </p:spPr>
            <p:txBody>
              <a:bodyPr tIns="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914021" fontAlgn="base">
                  <a:lnSpc>
                    <a:spcPts val="1725"/>
                  </a:lnSpc>
                  <a:spcAft>
                    <a:spcPct val="0"/>
                  </a:spcAft>
                </a:pPr>
                <a:r>
                  <a:rPr lang="en-US" b="1" dirty="0">
                    <a:gradFill>
                      <a:gsLst>
                        <a:gs pos="0">
                          <a:schemeClr val="tx1"/>
                        </a:gs>
                        <a:gs pos="100000">
                          <a:schemeClr val="tx1"/>
                        </a:gs>
                      </a:gsLst>
                      <a:lin ang="5400000" scaled="0"/>
                    </a:gradFill>
                    <a:ea typeface="Kozuka Gothic Pro R" pitchFamily="34" charset="-128"/>
                  </a:rPr>
                  <a:t>cloud services</a:t>
                </a:r>
              </a:p>
            </p:txBody>
          </p:sp>
          <p:sp>
            <p:nvSpPr>
              <p:cNvPr id="40" name="Rectangle 39"/>
              <p:cNvSpPr/>
              <p:nvPr/>
            </p:nvSpPr>
            <p:spPr>
              <a:xfrm>
                <a:off x="927915" y="3610501"/>
                <a:ext cx="2954307" cy="1975873"/>
              </a:xfrm>
              <a:prstGeom prst="rect">
                <a:avLst/>
              </a:prstGeom>
              <a:noFill/>
              <a:ln w="9525" cap="flat" cmpd="sng" algn="ctr">
                <a:noFill/>
                <a:prstDash val="solid"/>
              </a:ln>
              <a:effectLst/>
            </p:spPr>
            <p:txBody>
              <a:bodyPr rtlCol="0" anchor="t" anchorCtr="0"/>
              <a:lstStyle/>
              <a:p>
                <a:pPr marL="2382"/>
                <a:r>
                  <a:rPr lang="en-US" sz="1200" dirty="0">
                    <a:solidFill>
                      <a:schemeClr val="tx1">
                        <a:alpha val="99000"/>
                      </a:schemeClr>
                    </a:solidFill>
                  </a:rPr>
                  <a:t>Build Infinitely Scalable Apps</a:t>
                </a:r>
              </a:p>
              <a:p>
                <a:pPr marL="2382"/>
                <a:endParaRPr lang="en-US" sz="1200" dirty="0">
                  <a:solidFill>
                    <a:schemeClr val="tx1">
                      <a:alpha val="99000"/>
                    </a:schemeClr>
                  </a:solidFill>
                </a:endParaRPr>
              </a:p>
              <a:p>
                <a:pPr marL="2382"/>
                <a:r>
                  <a:rPr lang="en-US" sz="1200" dirty="0">
                    <a:solidFill>
                      <a:schemeClr val="tx1">
                        <a:alpha val="99000"/>
                      </a:schemeClr>
                    </a:solidFill>
                  </a:rPr>
                  <a:t>Rich Multi-tier Architectures</a:t>
                </a:r>
              </a:p>
              <a:p>
                <a:pPr marL="2382"/>
                <a:endParaRPr lang="en-US" sz="1200" dirty="0">
                  <a:solidFill>
                    <a:schemeClr val="tx1">
                      <a:alpha val="99000"/>
                    </a:schemeClr>
                  </a:solidFill>
                </a:endParaRPr>
              </a:p>
              <a:p>
                <a:pPr marL="2382"/>
                <a:r>
                  <a:rPr lang="en-US" sz="1200" dirty="0">
                    <a:solidFill>
                      <a:schemeClr val="tx1">
                        <a:alpha val="99000"/>
                      </a:schemeClr>
                    </a:solidFill>
                  </a:rPr>
                  <a:t>Automated App Management</a:t>
                </a:r>
              </a:p>
            </p:txBody>
          </p:sp>
        </p:grpSp>
        <p:pic>
          <p:nvPicPr>
            <p:cNvPr id="43" name="Picture 4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11192" y="1872292"/>
              <a:ext cx="1024084" cy="1060597"/>
            </a:xfrm>
            <a:prstGeom prst="rect">
              <a:avLst/>
            </a:prstGeom>
          </p:spPr>
        </p:pic>
      </p:grpSp>
      <p:grpSp>
        <p:nvGrpSpPr>
          <p:cNvPr id="8" name="Group 7"/>
          <p:cNvGrpSpPr/>
          <p:nvPr/>
        </p:nvGrpSpPr>
        <p:grpSpPr>
          <a:xfrm>
            <a:off x="6074493" y="1284850"/>
            <a:ext cx="2372260" cy="3246950"/>
            <a:chOff x="8097214" y="1713132"/>
            <a:chExt cx="3162189" cy="4329267"/>
          </a:xfrm>
        </p:grpSpPr>
        <p:sp>
          <p:nvSpPr>
            <p:cNvPr id="44" name="Rectangle 43"/>
            <p:cNvSpPr/>
            <p:nvPr/>
          </p:nvSpPr>
          <p:spPr bwMode="auto">
            <a:xfrm>
              <a:off x="8097214" y="1713132"/>
              <a:ext cx="3043908" cy="4329267"/>
            </a:xfrm>
            <a:prstGeom prst="rect">
              <a:avLst/>
            </a:prstGeom>
            <a:solidFill>
              <a:schemeClr val="tx2">
                <a:lumMod val="75000"/>
              </a:schemeClr>
            </a:solidFill>
            <a:ln w="9525" cap="flat" cmpd="sng" algn="ctr">
              <a:noFill/>
              <a:prstDash val="solid"/>
            </a:ln>
            <a:effectLst/>
          </p:spPr>
          <p:txBody>
            <a:bodyPr rtlCol="0" anchor="t" anchorCtr="0"/>
            <a:lstStyle/>
            <a:p>
              <a:pPr defTabSz="914096"/>
              <a:endParaRPr lang="en-US" sz="1100" dirty="0" err="1">
                <a:gradFill>
                  <a:gsLst>
                    <a:gs pos="0">
                      <a:schemeClr val="tx1"/>
                    </a:gs>
                    <a:gs pos="100000">
                      <a:schemeClr val="tx1"/>
                    </a:gs>
                  </a:gsLst>
                  <a:lin ang="5400000" scaled="0"/>
                </a:gradFill>
                <a:ea typeface="Segoe UI" pitchFamily="34" charset="0"/>
                <a:cs typeface="Segoe UI" pitchFamily="34" charset="0"/>
              </a:endParaRPr>
            </a:p>
          </p:txBody>
        </p:sp>
        <p:grpSp>
          <p:nvGrpSpPr>
            <p:cNvPr id="45" name="Group 44"/>
            <p:cNvGrpSpPr/>
            <p:nvPr/>
          </p:nvGrpSpPr>
          <p:grpSpPr>
            <a:xfrm>
              <a:off x="8097215" y="2933358"/>
              <a:ext cx="3162188" cy="2938673"/>
              <a:chOff x="838315" y="2647701"/>
              <a:chExt cx="3162188" cy="2938673"/>
            </a:xfrm>
          </p:grpSpPr>
          <p:sp>
            <p:nvSpPr>
              <p:cNvPr id="46" name="Rectangle 45"/>
              <p:cNvSpPr/>
              <p:nvPr/>
            </p:nvSpPr>
            <p:spPr>
              <a:xfrm>
                <a:off x="923702" y="2647701"/>
                <a:ext cx="2835690" cy="688747"/>
              </a:xfrm>
              <a:prstGeom prst="rect">
                <a:avLst/>
              </a:prstGeom>
              <a:noFill/>
              <a:ln w="9525" cap="flat" cmpd="sng" algn="ctr">
                <a:noFill/>
                <a:prstDash val="solid"/>
              </a:ln>
              <a:effectLst/>
            </p:spPr>
            <p:txBody>
              <a:bodyPr tIns="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914021" fontAlgn="base">
                  <a:lnSpc>
                    <a:spcPts val="1725"/>
                  </a:lnSpc>
                  <a:spcAft>
                    <a:spcPct val="0"/>
                  </a:spcAft>
                </a:pPr>
                <a:r>
                  <a:rPr lang="en-US" b="1" dirty="0">
                    <a:gradFill>
                      <a:gsLst>
                        <a:gs pos="0">
                          <a:schemeClr val="tx1"/>
                        </a:gs>
                        <a:gs pos="100000">
                          <a:schemeClr val="tx1"/>
                        </a:gs>
                      </a:gsLst>
                      <a:lin ang="5400000" scaled="0"/>
                    </a:gradFill>
                    <a:ea typeface="Kozuka Gothic Pro R" pitchFamily="34" charset="-128"/>
                  </a:rPr>
                  <a:t>web sites</a:t>
                </a:r>
              </a:p>
            </p:txBody>
          </p:sp>
          <p:sp>
            <p:nvSpPr>
              <p:cNvPr id="47" name="Rectangle 46"/>
              <p:cNvSpPr/>
              <p:nvPr/>
            </p:nvSpPr>
            <p:spPr>
              <a:xfrm>
                <a:off x="838315" y="3610501"/>
                <a:ext cx="3162188" cy="1975873"/>
              </a:xfrm>
              <a:prstGeom prst="rect">
                <a:avLst/>
              </a:prstGeom>
              <a:noFill/>
              <a:ln w="9525" cap="flat" cmpd="sng" algn="ctr">
                <a:noFill/>
                <a:prstDash val="solid"/>
              </a:ln>
              <a:effectLst/>
            </p:spPr>
            <p:txBody>
              <a:bodyPr rtlCol="0" anchor="t" anchorCtr="0"/>
              <a:lstStyle/>
              <a:p>
                <a:pPr marL="2382"/>
                <a:r>
                  <a:rPr lang="en-US" sz="1200" dirty="0">
                    <a:solidFill>
                      <a:schemeClr val="tx1">
                        <a:alpha val="99000"/>
                      </a:schemeClr>
                    </a:solidFill>
                  </a:rPr>
                  <a:t>Build ASP.NET, Node.js or PHP</a:t>
                </a:r>
              </a:p>
              <a:p>
                <a:pPr marL="2382"/>
                <a:endParaRPr lang="en-US" sz="1200" dirty="0">
                  <a:solidFill>
                    <a:schemeClr val="tx1">
                      <a:alpha val="99000"/>
                    </a:schemeClr>
                  </a:solidFill>
                </a:endParaRPr>
              </a:p>
              <a:p>
                <a:pPr marL="2382"/>
                <a:r>
                  <a:rPr lang="en-US" sz="1200" dirty="0">
                    <a:solidFill>
                      <a:schemeClr val="tx1">
                        <a:alpha val="99000"/>
                      </a:schemeClr>
                    </a:solidFill>
                  </a:rPr>
                  <a:t>Deploy in seconds (FTP, </a:t>
                </a:r>
                <a:r>
                  <a:rPr lang="en-US" sz="1200" dirty="0" err="1">
                    <a:solidFill>
                      <a:schemeClr val="tx1">
                        <a:alpha val="99000"/>
                      </a:schemeClr>
                    </a:solidFill>
                  </a:rPr>
                  <a:t>Git</a:t>
                </a:r>
                <a:r>
                  <a:rPr lang="en-US" sz="1200" dirty="0">
                    <a:solidFill>
                      <a:schemeClr val="tx1">
                        <a:alpha val="99000"/>
                      </a:schemeClr>
                    </a:solidFill>
                  </a:rPr>
                  <a:t>, TFS)</a:t>
                </a:r>
              </a:p>
              <a:p>
                <a:pPr marL="2382"/>
                <a:endParaRPr lang="en-US" sz="1200" dirty="0">
                  <a:solidFill>
                    <a:schemeClr val="tx1">
                      <a:alpha val="99000"/>
                    </a:schemeClr>
                  </a:solidFill>
                </a:endParaRPr>
              </a:p>
              <a:p>
                <a:pPr marL="2382"/>
                <a:r>
                  <a:rPr lang="en-US" sz="1200" dirty="0">
                    <a:solidFill>
                      <a:schemeClr val="tx1">
                        <a:alpha val="99000"/>
                      </a:schemeClr>
                    </a:solidFill>
                  </a:rPr>
                  <a:t>Start free, scale up with traffic</a:t>
                </a:r>
              </a:p>
            </p:txBody>
          </p:sp>
        </p:grpSp>
        <p:pic>
          <p:nvPicPr>
            <p:cNvPr id="49" name="Picture 4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164646" y="1991435"/>
              <a:ext cx="909043" cy="941454"/>
            </a:xfrm>
            <a:prstGeom prst="rect">
              <a:avLst/>
            </a:prstGeom>
          </p:spPr>
        </p:pic>
      </p:grpSp>
      <p:sp>
        <p:nvSpPr>
          <p:cNvPr id="27"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8"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8"/>
              </a:rPr>
              <a:t>www.rapidbbs.cn</a:t>
            </a:r>
            <a:endParaRPr lang="zh-CN" altLang="en-US" sz="1200" b="0">
              <a:latin typeface="Arial" charset="0"/>
              <a:ea typeface="ＭＳ Ｐゴシック" pitchFamily="34" charset="-128"/>
            </a:endParaRPr>
          </a:p>
        </p:txBody>
      </p:sp>
      <p:pic>
        <p:nvPicPr>
          <p:cNvPr id="29" name="Picture 2">
            <a:hlinkClick r:id="rId8"/>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679398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xit" presetSubtype="4" fill="hold" nodeType="withEffect">
                                  <p:stCondLst>
                                    <p:cond delay="0"/>
                                  </p:stCondLst>
                                  <p:childTnLst>
                                    <p:animEffect transition="out" filter="wipe(down)">
                                      <p:cBhvr>
                                        <p:cTn id="6" dur="500"/>
                                        <p:tgtEl>
                                          <p:spTgt spid="18"/>
                                        </p:tgtEl>
                                      </p:cBhvr>
                                    </p:animEffect>
                                    <p:set>
                                      <p:cBhvr>
                                        <p:cTn id="7" dur="1" fill="hold">
                                          <p:stCondLst>
                                            <p:cond delay="499"/>
                                          </p:stCondLst>
                                        </p:cTn>
                                        <p:tgtEl>
                                          <p:spTgt spid="18"/>
                                        </p:tgtEl>
                                        <p:attrNameLst>
                                          <p:attrName>style.visibility</p:attrName>
                                        </p:attrNameLst>
                                      </p:cBhvr>
                                      <p:to>
                                        <p:strVal val="hidden"/>
                                      </p:to>
                                    </p:set>
                                  </p:childTnLst>
                                </p:cTn>
                              </p:par>
                              <p:par>
                                <p:cTn id="8" presetID="22" presetClass="entr" presetSubtype="2"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wipe(right)">
                                      <p:cBhvr>
                                        <p:cTn id="10" dur="500"/>
                                        <p:tgtEl>
                                          <p:spTgt spid="10"/>
                                        </p:tgtEl>
                                      </p:cBhvr>
                                    </p:animEffect>
                                  </p:childTnLst>
                                </p:cTn>
                              </p:par>
                              <p:par>
                                <p:cTn id="11" presetID="22" presetClass="entr" presetSubtype="2" fill="hold" nodeType="withEffect">
                                  <p:stCondLst>
                                    <p:cond delay="250"/>
                                  </p:stCondLst>
                                  <p:childTnLst>
                                    <p:set>
                                      <p:cBhvr>
                                        <p:cTn id="12" dur="1" fill="hold">
                                          <p:stCondLst>
                                            <p:cond delay="0"/>
                                          </p:stCondLst>
                                        </p:cTn>
                                        <p:tgtEl>
                                          <p:spTgt spid="19"/>
                                        </p:tgtEl>
                                        <p:attrNameLst>
                                          <p:attrName>style.visibility</p:attrName>
                                        </p:attrNameLst>
                                      </p:cBhvr>
                                      <p:to>
                                        <p:strVal val="visible"/>
                                      </p:to>
                                    </p:set>
                                    <p:animEffect transition="in" filter="wipe(right)">
                                      <p:cBhvr>
                                        <p:cTn id="13" dur="500"/>
                                        <p:tgtEl>
                                          <p:spTgt spid="19"/>
                                        </p:tgtEl>
                                      </p:cBhvr>
                                    </p:animEffect>
                                  </p:childTnLst>
                                </p:cTn>
                              </p:par>
                              <p:par>
                                <p:cTn id="14" presetID="22" presetClass="entr" presetSubtype="2" fill="hold" nodeType="withEffect">
                                  <p:stCondLst>
                                    <p:cond delay="500"/>
                                  </p:stCondLst>
                                  <p:childTnLst>
                                    <p:set>
                                      <p:cBhvr>
                                        <p:cTn id="15" dur="1" fill="hold">
                                          <p:stCondLst>
                                            <p:cond delay="0"/>
                                          </p:stCondLst>
                                        </p:cTn>
                                        <p:tgtEl>
                                          <p:spTgt spid="20"/>
                                        </p:tgtEl>
                                        <p:attrNameLst>
                                          <p:attrName>style.visibility</p:attrName>
                                        </p:attrNameLst>
                                      </p:cBhvr>
                                      <p:to>
                                        <p:strVal val="visible"/>
                                      </p:to>
                                    </p:set>
                                    <p:animEffect transition="in" filter="wipe(right)">
                                      <p:cBhvr>
                                        <p:cTn id="16" dur="500"/>
                                        <p:tgtEl>
                                          <p:spTgt spid="2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1000"/>
                                        <p:tgtEl>
                                          <p:spTgt spid="11"/>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21"/>
                                        </p:tgtEl>
                                        <p:attrNameLst>
                                          <p:attrName>style.visibility</p:attrName>
                                        </p:attrNameLst>
                                      </p:cBhvr>
                                      <p:to>
                                        <p:strVal val="visible"/>
                                      </p:to>
                                    </p:set>
                                    <p:animEffect transition="in" filter="fade">
                                      <p:cBhvr>
                                        <p:cTn id="23" dur="500"/>
                                        <p:tgtEl>
                                          <p:spTgt spid="21"/>
                                        </p:tgtEl>
                                      </p:cBhvr>
                                    </p:animEffect>
                                  </p:childTnLst>
                                </p:cTn>
                              </p:par>
                            </p:childTnLst>
                          </p:cTn>
                        </p:par>
                        <p:par>
                          <p:cTn id="24" fill="hold">
                            <p:stCondLst>
                              <p:cond delay="1500"/>
                            </p:stCondLst>
                            <p:childTnLst>
                              <p:par>
                                <p:cTn id="25" presetID="10" presetClass="entr" presetSubtype="0" fill="hold" nodeType="after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childTnLst>
                          </p:cTn>
                        </p:par>
                        <p:par>
                          <p:cTn id="28" fill="hold">
                            <p:stCondLst>
                              <p:cond delay="2000"/>
                            </p:stCondLst>
                            <p:childTnLst>
                              <p:par>
                                <p:cTn id="29" presetID="10" presetClass="entr" presetSubtype="0" fill="hold" nodeType="afterEffect">
                                  <p:stCondLst>
                                    <p:cond delay="0"/>
                                  </p:stCondLst>
                                  <p:childTnLst>
                                    <p:set>
                                      <p:cBhvr>
                                        <p:cTn id="30" dur="1" fill="hold">
                                          <p:stCondLst>
                                            <p:cond delay="0"/>
                                          </p:stCondLst>
                                        </p:cTn>
                                        <p:tgtEl>
                                          <p:spTgt spid="7"/>
                                        </p:tgtEl>
                                        <p:attrNameLst>
                                          <p:attrName>style.visibility</p:attrName>
                                        </p:attrNameLst>
                                      </p:cBhvr>
                                      <p:to>
                                        <p:strVal val="visible"/>
                                      </p:to>
                                    </p:set>
                                    <p:animEffect transition="in" filter="fade">
                                      <p:cBhvr>
                                        <p:cTn id="31" dur="500"/>
                                        <p:tgtEl>
                                          <p:spTgt spid="7"/>
                                        </p:tgtEl>
                                      </p:cBhvr>
                                    </p:animEffect>
                                  </p:childTnLst>
                                </p:cTn>
                              </p:par>
                            </p:childTnLst>
                          </p:cTn>
                        </p:par>
                        <p:par>
                          <p:cTn id="32" fill="hold">
                            <p:stCondLst>
                              <p:cond delay="2500"/>
                            </p:stCondLst>
                            <p:childTnLst>
                              <p:par>
                                <p:cTn id="33" presetID="10" presetClass="entr" presetSubtype="0" fill="hold" nodeType="afterEffect">
                                  <p:stCondLst>
                                    <p:cond delay="0"/>
                                  </p:stCondLst>
                                  <p:childTnLst>
                                    <p:set>
                                      <p:cBhvr>
                                        <p:cTn id="34" dur="1" fill="hold">
                                          <p:stCondLst>
                                            <p:cond delay="0"/>
                                          </p:stCondLst>
                                        </p:cTn>
                                        <p:tgtEl>
                                          <p:spTgt spid="8"/>
                                        </p:tgtEl>
                                        <p:attrNameLst>
                                          <p:attrName>style.visibility</p:attrName>
                                        </p:attrNameLst>
                                      </p:cBhvr>
                                      <p:to>
                                        <p:strVal val="visible"/>
                                      </p:to>
                                    </p:set>
                                    <p:animEffect transition="in" filter="fade">
                                      <p:cBhvr>
                                        <p:cTn id="35"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21" grpId="0" animBg="1"/>
    </p:bldLst>
  </p:timing>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mtClean="0"/>
              <a:t>Why do we need governance</a:t>
            </a:r>
            <a:endParaRPr lang="en-US" dirty="0"/>
          </a:p>
        </p:txBody>
      </p:sp>
      <p:sp>
        <p:nvSpPr>
          <p:cNvPr id="3"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5"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
              </a:rPr>
              <a:t>www.rapidbbs.cn</a:t>
            </a:r>
            <a:endParaRPr lang="zh-CN" altLang="en-US" sz="1200" b="0">
              <a:latin typeface="Arial" charset="0"/>
              <a:ea typeface="ＭＳ Ｐゴシック" pitchFamily="34" charset="-128"/>
            </a:endParaRPr>
          </a:p>
        </p:txBody>
      </p:sp>
      <p:pic>
        <p:nvPicPr>
          <p:cNvPr id="6" name="Picture 2">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61196805"/>
      </p:ext>
    </p:extLst>
  </p:cSld>
  <p:clrMapOvr>
    <a:masterClrMapping/>
  </p:clrMapOvr>
  <p:transition>
    <p:fade/>
  </p:transition>
  <p:timing>
    <p:tnLst>
      <p:par>
        <p:cTn id="1" dur="indefinite" restart="never" nodeType="tmRoot"/>
      </p:par>
    </p:tnLst>
  </p:timing>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p:txBody>
          <a:bodyPr/>
          <a:lstStyle/>
          <a:p>
            <a:r>
              <a:rPr lang="en-US" dirty="0" smtClean="0"/>
              <a:t>We don’t know what’s “out there”</a:t>
            </a:r>
            <a:endParaRPr lang="en-US" dirty="0"/>
          </a:p>
        </p:txBody>
      </p:sp>
      <p:sp>
        <p:nvSpPr>
          <p:cNvPr id="3"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4"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
              </a:rPr>
              <a:t>www.rapidbbs.cn</a:t>
            </a:r>
            <a:endParaRPr lang="zh-CN" altLang="en-US" sz="1200" b="0">
              <a:latin typeface="Arial" charset="0"/>
              <a:ea typeface="ＭＳ Ｐゴシック" pitchFamily="34" charset="-128"/>
            </a:endParaRPr>
          </a:p>
        </p:txBody>
      </p:sp>
      <p:pic>
        <p:nvPicPr>
          <p:cNvPr id="5" name="Picture 2">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42034948"/>
      </p:ext>
    </p:extLst>
  </p:cSld>
  <p:clrMapOvr>
    <a:masterClrMapping/>
  </p:clrMapOvr>
  <p:transition>
    <p:fade/>
  </p:transition>
  <p:timing>
    <p:tnLst>
      <p:par>
        <p:cTn id="1" dur="indefinite" restart="never" nodeType="tmRoot"/>
      </p:par>
    </p:tnLst>
  </p:timing>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smtClean="0"/>
              <a:t>SharePoint is rarely chosen to deliver a single, point solution</a:t>
            </a:r>
          </a:p>
          <a:p>
            <a:r>
              <a:rPr lang="en-US" dirty="0" smtClean="0"/>
              <a:t>Define how SharePoint delivers the first solution and supports the strategic direction of the enterprise</a:t>
            </a:r>
          </a:p>
          <a:p>
            <a:r>
              <a:rPr lang="en-US" dirty="0" smtClean="0"/>
              <a:t>Communicate ROI and ROI*</a:t>
            </a:r>
            <a:endParaRPr lang="en-US" dirty="0"/>
          </a:p>
        </p:txBody>
      </p:sp>
      <p:sp>
        <p:nvSpPr>
          <p:cNvPr id="4" name="Title 3"/>
          <p:cNvSpPr>
            <a:spLocks noGrp="1"/>
          </p:cNvSpPr>
          <p:nvPr>
            <p:ph type="title"/>
          </p:nvPr>
        </p:nvSpPr>
        <p:spPr/>
        <p:txBody>
          <a:bodyPr/>
          <a:lstStyle/>
          <a:p>
            <a:r>
              <a:rPr lang="en-US" dirty="0" smtClean="0"/>
              <a:t>Align SharePoint with Strategy</a:t>
            </a:r>
            <a:endParaRPr lang="en-US" dirty="0"/>
          </a:p>
        </p:txBody>
      </p:sp>
      <p:sp>
        <p:nvSpPr>
          <p:cNvPr id="2" name="TextBox 1"/>
          <p:cNvSpPr txBox="1"/>
          <p:nvPr/>
        </p:nvSpPr>
        <p:spPr>
          <a:xfrm>
            <a:off x="6401277" y="4229100"/>
            <a:ext cx="1955039" cy="342900"/>
          </a:xfrm>
          <a:prstGeom prst="rect">
            <a:avLst/>
          </a:prstGeom>
          <a:noFill/>
        </p:spPr>
        <p:txBody>
          <a:bodyPr wrap="none" lIns="0" tIns="0" rIns="0" bIns="0" rtlCol="0">
            <a:noAutofit/>
          </a:bodyPr>
          <a:lstStyle/>
          <a:p>
            <a:pPr algn="r"/>
            <a:r>
              <a:rPr lang="en-US" sz="1800" dirty="0">
                <a:gradFill>
                  <a:gsLst>
                    <a:gs pos="0">
                      <a:schemeClr val="tx1"/>
                    </a:gs>
                    <a:gs pos="86000">
                      <a:schemeClr val="tx1"/>
                    </a:gs>
                  </a:gsLst>
                  <a:lin ang="5400000" scaled="0"/>
                </a:gradFill>
                <a:latin typeface="Segoe UI Light" pitchFamily="34" charset="0"/>
              </a:rPr>
              <a:t>*Risk of Inaction</a:t>
            </a:r>
          </a:p>
        </p:txBody>
      </p:sp>
      <p:pic>
        <p:nvPicPr>
          <p:cNvPr id="5" name="Picture 2">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025875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marL="0" indent="0" algn="r">
              <a:buNone/>
            </a:pPr>
            <a:r>
              <a:rPr lang="en-US" dirty="0" smtClean="0"/>
              <a:t>Strategic Alignment</a:t>
            </a:r>
          </a:p>
          <a:p>
            <a:pPr marL="0" indent="0" algn="r">
              <a:buNone/>
            </a:pPr>
            <a:r>
              <a:rPr lang="en-US" dirty="0" smtClean="0"/>
              <a:t>Project Management</a:t>
            </a:r>
          </a:p>
          <a:p>
            <a:pPr marL="0" indent="0" algn="r">
              <a:buNone/>
            </a:pPr>
            <a:r>
              <a:rPr lang="en-US" dirty="0" smtClean="0"/>
              <a:t>Change Management</a:t>
            </a:r>
          </a:p>
          <a:p>
            <a:pPr marL="0" indent="0" algn="r">
              <a:buNone/>
            </a:pPr>
            <a:r>
              <a:rPr lang="en-US" dirty="0" smtClean="0"/>
              <a:t>Operations Management</a:t>
            </a:r>
            <a:br>
              <a:rPr lang="en-US" dirty="0" smtClean="0"/>
            </a:br>
            <a:endParaRPr lang="en-US" dirty="0" smtClean="0"/>
          </a:p>
          <a:p>
            <a:pPr algn="r"/>
            <a:r>
              <a:rPr lang="en-US" sz="4500" b="1" dirty="0"/>
              <a:t>AGILITY</a:t>
            </a:r>
          </a:p>
        </p:txBody>
      </p:sp>
      <p:sp>
        <p:nvSpPr>
          <p:cNvPr id="5" name="Title 4"/>
          <p:cNvSpPr>
            <a:spLocks noGrp="1"/>
          </p:cNvSpPr>
          <p:nvPr>
            <p:ph type="title"/>
          </p:nvPr>
        </p:nvSpPr>
        <p:spPr/>
        <p:txBody>
          <a:bodyPr/>
          <a:lstStyle/>
          <a:p>
            <a:r>
              <a:rPr lang="en-US" dirty="0" smtClean="0"/>
              <a:t>Transform IT to an Agile Service</a:t>
            </a:r>
            <a:endParaRPr lang="en-US" dirty="0"/>
          </a:p>
        </p:txBody>
      </p:sp>
      <p:cxnSp>
        <p:nvCxnSpPr>
          <p:cNvPr id="4" name="Straight Connector 3"/>
          <p:cNvCxnSpPr/>
          <p:nvPr/>
        </p:nvCxnSpPr>
        <p:spPr>
          <a:xfrm>
            <a:off x="3085713" y="3371850"/>
            <a:ext cx="5030510" cy="0"/>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Cross 7"/>
          <p:cNvSpPr/>
          <p:nvPr/>
        </p:nvSpPr>
        <p:spPr bwMode="auto">
          <a:xfrm>
            <a:off x="3085713" y="2343150"/>
            <a:ext cx="857473" cy="857250"/>
          </a:xfrm>
          <a:prstGeom prst="plus">
            <a:avLst>
              <a:gd name="adj" fmla="val 33434"/>
            </a:avLst>
          </a:prstGeom>
          <a:noFill/>
          <a:ln w="28575">
            <a:solidFill>
              <a:srgbClr val="FFFFFF"/>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6"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7"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
              </a:rPr>
              <a:t>www.rapidbbs.cn</a:t>
            </a:r>
            <a:endParaRPr lang="zh-CN" altLang="en-US" sz="1200" b="0">
              <a:latin typeface="Arial" charset="0"/>
              <a:ea typeface="ＭＳ Ｐゴシック" pitchFamily="34" charset="-128"/>
            </a:endParaRPr>
          </a:p>
        </p:txBody>
      </p:sp>
      <p:pic>
        <p:nvPicPr>
          <p:cNvPr id="9" name="Picture 2">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5391195"/>
      </p:ext>
    </p:extLst>
  </p:cSld>
  <p:clrMapOvr>
    <a:masterClrMapping/>
  </p:clrMapOvr>
  <p:transition>
    <p:fade/>
  </p:transition>
  <p:timing>
    <p:tnLst>
      <p:par>
        <p:cTn id="1" dur="indefinite" restart="never" nodeType="tmRoot"/>
      </p:par>
    </p:tnLst>
  </p:timing>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Business Connectivity Services (BCS)</a:t>
            </a:r>
            <a:endParaRPr lang="en-US" dirty="0"/>
          </a:p>
        </p:txBody>
      </p:sp>
      <p:pic>
        <p:nvPicPr>
          <p:cNvPr id="4" name="Picture 3" descr="C:\Program Files\Microsoft Resource DVD Artwork\DVD_ART\Artwork_Imagery\Shapes and Graphics\circular shapes\sphere ball\blue sphere2.png"/>
          <p:cNvPicPr>
            <a:picLocks noChangeAspect="1" noChangeArrowheads="1"/>
          </p:cNvPicPr>
          <p:nvPr/>
        </p:nvPicPr>
        <p:blipFill>
          <a:blip r:embed="rId3">
            <a:grayscl/>
            <a:extLst>
              <a:ext uri="{28A0092B-C50C-407E-A947-70E740481C1C}">
                <a14:useLocalDpi xmlns:a14="http://schemas.microsoft.com/office/drawing/2010/main" val="0"/>
              </a:ext>
            </a:extLst>
          </a:blip>
          <a:srcRect/>
          <a:stretch>
            <a:fillRect/>
          </a:stretch>
        </p:blipFill>
        <p:spPr bwMode="auto">
          <a:xfrm>
            <a:off x="3314373" y="3268266"/>
            <a:ext cx="770535" cy="7703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C:\Program Files\Microsoft Resource DVD Artwork\DVD_ART\Artwork_Imagery\Shapes and Graphics\circular shapes\sphere ball\blue sphere2.png"/>
          <p:cNvPicPr>
            <a:picLocks noChangeAspect="1" noChangeArrowheads="1"/>
          </p:cNvPicPr>
          <p:nvPr/>
        </p:nvPicPr>
        <p:blipFill>
          <a:blip r:embed="rId3">
            <a:grayscl/>
            <a:extLst>
              <a:ext uri="{28A0092B-C50C-407E-A947-70E740481C1C}">
                <a14:useLocalDpi xmlns:a14="http://schemas.microsoft.com/office/drawing/2010/main" val="0"/>
              </a:ext>
            </a:extLst>
          </a:blip>
          <a:srcRect/>
          <a:stretch>
            <a:fillRect/>
          </a:stretch>
        </p:blipFill>
        <p:spPr bwMode="auto">
          <a:xfrm>
            <a:off x="3516832" y="2321720"/>
            <a:ext cx="770535" cy="770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descr="C:\Program Files\Microsoft Resource DVD Artwork\DVD_ART\Artwork_Imagery\Shapes and Graphics\circular shapes\sphere ball\blue sphere2.png"/>
          <p:cNvPicPr>
            <a:picLocks noChangeAspect="1" noChangeArrowheads="1"/>
          </p:cNvPicPr>
          <p:nvPr/>
        </p:nvPicPr>
        <p:blipFill>
          <a:blip r:embed="rId3">
            <a:grayscl/>
            <a:extLst>
              <a:ext uri="{28A0092B-C50C-407E-A947-70E740481C1C}">
                <a14:useLocalDpi xmlns:a14="http://schemas.microsoft.com/office/drawing/2010/main" val="0"/>
              </a:ext>
            </a:extLst>
          </a:blip>
          <a:srcRect/>
          <a:stretch>
            <a:fillRect/>
          </a:stretch>
        </p:blipFill>
        <p:spPr bwMode="auto">
          <a:xfrm>
            <a:off x="3314373" y="1375172"/>
            <a:ext cx="770535" cy="7703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p:cNvSpPr/>
          <p:nvPr/>
        </p:nvSpPr>
        <p:spPr bwMode="auto">
          <a:xfrm flipH="1">
            <a:off x="856283" y="2005012"/>
            <a:ext cx="2469999" cy="1320404"/>
          </a:xfrm>
          <a:prstGeom prst="rect">
            <a:avLst/>
          </a:prstGeom>
          <a:gradFill flip="none" rotWithShape="1">
            <a:gsLst>
              <a:gs pos="0">
                <a:sysClr val="windowText" lastClr="000000">
                  <a:lumMod val="75000"/>
                  <a:lumOff val="25000"/>
                  <a:alpha val="65000"/>
                </a:sysClr>
              </a:gs>
              <a:gs pos="50000">
                <a:sysClr val="windowText" lastClr="000000">
                  <a:lumMod val="75000"/>
                  <a:lumOff val="25000"/>
                  <a:alpha val="28000"/>
                </a:sysClr>
              </a:gs>
              <a:gs pos="100000">
                <a:srgbClr val="F7BC24">
                  <a:gamma/>
                  <a:tint val="54118"/>
                  <a:invGamma/>
                  <a:alpha val="0"/>
                </a:srgbClr>
              </a:gs>
            </a:gsLst>
            <a:lin ang="10800000" scaled="0"/>
            <a:tileRect/>
          </a:gradFill>
          <a:ln w="28575" cap="flat" cmpd="sng" algn="ctr">
            <a:noFill/>
            <a:prstDash val="solid"/>
            <a:round/>
            <a:headEnd type="none" w="med" len="med"/>
            <a:tailEnd type="none" w="med" len="med"/>
          </a:ln>
          <a:effectLst/>
        </p:spPr>
        <p:txBody>
          <a:bodyPr lIns="82303" tIns="41151" rIns="82303" bIns="41151" anchor="ctr"/>
          <a:lstStyle/>
          <a:p>
            <a:pPr defTabSz="822797">
              <a:defRPr/>
            </a:pPr>
            <a:endParaRPr lang="en-US" sz="2400" kern="0" dirty="0">
              <a:solidFill>
                <a:sysClr val="windowText" lastClr="000000"/>
              </a:solidFill>
              <a:latin typeface="Segoe UI"/>
            </a:endParaRPr>
          </a:p>
        </p:txBody>
      </p:sp>
      <p:pic>
        <p:nvPicPr>
          <p:cNvPr id="10" name="Picture 16" descr="yellow_grad.png"/>
          <p:cNvPicPr>
            <a:picLocks/>
          </p:cNvPicPr>
          <p:nvPr/>
        </p:nvPicPr>
        <p:blipFill>
          <a:blip r:embed="rId4">
            <a:extLst>
              <a:ext uri="{28A0092B-C50C-407E-A947-70E740481C1C}">
                <a14:useLocalDpi xmlns:a14="http://schemas.microsoft.com/office/drawing/2010/main" val="0"/>
              </a:ext>
            </a:extLst>
          </a:blip>
          <a:srcRect/>
          <a:stretch>
            <a:fillRect/>
          </a:stretch>
        </p:blipFill>
        <p:spPr bwMode="auto">
          <a:xfrm>
            <a:off x="7544574" y="1419226"/>
            <a:ext cx="171495" cy="771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9" descr="yellow_grad.png"/>
          <p:cNvPicPr>
            <a:picLocks/>
          </p:cNvPicPr>
          <p:nvPr/>
        </p:nvPicPr>
        <p:blipFill>
          <a:blip r:embed="rId4">
            <a:extLst>
              <a:ext uri="{28A0092B-C50C-407E-A947-70E740481C1C}">
                <a14:useLocalDpi xmlns:a14="http://schemas.microsoft.com/office/drawing/2010/main" val="0"/>
              </a:ext>
            </a:extLst>
          </a:blip>
          <a:srcRect/>
          <a:stretch>
            <a:fillRect/>
          </a:stretch>
        </p:blipFill>
        <p:spPr bwMode="auto">
          <a:xfrm>
            <a:off x="7544574" y="3314700"/>
            <a:ext cx="171495" cy="658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41" descr="lock_0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620444" y="2452687"/>
            <a:ext cx="495429" cy="691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Box 133127"/>
          <p:cNvSpPr txBox="1">
            <a:spLocks noChangeArrowheads="1"/>
          </p:cNvSpPr>
          <p:nvPr/>
        </p:nvSpPr>
        <p:spPr bwMode="auto">
          <a:xfrm>
            <a:off x="4223815" y="1603726"/>
            <a:ext cx="3186942" cy="30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68586" tIns="34294" rIns="68586" bIns="34294">
            <a:spAutoFit/>
          </a:bodyPr>
          <a:lstStyle>
            <a:lvl1pPr eaLnBrk="0" hangingPunct="0">
              <a:defRPr>
                <a:solidFill>
                  <a:schemeClr val="tx1"/>
                </a:solidFill>
                <a:latin typeface="Segoe UI" pitchFamily="34" charset="0"/>
                <a:cs typeface="Arial" pitchFamily="34" charset="0"/>
              </a:defRPr>
            </a:lvl1pPr>
            <a:lvl2pPr marL="742950" indent="-285750" eaLnBrk="0" hangingPunct="0">
              <a:defRPr>
                <a:solidFill>
                  <a:schemeClr val="tx1"/>
                </a:solidFill>
                <a:latin typeface="Segoe UI" pitchFamily="34" charset="0"/>
                <a:cs typeface="Arial" pitchFamily="34" charset="0"/>
              </a:defRPr>
            </a:lvl2pPr>
            <a:lvl3pPr marL="1143000" indent="-228600" eaLnBrk="0" hangingPunct="0">
              <a:defRPr>
                <a:solidFill>
                  <a:schemeClr val="tx1"/>
                </a:solidFill>
                <a:latin typeface="Segoe UI" pitchFamily="34" charset="0"/>
                <a:cs typeface="Arial" pitchFamily="34" charset="0"/>
              </a:defRPr>
            </a:lvl3pPr>
            <a:lvl4pPr marL="1600200" indent="-228600" eaLnBrk="0" hangingPunct="0">
              <a:defRPr>
                <a:solidFill>
                  <a:schemeClr val="tx1"/>
                </a:solidFill>
                <a:latin typeface="Segoe UI" pitchFamily="34" charset="0"/>
                <a:cs typeface="Arial" pitchFamily="34" charset="0"/>
              </a:defRPr>
            </a:lvl4pPr>
            <a:lvl5pPr marL="2057400" indent="-228600" eaLnBrk="0" hangingPunct="0">
              <a:defRPr>
                <a:solidFill>
                  <a:schemeClr val="tx1"/>
                </a:solidFill>
                <a:latin typeface="Segoe UI"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Segoe UI"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Segoe UI"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Segoe UI"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Segoe UI" pitchFamily="34" charset="0"/>
                <a:cs typeface="Arial" pitchFamily="34" charset="0"/>
              </a:defRPr>
            </a:lvl9pPr>
          </a:lstStyle>
          <a:p>
            <a:pPr defTabSz="685862" eaLnBrk="1" hangingPunct="1">
              <a:defRPr/>
            </a:pPr>
            <a:r>
              <a:rPr lang="en-US" sz="1500" kern="0" dirty="0">
                <a:solidFill>
                  <a:sysClr val="window" lastClr="FFFFFF"/>
                </a:solidFill>
              </a:rPr>
              <a:t>Extend the reach of Enterprise Data</a:t>
            </a:r>
          </a:p>
        </p:txBody>
      </p:sp>
      <p:sp>
        <p:nvSpPr>
          <p:cNvPr id="14" name="Rectangle 24"/>
          <p:cNvSpPr>
            <a:spLocks noChangeArrowheads="1"/>
          </p:cNvSpPr>
          <p:nvPr/>
        </p:nvSpPr>
        <p:spPr bwMode="auto">
          <a:xfrm>
            <a:off x="4223816" y="3516394"/>
            <a:ext cx="3085713" cy="30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6" tIns="34294" rIns="68586" bIns="34294">
            <a:spAutoFit/>
          </a:bodyPr>
          <a:lstStyle/>
          <a:p>
            <a:pPr defTabSz="685862">
              <a:defRPr/>
            </a:pPr>
            <a:r>
              <a:rPr lang="en-US" sz="1500" kern="0" dirty="0">
                <a:solidFill>
                  <a:sysClr val="window" lastClr="FFFFFF"/>
                </a:solidFill>
                <a:latin typeface="Segoe UI" pitchFamily="34" charset="0"/>
                <a:cs typeface="Arial" pitchFamily="34" charset="0"/>
              </a:rPr>
              <a:t>Easily create custom solutions </a:t>
            </a:r>
          </a:p>
        </p:txBody>
      </p:sp>
      <p:pic>
        <p:nvPicPr>
          <p:cNvPr id="15" name="Rectangle 13314"/>
          <p:cNvPicPr>
            <a:picLocks noChangeAspect="1" noChangeArrowheads="1"/>
          </p:cNvPicPr>
          <p:nvPr/>
        </p:nvPicPr>
        <p:blipFill>
          <a:blip r:embed="rId6">
            <a:grayscl/>
            <a:extLst>
              <a:ext uri="{28A0092B-C50C-407E-A947-70E740481C1C}">
                <a14:useLocalDpi xmlns:a14="http://schemas.microsoft.com/office/drawing/2010/main" val="0"/>
              </a:ext>
            </a:extLst>
          </a:blip>
          <a:srcRect/>
          <a:stretch>
            <a:fillRect/>
          </a:stretch>
        </p:blipFill>
        <p:spPr bwMode="auto">
          <a:xfrm>
            <a:off x="2823708" y="1037036"/>
            <a:ext cx="721707" cy="3400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33127"/>
          <p:cNvSpPr txBox="1">
            <a:spLocks noChangeArrowheads="1"/>
          </p:cNvSpPr>
          <p:nvPr/>
        </p:nvSpPr>
        <p:spPr bwMode="auto">
          <a:xfrm>
            <a:off x="1027777" y="2105025"/>
            <a:ext cx="2000771" cy="1168012"/>
          </a:xfrm>
          <a:prstGeom prst="rect">
            <a:avLst/>
          </a:prstGeom>
          <a:noFill/>
          <a:ln w="9525" algn="ctr">
            <a:noFill/>
            <a:miter lim="800000"/>
            <a:headEnd/>
            <a:tailEnd/>
          </a:ln>
          <a:effectLst/>
        </p:spPr>
        <p:txBody>
          <a:bodyPr lIns="68586" tIns="34294" rIns="68586" bIns="34294">
            <a:spAutoFit/>
          </a:bodyPr>
          <a:lstStyle/>
          <a:p>
            <a:pPr defTabSz="685835">
              <a:lnSpc>
                <a:spcPct val="85000"/>
              </a:lnSpc>
              <a:defRPr/>
            </a:pPr>
            <a:r>
              <a:rPr lang="en-US" sz="1200" kern="0" dirty="0">
                <a:latin typeface="Segoe UI"/>
              </a:rPr>
              <a:t>Bring data from external systems into SharePoint and Office, interact with it, reuse it, and empower end users to gain insight into the underlying data in a reusable way. </a:t>
            </a:r>
            <a:endParaRPr lang="en-US" sz="1200" kern="0" dirty="0">
              <a:effectLst>
                <a:outerShdw blurRad="38100" dist="38100" dir="2700000" algn="tl">
                  <a:srgbClr val="000000">
                    <a:alpha val="43137"/>
                  </a:srgbClr>
                </a:outerShdw>
              </a:effectLst>
            </a:endParaRPr>
          </a:p>
        </p:txBody>
      </p:sp>
      <p:sp>
        <p:nvSpPr>
          <p:cNvPr id="17" name="Rectangle 47"/>
          <p:cNvSpPr>
            <a:spLocks noChangeArrowheads="1"/>
          </p:cNvSpPr>
          <p:nvPr/>
        </p:nvSpPr>
        <p:spPr bwMode="auto">
          <a:xfrm rot="5400000" flipV="1">
            <a:off x="1878107" y="981998"/>
            <a:ext cx="14288" cy="2057936"/>
          </a:xfrm>
          <a:prstGeom prst="rect">
            <a:avLst/>
          </a:prstGeom>
          <a:gradFill rotWithShape="1">
            <a:gsLst>
              <a:gs pos="0">
                <a:sysClr val="window" lastClr="FFFFFF"/>
              </a:gs>
              <a:gs pos="50000">
                <a:sysClr val="window" lastClr="FFFFFF">
                  <a:alpha val="67000"/>
                </a:sysClr>
              </a:gs>
              <a:gs pos="100000">
                <a:sysClr val="windowText" lastClr="000000">
                  <a:alpha val="0"/>
                </a:sysClr>
              </a:gs>
            </a:gsLst>
            <a:lin ang="5400000" scaled="1"/>
          </a:gradFill>
          <a:ln w="9525">
            <a:noFill/>
            <a:miter lim="800000"/>
            <a:headEnd/>
            <a:tailEnd/>
          </a:ln>
        </p:spPr>
        <p:txBody>
          <a:bodyPr wrap="none" lIns="68586" tIns="34294" rIns="68586" bIns="34294" anchor="ctr"/>
          <a:lstStyle/>
          <a:p>
            <a:pPr defTabSz="685835" eaLnBrk="0" hangingPunct="0">
              <a:defRPr/>
            </a:pPr>
            <a:endParaRPr lang="en-US" kern="0" dirty="0">
              <a:solidFill>
                <a:sysClr val="windowText" lastClr="000000"/>
              </a:solidFill>
              <a:latin typeface="Segoe UI"/>
            </a:endParaRPr>
          </a:p>
        </p:txBody>
      </p:sp>
      <p:pic>
        <p:nvPicPr>
          <p:cNvPr id="18" name="Picture 32" descr="yellow_grad.png"/>
          <p:cNvPicPr>
            <a:picLocks/>
          </p:cNvPicPr>
          <p:nvPr/>
        </p:nvPicPr>
        <p:blipFill>
          <a:blip r:embed="rId4">
            <a:extLst>
              <a:ext uri="{28A0092B-C50C-407E-A947-70E740481C1C}">
                <a14:useLocalDpi xmlns:a14="http://schemas.microsoft.com/office/drawing/2010/main" val="0"/>
              </a:ext>
            </a:extLst>
          </a:blip>
          <a:srcRect/>
          <a:stretch>
            <a:fillRect/>
          </a:stretch>
        </p:blipFill>
        <p:spPr bwMode="auto">
          <a:xfrm>
            <a:off x="7544574" y="2315766"/>
            <a:ext cx="171495" cy="7703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Box 133127"/>
          <p:cNvSpPr txBox="1">
            <a:spLocks noChangeArrowheads="1"/>
          </p:cNvSpPr>
          <p:nvPr/>
        </p:nvSpPr>
        <p:spPr bwMode="auto">
          <a:xfrm>
            <a:off x="4223816" y="2599950"/>
            <a:ext cx="3535887" cy="277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68586" tIns="34294" rIns="68586" bIns="34294">
            <a:spAutoFit/>
          </a:bodyPr>
          <a:lstStyle>
            <a:lvl1pPr eaLnBrk="0" hangingPunct="0">
              <a:defRPr>
                <a:solidFill>
                  <a:schemeClr val="tx1"/>
                </a:solidFill>
                <a:latin typeface="Segoe UI" pitchFamily="34" charset="0"/>
                <a:cs typeface="Arial" pitchFamily="34" charset="0"/>
              </a:defRPr>
            </a:lvl1pPr>
            <a:lvl2pPr marL="742950" indent="-285750" eaLnBrk="0" hangingPunct="0">
              <a:defRPr>
                <a:solidFill>
                  <a:schemeClr val="tx1"/>
                </a:solidFill>
                <a:latin typeface="Segoe UI" pitchFamily="34" charset="0"/>
                <a:cs typeface="Arial" pitchFamily="34" charset="0"/>
              </a:defRPr>
            </a:lvl2pPr>
            <a:lvl3pPr marL="1143000" indent="-228600" eaLnBrk="0" hangingPunct="0">
              <a:defRPr>
                <a:solidFill>
                  <a:schemeClr val="tx1"/>
                </a:solidFill>
                <a:latin typeface="Segoe UI" pitchFamily="34" charset="0"/>
                <a:cs typeface="Arial" pitchFamily="34" charset="0"/>
              </a:defRPr>
            </a:lvl3pPr>
            <a:lvl4pPr marL="1600200" indent="-228600" eaLnBrk="0" hangingPunct="0">
              <a:defRPr>
                <a:solidFill>
                  <a:schemeClr val="tx1"/>
                </a:solidFill>
                <a:latin typeface="Segoe UI" pitchFamily="34" charset="0"/>
                <a:cs typeface="Arial" pitchFamily="34" charset="0"/>
              </a:defRPr>
            </a:lvl4pPr>
            <a:lvl5pPr marL="2057400" indent="-228600" eaLnBrk="0" hangingPunct="0">
              <a:defRPr>
                <a:solidFill>
                  <a:schemeClr val="tx1"/>
                </a:solidFill>
                <a:latin typeface="Segoe UI"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Segoe UI"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Segoe UI"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Segoe UI"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Segoe UI" pitchFamily="34" charset="0"/>
                <a:cs typeface="Arial" pitchFamily="34" charset="0"/>
              </a:defRPr>
            </a:lvl9pPr>
          </a:lstStyle>
          <a:p>
            <a:pPr defTabSz="685862" eaLnBrk="1" hangingPunct="1">
              <a:lnSpc>
                <a:spcPct val="90000"/>
              </a:lnSpc>
              <a:spcAft>
                <a:spcPts val="254"/>
              </a:spcAft>
              <a:defRPr/>
            </a:pPr>
            <a:r>
              <a:rPr lang="en-US" sz="1500" kern="0" dirty="0">
                <a:solidFill>
                  <a:sysClr val="window" lastClr="FFFFFF"/>
                </a:solidFill>
              </a:rPr>
              <a:t>Centrally manage reusable connections</a:t>
            </a:r>
          </a:p>
        </p:txBody>
      </p:sp>
      <p:pic>
        <p:nvPicPr>
          <p:cNvPr id="20" name="Picture 33" descr="clock.png"/>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3437039" y="3398044"/>
            <a:ext cx="546639" cy="545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Rectangle 822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rot="8623638">
            <a:off x="3654980" y="1570434"/>
            <a:ext cx="745525" cy="242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Rectangle 822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rot="14688536" flipH="1">
            <a:off x="3245991" y="1457890"/>
            <a:ext cx="746522" cy="242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Rectangle 822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rot="10609014" flipH="1">
            <a:off x="3151214" y="1771650"/>
            <a:ext cx="681215"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5"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0"/>
              </a:rPr>
              <a:t>www.rapidbbs.cn</a:t>
            </a:r>
            <a:endParaRPr lang="zh-CN" altLang="en-US" sz="1200" b="0">
              <a:latin typeface="Arial" charset="0"/>
              <a:ea typeface="ＭＳ Ｐゴシック" pitchFamily="34" charset="-128"/>
            </a:endParaRPr>
          </a:p>
        </p:txBody>
      </p:sp>
      <p:pic>
        <p:nvPicPr>
          <p:cNvPr id="26" name="Picture 2">
            <a:hlinkClick r:id="rId10"/>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776689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left)">
                                      <p:cBhvr>
                                        <p:cTn id="7" dur="500"/>
                                        <p:tgtEl>
                                          <p:spTgt spid="17"/>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1000"/>
                                        <p:tgtEl>
                                          <p:spTgt spid="4"/>
                                        </p:tgtEl>
                                      </p:cBhvr>
                                    </p:animEffect>
                                  </p:childTnLst>
                                </p:cTn>
                              </p:par>
                              <p:par>
                                <p:cTn id="11" presetID="10"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1000"/>
                                        <p:tgtEl>
                                          <p:spTgt spid="7"/>
                                        </p:tgtEl>
                                      </p:cBhvr>
                                    </p:animEffect>
                                  </p:childTnLst>
                                </p:cTn>
                              </p:par>
                              <p:par>
                                <p:cTn id="14" presetID="10" presetClass="entr" presetSubtype="0" fill="hold"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abrikam: end-2-end Business Scenario</a:t>
            </a:r>
            <a:endParaRPr lang="en-US" dirty="0"/>
          </a:p>
        </p:txBody>
      </p:sp>
      <p:grpSp>
        <p:nvGrpSpPr>
          <p:cNvPr id="80" name="Group 79"/>
          <p:cNvGrpSpPr/>
          <p:nvPr/>
        </p:nvGrpSpPr>
        <p:grpSpPr>
          <a:xfrm>
            <a:off x="4602965" y="893863"/>
            <a:ext cx="1051595" cy="1053601"/>
            <a:chOff x="4610100" y="1443207"/>
            <a:chExt cx="1401762" cy="1404801"/>
          </a:xfrm>
        </p:grpSpPr>
        <p:sp>
          <p:nvSpPr>
            <p:cNvPr id="81" name="Rectangle 80"/>
            <p:cNvSpPr/>
            <p:nvPr/>
          </p:nvSpPr>
          <p:spPr bwMode="auto">
            <a:xfrm>
              <a:off x="4610100" y="1443207"/>
              <a:ext cx="1401762" cy="14048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b" anchorCtr="0" forceAA="0" compatLnSpc="1">
              <a:prstTxWarp prst="textNoShape">
                <a:avLst/>
              </a:prstTxWarp>
              <a:noAutofit/>
            </a:bodyPr>
            <a:lstStyle/>
            <a:p>
              <a:pPr defTabSz="514434" fontAlgn="base">
                <a:lnSpc>
                  <a:spcPct val="80000"/>
                </a:lnSpc>
                <a:spcBef>
                  <a:spcPct val="0"/>
                </a:spcBef>
                <a:spcAft>
                  <a:spcPct val="0"/>
                </a:spcAft>
              </a:pPr>
              <a:r>
                <a:rPr lang="en-US" sz="12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Windows </a:t>
              </a:r>
              <a:br>
                <a:rPr lang="en-US" sz="12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br>
              <a:r>
                <a:rPr lang="en-US" sz="12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Phone</a:t>
              </a:r>
            </a:p>
          </p:txBody>
        </p:sp>
        <p:pic>
          <p:nvPicPr>
            <p:cNvPr id="82" name="Picture 81"/>
            <p:cNvPicPr/>
            <p:nvPr/>
          </p:nvPicPr>
          <p:blipFill>
            <a:blip r:embed="rId3"/>
            <a:stretch>
              <a:fillRect/>
            </a:stretch>
          </p:blipFill>
          <p:spPr>
            <a:xfrm>
              <a:off x="5408397" y="1556122"/>
              <a:ext cx="477365" cy="89208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grpSp>
        <p:nvGrpSpPr>
          <p:cNvPr id="83" name="Group 82"/>
          <p:cNvGrpSpPr/>
          <p:nvPr/>
        </p:nvGrpSpPr>
        <p:grpSpPr>
          <a:xfrm>
            <a:off x="3495572" y="892022"/>
            <a:ext cx="1057136" cy="1050063"/>
            <a:chOff x="2131076" y="2501194"/>
            <a:chExt cx="1409147" cy="1400084"/>
          </a:xfrm>
          <a:solidFill>
            <a:schemeClr val="accent6"/>
          </a:solidFill>
        </p:grpSpPr>
        <p:sp>
          <p:nvSpPr>
            <p:cNvPr id="84" name="Rectangle 83"/>
            <p:cNvSpPr/>
            <p:nvPr/>
          </p:nvSpPr>
          <p:spPr bwMode="auto">
            <a:xfrm>
              <a:off x="2131076" y="2501194"/>
              <a:ext cx="1409147" cy="140008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b" anchorCtr="0" forceAA="0" compatLnSpc="1">
              <a:prstTxWarp prst="textNoShape">
                <a:avLst/>
              </a:prstTxWarp>
              <a:noAutofit/>
            </a:bodyPr>
            <a:lstStyle/>
            <a:p>
              <a:pPr defTabSz="514434" fontAlgn="base">
                <a:lnSpc>
                  <a:spcPct val="80000"/>
                </a:lnSpc>
                <a:spcBef>
                  <a:spcPct val="0"/>
                </a:spcBef>
                <a:spcAft>
                  <a:spcPct val="0"/>
                </a:spcAft>
              </a:pPr>
              <a:r>
                <a:rPr lang="en-US" sz="11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Excel </a:t>
              </a:r>
              <a:br>
                <a:rPr lang="en-US" sz="11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br>
              <a:r>
                <a:rPr lang="en-US" sz="11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Web Access WP</a:t>
              </a:r>
            </a:p>
          </p:txBody>
        </p:sp>
        <p:pic>
          <p:nvPicPr>
            <p:cNvPr id="85" name="Picture 84"/>
            <p:cNvPicPr/>
            <p:nvPr/>
          </p:nvPicPr>
          <p:blipFill>
            <a:blip r:embed="rId4" cstate="screen">
              <a:extLst>
                <a:ext uri="{28A0092B-C50C-407E-A947-70E740481C1C}">
                  <a14:useLocalDpi xmlns:a14="http://schemas.microsoft.com/office/drawing/2010/main"/>
                </a:ext>
              </a:extLst>
            </a:blip>
            <a:stretch>
              <a:fillRect/>
            </a:stretch>
          </p:blipFill>
          <p:spPr>
            <a:xfrm>
              <a:off x="2464057" y="2706882"/>
              <a:ext cx="942276" cy="751527"/>
            </a:xfrm>
            <a:prstGeom prst="roundRect">
              <a:avLst>
                <a:gd name="adj" fmla="val 8594"/>
              </a:avLst>
            </a:prstGeom>
            <a:grpFill/>
            <a:ln>
              <a:noFill/>
            </a:ln>
            <a:effectLst>
              <a:reflection blurRad="12700" stA="38000" endPos="28000" dist="5000" dir="5400000" sy="-100000" algn="bl" rotWithShape="0"/>
            </a:effectLst>
          </p:spPr>
        </p:pic>
      </p:grpSp>
      <p:grpSp>
        <p:nvGrpSpPr>
          <p:cNvPr id="86" name="Group 85"/>
          <p:cNvGrpSpPr/>
          <p:nvPr/>
        </p:nvGrpSpPr>
        <p:grpSpPr>
          <a:xfrm>
            <a:off x="1268062" y="897399"/>
            <a:ext cx="2160451" cy="1053341"/>
            <a:chOff x="164720" y="1447924"/>
            <a:chExt cx="2879851" cy="1404455"/>
          </a:xfrm>
        </p:grpSpPr>
        <p:sp>
          <p:nvSpPr>
            <p:cNvPr id="87" name="Rectangle 86"/>
            <p:cNvSpPr/>
            <p:nvPr/>
          </p:nvSpPr>
          <p:spPr bwMode="auto">
            <a:xfrm>
              <a:off x="164720" y="1447924"/>
              <a:ext cx="2879851" cy="1404455"/>
            </a:xfrm>
            <a:prstGeom prst="rect">
              <a:avLst/>
            </a:prstGeom>
            <a:solidFill>
              <a:srgbClr val="FF82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b" anchorCtr="0" forceAA="0" compatLnSpc="1">
              <a:prstTxWarp prst="textNoShape">
                <a:avLst/>
              </a:prstTxWarp>
              <a:noAutofit/>
            </a:bodyPr>
            <a:lstStyle/>
            <a:p>
              <a:pPr defTabSz="514434" fontAlgn="base">
                <a:lnSpc>
                  <a:spcPct val="80000"/>
                </a:lnSpc>
                <a:spcBef>
                  <a:spcPct val="0"/>
                </a:spcBef>
                <a:spcAft>
                  <a:spcPct val="0"/>
                </a:spcAft>
              </a:pPr>
              <a:r>
                <a:rPr lang="en-US" sz="12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Office</a:t>
              </a:r>
              <a:br>
                <a:rPr lang="en-US" sz="12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br>
              <a:r>
                <a:rPr lang="en-US" sz="12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Clients</a:t>
              </a:r>
            </a:p>
          </p:txBody>
        </p:sp>
        <p:pic>
          <p:nvPicPr>
            <p:cNvPr id="88" name="Picture 8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9039" y="1508820"/>
              <a:ext cx="2497447" cy="557496"/>
            </a:xfrm>
            <a:prstGeom prst="rect">
              <a:avLst/>
            </a:prstGeom>
          </p:spPr>
        </p:pic>
        <p:pic>
          <p:nvPicPr>
            <p:cNvPr id="89" name="Picture 8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934786" y="2138132"/>
              <a:ext cx="563935" cy="519673"/>
            </a:xfrm>
            <a:prstGeom prst="rect">
              <a:avLst/>
            </a:prstGeom>
          </p:spPr>
        </p:pic>
        <p:pic>
          <p:nvPicPr>
            <p:cNvPr id="90" name="Picture 8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86920" y="2138133"/>
              <a:ext cx="562296" cy="519673"/>
            </a:xfrm>
            <a:prstGeom prst="rect">
              <a:avLst/>
            </a:prstGeom>
          </p:spPr>
        </p:pic>
      </p:grpSp>
      <p:grpSp>
        <p:nvGrpSpPr>
          <p:cNvPr id="92" name="Group 91"/>
          <p:cNvGrpSpPr/>
          <p:nvPr/>
        </p:nvGrpSpPr>
        <p:grpSpPr>
          <a:xfrm>
            <a:off x="1259892" y="2503644"/>
            <a:ext cx="1059765" cy="1010194"/>
            <a:chOff x="153830" y="3589582"/>
            <a:chExt cx="1412652" cy="1346925"/>
          </a:xfrm>
        </p:grpSpPr>
        <p:sp>
          <p:nvSpPr>
            <p:cNvPr id="94" name="Rectangle 93"/>
            <p:cNvSpPr/>
            <p:nvPr/>
          </p:nvSpPr>
          <p:spPr bwMode="auto">
            <a:xfrm>
              <a:off x="164720" y="3589582"/>
              <a:ext cx="1401762" cy="640405"/>
            </a:xfrm>
            <a:prstGeom prst="rect">
              <a:avLst/>
            </a:prstGeom>
            <a:solidFill>
              <a:srgbClr val="FF82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b" anchorCtr="0" forceAA="0" compatLnSpc="1">
              <a:prstTxWarp prst="textNoShape">
                <a:avLst/>
              </a:prstTxWarp>
              <a:noAutofit/>
            </a:bodyPr>
            <a:lstStyle/>
            <a:p>
              <a:pPr defTabSz="514434" fontAlgn="base">
                <a:lnSpc>
                  <a:spcPct val="80000"/>
                </a:lnSpc>
                <a:spcBef>
                  <a:spcPct val="0"/>
                </a:spcBef>
                <a:spcAft>
                  <a:spcPct val="0"/>
                </a:spcAft>
              </a:pPr>
              <a:r>
                <a:rPr lang="en-US" sz="12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External </a:t>
              </a:r>
              <a:br>
                <a:rPr lang="en-US" sz="12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br>
              <a:r>
                <a:rPr lang="en-US" sz="12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List</a:t>
              </a:r>
            </a:p>
          </p:txBody>
        </p:sp>
        <p:sp>
          <p:nvSpPr>
            <p:cNvPr id="95" name="Rectangle 94"/>
            <p:cNvSpPr/>
            <p:nvPr/>
          </p:nvSpPr>
          <p:spPr bwMode="auto">
            <a:xfrm>
              <a:off x="153830" y="4298450"/>
              <a:ext cx="1409147" cy="638057"/>
            </a:xfrm>
            <a:prstGeom prst="rect">
              <a:avLst/>
            </a:prstGeom>
            <a:solidFill>
              <a:srgbClr val="FF82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b" anchorCtr="0" forceAA="0" compatLnSpc="1">
              <a:prstTxWarp prst="textNoShape">
                <a:avLst/>
              </a:prstTxWarp>
              <a:noAutofit/>
            </a:bodyPr>
            <a:lstStyle/>
            <a:p>
              <a:pPr defTabSz="514434" fontAlgn="base">
                <a:lnSpc>
                  <a:spcPct val="80000"/>
                </a:lnSpc>
                <a:spcBef>
                  <a:spcPct val="0"/>
                </a:spcBef>
                <a:spcAft>
                  <a:spcPct val="0"/>
                </a:spcAft>
              </a:pPr>
              <a:r>
                <a:rPr lang="en-US" sz="12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External </a:t>
              </a:r>
              <a:br>
                <a:rPr lang="en-US" sz="12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br>
              <a:r>
                <a:rPr lang="en-US" sz="12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Content </a:t>
              </a:r>
              <a:br>
                <a:rPr lang="en-US" sz="12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br>
              <a:r>
                <a:rPr lang="en-US" sz="12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Type</a:t>
              </a:r>
            </a:p>
          </p:txBody>
        </p:sp>
      </p:grpSp>
      <p:grpSp>
        <p:nvGrpSpPr>
          <p:cNvPr id="96" name="Group 95"/>
          <p:cNvGrpSpPr/>
          <p:nvPr/>
        </p:nvGrpSpPr>
        <p:grpSpPr>
          <a:xfrm>
            <a:off x="1256526" y="3579786"/>
            <a:ext cx="2172176" cy="1053341"/>
            <a:chOff x="149345" y="5024438"/>
            <a:chExt cx="2895480" cy="1404455"/>
          </a:xfrm>
        </p:grpSpPr>
        <p:sp>
          <p:nvSpPr>
            <p:cNvPr id="97" name="Rectangle 96"/>
            <p:cNvSpPr/>
            <p:nvPr/>
          </p:nvSpPr>
          <p:spPr bwMode="auto">
            <a:xfrm>
              <a:off x="149345" y="5024438"/>
              <a:ext cx="2895480" cy="1404455"/>
            </a:xfrm>
            <a:prstGeom prst="rect">
              <a:avLst/>
            </a:prstGeom>
            <a:solidFill>
              <a:srgbClr val="FF82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b" anchorCtr="0" forceAA="0" compatLnSpc="1">
              <a:prstTxWarp prst="textNoShape">
                <a:avLst/>
              </a:prstTxWarp>
              <a:noAutofit/>
            </a:bodyPr>
            <a:lstStyle/>
            <a:p>
              <a:pPr defTabSz="514434" fontAlgn="base">
                <a:lnSpc>
                  <a:spcPct val="80000"/>
                </a:lnSpc>
                <a:spcBef>
                  <a:spcPct val="0"/>
                </a:spcBef>
                <a:spcAft>
                  <a:spcPct val="0"/>
                </a:spcAft>
              </a:pPr>
              <a:r>
                <a:rPr lang="en-US" sz="12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SharePoint</a:t>
              </a:r>
              <a:br>
                <a:rPr lang="en-US" sz="12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br>
              <a:r>
                <a:rPr lang="en-US" sz="12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Online (Now with BCS)</a:t>
              </a:r>
            </a:p>
          </p:txBody>
        </p:sp>
        <p:pic>
          <p:nvPicPr>
            <p:cNvPr id="98" name="Picture 9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06191" y="5142209"/>
              <a:ext cx="1302293" cy="779574"/>
            </a:xfrm>
            <a:prstGeom prst="rect">
              <a:avLst/>
            </a:prstGeom>
          </p:spPr>
        </p:pic>
      </p:grpSp>
      <p:grpSp>
        <p:nvGrpSpPr>
          <p:cNvPr id="99" name="Group 98"/>
          <p:cNvGrpSpPr/>
          <p:nvPr/>
        </p:nvGrpSpPr>
        <p:grpSpPr>
          <a:xfrm>
            <a:off x="3495573" y="3579785"/>
            <a:ext cx="2169885" cy="1047765"/>
            <a:chOff x="3133962" y="5024438"/>
            <a:chExt cx="2892426" cy="1397020"/>
          </a:xfrm>
        </p:grpSpPr>
        <p:sp>
          <p:nvSpPr>
            <p:cNvPr id="100" name="Rectangle 99"/>
            <p:cNvSpPr/>
            <p:nvPr/>
          </p:nvSpPr>
          <p:spPr bwMode="auto">
            <a:xfrm>
              <a:off x="3133962" y="5024438"/>
              <a:ext cx="2892426" cy="1397020"/>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b" anchorCtr="0" forceAA="0" compatLnSpc="1">
              <a:prstTxWarp prst="textNoShape">
                <a:avLst/>
              </a:prstTxWarp>
              <a:noAutofit/>
            </a:bodyPr>
            <a:lstStyle/>
            <a:p>
              <a:pPr defTabSz="514434" fontAlgn="base">
                <a:lnSpc>
                  <a:spcPct val="80000"/>
                </a:lnSpc>
                <a:spcBef>
                  <a:spcPct val="0"/>
                </a:spcBef>
                <a:spcAft>
                  <a:spcPct val="0"/>
                </a:spcAft>
              </a:pPr>
              <a:r>
                <a:rPr lang="en-US" sz="12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WCF</a:t>
              </a:r>
              <a:br>
                <a:rPr lang="en-US" sz="12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br>
              <a:r>
                <a:rPr lang="en-US" sz="12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Web Service</a:t>
              </a:r>
            </a:p>
          </p:txBody>
        </p:sp>
        <p:pic>
          <p:nvPicPr>
            <p:cNvPr id="101" name="Picture 10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237083" y="5199826"/>
              <a:ext cx="646082" cy="523149"/>
            </a:xfrm>
            <a:prstGeom prst="rect">
              <a:avLst/>
            </a:prstGeom>
          </p:spPr>
        </p:pic>
        <p:pic>
          <p:nvPicPr>
            <p:cNvPr id="102" name="Picture 3" descr="D:\AA - Microsoft\Events DVD 35\DVD_ART35\Logos\Azure Services Platform\Windows Azure\Windows Azure logo bl.png"/>
            <p:cNvPicPr>
              <a:picLocks noChangeAspect="1" noChangeArrowheads="1"/>
            </p:cNvPicPr>
            <p:nvPr/>
          </p:nvPicPr>
          <p:blipFill>
            <a:blip r:embed="rId10"/>
            <a:srcRect b="35285"/>
            <a:stretch>
              <a:fillRect/>
            </a:stretch>
          </p:blipFill>
          <p:spPr bwMode="auto">
            <a:xfrm>
              <a:off x="3515647" y="5661592"/>
              <a:ext cx="2061936" cy="311415"/>
            </a:xfrm>
            <a:prstGeom prst="rect">
              <a:avLst/>
            </a:prstGeom>
            <a:noFill/>
            <a:ln>
              <a:noFill/>
            </a:ln>
          </p:spPr>
        </p:pic>
      </p:grpSp>
      <p:grpSp>
        <p:nvGrpSpPr>
          <p:cNvPr id="103" name="Group 102"/>
          <p:cNvGrpSpPr/>
          <p:nvPr/>
        </p:nvGrpSpPr>
        <p:grpSpPr>
          <a:xfrm>
            <a:off x="5717679" y="3585722"/>
            <a:ext cx="2169885" cy="1047765"/>
            <a:chOff x="6095999" y="5032355"/>
            <a:chExt cx="2892426" cy="1397020"/>
          </a:xfrm>
        </p:grpSpPr>
        <p:sp>
          <p:nvSpPr>
            <p:cNvPr id="104" name="Rectangle 103"/>
            <p:cNvSpPr/>
            <p:nvPr/>
          </p:nvSpPr>
          <p:spPr bwMode="auto">
            <a:xfrm>
              <a:off x="6095999" y="5032355"/>
              <a:ext cx="2892426" cy="1397020"/>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b" anchorCtr="0" forceAA="0" compatLnSpc="1">
              <a:prstTxWarp prst="textNoShape">
                <a:avLst/>
              </a:prstTxWarp>
              <a:noAutofit/>
            </a:bodyPr>
            <a:lstStyle/>
            <a:p>
              <a:pPr algn="r" defTabSz="514434" fontAlgn="base">
                <a:lnSpc>
                  <a:spcPct val="80000"/>
                </a:lnSpc>
                <a:spcBef>
                  <a:spcPct val="0"/>
                </a:spcBef>
                <a:spcAft>
                  <a:spcPct val="0"/>
                </a:spcAft>
              </a:pPr>
              <a:r>
                <a:rPr lang="en-US" sz="12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Order </a:t>
              </a:r>
              <a:br>
                <a:rPr lang="en-US" sz="12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br>
              <a:r>
                <a:rPr lang="en-US" sz="12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Data</a:t>
              </a:r>
            </a:p>
          </p:txBody>
        </p:sp>
        <p:pic>
          <p:nvPicPr>
            <p:cNvPr id="105" name="Picture 104"/>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290097" y="5250074"/>
              <a:ext cx="500978" cy="375734"/>
            </a:xfrm>
            <a:prstGeom prst="rect">
              <a:avLst/>
            </a:prstGeom>
          </p:spPr>
        </p:pic>
        <p:pic>
          <p:nvPicPr>
            <p:cNvPr id="106" name="AZURE logo" descr="\\SERVER3\InternalBin\Resource DVD\DVD_ART36\Logos\Azure Services Platform\Windows Azure\Windows Azure logo rev.png"/>
            <p:cNvPicPr>
              <a:picLocks noChangeAspect="1" noChangeArrowheads="1"/>
            </p:cNvPicPr>
            <p:nvPr/>
          </p:nvPicPr>
          <p:blipFill>
            <a:blip r:embed="rId12"/>
            <a:stretch>
              <a:fillRect/>
            </a:stretch>
          </p:blipFill>
          <p:spPr bwMode="auto">
            <a:xfrm>
              <a:off x="6835532" y="5663518"/>
              <a:ext cx="1410108" cy="433993"/>
            </a:xfrm>
            <a:prstGeom prst="rect">
              <a:avLst/>
            </a:prstGeom>
            <a:noFill/>
            <a:ln>
              <a:noFill/>
            </a:ln>
          </p:spPr>
        </p:pic>
      </p:grpSp>
      <p:grpSp>
        <p:nvGrpSpPr>
          <p:cNvPr id="107" name="Group 106"/>
          <p:cNvGrpSpPr/>
          <p:nvPr/>
        </p:nvGrpSpPr>
        <p:grpSpPr>
          <a:xfrm>
            <a:off x="5717679" y="2508223"/>
            <a:ext cx="2169885" cy="1008458"/>
            <a:chOff x="6095999" y="3595688"/>
            <a:chExt cx="2892426" cy="1344611"/>
          </a:xfrm>
        </p:grpSpPr>
        <p:sp>
          <p:nvSpPr>
            <p:cNvPr id="108" name="Rectangle 107"/>
            <p:cNvSpPr/>
            <p:nvPr/>
          </p:nvSpPr>
          <p:spPr bwMode="auto">
            <a:xfrm>
              <a:off x="6095999" y="3595688"/>
              <a:ext cx="2892426" cy="1344611"/>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b" anchorCtr="0" forceAA="0" compatLnSpc="1">
              <a:prstTxWarp prst="textNoShape">
                <a:avLst/>
              </a:prstTxWarp>
              <a:noAutofit/>
            </a:bodyPr>
            <a:lstStyle/>
            <a:p>
              <a:pPr algn="r" defTabSz="514434" fontAlgn="base">
                <a:lnSpc>
                  <a:spcPct val="80000"/>
                </a:lnSpc>
                <a:spcBef>
                  <a:spcPct val="0"/>
                </a:spcBef>
                <a:spcAft>
                  <a:spcPct val="0"/>
                </a:spcAft>
              </a:pPr>
              <a:r>
                <a:rPr lang="en-US" sz="12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Blob</a:t>
              </a:r>
              <a:br>
                <a:rPr lang="en-US" sz="12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br>
              <a:r>
                <a:rPr lang="en-US" sz="12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Storage</a:t>
              </a:r>
            </a:p>
          </p:txBody>
        </p:sp>
        <p:pic>
          <p:nvPicPr>
            <p:cNvPr id="109" name="Picture 3" descr="D:\AA - Microsoft\Events DVD 35\DVD_ART35\Logos\Azure Services Platform\Windows Azure\Windows Azure logo bl.png"/>
            <p:cNvPicPr>
              <a:picLocks noChangeAspect="1" noChangeArrowheads="1"/>
            </p:cNvPicPr>
            <p:nvPr/>
          </p:nvPicPr>
          <p:blipFill>
            <a:blip r:embed="rId10"/>
            <a:srcRect b="35285"/>
            <a:stretch>
              <a:fillRect/>
            </a:stretch>
          </p:blipFill>
          <p:spPr bwMode="auto">
            <a:xfrm>
              <a:off x="6509618" y="4298450"/>
              <a:ext cx="2061936" cy="311415"/>
            </a:xfrm>
            <a:prstGeom prst="rect">
              <a:avLst/>
            </a:prstGeom>
            <a:noFill/>
            <a:ln>
              <a:noFill/>
            </a:ln>
          </p:spPr>
        </p:pic>
        <p:pic>
          <p:nvPicPr>
            <p:cNvPr id="110" name="Picture 109"/>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290097" y="3862975"/>
              <a:ext cx="500978" cy="375734"/>
            </a:xfrm>
            <a:prstGeom prst="rect">
              <a:avLst/>
            </a:prstGeom>
          </p:spPr>
        </p:pic>
      </p:grpSp>
      <p:grpSp>
        <p:nvGrpSpPr>
          <p:cNvPr id="116" name="Group 115"/>
          <p:cNvGrpSpPr/>
          <p:nvPr/>
        </p:nvGrpSpPr>
        <p:grpSpPr>
          <a:xfrm>
            <a:off x="2375947" y="3029584"/>
            <a:ext cx="1057136" cy="478543"/>
            <a:chOff x="1641517" y="4290836"/>
            <a:chExt cx="1409147" cy="638057"/>
          </a:xfrm>
        </p:grpSpPr>
        <p:sp>
          <p:nvSpPr>
            <p:cNvPr id="117" name="Rectangle 116"/>
            <p:cNvSpPr/>
            <p:nvPr/>
          </p:nvSpPr>
          <p:spPr bwMode="auto">
            <a:xfrm>
              <a:off x="1641517" y="4290836"/>
              <a:ext cx="1409147" cy="638057"/>
            </a:xfrm>
            <a:prstGeom prst="rect">
              <a:avLst/>
            </a:prstGeom>
            <a:solidFill>
              <a:srgbClr val="FF82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b" anchorCtr="0" forceAA="0" compatLnSpc="1">
              <a:prstTxWarp prst="textNoShape">
                <a:avLst/>
              </a:prstTxWarp>
              <a:noAutofit/>
            </a:bodyPr>
            <a:lstStyle/>
            <a:p>
              <a:pPr defTabSz="514434" fontAlgn="base">
                <a:lnSpc>
                  <a:spcPct val="80000"/>
                </a:lnSpc>
                <a:spcBef>
                  <a:spcPct val="0"/>
                </a:spcBef>
                <a:spcAft>
                  <a:spcPct val="0"/>
                </a:spcAft>
              </a:pPr>
              <a:r>
                <a:rPr lang="en-US" sz="12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Excel</a:t>
              </a:r>
              <a:br>
                <a:rPr lang="en-US" sz="12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br>
              <a:r>
                <a:rPr lang="en-US" sz="1200" spc="-29" dirty="0">
                  <a:gradFill>
                    <a:gsLst>
                      <a:gs pos="0">
                        <a:srgbClr val="FFFFFF"/>
                      </a:gs>
                      <a:gs pos="100000">
                        <a:srgbClr val="FFFFFF"/>
                      </a:gs>
                    </a:gsLst>
                    <a:lin ang="5400000" scaled="0"/>
                  </a:gradFill>
                  <a:latin typeface="Segoe UI" pitchFamily="34" charset="0"/>
                  <a:ea typeface="Segoe UI" pitchFamily="34" charset="0"/>
                  <a:cs typeface="Segoe UI" pitchFamily="34" charset="0"/>
                </a:rPr>
                <a:t>Services</a:t>
              </a:r>
            </a:p>
          </p:txBody>
        </p:sp>
        <p:pic>
          <p:nvPicPr>
            <p:cNvPr id="118" name="Picture 11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363729" y="4350028"/>
              <a:ext cx="563935" cy="519673"/>
            </a:xfrm>
            <a:prstGeom prst="rect">
              <a:avLst/>
            </a:prstGeom>
          </p:spPr>
        </p:pic>
      </p:grpSp>
      <p:pic>
        <p:nvPicPr>
          <p:cNvPr id="1026" name="Picture 2"/>
          <p:cNvPicPr>
            <a:picLocks noChangeAspect="1" noChangeArrowheads="1"/>
          </p:cNvPicPr>
          <p:nvPr/>
        </p:nvPicPr>
        <p:blipFill rotWithShape="1">
          <a:blip r:embed="rId13">
            <a:extLst>
              <a:ext uri="{28A0092B-C50C-407E-A947-70E740481C1C}">
                <a14:useLocalDpi xmlns:a14="http://schemas.microsoft.com/office/drawing/2010/main" val="0"/>
              </a:ext>
            </a:extLst>
          </a:blip>
          <a:srcRect l="7552" t="12762" r="64193" b="24961"/>
          <a:stretch/>
        </p:blipFill>
        <p:spPr bwMode="auto">
          <a:xfrm>
            <a:off x="5993501" y="1991697"/>
            <a:ext cx="1606477" cy="492584"/>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7"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4"/>
              </a:rPr>
              <a:t>www.rapidbbs.cn</a:t>
            </a:r>
            <a:endParaRPr lang="zh-CN" altLang="en-US" sz="1200" b="0">
              <a:latin typeface="Arial" charset="0"/>
              <a:ea typeface="ＭＳ Ｐゴシック" pitchFamily="34" charset="-128"/>
            </a:endParaRPr>
          </a:p>
        </p:txBody>
      </p:sp>
      <p:pic>
        <p:nvPicPr>
          <p:cNvPr id="38" name="Picture 2">
            <a:hlinkClick r:id="rId14"/>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47164398"/>
      </p:ext>
    </p:extLst>
  </p:cSld>
  <p:clrMapOvr>
    <a:masterClrMapping/>
  </p:clrMapOvr>
  <p:transition>
    <p:fade/>
  </p:transition>
  <p:timing>
    <p:tnLst>
      <p:par>
        <p:cTn id="1" dur="indefinite" restart="never" nodeType="tmRoot"/>
      </p:par>
    </p:tnLst>
  </p:timing>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450983874"/>
              </p:ext>
            </p:extLst>
          </p:nvPr>
        </p:nvGraphicFramePr>
        <p:xfrm>
          <a:off x="389436" y="1085851"/>
          <a:ext cx="8363938" cy="373486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6"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7"/>
              </a:rPr>
              <a:t>www.rapidbbs.cn</a:t>
            </a:r>
            <a:endParaRPr lang="zh-CN" altLang="en-US" sz="1200" b="0">
              <a:latin typeface="Arial" charset="0"/>
              <a:ea typeface="ＭＳ Ｐゴシック" pitchFamily="34" charset="-128"/>
            </a:endParaRPr>
          </a:p>
        </p:txBody>
      </p:sp>
      <p:pic>
        <p:nvPicPr>
          <p:cNvPr id="7" name="Picture 2">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04044674"/>
      </p:ext>
    </p:extLst>
  </p:cSld>
  <p:clrMapOvr>
    <a:masterClrMapping/>
  </p:clrMapOvr>
  <p:transition>
    <p:fade/>
  </p:transition>
  <p:timing>
    <p:tnLst>
      <p:par>
        <p:cTn id="1" dur="indefinite" restart="never" nodeType="tmRoot"/>
      </p:par>
    </p:tnLst>
  </p:timing>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457049"/>
          </a:xfrm>
        </p:spPr>
        <p:txBody>
          <a:bodyPr/>
          <a:lstStyle/>
          <a:p>
            <a:r>
              <a:rPr lang="en-US" dirty="0"/>
              <a:t>Traditional </a:t>
            </a:r>
            <a:r>
              <a:rPr lang="en-US" dirty="0" smtClean="0"/>
              <a:t>Compatibility Approach</a:t>
            </a:r>
            <a:endParaRPr lang="en-US" sz="2700" dirty="0">
              <a:gradFill flip="none" rotWithShape="1">
                <a:gsLst>
                  <a:gs pos="5417">
                    <a:srgbClr val="C1F7AA"/>
                  </a:gs>
                  <a:gs pos="98000">
                    <a:srgbClr val="C1F7AA"/>
                  </a:gs>
                </a:gsLst>
                <a:lin ang="5400000" scaled="0"/>
                <a:tileRect/>
              </a:gradFill>
            </a:endParaRPr>
          </a:p>
        </p:txBody>
      </p:sp>
      <p:sp>
        <p:nvSpPr>
          <p:cNvPr id="18" name="Rectangle 17" hidden="1"/>
          <p:cNvSpPr/>
          <p:nvPr/>
        </p:nvSpPr>
        <p:spPr bwMode="auto">
          <a:xfrm>
            <a:off x="0" y="1585743"/>
            <a:ext cx="9143860" cy="57150"/>
          </a:xfrm>
          <a:prstGeom prst="rect">
            <a:avLst/>
          </a:prstGeom>
          <a:solidFill>
            <a:schemeClr val="accent5"/>
          </a:solidFill>
          <a:ln w="9525" cap="flat" cmpd="sng" algn="ctr">
            <a:noFill/>
            <a:prstDash val="solid"/>
            <a:headEnd type="none" w="med" len="med"/>
            <a:tailEnd type="none" w="med" len="med"/>
          </a:ln>
          <a:effectLst/>
        </p:spPr>
        <p:txBody>
          <a:bodyPr lIns="68583" tIns="34292" rIns="68583" bIns="34292" anchor="ctr"/>
          <a:lstStyle/>
          <a:p>
            <a:pPr algn="ctr" defTabSz="684673">
              <a:defRPr/>
            </a:pPr>
            <a:endParaRPr lang="en-US" sz="1700" kern="0" dirty="0">
              <a:solidFill>
                <a:srgbClr val="5E5E5E"/>
              </a:solidFill>
              <a:latin typeface="Segoe UI Light"/>
              <a:ea typeface="ＭＳ Ｐゴシック" pitchFamily="-65" charset="-128"/>
            </a:endParaRPr>
          </a:p>
        </p:txBody>
      </p:sp>
      <p:sp>
        <p:nvSpPr>
          <p:cNvPr id="19" name="Freeform 6"/>
          <p:cNvSpPr>
            <a:spLocks/>
          </p:cNvSpPr>
          <p:nvPr/>
        </p:nvSpPr>
        <p:spPr bwMode="auto">
          <a:xfrm>
            <a:off x="0" y="1539737"/>
            <a:ext cx="2201511" cy="1228061"/>
          </a:xfrm>
          <a:prstGeom prst="rect">
            <a:avLst/>
          </a:prstGeom>
          <a:solidFill>
            <a:srgbClr val="92D050"/>
          </a:solidFill>
          <a:ln w="12700" cap="rnd" cmpd="sng" algn="ctr">
            <a:noFill/>
            <a:prstDash val="solid"/>
            <a:headEnd type="oval"/>
          </a:ln>
          <a:effectLst/>
        </p:spPr>
        <p:txBody>
          <a:bodyPr lIns="0" tIns="34294" rIns="0" bIns="68586" anchor="b"/>
          <a:lstStyle/>
          <a:p>
            <a:pPr algn="ctr" defTabSz="685862">
              <a:defRPr/>
            </a:pPr>
            <a:endParaRPr lang="en-US" sz="2100" kern="0" spc="-75" dirty="0">
              <a:solidFill>
                <a:srgbClr val="FFFFFF"/>
              </a:solidFill>
              <a:latin typeface="Segoe UI Light"/>
              <a:ea typeface="ＭＳ Ｐゴシック" pitchFamily="-65" charset="-128"/>
            </a:endParaRPr>
          </a:p>
          <a:p>
            <a:pPr algn="ctr" defTabSz="685862">
              <a:defRPr/>
            </a:pPr>
            <a:r>
              <a:rPr lang="en-US" sz="2100" kern="0" spc="-75" dirty="0">
                <a:solidFill>
                  <a:srgbClr val="FFFFFF"/>
                </a:solidFill>
                <a:latin typeface="Segoe UI Light"/>
                <a:ea typeface="ＭＳ Ｐゴシック" pitchFamily="-65" charset="-128"/>
              </a:rPr>
              <a:t>Find</a:t>
            </a:r>
          </a:p>
        </p:txBody>
      </p:sp>
      <p:sp>
        <p:nvSpPr>
          <p:cNvPr id="20" name="Freeform 6"/>
          <p:cNvSpPr>
            <a:spLocks/>
          </p:cNvSpPr>
          <p:nvPr/>
        </p:nvSpPr>
        <p:spPr bwMode="auto">
          <a:xfrm>
            <a:off x="2316771" y="1541808"/>
            <a:ext cx="2201511" cy="1228061"/>
          </a:xfrm>
          <a:prstGeom prst="rect">
            <a:avLst/>
          </a:prstGeom>
          <a:solidFill>
            <a:srgbClr val="92D050"/>
          </a:solidFill>
          <a:ln w="12700" cap="rnd" cmpd="sng" algn="ctr">
            <a:noFill/>
            <a:prstDash val="solid"/>
            <a:headEnd type="oval"/>
          </a:ln>
          <a:effectLst/>
        </p:spPr>
        <p:txBody>
          <a:bodyPr lIns="0" tIns="34294" rIns="0" bIns="68586" anchor="b"/>
          <a:lstStyle/>
          <a:p>
            <a:pPr algn="ctr" defTabSz="685862">
              <a:defRPr/>
            </a:pPr>
            <a:r>
              <a:rPr lang="en-US" sz="2100" kern="0" spc="-75" dirty="0">
                <a:solidFill>
                  <a:srgbClr val="FFFFFF"/>
                </a:solidFill>
                <a:latin typeface="Segoe UI Light"/>
                <a:ea typeface="ＭＳ Ｐゴシック" pitchFamily="-65" charset="-128"/>
              </a:rPr>
              <a:t/>
            </a:r>
            <a:br>
              <a:rPr lang="en-US" sz="2100" kern="0" spc="-75" dirty="0">
                <a:solidFill>
                  <a:srgbClr val="FFFFFF"/>
                </a:solidFill>
                <a:latin typeface="Segoe UI Light"/>
                <a:ea typeface="ＭＳ Ｐゴシック" pitchFamily="-65" charset="-128"/>
              </a:rPr>
            </a:br>
            <a:r>
              <a:rPr lang="en-US" sz="2100" kern="0" spc="-75" dirty="0">
                <a:solidFill>
                  <a:srgbClr val="FFFFFF"/>
                </a:solidFill>
                <a:latin typeface="Segoe UI Light"/>
                <a:ea typeface="ＭＳ Ｐゴシック" pitchFamily="-65" charset="-128"/>
              </a:rPr>
              <a:t>Review</a:t>
            </a:r>
          </a:p>
        </p:txBody>
      </p:sp>
      <p:sp>
        <p:nvSpPr>
          <p:cNvPr id="21" name="Freeform 6"/>
          <p:cNvSpPr>
            <a:spLocks/>
          </p:cNvSpPr>
          <p:nvPr/>
        </p:nvSpPr>
        <p:spPr bwMode="auto">
          <a:xfrm>
            <a:off x="6942349" y="1540779"/>
            <a:ext cx="2201511" cy="1228061"/>
          </a:xfrm>
          <a:prstGeom prst="rect">
            <a:avLst/>
          </a:prstGeom>
          <a:solidFill>
            <a:srgbClr val="92D050"/>
          </a:solidFill>
          <a:ln w="12700" cap="rnd" cmpd="sng" algn="ctr">
            <a:noFill/>
            <a:prstDash val="solid"/>
            <a:headEnd type="oval"/>
          </a:ln>
          <a:effectLst/>
        </p:spPr>
        <p:txBody>
          <a:bodyPr lIns="0" tIns="34294" rIns="0" bIns="68586" anchor="b"/>
          <a:lstStyle/>
          <a:p>
            <a:pPr algn="ctr" defTabSz="685862">
              <a:defRPr/>
            </a:pPr>
            <a:endParaRPr lang="en-US" sz="2100" kern="0" spc="-75" dirty="0">
              <a:solidFill>
                <a:srgbClr val="FFFFFF"/>
              </a:solidFill>
              <a:latin typeface="Segoe UI Light"/>
              <a:ea typeface="ＭＳ Ｐゴシック" pitchFamily="-65" charset="-128"/>
            </a:endParaRPr>
          </a:p>
          <a:p>
            <a:pPr algn="ctr" defTabSz="685862">
              <a:defRPr/>
            </a:pPr>
            <a:r>
              <a:rPr lang="en-US" sz="2100" kern="0" spc="-75" dirty="0">
                <a:solidFill>
                  <a:srgbClr val="FFFFFF"/>
                </a:solidFill>
                <a:latin typeface="Segoe UI Light"/>
                <a:ea typeface="ＭＳ Ｐゴシック" pitchFamily="-65" charset="-128"/>
              </a:rPr>
              <a:t>Keep Testing</a:t>
            </a:r>
          </a:p>
        </p:txBody>
      </p:sp>
      <p:sp>
        <p:nvSpPr>
          <p:cNvPr id="22" name="Freeform 6"/>
          <p:cNvSpPr>
            <a:spLocks/>
          </p:cNvSpPr>
          <p:nvPr/>
        </p:nvSpPr>
        <p:spPr bwMode="auto">
          <a:xfrm>
            <a:off x="4625567" y="1541808"/>
            <a:ext cx="2201511" cy="1228061"/>
          </a:xfrm>
          <a:prstGeom prst="rect">
            <a:avLst/>
          </a:prstGeom>
          <a:solidFill>
            <a:srgbClr val="92D050"/>
          </a:solidFill>
          <a:ln w="12700" cap="rnd" cmpd="sng" algn="ctr">
            <a:noFill/>
            <a:prstDash val="solid"/>
            <a:headEnd type="oval"/>
          </a:ln>
          <a:effectLst/>
        </p:spPr>
        <p:txBody>
          <a:bodyPr lIns="0" tIns="34294" rIns="0" bIns="68586" anchor="b"/>
          <a:lstStyle/>
          <a:p>
            <a:pPr algn="ctr" defTabSz="685862">
              <a:defRPr/>
            </a:pPr>
            <a:endParaRPr lang="en-US" sz="2100" kern="0" spc="-75" dirty="0">
              <a:solidFill>
                <a:srgbClr val="FFFFFF"/>
              </a:solidFill>
              <a:latin typeface="Segoe UI Light"/>
              <a:ea typeface="ＭＳ Ｐゴシック" pitchFamily="-65" charset="-128"/>
            </a:endParaRPr>
          </a:p>
          <a:p>
            <a:pPr algn="ctr" defTabSz="685862">
              <a:defRPr/>
            </a:pPr>
            <a:r>
              <a:rPr lang="en-US" sz="2100" kern="0" spc="-75" dirty="0">
                <a:solidFill>
                  <a:srgbClr val="FFFFFF"/>
                </a:solidFill>
                <a:latin typeface="Segoe UI Light"/>
                <a:ea typeface="ＭＳ Ｐゴシック" pitchFamily="-65" charset="-128"/>
              </a:rPr>
              <a:t>Test</a:t>
            </a:r>
          </a:p>
        </p:txBody>
      </p:sp>
      <p:sp>
        <p:nvSpPr>
          <p:cNvPr id="25" name="TextBox 24"/>
          <p:cNvSpPr txBox="1"/>
          <p:nvPr/>
        </p:nvSpPr>
        <p:spPr>
          <a:xfrm>
            <a:off x="3134792" y="1595650"/>
            <a:ext cx="565469" cy="830997"/>
          </a:xfrm>
          <a:prstGeom prst="rect">
            <a:avLst/>
          </a:prstGeom>
          <a:noFill/>
        </p:spPr>
        <p:txBody>
          <a:bodyPr wrap="square" lIns="0" tIns="0" rIns="0" bIns="0" rtlCol="0">
            <a:spAutoFit/>
          </a:bodyPr>
          <a:lstStyle/>
          <a:p>
            <a:pPr algn="ctr" defTabSz="569417"/>
            <a:r>
              <a:rPr lang="en-US" sz="5400" dirty="0">
                <a:solidFill>
                  <a:prstClr val="white"/>
                </a:solidFill>
                <a:ea typeface="ＭＳ Ｐゴシック" pitchFamily="-65" charset="-128"/>
                <a:sym typeface="Wingdings"/>
              </a:rPr>
              <a:t></a:t>
            </a:r>
            <a:endParaRPr lang="en-US" sz="5400" dirty="0">
              <a:solidFill>
                <a:prstClr val="white"/>
              </a:solidFill>
              <a:ea typeface="ＭＳ Ｐゴシック" pitchFamily="-65" charset="-128"/>
            </a:endParaRPr>
          </a:p>
        </p:txBody>
      </p:sp>
      <p:sp>
        <p:nvSpPr>
          <p:cNvPr id="27" name="Rectangle 26" hidden="1"/>
          <p:cNvSpPr/>
          <p:nvPr/>
        </p:nvSpPr>
        <p:spPr bwMode="auto">
          <a:xfrm>
            <a:off x="140" y="3031961"/>
            <a:ext cx="9143860" cy="57150"/>
          </a:xfrm>
          <a:prstGeom prst="rect">
            <a:avLst/>
          </a:prstGeom>
          <a:solidFill>
            <a:schemeClr val="accent5"/>
          </a:solidFill>
          <a:ln w="9525" cap="flat" cmpd="sng" algn="ctr">
            <a:noFill/>
            <a:prstDash val="solid"/>
            <a:headEnd type="none" w="med" len="med"/>
            <a:tailEnd type="none" w="med" len="med"/>
          </a:ln>
          <a:effectLst/>
        </p:spPr>
        <p:txBody>
          <a:bodyPr lIns="68583" tIns="34292" rIns="68583" bIns="34292" anchor="ctr"/>
          <a:lstStyle/>
          <a:p>
            <a:pPr algn="ctr" defTabSz="684673">
              <a:defRPr/>
            </a:pPr>
            <a:endParaRPr lang="en-US" sz="1700" kern="0" dirty="0">
              <a:solidFill>
                <a:srgbClr val="5E5E5E"/>
              </a:solidFill>
              <a:latin typeface="Segoe UI Light"/>
              <a:ea typeface="ＭＳ Ｐゴシック" pitchFamily="-65" charset="-128"/>
            </a:endParaRPr>
          </a:p>
        </p:txBody>
      </p:sp>
      <p:sp>
        <p:nvSpPr>
          <p:cNvPr id="17" name="TextBox 16"/>
          <p:cNvSpPr txBox="1"/>
          <p:nvPr/>
        </p:nvSpPr>
        <p:spPr>
          <a:xfrm>
            <a:off x="4750253" y="1944289"/>
            <a:ext cx="1952141" cy="330043"/>
          </a:xfrm>
          <a:prstGeom prst="rect">
            <a:avLst/>
          </a:prstGeom>
          <a:noFill/>
        </p:spPr>
        <p:txBody>
          <a:bodyPr wrap="square" lIns="0" tIns="0" rIns="0" bIns="0" rtlCol="0">
            <a:spAutoFit/>
          </a:bodyPr>
          <a:lstStyle/>
          <a:p>
            <a:pPr algn="ctr" defTabSz="569417">
              <a:lnSpc>
                <a:spcPct val="70000"/>
              </a:lnSpc>
            </a:pPr>
            <a:r>
              <a:rPr lang="en-US" sz="3000" dirty="0">
                <a:solidFill>
                  <a:prstClr val="white"/>
                </a:solidFill>
                <a:latin typeface="Segoe UI Light" pitchFamily="34" charset="0"/>
                <a:ea typeface="ＭＳ Ｐゴシック" pitchFamily="-65" charset="-128"/>
                <a:sym typeface="Wingdings"/>
              </a:rPr>
              <a:t></a:t>
            </a:r>
            <a:endParaRPr lang="en-US" sz="3000" dirty="0">
              <a:solidFill>
                <a:prstClr val="white"/>
              </a:solidFill>
              <a:latin typeface="Segoe UI Light" pitchFamily="34" charset="0"/>
              <a:ea typeface="ＭＳ Ｐゴシック" pitchFamily="-65" charset="-128"/>
            </a:endParaRPr>
          </a:p>
        </p:txBody>
      </p:sp>
      <p:sp>
        <p:nvSpPr>
          <p:cNvPr id="32" name="TextBox 31"/>
          <p:cNvSpPr txBox="1"/>
          <p:nvPr/>
        </p:nvSpPr>
        <p:spPr>
          <a:xfrm>
            <a:off x="6942349" y="1894239"/>
            <a:ext cx="2201511" cy="387799"/>
          </a:xfrm>
          <a:prstGeom prst="rect">
            <a:avLst/>
          </a:prstGeom>
          <a:noFill/>
        </p:spPr>
        <p:txBody>
          <a:bodyPr wrap="square" lIns="0" tIns="0" rIns="0" bIns="0" rtlCol="0">
            <a:spAutoFit/>
          </a:bodyPr>
          <a:lstStyle/>
          <a:p>
            <a:pPr algn="ctr" defTabSz="569417">
              <a:lnSpc>
                <a:spcPct val="70000"/>
              </a:lnSpc>
            </a:pPr>
            <a:r>
              <a:rPr lang="en-US" sz="1800" dirty="0">
                <a:solidFill>
                  <a:prstClr val="white"/>
                </a:solidFill>
                <a:latin typeface="Segoe UI Light" pitchFamily="34" charset="0"/>
                <a:ea typeface="ＭＳ Ｐゴシック" pitchFamily="-65" charset="-128"/>
                <a:sym typeface="Wingdings"/>
              </a:rPr>
              <a:t></a:t>
            </a:r>
            <a:endParaRPr lang="en-US" sz="1800" dirty="0">
              <a:solidFill>
                <a:prstClr val="white"/>
              </a:solidFill>
              <a:latin typeface="Segoe UI Light" pitchFamily="34" charset="0"/>
              <a:ea typeface="ＭＳ Ｐゴシック" pitchFamily="-65" charset="-128"/>
            </a:endParaRPr>
          </a:p>
          <a:p>
            <a:pPr algn="ctr" defTabSz="569417">
              <a:lnSpc>
                <a:spcPct val="70000"/>
              </a:lnSpc>
            </a:pPr>
            <a:r>
              <a:rPr lang="en-US" sz="1800" dirty="0">
                <a:solidFill>
                  <a:prstClr val="white"/>
                </a:solidFill>
                <a:latin typeface="Segoe UI Light" pitchFamily="34" charset="0"/>
                <a:ea typeface="ＭＳ Ｐゴシック" pitchFamily="-65" charset="-128"/>
                <a:sym typeface="Wingdings"/>
              </a:rPr>
              <a:t></a:t>
            </a:r>
            <a:endParaRPr lang="en-US" sz="1800" dirty="0">
              <a:solidFill>
                <a:prstClr val="white"/>
              </a:solidFill>
              <a:latin typeface="Segoe UI Light" pitchFamily="34" charset="0"/>
              <a:ea typeface="ＭＳ Ｐゴシック" pitchFamily="-65" charset="-128"/>
            </a:endParaRPr>
          </a:p>
        </p:txBody>
      </p:sp>
      <p:sp>
        <p:nvSpPr>
          <p:cNvPr id="3" name="Rectangle 2"/>
          <p:cNvSpPr/>
          <p:nvPr/>
        </p:nvSpPr>
        <p:spPr>
          <a:xfrm>
            <a:off x="0" y="2841939"/>
            <a:ext cx="2201511" cy="463972"/>
          </a:xfrm>
          <a:prstGeom prst="rect">
            <a:avLst/>
          </a:prstGeom>
        </p:spPr>
        <p:txBody>
          <a:bodyPr wrap="square" lIns="68586" tIns="34294" rIns="68586" bIns="34294">
            <a:spAutoFit/>
          </a:bodyPr>
          <a:lstStyle/>
          <a:p>
            <a:pPr>
              <a:lnSpc>
                <a:spcPct val="90000"/>
              </a:lnSpc>
              <a:spcBef>
                <a:spcPts val="1800"/>
              </a:spcBef>
              <a:spcAft>
                <a:spcPct val="35000"/>
              </a:spcAft>
            </a:pPr>
            <a:r>
              <a:rPr lang="en-US" dirty="0">
                <a:solidFill>
                  <a:srgbClr val="FFFFFF"/>
                </a:solidFill>
                <a:ea typeface="ＭＳ Ｐゴシック" pitchFamily="-65" charset="-128"/>
                <a:cs typeface="ＭＳ Ｐゴシック" pitchFamily="-65" charset="-128"/>
              </a:rPr>
              <a:t>Find </a:t>
            </a:r>
            <a:r>
              <a:rPr lang="en-US" dirty="0">
                <a:solidFill>
                  <a:srgbClr val="FFFFFF"/>
                </a:solidFill>
              </a:rPr>
              <a:t>all documents and applications</a:t>
            </a:r>
          </a:p>
        </p:txBody>
      </p:sp>
      <p:sp>
        <p:nvSpPr>
          <p:cNvPr id="4" name="Rectangle 3"/>
          <p:cNvSpPr/>
          <p:nvPr/>
        </p:nvSpPr>
        <p:spPr>
          <a:xfrm>
            <a:off x="2286595" y="2841938"/>
            <a:ext cx="2231686" cy="661334"/>
          </a:xfrm>
          <a:prstGeom prst="rect">
            <a:avLst/>
          </a:prstGeom>
        </p:spPr>
        <p:txBody>
          <a:bodyPr wrap="square" lIns="68586" tIns="34294" rIns="68586" bIns="34294">
            <a:spAutoFit/>
          </a:bodyPr>
          <a:lstStyle/>
          <a:p>
            <a:pPr>
              <a:lnSpc>
                <a:spcPct val="90000"/>
              </a:lnSpc>
              <a:spcBef>
                <a:spcPts val="1800"/>
              </a:spcBef>
              <a:spcAft>
                <a:spcPct val="35000"/>
              </a:spcAft>
            </a:pPr>
            <a:r>
              <a:rPr lang="en-US" dirty="0">
                <a:solidFill>
                  <a:srgbClr val="FFFFFF"/>
                </a:solidFill>
                <a:ea typeface="ＭＳ Ｐゴシック" pitchFamily="-65" charset="-128"/>
                <a:cs typeface="ＭＳ Ｐゴシック" pitchFamily="-65" charset="-128"/>
              </a:rPr>
              <a:t>Review </a:t>
            </a:r>
            <a:r>
              <a:rPr lang="en-US" dirty="0">
                <a:solidFill>
                  <a:srgbClr val="FFFFFF"/>
                </a:solidFill>
              </a:rPr>
              <a:t>all documents and applications for issues and criticality</a:t>
            </a:r>
          </a:p>
        </p:txBody>
      </p:sp>
      <p:sp>
        <p:nvSpPr>
          <p:cNvPr id="5" name="Rectangle 4"/>
          <p:cNvSpPr/>
          <p:nvPr/>
        </p:nvSpPr>
        <p:spPr>
          <a:xfrm>
            <a:off x="4625567" y="2844010"/>
            <a:ext cx="2201511" cy="727121"/>
          </a:xfrm>
          <a:prstGeom prst="rect">
            <a:avLst/>
          </a:prstGeom>
        </p:spPr>
        <p:txBody>
          <a:bodyPr wrap="square" lIns="68586" tIns="34294" rIns="68586" bIns="34294">
            <a:spAutoFit/>
          </a:bodyPr>
          <a:lstStyle/>
          <a:p>
            <a:r>
              <a:rPr lang="en-US" dirty="0" smtClean="0">
                <a:solidFill>
                  <a:srgbClr val="FFFFFF"/>
                </a:solidFill>
              </a:rPr>
              <a:t>Test all </a:t>
            </a:r>
            <a:r>
              <a:rPr lang="en-US" dirty="0">
                <a:solidFill>
                  <a:srgbClr val="FFFFFF"/>
                </a:solidFill>
              </a:rPr>
              <a:t>documents and applications that meet the importance bar</a:t>
            </a:r>
          </a:p>
        </p:txBody>
      </p:sp>
      <p:sp>
        <p:nvSpPr>
          <p:cNvPr id="6" name="Rectangle 5"/>
          <p:cNvSpPr/>
          <p:nvPr/>
        </p:nvSpPr>
        <p:spPr>
          <a:xfrm>
            <a:off x="6942349" y="2841938"/>
            <a:ext cx="2201511" cy="507830"/>
          </a:xfrm>
          <a:prstGeom prst="rect">
            <a:avLst/>
          </a:prstGeom>
        </p:spPr>
        <p:txBody>
          <a:bodyPr wrap="square" lIns="68586" tIns="34294" rIns="68586" bIns="34294">
            <a:spAutoFit/>
          </a:bodyPr>
          <a:lstStyle/>
          <a:p>
            <a:pPr>
              <a:spcBef>
                <a:spcPts val="1800"/>
              </a:spcBef>
            </a:pPr>
            <a:r>
              <a:rPr lang="en-US" dirty="0">
                <a:solidFill>
                  <a:srgbClr val="FFFFFF"/>
                </a:solidFill>
                <a:ea typeface="ＭＳ Ｐゴシック" pitchFamily="-65" charset="-128"/>
                <a:cs typeface="ＭＳ Ｐゴシック" pitchFamily="-65" charset="-128"/>
              </a:rPr>
              <a:t>Keep testing </a:t>
            </a:r>
            <a:r>
              <a:rPr lang="en-US" dirty="0">
                <a:solidFill>
                  <a:srgbClr val="FFFFFF"/>
                </a:solidFill>
              </a:rPr>
              <a:t>– when finished, deploy</a:t>
            </a:r>
          </a:p>
        </p:txBody>
      </p:sp>
      <p:sp>
        <p:nvSpPr>
          <p:cNvPr id="33" name="TextBox 32"/>
          <p:cNvSpPr txBox="1"/>
          <p:nvPr/>
        </p:nvSpPr>
        <p:spPr>
          <a:xfrm>
            <a:off x="1" y="3981353"/>
            <a:ext cx="9143859" cy="323165"/>
          </a:xfrm>
          <a:prstGeom prst="rect">
            <a:avLst/>
          </a:prstGeom>
          <a:noFill/>
        </p:spPr>
        <p:txBody>
          <a:bodyPr wrap="square" lIns="0" tIns="0" rIns="0" bIns="0" rtlCol="0">
            <a:spAutoFit/>
          </a:bodyPr>
          <a:lstStyle/>
          <a:p>
            <a:pPr algn="ctr"/>
            <a:r>
              <a:rPr lang="en-US" sz="2100" dirty="0">
                <a:solidFill>
                  <a:srgbClr val="FFFFFF"/>
                </a:solidFill>
              </a:rPr>
              <a:t>Is this </a:t>
            </a:r>
            <a:r>
              <a:rPr lang="en-US" sz="2100" spc="-75" dirty="0">
                <a:ln w="3175">
                  <a:noFill/>
                </a:ln>
                <a:solidFill>
                  <a:srgbClr val="ED5326"/>
                </a:solidFill>
                <a:cs typeface="Arial" charset="0"/>
              </a:rPr>
              <a:t>cost effective?</a:t>
            </a:r>
            <a:r>
              <a:rPr lang="en-US" sz="2100" dirty="0">
                <a:solidFill>
                  <a:srgbClr val="3397D3"/>
                </a:solidFill>
              </a:rPr>
              <a:t>     			</a:t>
            </a:r>
            <a:r>
              <a:rPr lang="en-US" sz="2100" dirty="0">
                <a:solidFill>
                  <a:srgbClr val="FFFFFF"/>
                </a:solidFill>
              </a:rPr>
              <a:t>Are you </a:t>
            </a:r>
            <a:r>
              <a:rPr lang="en-US" sz="2100" spc="-75" dirty="0">
                <a:ln w="3175">
                  <a:noFill/>
                </a:ln>
                <a:solidFill>
                  <a:srgbClr val="ED5326"/>
                </a:solidFill>
                <a:cs typeface="Arial" charset="0"/>
              </a:rPr>
              <a:t>reducing risk?     </a:t>
            </a:r>
          </a:p>
        </p:txBody>
      </p:sp>
      <p:pic>
        <p:nvPicPr>
          <p:cNvPr id="34" name="Picture 2" descr="http://upload.wikimedia.org/wikipedia/commons/thumb/5/55/Magnifying_glass_icon.svg/489px-Magnifying_glass_icon.svg.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788235" y="1752653"/>
            <a:ext cx="518834" cy="524140"/>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descr="C:\Users\Jordan\Desktop\TechEd_2012\TechEd-logo.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black">
          <a:xfrm>
            <a:off x="386962" y="4619593"/>
            <a:ext cx="698151" cy="322326"/>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6"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6"/>
              </a:rPr>
              <a:t>www.rapidbbs.cn</a:t>
            </a:r>
            <a:endParaRPr lang="zh-CN" altLang="en-US" sz="1200" b="0">
              <a:latin typeface="Arial" charset="0"/>
              <a:ea typeface="ＭＳ Ｐゴシック" pitchFamily="34" charset="-128"/>
            </a:endParaRPr>
          </a:p>
        </p:txBody>
      </p:sp>
      <p:pic>
        <p:nvPicPr>
          <p:cNvPr id="28" name="Picture 2">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502456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Lst>
  </p:timing>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830997"/>
          </a:xfrm>
        </p:spPr>
        <p:txBody>
          <a:bodyPr/>
          <a:lstStyle/>
          <a:p>
            <a:r>
              <a:rPr lang="en-US" dirty="0" smtClean="0"/>
              <a:t>Traditional Compatibility Approach</a:t>
            </a:r>
            <a:br>
              <a:rPr lang="en-US" dirty="0" smtClean="0"/>
            </a:br>
            <a:r>
              <a:rPr lang="en-US" sz="2700" dirty="0">
                <a:solidFill>
                  <a:schemeClr val="accent3"/>
                </a:solidFill>
              </a:rPr>
              <a:t>Benefits</a:t>
            </a:r>
          </a:p>
        </p:txBody>
      </p:sp>
      <p:sp>
        <p:nvSpPr>
          <p:cNvPr id="18" name="Rectangle 17" hidden="1"/>
          <p:cNvSpPr/>
          <p:nvPr/>
        </p:nvSpPr>
        <p:spPr bwMode="auto">
          <a:xfrm>
            <a:off x="0" y="1585743"/>
            <a:ext cx="9143860" cy="57150"/>
          </a:xfrm>
          <a:prstGeom prst="rect">
            <a:avLst/>
          </a:prstGeom>
          <a:solidFill>
            <a:schemeClr val="accent5"/>
          </a:solidFill>
          <a:ln w="9525" cap="flat" cmpd="sng" algn="ctr">
            <a:noFill/>
            <a:prstDash val="solid"/>
            <a:headEnd type="none" w="med" len="med"/>
            <a:tailEnd type="none" w="med" len="med"/>
          </a:ln>
          <a:effectLst/>
        </p:spPr>
        <p:txBody>
          <a:bodyPr lIns="68583" tIns="34292" rIns="68583" bIns="34292" anchor="ctr"/>
          <a:lstStyle/>
          <a:p>
            <a:pPr algn="ctr" defTabSz="684673">
              <a:defRPr/>
            </a:pPr>
            <a:endParaRPr lang="en-US" sz="1700" kern="0" dirty="0">
              <a:solidFill>
                <a:srgbClr val="5E5E5E"/>
              </a:solidFill>
              <a:latin typeface="Segoe UI Light"/>
              <a:ea typeface="ＭＳ Ｐゴシック" pitchFamily="-65" charset="-128"/>
            </a:endParaRPr>
          </a:p>
        </p:txBody>
      </p:sp>
      <p:sp>
        <p:nvSpPr>
          <p:cNvPr id="19" name="Freeform 6"/>
          <p:cNvSpPr>
            <a:spLocks/>
          </p:cNvSpPr>
          <p:nvPr/>
        </p:nvSpPr>
        <p:spPr bwMode="auto">
          <a:xfrm>
            <a:off x="0" y="1539737"/>
            <a:ext cx="2201511" cy="1228061"/>
          </a:xfrm>
          <a:prstGeom prst="rect">
            <a:avLst/>
          </a:prstGeom>
          <a:solidFill>
            <a:srgbClr val="92D050"/>
          </a:solidFill>
          <a:ln w="12700" cap="rnd" cmpd="sng" algn="ctr">
            <a:noFill/>
            <a:prstDash val="solid"/>
            <a:headEnd type="oval"/>
          </a:ln>
          <a:effectLst/>
        </p:spPr>
        <p:txBody>
          <a:bodyPr lIns="0" tIns="34294" rIns="0" bIns="68586" anchor="b"/>
          <a:lstStyle/>
          <a:p>
            <a:pPr algn="ctr" defTabSz="685862"/>
            <a:endParaRPr lang="en-US" sz="2100" kern="0" spc="-75" dirty="0">
              <a:solidFill>
                <a:srgbClr val="FFFFFF"/>
              </a:solidFill>
              <a:latin typeface="Segoe UI Light"/>
              <a:ea typeface="ＭＳ Ｐゴシック" pitchFamily="-65" charset="-128"/>
            </a:endParaRPr>
          </a:p>
          <a:p>
            <a:pPr algn="ctr" defTabSz="685862"/>
            <a:r>
              <a:rPr lang="en-US" sz="2100" kern="0" spc="-75" dirty="0">
                <a:solidFill>
                  <a:srgbClr val="FFFFFF"/>
                </a:solidFill>
                <a:latin typeface="Segoe UI Light"/>
                <a:ea typeface="ＭＳ Ｐゴシック" pitchFamily="-65" charset="-128"/>
              </a:rPr>
              <a:t>Manage Risks</a:t>
            </a:r>
          </a:p>
        </p:txBody>
      </p:sp>
      <p:sp>
        <p:nvSpPr>
          <p:cNvPr id="20" name="Freeform 6"/>
          <p:cNvSpPr>
            <a:spLocks/>
          </p:cNvSpPr>
          <p:nvPr/>
        </p:nvSpPr>
        <p:spPr bwMode="auto">
          <a:xfrm>
            <a:off x="2316771" y="1541808"/>
            <a:ext cx="2201511" cy="1228061"/>
          </a:xfrm>
          <a:prstGeom prst="rect">
            <a:avLst/>
          </a:prstGeom>
          <a:solidFill>
            <a:srgbClr val="92D050"/>
          </a:solidFill>
          <a:ln w="12700" cap="rnd" cmpd="sng" algn="ctr">
            <a:noFill/>
            <a:prstDash val="solid"/>
            <a:headEnd type="oval"/>
          </a:ln>
          <a:effectLst/>
        </p:spPr>
        <p:txBody>
          <a:bodyPr lIns="0" tIns="34294" rIns="0" bIns="68586" anchor="b"/>
          <a:lstStyle/>
          <a:p>
            <a:pPr algn="ctr" defTabSz="685862"/>
            <a:r>
              <a:rPr lang="en-US" sz="2100" kern="0" spc="-75" dirty="0">
                <a:solidFill>
                  <a:srgbClr val="FFFFFF"/>
                </a:solidFill>
                <a:latin typeface="Segoe UI Light"/>
                <a:ea typeface="ＭＳ Ｐゴシック" pitchFamily="-65" charset="-128"/>
              </a:rPr>
              <a:t/>
            </a:r>
            <a:br>
              <a:rPr lang="en-US" sz="2100" kern="0" spc="-75" dirty="0">
                <a:solidFill>
                  <a:srgbClr val="FFFFFF"/>
                </a:solidFill>
                <a:latin typeface="Segoe UI Light"/>
                <a:ea typeface="ＭＳ Ｐゴシック" pitchFamily="-65" charset="-128"/>
              </a:rPr>
            </a:br>
            <a:r>
              <a:rPr lang="en-US" sz="2100" kern="0" spc="-75" dirty="0">
                <a:solidFill>
                  <a:srgbClr val="FFFFFF"/>
                </a:solidFill>
                <a:latin typeface="Segoe UI Light"/>
                <a:ea typeface="ＭＳ Ｐゴシック" pitchFamily="-65" charset="-128"/>
              </a:rPr>
              <a:t>Things Keep Working</a:t>
            </a:r>
          </a:p>
        </p:txBody>
      </p:sp>
      <p:sp>
        <p:nvSpPr>
          <p:cNvPr id="21" name="Freeform 6"/>
          <p:cNvSpPr>
            <a:spLocks/>
          </p:cNvSpPr>
          <p:nvPr/>
        </p:nvSpPr>
        <p:spPr bwMode="auto">
          <a:xfrm>
            <a:off x="6942349" y="1540779"/>
            <a:ext cx="2201511" cy="1228061"/>
          </a:xfrm>
          <a:prstGeom prst="rect">
            <a:avLst/>
          </a:prstGeom>
          <a:solidFill>
            <a:srgbClr val="92D050"/>
          </a:solidFill>
          <a:ln w="12700" cap="rnd" cmpd="sng" algn="ctr">
            <a:noFill/>
            <a:prstDash val="solid"/>
            <a:headEnd type="oval"/>
          </a:ln>
          <a:effectLst/>
        </p:spPr>
        <p:txBody>
          <a:bodyPr lIns="0" tIns="34294" rIns="0" bIns="68586" anchor="b"/>
          <a:lstStyle/>
          <a:p>
            <a:pPr algn="ctr" defTabSz="685862"/>
            <a:endParaRPr lang="en-US" sz="2100" kern="0" spc="-75" dirty="0">
              <a:solidFill>
                <a:srgbClr val="FFFFFF"/>
              </a:solidFill>
              <a:latin typeface="Segoe UI Light"/>
              <a:ea typeface="ＭＳ Ｐゴシック" pitchFamily="-65" charset="-128"/>
            </a:endParaRPr>
          </a:p>
          <a:p>
            <a:pPr algn="ctr" defTabSz="685862"/>
            <a:r>
              <a:rPr lang="en-US" sz="2100" kern="0" spc="-75" dirty="0">
                <a:solidFill>
                  <a:srgbClr val="FFFFFF"/>
                </a:solidFill>
                <a:latin typeface="Segoe UI Light"/>
                <a:ea typeface="ＭＳ Ｐゴシック" pitchFamily="-65" charset="-128"/>
              </a:rPr>
              <a:t>Tools</a:t>
            </a:r>
          </a:p>
        </p:txBody>
      </p:sp>
      <p:sp>
        <p:nvSpPr>
          <p:cNvPr id="22" name="Freeform 6"/>
          <p:cNvSpPr>
            <a:spLocks/>
          </p:cNvSpPr>
          <p:nvPr/>
        </p:nvSpPr>
        <p:spPr bwMode="auto">
          <a:xfrm>
            <a:off x="4625567" y="1541808"/>
            <a:ext cx="2201511" cy="1228061"/>
          </a:xfrm>
          <a:prstGeom prst="rect">
            <a:avLst/>
          </a:prstGeom>
          <a:solidFill>
            <a:srgbClr val="92D050"/>
          </a:solidFill>
          <a:ln w="12700" cap="rnd" cmpd="sng" algn="ctr">
            <a:noFill/>
            <a:prstDash val="solid"/>
            <a:headEnd type="oval"/>
          </a:ln>
          <a:effectLst/>
        </p:spPr>
        <p:txBody>
          <a:bodyPr lIns="0" tIns="34294" rIns="0" bIns="68586" anchor="b"/>
          <a:lstStyle/>
          <a:p>
            <a:pPr algn="ctr" defTabSz="685862"/>
            <a:endParaRPr lang="en-US" sz="2100" kern="0" spc="-75" dirty="0">
              <a:solidFill>
                <a:srgbClr val="FFFFFF"/>
              </a:solidFill>
              <a:latin typeface="Segoe UI Light"/>
              <a:ea typeface="ＭＳ Ｐゴシック" pitchFamily="-65" charset="-128"/>
            </a:endParaRPr>
          </a:p>
          <a:p>
            <a:pPr algn="ctr" defTabSz="685862"/>
            <a:r>
              <a:rPr lang="en-US" sz="2100" kern="0" spc="-75" dirty="0">
                <a:solidFill>
                  <a:srgbClr val="FFFFFF"/>
                </a:solidFill>
                <a:latin typeface="Segoe UI Light"/>
                <a:ea typeface="ＭＳ Ｐゴシック" pitchFamily="-65" charset="-128"/>
              </a:rPr>
              <a:t>Predictable</a:t>
            </a:r>
          </a:p>
        </p:txBody>
      </p:sp>
      <p:sp>
        <p:nvSpPr>
          <p:cNvPr id="23" name="TextBox 22"/>
          <p:cNvSpPr txBox="1"/>
          <p:nvPr/>
        </p:nvSpPr>
        <p:spPr>
          <a:xfrm>
            <a:off x="818021" y="1661152"/>
            <a:ext cx="565469" cy="769441"/>
          </a:xfrm>
          <a:prstGeom prst="rect">
            <a:avLst/>
          </a:prstGeom>
          <a:noFill/>
        </p:spPr>
        <p:txBody>
          <a:bodyPr wrap="square" lIns="0" tIns="0" rIns="0" bIns="0" rtlCol="0">
            <a:spAutoFit/>
          </a:bodyPr>
          <a:lstStyle/>
          <a:p>
            <a:pPr algn="ctr" defTabSz="569417"/>
            <a:r>
              <a:rPr lang="en-US" sz="5000" dirty="0">
                <a:solidFill>
                  <a:prstClr val="white"/>
                </a:solidFill>
                <a:ea typeface="ＭＳ Ｐゴシック" pitchFamily="-65" charset="-128"/>
              </a:rPr>
              <a:t>?</a:t>
            </a:r>
          </a:p>
        </p:txBody>
      </p:sp>
      <p:pic>
        <p:nvPicPr>
          <p:cNvPr id="2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51735" y="1818557"/>
            <a:ext cx="949176" cy="4506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 name="Picture 4"/>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bwMode="auto">
          <a:xfrm>
            <a:off x="7659136" y="1988245"/>
            <a:ext cx="767936" cy="219482"/>
          </a:xfrm>
          <a:prstGeom prst="rect">
            <a:avLst/>
          </a:prstGeom>
          <a:noFill/>
          <a:extLst>
            <a:ext uri="{909E8E84-426E-40DD-AFC4-6F175D3DCCD1}">
              <a14:hiddenFill xmlns:a14="http://schemas.microsoft.com/office/drawing/2010/main">
                <a:solidFill>
                  <a:srgbClr val="FFFFFF"/>
                </a:solidFill>
              </a14:hiddenFill>
            </a:ext>
          </a:extLst>
        </p:spPr>
      </p:pic>
      <p:sp>
        <p:nvSpPr>
          <p:cNvPr id="27" name="Rectangle 26" hidden="1"/>
          <p:cNvSpPr/>
          <p:nvPr/>
        </p:nvSpPr>
        <p:spPr bwMode="auto">
          <a:xfrm>
            <a:off x="140" y="3031961"/>
            <a:ext cx="9143860" cy="57150"/>
          </a:xfrm>
          <a:prstGeom prst="rect">
            <a:avLst/>
          </a:prstGeom>
          <a:solidFill>
            <a:schemeClr val="accent5"/>
          </a:solidFill>
          <a:ln w="9525" cap="flat" cmpd="sng" algn="ctr">
            <a:noFill/>
            <a:prstDash val="solid"/>
            <a:headEnd type="none" w="med" len="med"/>
            <a:tailEnd type="none" w="med" len="med"/>
          </a:ln>
          <a:effectLst/>
        </p:spPr>
        <p:txBody>
          <a:bodyPr lIns="68583" tIns="34292" rIns="68583" bIns="34292" anchor="ctr"/>
          <a:lstStyle/>
          <a:p>
            <a:pPr algn="ctr" defTabSz="684673">
              <a:defRPr/>
            </a:pPr>
            <a:endParaRPr lang="en-US" sz="1700" kern="0" dirty="0">
              <a:solidFill>
                <a:srgbClr val="5E5E5E"/>
              </a:solidFill>
              <a:latin typeface="Segoe UI Light"/>
              <a:ea typeface="ＭＳ Ｐゴシック" pitchFamily="-65" charset="-128"/>
            </a:endParaRPr>
          </a:p>
        </p:txBody>
      </p:sp>
      <p:sp>
        <p:nvSpPr>
          <p:cNvPr id="28" name="Rectangle 29"/>
          <p:cNvSpPr>
            <a:spLocks noChangeArrowheads="1"/>
          </p:cNvSpPr>
          <p:nvPr/>
        </p:nvSpPr>
        <p:spPr bwMode="auto">
          <a:xfrm>
            <a:off x="0" y="2844011"/>
            <a:ext cx="2201511" cy="675194"/>
          </a:xfrm>
          <a:prstGeom prst="rect">
            <a:avLst/>
          </a:prstGeom>
          <a:noFill/>
          <a:ln w="9525">
            <a:noFill/>
            <a:miter lim="800000"/>
            <a:headEnd/>
            <a:tailEnd/>
          </a:ln>
        </p:spPr>
        <p:txBody>
          <a:bodyPr wrap="square" lIns="82317" tIns="41158" rIns="82317" bIns="41158">
            <a:spAutoFit/>
          </a:bodyPr>
          <a:lstStyle/>
          <a:p>
            <a:pPr marL="3573" indent="-3573" defTabSz="685862" fontAlgn="base">
              <a:lnSpc>
                <a:spcPct val="90000"/>
              </a:lnSpc>
              <a:spcAft>
                <a:spcPts val="450"/>
              </a:spcAft>
              <a:buClr>
                <a:srgbClr val="F69F1E"/>
              </a:buClr>
              <a:buSzPct val="90000"/>
              <a:defRPr/>
            </a:pPr>
            <a:r>
              <a:rPr lang="en-US" kern="0" dirty="0" smtClean="0">
                <a:solidFill>
                  <a:srgbClr val="FFFFFF"/>
                </a:solidFill>
              </a:rPr>
              <a:t>Obtain as much data as possible to assess environment</a:t>
            </a:r>
            <a:endParaRPr lang="en-US" sz="2100" kern="0" dirty="0">
              <a:solidFill>
                <a:srgbClr val="FFFFFF"/>
              </a:solidFill>
              <a:latin typeface="Segoe UI Light" pitchFamily="34" charset="0"/>
            </a:endParaRPr>
          </a:p>
        </p:txBody>
      </p:sp>
      <p:sp>
        <p:nvSpPr>
          <p:cNvPr id="29" name="Rectangle 29"/>
          <p:cNvSpPr>
            <a:spLocks noChangeArrowheads="1"/>
          </p:cNvSpPr>
          <p:nvPr/>
        </p:nvSpPr>
        <p:spPr bwMode="auto">
          <a:xfrm>
            <a:off x="2316771" y="2844011"/>
            <a:ext cx="2201511" cy="872556"/>
          </a:xfrm>
          <a:prstGeom prst="rect">
            <a:avLst/>
          </a:prstGeom>
          <a:noFill/>
          <a:ln w="9525">
            <a:noFill/>
            <a:miter lim="800000"/>
            <a:headEnd/>
            <a:tailEnd/>
          </a:ln>
        </p:spPr>
        <p:txBody>
          <a:bodyPr wrap="square" lIns="82317" tIns="41158" rIns="82317" bIns="41158">
            <a:spAutoFit/>
          </a:bodyPr>
          <a:lstStyle/>
          <a:p>
            <a:pPr marL="3573" indent="-3573" defTabSz="685862" fontAlgn="base">
              <a:lnSpc>
                <a:spcPct val="90000"/>
              </a:lnSpc>
              <a:spcAft>
                <a:spcPts val="450"/>
              </a:spcAft>
              <a:buClr>
                <a:srgbClr val="F69F1E"/>
              </a:buClr>
              <a:buSzPct val="90000"/>
              <a:defRPr/>
            </a:pPr>
            <a:r>
              <a:rPr lang="en-US" kern="0" dirty="0" smtClean="0">
                <a:solidFill>
                  <a:srgbClr val="FFFFFF"/>
                </a:solidFill>
              </a:rPr>
              <a:t>IT is tasked with managing the environment, and must deliver</a:t>
            </a:r>
            <a:endParaRPr lang="en-US" sz="2100" kern="0" dirty="0">
              <a:solidFill>
                <a:srgbClr val="FFFFFF"/>
              </a:solidFill>
              <a:latin typeface="Segoe UI Light" pitchFamily="34" charset="0"/>
            </a:endParaRPr>
          </a:p>
        </p:txBody>
      </p:sp>
      <p:sp>
        <p:nvSpPr>
          <p:cNvPr id="30" name="Rectangle 29"/>
          <p:cNvSpPr>
            <a:spLocks noChangeArrowheads="1"/>
          </p:cNvSpPr>
          <p:nvPr/>
        </p:nvSpPr>
        <p:spPr bwMode="auto">
          <a:xfrm>
            <a:off x="4625567" y="2844010"/>
            <a:ext cx="2201511" cy="477833"/>
          </a:xfrm>
          <a:prstGeom prst="rect">
            <a:avLst/>
          </a:prstGeom>
          <a:noFill/>
          <a:ln w="9525">
            <a:noFill/>
            <a:miter lim="800000"/>
            <a:headEnd/>
            <a:tailEnd/>
          </a:ln>
        </p:spPr>
        <p:txBody>
          <a:bodyPr wrap="square" lIns="82317" tIns="41158" rIns="82317" bIns="41158">
            <a:spAutoFit/>
          </a:bodyPr>
          <a:lstStyle/>
          <a:p>
            <a:pPr marL="3573" indent="-3573" defTabSz="685862" fontAlgn="base">
              <a:lnSpc>
                <a:spcPct val="90000"/>
              </a:lnSpc>
              <a:spcAft>
                <a:spcPts val="450"/>
              </a:spcAft>
              <a:buClr>
                <a:srgbClr val="F69F1E"/>
              </a:buClr>
              <a:buSzPct val="90000"/>
              <a:defRPr/>
            </a:pPr>
            <a:r>
              <a:rPr lang="en-US" kern="0" dirty="0" smtClean="0">
                <a:solidFill>
                  <a:srgbClr val="FFFFFF"/>
                </a:solidFill>
              </a:rPr>
              <a:t>Goal is “no surprises” during deployments</a:t>
            </a:r>
            <a:endParaRPr lang="en-US" sz="2100" kern="0" dirty="0">
              <a:solidFill>
                <a:srgbClr val="FFFFFF"/>
              </a:solidFill>
              <a:latin typeface="Segoe UI Light" pitchFamily="34" charset="0"/>
            </a:endParaRPr>
          </a:p>
        </p:txBody>
      </p:sp>
      <p:sp>
        <p:nvSpPr>
          <p:cNvPr id="31" name="Rectangle 29"/>
          <p:cNvSpPr>
            <a:spLocks noChangeArrowheads="1"/>
          </p:cNvSpPr>
          <p:nvPr/>
        </p:nvSpPr>
        <p:spPr bwMode="auto">
          <a:xfrm>
            <a:off x="6942349" y="2844011"/>
            <a:ext cx="2201511" cy="675194"/>
          </a:xfrm>
          <a:prstGeom prst="rect">
            <a:avLst/>
          </a:prstGeom>
          <a:noFill/>
          <a:ln w="9525">
            <a:noFill/>
            <a:miter lim="800000"/>
            <a:headEnd/>
            <a:tailEnd/>
          </a:ln>
        </p:spPr>
        <p:txBody>
          <a:bodyPr wrap="square" lIns="82317" tIns="41158" rIns="82317" bIns="41158">
            <a:spAutoFit/>
          </a:bodyPr>
          <a:lstStyle/>
          <a:p>
            <a:pPr marL="3573" indent="-3573" defTabSz="685862" fontAlgn="base">
              <a:lnSpc>
                <a:spcPct val="90000"/>
              </a:lnSpc>
              <a:spcAft>
                <a:spcPts val="450"/>
              </a:spcAft>
              <a:buClr>
                <a:srgbClr val="F69F1E"/>
              </a:buClr>
              <a:buSzPct val="90000"/>
              <a:defRPr/>
            </a:pPr>
            <a:r>
              <a:rPr lang="en-US" kern="0" dirty="0" smtClean="0">
                <a:solidFill>
                  <a:srgbClr val="FFFFFF"/>
                </a:solidFill>
              </a:rPr>
              <a:t>Heavy use of tools/ automation to provide data</a:t>
            </a:r>
            <a:endParaRPr lang="en-US" sz="2100" kern="0" dirty="0">
              <a:solidFill>
                <a:srgbClr val="FFFFFF"/>
              </a:solidFill>
              <a:latin typeface="Segoe UI Light" pitchFamily="34" charset="0"/>
            </a:endParaRPr>
          </a:p>
        </p:txBody>
      </p:sp>
      <p:sp>
        <p:nvSpPr>
          <p:cNvPr id="16" name="TextBox 15"/>
          <p:cNvSpPr txBox="1"/>
          <p:nvPr/>
        </p:nvSpPr>
        <p:spPr>
          <a:xfrm>
            <a:off x="3134792" y="1724547"/>
            <a:ext cx="565469" cy="692498"/>
          </a:xfrm>
          <a:prstGeom prst="rect">
            <a:avLst/>
          </a:prstGeom>
          <a:noFill/>
        </p:spPr>
        <p:txBody>
          <a:bodyPr wrap="square" lIns="0" tIns="0" rIns="0" bIns="0" rtlCol="0">
            <a:spAutoFit/>
          </a:bodyPr>
          <a:lstStyle/>
          <a:p>
            <a:pPr algn="ctr" defTabSz="569417"/>
            <a:r>
              <a:rPr lang="en-US" sz="4500" dirty="0">
                <a:solidFill>
                  <a:prstClr val="white"/>
                </a:solidFill>
                <a:ea typeface="ＭＳ Ｐゴシック" pitchFamily="-65" charset="-128"/>
                <a:sym typeface="Webdings"/>
              </a:rPr>
              <a:t></a:t>
            </a:r>
            <a:endParaRPr lang="en-US" sz="4500" dirty="0">
              <a:solidFill>
                <a:prstClr val="white"/>
              </a:solidFill>
              <a:ea typeface="ＭＳ Ｐゴシック" pitchFamily="-65" charset="-128"/>
            </a:endParaRPr>
          </a:p>
        </p:txBody>
      </p:sp>
      <p:pic>
        <p:nvPicPr>
          <p:cNvPr id="17" name="Picture 2" descr="C:\Users\Jordan\Desktop\TechEd_2012\TechEd-logo.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black">
          <a:xfrm>
            <a:off x="386962" y="4619593"/>
            <a:ext cx="698151" cy="322326"/>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2"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7"/>
              </a:rPr>
              <a:t>www.rapidbbs.cn</a:t>
            </a:r>
            <a:endParaRPr lang="zh-CN" altLang="en-US" sz="1200" b="0">
              <a:latin typeface="Arial" charset="0"/>
              <a:ea typeface="ＭＳ Ｐゴシック" pitchFamily="34" charset="-128"/>
            </a:endParaRPr>
          </a:p>
        </p:txBody>
      </p:sp>
      <p:pic>
        <p:nvPicPr>
          <p:cNvPr id="33" name="Picture 2">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95987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slow">
        <p:fade/>
      </p:transition>
    </mc:Fallback>
  </mc:AlternateContent>
  <p:timing>
    <p:tnLst>
      <p:par>
        <p:cTn id="1" dur="indefinite" restart="never" nodeType="tmRoot"/>
      </p:par>
    </p:tnLst>
  </p:timing>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830997"/>
          </a:xfrm>
        </p:spPr>
        <p:txBody>
          <a:bodyPr/>
          <a:lstStyle/>
          <a:p>
            <a:r>
              <a:rPr lang="en-US" dirty="0" smtClean="0"/>
              <a:t>Traditional Compatibility Approach</a:t>
            </a:r>
            <a:br>
              <a:rPr lang="en-US" dirty="0" smtClean="0"/>
            </a:br>
            <a:r>
              <a:rPr lang="en-US" sz="2700" dirty="0">
                <a:solidFill>
                  <a:schemeClr val="accent3"/>
                </a:solidFill>
              </a:rPr>
              <a:t>Pitfalls</a:t>
            </a:r>
          </a:p>
        </p:txBody>
      </p:sp>
      <p:sp>
        <p:nvSpPr>
          <p:cNvPr id="18" name="Rectangle 17" hidden="1"/>
          <p:cNvSpPr/>
          <p:nvPr/>
        </p:nvSpPr>
        <p:spPr bwMode="auto">
          <a:xfrm>
            <a:off x="0" y="1585743"/>
            <a:ext cx="9143860" cy="57150"/>
          </a:xfrm>
          <a:prstGeom prst="rect">
            <a:avLst/>
          </a:prstGeom>
          <a:solidFill>
            <a:schemeClr val="accent5"/>
          </a:solidFill>
          <a:ln w="9525" cap="flat" cmpd="sng" algn="ctr">
            <a:noFill/>
            <a:prstDash val="solid"/>
            <a:headEnd type="none" w="med" len="med"/>
            <a:tailEnd type="none" w="med" len="med"/>
          </a:ln>
          <a:effectLst/>
        </p:spPr>
        <p:txBody>
          <a:bodyPr lIns="68583" tIns="34292" rIns="68583" bIns="34292" anchor="ctr"/>
          <a:lstStyle/>
          <a:p>
            <a:pPr algn="ctr" defTabSz="684673">
              <a:defRPr/>
            </a:pPr>
            <a:endParaRPr lang="en-US" sz="1700" kern="0" dirty="0">
              <a:solidFill>
                <a:srgbClr val="5E5E5E"/>
              </a:solidFill>
              <a:latin typeface="Segoe UI Light"/>
              <a:ea typeface="ＭＳ Ｐゴシック" pitchFamily="-65" charset="-128"/>
            </a:endParaRPr>
          </a:p>
        </p:txBody>
      </p:sp>
      <p:sp>
        <p:nvSpPr>
          <p:cNvPr id="19" name="Freeform 6"/>
          <p:cNvSpPr>
            <a:spLocks/>
          </p:cNvSpPr>
          <p:nvPr/>
        </p:nvSpPr>
        <p:spPr bwMode="auto">
          <a:xfrm>
            <a:off x="0" y="1539737"/>
            <a:ext cx="2201511" cy="1228061"/>
          </a:xfrm>
          <a:prstGeom prst="rect">
            <a:avLst/>
          </a:prstGeom>
          <a:solidFill>
            <a:srgbClr val="92D050"/>
          </a:solidFill>
          <a:ln w="12700" cap="rnd" cmpd="sng" algn="ctr">
            <a:noFill/>
            <a:prstDash val="solid"/>
            <a:headEnd type="oval"/>
          </a:ln>
          <a:effectLst/>
        </p:spPr>
        <p:txBody>
          <a:bodyPr lIns="0" tIns="34294" rIns="0" bIns="68586" anchor="b"/>
          <a:lstStyle/>
          <a:p>
            <a:pPr algn="ctr" defTabSz="685862"/>
            <a:endParaRPr lang="en-US" sz="2100" kern="0" spc="-75" dirty="0">
              <a:solidFill>
                <a:srgbClr val="FFFFFF"/>
              </a:solidFill>
              <a:latin typeface="Segoe UI Light"/>
              <a:ea typeface="ＭＳ Ｐゴシック" pitchFamily="-65" charset="-128"/>
            </a:endParaRPr>
          </a:p>
          <a:p>
            <a:pPr algn="ctr" defTabSz="685862"/>
            <a:r>
              <a:rPr lang="en-US" sz="2100" kern="0" spc="-75" dirty="0">
                <a:solidFill>
                  <a:srgbClr val="FFFFFF"/>
                </a:solidFill>
                <a:latin typeface="Segoe UI Light"/>
                <a:ea typeface="ＭＳ Ｐゴシック" pitchFamily="-65" charset="-128"/>
              </a:rPr>
              <a:t>Lengthy evaluations</a:t>
            </a:r>
          </a:p>
        </p:txBody>
      </p:sp>
      <p:sp>
        <p:nvSpPr>
          <p:cNvPr id="20" name="Freeform 6"/>
          <p:cNvSpPr>
            <a:spLocks/>
          </p:cNvSpPr>
          <p:nvPr/>
        </p:nvSpPr>
        <p:spPr bwMode="auto">
          <a:xfrm>
            <a:off x="2316771" y="1541808"/>
            <a:ext cx="2201511" cy="1228061"/>
          </a:xfrm>
          <a:prstGeom prst="rect">
            <a:avLst/>
          </a:prstGeom>
          <a:solidFill>
            <a:srgbClr val="92D050"/>
          </a:solidFill>
          <a:ln w="12700" cap="rnd" cmpd="sng" algn="ctr">
            <a:noFill/>
            <a:prstDash val="solid"/>
            <a:headEnd type="oval"/>
          </a:ln>
          <a:effectLst/>
        </p:spPr>
        <p:txBody>
          <a:bodyPr lIns="0" tIns="34294" rIns="0" bIns="68586" anchor="b"/>
          <a:lstStyle/>
          <a:p>
            <a:pPr algn="ctr" defTabSz="685862"/>
            <a:r>
              <a:rPr lang="en-US" sz="2100" kern="0" spc="-75" dirty="0">
                <a:solidFill>
                  <a:srgbClr val="FFFFFF"/>
                </a:solidFill>
                <a:latin typeface="Segoe UI Light"/>
                <a:ea typeface="ＭＳ Ｐゴシック" pitchFamily="-65" charset="-128"/>
              </a:rPr>
              <a:t/>
            </a:r>
            <a:br>
              <a:rPr lang="en-US" sz="2100" kern="0" spc="-75" dirty="0">
                <a:solidFill>
                  <a:srgbClr val="FFFFFF"/>
                </a:solidFill>
                <a:latin typeface="Segoe UI Light"/>
                <a:ea typeface="ＭＳ Ｐゴシック" pitchFamily="-65" charset="-128"/>
              </a:rPr>
            </a:br>
            <a:r>
              <a:rPr lang="en-US" sz="1800" kern="0" spc="-75" dirty="0">
                <a:solidFill>
                  <a:srgbClr val="FFFFFF"/>
                </a:solidFill>
                <a:latin typeface="Segoe UI Light"/>
                <a:ea typeface="ＭＳ Ｐゴシック" pitchFamily="-65" charset="-128"/>
              </a:rPr>
              <a:t>Treats docs/apps equally</a:t>
            </a:r>
          </a:p>
        </p:txBody>
      </p:sp>
      <p:sp>
        <p:nvSpPr>
          <p:cNvPr id="21" name="Freeform 6"/>
          <p:cNvSpPr>
            <a:spLocks/>
          </p:cNvSpPr>
          <p:nvPr/>
        </p:nvSpPr>
        <p:spPr bwMode="auto">
          <a:xfrm>
            <a:off x="6942349" y="1540779"/>
            <a:ext cx="2201511" cy="1228061"/>
          </a:xfrm>
          <a:prstGeom prst="rect">
            <a:avLst/>
          </a:prstGeom>
          <a:solidFill>
            <a:srgbClr val="92D050"/>
          </a:solidFill>
          <a:ln w="12700" cap="rnd" cmpd="sng" algn="ctr">
            <a:noFill/>
            <a:prstDash val="solid"/>
            <a:headEnd type="oval"/>
          </a:ln>
          <a:effectLst/>
        </p:spPr>
        <p:txBody>
          <a:bodyPr lIns="0" tIns="34294" rIns="0" bIns="68586" anchor="b"/>
          <a:lstStyle/>
          <a:p>
            <a:pPr algn="ctr" defTabSz="685862"/>
            <a:endParaRPr lang="en-US" sz="2100" kern="0" spc="-75" dirty="0">
              <a:solidFill>
                <a:srgbClr val="FFFFFF"/>
              </a:solidFill>
              <a:latin typeface="Segoe UI Light"/>
              <a:ea typeface="ＭＳ Ｐゴシック" pitchFamily="-65" charset="-128"/>
            </a:endParaRPr>
          </a:p>
          <a:p>
            <a:pPr algn="ctr" defTabSz="685862"/>
            <a:r>
              <a:rPr lang="en-US" sz="2100" kern="0" spc="-75" dirty="0">
                <a:solidFill>
                  <a:srgbClr val="FFFFFF"/>
                </a:solidFill>
                <a:latin typeface="Segoe UI Light"/>
                <a:ea typeface="ＭＳ Ｐゴシック" pitchFamily="-65" charset="-128"/>
              </a:rPr>
              <a:t>Costly</a:t>
            </a:r>
          </a:p>
        </p:txBody>
      </p:sp>
      <p:sp>
        <p:nvSpPr>
          <p:cNvPr id="22" name="Freeform 6"/>
          <p:cNvSpPr>
            <a:spLocks/>
          </p:cNvSpPr>
          <p:nvPr/>
        </p:nvSpPr>
        <p:spPr bwMode="auto">
          <a:xfrm>
            <a:off x="4625567" y="1541808"/>
            <a:ext cx="2201511" cy="1228061"/>
          </a:xfrm>
          <a:prstGeom prst="rect">
            <a:avLst/>
          </a:prstGeom>
          <a:solidFill>
            <a:srgbClr val="92D050"/>
          </a:solidFill>
          <a:ln w="12700" cap="rnd" cmpd="sng" algn="ctr">
            <a:noFill/>
            <a:prstDash val="solid"/>
            <a:headEnd type="oval"/>
          </a:ln>
          <a:effectLst/>
        </p:spPr>
        <p:txBody>
          <a:bodyPr lIns="0" tIns="34294" rIns="0" bIns="68586" anchor="b"/>
          <a:lstStyle/>
          <a:p>
            <a:pPr algn="ctr" defTabSz="685862"/>
            <a:endParaRPr lang="en-US" sz="2100" kern="0" spc="-75" dirty="0">
              <a:solidFill>
                <a:srgbClr val="FFFFFF"/>
              </a:solidFill>
              <a:latin typeface="Segoe UI Light"/>
              <a:ea typeface="ＭＳ Ｐゴシック" pitchFamily="-65" charset="-128"/>
            </a:endParaRPr>
          </a:p>
          <a:p>
            <a:pPr algn="ctr" defTabSz="685862"/>
            <a:r>
              <a:rPr lang="en-US" sz="2100" kern="0" spc="-75" dirty="0">
                <a:solidFill>
                  <a:srgbClr val="FFFFFF"/>
                </a:solidFill>
                <a:latin typeface="Segoe UI Light"/>
                <a:ea typeface="ＭＳ Ｐゴシック" pitchFamily="-65" charset="-128"/>
              </a:rPr>
              <a:t>Tools can misguide</a:t>
            </a:r>
          </a:p>
        </p:txBody>
      </p:sp>
      <p:sp>
        <p:nvSpPr>
          <p:cNvPr id="27" name="Rectangle 26" hidden="1"/>
          <p:cNvSpPr/>
          <p:nvPr/>
        </p:nvSpPr>
        <p:spPr bwMode="auto">
          <a:xfrm>
            <a:off x="140" y="3031961"/>
            <a:ext cx="9143860" cy="57150"/>
          </a:xfrm>
          <a:prstGeom prst="rect">
            <a:avLst/>
          </a:prstGeom>
          <a:solidFill>
            <a:schemeClr val="accent5"/>
          </a:solidFill>
          <a:ln w="9525" cap="flat" cmpd="sng" algn="ctr">
            <a:noFill/>
            <a:prstDash val="solid"/>
            <a:headEnd type="none" w="med" len="med"/>
            <a:tailEnd type="none" w="med" len="med"/>
          </a:ln>
          <a:effectLst/>
        </p:spPr>
        <p:txBody>
          <a:bodyPr lIns="68583" tIns="34292" rIns="68583" bIns="34292" anchor="ctr"/>
          <a:lstStyle/>
          <a:p>
            <a:pPr algn="ctr" defTabSz="684673">
              <a:defRPr/>
            </a:pPr>
            <a:endParaRPr lang="en-US" sz="1700" kern="0" dirty="0">
              <a:solidFill>
                <a:srgbClr val="5E5E5E"/>
              </a:solidFill>
              <a:latin typeface="Segoe UI Light"/>
              <a:ea typeface="ＭＳ Ｐゴシック" pitchFamily="-65" charset="-128"/>
            </a:endParaRPr>
          </a:p>
        </p:txBody>
      </p:sp>
      <p:sp>
        <p:nvSpPr>
          <p:cNvPr id="28" name="Rectangle 29"/>
          <p:cNvSpPr>
            <a:spLocks noChangeArrowheads="1"/>
          </p:cNvSpPr>
          <p:nvPr/>
        </p:nvSpPr>
        <p:spPr bwMode="auto">
          <a:xfrm>
            <a:off x="0" y="2844011"/>
            <a:ext cx="2201511" cy="872556"/>
          </a:xfrm>
          <a:prstGeom prst="rect">
            <a:avLst/>
          </a:prstGeom>
          <a:noFill/>
          <a:ln w="9525">
            <a:noFill/>
            <a:miter lim="800000"/>
            <a:headEnd/>
            <a:tailEnd/>
          </a:ln>
        </p:spPr>
        <p:txBody>
          <a:bodyPr wrap="square" lIns="82317" tIns="41158" rIns="82317" bIns="41158">
            <a:spAutoFit/>
          </a:bodyPr>
          <a:lstStyle/>
          <a:p>
            <a:pPr marL="3573" indent="-3573" defTabSz="685862" fontAlgn="base">
              <a:lnSpc>
                <a:spcPct val="90000"/>
              </a:lnSpc>
              <a:spcAft>
                <a:spcPts val="450"/>
              </a:spcAft>
              <a:buClr>
                <a:srgbClr val="F69F1E"/>
              </a:buClr>
              <a:buSzPct val="90000"/>
              <a:defRPr/>
            </a:pPr>
            <a:r>
              <a:rPr lang="en-US" kern="0" dirty="0">
                <a:solidFill>
                  <a:srgbClr val="FFFFFF"/>
                </a:solidFill>
              </a:rPr>
              <a:t>12-18 months of evaluation…before doing any work.  Agility is hindered</a:t>
            </a:r>
          </a:p>
        </p:txBody>
      </p:sp>
      <p:sp>
        <p:nvSpPr>
          <p:cNvPr id="29" name="Rectangle 29"/>
          <p:cNvSpPr>
            <a:spLocks noChangeArrowheads="1"/>
          </p:cNvSpPr>
          <p:nvPr/>
        </p:nvSpPr>
        <p:spPr bwMode="auto">
          <a:xfrm>
            <a:off x="2316771" y="2844010"/>
            <a:ext cx="2201511" cy="477833"/>
          </a:xfrm>
          <a:prstGeom prst="rect">
            <a:avLst/>
          </a:prstGeom>
          <a:noFill/>
          <a:ln w="9525">
            <a:noFill/>
            <a:miter lim="800000"/>
            <a:headEnd/>
            <a:tailEnd/>
          </a:ln>
        </p:spPr>
        <p:txBody>
          <a:bodyPr wrap="square" lIns="82317" tIns="41158" rIns="82317" bIns="41158">
            <a:spAutoFit/>
          </a:bodyPr>
          <a:lstStyle/>
          <a:p>
            <a:pPr marL="3573" indent="-3573" defTabSz="685862" fontAlgn="base">
              <a:lnSpc>
                <a:spcPct val="90000"/>
              </a:lnSpc>
              <a:spcAft>
                <a:spcPts val="450"/>
              </a:spcAft>
              <a:buClr>
                <a:srgbClr val="F69F1E"/>
              </a:buClr>
              <a:buSzPct val="90000"/>
              <a:defRPr/>
            </a:pPr>
            <a:r>
              <a:rPr lang="en-US" kern="0" dirty="0">
                <a:solidFill>
                  <a:srgbClr val="FFFFFF"/>
                </a:solidFill>
              </a:rPr>
              <a:t>ROI is not evaluated against risk</a:t>
            </a:r>
          </a:p>
        </p:txBody>
      </p:sp>
      <p:sp>
        <p:nvSpPr>
          <p:cNvPr id="30" name="Rectangle 29"/>
          <p:cNvSpPr>
            <a:spLocks noChangeArrowheads="1"/>
          </p:cNvSpPr>
          <p:nvPr/>
        </p:nvSpPr>
        <p:spPr bwMode="auto">
          <a:xfrm>
            <a:off x="4625567" y="2844010"/>
            <a:ext cx="2201511" cy="477833"/>
          </a:xfrm>
          <a:prstGeom prst="rect">
            <a:avLst/>
          </a:prstGeom>
          <a:noFill/>
          <a:ln w="9525">
            <a:noFill/>
            <a:miter lim="800000"/>
            <a:headEnd/>
            <a:tailEnd/>
          </a:ln>
        </p:spPr>
        <p:txBody>
          <a:bodyPr wrap="square" lIns="82317" tIns="41158" rIns="82317" bIns="41158">
            <a:spAutoFit/>
          </a:bodyPr>
          <a:lstStyle/>
          <a:p>
            <a:pPr marL="3573" indent="-3573" defTabSz="685862" fontAlgn="base">
              <a:lnSpc>
                <a:spcPct val="90000"/>
              </a:lnSpc>
              <a:spcAft>
                <a:spcPts val="450"/>
              </a:spcAft>
              <a:buClr>
                <a:srgbClr val="F69F1E"/>
              </a:buClr>
              <a:buSzPct val="90000"/>
              <a:defRPr/>
            </a:pPr>
            <a:r>
              <a:rPr lang="en-US" kern="0" dirty="0">
                <a:solidFill>
                  <a:srgbClr val="FFFFFF"/>
                </a:solidFill>
              </a:rPr>
              <a:t>Tools provide technical data, not business data</a:t>
            </a:r>
          </a:p>
        </p:txBody>
      </p:sp>
      <p:sp>
        <p:nvSpPr>
          <p:cNvPr id="31" name="Rectangle 29"/>
          <p:cNvSpPr>
            <a:spLocks noChangeArrowheads="1"/>
          </p:cNvSpPr>
          <p:nvPr/>
        </p:nvSpPr>
        <p:spPr bwMode="auto">
          <a:xfrm>
            <a:off x="6942349" y="2844010"/>
            <a:ext cx="2201511" cy="477833"/>
          </a:xfrm>
          <a:prstGeom prst="rect">
            <a:avLst/>
          </a:prstGeom>
          <a:noFill/>
          <a:ln w="9525">
            <a:noFill/>
            <a:miter lim="800000"/>
            <a:headEnd/>
            <a:tailEnd/>
          </a:ln>
        </p:spPr>
        <p:txBody>
          <a:bodyPr wrap="square" lIns="82317" tIns="41158" rIns="82317" bIns="41158">
            <a:spAutoFit/>
          </a:bodyPr>
          <a:lstStyle/>
          <a:p>
            <a:pPr marL="3573" indent="-3573" defTabSz="685862" fontAlgn="base">
              <a:lnSpc>
                <a:spcPct val="90000"/>
              </a:lnSpc>
              <a:spcAft>
                <a:spcPts val="450"/>
              </a:spcAft>
              <a:buClr>
                <a:srgbClr val="F69F1E"/>
              </a:buClr>
              <a:buSzPct val="90000"/>
              <a:defRPr/>
            </a:pPr>
            <a:r>
              <a:rPr lang="en-US" kern="0" dirty="0">
                <a:solidFill>
                  <a:srgbClr val="FFFFFF"/>
                </a:solidFill>
              </a:rPr>
              <a:t>Additional expenses to deploy and obtain value</a:t>
            </a:r>
          </a:p>
        </p:txBody>
      </p:sp>
      <p:sp>
        <p:nvSpPr>
          <p:cNvPr id="17" name="TextBox 16"/>
          <p:cNvSpPr txBox="1"/>
          <p:nvPr/>
        </p:nvSpPr>
        <p:spPr>
          <a:xfrm>
            <a:off x="818021" y="1676188"/>
            <a:ext cx="565469" cy="769441"/>
          </a:xfrm>
          <a:prstGeom prst="rect">
            <a:avLst/>
          </a:prstGeom>
          <a:noFill/>
        </p:spPr>
        <p:txBody>
          <a:bodyPr wrap="square" lIns="0" tIns="0" rIns="0" bIns="0" rtlCol="0">
            <a:spAutoFit/>
          </a:bodyPr>
          <a:lstStyle/>
          <a:p>
            <a:pPr algn="ctr" defTabSz="569417"/>
            <a:r>
              <a:rPr lang="en-US" sz="5000" dirty="0">
                <a:solidFill>
                  <a:prstClr val="white"/>
                </a:solidFill>
                <a:ea typeface="ＭＳ Ｐゴシック" pitchFamily="-65" charset="-128"/>
                <a:sym typeface="Wingdings"/>
              </a:rPr>
              <a:t></a:t>
            </a:r>
            <a:endParaRPr lang="en-US" sz="5000" dirty="0">
              <a:solidFill>
                <a:prstClr val="white"/>
              </a:solidFill>
              <a:ea typeface="ＭＳ Ｐゴシック" pitchFamily="-65" charset="-128"/>
            </a:endParaRPr>
          </a:p>
        </p:txBody>
      </p:sp>
      <p:sp>
        <p:nvSpPr>
          <p:cNvPr id="33" name="TextBox 32"/>
          <p:cNvSpPr txBox="1"/>
          <p:nvPr/>
        </p:nvSpPr>
        <p:spPr>
          <a:xfrm>
            <a:off x="7760370" y="1739639"/>
            <a:ext cx="565469" cy="630942"/>
          </a:xfrm>
          <a:prstGeom prst="rect">
            <a:avLst/>
          </a:prstGeom>
          <a:noFill/>
        </p:spPr>
        <p:txBody>
          <a:bodyPr wrap="square" lIns="0" tIns="0" rIns="0" bIns="0" rtlCol="0">
            <a:spAutoFit/>
          </a:bodyPr>
          <a:lstStyle/>
          <a:p>
            <a:pPr algn="ctr" defTabSz="569417"/>
            <a:r>
              <a:rPr lang="en-US" sz="4100" dirty="0">
                <a:solidFill>
                  <a:prstClr val="white"/>
                </a:solidFill>
                <a:ea typeface="ＭＳ Ｐゴシック" pitchFamily="-65" charset="-128"/>
                <a:sym typeface="Wingdings"/>
              </a:rPr>
              <a:t>$</a:t>
            </a:r>
            <a:endParaRPr lang="en-US" sz="4100" dirty="0">
              <a:solidFill>
                <a:prstClr val="white"/>
              </a:solidFill>
              <a:ea typeface="ＭＳ Ｐゴシック" pitchFamily="-65" charset="-128"/>
            </a:endParaRPr>
          </a:p>
        </p:txBody>
      </p:sp>
      <p:sp>
        <p:nvSpPr>
          <p:cNvPr id="3" name="TextBox 2"/>
          <p:cNvSpPr txBox="1"/>
          <p:nvPr/>
        </p:nvSpPr>
        <p:spPr>
          <a:xfrm>
            <a:off x="2388558" y="1723100"/>
            <a:ext cx="2057937" cy="630942"/>
          </a:xfrm>
          <a:prstGeom prst="rect">
            <a:avLst/>
          </a:prstGeom>
          <a:solidFill>
            <a:srgbClr val="92D050"/>
          </a:solidFill>
        </p:spPr>
        <p:txBody>
          <a:bodyPr wrap="square" lIns="0" tIns="0" rIns="0" bIns="0" rtlCol="0">
            <a:spAutoFit/>
          </a:bodyPr>
          <a:lstStyle/>
          <a:p>
            <a:pPr algn="ctr"/>
            <a:r>
              <a:rPr lang="en-US" sz="4100" dirty="0">
                <a:gradFill>
                  <a:gsLst>
                    <a:gs pos="0">
                      <a:srgbClr val="FFFFFF"/>
                    </a:gs>
                    <a:gs pos="86000">
                      <a:srgbClr val="FFFFFF"/>
                    </a:gs>
                  </a:gsLst>
                  <a:lin ang="5400000" scaled="0"/>
                </a:gradFill>
                <a:sym typeface="Wingdings"/>
              </a:rPr>
              <a:t></a:t>
            </a:r>
            <a:r>
              <a:rPr lang="en-US" sz="3300" dirty="0">
                <a:gradFill>
                  <a:gsLst>
                    <a:gs pos="0">
                      <a:srgbClr val="FFFFFF"/>
                    </a:gs>
                    <a:gs pos="86000">
                      <a:srgbClr val="FFFFFF"/>
                    </a:gs>
                  </a:gsLst>
                  <a:lin ang="5400000" scaled="0"/>
                </a:gradFill>
                <a:sym typeface="Webdings"/>
              </a:rPr>
              <a:t>=</a:t>
            </a:r>
            <a:r>
              <a:rPr lang="en-US" sz="4100" dirty="0">
                <a:gradFill>
                  <a:gsLst>
                    <a:gs pos="0">
                      <a:srgbClr val="FFFFFF"/>
                    </a:gs>
                    <a:gs pos="86000">
                      <a:srgbClr val="FFFFFF"/>
                    </a:gs>
                  </a:gsLst>
                  <a:lin ang="5400000" scaled="0"/>
                </a:gradFill>
                <a:sym typeface="Webdings"/>
              </a:rPr>
              <a:t></a:t>
            </a:r>
            <a:endParaRPr lang="en-US" sz="4100" dirty="0">
              <a:gradFill>
                <a:gsLst>
                  <a:gs pos="0">
                    <a:srgbClr val="FFFFFF"/>
                  </a:gs>
                  <a:gs pos="86000">
                    <a:srgbClr val="FFFFFF"/>
                  </a:gs>
                </a:gsLst>
                <a:lin ang="5400000" scaled="0"/>
              </a:gradFill>
            </a:endParaRPr>
          </a:p>
        </p:txBody>
      </p:sp>
      <p:pic>
        <p:nvPicPr>
          <p:cNvPr id="1029" name="Picture 5"/>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50000" b="85625" l="32889" r="64889"/>
                    </a14:imgEffect>
                    <a14:imgEffect>
                      <a14:brightnessContrast bright="100000"/>
                    </a14:imgEffect>
                  </a14:imgLayer>
                </a14:imgProps>
              </a:ext>
              <a:ext uri="{28A0092B-C50C-407E-A947-70E740481C1C}">
                <a14:useLocalDpi xmlns:a14="http://schemas.microsoft.com/office/drawing/2010/main" val="0"/>
              </a:ext>
            </a:extLst>
          </a:blip>
          <a:srcRect l="32753" t="50000" r="34493" b="14122"/>
          <a:stretch/>
        </p:blipFill>
        <p:spPr bwMode="auto">
          <a:xfrm flipH="1">
            <a:off x="5336294" y="1869501"/>
            <a:ext cx="633574" cy="493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Picture 2" descr="C:\Users\Jordan\Desktop\TechEd_2012\TechEd-logo.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black">
          <a:xfrm>
            <a:off x="386962" y="4619593"/>
            <a:ext cx="698151" cy="322326"/>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5"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6"/>
              </a:rPr>
              <a:t>www.rapidbbs.cn</a:t>
            </a:r>
            <a:endParaRPr lang="zh-CN" altLang="en-US" sz="1200" b="0">
              <a:latin typeface="Arial" charset="0"/>
              <a:ea typeface="ＭＳ Ｐゴシック" pitchFamily="34" charset="-128"/>
            </a:endParaRPr>
          </a:p>
        </p:txBody>
      </p:sp>
      <p:pic>
        <p:nvPicPr>
          <p:cNvPr id="26" name="Picture 2">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26667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slow">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78751" y="1956535"/>
            <a:ext cx="3573422" cy="914096"/>
          </a:xfrm>
        </p:spPr>
        <p:txBody>
          <a:bodyPr/>
          <a:lstStyle/>
          <a:p>
            <a:pPr algn="r"/>
            <a:r>
              <a:rPr lang="en-US" dirty="0" smtClean="0">
                <a:solidFill>
                  <a:schemeClr val="tx1"/>
                </a:solidFill>
              </a:rPr>
              <a:t>application</a:t>
            </a:r>
            <a:br>
              <a:rPr lang="en-US" dirty="0" smtClean="0">
                <a:solidFill>
                  <a:schemeClr val="tx1"/>
                </a:solidFill>
              </a:rPr>
            </a:br>
            <a:r>
              <a:rPr lang="en-US" dirty="0" smtClean="0">
                <a:solidFill>
                  <a:schemeClr val="tx1"/>
                </a:solidFill>
              </a:rPr>
              <a:t>building</a:t>
            </a:r>
            <a:r>
              <a:rPr lang="en-US" dirty="0">
                <a:solidFill>
                  <a:schemeClr val="tx1"/>
                </a:solidFill>
              </a:rPr>
              <a:t> </a:t>
            </a:r>
            <a:r>
              <a:rPr lang="en-US" dirty="0" smtClean="0">
                <a:solidFill>
                  <a:schemeClr val="tx1"/>
                </a:solidFill>
              </a:rPr>
              <a:t>blocks</a:t>
            </a:r>
            <a:endParaRPr lang="en-US" dirty="0">
              <a:solidFill>
                <a:schemeClr val="tx1"/>
              </a:solidFill>
            </a:endParaRPr>
          </a:p>
        </p:txBody>
      </p:sp>
      <p:grpSp>
        <p:nvGrpSpPr>
          <p:cNvPr id="37" name="Group 36"/>
          <p:cNvGrpSpPr/>
          <p:nvPr/>
        </p:nvGrpSpPr>
        <p:grpSpPr>
          <a:xfrm>
            <a:off x="4256911" y="467038"/>
            <a:ext cx="1422788" cy="1329482"/>
            <a:chOff x="5665775" y="2466267"/>
            <a:chExt cx="1896557" cy="1772642"/>
          </a:xfrm>
        </p:grpSpPr>
        <p:sp>
          <p:nvSpPr>
            <p:cNvPr id="17" name="Rectangle 16"/>
            <p:cNvSpPr/>
            <p:nvPr/>
          </p:nvSpPr>
          <p:spPr bwMode="auto">
            <a:xfrm>
              <a:off x="5665775" y="2466267"/>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495" fontAlgn="base">
                <a:spcBef>
                  <a:spcPct val="0"/>
                </a:spcBef>
                <a:spcAft>
                  <a:spcPct val="0"/>
                </a:spcAft>
              </a:pPr>
              <a:r>
                <a:rPr lang="en-US" dirty="0" smtClean="0">
                  <a:gradFill>
                    <a:gsLst>
                      <a:gs pos="0">
                        <a:srgbClr val="FFFFFF"/>
                      </a:gs>
                      <a:gs pos="100000">
                        <a:srgbClr val="FFFFFF"/>
                      </a:gs>
                    </a:gsLst>
                    <a:lin ang="5400000" scaled="0"/>
                  </a:gradFill>
                </a:rPr>
                <a:t>storage</a:t>
              </a:r>
            </a:p>
          </p:txBody>
        </p:sp>
        <p:pic>
          <p:nvPicPr>
            <p:cNvPr id="1026" name="Picture 2" descr="C:\Users\Jonahs\Dropbox\Projects SCOTT\MEET Windows Azure\source\Background\tile-icon-storag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 name="Group 1"/>
          <p:cNvGrpSpPr/>
          <p:nvPr/>
        </p:nvGrpSpPr>
        <p:grpSpPr>
          <a:xfrm>
            <a:off x="1303596" y="467038"/>
            <a:ext cx="1422788" cy="1329482"/>
            <a:chOff x="1685919" y="596839"/>
            <a:chExt cx="1896557" cy="1772642"/>
          </a:xfrm>
        </p:grpSpPr>
        <p:sp>
          <p:nvSpPr>
            <p:cNvPr id="8" name="Rectangle 7"/>
            <p:cNvSpPr/>
            <p:nvPr/>
          </p:nvSpPr>
          <p:spPr bwMode="auto">
            <a:xfrm>
              <a:off x="1685919" y="596839"/>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495" fontAlgn="base">
                <a:spcBef>
                  <a:spcPct val="0"/>
                </a:spcBef>
                <a:spcAft>
                  <a:spcPct val="0"/>
                </a:spcAft>
              </a:pPr>
              <a:r>
                <a:rPr lang="en-US" dirty="0" smtClean="0">
                  <a:gradFill>
                    <a:gsLst>
                      <a:gs pos="0">
                        <a:srgbClr val="FFFFFF"/>
                      </a:gs>
                      <a:gs pos="100000">
                        <a:srgbClr val="FFFFFF"/>
                      </a:gs>
                    </a:gsLst>
                    <a:lin ang="5400000" scaled="0"/>
                  </a:gradFill>
                </a:rPr>
                <a:t>big data</a:t>
              </a:r>
            </a:p>
          </p:txBody>
        </p:sp>
        <p:pic>
          <p:nvPicPr>
            <p:cNvPr id="1027" name="Picture 3" descr="C:\Users\Jonahs\Dropbox\Projects SCOTT\MEET Windows Azure\source\Background\tile-icon-bigdata.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52075"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6" name="Group 35"/>
          <p:cNvGrpSpPr/>
          <p:nvPr/>
        </p:nvGrpSpPr>
        <p:grpSpPr>
          <a:xfrm>
            <a:off x="4256592" y="1850974"/>
            <a:ext cx="1422788" cy="1329482"/>
            <a:chOff x="3671322" y="4341709"/>
            <a:chExt cx="1896557" cy="1772642"/>
          </a:xfrm>
        </p:grpSpPr>
        <p:sp>
          <p:nvSpPr>
            <p:cNvPr id="26" name="Rectangle 25"/>
            <p:cNvSpPr/>
            <p:nvPr/>
          </p:nvSpPr>
          <p:spPr bwMode="auto">
            <a:xfrm>
              <a:off x="3671322" y="4341709"/>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495" fontAlgn="base">
                <a:spcBef>
                  <a:spcPct val="0"/>
                </a:spcBef>
                <a:spcAft>
                  <a:spcPct val="0"/>
                </a:spcAft>
              </a:pPr>
              <a:r>
                <a:rPr lang="en-US" dirty="0" smtClean="0">
                  <a:gradFill>
                    <a:gsLst>
                      <a:gs pos="0">
                        <a:srgbClr val="FFFFFF"/>
                      </a:gs>
                      <a:gs pos="100000">
                        <a:srgbClr val="FFFFFF"/>
                      </a:gs>
                    </a:gsLst>
                    <a:lin ang="5400000" scaled="0"/>
                  </a:gradFill>
                </a:rPr>
                <a:t>caching</a:t>
              </a:r>
            </a:p>
          </p:txBody>
        </p:sp>
        <p:pic>
          <p:nvPicPr>
            <p:cNvPr id="1028" name="Picture 4" descr="C:\Users\Jonahs\Dropbox\Projects SCOTT\MEET Windows Azure\source\Background\tile-icon-cach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93856" y="464308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oup 37"/>
          <p:cNvGrpSpPr/>
          <p:nvPr/>
        </p:nvGrpSpPr>
        <p:grpSpPr>
          <a:xfrm>
            <a:off x="4256592" y="3236875"/>
            <a:ext cx="1422788" cy="1329482"/>
            <a:chOff x="5656726" y="4341709"/>
            <a:chExt cx="1896557" cy="1772642"/>
          </a:xfrm>
        </p:grpSpPr>
        <p:sp>
          <p:nvSpPr>
            <p:cNvPr id="29" name="Rectangle 28"/>
            <p:cNvSpPr/>
            <p:nvPr/>
          </p:nvSpPr>
          <p:spPr bwMode="auto">
            <a:xfrm>
              <a:off x="5656726" y="4341709"/>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495" fontAlgn="base">
                <a:spcBef>
                  <a:spcPct val="0"/>
                </a:spcBef>
                <a:spcAft>
                  <a:spcPct val="0"/>
                </a:spcAft>
              </a:pPr>
              <a:r>
                <a:rPr lang="en-US" dirty="0" smtClean="0">
                  <a:gradFill>
                    <a:gsLst>
                      <a:gs pos="0">
                        <a:srgbClr val="FFFFFF"/>
                      </a:gs>
                      <a:gs pos="100000">
                        <a:srgbClr val="FFFFFF"/>
                      </a:gs>
                    </a:gsLst>
                    <a:lin ang="5400000" scaled="0"/>
                  </a:gradFill>
                </a:rPr>
                <a:t>CDN</a:t>
              </a:r>
            </a:p>
          </p:txBody>
        </p:sp>
        <p:pic>
          <p:nvPicPr>
            <p:cNvPr id="1029" name="Picture 5" descr="C:\Users\Jonahs\Dropbox\Projects SCOTT\MEET Windows Azure\source\Background\tile-icon-CDN.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79260"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p:cNvGrpSpPr/>
          <p:nvPr/>
        </p:nvGrpSpPr>
        <p:grpSpPr>
          <a:xfrm>
            <a:off x="2780095" y="467038"/>
            <a:ext cx="1422788" cy="1329482"/>
            <a:chOff x="3671323" y="596839"/>
            <a:chExt cx="1896557" cy="1772642"/>
          </a:xfrm>
        </p:grpSpPr>
        <p:sp>
          <p:nvSpPr>
            <p:cNvPr id="11" name="Rectangle 10"/>
            <p:cNvSpPr/>
            <p:nvPr/>
          </p:nvSpPr>
          <p:spPr bwMode="auto">
            <a:xfrm>
              <a:off x="3671323" y="596839"/>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495" fontAlgn="base">
                <a:spcBef>
                  <a:spcPct val="0"/>
                </a:spcBef>
                <a:spcAft>
                  <a:spcPct val="0"/>
                </a:spcAft>
              </a:pPr>
              <a:r>
                <a:rPr lang="en-US" dirty="0" smtClean="0">
                  <a:gradFill>
                    <a:gsLst>
                      <a:gs pos="0">
                        <a:srgbClr val="FFFFFF"/>
                      </a:gs>
                      <a:gs pos="100000">
                        <a:srgbClr val="FFFFFF"/>
                      </a:gs>
                    </a:gsLst>
                    <a:lin ang="5400000" scaled="0"/>
                  </a:gradFill>
                </a:rPr>
                <a:t>database</a:t>
              </a:r>
            </a:p>
          </p:txBody>
        </p:sp>
        <p:pic>
          <p:nvPicPr>
            <p:cNvPr id="1030" name="Picture 6" descr="C:\Users\Jonahs\Dropbox\Projects SCOTT\MEET Windows Azure\source\Background\tile-icon-database.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93856"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7223167" y="1850974"/>
            <a:ext cx="1422788" cy="1329482"/>
            <a:chOff x="9645631" y="2476591"/>
            <a:chExt cx="1896557" cy="1772642"/>
          </a:xfrm>
        </p:grpSpPr>
        <p:sp>
          <p:nvSpPr>
            <p:cNvPr id="23" name="Rectangle 22"/>
            <p:cNvSpPr/>
            <p:nvPr/>
          </p:nvSpPr>
          <p:spPr bwMode="auto">
            <a:xfrm>
              <a:off x="9645631" y="2476591"/>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495" fontAlgn="base">
                <a:spcBef>
                  <a:spcPct val="0"/>
                </a:spcBef>
                <a:spcAft>
                  <a:spcPct val="0"/>
                </a:spcAft>
              </a:pPr>
              <a:r>
                <a:rPr lang="en-US" dirty="0" smtClean="0">
                  <a:gradFill>
                    <a:gsLst>
                      <a:gs pos="0">
                        <a:srgbClr val="FFFFFF"/>
                      </a:gs>
                      <a:gs pos="100000">
                        <a:srgbClr val="FFFFFF"/>
                      </a:gs>
                    </a:gsLst>
                    <a:lin ang="5400000" scaled="0"/>
                  </a:gradFill>
                </a:rPr>
                <a:t>identity</a:t>
              </a:r>
            </a:p>
          </p:txBody>
        </p:sp>
        <p:pic>
          <p:nvPicPr>
            <p:cNvPr id="1031" name="Picture 7" descr="C:\Users\Jonahs\Dropbox\Projects SCOTT\MEET Windows Azure\source\Background\tile-icon-identity.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168165" y="270556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Group 4"/>
          <p:cNvGrpSpPr/>
          <p:nvPr/>
        </p:nvGrpSpPr>
        <p:grpSpPr>
          <a:xfrm>
            <a:off x="2780095" y="3236875"/>
            <a:ext cx="1422788" cy="1329482"/>
            <a:chOff x="5665775" y="596839"/>
            <a:chExt cx="1896557" cy="1772642"/>
          </a:xfrm>
        </p:grpSpPr>
        <p:sp>
          <p:nvSpPr>
            <p:cNvPr id="14" name="Rectangle 13"/>
            <p:cNvSpPr/>
            <p:nvPr/>
          </p:nvSpPr>
          <p:spPr bwMode="auto">
            <a:xfrm>
              <a:off x="5665775" y="596839"/>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495" fontAlgn="base">
                <a:spcBef>
                  <a:spcPct val="0"/>
                </a:spcBef>
                <a:spcAft>
                  <a:spcPct val="0"/>
                </a:spcAft>
              </a:pPr>
              <a:r>
                <a:rPr lang="en-US" dirty="0" smtClean="0">
                  <a:gradFill>
                    <a:gsLst>
                      <a:gs pos="0">
                        <a:srgbClr val="FFFFFF"/>
                      </a:gs>
                      <a:gs pos="100000">
                        <a:srgbClr val="FFFFFF"/>
                      </a:gs>
                    </a:gsLst>
                    <a:lin ang="5400000" scaled="0"/>
                  </a:gradFill>
                </a:rPr>
                <a:t>media</a:t>
              </a:r>
            </a:p>
          </p:txBody>
        </p:sp>
        <p:pic>
          <p:nvPicPr>
            <p:cNvPr id="1032" name="Picture 8" descr="C:\Users\Jonahs\Dropbox\Projects SCOTT\MEET Windows Azure\source\Background\tile-icon-media.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88309" y="89821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5" name="Group 34"/>
          <p:cNvGrpSpPr/>
          <p:nvPr/>
        </p:nvGrpSpPr>
        <p:grpSpPr>
          <a:xfrm>
            <a:off x="5739880" y="1849702"/>
            <a:ext cx="1422788" cy="1329482"/>
            <a:chOff x="7651179" y="2466267"/>
            <a:chExt cx="1896557" cy="1772642"/>
          </a:xfrm>
        </p:grpSpPr>
        <p:sp>
          <p:nvSpPr>
            <p:cNvPr id="20" name="Rectangle 19"/>
            <p:cNvSpPr/>
            <p:nvPr/>
          </p:nvSpPr>
          <p:spPr bwMode="auto">
            <a:xfrm>
              <a:off x="7651179" y="2466267"/>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495" fontAlgn="base">
                <a:spcBef>
                  <a:spcPct val="0"/>
                </a:spcBef>
                <a:spcAft>
                  <a:spcPct val="0"/>
                </a:spcAft>
              </a:pPr>
              <a:r>
                <a:rPr lang="en-US" dirty="0" smtClean="0">
                  <a:gradFill>
                    <a:gsLst>
                      <a:gs pos="0">
                        <a:srgbClr val="FFFFFF"/>
                      </a:gs>
                      <a:gs pos="100000">
                        <a:srgbClr val="FFFFFF"/>
                      </a:gs>
                    </a:gsLst>
                    <a:lin ang="5400000" scaled="0"/>
                  </a:gradFill>
                </a:rPr>
                <a:t>messaging</a:t>
              </a:r>
            </a:p>
          </p:txBody>
        </p:sp>
        <p:pic>
          <p:nvPicPr>
            <p:cNvPr id="1033" name="Picture 9" descr="C:\Users\Jonahs\Dropbox\Projects SCOTT\MEET Windows Azure\source\Background\tile-icon-messaging.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173712"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4" name="Group 33"/>
          <p:cNvGrpSpPr/>
          <p:nvPr/>
        </p:nvGrpSpPr>
        <p:grpSpPr>
          <a:xfrm>
            <a:off x="5739880" y="3236875"/>
            <a:ext cx="1422788" cy="1329482"/>
            <a:chOff x="7651178" y="4341709"/>
            <a:chExt cx="1896557" cy="1772642"/>
          </a:xfrm>
        </p:grpSpPr>
        <p:sp>
          <p:nvSpPr>
            <p:cNvPr id="32" name="Rectangle 31"/>
            <p:cNvSpPr/>
            <p:nvPr/>
          </p:nvSpPr>
          <p:spPr bwMode="auto">
            <a:xfrm>
              <a:off x="7651178" y="4341709"/>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495" fontAlgn="base">
                <a:spcBef>
                  <a:spcPct val="0"/>
                </a:spcBef>
                <a:spcAft>
                  <a:spcPct val="0"/>
                </a:spcAft>
              </a:pPr>
              <a:r>
                <a:rPr lang="en-US" dirty="0" smtClean="0">
                  <a:gradFill>
                    <a:gsLst>
                      <a:gs pos="0">
                        <a:srgbClr val="FFFFFF"/>
                      </a:gs>
                      <a:gs pos="100000">
                        <a:srgbClr val="FFFFFF"/>
                      </a:gs>
                    </a:gsLst>
                    <a:lin ang="5400000" scaled="0"/>
                  </a:gradFill>
                </a:rPr>
                <a:t>networking</a:t>
              </a:r>
            </a:p>
          </p:txBody>
        </p:sp>
        <p:pic>
          <p:nvPicPr>
            <p:cNvPr id="1034" name="Picture 10" descr="C:\Users\Jonahs\Dropbox\Projects SCOTT\MEET Windows Azure\source\Background\tile-icon-network.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173712"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oup 29"/>
          <p:cNvGrpSpPr/>
          <p:nvPr/>
        </p:nvGrpSpPr>
        <p:grpSpPr>
          <a:xfrm>
            <a:off x="5746015" y="467038"/>
            <a:ext cx="1422788" cy="1329482"/>
            <a:chOff x="5665775" y="2466267"/>
            <a:chExt cx="1896557" cy="1772642"/>
          </a:xfrm>
        </p:grpSpPr>
        <p:sp>
          <p:nvSpPr>
            <p:cNvPr id="31" name="Rectangle 30"/>
            <p:cNvSpPr/>
            <p:nvPr/>
          </p:nvSpPr>
          <p:spPr bwMode="auto">
            <a:xfrm>
              <a:off x="5665775" y="2466267"/>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495" fontAlgn="base">
                <a:spcBef>
                  <a:spcPct val="0"/>
                </a:spcBef>
                <a:spcAft>
                  <a:spcPct val="0"/>
                </a:spcAft>
              </a:pPr>
              <a:r>
                <a:rPr lang="en-US" dirty="0" smtClean="0">
                  <a:gradFill>
                    <a:gsLst>
                      <a:gs pos="0">
                        <a:srgbClr val="FFFFFF"/>
                      </a:gs>
                      <a:gs pos="100000">
                        <a:srgbClr val="FFFFFF"/>
                      </a:gs>
                    </a:gsLst>
                    <a:lin ang="5400000" scaled="0"/>
                  </a:gradFill>
                </a:rPr>
                <a:t>traffic</a:t>
              </a:r>
            </a:p>
          </p:txBody>
        </p:sp>
        <p:pic>
          <p:nvPicPr>
            <p:cNvPr id="33" name="Picture 2"/>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sp>
        <p:nvSpPr>
          <p:cNvPr id="39"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40"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3"/>
              </a:rPr>
              <a:t>www.rapidbbs.cn</a:t>
            </a:r>
            <a:endParaRPr lang="zh-CN" altLang="en-US" sz="1200" b="0">
              <a:latin typeface="Arial" charset="0"/>
              <a:ea typeface="ＭＳ Ｐゴシック" pitchFamily="34" charset="-128"/>
            </a:endParaRPr>
          </a:p>
        </p:txBody>
      </p:sp>
      <p:pic>
        <p:nvPicPr>
          <p:cNvPr id="41" name="Picture 2">
            <a:hlinkClick r:id="rId13"/>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153546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nodeType="withEffect">
                                  <p:stCondLst>
                                    <p:cond delay="10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nodeType="withEffect">
                                  <p:stCondLst>
                                    <p:cond delay="1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nodeType="withEffect">
                                  <p:stCondLst>
                                    <p:cond delay="20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nodeType="withEffect">
                                  <p:stCondLst>
                                    <p:cond delay="25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10" presetClass="entr" presetSubtype="0" fill="hold" nodeType="withEffect">
                                  <p:stCondLst>
                                    <p:cond delay="300"/>
                                  </p:stCondLst>
                                  <p:childTnLst>
                                    <p:set>
                                      <p:cBhvr>
                                        <p:cTn id="21" dur="1" fill="hold">
                                          <p:stCondLst>
                                            <p:cond delay="0"/>
                                          </p:stCondLst>
                                        </p:cTn>
                                        <p:tgtEl>
                                          <p:spTgt spid="34"/>
                                        </p:tgtEl>
                                        <p:attrNameLst>
                                          <p:attrName>style.visibility</p:attrName>
                                        </p:attrNameLst>
                                      </p:cBhvr>
                                      <p:to>
                                        <p:strVal val="visible"/>
                                      </p:to>
                                    </p:set>
                                    <p:animEffect transition="in" filter="fade">
                                      <p:cBhvr>
                                        <p:cTn id="22" dur="500"/>
                                        <p:tgtEl>
                                          <p:spTgt spid="34"/>
                                        </p:tgtEl>
                                      </p:cBhvr>
                                    </p:animEffect>
                                  </p:childTnLst>
                                </p:cTn>
                              </p:par>
                              <p:par>
                                <p:cTn id="23" presetID="10" presetClass="entr" presetSubtype="0" fill="hold" nodeType="withEffect">
                                  <p:stCondLst>
                                    <p:cond delay="35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par>
                                <p:cTn id="26" presetID="10" presetClass="entr" presetSubtype="0" fill="hold" nodeType="withEffect">
                                  <p:stCondLst>
                                    <p:cond delay="400"/>
                                  </p:stCondLst>
                                  <p:childTnLst>
                                    <p:set>
                                      <p:cBhvr>
                                        <p:cTn id="27" dur="1" fill="hold">
                                          <p:stCondLst>
                                            <p:cond delay="0"/>
                                          </p:stCondLst>
                                        </p:cTn>
                                        <p:tgtEl>
                                          <p:spTgt spid="36"/>
                                        </p:tgtEl>
                                        <p:attrNameLst>
                                          <p:attrName>style.visibility</p:attrName>
                                        </p:attrNameLst>
                                      </p:cBhvr>
                                      <p:to>
                                        <p:strVal val="visible"/>
                                      </p:to>
                                    </p:set>
                                    <p:animEffect transition="in" filter="fade">
                                      <p:cBhvr>
                                        <p:cTn id="28" dur="500"/>
                                        <p:tgtEl>
                                          <p:spTgt spid="36"/>
                                        </p:tgtEl>
                                      </p:cBhvr>
                                    </p:animEffect>
                                  </p:childTnLst>
                                </p:cTn>
                              </p:par>
                              <p:par>
                                <p:cTn id="29" presetID="10" presetClass="entr" presetSubtype="0" fill="hold" nodeType="withEffect">
                                  <p:stCondLst>
                                    <p:cond delay="45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nodeType="withEffect">
                                  <p:stCondLst>
                                    <p:cond delay="500"/>
                                  </p:stCondLst>
                                  <p:childTnLst>
                                    <p:set>
                                      <p:cBhvr>
                                        <p:cTn id="33" dur="1" fill="hold">
                                          <p:stCondLst>
                                            <p:cond delay="0"/>
                                          </p:stCondLst>
                                        </p:cTn>
                                        <p:tgtEl>
                                          <p:spTgt spid="30"/>
                                        </p:tgtEl>
                                        <p:attrNameLst>
                                          <p:attrName>style.visibility</p:attrName>
                                        </p:attrNameLst>
                                      </p:cBhvr>
                                      <p:to>
                                        <p:strVal val="visible"/>
                                      </p:to>
                                    </p:set>
                                    <p:animEffect transition="in" filter="fade">
                                      <p:cBhvr>
                                        <p:cTn id="34"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p:cNvSpPr/>
          <p:nvPr/>
        </p:nvSpPr>
        <p:spPr bwMode="auto">
          <a:xfrm>
            <a:off x="482" y="1522482"/>
            <a:ext cx="2217597" cy="1351478"/>
          </a:xfrm>
          <a:prstGeom prst="rect">
            <a:avLst/>
          </a:prstGeom>
          <a:solidFill>
            <a:schemeClr val="accent5"/>
          </a:solidFill>
          <a:ln w="9525" cap="flat" cmpd="sng" algn="ctr">
            <a:noFill/>
            <a:prstDash val="solid"/>
            <a:headEnd type="none" w="med" len="med"/>
            <a:tailEnd type="none" w="med" len="med"/>
          </a:ln>
          <a:effectLst/>
        </p:spPr>
        <p:txBody>
          <a:bodyPr vert="horz" wrap="square" lIns="68567" tIns="34285" rIns="68567" bIns="34285" numCol="1" rtlCol="0" anchor="ctr" anchorCtr="0" compatLnSpc="1">
            <a:prstTxWarp prst="textNoShape">
              <a:avLst/>
            </a:prstTxWarp>
          </a:bodyPr>
          <a:lstStyle/>
          <a:p>
            <a:pPr algn="ctr" defTabSz="685481" fontAlgn="base">
              <a:spcBef>
                <a:spcPct val="0"/>
              </a:spcBef>
              <a:spcAft>
                <a:spcPct val="0"/>
              </a:spcAft>
              <a:defRPr/>
            </a:pPr>
            <a:endParaRPr lang="en-US" kern="0" dirty="0">
              <a:gradFill>
                <a:gsLst>
                  <a:gs pos="0">
                    <a:srgbClr val="FFFFFF"/>
                  </a:gs>
                  <a:gs pos="100000">
                    <a:srgbClr val="FFFFFF"/>
                  </a:gs>
                </a:gsLst>
                <a:lin ang="5400000" scaled="0"/>
              </a:gradFill>
              <a:latin typeface="Segoe UI Light"/>
            </a:endParaRPr>
          </a:p>
        </p:txBody>
      </p:sp>
      <p:sp>
        <p:nvSpPr>
          <p:cNvPr id="26" name="Rectangle 25"/>
          <p:cNvSpPr/>
          <p:nvPr/>
        </p:nvSpPr>
        <p:spPr bwMode="auto">
          <a:xfrm>
            <a:off x="2311960" y="1528618"/>
            <a:ext cx="2217597" cy="1351478"/>
          </a:xfrm>
          <a:prstGeom prst="rect">
            <a:avLst/>
          </a:prstGeom>
          <a:solidFill>
            <a:schemeClr val="accent5"/>
          </a:solidFill>
          <a:ln w="9525" cap="flat" cmpd="sng" algn="ctr">
            <a:noFill/>
            <a:prstDash val="solid"/>
            <a:headEnd type="none" w="med" len="med"/>
            <a:tailEnd type="none" w="med" len="med"/>
          </a:ln>
          <a:effectLst/>
        </p:spPr>
        <p:txBody>
          <a:bodyPr vert="horz" wrap="square" lIns="68567" tIns="34285" rIns="68567" bIns="34285" numCol="1" rtlCol="0" anchor="ctr" anchorCtr="0" compatLnSpc="1">
            <a:prstTxWarp prst="textNoShape">
              <a:avLst/>
            </a:prstTxWarp>
          </a:bodyPr>
          <a:lstStyle/>
          <a:p>
            <a:pPr algn="ctr" defTabSz="685481" fontAlgn="base">
              <a:spcBef>
                <a:spcPct val="0"/>
              </a:spcBef>
              <a:spcAft>
                <a:spcPct val="0"/>
              </a:spcAft>
              <a:defRPr/>
            </a:pPr>
            <a:endParaRPr lang="en-US" kern="0" dirty="0">
              <a:gradFill>
                <a:gsLst>
                  <a:gs pos="0">
                    <a:srgbClr val="FFFFFF"/>
                  </a:gs>
                  <a:gs pos="100000">
                    <a:srgbClr val="FFFFFF"/>
                  </a:gs>
                </a:gsLst>
                <a:lin ang="5400000" scaled="0"/>
              </a:gradFill>
              <a:latin typeface="Segoe UI Light"/>
            </a:endParaRPr>
          </a:p>
        </p:txBody>
      </p:sp>
      <p:sp>
        <p:nvSpPr>
          <p:cNvPr id="27" name="Rectangle 26"/>
          <p:cNvSpPr/>
          <p:nvPr/>
        </p:nvSpPr>
        <p:spPr bwMode="auto">
          <a:xfrm>
            <a:off x="4623435" y="1528618"/>
            <a:ext cx="2217597" cy="1351478"/>
          </a:xfrm>
          <a:prstGeom prst="rect">
            <a:avLst/>
          </a:prstGeom>
          <a:solidFill>
            <a:schemeClr val="accent5"/>
          </a:solidFill>
          <a:ln w="9525" cap="flat" cmpd="sng" algn="ctr">
            <a:noFill/>
            <a:prstDash val="solid"/>
            <a:headEnd type="none" w="med" len="med"/>
            <a:tailEnd type="none" w="med" len="med"/>
          </a:ln>
          <a:effectLst/>
        </p:spPr>
        <p:txBody>
          <a:bodyPr vert="horz" wrap="square" lIns="68567" tIns="34285" rIns="68567" bIns="34285" numCol="1" rtlCol="0" anchor="ctr" anchorCtr="0" compatLnSpc="1">
            <a:prstTxWarp prst="textNoShape">
              <a:avLst/>
            </a:prstTxWarp>
          </a:bodyPr>
          <a:lstStyle/>
          <a:p>
            <a:pPr algn="ctr" defTabSz="685481" fontAlgn="base">
              <a:spcBef>
                <a:spcPct val="0"/>
              </a:spcBef>
              <a:spcAft>
                <a:spcPct val="0"/>
              </a:spcAft>
              <a:defRPr/>
            </a:pPr>
            <a:endParaRPr lang="en-US" kern="0" dirty="0">
              <a:gradFill>
                <a:gsLst>
                  <a:gs pos="0">
                    <a:srgbClr val="FFFFFF"/>
                  </a:gs>
                  <a:gs pos="100000">
                    <a:srgbClr val="FFFFFF"/>
                  </a:gs>
                </a:gsLst>
                <a:lin ang="5400000" scaled="0"/>
              </a:gradFill>
              <a:latin typeface="Segoe UI Light"/>
            </a:endParaRPr>
          </a:p>
        </p:txBody>
      </p:sp>
      <p:sp>
        <p:nvSpPr>
          <p:cNvPr id="28" name="Rectangle 27"/>
          <p:cNvSpPr/>
          <p:nvPr/>
        </p:nvSpPr>
        <p:spPr bwMode="auto">
          <a:xfrm>
            <a:off x="6934912" y="1522482"/>
            <a:ext cx="2217597" cy="1351478"/>
          </a:xfrm>
          <a:prstGeom prst="rect">
            <a:avLst/>
          </a:prstGeom>
          <a:solidFill>
            <a:schemeClr val="accent5"/>
          </a:solidFill>
          <a:ln w="9525" cap="flat" cmpd="sng" algn="ctr">
            <a:noFill/>
            <a:prstDash val="solid"/>
            <a:headEnd type="none" w="med" len="med"/>
            <a:tailEnd type="none" w="med" len="med"/>
          </a:ln>
          <a:effectLst/>
        </p:spPr>
        <p:txBody>
          <a:bodyPr vert="horz" wrap="square" lIns="68567" tIns="34285" rIns="68567" bIns="34285" numCol="1" rtlCol="0" anchor="ctr" anchorCtr="0" compatLnSpc="1">
            <a:prstTxWarp prst="textNoShape">
              <a:avLst/>
            </a:prstTxWarp>
          </a:bodyPr>
          <a:lstStyle/>
          <a:p>
            <a:pPr algn="ctr" defTabSz="685481" fontAlgn="base">
              <a:spcBef>
                <a:spcPct val="0"/>
              </a:spcBef>
              <a:spcAft>
                <a:spcPct val="0"/>
              </a:spcAft>
              <a:defRPr/>
            </a:pPr>
            <a:endParaRPr lang="en-US" kern="0" dirty="0">
              <a:gradFill>
                <a:gsLst>
                  <a:gs pos="0">
                    <a:srgbClr val="FFFFFF"/>
                  </a:gs>
                  <a:gs pos="100000">
                    <a:srgbClr val="FFFFFF"/>
                  </a:gs>
                </a:gsLst>
                <a:lin ang="5400000" scaled="0"/>
              </a:gradFill>
              <a:latin typeface="Segoe UI Light"/>
            </a:endParaRPr>
          </a:p>
        </p:txBody>
      </p:sp>
      <p:sp>
        <p:nvSpPr>
          <p:cNvPr id="29" name="Rectangle 28"/>
          <p:cNvSpPr/>
          <p:nvPr/>
        </p:nvSpPr>
        <p:spPr>
          <a:xfrm>
            <a:off x="482" y="1526028"/>
            <a:ext cx="2217597" cy="473183"/>
          </a:xfrm>
          <a:prstGeom prst="rect">
            <a:avLst/>
          </a:prstGeom>
        </p:spPr>
        <p:txBody>
          <a:bodyPr wrap="square" lIns="57133" tIns="28566" rIns="57133" bIns="28566">
            <a:spAutoFit/>
          </a:bodyPr>
          <a:lstStyle/>
          <a:p>
            <a:pPr algn="ctr" defTabSz="685862">
              <a:defRPr/>
            </a:pPr>
            <a:r>
              <a:rPr lang="en-US" sz="2700" kern="0" spc="-75" dirty="0">
                <a:solidFill>
                  <a:srgbClr val="FFFFFF"/>
                </a:solidFill>
                <a:latin typeface="Segoe UI Light" pitchFamily="34" charset="0"/>
              </a:rPr>
              <a:t>Discover</a:t>
            </a:r>
          </a:p>
        </p:txBody>
      </p:sp>
      <p:sp>
        <p:nvSpPr>
          <p:cNvPr id="30" name="Rectangle 29"/>
          <p:cNvSpPr/>
          <p:nvPr/>
        </p:nvSpPr>
        <p:spPr>
          <a:xfrm>
            <a:off x="2633099" y="1525736"/>
            <a:ext cx="1575316" cy="473183"/>
          </a:xfrm>
          <a:prstGeom prst="rect">
            <a:avLst/>
          </a:prstGeom>
        </p:spPr>
        <p:txBody>
          <a:bodyPr wrap="none" lIns="57133" tIns="28566" rIns="57133" bIns="28566">
            <a:spAutoFit/>
          </a:bodyPr>
          <a:lstStyle/>
          <a:p>
            <a:pPr algn="ctr" defTabSz="685862">
              <a:defRPr/>
            </a:pPr>
            <a:r>
              <a:rPr lang="en-US" sz="2700" kern="0" spc="-75" dirty="0">
                <a:solidFill>
                  <a:srgbClr val="FFFFFF"/>
                </a:solidFill>
                <a:latin typeface="Segoe UI Light" pitchFamily="34" charset="0"/>
              </a:rPr>
              <a:t>Rationalize</a:t>
            </a:r>
          </a:p>
        </p:txBody>
      </p:sp>
      <p:sp>
        <p:nvSpPr>
          <p:cNvPr id="31" name="Rectangle 30"/>
          <p:cNvSpPr/>
          <p:nvPr/>
        </p:nvSpPr>
        <p:spPr>
          <a:xfrm>
            <a:off x="4948184" y="1526028"/>
            <a:ext cx="1568100" cy="473183"/>
          </a:xfrm>
          <a:prstGeom prst="rect">
            <a:avLst/>
          </a:prstGeom>
        </p:spPr>
        <p:txBody>
          <a:bodyPr wrap="none" lIns="57133" tIns="28566" rIns="57133" bIns="28566">
            <a:spAutoFit/>
          </a:bodyPr>
          <a:lstStyle/>
          <a:p>
            <a:pPr algn="ctr" defTabSz="685862">
              <a:defRPr/>
            </a:pPr>
            <a:r>
              <a:rPr lang="en-US" sz="2700" kern="0" spc="-75" dirty="0">
                <a:solidFill>
                  <a:srgbClr val="FFFFFF"/>
                </a:solidFill>
                <a:latin typeface="Segoe UI Light" pitchFamily="34" charset="0"/>
              </a:rPr>
              <a:t>Remediate</a:t>
            </a:r>
          </a:p>
        </p:txBody>
      </p:sp>
      <p:sp>
        <p:nvSpPr>
          <p:cNvPr id="32" name="Rectangle 31"/>
          <p:cNvSpPr/>
          <p:nvPr/>
        </p:nvSpPr>
        <p:spPr>
          <a:xfrm>
            <a:off x="17779" y="2912779"/>
            <a:ext cx="2252915" cy="519349"/>
          </a:xfrm>
          <a:prstGeom prst="rect">
            <a:avLst/>
          </a:prstGeom>
        </p:spPr>
        <p:txBody>
          <a:bodyPr wrap="square" lIns="57133" tIns="28566" rIns="57133" bIns="28566">
            <a:spAutoFit/>
          </a:bodyPr>
          <a:lstStyle/>
          <a:p>
            <a:pPr defTabSz="685862">
              <a:defRPr/>
            </a:pPr>
            <a:r>
              <a:rPr lang="en-US" sz="1500" kern="0" dirty="0">
                <a:solidFill>
                  <a:srgbClr val="FFFFFF"/>
                </a:solidFill>
              </a:rPr>
              <a:t>Business collaboration</a:t>
            </a:r>
          </a:p>
          <a:p>
            <a:pPr defTabSz="685862">
              <a:defRPr/>
            </a:pPr>
            <a:r>
              <a:rPr lang="en-US" sz="1500" kern="0" dirty="0">
                <a:solidFill>
                  <a:srgbClr val="FFFFFF"/>
                </a:solidFill>
              </a:rPr>
              <a:t>Don’t over discover</a:t>
            </a:r>
          </a:p>
        </p:txBody>
      </p:sp>
      <p:sp>
        <p:nvSpPr>
          <p:cNvPr id="33" name="Rectangle 32"/>
          <p:cNvSpPr/>
          <p:nvPr/>
        </p:nvSpPr>
        <p:spPr>
          <a:xfrm>
            <a:off x="2311960" y="2912779"/>
            <a:ext cx="2217597" cy="519349"/>
          </a:xfrm>
          <a:prstGeom prst="rect">
            <a:avLst/>
          </a:prstGeom>
        </p:spPr>
        <p:txBody>
          <a:bodyPr wrap="square" lIns="57133" tIns="28566" rIns="57133" bIns="28566">
            <a:spAutoFit/>
          </a:bodyPr>
          <a:lstStyle/>
          <a:p>
            <a:pPr defTabSz="685862">
              <a:defRPr/>
            </a:pPr>
            <a:r>
              <a:rPr lang="en-US" sz="1500" kern="0" dirty="0">
                <a:solidFill>
                  <a:srgbClr val="FFFFFF"/>
                </a:solidFill>
              </a:rPr>
              <a:t>Business Impact</a:t>
            </a:r>
          </a:p>
          <a:p>
            <a:pPr defTabSz="685862">
              <a:defRPr/>
            </a:pPr>
            <a:r>
              <a:rPr lang="en-US" sz="1500" kern="0" dirty="0">
                <a:solidFill>
                  <a:srgbClr val="FFFFFF"/>
                </a:solidFill>
              </a:rPr>
              <a:t>Large Scale</a:t>
            </a:r>
          </a:p>
        </p:txBody>
      </p:sp>
      <p:sp>
        <p:nvSpPr>
          <p:cNvPr id="34" name="Rectangle 33"/>
          <p:cNvSpPr/>
          <p:nvPr/>
        </p:nvSpPr>
        <p:spPr>
          <a:xfrm>
            <a:off x="4580510" y="2912779"/>
            <a:ext cx="2252240" cy="519349"/>
          </a:xfrm>
          <a:prstGeom prst="rect">
            <a:avLst/>
          </a:prstGeom>
        </p:spPr>
        <p:txBody>
          <a:bodyPr wrap="square" lIns="57133" tIns="28566" rIns="57133" bIns="28566">
            <a:spAutoFit/>
          </a:bodyPr>
          <a:lstStyle/>
          <a:p>
            <a:pPr defTabSz="685862">
              <a:defRPr/>
            </a:pPr>
            <a:r>
              <a:rPr lang="en-US" sz="1500" kern="0" dirty="0">
                <a:solidFill>
                  <a:srgbClr val="FFFFFF"/>
                </a:solidFill>
              </a:rPr>
              <a:t>Day 1 requirements</a:t>
            </a:r>
          </a:p>
          <a:p>
            <a:pPr defTabSz="685862">
              <a:defRPr/>
            </a:pPr>
            <a:r>
              <a:rPr lang="en-US" sz="1500" kern="0" dirty="0">
                <a:solidFill>
                  <a:srgbClr val="FFFFFF"/>
                </a:solidFill>
              </a:rPr>
              <a:t>On demand</a:t>
            </a:r>
          </a:p>
        </p:txBody>
      </p:sp>
      <p:sp>
        <p:nvSpPr>
          <p:cNvPr id="35" name="Rectangle 34"/>
          <p:cNvSpPr/>
          <p:nvPr/>
        </p:nvSpPr>
        <p:spPr>
          <a:xfrm>
            <a:off x="7423210" y="1526028"/>
            <a:ext cx="1241002" cy="473183"/>
          </a:xfrm>
          <a:prstGeom prst="rect">
            <a:avLst/>
          </a:prstGeom>
        </p:spPr>
        <p:txBody>
          <a:bodyPr wrap="none" lIns="57133" tIns="28566" rIns="57133" bIns="28566">
            <a:spAutoFit/>
          </a:bodyPr>
          <a:lstStyle/>
          <a:p>
            <a:pPr algn="ctr" defTabSz="685862">
              <a:defRPr/>
            </a:pPr>
            <a:r>
              <a:rPr lang="en-US" sz="2700" kern="0" spc="-75" dirty="0">
                <a:solidFill>
                  <a:srgbClr val="FFFFFF"/>
                </a:solidFill>
                <a:latin typeface="Segoe UI Light" pitchFamily="34" charset="0"/>
              </a:rPr>
              <a:t>Manage</a:t>
            </a:r>
          </a:p>
        </p:txBody>
      </p:sp>
      <p:sp>
        <p:nvSpPr>
          <p:cNvPr id="39" name="Rectangle 38"/>
          <p:cNvSpPr/>
          <p:nvPr/>
        </p:nvSpPr>
        <p:spPr>
          <a:xfrm>
            <a:off x="6934912" y="2912779"/>
            <a:ext cx="2217596" cy="519349"/>
          </a:xfrm>
          <a:prstGeom prst="rect">
            <a:avLst/>
          </a:prstGeom>
        </p:spPr>
        <p:txBody>
          <a:bodyPr wrap="square" lIns="57133" tIns="28566" rIns="57133" bIns="28566">
            <a:spAutoFit/>
          </a:bodyPr>
          <a:lstStyle/>
          <a:p>
            <a:pPr defTabSz="685862">
              <a:defRPr/>
            </a:pPr>
            <a:r>
              <a:rPr lang="en-US" sz="1500" kern="0" dirty="0">
                <a:solidFill>
                  <a:srgbClr val="FFFFFF"/>
                </a:solidFill>
              </a:rPr>
              <a:t>Obtain value</a:t>
            </a:r>
          </a:p>
          <a:p>
            <a:pPr defTabSz="685862">
              <a:defRPr/>
            </a:pPr>
            <a:r>
              <a:rPr lang="en-US" sz="1500" kern="0" dirty="0">
                <a:solidFill>
                  <a:srgbClr val="FFFFFF"/>
                </a:solidFill>
              </a:rPr>
              <a:t>Future Planning</a:t>
            </a:r>
          </a:p>
        </p:txBody>
      </p:sp>
      <p:pic>
        <p:nvPicPr>
          <p:cNvPr id="40" name="Picture 2" descr="http://upload.wikimedia.org/wikipedia/commons/thumb/5/55/Magnifying_glass_icon.svg/489px-Magnifying_glass_icon.svg.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815284" y="2087135"/>
            <a:ext cx="589287" cy="595313"/>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1" descr="C:\Documents and Settings\Paul\My Documents\My Pictures\white brain dud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01876" y="2087134"/>
            <a:ext cx="849313" cy="595313"/>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14" descr="C:\Documents and Settings\Paul\My Documents\My Pictures\RX bowl white.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20555" y="2048418"/>
            <a:ext cx="611810" cy="631829"/>
          </a:xfrm>
          <a:prstGeom prst="rect">
            <a:avLst/>
          </a:prstGeom>
          <a:noFill/>
          <a:extLst>
            <a:ext uri="{909E8E84-426E-40DD-AFC4-6F175D3DCCD1}">
              <a14:hiddenFill xmlns:a14="http://schemas.microsoft.com/office/drawing/2010/main">
                <a:solidFill>
                  <a:srgbClr val="FFFFFF"/>
                </a:solidFill>
              </a14:hiddenFill>
            </a:ext>
          </a:extLst>
        </p:spPr>
      </p:pic>
      <p:sp>
        <p:nvSpPr>
          <p:cNvPr id="43" name="Freeform 88"/>
          <p:cNvSpPr>
            <a:spLocks noEditPoints="1"/>
          </p:cNvSpPr>
          <p:nvPr/>
        </p:nvSpPr>
        <p:spPr bwMode="auto">
          <a:xfrm>
            <a:off x="7640128" y="2144663"/>
            <a:ext cx="720420" cy="575843"/>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extLst/>
        </p:spPr>
        <p:txBody>
          <a:bodyPr vert="horz" wrap="square" lIns="57140" tIns="28570" rIns="57140" bIns="28570" numCol="1" anchor="t" anchorCtr="0" compatLnSpc="1">
            <a:prstTxWarp prst="textNoShape">
              <a:avLst/>
            </a:prstTxWarp>
          </a:bodyPr>
          <a:lstStyle/>
          <a:p>
            <a:pPr defTabSz="571392">
              <a:defRPr/>
            </a:pPr>
            <a:endParaRPr lang="en-US" sz="1100" kern="0" dirty="0">
              <a:solidFill>
                <a:sysClr val="windowText" lastClr="000000"/>
              </a:solidFill>
            </a:endParaRPr>
          </a:p>
        </p:txBody>
      </p:sp>
      <p:sp>
        <p:nvSpPr>
          <p:cNvPr id="44" name="TextBox 43"/>
          <p:cNvSpPr txBox="1"/>
          <p:nvPr/>
        </p:nvSpPr>
        <p:spPr>
          <a:xfrm>
            <a:off x="7809899" y="2231491"/>
            <a:ext cx="380877" cy="384721"/>
          </a:xfrm>
          <a:prstGeom prst="rect">
            <a:avLst/>
          </a:prstGeom>
          <a:noFill/>
        </p:spPr>
        <p:txBody>
          <a:bodyPr wrap="square" lIns="0" tIns="0" rIns="0" bIns="0" rtlCol="0">
            <a:spAutoFit/>
          </a:bodyPr>
          <a:lstStyle/>
          <a:p>
            <a:pPr algn="ctr" defTabSz="685862">
              <a:defRPr/>
            </a:pPr>
            <a:r>
              <a:rPr lang="en-US" sz="2500" kern="0" dirty="0">
                <a:solidFill>
                  <a:srgbClr val="FFFFFF"/>
                </a:solidFill>
                <a:sym typeface="Wingdings"/>
              </a:rPr>
              <a:t></a:t>
            </a:r>
            <a:endParaRPr lang="en-US" sz="2500" kern="0" dirty="0">
              <a:solidFill>
                <a:srgbClr val="FFFFFF"/>
              </a:solidFill>
            </a:endParaRPr>
          </a:p>
        </p:txBody>
      </p:sp>
      <p:sp>
        <p:nvSpPr>
          <p:cNvPr id="45" name="Title 1"/>
          <p:cNvSpPr>
            <a:spLocks noGrp="1"/>
          </p:cNvSpPr>
          <p:nvPr>
            <p:ph type="title"/>
          </p:nvPr>
        </p:nvSpPr>
        <p:spPr>
          <a:xfrm>
            <a:off x="389436" y="171451"/>
            <a:ext cx="8363938" cy="457049"/>
          </a:xfrm>
        </p:spPr>
        <p:txBody>
          <a:bodyPr/>
          <a:lstStyle/>
          <a:p>
            <a:r>
              <a:rPr lang="en-US" dirty="0" smtClean="0">
                <a:solidFill>
                  <a:schemeClr val="accent3"/>
                </a:solidFill>
              </a:rPr>
              <a:t>Modern </a:t>
            </a:r>
            <a:r>
              <a:rPr lang="en-US" dirty="0"/>
              <a:t>Office </a:t>
            </a:r>
            <a:r>
              <a:rPr lang="en-US" dirty="0" smtClean="0"/>
              <a:t>Compatibility Process</a:t>
            </a:r>
            <a:endParaRPr lang="en-US" sz="2700" dirty="0">
              <a:gradFill flip="none" rotWithShape="1">
                <a:gsLst>
                  <a:gs pos="5417">
                    <a:srgbClr val="C1F7AA"/>
                  </a:gs>
                  <a:gs pos="98000">
                    <a:srgbClr val="C1F7AA"/>
                  </a:gs>
                </a:gsLst>
                <a:lin ang="5400000" scaled="0"/>
                <a:tileRect/>
              </a:gradFill>
            </a:endParaRPr>
          </a:p>
        </p:txBody>
      </p:sp>
      <p:sp useBgFill="1">
        <p:nvSpPr>
          <p:cNvPr id="3" name="Isosceles Triangle 2"/>
          <p:cNvSpPr/>
          <p:nvPr/>
        </p:nvSpPr>
        <p:spPr bwMode="auto">
          <a:xfrm rot="5400000">
            <a:off x="2100928" y="2136481"/>
            <a:ext cx="560828" cy="213210"/>
          </a:xfrm>
          <a:prstGeom prst="triangl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sp useBgFill="1">
        <p:nvSpPr>
          <p:cNvPr id="46" name="Isosceles Triangle 45"/>
          <p:cNvSpPr/>
          <p:nvPr/>
        </p:nvSpPr>
        <p:spPr bwMode="auto">
          <a:xfrm rot="5400000">
            <a:off x="4411196" y="2136479"/>
            <a:ext cx="560828" cy="213210"/>
          </a:xfrm>
          <a:prstGeom prst="triangl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sp useBgFill="1">
        <p:nvSpPr>
          <p:cNvPr id="47" name="Isosceles Triangle 46"/>
          <p:cNvSpPr/>
          <p:nvPr/>
        </p:nvSpPr>
        <p:spPr bwMode="auto">
          <a:xfrm rot="5400000">
            <a:off x="6724024" y="2136481"/>
            <a:ext cx="560828" cy="213210"/>
          </a:xfrm>
          <a:prstGeom prst="triangl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pic>
        <p:nvPicPr>
          <p:cNvPr id="24" name="Picture 2" descr="C:\Users\Jordan\Desktop\TechEd_2012\TechEd-logo.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black">
          <a:xfrm>
            <a:off x="386962" y="4619593"/>
            <a:ext cx="698151" cy="322326"/>
          </a:xfrm>
          <a:prstGeom prst="rect">
            <a:avLst/>
          </a:prstGeom>
          <a:noFill/>
          <a:extLst>
            <a:ext uri="{909E8E84-426E-40DD-AFC4-6F175D3DCCD1}">
              <a14:hiddenFill xmlns:a14="http://schemas.microsoft.com/office/drawing/2010/main">
                <a:solidFill>
                  <a:srgbClr val="FFFFFF"/>
                </a:solidFill>
              </a14:hiddenFill>
            </a:ext>
          </a:extLst>
        </p:spPr>
      </p:pic>
      <p:sp>
        <p:nvSpPr>
          <p:cNvPr id="36"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7"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8"/>
              </a:rPr>
              <a:t>www.rapidbbs.cn</a:t>
            </a:r>
            <a:endParaRPr lang="zh-CN" altLang="en-US" sz="1200" b="0">
              <a:latin typeface="Arial" charset="0"/>
              <a:ea typeface="ＭＳ Ｐゴシック" pitchFamily="34" charset="-128"/>
            </a:endParaRPr>
          </a:p>
        </p:txBody>
      </p:sp>
      <p:pic>
        <p:nvPicPr>
          <p:cNvPr id="38" name="Picture 2">
            <a:hlinkClick r:id="rId8"/>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58290705"/>
      </p:ext>
    </p:extLst>
  </p:cSld>
  <p:clrMapOvr>
    <a:masterClrMapping/>
  </p:clrMapOvr>
  <p:transition spd="slow">
    <p:push/>
  </p:transition>
  <p:timing>
    <p:tnLst>
      <p:par>
        <p:cTn id="1" dur="indefinite" restart="never" nodeType="tmRoot"/>
      </p:par>
    </p:tnLst>
  </p:timing>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483" y="1522483"/>
            <a:ext cx="9152026" cy="1357613"/>
            <a:chOff x="-10699" y="1476746"/>
            <a:chExt cx="12138579" cy="1962171"/>
          </a:xfrm>
        </p:grpSpPr>
        <p:sp>
          <p:nvSpPr>
            <p:cNvPr id="25" name="Rectangle 24"/>
            <p:cNvSpPr/>
            <p:nvPr/>
          </p:nvSpPr>
          <p:spPr bwMode="auto">
            <a:xfrm>
              <a:off x="-10699" y="1476746"/>
              <a:ext cx="2941259" cy="1953303"/>
            </a:xfrm>
            <a:prstGeom prst="rect">
              <a:avLst/>
            </a:prstGeom>
            <a:solidFill>
              <a:schemeClr val="accent5"/>
            </a:solidFill>
            <a:ln w="9525" cap="flat" cmpd="sng" algn="ctr">
              <a:noFill/>
              <a:prstDash val="solid"/>
              <a:headEnd type="none" w="med" len="med"/>
              <a:tailEnd type="none" w="med" len="med"/>
            </a:ln>
            <a:effectLst/>
          </p:spPr>
          <p:txBody>
            <a:bodyPr vert="horz" wrap="square" lIns="91414" tIns="45708" rIns="91414" bIns="45708" numCol="1" rtlCol="0" anchor="ctr" anchorCtr="0" compatLnSpc="1">
              <a:prstTxWarp prst="textNoShape">
                <a:avLst/>
              </a:prstTxWarp>
            </a:bodyPr>
            <a:lstStyle/>
            <a:p>
              <a:pPr algn="ctr" defTabSz="685481" fontAlgn="base">
                <a:spcBef>
                  <a:spcPct val="0"/>
                </a:spcBef>
                <a:spcAft>
                  <a:spcPct val="0"/>
                </a:spcAft>
                <a:defRPr/>
              </a:pPr>
              <a:endParaRPr lang="en-US" kern="0" dirty="0">
                <a:gradFill>
                  <a:gsLst>
                    <a:gs pos="0">
                      <a:srgbClr val="FFFFFF"/>
                    </a:gs>
                    <a:gs pos="100000">
                      <a:srgbClr val="FFFFFF"/>
                    </a:gs>
                  </a:gsLst>
                  <a:lin ang="5400000" scaled="0"/>
                </a:gradFill>
                <a:latin typeface="Segoe UI Light"/>
              </a:endParaRPr>
            </a:p>
          </p:txBody>
        </p:sp>
        <p:sp>
          <p:nvSpPr>
            <p:cNvPr id="26" name="Rectangle 25"/>
            <p:cNvSpPr/>
            <p:nvPr/>
          </p:nvSpPr>
          <p:spPr bwMode="auto">
            <a:xfrm>
              <a:off x="3055074" y="1485614"/>
              <a:ext cx="2941259" cy="1953303"/>
            </a:xfrm>
            <a:prstGeom prst="rect">
              <a:avLst/>
            </a:prstGeom>
            <a:solidFill>
              <a:schemeClr val="accent5"/>
            </a:solidFill>
            <a:ln w="9525" cap="flat" cmpd="sng" algn="ctr">
              <a:noFill/>
              <a:prstDash val="solid"/>
              <a:headEnd type="none" w="med" len="med"/>
              <a:tailEnd type="none" w="med" len="med"/>
            </a:ln>
            <a:effectLst/>
          </p:spPr>
          <p:txBody>
            <a:bodyPr vert="horz" wrap="square" lIns="91414" tIns="45708" rIns="91414" bIns="45708" numCol="1" rtlCol="0" anchor="ctr" anchorCtr="0" compatLnSpc="1">
              <a:prstTxWarp prst="textNoShape">
                <a:avLst/>
              </a:prstTxWarp>
            </a:bodyPr>
            <a:lstStyle/>
            <a:p>
              <a:pPr algn="ctr" defTabSz="685481" fontAlgn="base">
                <a:spcBef>
                  <a:spcPct val="0"/>
                </a:spcBef>
                <a:spcAft>
                  <a:spcPct val="0"/>
                </a:spcAft>
                <a:defRPr/>
              </a:pPr>
              <a:endParaRPr lang="en-US" kern="0" dirty="0">
                <a:gradFill>
                  <a:gsLst>
                    <a:gs pos="0">
                      <a:srgbClr val="FFFFFF"/>
                    </a:gs>
                    <a:gs pos="100000">
                      <a:srgbClr val="FFFFFF"/>
                    </a:gs>
                  </a:gsLst>
                  <a:lin ang="5400000" scaled="0"/>
                </a:gradFill>
                <a:latin typeface="Segoe UI Light"/>
              </a:endParaRPr>
            </a:p>
          </p:txBody>
        </p:sp>
        <p:sp>
          <p:nvSpPr>
            <p:cNvPr id="27" name="Rectangle 26"/>
            <p:cNvSpPr/>
            <p:nvPr/>
          </p:nvSpPr>
          <p:spPr bwMode="auto">
            <a:xfrm>
              <a:off x="6120848" y="1485614"/>
              <a:ext cx="2941259" cy="1953303"/>
            </a:xfrm>
            <a:prstGeom prst="rect">
              <a:avLst/>
            </a:prstGeom>
            <a:solidFill>
              <a:schemeClr val="accent5"/>
            </a:solidFill>
            <a:ln w="9525" cap="flat" cmpd="sng" algn="ctr">
              <a:noFill/>
              <a:prstDash val="solid"/>
              <a:headEnd type="none" w="med" len="med"/>
              <a:tailEnd type="none" w="med" len="med"/>
            </a:ln>
            <a:effectLst/>
          </p:spPr>
          <p:txBody>
            <a:bodyPr vert="horz" wrap="square" lIns="91414" tIns="45708" rIns="91414" bIns="45708" numCol="1" rtlCol="0" anchor="ctr" anchorCtr="0" compatLnSpc="1">
              <a:prstTxWarp prst="textNoShape">
                <a:avLst/>
              </a:prstTxWarp>
            </a:bodyPr>
            <a:lstStyle/>
            <a:p>
              <a:pPr algn="ctr" defTabSz="685481" fontAlgn="base">
                <a:spcBef>
                  <a:spcPct val="0"/>
                </a:spcBef>
                <a:spcAft>
                  <a:spcPct val="0"/>
                </a:spcAft>
                <a:defRPr/>
              </a:pPr>
              <a:endParaRPr lang="en-US" kern="0" dirty="0">
                <a:gradFill>
                  <a:gsLst>
                    <a:gs pos="0">
                      <a:srgbClr val="FFFFFF"/>
                    </a:gs>
                    <a:gs pos="100000">
                      <a:srgbClr val="FFFFFF"/>
                    </a:gs>
                  </a:gsLst>
                  <a:lin ang="5400000" scaled="0"/>
                </a:gradFill>
                <a:latin typeface="Segoe UI Light"/>
              </a:endParaRPr>
            </a:p>
          </p:txBody>
        </p:sp>
        <p:sp>
          <p:nvSpPr>
            <p:cNvPr id="28" name="Rectangle 27"/>
            <p:cNvSpPr/>
            <p:nvPr/>
          </p:nvSpPr>
          <p:spPr bwMode="auto">
            <a:xfrm>
              <a:off x="9186621" y="1476746"/>
              <a:ext cx="2941259" cy="1953303"/>
            </a:xfrm>
            <a:prstGeom prst="rect">
              <a:avLst/>
            </a:prstGeom>
            <a:solidFill>
              <a:schemeClr val="accent5"/>
            </a:solidFill>
            <a:ln w="9525" cap="flat" cmpd="sng" algn="ctr">
              <a:noFill/>
              <a:prstDash val="solid"/>
              <a:headEnd type="none" w="med" len="med"/>
              <a:tailEnd type="none" w="med" len="med"/>
            </a:ln>
            <a:effectLst/>
          </p:spPr>
          <p:txBody>
            <a:bodyPr vert="horz" wrap="square" lIns="91414" tIns="45708" rIns="91414" bIns="45708" numCol="1" rtlCol="0" anchor="ctr" anchorCtr="0" compatLnSpc="1">
              <a:prstTxWarp prst="textNoShape">
                <a:avLst/>
              </a:prstTxWarp>
            </a:bodyPr>
            <a:lstStyle/>
            <a:p>
              <a:pPr algn="ctr" defTabSz="685481" fontAlgn="base">
                <a:spcBef>
                  <a:spcPct val="0"/>
                </a:spcBef>
                <a:spcAft>
                  <a:spcPct val="0"/>
                </a:spcAft>
                <a:defRPr/>
              </a:pPr>
              <a:endParaRPr lang="en-US" kern="0" dirty="0">
                <a:gradFill>
                  <a:gsLst>
                    <a:gs pos="0">
                      <a:srgbClr val="FFFFFF"/>
                    </a:gs>
                    <a:gs pos="100000">
                      <a:srgbClr val="FFFFFF"/>
                    </a:gs>
                  </a:gsLst>
                  <a:lin ang="5400000" scaled="0"/>
                </a:gradFill>
                <a:latin typeface="Segoe UI Light"/>
              </a:endParaRPr>
            </a:p>
          </p:txBody>
        </p:sp>
      </p:grpSp>
      <p:sp>
        <p:nvSpPr>
          <p:cNvPr id="29" name="Rectangle 28"/>
          <p:cNvSpPr/>
          <p:nvPr/>
        </p:nvSpPr>
        <p:spPr>
          <a:xfrm>
            <a:off x="482" y="1526028"/>
            <a:ext cx="2217597" cy="473183"/>
          </a:xfrm>
          <a:prstGeom prst="rect">
            <a:avLst/>
          </a:prstGeom>
        </p:spPr>
        <p:txBody>
          <a:bodyPr wrap="square" lIns="57133" tIns="28566" rIns="57133" bIns="28566">
            <a:spAutoFit/>
          </a:bodyPr>
          <a:lstStyle/>
          <a:p>
            <a:pPr algn="ctr" defTabSz="685862">
              <a:defRPr/>
            </a:pPr>
            <a:r>
              <a:rPr lang="en-US" sz="2700" kern="0" spc="-75" dirty="0">
                <a:solidFill>
                  <a:srgbClr val="FFFFFF"/>
                </a:solidFill>
                <a:latin typeface="Segoe UI Light" pitchFamily="34" charset="0"/>
              </a:rPr>
              <a:t>Goal</a:t>
            </a:r>
          </a:p>
        </p:txBody>
      </p:sp>
      <p:sp>
        <p:nvSpPr>
          <p:cNvPr id="30" name="Rectangle 29"/>
          <p:cNvSpPr/>
          <p:nvPr/>
        </p:nvSpPr>
        <p:spPr>
          <a:xfrm>
            <a:off x="3106309" y="1525736"/>
            <a:ext cx="628896" cy="473183"/>
          </a:xfrm>
          <a:prstGeom prst="rect">
            <a:avLst/>
          </a:prstGeom>
        </p:spPr>
        <p:txBody>
          <a:bodyPr wrap="none" lIns="57133" tIns="28566" rIns="57133" bIns="28566">
            <a:spAutoFit/>
          </a:bodyPr>
          <a:lstStyle/>
          <a:p>
            <a:pPr algn="ctr" defTabSz="685862">
              <a:defRPr/>
            </a:pPr>
            <a:r>
              <a:rPr lang="en-US" sz="2700" kern="0" spc="-75" dirty="0">
                <a:solidFill>
                  <a:srgbClr val="FFFFFF"/>
                </a:solidFill>
                <a:latin typeface="Segoe UI Light" pitchFamily="34" charset="0"/>
              </a:rPr>
              <a:t>Risk</a:t>
            </a:r>
          </a:p>
        </p:txBody>
      </p:sp>
      <p:sp>
        <p:nvSpPr>
          <p:cNvPr id="31" name="Rectangle 30"/>
          <p:cNvSpPr/>
          <p:nvPr/>
        </p:nvSpPr>
        <p:spPr>
          <a:xfrm>
            <a:off x="4997491" y="1526028"/>
            <a:ext cx="1469490" cy="473183"/>
          </a:xfrm>
          <a:prstGeom prst="rect">
            <a:avLst/>
          </a:prstGeom>
        </p:spPr>
        <p:txBody>
          <a:bodyPr wrap="none" lIns="57133" tIns="28566" rIns="57133" bIns="28566">
            <a:spAutoFit/>
          </a:bodyPr>
          <a:lstStyle/>
          <a:p>
            <a:pPr algn="ctr" defTabSz="685862">
              <a:defRPr/>
            </a:pPr>
            <a:r>
              <a:rPr lang="en-US" sz="2700" kern="0" spc="-75" dirty="0">
                <a:solidFill>
                  <a:srgbClr val="FFFFFF"/>
                </a:solidFill>
                <a:latin typeface="Segoe UI Light" pitchFamily="34" charset="0"/>
              </a:rPr>
              <a:t>Challenge</a:t>
            </a:r>
          </a:p>
        </p:txBody>
      </p:sp>
      <p:sp>
        <p:nvSpPr>
          <p:cNvPr id="32" name="Rectangle 31"/>
          <p:cNvSpPr/>
          <p:nvPr/>
        </p:nvSpPr>
        <p:spPr>
          <a:xfrm>
            <a:off x="17779" y="2912779"/>
            <a:ext cx="2252915" cy="519349"/>
          </a:xfrm>
          <a:prstGeom prst="rect">
            <a:avLst/>
          </a:prstGeom>
        </p:spPr>
        <p:txBody>
          <a:bodyPr wrap="square" lIns="57133" tIns="28566" rIns="57133" bIns="28566">
            <a:spAutoFit/>
          </a:bodyPr>
          <a:lstStyle/>
          <a:p>
            <a:pPr defTabSz="685862">
              <a:defRPr/>
            </a:pPr>
            <a:r>
              <a:rPr lang="en-US" sz="1500" kern="0" dirty="0">
                <a:solidFill>
                  <a:srgbClr val="FFFFFF"/>
                </a:solidFill>
              </a:rPr>
              <a:t>Automate: </a:t>
            </a:r>
            <a:r>
              <a:rPr lang="en-US" sz="1500" kern="0" dirty="0">
                <a:solidFill>
                  <a:srgbClr val="F6AE1E"/>
                </a:solidFill>
              </a:rPr>
              <a:t>“What do I need?”</a:t>
            </a:r>
          </a:p>
        </p:txBody>
      </p:sp>
      <p:sp>
        <p:nvSpPr>
          <p:cNvPr id="33" name="Rectangle 32"/>
          <p:cNvSpPr/>
          <p:nvPr/>
        </p:nvSpPr>
        <p:spPr>
          <a:xfrm>
            <a:off x="2311960" y="2912779"/>
            <a:ext cx="2217597" cy="981014"/>
          </a:xfrm>
          <a:prstGeom prst="rect">
            <a:avLst/>
          </a:prstGeom>
        </p:spPr>
        <p:txBody>
          <a:bodyPr wrap="square" lIns="57133" tIns="28566" rIns="57133" bIns="28566">
            <a:spAutoFit/>
          </a:bodyPr>
          <a:lstStyle/>
          <a:p>
            <a:pPr defTabSz="685862">
              <a:defRPr/>
            </a:pPr>
            <a:r>
              <a:rPr lang="en-US" sz="1500" kern="0" dirty="0">
                <a:solidFill>
                  <a:srgbClr val="FFFFFF"/>
                </a:solidFill>
              </a:rPr>
              <a:t>Using technical criteria to derive business value adds “</a:t>
            </a:r>
            <a:r>
              <a:rPr lang="en-US" sz="1500" kern="0" dirty="0">
                <a:solidFill>
                  <a:srgbClr val="F6AE1E"/>
                </a:solidFill>
              </a:rPr>
              <a:t>degrees of separation</a:t>
            </a:r>
            <a:r>
              <a:rPr lang="en-US" sz="1500" kern="0" dirty="0">
                <a:solidFill>
                  <a:srgbClr val="FFFFFF"/>
                </a:solidFill>
              </a:rPr>
              <a:t>”</a:t>
            </a:r>
          </a:p>
        </p:txBody>
      </p:sp>
      <p:sp>
        <p:nvSpPr>
          <p:cNvPr id="34" name="Rectangle 33"/>
          <p:cNvSpPr/>
          <p:nvPr/>
        </p:nvSpPr>
        <p:spPr>
          <a:xfrm>
            <a:off x="4580510" y="2912779"/>
            <a:ext cx="2252240" cy="750182"/>
          </a:xfrm>
          <a:prstGeom prst="rect">
            <a:avLst/>
          </a:prstGeom>
        </p:spPr>
        <p:txBody>
          <a:bodyPr wrap="square" lIns="57133" tIns="28566" rIns="57133" bIns="28566">
            <a:spAutoFit/>
          </a:bodyPr>
          <a:lstStyle/>
          <a:p>
            <a:pPr defTabSz="685862">
              <a:defRPr/>
            </a:pPr>
            <a:r>
              <a:rPr lang="en-US" sz="1500" kern="0" dirty="0">
                <a:solidFill>
                  <a:srgbClr val="FFFFFF"/>
                </a:solidFill>
              </a:rPr>
              <a:t>Using any filtering introduces risk of </a:t>
            </a:r>
            <a:r>
              <a:rPr lang="en-US" sz="1500" kern="0" dirty="0">
                <a:solidFill>
                  <a:srgbClr val="F6AE1E"/>
                </a:solidFill>
              </a:rPr>
              <a:t>False positives/negatives</a:t>
            </a:r>
          </a:p>
        </p:txBody>
      </p:sp>
      <p:sp>
        <p:nvSpPr>
          <p:cNvPr id="35" name="Rectangle 34"/>
          <p:cNvSpPr/>
          <p:nvPr/>
        </p:nvSpPr>
        <p:spPr>
          <a:xfrm>
            <a:off x="7230199" y="1526028"/>
            <a:ext cx="1627026" cy="473183"/>
          </a:xfrm>
          <a:prstGeom prst="rect">
            <a:avLst/>
          </a:prstGeom>
        </p:spPr>
        <p:txBody>
          <a:bodyPr wrap="none" lIns="57133" tIns="28566" rIns="57133" bIns="28566">
            <a:spAutoFit/>
          </a:bodyPr>
          <a:lstStyle/>
          <a:p>
            <a:pPr algn="ctr" defTabSz="685862">
              <a:defRPr/>
            </a:pPr>
            <a:r>
              <a:rPr lang="en-US" sz="2700" kern="0" spc="-75" dirty="0">
                <a:solidFill>
                  <a:srgbClr val="FFFFFF"/>
                </a:solidFill>
                <a:latin typeface="Segoe UI Light" pitchFamily="34" charset="0"/>
              </a:rPr>
              <a:t>Suggestion</a:t>
            </a:r>
          </a:p>
        </p:txBody>
      </p:sp>
      <p:sp>
        <p:nvSpPr>
          <p:cNvPr id="39" name="Rectangle 38"/>
          <p:cNvSpPr/>
          <p:nvPr/>
        </p:nvSpPr>
        <p:spPr>
          <a:xfrm>
            <a:off x="6934912" y="2912779"/>
            <a:ext cx="2217596" cy="1442678"/>
          </a:xfrm>
          <a:prstGeom prst="rect">
            <a:avLst/>
          </a:prstGeom>
        </p:spPr>
        <p:txBody>
          <a:bodyPr wrap="square" lIns="57133" tIns="28566" rIns="57133" bIns="28566">
            <a:spAutoFit/>
          </a:bodyPr>
          <a:lstStyle/>
          <a:p>
            <a:pPr defTabSz="685862">
              <a:defRPr/>
            </a:pPr>
            <a:r>
              <a:rPr lang="en-US" sz="1500" kern="0" dirty="0">
                <a:solidFill>
                  <a:srgbClr val="FFFFFF"/>
                </a:solidFill>
              </a:rPr>
              <a:t>Make sure your tool/criteria is closely </a:t>
            </a:r>
            <a:r>
              <a:rPr lang="en-US" sz="1500" kern="0" dirty="0">
                <a:solidFill>
                  <a:srgbClr val="F6AE1E"/>
                </a:solidFill>
              </a:rPr>
              <a:t>aligned with business criticality</a:t>
            </a:r>
            <a:r>
              <a:rPr lang="en-US" sz="1500" kern="0" dirty="0">
                <a:solidFill>
                  <a:srgbClr val="FFFFFF"/>
                </a:solidFill>
              </a:rPr>
              <a:t>…</a:t>
            </a:r>
          </a:p>
          <a:p>
            <a:pPr defTabSz="685862">
              <a:defRPr/>
            </a:pPr>
            <a:endParaRPr lang="en-US" sz="1500" kern="0" dirty="0">
              <a:solidFill>
                <a:srgbClr val="FFFFFF"/>
              </a:solidFill>
            </a:endParaRPr>
          </a:p>
          <a:p>
            <a:pPr defTabSz="685862">
              <a:defRPr/>
            </a:pPr>
            <a:r>
              <a:rPr lang="en-US" sz="1500" kern="0" dirty="0">
                <a:solidFill>
                  <a:srgbClr val="FFFFFF"/>
                </a:solidFill>
              </a:rPr>
              <a:t>…or don’t use the tool! </a:t>
            </a:r>
          </a:p>
        </p:txBody>
      </p:sp>
      <p:pic>
        <p:nvPicPr>
          <p:cNvPr id="4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785548" y="2092582"/>
            <a:ext cx="650787" cy="650618"/>
          </a:xfrm>
          <a:prstGeom prst="rect">
            <a:avLst/>
          </a:prstGeom>
          <a:noFill/>
          <a:extLst>
            <a:ext uri="{909E8E84-426E-40DD-AFC4-6F175D3DCCD1}">
              <a14:hiddenFill xmlns:a14="http://schemas.microsoft.com/office/drawing/2010/main">
                <a:solidFill>
                  <a:srgbClr val="FFFFFF"/>
                </a:solidFill>
              </a14:hiddenFill>
            </a:ext>
          </a:extLst>
        </p:spPr>
      </p:pic>
      <p:sp>
        <p:nvSpPr>
          <p:cNvPr id="45" name="Title 1"/>
          <p:cNvSpPr>
            <a:spLocks noGrp="1"/>
          </p:cNvSpPr>
          <p:nvPr>
            <p:ph type="title"/>
          </p:nvPr>
        </p:nvSpPr>
        <p:spPr>
          <a:xfrm>
            <a:off x="389436" y="171451"/>
            <a:ext cx="8363938" cy="830997"/>
          </a:xfrm>
        </p:spPr>
        <p:txBody>
          <a:bodyPr/>
          <a:lstStyle/>
          <a:p>
            <a:r>
              <a:rPr lang="en-US" dirty="0"/>
              <a:t>Discovery/Rationalization</a:t>
            </a:r>
            <a:br>
              <a:rPr lang="en-US" dirty="0"/>
            </a:br>
            <a:r>
              <a:rPr lang="en-US" sz="2700" dirty="0">
                <a:solidFill>
                  <a:srgbClr val="F6AE1E"/>
                </a:solidFill>
              </a:rPr>
              <a:t>Using Tools</a:t>
            </a:r>
            <a:endParaRPr lang="en-US" sz="2700" dirty="0">
              <a:gradFill flip="none" rotWithShape="1">
                <a:gsLst>
                  <a:gs pos="5417">
                    <a:srgbClr val="C1F7AA"/>
                  </a:gs>
                  <a:gs pos="98000">
                    <a:srgbClr val="C1F7AA"/>
                  </a:gs>
                </a:gsLst>
                <a:lin ang="5400000" scaled="0"/>
                <a:tileRect/>
              </a:gradFill>
            </a:endParaRPr>
          </a:p>
        </p:txBody>
      </p:sp>
      <p:sp>
        <p:nvSpPr>
          <p:cNvPr id="50" name="Freeform 35"/>
          <p:cNvSpPr>
            <a:spLocks/>
          </p:cNvSpPr>
          <p:nvPr/>
        </p:nvSpPr>
        <p:spPr bwMode="black">
          <a:xfrm>
            <a:off x="5473654" y="2155419"/>
            <a:ext cx="517163" cy="531760"/>
          </a:xfrm>
          <a:custGeom>
            <a:avLst/>
            <a:gdLst>
              <a:gd name="T0" fmla="*/ 120 w 191"/>
              <a:gd name="T1" fmla="*/ 32 h 197"/>
              <a:gd name="T2" fmla="*/ 83 w 191"/>
              <a:gd name="T3" fmla="*/ 3 h 197"/>
              <a:gd name="T4" fmla="*/ 47 w 191"/>
              <a:gd name="T5" fmla="*/ 5 h 197"/>
              <a:gd name="T6" fmla="*/ 44 w 191"/>
              <a:gd name="T7" fmla="*/ 27 h 197"/>
              <a:gd name="T8" fmla="*/ 40 w 191"/>
              <a:gd name="T9" fmla="*/ 29 h 197"/>
              <a:gd name="T10" fmla="*/ 40 w 191"/>
              <a:gd name="T11" fmla="*/ 33 h 197"/>
              <a:gd name="T12" fmla="*/ 45 w 191"/>
              <a:gd name="T13" fmla="*/ 40 h 197"/>
              <a:gd name="T14" fmla="*/ 88 w 191"/>
              <a:gd name="T15" fmla="*/ 44 h 197"/>
              <a:gd name="T16" fmla="*/ 118 w 191"/>
              <a:gd name="T17" fmla="*/ 113 h 197"/>
              <a:gd name="T18" fmla="*/ 144 w 191"/>
              <a:gd name="T19" fmla="*/ 129 h 197"/>
              <a:gd name="T20" fmla="*/ 112 w 191"/>
              <a:gd name="T21" fmla="*/ 109 h 197"/>
              <a:gd name="T22" fmla="*/ 65 w 191"/>
              <a:gd name="T23" fmla="*/ 115 h 197"/>
              <a:gd name="T24" fmla="*/ 0 w 191"/>
              <a:gd name="T25" fmla="*/ 116 h 197"/>
              <a:gd name="T26" fmla="*/ 26 w 191"/>
              <a:gd name="T27" fmla="*/ 174 h 197"/>
              <a:gd name="T28" fmla="*/ 61 w 191"/>
              <a:gd name="T29" fmla="*/ 136 h 197"/>
              <a:gd name="T30" fmla="*/ 57 w 191"/>
              <a:gd name="T31" fmla="*/ 148 h 197"/>
              <a:gd name="T32" fmla="*/ 126 w 191"/>
              <a:gd name="T33" fmla="*/ 140 h 197"/>
              <a:gd name="T34" fmla="*/ 55 w 191"/>
              <a:gd name="T35" fmla="*/ 153 h 197"/>
              <a:gd name="T36" fmla="*/ 30 w 191"/>
              <a:gd name="T37" fmla="*/ 180 h 197"/>
              <a:gd name="T38" fmla="*/ 32 w 191"/>
              <a:gd name="T39" fmla="*/ 182 h 197"/>
              <a:gd name="T40" fmla="*/ 180 w 191"/>
              <a:gd name="T41" fmla="*/ 159 h 197"/>
              <a:gd name="T42" fmla="*/ 185 w 191"/>
              <a:gd name="T43" fmla="*/ 129 h 197"/>
              <a:gd name="T44" fmla="*/ 120 w 191"/>
              <a:gd name="T45" fmla="*/ 32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1" h="197">
                <a:moveTo>
                  <a:pt x="120" y="32"/>
                </a:moveTo>
                <a:cubicBezTo>
                  <a:pt x="112" y="23"/>
                  <a:pt x="99" y="9"/>
                  <a:pt x="83" y="3"/>
                </a:cubicBezTo>
                <a:cubicBezTo>
                  <a:pt x="72" y="0"/>
                  <a:pt x="47" y="5"/>
                  <a:pt x="47" y="5"/>
                </a:cubicBezTo>
                <a:cubicBezTo>
                  <a:pt x="44" y="27"/>
                  <a:pt x="44" y="27"/>
                  <a:pt x="44" y="27"/>
                </a:cubicBezTo>
                <a:cubicBezTo>
                  <a:pt x="40" y="29"/>
                  <a:pt x="40" y="29"/>
                  <a:pt x="40" y="29"/>
                </a:cubicBezTo>
                <a:cubicBezTo>
                  <a:pt x="40" y="33"/>
                  <a:pt x="40" y="33"/>
                  <a:pt x="40" y="33"/>
                </a:cubicBezTo>
                <a:cubicBezTo>
                  <a:pt x="40" y="33"/>
                  <a:pt x="40" y="37"/>
                  <a:pt x="45" y="40"/>
                </a:cubicBezTo>
                <a:cubicBezTo>
                  <a:pt x="50" y="42"/>
                  <a:pt x="73" y="53"/>
                  <a:pt x="88" y="44"/>
                </a:cubicBezTo>
                <a:cubicBezTo>
                  <a:pt x="118" y="60"/>
                  <a:pt x="105" y="91"/>
                  <a:pt x="118" y="113"/>
                </a:cubicBezTo>
                <a:cubicBezTo>
                  <a:pt x="123" y="120"/>
                  <a:pt x="131" y="127"/>
                  <a:pt x="144" y="129"/>
                </a:cubicBezTo>
                <a:cubicBezTo>
                  <a:pt x="144" y="129"/>
                  <a:pt x="115" y="131"/>
                  <a:pt x="112" y="109"/>
                </a:cubicBezTo>
                <a:cubicBezTo>
                  <a:pt x="101" y="104"/>
                  <a:pt x="82" y="99"/>
                  <a:pt x="65" y="115"/>
                </a:cubicBezTo>
                <a:cubicBezTo>
                  <a:pt x="51" y="100"/>
                  <a:pt x="14" y="100"/>
                  <a:pt x="0" y="116"/>
                </a:cubicBezTo>
                <a:cubicBezTo>
                  <a:pt x="6" y="141"/>
                  <a:pt x="18" y="163"/>
                  <a:pt x="26" y="174"/>
                </a:cubicBezTo>
                <a:cubicBezTo>
                  <a:pt x="52" y="156"/>
                  <a:pt x="61" y="136"/>
                  <a:pt x="61" y="136"/>
                </a:cubicBezTo>
                <a:cubicBezTo>
                  <a:pt x="60" y="140"/>
                  <a:pt x="59" y="144"/>
                  <a:pt x="57" y="148"/>
                </a:cubicBezTo>
                <a:cubicBezTo>
                  <a:pt x="103" y="167"/>
                  <a:pt x="126" y="140"/>
                  <a:pt x="126" y="140"/>
                </a:cubicBezTo>
                <a:cubicBezTo>
                  <a:pt x="107" y="171"/>
                  <a:pt x="63" y="157"/>
                  <a:pt x="55" y="153"/>
                </a:cubicBezTo>
                <a:cubicBezTo>
                  <a:pt x="48" y="166"/>
                  <a:pt x="38" y="175"/>
                  <a:pt x="30" y="180"/>
                </a:cubicBezTo>
                <a:cubicBezTo>
                  <a:pt x="32" y="181"/>
                  <a:pt x="32" y="182"/>
                  <a:pt x="32" y="182"/>
                </a:cubicBezTo>
                <a:cubicBezTo>
                  <a:pt x="88" y="197"/>
                  <a:pt x="154" y="177"/>
                  <a:pt x="180" y="159"/>
                </a:cubicBezTo>
                <a:cubicBezTo>
                  <a:pt x="191" y="151"/>
                  <a:pt x="188" y="138"/>
                  <a:pt x="185" y="129"/>
                </a:cubicBezTo>
                <a:cubicBezTo>
                  <a:pt x="172" y="91"/>
                  <a:pt x="134" y="49"/>
                  <a:pt x="120" y="32"/>
                </a:cubicBezTo>
                <a:close/>
              </a:path>
            </a:pathLst>
          </a:custGeom>
          <a:solidFill>
            <a:srgbClr val="FFFFFF"/>
          </a:solidFill>
          <a:ln>
            <a:noFill/>
          </a:ln>
        </p:spPr>
        <p:txBody>
          <a:bodyPr vert="horz" wrap="square" lIns="61735" tIns="30867" rIns="61735" bIns="30867" numCol="1" anchor="t" anchorCtr="0" compatLnSpc="1">
            <a:prstTxWarp prst="textNoShape">
              <a:avLst/>
            </a:prstTxWarp>
          </a:bodyPr>
          <a:lstStyle/>
          <a:p>
            <a:endParaRPr lang="en-US" sz="1200">
              <a:solidFill>
                <a:srgbClr val="FFFFFF"/>
              </a:solidFill>
            </a:endParaRPr>
          </a:p>
        </p:txBody>
      </p:sp>
      <p:grpSp>
        <p:nvGrpSpPr>
          <p:cNvPr id="58" name="Group 57"/>
          <p:cNvGrpSpPr/>
          <p:nvPr/>
        </p:nvGrpSpPr>
        <p:grpSpPr bwMode="black">
          <a:xfrm>
            <a:off x="7887564" y="2099952"/>
            <a:ext cx="321543" cy="649264"/>
            <a:chOff x="2593975" y="2552700"/>
            <a:chExt cx="469901" cy="949325"/>
          </a:xfrm>
        </p:grpSpPr>
        <p:sp>
          <p:nvSpPr>
            <p:cNvPr id="59" name="Freeform 17"/>
            <p:cNvSpPr>
              <a:spLocks noEditPoints="1"/>
            </p:cNvSpPr>
            <p:nvPr/>
          </p:nvSpPr>
          <p:spPr bwMode="black">
            <a:xfrm>
              <a:off x="2593975" y="2835275"/>
              <a:ext cx="338138" cy="666750"/>
            </a:xfrm>
            <a:custGeom>
              <a:avLst/>
              <a:gdLst>
                <a:gd name="T0" fmla="*/ 580 w 1160"/>
                <a:gd name="T1" fmla="*/ 540 h 2287"/>
                <a:gd name="T2" fmla="*/ 731 w 1160"/>
                <a:gd name="T3" fmla="*/ 389 h 2287"/>
                <a:gd name="T4" fmla="*/ 580 w 1160"/>
                <a:gd name="T5" fmla="*/ 237 h 2287"/>
                <a:gd name="T6" fmla="*/ 428 w 1160"/>
                <a:gd name="T7" fmla="*/ 389 h 2287"/>
                <a:gd name="T8" fmla="*/ 580 w 1160"/>
                <a:gd name="T9" fmla="*/ 540 h 2287"/>
                <a:gd name="T10" fmla="*/ 1109 w 1160"/>
                <a:gd name="T11" fmla="*/ 22 h 2287"/>
                <a:gd name="T12" fmla="*/ 1000 w 1160"/>
                <a:gd name="T13" fmla="*/ 51 h 2287"/>
                <a:gd name="T14" fmla="*/ 691 w 1160"/>
                <a:gd name="T15" fmla="*/ 587 h 2287"/>
                <a:gd name="T16" fmla="*/ 469 w 1160"/>
                <a:gd name="T17" fmla="*/ 587 h 2287"/>
                <a:gd name="T18" fmla="*/ 159 w 1160"/>
                <a:gd name="T19" fmla="*/ 51 h 2287"/>
                <a:gd name="T20" fmla="*/ 51 w 1160"/>
                <a:gd name="T21" fmla="*/ 22 h 2287"/>
                <a:gd name="T22" fmla="*/ 22 w 1160"/>
                <a:gd name="T23" fmla="*/ 131 h 2287"/>
                <a:gd name="T24" fmla="*/ 377 w 1160"/>
                <a:gd name="T25" fmla="*/ 745 h 2287"/>
                <a:gd name="T26" fmla="*/ 377 w 1160"/>
                <a:gd name="T27" fmla="*/ 2194 h 2287"/>
                <a:gd name="T28" fmla="*/ 470 w 1160"/>
                <a:gd name="T29" fmla="*/ 2287 h 2287"/>
                <a:gd name="T30" fmla="*/ 562 w 1160"/>
                <a:gd name="T31" fmla="*/ 2194 h 2287"/>
                <a:gd name="T32" fmla="*/ 562 w 1160"/>
                <a:gd name="T33" fmla="*/ 1423 h 2287"/>
                <a:gd name="T34" fmla="*/ 598 w 1160"/>
                <a:gd name="T35" fmla="*/ 1423 h 2287"/>
                <a:gd name="T36" fmla="*/ 598 w 1160"/>
                <a:gd name="T37" fmla="*/ 2194 h 2287"/>
                <a:gd name="T38" fmla="*/ 690 w 1160"/>
                <a:gd name="T39" fmla="*/ 2287 h 2287"/>
                <a:gd name="T40" fmla="*/ 783 w 1160"/>
                <a:gd name="T41" fmla="*/ 2194 h 2287"/>
                <a:gd name="T42" fmla="*/ 783 w 1160"/>
                <a:gd name="T43" fmla="*/ 745 h 2287"/>
                <a:gd name="T44" fmla="*/ 1138 w 1160"/>
                <a:gd name="T45" fmla="*/ 131 h 2287"/>
                <a:gd name="T46" fmla="*/ 1109 w 1160"/>
                <a:gd name="T47" fmla="*/ 22 h 2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60" h="2287">
                  <a:moveTo>
                    <a:pt x="580" y="540"/>
                  </a:moveTo>
                  <a:cubicBezTo>
                    <a:pt x="664" y="540"/>
                    <a:pt x="731" y="473"/>
                    <a:pt x="731" y="389"/>
                  </a:cubicBezTo>
                  <a:cubicBezTo>
                    <a:pt x="731" y="305"/>
                    <a:pt x="664" y="237"/>
                    <a:pt x="580" y="237"/>
                  </a:cubicBezTo>
                  <a:cubicBezTo>
                    <a:pt x="496" y="237"/>
                    <a:pt x="428" y="305"/>
                    <a:pt x="428" y="389"/>
                  </a:cubicBezTo>
                  <a:cubicBezTo>
                    <a:pt x="428" y="473"/>
                    <a:pt x="496" y="540"/>
                    <a:pt x="580" y="540"/>
                  </a:cubicBezTo>
                  <a:close/>
                  <a:moveTo>
                    <a:pt x="1109" y="22"/>
                  </a:moveTo>
                  <a:cubicBezTo>
                    <a:pt x="1071" y="0"/>
                    <a:pt x="1022" y="13"/>
                    <a:pt x="1000" y="51"/>
                  </a:cubicBezTo>
                  <a:cubicBezTo>
                    <a:pt x="691" y="587"/>
                    <a:pt x="691" y="587"/>
                    <a:pt x="691" y="587"/>
                  </a:cubicBezTo>
                  <a:cubicBezTo>
                    <a:pt x="469" y="587"/>
                    <a:pt x="469" y="587"/>
                    <a:pt x="469" y="587"/>
                  </a:cubicBezTo>
                  <a:cubicBezTo>
                    <a:pt x="159" y="51"/>
                    <a:pt x="159" y="51"/>
                    <a:pt x="159" y="51"/>
                  </a:cubicBezTo>
                  <a:cubicBezTo>
                    <a:pt x="137" y="13"/>
                    <a:pt x="89" y="0"/>
                    <a:pt x="51" y="22"/>
                  </a:cubicBezTo>
                  <a:cubicBezTo>
                    <a:pt x="13" y="44"/>
                    <a:pt x="0" y="93"/>
                    <a:pt x="22" y="131"/>
                  </a:cubicBezTo>
                  <a:cubicBezTo>
                    <a:pt x="377" y="745"/>
                    <a:pt x="377" y="745"/>
                    <a:pt x="377" y="745"/>
                  </a:cubicBezTo>
                  <a:cubicBezTo>
                    <a:pt x="377" y="2194"/>
                    <a:pt x="377" y="2194"/>
                    <a:pt x="377" y="2194"/>
                  </a:cubicBezTo>
                  <a:cubicBezTo>
                    <a:pt x="377" y="2246"/>
                    <a:pt x="418" y="2287"/>
                    <a:pt x="470" y="2287"/>
                  </a:cubicBezTo>
                  <a:cubicBezTo>
                    <a:pt x="521" y="2287"/>
                    <a:pt x="562" y="2246"/>
                    <a:pt x="562" y="2194"/>
                  </a:cubicBezTo>
                  <a:cubicBezTo>
                    <a:pt x="562" y="1423"/>
                    <a:pt x="562" y="1423"/>
                    <a:pt x="562" y="1423"/>
                  </a:cubicBezTo>
                  <a:cubicBezTo>
                    <a:pt x="598" y="1423"/>
                    <a:pt x="598" y="1423"/>
                    <a:pt x="598" y="1423"/>
                  </a:cubicBezTo>
                  <a:cubicBezTo>
                    <a:pt x="598" y="2194"/>
                    <a:pt x="598" y="2194"/>
                    <a:pt x="598" y="2194"/>
                  </a:cubicBezTo>
                  <a:cubicBezTo>
                    <a:pt x="598" y="2246"/>
                    <a:pt x="639" y="2287"/>
                    <a:pt x="690" y="2287"/>
                  </a:cubicBezTo>
                  <a:cubicBezTo>
                    <a:pt x="742" y="2287"/>
                    <a:pt x="783" y="2246"/>
                    <a:pt x="783" y="2194"/>
                  </a:cubicBezTo>
                  <a:cubicBezTo>
                    <a:pt x="783" y="745"/>
                    <a:pt x="783" y="745"/>
                    <a:pt x="783" y="745"/>
                  </a:cubicBezTo>
                  <a:cubicBezTo>
                    <a:pt x="1138" y="131"/>
                    <a:pt x="1138" y="131"/>
                    <a:pt x="1138" y="131"/>
                  </a:cubicBezTo>
                  <a:cubicBezTo>
                    <a:pt x="1160" y="93"/>
                    <a:pt x="1147" y="44"/>
                    <a:pt x="1109"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60" name="Freeform 18"/>
            <p:cNvSpPr>
              <a:spLocks noEditPoints="1"/>
            </p:cNvSpPr>
            <p:nvPr/>
          </p:nvSpPr>
          <p:spPr bwMode="black">
            <a:xfrm>
              <a:off x="2649538" y="2552700"/>
              <a:ext cx="414338" cy="325438"/>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gr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52856" y="1962418"/>
            <a:ext cx="729503" cy="729314"/>
          </a:xfrm>
          <a:prstGeom prst="rect">
            <a:avLst/>
          </a:prstGeom>
        </p:spPr>
      </p:pic>
      <p:sp>
        <p:nvSpPr>
          <p:cNvPr id="22"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3"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5"/>
              </a:rPr>
              <a:t>www.rapidbbs.cn</a:t>
            </a:r>
            <a:endParaRPr lang="zh-CN" altLang="en-US" sz="1200" b="0">
              <a:latin typeface="Arial" charset="0"/>
              <a:ea typeface="ＭＳ Ｐゴシック" pitchFamily="34" charset="-128"/>
            </a:endParaRPr>
          </a:p>
        </p:txBody>
      </p:sp>
      <p:pic>
        <p:nvPicPr>
          <p:cNvPr id="24" name="Picture 2">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84670046"/>
      </p:ext>
    </p:extLst>
  </p:cSld>
  <p:clrMapOvr>
    <a:masterClrMapping/>
  </p:clrMapOvr>
  <p:transition spd="slow">
    <p:push/>
  </p:transition>
  <p:timing>
    <p:tnLst>
      <p:par>
        <p:cTn id="1" dur="indefinite" restart="never" nodeType="tmRoot"/>
      </p:par>
    </p:tnLst>
  </p:timing>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active </a:t>
            </a:r>
            <a:r>
              <a:rPr lang="en-US" dirty="0" smtClean="0">
                <a:solidFill>
                  <a:srgbClr val="FFC000"/>
                </a:solidFill>
              </a:rPr>
              <a:t>Testing</a:t>
            </a:r>
            <a:r>
              <a:rPr lang="en-US" dirty="0" smtClean="0"/>
              <a:t> Activities</a:t>
            </a:r>
            <a:endParaRPr lang="en-US" dirty="0"/>
          </a:p>
        </p:txBody>
      </p:sp>
      <p:grpSp>
        <p:nvGrpSpPr>
          <p:cNvPr id="5" name="Group 29"/>
          <p:cNvGrpSpPr>
            <a:grpSpLocks/>
          </p:cNvGrpSpPr>
          <p:nvPr/>
        </p:nvGrpSpPr>
        <p:grpSpPr bwMode="auto">
          <a:xfrm>
            <a:off x="10914" y="1324522"/>
            <a:ext cx="9133086" cy="1416185"/>
            <a:chOff x="0" y="2574925"/>
            <a:chExt cx="15206454" cy="2084388"/>
          </a:xfrm>
          <a:solidFill>
            <a:srgbClr val="FFA514"/>
          </a:solidFill>
        </p:grpSpPr>
        <p:sp>
          <p:nvSpPr>
            <p:cNvPr id="6" name="Freeform 6"/>
            <p:cNvSpPr>
              <a:spLocks/>
            </p:cNvSpPr>
            <p:nvPr/>
          </p:nvSpPr>
          <p:spPr bwMode="auto">
            <a:xfrm>
              <a:off x="0" y="2574925"/>
              <a:ext cx="4983018" cy="2084388"/>
            </a:xfrm>
            <a:prstGeom prst="rect">
              <a:avLst/>
            </a:prstGeom>
            <a:solidFill>
              <a:schemeClr val="accent5"/>
            </a:solidFill>
            <a:ln w="12700" cap="rnd" cmpd="sng" algn="ctr">
              <a:noFill/>
              <a:prstDash val="solid"/>
              <a:headEnd type="oval"/>
            </a:ln>
            <a:effectLst/>
          </p:spPr>
          <p:txBody>
            <a:bodyPr anchor="ctr"/>
            <a:lstStyle/>
            <a:p>
              <a:pPr algn="ctr" defTabSz="685862">
                <a:defRPr/>
              </a:pPr>
              <a:endParaRPr lang="en-US" kern="0">
                <a:solidFill>
                  <a:srgbClr val="FFFFFF"/>
                </a:solidFill>
                <a:latin typeface="Segoe UI Light"/>
                <a:ea typeface="ＭＳ Ｐゴシック" pitchFamily="-65" charset="-128"/>
              </a:endParaRPr>
            </a:p>
          </p:txBody>
        </p:sp>
        <p:sp>
          <p:nvSpPr>
            <p:cNvPr id="7" name="Freeform 6"/>
            <p:cNvSpPr>
              <a:spLocks/>
            </p:cNvSpPr>
            <p:nvPr/>
          </p:nvSpPr>
          <p:spPr bwMode="auto">
            <a:xfrm>
              <a:off x="5111718" y="2574925"/>
              <a:ext cx="4983018" cy="2084388"/>
            </a:xfrm>
            <a:prstGeom prst="rect">
              <a:avLst/>
            </a:prstGeom>
            <a:solidFill>
              <a:schemeClr val="accent5"/>
            </a:solidFill>
            <a:ln w="12700" cap="rnd" cmpd="sng" algn="ctr">
              <a:noFill/>
              <a:prstDash val="solid"/>
              <a:headEnd type="oval"/>
            </a:ln>
            <a:effectLst/>
          </p:spPr>
          <p:txBody>
            <a:bodyPr anchor="ctr"/>
            <a:lstStyle/>
            <a:p>
              <a:pPr algn="ctr" defTabSz="685862">
                <a:defRPr/>
              </a:pPr>
              <a:endParaRPr lang="en-US" kern="0">
                <a:solidFill>
                  <a:srgbClr val="FFFFFF"/>
                </a:solidFill>
                <a:latin typeface="Segoe UI Light"/>
                <a:ea typeface="ＭＳ Ｐゴシック" pitchFamily="-65" charset="-128"/>
              </a:endParaRPr>
            </a:p>
          </p:txBody>
        </p:sp>
        <p:sp>
          <p:nvSpPr>
            <p:cNvPr id="8" name="Freeform 6"/>
            <p:cNvSpPr>
              <a:spLocks/>
            </p:cNvSpPr>
            <p:nvPr/>
          </p:nvSpPr>
          <p:spPr bwMode="auto">
            <a:xfrm>
              <a:off x="10223436" y="2574925"/>
              <a:ext cx="4983018" cy="2084388"/>
            </a:xfrm>
            <a:prstGeom prst="rect">
              <a:avLst/>
            </a:prstGeom>
            <a:solidFill>
              <a:schemeClr val="accent5"/>
            </a:solidFill>
            <a:ln w="12700" cap="rnd" cmpd="sng" algn="ctr">
              <a:noFill/>
              <a:prstDash val="solid"/>
              <a:headEnd type="oval"/>
            </a:ln>
            <a:effectLst/>
          </p:spPr>
          <p:txBody>
            <a:bodyPr anchor="ctr"/>
            <a:lstStyle/>
            <a:p>
              <a:pPr algn="ctr" defTabSz="685862">
                <a:defRPr/>
              </a:pPr>
              <a:endParaRPr lang="en-US" kern="0">
                <a:solidFill>
                  <a:srgbClr val="FFFFFF"/>
                </a:solidFill>
                <a:latin typeface="Segoe UI Light"/>
                <a:ea typeface="ＭＳ Ｐゴシック" pitchFamily="-65" charset="-128"/>
              </a:endParaRPr>
            </a:p>
          </p:txBody>
        </p:sp>
      </p:grpSp>
      <p:sp>
        <p:nvSpPr>
          <p:cNvPr id="9" name="Rectangle 8"/>
          <p:cNvSpPr/>
          <p:nvPr/>
        </p:nvSpPr>
        <p:spPr>
          <a:xfrm>
            <a:off x="172293" y="1326392"/>
            <a:ext cx="2569850" cy="427023"/>
          </a:xfrm>
          <a:prstGeom prst="rect">
            <a:avLst/>
          </a:prstGeom>
        </p:spPr>
        <p:txBody>
          <a:bodyPr wrap="none" lIns="57140" tIns="28570" rIns="57140" bIns="28570">
            <a:spAutoFit/>
          </a:bodyPr>
          <a:lstStyle/>
          <a:p>
            <a:pPr algn="ctr" defTabSz="685862">
              <a:defRPr/>
            </a:pPr>
            <a:r>
              <a:rPr lang="en-US" sz="2400" kern="0" dirty="0">
                <a:solidFill>
                  <a:srgbClr val="FFFFFF"/>
                </a:solidFill>
                <a:latin typeface="Segoe UI Light" pitchFamily="34" charset="0"/>
              </a:rPr>
              <a:t>Automated Testing</a:t>
            </a:r>
          </a:p>
        </p:txBody>
      </p:sp>
      <p:sp>
        <p:nvSpPr>
          <p:cNvPr id="10" name="Rectangle 9"/>
          <p:cNvSpPr/>
          <p:nvPr/>
        </p:nvSpPr>
        <p:spPr>
          <a:xfrm>
            <a:off x="3721249" y="1326392"/>
            <a:ext cx="1712421" cy="427023"/>
          </a:xfrm>
          <a:prstGeom prst="rect">
            <a:avLst/>
          </a:prstGeom>
        </p:spPr>
        <p:txBody>
          <a:bodyPr wrap="none" lIns="57140" tIns="28570" rIns="57140" bIns="28570">
            <a:spAutoFit/>
          </a:bodyPr>
          <a:lstStyle/>
          <a:p>
            <a:pPr algn="ctr" defTabSz="685862">
              <a:defRPr/>
            </a:pPr>
            <a:r>
              <a:rPr lang="en-US" sz="2400" kern="0" dirty="0">
                <a:solidFill>
                  <a:srgbClr val="FFFFFF"/>
                </a:solidFill>
                <a:latin typeface="Segoe UI Light" pitchFamily="34" charset="0"/>
              </a:rPr>
              <a:t>Smoke Tests</a:t>
            </a:r>
          </a:p>
        </p:txBody>
      </p:sp>
      <p:sp>
        <p:nvSpPr>
          <p:cNvPr id="11" name="Rectangle 10"/>
          <p:cNvSpPr/>
          <p:nvPr/>
        </p:nvSpPr>
        <p:spPr>
          <a:xfrm>
            <a:off x="6938692" y="1326392"/>
            <a:ext cx="1417793" cy="427023"/>
          </a:xfrm>
          <a:prstGeom prst="rect">
            <a:avLst/>
          </a:prstGeom>
        </p:spPr>
        <p:txBody>
          <a:bodyPr wrap="none" lIns="57140" tIns="28570" rIns="57140" bIns="28570">
            <a:spAutoFit/>
          </a:bodyPr>
          <a:lstStyle/>
          <a:p>
            <a:pPr algn="ctr" defTabSz="685862">
              <a:defRPr/>
            </a:pPr>
            <a:r>
              <a:rPr lang="en-US" sz="2400" kern="0" dirty="0">
                <a:solidFill>
                  <a:srgbClr val="FFFFFF"/>
                </a:solidFill>
                <a:latin typeface="Segoe UI Light" pitchFamily="34" charset="0"/>
              </a:rPr>
              <a:t>User Tests</a:t>
            </a:r>
          </a:p>
        </p:txBody>
      </p:sp>
      <p:pic>
        <p:nvPicPr>
          <p:cNvPr id="12" name="Picture 11" descr="j0432614.png"/>
          <p:cNvPicPr>
            <a:picLocks noChangeAspect="1"/>
          </p:cNvPicPr>
          <p:nvPr/>
        </p:nvPicPr>
        <p:blipFill>
          <a:blip r:embed="rId2" cstate="print">
            <a:extLst>
              <a:ext uri="{BEBA8EAE-BF5A-486C-A8C5-ECC9F3942E4B}">
                <a14:imgProps xmlns:a14="http://schemas.microsoft.com/office/drawing/2010/main">
                  <a14:imgLayer r:embed="rId3">
                    <a14:imgEffect>
                      <a14:backgroundRemoval t="9896" b="89063" l="1563" r="98958">
                        <a14:foregroundMark x1="33854" y1="71354" x2="33854" y2="71354"/>
                        <a14:foregroundMark x1="30729" y1="71354" x2="30729" y2="71354"/>
                        <a14:foregroundMark x1="26563" y1="70313" x2="26563" y2="70313"/>
                        <a14:foregroundMark x1="38542" y1="70833" x2="38542" y2="70833"/>
                        <a14:foregroundMark x1="36979" y1="71354" x2="36979" y2="71354"/>
                        <a14:foregroundMark x1="69792" y1="45313" x2="69792" y2="45313"/>
                        <a14:foregroundMark x1="72396" y1="45833" x2="72396" y2="45833"/>
                        <a14:foregroundMark x1="74479" y1="45833" x2="74479" y2="45833"/>
                        <a14:foregroundMark x1="76563" y1="45833" x2="76563" y2="45833"/>
                        <a14:foregroundMark x1="78646" y1="45313" x2="78646" y2="45313"/>
                        <a14:foregroundMark x1="80729" y1="44271" x2="80729" y2="44271"/>
                        <a14:foregroundMark x1="44271" y1="35938" x2="44271" y2="35938"/>
                        <a14:foregroundMark x1="48958" y1="33333" x2="48958" y2="33333"/>
                        <a14:foregroundMark x1="51563" y1="33854" x2="51563" y2="33854"/>
                        <a14:foregroundMark x1="42708" y1="35417" x2="42708" y2="35417"/>
                        <a14:foregroundMark x1="38021" y1="27604" x2="38021" y2="27604"/>
                        <a14:foregroundMark x1="30729" y1="33333" x2="30729" y2="33333"/>
                        <a14:foregroundMark x1="25521" y1="30729" x2="25521" y2="30729"/>
                        <a14:foregroundMark x1="21354" y1="29688" x2="21354" y2="29688"/>
                        <a14:foregroundMark x1="17708" y1="38542" x2="17708" y2="38542"/>
                        <a14:foregroundMark x1="13021" y1="39063" x2="13021" y2="39063"/>
                        <a14:foregroundMark x1="11458" y1="38542" x2="11458" y2="38542"/>
                        <a14:foregroundMark x1="6771" y1="53125" x2="6771" y2="53125"/>
                        <a14:foregroundMark x1="5208" y1="53125" x2="5208" y2="53125"/>
                        <a14:foregroundMark x1="59375" y1="60938" x2="59375" y2="60938"/>
                        <a14:foregroundMark x1="41667" y1="34896" x2="41667" y2="34896"/>
                        <a14:foregroundMark x1="35417" y1="27083" x2="35938" y2="27604"/>
                        <a14:foregroundMark x1="21875" y1="29688" x2="23438" y2="28646"/>
                        <a14:foregroundMark x1="54688" y1="25521" x2="58333" y2="25521"/>
                        <a14:foregroundMark x1="93229" y1="30729" x2="95833" y2="31250"/>
                        <a14:foregroundMark x1="61458" y1="16146" x2="64583" y2="14583"/>
                        <a14:foregroundMark x1="77604" y1="13021" x2="80208" y2="13021"/>
                        <a14:foregroundMark x1="81771" y1="18750" x2="84896" y2="20313"/>
                        <a14:foregroundMark x1="85938" y1="19792" x2="88542" y2="18750"/>
                      </a14:backgroundRemoval>
                    </a14:imgEffect>
                    <a14:imgEffect>
                      <a14:brightnessContrast bright="100000"/>
                    </a14:imgEffect>
                  </a14:imgLayer>
                </a14:imgProps>
              </a:ext>
            </a:extLst>
          </a:blip>
          <a:stretch>
            <a:fillRect/>
          </a:stretch>
        </p:blipFill>
        <p:spPr>
          <a:xfrm>
            <a:off x="980019" y="1787599"/>
            <a:ext cx="814537" cy="814536"/>
          </a:xfrm>
          <a:prstGeom prst="rect">
            <a:avLst/>
          </a:prstGeom>
        </p:spPr>
      </p:pic>
      <p:grpSp>
        <p:nvGrpSpPr>
          <p:cNvPr id="13" name="Group 12"/>
          <p:cNvGrpSpPr/>
          <p:nvPr/>
        </p:nvGrpSpPr>
        <p:grpSpPr>
          <a:xfrm>
            <a:off x="7353204" y="1831304"/>
            <a:ext cx="588762" cy="689440"/>
            <a:chOff x="5084273" y="432466"/>
            <a:chExt cx="2635277" cy="2878917"/>
          </a:xfrm>
        </p:grpSpPr>
        <p:pic>
          <p:nvPicPr>
            <p:cNvPr id="14" name="Picture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93042" y="432466"/>
              <a:ext cx="1326508" cy="2878917"/>
            </a:xfrm>
            <a:prstGeom prst="rect">
              <a:avLst/>
            </a:prstGeom>
          </p:spPr>
        </p:pic>
        <p:pic>
          <p:nvPicPr>
            <p:cNvPr id="15" name="Picture 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084273" y="432466"/>
              <a:ext cx="1132129" cy="2876290"/>
            </a:xfrm>
            <a:prstGeom prst="rect">
              <a:avLst/>
            </a:prstGeom>
          </p:spPr>
        </p:pic>
      </p:grpSp>
      <p:grpSp>
        <p:nvGrpSpPr>
          <p:cNvPr id="16" name="Group 15"/>
          <p:cNvGrpSpPr/>
          <p:nvPr/>
        </p:nvGrpSpPr>
        <p:grpSpPr>
          <a:xfrm>
            <a:off x="94330" y="2760656"/>
            <a:ext cx="2909414" cy="879016"/>
            <a:chOff x="2880134" y="198701"/>
            <a:chExt cx="1853945" cy="1406425"/>
          </a:xfrm>
        </p:grpSpPr>
        <p:sp>
          <p:nvSpPr>
            <p:cNvPr id="17" name="Rectangle 16"/>
            <p:cNvSpPr/>
            <p:nvPr/>
          </p:nvSpPr>
          <p:spPr>
            <a:xfrm>
              <a:off x="2926020" y="198701"/>
              <a:ext cx="1808059" cy="1406425"/>
            </a:xfrm>
            <a:prstGeom prst="rect">
              <a:avLst/>
            </a:prstGeom>
            <a:noFill/>
            <a:ln>
              <a:noFill/>
            </a:ln>
            <a:effectLst/>
          </p:spPr>
        </p:sp>
        <p:sp>
          <p:nvSpPr>
            <p:cNvPr id="18" name="Rectangle 17"/>
            <p:cNvSpPr/>
            <p:nvPr/>
          </p:nvSpPr>
          <p:spPr>
            <a:xfrm>
              <a:off x="2880134" y="198701"/>
              <a:ext cx="1853945" cy="1406425"/>
            </a:xfrm>
            <a:prstGeom prst="rect">
              <a:avLst/>
            </a:prstGeom>
            <a:noFill/>
            <a:ln>
              <a:noFill/>
            </a:ln>
            <a:effectLst/>
          </p:spPr>
          <p:txBody>
            <a:bodyPr spcFirstLastPara="0" vert="horz" wrap="square" lIns="64770" tIns="64770" rIns="64770" bIns="64770" numCol="1" spcCol="1270" anchor="t" anchorCtr="0">
              <a:noAutofit/>
            </a:bodyPr>
            <a:lstStyle/>
            <a:p>
              <a:pPr marL="0" lvl="1" defTabSz="361088">
                <a:lnSpc>
                  <a:spcPct val="90000"/>
                </a:lnSpc>
                <a:spcAft>
                  <a:spcPts val="450"/>
                </a:spcAft>
                <a:defRPr/>
              </a:pPr>
              <a:r>
                <a:rPr lang="en-US" sz="1500" kern="0" dirty="0">
                  <a:solidFill>
                    <a:srgbClr val="FFFFFF"/>
                  </a:solidFill>
                  <a:ea typeface="Segoe UI" pitchFamily="34" charset="0"/>
                  <a:cs typeface="Segoe UI" pitchFamily="34" charset="0"/>
                </a:rPr>
                <a:t>Augment skilled engineers</a:t>
              </a:r>
            </a:p>
            <a:p>
              <a:pPr marL="0" lvl="1" defTabSz="361088">
                <a:lnSpc>
                  <a:spcPct val="90000"/>
                </a:lnSpc>
                <a:spcAft>
                  <a:spcPts val="450"/>
                </a:spcAft>
                <a:defRPr/>
              </a:pPr>
              <a:r>
                <a:rPr lang="en-US" sz="1500" kern="0" dirty="0">
                  <a:solidFill>
                    <a:srgbClr val="FFFFFF"/>
                  </a:solidFill>
                  <a:ea typeface="Segoe UI" pitchFamily="34" charset="0"/>
                  <a:cs typeface="Segoe UI" pitchFamily="34" charset="0"/>
                </a:rPr>
                <a:t>Tune for deployment blocking issues only</a:t>
              </a:r>
            </a:p>
          </p:txBody>
        </p:sp>
      </p:grpSp>
      <p:grpSp>
        <p:nvGrpSpPr>
          <p:cNvPr id="19" name="Group 18"/>
          <p:cNvGrpSpPr/>
          <p:nvPr/>
        </p:nvGrpSpPr>
        <p:grpSpPr>
          <a:xfrm>
            <a:off x="3081044" y="2760657"/>
            <a:ext cx="2822044" cy="879016"/>
            <a:chOff x="3496924" y="2153408"/>
            <a:chExt cx="4515270" cy="1406425"/>
          </a:xfrm>
        </p:grpSpPr>
        <p:sp>
          <p:nvSpPr>
            <p:cNvPr id="20" name="Rectangle 19"/>
            <p:cNvSpPr/>
            <p:nvPr/>
          </p:nvSpPr>
          <p:spPr>
            <a:xfrm>
              <a:off x="4987156" y="2153408"/>
              <a:ext cx="1808059" cy="1406425"/>
            </a:xfrm>
            <a:prstGeom prst="rect">
              <a:avLst/>
            </a:prstGeom>
            <a:noFill/>
            <a:ln>
              <a:noFill/>
            </a:ln>
            <a:effectLst/>
          </p:spPr>
        </p:sp>
        <p:sp>
          <p:nvSpPr>
            <p:cNvPr id="21" name="Rectangle 20"/>
            <p:cNvSpPr/>
            <p:nvPr/>
          </p:nvSpPr>
          <p:spPr>
            <a:xfrm>
              <a:off x="3496924" y="2153408"/>
              <a:ext cx="4515270" cy="1406425"/>
            </a:xfrm>
            <a:prstGeom prst="rect">
              <a:avLst/>
            </a:prstGeom>
            <a:noFill/>
            <a:ln>
              <a:noFill/>
            </a:ln>
            <a:effectLst/>
          </p:spPr>
          <p:txBody>
            <a:bodyPr spcFirstLastPara="0" vert="horz" wrap="square" lIns="64770" tIns="64770" rIns="64770" bIns="64770" numCol="1" spcCol="1270" anchor="t" anchorCtr="0">
              <a:noAutofit/>
            </a:bodyPr>
            <a:lstStyle/>
            <a:p>
              <a:pPr marL="0" lvl="1" defTabSz="361088">
                <a:lnSpc>
                  <a:spcPct val="90000"/>
                </a:lnSpc>
                <a:spcAft>
                  <a:spcPts val="450"/>
                </a:spcAft>
                <a:defRPr/>
              </a:pPr>
              <a:r>
                <a:rPr lang="en-US" sz="1500" kern="0" dirty="0">
                  <a:solidFill>
                    <a:srgbClr val="FFFFFF"/>
                  </a:solidFill>
                  <a:ea typeface="Segoe UI" pitchFamily="34" charset="0"/>
                  <a:cs typeface="Segoe UI" pitchFamily="34" charset="0"/>
                </a:rPr>
                <a:t>Quick test pass</a:t>
              </a:r>
            </a:p>
            <a:p>
              <a:pPr marL="0" lvl="1" defTabSz="361088">
                <a:lnSpc>
                  <a:spcPct val="90000"/>
                </a:lnSpc>
                <a:spcAft>
                  <a:spcPts val="450"/>
                </a:spcAft>
                <a:defRPr/>
              </a:pPr>
              <a:r>
                <a:rPr lang="en-US" sz="1500" kern="0" dirty="0">
                  <a:solidFill>
                    <a:srgbClr val="FFFFFF"/>
                  </a:solidFill>
                  <a:ea typeface="Segoe UI" pitchFamily="34" charset="0"/>
                  <a:cs typeface="Segoe UI" pitchFamily="34" charset="0"/>
                </a:rPr>
                <a:t>Goal: find obvious issues to increase user cooperation rates</a:t>
              </a:r>
            </a:p>
          </p:txBody>
        </p:sp>
      </p:grpSp>
      <p:grpSp>
        <p:nvGrpSpPr>
          <p:cNvPr id="22" name="Group 21"/>
          <p:cNvGrpSpPr/>
          <p:nvPr/>
        </p:nvGrpSpPr>
        <p:grpSpPr>
          <a:xfrm>
            <a:off x="6151170" y="2760657"/>
            <a:ext cx="2992830" cy="879016"/>
            <a:chOff x="5826720" y="4108114"/>
            <a:chExt cx="4788528" cy="1406425"/>
          </a:xfrm>
        </p:grpSpPr>
        <p:sp>
          <p:nvSpPr>
            <p:cNvPr id="23" name="Rectangle 22"/>
            <p:cNvSpPr/>
            <p:nvPr/>
          </p:nvSpPr>
          <p:spPr>
            <a:xfrm>
              <a:off x="7048292" y="4108114"/>
              <a:ext cx="1808059" cy="1406425"/>
            </a:xfrm>
            <a:prstGeom prst="rect">
              <a:avLst/>
            </a:prstGeom>
            <a:noFill/>
            <a:ln>
              <a:noFill/>
            </a:ln>
            <a:effectLst/>
          </p:spPr>
        </p:sp>
        <p:sp>
          <p:nvSpPr>
            <p:cNvPr id="24" name="Rectangle 23"/>
            <p:cNvSpPr/>
            <p:nvPr/>
          </p:nvSpPr>
          <p:spPr>
            <a:xfrm>
              <a:off x="5826720" y="4108114"/>
              <a:ext cx="4788528" cy="1406425"/>
            </a:xfrm>
            <a:prstGeom prst="rect">
              <a:avLst/>
            </a:prstGeom>
            <a:noFill/>
            <a:ln>
              <a:noFill/>
            </a:ln>
            <a:effectLst/>
          </p:spPr>
          <p:txBody>
            <a:bodyPr spcFirstLastPara="0" vert="horz" wrap="square" lIns="64770" tIns="64770" rIns="64770" bIns="64770" numCol="1" spcCol="1270" anchor="t" anchorCtr="0">
              <a:noAutofit/>
            </a:bodyPr>
            <a:lstStyle/>
            <a:p>
              <a:pPr marL="0" lvl="1" defTabSz="361088">
                <a:lnSpc>
                  <a:spcPct val="90000"/>
                </a:lnSpc>
                <a:spcAft>
                  <a:spcPts val="450"/>
                </a:spcAft>
                <a:defRPr/>
              </a:pPr>
              <a:r>
                <a:rPr lang="en-US" sz="1500" kern="0" dirty="0">
                  <a:solidFill>
                    <a:srgbClr val="FFFFFF"/>
                  </a:solidFill>
                  <a:ea typeface="Segoe UI" pitchFamily="34" charset="0"/>
                  <a:cs typeface="Segoe UI" pitchFamily="34" charset="0"/>
                </a:rPr>
                <a:t>“The only test that matters”</a:t>
              </a:r>
            </a:p>
            <a:p>
              <a:pPr marL="0" lvl="1" defTabSz="361088">
                <a:lnSpc>
                  <a:spcPct val="90000"/>
                </a:lnSpc>
                <a:spcAft>
                  <a:spcPts val="450"/>
                </a:spcAft>
                <a:defRPr/>
              </a:pPr>
              <a:r>
                <a:rPr lang="en-US" sz="1500" kern="0" dirty="0">
                  <a:solidFill>
                    <a:srgbClr val="FFFFFF"/>
                  </a:solidFill>
                  <a:ea typeface="Segoe UI" pitchFamily="34" charset="0"/>
                  <a:cs typeface="Segoe UI" pitchFamily="34" charset="0"/>
                </a:rPr>
                <a:t>Final validation</a:t>
              </a:r>
            </a:p>
            <a:p>
              <a:pPr marL="0" lvl="1" defTabSz="361088">
                <a:lnSpc>
                  <a:spcPct val="90000"/>
                </a:lnSpc>
                <a:spcAft>
                  <a:spcPts val="450"/>
                </a:spcAft>
                <a:defRPr/>
              </a:pPr>
              <a:r>
                <a:rPr lang="en-US" sz="1500" kern="0" dirty="0">
                  <a:solidFill>
                    <a:srgbClr val="FFFFFF"/>
                  </a:solidFill>
                  <a:ea typeface="Segoe UI" pitchFamily="34" charset="0"/>
                  <a:cs typeface="Segoe UI" pitchFamily="34" charset="0"/>
                </a:rPr>
                <a:t>Supported by remediation engineering</a:t>
              </a:r>
            </a:p>
          </p:txBody>
        </p:sp>
      </p:grpSp>
      <p:sp useBgFill="1">
        <p:nvSpPr>
          <p:cNvPr id="25" name="Isosceles Triangle 24"/>
          <p:cNvSpPr/>
          <p:nvPr/>
        </p:nvSpPr>
        <p:spPr bwMode="auto">
          <a:xfrm rot="5400000">
            <a:off x="2890288" y="1955314"/>
            <a:ext cx="548102" cy="191069"/>
          </a:xfrm>
          <a:prstGeom prst="triangle">
            <a:avLst/>
          </a:prstGeom>
          <a:ln w="9525" cap="flat" cmpd="sng" algn="ctr">
            <a:noFill/>
            <a:prstDash val="solid"/>
            <a:headEnd type="none" w="med" len="med"/>
            <a:tailEnd type="none" w="med" len="med"/>
          </a:ln>
          <a:effectLst/>
        </p:spPr>
        <p:txBody>
          <a:bodyPr vert="horz" wrap="square" lIns="57130" tIns="28566" rIns="57130" bIns="28566" numCol="1" rtlCol="0" anchor="ctr" anchorCtr="0" compatLnSpc="1">
            <a:prstTxWarp prst="textNoShape">
              <a:avLst/>
            </a:prstTxWarp>
          </a:bodyPr>
          <a:lstStyle/>
          <a:p>
            <a:pPr algn="ctr" defTabSz="571140">
              <a:defRPr/>
            </a:pPr>
            <a:endParaRPr lang="en-US" sz="1700" kern="0" dirty="0">
              <a:gradFill>
                <a:gsLst>
                  <a:gs pos="0">
                    <a:srgbClr val="FFFFFF"/>
                  </a:gs>
                  <a:gs pos="100000">
                    <a:srgbClr val="FFFFFF"/>
                  </a:gs>
                </a:gsLst>
                <a:lin ang="5400000" scaled="0"/>
              </a:gradFill>
              <a:latin typeface="Segoe UI Light"/>
            </a:endParaRPr>
          </a:p>
        </p:txBody>
      </p:sp>
      <p:sp useBgFill="1">
        <p:nvSpPr>
          <p:cNvPr id="26" name="Isosceles Triangle 25"/>
          <p:cNvSpPr/>
          <p:nvPr/>
        </p:nvSpPr>
        <p:spPr bwMode="auto">
          <a:xfrm rot="5400000">
            <a:off x="5946589" y="1955311"/>
            <a:ext cx="548103" cy="191069"/>
          </a:xfrm>
          <a:prstGeom prst="triangle">
            <a:avLst/>
          </a:prstGeom>
          <a:ln w="9525" cap="flat" cmpd="sng" algn="ctr">
            <a:noFill/>
            <a:prstDash val="solid"/>
            <a:headEnd type="none" w="med" len="med"/>
            <a:tailEnd type="none" w="med" len="med"/>
          </a:ln>
          <a:effectLst/>
        </p:spPr>
        <p:txBody>
          <a:bodyPr vert="horz" wrap="square" lIns="57130" tIns="28566" rIns="57130" bIns="28566" numCol="1" rtlCol="0" anchor="ctr" anchorCtr="0" compatLnSpc="1">
            <a:prstTxWarp prst="textNoShape">
              <a:avLst/>
            </a:prstTxWarp>
          </a:bodyPr>
          <a:lstStyle/>
          <a:p>
            <a:pPr algn="ctr" defTabSz="571140">
              <a:defRPr/>
            </a:pPr>
            <a:endParaRPr lang="en-US" sz="1700" kern="0" dirty="0">
              <a:gradFill>
                <a:gsLst>
                  <a:gs pos="0">
                    <a:srgbClr val="FFFFFF"/>
                  </a:gs>
                  <a:gs pos="100000">
                    <a:srgbClr val="FFFFFF"/>
                  </a:gs>
                </a:gsLst>
                <a:lin ang="5400000" scaled="0"/>
              </a:gradFill>
              <a:latin typeface="Segoe UI Light"/>
            </a:endParaRPr>
          </a:p>
        </p:txBody>
      </p:sp>
      <p:grpSp>
        <p:nvGrpSpPr>
          <p:cNvPr id="27" name="Group 26"/>
          <p:cNvGrpSpPr/>
          <p:nvPr/>
        </p:nvGrpSpPr>
        <p:grpSpPr>
          <a:xfrm>
            <a:off x="4239435" y="1862119"/>
            <a:ext cx="744807" cy="734957"/>
            <a:chOff x="5103684" y="2542275"/>
            <a:chExt cx="3764905" cy="3980327"/>
          </a:xfrm>
          <a:solidFill>
            <a:srgbClr val="FFFFFF"/>
          </a:solidFill>
        </p:grpSpPr>
        <p:grpSp>
          <p:nvGrpSpPr>
            <p:cNvPr id="28" name="Group 27"/>
            <p:cNvGrpSpPr/>
            <p:nvPr/>
          </p:nvGrpSpPr>
          <p:grpSpPr>
            <a:xfrm>
              <a:off x="5828635" y="2542275"/>
              <a:ext cx="3039954" cy="3876826"/>
              <a:chOff x="5978285" y="4408626"/>
              <a:chExt cx="1830764" cy="2545966"/>
            </a:xfrm>
            <a:grpFill/>
            <a:effectLst/>
          </p:grpSpPr>
          <p:sp>
            <p:nvSpPr>
              <p:cNvPr id="30" name="Freeform 29"/>
              <p:cNvSpPr/>
              <p:nvPr/>
            </p:nvSpPr>
            <p:spPr>
              <a:xfrm>
                <a:off x="5978285" y="4649261"/>
                <a:ext cx="1399732" cy="2305331"/>
              </a:xfrm>
              <a:custGeom>
                <a:avLst/>
                <a:gdLst>
                  <a:gd name="connsiteX0" fmla="*/ 383878 w 1399732"/>
                  <a:gd name="connsiteY0" fmla="*/ 12 h 2305331"/>
                  <a:gd name="connsiteX1" fmla="*/ 461152 w 1399732"/>
                  <a:gd name="connsiteY1" fmla="*/ 463652 h 2305331"/>
                  <a:gd name="connsiteX2" fmla="*/ 1388430 w 1399732"/>
                  <a:gd name="connsiteY2" fmla="*/ 1171990 h 2305331"/>
                  <a:gd name="connsiteX3" fmla="*/ 976307 w 1399732"/>
                  <a:gd name="connsiteY3" fmla="*/ 2305331 h 2305331"/>
                  <a:gd name="connsiteX4" fmla="*/ 1105095 w 1399732"/>
                  <a:gd name="connsiteY4" fmla="*/ 1326536 h 2305331"/>
                  <a:gd name="connsiteX5" fmla="*/ 23270 w 1399732"/>
                  <a:gd name="connsiteY5" fmla="*/ 476531 h 2305331"/>
                  <a:gd name="connsiteX6" fmla="*/ 383878 w 1399732"/>
                  <a:gd name="connsiteY6" fmla="*/ 12 h 2305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99732" h="2305331">
                    <a:moveTo>
                      <a:pt x="383878" y="12"/>
                    </a:moveTo>
                    <a:cubicBezTo>
                      <a:pt x="456858" y="-2134"/>
                      <a:pt x="293727" y="268322"/>
                      <a:pt x="461152" y="463652"/>
                    </a:cubicBezTo>
                    <a:cubicBezTo>
                      <a:pt x="628577" y="658982"/>
                      <a:pt x="1302571" y="865044"/>
                      <a:pt x="1388430" y="1171990"/>
                    </a:cubicBezTo>
                    <a:cubicBezTo>
                      <a:pt x="1474289" y="1478936"/>
                      <a:pt x="1044994" y="2120734"/>
                      <a:pt x="976307" y="2305331"/>
                    </a:cubicBezTo>
                    <a:cubicBezTo>
                      <a:pt x="1019236" y="1979066"/>
                      <a:pt x="1263935" y="1631336"/>
                      <a:pt x="1105095" y="1326536"/>
                    </a:cubicBezTo>
                    <a:cubicBezTo>
                      <a:pt x="946256" y="1021736"/>
                      <a:pt x="147766" y="691179"/>
                      <a:pt x="23270" y="476531"/>
                    </a:cubicBezTo>
                    <a:cubicBezTo>
                      <a:pt x="-101226" y="261883"/>
                      <a:pt x="310898" y="2158"/>
                      <a:pt x="383878" y="12"/>
                    </a:cubicBezTo>
                    <a:close/>
                  </a:path>
                </a:pathLst>
              </a:custGeom>
              <a:grpFill/>
              <a:ln w="9525" cap="flat" cmpd="sng" algn="ctr">
                <a:noFill/>
                <a:prstDash val="solid"/>
              </a:ln>
              <a:effectLst/>
            </p:spPr>
            <p:txBody>
              <a:bodyPr vert="horz" wrap="square" lIns="91436" tIns="45718" rIns="91436" bIns="45718" numCol="1" rtlCol="0" anchor="ctr" anchorCtr="0" compatLnSpc="1">
                <a:prstTxWarp prst="textNoShape">
                  <a:avLst/>
                </a:prstTxWarp>
              </a:bodyPr>
              <a:lstStyle/>
              <a:p>
                <a:pPr algn="ctr" defTabSz="685637">
                  <a:defRPr/>
                </a:pPr>
                <a:endParaRPr lang="en-US" kern="0" dirty="0">
                  <a:gradFill>
                    <a:gsLst>
                      <a:gs pos="0">
                        <a:srgbClr val="FFFFFF"/>
                      </a:gs>
                      <a:gs pos="100000">
                        <a:srgbClr val="FFFFFF"/>
                      </a:gs>
                    </a:gsLst>
                    <a:lin ang="5400000" scaled="0"/>
                  </a:gradFill>
                </a:endParaRPr>
              </a:p>
            </p:txBody>
          </p:sp>
          <p:sp>
            <p:nvSpPr>
              <p:cNvPr id="31" name="Freeform 30"/>
              <p:cNvSpPr/>
              <p:nvPr/>
            </p:nvSpPr>
            <p:spPr>
              <a:xfrm>
                <a:off x="6503485" y="4408626"/>
                <a:ext cx="1305564" cy="2470302"/>
              </a:xfrm>
              <a:custGeom>
                <a:avLst/>
                <a:gdLst>
                  <a:gd name="connsiteX0" fmla="*/ 383878 w 1399732"/>
                  <a:gd name="connsiteY0" fmla="*/ 12 h 2305331"/>
                  <a:gd name="connsiteX1" fmla="*/ 461152 w 1399732"/>
                  <a:gd name="connsiteY1" fmla="*/ 463652 h 2305331"/>
                  <a:gd name="connsiteX2" fmla="*/ 1388430 w 1399732"/>
                  <a:gd name="connsiteY2" fmla="*/ 1171990 h 2305331"/>
                  <a:gd name="connsiteX3" fmla="*/ 976307 w 1399732"/>
                  <a:gd name="connsiteY3" fmla="*/ 2305331 h 2305331"/>
                  <a:gd name="connsiteX4" fmla="*/ 1105095 w 1399732"/>
                  <a:gd name="connsiteY4" fmla="*/ 1326536 h 2305331"/>
                  <a:gd name="connsiteX5" fmla="*/ 23270 w 1399732"/>
                  <a:gd name="connsiteY5" fmla="*/ 476531 h 2305331"/>
                  <a:gd name="connsiteX6" fmla="*/ 383878 w 1399732"/>
                  <a:gd name="connsiteY6" fmla="*/ 12 h 2305331"/>
                  <a:gd name="connsiteX0" fmla="*/ 389953 w 1398088"/>
                  <a:gd name="connsiteY0" fmla="*/ 1799 h 2307118"/>
                  <a:gd name="connsiteX1" fmla="*/ 1136929 w 1398088"/>
                  <a:gd name="connsiteY1" fmla="*/ 349529 h 2307118"/>
                  <a:gd name="connsiteX2" fmla="*/ 1394505 w 1398088"/>
                  <a:gd name="connsiteY2" fmla="*/ 1173777 h 2307118"/>
                  <a:gd name="connsiteX3" fmla="*/ 982382 w 1398088"/>
                  <a:gd name="connsiteY3" fmla="*/ 2307118 h 2307118"/>
                  <a:gd name="connsiteX4" fmla="*/ 1111170 w 1398088"/>
                  <a:gd name="connsiteY4" fmla="*/ 1328323 h 2307118"/>
                  <a:gd name="connsiteX5" fmla="*/ 29345 w 1398088"/>
                  <a:gd name="connsiteY5" fmla="*/ 478318 h 2307118"/>
                  <a:gd name="connsiteX6" fmla="*/ 389953 w 1398088"/>
                  <a:gd name="connsiteY6" fmla="*/ 1799 h 2307118"/>
                  <a:gd name="connsiteX0" fmla="*/ 389953 w 1411647"/>
                  <a:gd name="connsiteY0" fmla="*/ 1799 h 2397271"/>
                  <a:gd name="connsiteX1" fmla="*/ 1136929 w 1411647"/>
                  <a:gd name="connsiteY1" fmla="*/ 349529 h 2397271"/>
                  <a:gd name="connsiteX2" fmla="*/ 1394505 w 1411647"/>
                  <a:gd name="connsiteY2" fmla="*/ 1173777 h 2397271"/>
                  <a:gd name="connsiteX3" fmla="*/ 711926 w 1411647"/>
                  <a:gd name="connsiteY3" fmla="*/ 2397271 h 2397271"/>
                  <a:gd name="connsiteX4" fmla="*/ 1111170 w 1411647"/>
                  <a:gd name="connsiteY4" fmla="*/ 1328323 h 2397271"/>
                  <a:gd name="connsiteX5" fmla="*/ 29345 w 1411647"/>
                  <a:gd name="connsiteY5" fmla="*/ 478318 h 2397271"/>
                  <a:gd name="connsiteX6" fmla="*/ 389953 w 1411647"/>
                  <a:gd name="connsiteY6" fmla="*/ 1799 h 2397271"/>
                  <a:gd name="connsiteX0" fmla="*/ 306416 w 1328110"/>
                  <a:gd name="connsiteY0" fmla="*/ 1799 h 2397271"/>
                  <a:gd name="connsiteX1" fmla="*/ 1053392 w 1328110"/>
                  <a:gd name="connsiteY1" fmla="*/ 349529 h 2397271"/>
                  <a:gd name="connsiteX2" fmla="*/ 1310968 w 1328110"/>
                  <a:gd name="connsiteY2" fmla="*/ 1173777 h 2397271"/>
                  <a:gd name="connsiteX3" fmla="*/ 628389 w 1328110"/>
                  <a:gd name="connsiteY3" fmla="*/ 2397271 h 2397271"/>
                  <a:gd name="connsiteX4" fmla="*/ 1027633 w 1328110"/>
                  <a:gd name="connsiteY4" fmla="*/ 1328323 h 2397271"/>
                  <a:gd name="connsiteX5" fmla="*/ 35960 w 1328110"/>
                  <a:gd name="connsiteY5" fmla="*/ 478318 h 2397271"/>
                  <a:gd name="connsiteX6" fmla="*/ 306416 w 1328110"/>
                  <a:gd name="connsiteY6" fmla="*/ 1799 h 2397271"/>
                  <a:gd name="connsiteX0" fmla="*/ 315563 w 1324231"/>
                  <a:gd name="connsiteY0" fmla="*/ 1544 h 2435653"/>
                  <a:gd name="connsiteX1" fmla="*/ 1049660 w 1324231"/>
                  <a:gd name="connsiteY1" fmla="*/ 387911 h 2435653"/>
                  <a:gd name="connsiteX2" fmla="*/ 1307236 w 1324231"/>
                  <a:gd name="connsiteY2" fmla="*/ 1212159 h 2435653"/>
                  <a:gd name="connsiteX3" fmla="*/ 624657 w 1324231"/>
                  <a:gd name="connsiteY3" fmla="*/ 2435653 h 2435653"/>
                  <a:gd name="connsiteX4" fmla="*/ 1023901 w 1324231"/>
                  <a:gd name="connsiteY4" fmla="*/ 1366705 h 2435653"/>
                  <a:gd name="connsiteX5" fmla="*/ 32228 w 1324231"/>
                  <a:gd name="connsiteY5" fmla="*/ 516700 h 2435653"/>
                  <a:gd name="connsiteX6" fmla="*/ 315563 w 1324231"/>
                  <a:gd name="connsiteY6" fmla="*/ 1544 h 2435653"/>
                  <a:gd name="connsiteX0" fmla="*/ 314466 w 1323134"/>
                  <a:gd name="connsiteY0" fmla="*/ 6039 h 2440148"/>
                  <a:gd name="connsiteX1" fmla="*/ 1048563 w 1323134"/>
                  <a:gd name="connsiteY1" fmla="*/ 392406 h 2440148"/>
                  <a:gd name="connsiteX2" fmla="*/ 1306139 w 1323134"/>
                  <a:gd name="connsiteY2" fmla="*/ 1216654 h 2440148"/>
                  <a:gd name="connsiteX3" fmla="*/ 623560 w 1323134"/>
                  <a:gd name="connsiteY3" fmla="*/ 2440148 h 2440148"/>
                  <a:gd name="connsiteX4" fmla="*/ 1022804 w 1323134"/>
                  <a:gd name="connsiteY4" fmla="*/ 1371200 h 2440148"/>
                  <a:gd name="connsiteX5" fmla="*/ 31131 w 1323134"/>
                  <a:gd name="connsiteY5" fmla="*/ 521195 h 2440148"/>
                  <a:gd name="connsiteX6" fmla="*/ 314466 w 1323134"/>
                  <a:gd name="connsiteY6" fmla="*/ 6039 h 2440148"/>
                  <a:gd name="connsiteX0" fmla="*/ 314466 w 1318505"/>
                  <a:gd name="connsiteY0" fmla="*/ 6039 h 2440148"/>
                  <a:gd name="connsiteX1" fmla="*/ 1048563 w 1318505"/>
                  <a:gd name="connsiteY1" fmla="*/ 392406 h 2440148"/>
                  <a:gd name="connsiteX2" fmla="*/ 1306139 w 1318505"/>
                  <a:gd name="connsiteY2" fmla="*/ 1216654 h 2440148"/>
                  <a:gd name="connsiteX3" fmla="*/ 623560 w 1318505"/>
                  <a:gd name="connsiteY3" fmla="*/ 2440148 h 2440148"/>
                  <a:gd name="connsiteX4" fmla="*/ 1022804 w 1318505"/>
                  <a:gd name="connsiteY4" fmla="*/ 1371200 h 2440148"/>
                  <a:gd name="connsiteX5" fmla="*/ 31131 w 1318505"/>
                  <a:gd name="connsiteY5" fmla="*/ 521195 h 2440148"/>
                  <a:gd name="connsiteX6" fmla="*/ 314466 w 1318505"/>
                  <a:gd name="connsiteY6" fmla="*/ 6039 h 2440148"/>
                  <a:gd name="connsiteX0" fmla="*/ 314466 w 1325056"/>
                  <a:gd name="connsiteY0" fmla="*/ 6039 h 2440148"/>
                  <a:gd name="connsiteX1" fmla="*/ 1048563 w 1325056"/>
                  <a:gd name="connsiteY1" fmla="*/ 392406 h 2440148"/>
                  <a:gd name="connsiteX2" fmla="*/ 1306139 w 1325056"/>
                  <a:gd name="connsiteY2" fmla="*/ 1216654 h 2440148"/>
                  <a:gd name="connsiteX3" fmla="*/ 623560 w 1325056"/>
                  <a:gd name="connsiteY3" fmla="*/ 2440148 h 2440148"/>
                  <a:gd name="connsiteX4" fmla="*/ 1022804 w 1325056"/>
                  <a:gd name="connsiteY4" fmla="*/ 1371200 h 2440148"/>
                  <a:gd name="connsiteX5" fmla="*/ 31131 w 1325056"/>
                  <a:gd name="connsiteY5" fmla="*/ 521195 h 2440148"/>
                  <a:gd name="connsiteX6" fmla="*/ 314466 w 1325056"/>
                  <a:gd name="connsiteY6" fmla="*/ 6039 h 2440148"/>
                  <a:gd name="connsiteX0" fmla="*/ 312353 w 1305990"/>
                  <a:gd name="connsiteY0" fmla="*/ 9 h 2434118"/>
                  <a:gd name="connsiteX1" fmla="*/ 806011 w 1305990"/>
                  <a:gd name="connsiteY1" fmla="*/ 504784 h 2434118"/>
                  <a:gd name="connsiteX2" fmla="*/ 1304026 w 1305990"/>
                  <a:gd name="connsiteY2" fmla="*/ 1210624 h 2434118"/>
                  <a:gd name="connsiteX3" fmla="*/ 621447 w 1305990"/>
                  <a:gd name="connsiteY3" fmla="*/ 2434118 h 2434118"/>
                  <a:gd name="connsiteX4" fmla="*/ 1020691 w 1305990"/>
                  <a:gd name="connsiteY4" fmla="*/ 1365170 h 2434118"/>
                  <a:gd name="connsiteX5" fmla="*/ 29018 w 1305990"/>
                  <a:gd name="connsiteY5" fmla="*/ 515165 h 2434118"/>
                  <a:gd name="connsiteX6" fmla="*/ 312353 w 1305990"/>
                  <a:gd name="connsiteY6" fmla="*/ 9 h 2434118"/>
                  <a:gd name="connsiteX0" fmla="*/ 312353 w 1306122"/>
                  <a:gd name="connsiteY0" fmla="*/ 7 h 2434116"/>
                  <a:gd name="connsiteX1" fmla="*/ 806011 w 1306122"/>
                  <a:gd name="connsiteY1" fmla="*/ 504782 h 2434116"/>
                  <a:gd name="connsiteX2" fmla="*/ 1304026 w 1306122"/>
                  <a:gd name="connsiteY2" fmla="*/ 1210622 h 2434116"/>
                  <a:gd name="connsiteX3" fmla="*/ 621447 w 1306122"/>
                  <a:gd name="connsiteY3" fmla="*/ 2434116 h 2434116"/>
                  <a:gd name="connsiteX4" fmla="*/ 1020691 w 1306122"/>
                  <a:gd name="connsiteY4" fmla="*/ 1365168 h 2434116"/>
                  <a:gd name="connsiteX5" fmla="*/ 29018 w 1306122"/>
                  <a:gd name="connsiteY5" fmla="*/ 515163 h 2434116"/>
                  <a:gd name="connsiteX6" fmla="*/ 312353 w 1306122"/>
                  <a:gd name="connsiteY6" fmla="*/ 7 h 2434116"/>
                  <a:gd name="connsiteX0" fmla="*/ 311258 w 1305027"/>
                  <a:gd name="connsiteY0" fmla="*/ 6418 h 2440527"/>
                  <a:gd name="connsiteX1" fmla="*/ 804916 w 1305027"/>
                  <a:gd name="connsiteY1" fmla="*/ 511193 h 2440527"/>
                  <a:gd name="connsiteX2" fmla="*/ 1302931 w 1305027"/>
                  <a:gd name="connsiteY2" fmla="*/ 1217033 h 2440527"/>
                  <a:gd name="connsiteX3" fmla="*/ 620352 w 1305027"/>
                  <a:gd name="connsiteY3" fmla="*/ 2440527 h 2440527"/>
                  <a:gd name="connsiteX4" fmla="*/ 1019596 w 1305027"/>
                  <a:gd name="connsiteY4" fmla="*/ 1371579 h 2440527"/>
                  <a:gd name="connsiteX5" fmla="*/ 27923 w 1305027"/>
                  <a:gd name="connsiteY5" fmla="*/ 521574 h 2440527"/>
                  <a:gd name="connsiteX6" fmla="*/ 311258 w 1305027"/>
                  <a:gd name="connsiteY6" fmla="*/ 6418 h 2440527"/>
                  <a:gd name="connsiteX0" fmla="*/ 311258 w 1305027"/>
                  <a:gd name="connsiteY0" fmla="*/ 114 h 2434223"/>
                  <a:gd name="connsiteX1" fmla="*/ 804916 w 1305027"/>
                  <a:gd name="connsiteY1" fmla="*/ 504889 h 2434223"/>
                  <a:gd name="connsiteX2" fmla="*/ 1302931 w 1305027"/>
                  <a:gd name="connsiteY2" fmla="*/ 1210729 h 2434223"/>
                  <a:gd name="connsiteX3" fmla="*/ 620352 w 1305027"/>
                  <a:gd name="connsiteY3" fmla="*/ 2434223 h 2434223"/>
                  <a:gd name="connsiteX4" fmla="*/ 1019596 w 1305027"/>
                  <a:gd name="connsiteY4" fmla="*/ 1365275 h 2434223"/>
                  <a:gd name="connsiteX5" fmla="*/ 27923 w 1305027"/>
                  <a:gd name="connsiteY5" fmla="*/ 515270 h 2434223"/>
                  <a:gd name="connsiteX6" fmla="*/ 311258 w 1305027"/>
                  <a:gd name="connsiteY6" fmla="*/ 114 h 2434223"/>
                  <a:gd name="connsiteX0" fmla="*/ 311795 w 1305564"/>
                  <a:gd name="connsiteY0" fmla="*/ 36193 h 2470302"/>
                  <a:gd name="connsiteX1" fmla="*/ 805453 w 1305564"/>
                  <a:gd name="connsiteY1" fmla="*/ 540968 h 2470302"/>
                  <a:gd name="connsiteX2" fmla="*/ 1303468 w 1305564"/>
                  <a:gd name="connsiteY2" fmla="*/ 1246808 h 2470302"/>
                  <a:gd name="connsiteX3" fmla="*/ 620889 w 1305564"/>
                  <a:gd name="connsiteY3" fmla="*/ 2470302 h 2470302"/>
                  <a:gd name="connsiteX4" fmla="*/ 1020133 w 1305564"/>
                  <a:gd name="connsiteY4" fmla="*/ 1401354 h 2470302"/>
                  <a:gd name="connsiteX5" fmla="*/ 28460 w 1305564"/>
                  <a:gd name="connsiteY5" fmla="*/ 551349 h 2470302"/>
                  <a:gd name="connsiteX6" fmla="*/ 311795 w 1305564"/>
                  <a:gd name="connsiteY6" fmla="*/ 36193 h 2470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5564" h="2470302">
                    <a:moveTo>
                      <a:pt x="311795" y="36193"/>
                    </a:moveTo>
                    <a:cubicBezTo>
                      <a:pt x="433538" y="203619"/>
                      <a:pt x="591147" y="363804"/>
                      <a:pt x="805453" y="540968"/>
                    </a:cubicBezTo>
                    <a:cubicBezTo>
                      <a:pt x="1019759" y="718132"/>
                      <a:pt x="1334229" y="925252"/>
                      <a:pt x="1303468" y="1246808"/>
                    </a:cubicBezTo>
                    <a:cubicBezTo>
                      <a:pt x="1272707" y="1568364"/>
                      <a:pt x="689576" y="2285705"/>
                      <a:pt x="620889" y="2470302"/>
                    </a:cubicBezTo>
                    <a:cubicBezTo>
                      <a:pt x="663818" y="2144037"/>
                      <a:pt x="1178973" y="1706154"/>
                      <a:pt x="1020133" y="1401354"/>
                    </a:cubicBezTo>
                    <a:cubicBezTo>
                      <a:pt x="861294" y="1096554"/>
                      <a:pt x="146516" y="778876"/>
                      <a:pt x="28460" y="551349"/>
                    </a:cubicBezTo>
                    <a:cubicBezTo>
                      <a:pt x="-89596" y="323822"/>
                      <a:pt x="190052" y="-131233"/>
                      <a:pt x="311795" y="36193"/>
                    </a:cubicBezTo>
                    <a:close/>
                  </a:path>
                </a:pathLst>
              </a:custGeom>
              <a:grpFill/>
              <a:ln w="9525" cap="flat" cmpd="sng" algn="ctr">
                <a:noFill/>
                <a:prstDash val="solid"/>
              </a:ln>
              <a:effectLst/>
            </p:spPr>
            <p:txBody>
              <a:bodyPr vert="horz" wrap="square" lIns="91436" tIns="45718" rIns="91436" bIns="45718" numCol="1" rtlCol="0" anchor="ctr" anchorCtr="0" compatLnSpc="1">
                <a:prstTxWarp prst="textNoShape">
                  <a:avLst/>
                </a:prstTxWarp>
              </a:bodyPr>
              <a:lstStyle/>
              <a:p>
                <a:pPr algn="ctr" defTabSz="685637">
                  <a:defRPr/>
                </a:pPr>
                <a:endParaRPr lang="en-US" kern="0" dirty="0">
                  <a:gradFill>
                    <a:gsLst>
                      <a:gs pos="0">
                        <a:srgbClr val="FFFFFF"/>
                      </a:gs>
                      <a:gs pos="100000">
                        <a:srgbClr val="FFFFFF"/>
                      </a:gs>
                    </a:gsLst>
                    <a:lin ang="5400000" scaled="0"/>
                  </a:gradFill>
                </a:endParaRPr>
              </a:p>
            </p:txBody>
          </p:sp>
        </p:grpSp>
        <p:sp>
          <p:nvSpPr>
            <p:cNvPr id="29" name="Freeform 28"/>
            <p:cNvSpPr/>
            <p:nvPr/>
          </p:nvSpPr>
          <p:spPr>
            <a:xfrm>
              <a:off x="5103684" y="3321277"/>
              <a:ext cx="2364219" cy="3201325"/>
            </a:xfrm>
            <a:custGeom>
              <a:avLst/>
              <a:gdLst>
                <a:gd name="connsiteX0" fmla="*/ 383878 w 1399732"/>
                <a:gd name="connsiteY0" fmla="*/ 12 h 2305331"/>
                <a:gd name="connsiteX1" fmla="*/ 461152 w 1399732"/>
                <a:gd name="connsiteY1" fmla="*/ 463652 h 2305331"/>
                <a:gd name="connsiteX2" fmla="*/ 1388430 w 1399732"/>
                <a:gd name="connsiteY2" fmla="*/ 1171990 h 2305331"/>
                <a:gd name="connsiteX3" fmla="*/ 976307 w 1399732"/>
                <a:gd name="connsiteY3" fmla="*/ 2305331 h 2305331"/>
                <a:gd name="connsiteX4" fmla="*/ 1105095 w 1399732"/>
                <a:gd name="connsiteY4" fmla="*/ 1326536 h 2305331"/>
                <a:gd name="connsiteX5" fmla="*/ 23270 w 1399732"/>
                <a:gd name="connsiteY5" fmla="*/ 476531 h 2305331"/>
                <a:gd name="connsiteX6" fmla="*/ 383878 w 1399732"/>
                <a:gd name="connsiteY6" fmla="*/ 12 h 2305331"/>
                <a:gd name="connsiteX0" fmla="*/ 383878 w 1444622"/>
                <a:gd name="connsiteY0" fmla="*/ 12 h 2237669"/>
                <a:gd name="connsiteX1" fmla="*/ 461152 w 1444622"/>
                <a:gd name="connsiteY1" fmla="*/ 463652 h 2237669"/>
                <a:gd name="connsiteX2" fmla="*/ 1388430 w 1444622"/>
                <a:gd name="connsiteY2" fmla="*/ 1171990 h 2237669"/>
                <a:gd name="connsiteX3" fmla="*/ 1302063 w 1444622"/>
                <a:gd name="connsiteY3" fmla="*/ 2237669 h 2237669"/>
                <a:gd name="connsiteX4" fmla="*/ 1105095 w 1444622"/>
                <a:gd name="connsiteY4" fmla="*/ 1326536 h 2237669"/>
                <a:gd name="connsiteX5" fmla="*/ 23270 w 1444622"/>
                <a:gd name="connsiteY5" fmla="*/ 476531 h 2237669"/>
                <a:gd name="connsiteX6" fmla="*/ 383878 w 1444622"/>
                <a:gd name="connsiteY6" fmla="*/ 12 h 2237669"/>
                <a:gd name="connsiteX0" fmla="*/ 361724 w 1422468"/>
                <a:gd name="connsiteY0" fmla="*/ 12 h 2237669"/>
                <a:gd name="connsiteX1" fmla="*/ 438998 w 1422468"/>
                <a:gd name="connsiteY1" fmla="*/ 463652 h 2237669"/>
                <a:gd name="connsiteX2" fmla="*/ 1366276 w 1422468"/>
                <a:gd name="connsiteY2" fmla="*/ 1171990 h 2237669"/>
                <a:gd name="connsiteX3" fmla="*/ 1279909 w 1422468"/>
                <a:gd name="connsiteY3" fmla="*/ 2237669 h 2237669"/>
                <a:gd name="connsiteX4" fmla="*/ 1082941 w 1422468"/>
                <a:gd name="connsiteY4" fmla="*/ 1326536 h 2237669"/>
                <a:gd name="connsiteX5" fmla="*/ 280000 w 1422468"/>
                <a:gd name="connsiteY5" fmla="*/ 1092005 h 2237669"/>
                <a:gd name="connsiteX6" fmla="*/ 1116 w 1422468"/>
                <a:gd name="connsiteY6" fmla="*/ 476531 h 2237669"/>
                <a:gd name="connsiteX7" fmla="*/ 361724 w 1422468"/>
                <a:gd name="connsiteY7" fmla="*/ 12 h 2237669"/>
                <a:gd name="connsiteX0" fmla="*/ 361724 w 1422468"/>
                <a:gd name="connsiteY0" fmla="*/ 12 h 2237669"/>
                <a:gd name="connsiteX1" fmla="*/ 438998 w 1422468"/>
                <a:gd name="connsiteY1" fmla="*/ 463652 h 2237669"/>
                <a:gd name="connsiteX2" fmla="*/ 1366276 w 1422468"/>
                <a:gd name="connsiteY2" fmla="*/ 1171990 h 2237669"/>
                <a:gd name="connsiteX3" fmla="*/ 1279909 w 1422468"/>
                <a:gd name="connsiteY3" fmla="*/ 2237669 h 2237669"/>
                <a:gd name="connsiteX4" fmla="*/ 997624 w 1422468"/>
                <a:gd name="connsiteY4" fmla="*/ 1521064 h 2237669"/>
                <a:gd name="connsiteX5" fmla="*/ 280000 w 1422468"/>
                <a:gd name="connsiteY5" fmla="*/ 1092005 h 2237669"/>
                <a:gd name="connsiteX6" fmla="*/ 1116 w 1422468"/>
                <a:gd name="connsiteY6" fmla="*/ 476531 h 2237669"/>
                <a:gd name="connsiteX7" fmla="*/ 361724 w 1422468"/>
                <a:gd name="connsiteY7" fmla="*/ 12 h 2237669"/>
                <a:gd name="connsiteX0" fmla="*/ 361724 w 1422468"/>
                <a:gd name="connsiteY0" fmla="*/ 22 h 2102355"/>
                <a:gd name="connsiteX1" fmla="*/ 438998 w 1422468"/>
                <a:gd name="connsiteY1" fmla="*/ 328338 h 2102355"/>
                <a:gd name="connsiteX2" fmla="*/ 1366276 w 1422468"/>
                <a:gd name="connsiteY2" fmla="*/ 1036676 h 2102355"/>
                <a:gd name="connsiteX3" fmla="*/ 1279909 w 1422468"/>
                <a:gd name="connsiteY3" fmla="*/ 2102355 h 2102355"/>
                <a:gd name="connsiteX4" fmla="*/ 997624 w 1422468"/>
                <a:gd name="connsiteY4" fmla="*/ 1385750 h 2102355"/>
                <a:gd name="connsiteX5" fmla="*/ 280000 w 1422468"/>
                <a:gd name="connsiteY5" fmla="*/ 956691 h 2102355"/>
                <a:gd name="connsiteX6" fmla="*/ 1116 w 1422468"/>
                <a:gd name="connsiteY6" fmla="*/ 341217 h 2102355"/>
                <a:gd name="connsiteX7" fmla="*/ 361724 w 1422468"/>
                <a:gd name="connsiteY7" fmla="*/ 22 h 2102355"/>
                <a:gd name="connsiteX0" fmla="*/ 361724 w 1422468"/>
                <a:gd name="connsiteY0" fmla="*/ 22 h 2102355"/>
                <a:gd name="connsiteX1" fmla="*/ 438998 w 1422468"/>
                <a:gd name="connsiteY1" fmla="*/ 328338 h 2102355"/>
                <a:gd name="connsiteX2" fmla="*/ 1366276 w 1422468"/>
                <a:gd name="connsiteY2" fmla="*/ 1036676 h 2102355"/>
                <a:gd name="connsiteX3" fmla="*/ 1279909 w 1422468"/>
                <a:gd name="connsiteY3" fmla="*/ 2102355 h 2102355"/>
                <a:gd name="connsiteX4" fmla="*/ 997624 w 1422468"/>
                <a:gd name="connsiteY4" fmla="*/ 1385750 h 2102355"/>
                <a:gd name="connsiteX5" fmla="*/ 280000 w 1422468"/>
                <a:gd name="connsiteY5" fmla="*/ 956691 h 2102355"/>
                <a:gd name="connsiteX6" fmla="*/ 1116 w 1422468"/>
                <a:gd name="connsiteY6" fmla="*/ 341217 h 2102355"/>
                <a:gd name="connsiteX7" fmla="*/ 361724 w 1422468"/>
                <a:gd name="connsiteY7" fmla="*/ 22 h 2102355"/>
                <a:gd name="connsiteX0" fmla="*/ 361724 w 1422468"/>
                <a:gd name="connsiteY0" fmla="*/ 22 h 2102355"/>
                <a:gd name="connsiteX1" fmla="*/ 438998 w 1422468"/>
                <a:gd name="connsiteY1" fmla="*/ 328338 h 2102355"/>
                <a:gd name="connsiteX2" fmla="*/ 1366276 w 1422468"/>
                <a:gd name="connsiteY2" fmla="*/ 1036676 h 2102355"/>
                <a:gd name="connsiteX3" fmla="*/ 1279909 w 1422468"/>
                <a:gd name="connsiteY3" fmla="*/ 2102355 h 2102355"/>
                <a:gd name="connsiteX4" fmla="*/ 997624 w 1422468"/>
                <a:gd name="connsiteY4" fmla="*/ 1385750 h 2102355"/>
                <a:gd name="connsiteX5" fmla="*/ 280000 w 1422468"/>
                <a:gd name="connsiteY5" fmla="*/ 956691 h 2102355"/>
                <a:gd name="connsiteX6" fmla="*/ 1116 w 1422468"/>
                <a:gd name="connsiteY6" fmla="*/ 341217 h 2102355"/>
                <a:gd name="connsiteX7" fmla="*/ 361724 w 1422468"/>
                <a:gd name="connsiteY7" fmla="*/ 22 h 2102355"/>
                <a:gd name="connsiteX0" fmla="*/ 361724 w 1422468"/>
                <a:gd name="connsiteY0" fmla="*/ 22 h 2102355"/>
                <a:gd name="connsiteX1" fmla="*/ 438998 w 1422468"/>
                <a:gd name="connsiteY1" fmla="*/ 328338 h 2102355"/>
                <a:gd name="connsiteX2" fmla="*/ 1366276 w 1422468"/>
                <a:gd name="connsiteY2" fmla="*/ 1036676 h 2102355"/>
                <a:gd name="connsiteX3" fmla="*/ 1279909 w 1422468"/>
                <a:gd name="connsiteY3" fmla="*/ 2102355 h 2102355"/>
                <a:gd name="connsiteX4" fmla="*/ 997624 w 1422468"/>
                <a:gd name="connsiteY4" fmla="*/ 1385750 h 2102355"/>
                <a:gd name="connsiteX5" fmla="*/ 280000 w 1422468"/>
                <a:gd name="connsiteY5" fmla="*/ 956691 h 2102355"/>
                <a:gd name="connsiteX6" fmla="*/ 1116 w 1422468"/>
                <a:gd name="connsiteY6" fmla="*/ 341217 h 2102355"/>
                <a:gd name="connsiteX7" fmla="*/ 361724 w 1422468"/>
                <a:gd name="connsiteY7" fmla="*/ 22 h 2102355"/>
                <a:gd name="connsiteX0" fmla="*/ 360618 w 1421362"/>
                <a:gd name="connsiteY0" fmla="*/ 22 h 2102355"/>
                <a:gd name="connsiteX1" fmla="*/ 437892 w 1421362"/>
                <a:gd name="connsiteY1" fmla="*/ 328338 h 2102355"/>
                <a:gd name="connsiteX2" fmla="*/ 1365170 w 1421362"/>
                <a:gd name="connsiteY2" fmla="*/ 1036676 h 2102355"/>
                <a:gd name="connsiteX3" fmla="*/ 1278803 w 1421362"/>
                <a:gd name="connsiteY3" fmla="*/ 2102355 h 2102355"/>
                <a:gd name="connsiteX4" fmla="*/ 996518 w 1421362"/>
                <a:gd name="connsiteY4" fmla="*/ 1385750 h 2102355"/>
                <a:gd name="connsiteX5" fmla="*/ 278894 w 1421362"/>
                <a:gd name="connsiteY5" fmla="*/ 956691 h 2102355"/>
                <a:gd name="connsiteX6" fmla="*/ 10 w 1421362"/>
                <a:gd name="connsiteY6" fmla="*/ 341217 h 2102355"/>
                <a:gd name="connsiteX7" fmla="*/ 360618 w 1421362"/>
                <a:gd name="connsiteY7" fmla="*/ 22 h 2102355"/>
                <a:gd name="connsiteX0" fmla="*/ 363069 w 1423813"/>
                <a:gd name="connsiteY0" fmla="*/ 22 h 2102355"/>
                <a:gd name="connsiteX1" fmla="*/ 440343 w 1423813"/>
                <a:gd name="connsiteY1" fmla="*/ 328338 h 2102355"/>
                <a:gd name="connsiteX2" fmla="*/ 1367621 w 1423813"/>
                <a:gd name="connsiteY2" fmla="*/ 1036676 h 2102355"/>
                <a:gd name="connsiteX3" fmla="*/ 1281254 w 1423813"/>
                <a:gd name="connsiteY3" fmla="*/ 2102355 h 2102355"/>
                <a:gd name="connsiteX4" fmla="*/ 998969 w 1423813"/>
                <a:gd name="connsiteY4" fmla="*/ 1385750 h 2102355"/>
                <a:gd name="connsiteX5" fmla="*/ 281345 w 1423813"/>
                <a:gd name="connsiteY5" fmla="*/ 956691 h 2102355"/>
                <a:gd name="connsiteX6" fmla="*/ 2461 w 1423813"/>
                <a:gd name="connsiteY6" fmla="*/ 341217 h 2102355"/>
                <a:gd name="connsiteX7" fmla="*/ 363069 w 1423813"/>
                <a:gd name="connsiteY7" fmla="*/ 22 h 2102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3813" h="2102355">
                  <a:moveTo>
                    <a:pt x="363069" y="22"/>
                  </a:moveTo>
                  <a:cubicBezTo>
                    <a:pt x="436049" y="-2124"/>
                    <a:pt x="272918" y="155562"/>
                    <a:pt x="440343" y="328338"/>
                  </a:cubicBezTo>
                  <a:cubicBezTo>
                    <a:pt x="607768" y="501114"/>
                    <a:pt x="1227469" y="741007"/>
                    <a:pt x="1367621" y="1036676"/>
                  </a:cubicBezTo>
                  <a:cubicBezTo>
                    <a:pt x="1507773" y="1332345"/>
                    <a:pt x="1349941" y="1917758"/>
                    <a:pt x="1281254" y="2102355"/>
                  </a:cubicBezTo>
                  <a:cubicBezTo>
                    <a:pt x="1324183" y="1776090"/>
                    <a:pt x="1219858" y="1555226"/>
                    <a:pt x="998969" y="1385750"/>
                  </a:cubicBezTo>
                  <a:cubicBezTo>
                    <a:pt x="684951" y="1156746"/>
                    <a:pt x="461649" y="1098358"/>
                    <a:pt x="281345" y="956691"/>
                  </a:cubicBezTo>
                  <a:cubicBezTo>
                    <a:pt x="101041" y="815024"/>
                    <a:pt x="-18916" y="576781"/>
                    <a:pt x="2461" y="341217"/>
                  </a:cubicBezTo>
                  <a:cubicBezTo>
                    <a:pt x="23838" y="105653"/>
                    <a:pt x="290089" y="2168"/>
                    <a:pt x="363069" y="22"/>
                  </a:cubicBezTo>
                  <a:close/>
                </a:path>
              </a:pathLst>
            </a:custGeom>
            <a:grpFill/>
            <a:ln w="9525" cap="flat" cmpd="sng" algn="ctr">
              <a:noFill/>
              <a:prstDash val="solid"/>
            </a:ln>
            <a:effectLst/>
          </p:spPr>
          <p:txBody>
            <a:bodyPr vert="horz" wrap="square" lIns="91436" tIns="45718" rIns="91436" bIns="45718" numCol="1" rtlCol="0" anchor="ctr" anchorCtr="0" compatLnSpc="1">
              <a:prstTxWarp prst="textNoShape">
                <a:avLst/>
              </a:prstTxWarp>
            </a:bodyPr>
            <a:lstStyle/>
            <a:p>
              <a:pPr algn="ctr" defTabSz="685637">
                <a:defRPr/>
              </a:pPr>
              <a:endParaRPr lang="en-US" kern="0" dirty="0">
                <a:gradFill>
                  <a:gsLst>
                    <a:gs pos="0">
                      <a:srgbClr val="FFFFFF"/>
                    </a:gs>
                    <a:gs pos="100000">
                      <a:srgbClr val="FFFFFF"/>
                    </a:gs>
                  </a:gsLst>
                  <a:lin ang="5400000" scaled="0"/>
                </a:gradFill>
              </a:endParaRPr>
            </a:p>
          </p:txBody>
        </p:sp>
      </p:grpSp>
      <p:pic>
        <p:nvPicPr>
          <p:cNvPr id="32" name="Picture 2" descr="C:\Users\Jordan\Desktop\TechEd_2012\TechEd-logo.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black">
          <a:xfrm>
            <a:off x="386962" y="4619593"/>
            <a:ext cx="698151" cy="322326"/>
          </a:xfrm>
          <a:prstGeom prst="rect">
            <a:avLst/>
          </a:prstGeom>
          <a:noFill/>
          <a:extLst>
            <a:ext uri="{909E8E84-426E-40DD-AFC4-6F175D3DCCD1}">
              <a14:hiddenFill xmlns:a14="http://schemas.microsoft.com/office/drawing/2010/main">
                <a:solidFill>
                  <a:srgbClr val="FFFFFF"/>
                </a:solidFill>
              </a14:hiddenFill>
            </a:ext>
          </a:extLst>
        </p:spPr>
      </p:pic>
      <p:sp>
        <p:nvSpPr>
          <p:cNvPr id="33"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4"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7"/>
              </a:rPr>
              <a:t>www.rapidbbs.cn</a:t>
            </a:r>
            <a:endParaRPr lang="zh-CN" altLang="en-US" sz="1200" b="0">
              <a:latin typeface="Arial" charset="0"/>
              <a:ea typeface="ＭＳ Ｐゴシック" pitchFamily="34" charset="-128"/>
            </a:endParaRPr>
          </a:p>
        </p:txBody>
      </p:sp>
      <p:pic>
        <p:nvPicPr>
          <p:cNvPr id="35" name="Picture 2">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60014983"/>
      </p:ext>
    </p:extLst>
  </p:cSld>
  <p:clrMapOvr>
    <a:masterClrMapping/>
  </p:clrMapOvr>
  <p:transition>
    <p:fade/>
  </p:transition>
  <p:timing>
    <p:tnLst>
      <p:par>
        <p:cTn id="1" dur="indefinite" restart="never" nodeType="tmRoot"/>
      </p:par>
    </p:tnLst>
  </p:timing>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sz="quarter" idx="10"/>
          </p:nvPr>
        </p:nvSpPr>
        <p:spPr>
          <a:xfrm>
            <a:off x="1275491" y="3375519"/>
            <a:ext cx="7755370" cy="623248"/>
          </a:xfrm>
        </p:spPr>
        <p:txBody>
          <a:bodyPr/>
          <a:lstStyle/>
          <a:p>
            <a:r>
              <a:rPr lang="en-US" smtClean="0"/>
              <a:t>demo</a:t>
            </a:r>
            <a:endParaRPr lang="en-US" dirty="0"/>
          </a:p>
        </p:txBody>
      </p:sp>
      <p:sp>
        <p:nvSpPr>
          <p:cNvPr id="4" name="Text Placeholder 3"/>
          <p:cNvSpPr>
            <a:spLocks noGrp="1"/>
          </p:cNvSpPr>
          <p:nvPr>
            <p:ph sz="quarter" idx="11"/>
          </p:nvPr>
        </p:nvSpPr>
        <p:spPr>
          <a:xfrm>
            <a:off x="5715299" y="1470284"/>
            <a:ext cx="3315563" cy="747897"/>
          </a:xfrm>
        </p:spPr>
        <p:txBody>
          <a:bodyPr/>
          <a:lstStyle/>
          <a:p>
            <a:r>
              <a:rPr lang="en-US" dirty="0" smtClean="0"/>
              <a:t>The Office 365 Trust Center</a:t>
            </a:r>
            <a:endParaRPr lang="en-US" dirty="0"/>
          </a:p>
        </p:txBody>
      </p:sp>
      <p:sp>
        <p:nvSpPr>
          <p:cNvPr id="7" name="Content Placeholder 6"/>
          <p:cNvSpPr>
            <a:spLocks noGrp="1"/>
          </p:cNvSpPr>
          <p:nvPr>
            <p:ph sz="quarter" idx="12"/>
          </p:nvPr>
        </p:nvSpPr>
        <p:spPr>
          <a:xfrm>
            <a:off x="5715299" y="2527969"/>
            <a:ext cx="3315563" cy="646331"/>
          </a:xfrm>
        </p:spPr>
        <p:txBody>
          <a:bodyPr/>
          <a:lstStyle/>
          <a:p>
            <a:r>
              <a:rPr lang="en-US" dirty="0" smtClean="0"/>
              <a:t>Bharath Rambadran</a:t>
            </a:r>
          </a:p>
          <a:p>
            <a:r>
              <a:rPr lang="en-US" dirty="0" smtClean="0"/>
              <a:t>Sr. Product Manager</a:t>
            </a:r>
            <a:endParaRPr lang="en-US" dirty="0"/>
          </a:p>
        </p:txBody>
      </p:sp>
      <p:sp>
        <p:nvSpPr>
          <p:cNvPr id="5"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6"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pic>
        <p:nvPicPr>
          <p:cNvPr id="8"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07079699"/>
      </p:ext>
    </p:extLst>
  </p:cSld>
  <p:clrMapOvr>
    <a:masterClrMapping/>
  </p:clrMapOvr>
  <p:transition>
    <p:fade/>
  </p:transition>
  <p:timing>
    <p:tnLst>
      <p:par>
        <p:cTn id="1" dur="indefinite" restart="never" nodeType="tmRoot"/>
      </p:par>
    </p:tnLst>
  </p:timing>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noAutofit/>
          </a:bodyPr>
          <a:lstStyle/>
          <a:p>
            <a:r>
              <a:rPr lang="en-US" dirty="0"/>
              <a:t>Project, Resource, and Portfolio Management</a:t>
            </a:r>
          </a:p>
        </p:txBody>
      </p:sp>
      <p:sp>
        <p:nvSpPr>
          <p:cNvPr id="6" name="Freeform 6"/>
          <p:cNvSpPr>
            <a:spLocks/>
          </p:cNvSpPr>
          <p:nvPr/>
        </p:nvSpPr>
        <p:spPr bwMode="auto">
          <a:xfrm>
            <a:off x="2896818" y="992097"/>
            <a:ext cx="3446832" cy="3448356"/>
          </a:xfrm>
          <a:custGeom>
            <a:avLst/>
            <a:gdLst>
              <a:gd name="T0" fmla="*/ 889 w 956"/>
              <a:gd name="T1" fmla="*/ 357 h 956"/>
              <a:gd name="T2" fmla="*/ 599 w 956"/>
              <a:gd name="T3" fmla="*/ 889 h 956"/>
              <a:gd name="T4" fmla="*/ 67 w 956"/>
              <a:gd name="T5" fmla="*/ 599 h 956"/>
              <a:gd name="T6" fmla="*/ 357 w 956"/>
              <a:gd name="T7" fmla="*/ 67 h 956"/>
              <a:gd name="T8" fmla="*/ 889 w 956"/>
              <a:gd name="T9" fmla="*/ 357 h 956"/>
            </a:gdLst>
            <a:ahLst/>
            <a:cxnLst>
              <a:cxn ang="0">
                <a:pos x="T0" y="T1"/>
              </a:cxn>
              <a:cxn ang="0">
                <a:pos x="T2" y="T3"/>
              </a:cxn>
              <a:cxn ang="0">
                <a:pos x="T4" y="T5"/>
              </a:cxn>
              <a:cxn ang="0">
                <a:pos x="T6" y="T7"/>
              </a:cxn>
              <a:cxn ang="0">
                <a:pos x="T8" y="T9"/>
              </a:cxn>
            </a:cxnLst>
            <a:rect l="0" t="0" r="r" b="b"/>
            <a:pathLst>
              <a:path w="956" h="956">
                <a:moveTo>
                  <a:pt x="889" y="357"/>
                </a:moveTo>
                <a:cubicBezTo>
                  <a:pt x="956" y="584"/>
                  <a:pt x="826" y="822"/>
                  <a:pt x="599" y="889"/>
                </a:cubicBezTo>
                <a:cubicBezTo>
                  <a:pt x="372" y="956"/>
                  <a:pt x="134" y="826"/>
                  <a:pt x="67" y="599"/>
                </a:cubicBezTo>
                <a:cubicBezTo>
                  <a:pt x="0" y="372"/>
                  <a:pt x="130" y="134"/>
                  <a:pt x="357" y="67"/>
                </a:cubicBezTo>
                <a:cubicBezTo>
                  <a:pt x="584" y="0"/>
                  <a:pt x="822" y="130"/>
                  <a:pt x="889" y="357"/>
                </a:cubicBezTo>
                <a:close/>
              </a:path>
            </a:pathLst>
          </a:custGeom>
          <a:solidFill>
            <a:schemeClr val="bg1">
              <a:alpha val="65000"/>
            </a:schemeClr>
          </a:solidFill>
          <a:ln>
            <a:noFill/>
          </a:ln>
        </p:spPr>
        <p:txBody>
          <a:bodyPr vert="horz" wrap="square" lIns="91432" tIns="45716" rIns="91432" bIns="45716" numCol="1" anchor="t" anchorCtr="0" compatLnSpc="1">
            <a:prstTxWarp prst="textNoShape">
              <a:avLst/>
            </a:prstTxWarp>
          </a:bodyPr>
          <a:lstStyle/>
          <a:p>
            <a:endParaRPr lang="en-US"/>
          </a:p>
        </p:txBody>
      </p:sp>
      <p:sp>
        <p:nvSpPr>
          <p:cNvPr id="56" name="Freeform 55"/>
          <p:cNvSpPr>
            <a:spLocks/>
          </p:cNvSpPr>
          <p:nvPr/>
        </p:nvSpPr>
        <p:spPr bwMode="auto">
          <a:xfrm>
            <a:off x="2857810" y="847572"/>
            <a:ext cx="3446832" cy="3448356"/>
          </a:xfrm>
          <a:custGeom>
            <a:avLst/>
            <a:gdLst>
              <a:gd name="T0" fmla="*/ 889 w 956"/>
              <a:gd name="T1" fmla="*/ 357 h 956"/>
              <a:gd name="T2" fmla="*/ 599 w 956"/>
              <a:gd name="T3" fmla="*/ 889 h 956"/>
              <a:gd name="T4" fmla="*/ 67 w 956"/>
              <a:gd name="T5" fmla="*/ 599 h 956"/>
              <a:gd name="T6" fmla="*/ 357 w 956"/>
              <a:gd name="T7" fmla="*/ 67 h 956"/>
              <a:gd name="T8" fmla="*/ 889 w 956"/>
              <a:gd name="T9" fmla="*/ 357 h 956"/>
            </a:gdLst>
            <a:ahLst/>
            <a:cxnLst>
              <a:cxn ang="0">
                <a:pos x="T0" y="T1"/>
              </a:cxn>
              <a:cxn ang="0">
                <a:pos x="T2" y="T3"/>
              </a:cxn>
              <a:cxn ang="0">
                <a:pos x="T4" y="T5"/>
              </a:cxn>
              <a:cxn ang="0">
                <a:pos x="T6" y="T7"/>
              </a:cxn>
              <a:cxn ang="0">
                <a:pos x="T8" y="T9"/>
              </a:cxn>
            </a:cxnLst>
            <a:rect l="0" t="0" r="r" b="b"/>
            <a:pathLst>
              <a:path w="956" h="956">
                <a:moveTo>
                  <a:pt x="889" y="357"/>
                </a:moveTo>
                <a:cubicBezTo>
                  <a:pt x="956" y="584"/>
                  <a:pt x="826" y="822"/>
                  <a:pt x="599" y="889"/>
                </a:cubicBezTo>
                <a:cubicBezTo>
                  <a:pt x="372" y="956"/>
                  <a:pt x="134" y="826"/>
                  <a:pt x="67" y="599"/>
                </a:cubicBezTo>
                <a:cubicBezTo>
                  <a:pt x="0" y="372"/>
                  <a:pt x="130" y="134"/>
                  <a:pt x="357" y="67"/>
                </a:cubicBezTo>
                <a:cubicBezTo>
                  <a:pt x="584" y="0"/>
                  <a:pt x="822" y="130"/>
                  <a:pt x="889" y="357"/>
                </a:cubicBezTo>
                <a:close/>
              </a:path>
            </a:pathLst>
          </a:custGeom>
          <a:solidFill>
            <a:srgbClr val="000000">
              <a:alpha val="65000"/>
            </a:srgbClr>
          </a:solidFill>
          <a:ln>
            <a:noFill/>
          </a:ln>
        </p:spPr>
        <p:txBody>
          <a:bodyPr vert="horz" wrap="square" lIns="91432" tIns="45716" rIns="91432" bIns="45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85835">
              <a:defRPr/>
            </a:pPr>
            <a:endParaRPr lang="en-US" sz="1400">
              <a:solidFill>
                <a:srgbClr val="FFFFFF"/>
              </a:solidFill>
              <a:latin typeface="Segoe UI"/>
            </a:endParaRPr>
          </a:p>
        </p:txBody>
      </p:sp>
      <p:sp>
        <p:nvSpPr>
          <p:cNvPr id="57" name="TextBox 21"/>
          <p:cNvSpPr txBox="1">
            <a:spLocks noChangeAspect="1"/>
          </p:cNvSpPr>
          <p:nvPr/>
        </p:nvSpPr>
        <p:spPr>
          <a:xfrm rot="21420000">
            <a:off x="3147434" y="1119326"/>
            <a:ext cx="2886406" cy="2887684"/>
          </a:xfrm>
          <a:prstGeom prst="rect">
            <a:avLst/>
          </a:prstGeom>
          <a:noFill/>
        </p:spPr>
        <p:txBody>
          <a:bodyPr spcFirstLastPara="1" wrap="none" lIns="0" tIns="0" rIns="0" bIns="0" numCol="1" rtlCol="0">
            <a:prstTxWarp prst="textArchDown">
              <a:avLst>
                <a:gd name="adj" fmla="val 21557196"/>
              </a:avLst>
            </a:prstTxWarp>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685835">
              <a:defRPr/>
            </a:pPr>
            <a:r>
              <a:rPr lang="en-US" sz="1300" b="1" spc="100" dirty="0">
                <a:gradFill>
                  <a:gsLst>
                    <a:gs pos="0">
                      <a:srgbClr val="FFFFFF"/>
                    </a:gs>
                    <a:gs pos="86000">
                      <a:srgbClr val="FFFFFF"/>
                    </a:gs>
                  </a:gsLst>
                  <a:lin ang="5400000" scaled="0"/>
                </a:gradFill>
                <a:latin typeface="Segoe" pitchFamily="34" charset="0"/>
              </a:rPr>
              <a:t>PARTICIPATION</a:t>
            </a:r>
          </a:p>
        </p:txBody>
      </p:sp>
      <p:sp>
        <p:nvSpPr>
          <p:cNvPr id="58" name="Rectangle 57"/>
          <p:cNvSpPr/>
          <p:nvPr/>
        </p:nvSpPr>
        <p:spPr bwMode="auto">
          <a:xfrm>
            <a:off x="4733567" y="1608076"/>
            <a:ext cx="3889054" cy="950133"/>
          </a:xfrm>
          <a:prstGeom prst="rect">
            <a:avLst/>
          </a:prstGeom>
          <a:solidFill>
            <a:schemeClr val="bg1">
              <a:lumMod val="75000"/>
              <a:alpha val="75000"/>
            </a:schemeClr>
          </a:solid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91428" tIns="45714" rIns="91428" bIns="45714"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23">
              <a:defRPr/>
            </a:pPr>
            <a:endParaRPr lang="en-US" sz="2400" kern="0" dirty="0">
              <a:gradFill>
                <a:gsLst>
                  <a:gs pos="0">
                    <a:srgbClr val="000000"/>
                  </a:gs>
                  <a:gs pos="100000">
                    <a:srgbClr val="000000"/>
                  </a:gs>
                </a:gsLst>
                <a:lin ang="5400000" scaled="0"/>
              </a:gradFill>
              <a:latin typeface="Segoe"/>
            </a:endParaRPr>
          </a:p>
        </p:txBody>
      </p:sp>
      <p:sp>
        <p:nvSpPr>
          <p:cNvPr id="59" name="Rectangle 58"/>
          <p:cNvSpPr/>
          <p:nvPr/>
        </p:nvSpPr>
        <p:spPr bwMode="auto">
          <a:xfrm>
            <a:off x="521382" y="1608076"/>
            <a:ext cx="3896004" cy="950133"/>
          </a:xfrm>
          <a:prstGeom prst="rect">
            <a:avLst/>
          </a:prstGeom>
          <a:solidFill>
            <a:schemeClr val="bg1">
              <a:lumMod val="75000"/>
              <a:alpha val="75000"/>
            </a:schemeClr>
          </a:solid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91428" tIns="45714" rIns="91428" bIns="45714"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23">
              <a:defRPr/>
            </a:pPr>
            <a:endParaRPr lang="en-US" sz="2400" kern="0" dirty="0">
              <a:gradFill>
                <a:gsLst>
                  <a:gs pos="0">
                    <a:srgbClr val="000000"/>
                  </a:gs>
                  <a:gs pos="100000">
                    <a:srgbClr val="000000"/>
                  </a:gs>
                </a:gsLst>
                <a:lin ang="5400000" scaled="0"/>
              </a:gradFill>
              <a:latin typeface="Segoe"/>
            </a:endParaRPr>
          </a:p>
        </p:txBody>
      </p:sp>
      <p:sp>
        <p:nvSpPr>
          <p:cNvPr id="60" name="Rectangle 59"/>
          <p:cNvSpPr/>
          <p:nvPr/>
        </p:nvSpPr>
        <p:spPr bwMode="auto">
          <a:xfrm>
            <a:off x="4733567" y="2597655"/>
            <a:ext cx="3889054" cy="991621"/>
          </a:xfrm>
          <a:prstGeom prst="rect">
            <a:avLst/>
          </a:prstGeom>
          <a:solidFill>
            <a:schemeClr val="bg1">
              <a:lumMod val="75000"/>
              <a:alpha val="75000"/>
            </a:schemeClr>
          </a:solid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91428" tIns="45714" rIns="91428" bIns="45714"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23">
              <a:defRPr/>
            </a:pPr>
            <a:endParaRPr lang="en-US" sz="2400" kern="0" dirty="0">
              <a:gradFill>
                <a:gsLst>
                  <a:gs pos="0">
                    <a:srgbClr val="000000"/>
                  </a:gs>
                  <a:gs pos="100000">
                    <a:srgbClr val="000000"/>
                  </a:gs>
                </a:gsLst>
                <a:lin ang="5400000" scaled="0"/>
              </a:gradFill>
              <a:latin typeface="Segoe"/>
            </a:endParaRPr>
          </a:p>
        </p:txBody>
      </p:sp>
      <p:sp>
        <p:nvSpPr>
          <p:cNvPr id="61" name="Rectangle 60"/>
          <p:cNvSpPr/>
          <p:nvPr/>
        </p:nvSpPr>
        <p:spPr bwMode="auto">
          <a:xfrm>
            <a:off x="521382" y="2597654"/>
            <a:ext cx="3896004" cy="991620"/>
          </a:xfrm>
          <a:prstGeom prst="rect">
            <a:avLst/>
          </a:prstGeom>
          <a:solidFill>
            <a:schemeClr val="bg1">
              <a:lumMod val="75000"/>
              <a:alpha val="75000"/>
            </a:schemeClr>
          </a:solid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91428" tIns="45714" rIns="91428" bIns="45714"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23">
              <a:defRPr/>
            </a:pPr>
            <a:endParaRPr lang="en-US" sz="2400" kern="0" dirty="0">
              <a:gradFill>
                <a:gsLst>
                  <a:gs pos="0">
                    <a:srgbClr val="000000"/>
                  </a:gs>
                  <a:gs pos="100000">
                    <a:srgbClr val="000000"/>
                  </a:gs>
                </a:gsLst>
                <a:lin ang="5400000" scaled="0"/>
              </a:gradFill>
              <a:latin typeface="Segoe"/>
            </a:endParaRPr>
          </a:p>
        </p:txBody>
      </p:sp>
      <p:sp>
        <p:nvSpPr>
          <p:cNvPr id="62" name="Pie 61"/>
          <p:cNvSpPr/>
          <p:nvPr/>
        </p:nvSpPr>
        <p:spPr>
          <a:xfrm>
            <a:off x="3343132" y="1340821"/>
            <a:ext cx="1225441" cy="1225441"/>
          </a:xfrm>
          <a:prstGeom prst="pieWedge">
            <a:avLst/>
          </a:prstGeom>
          <a:solidFill>
            <a:srgbClr val="DFB003"/>
          </a:solidFill>
          <a:ln w="6350">
            <a:solidFill>
              <a:srgbClr val="000000">
                <a:alpha val="31000"/>
              </a:srgbClr>
            </a:solidFill>
            <a:round/>
            <a:headEnd/>
            <a:tailEnd/>
          </a:ln>
        </p:spPr>
        <p:txBody>
          <a:bodyPr lIns="68586" tIns="34294" rIns="68586" bIns="34294"/>
          <a:lstStyle/>
          <a:p>
            <a:pPr defTabSz="685862">
              <a:defRPr/>
            </a:pPr>
            <a:endParaRPr lang="en-US" kern="0">
              <a:solidFill>
                <a:sysClr val="windowText" lastClr="000000"/>
              </a:solidFill>
            </a:endParaRPr>
          </a:p>
        </p:txBody>
      </p:sp>
      <p:sp>
        <p:nvSpPr>
          <p:cNvPr id="63" name="Pie 62"/>
          <p:cNvSpPr/>
          <p:nvPr/>
        </p:nvSpPr>
        <p:spPr>
          <a:xfrm rot="5400000">
            <a:off x="4587078" y="1340820"/>
            <a:ext cx="1225441" cy="1225441"/>
          </a:xfrm>
          <a:prstGeom prst="pieWedge">
            <a:avLst/>
          </a:prstGeom>
          <a:solidFill>
            <a:srgbClr val="006A8C"/>
          </a:solidFill>
          <a:ln w="6350" cap="flat">
            <a:solidFill>
              <a:srgbClr val="000000">
                <a:alpha val="31000"/>
              </a:srgbClr>
            </a:solidFill>
            <a:prstDash val="solid"/>
            <a:miter lim="800000"/>
            <a:headEnd/>
            <a:tailEnd/>
          </a:ln>
        </p:spPr>
        <p:txBody>
          <a:bodyPr lIns="68586" tIns="34294" rIns="68586" bIns="34294"/>
          <a:lstStyle/>
          <a:p>
            <a:pPr defTabSz="685862">
              <a:defRPr/>
            </a:pPr>
            <a:endParaRPr lang="en-US" kern="0">
              <a:solidFill>
                <a:sysClr val="windowText" lastClr="000000"/>
              </a:solidFill>
            </a:endParaRPr>
          </a:p>
        </p:txBody>
      </p:sp>
      <p:sp>
        <p:nvSpPr>
          <p:cNvPr id="68" name="Pie 67"/>
          <p:cNvSpPr/>
          <p:nvPr/>
        </p:nvSpPr>
        <p:spPr>
          <a:xfrm rot="10800000">
            <a:off x="4587076" y="2588131"/>
            <a:ext cx="1225441" cy="1225441"/>
          </a:xfrm>
          <a:prstGeom prst="pieWedge">
            <a:avLst/>
          </a:prstGeom>
          <a:solidFill>
            <a:srgbClr val="AA4B5C"/>
          </a:solidFill>
          <a:ln w="6350" cap="flat">
            <a:solidFill>
              <a:srgbClr val="000000">
                <a:alpha val="31000"/>
              </a:srgbClr>
            </a:solidFill>
            <a:prstDash val="solid"/>
            <a:miter lim="800000"/>
            <a:headEnd/>
            <a:tailEnd/>
          </a:ln>
        </p:spPr>
        <p:txBody>
          <a:bodyPr lIns="68586" tIns="34294" rIns="68586" bIns="34294"/>
          <a:lstStyle/>
          <a:p>
            <a:pPr defTabSz="685862">
              <a:defRPr/>
            </a:pPr>
            <a:endParaRPr lang="en-US" kern="0">
              <a:solidFill>
                <a:sysClr val="windowText" lastClr="000000"/>
              </a:solidFill>
            </a:endParaRPr>
          </a:p>
        </p:txBody>
      </p:sp>
      <p:sp>
        <p:nvSpPr>
          <p:cNvPr id="70" name="Pie 69"/>
          <p:cNvSpPr/>
          <p:nvPr/>
        </p:nvSpPr>
        <p:spPr>
          <a:xfrm rot="16200000">
            <a:off x="3343133" y="2588130"/>
            <a:ext cx="1225441" cy="1225441"/>
          </a:xfrm>
          <a:prstGeom prst="pieWedge">
            <a:avLst/>
          </a:prstGeom>
          <a:solidFill>
            <a:srgbClr val="A0CD4F"/>
          </a:solidFill>
          <a:ln w="6350">
            <a:solidFill>
              <a:srgbClr val="000000">
                <a:alpha val="31000"/>
              </a:srgbClr>
            </a:solidFill>
            <a:round/>
            <a:headEnd/>
            <a:tailEnd/>
          </a:ln>
        </p:spPr>
        <p:txBody>
          <a:bodyPr lIns="68586" tIns="34294" rIns="68586" bIns="34294"/>
          <a:lstStyle/>
          <a:p>
            <a:pPr defTabSz="685862">
              <a:defRPr/>
            </a:pPr>
            <a:endParaRPr lang="en-US" kern="0">
              <a:solidFill>
                <a:sysClr val="windowText" lastClr="000000"/>
              </a:solidFill>
            </a:endParaRPr>
          </a:p>
        </p:txBody>
      </p:sp>
      <p:sp>
        <p:nvSpPr>
          <p:cNvPr id="72" name="TextBox 45"/>
          <p:cNvSpPr txBox="1"/>
          <p:nvPr/>
        </p:nvSpPr>
        <p:spPr>
          <a:xfrm>
            <a:off x="3691270" y="1927596"/>
            <a:ext cx="765623" cy="263428"/>
          </a:xfrm>
          <a:prstGeom prst="rect">
            <a:avLst/>
          </a:prstGeom>
          <a:noFill/>
        </p:spPr>
        <p:txBody>
          <a:bodyPr wrap="none" lIns="0" tIns="0" rIns="0" bIns="0" rtlCol="0">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r">
              <a:lnSpc>
                <a:spcPct val="90000"/>
              </a:lnSpc>
            </a:pPr>
            <a:r>
              <a:rPr lang="en-US" sz="1100" b="1" dirty="0">
                <a:solidFill>
                  <a:schemeClr val="bg1"/>
                </a:solidFill>
                <a:latin typeface="Segoe" pitchFamily="34" charset="0"/>
              </a:rPr>
              <a:t>Portfolio</a:t>
            </a:r>
          </a:p>
          <a:p>
            <a:pPr algn="r">
              <a:lnSpc>
                <a:spcPct val="90000"/>
              </a:lnSpc>
            </a:pPr>
            <a:r>
              <a:rPr lang="en-US" sz="1100" b="1" dirty="0">
                <a:solidFill>
                  <a:schemeClr val="bg1"/>
                </a:solidFill>
                <a:latin typeface="Segoe" pitchFamily="34" charset="0"/>
              </a:rPr>
              <a:t>Management</a:t>
            </a:r>
          </a:p>
        </p:txBody>
      </p:sp>
      <p:sp>
        <p:nvSpPr>
          <p:cNvPr id="74" name="TextBox 46"/>
          <p:cNvSpPr txBox="1"/>
          <p:nvPr/>
        </p:nvSpPr>
        <p:spPr>
          <a:xfrm>
            <a:off x="4689095" y="1927596"/>
            <a:ext cx="765623" cy="263428"/>
          </a:xfrm>
          <a:prstGeom prst="rect">
            <a:avLst/>
          </a:prstGeom>
          <a:noFill/>
        </p:spPr>
        <p:txBody>
          <a:bodyPr wrap="none" lIns="0" tIns="0" rIns="0" bIns="0" rtlCol="0">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pPr>
            <a:r>
              <a:rPr lang="en-US" sz="1100" b="1" dirty="0">
                <a:solidFill>
                  <a:schemeClr val="bg1"/>
                </a:solidFill>
                <a:latin typeface="Segoe" pitchFamily="34" charset="0"/>
              </a:rPr>
              <a:t>Project </a:t>
            </a:r>
          </a:p>
          <a:p>
            <a:pPr>
              <a:lnSpc>
                <a:spcPct val="90000"/>
              </a:lnSpc>
            </a:pPr>
            <a:r>
              <a:rPr lang="en-US" sz="1100" b="1" dirty="0">
                <a:solidFill>
                  <a:schemeClr val="bg1"/>
                </a:solidFill>
                <a:latin typeface="Segoe" pitchFamily="34" charset="0"/>
              </a:rPr>
              <a:t>Management</a:t>
            </a:r>
          </a:p>
        </p:txBody>
      </p:sp>
      <p:sp>
        <p:nvSpPr>
          <p:cNvPr id="75" name="TextBox 47"/>
          <p:cNvSpPr txBox="1"/>
          <p:nvPr/>
        </p:nvSpPr>
        <p:spPr>
          <a:xfrm>
            <a:off x="3691270" y="3013164"/>
            <a:ext cx="765623" cy="263428"/>
          </a:xfrm>
          <a:prstGeom prst="rect">
            <a:avLst/>
          </a:prstGeom>
          <a:noFill/>
        </p:spPr>
        <p:txBody>
          <a:bodyPr wrap="none" lIns="0" tIns="0" rIns="0" bIns="0" rtlCol="0">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r">
              <a:lnSpc>
                <a:spcPct val="90000"/>
              </a:lnSpc>
            </a:pPr>
            <a:r>
              <a:rPr lang="en-US" sz="1100" b="1" dirty="0">
                <a:solidFill>
                  <a:schemeClr val="bg1"/>
                </a:solidFill>
                <a:latin typeface="Segoe" pitchFamily="34" charset="0"/>
              </a:rPr>
              <a:t>Resource</a:t>
            </a:r>
          </a:p>
          <a:p>
            <a:pPr algn="r">
              <a:lnSpc>
                <a:spcPct val="90000"/>
              </a:lnSpc>
            </a:pPr>
            <a:r>
              <a:rPr lang="en-US" sz="1100" b="1" dirty="0">
                <a:solidFill>
                  <a:schemeClr val="bg1"/>
                </a:solidFill>
                <a:latin typeface="Segoe" pitchFamily="34" charset="0"/>
              </a:rPr>
              <a:t>Management</a:t>
            </a:r>
          </a:p>
        </p:txBody>
      </p:sp>
      <p:sp>
        <p:nvSpPr>
          <p:cNvPr id="76" name="TextBox 48"/>
          <p:cNvSpPr txBox="1"/>
          <p:nvPr/>
        </p:nvSpPr>
        <p:spPr>
          <a:xfrm>
            <a:off x="4638295" y="3000465"/>
            <a:ext cx="864019" cy="249299"/>
          </a:xfrm>
          <a:prstGeom prst="rect">
            <a:avLst/>
          </a:prstGeom>
          <a:noFill/>
        </p:spPr>
        <p:txBody>
          <a:bodyPr wrap="none" lIns="0" tIns="0" rIns="0" bIns="0" rtlCol="0">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pPr>
            <a:r>
              <a:rPr lang="en-US" sz="1100" b="1" dirty="0">
                <a:solidFill>
                  <a:schemeClr val="bg1"/>
                </a:solidFill>
                <a:latin typeface="Segoe" pitchFamily="34" charset="0"/>
              </a:rPr>
              <a:t>Collaboration &amp;</a:t>
            </a:r>
          </a:p>
          <a:p>
            <a:pPr>
              <a:lnSpc>
                <a:spcPct val="90000"/>
              </a:lnSpc>
            </a:pPr>
            <a:r>
              <a:rPr lang="en-US" sz="1100" b="1" dirty="0">
                <a:solidFill>
                  <a:schemeClr val="bg1"/>
                </a:solidFill>
                <a:latin typeface="Segoe" pitchFamily="34" charset="0"/>
              </a:rPr>
              <a:t>Communication</a:t>
            </a:r>
          </a:p>
        </p:txBody>
      </p:sp>
      <p:sp>
        <p:nvSpPr>
          <p:cNvPr id="77" name="Freeform 76"/>
          <p:cNvSpPr>
            <a:spLocks/>
          </p:cNvSpPr>
          <p:nvPr/>
        </p:nvSpPr>
        <p:spPr bwMode="auto">
          <a:xfrm>
            <a:off x="4140723" y="2145382"/>
            <a:ext cx="874203" cy="873150"/>
          </a:xfrm>
          <a:custGeom>
            <a:avLst/>
            <a:gdLst>
              <a:gd name="T0" fmla="*/ 327 w 352"/>
              <a:gd name="T1" fmla="*/ 131 h 352"/>
              <a:gd name="T2" fmla="*/ 221 w 352"/>
              <a:gd name="T3" fmla="*/ 327 h 352"/>
              <a:gd name="T4" fmla="*/ 25 w 352"/>
              <a:gd name="T5" fmla="*/ 221 h 352"/>
              <a:gd name="T6" fmla="*/ 131 w 352"/>
              <a:gd name="T7" fmla="*/ 25 h 352"/>
              <a:gd name="T8" fmla="*/ 327 w 352"/>
              <a:gd name="T9" fmla="*/ 131 h 352"/>
            </a:gdLst>
            <a:ahLst/>
            <a:cxnLst>
              <a:cxn ang="0">
                <a:pos x="T0" y="T1"/>
              </a:cxn>
              <a:cxn ang="0">
                <a:pos x="T2" y="T3"/>
              </a:cxn>
              <a:cxn ang="0">
                <a:pos x="T4" y="T5"/>
              </a:cxn>
              <a:cxn ang="0">
                <a:pos x="T6" y="T7"/>
              </a:cxn>
              <a:cxn ang="0">
                <a:pos x="T8" y="T9"/>
              </a:cxn>
            </a:cxnLst>
            <a:rect l="0" t="0" r="r" b="b"/>
            <a:pathLst>
              <a:path w="352" h="352">
                <a:moveTo>
                  <a:pt x="327" y="131"/>
                </a:moveTo>
                <a:cubicBezTo>
                  <a:pt x="352" y="215"/>
                  <a:pt x="304" y="303"/>
                  <a:pt x="221" y="327"/>
                </a:cubicBezTo>
                <a:cubicBezTo>
                  <a:pt x="137" y="352"/>
                  <a:pt x="49" y="304"/>
                  <a:pt x="25" y="221"/>
                </a:cubicBezTo>
                <a:cubicBezTo>
                  <a:pt x="0" y="137"/>
                  <a:pt x="48" y="49"/>
                  <a:pt x="131" y="25"/>
                </a:cubicBezTo>
                <a:cubicBezTo>
                  <a:pt x="215" y="0"/>
                  <a:pt x="303" y="48"/>
                  <a:pt x="327" y="131"/>
                </a:cubicBezTo>
                <a:close/>
              </a:path>
            </a:pathLst>
          </a:custGeom>
          <a:gradFill rotWithShape="1">
            <a:gsLst>
              <a:gs pos="82000">
                <a:srgbClr val="FFFFFF"/>
              </a:gs>
              <a:gs pos="100000">
                <a:srgbClr val="E2E2E2"/>
              </a:gs>
            </a:gsLst>
            <a:lin ang="16200000" scaled="0"/>
          </a:gradFill>
          <a:ln>
            <a:noFill/>
            <a:headEnd type="none" w="med" len="med"/>
            <a:tailEnd type="none" w="med" len="med"/>
          </a:ln>
          <a:effectLst>
            <a:outerShdw blurRad="88900" dist="38100" sx="101000" sy="101000" algn="ctr" rotWithShape="0">
              <a:prstClr val="black">
                <a:alpha val="29000"/>
              </a:prstClr>
            </a:outerShdw>
          </a:effectLst>
          <a:scene3d>
            <a:camera prst="orthographicFront" fov="0">
              <a:rot lat="0" lon="0" rev="0"/>
            </a:camera>
            <a:lightRig rig="soft" dir="tl">
              <a:rot lat="0" lon="0" rev="20000000"/>
            </a:lightRig>
          </a:scene3d>
          <a:sp3d prstMaterial="matte"/>
        </p:spPr>
        <p:txBody>
          <a:bodyPr vert="horz" wrap="square" lIns="91428" tIns="45714" rIns="91428" bIns="45714"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23"/>
            <a:endParaRPr lang="en-US" sz="2400" kern="0">
              <a:gradFill>
                <a:gsLst>
                  <a:gs pos="0">
                    <a:srgbClr val="000000"/>
                  </a:gs>
                  <a:gs pos="100000">
                    <a:srgbClr val="000000"/>
                  </a:gs>
                </a:gsLst>
                <a:lin ang="5400000" scaled="0"/>
              </a:gradFill>
              <a:latin typeface="Segoe"/>
            </a:endParaRPr>
          </a:p>
        </p:txBody>
      </p:sp>
      <p:sp>
        <p:nvSpPr>
          <p:cNvPr id="78" name="TextBox 49"/>
          <p:cNvSpPr txBox="1"/>
          <p:nvPr/>
        </p:nvSpPr>
        <p:spPr>
          <a:xfrm>
            <a:off x="4264582" y="2453909"/>
            <a:ext cx="673261" cy="276999"/>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685835">
              <a:defRPr/>
            </a:pPr>
            <a:r>
              <a:rPr lang="en-US" sz="900" dirty="0">
                <a:solidFill>
                  <a:srgbClr val="000000"/>
                </a:solidFill>
                <a:latin typeface="Segoe" pitchFamily="34" charset="0"/>
              </a:rPr>
              <a:t>STRATEGIC</a:t>
            </a:r>
          </a:p>
          <a:p>
            <a:pPr algn="ctr" defTabSz="685835">
              <a:defRPr/>
            </a:pPr>
            <a:r>
              <a:rPr lang="en-US" sz="900" dirty="0">
                <a:solidFill>
                  <a:srgbClr val="000000"/>
                </a:solidFill>
                <a:latin typeface="Segoe" pitchFamily="34" charset="0"/>
              </a:rPr>
              <a:t>ALIGNMENT</a:t>
            </a:r>
          </a:p>
        </p:txBody>
      </p:sp>
      <p:sp>
        <p:nvSpPr>
          <p:cNvPr id="79" name="Text Box 4"/>
          <p:cNvSpPr txBox="1">
            <a:spLocks noChangeArrowheads="1"/>
          </p:cNvSpPr>
          <p:nvPr/>
        </p:nvSpPr>
        <p:spPr bwMode="auto">
          <a:xfrm>
            <a:off x="673552" y="1721286"/>
            <a:ext cx="2551340" cy="732622"/>
          </a:xfrm>
          <a:prstGeom prst="rect">
            <a:avLst/>
          </a:prstGeom>
          <a:noFill/>
          <a:ln w="9525" algn="ctr">
            <a:noFill/>
            <a:miter lim="800000"/>
            <a:headEnd/>
            <a:tailEnd/>
          </a:ln>
          <a:effectLst/>
        </p:spPr>
        <p:txBody>
          <a:bodyPr wrap="square" lIns="69059" tIns="34531" rIns="69059" bIns="34531" anchor="ctr">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114290" indent="-114290" defTabSz="914324" fontAlgn="base">
              <a:lnSpc>
                <a:spcPct val="90000"/>
              </a:lnSpc>
              <a:buClr>
                <a:srgbClr val="000000"/>
              </a:buClr>
              <a:buSzPct val="100000"/>
              <a:buFont typeface="Arial" pitchFamily="34" charset="0"/>
              <a:buChar char="•"/>
              <a:defRPr/>
            </a:pPr>
            <a:r>
              <a:rPr lang="en-US" sz="1400" kern="0" dirty="0">
                <a:solidFill>
                  <a:srgbClr val="FFFFFF"/>
                </a:solidFill>
                <a:latin typeface="Segoe" pitchFamily="34" charset="0"/>
              </a:rPr>
              <a:t>Prioritization</a:t>
            </a:r>
          </a:p>
          <a:p>
            <a:pPr marL="114290" indent="-114290" defTabSz="914324" fontAlgn="base">
              <a:lnSpc>
                <a:spcPct val="90000"/>
              </a:lnSpc>
              <a:buClr>
                <a:srgbClr val="000000"/>
              </a:buClr>
              <a:buSzPct val="100000"/>
              <a:buFont typeface="Arial" pitchFamily="34" charset="0"/>
              <a:buChar char="•"/>
              <a:defRPr/>
            </a:pPr>
            <a:r>
              <a:rPr lang="en-US" sz="1400" kern="0" dirty="0">
                <a:solidFill>
                  <a:srgbClr val="FFFFFF"/>
                </a:solidFill>
                <a:latin typeface="Segoe" pitchFamily="34" charset="0"/>
              </a:rPr>
              <a:t>Selection and optimization</a:t>
            </a:r>
          </a:p>
          <a:p>
            <a:pPr marL="114290" indent="-114290" defTabSz="914324" fontAlgn="base">
              <a:lnSpc>
                <a:spcPct val="90000"/>
              </a:lnSpc>
              <a:buClr>
                <a:srgbClr val="000000"/>
              </a:buClr>
              <a:buSzPct val="100000"/>
              <a:buFont typeface="Arial" pitchFamily="34" charset="0"/>
              <a:buChar char="•"/>
              <a:defRPr/>
            </a:pPr>
            <a:r>
              <a:rPr lang="en-US" sz="1400" kern="0" dirty="0">
                <a:solidFill>
                  <a:srgbClr val="FFFFFF"/>
                </a:solidFill>
                <a:latin typeface="Segoe" pitchFamily="34" charset="0"/>
              </a:rPr>
              <a:t>Governance</a:t>
            </a:r>
          </a:p>
        </p:txBody>
      </p:sp>
      <p:sp>
        <p:nvSpPr>
          <p:cNvPr id="80" name="Text Box 4"/>
          <p:cNvSpPr txBox="1">
            <a:spLocks noChangeArrowheads="1"/>
          </p:cNvSpPr>
          <p:nvPr/>
        </p:nvSpPr>
        <p:spPr bwMode="auto">
          <a:xfrm>
            <a:off x="6373297" y="1749880"/>
            <a:ext cx="1902644" cy="666524"/>
          </a:xfrm>
          <a:prstGeom prst="rect">
            <a:avLst/>
          </a:prstGeom>
          <a:noFill/>
          <a:ln w="9525" algn="ctr">
            <a:noFill/>
            <a:miter lim="800000"/>
            <a:headEnd/>
            <a:tailEnd/>
          </a:ln>
          <a:effectLst/>
        </p:spPr>
        <p:txBody>
          <a:bodyPr wrap="square" lIns="69059" tIns="34531" rIns="69059" bIns="34531" anchor="ctr">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114290" indent="-114290" defTabSz="914324" fontAlgn="base">
              <a:lnSpc>
                <a:spcPct val="90000"/>
              </a:lnSpc>
              <a:buClr>
                <a:srgbClr val="000000"/>
              </a:buClr>
              <a:buSzPct val="100000"/>
              <a:buFont typeface="Arial" pitchFamily="34" charset="0"/>
              <a:buChar char="•"/>
              <a:defRPr/>
            </a:pPr>
            <a:r>
              <a:rPr lang="en-US" sz="1400" kern="0" dirty="0">
                <a:solidFill>
                  <a:srgbClr val="FFFFFF"/>
                </a:solidFill>
                <a:latin typeface="Segoe" pitchFamily="34" charset="0"/>
              </a:rPr>
              <a:t>Planning</a:t>
            </a:r>
          </a:p>
          <a:p>
            <a:pPr marL="114290" indent="-114290" defTabSz="914324" fontAlgn="base">
              <a:lnSpc>
                <a:spcPct val="90000"/>
              </a:lnSpc>
              <a:buClr>
                <a:srgbClr val="000000"/>
              </a:buClr>
              <a:buSzPct val="100000"/>
              <a:buFont typeface="Arial" pitchFamily="34" charset="0"/>
              <a:buChar char="•"/>
              <a:defRPr/>
            </a:pPr>
            <a:r>
              <a:rPr lang="en-US" sz="1400" kern="0" dirty="0">
                <a:solidFill>
                  <a:srgbClr val="FFFFFF"/>
                </a:solidFill>
                <a:latin typeface="Segoe" pitchFamily="34" charset="0"/>
              </a:rPr>
              <a:t>Project execution </a:t>
            </a:r>
          </a:p>
          <a:p>
            <a:pPr marL="114290" indent="-114290" defTabSz="914324" fontAlgn="base">
              <a:lnSpc>
                <a:spcPct val="90000"/>
              </a:lnSpc>
              <a:buClr>
                <a:srgbClr val="000000"/>
              </a:buClr>
              <a:buSzPct val="100000"/>
              <a:buFont typeface="Arial" pitchFamily="34" charset="0"/>
              <a:buChar char="•"/>
              <a:defRPr/>
            </a:pPr>
            <a:r>
              <a:rPr lang="en-US" sz="1400" kern="0" dirty="0">
                <a:solidFill>
                  <a:srgbClr val="FFFFFF"/>
                </a:solidFill>
                <a:latin typeface="Segoe" pitchFamily="34" charset="0"/>
              </a:rPr>
              <a:t>Risk management</a:t>
            </a:r>
          </a:p>
        </p:txBody>
      </p:sp>
      <p:sp>
        <p:nvSpPr>
          <p:cNvPr id="81" name="Text Box 4"/>
          <p:cNvSpPr txBox="1">
            <a:spLocks noChangeArrowheads="1"/>
          </p:cNvSpPr>
          <p:nvPr/>
        </p:nvSpPr>
        <p:spPr bwMode="auto">
          <a:xfrm>
            <a:off x="6387391" y="2682314"/>
            <a:ext cx="1927849" cy="672435"/>
          </a:xfrm>
          <a:prstGeom prst="rect">
            <a:avLst/>
          </a:prstGeom>
          <a:noFill/>
          <a:ln w="9525" algn="ctr">
            <a:noFill/>
            <a:miter lim="800000"/>
            <a:headEnd/>
            <a:tailEnd/>
          </a:ln>
          <a:effectLst/>
        </p:spPr>
        <p:txBody>
          <a:bodyPr wrap="square" lIns="69059" tIns="34531" rIns="69059" bIns="34531" anchor="ctr">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114290" indent="-114290" defTabSz="914324" fontAlgn="base">
              <a:lnSpc>
                <a:spcPct val="90000"/>
              </a:lnSpc>
              <a:buClr>
                <a:srgbClr val="000000"/>
              </a:buClr>
              <a:buSzPct val="100000"/>
              <a:buFont typeface="Arial" pitchFamily="34" charset="0"/>
              <a:buChar char="•"/>
              <a:defRPr/>
            </a:pPr>
            <a:r>
              <a:rPr lang="en-US" sz="1400" kern="0" dirty="0">
                <a:solidFill>
                  <a:srgbClr val="FFFFFF"/>
                </a:solidFill>
                <a:latin typeface="Segoe" pitchFamily="34" charset="0"/>
              </a:rPr>
              <a:t>Business Intelligence</a:t>
            </a:r>
          </a:p>
          <a:p>
            <a:pPr marL="114290" indent="-114290" defTabSz="914324" fontAlgn="base">
              <a:lnSpc>
                <a:spcPct val="90000"/>
              </a:lnSpc>
              <a:buClr>
                <a:srgbClr val="000000"/>
              </a:buClr>
              <a:buSzPct val="100000"/>
              <a:buFont typeface="Arial" pitchFamily="34" charset="0"/>
              <a:buChar char="•"/>
              <a:defRPr/>
            </a:pPr>
            <a:r>
              <a:rPr lang="en-US" sz="1400" kern="0" dirty="0">
                <a:solidFill>
                  <a:srgbClr val="FFFFFF"/>
                </a:solidFill>
                <a:latin typeface="Segoe" pitchFamily="34" charset="0"/>
              </a:rPr>
              <a:t>Team collaboration</a:t>
            </a:r>
          </a:p>
          <a:p>
            <a:pPr marL="114290" indent="-114290" defTabSz="914324" fontAlgn="base">
              <a:lnSpc>
                <a:spcPct val="90000"/>
              </a:lnSpc>
              <a:buClr>
                <a:srgbClr val="000000"/>
              </a:buClr>
              <a:buSzPct val="100000"/>
              <a:buFont typeface="Arial" pitchFamily="34" charset="0"/>
              <a:buChar char="•"/>
              <a:defRPr/>
            </a:pPr>
            <a:r>
              <a:rPr lang="en-US" sz="1400" kern="0" dirty="0">
                <a:solidFill>
                  <a:srgbClr val="FFFFFF"/>
                </a:solidFill>
                <a:latin typeface="Segoe" pitchFamily="34" charset="0"/>
              </a:rPr>
              <a:t>Consistent processes</a:t>
            </a:r>
          </a:p>
        </p:txBody>
      </p:sp>
      <p:sp>
        <p:nvSpPr>
          <p:cNvPr id="82" name="Text Box 4"/>
          <p:cNvSpPr txBox="1">
            <a:spLocks noChangeArrowheads="1"/>
          </p:cNvSpPr>
          <p:nvPr/>
        </p:nvSpPr>
        <p:spPr bwMode="auto">
          <a:xfrm>
            <a:off x="673552" y="2686191"/>
            <a:ext cx="1903187" cy="668560"/>
          </a:xfrm>
          <a:prstGeom prst="rect">
            <a:avLst/>
          </a:prstGeom>
          <a:noFill/>
          <a:ln w="9525" algn="ctr">
            <a:noFill/>
            <a:miter lim="800000"/>
            <a:headEnd/>
            <a:tailEnd/>
          </a:ln>
          <a:effectLst/>
        </p:spPr>
        <p:txBody>
          <a:bodyPr wrap="square" lIns="69059" tIns="34531" rIns="69059" bIns="34531" anchor="ctr">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114290" indent="-114290" defTabSz="914324" fontAlgn="base">
              <a:lnSpc>
                <a:spcPct val="90000"/>
              </a:lnSpc>
              <a:buClr>
                <a:srgbClr val="000000"/>
              </a:buClr>
              <a:buSzPct val="100000"/>
              <a:buFont typeface="Arial" pitchFamily="34" charset="0"/>
              <a:buChar char="•"/>
              <a:defRPr/>
            </a:pPr>
            <a:r>
              <a:rPr lang="en-US" sz="1400" kern="0" dirty="0">
                <a:solidFill>
                  <a:srgbClr val="FFFFFF"/>
                </a:solidFill>
                <a:latin typeface="Segoe" pitchFamily="34" charset="0"/>
              </a:rPr>
              <a:t>Resource planning </a:t>
            </a:r>
          </a:p>
          <a:p>
            <a:pPr marL="114290" indent="-114290" defTabSz="914324" fontAlgn="base">
              <a:lnSpc>
                <a:spcPct val="90000"/>
              </a:lnSpc>
              <a:buClr>
                <a:srgbClr val="000000"/>
              </a:buClr>
              <a:buSzPct val="100000"/>
              <a:buFont typeface="Arial" pitchFamily="34" charset="0"/>
              <a:buChar char="•"/>
              <a:defRPr/>
            </a:pPr>
            <a:r>
              <a:rPr lang="en-US" sz="1400" kern="0" dirty="0">
                <a:solidFill>
                  <a:srgbClr val="FFFFFF"/>
                </a:solidFill>
                <a:latin typeface="Segoe" pitchFamily="34" charset="0"/>
              </a:rPr>
              <a:t>Skills management</a:t>
            </a:r>
          </a:p>
          <a:p>
            <a:pPr marL="114290" indent="-114290" defTabSz="914324" fontAlgn="base">
              <a:lnSpc>
                <a:spcPct val="90000"/>
              </a:lnSpc>
              <a:buClr>
                <a:srgbClr val="000000"/>
              </a:buClr>
              <a:buSzPct val="100000"/>
              <a:buFont typeface="Arial" pitchFamily="34" charset="0"/>
              <a:buChar char="•"/>
              <a:defRPr/>
            </a:pPr>
            <a:r>
              <a:rPr lang="en-US" sz="1400" kern="0" dirty="0">
                <a:solidFill>
                  <a:srgbClr val="FFFFFF"/>
                </a:solidFill>
                <a:latin typeface="Segoe" pitchFamily="34" charset="0"/>
              </a:rPr>
              <a:t>Cost management</a:t>
            </a: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77719" y="4263908"/>
            <a:ext cx="2031566" cy="521550"/>
          </a:xfrm>
          <a:prstGeom prst="rect">
            <a:avLst/>
          </a:prstGeom>
        </p:spPr>
      </p:pic>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79093" y="4223734"/>
            <a:ext cx="1496741" cy="601898"/>
          </a:xfrm>
          <a:prstGeom prst="rect">
            <a:avLst/>
          </a:prstGeom>
        </p:spPr>
      </p:pic>
      <p:pic>
        <p:nvPicPr>
          <p:cNvPr id="11" name="Picture 1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198122" y="4298222"/>
            <a:ext cx="2094984" cy="452926"/>
          </a:xfrm>
          <a:prstGeom prst="rect">
            <a:avLst/>
          </a:prstGeom>
        </p:spPr>
      </p:pic>
      <p:pic>
        <p:nvPicPr>
          <p:cNvPr id="12" name="Picture 1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893897" y="4237837"/>
            <a:ext cx="698214" cy="573695"/>
          </a:xfrm>
          <a:prstGeom prst="rect">
            <a:avLst/>
          </a:prstGeom>
        </p:spPr>
      </p:pic>
      <p:pic>
        <p:nvPicPr>
          <p:cNvPr id="14" name="Picture 1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260445" y="4213394"/>
            <a:ext cx="653064" cy="622581"/>
          </a:xfrm>
          <a:prstGeom prst="rect">
            <a:avLst/>
          </a:prstGeom>
        </p:spPr>
      </p:pic>
      <p:sp>
        <p:nvSpPr>
          <p:cNvPr id="29"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0"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9"/>
              </a:rPr>
              <a:t>www.rapidbbs.cn</a:t>
            </a:r>
            <a:endParaRPr lang="zh-CN" altLang="en-US" sz="1200" b="0">
              <a:latin typeface="Arial" charset="0"/>
              <a:ea typeface="ＭＳ Ｐゴシック" pitchFamily="34" charset="-128"/>
            </a:endParaRPr>
          </a:p>
        </p:txBody>
      </p:sp>
      <p:pic>
        <p:nvPicPr>
          <p:cNvPr id="31" name="Picture 2">
            <a:hlinkClick r:id="rId9"/>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1"/>
    </p:custDataLst>
    <p:extLst>
      <p:ext uri="{BB962C8B-B14F-4D97-AF65-F5344CB8AC3E}">
        <p14:creationId xmlns:p14="http://schemas.microsoft.com/office/powerpoint/2010/main" val="1384419106"/>
      </p:ext>
    </p:extLst>
  </p:cSld>
  <p:clrMapOvr>
    <a:masterClrMapping/>
  </p:clrMapOvr>
  <p:transition spd="med">
    <p:fade/>
  </p:transition>
  <p:timing>
    <p:tnLst>
      <p:par>
        <p:cTn id="1" dur="indefinite" restart="never" nodeType="tmRoot"/>
      </p:par>
    </p:tnLst>
  </p:timing>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89436" y="171451"/>
            <a:ext cx="8363938" cy="415499"/>
          </a:xfrm>
        </p:spPr>
        <p:txBody>
          <a:bodyPr/>
          <a:lstStyle/>
          <a:p>
            <a:r>
              <a:rPr lang="en-US" sz="3000" dirty="0"/>
              <a:t>Web server CPU utilization should be the bottleneck</a:t>
            </a:r>
          </a:p>
        </p:txBody>
      </p:sp>
      <p:grpSp>
        <p:nvGrpSpPr>
          <p:cNvPr id="29" name="Group 28"/>
          <p:cNvGrpSpPr/>
          <p:nvPr/>
        </p:nvGrpSpPr>
        <p:grpSpPr>
          <a:xfrm>
            <a:off x="-595" y="833703"/>
            <a:ext cx="9144000" cy="1327016"/>
            <a:chOff x="-795" y="1111602"/>
            <a:chExt cx="12188825" cy="1769354"/>
          </a:xfrm>
        </p:grpSpPr>
        <p:sp>
          <p:nvSpPr>
            <p:cNvPr id="18" name="Rectangle 17"/>
            <p:cNvSpPr/>
            <p:nvPr/>
          </p:nvSpPr>
          <p:spPr bwMode="auto">
            <a:xfrm>
              <a:off x="-795" y="1111602"/>
              <a:ext cx="12188825" cy="176729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pic>
          <p:nvPicPr>
            <p:cNvPr id="6" name="Picture 5"/>
            <p:cNvPicPr>
              <a:picLocks noChangeAspect="1"/>
            </p:cNvPicPr>
            <p:nvPr/>
          </p:nvPicPr>
          <p:blipFill>
            <a:blip r:embed="rId2"/>
            <a:stretch>
              <a:fillRect/>
            </a:stretch>
          </p:blipFill>
          <p:spPr>
            <a:xfrm>
              <a:off x="1052320" y="1963148"/>
              <a:ext cx="479649" cy="750000"/>
            </a:xfrm>
            <a:prstGeom prst="rect">
              <a:avLst/>
            </a:prstGeom>
          </p:spPr>
        </p:pic>
        <p:sp>
          <p:nvSpPr>
            <p:cNvPr id="7" name="TextBox 6"/>
            <p:cNvSpPr txBox="1"/>
            <p:nvPr/>
          </p:nvSpPr>
          <p:spPr>
            <a:xfrm>
              <a:off x="747519" y="1277349"/>
              <a:ext cx="4495800" cy="578620"/>
            </a:xfrm>
            <a:prstGeom prst="rect">
              <a:avLst/>
            </a:prstGeom>
            <a:noFill/>
          </p:spPr>
          <p:txBody>
            <a:bodyPr wrap="square" lIns="91440" tIns="91440" rIns="91440" bIns="91440" rtlCol="0">
              <a:spAutoFit/>
            </a:bodyPr>
            <a:lstStyle/>
            <a:p>
              <a:pPr>
                <a:lnSpc>
                  <a:spcPct val="90000"/>
                </a:lnSpc>
                <a:spcBef>
                  <a:spcPct val="20000"/>
                </a:spcBef>
                <a:buSzPct val="90000"/>
              </a:pPr>
              <a:r>
                <a:rPr lang="en-US" sz="1800" dirty="0">
                  <a:solidFill>
                    <a:schemeClr val="tx1">
                      <a:alpha val="99000"/>
                    </a:schemeClr>
                  </a:solidFill>
                </a:rPr>
                <a:t>Front-end web server(s)</a:t>
              </a:r>
            </a:p>
          </p:txBody>
        </p:sp>
        <p:sp>
          <p:nvSpPr>
            <p:cNvPr id="10" name="TextBox 9"/>
            <p:cNvSpPr txBox="1"/>
            <p:nvPr/>
          </p:nvSpPr>
          <p:spPr>
            <a:xfrm>
              <a:off x="1738120" y="1995248"/>
              <a:ext cx="990601" cy="744818"/>
            </a:xfrm>
            <a:prstGeom prst="rect">
              <a:avLst/>
            </a:prstGeom>
            <a:noFill/>
          </p:spPr>
          <p:txBody>
            <a:bodyPr wrap="square" lIns="91440" tIns="91440" rIns="91440" bIns="91440" rtlCol="0">
              <a:spAutoFit/>
            </a:bodyPr>
            <a:lstStyle/>
            <a:p>
              <a:pPr>
                <a:lnSpc>
                  <a:spcPct val="90000"/>
                </a:lnSpc>
                <a:spcBef>
                  <a:spcPct val="20000"/>
                </a:spcBef>
                <a:buSzPct val="90000"/>
              </a:pPr>
              <a:r>
                <a:rPr lang="en-US" sz="1800" dirty="0">
                  <a:solidFill>
                    <a:schemeClr val="tx1">
                      <a:alpha val="99000"/>
                    </a:schemeClr>
                  </a:solidFill>
                </a:rPr>
                <a:t>x </a:t>
              </a:r>
              <a:r>
                <a:rPr lang="en-US" sz="2700" dirty="0">
                  <a:solidFill>
                    <a:schemeClr val="tx1">
                      <a:alpha val="99000"/>
                    </a:schemeClr>
                  </a:solidFill>
                </a:rPr>
                <a:t>n</a:t>
              </a:r>
              <a:endParaRPr lang="en-US" sz="1800" dirty="0">
                <a:solidFill>
                  <a:schemeClr val="tx1">
                    <a:alpha val="99000"/>
                  </a:schemeClr>
                </a:solidFill>
              </a:endParaRPr>
            </a:p>
          </p:txBody>
        </p:sp>
        <p:sp>
          <p:nvSpPr>
            <p:cNvPr id="15" name="TextBox 14"/>
            <p:cNvSpPr txBox="1"/>
            <p:nvPr/>
          </p:nvSpPr>
          <p:spPr>
            <a:xfrm>
              <a:off x="5449471" y="1231273"/>
              <a:ext cx="2667000" cy="1649683"/>
            </a:xfrm>
            <a:prstGeom prst="rect">
              <a:avLst/>
            </a:prstGeom>
            <a:noFill/>
          </p:spPr>
          <p:txBody>
            <a:bodyPr wrap="square" lIns="91440" tIns="91440" rIns="91440" bIns="91440" rtlCol="0">
              <a:spAutoFit/>
            </a:bodyPr>
            <a:lstStyle/>
            <a:p>
              <a:pPr marL="257198" indent="-257198">
                <a:lnSpc>
                  <a:spcPct val="90000"/>
                </a:lnSpc>
                <a:spcBef>
                  <a:spcPct val="20000"/>
                </a:spcBef>
                <a:buSzPct val="90000"/>
                <a:buFont typeface="Arial" panose="020B0604020202020204" pitchFamily="34" charset="0"/>
                <a:buChar char="•"/>
              </a:pPr>
              <a:r>
                <a:rPr lang="en-US" sz="2100" b="1" dirty="0">
                  <a:solidFill>
                    <a:schemeClr val="tx1">
                      <a:alpha val="99000"/>
                    </a:schemeClr>
                  </a:solidFill>
                </a:rPr>
                <a:t>CPU</a:t>
              </a:r>
            </a:p>
            <a:p>
              <a:pPr marL="257198" indent="-257198">
                <a:lnSpc>
                  <a:spcPct val="90000"/>
                </a:lnSpc>
                <a:spcBef>
                  <a:spcPct val="20000"/>
                </a:spcBef>
                <a:buSzPct val="90000"/>
                <a:buFont typeface="Arial" panose="020B0604020202020204" pitchFamily="34" charset="0"/>
                <a:buChar char="•"/>
              </a:pPr>
              <a:r>
                <a:rPr lang="en-US" sz="1500" dirty="0">
                  <a:solidFill>
                    <a:schemeClr val="tx1">
                      <a:alpha val="99000"/>
                    </a:schemeClr>
                  </a:solidFill>
                </a:rPr>
                <a:t>Memory</a:t>
              </a:r>
            </a:p>
            <a:p>
              <a:pPr marL="257198" indent="-257198">
                <a:lnSpc>
                  <a:spcPct val="90000"/>
                </a:lnSpc>
                <a:spcBef>
                  <a:spcPct val="20000"/>
                </a:spcBef>
                <a:buSzPct val="90000"/>
                <a:buFont typeface="Arial" panose="020B0604020202020204" pitchFamily="34" charset="0"/>
                <a:buChar char="•"/>
              </a:pPr>
              <a:r>
                <a:rPr lang="en-US" sz="1500" dirty="0">
                  <a:solidFill>
                    <a:schemeClr val="tx1">
                      <a:alpha val="99000"/>
                    </a:schemeClr>
                  </a:solidFill>
                </a:rPr>
                <a:t>Disk I/O</a:t>
              </a:r>
            </a:p>
            <a:p>
              <a:pPr marL="257198" indent="-257198">
                <a:lnSpc>
                  <a:spcPct val="90000"/>
                </a:lnSpc>
                <a:spcBef>
                  <a:spcPct val="20000"/>
                </a:spcBef>
                <a:buSzPct val="90000"/>
                <a:buFont typeface="Arial" panose="020B0604020202020204" pitchFamily="34" charset="0"/>
                <a:buChar char="•"/>
              </a:pPr>
              <a:r>
                <a:rPr lang="en-US" sz="1500" dirty="0">
                  <a:solidFill>
                    <a:schemeClr val="tx1">
                      <a:alpha val="99000"/>
                    </a:schemeClr>
                  </a:solidFill>
                </a:rPr>
                <a:t>Disk space</a:t>
              </a:r>
            </a:p>
          </p:txBody>
        </p:sp>
      </p:grpSp>
      <p:grpSp>
        <p:nvGrpSpPr>
          <p:cNvPr id="27" name="Group 26"/>
          <p:cNvGrpSpPr/>
          <p:nvPr/>
        </p:nvGrpSpPr>
        <p:grpSpPr>
          <a:xfrm>
            <a:off x="-595" y="2147874"/>
            <a:ext cx="9144000" cy="1351679"/>
            <a:chOff x="-795" y="2863833"/>
            <a:chExt cx="12188825" cy="1802238"/>
          </a:xfrm>
        </p:grpSpPr>
        <p:sp>
          <p:nvSpPr>
            <p:cNvPr id="19" name="Rectangle 18"/>
            <p:cNvSpPr/>
            <p:nvPr/>
          </p:nvSpPr>
          <p:spPr bwMode="auto">
            <a:xfrm>
              <a:off x="-795" y="2863833"/>
              <a:ext cx="12188825" cy="1802238"/>
            </a:xfrm>
            <a:prstGeom prst="rect">
              <a:avLst/>
            </a:prstGeom>
            <a:solidFill>
              <a:schemeClr val="accent3"/>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p:txBody>
        </p:sp>
        <p:sp>
          <p:nvSpPr>
            <p:cNvPr id="8" name="TextBox 7"/>
            <p:cNvSpPr txBox="1"/>
            <p:nvPr/>
          </p:nvSpPr>
          <p:spPr>
            <a:xfrm>
              <a:off x="760412" y="2899936"/>
              <a:ext cx="4495800" cy="578620"/>
            </a:xfrm>
            <a:prstGeom prst="rect">
              <a:avLst/>
            </a:prstGeom>
            <a:noFill/>
          </p:spPr>
          <p:txBody>
            <a:bodyPr wrap="square" lIns="91440" tIns="91440" rIns="91440" bIns="91440" rtlCol="0">
              <a:spAutoFit/>
            </a:bodyPr>
            <a:lstStyle/>
            <a:p>
              <a:pPr>
                <a:lnSpc>
                  <a:spcPct val="90000"/>
                </a:lnSpc>
                <a:spcBef>
                  <a:spcPct val="20000"/>
                </a:spcBef>
                <a:buSzPct val="90000"/>
              </a:pPr>
              <a:r>
                <a:rPr lang="en-US" sz="1800" dirty="0">
                  <a:solidFill>
                    <a:schemeClr val="tx1">
                      <a:alpha val="99000"/>
                    </a:schemeClr>
                  </a:solidFill>
                </a:rPr>
                <a:t>Application server(s)</a:t>
              </a:r>
            </a:p>
          </p:txBody>
        </p:sp>
        <p:pic>
          <p:nvPicPr>
            <p:cNvPr id="9" name="Picture 8"/>
            <p:cNvPicPr>
              <a:picLocks noChangeAspect="1"/>
            </p:cNvPicPr>
            <p:nvPr/>
          </p:nvPicPr>
          <p:blipFill>
            <a:blip r:embed="rId2"/>
            <a:stretch>
              <a:fillRect/>
            </a:stretch>
          </p:blipFill>
          <p:spPr>
            <a:xfrm>
              <a:off x="1058364" y="3585735"/>
              <a:ext cx="479649" cy="750000"/>
            </a:xfrm>
            <a:prstGeom prst="rect">
              <a:avLst/>
            </a:prstGeom>
          </p:spPr>
        </p:pic>
        <p:sp>
          <p:nvSpPr>
            <p:cNvPr id="11" name="TextBox 10"/>
            <p:cNvSpPr txBox="1"/>
            <p:nvPr/>
          </p:nvSpPr>
          <p:spPr>
            <a:xfrm>
              <a:off x="1751011" y="3619103"/>
              <a:ext cx="990601" cy="744818"/>
            </a:xfrm>
            <a:prstGeom prst="rect">
              <a:avLst/>
            </a:prstGeom>
            <a:noFill/>
          </p:spPr>
          <p:txBody>
            <a:bodyPr wrap="square" lIns="91440" tIns="91440" rIns="91440" bIns="91440" rtlCol="0">
              <a:spAutoFit/>
            </a:bodyPr>
            <a:lstStyle/>
            <a:p>
              <a:pPr>
                <a:lnSpc>
                  <a:spcPct val="90000"/>
                </a:lnSpc>
                <a:spcBef>
                  <a:spcPct val="20000"/>
                </a:spcBef>
                <a:buSzPct val="90000"/>
              </a:pPr>
              <a:r>
                <a:rPr lang="en-US" sz="1800" dirty="0">
                  <a:solidFill>
                    <a:schemeClr val="tx1">
                      <a:alpha val="99000"/>
                    </a:schemeClr>
                  </a:solidFill>
                </a:rPr>
                <a:t>x </a:t>
              </a:r>
              <a:r>
                <a:rPr lang="en-US" sz="2700" dirty="0">
                  <a:solidFill>
                    <a:schemeClr val="tx1">
                      <a:alpha val="99000"/>
                    </a:schemeClr>
                  </a:solidFill>
                </a:rPr>
                <a:t>n</a:t>
              </a:r>
              <a:endParaRPr lang="en-US" sz="1800" dirty="0">
                <a:solidFill>
                  <a:schemeClr val="tx1">
                    <a:alpha val="99000"/>
                  </a:schemeClr>
                </a:solidFill>
              </a:endParaRPr>
            </a:p>
          </p:txBody>
        </p:sp>
        <p:sp>
          <p:nvSpPr>
            <p:cNvPr id="16" name="TextBox 15"/>
            <p:cNvSpPr txBox="1"/>
            <p:nvPr/>
          </p:nvSpPr>
          <p:spPr>
            <a:xfrm>
              <a:off x="5498875" y="3295937"/>
              <a:ext cx="2667000" cy="1200328"/>
            </a:xfrm>
            <a:prstGeom prst="rect">
              <a:avLst/>
            </a:prstGeom>
            <a:noFill/>
          </p:spPr>
          <p:txBody>
            <a:bodyPr wrap="square" lIns="91440" tIns="91440" rIns="91440" bIns="91440" rtlCol="0">
              <a:spAutoFit/>
            </a:bodyPr>
            <a:lstStyle/>
            <a:p>
              <a:pPr marL="257198" indent="-257198">
                <a:lnSpc>
                  <a:spcPct val="90000"/>
                </a:lnSpc>
                <a:spcBef>
                  <a:spcPct val="20000"/>
                </a:spcBef>
                <a:buSzPct val="90000"/>
                <a:buFont typeface="Arial" panose="020B0604020202020204" pitchFamily="34" charset="0"/>
                <a:buChar char="•"/>
              </a:pPr>
              <a:r>
                <a:rPr lang="en-US" sz="1500" dirty="0">
                  <a:solidFill>
                    <a:schemeClr val="tx1">
                      <a:alpha val="99000"/>
                    </a:schemeClr>
                  </a:solidFill>
                </a:rPr>
                <a:t>Disk I/O</a:t>
              </a:r>
            </a:p>
            <a:p>
              <a:pPr marL="257198" indent="-257198">
                <a:lnSpc>
                  <a:spcPct val="90000"/>
                </a:lnSpc>
                <a:spcBef>
                  <a:spcPct val="20000"/>
                </a:spcBef>
                <a:buSzPct val="90000"/>
                <a:buFont typeface="Arial" panose="020B0604020202020204" pitchFamily="34" charset="0"/>
                <a:buChar char="•"/>
              </a:pPr>
              <a:r>
                <a:rPr lang="en-US" sz="1500" dirty="0">
                  <a:solidFill>
                    <a:schemeClr val="tx1">
                      <a:alpha val="99000"/>
                    </a:schemeClr>
                  </a:solidFill>
                </a:rPr>
                <a:t>Memory</a:t>
              </a:r>
            </a:p>
            <a:p>
              <a:pPr marL="257198" indent="-257198">
                <a:lnSpc>
                  <a:spcPct val="90000"/>
                </a:lnSpc>
                <a:spcBef>
                  <a:spcPct val="20000"/>
                </a:spcBef>
                <a:buSzPct val="90000"/>
                <a:buFont typeface="Arial" panose="020B0604020202020204" pitchFamily="34" charset="0"/>
                <a:buChar char="•"/>
              </a:pPr>
              <a:r>
                <a:rPr lang="en-US" sz="1500" dirty="0">
                  <a:solidFill>
                    <a:schemeClr val="tx1">
                      <a:alpha val="99000"/>
                    </a:schemeClr>
                  </a:solidFill>
                </a:rPr>
                <a:t>CPU</a:t>
              </a:r>
            </a:p>
          </p:txBody>
        </p:sp>
      </p:grpSp>
      <p:grpSp>
        <p:nvGrpSpPr>
          <p:cNvPr id="28" name="Group 27"/>
          <p:cNvGrpSpPr/>
          <p:nvPr/>
        </p:nvGrpSpPr>
        <p:grpSpPr>
          <a:xfrm>
            <a:off x="-10269" y="3474262"/>
            <a:ext cx="9153672" cy="1461603"/>
            <a:chOff x="-13688" y="4632348"/>
            <a:chExt cx="12201718" cy="1948804"/>
          </a:xfrm>
        </p:grpSpPr>
        <p:sp>
          <p:nvSpPr>
            <p:cNvPr id="21" name="Rectangle 20"/>
            <p:cNvSpPr/>
            <p:nvPr/>
          </p:nvSpPr>
          <p:spPr bwMode="auto">
            <a:xfrm>
              <a:off x="-13688" y="4642004"/>
              <a:ext cx="12201718" cy="1877592"/>
            </a:xfrm>
            <a:prstGeom prst="rect">
              <a:avLst/>
            </a:prstGeom>
            <a:solidFill>
              <a:schemeClr val="accent5"/>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p:txBody>
        </p:sp>
        <p:sp>
          <p:nvSpPr>
            <p:cNvPr id="12" name="TextBox 11"/>
            <p:cNvSpPr txBox="1"/>
            <p:nvPr/>
          </p:nvSpPr>
          <p:spPr>
            <a:xfrm>
              <a:off x="759617" y="4632348"/>
              <a:ext cx="4495800" cy="578620"/>
            </a:xfrm>
            <a:prstGeom prst="rect">
              <a:avLst/>
            </a:prstGeom>
            <a:noFill/>
          </p:spPr>
          <p:txBody>
            <a:bodyPr wrap="square" lIns="91440" tIns="91440" rIns="91440" bIns="91440" rtlCol="0">
              <a:spAutoFit/>
            </a:bodyPr>
            <a:lstStyle/>
            <a:p>
              <a:pPr>
                <a:lnSpc>
                  <a:spcPct val="90000"/>
                </a:lnSpc>
                <a:spcBef>
                  <a:spcPct val="20000"/>
                </a:spcBef>
                <a:buSzPct val="90000"/>
              </a:pPr>
              <a:r>
                <a:rPr lang="en-US" sz="1800" dirty="0">
                  <a:solidFill>
                    <a:schemeClr val="tx1">
                      <a:alpha val="99000"/>
                    </a:schemeClr>
                  </a:solidFill>
                </a:rPr>
                <a:t>Database servers</a:t>
              </a:r>
            </a:p>
          </p:txBody>
        </p:sp>
        <p:pic>
          <p:nvPicPr>
            <p:cNvPr id="13" name="Picture 12"/>
            <p:cNvPicPr>
              <a:picLocks noChangeAspect="1"/>
            </p:cNvPicPr>
            <p:nvPr/>
          </p:nvPicPr>
          <p:blipFill>
            <a:blip r:embed="rId2"/>
            <a:stretch>
              <a:fillRect/>
            </a:stretch>
          </p:blipFill>
          <p:spPr>
            <a:xfrm>
              <a:off x="1057569" y="5318148"/>
              <a:ext cx="479649" cy="750000"/>
            </a:xfrm>
            <a:prstGeom prst="rect">
              <a:avLst/>
            </a:prstGeom>
          </p:spPr>
        </p:pic>
        <p:sp>
          <p:nvSpPr>
            <p:cNvPr id="17" name="TextBox 16"/>
            <p:cNvSpPr txBox="1"/>
            <p:nvPr/>
          </p:nvSpPr>
          <p:spPr>
            <a:xfrm>
              <a:off x="5498080" y="4703715"/>
              <a:ext cx="2667000" cy="1877437"/>
            </a:xfrm>
            <a:prstGeom prst="rect">
              <a:avLst/>
            </a:prstGeom>
            <a:noFill/>
          </p:spPr>
          <p:txBody>
            <a:bodyPr wrap="square" lIns="91440" tIns="91440" rIns="91440" bIns="91440" rtlCol="0">
              <a:spAutoFit/>
            </a:bodyPr>
            <a:lstStyle/>
            <a:p>
              <a:pPr marL="257198" indent="-257198">
                <a:lnSpc>
                  <a:spcPct val="90000"/>
                </a:lnSpc>
                <a:spcBef>
                  <a:spcPct val="20000"/>
                </a:spcBef>
                <a:buSzPct val="90000"/>
                <a:buFont typeface="Arial" panose="020B0604020202020204" pitchFamily="34" charset="0"/>
                <a:buChar char="•"/>
              </a:pPr>
              <a:r>
                <a:rPr lang="en-US" sz="1500" dirty="0">
                  <a:solidFill>
                    <a:schemeClr val="tx1">
                      <a:alpha val="99000"/>
                    </a:schemeClr>
                  </a:solidFill>
                </a:rPr>
                <a:t>Database locks</a:t>
              </a:r>
            </a:p>
            <a:p>
              <a:pPr marL="257198" indent="-257198">
                <a:lnSpc>
                  <a:spcPct val="90000"/>
                </a:lnSpc>
                <a:spcBef>
                  <a:spcPct val="20000"/>
                </a:spcBef>
                <a:buSzPct val="90000"/>
                <a:buFont typeface="Arial" panose="020B0604020202020204" pitchFamily="34" charset="0"/>
                <a:buChar char="•"/>
              </a:pPr>
              <a:r>
                <a:rPr lang="en-US" sz="1500" dirty="0">
                  <a:solidFill>
                    <a:schemeClr val="tx1">
                      <a:alpha val="99000"/>
                    </a:schemeClr>
                  </a:solidFill>
                </a:rPr>
                <a:t>Disk I/O</a:t>
              </a:r>
            </a:p>
            <a:p>
              <a:pPr marL="257198" indent="-257198">
                <a:lnSpc>
                  <a:spcPct val="90000"/>
                </a:lnSpc>
                <a:spcBef>
                  <a:spcPct val="20000"/>
                </a:spcBef>
                <a:buSzPct val="90000"/>
                <a:buFont typeface="Arial" panose="020B0604020202020204" pitchFamily="34" charset="0"/>
                <a:buChar char="•"/>
              </a:pPr>
              <a:r>
                <a:rPr lang="en-US" sz="1500" dirty="0">
                  <a:solidFill>
                    <a:schemeClr val="tx1">
                      <a:alpha val="99000"/>
                    </a:schemeClr>
                  </a:solidFill>
                </a:rPr>
                <a:t>CPU</a:t>
              </a:r>
            </a:p>
            <a:p>
              <a:pPr marL="257198" indent="-257198">
                <a:lnSpc>
                  <a:spcPct val="90000"/>
                </a:lnSpc>
                <a:spcBef>
                  <a:spcPct val="20000"/>
                </a:spcBef>
                <a:buSzPct val="90000"/>
                <a:buFont typeface="Arial" panose="020B0604020202020204" pitchFamily="34" charset="0"/>
                <a:buChar char="•"/>
              </a:pPr>
              <a:r>
                <a:rPr lang="en-US" sz="1500" dirty="0">
                  <a:solidFill>
                    <a:schemeClr val="tx1">
                      <a:alpha val="99000"/>
                    </a:schemeClr>
                  </a:solidFill>
                </a:rPr>
                <a:t>Memory</a:t>
              </a:r>
            </a:p>
            <a:p>
              <a:pPr marL="257198" indent="-257198">
                <a:lnSpc>
                  <a:spcPct val="90000"/>
                </a:lnSpc>
                <a:spcBef>
                  <a:spcPct val="20000"/>
                </a:spcBef>
                <a:buSzPct val="90000"/>
                <a:buFont typeface="Arial" panose="020B0604020202020204" pitchFamily="34" charset="0"/>
                <a:buChar char="•"/>
              </a:pPr>
              <a:r>
                <a:rPr lang="en-US" sz="1500" dirty="0">
                  <a:solidFill>
                    <a:schemeClr val="tx1">
                      <a:alpha val="99000"/>
                    </a:schemeClr>
                  </a:solidFill>
                </a:rPr>
                <a:t>Disk space</a:t>
              </a:r>
            </a:p>
          </p:txBody>
        </p:sp>
        <p:pic>
          <p:nvPicPr>
            <p:cNvPr id="22" name="Picture 21"/>
            <p:cNvPicPr>
              <a:picLocks noChangeAspect="1"/>
            </p:cNvPicPr>
            <p:nvPr/>
          </p:nvPicPr>
          <p:blipFill>
            <a:blip r:embed="rId3"/>
            <a:stretch>
              <a:fillRect/>
            </a:stretch>
          </p:blipFill>
          <p:spPr>
            <a:xfrm>
              <a:off x="1292144" y="5789189"/>
              <a:ext cx="560820" cy="300000"/>
            </a:xfrm>
            <a:prstGeom prst="rect">
              <a:avLst/>
            </a:prstGeom>
          </p:spPr>
        </p:pic>
        <p:pic>
          <p:nvPicPr>
            <p:cNvPr id="23" name="Picture 22"/>
            <p:cNvPicPr>
              <a:picLocks noChangeAspect="1"/>
            </p:cNvPicPr>
            <p:nvPr/>
          </p:nvPicPr>
          <p:blipFill>
            <a:blip r:embed="rId2"/>
            <a:stretch>
              <a:fillRect/>
            </a:stretch>
          </p:blipFill>
          <p:spPr>
            <a:xfrm>
              <a:off x="1913499" y="5297388"/>
              <a:ext cx="479649" cy="750000"/>
            </a:xfrm>
            <a:prstGeom prst="rect">
              <a:avLst/>
            </a:prstGeom>
          </p:spPr>
        </p:pic>
        <p:pic>
          <p:nvPicPr>
            <p:cNvPr id="24" name="Picture 23"/>
            <p:cNvPicPr>
              <a:picLocks noChangeAspect="1"/>
            </p:cNvPicPr>
            <p:nvPr/>
          </p:nvPicPr>
          <p:blipFill>
            <a:blip r:embed="rId3"/>
            <a:stretch>
              <a:fillRect/>
            </a:stretch>
          </p:blipFill>
          <p:spPr>
            <a:xfrm>
              <a:off x="2148074" y="5768429"/>
              <a:ext cx="560820" cy="300000"/>
            </a:xfrm>
            <a:prstGeom prst="rect">
              <a:avLst/>
            </a:prstGeom>
          </p:spPr>
        </p:pic>
        <p:cxnSp>
          <p:nvCxnSpPr>
            <p:cNvPr id="26" name="Straight Connector 25"/>
            <p:cNvCxnSpPr>
              <a:stCxn id="13" idx="3"/>
              <a:endCxn id="23" idx="1"/>
            </p:cNvCxnSpPr>
            <p:nvPr/>
          </p:nvCxnSpPr>
          <p:spPr>
            <a:xfrm flipV="1">
              <a:off x="1537218" y="5672388"/>
              <a:ext cx="376281" cy="20760"/>
            </a:xfrm>
            <a:prstGeom prst="line">
              <a:avLst/>
            </a:prstGeom>
          </p:spPr>
          <p:style>
            <a:lnRef idx="1">
              <a:schemeClr val="accent1"/>
            </a:lnRef>
            <a:fillRef idx="0">
              <a:schemeClr val="accent1"/>
            </a:fillRef>
            <a:effectRef idx="0">
              <a:schemeClr val="accent1"/>
            </a:effectRef>
            <a:fontRef idx="minor">
              <a:schemeClr val="tx1"/>
            </a:fontRef>
          </p:style>
        </p:cxnSp>
      </p:grpSp>
      <p:sp>
        <p:nvSpPr>
          <p:cNvPr id="25"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0"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4"/>
              </a:rPr>
              <a:t>www.rapidbbs.cn</a:t>
            </a:r>
            <a:endParaRPr lang="zh-CN" altLang="en-US" sz="1200" b="0">
              <a:latin typeface="Arial" charset="0"/>
              <a:ea typeface="ＭＳ Ｐゴシック" pitchFamily="34" charset="-128"/>
            </a:endParaRPr>
          </a:p>
        </p:txBody>
      </p:sp>
      <p:pic>
        <p:nvPicPr>
          <p:cNvPr id="31" name="Picture 2">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09104211"/>
      </p:ext>
    </p:extLst>
  </p:cSld>
  <p:clrMapOvr>
    <a:masterClrMapping/>
  </p:clrMapOvr>
  <p:transition>
    <p:fade/>
  </p:transition>
  <p:timing>
    <p:tnLst>
      <p:par>
        <p:cTn id="1" dur="indefinite" restart="never" nodeType="tmRoot"/>
      </p:par>
    </p:tnLst>
  </p:timing>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solidFill>
                  <a:schemeClr val="tx1"/>
                </a:solidFill>
              </a:rPr>
              <a:t>Key </a:t>
            </a:r>
            <a:r>
              <a:rPr lang="en-US" dirty="0">
                <a:solidFill>
                  <a:schemeClr val="tx1"/>
                </a:solidFill>
              </a:rPr>
              <a:t>Scale </a:t>
            </a:r>
            <a:r>
              <a:rPr lang="en-US" dirty="0" smtClean="0">
                <a:solidFill>
                  <a:schemeClr val="tx1"/>
                </a:solidFill>
              </a:rPr>
              <a:t>Tools: </a:t>
            </a:r>
            <a:r>
              <a:rPr lang="en-US" dirty="0">
                <a:solidFill>
                  <a:schemeClr val="tx1"/>
                </a:solidFill>
              </a:rPr>
              <a:t>The Caches</a:t>
            </a:r>
            <a:endParaRPr lang="en-US" dirty="0"/>
          </a:p>
        </p:txBody>
      </p:sp>
      <p:sp>
        <p:nvSpPr>
          <p:cNvPr id="8" name="Rectangle 7"/>
          <p:cNvSpPr/>
          <p:nvPr/>
        </p:nvSpPr>
        <p:spPr bwMode="auto">
          <a:xfrm>
            <a:off x="484711" y="1143001"/>
            <a:ext cx="2581947" cy="2581275"/>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700" dirty="0">
                <a:solidFill>
                  <a:srgbClr val="FFFFFF">
                    <a:alpha val="98824"/>
                  </a:srgbClr>
                </a:solidFill>
                <a:latin typeface="Segoe UI" pitchFamily="34" charset="0"/>
                <a:ea typeface="Segoe UI" pitchFamily="34" charset="0"/>
                <a:cs typeface="Segoe UI" pitchFamily="34" charset="0"/>
              </a:rPr>
              <a:t>Output cache</a:t>
            </a:r>
          </a:p>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a:p>
            <a:pPr algn="ctr" defTabSz="685637"/>
            <a:r>
              <a:rPr lang="en-US" sz="1700" dirty="0">
                <a:solidFill>
                  <a:srgbClr val="FFFFFF">
                    <a:alpha val="98824"/>
                  </a:srgbClr>
                </a:solidFill>
                <a:latin typeface="Segoe UI" pitchFamily="34" charset="0"/>
                <a:ea typeface="Segoe UI" pitchFamily="34" charset="0"/>
                <a:cs typeface="Segoe UI" pitchFamily="34" charset="0"/>
              </a:rPr>
              <a:t>Compiled pages</a:t>
            </a:r>
          </a:p>
        </p:txBody>
      </p:sp>
      <p:sp>
        <p:nvSpPr>
          <p:cNvPr id="9" name="Rectangle 8"/>
          <p:cNvSpPr/>
          <p:nvPr/>
        </p:nvSpPr>
        <p:spPr bwMode="auto">
          <a:xfrm>
            <a:off x="3295318" y="1143001"/>
            <a:ext cx="2581947" cy="2581275"/>
          </a:xfrm>
          <a:prstGeom prst="rect">
            <a:avLst/>
          </a:prstGeom>
          <a:solidFill>
            <a:schemeClr val="accent3"/>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700" dirty="0">
                <a:solidFill>
                  <a:schemeClr val="tx1">
                    <a:alpha val="99000"/>
                  </a:schemeClr>
                </a:solidFill>
                <a:latin typeface="Segoe UI" pitchFamily="34" charset="0"/>
                <a:ea typeface="Segoe UI" pitchFamily="34" charset="0"/>
                <a:cs typeface="Segoe UI" pitchFamily="34" charset="0"/>
              </a:rPr>
              <a:t>Object cache</a:t>
            </a:r>
          </a:p>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a:r>
              <a:rPr lang="en-US" sz="1700" dirty="0" err="1">
                <a:solidFill>
                  <a:schemeClr val="tx1">
                    <a:alpha val="99000"/>
                  </a:schemeClr>
                </a:solidFill>
                <a:latin typeface="Segoe UI" pitchFamily="34" charset="0"/>
                <a:ea typeface="Segoe UI" pitchFamily="34" charset="0"/>
                <a:cs typeface="Segoe UI" pitchFamily="34" charset="0"/>
              </a:rPr>
              <a:t>SPQuery</a:t>
            </a:r>
            <a:r>
              <a:rPr lang="en-US" sz="1700" dirty="0">
                <a:solidFill>
                  <a:schemeClr val="tx1">
                    <a:alpha val="99000"/>
                  </a:schemeClr>
                </a:solidFill>
                <a:latin typeface="Segoe UI" pitchFamily="34" charset="0"/>
                <a:ea typeface="Segoe UI" pitchFamily="34" charset="0"/>
                <a:cs typeface="Segoe UI" pitchFamily="34" charset="0"/>
              </a:rPr>
              <a:t> result sets</a:t>
            </a:r>
          </a:p>
        </p:txBody>
      </p:sp>
      <p:sp>
        <p:nvSpPr>
          <p:cNvPr id="10" name="Rectangle 9"/>
          <p:cNvSpPr/>
          <p:nvPr/>
        </p:nvSpPr>
        <p:spPr bwMode="auto">
          <a:xfrm>
            <a:off x="6105925" y="1143001"/>
            <a:ext cx="2581947" cy="2581275"/>
          </a:xfrm>
          <a:prstGeom prst="rect">
            <a:avLst/>
          </a:prstGeom>
          <a:solidFill>
            <a:schemeClr val="accent5"/>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700" dirty="0">
                <a:solidFill>
                  <a:schemeClr val="tx1">
                    <a:alpha val="99000"/>
                  </a:schemeClr>
                </a:solidFill>
                <a:latin typeface="Segoe UI" pitchFamily="34" charset="0"/>
                <a:ea typeface="Segoe UI" pitchFamily="34" charset="0"/>
                <a:cs typeface="Segoe UI" pitchFamily="34" charset="0"/>
              </a:rPr>
              <a:t>BLOB Cache</a:t>
            </a:r>
          </a:p>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r>
              <a:rPr lang="en-US" sz="1700" dirty="0">
                <a:solidFill>
                  <a:schemeClr val="tx1">
                    <a:alpha val="99000"/>
                  </a:schemeClr>
                </a:solidFill>
                <a:latin typeface="Segoe UI" pitchFamily="34" charset="0"/>
                <a:ea typeface="Segoe UI" pitchFamily="34" charset="0"/>
                <a:cs typeface="Segoe UI" pitchFamily="34" charset="0"/>
              </a:rPr>
              <a:t>Static files</a:t>
            </a:r>
          </a:p>
        </p:txBody>
      </p:sp>
      <p:sp>
        <p:nvSpPr>
          <p:cNvPr id="11" name="Rectangle 10"/>
          <p:cNvSpPr/>
          <p:nvPr/>
        </p:nvSpPr>
        <p:spPr bwMode="auto">
          <a:xfrm>
            <a:off x="484710" y="3943351"/>
            <a:ext cx="5392554" cy="638175"/>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700" dirty="0">
                <a:solidFill>
                  <a:schemeClr val="tx1">
                    <a:alpha val="99000"/>
                  </a:schemeClr>
                </a:solidFill>
                <a:latin typeface="Segoe UI" pitchFamily="34" charset="0"/>
                <a:ea typeface="Segoe UI" pitchFamily="34" charset="0"/>
                <a:cs typeface="Segoe UI" pitchFamily="34" charset="0"/>
              </a:rPr>
              <a:t>Web server memory</a:t>
            </a:r>
          </a:p>
        </p:txBody>
      </p:sp>
      <p:sp>
        <p:nvSpPr>
          <p:cNvPr id="12" name="Rectangle 11"/>
          <p:cNvSpPr/>
          <p:nvPr/>
        </p:nvSpPr>
        <p:spPr bwMode="auto">
          <a:xfrm>
            <a:off x="6105925" y="3954781"/>
            <a:ext cx="2592189" cy="63817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700" dirty="0">
                <a:solidFill>
                  <a:schemeClr val="tx1">
                    <a:alpha val="99000"/>
                  </a:schemeClr>
                </a:solidFill>
                <a:latin typeface="Segoe UI" pitchFamily="34" charset="0"/>
                <a:ea typeface="Segoe UI" pitchFamily="34" charset="0"/>
                <a:cs typeface="Segoe UI" pitchFamily="34" charset="0"/>
              </a:rPr>
              <a:t>Web server disk</a:t>
            </a:r>
          </a:p>
        </p:txBody>
      </p:sp>
      <p:sp>
        <p:nvSpPr>
          <p:cNvPr id="13"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4"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
              </a:rPr>
              <a:t>www.rapidbbs.cn</a:t>
            </a:r>
            <a:endParaRPr lang="zh-CN" altLang="en-US" sz="1200" b="0">
              <a:latin typeface="Arial" charset="0"/>
              <a:ea typeface="ＭＳ Ｐゴシック" pitchFamily="34" charset="-128"/>
            </a:endParaRPr>
          </a:p>
        </p:txBody>
      </p:sp>
      <p:pic>
        <p:nvPicPr>
          <p:cNvPr id="15" name="Picture 2">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226372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30" presetClass="emph" presetSubtype="0" fill="hold" grpId="0" nodeType="clickEffect">
                                  <p:stCondLst>
                                    <p:cond delay="0"/>
                                  </p:stCondLst>
                                  <p:childTnLst>
                                    <p:animClr clrSpc="hsl" dir="cw">
                                      <p:cBhvr override="childStyle">
                                        <p:cTn id="14" dur="500" fill="hold"/>
                                        <p:tgtEl>
                                          <p:spTgt spid="8"/>
                                        </p:tgtEl>
                                        <p:attrNameLst>
                                          <p:attrName>style.color</p:attrName>
                                        </p:attrNameLst>
                                      </p:cBhvr>
                                      <p:by>
                                        <p:hsl h="0" s="12549" l="25098"/>
                                      </p:by>
                                    </p:animClr>
                                    <p:animClr clrSpc="hsl" dir="cw">
                                      <p:cBhvr>
                                        <p:cTn id="15" dur="500" fill="hold"/>
                                        <p:tgtEl>
                                          <p:spTgt spid="8"/>
                                        </p:tgtEl>
                                        <p:attrNameLst>
                                          <p:attrName>fillcolor</p:attrName>
                                        </p:attrNameLst>
                                      </p:cBhvr>
                                      <p:by>
                                        <p:hsl h="0" s="12549" l="25098"/>
                                      </p:by>
                                    </p:animClr>
                                    <p:animClr clrSpc="hsl" dir="cw">
                                      <p:cBhvr>
                                        <p:cTn id="16" dur="500" fill="hold"/>
                                        <p:tgtEl>
                                          <p:spTgt spid="8"/>
                                        </p:tgtEl>
                                        <p:attrNameLst>
                                          <p:attrName>stroke.color</p:attrName>
                                        </p:attrNameLst>
                                      </p:cBhvr>
                                      <p:by>
                                        <p:hsl h="0" s="12549" l="25098"/>
                                      </p:by>
                                    </p:animClr>
                                    <p:set>
                                      <p:cBhvr>
                                        <p:cTn id="17" dur="500" fill="hold"/>
                                        <p:tgtEl>
                                          <p:spTgt spid="8"/>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12" grpId="0" animBg="1"/>
    </p:bldLst>
  </p:timing>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879651" y="2714627"/>
            <a:ext cx="5741539" cy="480462"/>
            <a:chOff x="1172560" y="3619503"/>
            <a:chExt cx="7653392" cy="640616"/>
          </a:xfrm>
        </p:grpSpPr>
        <p:sp>
          <p:nvSpPr>
            <p:cNvPr id="20" name="Rounded Rectangle 19"/>
            <p:cNvSpPr/>
            <p:nvPr/>
          </p:nvSpPr>
          <p:spPr bwMode="auto">
            <a:xfrm>
              <a:off x="2200423" y="3619503"/>
              <a:ext cx="6625529" cy="640616"/>
            </a:xfrm>
            <a:prstGeom prst="roundRect">
              <a:avLst>
                <a:gd name="adj" fmla="val 9078"/>
              </a:avLst>
            </a:prstGeom>
            <a:noFill/>
            <a:ln w="12700" cap="flat" cmpd="sng" algn="ctr">
              <a:noFill/>
              <a:prstDash val="solid"/>
              <a:round/>
              <a:headEnd type="none" w="med" len="med"/>
              <a:tailEnd type="none" w="med" len="med"/>
            </a:ln>
            <a:effectLst/>
          </p:spPr>
          <p:txBody>
            <a:bodyPr vert="horz" wrap="square" lIns="91412" tIns="137119" rIns="91412" bIns="91412" numCol="1" rtlCol="0" anchor="ctr" anchorCtr="0" compatLnSpc="1">
              <a:prstTxWarp prst="textNoShape">
                <a:avLst/>
              </a:prstTxWarp>
            </a:bodyPr>
            <a:lstStyle/>
            <a:p>
              <a:pPr marL="0" lvl="1" defTabSz="685465" fontAlgn="base">
                <a:lnSpc>
                  <a:spcPct val="85000"/>
                </a:lnSpc>
                <a:spcBef>
                  <a:spcPct val="25000"/>
                </a:spcBef>
                <a:spcAft>
                  <a:spcPct val="0"/>
                </a:spcAft>
                <a:buClr>
                  <a:srgbClr val="F7AB3B"/>
                </a:buClr>
                <a:buSzPct val="95000"/>
                <a:defRPr/>
              </a:pPr>
              <a:r>
                <a:rPr lang="en-US" sz="1500" dirty="0">
                  <a:solidFill>
                    <a:prstClr val="white">
                      <a:alpha val="99000"/>
                    </a:prstClr>
                  </a:solidFill>
                </a:rPr>
                <a:t>IDENTITY AND PRIVACY</a:t>
              </a:r>
            </a:p>
          </p:txBody>
        </p:sp>
        <p:sp>
          <p:nvSpPr>
            <p:cNvPr id="3072" name="Freeform 9"/>
            <p:cNvSpPr>
              <a:spLocks noChangeAspect="1" noEditPoints="1"/>
            </p:cNvSpPr>
            <p:nvPr/>
          </p:nvSpPr>
          <p:spPr bwMode="auto">
            <a:xfrm>
              <a:off x="1172560" y="3711211"/>
              <a:ext cx="317268" cy="457200"/>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21"/>
              <a:endParaRPr lang="en-US">
                <a:solidFill>
                  <a:srgbClr val="FFFFFF"/>
                </a:solidFill>
              </a:endParaRPr>
            </a:p>
          </p:txBody>
        </p:sp>
      </p:grpSp>
      <p:grpSp>
        <p:nvGrpSpPr>
          <p:cNvPr id="8" name="Group 7"/>
          <p:cNvGrpSpPr/>
          <p:nvPr/>
        </p:nvGrpSpPr>
        <p:grpSpPr>
          <a:xfrm>
            <a:off x="791411" y="2141324"/>
            <a:ext cx="5829778" cy="480462"/>
            <a:chOff x="1054939" y="2855098"/>
            <a:chExt cx="7771013" cy="640616"/>
          </a:xfrm>
        </p:grpSpPr>
        <p:sp>
          <p:nvSpPr>
            <p:cNvPr id="21" name="Rounded Rectangle 20"/>
            <p:cNvSpPr/>
            <p:nvPr/>
          </p:nvSpPr>
          <p:spPr bwMode="auto">
            <a:xfrm>
              <a:off x="2200423" y="2855098"/>
              <a:ext cx="6625529" cy="640616"/>
            </a:xfrm>
            <a:prstGeom prst="roundRect">
              <a:avLst>
                <a:gd name="adj" fmla="val 9078"/>
              </a:avLst>
            </a:prstGeom>
            <a:noFill/>
            <a:ln w="12700" cap="flat" cmpd="sng" algn="ctr">
              <a:noFill/>
              <a:prstDash val="solid"/>
              <a:round/>
              <a:headEnd type="none" w="med" len="med"/>
              <a:tailEnd type="none" w="med" len="med"/>
            </a:ln>
            <a:effectLst/>
          </p:spPr>
          <p:txBody>
            <a:bodyPr vert="horz" wrap="square" lIns="91412" tIns="137119" rIns="91412" bIns="91412" numCol="1" rtlCol="0" anchor="ctr" anchorCtr="0" compatLnSpc="1">
              <a:prstTxWarp prst="textNoShape">
                <a:avLst/>
              </a:prstTxWarp>
            </a:bodyPr>
            <a:lstStyle/>
            <a:p>
              <a:pPr marL="0" lvl="1" defTabSz="685465" fontAlgn="base">
                <a:lnSpc>
                  <a:spcPct val="85000"/>
                </a:lnSpc>
                <a:spcBef>
                  <a:spcPct val="25000"/>
                </a:spcBef>
                <a:spcAft>
                  <a:spcPct val="0"/>
                </a:spcAft>
                <a:buClr>
                  <a:srgbClr val="F7AB3B"/>
                </a:buClr>
                <a:buSzPct val="95000"/>
                <a:defRPr/>
              </a:pPr>
              <a:r>
                <a:rPr lang="en-US" sz="1500" dirty="0">
                  <a:solidFill>
                    <a:prstClr val="white">
                      <a:alpha val="99000"/>
                    </a:prstClr>
                  </a:solidFill>
                </a:rPr>
                <a:t>TARGETED ATTACKS</a:t>
              </a:r>
            </a:p>
          </p:txBody>
        </p:sp>
        <p:sp>
          <p:nvSpPr>
            <p:cNvPr id="45" name="Freeform 13"/>
            <p:cNvSpPr>
              <a:spLocks noChangeAspect="1" noEditPoints="1"/>
            </p:cNvSpPr>
            <p:nvPr/>
          </p:nvSpPr>
          <p:spPr bwMode="auto">
            <a:xfrm>
              <a:off x="1054939" y="2901086"/>
              <a:ext cx="552510" cy="548640"/>
            </a:xfrm>
            <a:custGeom>
              <a:avLst/>
              <a:gdLst>
                <a:gd name="T0" fmla="*/ 294 w 302"/>
                <a:gd name="T1" fmla="*/ 294 h 300"/>
                <a:gd name="T2" fmla="*/ 279 w 302"/>
                <a:gd name="T3" fmla="*/ 300 h 300"/>
                <a:gd name="T4" fmla="*/ 264 w 302"/>
                <a:gd name="T5" fmla="*/ 294 h 300"/>
                <a:gd name="T6" fmla="*/ 164 w 302"/>
                <a:gd name="T7" fmla="*/ 194 h 300"/>
                <a:gd name="T8" fmla="*/ 181 w 302"/>
                <a:gd name="T9" fmla="*/ 181 h 300"/>
                <a:gd name="T10" fmla="*/ 194 w 302"/>
                <a:gd name="T11" fmla="*/ 164 h 300"/>
                <a:gd name="T12" fmla="*/ 294 w 302"/>
                <a:gd name="T13" fmla="*/ 264 h 300"/>
                <a:gd name="T14" fmla="*/ 294 w 302"/>
                <a:gd name="T15" fmla="*/ 294 h 300"/>
                <a:gd name="T16" fmla="*/ 207 w 302"/>
                <a:gd name="T17" fmla="*/ 104 h 300"/>
                <a:gd name="T18" fmla="*/ 177 w 302"/>
                <a:gd name="T19" fmla="*/ 30 h 300"/>
                <a:gd name="T20" fmla="*/ 103 w 302"/>
                <a:gd name="T21" fmla="*/ 0 h 300"/>
                <a:gd name="T22" fmla="*/ 30 w 302"/>
                <a:gd name="T23" fmla="*/ 30 h 300"/>
                <a:gd name="T24" fmla="*/ 0 w 302"/>
                <a:gd name="T25" fmla="*/ 104 h 300"/>
                <a:gd name="T26" fmla="*/ 30 w 302"/>
                <a:gd name="T27" fmla="*/ 177 h 300"/>
                <a:gd name="T28" fmla="*/ 103 w 302"/>
                <a:gd name="T29" fmla="*/ 207 h 300"/>
                <a:gd name="T30" fmla="*/ 177 w 302"/>
                <a:gd name="T31" fmla="*/ 177 h 300"/>
                <a:gd name="T32" fmla="*/ 207 w 302"/>
                <a:gd name="T33" fmla="*/ 104 h 300"/>
                <a:gd name="T34" fmla="*/ 161 w 302"/>
                <a:gd name="T35" fmla="*/ 46 h 300"/>
                <a:gd name="T36" fmla="*/ 185 w 302"/>
                <a:gd name="T37" fmla="*/ 104 h 300"/>
                <a:gd name="T38" fmla="*/ 161 w 302"/>
                <a:gd name="T39" fmla="*/ 161 h 300"/>
                <a:gd name="T40" fmla="*/ 103 w 302"/>
                <a:gd name="T41" fmla="*/ 185 h 300"/>
                <a:gd name="T42" fmla="*/ 46 w 302"/>
                <a:gd name="T43" fmla="*/ 161 h 300"/>
                <a:gd name="T44" fmla="*/ 22 w 302"/>
                <a:gd name="T45" fmla="*/ 104 h 300"/>
                <a:gd name="T46" fmla="*/ 46 w 302"/>
                <a:gd name="T47" fmla="*/ 46 h 300"/>
                <a:gd name="T48" fmla="*/ 103 w 302"/>
                <a:gd name="T49" fmla="*/ 22 h 300"/>
                <a:gd name="T50" fmla="*/ 161 w 302"/>
                <a:gd name="T51" fmla="*/ 46 h 300"/>
                <a:gd name="T52" fmla="*/ 110 w 302"/>
                <a:gd name="T53" fmla="*/ 43 h 300"/>
                <a:gd name="T54" fmla="*/ 107 w 302"/>
                <a:gd name="T55" fmla="*/ 40 h 300"/>
                <a:gd name="T56" fmla="*/ 40 w 302"/>
                <a:gd name="T57" fmla="*/ 107 h 300"/>
                <a:gd name="T58" fmla="*/ 43 w 302"/>
                <a:gd name="T59" fmla="*/ 110 h 300"/>
                <a:gd name="T60" fmla="*/ 46 w 302"/>
                <a:gd name="T61" fmla="*/ 107 h 300"/>
                <a:gd name="T62" fmla="*/ 64 w 302"/>
                <a:gd name="T63" fmla="*/ 64 h 300"/>
                <a:gd name="T64" fmla="*/ 107 w 302"/>
                <a:gd name="T65" fmla="*/ 46 h 300"/>
                <a:gd name="T66" fmla="*/ 110 w 302"/>
                <a:gd name="T67" fmla="*/ 43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2" h="300">
                  <a:moveTo>
                    <a:pt x="294" y="294"/>
                  </a:moveTo>
                  <a:cubicBezTo>
                    <a:pt x="290" y="298"/>
                    <a:pt x="284" y="300"/>
                    <a:pt x="279" y="300"/>
                  </a:cubicBezTo>
                  <a:cubicBezTo>
                    <a:pt x="273" y="300"/>
                    <a:pt x="268" y="298"/>
                    <a:pt x="264" y="294"/>
                  </a:cubicBezTo>
                  <a:cubicBezTo>
                    <a:pt x="264" y="294"/>
                    <a:pt x="184" y="213"/>
                    <a:pt x="164" y="194"/>
                  </a:cubicBezTo>
                  <a:cubicBezTo>
                    <a:pt x="170" y="190"/>
                    <a:pt x="176" y="186"/>
                    <a:pt x="181" y="181"/>
                  </a:cubicBezTo>
                  <a:cubicBezTo>
                    <a:pt x="186" y="176"/>
                    <a:pt x="190" y="170"/>
                    <a:pt x="194" y="164"/>
                  </a:cubicBezTo>
                  <a:cubicBezTo>
                    <a:pt x="294" y="264"/>
                    <a:pt x="294" y="264"/>
                    <a:pt x="294" y="264"/>
                  </a:cubicBezTo>
                  <a:cubicBezTo>
                    <a:pt x="302" y="272"/>
                    <a:pt x="302" y="286"/>
                    <a:pt x="294" y="294"/>
                  </a:cubicBezTo>
                  <a:close/>
                  <a:moveTo>
                    <a:pt x="207" y="104"/>
                  </a:moveTo>
                  <a:cubicBezTo>
                    <a:pt x="207" y="75"/>
                    <a:pt x="195" y="49"/>
                    <a:pt x="177" y="30"/>
                  </a:cubicBezTo>
                  <a:cubicBezTo>
                    <a:pt x="158" y="12"/>
                    <a:pt x="132" y="0"/>
                    <a:pt x="103" y="0"/>
                  </a:cubicBezTo>
                  <a:cubicBezTo>
                    <a:pt x="75" y="0"/>
                    <a:pt x="49" y="12"/>
                    <a:pt x="30" y="30"/>
                  </a:cubicBezTo>
                  <a:cubicBezTo>
                    <a:pt x="12" y="49"/>
                    <a:pt x="0" y="75"/>
                    <a:pt x="0" y="104"/>
                  </a:cubicBezTo>
                  <a:cubicBezTo>
                    <a:pt x="0" y="132"/>
                    <a:pt x="12" y="158"/>
                    <a:pt x="30" y="177"/>
                  </a:cubicBezTo>
                  <a:cubicBezTo>
                    <a:pt x="49" y="195"/>
                    <a:pt x="75" y="207"/>
                    <a:pt x="103" y="207"/>
                  </a:cubicBezTo>
                  <a:cubicBezTo>
                    <a:pt x="132" y="207"/>
                    <a:pt x="158" y="195"/>
                    <a:pt x="177" y="177"/>
                  </a:cubicBezTo>
                  <a:cubicBezTo>
                    <a:pt x="195" y="158"/>
                    <a:pt x="207" y="132"/>
                    <a:pt x="207" y="104"/>
                  </a:cubicBezTo>
                  <a:close/>
                  <a:moveTo>
                    <a:pt x="161" y="46"/>
                  </a:moveTo>
                  <a:cubicBezTo>
                    <a:pt x="176" y="60"/>
                    <a:pt x="185" y="81"/>
                    <a:pt x="185" y="104"/>
                  </a:cubicBezTo>
                  <a:cubicBezTo>
                    <a:pt x="185" y="126"/>
                    <a:pt x="176" y="147"/>
                    <a:pt x="161" y="161"/>
                  </a:cubicBezTo>
                  <a:cubicBezTo>
                    <a:pt x="147" y="176"/>
                    <a:pt x="126" y="185"/>
                    <a:pt x="103" y="185"/>
                  </a:cubicBezTo>
                  <a:cubicBezTo>
                    <a:pt x="81" y="185"/>
                    <a:pt x="60" y="176"/>
                    <a:pt x="46" y="161"/>
                  </a:cubicBezTo>
                  <a:cubicBezTo>
                    <a:pt x="31" y="147"/>
                    <a:pt x="22" y="126"/>
                    <a:pt x="22" y="104"/>
                  </a:cubicBezTo>
                  <a:cubicBezTo>
                    <a:pt x="22" y="81"/>
                    <a:pt x="31" y="60"/>
                    <a:pt x="46" y="46"/>
                  </a:cubicBezTo>
                  <a:cubicBezTo>
                    <a:pt x="60" y="31"/>
                    <a:pt x="81" y="22"/>
                    <a:pt x="103" y="22"/>
                  </a:cubicBezTo>
                  <a:cubicBezTo>
                    <a:pt x="126" y="22"/>
                    <a:pt x="147" y="31"/>
                    <a:pt x="161" y="46"/>
                  </a:cubicBezTo>
                  <a:close/>
                  <a:moveTo>
                    <a:pt x="110" y="43"/>
                  </a:moveTo>
                  <a:cubicBezTo>
                    <a:pt x="110" y="41"/>
                    <a:pt x="108" y="40"/>
                    <a:pt x="107" y="40"/>
                  </a:cubicBezTo>
                  <a:cubicBezTo>
                    <a:pt x="70" y="40"/>
                    <a:pt x="40" y="70"/>
                    <a:pt x="40" y="107"/>
                  </a:cubicBezTo>
                  <a:cubicBezTo>
                    <a:pt x="40" y="108"/>
                    <a:pt x="41" y="110"/>
                    <a:pt x="43" y="110"/>
                  </a:cubicBezTo>
                  <a:cubicBezTo>
                    <a:pt x="45" y="110"/>
                    <a:pt x="46" y="108"/>
                    <a:pt x="46" y="107"/>
                  </a:cubicBezTo>
                  <a:cubicBezTo>
                    <a:pt x="46" y="90"/>
                    <a:pt x="53" y="75"/>
                    <a:pt x="64" y="64"/>
                  </a:cubicBezTo>
                  <a:cubicBezTo>
                    <a:pt x="75" y="53"/>
                    <a:pt x="90" y="46"/>
                    <a:pt x="107" y="46"/>
                  </a:cubicBezTo>
                  <a:cubicBezTo>
                    <a:pt x="108" y="46"/>
                    <a:pt x="110" y="45"/>
                    <a:pt x="110" y="43"/>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21"/>
              <a:endParaRPr lang="en-US">
                <a:solidFill>
                  <a:srgbClr val="FFFFFF"/>
                </a:solidFill>
              </a:endParaRPr>
            </a:p>
          </p:txBody>
        </p:sp>
      </p:grpSp>
      <p:grpSp>
        <p:nvGrpSpPr>
          <p:cNvPr id="10" name="Group 9"/>
          <p:cNvGrpSpPr/>
          <p:nvPr/>
        </p:nvGrpSpPr>
        <p:grpSpPr>
          <a:xfrm>
            <a:off x="724264" y="3287931"/>
            <a:ext cx="5896924" cy="480462"/>
            <a:chOff x="965434" y="4383908"/>
            <a:chExt cx="7860518" cy="640616"/>
          </a:xfrm>
        </p:grpSpPr>
        <p:sp>
          <p:nvSpPr>
            <p:cNvPr id="106" name="big cloud"/>
            <p:cNvSpPr>
              <a:spLocks noChangeAspect="1"/>
            </p:cNvSpPr>
            <p:nvPr/>
          </p:nvSpPr>
          <p:spPr bwMode="auto">
            <a:xfrm>
              <a:off x="965434" y="4510448"/>
              <a:ext cx="731520" cy="387536"/>
            </a:xfrm>
            <a:custGeom>
              <a:avLst/>
              <a:gdLst/>
              <a:ahLst/>
              <a:cxnLst>
                <a:cxn ang="0">
                  <a:pos x="6359" y="0"/>
                </a:cxn>
                <a:cxn ang="0">
                  <a:pos x="4385" y="1129"/>
                </a:cxn>
                <a:cxn ang="0">
                  <a:pos x="3525" y="915"/>
                </a:cxn>
                <a:cxn ang="0">
                  <a:pos x="1888" y="1923"/>
                </a:cxn>
                <a:cxn ang="0">
                  <a:pos x="1378" y="1826"/>
                </a:cxn>
                <a:cxn ang="0">
                  <a:pos x="0" y="3203"/>
                </a:cxn>
                <a:cxn ang="0">
                  <a:pos x="1301" y="4578"/>
                </a:cxn>
                <a:cxn ang="0">
                  <a:pos x="1301" y="4581"/>
                </a:cxn>
                <a:cxn ang="0">
                  <a:pos x="6359" y="4581"/>
                </a:cxn>
                <a:cxn ang="0">
                  <a:pos x="8650" y="2290"/>
                </a:cxn>
                <a:cxn ang="0">
                  <a:pos x="6359" y="0"/>
                </a:cxn>
              </a:cxnLst>
              <a:rect l="0" t="0" r="r" b="b"/>
              <a:pathLst>
                <a:path w="8650" h="4581">
                  <a:moveTo>
                    <a:pt x="6359" y="0"/>
                  </a:moveTo>
                  <a:cubicBezTo>
                    <a:pt x="5518" y="0"/>
                    <a:pt x="4783" y="453"/>
                    <a:pt x="4385" y="1129"/>
                  </a:cubicBezTo>
                  <a:cubicBezTo>
                    <a:pt x="4128" y="993"/>
                    <a:pt x="3836" y="915"/>
                    <a:pt x="3525" y="915"/>
                  </a:cubicBezTo>
                  <a:cubicBezTo>
                    <a:pt x="2809" y="915"/>
                    <a:pt x="2190" y="1325"/>
                    <a:pt x="1888" y="1923"/>
                  </a:cubicBezTo>
                  <a:cubicBezTo>
                    <a:pt x="1730" y="1860"/>
                    <a:pt x="1558" y="1826"/>
                    <a:pt x="1378" y="1826"/>
                  </a:cubicBezTo>
                  <a:cubicBezTo>
                    <a:pt x="617" y="1826"/>
                    <a:pt x="0" y="2442"/>
                    <a:pt x="0" y="3203"/>
                  </a:cubicBezTo>
                  <a:cubicBezTo>
                    <a:pt x="0" y="3938"/>
                    <a:pt x="576" y="4538"/>
                    <a:pt x="1301" y="4578"/>
                  </a:cubicBezTo>
                  <a:cubicBezTo>
                    <a:pt x="1301" y="4581"/>
                    <a:pt x="1301" y="4581"/>
                    <a:pt x="1301" y="4581"/>
                  </a:cubicBezTo>
                  <a:cubicBezTo>
                    <a:pt x="6359" y="4581"/>
                    <a:pt x="6359" y="4581"/>
                    <a:pt x="6359" y="4581"/>
                  </a:cubicBezTo>
                  <a:cubicBezTo>
                    <a:pt x="7624" y="4581"/>
                    <a:pt x="8650" y="3555"/>
                    <a:pt x="8650" y="2290"/>
                  </a:cubicBezTo>
                  <a:cubicBezTo>
                    <a:pt x="8650" y="1025"/>
                    <a:pt x="7624" y="0"/>
                    <a:pt x="6359" y="0"/>
                  </a:cubicBezTo>
                  <a:close/>
                </a:path>
              </a:pathLst>
            </a:custGeom>
            <a:solidFill>
              <a:schemeClr val="tx1"/>
            </a:solidFill>
            <a:ln w="38100" cap="rnd">
              <a:solidFill>
                <a:schemeClr val="tx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685466" fontAlgn="base">
                <a:spcBef>
                  <a:spcPct val="0"/>
                </a:spcBef>
                <a:spcAft>
                  <a:spcPct val="0"/>
                </a:spcAft>
              </a:pPr>
              <a:endParaRPr lang="en-US" b="1">
                <a:gradFill>
                  <a:gsLst>
                    <a:gs pos="0">
                      <a:srgbClr val="FFFFFF"/>
                    </a:gs>
                    <a:gs pos="100000">
                      <a:srgbClr val="FFFFFF"/>
                    </a:gs>
                  </a:gsLst>
                  <a:lin ang="5400000" scaled="0"/>
                </a:gradFill>
              </a:endParaRPr>
            </a:p>
          </p:txBody>
        </p:sp>
        <p:sp>
          <p:nvSpPr>
            <p:cNvPr id="22" name="Rounded Rectangle 21"/>
            <p:cNvSpPr/>
            <p:nvPr/>
          </p:nvSpPr>
          <p:spPr bwMode="auto">
            <a:xfrm>
              <a:off x="2200423" y="4383908"/>
              <a:ext cx="6625529" cy="640616"/>
            </a:xfrm>
            <a:prstGeom prst="roundRect">
              <a:avLst>
                <a:gd name="adj" fmla="val 9078"/>
              </a:avLst>
            </a:prstGeom>
            <a:noFill/>
            <a:ln w="12700" cap="flat" cmpd="sng" algn="ctr">
              <a:noFill/>
              <a:prstDash val="solid"/>
              <a:round/>
              <a:headEnd type="none" w="med" len="med"/>
              <a:tailEnd type="none" w="med" len="med"/>
            </a:ln>
            <a:effectLst/>
          </p:spPr>
          <p:txBody>
            <a:bodyPr vert="horz" wrap="square" lIns="91412" tIns="137119" rIns="91412" bIns="91412" numCol="1" rtlCol="0" anchor="ctr" anchorCtr="0" compatLnSpc="1">
              <a:prstTxWarp prst="textNoShape">
                <a:avLst/>
              </a:prstTxWarp>
            </a:bodyPr>
            <a:lstStyle/>
            <a:p>
              <a:pPr marL="0" lvl="1" defTabSz="685465" fontAlgn="base">
                <a:lnSpc>
                  <a:spcPct val="85000"/>
                </a:lnSpc>
                <a:spcBef>
                  <a:spcPct val="25000"/>
                </a:spcBef>
                <a:spcAft>
                  <a:spcPct val="0"/>
                </a:spcAft>
                <a:buClr>
                  <a:srgbClr val="F7AB3B"/>
                </a:buClr>
                <a:buSzPct val="95000"/>
                <a:defRPr/>
              </a:pPr>
              <a:endParaRPr lang="en-US" sz="1500" dirty="0">
                <a:solidFill>
                  <a:prstClr val="white">
                    <a:alpha val="99000"/>
                  </a:prstClr>
                </a:solidFill>
              </a:endParaRPr>
            </a:p>
            <a:p>
              <a:pPr marL="0" lvl="1" defTabSz="685465" fontAlgn="base">
                <a:lnSpc>
                  <a:spcPct val="85000"/>
                </a:lnSpc>
                <a:spcBef>
                  <a:spcPct val="25000"/>
                </a:spcBef>
                <a:spcAft>
                  <a:spcPct val="0"/>
                </a:spcAft>
                <a:buClr>
                  <a:srgbClr val="F7AB3B"/>
                </a:buClr>
                <a:buSzPct val="95000"/>
                <a:defRPr/>
              </a:pPr>
              <a:r>
                <a:rPr lang="en-US" sz="1500" dirty="0">
                  <a:solidFill>
                    <a:prstClr val="white">
                      <a:alpha val="99000"/>
                    </a:prstClr>
                  </a:solidFill>
                </a:rPr>
                <a:t>CLOUD COMPUTING</a:t>
              </a:r>
            </a:p>
            <a:p>
              <a:pPr marL="0" lvl="1" defTabSz="685465" fontAlgn="base">
                <a:lnSpc>
                  <a:spcPct val="85000"/>
                </a:lnSpc>
                <a:spcBef>
                  <a:spcPct val="25000"/>
                </a:spcBef>
                <a:spcAft>
                  <a:spcPct val="0"/>
                </a:spcAft>
                <a:buClr>
                  <a:srgbClr val="F7AB3B"/>
                </a:buClr>
                <a:buSzPct val="95000"/>
                <a:defRPr/>
              </a:pPr>
              <a:endParaRPr lang="en-US" sz="1500" dirty="0">
                <a:solidFill>
                  <a:prstClr val="white">
                    <a:alpha val="99000"/>
                  </a:prstClr>
                </a:solidFill>
              </a:endParaRPr>
            </a:p>
          </p:txBody>
        </p:sp>
      </p:grpSp>
      <p:grpSp>
        <p:nvGrpSpPr>
          <p:cNvPr id="11" name="Group 10"/>
          <p:cNvGrpSpPr/>
          <p:nvPr/>
        </p:nvGrpSpPr>
        <p:grpSpPr>
          <a:xfrm>
            <a:off x="792867" y="3861234"/>
            <a:ext cx="5828327" cy="480462"/>
            <a:chOff x="1056874" y="5148312"/>
            <a:chExt cx="7769078" cy="640616"/>
          </a:xfrm>
        </p:grpSpPr>
        <p:sp>
          <p:nvSpPr>
            <p:cNvPr id="23" name="Rounded Rectangle 22"/>
            <p:cNvSpPr/>
            <p:nvPr/>
          </p:nvSpPr>
          <p:spPr bwMode="auto">
            <a:xfrm>
              <a:off x="2200423" y="5148312"/>
              <a:ext cx="6625529" cy="640616"/>
            </a:xfrm>
            <a:prstGeom prst="roundRect">
              <a:avLst>
                <a:gd name="adj" fmla="val 9078"/>
              </a:avLst>
            </a:prstGeom>
            <a:noFill/>
            <a:ln w="12700" cap="flat" cmpd="sng" algn="ctr">
              <a:noFill/>
              <a:prstDash val="solid"/>
              <a:round/>
              <a:headEnd type="none" w="med" len="med"/>
              <a:tailEnd type="none" w="med" len="med"/>
            </a:ln>
            <a:effectLst/>
          </p:spPr>
          <p:txBody>
            <a:bodyPr vert="horz" wrap="square" lIns="91412" tIns="137119" rIns="91412" bIns="91412" numCol="1" rtlCol="0" anchor="ctr" anchorCtr="0" compatLnSpc="1">
              <a:prstTxWarp prst="textNoShape">
                <a:avLst/>
              </a:prstTxWarp>
            </a:bodyPr>
            <a:lstStyle/>
            <a:p>
              <a:pPr marL="0" lvl="1" defTabSz="685465" fontAlgn="base">
                <a:lnSpc>
                  <a:spcPct val="85000"/>
                </a:lnSpc>
                <a:spcBef>
                  <a:spcPct val="25000"/>
                </a:spcBef>
                <a:spcAft>
                  <a:spcPct val="0"/>
                </a:spcAft>
                <a:buClr>
                  <a:srgbClr val="F7AB3B"/>
                </a:buClr>
                <a:buSzPct val="95000"/>
                <a:defRPr/>
              </a:pPr>
              <a:r>
                <a:rPr lang="en-US" sz="1500" dirty="0">
                  <a:solidFill>
                    <a:prstClr val="white">
                      <a:alpha val="99000"/>
                    </a:prstClr>
                  </a:solidFill>
                </a:rPr>
                <a:t>AVALIBILITY OF SERVICES</a:t>
              </a:r>
            </a:p>
          </p:txBody>
        </p:sp>
        <p:sp>
          <p:nvSpPr>
            <p:cNvPr id="3085" name="Freeform 24"/>
            <p:cNvSpPr>
              <a:spLocks noChangeAspect="1" noEditPoints="1"/>
            </p:cNvSpPr>
            <p:nvPr/>
          </p:nvSpPr>
          <p:spPr bwMode="auto">
            <a:xfrm>
              <a:off x="1056874" y="5195727"/>
              <a:ext cx="548640" cy="545787"/>
            </a:xfrm>
            <a:custGeom>
              <a:avLst/>
              <a:gdLst>
                <a:gd name="T0" fmla="*/ 407 w 407"/>
                <a:gd name="T1" fmla="*/ 94 h 405"/>
                <a:gd name="T2" fmla="*/ 0 w 407"/>
                <a:gd name="T3" fmla="*/ 141 h 405"/>
                <a:gd name="T4" fmla="*/ 325 w 407"/>
                <a:gd name="T5" fmla="*/ 348 h 405"/>
                <a:gd name="T6" fmla="*/ 393 w 407"/>
                <a:gd name="T7" fmla="*/ 358 h 405"/>
                <a:gd name="T8" fmla="*/ 407 w 407"/>
                <a:gd name="T9" fmla="*/ 405 h 405"/>
                <a:gd name="T10" fmla="*/ 0 w 407"/>
                <a:gd name="T11" fmla="*/ 358 h 405"/>
                <a:gd name="T12" fmla="*/ 26 w 407"/>
                <a:gd name="T13" fmla="*/ 348 h 405"/>
                <a:gd name="T14" fmla="*/ 93 w 407"/>
                <a:gd name="T15" fmla="*/ 358 h 405"/>
                <a:gd name="T16" fmla="*/ 125 w 407"/>
                <a:gd name="T17" fmla="*/ 348 h 405"/>
                <a:gd name="T18" fmla="*/ 192 w 407"/>
                <a:gd name="T19" fmla="*/ 358 h 405"/>
                <a:gd name="T20" fmla="*/ 225 w 407"/>
                <a:gd name="T21" fmla="*/ 348 h 405"/>
                <a:gd name="T22" fmla="*/ 293 w 407"/>
                <a:gd name="T23" fmla="*/ 358 h 405"/>
                <a:gd name="T24" fmla="*/ 325 w 407"/>
                <a:gd name="T25" fmla="*/ 348 h 405"/>
                <a:gd name="T26" fmla="*/ 82 w 407"/>
                <a:gd name="T27" fmla="*/ 160 h 405"/>
                <a:gd name="T28" fmla="*/ 77 w 407"/>
                <a:gd name="T29" fmla="*/ 341 h 405"/>
                <a:gd name="T30" fmla="*/ 30 w 407"/>
                <a:gd name="T31" fmla="*/ 160 h 405"/>
                <a:gd name="T32" fmla="*/ 14 w 407"/>
                <a:gd name="T33" fmla="*/ 149 h 405"/>
                <a:gd name="T34" fmla="*/ 192 w 407"/>
                <a:gd name="T35" fmla="*/ 149 h 405"/>
                <a:gd name="T36" fmla="*/ 177 w 407"/>
                <a:gd name="T37" fmla="*/ 160 h 405"/>
                <a:gd name="T38" fmla="*/ 130 w 407"/>
                <a:gd name="T39" fmla="*/ 341 h 405"/>
                <a:gd name="T40" fmla="*/ 125 w 407"/>
                <a:gd name="T41" fmla="*/ 160 h 405"/>
                <a:gd name="T42" fmla="*/ 192 w 407"/>
                <a:gd name="T43" fmla="*/ 149 h 405"/>
                <a:gd name="T44" fmla="*/ 282 w 407"/>
                <a:gd name="T45" fmla="*/ 160 h 405"/>
                <a:gd name="T46" fmla="*/ 277 w 407"/>
                <a:gd name="T47" fmla="*/ 341 h 405"/>
                <a:gd name="T48" fmla="*/ 230 w 407"/>
                <a:gd name="T49" fmla="*/ 160 h 405"/>
                <a:gd name="T50" fmla="*/ 214 w 407"/>
                <a:gd name="T51" fmla="*/ 149 h 405"/>
                <a:gd name="T52" fmla="*/ 377 w 407"/>
                <a:gd name="T53" fmla="*/ 160 h 405"/>
                <a:gd name="T54" fmla="*/ 330 w 407"/>
                <a:gd name="T55" fmla="*/ 341 h 405"/>
                <a:gd name="T56" fmla="*/ 325 w 407"/>
                <a:gd name="T57" fmla="*/ 160 h 405"/>
                <a:gd name="T58" fmla="*/ 393 w 407"/>
                <a:gd name="T59" fmla="*/ 149 h 405"/>
                <a:gd name="T60" fmla="*/ 377 w 407"/>
                <a:gd name="T61" fmla="*/ 160 h 405"/>
                <a:gd name="T62" fmla="*/ 204 w 407"/>
                <a:gd name="T63" fmla="*/ 0 h 405"/>
                <a:gd name="T64" fmla="*/ 0 w 407"/>
                <a:gd name="T65" fmla="*/ 86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7" h="405">
                  <a:moveTo>
                    <a:pt x="0" y="94"/>
                  </a:moveTo>
                  <a:cubicBezTo>
                    <a:pt x="407" y="94"/>
                    <a:pt x="407" y="94"/>
                    <a:pt x="407" y="94"/>
                  </a:cubicBezTo>
                  <a:cubicBezTo>
                    <a:pt x="407" y="141"/>
                    <a:pt x="407" y="141"/>
                    <a:pt x="407" y="141"/>
                  </a:cubicBezTo>
                  <a:cubicBezTo>
                    <a:pt x="0" y="141"/>
                    <a:pt x="0" y="141"/>
                    <a:pt x="0" y="141"/>
                  </a:cubicBezTo>
                  <a:cubicBezTo>
                    <a:pt x="0" y="94"/>
                    <a:pt x="0" y="94"/>
                    <a:pt x="0" y="94"/>
                  </a:cubicBezTo>
                  <a:close/>
                  <a:moveTo>
                    <a:pt x="325" y="348"/>
                  </a:moveTo>
                  <a:cubicBezTo>
                    <a:pt x="382" y="348"/>
                    <a:pt x="382" y="348"/>
                    <a:pt x="382" y="348"/>
                  </a:cubicBezTo>
                  <a:cubicBezTo>
                    <a:pt x="389" y="348"/>
                    <a:pt x="392" y="353"/>
                    <a:pt x="393" y="358"/>
                  </a:cubicBezTo>
                  <a:cubicBezTo>
                    <a:pt x="407" y="358"/>
                    <a:pt x="407" y="358"/>
                    <a:pt x="407" y="358"/>
                  </a:cubicBezTo>
                  <a:cubicBezTo>
                    <a:pt x="407" y="405"/>
                    <a:pt x="407" y="405"/>
                    <a:pt x="407" y="405"/>
                  </a:cubicBezTo>
                  <a:cubicBezTo>
                    <a:pt x="0" y="405"/>
                    <a:pt x="0" y="405"/>
                    <a:pt x="0" y="405"/>
                  </a:cubicBezTo>
                  <a:cubicBezTo>
                    <a:pt x="0" y="358"/>
                    <a:pt x="0" y="358"/>
                    <a:pt x="0" y="358"/>
                  </a:cubicBezTo>
                  <a:cubicBezTo>
                    <a:pt x="14" y="358"/>
                    <a:pt x="14" y="358"/>
                    <a:pt x="14" y="358"/>
                  </a:cubicBezTo>
                  <a:cubicBezTo>
                    <a:pt x="15" y="353"/>
                    <a:pt x="19" y="348"/>
                    <a:pt x="26" y="348"/>
                  </a:cubicBezTo>
                  <a:cubicBezTo>
                    <a:pt x="82" y="348"/>
                    <a:pt x="82" y="348"/>
                    <a:pt x="82" y="348"/>
                  </a:cubicBezTo>
                  <a:cubicBezTo>
                    <a:pt x="89" y="348"/>
                    <a:pt x="93" y="353"/>
                    <a:pt x="93" y="358"/>
                  </a:cubicBezTo>
                  <a:cubicBezTo>
                    <a:pt x="114" y="358"/>
                    <a:pt x="114" y="358"/>
                    <a:pt x="114" y="358"/>
                  </a:cubicBezTo>
                  <a:cubicBezTo>
                    <a:pt x="114" y="353"/>
                    <a:pt x="118" y="348"/>
                    <a:pt x="125" y="348"/>
                  </a:cubicBezTo>
                  <a:cubicBezTo>
                    <a:pt x="181" y="348"/>
                    <a:pt x="181" y="348"/>
                    <a:pt x="181" y="348"/>
                  </a:cubicBezTo>
                  <a:cubicBezTo>
                    <a:pt x="188" y="348"/>
                    <a:pt x="192" y="353"/>
                    <a:pt x="192" y="358"/>
                  </a:cubicBezTo>
                  <a:cubicBezTo>
                    <a:pt x="214" y="358"/>
                    <a:pt x="214" y="358"/>
                    <a:pt x="214" y="358"/>
                  </a:cubicBezTo>
                  <a:cubicBezTo>
                    <a:pt x="215" y="353"/>
                    <a:pt x="218" y="348"/>
                    <a:pt x="225" y="348"/>
                  </a:cubicBezTo>
                  <a:cubicBezTo>
                    <a:pt x="282" y="348"/>
                    <a:pt x="282" y="348"/>
                    <a:pt x="282" y="348"/>
                  </a:cubicBezTo>
                  <a:cubicBezTo>
                    <a:pt x="289" y="348"/>
                    <a:pt x="293" y="353"/>
                    <a:pt x="293" y="358"/>
                  </a:cubicBezTo>
                  <a:cubicBezTo>
                    <a:pt x="314" y="358"/>
                    <a:pt x="314" y="358"/>
                    <a:pt x="314" y="358"/>
                  </a:cubicBezTo>
                  <a:cubicBezTo>
                    <a:pt x="315" y="353"/>
                    <a:pt x="318" y="348"/>
                    <a:pt x="325" y="348"/>
                  </a:cubicBezTo>
                  <a:close/>
                  <a:moveTo>
                    <a:pt x="93" y="149"/>
                  </a:moveTo>
                  <a:cubicBezTo>
                    <a:pt x="93" y="154"/>
                    <a:pt x="90" y="160"/>
                    <a:pt x="82" y="160"/>
                  </a:cubicBezTo>
                  <a:cubicBezTo>
                    <a:pt x="77" y="160"/>
                    <a:pt x="77" y="160"/>
                    <a:pt x="77" y="160"/>
                  </a:cubicBezTo>
                  <a:cubicBezTo>
                    <a:pt x="77" y="341"/>
                    <a:pt x="77" y="341"/>
                    <a:pt x="77" y="341"/>
                  </a:cubicBezTo>
                  <a:cubicBezTo>
                    <a:pt x="30" y="341"/>
                    <a:pt x="30" y="341"/>
                    <a:pt x="30" y="341"/>
                  </a:cubicBezTo>
                  <a:cubicBezTo>
                    <a:pt x="30" y="160"/>
                    <a:pt x="30" y="160"/>
                    <a:pt x="30" y="160"/>
                  </a:cubicBezTo>
                  <a:cubicBezTo>
                    <a:pt x="26" y="160"/>
                    <a:pt x="26" y="160"/>
                    <a:pt x="26" y="160"/>
                  </a:cubicBezTo>
                  <a:cubicBezTo>
                    <a:pt x="18" y="160"/>
                    <a:pt x="14" y="154"/>
                    <a:pt x="14" y="149"/>
                  </a:cubicBezTo>
                  <a:cubicBezTo>
                    <a:pt x="93" y="149"/>
                    <a:pt x="93" y="149"/>
                    <a:pt x="93" y="149"/>
                  </a:cubicBezTo>
                  <a:close/>
                  <a:moveTo>
                    <a:pt x="192" y="149"/>
                  </a:moveTo>
                  <a:cubicBezTo>
                    <a:pt x="193" y="154"/>
                    <a:pt x="189" y="160"/>
                    <a:pt x="181" y="160"/>
                  </a:cubicBezTo>
                  <a:cubicBezTo>
                    <a:pt x="177" y="160"/>
                    <a:pt x="177" y="160"/>
                    <a:pt x="177" y="160"/>
                  </a:cubicBezTo>
                  <a:cubicBezTo>
                    <a:pt x="177" y="341"/>
                    <a:pt x="177" y="341"/>
                    <a:pt x="177" y="341"/>
                  </a:cubicBezTo>
                  <a:cubicBezTo>
                    <a:pt x="130" y="341"/>
                    <a:pt x="130" y="341"/>
                    <a:pt x="130" y="341"/>
                  </a:cubicBezTo>
                  <a:cubicBezTo>
                    <a:pt x="130" y="160"/>
                    <a:pt x="130" y="160"/>
                    <a:pt x="130" y="160"/>
                  </a:cubicBezTo>
                  <a:cubicBezTo>
                    <a:pt x="125" y="160"/>
                    <a:pt x="125" y="160"/>
                    <a:pt x="125" y="160"/>
                  </a:cubicBezTo>
                  <a:cubicBezTo>
                    <a:pt x="117" y="160"/>
                    <a:pt x="114" y="154"/>
                    <a:pt x="114" y="149"/>
                  </a:cubicBezTo>
                  <a:cubicBezTo>
                    <a:pt x="192" y="149"/>
                    <a:pt x="192" y="149"/>
                    <a:pt x="192" y="149"/>
                  </a:cubicBezTo>
                  <a:close/>
                  <a:moveTo>
                    <a:pt x="293" y="149"/>
                  </a:moveTo>
                  <a:cubicBezTo>
                    <a:pt x="293" y="154"/>
                    <a:pt x="289" y="160"/>
                    <a:pt x="282" y="160"/>
                  </a:cubicBezTo>
                  <a:cubicBezTo>
                    <a:pt x="277" y="160"/>
                    <a:pt x="277" y="160"/>
                    <a:pt x="277" y="160"/>
                  </a:cubicBezTo>
                  <a:cubicBezTo>
                    <a:pt x="277" y="341"/>
                    <a:pt x="277" y="341"/>
                    <a:pt x="277" y="341"/>
                  </a:cubicBezTo>
                  <a:cubicBezTo>
                    <a:pt x="230" y="341"/>
                    <a:pt x="230" y="341"/>
                    <a:pt x="230" y="341"/>
                  </a:cubicBezTo>
                  <a:cubicBezTo>
                    <a:pt x="230" y="160"/>
                    <a:pt x="230" y="160"/>
                    <a:pt x="230" y="160"/>
                  </a:cubicBezTo>
                  <a:cubicBezTo>
                    <a:pt x="225" y="160"/>
                    <a:pt x="225" y="160"/>
                    <a:pt x="225" y="160"/>
                  </a:cubicBezTo>
                  <a:cubicBezTo>
                    <a:pt x="218" y="160"/>
                    <a:pt x="214" y="154"/>
                    <a:pt x="214" y="149"/>
                  </a:cubicBezTo>
                  <a:cubicBezTo>
                    <a:pt x="293" y="149"/>
                    <a:pt x="293" y="149"/>
                    <a:pt x="293" y="149"/>
                  </a:cubicBezTo>
                  <a:close/>
                  <a:moveTo>
                    <a:pt x="377" y="160"/>
                  </a:moveTo>
                  <a:cubicBezTo>
                    <a:pt x="377" y="341"/>
                    <a:pt x="377" y="341"/>
                    <a:pt x="377" y="341"/>
                  </a:cubicBezTo>
                  <a:cubicBezTo>
                    <a:pt x="330" y="341"/>
                    <a:pt x="330" y="341"/>
                    <a:pt x="330" y="341"/>
                  </a:cubicBezTo>
                  <a:cubicBezTo>
                    <a:pt x="330" y="160"/>
                    <a:pt x="330" y="160"/>
                    <a:pt x="330" y="160"/>
                  </a:cubicBezTo>
                  <a:cubicBezTo>
                    <a:pt x="325" y="160"/>
                    <a:pt x="325" y="160"/>
                    <a:pt x="325" y="160"/>
                  </a:cubicBezTo>
                  <a:cubicBezTo>
                    <a:pt x="318" y="160"/>
                    <a:pt x="314" y="154"/>
                    <a:pt x="314" y="149"/>
                  </a:cubicBezTo>
                  <a:cubicBezTo>
                    <a:pt x="393" y="149"/>
                    <a:pt x="393" y="149"/>
                    <a:pt x="393" y="149"/>
                  </a:cubicBezTo>
                  <a:cubicBezTo>
                    <a:pt x="393" y="154"/>
                    <a:pt x="389" y="160"/>
                    <a:pt x="382" y="160"/>
                  </a:cubicBezTo>
                  <a:cubicBezTo>
                    <a:pt x="377" y="160"/>
                    <a:pt x="377" y="160"/>
                    <a:pt x="377" y="160"/>
                  </a:cubicBezTo>
                  <a:close/>
                  <a:moveTo>
                    <a:pt x="0" y="86"/>
                  </a:moveTo>
                  <a:cubicBezTo>
                    <a:pt x="204" y="0"/>
                    <a:pt x="204" y="0"/>
                    <a:pt x="204" y="0"/>
                  </a:cubicBezTo>
                  <a:cubicBezTo>
                    <a:pt x="407" y="86"/>
                    <a:pt x="407" y="86"/>
                    <a:pt x="407" y="86"/>
                  </a:cubicBezTo>
                  <a:cubicBezTo>
                    <a:pt x="0" y="86"/>
                    <a:pt x="0" y="86"/>
                    <a:pt x="0" y="8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685721"/>
              <a:endParaRPr lang="en-US">
                <a:solidFill>
                  <a:srgbClr val="FFFFFF"/>
                </a:solidFill>
              </a:endParaRPr>
            </a:p>
          </p:txBody>
        </p:sp>
      </p:grpSp>
      <p:sp>
        <p:nvSpPr>
          <p:cNvPr id="24" name="Rounded Rectangle 23"/>
          <p:cNvSpPr/>
          <p:nvPr/>
        </p:nvSpPr>
        <p:spPr bwMode="auto">
          <a:xfrm>
            <a:off x="1650754" y="1568020"/>
            <a:ext cx="4970441" cy="480462"/>
          </a:xfrm>
          <a:prstGeom prst="roundRect">
            <a:avLst>
              <a:gd name="adj" fmla="val 9078"/>
            </a:avLst>
          </a:prstGeom>
          <a:noFill/>
          <a:ln w="12700" cap="flat" cmpd="sng" algn="ctr">
            <a:noFill/>
            <a:prstDash val="solid"/>
            <a:round/>
            <a:headEnd type="none" w="med" len="med"/>
            <a:tailEnd type="none" w="med" len="med"/>
          </a:ln>
          <a:effectLst/>
        </p:spPr>
        <p:txBody>
          <a:bodyPr vert="horz" wrap="square" lIns="91392" tIns="137089" rIns="91392" bIns="91392" numCol="1" rtlCol="0" anchor="ctr" anchorCtr="0" compatLnSpc="1">
            <a:prstTxWarp prst="textNoShape">
              <a:avLst/>
            </a:prstTxWarp>
          </a:bodyPr>
          <a:lstStyle/>
          <a:p>
            <a:pPr marL="0" lvl="1" defTabSz="685465" fontAlgn="base">
              <a:lnSpc>
                <a:spcPct val="85000"/>
              </a:lnSpc>
              <a:spcBef>
                <a:spcPct val="25000"/>
              </a:spcBef>
              <a:spcAft>
                <a:spcPct val="0"/>
              </a:spcAft>
              <a:buClr>
                <a:srgbClr val="F7AB3B"/>
              </a:buClr>
              <a:buSzPct val="95000"/>
              <a:defRPr/>
            </a:pPr>
            <a:r>
              <a:rPr lang="en-US" sz="1500" dirty="0">
                <a:solidFill>
                  <a:prstClr val="white">
                    <a:alpha val="99000"/>
                  </a:prstClr>
                </a:solidFill>
              </a:rPr>
              <a:t>CONSUMERIZATION OF IT</a:t>
            </a:r>
          </a:p>
        </p:txBody>
      </p:sp>
      <p:sp>
        <p:nvSpPr>
          <p:cNvPr id="52" name="Freeform 71"/>
          <p:cNvSpPr>
            <a:spLocks noChangeAspect="1" noEditPoints="1"/>
          </p:cNvSpPr>
          <p:nvPr/>
        </p:nvSpPr>
        <p:spPr bwMode="auto">
          <a:xfrm>
            <a:off x="497796" y="1680114"/>
            <a:ext cx="178862" cy="274320"/>
          </a:xfrm>
          <a:custGeom>
            <a:avLst/>
            <a:gdLst/>
            <a:ahLst/>
            <a:cxnLst>
              <a:cxn ang="0">
                <a:pos x="192" y="0"/>
              </a:cxn>
              <a:cxn ang="0">
                <a:pos x="8" y="0"/>
              </a:cxn>
              <a:cxn ang="0">
                <a:pos x="0" y="8"/>
              </a:cxn>
              <a:cxn ang="0">
                <a:pos x="0" y="299"/>
              </a:cxn>
              <a:cxn ang="0">
                <a:pos x="8" y="307"/>
              </a:cxn>
              <a:cxn ang="0">
                <a:pos x="192" y="307"/>
              </a:cxn>
              <a:cxn ang="0">
                <a:pos x="200" y="299"/>
              </a:cxn>
              <a:cxn ang="0">
                <a:pos x="200" y="8"/>
              </a:cxn>
              <a:cxn ang="0">
                <a:pos x="192" y="0"/>
              </a:cxn>
              <a:cxn ang="0">
                <a:pos x="102" y="297"/>
              </a:cxn>
              <a:cxn ang="0">
                <a:pos x="85" y="279"/>
              </a:cxn>
              <a:cxn ang="0">
                <a:pos x="102" y="262"/>
              </a:cxn>
              <a:cxn ang="0">
                <a:pos x="120" y="279"/>
              </a:cxn>
              <a:cxn ang="0">
                <a:pos x="102" y="297"/>
              </a:cxn>
              <a:cxn ang="0">
                <a:pos x="178" y="245"/>
              </a:cxn>
              <a:cxn ang="0">
                <a:pos x="169" y="254"/>
              </a:cxn>
              <a:cxn ang="0">
                <a:pos x="30" y="254"/>
              </a:cxn>
              <a:cxn ang="0">
                <a:pos x="22" y="245"/>
              </a:cxn>
              <a:cxn ang="0">
                <a:pos x="22" y="29"/>
              </a:cxn>
              <a:cxn ang="0">
                <a:pos x="30" y="20"/>
              </a:cxn>
              <a:cxn ang="0">
                <a:pos x="169" y="20"/>
              </a:cxn>
              <a:cxn ang="0">
                <a:pos x="178" y="29"/>
              </a:cxn>
              <a:cxn ang="0">
                <a:pos x="178" y="245"/>
              </a:cxn>
            </a:cxnLst>
            <a:rect l="0" t="0" r="r" b="b"/>
            <a:pathLst>
              <a:path w="200" h="307">
                <a:moveTo>
                  <a:pt x="192" y="0"/>
                </a:moveTo>
                <a:cubicBezTo>
                  <a:pt x="8" y="0"/>
                  <a:pt x="8" y="0"/>
                  <a:pt x="8" y="0"/>
                </a:cubicBezTo>
                <a:cubicBezTo>
                  <a:pt x="4" y="0"/>
                  <a:pt x="0" y="3"/>
                  <a:pt x="0" y="8"/>
                </a:cubicBezTo>
                <a:cubicBezTo>
                  <a:pt x="0" y="299"/>
                  <a:pt x="0" y="299"/>
                  <a:pt x="0" y="299"/>
                </a:cubicBezTo>
                <a:cubicBezTo>
                  <a:pt x="0" y="304"/>
                  <a:pt x="4" y="307"/>
                  <a:pt x="8" y="307"/>
                </a:cubicBezTo>
                <a:cubicBezTo>
                  <a:pt x="192" y="307"/>
                  <a:pt x="192" y="307"/>
                  <a:pt x="192" y="307"/>
                </a:cubicBezTo>
                <a:cubicBezTo>
                  <a:pt x="197" y="307"/>
                  <a:pt x="200" y="304"/>
                  <a:pt x="200" y="299"/>
                </a:cubicBezTo>
                <a:cubicBezTo>
                  <a:pt x="200" y="8"/>
                  <a:pt x="200" y="8"/>
                  <a:pt x="200" y="8"/>
                </a:cubicBezTo>
                <a:cubicBezTo>
                  <a:pt x="200" y="3"/>
                  <a:pt x="197" y="0"/>
                  <a:pt x="192" y="0"/>
                </a:cubicBezTo>
                <a:close/>
                <a:moveTo>
                  <a:pt x="102" y="297"/>
                </a:moveTo>
                <a:cubicBezTo>
                  <a:pt x="92" y="297"/>
                  <a:pt x="85" y="289"/>
                  <a:pt x="85" y="279"/>
                </a:cubicBezTo>
                <a:cubicBezTo>
                  <a:pt x="85" y="270"/>
                  <a:pt x="92" y="262"/>
                  <a:pt x="102" y="262"/>
                </a:cubicBezTo>
                <a:cubicBezTo>
                  <a:pt x="112" y="262"/>
                  <a:pt x="120" y="270"/>
                  <a:pt x="120" y="279"/>
                </a:cubicBezTo>
                <a:cubicBezTo>
                  <a:pt x="120" y="289"/>
                  <a:pt x="112" y="297"/>
                  <a:pt x="102" y="297"/>
                </a:cubicBezTo>
                <a:close/>
                <a:moveTo>
                  <a:pt x="178" y="245"/>
                </a:moveTo>
                <a:cubicBezTo>
                  <a:pt x="178" y="250"/>
                  <a:pt x="174" y="254"/>
                  <a:pt x="169" y="254"/>
                </a:cubicBezTo>
                <a:cubicBezTo>
                  <a:pt x="30" y="254"/>
                  <a:pt x="30" y="254"/>
                  <a:pt x="30" y="254"/>
                </a:cubicBezTo>
                <a:cubicBezTo>
                  <a:pt x="26" y="254"/>
                  <a:pt x="22" y="250"/>
                  <a:pt x="22" y="245"/>
                </a:cubicBezTo>
                <a:cubicBezTo>
                  <a:pt x="22" y="29"/>
                  <a:pt x="22" y="29"/>
                  <a:pt x="22" y="29"/>
                </a:cubicBezTo>
                <a:cubicBezTo>
                  <a:pt x="22" y="24"/>
                  <a:pt x="26" y="20"/>
                  <a:pt x="30" y="20"/>
                </a:cubicBezTo>
                <a:cubicBezTo>
                  <a:pt x="169" y="20"/>
                  <a:pt x="169" y="20"/>
                  <a:pt x="169" y="20"/>
                </a:cubicBezTo>
                <a:cubicBezTo>
                  <a:pt x="174" y="20"/>
                  <a:pt x="178" y="24"/>
                  <a:pt x="178" y="29"/>
                </a:cubicBezTo>
                <a:lnTo>
                  <a:pt x="178" y="245"/>
                </a:lnTo>
                <a:close/>
              </a:path>
            </a:pathLst>
          </a:custGeom>
          <a:solidFill>
            <a:schemeClr val="tx1"/>
          </a:solidFill>
          <a:extLst/>
        </p:spPr>
        <p:txBody>
          <a:bodyPr vert="horz" wrap="square" lIns="91420" tIns="45710" rIns="91420" bIns="45710" numCol="1" anchor="t" anchorCtr="0" compatLnSpc="1">
            <a:prstTxWarp prst="textNoShape">
              <a:avLst/>
            </a:prstTxWarp>
          </a:bodyPr>
          <a:lstStyle/>
          <a:p>
            <a:pPr defTabSz="685721"/>
            <a:endParaRPr lang="en-US" dirty="0">
              <a:solidFill>
                <a:srgbClr val="FFFFFF"/>
              </a:solidFill>
            </a:endParaRPr>
          </a:p>
        </p:txBody>
      </p:sp>
      <p:sp>
        <p:nvSpPr>
          <p:cNvPr id="53" name="Freeform 27"/>
          <p:cNvSpPr>
            <a:spLocks noChangeAspect="1" noEditPoints="1"/>
          </p:cNvSpPr>
          <p:nvPr/>
        </p:nvSpPr>
        <p:spPr bwMode="auto">
          <a:xfrm>
            <a:off x="724266" y="1631387"/>
            <a:ext cx="548783" cy="353421"/>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1420" tIns="45710" rIns="91420" bIns="45710" numCol="1" anchor="t" anchorCtr="0" compatLnSpc="1">
            <a:prstTxWarp prst="textNoShape">
              <a:avLst/>
            </a:prstTxWarp>
          </a:bodyPr>
          <a:lstStyle/>
          <a:p>
            <a:pPr defTabSz="685721"/>
            <a:endParaRPr lang="en-US" dirty="0">
              <a:solidFill>
                <a:srgbClr val="FFFFFF"/>
              </a:solidFill>
            </a:endParaRPr>
          </a:p>
        </p:txBody>
      </p:sp>
      <p:sp>
        <p:nvSpPr>
          <p:cNvPr id="54" name="Freeform 85"/>
          <p:cNvSpPr>
            <a:spLocks noChangeAspect="1" noEditPoints="1"/>
          </p:cNvSpPr>
          <p:nvPr/>
        </p:nvSpPr>
        <p:spPr bwMode="auto">
          <a:xfrm>
            <a:off x="1302197" y="1685529"/>
            <a:ext cx="152182" cy="274320"/>
          </a:xfrm>
          <a:custGeom>
            <a:avLst/>
            <a:gdLst/>
            <a:ahLst/>
            <a:cxnLst>
              <a:cxn ang="0">
                <a:pos x="187" y="0"/>
              </a:cxn>
              <a:cxn ang="0">
                <a:pos x="55" y="0"/>
              </a:cxn>
              <a:cxn ang="0">
                <a:pos x="0" y="31"/>
              </a:cxn>
              <a:cxn ang="0">
                <a:pos x="0" y="283"/>
              </a:cxn>
              <a:cxn ang="0">
                <a:pos x="55" y="314"/>
              </a:cxn>
              <a:cxn ang="0">
                <a:pos x="187" y="314"/>
              </a:cxn>
              <a:cxn ang="0">
                <a:pos x="242" y="283"/>
              </a:cxn>
              <a:cxn ang="0">
                <a:pos x="242" y="31"/>
              </a:cxn>
              <a:cxn ang="0">
                <a:pos x="187" y="0"/>
              </a:cxn>
              <a:cxn ang="0">
                <a:pos x="126" y="283"/>
              </a:cxn>
              <a:cxn ang="0">
                <a:pos x="97" y="254"/>
              </a:cxn>
              <a:cxn ang="0">
                <a:pos x="126" y="225"/>
              </a:cxn>
              <a:cxn ang="0">
                <a:pos x="155" y="254"/>
              </a:cxn>
              <a:cxn ang="0">
                <a:pos x="126" y="283"/>
              </a:cxn>
              <a:cxn ang="0">
                <a:pos x="221" y="161"/>
              </a:cxn>
              <a:cxn ang="0">
                <a:pos x="215" y="167"/>
              </a:cxn>
              <a:cxn ang="0">
                <a:pos x="26" y="167"/>
              </a:cxn>
              <a:cxn ang="0">
                <a:pos x="21" y="161"/>
              </a:cxn>
              <a:cxn ang="0">
                <a:pos x="21" y="31"/>
              </a:cxn>
              <a:cxn ang="0">
                <a:pos x="26" y="25"/>
              </a:cxn>
              <a:cxn ang="0">
                <a:pos x="215" y="25"/>
              </a:cxn>
              <a:cxn ang="0">
                <a:pos x="221" y="31"/>
              </a:cxn>
              <a:cxn ang="0">
                <a:pos x="221" y="161"/>
              </a:cxn>
            </a:cxnLst>
            <a:rect l="0" t="0" r="r" b="b"/>
            <a:pathLst>
              <a:path w="242" h="314">
                <a:moveTo>
                  <a:pt x="187" y="0"/>
                </a:moveTo>
                <a:cubicBezTo>
                  <a:pt x="55" y="0"/>
                  <a:pt x="55" y="0"/>
                  <a:pt x="55" y="0"/>
                </a:cubicBezTo>
                <a:cubicBezTo>
                  <a:pt x="25" y="0"/>
                  <a:pt x="0" y="1"/>
                  <a:pt x="0" y="31"/>
                </a:cubicBezTo>
                <a:cubicBezTo>
                  <a:pt x="0" y="283"/>
                  <a:pt x="0" y="283"/>
                  <a:pt x="0" y="283"/>
                </a:cubicBezTo>
                <a:cubicBezTo>
                  <a:pt x="0" y="313"/>
                  <a:pt x="25" y="314"/>
                  <a:pt x="55" y="314"/>
                </a:cubicBezTo>
                <a:cubicBezTo>
                  <a:pt x="187" y="314"/>
                  <a:pt x="187" y="314"/>
                  <a:pt x="187" y="314"/>
                </a:cubicBezTo>
                <a:cubicBezTo>
                  <a:pt x="217" y="314"/>
                  <a:pt x="242" y="313"/>
                  <a:pt x="242" y="283"/>
                </a:cubicBezTo>
                <a:cubicBezTo>
                  <a:pt x="242" y="31"/>
                  <a:pt x="242" y="31"/>
                  <a:pt x="242" y="31"/>
                </a:cubicBezTo>
                <a:cubicBezTo>
                  <a:pt x="242" y="1"/>
                  <a:pt x="217" y="0"/>
                  <a:pt x="187" y="0"/>
                </a:cubicBezTo>
                <a:close/>
                <a:moveTo>
                  <a:pt x="126" y="283"/>
                </a:moveTo>
                <a:cubicBezTo>
                  <a:pt x="110" y="283"/>
                  <a:pt x="97" y="270"/>
                  <a:pt x="97" y="254"/>
                </a:cubicBezTo>
                <a:cubicBezTo>
                  <a:pt x="97" y="238"/>
                  <a:pt x="110" y="225"/>
                  <a:pt x="126" y="225"/>
                </a:cubicBezTo>
                <a:cubicBezTo>
                  <a:pt x="142" y="225"/>
                  <a:pt x="155" y="238"/>
                  <a:pt x="155" y="254"/>
                </a:cubicBezTo>
                <a:cubicBezTo>
                  <a:pt x="155" y="270"/>
                  <a:pt x="142" y="283"/>
                  <a:pt x="126" y="283"/>
                </a:cubicBezTo>
                <a:close/>
                <a:moveTo>
                  <a:pt x="221" y="161"/>
                </a:moveTo>
                <a:cubicBezTo>
                  <a:pt x="221" y="165"/>
                  <a:pt x="218" y="167"/>
                  <a:pt x="215" y="167"/>
                </a:cubicBezTo>
                <a:cubicBezTo>
                  <a:pt x="26" y="167"/>
                  <a:pt x="26" y="167"/>
                  <a:pt x="26" y="167"/>
                </a:cubicBezTo>
                <a:cubicBezTo>
                  <a:pt x="23" y="167"/>
                  <a:pt x="21" y="165"/>
                  <a:pt x="21" y="161"/>
                </a:cubicBezTo>
                <a:cubicBezTo>
                  <a:pt x="21" y="31"/>
                  <a:pt x="21" y="31"/>
                  <a:pt x="21" y="31"/>
                </a:cubicBezTo>
                <a:cubicBezTo>
                  <a:pt x="21" y="28"/>
                  <a:pt x="23" y="25"/>
                  <a:pt x="26" y="25"/>
                </a:cubicBezTo>
                <a:cubicBezTo>
                  <a:pt x="215" y="25"/>
                  <a:pt x="215" y="25"/>
                  <a:pt x="215" y="25"/>
                </a:cubicBezTo>
                <a:cubicBezTo>
                  <a:pt x="218" y="25"/>
                  <a:pt x="221" y="28"/>
                  <a:pt x="221" y="31"/>
                </a:cubicBezTo>
                <a:lnTo>
                  <a:pt x="221" y="161"/>
                </a:lnTo>
                <a:close/>
              </a:path>
            </a:pathLst>
          </a:custGeom>
          <a:solidFill>
            <a:srgbClr val="FFFEFA"/>
          </a:solidFill>
          <a:extLst/>
        </p:spPr>
        <p:txBody>
          <a:bodyPr vert="horz" wrap="square" lIns="91420" tIns="45710" rIns="91420" bIns="45710" numCol="1" anchor="t" anchorCtr="0" compatLnSpc="1">
            <a:prstTxWarp prst="textNoShape">
              <a:avLst/>
            </a:prstTxWarp>
          </a:bodyPr>
          <a:lstStyle/>
          <a:p>
            <a:pPr defTabSz="685721"/>
            <a:endParaRPr lang="en-US" dirty="0">
              <a:solidFill>
                <a:srgbClr val="FFFFFF"/>
              </a:solidFill>
            </a:endParaRPr>
          </a:p>
        </p:txBody>
      </p:sp>
      <p:sp>
        <p:nvSpPr>
          <p:cNvPr id="4" name="Title 3"/>
          <p:cNvSpPr>
            <a:spLocks noGrp="1"/>
          </p:cNvSpPr>
          <p:nvPr>
            <p:ph type="title"/>
          </p:nvPr>
        </p:nvSpPr>
        <p:spPr bwMode="black"/>
        <p:txBody>
          <a:bodyPr/>
          <a:lstStyle/>
          <a:p>
            <a:r>
              <a:rPr lang="en-US" dirty="0" smtClean="0"/>
              <a:t>COMPUTING AND SOCIETAL TRENDS</a:t>
            </a:r>
            <a:endParaRPr lang="en-US" dirty="0"/>
          </a:p>
        </p:txBody>
      </p:sp>
      <p:sp>
        <p:nvSpPr>
          <p:cNvPr id="31" name="AutoShape 7"/>
          <p:cNvSpPr>
            <a:spLocks noChangeAspect="1" noChangeArrowheads="1" noTextEdit="1"/>
          </p:cNvSpPr>
          <p:nvPr/>
        </p:nvSpPr>
        <p:spPr bwMode="auto">
          <a:xfrm>
            <a:off x="1590138" y="2143540"/>
            <a:ext cx="590704" cy="844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68" tIns="34285" rIns="68568" bIns="34285" numCol="1" anchor="t" anchorCtr="0" compatLnSpc="1">
            <a:prstTxWarp prst="textNoShape">
              <a:avLst/>
            </a:prstTxWarp>
          </a:bodyPr>
          <a:lstStyle/>
          <a:p>
            <a:pPr defTabSz="685721"/>
            <a:endParaRPr lang="en-US">
              <a:solidFill>
                <a:srgbClr val="FFFFFF"/>
              </a:solidFill>
            </a:endParaRPr>
          </a:p>
        </p:txBody>
      </p:sp>
      <p:pic>
        <p:nvPicPr>
          <p:cNvPr id="108" name="World"/>
          <p:cNvPicPr>
            <a:picLocks noChangeAspect="1"/>
          </p:cNvPicPr>
          <p:nvPr/>
        </p:nvPicPr>
        <p:blipFill rotWithShape="1">
          <a:blip r:embed="rId3" cstate="screen">
            <a:alphaModFix amt="33000"/>
            <a:extLst>
              <a:ext uri="{BEBA8EAE-BF5A-486C-A8C5-ECC9F3942E4B}">
                <a14:imgProps xmlns:a14="http://schemas.microsoft.com/office/drawing/2010/main">
                  <a14:imgLayer r:embed="rId4">
                    <a14:imgEffect>
                      <a14:colorTemperature colorTemp="4700"/>
                    </a14:imgEffect>
                    <a14:imgEffect>
                      <a14:saturation sat="0"/>
                    </a14:imgEffect>
                    <a14:imgEffect>
                      <a14:brightnessContrast bright="40000" contrast="40000"/>
                    </a14:imgEffect>
                  </a14:imgLayer>
                </a14:imgProps>
              </a:ext>
              <a:ext uri="{28A0092B-C50C-407E-A947-70E740481C1C}">
                <a14:useLocalDpi xmlns:a14="http://schemas.microsoft.com/office/drawing/2010/main"/>
              </a:ext>
            </a:extLst>
          </a:blip>
          <a:srcRect/>
          <a:stretch/>
        </p:blipFill>
        <p:spPr>
          <a:xfrm>
            <a:off x="5437722" y="1366195"/>
            <a:ext cx="3699057" cy="3886799"/>
          </a:xfrm>
          <a:prstGeom prst="rect">
            <a:avLst/>
          </a:prstGeom>
        </p:spPr>
      </p:pic>
      <p:pic>
        <p:nvPicPr>
          <p:cNvPr id="109" name="computer"/>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5800428" y="3386584"/>
            <a:ext cx="400218" cy="349105"/>
          </a:xfrm>
          <a:prstGeom prst="rect">
            <a:avLst/>
          </a:prstGeom>
          <a:effectLst/>
        </p:spPr>
      </p:pic>
      <p:pic>
        <p:nvPicPr>
          <p:cNvPr id="110" name="computer"/>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7440373" y="4514857"/>
            <a:ext cx="400218" cy="349105"/>
          </a:xfrm>
          <a:prstGeom prst="rect">
            <a:avLst/>
          </a:prstGeom>
          <a:effectLst/>
        </p:spPr>
      </p:pic>
      <p:pic>
        <p:nvPicPr>
          <p:cNvPr id="111" name="computer"/>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6299662" y="1875597"/>
            <a:ext cx="400218" cy="349105"/>
          </a:xfrm>
          <a:prstGeom prst="rect">
            <a:avLst/>
          </a:prstGeom>
          <a:effectLst/>
        </p:spPr>
      </p:pic>
      <p:pic>
        <p:nvPicPr>
          <p:cNvPr id="112" name="computer"/>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7362400" y="1491226"/>
            <a:ext cx="400218" cy="349105"/>
          </a:xfrm>
          <a:prstGeom prst="rect">
            <a:avLst/>
          </a:prstGeom>
          <a:effectLst/>
        </p:spPr>
      </p:pic>
      <p:pic>
        <p:nvPicPr>
          <p:cNvPr id="113" name="computer"/>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8563648" y="2075893"/>
            <a:ext cx="400218" cy="349105"/>
          </a:xfrm>
          <a:prstGeom prst="rect">
            <a:avLst/>
          </a:prstGeom>
          <a:effectLst/>
        </p:spPr>
      </p:pic>
      <p:pic>
        <p:nvPicPr>
          <p:cNvPr id="114" name="computer"/>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7315710" y="2702279"/>
            <a:ext cx="400218" cy="349105"/>
          </a:xfrm>
          <a:prstGeom prst="rect">
            <a:avLst/>
          </a:prstGeom>
          <a:effectLst/>
        </p:spPr>
      </p:pic>
      <p:sp>
        <p:nvSpPr>
          <p:cNvPr id="12" name="Arc 11"/>
          <p:cNvSpPr/>
          <p:nvPr/>
        </p:nvSpPr>
        <p:spPr>
          <a:xfrm rot="15945616">
            <a:off x="5646228" y="2393228"/>
            <a:ext cx="2503213" cy="1751307"/>
          </a:xfrm>
          <a:prstGeom prst="arc">
            <a:avLst>
              <a:gd name="adj1" fmla="val 16207703"/>
              <a:gd name="adj2" fmla="val 20161710"/>
            </a:avLst>
          </a:prstGeom>
          <a:noFill/>
          <a:ln w="19050" cap="flat" cmpd="sng" algn="ctr">
            <a:solidFill>
              <a:sysClr val="window" lastClr="FFFFFF"/>
            </a:solidFill>
            <a:prstDash val="solid"/>
            <a:headEnd type="none" w="med" len="med"/>
            <a:tailEnd type="none" w="med" len="med"/>
          </a:ln>
          <a:effectLst>
            <a:outerShdw blurRad="63500" algn="ctr" rotWithShape="0">
              <a:sysClr val="window" lastClr="FFFFFF"/>
            </a:outerShdw>
          </a:effectLst>
        </p:spPr>
        <p:txBody>
          <a:bodyPr lIns="68568" tIns="34285" rIns="68568" bIns="34285" rtlCol="0" anchor="ctr"/>
          <a:lstStyle/>
          <a:p>
            <a:pPr algn="ctr" defTabSz="685721"/>
            <a:endParaRPr lang="en-US">
              <a:solidFill>
                <a:srgbClr val="FFFFFF"/>
              </a:solidFill>
            </a:endParaRPr>
          </a:p>
        </p:txBody>
      </p:sp>
      <p:sp>
        <p:nvSpPr>
          <p:cNvPr id="115" name="Arc 114"/>
          <p:cNvSpPr/>
          <p:nvPr/>
        </p:nvSpPr>
        <p:spPr>
          <a:xfrm rot="4383524" flipH="1">
            <a:off x="5362476" y="2478710"/>
            <a:ext cx="2505808" cy="1751307"/>
          </a:xfrm>
          <a:prstGeom prst="arc">
            <a:avLst>
              <a:gd name="adj1" fmla="val 17949455"/>
              <a:gd name="adj2" fmla="val 20161710"/>
            </a:avLst>
          </a:prstGeom>
          <a:noFill/>
          <a:ln w="19050" cap="flat" cmpd="sng" algn="ctr">
            <a:solidFill>
              <a:sysClr val="window" lastClr="FFFFFF"/>
            </a:solidFill>
            <a:prstDash val="solid"/>
            <a:headEnd type="none" w="med" len="med"/>
            <a:tailEnd type="none" w="med" len="med"/>
          </a:ln>
          <a:effectLst>
            <a:outerShdw blurRad="63500" algn="ctr" rotWithShape="0">
              <a:sysClr val="window" lastClr="FFFFFF"/>
            </a:outerShdw>
          </a:effectLst>
        </p:spPr>
        <p:txBody>
          <a:bodyPr lIns="68568" tIns="34285" rIns="68568" bIns="34285" rtlCol="0" anchor="ctr"/>
          <a:lstStyle/>
          <a:p>
            <a:pPr algn="ctr" defTabSz="685721"/>
            <a:endParaRPr lang="en-US">
              <a:solidFill>
                <a:srgbClr val="FFFFFF"/>
              </a:solidFill>
            </a:endParaRPr>
          </a:p>
        </p:txBody>
      </p:sp>
      <p:sp>
        <p:nvSpPr>
          <p:cNvPr id="118" name="Arc 117"/>
          <p:cNvSpPr/>
          <p:nvPr/>
        </p:nvSpPr>
        <p:spPr>
          <a:xfrm rot="1266808" flipH="1">
            <a:off x="6304910" y="2022221"/>
            <a:ext cx="2904991" cy="1750851"/>
          </a:xfrm>
          <a:prstGeom prst="arc">
            <a:avLst>
              <a:gd name="adj1" fmla="val 14829323"/>
              <a:gd name="adj2" fmla="val 20394756"/>
            </a:avLst>
          </a:prstGeom>
          <a:noFill/>
          <a:ln w="19050" cap="flat" cmpd="sng" algn="ctr">
            <a:solidFill>
              <a:sysClr val="window" lastClr="FFFFFF"/>
            </a:solidFill>
            <a:prstDash val="solid"/>
            <a:headEnd type="none" w="med" len="med"/>
            <a:tailEnd type="none" w="med" len="med"/>
          </a:ln>
          <a:effectLst>
            <a:outerShdw blurRad="63500" algn="ctr" rotWithShape="0">
              <a:sysClr val="window" lastClr="FFFFFF"/>
            </a:outerShdw>
          </a:effectLst>
        </p:spPr>
        <p:txBody>
          <a:bodyPr lIns="68568" tIns="34285" rIns="68568" bIns="34285" rtlCol="0" anchor="ctr"/>
          <a:lstStyle/>
          <a:p>
            <a:pPr algn="ctr" defTabSz="685721"/>
            <a:endParaRPr lang="en-US">
              <a:solidFill>
                <a:srgbClr val="FFFFFF"/>
              </a:solidFill>
            </a:endParaRPr>
          </a:p>
        </p:txBody>
      </p:sp>
      <p:sp>
        <p:nvSpPr>
          <p:cNvPr id="119" name="Arc 118"/>
          <p:cNvSpPr/>
          <p:nvPr/>
        </p:nvSpPr>
        <p:spPr>
          <a:xfrm rot="361398" flipH="1">
            <a:off x="6528806" y="1583495"/>
            <a:ext cx="2904991" cy="1750851"/>
          </a:xfrm>
          <a:prstGeom prst="arc">
            <a:avLst>
              <a:gd name="adj1" fmla="val 19040756"/>
              <a:gd name="adj2" fmla="val 20659860"/>
            </a:avLst>
          </a:prstGeom>
          <a:noFill/>
          <a:ln w="19050" cap="flat" cmpd="sng" algn="ctr">
            <a:solidFill>
              <a:sysClr val="window" lastClr="FFFFFF"/>
            </a:solidFill>
            <a:prstDash val="solid"/>
            <a:headEnd type="none" w="med" len="med"/>
            <a:tailEnd type="none" w="med" len="med"/>
          </a:ln>
          <a:effectLst>
            <a:outerShdw blurRad="63500" algn="ctr" rotWithShape="0">
              <a:sysClr val="window" lastClr="FFFFFF"/>
            </a:outerShdw>
          </a:effectLst>
        </p:spPr>
        <p:txBody>
          <a:bodyPr lIns="68568" tIns="34285" rIns="68568" bIns="34285" rtlCol="0" anchor="ctr"/>
          <a:lstStyle/>
          <a:p>
            <a:pPr algn="ctr" defTabSz="685721"/>
            <a:endParaRPr lang="en-US">
              <a:solidFill>
                <a:srgbClr val="FFFFFF"/>
              </a:solidFill>
            </a:endParaRPr>
          </a:p>
        </p:txBody>
      </p:sp>
      <p:sp>
        <p:nvSpPr>
          <p:cNvPr id="121" name="Arc 120"/>
          <p:cNvSpPr/>
          <p:nvPr/>
        </p:nvSpPr>
        <p:spPr>
          <a:xfrm rot="21441019" flipH="1">
            <a:off x="5990137" y="2912816"/>
            <a:ext cx="2503865" cy="1750851"/>
          </a:xfrm>
          <a:prstGeom prst="arc">
            <a:avLst>
              <a:gd name="adj1" fmla="val 16207703"/>
              <a:gd name="adj2" fmla="val 20161710"/>
            </a:avLst>
          </a:prstGeom>
          <a:noFill/>
          <a:ln w="19050" cap="flat" cmpd="sng" algn="ctr">
            <a:solidFill>
              <a:sysClr val="window" lastClr="FFFFFF"/>
            </a:solidFill>
            <a:prstDash val="solid"/>
            <a:headEnd type="none" w="med" len="med"/>
            <a:tailEnd type="none" w="med" len="med"/>
          </a:ln>
          <a:effectLst>
            <a:outerShdw blurRad="63500" algn="ctr" rotWithShape="0">
              <a:sysClr val="window" lastClr="FFFFFF"/>
            </a:outerShdw>
          </a:effectLst>
        </p:spPr>
        <p:txBody>
          <a:bodyPr lIns="68568" tIns="34285" rIns="68568" bIns="34285" rtlCol="0" anchor="ctr"/>
          <a:lstStyle/>
          <a:p>
            <a:pPr algn="ctr" defTabSz="685721"/>
            <a:endParaRPr lang="en-US">
              <a:solidFill>
                <a:srgbClr val="FFFFFF"/>
              </a:solidFill>
            </a:endParaRPr>
          </a:p>
        </p:txBody>
      </p:sp>
      <p:sp>
        <p:nvSpPr>
          <p:cNvPr id="122" name="Arc 121"/>
          <p:cNvSpPr/>
          <p:nvPr/>
        </p:nvSpPr>
        <p:spPr>
          <a:xfrm rot="905715">
            <a:off x="4225480" y="3499646"/>
            <a:ext cx="3421652" cy="2289503"/>
          </a:xfrm>
          <a:prstGeom prst="arc">
            <a:avLst>
              <a:gd name="adj1" fmla="val 16207703"/>
              <a:gd name="adj2" fmla="val 20284742"/>
            </a:avLst>
          </a:prstGeom>
          <a:noFill/>
          <a:ln w="19050" cap="flat" cmpd="sng" algn="ctr">
            <a:solidFill>
              <a:sysClr val="window" lastClr="FFFFFF"/>
            </a:solidFill>
            <a:prstDash val="solid"/>
            <a:headEnd type="none" w="med" len="med"/>
            <a:tailEnd type="none" w="med" len="med"/>
          </a:ln>
          <a:effectLst>
            <a:outerShdw blurRad="63500" algn="ctr" rotWithShape="0">
              <a:sysClr val="window" lastClr="FFFFFF"/>
            </a:outerShdw>
          </a:effectLst>
        </p:spPr>
        <p:txBody>
          <a:bodyPr lIns="68568" tIns="34285" rIns="68568" bIns="34285" rtlCol="0" anchor="ctr"/>
          <a:lstStyle/>
          <a:p>
            <a:pPr algn="ctr" defTabSz="685721"/>
            <a:endParaRPr lang="en-US">
              <a:solidFill>
                <a:srgbClr val="FFFFFF"/>
              </a:solidFill>
            </a:endParaRPr>
          </a:p>
        </p:txBody>
      </p:sp>
      <p:sp>
        <p:nvSpPr>
          <p:cNvPr id="123" name="Arc 122"/>
          <p:cNvSpPr/>
          <p:nvPr/>
        </p:nvSpPr>
        <p:spPr>
          <a:xfrm rot="18512327">
            <a:off x="7421791" y="2421065"/>
            <a:ext cx="1887377" cy="1751307"/>
          </a:xfrm>
          <a:prstGeom prst="arc">
            <a:avLst>
              <a:gd name="adj1" fmla="val 16207703"/>
              <a:gd name="adj2" fmla="val 19670876"/>
            </a:avLst>
          </a:prstGeom>
          <a:noFill/>
          <a:ln w="19050" cap="flat" cmpd="sng" algn="ctr">
            <a:solidFill>
              <a:sysClr val="window" lastClr="FFFFFF"/>
            </a:solidFill>
            <a:prstDash val="solid"/>
            <a:headEnd type="none" w="med" len="med"/>
            <a:tailEnd type="none" w="med" len="med"/>
          </a:ln>
          <a:effectLst>
            <a:outerShdw blurRad="63500" algn="ctr" rotWithShape="0">
              <a:sysClr val="window" lastClr="FFFFFF"/>
            </a:outerShdw>
          </a:effectLst>
        </p:spPr>
        <p:txBody>
          <a:bodyPr lIns="68568" tIns="34285" rIns="68568" bIns="34285" rtlCol="0" anchor="ctr"/>
          <a:lstStyle/>
          <a:p>
            <a:pPr algn="ctr" defTabSz="685721"/>
            <a:endParaRPr lang="en-US">
              <a:solidFill>
                <a:srgbClr val="FFFFFF"/>
              </a:solidFill>
            </a:endParaRPr>
          </a:p>
        </p:txBody>
      </p:sp>
      <p:sp>
        <p:nvSpPr>
          <p:cNvPr id="124" name="Arc 123"/>
          <p:cNvSpPr/>
          <p:nvPr/>
        </p:nvSpPr>
        <p:spPr>
          <a:xfrm rot="6432767" flipH="1">
            <a:off x="4704954" y="2884459"/>
            <a:ext cx="3709267" cy="2290100"/>
          </a:xfrm>
          <a:prstGeom prst="arc">
            <a:avLst>
              <a:gd name="adj1" fmla="val 15976499"/>
              <a:gd name="adj2" fmla="val 19507928"/>
            </a:avLst>
          </a:prstGeom>
          <a:noFill/>
          <a:ln w="19050" cap="flat" cmpd="sng" algn="ctr">
            <a:solidFill>
              <a:sysClr val="window" lastClr="FFFFFF"/>
            </a:solidFill>
            <a:prstDash val="solid"/>
            <a:headEnd type="none" w="med" len="med"/>
            <a:tailEnd type="none" w="med" len="med"/>
          </a:ln>
          <a:effectLst>
            <a:outerShdw blurRad="63500" algn="ctr" rotWithShape="0">
              <a:sysClr val="window" lastClr="FFFFFF"/>
            </a:outerShdw>
          </a:effectLst>
        </p:spPr>
        <p:txBody>
          <a:bodyPr lIns="68568" tIns="34285" rIns="68568" bIns="34285" rtlCol="0" anchor="ctr"/>
          <a:lstStyle/>
          <a:p>
            <a:pPr algn="ctr" defTabSz="685721"/>
            <a:endParaRPr lang="en-US">
              <a:solidFill>
                <a:srgbClr val="FFFFFF"/>
              </a:solidFill>
            </a:endParaRPr>
          </a:p>
        </p:txBody>
      </p:sp>
      <p:sp>
        <p:nvSpPr>
          <p:cNvPr id="125" name="Arc 124"/>
          <p:cNvSpPr/>
          <p:nvPr/>
        </p:nvSpPr>
        <p:spPr>
          <a:xfrm rot="7403424" flipH="1">
            <a:off x="5084620" y="2535922"/>
            <a:ext cx="4184501" cy="2290100"/>
          </a:xfrm>
          <a:prstGeom prst="arc">
            <a:avLst>
              <a:gd name="adj1" fmla="val 15142247"/>
              <a:gd name="adj2" fmla="val 20541376"/>
            </a:avLst>
          </a:prstGeom>
          <a:noFill/>
          <a:ln w="19050" cap="flat" cmpd="sng" algn="ctr">
            <a:solidFill>
              <a:sysClr val="window" lastClr="FFFFFF"/>
            </a:solidFill>
            <a:prstDash val="solid"/>
            <a:headEnd type="none" w="med" len="med"/>
            <a:tailEnd type="none" w="med" len="med"/>
          </a:ln>
          <a:effectLst>
            <a:outerShdw blurRad="63500" algn="ctr" rotWithShape="0">
              <a:sysClr val="window" lastClr="FFFFFF"/>
            </a:outerShdw>
          </a:effectLst>
        </p:spPr>
        <p:txBody>
          <a:bodyPr lIns="68568" tIns="34285" rIns="68568" bIns="34285" rtlCol="0" anchor="ctr"/>
          <a:lstStyle/>
          <a:p>
            <a:pPr algn="ctr" defTabSz="685721"/>
            <a:endParaRPr lang="en-US">
              <a:solidFill>
                <a:srgbClr val="FFFFFF"/>
              </a:solidFill>
            </a:endParaRPr>
          </a:p>
        </p:txBody>
      </p:sp>
      <p:sp>
        <p:nvSpPr>
          <p:cNvPr id="126" name="Arc 125"/>
          <p:cNvSpPr/>
          <p:nvPr/>
        </p:nvSpPr>
        <p:spPr>
          <a:xfrm rot="3941603" flipH="1">
            <a:off x="6575328" y="2116730"/>
            <a:ext cx="2904234" cy="1751307"/>
          </a:xfrm>
          <a:prstGeom prst="arc">
            <a:avLst>
              <a:gd name="adj1" fmla="val 18536885"/>
              <a:gd name="adj2" fmla="val 20579788"/>
            </a:avLst>
          </a:prstGeom>
          <a:noFill/>
          <a:ln w="19050" cap="flat" cmpd="sng" algn="ctr">
            <a:solidFill>
              <a:sysClr val="window" lastClr="FFFFFF"/>
            </a:solidFill>
            <a:prstDash val="solid"/>
            <a:headEnd type="none" w="med" len="med"/>
            <a:tailEnd type="none" w="med" len="med"/>
          </a:ln>
          <a:effectLst>
            <a:outerShdw blurRad="63500" algn="ctr" rotWithShape="0">
              <a:sysClr val="window" lastClr="FFFFFF"/>
            </a:outerShdw>
          </a:effectLst>
        </p:spPr>
        <p:txBody>
          <a:bodyPr lIns="68568" tIns="34285" rIns="68568" bIns="34285" rtlCol="0" anchor="ctr"/>
          <a:lstStyle/>
          <a:p>
            <a:pPr algn="ctr" defTabSz="685721"/>
            <a:endParaRPr lang="en-US">
              <a:solidFill>
                <a:srgbClr val="FFFFFF"/>
              </a:solidFill>
            </a:endParaRPr>
          </a:p>
        </p:txBody>
      </p:sp>
      <p:sp>
        <p:nvSpPr>
          <p:cNvPr id="37"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8"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7"/>
              </a:rPr>
              <a:t>www.rapidbbs.cn</a:t>
            </a:r>
            <a:endParaRPr lang="zh-CN" altLang="en-US" sz="1200" b="0">
              <a:latin typeface="Arial" charset="0"/>
              <a:ea typeface="ＭＳ Ｐゴシック" pitchFamily="34" charset="-128"/>
            </a:endParaRPr>
          </a:p>
        </p:txBody>
      </p:sp>
      <p:pic>
        <p:nvPicPr>
          <p:cNvPr id="39" name="Picture 2">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85278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4"/>
                                        </p:tgtEl>
                                        <p:attrNameLst>
                                          <p:attrName>style.visibility</p:attrName>
                                        </p:attrNameLst>
                                      </p:cBhvr>
                                      <p:to>
                                        <p:strVal val="visible"/>
                                      </p:to>
                                    </p:set>
                                    <p:animEffect transition="in" filter="fade">
                                      <p:cBhvr>
                                        <p:cTn id="7" dur="500"/>
                                        <p:tgtEl>
                                          <p:spTgt spid="114"/>
                                        </p:tgtEl>
                                      </p:cBhvr>
                                    </p:animEffect>
                                  </p:childTnLst>
                                </p:cTn>
                              </p:par>
                              <p:par>
                                <p:cTn id="8" presetID="10" presetClass="entr" presetSubtype="0" fill="hold" nodeType="withEffect">
                                  <p:stCondLst>
                                    <p:cond delay="0"/>
                                  </p:stCondLst>
                                  <p:childTnLst>
                                    <p:set>
                                      <p:cBhvr>
                                        <p:cTn id="9" dur="1" fill="hold">
                                          <p:stCondLst>
                                            <p:cond delay="0"/>
                                          </p:stCondLst>
                                        </p:cTn>
                                        <p:tgtEl>
                                          <p:spTgt spid="113"/>
                                        </p:tgtEl>
                                        <p:attrNameLst>
                                          <p:attrName>style.visibility</p:attrName>
                                        </p:attrNameLst>
                                      </p:cBhvr>
                                      <p:to>
                                        <p:strVal val="visible"/>
                                      </p:to>
                                    </p:set>
                                    <p:animEffect transition="in" filter="fade">
                                      <p:cBhvr>
                                        <p:cTn id="10" dur="500"/>
                                        <p:tgtEl>
                                          <p:spTgt spid="113"/>
                                        </p:tgtEl>
                                      </p:cBhvr>
                                    </p:animEffect>
                                  </p:childTnLst>
                                </p:cTn>
                              </p:par>
                              <p:par>
                                <p:cTn id="11" presetID="10" presetClass="entr" presetSubtype="0" fill="hold" nodeType="withEffect">
                                  <p:stCondLst>
                                    <p:cond delay="0"/>
                                  </p:stCondLst>
                                  <p:childTnLst>
                                    <p:set>
                                      <p:cBhvr>
                                        <p:cTn id="12" dur="1" fill="hold">
                                          <p:stCondLst>
                                            <p:cond delay="0"/>
                                          </p:stCondLst>
                                        </p:cTn>
                                        <p:tgtEl>
                                          <p:spTgt spid="112"/>
                                        </p:tgtEl>
                                        <p:attrNameLst>
                                          <p:attrName>style.visibility</p:attrName>
                                        </p:attrNameLst>
                                      </p:cBhvr>
                                      <p:to>
                                        <p:strVal val="visible"/>
                                      </p:to>
                                    </p:set>
                                    <p:animEffect transition="in" filter="fade">
                                      <p:cBhvr>
                                        <p:cTn id="13" dur="500"/>
                                        <p:tgtEl>
                                          <p:spTgt spid="112"/>
                                        </p:tgtEl>
                                      </p:cBhvr>
                                    </p:animEffect>
                                  </p:childTnLst>
                                </p:cTn>
                              </p:par>
                              <p:par>
                                <p:cTn id="14" presetID="10" presetClass="entr" presetSubtype="0" fill="hold" nodeType="withEffect">
                                  <p:stCondLst>
                                    <p:cond delay="0"/>
                                  </p:stCondLst>
                                  <p:childTnLst>
                                    <p:set>
                                      <p:cBhvr>
                                        <p:cTn id="15" dur="1" fill="hold">
                                          <p:stCondLst>
                                            <p:cond delay="0"/>
                                          </p:stCondLst>
                                        </p:cTn>
                                        <p:tgtEl>
                                          <p:spTgt spid="111"/>
                                        </p:tgtEl>
                                        <p:attrNameLst>
                                          <p:attrName>style.visibility</p:attrName>
                                        </p:attrNameLst>
                                      </p:cBhvr>
                                      <p:to>
                                        <p:strVal val="visible"/>
                                      </p:to>
                                    </p:set>
                                    <p:animEffect transition="in" filter="fade">
                                      <p:cBhvr>
                                        <p:cTn id="16" dur="500"/>
                                        <p:tgtEl>
                                          <p:spTgt spid="111"/>
                                        </p:tgtEl>
                                      </p:cBhvr>
                                    </p:animEffect>
                                  </p:childTnLst>
                                </p:cTn>
                              </p:par>
                              <p:par>
                                <p:cTn id="17" presetID="10" presetClass="entr" presetSubtype="0" fill="hold" nodeType="withEffect">
                                  <p:stCondLst>
                                    <p:cond delay="0"/>
                                  </p:stCondLst>
                                  <p:childTnLst>
                                    <p:set>
                                      <p:cBhvr>
                                        <p:cTn id="18" dur="1" fill="hold">
                                          <p:stCondLst>
                                            <p:cond delay="0"/>
                                          </p:stCondLst>
                                        </p:cTn>
                                        <p:tgtEl>
                                          <p:spTgt spid="110"/>
                                        </p:tgtEl>
                                        <p:attrNameLst>
                                          <p:attrName>style.visibility</p:attrName>
                                        </p:attrNameLst>
                                      </p:cBhvr>
                                      <p:to>
                                        <p:strVal val="visible"/>
                                      </p:to>
                                    </p:set>
                                    <p:animEffect transition="in" filter="fade">
                                      <p:cBhvr>
                                        <p:cTn id="19" dur="500"/>
                                        <p:tgtEl>
                                          <p:spTgt spid="110"/>
                                        </p:tgtEl>
                                      </p:cBhvr>
                                    </p:animEffect>
                                  </p:childTnLst>
                                </p:cTn>
                              </p:par>
                              <p:par>
                                <p:cTn id="20" presetID="10" presetClass="entr" presetSubtype="0" fill="hold" nodeType="withEffect">
                                  <p:stCondLst>
                                    <p:cond delay="0"/>
                                  </p:stCondLst>
                                  <p:childTnLst>
                                    <p:set>
                                      <p:cBhvr>
                                        <p:cTn id="21" dur="1" fill="hold">
                                          <p:stCondLst>
                                            <p:cond delay="0"/>
                                          </p:stCondLst>
                                        </p:cTn>
                                        <p:tgtEl>
                                          <p:spTgt spid="109"/>
                                        </p:tgtEl>
                                        <p:attrNameLst>
                                          <p:attrName>style.visibility</p:attrName>
                                        </p:attrNameLst>
                                      </p:cBhvr>
                                      <p:to>
                                        <p:strVal val="visible"/>
                                      </p:to>
                                    </p:set>
                                    <p:animEffect transition="in" filter="fade">
                                      <p:cBhvr>
                                        <p:cTn id="22" dur="500"/>
                                        <p:tgtEl>
                                          <p:spTgt spid="109"/>
                                        </p:tgtEl>
                                      </p:cBhvr>
                                    </p:animEffect>
                                  </p:childTnLst>
                                </p:cTn>
                              </p:par>
                            </p:childTnLst>
                          </p:cTn>
                        </p:par>
                        <p:par>
                          <p:cTn id="23" fill="hold">
                            <p:stCondLst>
                              <p:cond delay="500"/>
                            </p:stCondLst>
                            <p:childTnLst>
                              <p:par>
                                <p:cTn id="24" presetID="22" presetClass="entr" presetSubtype="8" fill="hold" grpId="0" nodeType="afterEffect">
                                  <p:stCondLst>
                                    <p:cond delay="0"/>
                                  </p:stCondLst>
                                  <p:childTnLst>
                                    <p:set>
                                      <p:cBhvr>
                                        <p:cTn id="25" dur="1" fill="hold">
                                          <p:stCondLst>
                                            <p:cond delay="0"/>
                                          </p:stCondLst>
                                        </p:cTn>
                                        <p:tgtEl>
                                          <p:spTgt spid="119"/>
                                        </p:tgtEl>
                                        <p:attrNameLst>
                                          <p:attrName>style.visibility</p:attrName>
                                        </p:attrNameLst>
                                      </p:cBhvr>
                                      <p:to>
                                        <p:strVal val="visible"/>
                                      </p:to>
                                    </p:set>
                                    <p:animEffect transition="in" filter="wipe(left)">
                                      <p:cBhvr>
                                        <p:cTn id="26" dur="500"/>
                                        <p:tgtEl>
                                          <p:spTgt spid="119"/>
                                        </p:tgtEl>
                                      </p:cBhvr>
                                    </p:animEffect>
                                  </p:childTnLst>
                                </p:cTn>
                              </p:par>
                              <p:par>
                                <p:cTn id="27" presetID="22" presetClass="entr" presetSubtype="8" fill="hold" grpId="0" nodeType="withEffect">
                                  <p:stCondLst>
                                    <p:cond delay="0"/>
                                  </p:stCondLst>
                                  <p:childTnLst>
                                    <p:set>
                                      <p:cBhvr>
                                        <p:cTn id="28" dur="1" fill="hold">
                                          <p:stCondLst>
                                            <p:cond delay="0"/>
                                          </p:stCondLst>
                                        </p:cTn>
                                        <p:tgtEl>
                                          <p:spTgt spid="118"/>
                                        </p:tgtEl>
                                        <p:attrNameLst>
                                          <p:attrName>style.visibility</p:attrName>
                                        </p:attrNameLst>
                                      </p:cBhvr>
                                      <p:to>
                                        <p:strVal val="visible"/>
                                      </p:to>
                                    </p:set>
                                    <p:animEffect transition="in" filter="wipe(left)">
                                      <p:cBhvr>
                                        <p:cTn id="29" dur="500"/>
                                        <p:tgtEl>
                                          <p:spTgt spid="118"/>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15"/>
                                        </p:tgtEl>
                                        <p:attrNameLst>
                                          <p:attrName>style.visibility</p:attrName>
                                        </p:attrNameLst>
                                      </p:cBhvr>
                                      <p:to>
                                        <p:strVal val="visible"/>
                                      </p:to>
                                    </p:set>
                                    <p:animEffect transition="in" filter="wipe(up)">
                                      <p:cBhvr>
                                        <p:cTn id="32" dur="500"/>
                                        <p:tgtEl>
                                          <p:spTgt spid="115"/>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2" fill="hold" grpId="0" nodeType="withEffect">
                                  <p:stCondLst>
                                    <p:cond delay="0"/>
                                  </p:stCondLst>
                                  <p:childTnLst>
                                    <p:set>
                                      <p:cBhvr>
                                        <p:cTn id="37" dur="1" fill="hold">
                                          <p:stCondLst>
                                            <p:cond delay="0"/>
                                          </p:stCondLst>
                                        </p:cTn>
                                        <p:tgtEl>
                                          <p:spTgt spid="121"/>
                                        </p:tgtEl>
                                        <p:attrNameLst>
                                          <p:attrName>style.visibility</p:attrName>
                                        </p:attrNameLst>
                                      </p:cBhvr>
                                      <p:to>
                                        <p:strVal val="visible"/>
                                      </p:to>
                                    </p:set>
                                    <p:animEffect transition="in" filter="wipe(right)">
                                      <p:cBhvr>
                                        <p:cTn id="38" dur="500"/>
                                        <p:tgtEl>
                                          <p:spTgt spid="121"/>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22"/>
                                        </p:tgtEl>
                                        <p:attrNameLst>
                                          <p:attrName>style.visibility</p:attrName>
                                        </p:attrNameLst>
                                      </p:cBhvr>
                                      <p:to>
                                        <p:strVal val="visible"/>
                                      </p:to>
                                    </p:set>
                                    <p:animEffect transition="in" filter="wipe(up)">
                                      <p:cBhvr>
                                        <p:cTn id="41" dur="500"/>
                                        <p:tgtEl>
                                          <p:spTgt spid="122"/>
                                        </p:tgtEl>
                                      </p:cBhvr>
                                    </p:animEffect>
                                  </p:childTnLst>
                                </p:cTn>
                              </p:par>
                              <p:par>
                                <p:cTn id="42" presetID="22" presetClass="entr" presetSubtype="8" fill="hold" grpId="0" nodeType="withEffect">
                                  <p:stCondLst>
                                    <p:cond delay="0"/>
                                  </p:stCondLst>
                                  <p:childTnLst>
                                    <p:set>
                                      <p:cBhvr>
                                        <p:cTn id="43" dur="1" fill="hold">
                                          <p:stCondLst>
                                            <p:cond delay="0"/>
                                          </p:stCondLst>
                                        </p:cTn>
                                        <p:tgtEl>
                                          <p:spTgt spid="123"/>
                                        </p:tgtEl>
                                        <p:attrNameLst>
                                          <p:attrName>style.visibility</p:attrName>
                                        </p:attrNameLst>
                                      </p:cBhvr>
                                      <p:to>
                                        <p:strVal val="visible"/>
                                      </p:to>
                                    </p:set>
                                    <p:animEffect transition="in" filter="wipe(left)">
                                      <p:cBhvr>
                                        <p:cTn id="44" dur="500"/>
                                        <p:tgtEl>
                                          <p:spTgt spid="123"/>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24"/>
                                        </p:tgtEl>
                                        <p:attrNameLst>
                                          <p:attrName>style.visibility</p:attrName>
                                        </p:attrNameLst>
                                      </p:cBhvr>
                                      <p:to>
                                        <p:strVal val="visible"/>
                                      </p:to>
                                    </p:set>
                                    <p:animEffect transition="in" filter="wipe(up)">
                                      <p:cBhvr>
                                        <p:cTn id="47" dur="500"/>
                                        <p:tgtEl>
                                          <p:spTgt spid="124"/>
                                        </p:tgtEl>
                                      </p:cBhvr>
                                    </p:animEffect>
                                  </p:childTnLst>
                                </p:cTn>
                              </p:par>
                              <p:par>
                                <p:cTn id="48" presetID="22" presetClass="entr" presetSubtype="4" fill="hold" grpId="0" nodeType="withEffect">
                                  <p:stCondLst>
                                    <p:cond delay="0"/>
                                  </p:stCondLst>
                                  <p:childTnLst>
                                    <p:set>
                                      <p:cBhvr>
                                        <p:cTn id="49" dur="1" fill="hold">
                                          <p:stCondLst>
                                            <p:cond delay="0"/>
                                          </p:stCondLst>
                                        </p:cTn>
                                        <p:tgtEl>
                                          <p:spTgt spid="125"/>
                                        </p:tgtEl>
                                        <p:attrNameLst>
                                          <p:attrName>style.visibility</p:attrName>
                                        </p:attrNameLst>
                                      </p:cBhvr>
                                      <p:to>
                                        <p:strVal val="visible"/>
                                      </p:to>
                                    </p:set>
                                    <p:animEffect transition="in" filter="wipe(down)">
                                      <p:cBhvr>
                                        <p:cTn id="50" dur="500"/>
                                        <p:tgtEl>
                                          <p:spTgt spid="125"/>
                                        </p:tgtEl>
                                      </p:cBhvr>
                                    </p:animEffect>
                                  </p:childTnLst>
                                </p:cTn>
                              </p:par>
                              <p:par>
                                <p:cTn id="51" presetID="22" presetClass="entr" presetSubtype="2" fill="hold" grpId="0" nodeType="withEffect">
                                  <p:stCondLst>
                                    <p:cond delay="0"/>
                                  </p:stCondLst>
                                  <p:childTnLst>
                                    <p:set>
                                      <p:cBhvr>
                                        <p:cTn id="52" dur="1" fill="hold">
                                          <p:stCondLst>
                                            <p:cond delay="0"/>
                                          </p:stCondLst>
                                        </p:cTn>
                                        <p:tgtEl>
                                          <p:spTgt spid="126"/>
                                        </p:tgtEl>
                                        <p:attrNameLst>
                                          <p:attrName>style.visibility</p:attrName>
                                        </p:attrNameLst>
                                      </p:cBhvr>
                                      <p:to>
                                        <p:strVal val="visible"/>
                                      </p:to>
                                    </p:set>
                                    <p:animEffect transition="in" filter="wipe(right)">
                                      <p:cBhvr>
                                        <p:cTn id="53" dur="500"/>
                                        <p:tgtEl>
                                          <p:spTgt spid="1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15" grpId="0" animBg="1"/>
      <p:bldP spid="118" grpId="0" animBg="1"/>
      <p:bldP spid="119" grpId="0" animBg="1"/>
      <p:bldP spid="121" grpId="0" animBg="1"/>
      <p:bldP spid="122" grpId="0" animBg="1"/>
      <p:bldP spid="123" grpId="0" animBg="1"/>
      <p:bldP spid="124" grpId="0" animBg="1"/>
      <p:bldP spid="125" grpId="0" animBg="1"/>
      <p:bldP spid="126" grpId="0" animBg="1"/>
    </p:bldLst>
  </p:timing>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extBox 48"/>
          <p:cNvSpPr txBox="1"/>
          <p:nvPr/>
        </p:nvSpPr>
        <p:spPr>
          <a:xfrm>
            <a:off x="1701309" y="895355"/>
            <a:ext cx="1400249" cy="615553"/>
          </a:xfrm>
          <a:prstGeom prst="rect">
            <a:avLst/>
          </a:prstGeom>
          <a:noFill/>
        </p:spPr>
        <p:txBody>
          <a:bodyPr wrap="square" lIns="0" tIns="0" rIns="0" bIns="0" rtlCol="0">
            <a:spAutoFit/>
          </a:bodyPr>
          <a:lstStyle/>
          <a:p>
            <a:pPr defTabSz="685721"/>
            <a:r>
              <a:rPr lang="en-US" sz="4000" dirty="0">
                <a:solidFill>
                  <a:srgbClr val="FFFFFF"/>
                </a:solidFill>
                <a:latin typeface="Segoe UI Light" pitchFamily="34" charset="0"/>
              </a:rPr>
              <a:t>THEN</a:t>
            </a:r>
          </a:p>
        </p:txBody>
      </p:sp>
      <p:sp>
        <p:nvSpPr>
          <p:cNvPr id="50" name="TextBox 49"/>
          <p:cNvSpPr txBox="1"/>
          <p:nvPr/>
        </p:nvSpPr>
        <p:spPr>
          <a:xfrm>
            <a:off x="4954528" y="895355"/>
            <a:ext cx="2284472" cy="615553"/>
          </a:xfrm>
          <a:prstGeom prst="rect">
            <a:avLst/>
          </a:prstGeom>
          <a:noFill/>
        </p:spPr>
        <p:txBody>
          <a:bodyPr wrap="square" lIns="0" tIns="0" rIns="0" bIns="0" rtlCol="0">
            <a:spAutoFit/>
          </a:bodyPr>
          <a:lstStyle/>
          <a:p>
            <a:pPr defTabSz="685721"/>
            <a:r>
              <a:rPr lang="en-US" sz="4000" dirty="0">
                <a:solidFill>
                  <a:srgbClr val="FFFFFF"/>
                </a:solidFill>
                <a:latin typeface="Segoe UI Light" pitchFamily="34" charset="0"/>
              </a:rPr>
              <a:t>NOW</a:t>
            </a:r>
          </a:p>
        </p:txBody>
      </p:sp>
      <p:sp>
        <p:nvSpPr>
          <p:cNvPr id="54" name="Title 53"/>
          <p:cNvSpPr>
            <a:spLocks noGrp="1"/>
          </p:cNvSpPr>
          <p:nvPr>
            <p:ph type="title"/>
          </p:nvPr>
        </p:nvSpPr>
        <p:spPr>
          <a:effectLst/>
        </p:spPr>
        <p:txBody>
          <a:bodyPr/>
          <a:lstStyle/>
          <a:p>
            <a:r>
              <a:rPr lang="en-US" dirty="0" smtClean="0"/>
              <a:t>BIG SHIFTS: OPPORTUNITY &amp; RISK</a:t>
            </a:r>
            <a:endParaRPr lang="en-US" dirty="0"/>
          </a:p>
        </p:txBody>
      </p:sp>
      <p:grpSp>
        <p:nvGrpSpPr>
          <p:cNvPr id="28" name="Group 30"/>
          <p:cNvGrpSpPr/>
          <p:nvPr/>
        </p:nvGrpSpPr>
        <p:grpSpPr>
          <a:xfrm>
            <a:off x="4383947" y="2742187"/>
            <a:ext cx="2977128" cy="1131845"/>
            <a:chOff x="6326411" y="3202832"/>
            <a:chExt cx="3968470" cy="1509127"/>
          </a:xfrm>
        </p:grpSpPr>
        <p:sp>
          <p:nvSpPr>
            <p:cNvPr id="32" name="Rectangle 31"/>
            <p:cNvSpPr/>
            <p:nvPr/>
          </p:nvSpPr>
          <p:spPr bwMode="auto">
            <a:xfrm>
              <a:off x="6326411" y="3202832"/>
              <a:ext cx="3968470" cy="1508969"/>
            </a:xfrm>
            <a:prstGeom prst="rect">
              <a:avLst/>
            </a:prstGeom>
            <a:gradFill>
              <a:gsLst>
                <a:gs pos="0">
                  <a:schemeClr val="accent4">
                    <a:alpha val="10000"/>
                  </a:schemeClr>
                </a:gs>
                <a:gs pos="100000">
                  <a:schemeClr val="bg1">
                    <a:alpha val="15000"/>
                  </a:schemeClr>
                </a:gs>
              </a:gsLst>
              <a:lin ang="16200000" scaled="0"/>
            </a:gradFill>
            <a:ln>
              <a:solidFill>
                <a:schemeClr val="accent3">
                  <a:lumMod val="50000"/>
                </a:schemeClr>
              </a:solid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23" fontAlgn="base">
                <a:spcBef>
                  <a:spcPct val="0"/>
                </a:spcBef>
                <a:spcAft>
                  <a:spcPct val="0"/>
                </a:spcAft>
              </a:pPr>
              <a:endParaRPr lang="en-US" sz="1700" dirty="0">
                <a:gradFill>
                  <a:gsLst>
                    <a:gs pos="0">
                      <a:srgbClr val="FFFFFF"/>
                    </a:gs>
                    <a:gs pos="100000">
                      <a:srgbClr val="FFFFFF"/>
                    </a:gs>
                  </a:gsLst>
                  <a:lin ang="5400000" scaled="0"/>
                </a:gradFill>
              </a:endParaRPr>
            </a:p>
          </p:txBody>
        </p:sp>
        <p:pic>
          <p:nvPicPr>
            <p:cNvPr id="40" name="Picture 39"/>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551511" y="3209731"/>
              <a:ext cx="2743200" cy="1501969"/>
            </a:xfrm>
            <a:prstGeom prst="rect">
              <a:avLst/>
            </a:prstGeom>
            <a:noFill/>
            <a:ln w="9525">
              <a:noFill/>
              <a:miter lim="800000"/>
              <a:headEnd/>
              <a:tailEnd/>
            </a:ln>
            <a:effectLst/>
          </p:spPr>
        </p:pic>
        <p:pic>
          <p:nvPicPr>
            <p:cNvPr id="41" name="Picture 40" descr="Netflix.emf"/>
            <p:cNvPicPr>
              <a:picLocks noChangeAspect="1"/>
            </p:cNvPicPr>
            <p:nvPr/>
          </p:nvPicPr>
          <p:blipFill>
            <a:blip r:embed="rId4" cstate="screen">
              <a:extLst>
                <a:ext uri="{28A0092B-C50C-407E-A947-70E740481C1C}">
                  <a14:useLocalDpi xmlns:a14="http://schemas.microsoft.com/office/drawing/2010/main"/>
                </a:ext>
              </a:extLst>
            </a:blip>
            <a:srcRect l="9352" b="29238"/>
            <a:stretch>
              <a:fillRect/>
            </a:stretch>
          </p:blipFill>
          <p:spPr>
            <a:xfrm>
              <a:off x="6335486" y="3233185"/>
              <a:ext cx="1896930" cy="1478774"/>
            </a:xfrm>
            <a:prstGeom prst="rect">
              <a:avLst/>
            </a:prstGeom>
            <a:effectLst>
              <a:outerShdw blurRad="50800" dist="38100" dir="2700000" algn="tl" rotWithShape="0">
                <a:prstClr val="black">
                  <a:alpha val="40000"/>
                </a:prstClr>
              </a:outerShdw>
            </a:effectLst>
          </p:spPr>
        </p:pic>
      </p:grpSp>
      <p:grpSp>
        <p:nvGrpSpPr>
          <p:cNvPr id="42" name="Group 37"/>
          <p:cNvGrpSpPr/>
          <p:nvPr/>
        </p:nvGrpSpPr>
        <p:grpSpPr>
          <a:xfrm>
            <a:off x="4394866" y="1510909"/>
            <a:ext cx="2987861" cy="1096879"/>
            <a:chOff x="6206947" y="4954138"/>
            <a:chExt cx="4574784" cy="1679895"/>
          </a:xfrm>
        </p:grpSpPr>
        <p:sp>
          <p:nvSpPr>
            <p:cNvPr id="43" name="Rectangle 42"/>
            <p:cNvSpPr/>
            <p:nvPr/>
          </p:nvSpPr>
          <p:spPr bwMode="auto">
            <a:xfrm>
              <a:off x="6211104" y="4954138"/>
              <a:ext cx="4570627" cy="1667301"/>
            </a:xfrm>
            <a:prstGeom prst="rect">
              <a:avLst/>
            </a:prstGeom>
            <a:gradFill>
              <a:gsLst>
                <a:gs pos="0">
                  <a:schemeClr val="accent4">
                    <a:alpha val="10000"/>
                  </a:schemeClr>
                </a:gs>
                <a:gs pos="100000">
                  <a:schemeClr val="bg1">
                    <a:alpha val="15000"/>
                  </a:schemeClr>
                </a:gs>
              </a:gsLst>
              <a:lin ang="16200000" scaled="0"/>
            </a:gradFill>
            <a:ln>
              <a:solidFill>
                <a:schemeClr val="accent3">
                  <a:lumMod val="50000"/>
                </a:schemeClr>
              </a:solid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23" fontAlgn="base">
                <a:spcBef>
                  <a:spcPct val="0"/>
                </a:spcBef>
                <a:spcAft>
                  <a:spcPct val="0"/>
                </a:spcAft>
              </a:pPr>
              <a:endParaRPr lang="en-US" sz="1700" dirty="0">
                <a:gradFill>
                  <a:gsLst>
                    <a:gs pos="0">
                      <a:srgbClr val="FFFFFF"/>
                    </a:gs>
                    <a:gs pos="100000">
                      <a:srgbClr val="FFFFFF"/>
                    </a:gs>
                  </a:gsLst>
                  <a:lin ang="5400000" scaled="0"/>
                </a:gradFill>
              </a:endParaRPr>
            </a:p>
          </p:txBody>
        </p:sp>
        <p:pic>
          <p:nvPicPr>
            <p:cNvPr id="44" name="Picture 43" descr="HP_Camera.png"/>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a:xfrm>
              <a:off x="6206947" y="4954578"/>
              <a:ext cx="2971328" cy="1670386"/>
            </a:xfrm>
            <a:prstGeom prst="rect">
              <a:avLst/>
            </a:prstGeom>
          </p:spPr>
        </p:pic>
        <p:pic>
          <p:nvPicPr>
            <p:cNvPr id="45" name="Picture 9" descr="C:\Users\roslyn.ADI\Desktop\DVD_ART35\Artwork_Imagery\Hardware Photos\OEM HW\Storage devices\HP USB Flash memory drive.png"/>
            <p:cNvPicPr>
              <a:picLocks noChangeAspect="1" noChangeArrowheads="1"/>
            </p:cNvPicPr>
            <p:nvPr/>
          </p:nvPicPr>
          <p:blipFill>
            <a:blip r:embed="rId6" cstate="screen">
              <a:extLst>
                <a:ext uri="{28A0092B-C50C-407E-A947-70E740481C1C}">
                  <a14:useLocalDpi xmlns:a14="http://schemas.microsoft.com/office/drawing/2010/main"/>
                </a:ext>
              </a:extLst>
            </a:blip>
            <a:stretch>
              <a:fillRect/>
            </a:stretch>
          </p:blipFill>
          <p:spPr bwMode="auto">
            <a:xfrm>
              <a:off x="8079803" y="5866762"/>
              <a:ext cx="1943880" cy="767271"/>
            </a:xfrm>
            <a:prstGeom prst="rect">
              <a:avLst/>
            </a:prstGeom>
            <a:noFill/>
          </p:spPr>
        </p:pic>
      </p:grpSp>
      <p:grpSp>
        <p:nvGrpSpPr>
          <p:cNvPr id="52" name="Group 15"/>
          <p:cNvGrpSpPr/>
          <p:nvPr/>
        </p:nvGrpSpPr>
        <p:grpSpPr>
          <a:xfrm>
            <a:off x="1143000" y="1510903"/>
            <a:ext cx="2986042" cy="1080336"/>
            <a:chOff x="1405719" y="1883390"/>
            <a:chExt cx="4572000" cy="1654555"/>
          </a:xfrm>
        </p:grpSpPr>
        <p:sp>
          <p:nvSpPr>
            <p:cNvPr id="53" name="Rectangle 52"/>
            <p:cNvSpPr/>
            <p:nvPr/>
          </p:nvSpPr>
          <p:spPr bwMode="auto">
            <a:xfrm>
              <a:off x="1405719" y="1883390"/>
              <a:ext cx="4572000" cy="1651379"/>
            </a:xfrm>
            <a:prstGeom prst="rect">
              <a:avLst/>
            </a:prstGeom>
            <a:gradFill>
              <a:gsLst>
                <a:gs pos="0">
                  <a:schemeClr val="accent4">
                    <a:alpha val="10000"/>
                  </a:schemeClr>
                </a:gs>
                <a:gs pos="100000">
                  <a:schemeClr val="bg1">
                    <a:alpha val="15000"/>
                  </a:schemeClr>
                </a:gs>
              </a:gsLst>
              <a:lin ang="16200000" scaled="0"/>
            </a:gradFill>
            <a:ln>
              <a:solidFill>
                <a:schemeClr val="accent5">
                  <a:lumMod val="50000"/>
                </a:schemeClr>
              </a:solid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23" fontAlgn="base">
                <a:spcBef>
                  <a:spcPct val="0"/>
                </a:spcBef>
                <a:spcAft>
                  <a:spcPct val="0"/>
                </a:spcAft>
              </a:pPr>
              <a:endParaRPr lang="en-US" sz="1700" dirty="0">
                <a:gradFill>
                  <a:gsLst>
                    <a:gs pos="0">
                      <a:srgbClr val="FFFFFF"/>
                    </a:gs>
                    <a:gs pos="100000">
                      <a:srgbClr val="FFFFFF"/>
                    </a:gs>
                  </a:gsLst>
                  <a:lin ang="5400000" scaled="0"/>
                </a:gradFill>
              </a:endParaRPr>
            </a:p>
          </p:txBody>
        </p:sp>
        <p:pic>
          <p:nvPicPr>
            <p:cNvPr id="55" name="Picture 2" descr="C:\Users\adi\Desktop\Old_Camera.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406487" y="1887449"/>
              <a:ext cx="3354588" cy="1650496"/>
            </a:xfrm>
            <a:prstGeom prst="rect">
              <a:avLst/>
            </a:prstGeom>
            <a:noFill/>
          </p:spPr>
        </p:pic>
        <p:pic>
          <p:nvPicPr>
            <p:cNvPr id="56" name="Picture 3" descr="\\adisvr2\Shared\ADI_Projects\Microsoft\MS_09-00854_Guggs_September_PPT\Computex_2010\ADI_Art\Working_Art\Motion_Slide\a_Film-roll.png"/>
            <p:cNvPicPr>
              <a:picLocks noChangeAspect="1" noChangeArrowheads="1"/>
            </p:cNvPicPr>
            <p:nvPr/>
          </p:nvPicPr>
          <p:blipFill>
            <a:blip r:embed="rId8" cstate="screen">
              <a:extLst>
                <a:ext uri="{28A0092B-C50C-407E-A947-70E740481C1C}">
                  <a14:useLocalDpi xmlns:a14="http://schemas.microsoft.com/office/drawing/2010/main"/>
                </a:ext>
              </a:extLst>
            </a:blip>
            <a:srcRect l="27792" t="18622" r="6526" b="16120"/>
            <a:stretch>
              <a:fillRect/>
            </a:stretch>
          </p:blipFill>
          <p:spPr bwMode="auto">
            <a:xfrm rot="16200000">
              <a:off x="4340957" y="2155187"/>
              <a:ext cx="1598594" cy="1148845"/>
            </a:xfrm>
            <a:prstGeom prst="rect">
              <a:avLst/>
            </a:prstGeom>
            <a:noFill/>
            <a:ln>
              <a:noFill/>
            </a:ln>
          </p:spPr>
        </p:pic>
      </p:grpSp>
      <p:grpSp>
        <p:nvGrpSpPr>
          <p:cNvPr id="57" name="Group 60"/>
          <p:cNvGrpSpPr/>
          <p:nvPr/>
        </p:nvGrpSpPr>
        <p:grpSpPr>
          <a:xfrm>
            <a:off x="1151914" y="2740025"/>
            <a:ext cx="2980495" cy="1131727"/>
            <a:chOff x="1989303" y="4811713"/>
            <a:chExt cx="3972958" cy="1508969"/>
          </a:xfrm>
        </p:grpSpPr>
        <p:sp>
          <p:nvSpPr>
            <p:cNvPr id="58" name="Rectangle 57"/>
            <p:cNvSpPr/>
            <p:nvPr/>
          </p:nvSpPr>
          <p:spPr bwMode="auto">
            <a:xfrm>
              <a:off x="1989303" y="4811713"/>
              <a:ext cx="3968470" cy="1508969"/>
            </a:xfrm>
            <a:prstGeom prst="rect">
              <a:avLst/>
            </a:prstGeom>
            <a:gradFill>
              <a:gsLst>
                <a:gs pos="0">
                  <a:schemeClr val="accent4">
                    <a:alpha val="10000"/>
                  </a:schemeClr>
                </a:gs>
                <a:gs pos="100000">
                  <a:schemeClr val="bg1">
                    <a:alpha val="15000"/>
                  </a:schemeClr>
                </a:gs>
              </a:gsLst>
              <a:lin ang="16200000" scaled="0"/>
            </a:gradFill>
            <a:ln>
              <a:solidFill>
                <a:schemeClr val="accent5">
                  <a:lumMod val="50000"/>
                </a:schemeClr>
              </a:solid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23" fontAlgn="base">
                <a:spcBef>
                  <a:spcPct val="0"/>
                </a:spcBef>
                <a:spcAft>
                  <a:spcPct val="0"/>
                </a:spcAft>
              </a:pPr>
              <a:endParaRPr lang="en-US" sz="1700" dirty="0">
                <a:gradFill>
                  <a:gsLst>
                    <a:gs pos="0">
                      <a:srgbClr val="FFFFFF"/>
                    </a:gs>
                    <a:gs pos="100000">
                      <a:srgbClr val="FFFFFF"/>
                    </a:gs>
                  </a:gsLst>
                  <a:lin ang="5400000" scaled="0"/>
                </a:gradFill>
              </a:endParaRPr>
            </a:p>
          </p:txBody>
        </p:sp>
        <p:pic>
          <p:nvPicPr>
            <p:cNvPr id="59" name="Picture 6" descr="C:\Users\adi\Desktop\blockbuster.pn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1996750" y="4814596"/>
              <a:ext cx="3965511" cy="1502228"/>
            </a:xfrm>
            <a:prstGeom prst="rect">
              <a:avLst/>
            </a:prstGeom>
            <a:noFill/>
          </p:spPr>
        </p:pic>
      </p:grpSp>
      <p:grpSp>
        <p:nvGrpSpPr>
          <p:cNvPr id="70" name="Group 45"/>
          <p:cNvGrpSpPr/>
          <p:nvPr/>
        </p:nvGrpSpPr>
        <p:grpSpPr>
          <a:xfrm>
            <a:off x="1151918" y="3931896"/>
            <a:ext cx="2986041" cy="1078259"/>
            <a:chOff x="1977421" y="4920668"/>
            <a:chExt cx="3980351" cy="1437679"/>
          </a:xfrm>
        </p:grpSpPr>
        <p:sp>
          <p:nvSpPr>
            <p:cNvPr id="71" name="Rectangle 70"/>
            <p:cNvSpPr/>
            <p:nvPr/>
          </p:nvSpPr>
          <p:spPr bwMode="auto">
            <a:xfrm>
              <a:off x="1977421" y="4920668"/>
              <a:ext cx="3980351" cy="1437679"/>
            </a:xfrm>
            <a:prstGeom prst="rect">
              <a:avLst/>
            </a:prstGeom>
            <a:gradFill>
              <a:gsLst>
                <a:gs pos="0">
                  <a:schemeClr val="accent4">
                    <a:alpha val="10000"/>
                  </a:schemeClr>
                </a:gs>
                <a:gs pos="100000">
                  <a:schemeClr val="bg1">
                    <a:alpha val="15000"/>
                  </a:schemeClr>
                </a:gs>
              </a:gsLst>
              <a:lin ang="16200000" scaled="0"/>
            </a:gradFill>
            <a:ln>
              <a:solidFill>
                <a:schemeClr val="accent5">
                  <a:lumMod val="50000"/>
                </a:schemeClr>
              </a:solid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23" fontAlgn="base">
                <a:spcBef>
                  <a:spcPct val="0"/>
                </a:spcBef>
                <a:spcAft>
                  <a:spcPct val="0"/>
                </a:spcAft>
              </a:pPr>
              <a:endParaRPr lang="en-US" sz="1700" dirty="0">
                <a:gradFill>
                  <a:gsLst>
                    <a:gs pos="0">
                      <a:srgbClr val="FFFFFF"/>
                    </a:gs>
                    <a:gs pos="100000">
                      <a:srgbClr val="FFFFFF"/>
                    </a:gs>
                  </a:gsLst>
                  <a:lin ang="5400000" scaled="0"/>
                </a:gradFill>
              </a:endParaRPr>
            </a:p>
          </p:txBody>
        </p:sp>
        <p:pic>
          <p:nvPicPr>
            <p:cNvPr id="72" name="Picture 2" descr="C:\Users\adi\Desktop\Old_Camera.pn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3380980" y="4930111"/>
              <a:ext cx="2571312" cy="1419889"/>
            </a:xfrm>
            <a:prstGeom prst="rect">
              <a:avLst/>
            </a:prstGeom>
            <a:noFill/>
            <a:effectLst/>
          </p:spPr>
        </p:pic>
        <p:pic>
          <p:nvPicPr>
            <p:cNvPr id="73" name="Picture 2" descr="C:\Users\adi\Desktop\Old_Camera.png"/>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1989304" y="4928633"/>
              <a:ext cx="1643564" cy="1413164"/>
            </a:xfrm>
            <a:prstGeom prst="rect">
              <a:avLst/>
            </a:prstGeom>
            <a:noFill/>
            <a:effectLst>
              <a:outerShdw blurRad="50800" dist="38100" dir="2700000" algn="tl" rotWithShape="0">
                <a:prstClr val="black">
                  <a:alpha val="40000"/>
                </a:prstClr>
              </a:outerShdw>
            </a:effectLst>
          </p:spPr>
        </p:pic>
      </p:grpSp>
      <p:pic>
        <p:nvPicPr>
          <p:cNvPr id="3074" name="Picture 2"/>
          <p:cNvPicPr>
            <a:picLocks noChangeAspect="1" noChangeArrowheads="1"/>
          </p:cNvPicPr>
          <p:nvPr/>
        </p:nvPicPr>
        <p:blipFill rotWithShape="1">
          <a:blip r:embed="rId12">
            <a:extLst>
              <a:ext uri="{28A0092B-C50C-407E-A947-70E740481C1C}">
                <a14:useLocalDpi xmlns:a14="http://schemas.microsoft.com/office/drawing/2010/main" val="0"/>
              </a:ext>
            </a:extLst>
          </a:blip>
          <a:srcRect b="30554"/>
          <a:stretch/>
        </p:blipFill>
        <p:spPr bwMode="auto">
          <a:xfrm>
            <a:off x="4317559" y="3938568"/>
            <a:ext cx="3109913" cy="10715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5"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6"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3"/>
              </a:rPr>
              <a:t>www.rapidbbs.cn</a:t>
            </a:r>
            <a:endParaRPr lang="zh-CN" altLang="en-US" sz="1200" b="0">
              <a:latin typeface="Arial" charset="0"/>
              <a:ea typeface="ＭＳ Ｐゴシック" pitchFamily="34" charset="-128"/>
            </a:endParaRPr>
          </a:p>
        </p:txBody>
      </p:sp>
      <p:pic>
        <p:nvPicPr>
          <p:cNvPr id="27" name="Picture 2">
            <a:hlinkClick r:id="rId13"/>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347450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500"/>
                                        <p:tgtEl>
                                          <p:spTgt spid="50"/>
                                        </p:tgtEl>
                                      </p:cBhvr>
                                    </p:animEffect>
                                  </p:childTnLst>
                                </p:cTn>
                              </p:par>
                              <p:par>
                                <p:cTn id="8" presetID="10" presetClass="entr" presetSubtype="0" fill="hold" nodeType="withEffect">
                                  <p:stCondLst>
                                    <p:cond delay="0"/>
                                  </p:stCondLst>
                                  <p:childTnLst>
                                    <p:set>
                                      <p:cBhvr>
                                        <p:cTn id="9" dur="1" fill="hold">
                                          <p:stCondLst>
                                            <p:cond delay="0"/>
                                          </p:stCondLst>
                                        </p:cTn>
                                        <p:tgtEl>
                                          <p:spTgt spid="42"/>
                                        </p:tgtEl>
                                        <p:attrNameLst>
                                          <p:attrName>style.visibility</p:attrName>
                                        </p:attrNameLst>
                                      </p:cBhvr>
                                      <p:to>
                                        <p:strVal val="visible"/>
                                      </p:to>
                                    </p:set>
                                    <p:animEffect transition="in" filter="fade">
                                      <p:cBhvr>
                                        <p:cTn id="10" dur="500"/>
                                        <p:tgtEl>
                                          <p:spTgt spid="42"/>
                                        </p:tgtEl>
                                      </p:cBhvr>
                                    </p:animEffect>
                                  </p:childTnLst>
                                </p:cTn>
                              </p:par>
                              <p:par>
                                <p:cTn id="11" presetID="10" presetClass="entr" presetSubtype="0" fill="hold" nodeType="withEffect">
                                  <p:stCondLst>
                                    <p:cond delay="0"/>
                                  </p:stCondLst>
                                  <p:childTnLst>
                                    <p:set>
                                      <p:cBhvr>
                                        <p:cTn id="12" dur="1" fill="hold">
                                          <p:stCondLst>
                                            <p:cond delay="0"/>
                                          </p:stCondLst>
                                        </p:cTn>
                                        <p:tgtEl>
                                          <p:spTgt spid="28"/>
                                        </p:tgtEl>
                                        <p:attrNameLst>
                                          <p:attrName>style.visibility</p:attrName>
                                        </p:attrNameLst>
                                      </p:cBhvr>
                                      <p:to>
                                        <p:strVal val="visible"/>
                                      </p:to>
                                    </p:set>
                                    <p:animEffect transition="in" filter="fade">
                                      <p:cBhvr>
                                        <p:cTn id="13" dur="500"/>
                                        <p:tgtEl>
                                          <p:spTgt spid="28"/>
                                        </p:tgtEl>
                                      </p:cBhvr>
                                    </p:animEffect>
                                  </p:childTnLst>
                                </p:cTn>
                              </p:par>
                              <p:par>
                                <p:cTn id="14" presetID="10" presetClass="entr" presetSubtype="0" fill="hold" nodeType="withEffect">
                                  <p:stCondLst>
                                    <p:cond delay="0"/>
                                  </p:stCondLst>
                                  <p:childTnLst>
                                    <p:set>
                                      <p:cBhvr>
                                        <p:cTn id="15" dur="1" fill="hold">
                                          <p:stCondLst>
                                            <p:cond delay="0"/>
                                          </p:stCondLst>
                                        </p:cTn>
                                        <p:tgtEl>
                                          <p:spTgt spid="3074"/>
                                        </p:tgtEl>
                                        <p:attrNameLst>
                                          <p:attrName>style.visibility</p:attrName>
                                        </p:attrNameLst>
                                      </p:cBhvr>
                                      <p:to>
                                        <p:strVal val="visible"/>
                                      </p:to>
                                    </p:set>
                                    <p:animEffect transition="in" filter="fade">
                                      <p:cBhvr>
                                        <p:cTn id="16" dur="500"/>
                                        <p:tgtEl>
                                          <p:spTgt spid="30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p:bldLst>
  </p:timing>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32"/>
          <p:cNvGrpSpPr/>
          <p:nvPr/>
        </p:nvGrpSpPr>
        <p:grpSpPr>
          <a:xfrm>
            <a:off x="1704611" y="755694"/>
            <a:ext cx="6239719" cy="1088657"/>
            <a:chOff x="1977421" y="4920668"/>
            <a:chExt cx="8317459" cy="1451542"/>
          </a:xfrm>
        </p:grpSpPr>
        <p:sp>
          <p:nvSpPr>
            <p:cNvPr id="27" name="Rectangle 26"/>
            <p:cNvSpPr/>
            <p:nvPr/>
          </p:nvSpPr>
          <p:spPr bwMode="auto">
            <a:xfrm>
              <a:off x="6315723" y="4920669"/>
              <a:ext cx="3979157" cy="1451541"/>
            </a:xfrm>
            <a:prstGeom prst="rect">
              <a:avLst/>
            </a:prstGeom>
            <a:gradFill>
              <a:gsLst>
                <a:gs pos="0">
                  <a:schemeClr val="accent4">
                    <a:alpha val="10000"/>
                  </a:schemeClr>
                </a:gs>
                <a:gs pos="100000">
                  <a:schemeClr val="bg1">
                    <a:alpha val="15000"/>
                  </a:schemeClr>
                </a:gs>
              </a:gsLst>
              <a:lin ang="16200000" scaled="0"/>
            </a:gradFill>
            <a:ln>
              <a:solidFill>
                <a:schemeClr val="accent3">
                  <a:lumMod val="50000"/>
                </a:schemeClr>
              </a:solid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23"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4" name="Group 28"/>
            <p:cNvGrpSpPr/>
            <p:nvPr/>
          </p:nvGrpSpPr>
          <p:grpSpPr>
            <a:xfrm>
              <a:off x="1977421" y="4920668"/>
              <a:ext cx="3980351" cy="1437679"/>
              <a:chOff x="1977421" y="4920668"/>
              <a:chExt cx="3980351" cy="1437679"/>
            </a:xfrm>
          </p:grpSpPr>
          <p:sp>
            <p:nvSpPr>
              <p:cNvPr id="30" name="Rectangle 29"/>
              <p:cNvSpPr/>
              <p:nvPr/>
            </p:nvSpPr>
            <p:spPr bwMode="auto">
              <a:xfrm>
                <a:off x="1977421" y="4920668"/>
                <a:ext cx="3980351" cy="1437679"/>
              </a:xfrm>
              <a:prstGeom prst="rect">
                <a:avLst/>
              </a:prstGeom>
              <a:gradFill>
                <a:gsLst>
                  <a:gs pos="0">
                    <a:schemeClr val="accent4">
                      <a:alpha val="10000"/>
                    </a:schemeClr>
                  </a:gs>
                  <a:gs pos="100000">
                    <a:schemeClr val="bg1">
                      <a:alpha val="15000"/>
                    </a:schemeClr>
                  </a:gs>
                </a:gsLst>
                <a:lin ang="16200000" scaled="0"/>
              </a:gradFill>
              <a:ln>
                <a:solidFill>
                  <a:schemeClr val="accent5">
                    <a:lumMod val="50000"/>
                  </a:schemeClr>
                </a:solid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23" fontAlgn="base">
                  <a:spcBef>
                    <a:spcPct val="0"/>
                  </a:spcBef>
                  <a:spcAft>
                    <a:spcPct val="0"/>
                  </a:spcAft>
                </a:pPr>
                <a:endParaRPr lang="en-US" sz="1700" dirty="0">
                  <a:gradFill>
                    <a:gsLst>
                      <a:gs pos="0">
                        <a:srgbClr val="FFFFFF"/>
                      </a:gs>
                      <a:gs pos="100000">
                        <a:srgbClr val="FFFFFF"/>
                      </a:gs>
                    </a:gsLst>
                    <a:lin ang="5400000" scaled="0"/>
                  </a:gradFill>
                </a:endParaRPr>
              </a:p>
            </p:txBody>
          </p:sp>
          <p:pic>
            <p:nvPicPr>
              <p:cNvPr id="31" name="Picture 2" descr="C:\Users\adi\Desktop\Old_Camera.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380980" y="4930111"/>
                <a:ext cx="2571312" cy="1419889"/>
              </a:xfrm>
              <a:prstGeom prst="rect">
                <a:avLst/>
              </a:prstGeom>
              <a:noFill/>
              <a:ln>
                <a:noFill/>
              </a:ln>
              <a:effectLst/>
            </p:spPr>
          </p:pic>
          <p:pic>
            <p:nvPicPr>
              <p:cNvPr id="32" name="Picture 2" descr="C:\Users\adi\Desktop\Old_Camera.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989304" y="4928633"/>
                <a:ext cx="1643564" cy="1413164"/>
              </a:xfrm>
              <a:prstGeom prst="rect">
                <a:avLst/>
              </a:prstGeom>
              <a:noFill/>
              <a:ln>
                <a:noFill/>
              </a:ln>
              <a:effectLst>
                <a:outerShdw blurRad="50800" dist="38100" dir="2700000" algn="tl" rotWithShape="0">
                  <a:prstClr val="black">
                    <a:alpha val="40000"/>
                  </a:prstClr>
                </a:outerShdw>
              </a:effectLst>
            </p:spPr>
          </p:pic>
        </p:grpSp>
      </p:grpSp>
      <p:pic>
        <p:nvPicPr>
          <p:cNvPr id="78" name="Picture 77" descr="binary.png"/>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a:xfrm>
            <a:off x="4463202" y="1"/>
            <a:ext cx="3733808" cy="3394946"/>
          </a:xfrm>
          <a:prstGeom prst="rect">
            <a:avLst/>
          </a:prstGeom>
        </p:spPr>
      </p:pic>
      <p:pic>
        <p:nvPicPr>
          <p:cNvPr id="67" name="Picture 9" descr="C:\Users\roslyn.ADI\Desktop\DVD_ART35\Artwork_Imagery\Hardware Photos\OEM HW\Storage devices\HP USB Flash memory drive.png"/>
          <p:cNvPicPr>
            <a:picLocks noChangeAspect="1" noChangeArrowheads="1"/>
          </p:cNvPicPr>
          <p:nvPr/>
        </p:nvPicPr>
        <p:blipFill>
          <a:blip r:embed="rId6" cstate="screen">
            <a:extLst>
              <a:ext uri="{28A0092B-C50C-407E-A947-70E740481C1C}">
                <a14:useLocalDpi xmlns:a14="http://schemas.microsoft.com/office/drawing/2010/main"/>
              </a:ext>
            </a:extLst>
          </a:blip>
          <a:stretch>
            <a:fillRect/>
          </a:stretch>
        </p:blipFill>
        <p:spPr bwMode="auto">
          <a:xfrm>
            <a:off x="7891471" y="2037008"/>
            <a:ext cx="1398890" cy="1048895"/>
          </a:xfrm>
          <a:prstGeom prst="rect">
            <a:avLst/>
          </a:prstGeom>
          <a:effectLst>
            <a:outerShdw blurRad="50800" dist="38100" dir="2700000" algn="tl" rotWithShape="0">
              <a:prstClr val="black">
                <a:alpha val="40000"/>
              </a:prstClr>
            </a:outerShdw>
          </a:effectLst>
        </p:spPr>
      </p:pic>
      <p:pic>
        <p:nvPicPr>
          <p:cNvPr id="69" name="Picture 68" descr="HP_Camera.png"/>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rot="20096504">
            <a:off x="4860391" y="2666047"/>
            <a:ext cx="1608303" cy="1328738"/>
          </a:xfrm>
          <a:prstGeom prst="rect">
            <a:avLst/>
          </a:prstGeom>
        </p:spPr>
      </p:pic>
      <p:pic>
        <p:nvPicPr>
          <p:cNvPr id="7" name="Picture 9" descr="C:\Users\roslyn.ADI\Desktop\DVD_ART35\Artwork_Imagery\Hardware Photos\OEM HW\Storage devices\HP USB Flash memory drive.png"/>
          <p:cNvPicPr>
            <a:picLocks noChangeAspect="1" noChangeArrowheads="1"/>
          </p:cNvPicPr>
          <p:nvPr/>
        </p:nvPicPr>
        <p:blipFill>
          <a:blip r:embed="rId8" cstate="screen">
            <a:extLst>
              <a:ext uri="{28A0092B-C50C-407E-A947-70E740481C1C}">
                <a14:useLocalDpi xmlns:a14="http://schemas.microsoft.com/office/drawing/2010/main"/>
              </a:ext>
            </a:extLst>
          </a:blip>
          <a:stretch>
            <a:fillRect/>
          </a:stretch>
        </p:blipFill>
        <p:spPr bwMode="auto">
          <a:xfrm>
            <a:off x="5040976" y="896653"/>
            <a:ext cx="1282163" cy="1374548"/>
          </a:xfrm>
          <a:prstGeom prst="rect">
            <a:avLst/>
          </a:prstGeom>
          <a:noFill/>
        </p:spPr>
      </p:pic>
      <p:pic>
        <p:nvPicPr>
          <p:cNvPr id="6" name="Picture 5" descr="HP_Camera.png"/>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735314" y="1374291"/>
            <a:ext cx="1124013" cy="853943"/>
          </a:xfrm>
          <a:prstGeom prst="rect">
            <a:avLst/>
          </a:prstGeom>
        </p:spPr>
      </p:pic>
      <p:pic>
        <p:nvPicPr>
          <p:cNvPr id="56" name="Picture 9" descr="C:\Users\roslyn.ADI\Desktop\DVD_ART35\Artwork_Imagery\Hardware Photos\OEM HW\Storage devices\HP USB Flash memory drive.png"/>
          <p:cNvPicPr>
            <a:picLocks noChangeAspect="1" noChangeArrowheads="1"/>
          </p:cNvPicPr>
          <p:nvPr/>
        </p:nvPicPr>
        <p:blipFill>
          <a:blip r:embed="rId10" cstate="screen">
            <a:extLst>
              <a:ext uri="{28A0092B-C50C-407E-A947-70E740481C1C}">
                <a14:useLocalDpi xmlns:a14="http://schemas.microsoft.com/office/drawing/2010/main"/>
              </a:ext>
            </a:extLst>
          </a:blip>
          <a:stretch>
            <a:fillRect/>
          </a:stretch>
        </p:blipFill>
        <p:spPr bwMode="auto">
          <a:xfrm>
            <a:off x="6348674" y="742371"/>
            <a:ext cx="1373442" cy="1229591"/>
          </a:xfrm>
          <a:prstGeom prst="rect">
            <a:avLst/>
          </a:prstGeom>
          <a:noFill/>
        </p:spPr>
      </p:pic>
      <p:pic>
        <p:nvPicPr>
          <p:cNvPr id="61" name="Picture 60" descr="facebook.jpg"/>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rot="1445701">
            <a:off x="6442962" y="1603282"/>
            <a:ext cx="1780211" cy="669524"/>
          </a:xfrm>
          <a:prstGeom prst="rect">
            <a:avLst/>
          </a:prstGeom>
          <a:effectLst>
            <a:outerShdw blurRad="50800" dist="38100" dir="2700000" algn="tl" rotWithShape="0">
              <a:prstClr val="black">
                <a:alpha val="40000"/>
              </a:prstClr>
            </a:outerShdw>
          </a:effectLst>
        </p:spPr>
      </p:pic>
      <p:pic>
        <p:nvPicPr>
          <p:cNvPr id="55" name="Picture 9" descr="C:\Users\roslyn.ADI\Desktop\DVD_ART35\Artwork_Imagery\Hardware Photos\OEM HW\Storage devices\HP USB Flash memory drive.png"/>
          <p:cNvPicPr>
            <a:picLocks noChangeAspect="1" noChangeArrowheads="1"/>
          </p:cNvPicPr>
          <p:nvPr/>
        </p:nvPicPr>
        <p:blipFill>
          <a:blip r:embed="rId12" cstate="screen">
            <a:extLst>
              <a:ext uri="{28A0092B-C50C-407E-A947-70E740481C1C}">
                <a14:useLocalDpi xmlns:a14="http://schemas.microsoft.com/office/drawing/2010/main"/>
              </a:ext>
            </a:extLst>
          </a:blip>
          <a:stretch>
            <a:fillRect/>
          </a:stretch>
        </p:blipFill>
        <p:spPr bwMode="auto">
          <a:xfrm>
            <a:off x="5649595" y="1250110"/>
            <a:ext cx="1357280" cy="1279829"/>
          </a:xfrm>
          <a:prstGeom prst="rect">
            <a:avLst/>
          </a:prstGeom>
          <a:noFill/>
          <a:effectLst>
            <a:outerShdw blurRad="50800" dist="38100" dir="2700000" algn="tl" rotWithShape="0">
              <a:prstClr val="black">
                <a:alpha val="40000"/>
              </a:prstClr>
            </a:outerShdw>
          </a:effectLst>
        </p:spPr>
      </p:pic>
      <p:pic>
        <p:nvPicPr>
          <p:cNvPr id="64" name="Picture 63" descr="twitter copy.png"/>
          <p:cNvPicPr>
            <a:picLocks noChangeAspect="1"/>
          </p:cNvPicPr>
          <p:nvPr/>
        </p:nvPicPr>
        <p:blipFill>
          <a:blip r:embed="rId13"/>
          <a:stretch>
            <a:fillRect/>
          </a:stretch>
        </p:blipFill>
        <p:spPr>
          <a:xfrm rot="407817">
            <a:off x="4262878" y="2164726"/>
            <a:ext cx="1428944" cy="1400000"/>
          </a:xfrm>
          <a:prstGeom prst="rect">
            <a:avLst/>
          </a:prstGeom>
          <a:effectLst>
            <a:outerShdw blurRad="50800" dist="38100" dir="2700000" algn="tl" rotWithShape="0">
              <a:prstClr val="black">
                <a:alpha val="40000"/>
              </a:prstClr>
            </a:outerShdw>
          </a:effectLst>
        </p:spPr>
      </p:pic>
      <p:pic>
        <p:nvPicPr>
          <p:cNvPr id="60" name="Picture 59" descr="MySpace.emf"/>
          <p:cNvPicPr>
            <a:picLocks noChangeAspect="1"/>
          </p:cNvPicPr>
          <p:nvPr/>
        </p:nvPicPr>
        <p:blipFill>
          <a:blip r:embed="rId14"/>
          <a:stretch>
            <a:fillRect/>
          </a:stretch>
        </p:blipFill>
        <p:spPr>
          <a:xfrm rot="20966772">
            <a:off x="4849396" y="1915445"/>
            <a:ext cx="1513056" cy="411959"/>
          </a:xfrm>
          <a:prstGeom prst="rect">
            <a:avLst/>
          </a:prstGeom>
          <a:effectLst>
            <a:outerShdw blurRad="50800" dist="38100" dir="2700000" algn="tl" rotWithShape="0">
              <a:prstClr val="black">
                <a:alpha val="40000"/>
              </a:prstClr>
            </a:outerShdw>
          </a:effectLst>
        </p:spPr>
      </p:pic>
      <p:pic>
        <p:nvPicPr>
          <p:cNvPr id="66" name="Picture 65" descr="youtube-logo copy.png"/>
          <p:cNvPicPr>
            <a:picLocks noChangeAspect="1"/>
          </p:cNvPicPr>
          <p:nvPr/>
        </p:nvPicPr>
        <p:blipFill>
          <a:blip r:embed="rId15" cstate="screen">
            <a:extLst>
              <a:ext uri="{28A0092B-C50C-407E-A947-70E740481C1C}">
                <a14:useLocalDpi xmlns:a14="http://schemas.microsoft.com/office/drawing/2010/main"/>
              </a:ext>
            </a:extLst>
          </a:blip>
          <a:srcRect/>
          <a:stretch>
            <a:fillRect/>
          </a:stretch>
        </p:blipFill>
        <p:spPr>
          <a:xfrm rot="21292871">
            <a:off x="5122673" y="2179544"/>
            <a:ext cx="3210896" cy="1249014"/>
          </a:xfrm>
          <a:prstGeom prst="rect">
            <a:avLst/>
          </a:prstGeom>
        </p:spPr>
      </p:pic>
      <p:pic>
        <p:nvPicPr>
          <p:cNvPr id="70" name="Picture 69" descr="msnmessenger copy.png"/>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rot="258742">
            <a:off x="5982347" y="2879542"/>
            <a:ext cx="2090202" cy="1940858"/>
          </a:xfrm>
          <a:prstGeom prst="rect">
            <a:avLst/>
          </a:prstGeom>
          <a:effectLst>
            <a:outerShdw blurRad="50800" dist="38100" dir="2700000" algn="tl" rotWithShape="0">
              <a:prstClr val="black">
                <a:alpha val="40000"/>
              </a:prstClr>
            </a:outerShdw>
          </a:effectLst>
        </p:spPr>
      </p:pic>
      <p:pic>
        <p:nvPicPr>
          <p:cNvPr id="76" name="Picture 75" descr="blogger_logo.png"/>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rot="21118497">
            <a:off x="7600548" y="2662867"/>
            <a:ext cx="1051358" cy="1043694"/>
          </a:xfrm>
          <a:prstGeom prst="rect">
            <a:avLst/>
          </a:prstGeom>
          <a:effectLst>
            <a:outerShdw blurRad="50800" dist="38100" dir="2700000" algn="tl" rotWithShape="0">
              <a:prstClr val="black">
                <a:alpha val="40000"/>
              </a:prstClr>
            </a:outerShdw>
          </a:effectLst>
        </p:spPr>
      </p:pic>
      <p:pic>
        <p:nvPicPr>
          <p:cNvPr id="77" name="Picture 76" descr="rss_logo11 copy.png"/>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rot="831391">
            <a:off x="3896345" y="3636327"/>
            <a:ext cx="2344432" cy="2353087"/>
          </a:xfrm>
          <a:prstGeom prst="rect">
            <a:avLst/>
          </a:prstGeom>
        </p:spPr>
      </p:pic>
      <p:pic>
        <p:nvPicPr>
          <p:cNvPr id="1027" name="Picture 3" descr="C:\Users\adi4\Pictures\DVD_ART35\Logos\Microsoft Office 2007 - all products\Outlook 2007\Office Outlook 2007 Product Icon.png"/>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rot="743932">
            <a:off x="6013844" y="3684334"/>
            <a:ext cx="2062137" cy="1925630"/>
          </a:xfrm>
          <a:prstGeom prst="rect">
            <a:avLst/>
          </a:prstGeom>
          <a:noFill/>
        </p:spPr>
      </p:pic>
      <p:pic>
        <p:nvPicPr>
          <p:cNvPr id="28" name="Picture 27" descr="msn hotmail logo.png"/>
          <p:cNvPicPr>
            <a:picLocks noChangeAspect="1"/>
          </p:cNvPicPr>
          <p:nvPr/>
        </p:nvPicPr>
        <p:blipFill>
          <a:blip r:embed="rId20"/>
          <a:stretch>
            <a:fillRect/>
          </a:stretch>
        </p:blipFill>
        <p:spPr>
          <a:xfrm rot="20356202">
            <a:off x="7292774" y="3046824"/>
            <a:ext cx="2543728" cy="2096676"/>
          </a:xfrm>
          <a:prstGeom prst="rect">
            <a:avLst/>
          </a:prstGeom>
          <a:effectLst>
            <a:outerShdw blurRad="50800" dist="38100" dir="2700000" algn="tl" rotWithShape="0">
              <a:prstClr val="black">
                <a:alpha val="40000"/>
              </a:prstClr>
            </a:outerShdw>
          </a:effectLst>
        </p:spPr>
      </p:pic>
      <p:pic>
        <p:nvPicPr>
          <p:cNvPr id="1028" name="Picture 4" descr="C:\Users\adi4\Pictures\DVD_ART35\Logos\SharePoint Server\SharePoint Server generic brand Grid v.png"/>
          <p:cNvPicPr>
            <a:picLocks noChangeAspect="1" noChangeArrowheads="1"/>
          </p:cNvPicPr>
          <p:nvPr/>
        </p:nvPicPr>
        <p:blipFill>
          <a:blip r:embed="rId21" cstate="screen">
            <a:extLst>
              <a:ext uri="{28A0092B-C50C-407E-A947-70E740481C1C}">
                <a14:useLocalDpi xmlns:a14="http://schemas.microsoft.com/office/drawing/2010/main"/>
              </a:ext>
            </a:extLst>
          </a:blip>
          <a:srcRect/>
          <a:stretch>
            <a:fillRect/>
          </a:stretch>
        </p:blipFill>
        <p:spPr bwMode="auto">
          <a:xfrm rot="20627524">
            <a:off x="7653750" y="3921325"/>
            <a:ext cx="1657006" cy="1797989"/>
          </a:xfrm>
          <a:prstGeom prst="rect">
            <a:avLst/>
          </a:prstGeom>
          <a:noFill/>
          <a:effectLst>
            <a:outerShdw blurRad="50800" dist="38100" dir="2700000" algn="tl" rotWithShape="0">
              <a:prstClr val="black">
                <a:alpha val="40000"/>
              </a:prstClr>
            </a:outerShdw>
          </a:effectLst>
        </p:spPr>
      </p:pic>
      <p:sp>
        <p:nvSpPr>
          <p:cNvPr id="5" name="Title 4"/>
          <p:cNvSpPr>
            <a:spLocks noGrp="1"/>
          </p:cNvSpPr>
          <p:nvPr>
            <p:ph type="title"/>
          </p:nvPr>
        </p:nvSpPr>
        <p:spPr>
          <a:xfrm>
            <a:off x="387054" y="171451"/>
            <a:ext cx="8375946" cy="914096"/>
          </a:xfrm>
        </p:spPr>
        <p:txBody>
          <a:bodyPr/>
          <a:lstStyle/>
          <a:p>
            <a:r>
              <a:rPr lang="en-US" dirty="0"/>
              <a:t>LEARNING FROM THE PAST</a:t>
            </a:r>
            <a:br>
              <a:rPr lang="en-US" dirty="0"/>
            </a:br>
            <a:endParaRPr lang="en-US" dirty="0"/>
          </a:p>
        </p:txBody>
      </p:sp>
      <p:sp>
        <p:nvSpPr>
          <p:cNvPr id="26"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9"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2"/>
              </a:rPr>
              <a:t>www.rapidbbs.cn</a:t>
            </a:r>
            <a:endParaRPr lang="zh-CN" altLang="en-US" sz="1200" b="0">
              <a:latin typeface="Arial" charset="0"/>
              <a:ea typeface="ＭＳ Ｐゴシック" pitchFamily="34" charset="-128"/>
            </a:endParaRPr>
          </a:p>
        </p:txBody>
      </p:sp>
      <p:pic>
        <p:nvPicPr>
          <p:cNvPr id="33" name="Picture 2">
            <a:hlinkClick r:id="rId22"/>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321282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nodeType="withEffect">
                                  <p:stCondLst>
                                    <p:cond delay="0"/>
                                  </p:stCondLst>
                                  <p:childTnLst>
                                    <p:set>
                                      <p:cBhvr>
                                        <p:cTn id="6" dur="1" fill="hold">
                                          <p:stCondLst>
                                            <p:cond delay="0"/>
                                          </p:stCondLst>
                                        </p:cTn>
                                        <p:tgtEl>
                                          <p:spTgt spid="61"/>
                                        </p:tgtEl>
                                        <p:attrNameLst>
                                          <p:attrName>style.visibility</p:attrName>
                                        </p:attrNameLst>
                                      </p:cBhvr>
                                      <p:to>
                                        <p:strVal val="visible"/>
                                      </p:to>
                                    </p:set>
                                    <p:anim calcmode="lin" valueType="num">
                                      <p:cBhvr>
                                        <p:cTn id="7" dur="200" fill="hold"/>
                                        <p:tgtEl>
                                          <p:spTgt spid="61"/>
                                        </p:tgtEl>
                                        <p:attrNameLst>
                                          <p:attrName>ppt_w</p:attrName>
                                        </p:attrNameLst>
                                      </p:cBhvr>
                                      <p:tavLst>
                                        <p:tav tm="0">
                                          <p:val>
                                            <p:fltVal val="0"/>
                                          </p:val>
                                        </p:tav>
                                        <p:tav tm="100000">
                                          <p:val>
                                            <p:strVal val="#ppt_w"/>
                                          </p:val>
                                        </p:tav>
                                      </p:tavLst>
                                    </p:anim>
                                    <p:anim calcmode="lin" valueType="num">
                                      <p:cBhvr>
                                        <p:cTn id="8" dur="200" fill="hold"/>
                                        <p:tgtEl>
                                          <p:spTgt spid="61"/>
                                        </p:tgtEl>
                                        <p:attrNameLst>
                                          <p:attrName>ppt_h</p:attrName>
                                        </p:attrNameLst>
                                      </p:cBhvr>
                                      <p:tavLst>
                                        <p:tav tm="0">
                                          <p:val>
                                            <p:fltVal val="0"/>
                                          </p:val>
                                        </p:tav>
                                        <p:tav tm="100000">
                                          <p:val>
                                            <p:strVal val="#ppt_h"/>
                                          </p:val>
                                        </p:tav>
                                      </p:tavLst>
                                    </p:anim>
                                    <p:animEffect transition="in" filter="fade">
                                      <p:cBhvr>
                                        <p:cTn id="9" dur="200"/>
                                        <p:tgtEl>
                                          <p:spTgt spid="61"/>
                                        </p:tgtEl>
                                      </p:cBhvr>
                                    </p:animEffect>
                                  </p:childTnLst>
                                </p:cTn>
                              </p:par>
                            </p:childTnLst>
                          </p:cTn>
                        </p:par>
                        <p:par>
                          <p:cTn id="10" fill="hold">
                            <p:stCondLst>
                              <p:cond delay="200"/>
                            </p:stCondLst>
                            <p:childTnLst>
                              <p:par>
                                <p:cTn id="11" presetID="53" presetClass="entr" presetSubtype="0" fill="hold" nodeType="afterEffect">
                                  <p:stCondLst>
                                    <p:cond delay="0"/>
                                  </p:stCondLst>
                                  <p:childTnLst>
                                    <p:set>
                                      <p:cBhvr>
                                        <p:cTn id="12" dur="1" fill="hold">
                                          <p:stCondLst>
                                            <p:cond delay="0"/>
                                          </p:stCondLst>
                                        </p:cTn>
                                        <p:tgtEl>
                                          <p:spTgt spid="60"/>
                                        </p:tgtEl>
                                        <p:attrNameLst>
                                          <p:attrName>style.visibility</p:attrName>
                                        </p:attrNameLst>
                                      </p:cBhvr>
                                      <p:to>
                                        <p:strVal val="visible"/>
                                      </p:to>
                                    </p:set>
                                    <p:anim calcmode="lin" valueType="num">
                                      <p:cBhvr>
                                        <p:cTn id="13" dur="200" fill="hold"/>
                                        <p:tgtEl>
                                          <p:spTgt spid="60"/>
                                        </p:tgtEl>
                                        <p:attrNameLst>
                                          <p:attrName>ppt_w</p:attrName>
                                        </p:attrNameLst>
                                      </p:cBhvr>
                                      <p:tavLst>
                                        <p:tav tm="0">
                                          <p:val>
                                            <p:fltVal val="0"/>
                                          </p:val>
                                        </p:tav>
                                        <p:tav tm="100000">
                                          <p:val>
                                            <p:strVal val="#ppt_w"/>
                                          </p:val>
                                        </p:tav>
                                      </p:tavLst>
                                    </p:anim>
                                    <p:anim calcmode="lin" valueType="num">
                                      <p:cBhvr>
                                        <p:cTn id="14" dur="200" fill="hold"/>
                                        <p:tgtEl>
                                          <p:spTgt spid="60"/>
                                        </p:tgtEl>
                                        <p:attrNameLst>
                                          <p:attrName>ppt_h</p:attrName>
                                        </p:attrNameLst>
                                      </p:cBhvr>
                                      <p:tavLst>
                                        <p:tav tm="0">
                                          <p:val>
                                            <p:fltVal val="0"/>
                                          </p:val>
                                        </p:tav>
                                        <p:tav tm="100000">
                                          <p:val>
                                            <p:strVal val="#ppt_h"/>
                                          </p:val>
                                        </p:tav>
                                      </p:tavLst>
                                    </p:anim>
                                    <p:animEffect transition="in" filter="fade">
                                      <p:cBhvr>
                                        <p:cTn id="15" dur="200"/>
                                        <p:tgtEl>
                                          <p:spTgt spid="60"/>
                                        </p:tgtEl>
                                      </p:cBhvr>
                                    </p:animEffect>
                                  </p:childTnLst>
                                </p:cTn>
                              </p:par>
                            </p:childTnLst>
                          </p:cTn>
                        </p:par>
                        <p:par>
                          <p:cTn id="16" fill="hold">
                            <p:stCondLst>
                              <p:cond delay="400"/>
                            </p:stCondLst>
                            <p:childTnLst>
                              <p:par>
                                <p:cTn id="17" presetID="53" presetClass="entr" presetSubtype="0" fill="hold" nodeType="afterEffect">
                                  <p:stCondLst>
                                    <p:cond delay="0"/>
                                  </p:stCondLst>
                                  <p:childTnLst>
                                    <p:set>
                                      <p:cBhvr>
                                        <p:cTn id="18" dur="1" fill="hold">
                                          <p:stCondLst>
                                            <p:cond delay="0"/>
                                          </p:stCondLst>
                                        </p:cTn>
                                        <p:tgtEl>
                                          <p:spTgt spid="64"/>
                                        </p:tgtEl>
                                        <p:attrNameLst>
                                          <p:attrName>style.visibility</p:attrName>
                                        </p:attrNameLst>
                                      </p:cBhvr>
                                      <p:to>
                                        <p:strVal val="visible"/>
                                      </p:to>
                                    </p:set>
                                    <p:anim calcmode="lin" valueType="num">
                                      <p:cBhvr>
                                        <p:cTn id="19" dur="200" fill="hold"/>
                                        <p:tgtEl>
                                          <p:spTgt spid="64"/>
                                        </p:tgtEl>
                                        <p:attrNameLst>
                                          <p:attrName>ppt_w</p:attrName>
                                        </p:attrNameLst>
                                      </p:cBhvr>
                                      <p:tavLst>
                                        <p:tav tm="0">
                                          <p:val>
                                            <p:fltVal val="0"/>
                                          </p:val>
                                        </p:tav>
                                        <p:tav tm="100000">
                                          <p:val>
                                            <p:strVal val="#ppt_w"/>
                                          </p:val>
                                        </p:tav>
                                      </p:tavLst>
                                    </p:anim>
                                    <p:anim calcmode="lin" valueType="num">
                                      <p:cBhvr>
                                        <p:cTn id="20" dur="200" fill="hold"/>
                                        <p:tgtEl>
                                          <p:spTgt spid="64"/>
                                        </p:tgtEl>
                                        <p:attrNameLst>
                                          <p:attrName>ppt_h</p:attrName>
                                        </p:attrNameLst>
                                      </p:cBhvr>
                                      <p:tavLst>
                                        <p:tav tm="0">
                                          <p:val>
                                            <p:fltVal val="0"/>
                                          </p:val>
                                        </p:tav>
                                        <p:tav tm="100000">
                                          <p:val>
                                            <p:strVal val="#ppt_h"/>
                                          </p:val>
                                        </p:tav>
                                      </p:tavLst>
                                    </p:anim>
                                    <p:animEffect transition="in" filter="fade">
                                      <p:cBhvr>
                                        <p:cTn id="21" dur="200"/>
                                        <p:tgtEl>
                                          <p:spTgt spid="64"/>
                                        </p:tgtEl>
                                      </p:cBhvr>
                                    </p:animEffect>
                                  </p:childTnLst>
                                </p:cTn>
                              </p:par>
                            </p:childTnLst>
                          </p:cTn>
                        </p:par>
                        <p:par>
                          <p:cTn id="22" fill="hold">
                            <p:stCondLst>
                              <p:cond delay="600"/>
                            </p:stCondLst>
                            <p:childTnLst>
                              <p:par>
                                <p:cTn id="23" presetID="53" presetClass="entr" presetSubtype="0" fill="hold" nodeType="afterEffect">
                                  <p:stCondLst>
                                    <p:cond delay="0"/>
                                  </p:stCondLst>
                                  <p:childTnLst>
                                    <p:set>
                                      <p:cBhvr>
                                        <p:cTn id="24" dur="1" fill="hold">
                                          <p:stCondLst>
                                            <p:cond delay="0"/>
                                          </p:stCondLst>
                                        </p:cTn>
                                        <p:tgtEl>
                                          <p:spTgt spid="66"/>
                                        </p:tgtEl>
                                        <p:attrNameLst>
                                          <p:attrName>style.visibility</p:attrName>
                                        </p:attrNameLst>
                                      </p:cBhvr>
                                      <p:to>
                                        <p:strVal val="visible"/>
                                      </p:to>
                                    </p:set>
                                    <p:anim calcmode="lin" valueType="num">
                                      <p:cBhvr>
                                        <p:cTn id="25" dur="200" fill="hold"/>
                                        <p:tgtEl>
                                          <p:spTgt spid="66"/>
                                        </p:tgtEl>
                                        <p:attrNameLst>
                                          <p:attrName>ppt_w</p:attrName>
                                        </p:attrNameLst>
                                      </p:cBhvr>
                                      <p:tavLst>
                                        <p:tav tm="0">
                                          <p:val>
                                            <p:fltVal val="0"/>
                                          </p:val>
                                        </p:tav>
                                        <p:tav tm="100000">
                                          <p:val>
                                            <p:strVal val="#ppt_w"/>
                                          </p:val>
                                        </p:tav>
                                      </p:tavLst>
                                    </p:anim>
                                    <p:anim calcmode="lin" valueType="num">
                                      <p:cBhvr>
                                        <p:cTn id="26" dur="200" fill="hold"/>
                                        <p:tgtEl>
                                          <p:spTgt spid="66"/>
                                        </p:tgtEl>
                                        <p:attrNameLst>
                                          <p:attrName>ppt_h</p:attrName>
                                        </p:attrNameLst>
                                      </p:cBhvr>
                                      <p:tavLst>
                                        <p:tav tm="0">
                                          <p:val>
                                            <p:fltVal val="0"/>
                                          </p:val>
                                        </p:tav>
                                        <p:tav tm="100000">
                                          <p:val>
                                            <p:strVal val="#ppt_h"/>
                                          </p:val>
                                        </p:tav>
                                      </p:tavLst>
                                    </p:anim>
                                    <p:animEffect transition="in" filter="fade">
                                      <p:cBhvr>
                                        <p:cTn id="27" dur="200"/>
                                        <p:tgtEl>
                                          <p:spTgt spid="66"/>
                                        </p:tgtEl>
                                      </p:cBhvr>
                                    </p:animEffect>
                                  </p:childTnLst>
                                </p:cTn>
                              </p:par>
                            </p:childTnLst>
                          </p:cTn>
                        </p:par>
                        <p:par>
                          <p:cTn id="28" fill="hold">
                            <p:stCondLst>
                              <p:cond delay="800"/>
                            </p:stCondLst>
                            <p:childTnLst>
                              <p:par>
                                <p:cTn id="29" presetID="53" presetClass="entr" presetSubtype="0" fill="hold" nodeType="afterEffect">
                                  <p:stCondLst>
                                    <p:cond delay="0"/>
                                  </p:stCondLst>
                                  <p:childTnLst>
                                    <p:set>
                                      <p:cBhvr>
                                        <p:cTn id="30" dur="1" fill="hold">
                                          <p:stCondLst>
                                            <p:cond delay="0"/>
                                          </p:stCondLst>
                                        </p:cTn>
                                        <p:tgtEl>
                                          <p:spTgt spid="69"/>
                                        </p:tgtEl>
                                        <p:attrNameLst>
                                          <p:attrName>style.visibility</p:attrName>
                                        </p:attrNameLst>
                                      </p:cBhvr>
                                      <p:to>
                                        <p:strVal val="visible"/>
                                      </p:to>
                                    </p:set>
                                    <p:anim calcmode="lin" valueType="num">
                                      <p:cBhvr>
                                        <p:cTn id="31" dur="200" fill="hold"/>
                                        <p:tgtEl>
                                          <p:spTgt spid="69"/>
                                        </p:tgtEl>
                                        <p:attrNameLst>
                                          <p:attrName>ppt_w</p:attrName>
                                        </p:attrNameLst>
                                      </p:cBhvr>
                                      <p:tavLst>
                                        <p:tav tm="0">
                                          <p:val>
                                            <p:fltVal val="0"/>
                                          </p:val>
                                        </p:tav>
                                        <p:tav tm="100000">
                                          <p:val>
                                            <p:strVal val="#ppt_w"/>
                                          </p:val>
                                        </p:tav>
                                      </p:tavLst>
                                    </p:anim>
                                    <p:anim calcmode="lin" valueType="num">
                                      <p:cBhvr>
                                        <p:cTn id="32" dur="200" fill="hold"/>
                                        <p:tgtEl>
                                          <p:spTgt spid="69"/>
                                        </p:tgtEl>
                                        <p:attrNameLst>
                                          <p:attrName>ppt_h</p:attrName>
                                        </p:attrNameLst>
                                      </p:cBhvr>
                                      <p:tavLst>
                                        <p:tav tm="0">
                                          <p:val>
                                            <p:fltVal val="0"/>
                                          </p:val>
                                        </p:tav>
                                        <p:tav tm="100000">
                                          <p:val>
                                            <p:strVal val="#ppt_h"/>
                                          </p:val>
                                        </p:tav>
                                      </p:tavLst>
                                    </p:anim>
                                    <p:animEffect transition="in" filter="fade">
                                      <p:cBhvr>
                                        <p:cTn id="33" dur="200"/>
                                        <p:tgtEl>
                                          <p:spTgt spid="69"/>
                                        </p:tgtEl>
                                      </p:cBhvr>
                                    </p:animEffect>
                                  </p:childTnLst>
                                </p:cTn>
                              </p:par>
                            </p:childTnLst>
                          </p:cTn>
                        </p:par>
                        <p:par>
                          <p:cTn id="34" fill="hold">
                            <p:stCondLst>
                              <p:cond delay="1000"/>
                            </p:stCondLst>
                            <p:childTnLst>
                              <p:par>
                                <p:cTn id="35" presetID="53" presetClass="entr" presetSubtype="0" fill="hold" nodeType="afterEffect">
                                  <p:stCondLst>
                                    <p:cond delay="0"/>
                                  </p:stCondLst>
                                  <p:childTnLst>
                                    <p:set>
                                      <p:cBhvr>
                                        <p:cTn id="36" dur="1" fill="hold">
                                          <p:stCondLst>
                                            <p:cond delay="0"/>
                                          </p:stCondLst>
                                        </p:cTn>
                                        <p:tgtEl>
                                          <p:spTgt spid="77"/>
                                        </p:tgtEl>
                                        <p:attrNameLst>
                                          <p:attrName>style.visibility</p:attrName>
                                        </p:attrNameLst>
                                      </p:cBhvr>
                                      <p:to>
                                        <p:strVal val="visible"/>
                                      </p:to>
                                    </p:set>
                                    <p:anim calcmode="lin" valueType="num">
                                      <p:cBhvr>
                                        <p:cTn id="37" dur="200" fill="hold"/>
                                        <p:tgtEl>
                                          <p:spTgt spid="77"/>
                                        </p:tgtEl>
                                        <p:attrNameLst>
                                          <p:attrName>ppt_w</p:attrName>
                                        </p:attrNameLst>
                                      </p:cBhvr>
                                      <p:tavLst>
                                        <p:tav tm="0">
                                          <p:val>
                                            <p:fltVal val="0"/>
                                          </p:val>
                                        </p:tav>
                                        <p:tav tm="100000">
                                          <p:val>
                                            <p:strVal val="#ppt_w"/>
                                          </p:val>
                                        </p:tav>
                                      </p:tavLst>
                                    </p:anim>
                                    <p:anim calcmode="lin" valueType="num">
                                      <p:cBhvr>
                                        <p:cTn id="38" dur="200" fill="hold"/>
                                        <p:tgtEl>
                                          <p:spTgt spid="77"/>
                                        </p:tgtEl>
                                        <p:attrNameLst>
                                          <p:attrName>ppt_h</p:attrName>
                                        </p:attrNameLst>
                                      </p:cBhvr>
                                      <p:tavLst>
                                        <p:tav tm="0">
                                          <p:val>
                                            <p:fltVal val="0"/>
                                          </p:val>
                                        </p:tav>
                                        <p:tav tm="100000">
                                          <p:val>
                                            <p:strVal val="#ppt_h"/>
                                          </p:val>
                                        </p:tav>
                                      </p:tavLst>
                                    </p:anim>
                                    <p:animEffect transition="in" filter="fade">
                                      <p:cBhvr>
                                        <p:cTn id="39" dur="200"/>
                                        <p:tgtEl>
                                          <p:spTgt spid="77"/>
                                        </p:tgtEl>
                                      </p:cBhvr>
                                    </p:animEffect>
                                  </p:childTnLst>
                                </p:cTn>
                              </p:par>
                            </p:childTnLst>
                          </p:cTn>
                        </p:par>
                        <p:par>
                          <p:cTn id="40" fill="hold">
                            <p:stCondLst>
                              <p:cond delay="1200"/>
                            </p:stCondLst>
                            <p:childTnLst>
                              <p:par>
                                <p:cTn id="41" presetID="53" presetClass="entr" presetSubtype="0" fill="hold" nodeType="afterEffect">
                                  <p:stCondLst>
                                    <p:cond delay="0"/>
                                  </p:stCondLst>
                                  <p:childTnLst>
                                    <p:set>
                                      <p:cBhvr>
                                        <p:cTn id="42" dur="1" fill="hold">
                                          <p:stCondLst>
                                            <p:cond delay="0"/>
                                          </p:stCondLst>
                                        </p:cTn>
                                        <p:tgtEl>
                                          <p:spTgt spid="70"/>
                                        </p:tgtEl>
                                        <p:attrNameLst>
                                          <p:attrName>style.visibility</p:attrName>
                                        </p:attrNameLst>
                                      </p:cBhvr>
                                      <p:to>
                                        <p:strVal val="visible"/>
                                      </p:to>
                                    </p:set>
                                    <p:anim calcmode="lin" valueType="num">
                                      <p:cBhvr>
                                        <p:cTn id="43" dur="200" fill="hold"/>
                                        <p:tgtEl>
                                          <p:spTgt spid="70"/>
                                        </p:tgtEl>
                                        <p:attrNameLst>
                                          <p:attrName>ppt_w</p:attrName>
                                        </p:attrNameLst>
                                      </p:cBhvr>
                                      <p:tavLst>
                                        <p:tav tm="0">
                                          <p:val>
                                            <p:fltVal val="0"/>
                                          </p:val>
                                        </p:tav>
                                        <p:tav tm="100000">
                                          <p:val>
                                            <p:strVal val="#ppt_w"/>
                                          </p:val>
                                        </p:tav>
                                      </p:tavLst>
                                    </p:anim>
                                    <p:anim calcmode="lin" valueType="num">
                                      <p:cBhvr>
                                        <p:cTn id="44" dur="200" fill="hold"/>
                                        <p:tgtEl>
                                          <p:spTgt spid="70"/>
                                        </p:tgtEl>
                                        <p:attrNameLst>
                                          <p:attrName>ppt_h</p:attrName>
                                        </p:attrNameLst>
                                      </p:cBhvr>
                                      <p:tavLst>
                                        <p:tav tm="0">
                                          <p:val>
                                            <p:fltVal val="0"/>
                                          </p:val>
                                        </p:tav>
                                        <p:tav tm="100000">
                                          <p:val>
                                            <p:strVal val="#ppt_h"/>
                                          </p:val>
                                        </p:tav>
                                      </p:tavLst>
                                    </p:anim>
                                    <p:animEffect transition="in" filter="fade">
                                      <p:cBhvr>
                                        <p:cTn id="45" dur="200"/>
                                        <p:tgtEl>
                                          <p:spTgt spid="70"/>
                                        </p:tgtEl>
                                      </p:cBhvr>
                                    </p:animEffect>
                                  </p:childTnLst>
                                </p:cTn>
                              </p:par>
                            </p:childTnLst>
                          </p:cTn>
                        </p:par>
                        <p:par>
                          <p:cTn id="46" fill="hold">
                            <p:stCondLst>
                              <p:cond delay="1400"/>
                            </p:stCondLst>
                            <p:childTnLst>
                              <p:par>
                                <p:cTn id="47" presetID="53" presetClass="entr" presetSubtype="0" fill="hold" nodeType="afterEffect">
                                  <p:stCondLst>
                                    <p:cond delay="0"/>
                                  </p:stCondLst>
                                  <p:childTnLst>
                                    <p:set>
                                      <p:cBhvr>
                                        <p:cTn id="48" dur="1" fill="hold">
                                          <p:stCondLst>
                                            <p:cond delay="0"/>
                                          </p:stCondLst>
                                        </p:cTn>
                                        <p:tgtEl>
                                          <p:spTgt spid="76"/>
                                        </p:tgtEl>
                                        <p:attrNameLst>
                                          <p:attrName>style.visibility</p:attrName>
                                        </p:attrNameLst>
                                      </p:cBhvr>
                                      <p:to>
                                        <p:strVal val="visible"/>
                                      </p:to>
                                    </p:set>
                                    <p:anim calcmode="lin" valueType="num">
                                      <p:cBhvr>
                                        <p:cTn id="49" dur="200" fill="hold"/>
                                        <p:tgtEl>
                                          <p:spTgt spid="76"/>
                                        </p:tgtEl>
                                        <p:attrNameLst>
                                          <p:attrName>ppt_w</p:attrName>
                                        </p:attrNameLst>
                                      </p:cBhvr>
                                      <p:tavLst>
                                        <p:tav tm="0">
                                          <p:val>
                                            <p:fltVal val="0"/>
                                          </p:val>
                                        </p:tav>
                                        <p:tav tm="100000">
                                          <p:val>
                                            <p:strVal val="#ppt_w"/>
                                          </p:val>
                                        </p:tav>
                                      </p:tavLst>
                                    </p:anim>
                                    <p:anim calcmode="lin" valueType="num">
                                      <p:cBhvr>
                                        <p:cTn id="50" dur="200" fill="hold"/>
                                        <p:tgtEl>
                                          <p:spTgt spid="76"/>
                                        </p:tgtEl>
                                        <p:attrNameLst>
                                          <p:attrName>ppt_h</p:attrName>
                                        </p:attrNameLst>
                                      </p:cBhvr>
                                      <p:tavLst>
                                        <p:tav tm="0">
                                          <p:val>
                                            <p:fltVal val="0"/>
                                          </p:val>
                                        </p:tav>
                                        <p:tav tm="100000">
                                          <p:val>
                                            <p:strVal val="#ppt_h"/>
                                          </p:val>
                                        </p:tav>
                                      </p:tavLst>
                                    </p:anim>
                                    <p:animEffect transition="in" filter="fade">
                                      <p:cBhvr>
                                        <p:cTn id="51" dur="200"/>
                                        <p:tgtEl>
                                          <p:spTgt spid="76"/>
                                        </p:tgtEl>
                                      </p:cBhvr>
                                    </p:animEffect>
                                  </p:childTnLst>
                                </p:cTn>
                              </p:par>
                            </p:childTnLst>
                          </p:cTn>
                        </p:par>
                        <p:par>
                          <p:cTn id="52" fill="hold">
                            <p:stCondLst>
                              <p:cond delay="1600"/>
                            </p:stCondLst>
                            <p:childTnLst>
                              <p:par>
                                <p:cTn id="53" presetID="53" presetClass="entr" presetSubtype="0" fill="hold" nodeType="afterEffect">
                                  <p:stCondLst>
                                    <p:cond delay="0"/>
                                  </p:stCondLst>
                                  <p:childTnLst>
                                    <p:set>
                                      <p:cBhvr>
                                        <p:cTn id="54" dur="1" fill="hold">
                                          <p:stCondLst>
                                            <p:cond delay="0"/>
                                          </p:stCondLst>
                                        </p:cTn>
                                        <p:tgtEl>
                                          <p:spTgt spid="67"/>
                                        </p:tgtEl>
                                        <p:attrNameLst>
                                          <p:attrName>style.visibility</p:attrName>
                                        </p:attrNameLst>
                                      </p:cBhvr>
                                      <p:to>
                                        <p:strVal val="visible"/>
                                      </p:to>
                                    </p:set>
                                    <p:anim calcmode="lin" valueType="num">
                                      <p:cBhvr>
                                        <p:cTn id="55" dur="200" fill="hold"/>
                                        <p:tgtEl>
                                          <p:spTgt spid="67"/>
                                        </p:tgtEl>
                                        <p:attrNameLst>
                                          <p:attrName>ppt_w</p:attrName>
                                        </p:attrNameLst>
                                      </p:cBhvr>
                                      <p:tavLst>
                                        <p:tav tm="0">
                                          <p:val>
                                            <p:fltVal val="0"/>
                                          </p:val>
                                        </p:tav>
                                        <p:tav tm="100000">
                                          <p:val>
                                            <p:strVal val="#ppt_w"/>
                                          </p:val>
                                        </p:tav>
                                      </p:tavLst>
                                    </p:anim>
                                    <p:anim calcmode="lin" valueType="num">
                                      <p:cBhvr>
                                        <p:cTn id="56" dur="200" fill="hold"/>
                                        <p:tgtEl>
                                          <p:spTgt spid="67"/>
                                        </p:tgtEl>
                                        <p:attrNameLst>
                                          <p:attrName>ppt_h</p:attrName>
                                        </p:attrNameLst>
                                      </p:cBhvr>
                                      <p:tavLst>
                                        <p:tav tm="0">
                                          <p:val>
                                            <p:fltVal val="0"/>
                                          </p:val>
                                        </p:tav>
                                        <p:tav tm="100000">
                                          <p:val>
                                            <p:strVal val="#ppt_h"/>
                                          </p:val>
                                        </p:tav>
                                      </p:tavLst>
                                    </p:anim>
                                    <p:animEffect transition="in" filter="fade">
                                      <p:cBhvr>
                                        <p:cTn id="57" dur="200"/>
                                        <p:tgtEl>
                                          <p:spTgt spid="67"/>
                                        </p:tgtEl>
                                      </p:cBhvr>
                                    </p:animEffect>
                                  </p:childTnLst>
                                </p:cTn>
                              </p:par>
                            </p:childTnLst>
                          </p:cTn>
                        </p:par>
                        <p:par>
                          <p:cTn id="58" fill="hold">
                            <p:stCondLst>
                              <p:cond delay="1800"/>
                            </p:stCondLst>
                            <p:childTnLst>
                              <p:par>
                                <p:cTn id="59" presetID="53" presetClass="entr" presetSubtype="0" fill="hold" nodeType="afterEffect">
                                  <p:stCondLst>
                                    <p:cond delay="0"/>
                                  </p:stCondLst>
                                  <p:childTnLst>
                                    <p:set>
                                      <p:cBhvr>
                                        <p:cTn id="60" dur="1" fill="hold">
                                          <p:stCondLst>
                                            <p:cond delay="0"/>
                                          </p:stCondLst>
                                        </p:cTn>
                                        <p:tgtEl>
                                          <p:spTgt spid="28"/>
                                        </p:tgtEl>
                                        <p:attrNameLst>
                                          <p:attrName>style.visibility</p:attrName>
                                        </p:attrNameLst>
                                      </p:cBhvr>
                                      <p:to>
                                        <p:strVal val="visible"/>
                                      </p:to>
                                    </p:set>
                                    <p:anim calcmode="lin" valueType="num">
                                      <p:cBhvr>
                                        <p:cTn id="61" dur="200" fill="hold"/>
                                        <p:tgtEl>
                                          <p:spTgt spid="28"/>
                                        </p:tgtEl>
                                        <p:attrNameLst>
                                          <p:attrName>ppt_w</p:attrName>
                                        </p:attrNameLst>
                                      </p:cBhvr>
                                      <p:tavLst>
                                        <p:tav tm="0">
                                          <p:val>
                                            <p:fltVal val="0"/>
                                          </p:val>
                                        </p:tav>
                                        <p:tav tm="100000">
                                          <p:val>
                                            <p:strVal val="#ppt_w"/>
                                          </p:val>
                                        </p:tav>
                                      </p:tavLst>
                                    </p:anim>
                                    <p:anim calcmode="lin" valueType="num">
                                      <p:cBhvr>
                                        <p:cTn id="62" dur="200" fill="hold"/>
                                        <p:tgtEl>
                                          <p:spTgt spid="28"/>
                                        </p:tgtEl>
                                        <p:attrNameLst>
                                          <p:attrName>ppt_h</p:attrName>
                                        </p:attrNameLst>
                                      </p:cBhvr>
                                      <p:tavLst>
                                        <p:tav tm="0">
                                          <p:val>
                                            <p:fltVal val="0"/>
                                          </p:val>
                                        </p:tav>
                                        <p:tav tm="100000">
                                          <p:val>
                                            <p:strVal val="#ppt_h"/>
                                          </p:val>
                                        </p:tav>
                                      </p:tavLst>
                                    </p:anim>
                                    <p:animEffect transition="in" filter="fade">
                                      <p:cBhvr>
                                        <p:cTn id="63" dur="200"/>
                                        <p:tgtEl>
                                          <p:spTgt spid="28"/>
                                        </p:tgtEl>
                                      </p:cBhvr>
                                    </p:animEffect>
                                  </p:childTnLst>
                                </p:cTn>
                              </p:par>
                            </p:childTnLst>
                          </p:cTn>
                        </p:par>
                        <p:par>
                          <p:cTn id="64" fill="hold">
                            <p:stCondLst>
                              <p:cond delay="2000"/>
                            </p:stCondLst>
                            <p:childTnLst>
                              <p:par>
                                <p:cTn id="65" presetID="53" presetClass="entr" presetSubtype="0" fill="hold" nodeType="afterEffect">
                                  <p:stCondLst>
                                    <p:cond delay="0"/>
                                  </p:stCondLst>
                                  <p:childTnLst>
                                    <p:set>
                                      <p:cBhvr>
                                        <p:cTn id="66" dur="1" fill="hold">
                                          <p:stCondLst>
                                            <p:cond delay="0"/>
                                          </p:stCondLst>
                                        </p:cTn>
                                        <p:tgtEl>
                                          <p:spTgt spid="1027"/>
                                        </p:tgtEl>
                                        <p:attrNameLst>
                                          <p:attrName>style.visibility</p:attrName>
                                        </p:attrNameLst>
                                      </p:cBhvr>
                                      <p:to>
                                        <p:strVal val="visible"/>
                                      </p:to>
                                    </p:set>
                                    <p:anim calcmode="lin" valueType="num">
                                      <p:cBhvr>
                                        <p:cTn id="67" dur="200" fill="hold"/>
                                        <p:tgtEl>
                                          <p:spTgt spid="1027"/>
                                        </p:tgtEl>
                                        <p:attrNameLst>
                                          <p:attrName>ppt_w</p:attrName>
                                        </p:attrNameLst>
                                      </p:cBhvr>
                                      <p:tavLst>
                                        <p:tav tm="0">
                                          <p:val>
                                            <p:fltVal val="0"/>
                                          </p:val>
                                        </p:tav>
                                        <p:tav tm="100000">
                                          <p:val>
                                            <p:strVal val="#ppt_w"/>
                                          </p:val>
                                        </p:tav>
                                      </p:tavLst>
                                    </p:anim>
                                    <p:anim calcmode="lin" valueType="num">
                                      <p:cBhvr>
                                        <p:cTn id="68" dur="200" fill="hold"/>
                                        <p:tgtEl>
                                          <p:spTgt spid="1027"/>
                                        </p:tgtEl>
                                        <p:attrNameLst>
                                          <p:attrName>ppt_h</p:attrName>
                                        </p:attrNameLst>
                                      </p:cBhvr>
                                      <p:tavLst>
                                        <p:tav tm="0">
                                          <p:val>
                                            <p:fltVal val="0"/>
                                          </p:val>
                                        </p:tav>
                                        <p:tav tm="100000">
                                          <p:val>
                                            <p:strVal val="#ppt_h"/>
                                          </p:val>
                                        </p:tav>
                                      </p:tavLst>
                                    </p:anim>
                                    <p:animEffect transition="in" filter="fade">
                                      <p:cBhvr>
                                        <p:cTn id="69" dur="200"/>
                                        <p:tgtEl>
                                          <p:spTgt spid="1027"/>
                                        </p:tgtEl>
                                      </p:cBhvr>
                                    </p:animEffect>
                                  </p:childTnLst>
                                </p:cTn>
                              </p:par>
                            </p:childTnLst>
                          </p:cTn>
                        </p:par>
                        <p:par>
                          <p:cTn id="70" fill="hold">
                            <p:stCondLst>
                              <p:cond delay="2200"/>
                            </p:stCondLst>
                            <p:childTnLst>
                              <p:par>
                                <p:cTn id="71" presetID="53" presetClass="entr" presetSubtype="0" fill="hold" nodeType="afterEffect">
                                  <p:stCondLst>
                                    <p:cond delay="0"/>
                                  </p:stCondLst>
                                  <p:childTnLst>
                                    <p:set>
                                      <p:cBhvr>
                                        <p:cTn id="72" dur="1" fill="hold">
                                          <p:stCondLst>
                                            <p:cond delay="0"/>
                                          </p:stCondLst>
                                        </p:cTn>
                                        <p:tgtEl>
                                          <p:spTgt spid="1028"/>
                                        </p:tgtEl>
                                        <p:attrNameLst>
                                          <p:attrName>style.visibility</p:attrName>
                                        </p:attrNameLst>
                                      </p:cBhvr>
                                      <p:to>
                                        <p:strVal val="visible"/>
                                      </p:to>
                                    </p:set>
                                    <p:anim calcmode="lin" valueType="num">
                                      <p:cBhvr>
                                        <p:cTn id="73" dur="200" fill="hold"/>
                                        <p:tgtEl>
                                          <p:spTgt spid="1028"/>
                                        </p:tgtEl>
                                        <p:attrNameLst>
                                          <p:attrName>ppt_w</p:attrName>
                                        </p:attrNameLst>
                                      </p:cBhvr>
                                      <p:tavLst>
                                        <p:tav tm="0">
                                          <p:val>
                                            <p:fltVal val="0"/>
                                          </p:val>
                                        </p:tav>
                                        <p:tav tm="100000">
                                          <p:val>
                                            <p:strVal val="#ppt_w"/>
                                          </p:val>
                                        </p:tav>
                                      </p:tavLst>
                                    </p:anim>
                                    <p:anim calcmode="lin" valueType="num">
                                      <p:cBhvr>
                                        <p:cTn id="74" dur="200" fill="hold"/>
                                        <p:tgtEl>
                                          <p:spTgt spid="1028"/>
                                        </p:tgtEl>
                                        <p:attrNameLst>
                                          <p:attrName>ppt_h</p:attrName>
                                        </p:attrNameLst>
                                      </p:cBhvr>
                                      <p:tavLst>
                                        <p:tav tm="0">
                                          <p:val>
                                            <p:fltVal val="0"/>
                                          </p:val>
                                        </p:tav>
                                        <p:tav tm="100000">
                                          <p:val>
                                            <p:strVal val="#ppt_h"/>
                                          </p:val>
                                        </p:tav>
                                      </p:tavLst>
                                    </p:anim>
                                    <p:animEffect transition="in" filter="fade">
                                      <p:cBhvr>
                                        <p:cTn id="75" dur="200"/>
                                        <p:tgtEl>
                                          <p:spTgt spid="10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8" name="Group 87"/>
          <p:cNvGrpSpPr/>
          <p:nvPr/>
        </p:nvGrpSpPr>
        <p:grpSpPr>
          <a:xfrm>
            <a:off x="2274475" y="966846"/>
            <a:ext cx="5735544" cy="692497"/>
            <a:chOff x="3031844" y="1170370"/>
            <a:chExt cx="7645400" cy="923329"/>
          </a:xfrm>
        </p:grpSpPr>
        <p:grpSp>
          <p:nvGrpSpPr>
            <p:cNvPr id="20" name="Group 19"/>
            <p:cNvGrpSpPr/>
            <p:nvPr/>
          </p:nvGrpSpPr>
          <p:grpSpPr>
            <a:xfrm>
              <a:off x="3031844" y="1170370"/>
              <a:ext cx="7645400" cy="923329"/>
              <a:chOff x="2540230" y="5754872"/>
              <a:chExt cx="7645400" cy="923329"/>
            </a:xfrm>
          </p:grpSpPr>
          <p:sp>
            <p:nvSpPr>
              <p:cNvPr id="21" name="Rectangle 20"/>
              <p:cNvSpPr/>
              <p:nvPr/>
            </p:nvSpPr>
            <p:spPr bwMode="auto">
              <a:xfrm>
                <a:off x="2540230" y="6093147"/>
                <a:ext cx="6654800" cy="262467"/>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2" name="TextBox 21"/>
              <p:cNvSpPr txBox="1"/>
              <p:nvPr/>
            </p:nvSpPr>
            <p:spPr>
              <a:xfrm>
                <a:off x="9195029" y="5754872"/>
                <a:ext cx="990601" cy="923329"/>
              </a:xfrm>
              <a:prstGeom prst="rect">
                <a:avLst/>
              </a:prstGeom>
              <a:noFill/>
            </p:spPr>
            <p:txBody>
              <a:bodyPr wrap="square" lIns="0" tIns="0" rIns="0" bIns="0" rtlCol="0">
                <a:spAutoFit/>
              </a:bodyPr>
              <a:lstStyle/>
              <a:p>
                <a:pPr algn="ctr" defTabSz="914134">
                  <a:lnSpc>
                    <a:spcPct val="90000"/>
                  </a:lnSpc>
                  <a:spcBef>
                    <a:spcPct val="20000"/>
                  </a:spcBef>
                  <a:buSzPct val="80000"/>
                </a:pPr>
                <a:r>
                  <a:rPr lang="en-US" sz="5000" dirty="0">
                    <a:solidFill>
                      <a:srgbClr val="FFFFFF"/>
                    </a:solidFill>
                    <a:latin typeface="Segoe UI Light" pitchFamily="34" charset="0"/>
                  </a:rPr>
                  <a:t>1</a:t>
                </a:r>
              </a:p>
            </p:txBody>
          </p:sp>
          <p:sp>
            <p:nvSpPr>
              <p:cNvPr id="23" name="Rectangle 22"/>
              <p:cNvSpPr/>
              <p:nvPr/>
            </p:nvSpPr>
            <p:spPr bwMode="auto">
              <a:xfrm>
                <a:off x="2543998" y="6093146"/>
                <a:ext cx="805871" cy="26246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grpSp>
        <p:sp>
          <p:nvSpPr>
            <p:cNvPr id="24" name="Rectangle 23"/>
            <p:cNvSpPr/>
            <p:nvPr/>
          </p:nvSpPr>
          <p:spPr bwMode="auto">
            <a:xfrm>
              <a:off x="3706190" y="1363080"/>
              <a:ext cx="135293" cy="52867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67" name="Group 66"/>
          <p:cNvGrpSpPr/>
          <p:nvPr/>
        </p:nvGrpSpPr>
        <p:grpSpPr>
          <a:xfrm>
            <a:off x="-1" y="4295830"/>
            <a:ext cx="9144001" cy="784722"/>
            <a:chOff x="-5012461" y="5194194"/>
            <a:chExt cx="16033937" cy="1376362"/>
          </a:xfrm>
        </p:grpSpPr>
        <p:pic>
          <p:nvPicPr>
            <p:cNvPr id="68" name="Picture 2" descr="C:\Users\jonahs\Documents\Dropbox\Projects SCOTT\Azure Deck\Source Images\server-blu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25557" y="5194194"/>
              <a:ext cx="3186112" cy="1376362"/>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2" descr="C:\Users\jonahs\Documents\Dropbox\Projects SCOTT\Azure Deck\Source Images\server-blu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49907" y="5194194"/>
              <a:ext cx="3186112" cy="1376362"/>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2" descr="C:\Users\jonahs\Documents\Dropbox\Projects SCOTT\Azure Deck\Source Images\server-blu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5744" y="5194194"/>
              <a:ext cx="3186112" cy="1376362"/>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2" descr="C:\Users\jonahs\Documents\Dropbox\Projects SCOTT\Azure Deck\Source Images\server-blue.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043"/>
            <a:stretch/>
          </p:blipFill>
          <p:spPr bwMode="auto">
            <a:xfrm>
              <a:off x="-3534589" y="5194194"/>
              <a:ext cx="3219309" cy="1376362"/>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2" descr="C:\Users\jonahs\Documents\Dropbox\Projects SCOTT\Azure Deck\Source Images\server-blue.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54571"/>
            <a:stretch/>
          </p:blipFill>
          <p:spPr bwMode="auto">
            <a:xfrm>
              <a:off x="-5012461" y="5194194"/>
              <a:ext cx="1447407" cy="1376362"/>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2" descr="C:\Users\jonahs\Documents\Dropbox\Projects SCOTT\Azure Deck\Source Images\server-blue.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521" r="55012"/>
            <a:stretch/>
          </p:blipFill>
          <p:spPr bwMode="auto">
            <a:xfrm>
              <a:off x="9571520" y="5194194"/>
              <a:ext cx="1449956" cy="137636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p:cNvGrpSpPr/>
          <p:nvPr/>
        </p:nvGrpSpPr>
        <p:grpSpPr>
          <a:xfrm>
            <a:off x="-1" y="1"/>
            <a:ext cx="9144001" cy="737426"/>
            <a:chOff x="-1" y="0"/>
            <a:chExt cx="12188826" cy="983234"/>
          </a:xfrm>
        </p:grpSpPr>
        <p:grpSp>
          <p:nvGrpSpPr>
            <p:cNvPr id="13" name="Group 12"/>
            <p:cNvGrpSpPr/>
            <p:nvPr/>
          </p:nvGrpSpPr>
          <p:grpSpPr>
            <a:xfrm>
              <a:off x="-1" y="0"/>
              <a:ext cx="12180802" cy="983234"/>
              <a:chOff x="-1" y="0"/>
              <a:chExt cx="12180802" cy="983234"/>
            </a:xfrm>
          </p:grpSpPr>
          <p:sp>
            <p:nvSpPr>
              <p:cNvPr id="11" name="Rectangle 10"/>
              <p:cNvSpPr/>
              <p:nvPr/>
            </p:nvSpPr>
            <p:spPr bwMode="auto">
              <a:xfrm>
                <a:off x="-1" y="0"/>
                <a:ext cx="6772189"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2" name="Rectangle 11"/>
              <p:cNvSpPr/>
              <p:nvPr/>
            </p:nvSpPr>
            <p:spPr bwMode="auto">
              <a:xfrm>
                <a:off x="6258296" y="0"/>
                <a:ext cx="2360742" cy="3000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1" name="Rectangle 110"/>
              <p:cNvSpPr/>
              <p:nvPr/>
            </p:nvSpPr>
            <p:spPr bwMode="auto">
              <a:xfrm>
                <a:off x="8573718" y="0"/>
                <a:ext cx="3607083"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grpSp>
        <p:sp>
          <p:nvSpPr>
            <p:cNvPr id="2" name="Title 1"/>
            <p:cNvSpPr txBox="1">
              <a:spLocks/>
            </p:cNvSpPr>
            <p:nvPr/>
          </p:nvSpPr>
          <p:spPr>
            <a:xfrm>
              <a:off x="302613" y="238129"/>
              <a:ext cx="3060020" cy="6647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816674" algn="l"/>
                </a:tabLst>
              </a:pPr>
              <a:r>
                <a:rPr sz="3600" dirty="0">
                  <a:solidFill>
                    <a:srgbClr val="FFFFFF"/>
                  </a:solidFill>
                </a:rPr>
                <a:t>web sites </a:t>
              </a:r>
            </a:p>
          </p:txBody>
        </p:sp>
        <p:grpSp>
          <p:nvGrpSpPr>
            <p:cNvPr id="73" name="Group 72"/>
            <p:cNvGrpSpPr/>
            <p:nvPr/>
          </p:nvGrpSpPr>
          <p:grpSpPr>
            <a:xfrm>
              <a:off x="0" y="300008"/>
              <a:ext cx="12188825" cy="683226"/>
              <a:chOff x="0" y="300008"/>
              <a:chExt cx="12188825" cy="683226"/>
            </a:xfrm>
          </p:grpSpPr>
          <p:sp>
            <p:nvSpPr>
              <p:cNvPr id="74" name="Title 1"/>
              <p:cNvSpPr txBox="1">
                <a:spLocks/>
              </p:cNvSpPr>
              <p:nvPr/>
            </p:nvSpPr>
            <p:spPr>
              <a:xfrm>
                <a:off x="6866207" y="473075"/>
                <a:ext cx="1589530"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816674" algn="l"/>
                  </a:tabLst>
                </a:pPr>
                <a:r>
                  <a:rPr sz="2400" dirty="0">
                    <a:solidFill>
                      <a:srgbClr val="00AEEF"/>
                    </a:solidFill>
                  </a:rPr>
                  <a:t>shared</a:t>
                </a:r>
              </a:p>
            </p:txBody>
          </p:sp>
          <p:sp>
            <p:nvSpPr>
              <p:cNvPr id="75" name="Title 1"/>
              <p:cNvSpPr txBox="1">
                <a:spLocks/>
              </p:cNvSpPr>
              <p:nvPr/>
            </p:nvSpPr>
            <p:spPr>
              <a:xfrm>
                <a:off x="8681891" y="453411"/>
                <a:ext cx="1838633"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816674" algn="l"/>
                  </a:tabLst>
                </a:pPr>
                <a:r>
                  <a:rPr sz="2400" dirty="0">
                    <a:solidFill>
                      <a:srgbClr val="FFFFFF"/>
                    </a:solidFill>
                  </a:rPr>
                  <a:t>reserved</a:t>
                </a:r>
              </a:p>
            </p:txBody>
          </p:sp>
          <p:cxnSp>
            <p:nvCxnSpPr>
              <p:cNvPr id="76" name="Straight Connector 75"/>
              <p:cNvCxnSpPr/>
              <p:nvPr/>
            </p:nvCxnSpPr>
            <p:spPr>
              <a:xfrm flipV="1">
                <a:off x="6772188" y="300008"/>
                <a:ext cx="0" cy="683226"/>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6772188" y="300008"/>
                <a:ext cx="1801530"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8573718" y="300008"/>
                <a:ext cx="0" cy="683225"/>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8573718" y="983233"/>
                <a:ext cx="3615107"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0" y="983233"/>
                <a:ext cx="6770962"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grpSp>
      </p:grpSp>
      <p:grpSp>
        <p:nvGrpSpPr>
          <p:cNvPr id="7" name="Group 6"/>
          <p:cNvGrpSpPr/>
          <p:nvPr/>
        </p:nvGrpSpPr>
        <p:grpSpPr>
          <a:xfrm>
            <a:off x="-219371" y="1192461"/>
            <a:ext cx="4933603" cy="3518428"/>
            <a:chOff x="-292420" y="1589948"/>
            <a:chExt cx="6576424" cy="4691237"/>
          </a:xfrm>
        </p:grpSpPr>
        <p:sp>
          <p:nvSpPr>
            <p:cNvPr id="108" name="Isosceles Triangle 107"/>
            <p:cNvSpPr/>
            <p:nvPr/>
          </p:nvSpPr>
          <p:spPr bwMode="auto">
            <a:xfrm rot="9464752">
              <a:off x="-292420" y="1589948"/>
              <a:ext cx="6576424" cy="4691237"/>
            </a:xfrm>
            <a:custGeom>
              <a:avLst/>
              <a:gdLst/>
              <a:ahLst/>
              <a:cxnLst/>
              <a:rect l="l" t="t" r="r" b="b"/>
              <a:pathLst>
                <a:path w="6576424" h="4691237">
                  <a:moveTo>
                    <a:pt x="5581454" y="4691237"/>
                  </a:moveTo>
                  <a:lnTo>
                    <a:pt x="83737" y="2441599"/>
                  </a:lnTo>
                  <a:cubicBezTo>
                    <a:pt x="14874" y="2413420"/>
                    <a:pt x="-18108" y="2334752"/>
                    <a:pt x="10070" y="2265888"/>
                  </a:cubicBezTo>
                  <a:lnTo>
                    <a:pt x="902996" y="83737"/>
                  </a:lnTo>
                  <a:cubicBezTo>
                    <a:pt x="931175" y="14873"/>
                    <a:pt x="1009843" y="-18109"/>
                    <a:pt x="1078707" y="10070"/>
                  </a:cubicBezTo>
                  <a:lnTo>
                    <a:pt x="2496672" y="590294"/>
                  </a:lnTo>
                  <a:lnTo>
                    <a:pt x="2618177" y="296621"/>
                  </a:lnTo>
                  <a:lnTo>
                    <a:pt x="2789208" y="709998"/>
                  </a:lnTo>
                  <a:lnTo>
                    <a:pt x="4875474" y="1563688"/>
                  </a:lnTo>
                  <a:lnTo>
                    <a:pt x="4996979" y="1270015"/>
                  </a:lnTo>
                  <a:lnTo>
                    <a:pt x="5168010" y="1683393"/>
                  </a:lnTo>
                  <a:lnTo>
                    <a:pt x="6576424" y="2259708"/>
                  </a:lnTo>
                  <a:close/>
                </a:path>
              </a:pathLst>
            </a:custGeom>
            <a:solidFill>
              <a:srgbClr val="FFFFFF">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10" name="Group 9"/>
            <p:cNvGrpSpPr/>
            <p:nvPr/>
          </p:nvGrpSpPr>
          <p:grpSpPr>
            <a:xfrm>
              <a:off x="-1" y="2752725"/>
              <a:ext cx="6059952" cy="2330247"/>
              <a:chOff x="-1" y="2752725"/>
              <a:chExt cx="6059952" cy="2330247"/>
            </a:xfrm>
          </p:grpSpPr>
          <p:grpSp>
            <p:nvGrpSpPr>
              <p:cNvPr id="96" name="Group 95"/>
              <p:cNvGrpSpPr/>
              <p:nvPr/>
            </p:nvGrpSpPr>
            <p:grpSpPr>
              <a:xfrm>
                <a:off x="5683855" y="3073496"/>
                <a:ext cx="376096" cy="631077"/>
                <a:chOff x="2146300" y="552450"/>
                <a:chExt cx="3428608" cy="5753100"/>
              </a:xfrm>
            </p:grpSpPr>
            <p:pic>
              <p:nvPicPr>
                <p:cNvPr id="103" name="Picture 102"/>
                <p:cNvPicPr>
                  <a:picLocks noChangeAspect="1"/>
                </p:cNvPicPr>
                <p:nvPr/>
              </p:nvPicPr>
              <p:blipFill rotWithShape="1">
                <a:blip r:embed="rId4" cstate="print">
                  <a:extLst>
                    <a:ext uri="{28A0092B-C50C-407E-A947-70E740481C1C}">
                      <a14:useLocalDpi xmlns:a14="http://schemas.microsoft.com/office/drawing/2010/main" val="0"/>
                    </a:ext>
                  </a:extLst>
                </a:blip>
                <a:srcRect r="56579"/>
                <a:stretch/>
              </p:blipFill>
              <p:spPr>
                <a:xfrm>
                  <a:off x="2146300" y="552450"/>
                  <a:ext cx="3428607" cy="5753100"/>
                </a:xfrm>
                <a:prstGeom prst="rect">
                  <a:avLst/>
                </a:prstGeom>
              </p:spPr>
            </p:pic>
            <p:sp>
              <p:nvSpPr>
                <p:cNvPr id="104" name="Rectangle 103"/>
                <p:cNvSpPr/>
                <p:nvPr/>
              </p:nvSpPr>
              <p:spPr bwMode="auto">
                <a:xfrm>
                  <a:off x="2271253" y="1651094"/>
                  <a:ext cx="3303655" cy="448423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97" name="Group 96"/>
              <p:cNvGrpSpPr/>
              <p:nvPr/>
            </p:nvGrpSpPr>
            <p:grpSpPr>
              <a:xfrm>
                <a:off x="5683855" y="3762695"/>
                <a:ext cx="376096" cy="631077"/>
                <a:chOff x="2146300" y="552450"/>
                <a:chExt cx="3428608" cy="5753100"/>
              </a:xfrm>
            </p:grpSpPr>
            <p:pic>
              <p:nvPicPr>
                <p:cNvPr id="101" name="Picture 100"/>
                <p:cNvPicPr>
                  <a:picLocks noChangeAspect="1"/>
                </p:cNvPicPr>
                <p:nvPr/>
              </p:nvPicPr>
              <p:blipFill rotWithShape="1">
                <a:blip r:embed="rId4" cstate="print">
                  <a:extLst>
                    <a:ext uri="{28A0092B-C50C-407E-A947-70E740481C1C}">
                      <a14:useLocalDpi xmlns:a14="http://schemas.microsoft.com/office/drawing/2010/main" val="0"/>
                    </a:ext>
                  </a:extLst>
                </a:blip>
                <a:srcRect r="56579"/>
                <a:stretch/>
              </p:blipFill>
              <p:spPr>
                <a:xfrm>
                  <a:off x="2146300" y="552450"/>
                  <a:ext cx="3428607" cy="5753100"/>
                </a:xfrm>
                <a:prstGeom prst="rect">
                  <a:avLst/>
                </a:prstGeom>
              </p:spPr>
            </p:pic>
            <p:sp>
              <p:nvSpPr>
                <p:cNvPr id="102" name="Rectangle 101"/>
                <p:cNvSpPr/>
                <p:nvPr/>
              </p:nvSpPr>
              <p:spPr bwMode="auto">
                <a:xfrm>
                  <a:off x="2271253" y="1651094"/>
                  <a:ext cx="3303655" cy="4484231"/>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98" name="Group 97"/>
              <p:cNvGrpSpPr/>
              <p:nvPr/>
            </p:nvGrpSpPr>
            <p:grpSpPr>
              <a:xfrm>
                <a:off x="5683855" y="4451895"/>
                <a:ext cx="376096" cy="631077"/>
                <a:chOff x="2146300" y="552450"/>
                <a:chExt cx="3428608" cy="5753100"/>
              </a:xfrm>
            </p:grpSpPr>
            <p:pic>
              <p:nvPicPr>
                <p:cNvPr id="99" name="Picture 98"/>
                <p:cNvPicPr>
                  <a:picLocks noChangeAspect="1"/>
                </p:cNvPicPr>
                <p:nvPr/>
              </p:nvPicPr>
              <p:blipFill rotWithShape="1">
                <a:blip r:embed="rId4" cstate="print">
                  <a:extLst>
                    <a:ext uri="{28A0092B-C50C-407E-A947-70E740481C1C}">
                      <a14:useLocalDpi xmlns:a14="http://schemas.microsoft.com/office/drawing/2010/main" val="0"/>
                    </a:ext>
                  </a:extLst>
                </a:blip>
                <a:srcRect r="56579"/>
                <a:stretch/>
              </p:blipFill>
              <p:spPr>
                <a:xfrm>
                  <a:off x="2146300" y="552450"/>
                  <a:ext cx="3428607" cy="5753100"/>
                </a:xfrm>
                <a:prstGeom prst="rect">
                  <a:avLst/>
                </a:prstGeom>
              </p:spPr>
            </p:pic>
            <p:sp>
              <p:nvSpPr>
                <p:cNvPr id="100" name="Rectangle 99"/>
                <p:cNvSpPr/>
                <p:nvPr/>
              </p:nvSpPr>
              <p:spPr bwMode="auto">
                <a:xfrm>
                  <a:off x="2271253" y="1651094"/>
                  <a:ext cx="3303655" cy="4484231"/>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grpSp>
          <p:sp>
            <p:nvSpPr>
              <p:cNvPr id="120" name="TextBox 119"/>
              <p:cNvSpPr txBox="1"/>
              <p:nvPr/>
            </p:nvSpPr>
            <p:spPr>
              <a:xfrm>
                <a:off x="227012" y="2752725"/>
                <a:ext cx="2757145" cy="221599"/>
              </a:xfrm>
              <a:prstGeom prst="rect">
                <a:avLst/>
              </a:prstGeom>
              <a:noFill/>
            </p:spPr>
            <p:txBody>
              <a:bodyPr wrap="square" lIns="0" tIns="0" rIns="0" bIns="0" rtlCol="0">
                <a:spAutoFit/>
              </a:bodyPr>
              <a:lstStyle/>
              <a:p>
                <a:pPr defTabSz="914134">
                  <a:lnSpc>
                    <a:spcPct val="90000"/>
                  </a:lnSpc>
                  <a:spcBef>
                    <a:spcPct val="20000"/>
                  </a:spcBef>
                  <a:buSzPct val="80000"/>
                </a:pPr>
                <a:r>
                  <a:rPr lang="en-US" sz="1200" b="1" cap="all" dirty="0">
                    <a:solidFill>
                      <a:srgbClr val="FFFFFF"/>
                    </a:solidFill>
                  </a:rPr>
                  <a:t>Shared </a:t>
                </a:r>
                <a:r>
                  <a:rPr lang="en-US" sz="1200" b="1" cap="all" dirty="0" err="1">
                    <a:solidFill>
                      <a:srgbClr val="FFFFFF"/>
                    </a:solidFill>
                  </a:rPr>
                  <a:t>instanceS</a:t>
                </a:r>
                <a:endParaRPr lang="en-US" sz="1200" b="1" cap="all" dirty="0">
                  <a:solidFill>
                    <a:srgbClr val="FFFFFF"/>
                  </a:solidFill>
                </a:endParaRPr>
              </a:p>
            </p:txBody>
          </p:sp>
          <p:grpSp>
            <p:nvGrpSpPr>
              <p:cNvPr id="151" name="Group 150"/>
              <p:cNvGrpSpPr/>
              <p:nvPr/>
            </p:nvGrpSpPr>
            <p:grpSpPr>
              <a:xfrm>
                <a:off x="4721992" y="3073496"/>
                <a:ext cx="866164" cy="631077"/>
                <a:chOff x="2146300" y="552450"/>
                <a:chExt cx="7896225" cy="5753100"/>
              </a:xfrm>
            </p:grpSpPr>
            <p:pic>
              <p:nvPicPr>
                <p:cNvPr id="152" name="Picture 15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53" name="Rectangle 152"/>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154" name="Group 153"/>
              <p:cNvGrpSpPr/>
              <p:nvPr/>
            </p:nvGrpSpPr>
            <p:grpSpPr>
              <a:xfrm>
                <a:off x="4721992" y="3762695"/>
                <a:ext cx="866164" cy="631077"/>
                <a:chOff x="2146300" y="552450"/>
                <a:chExt cx="7896225" cy="5753100"/>
              </a:xfrm>
            </p:grpSpPr>
            <p:pic>
              <p:nvPicPr>
                <p:cNvPr id="155" name="Picture 15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56" name="Rectangle 15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157" name="Group 156"/>
              <p:cNvGrpSpPr/>
              <p:nvPr/>
            </p:nvGrpSpPr>
            <p:grpSpPr>
              <a:xfrm>
                <a:off x="4721992" y="4451895"/>
                <a:ext cx="866164" cy="631077"/>
                <a:chOff x="2146300" y="552450"/>
                <a:chExt cx="7896225" cy="5753100"/>
              </a:xfrm>
            </p:grpSpPr>
            <p:pic>
              <p:nvPicPr>
                <p:cNvPr id="158" name="Picture 15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59" name="Rectangle 158"/>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162" name="Group 161"/>
              <p:cNvGrpSpPr/>
              <p:nvPr/>
            </p:nvGrpSpPr>
            <p:grpSpPr>
              <a:xfrm>
                <a:off x="3760131" y="3073496"/>
                <a:ext cx="866164" cy="631077"/>
                <a:chOff x="2146300" y="552450"/>
                <a:chExt cx="7896225" cy="5753100"/>
              </a:xfrm>
            </p:grpSpPr>
            <p:pic>
              <p:nvPicPr>
                <p:cNvPr id="169" name="Picture 16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70" name="Rectangle 169"/>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163" name="Group 162"/>
              <p:cNvGrpSpPr/>
              <p:nvPr/>
            </p:nvGrpSpPr>
            <p:grpSpPr>
              <a:xfrm>
                <a:off x="3760131" y="3762695"/>
                <a:ext cx="866164" cy="631077"/>
                <a:chOff x="2146300" y="552450"/>
                <a:chExt cx="7896225" cy="5753100"/>
              </a:xfrm>
            </p:grpSpPr>
            <p:pic>
              <p:nvPicPr>
                <p:cNvPr id="167" name="Picture 16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68" name="Rectangle 167"/>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164" name="Group 163"/>
              <p:cNvGrpSpPr/>
              <p:nvPr/>
            </p:nvGrpSpPr>
            <p:grpSpPr>
              <a:xfrm>
                <a:off x="3760131" y="4451895"/>
                <a:ext cx="866164" cy="631077"/>
                <a:chOff x="2146300" y="552450"/>
                <a:chExt cx="7896225" cy="5753100"/>
              </a:xfrm>
            </p:grpSpPr>
            <p:pic>
              <p:nvPicPr>
                <p:cNvPr id="165" name="Picture 16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66" name="Rectangle 16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172" name="Group 171"/>
              <p:cNvGrpSpPr/>
              <p:nvPr/>
            </p:nvGrpSpPr>
            <p:grpSpPr>
              <a:xfrm>
                <a:off x="2798270" y="3073496"/>
                <a:ext cx="866164" cy="631077"/>
                <a:chOff x="2146300" y="552450"/>
                <a:chExt cx="7896225" cy="5753100"/>
              </a:xfrm>
            </p:grpSpPr>
            <p:pic>
              <p:nvPicPr>
                <p:cNvPr id="179" name="Picture 17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80" name="Rectangle 179"/>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173" name="Group 172"/>
              <p:cNvGrpSpPr/>
              <p:nvPr/>
            </p:nvGrpSpPr>
            <p:grpSpPr>
              <a:xfrm>
                <a:off x="2798270" y="3762695"/>
                <a:ext cx="866164" cy="631077"/>
                <a:chOff x="2146300" y="552450"/>
                <a:chExt cx="7896225" cy="5753100"/>
              </a:xfrm>
            </p:grpSpPr>
            <p:pic>
              <p:nvPicPr>
                <p:cNvPr id="177" name="Picture 17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78" name="Rectangle 177"/>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174" name="Group 173"/>
              <p:cNvGrpSpPr/>
              <p:nvPr/>
            </p:nvGrpSpPr>
            <p:grpSpPr>
              <a:xfrm>
                <a:off x="2798270" y="4451895"/>
                <a:ext cx="866164" cy="631077"/>
                <a:chOff x="2146300" y="552450"/>
                <a:chExt cx="7896225" cy="5753100"/>
              </a:xfrm>
            </p:grpSpPr>
            <p:pic>
              <p:nvPicPr>
                <p:cNvPr id="175" name="Picture 17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76" name="Rectangle 17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182" name="Group 181"/>
              <p:cNvGrpSpPr/>
              <p:nvPr/>
            </p:nvGrpSpPr>
            <p:grpSpPr>
              <a:xfrm>
                <a:off x="1836409" y="3073496"/>
                <a:ext cx="866164" cy="631077"/>
                <a:chOff x="2146300" y="552450"/>
                <a:chExt cx="7896225" cy="5753100"/>
              </a:xfrm>
            </p:grpSpPr>
            <p:pic>
              <p:nvPicPr>
                <p:cNvPr id="189" name="Picture 18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190" name="Rectangle 189"/>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183" name="Group 182"/>
              <p:cNvGrpSpPr/>
              <p:nvPr/>
            </p:nvGrpSpPr>
            <p:grpSpPr>
              <a:xfrm>
                <a:off x="1836409" y="3762695"/>
                <a:ext cx="866164" cy="631077"/>
                <a:chOff x="2146300" y="552450"/>
                <a:chExt cx="7896225" cy="5753100"/>
              </a:xfrm>
            </p:grpSpPr>
            <p:pic>
              <p:nvPicPr>
                <p:cNvPr id="187" name="Picture 18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188" name="Rectangle 187"/>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184" name="Group 183"/>
              <p:cNvGrpSpPr/>
              <p:nvPr/>
            </p:nvGrpSpPr>
            <p:grpSpPr>
              <a:xfrm>
                <a:off x="1836409" y="4451895"/>
                <a:ext cx="866164" cy="631077"/>
                <a:chOff x="2146300" y="552450"/>
                <a:chExt cx="7896225" cy="5753100"/>
              </a:xfrm>
            </p:grpSpPr>
            <p:pic>
              <p:nvPicPr>
                <p:cNvPr id="185" name="Picture 18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186" name="Rectangle 185"/>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192" name="Group 191"/>
              <p:cNvGrpSpPr/>
              <p:nvPr/>
            </p:nvGrpSpPr>
            <p:grpSpPr>
              <a:xfrm>
                <a:off x="874548" y="3073496"/>
                <a:ext cx="866164" cy="631077"/>
                <a:chOff x="2146300" y="552450"/>
                <a:chExt cx="7896225" cy="5753100"/>
              </a:xfrm>
            </p:grpSpPr>
            <p:pic>
              <p:nvPicPr>
                <p:cNvPr id="199" name="Picture 19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00" name="Rectangle 199"/>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193" name="Group 192"/>
              <p:cNvGrpSpPr/>
              <p:nvPr/>
            </p:nvGrpSpPr>
            <p:grpSpPr>
              <a:xfrm>
                <a:off x="874548" y="3762695"/>
                <a:ext cx="866164" cy="631077"/>
                <a:chOff x="2146300" y="552450"/>
                <a:chExt cx="7896225" cy="5753100"/>
              </a:xfrm>
            </p:grpSpPr>
            <p:pic>
              <p:nvPicPr>
                <p:cNvPr id="197" name="Picture 19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98" name="Rectangle 197"/>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194" name="Group 193"/>
              <p:cNvGrpSpPr/>
              <p:nvPr/>
            </p:nvGrpSpPr>
            <p:grpSpPr>
              <a:xfrm>
                <a:off x="874548" y="4451895"/>
                <a:ext cx="866164" cy="631077"/>
                <a:chOff x="2146300" y="552450"/>
                <a:chExt cx="7896225" cy="5753100"/>
              </a:xfrm>
            </p:grpSpPr>
            <p:pic>
              <p:nvPicPr>
                <p:cNvPr id="195" name="Picture 19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96" name="Rectangle 19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202" name="Group 201"/>
              <p:cNvGrpSpPr/>
              <p:nvPr/>
            </p:nvGrpSpPr>
            <p:grpSpPr>
              <a:xfrm>
                <a:off x="-1" y="3073496"/>
                <a:ext cx="778852" cy="631077"/>
                <a:chOff x="2942264" y="552450"/>
                <a:chExt cx="7100261" cy="5753100"/>
              </a:xfrm>
            </p:grpSpPr>
            <p:pic>
              <p:nvPicPr>
                <p:cNvPr id="209" name="Picture 208"/>
                <p:cNvPicPr>
                  <a:picLocks noChangeAspect="1"/>
                </p:cNvPicPr>
                <p:nvPr/>
              </p:nvPicPr>
              <p:blipFill rotWithShape="1">
                <a:blip r:embed="rId4" cstate="print">
                  <a:extLst>
                    <a:ext uri="{28A0092B-C50C-407E-A947-70E740481C1C}">
                      <a14:useLocalDpi xmlns:a14="http://schemas.microsoft.com/office/drawing/2010/main" val="0"/>
                    </a:ext>
                  </a:extLst>
                </a:blip>
                <a:srcRect l="10080"/>
                <a:stretch/>
              </p:blipFill>
              <p:spPr>
                <a:xfrm>
                  <a:off x="2942264" y="552450"/>
                  <a:ext cx="7100261" cy="5753100"/>
                </a:xfrm>
                <a:prstGeom prst="rect">
                  <a:avLst/>
                </a:prstGeom>
              </p:spPr>
            </p:pic>
            <p:sp>
              <p:nvSpPr>
                <p:cNvPr id="210" name="Rectangle 209"/>
                <p:cNvSpPr/>
                <p:nvPr/>
              </p:nvSpPr>
              <p:spPr bwMode="auto">
                <a:xfrm>
                  <a:off x="2942266" y="1651094"/>
                  <a:ext cx="6988310" cy="4484236"/>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203" name="Group 202"/>
              <p:cNvGrpSpPr/>
              <p:nvPr/>
            </p:nvGrpSpPr>
            <p:grpSpPr>
              <a:xfrm>
                <a:off x="-1" y="3762695"/>
                <a:ext cx="778852" cy="631077"/>
                <a:chOff x="2942264" y="552450"/>
                <a:chExt cx="7100261" cy="5753100"/>
              </a:xfrm>
            </p:grpSpPr>
            <p:pic>
              <p:nvPicPr>
                <p:cNvPr id="207" name="Picture 206"/>
                <p:cNvPicPr>
                  <a:picLocks noChangeAspect="1"/>
                </p:cNvPicPr>
                <p:nvPr/>
              </p:nvPicPr>
              <p:blipFill rotWithShape="1">
                <a:blip r:embed="rId4" cstate="print">
                  <a:extLst>
                    <a:ext uri="{28A0092B-C50C-407E-A947-70E740481C1C}">
                      <a14:useLocalDpi xmlns:a14="http://schemas.microsoft.com/office/drawing/2010/main" val="0"/>
                    </a:ext>
                  </a:extLst>
                </a:blip>
                <a:srcRect l="10080"/>
                <a:stretch/>
              </p:blipFill>
              <p:spPr>
                <a:xfrm>
                  <a:off x="2942264" y="552450"/>
                  <a:ext cx="7100261" cy="5753100"/>
                </a:xfrm>
                <a:prstGeom prst="rect">
                  <a:avLst/>
                </a:prstGeom>
              </p:spPr>
            </p:pic>
            <p:sp>
              <p:nvSpPr>
                <p:cNvPr id="208" name="Rectangle 207"/>
                <p:cNvSpPr/>
                <p:nvPr/>
              </p:nvSpPr>
              <p:spPr bwMode="auto">
                <a:xfrm>
                  <a:off x="2942266" y="1651094"/>
                  <a:ext cx="6988301" cy="4484236"/>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204" name="Group 203"/>
              <p:cNvGrpSpPr/>
              <p:nvPr/>
            </p:nvGrpSpPr>
            <p:grpSpPr>
              <a:xfrm>
                <a:off x="-1" y="4451895"/>
                <a:ext cx="778852" cy="631077"/>
                <a:chOff x="2942264" y="552450"/>
                <a:chExt cx="7100261" cy="5753100"/>
              </a:xfrm>
            </p:grpSpPr>
            <p:pic>
              <p:nvPicPr>
                <p:cNvPr id="205" name="Picture 204"/>
                <p:cNvPicPr>
                  <a:picLocks noChangeAspect="1"/>
                </p:cNvPicPr>
                <p:nvPr/>
              </p:nvPicPr>
              <p:blipFill rotWithShape="1">
                <a:blip r:embed="rId4" cstate="print">
                  <a:extLst>
                    <a:ext uri="{28A0092B-C50C-407E-A947-70E740481C1C}">
                      <a14:useLocalDpi xmlns:a14="http://schemas.microsoft.com/office/drawing/2010/main" val="0"/>
                    </a:ext>
                  </a:extLst>
                </a:blip>
                <a:srcRect l="10080"/>
                <a:stretch/>
              </p:blipFill>
              <p:spPr>
                <a:xfrm>
                  <a:off x="2942264" y="552450"/>
                  <a:ext cx="7100261" cy="5753100"/>
                </a:xfrm>
                <a:prstGeom prst="rect">
                  <a:avLst/>
                </a:prstGeom>
              </p:spPr>
            </p:pic>
            <p:sp>
              <p:nvSpPr>
                <p:cNvPr id="206" name="Rectangle 205"/>
                <p:cNvSpPr/>
                <p:nvPr/>
              </p:nvSpPr>
              <p:spPr bwMode="auto">
                <a:xfrm>
                  <a:off x="2942266" y="1651094"/>
                  <a:ext cx="6988310" cy="4484236"/>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212" name="Group 211"/>
              <p:cNvGrpSpPr/>
              <p:nvPr/>
            </p:nvGrpSpPr>
            <p:grpSpPr>
              <a:xfrm>
                <a:off x="3766901" y="3074226"/>
                <a:ext cx="866164" cy="631077"/>
                <a:chOff x="2146303" y="552449"/>
                <a:chExt cx="7896222" cy="5753100"/>
              </a:xfrm>
            </p:grpSpPr>
            <p:pic>
              <p:nvPicPr>
                <p:cNvPr id="213" name="Picture 2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3" y="552449"/>
                  <a:ext cx="7896222" cy="5753100"/>
                </a:xfrm>
                <a:prstGeom prst="rect">
                  <a:avLst/>
                </a:prstGeom>
              </p:spPr>
            </p:pic>
            <p:sp>
              <p:nvSpPr>
                <p:cNvPr id="214" name="Rectangle 213"/>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grpSp>
      <p:grpSp>
        <p:nvGrpSpPr>
          <p:cNvPr id="8" name="Group 7"/>
          <p:cNvGrpSpPr/>
          <p:nvPr/>
        </p:nvGrpSpPr>
        <p:grpSpPr>
          <a:xfrm>
            <a:off x="2831838" y="2883314"/>
            <a:ext cx="639510" cy="398016"/>
            <a:chOff x="3774801" y="3161749"/>
            <a:chExt cx="852458" cy="530688"/>
          </a:xfrm>
        </p:grpSpPr>
        <p:sp>
          <p:nvSpPr>
            <p:cNvPr id="109" name="Rectangle 108"/>
            <p:cNvSpPr/>
            <p:nvPr/>
          </p:nvSpPr>
          <p:spPr bwMode="auto">
            <a:xfrm>
              <a:off x="3774801" y="3200546"/>
              <a:ext cx="840178" cy="49189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0" name="Rectangle 109"/>
            <p:cNvSpPr/>
            <p:nvPr/>
          </p:nvSpPr>
          <p:spPr bwMode="auto">
            <a:xfrm>
              <a:off x="3787081" y="3161749"/>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r>
                <a:rPr lang="en-US" sz="2400" dirty="0">
                  <a:gradFill>
                    <a:gsLst>
                      <a:gs pos="0">
                        <a:srgbClr val="FFFFFF"/>
                      </a:gs>
                      <a:gs pos="100000">
                        <a:srgbClr val="FFFFFF"/>
                      </a:gs>
                    </a:gsLst>
                    <a:lin ang="5400000" scaled="0"/>
                  </a:gradFill>
                  <a:sym typeface="Wingdings" pitchFamily="2" charset="2"/>
                </a:rPr>
                <a:t>:-)</a:t>
              </a:r>
              <a:endParaRPr lang="en-US" sz="2100" dirty="0">
                <a:gradFill>
                  <a:gsLst>
                    <a:gs pos="0">
                      <a:srgbClr val="FFFFFF"/>
                    </a:gs>
                    <a:gs pos="100000">
                      <a:srgbClr val="FFFFFF"/>
                    </a:gs>
                  </a:gsLst>
                  <a:lin ang="5400000" scaled="0"/>
                </a:gradFill>
              </a:endParaRPr>
            </a:p>
          </p:txBody>
        </p:sp>
      </p:grpSp>
      <p:sp>
        <p:nvSpPr>
          <p:cNvPr id="105" name="Title 1"/>
          <p:cNvSpPr txBox="1">
            <a:spLocks/>
          </p:cNvSpPr>
          <p:nvPr/>
        </p:nvSpPr>
        <p:spPr>
          <a:xfrm>
            <a:off x="916797" y="1150198"/>
            <a:ext cx="1192458" cy="332399"/>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r">
              <a:tabLst>
                <a:tab pos="816674" algn="l"/>
              </a:tabLst>
            </a:pPr>
            <a:r>
              <a:rPr sz="2400" dirty="0">
                <a:solidFill>
                  <a:srgbClr val="FFFFFF"/>
                </a:solidFill>
                <a:latin typeface="Segoe UI" pitchFamily="34" charset="0"/>
                <a:ea typeface="Segoe UI" pitchFamily="34" charset="0"/>
                <a:cs typeface="Segoe UI" pitchFamily="34" charset="0"/>
              </a:rPr>
              <a:t>shared</a:t>
            </a:r>
          </a:p>
        </p:txBody>
      </p:sp>
      <p:sp>
        <p:nvSpPr>
          <p:cNvPr id="106"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07"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5"/>
              </a:rPr>
              <a:t>www.rapidbbs.cn</a:t>
            </a:r>
            <a:endParaRPr lang="zh-CN" altLang="en-US" sz="1200" b="0">
              <a:latin typeface="Arial" charset="0"/>
              <a:ea typeface="ＭＳ Ｐゴシック" pitchFamily="34" charset="-128"/>
            </a:endParaRPr>
          </a:p>
        </p:txBody>
      </p:sp>
      <p:pic>
        <p:nvPicPr>
          <p:cNvPr id="112" name="Picture 2">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270833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fade">
                                      <p:cBhvr>
                                        <p:cTn id="7" dur="500"/>
                                        <p:tgtEl>
                                          <p:spTgt spid="67"/>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wipe(down)">
                                      <p:cBhvr>
                                        <p:cTn id="11" dur="500"/>
                                        <p:tgtEl>
                                          <p:spTgt spid="1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par>
                          <p:cTn id="20" fill="hold">
                            <p:stCondLst>
                              <p:cond delay="2000"/>
                            </p:stCondLst>
                            <p:childTnLst>
                              <p:par>
                                <p:cTn id="21" presetID="10" presetClass="entr" presetSubtype="0" fill="hold" nodeType="afterEffect">
                                  <p:stCondLst>
                                    <p:cond delay="500"/>
                                  </p:stCondLst>
                                  <p:childTnLst>
                                    <p:set>
                                      <p:cBhvr>
                                        <p:cTn id="22" dur="1" fill="hold">
                                          <p:stCondLst>
                                            <p:cond delay="0"/>
                                          </p:stCondLst>
                                        </p:cTn>
                                        <p:tgtEl>
                                          <p:spTgt spid="88"/>
                                        </p:tgtEl>
                                        <p:attrNameLst>
                                          <p:attrName>style.visibility</p:attrName>
                                        </p:attrNameLst>
                                      </p:cBhvr>
                                      <p:to>
                                        <p:strVal val="visible"/>
                                      </p:to>
                                    </p:set>
                                    <p:animEffect transition="in" filter="fade">
                                      <p:cBhvr>
                                        <p:cTn id="23" dur="500"/>
                                        <p:tgtEl>
                                          <p:spTgt spid="88"/>
                                        </p:tgtEl>
                                      </p:cBhvr>
                                    </p:animEffect>
                                  </p:childTnLst>
                                </p:cTn>
                              </p:par>
                              <p:par>
                                <p:cTn id="24" presetID="10" presetClass="entr" presetSubtype="0" fill="hold" grpId="0" nodeType="withEffect">
                                  <p:stCondLst>
                                    <p:cond delay="500"/>
                                  </p:stCondLst>
                                  <p:childTnLst>
                                    <p:set>
                                      <p:cBhvr>
                                        <p:cTn id="25" dur="1" fill="hold">
                                          <p:stCondLst>
                                            <p:cond delay="0"/>
                                          </p:stCondLst>
                                        </p:cTn>
                                        <p:tgtEl>
                                          <p:spTgt spid="105"/>
                                        </p:tgtEl>
                                        <p:attrNameLst>
                                          <p:attrName>style.visibility</p:attrName>
                                        </p:attrNameLst>
                                      </p:cBhvr>
                                      <p:to>
                                        <p:strVal val="visible"/>
                                      </p:to>
                                    </p:set>
                                    <p:animEffect transition="in" filter="fade">
                                      <p:cBhvr>
                                        <p:cTn id="26" dur="500"/>
                                        <p:tgtEl>
                                          <p:spTgt spid="10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5" grpId="0"/>
    </p:bldLst>
  </p:timing>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a:xfrm>
            <a:off x="7380556" y="1426370"/>
            <a:ext cx="1303359" cy="1988820"/>
          </a:xfrm>
          <a:prstGeom prst="rect">
            <a:avLst/>
          </a:prstGeom>
          <a:solidFill>
            <a:srgbClr val="0071BC"/>
          </a:solidFill>
          <a:ln w="6350">
            <a:gradFill flip="none" rotWithShape="1">
              <a:gsLst>
                <a:gs pos="0">
                  <a:srgbClr val="000000">
                    <a:alpha val="0"/>
                  </a:srgbClr>
                </a:gs>
                <a:gs pos="50000">
                  <a:srgbClr val="005CB0">
                    <a:alpha val="78000"/>
                  </a:srgbClr>
                </a:gs>
                <a:gs pos="100000">
                  <a:srgbClr val="000C22">
                    <a:alpha val="0"/>
                  </a:srgbClr>
                </a:gs>
              </a:gsLst>
              <a:lin ang="16200000" scaled="1"/>
              <a:tileRect/>
            </a:gra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0" tIns="1005630" rIns="0" bIns="274261" numCol="1" rtlCol="0" anchor="ctr" anchorCtr="0" compatLnSpc="1">
            <a:prstTxWarp prst="textNoShape">
              <a:avLst/>
            </a:prstTxWarp>
          </a:bodyPr>
          <a:lstStyle/>
          <a:p>
            <a:pPr algn="ctr" defTabSz="685721" fontAlgn="base">
              <a:lnSpc>
                <a:spcPct val="90000"/>
              </a:lnSpc>
              <a:spcBef>
                <a:spcPts val="1350"/>
              </a:spcBef>
              <a:spcAft>
                <a:spcPts val="1350"/>
              </a:spcAft>
            </a:pPr>
            <a:endParaRPr lang="en-US" sz="1500" kern="0" dirty="0">
              <a:solidFill>
                <a:srgbClr val="FFFFFF">
                  <a:lumMod val="10000"/>
                  <a:lumOff val="90000"/>
                </a:srgbClr>
              </a:solidFill>
              <a:latin typeface="Segoe UI Light" pitchFamily="34" charset="0"/>
            </a:endParaRPr>
          </a:p>
        </p:txBody>
      </p:sp>
      <p:sp>
        <p:nvSpPr>
          <p:cNvPr id="36" name="Freeform 79"/>
          <p:cNvSpPr>
            <a:spLocks noEditPoints="1"/>
          </p:cNvSpPr>
          <p:nvPr/>
        </p:nvSpPr>
        <p:spPr bwMode="black">
          <a:xfrm>
            <a:off x="7751383" y="1736410"/>
            <a:ext cx="561696" cy="75914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0" tIns="41143" rIns="82290" bIns="41143" numCol="1" anchor="t" anchorCtr="0" compatLnSpc="1">
            <a:prstTxWarp prst="textNoShape">
              <a:avLst/>
            </a:prstTxWarp>
          </a:bodyPr>
          <a:lstStyle/>
          <a:p>
            <a:pPr defTabSz="685721"/>
            <a:endParaRPr lang="en-US" sz="1200">
              <a:solidFill>
                <a:srgbClr val="FFFFFF"/>
              </a:solidFill>
            </a:endParaRPr>
          </a:p>
        </p:txBody>
      </p:sp>
      <p:sp>
        <p:nvSpPr>
          <p:cNvPr id="24" name="Rectangle 23"/>
          <p:cNvSpPr/>
          <p:nvPr/>
        </p:nvSpPr>
        <p:spPr>
          <a:xfrm>
            <a:off x="1809904" y="1426370"/>
            <a:ext cx="1303359" cy="1988820"/>
          </a:xfrm>
          <a:prstGeom prst="rect">
            <a:avLst/>
          </a:prstGeom>
          <a:solidFill>
            <a:srgbClr val="0071BC"/>
          </a:solidFill>
          <a:ln w="6350">
            <a:gradFill flip="none" rotWithShape="1">
              <a:gsLst>
                <a:gs pos="0">
                  <a:srgbClr val="000000">
                    <a:alpha val="0"/>
                  </a:srgbClr>
                </a:gs>
                <a:gs pos="50000">
                  <a:srgbClr val="005CB0">
                    <a:alpha val="78000"/>
                  </a:srgbClr>
                </a:gs>
                <a:gs pos="100000">
                  <a:srgbClr val="000C22">
                    <a:alpha val="0"/>
                  </a:srgbClr>
                </a:gs>
              </a:gsLst>
              <a:lin ang="16200000" scaled="1"/>
              <a:tileRect/>
            </a:gra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0" tIns="1005630" rIns="0" bIns="274261" numCol="1" rtlCol="0" anchor="ctr" anchorCtr="0" compatLnSpc="1">
            <a:prstTxWarp prst="textNoShape">
              <a:avLst/>
            </a:prstTxWarp>
          </a:bodyPr>
          <a:lstStyle/>
          <a:p>
            <a:pPr algn="ctr" defTabSz="685721" fontAlgn="base">
              <a:lnSpc>
                <a:spcPct val="90000"/>
              </a:lnSpc>
              <a:spcBef>
                <a:spcPts val="1350"/>
              </a:spcBef>
              <a:spcAft>
                <a:spcPts val="1350"/>
              </a:spcAft>
            </a:pPr>
            <a:endParaRPr lang="en-US" sz="1500" kern="0" dirty="0">
              <a:solidFill>
                <a:srgbClr val="FFFFFF">
                  <a:lumMod val="10000"/>
                  <a:lumOff val="90000"/>
                </a:srgbClr>
              </a:solidFill>
              <a:latin typeface="Segoe UI Light" pitchFamily="34" charset="0"/>
            </a:endParaRPr>
          </a:p>
        </p:txBody>
      </p:sp>
      <p:sp>
        <p:nvSpPr>
          <p:cNvPr id="37" name="Freeform 80"/>
          <p:cNvSpPr>
            <a:spLocks noEditPoints="1"/>
          </p:cNvSpPr>
          <p:nvPr/>
        </p:nvSpPr>
        <p:spPr bwMode="black">
          <a:xfrm>
            <a:off x="2158411" y="1733555"/>
            <a:ext cx="606336" cy="735421"/>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82290" tIns="41143" rIns="82290" bIns="41143" numCol="1" anchor="t" anchorCtr="0" compatLnSpc="1">
            <a:prstTxWarp prst="textNoShape">
              <a:avLst/>
            </a:prstTxWarp>
          </a:bodyPr>
          <a:lstStyle/>
          <a:p>
            <a:pPr defTabSz="685721"/>
            <a:endParaRPr lang="en-US" sz="1200">
              <a:solidFill>
                <a:srgbClr val="FFFFFF"/>
              </a:solidFill>
            </a:endParaRPr>
          </a:p>
        </p:txBody>
      </p:sp>
      <p:sp>
        <p:nvSpPr>
          <p:cNvPr id="25" name="Rectangle 24"/>
          <p:cNvSpPr/>
          <p:nvPr/>
        </p:nvSpPr>
        <p:spPr>
          <a:xfrm>
            <a:off x="3202566" y="1426370"/>
            <a:ext cx="1303359" cy="1988820"/>
          </a:xfrm>
          <a:prstGeom prst="rect">
            <a:avLst/>
          </a:prstGeom>
          <a:solidFill>
            <a:srgbClr val="0071BC"/>
          </a:solidFill>
          <a:ln w="6350">
            <a:gradFill flip="none" rotWithShape="1">
              <a:gsLst>
                <a:gs pos="0">
                  <a:srgbClr val="000000">
                    <a:alpha val="0"/>
                  </a:srgbClr>
                </a:gs>
                <a:gs pos="50000">
                  <a:srgbClr val="005CB0">
                    <a:alpha val="78000"/>
                  </a:srgbClr>
                </a:gs>
                <a:gs pos="100000">
                  <a:srgbClr val="000C22">
                    <a:alpha val="0"/>
                  </a:srgbClr>
                </a:gs>
              </a:gsLst>
              <a:lin ang="16200000" scaled="1"/>
              <a:tileRect/>
            </a:gra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0" tIns="1005630" rIns="0" bIns="274261" numCol="1" rtlCol="0" anchor="ctr" anchorCtr="0" compatLnSpc="1">
            <a:prstTxWarp prst="textNoShape">
              <a:avLst/>
            </a:prstTxWarp>
          </a:bodyPr>
          <a:lstStyle/>
          <a:p>
            <a:pPr defTabSz="685721" fontAlgn="base">
              <a:lnSpc>
                <a:spcPct val="90000"/>
              </a:lnSpc>
              <a:spcBef>
                <a:spcPts val="1350"/>
              </a:spcBef>
              <a:spcAft>
                <a:spcPts val="1350"/>
              </a:spcAft>
            </a:pPr>
            <a:r>
              <a:rPr lang="en-US" kern="0" dirty="0">
                <a:solidFill>
                  <a:srgbClr val="FFFFFF">
                    <a:lumMod val="10000"/>
                    <a:lumOff val="90000"/>
                  </a:srgbClr>
                </a:solidFill>
                <a:latin typeface="Segoe UI Light" pitchFamily="34" charset="0"/>
              </a:rPr>
              <a:t>  </a:t>
            </a:r>
          </a:p>
        </p:txBody>
      </p:sp>
      <p:sp>
        <p:nvSpPr>
          <p:cNvPr id="57" name="Freeform 154"/>
          <p:cNvSpPr>
            <a:spLocks noEditPoints="1"/>
          </p:cNvSpPr>
          <p:nvPr/>
        </p:nvSpPr>
        <p:spPr bwMode="black">
          <a:xfrm>
            <a:off x="3488737" y="1764922"/>
            <a:ext cx="731008" cy="730628"/>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0" tIns="41143" rIns="82290" bIns="41143" numCol="1" anchor="t" anchorCtr="0" compatLnSpc="1">
            <a:prstTxWarp prst="textNoShape">
              <a:avLst/>
            </a:prstTxWarp>
          </a:bodyPr>
          <a:lstStyle/>
          <a:p>
            <a:pPr defTabSz="685721"/>
            <a:endParaRPr lang="en-US" sz="1200">
              <a:solidFill>
                <a:srgbClr val="FFFFFF"/>
              </a:solidFill>
            </a:endParaRPr>
          </a:p>
        </p:txBody>
      </p:sp>
      <p:sp>
        <p:nvSpPr>
          <p:cNvPr id="6" name="Rectangle 5"/>
          <p:cNvSpPr/>
          <p:nvPr/>
        </p:nvSpPr>
        <p:spPr>
          <a:xfrm>
            <a:off x="417240" y="1426370"/>
            <a:ext cx="1303359" cy="1988820"/>
          </a:xfrm>
          <a:prstGeom prst="rect">
            <a:avLst/>
          </a:prstGeom>
          <a:solidFill>
            <a:srgbClr val="0071BC"/>
          </a:solidFill>
          <a:ln w="6350">
            <a:gradFill flip="none" rotWithShape="1">
              <a:gsLst>
                <a:gs pos="0">
                  <a:srgbClr val="000000">
                    <a:alpha val="0"/>
                  </a:srgbClr>
                </a:gs>
                <a:gs pos="50000">
                  <a:srgbClr val="005CB0">
                    <a:alpha val="78000"/>
                  </a:srgbClr>
                </a:gs>
                <a:gs pos="100000">
                  <a:srgbClr val="000C22">
                    <a:alpha val="0"/>
                  </a:srgbClr>
                </a:gs>
              </a:gsLst>
              <a:lin ang="16200000" scaled="1"/>
              <a:tileRect/>
            </a:gra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0" tIns="1005630" rIns="0" bIns="274261" numCol="1" rtlCol="0" anchor="ctr" anchorCtr="0" compatLnSpc="1">
            <a:prstTxWarp prst="textNoShape">
              <a:avLst/>
            </a:prstTxWarp>
          </a:bodyPr>
          <a:lstStyle/>
          <a:p>
            <a:pPr algn="ctr" defTabSz="685721" fontAlgn="base">
              <a:lnSpc>
                <a:spcPct val="90000"/>
              </a:lnSpc>
              <a:spcBef>
                <a:spcPts val="1350"/>
              </a:spcBef>
              <a:spcAft>
                <a:spcPts val="1350"/>
              </a:spcAft>
            </a:pPr>
            <a:endParaRPr lang="en-US" sz="1500" kern="0" dirty="0">
              <a:solidFill>
                <a:srgbClr val="FFFFFF">
                  <a:lumMod val="10000"/>
                  <a:lumOff val="90000"/>
                </a:srgbClr>
              </a:solidFill>
              <a:latin typeface="Segoe UI Light" pitchFamily="34" charset="0"/>
            </a:endParaRPr>
          </a:p>
        </p:txBody>
      </p:sp>
      <p:pic>
        <p:nvPicPr>
          <p:cNvPr id="34" name="Picture 36" descr="C:\Users\sakuu\Documents\Ballmer WPC\AI\work.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a:stretch>
            <a:fillRect/>
          </a:stretch>
        </p:blipFill>
        <p:spPr bwMode="black">
          <a:xfrm>
            <a:off x="795795" y="1623473"/>
            <a:ext cx="546238" cy="872079"/>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404830" y="209555"/>
            <a:ext cx="8363938" cy="457049"/>
          </a:xfrm>
        </p:spPr>
        <p:txBody>
          <a:bodyPr/>
          <a:lstStyle/>
          <a:p>
            <a:r>
              <a:rPr lang="en-US" dirty="0" smtClean="0"/>
              <a:t>MANAGING RISK AT ALL LAYERS</a:t>
            </a:r>
            <a:endParaRPr lang="en-US" dirty="0"/>
          </a:p>
        </p:txBody>
      </p:sp>
      <p:sp>
        <p:nvSpPr>
          <p:cNvPr id="23" name="Up Arrow 22"/>
          <p:cNvSpPr/>
          <p:nvPr/>
        </p:nvSpPr>
        <p:spPr bwMode="auto">
          <a:xfrm rot="5400000">
            <a:off x="4299763" y="-386543"/>
            <a:ext cx="514349" cy="8259738"/>
          </a:xfrm>
          <a:prstGeom prst="upArrow">
            <a:avLst>
              <a:gd name="adj1" fmla="val 58110"/>
              <a:gd name="adj2" fmla="val 50000"/>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68571" tIns="34286" rIns="68571" bIns="34286" anchor="ctr" anchorCtr="0"/>
          <a:lstStyle/>
          <a:p>
            <a:pPr algn="ctr" defTabSz="685721">
              <a:lnSpc>
                <a:spcPct val="90000"/>
              </a:lnSpc>
            </a:pPr>
            <a:endParaRPr lang="en-US" b="1" dirty="0">
              <a:solidFill>
                <a:srgbClr val="FFFFFF"/>
              </a:solidFill>
            </a:endParaRPr>
          </a:p>
        </p:txBody>
      </p:sp>
      <p:sp>
        <p:nvSpPr>
          <p:cNvPr id="29" name="Rectangle 28"/>
          <p:cNvSpPr/>
          <p:nvPr/>
        </p:nvSpPr>
        <p:spPr>
          <a:xfrm>
            <a:off x="533401" y="3003387"/>
            <a:ext cx="1219200" cy="323165"/>
          </a:xfrm>
          <a:prstGeom prst="rect">
            <a:avLst/>
          </a:prstGeom>
        </p:spPr>
        <p:txBody>
          <a:bodyPr wrap="square" lIns="91420" tIns="45710" rIns="91420" bIns="45710">
            <a:spAutoFit/>
          </a:bodyPr>
          <a:lstStyle/>
          <a:p>
            <a:pPr defTabSz="685523" fontAlgn="base">
              <a:spcBef>
                <a:spcPct val="0"/>
              </a:spcBef>
              <a:spcAft>
                <a:spcPct val="0"/>
              </a:spcAft>
            </a:pPr>
            <a:r>
              <a:rPr lang="en-US" sz="1500" dirty="0">
                <a:gradFill>
                  <a:gsLst>
                    <a:gs pos="0">
                      <a:srgbClr val="FFFFFF"/>
                    </a:gs>
                    <a:gs pos="100000">
                      <a:srgbClr val="FFFFFF"/>
                    </a:gs>
                  </a:gsLst>
                  <a:lin ang="5400000" scaled="0"/>
                </a:gradFill>
              </a:rPr>
              <a:t>PHYSICAL</a:t>
            </a:r>
          </a:p>
        </p:txBody>
      </p:sp>
      <p:sp>
        <p:nvSpPr>
          <p:cNvPr id="31" name="Rectangle 30"/>
          <p:cNvSpPr/>
          <p:nvPr/>
        </p:nvSpPr>
        <p:spPr>
          <a:xfrm>
            <a:off x="1905000" y="3003387"/>
            <a:ext cx="1219200" cy="323165"/>
          </a:xfrm>
          <a:prstGeom prst="rect">
            <a:avLst/>
          </a:prstGeom>
        </p:spPr>
        <p:txBody>
          <a:bodyPr wrap="square" lIns="91420" tIns="45710" rIns="91420" bIns="45710">
            <a:spAutoFit/>
          </a:bodyPr>
          <a:lstStyle/>
          <a:p>
            <a:pPr defTabSz="685523" fontAlgn="base">
              <a:spcBef>
                <a:spcPct val="0"/>
              </a:spcBef>
              <a:spcAft>
                <a:spcPct val="0"/>
              </a:spcAft>
            </a:pPr>
            <a:r>
              <a:rPr lang="en-US" sz="1500" dirty="0">
                <a:gradFill>
                  <a:gsLst>
                    <a:gs pos="0">
                      <a:srgbClr val="FFFFFF"/>
                    </a:gs>
                    <a:gs pos="100000">
                      <a:srgbClr val="FFFFFF"/>
                    </a:gs>
                  </a:gsLst>
                  <a:lin ang="5400000" scaled="0"/>
                </a:gradFill>
              </a:rPr>
              <a:t>NETWORK</a:t>
            </a:r>
          </a:p>
        </p:txBody>
      </p:sp>
      <p:sp>
        <p:nvSpPr>
          <p:cNvPr id="32" name="Rectangle 31"/>
          <p:cNvSpPr/>
          <p:nvPr/>
        </p:nvSpPr>
        <p:spPr>
          <a:xfrm>
            <a:off x="3278761" y="2680218"/>
            <a:ext cx="1293239" cy="646331"/>
          </a:xfrm>
          <a:prstGeom prst="rect">
            <a:avLst/>
          </a:prstGeom>
        </p:spPr>
        <p:txBody>
          <a:bodyPr wrap="square" lIns="91420" tIns="45710" rIns="91420" bIns="45710">
            <a:spAutoFit/>
          </a:bodyPr>
          <a:lstStyle/>
          <a:p>
            <a:pPr defTabSz="685523" fontAlgn="base">
              <a:spcBef>
                <a:spcPct val="0"/>
              </a:spcBef>
              <a:spcAft>
                <a:spcPct val="0"/>
              </a:spcAft>
            </a:pPr>
            <a:r>
              <a:rPr lang="en-US" sz="1200" kern="0" dirty="0">
                <a:solidFill>
                  <a:srgbClr val="FFFFFF">
                    <a:lumMod val="10000"/>
                    <a:lumOff val="90000"/>
                  </a:srgbClr>
                </a:solidFill>
              </a:rPr>
              <a:t>IDENTITY</a:t>
            </a:r>
            <a:br>
              <a:rPr lang="en-US" sz="1200" kern="0" dirty="0">
                <a:solidFill>
                  <a:srgbClr val="FFFFFF">
                    <a:lumMod val="10000"/>
                    <a:lumOff val="90000"/>
                  </a:srgbClr>
                </a:solidFill>
              </a:rPr>
            </a:br>
            <a:r>
              <a:rPr lang="en-US" sz="1200" kern="0" dirty="0">
                <a:solidFill>
                  <a:srgbClr val="FFFFFF">
                    <a:lumMod val="10000"/>
                    <a:lumOff val="90000"/>
                  </a:srgbClr>
                </a:solidFill>
              </a:rPr>
              <a:t>AND ACCESS          MANAGEMENT</a:t>
            </a:r>
          </a:p>
        </p:txBody>
      </p:sp>
      <p:grpSp>
        <p:nvGrpSpPr>
          <p:cNvPr id="5" name="Group 4"/>
          <p:cNvGrpSpPr/>
          <p:nvPr/>
        </p:nvGrpSpPr>
        <p:grpSpPr>
          <a:xfrm>
            <a:off x="6011846" y="1424940"/>
            <a:ext cx="1303359" cy="1988820"/>
            <a:chOff x="4595225" y="1426370"/>
            <a:chExt cx="1303359" cy="1988820"/>
          </a:xfrm>
        </p:grpSpPr>
        <p:sp>
          <p:nvSpPr>
            <p:cNvPr id="26" name="Rectangle 25"/>
            <p:cNvSpPr/>
            <p:nvPr/>
          </p:nvSpPr>
          <p:spPr>
            <a:xfrm>
              <a:off x="4595225" y="1426370"/>
              <a:ext cx="1303359" cy="1988820"/>
            </a:xfrm>
            <a:prstGeom prst="rect">
              <a:avLst/>
            </a:prstGeom>
            <a:solidFill>
              <a:srgbClr val="0071BC"/>
            </a:solidFill>
            <a:ln w="6350">
              <a:gradFill flip="none" rotWithShape="1">
                <a:gsLst>
                  <a:gs pos="0">
                    <a:srgbClr val="000000">
                      <a:alpha val="0"/>
                    </a:srgbClr>
                  </a:gs>
                  <a:gs pos="50000">
                    <a:srgbClr val="005CB0">
                      <a:alpha val="78000"/>
                    </a:srgbClr>
                  </a:gs>
                  <a:gs pos="100000">
                    <a:srgbClr val="000C22">
                      <a:alpha val="0"/>
                    </a:srgbClr>
                  </a:gs>
                </a:gsLst>
                <a:lin ang="16200000" scaled="1"/>
                <a:tileRect/>
              </a:gra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0" tIns="1005840" rIns="0" bIns="274320" numCol="1" rtlCol="0" anchor="ctr" anchorCtr="0" compatLnSpc="1">
              <a:prstTxWarp prst="textNoShape">
                <a:avLst/>
              </a:prstTxWarp>
            </a:bodyPr>
            <a:lstStyle/>
            <a:p>
              <a:pPr defTabSz="685721" fontAlgn="base">
                <a:lnSpc>
                  <a:spcPct val="90000"/>
                </a:lnSpc>
                <a:spcBef>
                  <a:spcPts val="1350"/>
                </a:spcBef>
                <a:spcAft>
                  <a:spcPts val="1350"/>
                </a:spcAft>
              </a:pPr>
              <a:endParaRPr lang="en-US" sz="1500" kern="0" dirty="0">
                <a:solidFill>
                  <a:srgbClr val="FFFFFF">
                    <a:lumMod val="10000"/>
                    <a:lumOff val="90000"/>
                  </a:srgbClr>
                </a:solidFill>
                <a:latin typeface="Segoe UI Light" pitchFamily="34" charset="0"/>
              </a:endParaRPr>
            </a:p>
          </p:txBody>
        </p:sp>
        <p:grpSp>
          <p:nvGrpSpPr>
            <p:cNvPr id="54" name="Group 53"/>
            <p:cNvGrpSpPr/>
            <p:nvPr/>
          </p:nvGrpSpPr>
          <p:grpSpPr bwMode="black">
            <a:xfrm>
              <a:off x="4796173" y="1876631"/>
              <a:ext cx="901464" cy="542719"/>
              <a:chOff x="863600" y="2393157"/>
              <a:chExt cx="876300" cy="527844"/>
            </a:xfrm>
            <a:solidFill>
              <a:schemeClr val="tx1"/>
            </a:solidFill>
          </p:grpSpPr>
          <p:sp>
            <p:nvSpPr>
              <p:cNvPr id="55" name="Freeform 54"/>
              <p:cNvSpPr>
                <a:spLocks noEditPoints="1"/>
              </p:cNvSpPr>
              <p:nvPr/>
            </p:nvSpPr>
            <p:spPr bwMode="black">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491"/>
                <a:endParaRPr lang="en-US" spc="-92" dirty="0">
                  <a:solidFill>
                    <a:srgbClr val="FFFFFF">
                      <a:lumMod val="50000"/>
                    </a:srgbClr>
                  </a:solidFill>
                  <a:latin typeface="Segoe Light" pitchFamily="34" charset="0"/>
                </a:endParaRPr>
              </a:p>
            </p:txBody>
          </p:sp>
          <p:sp>
            <p:nvSpPr>
              <p:cNvPr id="56" name="Freeform 88"/>
              <p:cNvSpPr>
                <a:spLocks noEditPoints="1"/>
              </p:cNvSpPr>
              <p:nvPr/>
            </p:nvSpPr>
            <p:spPr bwMode="black">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491"/>
                <a:endParaRPr lang="en-US" spc="-92" dirty="0">
                  <a:solidFill>
                    <a:srgbClr val="FFFFFF">
                      <a:lumMod val="50000"/>
                    </a:srgbClr>
                  </a:solidFill>
                  <a:latin typeface="Segoe Light" pitchFamily="34" charset="0"/>
                </a:endParaRPr>
              </a:p>
            </p:txBody>
          </p:sp>
        </p:grpSp>
        <p:sp>
          <p:nvSpPr>
            <p:cNvPr id="33" name="Rectangle 32"/>
            <p:cNvSpPr/>
            <p:nvPr/>
          </p:nvSpPr>
          <p:spPr>
            <a:xfrm>
              <a:off x="4648200" y="2772549"/>
              <a:ext cx="1219200" cy="553998"/>
            </a:xfrm>
            <a:prstGeom prst="rect">
              <a:avLst/>
            </a:prstGeom>
          </p:spPr>
          <p:txBody>
            <a:bodyPr wrap="square">
              <a:spAutoFit/>
            </a:bodyPr>
            <a:lstStyle/>
            <a:p>
              <a:pPr defTabSz="685523" fontAlgn="base">
                <a:spcBef>
                  <a:spcPct val="0"/>
                </a:spcBef>
                <a:spcAft>
                  <a:spcPct val="0"/>
                </a:spcAft>
              </a:pPr>
              <a:r>
                <a:rPr lang="en-US" sz="1500" dirty="0">
                  <a:gradFill>
                    <a:gsLst>
                      <a:gs pos="0">
                        <a:srgbClr val="FFFFFF"/>
                      </a:gs>
                      <a:gs pos="100000">
                        <a:srgbClr val="FFFFFF"/>
                      </a:gs>
                    </a:gsLst>
                    <a:lin ang="5400000" scaled="0"/>
                  </a:gradFill>
                </a:rPr>
                <a:t>HOST</a:t>
              </a:r>
            </a:p>
            <a:p>
              <a:pPr defTabSz="685523" fontAlgn="base">
                <a:spcBef>
                  <a:spcPct val="0"/>
                </a:spcBef>
                <a:spcAft>
                  <a:spcPct val="0"/>
                </a:spcAft>
              </a:pPr>
              <a:r>
                <a:rPr lang="en-US" sz="1500" dirty="0">
                  <a:gradFill>
                    <a:gsLst>
                      <a:gs pos="0">
                        <a:srgbClr val="FFFFFF"/>
                      </a:gs>
                      <a:gs pos="100000">
                        <a:srgbClr val="FFFFFF"/>
                      </a:gs>
                    </a:gsLst>
                    <a:lin ang="5400000" scaled="0"/>
                  </a:gradFill>
                </a:rPr>
                <a:t>SECURITY</a:t>
              </a:r>
            </a:p>
          </p:txBody>
        </p:sp>
      </p:grpSp>
      <p:grpSp>
        <p:nvGrpSpPr>
          <p:cNvPr id="4" name="Group 3"/>
          <p:cNvGrpSpPr/>
          <p:nvPr/>
        </p:nvGrpSpPr>
        <p:grpSpPr>
          <a:xfrm>
            <a:off x="4616290" y="1439562"/>
            <a:ext cx="1479711" cy="1988820"/>
            <a:chOff x="5987889" y="1426370"/>
            <a:chExt cx="1479711" cy="1988820"/>
          </a:xfrm>
        </p:grpSpPr>
        <p:sp>
          <p:nvSpPr>
            <p:cNvPr id="27" name="Rectangle 26"/>
            <p:cNvSpPr/>
            <p:nvPr/>
          </p:nvSpPr>
          <p:spPr>
            <a:xfrm>
              <a:off x="5987889" y="1426370"/>
              <a:ext cx="1303359" cy="1988820"/>
            </a:xfrm>
            <a:prstGeom prst="rect">
              <a:avLst/>
            </a:prstGeom>
            <a:solidFill>
              <a:srgbClr val="0071BC"/>
            </a:solidFill>
            <a:ln w="6350">
              <a:gradFill flip="none" rotWithShape="1">
                <a:gsLst>
                  <a:gs pos="0">
                    <a:srgbClr val="000000">
                      <a:alpha val="0"/>
                    </a:srgbClr>
                  </a:gs>
                  <a:gs pos="50000">
                    <a:srgbClr val="005CB0">
                      <a:alpha val="78000"/>
                    </a:srgbClr>
                  </a:gs>
                  <a:gs pos="100000">
                    <a:srgbClr val="000C22">
                      <a:alpha val="0"/>
                    </a:srgbClr>
                  </a:gs>
                </a:gsLst>
                <a:lin ang="16200000" scaled="1"/>
                <a:tileRect/>
              </a:gra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0" tIns="1005840" rIns="0" bIns="274320" numCol="1" rtlCol="0" anchor="ctr" anchorCtr="0" compatLnSpc="1">
              <a:prstTxWarp prst="textNoShape">
                <a:avLst/>
              </a:prstTxWarp>
            </a:bodyPr>
            <a:lstStyle/>
            <a:p>
              <a:pPr algn="ctr" defTabSz="685721" fontAlgn="base">
                <a:lnSpc>
                  <a:spcPct val="90000"/>
                </a:lnSpc>
                <a:spcBef>
                  <a:spcPts val="1350"/>
                </a:spcBef>
                <a:spcAft>
                  <a:spcPts val="1350"/>
                </a:spcAft>
              </a:pPr>
              <a:endParaRPr lang="en-US" sz="1500" kern="0" dirty="0">
                <a:solidFill>
                  <a:srgbClr val="FFFFFF">
                    <a:lumMod val="10000"/>
                    <a:lumOff val="90000"/>
                  </a:srgbClr>
                </a:solidFill>
                <a:latin typeface="Segoe UI Light" pitchFamily="34" charset="0"/>
              </a:endParaRPr>
            </a:p>
          </p:txBody>
        </p:sp>
        <p:grpSp>
          <p:nvGrpSpPr>
            <p:cNvPr id="47" name="Group 46"/>
            <p:cNvGrpSpPr/>
            <p:nvPr/>
          </p:nvGrpSpPr>
          <p:grpSpPr bwMode="black">
            <a:xfrm>
              <a:off x="6400800" y="2070259"/>
              <a:ext cx="483845" cy="272891"/>
              <a:chOff x="6494885" y="2572051"/>
              <a:chExt cx="1197505" cy="675750"/>
            </a:xfrm>
          </p:grpSpPr>
          <p:sp>
            <p:nvSpPr>
              <p:cNvPr id="48" name="Freeform 25"/>
              <p:cNvSpPr>
                <a:spLocks/>
              </p:cNvSpPr>
              <p:nvPr/>
            </p:nvSpPr>
            <p:spPr bwMode="black">
              <a:xfrm>
                <a:off x="6502032" y="2572051"/>
                <a:ext cx="1182560" cy="379460"/>
              </a:xfrm>
              <a:custGeom>
                <a:avLst/>
                <a:gdLst>
                  <a:gd name="T0" fmla="*/ 385 w 770"/>
                  <a:gd name="T1" fmla="*/ 247 h 247"/>
                  <a:gd name="T2" fmla="*/ 411 w 770"/>
                  <a:gd name="T3" fmla="*/ 241 h 247"/>
                  <a:gd name="T4" fmla="*/ 411 w 770"/>
                  <a:gd name="T5" fmla="*/ 240 h 247"/>
                  <a:gd name="T6" fmla="*/ 770 w 770"/>
                  <a:gd name="T7" fmla="*/ 27 h 247"/>
                  <a:gd name="T8" fmla="*/ 727 w 770"/>
                  <a:gd name="T9" fmla="*/ 0 h 247"/>
                  <a:gd name="T10" fmla="*/ 43 w 770"/>
                  <a:gd name="T11" fmla="*/ 0 h 247"/>
                  <a:gd name="T12" fmla="*/ 0 w 770"/>
                  <a:gd name="T13" fmla="*/ 27 h 247"/>
                  <a:gd name="T14" fmla="*/ 358 w 770"/>
                  <a:gd name="T15" fmla="*/ 241 h 247"/>
                  <a:gd name="T16" fmla="*/ 385 w 770"/>
                  <a:gd name="T17" fmla="*/ 247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0" h="247">
                    <a:moveTo>
                      <a:pt x="385" y="247"/>
                    </a:moveTo>
                    <a:cubicBezTo>
                      <a:pt x="395" y="247"/>
                      <a:pt x="404" y="245"/>
                      <a:pt x="411" y="241"/>
                    </a:cubicBezTo>
                    <a:cubicBezTo>
                      <a:pt x="411" y="240"/>
                      <a:pt x="411" y="240"/>
                      <a:pt x="411" y="240"/>
                    </a:cubicBezTo>
                    <a:cubicBezTo>
                      <a:pt x="770" y="27"/>
                      <a:pt x="770" y="27"/>
                      <a:pt x="770" y="27"/>
                    </a:cubicBezTo>
                    <a:cubicBezTo>
                      <a:pt x="762" y="11"/>
                      <a:pt x="746" y="0"/>
                      <a:pt x="727" y="0"/>
                    </a:cubicBezTo>
                    <a:cubicBezTo>
                      <a:pt x="43" y="0"/>
                      <a:pt x="43" y="0"/>
                      <a:pt x="43" y="0"/>
                    </a:cubicBezTo>
                    <a:cubicBezTo>
                      <a:pt x="24" y="0"/>
                      <a:pt x="7" y="11"/>
                      <a:pt x="0" y="27"/>
                    </a:cubicBezTo>
                    <a:cubicBezTo>
                      <a:pt x="358" y="241"/>
                      <a:pt x="358" y="241"/>
                      <a:pt x="358" y="241"/>
                    </a:cubicBezTo>
                    <a:cubicBezTo>
                      <a:pt x="365" y="245"/>
                      <a:pt x="375" y="247"/>
                      <a:pt x="385" y="247"/>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491"/>
                <a:endParaRPr lang="en-US" spc="-92">
                  <a:solidFill>
                    <a:srgbClr val="FFFFFF">
                      <a:lumMod val="50000"/>
                    </a:srgbClr>
                  </a:solidFill>
                  <a:latin typeface="Segoe Light" pitchFamily="34" charset="0"/>
                </a:endParaRPr>
              </a:p>
            </p:txBody>
          </p:sp>
          <p:sp>
            <p:nvSpPr>
              <p:cNvPr id="49" name="Freeform 26"/>
              <p:cNvSpPr>
                <a:spLocks/>
              </p:cNvSpPr>
              <p:nvPr/>
            </p:nvSpPr>
            <p:spPr bwMode="black">
              <a:xfrm>
                <a:off x="7359065" y="2673413"/>
                <a:ext cx="333325" cy="396353"/>
              </a:xfrm>
              <a:custGeom>
                <a:avLst/>
                <a:gdLst>
                  <a:gd name="T0" fmla="*/ 513 w 513"/>
                  <a:gd name="T1" fmla="*/ 610 h 610"/>
                  <a:gd name="T2" fmla="*/ 513 w 513"/>
                  <a:gd name="T3" fmla="*/ 0 h 610"/>
                  <a:gd name="T4" fmla="*/ 0 w 513"/>
                  <a:gd name="T5" fmla="*/ 305 h 610"/>
                  <a:gd name="T6" fmla="*/ 513 w 513"/>
                  <a:gd name="T7" fmla="*/ 610 h 610"/>
                </a:gdLst>
                <a:ahLst/>
                <a:cxnLst>
                  <a:cxn ang="0">
                    <a:pos x="T0" y="T1"/>
                  </a:cxn>
                  <a:cxn ang="0">
                    <a:pos x="T2" y="T3"/>
                  </a:cxn>
                  <a:cxn ang="0">
                    <a:pos x="T4" y="T5"/>
                  </a:cxn>
                  <a:cxn ang="0">
                    <a:pos x="T6" y="T7"/>
                  </a:cxn>
                </a:cxnLst>
                <a:rect l="0" t="0" r="r" b="b"/>
                <a:pathLst>
                  <a:path w="513" h="610">
                    <a:moveTo>
                      <a:pt x="513" y="610"/>
                    </a:moveTo>
                    <a:lnTo>
                      <a:pt x="513" y="0"/>
                    </a:lnTo>
                    <a:lnTo>
                      <a:pt x="0" y="305"/>
                    </a:lnTo>
                    <a:lnTo>
                      <a:pt x="513" y="610"/>
                    </a:ln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491"/>
                <a:endParaRPr lang="en-US" spc="-92">
                  <a:solidFill>
                    <a:srgbClr val="FFFFFF">
                      <a:lumMod val="50000"/>
                    </a:srgbClr>
                  </a:solidFill>
                  <a:latin typeface="Segoe Light" pitchFamily="34" charset="0"/>
                </a:endParaRPr>
              </a:p>
            </p:txBody>
          </p:sp>
          <p:sp>
            <p:nvSpPr>
              <p:cNvPr id="50" name="Freeform 27"/>
              <p:cNvSpPr>
                <a:spLocks/>
              </p:cNvSpPr>
              <p:nvPr/>
            </p:nvSpPr>
            <p:spPr bwMode="black">
              <a:xfrm>
                <a:off x="6494885" y="2904079"/>
                <a:ext cx="1197505" cy="343722"/>
              </a:xfrm>
              <a:custGeom>
                <a:avLst/>
                <a:gdLst>
                  <a:gd name="T0" fmla="*/ 0 w 780"/>
                  <a:gd name="T1" fmla="*/ 176 h 224"/>
                  <a:gd name="T2" fmla="*/ 48 w 780"/>
                  <a:gd name="T3" fmla="*/ 224 h 224"/>
                  <a:gd name="T4" fmla="*/ 732 w 780"/>
                  <a:gd name="T5" fmla="*/ 224 h 224"/>
                  <a:gd name="T6" fmla="*/ 780 w 780"/>
                  <a:gd name="T7" fmla="*/ 176 h 224"/>
                  <a:gd name="T8" fmla="*/ 780 w 780"/>
                  <a:gd name="T9" fmla="*/ 150 h 224"/>
                  <a:gd name="T10" fmla="*/ 528 w 780"/>
                  <a:gd name="T11" fmla="*/ 0 h 224"/>
                  <a:gd name="T12" fmla="*/ 435 w 780"/>
                  <a:gd name="T13" fmla="*/ 55 h 224"/>
                  <a:gd name="T14" fmla="*/ 390 w 780"/>
                  <a:gd name="T15" fmla="*/ 67 h 224"/>
                  <a:gd name="T16" fmla="*/ 390 w 780"/>
                  <a:gd name="T17" fmla="*/ 67 h 224"/>
                  <a:gd name="T18" fmla="*/ 344 w 780"/>
                  <a:gd name="T19" fmla="*/ 55 h 224"/>
                  <a:gd name="T20" fmla="*/ 252 w 780"/>
                  <a:gd name="T21" fmla="*/ 0 h 224"/>
                  <a:gd name="T22" fmla="*/ 0 w 780"/>
                  <a:gd name="T23" fmla="*/ 150 h 224"/>
                  <a:gd name="T24" fmla="*/ 0 w 780"/>
                  <a:gd name="T25" fmla="*/ 17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0" h="224">
                    <a:moveTo>
                      <a:pt x="0" y="176"/>
                    </a:moveTo>
                    <a:cubicBezTo>
                      <a:pt x="0" y="203"/>
                      <a:pt x="21" y="224"/>
                      <a:pt x="48" y="224"/>
                    </a:cubicBezTo>
                    <a:cubicBezTo>
                      <a:pt x="732" y="224"/>
                      <a:pt x="732" y="224"/>
                      <a:pt x="732" y="224"/>
                    </a:cubicBezTo>
                    <a:cubicBezTo>
                      <a:pt x="758" y="224"/>
                      <a:pt x="780" y="203"/>
                      <a:pt x="780" y="176"/>
                    </a:cubicBezTo>
                    <a:cubicBezTo>
                      <a:pt x="780" y="150"/>
                      <a:pt x="780" y="150"/>
                      <a:pt x="780" y="150"/>
                    </a:cubicBezTo>
                    <a:cubicBezTo>
                      <a:pt x="528" y="0"/>
                      <a:pt x="528" y="0"/>
                      <a:pt x="528" y="0"/>
                    </a:cubicBezTo>
                    <a:cubicBezTo>
                      <a:pt x="435" y="55"/>
                      <a:pt x="435" y="55"/>
                      <a:pt x="435" y="55"/>
                    </a:cubicBezTo>
                    <a:cubicBezTo>
                      <a:pt x="423" y="63"/>
                      <a:pt x="407" y="67"/>
                      <a:pt x="390" y="67"/>
                    </a:cubicBezTo>
                    <a:cubicBezTo>
                      <a:pt x="390" y="67"/>
                      <a:pt x="390" y="67"/>
                      <a:pt x="390" y="67"/>
                    </a:cubicBezTo>
                    <a:cubicBezTo>
                      <a:pt x="373" y="67"/>
                      <a:pt x="357" y="63"/>
                      <a:pt x="344" y="55"/>
                    </a:cubicBezTo>
                    <a:cubicBezTo>
                      <a:pt x="252" y="0"/>
                      <a:pt x="252" y="0"/>
                      <a:pt x="252" y="0"/>
                    </a:cubicBezTo>
                    <a:cubicBezTo>
                      <a:pt x="0" y="150"/>
                      <a:pt x="0" y="150"/>
                      <a:pt x="0" y="150"/>
                    </a:cubicBezTo>
                    <a:lnTo>
                      <a:pt x="0" y="176"/>
                    </a:ln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491"/>
                <a:endParaRPr lang="en-US" spc="-92">
                  <a:solidFill>
                    <a:srgbClr val="FFFFFF">
                      <a:lumMod val="50000"/>
                    </a:srgbClr>
                  </a:solidFill>
                  <a:latin typeface="Segoe Light" pitchFamily="34" charset="0"/>
                </a:endParaRPr>
              </a:p>
            </p:txBody>
          </p:sp>
          <p:sp>
            <p:nvSpPr>
              <p:cNvPr id="51" name="Freeform 28"/>
              <p:cNvSpPr>
                <a:spLocks/>
              </p:cNvSpPr>
              <p:nvPr/>
            </p:nvSpPr>
            <p:spPr bwMode="black">
              <a:xfrm>
                <a:off x="6494891" y="2673415"/>
                <a:ext cx="332677" cy="396353"/>
              </a:xfrm>
              <a:custGeom>
                <a:avLst/>
                <a:gdLst>
                  <a:gd name="T0" fmla="*/ 512 w 512"/>
                  <a:gd name="T1" fmla="*/ 305 h 610"/>
                  <a:gd name="T2" fmla="*/ 0 w 512"/>
                  <a:gd name="T3" fmla="*/ 0 h 610"/>
                  <a:gd name="T4" fmla="*/ 0 w 512"/>
                  <a:gd name="T5" fmla="*/ 610 h 610"/>
                  <a:gd name="T6" fmla="*/ 512 w 512"/>
                  <a:gd name="T7" fmla="*/ 305 h 610"/>
                </a:gdLst>
                <a:ahLst/>
                <a:cxnLst>
                  <a:cxn ang="0">
                    <a:pos x="T0" y="T1"/>
                  </a:cxn>
                  <a:cxn ang="0">
                    <a:pos x="T2" y="T3"/>
                  </a:cxn>
                  <a:cxn ang="0">
                    <a:pos x="T4" y="T5"/>
                  </a:cxn>
                  <a:cxn ang="0">
                    <a:pos x="T6" y="T7"/>
                  </a:cxn>
                </a:cxnLst>
                <a:rect l="0" t="0" r="r" b="b"/>
                <a:pathLst>
                  <a:path w="512" h="610">
                    <a:moveTo>
                      <a:pt x="512" y="305"/>
                    </a:moveTo>
                    <a:lnTo>
                      <a:pt x="0" y="0"/>
                    </a:lnTo>
                    <a:lnTo>
                      <a:pt x="0" y="610"/>
                    </a:lnTo>
                    <a:lnTo>
                      <a:pt x="512" y="305"/>
                    </a:ln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491"/>
                <a:endParaRPr lang="en-US" spc="-92">
                  <a:solidFill>
                    <a:srgbClr val="FFFFFF">
                      <a:lumMod val="50000"/>
                    </a:srgbClr>
                  </a:solidFill>
                  <a:latin typeface="Segoe Light" pitchFamily="34" charset="0"/>
                </a:endParaRPr>
              </a:p>
            </p:txBody>
          </p:sp>
        </p:grpSp>
        <p:sp>
          <p:nvSpPr>
            <p:cNvPr id="35" name="Rectangle 34"/>
            <p:cNvSpPr/>
            <p:nvPr/>
          </p:nvSpPr>
          <p:spPr>
            <a:xfrm>
              <a:off x="6019800" y="3003382"/>
              <a:ext cx="1447800" cy="307777"/>
            </a:xfrm>
            <a:prstGeom prst="rect">
              <a:avLst/>
            </a:prstGeom>
          </p:spPr>
          <p:txBody>
            <a:bodyPr wrap="square">
              <a:spAutoFit/>
            </a:bodyPr>
            <a:lstStyle/>
            <a:p>
              <a:pPr defTabSz="685523" fontAlgn="base">
                <a:spcBef>
                  <a:spcPct val="0"/>
                </a:spcBef>
                <a:spcAft>
                  <a:spcPct val="0"/>
                </a:spcAft>
              </a:pPr>
              <a:r>
                <a:rPr lang="en-US" dirty="0">
                  <a:gradFill>
                    <a:gsLst>
                      <a:gs pos="0">
                        <a:srgbClr val="FFFFFF"/>
                      </a:gs>
                      <a:gs pos="100000">
                        <a:srgbClr val="FFFFFF"/>
                      </a:gs>
                    </a:gsLst>
                    <a:lin ang="5400000" scaled="0"/>
                  </a:gradFill>
                </a:rPr>
                <a:t>APPLICATION</a:t>
              </a:r>
            </a:p>
          </p:txBody>
        </p:sp>
      </p:grpSp>
      <p:sp>
        <p:nvSpPr>
          <p:cNvPr id="38" name="Rectangle 37"/>
          <p:cNvSpPr/>
          <p:nvPr/>
        </p:nvSpPr>
        <p:spPr>
          <a:xfrm>
            <a:off x="7467600" y="3003387"/>
            <a:ext cx="1219200" cy="323165"/>
          </a:xfrm>
          <a:prstGeom prst="rect">
            <a:avLst/>
          </a:prstGeom>
        </p:spPr>
        <p:txBody>
          <a:bodyPr wrap="square" lIns="91420" tIns="45710" rIns="91420" bIns="45710">
            <a:spAutoFit/>
          </a:bodyPr>
          <a:lstStyle/>
          <a:p>
            <a:pPr defTabSz="685523" fontAlgn="base">
              <a:spcBef>
                <a:spcPct val="0"/>
              </a:spcBef>
              <a:spcAft>
                <a:spcPct val="0"/>
              </a:spcAft>
            </a:pPr>
            <a:r>
              <a:rPr lang="en-US" sz="1500" dirty="0">
                <a:gradFill>
                  <a:gsLst>
                    <a:gs pos="0">
                      <a:srgbClr val="FFFFFF"/>
                    </a:gs>
                    <a:gs pos="100000">
                      <a:srgbClr val="FFFFFF"/>
                    </a:gs>
                  </a:gsLst>
                  <a:lin ang="5400000" scaled="0"/>
                </a:gradFill>
              </a:rPr>
              <a:t>DATA</a:t>
            </a:r>
          </a:p>
        </p:txBody>
      </p:sp>
      <p:sp>
        <p:nvSpPr>
          <p:cNvPr id="30"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9"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5"/>
              </a:rPr>
              <a:t>www.rapidbbs.cn</a:t>
            </a:r>
            <a:endParaRPr lang="zh-CN" altLang="en-US" sz="1200" b="0">
              <a:latin typeface="Arial" charset="0"/>
              <a:ea typeface="ＭＳ Ｐゴシック" pitchFamily="34" charset="-128"/>
            </a:endParaRPr>
          </a:p>
        </p:txBody>
      </p:sp>
      <p:pic>
        <p:nvPicPr>
          <p:cNvPr id="40" name="Picture 2">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56998115"/>
      </p:ext>
    </p:extLst>
  </p:cSld>
  <p:clrMapOvr>
    <a:masterClrMapping/>
  </p:clrMapOvr>
  <p:transition>
    <p:fade/>
  </p:transition>
  <p:timing>
    <p:tnLst>
      <p:par>
        <p:cTn id="1" dur="indefinite" restart="never" nodeType="tmRoot"/>
      </p:par>
    </p:tnLst>
  </p:timing>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89436" y="171450"/>
            <a:ext cx="8363938" cy="457048"/>
          </a:xfrm>
        </p:spPr>
        <p:txBody>
          <a:bodyPr/>
          <a:lstStyle/>
          <a:p>
            <a:r>
              <a:rPr lang="en-US" dirty="0" smtClean="0"/>
              <a:t>RESPONSIBILITIES</a:t>
            </a:r>
            <a:endParaRPr lang="en-US" dirty="0"/>
          </a:p>
        </p:txBody>
      </p:sp>
      <p:sp>
        <p:nvSpPr>
          <p:cNvPr id="4" name="Text Placeholder 3"/>
          <p:cNvSpPr>
            <a:spLocks noGrp="1"/>
          </p:cNvSpPr>
          <p:nvPr>
            <p:ph type="body" sz="quarter" idx="4294967295"/>
          </p:nvPr>
        </p:nvSpPr>
        <p:spPr>
          <a:xfrm>
            <a:off x="376750" y="670517"/>
            <a:ext cx="8670925" cy="986937"/>
          </a:xfrm>
        </p:spPr>
        <p:txBody>
          <a:bodyPr/>
          <a:lstStyle/>
          <a:p>
            <a:pPr>
              <a:spcAft>
                <a:spcPts val="450"/>
              </a:spcAft>
            </a:pPr>
            <a:r>
              <a:rPr lang="en-US" sz="1800" dirty="0"/>
              <a:t>You are ultimately responsible for ensuring you meet your compliance obligations</a:t>
            </a:r>
          </a:p>
          <a:p>
            <a:pPr>
              <a:spcAft>
                <a:spcPts val="450"/>
              </a:spcAft>
            </a:pPr>
            <a:r>
              <a:rPr lang="en-US" sz="1800" dirty="0"/>
              <a:t>Your provider is your partner</a:t>
            </a:r>
          </a:p>
          <a:p>
            <a:pPr>
              <a:spcAft>
                <a:spcPts val="450"/>
              </a:spcAft>
            </a:pPr>
            <a:r>
              <a:rPr lang="en-US" sz="1800" dirty="0"/>
              <a:t>Control will scale based on service orientation</a:t>
            </a:r>
          </a:p>
        </p:txBody>
      </p:sp>
      <p:grpSp>
        <p:nvGrpSpPr>
          <p:cNvPr id="41" name="Group 40"/>
          <p:cNvGrpSpPr/>
          <p:nvPr/>
        </p:nvGrpSpPr>
        <p:grpSpPr>
          <a:xfrm>
            <a:off x="457200" y="1934717"/>
            <a:ext cx="8217408" cy="2278575"/>
            <a:chOff x="457200" y="1934717"/>
            <a:chExt cx="8217408" cy="2278575"/>
          </a:xfrm>
        </p:grpSpPr>
        <p:sp>
          <p:nvSpPr>
            <p:cNvPr id="28" name="Rectangle 27"/>
            <p:cNvSpPr/>
            <p:nvPr/>
          </p:nvSpPr>
          <p:spPr bwMode="auto">
            <a:xfrm>
              <a:off x="4572000" y="1934717"/>
              <a:ext cx="3276600" cy="484632"/>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09"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27" name="Pentagon 26"/>
            <p:cNvSpPr/>
            <p:nvPr/>
          </p:nvSpPr>
          <p:spPr bwMode="auto">
            <a:xfrm rot="10800000">
              <a:off x="3733800" y="1934717"/>
              <a:ext cx="978408" cy="484632"/>
            </a:xfrm>
            <a:prstGeom prst="homePlate">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09"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9" name="Pentagon 8"/>
            <p:cNvSpPr/>
            <p:nvPr/>
          </p:nvSpPr>
          <p:spPr bwMode="auto">
            <a:xfrm>
              <a:off x="7696200" y="1934717"/>
              <a:ext cx="978408" cy="484632"/>
            </a:xfrm>
            <a:prstGeom prst="homePlate">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09"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6" name="Rectangle 5"/>
            <p:cNvSpPr/>
            <p:nvPr/>
          </p:nvSpPr>
          <p:spPr bwMode="auto">
            <a:xfrm>
              <a:off x="533400" y="2483227"/>
              <a:ext cx="3124200" cy="304800"/>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09"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 name="Rectangle 7"/>
            <p:cNvSpPr/>
            <p:nvPr/>
          </p:nvSpPr>
          <p:spPr bwMode="auto">
            <a:xfrm>
              <a:off x="3695432" y="2483228"/>
              <a:ext cx="4973345" cy="1730064"/>
            </a:xfrm>
            <a:prstGeom prst="rect">
              <a:avLst/>
            </a:prstGeom>
            <a:solidFill>
              <a:srgbClr val="FF8A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23"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10" name="TextBox 9"/>
            <p:cNvSpPr txBox="1"/>
            <p:nvPr/>
          </p:nvSpPr>
          <p:spPr>
            <a:xfrm>
              <a:off x="5924863" y="3782404"/>
              <a:ext cx="2454646" cy="424732"/>
            </a:xfrm>
            <a:prstGeom prst="rect">
              <a:avLst/>
            </a:prstGeom>
            <a:noFill/>
          </p:spPr>
          <p:txBody>
            <a:bodyPr wrap="none" rtlCol="0">
              <a:spAutoFit/>
            </a:bodyPr>
            <a:lstStyle/>
            <a:p>
              <a:pPr defTabSz="685721">
                <a:lnSpc>
                  <a:spcPct val="90000"/>
                </a:lnSpc>
                <a:spcBef>
                  <a:spcPct val="20000"/>
                </a:spcBef>
                <a:buSzPct val="90000"/>
              </a:pPr>
              <a:r>
                <a:rPr lang="en-US" sz="2400" b="1" spc="-75" dirty="0">
                  <a:solidFill>
                    <a:srgbClr val="FFFFFF"/>
                  </a:solidFill>
                  <a:latin typeface="Segoe UI Light" pitchFamily="34" charset="0"/>
                </a:rPr>
                <a:t>CLOUD PROVIDER</a:t>
              </a:r>
            </a:p>
          </p:txBody>
        </p:sp>
        <p:sp>
          <p:nvSpPr>
            <p:cNvPr id="11" name="TextBox 10"/>
            <p:cNvSpPr txBox="1"/>
            <p:nvPr/>
          </p:nvSpPr>
          <p:spPr>
            <a:xfrm>
              <a:off x="3924092" y="2787942"/>
              <a:ext cx="2589235" cy="424732"/>
            </a:xfrm>
            <a:prstGeom prst="rect">
              <a:avLst/>
            </a:prstGeom>
            <a:noFill/>
          </p:spPr>
          <p:txBody>
            <a:bodyPr wrap="none" rtlCol="0">
              <a:spAutoFit/>
            </a:bodyPr>
            <a:lstStyle/>
            <a:p>
              <a:pPr defTabSz="685721">
                <a:lnSpc>
                  <a:spcPct val="90000"/>
                </a:lnSpc>
                <a:spcBef>
                  <a:spcPct val="20000"/>
                </a:spcBef>
                <a:buSzPct val="90000"/>
              </a:pPr>
              <a:r>
                <a:rPr lang="en-US" sz="2400" b="1" spc="-75" dirty="0">
                  <a:solidFill>
                    <a:srgbClr val="FFFFFF"/>
                  </a:solidFill>
                  <a:latin typeface="Segoe UI Light" pitchFamily="34" charset="0"/>
                </a:rPr>
                <a:t>CLOUD CUSTOMER</a:t>
              </a:r>
            </a:p>
          </p:txBody>
        </p:sp>
        <p:sp>
          <p:nvSpPr>
            <p:cNvPr id="12" name="TextBox 11"/>
            <p:cNvSpPr txBox="1"/>
            <p:nvPr/>
          </p:nvSpPr>
          <p:spPr>
            <a:xfrm>
              <a:off x="7696200" y="1961030"/>
              <a:ext cx="678391" cy="369332"/>
            </a:xfrm>
            <a:prstGeom prst="rect">
              <a:avLst/>
            </a:prstGeom>
            <a:noFill/>
          </p:spPr>
          <p:txBody>
            <a:bodyPr wrap="none" rtlCol="0">
              <a:spAutoFit/>
            </a:bodyPr>
            <a:lstStyle/>
            <a:p>
              <a:pPr defTabSz="685721">
                <a:lnSpc>
                  <a:spcPct val="90000"/>
                </a:lnSpc>
                <a:spcBef>
                  <a:spcPct val="20000"/>
                </a:spcBef>
                <a:buSzPct val="90000"/>
              </a:pPr>
              <a:r>
                <a:rPr lang="en-US" sz="2000" spc="-75" dirty="0" err="1">
                  <a:solidFill>
                    <a:srgbClr val="FFFFFF"/>
                  </a:solidFill>
                </a:rPr>
                <a:t>SaaS</a:t>
              </a:r>
              <a:endParaRPr lang="en-US" sz="2000" spc="-75" dirty="0">
                <a:solidFill>
                  <a:srgbClr val="FFFFFF"/>
                </a:solidFill>
              </a:endParaRPr>
            </a:p>
          </p:txBody>
        </p:sp>
        <p:sp>
          <p:nvSpPr>
            <p:cNvPr id="13" name="TextBox 12"/>
            <p:cNvSpPr txBox="1"/>
            <p:nvPr/>
          </p:nvSpPr>
          <p:spPr>
            <a:xfrm>
              <a:off x="5924863" y="1961030"/>
              <a:ext cx="678134" cy="369332"/>
            </a:xfrm>
            <a:prstGeom prst="rect">
              <a:avLst/>
            </a:prstGeom>
            <a:noFill/>
          </p:spPr>
          <p:txBody>
            <a:bodyPr wrap="none" rtlCol="0">
              <a:spAutoFit/>
            </a:bodyPr>
            <a:lstStyle/>
            <a:p>
              <a:pPr defTabSz="685721">
                <a:lnSpc>
                  <a:spcPct val="90000"/>
                </a:lnSpc>
                <a:spcBef>
                  <a:spcPct val="20000"/>
                </a:spcBef>
                <a:buSzPct val="90000"/>
              </a:pPr>
              <a:r>
                <a:rPr lang="en-US" sz="2000" spc="-75" dirty="0" err="1">
                  <a:solidFill>
                    <a:srgbClr val="FFFFFF"/>
                  </a:solidFill>
                </a:rPr>
                <a:t>PaaS</a:t>
              </a:r>
              <a:endParaRPr lang="en-US" sz="2000" spc="-75" dirty="0">
                <a:solidFill>
                  <a:srgbClr val="FFFFFF"/>
                </a:solidFill>
              </a:endParaRPr>
            </a:p>
          </p:txBody>
        </p:sp>
        <p:sp>
          <p:nvSpPr>
            <p:cNvPr id="14" name="TextBox 13"/>
            <p:cNvSpPr txBox="1"/>
            <p:nvPr/>
          </p:nvSpPr>
          <p:spPr>
            <a:xfrm>
              <a:off x="3962400" y="1961030"/>
              <a:ext cx="611065" cy="369332"/>
            </a:xfrm>
            <a:prstGeom prst="rect">
              <a:avLst/>
            </a:prstGeom>
            <a:noFill/>
          </p:spPr>
          <p:txBody>
            <a:bodyPr wrap="none" rtlCol="0">
              <a:spAutoFit/>
            </a:bodyPr>
            <a:lstStyle/>
            <a:p>
              <a:pPr defTabSz="685721">
                <a:lnSpc>
                  <a:spcPct val="90000"/>
                </a:lnSpc>
                <a:spcBef>
                  <a:spcPct val="20000"/>
                </a:spcBef>
                <a:buSzPct val="90000"/>
              </a:pPr>
              <a:r>
                <a:rPr lang="en-US" sz="2000" spc="-75" dirty="0" err="1">
                  <a:solidFill>
                    <a:srgbClr val="FFFFFF"/>
                  </a:solidFill>
                </a:rPr>
                <a:t>IaaS</a:t>
              </a:r>
              <a:endParaRPr lang="en-US" sz="2000" spc="-75" dirty="0">
                <a:solidFill>
                  <a:srgbClr val="FFFFFF"/>
                </a:solidFill>
              </a:endParaRPr>
            </a:p>
          </p:txBody>
        </p:sp>
        <p:sp>
          <p:nvSpPr>
            <p:cNvPr id="2" name="Freeform 1"/>
            <p:cNvSpPr/>
            <p:nvPr/>
          </p:nvSpPr>
          <p:spPr>
            <a:xfrm>
              <a:off x="3702270" y="3105150"/>
              <a:ext cx="4966507" cy="830043"/>
            </a:xfrm>
            <a:custGeom>
              <a:avLst/>
              <a:gdLst>
                <a:gd name="connsiteX0" fmla="*/ 0 w 6653719"/>
                <a:gd name="connsiteY0" fmla="*/ 1828800 h 1828800"/>
                <a:gd name="connsiteX1" fmla="*/ 6653719 w 6653719"/>
                <a:gd name="connsiteY1" fmla="*/ 0 h 1828800"/>
                <a:gd name="connsiteX2" fmla="*/ 19455 w 6653719"/>
                <a:gd name="connsiteY2" fmla="*/ 1439693 h 1828800"/>
                <a:gd name="connsiteX3" fmla="*/ 0 w 6653719"/>
                <a:gd name="connsiteY3" fmla="*/ 1828800 h 1828800"/>
                <a:gd name="connsiteX0" fmla="*/ 0 w 6653719"/>
                <a:gd name="connsiteY0" fmla="*/ 1828800 h 1828800"/>
                <a:gd name="connsiteX1" fmla="*/ 6653719 w 6653719"/>
                <a:gd name="connsiteY1" fmla="*/ 0 h 1828800"/>
                <a:gd name="connsiteX2" fmla="*/ 3126 w 6653719"/>
                <a:gd name="connsiteY2" fmla="*/ 1466907 h 1828800"/>
                <a:gd name="connsiteX3" fmla="*/ 0 w 6653719"/>
                <a:gd name="connsiteY3" fmla="*/ 1828800 h 1828800"/>
                <a:gd name="connsiteX0" fmla="*/ 13203 w 6650593"/>
                <a:gd name="connsiteY0" fmla="*/ 1828800 h 1828800"/>
                <a:gd name="connsiteX1" fmla="*/ 6650593 w 6650593"/>
                <a:gd name="connsiteY1" fmla="*/ 0 h 1828800"/>
                <a:gd name="connsiteX2" fmla="*/ 0 w 6650593"/>
                <a:gd name="connsiteY2" fmla="*/ 1466907 h 1828800"/>
                <a:gd name="connsiteX3" fmla="*/ 13203 w 6650593"/>
                <a:gd name="connsiteY3" fmla="*/ 1828800 h 1828800"/>
                <a:gd name="connsiteX0" fmla="*/ 2317 w 6639707"/>
                <a:gd name="connsiteY0" fmla="*/ 1828800 h 1828800"/>
                <a:gd name="connsiteX1" fmla="*/ 6639707 w 6639707"/>
                <a:gd name="connsiteY1" fmla="*/ 0 h 1828800"/>
                <a:gd name="connsiteX2" fmla="*/ 0 w 6639707"/>
                <a:gd name="connsiteY2" fmla="*/ 1477793 h 1828800"/>
                <a:gd name="connsiteX3" fmla="*/ 2317 w 6639707"/>
                <a:gd name="connsiteY3" fmla="*/ 1828800 h 1828800"/>
              </a:gdLst>
              <a:ahLst/>
              <a:cxnLst>
                <a:cxn ang="0">
                  <a:pos x="connsiteX0" y="connsiteY0"/>
                </a:cxn>
                <a:cxn ang="0">
                  <a:pos x="connsiteX1" y="connsiteY1"/>
                </a:cxn>
                <a:cxn ang="0">
                  <a:pos x="connsiteX2" y="connsiteY2"/>
                </a:cxn>
                <a:cxn ang="0">
                  <a:pos x="connsiteX3" y="connsiteY3"/>
                </a:cxn>
              </a:cxnLst>
              <a:rect l="l" t="t" r="r" b="b"/>
              <a:pathLst>
                <a:path w="6639707" h="1828800">
                  <a:moveTo>
                    <a:pt x="2317" y="1828800"/>
                  </a:moveTo>
                  <a:lnTo>
                    <a:pt x="6639707" y="0"/>
                  </a:lnTo>
                  <a:lnTo>
                    <a:pt x="0" y="1477793"/>
                  </a:lnTo>
                  <a:cubicBezTo>
                    <a:pt x="772" y="1594795"/>
                    <a:pt x="1545" y="1711798"/>
                    <a:pt x="2317" y="1828800"/>
                  </a:cubicBezTo>
                  <a:close/>
                </a:path>
              </a:pathLst>
            </a:cu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23"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16" name="Rectangle 15"/>
            <p:cNvSpPr/>
            <p:nvPr/>
          </p:nvSpPr>
          <p:spPr bwMode="auto">
            <a:xfrm>
              <a:off x="533400" y="3037542"/>
              <a:ext cx="3124200" cy="304800"/>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09"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17" name="Rectangle 16"/>
            <p:cNvSpPr/>
            <p:nvPr/>
          </p:nvSpPr>
          <p:spPr bwMode="auto">
            <a:xfrm>
              <a:off x="533400" y="3609043"/>
              <a:ext cx="3124200" cy="304800"/>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09"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19" name="TextBox 18"/>
            <p:cNvSpPr txBox="1"/>
            <p:nvPr/>
          </p:nvSpPr>
          <p:spPr>
            <a:xfrm>
              <a:off x="457200" y="2114550"/>
              <a:ext cx="1556516" cy="313932"/>
            </a:xfrm>
            <a:prstGeom prst="rect">
              <a:avLst/>
            </a:prstGeom>
            <a:noFill/>
          </p:spPr>
          <p:txBody>
            <a:bodyPr wrap="none" rtlCol="0">
              <a:spAutoFit/>
            </a:bodyPr>
            <a:lstStyle/>
            <a:p>
              <a:pPr defTabSz="685721">
                <a:lnSpc>
                  <a:spcPct val="90000"/>
                </a:lnSpc>
                <a:spcBef>
                  <a:spcPct val="20000"/>
                </a:spcBef>
                <a:buSzPct val="90000"/>
              </a:pPr>
              <a:r>
                <a:rPr lang="en-US" sz="1600" spc="-75" dirty="0">
                  <a:solidFill>
                    <a:srgbClr val="FFFFFF"/>
                  </a:solidFill>
                </a:rPr>
                <a:t>RESPONSIBILITY:</a:t>
              </a:r>
            </a:p>
          </p:txBody>
        </p:sp>
        <p:sp>
          <p:nvSpPr>
            <p:cNvPr id="20" name="TextBox 19"/>
            <p:cNvSpPr txBox="1"/>
            <p:nvPr/>
          </p:nvSpPr>
          <p:spPr>
            <a:xfrm>
              <a:off x="514604" y="2504822"/>
              <a:ext cx="2723823" cy="258532"/>
            </a:xfrm>
            <a:prstGeom prst="rect">
              <a:avLst/>
            </a:prstGeom>
            <a:noFill/>
          </p:spPr>
          <p:txBody>
            <a:bodyPr wrap="none" rtlCol="0">
              <a:spAutoFit/>
            </a:bodyPr>
            <a:lstStyle/>
            <a:p>
              <a:pPr defTabSz="685721">
                <a:lnSpc>
                  <a:spcPct val="90000"/>
                </a:lnSpc>
                <a:spcBef>
                  <a:spcPct val="20000"/>
                </a:spcBef>
                <a:buSzPct val="90000"/>
              </a:pPr>
              <a:r>
                <a:rPr lang="en-US" sz="1200" dirty="0">
                  <a:solidFill>
                    <a:srgbClr val="FFFFFF"/>
                  </a:solidFill>
                </a:rPr>
                <a:t>Data Classification and Accountability</a:t>
              </a:r>
            </a:p>
          </p:txBody>
        </p:sp>
        <p:sp>
          <p:nvSpPr>
            <p:cNvPr id="22" name="TextBox 21"/>
            <p:cNvSpPr txBox="1"/>
            <p:nvPr/>
          </p:nvSpPr>
          <p:spPr>
            <a:xfrm>
              <a:off x="514604" y="3056751"/>
              <a:ext cx="1945020" cy="276999"/>
            </a:xfrm>
            <a:prstGeom prst="rect">
              <a:avLst/>
            </a:prstGeom>
            <a:noFill/>
          </p:spPr>
          <p:txBody>
            <a:bodyPr wrap="none" rtlCol="0">
              <a:spAutoFit/>
            </a:bodyPr>
            <a:lstStyle/>
            <a:p>
              <a:pPr defTabSz="685721"/>
              <a:r>
                <a:rPr lang="en-US" sz="1200" dirty="0">
                  <a:solidFill>
                    <a:srgbClr val="FFFFFF"/>
                  </a:solidFill>
                </a:rPr>
                <a:t>Application Level Controls</a:t>
              </a:r>
            </a:p>
          </p:txBody>
        </p:sp>
        <p:sp>
          <p:nvSpPr>
            <p:cNvPr id="23" name="TextBox 22"/>
            <p:cNvSpPr txBox="1"/>
            <p:nvPr/>
          </p:nvSpPr>
          <p:spPr>
            <a:xfrm>
              <a:off x="533400" y="2775600"/>
              <a:ext cx="1494576" cy="276999"/>
            </a:xfrm>
            <a:prstGeom prst="rect">
              <a:avLst/>
            </a:prstGeom>
            <a:noFill/>
          </p:spPr>
          <p:txBody>
            <a:bodyPr wrap="none" rtlCol="0">
              <a:spAutoFit/>
            </a:bodyPr>
            <a:lstStyle/>
            <a:p>
              <a:pPr defTabSz="685721"/>
              <a:r>
                <a:rPr lang="en-US" sz="1200" dirty="0">
                  <a:solidFill>
                    <a:srgbClr val="FFFFFF"/>
                  </a:solidFill>
                </a:rPr>
                <a:t>Host Level Controls</a:t>
              </a:r>
            </a:p>
          </p:txBody>
        </p:sp>
        <p:sp>
          <p:nvSpPr>
            <p:cNvPr id="24" name="TextBox 23"/>
            <p:cNvSpPr txBox="1"/>
            <p:nvPr/>
          </p:nvSpPr>
          <p:spPr>
            <a:xfrm>
              <a:off x="514604" y="3333750"/>
              <a:ext cx="2440092" cy="276999"/>
            </a:xfrm>
            <a:prstGeom prst="rect">
              <a:avLst/>
            </a:prstGeom>
            <a:noFill/>
          </p:spPr>
          <p:txBody>
            <a:bodyPr wrap="none" rtlCol="0">
              <a:spAutoFit/>
            </a:bodyPr>
            <a:lstStyle/>
            <a:p>
              <a:pPr defTabSz="685721"/>
              <a:r>
                <a:rPr lang="en-US" sz="1200" dirty="0">
                  <a:solidFill>
                    <a:srgbClr val="FFFFFF"/>
                  </a:solidFill>
                </a:rPr>
                <a:t>Identity and Access Management</a:t>
              </a:r>
            </a:p>
          </p:txBody>
        </p:sp>
        <p:sp>
          <p:nvSpPr>
            <p:cNvPr id="25" name="TextBox 24"/>
            <p:cNvSpPr txBox="1"/>
            <p:nvPr/>
          </p:nvSpPr>
          <p:spPr>
            <a:xfrm>
              <a:off x="514604" y="3602862"/>
              <a:ext cx="1371594" cy="276999"/>
            </a:xfrm>
            <a:prstGeom prst="rect">
              <a:avLst/>
            </a:prstGeom>
            <a:noFill/>
          </p:spPr>
          <p:txBody>
            <a:bodyPr wrap="none" rtlCol="0">
              <a:spAutoFit/>
            </a:bodyPr>
            <a:lstStyle/>
            <a:p>
              <a:pPr defTabSz="685721"/>
              <a:r>
                <a:rPr lang="en-US" sz="1200" dirty="0">
                  <a:solidFill>
                    <a:srgbClr val="FFFFFF"/>
                  </a:solidFill>
                </a:rPr>
                <a:t>Network Controls</a:t>
              </a:r>
            </a:p>
          </p:txBody>
        </p:sp>
        <p:sp>
          <p:nvSpPr>
            <p:cNvPr id="26" name="TextBox 25"/>
            <p:cNvSpPr txBox="1"/>
            <p:nvPr/>
          </p:nvSpPr>
          <p:spPr>
            <a:xfrm>
              <a:off x="514604" y="3896657"/>
              <a:ext cx="1297150" cy="276999"/>
            </a:xfrm>
            <a:prstGeom prst="rect">
              <a:avLst/>
            </a:prstGeom>
            <a:noFill/>
          </p:spPr>
          <p:txBody>
            <a:bodyPr wrap="none" rtlCol="0">
              <a:spAutoFit/>
            </a:bodyPr>
            <a:lstStyle/>
            <a:p>
              <a:pPr defTabSz="685721"/>
              <a:r>
                <a:rPr lang="en-US" sz="1200" dirty="0">
                  <a:solidFill>
                    <a:srgbClr val="FFFFFF"/>
                  </a:solidFill>
                </a:rPr>
                <a:t>Physical Security</a:t>
              </a:r>
            </a:p>
          </p:txBody>
        </p:sp>
      </p:grpSp>
      <p:grpSp>
        <p:nvGrpSpPr>
          <p:cNvPr id="7" name="Group 6"/>
          <p:cNvGrpSpPr/>
          <p:nvPr/>
        </p:nvGrpSpPr>
        <p:grpSpPr>
          <a:xfrm>
            <a:off x="533405" y="1885951"/>
            <a:ext cx="4133597" cy="2327342"/>
            <a:chOff x="514603" y="1885950"/>
            <a:chExt cx="4133597" cy="2327342"/>
          </a:xfrm>
        </p:grpSpPr>
        <p:sp>
          <p:nvSpPr>
            <p:cNvPr id="29" name="Rectangle 28"/>
            <p:cNvSpPr/>
            <p:nvPr/>
          </p:nvSpPr>
          <p:spPr>
            <a:xfrm>
              <a:off x="3675874" y="1885950"/>
              <a:ext cx="972326" cy="2316882"/>
            </a:xfrm>
            <a:prstGeom prst="rect">
              <a:avLst/>
            </a:prstGeom>
            <a:solidFill>
              <a:srgbClr val="FFBE00">
                <a:alpha val="39000"/>
              </a:srgbClr>
            </a:solidFill>
            <a:ln w="6350">
              <a:gradFill flip="none" rotWithShape="1">
                <a:gsLst>
                  <a:gs pos="0">
                    <a:srgbClr val="000000">
                      <a:alpha val="0"/>
                    </a:srgbClr>
                  </a:gs>
                  <a:gs pos="50000">
                    <a:srgbClr val="005CB0">
                      <a:alpha val="78000"/>
                    </a:srgbClr>
                  </a:gs>
                  <a:gs pos="100000">
                    <a:srgbClr val="000C22">
                      <a:alpha val="0"/>
                    </a:srgbClr>
                  </a:gs>
                </a:gsLst>
                <a:lin ang="16200000" scaled="1"/>
                <a:tileRect/>
              </a:gra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0" tIns="1005840" rIns="0" bIns="274320" numCol="1" rtlCol="0" anchor="ctr" anchorCtr="0" compatLnSpc="1">
              <a:prstTxWarp prst="textNoShape">
                <a:avLst/>
              </a:prstTxWarp>
            </a:bodyPr>
            <a:lstStyle/>
            <a:p>
              <a:pPr algn="ctr" defTabSz="685721" fontAlgn="base">
                <a:lnSpc>
                  <a:spcPct val="90000"/>
                </a:lnSpc>
                <a:spcBef>
                  <a:spcPts val="1350"/>
                </a:spcBef>
                <a:spcAft>
                  <a:spcPts val="1350"/>
                </a:spcAft>
              </a:pPr>
              <a:endParaRPr lang="en-US" sz="1500" kern="0" dirty="0">
                <a:solidFill>
                  <a:srgbClr val="FFFFFF">
                    <a:lumMod val="10000"/>
                    <a:lumOff val="90000"/>
                  </a:srgbClr>
                </a:solidFill>
                <a:latin typeface="Segoe UI Light" pitchFamily="34" charset="0"/>
              </a:endParaRPr>
            </a:p>
          </p:txBody>
        </p:sp>
        <p:sp>
          <p:nvSpPr>
            <p:cNvPr id="30" name="Rectangle 29"/>
            <p:cNvSpPr/>
            <p:nvPr/>
          </p:nvSpPr>
          <p:spPr>
            <a:xfrm>
              <a:off x="514603" y="3610750"/>
              <a:ext cx="4133597" cy="602542"/>
            </a:xfrm>
            <a:prstGeom prst="rect">
              <a:avLst/>
            </a:prstGeom>
            <a:solidFill>
              <a:srgbClr val="FFBE00">
                <a:alpha val="39000"/>
              </a:srgbClr>
            </a:solidFill>
            <a:ln w="6350">
              <a:gradFill flip="none" rotWithShape="1">
                <a:gsLst>
                  <a:gs pos="0">
                    <a:srgbClr val="000000">
                      <a:alpha val="0"/>
                    </a:srgbClr>
                  </a:gs>
                  <a:gs pos="50000">
                    <a:srgbClr val="005CB0">
                      <a:alpha val="78000"/>
                    </a:srgbClr>
                  </a:gs>
                  <a:gs pos="100000">
                    <a:srgbClr val="000C22">
                      <a:alpha val="0"/>
                    </a:srgbClr>
                  </a:gs>
                </a:gsLst>
                <a:lin ang="16200000" scaled="1"/>
                <a:tileRect/>
              </a:gra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0" tIns="1005840" rIns="0" bIns="274320" numCol="1" rtlCol="0" anchor="ctr" anchorCtr="0" compatLnSpc="1">
              <a:prstTxWarp prst="textNoShape">
                <a:avLst/>
              </a:prstTxWarp>
            </a:bodyPr>
            <a:lstStyle/>
            <a:p>
              <a:pPr algn="ctr" defTabSz="685721" fontAlgn="base">
                <a:lnSpc>
                  <a:spcPct val="90000"/>
                </a:lnSpc>
                <a:spcBef>
                  <a:spcPts val="1350"/>
                </a:spcBef>
                <a:spcAft>
                  <a:spcPts val="1350"/>
                </a:spcAft>
              </a:pPr>
              <a:endParaRPr lang="en-US" sz="1500" kern="0" dirty="0">
                <a:solidFill>
                  <a:srgbClr val="FFFFFF">
                    <a:lumMod val="10000"/>
                    <a:lumOff val="90000"/>
                  </a:srgbClr>
                </a:solidFill>
                <a:latin typeface="Segoe UI Light" pitchFamily="34" charset="0"/>
              </a:endParaRPr>
            </a:p>
          </p:txBody>
        </p:sp>
      </p:grpSp>
      <p:grpSp>
        <p:nvGrpSpPr>
          <p:cNvPr id="40" name="Group 39"/>
          <p:cNvGrpSpPr/>
          <p:nvPr/>
        </p:nvGrpSpPr>
        <p:grpSpPr>
          <a:xfrm>
            <a:off x="537715" y="1895259"/>
            <a:ext cx="6159260" cy="2327342"/>
            <a:chOff x="546341" y="1844608"/>
            <a:chExt cx="6159260" cy="2327342"/>
          </a:xfrm>
        </p:grpSpPr>
        <p:sp>
          <p:nvSpPr>
            <p:cNvPr id="35" name="Rectangle 34"/>
            <p:cNvSpPr/>
            <p:nvPr/>
          </p:nvSpPr>
          <p:spPr>
            <a:xfrm>
              <a:off x="5733274" y="1844608"/>
              <a:ext cx="972326" cy="2316882"/>
            </a:xfrm>
            <a:prstGeom prst="rect">
              <a:avLst/>
            </a:prstGeom>
            <a:solidFill>
              <a:srgbClr val="FFBE00">
                <a:alpha val="39000"/>
              </a:srgbClr>
            </a:solidFill>
            <a:ln w="6350">
              <a:gradFill flip="none" rotWithShape="1">
                <a:gsLst>
                  <a:gs pos="0">
                    <a:srgbClr val="000000">
                      <a:alpha val="0"/>
                    </a:srgbClr>
                  </a:gs>
                  <a:gs pos="50000">
                    <a:srgbClr val="005CB0">
                      <a:alpha val="78000"/>
                    </a:srgbClr>
                  </a:gs>
                  <a:gs pos="100000">
                    <a:srgbClr val="000C22">
                      <a:alpha val="0"/>
                    </a:srgbClr>
                  </a:gs>
                </a:gsLst>
                <a:lin ang="16200000" scaled="1"/>
                <a:tileRect/>
              </a:gra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0" tIns="1005840" rIns="0" bIns="274320" numCol="1" rtlCol="0" anchor="ctr" anchorCtr="0" compatLnSpc="1">
              <a:prstTxWarp prst="textNoShape">
                <a:avLst/>
              </a:prstTxWarp>
            </a:bodyPr>
            <a:lstStyle/>
            <a:p>
              <a:pPr algn="ctr" defTabSz="685721" fontAlgn="base">
                <a:lnSpc>
                  <a:spcPct val="90000"/>
                </a:lnSpc>
                <a:spcBef>
                  <a:spcPts val="1350"/>
                </a:spcBef>
                <a:spcAft>
                  <a:spcPts val="1350"/>
                </a:spcAft>
              </a:pPr>
              <a:endParaRPr lang="en-US" sz="1500" kern="0" dirty="0">
                <a:solidFill>
                  <a:srgbClr val="FFFFFF">
                    <a:lumMod val="10000"/>
                    <a:lumOff val="90000"/>
                  </a:srgbClr>
                </a:solidFill>
                <a:latin typeface="Segoe UI Light" pitchFamily="34" charset="0"/>
              </a:endParaRPr>
            </a:p>
          </p:txBody>
        </p:sp>
        <p:sp>
          <p:nvSpPr>
            <p:cNvPr id="36" name="Rectangle 35"/>
            <p:cNvSpPr/>
            <p:nvPr/>
          </p:nvSpPr>
          <p:spPr>
            <a:xfrm>
              <a:off x="546341" y="3348260"/>
              <a:ext cx="6159260" cy="823690"/>
            </a:xfrm>
            <a:prstGeom prst="rect">
              <a:avLst/>
            </a:prstGeom>
            <a:solidFill>
              <a:srgbClr val="FFBE00">
                <a:alpha val="39000"/>
              </a:srgbClr>
            </a:solidFill>
            <a:ln w="6350">
              <a:gradFill flip="none" rotWithShape="1">
                <a:gsLst>
                  <a:gs pos="0">
                    <a:srgbClr val="000000">
                      <a:alpha val="0"/>
                    </a:srgbClr>
                  </a:gs>
                  <a:gs pos="50000">
                    <a:srgbClr val="005CB0">
                      <a:alpha val="78000"/>
                    </a:srgbClr>
                  </a:gs>
                  <a:gs pos="100000">
                    <a:srgbClr val="000C22">
                      <a:alpha val="0"/>
                    </a:srgbClr>
                  </a:gs>
                </a:gsLst>
                <a:lin ang="16200000" scaled="1"/>
                <a:tileRect/>
              </a:gra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0" tIns="1005840" rIns="0" bIns="274320" numCol="1" rtlCol="0" anchor="ctr" anchorCtr="0" compatLnSpc="1">
              <a:prstTxWarp prst="textNoShape">
                <a:avLst/>
              </a:prstTxWarp>
            </a:bodyPr>
            <a:lstStyle/>
            <a:p>
              <a:pPr algn="ctr" defTabSz="685721" fontAlgn="base">
                <a:lnSpc>
                  <a:spcPct val="90000"/>
                </a:lnSpc>
                <a:spcBef>
                  <a:spcPts val="1350"/>
                </a:spcBef>
                <a:spcAft>
                  <a:spcPts val="1350"/>
                </a:spcAft>
              </a:pPr>
              <a:endParaRPr lang="en-US" sz="1500" kern="0" dirty="0">
                <a:solidFill>
                  <a:srgbClr val="FFFFFF">
                    <a:lumMod val="10000"/>
                    <a:lumOff val="90000"/>
                  </a:srgbClr>
                </a:solidFill>
                <a:latin typeface="Segoe UI Light" pitchFamily="34" charset="0"/>
              </a:endParaRPr>
            </a:p>
          </p:txBody>
        </p:sp>
      </p:grpSp>
      <p:grpSp>
        <p:nvGrpSpPr>
          <p:cNvPr id="39" name="Group 38"/>
          <p:cNvGrpSpPr/>
          <p:nvPr/>
        </p:nvGrpSpPr>
        <p:grpSpPr>
          <a:xfrm>
            <a:off x="546346" y="1885951"/>
            <a:ext cx="8064259" cy="2327342"/>
            <a:chOff x="546341" y="1844608"/>
            <a:chExt cx="8064259" cy="2327342"/>
          </a:xfrm>
        </p:grpSpPr>
        <p:sp>
          <p:nvSpPr>
            <p:cNvPr id="37" name="Rectangle 36"/>
            <p:cNvSpPr/>
            <p:nvPr/>
          </p:nvSpPr>
          <p:spPr>
            <a:xfrm>
              <a:off x="7638274" y="1844608"/>
              <a:ext cx="972326" cy="2316882"/>
            </a:xfrm>
            <a:prstGeom prst="rect">
              <a:avLst/>
            </a:prstGeom>
            <a:solidFill>
              <a:srgbClr val="FFBE00">
                <a:alpha val="39000"/>
              </a:srgbClr>
            </a:solidFill>
            <a:ln w="6350">
              <a:gradFill flip="none" rotWithShape="1">
                <a:gsLst>
                  <a:gs pos="0">
                    <a:srgbClr val="000000">
                      <a:alpha val="0"/>
                    </a:srgbClr>
                  </a:gs>
                  <a:gs pos="50000">
                    <a:srgbClr val="005CB0">
                      <a:alpha val="78000"/>
                    </a:srgbClr>
                  </a:gs>
                  <a:gs pos="100000">
                    <a:srgbClr val="000C22">
                      <a:alpha val="0"/>
                    </a:srgbClr>
                  </a:gs>
                </a:gsLst>
                <a:lin ang="16200000" scaled="1"/>
                <a:tileRect/>
              </a:gra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0" tIns="1005840" rIns="0" bIns="274320" numCol="1" rtlCol="0" anchor="ctr" anchorCtr="0" compatLnSpc="1">
              <a:prstTxWarp prst="textNoShape">
                <a:avLst/>
              </a:prstTxWarp>
            </a:bodyPr>
            <a:lstStyle/>
            <a:p>
              <a:pPr algn="ctr" defTabSz="685721" fontAlgn="base">
                <a:lnSpc>
                  <a:spcPct val="90000"/>
                </a:lnSpc>
                <a:spcBef>
                  <a:spcPts val="1350"/>
                </a:spcBef>
                <a:spcAft>
                  <a:spcPts val="1350"/>
                </a:spcAft>
              </a:pPr>
              <a:endParaRPr lang="en-US" sz="1500" kern="0" dirty="0">
                <a:solidFill>
                  <a:srgbClr val="FFFFFF">
                    <a:lumMod val="10000"/>
                    <a:lumOff val="90000"/>
                  </a:srgbClr>
                </a:solidFill>
                <a:latin typeface="Segoe UI Light" pitchFamily="34" charset="0"/>
              </a:endParaRPr>
            </a:p>
          </p:txBody>
        </p:sp>
        <p:sp>
          <p:nvSpPr>
            <p:cNvPr id="38" name="Rectangle 37"/>
            <p:cNvSpPr/>
            <p:nvPr/>
          </p:nvSpPr>
          <p:spPr>
            <a:xfrm>
              <a:off x="546341" y="3052599"/>
              <a:ext cx="8064259" cy="1119351"/>
            </a:xfrm>
            <a:prstGeom prst="rect">
              <a:avLst/>
            </a:prstGeom>
            <a:solidFill>
              <a:srgbClr val="FFBE00">
                <a:alpha val="39000"/>
              </a:srgbClr>
            </a:solidFill>
            <a:ln w="6350">
              <a:gradFill flip="none" rotWithShape="1">
                <a:gsLst>
                  <a:gs pos="0">
                    <a:srgbClr val="000000">
                      <a:alpha val="0"/>
                    </a:srgbClr>
                  </a:gs>
                  <a:gs pos="50000">
                    <a:srgbClr val="005CB0">
                      <a:alpha val="78000"/>
                    </a:srgbClr>
                  </a:gs>
                  <a:gs pos="100000">
                    <a:srgbClr val="000C22">
                      <a:alpha val="0"/>
                    </a:srgbClr>
                  </a:gs>
                </a:gsLst>
                <a:lin ang="16200000" scaled="1"/>
                <a:tileRect/>
              </a:gra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0" tIns="1005840" rIns="0" bIns="274320" numCol="1" rtlCol="0" anchor="ctr" anchorCtr="0" compatLnSpc="1">
              <a:prstTxWarp prst="textNoShape">
                <a:avLst/>
              </a:prstTxWarp>
            </a:bodyPr>
            <a:lstStyle/>
            <a:p>
              <a:pPr algn="ctr" defTabSz="685721" fontAlgn="base">
                <a:lnSpc>
                  <a:spcPct val="90000"/>
                </a:lnSpc>
                <a:spcBef>
                  <a:spcPts val="1350"/>
                </a:spcBef>
                <a:spcAft>
                  <a:spcPts val="1350"/>
                </a:spcAft>
              </a:pPr>
              <a:endParaRPr lang="en-US" sz="1500" kern="0" dirty="0">
                <a:solidFill>
                  <a:srgbClr val="FFFFFF">
                    <a:lumMod val="10000"/>
                    <a:lumOff val="90000"/>
                  </a:srgbClr>
                </a:solidFill>
                <a:latin typeface="Segoe UI Light" pitchFamily="34" charset="0"/>
              </a:endParaRPr>
            </a:p>
          </p:txBody>
        </p:sp>
      </p:grpSp>
      <p:sp>
        <p:nvSpPr>
          <p:cNvPr id="34"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42"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pic>
        <p:nvPicPr>
          <p:cNvPr id="43"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02005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1"/>
                                        </p:tgtEl>
                                        <p:attrNameLst>
                                          <p:attrName>style.visibility</p:attrName>
                                        </p:attrNameLst>
                                      </p:cBhvr>
                                      <p:to>
                                        <p:strVal val="visible"/>
                                      </p:to>
                                    </p:set>
                                    <p:anim calcmode="lin" valueType="num">
                                      <p:cBhvr additive="base">
                                        <p:cTn id="7" dur="500" fill="hold"/>
                                        <p:tgtEl>
                                          <p:spTgt spid="41"/>
                                        </p:tgtEl>
                                        <p:attrNameLst>
                                          <p:attrName>ppt_x</p:attrName>
                                        </p:attrNameLst>
                                      </p:cBhvr>
                                      <p:tavLst>
                                        <p:tav tm="0">
                                          <p:val>
                                            <p:strVal val="#ppt_x"/>
                                          </p:val>
                                        </p:tav>
                                        <p:tav tm="100000">
                                          <p:val>
                                            <p:strVal val="#ppt_x"/>
                                          </p:val>
                                        </p:tav>
                                      </p:tavLst>
                                    </p:anim>
                                    <p:anim calcmode="lin" valueType="num">
                                      <p:cBhvr additive="base">
                                        <p:cTn id="8" dur="500" fill="hold"/>
                                        <p:tgtEl>
                                          <p:spTgt spid="41"/>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nodeType="clickEffect">
                                  <p:stCondLst>
                                    <p:cond delay="0"/>
                                  </p:stCondLst>
                                  <p:childTnLst>
                                    <p:set>
                                      <p:cBhvr>
                                        <p:cTn id="16" dur="1" fill="hold">
                                          <p:stCondLst>
                                            <p:cond delay="0"/>
                                          </p:stCondLst>
                                        </p:cTn>
                                        <p:tgtEl>
                                          <p:spTgt spid="7"/>
                                        </p:tgtEl>
                                        <p:attrNameLst>
                                          <p:attrName>style.visibility</p:attrName>
                                        </p:attrNameLst>
                                      </p:cBhvr>
                                      <p:to>
                                        <p:strVal val="hidden"/>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0"/>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0" presetClass="exit" presetSubtype="0" fill="hold" nodeType="clickEffect">
                                  <p:stCondLst>
                                    <p:cond delay="0"/>
                                  </p:stCondLst>
                                  <p:childTnLst>
                                    <p:animEffect transition="out" filter="fade">
                                      <p:cBhvr>
                                        <p:cTn id="24" dur="500"/>
                                        <p:tgtEl>
                                          <p:spTgt spid="40"/>
                                        </p:tgtEl>
                                      </p:cBhvr>
                                    </p:animEffect>
                                    <p:set>
                                      <p:cBhvr>
                                        <p:cTn id="25" dur="1" fill="hold">
                                          <p:stCondLst>
                                            <p:cond delay="499"/>
                                          </p:stCondLst>
                                        </p:cTn>
                                        <p:tgtEl>
                                          <p:spTgt spid="40"/>
                                        </p:tgtEl>
                                        <p:attrNameLst>
                                          <p:attrName>style.visibility</p:attrName>
                                        </p:attrNameLst>
                                      </p:cBhvr>
                                      <p:to>
                                        <p:strVal val="hidden"/>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nodeType="clickEffect">
                                  <p:stCondLst>
                                    <p:cond delay="0"/>
                                  </p:stCondLst>
                                  <p:childTnLst>
                                    <p:set>
                                      <p:cBhvr>
                                        <p:cTn id="29"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p:cNvPicPr>
            <a:picLocks/>
          </p:cNvPicPr>
          <p:nvPr/>
        </p:nvPicPr>
        <p:blipFill rotWithShape="1">
          <a:blip r:embed="rId2" cstate="screen">
            <a:extLst>
              <a:ext uri="{28A0092B-C50C-407E-A947-70E740481C1C}">
                <a14:useLocalDpi xmlns:a14="http://schemas.microsoft.com/office/drawing/2010/main"/>
              </a:ext>
            </a:extLst>
          </a:blip>
          <a:srcRect/>
          <a:stretch/>
        </p:blipFill>
        <p:spPr>
          <a:xfrm>
            <a:off x="394640" y="1657349"/>
            <a:ext cx="1989559" cy="1988820"/>
          </a:xfrm>
          <a:prstGeom prst="rect">
            <a:avLst/>
          </a:prstGeom>
          <a:noFill/>
          <a:ln>
            <a:noFill/>
          </a:ln>
          <a:effectLst/>
        </p:spPr>
      </p:pic>
      <p:pic>
        <p:nvPicPr>
          <p:cNvPr id="17" name="Picture 16"/>
          <p:cNvPicPr>
            <a:picLocks noChangeAspect="1"/>
          </p:cNvPicPr>
          <p:nvPr/>
        </p:nvPicPr>
        <p:blipFill rotWithShape="1">
          <a:blip r:embed="rId3" cstate="screen">
            <a:extLst>
              <a:ext uri="{28A0092B-C50C-407E-A947-70E740481C1C}">
                <a14:useLocalDpi xmlns:a14="http://schemas.microsoft.com/office/drawing/2010/main"/>
              </a:ext>
            </a:extLst>
          </a:blip>
          <a:srcRect l="-2"/>
          <a:stretch/>
        </p:blipFill>
        <p:spPr>
          <a:xfrm>
            <a:off x="2497335" y="1657355"/>
            <a:ext cx="1986625" cy="1988819"/>
          </a:xfrm>
          <a:prstGeom prst="rect">
            <a:avLst/>
          </a:prstGeom>
          <a:effectLst/>
        </p:spPr>
      </p:pic>
      <p:pic>
        <p:nvPicPr>
          <p:cNvPr id="20" name="Picture 19"/>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612435" y="1657355"/>
            <a:ext cx="1988019" cy="1988819"/>
          </a:xfrm>
          <a:prstGeom prst="rect">
            <a:avLst/>
          </a:prstGeom>
          <a:effectLst/>
        </p:spPr>
      </p:pic>
      <p:pic>
        <p:nvPicPr>
          <p:cNvPr id="21" name="Picture 20"/>
          <p:cNvPicPr>
            <a:picLocks noChangeAspect="1"/>
          </p:cNvPicPr>
          <p:nvPr/>
        </p:nvPicPr>
        <p:blipFill rotWithShape="1">
          <a:blip r:embed="rId5" cstate="screen">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a:ext>
            </a:extLst>
          </a:blip>
          <a:srcRect b="-425"/>
          <a:stretch/>
        </p:blipFill>
        <p:spPr>
          <a:xfrm>
            <a:off x="6725936" y="1674076"/>
            <a:ext cx="1994507" cy="1976358"/>
          </a:xfrm>
          <a:prstGeom prst="rect">
            <a:avLst/>
          </a:prstGeom>
          <a:ln>
            <a:noFill/>
          </a:ln>
          <a:effectLst/>
        </p:spPr>
      </p:pic>
      <p:sp>
        <p:nvSpPr>
          <p:cNvPr id="2" name="Title 1"/>
          <p:cNvSpPr>
            <a:spLocks noGrp="1"/>
          </p:cNvSpPr>
          <p:nvPr>
            <p:ph type="title"/>
          </p:nvPr>
        </p:nvSpPr>
        <p:spPr>
          <a:xfrm>
            <a:off x="456134" y="317030"/>
            <a:ext cx="8231743" cy="739177"/>
          </a:xfrm>
        </p:spPr>
        <p:txBody>
          <a:bodyPr/>
          <a:lstStyle/>
          <a:p>
            <a:r>
              <a:rPr lang="en-US" dirty="0" smtClean="0"/>
              <a:t>PHYSICAL SECURITY– </a:t>
            </a:r>
            <a:br>
              <a:rPr lang="en-US" dirty="0" smtClean="0"/>
            </a:br>
            <a:r>
              <a:rPr lang="en-US" sz="2000" dirty="0">
                <a:solidFill>
                  <a:srgbClr val="FFFFFF"/>
                </a:solidFill>
              </a:rPr>
              <a:t>Some of the measures we employ:</a:t>
            </a:r>
          </a:p>
        </p:txBody>
      </p:sp>
      <p:sp>
        <p:nvSpPr>
          <p:cNvPr id="26" name="TextBox 25"/>
          <p:cNvSpPr txBox="1"/>
          <p:nvPr/>
        </p:nvSpPr>
        <p:spPr>
          <a:xfrm>
            <a:off x="4572000" y="3839607"/>
            <a:ext cx="1968951" cy="488605"/>
          </a:xfrm>
          <a:prstGeom prst="rect">
            <a:avLst/>
          </a:prstGeom>
          <a:noFill/>
        </p:spPr>
        <p:txBody>
          <a:bodyPr wrap="square" lIns="68574" tIns="34288" rIns="68574" bIns="34288" rtlCol="0">
            <a:spAutoFit/>
          </a:bodyPr>
          <a:lstStyle/>
          <a:p>
            <a:pPr defTabSz="685721">
              <a:lnSpc>
                <a:spcPct val="90000"/>
              </a:lnSpc>
              <a:spcBef>
                <a:spcPct val="20000"/>
              </a:spcBef>
              <a:buSzPct val="90000"/>
            </a:pPr>
            <a:r>
              <a:rPr lang="en-US" sz="1500" dirty="0">
                <a:solidFill>
                  <a:srgbClr val="FFFFFF"/>
                </a:solidFill>
                <a:ea typeface="Segoe UI" pitchFamily="34" charset="0"/>
                <a:cs typeface="Segoe UI" pitchFamily="34" charset="0"/>
              </a:rPr>
              <a:t>MULTI-FACTOR AUTHENTICATION</a:t>
            </a:r>
          </a:p>
        </p:txBody>
      </p:sp>
      <p:sp>
        <p:nvSpPr>
          <p:cNvPr id="27" name="TextBox 26"/>
          <p:cNvSpPr txBox="1"/>
          <p:nvPr/>
        </p:nvSpPr>
        <p:spPr>
          <a:xfrm>
            <a:off x="6705602" y="3839607"/>
            <a:ext cx="1968951" cy="488605"/>
          </a:xfrm>
          <a:prstGeom prst="rect">
            <a:avLst/>
          </a:prstGeom>
          <a:noFill/>
        </p:spPr>
        <p:txBody>
          <a:bodyPr wrap="square" lIns="68574" tIns="34288" rIns="68574" bIns="34288" rtlCol="0">
            <a:spAutoFit/>
          </a:bodyPr>
          <a:lstStyle/>
          <a:p>
            <a:pPr defTabSz="685721">
              <a:lnSpc>
                <a:spcPct val="90000"/>
              </a:lnSpc>
              <a:spcBef>
                <a:spcPct val="20000"/>
              </a:spcBef>
              <a:buSzPct val="90000"/>
            </a:pPr>
            <a:r>
              <a:rPr lang="en-US" sz="1500" dirty="0">
                <a:solidFill>
                  <a:srgbClr val="FFFFFF"/>
                </a:solidFill>
                <a:ea typeface="Segoe UI" pitchFamily="34" charset="0"/>
                <a:cs typeface="Segoe UI" pitchFamily="34" charset="0"/>
              </a:rPr>
              <a:t>EXTENSIVE MONITORING</a:t>
            </a:r>
          </a:p>
        </p:txBody>
      </p:sp>
      <p:sp>
        <p:nvSpPr>
          <p:cNvPr id="28" name="TextBox 27"/>
          <p:cNvSpPr txBox="1"/>
          <p:nvPr/>
        </p:nvSpPr>
        <p:spPr>
          <a:xfrm>
            <a:off x="2466851" y="3839602"/>
            <a:ext cx="2017111" cy="280856"/>
          </a:xfrm>
          <a:prstGeom prst="rect">
            <a:avLst/>
          </a:prstGeom>
          <a:noFill/>
        </p:spPr>
        <p:txBody>
          <a:bodyPr wrap="square" lIns="68574" tIns="34288" rIns="68574" bIns="34288" rtlCol="0">
            <a:spAutoFit/>
          </a:bodyPr>
          <a:lstStyle/>
          <a:p>
            <a:pPr defTabSz="685721">
              <a:lnSpc>
                <a:spcPct val="90000"/>
              </a:lnSpc>
              <a:spcBef>
                <a:spcPct val="20000"/>
              </a:spcBef>
              <a:buSzPct val="90000"/>
            </a:pPr>
            <a:r>
              <a:rPr lang="en-US" sz="1500" dirty="0">
                <a:solidFill>
                  <a:srgbClr val="FFFFFF"/>
                </a:solidFill>
                <a:ea typeface="Segoe UI" pitchFamily="34" charset="0"/>
                <a:cs typeface="Segoe UI" pitchFamily="34" charset="0"/>
              </a:rPr>
              <a:t>FIRE SUPPRESSION</a:t>
            </a:r>
          </a:p>
        </p:txBody>
      </p:sp>
      <p:sp>
        <p:nvSpPr>
          <p:cNvPr id="29" name="TextBox 28"/>
          <p:cNvSpPr txBox="1"/>
          <p:nvPr/>
        </p:nvSpPr>
        <p:spPr>
          <a:xfrm>
            <a:off x="304805" y="3839602"/>
            <a:ext cx="2000583" cy="280856"/>
          </a:xfrm>
          <a:prstGeom prst="rect">
            <a:avLst/>
          </a:prstGeom>
          <a:noFill/>
        </p:spPr>
        <p:txBody>
          <a:bodyPr wrap="square" lIns="68574" tIns="34288" rIns="68574" bIns="34288" rtlCol="0">
            <a:spAutoFit/>
          </a:bodyPr>
          <a:lstStyle/>
          <a:p>
            <a:pPr defTabSz="685721">
              <a:lnSpc>
                <a:spcPct val="90000"/>
              </a:lnSpc>
              <a:spcBef>
                <a:spcPct val="20000"/>
              </a:spcBef>
              <a:buSzPct val="90000"/>
            </a:pPr>
            <a:r>
              <a:rPr lang="en-US" sz="1500" dirty="0">
                <a:solidFill>
                  <a:srgbClr val="FFFFFF"/>
                </a:solidFill>
                <a:ea typeface="Segoe UI" pitchFamily="34" charset="0"/>
                <a:cs typeface="Segoe UI" pitchFamily="34" charset="0"/>
              </a:rPr>
              <a:t>PERIMETER SECURITY</a:t>
            </a:r>
          </a:p>
        </p:txBody>
      </p:sp>
      <p:sp>
        <p:nvSpPr>
          <p:cNvPr id="11"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2"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7"/>
              </a:rPr>
              <a:t>www.rapidbbs.cn</a:t>
            </a:r>
            <a:endParaRPr lang="zh-CN" altLang="en-US" sz="1200" b="0">
              <a:latin typeface="Arial" charset="0"/>
              <a:ea typeface="ＭＳ Ｐゴシック" pitchFamily="34" charset="-128"/>
            </a:endParaRPr>
          </a:p>
        </p:txBody>
      </p:sp>
      <p:pic>
        <p:nvPicPr>
          <p:cNvPr id="13" name="Picture 2">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60827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Isosceles Triangle 58"/>
          <p:cNvSpPr/>
          <p:nvPr/>
        </p:nvSpPr>
        <p:spPr bwMode="auto">
          <a:xfrm rot="16200000">
            <a:off x="2057400" y="2419352"/>
            <a:ext cx="152400" cy="152400"/>
          </a:xfrm>
          <a:prstGeom prst="triangle">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6" tIns="45708" rIns="91416" bIns="45708" numCol="1" rtlCol="0" anchor="ctr" anchorCtr="0" compatLnSpc="1">
            <a:prstTxWarp prst="textNoShape">
              <a:avLst/>
            </a:prstTxWarp>
          </a:bodyPr>
          <a:lstStyle/>
          <a:p>
            <a:pPr algn="ctr" defTabSz="913909" fontAlgn="base">
              <a:spcBef>
                <a:spcPct val="0"/>
              </a:spcBef>
              <a:spcAft>
                <a:spcPct val="0"/>
              </a:spcAft>
            </a:pPr>
            <a:endParaRPr lang="en-US" sz="2400" dirty="0">
              <a:gradFill>
                <a:gsLst>
                  <a:gs pos="0">
                    <a:srgbClr val="FFFFFF"/>
                  </a:gs>
                  <a:gs pos="100000">
                    <a:srgbClr val="FFFFFF"/>
                  </a:gs>
                </a:gsLst>
                <a:lin ang="5400000" scaled="0"/>
              </a:gradFill>
            </a:endParaRPr>
          </a:p>
        </p:txBody>
      </p:sp>
      <p:pic>
        <p:nvPicPr>
          <p:cNvPr id="185" name="Picture 6" descr="\\server3\InternalBin\Resource DVD\DVD_ART36\Artwork_Imagery\Icons - Illustrations\Maps Globes\world map Transparent blue.png"/>
          <p:cNvPicPr>
            <a:picLocks noChangeAspect="1" noChangeArrowheads="1"/>
          </p:cNvPicPr>
          <p:nvPr/>
        </p:nvPicPr>
        <p:blipFill>
          <a:blip r:embed="rId3" cstate="screen">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3608534" y="1371600"/>
            <a:ext cx="1943606" cy="2908670"/>
          </a:xfrm>
          <a:prstGeom prst="rect">
            <a:avLst/>
          </a:prstGeom>
          <a:solidFill>
            <a:srgbClr val="0071BC"/>
          </a:solidFill>
        </p:spPr>
      </p:pic>
      <p:sp>
        <p:nvSpPr>
          <p:cNvPr id="2" name="Title 1"/>
          <p:cNvSpPr>
            <a:spLocks noGrp="1"/>
          </p:cNvSpPr>
          <p:nvPr>
            <p:ph type="title"/>
          </p:nvPr>
        </p:nvSpPr>
        <p:spPr>
          <a:xfrm>
            <a:off x="387054" y="171450"/>
            <a:ext cx="8375946" cy="387798"/>
          </a:xfrm>
        </p:spPr>
        <p:txBody>
          <a:bodyPr/>
          <a:lstStyle/>
          <a:p>
            <a:r>
              <a:rPr lang="en-US" sz="2800" dirty="0"/>
              <a:t>DISTRIBUTED SERVICES</a:t>
            </a:r>
          </a:p>
        </p:txBody>
      </p:sp>
      <p:pic>
        <p:nvPicPr>
          <p:cNvPr id="74" name="Picture 6" descr="\\server3\InternalBin\Resource DVD\DVD_ART36\Artwork_Imagery\Icons - Illustrations\Maps Globes\world map Transparent blue.png"/>
          <p:cNvPicPr>
            <a:picLocks noChangeAspect="1" noChangeArrowheads="1"/>
          </p:cNvPicPr>
          <p:nvPr/>
        </p:nvPicPr>
        <p:blipFill>
          <a:blip r:embed="rId5" cstate="screen">
            <a:alphaModFix/>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76195" y="1364456"/>
            <a:ext cx="3600197" cy="2908670"/>
          </a:xfrm>
          <a:prstGeom prst="rect">
            <a:avLst/>
          </a:prstGeom>
          <a:solidFill>
            <a:srgbClr val="FF8A00"/>
          </a:solidFill>
        </p:spPr>
      </p:pic>
      <p:pic>
        <p:nvPicPr>
          <p:cNvPr id="83" name="Picture 6" descr="\\server3\InternalBin\Resource DVD\DVD_ART36\Artwork_Imagery\Icons - Illustrations\Maps Globes\world map Transparent blue.png"/>
          <p:cNvPicPr>
            <a:picLocks noChangeAspect="1" noChangeArrowheads="1"/>
          </p:cNvPicPr>
          <p:nvPr/>
        </p:nvPicPr>
        <p:blipFill>
          <a:blip r:embed="rId7" cstate="screen">
            <a:extLst>
              <a:ext uri="{BEBA8EAE-BF5A-486C-A8C5-ECC9F3942E4B}">
                <a14:imgProps xmlns:a14="http://schemas.microsoft.com/office/drawing/2010/main">
                  <a14:imgLayer r:embed="rId8">
                    <a14:imgEffect>
                      <a14:brightnessContrast bright="40000"/>
                    </a14:imgEffect>
                  </a14:imgLayer>
                </a14:imgProps>
              </a:ext>
              <a:ext uri="{28A0092B-C50C-407E-A947-70E740481C1C}">
                <a14:useLocalDpi xmlns:a14="http://schemas.microsoft.com/office/drawing/2010/main"/>
              </a:ext>
            </a:extLst>
          </a:blip>
          <a:srcRect r="-1748"/>
          <a:stretch>
            <a:fillRect/>
          </a:stretch>
        </p:blipFill>
        <p:spPr bwMode="auto">
          <a:xfrm>
            <a:off x="5635520" y="1371600"/>
            <a:ext cx="3584715" cy="2908670"/>
          </a:xfrm>
          <a:prstGeom prst="rect">
            <a:avLst/>
          </a:prstGeom>
          <a:solidFill>
            <a:srgbClr val="00AEEF"/>
          </a:solidFill>
        </p:spPr>
      </p:pic>
      <p:sp>
        <p:nvSpPr>
          <p:cNvPr id="15" name="TextBox 9"/>
          <p:cNvSpPr txBox="1">
            <a:spLocks noChangeArrowheads="1"/>
          </p:cNvSpPr>
          <p:nvPr/>
        </p:nvSpPr>
        <p:spPr bwMode="auto">
          <a:xfrm>
            <a:off x="304810" y="1022424"/>
            <a:ext cx="2689643" cy="253926"/>
          </a:xfrm>
          <a:prstGeom prst="rect">
            <a:avLst/>
          </a:prstGeom>
          <a:noFill/>
          <a:ln w="9525">
            <a:noFill/>
            <a:miter lim="800000"/>
            <a:headEnd/>
            <a:tailEnd/>
          </a:ln>
        </p:spPr>
        <p:txBody>
          <a:bodyPr wrap="square" lIns="68574" tIns="34288" rIns="68574" bIns="34288">
            <a:spAutoFit/>
          </a:bodyPr>
          <a:lstStyle/>
          <a:p>
            <a:pPr defTabSz="685721" eaLnBrk="0" hangingPunct="0"/>
            <a:r>
              <a:rPr lang="en-US" sz="1200" dirty="0">
                <a:gradFill>
                  <a:gsLst>
                    <a:gs pos="0">
                      <a:srgbClr val="FFFFFF"/>
                    </a:gs>
                    <a:gs pos="86000">
                      <a:srgbClr val="FFFFFF"/>
                    </a:gs>
                  </a:gsLst>
                  <a:lin ang="5400000" scaled="0"/>
                </a:gradFill>
                <a:effectLst>
                  <a:outerShdw blurRad="63500" algn="ctr" rotWithShape="0">
                    <a:srgbClr val="FFFFFF">
                      <a:alpha val="60000"/>
                    </a:srgbClr>
                  </a:outerShdw>
                </a:effectLst>
              </a:rPr>
              <a:t>NORTH AMERICA REGION</a:t>
            </a:r>
          </a:p>
        </p:txBody>
      </p:sp>
      <p:sp>
        <p:nvSpPr>
          <p:cNvPr id="22" name="TextBox 9"/>
          <p:cNvSpPr txBox="1">
            <a:spLocks noChangeArrowheads="1"/>
          </p:cNvSpPr>
          <p:nvPr/>
        </p:nvSpPr>
        <p:spPr bwMode="auto">
          <a:xfrm>
            <a:off x="3544526" y="1022424"/>
            <a:ext cx="1560874" cy="253926"/>
          </a:xfrm>
          <a:prstGeom prst="rect">
            <a:avLst/>
          </a:prstGeom>
          <a:noFill/>
          <a:ln w="9525">
            <a:noFill/>
            <a:miter lim="800000"/>
            <a:headEnd/>
            <a:tailEnd/>
          </a:ln>
        </p:spPr>
        <p:txBody>
          <a:bodyPr wrap="square" lIns="68574" tIns="34288" rIns="68574" bIns="34288">
            <a:spAutoFit/>
          </a:bodyPr>
          <a:lstStyle/>
          <a:p>
            <a:pPr defTabSz="685721" eaLnBrk="0" hangingPunct="0"/>
            <a:r>
              <a:rPr lang="en-US" sz="1200" dirty="0">
                <a:gradFill>
                  <a:gsLst>
                    <a:gs pos="0">
                      <a:srgbClr val="FFFFFF"/>
                    </a:gs>
                    <a:gs pos="86000">
                      <a:srgbClr val="FFFFFF"/>
                    </a:gs>
                  </a:gsLst>
                  <a:lin ang="5400000" scaled="0"/>
                </a:gradFill>
                <a:effectLst>
                  <a:outerShdw blurRad="63500" algn="ctr" rotWithShape="0">
                    <a:srgbClr val="FFFFFF">
                      <a:alpha val="60000"/>
                    </a:srgbClr>
                  </a:outerShdw>
                </a:effectLst>
              </a:rPr>
              <a:t>EUROPE REGION</a:t>
            </a:r>
          </a:p>
        </p:txBody>
      </p:sp>
      <p:sp>
        <p:nvSpPr>
          <p:cNvPr id="39" name="TextBox 9"/>
          <p:cNvSpPr txBox="1">
            <a:spLocks noChangeArrowheads="1"/>
          </p:cNvSpPr>
          <p:nvPr/>
        </p:nvSpPr>
        <p:spPr bwMode="auto">
          <a:xfrm>
            <a:off x="5652173" y="1022424"/>
            <a:ext cx="1739228" cy="253926"/>
          </a:xfrm>
          <a:prstGeom prst="rect">
            <a:avLst/>
          </a:prstGeom>
          <a:noFill/>
          <a:ln w="9525">
            <a:noFill/>
            <a:miter lim="800000"/>
            <a:headEnd/>
            <a:tailEnd/>
          </a:ln>
        </p:spPr>
        <p:txBody>
          <a:bodyPr wrap="square" lIns="68574" tIns="34288" rIns="68574" bIns="34288">
            <a:spAutoFit/>
          </a:bodyPr>
          <a:lstStyle/>
          <a:p>
            <a:pPr defTabSz="685721" eaLnBrk="0" hangingPunct="0"/>
            <a:r>
              <a:rPr lang="en-US" sz="1200" dirty="0">
                <a:gradFill>
                  <a:gsLst>
                    <a:gs pos="0">
                      <a:srgbClr val="FFFFFF"/>
                    </a:gs>
                    <a:gs pos="86000">
                      <a:srgbClr val="FFFFFF"/>
                    </a:gs>
                  </a:gsLst>
                  <a:lin ang="5400000" scaled="0"/>
                </a:gradFill>
                <a:effectLst>
                  <a:outerShdw blurRad="63500" algn="ctr" rotWithShape="0">
                    <a:srgbClr val="FFFFFF">
                      <a:alpha val="60000"/>
                    </a:srgbClr>
                  </a:outerShdw>
                </a:effectLst>
              </a:rPr>
              <a:t>ASIA PACIFIC REGION</a:t>
            </a:r>
          </a:p>
        </p:txBody>
      </p:sp>
      <p:sp>
        <p:nvSpPr>
          <p:cNvPr id="16" name="TextBox 13"/>
          <p:cNvSpPr txBox="1">
            <a:spLocks noChangeArrowheads="1"/>
          </p:cNvSpPr>
          <p:nvPr/>
        </p:nvSpPr>
        <p:spPr bwMode="auto">
          <a:xfrm>
            <a:off x="152400" y="2190750"/>
            <a:ext cx="609600" cy="176982"/>
          </a:xfrm>
          <a:prstGeom prst="rect">
            <a:avLst/>
          </a:prstGeom>
          <a:solidFill>
            <a:srgbClr val="4B135A"/>
          </a:solidFill>
          <a:ln w="9525">
            <a:noFill/>
            <a:miter lim="800000"/>
            <a:headEnd/>
            <a:tailEnd/>
          </a:ln>
        </p:spPr>
        <p:txBody>
          <a:bodyPr wrap="square" lIns="68574" tIns="34288" rIns="68574" bIns="34288">
            <a:spAutoFit/>
          </a:bodyPr>
          <a:lstStyle/>
          <a:p>
            <a:pPr defTabSz="685721"/>
            <a:r>
              <a:rPr lang="en-US" sz="700" dirty="0">
                <a:solidFill>
                  <a:srgbClr val="FFFFFF"/>
                </a:solidFill>
              </a:rPr>
              <a:t>Seattle, WA</a:t>
            </a:r>
          </a:p>
        </p:txBody>
      </p:sp>
      <p:sp>
        <p:nvSpPr>
          <p:cNvPr id="138" name="TextBox 13"/>
          <p:cNvSpPr txBox="1">
            <a:spLocks noChangeArrowheads="1"/>
          </p:cNvSpPr>
          <p:nvPr/>
        </p:nvSpPr>
        <p:spPr bwMode="auto">
          <a:xfrm>
            <a:off x="2360666" y="2190750"/>
            <a:ext cx="611134" cy="176982"/>
          </a:xfrm>
          <a:prstGeom prst="rect">
            <a:avLst/>
          </a:prstGeom>
          <a:solidFill>
            <a:srgbClr val="4B135A"/>
          </a:solidFill>
          <a:ln w="9525">
            <a:noFill/>
            <a:miter lim="800000"/>
            <a:headEnd/>
            <a:tailEnd/>
          </a:ln>
        </p:spPr>
        <p:txBody>
          <a:bodyPr wrap="square" lIns="68574" tIns="34288" rIns="68574" bIns="34288">
            <a:spAutoFit/>
          </a:bodyPr>
          <a:lstStyle/>
          <a:p>
            <a:pPr defTabSz="685721"/>
            <a:r>
              <a:rPr lang="en-US" sz="700" dirty="0">
                <a:gradFill>
                  <a:gsLst>
                    <a:gs pos="0">
                      <a:srgbClr val="FFFFFF"/>
                    </a:gs>
                    <a:gs pos="86000">
                      <a:srgbClr val="FFFFFF"/>
                    </a:gs>
                  </a:gsLst>
                  <a:lin ang="5400000" scaled="0"/>
                </a:gradFill>
                <a:effectLst>
                  <a:outerShdw blurRad="63500" algn="ctr" rotWithShape="0">
                    <a:srgbClr val="FFFFFF">
                      <a:alpha val="60000"/>
                    </a:srgbClr>
                  </a:outerShdw>
                </a:effectLst>
              </a:rPr>
              <a:t>Newark, NJ</a:t>
            </a:r>
          </a:p>
        </p:txBody>
      </p:sp>
      <p:sp>
        <p:nvSpPr>
          <p:cNvPr id="140" name="TextBox 13"/>
          <p:cNvSpPr txBox="1">
            <a:spLocks noChangeArrowheads="1"/>
          </p:cNvSpPr>
          <p:nvPr/>
        </p:nvSpPr>
        <p:spPr bwMode="auto">
          <a:xfrm>
            <a:off x="4343430" y="2028962"/>
            <a:ext cx="790875" cy="176982"/>
          </a:xfrm>
          <a:prstGeom prst="rect">
            <a:avLst/>
          </a:prstGeom>
          <a:solidFill>
            <a:srgbClr val="4B135A"/>
          </a:solidFill>
          <a:ln w="9525">
            <a:noFill/>
            <a:miter lim="800000"/>
            <a:headEnd/>
            <a:tailEnd/>
          </a:ln>
        </p:spPr>
        <p:txBody>
          <a:bodyPr wrap="square" lIns="68574" tIns="34288" rIns="68574" bIns="34288">
            <a:spAutoFit/>
          </a:bodyPr>
          <a:lstStyle/>
          <a:p>
            <a:pPr defTabSz="685721"/>
            <a:r>
              <a:rPr lang="en-US" sz="700" dirty="0">
                <a:gradFill>
                  <a:gsLst>
                    <a:gs pos="0">
                      <a:srgbClr val="FFFFFF"/>
                    </a:gs>
                    <a:gs pos="86000">
                      <a:srgbClr val="FFFFFF"/>
                    </a:gs>
                  </a:gsLst>
                  <a:lin ang="5400000" scaled="0"/>
                </a:gradFill>
                <a:effectLst>
                  <a:outerShdw blurRad="63500" algn="ctr" rotWithShape="0">
                    <a:srgbClr val="FFFFFF">
                      <a:alpha val="60000"/>
                    </a:srgbClr>
                  </a:outerShdw>
                </a:effectLst>
              </a:rPr>
              <a:t>Amsterdam, NL</a:t>
            </a:r>
          </a:p>
        </p:txBody>
      </p:sp>
      <p:sp>
        <p:nvSpPr>
          <p:cNvPr id="148" name="TextBox 13"/>
          <p:cNvSpPr txBox="1">
            <a:spLocks noChangeArrowheads="1"/>
          </p:cNvSpPr>
          <p:nvPr/>
        </p:nvSpPr>
        <p:spPr bwMode="auto">
          <a:xfrm>
            <a:off x="8001001" y="3638550"/>
            <a:ext cx="609600" cy="176982"/>
          </a:xfrm>
          <a:prstGeom prst="rect">
            <a:avLst/>
          </a:prstGeom>
          <a:solidFill>
            <a:srgbClr val="4B135A"/>
          </a:solidFill>
          <a:ln w="9525">
            <a:noFill/>
            <a:miter lim="800000"/>
            <a:headEnd/>
            <a:tailEnd/>
          </a:ln>
        </p:spPr>
        <p:txBody>
          <a:bodyPr wrap="square" lIns="68574" tIns="34288" rIns="68574" bIns="34288">
            <a:spAutoFit/>
          </a:bodyPr>
          <a:lstStyle/>
          <a:p>
            <a:pPr defTabSz="685721"/>
            <a:r>
              <a:rPr lang="en-US" sz="700" dirty="0">
                <a:solidFill>
                  <a:srgbClr val="FFFFFF"/>
                </a:solidFill>
              </a:rPr>
              <a:t>Sydney, AU</a:t>
            </a:r>
          </a:p>
        </p:txBody>
      </p:sp>
      <p:sp>
        <p:nvSpPr>
          <p:cNvPr id="155" name="TextBox 13"/>
          <p:cNvSpPr txBox="1">
            <a:spLocks noChangeArrowheads="1"/>
          </p:cNvSpPr>
          <p:nvPr/>
        </p:nvSpPr>
        <p:spPr bwMode="auto">
          <a:xfrm>
            <a:off x="6137938" y="2470968"/>
            <a:ext cx="796262" cy="176982"/>
          </a:xfrm>
          <a:prstGeom prst="rect">
            <a:avLst/>
          </a:prstGeom>
          <a:solidFill>
            <a:srgbClr val="4B135A"/>
          </a:solidFill>
          <a:ln w="9525">
            <a:noFill/>
            <a:miter lim="800000"/>
            <a:headEnd/>
            <a:tailEnd/>
          </a:ln>
        </p:spPr>
        <p:txBody>
          <a:bodyPr wrap="square" lIns="68574" tIns="34288" rIns="68574" bIns="34288">
            <a:spAutoFit/>
          </a:bodyPr>
          <a:lstStyle/>
          <a:p>
            <a:pPr defTabSz="685721"/>
            <a:r>
              <a:rPr lang="en-US" sz="700" dirty="0">
                <a:gradFill>
                  <a:gsLst>
                    <a:gs pos="0">
                      <a:srgbClr val="FFFFFF"/>
                    </a:gs>
                    <a:gs pos="86000">
                      <a:srgbClr val="FFFFFF"/>
                    </a:gs>
                  </a:gsLst>
                  <a:lin ang="5400000" scaled="0"/>
                </a:gradFill>
                <a:effectLst>
                  <a:outerShdw blurRad="63500" algn="ctr" rotWithShape="0">
                    <a:srgbClr val="FFFFFF">
                      <a:alpha val="60000"/>
                    </a:srgbClr>
                  </a:outerShdw>
                </a:effectLst>
              </a:rPr>
              <a:t>Hong Kong, HK</a:t>
            </a:r>
          </a:p>
        </p:txBody>
      </p:sp>
      <p:sp>
        <p:nvSpPr>
          <p:cNvPr id="90" name="TextBox 13"/>
          <p:cNvSpPr txBox="1">
            <a:spLocks noChangeArrowheads="1"/>
          </p:cNvSpPr>
          <p:nvPr/>
        </p:nvSpPr>
        <p:spPr bwMode="auto">
          <a:xfrm>
            <a:off x="1981200" y="2647950"/>
            <a:ext cx="533400" cy="176982"/>
          </a:xfrm>
          <a:prstGeom prst="rect">
            <a:avLst/>
          </a:prstGeom>
          <a:solidFill>
            <a:srgbClr val="4B135A"/>
          </a:solidFill>
          <a:ln w="9525">
            <a:noFill/>
            <a:miter lim="800000"/>
            <a:headEnd/>
            <a:tailEnd/>
          </a:ln>
        </p:spPr>
        <p:txBody>
          <a:bodyPr wrap="square" lIns="68574" tIns="34288" rIns="68574" bIns="34288">
            <a:spAutoFit/>
          </a:bodyPr>
          <a:lstStyle/>
          <a:p>
            <a:pPr defTabSz="685721"/>
            <a:r>
              <a:rPr lang="en-US" sz="700" dirty="0">
                <a:gradFill>
                  <a:gsLst>
                    <a:gs pos="0">
                      <a:srgbClr val="FFFFFF"/>
                    </a:gs>
                    <a:gs pos="86000">
                      <a:srgbClr val="FFFFFF"/>
                    </a:gs>
                  </a:gsLst>
                  <a:lin ang="5400000" scaled="0"/>
                </a:gradFill>
                <a:effectLst>
                  <a:outerShdw blurRad="63500" algn="ctr" rotWithShape="0">
                    <a:srgbClr val="FFFFFF">
                      <a:alpha val="60000"/>
                    </a:srgbClr>
                  </a:outerShdw>
                </a:effectLst>
              </a:rPr>
              <a:t>Miami, FL</a:t>
            </a:r>
          </a:p>
        </p:txBody>
      </p:sp>
      <p:sp>
        <p:nvSpPr>
          <p:cNvPr id="93" name="TextBox 13"/>
          <p:cNvSpPr txBox="1">
            <a:spLocks noChangeArrowheads="1"/>
          </p:cNvSpPr>
          <p:nvPr/>
        </p:nvSpPr>
        <p:spPr bwMode="auto">
          <a:xfrm>
            <a:off x="2160914" y="2419350"/>
            <a:ext cx="658497" cy="176982"/>
          </a:xfrm>
          <a:prstGeom prst="rect">
            <a:avLst/>
          </a:prstGeom>
          <a:solidFill>
            <a:srgbClr val="4B135A"/>
          </a:solidFill>
          <a:ln w="9525">
            <a:noFill/>
            <a:miter lim="800000"/>
            <a:headEnd/>
            <a:tailEnd/>
          </a:ln>
        </p:spPr>
        <p:txBody>
          <a:bodyPr wrap="square" lIns="68574" tIns="34288" rIns="68574" bIns="34288">
            <a:spAutoFit/>
          </a:bodyPr>
          <a:lstStyle/>
          <a:p>
            <a:pPr defTabSz="685721"/>
            <a:r>
              <a:rPr lang="en-US" sz="700" dirty="0">
                <a:solidFill>
                  <a:srgbClr val="FFFFFF"/>
                </a:solidFill>
              </a:rPr>
              <a:t>Ashburn, VA</a:t>
            </a:r>
          </a:p>
        </p:txBody>
      </p:sp>
      <p:sp>
        <p:nvSpPr>
          <p:cNvPr id="89" name="TextBox 13"/>
          <p:cNvSpPr txBox="1">
            <a:spLocks noChangeArrowheads="1"/>
          </p:cNvSpPr>
          <p:nvPr/>
        </p:nvSpPr>
        <p:spPr bwMode="auto">
          <a:xfrm>
            <a:off x="152402" y="2571770"/>
            <a:ext cx="762000" cy="284703"/>
          </a:xfrm>
          <a:prstGeom prst="rect">
            <a:avLst/>
          </a:prstGeom>
          <a:solidFill>
            <a:srgbClr val="4B135A"/>
          </a:solidFill>
          <a:ln w="9525">
            <a:noFill/>
            <a:miter lim="800000"/>
            <a:headEnd/>
            <a:tailEnd/>
          </a:ln>
        </p:spPr>
        <p:txBody>
          <a:bodyPr wrap="square" lIns="68574" tIns="34288" rIns="68574" bIns="34288">
            <a:spAutoFit/>
          </a:bodyPr>
          <a:lstStyle/>
          <a:p>
            <a:pPr defTabSz="685721"/>
            <a:r>
              <a:rPr lang="en-US" sz="700" dirty="0">
                <a:solidFill>
                  <a:srgbClr val="FFFFFF"/>
                </a:solidFill>
              </a:rPr>
              <a:t>Bay Area, CA</a:t>
            </a:r>
          </a:p>
          <a:p>
            <a:pPr defTabSz="685721"/>
            <a:r>
              <a:rPr lang="en-US" sz="700" dirty="0">
                <a:gradFill>
                  <a:gsLst>
                    <a:gs pos="0">
                      <a:srgbClr val="FFFFFF"/>
                    </a:gs>
                    <a:gs pos="86000">
                      <a:srgbClr val="FFFFFF"/>
                    </a:gs>
                  </a:gsLst>
                  <a:lin ang="5400000" scaled="0"/>
                </a:gradFill>
                <a:effectLst>
                  <a:outerShdw blurRad="63500" algn="ctr" rotWithShape="0">
                    <a:srgbClr val="FFFFFF">
                      <a:alpha val="60000"/>
                    </a:srgbClr>
                  </a:outerShdw>
                </a:effectLst>
              </a:rPr>
              <a:t>Los Angeles, CA</a:t>
            </a:r>
          </a:p>
        </p:txBody>
      </p:sp>
      <p:sp>
        <p:nvSpPr>
          <p:cNvPr id="165" name="TextBox 13"/>
          <p:cNvSpPr txBox="1">
            <a:spLocks noChangeArrowheads="1"/>
          </p:cNvSpPr>
          <p:nvPr/>
        </p:nvSpPr>
        <p:spPr bwMode="auto">
          <a:xfrm>
            <a:off x="4648214" y="1708968"/>
            <a:ext cx="714675" cy="176982"/>
          </a:xfrm>
          <a:prstGeom prst="rect">
            <a:avLst/>
          </a:prstGeom>
          <a:solidFill>
            <a:srgbClr val="4B135A"/>
          </a:solidFill>
          <a:ln w="9525">
            <a:noFill/>
            <a:miter lim="800000"/>
            <a:headEnd/>
            <a:tailEnd/>
          </a:ln>
        </p:spPr>
        <p:txBody>
          <a:bodyPr wrap="square" lIns="68574" tIns="34288" rIns="68574" bIns="34288">
            <a:spAutoFit/>
          </a:bodyPr>
          <a:lstStyle/>
          <a:p>
            <a:pPr defTabSz="685721"/>
            <a:r>
              <a:rPr lang="en-US" sz="700" dirty="0">
                <a:gradFill>
                  <a:gsLst>
                    <a:gs pos="0">
                      <a:srgbClr val="FFFFFF"/>
                    </a:gs>
                    <a:gs pos="86000">
                      <a:srgbClr val="FFFFFF"/>
                    </a:gs>
                  </a:gsLst>
                  <a:lin ang="5400000" scaled="0"/>
                </a:gradFill>
                <a:effectLst>
                  <a:outerShdw blurRad="63500" algn="ctr" rotWithShape="0">
                    <a:srgbClr val="FFFFFF">
                      <a:alpha val="60000"/>
                    </a:srgbClr>
                  </a:outerShdw>
                </a:effectLst>
              </a:rPr>
              <a:t>Stockholm, SE</a:t>
            </a:r>
          </a:p>
        </p:txBody>
      </p:sp>
      <p:sp>
        <p:nvSpPr>
          <p:cNvPr id="166" name="TextBox 13"/>
          <p:cNvSpPr txBox="1">
            <a:spLocks noChangeArrowheads="1"/>
          </p:cNvSpPr>
          <p:nvPr/>
        </p:nvSpPr>
        <p:spPr bwMode="auto">
          <a:xfrm>
            <a:off x="4658965" y="2318568"/>
            <a:ext cx="598857" cy="176982"/>
          </a:xfrm>
          <a:prstGeom prst="rect">
            <a:avLst/>
          </a:prstGeom>
          <a:solidFill>
            <a:srgbClr val="4B135A"/>
          </a:solidFill>
          <a:ln w="9525">
            <a:noFill/>
            <a:miter lim="800000"/>
            <a:headEnd/>
            <a:tailEnd/>
          </a:ln>
        </p:spPr>
        <p:txBody>
          <a:bodyPr wrap="square" lIns="68574" tIns="34288" rIns="68574" bIns="34288">
            <a:spAutoFit/>
          </a:bodyPr>
          <a:lstStyle/>
          <a:p>
            <a:pPr defTabSz="685721"/>
            <a:r>
              <a:rPr lang="en-US" sz="700" dirty="0">
                <a:gradFill>
                  <a:gsLst>
                    <a:gs pos="0">
                      <a:srgbClr val="FFFFFF"/>
                    </a:gs>
                    <a:gs pos="86000">
                      <a:srgbClr val="FFFFFF"/>
                    </a:gs>
                  </a:gsLst>
                  <a:lin ang="5400000" scaled="0"/>
                </a:gradFill>
                <a:effectLst>
                  <a:outerShdw blurRad="63500" algn="ctr" rotWithShape="0">
                    <a:srgbClr val="FFFFFF">
                      <a:alpha val="60000"/>
                    </a:srgbClr>
                  </a:outerShdw>
                </a:effectLst>
              </a:rPr>
              <a:t>Vienna, AT</a:t>
            </a:r>
          </a:p>
        </p:txBody>
      </p:sp>
      <p:sp>
        <p:nvSpPr>
          <p:cNvPr id="168" name="TextBox 13"/>
          <p:cNvSpPr txBox="1">
            <a:spLocks noChangeArrowheads="1"/>
          </p:cNvSpPr>
          <p:nvPr/>
        </p:nvSpPr>
        <p:spPr bwMode="auto">
          <a:xfrm>
            <a:off x="1981200" y="3333750"/>
            <a:ext cx="685800" cy="176982"/>
          </a:xfrm>
          <a:prstGeom prst="rect">
            <a:avLst/>
          </a:prstGeom>
          <a:solidFill>
            <a:srgbClr val="4B135A"/>
          </a:solidFill>
          <a:ln w="9525">
            <a:noFill/>
            <a:miter lim="800000"/>
            <a:headEnd/>
            <a:tailEnd/>
          </a:ln>
        </p:spPr>
        <p:txBody>
          <a:bodyPr wrap="square" lIns="68574" tIns="34288" rIns="68574" bIns="34288">
            <a:spAutoFit/>
          </a:bodyPr>
          <a:lstStyle/>
          <a:p>
            <a:pPr defTabSz="685721"/>
            <a:r>
              <a:rPr lang="en-US" sz="700" dirty="0">
                <a:solidFill>
                  <a:srgbClr val="FFFFFF"/>
                </a:solidFill>
              </a:rPr>
              <a:t>São Paulo, BR</a:t>
            </a:r>
          </a:p>
        </p:txBody>
      </p:sp>
      <p:sp>
        <p:nvSpPr>
          <p:cNvPr id="186" name="TextBox 13"/>
          <p:cNvSpPr txBox="1">
            <a:spLocks noChangeArrowheads="1"/>
          </p:cNvSpPr>
          <p:nvPr/>
        </p:nvSpPr>
        <p:spPr bwMode="auto">
          <a:xfrm>
            <a:off x="5985538" y="2876550"/>
            <a:ext cx="720062" cy="176982"/>
          </a:xfrm>
          <a:prstGeom prst="rect">
            <a:avLst/>
          </a:prstGeom>
          <a:solidFill>
            <a:srgbClr val="4B135A"/>
          </a:solidFill>
          <a:ln w="9525">
            <a:noFill/>
            <a:miter lim="800000"/>
            <a:headEnd/>
            <a:tailEnd/>
          </a:ln>
        </p:spPr>
        <p:txBody>
          <a:bodyPr wrap="square" lIns="68574" tIns="34288" rIns="68574" bIns="34288">
            <a:spAutoFit/>
          </a:bodyPr>
          <a:lstStyle/>
          <a:p>
            <a:pPr defTabSz="685721"/>
            <a:r>
              <a:rPr lang="en-US" sz="700" dirty="0">
                <a:gradFill>
                  <a:gsLst>
                    <a:gs pos="0">
                      <a:srgbClr val="FFFFFF"/>
                    </a:gs>
                    <a:gs pos="86000">
                      <a:srgbClr val="FFFFFF"/>
                    </a:gs>
                  </a:gsLst>
                  <a:lin ang="5400000" scaled="0"/>
                </a:gradFill>
                <a:effectLst>
                  <a:outerShdw blurRad="63500" algn="ctr" rotWithShape="0">
                    <a:srgbClr val="FFFFFF">
                      <a:alpha val="60000"/>
                    </a:srgbClr>
                  </a:outerShdw>
                </a:effectLst>
              </a:rPr>
              <a:t>Singapore, SG</a:t>
            </a:r>
          </a:p>
        </p:txBody>
      </p:sp>
      <p:cxnSp>
        <p:nvCxnSpPr>
          <p:cNvPr id="230" name="Straight Connector 229"/>
          <p:cNvCxnSpPr/>
          <p:nvPr/>
        </p:nvCxnSpPr>
        <p:spPr>
          <a:xfrm>
            <a:off x="7883175" y="2606942"/>
            <a:ext cx="0" cy="28035"/>
          </a:xfrm>
          <a:prstGeom prst="line">
            <a:avLst/>
          </a:prstGeom>
          <a:ln w="15875"/>
        </p:spPr>
        <p:style>
          <a:lnRef idx="1">
            <a:schemeClr val="accent1"/>
          </a:lnRef>
          <a:fillRef idx="0">
            <a:schemeClr val="accent1"/>
          </a:fillRef>
          <a:effectRef idx="0">
            <a:schemeClr val="accent1"/>
          </a:effectRef>
          <a:fontRef idx="minor">
            <a:schemeClr val="tx1"/>
          </a:fontRef>
        </p:style>
      </p:cxnSp>
      <p:sp>
        <p:nvSpPr>
          <p:cNvPr id="162" name="Rectangle 161"/>
          <p:cNvSpPr/>
          <p:nvPr/>
        </p:nvSpPr>
        <p:spPr>
          <a:xfrm>
            <a:off x="304800" y="4459512"/>
            <a:ext cx="5029200" cy="272381"/>
          </a:xfrm>
          <a:prstGeom prst="rect">
            <a:avLst/>
          </a:prstGeom>
        </p:spPr>
        <p:txBody>
          <a:bodyPr wrap="square" lIns="68574" tIns="34288" rIns="68574" bIns="34288">
            <a:spAutoFit/>
          </a:bodyPr>
          <a:lstStyle/>
          <a:p>
            <a:pPr defTabSz="913871" fontAlgn="base">
              <a:lnSpc>
                <a:spcPct val="110000"/>
              </a:lnSpc>
              <a:spcBef>
                <a:spcPct val="0"/>
              </a:spcBef>
              <a:spcAft>
                <a:spcPct val="0"/>
              </a:spcAft>
            </a:pPr>
            <a:r>
              <a:rPr lang="en-US" sz="1200" dirty="0">
                <a:gradFill>
                  <a:gsLst>
                    <a:gs pos="0">
                      <a:srgbClr val="FFFFFF"/>
                    </a:gs>
                    <a:gs pos="86000">
                      <a:srgbClr val="FFFFFF"/>
                    </a:gs>
                  </a:gsLst>
                  <a:lin ang="5400000" scaled="0"/>
                </a:gradFill>
                <a:effectLst>
                  <a:outerShdw blurRad="63500" algn="ctr" rotWithShape="0">
                    <a:srgbClr val="FFFFFF">
                      <a:alpha val="60000"/>
                    </a:srgbClr>
                  </a:outerShdw>
                </a:effectLst>
              </a:rPr>
              <a:t>.  </a:t>
            </a:r>
          </a:p>
        </p:txBody>
      </p:sp>
      <p:sp>
        <p:nvSpPr>
          <p:cNvPr id="188" name="TextBox 13"/>
          <p:cNvSpPr txBox="1">
            <a:spLocks noChangeArrowheads="1"/>
          </p:cNvSpPr>
          <p:nvPr/>
        </p:nvSpPr>
        <p:spPr bwMode="auto">
          <a:xfrm>
            <a:off x="7391401" y="2699568"/>
            <a:ext cx="643862" cy="176982"/>
          </a:xfrm>
          <a:prstGeom prst="rect">
            <a:avLst/>
          </a:prstGeom>
          <a:solidFill>
            <a:srgbClr val="4B135A"/>
          </a:solidFill>
          <a:ln w="9525">
            <a:noFill/>
            <a:miter lim="800000"/>
            <a:headEnd/>
            <a:tailEnd/>
          </a:ln>
        </p:spPr>
        <p:txBody>
          <a:bodyPr wrap="square" lIns="68574" tIns="34288" rIns="68574" bIns="34288">
            <a:spAutoFit/>
          </a:bodyPr>
          <a:lstStyle/>
          <a:p>
            <a:pPr defTabSz="685721"/>
            <a:r>
              <a:rPr lang="en-US" sz="700" dirty="0">
                <a:gradFill>
                  <a:gsLst>
                    <a:gs pos="0">
                      <a:srgbClr val="FFFFFF"/>
                    </a:gs>
                    <a:gs pos="86000">
                      <a:srgbClr val="FFFFFF"/>
                    </a:gs>
                  </a:gsLst>
                  <a:lin ang="5400000" scaled="0"/>
                </a:gradFill>
                <a:effectLst>
                  <a:outerShdw blurRad="63500" algn="ctr" rotWithShape="0">
                    <a:srgbClr val="FFFFFF">
                      <a:alpha val="60000"/>
                    </a:srgbClr>
                  </a:outerShdw>
                </a:effectLst>
              </a:rPr>
              <a:t>Taipei, TWN</a:t>
            </a:r>
          </a:p>
        </p:txBody>
      </p:sp>
      <p:pic>
        <p:nvPicPr>
          <p:cNvPr id="195" name="Picture 194"/>
          <p:cNvPicPr>
            <a:picLocks noChangeAspect="1"/>
          </p:cNvPicPr>
          <p:nvPr/>
        </p:nvPicPr>
        <p:blipFill rotWithShape="1">
          <a:blip r:embed="rId9" cstate="screen">
            <a:extLst>
              <a:ext uri="{28A0092B-C50C-407E-A947-70E740481C1C}">
                <a14:useLocalDpi xmlns:a14="http://schemas.microsoft.com/office/drawing/2010/main"/>
              </a:ext>
            </a:extLst>
          </a:blip>
          <a:srcRect l="67536"/>
          <a:stretch/>
        </p:blipFill>
        <p:spPr>
          <a:xfrm>
            <a:off x="838208" y="2190773"/>
            <a:ext cx="152399" cy="239561"/>
          </a:xfrm>
          <a:prstGeom prst="rect">
            <a:avLst/>
          </a:prstGeom>
        </p:spPr>
      </p:pic>
      <p:pic>
        <p:nvPicPr>
          <p:cNvPr id="223" name="Picture 222"/>
          <p:cNvPicPr>
            <a:picLocks noChangeAspect="1"/>
          </p:cNvPicPr>
          <p:nvPr/>
        </p:nvPicPr>
        <p:blipFill rotWithShape="1">
          <a:blip r:embed="rId9" cstate="screen">
            <a:extLst>
              <a:ext uri="{28A0092B-C50C-407E-A947-70E740481C1C}">
                <a14:useLocalDpi xmlns:a14="http://schemas.microsoft.com/office/drawing/2010/main"/>
              </a:ext>
            </a:extLst>
          </a:blip>
          <a:srcRect l="67536"/>
          <a:stretch/>
        </p:blipFill>
        <p:spPr>
          <a:xfrm>
            <a:off x="990638" y="2419373"/>
            <a:ext cx="152399" cy="239561"/>
          </a:xfrm>
          <a:prstGeom prst="rect">
            <a:avLst/>
          </a:prstGeom>
        </p:spPr>
      </p:pic>
      <p:pic>
        <p:nvPicPr>
          <p:cNvPr id="232" name="Picture 231"/>
          <p:cNvPicPr>
            <a:picLocks noChangeAspect="1"/>
          </p:cNvPicPr>
          <p:nvPr/>
        </p:nvPicPr>
        <p:blipFill rotWithShape="1">
          <a:blip r:embed="rId9" cstate="screen">
            <a:extLst>
              <a:ext uri="{28A0092B-C50C-407E-A947-70E740481C1C}">
                <a14:useLocalDpi xmlns:a14="http://schemas.microsoft.com/office/drawing/2010/main"/>
              </a:ext>
            </a:extLst>
          </a:blip>
          <a:srcRect l="67536"/>
          <a:stretch/>
        </p:blipFill>
        <p:spPr>
          <a:xfrm>
            <a:off x="1143023" y="2495556"/>
            <a:ext cx="152399" cy="239561"/>
          </a:xfrm>
          <a:prstGeom prst="rect">
            <a:avLst/>
          </a:prstGeom>
        </p:spPr>
      </p:pic>
      <p:pic>
        <p:nvPicPr>
          <p:cNvPr id="233" name="Picture 232"/>
          <p:cNvPicPr>
            <a:picLocks noChangeAspect="1"/>
          </p:cNvPicPr>
          <p:nvPr/>
        </p:nvPicPr>
        <p:blipFill rotWithShape="1">
          <a:blip r:embed="rId9" cstate="screen">
            <a:extLst>
              <a:ext uri="{28A0092B-C50C-407E-A947-70E740481C1C}">
                <a14:useLocalDpi xmlns:a14="http://schemas.microsoft.com/office/drawing/2010/main"/>
              </a:ext>
            </a:extLst>
          </a:blip>
          <a:srcRect l="67536"/>
          <a:stretch/>
        </p:blipFill>
        <p:spPr>
          <a:xfrm>
            <a:off x="1676414" y="2190773"/>
            <a:ext cx="152399" cy="239561"/>
          </a:xfrm>
          <a:prstGeom prst="rect">
            <a:avLst/>
          </a:prstGeom>
        </p:spPr>
      </p:pic>
      <p:pic>
        <p:nvPicPr>
          <p:cNvPr id="234" name="Picture 233"/>
          <p:cNvPicPr>
            <a:picLocks noChangeAspect="1"/>
          </p:cNvPicPr>
          <p:nvPr/>
        </p:nvPicPr>
        <p:blipFill rotWithShape="1">
          <a:blip r:embed="rId9" cstate="screen">
            <a:extLst>
              <a:ext uri="{28A0092B-C50C-407E-A947-70E740481C1C}">
                <a14:useLocalDpi xmlns:a14="http://schemas.microsoft.com/office/drawing/2010/main"/>
              </a:ext>
            </a:extLst>
          </a:blip>
          <a:srcRect l="67536"/>
          <a:stretch/>
        </p:blipFill>
        <p:spPr>
          <a:xfrm>
            <a:off x="2133637" y="2114573"/>
            <a:ext cx="152399" cy="239561"/>
          </a:xfrm>
          <a:prstGeom prst="rect">
            <a:avLst/>
          </a:prstGeom>
        </p:spPr>
      </p:pic>
      <p:pic>
        <p:nvPicPr>
          <p:cNvPr id="235" name="Picture 234"/>
          <p:cNvPicPr>
            <a:picLocks noChangeAspect="1"/>
          </p:cNvPicPr>
          <p:nvPr/>
        </p:nvPicPr>
        <p:blipFill rotWithShape="1">
          <a:blip r:embed="rId9" cstate="screen">
            <a:extLst>
              <a:ext uri="{28A0092B-C50C-407E-A947-70E740481C1C}">
                <a14:useLocalDpi xmlns:a14="http://schemas.microsoft.com/office/drawing/2010/main"/>
              </a:ext>
            </a:extLst>
          </a:blip>
          <a:srcRect l="67536"/>
          <a:stretch/>
        </p:blipFill>
        <p:spPr>
          <a:xfrm>
            <a:off x="1905009" y="2343173"/>
            <a:ext cx="152399" cy="239561"/>
          </a:xfrm>
          <a:prstGeom prst="rect">
            <a:avLst/>
          </a:prstGeom>
        </p:spPr>
      </p:pic>
      <p:pic>
        <p:nvPicPr>
          <p:cNvPr id="236" name="Picture 235"/>
          <p:cNvPicPr>
            <a:picLocks noChangeAspect="1"/>
          </p:cNvPicPr>
          <p:nvPr/>
        </p:nvPicPr>
        <p:blipFill rotWithShape="1">
          <a:blip r:embed="rId9" cstate="screen">
            <a:extLst>
              <a:ext uri="{28A0092B-C50C-407E-A947-70E740481C1C}">
                <a14:useLocalDpi xmlns:a14="http://schemas.microsoft.com/office/drawing/2010/main"/>
              </a:ext>
            </a:extLst>
          </a:blip>
          <a:srcRect l="67536"/>
          <a:stretch/>
        </p:blipFill>
        <p:spPr>
          <a:xfrm>
            <a:off x="1752616" y="2495556"/>
            <a:ext cx="152399" cy="239561"/>
          </a:xfrm>
          <a:prstGeom prst="rect">
            <a:avLst/>
          </a:prstGeom>
        </p:spPr>
      </p:pic>
      <p:pic>
        <p:nvPicPr>
          <p:cNvPr id="237" name="Picture 236"/>
          <p:cNvPicPr>
            <a:picLocks noChangeAspect="1"/>
          </p:cNvPicPr>
          <p:nvPr/>
        </p:nvPicPr>
        <p:blipFill rotWithShape="1">
          <a:blip r:embed="rId9" cstate="screen">
            <a:extLst>
              <a:ext uri="{28A0092B-C50C-407E-A947-70E740481C1C}">
                <a14:useLocalDpi xmlns:a14="http://schemas.microsoft.com/office/drawing/2010/main"/>
              </a:ext>
            </a:extLst>
          </a:blip>
          <a:srcRect l="67536"/>
          <a:stretch/>
        </p:blipFill>
        <p:spPr>
          <a:xfrm>
            <a:off x="1447807" y="2495556"/>
            <a:ext cx="152399" cy="239561"/>
          </a:xfrm>
          <a:prstGeom prst="rect">
            <a:avLst/>
          </a:prstGeom>
        </p:spPr>
      </p:pic>
      <p:pic>
        <p:nvPicPr>
          <p:cNvPr id="238" name="Picture 237"/>
          <p:cNvPicPr>
            <a:picLocks noChangeAspect="1"/>
          </p:cNvPicPr>
          <p:nvPr/>
        </p:nvPicPr>
        <p:blipFill rotWithShape="1">
          <a:blip r:embed="rId9" cstate="screen">
            <a:extLst>
              <a:ext uri="{28A0092B-C50C-407E-A947-70E740481C1C}">
                <a14:useLocalDpi xmlns:a14="http://schemas.microsoft.com/office/drawing/2010/main"/>
              </a:ext>
            </a:extLst>
          </a:blip>
          <a:srcRect l="67536"/>
          <a:stretch/>
        </p:blipFill>
        <p:spPr>
          <a:xfrm>
            <a:off x="2743206" y="3257573"/>
            <a:ext cx="152399" cy="239561"/>
          </a:xfrm>
          <a:prstGeom prst="rect">
            <a:avLst/>
          </a:prstGeom>
        </p:spPr>
      </p:pic>
      <p:pic>
        <p:nvPicPr>
          <p:cNvPr id="239" name="Picture 238"/>
          <p:cNvPicPr>
            <a:picLocks noChangeAspect="1"/>
          </p:cNvPicPr>
          <p:nvPr/>
        </p:nvPicPr>
        <p:blipFill rotWithShape="1">
          <a:blip r:embed="rId9" cstate="screen">
            <a:extLst>
              <a:ext uri="{28A0092B-C50C-407E-A947-70E740481C1C}">
                <a14:useLocalDpi xmlns:a14="http://schemas.microsoft.com/office/drawing/2010/main"/>
              </a:ext>
            </a:extLst>
          </a:blip>
          <a:srcRect l="67536"/>
          <a:stretch/>
        </p:blipFill>
        <p:spPr>
          <a:xfrm>
            <a:off x="3962408" y="2266973"/>
            <a:ext cx="152399" cy="239561"/>
          </a:xfrm>
          <a:prstGeom prst="rect">
            <a:avLst/>
          </a:prstGeom>
        </p:spPr>
      </p:pic>
      <p:pic>
        <p:nvPicPr>
          <p:cNvPr id="240" name="Picture 239"/>
          <p:cNvPicPr>
            <a:picLocks noChangeAspect="1"/>
          </p:cNvPicPr>
          <p:nvPr/>
        </p:nvPicPr>
        <p:blipFill rotWithShape="1">
          <a:blip r:embed="rId9" cstate="screen">
            <a:extLst>
              <a:ext uri="{28A0092B-C50C-407E-A947-70E740481C1C}">
                <a14:useLocalDpi xmlns:a14="http://schemas.microsoft.com/office/drawing/2010/main"/>
              </a:ext>
            </a:extLst>
          </a:blip>
          <a:srcRect l="67536"/>
          <a:stretch/>
        </p:blipFill>
        <p:spPr>
          <a:xfrm>
            <a:off x="4114801" y="2266973"/>
            <a:ext cx="152399" cy="239561"/>
          </a:xfrm>
          <a:prstGeom prst="rect">
            <a:avLst/>
          </a:prstGeom>
        </p:spPr>
      </p:pic>
      <p:pic>
        <p:nvPicPr>
          <p:cNvPr id="241" name="Picture 240"/>
          <p:cNvPicPr>
            <a:picLocks noChangeAspect="1"/>
          </p:cNvPicPr>
          <p:nvPr/>
        </p:nvPicPr>
        <p:blipFill rotWithShape="1">
          <a:blip r:embed="rId9" cstate="screen">
            <a:extLst>
              <a:ext uri="{28A0092B-C50C-407E-A947-70E740481C1C}">
                <a14:useLocalDpi xmlns:a14="http://schemas.microsoft.com/office/drawing/2010/main"/>
              </a:ext>
            </a:extLst>
          </a:blip>
          <a:srcRect l="67536"/>
          <a:stretch/>
        </p:blipFill>
        <p:spPr>
          <a:xfrm>
            <a:off x="3733812" y="1962173"/>
            <a:ext cx="152399" cy="239561"/>
          </a:xfrm>
          <a:prstGeom prst="rect">
            <a:avLst/>
          </a:prstGeom>
        </p:spPr>
      </p:pic>
      <p:pic>
        <p:nvPicPr>
          <p:cNvPr id="242" name="Picture 241"/>
          <p:cNvPicPr>
            <a:picLocks noChangeAspect="1"/>
          </p:cNvPicPr>
          <p:nvPr/>
        </p:nvPicPr>
        <p:blipFill rotWithShape="1">
          <a:blip r:embed="rId9" cstate="screen">
            <a:extLst>
              <a:ext uri="{28A0092B-C50C-407E-A947-70E740481C1C}">
                <a14:useLocalDpi xmlns:a14="http://schemas.microsoft.com/office/drawing/2010/main"/>
              </a:ext>
            </a:extLst>
          </a:blip>
          <a:srcRect l="67536"/>
          <a:stretch/>
        </p:blipFill>
        <p:spPr>
          <a:xfrm>
            <a:off x="3886206" y="1962173"/>
            <a:ext cx="152399" cy="239561"/>
          </a:xfrm>
          <a:prstGeom prst="rect">
            <a:avLst/>
          </a:prstGeom>
        </p:spPr>
      </p:pic>
      <p:pic>
        <p:nvPicPr>
          <p:cNvPr id="243" name="Picture 242"/>
          <p:cNvPicPr>
            <a:picLocks noChangeAspect="1"/>
          </p:cNvPicPr>
          <p:nvPr/>
        </p:nvPicPr>
        <p:blipFill rotWithShape="1">
          <a:blip r:embed="rId9" cstate="screen">
            <a:extLst>
              <a:ext uri="{28A0092B-C50C-407E-A947-70E740481C1C}">
                <a14:useLocalDpi xmlns:a14="http://schemas.microsoft.com/office/drawing/2010/main"/>
              </a:ext>
            </a:extLst>
          </a:blip>
          <a:srcRect l="67536"/>
          <a:stretch/>
        </p:blipFill>
        <p:spPr>
          <a:xfrm>
            <a:off x="4419637" y="2266973"/>
            <a:ext cx="152399" cy="239561"/>
          </a:xfrm>
          <a:prstGeom prst="rect">
            <a:avLst/>
          </a:prstGeom>
        </p:spPr>
      </p:pic>
      <p:pic>
        <p:nvPicPr>
          <p:cNvPr id="244" name="Picture 243"/>
          <p:cNvPicPr>
            <a:picLocks noChangeAspect="1"/>
          </p:cNvPicPr>
          <p:nvPr/>
        </p:nvPicPr>
        <p:blipFill rotWithShape="1">
          <a:blip r:embed="rId9" cstate="screen">
            <a:extLst>
              <a:ext uri="{28A0092B-C50C-407E-A947-70E740481C1C}">
                <a14:useLocalDpi xmlns:a14="http://schemas.microsoft.com/office/drawing/2010/main"/>
              </a:ext>
            </a:extLst>
          </a:blip>
          <a:srcRect l="67536"/>
          <a:stretch/>
        </p:blipFill>
        <p:spPr>
          <a:xfrm>
            <a:off x="4114801" y="1962173"/>
            <a:ext cx="152399" cy="239561"/>
          </a:xfrm>
          <a:prstGeom prst="rect">
            <a:avLst/>
          </a:prstGeom>
        </p:spPr>
      </p:pic>
      <p:pic>
        <p:nvPicPr>
          <p:cNvPr id="245" name="Picture 244"/>
          <p:cNvPicPr>
            <a:picLocks noChangeAspect="1"/>
          </p:cNvPicPr>
          <p:nvPr/>
        </p:nvPicPr>
        <p:blipFill rotWithShape="1">
          <a:blip r:embed="rId9" cstate="screen">
            <a:extLst>
              <a:ext uri="{28A0092B-C50C-407E-A947-70E740481C1C}">
                <a14:useLocalDpi xmlns:a14="http://schemas.microsoft.com/office/drawing/2010/main"/>
              </a:ext>
            </a:extLst>
          </a:blip>
          <a:srcRect l="67536"/>
          <a:stretch/>
        </p:blipFill>
        <p:spPr>
          <a:xfrm>
            <a:off x="4419637" y="1733573"/>
            <a:ext cx="152399" cy="239561"/>
          </a:xfrm>
          <a:prstGeom prst="rect">
            <a:avLst/>
          </a:prstGeom>
        </p:spPr>
      </p:pic>
      <p:pic>
        <p:nvPicPr>
          <p:cNvPr id="246" name="Picture 245"/>
          <p:cNvPicPr>
            <a:picLocks noChangeAspect="1"/>
          </p:cNvPicPr>
          <p:nvPr/>
        </p:nvPicPr>
        <p:blipFill rotWithShape="1">
          <a:blip r:embed="rId9" cstate="screen">
            <a:extLst>
              <a:ext uri="{28A0092B-C50C-407E-A947-70E740481C1C}">
                <a14:useLocalDpi xmlns:a14="http://schemas.microsoft.com/office/drawing/2010/main"/>
              </a:ext>
            </a:extLst>
          </a:blip>
          <a:srcRect l="67536"/>
          <a:stretch/>
        </p:blipFill>
        <p:spPr>
          <a:xfrm>
            <a:off x="6781813" y="2876556"/>
            <a:ext cx="152399" cy="239561"/>
          </a:xfrm>
          <a:prstGeom prst="rect">
            <a:avLst/>
          </a:prstGeom>
        </p:spPr>
      </p:pic>
      <p:pic>
        <p:nvPicPr>
          <p:cNvPr id="247" name="Picture 246"/>
          <p:cNvPicPr>
            <a:picLocks noChangeAspect="1"/>
          </p:cNvPicPr>
          <p:nvPr/>
        </p:nvPicPr>
        <p:blipFill rotWithShape="1">
          <a:blip r:embed="rId9" cstate="screen">
            <a:extLst>
              <a:ext uri="{28A0092B-C50C-407E-A947-70E740481C1C}">
                <a14:useLocalDpi xmlns:a14="http://schemas.microsoft.com/office/drawing/2010/main"/>
              </a:ext>
            </a:extLst>
          </a:blip>
          <a:srcRect l="67536"/>
          <a:stretch/>
        </p:blipFill>
        <p:spPr>
          <a:xfrm>
            <a:off x="7010423" y="2495556"/>
            <a:ext cx="152399" cy="239561"/>
          </a:xfrm>
          <a:prstGeom prst="rect">
            <a:avLst/>
          </a:prstGeom>
        </p:spPr>
      </p:pic>
      <p:pic>
        <p:nvPicPr>
          <p:cNvPr id="248" name="Picture 247"/>
          <p:cNvPicPr>
            <a:picLocks noChangeAspect="1"/>
          </p:cNvPicPr>
          <p:nvPr/>
        </p:nvPicPr>
        <p:blipFill rotWithShape="1">
          <a:blip r:embed="rId9" cstate="screen">
            <a:extLst>
              <a:ext uri="{28A0092B-C50C-407E-A947-70E740481C1C}">
                <a14:useLocalDpi xmlns:a14="http://schemas.microsoft.com/office/drawing/2010/main"/>
              </a:ext>
            </a:extLst>
          </a:blip>
          <a:srcRect l="67536"/>
          <a:stretch/>
        </p:blipFill>
        <p:spPr>
          <a:xfrm>
            <a:off x="7162802" y="2647959"/>
            <a:ext cx="152399" cy="239561"/>
          </a:xfrm>
          <a:prstGeom prst="rect">
            <a:avLst/>
          </a:prstGeom>
        </p:spPr>
      </p:pic>
      <p:pic>
        <p:nvPicPr>
          <p:cNvPr id="249" name="Picture 248"/>
          <p:cNvPicPr>
            <a:picLocks noChangeAspect="1"/>
          </p:cNvPicPr>
          <p:nvPr/>
        </p:nvPicPr>
        <p:blipFill rotWithShape="1">
          <a:blip r:embed="rId9" cstate="screen">
            <a:extLst>
              <a:ext uri="{28A0092B-C50C-407E-A947-70E740481C1C}">
                <a14:useLocalDpi xmlns:a14="http://schemas.microsoft.com/office/drawing/2010/main"/>
              </a:ext>
            </a:extLst>
          </a:blip>
          <a:srcRect l="67536"/>
          <a:stretch/>
        </p:blipFill>
        <p:spPr>
          <a:xfrm>
            <a:off x="7239007" y="2266973"/>
            <a:ext cx="152399" cy="239561"/>
          </a:xfrm>
          <a:prstGeom prst="rect">
            <a:avLst/>
          </a:prstGeom>
        </p:spPr>
      </p:pic>
      <p:pic>
        <p:nvPicPr>
          <p:cNvPr id="250" name="Picture 249"/>
          <p:cNvPicPr>
            <a:picLocks noChangeAspect="1"/>
          </p:cNvPicPr>
          <p:nvPr/>
        </p:nvPicPr>
        <p:blipFill rotWithShape="1">
          <a:blip r:embed="rId9" cstate="screen">
            <a:extLst>
              <a:ext uri="{28A0092B-C50C-407E-A947-70E740481C1C}">
                <a14:useLocalDpi xmlns:a14="http://schemas.microsoft.com/office/drawing/2010/main"/>
              </a:ext>
            </a:extLst>
          </a:blip>
          <a:srcRect l="67536"/>
          <a:stretch/>
        </p:blipFill>
        <p:spPr>
          <a:xfrm>
            <a:off x="7467614" y="2343173"/>
            <a:ext cx="152399" cy="239561"/>
          </a:xfrm>
          <a:prstGeom prst="rect">
            <a:avLst/>
          </a:prstGeom>
        </p:spPr>
      </p:pic>
      <p:pic>
        <p:nvPicPr>
          <p:cNvPr id="251" name="Picture 250"/>
          <p:cNvPicPr>
            <a:picLocks noChangeAspect="1"/>
          </p:cNvPicPr>
          <p:nvPr/>
        </p:nvPicPr>
        <p:blipFill rotWithShape="1">
          <a:blip r:embed="rId9" cstate="screen">
            <a:extLst>
              <a:ext uri="{28A0092B-C50C-407E-A947-70E740481C1C}">
                <a14:useLocalDpi xmlns:a14="http://schemas.microsoft.com/office/drawing/2010/main"/>
              </a:ext>
            </a:extLst>
          </a:blip>
          <a:srcRect l="67536"/>
          <a:stretch/>
        </p:blipFill>
        <p:spPr>
          <a:xfrm>
            <a:off x="7772401" y="3562373"/>
            <a:ext cx="152399" cy="239561"/>
          </a:xfrm>
          <a:prstGeom prst="rect">
            <a:avLst/>
          </a:prstGeom>
        </p:spPr>
      </p:pic>
      <p:sp>
        <p:nvSpPr>
          <p:cNvPr id="3" name="Isosceles Triangle 2"/>
          <p:cNvSpPr/>
          <p:nvPr/>
        </p:nvSpPr>
        <p:spPr bwMode="auto">
          <a:xfrm rot="5400000">
            <a:off x="762000" y="2266950"/>
            <a:ext cx="76200" cy="76200"/>
          </a:xfrm>
          <a:prstGeom prst="triangle">
            <a:avLst/>
          </a:prstGeom>
          <a:solidFill>
            <a:srgbClr val="4B135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6" tIns="45708" rIns="91416" bIns="45708" numCol="1" rtlCol="0" anchor="ctr" anchorCtr="0" compatLnSpc="1">
            <a:prstTxWarp prst="textNoShape">
              <a:avLst/>
            </a:prstTxWarp>
          </a:bodyPr>
          <a:lstStyle/>
          <a:p>
            <a:pPr algn="ctr" defTabSz="913909"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54" name="Isosceles Triangle 53"/>
          <p:cNvSpPr/>
          <p:nvPr/>
        </p:nvSpPr>
        <p:spPr bwMode="auto">
          <a:xfrm rot="5400000">
            <a:off x="838200" y="2571752"/>
            <a:ext cx="152400" cy="152400"/>
          </a:xfrm>
          <a:prstGeom prst="triangle">
            <a:avLst/>
          </a:prstGeom>
          <a:solidFill>
            <a:srgbClr val="4B135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6" tIns="45708" rIns="91416" bIns="45708" numCol="1" rtlCol="0" anchor="ctr" anchorCtr="0" compatLnSpc="1">
            <a:prstTxWarp prst="textNoShape">
              <a:avLst/>
            </a:prstTxWarp>
          </a:bodyPr>
          <a:lstStyle/>
          <a:p>
            <a:pPr algn="ctr" defTabSz="913909"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55" name="Isosceles Triangle 54"/>
          <p:cNvSpPr/>
          <p:nvPr/>
        </p:nvSpPr>
        <p:spPr bwMode="auto">
          <a:xfrm rot="5400000">
            <a:off x="838200" y="2647952"/>
            <a:ext cx="152400" cy="152400"/>
          </a:xfrm>
          <a:prstGeom prst="triangle">
            <a:avLst/>
          </a:prstGeom>
          <a:solidFill>
            <a:srgbClr val="4B135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6" tIns="45708" rIns="91416" bIns="45708" numCol="1" rtlCol="0" anchor="ctr" anchorCtr="0" compatLnSpc="1">
            <a:prstTxWarp prst="textNoShape">
              <a:avLst/>
            </a:prstTxWarp>
          </a:bodyPr>
          <a:lstStyle/>
          <a:p>
            <a:pPr algn="ctr" defTabSz="913909"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56" name="Isosceles Triangle 55"/>
          <p:cNvSpPr/>
          <p:nvPr/>
        </p:nvSpPr>
        <p:spPr bwMode="auto">
          <a:xfrm>
            <a:off x="1447800" y="2800350"/>
            <a:ext cx="152400" cy="152400"/>
          </a:xfrm>
          <a:prstGeom prst="triangle">
            <a:avLst/>
          </a:prstGeom>
          <a:solidFill>
            <a:srgbClr val="4B135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6" tIns="45708" rIns="91416" bIns="45708" numCol="1" rtlCol="0" anchor="ctr" anchorCtr="0" compatLnSpc="1">
            <a:prstTxWarp prst="textNoShape">
              <a:avLst/>
            </a:prstTxWarp>
          </a:bodyPr>
          <a:lstStyle/>
          <a:p>
            <a:pPr algn="ctr" defTabSz="913909"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57" name="Isosceles Triangle 56"/>
          <p:cNvSpPr/>
          <p:nvPr/>
        </p:nvSpPr>
        <p:spPr bwMode="auto">
          <a:xfrm rot="10800000">
            <a:off x="1676400" y="2038350"/>
            <a:ext cx="152400" cy="152400"/>
          </a:xfrm>
          <a:prstGeom prst="triangle">
            <a:avLst/>
          </a:prstGeom>
          <a:solidFill>
            <a:srgbClr val="4B135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6" tIns="45708" rIns="91416" bIns="45708" numCol="1" rtlCol="0" anchor="ctr" anchorCtr="0" compatLnSpc="1">
            <a:prstTxWarp prst="textNoShape">
              <a:avLst/>
            </a:prstTxWarp>
          </a:bodyPr>
          <a:lstStyle/>
          <a:p>
            <a:pPr algn="ctr" defTabSz="913909"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58" name="Isosceles Triangle 57"/>
          <p:cNvSpPr/>
          <p:nvPr/>
        </p:nvSpPr>
        <p:spPr bwMode="auto">
          <a:xfrm rot="16200000">
            <a:off x="2286000" y="2190752"/>
            <a:ext cx="152400" cy="152400"/>
          </a:xfrm>
          <a:prstGeom prst="triangle">
            <a:avLst/>
          </a:prstGeom>
          <a:solidFill>
            <a:srgbClr val="4B135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6" tIns="45708" rIns="91416" bIns="45708" numCol="1" rtlCol="0" anchor="ctr" anchorCtr="0" compatLnSpc="1">
            <a:prstTxWarp prst="textNoShape">
              <a:avLst/>
            </a:prstTxWarp>
          </a:bodyPr>
          <a:lstStyle/>
          <a:p>
            <a:pPr algn="ctr" defTabSz="913909"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60" name="Isosceles Triangle 59"/>
          <p:cNvSpPr/>
          <p:nvPr/>
        </p:nvSpPr>
        <p:spPr bwMode="auto">
          <a:xfrm rot="16200000">
            <a:off x="2057400" y="2419352"/>
            <a:ext cx="152400" cy="152400"/>
          </a:xfrm>
          <a:prstGeom prst="triangle">
            <a:avLst/>
          </a:prstGeom>
          <a:solidFill>
            <a:srgbClr val="4B135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6" tIns="45708" rIns="91416" bIns="45708" numCol="1" rtlCol="0" anchor="ctr" anchorCtr="0" compatLnSpc="1">
            <a:prstTxWarp prst="textNoShape">
              <a:avLst/>
            </a:prstTxWarp>
          </a:bodyPr>
          <a:lstStyle/>
          <a:p>
            <a:pPr algn="ctr" defTabSz="913909"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61" name="Isosceles Triangle 60"/>
          <p:cNvSpPr/>
          <p:nvPr/>
        </p:nvSpPr>
        <p:spPr bwMode="auto">
          <a:xfrm rot="16200000">
            <a:off x="1905000" y="2647952"/>
            <a:ext cx="152400" cy="152400"/>
          </a:xfrm>
          <a:prstGeom prst="triangle">
            <a:avLst/>
          </a:prstGeom>
          <a:solidFill>
            <a:srgbClr val="4B135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6" tIns="45708" rIns="91416" bIns="45708" numCol="1" rtlCol="0" anchor="ctr" anchorCtr="0" compatLnSpc="1">
            <a:prstTxWarp prst="textNoShape">
              <a:avLst/>
            </a:prstTxWarp>
          </a:bodyPr>
          <a:lstStyle/>
          <a:p>
            <a:pPr algn="ctr" defTabSz="913909"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62" name="Isosceles Triangle 61"/>
          <p:cNvSpPr/>
          <p:nvPr/>
        </p:nvSpPr>
        <p:spPr bwMode="auto">
          <a:xfrm rot="5400000">
            <a:off x="2590800" y="3333752"/>
            <a:ext cx="152400" cy="152400"/>
          </a:xfrm>
          <a:prstGeom prst="triangle">
            <a:avLst/>
          </a:prstGeom>
          <a:solidFill>
            <a:srgbClr val="4B135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6" tIns="45708" rIns="91416" bIns="45708" numCol="1" rtlCol="0" anchor="ctr" anchorCtr="0" compatLnSpc="1">
            <a:prstTxWarp prst="textNoShape">
              <a:avLst/>
            </a:prstTxWarp>
          </a:bodyPr>
          <a:lstStyle/>
          <a:p>
            <a:pPr algn="ctr" defTabSz="913909"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91" name="TextBox 13"/>
          <p:cNvSpPr txBox="1">
            <a:spLocks noChangeArrowheads="1"/>
          </p:cNvSpPr>
          <p:nvPr/>
        </p:nvSpPr>
        <p:spPr bwMode="auto">
          <a:xfrm>
            <a:off x="1219201" y="1962150"/>
            <a:ext cx="611134" cy="176982"/>
          </a:xfrm>
          <a:prstGeom prst="rect">
            <a:avLst/>
          </a:prstGeom>
          <a:solidFill>
            <a:srgbClr val="4B135A"/>
          </a:solidFill>
          <a:ln w="9525">
            <a:noFill/>
            <a:miter lim="800000"/>
            <a:headEnd/>
            <a:tailEnd/>
          </a:ln>
          <a:effectLst/>
        </p:spPr>
        <p:txBody>
          <a:bodyPr wrap="square" lIns="68574" tIns="34288" rIns="68574" bIns="34288">
            <a:spAutoFit/>
          </a:bodyPr>
          <a:lstStyle/>
          <a:p>
            <a:pPr defTabSz="685721"/>
            <a:r>
              <a:rPr lang="en-US" sz="700" dirty="0">
                <a:gradFill>
                  <a:gsLst>
                    <a:gs pos="0">
                      <a:srgbClr val="FFFFFF"/>
                    </a:gs>
                    <a:gs pos="86000">
                      <a:srgbClr val="FFFFFF"/>
                    </a:gs>
                  </a:gsLst>
                  <a:lin ang="5400000" scaled="0"/>
                </a:gradFill>
                <a:effectLst>
                  <a:outerShdw blurRad="63500" algn="ctr" rotWithShape="0">
                    <a:srgbClr val="FFFFFF">
                      <a:alpha val="60000"/>
                    </a:srgbClr>
                  </a:outerShdw>
                </a:effectLst>
              </a:rPr>
              <a:t>Chicago, IL</a:t>
            </a:r>
          </a:p>
        </p:txBody>
      </p:sp>
      <p:sp>
        <p:nvSpPr>
          <p:cNvPr id="92" name="TextBox 13"/>
          <p:cNvSpPr txBox="1">
            <a:spLocks noChangeArrowheads="1"/>
          </p:cNvSpPr>
          <p:nvPr/>
        </p:nvSpPr>
        <p:spPr bwMode="auto">
          <a:xfrm>
            <a:off x="1219226" y="2876550"/>
            <a:ext cx="819715" cy="176982"/>
          </a:xfrm>
          <a:prstGeom prst="rect">
            <a:avLst/>
          </a:prstGeom>
          <a:solidFill>
            <a:srgbClr val="4B135A"/>
          </a:solidFill>
          <a:ln w="9525">
            <a:noFill/>
            <a:miter lim="800000"/>
            <a:headEnd/>
            <a:tailEnd/>
          </a:ln>
        </p:spPr>
        <p:txBody>
          <a:bodyPr wrap="square" lIns="68574" tIns="34288" rIns="68574" bIns="34288">
            <a:spAutoFit/>
          </a:bodyPr>
          <a:lstStyle/>
          <a:p>
            <a:pPr defTabSz="685721"/>
            <a:r>
              <a:rPr lang="en-US" sz="700" dirty="0">
                <a:solidFill>
                  <a:srgbClr val="FFFFFF"/>
                </a:solidFill>
              </a:rPr>
              <a:t>San Antonio, TX</a:t>
            </a:r>
          </a:p>
        </p:txBody>
      </p:sp>
      <p:sp>
        <p:nvSpPr>
          <p:cNvPr id="63" name="Isosceles Triangle 62"/>
          <p:cNvSpPr/>
          <p:nvPr/>
        </p:nvSpPr>
        <p:spPr bwMode="auto">
          <a:xfrm rot="10800000">
            <a:off x="3733801" y="1809750"/>
            <a:ext cx="152400" cy="152400"/>
          </a:xfrm>
          <a:prstGeom prst="triangle">
            <a:avLst/>
          </a:prstGeom>
          <a:solidFill>
            <a:srgbClr val="4B135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6" tIns="45708" rIns="91416" bIns="45708" numCol="1" rtlCol="0" anchor="ctr" anchorCtr="0" compatLnSpc="1">
            <a:prstTxWarp prst="textNoShape">
              <a:avLst/>
            </a:prstTxWarp>
          </a:bodyPr>
          <a:lstStyle/>
          <a:p>
            <a:pPr algn="ctr" defTabSz="913909"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64" name="Isosceles Triangle 63"/>
          <p:cNvSpPr/>
          <p:nvPr/>
        </p:nvSpPr>
        <p:spPr bwMode="auto">
          <a:xfrm rot="10800000">
            <a:off x="3886201" y="1809750"/>
            <a:ext cx="152400" cy="152400"/>
          </a:xfrm>
          <a:prstGeom prst="triangle">
            <a:avLst/>
          </a:prstGeom>
          <a:solidFill>
            <a:srgbClr val="4B135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6" tIns="45708" rIns="91416" bIns="45708" numCol="1" rtlCol="0" anchor="ctr" anchorCtr="0" compatLnSpc="1">
            <a:prstTxWarp prst="textNoShape">
              <a:avLst/>
            </a:prstTxWarp>
          </a:bodyPr>
          <a:lstStyle/>
          <a:p>
            <a:pPr algn="ctr" defTabSz="913909"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135" name="TextBox 13"/>
          <p:cNvSpPr txBox="1">
            <a:spLocks noChangeArrowheads="1"/>
          </p:cNvSpPr>
          <p:nvPr/>
        </p:nvSpPr>
        <p:spPr bwMode="auto">
          <a:xfrm>
            <a:off x="3649376" y="1581170"/>
            <a:ext cx="657396" cy="284703"/>
          </a:xfrm>
          <a:prstGeom prst="rect">
            <a:avLst/>
          </a:prstGeom>
          <a:solidFill>
            <a:srgbClr val="4B135A"/>
          </a:solidFill>
          <a:ln w="9525">
            <a:noFill/>
            <a:miter lim="800000"/>
            <a:headEnd/>
            <a:tailEnd/>
          </a:ln>
        </p:spPr>
        <p:txBody>
          <a:bodyPr wrap="square" lIns="68574" tIns="34288" rIns="68574" bIns="34288">
            <a:spAutoFit/>
          </a:bodyPr>
          <a:lstStyle/>
          <a:p>
            <a:pPr defTabSz="685721"/>
            <a:r>
              <a:rPr lang="en-US" sz="700" dirty="0">
                <a:gradFill>
                  <a:gsLst>
                    <a:gs pos="0">
                      <a:srgbClr val="FFFFFF"/>
                    </a:gs>
                    <a:gs pos="86000">
                      <a:srgbClr val="FFFFFF"/>
                    </a:gs>
                  </a:gsLst>
                  <a:lin ang="5400000" scaled="0"/>
                </a:gradFill>
                <a:effectLst>
                  <a:outerShdw blurRad="63500" algn="ctr" rotWithShape="0">
                    <a:srgbClr val="FFFFFF">
                      <a:alpha val="60000"/>
                    </a:srgbClr>
                  </a:outerShdw>
                </a:effectLst>
              </a:rPr>
              <a:t>Dublin, IE</a:t>
            </a:r>
          </a:p>
          <a:p>
            <a:pPr defTabSz="685721"/>
            <a:r>
              <a:rPr lang="en-US" sz="700" dirty="0">
                <a:gradFill>
                  <a:gsLst>
                    <a:gs pos="0">
                      <a:srgbClr val="FFFFFF"/>
                    </a:gs>
                    <a:gs pos="86000">
                      <a:srgbClr val="FFFFFF"/>
                    </a:gs>
                  </a:gsLst>
                  <a:lin ang="5400000" scaled="0"/>
                </a:gradFill>
                <a:effectLst>
                  <a:outerShdw blurRad="63500" algn="ctr" rotWithShape="0">
                    <a:srgbClr val="FFFFFF">
                      <a:alpha val="60000"/>
                    </a:srgbClr>
                  </a:outerShdw>
                </a:effectLst>
              </a:rPr>
              <a:t>London, GB</a:t>
            </a:r>
          </a:p>
        </p:txBody>
      </p:sp>
      <p:sp>
        <p:nvSpPr>
          <p:cNvPr id="65" name="Isosceles Triangle 64"/>
          <p:cNvSpPr/>
          <p:nvPr/>
        </p:nvSpPr>
        <p:spPr bwMode="auto">
          <a:xfrm>
            <a:off x="3962400" y="2515647"/>
            <a:ext cx="152400" cy="152400"/>
          </a:xfrm>
          <a:prstGeom prst="triangle">
            <a:avLst/>
          </a:prstGeom>
          <a:solidFill>
            <a:srgbClr val="4B135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6" tIns="45708" rIns="91416" bIns="45708" numCol="1" rtlCol="0" anchor="ctr" anchorCtr="0" compatLnSpc="1">
            <a:prstTxWarp prst="textNoShape">
              <a:avLst/>
            </a:prstTxWarp>
          </a:bodyPr>
          <a:lstStyle/>
          <a:p>
            <a:pPr algn="ctr" defTabSz="913909"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66" name="Isosceles Triangle 65"/>
          <p:cNvSpPr/>
          <p:nvPr/>
        </p:nvSpPr>
        <p:spPr bwMode="auto">
          <a:xfrm>
            <a:off x="4114800" y="2515647"/>
            <a:ext cx="152400" cy="152400"/>
          </a:xfrm>
          <a:prstGeom prst="triangle">
            <a:avLst/>
          </a:prstGeom>
          <a:solidFill>
            <a:srgbClr val="4B135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6" tIns="45708" rIns="91416" bIns="45708" numCol="1" rtlCol="0" anchor="ctr" anchorCtr="0" compatLnSpc="1">
            <a:prstTxWarp prst="textNoShape">
              <a:avLst/>
            </a:prstTxWarp>
          </a:bodyPr>
          <a:lstStyle/>
          <a:p>
            <a:pPr algn="ctr" defTabSz="913909"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67" name="Isosceles Triangle 66"/>
          <p:cNvSpPr/>
          <p:nvPr/>
        </p:nvSpPr>
        <p:spPr bwMode="auto">
          <a:xfrm rot="16200000">
            <a:off x="4267200" y="2038352"/>
            <a:ext cx="152400" cy="152400"/>
          </a:xfrm>
          <a:prstGeom prst="triangle">
            <a:avLst/>
          </a:prstGeom>
          <a:solidFill>
            <a:srgbClr val="4B135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6" tIns="45708" rIns="91416" bIns="45708" numCol="1" rtlCol="0" anchor="ctr" anchorCtr="0" compatLnSpc="1">
            <a:prstTxWarp prst="textNoShape">
              <a:avLst/>
            </a:prstTxWarp>
          </a:bodyPr>
          <a:lstStyle/>
          <a:p>
            <a:pPr algn="ctr" defTabSz="913909"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68" name="Isosceles Triangle 67"/>
          <p:cNvSpPr/>
          <p:nvPr/>
        </p:nvSpPr>
        <p:spPr bwMode="auto">
          <a:xfrm rot="16200000">
            <a:off x="4572000" y="1733552"/>
            <a:ext cx="152400" cy="152400"/>
          </a:xfrm>
          <a:prstGeom prst="triangle">
            <a:avLst/>
          </a:prstGeom>
          <a:solidFill>
            <a:srgbClr val="4B135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6" tIns="45708" rIns="91416" bIns="45708" numCol="1" rtlCol="0" anchor="ctr" anchorCtr="0" compatLnSpc="1">
            <a:prstTxWarp prst="textNoShape">
              <a:avLst/>
            </a:prstTxWarp>
          </a:bodyPr>
          <a:lstStyle/>
          <a:p>
            <a:pPr algn="ctr" defTabSz="913909"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70" name="Isosceles Triangle 69"/>
          <p:cNvSpPr/>
          <p:nvPr/>
        </p:nvSpPr>
        <p:spPr bwMode="auto">
          <a:xfrm rot="16200000">
            <a:off x="4572000" y="2343152"/>
            <a:ext cx="152400" cy="152400"/>
          </a:xfrm>
          <a:prstGeom prst="triangle">
            <a:avLst/>
          </a:prstGeom>
          <a:solidFill>
            <a:srgbClr val="4B135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6" tIns="45708" rIns="91416" bIns="45708" numCol="1" rtlCol="0" anchor="ctr" anchorCtr="0" compatLnSpc="1">
            <a:prstTxWarp prst="textNoShape">
              <a:avLst/>
            </a:prstTxWarp>
          </a:bodyPr>
          <a:lstStyle/>
          <a:p>
            <a:pPr algn="ctr" defTabSz="913909"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163" name="TextBox 13"/>
          <p:cNvSpPr txBox="1">
            <a:spLocks noChangeArrowheads="1"/>
          </p:cNvSpPr>
          <p:nvPr/>
        </p:nvSpPr>
        <p:spPr bwMode="auto">
          <a:xfrm>
            <a:off x="3657601" y="2591867"/>
            <a:ext cx="609600" cy="284703"/>
          </a:xfrm>
          <a:prstGeom prst="rect">
            <a:avLst/>
          </a:prstGeom>
          <a:solidFill>
            <a:srgbClr val="4B135A"/>
          </a:solidFill>
          <a:ln w="9525">
            <a:noFill/>
            <a:miter lim="800000"/>
            <a:headEnd/>
            <a:tailEnd/>
          </a:ln>
        </p:spPr>
        <p:txBody>
          <a:bodyPr wrap="square" lIns="68574" tIns="34288" rIns="68574" bIns="34288">
            <a:spAutoFit/>
          </a:bodyPr>
          <a:lstStyle/>
          <a:p>
            <a:pPr defTabSz="685721"/>
            <a:r>
              <a:rPr lang="en-US" sz="700" dirty="0">
                <a:gradFill>
                  <a:gsLst>
                    <a:gs pos="0">
                      <a:srgbClr val="FFFFFF"/>
                    </a:gs>
                    <a:gs pos="86000">
                      <a:srgbClr val="FFFFFF"/>
                    </a:gs>
                  </a:gsLst>
                  <a:lin ang="5400000" scaled="0"/>
                </a:gradFill>
                <a:effectLst>
                  <a:outerShdw blurRad="63500" algn="ctr" rotWithShape="0">
                    <a:srgbClr val="FFFFFF">
                      <a:alpha val="60000"/>
                    </a:srgbClr>
                  </a:outerShdw>
                </a:effectLst>
              </a:rPr>
              <a:t>Paris, FR</a:t>
            </a:r>
          </a:p>
          <a:p>
            <a:pPr defTabSz="685721"/>
            <a:r>
              <a:rPr lang="en-US" sz="700" dirty="0">
                <a:gradFill>
                  <a:gsLst>
                    <a:gs pos="0">
                      <a:srgbClr val="FFFFFF"/>
                    </a:gs>
                    <a:gs pos="86000">
                      <a:srgbClr val="FFFFFF"/>
                    </a:gs>
                  </a:gsLst>
                  <a:lin ang="5400000" scaled="0"/>
                </a:gradFill>
                <a:effectLst>
                  <a:outerShdw blurRad="63500" algn="ctr" rotWithShape="0">
                    <a:srgbClr val="FFFFFF">
                      <a:alpha val="60000"/>
                    </a:srgbClr>
                  </a:outerShdw>
                </a:effectLst>
              </a:rPr>
              <a:t>Zurich, CH</a:t>
            </a:r>
          </a:p>
        </p:txBody>
      </p:sp>
      <p:sp>
        <p:nvSpPr>
          <p:cNvPr id="71" name="Isosceles Triangle 70"/>
          <p:cNvSpPr/>
          <p:nvPr/>
        </p:nvSpPr>
        <p:spPr bwMode="auto">
          <a:xfrm rot="10800000">
            <a:off x="7239002" y="2114550"/>
            <a:ext cx="152400" cy="152400"/>
          </a:xfrm>
          <a:prstGeom prst="triangle">
            <a:avLst/>
          </a:prstGeom>
          <a:solidFill>
            <a:srgbClr val="4B135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6" tIns="45708" rIns="91416" bIns="45708" numCol="1" rtlCol="0" anchor="ctr" anchorCtr="0" compatLnSpc="1">
            <a:prstTxWarp prst="textNoShape">
              <a:avLst/>
            </a:prstTxWarp>
          </a:bodyPr>
          <a:lstStyle/>
          <a:p>
            <a:pPr algn="ctr" defTabSz="913909"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194" name="TextBox 13"/>
          <p:cNvSpPr txBox="1">
            <a:spLocks noChangeArrowheads="1"/>
          </p:cNvSpPr>
          <p:nvPr/>
        </p:nvSpPr>
        <p:spPr bwMode="auto">
          <a:xfrm>
            <a:off x="7239002" y="2013768"/>
            <a:ext cx="533400" cy="176982"/>
          </a:xfrm>
          <a:prstGeom prst="rect">
            <a:avLst/>
          </a:prstGeom>
          <a:solidFill>
            <a:srgbClr val="4B135A"/>
          </a:solidFill>
          <a:ln w="9525">
            <a:noFill/>
            <a:miter lim="800000"/>
            <a:headEnd/>
            <a:tailEnd/>
          </a:ln>
        </p:spPr>
        <p:txBody>
          <a:bodyPr wrap="square" lIns="68574" tIns="34288" rIns="68574" bIns="34288">
            <a:spAutoFit/>
          </a:bodyPr>
          <a:lstStyle/>
          <a:p>
            <a:pPr defTabSz="685721"/>
            <a:r>
              <a:rPr lang="en-US" sz="700" dirty="0">
                <a:solidFill>
                  <a:srgbClr val="FFFFFF"/>
                </a:solidFill>
              </a:rPr>
              <a:t>Seoul, KR</a:t>
            </a:r>
          </a:p>
        </p:txBody>
      </p:sp>
      <p:sp>
        <p:nvSpPr>
          <p:cNvPr id="72" name="Isosceles Triangle 71"/>
          <p:cNvSpPr/>
          <p:nvPr/>
        </p:nvSpPr>
        <p:spPr bwMode="auto">
          <a:xfrm rot="16200000">
            <a:off x="7315200" y="2724150"/>
            <a:ext cx="152400" cy="152400"/>
          </a:xfrm>
          <a:prstGeom prst="triangle">
            <a:avLst/>
          </a:prstGeom>
          <a:solidFill>
            <a:srgbClr val="4B135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6" tIns="45708" rIns="91416" bIns="45708" numCol="1" rtlCol="0" anchor="ctr" anchorCtr="0" compatLnSpc="1">
            <a:prstTxWarp prst="textNoShape">
              <a:avLst/>
            </a:prstTxWarp>
          </a:bodyPr>
          <a:lstStyle/>
          <a:p>
            <a:pPr algn="ctr" defTabSz="913909"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252" name="TextBox 13"/>
          <p:cNvSpPr txBox="1">
            <a:spLocks noChangeArrowheads="1"/>
          </p:cNvSpPr>
          <p:nvPr/>
        </p:nvSpPr>
        <p:spPr bwMode="auto">
          <a:xfrm>
            <a:off x="7696201" y="2419350"/>
            <a:ext cx="533400" cy="176982"/>
          </a:xfrm>
          <a:prstGeom prst="rect">
            <a:avLst/>
          </a:prstGeom>
          <a:solidFill>
            <a:srgbClr val="4B135A"/>
          </a:solidFill>
          <a:ln w="9525">
            <a:noFill/>
            <a:miter lim="800000"/>
            <a:headEnd/>
            <a:tailEnd/>
          </a:ln>
        </p:spPr>
        <p:txBody>
          <a:bodyPr wrap="square" lIns="68574" tIns="34288" rIns="68574" bIns="34288">
            <a:spAutoFit/>
          </a:bodyPr>
          <a:lstStyle/>
          <a:p>
            <a:pPr defTabSz="685721"/>
            <a:r>
              <a:rPr lang="en-US" sz="700" dirty="0">
                <a:gradFill>
                  <a:gsLst>
                    <a:gs pos="0">
                      <a:srgbClr val="FFFFFF"/>
                    </a:gs>
                    <a:gs pos="86000">
                      <a:srgbClr val="FFFFFF"/>
                    </a:gs>
                  </a:gsLst>
                  <a:lin ang="5400000" scaled="0"/>
                </a:gradFill>
                <a:effectLst>
                  <a:outerShdw blurRad="63500" algn="ctr" rotWithShape="0">
                    <a:srgbClr val="FFFFFF">
                      <a:alpha val="60000"/>
                    </a:srgbClr>
                  </a:outerShdw>
                </a:effectLst>
              </a:rPr>
              <a:t>Tokyo, JP</a:t>
            </a:r>
          </a:p>
        </p:txBody>
      </p:sp>
      <p:sp>
        <p:nvSpPr>
          <p:cNvPr id="73" name="Isosceles Triangle 72"/>
          <p:cNvSpPr/>
          <p:nvPr/>
        </p:nvSpPr>
        <p:spPr bwMode="auto">
          <a:xfrm rot="16200000">
            <a:off x="7620000" y="2419352"/>
            <a:ext cx="152400" cy="152400"/>
          </a:xfrm>
          <a:prstGeom prst="triangle">
            <a:avLst/>
          </a:prstGeom>
          <a:solidFill>
            <a:srgbClr val="4B135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6" tIns="45708" rIns="91416" bIns="45708" numCol="1" rtlCol="0" anchor="ctr" anchorCtr="0" compatLnSpc="1">
            <a:prstTxWarp prst="textNoShape">
              <a:avLst/>
            </a:prstTxWarp>
          </a:bodyPr>
          <a:lstStyle/>
          <a:p>
            <a:pPr algn="ctr" defTabSz="913909"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75" name="Isosceles Triangle 74"/>
          <p:cNvSpPr/>
          <p:nvPr/>
        </p:nvSpPr>
        <p:spPr bwMode="auto">
          <a:xfrm rot="16200000">
            <a:off x="7924800" y="3638552"/>
            <a:ext cx="152400" cy="152400"/>
          </a:xfrm>
          <a:prstGeom prst="triangle">
            <a:avLst/>
          </a:prstGeom>
          <a:solidFill>
            <a:srgbClr val="4B135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6" tIns="45708" rIns="91416" bIns="45708" numCol="1" rtlCol="0" anchor="ctr" anchorCtr="0" compatLnSpc="1">
            <a:prstTxWarp prst="textNoShape">
              <a:avLst/>
            </a:prstTxWarp>
          </a:bodyPr>
          <a:lstStyle/>
          <a:p>
            <a:pPr algn="ctr" defTabSz="913909"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76" name="Isosceles Triangle 75"/>
          <p:cNvSpPr/>
          <p:nvPr/>
        </p:nvSpPr>
        <p:spPr bwMode="auto">
          <a:xfrm rot="5400000">
            <a:off x="6858000" y="2495552"/>
            <a:ext cx="152400" cy="152400"/>
          </a:xfrm>
          <a:prstGeom prst="triangle">
            <a:avLst/>
          </a:prstGeom>
          <a:solidFill>
            <a:srgbClr val="4B135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6" tIns="45708" rIns="91416" bIns="45708" numCol="1" rtlCol="0" anchor="ctr" anchorCtr="0" compatLnSpc="1">
            <a:prstTxWarp prst="textNoShape">
              <a:avLst/>
            </a:prstTxWarp>
          </a:bodyPr>
          <a:lstStyle/>
          <a:p>
            <a:pPr algn="ctr" defTabSz="913909"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77" name="Isosceles Triangle 76"/>
          <p:cNvSpPr/>
          <p:nvPr/>
        </p:nvSpPr>
        <p:spPr bwMode="auto">
          <a:xfrm rot="5400000">
            <a:off x="6629400" y="2876552"/>
            <a:ext cx="152400" cy="152400"/>
          </a:xfrm>
          <a:prstGeom prst="triangle">
            <a:avLst/>
          </a:prstGeom>
          <a:solidFill>
            <a:srgbClr val="4B135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6" tIns="45708" rIns="91416" bIns="45708" numCol="1" rtlCol="0" anchor="ctr" anchorCtr="0" compatLnSpc="1">
            <a:prstTxWarp prst="textNoShape">
              <a:avLst/>
            </a:prstTxWarp>
          </a:bodyPr>
          <a:lstStyle/>
          <a:p>
            <a:pPr algn="ctr" defTabSz="913909"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78"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79"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0"/>
              </a:rPr>
              <a:t>www.rapidbbs.cn</a:t>
            </a:r>
            <a:endParaRPr lang="zh-CN" altLang="en-US" sz="1200" b="0">
              <a:latin typeface="Arial" charset="0"/>
              <a:ea typeface="ＭＳ Ｐゴシック" pitchFamily="34" charset="-128"/>
            </a:endParaRPr>
          </a:p>
        </p:txBody>
      </p:sp>
      <p:pic>
        <p:nvPicPr>
          <p:cNvPr id="80" name="Picture 2">
            <a:hlinkClick r:id="rId10"/>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15431833"/>
      </p:ext>
    </p:extLst>
  </p:cSld>
  <p:clrMapOvr>
    <a:masterClrMapping/>
  </p:clrMapOvr>
  <p:transition>
    <p:fade/>
  </p:transition>
  <p:timing>
    <p:tnLst>
      <p:par>
        <p:cTn id="1" dur="indefinite" restart="never" nodeType="tmRoot"/>
      </p:par>
    </p:tnLst>
  </p:timing>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381001" y="819155"/>
            <a:ext cx="6477000" cy="1980389"/>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6" tIns="45708" rIns="91416" bIns="45708" numCol="1" rtlCol="0" anchor="ctr" anchorCtr="0" compatLnSpc="1">
            <a:prstTxWarp prst="textNoShape">
              <a:avLst/>
            </a:prstTxWarp>
          </a:bodyPr>
          <a:lstStyle/>
          <a:p>
            <a:pPr algn="ctr" defTabSz="913909" fontAlgn="base">
              <a:spcBef>
                <a:spcPct val="0"/>
              </a:spcBef>
              <a:spcAft>
                <a:spcPct val="0"/>
              </a:spcAft>
            </a:pPr>
            <a:endParaRPr lang="en-US" sz="2400" dirty="0">
              <a:gradFill>
                <a:gsLst>
                  <a:gs pos="0">
                    <a:srgbClr val="FFFFFF"/>
                  </a:gs>
                  <a:gs pos="100000">
                    <a:srgbClr val="FFFFFF"/>
                  </a:gs>
                </a:gsLst>
                <a:lin ang="5400000" scaled="0"/>
              </a:gradFill>
            </a:endParaRPr>
          </a:p>
        </p:txBody>
      </p:sp>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953108" y="1560676"/>
            <a:ext cx="1645482" cy="1096988"/>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7" name="Picture 3"/>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2769594" y="1560676"/>
            <a:ext cx="1645482" cy="1096988"/>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9" name="Picture 5"/>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609933" y="1560678"/>
            <a:ext cx="1644667" cy="1096444"/>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4" name="Title 3"/>
          <p:cNvSpPr>
            <a:spLocks noGrp="1"/>
          </p:cNvSpPr>
          <p:nvPr>
            <p:ph type="title"/>
          </p:nvPr>
        </p:nvSpPr>
        <p:spPr bwMode="black"/>
        <p:txBody>
          <a:bodyPr/>
          <a:lstStyle/>
          <a:p>
            <a:r>
              <a:rPr lang="en-US" dirty="0" smtClean="0"/>
              <a:t>TYPES OF FAILURE</a:t>
            </a:r>
            <a:endParaRPr lang="en-US" dirty="0"/>
          </a:p>
        </p:txBody>
      </p:sp>
      <p:sp>
        <p:nvSpPr>
          <p:cNvPr id="11" name="Rectangle 10"/>
          <p:cNvSpPr/>
          <p:nvPr/>
        </p:nvSpPr>
        <p:spPr>
          <a:xfrm>
            <a:off x="853568" y="1352550"/>
            <a:ext cx="1157397" cy="141064"/>
          </a:xfrm>
          <a:prstGeom prst="rect">
            <a:avLst/>
          </a:prstGeom>
        </p:spPr>
        <p:txBody>
          <a:bodyPr wrap="square" lIns="0" tIns="0" rIns="0" bIns="0">
            <a:spAutoFit/>
          </a:bodyPr>
          <a:lstStyle/>
          <a:p>
            <a:pPr algn="ctr" defTabSz="479865">
              <a:lnSpc>
                <a:spcPts val="1050"/>
              </a:lnSpc>
              <a:spcBef>
                <a:spcPts val="315"/>
              </a:spcBef>
              <a:spcAft>
                <a:spcPts val="315"/>
              </a:spcAft>
            </a:pPr>
            <a:r>
              <a:rPr lang="en-US" sz="1000" b="1" cap="all" dirty="0">
                <a:ln w="3175">
                  <a:noFill/>
                </a:ln>
                <a:solidFill>
                  <a:prstClr val="white">
                    <a:alpha val="99000"/>
                  </a:prstClr>
                </a:solidFill>
                <a:ea typeface="Segoe UI" pitchFamily="34" charset="0"/>
                <a:cs typeface="Segoe UI Light"/>
              </a:rPr>
              <a:t>software</a:t>
            </a:r>
          </a:p>
        </p:txBody>
      </p:sp>
      <p:sp>
        <p:nvSpPr>
          <p:cNvPr id="18" name="Rectangle 17"/>
          <p:cNvSpPr/>
          <p:nvPr/>
        </p:nvSpPr>
        <p:spPr>
          <a:xfrm>
            <a:off x="2743201" y="819152"/>
            <a:ext cx="1752600" cy="466731"/>
          </a:xfrm>
          <a:prstGeom prst="rect">
            <a:avLst/>
          </a:prstGeom>
        </p:spPr>
        <p:txBody>
          <a:bodyPr wrap="square" lIns="91420" tIns="45710" rIns="91420" bIns="45710">
            <a:spAutoFit/>
          </a:bodyPr>
          <a:lstStyle/>
          <a:p>
            <a:pPr algn="ctr" defTabSz="913871" fontAlgn="base">
              <a:lnSpc>
                <a:spcPct val="110000"/>
              </a:lnSpc>
              <a:spcBef>
                <a:spcPct val="0"/>
              </a:spcBef>
              <a:spcAft>
                <a:spcPct val="0"/>
              </a:spcAft>
            </a:pPr>
            <a:r>
              <a:rPr lang="en-US" sz="2200" cap="all" spc="-38" dirty="0">
                <a:solidFill>
                  <a:srgbClr val="FFFFFF"/>
                </a:solidFill>
              </a:rPr>
              <a:t>Expected</a:t>
            </a:r>
          </a:p>
        </p:txBody>
      </p:sp>
      <p:sp>
        <p:nvSpPr>
          <p:cNvPr id="19" name="Rectangle 18"/>
          <p:cNvSpPr/>
          <p:nvPr/>
        </p:nvSpPr>
        <p:spPr>
          <a:xfrm>
            <a:off x="3013638" y="1352550"/>
            <a:ext cx="1157397" cy="141064"/>
          </a:xfrm>
          <a:prstGeom prst="rect">
            <a:avLst/>
          </a:prstGeom>
        </p:spPr>
        <p:txBody>
          <a:bodyPr wrap="square" lIns="0" tIns="0" rIns="0" bIns="0">
            <a:spAutoFit/>
          </a:bodyPr>
          <a:lstStyle/>
          <a:p>
            <a:pPr algn="ctr" defTabSz="479865">
              <a:lnSpc>
                <a:spcPts val="1050"/>
              </a:lnSpc>
              <a:spcBef>
                <a:spcPts val="315"/>
              </a:spcBef>
              <a:spcAft>
                <a:spcPts val="315"/>
              </a:spcAft>
            </a:pPr>
            <a:r>
              <a:rPr lang="en-US" sz="1000" b="1" cap="all" dirty="0">
                <a:ln w="3175">
                  <a:noFill/>
                </a:ln>
                <a:solidFill>
                  <a:prstClr val="white">
                    <a:alpha val="99000"/>
                  </a:prstClr>
                </a:solidFill>
                <a:ea typeface="Segoe UI" pitchFamily="34" charset="0"/>
                <a:cs typeface="Segoe UI Light"/>
              </a:rPr>
              <a:t>hardware</a:t>
            </a:r>
          </a:p>
        </p:txBody>
      </p:sp>
      <p:sp>
        <p:nvSpPr>
          <p:cNvPr id="21" name="Rectangle 20"/>
          <p:cNvSpPr/>
          <p:nvPr/>
        </p:nvSpPr>
        <p:spPr>
          <a:xfrm>
            <a:off x="5197150" y="1352550"/>
            <a:ext cx="1157397" cy="141064"/>
          </a:xfrm>
          <a:prstGeom prst="rect">
            <a:avLst/>
          </a:prstGeom>
        </p:spPr>
        <p:txBody>
          <a:bodyPr wrap="square" lIns="0" tIns="0" rIns="0" bIns="0">
            <a:spAutoFit/>
          </a:bodyPr>
          <a:lstStyle/>
          <a:p>
            <a:pPr algn="ctr" defTabSz="479865">
              <a:lnSpc>
                <a:spcPts val="1050"/>
              </a:lnSpc>
              <a:spcBef>
                <a:spcPts val="315"/>
              </a:spcBef>
              <a:spcAft>
                <a:spcPts val="315"/>
              </a:spcAft>
            </a:pPr>
            <a:r>
              <a:rPr lang="en-US" sz="1000" b="1" cap="all" dirty="0">
                <a:ln w="3175">
                  <a:noFill/>
                </a:ln>
                <a:solidFill>
                  <a:prstClr val="white">
                    <a:alpha val="99000"/>
                  </a:prstClr>
                </a:solidFill>
                <a:ea typeface="Segoe UI" pitchFamily="34" charset="0"/>
                <a:cs typeface="Segoe UI Light"/>
              </a:rPr>
              <a:t>Human error</a:t>
            </a:r>
          </a:p>
        </p:txBody>
      </p:sp>
      <p:sp>
        <p:nvSpPr>
          <p:cNvPr id="29" name="Up Arrow 28"/>
          <p:cNvSpPr/>
          <p:nvPr/>
        </p:nvSpPr>
        <p:spPr bwMode="auto">
          <a:xfrm>
            <a:off x="7635450" y="1518741"/>
            <a:ext cx="762000" cy="1052203"/>
          </a:xfrm>
          <a:prstGeom prst="upArrow">
            <a:avLst>
              <a:gd name="adj1" fmla="val 58110"/>
              <a:gd name="adj2" fmla="val 50000"/>
            </a:avLst>
          </a:prstGeom>
          <a:gradFill>
            <a:gsLst>
              <a:gs pos="0">
                <a:schemeClr val="tx1"/>
              </a:gs>
              <a:gs pos="68000">
                <a:schemeClr val="tx1"/>
              </a:gs>
              <a:gs pos="100000">
                <a:schemeClr val="tx1">
                  <a:alpha val="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lIns="68571" tIns="34286" rIns="68571" bIns="34286" anchor="ctr" anchorCtr="0"/>
          <a:lstStyle/>
          <a:p>
            <a:pPr algn="ctr" defTabSz="685721">
              <a:lnSpc>
                <a:spcPct val="90000"/>
              </a:lnSpc>
            </a:pPr>
            <a:endParaRPr lang="en-US" b="1" dirty="0">
              <a:solidFill>
                <a:srgbClr val="FFFFFF"/>
              </a:solidFill>
            </a:endParaRPr>
          </a:p>
        </p:txBody>
      </p:sp>
      <p:sp>
        <p:nvSpPr>
          <p:cNvPr id="30" name="Rectangle 29"/>
          <p:cNvSpPr/>
          <p:nvPr/>
        </p:nvSpPr>
        <p:spPr>
          <a:xfrm>
            <a:off x="7269902" y="1123951"/>
            <a:ext cx="1493099" cy="359073"/>
          </a:xfrm>
          <a:prstGeom prst="rect">
            <a:avLst/>
          </a:prstGeom>
        </p:spPr>
        <p:txBody>
          <a:bodyPr wrap="square" lIns="0" tIns="0" rIns="0" bIns="0">
            <a:spAutoFit/>
          </a:bodyPr>
          <a:lstStyle/>
          <a:p>
            <a:pPr algn="ctr" defTabSz="479865">
              <a:lnSpc>
                <a:spcPts val="1050"/>
              </a:lnSpc>
              <a:spcBef>
                <a:spcPts val="315"/>
              </a:spcBef>
              <a:spcAft>
                <a:spcPts val="315"/>
              </a:spcAft>
            </a:pPr>
            <a:r>
              <a:rPr lang="en-US" cap="all" dirty="0">
                <a:ln w="3175">
                  <a:noFill/>
                </a:ln>
                <a:solidFill>
                  <a:prstClr val="white">
                    <a:alpha val="99000"/>
                  </a:prstClr>
                </a:solidFill>
                <a:ea typeface="Segoe UI" pitchFamily="34" charset="0"/>
                <a:cs typeface="Segoe UI Light"/>
              </a:rPr>
              <a:t>Fault</a:t>
            </a:r>
          </a:p>
          <a:p>
            <a:pPr algn="ctr" defTabSz="479865">
              <a:lnSpc>
                <a:spcPts val="1050"/>
              </a:lnSpc>
              <a:spcBef>
                <a:spcPts val="315"/>
              </a:spcBef>
              <a:spcAft>
                <a:spcPts val="315"/>
              </a:spcAft>
            </a:pPr>
            <a:r>
              <a:rPr lang="en-US" cap="all" dirty="0">
                <a:ln w="3175">
                  <a:noFill/>
                </a:ln>
                <a:solidFill>
                  <a:prstClr val="white">
                    <a:alpha val="99000"/>
                  </a:prstClr>
                </a:solidFill>
                <a:ea typeface="Segoe UI" pitchFamily="34" charset="0"/>
                <a:cs typeface="Segoe UI Light"/>
              </a:rPr>
              <a:t>tolerance</a:t>
            </a:r>
          </a:p>
        </p:txBody>
      </p:sp>
      <p:sp>
        <p:nvSpPr>
          <p:cNvPr id="32" name="Rectangle 31"/>
          <p:cNvSpPr/>
          <p:nvPr/>
        </p:nvSpPr>
        <p:spPr bwMode="auto">
          <a:xfrm>
            <a:off x="381001" y="2952755"/>
            <a:ext cx="6477000" cy="1980389"/>
          </a:xfrm>
          <a:prstGeom prst="rect">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6" tIns="45708" rIns="91416" bIns="45708" numCol="1" rtlCol="0" anchor="ctr" anchorCtr="0" compatLnSpc="1">
            <a:prstTxWarp prst="textNoShape">
              <a:avLst/>
            </a:prstTxWarp>
          </a:bodyPr>
          <a:lstStyle/>
          <a:p>
            <a:pPr algn="ctr" defTabSz="913909" fontAlgn="base">
              <a:spcBef>
                <a:spcPct val="0"/>
              </a:spcBef>
              <a:spcAft>
                <a:spcPct val="0"/>
              </a:spcAft>
            </a:pPr>
            <a:endParaRPr lang="en-US" sz="2400" dirty="0">
              <a:gradFill>
                <a:gsLst>
                  <a:gs pos="0">
                    <a:srgbClr val="FFFFFF"/>
                  </a:gs>
                  <a:gs pos="100000">
                    <a:srgbClr val="FFFFFF"/>
                  </a:gs>
                </a:gsLst>
                <a:lin ang="5400000" scaled="0"/>
              </a:gradFill>
            </a:endParaRPr>
          </a:p>
        </p:txBody>
      </p:sp>
      <p:pic>
        <p:nvPicPr>
          <p:cNvPr id="33" name="Picture 2"/>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4953005" y="3696715"/>
            <a:ext cx="1645911" cy="109211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4" name="Picture 3"/>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auto">
          <a:xfrm>
            <a:off x="2768973" y="3705772"/>
            <a:ext cx="1647969" cy="107399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5" name="Picture 5"/>
          <p:cNvPicPr>
            <a:picLocks noChangeAspect="1" noChangeArrowheads="1"/>
          </p:cNvPicPr>
          <p:nvPr/>
        </p:nvPicPr>
        <p:blipFill>
          <a:blip r:embed="rId8">
            <a:extLst>
              <a:ext uri="{28A0092B-C50C-407E-A947-70E740481C1C}">
                <a14:useLocalDpi xmlns:a14="http://schemas.microsoft.com/office/drawing/2010/main" val="0"/>
              </a:ext>
            </a:extLst>
          </a:blip>
          <a:stretch>
            <a:fillRect/>
          </a:stretch>
        </p:blipFill>
        <p:spPr bwMode="auto">
          <a:xfrm>
            <a:off x="609601" y="3696418"/>
            <a:ext cx="1645993" cy="1092164"/>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6" name="Rectangle 35"/>
          <p:cNvSpPr/>
          <p:nvPr/>
        </p:nvSpPr>
        <p:spPr>
          <a:xfrm>
            <a:off x="609601" y="3486150"/>
            <a:ext cx="1645993" cy="141064"/>
          </a:xfrm>
          <a:prstGeom prst="rect">
            <a:avLst/>
          </a:prstGeom>
        </p:spPr>
        <p:txBody>
          <a:bodyPr wrap="square" lIns="0" tIns="0" rIns="0" bIns="0">
            <a:spAutoFit/>
          </a:bodyPr>
          <a:lstStyle/>
          <a:p>
            <a:pPr algn="ctr" defTabSz="479865">
              <a:lnSpc>
                <a:spcPts val="1050"/>
              </a:lnSpc>
              <a:spcBef>
                <a:spcPts val="315"/>
              </a:spcBef>
              <a:spcAft>
                <a:spcPts val="315"/>
              </a:spcAft>
            </a:pPr>
            <a:r>
              <a:rPr lang="en-US" sz="1000" b="1" cap="all" dirty="0">
                <a:ln w="3175">
                  <a:noFill/>
                </a:ln>
                <a:solidFill>
                  <a:prstClr val="white">
                    <a:alpha val="99000"/>
                  </a:prstClr>
                </a:solidFill>
                <a:ea typeface="Segoe UI" pitchFamily="34" charset="0"/>
                <a:cs typeface="Segoe UI Light"/>
              </a:rPr>
              <a:t>Natural disaster</a:t>
            </a:r>
          </a:p>
        </p:txBody>
      </p:sp>
      <p:sp>
        <p:nvSpPr>
          <p:cNvPr id="37" name="Rectangle 36"/>
          <p:cNvSpPr/>
          <p:nvPr/>
        </p:nvSpPr>
        <p:spPr>
          <a:xfrm>
            <a:off x="2514601" y="2952750"/>
            <a:ext cx="2209800" cy="460494"/>
          </a:xfrm>
          <a:prstGeom prst="rect">
            <a:avLst/>
          </a:prstGeom>
        </p:spPr>
        <p:txBody>
          <a:bodyPr wrap="square" lIns="91420" tIns="45710" rIns="91420" bIns="45710">
            <a:spAutoFit/>
          </a:bodyPr>
          <a:lstStyle/>
          <a:p>
            <a:pPr algn="ctr" defTabSz="913871" fontAlgn="base">
              <a:lnSpc>
                <a:spcPct val="110000"/>
              </a:lnSpc>
              <a:spcBef>
                <a:spcPct val="0"/>
              </a:spcBef>
              <a:spcAft>
                <a:spcPct val="0"/>
              </a:spcAft>
            </a:pPr>
            <a:r>
              <a:rPr lang="en-US" sz="2200" cap="all" spc="-38" dirty="0">
                <a:solidFill>
                  <a:srgbClr val="FFFFFF"/>
                </a:solidFill>
              </a:rPr>
              <a:t>Unexpected</a:t>
            </a:r>
          </a:p>
        </p:txBody>
      </p:sp>
      <p:sp>
        <p:nvSpPr>
          <p:cNvPr id="38" name="Rectangle 37"/>
          <p:cNvSpPr/>
          <p:nvPr/>
        </p:nvSpPr>
        <p:spPr>
          <a:xfrm>
            <a:off x="2766315" y="3486150"/>
            <a:ext cx="1653285" cy="141064"/>
          </a:xfrm>
          <a:prstGeom prst="rect">
            <a:avLst/>
          </a:prstGeom>
        </p:spPr>
        <p:txBody>
          <a:bodyPr wrap="square" lIns="0" tIns="0" rIns="0" bIns="0">
            <a:spAutoFit/>
          </a:bodyPr>
          <a:lstStyle/>
          <a:p>
            <a:pPr algn="ctr" defTabSz="479865">
              <a:lnSpc>
                <a:spcPts val="1050"/>
              </a:lnSpc>
              <a:spcBef>
                <a:spcPts val="315"/>
              </a:spcBef>
              <a:spcAft>
                <a:spcPts val="315"/>
              </a:spcAft>
            </a:pPr>
            <a:r>
              <a:rPr lang="en-US" sz="1000" b="1" cap="all" dirty="0">
                <a:ln w="3175">
                  <a:noFill/>
                </a:ln>
                <a:solidFill>
                  <a:prstClr val="white">
                    <a:alpha val="99000"/>
                  </a:prstClr>
                </a:solidFill>
                <a:ea typeface="Segoe UI" pitchFamily="34" charset="0"/>
                <a:cs typeface="Segoe UI Light"/>
              </a:rPr>
              <a:t>DATA DISRUPTION</a:t>
            </a:r>
          </a:p>
        </p:txBody>
      </p:sp>
      <p:sp>
        <p:nvSpPr>
          <p:cNvPr id="39" name="Rectangle 38"/>
          <p:cNvSpPr/>
          <p:nvPr/>
        </p:nvSpPr>
        <p:spPr>
          <a:xfrm>
            <a:off x="4953005" y="3486152"/>
            <a:ext cx="1645911" cy="141064"/>
          </a:xfrm>
          <a:prstGeom prst="rect">
            <a:avLst/>
          </a:prstGeom>
        </p:spPr>
        <p:txBody>
          <a:bodyPr wrap="square" lIns="0" tIns="0" rIns="0" bIns="0">
            <a:spAutoFit/>
          </a:bodyPr>
          <a:lstStyle/>
          <a:p>
            <a:pPr algn="ctr" defTabSz="479865">
              <a:lnSpc>
                <a:spcPts val="1050"/>
              </a:lnSpc>
              <a:spcBef>
                <a:spcPts val="315"/>
              </a:spcBef>
              <a:spcAft>
                <a:spcPts val="315"/>
              </a:spcAft>
            </a:pPr>
            <a:r>
              <a:rPr lang="en-US" sz="1000" b="1" cap="all" dirty="0">
                <a:ln w="3175">
                  <a:noFill/>
                </a:ln>
                <a:solidFill>
                  <a:prstClr val="white">
                    <a:alpha val="99000"/>
                  </a:prstClr>
                </a:solidFill>
                <a:ea typeface="Segoe UI" pitchFamily="34" charset="0"/>
                <a:cs typeface="Segoe UI Light"/>
              </a:rPr>
              <a:t>Criminal activity</a:t>
            </a:r>
          </a:p>
        </p:txBody>
      </p:sp>
      <p:sp>
        <p:nvSpPr>
          <p:cNvPr id="40" name="Up Arrow 39"/>
          <p:cNvSpPr/>
          <p:nvPr/>
        </p:nvSpPr>
        <p:spPr bwMode="auto">
          <a:xfrm rot="10800000">
            <a:off x="7635450" y="3231367"/>
            <a:ext cx="762000" cy="1052203"/>
          </a:xfrm>
          <a:prstGeom prst="upArrow">
            <a:avLst>
              <a:gd name="adj1" fmla="val 58110"/>
              <a:gd name="adj2" fmla="val 50000"/>
            </a:avLst>
          </a:prstGeom>
          <a:gradFill>
            <a:gsLst>
              <a:gs pos="0">
                <a:schemeClr val="tx1"/>
              </a:gs>
              <a:gs pos="68000">
                <a:schemeClr val="tx1"/>
              </a:gs>
              <a:gs pos="100000">
                <a:schemeClr val="tx1">
                  <a:alpha val="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lIns="68571" tIns="34286" rIns="68571" bIns="34286" anchor="ctr" anchorCtr="0"/>
          <a:lstStyle/>
          <a:p>
            <a:pPr algn="ctr" defTabSz="685721">
              <a:lnSpc>
                <a:spcPct val="90000"/>
              </a:lnSpc>
            </a:pPr>
            <a:endParaRPr lang="en-US" b="1" dirty="0">
              <a:solidFill>
                <a:srgbClr val="FFFFFF"/>
              </a:solidFill>
            </a:endParaRPr>
          </a:p>
        </p:txBody>
      </p:sp>
      <p:sp>
        <p:nvSpPr>
          <p:cNvPr id="41" name="Rectangle 40"/>
          <p:cNvSpPr/>
          <p:nvPr/>
        </p:nvSpPr>
        <p:spPr>
          <a:xfrm>
            <a:off x="7269902" y="4427999"/>
            <a:ext cx="1493099" cy="359073"/>
          </a:xfrm>
          <a:prstGeom prst="rect">
            <a:avLst/>
          </a:prstGeom>
        </p:spPr>
        <p:txBody>
          <a:bodyPr wrap="square" lIns="0" tIns="0" rIns="0" bIns="0">
            <a:spAutoFit/>
          </a:bodyPr>
          <a:lstStyle/>
          <a:p>
            <a:pPr algn="ctr" defTabSz="479865">
              <a:lnSpc>
                <a:spcPts val="1050"/>
              </a:lnSpc>
              <a:spcBef>
                <a:spcPts val="315"/>
              </a:spcBef>
              <a:spcAft>
                <a:spcPts val="315"/>
              </a:spcAft>
            </a:pPr>
            <a:r>
              <a:rPr lang="en-US" cap="all" dirty="0">
                <a:ln w="3175">
                  <a:noFill/>
                </a:ln>
                <a:solidFill>
                  <a:prstClr val="white">
                    <a:alpha val="99000"/>
                  </a:prstClr>
                </a:solidFill>
                <a:ea typeface="Segoe UI" pitchFamily="34" charset="0"/>
                <a:cs typeface="Segoe UI Light"/>
              </a:rPr>
              <a:t>Rapid</a:t>
            </a:r>
          </a:p>
          <a:p>
            <a:pPr algn="ctr" defTabSz="479865">
              <a:lnSpc>
                <a:spcPts val="1050"/>
              </a:lnSpc>
              <a:spcBef>
                <a:spcPts val="315"/>
              </a:spcBef>
              <a:spcAft>
                <a:spcPts val="315"/>
              </a:spcAft>
            </a:pPr>
            <a:r>
              <a:rPr lang="en-US" cap="all" dirty="0">
                <a:ln w="3175">
                  <a:noFill/>
                </a:ln>
                <a:solidFill>
                  <a:prstClr val="white">
                    <a:alpha val="99000"/>
                  </a:prstClr>
                </a:solidFill>
                <a:ea typeface="Segoe UI" pitchFamily="34" charset="0"/>
                <a:cs typeface="Segoe UI Light"/>
              </a:rPr>
              <a:t>recovery</a:t>
            </a:r>
          </a:p>
        </p:txBody>
      </p:sp>
      <p:sp>
        <p:nvSpPr>
          <p:cNvPr id="23"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4"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9"/>
              </a:rPr>
              <a:t>www.rapidbbs.cn</a:t>
            </a:r>
            <a:endParaRPr lang="zh-CN" altLang="en-US" sz="1200" b="0">
              <a:latin typeface="Arial" charset="0"/>
              <a:ea typeface="ＭＳ Ｐゴシック" pitchFamily="34" charset="-128"/>
            </a:endParaRPr>
          </a:p>
        </p:txBody>
      </p:sp>
      <p:pic>
        <p:nvPicPr>
          <p:cNvPr id="25" name="Picture 2">
            <a:hlinkClick r:id="rId9"/>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65112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ctangle 71"/>
          <p:cNvSpPr/>
          <p:nvPr/>
        </p:nvSpPr>
        <p:spPr>
          <a:xfrm>
            <a:off x="5713030" y="973117"/>
            <a:ext cx="2103735" cy="463934"/>
          </a:xfrm>
          <a:prstGeom prst="rect">
            <a:avLst/>
          </a:prstGeom>
          <a:solidFill>
            <a:srgbClr val="00AEEF"/>
          </a:solidFill>
          <a:ln w="6350">
            <a:gradFill flip="none" rotWithShape="1">
              <a:gsLst>
                <a:gs pos="0">
                  <a:srgbClr val="000000">
                    <a:alpha val="0"/>
                  </a:srgbClr>
                </a:gs>
                <a:gs pos="50000">
                  <a:srgbClr val="005CB0">
                    <a:alpha val="78000"/>
                  </a:srgbClr>
                </a:gs>
                <a:gs pos="100000">
                  <a:srgbClr val="000C22">
                    <a:alpha val="0"/>
                  </a:srgbClr>
                </a:gs>
              </a:gsLst>
              <a:lin ang="16200000" scaled="1"/>
              <a:tileRect/>
            </a:gra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0" tIns="1005630" rIns="0" bIns="274261" numCol="1" rtlCol="0" anchor="ctr" anchorCtr="0" compatLnSpc="1">
            <a:prstTxWarp prst="textNoShape">
              <a:avLst/>
            </a:prstTxWarp>
          </a:bodyPr>
          <a:lstStyle/>
          <a:p>
            <a:pPr algn="ctr" defTabSz="685721" fontAlgn="base">
              <a:lnSpc>
                <a:spcPct val="90000"/>
              </a:lnSpc>
              <a:spcBef>
                <a:spcPts val="1350"/>
              </a:spcBef>
              <a:spcAft>
                <a:spcPts val="1350"/>
              </a:spcAft>
            </a:pPr>
            <a:endParaRPr lang="en-US" sz="1500" kern="0" dirty="0">
              <a:solidFill>
                <a:srgbClr val="FFFFFF">
                  <a:lumMod val="10000"/>
                  <a:lumOff val="90000"/>
                </a:srgbClr>
              </a:solidFill>
              <a:latin typeface="Segoe UI Light" pitchFamily="34" charset="0"/>
            </a:endParaRPr>
          </a:p>
        </p:txBody>
      </p:sp>
      <p:sp>
        <p:nvSpPr>
          <p:cNvPr id="71" name="Rectangle 70"/>
          <p:cNvSpPr/>
          <p:nvPr/>
        </p:nvSpPr>
        <p:spPr>
          <a:xfrm>
            <a:off x="5715009" y="1499511"/>
            <a:ext cx="2103735" cy="1605640"/>
          </a:xfrm>
          <a:prstGeom prst="rect">
            <a:avLst/>
          </a:prstGeom>
          <a:solidFill>
            <a:srgbClr val="00AEEF"/>
          </a:solidFill>
          <a:ln w="6350">
            <a:gradFill flip="none" rotWithShape="1">
              <a:gsLst>
                <a:gs pos="0">
                  <a:srgbClr val="000000">
                    <a:alpha val="0"/>
                  </a:srgbClr>
                </a:gs>
                <a:gs pos="50000">
                  <a:srgbClr val="005CB0">
                    <a:alpha val="78000"/>
                  </a:srgbClr>
                </a:gs>
                <a:gs pos="100000">
                  <a:srgbClr val="000C22">
                    <a:alpha val="0"/>
                  </a:srgbClr>
                </a:gs>
              </a:gsLst>
              <a:lin ang="16200000" scaled="1"/>
              <a:tileRect/>
            </a:gra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0" tIns="1005630" rIns="0" bIns="274261" numCol="1" rtlCol="0" anchor="ctr" anchorCtr="0" compatLnSpc="1">
            <a:prstTxWarp prst="textNoShape">
              <a:avLst/>
            </a:prstTxWarp>
          </a:bodyPr>
          <a:lstStyle/>
          <a:p>
            <a:pPr algn="ctr" defTabSz="685721" fontAlgn="base">
              <a:lnSpc>
                <a:spcPct val="90000"/>
              </a:lnSpc>
              <a:spcBef>
                <a:spcPts val="1350"/>
              </a:spcBef>
              <a:spcAft>
                <a:spcPts val="1350"/>
              </a:spcAft>
            </a:pPr>
            <a:endParaRPr lang="en-US" sz="1500" kern="0" dirty="0">
              <a:solidFill>
                <a:srgbClr val="FFFFFF">
                  <a:lumMod val="10000"/>
                  <a:lumOff val="90000"/>
                </a:srgbClr>
              </a:solidFill>
              <a:latin typeface="Segoe UI Light" pitchFamily="34" charset="0"/>
            </a:endParaRPr>
          </a:p>
        </p:txBody>
      </p:sp>
      <p:sp>
        <p:nvSpPr>
          <p:cNvPr id="41" name="Rectangle 40"/>
          <p:cNvSpPr/>
          <p:nvPr/>
        </p:nvSpPr>
        <p:spPr>
          <a:xfrm>
            <a:off x="3664862" y="973116"/>
            <a:ext cx="2030946" cy="466414"/>
          </a:xfrm>
          <a:prstGeom prst="rect">
            <a:avLst/>
          </a:prstGeom>
          <a:solidFill>
            <a:srgbClr val="FF8A00"/>
          </a:solidFill>
          <a:ln w="6350">
            <a:gradFill flip="none" rotWithShape="1">
              <a:gsLst>
                <a:gs pos="0">
                  <a:srgbClr val="000000">
                    <a:alpha val="0"/>
                  </a:srgbClr>
                </a:gs>
                <a:gs pos="50000">
                  <a:srgbClr val="005CB0">
                    <a:alpha val="78000"/>
                  </a:srgbClr>
                </a:gs>
                <a:gs pos="100000">
                  <a:srgbClr val="000C22">
                    <a:alpha val="0"/>
                  </a:srgbClr>
                </a:gs>
              </a:gsLst>
              <a:lin ang="16200000" scaled="1"/>
              <a:tileRect/>
            </a:gra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0" tIns="1005630" rIns="0" bIns="274261" numCol="1" rtlCol="0" anchor="ctr" anchorCtr="0" compatLnSpc="1">
            <a:prstTxWarp prst="textNoShape">
              <a:avLst/>
            </a:prstTxWarp>
          </a:bodyPr>
          <a:lstStyle/>
          <a:p>
            <a:pPr algn="ctr" defTabSz="685721" fontAlgn="base">
              <a:lnSpc>
                <a:spcPct val="90000"/>
              </a:lnSpc>
              <a:spcBef>
                <a:spcPts val="1350"/>
              </a:spcBef>
              <a:spcAft>
                <a:spcPts val="1350"/>
              </a:spcAft>
            </a:pPr>
            <a:endParaRPr lang="en-US" sz="1500" kern="0" dirty="0">
              <a:solidFill>
                <a:srgbClr val="FFFFFF">
                  <a:lumMod val="10000"/>
                  <a:lumOff val="90000"/>
                </a:srgbClr>
              </a:solidFill>
              <a:latin typeface="Segoe UI Light" pitchFamily="34" charset="0"/>
            </a:endParaRPr>
          </a:p>
        </p:txBody>
      </p:sp>
      <p:sp>
        <p:nvSpPr>
          <p:cNvPr id="42" name="Rectangle 41"/>
          <p:cNvSpPr/>
          <p:nvPr/>
        </p:nvSpPr>
        <p:spPr>
          <a:xfrm>
            <a:off x="1524000" y="971555"/>
            <a:ext cx="2049392" cy="465499"/>
          </a:xfrm>
          <a:prstGeom prst="rect">
            <a:avLst/>
          </a:prstGeom>
          <a:solidFill>
            <a:srgbClr val="0071BC"/>
          </a:solidFill>
          <a:ln w="6350">
            <a:gradFill flip="none" rotWithShape="1">
              <a:gsLst>
                <a:gs pos="0">
                  <a:srgbClr val="000000">
                    <a:alpha val="0"/>
                  </a:srgbClr>
                </a:gs>
                <a:gs pos="50000">
                  <a:srgbClr val="005CB0">
                    <a:alpha val="78000"/>
                  </a:srgbClr>
                </a:gs>
                <a:gs pos="100000">
                  <a:srgbClr val="000C22">
                    <a:alpha val="0"/>
                  </a:srgbClr>
                </a:gs>
              </a:gsLst>
              <a:lin ang="16200000" scaled="1"/>
              <a:tileRect/>
            </a:gra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0" tIns="1005630" rIns="0" bIns="274261" numCol="1" rtlCol="0" anchor="ctr" anchorCtr="0" compatLnSpc="1">
            <a:prstTxWarp prst="textNoShape">
              <a:avLst/>
            </a:prstTxWarp>
          </a:bodyPr>
          <a:lstStyle/>
          <a:p>
            <a:pPr algn="ctr" defTabSz="685721" fontAlgn="base">
              <a:lnSpc>
                <a:spcPct val="90000"/>
              </a:lnSpc>
              <a:spcBef>
                <a:spcPts val="1350"/>
              </a:spcBef>
              <a:spcAft>
                <a:spcPts val="1350"/>
              </a:spcAft>
            </a:pPr>
            <a:endParaRPr lang="en-US" sz="1500" kern="0" dirty="0">
              <a:solidFill>
                <a:srgbClr val="FFFFFF">
                  <a:lumMod val="10000"/>
                  <a:lumOff val="90000"/>
                </a:srgbClr>
              </a:solidFill>
              <a:latin typeface="Segoe UI Light" pitchFamily="34" charset="0"/>
            </a:endParaRPr>
          </a:p>
        </p:txBody>
      </p:sp>
      <p:sp>
        <p:nvSpPr>
          <p:cNvPr id="37" name="Rectangle 36"/>
          <p:cNvSpPr/>
          <p:nvPr/>
        </p:nvSpPr>
        <p:spPr>
          <a:xfrm>
            <a:off x="1536852" y="3181355"/>
            <a:ext cx="6323229" cy="749719"/>
          </a:xfrm>
          <a:prstGeom prst="rect">
            <a:avLst/>
          </a:prstGeom>
          <a:solidFill>
            <a:srgbClr val="FFBE00"/>
          </a:solidFill>
          <a:ln w="6350">
            <a:gradFill flip="none" rotWithShape="1">
              <a:gsLst>
                <a:gs pos="0">
                  <a:srgbClr val="000000">
                    <a:alpha val="0"/>
                  </a:srgbClr>
                </a:gs>
                <a:gs pos="50000">
                  <a:srgbClr val="005CB0">
                    <a:alpha val="78000"/>
                  </a:srgbClr>
                </a:gs>
                <a:gs pos="100000">
                  <a:srgbClr val="000C22">
                    <a:alpha val="0"/>
                  </a:srgbClr>
                </a:gs>
              </a:gsLst>
              <a:lin ang="16200000" scaled="1"/>
              <a:tileRect/>
            </a:gra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0" tIns="1005630" rIns="0" bIns="274261" numCol="1" rtlCol="0" anchor="ctr" anchorCtr="0" compatLnSpc="1">
            <a:prstTxWarp prst="textNoShape">
              <a:avLst/>
            </a:prstTxWarp>
          </a:bodyPr>
          <a:lstStyle/>
          <a:p>
            <a:pPr algn="ctr" defTabSz="685721" fontAlgn="base">
              <a:lnSpc>
                <a:spcPct val="90000"/>
              </a:lnSpc>
              <a:spcBef>
                <a:spcPts val="1350"/>
              </a:spcBef>
              <a:spcAft>
                <a:spcPts val="1350"/>
              </a:spcAft>
            </a:pPr>
            <a:endParaRPr lang="en-US" sz="1500" kern="0" dirty="0">
              <a:solidFill>
                <a:srgbClr val="FFFFFF">
                  <a:lumMod val="10000"/>
                  <a:lumOff val="90000"/>
                </a:srgbClr>
              </a:solidFill>
              <a:latin typeface="Segoe UI Light" pitchFamily="34" charset="0"/>
            </a:endParaRPr>
          </a:p>
        </p:txBody>
      </p:sp>
      <p:sp>
        <p:nvSpPr>
          <p:cNvPr id="35" name="Rectangle 34"/>
          <p:cNvSpPr/>
          <p:nvPr/>
        </p:nvSpPr>
        <p:spPr>
          <a:xfrm>
            <a:off x="3657600" y="1490271"/>
            <a:ext cx="2030946" cy="1621303"/>
          </a:xfrm>
          <a:prstGeom prst="rect">
            <a:avLst/>
          </a:prstGeom>
          <a:solidFill>
            <a:srgbClr val="FF8A00"/>
          </a:solidFill>
          <a:ln w="6350">
            <a:gradFill flip="none" rotWithShape="1">
              <a:gsLst>
                <a:gs pos="0">
                  <a:srgbClr val="000000">
                    <a:alpha val="0"/>
                  </a:srgbClr>
                </a:gs>
                <a:gs pos="50000">
                  <a:srgbClr val="005CB0">
                    <a:alpha val="78000"/>
                  </a:srgbClr>
                </a:gs>
                <a:gs pos="100000">
                  <a:srgbClr val="000C22">
                    <a:alpha val="0"/>
                  </a:srgbClr>
                </a:gs>
              </a:gsLst>
              <a:lin ang="16200000" scaled="1"/>
              <a:tileRect/>
            </a:gra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0" tIns="1005630" rIns="0" bIns="274261" numCol="1" rtlCol="0" anchor="ctr" anchorCtr="0" compatLnSpc="1">
            <a:prstTxWarp prst="textNoShape">
              <a:avLst/>
            </a:prstTxWarp>
          </a:bodyPr>
          <a:lstStyle/>
          <a:p>
            <a:pPr algn="ctr" defTabSz="685721" fontAlgn="base">
              <a:lnSpc>
                <a:spcPct val="90000"/>
              </a:lnSpc>
              <a:spcBef>
                <a:spcPts val="1350"/>
              </a:spcBef>
              <a:spcAft>
                <a:spcPts val="1350"/>
              </a:spcAft>
            </a:pPr>
            <a:endParaRPr lang="en-US" sz="1500" kern="0" dirty="0">
              <a:solidFill>
                <a:srgbClr val="FFFFFF">
                  <a:lumMod val="10000"/>
                  <a:lumOff val="90000"/>
                </a:srgbClr>
              </a:solidFill>
              <a:latin typeface="Segoe UI Light" pitchFamily="34" charset="0"/>
            </a:endParaRPr>
          </a:p>
        </p:txBody>
      </p:sp>
      <p:sp>
        <p:nvSpPr>
          <p:cNvPr id="33" name="Rectangle 32"/>
          <p:cNvSpPr/>
          <p:nvPr/>
        </p:nvSpPr>
        <p:spPr>
          <a:xfrm>
            <a:off x="1536855" y="1499512"/>
            <a:ext cx="2044549" cy="1618124"/>
          </a:xfrm>
          <a:prstGeom prst="rect">
            <a:avLst/>
          </a:prstGeom>
          <a:solidFill>
            <a:srgbClr val="0071BC"/>
          </a:solidFill>
          <a:ln w="6350">
            <a:gradFill flip="none" rotWithShape="1">
              <a:gsLst>
                <a:gs pos="0">
                  <a:srgbClr val="000000">
                    <a:alpha val="0"/>
                  </a:srgbClr>
                </a:gs>
                <a:gs pos="50000">
                  <a:srgbClr val="005CB0">
                    <a:alpha val="78000"/>
                  </a:srgbClr>
                </a:gs>
                <a:gs pos="100000">
                  <a:srgbClr val="000C22">
                    <a:alpha val="0"/>
                  </a:srgbClr>
                </a:gs>
              </a:gsLst>
              <a:lin ang="16200000" scaled="1"/>
              <a:tileRect/>
            </a:gra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0" tIns="1005630" rIns="0" bIns="274261" numCol="1" rtlCol="0" anchor="ctr" anchorCtr="0" compatLnSpc="1">
            <a:prstTxWarp prst="textNoShape">
              <a:avLst/>
            </a:prstTxWarp>
          </a:bodyPr>
          <a:lstStyle/>
          <a:p>
            <a:pPr algn="ctr" defTabSz="685721" fontAlgn="base">
              <a:lnSpc>
                <a:spcPct val="90000"/>
              </a:lnSpc>
              <a:spcBef>
                <a:spcPts val="1350"/>
              </a:spcBef>
              <a:spcAft>
                <a:spcPts val="1350"/>
              </a:spcAft>
            </a:pPr>
            <a:endParaRPr lang="en-US" sz="1500" kern="0" dirty="0">
              <a:solidFill>
                <a:srgbClr val="FFFFFF">
                  <a:lumMod val="10000"/>
                  <a:lumOff val="90000"/>
                </a:srgbClr>
              </a:solidFill>
              <a:latin typeface="Segoe UI Light" pitchFamily="34" charset="0"/>
            </a:endParaRPr>
          </a:p>
        </p:txBody>
      </p:sp>
      <p:sp>
        <p:nvSpPr>
          <p:cNvPr id="2" name="Title 1"/>
          <p:cNvSpPr>
            <a:spLocks noGrp="1"/>
          </p:cNvSpPr>
          <p:nvPr>
            <p:ph type="title"/>
          </p:nvPr>
        </p:nvSpPr>
        <p:spPr>
          <a:xfrm>
            <a:off x="365761" y="137160"/>
            <a:ext cx="8162951" cy="457048"/>
          </a:xfrm>
        </p:spPr>
        <p:txBody>
          <a:bodyPr/>
          <a:lstStyle/>
          <a:p>
            <a:r>
              <a:rPr lang="en-US" dirty="0"/>
              <a:t>IDENTITY ACCESS MANAGEMENT</a:t>
            </a:r>
          </a:p>
        </p:txBody>
      </p:sp>
      <p:sp>
        <p:nvSpPr>
          <p:cNvPr id="49" name="Rectangle 48"/>
          <p:cNvSpPr/>
          <p:nvPr/>
        </p:nvSpPr>
        <p:spPr>
          <a:xfrm>
            <a:off x="5788519" y="1009514"/>
            <a:ext cx="1973477" cy="480757"/>
          </a:xfrm>
          <a:prstGeom prst="rect">
            <a:avLst/>
          </a:prstGeom>
          <a:effectLst/>
        </p:spPr>
        <p:txBody>
          <a:bodyPr wrap="square" lIns="68574" tIns="34288" rIns="68574" bIns="34288">
            <a:spAutoFit/>
          </a:bodyPr>
          <a:lstStyle/>
          <a:p>
            <a:pPr algn="ctr" defTabSz="685523">
              <a:lnSpc>
                <a:spcPts val="1575"/>
              </a:lnSpc>
            </a:pPr>
            <a:r>
              <a:rPr lang="en-US" sz="1500" dirty="0">
                <a:ln w="12700">
                  <a:noFill/>
                  <a:prstDash val="solid"/>
                </a:ln>
                <a:gradFill>
                  <a:gsLst>
                    <a:gs pos="0">
                      <a:srgbClr val="FFFFFF"/>
                    </a:gs>
                    <a:gs pos="100000">
                      <a:srgbClr val="FFFFFF"/>
                    </a:gs>
                  </a:gsLst>
                  <a:lin ang="5400000" scaled="0"/>
                </a:gradFill>
              </a:rPr>
              <a:t>Secure Remote Access</a:t>
            </a:r>
          </a:p>
        </p:txBody>
      </p:sp>
      <p:sp>
        <p:nvSpPr>
          <p:cNvPr id="52" name="Rectangle 51"/>
          <p:cNvSpPr/>
          <p:nvPr/>
        </p:nvSpPr>
        <p:spPr>
          <a:xfrm>
            <a:off x="3629282" y="983123"/>
            <a:ext cx="2023799" cy="480757"/>
          </a:xfrm>
          <a:prstGeom prst="rect">
            <a:avLst/>
          </a:prstGeom>
        </p:spPr>
        <p:txBody>
          <a:bodyPr wrap="square" lIns="68574" tIns="34288" rIns="68574" bIns="34288">
            <a:spAutoFit/>
          </a:bodyPr>
          <a:lstStyle/>
          <a:p>
            <a:pPr algn="ctr" defTabSz="685523">
              <a:lnSpc>
                <a:spcPts val="1575"/>
              </a:lnSpc>
            </a:pPr>
            <a:r>
              <a:rPr lang="en-US" sz="1500" dirty="0">
                <a:ln w="12700">
                  <a:noFill/>
                  <a:prstDash val="solid"/>
                </a:ln>
                <a:gradFill>
                  <a:gsLst>
                    <a:gs pos="0">
                      <a:srgbClr val="FFFFFF"/>
                    </a:gs>
                    <a:gs pos="100000">
                      <a:srgbClr val="FFFFFF"/>
                    </a:gs>
                  </a:gsLst>
                  <a:lin ang="5400000" scaled="0"/>
                </a:gradFill>
              </a:rPr>
              <a:t>Well-managed Identity</a:t>
            </a:r>
          </a:p>
        </p:txBody>
      </p:sp>
      <p:sp>
        <p:nvSpPr>
          <p:cNvPr id="55" name="Rectangle 54"/>
          <p:cNvSpPr/>
          <p:nvPr/>
        </p:nvSpPr>
        <p:spPr>
          <a:xfrm>
            <a:off x="1500873" y="973120"/>
            <a:ext cx="1973477" cy="480757"/>
          </a:xfrm>
          <a:prstGeom prst="rect">
            <a:avLst/>
          </a:prstGeom>
          <a:effectLst/>
        </p:spPr>
        <p:txBody>
          <a:bodyPr wrap="square" lIns="68574" tIns="34288" rIns="68574" bIns="34288">
            <a:spAutoFit/>
          </a:bodyPr>
          <a:lstStyle/>
          <a:p>
            <a:pPr algn="ctr" defTabSz="685523">
              <a:lnSpc>
                <a:spcPts val="1575"/>
              </a:lnSpc>
            </a:pPr>
            <a:r>
              <a:rPr lang="en-US" sz="1500" dirty="0">
                <a:ln w="12700">
                  <a:noFill/>
                  <a:prstDash val="solid"/>
                </a:ln>
                <a:gradFill>
                  <a:gsLst>
                    <a:gs pos="0">
                      <a:srgbClr val="FFFFFF"/>
                    </a:gs>
                    <a:gs pos="100000">
                      <a:srgbClr val="FFFFFF"/>
                    </a:gs>
                  </a:gsLst>
                  <a:lin ang="5400000" scaled="0"/>
                </a:gradFill>
              </a:rPr>
              <a:t>Access across Networks</a:t>
            </a:r>
          </a:p>
        </p:txBody>
      </p:sp>
      <p:sp>
        <p:nvSpPr>
          <p:cNvPr id="56" name="TextBox 55"/>
          <p:cNvSpPr txBox="1"/>
          <p:nvPr/>
        </p:nvSpPr>
        <p:spPr>
          <a:xfrm>
            <a:off x="3657602" y="2715463"/>
            <a:ext cx="2023799" cy="304699"/>
          </a:xfrm>
          <a:prstGeom prst="rect">
            <a:avLst/>
          </a:prstGeom>
        </p:spPr>
        <p:txBody>
          <a:bodyPr vert="horz" wrap="square" lIns="0" tIns="0" rIns="0" bIns="0" rtlCol="0">
            <a:spAutoFit/>
          </a:bodyPr>
          <a:lstStyle/>
          <a:p>
            <a:pPr marL="214296" indent="-214296" algn="ctr" defTabSz="685721">
              <a:lnSpc>
                <a:spcPct val="90000"/>
              </a:lnSpc>
              <a:spcBef>
                <a:spcPct val="20000"/>
              </a:spcBef>
              <a:buClr>
                <a:srgbClr val="777777"/>
              </a:buClr>
              <a:buSzPct val="130000"/>
            </a:pPr>
            <a:r>
              <a:rPr lang="en-US" sz="1100" dirty="0">
                <a:solidFill>
                  <a:srgbClr val="FFFFFF"/>
                </a:solidFill>
              </a:rPr>
              <a:t>Provide well-managed, common identity infrastructure</a:t>
            </a:r>
          </a:p>
        </p:txBody>
      </p:sp>
      <p:sp>
        <p:nvSpPr>
          <p:cNvPr id="57" name="TextBox 56"/>
          <p:cNvSpPr txBox="1"/>
          <p:nvPr/>
        </p:nvSpPr>
        <p:spPr>
          <a:xfrm>
            <a:off x="1629589" y="3306151"/>
            <a:ext cx="6132400" cy="443198"/>
          </a:xfrm>
          <a:prstGeom prst="rect">
            <a:avLst/>
          </a:prstGeom>
        </p:spPr>
        <p:txBody>
          <a:bodyPr vert="horz" wrap="square" lIns="0" tIns="0" rIns="0" bIns="0" rtlCol="0">
            <a:spAutoFit/>
          </a:bodyPr>
          <a:lstStyle>
            <a:defPPr>
              <a:defRPr lang="en-US"/>
            </a:defPPr>
            <a:lvl1pPr algn="ctr">
              <a:lnSpc>
                <a:spcPct val="90000"/>
              </a:lnSpc>
              <a:spcBef>
                <a:spcPct val="20000"/>
              </a:spcBef>
              <a:buClr>
                <a:srgbClr val="777777"/>
              </a:buClr>
              <a:buSzPct val="130000"/>
              <a:defRPr>
                <a:gradFill>
                  <a:gsLst>
                    <a:gs pos="0">
                      <a:schemeClr val="bg1"/>
                    </a:gs>
                    <a:gs pos="100000">
                      <a:schemeClr val="bg1"/>
                    </a:gs>
                  </a:gsLst>
                  <a:lin ang="21594000" scaled="0"/>
                </a:gradFill>
              </a:defRPr>
            </a:lvl1pPr>
          </a:lstStyle>
          <a:p>
            <a:pPr marL="214296" indent="-214296" defTabSz="685721"/>
            <a:r>
              <a:rPr lang="en-US" sz="3200" dirty="0">
                <a:solidFill>
                  <a:srgbClr val="FFFFFF"/>
                </a:solidFill>
              </a:rPr>
              <a:t>Integrated Identity service</a:t>
            </a:r>
          </a:p>
        </p:txBody>
      </p:sp>
      <p:sp>
        <p:nvSpPr>
          <p:cNvPr id="58" name="TextBox 57"/>
          <p:cNvSpPr txBox="1"/>
          <p:nvPr/>
        </p:nvSpPr>
        <p:spPr>
          <a:xfrm>
            <a:off x="5771764" y="2715463"/>
            <a:ext cx="1990225" cy="311624"/>
          </a:xfrm>
          <a:prstGeom prst="rect">
            <a:avLst/>
          </a:prstGeom>
        </p:spPr>
        <p:txBody>
          <a:bodyPr vert="horz" wrap="square" lIns="0" tIns="0" rIns="0" bIns="0" rtlCol="0">
            <a:spAutoFit/>
          </a:bodyPr>
          <a:lstStyle>
            <a:defPPr>
              <a:defRPr lang="en-US"/>
            </a:defPPr>
            <a:lvl1pPr algn="ctr">
              <a:lnSpc>
                <a:spcPct val="90000"/>
              </a:lnSpc>
              <a:spcBef>
                <a:spcPct val="20000"/>
              </a:spcBef>
              <a:buClr>
                <a:srgbClr val="777777"/>
              </a:buClr>
              <a:buSzPct val="130000"/>
              <a:defRPr>
                <a:gradFill>
                  <a:gsLst>
                    <a:gs pos="0">
                      <a:schemeClr val="bg1"/>
                    </a:gs>
                    <a:gs pos="100000">
                      <a:schemeClr val="bg1"/>
                    </a:gs>
                  </a:gsLst>
                  <a:lin ang="21594000" scaled="0"/>
                </a:gradFill>
              </a:defRPr>
            </a:lvl1pPr>
          </a:lstStyle>
          <a:p>
            <a:pPr marL="214296" indent="-214296" defTabSz="685721"/>
            <a:r>
              <a:rPr lang="en-US" sz="1100" dirty="0">
                <a:solidFill>
                  <a:srgbClr val="FFFFFF"/>
                </a:solidFill>
              </a:rPr>
              <a:t>Secure remote access to </a:t>
            </a:r>
            <a:br>
              <a:rPr lang="en-US" sz="1100" dirty="0">
                <a:solidFill>
                  <a:srgbClr val="FFFFFF"/>
                </a:solidFill>
              </a:rPr>
            </a:br>
            <a:r>
              <a:rPr lang="en-US" sz="1100" dirty="0">
                <a:solidFill>
                  <a:srgbClr val="FFFFFF"/>
                </a:solidFill>
              </a:rPr>
              <a:t>business resources</a:t>
            </a:r>
          </a:p>
        </p:txBody>
      </p:sp>
      <p:grpSp>
        <p:nvGrpSpPr>
          <p:cNvPr id="4" name="Group 3"/>
          <p:cNvGrpSpPr/>
          <p:nvPr/>
        </p:nvGrpSpPr>
        <p:grpSpPr>
          <a:xfrm>
            <a:off x="3907500" y="1523334"/>
            <a:ext cx="1524000" cy="1125912"/>
            <a:chOff x="7924800" y="1589219"/>
            <a:chExt cx="2081528" cy="1354512"/>
          </a:xfrm>
        </p:grpSpPr>
        <p:sp>
          <p:nvSpPr>
            <p:cNvPr id="43" name="Freeform 27"/>
            <p:cNvSpPr>
              <a:spLocks noChangeAspect="1" noEditPoints="1"/>
            </p:cNvSpPr>
            <p:nvPr/>
          </p:nvSpPr>
          <p:spPr bwMode="auto">
            <a:xfrm>
              <a:off x="8382000" y="1817819"/>
              <a:ext cx="1624328" cy="99700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rgbClr val="0071BC"/>
            </a:solidFill>
            <a:extLst/>
          </p:spPr>
          <p:txBody>
            <a:bodyPr vert="horz" wrap="square" lIns="91440" tIns="45720" rIns="91440" bIns="45720" numCol="1" anchor="t" anchorCtr="0" compatLnSpc="1">
              <a:prstTxWarp prst="textNoShape">
                <a:avLst/>
              </a:prstTxWarp>
            </a:bodyPr>
            <a:lstStyle/>
            <a:p>
              <a:pPr defTabSz="685721"/>
              <a:endParaRPr lang="en-US" dirty="0">
                <a:solidFill>
                  <a:srgbClr val="FFFFFF"/>
                </a:solidFill>
              </a:endParaRPr>
            </a:p>
          </p:txBody>
        </p:sp>
        <p:sp>
          <p:nvSpPr>
            <p:cNvPr id="44" name="Oval 106"/>
            <p:cNvSpPr/>
            <p:nvPr/>
          </p:nvSpPr>
          <p:spPr bwMode="auto">
            <a:xfrm>
              <a:off x="7924800" y="1589219"/>
              <a:ext cx="1080328" cy="1354512"/>
            </a:xfrm>
            <a:custGeom>
              <a:avLst/>
              <a:gdLst/>
              <a:ahLst/>
              <a:cxnLst/>
              <a:rect l="l" t="t" r="r" b="b"/>
              <a:pathLst>
                <a:path w="1093957" h="1371601">
                  <a:moveTo>
                    <a:pt x="542365" y="0"/>
                  </a:moveTo>
                  <a:cubicBezTo>
                    <a:pt x="710701" y="1"/>
                    <a:pt x="847165" y="136465"/>
                    <a:pt x="847166" y="304801"/>
                  </a:cubicBezTo>
                  <a:cubicBezTo>
                    <a:pt x="847166" y="410010"/>
                    <a:pt x="793859" y="502771"/>
                    <a:pt x="712782" y="557546"/>
                  </a:cubicBezTo>
                  <a:lnTo>
                    <a:pt x="704880" y="561835"/>
                  </a:lnTo>
                  <a:lnTo>
                    <a:pt x="740581" y="574729"/>
                  </a:lnTo>
                  <a:cubicBezTo>
                    <a:pt x="840520" y="618871"/>
                    <a:pt x="920257" y="695354"/>
                    <a:pt x="963636" y="789368"/>
                  </a:cubicBezTo>
                  <a:lnTo>
                    <a:pt x="968284" y="803095"/>
                  </a:lnTo>
                  <a:lnTo>
                    <a:pt x="1029449" y="883461"/>
                  </a:lnTo>
                  <a:cubicBezTo>
                    <a:pt x="1093490" y="985051"/>
                    <a:pt x="1113698" y="1078559"/>
                    <a:pt x="1072542" y="1115549"/>
                  </a:cubicBezTo>
                  <a:cubicBezTo>
                    <a:pt x="1058824" y="1127880"/>
                    <a:pt x="1039587" y="1132763"/>
                    <a:pt x="1016544" y="1131034"/>
                  </a:cubicBezTo>
                  <a:lnTo>
                    <a:pt x="996339" y="1126992"/>
                  </a:lnTo>
                  <a:lnTo>
                    <a:pt x="999567" y="1143001"/>
                  </a:lnTo>
                  <a:cubicBezTo>
                    <a:pt x="999567" y="1269253"/>
                    <a:pt x="794872" y="1371601"/>
                    <a:pt x="542367" y="1371601"/>
                  </a:cubicBezTo>
                  <a:lnTo>
                    <a:pt x="542366" y="1371601"/>
                  </a:lnTo>
                  <a:lnTo>
                    <a:pt x="542366" y="1371601"/>
                  </a:lnTo>
                  <a:lnTo>
                    <a:pt x="542364" y="1371601"/>
                  </a:lnTo>
                  <a:lnTo>
                    <a:pt x="450225" y="1366957"/>
                  </a:lnTo>
                  <a:cubicBezTo>
                    <a:pt x="241887" y="1345641"/>
                    <a:pt x="85167" y="1253472"/>
                    <a:pt x="85167" y="1143001"/>
                  </a:cubicBezTo>
                  <a:lnTo>
                    <a:pt x="86293" y="1137415"/>
                  </a:lnTo>
                  <a:lnTo>
                    <a:pt x="65515" y="1141613"/>
                  </a:lnTo>
                  <a:cubicBezTo>
                    <a:pt x="49695" y="1141353"/>
                    <a:pt x="36018" y="1137119"/>
                    <a:pt x="25185" y="1128515"/>
                  </a:cubicBezTo>
                  <a:cubicBezTo>
                    <a:pt x="-18146" y="1094099"/>
                    <a:pt x="-3669" y="999534"/>
                    <a:pt x="54068" y="894233"/>
                  </a:cubicBezTo>
                  <a:lnTo>
                    <a:pt x="117885" y="798845"/>
                  </a:lnTo>
                  <a:lnTo>
                    <a:pt x="121095" y="789368"/>
                  </a:lnTo>
                  <a:cubicBezTo>
                    <a:pt x="164473" y="695355"/>
                    <a:pt x="244212" y="618870"/>
                    <a:pt x="344150" y="574729"/>
                  </a:cubicBezTo>
                  <a:lnTo>
                    <a:pt x="379851" y="561835"/>
                  </a:lnTo>
                  <a:lnTo>
                    <a:pt x="371949" y="557546"/>
                  </a:lnTo>
                  <a:cubicBezTo>
                    <a:pt x="290872" y="502770"/>
                    <a:pt x="237565" y="410011"/>
                    <a:pt x="237565" y="304801"/>
                  </a:cubicBezTo>
                  <a:cubicBezTo>
                    <a:pt x="237566" y="136465"/>
                    <a:pt x="374030" y="1"/>
                    <a:pt x="542365" y="0"/>
                  </a:cubicBezTo>
                  <a:close/>
                </a:path>
              </a:pathLst>
            </a:cu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09" fontAlgn="base">
                <a:spcBef>
                  <a:spcPct val="0"/>
                </a:spcBef>
                <a:spcAft>
                  <a:spcPct val="0"/>
                </a:spcAft>
              </a:pPr>
              <a:endParaRPr lang="en-US" sz="2400" dirty="0">
                <a:gradFill>
                  <a:gsLst>
                    <a:gs pos="0">
                      <a:srgbClr val="FFFFFF"/>
                    </a:gs>
                    <a:gs pos="100000">
                      <a:srgbClr val="FFFFFF"/>
                    </a:gs>
                  </a:gsLst>
                  <a:lin ang="5400000" scaled="0"/>
                </a:gradFill>
              </a:endParaRPr>
            </a:p>
          </p:txBody>
        </p:sp>
      </p:grpSp>
      <p:sp>
        <p:nvSpPr>
          <p:cNvPr id="48" name="Freeform 92"/>
          <p:cNvSpPr>
            <a:spLocks noEditPoints="1"/>
          </p:cNvSpPr>
          <p:nvPr/>
        </p:nvSpPr>
        <p:spPr bwMode="black">
          <a:xfrm>
            <a:off x="6485995" y="1733717"/>
            <a:ext cx="578514" cy="788019"/>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chemeClr val="tx1"/>
          </a:solidFill>
          <a:ln>
            <a:noFill/>
          </a:ln>
          <a:extLst/>
        </p:spPr>
        <p:txBody>
          <a:bodyPr vert="horz" wrap="square" lIns="91420" tIns="45710" rIns="91420" bIns="45710" numCol="1" anchor="t" anchorCtr="0" compatLnSpc="1">
            <a:prstTxWarp prst="textNoShape">
              <a:avLst/>
            </a:prstTxWarp>
          </a:bodyPr>
          <a:lstStyle/>
          <a:p>
            <a:pPr defTabSz="685721"/>
            <a:endParaRPr lang="en-US">
              <a:solidFill>
                <a:srgbClr val="FFFFFF"/>
              </a:solidFill>
            </a:endParaRPr>
          </a:p>
        </p:txBody>
      </p:sp>
      <p:sp>
        <p:nvSpPr>
          <p:cNvPr id="63" name="Oval 1"/>
          <p:cNvSpPr/>
          <p:nvPr/>
        </p:nvSpPr>
        <p:spPr bwMode="auto">
          <a:xfrm>
            <a:off x="6696960" y="2190915"/>
            <a:ext cx="156582" cy="259602"/>
          </a:xfrm>
          <a:custGeom>
            <a:avLst/>
            <a:gdLst/>
            <a:ahLst/>
            <a:cxnLst/>
            <a:rect l="l" t="t" r="r" b="b"/>
            <a:pathLst>
              <a:path w="208722" h="346136">
                <a:moveTo>
                  <a:pt x="104361" y="0"/>
                </a:moveTo>
                <a:cubicBezTo>
                  <a:pt x="146445" y="0"/>
                  <a:pt x="180561" y="38743"/>
                  <a:pt x="180561" y="86534"/>
                </a:cubicBezTo>
                <a:cubicBezTo>
                  <a:pt x="180561" y="114103"/>
                  <a:pt x="169209" y="138660"/>
                  <a:pt x="150652" y="153535"/>
                </a:cubicBezTo>
                <a:lnTo>
                  <a:pt x="208722" y="346136"/>
                </a:lnTo>
                <a:lnTo>
                  <a:pt x="0" y="346136"/>
                </a:lnTo>
                <a:lnTo>
                  <a:pt x="58070" y="153535"/>
                </a:lnTo>
                <a:cubicBezTo>
                  <a:pt x="39513" y="138660"/>
                  <a:pt x="28161" y="114103"/>
                  <a:pt x="28161" y="86534"/>
                </a:cubicBezTo>
                <a:cubicBezTo>
                  <a:pt x="28161" y="38743"/>
                  <a:pt x="62277" y="0"/>
                  <a:pt x="104361" y="0"/>
                </a:cubicBezTo>
                <a:close/>
              </a:path>
            </a:pathLst>
          </a:custGeom>
          <a:solidFill>
            <a:srgbClr val="00AEEF"/>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16" tIns="45708" rIns="91416" bIns="45708" numCol="1" rtlCol="0" anchor="ctr" anchorCtr="0" compatLnSpc="1">
            <a:prstTxWarp prst="textNoShape">
              <a:avLst/>
            </a:prstTxWarp>
          </a:bodyPr>
          <a:lstStyle/>
          <a:p>
            <a:pPr algn="ctr" defTabSz="685523" fontAlgn="base">
              <a:spcBef>
                <a:spcPct val="0"/>
              </a:spcBef>
              <a:spcAft>
                <a:spcPct val="0"/>
              </a:spcAft>
            </a:pPr>
            <a:endParaRPr lang="en-US" sz="1700" dirty="0" err="1">
              <a:gradFill>
                <a:gsLst>
                  <a:gs pos="0">
                    <a:srgbClr val="FFFFFF"/>
                  </a:gs>
                  <a:gs pos="100000">
                    <a:srgbClr val="FFFFFF"/>
                  </a:gs>
                </a:gsLst>
                <a:lin ang="5400000" scaled="0"/>
              </a:gradFill>
            </a:endParaRPr>
          </a:p>
        </p:txBody>
      </p:sp>
      <p:grpSp>
        <p:nvGrpSpPr>
          <p:cNvPr id="65" name="Group 64"/>
          <p:cNvGrpSpPr/>
          <p:nvPr/>
        </p:nvGrpSpPr>
        <p:grpSpPr>
          <a:xfrm>
            <a:off x="1676400" y="1581155"/>
            <a:ext cx="1676400" cy="1154459"/>
            <a:chOff x="8063195" y="2121920"/>
            <a:chExt cx="1578246" cy="1001126"/>
          </a:xfrm>
          <a:effectLst/>
        </p:grpSpPr>
        <p:pic>
          <p:nvPicPr>
            <p:cNvPr id="66"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a:ext>
              </a:extLst>
            </a:blip>
            <a:srcRect/>
            <a:stretch>
              <a:fillRect/>
            </a:stretch>
          </p:blipFill>
          <p:spPr bwMode="auto">
            <a:xfrm>
              <a:off x="8588837" y="2121920"/>
              <a:ext cx="1052604" cy="515784"/>
            </a:xfrm>
            <a:prstGeom prst="rect">
              <a:avLst/>
            </a:prstGeom>
            <a:noFill/>
            <a:ln>
              <a:noFill/>
            </a:ln>
            <a:effectLst>
              <a:outerShdw blurRad="63500" sx="102000" sy="102000" algn="ctr" rotWithShape="0">
                <a:schemeClr val="tx1">
                  <a:alpha val="40000"/>
                </a:scheme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8" name="Picture 5"/>
            <p:cNvPicPr>
              <a:picLocks noChangeAspect="1" noChangeArrowheads="1"/>
            </p:cNvPicPr>
            <p:nvPr/>
          </p:nvPicPr>
          <p:blipFill>
            <a:blip r:embed="rId4" cstate="screen">
              <a:biLevel thresh="25000"/>
              <a:extLst>
                <a:ext uri="{28A0092B-C50C-407E-A947-70E740481C1C}">
                  <a14:useLocalDpi xmlns:a14="http://schemas.microsoft.com/office/drawing/2010/main"/>
                </a:ext>
              </a:extLst>
            </a:blip>
            <a:stretch>
              <a:fillRect/>
            </a:stretch>
          </p:blipFill>
          <p:spPr bwMode="auto">
            <a:xfrm>
              <a:off x="8063195" y="2401026"/>
              <a:ext cx="957837" cy="722020"/>
            </a:xfrm>
            <a:prstGeom prst="rect">
              <a:avLst/>
            </a:prstGeom>
            <a:noFill/>
          </p:spPr>
        </p:pic>
      </p:grpSp>
      <p:sp>
        <p:nvSpPr>
          <p:cNvPr id="74" name="TextBox 73"/>
          <p:cNvSpPr txBox="1"/>
          <p:nvPr/>
        </p:nvSpPr>
        <p:spPr>
          <a:xfrm>
            <a:off x="1604328" y="2714716"/>
            <a:ext cx="1969064" cy="311624"/>
          </a:xfrm>
          <a:prstGeom prst="rect">
            <a:avLst/>
          </a:prstGeom>
        </p:spPr>
        <p:txBody>
          <a:bodyPr vert="horz" wrap="square" lIns="0" tIns="0" rIns="0" bIns="0" rtlCol="0">
            <a:spAutoFit/>
          </a:bodyPr>
          <a:lstStyle>
            <a:defPPr>
              <a:defRPr lang="en-US"/>
            </a:defPPr>
            <a:lvl1pPr algn="ctr">
              <a:lnSpc>
                <a:spcPct val="90000"/>
              </a:lnSpc>
              <a:spcBef>
                <a:spcPct val="20000"/>
              </a:spcBef>
              <a:buClr>
                <a:srgbClr val="777777"/>
              </a:buClr>
              <a:buSzPct val="130000"/>
              <a:defRPr>
                <a:gradFill>
                  <a:gsLst>
                    <a:gs pos="0">
                      <a:schemeClr val="bg1"/>
                    </a:gs>
                    <a:gs pos="100000">
                      <a:schemeClr val="bg1"/>
                    </a:gs>
                  </a:gsLst>
                  <a:lin ang="21594000" scaled="0"/>
                </a:gradFill>
              </a:defRPr>
            </a:lvl1pPr>
          </a:lstStyle>
          <a:p>
            <a:pPr marL="214296" indent="-214296" defTabSz="685721"/>
            <a:r>
              <a:rPr lang="en-US" sz="1100" dirty="0">
                <a:solidFill>
                  <a:srgbClr val="FFFFFF"/>
                </a:solidFill>
              </a:rPr>
              <a:t>Enable interoperable access across networks</a:t>
            </a:r>
          </a:p>
        </p:txBody>
      </p:sp>
      <p:sp>
        <p:nvSpPr>
          <p:cNvPr id="25"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6"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5"/>
              </a:rPr>
              <a:t>www.rapidbbs.cn</a:t>
            </a:r>
            <a:endParaRPr lang="zh-CN" altLang="en-US" sz="1200" b="0">
              <a:latin typeface="Arial" charset="0"/>
              <a:ea typeface="ＭＳ Ｐゴシック" pitchFamily="34" charset="-128"/>
            </a:endParaRPr>
          </a:p>
        </p:txBody>
      </p:sp>
      <p:pic>
        <p:nvPicPr>
          <p:cNvPr id="27" name="Picture 2">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91807135"/>
      </p:ext>
    </p:extLst>
  </p:cSld>
  <p:clrMapOvr>
    <a:masterClrMapping/>
  </p:clrMapOvr>
  <p:transition>
    <p:fade/>
  </p:transition>
  <p:timing>
    <p:tnLst>
      <p:par>
        <p:cTn id="1" dur="indefinite" restart="never" nodeType="tmRoot"/>
      </p:par>
    </p:tnLst>
  </p:timing>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 name="1-Training Text"/>
          <p:cNvSpPr/>
          <p:nvPr/>
        </p:nvSpPr>
        <p:spPr>
          <a:xfrm>
            <a:off x="257185" y="2813506"/>
            <a:ext cx="1303359" cy="314800"/>
          </a:xfrm>
          <a:prstGeom prst="chevron">
            <a:avLst/>
          </a:prstGeom>
          <a:solidFill>
            <a:srgbClr val="0071BC"/>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0" tIns="34283" rIns="0" bIns="34283" anchor="ctr"/>
          <a:lstStyle/>
          <a:p>
            <a:pPr algn="ctr" defTabSz="685466">
              <a:lnSpc>
                <a:spcPct val="90000"/>
              </a:lnSpc>
            </a:pPr>
            <a:r>
              <a:rPr lang="en-US" sz="1100" dirty="0">
                <a:gradFill>
                  <a:gsLst>
                    <a:gs pos="0">
                      <a:srgbClr val="FFFFFF"/>
                    </a:gs>
                    <a:gs pos="86000">
                      <a:srgbClr val="FFFFFF"/>
                    </a:gs>
                  </a:gsLst>
                  <a:lin ang="5400000" scaled="0"/>
                </a:gradFill>
              </a:rPr>
              <a:t>Training</a:t>
            </a:r>
          </a:p>
        </p:txBody>
      </p:sp>
      <p:sp>
        <p:nvSpPr>
          <p:cNvPr id="78" name="7-Response Sub Text"/>
          <p:cNvSpPr/>
          <p:nvPr/>
        </p:nvSpPr>
        <p:spPr>
          <a:xfrm>
            <a:off x="7607362" y="3486150"/>
            <a:ext cx="1303359" cy="1028700"/>
          </a:xfrm>
          <a:prstGeom prst="chevron">
            <a:avLst>
              <a:gd name="adj" fmla="val 15083"/>
            </a:avLst>
          </a:prstGeom>
          <a:solidFill>
            <a:srgbClr val="FFBE00"/>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34285" tIns="34283" rIns="34285" bIns="34283" anchor="ctr"/>
          <a:lstStyle/>
          <a:p>
            <a:pPr defTabSz="685466">
              <a:lnSpc>
                <a:spcPct val="90000"/>
              </a:lnSpc>
            </a:pPr>
            <a:r>
              <a:rPr lang="en-US" sz="900" dirty="0">
                <a:gradFill>
                  <a:gsLst>
                    <a:gs pos="0">
                      <a:srgbClr val="FFFFFF"/>
                    </a:gs>
                    <a:gs pos="86000">
                      <a:srgbClr val="FFFFFF"/>
                    </a:gs>
                  </a:gsLst>
                  <a:lin ang="5400000" scaled="0"/>
                </a:gradFill>
                <a:latin typeface="Segoe Semibold" pitchFamily="34" charset="0"/>
              </a:rPr>
              <a:t>Execute Incident</a:t>
            </a:r>
            <a:br>
              <a:rPr lang="en-US" sz="900" dirty="0">
                <a:gradFill>
                  <a:gsLst>
                    <a:gs pos="0">
                      <a:srgbClr val="FFFFFF"/>
                    </a:gs>
                    <a:gs pos="86000">
                      <a:srgbClr val="FFFFFF"/>
                    </a:gs>
                  </a:gsLst>
                  <a:lin ang="5400000" scaled="0"/>
                </a:gradFill>
                <a:latin typeface="Segoe Semibold" pitchFamily="34" charset="0"/>
              </a:rPr>
            </a:br>
            <a:r>
              <a:rPr lang="en-US" sz="900" dirty="0">
                <a:gradFill>
                  <a:gsLst>
                    <a:gs pos="0">
                      <a:srgbClr val="FFFFFF"/>
                    </a:gs>
                    <a:gs pos="86000">
                      <a:srgbClr val="FFFFFF"/>
                    </a:gs>
                  </a:gsLst>
                  <a:lin ang="5400000" scaled="0"/>
                </a:gradFill>
                <a:latin typeface="Segoe Semibold" pitchFamily="34" charset="0"/>
              </a:rPr>
              <a:t>Response Plan</a:t>
            </a:r>
          </a:p>
        </p:txBody>
      </p:sp>
      <p:sp>
        <p:nvSpPr>
          <p:cNvPr id="83" name="7-Response Text"/>
          <p:cNvSpPr/>
          <p:nvPr/>
        </p:nvSpPr>
        <p:spPr>
          <a:xfrm>
            <a:off x="7607362" y="2813506"/>
            <a:ext cx="1303359" cy="314800"/>
          </a:xfrm>
          <a:prstGeom prst="chevron">
            <a:avLst/>
          </a:prstGeom>
          <a:solidFill>
            <a:srgbClr val="FFBE00"/>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0" tIns="34283" rIns="0" bIns="34283" anchor="ctr"/>
          <a:lstStyle/>
          <a:p>
            <a:pPr algn="ctr" defTabSz="685466">
              <a:lnSpc>
                <a:spcPct val="90000"/>
              </a:lnSpc>
            </a:pPr>
            <a:r>
              <a:rPr lang="en-US" sz="1100" dirty="0">
                <a:gradFill>
                  <a:gsLst>
                    <a:gs pos="0">
                      <a:srgbClr val="FFFFFF"/>
                    </a:gs>
                    <a:gs pos="86000">
                      <a:srgbClr val="FFFFFF"/>
                    </a:gs>
                  </a:gsLst>
                  <a:lin ang="5400000" scaled="0"/>
                </a:gradFill>
              </a:rPr>
              <a:t>Response</a:t>
            </a:r>
          </a:p>
        </p:txBody>
      </p:sp>
      <p:sp>
        <p:nvSpPr>
          <p:cNvPr id="85" name="6-Release Sub Text"/>
          <p:cNvSpPr/>
          <p:nvPr/>
        </p:nvSpPr>
        <p:spPr>
          <a:xfrm>
            <a:off x="6392231" y="3486150"/>
            <a:ext cx="1303359" cy="1028700"/>
          </a:xfrm>
          <a:prstGeom prst="chevron">
            <a:avLst>
              <a:gd name="adj" fmla="val 15083"/>
            </a:avLst>
          </a:prstGeom>
          <a:solidFill>
            <a:srgbClr val="FFBE00"/>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34285" tIns="34283" rIns="34285" bIns="34283" anchor="ctr"/>
          <a:lstStyle/>
          <a:p>
            <a:pPr defTabSz="685466">
              <a:lnSpc>
                <a:spcPct val="90000"/>
              </a:lnSpc>
            </a:pPr>
            <a:r>
              <a:rPr lang="en-US" sz="900" dirty="0">
                <a:gradFill>
                  <a:gsLst>
                    <a:gs pos="0">
                      <a:srgbClr val="FFFFFF"/>
                    </a:gs>
                    <a:gs pos="86000">
                      <a:srgbClr val="FFFFFF"/>
                    </a:gs>
                  </a:gsLst>
                  <a:lin ang="5400000" scaled="0"/>
                </a:gradFill>
                <a:latin typeface="Segoe Semibold" pitchFamily="34" charset="0"/>
              </a:rPr>
              <a:t>Incident </a:t>
            </a:r>
            <a:br>
              <a:rPr lang="en-US" sz="900" dirty="0">
                <a:gradFill>
                  <a:gsLst>
                    <a:gs pos="0">
                      <a:srgbClr val="FFFFFF"/>
                    </a:gs>
                    <a:gs pos="86000">
                      <a:srgbClr val="FFFFFF"/>
                    </a:gs>
                  </a:gsLst>
                  <a:lin ang="5400000" scaled="0"/>
                </a:gradFill>
                <a:latin typeface="Segoe Semibold" pitchFamily="34" charset="0"/>
              </a:rPr>
            </a:br>
            <a:r>
              <a:rPr lang="en-US" sz="900" dirty="0">
                <a:gradFill>
                  <a:gsLst>
                    <a:gs pos="0">
                      <a:srgbClr val="FFFFFF"/>
                    </a:gs>
                    <a:gs pos="86000">
                      <a:srgbClr val="FFFFFF"/>
                    </a:gs>
                  </a:gsLst>
                  <a:lin ang="5400000" scaled="0"/>
                </a:gradFill>
                <a:latin typeface="Segoe Semibold" pitchFamily="34" charset="0"/>
              </a:rPr>
              <a:t>Response Plan</a:t>
            </a:r>
          </a:p>
          <a:p>
            <a:pPr defTabSz="685466">
              <a:lnSpc>
                <a:spcPct val="90000"/>
              </a:lnSpc>
            </a:pPr>
            <a:endParaRPr lang="en-US" sz="700" dirty="0">
              <a:gradFill>
                <a:gsLst>
                  <a:gs pos="0">
                    <a:srgbClr val="FFFFFF"/>
                  </a:gs>
                  <a:gs pos="86000">
                    <a:srgbClr val="FFFFFF"/>
                  </a:gs>
                </a:gsLst>
                <a:lin ang="5400000" scaled="0"/>
              </a:gradFill>
              <a:latin typeface="Segoe Semibold" pitchFamily="34" charset="0"/>
            </a:endParaRPr>
          </a:p>
          <a:p>
            <a:pPr defTabSz="685466">
              <a:lnSpc>
                <a:spcPct val="90000"/>
              </a:lnSpc>
            </a:pPr>
            <a:r>
              <a:rPr lang="en-US" sz="900" dirty="0">
                <a:gradFill>
                  <a:gsLst>
                    <a:gs pos="0">
                      <a:srgbClr val="FFFFFF"/>
                    </a:gs>
                    <a:gs pos="86000">
                      <a:srgbClr val="FFFFFF"/>
                    </a:gs>
                  </a:gsLst>
                  <a:lin ang="5400000" scaled="0"/>
                </a:gradFill>
                <a:latin typeface="Segoe Semibold" pitchFamily="34" charset="0"/>
              </a:rPr>
              <a:t>Final Security Review</a:t>
            </a:r>
            <a:br>
              <a:rPr lang="en-US" sz="900" dirty="0">
                <a:gradFill>
                  <a:gsLst>
                    <a:gs pos="0">
                      <a:srgbClr val="FFFFFF"/>
                    </a:gs>
                    <a:gs pos="86000">
                      <a:srgbClr val="FFFFFF"/>
                    </a:gs>
                  </a:gsLst>
                  <a:lin ang="5400000" scaled="0"/>
                </a:gradFill>
                <a:latin typeface="Segoe Semibold" pitchFamily="34" charset="0"/>
              </a:rPr>
            </a:br>
            <a:endParaRPr lang="en-US" sz="700" dirty="0">
              <a:gradFill>
                <a:gsLst>
                  <a:gs pos="0">
                    <a:srgbClr val="FFFFFF"/>
                  </a:gs>
                  <a:gs pos="86000">
                    <a:srgbClr val="FFFFFF"/>
                  </a:gs>
                </a:gsLst>
                <a:lin ang="5400000" scaled="0"/>
              </a:gradFill>
              <a:latin typeface="Segoe Semibold" pitchFamily="34" charset="0"/>
            </a:endParaRPr>
          </a:p>
          <a:p>
            <a:pPr defTabSz="685466">
              <a:lnSpc>
                <a:spcPct val="90000"/>
              </a:lnSpc>
            </a:pPr>
            <a:r>
              <a:rPr lang="en-US" sz="900" dirty="0">
                <a:gradFill>
                  <a:gsLst>
                    <a:gs pos="0">
                      <a:srgbClr val="FFFFFF"/>
                    </a:gs>
                    <a:gs pos="86000">
                      <a:srgbClr val="FFFFFF"/>
                    </a:gs>
                  </a:gsLst>
                  <a:lin ang="5400000" scaled="0"/>
                </a:gradFill>
                <a:latin typeface="Segoe Semibold" pitchFamily="34" charset="0"/>
              </a:rPr>
              <a:t>Release Archive</a:t>
            </a:r>
          </a:p>
        </p:txBody>
      </p:sp>
      <p:sp>
        <p:nvSpPr>
          <p:cNvPr id="87" name="6-Release Text"/>
          <p:cNvSpPr/>
          <p:nvPr/>
        </p:nvSpPr>
        <p:spPr>
          <a:xfrm>
            <a:off x="6382334" y="2813506"/>
            <a:ext cx="1303359" cy="314800"/>
          </a:xfrm>
          <a:prstGeom prst="chevron">
            <a:avLst/>
          </a:prstGeom>
          <a:solidFill>
            <a:srgbClr val="FFBE00"/>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0" tIns="34283" rIns="0" bIns="34283" anchor="ctr"/>
          <a:lstStyle/>
          <a:p>
            <a:pPr algn="ctr" defTabSz="685466">
              <a:lnSpc>
                <a:spcPct val="90000"/>
              </a:lnSpc>
            </a:pPr>
            <a:r>
              <a:rPr lang="en-US" sz="1100" dirty="0">
                <a:gradFill>
                  <a:gsLst>
                    <a:gs pos="0">
                      <a:srgbClr val="FFFFFF"/>
                    </a:gs>
                    <a:gs pos="86000">
                      <a:srgbClr val="FFFFFF"/>
                    </a:gs>
                  </a:gsLst>
                  <a:lin ang="5400000" scaled="0"/>
                </a:gradFill>
              </a:rPr>
              <a:t>Release</a:t>
            </a:r>
          </a:p>
        </p:txBody>
      </p:sp>
      <p:sp>
        <p:nvSpPr>
          <p:cNvPr id="89" name="5-Verification Sub Text"/>
          <p:cNvSpPr/>
          <p:nvPr/>
        </p:nvSpPr>
        <p:spPr>
          <a:xfrm>
            <a:off x="5177101" y="3486150"/>
            <a:ext cx="1303359" cy="1028700"/>
          </a:xfrm>
          <a:prstGeom prst="chevron">
            <a:avLst>
              <a:gd name="adj" fmla="val 15083"/>
            </a:avLst>
          </a:prstGeom>
          <a:solidFill>
            <a:srgbClr val="FF8A00"/>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34285" tIns="34283" rIns="34285" bIns="34283" anchor="ctr"/>
          <a:lstStyle/>
          <a:p>
            <a:pPr defTabSz="685466">
              <a:lnSpc>
                <a:spcPct val="90000"/>
              </a:lnSpc>
            </a:pPr>
            <a:r>
              <a:rPr lang="en-US" sz="900" dirty="0">
                <a:gradFill>
                  <a:gsLst>
                    <a:gs pos="0">
                      <a:srgbClr val="FFFFFF"/>
                    </a:gs>
                    <a:gs pos="86000">
                      <a:srgbClr val="FFFFFF"/>
                    </a:gs>
                  </a:gsLst>
                  <a:lin ang="5400000" scaled="0"/>
                </a:gradFill>
                <a:latin typeface="Segoe Semibold" pitchFamily="34" charset="0"/>
              </a:rPr>
              <a:t>Dynamic Analysis</a:t>
            </a:r>
          </a:p>
          <a:p>
            <a:pPr defTabSz="685466">
              <a:lnSpc>
                <a:spcPct val="90000"/>
              </a:lnSpc>
            </a:pPr>
            <a:endParaRPr lang="en-US" sz="700" dirty="0">
              <a:gradFill>
                <a:gsLst>
                  <a:gs pos="0">
                    <a:srgbClr val="FFFFFF"/>
                  </a:gs>
                  <a:gs pos="86000">
                    <a:srgbClr val="FFFFFF"/>
                  </a:gs>
                </a:gsLst>
                <a:lin ang="5400000" scaled="0"/>
              </a:gradFill>
              <a:latin typeface="Segoe Semibold" pitchFamily="34" charset="0"/>
            </a:endParaRPr>
          </a:p>
          <a:p>
            <a:pPr defTabSz="685466">
              <a:lnSpc>
                <a:spcPct val="90000"/>
              </a:lnSpc>
            </a:pPr>
            <a:r>
              <a:rPr lang="en-US" sz="900" dirty="0">
                <a:gradFill>
                  <a:gsLst>
                    <a:gs pos="0">
                      <a:srgbClr val="FFFFFF"/>
                    </a:gs>
                    <a:gs pos="86000">
                      <a:srgbClr val="FFFFFF"/>
                    </a:gs>
                  </a:gsLst>
                  <a:lin ang="5400000" scaled="0"/>
                </a:gradFill>
                <a:latin typeface="Segoe Semibold" pitchFamily="34" charset="0"/>
              </a:rPr>
              <a:t>Fuzz Testing</a:t>
            </a:r>
          </a:p>
          <a:p>
            <a:pPr defTabSz="685466">
              <a:lnSpc>
                <a:spcPct val="90000"/>
              </a:lnSpc>
            </a:pPr>
            <a:endParaRPr lang="en-US" sz="700" dirty="0">
              <a:gradFill>
                <a:gsLst>
                  <a:gs pos="0">
                    <a:srgbClr val="FFFFFF"/>
                  </a:gs>
                  <a:gs pos="86000">
                    <a:srgbClr val="FFFFFF"/>
                  </a:gs>
                </a:gsLst>
                <a:lin ang="5400000" scaled="0"/>
              </a:gradFill>
              <a:latin typeface="Segoe Semibold" pitchFamily="34" charset="0"/>
            </a:endParaRPr>
          </a:p>
          <a:p>
            <a:pPr defTabSz="685466">
              <a:lnSpc>
                <a:spcPct val="90000"/>
              </a:lnSpc>
            </a:pPr>
            <a:r>
              <a:rPr lang="en-US" sz="900" dirty="0">
                <a:gradFill>
                  <a:gsLst>
                    <a:gs pos="0">
                      <a:srgbClr val="FFFFFF"/>
                    </a:gs>
                    <a:gs pos="86000">
                      <a:srgbClr val="FFFFFF"/>
                    </a:gs>
                  </a:gsLst>
                  <a:lin ang="5400000" scaled="0"/>
                </a:gradFill>
                <a:latin typeface="Segoe Semibold" pitchFamily="34" charset="0"/>
              </a:rPr>
              <a:t>Attack Surface Review</a:t>
            </a:r>
          </a:p>
        </p:txBody>
      </p:sp>
      <p:sp>
        <p:nvSpPr>
          <p:cNvPr id="91" name="5-Verification Text"/>
          <p:cNvSpPr/>
          <p:nvPr/>
        </p:nvSpPr>
        <p:spPr>
          <a:xfrm>
            <a:off x="5157304" y="2813506"/>
            <a:ext cx="1303359" cy="314800"/>
          </a:xfrm>
          <a:prstGeom prst="chevron">
            <a:avLst/>
          </a:prstGeom>
          <a:solidFill>
            <a:srgbClr val="FF8A00"/>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0" tIns="34283" rIns="0" bIns="34283" anchor="ctr"/>
          <a:lstStyle/>
          <a:p>
            <a:pPr algn="ctr" defTabSz="685466">
              <a:lnSpc>
                <a:spcPct val="90000"/>
              </a:lnSpc>
            </a:pPr>
            <a:r>
              <a:rPr lang="en-US" sz="1100" dirty="0">
                <a:gradFill>
                  <a:gsLst>
                    <a:gs pos="0">
                      <a:srgbClr val="FFFFFF"/>
                    </a:gs>
                    <a:gs pos="86000">
                      <a:srgbClr val="FFFFFF"/>
                    </a:gs>
                  </a:gsLst>
                  <a:lin ang="5400000" scaled="0"/>
                </a:gradFill>
              </a:rPr>
              <a:t>Verification</a:t>
            </a:r>
          </a:p>
        </p:txBody>
      </p:sp>
      <p:sp>
        <p:nvSpPr>
          <p:cNvPr id="93" name="4-Implementation Sub Text"/>
          <p:cNvSpPr/>
          <p:nvPr/>
        </p:nvSpPr>
        <p:spPr>
          <a:xfrm>
            <a:off x="3961971" y="3486150"/>
            <a:ext cx="1303359" cy="1028700"/>
          </a:xfrm>
          <a:prstGeom prst="chevron">
            <a:avLst>
              <a:gd name="adj" fmla="val 15083"/>
            </a:avLst>
          </a:prstGeom>
          <a:solidFill>
            <a:srgbClr val="FF8A00"/>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34285" tIns="34283" rIns="34285" bIns="34283" anchor="ctr"/>
          <a:lstStyle/>
          <a:p>
            <a:pPr defTabSz="685466">
              <a:lnSpc>
                <a:spcPct val="90000"/>
              </a:lnSpc>
            </a:pPr>
            <a:r>
              <a:rPr lang="en-US" sz="900" dirty="0">
                <a:gradFill>
                  <a:gsLst>
                    <a:gs pos="0">
                      <a:srgbClr val="FFFFFF"/>
                    </a:gs>
                    <a:gs pos="86000">
                      <a:srgbClr val="FFFFFF"/>
                    </a:gs>
                  </a:gsLst>
                  <a:lin ang="5400000" scaled="0"/>
                </a:gradFill>
                <a:latin typeface="Segoe Semibold" pitchFamily="34" charset="0"/>
              </a:rPr>
              <a:t>Use Approved Tools</a:t>
            </a:r>
            <a:br>
              <a:rPr lang="en-US" sz="900" dirty="0">
                <a:gradFill>
                  <a:gsLst>
                    <a:gs pos="0">
                      <a:srgbClr val="FFFFFF"/>
                    </a:gs>
                    <a:gs pos="86000">
                      <a:srgbClr val="FFFFFF"/>
                    </a:gs>
                  </a:gsLst>
                  <a:lin ang="5400000" scaled="0"/>
                </a:gradFill>
                <a:latin typeface="Segoe Semibold" pitchFamily="34" charset="0"/>
              </a:rPr>
            </a:br>
            <a:endParaRPr lang="en-US" sz="700" dirty="0">
              <a:gradFill>
                <a:gsLst>
                  <a:gs pos="0">
                    <a:srgbClr val="FFFFFF"/>
                  </a:gs>
                  <a:gs pos="86000">
                    <a:srgbClr val="FFFFFF"/>
                  </a:gs>
                </a:gsLst>
                <a:lin ang="5400000" scaled="0"/>
              </a:gradFill>
              <a:latin typeface="Segoe Semibold" pitchFamily="34" charset="0"/>
            </a:endParaRPr>
          </a:p>
          <a:p>
            <a:pPr defTabSz="685466">
              <a:lnSpc>
                <a:spcPct val="90000"/>
              </a:lnSpc>
            </a:pPr>
            <a:r>
              <a:rPr lang="en-US" sz="900" dirty="0">
                <a:gradFill>
                  <a:gsLst>
                    <a:gs pos="0">
                      <a:srgbClr val="FFFFFF"/>
                    </a:gs>
                    <a:gs pos="86000">
                      <a:srgbClr val="FFFFFF"/>
                    </a:gs>
                  </a:gsLst>
                  <a:lin ang="5400000" scaled="0"/>
                </a:gradFill>
                <a:latin typeface="Segoe Semibold" pitchFamily="34" charset="0"/>
              </a:rPr>
              <a:t>Deprecate Unsafe</a:t>
            </a:r>
            <a:br>
              <a:rPr lang="en-US" sz="900" dirty="0">
                <a:gradFill>
                  <a:gsLst>
                    <a:gs pos="0">
                      <a:srgbClr val="FFFFFF"/>
                    </a:gs>
                    <a:gs pos="86000">
                      <a:srgbClr val="FFFFFF"/>
                    </a:gs>
                  </a:gsLst>
                  <a:lin ang="5400000" scaled="0"/>
                </a:gradFill>
                <a:latin typeface="Segoe Semibold" pitchFamily="34" charset="0"/>
              </a:rPr>
            </a:br>
            <a:r>
              <a:rPr lang="en-US" sz="900" dirty="0">
                <a:gradFill>
                  <a:gsLst>
                    <a:gs pos="0">
                      <a:srgbClr val="FFFFFF"/>
                    </a:gs>
                    <a:gs pos="86000">
                      <a:srgbClr val="FFFFFF"/>
                    </a:gs>
                  </a:gsLst>
                  <a:lin ang="5400000" scaled="0"/>
                </a:gradFill>
                <a:latin typeface="Segoe Semibold" pitchFamily="34" charset="0"/>
              </a:rPr>
              <a:t>Functions</a:t>
            </a:r>
            <a:br>
              <a:rPr lang="en-US" sz="900" dirty="0">
                <a:gradFill>
                  <a:gsLst>
                    <a:gs pos="0">
                      <a:srgbClr val="FFFFFF"/>
                    </a:gs>
                    <a:gs pos="86000">
                      <a:srgbClr val="FFFFFF"/>
                    </a:gs>
                  </a:gsLst>
                  <a:lin ang="5400000" scaled="0"/>
                </a:gradFill>
                <a:latin typeface="Segoe Semibold" pitchFamily="34" charset="0"/>
              </a:rPr>
            </a:br>
            <a:endParaRPr lang="en-US" sz="700" dirty="0">
              <a:gradFill>
                <a:gsLst>
                  <a:gs pos="0">
                    <a:srgbClr val="FFFFFF"/>
                  </a:gs>
                  <a:gs pos="86000">
                    <a:srgbClr val="FFFFFF"/>
                  </a:gs>
                </a:gsLst>
                <a:lin ang="5400000" scaled="0"/>
              </a:gradFill>
              <a:latin typeface="Segoe Semibold" pitchFamily="34" charset="0"/>
            </a:endParaRPr>
          </a:p>
          <a:p>
            <a:pPr defTabSz="685466">
              <a:lnSpc>
                <a:spcPct val="90000"/>
              </a:lnSpc>
            </a:pPr>
            <a:r>
              <a:rPr lang="en-US" sz="900" dirty="0">
                <a:gradFill>
                  <a:gsLst>
                    <a:gs pos="0">
                      <a:srgbClr val="FFFFFF"/>
                    </a:gs>
                    <a:gs pos="86000">
                      <a:srgbClr val="FFFFFF"/>
                    </a:gs>
                  </a:gsLst>
                  <a:lin ang="5400000" scaled="0"/>
                </a:gradFill>
                <a:latin typeface="Segoe Semibold" pitchFamily="34" charset="0"/>
              </a:rPr>
              <a:t>Static Analysis</a:t>
            </a:r>
          </a:p>
        </p:txBody>
      </p:sp>
      <p:sp>
        <p:nvSpPr>
          <p:cNvPr id="95" name="4-Implementation Text"/>
          <p:cNvSpPr/>
          <p:nvPr/>
        </p:nvSpPr>
        <p:spPr>
          <a:xfrm>
            <a:off x="3932274" y="2813506"/>
            <a:ext cx="1303359" cy="314800"/>
          </a:xfrm>
          <a:prstGeom prst="chevron">
            <a:avLst/>
          </a:prstGeom>
          <a:solidFill>
            <a:srgbClr val="FF8A00"/>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wrap="none" lIns="45710" tIns="34283" rIns="0" bIns="34283" anchor="ctr"/>
          <a:lstStyle/>
          <a:p>
            <a:pPr algn="ctr" defTabSz="685466">
              <a:lnSpc>
                <a:spcPct val="90000"/>
              </a:lnSpc>
            </a:pPr>
            <a:r>
              <a:rPr lang="en-US" sz="1100" dirty="0">
                <a:gradFill>
                  <a:gsLst>
                    <a:gs pos="0">
                      <a:srgbClr val="FFFFFF"/>
                    </a:gs>
                    <a:gs pos="86000">
                      <a:srgbClr val="FFFFFF"/>
                    </a:gs>
                  </a:gsLst>
                  <a:lin ang="5400000" scaled="0"/>
                </a:gradFill>
              </a:rPr>
              <a:t>Implementation</a:t>
            </a:r>
          </a:p>
        </p:txBody>
      </p:sp>
      <p:sp>
        <p:nvSpPr>
          <p:cNvPr id="97" name="3-Design Sub Text"/>
          <p:cNvSpPr/>
          <p:nvPr/>
        </p:nvSpPr>
        <p:spPr>
          <a:xfrm>
            <a:off x="2746841" y="3486150"/>
            <a:ext cx="1303359" cy="1028700"/>
          </a:xfrm>
          <a:prstGeom prst="chevron">
            <a:avLst>
              <a:gd name="adj" fmla="val 15083"/>
            </a:avLst>
          </a:prstGeom>
          <a:solidFill>
            <a:srgbClr val="FF8A00"/>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34285" tIns="34283" rIns="34285" bIns="34283" anchor="ctr"/>
          <a:lstStyle/>
          <a:p>
            <a:pPr defTabSz="685466">
              <a:lnSpc>
                <a:spcPct val="90000"/>
              </a:lnSpc>
            </a:pPr>
            <a:r>
              <a:rPr lang="en-US" sz="900" dirty="0">
                <a:gradFill>
                  <a:gsLst>
                    <a:gs pos="0">
                      <a:srgbClr val="FFFFFF"/>
                    </a:gs>
                    <a:gs pos="86000">
                      <a:srgbClr val="FFFFFF"/>
                    </a:gs>
                  </a:gsLst>
                  <a:lin ang="5400000" scaled="0"/>
                </a:gradFill>
                <a:latin typeface="Segoe Semibold" pitchFamily="34" charset="0"/>
              </a:rPr>
              <a:t>Establish Design</a:t>
            </a:r>
            <a:br>
              <a:rPr lang="en-US" sz="900" dirty="0">
                <a:gradFill>
                  <a:gsLst>
                    <a:gs pos="0">
                      <a:srgbClr val="FFFFFF"/>
                    </a:gs>
                    <a:gs pos="86000">
                      <a:srgbClr val="FFFFFF"/>
                    </a:gs>
                  </a:gsLst>
                  <a:lin ang="5400000" scaled="0"/>
                </a:gradFill>
                <a:latin typeface="Segoe Semibold" pitchFamily="34" charset="0"/>
              </a:rPr>
            </a:br>
            <a:r>
              <a:rPr lang="en-US" sz="900" dirty="0">
                <a:gradFill>
                  <a:gsLst>
                    <a:gs pos="0">
                      <a:srgbClr val="FFFFFF"/>
                    </a:gs>
                    <a:gs pos="86000">
                      <a:srgbClr val="FFFFFF"/>
                    </a:gs>
                  </a:gsLst>
                  <a:lin ang="5400000" scaled="0"/>
                </a:gradFill>
                <a:latin typeface="Segoe Semibold" pitchFamily="34" charset="0"/>
              </a:rPr>
              <a:t>Requirements</a:t>
            </a:r>
            <a:br>
              <a:rPr lang="en-US" sz="900" dirty="0">
                <a:gradFill>
                  <a:gsLst>
                    <a:gs pos="0">
                      <a:srgbClr val="FFFFFF"/>
                    </a:gs>
                    <a:gs pos="86000">
                      <a:srgbClr val="FFFFFF"/>
                    </a:gs>
                  </a:gsLst>
                  <a:lin ang="5400000" scaled="0"/>
                </a:gradFill>
                <a:latin typeface="Segoe Semibold" pitchFamily="34" charset="0"/>
              </a:rPr>
            </a:br>
            <a:endParaRPr lang="en-US" sz="700" dirty="0">
              <a:gradFill>
                <a:gsLst>
                  <a:gs pos="0">
                    <a:srgbClr val="FFFFFF"/>
                  </a:gs>
                  <a:gs pos="86000">
                    <a:srgbClr val="FFFFFF"/>
                  </a:gs>
                </a:gsLst>
                <a:lin ang="5400000" scaled="0"/>
              </a:gradFill>
              <a:latin typeface="Segoe Semibold" pitchFamily="34" charset="0"/>
            </a:endParaRPr>
          </a:p>
          <a:p>
            <a:pPr defTabSz="685466">
              <a:lnSpc>
                <a:spcPct val="90000"/>
              </a:lnSpc>
            </a:pPr>
            <a:r>
              <a:rPr lang="en-US" sz="900" dirty="0">
                <a:gradFill>
                  <a:gsLst>
                    <a:gs pos="0">
                      <a:srgbClr val="FFFFFF"/>
                    </a:gs>
                    <a:gs pos="86000">
                      <a:srgbClr val="FFFFFF"/>
                    </a:gs>
                  </a:gsLst>
                  <a:lin ang="5400000" scaled="0"/>
                </a:gradFill>
                <a:latin typeface="Segoe Semibold" pitchFamily="34" charset="0"/>
              </a:rPr>
              <a:t>Analyze Attack</a:t>
            </a:r>
            <a:br>
              <a:rPr lang="en-US" sz="900" dirty="0">
                <a:gradFill>
                  <a:gsLst>
                    <a:gs pos="0">
                      <a:srgbClr val="FFFFFF"/>
                    </a:gs>
                    <a:gs pos="86000">
                      <a:srgbClr val="FFFFFF"/>
                    </a:gs>
                  </a:gsLst>
                  <a:lin ang="5400000" scaled="0"/>
                </a:gradFill>
                <a:latin typeface="Segoe Semibold" pitchFamily="34" charset="0"/>
              </a:rPr>
            </a:br>
            <a:r>
              <a:rPr lang="en-US" sz="900" dirty="0">
                <a:gradFill>
                  <a:gsLst>
                    <a:gs pos="0">
                      <a:srgbClr val="FFFFFF"/>
                    </a:gs>
                    <a:gs pos="86000">
                      <a:srgbClr val="FFFFFF"/>
                    </a:gs>
                  </a:gsLst>
                  <a:lin ang="5400000" scaled="0"/>
                </a:gradFill>
                <a:latin typeface="Segoe Semibold" pitchFamily="34" charset="0"/>
              </a:rPr>
              <a:t>Surface</a:t>
            </a:r>
            <a:br>
              <a:rPr lang="en-US" sz="900" dirty="0">
                <a:gradFill>
                  <a:gsLst>
                    <a:gs pos="0">
                      <a:srgbClr val="FFFFFF"/>
                    </a:gs>
                    <a:gs pos="86000">
                      <a:srgbClr val="FFFFFF"/>
                    </a:gs>
                  </a:gsLst>
                  <a:lin ang="5400000" scaled="0"/>
                </a:gradFill>
                <a:latin typeface="Segoe Semibold" pitchFamily="34" charset="0"/>
              </a:rPr>
            </a:br>
            <a:endParaRPr lang="en-US" sz="700" dirty="0">
              <a:gradFill>
                <a:gsLst>
                  <a:gs pos="0">
                    <a:srgbClr val="FFFFFF"/>
                  </a:gs>
                  <a:gs pos="86000">
                    <a:srgbClr val="FFFFFF"/>
                  </a:gs>
                </a:gsLst>
                <a:lin ang="5400000" scaled="0"/>
              </a:gradFill>
              <a:latin typeface="Segoe Semibold" pitchFamily="34" charset="0"/>
            </a:endParaRPr>
          </a:p>
          <a:p>
            <a:pPr defTabSz="685466">
              <a:lnSpc>
                <a:spcPct val="90000"/>
              </a:lnSpc>
            </a:pPr>
            <a:r>
              <a:rPr lang="en-US" sz="900" dirty="0">
                <a:gradFill>
                  <a:gsLst>
                    <a:gs pos="0">
                      <a:srgbClr val="FFFFFF"/>
                    </a:gs>
                    <a:gs pos="86000">
                      <a:srgbClr val="FFFFFF"/>
                    </a:gs>
                  </a:gsLst>
                  <a:lin ang="5400000" scaled="0"/>
                </a:gradFill>
                <a:latin typeface="Segoe Semibold" pitchFamily="34" charset="0"/>
              </a:rPr>
              <a:t>Threat</a:t>
            </a:r>
            <a:br>
              <a:rPr lang="en-US" sz="900" dirty="0">
                <a:gradFill>
                  <a:gsLst>
                    <a:gs pos="0">
                      <a:srgbClr val="FFFFFF"/>
                    </a:gs>
                    <a:gs pos="86000">
                      <a:srgbClr val="FFFFFF"/>
                    </a:gs>
                  </a:gsLst>
                  <a:lin ang="5400000" scaled="0"/>
                </a:gradFill>
                <a:latin typeface="Segoe Semibold" pitchFamily="34" charset="0"/>
              </a:rPr>
            </a:br>
            <a:r>
              <a:rPr lang="en-US" sz="900" dirty="0">
                <a:gradFill>
                  <a:gsLst>
                    <a:gs pos="0">
                      <a:srgbClr val="FFFFFF"/>
                    </a:gs>
                    <a:gs pos="86000">
                      <a:srgbClr val="FFFFFF"/>
                    </a:gs>
                  </a:gsLst>
                  <a:lin ang="5400000" scaled="0"/>
                </a:gradFill>
                <a:latin typeface="Segoe Semibold" pitchFamily="34" charset="0"/>
              </a:rPr>
              <a:t>Modeling</a:t>
            </a:r>
          </a:p>
        </p:txBody>
      </p:sp>
      <p:sp>
        <p:nvSpPr>
          <p:cNvPr id="99" name="3-Design Text"/>
          <p:cNvSpPr/>
          <p:nvPr/>
        </p:nvSpPr>
        <p:spPr>
          <a:xfrm>
            <a:off x="2707244" y="2813506"/>
            <a:ext cx="1303359" cy="314800"/>
          </a:xfrm>
          <a:prstGeom prst="chevron">
            <a:avLst/>
          </a:prstGeom>
          <a:solidFill>
            <a:srgbClr val="FF8A00"/>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0" tIns="34283" rIns="0" bIns="34283" anchor="ctr"/>
          <a:lstStyle/>
          <a:p>
            <a:pPr algn="ctr" defTabSz="685466">
              <a:lnSpc>
                <a:spcPct val="90000"/>
              </a:lnSpc>
            </a:pPr>
            <a:r>
              <a:rPr lang="en-US" sz="1100" dirty="0">
                <a:gradFill>
                  <a:gsLst>
                    <a:gs pos="0">
                      <a:srgbClr val="FFFFFF"/>
                    </a:gs>
                    <a:gs pos="86000">
                      <a:srgbClr val="FFFFFF"/>
                    </a:gs>
                  </a:gsLst>
                  <a:lin ang="5400000" scaled="0"/>
                </a:gradFill>
              </a:rPr>
              <a:t>Design</a:t>
            </a:r>
          </a:p>
        </p:txBody>
      </p:sp>
      <p:sp>
        <p:nvSpPr>
          <p:cNvPr id="101" name="2-Requirements Sub Text"/>
          <p:cNvSpPr/>
          <p:nvPr/>
        </p:nvSpPr>
        <p:spPr>
          <a:xfrm>
            <a:off x="1472315" y="3486150"/>
            <a:ext cx="1362755" cy="1028700"/>
          </a:xfrm>
          <a:prstGeom prst="chevron">
            <a:avLst>
              <a:gd name="adj" fmla="val 15083"/>
            </a:avLst>
          </a:prstGeom>
          <a:solidFill>
            <a:srgbClr val="0071BC"/>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34285" tIns="34283" rIns="34285" bIns="34283" anchor="ctr"/>
          <a:lstStyle/>
          <a:p>
            <a:pPr defTabSz="685466">
              <a:lnSpc>
                <a:spcPct val="90000"/>
              </a:lnSpc>
            </a:pPr>
            <a:r>
              <a:rPr lang="en-US" sz="900" dirty="0">
                <a:gradFill>
                  <a:gsLst>
                    <a:gs pos="0">
                      <a:srgbClr val="FFFFFF"/>
                    </a:gs>
                    <a:gs pos="86000">
                      <a:srgbClr val="FFFFFF"/>
                    </a:gs>
                  </a:gsLst>
                  <a:lin ang="5400000" scaled="0"/>
                </a:gradFill>
                <a:latin typeface="Segoe Semibold" pitchFamily="34" charset="0"/>
              </a:rPr>
              <a:t>Establish Security</a:t>
            </a:r>
            <a:br>
              <a:rPr lang="en-US" sz="900" dirty="0">
                <a:gradFill>
                  <a:gsLst>
                    <a:gs pos="0">
                      <a:srgbClr val="FFFFFF"/>
                    </a:gs>
                    <a:gs pos="86000">
                      <a:srgbClr val="FFFFFF"/>
                    </a:gs>
                  </a:gsLst>
                  <a:lin ang="5400000" scaled="0"/>
                </a:gradFill>
                <a:latin typeface="Segoe Semibold" pitchFamily="34" charset="0"/>
              </a:rPr>
            </a:br>
            <a:r>
              <a:rPr lang="en-US" sz="900" dirty="0">
                <a:gradFill>
                  <a:gsLst>
                    <a:gs pos="0">
                      <a:srgbClr val="FFFFFF"/>
                    </a:gs>
                    <a:gs pos="86000">
                      <a:srgbClr val="FFFFFF"/>
                    </a:gs>
                  </a:gsLst>
                  <a:lin ang="5400000" scaled="0"/>
                </a:gradFill>
                <a:latin typeface="Segoe Semibold" pitchFamily="34" charset="0"/>
              </a:rPr>
              <a:t>Requirements</a:t>
            </a:r>
          </a:p>
          <a:p>
            <a:pPr defTabSz="685466">
              <a:lnSpc>
                <a:spcPct val="90000"/>
              </a:lnSpc>
            </a:pPr>
            <a:endParaRPr lang="en-US" sz="700" dirty="0">
              <a:gradFill>
                <a:gsLst>
                  <a:gs pos="0">
                    <a:srgbClr val="FFFFFF"/>
                  </a:gs>
                  <a:gs pos="86000">
                    <a:srgbClr val="FFFFFF"/>
                  </a:gs>
                </a:gsLst>
                <a:lin ang="5400000" scaled="0"/>
              </a:gradFill>
              <a:latin typeface="Segoe Semibold" pitchFamily="34" charset="0"/>
            </a:endParaRPr>
          </a:p>
          <a:p>
            <a:pPr defTabSz="685466">
              <a:lnSpc>
                <a:spcPct val="90000"/>
              </a:lnSpc>
            </a:pPr>
            <a:r>
              <a:rPr lang="en-US" sz="900" dirty="0">
                <a:gradFill>
                  <a:gsLst>
                    <a:gs pos="0">
                      <a:srgbClr val="FFFFFF"/>
                    </a:gs>
                    <a:gs pos="86000">
                      <a:srgbClr val="FFFFFF"/>
                    </a:gs>
                  </a:gsLst>
                  <a:lin ang="5400000" scaled="0"/>
                </a:gradFill>
                <a:latin typeface="Segoe Semibold" pitchFamily="34" charset="0"/>
              </a:rPr>
              <a:t>Create Quality </a:t>
            </a:r>
            <a:br>
              <a:rPr lang="en-US" sz="900" dirty="0">
                <a:gradFill>
                  <a:gsLst>
                    <a:gs pos="0">
                      <a:srgbClr val="FFFFFF"/>
                    </a:gs>
                    <a:gs pos="86000">
                      <a:srgbClr val="FFFFFF"/>
                    </a:gs>
                  </a:gsLst>
                  <a:lin ang="5400000" scaled="0"/>
                </a:gradFill>
                <a:latin typeface="Segoe Semibold" pitchFamily="34" charset="0"/>
              </a:rPr>
            </a:br>
            <a:r>
              <a:rPr lang="en-US" sz="900" dirty="0">
                <a:gradFill>
                  <a:gsLst>
                    <a:gs pos="0">
                      <a:srgbClr val="FFFFFF"/>
                    </a:gs>
                    <a:gs pos="86000">
                      <a:srgbClr val="FFFFFF"/>
                    </a:gs>
                  </a:gsLst>
                  <a:lin ang="5400000" scaled="0"/>
                </a:gradFill>
                <a:latin typeface="Segoe Semibold" pitchFamily="34" charset="0"/>
              </a:rPr>
              <a:t>Gates/Bug Bars</a:t>
            </a:r>
          </a:p>
          <a:p>
            <a:pPr defTabSz="685466">
              <a:lnSpc>
                <a:spcPct val="90000"/>
              </a:lnSpc>
            </a:pPr>
            <a:endParaRPr lang="en-US" sz="700" dirty="0">
              <a:gradFill>
                <a:gsLst>
                  <a:gs pos="0">
                    <a:srgbClr val="FFFFFF"/>
                  </a:gs>
                  <a:gs pos="86000">
                    <a:srgbClr val="FFFFFF"/>
                  </a:gs>
                </a:gsLst>
                <a:lin ang="5400000" scaled="0"/>
              </a:gradFill>
              <a:latin typeface="Segoe Semibold" pitchFamily="34" charset="0"/>
            </a:endParaRPr>
          </a:p>
          <a:p>
            <a:pPr defTabSz="685466">
              <a:lnSpc>
                <a:spcPct val="90000"/>
              </a:lnSpc>
            </a:pPr>
            <a:r>
              <a:rPr lang="en-US" sz="900" dirty="0">
                <a:gradFill>
                  <a:gsLst>
                    <a:gs pos="0">
                      <a:srgbClr val="FFFFFF"/>
                    </a:gs>
                    <a:gs pos="86000">
                      <a:srgbClr val="FFFFFF"/>
                    </a:gs>
                  </a:gsLst>
                  <a:lin ang="5400000" scaled="0"/>
                </a:gradFill>
                <a:latin typeface="Segoe Semibold" pitchFamily="34" charset="0"/>
              </a:rPr>
              <a:t>Security &amp; Privacy </a:t>
            </a:r>
            <a:br>
              <a:rPr lang="en-US" sz="900" dirty="0">
                <a:gradFill>
                  <a:gsLst>
                    <a:gs pos="0">
                      <a:srgbClr val="FFFFFF"/>
                    </a:gs>
                    <a:gs pos="86000">
                      <a:srgbClr val="FFFFFF"/>
                    </a:gs>
                  </a:gsLst>
                  <a:lin ang="5400000" scaled="0"/>
                </a:gradFill>
                <a:latin typeface="Segoe Semibold" pitchFamily="34" charset="0"/>
              </a:rPr>
            </a:br>
            <a:r>
              <a:rPr lang="en-US" sz="900" dirty="0">
                <a:gradFill>
                  <a:gsLst>
                    <a:gs pos="0">
                      <a:srgbClr val="FFFFFF"/>
                    </a:gs>
                    <a:gs pos="86000">
                      <a:srgbClr val="FFFFFF"/>
                    </a:gs>
                  </a:gsLst>
                  <a:lin ang="5400000" scaled="0"/>
                </a:gradFill>
                <a:latin typeface="Segoe Semibold" pitchFamily="34" charset="0"/>
              </a:rPr>
              <a:t>Risk Assessment</a:t>
            </a:r>
          </a:p>
        </p:txBody>
      </p:sp>
      <p:sp>
        <p:nvSpPr>
          <p:cNvPr id="103" name="2-Requirements Text"/>
          <p:cNvSpPr/>
          <p:nvPr/>
        </p:nvSpPr>
        <p:spPr>
          <a:xfrm>
            <a:off x="1482215" y="2813506"/>
            <a:ext cx="1303359" cy="314800"/>
          </a:xfrm>
          <a:prstGeom prst="chevron">
            <a:avLst/>
          </a:prstGeom>
          <a:solidFill>
            <a:srgbClr val="0071BC"/>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0" tIns="34283" rIns="0" bIns="34283" anchor="ctr"/>
          <a:lstStyle/>
          <a:p>
            <a:pPr algn="ctr" defTabSz="685466">
              <a:lnSpc>
                <a:spcPct val="90000"/>
              </a:lnSpc>
            </a:pPr>
            <a:r>
              <a:rPr lang="en-US" sz="1100" dirty="0">
                <a:gradFill>
                  <a:gsLst>
                    <a:gs pos="0">
                      <a:srgbClr val="FFFFFF"/>
                    </a:gs>
                    <a:gs pos="86000">
                      <a:srgbClr val="FFFFFF"/>
                    </a:gs>
                  </a:gsLst>
                  <a:lin ang="5400000" scaled="0"/>
                </a:gradFill>
              </a:rPr>
              <a:t>Requirements</a:t>
            </a:r>
          </a:p>
        </p:txBody>
      </p:sp>
      <p:sp>
        <p:nvSpPr>
          <p:cNvPr id="105" name="1-Training Sub Text"/>
          <p:cNvSpPr/>
          <p:nvPr/>
        </p:nvSpPr>
        <p:spPr>
          <a:xfrm>
            <a:off x="257185" y="3486150"/>
            <a:ext cx="1303359" cy="1028700"/>
          </a:xfrm>
          <a:prstGeom prst="chevron">
            <a:avLst>
              <a:gd name="adj" fmla="val 15083"/>
            </a:avLst>
          </a:prstGeom>
          <a:solidFill>
            <a:srgbClr val="0071BC"/>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34285" tIns="34283" rIns="34285" bIns="34283" anchor="ctr"/>
          <a:lstStyle/>
          <a:p>
            <a:pPr defTabSz="685466">
              <a:lnSpc>
                <a:spcPct val="90000"/>
              </a:lnSpc>
            </a:pPr>
            <a:r>
              <a:rPr lang="en-US" sz="900" dirty="0">
                <a:gradFill>
                  <a:gsLst>
                    <a:gs pos="0">
                      <a:srgbClr val="FFFFFF"/>
                    </a:gs>
                    <a:gs pos="86000">
                      <a:srgbClr val="FFFFFF"/>
                    </a:gs>
                  </a:gsLst>
                  <a:lin ang="5400000" scaled="0"/>
                </a:gradFill>
                <a:latin typeface="Segoe Semibold" pitchFamily="34" charset="0"/>
              </a:rPr>
              <a:t>   Core Security</a:t>
            </a:r>
            <a:br>
              <a:rPr lang="en-US" sz="900" dirty="0">
                <a:gradFill>
                  <a:gsLst>
                    <a:gs pos="0">
                      <a:srgbClr val="FFFFFF"/>
                    </a:gs>
                    <a:gs pos="86000">
                      <a:srgbClr val="FFFFFF"/>
                    </a:gs>
                  </a:gsLst>
                  <a:lin ang="5400000" scaled="0"/>
                </a:gradFill>
                <a:latin typeface="Segoe Semibold" pitchFamily="34" charset="0"/>
              </a:rPr>
            </a:br>
            <a:r>
              <a:rPr lang="en-US" sz="900" dirty="0">
                <a:gradFill>
                  <a:gsLst>
                    <a:gs pos="0">
                      <a:srgbClr val="FFFFFF"/>
                    </a:gs>
                    <a:gs pos="86000">
                      <a:srgbClr val="FFFFFF"/>
                    </a:gs>
                  </a:gsLst>
                  <a:lin ang="5400000" scaled="0"/>
                </a:gradFill>
                <a:latin typeface="Segoe Semibold" pitchFamily="34" charset="0"/>
              </a:rPr>
              <a:t>   Training</a:t>
            </a:r>
          </a:p>
        </p:txBody>
      </p:sp>
      <p:sp>
        <p:nvSpPr>
          <p:cNvPr id="82" name="Title 81"/>
          <p:cNvSpPr>
            <a:spLocks noGrp="1"/>
          </p:cNvSpPr>
          <p:nvPr>
            <p:ph type="title"/>
          </p:nvPr>
        </p:nvSpPr>
        <p:spPr>
          <a:xfrm>
            <a:off x="389438" y="171456"/>
            <a:ext cx="8363937" cy="423193"/>
          </a:xfrm>
        </p:spPr>
        <p:txBody>
          <a:bodyPr/>
          <a:lstStyle/>
          <a:p>
            <a:r>
              <a:rPr lang="en-US" sz="3000" dirty="0"/>
              <a:t>MICROSOFT SECURITY DEVELOPMENT LIFECYCLE</a:t>
            </a:r>
          </a:p>
        </p:txBody>
      </p:sp>
      <p:sp>
        <p:nvSpPr>
          <p:cNvPr id="28" name="Title 1"/>
          <p:cNvSpPr txBox="1">
            <a:spLocks/>
          </p:cNvSpPr>
          <p:nvPr/>
        </p:nvSpPr>
        <p:spPr bwMode="white">
          <a:xfrm>
            <a:off x="397772" y="590552"/>
            <a:ext cx="8382000" cy="656337"/>
          </a:xfrm>
          <a:prstGeom prst="rect">
            <a:avLst/>
          </a:prstGeom>
        </p:spPr>
        <p:txBody>
          <a:bodyPr vert="horz" wrap="square" lIns="0" tIns="68568" rIns="0" bIns="0" rtlCol="0" anchor="t">
            <a:spAutoFit/>
          </a:bodyPr>
          <a:lstStyle>
            <a:lvl1pPr algn="l" defTabSz="914363" rtl="0" eaLnBrk="1" latinLnBrk="0" hangingPunct="1">
              <a:lnSpc>
                <a:spcPct val="90000"/>
              </a:lnSpc>
              <a:spcBef>
                <a:spcPct val="0"/>
              </a:spcBef>
              <a:buNone/>
              <a:defRPr lang="en-US" sz="4400" b="0" kern="1200" cap="none" spc="0" baseline="0">
                <a:ln w="3175">
                  <a:noFill/>
                </a:ln>
                <a:gradFill flip="none" rotWithShape="1">
                  <a:gsLst>
                    <a:gs pos="417">
                      <a:srgbClr val="FFFFFF"/>
                    </a:gs>
                    <a:gs pos="100000">
                      <a:srgbClr val="FFFFFF"/>
                    </a:gs>
                  </a:gsLst>
                  <a:lin ang="5400000" scaled="0"/>
                  <a:tileRect/>
                </a:gradFill>
                <a:effectLst/>
                <a:latin typeface="+mj-lt"/>
                <a:ea typeface="+mn-ea"/>
                <a:cs typeface="Arial" charset="0"/>
              </a:defRPr>
            </a:lvl1pPr>
          </a:lstStyle>
          <a:p>
            <a:r>
              <a:rPr sz="2100" dirty="0">
                <a:latin typeface="Segoe UI Light"/>
                <a:cs typeface="Segoe UI Light"/>
              </a:rPr>
              <a:t>WORKING TO PROTECT OUR USERS…</a:t>
            </a:r>
          </a:p>
          <a:p>
            <a:r>
              <a:rPr sz="2100" dirty="0">
                <a:latin typeface="Segoe UI Light"/>
                <a:cs typeface="Segoe UI Light"/>
              </a:rPr>
              <a:t>REDUCE VULNERABILITIES, LIMIT EXPLOIT SEVERITY</a:t>
            </a:r>
          </a:p>
        </p:txBody>
      </p:sp>
      <p:sp>
        <p:nvSpPr>
          <p:cNvPr id="30" name="Rectangle 29"/>
          <p:cNvSpPr/>
          <p:nvPr/>
        </p:nvSpPr>
        <p:spPr>
          <a:xfrm>
            <a:off x="5410200" y="4680030"/>
            <a:ext cx="3505200" cy="253920"/>
          </a:xfrm>
          <a:prstGeom prst="rect">
            <a:avLst/>
          </a:prstGeom>
        </p:spPr>
        <p:txBody>
          <a:bodyPr wrap="square" lIns="68568" tIns="34285" rIns="68568" bIns="34285">
            <a:spAutoFit/>
          </a:bodyPr>
          <a:lstStyle/>
          <a:p>
            <a:pPr defTabSz="914050">
              <a:buSzPct val="95000"/>
              <a:defRPr/>
            </a:pPr>
            <a:r>
              <a:rPr lang="en-US" sz="1200" dirty="0">
                <a:ln w="1905"/>
                <a:solidFill>
                  <a:srgbClr val="FFFFFF"/>
                </a:solidFill>
                <a:ea typeface="ＭＳ Ｐゴシック" charset="-128"/>
                <a:cs typeface="Segoe UI" pitchFamily="34" charset="0"/>
              </a:rPr>
              <a:t>Ongoing Process Improvements – 12 month cycle</a:t>
            </a:r>
          </a:p>
        </p:txBody>
      </p:sp>
      <p:sp>
        <p:nvSpPr>
          <p:cNvPr id="31" name="TextBox 30"/>
          <p:cNvSpPr txBox="1"/>
          <p:nvPr/>
        </p:nvSpPr>
        <p:spPr>
          <a:xfrm>
            <a:off x="304800" y="1428750"/>
            <a:ext cx="1129823" cy="311604"/>
          </a:xfrm>
          <a:prstGeom prst="rect">
            <a:avLst/>
          </a:prstGeom>
          <a:noFill/>
        </p:spPr>
        <p:txBody>
          <a:bodyPr wrap="square" lIns="91408" tIns="45704" rIns="91408" bIns="45704" rtlCol="0">
            <a:spAutoFit/>
          </a:bodyPr>
          <a:lstStyle/>
          <a:p>
            <a:pPr defTabSz="914050"/>
            <a:r>
              <a:rPr lang="en-US" dirty="0">
                <a:ln w="3175">
                  <a:noFill/>
                </a:ln>
                <a:solidFill>
                  <a:srgbClr val="FFFFFF"/>
                </a:solidFill>
                <a:cs typeface="Segoe UI" pitchFamily="34" charset="0"/>
              </a:rPr>
              <a:t>Education</a:t>
            </a:r>
          </a:p>
        </p:txBody>
      </p:sp>
      <p:sp>
        <p:nvSpPr>
          <p:cNvPr id="32" name="TextBox 31"/>
          <p:cNvSpPr txBox="1"/>
          <p:nvPr/>
        </p:nvSpPr>
        <p:spPr>
          <a:xfrm>
            <a:off x="6335488" y="1428750"/>
            <a:ext cx="1741712" cy="311604"/>
          </a:xfrm>
          <a:prstGeom prst="rect">
            <a:avLst/>
          </a:prstGeom>
          <a:noFill/>
        </p:spPr>
        <p:txBody>
          <a:bodyPr wrap="square" lIns="91408" tIns="45704" rIns="91408" bIns="45704" rtlCol="0">
            <a:spAutoFit/>
          </a:bodyPr>
          <a:lstStyle/>
          <a:p>
            <a:pPr defTabSz="914050"/>
            <a:r>
              <a:rPr lang="en-US" dirty="0">
                <a:ln w="3175">
                  <a:noFill/>
                </a:ln>
                <a:solidFill>
                  <a:srgbClr val="FFFFFF"/>
                </a:solidFill>
                <a:cs typeface="Segoe UI" pitchFamily="34" charset="0"/>
              </a:rPr>
              <a:t>Accountability</a:t>
            </a:r>
          </a:p>
        </p:txBody>
      </p:sp>
      <p:sp>
        <p:nvSpPr>
          <p:cNvPr id="33" name="Rectangle 32"/>
          <p:cNvSpPr/>
          <p:nvPr/>
        </p:nvSpPr>
        <p:spPr>
          <a:xfrm>
            <a:off x="284079" y="1709546"/>
            <a:ext cx="2345506" cy="675349"/>
          </a:xfrm>
          <a:prstGeom prst="rect">
            <a:avLst/>
          </a:prstGeom>
          <a:solidFill>
            <a:srgbClr val="0071BC"/>
          </a:solidFill>
          <a:ln>
            <a:noFill/>
            <a:headEnd type="none" w="med" len="med"/>
            <a:tailEnd type="none" w="med" len="med"/>
          </a:ln>
          <a:effectLst/>
          <a:scene3d>
            <a:camera prst="orthographicFront"/>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0" tIns="34283" rIns="0" bIns="34283" anchor="ctr"/>
          <a:lstStyle/>
          <a:p>
            <a:pPr algn="ctr" defTabSz="685466">
              <a:lnSpc>
                <a:spcPct val="90000"/>
              </a:lnSpc>
            </a:pPr>
            <a:r>
              <a:rPr lang="en-US" sz="1000" dirty="0">
                <a:solidFill>
                  <a:srgbClr val="FFFFFF"/>
                </a:solidFill>
              </a:rPr>
              <a:t>Administer and track security training </a:t>
            </a:r>
          </a:p>
        </p:txBody>
      </p:sp>
      <p:sp>
        <p:nvSpPr>
          <p:cNvPr id="34" name="Rectangle 33"/>
          <p:cNvSpPr/>
          <p:nvPr/>
        </p:nvSpPr>
        <p:spPr>
          <a:xfrm>
            <a:off x="7593904" y="1724055"/>
            <a:ext cx="1131865" cy="675349"/>
          </a:xfrm>
          <a:prstGeom prst="rect">
            <a:avLst/>
          </a:prstGeom>
          <a:solidFill>
            <a:srgbClr val="FFBE00"/>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0" tIns="34283" rIns="0" bIns="34283" anchor="ctr"/>
          <a:lstStyle/>
          <a:p>
            <a:pPr defTabSz="685466">
              <a:lnSpc>
                <a:spcPct val="90000"/>
              </a:lnSpc>
            </a:pPr>
            <a:r>
              <a:rPr lang="en-US" sz="1000" dirty="0">
                <a:gradFill>
                  <a:gsLst>
                    <a:gs pos="0">
                      <a:srgbClr val="FFFFFF"/>
                    </a:gs>
                    <a:gs pos="86000">
                      <a:srgbClr val="FFFFFF"/>
                    </a:gs>
                  </a:gsLst>
                  <a:lin ang="5400000" scaled="0"/>
                </a:gradFill>
              </a:rPr>
              <a:t>  Incident</a:t>
            </a:r>
          </a:p>
          <a:p>
            <a:pPr defTabSz="685466">
              <a:lnSpc>
                <a:spcPct val="90000"/>
              </a:lnSpc>
            </a:pPr>
            <a:r>
              <a:rPr lang="en-US" sz="1000" dirty="0">
                <a:gradFill>
                  <a:gsLst>
                    <a:gs pos="0">
                      <a:srgbClr val="FFFFFF"/>
                    </a:gs>
                    <a:gs pos="86000">
                      <a:srgbClr val="FFFFFF"/>
                    </a:gs>
                  </a:gsLst>
                  <a:lin ang="5400000" scaled="0"/>
                </a:gradFill>
              </a:rPr>
              <a:t>  Response (MSRC) </a:t>
            </a:r>
          </a:p>
        </p:txBody>
      </p:sp>
      <p:sp>
        <p:nvSpPr>
          <p:cNvPr id="36" name="TextBox 35"/>
          <p:cNvSpPr txBox="1"/>
          <p:nvPr/>
        </p:nvSpPr>
        <p:spPr>
          <a:xfrm>
            <a:off x="2743200" y="1428750"/>
            <a:ext cx="1045028" cy="311604"/>
          </a:xfrm>
          <a:prstGeom prst="rect">
            <a:avLst/>
          </a:prstGeom>
          <a:noFill/>
        </p:spPr>
        <p:txBody>
          <a:bodyPr wrap="square" lIns="91408" tIns="45704" rIns="91408" bIns="45704" rtlCol="0">
            <a:spAutoFit/>
          </a:bodyPr>
          <a:lstStyle/>
          <a:p>
            <a:pPr defTabSz="914050"/>
            <a:r>
              <a:rPr lang="en-US" dirty="0">
                <a:ln w="3175">
                  <a:noFill/>
                </a:ln>
                <a:solidFill>
                  <a:srgbClr val="FFFFFF"/>
                </a:solidFill>
                <a:cs typeface="Segoe UI" pitchFamily="34" charset="0"/>
              </a:rPr>
              <a:t>Process</a:t>
            </a:r>
          </a:p>
        </p:txBody>
      </p:sp>
      <p:sp>
        <p:nvSpPr>
          <p:cNvPr id="37" name="Rectangle 36"/>
          <p:cNvSpPr/>
          <p:nvPr/>
        </p:nvSpPr>
        <p:spPr>
          <a:xfrm>
            <a:off x="2718040" y="1720050"/>
            <a:ext cx="3567089" cy="675348"/>
          </a:xfrm>
          <a:prstGeom prst="rect">
            <a:avLst/>
          </a:prstGeom>
          <a:solidFill>
            <a:srgbClr val="FF8A00"/>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0" tIns="34283" rIns="0" bIns="34283" anchor="ctr"/>
          <a:lstStyle/>
          <a:p>
            <a:pPr algn="ctr" defTabSz="685466">
              <a:lnSpc>
                <a:spcPct val="90000"/>
              </a:lnSpc>
            </a:pPr>
            <a:r>
              <a:rPr lang="en-US" sz="1000" dirty="0">
                <a:solidFill>
                  <a:srgbClr val="FFFFFF"/>
                </a:solidFill>
              </a:rPr>
              <a:t>Guide product teams to meet SDL requirements</a:t>
            </a:r>
          </a:p>
        </p:txBody>
      </p:sp>
      <p:sp>
        <p:nvSpPr>
          <p:cNvPr id="40" name="Rectangle 39"/>
          <p:cNvSpPr/>
          <p:nvPr/>
        </p:nvSpPr>
        <p:spPr bwMode="auto">
          <a:xfrm>
            <a:off x="237010" y="2408337"/>
            <a:ext cx="1515595" cy="219275"/>
          </a:xfrm>
          <a:prstGeom prst="rect">
            <a:avLst/>
          </a:prstGeom>
          <a:effectLst/>
        </p:spPr>
        <p:txBody>
          <a:bodyPr wrap="square" lIns="91420" tIns="45710" rIns="91420" bIns="45710">
            <a:spAutoFit/>
          </a:bodyPr>
          <a:lstStyle/>
          <a:p>
            <a:pPr defTabSz="685466">
              <a:spcBef>
                <a:spcPts val="450"/>
              </a:spcBef>
              <a:defRPr/>
            </a:pPr>
            <a:r>
              <a:rPr lang="en-US" sz="800" dirty="0">
                <a:solidFill>
                  <a:srgbClr val="FFFFFF"/>
                </a:solidFill>
                <a:effectLst>
                  <a:outerShdw blurRad="38100" dist="38100" dir="2700000" algn="tl">
                    <a:srgbClr val="000000">
                      <a:alpha val="43137"/>
                    </a:srgbClr>
                  </a:outerShdw>
                </a:effectLst>
              </a:rPr>
              <a:t>SECURITY FUNDAMENTALS</a:t>
            </a:r>
          </a:p>
        </p:txBody>
      </p:sp>
      <p:sp>
        <p:nvSpPr>
          <p:cNvPr id="41" name="Rectangle 40"/>
          <p:cNvSpPr/>
          <p:nvPr/>
        </p:nvSpPr>
        <p:spPr bwMode="auto">
          <a:xfrm>
            <a:off x="237005" y="3118310"/>
            <a:ext cx="1667995" cy="219275"/>
          </a:xfrm>
          <a:prstGeom prst="rect">
            <a:avLst/>
          </a:prstGeom>
          <a:effectLst/>
        </p:spPr>
        <p:txBody>
          <a:bodyPr wrap="square" lIns="91420" tIns="45710" rIns="91420" bIns="45710">
            <a:spAutoFit/>
          </a:bodyPr>
          <a:lstStyle/>
          <a:p>
            <a:pPr defTabSz="685466">
              <a:spcBef>
                <a:spcPts val="450"/>
              </a:spcBef>
              <a:defRPr/>
            </a:pPr>
            <a:r>
              <a:rPr lang="en-US" sz="800" dirty="0">
                <a:solidFill>
                  <a:srgbClr val="FFFFFF"/>
                </a:solidFill>
                <a:effectLst>
                  <a:outerShdw blurRad="38100" dist="38100" dir="2700000" algn="tl">
                    <a:srgbClr val="000000">
                      <a:alpha val="43137"/>
                    </a:srgbClr>
                  </a:outerShdw>
                </a:effectLst>
              </a:rPr>
              <a:t>TECHNOLOGY INNOVATIONS</a:t>
            </a:r>
          </a:p>
        </p:txBody>
      </p:sp>
      <p:sp>
        <p:nvSpPr>
          <p:cNvPr id="42" name="Rectangle 41"/>
          <p:cNvSpPr/>
          <p:nvPr/>
        </p:nvSpPr>
        <p:spPr bwMode="auto">
          <a:xfrm>
            <a:off x="237005" y="4489910"/>
            <a:ext cx="2558129" cy="219275"/>
          </a:xfrm>
          <a:prstGeom prst="rect">
            <a:avLst/>
          </a:prstGeom>
          <a:effectLst/>
        </p:spPr>
        <p:txBody>
          <a:bodyPr wrap="square" lIns="91420" tIns="45710" rIns="91420" bIns="45710">
            <a:spAutoFit/>
          </a:bodyPr>
          <a:lstStyle/>
          <a:p>
            <a:pPr defTabSz="685466">
              <a:spcBef>
                <a:spcPts val="450"/>
              </a:spcBef>
              <a:defRPr/>
            </a:pPr>
            <a:r>
              <a:rPr lang="en-US" sz="800" dirty="0">
                <a:solidFill>
                  <a:srgbClr val="FFFFFF"/>
                </a:solidFill>
                <a:effectLst>
                  <a:outerShdw blurRad="38100" dist="38100" dir="2700000" algn="tl">
                    <a:srgbClr val="000000">
                      <a:alpha val="43137"/>
                    </a:srgbClr>
                  </a:outerShdw>
                </a:effectLst>
              </a:rPr>
              <a:t>INDUSTRY LEADERSHIP</a:t>
            </a:r>
          </a:p>
        </p:txBody>
      </p:sp>
      <p:sp>
        <p:nvSpPr>
          <p:cNvPr id="46" name="Rectangle 45"/>
          <p:cNvSpPr/>
          <p:nvPr/>
        </p:nvSpPr>
        <p:spPr>
          <a:xfrm>
            <a:off x="6373585" y="1724055"/>
            <a:ext cx="1131865" cy="675349"/>
          </a:xfrm>
          <a:prstGeom prst="rect">
            <a:avLst/>
          </a:prstGeom>
          <a:solidFill>
            <a:srgbClr val="FFBE00"/>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0" tIns="34283" rIns="0" bIns="34283" anchor="ctr"/>
          <a:lstStyle/>
          <a:p>
            <a:pPr defTabSz="685466">
              <a:lnSpc>
                <a:spcPct val="90000"/>
              </a:lnSpc>
            </a:pPr>
            <a:r>
              <a:rPr lang="en-US" sz="1000" dirty="0">
                <a:gradFill>
                  <a:gsLst>
                    <a:gs pos="0">
                      <a:srgbClr val="FFFFFF"/>
                    </a:gs>
                    <a:gs pos="86000">
                      <a:srgbClr val="FFFFFF"/>
                    </a:gs>
                  </a:gsLst>
                  <a:lin ang="5400000" scaled="0"/>
                </a:gradFill>
              </a:rPr>
              <a:t>  Establish release</a:t>
            </a:r>
          </a:p>
          <a:p>
            <a:pPr defTabSz="685466">
              <a:lnSpc>
                <a:spcPct val="90000"/>
              </a:lnSpc>
            </a:pPr>
            <a:r>
              <a:rPr lang="en-US" sz="1000" dirty="0">
                <a:gradFill>
                  <a:gsLst>
                    <a:gs pos="0">
                      <a:srgbClr val="FFFFFF"/>
                    </a:gs>
                    <a:gs pos="86000">
                      <a:srgbClr val="FFFFFF"/>
                    </a:gs>
                  </a:gsLst>
                  <a:lin ang="5400000" scaled="0"/>
                </a:gradFill>
              </a:rPr>
              <a:t>  criteria and sign-                          off as part of FSR</a:t>
            </a:r>
          </a:p>
        </p:txBody>
      </p:sp>
      <p:sp>
        <p:nvSpPr>
          <p:cNvPr id="47" name="U-Turn Arrow 46"/>
          <p:cNvSpPr/>
          <p:nvPr/>
        </p:nvSpPr>
        <p:spPr bwMode="auto">
          <a:xfrm rot="16200000">
            <a:off x="4957336" y="4706546"/>
            <a:ext cx="231742" cy="229353"/>
          </a:xfrm>
          <a:prstGeom prst="uturnArrow">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6" tIns="45708" rIns="91416" bIns="45708" numCol="1" rtlCol="0" anchor="ctr" anchorCtr="0" compatLnSpc="1">
            <a:prstTxWarp prst="textNoShape">
              <a:avLst/>
            </a:prstTxWarp>
          </a:bodyPr>
          <a:lstStyle/>
          <a:p>
            <a:pPr algn="ctr" defTabSz="913909"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48" name="U-Turn Arrow 47"/>
          <p:cNvSpPr/>
          <p:nvPr/>
        </p:nvSpPr>
        <p:spPr bwMode="auto">
          <a:xfrm rot="5400000">
            <a:off x="5179650" y="4709693"/>
            <a:ext cx="231744" cy="229355"/>
          </a:xfrm>
          <a:prstGeom prst="uturnArrow">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6" tIns="45708" rIns="91416" bIns="45708" numCol="1" rtlCol="0" anchor="ctr" anchorCtr="0" compatLnSpc="1">
            <a:prstTxWarp prst="textNoShape">
              <a:avLst/>
            </a:prstTxWarp>
          </a:bodyPr>
          <a:lstStyle/>
          <a:p>
            <a:pPr algn="ctr" defTabSz="913909" fontAlgn="base">
              <a:spcBef>
                <a:spcPct val="0"/>
              </a:spcBef>
              <a:spcAft>
                <a:spcPct val="0"/>
              </a:spcAft>
            </a:pPr>
            <a:endParaRPr lang="en-US" sz="2400" dirty="0">
              <a:gradFill>
                <a:gsLst>
                  <a:gs pos="0">
                    <a:srgbClr val="FFFFFF"/>
                  </a:gs>
                  <a:gs pos="100000">
                    <a:srgbClr val="FFFFFF"/>
                  </a:gs>
                </a:gsLst>
                <a:lin ang="5400000" scaled="0"/>
              </a:gradFill>
            </a:endParaRPr>
          </a:p>
        </p:txBody>
      </p:sp>
      <p:pic>
        <p:nvPicPr>
          <p:cNvPr id="2" name="Picture 1"/>
          <p:cNvPicPr>
            <a:picLocks noChangeAspect="1"/>
          </p:cNvPicPr>
          <p:nvPr/>
        </p:nvPicPr>
        <p:blipFill>
          <a:blip r:embed="rId3"/>
          <a:stretch>
            <a:fillRect/>
          </a:stretch>
        </p:blipFill>
        <p:spPr>
          <a:xfrm>
            <a:off x="8121450" y="133350"/>
            <a:ext cx="412955" cy="609600"/>
          </a:xfrm>
          <a:prstGeom prst="rect">
            <a:avLst/>
          </a:prstGeom>
        </p:spPr>
      </p:pic>
      <p:sp>
        <p:nvSpPr>
          <p:cNvPr id="35"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8"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4"/>
              </a:rPr>
              <a:t>www.rapidbbs.cn</a:t>
            </a:r>
            <a:endParaRPr lang="zh-CN" altLang="en-US" sz="1200" b="0">
              <a:latin typeface="Arial" charset="0"/>
              <a:ea typeface="ＭＳ Ｐゴシック" pitchFamily="34" charset="-128"/>
            </a:endParaRPr>
          </a:p>
        </p:txBody>
      </p:sp>
      <p:pic>
        <p:nvPicPr>
          <p:cNvPr id="39" name="Picture 2">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3" name="Picture 2">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43000" y="2804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10086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106"/>
                                        </p:tgtEl>
                                        <p:attrNameLst>
                                          <p:attrName>style.visibility</p:attrName>
                                        </p:attrNameLst>
                                      </p:cBhvr>
                                      <p:to>
                                        <p:strVal val="visible"/>
                                      </p:to>
                                    </p:set>
                                    <p:animEffect transition="in" filter="fade">
                                      <p:cBhvr>
                                        <p:cTn id="7" dur="500"/>
                                        <p:tgtEl>
                                          <p:spTgt spid="106"/>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78"/>
                                        </p:tgtEl>
                                        <p:attrNameLst>
                                          <p:attrName>style.visibility</p:attrName>
                                        </p:attrNameLst>
                                      </p:cBhvr>
                                      <p:to>
                                        <p:strVal val="visible"/>
                                      </p:to>
                                    </p:set>
                                    <p:animEffect transition="in" filter="fade">
                                      <p:cBhvr>
                                        <p:cTn id="10" dur="500"/>
                                        <p:tgtEl>
                                          <p:spTgt spid="78"/>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83"/>
                                        </p:tgtEl>
                                        <p:attrNameLst>
                                          <p:attrName>style.visibility</p:attrName>
                                        </p:attrNameLst>
                                      </p:cBhvr>
                                      <p:to>
                                        <p:strVal val="visible"/>
                                      </p:to>
                                    </p:set>
                                    <p:animEffect transition="in" filter="fade">
                                      <p:cBhvr>
                                        <p:cTn id="13" dur="500"/>
                                        <p:tgtEl>
                                          <p:spTgt spid="83"/>
                                        </p:tgtEl>
                                      </p:cBhvr>
                                    </p:animEffect>
                                  </p:childTnLst>
                                </p:cTn>
                              </p:par>
                              <p:par>
                                <p:cTn id="14" presetID="10" presetClass="entr" presetSubtype="0" fill="hold" grpId="0" nodeType="withEffect">
                                  <p:stCondLst>
                                    <p:cond delay="500"/>
                                  </p:stCondLst>
                                  <p:childTnLst>
                                    <p:set>
                                      <p:cBhvr>
                                        <p:cTn id="15" dur="1" fill="hold">
                                          <p:stCondLst>
                                            <p:cond delay="0"/>
                                          </p:stCondLst>
                                        </p:cTn>
                                        <p:tgtEl>
                                          <p:spTgt spid="85"/>
                                        </p:tgtEl>
                                        <p:attrNameLst>
                                          <p:attrName>style.visibility</p:attrName>
                                        </p:attrNameLst>
                                      </p:cBhvr>
                                      <p:to>
                                        <p:strVal val="visible"/>
                                      </p:to>
                                    </p:set>
                                    <p:animEffect transition="in" filter="fade">
                                      <p:cBhvr>
                                        <p:cTn id="16" dur="500"/>
                                        <p:tgtEl>
                                          <p:spTgt spid="85"/>
                                        </p:tgtEl>
                                      </p:cBhvr>
                                    </p:animEffect>
                                  </p:childTnLst>
                                </p:cTn>
                              </p:par>
                              <p:par>
                                <p:cTn id="17" presetID="10" presetClass="entr" presetSubtype="0" fill="hold" grpId="0" nodeType="withEffect">
                                  <p:stCondLst>
                                    <p:cond delay="500"/>
                                  </p:stCondLst>
                                  <p:childTnLst>
                                    <p:set>
                                      <p:cBhvr>
                                        <p:cTn id="18" dur="1" fill="hold">
                                          <p:stCondLst>
                                            <p:cond delay="0"/>
                                          </p:stCondLst>
                                        </p:cTn>
                                        <p:tgtEl>
                                          <p:spTgt spid="87"/>
                                        </p:tgtEl>
                                        <p:attrNameLst>
                                          <p:attrName>style.visibility</p:attrName>
                                        </p:attrNameLst>
                                      </p:cBhvr>
                                      <p:to>
                                        <p:strVal val="visible"/>
                                      </p:to>
                                    </p:set>
                                    <p:animEffect transition="in" filter="fade">
                                      <p:cBhvr>
                                        <p:cTn id="19" dur="500"/>
                                        <p:tgtEl>
                                          <p:spTgt spid="87"/>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89"/>
                                        </p:tgtEl>
                                        <p:attrNameLst>
                                          <p:attrName>style.visibility</p:attrName>
                                        </p:attrNameLst>
                                      </p:cBhvr>
                                      <p:to>
                                        <p:strVal val="visible"/>
                                      </p:to>
                                    </p:set>
                                    <p:animEffect transition="in" filter="fade">
                                      <p:cBhvr>
                                        <p:cTn id="22" dur="500"/>
                                        <p:tgtEl>
                                          <p:spTgt spid="89"/>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91"/>
                                        </p:tgtEl>
                                        <p:attrNameLst>
                                          <p:attrName>style.visibility</p:attrName>
                                        </p:attrNameLst>
                                      </p:cBhvr>
                                      <p:to>
                                        <p:strVal val="visible"/>
                                      </p:to>
                                    </p:set>
                                    <p:animEffect transition="in" filter="fade">
                                      <p:cBhvr>
                                        <p:cTn id="25" dur="500"/>
                                        <p:tgtEl>
                                          <p:spTgt spid="91"/>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93"/>
                                        </p:tgtEl>
                                        <p:attrNameLst>
                                          <p:attrName>style.visibility</p:attrName>
                                        </p:attrNameLst>
                                      </p:cBhvr>
                                      <p:to>
                                        <p:strVal val="visible"/>
                                      </p:to>
                                    </p:set>
                                    <p:animEffect transition="in" filter="fade">
                                      <p:cBhvr>
                                        <p:cTn id="28" dur="500"/>
                                        <p:tgtEl>
                                          <p:spTgt spid="93"/>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95"/>
                                        </p:tgtEl>
                                        <p:attrNameLst>
                                          <p:attrName>style.visibility</p:attrName>
                                        </p:attrNameLst>
                                      </p:cBhvr>
                                      <p:to>
                                        <p:strVal val="visible"/>
                                      </p:to>
                                    </p:set>
                                    <p:animEffect transition="in" filter="fade">
                                      <p:cBhvr>
                                        <p:cTn id="31" dur="500"/>
                                        <p:tgtEl>
                                          <p:spTgt spid="95"/>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97"/>
                                        </p:tgtEl>
                                        <p:attrNameLst>
                                          <p:attrName>style.visibility</p:attrName>
                                        </p:attrNameLst>
                                      </p:cBhvr>
                                      <p:to>
                                        <p:strVal val="visible"/>
                                      </p:to>
                                    </p:set>
                                    <p:animEffect transition="in" filter="fade">
                                      <p:cBhvr>
                                        <p:cTn id="34" dur="500"/>
                                        <p:tgtEl>
                                          <p:spTgt spid="97"/>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99"/>
                                        </p:tgtEl>
                                        <p:attrNameLst>
                                          <p:attrName>style.visibility</p:attrName>
                                        </p:attrNameLst>
                                      </p:cBhvr>
                                      <p:to>
                                        <p:strVal val="visible"/>
                                      </p:to>
                                    </p:set>
                                    <p:animEffect transition="in" filter="fade">
                                      <p:cBhvr>
                                        <p:cTn id="37" dur="500"/>
                                        <p:tgtEl>
                                          <p:spTgt spid="99"/>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101"/>
                                        </p:tgtEl>
                                        <p:attrNameLst>
                                          <p:attrName>style.visibility</p:attrName>
                                        </p:attrNameLst>
                                      </p:cBhvr>
                                      <p:to>
                                        <p:strVal val="visible"/>
                                      </p:to>
                                    </p:set>
                                    <p:animEffect transition="in" filter="fade">
                                      <p:cBhvr>
                                        <p:cTn id="40" dur="500"/>
                                        <p:tgtEl>
                                          <p:spTgt spid="101"/>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103"/>
                                        </p:tgtEl>
                                        <p:attrNameLst>
                                          <p:attrName>style.visibility</p:attrName>
                                        </p:attrNameLst>
                                      </p:cBhvr>
                                      <p:to>
                                        <p:strVal val="visible"/>
                                      </p:to>
                                    </p:set>
                                    <p:animEffect transition="in" filter="fade">
                                      <p:cBhvr>
                                        <p:cTn id="43" dur="500"/>
                                        <p:tgtEl>
                                          <p:spTgt spid="103"/>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105"/>
                                        </p:tgtEl>
                                        <p:attrNameLst>
                                          <p:attrName>style.visibility</p:attrName>
                                        </p:attrNameLst>
                                      </p:cBhvr>
                                      <p:to>
                                        <p:strVal val="visible"/>
                                      </p:to>
                                    </p:set>
                                    <p:animEffect transition="in" filter="fade">
                                      <p:cBhvr>
                                        <p:cTn id="46" dur="500"/>
                                        <p:tgtEl>
                                          <p:spTgt spid="105"/>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30"/>
                                        </p:tgtEl>
                                        <p:attrNameLst>
                                          <p:attrName>style.visibility</p:attrName>
                                        </p:attrNameLst>
                                      </p:cBhvr>
                                      <p:to>
                                        <p:strVal val="visible"/>
                                      </p:to>
                                    </p:set>
                                    <p:animEffect transition="in" filter="fade">
                                      <p:cBhvr>
                                        <p:cTn id="49" dur="500"/>
                                        <p:tgtEl>
                                          <p:spTgt spid="30"/>
                                        </p:tgtEl>
                                      </p:cBhvr>
                                    </p:animEffect>
                                  </p:childTnLst>
                                </p:cTn>
                              </p:par>
                              <p:par>
                                <p:cTn id="50" presetID="10" presetClass="entr" presetSubtype="0" fill="hold" grpId="0" nodeType="withEffect">
                                  <p:stCondLst>
                                    <p:cond delay="500"/>
                                  </p:stCondLst>
                                  <p:childTnLst>
                                    <p:set>
                                      <p:cBhvr>
                                        <p:cTn id="51" dur="1" fill="hold">
                                          <p:stCondLst>
                                            <p:cond delay="0"/>
                                          </p:stCondLst>
                                        </p:cTn>
                                        <p:tgtEl>
                                          <p:spTgt spid="31"/>
                                        </p:tgtEl>
                                        <p:attrNameLst>
                                          <p:attrName>style.visibility</p:attrName>
                                        </p:attrNameLst>
                                      </p:cBhvr>
                                      <p:to>
                                        <p:strVal val="visible"/>
                                      </p:to>
                                    </p:set>
                                    <p:animEffect transition="in" filter="fade">
                                      <p:cBhvr>
                                        <p:cTn id="52" dur="500"/>
                                        <p:tgtEl>
                                          <p:spTgt spid="31"/>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32"/>
                                        </p:tgtEl>
                                        <p:attrNameLst>
                                          <p:attrName>style.visibility</p:attrName>
                                        </p:attrNameLst>
                                      </p:cBhvr>
                                      <p:to>
                                        <p:strVal val="visible"/>
                                      </p:to>
                                    </p:set>
                                    <p:animEffect transition="in" filter="fade">
                                      <p:cBhvr>
                                        <p:cTn id="55" dur="500"/>
                                        <p:tgtEl>
                                          <p:spTgt spid="32"/>
                                        </p:tgtEl>
                                      </p:cBhvr>
                                    </p:animEffect>
                                  </p:childTnLst>
                                </p:cTn>
                              </p:par>
                              <p:par>
                                <p:cTn id="56" presetID="10" presetClass="entr" presetSubtype="0" fill="hold" grpId="0" nodeType="withEffect">
                                  <p:stCondLst>
                                    <p:cond delay="500"/>
                                  </p:stCondLst>
                                  <p:childTnLst>
                                    <p:set>
                                      <p:cBhvr>
                                        <p:cTn id="57" dur="1" fill="hold">
                                          <p:stCondLst>
                                            <p:cond delay="0"/>
                                          </p:stCondLst>
                                        </p:cTn>
                                        <p:tgtEl>
                                          <p:spTgt spid="33"/>
                                        </p:tgtEl>
                                        <p:attrNameLst>
                                          <p:attrName>style.visibility</p:attrName>
                                        </p:attrNameLst>
                                      </p:cBhvr>
                                      <p:to>
                                        <p:strVal val="visible"/>
                                      </p:to>
                                    </p:set>
                                    <p:animEffect transition="in" filter="fade">
                                      <p:cBhvr>
                                        <p:cTn id="58" dur="500"/>
                                        <p:tgtEl>
                                          <p:spTgt spid="33"/>
                                        </p:tgtEl>
                                      </p:cBhvr>
                                    </p:animEffect>
                                  </p:childTnLst>
                                </p:cTn>
                              </p:par>
                              <p:par>
                                <p:cTn id="59" presetID="10" presetClass="entr" presetSubtype="0" fill="hold" grpId="0" nodeType="withEffect">
                                  <p:stCondLst>
                                    <p:cond delay="500"/>
                                  </p:stCondLst>
                                  <p:childTnLst>
                                    <p:set>
                                      <p:cBhvr>
                                        <p:cTn id="60" dur="1" fill="hold">
                                          <p:stCondLst>
                                            <p:cond delay="0"/>
                                          </p:stCondLst>
                                        </p:cTn>
                                        <p:tgtEl>
                                          <p:spTgt spid="34"/>
                                        </p:tgtEl>
                                        <p:attrNameLst>
                                          <p:attrName>style.visibility</p:attrName>
                                        </p:attrNameLst>
                                      </p:cBhvr>
                                      <p:to>
                                        <p:strVal val="visible"/>
                                      </p:to>
                                    </p:set>
                                    <p:animEffect transition="in" filter="fade">
                                      <p:cBhvr>
                                        <p:cTn id="61" dur="500"/>
                                        <p:tgtEl>
                                          <p:spTgt spid="34"/>
                                        </p:tgtEl>
                                      </p:cBhvr>
                                    </p:animEffect>
                                  </p:childTnLst>
                                </p:cTn>
                              </p:par>
                              <p:par>
                                <p:cTn id="62" presetID="10" presetClass="entr" presetSubtype="0" fill="hold" grpId="0" nodeType="withEffect">
                                  <p:stCondLst>
                                    <p:cond delay="500"/>
                                  </p:stCondLst>
                                  <p:childTnLst>
                                    <p:set>
                                      <p:cBhvr>
                                        <p:cTn id="63" dur="1" fill="hold">
                                          <p:stCondLst>
                                            <p:cond delay="0"/>
                                          </p:stCondLst>
                                        </p:cTn>
                                        <p:tgtEl>
                                          <p:spTgt spid="36"/>
                                        </p:tgtEl>
                                        <p:attrNameLst>
                                          <p:attrName>style.visibility</p:attrName>
                                        </p:attrNameLst>
                                      </p:cBhvr>
                                      <p:to>
                                        <p:strVal val="visible"/>
                                      </p:to>
                                    </p:set>
                                    <p:animEffect transition="in" filter="fade">
                                      <p:cBhvr>
                                        <p:cTn id="64" dur="500"/>
                                        <p:tgtEl>
                                          <p:spTgt spid="36"/>
                                        </p:tgtEl>
                                      </p:cBhvr>
                                    </p:animEffect>
                                  </p:childTnLst>
                                </p:cTn>
                              </p:par>
                              <p:par>
                                <p:cTn id="65" presetID="10" presetClass="entr" presetSubtype="0" fill="hold" grpId="0" nodeType="withEffect">
                                  <p:stCondLst>
                                    <p:cond delay="500"/>
                                  </p:stCondLst>
                                  <p:childTnLst>
                                    <p:set>
                                      <p:cBhvr>
                                        <p:cTn id="66" dur="1" fill="hold">
                                          <p:stCondLst>
                                            <p:cond delay="0"/>
                                          </p:stCondLst>
                                        </p:cTn>
                                        <p:tgtEl>
                                          <p:spTgt spid="37"/>
                                        </p:tgtEl>
                                        <p:attrNameLst>
                                          <p:attrName>style.visibility</p:attrName>
                                        </p:attrNameLst>
                                      </p:cBhvr>
                                      <p:to>
                                        <p:strVal val="visible"/>
                                      </p:to>
                                    </p:set>
                                    <p:animEffect transition="in" filter="fade">
                                      <p:cBhvr>
                                        <p:cTn id="67" dur="500"/>
                                        <p:tgtEl>
                                          <p:spTgt spid="37"/>
                                        </p:tgtEl>
                                      </p:cBhvr>
                                    </p:animEffect>
                                  </p:childTnLst>
                                </p:cTn>
                              </p:par>
                              <p:par>
                                <p:cTn id="68" presetID="10" presetClass="entr" presetSubtype="0" fill="hold" grpId="0" nodeType="withEffect">
                                  <p:stCondLst>
                                    <p:cond delay="500"/>
                                  </p:stCondLst>
                                  <p:childTnLst>
                                    <p:set>
                                      <p:cBhvr>
                                        <p:cTn id="69" dur="1" fill="hold">
                                          <p:stCondLst>
                                            <p:cond delay="0"/>
                                          </p:stCondLst>
                                        </p:cTn>
                                        <p:tgtEl>
                                          <p:spTgt spid="28"/>
                                        </p:tgtEl>
                                        <p:attrNameLst>
                                          <p:attrName>style.visibility</p:attrName>
                                        </p:attrNameLst>
                                      </p:cBhvr>
                                      <p:to>
                                        <p:strVal val="visible"/>
                                      </p:to>
                                    </p:set>
                                    <p:animEffect transition="in" filter="fade">
                                      <p:cBhvr>
                                        <p:cTn id="70" dur="500"/>
                                        <p:tgtEl>
                                          <p:spTgt spid="28"/>
                                        </p:tgtEl>
                                      </p:cBhvr>
                                    </p:animEffect>
                                  </p:childTnLst>
                                </p:cTn>
                              </p:par>
                              <p:par>
                                <p:cTn id="71" presetID="10" presetClass="entr" presetSubtype="0" fill="hold" grpId="0" nodeType="withEffect">
                                  <p:stCondLst>
                                    <p:cond delay="500"/>
                                  </p:stCondLst>
                                  <p:childTnLst>
                                    <p:set>
                                      <p:cBhvr>
                                        <p:cTn id="72" dur="1" fill="hold">
                                          <p:stCondLst>
                                            <p:cond delay="0"/>
                                          </p:stCondLst>
                                        </p:cTn>
                                        <p:tgtEl>
                                          <p:spTgt spid="46"/>
                                        </p:tgtEl>
                                        <p:attrNameLst>
                                          <p:attrName>style.visibility</p:attrName>
                                        </p:attrNameLst>
                                      </p:cBhvr>
                                      <p:to>
                                        <p:strVal val="visible"/>
                                      </p:to>
                                    </p:set>
                                    <p:animEffect transition="in" filter="fade">
                                      <p:cBhvr>
                                        <p:cTn id="73"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6" grpId="0" animBg="1"/>
      <p:bldP spid="78" grpId="0" animBg="1"/>
      <p:bldP spid="83" grpId="0" animBg="1"/>
      <p:bldP spid="85" grpId="0" animBg="1"/>
      <p:bldP spid="87" grpId="0" animBg="1"/>
      <p:bldP spid="89" grpId="0" animBg="1"/>
      <p:bldP spid="91" grpId="0" animBg="1"/>
      <p:bldP spid="93" grpId="0" animBg="1"/>
      <p:bldP spid="95" grpId="0" animBg="1"/>
      <p:bldP spid="97" grpId="0" animBg="1"/>
      <p:bldP spid="99" grpId="0" animBg="1"/>
      <p:bldP spid="101" grpId="0" animBg="1"/>
      <p:bldP spid="103" grpId="0" animBg="1"/>
      <p:bldP spid="105" grpId="0" animBg="1"/>
      <p:bldP spid="28" grpId="0"/>
      <p:bldP spid="30" grpId="0"/>
      <p:bldP spid="31" grpId="0"/>
      <p:bldP spid="32" grpId="0"/>
      <p:bldP spid="33" grpId="0" animBg="1"/>
      <p:bldP spid="34" grpId="0" animBg="1"/>
      <p:bldP spid="36" grpId="0"/>
      <p:bldP spid="37" grpId="0" animBg="1"/>
      <p:bldP spid="46" grpId="0" animBg="1"/>
    </p:bldLst>
  </p:timing>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descr="C:\Users\v-maryba\Pictures\DVD_Art_Sept-2-2010\Artwork_Imagery\Brand Photos\FY10 Business Identity\Server IT - no exp\male thinking machine laptop fix technology room IT problem solving server.jpg"/>
          <p:cNvPicPr>
            <a:picLocks noChangeAspect="1" noChangeArrowheads="1"/>
          </p:cNvPicPr>
          <p:nvPr/>
        </p:nvPicPr>
        <p:blipFill rotWithShape="1">
          <a:blip r:embed="rId3" cstate="screen">
            <a:extLst>
              <a:ext uri="{28A0092B-C50C-407E-A947-70E740481C1C}">
                <a14:useLocalDpi xmlns:a14="http://schemas.microsoft.com/office/drawing/2010/main"/>
              </a:ext>
            </a:extLst>
          </a:blip>
          <a:stretch/>
        </p:blipFill>
        <p:spPr bwMode="auto">
          <a:xfrm>
            <a:off x="4587511" y="1411454"/>
            <a:ext cx="2057936" cy="137160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7" name="Picture 3" descr="C:\Users\v-maryba\Pictures\DVD_Art_Sept-2-2010\Artwork_Imagery\Brand Photos\Unified Communications\Brand Library - no exp\Office female laptop talking web conference microphone connect bluetooth technology office.jpg"/>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2492205" y="1411454"/>
            <a:ext cx="2060509" cy="137160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8" name="Picture 4" descr="C:\Users\v-maryba\Pictures\DVD_Art_Sept-2-2010\Artwork_Imagery\Brand Photos\Office Brand - No_exp\In the Office\girl computer sit office smile female male blur laptop background.jpg"/>
          <p:cNvPicPr>
            <a:picLocks noChangeAspect="1" noChangeArrowheads="1"/>
          </p:cNvPicPr>
          <p:nvPr/>
        </p:nvPicPr>
        <p:blipFill rotWithShape="1">
          <a:blip r:embed="rId5" cstate="screen">
            <a:extLst>
              <a:ext uri="{28A0092B-C50C-407E-A947-70E740481C1C}">
                <a14:useLocalDpi xmlns:a14="http://schemas.microsoft.com/office/drawing/2010/main"/>
              </a:ext>
            </a:extLst>
          </a:blip>
          <a:stretch/>
        </p:blipFill>
        <p:spPr bwMode="auto">
          <a:xfrm>
            <a:off x="6680244" y="1411454"/>
            <a:ext cx="2057936" cy="137160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9" name="Picture 5" descr="C:\Users\v-maryba\Pictures\DVD_Art_Sept-2-2010\Artwork_Imagery\Brand Photos\Office Brand - No_exp\In the Office\two males office talking working laptop discussion meeting client.jpg"/>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399370" y="1411462"/>
            <a:ext cx="2058038" cy="1370921"/>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4" name="Title 3"/>
          <p:cNvSpPr>
            <a:spLocks noGrp="1"/>
          </p:cNvSpPr>
          <p:nvPr>
            <p:ph type="title"/>
          </p:nvPr>
        </p:nvSpPr>
        <p:spPr bwMode="black"/>
        <p:txBody>
          <a:bodyPr/>
          <a:lstStyle/>
          <a:p>
            <a:r>
              <a:rPr lang="en-US" dirty="0" smtClean="0"/>
              <a:t>TRUSTWORTHY COMPUTING</a:t>
            </a:r>
            <a:endParaRPr lang="en-US" dirty="0"/>
          </a:p>
        </p:txBody>
      </p:sp>
      <p:sp>
        <p:nvSpPr>
          <p:cNvPr id="11" name="Rectangle 10"/>
          <p:cNvSpPr/>
          <p:nvPr/>
        </p:nvSpPr>
        <p:spPr>
          <a:xfrm>
            <a:off x="2492205" y="1203330"/>
            <a:ext cx="1157397" cy="141064"/>
          </a:xfrm>
          <a:prstGeom prst="rect">
            <a:avLst/>
          </a:prstGeom>
        </p:spPr>
        <p:txBody>
          <a:bodyPr wrap="square" lIns="0" tIns="0" rIns="0" bIns="0">
            <a:spAutoFit/>
          </a:bodyPr>
          <a:lstStyle/>
          <a:p>
            <a:pPr defTabSz="479865">
              <a:lnSpc>
                <a:spcPts val="1050"/>
              </a:lnSpc>
              <a:spcBef>
                <a:spcPts val="315"/>
              </a:spcBef>
              <a:spcAft>
                <a:spcPts val="315"/>
              </a:spcAft>
            </a:pPr>
            <a:r>
              <a:rPr lang="en-US" dirty="0">
                <a:ln w="3175">
                  <a:noFill/>
                </a:ln>
                <a:solidFill>
                  <a:prstClr val="white">
                    <a:alpha val="99000"/>
                  </a:prstClr>
                </a:solidFill>
                <a:ea typeface="Segoe UI" pitchFamily="34" charset="0"/>
                <a:cs typeface="Segoe UI Light"/>
              </a:rPr>
              <a:t>PRIVACY</a:t>
            </a:r>
          </a:p>
        </p:txBody>
      </p:sp>
      <p:sp>
        <p:nvSpPr>
          <p:cNvPr id="12" name="Rectangle 11"/>
          <p:cNvSpPr/>
          <p:nvPr/>
        </p:nvSpPr>
        <p:spPr>
          <a:xfrm>
            <a:off x="4587516" y="1203330"/>
            <a:ext cx="1325179" cy="141064"/>
          </a:xfrm>
          <a:prstGeom prst="rect">
            <a:avLst/>
          </a:prstGeom>
        </p:spPr>
        <p:txBody>
          <a:bodyPr wrap="square" lIns="0" tIns="0" rIns="0" bIns="0">
            <a:spAutoFit/>
          </a:bodyPr>
          <a:lstStyle/>
          <a:p>
            <a:pPr defTabSz="479865">
              <a:lnSpc>
                <a:spcPts val="1050"/>
              </a:lnSpc>
              <a:spcBef>
                <a:spcPts val="315"/>
              </a:spcBef>
              <a:spcAft>
                <a:spcPts val="315"/>
              </a:spcAft>
            </a:pPr>
            <a:r>
              <a:rPr lang="en-US" dirty="0">
                <a:ln w="3175">
                  <a:noFill/>
                </a:ln>
                <a:solidFill>
                  <a:prstClr val="white">
                    <a:alpha val="99000"/>
                  </a:prstClr>
                </a:solidFill>
                <a:ea typeface="Segoe UI" pitchFamily="34" charset="0"/>
                <a:cs typeface="Segoe UI Light"/>
              </a:rPr>
              <a:t>RELIABILITY</a:t>
            </a:r>
          </a:p>
        </p:txBody>
      </p:sp>
      <p:sp>
        <p:nvSpPr>
          <p:cNvPr id="13" name="Rectangle 12"/>
          <p:cNvSpPr/>
          <p:nvPr/>
        </p:nvSpPr>
        <p:spPr>
          <a:xfrm>
            <a:off x="6680249" y="1203330"/>
            <a:ext cx="2116129" cy="141064"/>
          </a:xfrm>
          <a:prstGeom prst="rect">
            <a:avLst/>
          </a:prstGeom>
        </p:spPr>
        <p:txBody>
          <a:bodyPr wrap="square" lIns="0" tIns="0" rIns="0" bIns="0">
            <a:spAutoFit/>
          </a:bodyPr>
          <a:lstStyle/>
          <a:p>
            <a:pPr defTabSz="479865">
              <a:lnSpc>
                <a:spcPts val="1050"/>
              </a:lnSpc>
              <a:spcBef>
                <a:spcPts val="315"/>
              </a:spcBef>
              <a:spcAft>
                <a:spcPts val="315"/>
              </a:spcAft>
            </a:pPr>
            <a:r>
              <a:rPr lang="en-US" dirty="0">
                <a:ln w="3175">
                  <a:noFill/>
                </a:ln>
                <a:solidFill>
                  <a:prstClr val="white">
                    <a:alpha val="99000"/>
                  </a:prstClr>
                </a:solidFill>
                <a:ea typeface="Segoe UI" pitchFamily="34" charset="0"/>
                <a:cs typeface="Segoe UI Light"/>
              </a:rPr>
              <a:t>BUSINESS PRACTICES</a:t>
            </a:r>
          </a:p>
        </p:txBody>
      </p:sp>
      <p:sp>
        <p:nvSpPr>
          <p:cNvPr id="20" name="Rectangle 19"/>
          <p:cNvSpPr/>
          <p:nvPr/>
        </p:nvSpPr>
        <p:spPr>
          <a:xfrm>
            <a:off x="389438" y="1200152"/>
            <a:ext cx="1563419" cy="141064"/>
          </a:xfrm>
          <a:prstGeom prst="rect">
            <a:avLst/>
          </a:prstGeom>
        </p:spPr>
        <p:txBody>
          <a:bodyPr wrap="square" lIns="0" tIns="0" rIns="0" bIns="0">
            <a:spAutoFit/>
          </a:bodyPr>
          <a:lstStyle/>
          <a:p>
            <a:pPr defTabSz="479865">
              <a:lnSpc>
                <a:spcPts val="1050"/>
              </a:lnSpc>
              <a:spcBef>
                <a:spcPts val="315"/>
              </a:spcBef>
              <a:spcAft>
                <a:spcPts val="315"/>
              </a:spcAft>
            </a:pPr>
            <a:r>
              <a:rPr lang="en-US" dirty="0">
                <a:ln w="3175">
                  <a:noFill/>
                </a:ln>
                <a:solidFill>
                  <a:prstClr val="white">
                    <a:alpha val="99000"/>
                  </a:prstClr>
                </a:solidFill>
                <a:ea typeface="Segoe UI" pitchFamily="34" charset="0"/>
                <a:cs typeface="Segoe UI Light"/>
              </a:rPr>
              <a:t>SECURITY</a:t>
            </a:r>
          </a:p>
        </p:txBody>
      </p:sp>
      <p:sp>
        <p:nvSpPr>
          <p:cNvPr id="23" name="Rectangle 22"/>
          <p:cNvSpPr/>
          <p:nvPr/>
        </p:nvSpPr>
        <p:spPr>
          <a:xfrm>
            <a:off x="389438" y="2876555"/>
            <a:ext cx="1741762" cy="1281113"/>
          </a:xfrm>
          <a:prstGeom prst="rect">
            <a:avLst/>
          </a:prstGeom>
        </p:spPr>
        <p:txBody>
          <a:bodyPr wrap="square" lIns="0" tIns="34285" rIns="68568" bIns="34285">
            <a:spAutoFit/>
          </a:bodyPr>
          <a:lstStyle/>
          <a:p>
            <a:pPr marL="130944" lvl="2" indent="-128563" defTabSz="685721">
              <a:buFont typeface="Arial" pitchFamily="34" charset="0"/>
              <a:buChar char="•"/>
            </a:pPr>
            <a:r>
              <a:rPr lang="en-US" sz="1100" dirty="0">
                <a:solidFill>
                  <a:srgbClr val="FFFFFF"/>
                </a:solidFill>
              </a:rPr>
              <a:t>Secures against attacks</a:t>
            </a:r>
          </a:p>
          <a:p>
            <a:pPr marL="2381" lvl="2" defTabSz="685721"/>
            <a:endParaRPr lang="en-US" sz="1100" dirty="0">
              <a:solidFill>
                <a:srgbClr val="FFFFFF"/>
              </a:solidFill>
            </a:endParaRPr>
          </a:p>
          <a:p>
            <a:pPr marL="130944" lvl="2" indent="-128563" defTabSz="685721">
              <a:buFont typeface="Arial" pitchFamily="34" charset="0"/>
              <a:buChar char="•"/>
            </a:pPr>
            <a:r>
              <a:rPr lang="en-US" sz="1100" dirty="0">
                <a:solidFill>
                  <a:srgbClr val="FFFFFF"/>
                </a:solidFill>
              </a:rPr>
              <a:t>Protects confidentiality, integrity, and availability of data and systems</a:t>
            </a:r>
          </a:p>
          <a:p>
            <a:pPr marL="2381" lvl="2" defTabSz="685721"/>
            <a:endParaRPr lang="en-US" sz="1100" dirty="0">
              <a:solidFill>
                <a:srgbClr val="FFFFFF"/>
              </a:solidFill>
            </a:endParaRPr>
          </a:p>
          <a:p>
            <a:pPr marL="130944" lvl="2" indent="-128563" defTabSz="685721">
              <a:buFont typeface="Arial" pitchFamily="34" charset="0"/>
              <a:buChar char="•"/>
            </a:pPr>
            <a:r>
              <a:rPr lang="en-US" sz="1100" dirty="0">
                <a:solidFill>
                  <a:srgbClr val="FFFFFF"/>
                </a:solidFill>
              </a:rPr>
              <a:t>Helps manage risk</a:t>
            </a:r>
          </a:p>
        </p:txBody>
      </p:sp>
      <p:sp>
        <p:nvSpPr>
          <p:cNvPr id="24" name="Rectangle 23"/>
          <p:cNvSpPr/>
          <p:nvPr/>
        </p:nvSpPr>
        <p:spPr>
          <a:xfrm>
            <a:off x="2492210" y="2876555"/>
            <a:ext cx="2096381" cy="1454237"/>
          </a:xfrm>
          <a:prstGeom prst="rect">
            <a:avLst/>
          </a:prstGeom>
        </p:spPr>
        <p:txBody>
          <a:bodyPr wrap="square" lIns="0" tIns="34285" rIns="68568" bIns="34285">
            <a:spAutoFit/>
          </a:bodyPr>
          <a:lstStyle/>
          <a:p>
            <a:pPr marL="127374" lvl="2" indent="-124992" defTabSz="685721">
              <a:buFont typeface="Arial" pitchFamily="34" charset="0"/>
              <a:buChar char="•"/>
            </a:pPr>
            <a:r>
              <a:rPr lang="en-US" sz="1100" dirty="0">
                <a:solidFill>
                  <a:srgbClr val="FFFFFF"/>
                </a:solidFill>
              </a:rPr>
              <a:t>Protects from unwanted communication</a:t>
            </a:r>
          </a:p>
          <a:p>
            <a:pPr marL="2383" lvl="2" defTabSz="685721"/>
            <a:endParaRPr lang="en-US" sz="1100" dirty="0">
              <a:solidFill>
                <a:srgbClr val="FFFFFF"/>
              </a:solidFill>
            </a:endParaRPr>
          </a:p>
          <a:p>
            <a:pPr marL="127374" lvl="2" indent="-124992" defTabSz="685721">
              <a:buFont typeface="Arial" pitchFamily="34" charset="0"/>
              <a:buChar char="•"/>
            </a:pPr>
            <a:r>
              <a:rPr lang="en-US" sz="1100" dirty="0">
                <a:solidFill>
                  <a:srgbClr val="FFFFFF"/>
                </a:solidFill>
              </a:rPr>
              <a:t>User choice and control</a:t>
            </a:r>
          </a:p>
          <a:p>
            <a:pPr marL="2383" lvl="2" defTabSz="685721"/>
            <a:endParaRPr lang="en-US" sz="1100" dirty="0">
              <a:solidFill>
                <a:srgbClr val="FFFFFF"/>
              </a:solidFill>
            </a:endParaRPr>
          </a:p>
          <a:p>
            <a:pPr marL="127374" lvl="2" indent="-124992" defTabSz="685721">
              <a:buFont typeface="Arial" pitchFamily="34" charset="0"/>
              <a:buChar char="•"/>
            </a:pPr>
            <a:r>
              <a:rPr lang="en-US" sz="1100" dirty="0">
                <a:solidFill>
                  <a:srgbClr val="FFFFFF"/>
                </a:solidFill>
              </a:rPr>
              <a:t>Products, online services adhere to fair information principles</a:t>
            </a:r>
          </a:p>
        </p:txBody>
      </p:sp>
      <p:sp>
        <p:nvSpPr>
          <p:cNvPr id="25" name="Rectangle 24"/>
          <p:cNvSpPr/>
          <p:nvPr/>
        </p:nvSpPr>
        <p:spPr>
          <a:xfrm>
            <a:off x="4587511" y="2876555"/>
            <a:ext cx="2168413" cy="1627361"/>
          </a:xfrm>
          <a:prstGeom prst="rect">
            <a:avLst/>
          </a:prstGeom>
        </p:spPr>
        <p:txBody>
          <a:bodyPr wrap="square" lIns="0" tIns="34285" rIns="68568" bIns="34285">
            <a:spAutoFit/>
          </a:bodyPr>
          <a:lstStyle/>
          <a:p>
            <a:pPr marL="127374" lvl="2" indent="-124992" defTabSz="685721">
              <a:buFont typeface="Arial" pitchFamily="34" charset="0"/>
              <a:buChar char="•"/>
            </a:pPr>
            <a:r>
              <a:rPr lang="en-US" sz="1100" dirty="0">
                <a:solidFill>
                  <a:srgbClr val="FFFFFF"/>
                </a:solidFill>
              </a:rPr>
              <a:t>Dependable, available</a:t>
            </a:r>
          </a:p>
          <a:p>
            <a:pPr marL="2383" lvl="2" defTabSz="685721"/>
            <a:endParaRPr lang="en-US" sz="1100" dirty="0">
              <a:solidFill>
                <a:srgbClr val="FFFFFF"/>
              </a:solidFill>
            </a:endParaRPr>
          </a:p>
          <a:p>
            <a:pPr marL="127374" lvl="2" indent="-124992" defTabSz="685721">
              <a:buFont typeface="Arial" pitchFamily="34" charset="0"/>
              <a:buChar char="•"/>
            </a:pPr>
            <a:r>
              <a:rPr lang="en-US" sz="1100" dirty="0">
                <a:solidFill>
                  <a:srgbClr val="FFFFFF"/>
                </a:solidFill>
              </a:rPr>
              <a:t>Predictable, consistent, responsive service</a:t>
            </a:r>
          </a:p>
          <a:p>
            <a:pPr marL="127374" lvl="2" indent="-124992" defTabSz="685721">
              <a:buFont typeface="Arial" pitchFamily="34" charset="0"/>
              <a:buChar char="•"/>
            </a:pPr>
            <a:r>
              <a:rPr lang="en-US" sz="1100" dirty="0">
                <a:solidFill>
                  <a:srgbClr val="FFFFFF"/>
                </a:solidFill>
              </a:rPr>
              <a:t>Maintainable</a:t>
            </a:r>
          </a:p>
          <a:p>
            <a:pPr marL="2383" lvl="2" defTabSz="685721"/>
            <a:endParaRPr lang="en-US" sz="1100" dirty="0">
              <a:solidFill>
                <a:srgbClr val="FFFFFF"/>
              </a:solidFill>
            </a:endParaRPr>
          </a:p>
          <a:p>
            <a:pPr marL="127374" lvl="2" indent="-124992" defTabSz="685721">
              <a:buFont typeface="Arial" pitchFamily="34" charset="0"/>
              <a:buChar char="•"/>
            </a:pPr>
            <a:r>
              <a:rPr lang="en-US" sz="1100" dirty="0">
                <a:solidFill>
                  <a:srgbClr val="FFFFFF"/>
                </a:solidFill>
              </a:rPr>
              <a:t>Resilient, easily restored</a:t>
            </a:r>
          </a:p>
          <a:p>
            <a:pPr marL="127374" lvl="2" indent="-124992" defTabSz="685721">
              <a:buFont typeface="Arial" pitchFamily="34" charset="0"/>
              <a:buChar char="•"/>
            </a:pPr>
            <a:endParaRPr lang="en-US" sz="1100" dirty="0">
              <a:solidFill>
                <a:srgbClr val="FFFFFF"/>
              </a:solidFill>
            </a:endParaRPr>
          </a:p>
          <a:p>
            <a:pPr marL="127374" lvl="2" indent="-124992" defTabSz="685721">
              <a:buFont typeface="Arial" pitchFamily="34" charset="0"/>
              <a:buChar char="•"/>
            </a:pPr>
            <a:r>
              <a:rPr lang="en-US" sz="1100" dirty="0">
                <a:solidFill>
                  <a:srgbClr val="FFFFFF"/>
                </a:solidFill>
              </a:rPr>
              <a:t>Proven, ready</a:t>
            </a:r>
          </a:p>
        </p:txBody>
      </p:sp>
      <p:sp>
        <p:nvSpPr>
          <p:cNvPr id="26" name="Rectangle 25"/>
          <p:cNvSpPr/>
          <p:nvPr/>
        </p:nvSpPr>
        <p:spPr>
          <a:xfrm>
            <a:off x="6680244" y="2876555"/>
            <a:ext cx="2133718" cy="1454237"/>
          </a:xfrm>
          <a:prstGeom prst="rect">
            <a:avLst/>
          </a:prstGeom>
        </p:spPr>
        <p:txBody>
          <a:bodyPr wrap="square" lIns="0" tIns="34285" rIns="68568" bIns="34285">
            <a:spAutoFit/>
          </a:bodyPr>
          <a:lstStyle/>
          <a:p>
            <a:pPr marL="127374" lvl="2" indent="-124992" defTabSz="685721">
              <a:buFont typeface="Arial" pitchFamily="34" charset="0"/>
              <a:buChar char="•"/>
            </a:pPr>
            <a:r>
              <a:rPr lang="en-US" sz="1100" dirty="0">
                <a:solidFill>
                  <a:srgbClr val="FFFFFF"/>
                </a:solidFill>
              </a:rPr>
              <a:t>Commitment to </a:t>
            </a:r>
            <a:br>
              <a:rPr lang="en-US" sz="1100" dirty="0">
                <a:solidFill>
                  <a:srgbClr val="FFFFFF"/>
                </a:solidFill>
              </a:rPr>
            </a:br>
            <a:r>
              <a:rPr lang="en-US" sz="1100" dirty="0">
                <a:solidFill>
                  <a:srgbClr val="FFFFFF"/>
                </a:solidFill>
              </a:rPr>
              <a:t>customer-centric interoperability</a:t>
            </a:r>
          </a:p>
          <a:p>
            <a:pPr marL="2383" lvl="2" defTabSz="685721"/>
            <a:endParaRPr lang="en-US" sz="1100" dirty="0">
              <a:solidFill>
                <a:srgbClr val="FFFFFF"/>
              </a:solidFill>
            </a:endParaRPr>
          </a:p>
          <a:p>
            <a:pPr marL="127374" lvl="2" indent="-124992" defTabSz="685721">
              <a:buFont typeface="Arial" pitchFamily="34" charset="0"/>
              <a:buChar char="•"/>
            </a:pPr>
            <a:r>
              <a:rPr lang="en-US" sz="1100" dirty="0">
                <a:solidFill>
                  <a:srgbClr val="FFFFFF"/>
                </a:solidFill>
              </a:rPr>
              <a:t>Recognized industry leader, world-class partner</a:t>
            </a:r>
          </a:p>
          <a:p>
            <a:pPr marL="2383" lvl="2" defTabSz="685721"/>
            <a:endParaRPr lang="en-US" sz="1100" dirty="0">
              <a:solidFill>
                <a:srgbClr val="FFFFFF"/>
              </a:solidFill>
            </a:endParaRPr>
          </a:p>
          <a:p>
            <a:pPr marL="127374" lvl="2" indent="-124992" defTabSz="685721">
              <a:buFont typeface="Arial" pitchFamily="34" charset="0"/>
              <a:buChar char="•"/>
            </a:pPr>
            <a:r>
              <a:rPr lang="en-US" sz="1100" dirty="0">
                <a:solidFill>
                  <a:srgbClr val="FFFFFF"/>
                </a:solidFill>
              </a:rPr>
              <a:t>Open, Transparent</a:t>
            </a:r>
          </a:p>
        </p:txBody>
      </p:sp>
      <p:sp>
        <p:nvSpPr>
          <p:cNvPr id="15"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6"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7"/>
              </a:rPr>
              <a:t>www.rapidbbs.cn</a:t>
            </a:r>
            <a:endParaRPr lang="zh-CN" altLang="en-US" sz="1200" b="0">
              <a:latin typeface="Arial" charset="0"/>
              <a:ea typeface="ＭＳ Ｐゴシック" pitchFamily="34" charset="-128"/>
            </a:endParaRPr>
          </a:p>
        </p:txBody>
      </p:sp>
      <p:pic>
        <p:nvPicPr>
          <p:cNvPr id="17" name="Picture 2">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33972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3" cstate="screen">
            <a:extLst>
              <a:ext uri="{28A0092B-C50C-407E-A947-70E740481C1C}">
                <a14:useLocalDpi xmlns:a14="http://schemas.microsoft.com/office/drawing/2010/main"/>
              </a:ext>
            </a:extLst>
          </a:blip>
          <a:srcRect l="16394" r="18693" b="2241"/>
          <a:stretch/>
        </p:blipFill>
        <p:spPr>
          <a:xfrm>
            <a:off x="7187550" y="2819417"/>
            <a:ext cx="1410051" cy="1409685"/>
          </a:xfrm>
          <a:prstGeom prst="rect">
            <a:avLst/>
          </a:prstGeom>
        </p:spPr>
      </p:pic>
      <p:pic>
        <p:nvPicPr>
          <p:cNvPr id="4" name="Picture 3"/>
          <p:cNvPicPr>
            <a:picLocks noChangeAspect="1"/>
          </p:cNvPicPr>
          <p:nvPr/>
        </p:nvPicPr>
        <p:blipFill rotWithShape="1">
          <a:blip r:embed="rId4" cstate="screen">
            <a:extLst>
              <a:ext uri="{28A0092B-C50C-407E-A947-70E740481C1C}">
                <a14:useLocalDpi xmlns:a14="http://schemas.microsoft.com/office/drawing/2010/main"/>
              </a:ext>
            </a:extLst>
          </a:blip>
          <a:srcRect l="18163" r="18675" b="5905"/>
          <a:stretch/>
        </p:blipFill>
        <p:spPr>
          <a:xfrm>
            <a:off x="5693506" y="1328519"/>
            <a:ext cx="1416889" cy="1406831"/>
          </a:xfrm>
          <a:prstGeom prst="rect">
            <a:avLst/>
          </a:prstGeom>
        </p:spPr>
      </p:pic>
      <p:sp>
        <p:nvSpPr>
          <p:cNvPr id="2" name="Title 1"/>
          <p:cNvSpPr>
            <a:spLocks noGrp="1"/>
          </p:cNvSpPr>
          <p:nvPr>
            <p:ph type="title"/>
          </p:nvPr>
        </p:nvSpPr>
        <p:spPr>
          <a:xfrm>
            <a:off x="341804" y="317026"/>
            <a:ext cx="8346073" cy="465512"/>
          </a:xfrm>
        </p:spPr>
        <p:txBody>
          <a:bodyPr/>
          <a:lstStyle/>
          <a:p>
            <a:r>
              <a:rPr lang="en-US" dirty="0" smtClean="0"/>
              <a:t>RISK MANAGEMENT PROCESS</a:t>
            </a:r>
            <a:endParaRPr lang="en-US" dirty="0"/>
          </a:p>
        </p:txBody>
      </p:sp>
      <p:sp>
        <p:nvSpPr>
          <p:cNvPr id="3" name="Text Placeholder 2"/>
          <p:cNvSpPr>
            <a:spLocks noGrp="1"/>
          </p:cNvSpPr>
          <p:nvPr>
            <p:ph type="body" sz="quarter" idx="10"/>
          </p:nvPr>
        </p:nvSpPr>
        <p:spPr>
          <a:xfrm>
            <a:off x="362930" y="1328238"/>
            <a:ext cx="5316334" cy="3134704"/>
          </a:xfrm>
        </p:spPr>
        <p:txBody>
          <a:bodyPr/>
          <a:lstStyle/>
          <a:p>
            <a:pPr indent="3573">
              <a:spcBef>
                <a:spcPts val="0"/>
              </a:spcBef>
              <a:spcAft>
                <a:spcPts val="1800"/>
              </a:spcAft>
            </a:pPr>
            <a:r>
              <a:rPr lang="en-US" sz="2100" b="1" dirty="0">
                <a:solidFill>
                  <a:srgbClr val="FFFFFF"/>
                </a:solidFill>
                <a:cs typeface="Segoe Light"/>
              </a:rPr>
              <a:t>IDENTIFY</a:t>
            </a:r>
            <a:r>
              <a:rPr lang="en-US" sz="2100" dirty="0">
                <a:solidFill>
                  <a:srgbClr val="FFFFFF"/>
                </a:solidFill>
                <a:latin typeface="+mn-lt"/>
              </a:rPr>
              <a:t> </a:t>
            </a:r>
            <a:r>
              <a:rPr lang="en-US" sz="1800" dirty="0">
                <a:solidFill>
                  <a:srgbClr val="FFFFFF"/>
                </a:solidFill>
                <a:latin typeface="+mn-lt"/>
              </a:rPr>
              <a:t>threat &amp; vulnerabilities </a:t>
            </a:r>
          </a:p>
          <a:p>
            <a:pPr indent="3573">
              <a:spcBef>
                <a:spcPts val="0"/>
              </a:spcBef>
              <a:spcAft>
                <a:spcPts val="1800"/>
              </a:spcAft>
            </a:pPr>
            <a:r>
              <a:rPr lang="en-US" sz="2100" b="1" dirty="0">
                <a:solidFill>
                  <a:srgbClr val="FFFFFF"/>
                </a:solidFill>
              </a:rPr>
              <a:t>CALCULATE</a:t>
            </a:r>
            <a:r>
              <a:rPr lang="en-US" sz="2100" dirty="0">
                <a:solidFill>
                  <a:srgbClr val="FFFFFF"/>
                </a:solidFill>
              </a:rPr>
              <a:t> </a:t>
            </a:r>
            <a:r>
              <a:rPr lang="en-US" sz="1800" dirty="0">
                <a:solidFill>
                  <a:srgbClr val="FFFFFF"/>
                </a:solidFill>
                <a:latin typeface="+mn-lt"/>
              </a:rPr>
              <a:t>risks</a:t>
            </a:r>
          </a:p>
          <a:p>
            <a:pPr indent="3573">
              <a:spcBef>
                <a:spcPts val="0"/>
              </a:spcBef>
              <a:spcAft>
                <a:spcPts val="1800"/>
              </a:spcAft>
            </a:pPr>
            <a:r>
              <a:rPr lang="en-US" sz="2100" b="1" dirty="0">
                <a:solidFill>
                  <a:srgbClr val="FFFFFF"/>
                </a:solidFill>
              </a:rPr>
              <a:t>REPORT</a:t>
            </a:r>
            <a:r>
              <a:rPr lang="en-US" sz="2100" dirty="0">
                <a:solidFill>
                  <a:srgbClr val="FFFFFF"/>
                </a:solidFill>
              </a:rPr>
              <a:t> </a:t>
            </a:r>
            <a:r>
              <a:rPr lang="en-US" sz="1800" dirty="0">
                <a:solidFill>
                  <a:srgbClr val="FFFFFF"/>
                </a:solidFill>
                <a:latin typeface="+mn-lt"/>
              </a:rPr>
              <a:t>risks across Microsoft cloud environment</a:t>
            </a:r>
          </a:p>
          <a:p>
            <a:pPr indent="3573">
              <a:spcBef>
                <a:spcPts val="0"/>
              </a:spcBef>
              <a:spcAft>
                <a:spcPts val="1800"/>
              </a:spcAft>
            </a:pPr>
            <a:r>
              <a:rPr lang="en-US" sz="2100" b="1" dirty="0">
                <a:solidFill>
                  <a:srgbClr val="FFFFFF"/>
                </a:solidFill>
              </a:rPr>
              <a:t>ADDRESS</a:t>
            </a:r>
            <a:r>
              <a:rPr lang="en-US" sz="2100" dirty="0">
                <a:solidFill>
                  <a:srgbClr val="FFFFFF"/>
                </a:solidFill>
              </a:rPr>
              <a:t> </a:t>
            </a:r>
            <a:r>
              <a:rPr lang="en-US" sz="1700" dirty="0">
                <a:solidFill>
                  <a:srgbClr val="FFFFFF"/>
                </a:solidFill>
                <a:latin typeface="+mn-lt"/>
              </a:rPr>
              <a:t>risks based on impact assessment &amp; business case</a:t>
            </a:r>
          </a:p>
          <a:p>
            <a:pPr indent="3573">
              <a:spcBef>
                <a:spcPts val="0"/>
              </a:spcBef>
              <a:spcAft>
                <a:spcPts val="1800"/>
              </a:spcAft>
            </a:pPr>
            <a:r>
              <a:rPr lang="en-US" sz="2100" b="1" dirty="0">
                <a:solidFill>
                  <a:srgbClr val="FFFFFF"/>
                </a:solidFill>
              </a:rPr>
              <a:t>TEST</a:t>
            </a:r>
            <a:r>
              <a:rPr lang="en-US" sz="2100" dirty="0">
                <a:solidFill>
                  <a:srgbClr val="FFFFFF"/>
                </a:solidFill>
              </a:rPr>
              <a:t> </a:t>
            </a:r>
            <a:r>
              <a:rPr lang="en-US" sz="1800" dirty="0">
                <a:solidFill>
                  <a:srgbClr val="FFFFFF"/>
                </a:solidFill>
                <a:latin typeface="+mn-lt"/>
              </a:rPr>
              <a:t>remediation effectiveness &amp; residual risks</a:t>
            </a:r>
          </a:p>
          <a:p>
            <a:pPr indent="3573">
              <a:spcBef>
                <a:spcPts val="0"/>
              </a:spcBef>
              <a:spcAft>
                <a:spcPts val="1800"/>
              </a:spcAft>
            </a:pPr>
            <a:r>
              <a:rPr lang="en-US" sz="2100" b="1" dirty="0">
                <a:solidFill>
                  <a:srgbClr val="FFFFFF"/>
                </a:solidFill>
              </a:rPr>
              <a:t>MANAGE</a:t>
            </a:r>
            <a:r>
              <a:rPr lang="en-US" sz="2100" dirty="0">
                <a:solidFill>
                  <a:srgbClr val="FFFFFF"/>
                </a:solidFill>
              </a:rPr>
              <a:t> </a:t>
            </a:r>
            <a:r>
              <a:rPr lang="en-US" sz="1800" dirty="0">
                <a:solidFill>
                  <a:srgbClr val="FFFFFF"/>
                </a:solidFill>
                <a:latin typeface="+mn-lt"/>
              </a:rPr>
              <a:t>risks on an ongoing basis</a:t>
            </a:r>
          </a:p>
        </p:txBody>
      </p:sp>
      <p:sp>
        <p:nvSpPr>
          <p:cNvPr id="10" name="Rectangle 9"/>
          <p:cNvSpPr/>
          <p:nvPr/>
        </p:nvSpPr>
        <p:spPr bwMode="auto">
          <a:xfrm>
            <a:off x="5700341" y="2819417"/>
            <a:ext cx="1410051" cy="1409685"/>
          </a:xfrm>
          <a:prstGeom prst="rect">
            <a:avLst/>
          </a:prstGeom>
          <a:solidFill>
            <a:srgbClr val="FF8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4" tIns="34288" rIns="34288" bIns="68574" numCol="1" spcCol="0" rtlCol="0" fromWordArt="0" anchor="b" anchorCtr="0" forceAA="0" compatLnSpc="1">
            <a:prstTxWarp prst="textNoShape">
              <a:avLst/>
            </a:prstTxWarp>
            <a:noAutofit/>
          </a:bodyPr>
          <a:lstStyle/>
          <a:p>
            <a:pPr defTabSz="685523" fontAlgn="base">
              <a:spcBef>
                <a:spcPct val="0"/>
              </a:spcBef>
              <a:spcAft>
                <a:spcPct val="0"/>
              </a:spcAft>
            </a:pPr>
            <a:endParaRPr lang="en-US" spc="-38" dirty="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7187550" y="1328516"/>
            <a:ext cx="1410051" cy="1409685"/>
          </a:xfrm>
          <a:prstGeom prst="rect">
            <a:avLst/>
          </a:prstGeom>
          <a:solidFill>
            <a:srgbClr val="FF8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4" tIns="34288" rIns="34288" bIns="68574" numCol="1" spcCol="0" rtlCol="0" fromWordArt="0" anchor="b" anchorCtr="0" forceAA="0" compatLnSpc="1">
            <a:prstTxWarp prst="textNoShape">
              <a:avLst/>
            </a:prstTxWarp>
            <a:noAutofit/>
          </a:bodyPr>
          <a:lstStyle/>
          <a:p>
            <a:pPr defTabSz="685523" fontAlgn="base">
              <a:spcBef>
                <a:spcPct val="0"/>
              </a:spcBef>
              <a:spcAft>
                <a:spcPct val="0"/>
              </a:spcAft>
            </a:pPr>
            <a:endParaRPr lang="en-US" spc="-38" dirty="0">
              <a:gradFill>
                <a:gsLst>
                  <a:gs pos="0">
                    <a:srgbClr val="FFFFFF"/>
                  </a:gs>
                  <a:gs pos="100000">
                    <a:srgbClr val="FFFFFF"/>
                  </a:gs>
                </a:gsLst>
                <a:lin ang="5400000" scaled="0"/>
              </a:gradFill>
              <a:ea typeface="Segoe UI" pitchFamily="34" charset="0"/>
              <a:cs typeface="Segoe UI" pitchFamily="34" charset="0"/>
            </a:endParaRPr>
          </a:p>
        </p:txBody>
      </p:sp>
      <p:grpSp>
        <p:nvGrpSpPr>
          <p:cNvPr id="16" name="Group 15"/>
          <p:cNvGrpSpPr/>
          <p:nvPr/>
        </p:nvGrpSpPr>
        <p:grpSpPr bwMode="black">
          <a:xfrm>
            <a:off x="6065848" y="3142330"/>
            <a:ext cx="679032" cy="763865"/>
            <a:chOff x="1752600" y="4267200"/>
            <a:chExt cx="1157286" cy="1302545"/>
          </a:xfrm>
        </p:grpSpPr>
        <p:sp>
          <p:nvSpPr>
            <p:cNvPr id="17" name="Freeform 219"/>
            <p:cNvSpPr>
              <a:spLocks/>
            </p:cNvSpPr>
            <p:nvPr/>
          </p:nvSpPr>
          <p:spPr bwMode="black">
            <a:xfrm>
              <a:off x="2573475" y="4995891"/>
              <a:ext cx="330824" cy="573854"/>
            </a:xfrm>
            <a:custGeom>
              <a:avLst/>
              <a:gdLst>
                <a:gd name="T0" fmla="*/ 157 w 351"/>
                <a:gd name="T1" fmla="*/ 2 h 609"/>
                <a:gd name="T2" fmla="*/ 155 w 351"/>
                <a:gd name="T3" fmla="*/ 104 h 609"/>
                <a:gd name="T4" fmla="*/ 180 w 351"/>
                <a:gd name="T5" fmla="*/ 99 h 609"/>
                <a:gd name="T6" fmla="*/ 231 w 351"/>
                <a:gd name="T7" fmla="*/ 121 h 609"/>
                <a:gd name="T8" fmla="*/ 252 w 351"/>
                <a:gd name="T9" fmla="*/ 174 h 609"/>
                <a:gd name="T10" fmla="*/ 251 w 351"/>
                <a:gd name="T11" fmla="*/ 212 h 609"/>
                <a:gd name="T12" fmla="*/ 251 w 351"/>
                <a:gd name="T13" fmla="*/ 212 h 609"/>
                <a:gd name="T14" fmla="*/ 247 w 351"/>
                <a:gd name="T15" fmla="*/ 387 h 609"/>
                <a:gd name="T16" fmla="*/ 247 w 351"/>
                <a:gd name="T17" fmla="*/ 387 h 609"/>
                <a:gd name="T18" fmla="*/ 246 w 351"/>
                <a:gd name="T19" fmla="*/ 438 h 609"/>
                <a:gd name="T20" fmla="*/ 223 w 351"/>
                <a:gd name="T21" fmla="*/ 489 h 609"/>
                <a:gd name="T22" fmla="*/ 171 w 351"/>
                <a:gd name="T23" fmla="*/ 510 h 609"/>
                <a:gd name="T24" fmla="*/ 120 w 351"/>
                <a:gd name="T25" fmla="*/ 487 h 609"/>
                <a:gd name="T26" fmla="*/ 100 w 351"/>
                <a:gd name="T27" fmla="*/ 435 h 609"/>
                <a:gd name="T28" fmla="*/ 101 w 351"/>
                <a:gd name="T29" fmla="*/ 395 h 609"/>
                <a:gd name="T30" fmla="*/ 4 w 351"/>
                <a:gd name="T31" fmla="*/ 311 h 609"/>
                <a:gd name="T32" fmla="*/ 1 w 351"/>
                <a:gd name="T33" fmla="*/ 433 h 609"/>
                <a:gd name="T34" fmla="*/ 49 w 351"/>
                <a:gd name="T35" fmla="*/ 555 h 609"/>
                <a:gd name="T36" fmla="*/ 169 w 351"/>
                <a:gd name="T37" fmla="*/ 608 h 609"/>
                <a:gd name="T38" fmla="*/ 292 w 351"/>
                <a:gd name="T39" fmla="*/ 561 h 609"/>
                <a:gd name="T40" fmla="*/ 292 w 351"/>
                <a:gd name="T41" fmla="*/ 561 h 609"/>
                <a:gd name="T42" fmla="*/ 345 w 351"/>
                <a:gd name="T43" fmla="*/ 441 h 609"/>
                <a:gd name="T44" fmla="*/ 350 w 351"/>
                <a:gd name="T45" fmla="*/ 176 h 609"/>
                <a:gd name="T46" fmla="*/ 303 w 351"/>
                <a:gd name="T47" fmla="*/ 53 h 609"/>
                <a:gd name="T48" fmla="*/ 183 w 351"/>
                <a:gd name="T49" fmla="*/ 0 h 609"/>
                <a:gd name="T50" fmla="*/ 157 w 351"/>
                <a:gd name="T51" fmla="*/ 2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1" h="609">
                  <a:moveTo>
                    <a:pt x="157" y="2"/>
                  </a:moveTo>
                  <a:cubicBezTo>
                    <a:pt x="155" y="104"/>
                    <a:pt x="155" y="104"/>
                    <a:pt x="155" y="104"/>
                  </a:cubicBezTo>
                  <a:cubicBezTo>
                    <a:pt x="163" y="101"/>
                    <a:pt x="171" y="99"/>
                    <a:pt x="180" y="99"/>
                  </a:cubicBezTo>
                  <a:cubicBezTo>
                    <a:pt x="201" y="99"/>
                    <a:pt x="218" y="108"/>
                    <a:pt x="231" y="121"/>
                  </a:cubicBezTo>
                  <a:cubicBezTo>
                    <a:pt x="244" y="135"/>
                    <a:pt x="252" y="153"/>
                    <a:pt x="252" y="174"/>
                  </a:cubicBezTo>
                  <a:cubicBezTo>
                    <a:pt x="251" y="212"/>
                    <a:pt x="251" y="212"/>
                    <a:pt x="251" y="212"/>
                  </a:cubicBezTo>
                  <a:cubicBezTo>
                    <a:pt x="251" y="212"/>
                    <a:pt x="251" y="212"/>
                    <a:pt x="251" y="212"/>
                  </a:cubicBezTo>
                  <a:cubicBezTo>
                    <a:pt x="247" y="387"/>
                    <a:pt x="247" y="387"/>
                    <a:pt x="247" y="387"/>
                  </a:cubicBezTo>
                  <a:cubicBezTo>
                    <a:pt x="247" y="387"/>
                    <a:pt x="247" y="387"/>
                    <a:pt x="247" y="387"/>
                  </a:cubicBezTo>
                  <a:cubicBezTo>
                    <a:pt x="246" y="438"/>
                    <a:pt x="246" y="438"/>
                    <a:pt x="246" y="438"/>
                  </a:cubicBezTo>
                  <a:cubicBezTo>
                    <a:pt x="245" y="459"/>
                    <a:pt x="237" y="476"/>
                    <a:pt x="223" y="489"/>
                  </a:cubicBezTo>
                  <a:cubicBezTo>
                    <a:pt x="210" y="502"/>
                    <a:pt x="191" y="510"/>
                    <a:pt x="171" y="510"/>
                  </a:cubicBezTo>
                  <a:cubicBezTo>
                    <a:pt x="151" y="509"/>
                    <a:pt x="133" y="501"/>
                    <a:pt x="120" y="487"/>
                  </a:cubicBezTo>
                  <a:cubicBezTo>
                    <a:pt x="107" y="474"/>
                    <a:pt x="99" y="455"/>
                    <a:pt x="100" y="435"/>
                  </a:cubicBezTo>
                  <a:cubicBezTo>
                    <a:pt x="101" y="395"/>
                    <a:pt x="101" y="395"/>
                    <a:pt x="101" y="395"/>
                  </a:cubicBezTo>
                  <a:cubicBezTo>
                    <a:pt x="42" y="375"/>
                    <a:pt x="16" y="338"/>
                    <a:pt x="4" y="311"/>
                  </a:cubicBezTo>
                  <a:cubicBezTo>
                    <a:pt x="1" y="433"/>
                    <a:pt x="1" y="433"/>
                    <a:pt x="1" y="433"/>
                  </a:cubicBezTo>
                  <a:cubicBezTo>
                    <a:pt x="0" y="480"/>
                    <a:pt x="18" y="524"/>
                    <a:pt x="49" y="555"/>
                  </a:cubicBezTo>
                  <a:cubicBezTo>
                    <a:pt x="79" y="587"/>
                    <a:pt x="122" y="607"/>
                    <a:pt x="169" y="608"/>
                  </a:cubicBezTo>
                  <a:cubicBezTo>
                    <a:pt x="216" y="609"/>
                    <a:pt x="260" y="591"/>
                    <a:pt x="292" y="561"/>
                  </a:cubicBezTo>
                  <a:cubicBezTo>
                    <a:pt x="292" y="561"/>
                    <a:pt x="292" y="561"/>
                    <a:pt x="292" y="561"/>
                  </a:cubicBezTo>
                  <a:cubicBezTo>
                    <a:pt x="323" y="530"/>
                    <a:pt x="343" y="488"/>
                    <a:pt x="345" y="441"/>
                  </a:cubicBezTo>
                  <a:cubicBezTo>
                    <a:pt x="350" y="176"/>
                    <a:pt x="350" y="176"/>
                    <a:pt x="350" y="176"/>
                  </a:cubicBezTo>
                  <a:cubicBezTo>
                    <a:pt x="351" y="128"/>
                    <a:pt x="333" y="85"/>
                    <a:pt x="303" y="53"/>
                  </a:cubicBezTo>
                  <a:cubicBezTo>
                    <a:pt x="273" y="22"/>
                    <a:pt x="230" y="1"/>
                    <a:pt x="183" y="0"/>
                  </a:cubicBezTo>
                  <a:cubicBezTo>
                    <a:pt x="174" y="0"/>
                    <a:pt x="165" y="1"/>
                    <a:pt x="157"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21"/>
              <a:endParaRPr lang="en-US" sz="1200">
                <a:solidFill>
                  <a:srgbClr val="FFFFFF"/>
                </a:solidFill>
              </a:endParaRPr>
            </a:p>
          </p:txBody>
        </p:sp>
        <p:sp>
          <p:nvSpPr>
            <p:cNvPr id="18" name="Freeform 220"/>
            <p:cNvSpPr>
              <a:spLocks/>
            </p:cNvSpPr>
            <p:nvPr/>
          </p:nvSpPr>
          <p:spPr bwMode="black">
            <a:xfrm>
              <a:off x="2579062" y="4756453"/>
              <a:ext cx="330824" cy="573854"/>
            </a:xfrm>
            <a:custGeom>
              <a:avLst/>
              <a:gdLst>
                <a:gd name="T0" fmla="*/ 182 w 351"/>
                <a:gd name="T1" fmla="*/ 1 h 609"/>
                <a:gd name="T2" fmla="*/ 60 w 351"/>
                <a:gd name="T3" fmla="*/ 48 h 609"/>
                <a:gd name="T4" fmla="*/ 60 w 351"/>
                <a:gd name="T5" fmla="*/ 49 h 609"/>
                <a:gd name="T6" fmla="*/ 7 w 351"/>
                <a:gd name="T7" fmla="*/ 169 h 609"/>
                <a:gd name="T8" fmla="*/ 1 w 351"/>
                <a:gd name="T9" fmla="*/ 433 h 609"/>
                <a:gd name="T10" fmla="*/ 48 w 351"/>
                <a:gd name="T11" fmla="*/ 556 h 609"/>
                <a:gd name="T12" fmla="*/ 169 w 351"/>
                <a:gd name="T13" fmla="*/ 609 h 609"/>
                <a:gd name="T14" fmla="*/ 194 w 351"/>
                <a:gd name="T15" fmla="*/ 607 h 609"/>
                <a:gd name="T16" fmla="*/ 197 w 351"/>
                <a:gd name="T17" fmla="*/ 505 h 609"/>
                <a:gd name="T18" fmla="*/ 171 w 351"/>
                <a:gd name="T19" fmla="*/ 510 h 609"/>
                <a:gd name="T20" fmla="*/ 120 w 351"/>
                <a:gd name="T21" fmla="*/ 488 h 609"/>
                <a:gd name="T22" fmla="*/ 99 w 351"/>
                <a:gd name="T23" fmla="*/ 436 h 609"/>
                <a:gd name="T24" fmla="*/ 104 w 351"/>
                <a:gd name="T25" fmla="*/ 227 h 609"/>
                <a:gd name="T26" fmla="*/ 104 w 351"/>
                <a:gd name="T27" fmla="*/ 220 h 609"/>
                <a:gd name="T28" fmla="*/ 105 w 351"/>
                <a:gd name="T29" fmla="*/ 171 h 609"/>
                <a:gd name="T30" fmla="*/ 128 w 351"/>
                <a:gd name="T31" fmla="*/ 120 h 609"/>
                <a:gd name="T32" fmla="*/ 180 w 351"/>
                <a:gd name="T33" fmla="*/ 99 h 609"/>
                <a:gd name="T34" fmla="*/ 231 w 351"/>
                <a:gd name="T35" fmla="*/ 122 h 609"/>
                <a:gd name="T36" fmla="*/ 251 w 351"/>
                <a:gd name="T37" fmla="*/ 174 h 609"/>
                <a:gd name="T38" fmla="*/ 250 w 351"/>
                <a:gd name="T39" fmla="*/ 214 h 609"/>
                <a:gd name="T40" fmla="*/ 347 w 351"/>
                <a:gd name="T41" fmla="*/ 299 h 609"/>
                <a:gd name="T42" fmla="*/ 350 w 351"/>
                <a:gd name="T43" fmla="*/ 176 h 609"/>
                <a:gd name="T44" fmla="*/ 302 w 351"/>
                <a:gd name="T45" fmla="*/ 54 h 609"/>
                <a:gd name="T46" fmla="*/ 182 w 351"/>
                <a:gd name="T47" fmla="*/ 1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1" h="609">
                  <a:moveTo>
                    <a:pt x="182" y="1"/>
                  </a:moveTo>
                  <a:cubicBezTo>
                    <a:pt x="135" y="0"/>
                    <a:pt x="91" y="18"/>
                    <a:pt x="60" y="48"/>
                  </a:cubicBezTo>
                  <a:cubicBezTo>
                    <a:pt x="60" y="48"/>
                    <a:pt x="60" y="49"/>
                    <a:pt x="60" y="49"/>
                  </a:cubicBezTo>
                  <a:cubicBezTo>
                    <a:pt x="28" y="79"/>
                    <a:pt x="8" y="122"/>
                    <a:pt x="7" y="169"/>
                  </a:cubicBezTo>
                  <a:cubicBezTo>
                    <a:pt x="1" y="433"/>
                    <a:pt x="1" y="433"/>
                    <a:pt x="1" y="433"/>
                  </a:cubicBezTo>
                  <a:cubicBezTo>
                    <a:pt x="0" y="481"/>
                    <a:pt x="18" y="524"/>
                    <a:pt x="48" y="556"/>
                  </a:cubicBezTo>
                  <a:cubicBezTo>
                    <a:pt x="79" y="588"/>
                    <a:pt x="121" y="608"/>
                    <a:pt x="169" y="609"/>
                  </a:cubicBezTo>
                  <a:cubicBezTo>
                    <a:pt x="177" y="609"/>
                    <a:pt x="186" y="608"/>
                    <a:pt x="194" y="607"/>
                  </a:cubicBezTo>
                  <a:cubicBezTo>
                    <a:pt x="197" y="505"/>
                    <a:pt x="197" y="505"/>
                    <a:pt x="197" y="505"/>
                  </a:cubicBezTo>
                  <a:cubicBezTo>
                    <a:pt x="189" y="508"/>
                    <a:pt x="180" y="510"/>
                    <a:pt x="171" y="510"/>
                  </a:cubicBezTo>
                  <a:cubicBezTo>
                    <a:pt x="151" y="510"/>
                    <a:pt x="133" y="501"/>
                    <a:pt x="120" y="488"/>
                  </a:cubicBezTo>
                  <a:cubicBezTo>
                    <a:pt x="107" y="474"/>
                    <a:pt x="99" y="456"/>
                    <a:pt x="99" y="436"/>
                  </a:cubicBezTo>
                  <a:cubicBezTo>
                    <a:pt x="104" y="227"/>
                    <a:pt x="104" y="227"/>
                    <a:pt x="104" y="227"/>
                  </a:cubicBezTo>
                  <a:cubicBezTo>
                    <a:pt x="104" y="220"/>
                    <a:pt x="104" y="220"/>
                    <a:pt x="104" y="220"/>
                  </a:cubicBezTo>
                  <a:cubicBezTo>
                    <a:pt x="105" y="171"/>
                    <a:pt x="105" y="171"/>
                    <a:pt x="105" y="171"/>
                  </a:cubicBezTo>
                  <a:cubicBezTo>
                    <a:pt x="106" y="151"/>
                    <a:pt x="114" y="133"/>
                    <a:pt x="128" y="120"/>
                  </a:cubicBezTo>
                  <a:cubicBezTo>
                    <a:pt x="142" y="107"/>
                    <a:pt x="160" y="99"/>
                    <a:pt x="180" y="99"/>
                  </a:cubicBezTo>
                  <a:cubicBezTo>
                    <a:pt x="200" y="100"/>
                    <a:pt x="218" y="108"/>
                    <a:pt x="231" y="122"/>
                  </a:cubicBezTo>
                  <a:cubicBezTo>
                    <a:pt x="244" y="136"/>
                    <a:pt x="252" y="154"/>
                    <a:pt x="251" y="174"/>
                  </a:cubicBezTo>
                  <a:cubicBezTo>
                    <a:pt x="250" y="214"/>
                    <a:pt x="250" y="214"/>
                    <a:pt x="250" y="214"/>
                  </a:cubicBezTo>
                  <a:cubicBezTo>
                    <a:pt x="309" y="234"/>
                    <a:pt x="335" y="271"/>
                    <a:pt x="347" y="299"/>
                  </a:cubicBezTo>
                  <a:cubicBezTo>
                    <a:pt x="350" y="176"/>
                    <a:pt x="350" y="176"/>
                    <a:pt x="350" y="176"/>
                  </a:cubicBezTo>
                  <a:cubicBezTo>
                    <a:pt x="351" y="129"/>
                    <a:pt x="333" y="85"/>
                    <a:pt x="302" y="54"/>
                  </a:cubicBezTo>
                  <a:cubicBezTo>
                    <a:pt x="272" y="22"/>
                    <a:pt x="229" y="2"/>
                    <a:pt x="182"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21"/>
              <a:endParaRPr lang="en-US" sz="1200">
                <a:solidFill>
                  <a:srgbClr val="FFFFFF"/>
                </a:solidFill>
              </a:endParaRPr>
            </a:p>
          </p:txBody>
        </p:sp>
        <p:sp>
          <p:nvSpPr>
            <p:cNvPr id="19" name="Freeform 221"/>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21"/>
              <a:endParaRPr lang="en-US" sz="1200">
                <a:solidFill>
                  <a:srgbClr val="FFFFFF"/>
                </a:solidFill>
              </a:endParaRPr>
            </a:p>
          </p:txBody>
        </p:sp>
        <p:sp>
          <p:nvSpPr>
            <p:cNvPr id="20" name="Freeform 222"/>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21"/>
              <a:endParaRPr lang="en-US" sz="1200">
                <a:solidFill>
                  <a:srgbClr val="FFFFFF"/>
                </a:solidFill>
              </a:endParaRPr>
            </a:p>
          </p:txBody>
        </p:sp>
        <p:sp>
          <p:nvSpPr>
            <p:cNvPr id="21" name="Freeform 223"/>
            <p:cNvSpPr>
              <a:spLocks/>
            </p:cNvSpPr>
            <p:nvPr/>
          </p:nvSpPr>
          <p:spPr bwMode="black">
            <a:xfrm>
              <a:off x="1977672" y="4663072"/>
              <a:ext cx="606178" cy="195940"/>
            </a:xfrm>
            <a:custGeom>
              <a:avLst/>
              <a:gdLst>
                <a:gd name="T0" fmla="*/ 643 w 643"/>
                <a:gd name="T1" fmla="*/ 132 h 208"/>
                <a:gd name="T2" fmla="*/ 438 w 643"/>
                <a:gd name="T3" fmla="*/ 150 h 208"/>
                <a:gd name="T4" fmla="*/ 0 w 643"/>
                <a:gd name="T5" fmla="*/ 0 h 208"/>
                <a:gd name="T6" fmla="*/ 0 w 643"/>
                <a:gd name="T7" fmla="*/ 103 h 208"/>
                <a:gd name="T8" fmla="*/ 39 w 643"/>
                <a:gd name="T9" fmla="*/ 130 h 208"/>
                <a:gd name="T10" fmla="*/ 438 w 643"/>
                <a:gd name="T11" fmla="*/ 208 h 208"/>
                <a:gd name="T12" fmla="*/ 606 w 643"/>
                <a:gd name="T13" fmla="*/ 197 h 208"/>
                <a:gd name="T14" fmla="*/ 643 w 643"/>
                <a:gd name="T15" fmla="*/ 132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3" h="208">
                  <a:moveTo>
                    <a:pt x="643" y="132"/>
                  </a:moveTo>
                  <a:cubicBezTo>
                    <a:pt x="582" y="143"/>
                    <a:pt x="512" y="150"/>
                    <a:pt x="438" y="150"/>
                  </a:cubicBezTo>
                  <a:cubicBezTo>
                    <a:pt x="196" y="150"/>
                    <a:pt x="0" y="82"/>
                    <a:pt x="0" y="0"/>
                  </a:cubicBezTo>
                  <a:cubicBezTo>
                    <a:pt x="0" y="103"/>
                    <a:pt x="0" y="103"/>
                    <a:pt x="0" y="103"/>
                  </a:cubicBezTo>
                  <a:cubicBezTo>
                    <a:pt x="12" y="113"/>
                    <a:pt x="25" y="121"/>
                    <a:pt x="39" y="130"/>
                  </a:cubicBezTo>
                  <a:cubicBezTo>
                    <a:pt x="130" y="180"/>
                    <a:pt x="273" y="208"/>
                    <a:pt x="438" y="208"/>
                  </a:cubicBezTo>
                  <a:cubicBezTo>
                    <a:pt x="497" y="208"/>
                    <a:pt x="554" y="204"/>
                    <a:pt x="606" y="197"/>
                  </a:cubicBezTo>
                  <a:cubicBezTo>
                    <a:pt x="615" y="174"/>
                    <a:pt x="628" y="152"/>
                    <a:pt x="643" y="1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21"/>
              <a:endParaRPr lang="en-US" sz="1200">
                <a:solidFill>
                  <a:srgbClr val="FFFFFF"/>
                </a:solidFill>
              </a:endParaRPr>
            </a:p>
          </p:txBody>
        </p:sp>
        <p:sp>
          <p:nvSpPr>
            <p:cNvPr id="22" name="Freeform 224"/>
            <p:cNvSpPr>
              <a:spLocks/>
            </p:cNvSpPr>
            <p:nvPr/>
          </p:nvSpPr>
          <p:spPr bwMode="black">
            <a:xfrm>
              <a:off x="1976076" y="4835467"/>
              <a:ext cx="555896" cy="196340"/>
            </a:xfrm>
            <a:custGeom>
              <a:avLst/>
              <a:gdLst>
                <a:gd name="T0" fmla="*/ 590 w 590"/>
                <a:gd name="T1" fmla="*/ 140 h 208"/>
                <a:gd name="T2" fmla="*/ 438 w 590"/>
                <a:gd name="T3" fmla="*/ 150 h 208"/>
                <a:gd name="T4" fmla="*/ 0 w 590"/>
                <a:gd name="T5" fmla="*/ 0 h 208"/>
                <a:gd name="T6" fmla="*/ 0 w 590"/>
                <a:gd name="T7" fmla="*/ 103 h 208"/>
                <a:gd name="T8" fmla="*/ 39 w 590"/>
                <a:gd name="T9" fmla="*/ 129 h 208"/>
                <a:gd name="T10" fmla="*/ 438 w 590"/>
                <a:gd name="T11" fmla="*/ 208 h 208"/>
                <a:gd name="T12" fmla="*/ 589 w 590"/>
                <a:gd name="T13" fmla="*/ 199 h 208"/>
                <a:gd name="T14" fmla="*/ 590 w 590"/>
                <a:gd name="T15" fmla="*/ 14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0" h="208">
                  <a:moveTo>
                    <a:pt x="590" y="140"/>
                  </a:moveTo>
                  <a:cubicBezTo>
                    <a:pt x="543" y="146"/>
                    <a:pt x="491" y="150"/>
                    <a:pt x="438" y="150"/>
                  </a:cubicBezTo>
                  <a:cubicBezTo>
                    <a:pt x="196" y="150"/>
                    <a:pt x="0" y="82"/>
                    <a:pt x="0" y="0"/>
                  </a:cubicBezTo>
                  <a:cubicBezTo>
                    <a:pt x="0" y="103"/>
                    <a:pt x="0" y="103"/>
                    <a:pt x="0" y="103"/>
                  </a:cubicBezTo>
                  <a:cubicBezTo>
                    <a:pt x="12" y="113"/>
                    <a:pt x="25" y="121"/>
                    <a:pt x="39" y="129"/>
                  </a:cubicBezTo>
                  <a:cubicBezTo>
                    <a:pt x="129" y="180"/>
                    <a:pt x="273" y="208"/>
                    <a:pt x="438" y="208"/>
                  </a:cubicBezTo>
                  <a:cubicBezTo>
                    <a:pt x="491" y="208"/>
                    <a:pt x="541" y="205"/>
                    <a:pt x="589" y="199"/>
                  </a:cubicBezTo>
                  <a:lnTo>
                    <a:pt x="590" y="1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21"/>
              <a:endParaRPr lang="en-US" sz="1200">
                <a:solidFill>
                  <a:srgbClr val="FFFFFF"/>
                </a:solidFill>
              </a:endParaRPr>
            </a:p>
          </p:txBody>
        </p:sp>
        <p:sp>
          <p:nvSpPr>
            <p:cNvPr id="23" name="Freeform 225"/>
            <p:cNvSpPr>
              <a:spLocks noEditPoints="1"/>
            </p:cNvSpPr>
            <p:nvPr/>
          </p:nvSpPr>
          <p:spPr bwMode="black">
            <a:xfrm>
              <a:off x="1886286" y="4267200"/>
              <a:ext cx="1011628" cy="995266"/>
            </a:xfrm>
            <a:custGeom>
              <a:avLst/>
              <a:gdLst>
                <a:gd name="T0" fmla="*/ 683 w 1073"/>
                <a:gd name="T1" fmla="*/ 951 h 1056"/>
                <a:gd name="T2" fmla="*/ 683 w 1073"/>
                <a:gd name="T3" fmla="*/ 947 h 1056"/>
                <a:gd name="T4" fmla="*/ 537 w 1073"/>
                <a:gd name="T5" fmla="*/ 957 h 1056"/>
                <a:gd name="T6" fmla="*/ 99 w 1073"/>
                <a:gd name="T7" fmla="*/ 776 h 1056"/>
                <a:gd name="T8" fmla="*/ 99 w 1073"/>
                <a:gd name="T9" fmla="*/ 623 h 1056"/>
                <a:gd name="T10" fmla="*/ 99 w 1073"/>
                <a:gd name="T11" fmla="*/ 520 h 1056"/>
                <a:gd name="T12" fmla="*/ 99 w 1073"/>
                <a:gd name="T13" fmla="*/ 352 h 1056"/>
                <a:gd name="T14" fmla="*/ 137 w 1073"/>
                <a:gd name="T15" fmla="*/ 379 h 1056"/>
                <a:gd name="T16" fmla="*/ 537 w 1073"/>
                <a:gd name="T17" fmla="*/ 458 h 1056"/>
                <a:gd name="T18" fmla="*/ 862 w 1073"/>
                <a:gd name="T19" fmla="*/ 411 h 1056"/>
                <a:gd name="T20" fmla="*/ 972 w 1073"/>
                <a:gd name="T21" fmla="*/ 355 h 1056"/>
                <a:gd name="T22" fmla="*/ 975 w 1073"/>
                <a:gd name="T23" fmla="*/ 352 h 1056"/>
                <a:gd name="T24" fmla="*/ 975 w 1073"/>
                <a:gd name="T25" fmla="*/ 460 h 1056"/>
                <a:gd name="T26" fmla="*/ 1067 w 1073"/>
                <a:gd name="T27" fmla="*/ 493 h 1056"/>
                <a:gd name="T28" fmla="*/ 1073 w 1073"/>
                <a:gd name="T29" fmla="*/ 494 h 1056"/>
                <a:gd name="T30" fmla="*/ 1073 w 1073"/>
                <a:gd name="T31" fmla="*/ 249 h 1056"/>
                <a:gd name="T32" fmla="*/ 1002 w 1073"/>
                <a:gd name="T33" fmla="*/ 114 h 1056"/>
                <a:gd name="T34" fmla="*/ 537 w 1073"/>
                <a:gd name="T35" fmla="*/ 0 h 1056"/>
                <a:gd name="T36" fmla="*/ 195 w 1073"/>
                <a:gd name="T37" fmla="*/ 49 h 1056"/>
                <a:gd name="T38" fmla="*/ 71 w 1073"/>
                <a:gd name="T39" fmla="*/ 114 h 1056"/>
                <a:gd name="T40" fmla="*/ 0 w 1073"/>
                <a:gd name="T41" fmla="*/ 249 h 1056"/>
                <a:gd name="T42" fmla="*/ 0 w 1073"/>
                <a:gd name="T43" fmla="*/ 776 h 1056"/>
                <a:gd name="T44" fmla="*/ 64 w 1073"/>
                <a:gd name="T45" fmla="*/ 917 h 1056"/>
                <a:gd name="T46" fmla="*/ 537 w 1073"/>
                <a:gd name="T47" fmla="*/ 1056 h 1056"/>
                <a:gd name="T48" fmla="*/ 681 w 1073"/>
                <a:gd name="T49" fmla="*/ 1047 h 1056"/>
                <a:gd name="T50" fmla="*/ 683 w 1073"/>
                <a:gd name="T51" fmla="*/ 951 h 1056"/>
                <a:gd name="T52" fmla="*/ 537 w 1073"/>
                <a:gd name="T53" fmla="*/ 99 h 1056"/>
                <a:gd name="T54" fmla="*/ 975 w 1073"/>
                <a:gd name="T55" fmla="*/ 249 h 1056"/>
                <a:gd name="T56" fmla="*/ 537 w 1073"/>
                <a:gd name="T57" fmla="*/ 399 h 1056"/>
                <a:gd name="T58" fmla="*/ 99 w 1073"/>
                <a:gd name="T59" fmla="*/ 249 h 1056"/>
                <a:gd name="T60" fmla="*/ 537 w 1073"/>
                <a:gd name="T61" fmla="*/ 99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73" h="1056">
                  <a:moveTo>
                    <a:pt x="683" y="951"/>
                  </a:moveTo>
                  <a:cubicBezTo>
                    <a:pt x="683" y="947"/>
                    <a:pt x="683" y="947"/>
                    <a:pt x="683" y="947"/>
                  </a:cubicBezTo>
                  <a:cubicBezTo>
                    <a:pt x="638" y="954"/>
                    <a:pt x="587" y="957"/>
                    <a:pt x="537" y="957"/>
                  </a:cubicBezTo>
                  <a:cubicBezTo>
                    <a:pt x="295" y="957"/>
                    <a:pt x="99" y="876"/>
                    <a:pt x="99" y="776"/>
                  </a:cubicBezTo>
                  <a:cubicBezTo>
                    <a:pt x="99" y="623"/>
                    <a:pt x="99" y="623"/>
                    <a:pt x="99" y="623"/>
                  </a:cubicBezTo>
                  <a:cubicBezTo>
                    <a:pt x="99" y="520"/>
                    <a:pt x="99" y="520"/>
                    <a:pt x="99" y="520"/>
                  </a:cubicBezTo>
                  <a:cubicBezTo>
                    <a:pt x="99" y="352"/>
                    <a:pt x="99" y="352"/>
                    <a:pt x="99" y="352"/>
                  </a:cubicBezTo>
                  <a:cubicBezTo>
                    <a:pt x="110" y="362"/>
                    <a:pt x="123" y="371"/>
                    <a:pt x="137" y="379"/>
                  </a:cubicBezTo>
                  <a:cubicBezTo>
                    <a:pt x="228" y="429"/>
                    <a:pt x="371" y="457"/>
                    <a:pt x="537" y="458"/>
                  </a:cubicBezTo>
                  <a:cubicBezTo>
                    <a:pt x="662" y="458"/>
                    <a:pt x="776" y="441"/>
                    <a:pt x="862" y="411"/>
                  </a:cubicBezTo>
                  <a:cubicBezTo>
                    <a:pt x="906" y="396"/>
                    <a:pt x="942" y="378"/>
                    <a:pt x="972" y="355"/>
                  </a:cubicBezTo>
                  <a:cubicBezTo>
                    <a:pt x="973" y="354"/>
                    <a:pt x="974" y="353"/>
                    <a:pt x="975" y="352"/>
                  </a:cubicBezTo>
                  <a:cubicBezTo>
                    <a:pt x="975" y="460"/>
                    <a:pt x="975" y="460"/>
                    <a:pt x="975" y="460"/>
                  </a:cubicBezTo>
                  <a:cubicBezTo>
                    <a:pt x="1008" y="465"/>
                    <a:pt x="1039" y="476"/>
                    <a:pt x="1067" y="493"/>
                  </a:cubicBezTo>
                  <a:cubicBezTo>
                    <a:pt x="1069" y="493"/>
                    <a:pt x="1071" y="493"/>
                    <a:pt x="1073" y="494"/>
                  </a:cubicBezTo>
                  <a:cubicBezTo>
                    <a:pt x="1073" y="249"/>
                    <a:pt x="1073" y="249"/>
                    <a:pt x="1073" y="249"/>
                  </a:cubicBezTo>
                  <a:cubicBezTo>
                    <a:pt x="1073" y="187"/>
                    <a:pt x="1037" y="141"/>
                    <a:pt x="1002" y="114"/>
                  </a:cubicBezTo>
                  <a:cubicBezTo>
                    <a:pt x="896" y="33"/>
                    <a:pt x="733" y="3"/>
                    <a:pt x="537" y="0"/>
                  </a:cubicBezTo>
                  <a:cubicBezTo>
                    <a:pt x="406" y="0"/>
                    <a:pt x="288" y="18"/>
                    <a:pt x="195" y="49"/>
                  </a:cubicBezTo>
                  <a:cubicBezTo>
                    <a:pt x="148" y="66"/>
                    <a:pt x="107" y="85"/>
                    <a:pt x="71" y="114"/>
                  </a:cubicBezTo>
                  <a:cubicBezTo>
                    <a:pt x="36" y="141"/>
                    <a:pt x="0" y="187"/>
                    <a:pt x="0" y="249"/>
                  </a:cubicBezTo>
                  <a:cubicBezTo>
                    <a:pt x="0" y="776"/>
                    <a:pt x="0" y="776"/>
                    <a:pt x="0" y="776"/>
                  </a:cubicBezTo>
                  <a:cubicBezTo>
                    <a:pt x="0" y="835"/>
                    <a:pt x="29" y="884"/>
                    <a:pt x="64" y="917"/>
                  </a:cubicBezTo>
                  <a:cubicBezTo>
                    <a:pt x="169" y="1014"/>
                    <a:pt x="338" y="1053"/>
                    <a:pt x="537" y="1056"/>
                  </a:cubicBezTo>
                  <a:cubicBezTo>
                    <a:pt x="586" y="1056"/>
                    <a:pt x="636" y="1053"/>
                    <a:pt x="681" y="1047"/>
                  </a:cubicBezTo>
                  <a:lnTo>
                    <a:pt x="683" y="951"/>
                  </a:lnTo>
                  <a:close/>
                  <a:moveTo>
                    <a:pt x="537" y="99"/>
                  </a:moveTo>
                  <a:cubicBezTo>
                    <a:pt x="778" y="99"/>
                    <a:pt x="975" y="166"/>
                    <a:pt x="975" y="249"/>
                  </a:cubicBezTo>
                  <a:cubicBezTo>
                    <a:pt x="975" y="332"/>
                    <a:pt x="778" y="399"/>
                    <a:pt x="537" y="399"/>
                  </a:cubicBezTo>
                  <a:cubicBezTo>
                    <a:pt x="295" y="399"/>
                    <a:pt x="99" y="332"/>
                    <a:pt x="99" y="249"/>
                  </a:cubicBezTo>
                  <a:cubicBezTo>
                    <a:pt x="99" y="166"/>
                    <a:pt x="295" y="99"/>
                    <a:pt x="537" y="9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21"/>
              <a:endParaRPr lang="en-US" sz="1200">
                <a:solidFill>
                  <a:srgbClr val="FFFFFF"/>
                </a:solidFill>
              </a:endParaRPr>
            </a:p>
          </p:txBody>
        </p:sp>
      </p:grpSp>
      <p:sp>
        <p:nvSpPr>
          <p:cNvPr id="24" name="Freeform 78"/>
          <p:cNvSpPr>
            <a:spLocks noEditPoints="1"/>
          </p:cNvSpPr>
          <p:nvPr/>
        </p:nvSpPr>
        <p:spPr bwMode="black">
          <a:xfrm>
            <a:off x="7510275" y="1601791"/>
            <a:ext cx="773614" cy="740168"/>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61723" tIns="30861" rIns="61723" bIns="30861" numCol="1" anchor="t" anchorCtr="0" compatLnSpc="1">
            <a:prstTxWarp prst="textNoShape">
              <a:avLst/>
            </a:prstTxWarp>
          </a:bodyPr>
          <a:lstStyle/>
          <a:p>
            <a:pPr defTabSz="685721"/>
            <a:endParaRPr lang="en-US" sz="1200">
              <a:solidFill>
                <a:srgbClr val="FFFFFF"/>
              </a:solidFill>
            </a:endParaRPr>
          </a:p>
        </p:txBody>
      </p:sp>
      <p:sp>
        <p:nvSpPr>
          <p:cNvPr id="25"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6"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5"/>
              </a:rPr>
              <a:t>www.rapidbbs.cn</a:t>
            </a:r>
            <a:endParaRPr lang="zh-CN" altLang="en-US" sz="1200" b="0">
              <a:latin typeface="Arial" charset="0"/>
              <a:ea typeface="ＭＳ Ｐゴシック" pitchFamily="34" charset="-128"/>
            </a:endParaRPr>
          </a:p>
        </p:txBody>
      </p:sp>
      <p:pic>
        <p:nvPicPr>
          <p:cNvPr id="27" name="Picture 2">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12837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TECTING DATA IN THE CLOUD</a:t>
            </a:r>
            <a:endParaRPr lang="en-US" dirty="0"/>
          </a:p>
        </p:txBody>
      </p:sp>
      <p:sp>
        <p:nvSpPr>
          <p:cNvPr id="3" name="TextBox 2"/>
          <p:cNvSpPr txBox="1"/>
          <p:nvPr/>
        </p:nvSpPr>
        <p:spPr>
          <a:xfrm>
            <a:off x="609600" y="971553"/>
            <a:ext cx="1097718" cy="372778"/>
          </a:xfrm>
          <a:prstGeom prst="rect">
            <a:avLst/>
          </a:prstGeom>
          <a:noFill/>
        </p:spPr>
        <p:txBody>
          <a:bodyPr wrap="none" lIns="91420" tIns="45710" rIns="91420" bIns="45710" rtlCol="0">
            <a:spAutoFit/>
          </a:bodyPr>
          <a:lstStyle/>
          <a:p>
            <a:pPr defTabSz="685721">
              <a:lnSpc>
                <a:spcPct val="90000"/>
              </a:lnSpc>
              <a:spcBef>
                <a:spcPct val="20000"/>
              </a:spcBef>
              <a:buSzPct val="90000"/>
            </a:pPr>
            <a:r>
              <a:rPr lang="en-US" sz="2000" dirty="0">
                <a:gradFill>
                  <a:gsLst>
                    <a:gs pos="0">
                      <a:srgbClr val="FFFFFF"/>
                    </a:gs>
                    <a:gs pos="100000">
                      <a:srgbClr val="FFFFFF"/>
                    </a:gs>
                  </a:gsLst>
                  <a:lin ang="5400000" scaled="0"/>
                </a:gradFill>
              </a:rPr>
              <a:t>PLAN IT</a:t>
            </a:r>
          </a:p>
        </p:txBody>
      </p:sp>
      <p:sp>
        <p:nvSpPr>
          <p:cNvPr id="24" name="TextBox 23"/>
          <p:cNvSpPr txBox="1"/>
          <p:nvPr/>
        </p:nvSpPr>
        <p:spPr>
          <a:xfrm>
            <a:off x="2536122" y="971553"/>
            <a:ext cx="888857" cy="372778"/>
          </a:xfrm>
          <a:prstGeom prst="rect">
            <a:avLst/>
          </a:prstGeom>
          <a:noFill/>
        </p:spPr>
        <p:txBody>
          <a:bodyPr wrap="none" lIns="91420" tIns="45710" rIns="91420" bIns="45710" rtlCol="0">
            <a:spAutoFit/>
          </a:bodyPr>
          <a:lstStyle/>
          <a:p>
            <a:pPr defTabSz="685721">
              <a:lnSpc>
                <a:spcPct val="90000"/>
              </a:lnSpc>
              <a:spcBef>
                <a:spcPct val="20000"/>
              </a:spcBef>
              <a:buSzPct val="90000"/>
            </a:pPr>
            <a:r>
              <a:rPr lang="en-US" sz="2000" dirty="0">
                <a:gradFill>
                  <a:gsLst>
                    <a:gs pos="0">
                      <a:srgbClr val="FFFFFF"/>
                    </a:gs>
                    <a:gs pos="100000">
                      <a:srgbClr val="FFFFFF"/>
                    </a:gs>
                  </a:gsLst>
                  <a:lin ang="5400000" scaled="0"/>
                </a:gradFill>
              </a:rPr>
              <a:t>SAY IT</a:t>
            </a:r>
          </a:p>
        </p:txBody>
      </p:sp>
      <p:sp>
        <p:nvSpPr>
          <p:cNvPr id="25" name="TextBox 24"/>
          <p:cNvSpPr txBox="1"/>
          <p:nvPr/>
        </p:nvSpPr>
        <p:spPr>
          <a:xfrm>
            <a:off x="4432677" y="971555"/>
            <a:ext cx="830751" cy="374461"/>
          </a:xfrm>
          <a:prstGeom prst="rect">
            <a:avLst/>
          </a:prstGeom>
          <a:noFill/>
        </p:spPr>
        <p:txBody>
          <a:bodyPr wrap="none" lIns="91420" tIns="45710" rIns="91420" bIns="45710" rtlCol="0">
            <a:spAutoFit/>
          </a:bodyPr>
          <a:lstStyle/>
          <a:p>
            <a:pPr defTabSz="685721">
              <a:lnSpc>
                <a:spcPct val="90000"/>
              </a:lnSpc>
              <a:spcBef>
                <a:spcPct val="20000"/>
              </a:spcBef>
              <a:buSzPct val="90000"/>
            </a:pPr>
            <a:r>
              <a:rPr lang="en-US" sz="2000" dirty="0">
                <a:gradFill>
                  <a:gsLst>
                    <a:gs pos="0">
                      <a:srgbClr val="FFFFFF"/>
                    </a:gs>
                    <a:gs pos="100000">
                      <a:srgbClr val="FFFFFF"/>
                    </a:gs>
                  </a:gsLst>
                  <a:lin ang="5400000" scaled="0"/>
                </a:gradFill>
              </a:rPr>
              <a:t>DO IT</a:t>
            </a:r>
          </a:p>
        </p:txBody>
      </p:sp>
      <p:sp>
        <p:nvSpPr>
          <p:cNvPr id="26" name="TextBox 25"/>
          <p:cNvSpPr txBox="1"/>
          <p:nvPr/>
        </p:nvSpPr>
        <p:spPr>
          <a:xfrm>
            <a:off x="6346122" y="971553"/>
            <a:ext cx="1246403" cy="372778"/>
          </a:xfrm>
          <a:prstGeom prst="rect">
            <a:avLst/>
          </a:prstGeom>
          <a:noFill/>
        </p:spPr>
        <p:txBody>
          <a:bodyPr wrap="none" lIns="91420" tIns="45710" rIns="91420" bIns="45710" rtlCol="0">
            <a:spAutoFit/>
          </a:bodyPr>
          <a:lstStyle/>
          <a:p>
            <a:pPr defTabSz="685721">
              <a:lnSpc>
                <a:spcPct val="90000"/>
              </a:lnSpc>
              <a:spcBef>
                <a:spcPct val="20000"/>
              </a:spcBef>
              <a:buSzPct val="90000"/>
            </a:pPr>
            <a:r>
              <a:rPr lang="en-US" sz="2000" dirty="0">
                <a:gradFill>
                  <a:gsLst>
                    <a:gs pos="0">
                      <a:srgbClr val="FFFFFF"/>
                    </a:gs>
                    <a:gs pos="100000">
                      <a:srgbClr val="FFFFFF"/>
                    </a:gs>
                  </a:gsLst>
                  <a:lin ang="5400000" scaled="0"/>
                </a:gradFill>
              </a:rPr>
              <a:t>PROVE IT</a:t>
            </a:r>
          </a:p>
        </p:txBody>
      </p:sp>
      <p:sp>
        <p:nvSpPr>
          <p:cNvPr id="29" name="Rectangle 28"/>
          <p:cNvSpPr/>
          <p:nvPr/>
        </p:nvSpPr>
        <p:spPr>
          <a:xfrm>
            <a:off x="685802" y="1428750"/>
            <a:ext cx="1828799" cy="990600"/>
          </a:xfrm>
          <a:prstGeom prst="rect">
            <a:avLst/>
          </a:prstGeom>
          <a:solidFill>
            <a:srgbClr val="00AEEF"/>
          </a:solidFill>
          <a:ln w="6350">
            <a:gradFill flip="none" rotWithShape="1">
              <a:gsLst>
                <a:gs pos="0">
                  <a:srgbClr val="000000">
                    <a:alpha val="0"/>
                  </a:srgbClr>
                </a:gs>
                <a:gs pos="50000">
                  <a:srgbClr val="005CB0">
                    <a:alpha val="78000"/>
                  </a:srgbClr>
                </a:gs>
                <a:gs pos="100000">
                  <a:srgbClr val="000C22">
                    <a:alpha val="0"/>
                  </a:srgbClr>
                </a:gs>
              </a:gsLst>
              <a:lin ang="16200000" scaled="1"/>
              <a:tileRect/>
            </a:gra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0" tIns="1005630" rIns="0" bIns="274261" numCol="1" rtlCol="0" anchor="ctr" anchorCtr="0" compatLnSpc="1">
            <a:prstTxWarp prst="textNoShape">
              <a:avLst/>
            </a:prstTxWarp>
          </a:bodyPr>
          <a:lstStyle/>
          <a:p>
            <a:pPr algn="ctr" defTabSz="685721" fontAlgn="base">
              <a:lnSpc>
                <a:spcPct val="90000"/>
              </a:lnSpc>
              <a:spcBef>
                <a:spcPts val="1350"/>
              </a:spcBef>
              <a:spcAft>
                <a:spcPts val="1350"/>
              </a:spcAft>
            </a:pPr>
            <a:endParaRPr lang="en-US" sz="1500" kern="0" dirty="0">
              <a:solidFill>
                <a:srgbClr val="FFFFFF">
                  <a:lumMod val="10000"/>
                  <a:lumOff val="90000"/>
                </a:srgbClr>
              </a:solidFill>
              <a:latin typeface="Segoe UI Light" pitchFamily="34" charset="0"/>
            </a:endParaRPr>
          </a:p>
        </p:txBody>
      </p:sp>
      <p:sp>
        <p:nvSpPr>
          <p:cNvPr id="35" name="TextBox 34"/>
          <p:cNvSpPr txBox="1"/>
          <p:nvPr/>
        </p:nvSpPr>
        <p:spPr>
          <a:xfrm>
            <a:off x="762001" y="1544424"/>
            <a:ext cx="1676400" cy="646331"/>
          </a:xfrm>
          <a:prstGeom prst="rect">
            <a:avLst/>
          </a:prstGeom>
          <a:noFill/>
        </p:spPr>
        <p:txBody>
          <a:bodyPr wrap="square" lIns="91420" tIns="45710" rIns="91420" bIns="45710" rtlCol="0">
            <a:spAutoFit/>
          </a:bodyPr>
          <a:lstStyle/>
          <a:p>
            <a:pPr defTabSz="913909"/>
            <a:r>
              <a:rPr lang="en-US" sz="1200" dirty="0">
                <a:solidFill>
                  <a:srgbClr val="FFFFFF"/>
                </a:solidFill>
              </a:rPr>
              <a:t>“I want to understand  my compliance requirements.”</a:t>
            </a:r>
          </a:p>
        </p:txBody>
      </p:sp>
      <p:sp>
        <p:nvSpPr>
          <p:cNvPr id="38" name="Rectangle 37"/>
          <p:cNvSpPr/>
          <p:nvPr/>
        </p:nvSpPr>
        <p:spPr>
          <a:xfrm>
            <a:off x="2590801" y="1428750"/>
            <a:ext cx="1828799" cy="990600"/>
          </a:xfrm>
          <a:prstGeom prst="rect">
            <a:avLst/>
          </a:prstGeom>
          <a:solidFill>
            <a:srgbClr val="0071BC"/>
          </a:solidFill>
          <a:ln w="6350">
            <a:gradFill flip="none" rotWithShape="1">
              <a:gsLst>
                <a:gs pos="0">
                  <a:srgbClr val="000000">
                    <a:alpha val="0"/>
                  </a:srgbClr>
                </a:gs>
                <a:gs pos="50000">
                  <a:srgbClr val="005CB0">
                    <a:alpha val="78000"/>
                  </a:srgbClr>
                </a:gs>
                <a:gs pos="100000">
                  <a:srgbClr val="000C22">
                    <a:alpha val="0"/>
                  </a:srgbClr>
                </a:gs>
              </a:gsLst>
              <a:lin ang="16200000" scaled="1"/>
              <a:tileRect/>
            </a:gra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0" tIns="1005630" rIns="0" bIns="274261" numCol="1" rtlCol="0" anchor="ctr" anchorCtr="0" compatLnSpc="1">
            <a:prstTxWarp prst="textNoShape">
              <a:avLst/>
            </a:prstTxWarp>
          </a:bodyPr>
          <a:lstStyle/>
          <a:p>
            <a:pPr algn="ctr" defTabSz="685721" fontAlgn="base">
              <a:lnSpc>
                <a:spcPct val="90000"/>
              </a:lnSpc>
              <a:spcBef>
                <a:spcPts val="1350"/>
              </a:spcBef>
              <a:spcAft>
                <a:spcPts val="1350"/>
              </a:spcAft>
            </a:pPr>
            <a:endParaRPr lang="en-US" sz="1500" kern="0" dirty="0">
              <a:solidFill>
                <a:srgbClr val="FFFFFF">
                  <a:lumMod val="10000"/>
                  <a:lumOff val="90000"/>
                </a:srgbClr>
              </a:solidFill>
              <a:latin typeface="Segoe UI Light" pitchFamily="34" charset="0"/>
            </a:endParaRPr>
          </a:p>
        </p:txBody>
      </p:sp>
      <p:sp>
        <p:nvSpPr>
          <p:cNvPr id="39" name="TextBox 38"/>
          <p:cNvSpPr txBox="1"/>
          <p:nvPr/>
        </p:nvSpPr>
        <p:spPr>
          <a:xfrm>
            <a:off x="2667001" y="1544424"/>
            <a:ext cx="1676400" cy="646331"/>
          </a:xfrm>
          <a:prstGeom prst="rect">
            <a:avLst/>
          </a:prstGeom>
          <a:noFill/>
        </p:spPr>
        <p:txBody>
          <a:bodyPr wrap="square" lIns="91420" tIns="45710" rIns="91420" bIns="45710" rtlCol="0">
            <a:spAutoFit/>
          </a:bodyPr>
          <a:lstStyle/>
          <a:p>
            <a:pPr defTabSz="913909"/>
            <a:r>
              <a:rPr lang="en-US" sz="1200" dirty="0">
                <a:solidFill>
                  <a:srgbClr val="FFFFFF"/>
                </a:solidFill>
                <a:latin typeface="Segoe" pitchFamily="34" charset="0"/>
              </a:rPr>
              <a:t>“I want to manage my IT environment in a compliant manner.”</a:t>
            </a:r>
          </a:p>
        </p:txBody>
      </p:sp>
      <p:sp>
        <p:nvSpPr>
          <p:cNvPr id="40" name="Rectangle 39"/>
          <p:cNvSpPr/>
          <p:nvPr/>
        </p:nvSpPr>
        <p:spPr>
          <a:xfrm>
            <a:off x="4495802" y="1428750"/>
            <a:ext cx="1828799" cy="990600"/>
          </a:xfrm>
          <a:prstGeom prst="rect">
            <a:avLst/>
          </a:prstGeom>
          <a:solidFill>
            <a:srgbClr val="FF8A00"/>
          </a:solidFill>
          <a:ln w="6350">
            <a:gradFill flip="none" rotWithShape="1">
              <a:gsLst>
                <a:gs pos="0">
                  <a:srgbClr val="000000">
                    <a:alpha val="0"/>
                  </a:srgbClr>
                </a:gs>
                <a:gs pos="50000">
                  <a:srgbClr val="005CB0">
                    <a:alpha val="78000"/>
                  </a:srgbClr>
                </a:gs>
                <a:gs pos="100000">
                  <a:srgbClr val="000C22">
                    <a:alpha val="0"/>
                  </a:srgbClr>
                </a:gs>
              </a:gsLst>
              <a:lin ang="16200000" scaled="1"/>
              <a:tileRect/>
            </a:gra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0" tIns="1005630" rIns="0" bIns="274261" numCol="1" rtlCol="0" anchor="ctr" anchorCtr="0" compatLnSpc="1">
            <a:prstTxWarp prst="textNoShape">
              <a:avLst/>
            </a:prstTxWarp>
          </a:bodyPr>
          <a:lstStyle/>
          <a:p>
            <a:pPr algn="ctr" defTabSz="685721" fontAlgn="base">
              <a:lnSpc>
                <a:spcPct val="90000"/>
              </a:lnSpc>
              <a:spcBef>
                <a:spcPts val="1350"/>
              </a:spcBef>
              <a:spcAft>
                <a:spcPts val="1350"/>
              </a:spcAft>
            </a:pPr>
            <a:endParaRPr lang="en-US" sz="1500" kern="0" dirty="0">
              <a:solidFill>
                <a:srgbClr val="FFFFFF">
                  <a:lumMod val="10000"/>
                  <a:lumOff val="90000"/>
                </a:srgbClr>
              </a:solidFill>
              <a:latin typeface="Segoe UI Light" pitchFamily="34" charset="0"/>
            </a:endParaRPr>
          </a:p>
        </p:txBody>
      </p:sp>
      <p:sp>
        <p:nvSpPr>
          <p:cNvPr id="41" name="TextBox 40"/>
          <p:cNvSpPr txBox="1"/>
          <p:nvPr/>
        </p:nvSpPr>
        <p:spPr>
          <a:xfrm>
            <a:off x="4572001" y="1544424"/>
            <a:ext cx="1676400" cy="646331"/>
          </a:xfrm>
          <a:prstGeom prst="rect">
            <a:avLst/>
          </a:prstGeom>
          <a:noFill/>
        </p:spPr>
        <p:txBody>
          <a:bodyPr wrap="square" lIns="91420" tIns="45710" rIns="91420" bIns="45710" rtlCol="0">
            <a:spAutoFit/>
          </a:bodyPr>
          <a:lstStyle/>
          <a:p>
            <a:pPr defTabSz="913909"/>
            <a:r>
              <a:rPr lang="en-US" sz="1200" dirty="0">
                <a:solidFill>
                  <a:srgbClr val="FFFFFF"/>
                </a:solidFill>
                <a:latin typeface="Segoe" pitchFamily="34" charset="0"/>
              </a:rPr>
              <a:t>“I design my IT environment in a compliant manner.”</a:t>
            </a:r>
          </a:p>
        </p:txBody>
      </p:sp>
      <p:sp>
        <p:nvSpPr>
          <p:cNvPr id="42" name="Rectangle 41"/>
          <p:cNvSpPr/>
          <p:nvPr/>
        </p:nvSpPr>
        <p:spPr>
          <a:xfrm>
            <a:off x="6400801" y="1428750"/>
            <a:ext cx="1828799" cy="990600"/>
          </a:xfrm>
          <a:prstGeom prst="rect">
            <a:avLst/>
          </a:prstGeom>
          <a:solidFill>
            <a:srgbClr val="FFBE00"/>
          </a:solidFill>
          <a:ln w="6350">
            <a:gradFill flip="none" rotWithShape="1">
              <a:gsLst>
                <a:gs pos="0">
                  <a:srgbClr val="000000">
                    <a:alpha val="0"/>
                  </a:srgbClr>
                </a:gs>
                <a:gs pos="50000">
                  <a:srgbClr val="005CB0">
                    <a:alpha val="78000"/>
                  </a:srgbClr>
                </a:gs>
                <a:gs pos="100000">
                  <a:srgbClr val="000C22">
                    <a:alpha val="0"/>
                  </a:srgbClr>
                </a:gs>
              </a:gsLst>
              <a:lin ang="16200000" scaled="1"/>
              <a:tileRect/>
            </a:gra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0" tIns="1005630" rIns="0" bIns="274261" numCol="1" rtlCol="0" anchor="ctr" anchorCtr="0" compatLnSpc="1">
            <a:prstTxWarp prst="textNoShape">
              <a:avLst/>
            </a:prstTxWarp>
          </a:bodyPr>
          <a:lstStyle/>
          <a:p>
            <a:pPr algn="ctr" defTabSz="685721" fontAlgn="base">
              <a:lnSpc>
                <a:spcPct val="90000"/>
              </a:lnSpc>
              <a:spcBef>
                <a:spcPts val="1350"/>
              </a:spcBef>
              <a:spcAft>
                <a:spcPts val="1350"/>
              </a:spcAft>
            </a:pPr>
            <a:endParaRPr lang="en-US" sz="1500" kern="0" dirty="0">
              <a:solidFill>
                <a:srgbClr val="FFFFFF">
                  <a:lumMod val="10000"/>
                  <a:lumOff val="90000"/>
                </a:srgbClr>
              </a:solidFill>
              <a:latin typeface="Segoe UI Light" pitchFamily="34" charset="0"/>
            </a:endParaRPr>
          </a:p>
        </p:txBody>
      </p:sp>
      <p:sp>
        <p:nvSpPr>
          <p:cNvPr id="43" name="TextBox 42"/>
          <p:cNvSpPr txBox="1"/>
          <p:nvPr/>
        </p:nvSpPr>
        <p:spPr>
          <a:xfrm>
            <a:off x="6477001" y="1544424"/>
            <a:ext cx="1676400" cy="646331"/>
          </a:xfrm>
          <a:prstGeom prst="rect">
            <a:avLst/>
          </a:prstGeom>
          <a:noFill/>
        </p:spPr>
        <p:txBody>
          <a:bodyPr wrap="square" lIns="91420" tIns="45710" rIns="91420" bIns="45710" rtlCol="0">
            <a:spAutoFit/>
          </a:bodyPr>
          <a:lstStyle/>
          <a:p>
            <a:pPr defTabSz="913909"/>
            <a:r>
              <a:rPr lang="en-US" sz="1200" dirty="0">
                <a:solidFill>
                  <a:srgbClr val="FFFFFF"/>
                </a:solidFill>
                <a:latin typeface="Segoe" pitchFamily="34" charset="0"/>
              </a:rPr>
              <a:t>“I want to report on the results of my compliance efforts.”</a:t>
            </a:r>
          </a:p>
        </p:txBody>
      </p:sp>
      <p:sp>
        <p:nvSpPr>
          <p:cNvPr id="44" name="TextBox 43"/>
          <p:cNvSpPr txBox="1"/>
          <p:nvPr/>
        </p:nvSpPr>
        <p:spPr>
          <a:xfrm>
            <a:off x="609601" y="2800355"/>
            <a:ext cx="1959015" cy="461665"/>
          </a:xfrm>
          <a:prstGeom prst="rect">
            <a:avLst/>
          </a:prstGeom>
          <a:noFill/>
        </p:spPr>
        <p:txBody>
          <a:bodyPr wrap="none" lIns="91420" tIns="45710" rIns="91420" bIns="45710" rtlCol="0">
            <a:spAutoFit/>
          </a:bodyPr>
          <a:lstStyle/>
          <a:p>
            <a:pPr algn="ctr" defTabSz="913909"/>
            <a:r>
              <a:rPr lang="en-US" sz="1200" dirty="0">
                <a:solidFill>
                  <a:srgbClr val="FFFFFF"/>
                </a:solidFill>
              </a:rPr>
              <a:t>AUTHORITY DOCUMENTS</a:t>
            </a:r>
          </a:p>
          <a:p>
            <a:pPr algn="ctr" defTabSz="913909"/>
            <a:r>
              <a:rPr lang="en-US" sz="1200" dirty="0">
                <a:solidFill>
                  <a:srgbClr val="FFFFFF"/>
                </a:solidFill>
              </a:rPr>
              <a:t>&amp; RISKS</a:t>
            </a:r>
          </a:p>
        </p:txBody>
      </p:sp>
      <p:sp>
        <p:nvSpPr>
          <p:cNvPr id="45" name="TextBox 44"/>
          <p:cNvSpPr txBox="1"/>
          <p:nvPr/>
        </p:nvSpPr>
        <p:spPr>
          <a:xfrm>
            <a:off x="2590806" y="2985016"/>
            <a:ext cx="1711075" cy="276999"/>
          </a:xfrm>
          <a:prstGeom prst="rect">
            <a:avLst/>
          </a:prstGeom>
          <a:noFill/>
        </p:spPr>
        <p:txBody>
          <a:bodyPr wrap="none" lIns="91420" tIns="45710" rIns="91420" bIns="45710" rtlCol="0">
            <a:spAutoFit/>
          </a:bodyPr>
          <a:lstStyle/>
          <a:p>
            <a:pPr defTabSz="913909"/>
            <a:r>
              <a:rPr lang="en-US" sz="1200" dirty="0">
                <a:solidFill>
                  <a:srgbClr val="FFFFFF"/>
                </a:solidFill>
              </a:rPr>
              <a:t>CONTROL OBJECTIVES</a:t>
            </a:r>
          </a:p>
        </p:txBody>
      </p:sp>
      <p:sp>
        <p:nvSpPr>
          <p:cNvPr id="46" name="TextBox 45"/>
          <p:cNvSpPr txBox="1"/>
          <p:nvPr/>
        </p:nvSpPr>
        <p:spPr>
          <a:xfrm>
            <a:off x="4524376" y="2985016"/>
            <a:ext cx="1633831" cy="276999"/>
          </a:xfrm>
          <a:prstGeom prst="rect">
            <a:avLst/>
          </a:prstGeom>
          <a:noFill/>
        </p:spPr>
        <p:txBody>
          <a:bodyPr wrap="none" lIns="91420" tIns="45710" rIns="91420" bIns="45710" rtlCol="0">
            <a:spAutoFit/>
          </a:bodyPr>
          <a:lstStyle/>
          <a:p>
            <a:pPr defTabSz="913909"/>
            <a:r>
              <a:rPr lang="en-US" sz="1200" dirty="0">
                <a:solidFill>
                  <a:srgbClr val="FFFFFF"/>
                </a:solidFill>
              </a:rPr>
              <a:t>CONTROL ACTIVITIES</a:t>
            </a:r>
          </a:p>
        </p:txBody>
      </p:sp>
      <p:sp>
        <p:nvSpPr>
          <p:cNvPr id="47" name="TextBox 46"/>
          <p:cNvSpPr txBox="1"/>
          <p:nvPr/>
        </p:nvSpPr>
        <p:spPr>
          <a:xfrm>
            <a:off x="6951447" y="2985017"/>
            <a:ext cx="587542" cy="258516"/>
          </a:xfrm>
          <a:prstGeom prst="rect">
            <a:avLst/>
          </a:prstGeom>
          <a:noFill/>
        </p:spPr>
        <p:txBody>
          <a:bodyPr wrap="none" lIns="91420" tIns="45710" rIns="91420" bIns="45710" rtlCol="0">
            <a:spAutoFit/>
          </a:bodyPr>
          <a:lstStyle/>
          <a:p>
            <a:pPr defTabSz="685721">
              <a:lnSpc>
                <a:spcPct val="90000"/>
              </a:lnSpc>
              <a:spcBef>
                <a:spcPct val="20000"/>
              </a:spcBef>
              <a:buSzPct val="90000"/>
            </a:pPr>
            <a:r>
              <a:rPr lang="en-US" sz="1200" dirty="0">
                <a:gradFill>
                  <a:gsLst>
                    <a:gs pos="0">
                      <a:srgbClr val="FFFFFF"/>
                    </a:gs>
                    <a:gs pos="100000">
                      <a:srgbClr val="FFFFFF"/>
                    </a:gs>
                  </a:gsLst>
                  <a:lin ang="5400000" scaled="0"/>
                </a:gradFill>
              </a:rPr>
              <a:t>TESTS</a:t>
            </a:r>
          </a:p>
        </p:txBody>
      </p:sp>
      <p:sp>
        <p:nvSpPr>
          <p:cNvPr id="49" name="Rectangle 48"/>
          <p:cNvSpPr/>
          <p:nvPr/>
        </p:nvSpPr>
        <p:spPr>
          <a:xfrm>
            <a:off x="685802" y="3409950"/>
            <a:ext cx="1828799" cy="990600"/>
          </a:xfrm>
          <a:prstGeom prst="rect">
            <a:avLst/>
          </a:prstGeom>
          <a:solidFill>
            <a:srgbClr val="00AEEF"/>
          </a:solidFill>
          <a:ln w="6350">
            <a:gradFill flip="none" rotWithShape="1">
              <a:gsLst>
                <a:gs pos="0">
                  <a:srgbClr val="000000">
                    <a:alpha val="0"/>
                  </a:srgbClr>
                </a:gs>
                <a:gs pos="50000">
                  <a:srgbClr val="005CB0">
                    <a:alpha val="78000"/>
                  </a:srgbClr>
                </a:gs>
                <a:gs pos="100000">
                  <a:srgbClr val="000C22">
                    <a:alpha val="0"/>
                  </a:srgbClr>
                </a:gs>
              </a:gsLst>
              <a:lin ang="16200000" scaled="1"/>
              <a:tileRect/>
            </a:gra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0" tIns="1005630" rIns="0" bIns="274261" numCol="1" rtlCol="0" anchor="ctr" anchorCtr="0" compatLnSpc="1">
            <a:prstTxWarp prst="textNoShape">
              <a:avLst/>
            </a:prstTxWarp>
          </a:bodyPr>
          <a:lstStyle/>
          <a:p>
            <a:pPr algn="ctr" defTabSz="685721" fontAlgn="base">
              <a:lnSpc>
                <a:spcPct val="90000"/>
              </a:lnSpc>
              <a:spcBef>
                <a:spcPts val="1350"/>
              </a:spcBef>
              <a:spcAft>
                <a:spcPts val="1350"/>
              </a:spcAft>
            </a:pPr>
            <a:endParaRPr lang="en-US" sz="1500" kern="0" dirty="0">
              <a:solidFill>
                <a:srgbClr val="FFFFFF">
                  <a:lumMod val="10000"/>
                  <a:lumOff val="90000"/>
                </a:srgbClr>
              </a:solidFill>
              <a:latin typeface="Segoe UI Light" pitchFamily="34" charset="0"/>
            </a:endParaRPr>
          </a:p>
        </p:txBody>
      </p:sp>
      <p:sp>
        <p:nvSpPr>
          <p:cNvPr id="50" name="TextBox 49"/>
          <p:cNvSpPr txBox="1"/>
          <p:nvPr/>
        </p:nvSpPr>
        <p:spPr>
          <a:xfrm>
            <a:off x="762000" y="3638555"/>
            <a:ext cx="1676400" cy="461665"/>
          </a:xfrm>
          <a:prstGeom prst="rect">
            <a:avLst/>
          </a:prstGeom>
          <a:noFill/>
        </p:spPr>
        <p:txBody>
          <a:bodyPr wrap="square" lIns="91420" tIns="45710" rIns="91420" bIns="45710" rtlCol="0">
            <a:spAutoFit/>
          </a:bodyPr>
          <a:lstStyle/>
          <a:p>
            <a:pPr defTabSz="913909"/>
            <a:r>
              <a:rPr lang="en-US" sz="1200" dirty="0">
                <a:solidFill>
                  <a:srgbClr val="FFFFFF"/>
                </a:solidFill>
              </a:rPr>
              <a:t>Discover regulatory requirements</a:t>
            </a:r>
          </a:p>
        </p:txBody>
      </p:sp>
      <p:sp>
        <p:nvSpPr>
          <p:cNvPr id="52" name="Rectangle 51"/>
          <p:cNvSpPr/>
          <p:nvPr/>
        </p:nvSpPr>
        <p:spPr>
          <a:xfrm>
            <a:off x="2590801" y="3409950"/>
            <a:ext cx="1828799" cy="990600"/>
          </a:xfrm>
          <a:prstGeom prst="rect">
            <a:avLst/>
          </a:prstGeom>
          <a:solidFill>
            <a:srgbClr val="0071BC"/>
          </a:solidFill>
          <a:ln w="6350">
            <a:gradFill flip="none" rotWithShape="1">
              <a:gsLst>
                <a:gs pos="0">
                  <a:srgbClr val="000000">
                    <a:alpha val="0"/>
                  </a:srgbClr>
                </a:gs>
                <a:gs pos="50000">
                  <a:srgbClr val="005CB0">
                    <a:alpha val="78000"/>
                  </a:srgbClr>
                </a:gs>
                <a:gs pos="100000">
                  <a:srgbClr val="000C22">
                    <a:alpha val="0"/>
                  </a:srgbClr>
                </a:gs>
              </a:gsLst>
              <a:lin ang="16200000" scaled="1"/>
              <a:tileRect/>
            </a:gra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0" tIns="1005630" rIns="0" bIns="274261" numCol="1" rtlCol="0" anchor="ctr" anchorCtr="0" compatLnSpc="1">
            <a:prstTxWarp prst="textNoShape">
              <a:avLst/>
            </a:prstTxWarp>
          </a:bodyPr>
          <a:lstStyle/>
          <a:p>
            <a:pPr algn="ctr" defTabSz="685721" fontAlgn="base">
              <a:lnSpc>
                <a:spcPct val="90000"/>
              </a:lnSpc>
              <a:spcBef>
                <a:spcPts val="1350"/>
              </a:spcBef>
              <a:spcAft>
                <a:spcPts val="1350"/>
              </a:spcAft>
            </a:pPr>
            <a:endParaRPr lang="en-US" sz="1500" kern="0" dirty="0">
              <a:solidFill>
                <a:srgbClr val="FFFFFF">
                  <a:lumMod val="10000"/>
                  <a:lumOff val="90000"/>
                </a:srgbClr>
              </a:solidFill>
              <a:latin typeface="Segoe UI Light" pitchFamily="34" charset="0"/>
            </a:endParaRPr>
          </a:p>
        </p:txBody>
      </p:sp>
      <p:sp>
        <p:nvSpPr>
          <p:cNvPr id="53" name="TextBox 52"/>
          <p:cNvSpPr txBox="1"/>
          <p:nvPr/>
        </p:nvSpPr>
        <p:spPr>
          <a:xfrm>
            <a:off x="2667001" y="3714752"/>
            <a:ext cx="1676400" cy="276999"/>
          </a:xfrm>
          <a:prstGeom prst="rect">
            <a:avLst/>
          </a:prstGeom>
          <a:noFill/>
        </p:spPr>
        <p:txBody>
          <a:bodyPr wrap="square" lIns="91420" tIns="45710" rIns="91420" bIns="45710" rtlCol="0">
            <a:spAutoFit/>
          </a:bodyPr>
          <a:lstStyle/>
          <a:p>
            <a:pPr defTabSz="913909"/>
            <a:r>
              <a:rPr lang="en-US" sz="1200" dirty="0">
                <a:solidFill>
                  <a:srgbClr val="FFFFFF"/>
                </a:solidFill>
              </a:rPr>
              <a:t>Create Policy</a:t>
            </a:r>
          </a:p>
        </p:txBody>
      </p:sp>
      <p:sp>
        <p:nvSpPr>
          <p:cNvPr id="55" name="Rectangle 54"/>
          <p:cNvSpPr/>
          <p:nvPr/>
        </p:nvSpPr>
        <p:spPr>
          <a:xfrm>
            <a:off x="4495802" y="3409950"/>
            <a:ext cx="1828799" cy="990600"/>
          </a:xfrm>
          <a:prstGeom prst="rect">
            <a:avLst/>
          </a:prstGeom>
          <a:solidFill>
            <a:srgbClr val="FF8A00"/>
          </a:solidFill>
          <a:ln w="6350">
            <a:gradFill flip="none" rotWithShape="1">
              <a:gsLst>
                <a:gs pos="0">
                  <a:srgbClr val="000000">
                    <a:alpha val="0"/>
                  </a:srgbClr>
                </a:gs>
                <a:gs pos="50000">
                  <a:srgbClr val="005CB0">
                    <a:alpha val="78000"/>
                  </a:srgbClr>
                </a:gs>
                <a:gs pos="100000">
                  <a:srgbClr val="000C22">
                    <a:alpha val="0"/>
                  </a:srgbClr>
                </a:gs>
              </a:gsLst>
              <a:lin ang="16200000" scaled="1"/>
              <a:tileRect/>
            </a:gra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0" tIns="1005630" rIns="0" bIns="274261" numCol="1" rtlCol="0" anchor="ctr" anchorCtr="0" compatLnSpc="1">
            <a:prstTxWarp prst="textNoShape">
              <a:avLst/>
            </a:prstTxWarp>
          </a:bodyPr>
          <a:lstStyle/>
          <a:p>
            <a:pPr algn="ctr" defTabSz="685721" fontAlgn="base">
              <a:lnSpc>
                <a:spcPct val="90000"/>
              </a:lnSpc>
              <a:spcBef>
                <a:spcPts val="1350"/>
              </a:spcBef>
              <a:spcAft>
                <a:spcPts val="1350"/>
              </a:spcAft>
            </a:pPr>
            <a:endParaRPr lang="en-US" sz="1500" kern="0" dirty="0">
              <a:solidFill>
                <a:srgbClr val="FFFFFF">
                  <a:lumMod val="10000"/>
                  <a:lumOff val="90000"/>
                </a:srgbClr>
              </a:solidFill>
              <a:latin typeface="Segoe UI Light" pitchFamily="34" charset="0"/>
            </a:endParaRPr>
          </a:p>
        </p:txBody>
      </p:sp>
      <p:sp>
        <p:nvSpPr>
          <p:cNvPr id="56" name="TextBox 55"/>
          <p:cNvSpPr txBox="1"/>
          <p:nvPr/>
        </p:nvSpPr>
        <p:spPr>
          <a:xfrm>
            <a:off x="4572001" y="3714752"/>
            <a:ext cx="1676400" cy="276999"/>
          </a:xfrm>
          <a:prstGeom prst="rect">
            <a:avLst/>
          </a:prstGeom>
          <a:noFill/>
        </p:spPr>
        <p:txBody>
          <a:bodyPr wrap="square" lIns="91420" tIns="45710" rIns="91420" bIns="45710" rtlCol="0">
            <a:spAutoFit/>
          </a:bodyPr>
          <a:lstStyle/>
          <a:p>
            <a:pPr defTabSz="913909"/>
            <a:r>
              <a:rPr lang="en-US" sz="1200" dirty="0">
                <a:solidFill>
                  <a:srgbClr val="FFFFFF"/>
                </a:solidFill>
              </a:rPr>
              <a:t>Design Service</a:t>
            </a:r>
          </a:p>
        </p:txBody>
      </p:sp>
      <p:sp>
        <p:nvSpPr>
          <p:cNvPr id="58" name="Rectangle 57"/>
          <p:cNvSpPr/>
          <p:nvPr/>
        </p:nvSpPr>
        <p:spPr>
          <a:xfrm>
            <a:off x="6400801" y="3409950"/>
            <a:ext cx="1828799" cy="990600"/>
          </a:xfrm>
          <a:prstGeom prst="rect">
            <a:avLst/>
          </a:prstGeom>
          <a:solidFill>
            <a:srgbClr val="FFBE00"/>
          </a:solidFill>
          <a:ln w="6350">
            <a:gradFill flip="none" rotWithShape="1">
              <a:gsLst>
                <a:gs pos="0">
                  <a:srgbClr val="000000">
                    <a:alpha val="0"/>
                  </a:srgbClr>
                </a:gs>
                <a:gs pos="50000">
                  <a:srgbClr val="005CB0">
                    <a:alpha val="78000"/>
                  </a:srgbClr>
                </a:gs>
                <a:gs pos="100000">
                  <a:srgbClr val="000C22">
                    <a:alpha val="0"/>
                  </a:srgbClr>
                </a:gs>
              </a:gsLst>
              <a:lin ang="16200000" scaled="1"/>
              <a:tileRect/>
            </a:gra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0" tIns="1005630" rIns="0" bIns="274261" numCol="1" rtlCol="0" anchor="ctr" anchorCtr="0" compatLnSpc="1">
            <a:prstTxWarp prst="textNoShape">
              <a:avLst/>
            </a:prstTxWarp>
          </a:bodyPr>
          <a:lstStyle/>
          <a:p>
            <a:pPr algn="ctr" defTabSz="685721" fontAlgn="base">
              <a:lnSpc>
                <a:spcPct val="90000"/>
              </a:lnSpc>
              <a:spcBef>
                <a:spcPts val="1350"/>
              </a:spcBef>
              <a:spcAft>
                <a:spcPts val="1350"/>
              </a:spcAft>
            </a:pPr>
            <a:endParaRPr lang="en-US" sz="1500" kern="0" dirty="0">
              <a:solidFill>
                <a:srgbClr val="FFFFFF">
                  <a:lumMod val="10000"/>
                  <a:lumOff val="90000"/>
                </a:srgbClr>
              </a:solidFill>
              <a:latin typeface="Segoe UI Light" pitchFamily="34" charset="0"/>
            </a:endParaRPr>
          </a:p>
        </p:txBody>
      </p:sp>
      <p:sp>
        <p:nvSpPr>
          <p:cNvPr id="59" name="TextBox 58"/>
          <p:cNvSpPr txBox="1"/>
          <p:nvPr/>
        </p:nvSpPr>
        <p:spPr>
          <a:xfrm>
            <a:off x="6477001" y="3638555"/>
            <a:ext cx="1676400" cy="461665"/>
          </a:xfrm>
          <a:prstGeom prst="rect">
            <a:avLst/>
          </a:prstGeom>
          <a:noFill/>
        </p:spPr>
        <p:txBody>
          <a:bodyPr wrap="square" lIns="91420" tIns="45710" rIns="91420" bIns="45710" rtlCol="0">
            <a:spAutoFit/>
          </a:bodyPr>
          <a:lstStyle/>
          <a:p>
            <a:pPr defTabSz="913909"/>
            <a:r>
              <a:rPr lang="en-US" sz="1200" dirty="0">
                <a:solidFill>
                  <a:srgbClr val="FFFFFF"/>
                </a:solidFill>
              </a:rPr>
              <a:t>Align audit requirements </a:t>
            </a:r>
          </a:p>
        </p:txBody>
      </p:sp>
      <p:sp>
        <p:nvSpPr>
          <p:cNvPr id="27"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8"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pic>
        <p:nvPicPr>
          <p:cNvPr id="30"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93070968"/>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1" y="1007062"/>
            <a:ext cx="9144000" cy="11125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7119" tIns="28561" rIns="28561" bIns="57119" numCol="1" spcCol="0" rtlCol="0" fromWordArt="0" anchor="b" anchorCtr="0" forceAA="0" compatLnSpc="1">
            <a:prstTxWarp prst="textNoShape">
              <a:avLst/>
            </a:prstTxWarp>
            <a:noAutofit/>
          </a:bodyPr>
          <a:lstStyle/>
          <a:p>
            <a:pPr algn="ctr" defTabSz="571020" fontAlgn="base">
              <a:spcBef>
                <a:spcPct val="0"/>
              </a:spcBef>
              <a:spcAft>
                <a:spcPct val="0"/>
              </a:spcAft>
            </a:pPr>
            <a:endParaRPr lang="en-US" spc="-32"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1" name="Title 10"/>
          <p:cNvSpPr>
            <a:spLocks noGrp="1"/>
          </p:cNvSpPr>
          <p:nvPr>
            <p:ph type="title"/>
          </p:nvPr>
        </p:nvSpPr>
        <p:spPr/>
        <p:txBody>
          <a:bodyPr>
            <a:normAutofit/>
          </a:bodyPr>
          <a:lstStyle/>
          <a:p>
            <a:r>
              <a:rPr lang="en-US" dirty="0" smtClean="0"/>
              <a:t>Windows Azure World-Class By Design</a:t>
            </a:r>
            <a:endParaRPr lang="en-US" dirty="0">
              <a:solidFill>
                <a:srgbClr val="16A2D9"/>
              </a:solidFill>
            </a:endParaRPr>
          </a:p>
        </p:txBody>
      </p:sp>
      <p:grpSp>
        <p:nvGrpSpPr>
          <p:cNvPr id="19" name="PF TEXT"/>
          <p:cNvGrpSpPr/>
          <p:nvPr/>
        </p:nvGrpSpPr>
        <p:grpSpPr>
          <a:xfrm>
            <a:off x="383228" y="2216105"/>
            <a:ext cx="8362373" cy="2523768"/>
            <a:chOff x="625619" y="3555869"/>
            <a:chExt cx="13379797" cy="4038030"/>
          </a:xfrm>
        </p:grpSpPr>
        <p:pic>
          <p:nvPicPr>
            <p:cNvPr id="12290" name="Picture 2" descr="\\ADISVR2\Shared\ADI_Projects\Microsoft\-_Media_Bank_Assets_-\Bing\image_library\Reach\124618657.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6979" t="-396" r="16979" b="396"/>
            <a:stretch/>
          </p:blipFill>
          <p:spPr bwMode="auto">
            <a:xfrm>
              <a:off x="625619" y="3555869"/>
              <a:ext cx="3684835" cy="3683879"/>
            </a:xfrm>
            <a:prstGeom prst="rect">
              <a:avLst/>
            </a:prstGeom>
            <a:noFill/>
            <a:extLst>
              <a:ext uri="{909E8E84-426E-40DD-AFC4-6F175D3DCCD1}">
                <a14:hiddenFill xmlns:a14="http://schemas.microsoft.com/office/drawing/2010/main">
                  <a:solidFill>
                    <a:srgbClr val="FFFFFF"/>
                  </a:solidFill>
                </a14:hiddenFill>
              </a:ext>
            </a:extLst>
          </p:spPr>
        </p:pic>
        <p:sp>
          <p:nvSpPr>
            <p:cNvPr id="31" name="Rectangle 30"/>
            <p:cNvSpPr/>
            <p:nvPr/>
          </p:nvSpPr>
          <p:spPr>
            <a:xfrm>
              <a:off x="4433030" y="3555869"/>
              <a:ext cx="9572386" cy="4038030"/>
            </a:xfrm>
            <a:prstGeom prst="rect">
              <a:avLst/>
            </a:prstGeom>
          </p:spPr>
          <p:txBody>
            <a:bodyPr wrap="square">
              <a:spAutoFit/>
            </a:bodyPr>
            <a:lstStyle/>
            <a:p>
              <a:pPr>
                <a:spcBef>
                  <a:spcPts val="750"/>
                </a:spcBef>
                <a:spcAft>
                  <a:spcPts val="375"/>
                </a:spcAft>
              </a:pPr>
              <a:r>
                <a:rPr lang="en-US" sz="2300" dirty="0">
                  <a:gradFill>
                    <a:gsLst>
                      <a:gs pos="0">
                        <a:schemeClr val="tx1"/>
                      </a:gs>
                      <a:gs pos="100000">
                        <a:schemeClr val="tx1"/>
                      </a:gs>
                    </a:gsLst>
                    <a:lin ang="5400000" scaled="0"/>
                  </a:gradFill>
                </a:rPr>
                <a:t>State-of-the-art security and access control</a:t>
              </a:r>
            </a:p>
            <a:p>
              <a:pPr>
                <a:buClr>
                  <a:schemeClr val="accent2"/>
                </a:buClr>
                <a:buSzPct val="100000"/>
              </a:pPr>
              <a:r>
                <a:rPr lang="en-US" sz="2300" dirty="0">
                  <a:gradFill>
                    <a:gsLst>
                      <a:gs pos="0">
                        <a:schemeClr val="tx1"/>
                      </a:gs>
                      <a:gs pos="100000">
                        <a:schemeClr val="tx1"/>
                      </a:gs>
                    </a:gsLst>
                    <a:lin ang="5400000" scaled="0"/>
                  </a:gradFill>
                </a:rPr>
                <a:t>World-class data centers - redundant power, climate control, and fire prevention and suppression</a:t>
              </a:r>
            </a:p>
            <a:p>
              <a:pPr>
                <a:spcBef>
                  <a:spcPts val="750"/>
                </a:spcBef>
                <a:spcAft>
                  <a:spcPts val="375"/>
                </a:spcAft>
              </a:pPr>
              <a:r>
                <a:rPr lang="en-US" sz="2300" dirty="0">
                  <a:gradFill>
                    <a:gsLst>
                      <a:gs pos="0">
                        <a:schemeClr val="tx1"/>
                      </a:gs>
                      <a:gs pos="100000">
                        <a:schemeClr val="tx1"/>
                      </a:gs>
                    </a:gsLst>
                    <a:lin ang="5400000" scaled="0"/>
                  </a:gradFill>
                </a:rPr>
                <a:t>Leading innovator in power efficiency</a:t>
              </a:r>
            </a:p>
            <a:p>
              <a:pPr>
                <a:spcBef>
                  <a:spcPts val="750"/>
                </a:spcBef>
                <a:spcAft>
                  <a:spcPts val="375"/>
                </a:spcAft>
              </a:pPr>
              <a:r>
                <a:rPr lang="en-US" sz="2300" dirty="0">
                  <a:gradFill>
                    <a:gsLst>
                      <a:gs pos="0">
                        <a:schemeClr val="tx1"/>
                      </a:gs>
                      <a:gs pos="100000">
                        <a:schemeClr val="tx1"/>
                      </a:gs>
                    </a:gsLst>
                    <a:lin ang="5400000" scaled="0"/>
                  </a:gradFill>
                </a:rPr>
                <a:t>Multi $billion cloud infrastructure</a:t>
              </a:r>
            </a:p>
          </p:txBody>
        </p:sp>
      </p:grpSp>
      <p:grpSp>
        <p:nvGrpSpPr>
          <p:cNvPr id="4" name="Physical Features"/>
          <p:cNvGrpSpPr/>
          <p:nvPr/>
        </p:nvGrpSpPr>
        <p:grpSpPr>
          <a:xfrm>
            <a:off x="383222" y="1210145"/>
            <a:ext cx="1606988" cy="729430"/>
            <a:chOff x="674939" y="2171990"/>
            <a:chExt cx="2571181" cy="1167088"/>
          </a:xfrm>
        </p:grpSpPr>
        <p:grpSp>
          <p:nvGrpSpPr>
            <p:cNvPr id="17" name="Group 16"/>
            <p:cNvGrpSpPr/>
            <p:nvPr/>
          </p:nvGrpSpPr>
          <p:grpSpPr>
            <a:xfrm>
              <a:off x="674939" y="2283008"/>
              <a:ext cx="643720" cy="1002915"/>
              <a:chOff x="12426951" y="1573213"/>
              <a:chExt cx="2381250" cy="3709987"/>
            </a:xfrm>
            <a:solidFill>
              <a:schemeClr val="accent5"/>
            </a:solidFill>
          </p:grpSpPr>
          <p:sp>
            <p:nvSpPr>
              <p:cNvPr id="18" name="Freeform 6"/>
              <p:cNvSpPr>
                <a:spLocks noEditPoints="1"/>
              </p:cNvSpPr>
              <p:nvPr/>
            </p:nvSpPr>
            <p:spPr bwMode="auto">
              <a:xfrm>
                <a:off x="12426951" y="3081338"/>
                <a:ext cx="1487488" cy="2201862"/>
              </a:xfrm>
              <a:custGeom>
                <a:avLst/>
                <a:gdLst>
                  <a:gd name="T0" fmla="*/ 0 w 729"/>
                  <a:gd name="T1" fmla="*/ 1079 h 1079"/>
                  <a:gd name="T2" fmla="*/ 729 w 729"/>
                  <a:gd name="T3" fmla="*/ 0 h 1079"/>
                  <a:gd name="T4" fmla="*/ 316 w 729"/>
                  <a:gd name="T5" fmla="*/ 948 h 1079"/>
                  <a:gd name="T6" fmla="*/ 189 w 729"/>
                  <a:gd name="T7" fmla="*/ 1007 h 1079"/>
                  <a:gd name="T8" fmla="*/ 131 w 729"/>
                  <a:gd name="T9" fmla="*/ 890 h 1079"/>
                  <a:gd name="T10" fmla="*/ 257 w 729"/>
                  <a:gd name="T11" fmla="*/ 831 h 1079"/>
                  <a:gd name="T12" fmla="*/ 316 w 729"/>
                  <a:gd name="T13" fmla="*/ 948 h 1079"/>
                  <a:gd name="T14" fmla="*/ 257 w 729"/>
                  <a:gd name="T15" fmla="*/ 766 h 1079"/>
                  <a:gd name="T16" fmla="*/ 131 w 729"/>
                  <a:gd name="T17" fmla="*/ 707 h 1079"/>
                  <a:gd name="T18" fmla="*/ 189 w 729"/>
                  <a:gd name="T19" fmla="*/ 591 h 1079"/>
                  <a:gd name="T20" fmla="*/ 316 w 729"/>
                  <a:gd name="T21" fmla="*/ 649 h 1079"/>
                  <a:gd name="T22" fmla="*/ 316 w 729"/>
                  <a:gd name="T23" fmla="*/ 469 h 1079"/>
                  <a:gd name="T24" fmla="*/ 189 w 729"/>
                  <a:gd name="T25" fmla="*/ 528 h 1079"/>
                  <a:gd name="T26" fmla="*/ 131 w 729"/>
                  <a:gd name="T27" fmla="*/ 411 h 1079"/>
                  <a:gd name="T28" fmla="*/ 257 w 729"/>
                  <a:gd name="T29" fmla="*/ 353 h 1079"/>
                  <a:gd name="T30" fmla="*/ 316 w 729"/>
                  <a:gd name="T31" fmla="*/ 469 h 1079"/>
                  <a:gd name="T32" fmla="*/ 257 w 729"/>
                  <a:gd name="T33" fmla="*/ 272 h 1079"/>
                  <a:gd name="T34" fmla="*/ 131 w 729"/>
                  <a:gd name="T35" fmla="*/ 214 h 1079"/>
                  <a:gd name="T36" fmla="*/ 189 w 729"/>
                  <a:gd name="T37" fmla="*/ 97 h 1079"/>
                  <a:gd name="T38" fmla="*/ 316 w 729"/>
                  <a:gd name="T39" fmla="*/ 156 h 1079"/>
                  <a:gd name="T40" fmla="*/ 576 w 729"/>
                  <a:gd name="T41" fmla="*/ 948 h 1079"/>
                  <a:gd name="T42" fmla="*/ 449 w 729"/>
                  <a:gd name="T43" fmla="*/ 1007 h 1079"/>
                  <a:gd name="T44" fmla="*/ 391 w 729"/>
                  <a:gd name="T45" fmla="*/ 890 h 1079"/>
                  <a:gd name="T46" fmla="*/ 518 w 729"/>
                  <a:gd name="T47" fmla="*/ 831 h 1079"/>
                  <a:gd name="T48" fmla="*/ 576 w 729"/>
                  <a:gd name="T49" fmla="*/ 948 h 1079"/>
                  <a:gd name="T50" fmla="*/ 518 w 729"/>
                  <a:gd name="T51" fmla="*/ 766 h 1079"/>
                  <a:gd name="T52" fmla="*/ 391 w 729"/>
                  <a:gd name="T53" fmla="*/ 707 h 1079"/>
                  <a:gd name="T54" fmla="*/ 449 w 729"/>
                  <a:gd name="T55" fmla="*/ 591 h 1079"/>
                  <a:gd name="T56" fmla="*/ 576 w 729"/>
                  <a:gd name="T57" fmla="*/ 649 h 1079"/>
                  <a:gd name="T58" fmla="*/ 576 w 729"/>
                  <a:gd name="T59" fmla="*/ 469 h 1079"/>
                  <a:gd name="T60" fmla="*/ 449 w 729"/>
                  <a:gd name="T61" fmla="*/ 528 h 1079"/>
                  <a:gd name="T62" fmla="*/ 391 w 729"/>
                  <a:gd name="T63" fmla="*/ 411 h 1079"/>
                  <a:gd name="T64" fmla="*/ 518 w 729"/>
                  <a:gd name="T65" fmla="*/ 353 h 1079"/>
                  <a:gd name="T66" fmla="*/ 576 w 729"/>
                  <a:gd name="T67" fmla="*/ 469 h 1079"/>
                  <a:gd name="T68" fmla="*/ 518 w 729"/>
                  <a:gd name="T69" fmla="*/ 272 h 1079"/>
                  <a:gd name="T70" fmla="*/ 391 w 729"/>
                  <a:gd name="T71" fmla="*/ 214 h 1079"/>
                  <a:gd name="T72" fmla="*/ 449 w 729"/>
                  <a:gd name="T73" fmla="*/ 97 h 1079"/>
                  <a:gd name="T74" fmla="*/ 576 w 729"/>
                  <a:gd name="T75" fmla="*/ 156 h 1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29" h="1079">
                    <a:moveTo>
                      <a:pt x="0" y="0"/>
                    </a:moveTo>
                    <a:cubicBezTo>
                      <a:pt x="0" y="1079"/>
                      <a:pt x="0" y="1079"/>
                      <a:pt x="0" y="1079"/>
                    </a:cubicBezTo>
                    <a:cubicBezTo>
                      <a:pt x="729" y="1079"/>
                      <a:pt x="729" y="1079"/>
                      <a:pt x="729" y="1079"/>
                    </a:cubicBezTo>
                    <a:cubicBezTo>
                      <a:pt x="729" y="0"/>
                      <a:pt x="729" y="0"/>
                      <a:pt x="729" y="0"/>
                    </a:cubicBezTo>
                    <a:lnTo>
                      <a:pt x="0" y="0"/>
                    </a:lnTo>
                    <a:close/>
                    <a:moveTo>
                      <a:pt x="316" y="948"/>
                    </a:moveTo>
                    <a:cubicBezTo>
                      <a:pt x="316" y="980"/>
                      <a:pt x="290" y="1007"/>
                      <a:pt x="257" y="1007"/>
                    </a:cubicBezTo>
                    <a:cubicBezTo>
                      <a:pt x="189" y="1007"/>
                      <a:pt x="189" y="1007"/>
                      <a:pt x="189" y="1007"/>
                    </a:cubicBezTo>
                    <a:cubicBezTo>
                      <a:pt x="157" y="1007"/>
                      <a:pt x="131" y="980"/>
                      <a:pt x="131" y="948"/>
                    </a:cubicBezTo>
                    <a:cubicBezTo>
                      <a:pt x="131" y="890"/>
                      <a:pt x="131" y="890"/>
                      <a:pt x="131" y="890"/>
                    </a:cubicBezTo>
                    <a:cubicBezTo>
                      <a:pt x="131" y="858"/>
                      <a:pt x="157" y="831"/>
                      <a:pt x="189" y="831"/>
                    </a:cubicBezTo>
                    <a:cubicBezTo>
                      <a:pt x="257" y="831"/>
                      <a:pt x="257" y="831"/>
                      <a:pt x="257" y="831"/>
                    </a:cubicBezTo>
                    <a:cubicBezTo>
                      <a:pt x="290" y="831"/>
                      <a:pt x="316" y="858"/>
                      <a:pt x="316" y="890"/>
                    </a:cubicBezTo>
                    <a:lnTo>
                      <a:pt x="316" y="948"/>
                    </a:lnTo>
                    <a:close/>
                    <a:moveTo>
                      <a:pt x="316" y="707"/>
                    </a:moveTo>
                    <a:cubicBezTo>
                      <a:pt x="316" y="740"/>
                      <a:pt x="290" y="766"/>
                      <a:pt x="257" y="766"/>
                    </a:cubicBezTo>
                    <a:cubicBezTo>
                      <a:pt x="189" y="766"/>
                      <a:pt x="189" y="766"/>
                      <a:pt x="189" y="766"/>
                    </a:cubicBezTo>
                    <a:cubicBezTo>
                      <a:pt x="157" y="766"/>
                      <a:pt x="131" y="740"/>
                      <a:pt x="131" y="707"/>
                    </a:cubicBezTo>
                    <a:cubicBezTo>
                      <a:pt x="131" y="649"/>
                      <a:pt x="131" y="649"/>
                      <a:pt x="131" y="649"/>
                    </a:cubicBezTo>
                    <a:cubicBezTo>
                      <a:pt x="131" y="617"/>
                      <a:pt x="157" y="591"/>
                      <a:pt x="189" y="591"/>
                    </a:cubicBezTo>
                    <a:cubicBezTo>
                      <a:pt x="257" y="591"/>
                      <a:pt x="257" y="591"/>
                      <a:pt x="257" y="591"/>
                    </a:cubicBezTo>
                    <a:cubicBezTo>
                      <a:pt x="290" y="591"/>
                      <a:pt x="316" y="617"/>
                      <a:pt x="316" y="649"/>
                    </a:cubicBezTo>
                    <a:lnTo>
                      <a:pt x="316" y="707"/>
                    </a:lnTo>
                    <a:close/>
                    <a:moveTo>
                      <a:pt x="316" y="469"/>
                    </a:moveTo>
                    <a:cubicBezTo>
                      <a:pt x="316" y="501"/>
                      <a:pt x="290" y="528"/>
                      <a:pt x="257" y="528"/>
                    </a:cubicBezTo>
                    <a:cubicBezTo>
                      <a:pt x="189" y="528"/>
                      <a:pt x="189" y="528"/>
                      <a:pt x="189" y="528"/>
                    </a:cubicBezTo>
                    <a:cubicBezTo>
                      <a:pt x="157" y="528"/>
                      <a:pt x="131" y="501"/>
                      <a:pt x="131" y="469"/>
                    </a:cubicBezTo>
                    <a:cubicBezTo>
                      <a:pt x="131" y="411"/>
                      <a:pt x="131" y="411"/>
                      <a:pt x="131" y="411"/>
                    </a:cubicBezTo>
                    <a:cubicBezTo>
                      <a:pt x="131" y="379"/>
                      <a:pt x="157" y="353"/>
                      <a:pt x="189" y="353"/>
                    </a:cubicBezTo>
                    <a:cubicBezTo>
                      <a:pt x="257" y="353"/>
                      <a:pt x="257" y="353"/>
                      <a:pt x="257" y="353"/>
                    </a:cubicBezTo>
                    <a:cubicBezTo>
                      <a:pt x="290" y="353"/>
                      <a:pt x="316" y="379"/>
                      <a:pt x="316" y="411"/>
                    </a:cubicBezTo>
                    <a:lnTo>
                      <a:pt x="316" y="469"/>
                    </a:lnTo>
                    <a:close/>
                    <a:moveTo>
                      <a:pt x="316" y="214"/>
                    </a:moveTo>
                    <a:cubicBezTo>
                      <a:pt x="316" y="246"/>
                      <a:pt x="290" y="272"/>
                      <a:pt x="257" y="272"/>
                    </a:cubicBezTo>
                    <a:cubicBezTo>
                      <a:pt x="189" y="272"/>
                      <a:pt x="189" y="272"/>
                      <a:pt x="189" y="272"/>
                    </a:cubicBezTo>
                    <a:cubicBezTo>
                      <a:pt x="157" y="272"/>
                      <a:pt x="131" y="246"/>
                      <a:pt x="131" y="214"/>
                    </a:cubicBezTo>
                    <a:cubicBezTo>
                      <a:pt x="131" y="156"/>
                      <a:pt x="131" y="156"/>
                      <a:pt x="131" y="156"/>
                    </a:cubicBezTo>
                    <a:cubicBezTo>
                      <a:pt x="131" y="123"/>
                      <a:pt x="157" y="97"/>
                      <a:pt x="189" y="97"/>
                    </a:cubicBezTo>
                    <a:cubicBezTo>
                      <a:pt x="257" y="97"/>
                      <a:pt x="257" y="97"/>
                      <a:pt x="257" y="97"/>
                    </a:cubicBezTo>
                    <a:cubicBezTo>
                      <a:pt x="290" y="97"/>
                      <a:pt x="316" y="123"/>
                      <a:pt x="316" y="156"/>
                    </a:cubicBezTo>
                    <a:lnTo>
                      <a:pt x="316" y="214"/>
                    </a:lnTo>
                    <a:close/>
                    <a:moveTo>
                      <a:pt x="576" y="948"/>
                    </a:moveTo>
                    <a:cubicBezTo>
                      <a:pt x="576" y="980"/>
                      <a:pt x="550" y="1007"/>
                      <a:pt x="518" y="1007"/>
                    </a:cubicBezTo>
                    <a:cubicBezTo>
                      <a:pt x="449" y="1007"/>
                      <a:pt x="449" y="1007"/>
                      <a:pt x="449" y="1007"/>
                    </a:cubicBezTo>
                    <a:cubicBezTo>
                      <a:pt x="417" y="1007"/>
                      <a:pt x="391" y="980"/>
                      <a:pt x="391" y="948"/>
                    </a:cubicBezTo>
                    <a:cubicBezTo>
                      <a:pt x="391" y="890"/>
                      <a:pt x="391" y="890"/>
                      <a:pt x="391" y="890"/>
                    </a:cubicBezTo>
                    <a:cubicBezTo>
                      <a:pt x="391" y="858"/>
                      <a:pt x="417" y="831"/>
                      <a:pt x="449" y="831"/>
                    </a:cubicBezTo>
                    <a:cubicBezTo>
                      <a:pt x="518" y="831"/>
                      <a:pt x="518" y="831"/>
                      <a:pt x="518" y="831"/>
                    </a:cubicBezTo>
                    <a:cubicBezTo>
                      <a:pt x="550" y="831"/>
                      <a:pt x="576" y="858"/>
                      <a:pt x="576" y="890"/>
                    </a:cubicBezTo>
                    <a:lnTo>
                      <a:pt x="576" y="948"/>
                    </a:lnTo>
                    <a:close/>
                    <a:moveTo>
                      <a:pt x="576" y="707"/>
                    </a:moveTo>
                    <a:cubicBezTo>
                      <a:pt x="576" y="740"/>
                      <a:pt x="550" y="766"/>
                      <a:pt x="518" y="766"/>
                    </a:cubicBezTo>
                    <a:cubicBezTo>
                      <a:pt x="449" y="766"/>
                      <a:pt x="449" y="766"/>
                      <a:pt x="449" y="766"/>
                    </a:cubicBezTo>
                    <a:cubicBezTo>
                      <a:pt x="417" y="766"/>
                      <a:pt x="391" y="740"/>
                      <a:pt x="391" y="707"/>
                    </a:cubicBezTo>
                    <a:cubicBezTo>
                      <a:pt x="391" y="649"/>
                      <a:pt x="391" y="649"/>
                      <a:pt x="391" y="649"/>
                    </a:cubicBezTo>
                    <a:cubicBezTo>
                      <a:pt x="391" y="617"/>
                      <a:pt x="417" y="591"/>
                      <a:pt x="449" y="591"/>
                    </a:cubicBezTo>
                    <a:cubicBezTo>
                      <a:pt x="518" y="591"/>
                      <a:pt x="518" y="591"/>
                      <a:pt x="518" y="591"/>
                    </a:cubicBezTo>
                    <a:cubicBezTo>
                      <a:pt x="550" y="591"/>
                      <a:pt x="576" y="617"/>
                      <a:pt x="576" y="649"/>
                    </a:cubicBezTo>
                    <a:lnTo>
                      <a:pt x="576" y="707"/>
                    </a:lnTo>
                    <a:close/>
                    <a:moveTo>
                      <a:pt x="576" y="469"/>
                    </a:moveTo>
                    <a:cubicBezTo>
                      <a:pt x="576" y="501"/>
                      <a:pt x="550" y="528"/>
                      <a:pt x="518" y="528"/>
                    </a:cubicBezTo>
                    <a:cubicBezTo>
                      <a:pt x="449" y="528"/>
                      <a:pt x="449" y="528"/>
                      <a:pt x="449" y="528"/>
                    </a:cubicBezTo>
                    <a:cubicBezTo>
                      <a:pt x="417" y="528"/>
                      <a:pt x="391" y="501"/>
                      <a:pt x="391" y="469"/>
                    </a:cubicBezTo>
                    <a:cubicBezTo>
                      <a:pt x="391" y="411"/>
                      <a:pt x="391" y="411"/>
                      <a:pt x="391" y="411"/>
                    </a:cubicBezTo>
                    <a:cubicBezTo>
                      <a:pt x="391" y="379"/>
                      <a:pt x="417" y="353"/>
                      <a:pt x="449" y="353"/>
                    </a:cubicBezTo>
                    <a:cubicBezTo>
                      <a:pt x="518" y="353"/>
                      <a:pt x="518" y="353"/>
                      <a:pt x="518" y="353"/>
                    </a:cubicBezTo>
                    <a:cubicBezTo>
                      <a:pt x="550" y="353"/>
                      <a:pt x="576" y="379"/>
                      <a:pt x="576" y="411"/>
                    </a:cubicBezTo>
                    <a:lnTo>
                      <a:pt x="576" y="469"/>
                    </a:lnTo>
                    <a:close/>
                    <a:moveTo>
                      <a:pt x="576" y="214"/>
                    </a:moveTo>
                    <a:cubicBezTo>
                      <a:pt x="576" y="246"/>
                      <a:pt x="550" y="272"/>
                      <a:pt x="518" y="272"/>
                    </a:cubicBezTo>
                    <a:cubicBezTo>
                      <a:pt x="449" y="272"/>
                      <a:pt x="449" y="272"/>
                      <a:pt x="449" y="272"/>
                    </a:cubicBezTo>
                    <a:cubicBezTo>
                      <a:pt x="417" y="272"/>
                      <a:pt x="391" y="246"/>
                      <a:pt x="391" y="214"/>
                    </a:cubicBezTo>
                    <a:cubicBezTo>
                      <a:pt x="391" y="156"/>
                      <a:pt x="391" y="156"/>
                      <a:pt x="391" y="156"/>
                    </a:cubicBezTo>
                    <a:cubicBezTo>
                      <a:pt x="391" y="123"/>
                      <a:pt x="417" y="97"/>
                      <a:pt x="449" y="97"/>
                    </a:cubicBezTo>
                    <a:cubicBezTo>
                      <a:pt x="518" y="97"/>
                      <a:pt x="518" y="97"/>
                      <a:pt x="518" y="97"/>
                    </a:cubicBezTo>
                    <a:cubicBezTo>
                      <a:pt x="550" y="97"/>
                      <a:pt x="576" y="123"/>
                      <a:pt x="576" y="156"/>
                    </a:cubicBezTo>
                    <a:lnTo>
                      <a:pt x="576" y="21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4490"/>
                <a:endParaRPr lang="en-US" sz="1300" dirty="0">
                  <a:solidFill>
                    <a:srgbClr val="FFFFFF"/>
                  </a:solidFill>
                </a:endParaRPr>
              </a:p>
            </p:txBody>
          </p:sp>
          <p:sp>
            <p:nvSpPr>
              <p:cNvPr id="23" name="Freeform 7"/>
              <p:cNvSpPr>
                <a:spLocks noEditPoints="1"/>
              </p:cNvSpPr>
              <p:nvPr/>
            </p:nvSpPr>
            <p:spPr bwMode="auto">
              <a:xfrm>
                <a:off x="13319126" y="1573213"/>
                <a:ext cx="1489075" cy="3709987"/>
              </a:xfrm>
              <a:custGeom>
                <a:avLst/>
                <a:gdLst>
                  <a:gd name="T0" fmla="*/ 0 w 730"/>
                  <a:gd name="T1" fmla="*/ 688 h 1818"/>
                  <a:gd name="T2" fmla="*/ 343 w 730"/>
                  <a:gd name="T3" fmla="*/ 1818 h 1818"/>
                  <a:gd name="T4" fmla="*/ 730 w 730"/>
                  <a:gd name="T5" fmla="*/ 0 h 1818"/>
                  <a:gd name="T6" fmla="*/ 311 w 730"/>
                  <a:gd name="T7" fmla="*/ 490 h 1818"/>
                  <a:gd name="T8" fmla="*/ 185 w 730"/>
                  <a:gd name="T9" fmla="*/ 548 h 1818"/>
                  <a:gd name="T10" fmla="*/ 127 w 730"/>
                  <a:gd name="T11" fmla="*/ 432 h 1818"/>
                  <a:gd name="T12" fmla="*/ 253 w 730"/>
                  <a:gd name="T13" fmla="*/ 373 h 1818"/>
                  <a:gd name="T14" fmla="*/ 311 w 730"/>
                  <a:gd name="T15" fmla="*/ 490 h 1818"/>
                  <a:gd name="T16" fmla="*/ 253 w 730"/>
                  <a:gd name="T17" fmla="*/ 309 h 1818"/>
                  <a:gd name="T18" fmla="*/ 127 w 730"/>
                  <a:gd name="T19" fmla="*/ 250 h 1818"/>
                  <a:gd name="T20" fmla="*/ 185 w 730"/>
                  <a:gd name="T21" fmla="*/ 134 h 1818"/>
                  <a:gd name="T22" fmla="*/ 311 w 730"/>
                  <a:gd name="T23" fmla="*/ 192 h 1818"/>
                  <a:gd name="T24" fmla="*/ 572 w 730"/>
                  <a:gd name="T25" fmla="*/ 1449 h 1818"/>
                  <a:gd name="T26" fmla="*/ 445 w 730"/>
                  <a:gd name="T27" fmla="*/ 1507 h 1818"/>
                  <a:gd name="T28" fmla="*/ 387 w 730"/>
                  <a:gd name="T29" fmla="*/ 1391 h 1818"/>
                  <a:gd name="T30" fmla="*/ 513 w 730"/>
                  <a:gd name="T31" fmla="*/ 1332 h 1818"/>
                  <a:gd name="T32" fmla="*/ 572 w 730"/>
                  <a:gd name="T33" fmla="*/ 1449 h 1818"/>
                  <a:gd name="T34" fmla="*/ 513 w 730"/>
                  <a:gd name="T35" fmla="*/ 1268 h 1818"/>
                  <a:gd name="T36" fmla="*/ 387 w 730"/>
                  <a:gd name="T37" fmla="*/ 1209 h 1818"/>
                  <a:gd name="T38" fmla="*/ 445 w 730"/>
                  <a:gd name="T39" fmla="*/ 1092 h 1818"/>
                  <a:gd name="T40" fmla="*/ 572 w 730"/>
                  <a:gd name="T41" fmla="*/ 1151 h 1818"/>
                  <a:gd name="T42" fmla="*/ 572 w 730"/>
                  <a:gd name="T43" fmla="*/ 970 h 1818"/>
                  <a:gd name="T44" fmla="*/ 445 w 730"/>
                  <a:gd name="T45" fmla="*/ 1028 h 1818"/>
                  <a:gd name="T46" fmla="*/ 387 w 730"/>
                  <a:gd name="T47" fmla="*/ 911 h 1818"/>
                  <a:gd name="T48" fmla="*/ 513 w 730"/>
                  <a:gd name="T49" fmla="*/ 853 h 1818"/>
                  <a:gd name="T50" fmla="*/ 572 w 730"/>
                  <a:gd name="T51" fmla="*/ 970 h 1818"/>
                  <a:gd name="T52" fmla="*/ 513 w 730"/>
                  <a:gd name="T53" fmla="*/ 788 h 1818"/>
                  <a:gd name="T54" fmla="*/ 387 w 730"/>
                  <a:gd name="T55" fmla="*/ 730 h 1818"/>
                  <a:gd name="T56" fmla="*/ 445 w 730"/>
                  <a:gd name="T57" fmla="*/ 613 h 1818"/>
                  <a:gd name="T58" fmla="*/ 572 w 730"/>
                  <a:gd name="T59" fmla="*/ 671 h 1818"/>
                  <a:gd name="T60" fmla="*/ 572 w 730"/>
                  <a:gd name="T61" fmla="*/ 490 h 1818"/>
                  <a:gd name="T62" fmla="*/ 445 w 730"/>
                  <a:gd name="T63" fmla="*/ 548 h 1818"/>
                  <a:gd name="T64" fmla="*/ 387 w 730"/>
                  <a:gd name="T65" fmla="*/ 432 h 1818"/>
                  <a:gd name="T66" fmla="*/ 513 w 730"/>
                  <a:gd name="T67" fmla="*/ 373 h 1818"/>
                  <a:gd name="T68" fmla="*/ 572 w 730"/>
                  <a:gd name="T69" fmla="*/ 490 h 1818"/>
                  <a:gd name="T70" fmla="*/ 513 w 730"/>
                  <a:gd name="T71" fmla="*/ 309 h 1818"/>
                  <a:gd name="T72" fmla="*/ 387 w 730"/>
                  <a:gd name="T73" fmla="*/ 250 h 1818"/>
                  <a:gd name="T74" fmla="*/ 445 w 730"/>
                  <a:gd name="T75" fmla="*/ 134 h 1818"/>
                  <a:gd name="T76" fmla="*/ 572 w 730"/>
                  <a:gd name="T77" fmla="*/ 192 h 1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0" h="1818">
                    <a:moveTo>
                      <a:pt x="0" y="0"/>
                    </a:moveTo>
                    <a:cubicBezTo>
                      <a:pt x="0" y="688"/>
                      <a:pt x="0" y="688"/>
                      <a:pt x="0" y="688"/>
                    </a:cubicBezTo>
                    <a:cubicBezTo>
                      <a:pt x="343" y="688"/>
                      <a:pt x="343" y="688"/>
                      <a:pt x="343" y="688"/>
                    </a:cubicBezTo>
                    <a:cubicBezTo>
                      <a:pt x="343" y="1818"/>
                      <a:pt x="343" y="1818"/>
                      <a:pt x="343" y="1818"/>
                    </a:cubicBezTo>
                    <a:cubicBezTo>
                      <a:pt x="730" y="1818"/>
                      <a:pt x="730" y="1818"/>
                      <a:pt x="730" y="1818"/>
                    </a:cubicBezTo>
                    <a:cubicBezTo>
                      <a:pt x="730" y="0"/>
                      <a:pt x="730" y="0"/>
                      <a:pt x="730" y="0"/>
                    </a:cubicBezTo>
                    <a:lnTo>
                      <a:pt x="0" y="0"/>
                    </a:lnTo>
                    <a:close/>
                    <a:moveTo>
                      <a:pt x="311" y="490"/>
                    </a:moveTo>
                    <a:cubicBezTo>
                      <a:pt x="311" y="522"/>
                      <a:pt x="285" y="548"/>
                      <a:pt x="253" y="548"/>
                    </a:cubicBezTo>
                    <a:cubicBezTo>
                      <a:pt x="185" y="548"/>
                      <a:pt x="185" y="548"/>
                      <a:pt x="185" y="548"/>
                    </a:cubicBezTo>
                    <a:cubicBezTo>
                      <a:pt x="153" y="548"/>
                      <a:pt x="127" y="522"/>
                      <a:pt x="127" y="490"/>
                    </a:cubicBezTo>
                    <a:cubicBezTo>
                      <a:pt x="127" y="432"/>
                      <a:pt x="127" y="432"/>
                      <a:pt x="127" y="432"/>
                    </a:cubicBezTo>
                    <a:cubicBezTo>
                      <a:pt x="127" y="399"/>
                      <a:pt x="153" y="373"/>
                      <a:pt x="185" y="373"/>
                    </a:cubicBezTo>
                    <a:cubicBezTo>
                      <a:pt x="253" y="373"/>
                      <a:pt x="253" y="373"/>
                      <a:pt x="253" y="373"/>
                    </a:cubicBezTo>
                    <a:cubicBezTo>
                      <a:pt x="285" y="373"/>
                      <a:pt x="311" y="399"/>
                      <a:pt x="311" y="432"/>
                    </a:cubicBezTo>
                    <a:lnTo>
                      <a:pt x="311" y="490"/>
                    </a:lnTo>
                    <a:close/>
                    <a:moveTo>
                      <a:pt x="311" y="250"/>
                    </a:moveTo>
                    <a:cubicBezTo>
                      <a:pt x="311" y="283"/>
                      <a:pt x="285" y="309"/>
                      <a:pt x="253" y="309"/>
                    </a:cubicBezTo>
                    <a:cubicBezTo>
                      <a:pt x="185" y="309"/>
                      <a:pt x="185" y="309"/>
                      <a:pt x="185" y="309"/>
                    </a:cubicBezTo>
                    <a:cubicBezTo>
                      <a:pt x="153" y="309"/>
                      <a:pt x="127" y="283"/>
                      <a:pt x="127" y="250"/>
                    </a:cubicBezTo>
                    <a:cubicBezTo>
                      <a:pt x="127" y="192"/>
                      <a:pt x="127" y="192"/>
                      <a:pt x="127" y="192"/>
                    </a:cubicBezTo>
                    <a:cubicBezTo>
                      <a:pt x="127" y="160"/>
                      <a:pt x="153" y="134"/>
                      <a:pt x="185" y="134"/>
                    </a:cubicBezTo>
                    <a:cubicBezTo>
                      <a:pt x="253" y="134"/>
                      <a:pt x="253" y="134"/>
                      <a:pt x="253" y="134"/>
                    </a:cubicBezTo>
                    <a:cubicBezTo>
                      <a:pt x="285" y="134"/>
                      <a:pt x="311" y="160"/>
                      <a:pt x="311" y="192"/>
                    </a:cubicBezTo>
                    <a:lnTo>
                      <a:pt x="311" y="250"/>
                    </a:lnTo>
                    <a:close/>
                    <a:moveTo>
                      <a:pt x="572" y="1449"/>
                    </a:moveTo>
                    <a:cubicBezTo>
                      <a:pt x="572" y="1481"/>
                      <a:pt x="546" y="1507"/>
                      <a:pt x="513" y="1507"/>
                    </a:cubicBezTo>
                    <a:cubicBezTo>
                      <a:pt x="445" y="1507"/>
                      <a:pt x="445" y="1507"/>
                      <a:pt x="445" y="1507"/>
                    </a:cubicBezTo>
                    <a:cubicBezTo>
                      <a:pt x="413" y="1507"/>
                      <a:pt x="387" y="1481"/>
                      <a:pt x="387" y="1449"/>
                    </a:cubicBezTo>
                    <a:cubicBezTo>
                      <a:pt x="387" y="1391"/>
                      <a:pt x="387" y="1391"/>
                      <a:pt x="387" y="1391"/>
                    </a:cubicBezTo>
                    <a:cubicBezTo>
                      <a:pt x="387" y="1358"/>
                      <a:pt x="413" y="1332"/>
                      <a:pt x="445" y="1332"/>
                    </a:cubicBezTo>
                    <a:cubicBezTo>
                      <a:pt x="513" y="1332"/>
                      <a:pt x="513" y="1332"/>
                      <a:pt x="513" y="1332"/>
                    </a:cubicBezTo>
                    <a:cubicBezTo>
                      <a:pt x="546" y="1332"/>
                      <a:pt x="572" y="1358"/>
                      <a:pt x="572" y="1391"/>
                    </a:cubicBezTo>
                    <a:lnTo>
                      <a:pt x="572" y="1449"/>
                    </a:lnTo>
                    <a:close/>
                    <a:moveTo>
                      <a:pt x="572" y="1209"/>
                    </a:moveTo>
                    <a:cubicBezTo>
                      <a:pt x="572" y="1241"/>
                      <a:pt x="546" y="1268"/>
                      <a:pt x="513" y="1268"/>
                    </a:cubicBezTo>
                    <a:cubicBezTo>
                      <a:pt x="445" y="1268"/>
                      <a:pt x="445" y="1268"/>
                      <a:pt x="445" y="1268"/>
                    </a:cubicBezTo>
                    <a:cubicBezTo>
                      <a:pt x="413" y="1268"/>
                      <a:pt x="387" y="1241"/>
                      <a:pt x="387" y="1209"/>
                    </a:cubicBezTo>
                    <a:cubicBezTo>
                      <a:pt x="387" y="1151"/>
                      <a:pt x="387" y="1151"/>
                      <a:pt x="387" y="1151"/>
                    </a:cubicBezTo>
                    <a:cubicBezTo>
                      <a:pt x="387" y="1119"/>
                      <a:pt x="413" y="1092"/>
                      <a:pt x="445" y="1092"/>
                    </a:cubicBezTo>
                    <a:cubicBezTo>
                      <a:pt x="513" y="1092"/>
                      <a:pt x="513" y="1092"/>
                      <a:pt x="513" y="1092"/>
                    </a:cubicBezTo>
                    <a:cubicBezTo>
                      <a:pt x="546" y="1092"/>
                      <a:pt x="572" y="1119"/>
                      <a:pt x="572" y="1151"/>
                    </a:cubicBezTo>
                    <a:lnTo>
                      <a:pt x="572" y="1209"/>
                    </a:lnTo>
                    <a:close/>
                    <a:moveTo>
                      <a:pt x="572" y="970"/>
                    </a:moveTo>
                    <a:cubicBezTo>
                      <a:pt x="572" y="1002"/>
                      <a:pt x="546" y="1028"/>
                      <a:pt x="513" y="1028"/>
                    </a:cubicBezTo>
                    <a:cubicBezTo>
                      <a:pt x="445" y="1028"/>
                      <a:pt x="445" y="1028"/>
                      <a:pt x="445" y="1028"/>
                    </a:cubicBezTo>
                    <a:cubicBezTo>
                      <a:pt x="413" y="1028"/>
                      <a:pt x="387" y="1002"/>
                      <a:pt x="387" y="970"/>
                    </a:cubicBezTo>
                    <a:cubicBezTo>
                      <a:pt x="387" y="911"/>
                      <a:pt x="387" y="911"/>
                      <a:pt x="387" y="911"/>
                    </a:cubicBezTo>
                    <a:cubicBezTo>
                      <a:pt x="387" y="879"/>
                      <a:pt x="413" y="853"/>
                      <a:pt x="445" y="853"/>
                    </a:cubicBezTo>
                    <a:cubicBezTo>
                      <a:pt x="513" y="853"/>
                      <a:pt x="513" y="853"/>
                      <a:pt x="513" y="853"/>
                    </a:cubicBezTo>
                    <a:cubicBezTo>
                      <a:pt x="546" y="853"/>
                      <a:pt x="572" y="879"/>
                      <a:pt x="572" y="911"/>
                    </a:cubicBezTo>
                    <a:lnTo>
                      <a:pt x="572" y="970"/>
                    </a:lnTo>
                    <a:close/>
                    <a:moveTo>
                      <a:pt x="572" y="730"/>
                    </a:moveTo>
                    <a:cubicBezTo>
                      <a:pt x="572" y="762"/>
                      <a:pt x="546" y="788"/>
                      <a:pt x="513" y="788"/>
                    </a:cubicBezTo>
                    <a:cubicBezTo>
                      <a:pt x="445" y="788"/>
                      <a:pt x="445" y="788"/>
                      <a:pt x="445" y="788"/>
                    </a:cubicBezTo>
                    <a:cubicBezTo>
                      <a:pt x="413" y="788"/>
                      <a:pt x="387" y="762"/>
                      <a:pt x="387" y="730"/>
                    </a:cubicBezTo>
                    <a:cubicBezTo>
                      <a:pt x="387" y="671"/>
                      <a:pt x="387" y="671"/>
                      <a:pt x="387" y="671"/>
                    </a:cubicBezTo>
                    <a:cubicBezTo>
                      <a:pt x="387" y="639"/>
                      <a:pt x="413" y="613"/>
                      <a:pt x="445" y="613"/>
                    </a:cubicBezTo>
                    <a:cubicBezTo>
                      <a:pt x="513" y="613"/>
                      <a:pt x="513" y="613"/>
                      <a:pt x="513" y="613"/>
                    </a:cubicBezTo>
                    <a:cubicBezTo>
                      <a:pt x="546" y="613"/>
                      <a:pt x="572" y="639"/>
                      <a:pt x="572" y="671"/>
                    </a:cubicBezTo>
                    <a:lnTo>
                      <a:pt x="572" y="730"/>
                    </a:lnTo>
                    <a:close/>
                    <a:moveTo>
                      <a:pt x="572" y="490"/>
                    </a:moveTo>
                    <a:cubicBezTo>
                      <a:pt x="572" y="522"/>
                      <a:pt x="546" y="548"/>
                      <a:pt x="513" y="548"/>
                    </a:cubicBezTo>
                    <a:cubicBezTo>
                      <a:pt x="445" y="548"/>
                      <a:pt x="445" y="548"/>
                      <a:pt x="445" y="548"/>
                    </a:cubicBezTo>
                    <a:cubicBezTo>
                      <a:pt x="413" y="548"/>
                      <a:pt x="387" y="522"/>
                      <a:pt x="387" y="490"/>
                    </a:cubicBezTo>
                    <a:cubicBezTo>
                      <a:pt x="387" y="432"/>
                      <a:pt x="387" y="432"/>
                      <a:pt x="387" y="432"/>
                    </a:cubicBezTo>
                    <a:cubicBezTo>
                      <a:pt x="387" y="399"/>
                      <a:pt x="413" y="373"/>
                      <a:pt x="445" y="373"/>
                    </a:cubicBezTo>
                    <a:cubicBezTo>
                      <a:pt x="513" y="373"/>
                      <a:pt x="513" y="373"/>
                      <a:pt x="513" y="373"/>
                    </a:cubicBezTo>
                    <a:cubicBezTo>
                      <a:pt x="546" y="373"/>
                      <a:pt x="572" y="399"/>
                      <a:pt x="572" y="432"/>
                    </a:cubicBezTo>
                    <a:lnTo>
                      <a:pt x="572" y="490"/>
                    </a:lnTo>
                    <a:close/>
                    <a:moveTo>
                      <a:pt x="572" y="250"/>
                    </a:moveTo>
                    <a:cubicBezTo>
                      <a:pt x="572" y="283"/>
                      <a:pt x="546" y="309"/>
                      <a:pt x="513" y="309"/>
                    </a:cubicBezTo>
                    <a:cubicBezTo>
                      <a:pt x="445" y="309"/>
                      <a:pt x="445" y="309"/>
                      <a:pt x="445" y="309"/>
                    </a:cubicBezTo>
                    <a:cubicBezTo>
                      <a:pt x="413" y="309"/>
                      <a:pt x="387" y="283"/>
                      <a:pt x="387" y="250"/>
                    </a:cubicBezTo>
                    <a:cubicBezTo>
                      <a:pt x="387" y="192"/>
                      <a:pt x="387" y="192"/>
                      <a:pt x="387" y="192"/>
                    </a:cubicBezTo>
                    <a:cubicBezTo>
                      <a:pt x="387" y="160"/>
                      <a:pt x="413" y="134"/>
                      <a:pt x="445" y="134"/>
                    </a:cubicBezTo>
                    <a:cubicBezTo>
                      <a:pt x="513" y="134"/>
                      <a:pt x="513" y="134"/>
                      <a:pt x="513" y="134"/>
                    </a:cubicBezTo>
                    <a:cubicBezTo>
                      <a:pt x="546" y="134"/>
                      <a:pt x="572" y="160"/>
                      <a:pt x="572" y="192"/>
                    </a:cubicBezTo>
                    <a:lnTo>
                      <a:pt x="572" y="25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4490"/>
                <a:endParaRPr lang="en-US" sz="1300" dirty="0">
                  <a:solidFill>
                    <a:srgbClr val="FFFFFF"/>
                  </a:solidFill>
                </a:endParaRPr>
              </a:p>
            </p:txBody>
          </p:sp>
        </p:grpSp>
        <p:sp>
          <p:nvSpPr>
            <p:cNvPr id="2" name="Rectangle 1"/>
            <p:cNvSpPr/>
            <p:nvPr/>
          </p:nvSpPr>
          <p:spPr>
            <a:xfrm>
              <a:off x="1435419" y="2171990"/>
              <a:ext cx="1810701" cy="1167088"/>
            </a:xfrm>
            <a:prstGeom prst="rect">
              <a:avLst/>
            </a:prstGeom>
          </p:spPr>
          <p:txBody>
            <a:bodyPr wrap="square">
              <a:spAutoFit/>
            </a:bodyPr>
            <a:lstStyle/>
            <a:p>
              <a:pPr>
                <a:lnSpc>
                  <a:spcPct val="115000"/>
                </a:lnSpc>
              </a:pPr>
              <a:r>
                <a:rPr lang="en-US" sz="1800" dirty="0">
                  <a:gradFill>
                    <a:gsLst>
                      <a:gs pos="0">
                        <a:schemeClr val="bg2"/>
                      </a:gs>
                      <a:gs pos="100000">
                        <a:schemeClr val="bg2"/>
                      </a:gs>
                    </a:gsLst>
                    <a:lin ang="5400000" scaled="0"/>
                  </a:gradFill>
                </a:rPr>
                <a:t>Physical</a:t>
              </a:r>
            </a:p>
            <a:p>
              <a:pPr>
                <a:lnSpc>
                  <a:spcPct val="115000"/>
                </a:lnSpc>
              </a:pPr>
              <a:r>
                <a:rPr lang="en-US" sz="1800" dirty="0">
                  <a:gradFill>
                    <a:gsLst>
                      <a:gs pos="0">
                        <a:schemeClr val="bg2"/>
                      </a:gs>
                      <a:gs pos="100000">
                        <a:schemeClr val="bg2"/>
                      </a:gs>
                    </a:gsLst>
                    <a:lin ang="5400000" scaled="0"/>
                  </a:gradFill>
                </a:rPr>
                <a:t>Features</a:t>
              </a:r>
            </a:p>
          </p:txBody>
        </p:sp>
      </p:grpSp>
      <p:grpSp>
        <p:nvGrpSpPr>
          <p:cNvPr id="5" name="Geo-Distribution"/>
          <p:cNvGrpSpPr/>
          <p:nvPr/>
        </p:nvGrpSpPr>
        <p:grpSpPr>
          <a:xfrm>
            <a:off x="2472192" y="1219029"/>
            <a:ext cx="2095165" cy="729430"/>
            <a:chOff x="3955504" y="2196323"/>
            <a:chExt cx="3352263" cy="1167087"/>
          </a:xfrm>
        </p:grpSpPr>
        <p:sp>
          <p:nvSpPr>
            <p:cNvPr id="25" name="Freeform 62"/>
            <p:cNvSpPr>
              <a:spLocks noEditPoints="1"/>
            </p:cNvSpPr>
            <p:nvPr/>
          </p:nvSpPr>
          <p:spPr bwMode="black">
            <a:xfrm>
              <a:off x="3955504" y="2270881"/>
              <a:ext cx="917241" cy="1027169"/>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noFill/>
            <a:ln>
              <a:noFill/>
            </a:ln>
          </p:spPr>
          <p:txBody>
            <a:bodyPr vert="horz" wrap="square" lIns="82305" tIns="41153" rIns="82305" bIns="41153" numCol="1" anchor="t" anchorCtr="0" compatLnSpc="1">
              <a:prstTxWarp prst="textNoShape">
                <a:avLst/>
              </a:prstTxWarp>
            </a:bodyPr>
            <a:lstStyle/>
            <a:p>
              <a:pPr defTabSz="684490"/>
              <a:endParaRPr lang="en-US" sz="1000" dirty="0">
                <a:solidFill>
                  <a:srgbClr val="FFFFFF"/>
                </a:solidFill>
              </a:endParaRPr>
            </a:p>
          </p:txBody>
        </p:sp>
        <p:sp>
          <p:nvSpPr>
            <p:cNvPr id="36" name="Rectangle 35"/>
            <p:cNvSpPr/>
            <p:nvPr/>
          </p:nvSpPr>
          <p:spPr>
            <a:xfrm>
              <a:off x="4997336" y="2196323"/>
              <a:ext cx="2310431" cy="1167087"/>
            </a:xfrm>
            <a:prstGeom prst="rect">
              <a:avLst/>
            </a:prstGeom>
          </p:spPr>
          <p:txBody>
            <a:bodyPr wrap="square">
              <a:spAutoFit/>
            </a:bodyPr>
            <a:lstStyle/>
            <a:p>
              <a:pPr>
                <a:lnSpc>
                  <a:spcPct val="115000"/>
                </a:lnSpc>
              </a:pPr>
              <a:r>
                <a:rPr lang="en-US" sz="1800" dirty="0">
                  <a:gradFill>
                    <a:gsLst>
                      <a:gs pos="0">
                        <a:schemeClr val="accent5"/>
                      </a:gs>
                      <a:gs pos="100000">
                        <a:schemeClr val="accent5"/>
                      </a:gs>
                    </a:gsLst>
                    <a:lin ang="5400000" scaled="0"/>
                  </a:gradFill>
                </a:rPr>
                <a:t>Geo-</a:t>
              </a:r>
              <a:br>
                <a:rPr lang="en-US" sz="1800" dirty="0">
                  <a:gradFill>
                    <a:gsLst>
                      <a:gs pos="0">
                        <a:schemeClr val="accent5"/>
                      </a:gs>
                      <a:gs pos="100000">
                        <a:schemeClr val="accent5"/>
                      </a:gs>
                    </a:gsLst>
                    <a:lin ang="5400000" scaled="0"/>
                  </a:gradFill>
                </a:rPr>
              </a:br>
              <a:r>
                <a:rPr lang="en-US" sz="1800" dirty="0">
                  <a:gradFill>
                    <a:gsLst>
                      <a:gs pos="0">
                        <a:schemeClr val="accent5"/>
                      </a:gs>
                      <a:gs pos="100000">
                        <a:schemeClr val="accent5"/>
                      </a:gs>
                    </a:gsLst>
                    <a:lin ang="5400000" scaled="0"/>
                  </a:gradFill>
                </a:rPr>
                <a:t>Distribution</a:t>
              </a:r>
            </a:p>
          </p:txBody>
        </p:sp>
      </p:grpSp>
      <p:grpSp>
        <p:nvGrpSpPr>
          <p:cNvPr id="6" name="Platform Availability"/>
          <p:cNvGrpSpPr/>
          <p:nvPr/>
        </p:nvGrpSpPr>
        <p:grpSpPr>
          <a:xfrm>
            <a:off x="4802794" y="1064558"/>
            <a:ext cx="1904815" cy="1047979"/>
            <a:chOff x="7684468" y="1888835"/>
            <a:chExt cx="3047704" cy="1676766"/>
          </a:xfrm>
        </p:grpSpPr>
        <p:sp>
          <p:nvSpPr>
            <p:cNvPr id="24" name="Freeform 92"/>
            <p:cNvSpPr>
              <a:spLocks noEditPoints="1"/>
            </p:cNvSpPr>
            <p:nvPr/>
          </p:nvSpPr>
          <p:spPr bwMode="black">
            <a:xfrm>
              <a:off x="7684468" y="2315991"/>
              <a:ext cx="620512" cy="936948"/>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chemeClr val="bg1">
                <a:lumMod val="50000"/>
                <a:lumOff val="50000"/>
              </a:schemeClr>
            </a:solidFill>
            <a:ln>
              <a:noFill/>
            </a:ln>
            <a:extLst/>
          </p:spPr>
          <p:txBody>
            <a:bodyPr vert="horz" wrap="square" lIns="91440" tIns="45720" rIns="91440" bIns="45720" numCol="1" anchor="t" anchorCtr="0" compatLnSpc="1">
              <a:prstTxWarp prst="textNoShape">
                <a:avLst/>
              </a:prstTxWarp>
            </a:bodyPr>
            <a:lstStyle/>
            <a:p>
              <a:pPr defTabSz="684490"/>
              <a:endParaRPr lang="en-US" sz="1300" dirty="0">
                <a:solidFill>
                  <a:srgbClr val="FFFFFF"/>
                </a:solidFill>
              </a:endParaRPr>
            </a:p>
          </p:txBody>
        </p:sp>
        <p:sp>
          <p:nvSpPr>
            <p:cNvPr id="37" name="Rectangle 36"/>
            <p:cNvSpPr/>
            <p:nvPr/>
          </p:nvSpPr>
          <p:spPr>
            <a:xfrm>
              <a:off x="8421740" y="1888835"/>
              <a:ext cx="2310432" cy="1676766"/>
            </a:xfrm>
            <a:prstGeom prst="rect">
              <a:avLst/>
            </a:prstGeom>
          </p:spPr>
          <p:txBody>
            <a:bodyPr wrap="square">
              <a:spAutoFit/>
            </a:bodyPr>
            <a:lstStyle/>
            <a:p>
              <a:pPr>
                <a:lnSpc>
                  <a:spcPct val="115000"/>
                </a:lnSpc>
              </a:pPr>
              <a:r>
                <a:rPr lang="en-US" sz="1800" dirty="0">
                  <a:gradFill>
                    <a:gsLst>
                      <a:gs pos="0">
                        <a:schemeClr val="bg1">
                          <a:lumMod val="60000"/>
                          <a:lumOff val="40000"/>
                        </a:schemeClr>
                      </a:gs>
                      <a:gs pos="100000">
                        <a:schemeClr val="bg1">
                          <a:lumMod val="60000"/>
                          <a:lumOff val="40000"/>
                        </a:schemeClr>
                      </a:gs>
                    </a:gsLst>
                    <a:lin ang="5400000" scaled="0"/>
                  </a:gradFill>
                </a:rPr>
                <a:t>Platform Availability and Security</a:t>
              </a:r>
            </a:p>
          </p:txBody>
        </p:sp>
      </p:grpSp>
      <p:grpSp>
        <p:nvGrpSpPr>
          <p:cNvPr id="13" name="Compliance and DR"/>
          <p:cNvGrpSpPr/>
          <p:nvPr/>
        </p:nvGrpSpPr>
        <p:grpSpPr>
          <a:xfrm>
            <a:off x="6973779" y="1210145"/>
            <a:ext cx="1921143" cy="729430"/>
            <a:chOff x="10751625" y="2196323"/>
            <a:chExt cx="3073829" cy="1167088"/>
          </a:xfrm>
        </p:grpSpPr>
        <p:sp>
          <p:nvSpPr>
            <p:cNvPr id="35" name="Freeform 18"/>
            <p:cNvSpPr>
              <a:spLocks noEditPoints="1"/>
            </p:cNvSpPr>
            <p:nvPr/>
          </p:nvSpPr>
          <p:spPr bwMode="black">
            <a:xfrm>
              <a:off x="10751625" y="2348698"/>
              <a:ext cx="646637" cy="871534"/>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chemeClr val="accent6"/>
            </a:solidFill>
            <a:ln>
              <a:noFill/>
            </a:ln>
          </p:spPr>
          <p:txBody>
            <a:bodyPr vert="horz" wrap="square" lIns="82305" tIns="41153" rIns="82305" bIns="41153" numCol="1" anchor="t" anchorCtr="0" compatLnSpc="1">
              <a:prstTxWarp prst="textNoShape">
                <a:avLst/>
              </a:prstTxWarp>
            </a:bodyPr>
            <a:lstStyle/>
            <a:p>
              <a:pPr defTabSz="684490"/>
              <a:endParaRPr lang="en-US" sz="1000" dirty="0">
                <a:solidFill>
                  <a:srgbClr val="FFFFFF"/>
                </a:solidFill>
              </a:endParaRPr>
            </a:p>
          </p:txBody>
        </p:sp>
        <p:sp>
          <p:nvSpPr>
            <p:cNvPr id="38" name="Rectangle 37"/>
            <p:cNvSpPr/>
            <p:nvPr/>
          </p:nvSpPr>
          <p:spPr>
            <a:xfrm>
              <a:off x="11515020" y="2196323"/>
              <a:ext cx="2310434" cy="1167088"/>
            </a:xfrm>
            <a:prstGeom prst="rect">
              <a:avLst/>
            </a:prstGeom>
          </p:spPr>
          <p:txBody>
            <a:bodyPr wrap="square">
              <a:spAutoFit/>
            </a:bodyPr>
            <a:lstStyle/>
            <a:p>
              <a:pPr>
                <a:lnSpc>
                  <a:spcPct val="115000"/>
                </a:lnSpc>
              </a:pPr>
              <a:r>
                <a:rPr lang="en-US" sz="1800" dirty="0">
                  <a:gradFill>
                    <a:gsLst>
                      <a:gs pos="0">
                        <a:schemeClr val="accent6"/>
                      </a:gs>
                      <a:gs pos="100000">
                        <a:schemeClr val="accent6"/>
                      </a:gs>
                    </a:gsLst>
                    <a:lin ang="5400000" scaled="0"/>
                  </a:gradFill>
                </a:rPr>
                <a:t>Compliance</a:t>
              </a:r>
              <a:br>
                <a:rPr lang="en-US" sz="1800" dirty="0">
                  <a:gradFill>
                    <a:gsLst>
                      <a:gs pos="0">
                        <a:schemeClr val="accent6"/>
                      </a:gs>
                      <a:gs pos="100000">
                        <a:schemeClr val="accent6"/>
                      </a:gs>
                    </a:gsLst>
                    <a:lin ang="5400000" scaled="0"/>
                  </a:gradFill>
                </a:rPr>
              </a:br>
              <a:r>
                <a:rPr lang="en-US" sz="1800" dirty="0">
                  <a:gradFill>
                    <a:gsLst>
                      <a:gs pos="0">
                        <a:schemeClr val="accent6"/>
                      </a:gs>
                      <a:gs pos="100000">
                        <a:schemeClr val="accent6"/>
                      </a:gs>
                    </a:gsLst>
                    <a:lin ang="5400000" scaled="0"/>
                  </a:gradFill>
                </a:rPr>
                <a:t>and DR</a:t>
              </a:r>
            </a:p>
          </p:txBody>
        </p:sp>
      </p:grpSp>
      <p:grpSp>
        <p:nvGrpSpPr>
          <p:cNvPr id="20" name="GD TEXT"/>
          <p:cNvGrpSpPr/>
          <p:nvPr/>
        </p:nvGrpSpPr>
        <p:grpSpPr>
          <a:xfrm>
            <a:off x="390311" y="2221882"/>
            <a:ext cx="8364155" cy="2302967"/>
            <a:chOff x="624496" y="3555001"/>
            <a:chExt cx="13382647" cy="3684747"/>
          </a:xfrm>
        </p:grpSpPr>
        <p:pic>
          <p:nvPicPr>
            <p:cNvPr id="32" name="Picture 3" descr="C:\My Documents\Microsoft Presentation Resources\DVD_Art_06-14-11\Artwork_Imagery\Brand Photos\Server Tools - No_exp\00914382.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1078" r="13968"/>
            <a:stretch/>
          </p:blipFill>
          <p:spPr bwMode="auto">
            <a:xfrm>
              <a:off x="624496" y="3574277"/>
              <a:ext cx="3685958" cy="3665471"/>
            </a:xfrm>
            <a:prstGeom prst="rect">
              <a:avLst/>
            </a:prstGeom>
            <a:noFill/>
            <a:extLst>
              <a:ext uri="{909E8E84-426E-40DD-AFC4-6F175D3DCCD1}">
                <a14:hiddenFill xmlns:a14="http://schemas.microsoft.com/office/drawing/2010/main">
                  <a:solidFill>
                    <a:srgbClr val="FFFFFF"/>
                  </a:solidFill>
                </a14:hiddenFill>
              </a:ext>
            </a:extLst>
          </p:spPr>
        </p:pic>
        <p:sp>
          <p:nvSpPr>
            <p:cNvPr id="44" name="Rectangle 43"/>
            <p:cNvSpPr/>
            <p:nvPr/>
          </p:nvSpPr>
          <p:spPr>
            <a:xfrm>
              <a:off x="4434757" y="3555001"/>
              <a:ext cx="9572386" cy="2905411"/>
            </a:xfrm>
            <a:prstGeom prst="rect">
              <a:avLst/>
            </a:prstGeom>
          </p:spPr>
          <p:txBody>
            <a:bodyPr wrap="square">
              <a:spAutoFit/>
            </a:bodyPr>
            <a:lstStyle/>
            <a:p>
              <a:pPr>
                <a:spcBef>
                  <a:spcPts val="750"/>
                </a:spcBef>
                <a:spcAft>
                  <a:spcPts val="375"/>
                </a:spcAft>
              </a:pPr>
              <a:r>
                <a:rPr lang="en-US" sz="2300" dirty="0">
                  <a:gradFill>
                    <a:gsLst>
                      <a:gs pos="0">
                        <a:schemeClr val="tx1"/>
                      </a:gs>
                      <a:gs pos="100000">
                        <a:schemeClr val="tx1"/>
                      </a:gs>
                    </a:gsLst>
                    <a:lin ang="5400000" scaled="0"/>
                  </a:gradFill>
                </a:rPr>
                <a:t>Multiple data centers in different geographies</a:t>
              </a:r>
            </a:p>
            <a:p>
              <a:pPr>
                <a:spcBef>
                  <a:spcPts val="750"/>
                </a:spcBef>
                <a:spcAft>
                  <a:spcPts val="375"/>
                </a:spcAft>
              </a:pPr>
              <a:r>
                <a:rPr lang="en-US" sz="2300" dirty="0">
                  <a:gradFill>
                    <a:gsLst>
                      <a:gs pos="0">
                        <a:schemeClr val="tx1"/>
                      </a:gs>
                      <a:gs pos="100000">
                        <a:schemeClr val="tx1"/>
                      </a:gs>
                    </a:gsLst>
                    <a:lin ang="5400000" scaled="0"/>
                  </a:gradFill>
                </a:rPr>
                <a:t>Local and geo-replication</a:t>
              </a:r>
            </a:p>
            <a:p>
              <a:pPr>
                <a:spcBef>
                  <a:spcPts val="750"/>
                </a:spcBef>
                <a:spcAft>
                  <a:spcPts val="375"/>
                </a:spcAft>
              </a:pPr>
              <a:r>
                <a:rPr lang="en-US" sz="2300" dirty="0">
                  <a:gradFill>
                    <a:gsLst>
                      <a:gs pos="0">
                        <a:schemeClr val="tx1"/>
                      </a:gs>
                      <a:gs pos="100000">
                        <a:schemeClr val="tx1"/>
                      </a:gs>
                    </a:gsLst>
                    <a:lin ang="5400000" scaled="0"/>
                  </a:gradFill>
                </a:rPr>
                <a:t>Redundant platform services and failover</a:t>
              </a:r>
            </a:p>
          </p:txBody>
        </p:sp>
      </p:grpSp>
      <p:grpSp>
        <p:nvGrpSpPr>
          <p:cNvPr id="21" name="PSA TEXT"/>
          <p:cNvGrpSpPr/>
          <p:nvPr/>
        </p:nvGrpSpPr>
        <p:grpSpPr>
          <a:xfrm>
            <a:off x="389447" y="2216963"/>
            <a:ext cx="8364563" cy="2682955"/>
            <a:chOff x="623114" y="3547132"/>
            <a:chExt cx="13383300" cy="4292728"/>
          </a:xfrm>
        </p:grpSpPr>
        <p:pic>
          <p:nvPicPr>
            <p:cNvPr id="46" name="Picture 3" descr="\\ADISVR2\Shared\ADI_Projects\Microsoft\-_Media_Bank_Assets_-\Microsoft_Business_Identity\Photography\New_FY11_Server_Tools_Photography\_00914490_SizeFull.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 r="26363"/>
            <a:stretch/>
          </p:blipFill>
          <p:spPr bwMode="auto">
            <a:xfrm>
              <a:off x="623114" y="3547132"/>
              <a:ext cx="3687340" cy="3692616"/>
            </a:xfrm>
            <a:prstGeom prst="rect">
              <a:avLst/>
            </a:prstGeom>
            <a:noFill/>
            <a:extLst>
              <a:ext uri="{909E8E84-426E-40DD-AFC4-6F175D3DCCD1}">
                <a14:hiddenFill xmlns:a14="http://schemas.microsoft.com/office/drawing/2010/main">
                  <a:solidFill>
                    <a:srgbClr val="FFFFFF"/>
                  </a:solidFill>
                </a14:hiddenFill>
              </a:ext>
            </a:extLst>
          </p:spPr>
        </p:pic>
        <p:sp>
          <p:nvSpPr>
            <p:cNvPr id="49" name="Rectangle 48"/>
            <p:cNvSpPr/>
            <p:nvPr/>
          </p:nvSpPr>
          <p:spPr>
            <a:xfrm>
              <a:off x="4434027" y="3555610"/>
              <a:ext cx="9572387" cy="4284250"/>
            </a:xfrm>
            <a:prstGeom prst="rect">
              <a:avLst/>
            </a:prstGeom>
          </p:spPr>
          <p:txBody>
            <a:bodyPr wrap="square">
              <a:spAutoFit/>
            </a:bodyPr>
            <a:lstStyle/>
            <a:p>
              <a:pPr>
                <a:spcBef>
                  <a:spcPts val="750"/>
                </a:spcBef>
                <a:spcAft>
                  <a:spcPts val="375"/>
                </a:spcAft>
              </a:pPr>
              <a:r>
                <a:rPr lang="en-US" sz="2300" dirty="0">
                  <a:gradFill>
                    <a:gsLst>
                      <a:gs pos="0">
                        <a:schemeClr val="tx1"/>
                      </a:gs>
                      <a:gs pos="100000">
                        <a:schemeClr val="tx1"/>
                      </a:gs>
                    </a:gsLst>
                    <a:lin ang="5400000" scaled="0"/>
                  </a:gradFill>
                </a:rPr>
                <a:t>99.9% uptime, financially-backed SLAs </a:t>
              </a:r>
            </a:p>
            <a:p>
              <a:pPr>
                <a:spcBef>
                  <a:spcPts val="750"/>
                </a:spcBef>
                <a:spcAft>
                  <a:spcPts val="375"/>
                </a:spcAft>
              </a:pPr>
              <a:r>
                <a:rPr lang="en-US" sz="2300" dirty="0">
                  <a:gradFill>
                    <a:gsLst>
                      <a:gs pos="0">
                        <a:schemeClr val="tx1"/>
                      </a:gs>
                      <a:gs pos="100000">
                        <a:schemeClr val="tx1"/>
                      </a:gs>
                    </a:gsLst>
                    <a:lin ang="5400000" scaled="0"/>
                  </a:gradFill>
                </a:rPr>
                <a:t>Highly available platform services</a:t>
              </a:r>
            </a:p>
            <a:p>
              <a:pPr>
                <a:spcBef>
                  <a:spcPts val="750"/>
                </a:spcBef>
                <a:spcAft>
                  <a:spcPts val="375"/>
                </a:spcAft>
              </a:pPr>
              <a:r>
                <a:rPr lang="en-US" sz="2300" dirty="0">
                  <a:gradFill>
                    <a:gsLst>
                      <a:gs pos="0">
                        <a:schemeClr val="tx1"/>
                      </a:gs>
                      <a:gs pos="100000">
                        <a:schemeClr val="tx1"/>
                      </a:gs>
                    </a:gsLst>
                    <a:lin ang="5400000" scaled="0"/>
                  </a:gradFill>
                </a:rPr>
                <a:t>Service isolation over virtualized </a:t>
              </a:r>
              <a:br>
                <a:rPr lang="en-US" sz="2300" dirty="0">
                  <a:gradFill>
                    <a:gsLst>
                      <a:gs pos="0">
                        <a:schemeClr val="tx1"/>
                      </a:gs>
                      <a:gs pos="100000">
                        <a:schemeClr val="tx1"/>
                      </a:gs>
                    </a:gsLst>
                    <a:lin ang="5400000" scaled="0"/>
                  </a:gradFill>
                </a:rPr>
              </a:br>
              <a:r>
                <a:rPr lang="en-US" sz="2300" dirty="0">
                  <a:gradFill>
                    <a:gsLst>
                      <a:gs pos="0">
                        <a:schemeClr val="tx1"/>
                      </a:gs>
                      <a:gs pos="100000">
                        <a:schemeClr val="tx1"/>
                      </a:gs>
                    </a:gsLst>
                    <a:lin ang="5400000" scaled="0"/>
                  </a:gradFill>
                </a:rPr>
                <a:t>compute and network</a:t>
              </a:r>
            </a:p>
            <a:p>
              <a:pPr>
                <a:spcBef>
                  <a:spcPts val="750"/>
                </a:spcBef>
                <a:spcAft>
                  <a:spcPts val="375"/>
                </a:spcAft>
              </a:pPr>
              <a:r>
                <a:rPr lang="en-US" sz="2300" dirty="0">
                  <a:gradFill>
                    <a:gsLst>
                      <a:gs pos="0">
                        <a:schemeClr val="tx1"/>
                      </a:gs>
                      <a:gs pos="100000">
                        <a:schemeClr val="tx1"/>
                      </a:gs>
                    </a:gsLst>
                    <a:lin ang="5400000" scaled="0"/>
                  </a:gradFill>
                </a:rPr>
                <a:t>Clear boundaries and multiple lines of defense</a:t>
              </a:r>
            </a:p>
          </p:txBody>
        </p:sp>
      </p:grpSp>
      <p:grpSp>
        <p:nvGrpSpPr>
          <p:cNvPr id="22" name="Group 21"/>
          <p:cNvGrpSpPr/>
          <p:nvPr/>
        </p:nvGrpSpPr>
        <p:grpSpPr>
          <a:xfrm>
            <a:off x="391913" y="2216958"/>
            <a:ext cx="8361724" cy="2307886"/>
            <a:chOff x="627062" y="3547132"/>
            <a:chExt cx="13378758" cy="3692617"/>
          </a:xfrm>
        </p:grpSpPr>
        <p:pic>
          <p:nvPicPr>
            <p:cNvPr id="53" name="Picture 2" descr="\\sfp\Resources\Microsoft\Archive\Exec_Tier_Archive\Brand_Photography\MSC12_Marissa_001.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251" t="5255" r="33200" b="4109"/>
            <a:stretch/>
          </p:blipFill>
          <p:spPr bwMode="auto">
            <a:xfrm>
              <a:off x="627062" y="3547132"/>
              <a:ext cx="3683391" cy="3692617"/>
            </a:xfrm>
            <a:prstGeom prst="rect">
              <a:avLst/>
            </a:prstGeom>
            <a:solidFill>
              <a:srgbClr val="0070C0"/>
            </a:solidFill>
            <a:ln w="9525" cap="flat" cmpd="sng" algn="ctr">
              <a:noFill/>
              <a:prstDash val="solid"/>
              <a:headEnd type="none" w="med" len="med"/>
              <a:tailEnd type="none" w="med" len="med"/>
            </a:ln>
            <a:effectLst/>
            <a:extLst/>
          </p:spPr>
        </p:pic>
        <p:sp>
          <p:nvSpPr>
            <p:cNvPr id="52" name="Rectangle 51"/>
            <p:cNvSpPr/>
            <p:nvPr/>
          </p:nvSpPr>
          <p:spPr>
            <a:xfrm>
              <a:off x="4433435" y="3555001"/>
              <a:ext cx="9572385" cy="3471719"/>
            </a:xfrm>
            <a:prstGeom prst="rect">
              <a:avLst/>
            </a:prstGeom>
          </p:spPr>
          <p:txBody>
            <a:bodyPr wrap="square">
              <a:spAutoFit/>
            </a:bodyPr>
            <a:lstStyle/>
            <a:p>
              <a:pPr>
                <a:spcBef>
                  <a:spcPts val="750"/>
                </a:spcBef>
                <a:spcAft>
                  <a:spcPts val="375"/>
                </a:spcAft>
              </a:pPr>
              <a:r>
                <a:rPr lang="en-US" sz="2300" dirty="0">
                  <a:gradFill>
                    <a:gsLst>
                      <a:gs pos="0">
                        <a:schemeClr val="tx1"/>
                      </a:gs>
                      <a:gs pos="100000">
                        <a:schemeClr val="tx1"/>
                      </a:gs>
                    </a:gsLst>
                    <a:lin ang="5400000" scaled="0"/>
                  </a:gradFill>
                </a:rPr>
                <a:t>Physical facilities have broad </a:t>
              </a:r>
              <a:br>
                <a:rPr lang="en-US" sz="2300" dirty="0">
                  <a:gradFill>
                    <a:gsLst>
                      <a:gs pos="0">
                        <a:schemeClr val="tx1"/>
                      </a:gs>
                      <a:gs pos="100000">
                        <a:schemeClr val="tx1"/>
                      </a:gs>
                    </a:gsLst>
                    <a:lin ang="5400000" scaled="0"/>
                  </a:gradFill>
                </a:rPr>
              </a:br>
              <a:r>
                <a:rPr lang="en-US" sz="2300" dirty="0">
                  <a:gradFill>
                    <a:gsLst>
                      <a:gs pos="0">
                        <a:schemeClr val="tx1"/>
                      </a:gs>
                      <a:gs pos="100000">
                        <a:schemeClr val="tx1"/>
                      </a:gs>
                    </a:gsLst>
                    <a:lin ang="5400000" scaled="0"/>
                  </a:gradFill>
                </a:rPr>
                <a:t>compliance certifications</a:t>
              </a:r>
            </a:p>
            <a:p>
              <a:pPr>
                <a:spcBef>
                  <a:spcPts val="750"/>
                </a:spcBef>
                <a:spcAft>
                  <a:spcPts val="375"/>
                </a:spcAft>
              </a:pPr>
              <a:r>
                <a:rPr lang="en-US" sz="2300" dirty="0">
                  <a:gradFill>
                    <a:gsLst>
                      <a:gs pos="0">
                        <a:schemeClr val="tx1"/>
                      </a:gs>
                      <a:gs pos="100000">
                        <a:schemeClr val="tx1"/>
                      </a:gs>
                    </a:gsLst>
                    <a:lin ang="5400000" scaled="0"/>
                  </a:gradFill>
                </a:rPr>
                <a:t>Service-level compliance </a:t>
              </a:r>
              <a:br>
                <a:rPr lang="en-US" sz="2300" dirty="0">
                  <a:gradFill>
                    <a:gsLst>
                      <a:gs pos="0">
                        <a:schemeClr val="tx1"/>
                      </a:gs>
                      <a:gs pos="100000">
                        <a:schemeClr val="tx1"/>
                      </a:gs>
                    </a:gsLst>
                    <a:lin ang="5400000" scaled="0"/>
                  </a:gradFill>
                </a:rPr>
              </a:br>
              <a:r>
                <a:rPr lang="en-US" sz="2300" dirty="0">
                  <a:gradFill>
                    <a:gsLst>
                      <a:gs pos="0">
                        <a:schemeClr val="tx1"/>
                      </a:gs>
                      <a:gs pos="100000">
                        <a:schemeClr val="tx1"/>
                      </a:gs>
                    </a:gsLst>
                    <a:lin ang="5400000" scaled="0"/>
                  </a:gradFill>
                </a:rPr>
                <a:t>on near-term roadmap</a:t>
              </a:r>
            </a:p>
            <a:p>
              <a:pPr>
                <a:spcBef>
                  <a:spcPts val="750"/>
                </a:spcBef>
                <a:spcAft>
                  <a:spcPts val="375"/>
                </a:spcAft>
              </a:pPr>
              <a:r>
                <a:rPr lang="en-US" sz="2300" dirty="0">
                  <a:gradFill>
                    <a:gsLst>
                      <a:gs pos="0">
                        <a:schemeClr val="tx1"/>
                      </a:gs>
                      <a:gs pos="100000">
                        <a:schemeClr val="tx1"/>
                      </a:gs>
                    </a:gsLst>
                    <a:lin ang="5400000" scaled="0"/>
                  </a:gradFill>
                </a:rPr>
                <a:t>Preparedness, testing, refinement</a:t>
              </a:r>
            </a:p>
          </p:txBody>
        </p:sp>
      </p:grpSp>
      <p:sp>
        <p:nvSpPr>
          <p:cNvPr id="30" name="Freeform 78"/>
          <p:cNvSpPr>
            <a:spLocks noEditPoints="1"/>
          </p:cNvSpPr>
          <p:nvPr/>
        </p:nvSpPr>
        <p:spPr bwMode="auto">
          <a:xfrm>
            <a:off x="2472192" y="1240709"/>
            <a:ext cx="645387" cy="645219"/>
          </a:xfrm>
          <a:custGeom>
            <a:avLst/>
            <a:gdLst>
              <a:gd name="T0" fmla="*/ 174 w 347"/>
              <a:gd name="T1" fmla="*/ 0 h 347"/>
              <a:gd name="T2" fmla="*/ 0 w 347"/>
              <a:gd name="T3" fmla="*/ 174 h 347"/>
              <a:gd name="T4" fmla="*/ 174 w 347"/>
              <a:gd name="T5" fmla="*/ 347 h 347"/>
              <a:gd name="T6" fmla="*/ 347 w 347"/>
              <a:gd name="T7" fmla="*/ 174 h 347"/>
              <a:gd name="T8" fmla="*/ 174 w 347"/>
              <a:gd name="T9" fmla="*/ 0 h 347"/>
              <a:gd name="T10" fmla="*/ 332 w 347"/>
              <a:gd name="T11" fmla="*/ 166 h 347"/>
              <a:gd name="T12" fmla="*/ 283 w 347"/>
              <a:gd name="T13" fmla="*/ 166 h 347"/>
              <a:gd name="T14" fmla="*/ 231 w 347"/>
              <a:gd name="T15" fmla="*/ 26 h 347"/>
              <a:gd name="T16" fmla="*/ 332 w 347"/>
              <a:gd name="T17" fmla="*/ 166 h 347"/>
              <a:gd name="T18" fmla="*/ 174 w 347"/>
              <a:gd name="T19" fmla="*/ 332 h 347"/>
              <a:gd name="T20" fmla="*/ 147 w 347"/>
              <a:gd name="T21" fmla="*/ 181 h 347"/>
              <a:gd name="T22" fmla="*/ 200 w 347"/>
              <a:gd name="T23" fmla="*/ 181 h 347"/>
              <a:gd name="T24" fmla="*/ 174 w 347"/>
              <a:gd name="T25" fmla="*/ 332 h 347"/>
              <a:gd name="T26" fmla="*/ 147 w 347"/>
              <a:gd name="T27" fmla="*/ 166 h 347"/>
              <a:gd name="T28" fmla="*/ 174 w 347"/>
              <a:gd name="T29" fmla="*/ 15 h 347"/>
              <a:gd name="T30" fmla="*/ 174 w 347"/>
              <a:gd name="T31" fmla="*/ 15 h 347"/>
              <a:gd name="T32" fmla="*/ 200 w 347"/>
              <a:gd name="T33" fmla="*/ 166 h 347"/>
              <a:gd name="T34" fmla="*/ 147 w 347"/>
              <a:gd name="T35" fmla="*/ 166 h 347"/>
              <a:gd name="T36" fmla="*/ 153 w 347"/>
              <a:gd name="T37" fmla="*/ 19 h 347"/>
              <a:gd name="T38" fmla="*/ 133 w 347"/>
              <a:gd name="T39" fmla="*/ 166 h 347"/>
              <a:gd name="T40" fmla="*/ 79 w 347"/>
              <a:gd name="T41" fmla="*/ 166 h 347"/>
              <a:gd name="T42" fmla="*/ 153 w 347"/>
              <a:gd name="T43" fmla="*/ 19 h 347"/>
              <a:gd name="T44" fmla="*/ 133 w 347"/>
              <a:gd name="T45" fmla="*/ 181 h 347"/>
              <a:gd name="T46" fmla="*/ 153 w 347"/>
              <a:gd name="T47" fmla="*/ 329 h 347"/>
              <a:gd name="T48" fmla="*/ 79 w 347"/>
              <a:gd name="T49" fmla="*/ 181 h 347"/>
              <a:gd name="T50" fmla="*/ 133 w 347"/>
              <a:gd name="T51" fmla="*/ 181 h 347"/>
              <a:gd name="T52" fmla="*/ 194 w 347"/>
              <a:gd name="T53" fmla="*/ 329 h 347"/>
              <a:gd name="T54" fmla="*/ 215 w 347"/>
              <a:gd name="T55" fmla="*/ 181 h 347"/>
              <a:gd name="T56" fmla="*/ 268 w 347"/>
              <a:gd name="T57" fmla="*/ 181 h 347"/>
              <a:gd name="T58" fmla="*/ 194 w 347"/>
              <a:gd name="T59" fmla="*/ 329 h 347"/>
              <a:gd name="T60" fmla="*/ 215 w 347"/>
              <a:gd name="T61" fmla="*/ 166 h 347"/>
              <a:gd name="T62" fmla="*/ 194 w 347"/>
              <a:gd name="T63" fmla="*/ 19 h 347"/>
              <a:gd name="T64" fmla="*/ 268 w 347"/>
              <a:gd name="T65" fmla="*/ 166 h 347"/>
              <a:gd name="T66" fmla="*/ 215 w 347"/>
              <a:gd name="T67" fmla="*/ 166 h 347"/>
              <a:gd name="T68" fmla="*/ 117 w 347"/>
              <a:gd name="T69" fmla="*/ 26 h 347"/>
              <a:gd name="T70" fmla="*/ 64 w 347"/>
              <a:gd name="T71" fmla="*/ 166 h 347"/>
              <a:gd name="T72" fmla="*/ 15 w 347"/>
              <a:gd name="T73" fmla="*/ 166 h 347"/>
              <a:gd name="T74" fmla="*/ 117 w 347"/>
              <a:gd name="T75" fmla="*/ 26 h 347"/>
              <a:gd name="T76" fmla="*/ 15 w 347"/>
              <a:gd name="T77" fmla="*/ 181 h 347"/>
              <a:gd name="T78" fmla="*/ 64 w 347"/>
              <a:gd name="T79" fmla="*/ 181 h 347"/>
              <a:gd name="T80" fmla="*/ 117 w 347"/>
              <a:gd name="T81" fmla="*/ 322 h 347"/>
              <a:gd name="T82" fmla="*/ 15 w 347"/>
              <a:gd name="T83" fmla="*/ 181 h 347"/>
              <a:gd name="T84" fmla="*/ 231 w 347"/>
              <a:gd name="T85" fmla="*/ 322 h 347"/>
              <a:gd name="T86" fmla="*/ 283 w 347"/>
              <a:gd name="T87" fmla="*/ 181 h 347"/>
              <a:gd name="T88" fmla="*/ 332 w 347"/>
              <a:gd name="T89" fmla="*/ 181 h 347"/>
              <a:gd name="T90" fmla="*/ 231 w 347"/>
              <a:gd name="T91" fmla="*/ 322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7" h="347">
                <a:moveTo>
                  <a:pt x="174" y="0"/>
                </a:moveTo>
                <a:cubicBezTo>
                  <a:pt x="78" y="0"/>
                  <a:pt x="0" y="78"/>
                  <a:pt x="0" y="174"/>
                </a:cubicBezTo>
                <a:cubicBezTo>
                  <a:pt x="0" y="269"/>
                  <a:pt x="78" y="347"/>
                  <a:pt x="174" y="347"/>
                </a:cubicBezTo>
                <a:cubicBezTo>
                  <a:pt x="269" y="347"/>
                  <a:pt x="347" y="269"/>
                  <a:pt x="347" y="174"/>
                </a:cubicBezTo>
                <a:cubicBezTo>
                  <a:pt x="347" y="78"/>
                  <a:pt x="269" y="0"/>
                  <a:pt x="174" y="0"/>
                </a:cubicBezTo>
                <a:close/>
                <a:moveTo>
                  <a:pt x="332" y="166"/>
                </a:moveTo>
                <a:cubicBezTo>
                  <a:pt x="283" y="166"/>
                  <a:pt x="283" y="166"/>
                  <a:pt x="283" y="166"/>
                </a:cubicBezTo>
                <a:cubicBezTo>
                  <a:pt x="281" y="107"/>
                  <a:pt x="261" y="55"/>
                  <a:pt x="231" y="26"/>
                </a:cubicBezTo>
                <a:cubicBezTo>
                  <a:pt x="288" y="48"/>
                  <a:pt x="329" y="102"/>
                  <a:pt x="332" y="166"/>
                </a:cubicBezTo>
                <a:close/>
                <a:moveTo>
                  <a:pt x="174" y="332"/>
                </a:moveTo>
                <a:cubicBezTo>
                  <a:pt x="165" y="330"/>
                  <a:pt x="148" y="277"/>
                  <a:pt x="147" y="181"/>
                </a:cubicBezTo>
                <a:cubicBezTo>
                  <a:pt x="200" y="181"/>
                  <a:pt x="200" y="181"/>
                  <a:pt x="200" y="181"/>
                </a:cubicBezTo>
                <a:cubicBezTo>
                  <a:pt x="199" y="277"/>
                  <a:pt x="183" y="330"/>
                  <a:pt x="174" y="332"/>
                </a:cubicBezTo>
                <a:close/>
                <a:moveTo>
                  <a:pt x="147" y="166"/>
                </a:moveTo>
                <a:cubicBezTo>
                  <a:pt x="148" y="70"/>
                  <a:pt x="165" y="17"/>
                  <a:pt x="174" y="15"/>
                </a:cubicBezTo>
                <a:cubicBezTo>
                  <a:pt x="174" y="15"/>
                  <a:pt x="174" y="15"/>
                  <a:pt x="174" y="15"/>
                </a:cubicBezTo>
                <a:cubicBezTo>
                  <a:pt x="183" y="17"/>
                  <a:pt x="199" y="70"/>
                  <a:pt x="200" y="166"/>
                </a:cubicBezTo>
                <a:lnTo>
                  <a:pt x="147" y="166"/>
                </a:lnTo>
                <a:close/>
                <a:moveTo>
                  <a:pt x="153" y="19"/>
                </a:moveTo>
                <a:cubicBezTo>
                  <a:pt x="138" y="51"/>
                  <a:pt x="133" y="118"/>
                  <a:pt x="133" y="166"/>
                </a:cubicBezTo>
                <a:cubicBezTo>
                  <a:pt x="79" y="166"/>
                  <a:pt x="79" y="166"/>
                  <a:pt x="79" y="166"/>
                </a:cubicBezTo>
                <a:cubicBezTo>
                  <a:pt x="81" y="94"/>
                  <a:pt x="112" y="34"/>
                  <a:pt x="153" y="19"/>
                </a:cubicBezTo>
                <a:close/>
                <a:moveTo>
                  <a:pt x="133" y="181"/>
                </a:moveTo>
                <a:cubicBezTo>
                  <a:pt x="133" y="229"/>
                  <a:pt x="138" y="296"/>
                  <a:pt x="153" y="329"/>
                </a:cubicBezTo>
                <a:cubicBezTo>
                  <a:pt x="112" y="313"/>
                  <a:pt x="81" y="254"/>
                  <a:pt x="79" y="181"/>
                </a:cubicBezTo>
                <a:lnTo>
                  <a:pt x="133" y="181"/>
                </a:lnTo>
                <a:close/>
                <a:moveTo>
                  <a:pt x="194" y="329"/>
                </a:moveTo>
                <a:cubicBezTo>
                  <a:pt x="209" y="296"/>
                  <a:pt x="214" y="229"/>
                  <a:pt x="215" y="181"/>
                </a:cubicBezTo>
                <a:cubicBezTo>
                  <a:pt x="268" y="181"/>
                  <a:pt x="268" y="181"/>
                  <a:pt x="268" y="181"/>
                </a:cubicBezTo>
                <a:cubicBezTo>
                  <a:pt x="266" y="254"/>
                  <a:pt x="235" y="313"/>
                  <a:pt x="194" y="329"/>
                </a:cubicBezTo>
                <a:close/>
                <a:moveTo>
                  <a:pt x="215" y="166"/>
                </a:moveTo>
                <a:cubicBezTo>
                  <a:pt x="214" y="118"/>
                  <a:pt x="209" y="51"/>
                  <a:pt x="194" y="19"/>
                </a:cubicBezTo>
                <a:cubicBezTo>
                  <a:pt x="235" y="34"/>
                  <a:pt x="266" y="94"/>
                  <a:pt x="268" y="166"/>
                </a:cubicBezTo>
                <a:lnTo>
                  <a:pt x="215" y="166"/>
                </a:lnTo>
                <a:close/>
                <a:moveTo>
                  <a:pt x="117" y="26"/>
                </a:moveTo>
                <a:cubicBezTo>
                  <a:pt x="87" y="55"/>
                  <a:pt x="66" y="107"/>
                  <a:pt x="64" y="166"/>
                </a:cubicBezTo>
                <a:cubicBezTo>
                  <a:pt x="15" y="166"/>
                  <a:pt x="15" y="166"/>
                  <a:pt x="15" y="166"/>
                </a:cubicBezTo>
                <a:cubicBezTo>
                  <a:pt x="18" y="102"/>
                  <a:pt x="59" y="48"/>
                  <a:pt x="117" y="26"/>
                </a:cubicBezTo>
                <a:close/>
                <a:moveTo>
                  <a:pt x="15" y="181"/>
                </a:moveTo>
                <a:cubicBezTo>
                  <a:pt x="64" y="181"/>
                  <a:pt x="64" y="181"/>
                  <a:pt x="64" y="181"/>
                </a:cubicBezTo>
                <a:cubicBezTo>
                  <a:pt x="66" y="241"/>
                  <a:pt x="87" y="292"/>
                  <a:pt x="117" y="322"/>
                </a:cubicBezTo>
                <a:cubicBezTo>
                  <a:pt x="59" y="300"/>
                  <a:pt x="18" y="245"/>
                  <a:pt x="15" y="181"/>
                </a:cubicBezTo>
                <a:close/>
                <a:moveTo>
                  <a:pt x="231" y="322"/>
                </a:moveTo>
                <a:cubicBezTo>
                  <a:pt x="261" y="292"/>
                  <a:pt x="281" y="241"/>
                  <a:pt x="283" y="181"/>
                </a:cubicBezTo>
                <a:cubicBezTo>
                  <a:pt x="332" y="181"/>
                  <a:pt x="332" y="181"/>
                  <a:pt x="332" y="181"/>
                </a:cubicBezTo>
                <a:cubicBezTo>
                  <a:pt x="329" y="245"/>
                  <a:pt x="288" y="300"/>
                  <a:pt x="231" y="322"/>
                </a:cubicBezTo>
                <a:close/>
              </a:path>
            </a:pathLst>
          </a:custGeom>
          <a:solidFill>
            <a:schemeClr val="accent5"/>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33"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4"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7"/>
              </a:rPr>
              <a:t>www.rapidbbs.cn</a:t>
            </a:r>
            <a:endParaRPr lang="zh-CN" altLang="en-US" sz="1200" b="0">
              <a:latin typeface="Arial" charset="0"/>
              <a:ea typeface="ＭＳ Ｐゴシック" pitchFamily="34" charset="-128"/>
            </a:endParaRPr>
          </a:p>
        </p:txBody>
      </p:sp>
      <p:pic>
        <p:nvPicPr>
          <p:cNvPr id="39" name="Picture 2">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01488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0-#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25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500" fill="hold"/>
                                        <p:tgtEl>
                                          <p:spTgt spid="6"/>
                                        </p:tgtEl>
                                        <p:attrNameLst>
                                          <p:attrName>ppt_x</p:attrName>
                                        </p:attrNameLst>
                                      </p:cBhvr>
                                      <p:tavLst>
                                        <p:tav tm="0">
                                          <p:val>
                                            <p:strVal val="0-#ppt_w/2"/>
                                          </p:val>
                                        </p:tav>
                                        <p:tav tm="100000">
                                          <p:val>
                                            <p:strVal val="#ppt_x"/>
                                          </p:val>
                                        </p:tav>
                                      </p:tavLst>
                                    </p:anim>
                                    <p:anim calcmode="lin" valueType="num">
                                      <p:cBhvr additive="base">
                                        <p:cTn id="12" dur="500" fill="hold"/>
                                        <p:tgtEl>
                                          <p:spTgt spid="6"/>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50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500" fill="hold"/>
                                        <p:tgtEl>
                                          <p:spTgt spid="5"/>
                                        </p:tgtEl>
                                        <p:attrNameLst>
                                          <p:attrName>ppt_x</p:attrName>
                                        </p:attrNameLst>
                                      </p:cBhvr>
                                      <p:tavLst>
                                        <p:tav tm="0">
                                          <p:val>
                                            <p:strVal val="0-#ppt_w/2"/>
                                          </p:val>
                                        </p:tav>
                                        <p:tav tm="100000">
                                          <p:val>
                                            <p:strVal val="#ppt_x"/>
                                          </p:val>
                                        </p:tav>
                                      </p:tavLst>
                                    </p:anim>
                                    <p:anim calcmode="lin" valueType="num">
                                      <p:cBhvr additive="base">
                                        <p:cTn id="16" dur="500" fill="hold"/>
                                        <p:tgtEl>
                                          <p:spTgt spid="5"/>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550"/>
                                  </p:stCondLst>
                                  <p:childTnLst>
                                    <p:set>
                                      <p:cBhvr>
                                        <p:cTn id="18" dur="1" fill="hold">
                                          <p:stCondLst>
                                            <p:cond delay="0"/>
                                          </p:stCondLst>
                                        </p:cTn>
                                        <p:tgtEl>
                                          <p:spTgt spid="30"/>
                                        </p:tgtEl>
                                        <p:attrNameLst>
                                          <p:attrName>style.visibility</p:attrName>
                                        </p:attrNameLst>
                                      </p:cBhvr>
                                      <p:to>
                                        <p:strVal val="visible"/>
                                      </p:to>
                                    </p:set>
                                    <p:anim calcmode="lin" valueType="num">
                                      <p:cBhvr additive="base">
                                        <p:cTn id="19" dur="500" fill="hold"/>
                                        <p:tgtEl>
                                          <p:spTgt spid="30"/>
                                        </p:tgtEl>
                                        <p:attrNameLst>
                                          <p:attrName>ppt_x</p:attrName>
                                        </p:attrNameLst>
                                      </p:cBhvr>
                                      <p:tavLst>
                                        <p:tav tm="0">
                                          <p:val>
                                            <p:strVal val="0-#ppt_w/2"/>
                                          </p:val>
                                        </p:tav>
                                        <p:tav tm="100000">
                                          <p:val>
                                            <p:strVal val="#ppt_x"/>
                                          </p:val>
                                        </p:tav>
                                      </p:tavLst>
                                    </p:anim>
                                    <p:anim calcmode="lin" valueType="num">
                                      <p:cBhvr additive="base">
                                        <p:cTn id="20" dur="500" fill="hold"/>
                                        <p:tgtEl>
                                          <p:spTgt spid="30"/>
                                        </p:tgtEl>
                                        <p:attrNameLst>
                                          <p:attrName>ppt_y</p:attrName>
                                        </p:attrNameLst>
                                      </p:cBhvr>
                                      <p:tavLst>
                                        <p:tav tm="0">
                                          <p:val>
                                            <p:strVal val="#ppt_y"/>
                                          </p:val>
                                        </p:tav>
                                        <p:tav tm="100000">
                                          <p:val>
                                            <p:strVal val="#ppt_y"/>
                                          </p:val>
                                        </p:tav>
                                      </p:tavLst>
                                    </p:anim>
                                  </p:childTnLst>
                                </p:cTn>
                              </p:par>
                              <p:par>
                                <p:cTn id="21" presetID="2" presetClass="entr" presetSubtype="8" decel="100000" fill="hold" nodeType="withEffect">
                                  <p:stCondLst>
                                    <p:cond delay="750"/>
                                  </p:stCondLst>
                                  <p:childTnLst>
                                    <p:set>
                                      <p:cBhvr>
                                        <p:cTn id="22" dur="1" fill="hold">
                                          <p:stCondLst>
                                            <p:cond delay="0"/>
                                          </p:stCondLst>
                                        </p:cTn>
                                        <p:tgtEl>
                                          <p:spTgt spid="4"/>
                                        </p:tgtEl>
                                        <p:attrNameLst>
                                          <p:attrName>style.visibility</p:attrName>
                                        </p:attrNameLst>
                                      </p:cBhvr>
                                      <p:to>
                                        <p:strVal val="visible"/>
                                      </p:to>
                                    </p:set>
                                    <p:anim calcmode="lin" valueType="num">
                                      <p:cBhvr additive="base">
                                        <p:cTn id="23" dur="500" fill="hold"/>
                                        <p:tgtEl>
                                          <p:spTgt spid="4"/>
                                        </p:tgtEl>
                                        <p:attrNameLst>
                                          <p:attrName>ppt_x</p:attrName>
                                        </p:attrNameLst>
                                      </p:cBhvr>
                                      <p:tavLst>
                                        <p:tav tm="0">
                                          <p:val>
                                            <p:strVal val="0-#ppt_w/2"/>
                                          </p:val>
                                        </p:tav>
                                        <p:tav tm="100000">
                                          <p:val>
                                            <p:strVal val="#ppt_x"/>
                                          </p:val>
                                        </p:tav>
                                      </p:tavLst>
                                    </p:anim>
                                    <p:anim calcmode="lin" valueType="num">
                                      <p:cBhvr additive="base">
                                        <p:cTn id="24" dur="500" fill="hold"/>
                                        <p:tgtEl>
                                          <p:spTgt spid="4"/>
                                        </p:tgtEl>
                                        <p:attrNameLst>
                                          <p:attrName>ppt_y</p:attrName>
                                        </p:attrNameLst>
                                      </p:cBhvr>
                                      <p:tavLst>
                                        <p:tav tm="0">
                                          <p:val>
                                            <p:strVal val="#ppt_y"/>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500"/>
                                        <p:tgtEl>
                                          <p:spTgt spid="19"/>
                                        </p:tgtEl>
                                      </p:cBhvr>
                                    </p:animEffect>
                                  </p:childTnLst>
                                </p:cTn>
                              </p:par>
                              <p:par>
                                <p:cTn id="30" presetID="9" presetClass="emph" presetSubtype="0" nodeType="withEffect">
                                  <p:stCondLst>
                                    <p:cond delay="0"/>
                                  </p:stCondLst>
                                  <p:endCondLst>
                                    <p:cond evt="onNext" delay="0">
                                      <p:tgtEl>
                                        <p:sldTgt/>
                                      </p:tgtEl>
                                    </p:cond>
                                  </p:endCondLst>
                                  <p:childTnLst>
                                    <p:set>
                                      <p:cBhvr rctx="PPT">
                                        <p:cTn id="31" dur="indefinite"/>
                                        <p:tgtEl>
                                          <p:spTgt spid="13"/>
                                        </p:tgtEl>
                                        <p:attrNameLst>
                                          <p:attrName>style.opacity</p:attrName>
                                        </p:attrNameLst>
                                      </p:cBhvr>
                                      <p:to>
                                        <p:strVal val="0.25"/>
                                      </p:to>
                                    </p:set>
                                    <p:animEffect filter="image" prLst="opacity: 0.25">
                                      <p:cBhvr rctx="IE">
                                        <p:cTn id="32" dur="indefinite"/>
                                        <p:tgtEl>
                                          <p:spTgt spid="13"/>
                                        </p:tgtEl>
                                      </p:cBhvr>
                                    </p:animEffect>
                                  </p:childTnLst>
                                </p:cTn>
                              </p:par>
                              <p:par>
                                <p:cTn id="33" presetID="9" presetClass="emph" presetSubtype="0" nodeType="withEffect">
                                  <p:stCondLst>
                                    <p:cond delay="0"/>
                                  </p:stCondLst>
                                  <p:endCondLst>
                                    <p:cond evt="onNext" delay="0">
                                      <p:tgtEl>
                                        <p:sldTgt/>
                                      </p:tgtEl>
                                    </p:cond>
                                  </p:endCondLst>
                                  <p:childTnLst>
                                    <p:set>
                                      <p:cBhvr rctx="PPT">
                                        <p:cTn id="34" dur="indefinite"/>
                                        <p:tgtEl>
                                          <p:spTgt spid="6"/>
                                        </p:tgtEl>
                                        <p:attrNameLst>
                                          <p:attrName>style.opacity</p:attrName>
                                        </p:attrNameLst>
                                      </p:cBhvr>
                                      <p:to>
                                        <p:strVal val="0.25"/>
                                      </p:to>
                                    </p:set>
                                    <p:animEffect filter="image" prLst="opacity: 0.25">
                                      <p:cBhvr rctx="IE">
                                        <p:cTn id="35" dur="indefinite"/>
                                        <p:tgtEl>
                                          <p:spTgt spid="6"/>
                                        </p:tgtEl>
                                      </p:cBhvr>
                                    </p:animEffect>
                                  </p:childTnLst>
                                </p:cTn>
                              </p:par>
                              <p:par>
                                <p:cTn id="36" presetID="9" presetClass="emph" presetSubtype="0" nodeType="withEffect">
                                  <p:stCondLst>
                                    <p:cond delay="0"/>
                                  </p:stCondLst>
                                  <p:endCondLst>
                                    <p:cond evt="onNext" delay="0">
                                      <p:tgtEl>
                                        <p:sldTgt/>
                                      </p:tgtEl>
                                    </p:cond>
                                  </p:endCondLst>
                                  <p:childTnLst>
                                    <p:set>
                                      <p:cBhvr rctx="PPT">
                                        <p:cTn id="37" dur="indefinite"/>
                                        <p:tgtEl>
                                          <p:spTgt spid="5"/>
                                        </p:tgtEl>
                                        <p:attrNameLst>
                                          <p:attrName>style.opacity</p:attrName>
                                        </p:attrNameLst>
                                      </p:cBhvr>
                                      <p:to>
                                        <p:strVal val="0.25"/>
                                      </p:to>
                                    </p:set>
                                    <p:animEffect filter="image" prLst="opacity: 0.25">
                                      <p:cBhvr rctx="IE">
                                        <p:cTn id="38" dur="indefinite"/>
                                        <p:tgtEl>
                                          <p:spTgt spid="5"/>
                                        </p:tgtEl>
                                      </p:cBhvr>
                                    </p:animEffect>
                                  </p:childTnLst>
                                </p:cTn>
                              </p:par>
                              <p:par>
                                <p:cTn id="39" presetID="9" presetClass="emph" presetSubtype="0" grpId="1" nodeType="withEffect">
                                  <p:stCondLst>
                                    <p:cond delay="0"/>
                                  </p:stCondLst>
                                  <p:endCondLst>
                                    <p:cond evt="onNext" delay="0">
                                      <p:tgtEl>
                                        <p:sldTgt/>
                                      </p:tgtEl>
                                    </p:cond>
                                  </p:endCondLst>
                                  <p:childTnLst>
                                    <p:set>
                                      <p:cBhvr rctx="PPT">
                                        <p:cTn id="40" dur="indefinite"/>
                                        <p:tgtEl>
                                          <p:spTgt spid="30"/>
                                        </p:tgtEl>
                                        <p:attrNameLst>
                                          <p:attrName>style.opacity</p:attrName>
                                        </p:attrNameLst>
                                      </p:cBhvr>
                                      <p:to>
                                        <p:strVal val="0.25"/>
                                      </p:to>
                                    </p:set>
                                    <p:animEffect filter="image" prLst="opacity: 0.25">
                                      <p:cBhvr rctx="IE">
                                        <p:cTn id="41" dur="indefinite"/>
                                        <p:tgtEl>
                                          <p:spTgt spid="30"/>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xit" presetSubtype="0" fill="hold" nodeType="clickEffect">
                                  <p:stCondLst>
                                    <p:cond delay="0"/>
                                  </p:stCondLst>
                                  <p:childTnLst>
                                    <p:animEffect transition="out" filter="fade">
                                      <p:cBhvr>
                                        <p:cTn id="45" dur="500"/>
                                        <p:tgtEl>
                                          <p:spTgt spid="19"/>
                                        </p:tgtEl>
                                      </p:cBhvr>
                                    </p:animEffect>
                                    <p:set>
                                      <p:cBhvr>
                                        <p:cTn id="46" dur="1" fill="hold">
                                          <p:stCondLst>
                                            <p:cond delay="499"/>
                                          </p:stCondLst>
                                        </p:cTn>
                                        <p:tgtEl>
                                          <p:spTgt spid="19"/>
                                        </p:tgtEl>
                                        <p:attrNameLst>
                                          <p:attrName>style.visibility</p:attrName>
                                        </p:attrNameLst>
                                      </p:cBhvr>
                                      <p:to>
                                        <p:strVal val="hidden"/>
                                      </p:to>
                                    </p:set>
                                  </p:childTnLst>
                                </p:cTn>
                              </p:par>
                              <p:par>
                                <p:cTn id="47" presetID="10" presetClass="entr" presetSubtype="0" fill="hold" nodeType="withEffect">
                                  <p:stCondLst>
                                    <p:cond delay="0"/>
                                  </p:stCondLst>
                                  <p:childTnLst>
                                    <p:set>
                                      <p:cBhvr>
                                        <p:cTn id="48" dur="1" fill="hold">
                                          <p:stCondLst>
                                            <p:cond delay="0"/>
                                          </p:stCondLst>
                                        </p:cTn>
                                        <p:tgtEl>
                                          <p:spTgt spid="20"/>
                                        </p:tgtEl>
                                        <p:attrNameLst>
                                          <p:attrName>style.visibility</p:attrName>
                                        </p:attrNameLst>
                                      </p:cBhvr>
                                      <p:to>
                                        <p:strVal val="visible"/>
                                      </p:to>
                                    </p:set>
                                    <p:animEffect transition="in" filter="fade">
                                      <p:cBhvr>
                                        <p:cTn id="49" dur="500"/>
                                        <p:tgtEl>
                                          <p:spTgt spid="20"/>
                                        </p:tgtEl>
                                      </p:cBhvr>
                                    </p:animEffect>
                                  </p:childTnLst>
                                </p:cTn>
                              </p:par>
                              <p:par>
                                <p:cTn id="50" presetID="9" presetClass="emph" presetSubtype="0" nodeType="withEffect">
                                  <p:stCondLst>
                                    <p:cond delay="0"/>
                                  </p:stCondLst>
                                  <p:endCondLst>
                                    <p:cond evt="onNext" delay="0">
                                      <p:tgtEl>
                                        <p:sldTgt/>
                                      </p:tgtEl>
                                    </p:cond>
                                  </p:endCondLst>
                                  <p:childTnLst>
                                    <p:set>
                                      <p:cBhvr rctx="PPT">
                                        <p:cTn id="51" dur="indefinite"/>
                                        <p:tgtEl>
                                          <p:spTgt spid="13"/>
                                        </p:tgtEl>
                                        <p:attrNameLst>
                                          <p:attrName>style.opacity</p:attrName>
                                        </p:attrNameLst>
                                      </p:cBhvr>
                                      <p:to>
                                        <p:strVal val="0.25"/>
                                      </p:to>
                                    </p:set>
                                    <p:animEffect filter="image" prLst="opacity: 0.25">
                                      <p:cBhvr rctx="IE">
                                        <p:cTn id="52" dur="indefinite"/>
                                        <p:tgtEl>
                                          <p:spTgt spid="13"/>
                                        </p:tgtEl>
                                      </p:cBhvr>
                                    </p:animEffect>
                                  </p:childTnLst>
                                </p:cTn>
                              </p:par>
                              <p:par>
                                <p:cTn id="53" presetID="9" presetClass="emph" presetSubtype="0" nodeType="withEffect">
                                  <p:stCondLst>
                                    <p:cond delay="0"/>
                                  </p:stCondLst>
                                  <p:endCondLst>
                                    <p:cond evt="onNext" delay="0">
                                      <p:tgtEl>
                                        <p:sldTgt/>
                                      </p:tgtEl>
                                    </p:cond>
                                  </p:endCondLst>
                                  <p:childTnLst>
                                    <p:set>
                                      <p:cBhvr rctx="PPT">
                                        <p:cTn id="54" dur="indefinite"/>
                                        <p:tgtEl>
                                          <p:spTgt spid="6"/>
                                        </p:tgtEl>
                                        <p:attrNameLst>
                                          <p:attrName>style.opacity</p:attrName>
                                        </p:attrNameLst>
                                      </p:cBhvr>
                                      <p:to>
                                        <p:strVal val="0.25"/>
                                      </p:to>
                                    </p:set>
                                    <p:animEffect filter="image" prLst="opacity: 0.25">
                                      <p:cBhvr rctx="IE">
                                        <p:cTn id="55" dur="indefinite"/>
                                        <p:tgtEl>
                                          <p:spTgt spid="6"/>
                                        </p:tgtEl>
                                      </p:cBhvr>
                                    </p:animEffect>
                                  </p:childTnLst>
                                </p:cTn>
                              </p:par>
                              <p:par>
                                <p:cTn id="56" presetID="9" presetClass="emph" presetSubtype="0" nodeType="withEffect">
                                  <p:stCondLst>
                                    <p:cond delay="0"/>
                                  </p:stCondLst>
                                  <p:endCondLst>
                                    <p:cond evt="onNext" delay="0">
                                      <p:tgtEl>
                                        <p:sldTgt/>
                                      </p:tgtEl>
                                    </p:cond>
                                  </p:endCondLst>
                                  <p:childTnLst>
                                    <p:set>
                                      <p:cBhvr rctx="PPT">
                                        <p:cTn id="57" dur="indefinite"/>
                                        <p:tgtEl>
                                          <p:spTgt spid="4"/>
                                        </p:tgtEl>
                                        <p:attrNameLst>
                                          <p:attrName>style.opacity</p:attrName>
                                        </p:attrNameLst>
                                      </p:cBhvr>
                                      <p:to>
                                        <p:strVal val="0.25"/>
                                      </p:to>
                                    </p:set>
                                    <p:animEffect filter="image" prLst="opacity: 0.25">
                                      <p:cBhvr rctx="IE">
                                        <p:cTn id="58" dur="indefinite"/>
                                        <p:tgtEl>
                                          <p:spTgt spid="4"/>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xit" presetSubtype="0" fill="hold" nodeType="clickEffect">
                                  <p:stCondLst>
                                    <p:cond delay="0"/>
                                  </p:stCondLst>
                                  <p:childTnLst>
                                    <p:animEffect transition="out" filter="fade">
                                      <p:cBhvr>
                                        <p:cTn id="62" dur="500"/>
                                        <p:tgtEl>
                                          <p:spTgt spid="20"/>
                                        </p:tgtEl>
                                      </p:cBhvr>
                                    </p:animEffect>
                                    <p:set>
                                      <p:cBhvr>
                                        <p:cTn id="63" dur="1" fill="hold">
                                          <p:stCondLst>
                                            <p:cond delay="499"/>
                                          </p:stCondLst>
                                        </p:cTn>
                                        <p:tgtEl>
                                          <p:spTgt spid="20"/>
                                        </p:tgtEl>
                                        <p:attrNameLst>
                                          <p:attrName>style.visibility</p:attrName>
                                        </p:attrNameLst>
                                      </p:cBhvr>
                                      <p:to>
                                        <p:strVal val="hidden"/>
                                      </p:to>
                                    </p:set>
                                  </p:childTnLst>
                                </p:cTn>
                              </p:par>
                              <p:par>
                                <p:cTn id="64" presetID="10" presetClass="entr" presetSubtype="0" fill="hold" nodeType="withEffect">
                                  <p:stCondLst>
                                    <p:cond delay="0"/>
                                  </p:stCondLst>
                                  <p:childTnLst>
                                    <p:set>
                                      <p:cBhvr>
                                        <p:cTn id="65" dur="1" fill="hold">
                                          <p:stCondLst>
                                            <p:cond delay="0"/>
                                          </p:stCondLst>
                                        </p:cTn>
                                        <p:tgtEl>
                                          <p:spTgt spid="21"/>
                                        </p:tgtEl>
                                        <p:attrNameLst>
                                          <p:attrName>style.visibility</p:attrName>
                                        </p:attrNameLst>
                                      </p:cBhvr>
                                      <p:to>
                                        <p:strVal val="visible"/>
                                      </p:to>
                                    </p:set>
                                    <p:animEffect transition="in" filter="fade">
                                      <p:cBhvr>
                                        <p:cTn id="66" dur="500"/>
                                        <p:tgtEl>
                                          <p:spTgt spid="21"/>
                                        </p:tgtEl>
                                      </p:cBhvr>
                                    </p:animEffect>
                                  </p:childTnLst>
                                </p:cTn>
                              </p:par>
                              <p:par>
                                <p:cTn id="67" presetID="9" presetClass="emph" presetSubtype="0" nodeType="withEffect">
                                  <p:stCondLst>
                                    <p:cond delay="0"/>
                                  </p:stCondLst>
                                  <p:endCondLst>
                                    <p:cond evt="onNext" delay="0">
                                      <p:tgtEl>
                                        <p:sldTgt/>
                                      </p:tgtEl>
                                    </p:cond>
                                  </p:endCondLst>
                                  <p:childTnLst>
                                    <p:set>
                                      <p:cBhvr rctx="PPT">
                                        <p:cTn id="68" dur="indefinite"/>
                                        <p:tgtEl>
                                          <p:spTgt spid="13"/>
                                        </p:tgtEl>
                                        <p:attrNameLst>
                                          <p:attrName>style.opacity</p:attrName>
                                        </p:attrNameLst>
                                      </p:cBhvr>
                                      <p:to>
                                        <p:strVal val="0.25"/>
                                      </p:to>
                                    </p:set>
                                    <p:animEffect filter="image" prLst="opacity: 0.25">
                                      <p:cBhvr rctx="IE">
                                        <p:cTn id="69" dur="indefinite"/>
                                        <p:tgtEl>
                                          <p:spTgt spid="13"/>
                                        </p:tgtEl>
                                      </p:cBhvr>
                                    </p:animEffect>
                                  </p:childTnLst>
                                </p:cTn>
                              </p:par>
                              <p:par>
                                <p:cTn id="70" presetID="9" presetClass="emph" presetSubtype="0" nodeType="withEffect">
                                  <p:stCondLst>
                                    <p:cond delay="0"/>
                                  </p:stCondLst>
                                  <p:endCondLst>
                                    <p:cond evt="onNext" delay="0">
                                      <p:tgtEl>
                                        <p:sldTgt/>
                                      </p:tgtEl>
                                    </p:cond>
                                  </p:endCondLst>
                                  <p:childTnLst>
                                    <p:set>
                                      <p:cBhvr rctx="PPT">
                                        <p:cTn id="71" dur="indefinite"/>
                                        <p:tgtEl>
                                          <p:spTgt spid="5"/>
                                        </p:tgtEl>
                                        <p:attrNameLst>
                                          <p:attrName>style.opacity</p:attrName>
                                        </p:attrNameLst>
                                      </p:cBhvr>
                                      <p:to>
                                        <p:strVal val="0.25"/>
                                      </p:to>
                                    </p:set>
                                    <p:animEffect filter="image" prLst="opacity: 0.25">
                                      <p:cBhvr rctx="IE">
                                        <p:cTn id="72" dur="indefinite"/>
                                        <p:tgtEl>
                                          <p:spTgt spid="5"/>
                                        </p:tgtEl>
                                      </p:cBhvr>
                                    </p:animEffect>
                                  </p:childTnLst>
                                </p:cTn>
                              </p:par>
                              <p:par>
                                <p:cTn id="73" presetID="9" presetClass="emph" presetSubtype="0" grpId="2" nodeType="withEffect">
                                  <p:stCondLst>
                                    <p:cond delay="0"/>
                                  </p:stCondLst>
                                  <p:endCondLst>
                                    <p:cond evt="onNext" delay="0">
                                      <p:tgtEl>
                                        <p:sldTgt/>
                                      </p:tgtEl>
                                    </p:cond>
                                  </p:endCondLst>
                                  <p:childTnLst>
                                    <p:set>
                                      <p:cBhvr rctx="PPT">
                                        <p:cTn id="74" dur="indefinite"/>
                                        <p:tgtEl>
                                          <p:spTgt spid="30"/>
                                        </p:tgtEl>
                                        <p:attrNameLst>
                                          <p:attrName>style.opacity</p:attrName>
                                        </p:attrNameLst>
                                      </p:cBhvr>
                                      <p:to>
                                        <p:strVal val="0.25"/>
                                      </p:to>
                                    </p:set>
                                    <p:animEffect filter="image" prLst="opacity: 0.25">
                                      <p:cBhvr rctx="IE">
                                        <p:cTn id="75" dur="indefinite"/>
                                        <p:tgtEl>
                                          <p:spTgt spid="30"/>
                                        </p:tgtEl>
                                      </p:cBhvr>
                                    </p:animEffect>
                                  </p:childTnLst>
                                </p:cTn>
                              </p:par>
                              <p:par>
                                <p:cTn id="76" presetID="9" presetClass="emph" presetSubtype="0" nodeType="withEffect">
                                  <p:stCondLst>
                                    <p:cond delay="0"/>
                                  </p:stCondLst>
                                  <p:endCondLst>
                                    <p:cond evt="onNext" delay="0">
                                      <p:tgtEl>
                                        <p:sldTgt/>
                                      </p:tgtEl>
                                    </p:cond>
                                  </p:endCondLst>
                                  <p:childTnLst>
                                    <p:set>
                                      <p:cBhvr rctx="PPT">
                                        <p:cTn id="77" dur="indefinite"/>
                                        <p:tgtEl>
                                          <p:spTgt spid="4"/>
                                        </p:tgtEl>
                                        <p:attrNameLst>
                                          <p:attrName>style.opacity</p:attrName>
                                        </p:attrNameLst>
                                      </p:cBhvr>
                                      <p:to>
                                        <p:strVal val="0.25"/>
                                      </p:to>
                                    </p:set>
                                    <p:animEffect filter="image" prLst="opacity: 0.25">
                                      <p:cBhvr rctx="IE">
                                        <p:cTn id="78" dur="indefinite"/>
                                        <p:tgtEl>
                                          <p:spTgt spid="4"/>
                                        </p:tgtEl>
                                      </p:cBhvr>
                                    </p:animEffect>
                                  </p:childTnLst>
                                </p:cTn>
                              </p:par>
                            </p:childTnLst>
                          </p:cTn>
                        </p:par>
                      </p:childTnLst>
                    </p:cTn>
                  </p:par>
                  <p:par>
                    <p:cTn id="79" fill="hold">
                      <p:stCondLst>
                        <p:cond delay="indefinite"/>
                      </p:stCondLst>
                      <p:childTnLst>
                        <p:par>
                          <p:cTn id="80" fill="hold">
                            <p:stCondLst>
                              <p:cond delay="0"/>
                            </p:stCondLst>
                            <p:childTnLst>
                              <p:par>
                                <p:cTn id="81" presetID="10" presetClass="exit" presetSubtype="0" fill="hold" nodeType="clickEffect">
                                  <p:stCondLst>
                                    <p:cond delay="0"/>
                                  </p:stCondLst>
                                  <p:childTnLst>
                                    <p:animEffect transition="out" filter="fade">
                                      <p:cBhvr>
                                        <p:cTn id="82" dur="500"/>
                                        <p:tgtEl>
                                          <p:spTgt spid="21"/>
                                        </p:tgtEl>
                                      </p:cBhvr>
                                    </p:animEffect>
                                    <p:set>
                                      <p:cBhvr>
                                        <p:cTn id="83" dur="1" fill="hold">
                                          <p:stCondLst>
                                            <p:cond delay="499"/>
                                          </p:stCondLst>
                                        </p:cTn>
                                        <p:tgtEl>
                                          <p:spTgt spid="21"/>
                                        </p:tgtEl>
                                        <p:attrNameLst>
                                          <p:attrName>style.visibility</p:attrName>
                                        </p:attrNameLst>
                                      </p:cBhvr>
                                      <p:to>
                                        <p:strVal val="hidden"/>
                                      </p:to>
                                    </p:set>
                                  </p:childTnLst>
                                </p:cTn>
                              </p:par>
                              <p:par>
                                <p:cTn id="84" presetID="10" presetClass="entr" presetSubtype="0" fill="hold" nodeType="withEffect">
                                  <p:stCondLst>
                                    <p:cond delay="0"/>
                                  </p:stCondLst>
                                  <p:childTnLst>
                                    <p:set>
                                      <p:cBhvr>
                                        <p:cTn id="85" dur="1" fill="hold">
                                          <p:stCondLst>
                                            <p:cond delay="0"/>
                                          </p:stCondLst>
                                        </p:cTn>
                                        <p:tgtEl>
                                          <p:spTgt spid="22"/>
                                        </p:tgtEl>
                                        <p:attrNameLst>
                                          <p:attrName>style.visibility</p:attrName>
                                        </p:attrNameLst>
                                      </p:cBhvr>
                                      <p:to>
                                        <p:strVal val="visible"/>
                                      </p:to>
                                    </p:set>
                                    <p:animEffect transition="in" filter="fade">
                                      <p:cBhvr>
                                        <p:cTn id="86" dur="500"/>
                                        <p:tgtEl>
                                          <p:spTgt spid="22"/>
                                        </p:tgtEl>
                                      </p:cBhvr>
                                    </p:animEffect>
                                  </p:childTnLst>
                                </p:cTn>
                              </p:par>
                              <p:par>
                                <p:cTn id="87" presetID="9" presetClass="emph" presetSubtype="0" nodeType="withEffect">
                                  <p:stCondLst>
                                    <p:cond delay="0"/>
                                  </p:stCondLst>
                                  <p:endCondLst>
                                    <p:cond evt="onNext" delay="0">
                                      <p:tgtEl>
                                        <p:sldTgt/>
                                      </p:tgtEl>
                                    </p:cond>
                                  </p:endCondLst>
                                  <p:childTnLst>
                                    <p:set>
                                      <p:cBhvr rctx="PPT">
                                        <p:cTn id="88" dur="indefinite"/>
                                        <p:tgtEl>
                                          <p:spTgt spid="6"/>
                                        </p:tgtEl>
                                        <p:attrNameLst>
                                          <p:attrName>style.opacity</p:attrName>
                                        </p:attrNameLst>
                                      </p:cBhvr>
                                      <p:to>
                                        <p:strVal val="0.25"/>
                                      </p:to>
                                    </p:set>
                                    <p:animEffect filter="image" prLst="opacity: 0.25">
                                      <p:cBhvr rctx="IE">
                                        <p:cTn id="89" dur="indefinite"/>
                                        <p:tgtEl>
                                          <p:spTgt spid="6"/>
                                        </p:tgtEl>
                                      </p:cBhvr>
                                    </p:animEffect>
                                  </p:childTnLst>
                                </p:cTn>
                              </p:par>
                              <p:par>
                                <p:cTn id="90" presetID="9" presetClass="emph" presetSubtype="0" nodeType="withEffect">
                                  <p:stCondLst>
                                    <p:cond delay="0"/>
                                  </p:stCondLst>
                                  <p:endCondLst>
                                    <p:cond evt="onNext" delay="0">
                                      <p:tgtEl>
                                        <p:sldTgt/>
                                      </p:tgtEl>
                                    </p:cond>
                                  </p:endCondLst>
                                  <p:childTnLst>
                                    <p:set>
                                      <p:cBhvr rctx="PPT">
                                        <p:cTn id="91" dur="indefinite"/>
                                        <p:tgtEl>
                                          <p:spTgt spid="5"/>
                                        </p:tgtEl>
                                        <p:attrNameLst>
                                          <p:attrName>style.opacity</p:attrName>
                                        </p:attrNameLst>
                                      </p:cBhvr>
                                      <p:to>
                                        <p:strVal val="0.25"/>
                                      </p:to>
                                    </p:set>
                                    <p:animEffect filter="image" prLst="opacity: 0.25">
                                      <p:cBhvr rctx="IE">
                                        <p:cTn id="92" dur="indefinite"/>
                                        <p:tgtEl>
                                          <p:spTgt spid="5"/>
                                        </p:tgtEl>
                                      </p:cBhvr>
                                    </p:animEffect>
                                  </p:childTnLst>
                                </p:cTn>
                              </p:par>
                              <p:par>
                                <p:cTn id="93" presetID="9" presetClass="emph" presetSubtype="0" grpId="3" nodeType="withEffect">
                                  <p:stCondLst>
                                    <p:cond delay="0"/>
                                  </p:stCondLst>
                                  <p:endCondLst>
                                    <p:cond evt="onNext" delay="0">
                                      <p:tgtEl>
                                        <p:sldTgt/>
                                      </p:tgtEl>
                                    </p:cond>
                                  </p:endCondLst>
                                  <p:childTnLst>
                                    <p:set>
                                      <p:cBhvr rctx="PPT">
                                        <p:cTn id="94" dur="indefinite"/>
                                        <p:tgtEl>
                                          <p:spTgt spid="30"/>
                                        </p:tgtEl>
                                        <p:attrNameLst>
                                          <p:attrName>style.opacity</p:attrName>
                                        </p:attrNameLst>
                                      </p:cBhvr>
                                      <p:to>
                                        <p:strVal val="0.25"/>
                                      </p:to>
                                    </p:set>
                                    <p:animEffect filter="image" prLst="opacity: 0.25">
                                      <p:cBhvr rctx="IE">
                                        <p:cTn id="95" dur="indefinite"/>
                                        <p:tgtEl>
                                          <p:spTgt spid="30"/>
                                        </p:tgtEl>
                                      </p:cBhvr>
                                    </p:animEffect>
                                  </p:childTnLst>
                                </p:cTn>
                              </p:par>
                              <p:par>
                                <p:cTn id="96" presetID="9" presetClass="emph" presetSubtype="0" nodeType="withEffect">
                                  <p:stCondLst>
                                    <p:cond delay="0"/>
                                  </p:stCondLst>
                                  <p:endCondLst>
                                    <p:cond evt="onNext" delay="0">
                                      <p:tgtEl>
                                        <p:sldTgt/>
                                      </p:tgtEl>
                                    </p:cond>
                                  </p:endCondLst>
                                  <p:childTnLst>
                                    <p:set>
                                      <p:cBhvr rctx="PPT">
                                        <p:cTn id="97" dur="indefinite"/>
                                        <p:tgtEl>
                                          <p:spTgt spid="4"/>
                                        </p:tgtEl>
                                        <p:attrNameLst>
                                          <p:attrName>style.opacity</p:attrName>
                                        </p:attrNameLst>
                                      </p:cBhvr>
                                      <p:to>
                                        <p:strVal val="0.25"/>
                                      </p:to>
                                    </p:set>
                                    <p:animEffect filter="image" prLst="opacity: 0.25">
                                      <p:cBhvr rctx="IE">
                                        <p:cTn id="98" dur="indefinite"/>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0" grpId="1" animBg="1"/>
      <p:bldP spid="30" grpId="2" animBg="1"/>
      <p:bldP spid="30" grpId="3" animBg="1"/>
    </p:bldLst>
  </p:timing>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6129" y="317031"/>
            <a:ext cx="8574732" cy="352661"/>
          </a:xfrm>
        </p:spPr>
        <p:txBody>
          <a:bodyPr/>
          <a:lstStyle/>
          <a:p>
            <a:r>
              <a:rPr lang="en-US" sz="2500" dirty="0"/>
              <a:t>CONSIDERATIONS FOR CHOICE IN CLOUD SERVICES PROVIDER</a:t>
            </a:r>
          </a:p>
        </p:txBody>
      </p:sp>
      <p:sp>
        <p:nvSpPr>
          <p:cNvPr id="18" name="Rectangle 17"/>
          <p:cNvSpPr/>
          <p:nvPr/>
        </p:nvSpPr>
        <p:spPr bwMode="auto">
          <a:xfrm>
            <a:off x="6853737" y="2820608"/>
            <a:ext cx="1410051" cy="1409685"/>
          </a:xfrm>
          <a:prstGeom prst="rect">
            <a:avLst/>
          </a:prstGeom>
          <a:solidFill>
            <a:srgbClr val="FF8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4" tIns="34288" rIns="34288" bIns="68574" numCol="1" spcCol="0" rtlCol="0" fromWordArt="0" anchor="ctr" anchorCtr="0" forceAA="0" compatLnSpc="1">
            <a:prstTxWarp prst="textNoShape">
              <a:avLst/>
            </a:prstTxWarp>
            <a:noAutofit/>
          </a:bodyPr>
          <a:lstStyle/>
          <a:p>
            <a:pPr algn="ctr" defTabSz="685721">
              <a:lnSpc>
                <a:spcPct val="90000"/>
              </a:lnSpc>
            </a:pPr>
            <a:endParaRPr lang="en-US" sz="1300" spc="-53" dirty="0">
              <a:solidFill>
                <a:srgbClr val="FFFFFF"/>
              </a:solidFill>
            </a:endParaRPr>
          </a:p>
        </p:txBody>
      </p:sp>
      <p:sp>
        <p:nvSpPr>
          <p:cNvPr id="19" name="Rectangle 18"/>
          <p:cNvSpPr/>
          <p:nvPr/>
        </p:nvSpPr>
        <p:spPr bwMode="auto">
          <a:xfrm>
            <a:off x="6853737" y="1329707"/>
            <a:ext cx="1410051" cy="1409685"/>
          </a:xfrm>
          <a:prstGeom prst="rect">
            <a:avLst/>
          </a:prstGeom>
          <a:solidFill>
            <a:srgbClr val="FF8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4" tIns="34288" rIns="34288" bIns="68574" numCol="1" spcCol="0" rtlCol="0" fromWordArt="0" anchor="ctr" anchorCtr="0" forceAA="0" compatLnSpc="1">
            <a:prstTxWarp prst="textNoShape">
              <a:avLst/>
            </a:prstTxWarp>
            <a:noAutofit/>
          </a:bodyPr>
          <a:lstStyle/>
          <a:p>
            <a:pPr algn="ctr" defTabSz="685721">
              <a:lnSpc>
                <a:spcPct val="90000"/>
              </a:lnSpc>
            </a:pPr>
            <a:endParaRPr lang="en-US" sz="1300" b="1" spc="-53" dirty="0">
              <a:solidFill>
                <a:srgbClr val="FFFFFF"/>
              </a:solidFill>
            </a:endParaRPr>
          </a:p>
        </p:txBody>
      </p:sp>
      <p:sp>
        <p:nvSpPr>
          <p:cNvPr id="20" name="Rectangle 19"/>
          <p:cNvSpPr/>
          <p:nvPr/>
        </p:nvSpPr>
        <p:spPr bwMode="auto">
          <a:xfrm>
            <a:off x="5357780" y="2820608"/>
            <a:ext cx="1410051" cy="1409685"/>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4" tIns="34288" rIns="34288" bIns="68574" numCol="1" spcCol="0" rtlCol="0" fromWordArt="0" anchor="ctr" anchorCtr="0" forceAA="0" compatLnSpc="1">
            <a:prstTxWarp prst="textNoShape">
              <a:avLst/>
            </a:prstTxWarp>
            <a:noAutofit/>
          </a:bodyPr>
          <a:lstStyle/>
          <a:p>
            <a:pPr algn="ctr" defTabSz="685721">
              <a:lnSpc>
                <a:spcPct val="90000"/>
              </a:lnSpc>
            </a:pPr>
            <a:endParaRPr lang="en-US" sz="1300" spc="-53" dirty="0">
              <a:solidFill>
                <a:srgbClr val="FFFFFF"/>
              </a:solidFill>
            </a:endParaRPr>
          </a:p>
        </p:txBody>
      </p:sp>
      <p:sp>
        <p:nvSpPr>
          <p:cNvPr id="21" name="Rectangle 20"/>
          <p:cNvSpPr/>
          <p:nvPr/>
        </p:nvSpPr>
        <p:spPr bwMode="auto">
          <a:xfrm>
            <a:off x="5357780" y="1329707"/>
            <a:ext cx="1410051" cy="1409685"/>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4" tIns="34288" rIns="34288" bIns="68574" numCol="1" spcCol="0" rtlCol="0" fromWordArt="0" anchor="ctr" anchorCtr="0" forceAA="0" compatLnSpc="1">
            <a:prstTxWarp prst="textNoShape">
              <a:avLst/>
            </a:prstTxWarp>
            <a:noAutofit/>
          </a:bodyPr>
          <a:lstStyle/>
          <a:p>
            <a:pPr algn="ctr" defTabSz="685721">
              <a:lnSpc>
                <a:spcPct val="90000"/>
              </a:lnSpc>
            </a:pPr>
            <a:endParaRPr lang="en-US" sz="1300" spc="-53" dirty="0">
              <a:solidFill>
                <a:srgbClr val="FFFFFF"/>
              </a:solidFill>
            </a:endParaRPr>
          </a:p>
        </p:txBody>
      </p:sp>
      <p:sp>
        <p:nvSpPr>
          <p:cNvPr id="23" name="Rectangle 22"/>
          <p:cNvSpPr/>
          <p:nvPr/>
        </p:nvSpPr>
        <p:spPr bwMode="auto">
          <a:xfrm>
            <a:off x="3861823" y="2819417"/>
            <a:ext cx="1410051" cy="1409685"/>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4" tIns="34288" rIns="34288" bIns="68574" numCol="1" spcCol="0" rtlCol="0" fromWordArt="0" anchor="ctr" anchorCtr="0" forceAA="0" compatLnSpc="1">
            <a:prstTxWarp prst="textNoShape">
              <a:avLst/>
            </a:prstTxWarp>
            <a:noAutofit/>
          </a:bodyPr>
          <a:lstStyle/>
          <a:p>
            <a:pPr algn="ctr" defTabSz="685721">
              <a:lnSpc>
                <a:spcPct val="90000"/>
              </a:lnSpc>
            </a:pPr>
            <a:endParaRPr lang="en-US" sz="1300" spc="-53" dirty="0">
              <a:solidFill>
                <a:srgbClr val="FFFFFF"/>
              </a:solidFill>
            </a:endParaRPr>
          </a:p>
        </p:txBody>
      </p:sp>
      <p:sp>
        <p:nvSpPr>
          <p:cNvPr id="24" name="Rectangle 23"/>
          <p:cNvSpPr/>
          <p:nvPr/>
        </p:nvSpPr>
        <p:spPr bwMode="auto">
          <a:xfrm>
            <a:off x="3861823" y="1328516"/>
            <a:ext cx="1410051" cy="1409685"/>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4" tIns="34288" rIns="34288" bIns="68574" numCol="1" spcCol="0" rtlCol="0" fromWordArt="0" anchor="ctr" anchorCtr="0" forceAA="0" compatLnSpc="1">
            <a:prstTxWarp prst="textNoShape">
              <a:avLst/>
            </a:prstTxWarp>
            <a:noAutofit/>
          </a:bodyPr>
          <a:lstStyle/>
          <a:p>
            <a:pPr algn="ctr" defTabSz="685721">
              <a:lnSpc>
                <a:spcPct val="90000"/>
              </a:lnSpc>
            </a:pPr>
            <a:endParaRPr lang="en-US" sz="1300" spc="-53" dirty="0">
              <a:solidFill>
                <a:srgbClr val="FFFFFF"/>
              </a:solidFill>
            </a:endParaRPr>
          </a:p>
        </p:txBody>
      </p:sp>
      <p:pic>
        <p:nvPicPr>
          <p:cNvPr id="26" name="Picture 25"/>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856282" y="1329707"/>
            <a:ext cx="2932368" cy="2902125"/>
          </a:xfrm>
          <a:prstGeom prst="rect">
            <a:avLst/>
          </a:prstGeom>
        </p:spPr>
      </p:pic>
      <p:sp>
        <p:nvSpPr>
          <p:cNvPr id="27" name="Rectangle 26"/>
          <p:cNvSpPr/>
          <p:nvPr/>
        </p:nvSpPr>
        <p:spPr>
          <a:xfrm>
            <a:off x="421942" y="625306"/>
            <a:ext cx="7807658" cy="288533"/>
          </a:xfrm>
          <a:prstGeom prst="rect">
            <a:avLst/>
          </a:prstGeom>
        </p:spPr>
        <p:txBody>
          <a:bodyPr wrap="square" lIns="68574" tIns="34288" rIns="68574" bIns="34288">
            <a:spAutoFit/>
          </a:bodyPr>
          <a:lstStyle/>
          <a:p>
            <a:pPr defTabSz="685721"/>
            <a:r>
              <a:rPr lang="en-US" spc="-75" dirty="0">
                <a:solidFill>
                  <a:srgbClr val="FFFFFF"/>
                </a:solidFill>
              </a:rPr>
              <a:t>Consult guidance from organizations such as the </a:t>
            </a:r>
            <a:r>
              <a:rPr lang="en-US" spc="-75" dirty="0">
                <a:solidFill>
                  <a:srgbClr val="FFFFFF"/>
                </a:solidFill>
                <a:hlinkClick r:id="rId4"/>
              </a:rPr>
              <a:t>Cloud Security Alliance</a:t>
            </a:r>
            <a:endParaRPr lang="en-US" spc="-75" dirty="0">
              <a:solidFill>
                <a:srgbClr val="FFFFFF"/>
              </a:solidFill>
            </a:endParaRPr>
          </a:p>
        </p:txBody>
      </p:sp>
      <p:sp>
        <p:nvSpPr>
          <p:cNvPr id="3" name="TextBox 2"/>
          <p:cNvSpPr txBox="1"/>
          <p:nvPr/>
        </p:nvSpPr>
        <p:spPr>
          <a:xfrm>
            <a:off x="3886200" y="1352553"/>
            <a:ext cx="1295400" cy="1625044"/>
          </a:xfrm>
          <a:prstGeom prst="rect">
            <a:avLst/>
          </a:prstGeom>
          <a:noFill/>
        </p:spPr>
        <p:txBody>
          <a:bodyPr wrap="square" lIns="91420" tIns="45710" rIns="91420" bIns="45710" rtlCol="0">
            <a:spAutoFit/>
          </a:bodyPr>
          <a:lstStyle/>
          <a:p>
            <a:pPr defTabSz="685721">
              <a:lnSpc>
                <a:spcPct val="90000"/>
              </a:lnSpc>
              <a:spcBef>
                <a:spcPct val="20000"/>
              </a:spcBef>
              <a:buSzPct val="90000"/>
            </a:pPr>
            <a:r>
              <a:rPr lang="en-US" sz="1200" spc="-53" dirty="0">
                <a:solidFill>
                  <a:srgbClr val="FFFFFF"/>
                </a:solidFill>
              </a:rPr>
              <a:t>Require that the provider has attained </a:t>
            </a:r>
            <a:br>
              <a:rPr lang="en-US" sz="1200" spc="-53" dirty="0">
                <a:solidFill>
                  <a:srgbClr val="FFFFFF"/>
                </a:solidFill>
              </a:rPr>
            </a:br>
            <a:r>
              <a:rPr lang="en-US" sz="1200" spc="-53" dirty="0">
                <a:solidFill>
                  <a:srgbClr val="FFFFFF"/>
                </a:solidFill>
              </a:rPr>
              <a:t>third-party certifications and audits, e.g., ISO/IEC 27001:2005</a:t>
            </a:r>
          </a:p>
          <a:p>
            <a:pPr defTabSz="685721">
              <a:lnSpc>
                <a:spcPct val="90000"/>
              </a:lnSpc>
              <a:spcBef>
                <a:spcPct val="20000"/>
              </a:spcBef>
              <a:buSzPct val="90000"/>
            </a:pPr>
            <a:endParaRPr lang="en-US" sz="1200" dirty="0">
              <a:gradFill>
                <a:gsLst>
                  <a:gs pos="0">
                    <a:srgbClr val="FFFFFF"/>
                  </a:gs>
                  <a:gs pos="100000">
                    <a:srgbClr val="FFFFFF"/>
                  </a:gs>
                </a:gsLst>
                <a:lin ang="5400000" scaled="0"/>
              </a:gradFill>
            </a:endParaRPr>
          </a:p>
        </p:txBody>
      </p:sp>
      <p:sp>
        <p:nvSpPr>
          <p:cNvPr id="12" name="TextBox 11"/>
          <p:cNvSpPr txBox="1"/>
          <p:nvPr/>
        </p:nvSpPr>
        <p:spPr>
          <a:xfrm>
            <a:off x="5410200" y="1352550"/>
            <a:ext cx="1295400" cy="1258806"/>
          </a:xfrm>
          <a:prstGeom prst="rect">
            <a:avLst/>
          </a:prstGeom>
          <a:noFill/>
        </p:spPr>
        <p:txBody>
          <a:bodyPr wrap="square" lIns="91420" tIns="45710" rIns="91420" bIns="45710" rtlCol="0">
            <a:spAutoFit/>
          </a:bodyPr>
          <a:lstStyle/>
          <a:p>
            <a:pPr defTabSz="685721">
              <a:lnSpc>
                <a:spcPct val="90000"/>
              </a:lnSpc>
            </a:pPr>
            <a:r>
              <a:rPr lang="en-US" sz="1200" spc="-53" dirty="0">
                <a:solidFill>
                  <a:srgbClr val="FFFFFF"/>
                </a:solidFill>
              </a:rPr>
              <a:t>Know the value of your data and processes and the security and compliance obligations you need to meet</a:t>
            </a:r>
          </a:p>
        </p:txBody>
      </p:sp>
      <p:sp>
        <p:nvSpPr>
          <p:cNvPr id="13" name="TextBox 12"/>
          <p:cNvSpPr txBox="1"/>
          <p:nvPr/>
        </p:nvSpPr>
        <p:spPr>
          <a:xfrm>
            <a:off x="6934200" y="1352555"/>
            <a:ext cx="1295400" cy="1092607"/>
          </a:xfrm>
          <a:prstGeom prst="rect">
            <a:avLst/>
          </a:prstGeom>
          <a:noFill/>
        </p:spPr>
        <p:txBody>
          <a:bodyPr wrap="square" lIns="91420" tIns="45710" rIns="91420" bIns="45710" rtlCol="0">
            <a:spAutoFit/>
          </a:bodyPr>
          <a:lstStyle/>
          <a:p>
            <a:pPr defTabSz="685721">
              <a:lnSpc>
                <a:spcPct val="90000"/>
              </a:lnSpc>
            </a:pPr>
            <a:r>
              <a:rPr lang="en-US" sz="1200" spc="-53" dirty="0">
                <a:solidFill>
                  <a:srgbClr val="FFFFFF"/>
                </a:solidFill>
              </a:rPr>
              <a:t>Consider the ability of vendors to accommodate changing security and compliance requirements</a:t>
            </a:r>
          </a:p>
        </p:txBody>
      </p:sp>
      <p:sp>
        <p:nvSpPr>
          <p:cNvPr id="14" name="TextBox 13"/>
          <p:cNvSpPr txBox="1"/>
          <p:nvPr/>
        </p:nvSpPr>
        <p:spPr>
          <a:xfrm>
            <a:off x="3886200" y="2876552"/>
            <a:ext cx="1371600" cy="1461939"/>
          </a:xfrm>
          <a:prstGeom prst="rect">
            <a:avLst/>
          </a:prstGeom>
          <a:noFill/>
        </p:spPr>
        <p:txBody>
          <a:bodyPr wrap="square" lIns="91420" tIns="45710" rIns="91420" bIns="45710" rtlCol="0">
            <a:spAutoFit/>
          </a:bodyPr>
          <a:lstStyle/>
          <a:p>
            <a:pPr defTabSz="685721">
              <a:lnSpc>
                <a:spcPct val="90000"/>
              </a:lnSpc>
            </a:pPr>
            <a:r>
              <a:rPr lang="en-US" sz="1200" spc="-53" dirty="0">
                <a:solidFill>
                  <a:srgbClr val="FFFFFF"/>
                </a:solidFill>
              </a:rPr>
              <a:t>Ensure a clear understanding of security and compliance roles </a:t>
            </a:r>
            <a:r>
              <a:rPr lang="en-US" sz="1200" spc="-113" dirty="0">
                <a:solidFill>
                  <a:srgbClr val="FFFFFF"/>
                </a:solidFill>
              </a:rPr>
              <a:t>and </a:t>
            </a:r>
            <a:r>
              <a:rPr lang="en-US" sz="1200" spc="-53" dirty="0">
                <a:solidFill>
                  <a:srgbClr val="FFFFFF"/>
                </a:solidFill>
              </a:rPr>
              <a:t>responsibilities for delivered services</a:t>
            </a:r>
          </a:p>
          <a:p>
            <a:pPr defTabSz="685721">
              <a:lnSpc>
                <a:spcPct val="90000"/>
              </a:lnSpc>
              <a:spcBef>
                <a:spcPct val="20000"/>
              </a:spcBef>
              <a:buSzPct val="90000"/>
            </a:pPr>
            <a:endParaRPr lang="en-US" sz="1200" dirty="0">
              <a:gradFill>
                <a:gsLst>
                  <a:gs pos="0">
                    <a:srgbClr val="FFFFFF"/>
                  </a:gs>
                  <a:gs pos="100000">
                    <a:srgbClr val="FFFFFF"/>
                  </a:gs>
                </a:gsLst>
                <a:lin ang="5400000" scaled="0"/>
              </a:gradFill>
            </a:endParaRPr>
          </a:p>
        </p:txBody>
      </p:sp>
      <p:sp>
        <p:nvSpPr>
          <p:cNvPr id="15" name="TextBox 14"/>
          <p:cNvSpPr txBox="1"/>
          <p:nvPr/>
        </p:nvSpPr>
        <p:spPr>
          <a:xfrm>
            <a:off x="5410200" y="2876550"/>
            <a:ext cx="1371600" cy="1129540"/>
          </a:xfrm>
          <a:prstGeom prst="rect">
            <a:avLst/>
          </a:prstGeom>
          <a:noFill/>
        </p:spPr>
        <p:txBody>
          <a:bodyPr wrap="square" lIns="91420" tIns="45710" rIns="91420" bIns="45710" rtlCol="0">
            <a:spAutoFit/>
          </a:bodyPr>
          <a:lstStyle/>
          <a:p>
            <a:pPr defTabSz="685721">
              <a:lnSpc>
                <a:spcPct val="90000"/>
              </a:lnSpc>
            </a:pPr>
            <a:r>
              <a:rPr lang="en-US" sz="1200" spc="-53" dirty="0">
                <a:solidFill>
                  <a:srgbClr val="FFFFFF"/>
                </a:solidFill>
              </a:rPr>
              <a:t>Ensure data and services can be brought                    back in house                   if necessary</a:t>
            </a:r>
          </a:p>
          <a:p>
            <a:pPr defTabSz="685721">
              <a:lnSpc>
                <a:spcPct val="90000"/>
              </a:lnSpc>
              <a:spcBef>
                <a:spcPct val="20000"/>
              </a:spcBef>
              <a:buSzPct val="90000"/>
            </a:pPr>
            <a:endParaRPr lang="en-US" sz="1200" dirty="0">
              <a:gradFill>
                <a:gsLst>
                  <a:gs pos="0">
                    <a:srgbClr val="FFFFFF"/>
                  </a:gs>
                  <a:gs pos="100000">
                    <a:srgbClr val="FFFFFF"/>
                  </a:gs>
                </a:gsLst>
                <a:lin ang="5400000" scaled="0"/>
              </a:gradFill>
            </a:endParaRPr>
          </a:p>
        </p:txBody>
      </p:sp>
      <p:sp>
        <p:nvSpPr>
          <p:cNvPr id="16" name="TextBox 15"/>
          <p:cNvSpPr txBox="1"/>
          <p:nvPr/>
        </p:nvSpPr>
        <p:spPr>
          <a:xfrm>
            <a:off x="6934200" y="2876555"/>
            <a:ext cx="1371600" cy="963341"/>
          </a:xfrm>
          <a:prstGeom prst="rect">
            <a:avLst/>
          </a:prstGeom>
          <a:noFill/>
        </p:spPr>
        <p:txBody>
          <a:bodyPr wrap="square" lIns="91420" tIns="45710" rIns="91420" bIns="45710" rtlCol="0">
            <a:spAutoFit/>
          </a:bodyPr>
          <a:lstStyle/>
          <a:p>
            <a:pPr defTabSz="685721">
              <a:lnSpc>
                <a:spcPct val="90000"/>
              </a:lnSpc>
            </a:pPr>
            <a:r>
              <a:rPr lang="en-US" sz="1200" spc="-53" dirty="0">
                <a:solidFill>
                  <a:srgbClr val="FFFFFF"/>
                </a:solidFill>
              </a:rPr>
              <a:t>Require transparency             in security policies and operations</a:t>
            </a:r>
          </a:p>
          <a:p>
            <a:pPr defTabSz="685721">
              <a:lnSpc>
                <a:spcPct val="90000"/>
              </a:lnSpc>
              <a:spcBef>
                <a:spcPct val="20000"/>
              </a:spcBef>
              <a:buSzPct val="90000"/>
            </a:pPr>
            <a:endParaRPr lang="en-US" sz="1200" dirty="0">
              <a:gradFill>
                <a:gsLst>
                  <a:gs pos="0">
                    <a:srgbClr val="FFFFFF"/>
                  </a:gs>
                  <a:gs pos="100000">
                    <a:srgbClr val="FFFFFF"/>
                  </a:gs>
                </a:gsLst>
                <a:lin ang="5400000" scaled="0"/>
              </a:gradFill>
            </a:endParaRPr>
          </a:p>
        </p:txBody>
      </p:sp>
      <p:sp>
        <p:nvSpPr>
          <p:cNvPr id="17"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2"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5"/>
              </a:rPr>
              <a:t>www.rapidbbs.cn</a:t>
            </a:r>
            <a:endParaRPr lang="zh-CN" altLang="en-US" sz="1200" b="0">
              <a:latin typeface="Arial" charset="0"/>
              <a:ea typeface="ＭＳ Ｐゴシック" pitchFamily="34" charset="-128"/>
            </a:endParaRPr>
          </a:p>
        </p:txBody>
      </p:sp>
      <p:pic>
        <p:nvPicPr>
          <p:cNvPr id="25" name="Picture 2">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35204"/>
      </p:ext>
    </p:extLst>
  </p:cSld>
  <p:clrMapOvr>
    <a:masterClrMapping/>
  </p:clrMapOvr>
  <p:transition>
    <p:fade/>
  </p:transition>
  <p:timing>
    <p:tnLst>
      <p:par>
        <p:cTn id="1" dur="indefinite" restart="never" nodeType="tmRoot"/>
      </p:par>
    </p:tnLst>
  </p:timing>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custDataLst>
              <p:tags r:id="rId1"/>
            </p:custDataLst>
          </p:nvPr>
        </p:nvSpPr>
        <p:spPr bwMode="auto">
          <a:xfrm>
            <a:off x="382218" y="997363"/>
            <a:ext cx="8373564" cy="516865"/>
          </a:xfrm>
          <a:prstGeom prst="rect">
            <a:avLst/>
          </a:prstGeom>
          <a:solidFill>
            <a:schemeClr val="accent2"/>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3" tIns="102880" rIns="68583" bIns="102880" numCol="1" rtlCol="0" anchor="t" anchorCtr="0" compatLnSpc="1">
            <a:prstTxWarp prst="textNoShape">
              <a:avLst/>
            </a:prstTxWarp>
            <a:noAutofit/>
          </a:bodyPr>
          <a:lstStyle/>
          <a:p>
            <a:pPr marL="345312" indent="-345312" defTabSz="685664">
              <a:lnSpc>
                <a:spcPct val="90000"/>
              </a:lnSpc>
              <a:spcBef>
                <a:spcPct val="20000"/>
              </a:spcBef>
              <a:buSzPct val="90000"/>
              <a:buBlip>
                <a:blip r:embed="rId7"/>
              </a:buBlip>
            </a:pPr>
            <a:endParaRPr lang="en-US" sz="1800" dirty="0">
              <a:gradFill>
                <a:gsLst>
                  <a:gs pos="0">
                    <a:srgbClr val="FFFFFF"/>
                  </a:gs>
                  <a:gs pos="100000">
                    <a:srgbClr val="FFFFFF"/>
                  </a:gs>
                </a:gsLst>
                <a:lin ang="5400000" scaled="0"/>
              </a:gradFill>
            </a:endParaRPr>
          </a:p>
        </p:txBody>
      </p:sp>
      <p:sp>
        <p:nvSpPr>
          <p:cNvPr id="10" name="Rectangle 9"/>
          <p:cNvSpPr/>
          <p:nvPr>
            <p:custDataLst>
              <p:tags r:id="rId2"/>
            </p:custDataLst>
          </p:nvPr>
        </p:nvSpPr>
        <p:spPr bwMode="auto">
          <a:xfrm>
            <a:off x="384623" y="1705868"/>
            <a:ext cx="8373564" cy="754380"/>
          </a:xfrm>
          <a:prstGeom prst="rect">
            <a:avLst/>
          </a:prstGeom>
          <a:solidFill>
            <a:schemeClr val="accent2"/>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3" tIns="102880" rIns="68583" bIns="102880" numCol="1" rtlCol="0" anchor="t" anchorCtr="0" compatLnSpc="1">
            <a:prstTxWarp prst="textNoShape">
              <a:avLst/>
            </a:prstTxWarp>
            <a:noAutofit/>
          </a:bodyPr>
          <a:lstStyle/>
          <a:p>
            <a:pPr marL="345312" indent="-345312" defTabSz="685664">
              <a:lnSpc>
                <a:spcPct val="90000"/>
              </a:lnSpc>
              <a:spcBef>
                <a:spcPct val="20000"/>
              </a:spcBef>
              <a:buSzPct val="90000"/>
              <a:buBlip>
                <a:blip r:embed="rId7"/>
              </a:buBlip>
            </a:pPr>
            <a:endParaRPr lang="en-US" sz="1800" dirty="0">
              <a:gradFill>
                <a:gsLst>
                  <a:gs pos="0">
                    <a:srgbClr val="FFFFFF"/>
                  </a:gs>
                  <a:gs pos="100000">
                    <a:srgbClr val="FFFFFF"/>
                  </a:gs>
                </a:gsLst>
                <a:lin ang="5400000" scaled="0"/>
              </a:gradFill>
            </a:endParaRPr>
          </a:p>
        </p:txBody>
      </p:sp>
      <p:sp>
        <p:nvSpPr>
          <p:cNvPr id="11" name="Rectangle 10"/>
          <p:cNvSpPr/>
          <p:nvPr>
            <p:custDataLst>
              <p:tags r:id="rId3"/>
            </p:custDataLst>
          </p:nvPr>
        </p:nvSpPr>
        <p:spPr bwMode="auto">
          <a:xfrm>
            <a:off x="387030" y="2651888"/>
            <a:ext cx="8373564" cy="754380"/>
          </a:xfrm>
          <a:prstGeom prst="rect">
            <a:avLst/>
          </a:prstGeom>
          <a:solidFill>
            <a:schemeClr val="accent2"/>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3" tIns="102880" rIns="68583" bIns="102880" numCol="1" rtlCol="0" anchor="t" anchorCtr="0" compatLnSpc="1">
            <a:prstTxWarp prst="textNoShape">
              <a:avLst/>
            </a:prstTxWarp>
            <a:noAutofit/>
          </a:bodyPr>
          <a:lstStyle/>
          <a:p>
            <a:pPr marL="345312" indent="-345312" defTabSz="685664">
              <a:lnSpc>
                <a:spcPct val="90000"/>
              </a:lnSpc>
              <a:spcBef>
                <a:spcPct val="20000"/>
              </a:spcBef>
              <a:buSzPct val="90000"/>
              <a:buBlip>
                <a:blip r:embed="rId7"/>
              </a:buBlip>
            </a:pPr>
            <a:endParaRPr lang="en-US" sz="1800" dirty="0">
              <a:gradFill>
                <a:gsLst>
                  <a:gs pos="0">
                    <a:srgbClr val="FFFFFF"/>
                  </a:gs>
                  <a:gs pos="100000">
                    <a:srgbClr val="FFFFFF"/>
                  </a:gs>
                </a:gsLst>
                <a:lin ang="5400000" scaled="0"/>
              </a:gradFill>
            </a:endParaRPr>
          </a:p>
        </p:txBody>
      </p:sp>
      <p:sp>
        <p:nvSpPr>
          <p:cNvPr id="12" name="Rectangle 11"/>
          <p:cNvSpPr/>
          <p:nvPr>
            <p:custDataLst>
              <p:tags r:id="rId4"/>
            </p:custDataLst>
          </p:nvPr>
        </p:nvSpPr>
        <p:spPr bwMode="auto">
          <a:xfrm>
            <a:off x="389437" y="3597909"/>
            <a:ext cx="8373564" cy="754380"/>
          </a:xfrm>
          <a:prstGeom prst="rect">
            <a:avLst/>
          </a:prstGeom>
          <a:solidFill>
            <a:schemeClr val="accent2"/>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3" tIns="102880" rIns="68583" bIns="102880" numCol="1" rtlCol="0" anchor="t" anchorCtr="0" compatLnSpc="1">
            <a:prstTxWarp prst="textNoShape">
              <a:avLst/>
            </a:prstTxWarp>
            <a:noAutofit/>
          </a:bodyPr>
          <a:lstStyle/>
          <a:p>
            <a:pPr marL="345312" indent="-345312" defTabSz="685664">
              <a:lnSpc>
                <a:spcPct val="90000"/>
              </a:lnSpc>
              <a:spcBef>
                <a:spcPct val="20000"/>
              </a:spcBef>
              <a:buSzPct val="90000"/>
              <a:buBlip>
                <a:blip r:embed="rId7"/>
              </a:buBlip>
            </a:pPr>
            <a:endParaRPr lang="en-US" sz="1800" dirty="0">
              <a:gradFill>
                <a:gsLst>
                  <a:gs pos="0">
                    <a:srgbClr val="FFFFFF"/>
                  </a:gs>
                  <a:gs pos="100000">
                    <a:srgbClr val="FFFFFF"/>
                  </a:gs>
                </a:gsLst>
                <a:lin ang="5400000" scaled="0"/>
              </a:gradFill>
            </a:endParaRPr>
          </a:p>
        </p:txBody>
      </p:sp>
      <p:sp>
        <p:nvSpPr>
          <p:cNvPr id="4" name="Title 3"/>
          <p:cNvSpPr>
            <a:spLocks noGrp="1"/>
          </p:cNvSpPr>
          <p:nvPr>
            <p:ph type="title"/>
          </p:nvPr>
        </p:nvSpPr>
        <p:spPr/>
        <p:txBody>
          <a:bodyPr/>
          <a:lstStyle/>
          <a:p>
            <a:r>
              <a:rPr lang="en-US" smtClean="0"/>
              <a:t>Agenda</a:t>
            </a:r>
            <a:endParaRPr lang="en-US" dirty="0"/>
          </a:p>
        </p:txBody>
      </p:sp>
      <p:sp>
        <p:nvSpPr>
          <p:cNvPr id="29" name="Text Placeholder 28"/>
          <p:cNvSpPr>
            <a:spLocks noGrp="1"/>
          </p:cNvSpPr>
          <p:nvPr>
            <p:ph type="body" sz="quarter" idx="10"/>
          </p:nvPr>
        </p:nvSpPr>
        <p:spPr>
          <a:xfrm>
            <a:off x="389438" y="1085851"/>
            <a:ext cx="7707191" cy="4824398"/>
          </a:xfrm>
        </p:spPr>
        <p:txBody>
          <a:bodyPr/>
          <a:lstStyle/>
          <a:p>
            <a:r>
              <a:rPr lang="en-US" dirty="0" smtClean="0"/>
              <a:t>Objectives</a:t>
            </a:r>
          </a:p>
          <a:p>
            <a:endParaRPr lang="en-US" dirty="0" smtClean="0"/>
          </a:p>
          <a:p>
            <a:r>
              <a:rPr lang="en-US" dirty="0" smtClean="0">
                <a:solidFill>
                  <a:schemeClr val="tx1"/>
                </a:solidFill>
              </a:rPr>
              <a:t>Why are we even discussing Active Directory?</a:t>
            </a:r>
          </a:p>
          <a:p>
            <a:pPr lvl="1"/>
            <a:r>
              <a:rPr lang="en-US" dirty="0" smtClean="0">
                <a:solidFill>
                  <a:schemeClr val="tx1"/>
                </a:solidFill>
              </a:rPr>
              <a:t>“Is there a session on running </a:t>
            </a:r>
            <a:r>
              <a:rPr lang="en-US" i="1" dirty="0" smtClean="0">
                <a:solidFill>
                  <a:schemeClr val="tx1"/>
                </a:solidFill>
              </a:rPr>
              <a:t>NOTEPAD.EXE</a:t>
            </a:r>
            <a:r>
              <a:rPr lang="en-US" b="1" dirty="0" smtClean="0">
                <a:solidFill>
                  <a:schemeClr val="tx1"/>
                </a:solidFill>
              </a:rPr>
              <a:t> </a:t>
            </a:r>
            <a:r>
              <a:rPr lang="en-US" dirty="0" smtClean="0">
                <a:solidFill>
                  <a:schemeClr val="tx1"/>
                </a:solidFill>
              </a:rPr>
              <a:t>in Windows Azure, too?”  </a:t>
            </a:r>
            <a:r>
              <a:rPr lang="en-US" sz="1100" i="1" dirty="0">
                <a:solidFill>
                  <a:schemeClr val="tx1"/>
                </a:solidFill>
              </a:rPr>
              <a:t>(no, there isn’t)</a:t>
            </a:r>
            <a:endParaRPr lang="en-US" dirty="0" smtClean="0">
              <a:solidFill>
                <a:schemeClr val="tx1"/>
              </a:solidFill>
            </a:endParaRPr>
          </a:p>
          <a:p>
            <a:endParaRPr lang="en-US" dirty="0" smtClean="0">
              <a:solidFill>
                <a:schemeClr val="tx1"/>
              </a:solidFill>
            </a:endParaRPr>
          </a:p>
          <a:p>
            <a:r>
              <a:rPr lang="en-US" dirty="0" smtClean="0">
                <a:solidFill>
                  <a:schemeClr val="tx1"/>
                </a:solidFill>
              </a:rPr>
              <a:t>Vernacular</a:t>
            </a:r>
          </a:p>
          <a:p>
            <a:pPr lvl="1"/>
            <a:r>
              <a:rPr lang="en-US" dirty="0">
                <a:solidFill>
                  <a:schemeClr val="tx1"/>
                </a:solidFill>
              </a:rPr>
              <a:t>… terminology specific to Windows Azure that will get us all on the same page</a:t>
            </a:r>
          </a:p>
          <a:p>
            <a:endParaRPr lang="en-US" dirty="0" smtClean="0">
              <a:solidFill>
                <a:schemeClr val="tx1"/>
              </a:solidFill>
            </a:endParaRPr>
          </a:p>
          <a:p>
            <a:r>
              <a:rPr lang="en-US" dirty="0" smtClean="0">
                <a:solidFill>
                  <a:schemeClr val="tx1"/>
                </a:solidFill>
              </a:rPr>
              <a:t>Considerations for a cloud-deployment</a:t>
            </a:r>
          </a:p>
          <a:p>
            <a:pPr lvl="1"/>
            <a:r>
              <a:rPr lang="en-US" dirty="0">
                <a:solidFill>
                  <a:schemeClr val="tx1"/>
                </a:solidFill>
              </a:rPr>
              <a:t>… optimal configuration knobs and deployment topologies</a:t>
            </a:r>
          </a:p>
          <a:p>
            <a:endParaRPr lang="en-US" dirty="0" smtClean="0">
              <a:solidFill>
                <a:schemeClr val="tx1"/>
              </a:solidFill>
            </a:endParaRPr>
          </a:p>
        </p:txBody>
      </p:sp>
      <p:sp>
        <p:nvSpPr>
          <p:cNvPr id="8"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3"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8"/>
              </a:rPr>
              <a:t>www.rapidbbs.cn</a:t>
            </a:r>
            <a:endParaRPr lang="zh-CN" altLang="en-US" sz="1200" b="0">
              <a:latin typeface="Arial" charset="0"/>
              <a:ea typeface="ＭＳ Ｐゴシック" pitchFamily="34" charset="-128"/>
            </a:endParaRPr>
          </a:p>
        </p:txBody>
      </p:sp>
      <p:pic>
        <p:nvPicPr>
          <p:cNvPr id="14" name="Picture 2">
            <a:hlinkClick r:id="rId8"/>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94332567"/>
      </p:ext>
    </p:extLst>
  </p:cSld>
  <p:clrMapOvr>
    <a:masterClrMapping/>
  </p:clrMapOvr>
  <p:transition spd="slow">
    <p:push dir="u"/>
  </p:transition>
  <p:timing>
    <p:tnLst>
      <p:par>
        <p:cTn id="1" dur="indefinite" restart="never" nodeType="tmRoot"/>
      </p:par>
    </p:tnLst>
  </p:timing>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custDataLst>
              <p:tags r:id="rId1"/>
            </p:custDataLst>
          </p:nvPr>
        </p:nvSpPr>
        <p:spPr bwMode="auto">
          <a:xfrm>
            <a:off x="382218" y="997363"/>
            <a:ext cx="8373564" cy="516865"/>
          </a:xfrm>
          <a:prstGeom prst="rect">
            <a:avLst/>
          </a:prstGeom>
          <a:solidFill>
            <a:schemeClr val="accent2"/>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3" tIns="102880" rIns="68583" bIns="102880" numCol="1" rtlCol="0" anchor="t" anchorCtr="0" compatLnSpc="1">
            <a:prstTxWarp prst="textNoShape">
              <a:avLst/>
            </a:prstTxWarp>
            <a:noAutofit/>
          </a:bodyPr>
          <a:lstStyle/>
          <a:p>
            <a:pPr marL="345312" indent="-345312" defTabSz="685664">
              <a:lnSpc>
                <a:spcPct val="90000"/>
              </a:lnSpc>
              <a:spcBef>
                <a:spcPct val="20000"/>
              </a:spcBef>
              <a:buSzPct val="90000"/>
              <a:buBlip>
                <a:blip r:embed="rId6"/>
              </a:buBlip>
            </a:pPr>
            <a:endParaRPr lang="en-US" sz="1800" dirty="0">
              <a:gradFill>
                <a:gsLst>
                  <a:gs pos="0">
                    <a:srgbClr val="FFFFFF"/>
                  </a:gs>
                  <a:gs pos="100000">
                    <a:srgbClr val="FFFFFF"/>
                  </a:gs>
                </a:gsLst>
                <a:lin ang="5400000" scaled="0"/>
              </a:gradFill>
            </a:endParaRPr>
          </a:p>
        </p:txBody>
      </p:sp>
      <p:sp>
        <p:nvSpPr>
          <p:cNvPr id="10" name="Rectangle 9"/>
          <p:cNvSpPr/>
          <p:nvPr>
            <p:custDataLst>
              <p:tags r:id="rId2"/>
            </p:custDataLst>
          </p:nvPr>
        </p:nvSpPr>
        <p:spPr bwMode="auto">
          <a:xfrm>
            <a:off x="384623" y="1705868"/>
            <a:ext cx="8373564" cy="754380"/>
          </a:xfrm>
          <a:prstGeom prst="rect">
            <a:avLst/>
          </a:prstGeom>
          <a:solidFill>
            <a:schemeClr val="bg1">
              <a:lumMod val="60000"/>
              <a:lumOff val="40000"/>
            </a:schemeClr>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3" tIns="102880" rIns="68583" bIns="102880" numCol="1" rtlCol="0" anchor="t" anchorCtr="0" compatLnSpc="1">
            <a:prstTxWarp prst="textNoShape">
              <a:avLst/>
            </a:prstTxWarp>
            <a:noAutofit/>
          </a:bodyPr>
          <a:lstStyle/>
          <a:p>
            <a:pPr marL="345312" indent="-345312" defTabSz="685664">
              <a:lnSpc>
                <a:spcPct val="90000"/>
              </a:lnSpc>
              <a:spcBef>
                <a:spcPct val="20000"/>
              </a:spcBef>
              <a:buSzPct val="90000"/>
              <a:buBlip>
                <a:blip r:embed="rId6"/>
              </a:buBlip>
            </a:pPr>
            <a:endParaRPr lang="en-US" sz="1800" dirty="0">
              <a:gradFill>
                <a:gsLst>
                  <a:gs pos="0">
                    <a:srgbClr val="FFFFFF"/>
                  </a:gs>
                  <a:gs pos="100000">
                    <a:srgbClr val="FFFFFF"/>
                  </a:gs>
                </a:gsLst>
                <a:lin ang="5400000" scaled="0"/>
              </a:gradFill>
            </a:endParaRPr>
          </a:p>
        </p:txBody>
      </p:sp>
      <p:sp>
        <p:nvSpPr>
          <p:cNvPr id="11" name="Rectangle 10"/>
          <p:cNvSpPr/>
          <p:nvPr>
            <p:custDataLst>
              <p:tags r:id="rId3"/>
            </p:custDataLst>
          </p:nvPr>
        </p:nvSpPr>
        <p:spPr bwMode="auto">
          <a:xfrm>
            <a:off x="387030" y="2651888"/>
            <a:ext cx="8373564" cy="754380"/>
          </a:xfrm>
          <a:prstGeom prst="rect">
            <a:avLst/>
          </a:prstGeom>
          <a:solidFill>
            <a:schemeClr val="bg1">
              <a:lumMod val="60000"/>
              <a:lumOff val="40000"/>
            </a:schemeClr>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3" tIns="102880" rIns="68583" bIns="102880" numCol="1" rtlCol="0" anchor="t" anchorCtr="0" compatLnSpc="1">
            <a:prstTxWarp prst="textNoShape">
              <a:avLst/>
            </a:prstTxWarp>
            <a:noAutofit/>
          </a:bodyPr>
          <a:lstStyle/>
          <a:p>
            <a:pPr marL="345312" indent="-345312" defTabSz="685664">
              <a:lnSpc>
                <a:spcPct val="90000"/>
              </a:lnSpc>
              <a:spcBef>
                <a:spcPct val="20000"/>
              </a:spcBef>
              <a:buSzPct val="90000"/>
              <a:buBlip>
                <a:blip r:embed="rId6"/>
              </a:buBlip>
            </a:pPr>
            <a:endParaRPr lang="en-US" sz="1800" dirty="0">
              <a:gradFill>
                <a:gsLst>
                  <a:gs pos="0">
                    <a:srgbClr val="FFFFFF"/>
                  </a:gs>
                  <a:gs pos="100000">
                    <a:srgbClr val="FFFFFF"/>
                  </a:gs>
                </a:gsLst>
                <a:lin ang="5400000" scaled="0"/>
              </a:gradFill>
            </a:endParaRPr>
          </a:p>
        </p:txBody>
      </p:sp>
      <p:sp>
        <p:nvSpPr>
          <p:cNvPr id="12" name="Rectangle 11"/>
          <p:cNvSpPr/>
          <p:nvPr>
            <p:custDataLst>
              <p:tags r:id="rId4"/>
            </p:custDataLst>
          </p:nvPr>
        </p:nvSpPr>
        <p:spPr bwMode="auto">
          <a:xfrm>
            <a:off x="389437" y="3597909"/>
            <a:ext cx="8373564" cy="754380"/>
          </a:xfrm>
          <a:prstGeom prst="rect">
            <a:avLst/>
          </a:prstGeom>
          <a:solidFill>
            <a:schemeClr val="bg1">
              <a:lumMod val="60000"/>
              <a:lumOff val="40000"/>
            </a:schemeClr>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3" tIns="102880" rIns="68583" bIns="102880" numCol="1" rtlCol="0" anchor="t" anchorCtr="0" compatLnSpc="1">
            <a:prstTxWarp prst="textNoShape">
              <a:avLst/>
            </a:prstTxWarp>
            <a:noAutofit/>
          </a:bodyPr>
          <a:lstStyle/>
          <a:p>
            <a:pPr marL="345312" indent="-345312" defTabSz="685664">
              <a:lnSpc>
                <a:spcPct val="90000"/>
              </a:lnSpc>
              <a:spcBef>
                <a:spcPct val="20000"/>
              </a:spcBef>
              <a:buSzPct val="90000"/>
              <a:buBlip>
                <a:blip r:embed="rId6"/>
              </a:buBlip>
            </a:pPr>
            <a:endParaRPr lang="en-US" sz="1800" dirty="0">
              <a:gradFill>
                <a:gsLst>
                  <a:gs pos="0">
                    <a:srgbClr val="FFFFFF"/>
                  </a:gs>
                  <a:gs pos="100000">
                    <a:srgbClr val="FFFFFF"/>
                  </a:gs>
                </a:gsLst>
                <a:lin ang="5400000" scaled="0"/>
              </a:gradFill>
            </a:endParaRPr>
          </a:p>
        </p:txBody>
      </p:sp>
      <p:sp>
        <p:nvSpPr>
          <p:cNvPr id="4" name="Title 3"/>
          <p:cNvSpPr>
            <a:spLocks noGrp="1"/>
          </p:cNvSpPr>
          <p:nvPr>
            <p:ph type="title"/>
          </p:nvPr>
        </p:nvSpPr>
        <p:spPr/>
        <p:txBody>
          <a:bodyPr/>
          <a:lstStyle/>
          <a:p>
            <a:r>
              <a:rPr lang="en-US" dirty="0" smtClean="0"/>
              <a:t>Agenda</a:t>
            </a:r>
            <a:endParaRPr lang="en-US" dirty="0"/>
          </a:p>
        </p:txBody>
      </p:sp>
      <p:sp>
        <p:nvSpPr>
          <p:cNvPr id="29" name="Text Placeholder 28"/>
          <p:cNvSpPr>
            <a:spLocks noGrp="1"/>
          </p:cNvSpPr>
          <p:nvPr>
            <p:ph type="body" sz="quarter" idx="10"/>
          </p:nvPr>
        </p:nvSpPr>
        <p:spPr>
          <a:xfrm>
            <a:off x="389438" y="1085851"/>
            <a:ext cx="7707191" cy="4418133"/>
          </a:xfrm>
        </p:spPr>
        <p:txBody>
          <a:bodyPr/>
          <a:lstStyle/>
          <a:p>
            <a:r>
              <a:rPr lang="en-US" dirty="0" smtClean="0"/>
              <a:t>Objectives</a:t>
            </a:r>
          </a:p>
          <a:p>
            <a:endParaRPr lang="en-US" dirty="0" smtClean="0"/>
          </a:p>
          <a:p>
            <a:r>
              <a:rPr lang="en-US" dirty="0" smtClean="0">
                <a:solidFill>
                  <a:schemeClr val="tx1">
                    <a:lumMod val="75000"/>
                  </a:schemeClr>
                </a:solidFill>
              </a:rPr>
              <a:t>Why are we even discussing Active Directory?</a:t>
            </a:r>
          </a:p>
          <a:p>
            <a:pPr lvl="1"/>
            <a:r>
              <a:rPr lang="en-US" dirty="0" smtClean="0">
                <a:solidFill>
                  <a:schemeClr val="tx1">
                    <a:lumMod val="75000"/>
                  </a:schemeClr>
                </a:solidFill>
              </a:rPr>
              <a:t>“Is there a session on running </a:t>
            </a:r>
            <a:r>
              <a:rPr lang="en-US" i="1" dirty="0" smtClean="0">
                <a:solidFill>
                  <a:schemeClr val="tx1">
                    <a:lumMod val="75000"/>
                  </a:schemeClr>
                </a:solidFill>
              </a:rPr>
              <a:t>NOTEPAD.EXE</a:t>
            </a:r>
            <a:r>
              <a:rPr lang="en-US" b="1" dirty="0" smtClean="0">
                <a:solidFill>
                  <a:schemeClr val="tx1">
                    <a:lumMod val="75000"/>
                  </a:schemeClr>
                </a:solidFill>
              </a:rPr>
              <a:t> </a:t>
            </a:r>
            <a:r>
              <a:rPr lang="en-US" dirty="0" smtClean="0">
                <a:solidFill>
                  <a:schemeClr val="tx1">
                    <a:lumMod val="75000"/>
                  </a:schemeClr>
                </a:solidFill>
              </a:rPr>
              <a:t>in Windows Azure, too?”  </a:t>
            </a:r>
            <a:r>
              <a:rPr lang="en-US" sz="1100" i="1" dirty="0">
                <a:solidFill>
                  <a:schemeClr val="tx1">
                    <a:lumMod val="75000"/>
                  </a:schemeClr>
                </a:solidFill>
              </a:rPr>
              <a:t>(no, there isn’t)</a:t>
            </a:r>
            <a:endParaRPr lang="en-US" dirty="0" smtClean="0">
              <a:solidFill>
                <a:schemeClr val="tx1">
                  <a:lumMod val="75000"/>
                </a:schemeClr>
              </a:solidFill>
            </a:endParaRPr>
          </a:p>
          <a:p>
            <a:endParaRPr lang="en-US" dirty="0" smtClean="0">
              <a:solidFill>
                <a:schemeClr val="tx1">
                  <a:lumMod val="75000"/>
                </a:schemeClr>
              </a:solidFill>
            </a:endParaRPr>
          </a:p>
          <a:p>
            <a:r>
              <a:rPr lang="en-US" dirty="0" smtClean="0">
                <a:solidFill>
                  <a:schemeClr val="tx1">
                    <a:lumMod val="75000"/>
                  </a:schemeClr>
                </a:solidFill>
              </a:rPr>
              <a:t>Vernacular</a:t>
            </a:r>
          </a:p>
          <a:p>
            <a:pPr lvl="1"/>
            <a:r>
              <a:rPr lang="en-US" dirty="0">
                <a:solidFill>
                  <a:schemeClr val="tx1">
                    <a:lumMod val="75000"/>
                  </a:schemeClr>
                </a:solidFill>
              </a:rPr>
              <a:t>… terminology specific to Windows Azure that will get us all on the same page</a:t>
            </a:r>
          </a:p>
          <a:p>
            <a:endParaRPr lang="en-US" dirty="0" smtClean="0">
              <a:solidFill>
                <a:schemeClr val="tx1">
                  <a:lumMod val="75000"/>
                </a:schemeClr>
              </a:solidFill>
            </a:endParaRPr>
          </a:p>
          <a:p>
            <a:r>
              <a:rPr lang="en-US" dirty="0">
                <a:solidFill>
                  <a:schemeClr val="tx1">
                    <a:lumMod val="75000"/>
                  </a:schemeClr>
                </a:solidFill>
              </a:rPr>
              <a:t>Considerations for a cloud-deployment</a:t>
            </a:r>
          </a:p>
          <a:p>
            <a:pPr lvl="1"/>
            <a:r>
              <a:rPr lang="en-US" dirty="0">
                <a:solidFill>
                  <a:schemeClr val="tx1">
                    <a:lumMod val="75000"/>
                  </a:schemeClr>
                </a:solidFill>
              </a:rPr>
              <a:t>… optimal configuration knobs and deployment topologies</a:t>
            </a:r>
          </a:p>
        </p:txBody>
      </p:sp>
      <p:sp>
        <p:nvSpPr>
          <p:cNvPr id="8"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3"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7"/>
              </a:rPr>
              <a:t>www.rapidbbs.cn</a:t>
            </a:r>
            <a:endParaRPr lang="zh-CN" altLang="en-US" sz="1200" b="0">
              <a:latin typeface="Arial" charset="0"/>
              <a:ea typeface="ＭＳ Ｐゴシック" pitchFamily="34" charset="-128"/>
            </a:endParaRPr>
          </a:p>
        </p:txBody>
      </p:sp>
      <p:pic>
        <p:nvPicPr>
          <p:cNvPr id="14" name="Picture 2">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97769997"/>
      </p:ext>
    </p:extLst>
  </p:cSld>
  <p:clrMapOvr>
    <a:masterClrMapping/>
  </p:clrMapOvr>
  <p:transition spd="slow">
    <p:wipe/>
  </p:transition>
  <p:timing>
    <p:tnLst>
      <p:par>
        <p:cTn id="1" dur="indefinite" restart="never" nodeType="tmRoot"/>
      </p:par>
    </p:tnLst>
  </p:timing>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457049"/>
          </a:xfrm>
        </p:spPr>
        <p:txBody>
          <a:bodyPr/>
          <a:lstStyle/>
          <a:p>
            <a:r>
              <a:rPr lang="en-US" dirty="0" smtClean="0"/>
              <a:t>New Demands on IT</a:t>
            </a:r>
            <a:endParaRPr lang="en-US" dirty="0"/>
          </a:p>
        </p:txBody>
      </p:sp>
      <p:grpSp>
        <p:nvGrpSpPr>
          <p:cNvPr id="52" name="Group 51"/>
          <p:cNvGrpSpPr/>
          <p:nvPr/>
        </p:nvGrpSpPr>
        <p:grpSpPr>
          <a:xfrm>
            <a:off x="-58356" y="2628900"/>
            <a:ext cx="9260712" cy="514350"/>
            <a:chOff x="-77788" y="3505200"/>
            <a:chExt cx="12344400" cy="685800"/>
          </a:xfrm>
        </p:grpSpPr>
        <p:sp>
          <p:nvSpPr>
            <p:cNvPr id="47" name="Rectangle 46"/>
            <p:cNvSpPr/>
            <p:nvPr/>
          </p:nvSpPr>
          <p:spPr bwMode="auto">
            <a:xfrm>
              <a:off x="-77788" y="3505200"/>
              <a:ext cx="12344400" cy="68580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grpSp>
          <p:nvGrpSpPr>
            <p:cNvPr id="4" name="Group 3"/>
            <p:cNvGrpSpPr/>
            <p:nvPr/>
          </p:nvGrpSpPr>
          <p:grpSpPr>
            <a:xfrm>
              <a:off x="1277202" y="3541972"/>
              <a:ext cx="5884010" cy="572828"/>
              <a:chOff x="1150419" y="3496349"/>
              <a:chExt cx="7843304" cy="763771"/>
            </a:xfrm>
          </p:grpSpPr>
          <p:sp>
            <p:nvSpPr>
              <p:cNvPr id="6" name="Rounded Rectangle 5"/>
              <p:cNvSpPr/>
              <p:nvPr/>
            </p:nvSpPr>
            <p:spPr bwMode="auto">
              <a:xfrm>
                <a:off x="2368194" y="3619504"/>
                <a:ext cx="6625529" cy="640616"/>
              </a:xfrm>
              <a:prstGeom prst="roundRect">
                <a:avLst>
                  <a:gd name="adj" fmla="val 9078"/>
                </a:avLst>
              </a:prstGeom>
              <a:noFill/>
              <a:ln w="12700" cap="flat" cmpd="sng" algn="ctr">
                <a:noFill/>
                <a:prstDash val="solid"/>
                <a:round/>
                <a:headEnd type="none" w="med" len="med"/>
                <a:tailEnd type="none" w="med" len="med"/>
              </a:ln>
              <a:effectLst/>
            </p:spPr>
            <p:txBody>
              <a:bodyPr vert="horz" wrap="square" lIns="91412" tIns="137119" rIns="91412" bIns="91412" numCol="1" rtlCol="0" anchor="ctr" anchorCtr="0" compatLnSpc="1">
                <a:prstTxWarp prst="textNoShape">
                  <a:avLst/>
                </a:prstTxWarp>
              </a:bodyPr>
              <a:lstStyle/>
              <a:p>
                <a:pPr marL="0" lvl="1" defTabSz="514253" fontAlgn="base">
                  <a:lnSpc>
                    <a:spcPct val="85000"/>
                  </a:lnSpc>
                  <a:spcBef>
                    <a:spcPct val="25000"/>
                  </a:spcBef>
                  <a:spcAft>
                    <a:spcPct val="0"/>
                  </a:spcAft>
                  <a:buClr>
                    <a:srgbClr val="F7AB3B"/>
                  </a:buClr>
                  <a:buSzPct val="95000"/>
                  <a:defRPr/>
                </a:pPr>
                <a:r>
                  <a:rPr lang="en-US" sz="1500" dirty="0">
                    <a:solidFill>
                      <a:prstClr val="white">
                        <a:alpha val="99000"/>
                      </a:prstClr>
                    </a:solidFill>
                    <a:latin typeface="Segoe Semibold" pitchFamily="34" charset="0"/>
                  </a:rPr>
                  <a:t>Expanding Importance of Identity</a:t>
                </a:r>
              </a:p>
            </p:txBody>
          </p:sp>
          <p:sp>
            <p:nvSpPr>
              <p:cNvPr id="7" name="Freeform 9"/>
              <p:cNvSpPr>
                <a:spLocks noChangeAspect="1" noEditPoints="1"/>
              </p:cNvSpPr>
              <p:nvPr/>
            </p:nvSpPr>
            <p:spPr bwMode="auto">
              <a:xfrm>
                <a:off x="1150419" y="3496349"/>
                <a:ext cx="530009" cy="76377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0"/>
              </a:p>
            </p:txBody>
          </p:sp>
        </p:grpSp>
      </p:grpSp>
      <p:grpSp>
        <p:nvGrpSpPr>
          <p:cNvPr id="51" name="Group 50"/>
          <p:cNvGrpSpPr/>
          <p:nvPr/>
        </p:nvGrpSpPr>
        <p:grpSpPr>
          <a:xfrm>
            <a:off x="-58356" y="1828800"/>
            <a:ext cx="9260712" cy="514350"/>
            <a:chOff x="-77788" y="2438400"/>
            <a:chExt cx="12344400" cy="685800"/>
          </a:xfrm>
        </p:grpSpPr>
        <p:sp>
          <p:nvSpPr>
            <p:cNvPr id="46" name="Rectangle 45"/>
            <p:cNvSpPr/>
            <p:nvPr/>
          </p:nvSpPr>
          <p:spPr bwMode="auto">
            <a:xfrm>
              <a:off x="-77788" y="2438400"/>
              <a:ext cx="12344400" cy="68580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grpSp>
          <p:nvGrpSpPr>
            <p:cNvPr id="8" name="Group 7"/>
            <p:cNvGrpSpPr/>
            <p:nvPr/>
          </p:nvGrpSpPr>
          <p:grpSpPr>
            <a:xfrm>
              <a:off x="1141412" y="2472891"/>
              <a:ext cx="6019800" cy="575109"/>
              <a:chOff x="851791" y="2799486"/>
              <a:chExt cx="8024310" cy="766812"/>
            </a:xfrm>
          </p:grpSpPr>
          <p:sp>
            <p:nvSpPr>
              <p:cNvPr id="10" name="Rounded Rectangle 9"/>
              <p:cNvSpPr/>
              <p:nvPr/>
            </p:nvSpPr>
            <p:spPr bwMode="auto">
              <a:xfrm>
                <a:off x="2250572" y="2855098"/>
                <a:ext cx="6625529" cy="640616"/>
              </a:xfrm>
              <a:prstGeom prst="roundRect">
                <a:avLst>
                  <a:gd name="adj" fmla="val 9078"/>
                </a:avLst>
              </a:prstGeom>
              <a:noFill/>
              <a:ln w="12700" cap="flat" cmpd="sng" algn="ctr">
                <a:noFill/>
                <a:prstDash val="solid"/>
                <a:round/>
                <a:headEnd type="none" w="med" len="med"/>
                <a:tailEnd type="none" w="med" len="med"/>
              </a:ln>
              <a:effectLst/>
            </p:spPr>
            <p:txBody>
              <a:bodyPr vert="horz" wrap="square" lIns="91412" tIns="137119" rIns="91412" bIns="91412" numCol="1" rtlCol="0" anchor="ctr" anchorCtr="0" compatLnSpc="1">
                <a:prstTxWarp prst="textNoShape">
                  <a:avLst/>
                </a:prstTxWarp>
              </a:bodyPr>
              <a:lstStyle/>
              <a:p>
                <a:pPr marL="0" lvl="1" defTabSz="514253" fontAlgn="base">
                  <a:lnSpc>
                    <a:spcPct val="85000"/>
                  </a:lnSpc>
                  <a:spcBef>
                    <a:spcPct val="25000"/>
                  </a:spcBef>
                  <a:spcAft>
                    <a:spcPct val="0"/>
                  </a:spcAft>
                  <a:buClr>
                    <a:srgbClr val="F7AB3B"/>
                  </a:buClr>
                  <a:buSzPct val="95000"/>
                  <a:defRPr/>
                </a:pPr>
                <a:r>
                  <a:rPr lang="en-US" sz="1500" dirty="0">
                    <a:solidFill>
                      <a:prstClr val="white">
                        <a:alpha val="99000"/>
                      </a:prstClr>
                    </a:solidFill>
                    <a:latin typeface="Segoe Semibold" pitchFamily="34" charset="0"/>
                  </a:rPr>
                  <a:t>Advanced Persistent Threat</a:t>
                </a:r>
              </a:p>
            </p:txBody>
          </p:sp>
          <p:sp>
            <p:nvSpPr>
              <p:cNvPr id="11" name="Freeform 13"/>
              <p:cNvSpPr>
                <a:spLocks noChangeAspect="1" noEditPoints="1"/>
              </p:cNvSpPr>
              <p:nvPr/>
            </p:nvSpPr>
            <p:spPr bwMode="auto">
              <a:xfrm>
                <a:off x="851791" y="2799486"/>
                <a:ext cx="772220" cy="766812"/>
              </a:xfrm>
              <a:custGeom>
                <a:avLst/>
                <a:gdLst>
                  <a:gd name="T0" fmla="*/ 294 w 302"/>
                  <a:gd name="T1" fmla="*/ 294 h 300"/>
                  <a:gd name="T2" fmla="*/ 279 w 302"/>
                  <a:gd name="T3" fmla="*/ 300 h 300"/>
                  <a:gd name="T4" fmla="*/ 264 w 302"/>
                  <a:gd name="T5" fmla="*/ 294 h 300"/>
                  <a:gd name="T6" fmla="*/ 164 w 302"/>
                  <a:gd name="T7" fmla="*/ 194 h 300"/>
                  <a:gd name="T8" fmla="*/ 181 w 302"/>
                  <a:gd name="T9" fmla="*/ 181 h 300"/>
                  <a:gd name="T10" fmla="*/ 194 w 302"/>
                  <a:gd name="T11" fmla="*/ 164 h 300"/>
                  <a:gd name="T12" fmla="*/ 294 w 302"/>
                  <a:gd name="T13" fmla="*/ 264 h 300"/>
                  <a:gd name="T14" fmla="*/ 294 w 302"/>
                  <a:gd name="T15" fmla="*/ 294 h 300"/>
                  <a:gd name="T16" fmla="*/ 207 w 302"/>
                  <a:gd name="T17" fmla="*/ 104 h 300"/>
                  <a:gd name="T18" fmla="*/ 177 w 302"/>
                  <a:gd name="T19" fmla="*/ 30 h 300"/>
                  <a:gd name="T20" fmla="*/ 103 w 302"/>
                  <a:gd name="T21" fmla="*/ 0 h 300"/>
                  <a:gd name="T22" fmla="*/ 30 w 302"/>
                  <a:gd name="T23" fmla="*/ 30 h 300"/>
                  <a:gd name="T24" fmla="*/ 0 w 302"/>
                  <a:gd name="T25" fmla="*/ 104 h 300"/>
                  <a:gd name="T26" fmla="*/ 30 w 302"/>
                  <a:gd name="T27" fmla="*/ 177 h 300"/>
                  <a:gd name="T28" fmla="*/ 103 w 302"/>
                  <a:gd name="T29" fmla="*/ 207 h 300"/>
                  <a:gd name="T30" fmla="*/ 177 w 302"/>
                  <a:gd name="T31" fmla="*/ 177 h 300"/>
                  <a:gd name="T32" fmla="*/ 207 w 302"/>
                  <a:gd name="T33" fmla="*/ 104 h 300"/>
                  <a:gd name="T34" fmla="*/ 161 w 302"/>
                  <a:gd name="T35" fmla="*/ 46 h 300"/>
                  <a:gd name="T36" fmla="*/ 185 w 302"/>
                  <a:gd name="T37" fmla="*/ 104 h 300"/>
                  <a:gd name="T38" fmla="*/ 161 w 302"/>
                  <a:gd name="T39" fmla="*/ 161 h 300"/>
                  <a:gd name="T40" fmla="*/ 103 w 302"/>
                  <a:gd name="T41" fmla="*/ 185 h 300"/>
                  <a:gd name="T42" fmla="*/ 46 w 302"/>
                  <a:gd name="T43" fmla="*/ 161 h 300"/>
                  <a:gd name="T44" fmla="*/ 22 w 302"/>
                  <a:gd name="T45" fmla="*/ 104 h 300"/>
                  <a:gd name="T46" fmla="*/ 46 w 302"/>
                  <a:gd name="T47" fmla="*/ 46 h 300"/>
                  <a:gd name="T48" fmla="*/ 103 w 302"/>
                  <a:gd name="T49" fmla="*/ 22 h 300"/>
                  <a:gd name="T50" fmla="*/ 161 w 302"/>
                  <a:gd name="T51" fmla="*/ 46 h 300"/>
                  <a:gd name="T52" fmla="*/ 110 w 302"/>
                  <a:gd name="T53" fmla="*/ 43 h 300"/>
                  <a:gd name="T54" fmla="*/ 107 w 302"/>
                  <a:gd name="T55" fmla="*/ 40 h 300"/>
                  <a:gd name="T56" fmla="*/ 40 w 302"/>
                  <a:gd name="T57" fmla="*/ 107 h 300"/>
                  <a:gd name="T58" fmla="*/ 43 w 302"/>
                  <a:gd name="T59" fmla="*/ 110 h 300"/>
                  <a:gd name="T60" fmla="*/ 46 w 302"/>
                  <a:gd name="T61" fmla="*/ 107 h 300"/>
                  <a:gd name="T62" fmla="*/ 64 w 302"/>
                  <a:gd name="T63" fmla="*/ 64 h 300"/>
                  <a:gd name="T64" fmla="*/ 107 w 302"/>
                  <a:gd name="T65" fmla="*/ 46 h 300"/>
                  <a:gd name="T66" fmla="*/ 110 w 302"/>
                  <a:gd name="T67" fmla="*/ 43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2" h="300">
                    <a:moveTo>
                      <a:pt x="294" y="294"/>
                    </a:moveTo>
                    <a:cubicBezTo>
                      <a:pt x="290" y="298"/>
                      <a:pt x="284" y="300"/>
                      <a:pt x="279" y="300"/>
                    </a:cubicBezTo>
                    <a:cubicBezTo>
                      <a:pt x="273" y="300"/>
                      <a:pt x="268" y="298"/>
                      <a:pt x="264" y="294"/>
                    </a:cubicBezTo>
                    <a:cubicBezTo>
                      <a:pt x="264" y="294"/>
                      <a:pt x="184" y="213"/>
                      <a:pt x="164" y="194"/>
                    </a:cubicBezTo>
                    <a:cubicBezTo>
                      <a:pt x="170" y="190"/>
                      <a:pt x="176" y="186"/>
                      <a:pt x="181" y="181"/>
                    </a:cubicBezTo>
                    <a:cubicBezTo>
                      <a:pt x="186" y="176"/>
                      <a:pt x="190" y="170"/>
                      <a:pt x="194" y="164"/>
                    </a:cubicBezTo>
                    <a:cubicBezTo>
                      <a:pt x="294" y="264"/>
                      <a:pt x="294" y="264"/>
                      <a:pt x="294" y="264"/>
                    </a:cubicBezTo>
                    <a:cubicBezTo>
                      <a:pt x="302" y="272"/>
                      <a:pt x="302" y="286"/>
                      <a:pt x="294" y="294"/>
                    </a:cubicBezTo>
                    <a:close/>
                    <a:moveTo>
                      <a:pt x="207" y="104"/>
                    </a:moveTo>
                    <a:cubicBezTo>
                      <a:pt x="207" y="75"/>
                      <a:pt x="195" y="49"/>
                      <a:pt x="177" y="30"/>
                    </a:cubicBezTo>
                    <a:cubicBezTo>
                      <a:pt x="158" y="12"/>
                      <a:pt x="132" y="0"/>
                      <a:pt x="103" y="0"/>
                    </a:cubicBezTo>
                    <a:cubicBezTo>
                      <a:pt x="75" y="0"/>
                      <a:pt x="49" y="12"/>
                      <a:pt x="30" y="30"/>
                    </a:cubicBezTo>
                    <a:cubicBezTo>
                      <a:pt x="12" y="49"/>
                      <a:pt x="0" y="75"/>
                      <a:pt x="0" y="104"/>
                    </a:cubicBezTo>
                    <a:cubicBezTo>
                      <a:pt x="0" y="132"/>
                      <a:pt x="12" y="158"/>
                      <a:pt x="30" y="177"/>
                    </a:cubicBezTo>
                    <a:cubicBezTo>
                      <a:pt x="49" y="195"/>
                      <a:pt x="75" y="207"/>
                      <a:pt x="103" y="207"/>
                    </a:cubicBezTo>
                    <a:cubicBezTo>
                      <a:pt x="132" y="207"/>
                      <a:pt x="158" y="195"/>
                      <a:pt x="177" y="177"/>
                    </a:cubicBezTo>
                    <a:cubicBezTo>
                      <a:pt x="195" y="158"/>
                      <a:pt x="207" y="132"/>
                      <a:pt x="207" y="104"/>
                    </a:cubicBezTo>
                    <a:close/>
                    <a:moveTo>
                      <a:pt x="161" y="46"/>
                    </a:moveTo>
                    <a:cubicBezTo>
                      <a:pt x="176" y="60"/>
                      <a:pt x="185" y="81"/>
                      <a:pt x="185" y="104"/>
                    </a:cubicBezTo>
                    <a:cubicBezTo>
                      <a:pt x="185" y="126"/>
                      <a:pt x="176" y="147"/>
                      <a:pt x="161" y="161"/>
                    </a:cubicBezTo>
                    <a:cubicBezTo>
                      <a:pt x="147" y="176"/>
                      <a:pt x="126" y="185"/>
                      <a:pt x="103" y="185"/>
                    </a:cubicBezTo>
                    <a:cubicBezTo>
                      <a:pt x="81" y="185"/>
                      <a:pt x="60" y="176"/>
                      <a:pt x="46" y="161"/>
                    </a:cubicBezTo>
                    <a:cubicBezTo>
                      <a:pt x="31" y="147"/>
                      <a:pt x="22" y="126"/>
                      <a:pt x="22" y="104"/>
                    </a:cubicBezTo>
                    <a:cubicBezTo>
                      <a:pt x="22" y="81"/>
                      <a:pt x="31" y="60"/>
                      <a:pt x="46" y="46"/>
                    </a:cubicBezTo>
                    <a:cubicBezTo>
                      <a:pt x="60" y="31"/>
                      <a:pt x="81" y="22"/>
                      <a:pt x="103" y="22"/>
                    </a:cubicBezTo>
                    <a:cubicBezTo>
                      <a:pt x="126" y="22"/>
                      <a:pt x="147" y="31"/>
                      <a:pt x="161" y="46"/>
                    </a:cubicBezTo>
                    <a:close/>
                    <a:moveTo>
                      <a:pt x="110" y="43"/>
                    </a:moveTo>
                    <a:cubicBezTo>
                      <a:pt x="110" y="41"/>
                      <a:pt x="108" y="40"/>
                      <a:pt x="107" y="40"/>
                    </a:cubicBezTo>
                    <a:cubicBezTo>
                      <a:pt x="70" y="40"/>
                      <a:pt x="40" y="70"/>
                      <a:pt x="40" y="107"/>
                    </a:cubicBezTo>
                    <a:cubicBezTo>
                      <a:pt x="40" y="108"/>
                      <a:pt x="41" y="110"/>
                      <a:pt x="43" y="110"/>
                    </a:cubicBezTo>
                    <a:cubicBezTo>
                      <a:pt x="45" y="110"/>
                      <a:pt x="46" y="108"/>
                      <a:pt x="46" y="107"/>
                    </a:cubicBezTo>
                    <a:cubicBezTo>
                      <a:pt x="46" y="90"/>
                      <a:pt x="53" y="75"/>
                      <a:pt x="64" y="64"/>
                    </a:cubicBezTo>
                    <a:cubicBezTo>
                      <a:pt x="75" y="53"/>
                      <a:pt x="90" y="46"/>
                      <a:pt x="107" y="46"/>
                    </a:cubicBezTo>
                    <a:cubicBezTo>
                      <a:pt x="108" y="46"/>
                      <a:pt x="110" y="45"/>
                      <a:pt x="110" y="43"/>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3" name="Group 52"/>
          <p:cNvGrpSpPr/>
          <p:nvPr/>
        </p:nvGrpSpPr>
        <p:grpSpPr>
          <a:xfrm>
            <a:off x="-58356" y="3429000"/>
            <a:ext cx="9260712" cy="514350"/>
            <a:chOff x="-77788" y="4572000"/>
            <a:chExt cx="12344400" cy="685800"/>
          </a:xfrm>
        </p:grpSpPr>
        <p:sp>
          <p:nvSpPr>
            <p:cNvPr id="48" name="Rectangle 47"/>
            <p:cNvSpPr/>
            <p:nvPr/>
          </p:nvSpPr>
          <p:spPr bwMode="auto">
            <a:xfrm>
              <a:off x="-77788" y="4572000"/>
              <a:ext cx="12344400" cy="685800"/>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grpSp>
          <p:nvGrpSpPr>
            <p:cNvPr id="12" name="Group 11"/>
            <p:cNvGrpSpPr/>
            <p:nvPr/>
          </p:nvGrpSpPr>
          <p:grpSpPr>
            <a:xfrm>
              <a:off x="1141412" y="4648200"/>
              <a:ext cx="6019800" cy="480462"/>
              <a:chOff x="965434" y="4383908"/>
              <a:chExt cx="8024310" cy="640616"/>
            </a:xfrm>
          </p:grpSpPr>
          <p:sp>
            <p:nvSpPr>
              <p:cNvPr id="14" name="big cloud"/>
              <p:cNvSpPr>
                <a:spLocks noChangeAspect="1"/>
              </p:cNvSpPr>
              <p:nvPr/>
            </p:nvSpPr>
            <p:spPr bwMode="auto">
              <a:xfrm>
                <a:off x="965434" y="4510447"/>
                <a:ext cx="970379" cy="514076"/>
              </a:xfrm>
              <a:custGeom>
                <a:avLst/>
                <a:gdLst/>
                <a:ahLst/>
                <a:cxnLst>
                  <a:cxn ang="0">
                    <a:pos x="6359" y="0"/>
                  </a:cxn>
                  <a:cxn ang="0">
                    <a:pos x="4385" y="1129"/>
                  </a:cxn>
                  <a:cxn ang="0">
                    <a:pos x="3525" y="915"/>
                  </a:cxn>
                  <a:cxn ang="0">
                    <a:pos x="1888" y="1923"/>
                  </a:cxn>
                  <a:cxn ang="0">
                    <a:pos x="1378" y="1826"/>
                  </a:cxn>
                  <a:cxn ang="0">
                    <a:pos x="0" y="3203"/>
                  </a:cxn>
                  <a:cxn ang="0">
                    <a:pos x="1301" y="4578"/>
                  </a:cxn>
                  <a:cxn ang="0">
                    <a:pos x="1301" y="4581"/>
                  </a:cxn>
                  <a:cxn ang="0">
                    <a:pos x="6359" y="4581"/>
                  </a:cxn>
                  <a:cxn ang="0">
                    <a:pos x="8650" y="2290"/>
                  </a:cxn>
                  <a:cxn ang="0">
                    <a:pos x="6359" y="0"/>
                  </a:cxn>
                </a:cxnLst>
                <a:rect l="0" t="0" r="r" b="b"/>
                <a:pathLst>
                  <a:path w="8650" h="4581">
                    <a:moveTo>
                      <a:pt x="6359" y="0"/>
                    </a:moveTo>
                    <a:cubicBezTo>
                      <a:pt x="5518" y="0"/>
                      <a:pt x="4783" y="453"/>
                      <a:pt x="4385" y="1129"/>
                    </a:cubicBezTo>
                    <a:cubicBezTo>
                      <a:pt x="4128" y="993"/>
                      <a:pt x="3836" y="915"/>
                      <a:pt x="3525" y="915"/>
                    </a:cubicBezTo>
                    <a:cubicBezTo>
                      <a:pt x="2809" y="915"/>
                      <a:pt x="2190" y="1325"/>
                      <a:pt x="1888" y="1923"/>
                    </a:cubicBezTo>
                    <a:cubicBezTo>
                      <a:pt x="1730" y="1860"/>
                      <a:pt x="1558" y="1826"/>
                      <a:pt x="1378" y="1826"/>
                    </a:cubicBezTo>
                    <a:cubicBezTo>
                      <a:pt x="617" y="1826"/>
                      <a:pt x="0" y="2442"/>
                      <a:pt x="0" y="3203"/>
                    </a:cubicBezTo>
                    <a:cubicBezTo>
                      <a:pt x="0" y="3938"/>
                      <a:pt x="576" y="4538"/>
                      <a:pt x="1301" y="4578"/>
                    </a:cubicBezTo>
                    <a:cubicBezTo>
                      <a:pt x="1301" y="4581"/>
                      <a:pt x="1301" y="4581"/>
                      <a:pt x="1301" y="4581"/>
                    </a:cubicBezTo>
                    <a:cubicBezTo>
                      <a:pt x="6359" y="4581"/>
                      <a:pt x="6359" y="4581"/>
                      <a:pt x="6359" y="4581"/>
                    </a:cubicBezTo>
                    <a:cubicBezTo>
                      <a:pt x="7624" y="4581"/>
                      <a:pt x="8650" y="3555"/>
                      <a:pt x="8650" y="2290"/>
                    </a:cubicBezTo>
                    <a:cubicBezTo>
                      <a:pt x="8650" y="1025"/>
                      <a:pt x="7624" y="0"/>
                      <a:pt x="6359" y="0"/>
                    </a:cubicBezTo>
                    <a:close/>
                  </a:path>
                </a:pathLst>
              </a:custGeom>
              <a:solidFill>
                <a:schemeClr val="tx1"/>
              </a:solidFill>
              <a:ln w="38100" cap="rnd">
                <a:solidFill>
                  <a:schemeClr val="tx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514254" fontAlgn="base">
                  <a:spcBef>
                    <a:spcPct val="0"/>
                  </a:spcBef>
                  <a:spcAft>
                    <a:spcPct val="0"/>
                  </a:spcAft>
                </a:pPr>
                <a:endParaRPr lang="en-US" sz="1100" b="1">
                  <a:gradFill>
                    <a:gsLst>
                      <a:gs pos="0">
                        <a:srgbClr val="FFFFFF"/>
                      </a:gs>
                      <a:gs pos="100000">
                        <a:srgbClr val="FFFFFF"/>
                      </a:gs>
                    </a:gsLst>
                    <a:lin ang="5400000" scaled="0"/>
                  </a:gradFill>
                  <a:latin typeface="Segoe UI Light" pitchFamily="34" charset="0"/>
                </a:endParaRPr>
              </a:p>
            </p:txBody>
          </p:sp>
          <p:sp>
            <p:nvSpPr>
              <p:cNvPr id="15" name="Rounded Rectangle 14"/>
              <p:cNvSpPr/>
              <p:nvPr/>
            </p:nvSpPr>
            <p:spPr bwMode="auto">
              <a:xfrm>
                <a:off x="2364215" y="4383908"/>
                <a:ext cx="6625529" cy="640616"/>
              </a:xfrm>
              <a:prstGeom prst="roundRect">
                <a:avLst>
                  <a:gd name="adj" fmla="val 9078"/>
                </a:avLst>
              </a:prstGeom>
              <a:noFill/>
              <a:ln w="12700" cap="flat" cmpd="sng" algn="ctr">
                <a:noFill/>
                <a:prstDash val="solid"/>
                <a:round/>
                <a:headEnd type="none" w="med" len="med"/>
                <a:tailEnd type="none" w="med" len="med"/>
              </a:ln>
              <a:effectLst/>
            </p:spPr>
            <p:txBody>
              <a:bodyPr vert="horz" wrap="square" lIns="91412" tIns="137119" rIns="91412" bIns="91412" numCol="1" rtlCol="0" anchor="ctr" anchorCtr="0" compatLnSpc="1">
                <a:prstTxWarp prst="textNoShape">
                  <a:avLst/>
                </a:prstTxWarp>
              </a:bodyPr>
              <a:lstStyle/>
              <a:p>
                <a:pPr marL="0" lvl="1" defTabSz="514253" fontAlgn="base">
                  <a:lnSpc>
                    <a:spcPct val="85000"/>
                  </a:lnSpc>
                  <a:spcBef>
                    <a:spcPct val="25000"/>
                  </a:spcBef>
                  <a:spcAft>
                    <a:spcPct val="0"/>
                  </a:spcAft>
                  <a:buClr>
                    <a:srgbClr val="F7AB3B"/>
                  </a:buClr>
                  <a:buSzPct val="95000"/>
                  <a:defRPr/>
                </a:pPr>
                <a:endParaRPr lang="en-US" sz="1500" dirty="0">
                  <a:solidFill>
                    <a:prstClr val="white">
                      <a:alpha val="99000"/>
                    </a:prstClr>
                  </a:solidFill>
                  <a:latin typeface="Segoe Semibold" pitchFamily="34" charset="0"/>
                </a:endParaRPr>
              </a:p>
              <a:p>
                <a:pPr marL="0" lvl="1" defTabSz="514253" fontAlgn="base">
                  <a:lnSpc>
                    <a:spcPct val="85000"/>
                  </a:lnSpc>
                  <a:spcBef>
                    <a:spcPct val="25000"/>
                  </a:spcBef>
                  <a:spcAft>
                    <a:spcPct val="0"/>
                  </a:spcAft>
                  <a:buClr>
                    <a:srgbClr val="F7AB3B"/>
                  </a:buClr>
                  <a:buSzPct val="95000"/>
                  <a:defRPr/>
                </a:pPr>
                <a:r>
                  <a:rPr lang="en-US" sz="1500" dirty="0">
                    <a:solidFill>
                      <a:prstClr val="white">
                        <a:alpha val="99000"/>
                      </a:prstClr>
                    </a:solidFill>
                    <a:latin typeface="Segoe Semibold" pitchFamily="34" charset="0"/>
                  </a:rPr>
                  <a:t>Cloud Computing</a:t>
                </a:r>
              </a:p>
              <a:p>
                <a:pPr marL="0" lvl="1" defTabSz="514253" fontAlgn="base">
                  <a:lnSpc>
                    <a:spcPct val="85000"/>
                  </a:lnSpc>
                  <a:spcBef>
                    <a:spcPct val="25000"/>
                  </a:spcBef>
                  <a:spcAft>
                    <a:spcPct val="0"/>
                  </a:spcAft>
                  <a:buClr>
                    <a:srgbClr val="F7AB3B"/>
                  </a:buClr>
                  <a:buSzPct val="95000"/>
                  <a:defRPr/>
                </a:pPr>
                <a:endParaRPr lang="en-US" sz="1500" dirty="0">
                  <a:solidFill>
                    <a:prstClr val="white">
                      <a:alpha val="99000"/>
                    </a:prstClr>
                  </a:solidFill>
                  <a:latin typeface="Segoe Semibold" pitchFamily="34" charset="0"/>
                </a:endParaRPr>
              </a:p>
            </p:txBody>
          </p:sp>
        </p:grpSp>
      </p:grpSp>
      <p:grpSp>
        <p:nvGrpSpPr>
          <p:cNvPr id="54" name="Group 53"/>
          <p:cNvGrpSpPr/>
          <p:nvPr/>
        </p:nvGrpSpPr>
        <p:grpSpPr>
          <a:xfrm>
            <a:off x="-58356" y="4229100"/>
            <a:ext cx="9260712" cy="514350"/>
            <a:chOff x="-77788" y="5638800"/>
            <a:chExt cx="12344400" cy="685800"/>
          </a:xfrm>
        </p:grpSpPr>
        <p:sp>
          <p:nvSpPr>
            <p:cNvPr id="49" name="Rectangle 48"/>
            <p:cNvSpPr/>
            <p:nvPr/>
          </p:nvSpPr>
          <p:spPr bwMode="auto">
            <a:xfrm>
              <a:off x="-77788" y="5638800"/>
              <a:ext cx="12344400" cy="68580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grpSp>
          <p:nvGrpSpPr>
            <p:cNvPr id="16" name="Group 15"/>
            <p:cNvGrpSpPr/>
            <p:nvPr/>
          </p:nvGrpSpPr>
          <p:grpSpPr>
            <a:xfrm>
              <a:off x="1217612" y="5715002"/>
              <a:ext cx="5943600" cy="562810"/>
              <a:chOff x="699610" y="5133340"/>
              <a:chExt cx="7922737" cy="750413"/>
            </a:xfrm>
          </p:grpSpPr>
          <p:sp>
            <p:nvSpPr>
              <p:cNvPr id="18" name="Rounded Rectangle 17"/>
              <p:cNvSpPr/>
              <p:nvPr/>
            </p:nvSpPr>
            <p:spPr bwMode="auto">
              <a:xfrm>
                <a:off x="1996818" y="5148312"/>
                <a:ext cx="6625529" cy="640616"/>
              </a:xfrm>
              <a:prstGeom prst="roundRect">
                <a:avLst>
                  <a:gd name="adj" fmla="val 9078"/>
                </a:avLst>
              </a:prstGeom>
              <a:noFill/>
              <a:ln w="12700" cap="flat" cmpd="sng" algn="ctr">
                <a:noFill/>
                <a:prstDash val="solid"/>
                <a:round/>
                <a:headEnd type="none" w="med" len="med"/>
                <a:tailEnd type="none" w="med" len="med"/>
              </a:ln>
              <a:effectLst/>
            </p:spPr>
            <p:txBody>
              <a:bodyPr vert="horz" wrap="square" lIns="91412" tIns="137119" rIns="91412" bIns="91412" numCol="1" rtlCol="0" anchor="ctr" anchorCtr="0" compatLnSpc="1">
                <a:prstTxWarp prst="textNoShape">
                  <a:avLst/>
                </a:prstTxWarp>
              </a:bodyPr>
              <a:lstStyle/>
              <a:p>
                <a:pPr marL="0" lvl="1" defTabSz="514253" fontAlgn="base">
                  <a:lnSpc>
                    <a:spcPct val="85000"/>
                  </a:lnSpc>
                  <a:spcBef>
                    <a:spcPct val="25000"/>
                  </a:spcBef>
                  <a:spcAft>
                    <a:spcPct val="0"/>
                  </a:spcAft>
                  <a:buClr>
                    <a:srgbClr val="F7AB3B"/>
                  </a:buClr>
                  <a:buSzPct val="95000"/>
                  <a:defRPr/>
                </a:pPr>
                <a:r>
                  <a:rPr lang="en-US" sz="1500" dirty="0">
                    <a:solidFill>
                      <a:prstClr val="white">
                        <a:alpha val="99000"/>
                      </a:prstClr>
                    </a:solidFill>
                    <a:latin typeface="Segoe Semibold" pitchFamily="34" charset="0"/>
                  </a:rPr>
                  <a:t>Government Interests</a:t>
                </a:r>
              </a:p>
            </p:txBody>
          </p:sp>
          <p:sp>
            <p:nvSpPr>
              <p:cNvPr id="19" name="Freeform 24"/>
              <p:cNvSpPr>
                <a:spLocks noChangeAspect="1" noEditPoints="1"/>
              </p:cNvSpPr>
              <p:nvPr/>
            </p:nvSpPr>
            <p:spPr bwMode="auto">
              <a:xfrm>
                <a:off x="699610" y="5133340"/>
                <a:ext cx="754336" cy="750413"/>
              </a:xfrm>
              <a:custGeom>
                <a:avLst/>
                <a:gdLst>
                  <a:gd name="T0" fmla="*/ 407 w 407"/>
                  <a:gd name="T1" fmla="*/ 94 h 405"/>
                  <a:gd name="T2" fmla="*/ 0 w 407"/>
                  <a:gd name="T3" fmla="*/ 141 h 405"/>
                  <a:gd name="T4" fmla="*/ 325 w 407"/>
                  <a:gd name="T5" fmla="*/ 348 h 405"/>
                  <a:gd name="T6" fmla="*/ 393 w 407"/>
                  <a:gd name="T7" fmla="*/ 358 h 405"/>
                  <a:gd name="T8" fmla="*/ 407 w 407"/>
                  <a:gd name="T9" fmla="*/ 405 h 405"/>
                  <a:gd name="T10" fmla="*/ 0 w 407"/>
                  <a:gd name="T11" fmla="*/ 358 h 405"/>
                  <a:gd name="T12" fmla="*/ 26 w 407"/>
                  <a:gd name="T13" fmla="*/ 348 h 405"/>
                  <a:gd name="T14" fmla="*/ 93 w 407"/>
                  <a:gd name="T15" fmla="*/ 358 h 405"/>
                  <a:gd name="T16" fmla="*/ 125 w 407"/>
                  <a:gd name="T17" fmla="*/ 348 h 405"/>
                  <a:gd name="T18" fmla="*/ 192 w 407"/>
                  <a:gd name="T19" fmla="*/ 358 h 405"/>
                  <a:gd name="T20" fmla="*/ 225 w 407"/>
                  <a:gd name="T21" fmla="*/ 348 h 405"/>
                  <a:gd name="T22" fmla="*/ 293 w 407"/>
                  <a:gd name="T23" fmla="*/ 358 h 405"/>
                  <a:gd name="T24" fmla="*/ 325 w 407"/>
                  <a:gd name="T25" fmla="*/ 348 h 405"/>
                  <a:gd name="T26" fmla="*/ 82 w 407"/>
                  <a:gd name="T27" fmla="*/ 160 h 405"/>
                  <a:gd name="T28" fmla="*/ 77 w 407"/>
                  <a:gd name="T29" fmla="*/ 341 h 405"/>
                  <a:gd name="T30" fmla="*/ 30 w 407"/>
                  <a:gd name="T31" fmla="*/ 160 h 405"/>
                  <a:gd name="T32" fmla="*/ 14 w 407"/>
                  <a:gd name="T33" fmla="*/ 149 h 405"/>
                  <a:gd name="T34" fmla="*/ 192 w 407"/>
                  <a:gd name="T35" fmla="*/ 149 h 405"/>
                  <a:gd name="T36" fmla="*/ 177 w 407"/>
                  <a:gd name="T37" fmla="*/ 160 h 405"/>
                  <a:gd name="T38" fmla="*/ 130 w 407"/>
                  <a:gd name="T39" fmla="*/ 341 h 405"/>
                  <a:gd name="T40" fmla="*/ 125 w 407"/>
                  <a:gd name="T41" fmla="*/ 160 h 405"/>
                  <a:gd name="T42" fmla="*/ 192 w 407"/>
                  <a:gd name="T43" fmla="*/ 149 h 405"/>
                  <a:gd name="T44" fmla="*/ 282 w 407"/>
                  <a:gd name="T45" fmla="*/ 160 h 405"/>
                  <a:gd name="T46" fmla="*/ 277 w 407"/>
                  <a:gd name="T47" fmla="*/ 341 h 405"/>
                  <a:gd name="T48" fmla="*/ 230 w 407"/>
                  <a:gd name="T49" fmla="*/ 160 h 405"/>
                  <a:gd name="T50" fmla="*/ 214 w 407"/>
                  <a:gd name="T51" fmla="*/ 149 h 405"/>
                  <a:gd name="T52" fmla="*/ 377 w 407"/>
                  <a:gd name="T53" fmla="*/ 160 h 405"/>
                  <a:gd name="T54" fmla="*/ 330 w 407"/>
                  <a:gd name="T55" fmla="*/ 341 h 405"/>
                  <a:gd name="T56" fmla="*/ 325 w 407"/>
                  <a:gd name="T57" fmla="*/ 160 h 405"/>
                  <a:gd name="T58" fmla="*/ 393 w 407"/>
                  <a:gd name="T59" fmla="*/ 149 h 405"/>
                  <a:gd name="T60" fmla="*/ 377 w 407"/>
                  <a:gd name="T61" fmla="*/ 160 h 405"/>
                  <a:gd name="T62" fmla="*/ 204 w 407"/>
                  <a:gd name="T63" fmla="*/ 0 h 405"/>
                  <a:gd name="T64" fmla="*/ 0 w 407"/>
                  <a:gd name="T65" fmla="*/ 86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7" h="405">
                    <a:moveTo>
                      <a:pt x="0" y="94"/>
                    </a:moveTo>
                    <a:cubicBezTo>
                      <a:pt x="407" y="94"/>
                      <a:pt x="407" y="94"/>
                      <a:pt x="407" y="94"/>
                    </a:cubicBezTo>
                    <a:cubicBezTo>
                      <a:pt x="407" y="141"/>
                      <a:pt x="407" y="141"/>
                      <a:pt x="407" y="141"/>
                    </a:cubicBezTo>
                    <a:cubicBezTo>
                      <a:pt x="0" y="141"/>
                      <a:pt x="0" y="141"/>
                      <a:pt x="0" y="141"/>
                    </a:cubicBezTo>
                    <a:cubicBezTo>
                      <a:pt x="0" y="94"/>
                      <a:pt x="0" y="94"/>
                      <a:pt x="0" y="94"/>
                    </a:cubicBezTo>
                    <a:close/>
                    <a:moveTo>
                      <a:pt x="325" y="348"/>
                    </a:moveTo>
                    <a:cubicBezTo>
                      <a:pt x="382" y="348"/>
                      <a:pt x="382" y="348"/>
                      <a:pt x="382" y="348"/>
                    </a:cubicBezTo>
                    <a:cubicBezTo>
                      <a:pt x="389" y="348"/>
                      <a:pt x="392" y="353"/>
                      <a:pt x="393" y="358"/>
                    </a:cubicBezTo>
                    <a:cubicBezTo>
                      <a:pt x="407" y="358"/>
                      <a:pt x="407" y="358"/>
                      <a:pt x="407" y="358"/>
                    </a:cubicBezTo>
                    <a:cubicBezTo>
                      <a:pt x="407" y="405"/>
                      <a:pt x="407" y="405"/>
                      <a:pt x="407" y="405"/>
                    </a:cubicBezTo>
                    <a:cubicBezTo>
                      <a:pt x="0" y="405"/>
                      <a:pt x="0" y="405"/>
                      <a:pt x="0" y="405"/>
                    </a:cubicBezTo>
                    <a:cubicBezTo>
                      <a:pt x="0" y="358"/>
                      <a:pt x="0" y="358"/>
                      <a:pt x="0" y="358"/>
                    </a:cubicBezTo>
                    <a:cubicBezTo>
                      <a:pt x="14" y="358"/>
                      <a:pt x="14" y="358"/>
                      <a:pt x="14" y="358"/>
                    </a:cubicBezTo>
                    <a:cubicBezTo>
                      <a:pt x="15" y="353"/>
                      <a:pt x="19" y="348"/>
                      <a:pt x="26" y="348"/>
                    </a:cubicBezTo>
                    <a:cubicBezTo>
                      <a:pt x="82" y="348"/>
                      <a:pt x="82" y="348"/>
                      <a:pt x="82" y="348"/>
                    </a:cubicBezTo>
                    <a:cubicBezTo>
                      <a:pt x="89" y="348"/>
                      <a:pt x="93" y="353"/>
                      <a:pt x="93" y="358"/>
                    </a:cubicBezTo>
                    <a:cubicBezTo>
                      <a:pt x="114" y="358"/>
                      <a:pt x="114" y="358"/>
                      <a:pt x="114" y="358"/>
                    </a:cubicBezTo>
                    <a:cubicBezTo>
                      <a:pt x="114" y="353"/>
                      <a:pt x="118" y="348"/>
                      <a:pt x="125" y="348"/>
                    </a:cubicBezTo>
                    <a:cubicBezTo>
                      <a:pt x="181" y="348"/>
                      <a:pt x="181" y="348"/>
                      <a:pt x="181" y="348"/>
                    </a:cubicBezTo>
                    <a:cubicBezTo>
                      <a:pt x="188" y="348"/>
                      <a:pt x="192" y="353"/>
                      <a:pt x="192" y="358"/>
                    </a:cubicBezTo>
                    <a:cubicBezTo>
                      <a:pt x="214" y="358"/>
                      <a:pt x="214" y="358"/>
                      <a:pt x="214" y="358"/>
                    </a:cubicBezTo>
                    <a:cubicBezTo>
                      <a:pt x="215" y="353"/>
                      <a:pt x="218" y="348"/>
                      <a:pt x="225" y="348"/>
                    </a:cubicBezTo>
                    <a:cubicBezTo>
                      <a:pt x="282" y="348"/>
                      <a:pt x="282" y="348"/>
                      <a:pt x="282" y="348"/>
                    </a:cubicBezTo>
                    <a:cubicBezTo>
                      <a:pt x="289" y="348"/>
                      <a:pt x="293" y="353"/>
                      <a:pt x="293" y="358"/>
                    </a:cubicBezTo>
                    <a:cubicBezTo>
                      <a:pt x="314" y="358"/>
                      <a:pt x="314" y="358"/>
                      <a:pt x="314" y="358"/>
                    </a:cubicBezTo>
                    <a:cubicBezTo>
                      <a:pt x="315" y="353"/>
                      <a:pt x="318" y="348"/>
                      <a:pt x="325" y="348"/>
                    </a:cubicBezTo>
                    <a:close/>
                    <a:moveTo>
                      <a:pt x="93" y="149"/>
                    </a:moveTo>
                    <a:cubicBezTo>
                      <a:pt x="93" y="154"/>
                      <a:pt x="90" y="160"/>
                      <a:pt x="82" y="160"/>
                    </a:cubicBezTo>
                    <a:cubicBezTo>
                      <a:pt x="77" y="160"/>
                      <a:pt x="77" y="160"/>
                      <a:pt x="77" y="160"/>
                    </a:cubicBezTo>
                    <a:cubicBezTo>
                      <a:pt x="77" y="341"/>
                      <a:pt x="77" y="341"/>
                      <a:pt x="77" y="341"/>
                    </a:cubicBezTo>
                    <a:cubicBezTo>
                      <a:pt x="30" y="341"/>
                      <a:pt x="30" y="341"/>
                      <a:pt x="30" y="341"/>
                    </a:cubicBezTo>
                    <a:cubicBezTo>
                      <a:pt x="30" y="160"/>
                      <a:pt x="30" y="160"/>
                      <a:pt x="30" y="160"/>
                    </a:cubicBezTo>
                    <a:cubicBezTo>
                      <a:pt x="26" y="160"/>
                      <a:pt x="26" y="160"/>
                      <a:pt x="26" y="160"/>
                    </a:cubicBezTo>
                    <a:cubicBezTo>
                      <a:pt x="18" y="160"/>
                      <a:pt x="14" y="154"/>
                      <a:pt x="14" y="149"/>
                    </a:cubicBezTo>
                    <a:cubicBezTo>
                      <a:pt x="93" y="149"/>
                      <a:pt x="93" y="149"/>
                      <a:pt x="93" y="149"/>
                    </a:cubicBezTo>
                    <a:close/>
                    <a:moveTo>
                      <a:pt x="192" y="149"/>
                    </a:moveTo>
                    <a:cubicBezTo>
                      <a:pt x="193" y="154"/>
                      <a:pt x="189" y="160"/>
                      <a:pt x="181" y="160"/>
                    </a:cubicBezTo>
                    <a:cubicBezTo>
                      <a:pt x="177" y="160"/>
                      <a:pt x="177" y="160"/>
                      <a:pt x="177" y="160"/>
                    </a:cubicBezTo>
                    <a:cubicBezTo>
                      <a:pt x="177" y="341"/>
                      <a:pt x="177" y="341"/>
                      <a:pt x="177" y="341"/>
                    </a:cubicBezTo>
                    <a:cubicBezTo>
                      <a:pt x="130" y="341"/>
                      <a:pt x="130" y="341"/>
                      <a:pt x="130" y="341"/>
                    </a:cubicBezTo>
                    <a:cubicBezTo>
                      <a:pt x="130" y="160"/>
                      <a:pt x="130" y="160"/>
                      <a:pt x="130" y="160"/>
                    </a:cubicBezTo>
                    <a:cubicBezTo>
                      <a:pt x="125" y="160"/>
                      <a:pt x="125" y="160"/>
                      <a:pt x="125" y="160"/>
                    </a:cubicBezTo>
                    <a:cubicBezTo>
                      <a:pt x="117" y="160"/>
                      <a:pt x="114" y="154"/>
                      <a:pt x="114" y="149"/>
                    </a:cubicBezTo>
                    <a:cubicBezTo>
                      <a:pt x="192" y="149"/>
                      <a:pt x="192" y="149"/>
                      <a:pt x="192" y="149"/>
                    </a:cubicBezTo>
                    <a:close/>
                    <a:moveTo>
                      <a:pt x="293" y="149"/>
                    </a:moveTo>
                    <a:cubicBezTo>
                      <a:pt x="293" y="154"/>
                      <a:pt x="289" y="160"/>
                      <a:pt x="282" y="160"/>
                    </a:cubicBezTo>
                    <a:cubicBezTo>
                      <a:pt x="277" y="160"/>
                      <a:pt x="277" y="160"/>
                      <a:pt x="277" y="160"/>
                    </a:cubicBezTo>
                    <a:cubicBezTo>
                      <a:pt x="277" y="341"/>
                      <a:pt x="277" y="341"/>
                      <a:pt x="277" y="341"/>
                    </a:cubicBezTo>
                    <a:cubicBezTo>
                      <a:pt x="230" y="341"/>
                      <a:pt x="230" y="341"/>
                      <a:pt x="230" y="341"/>
                    </a:cubicBezTo>
                    <a:cubicBezTo>
                      <a:pt x="230" y="160"/>
                      <a:pt x="230" y="160"/>
                      <a:pt x="230" y="160"/>
                    </a:cubicBezTo>
                    <a:cubicBezTo>
                      <a:pt x="225" y="160"/>
                      <a:pt x="225" y="160"/>
                      <a:pt x="225" y="160"/>
                    </a:cubicBezTo>
                    <a:cubicBezTo>
                      <a:pt x="218" y="160"/>
                      <a:pt x="214" y="154"/>
                      <a:pt x="214" y="149"/>
                    </a:cubicBezTo>
                    <a:cubicBezTo>
                      <a:pt x="293" y="149"/>
                      <a:pt x="293" y="149"/>
                      <a:pt x="293" y="149"/>
                    </a:cubicBezTo>
                    <a:close/>
                    <a:moveTo>
                      <a:pt x="377" y="160"/>
                    </a:moveTo>
                    <a:cubicBezTo>
                      <a:pt x="377" y="341"/>
                      <a:pt x="377" y="341"/>
                      <a:pt x="377" y="341"/>
                    </a:cubicBezTo>
                    <a:cubicBezTo>
                      <a:pt x="330" y="341"/>
                      <a:pt x="330" y="341"/>
                      <a:pt x="330" y="341"/>
                    </a:cubicBezTo>
                    <a:cubicBezTo>
                      <a:pt x="330" y="160"/>
                      <a:pt x="330" y="160"/>
                      <a:pt x="330" y="160"/>
                    </a:cubicBezTo>
                    <a:cubicBezTo>
                      <a:pt x="325" y="160"/>
                      <a:pt x="325" y="160"/>
                      <a:pt x="325" y="160"/>
                    </a:cubicBezTo>
                    <a:cubicBezTo>
                      <a:pt x="318" y="160"/>
                      <a:pt x="314" y="154"/>
                      <a:pt x="314" y="149"/>
                    </a:cubicBezTo>
                    <a:cubicBezTo>
                      <a:pt x="393" y="149"/>
                      <a:pt x="393" y="149"/>
                      <a:pt x="393" y="149"/>
                    </a:cubicBezTo>
                    <a:cubicBezTo>
                      <a:pt x="393" y="154"/>
                      <a:pt x="389" y="160"/>
                      <a:pt x="382" y="160"/>
                    </a:cubicBezTo>
                    <a:cubicBezTo>
                      <a:pt x="377" y="160"/>
                      <a:pt x="377" y="160"/>
                      <a:pt x="377" y="160"/>
                    </a:cubicBezTo>
                    <a:close/>
                    <a:moveTo>
                      <a:pt x="0" y="86"/>
                    </a:moveTo>
                    <a:cubicBezTo>
                      <a:pt x="204" y="0"/>
                      <a:pt x="204" y="0"/>
                      <a:pt x="204" y="0"/>
                    </a:cubicBezTo>
                    <a:cubicBezTo>
                      <a:pt x="407" y="86"/>
                      <a:pt x="407" y="86"/>
                      <a:pt x="407" y="86"/>
                    </a:cubicBezTo>
                    <a:cubicBezTo>
                      <a:pt x="0" y="86"/>
                      <a:pt x="0" y="86"/>
                      <a:pt x="0" y="8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50" name="Group 49"/>
          <p:cNvGrpSpPr/>
          <p:nvPr/>
        </p:nvGrpSpPr>
        <p:grpSpPr>
          <a:xfrm>
            <a:off x="-58356" y="1028700"/>
            <a:ext cx="9260712" cy="514350"/>
            <a:chOff x="-77788" y="1371600"/>
            <a:chExt cx="12344400" cy="685800"/>
          </a:xfrm>
        </p:grpSpPr>
        <p:sp>
          <p:nvSpPr>
            <p:cNvPr id="45" name="Rectangle 44"/>
            <p:cNvSpPr/>
            <p:nvPr/>
          </p:nvSpPr>
          <p:spPr bwMode="auto">
            <a:xfrm>
              <a:off x="-77788" y="1371600"/>
              <a:ext cx="12344400" cy="68580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grpSp>
          <p:nvGrpSpPr>
            <p:cNvPr id="20" name="Group 19"/>
            <p:cNvGrpSpPr/>
            <p:nvPr/>
          </p:nvGrpSpPr>
          <p:grpSpPr>
            <a:xfrm>
              <a:off x="760412" y="1480784"/>
              <a:ext cx="6363179" cy="520434"/>
              <a:chOff x="343922" y="2090693"/>
              <a:chExt cx="8482030" cy="693911"/>
            </a:xfrm>
          </p:grpSpPr>
          <p:sp>
            <p:nvSpPr>
              <p:cNvPr id="22" name="Rounded Rectangle 21"/>
              <p:cNvSpPr/>
              <p:nvPr/>
            </p:nvSpPr>
            <p:spPr bwMode="auto">
              <a:xfrm>
                <a:off x="2200423" y="2090693"/>
                <a:ext cx="6625529" cy="640616"/>
              </a:xfrm>
              <a:prstGeom prst="roundRect">
                <a:avLst>
                  <a:gd name="adj" fmla="val 9078"/>
                </a:avLst>
              </a:prstGeom>
              <a:noFill/>
              <a:ln w="12700" cap="flat" cmpd="sng" algn="ctr">
                <a:noFill/>
                <a:prstDash val="solid"/>
                <a:round/>
                <a:headEnd type="none" w="med" len="med"/>
                <a:tailEnd type="none" w="med" len="med"/>
              </a:ln>
              <a:effectLst/>
            </p:spPr>
            <p:txBody>
              <a:bodyPr vert="horz" wrap="square" lIns="91412" tIns="137119" rIns="91412" bIns="91412" numCol="1" rtlCol="0" anchor="ctr" anchorCtr="0" compatLnSpc="1">
                <a:prstTxWarp prst="textNoShape">
                  <a:avLst/>
                </a:prstTxWarp>
              </a:bodyPr>
              <a:lstStyle/>
              <a:p>
                <a:pPr marL="0" lvl="1" defTabSz="514253" fontAlgn="base">
                  <a:lnSpc>
                    <a:spcPct val="85000"/>
                  </a:lnSpc>
                  <a:spcBef>
                    <a:spcPct val="25000"/>
                  </a:spcBef>
                  <a:spcAft>
                    <a:spcPct val="0"/>
                  </a:spcAft>
                  <a:buClr>
                    <a:srgbClr val="F7AB3B"/>
                  </a:buClr>
                  <a:buSzPct val="95000"/>
                  <a:defRPr/>
                </a:pPr>
                <a:r>
                  <a:rPr lang="en-US" sz="1500" dirty="0" err="1">
                    <a:solidFill>
                      <a:prstClr val="white">
                        <a:alpha val="99000"/>
                      </a:prstClr>
                    </a:solidFill>
                    <a:latin typeface="Segoe Semibold" pitchFamily="34" charset="0"/>
                  </a:rPr>
                  <a:t>Consumerization</a:t>
                </a:r>
                <a:r>
                  <a:rPr lang="en-US" sz="1500" dirty="0">
                    <a:solidFill>
                      <a:prstClr val="white">
                        <a:alpha val="99000"/>
                      </a:prstClr>
                    </a:solidFill>
                    <a:latin typeface="Segoe Semibold" pitchFamily="34" charset="0"/>
                  </a:rPr>
                  <a:t> of IT</a:t>
                </a:r>
              </a:p>
            </p:txBody>
          </p:sp>
          <p:sp>
            <p:nvSpPr>
              <p:cNvPr id="23" name="Freeform 71"/>
              <p:cNvSpPr>
                <a:spLocks noChangeAspect="1" noEditPoints="1"/>
              </p:cNvSpPr>
              <p:nvPr/>
            </p:nvSpPr>
            <p:spPr bwMode="auto">
              <a:xfrm>
                <a:off x="343922" y="2240150"/>
                <a:ext cx="354902" cy="544454"/>
              </a:xfrm>
              <a:custGeom>
                <a:avLst/>
                <a:gdLst/>
                <a:ahLst/>
                <a:cxnLst>
                  <a:cxn ang="0">
                    <a:pos x="192" y="0"/>
                  </a:cxn>
                  <a:cxn ang="0">
                    <a:pos x="8" y="0"/>
                  </a:cxn>
                  <a:cxn ang="0">
                    <a:pos x="0" y="8"/>
                  </a:cxn>
                  <a:cxn ang="0">
                    <a:pos x="0" y="299"/>
                  </a:cxn>
                  <a:cxn ang="0">
                    <a:pos x="8" y="307"/>
                  </a:cxn>
                  <a:cxn ang="0">
                    <a:pos x="192" y="307"/>
                  </a:cxn>
                  <a:cxn ang="0">
                    <a:pos x="200" y="299"/>
                  </a:cxn>
                  <a:cxn ang="0">
                    <a:pos x="200" y="8"/>
                  </a:cxn>
                  <a:cxn ang="0">
                    <a:pos x="192" y="0"/>
                  </a:cxn>
                  <a:cxn ang="0">
                    <a:pos x="102" y="297"/>
                  </a:cxn>
                  <a:cxn ang="0">
                    <a:pos x="85" y="279"/>
                  </a:cxn>
                  <a:cxn ang="0">
                    <a:pos x="102" y="262"/>
                  </a:cxn>
                  <a:cxn ang="0">
                    <a:pos x="120" y="279"/>
                  </a:cxn>
                  <a:cxn ang="0">
                    <a:pos x="102" y="297"/>
                  </a:cxn>
                  <a:cxn ang="0">
                    <a:pos x="178" y="245"/>
                  </a:cxn>
                  <a:cxn ang="0">
                    <a:pos x="169" y="254"/>
                  </a:cxn>
                  <a:cxn ang="0">
                    <a:pos x="30" y="254"/>
                  </a:cxn>
                  <a:cxn ang="0">
                    <a:pos x="22" y="245"/>
                  </a:cxn>
                  <a:cxn ang="0">
                    <a:pos x="22" y="29"/>
                  </a:cxn>
                  <a:cxn ang="0">
                    <a:pos x="30" y="20"/>
                  </a:cxn>
                  <a:cxn ang="0">
                    <a:pos x="169" y="20"/>
                  </a:cxn>
                  <a:cxn ang="0">
                    <a:pos x="178" y="29"/>
                  </a:cxn>
                  <a:cxn ang="0">
                    <a:pos x="178" y="245"/>
                  </a:cxn>
                </a:cxnLst>
                <a:rect l="0" t="0" r="r" b="b"/>
                <a:pathLst>
                  <a:path w="200" h="307">
                    <a:moveTo>
                      <a:pt x="192" y="0"/>
                    </a:moveTo>
                    <a:cubicBezTo>
                      <a:pt x="8" y="0"/>
                      <a:pt x="8" y="0"/>
                      <a:pt x="8" y="0"/>
                    </a:cubicBezTo>
                    <a:cubicBezTo>
                      <a:pt x="4" y="0"/>
                      <a:pt x="0" y="3"/>
                      <a:pt x="0" y="8"/>
                    </a:cubicBezTo>
                    <a:cubicBezTo>
                      <a:pt x="0" y="299"/>
                      <a:pt x="0" y="299"/>
                      <a:pt x="0" y="299"/>
                    </a:cubicBezTo>
                    <a:cubicBezTo>
                      <a:pt x="0" y="304"/>
                      <a:pt x="4" y="307"/>
                      <a:pt x="8" y="307"/>
                    </a:cubicBezTo>
                    <a:cubicBezTo>
                      <a:pt x="192" y="307"/>
                      <a:pt x="192" y="307"/>
                      <a:pt x="192" y="307"/>
                    </a:cubicBezTo>
                    <a:cubicBezTo>
                      <a:pt x="197" y="307"/>
                      <a:pt x="200" y="304"/>
                      <a:pt x="200" y="299"/>
                    </a:cubicBezTo>
                    <a:cubicBezTo>
                      <a:pt x="200" y="8"/>
                      <a:pt x="200" y="8"/>
                      <a:pt x="200" y="8"/>
                    </a:cubicBezTo>
                    <a:cubicBezTo>
                      <a:pt x="200" y="3"/>
                      <a:pt x="197" y="0"/>
                      <a:pt x="192" y="0"/>
                    </a:cubicBezTo>
                    <a:close/>
                    <a:moveTo>
                      <a:pt x="102" y="297"/>
                    </a:moveTo>
                    <a:cubicBezTo>
                      <a:pt x="92" y="297"/>
                      <a:pt x="85" y="289"/>
                      <a:pt x="85" y="279"/>
                    </a:cubicBezTo>
                    <a:cubicBezTo>
                      <a:pt x="85" y="270"/>
                      <a:pt x="92" y="262"/>
                      <a:pt x="102" y="262"/>
                    </a:cubicBezTo>
                    <a:cubicBezTo>
                      <a:pt x="112" y="262"/>
                      <a:pt x="120" y="270"/>
                      <a:pt x="120" y="279"/>
                    </a:cubicBezTo>
                    <a:cubicBezTo>
                      <a:pt x="120" y="289"/>
                      <a:pt x="112" y="297"/>
                      <a:pt x="102" y="297"/>
                    </a:cubicBezTo>
                    <a:close/>
                    <a:moveTo>
                      <a:pt x="178" y="245"/>
                    </a:moveTo>
                    <a:cubicBezTo>
                      <a:pt x="178" y="250"/>
                      <a:pt x="174" y="254"/>
                      <a:pt x="169" y="254"/>
                    </a:cubicBezTo>
                    <a:cubicBezTo>
                      <a:pt x="30" y="254"/>
                      <a:pt x="30" y="254"/>
                      <a:pt x="30" y="254"/>
                    </a:cubicBezTo>
                    <a:cubicBezTo>
                      <a:pt x="26" y="254"/>
                      <a:pt x="22" y="250"/>
                      <a:pt x="22" y="245"/>
                    </a:cubicBezTo>
                    <a:cubicBezTo>
                      <a:pt x="22" y="29"/>
                      <a:pt x="22" y="29"/>
                      <a:pt x="22" y="29"/>
                    </a:cubicBezTo>
                    <a:cubicBezTo>
                      <a:pt x="22" y="24"/>
                      <a:pt x="26" y="20"/>
                      <a:pt x="30" y="20"/>
                    </a:cubicBezTo>
                    <a:cubicBezTo>
                      <a:pt x="169" y="20"/>
                      <a:pt x="169" y="20"/>
                      <a:pt x="169" y="20"/>
                    </a:cubicBezTo>
                    <a:cubicBezTo>
                      <a:pt x="174" y="20"/>
                      <a:pt x="178" y="24"/>
                      <a:pt x="178" y="29"/>
                    </a:cubicBezTo>
                    <a:lnTo>
                      <a:pt x="178" y="245"/>
                    </a:lnTo>
                    <a:close/>
                  </a:path>
                </a:pathLst>
              </a:custGeom>
              <a:solidFill>
                <a:schemeClr val="tx1"/>
              </a:solidFill>
              <a:extLst/>
            </p:spPr>
            <p:txBody>
              <a:bodyPr vert="horz" wrap="square" lIns="91440" tIns="45720" rIns="91440" bIns="45720" numCol="1" anchor="t" anchorCtr="0" compatLnSpc="1">
                <a:prstTxWarp prst="textNoShape">
                  <a:avLst/>
                </a:prstTxWarp>
              </a:bodyPr>
              <a:lstStyle/>
              <a:p>
                <a:endParaRPr lang="en-US" sz="2100" dirty="0">
                  <a:latin typeface="Segoe UI" pitchFamily="34" charset="0"/>
                </a:endParaRPr>
              </a:p>
            </p:txBody>
          </p:sp>
          <p:sp>
            <p:nvSpPr>
              <p:cNvPr id="24" name="Freeform 27"/>
              <p:cNvSpPr>
                <a:spLocks noChangeAspect="1" noEditPoints="1"/>
              </p:cNvSpPr>
              <p:nvPr/>
            </p:nvSpPr>
            <p:spPr bwMode="auto">
              <a:xfrm>
                <a:off x="770947" y="2121961"/>
                <a:ext cx="945930" cy="609345"/>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1440" tIns="45720" rIns="91440" bIns="45720" numCol="1" anchor="t" anchorCtr="0" compatLnSpc="1">
                <a:prstTxWarp prst="textNoShape">
                  <a:avLst/>
                </a:prstTxWarp>
              </a:bodyPr>
              <a:lstStyle/>
              <a:p>
                <a:endParaRPr lang="en-US" sz="2100" dirty="0">
                  <a:latin typeface="Segoe UI" pitchFamily="34" charset="0"/>
                </a:endParaRPr>
              </a:p>
            </p:txBody>
          </p:sp>
          <p:sp>
            <p:nvSpPr>
              <p:cNvPr id="25" name="Freeform 85"/>
              <p:cNvSpPr>
                <a:spLocks noChangeAspect="1" noEditPoints="1"/>
              </p:cNvSpPr>
              <p:nvPr/>
            </p:nvSpPr>
            <p:spPr bwMode="auto">
              <a:xfrm>
                <a:off x="1735807" y="2247370"/>
                <a:ext cx="297916" cy="537156"/>
              </a:xfrm>
              <a:custGeom>
                <a:avLst/>
                <a:gdLst/>
                <a:ahLst/>
                <a:cxnLst>
                  <a:cxn ang="0">
                    <a:pos x="187" y="0"/>
                  </a:cxn>
                  <a:cxn ang="0">
                    <a:pos x="55" y="0"/>
                  </a:cxn>
                  <a:cxn ang="0">
                    <a:pos x="0" y="31"/>
                  </a:cxn>
                  <a:cxn ang="0">
                    <a:pos x="0" y="283"/>
                  </a:cxn>
                  <a:cxn ang="0">
                    <a:pos x="55" y="314"/>
                  </a:cxn>
                  <a:cxn ang="0">
                    <a:pos x="187" y="314"/>
                  </a:cxn>
                  <a:cxn ang="0">
                    <a:pos x="242" y="283"/>
                  </a:cxn>
                  <a:cxn ang="0">
                    <a:pos x="242" y="31"/>
                  </a:cxn>
                  <a:cxn ang="0">
                    <a:pos x="187" y="0"/>
                  </a:cxn>
                  <a:cxn ang="0">
                    <a:pos x="126" y="283"/>
                  </a:cxn>
                  <a:cxn ang="0">
                    <a:pos x="97" y="254"/>
                  </a:cxn>
                  <a:cxn ang="0">
                    <a:pos x="126" y="225"/>
                  </a:cxn>
                  <a:cxn ang="0">
                    <a:pos x="155" y="254"/>
                  </a:cxn>
                  <a:cxn ang="0">
                    <a:pos x="126" y="283"/>
                  </a:cxn>
                  <a:cxn ang="0">
                    <a:pos x="221" y="161"/>
                  </a:cxn>
                  <a:cxn ang="0">
                    <a:pos x="215" y="167"/>
                  </a:cxn>
                  <a:cxn ang="0">
                    <a:pos x="26" y="167"/>
                  </a:cxn>
                  <a:cxn ang="0">
                    <a:pos x="21" y="161"/>
                  </a:cxn>
                  <a:cxn ang="0">
                    <a:pos x="21" y="31"/>
                  </a:cxn>
                  <a:cxn ang="0">
                    <a:pos x="26" y="25"/>
                  </a:cxn>
                  <a:cxn ang="0">
                    <a:pos x="215" y="25"/>
                  </a:cxn>
                  <a:cxn ang="0">
                    <a:pos x="221" y="31"/>
                  </a:cxn>
                  <a:cxn ang="0">
                    <a:pos x="221" y="161"/>
                  </a:cxn>
                </a:cxnLst>
                <a:rect l="0" t="0" r="r" b="b"/>
                <a:pathLst>
                  <a:path w="242" h="314">
                    <a:moveTo>
                      <a:pt x="187" y="0"/>
                    </a:moveTo>
                    <a:cubicBezTo>
                      <a:pt x="55" y="0"/>
                      <a:pt x="55" y="0"/>
                      <a:pt x="55" y="0"/>
                    </a:cubicBezTo>
                    <a:cubicBezTo>
                      <a:pt x="25" y="0"/>
                      <a:pt x="0" y="1"/>
                      <a:pt x="0" y="31"/>
                    </a:cubicBezTo>
                    <a:cubicBezTo>
                      <a:pt x="0" y="283"/>
                      <a:pt x="0" y="283"/>
                      <a:pt x="0" y="283"/>
                    </a:cubicBezTo>
                    <a:cubicBezTo>
                      <a:pt x="0" y="313"/>
                      <a:pt x="25" y="314"/>
                      <a:pt x="55" y="314"/>
                    </a:cubicBezTo>
                    <a:cubicBezTo>
                      <a:pt x="187" y="314"/>
                      <a:pt x="187" y="314"/>
                      <a:pt x="187" y="314"/>
                    </a:cubicBezTo>
                    <a:cubicBezTo>
                      <a:pt x="217" y="314"/>
                      <a:pt x="242" y="313"/>
                      <a:pt x="242" y="283"/>
                    </a:cubicBezTo>
                    <a:cubicBezTo>
                      <a:pt x="242" y="31"/>
                      <a:pt x="242" y="31"/>
                      <a:pt x="242" y="31"/>
                    </a:cubicBezTo>
                    <a:cubicBezTo>
                      <a:pt x="242" y="1"/>
                      <a:pt x="217" y="0"/>
                      <a:pt x="187" y="0"/>
                    </a:cubicBezTo>
                    <a:close/>
                    <a:moveTo>
                      <a:pt x="126" y="283"/>
                    </a:moveTo>
                    <a:cubicBezTo>
                      <a:pt x="110" y="283"/>
                      <a:pt x="97" y="270"/>
                      <a:pt x="97" y="254"/>
                    </a:cubicBezTo>
                    <a:cubicBezTo>
                      <a:pt x="97" y="238"/>
                      <a:pt x="110" y="225"/>
                      <a:pt x="126" y="225"/>
                    </a:cubicBezTo>
                    <a:cubicBezTo>
                      <a:pt x="142" y="225"/>
                      <a:pt x="155" y="238"/>
                      <a:pt x="155" y="254"/>
                    </a:cubicBezTo>
                    <a:cubicBezTo>
                      <a:pt x="155" y="270"/>
                      <a:pt x="142" y="283"/>
                      <a:pt x="126" y="283"/>
                    </a:cubicBezTo>
                    <a:close/>
                    <a:moveTo>
                      <a:pt x="221" y="161"/>
                    </a:moveTo>
                    <a:cubicBezTo>
                      <a:pt x="221" y="165"/>
                      <a:pt x="218" y="167"/>
                      <a:pt x="215" y="167"/>
                    </a:cubicBezTo>
                    <a:cubicBezTo>
                      <a:pt x="26" y="167"/>
                      <a:pt x="26" y="167"/>
                      <a:pt x="26" y="167"/>
                    </a:cubicBezTo>
                    <a:cubicBezTo>
                      <a:pt x="23" y="167"/>
                      <a:pt x="21" y="165"/>
                      <a:pt x="21" y="161"/>
                    </a:cubicBezTo>
                    <a:cubicBezTo>
                      <a:pt x="21" y="31"/>
                      <a:pt x="21" y="31"/>
                      <a:pt x="21" y="31"/>
                    </a:cubicBezTo>
                    <a:cubicBezTo>
                      <a:pt x="21" y="28"/>
                      <a:pt x="23" y="25"/>
                      <a:pt x="26" y="25"/>
                    </a:cubicBezTo>
                    <a:cubicBezTo>
                      <a:pt x="215" y="25"/>
                      <a:pt x="215" y="25"/>
                      <a:pt x="215" y="25"/>
                    </a:cubicBezTo>
                    <a:cubicBezTo>
                      <a:pt x="218" y="25"/>
                      <a:pt x="221" y="28"/>
                      <a:pt x="221" y="31"/>
                    </a:cubicBezTo>
                    <a:lnTo>
                      <a:pt x="221" y="161"/>
                    </a:lnTo>
                    <a:close/>
                  </a:path>
                </a:pathLst>
              </a:custGeom>
              <a:solidFill>
                <a:srgbClr val="FFFEFA"/>
              </a:solidFill>
              <a:extLst/>
            </p:spPr>
            <p:txBody>
              <a:bodyPr vert="horz" wrap="square" lIns="91440" tIns="45720" rIns="91440" bIns="45720" numCol="1" anchor="t" anchorCtr="0" compatLnSpc="1">
                <a:prstTxWarp prst="textNoShape">
                  <a:avLst/>
                </a:prstTxWarp>
              </a:bodyPr>
              <a:lstStyle/>
              <a:p>
                <a:endParaRPr lang="en-US" sz="2100" dirty="0">
                  <a:latin typeface="Segoe UI" pitchFamily="34" charset="0"/>
                </a:endParaRPr>
              </a:p>
            </p:txBody>
          </p:sp>
        </p:grpSp>
      </p:grpSp>
      <p:sp>
        <p:nvSpPr>
          <p:cNvPr id="30"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1"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pic>
        <p:nvPicPr>
          <p:cNvPr id="32"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423101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50"/>
                                        </p:tgtEl>
                                        <p:attrNameLst>
                                          <p:attrName>style.visibility</p:attrName>
                                        </p:attrNameLst>
                                      </p:cBhvr>
                                      <p:to>
                                        <p:strVal val="visible"/>
                                      </p:to>
                                    </p:set>
                                    <p:anim calcmode="lin" valueType="num">
                                      <p:cBhvr additive="base">
                                        <p:cTn id="7" dur="500" fill="hold"/>
                                        <p:tgtEl>
                                          <p:spTgt spid="50"/>
                                        </p:tgtEl>
                                        <p:attrNameLst>
                                          <p:attrName>ppt_x</p:attrName>
                                        </p:attrNameLst>
                                      </p:cBhvr>
                                      <p:tavLst>
                                        <p:tav tm="0">
                                          <p:val>
                                            <p:strVal val="1+#ppt_w/2"/>
                                          </p:val>
                                        </p:tav>
                                        <p:tav tm="100000">
                                          <p:val>
                                            <p:strVal val="#ppt_x"/>
                                          </p:val>
                                        </p:tav>
                                      </p:tavLst>
                                    </p:anim>
                                    <p:anim calcmode="lin" valueType="num">
                                      <p:cBhvr additive="base">
                                        <p:cTn id="8" dur="500" fill="hold"/>
                                        <p:tgtEl>
                                          <p:spTgt spid="5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fill="hold" nodeType="afterEffect">
                                  <p:stCondLst>
                                    <p:cond delay="0"/>
                                  </p:stCondLst>
                                  <p:childTnLst>
                                    <p:set>
                                      <p:cBhvr>
                                        <p:cTn id="11" dur="1" fill="hold">
                                          <p:stCondLst>
                                            <p:cond delay="0"/>
                                          </p:stCondLst>
                                        </p:cTn>
                                        <p:tgtEl>
                                          <p:spTgt spid="51"/>
                                        </p:tgtEl>
                                        <p:attrNameLst>
                                          <p:attrName>style.visibility</p:attrName>
                                        </p:attrNameLst>
                                      </p:cBhvr>
                                      <p:to>
                                        <p:strVal val="visible"/>
                                      </p:to>
                                    </p:set>
                                    <p:anim calcmode="lin" valueType="num">
                                      <p:cBhvr additive="base">
                                        <p:cTn id="12" dur="500" fill="hold"/>
                                        <p:tgtEl>
                                          <p:spTgt spid="51"/>
                                        </p:tgtEl>
                                        <p:attrNameLst>
                                          <p:attrName>ppt_x</p:attrName>
                                        </p:attrNameLst>
                                      </p:cBhvr>
                                      <p:tavLst>
                                        <p:tav tm="0">
                                          <p:val>
                                            <p:strVal val="1+#ppt_w/2"/>
                                          </p:val>
                                        </p:tav>
                                        <p:tav tm="100000">
                                          <p:val>
                                            <p:strVal val="#ppt_x"/>
                                          </p:val>
                                        </p:tav>
                                      </p:tavLst>
                                    </p:anim>
                                    <p:anim calcmode="lin" valueType="num">
                                      <p:cBhvr additive="base">
                                        <p:cTn id="13" dur="500" fill="hold"/>
                                        <p:tgtEl>
                                          <p:spTgt spid="51"/>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2" fill="hold" nodeType="afterEffect">
                                  <p:stCondLst>
                                    <p:cond delay="0"/>
                                  </p:stCondLst>
                                  <p:childTnLst>
                                    <p:set>
                                      <p:cBhvr>
                                        <p:cTn id="16" dur="1" fill="hold">
                                          <p:stCondLst>
                                            <p:cond delay="0"/>
                                          </p:stCondLst>
                                        </p:cTn>
                                        <p:tgtEl>
                                          <p:spTgt spid="52"/>
                                        </p:tgtEl>
                                        <p:attrNameLst>
                                          <p:attrName>style.visibility</p:attrName>
                                        </p:attrNameLst>
                                      </p:cBhvr>
                                      <p:to>
                                        <p:strVal val="visible"/>
                                      </p:to>
                                    </p:set>
                                    <p:anim calcmode="lin" valueType="num">
                                      <p:cBhvr additive="base">
                                        <p:cTn id="17" dur="500" fill="hold"/>
                                        <p:tgtEl>
                                          <p:spTgt spid="52"/>
                                        </p:tgtEl>
                                        <p:attrNameLst>
                                          <p:attrName>ppt_x</p:attrName>
                                        </p:attrNameLst>
                                      </p:cBhvr>
                                      <p:tavLst>
                                        <p:tav tm="0">
                                          <p:val>
                                            <p:strVal val="1+#ppt_w/2"/>
                                          </p:val>
                                        </p:tav>
                                        <p:tav tm="100000">
                                          <p:val>
                                            <p:strVal val="#ppt_x"/>
                                          </p:val>
                                        </p:tav>
                                      </p:tavLst>
                                    </p:anim>
                                    <p:anim calcmode="lin" valueType="num">
                                      <p:cBhvr additive="base">
                                        <p:cTn id="18" dur="500" fill="hold"/>
                                        <p:tgtEl>
                                          <p:spTgt spid="52"/>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2" fill="hold" nodeType="afterEffect">
                                  <p:stCondLst>
                                    <p:cond delay="0"/>
                                  </p:stCondLst>
                                  <p:childTnLst>
                                    <p:set>
                                      <p:cBhvr>
                                        <p:cTn id="21" dur="1" fill="hold">
                                          <p:stCondLst>
                                            <p:cond delay="0"/>
                                          </p:stCondLst>
                                        </p:cTn>
                                        <p:tgtEl>
                                          <p:spTgt spid="53"/>
                                        </p:tgtEl>
                                        <p:attrNameLst>
                                          <p:attrName>style.visibility</p:attrName>
                                        </p:attrNameLst>
                                      </p:cBhvr>
                                      <p:to>
                                        <p:strVal val="visible"/>
                                      </p:to>
                                    </p:set>
                                    <p:anim calcmode="lin" valueType="num">
                                      <p:cBhvr additive="base">
                                        <p:cTn id="22" dur="500" fill="hold"/>
                                        <p:tgtEl>
                                          <p:spTgt spid="53"/>
                                        </p:tgtEl>
                                        <p:attrNameLst>
                                          <p:attrName>ppt_x</p:attrName>
                                        </p:attrNameLst>
                                      </p:cBhvr>
                                      <p:tavLst>
                                        <p:tav tm="0">
                                          <p:val>
                                            <p:strVal val="1+#ppt_w/2"/>
                                          </p:val>
                                        </p:tav>
                                        <p:tav tm="100000">
                                          <p:val>
                                            <p:strVal val="#ppt_x"/>
                                          </p:val>
                                        </p:tav>
                                      </p:tavLst>
                                    </p:anim>
                                    <p:anim calcmode="lin" valueType="num">
                                      <p:cBhvr additive="base">
                                        <p:cTn id="23" dur="500" fill="hold"/>
                                        <p:tgtEl>
                                          <p:spTgt spid="53"/>
                                        </p:tgtEl>
                                        <p:attrNameLst>
                                          <p:attrName>ppt_y</p:attrName>
                                        </p:attrNameLst>
                                      </p:cBhvr>
                                      <p:tavLst>
                                        <p:tav tm="0">
                                          <p:val>
                                            <p:strVal val="#ppt_y"/>
                                          </p:val>
                                        </p:tav>
                                        <p:tav tm="100000">
                                          <p:val>
                                            <p:strVal val="#ppt_y"/>
                                          </p:val>
                                        </p:tav>
                                      </p:tavLst>
                                    </p:anim>
                                  </p:childTnLst>
                                </p:cTn>
                              </p:par>
                            </p:childTnLst>
                          </p:cTn>
                        </p:par>
                        <p:par>
                          <p:cTn id="24" fill="hold">
                            <p:stCondLst>
                              <p:cond delay="2000"/>
                            </p:stCondLst>
                            <p:childTnLst>
                              <p:par>
                                <p:cTn id="25" presetID="2" presetClass="entr" presetSubtype="2" fill="hold" nodeType="afterEffect">
                                  <p:stCondLst>
                                    <p:cond delay="0"/>
                                  </p:stCondLst>
                                  <p:childTnLst>
                                    <p:set>
                                      <p:cBhvr>
                                        <p:cTn id="26" dur="1" fill="hold">
                                          <p:stCondLst>
                                            <p:cond delay="0"/>
                                          </p:stCondLst>
                                        </p:cTn>
                                        <p:tgtEl>
                                          <p:spTgt spid="54"/>
                                        </p:tgtEl>
                                        <p:attrNameLst>
                                          <p:attrName>style.visibility</p:attrName>
                                        </p:attrNameLst>
                                      </p:cBhvr>
                                      <p:to>
                                        <p:strVal val="visible"/>
                                      </p:to>
                                    </p:set>
                                    <p:anim calcmode="lin" valueType="num">
                                      <p:cBhvr additive="base">
                                        <p:cTn id="27" dur="500" fill="hold"/>
                                        <p:tgtEl>
                                          <p:spTgt spid="54"/>
                                        </p:tgtEl>
                                        <p:attrNameLst>
                                          <p:attrName>ppt_x</p:attrName>
                                        </p:attrNameLst>
                                      </p:cBhvr>
                                      <p:tavLst>
                                        <p:tav tm="0">
                                          <p:val>
                                            <p:strVal val="1+#ppt_w/2"/>
                                          </p:val>
                                        </p:tav>
                                        <p:tav tm="100000">
                                          <p:val>
                                            <p:strVal val="#ppt_x"/>
                                          </p:val>
                                        </p:tav>
                                      </p:tavLst>
                                    </p:anim>
                                    <p:anim calcmode="lin" valueType="num">
                                      <p:cBhvr additive="base">
                                        <p:cTn id="28" dur="500" fill="hold"/>
                                        <p:tgtEl>
                                          <p:spTgt spid="5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rPr>
              <a:t>Information Protection</a:t>
            </a:r>
            <a:endParaRPr lang="en-US" dirty="0">
              <a:solidFill>
                <a:schemeClr val="tx1"/>
              </a:solidFill>
            </a:endParaRPr>
          </a:p>
        </p:txBody>
      </p:sp>
      <p:sp>
        <p:nvSpPr>
          <p:cNvPr id="3" name="Rectangle 5"/>
          <p:cNvSpPr>
            <a:spLocks noChangeArrowheads="1"/>
          </p:cNvSpPr>
          <p:nvPr/>
        </p:nvSpPr>
        <p:spPr bwMode="auto">
          <a:xfrm>
            <a:off x="523875" y="904877"/>
            <a:ext cx="8096250" cy="776883"/>
          </a:xfrm>
          <a:prstGeom prst="rect">
            <a:avLst/>
          </a:prstGeom>
          <a:solidFill>
            <a:schemeClr val="accent6"/>
          </a:solidFill>
          <a:ln w="9525">
            <a:noFill/>
            <a:miter lim="800000"/>
            <a:headEnd/>
            <a:tailEnd/>
          </a:ln>
        </p:spPr>
        <p:txBody>
          <a:bodyPr lIns="114272" tIns="28569" rIns="114272" bIns="28569" anchor="ctr"/>
          <a:lstStyle/>
          <a:p>
            <a:pPr algn="ctr" defTabSz="816418"/>
            <a:r>
              <a:rPr lang="en-US" sz="1800" dirty="0">
                <a:latin typeface="Segoe" charset="0"/>
              </a:rPr>
              <a:t>Discover, protect and manage confidential data throughout your business with a comprehensive solution integrated into the platform and applications</a:t>
            </a:r>
            <a:endParaRPr lang="en-US" sz="1800" dirty="0"/>
          </a:p>
        </p:txBody>
      </p:sp>
      <p:sp>
        <p:nvSpPr>
          <p:cNvPr id="5" name="Rectangle 5"/>
          <p:cNvSpPr>
            <a:spLocks noChangeArrowheads="1"/>
          </p:cNvSpPr>
          <p:nvPr/>
        </p:nvSpPr>
        <p:spPr bwMode="auto">
          <a:xfrm>
            <a:off x="523875" y="1809752"/>
            <a:ext cx="2476500" cy="2905125"/>
          </a:xfrm>
          <a:prstGeom prst="rect">
            <a:avLst/>
          </a:prstGeom>
          <a:solidFill>
            <a:schemeClr val="bg1"/>
          </a:solidFill>
          <a:ln w="9525">
            <a:noFill/>
            <a:miter lim="800000"/>
            <a:headEnd/>
            <a:tailEnd/>
          </a:ln>
        </p:spPr>
        <p:txBody>
          <a:bodyPr lIns="114272" tIns="28569" rIns="114272" bIns="28569" anchor="ctr"/>
          <a:lstStyle/>
          <a:p>
            <a:pPr marL="143841" lvl="1" indent="-143841" defTabSz="571204" fontAlgn="base">
              <a:spcBef>
                <a:spcPts val="375"/>
              </a:spcBef>
              <a:spcAft>
                <a:spcPts val="375"/>
              </a:spcAft>
              <a:buClr>
                <a:schemeClr val="tx2">
                  <a:lumMod val="75000"/>
                  <a:lumOff val="25000"/>
                </a:schemeClr>
              </a:buClr>
              <a:buSzPct val="120000"/>
              <a:buFont typeface="Arial" pitchFamily="34" charset="0"/>
              <a:buChar char="•"/>
              <a:defRPr/>
            </a:pPr>
            <a:endParaRPr lang="en-US" sz="900" dirty="0">
              <a:latin typeface="Segoe" charset="0"/>
            </a:endParaRPr>
          </a:p>
          <a:p>
            <a:pPr marL="143841" lvl="1" indent="-143841" defTabSz="571204" fontAlgn="base">
              <a:spcBef>
                <a:spcPts val="375"/>
              </a:spcBef>
              <a:spcAft>
                <a:spcPts val="375"/>
              </a:spcAft>
              <a:buClr>
                <a:schemeClr val="tx2">
                  <a:lumMod val="75000"/>
                  <a:lumOff val="25000"/>
                </a:schemeClr>
              </a:buClr>
              <a:buSzPct val="120000"/>
              <a:buFont typeface="Arial" pitchFamily="34" charset="0"/>
              <a:buChar char="•"/>
              <a:defRPr/>
            </a:pPr>
            <a:endParaRPr lang="en-US" sz="900" dirty="0">
              <a:latin typeface="Segoe" charset="0"/>
            </a:endParaRPr>
          </a:p>
          <a:p>
            <a:pPr marL="143841" lvl="1" indent="-143841" defTabSz="571204" fontAlgn="base">
              <a:spcBef>
                <a:spcPts val="375"/>
              </a:spcBef>
              <a:spcAft>
                <a:spcPts val="375"/>
              </a:spcAft>
              <a:buClr>
                <a:schemeClr val="tx2">
                  <a:lumMod val="75000"/>
                  <a:lumOff val="25000"/>
                </a:schemeClr>
              </a:buClr>
              <a:buSzPct val="120000"/>
              <a:buFont typeface="Arial" pitchFamily="34" charset="0"/>
              <a:buChar char="•"/>
              <a:defRPr/>
            </a:pPr>
            <a:endParaRPr lang="en-US" sz="900" dirty="0">
              <a:latin typeface="Segoe" charset="0"/>
            </a:endParaRPr>
          </a:p>
          <a:p>
            <a:pPr marL="143841" lvl="1" indent="-143841" defTabSz="571204" fontAlgn="base">
              <a:spcBef>
                <a:spcPts val="375"/>
              </a:spcBef>
              <a:spcAft>
                <a:spcPts val="375"/>
              </a:spcAft>
              <a:buClr>
                <a:schemeClr val="tx2">
                  <a:lumMod val="75000"/>
                  <a:lumOff val="25000"/>
                </a:schemeClr>
              </a:buClr>
              <a:buSzPct val="120000"/>
              <a:buFont typeface="Arial" pitchFamily="34" charset="0"/>
              <a:buChar char="•"/>
              <a:defRPr/>
            </a:pPr>
            <a:endParaRPr lang="en-US" sz="900" dirty="0">
              <a:latin typeface="Segoe" charset="0"/>
            </a:endParaRPr>
          </a:p>
          <a:p>
            <a:pPr marL="143841" lvl="1" indent="-143841" defTabSz="571204" fontAlgn="base">
              <a:spcBef>
                <a:spcPts val="375"/>
              </a:spcBef>
              <a:spcAft>
                <a:spcPts val="375"/>
              </a:spcAft>
              <a:buClr>
                <a:schemeClr val="tx2">
                  <a:lumMod val="75000"/>
                  <a:lumOff val="25000"/>
                </a:schemeClr>
              </a:buClr>
              <a:buSzPct val="120000"/>
              <a:buFont typeface="Arial" pitchFamily="34" charset="0"/>
              <a:buChar char="•"/>
              <a:defRPr/>
            </a:pPr>
            <a:endParaRPr lang="en-US" sz="900" dirty="0">
              <a:latin typeface="Segoe" charset="0"/>
            </a:endParaRPr>
          </a:p>
          <a:p>
            <a:pPr marL="143841" lvl="1" indent="-143841" defTabSz="571204" fontAlgn="base">
              <a:spcBef>
                <a:spcPts val="375"/>
              </a:spcBef>
              <a:spcAft>
                <a:spcPts val="375"/>
              </a:spcAft>
              <a:buClr>
                <a:schemeClr val="tx2">
                  <a:lumMod val="75000"/>
                  <a:lumOff val="25000"/>
                </a:schemeClr>
              </a:buClr>
              <a:buSzPct val="120000"/>
              <a:buFont typeface="Arial" pitchFamily="34" charset="0"/>
              <a:buChar char="•"/>
              <a:defRPr/>
            </a:pPr>
            <a:endParaRPr lang="en-US" sz="1100" dirty="0">
              <a:latin typeface="Segoe UI" pitchFamily="34" charset="0"/>
              <a:ea typeface="Segoe UI" pitchFamily="34" charset="0"/>
              <a:cs typeface="Segoe UI" pitchFamily="34" charset="0"/>
            </a:endParaRPr>
          </a:p>
          <a:p>
            <a:pPr marL="181536" lvl="1" indent="-181536" defTabSz="571204" fontAlgn="base">
              <a:spcBef>
                <a:spcPts val="375"/>
              </a:spcBef>
              <a:spcAft>
                <a:spcPts val="375"/>
              </a:spcAft>
              <a:buClr>
                <a:schemeClr val="bg2"/>
              </a:buClr>
              <a:buSzPct val="120000"/>
              <a:buFont typeface="Arial" pitchFamily="34" charset="0"/>
              <a:buChar char="•"/>
              <a:defRPr/>
            </a:pPr>
            <a:r>
              <a:rPr lang="en-US" sz="1100" dirty="0">
                <a:latin typeface="Segoe UI" pitchFamily="34" charset="0"/>
                <a:ea typeface="Segoe UI" pitchFamily="34" charset="0"/>
                <a:cs typeface="Segoe UI" pitchFamily="34" charset="0"/>
              </a:rPr>
              <a:t>Protect critical data wherever it goes</a:t>
            </a:r>
          </a:p>
          <a:p>
            <a:pPr marL="178560" lvl="1" indent="-178560" defTabSz="571204" fontAlgn="base">
              <a:spcBef>
                <a:spcPts val="375"/>
              </a:spcBef>
              <a:spcAft>
                <a:spcPts val="375"/>
              </a:spcAft>
              <a:buClr>
                <a:schemeClr val="bg2"/>
              </a:buClr>
              <a:buSzPct val="120000"/>
              <a:buFont typeface="Arial" pitchFamily="34" charset="0"/>
              <a:buChar char="•"/>
              <a:defRPr/>
            </a:pPr>
            <a:r>
              <a:rPr lang="en-US" sz="1100" dirty="0">
                <a:latin typeface="Segoe UI" pitchFamily="34" charset="0"/>
                <a:ea typeface="Segoe UI" pitchFamily="34" charset="0"/>
                <a:cs typeface="Segoe UI" pitchFamily="34" charset="0"/>
              </a:rPr>
              <a:t>Protect data wherever</a:t>
            </a:r>
            <a:br>
              <a:rPr lang="en-US" sz="1100" dirty="0">
                <a:latin typeface="Segoe UI" pitchFamily="34" charset="0"/>
                <a:ea typeface="Segoe UI" pitchFamily="34" charset="0"/>
                <a:cs typeface="Segoe UI" pitchFamily="34" charset="0"/>
              </a:rPr>
            </a:br>
            <a:r>
              <a:rPr lang="en-US" sz="1100" dirty="0">
                <a:latin typeface="Segoe UI" pitchFamily="34" charset="0"/>
                <a:ea typeface="Segoe UI" pitchFamily="34" charset="0"/>
                <a:cs typeface="Segoe UI" pitchFamily="34" charset="0"/>
              </a:rPr>
              <a:t>it resides</a:t>
            </a:r>
          </a:p>
          <a:p>
            <a:pPr marL="178560" lvl="1" indent="-178560" defTabSz="571204" fontAlgn="base">
              <a:spcBef>
                <a:spcPts val="375"/>
              </a:spcBef>
              <a:spcAft>
                <a:spcPts val="375"/>
              </a:spcAft>
              <a:buClr>
                <a:schemeClr val="bg2"/>
              </a:buClr>
              <a:buSzPct val="120000"/>
              <a:buFont typeface="Arial" pitchFamily="34" charset="0"/>
              <a:buChar char="•"/>
              <a:defRPr/>
            </a:pPr>
            <a:r>
              <a:rPr lang="en-US" sz="1100" dirty="0">
                <a:latin typeface="Segoe UI" pitchFamily="34" charset="0"/>
                <a:ea typeface="Segoe UI" pitchFamily="34" charset="0"/>
                <a:cs typeface="Segoe UI" pitchFamily="34" charset="0"/>
              </a:rPr>
              <a:t>Secure endpoints </a:t>
            </a:r>
            <a:br>
              <a:rPr lang="en-US" sz="1100" dirty="0">
                <a:latin typeface="Segoe UI" pitchFamily="34" charset="0"/>
                <a:ea typeface="Segoe UI" pitchFamily="34" charset="0"/>
                <a:cs typeface="Segoe UI" pitchFamily="34" charset="0"/>
              </a:rPr>
            </a:br>
            <a:r>
              <a:rPr lang="en-US" sz="1100" dirty="0">
                <a:latin typeface="Segoe UI" pitchFamily="34" charset="0"/>
                <a:ea typeface="Segoe UI" pitchFamily="34" charset="0"/>
                <a:cs typeface="Segoe UI" pitchFamily="34" charset="0"/>
              </a:rPr>
              <a:t>to reduce risk</a:t>
            </a:r>
          </a:p>
        </p:txBody>
      </p:sp>
      <p:sp>
        <p:nvSpPr>
          <p:cNvPr id="6" name="Rectangle 53"/>
          <p:cNvSpPr>
            <a:spLocks noChangeArrowheads="1"/>
          </p:cNvSpPr>
          <p:nvPr/>
        </p:nvSpPr>
        <p:spPr bwMode="auto">
          <a:xfrm>
            <a:off x="523875" y="1809752"/>
            <a:ext cx="2476500" cy="809625"/>
          </a:xfrm>
          <a:prstGeom prst="rect">
            <a:avLst/>
          </a:prstGeom>
          <a:solidFill>
            <a:schemeClr val="bg1"/>
          </a:solidFill>
          <a:ln w="9525">
            <a:noFill/>
            <a:miter lim="800000"/>
            <a:headEnd/>
            <a:tailEnd/>
          </a:ln>
        </p:spPr>
        <p:txBody>
          <a:bodyPr wrap="none" lIns="57140" tIns="28570" rIns="57140" bIns="28570" anchor="ctr"/>
          <a:lstStyle/>
          <a:p>
            <a:pPr algn="ctr"/>
            <a:r>
              <a:rPr lang="en-US" dirty="0" smtClean="0"/>
              <a:t>Protect everywhere,</a:t>
            </a:r>
          </a:p>
          <a:p>
            <a:pPr algn="ctr"/>
            <a:r>
              <a:rPr lang="en-US" dirty="0"/>
              <a:t>a</a:t>
            </a:r>
            <a:r>
              <a:rPr lang="en-US" dirty="0" smtClean="0"/>
              <a:t>ccess anywhere</a:t>
            </a:r>
            <a:endParaRPr lang="en-US" dirty="0"/>
          </a:p>
        </p:txBody>
      </p:sp>
      <p:sp>
        <p:nvSpPr>
          <p:cNvPr id="7" name="Rectangle 5"/>
          <p:cNvSpPr>
            <a:spLocks noChangeArrowheads="1"/>
          </p:cNvSpPr>
          <p:nvPr/>
        </p:nvSpPr>
        <p:spPr bwMode="auto">
          <a:xfrm>
            <a:off x="6143625" y="1809752"/>
            <a:ext cx="2476500" cy="2905125"/>
          </a:xfrm>
          <a:prstGeom prst="rect">
            <a:avLst/>
          </a:prstGeom>
          <a:solidFill>
            <a:schemeClr val="bg1"/>
          </a:solidFill>
          <a:ln w="9525">
            <a:noFill/>
            <a:miter lim="800000"/>
            <a:headEnd/>
            <a:tailEnd/>
          </a:ln>
        </p:spPr>
        <p:txBody>
          <a:bodyPr lIns="114272" tIns="28569" rIns="114272" bIns="28569" anchor="ctr"/>
          <a:lstStyle/>
          <a:p>
            <a:pPr marL="181536" lvl="1" indent="-181536" defTabSz="571204" fontAlgn="base">
              <a:spcBef>
                <a:spcPts val="375"/>
              </a:spcBef>
              <a:spcAft>
                <a:spcPts val="375"/>
              </a:spcAft>
              <a:buClr>
                <a:schemeClr val="bg2"/>
              </a:buClr>
              <a:buSzPct val="120000"/>
              <a:buFont typeface="Arial" pitchFamily="34" charset="0"/>
              <a:buChar char="•"/>
              <a:defRPr/>
            </a:pPr>
            <a:endParaRPr lang="en-US" sz="1100" dirty="0">
              <a:latin typeface="Segoe UI" pitchFamily="34" charset="0"/>
              <a:ea typeface="Segoe UI" pitchFamily="34" charset="0"/>
              <a:cs typeface="Segoe UI" pitchFamily="34" charset="0"/>
            </a:endParaRPr>
          </a:p>
          <a:p>
            <a:pPr marL="181536" lvl="1" indent="-181536" defTabSz="571204" fontAlgn="base">
              <a:spcBef>
                <a:spcPts val="375"/>
              </a:spcBef>
              <a:spcAft>
                <a:spcPts val="375"/>
              </a:spcAft>
              <a:buClr>
                <a:schemeClr val="bg2"/>
              </a:buClr>
              <a:buSzPct val="120000"/>
              <a:buFont typeface="Arial" pitchFamily="34" charset="0"/>
              <a:buChar char="•"/>
              <a:defRPr/>
            </a:pPr>
            <a:endParaRPr lang="en-US" sz="1100" dirty="0">
              <a:latin typeface="Segoe UI" pitchFamily="34" charset="0"/>
              <a:ea typeface="Segoe UI" pitchFamily="34" charset="0"/>
              <a:cs typeface="Segoe UI" pitchFamily="34" charset="0"/>
            </a:endParaRPr>
          </a:p>
          <a:p>
            <a:pPr marL="181536" lvl="1" indent="-181536" defTabSz="571204" fontAlgn="base">
              <a:spcBef>
                <a:spcPts val="375"/>
              </a:spcBef>
              <a:spcAft>
                <a:spcPts val="375"/>
              </a:spcAft>
              <a:buClr>
                <a:schemeClr val="bg2"/>
              </a:buClr>
              <a:buSzPct val="120000"/>
              <a:buFont typeface="Arial" pitchFamily="34" charset="0"/>
              <a:buChar char="•"/>
              <a:defRPr/>
            </a:pPr>
            <a:endParaRPr lang="en-US" sz="1100" dirty="0">
              <a:latin typeface="Segoe UI" pitchFamily="34" charset="0"/>
              <a:ea typeface="Segoe UI" pitchFamily="34" charset="0"/>
              <a:cs typeface="Segoe UI" pitchFamily="34" charset="0"/>
            </a:endParaRPr>
          </a:p>
          <a:p>
            <a:pPr marL="181536" lvl="1" indent="-181536" defTabSz="571204" fontAlgn="base">
              <a:spcBef>
                <a:spcPts val="375"/>
              </a:spcBef>
              <a:spcAft>
                <a:spcPts val="375"/>
              </a:spcAft>
              <a:buClr>
                <a:schemeClr val="bg2"/>
              </a:buClr>
              <a:buSzPct val="120000"/>
              <a:buFont typeface="Arial" pitchFamily="34" charset="0"/>
              <a:buChar char="•"/>
              <a:defRPr/>
            </a:pPr>
            <a:endParaRPr lang="en-US" sz="1100" dirty="0">
              <a:latin typeface="Segoe UI" pitchFamily="34" charset="0"/>
              <a:ea typeface="Segoe UI" pitchFamily="34" charset="0"/>
              <a:cs typeface="Segoe UI" pitchFamily="34" charset="0"/>
            </a:endParaRPr>
          </a:p>
          <a:p>
            <a:pPr marL="181536" lvl="1" indent="-181536" defTabSz="571204" fontAlgn="base">
              <a:spcBef>
                <a:spcPts val="375"/>
              </a:spcBef>
              <a:spcAft>
                <a:spcPts val="375"/>
              </a:spcAft>
              <a:buClr>
                <a:schemeClr val="bg2"/>
              </a:buClr>
              <a:buSzPct val="120000"/>
              <a:buFont typeface="Arial" pitchFamily="34" charset="0"/>
              <a:buChar char="•"/>
              <a:defRPr/>
            </a:pPr>
            <a:endParaRPr lang="en-US" sz="1100" dirty="0">
              <a:latin typeface="Segoe UI" pitchFamily="34" charset="0"/>
              <a:ea typeface="Segoe UI" pitchFamily="34" charset="0"/>
              <a:cs typeface="Segoe UI" pitchFamily="34" charset="0"/>
            </a:endParaRPr>
          </a:p>
          <a:p>
            <a:pPr marL="181536" lvl="1" indent="-181536" defTabSz="571204" fontAlgn="base">
              <a:spcBef>
                <a:spcPts val="375"/>
              </a:spcBef>
              <a:spcAft>
                <a:spcPts val="375"/>
              </a:spcAft>
              <a:buClr>
                <a:schemeClr val="bg2"/>
              </a:buClr>
              <a:buSzPct val="120000"/>
              <a:buFont typeface="Arial" pitchFamily="34" charset="0"/>
              <a:buChar char="•"/>
              <a:defRPr/>
            </a:pPr>
            <a:r>
              <a:rPr lang="en-US" sz="1100" dirty="0">
                <a:latin typeface="Segoe UI" pitchFamily="34" charset="0"/>
                <a:ea typeface="Segoe UI" pitchFamily="34" charset="0"/>
                <a:cs typeface="Segoe UI" pitchFamily="34" charset="0"/>
              </a:rPr>
              <a:t>Simplify deployment and ongoing management</a:t>
            </a:r>
          </a:p>
          <a:p>
            <a:pPr marL="181536" lvl="1" indent="-181536" defTabSz="571204" fontAlgn="base">
              <a:spcBef>
                <a:spcPts val="375"/>
              </a:spcBef>
              <a:spcAft>
                <a:spcPts val="375"/>
              </a:spcAft>
              <a:buClr>
                <a:schemeClr val="bg2"/>
              </a:buClr>
              <a:buSzPct val="120000"/>
              <a:buFont typeface="Arial" pitchFamily="34" charset="0"/>
              <a:buChar char="•"/>
              <a:defRPr/>
            </a:pPr>
            <a:r>
              <a:rPr lang="en-US" sz="1100" dirty="0">
                <a:latin typeface="Segoe UI" pitchFamily="34" charset="0"/>
                <a:ea typeface="Segoe UI" pitchFamily="34" charset="0"/>
                <a:cs typeface="Segoe UI" pitchFamily="34" charset="0"/>
              </a:rPr>
              <a:t>Enable compliance with information security policy</a:t>
            </a:r>
          </a:p>
        </p:txBody>
      </p:sp>
      <p:sp>
        <p:nvSpPr>
          <p:cNvPr id="8" name="Rectangle 53"/>
          <p:cNvSpPr>
            <a:spLocks noChangeArrowheads="1"/>
          </p:cNvSpPr>
          <p:nvPr/>
        </p:nvSpPr>
        <p:spPr bwMode="auto">
          <a:xfrm>
            <a:off x="6143625" y="1809752"/>
            <a:ext cx="2476500" cy="809625"/>
          </a:xfrm>
          <a:prstGeom prst="rect">
            <a:avLst/>
          </a:prstGeom>
          <a:solidFill>
            <a:schemeClr val="bg1"/>
          </a:solidFill>
          <a:ln w="9525">
            <a:noFill/>
            <a:miter lim="800000"/>
            <a:headEnd/>
            <a:tailEnd/>
          </a:ln>
        </p:spPr>
        <p:txBody>
          <a:bodyPr wrap="none" lIns="57140" tIns="28570" rIns="57140" bIns="28570" anchor="ctr"/>
          <a:lstStyle/>
          <a:p>
            <a:pPr algn="ctr"/>
            <a:r>
              <a:rPr lang="en-US" dirty="0" smtClean="0"/>
              <a:t>Simplify security, </a:t>
            </a:r>
          </a:p>
          <a:p>
            <a:pPr algn="ctr"/>
            <a:r>
              <a:rPr lang="en-US" dirty="0" smtClean="0"/>
              <a:t>manage compliance</a:t>
            </a:r>
            <a:endParaRPr lang="en-US" dirty="0"/>
          </a:p>
        </p:txBody>
      </p:sp>
      <p:sp>
        <p:nvSpPr>
          <p:cNvPr id="9" name="Rectangle 5"/>
          <p:cNvSpPr>
            <a:spLocks noChangeArrowheads="1"/>
          </p:cNvSpPr>
          <p:nvPr/>
        </p:nvSpPr>
        <p:spPr bwMode="auto">
          <a:xfrm>
            <a:off x="3333750" y="1809752"/>
            <a:ext cx="2476500" cy="2905125"/>
          </a:xfrm>
          <a:prstGeom prst="rect">
            <a:avLst/>
          </a:prstGeom>
          <a:solidFill>
            <a:schemeClr val="bg1"/>
          </a:solidFill>
          <a:ln w="9525">
            <a:noFill/>
            <a:miter lim="800000"/>
            <a:headEnd/>
            <a:tailEnd/>
          </a:ln>
        </p:spPr>
        <p:txBody>
          <a:bodyPr lIns="114272" tIns="28569" rIns="114272" bIns="28569" anchor="ctr"/>
          <a:lstStyle/>
          <a:p>
            <a:pPr marL="181536" lvl="1" indent="-181536" defTabSz="571204" fontAlgn="base">
              <a:spcBef>
                <a:spcPts val="375"/>
              </a:spcBef>
              <a:spcAft>
                <a:spcPts val="375"/>
              </a:spcAft>
              <a:buClr>
                <a:schemeClr val="bg2"/>
              </a:buClr>
              <a:buSzPct val="120000"/>
              <a:buFont typeface="Arial" pitchFamily="34" charset="0"/>
              <a:buChar char="•"/>
              <a:defRPr/>
            </a:pPr>
            <a:endParaRPr lang="en-US" sz="1100" dirty="0">
              <a:latin typeface="Segoe UI" pitchFamily="34" charset="0"/>
              <a:ea typeface="Segoe UI" pitchFamily="34" charset="0"/>
              <a:cs typeface="Segoe UI" pitchFamily="34" charset="0"/>
            </a:endParaRPr>
          </a:p>
          <a:p>
            <a:pPr marL="181536" lvl="1" indent="-181536" defTabSz="571204" fontAlgn="base">
              <a:spcBef>
                <a:spcPts val="375"/>
              </a:spcBef>
              <a:spcAft>
                <a:spcPts val="375"/>
              </a:spcAft>
              <a:buClr>
                <a:schemeClr val="bg2"/>
              </a:buClr>
              <a:buSzPct val="120000"/>
              <a:buFont typeface="Arial" pitchFamily="34" charset="0"/>
              <a:buChar char="•"/>
              <a:defRPr/>
            </a:pPr>
            <a:endParaRPr lang="en-US" sz="1100" dirty="0">
              <a:latin typeface="Segoe UI" pitchFamily="34" charset="0"/>
              <a:ea typeface="Segoe UI" pitchFamily="34" charset="0"/>
              <a:cs typeface="Segoe UI" pitchFamily="34" charset="0"/>
            </a:endParaRPr>
          </a:p>
          <a:p>
            <a:pPr marL="181536" lvl="1" indent="-181536" defTabSz="571204" fontAlgn="base">
              <a:spcBef>
                <a:spcPts val="375"/>
              </a:spcBef>
              <a:spcAft>
                <a:spcPts val="375"/>
              </a:spcAft>
              <a:buClr>
                <a:schemeClr val="bg2"/>
              </a:buClr>
              <a:buSzPct val="120000"/>
              <a:buFont typeface="Arial" pitchFamily="34" charset="0"/>
              <a:buChar char="•"/>
              <a:defRPr/>
            </a:pPr>
            <a:endParaRPr lang="en-US" sz="1100" dirty="0">
              <a:latin typeface="Segoe UI" pitchFamily="34" charset="0"/>
              <a:ea typeface="Segoe UI" pitchFamily="34" charset="0"/>
              <a:cs typeface="Segoe UI" pitchFamily="34" charset="0"/>
            </a:endParaRPr>
          </a:p>
          <a:p>
            <a:pPr marL="181536" lvl="1" indent="-181536" defTabSz="571204" fontAlgn="base">
              <a:spcBef>
                <a:spcPts val="375"/>
              </a:spcBef>
              <a:spcAft>
                <a:spcPts val="375"/>
              </a:spcAft>
              <a:buClr>
                <a:schemeClr val="bg2"/>
              </a:buClr>
              <a:buSzPct val="120000"/>
              <a:buFont typeface="Arial" pitchFamily="34" charset="0"/>
              <a:buChar char="•"/>
              <a:defRPr/>
            </a:pPr>
            <a:endParaRPr lang="en-US" sz="1100" dirty="0">
              <a:latin typeface="Segoe UI" pitchFamily="34" charset="0"/>
              <a:ea typeface="Segoe UI" pitchFamily="34" charset="0"/>
              <a:cs typeface="Segoe UI" pitchFamily="34" charset="0"/>
            </a:endParaRPr>
          </a:p>
          <a:p>
            <a:pPr marL="181536" lvl="1" indent="-181536" defTabSz="571204" fontAlgn="base">
              <a:spcBef>
                <a:spcPts val="375"/>
              </a:spcBef>
              <a:spcAft>
                <a:spcPts val="375"/>
              </a:spcAft>
              <a:buClr>
                <a:schemeClr val="bg2"/>
              </a:buClr>
              <a:buSzPct val="120000"/>
              <a:buFont typeface="Arial" pitchFamily="34" charset="0"/>
              <a:buChar char="•"/>
              <a:defRPr/>
            </a:pPr>
            <a:endParaRPr lang="en-US" sz="1100" dirty="0">
              <a:latin typeface="Segoe UI" pitchFamily="34" charset="0"/>
              <a:ea typeface="Segoe UI" pitchFamily="34" charset="0"/>
              <a:cs typeface="Segoe UI" pitchFamily="34" charset="0"/>
            </a:endParaRPr>
          </a:p>
          <a:p>
            <a:pPr marL="181536" lvl="1" indent="-181536" defTabSz="571204" fontAlgn="base">
              <a:spcBef>
                <a:spcPts val="375"/>
              </a:spcBef>
              <a:spcAft>
                <a:spcPts val="375"/>
              </a:spcAft>
              <a:buClr>
                <a:schemeClr val="bg2"/>
              </a:buClr>
              <a:buSzPct val="120000"/>
              <a:buFont typeface="Arial" pitchFamily="34" charset="0"/>
              <a:buChar char="•"/>
              <a:defRPr/>
            </a:pPr>
            <a:r>
              <a:rPr lang="en-US" sz="1100" dirty="0">
                <a:latin typeface="Segoe UI" pitchFamily="34" charset="0"/>
                <a:ea typeface="Segoe UI" pitchFamily="34" charset="0"/>
                <a:cs typeface="Segoe UI" pitchFamily="34" charset="0"/>
              </a:rPr>
              <a:t>Extend confidential communication to partners</a:t>
            </a:r>
          </a:p>
          <a:p>
            <a:pPr marL="181536" lvl="1" indent="-181536" defTabSz="571204" fontAlgn="base">
              <a:spcBef>
                <a:spcPts val="375"/>
              </a:spcBef>
              <a:spcAft>
                <a:spcPts val="375"/>
              </a:spcAft>
              <a:buClr>
                <a:schemeClr val="bg2"/>
              </a:buClr>
              <a:buSzPct val="120000"/>
              <a:buFont typeface="Arial" pitchFamily="34" charset="0"/>
              <a:buChar char="•"/>
              <a:defRPr/>
            </a:pPr>
            <a:r>
              <a:rPr lang="en-US" sz="1100" dirty="0">
                <a:latin typeface="Segoe UI" pitchFamily="34" charset="0"/>
                <a:ea typeface="Segoe UI" pitchFamily="34" charset="0"/>
                <a:cs typeface="Segoe UI" pitchFamily="34" charset="0"/>
              </a:rPr>
              <a:t>Built into the Windows platform and Microsoft applications</a:t>
            </a:r>
          </a:p>
        </p:txBody>
      </p:sp>
      <p:sp>
        <p:nvSpPr>
          <p:cNvPr id="10" name="Rectangle 53"/>
          <p:cNvSpPr>
            <a:spLocks noChangeArrowheads="1"/>
          </p:cNvSpPr>
          <p:nvPr/>
        </p:nvSpPr>
        <p:spPr bwMode="auto">
          <a:xfrm>
            <a:off x="3333750" y="1809752"/>
            <a:ext cx="2476500" cy="809625"/>
          </a:xfrm>
          <a:prstGeom prst="rect">
            <a:avLst/>
          </a:prstGeom>
          <a:solidFill>
            <a:schemeClr val="bg1"/>
          </a:solidFill>
          <a:ln w="9525">
            <a:noFill/>
            <a:miter lim="800000"/>
            <a:headEnd/>
            <a:tailEnd/>
          </a:ln>
        </p:spPr>
        <p:txBody>
          <a:bodyPr wrap="none" lIns="57140" tIns="28570" rIns="57140" bIns="28570" anchor="ctr"/>
          <a:lstStyle/>
          <a:p>
            <a:pPr algn="ctr"/>
            <a:r>
              <a:rPr lang="en-US" dirty="0" smtClean="0"/>
              <a:t>Integrate and </a:t>
            </a:r>
          </a:p>
          <a:p>
            <a:pPr algn="ctr"/>
            <a:r>
              <a:rPr lang="en-US" dirty="0" smtClean="0"/>
              <a:t>extend security</a:t>
            </a:r>
            <a:endParaRPr lang="en-US" dirty="0"/>
          </a:p>
        </p:txBody>
      </p:sp>
      <p:grpSp>
        <p:nvGrpSpPr>
          <p:cNvPr id="11" name="Group 42"/>
          <p:cNvGrpSpPr/>
          <p:nvPr/>
        </p:nvGrpSpPr>
        <p:grpSpPr>
          <a:xfrm>
            <a:off x="1228132" y="2600791"/>
            <a:ext cx="1010244" cy="637712"/>
            <a:chOff x="-1795842" y="3032045"/>
            <a:chExt cx="1012160" cy="647876"/>
          </a:xfrm>
        </p:grpSpPr>
        <p:pic>
          <p:nvPicPr>
            <p:cNvPr id="12" name="Picture 2" descr="\\eventsql\dvd\Online_ART\DVD_ART35\Artwork_Imagery\Icons - Illustrations\people\black silhouettes\PRB man silhouette people ready.png"/>
            <p:cNvPicPr>
              <a:picLocks noChangeAspect="1" noChangeArrowheads="1"/>
            </p:cNvPicPr>
            <p:nvPr/>
          </p:nvPicPr>
          <p:blipFill>
            <a:blip r:embed="rId2" cstate="print">
              <a:duotone>
                <a:prstClr val="black"/>
                <a:schemeClr val="tx1">
                  <a:tint val="45000"/>
                  <a:satMod val="400000"/>
                </a:schemeClr>
              </a:duotone>
            </a:blip>
            <a:srcRect/>
            <a:stretch>
              <a:fillRect/>
            </a:stretch>
          </p:blipFill>
          <p:spPr bwMode="auto">
            <a:xfrm>
              <a:off x="-1329179" y="3032045"/>
              <a:ext cx="131975" cy="472117"/>
            </a:xfrm>
            <a:prstGeom prst="rect">
              <a:avLst/>
            </a:prstGeom>
            <a:noFill/>
            <a:effectLst>
              <a:outerShdw blurRad="190500" sx="102000" sy="102000" algn="ctr" rotWithShape="0">
                <a:schemeClr val="bg1">
                  <a:alpha val="70000"/>
                </a:schemeClr>
              </a:outerShdw>
            </a:effectLst>
          </p:spPr>
        </p:pic>
        <p:pic>
          <p:nvPicPr>
            <p:cNvPr id="13" name="Picture 12" descr="explorer.exe_I0104_0409.png"/>
            <p:cNvPicPr>
              <a:picLocks noChangeAspect="1"/>
            </p:cNvPicPr>
            <p:nvPr/>
          </p:nvPicPr>
          <p:blipFill>
            <a:blip r:embed="rId3" cstate="print">
              <a:duotone>
                <a:prstClr val="black"/>
                <a:schemeClr val="tx1">
                  <a:tint val="45000"/>
                  <a:satMod val="400000"/>
                </a:schemeClr>
              </a:duotone>
            </a:blip>
            <a:stretch>
              <a:fillRect/>
            </a:stretch>
          </p:blipFill>
          <p:spPr>
            <a:xfrm>
              <a:off x="-1329180" y="3134423"/>
              <a:ext cx="545498" cy="545498"/>
            </a:xfrm>
            <a:prstGeom prst="rect">
              <a:avLst/>
            </a:prstGeom>
          </p:spPr>
        </p:pic>
        <p:pic>
          <p:nvPicPr>
            <p:cNvPr id="14" name="Picture 13" descr="Virtual App.png"/>
            <p:cNvPicPr>
              <a:picLocks noChangeAspect="1"/>
            </p:cNvPicPr>
            <p:nvPr/>
          </p:nvPicPr>
          <p:blipFill>
            <a:blip r:embed="rId4" cstate="screen">
              <a:duotone>
                <a:prstClr val="black"/>
                <a:schemeClr val="tx1">
                  <a:tint val="45000"/>
                  <a:satMod val="400000"/>
                </a:schemeClr>
              </a:duotone>
            </a:blip>
            <a:stretch>
              <a:fillRect/>
            </a:stretch>
          </p:blipFill>
          <p:spPr bwMode="invGray">
            <a:xfrm>
              <a:off x="-1795842" y="3233392"/>
              <a:ext cx="601727" cy="374885"/>
            </a:xfrm>
            <a:prstGeom prst="rect">
              <a:avLst/>
            </a:prstGeom>
          </p:spPr>
        </p:pic>
      </p:grpSp>
      <p:grpSp>
        <p:nvGrpSpPr>
          <p:cNvPr id="15" name="Group 61"/>
          <p:cNvGrpSpPr/>
          <p:nvPr/>
        </p:nvGrpSpPr>
        <p:grpSpPr>
          <a:xfrm>
            <a:off x="3938835" y="2656067"/>
            <a:ext cx="1252293" cy="582435"/>
            <a:chOff x="700964" y="3415859"/>
            <a:chExt cx="1187974" cy="594136"/>
          </a:xfrm>
        </p:grpSpPr>
        <p:pic>
          <p:nvPicPr>
            <p:cNvPr id="16" name="Picture 15" descr="SLUI.exe_I0003_0409.png"/>
            <p:cNvPicPr>
              <a:picLocks noChangeAspect="1"/>
            </p:cNvPicPr>
            <p:nvPr/>
          </p:nvPicPr>
          <p:blipFill>
            <a:blip r:embed="rId5" cstate="print">
              <a:duotone>
                <a:prstClr val="black"/>
                <a:schemeClr val="tx1">
                  <a:tint val="45000"/>
                  <a:satMod val="400000"/>
                </a:schemeClr>
              </a:duotone>
            </a:blip>
            <a:stretch>
              <a:fillRect/>
            </a:stretch>
          </p:blipFill>
          <p:spPr>
            <a:xfrm>
              <a:off x="1117711" y="3611951"/>
              <a:ext cx="398044" cy="398044"/>
            </a:xfrm>
            <a:prstGeom prst="rect">
              <a:avLst/>
            </a:prstGeom>
          </p:spPr>
        </p:pic>
        <p:pic>
          <p:nvPicPr>
            <p:cNvPr id="17" name="Picture 16" descr="connect.dll_I28a1_0409.png"/>
            <p:cNvPicPr>
              <a:picLocks noChangeAspect="1"/>
            </p:cNvPicPr>
            <p:nvPr/>
          </p:nvPicPr>
          <p:blipFill>
            <a:blip r:embed="rId6" cstate="print">
              <a:duotone>
                <a:prstClr val="black"/>
                <a:schemeClr val="tx1">
                  <a:tint val="45000"/>
                  <a:satMod val="400000"/>
                </a:schemeClr>
              </a:duotone>
            </a:blip>
            <a:stretch>
              <a:fillRect/>
            </a:stretch>
          </p:blipFill>
          <p:spPr>
            <a:xfrm>
              <a:off x="1389389" y="3415859"/>
              <a:ext cx="499549" cy="499549"/>
            </a:xfrm>
            <a:prstGeom prst="rect">
              <a:avLst/>
            </a:prstGeom>
          </p:spPr>
        </p:pic>
        <p:pic>
          <p:nvPicPr>
            <p:cNvPr id="18" name="Picture 17" descr="connect.dll_I28a1_0409.png"/>
            <p:cNvPicPr>
              <a:picLocks noChangeAspect="1"/>
            </p:cNvPicPr>
            <p:nvPr/>
          </p:nvPicPr>
          <p:blipFill>
            <a:blip r:embed="rId6" cstate="print">
              <a:duotone>
                <a:prstClr val="black"/>
                <a:schemeClr val="tx1">
                  <a:tint val="45000"/>
                  <a:satMod val="400000"/>
                </a:schemeClr>
              </a:duotone>
            </a:blip>
            <a:stretch>
              <a:fillRect/>
            </a:stretch>
          </p:blipFill>
          <p:spPr>
            <a:xfrm>
              <a:off x="700964" y="3421117"/>
              <a:ext cx="499549" cy="499549"/>
            </a:xfrm>
            <a:prstGeom prst="rect">
              <a:avLst/>
            </a:prstGeom>
          </p:spPr>
        </p:pic>
      </p:grpSp>
      <p:pic>
        <p:nvPicPr>
          <p:cNvPr id="19" name="Picture 2" descr="C:\Documents and Settings\cgarces\Desktop\VISTA ICONS\ICONS PNG\Network-Folder.png"/>
          <p:cNvPicPr>
            <a:picLocks noChangeAspect="1" noChangeArrowheads="1"/>
          </p:cNvPicPr>
          <p:nvPr/>
        </p:nvPicPr>
        <p:blipFill>
          <a:blip r:embed="rId7" cstate="print">
            <a:duotone>
              <a:prstClr val="black"/>
              <a:schemeClr val="tx1">
                <a:tint val="45000"/>
                <a:satMod val="400000"/>
              </a:schemeClr>
            </a:duotone>
          </a:blip>
          <a:srcRect/>
          <a:stretch>
            <a:fillRect/>
          </a:stretch>
        </p:blipFill>
        <p:spPr bwMode="auto">
          <a:xfrm>
            <a:off x="6996308" y="2627854"/>
            <a:ext cx="814195" cy="610646"/>
          </a:xfrm>
          <a:prstGeom prst="rect">
            <a:avLst/>
          </a:prstGeom>
          <a:noFill/>
        </p:spPr>
      </p:pic>
      <p:sp>
        <p:nvSpPr>
          <p:cNvPr id="20"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1"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8"/>
              </a:rPr>
              <a:t>www.rapidbbs.cn</a:t>
            </a:r>
            <a:endParaRPr lang="zh-CN" altLang="en-US" sz="1200" b="0">
              <a:latin typeface="Arial" charset="0"/>
              <a:ea typeface="ＭＳ Ｐゴシック" pitchFamily="34" charset="-128"/>
            </a:endParaRPr>
          </a:p>
        </p:txBody>
      </p:sp>
      <p:pic>
        <p:nvPicPr>
          <p:cNvPr id="22" name="Picture 2">
            <a:hlinkClick r:id="rId8"/>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45991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3670301" y="3994725"/>
            <a:ext cx="1254126" cy="114877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18" name="Rectangle 17"/>
          <p:cNvSpPr/>
          <p:nvPr/>
        </p:nvSpPr>
        <p:spPr bwMode="auto">
          <a:xfrm>
            <a:off x="4800659" y="4375142"/>
            <a:ext cx="4401696" cy="654059"/>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6" name="Rectangle 5"/>
          <p:cNvSpPr/>
          <p:nvPr/>
        </p:nvSpPr>
        <p:spPr bwMode="auto">
          <a:xfrm>
            <a:off x="-401346" y="4375142"/>
            <a:ext cx="4230202" cy="654059"/>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5" name="Rectangle 12295"/>
          <p:cNvSpPr>
            <a:spLocks noChangeArrowheads="1"/>
          </p:cNvSpPr>
          <p:nvPr/>
        </p:nvSpPr>
        <p:spPr bwMode="auto">
          <a:xfrm>
            <a:off x="3595689" y="4057650"/>
            <a:ext cx="1387475" cy="477127"/>
          </a:xfrm>
          <a:prstGeom prst="rect">
            <a:avLst/>
          </a:prstGeom>
          <a:noFill/>
          <a:ln w="9525">
            <a:miter lim="800000"/>
            <a:headEnd/>
            <a:tailEnd/>
          </a:ln>
        </p:spPr>
        <p:txBody>
          <a:bodyPr wrap="square" lIns="81615" tIns="40808" rIns="81615" bIns="40808">
            <a:spAutoFit/>
          </a:bodyPr>
          <a:lstStyle/>
          <a:p>
            <a:pPr algn="ctr">
              <a:lnSpc>
                <a:spcPct val="90000"/>
              </a:lnSpc>
              <a:buSzPct val="95000"/>
              <a:defRPr/>
            </a:pPr>
            <a:r>
              <a:rPr lang="en-US" i="0" kern="0" dirty="0" smtClean="0">
                <a:latin typeface="Segoe UI" pitchFamily="34" charset="0"/>
                <a:ea typeface="Segoe UI" pitchFamily="34" charset="0"/>
                <a:cs typeface="Segoe UI" pitchFamily="34" charset="0"/>
              </a:rPr>
              <a:t>Persistent</a:t>
            </a:r>
            <a:r>
              <a:rPr lang="en-US" b="1" i="0" kern="0" dirty="0" smtClean="0">
                <a:latin typeface="Segoe UI" pitchFamily="34" charset="0"/>
                <a:ea typeface="Segoe UI" pitchFamily="34" charset="0"/>
                <a:cs typeface="Segoe UI" pitchFamily="34" charset="0"/>
              </a:rPr>
              <a:t> </a:t>
            </a:r>
            <a:r>
              <a:rPr lang="en-US" i="0" kern="0" dirty="0" smtClean="0">
                <a:latin typeface="Segoe UI" pitchFamily="34" charset="0"/>
                <a:ea typeface="Segoe UI" pitchFamily="34" charset="0"/>
                <a:cs typeface="Segoe UI" pitchFamily="34" charset="0"/>
              </a:rPr>
              <a:t>Protection</a:t>
            </a:r>
            <a:endParaRPr lang="en-US" i="0" kern="0" dirty="0">
              <a:latin typeface="Segoe UI" pitchFamily="34" charset="0"/>
              <a:ea typeface="Segoe UI" pitchFamily="34" charset="0"/>
              <a:cs typeface="Segoe UI" pitchFamily="34" charset="0"/>
            </a:endParaRPr>
          </a:p>
        </p:txBody>
      </p:sp>
      <p:sp>
        <p:nvSpPr>
          <p:cNvPr id="179211" name="Text Box 11"/>
          <p:cNvSpPr txBox="1">
            <a:spLocks noChangeArrowheads="1"/>
          </p:cNvSpPr>
          <p:nvPr/>
        </p:nvSpPr>
        <p:spPr bwMode="auto">
          <a:xfrm>
            <a:off x="3910012" y="4126467"/>
            <a:ext cx="685800" cy="1029128"/>
          </a:xfrm>
          <a:prstGeom prst="rect">
            <a:avLst/>
          </a:prstGeom>
          <a:noFill/>
          <a:ln w="9525">
            <a:miter lim="800000"/>
            <a:headEnd/>
            <a:tailEnd/>
          </a:ln>
          <a:effectLst/>
        </p:spPr>
        <p:txBody>
          <a:bodyPr lIns="0" tIns="0" rIns="0" bIns="0">
            <a:spAutoFit/>
          </a:bodyPr>
          <a:lstStyle/>
          <a:p>
            <a:pPr algn="r">
              <a:lnSpc>
                <a:spcPct val="100000"/>
              </a:lnSpc>
              <a:spcBef>
                <a:spcPct val="0"/>
              </a:spcBef>
              <a:defRPr/>
            </a:pPr>
            <a:r>
              <a:rPr lang="en-US" sz="6700" kern="0" dirty="0">
                <a:latin typeface="Segoe UI" pitchFamily="34" charset="0"/>
                <a:ea typeface="Segoe UI" pitchFamily="34" charset="0"/>
                <a:cs typeface="Segoe UI" pitchFamily="34" charset="0"/>
              </a:rPr>
              <a:t>+</a:t>
            </a:r>
          </a:p>
        </p:txBody>
      </p:sp>
      <p:sp>
        <p:nvSpPr>
          <p:cNvPr id="179207" name="Text Box 7"/>
          <p:cNvSpPr txBox="1">
            <a:spLocks noChangeArrowheads="1"/>
          </p:cNvSpPr>
          <p:nvPr/>
        </p:nvSpPr>
        <p:spPr bwMode="auto">
          <a:xfrm>
            <a:off x="1911350" y="4514851"/>
            <a:ext cx="1758950" cy="288539"/>
          </a:xfrm>
          <a:prstGeom prst="rect">
            <a:avLst/>
          </a:prstGeom>
          <a:noFill/>
          <a:ln w="9525">
            <a:miter lim="800000"/>
            <a:headEnd/>
            <a:tailEnd/>
          </a:ln>
          <a:effectLst/>
        </p:spPr>
        <p:txBody>
          <a:bodyPr lIns="68586" tIns="34294" rIns="68586" bIns="34294">
            <a:spAutoFit/>
          </a:bodyPr>
          <a:lstStyle/>
          <a:p>
            <a:pPr algn="r">
              <a:lnSpc>
                <a:spcPct val="100000"/>
              </a:lnSpc>
              <a:spcBef>
                <a:spcPct val="0"/>
              </a:spcBef>
              <a:defRPr/>
            </a:pPr>
            <a:r>
              <a:rPr lang="en-US" i="0" kern="0" dirty="0">
                <a:latin typeface="Segoe UI" pitchFamily="34" charset="0"/>
                <a:ea typeface="Segoe UI" pitchFamily="34" charset="0"/>
                <a:cs typeface="Segoe UI" pitchFamily="34" charset="0"/>
              </a:rPr>
              <a:t>Encryption</a:t>
            </a:r>
          </a:p>
        </p:txBody>
      </p:sp>
      <p:grpSp>
        <p:nvGrpSpPr>
          <p:cNvPr id="3" name="Group 16"/>
          <p:cNvGrpSpPr/>
          <p:nvPr/>
        </p:nvGrpSpPr>
        <p:grpSpPr>
          <a:xfrm>
            <a:off x="4924426" y="4457701"/>
            <a:ext cx="3719765" cy="523220"/>
            <a:chOff x="4900613" y="4797747"/>
            <a:chExt cx="3719765" cy="697627"/>
          </a:xfrm>
        </p:grpSpPr>
        <p:sp>
          <p:nvSpPr>
            <p:cNvPr id="179210" name="Text Box 10"/>
            <p:cNvSpPr txBox="1">
              <a:spLocks noChangeArrowheads="1"/>
            </p:cNvSpPr>
            <p:nvPr/>
          </p:nvSpPr>
          <p:spPr bwMode="auto">
            <a:xfrm>
              <a:off x="4900613" y="4873947"/>
              <a:ext cx="1119187" cy="410370"/>
            </a:xfrm>
            <a:prstGeom prst="rect">
              <a:avLst/>
            </a:prstGeom>
            <a:noFill/>
            <a:ln w="9525">
              <a:miter lim="800000"/>
              <a:headEnd/>
              <a:tailEnd/>
            </a:ln>
            <a:effectLst/>
          </p:spPr>
          <p:txBody>
            <a:bodyPr wrap="square">
              <a:spAutoFit/>
            </a:bodyPr>
            <a:lstStyle/>
            <a:p>
              <a:pPr algn="l">
                <a:lnSpc>
                  <a:spcPct val="100000"/>
                </a:lnSpc>
                <a:spcBef>
                  <a:spcPct val="0"/>
                </a:spcBef>
                <a:defRPr/>
              </a:pPr>
              <a:r>
                <a:rPr lang="en-US" i="0" kern="0" dirty="0" smtClean="0">
                  <a:latin typeface="Segoe UI" pitchFamily="34" charset="0"/>
                  <a:ea typeface="Segoe UI" pitchFamily="34" charset="0"/>
                  <a:cs typeface="Segoe UI" pitchFamily="34" charset="0"/>
                </a:rPr>
                <a:t>Policy</a:t>
              </a:r>
              <a:r>
                <a:rPr lang="en-US" b="1" i="0" kern="0" dirty="0" smtClean="0">
                  <a:latin typeface="Segoe UI" pitchFamily="34" charset="0"/>
                  <a:ea typeface="Segoe UI" pitchFamily="34" charset="0"/>
                  <a:cs typeface="Segoe UI" pitchFamily="34" charset="0"/>
                </a:rPr>
                <a:t>: </a:t>
              </a:r>
              <a:endParaRPr lang="en-US" b="1" i="0" kern="0" dirty="0">
                <a:latin typeface="Segoe UI" pitchFamily="34" charset="0"/>
                <a:ea typeface="Segoe UI" pitchFamily="34" charset="0"/>
                <a:cs typeface="Segoe UI" pitchFamily="34" charset="0"/>
              </a:endParaRPr>
            </a:p>
          </p:txBody>
        </p:sp>
        <p:sp>
          <p:nvSpPr>
            <p:cNvPr id="14" name="Text Box 10"/>
            <p:cNvSpPr txBox="1">
              <a:spLocks noChangeArrowheads="1"/>
            </p:cNvSpPr>
            <p:nvPr/>
          </p:nvSpPr>
          <p:spPr bwMode="auto">
            <a:xfrm>
              <a:off x="5519991" y="4797747"/>
              <a:ext cx="3100387" cy="697627"/>
            </a:xfrm>
            <a:prstGeom prst="rect">
              <a:avLst/>
            </a:prstGeom>
            <a:noFill/>
            <a:ln w="9525">
              <a:miter lim="800000"/>
              <a:headEnd/>
              <a:tailEnd/>
            </a:ln>
            <a:effectLst/>
          </p:spPr>
          <p:txBody>
            <a:bodyPr wrap="square">
              <a:spAutoFit/>
            </a:bodyPr>
            <a:lstStyle/>
            <a:p>
              <a:pPr algn="l">
                <a:lnSpc>
                  <a:spcPct val="100000"/>
                </a:lnSpc>
                <a:spcBef>
                  <a:spcPct val="0"/>
                </a:spcBef>
                <a:defRPr/>
              </a:pPr>
              <a:r>
                <a:rPr lang="en-US" i="0" kern="0" dirty="0" smtClean="0">
                  <a:latin typeface="Segoe UI" pitchFamily="34" charset="0"/>
                  <a:ea typeface="Segoe UI" pitchFamily="34" charset="0"/>
                  <a:cs typeface="Segoe UI" pitchFamily="34" charset="0"/>
                </a:rPr>
                <a:t> Access Permissions</a:t>
              </a:r>
            </a:p>
            <a:p>
              <a:pPr algn="l">
                <a:lnSpc>
                  <a:spcPct val="100000"/>
                </a:lnSpc>
                <a:spcBef>
                  <a:spcPct val="0"/>
                </a:spcBef>
                <a:defRPr/>
              </a:pPr>
              <a:r>
                <a:rPr lang="en-US" kern="0" dirty="0" smtClean="0">
                  <a:latin typeface="Segoe UI" pitchFamily="34" charset="0"/>
                  <a:ea typeface="Segoe UI" pitchFamily="34" charset="0"/>
                  <a:cs typeface="Segoe UI" pitchFamily="34" charset="0"/>
                </a:rPr>
                <a:t> Use Right Permissions</a:t>
              </a:r>
              <a:r>
                <a:rPr lang="en-US" i="0" kern="0" dirty="0" smtClean="0">
                  <a:latin typeface="Segoe UI" pitchFamily="34" charset="0"/>
                  <a:ea typeface="Segoe UI" pitchFamily="34" charset="0"/>
                  <a:cs typeface="Segoe UI" pitchFamily="34" charset="0"/>
                </a:rPr>
                <a:t> </a:t>
              </a:r>
              <a:endParaRPr lang="en-US" i="0" kern="0" dirty="0">
                <a:latin typeface="Segoe UI" pitchFamily="34" charset="0"/>
                <a:ea typeface="Segoe UI" pitchFamily="34" charset="0"/>
                <a:cs typeface="Segoe UI" pitchFamily="34" charset="0"/>
              </a:endParaRPr>
            </a:p>
          </p:txBody>
        </p:sp>
      </p:grpSp>
      <p:sp>
        <p:nvSpPr>
          <p:cNvPr id="7" name="Content Placeholder 6"/>
          <p:cNvSpPr>
            <a:spLocks noGrp="1"/>
          </p:cNvSpPr>
          <p:nvPr>
            <p:ph idx="1"/>
          </p:nvPr>
        </p:nvSpPr>
        <p:spPr>
          <a:xfrm>
            <a:off x="389436" y="800101"/>
            <a:ext cx="8363938" cy="2626873"/>
          </a:xfrm>
        </p:spPr>
        <p:txBody>
          <a:bodyPr/>
          <a:lstStyle/>
          <a:p>
            <a:r>
              <a:rPr lang="en-US" dirty="0" smtClean="0"/>
              <a:t>Provides identity-based protection for sensitive data</a:t>
            </a:r>
          </a:p>
          <a:p>
            <a:pPr lvl="1"/>
            <a:r>
              <a:rPr lang="en-US" dirty="0" smtClean="0"/>
              <a:t>Controls access to information across the information lifecycle</a:t>
            </a:r>
          </a:p>
          <a:p>
            <a:pPr lvl="1"/>
            <a:r>
              <a:rPr lang="en-US" dirty="0" smtClean="0"/>
              <a:t>Allows only authorized access based on trusted identity</a:t>
            </a:r>
          </a:p>
          <a:p>
            <a:pPr lvl="1"/>
            <a:r>
              <a:rPr lang="en-US" dirty="0" smtClean="0"/>
              <a:t>Secures transmission and storage of sensitive information wherever it goes – policies embedded into the content; documents encrypted </a:t>
            </a:r>
          </a:p>
          <a:p>
            <a:pPr lvl="1"/>
            <a:r>
              <a:rPr lang="en-US" dirty="0" smtClean="0"/>
              <a:t>Embeds digital usage policies (print, view, edit, expiration etc. ) into the content to help prevent misuse after delivery </a:t>
            </a:r>
            <a:endParaRPr lang="en-US" dirty="0"/>
          </a:p>
        </p:txBody>
      </p:sp>
      <p:sp>
        <p:nvSpPr>
          <p:cNvPr id="179202" name="Rectangle 2"/>
          <p:cNvSpPr>
            <a:spLocks noGrp="1" noChangeArrowheads="1"/>
          </p:cNvSpPr>
          <p:nvPr>
            <p:ph type="title"/>
          </p:nvPr>
        </p:nvSpPr>
        <p:spPr/>
        <p:txBody>
          <a:bodyPr/>
          <a:lstStyle/>
          <a:p>
            <a:r>
              <a:rPr lang="en-US" smtClean="0"/>
              <a:t>AD Rights Management Services</a:t>
            </a:r>
            <a:endParaRPr lang="en-US" dirty="0"/>
          </a:p>
        </p:txBody>
      </p:sp>
      <p:pic>
        <p:nvPicPr>
          <p:cNvPr id="15" name="Picture 6"/>
          <p:cNvPicPr>
            <a:picLocks noChangeAspect="1" noChangeArrowheads="1"/>
          </p:cNvPicPr>
          <p:nvPr/>
        </p:nvPicPr>
        <p:blipFill>
          <a:blip r:embed="rId3" cstate="email">
            <a:biLevel thresh="50000"/>
            <a:extLst>
              <a:ext uri="{28A0092B-C50C-407E-A947-70E740481C1C}">
                <a14:useLocalDpi xmlns:a14="http://schemas.microsoft.com/office/drawing/2010/main"/>
              </a:ext>
            </a:extLst>
          </a:blip>
          <a:srcRect/>
          <a:stretch>
            <a:fillRect/>
          </a:stretch>
        </p:blipFill>
        <p:spPr bwMode="auto">
          <a:xfrm>
            <a:off x="4141492" y="3657601"/>
            <a:ext cx="311744" cy="4029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2"/>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8459213" y="4457701"/>
            <a:ext cx="521128" cy="4543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 name="Picture 12"/>
          <p:cNvPicPr>
            <a:picLocks noChangeAspect="1" noChangeArrowheads="1"/>
          </p:cNvPicPr>
          <p:nvPr/>
        </p:nvPicPr>
        <p:blipFill>
          <a:blip r:embed="rId5" cstate="email">
            <a:biLevel thresh="50000"/>
            <a:extLst>
              <a:ext uri="{28A0092B-C50C-407E-A947-70E740481C1C}">
                <a14:useLocalDpi xmlns:a14="http://schemas.microsoft.com/office/drawing/2010/main"/>
              </a:ext>
            </a:extLst>
          </a:blip>
          <a:srcRect/>
          <a:stretch>
            <a:fillRect/>
          </a:stretch>
        </p:blipFill>
        <p:spPr bwMode="auto">
          <a:xfrm>
            <a:off x="113139" y="4457701"/>
            <a:ext cx="404211" cy="4543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7"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6"/>
              </a:rPr>
              <a:t>www.rapidbbs.cn</a:t>
            </a:r>
            <a:endParaRPr lang="zh-CN" altLang="en-US" sz="1200" b="0">
              <a:latin typeface="Arial" charset="0"/>
              <a:ea typeface="ＭＳ Ｐゴシック" pitchFamily="34" charset="-128"/>
            </a:endParaRPr>
          </a:p>
        </p:txBody>
      </p:sp>
      <p:pic>
        <p:nvPicPr>
          <p:cNvPr id="21" name="Picture 2">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480129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20"/>
                                        </p:tgtEl>
                                        <p:attrNameLst>
                                          <p:attrName>style.visibility</p:attrName>
                                        </p:attrNameLst>
                                      </p:cBhvr>
                                      <p:to>
                                        <p:strVal val="visible"/>
                                      </p:to>
                                    </p:set>
                                    <p:anim calcmode="lin" valueType="num">
                                      <p:cBhvr additive="base">
                                        <p:cTn id="11" dur="500" fill="hold"/>
                                        <p:tgtEl>
                                          <p:spTgt spid="20"/>
                                        </p:tgtEl>
                                        <p:attrNameLst>
                                          <p:attrName>ppt_x</p:attrName>
                                        </p:attrNameLst>
                                      </p:cBhvr>
                                      <p:tavLst>
                                        <p:tav tm="0">
                                          <p:val>
                                            <p:strVal val="0-#ppt_w/2"/>
                                          </p:val>
                                        </p:tav>
                                        <p:tav tm="100000">
                                          <p:val>
                                            <p:strVal val="#ppt_x"/>
                                          </p:val>
                                        </p:tav>
                                      </p:tavLst>
                                    </p:anim>
                                    <p:anim calcmode="lin" valueType="num">
                                      <p:cBhvr additive="base">
                                        <p:cTn id="12" dur="500" fill="hold"/>
                                        <p:tgtEl>
                                          <p:spTgt spid="20"/>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179207"/>
                                        </p:tgtEl>
                                        <p:attrNameLst>
                                          <p:attrName>style.visibility</p:attrName>
                                        </p:attrNameLst>
                                      </p:cBhvr>
                                      <p:to>
                                        <p:strVal val="visible"/>
                                      </p:to>
                                    </p:set>
                                    <p:anim calcmode="lin" valueType="num">
                                      <p:cBhvr additive="base">
                                        <p:cTn id="15" dur="500" fill="hold"/>
                                        <p:tgtEl>
                                          <p:spTgt spid="179207"/>
                                        </p:tgtEl>
                                        <p:attrNameLst>
                                          <p:attrName>ppt_x</p:attrName>
                                        </p:attrNameLst>
                                      </p:cBhvr>
                                      <p:tavLst>
                                        <p:tav tm="0">
                                          <p:val>
                                            <p:strVal val="0-#ppt_w/2"/>
                                          </p:val>
                                        </p:tav>
                                        <p:tav tm="100000">
                                          <p:val>
                                            <p:strVal val="#ppt_x"/>
                                          </p:val>
                                        </p:tav>
                                      </p:tavLst>
                                    </p:anim>
                                    <p:anim calcmode="lin" valueType="num">
                                      <p:cBhvr additive="base">
                                        <p:cTn id="16" dur="500" fill="hold"/>
                                        <p:tgtEl>
                                          <p:spTgt spid="179207"/>
                                        </p:tgtEl>
                                        <p:attrNameLst>
                                          <p:attrName>ppt_y</p:attrName>
                                        </p:attrNameLst>
                                      </p:cBhvr>
                                      <p:tavLst>
                                        <p:tav tm="0">
                                          <p:val>
                                            <p:strVal val="#ppt_y"/>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2" fill="hold" nodeType="clickEffect">
                                  <p:stCondLst>
                                    <p:cond delay="0"/>
                                  </p:stCondLst>
                                  <p:childTnLst>
                                    <p:set>
                                      <p:cBhvr>
                                        <p:cTn id="20" dur="1" fill="hold">
                                          <p:stCondLst>
                                            <p:cond delay="0"/>
                                          </p:stCondLst>
                                        </p:cTn>
                                        <p:tgtEl>
                                          <p:spTgt spid="3"/>
                                        </p:tgtEl>
                                        <p:attrNameLst>
                                          <p:attrName>style.visibility</p:attrName>
                                        </p:attrNameLst>
                                      </p:cBhvr>
                                      <p:to>
                                        <p:strVal val="visible"/>
                                      </p:to>
                                    </p:set>
                                    <p:anim calcmode="lin" valueType="num">
                                      <p:cBhvr additive="base">
                                        <p:cTn id="21" dur="500" fill="hold"/>
                                        <p:tgtEl>
                                          <p:spTgt spid="3"/>
                                        </p:tgtEl>
                                        <p:attrNameLst>
                                          <p:attrName>ppt_x</p:attrName>
                                        </p:attrNameLst>
                                      </p:cBhvr>
                                      <p:tavLst>
                                        <p:tav tm="0">
                                          <p:val>
                                            <p:strVal val="1+#ppt_w/2"/>
                                          </p:val>
                                        </p:tav>
                                        <p:tav tm="100000">
                                          <p:val>
                                            <p:strVal val="#ppt_x"/>
                                          </p:val>
                                        </p:tav>
                                      </p:tavLst>
                                    </p:anim>
                                    <p:anim calcmode="lin" valueType="num">
                                      <p:cBhvr additive="base">
                                        <p:cTn id="22" dur="500" fill="hold"/>
                                        <p:tgtEl>
                                          <p:spTgt spid="3"/>
                                        </p:tgtEl>
                                        <p:attrNameLst>
                                          <p:attrName>ppt_y</p:attrName>
                                        </p:attrNameLst>
                                      </p:cBhvr>
                                      <p:tavLst>
                                        <p:tav tm="0">
                                          <p:val>
                                            <p:strVal val="#ppt_y"/>
                                          </p:val>
                                        </p:tav>
                                        <p:tav tm="100000">
                                          <p:val>
                                            <p:strVal val="#ppt_y"/>
                                          </p:val>
                                        </p:tav>
                                      </p:tavLst>
                                    </p:anim>
                                  </p:childTnLst>
                                </p:cTn>
                              </p:par>
                              <p:par>
                                <p:cTn id="23" presetID="2" presetClass="entr" presetSubtype="2" fill="hold" grpId="0" nodeType="withEffect">
                                  <p:stCondLst>
                                    <p:cond delay="0"/>
                                  </p:stCondLst>
                                  <p:childTnLst>
                                    <p:set>
                                      <p:cBhvr>
                                        <p:cTn id="24" dur="1" fill="hold">
                                          <p:stCondLst>
                                            <p:cond delay="0"/>
                                          </p:stCondLst>
                                        </p:cTn>
                                        <p:tgtEl>
                                          <p:spTgt spid="18"/>
                                        </p:tgtEl>
                                        <p:attrNameLst>
                                          <p:attrName>style.visibility</p:attrName>
                                        </p:attrNameLst>
                                      </p:cBhvr>
                                      <p:to>
                                        <p:strVal val="visible"/>
                                      </p:to>
                                    </p:set>
                                    <p:anim calcmode="lin" valueType="num">
                                      <p:cBhvr additive="base">
                                        <p:cTn id="25" dur="500" fill="hold"/>
                                        <p:tgtEl>
                                          <p:spTgt spid="18"/>
                                        </p:tgtEl>
                                        <p:attrNameLst>
                                          <p:attrName>ppt_x</p:attrName>
                                        </p:attrNameLst>
                                      </p:cBhvr>
                                      <p:tavLst>
                                        <p:tav tm="0">
                                          <p:val>
                                            <p:strVal val="1+#ppt_w/2"/>
                                          </p:val>
                                        </p:tav>
                                        <p:tav tm="100000">
                                          <p:val>
                                            <p:strVal val="#ppt_x"/>
                                          </p:val>
                                        </p:tav>
                                      </p:tavLst>
                                    </p:anim>
                                    <p:anim calcmode="lin" valueType="num">
                                      <p:cBhvr additive="base">
                                        <p:cTn id="26" dur="500" fill="hold"/>
                                        <p:tgtEl>
                                          <p:spTgt spid="18"/>
                                        </p:tgtEl>
                                        <p:attrNameLst>
                                          <p:attrName>ppt_y</p:attrName>
                                        </p:attrNameLst>
                                      </p:cBhvr>
                                      <p:tavLst>
                                        <p:tav tm="0">
                                          <p:val>
                                            <p:strVal val="#ppt_y"/>
                                          </p:val>
                                        </p:tav>
                                        <p:tav tm="100000">
                                          <p:val>
                                            <p:strVal val="#ppt_y"/>
                                          </p:val>
                                        </p:tav>
                                      </p:tavLst>
                                    </p:anim>
                                  </p:childTnLst>
                                </p:cTn>
                              </p:par>
                              <p:par>
                                <p:cTn id="27" presetID="2" presetClass="entr" presetSubtype="2" fill="hold" nodeType="withEffect">
                                  <p:stCondLst>
                                    <p:cond delay="0"/>
                                  </p:stCondLst>
                                  <p:childTnLst>
                                    <p:set>
                                      <p:cBhvr>
                                        <p:cTn id="28" dur="1" fill="hold">
                                          <p:stCondLst>
                                            <p:cond delay="0"/>
                                          </p:stCondLst>
                                        </p:cTn>
                                        <p:tgtEl>
                                          <p:spTgt spid="19"/>
                                        </p:tgtEl>
                                        <p:attrNameLst>
                                          <p:attrName>style.visibility</p:attrName>
                                        </p:attrNameLst>
                                      </p:cBhvr>
                                      <p:to>
                                        <p:strVal val="visible"/>
                                      </p:to>
                                    </p:set>
                                    <p:anim calcmode="lin" valueType="num">
                                      <p:cBhvr additive="base">
                                        <p:cTn id="29" dur="500" fill="hold"/>
                                        <p:tgtEl>
                                          <p:spTgt spid="19"/>
                                        </p:tgtEl>
                                        <p:attrNameLst>
                                          <p:attrName>ppt_x</p:attrName>
                                        </p:attrNameLst>
                                      </p:cBhvr>
                                      <p:tavLst>
                                        <p:tav tm="0">
                                          <p:val>
                                            <p:strVal val="1+#ppt_w/2"/>
                                          </p:val>
                                        </p:tav>
                                        <p:tav tm="100000">
                                          <p:val>
                                            <p:strVal val="#ppt_x"/>
                                          </p:val>
                                        </p:tav>
                                      </p:tavLst>
                                    </p:anim>
                                    <p:anim calcmode="lin" valueType="num">
                                      <p:cBhvr additive="base">
                                        <p:cTn id="30" dur="500" fill="hold"/>
                                        <p:tgtEl>
                                          <p:spTgt spid="19"/>
                                        </p:tgtEl>
                                        <p:attrNameLst>
                                          <p:attrName>ppt_y</p:attrName>
                                        </p:attrNameLst>
                                      </p:cBhvr>
                                      <p:tavLst>
                                        <p:tav tm="0">
                                          <p:val>
                                            <p:strVal val="#ppt_y"/>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1" fill="hold" grpId="0" nodeType="clickEffect">
                                  <p:stCondLst>
                                    <p:cond delay="0"/>
                                  </p:stCondLst>
                                  <p:childTnLst>
                                    <p:set>
                                      <p:cBhvr>
                                        <p:cTn id="34" dur="1" fill="hold">
                                          <p:stCondLst>
                                            <p:cond delay="0"/>
                                          </p:stCondLst>
                                        </p:cTn>
                                        <p:tgtEl>
                                          <p:spTgt spid="5"/>
                                        </p:tgtEl>
                                        <p:attrNameLst>
                                          <p:attrName>style.visibility</p:attrName>
                                        </p:attrNameLst>
                                      </p:cBhvr>
                                      <p:to>
                                        <p:strVal val="visible"/>
                                      </p:to>
                                    </p:set>
                                    <p:anim calcmode="lin" valueType="num">
                                      <p:cBhvr additive="base">
                                        <p:cTn id="35" dur="500" fill="hold"/>
                                        <p:tgtEl>
                                          <p:spTgt spid="5"/>
                                        </p:tgtEl>
                                        <p:attrNameLst>
                                          <p:attrName>ppt_x</p:attrName>
                                        </p:attrNameLst>
                                      </p:cBhvr>
                                      <p:tavLst>
                                        <p:tav tm="0">
                                          <p:val>
                                            <p:strVal val="#ppt_x"/>
                                          </p:val>
                                        </p:tav>
                                        <p:tav tm="100000">
                                          <p:val>
                                            <p:strVal val="#ppt_x"/>
                                          </p:val>
                                        </p:tav>
                                      </p:tavLst>
                                    </p:anim>
                                    <p:anim calcmode="lin" valueType="num">
                                      <p:cBhvr additive="base">
                                        <p:cTn id="36" dur="500" fill="hold"/>
                                        <p:tgtEl>
                                          <p:spTgt spid="5"/>
                                        </p:tgtEl>
                                        <p:attrNameLst>
                                          <p:attrName>ppt_y</p:attrName>
                                        </p:attrNameLst>
                                      </p:cBhvr>
                                      <p:tavLst>
                                        <p:tav tm="0">
                                          <p:val>
                                            <p:strVal val="0-#ppt_h/2"/>
                                          </p:val>
                                        </p:tav>
                                        <p:tav tm="100000">
                                          <p:val>
                                            <p:strVal val="#ppt_y"/>
                                          </p:val>
                                        </p:tav>
                                      </p:tavLst>
                                    </p:anim>
                                  </p:childTnLst>
                                </p:cTn>
                              </p:par>
                              <p:par>
                                <p:cTn id="37" presetID="2" presetClass="entr" presetSubtype="1" fill="hold" nodeType="withEffect">
                                  <p:stCondLst>
                                    <p:cond delay="0"/>
                                  </p:stCondLst>
                                  <p:childTnLst>
                                    <p:set>
                                      <p:cBhvr>
                                        <p:cTn id="38" dur="1" fill="hold">
                                          <p:stCondLst>
                                            <p:cond delay="0"/>
                                          </p:stCondLst>
                                        </p:cTn>
                                        <p:tgtEl>
                                          <p:spTgt spid="15"/>
                                        </p:tgtEl>
                                        <p:attrNameLst>
                                          <p:attrName>style.visibility</p:attrName>
                                        </p:attrNameLst>
                                      </p:cBhvr>
                                      <p:to>
                                        <p:strVal val="visible"/>
                                      </p:to>
                                    </p:set>
                                    <p:anim calcmode="lin" valueType="num">
                                      <p:cBhvr additive="base">
                                        <p:cTn id="39" dur="500" fill="hold"/>
                                        <p:tgtEl>
                                          <p:spTgt spid="15"/>
                                        </p:tgtEl>
                                        <p:attrNameLst>
                                          <p:attrName>ppt_x</p:attrName>
                                        </p:attrNameLst>
                                      </p:cBhvr>
                                      <p:tavLst>
                                        <p:tav tm="0">
                                          <p:val>
                                            <p:strVal val="#ppt_x"/>
                                          </p:val>
                                        </p:tav>
                                        <p:tav tm="100000">
                                          <p:val>
                                            <p:strVal val="#ppt_x"/>
                                          </p:val>
                                        </p:tav>
                                      </p:tavLst>
                                    </p:anim>
                                    <p:anim calcmode="lin" valueType="num">
                                      <p:cBhvr additive="base">
                                        <p:cTn id="40" dur="500" fill="hold"/>
                                        <p:tgtEl>
                                          <p:spTgt spid="15"/>
                                        </p:tgtEl>
                                        <p:attrNameLst>
                                          <p:attrName>ppt_y</p:attrName>
                                        </p:attrNameLst>
                                      </p:cBhvr>
                                      <p:tavLst>
                                        <p:tav tm="0">
                                          <p:val>
                                            <p:strVal val="0-#ppt_h/2"/>
                                          </p:val>
                                        </p:tav>
                                        <p:tav tm="100000">
                                          <p:val>
                                            <p:strVal val="#ppt_y"/>
                                          </p:val>
                                        </p:tav>
                                      </p:tavLst>
                                    </p:anim>
                                  </p:childTnLst>
                                </p:cTn>
                              </p:par>
                              <p:par>
                                <p:cTn id="41" presetID="2" presetClass="entr" presetSubtype="1" fill="hold" grpId="0" nodeType="withEffect">
                                  <p:stCondLst>
                                    <p:cond delay="0"/>
                                  </p:stCondLst>
                                  <p:childTnLst>
                                    <p:set>
                                      <p:cBhvr>
                                        <p:cTn id="42" dur="1" fill="hold">
                                          <p:stCondLst>
                                            <p:cond delay="0"/>
                                          </p:stCondLst>
                                        </p:cTn>
                                        <p:tgtEl>
                                          <p:spTgt spid="4"/>
                                        </p:tgtEl>
                                        <p:attrNameLst>
                                          <p:attrName>style.visibility</p:attrName>
                                        </p:attrNameLst>
                                      </p:cBhvr>
                                      <p:to>
                                        <p:strVal val="visible"/>
                                      </p:to>
                                    </p:set>
                                    <p:anim calcmode="lin" valueType="num">
                                      <p:cBhvr additive="base">
                                        <p:cTn id="43" dur="500" fill="hold"/>
                                        <p:tgtEl>
                                          <p:spTgt spid="4"/>
                                        </p:tgtEl>
                                        <p:attrNameLst>
                                          <p:attrName>ppt_x</p:attrName>
                                        </p:attrNameLst>
                                      </p:cBhvr>
                                      <p:tavLst>
                                        <p:tav tm="0">
                                          <p:val>
                                            <p:strVal val="#ppt_x"/>
                                          </p:val>
                                        </p:tav>
                                        <p:tav tm="100000">
                                          <p:val>
                                            <p:strVal val="#ppt_x"/>
                                          </p:val>
                                        </p:tav>
                                      </p:tavLst>
                                    </p:anim>
                                    <p:anim calcmode="lin" valueType="num">
                                      <p:cBhvr additive="base">
                                        <p:cTn id="44" dur="500" fill="hold"/>
                                        <p:tgtEl>
                                          <p:spTgt spid="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8" grpId="0" animBg="1"/>
      <p:bldP spid="6" grpId="0" animBg="1"/>
      <p:bldP spid="5" grpId="0" animBg="1"/>
      <p:bldP spid="179207" grpId="0" animBg="1"/>
    </p:bldLst>
  </p:timing>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ynamic Access Control 101</a:t>
            </a:r>
            <a:endParaRPr lang="en-US" dirty="0"/>
          </a:p>
        </p:txBody>
      </p:sp>
      <p:grpSp>
        <p:nvGrpSpPr>
          <p:cNvPr id="5" name="Group 4"/>
          <p:cNvGrpSpPr/>
          <p:nvPr/>
        </p:nvGrpSpPr>
        <p:grpSpPr>
          <a:xfrm>
            <a:off x="2399735" y="1943100"/>
            <a:ext cx="1990687" cy="1314450"/>
            <a:chOff x="3198812" y="2590800"/>
            <a:chExt cx="2653558" cy="1752600"/>
          </a:xfrm>
        </p:grpSpPr>
        <p:sp>
          <p:nvSpPr>
            <p:cNvPr id="17" name="Rectangle 16"/>
            <p:cNvSpPr/>
            <p:nvPr/>
          </p:nvSpPr>
          <p:spPr bwMode="auto">
            <a:xfrm>
              <a:off x="3382590" y="2590800"/>
              <a:ext cx="2286000" cy="1752600"/>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9" name="Title 15"/>
            <p:cNvSpPr txBox="1">
              <a:spLocks/>
            </p:cNvSpPr>
            <p:nvPr/>
          </p:nvSpPr>
          <p:spPr bwMode="auto">
            <a:xfrm>
              <a:off x="3198812" y="3447991"/>
              <a:ext cx="2653558" cy="318549"/>
            </a:xfrm>
            <a:prstGeom prst="rect">
              <a:avLst/>
            </a:prstGeom>
            <a:noFill/>
            <a:ln w="9525">
              <a:noFill/>
              <a:miter lim="800000"/>
              <a:headEnd/>
              <a:tailEnd/>
            </a:ln>
          </p:spPr>
          <p:txBody>
            <a:bodyPr wrap="square" lIns="0" tIns="0" rIns="0" bIns="0">
              <a:spAutoFit/>
            </a:bodyPr>
            <a:lstStyle/>
            <a:p>
              <a:pPr algn="ctr" defTabSz="822797">
                <a:lnSpc>
                  <a:spcPct val="90000"/>
                </a:lnSpc>
                <a:spcBef>
                  <a:spcPct val="20000"/>
                </a:spcBef>
                <a:spcAft>
                  <a:spcPts val="554"/>
                </a:spcAft>
                <a:buClr>
                  <a:srgbClr val="ADADAD"/>
                </a:buClr>
                <a:buSzPct val="80000"/>
              </a:pPr>
              <a:r>
                <a:rPr lang="en-US" sz="1700" dirty="0"/>
                <a:t>Access Control</a:t>
              </a:r>
            </a:p>
          </p:txBody>
        </p:sp>
        <p:pic>
          <p:nvPicPr>
            <p:cNvPr id="12" name="Picture 2"/>
            <p:cNvPicPr>
              <a:picLocks noChangeAspect="1" noChangeArrowheads="1"/>
            </p:cNvPicPr>
            <p:nvPr/>
          </p:nvPicPr>
          <p:blipFill>
            <a:blip r:embed="rId2" cstate="email">
              <a:biLevel thresh="50000"/>
              <a:extLst>
                <a:ext uri="{28A0092B-C50C-407E-A947-70E740481C1C}">
                  <a14:useLocalDpi xmlns:a14="http://schemas.microsoft.com/office/drawing/2010/main"/>
                </a:ext>
              </a:extLst>
            </a:blip>
            <a:srcRect/>
            <a:stretch>
              <a:fillRect/>
            </a:stretch>
          </p:blipFill>
          <p:spPr bwMode="auto">
            <a:xfrm>
              <a:off x="4242738" y="2957411"/>
              <a:ext cx="565705" cy="4933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6" name="Group 5"/>
          <p:cNvGrpSpPr/>
          <p:nvPr/>
        </p:nvGrpSpPr>
        <p:grpSpPr>
          <a:xfrm>
            <a:off x="4619080" y="1928768"/>
            <a:ext cx="1990687" cy="1314450"/>
            <a:chOff x="6157170" y="2571691"/>
            <a:chExt cx="2653558" cy="1752600"/>
          </a:xfrm>
        </p:grpSpPr>
        <p:sp>
          <p:nvSpPr>
            <p:cNvPr id="18" name="Rectangle 17"/>
            <p:cNvSpPr/>
            <p:nvPr/>
          </p:nvSpPr>
          <p:spPr bwMode="auto">
            <a:xfrm>
              <a:off x="6340949" y="2571691"/>
              <a:ext cx="2286000" cy="175260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10" name="Title 15"/>
            <p:cNvSpPr txBox="1">
              <a:spLocks/>
            </p:cNvSpPr>
            <p:nvPr/>
          </p:nvSpPr>
          <p:spPr bwMode="auto">
            <a:xfrm>
              <a:off x="6157170" y="3447988"/>
              <a:ext cx="2653558" cy="318549"/>
            </a:xfrm>
            <a:prstGeom prst="rect">
              <a:avLst/>
            </a:prstGeom>
            <a:noFill/>
            <a:ln w="9525">
              <a:noFill/>
              <a:miter lim="800000"/>
              <a:headEnd/>
              <a:tailEnd/>
            </a:ln>
          </p:spPr>
          <p:txBody>
            <a:bodyPr wrap="square" lIns="0" tIns="0" rIns="0" bIns="0">
              <a:spAutoFit/>
            </a:bodyPr>
            <a:lstStyle/>
            <a:p>
              <a:pPr algn="ctr" defTabSz="822797">
                <a:lnSpc>
                  <a:spcPct val="90000"/>
                </a:lnSpc>
                <a:spcBef>
                  <a:spcPct val="20000"/>
                </a:spcBef>
                <a:spcAft>
                  <a:spcPts val="554"/>
                </a:spcAft>
                <a:buClr>
                  <a:srgbClr val="ADADAD"/>
                </a:buClr>
                <a:buSzPct val="80000"/>
              </a:pPr>
              <a:r>
                <a:rPr lang="en-US" sz="1700" dirty="0"/>
                <a:t>Auditing</a:t>
              </a:r>
            </a:p>
          </p:txBody>
        </p:sp>
        <p:pic>
          <p:nvPicPr>
            <p:cNvPr id="13" name="Picture 14"/>
            <p:cNvPicPr>
              <a:picLocks noChangeAspect="1" noChangeArrowheads="1"/>
            </p:cNvPicPr>
            <p:nvPr/>
          </p:nvPicPr>
          <p:blipFill>
            <a:blip r:embed="rId3" cstate="email">
              <a:biLevel thresh="50000"/>
              <a:extLst>
                <a:ext uri="{28A0092B-C50C-407E-A947-70E740481C1C}">
                  <a14:useLocalDpi xmlns:a14="http://schemas.microsoft.com/office/drawing/2010/main"/>
                </a:ext>
              </a:extLst>
            </a:blip>
            <a:srcRect/>
            <a:stretch>
              <a:fillRect/>
            </a:stretch>
          </p:blipFill>
          <p:spPr bwMode="auto">
            <a:xfrm>
              <a:off x="7203501" y="2895600"/>
              <a:ext cx="560896" cy="55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4" name="Group 3"/>
          <p:cNvGrpSpPr/>
          <p:nvPr/>
        </p:nvGrpSpPr>
        <p:grpSpPr>
          <a:xfrm>
            <a:off x="227468" y="1943100"/>
            <a:ext cx="1990687" cy="1314450"/>
            <a:chOff x="303212" y="2590800"/>
            <a:chExt cx="2653558" cy="1752600"/>
          </a:xfrm>
        </p:grpSpPr>
        <p:sp>
          <p:nvSpPr>
            <p:cNvPr id="16" name="Rectangle 15"/>
            <p:cNvSpPr/>
            <p:nvPr/>
          </p:nvSpPr>
          <p:spPr bwMode="auto">
            <a:xfrm>
              <a:off x="531812" y="2590800"/>
              <a:ext cx="2286000" cy="175260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8" name="Title 15"/>
            <p:cNvSpPr txBox="1">
              <a:spLocks/>
            </p:cNvSpPr>
            <p:nvPr/>
          </p:nvSpPr>
          <p:spPr bwMode="auto">
            <a:xfrm>
              <a:off x="303212" y="3450763"/>
              <a:ext cx="2653558" cy="318549"/>
            </a:xfrm>
            <a:prstGeom prst="rect">
              <a:avLst/>
            </a:prstGeom>
            <a:noFill/>
            <a:ln w="9525">
              <a:noFill/>
              <a:miter lim="800000"/>
              <a:headEnd/>
              <a:tailEnd/>
            </a:ln>
          </p:spPr>
          <p:txBody>
            <a:bodyPr wrap="square" lIns="0" tIns="0" rIns="0" bIns="0">
              <a:spAutoFit/>
            </a:bodyPr>
            <a:lstStyle/>
            <a:p>
              <a:pPr algn="ctr" defTabSz="822797">
                <a:lnSpc>
                  <a:spcPct val="90000"/>
                </a:lnSpc>
                <a:spcBef>
                  <a:spcPct val="20000"/>
                </a:spcBef>
                <a:spcAft>
                  <a:spcPts val="554"/>
                </a:spcAft>
                <a:buClr>
                  <a:srgbClr val="ADADAD"/>
                </a:buClr>
                <a:buSzPct val="80000"/>
              </a:pPr>
              <a:r>
                <a:rPr lang="en-US" sz="1700" dirty="0"/>
                <a:t>Classification</a:t>
              </a:r>
            </a:p>
          </p:txBody>
        </p:sp>
        <p:pic>
          <p:nvPicPr>
            <p:cNvPr id="14" name="Picture 17"/>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1323174" y="2957843"/>
              <a:ext cx="613634" cy="4929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7" name="Group 6"/>
          <p:cNvGrpSpPr/>
          <p:nvPr/>
        </p:nvGrpSpPr>
        <p:grpSpPr>
          <a:xfrm>
            <a:off x="6791347" y="1925736"/>
            <a:ext cx="1990687" cy="1314450"/>
            <a:chOff x="9052770" y="2567648"/>
            <a:chExt cx="2653558" cy="1752600"/>
          </a:xfrm>
        </p:grpSpPr>
        <p:sp>
          <p:nvSpPr>
            <p:cNvPr id="19" name="Rectangle 18"/>
            <p:cNvSpPr/>
            <p:nvPr/>
          </p:nvSpPr>
          <p:spPr bwMode="auto">
            <a:xfrm>
              <a:off x="9236548" y="2567648"/>
              <a:ext cx="2286000" cy="175260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11" name="Title 15"/>
            <p:cNvSpPr txBox="1">
              <a:spLocks/>
            </p:cNvSpPr>
            <p:nvPr/>
          </p:nvSpPr>
          <p:spPr bwMode="auto">
            <a:xfrm>
              <a:off x="9052770" y="3447989"/>
              <a:ext cx="2653558" cy="318549"/>
            </a:xfrm>
            <a:prstGeom prst="rect">
              <a:avLst/>
            </a:prstGeom>
            <a:noFill/>
            <a:ln w="9525">
              <a:noFill/>
              <a:miter lim="800000"/>
              <a:headEnd/>
              <a:tailEnd/>
            </a:ln>
          </p:spPr>
          <p:txBody>
            <a:bodyPr wrap="square" lIns="0" tIns="0" rIns="0" bIns="0">
              <a:spAutoFit/>
            </a:bodyPr>
            <a:lstStyle/>
            <a:p>
              <a:pPr algn="ctr" defTabSz="822797">
                <a:lnSpc>
                  <a:spcPct val="90000"/>
                </a:lnSpc>
                <a:spcBef>
                  <a:spcPct val="20000"/>
                </a:spcBef>
                <a:spcAft>
                  <a:spcPts val="554"/>
                </a:spcAft>
                <a:buClr>
                  <a:srgbClr val="ADADAD"/>
                </a:buClr>
                <a:buSzPct val="80000"/>
              </a:pPr>
              <a:r>
                <a:rPr lang="en-US" sz="1700" dirty="0"/>
                <a:t>RMS Protection</a:t>
              </a:r>
            </a:p>
          </p:txBody>
        </p:sp>
        <p:pic>
          <p:nvPicPr>
            <p:cNvPr id="15" name="Picture 6"/>
            <p:cNvPicPr>
              <a:picLocks noChangeAspect="1" noChangeArrowheads="1"/>
            </p:cNvPicPr>
            <p:nvPr/>
          </p:nvPicPr>
          <p:blipFill>
            <a:blip r:embed="rId5" cstate="email">
              <a:biLevel thresh="50000"/>
              <a:extLst>
                <a:ext uri="{28A0092B-C50C-407E-A947-70E740481C1C}">
                  <a14:useLocalDpi xmlns:a14="http://schemas.microsoft.com/office/drawing/2010/main"/>
                </a:ext>
              </a:extLst>
            </a:blip>
            <a:srcRect/>
            <a:stretch>
              <a:fillRect/>
            </a:stretch>
          </p:blipFill>
          <p:spPr bwMode="auto">
            <a:xfrm>
              <a:off x="10171773" y="2910747"/>
              <a:ext cx="415551" cy="5372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3" name="TextBox 2"/>
          <p:cNvSpPr txBox="1"/>
          <p:nvPr/>
        </p:nvSpPr>
        <p:spPr>
          <a:xfrm>
            <a:off x="1599426" y="3943350"/>
            <a:ext cx="5830818" cy="470898"/>
          </a:xfrm>
          <a:prstGeom prst="rect">
            <a:avLst/>
          </a:prstGeom>
          <a:noFill/>
        </p:spPr>
        <p:txBody>
          <a:bodyPr wrap="square" lIns="68586" tIns="68586" rIns="68586" bIns="68586" rtlCol="0">
            <a:spAutoFit/>
          </a:bodyPr>
          <a:lstStyle/>
          <a:p>
            <a:pPr algn="ctr">
              <a:lnSpc>
                <a:spcPct val="90000"/>
              </a:lnSpc>
              <a:spcBef>
                <a:spcPct val="20000"/>
              </a:spcBef>
              <a:buSzPct val="90000"/>
            </a:pPr>
            <a:r>
              <a:rPr lang="en-US" sz="2400" dirty="0">
                <a:solidFill>
                  <a:schemeClr val="tx1">
                    <a:alpha val="99000"/>
                  </a:schemeClr>
                </a:solidFill>
              </a:rPr>
              <a:t>What data do I have?</a:t>
            </a:r>
          </a:p>
        </p:txBody>
      </p:sp>
      <p:sp>
        <p:nvSpPr>
          <p:cNvPr id="20" name="TextBox 19"/>
          <p:cNvSpPr txBox="1"/>
          <p:nvPr/>
        </p:nvSpPr>
        <p:spPr>
          <a:xfrm>
            <a:off x="1713756" y="4057650"/>
            <a:ext cx="5830818" cy="470898"/>
          </a:xfrm>
          <a:prstGeom prst="rect">
            <a:avLst/>
          </a:prstGeom>
          <a:noFill/>
        </p:spPr>
        <p:txBody>
          <a:bodyPr wrap="square" lIns="68586" tIns="68586" rIns="68586" bIns="68586" rtlCol="0">
            <a:spAutoFit/>
          </a:bodyPr>
          <a:lstStyle/>
          <a:p>
            <a:pPr algn="ctr">
              <a:lnSpc>
                <a:spcPct val="90000"/>
              </a:lnSpc>
              <a:spcBef>
                <a:spcPct val="20000"/>
              </a:spcBef>
              <a:buSzPct val="90000"/>
            </a:pPr>
            <a:r>
              <a:rPr lang="en-US" sz="2400" dirty="0">
                <a:solidFill>
                  <a:schemeClr val="tx1">
                    <a:alpha val="99000"/>
                  </a:schemeClr>
                </a:solidFill>
              </a:rPr>
              <a:t>Who should have accessed it?</a:t>
            </a:r>
          </a:p>
        </p:txBody>
      </p:sp>
      <p:sp>
        <p:nvSpPr>
          <p:cNvPr id="21" name="TextBox 20"/>
          <p:cNvSpPr txBox="1"/>
          <p:nvPr/>
        </p:nvSpPr>
        <p:spPr>
          <a:xfrm>
            <a:off x="1828085" y="4171950"/>
            <a:ext cx="5830818" cy="470898"/>
          </a:xfrm>
          <a:prstGeom prst="rect">
            <a:avLst/>
          </a:prstGeom>
          <a:noFill/>
        </p:spPr>
        <p:txBody>
          <a:bodyPr wrap="square" lIns="68586" tIns="68586" rIns="68586" bIns="68586" rtlCol="0">
            <a:spAutoFit/>
          </a:bodyPr>
          <a:lstStyle/>
          <a:p>
            <a:pPr algn="ctr">
              <a:lnSpc>
                <a:spcPct val="90000"/>
              </a:lnSpc>
              <a:spcBef>
                <a:spcPct val="20000"/>
              </a:spcBef>
              <a:buSzPct val="90000"/>
            </a:pPr>
            <a:r>
              <a:rPr lang="en-US" sz="2400" dirty="0">
                <a:solidFill>
                  <a:schemeClr val="tx1">
                    <a:alpha val="99000"/>
                  </a:schemeClr>
                </a:solidFill>
              </a:rPr>
              <a:t>Who has accessed it, and how?</a:t>
            </a:r>
          </a:p>
        </p:txBody>
      </p:sp>
      <p:sp>
        <p:nvSpPr>
          <p:cNvPr id="22" name="TextBox 21"/>
          <p:cNvSpPr txBox="1"/>
          <p:nvPr/>
        </p:nvSpPr>
        <p:spPr>
          <a:xfrm>
            <a:off x="1942415" y="4286250"/>
            <a:ext cx="5830818" cy="470898"/>
          </a:xfrm>
          <a:prstGeom prst="rect">
            <a:avLst/>
          </a:prstGeom>
          <a:noFill/>
        </p:spPr>
        <p:txBody>
          <a:bodyPr wrap="square" lIns="68586" tIns="68586" rIns="68586" bIns="68586" rtlCol="0">
            <a:spAutoFit/>
          </a:bodyPr>
          <a:lstStyle/>
          <a:p>
            <a:pPr algn="ctr">
              <a:lnSpc>
                <a:spcPct val="90000"/>
              </a:lnSpc>
              <a:spcBef>
                <a:spcPct val="20000"/>
              </a:spcBef>
              <a:buSzPct val="90000"/>
            </a:pPr>
            <a:r>
              <a:rPr lang="en-US" sz="2400" dirty="0">
                <a:solidFill>
                  <a:schemeClr val="tx1">
                    <a:alpha val="99000"/>
                  </a:schemeClr>
                </a:solidFill>
              </a:rPr>
              <a:t>How do I protect my sensitive data?</a:t>
            </a:r>
          </a:p>
        </p:txBody>
      </p:sp>
      <p:sp>
        <p:nvSpPr>
          <p:cNvPr id="23"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4"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6"/>
              </a:rPr>
              <a:t>www.rapidbbs.cn</a:t>
            </a:r>
            <a:endParaRPr lang="zh-CN" altLang="en-US" sz="1200" b="0">
              <a:latin typeface="Arial" charset="0"/>
              <a:ea typeface="ＭＳ Ｐゴシック" pitchFamily="34" charset="-128"/>
            </a:endParaRPr>
          </a:p>
        </p:txBody>
      </p:sp>
      <p:pic>
        <p:nvPicPr>
          <p:cNvPr id="25" name="Picture 2">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134230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xit" presetSubtype="0" fill="hold" grpId="1" nodeType="clickEffect">
                                  <p:stCondLst>
                                    <p:cond delay="0"/>
                                  </p:stCondLst>
                                  <p:childTnLst>
                                    <p:animEffect transition="out" filter="fade">
                                      <p:cBhvr>
                                        <p:cTn id="15" dur="500"/>
                                        <p:tgtEl>
                                          <p:spTgt spid="3"/>
                                        </p:tgtEl>
                                      </p:cBhvr>
                                    </p:animEffect>
                                    <p:set>
                                      <p:cBhvr>
                                        <p:cTn id="16" dur="1" fill="hold">
                                          <p:stCondLst>
                                            <p:cond delay="499"/>
                                          </p:stCondLst>
                                        </p:cTn>
                                        <p:tgtEl>
                                          <p:spTgt spid="3"/>
                                        </p:tgtEl>
                                        <p:attrNameLst>
                                          <p:attrName>style.visibility</p:attrName>
                                        </p:attrNameLst>
                                      </p:cBhvr>
                                      <p:to>
                                        <p:strVal val="hidden"/>
                                      </p:to>
                                    </p:set>
                                  </p:childTnLst>
                                </p:cTn>
                              </p:par>
                            </p:childTnLst>
                          </p:cTn>
                        </p:par>
                        <p:par>
                          <p:cTn id="17" fill="hold">
                            <p:stCondLst>
                              <p:cond delay="500"/>
                            </p:stCondLst>
                            <p:childTnLst>
                              <p:par>
                                <p:cTn id="18" presetID="2" presetClass="entr" presetSubtype="4" fill="hold" nodeType="afterEffect">
                                  <p:stCondLst>
                                    <p:cond delay="0"/>
                                  </p:stCondLst>
                                  <p:childTnLst>
                                    <p:set>
                                      <p:cBhvr>
                                        <p:cTn id="19" dur="1" fill="hold">
                                          <p:stCondLst>
                                            <p:cond delay="0"/>
                                          </p:stCondLst>
                                        </p:cTn>
                                        <p:tgtEl>
                                          <p:spTgt spid="5"/>
                                        </p:tgtEl>
                                        <p:attrNameLst>
                                          <p:attrName>style.visibility</p:attrName>
                                        </p:attrNameLst>
                                      </p:cBhvr>
                                      <p:to>
                                        <p:strVal val="visible"/>
                                      </p:to>
                                    </p:set>
                                    <p:anim calcmode="lin" valueType="num">
                                      <p:cBhvr additive="base">
                                        <p:cTn id="20" dur="500" fill="hold"/>
                                        <p:tgtEl>
                                          <p:spTgt spid="5"/>
                                        </p:tgtEl>
                                        <p:attrNameLst>
                                          <p:attrName>ppt_x</p:attrName>
                                        </p:attrNameLst>
                                      </p:cBhvr>
                                      <p:tavLst>
                                        <p:tav tm="0">
                                          <p:val>
                                            <p:strVal val="#ppt_x"/>
                                          </p:val>
                                        </p:tav>
                                        <p:tav tm="100000">
                                          <p:val>
                                            <p:strVal val="#ppt_x"/>
                                          </p:val>
                                        </p:tav>
                                      </p:tavLst>
                                    </p:anim>
                                    <p:anim calcmode="lin" valueType="num">
                                      <p:cBhvr additive="base">
                                        <p:cTn id="21" dur="500" fill="hold"/>
                                        <p:tgtEl>
                                          <p:spTgt spid="5"/>
                                        </p:tgtEl>
                                        <p:attrNameLst>
                                          <p:attrName>ppt_y</p:attrName>
                                        </p:attrNameLst>
                                      </p:cBhvr>
                                      <p:tavLst>
                                        <p:tav tm="0">
                                          <p:val>
                                            <p:strVal val="1+#ppt_h/2"/>
                                          </p:val>
                                        </p:tav>
                                        <p:tav tm="100000">
                                          <p:val>
                                            <p:strVal val="#ppt_y"/>
                                          </p:val>
                                        </p:tav>
                                      </p:tavLst>
                                    </p:anim>
                                  </p:childTnLst>
                                </p:cTn>
                              </p:par>
                              <p:par>
                                <p:cTn id="22" presetID="10" presetClass="entr" presetSubtype="0" fill="hold" grpId="0" nodeType="with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xit" presetSubtype="0" fill="hold" grpId="1" nodeType="clickEffect">
                                  <p:stCondLst>
                                    <p:cond delay="0"/>
                                  </p:stCondLst>
                                  <p:childTnLst>
                                    <p:animEffect transition="out" filter="fade">
                                      <p:cBhvr>
                                        <p:cTn id="28" dur="500"/>
                                        <p:tgtEl>
                                          <p:spTgt spid="20"/>
                                        </p:tgtEl>
                                      </p:cBhvr>
                                    </p:animEffect>
                                    <p:set>
                                      <p:cBhvr>
                                        <p:cTn id="29" dur="1" fill="hold">
                                          <p:stCondLst>
                                            <p:cond delay="499"/>
                                          </p:stCondLst>
                                        </p:cTn>
                                        <p:tgtEl>
                                          <p:spTgt spid="20"/>
                                        </p:tgtEl>
                                        <p:attrNameLst>
                                          <p:attrName>style.visibility</p:attrName>
                                        </p:attrNameLst>
                                      </p:cBhvr>
                                      <p:to>
                                        <p:strVal val="hidden"/>
                                      </p:to>
                                    </p:set>
                                  </p:childTnLst>
                                </p:cTn>
                              </p:par>
                            </p:childTnLst>
                          </p:cTn>
                        </p:par>
                        <p:par>
                          <p:cTn id="30" fill="hold">
                            <p:stCondLst>
                              <p:cond delay="500"/>
                            </p:stCondLst>
                            <p:childTnLst>
                              <p:par>
                                <p:cTn id="31" presetID="2" presetClass="entr" presetSubtype="4" fill="hold" nodeType="afterEffect">
                                  <p:stCondLst>
                                    <p:cond delay="0"/>
                                  </p:stCondLst>
                                  <p:childTnLst>
                                    <p:set>
                                      <p:cBhvr>
                                        <p:cTn id="32" dur="1" fill="hold">
                                          <p:stCondLst>
                                            <p:cond delay="0"/>
                                          </p:stCondLst>
                                        </p:cTn>
                                        <p:tgtEl>
                                          <p:spTgt spid="6"/>
                                        </p:tgtEl>
                                        <p:attrNameLst>
                                          <p:attrName>style.visibility</p:attrName>
                                        </p:attrNameLst>
                                      </p:cBhvr>
                                      <p:to>
                                        <p:strVal val="visible"/>
                                      </p:to>
                                    </p:set>
                                    <p:anim calcmode="lin" valueType="num">
                                      <p:cBhvr additive="base">
                                        <p:cTn id="33" dur="500" fill="hold"/>
                                        <p:tgtEl>
                                          <p:spTgt spid="6"/>
                                        </p:tgtEl>
                                        <p:attrNameLst>
                                          <p:attrName>ppt_x</p:attrName>
                                        </p:attrNameLst>
                                      </p:cBhvr>
                                      <p:tavLst>
                                        <p:tav tm="0">
                                          <p:val>
                                            <p:strVal val="#ppt_x"/>
                                          </p:val>
                                        </p:tav>
                                        <p:tav tm="100000">
                                          <p:val>
                                            <p:strVal val="#ppt_x"/>
                                          </p:val>
                                        </p:tav>
                                      </p:tavLst>
                                    </p:anim>
                                    <p:anim calcmode="lin" valueType="num">
                                      <p:cBhvr additive="base">
                                        <p:cTn id="34" dur="500" fill="hold"/>
                                        <p:tgtEl>
                                          <p:spTgt spid="6"/>
                                        </p:tgtEl>
                                        <p:attrNameLst>
                                          <p:attrName>ppt_y</p:attrName>
                                        </p:attrNameLst>
                                      </p:cBhvr>
                                      <p:tavLst>
                                        <p:tav tm="0">
                                          <p:val>
                                            <p:strVal val="1+#ppt_h/2"/>
                                          </p:val>
                                        </p:tav>
                                        <p:tav tm="100000">
                                          <p:val>
                                            <p:strVal val="#ppt_y"/>
                                          </p:val>
                                        </p:tav>
                                      </p:tavLst>
                                    </p:anim>
                                  </p:childTnLst>
                                </p:cTn>
                              </p:par>
                              <p:par>
                                <p:cTn id="35" presetID="10" presetClass="entr" presetSubtype="0" fill="hold" grpId="0" nodeType="withEffect">
                                  <p:stCondLst>
                                    <p:cond delay="0"/>
                                  </p:stCondLst>
                                  <p:childTnLst>
                                    <p:set>
                                      <p:cBhvr>
                                        <p:cTn id="36" dur="1" fill="hold">
                                          <p:stCondLst>
                                            <p:cond delay="0"/>
                                          </p:stCondLst>
                                        </p:cTn>
                                        <p:tgtEl>
                                          <p:spTgt spid="21"/>
                                        </p:tgtEl>
                                        <p:attrNameLst>
                                          <p:attrName>style.visibility</p:attrName>
                                        </p:attrNameLst>
                                      </p:cBhvr>
                                      <p:to>
                                        <p:strVal val="visible"/>
                                      </p:to>
                                    </p:set>
                                    <p:animEffect transition="in" filter="fade">
                                      <p:cBhvr>
                                        <p:cTn id="37" dur="500"/>
                                        <p:tgtEl>
                                          <p:spTgt spid="21"/>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xit" presetSubtype="0" fill="hold" grpId="1" nodeType="clickEffect">
                                  <p:stCondLst>
                                    <p:cond delay="0"/>
                                  </p:stCondLst>
                                  <p:childTnLst>
                                    <p:animEffect transition="out" filter="fade">
                                      <p:cBhvr>
                                        <p:cTn id="41" dur="500"/>
                                        <p:tgtEl>
                                          <p:spTgt spid="21"/>
                                        </p:tgtEl>
                                      </p:cBhvr>
                                    </p:animEffect>
                                    <p:set>
                                      <p:cBhvr>
                                        <p:cTn id="42" dur="1" fill="hold">
                                          <p:stCondLst>
                                            <p:cond delay="499"/>
                                          </p:stCondLst>
                                        </p:cTn>
                                        <p:tgtEl>
                                          <p:spTgt spid="21"/>
                                        </p:tgtEl>
                                        <p:attrNameLst>
                                          <p:attrName>style.visibility</p:attrName>
                                        </p:attrNameLst>
                                      </p:cBhvr>
                                      <p:to>
                                        <p:strVal val="hidden"/>
                                      </p:to>
                                    </p:set>
                                  </p:childTnLst>
                                </p:cTn>
                              </p:par>
                            </p:childTnLst>
                          </p:cTn>
                        </p:par>
                        <p:par>
                          <p:cTn id="43" fill="hold">
                            <p:stCondLst>
                              <p:cond delay="500"/>
                            </p:stCondLst>
                            <p:childTnLst>
                              <p:par>
                                <p:cTn id="44" presetID="2" presetClass="entr" presetSubtype="4" fill="hold" nodeType="afterEffect">
                                  <p:stCondLst>
                                    <p:cond delay="0"/>
                                  </p:stCondLst>
                                  <p:childTnLst>
                                    <p:set>
                                      <p:cBhvr>
                                        <p:cTn id="45" dur="1" fill="hold">
                                          <p:stCondLst>
                                            <p:cond delay="0"/>
                                          </p:stCondLst>
                                        </p:cTn>
                                        <p:tgtEl>
                                          <p:spTgt spid="7"/>
                                        </p:tgtEl>
                                        <p:attrNameLst>
                                          <p:attrName>style.visibility</p:attrName>
                                        </p:attrNameLst>
                                      </p:cBhvr>
                                      <p:to>
                                        <p:strVal val="visible"/>
                                      </p:to>
                                    </p:set>
                                    <p:anim calcmode="lin" valueType="num">
                                      <p:cBhvr additive="base">
                                        <p:cTn id="46" dur="500" fill="hold"/>
                                        <p:tgtEl>
                                          <p:spTgt spid="7"/>
                                        </p:tgtEl>
                                        <p:attrNameLst>
                                          <p:attrName>ppt_x</p:attrName>
                                        </p:attrNameLst>
                                      </p:cBhvr>
                                      <p:tavLst>
                                        <p:tav tm="0">
                                          <p:val>
                                            <p:strVal val="#ppt_x"/>
                                          </p:val>
                                        </p:tav>
                                        <p:tav tm="100000">
                                          <p:val>
                                            <p:strVal val="#ppt_x"/>
                                          </p:val>
                                        </p:tav>
                                      </p:tavLst>
                                    </p:anim>
                                    <p:anim calcmode="lin" valueType="num">
                                      <p:cBhvr additive="base">
                                        <p:cTn id="47" dur="500" fill="hold"/>
                                        <p:tgtEl>
                                          <p:spTgt spid="7"/>
                                        </p:tgtEl>
                                        <p:attrNameLst>
                                          <p:attrName>ppt_y</p:attrName>
                                        </p:attrNameLst>
                                      </p:cBhvr>
                                      <p:tavLst>
                                        <p:tav tm="0">
                                          <p:val>
                                            <p:strVal val="1+#ppt_h/2"/>
                                          </p:val>
                                        </p:tav>
                                        <p:tav tm="100000">
                                          <p:val>
                                            <p:strVal val="#ppt_y"/>
                                          </p:val>
                                        </p:tav>
                                      </p:tavLst>
                                    </p:anim>
                                  </p:childTnLst>
                                </p:cTn>
                              </p:par>
                              <p:par>
                                <p:cTn id="48" presetID="10" presetClass="entr" presetSubtype="0" fill="hold" grpId="0" nodeType="withEffect">
                                  <p:stCondLst>
                                    <p:cond delay="0"/>
                                  </p:stCondLst>
                                  <p:childTnLst>
                                    <p:set>
                                      <p:cBhvr>
                                        <p:cTn id="49" dur="1" fill="hold">
                                          <p:stCondLst>
                                            <p:cond delay="0"/>
                                          </p:stCondLst>
                                        </p:cTn>
                                        <p:tgtEl>
                                          <p:spTgt spid="22"/>
                                        </p:tgtEl>
                                        <p:attrNameLst>
                                          <p:attrName>style.visibility</p:attrName>
                                        </p:attrNameLst>
                                      </p:cBhvr>
                                      <p:to>
                                        <p:strVal val="visible"/>
                                      </p:to>
                                    </p:set>
                                    <p:animEffect transition="in" filter="fade">
                                      <p:cBhvr>
                                        <p:cTn id="50"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P spid="20" grpId="0"/>
      <p:bldP spid="20" grpId="1"/>
      <p:bldP spid="21" grpId="0"/>
      <p:bldP spid="21" grpId="1"/>
      <p:bldP spid="22" grpId="0"/>
    </p:bldLst>
  </p:timing>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Classify Information</a:t>
            </a:r>
            <a:endParaRPr lang="en-US" dirty="0"/>
          </a:p>
        </p:txBody>
      </p:sp>
      <p:cxnSp>
        <p:nvCxnSpPr>
          <p:cNvPr id="13" name="Straight Arrow Connector 12"/>
          <p:cNvCxnSpPr/>
          <p:nvPr/>
        </p:nvCxnSpPr>
        <p:spPr>
          <a:xfrm>
            <a:off x="3828856" y="2803294"/>
            <a:ext cx="590699" cy="226807"/>
          </a:xfrm>
          <a:prstGeom prst="straightConnector1">
            <a:avLst/>
          </a:prstGeom>
          <a:ln>
            <a:headEnd type="none" w="med" len="med"/>
            <a:tailEnd type="arrow" w="med" len="med"/>
          </a:ln>
        </p:spPr>
        <p:style>
          <a:lnRef idx="3">
            <a:schemeClr val="accent1"/>
          </a:lnRef>
          <a:fillRef idx="0">
            <a:schemeClr val="accent1"/>
          </a:fillRef>
          <a:effectRef idx="2">
            <a:schemeClr val="accent1"/>
          </a:effectRef>
          <a:fontRef idx="minor">
            <a:schemeClr val="tx1"/>
          </a:fontRef>
        </p:style>
      </p:cxnSp>
      <p:sp>
        <p:nvSpPr>
          <p:cNvPr id="17" name="Arc 16"/>
          <p:cNvSpPr/>
          <p:nvPr/>
        </p:nvSpPr>
        <p:spPr>
          <a:xfrm>
            <a:off x="4724359" y="2110538"/>
            <a:ext cx="1596615" cy="971550"/>
          </a:xfrm>
          <a:prstGeom prst="arc">
            <a:avLst>
              <a:gd name="adj1" fmla="val 11412010"/>
              <a:gd name="adj2" fmla="val 20792755"/>
            </a:avLst>
          </a:prstGeom>
          <a:ln>
            <a:solidFill>
              <a:schemeClr val="tx1"/>
            </a:solidFill>
            <a:headEnd type="none" w="med" len="med"/>
            <a:tailEnd type="arrow" w="med" len="med"/>
          </a:ln>
        </p:spPr>
        <p:style>
          <a:lnRef idx="3">
            <a:schemeClr val="accent4"/>
          </a:lnRef>
          <a:fillRef idx="0">
            <a:schemeClr val="accent4"/>
          </a:fillRef>
          <a:effectRef idx="2">
            <a:schemeClr val="accent4"/>
          </a:effectRef>
          <a:fontRef idx="minor">
            <a:schemeClr val="tx1"/>
          </a:fontRef>
        </p:style>
        <p:txBody>
          <a:bodyPr lIns="91424" tIns="45712" rIns="91424" bIns="45712" rtlCol="0" anchor="ctr"/>
          <a:lstStyle/>
          <a:p>
            <a:pPr algn="ctr"/>
            <a:endParaRPr lang="en-US" dirty="0"/>
          </a:p>
        </p:txBody>
      </p:sp>
      <p:sp>
        <p:nvSpPr>
          <p:cNvPr id="18" name="TextBox 17"/>
          <p:cNvSpPr txBox="1"/>
          <p:nvPr/>
        </p:nvSpPr>
        <p:spPr>
          <a:xfrm>
            <a:off x="3808932" y="1623485"/>
            <a:ext cx="1912416" cy="246221"/>
          </a:xfrm>
          <a:prstGeom prst="rect">
            <a:avLst/>
          </a:prstGeom>
          <a:noFill/>
        </p:spPr>
        <p:txBody>
          <a:bodyPr wrap="square" lIns="0" tIns="0" rIns="0" bIns="0" rtlCol="0">
            <a:spAutoFit/>
          </a:bodyPr>
          <a:lstStyle/>
          <a:p>
            <a:pPr algn="ctr"/>
            <a:r>
              <a:rPr lang="en-US" sz="1600" dirty="0">
                <a:latin typeface="+mj-lt"/>
              </a:rPr>
              <a:t>Modify / Create file</a:t>
            </a:r>
          </a:p>
        </p:txBody>
      </p:sp>
      <p:sp>
        <p:nvSpPr>
          <p:cNvPr id="19" name="TextBox 18"/>
          <p:cNvSpPr txBox="1"/>
          <p:nvPr/>
        </p:nvSpPr>
        <p:spPr>
          <a:xfrm>
            <a:off x="5829628" y="3666523"/>
            <a:ext cx="1736724" cy="461665"/>
          </a:xfrm>
          <a:prstGeom prst="rect">
            <a:avLst/>
          </a:prstGeom>
          <a:noFill/>
        </p:spPr>
        <p:txBody>
          <a:bodyPr wrap="square" lIns="0" tIns="0" rIns="0" bIns="0" rtlCol="0">
            <a:spAutoFit/>
          </a:bodyPr>
          <a:lstStyle/>
          <a:p>
            <a:pPr algn="ctr"/>
            <a:r>
              <a:rPr lang="en-US" sz="1500" dirty="0">
                <a:latin typeface="+mj-lt"/>
              </a:rPr>
              <a:t>Determine classification</a:t>
            </a:r>
          </a:p>
        </p:txBody>
      </p:sp>
      <p:sp>
        <p:nvSpPr>
          <p:cNvPr id="20" name="TextBox 19"/>
          <p:cNvSpPr txBox="1"/>
          <p:nvPr/>
        </p:nvSpPr>
        <p:spPr>
          <a:xfrm>
            <a:off x="3906651" y="3711733"/>
            <a:ext cx="1238627" cy="492443"/>
          </a:xfrm>
          <a:prstGeom prst="rect">
            <a:avLst/>
          </a:prstGeom>
          <a:noFill/>
        </p:spPr>
        <p:txBody>
          <a:bodyPr wrap="square" lIns="0" tIns="0" rIns="0" bIns="0" rtlCol="0">
            <a:spAutoFit/>
          </a:bodyPr>
          <a:lstStyle/>
          <a:p>
            <a:pPr algn="ctr"/>
            <a:r>
              <a:rPr lang="en-US" sz="1600" dirty="0">
                <a:latin typeface="+mj-lt"/>
              </a:rPr>
              <a:t>Save classification</a:t>
            </a:r>
          </a:p>
        </p:txBody>
      </p:sp>
      <p:sp>
        <p:nvSpPr>
          <p:cNvPr id="21" name="Arc 20"/>
          <p:cNvSpPr/>
          <p:nvPr/>
        </p:nvSpPr>
        <p:spPr>
          <a:xfrm rot="10800000">
            <a:off x="4663192" y="2925803"/>
            <a:ext cx="1770476" cy="971550"/>
          </a:xfrm>
          <a:prstGeom prst="arc">
            <a:avLst>
              <a:gd name="adj1" fmla="val 11005620"/>
              <a:gd name="adj2" fmla="val 21229780"/>
            </a:avLst>
          </a:prstGeom>
          <a:ln>
            <a:solidFill>
              <a:schemeClr val="tx1"/>
            </a:solidFill>
            <a:headEnd type="none" w="med" len="med"/>
            <a:tailEnd type="arrow" w="med" len="med"/>
          </a:ln>
        </p:spPr>
        <p:style>
          <a:lnRef idx="3">
            <a:schemeClr val="accent4"/>
          </a:lnRef>
          <a:fillRef idx="0">
            <a:schemeClr val="accent4"/>
          </a:fillRef>
          <a:effectRef idx="2">
            <a:schemeClr val="accent4"/>
          </a:effectRef>
          <a:fontRef idx="minor">
            <a:schemeClr val="tx1"/>
          </a:fontRef>
        </p:style>
        <p:txBody>
          <a:bodyPr lIns="91424" tIns="45712" rIns="91424" bIns="45712" rtlCol="0" anchor="ctr"/>
          <a:lstStyle/>
          <a:p>
            <a:pPr algn="ctr"/>
            <a:endParaRPr lang="en-US" dirty="0"/>
          </a:p>
        </p:txBody>
      </p:sp>
      <p:sp>
        <p:nvSpPr>
          <p:cNvPr id="3" name="Rounded Rectangle 2"/>
          <p:cNvSpPr/>
          <p:nvPr/>
        </p:nvSpPr>
        <p:spPr>
          <a:xfrm>
            <a:off x="7344311" y="1591326"/>
            <a:ext cx="1343561" cy="763186"/>
          </a:xfrm>
          <a:prstGeom prst="roundRect">
            <a:avLst>
              <a:gd name="adj" fmla="val 0"/>
            </a:avLst>
          </a:prstGeom>
          <a:solidFill>
            <a:schemeClr val="bg1"/>
          </a:solidFill>
          <a:ln>
            <a:noFill/>
          </a:ln>
        </p:spPr>
        <p:style>
          <a:lnRef idx="2">
            <a:schemeClr val="accent2">
              <a:shade val="50000"/>
            </a:schemeClr>
          </a:lnRef>
          <a:fillRef idx="1">
            <a:schemeClr val="accent2"/>
          </a:fillRef>
          <a:effectRef idx="0">
            <a:schemeClr val="accent2"/>
          </a:effectRef>
          <a:fontRef idx="minor">
            <a:schemeClr val="lt1"/>
          </a:fontRef>
        </p:style>
        <p:txBody>
          <a:bodyPr lIns="91424" tIns="45712" rIns="91424" bIns="45712" rtlCol="0" anchor="ctr"/>
          <a:lstStyle/>
          <a:p>
            <a:pPr algn="ctr"/>
            <a:r>
              <a:rPr lang="en-US" sz="1600" dirty="0">
                <a:latin typeface="+mj-lt"/>
              </a:rPr>
              <a:t>In-box content classifier</a:t>
            </a:r>
          </a:p>
        </p:txBody>
      </p:sp>
      <p:sp>
        <p:nvSpPr>
          <p:cNvPr id="40" name="Rounded Rectangle 39"/>
          <p:cNvSpPr/>
          <p:nvPr/>
        </p:nvSpPr>
        <p:spPr>
          <a:xfrm>
            <a:off x="7346455" y="2499677"/>
            <a:ext cx="1341417" cy="789968"/>
          </a:xfrm>
          <a:prstGeom prst="roundRect">
            <a:avLst>
              <a:gd name="adj" fmla="val 0"/>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lIns="91424" tIns="45712" rIns="91424" bIns="45712" rtlCol="0" anchor="ctr"/>
          <a:lstStyle/>
          <a:p>
            <a:pPr algn="ctr"/>
            <a:r>
              <a:rPr lang="en-US" sz="1600" dirty="0">
                <a:latin typeface="+mj-lt"/>
              </a:rPr>
              <a:t>3</a:t>
            </a:r>
            <a:r>
              <a:rPr lang="en-US" sz="1600" baseline="30000" dirty="0">
                <a:latin typeface="+mj-lt"/>
              </a:rPr>
              <a:t>rd</a:t>
            </a:r>
            <a:r>
              <a:rPr lang="en-US" sz="1600" dirty="0">
                <a:latin typeface="+mj-lt"/>
              </a:rPr>
              <a:t> party classification plugin</a:t>
            </a:r>
          </a:p>
        </p:txBody>
      </p:sp>
      <p:cxnSp>
        <p:nvCxnSpPr>
          <p:cNvPr id="5" name="Straight Arrow Connector 4"/>
          <p:cNvCxnSpPr/>
          <p:nvPr/>
        </p:nvCxnSpPr>
        <p:spPr>
          <a:xfrm flipV="1">
            <a:off x="6910530" y="2293390"/>
            <a:ext cx="353683" cy="290888"/>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42" name="Straight Arrow Connector 41"/>
          <p:cNvCxnSpPr>
            <a:stCxn id="736" idx="3"/>
          </p:cNvCxnSpPr>
          <p:nvPr/>
        </p:nvCxnSpPr>
        <p:spPr>
          <a:xfrm>
            <a:off x="6858595" y="2946868"/>
            <a:ext cx="405617" cy="19700"/>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pic>
        <p:nvPicPr>
          <p:cNvPr id="22" name="Picture 21"/>
          <p:cNvPicPr>
            <a:picLocks noChangeAspect="1" noChangeArrowheads="1"/>
          </p:cNvPicPr>
          <p:nvPr/>
        </p:nvPicPr>
        <p:blipFill>
          <a:blip r:embed="rId2" cstate="email">
            <a:biLevel thresh="25000"/>
            <a:extLst>
              <a:ext uri="{28A0092B-C50C-407E-A947-70E740481C1C}">
                <a14:useLocalDpi xmlns:a14="http://schemas.microsoft.com/office/drawing/2010/main"/>
              </a:ext>
            </a:extLst>
          </a:blip>
          <a:srcRect/>
          <a:stretch>
            <a:fillRect/>
          </a:stretch>
        </p:blipFill>
        <p:spPr bwMode="auto">
          <a:xfrm flipH="1">
            <a:off x="2906789" y="2032865"/>
            <a:ext cx="826739" cy="9140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Picture 8"/>
          <p:cNvPicPr>
            <a:picLocks noChangeAspect="1" noChangeArrowheads="1"/>
          </p:cNvPicPr>
          <p:nvPr/>
        </p:nvPicPr>
        <p:blipFill>
          <a:blip r:embed="rId3" cstate="email">
            <a:biLevel thresh="50000"/>
            <a:extLst>
              <a:ext uri="{28A0092B-C50C-407E-A947-70E740481C1C}">
                <a14:useLocalDpi xmlns:a14="http://schemas.microsoft.com/office/drawing/2010/main"/>
              </a:ext>
            </a:extLst>
          </a:blip>
          <a:srcRect/>
          <a:stretch>
            <a:fillRect/>
          </a:stretch>
        </p:blipFill>
        <p:spPr bwMode="auto">
          <a:xfrm>
            <a:off x="3828858" y="2050741"/>
            <a:ext cx="447297" cy="5106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Picture 14"/>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4525964" y="2535889"/>
            <a:ext cx="1049009" cy="9630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6" name="Group 5"/>
          <p:cNvGrpSpPr/>
          <p:nvPr/>
        </p:nvGrpSpPr>
        <p:grpSpPr>
          <a:xfrm>
            <a:off x="-115520" y="1210907"/>
            <a:ext cx="3001637" cy="825155"/>
            <a:chOff x="-153988" y="1614541"/>
            <a:chExt cx="4001141" cy="1100207"/>
          </a:xfrm>
        </p:grpSpPr>
        <p:sp>
          <p:nvSpPr>
            <p:cNvPr id="26" name="Rectangle 25"/>
            <p:cNvSpPr/>
            <p:nvPr/>
          </p:nvSpPr>
          <p:spPr bwMode="auto">
            <a:xfrm>
              <a:off x="-153988" y="1614541"/>
              <a:ext cx="4001141" cy="11002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0" rIns="45720" bIns="91440" numCol="1" spcCol="0" rtlCol="0" fromWordArt="0" anchor="t" anchorCtr="0" forceAA="0" compatLnSpc="1">
              <a:prstTxWarp prst="textNoShape">
                <a:avLst/>
              </a:prstTxWarp>
              <a:noAutofit/>
            </a:bodyPr>
            <a:lstStyle/>
            <a:p>
              <a:pPr algn="ctr" defTabSz="685637" fontAlgn="base">
                <a:spcBef>
                  <a:spcPct val="0"/>
                </a:spcBef>
                <a:spcAft>
                  <a:spcPct val="0"/>
                </a:spcAft>
              </a:pP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 name="TextBox 3"/>
            <p:cNvSpPr txBox="1"/>
            <p:nvPr/>
          </p:nvSpPr>
          <p:spPr>
            <a:xfrm>
              <a:off x="1065211" y="1828800"/>
              <a:ext cx="2781941" cy="689420"/>
            </a:xfrm>
            <a:prstGeom prst="rect">
              <a:avLst/>
            </a:prstGeom>
            <a:noFill/>
          </p:spPr>
          <p:txBody>
            <a:bodyPr wrap="square" lIns="91440" tIns="91440" rIns="91440" bIns="91440" rtlCol="0">
              <a:spAutoFit/>
            </a:bodyPr>
            <a:lstStyle/>
            <a:p>
              <a:pPr algn="r">
                <a:lnSpc>
                  <a:spcPct val="90000"/>
                </a:lnSpc>
                <a:spcBef>
                  <a:spcPct val="20000"/>
                </a:spcBef>
                <a:buClr>
                  <a:srgbClr val="84A8D8"/>
                </a:buClr>
                <a:buSzPct val="100000"/>
              </a:pPr>
              <a:r>
                <a:rPr lang="en-US" sz="2400" dirty="0">
                  <a:solidFill>
                    <a:schemeClr val="tx1">
                      <a:alpha val="99000"/>
                    </a:schemeClr>
                  </a:solidFill>
                  <a:latin typeface="+mj-lt"/>
                </a:rPr>
                <a:t>Location</a:t>
              </a:r>
            </a:p>
          </p:txBody>
        </p:sp>
        <p:pic>
          <p:nvPicPr>
            <p:cNvPr id="722" name="Picture 13"/>
            <p:cNvPicPr>
              <a:picLocks noChangeAspect="1" noChangeArrowheads="1"/>
            </p:cNvPicPr>
            <p:nvPr/>
          </p:nvPicPr>
          <p:blipFill>
            <a:blip r:embed="rId5" cstate="email">
              <a:biLevel thresh="50000"/>
              <a:extLst>
                <a:ext uri="{28A0092B-C50C-407E-A947-70E740481C1C}">
                  <a14:useLocalDpi xmlns:a14="http://schemas.microsoft.com/office/drawing/2010/main"/>
                </a:ext>
              </a:extLst>
            </a:blip>
            <a:srcRect/>
            <a:stretch>
              <a:fillRect/>
            </a:stretch>
          </p:blipFill>
          <p:spPr bwMode="auto">
            <a:xfrm>
              <a:off x="198711" y="1745032"/>
              <a:ext cx="839227" cy="8392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723" name="Group 722"/>
          <p:cNvGrpSpPr/>
          <p:nvPr/>
        </p:nvGrpSpPr>
        <p:grpSpPr>
          <a:xfrm>
            <a:off x="-137909" y="2171702"/>
            <a:ext cx="3001637" cy="825155"/>
            <a:chOff x="-153988" y="1614541"/>
            <a:chExt cx="4001141" cy="1100207"/>
          </a:xfrm>
          <a:solidFill>
            <a:schemeClr val="accent2"/>
          </a:solidFill>
        </p:grpSpPr>
        <p:sp>
          <p:nvSpPr>
            <p:cNvPr id="724" name="Rectangle 723"/>
            <p:cNvSpPr/>
            <p:nvPr/>
          </p:nvSpPr>
          <p:spPr bwMode="auto">
            <a:xfrm>
              <a:off x="-153988" y="1614541"/>
              <a:ext cx="4001141" cy="110020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0" rIns="45720" bIns="91440" numCol="1" spcCol="0" rtlCol="0" fromWordArt="0" anchor="t" anchorCtr="0" forceAA="0" compatLnSpc="1">
              <a:prstTxWarp prst="textNoShape">
                <a:avLst/>
              </a:prstTxWarp>
              <a:noAutofit/>
            </a:bodyPr>
            <a:lstStyle/>
            <a:p>
              <a:pPr algn="ctr" defTabSz="685637" fontAlgn="base">
                <a:spcBef>
                  <a:spcPct val="0"/>
                </a:spcBef>
                <a:spcAft>
                  <a:spcPct val="0"/>
                </a:spcAft>
              </a:pP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725" name="TextBox 724"/>
            <p:cNvSpPr txBox="1"/>
            <p:nvPr/>
          </p:nvSpPr>
          <p:spPr>
            <a:xfrm>
              <a:off x="1065211" y="1828800"/>
              <a:ext cx="2781941" cy="689420"/>
            </a:xfrm>
            <a:prstGeom prst="rect">
              <a:avLst/>
            </a:prstGeom>
            <a:grpFill/>
          </p:spPr>
          <p:txBody>
            <a:bodyPr wrap="square" lIns="91440" tIns="91440" rIns="91440" bIns="91440" rtlCol="0">
              <a:spAutoFit/>
            </a:bodyPr>
            <a:lstStyle/>
            <a:p>
              <a:pPr algn="r">
                <a:lnSpc>
                  <a:spcPct val="90000"/>
                </a:lnSpc>
                <a:spcBef>
                  <a:spcPct val="20000"/>
                </a:spcBef>
                <a:buClr>
                  <a:srgbClr val="84A8D8"/>
                </a:buClr>
                <a:buSzPct val="100000"/>
              </a:pPr>
              <a:r>
                <a:rPr lang="en-US" sz="2400" dirty="0">
                  <a:solidFill>
                    <a:schemeClr val="tx1">
                      <a:alpha val="99000"/>
                    </a:schemeClr>
                  </a:solidFill>
                  <a:latin typeface="+mj-lt"/>
                </a:rPr>
                <a:t>Manual</a:t>
              </a:r>
            </a:p>
          </p:txBody>
        </p:sp>
      </p:grpSp>
      <p:grpSp>
        <p:nvGrpSpPr>
          <p:cNvPr id="728" name="Group 727"/>
          <p:cNvGrpSpPr/>
          <p:nvPr/>
        </p:nvGrpSpPr>
        <p:grpSpPr>
          <a:xfrm>
            <a:off x="-144584" y="3128952"/>
            <a:ext cx="3001637" cy="825155"/>
            <a:chOff x="-153988" y="1614541"/>
            <a:chExt cx="4001141" cy="1100207"/>
          </a:xfrm>
          <a:solidFill>
            <a:schemeClr val="accent6"/>
          </a:solidFill>
        </p:grpSpPr>
        <p:sp>
          <p:nvSpPr>
            <p:cNvPr id="729" name="Rectangle 728"/>
            <p:cNvSpPr/>
            <p:nvPr/>
          </p:nvSpPr>
          <p:spPr bwMode="auto">
            <a:xfrm>
              <a:off x="-153988" y="1614541"/>
              <a:ext cx="4001141" cy="110020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0" rIns="45720" bIns="91440" numCol="1" spcCol="0" rtlCol="0" fromWordArt="0" anchor="t" anchorCtr="0" forceAA="0" compatLnSpc="1">
              <a:prstTxWarp prst="textNoShape">
                <a:avLst/>
              </a:prstTxWarp>
              <a:noAutofit/>
            </a:bodyPr>
            <a:lstStyle/>
            <a:p>
              <a:pPr algn="ctr" defTabSz="685637" fontAlgn="base">
                <a:spcBef>
                  <a:spcPct val="0"/>
                </a:spcBef>
                <a:spcAft>
                  <a:spcPct val="0"/>
                </a:spcAft>
              </a:pP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730" name="TextBox 729"/>
            <p:cNvSpPr txBox="1"/>
            <p:nvPr/>
          </p:nvSpPr>
          <p:spPr>
            <a:xfrm>
              <a:off x="1065211" y="1828800"/>
              <a:ext cx="2781941" cy="689420"/>
            </a:xfrm>
            <a:prstGeom prst="rect">
              <a:avLst/>
            </a:prstGeom>
            <a:grpFill/>
          </p:spPr>
          <p:txBody>
            <a:bodyPr wrap="square" lIns="91440" tIns="91440" rIns="91440" bIns="91440" rtlCol="0">
              <a:spAutoFit/>
            </a:bodyPr>
            <a:lstStyle/>
            <a:p>
              <a:pPr algn="r">
                <a:lnSpc>
                  <a:spcPct val="90000"/>
                </a:lnSpc>
                <a:spcBef>
                  <a:spcPct val="20000"/>
                </a:spcBef>
                <a:buClr>
                  <a:srgbClr val="84A8D8"/>
                </a:buClr>
                <a:buSzPct val="100000"/>
              </a:pPr>
              <a:r>
                <a:rPr lang="en-US" sz="2400" dirty="0">
                  <a:solidFill>
                    <a:schemeClr val="tx1">
                      <a:alpha val="99000"/>
                    </a:schemeClr>
                  </a:solidFill>
                  <a:latin typeface="+mj-lt"/>
                </a:rPr>
                <a:t>Contextual</a:t>
              </a:r>
            </a:p>
          </p:txBody>
        </p:sp>
      </p:grpSp>
      <p:grpSp>
        <p:nvGrpSpPr>
          <p:cNvPr id="732" name="Group 731"/>
          <p:cNvGrpSpPr/>
          <p:nvPr/>
        </p:nvGrpSpPr>
        <p:grpSpPr>
          <a:xfrm>
            <a:off x="-166971" y="4089746"/>
            <a:ext cx="3001637" cy="825155"/>
            <a:chOff x="-153988" y="1614541"/>
            <a:chExt cx="4001141" cy="1100207"/>
          </a:xfrm>
          <a:solidFill>
            <a:schemeClr val="accent3"/>
          </a:solidFill>
        </p:grpSpPr>
        <p:sp>
          <p:nvSpPr>
            <p:cNvPr id="733" name="Rectangle 732"/>
            <p:cNvSpPr/>
            <p:nvPr/>
          </p:nvSpPr>
          <p:spPr bwMode="auto">
            <a:xfrm>
              <a:off x="-153988" y="1614541"/>
              <a:ext cx="4001141" cy="110020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0" rIns="45720" bIns="91440" numCol="1" spcCol="0" rtlCol="0" fromWordArt="0" anchor="t" anchorCtr="0" forceAA="0" compatLnSpc="1">
              <a:prstTxWarp prst="textNoShape">
                <a:avLst/>
              </a:prstTxWarp>
              <a:noAutofit/>
            </a:bodyPr>
            <a:lstStyle/>
            <a:p>
              <a:pPr algn="ctr" defTabSz="685637" fontAlgn="base">
                <a:spcBef>
                  <a:spcPct val="0"/>
                </a:spcBef>
                <a:spcAft>
                  <a:spcPct val="0"/>
                </a:spcAft>
              </a:pP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734" name="TextBox 733"/>
            <p:cNvSpPr txBox="1"/>
            <p:nvPr/>
          </p:nvSpPr>
          <p:spPr>
            <a:xfrm>
              <a:off x="1065211" y="1828800"/>
              <a:ext cx="2781941" cy="689420"/>
            </a:xfrm>
            <a:prstGeom prst="rect">
              <a:avLst/>
            </a:prstGeom>
            <a:grpFill/>
          </p:spPr>
          <p:txBody>
            <a:bodyPr wrap="square" lIns="91440" tIns="91440" rIns="91440" bIns="91440" rtlCol="0">
              <a:spAutoFit/>
            </a:bodyPr>
            <a:lstStyle/>
            <a:p>
              <a:pPr algn="r">
                <a:lnSpc>
                  <a:spcPct val="90000"/>
                </a:lnSpc>
                <a:spcBef>
                  <a:spcPct val="20000"/>
                </a:spcBef>
                <a:buClr>
                  <a:srgbClr val="84A8D8"/>
                </a:buClr>
                <a:buSzPct val="100000"/>
              </a:pPr>
              <a:r>
                <a:rPr lang="en-US" sz="2400" dirty="0">
                  <a:solidFill>
                    <a:schemeClr val="tx1">
                      <a:alpha val="99000"/>
                    </a:schemeClr>
                  </a:solidFill>
                  <a:latin typeface="+mj-lt"/>
                </a:rPr>
                <a:t>Application</a:t>
              </a:r>
            </a:p>
          </p:txBody>
        </p:sp>
      </p:grpSp>
      <p:pic>
        <p:nvPicPr>
          <p:cNvPr id="736" name="Picture 10"/>
          <p:cNvPicPr>
            <a:picLocks noChangeAspect="1" noChangeArrowheads="1"/>
          </p:cNvPicPr>
          <p:nvPr/>
        </p:nvPicPr>
        <p:blipFill>
          <a:blip r:embed="rId6" cstate="email">
            <a:biLevel thresh="50000"/>
            <a:extLst>
              <a:ext uri="{28A0092B-C50C-407E-A947-70E740481C1C}">
                <a14:useLocalDpi xmlns:a14="http://schemas.microsoft.com/office/drawing/2010/main"/>
              </a:ext>
            </a:extLst>
          </a:blip>
          <a:srcRect/>
          <a:stretch>
            <a:fillRect/>
          </a:stretch>
        </p:blipFill>
        <p:spPr bwMode="auto">
          <a:xfrm>
            <a:off x="5783353" y="2528760"/>
            <a:ext cx="1075243" cy="8362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37" name="Picture 13"/>
          <p:cNvPicPr>
            <a:picLocks noChangeAspect="1" noChangeArrowheads="1"/>
          </p:cNvPicPr>
          <p:nvPr/>
        </p:nvPicPr>
        <p:blipFill>
          <a:blip r:embed="rId7" cstate="email">
            <a:biLevel thresh="50000"/>
            <a:extLst>
              <a:ext uri="{28A0092B-C50C-407E-A947-70E740481C1C}">
                <a14:useLocalDpi xmlns:a14="http://schemas.microsoft.com/office/drawing/2010/main"/>
              </a:ext>
            </a:extLst>
          </a:blip>
          <a:srcRect/>
          <a:stretch>
            <a:fillRect/>
          </a:stretch>
        </p:blipFill>
        <p:spPr bwMode="auto">
          <a:xfrm>
            <a:off x="170303" y="2300728"/>
            <a:ext cx="528306" cy="5567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38" name="Picture 6"/>
          <p:cNvPicPr>
            <a:picLocks noChangeAspect="1" noChangeArrowheads="1"/>
          </p:cNvPicPr>
          <p:nvPr/>
        </p:nvPicPr>
        <p:blipFill>
          <a:blip r:embed="rId8" cstate="email">
            <a:biLevel thresh="50000"/>
            <a:extLst>
              <a:ext uri="{28A0092B-C50C-407E-A947-70E740481C1C}">
                <a14:useLocalDpi xmlns:a14="http://schemas.microsoft.com/office/drawing/2010/main"/>
              </a:ext>
            </a:extLst>
          </a:blip>
          <a:srcRect/>
          <a:stretch>
            <a:fillRect/>
          </a:stretch>
        </p:blipFill>
        <p:spPr bwMode="auto">
          <a:xfrm>
            <a:off x="125466" y="3228934"/>
            <a:ext cx="558515" cy="637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739" name="Group 738"/>
          <p:cNvGrpSpPr/>
          <p:nvPr/>
        </p:nvGrpSpPr>
        <p:grpSpPr>
          <a:xfrm>
            <a:off x="114690" y="4180854"/>
            <a:ext cx="570098" cy="642938"/>
            <a:chOff x="2757488" y="1682751"/>
            <a:chExt cx="860425" cy="1149350"/>
          </a:xfrm>
          <a:solidFill>
            <a:schemeClr val="tx1"/>
          </a:solidFill>
        </p:grpSpPr>
        <p:sp>
          <p:nvSpPr>
            <p:cNvPr id="740" name="Freeform 12"/>
            <p:cNvSpPr>
              <a:spLocks/>
            </p:cNvSpPr>
            <p:nvPr/>
          </p:nvSpPr>
          <p:spPr bwMode="auto">
            <a:xfrm>
              <a:off x="2757488" y="1984376"/>
              <a:ext cx="557213" cy="555625"/>
            </a:xfrm>
            <a:custGeom>
              <a:avLst/>
              <a:gdLst>
                <a:gd name="T0" fmla="*/ 434 w 624"/>
                <a:gd name="T1" fmla="*/ 524 h 623"/>
                <a:gd name="T2" fmla="*/ 455 w 624"/>
                <a:gd name="T3" fmla="*/ 559 h 623"/>
                <a:gd name="T4" fmla="*/ 512 w 624"/>
                <a:gd name="T5" fmla="*/ 583 h 623"/>
                <a:gd name="T6" fmla="*/ 570 w 624"/>
                <a:gd name="T7" fmla="*/ 559 h 623"/>
                <a:gd name="T8" fmla="*/ 593 w 624"/>
                <a:gd name="T9" fmla="*/ 502 h 623"/>
                <a:gd name="T10" fmla="*/ 570 w 624"/>
                <a:gd name="T11" fmla="*/ 444 h 623"/>
                <a:gd name="T12" fmla="*/ 534 w 624"/>
                <a:gd name="T13" fmla="*/ 423 h 623"/>
                <a:gd name="T14" fmla="*/ 521 w 624"/>
                <a:gd name="T15" fmla="*/ 420 h 623"/>
                <a:gd name="T16" fmla="*/ 624 w 624"/>
                <a:gd name="T17" fmla="*/ 317 h 623"/>
                <a:gd name="T18" fmla="*/ 543 w 624"/>
                <a:gd name="T19" fmla="*/ 236 h 623"/>
                <a:gd name="T20" fmla="*/ 529 w 624"/>
                <a:gd name="T21" fmla="*/ 253 h 623"/>
                <a:gd name="T22" fmla="*/ 450 w 624"/>
                <a:gd name="T23" fmla="*/ 285 h 623"/>
                <a:gd name="T24" fmla="*/ 371 w 624"/>
                <a:gd name="T25" fmla="*/ 253 h 623"/>
                <a:gd name="T26" fmla="*/ 338 w 624"/>
                <a:gd name="T27" fmla="*/ 174 h 623"/>
                <a:gd name="T28" fmla="*/ 371 w 624"/>
                <a:gd name="T29" fmla="*/ 95 h 623"/>
                <a:gd name="T30" fmla="*/ 388 w 624"/>
                <a:gd name="T31" fmla="*/ 81 h 623"/>
                <a:gd name="T32" fmla="*/ 307 w 624"/>
                <a:gd name="T33" fmla="*/ 0 h 623"/>
                <a:gd name="T34" fmla="*/ 204 w 624"/>
                <a:gd name="T35" fmla="*/ 103 h 623"/>
                <a:gd name="T36" fmla="*/ 200 w 624"/>
                <a:gd name="T37" fmla="*/ 90 h 623"/>
                <a:gd name="T38" fmla="*/ 179 w 624"/>
                <a:gd name="T39" fmla="*/ 54 h 623"/>
                <a:gd name="T40" fmla="*/ 122 w 624"/>
                <a:gd name="T41" fmla="*/ 30 h 623"/>
                <a:gd name="T42" fmla="*/ 64 w 624"/>
                <a:gd name="T43" fmla="*/ 54 h 623"/>
                <a:gd name="T44" fmla="*/ 40 w 624"/>
                <a:gd name="T45" fmla="*/ 111 h 623"/>
                <a:gd name="T46" fmla="*/ 64 w 624"/>
                <a:gd name="T47" fmla="*/ 169 h 623"/>
                <a:gd name="T48" fmla="*/ 100 w 624"/>
                <a:gd name="T49" fmla="*/ 190 h 623"/>
                <a:gd name="T50" fmla="*/ 113 w 624"/>
                <a:gd name="T51" fmla="*/ 194 h 623"/>
                <a:gd name="T52" fmla="*/ 0 w 624"/>
                <a:gd name="T53" fmla="*/ 307 h 623"/>
                <a:gd name="T54" fmla="*/ 94 w 624"/>
                <a:gd name="T55" fmla="*/ 400 h 623"/>
                <a:gd name="T56" fmla="*/ 112 w 624"/>
                <a:gd name="T57" fmla="*/ 374 h 623"/>
                <a:gd name="T58" fmla="*/ 181 w 624"/>
                <a:gd name="T59" fmla="*/ 345 h 623"/>
                <a:gd name="T60" fmla="*/ 250 w 624"/>
                <a:gd name="T61" fmla="*/ 374 h 623"/>
                <a:gd name="T62" fmla="*/ 278 w 624"/>
                <a:gd name="T63" fmla="*/ 442 h 623"/>
                <a:gd name="T64" fmla="*/ 250 w 624"/>
                <a:gd name="T65" fmla="*/ 511 h 623"/>
                <a:gd name="T66" fmla="*/ 224 w 624"/>
                <a:gd name="T67" fmla="*/ 530 h 623"/>
                <a:gd name="T68" fmla="*/ 317 w 624"/>
                <a:gd name="T69" fmla="*/ 623 h 623"/>
                <a:gd name="T70" fmla="*/ 430 w 624"/>
                <a:gd name="T71" fmla="*/ 510 h 623"/>
                <a:gd name="T72" fmla="*/ 434 w 624"/>
                <a:gd name="T73" fmla="*/ 524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24" h="623">
                  <a:moveTo>
                    <a:pt x="434" y="524"/>
                  </a:moveTo>
                  <a:cubicBezTo>
                    <a:pt x="437" y="537"/>
                    <a:pt x="444" y="549"/>
                    <a:pt x="455" y="559"/>
                  </a:cubicBezTo>
                  <a:cubicBezTo>
                    <a:pt x="471" y="575"/>
                    <a:pt x="491" y="583"/>
                    <a:pt x="512" y="583"/>
                  </a:cubicBezTo>
                  <a:cubicBezTo>
                    <a:pt x="533" y="583"/>
                    <a:pt x="554" y="575"/>
                    <a:pt x="570" y="559"/>
                  </a:cubicBezTo>
                  <a:cubicBezTo>
                    <a:pt x="586" y="543"/>
                    <a:pt x="593" y="523"/>
                    <a:pt x="593" y="502"/>
                  </a:cubicBezTo>
                  <a:cubicBezTo>
                    <a:pt x="593" y="481"/>
                    <a:pt x="586" y="460"/>
                    <a:pt x="570" y="444"/>
                  </a:cubicBezTo>
                  <a:cubicBezTo>
                    <a:pt x="559" y="434"/>
                    <a:pt x="547" y="427"/>
                    <a:pt x="534" y="423"/>
                  </a:cubicBezTo>
                  <a:cubicBezTo>
                    <a:pt x="521" y="420"/>
                    <a:pt x="521" y="420"/>
                    <a:pt x="521" y="420"/>
                  </a:cubicBezTo>
                  <a:cubicBezTo>
                    <a:pt x="624" y="317"/>
                    <a:pt x="624" y="317"/>
                    <a:pt x="624" y="317"/>
                  </a:cubicBezTo>
                  <a:cubicBezTo>
                    <a:pt x="543" y="236"/>
                    <a:pt x="543" y="236"/>
                    <a:pt x="543" y="236"/>
                  </a:cubicBezTo>
                  <a:cubicBezTo>
                    <a:pt x="539" y="242"/>
                    <a:pt x="534" y="248"/>
                    <a:pt x="529" y="253"/>
                  </a:cubicBezTo>
                  <a:cubicBezTo>
                    <a:pt x="507" y="275"/>
                    <a:pt x="478" y="285"/>
                    <a:pt x="450" y="285"/>
                  </a:cubicBezTo>
                  <a:cubicBezTo>
                    <a:pt x="421" y="285"/>
                    <a:pt x="393" y="275"/>
                    <a:pt x="371" y="253"/>
                  </a:cubicBezTo>
                  <a:cubicBezTo>
                    <a:pt x="349" y="231"/>
                    <a:pt x="338" y="202"/>
                    <a:pt x="338" y="174"/>
                  </a:cubicBezTo>
                  <a:cubicBezTo>
                    <a:pt x="338" y="145"/>
                    <a:pt x="349" y="116"/>
                    <a:pt x="371" y="95"/>
                  </a:cubicBezTo>
                  <a:cubicBezTo>
                    <a:pt x="376" y="90"/>
                    <a:pt x="382" y="85"/>
                    <a:pt x="388" y="81"/>
                  </a:cubicBezTo>
                  <a:cubicBezTo>
                    <a:pt x="307" y="0"/>
                    <a:pt x="307" y="0"/>
                    <a:pt x="307" y="0"/>
                  </a:cubicBezTo>
                  <a:cubicBezTo>
                    <a:pt x="204" y="103"/>
                    <a:pt x="204" y="103"/>
                    <a:pt x="204" y="103"/>
                  </a:cubicBezTo>
                  <a:cubicBezTo>
                    <a:pt x="200" y="90"/>
                    <a:pt x="200" y="90"/>
                    <a:pt x="200" y="90"/>
                  </a:cubicBezTo>
                  <a:cubicBezTo>
                    <a:pt x="197" y="77"/>
                    <a:pt x="190" y="64"/>
                    <a:pt x="179" y="54"/>
                  </a:cubicBezTo>
                  <a:cubicBezTo>
                    <a:pt x="163" y="38"/>
                    <a:pt x="143" y="30"/>
                    <a:pt x="122" y="30"/>
                  </a:cubicBezTo>
                  <a:cubicBezTo>
                    <a:pt x="101" y="30"/>
                    <a:pt x="80" y="38"/>
                    <a:pt x="64" y="54"/>
                  </a:cubicBezTo>
                  <a:cubicBezTo>
                    <a:pt x="48" y="70"/>
                    <a:pt x="40" y="91"/>
                    <a:pt x="40" y="111"/>
                  </a:cubicBezTo>
                  <a:cubicBezTo>
                    <a:pt x="40" y="132"/>
                    <a:pt x="48" y="153"/>
                    <a:pt x="64" y="169"/>
                  </a:cubicBezTo>
                  <a:cubicBezTo>
                    <a:pt x="75" y="179"/>
                    <a:pt x="87" y="186"/>
                    <a:pt x="100" y="190"/>
                  </a:cubicBezTo>
                  <a:cubicBezTo>
                    <a:pt x="113" y="194"/>
                    <a:pt x="113" y="194"/>
                    <a:pt x="113" y="194"/>
                  </a:cubicBezTo>
                  <a:cubicBezTo>
                    <a:pt x="0" y="307"/>
                    <a:pt x="0" y="307"/>
                    <a:pt x="0" y="307"/>
                  </a:cubicBezTo>
                  <a:cubicBezTo>
                    <a:pt x="94" y="400"/>
                    <a:pt x="94" y="400"/>
                    <a:pt x="94" y="400"/>
                  </a:cubicBezTo>
                  <a:cubicBezTo>
                    <a:pt x="98" y="390"/>
                    <a:pt x="104" y="382"/>
                    <a:pt x="112" y="374"/>
                  </a:cubicBezTo>
                  <a:cubicBezTo>
                    <a:pt x="131" y="355"/>
                    <a:pt x="156" y="345"/>
                    <a:pt x="181" y="345"/>
                  </a:cubicBezTo>
                  <a:cubicBezTo>
                    <a:pt x="206" y="345"/>
                    <a:pt x="231" y="355"/>
                    <a:pt x="250" y="374"/>
                  </a:cubicBezTo>
                  <a:cubicBezTo>
                    <a:pt x="269" y="393"/>
                    <a:pt x="278" y="418"/>
                    <a:pt x="278" y="442"/>
                  </a:cubicBezTo>
                  <a:cubicBezTo>
                    <a:pt x="278" y="467"/>
                    <a:pt x="269" y="492"/>
                    <a:pt x="250" y="511"/>
                  </a:cubicBezTo>
                  <a:cubicBezTo>
                    <a:pt x="242" y="519"/>
                    <a:pt x="233" y="525"/>
                    <a:pt x="224" y="530"/>
                  </a:cubicBezTo>
                  <a:cubicBezTo>
                    <a:pt x="317" y="623"/>
                    <a:pt x="317" y="623"/>
                    <a:pt x="317" y="623"/>
                  </a:cubicBezTo>
                  <a:cubicBezTo>
                    <a:pt x="430" y="510"/>
                    <a:pt x="430" y="510"/>
                    <a:pt x="430" y="510"/>
                  </a:cubicBezTo>
                  <a:lnTo>
                    <a:pt x="434" y="5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1" name="Freeform 13"/>
            <p:cNvSpPr>
              <a:spLocks/>
            </p:cNvSpPr>
            <p:nvPr/>
          </p:nvSpPr>
          <p:spPr bwMode="auto">
            <a:xfrm>
              <a:off x="3059113" y="2284413"/>
              <a:ext cx="547688" cy="547688"/>
            </a:xfrm>
            <a:custGeom>
              <a:avLst/>
              <a:gdLst>
                <a:gd name="T0" fmla="*/ 513 w 613"/>
                <a:gd name="T1" fmla="*/ 190 h 613"/>
                <a:gd name="T2" fmla="*/ 549 w 613"/>
                <a:gd name="T3" fmla="*/ 169 h 613"/>
                <a:gd name="T4" fmla="*/ 573 w 613"/>
                <a:gd name="T5" fmla="*/ 111 h 613"/>
                <a:gd name="T6" fmla="*/ 549 w 613"/>
                <a:gd name="T7" fmla="*/ 54 h 613"/>
                <a:gd name="T8" fmla="*/ 492 w 613"/>
                <a:gd name="T9" fmla="*/ 30 h 613"/>
                <a:gd name="T10" fmla="*/ 434 w 613"/>
                <a:gd name="T11" fmla="*/ 54 h 613"/>
                <a:gd name="T12" fmla="*/ 413 w 613"/>
                <a:gd name="T13" fmla="*/ 90 h 613"/>
                <a:gd name="T14" fmla="*/ 410 w 613"/>
                <a:gd name="T15" fmla="*/ 103 h 613"/>
                <a:gd name="T16" fmla="*/ 307 w 613"/>
                <a:gd name="T17" fmla="*/ 0 h 613"/>
                <a:gd name="T18" fmla="*/ 236 w 613"/>
                <a:gd name="T19" fmla="*/ 71 h 613"/>
                <a:gd name="T20" fmla="*/ 253 w 613"/>
                <a:gd name="T21" fmla="*/ 84 h 613"/>
                <a:gd name="T22" fmla="*/ 285 w 613"/>
                <a:gd name="T23" fmla="*/ 163 h 613"/>
                <a:gd name="T24" fmla="*/ 253 w 613"/>
                <a:gd name="T25" fmla="*/ 243 h 613"/>
                <a:gd name="T26" fmla="*/ 174 w 613"/>
                <a:gd name="T27" fmla="*/ 275 h 613"/>
                <a:gd name="T28" fmla="*/ 95 w 613"/>
                <a:gd name="T29" fmla="*/ 243 h 613"/>
                <a:gd name="T30" fmla="*/ 81 w 613"/>
                <a:gd name="T31" fmla="*/ 226 h 613"/>
                <a:gd name="T32" fmla="*/ 0 w 613"/>
                <a:gd name="T33" fmla="*/ 307 h 613"/>
                <a:gd name="T34" fmla="*/ 103 w 613"/>
                <a:gd name="T35" fmla="*/ 410 h 613"/>
                <a:gd name="T36" fmla="*/ 90 w 613"/>
                <a:gd name="T37" fmla="*/ 413 h 613"/>
                <a:gd name="T38" fmla="*/ 54 w 613"/>
                <a:gd name="T39" fmla="*/ 434 h 613"/>
                <a:gd name="T40" fmla="*/ 30 w 613"/>
                <a:gd name="T41" fmla="*/ 492 h 613"/>
                <a:gd name="T42" fmla="*/ 54 w 613"/>
                <a:gd name="T43" fmla="*/ 549 h 613"/>
                <a:gd name="T44" fmla="*/ 112 w 613"/>
                <a:gd name="T45" fmla="*/ 573 h 613"/>
                <a:gd name="T46" fmla="*/ 169 w 613"/>
                <a:gd name="T47" fmla="*/ 549 h 613"/>
                <a:gd name="T48" fmla="*/ 190 w 613"/>
                <a:gd name="T49" fmla="*/ 513 h 613"/>
                <a:gd name="T50" fmla="*/ 194 w 613"/>
                <a:gd name="T51" fmla="*/ 500 h 613"/>
                <a:gd name="T52" fmla="*/ 307 w 613"/>
                <a:gd name="T53" fmla="*/ 613 h 613"/>
                <a:gd name="T54" fmla="*/ 400 w 613"/>
                <a:gd name="T55" fmla="*/ 520 h 613"/>
                <a:gd name="T56" fmla="*/ 374 w 613"/>
                <a:gd name="T57" fmla="*/ 501 h 613"/>
                <a:gd name="T58" fmla="*/ 345 w 613"/>
                <a:gd name="T59" fmla="*/ 432 h 613"/>
                <a:gd name="T60" fmla="*/ 374 w 613"/>
                <a:gd name="T61" fmla="*/ 363 h 613"/>
                <a:gd name="T62" fmla="*/ 443 w 613"/>
                <a:gd name="T63" fmla="*/ 335 h 613"/>
                <a:gd name="T64" fmla="*/ 511 w 613"/>
                <a:gd name="T65" fmla="*/ 363 h 613"/>
                <a:gd name="T66" fmla="*/ 530 w 613"/>
                <a:gd name="T67" fmla="*/ 390 h 613"/>
                <a:gd name="T68" fmla="*/ 613 w 613"/>
                <a:gd name="T69" fmla="*/ 307 h 613"/>
                <a:gd name="T70" fmla="*/ 500 w 613"/>
                <a:gd name="T71" fmla="*/ 193 h 613"/>
                <a:gd name="T72" fmla="*/ 513 w 613"/>
                <a:gd name="T73" fmla="*/ 190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13" h="613">
                  <a:moveTo>
                    <a:pt x="513" y="190"/>
                  </a:moveTo>
                  <a:cubicBezTo>
                    <a:pt x="527" y="186"/>
                    <a:pt x="539" y="179"/>
                    <a:pt x="549" y="169"/>
                  </a:cubicBezTo>
                  <a:cubicBezTo>
                    <a:pt x="565" y="153"/>
                    <a:pt x="573" y="132"/>
                    <a:pt x="573" y="111"/>
                  </a:cubicBezTo>
                  <a:cubicBezTo>
                    <a:pt x="573" y="91"/>
                    <a:pt x="565" y="70"/>
                    <a:pt x="549" y="54"/>
                  </a:cubicBezTo>
                  <a:cubicBezTo>
                    <a:pt x="533" y="38"/>
                    <a:pt x="513" y="30"/>
                    <a:pt x="492" y="30"/>
                  </a:cubicBezTo>
                  <a:cubicBezTo>
                    <a:pt x="471" y="30"/>
                    <a:pt x="450" y="38"/>
                    <a:pt x="434" y="54"/>
                  </a:cubicBezTo>
                  <a:cubicBezTo>
                    <a:pt x="424" y="64"/>
                    <a:pt x="417" y="77"/>
                    <a:pt x="413" y="90"/>
                  </a:cubicBezTo>
                  <a:cubicBezTo>
                    <a:pt x="410" y="103"/>
                    <a:pt x="410" y="103"/>
                    <a:pt x="410" y="103"/>
                  </a:cubicBezTo>
                  <a:cubicBezTo>
                    <a:pt x="307" y="0"/>
                    <a:pt x="307" y="0"/>
                    <a:pt x="307" y="0"/>
                  </a:cubicBezTo>
                  <a:cubicBezTo>
                    <a:pt x="236" y="71"/>
                    <a:pt x="236" y="71"/>
                    <a:pt x="236" y="71"/>
                  </a:cubicBezTo>
                  <a:cubicBezTo>
                    <a:pt x="242" y="75"/>
                    <a:pt x="248" y="79"/>
                    <a:pt x="253" y="84"/>
                  </a:cubicBezTo>
                  <a:cubicBezTo>
                    <a:pt x="275" y="106"/>
                    <a:pt x="285" y="135"/>
                    <a:pt x="285" y="163"/>
                  </a:cubicBezTo>
                  <a:cubicBezTo>
                    <a:pt x="285" y="192"/>
                    <a:pt x="275" y="221"/>
                    <a:pt x="253" y="243"/>
                  </a:cubicBezTo>
                  <a:cubicBezTo>
                    <a:pt x="231" y="264"/>
                    <a:pt x="202" y="275"/>
                    <a:pt x="174" y="275"/>
                  </a:cubicBezTo>
                  <a:cubicBezTo>
                    <a:pt x="145" y="275"/>
                    <a:pt x="117" y="264"/>
                    <a:pt x="95" y="243"/>
                  </a:cubicBezTo>
                  <a:cubicBezTo>
                    <a:pt x="90" y="237"/>
                    <a:pt x="85" y="232"/>
                    <a:pt x="81" y="226"/>
                  </a:cubicBezTo>
                  <a:cubicBezTo>
                    <a:pt x="0" y="307"/>
                    <a:pt x="0" y="307"/>
                    <a:pt x="0" y="307"/>
                  </a:cubicBezTo>
                  <a:cubicBezTo>
                    <a:pt x="103" y="410"/>
                    <a:pt x="103" y="410"/>
                    <a:pt x="103" y="410"/>
                  </a:cubicBezTo>
                  <a:cubicBezTo>
                    <a:pt x="90" y="413"/>
                    <a:pt x="90" y="413"/>
                    <a:pt x="90" y="413"/>
                  </a:cubicBezTo>
                  <a:cubicBezTo>
                    <a:pt x="77" y="417"/>
                    <a:pt x="64" y="424"/>
                    <a:pt x="54" y="434"/>
                  </a:cubicBezTo>
                  <a:cubicBezTo>
                    <a:pt x="38" y="450"/>
                    <a:pt x="30" y="471"/>
                    <a:pt x="30" y="492"/>
                  </a:cubicBezTo>
                  <a:cubicBezTo>
                    <a:pt x="30" y="512"/>
                    <a:pt x="38" y="533"/>
                    <a:pt x="54" y="549"/>
                  </a:cubicBezTo>
                  <a:cubicBezTo>
                    <a:pt x="70" y="565"/>
                    <a:pt x="91" y="573"/>
                    <a:pt x="112" y="573"/>
                  </a:cubicBezTo>
                  <a:cubicBezTo>
                    <a:pt x="132" y="573"/>
                    <a:pt x="153" y="565"/>
                    <a:pt x="169" y="549"/>
                  </a:cubicBezTo>
                  <a:cubicBezTo>
                    <a:pt x="179" y="539"/>
                    <a:pt x="186" y="526"/>
                    <a:pt x="190" y="513"/>
                  </a:cubicBezTo>
                  <a:cubicBezTo>
                    <a:pt x="194" y="500"/>
                    <a:pt x="194" y="500"/>
                    <a:pt x="194" y="500"/>
                  </a:cubicBezTo>
                  <a:cubicBezTo>
                    <a:pt x="307" y="613"/>
                    <a:pt x="307" y="613"/>
                    <a:pt x="307" y="613"/>
                  </a:cubicBezTo>
                  <a:cubicBezTo>
                    <a:pt x="400" y="520"/>
                    <a:pt x="400" y="520"/>
                    <a:pt x="400" y="520"/>
                  </a:cubicBezTo>
                  <a:cubicBezTo>
                    <a:pt x="391" y="515"/>
                    <a:pt x="382" y="509"/>
                    <a:pt x="374" y="501"/>
                  </a:cubicBezTo>
                  <a:cubicBezTo>
                    <a:pt x="355" y="482"/>
                    <a:pt x="345" y="457"/>
                    <a:pt x="345" y="432"/>
                  </a:cubicBezTo>
                  <a:cubicBezTo>
                    <a:pt x="345" y="407"/>
                    <a:pt x="355" y="382"/>
                    <a:pt x="374" y="363"/>
                  </a:cubicBezTo>
                  <a:cubicBezTo>
                    <a:pt x="393" y="344"/>
                    <a:pt x="418" y="335"/>
                    <a:pt x="443" y="335"/>
                  </a:cubicBezTo>
                  <a:cubicBezTo>
                    <a:pt x="467" y="335"/>
                    <a:pt x="492" y="344"/>
                    <a:pt x="511" y="363"/>
                  </a:cubicBezTo>
                  <a:cubicBezTo>
                    <a:pt x="519" y="371"/>
                    <a:pt x="526" y="380"/>
                    <a:pt x="530" y="390"/>
                  </a:cubicBezTo>
                  <a:cubicBezTo>
                    <a:pt x="613" y="307"/>
                    <a:pt x="613" y="307"/>
                    <a:pt x="613" y="307"/>
                  </a:cubicBezTo>
                  <a:cubicBezTo>
                    <a:pt x="500" y="193"/>
                    <a:pt x="500" y="193"/>
                    <a:pt x="500" y="193"/>
                  </a:cubicBezTo>
                  <a:lnTo>
                    <a:pt x="513" y="1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2" name="Freeform 14"/>
            <p:cNvSpPr>
              <a:spLocks/>
            </p:cNvSpPr>
            <p:nvPr/>
          </p:nvSpPr>
          <p:spPr bwMode="auto">
            <a:xfrm>
              <a:off x="3051175" y="1682751"/>
              <a:ext cx="566738" cy="565150"/>
            </a:xfrm>
            <a:custGeom>
              <a:avLst/>
              <a:gdLst>
                <a:gd name="T0" fmla="*/ 100 w 634"/>
                <a:gd name="T1" fmla="*/ 433 h 633"/>
                <a:gd name="T2" fmla="*/ 64 w 634"/>
                <a:gd name="T3" fmla="*/ 454 h 633"/>
                <a:gd name="T4" fmla="*/ 41 w 634"/>
                <a:gd name="T5" fmla="*/ 512 h 633"/>
                <a:gd name="T6" fmla="*/ 64 w 634"/>
                <a:gd name="T7" fmla="*/ 569 h 633"/>
                <a:gd name="T8" fmla="*/ 122 w 634"/>
                <a:gd name="T9" fmla="*/ 593 h 633"/>
                <a:gd name="T10" fmla="*/ 179 w 634"/>
                <a:gd name="T11" fmla="*/ 569 h 633"/>
                <a:gd name="T12" fmla="*/ 200 w 634"/>
                <a:gd name="T13" fmla="*/ 533 h 633"/>
                <a:gd name="T14" fmla="*/ 204 w 634"/>
                <a:gd name="T15" fmla="*/ 520 h 633"/>
                <a:gd name="T16" fmla="*/ 317 w 634"/>
                <a:gd name="T17" fmla="*/ 633 h 633"/>
                <a:gd name="T18" fmla="*/ 410 w 634"/>
                <a:gd name="T19" fmla="*/ 540 h 633"/>
                <a:gd name="T20" fmla="*/ 384 w 634"/>
                <a:gd name="T21" fmla="*/ 521 h 633"/>
                <a:gd name="T22" fmla="*/ 356 w 634"/>
                <a:gd name="T23" fmla="*/ 452 h 633"/>
                <a:gd name="T24" fmla="*/ 384 w 634"/>
                <a:gd name="T25" fmla="*/ 384 h 633"/>
                <a:gd name="T26" fmla="*/ 453 w 634"/>
                <a:gd name="T27" fmla="*/ 355 h 633"/>
                <a:gd name="T28" fmla="*/ 522 w 634"/>
                <a:gd name="T29" fmla="*/ 384 h 633"/>
                <a:gd name="T30" fmla="*/ 540 w 634"/>
                <a:gd name="T31" fmla="*/ 410 h 633"/>
                <a:gd name="T32" fmla="*/ 634 w 634"/>
                <a:gd name="T33" fmla="*/ 317 h 633"/>
                <a:gd name="T34" fmla="*/ 521 w 634"/>
                <a:gd name="T35" fmla="*/ 203 h 633"/>
                <a:gd name="T36" fmla="*/ 534 w 634"/>
                <a:gd name="T37" fmla="*/ 200 h 633"/>
                <a:gd name="T38" fmla="*/ 570 w 634"/>
                <a:gd name="T39" fmla="*/ 179 h 633"/>
                <a:gd name="T40" fmla="*/ 594 w 634"/>
                <a:gd name="T41" fmla="*/ 121 h 633"/>
                <a:gd name="T42" fmla="*/ 570 w 634"/>
                <a:gd name="T43" fmla="*/ 64 h 633"/>
                <a:gd name="T44" fmla="*/ 512 w 634"/>
                <a:gd name="T45" fmla="*/ 40 h 633"/>
                <a:gd name="T46" fmla="*/ 455 w 634"/>
                <a:gd name="T47" fmla="*/ 64 h 633"/>
                <a:gd name="T48" fmla="*/ 434 w 634"/>
                <a:gd name="T49" fmla="*/ 100 h 633"/>
                <a:gd name="T50" fmla="*/ 430 w 634"/>
                <a:gd name="T51" fmla="*/ 113 h 633"/>
                <a:gd name="T52" fmla="*/ 317 w 634"/>
                <a:gd name="T53" fmla="*/ 0 h 633"/>
                <a:gd name="T54" fmla="*/ 223 w 634"/>
                <a:gd name="T55" fmla="*/ 94 h 633"/>
                <a:gd name="T56" fmla="*/ 253 w 634"/>
                <a:gd name="T57" fmla="*/ 115 h 633"/>
                <a:gd name="T58" fmla="*/ 281 w 634"/>
                <a:gd name="T59" fmla="*/ 184 h 633"/>
                <a:gd name="T60" fmla="*/ 253 w 634"/>
                <a:gd name="T61" fmla="*/ 252 h 633"/>
                <a:gd name="T62" fmla="*/ 184 w 634"/>
                <a:gd name="T63" fmla="*/ 281 h 633"/>
                <a:gd name="T64" fmla="*/ 115 w 634"/>
                <a:gd name="T65" fmla="*/ 252 h 633"/>
                <a:gd name="T66" fmla="*/ 115 w 634"/>
                <a:gd name="T67" fmla="*/ 252 h 633"/>
                <a:gd name="T68" fmla="*/ 95 w 634"/>
                <a:gd name="T69" fmla="*/ 222 h 633"/>
                <a:gd name="T70" fmla="*/ 0 w 634"/>
                <a:gd name="T71" fmla="*/ 317 h 633"/>
                <a:gd name="T72" fmla="*/ 113 w 634"/>
                <a:gd name="T73" fmla="*/ 430 h 633"/>
                <a:gd name="T74" fmla="*/ 100 w 634"/>
                <a:gd name="T75" fmla="*/ 433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34" h="633">
                  <a:moveTo>
                    <a:pt x="100" y="433"/>
                  </a:moveTo>
                  <a:cubicBezTo>
                    <a:pt x="87" y="437"/>
                    <a:pt x="75" y="444"/>
                    <a:pt x="64" y="454"/>
                  </a:cubicBezTo>
                  <a:cubicBezTo>
                    <a:pt x="48" y="470"/>
                    <a:pt x="41" y="491"/>
                    <a:pt x="41" y="512"/>
                  </a:cubicBezTo>
                  <a:cubicBezTo>
                    <a:pt x="41" y="533"/>
                    <a:pt x="48" y="553"/>
                    <a:pt x="64" y="569"/>
                  </a:cubicBezTo>
                  <a:cubicBezTo>
                    <a:pt x="80" y="585"/>
                    <a:pt x="101" y="593"/>
                    <a:pt x="122" y="593"/>
                  </a:cubicBezTo>
                  <a:cubicBezTo>
                    <a:pt x="143" y="593"/>
                    <a:pt x="163" y="585"/>
                    <a:pt x="179" y="569"/>
                  </a:cubicBezTo>
                  <a:cubicBezTo>
                    <a:pt x="190" y="559"/>
                    <a:pt x="197" y="547"/>
                    <a:pt x="200" y="533"/>
                  </a:cubicBezTo>
                  <a:cubicBezTo>
                    <a:pt x="204" y="520"/>
                    <a:pt x="204" y="520"/>
                    <a:pt x="204" y="520"/>
                  </a:cubicBezTo>
                  <a:cubicBezTo>
                    <a:pt x="317" y="633"/>
                    <a:pt x="317" y="633"/>
                    <a:pt x="317" y="633"/>
                  </a:cubicBezTo>
                  <a:cubicBezTo>
                    <a:pt x="410" y="540"/>
                    <a:pt x="410" y="540"/>
                    <a:pt x="410" y="540"/>
                  </a:cubicBezTo>
                  <a:cubicBezTo>
                    <a:pt x="401" y="535"/>
                    <a:pt x="392" y="529"/>
                    <a:pt x="384" y="521"/>
                  </a:cubicBezTo>
                  <a:cubicBezTo>
                    <a:pt x="365" y="502"/>
                    <a:pt x="355" y="477"/>
                    <a:pt x="356" y="452"/>
                  </a:cubicBezTo>
                  <a:cubicBezTo>
                    <a:pt x="355" y="428"/>
                    <a:pt x="365" y="403"/>
                    <a:pt x="384" y="384"/>
                  </a:cubicBezTo>
                  <a:cubicBezTo>
                    <a:pt x="403" y="365"/>
                    <a:pt x="428" y="355"/>
                    <a:pt x="453" y="355"/>
                  </a:cubicBezTo>
                  <a:cubicBezTo>
                    <a:pt x="478" y="355"/>
                    <a:pt x="503" y="365"/>
                    <a:pt x="522" y="384"/>
                  </a:cubicBezTo>
                  <a:cubicBezTo>
                    <a:pt x="530" y="391"/>
                    <a:pt x="536" y="400"/>
                    <a:pt x="540" y="410"/>
                  </a:cubicBezTo>
                  <a:cubicBezTo>
                    <a:pt x="634" y="317"/>
                    <a:pt x="634" y="317"/>
                    <a:pt x="634" y="317"/>
                  </a:cubicBezTo>
                  <a:cubicBezTo>
                    <a:pt x="521" y="203"/>
                    <a:pt x="521" y="203"/>
                    <a:pt x="521" y="203"/>
                  </a:cubicBezTo>
                  <a:cubicBezTo>
                    <a:pt x="534" y="200"/>
                    <a:pt x="534" y="200"/>
                    <a:pt x="534" y="200"/>
                  </a:cubicBezTo>
                  <a:cubicBezTo>
                    <a:pt x="547" y="196"/>
                    <a:pt x="559" y="189"/>
                    <a:pt x="570" y="179"/>
                  </a:cubicBezTo>
                  <a:cubicBezTo>
                    <a:pt x="586" y="163"/>
                    <a:pt x="594" y="142"/>
                    <a:pt x="594" y="121"/>
                  </a:cubicBezTo>
                  <a:cubicBezTo>
                    <a:pt x="594" y="101"/>
                    <a:pt x="586" y="80"/>
                    <a:pt x="570" y="64"/>
                  </a:cubicBezTo>
                  <a:cubicBezTo>
                    <a:pt x="554" y="48"/>
                    <a:pt x="533" y="40"/>
                    <a:pt x="512" y="40"/>
                  </a:cubicBezTo>
                  <a:cubicBezTo>
                    <a:pt x="491" y="40"/>
                    <a:pt x="471" y="48"/>
                    <a:pt x="455" y="64"/>
                  </a:cubicBezTo>
                  <a:cubicBezTo>
                    <a:pt x="444" y="74"/>
                    <a:pt x="437" y="87"/>
                    <a:pt x="434" y="100"/>
                  </a:cubicBezTo>
                  <a:cubicBezTo>
                    <a:pt x="430" y="113"/>
                    <a:pt x="430" y="113"/>
                    <a:pt x="430" y="113"/>
                  </a:cubicBezTo>
                  <a:cubicBezTo>
                    <a:pt x="317" y="0"/>
                    <a:pt x="317" y="0"/>
                    <a:pt x="317" y="0"/>
                  </a:cubicBezTo>
                  <a:cubicBezTo>
                    <a:pt x="223" y="94"/>
                    <a:pt x="223" y="94"/>
                    <a:pt x="223" y="94"/>
                  </a:cubicBezTo>
                  <a:cubicBezTo>
                    <a:pt x="234" y="99"/>
                    <a:pt x="244" y="106"/>
                    <a:pt x="253" y="115"/>
                  </a:cubicBezTo>
                  <a:cubicBezTo>
                    <a:pt x="272" y="134"/>
                    <a:pt x="281" y="159"/>
                    <a:pt x="281" y="184"/>
                  </a:cubicBezTo>
                  <a:cubicBezTo>
                    <a:pt x="281" y="208"/>
                    <a:pt x="272" y="233"/>
                    <a:pt x="253" y="252"/>
                  </a:cubicBezTo>
                  <a:cubicBezTo>
                    <a:pt x="234" y="271"/>
                    <a:pt x="209" y="281"/>
                    <a:pt x="184" y="281"/>
                  </a:cubicBezTo>
                  <a:cubicBezTo>
                    <a:pt x="159" y="281"/>
                    <a:pt x="134" y="271"/>
                    <a:pt x="115" y="252"/>
                  </a:cubicBezTo>
                  <a:cubicBezTo>
                    <a:pt x="115" y="252"/>
                    <a:pt x="115" y="252"/>
                    <a:pt x="115" y="252"/>
                  </a:cubicBezTo>
                  <a:cubicBezTo>
                    <a:pt x="106" y="243"/>
                    <a:pt x="99" y="233"/>
                    <a:pt x="95" y="222"/>
                  </a:cubicBezTo>
                  <a:cubicBezTo>
                    <a:pt x="0" y="317"/>
                    <a:pt x="0" y="317"/>
                    <a:pt x="0" y="317"/>
                  </a:cubicBezTo>
                  <a:cubicBezTo>
                    <a:pt x="113" y="430"/>
                    <a:pt x="113" y="430"/>
                    <a:pt x="113" y="430"/>
                  </a:cubicBezTo>
                  <a:lnTo>
                    <a:pt x="100" y="4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6"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7"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9"/>
              </a:rPr>
              <a:t>www.rapidbbs.cn</a:t>
            </a:r>
            <a:endParaRPr lang="zh-CN" altLang="en-US" sz="1200" b="0">
              <a:latin typeface="Arial" charset="0"/>
              <a:ea typeface="ＭＳ Ｐゴシック" pitchFamily="34" charset="-128"/>
            </a:endParaRPr>
          </a:p>
        </p:txBody>
      </p:sp>
      <p:pic>
        <p:nvPicPr>
          <p:cNvPr id="38" name="Picture 2">
            <a:hlinkClick r:id="rId9"/>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64534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10" presetClass="entr" presetSubtype="0" fill="hold" nodeType="withEffect">
                                  <p:stCondLst>
                                    <p:cond delay="0"/>
                                  </p:stCondLst>
                                  <p:childTnLst>
                                    <p:set>
                                      <p:cBhvr>
                                        <p:cTn id="9" dur="1" fill="hold">
                                          <p:stCondLst>
                                            <p:cond delay="0"/>
                                          </p:stCondLst>
                                        </p:cTn>
                                        <p:tgtEl>
                                          <p:spTgt spid="23"/>
                                        </p:tgtEl>
                                        <p:attrNameLst>
                                          <p:attrName>style.visibility</p:attrName>
                                        </p:attrNameLst>
                                      </p:cBhvr>
                                      <p:to>
                                        <p:strVal val="visible"/>
                                      </p:to>
                                    </p:set>
                                    <p:animEffect transition="in" filter="fade">
                                      <p:cBhvr>
                                        <p:cTn id="10" dur="500"/>
                                        <p:tgtEl>
                                          <p:spTgt spid="23"/>
                                        </p:tgtEl>
                                      </p:cBhvr>
                                    </p:animEffect>
                                  </p:childTnLst>
                                </p:cTn>
                              </p:par>
                              <p:par>
                                <p:cTn id="11" presetID="22" presetClass="entr" presetSubtype="8" fill="hold" nodeType="with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wipe(left)">
                                      <p:cBhvr>
                                        <p:cTn id="13" dur="500"/>
                                        <p:tgtEl>
                                          <p:spTgt spid="13"/>
                                        </p:tgtEl>
                                      </p:cBhvr>
                                    </p:animEffect>
                                  </p:childTnLst>
                                </p:cTn>
                              </p:par>
                            </p:childTnLst>
                          </p:cTn>
                        </p:par>
                      </p:childTnLst>
                    </p:cTn>
                  </p:par>
                  <p:par>
                    <p:cTn id="14" fill="hold">
                      <p:stCondLst>
                        <p:cond delay="indefinite"/>
                      </p:stCondLst>
                      <p:childTnLst>
                        <p:par>
                          <p:cTn id="15" fill="hold">
                            <p:stCondLst>
                              <p:cond delay="0"/>
                            </p:stCondLst>
                            <p:childTnLst>
                              <p:par>
                                <p:cTn id="16" presetID="6" presetClass="entr" presetSubtype="16" fill="hold" grpId="0" nodeType="clickEffect">
                                  <p:stCondLst>
                                    <p:cond delay="0"/>
                                  </p:stCondLst>
                                  <p:childTnLst>
                                    <p:set>
                                      <p:cBhvr>
                                        <p:cTn id="17" dur="1" fill="hold">
                                          <p:stCondLst>
                                            <p:cond delay="0"/>
                                          </p:stCondLst>
                                        </p:cTn>
                                        <p:tgtEl>
                                          <p:spTgt spid="17"/>
                                        </p:tgtEl>
                                        <p:attrNameLst>
                                          <p:attrName>style.visibility</p:attrName>
                                        </p:attrNameLst>
                                      </p:cBhvr>
                                      <p:to>
                                        <p:strVal val="visible"/>
                                      </p:to>
                                    </p:set>
                                    <p:animEffect transition="in" filter="circle(in)">
                                      <p:cBhvr>
                                        <p:cTn id="18" dur="2000"/>
                                        <p:tgtEl>
                                          <p:spTgt spid="17"/>
                                        </p:tgtEl>
                                      </p:cBhvr>
                                    </p:animEffect>
                                  </p:childTnLst>
                                </p:cTn>
                              </p:par>
                            </p:childTnLst>
                          </p:cTn>
                        </p:par>
                        <p:par>
                          <p:cTn id="19" fill="hold">
                            <p:stCondLst>
                              <p:cond delay="2000"/>
                            </p:stCondLst>
                            <p:childTnLst>
                              <p:par>
                                <p:cTn id="20" presetID="10" presetClass="entr" presetSubtype="0" fill="hold" grpId="0" nodeType="after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3"/>
                                        </p:tgtEl>
                                        <p:attrNameLst>
                                          <p:attrName>style.visibility</p:attrName>
                                        </p:attrNameLst>
                                      </p:cBhvr>
                                      <p:to>
                                        <p:strVal val="visible"/>
                                      </p:to>
                                    </p:set>
                                    <p:animEffect transition="in" filter="fade">
                                      <p:cBhvr>
                                        <p:cTn id="28" dur="500"/>
                                        <p:tgtEl>
                                          <p:spTgt spid="3"/>
                                        </p:tgtEl>
                                      </p:cBhvr>
                                    </p:animEffect>
                                  </p:childTnLst>
                                </p:cTn>
                              </p:par>
                              <p:par>
                                <p:cTn id="29" presetID="10" presetClass="entr" presetSubtype="0" fill="hold" nodeType="withEffect">
                                  <p:stCondLst>
                                    <p:cond delay="0"/>
                                  </p:stCondLst>
                                  <p:childTnLst>
                                    <p:set>
                                      <p:cBhvr>
                                        <p:cTn id="30" dur="1" fill="hold">
                                          <p:stCondLst>
                                            <p:cond delay="0"/>
                                          </p:stCondLst>
                                        </p:cTn>
                                        <p:tgtEl>
                                          <p:spTgt spid="5"/>
                                        </p:tgtEl>
                                        <p:attrNameLst>
                                          <p:attrName>style.visibility</p:attrName>
                                        </p:attrNameLst>
                                      </p:cBhvr>
                                      <p:to>
                                        <p:strVal val="visible"/>
                                      </p:to>
                                    </p:set>
                                    <p:animEffect transition="in" filter="fade">
                                      <p:cBhvr>
                                        <p:cTn id="31" dur="500"/>
                                        <p:tgtEl>
                                          <p:spTgt spid="5"/>
                                        </p:tgtEl>
                                      </p:cBhvr>
                                    </p:animEffect>
                                  </p:childTnLst>
                                </p:cTn>
                              </p:par>
                              <p:par>
                                <p:cTn id="32" presetID="10" presetClass="entr" presetSubtype="0" fill="hold" nodeType="withEffect">
                                  <p:stCondLst>
                                    <p:cond delay="0"/>
                                  </p:stCondLst>
                                  <p:childTnLst>
                                    <p:set>
                                      <p:cBhvr>
                                        <p:cTn id="33" dur="1" fill="hold">
                                          <p:stCondLst>
                                            <p:cond delay="0"/>
                                          </p:stCondLst>
                                        </p:cTn>
                                        <p:tgtEl>
                                          <p:spTgt spid="42"/>
                                        </p:tgtEl>
                                        <p:attrNameLst>
                                          <p:attrName>style.visibility</p:attrName>
                                        </p:attrNameLst>
                                      </p:cBhvr>
                                      <p:to>
                                        <p:strVal val="visible"/>
                                      </p:to>
                                    </p:set>
                                    <p:animEffect transition="in" filter="fade">
                                      <p:cBhvr>
                                        <p:cTn id="34" dur="500"/>
                                        <p:tgtEl>
                                          <p:spTgt spid="42"/>
                                        </p:tgtEl>
                                      </p:cBhvr>
                                    </p:animEffect>
                                  </p:childTnLst>
                                </p:cTn>
                              </p:par>
                            </p:childTnLst>
                          </p:cTn>
                        </p:par>
                      </p:childTnLst>
                    </p:cTn>
                  </p:par>
                  <p:par>
                    <p:cTn id="35" fill="hold">
                      <p:stCondLst>
                        <p:cond delay="indefinite"/>
                      </p:stCondLst>
                      <p:childTnLst>
                        <p:par>
                          <p:cTn id="36" fill="hold">
                            <p:stCondLst>
                              <p:cond delay="0"/>
                            </p:stCondLst>
                            <p:childTnLst>
                              <p:par>
                                <p:cTn id="37" presetID="21" presetClass="entr" presetSubtype="1" fill="hold" grpId="0" nodeType="clickEffect">
                                  <p:stCondLst>
                                    <p:cond delay="0"/>
                                  </p:stCondLst>
                                  <p:childTnLst>
                                    <p:set>
                                      <p:cBhvr>
                                        <p:cTn id="38" dur="1" fill="hold">
                                          <p:stCondLst>
                                            <p:cond delay="0"/>
                                          </p:stCondLst>
                                        </p:cTn>
                                        <p:tgtEl>
                                          <p:spTgt spid="21"/>
                                        </p:tgtEl>
                                        <p:attrNameLst>
                                          <p:attrName>style.visibility</p:attrName>
                                        </p:attrNameLst>
                                      </p:cBhvr>
                                      <p:to>
                                        <p:strVal val="visible"/>
                                      </p:to>
                                    </p:set>
                                    <p:animEffect transition="in" filter="wheel(1)">
                                      <p:cBhvr>
                                        <p:cTn id="39" dur="2000"/>
                                        <p:tgtEl>
                                          <p:spTgt spid="21"/>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0"/>
                                        </p:tgtEl>
                                        <p:attrNameLst>
                                          <p:attrName>style.visibility</p:attrName>
                                        </p:attrNameLst>
                                      </p:cBhvr>
                                      <p:to>
                                        <p:strVal val="visible"/>
                                      </p:to>
                                    </p:set>
                                    <p:animEffect transition="in" filter="fade">
                                      <p:cBhvr>
                                        <p:cTn id="42"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p:bldP spid="19" grpId="0"/>
      <p:bldP spid="20" grpId="0"/>
      <p:bldP spid="21" grpId="0" animBg="1"/>
      <p:bldP spid="3" grpId="0" animBg="1"/>
      <p:bldP spid="40" grpId="0" animBg="1"/>
    </p:bldLst>
  </p:timing>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28953"/>
            <a:ext cx="8363938" cy="457049"/>
          </a:xfrm>
        </p:spPr>
        <p:txBody>
          <a:bodyPr>
            <a:normAutofit/>
          </a:bodyPr>
          <a:lstStyle/>
          <a:p>
            <a:r>
              <a:rPr lang="en-US" dirty="0" smtClean="0"/>
              <a:t>Centralized Access to Files</a:t>
            </a:r>
            <a:endParaRPr lang="en-US" dirty="0"/>
          </a:p>
        </p:txBody>
      </p:sp>
      <p:sp>
        <p:nvSpPr>
          <p:cNvPr id="9" name="TextBox 8"/>
          <p:cNvSpPr txBox="1"/>
          <p:nvPr/>
        </p:nvSpPr>
        <p:spPr>
          <a:xfrm>
            <a:off x="228605" y="914403"/>
            <a:ext cx="138578" cy="288539"/>
          </a:xfrm>
          <a:prstGeom prst="rect">
            <a:avLst/>
          </a:prstGeom>
          <a:noFill/>
        </p:spPr>
        <p:txBody>
          <a:bodyPr wrap="none" lIns="68580" tIns="34291" rIns="68580" bIns="34291" rtlCol="0">
            <a:spAutoFit/>
          </a:bodyPr>
          <a:lstStyle/>
          <a:p>
            <a:pPr defTabSz="685805"/>
            <a:endParaRPr lang="en-US">
              <a:solidFill>
                <a:prstClr val="black"/>
              </a:solidFill>
            </a:endParaRPr>
          </a:p>
        </p:txBody>
      </p:sp>
      <p:sp>
        <p:nvSpPr>
          <p:cNvPr id="22" name="Rectangle 21"/>
          <p:cNvSpPr/>
          <p:nvPr/>
        </p:nvSpPr>
        <p:spPr>
          <a:xfrm>
            <a:off x="294717" y="2704492"/>
            <a:ext cx="2558700" cy="627422"/>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lIns="91302" tIns="45651" rIns="91302" bIns="45651" rtlCol="0" anchor="ctr"/>
          <a:lstStyle/>
          <a:p>
            <a:pPr algn="ctr"/>
            <a:r>
              <a:rPr lang="en-US" sz="1200" u="sng" dirty="0">
                <a:solidFill>
                  <a:schemeClr val="tx1"/>
                </a:solidFill>
                <a:latin typeface="+mj-lt"/>
              </a:rPr>
              <a:t>USER CLAIMS</a:t>
            </a:r>
          </a:p>
          <a:p>
            <a:pPr algn="ctr"/>
            <a:r>
              <a:rPr lang="en-US" sz="1200" dirty="0" err="1">
                <a:solidFill>
                  <a:schemeClr val="tx1"/>
                </a:solidFill>
                <a:latin typeface="+mj-lt"/>
              </a:rPr>
              <a:t>User.Department</a:t>
            </a:r>
            <a:r>
              <a:rPr lang="en-US" sz="1200" dirty="0">
                <a:solidFill>
                  <a:schemeClr val="tx1"/>
                </a:solidFill>
                <a:latin typeface="+mj-lt"/>
              </a:rPr>
              <a:t> = Finance</a:t>
            </a:r>
          </a:p>
          <a:p>
            <a:pPr algn="ctr"/>
            <a:r>
              <a:rPr lang="en-US" sz="1200" dirty="0" err="1">
                <a:solidFill>
                  <a:schemeClr val="tx1"/>
                </a:solidFill>
                <a:latin typeface="+mj-lt"/>
              </a:rPr>
              <a:t>User.Clearance</a:t>
            </a:r>
            <a:r>
              <a:rPr lang="en-US" sz="1200" dirty="0">
                <a:solidFill>
                  <a:schemeClr val="tx1"/>
                </a:solidFill>
                <a:latin typeface="+mj-lt"/>
              </a:rPr>
              <a:t> = High</a:t>
            </a:r>
          </a:p>
        </p:txBody>
      </p:sp>
      <p:sp>
        <p:nvSpPr>
          <p:cNvPr id="23" name="Rectangle 22"/>
          <p:cNvSpPr/>
          <p:nvPr/>
        </p:nvSpPr>
        <p:spPr>
          <a:xfrm>
            <a:off x="294718" y="3884228"/>
            <a:ext cx="8552042" cy="802073"/>
          </a:xfrm>
          <a:prstGeom prst="rect">
            <a:avLst/>
          </a:prstGeom>
          <a:solidFill>
            <a:schemeClr val="accent1"/>
          </a:solidFill>
          <a:ln>
            <a:noFill/>
          </a:ln>
        </p:spPr>
        <p:style>
          <a:lnRef idx="1">
            <a:schemeClr val="accent2"/>
          </a:lnRef>
          <a:fillRef idx="3">
            <a:schemeClr val="accent2"/>
          </a:fillRef>
          <a:effectRef idx="2">
            <a:schemeClr val="accent2"/>
          </a:effectRef>
          <a:fontRef idx="minor">
            <a:schemeClr val="lt1"/>
          </a:fontRef>
        </p:style>
        <p:txBody>
          <a:bodyPr lIns="91302" tIns="45651" rIns="91302" bIns="45651" rtlCol="0" anchor="ctr"/>
          <a:lstStyle/>
          <a:p>
            <a:pPr algn="ctr"/>
            <a:r>
              <a:rPr lang="en-US" u="sng" dirty="0" smtClean="0">
                <a:solidFill>
                  <a:schemeClr val="tx1">
                    <a:lumMod val="90000"/>
                    <a:lumOff val="10000"/>
                  </a:schemeClr>
                </a:solidFill>
                <a:latin typeface="+mj-lt"/>
              </a:rPr>
              <a:t>ACCESS POLICY</a:t>
            </a:r>
            <a:endParaRPr lang="en-US" u="sng" dirty="0">
              <a:solidFill>
                <a:schemeClr val="tx1">
                  <a:lumMod val="90000"/>
                  <a:lumOff val="10000"/>
                </a:schemeClr>
              </a:solidFill>
              <a:latin typeface="+mj-lt"/>
            </a:endParaRPr>
          </a:p>
          <a:p>
            <a:pPr algn="ctr"/>
            <a:r>
              <a:rPr lang="en-US" dirty="0">
                <a:solidFill>
                  <a:schemeClr val="tx1"/>
                </a:solidFill>
                <a:latin typeface="+mj-lt"/>
              </a:rPr>
              <a:t>For access to finance information that has high business impact, a user must be a finance department employee with a high security clearance, and be using a managed device registered with the finance department. </a:t>
            </a:r>
          </a:p>
        </p:txBody>
      </p:sp>
      <p:sp>
        <p:nvSpPr>
          <p:cNvPr id="24" name="Rectangle 23"/>
          <p:cNvSpPr/>
          <p:nvPr/>
        </p:nvSpPr>
        <p:spPr>
          <a:xfrm>
            <a:off x="3291388" y="2704492"/>
            <a:ext cx="2558700" cy="627668"/>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lIns="91302" tIns="45651" rIns="91302" bIns="45651" rtlCol="0" anchor="ctr"/>
          <a:lstStyle/>
          <a:p>
            <a:pPr algn="ctr"/>
            <a:r>
              <a:rPr lang="en-US" sz="1200" u="sng" dirty="0">
                <a:solidFill>
                  <a:schemeClr val="tx1"/>
                </a:solidFill>
                <a:latin typeface="+mj-lt"/>
              </a:rPr>
              <a:t>DEVICE CLAIMS</a:t>
            </a:r>
          </a:p>
          <a:p>
            <a:pPr algn="ctr"/>
            <a:r>
              <a:rPr lang="en-US" sz="1200" dirty="0" err="1">
                <a:solidFill>
                  <a:schemeClr val="tx1">
                    <a:lumMod val="75000"/>
                    <a:lumOff val="25000"/>
                  </a:schemeClr>
                </a:solidFill>
                <a:latin typeface="+mj-lt"/>
              </a:rPr>
              <a:t>Device.Department</a:t>
            </a:r>
            <a:r>
              <a:rPr lang="en-US" sz="1200" dirty="0">
                <a:solidFill>
                  <a:schemeClr val="tx1">
                    <a:lumMod val="75000"/>
                    <a:lumOff val="25000"/>
                  </a:schemeClr>
                </a:solidFill>
                <a:latin typeface="+mj-lt"/>
              </a:rPr>
              <a:t> = Finance</a:t>
            </a:r>
          </a:p>
          <a:p>
            <a:pPr algn="ctr"/>
            <a:r>
              <a:rPr lang="en-US" sz="1200" dirty="0" err="1">
                <a:solidFill>
                  <a:schemeClr val="tx1">
                    <a:lumMod val="75000"/>
                    <a:lumOff val="25000"/>
                  </a:schemeClr>
                </a:solidFill>
                <a:latin typeface="+mj-lt"/>
              </a:rPr>
              <a:t>Device.Managed</a:t>
            </a:r>
            <a:r>
              <a:rPr lang="en-US" sz="1200" dirty="0">
                <a:solidFill>
                  <a:schemeClr val="tx1">
                    <a:lumMod val="75000"/>
                    <a:lumOff val="25000"/>
                  </a:schemeClr>
                </a:solidFill>
                <a:latin typeface="+mj-lt"/>
              </a:rPr>
              <a:t> = True</a:t>
            </a:r>
          </a:p>
        </p:txBody>
      </p:sp>
      <p:sp>
        <p:nvSpPr>
          <p:cNvPr id="25" name="Rectangle 24"/>
          <p:cNvSpPr/>
          <p:nvPr/>
        </p:nvSpPr>
        <p:spPr>
          <a:xfrm>
            <a:off x="6291175" y="2704493"/>
            <a:ext cx="2555584" cy="627423"/>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lIns="91302" tIns="45651" rIns="91302" bIns="45651" rtlCol="0" anchor="ctr"/>
          <a:lstStyle/>
          <a:p>
            <a:pPr algn="ctr"/>
            <a:r>
              <a:rPr lang="en-US" sz="1200" u="sng" dirty="0">
                <a:solidFill>
                  <a:schemeClr val="tx1"/>
                </a:solidFill>
                <a:latin typeface="+mj-lt"/>
              </a:rPr>
              <a:t>FILE PROPERTIES</a:t>
            </a:r>
          </a:p>
          <a:p>
            <a:pPr algn="ctr"/>
            <a:r>
              <a:rPr lang="en-US" sz="1200" dirty="0" err="1">
                <a:solidFill>
                  <a:schemeClr val="tx1">
                    <a:lumMod val="75000"/>
                    <a:lumOff val="25000"/>
                  </a:schemeClr>
                </a:solidFill>
                <a:latin typeface="+mj-lt"/>
              </a:rPr>
              <a:t>File.Department</a:t>
            </a:r>
            <a:r>
              <a:rPr lang="en-US" sz="1200" dirty="0">
                <a:solidFill>
                  <a:schemeClr val="tx1">
                    <a:lumMod val="75000"/>
                    <a:lumOff val="25000"/>
                  </a:schemeClr>
                </a:solidFill>
                <a:latin typeface="+mj-lt"/>
              </a:rPr>
              <a:t> = Finance</a:t>
            </a:r>
          </a:p>
          <a:p>
            <a:pPr algn="ctr"/>
            <a:r>
              <a:rPr lang="en-US" sz="1200" dirty="0" err="1">
                <a:solidFill>
                  <a:schemeClr val="tx1">
                    <a:lumMod val="75000"/>
                    <a:lumOff val="25000"/>
                  </a:schemeClr>
                </a:solidFill>
                <a:latin typeface="+mj-lt"/>
              </a:rPr>
              <a:t>File.Impact</a:t>
            </a:r>
            <a:r>
              <a:rPr lang="en-US" sz="1200" dirty="0">
                <a:solidFill>
                  <a:schemeClr val="tx1">
                    <a:lumMod val="75000"/>
                    <a:lumOff val="25000"/>
                  </a:schemeClr>
                </a:solidFill>
                <a:latin typeface="+mj-lt"/>
              </a:rPr>
              <a:t> = High</a:t>
            </a:r>
          </a:p>
        </p:txBody>
      </p:sp>
      <p:cxnSp>
        <p:nvCxnSpPr>
          <p:cNvPr id="26" name="Straight Arrow Connector 25"/>
          <p:cNvCxnSpPr>
            <a:stCxn id="22" idx="2"/>
          </p:cNvCxnSpPr>
          <p:nvPr/>
        </p:nvCxnSpPr>
        <p:spPr>
          <a:xfrm>
            <a:off x="1574067" y="3331915"/>
            <a:ext cx="0" cy="552313"/>
          </a:xfrm>
          <a:prstGeom prst="straightConnector1">
            <a:avLst/>
          </a:prstGeom>
          <a:ln>
            <a:solidFill>
              <a:schemeClr val="tx1"/>
            </a:solidFill>
            <a:tailEnd type="arrow"/>
          </a:ln>
        </p:spPr>
        <p:style>
          <a:lnRef idx="3">
            <a:schemeClr val="accent6"/>
          </a:lnRef>
          <a:fillRef idx="0">
            <a:schemeClr val="accent6"/>
          </a:fillRef>
          <a:effectRef idx="2">
            <a:schemeClr val="accent6"/>
          </a:effectRef>
          <a:fontRef idx="minor">
            <a:schemeClr val="tx1"/>
          </a:fontRef>
        </p:style>
      </p:cxnSp>
      <p:cxnSp>
        <p:nvCxnSpPr>
          <p:cNvPr id="27" name="Straight Arrow Connector 26"/>
          <p:cNvCxnSpPr>
            <a:stCxn id="24" idx="2"/>
          </p:cNvCxnSpPr>
          <p:nvPr/>
        </p:nvCxnSpPr>
        <p:spPr>
          <a:xfrm>
            <a:off x="4570739" y="3332160"/>
            <a:ext cx="6481" cy="552068"/>
          </a:xfrm>
          <a:prstGeom prst="straightConnector1">
            <a:avLst/>
          </a:prstGeom>
          <a:ln>
            <a:solidFill>
              <a:schemeClr val="tx1"/>
            </a:solidFill>
            <a:tailEnd type="arrow"/>
          </a:ln>
        </p:spPr>
        <p:style>
          <a:lnRef idx="3">
            <a:schemeClr val="accent6"/>
          </a:lnRef>
          <a:fillRef idx="0">
            <a:schemeClr val="accent6"/>
          </a:fillRef>
          <a:effectRef idx="2">
            <a:schemeClr val="accent6"/>
          </a:effectRef>
          <a:fontRef idx="minor">
            <a:schemeClr val="tx1"/>
          </a:fontRef>
        </p:style>
      </p:cxnSp>
      <p:cxnSp>
        <p:nvCxnSpPr>
          <p:cNvPr id="28" name="Straight Arrow Connector 27"/>
          <p:cNvCxnSpPr>
            <a:stCxn id="25" idx="2"/>
          </p:cNvCxnSpPr>
          <p:nvPr/>
        </p:nvCxnSpPr>
        <p:spPr>
          <a:xfrm>
            <a:off x="7568967" y="3331915"/>
            <a:ext cx="0" cy="552312"/>
          </a:xfrm>
          <a:prstGeom prst="straightConnector1">
            <a:avLst/>
          </a:prstGeom>
          <a:ln>
            <a:solidFill>
              <a:schemeClr val="tx1"/>
            </a:solidFill>
            <a:tailEnd type="arrow"/>
          </a:ln>
        </p:spPr>
        <p:style>
          <a:lnRef idx="3">
            <a:schemeClr val="accent6"/>
          </a:lnRef>
          <a:fillRef idx="0">
            <a:schemeClr val="accent6"/>
          </a:fillRef>
          <a:effectRef idx="2">
            <a:schemeClr val="accent6"/>
          </a:effectRef>
          <a:fontRef idx="minor">
            <a:schemeClr val="tx1"/>
          </a:fontRef>
        </p:style>
      </p:cxnSp>
      <p:pic>
        <p:nvPicPr>
          <p:cNvPr id="29" name="Picture 13"/>
          <p:cNvPicPr>
            <a:picLocks noChangeAspect="1" noChangeArrowheads="1"/>
          </p:cNvPicPr>
          <p:nvPr/>
        </p:nvPicPr>
        <p:blipFill>
          <a:blip r:embed="rId3" cstate="email">
            <a:biLevel thresh="50000"/>
            <a:extLst>
              <a:ext uri="{28A0092B-C50C-407E-A947-70E740481C1C}">
                <a14:useLocalDpi xmlns:a14="http://schemas.microsoft.com/office/drawing/2010/main"/>
              </a:ext>
            </a:extLst>
          </a:blip>
          <a:srcRect/>
          <a:stretch>
            <a:fillRect/>
          </a:stretch>
        </p:blipFill>
        <p:spPr bwMode="auto">
          <a:xfrm>
            <a:off x="1256438" y="1970784"/>
            <a:ext cx="526791" cy="5551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 name="Picture 29"/>
          <p:cNvPicPr>
            <a:picLocks noChangeAspect="1" noChangeArrowheads="1"/>
          </p:cNvPicPr>
          <p:nvPr/>
        </p:nvPicPr>
        <p:blipFill>
          <a:blip r:embed="rId4" cstate="email">
            <a:biLevel thresh="25000"/>
            <a:extLst>
              <a:ext uri="{28A0092B-C50C-407E-A947-70E740481C1C}">
                <a14:useLocalDpi xmlns:a14="http://schemas.microsoft.com/office/drawing/2010/main"/>
              </a:ext>
            </a:extLst>
          </a:blip>
          <a:srcRect/>
          <a:stretch>
            <a:fillRect/>
          </a:stretch>
        </p:blipFill>
        <p:spPr bwMode="auto">
          <a:xfrm flipH="1">
            <a:off x="4326485" y="1970784"/>
            <a:ext cx="501468" cy="5543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1" name="Picture 8"/>
          <p:cNvPicPr>
            <a:picLocks noChangeAspect="1" noChangeArrowheads="1"/>
          </p:cNvPicPr>
          <p:nvPr/>
        </p:nvPicPr>
        <p:blipFill>
          <a:blip r:embed="rId5" cstate="email">
            <a:biLevel thresh="50000"/>
            <a:extLst>
              <a:ext uri="{28A0092B-C50C-407E-A947-70E740481C1C}">
                <a14:useLocalDpi xmlns:a14="http://schemas.microsoft.com/office/drawing/2010/main"/>
              </a:ext>
            </a:extLst>
          </a:blip>
          <a:srcRect/>
          <a:stretch>
            <a:fillRect/>
          </a:stretch>
        </p:blipFill>
        <p:spPr bwMode="auto">
          <a:xfrm>
            <a:off x="7386351" y="2027147"/>
            <a:ext cx="444047" cy="506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2" name="TextBox 31"/>
          <p:cNvSpPr txBox="1"/>
          <p:nvPr/>
        </p:nvSpPr>
        <p:spPr>
          <a:xfrm>
            <a:off x="2342569" y="1832860"/>
            <a:ext cx="1307242" cy="219291"/>
          </a:xfrm>
          <a:prstGeom prst="rect">
            <a:avLst/>
          </a:prstGeom>
          <a:noFill/>
        </p:spPr>
        <p:txBody>
          <a:bodyPr wrap="square" lIns="0" tIns="0" rIns="0" bIns="0" rtlCol="0">
            <a:spAutoFit/>
          </a:bodyPr>
          <a:lstStyle/>
          <a:p>
            <a:r>
              <a:rPr lang="en-US" dirty="0" smtClean="0">
                <a:gradFill>
                  <a:gsLst>
                    <a:gs pos="0">
                      <a:schemeClr val="tx1"/>
                    </a:gs>
                    <a:gs pos="86000">
                      <a:schemeClr val="tx1"/>
                    </a:gs>
                  </a:gsLst>
                  <a:lin ang="5400000" scaled="0"/>
                </a:gradFill>
                <a:latin typeface="+mj-lt"/>
              </a:rPr>
              <a:t>Active Directory</a:t>
            </a:r>
          </a:p>
        </p:txBody>
      </p:sp>
      <p:sp>
        <p:nvSpPr>
          <p:cNvPr id="33" name="TextBox 32"/>
          <p:cNvSpPr txBox="1"/>
          <p:nvPr/>
        </p:nvSpPr>
        <p:spPr>
          <a:xfrm>
            <a:off x="7160023" y="1702578"/>
            <a:ext cx="817891" cy="215444"/>
          </a:xfrm>
          <a:prstGeom prst="rect">
            <a:avLst/>
          </a:prstGeom>
          <a:noFill/>
        </p:spPr>
        <p:txBody>
          <a:bodyPr wrap="square" lIns="0" tIns="0" rIns="0" bIns="0" rtlCol="0">
            <a:spAutoFit/>
          </a:bodyPr>
          <a:lstStyle/>
          <a:p>
            <a:r>
              <a:rPr lang="en-US" dirty="0" smtClean="0">
                <a:gradFill>
                  <a:gsLst>
                    <a:gs pos="0">
                      <a:schemeClr val="tx1"/>
                    </a:gs>
                    <a:gs pos="86000">
                      <a:schemeClr val="tx1"/>
                    </a:gs>
                  </a:gsLst>
                  <a:lin ang="5400000" scaled="0"/>
                </a:gradFill>
                <a:latin typeface="+mj-lt"/>
              </a:rPr>
              <a:t>File Server</a:t>
            </a:r>
          </a:p>
        </p:txBody>
      </p:sp>
      <p:pic>
        <p:nvPicPr>
          <p:cNvPr id="34" name="Picture 13"/>
          <p:cNvPicPr>
            <a:picLocks noChangeAspect="1" noChangeArrowheads="1"/>
          </p:cNvPicPr>
          <p:nvPr/>
        </p:nvPicPr>
        <p:blipFill>
          <a:blip r:embed="rId6" cstate="email">
            <a:biLevel thresh="50000"/>
            <a:extLst>
              <a:ext uri="{28A0092B-C50C-407E-A947-70E740481C1C}">
                <a14:useLocalDpi xmlns:a14="http://schemas.microsoft.com/office/drawing/2010/main"/>
              </a:ext>
            </a:extLst>
          </a:blip>
          <a:srcRect/>
          <a:stretch>
            <a:fillRect/>
          </a:stretch>
        </p:blipFill>
        <p:spPr bwMode="auto">
          <a:xfrm>
            <a:off x="2452407" y="1028701"/>
            <a:ext cx="957511" cy="7777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 name="Picture 34"/>
          <p:cNvPicPr>
            <a:picLocks noChangeAspect="1" noChangeArrowheads="1"/>
          </p:cNvPicPr>
          <p:nvPr/>
        </p:nvPicPr>
        <p:blipFill>
          <a:blip r:embed="rId7" cstate="email">
            <a:biLevel thresh="50000"/>
            <a:extLst>
              <a:ext uri="{28A0092B-C50C-407E-A947-70E740481C1C}">
                <a14:useLocalDpi xmlns:a14="http://schemas.microsoft.com/office/drawing/2010/main"/>
              </a:ext>
            </a:extLst>
          </a:blip>
          <a:srcRect/>
          <a:stretch>
            <a:fillRect/>
          </a:stretch>
        </p:blipFill>
        <p:spPr bwMode="auto">
          <a:xfrm>
            <a:off x="7315914" y="971551"/>
            <a:ext cx="527339" cy="6694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Title 1"/>
          <p:cNvSpPr txBox="1">
            <a:spLocks/>
          </p:cNvSpPr>
          <p:nvPr/>
        </p:nvSpPr>
        <p:spPr>
          <a:xfrm>
            <a:off x="398963" y="457352"/>
            <a:ext cx="8363938" cy="457049"/>
          </a:xfrm>
          <a:prstGeom prst="rect">
            <a:avLst/>
          </a:prstGeom>
        </p:spPr>
        <p:txBody>
          <a:bodyPr vert="horz" wrap="square" lIns="0" tIns="0" rIns="0" bIns="0" rtlCol="0" anchor="t">
            <a:norm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Segoe UI Light" pitchFamily="34" charset="0"/>
                <a:ea typeface="+mn-ea"/>
                <a:cs typeface="Arial" charset="0"/>
              </a:defRPr>
            </a:lvl1pPr>
          </a:lstStyle>
          <a:p>
            <a:r>
              <a:rPr lang="en-US" sz="2700" dirty="0">
                <a:solidFill>
                  <a:schemeClr val="tx2"/>
                </a:solidFill>
              </a:rPr>
              <a:t>Components</a:t>
            </a:r>
          </a:p>
        </p:txBody>
      </p:sp>
      <p:sp>
        <p:nvSpPr>
          <p:cNvPr id="19"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0"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8"/>
              </a:rPr>
              <a:t>www.rapidbbs.cn</a:t>
            </a:r>
            <a:endParaRPr lang="zh-CN" altLang="en-US" sz="1200" b="0">
              <a:latin typeface="Arial" charset="0"/>
              <a:ea typeface="ＭＳ Ｐゴシック" pitchFamily="34" charset="-128"/>
            </a:endParaRPr>
          </a:p>
        </p:txBody>
      </p:sp>
      <p:pic>
        <p:nvPicPr>
          <p:cNvPr id="21" name="Picture 2">
            <a:hlinkClick r:id="rId8"/>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61868838"/>
      </p:ext>
    </p:extLst>
  </p:cSld>
  <p:clrMapOvr>
    <a:masterClrMapping/>
  </p:clrMapOvr>
  <p:transition>
    <p:fade/>
  </p:transition>
  <p:timing>
    <p:tnLst>
      <p:par>
        <p:cTn id="1" dur="indefinite" restart="never" nodeType="tmRoot"/>
      </p:par>
    </p:tnLst>
  </p:timing>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ynamic </a:t>
            </a:r>
            <a:r>
              <a:rPr lang="en-US" dirty="0"/>
              <a:t>Access </a:t>
            </a:r>
            <a:r>
              <a:rPr lang="en-US" dirty="0" smtClean="0"/>
              <a:t>Control on File Servers</a:t>
            </a:r>
            <a:endParaRPr lang="en-US" dirty="0"/>
          </a:p>
        </p:txBody>
      </p:sp>
      <p:sp>
        <p:nvSpPr>
          <p:cNvPr id="19" name="Rectangle 18"/>
          <p:cNvSpPr/>
          <p:nvPr/>
        </p:nvSpPr>
        <p:spPr>
          <a:xfrm>
            <a:off x="294717" y="1485902"/>
            <a:ext cx="1990687" cy="3371849"/>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lIns="91302" tIns="45651" rIns="91302" bIns="45651" rtlCol="0" anchor="t"/>
          <a:lstStyle/>
          <a:p>
            <a:pPr marL="214332" indent="-214332">
              <a:buFont typeface="Wingdings" pitchFamily="2" charset="2"/>
              <a:buChar char="§"/>
            </a:pPr>
            <a:r>
              <a:rPr lang="en-US" dirty="0">
                <a:solidFill>
                  <a:schemeClr val="tx1"/>
                </a:solidFill>
                <a:latin typeface="+mj-lt"/>
              </a:rPr>
              <a:t>File inherits classification tags from parent </a:t>
            </a:r>
            <a:r>
              <a:rPr lang="en-US" dirty="0" smtClean="0">
                <a:solidFill>
                  <a:schemeClr val="tx1"/>
                </a:solidFill>
                <a:latin typeface="+mj-lt"/>
              </a:rPr>
              <a:t>folder</a:t>
            </a:r>
          </a:p>
          <a:p>
            <a:pPr marL="214332" indent="-214332">
              <a:buFont typeface="Wingdings" pitchFamily="2" charset="2"/>
              <a:buChar char="§"/>
            </a:pPr>
            <a:endParaRPr lang="en-US" dirty="0">
              <a:solidFill>
                <a:schemeClr val="tx1"/>
              </a:solidFill>
              <a:latin typeface="+mj-lt"/>
            </a:endParaRPr>
          </a:p>
          <a:p>
            <a:pPr marL="214332" indent="-214332">
              <a:buFont typeface="Wingdings" pitchFamily="2" charset="2"/>
              <a:buChar char="§"/>
            </a:pPr>
            <a:r>
              <a:rPr lang="en-US" dirty="0">
                <a:solidFill>
                  <a:schemeClr val="tx1"/>
                </a:solidFill>
                <a:latin typeface="+mj-lt"/>
              </a:rPr>
              <a:t>Manual tagging by </a:t>
            </a:r>
            <a:r>
              <a:rPr lang="en-US" dirty="0" smtClean="0">
                <a:solidFill>
                  <a:schemeClr val="tx1"/>
                </a:solidFill>
                <a:latin typeface="+mj-lt"/>
              </a:rPr>
              <a:t>owner</a:t>
            </a:r>
          </a:p>
          <a:p>
            <a:pPr marL="214332" indent="-214332">
              <a:buFont typeface="Wingdings" pitchFamily="2" charset="2"/>
              <a:buChar char="§"/>
            </a:pPr>
            <a:endParaRPr lang="en-US" dirty="0">
              <a:solidFill>
                <a:schemeClr val="tx1"/>
              </a:solidFill>
              <a:latin typeface="+mj-lt"/>
            </a:endParaRPr>
          </a:p>
          <a:p>
            <a:pPr marL="214332" indent="-214332">
              <a:buFont typeface="Wingdings" pitchFamily="2" charset="2"/>
              <a:buChar char="§"/>
            </a:pPr>
            <a:r>
              <a:rPr lang="en-US" dirty="0">
                <a:solidFill>
                  <a:schemeClr val="tx1"/>
                </a:solidFill>
                <a:latin typeface="+mj-lt"/>
              </a:rPr>
              <a:t>Automatic </a:t>
            </a:r>
            <a:r>
              <a:rPr lang="en-US" dirty="0" smtClean="0">
                <a:solidFill>
                  <a:schemeClr val="tx1"/>
                </a:solidFill>
                <a:latin typeface="+mj-lt"/>
              </a:rPr>
              <a:t>tagging</a:t>
            </a:r>
          </a:p>
          <a:p>
            <a:pPr marL="214332" indent="-214332">
              <a:buFont typeface="Wingdings" pitchFamily="2" charset="2"/>
              <a:buChar char="§"/>
            </a:pPr>
            <a:endParaRPr lang="en-US" dirty="0">
              <a:solidFill>
                <a:schemeClr val="tx1"/>
              </a:solidFill>
              <a:latin typeface="+mj-lt"/>
            </a:endParaRPr>
          </a:p>
          <a:p>
            <a:pPr marL="214332" indent="-214332">
              <a:buFont typeface="Wingdings" pitchFamily="2" charset="2"/>
              <a:buChar char="§"/>
            </a:pPr>
            <a:r>
              <a:rPr lang="en-US" dirty="0">
                <a:solidFill>
                  <a:schemeClr val="tx1"/>
                </a:solidFill>
                <a:latin typeface="+mj-lt"/>
              </a:rPr>
              <a:t>Tagging by applications</a:t>
            </a:r>
          </a:p>
        </p:txBody>
      </p:sp>
      <p:sp>
        <p:nvSpPr>
          <p:cNvPr id="20" name="Rectangle 19"/>
          <p:cNvSpPr/>
          <p:nvPr/>
        </p:nvSpPr>
        <p:spPr>
          <a:xfrm>
            <a:off x="2466984" y="1485902"/>
            <a:ext cx="1990687" cy="3371849"/>
          </a:xfrm>
          <a:prstGeom prst="rect">
            <a:avLst/>
          </a:prstGeom>
          <a:solidFill>
            <a:schemeClr val="accent6"/>
          </a:solidFill>
          <a:ln>
            <a:noFill/>
          </a:ln>
        </p:spPr>
        <p:style>
          <a:lnRef idx="1">
            <a:schemeClr val="accent1"/>
          </a:lnRef>
          <a:fillRef idx="3">
            <a:schemeClr val="accent1"/>
          </a:fillRef>
          <a:effectRef idx="2">
            <a:schemeClr val="accent1"/>
          </a:effectRef>
          <a:fontRef idx="minor">
            <a:schemeClr val="lt1"/>
          </a:fontRef>
        </p:style>
        <p:txBody>
          <a:bodyPr lIns="91302" tIns="45651" rIns="91302" bIns="45651" rtlCol="0" anchor="t"/>
          <a:lstStyle/>
          <a:p>
            <a:pPr marL="214332" indent="-214332">
              <a:buFont typeface="Wingdings" pitchFamily="2" charset="2"/>
              <a:buChar char="§"/>
            </a:pPr>
            <a:r>
              <a:rPr lang="en-US" dirty="0">
                <a:solidFill>
                  <a:schemeClr val="tx1"/>
                </a:solidFill>
                <a:latin typeface="+mj-lt"/>
              </a:rPr>
              <a:t>Central access policies based on </a:t>
            </a:r>
            <a:r>
              <a:rPr lang="en-US" dirty="0" smtClean="0">
                <a:solidFill>
                  <a:schemeClr val="tx1"/>
                </a:solidFill>
                <a:latin typeface="+mj-lt"/>
              </a:rPr>
              <a:t>classification</a:t>
            </a:r>
          </a:p>
          <a:p>
            <a:pPr marL="214332" indent="-214332">
              <a:buFont typeface="Wingdings" pitchFamily="2" charset="2"/>
              <a:buChar char="§"/>
            </a:pPr>
            <a:endParaRPr lang="en-US" dirty="0">
              <a:solidFill>
                <a:schemeClr val="tx1"/>
              </a:solidFill>
              <a:latin typeface="+mj-lt"/>
            </a:endParaRPr>
          </a:p>
          <a:p>
            <a:pPr marL="214332" indent="-214332">
              <a:buFont typeface="Wingdings" pitchFamily="2" charset="2"/>
              <a:buChar char="§"/>
            </a:pPr>
            <a:r>
              <a:rPr lang="en-US" dirty="0">
                <a:solidFill>
                  <a:schemeClr val="tx1"/>
                </a:solidFill>
                <a:latin typeface="+mj-lt"/>
              </a:rPr>
              <a:t>Expression-based access conditions for user claims, device claims, and file </a:t>
            </a:r>
            <a:r>
              <a:rPr lang="en-US" dirty="0" smtClean="0">
                <a:solidFill>
                  <a:schemeClr val="tx1"/>
                </a:solidFill>
                <a:latin typeface="+mj-lt"/>
              </a:rPr>
              <a:t>tags</a:t>
            </a:r>
          </a:p>
          <a:p>
            <a:pPr marL="214332" indent="-214332">
              <a:buFont typeface="Wingdings" pitchFamily="2" charset="2"/>
              <a:buChar char="§"/>
            </a:pPr>
            <a:endParaRPr lang="en-US" dirty="0">
              <a:solidFill>
                <a:schemeClr val="tx1"/>
              </a:solidFill>
              <a:latin typeface="+mj-lt"/>
            </a:endParaRPr>
          </a:p>
          <a:p>
            <a:pPr marL="214332" indent="-214332">
              <a:buFont typeface="Wingdings" pitchFamily="2" charset="2"/>
              <a:buChar char="§"/>
            </a:pPr>
            <a:r>
              <a:rPr lang="en-US" dirty="0">
                <a:solidFill>
                  <a:schemeClr val="tx1"/>
                </a:solidFill>
                <a:latin typeface="+mj-lt"/>
              </a:rPr>
              <a:t>Access denied remediation</a:t>
            </a:r>
          </a:p>
        </p:txBody>
      </p:sp>
      <p:sp>
        <p:nvSpPr>
          <p:cNvPr id="21" name="Rectangle 20"/>
          <p:cNvSpPr/>
          <p:nvPr/>
        </p:nvSpPr>
        <p:spPr>
          <a:xfrm>
            <a:off x="4686329" y="1482490"/>
            <a:ext cx="1990687" cy="3371849"/>
          </a:xfrm>
          <a:prstGeom prst="rect">
            <a:avLst/>
          </a:prstGeom>
          <a:solidFill>
            <a:schemeClr val="accent5"/>
          </a:solidFill>
          <a:ln>
            <a:noFill/>
          </a:ln>
        </p:spPr>
        <p:style>
          <a:lnRef idx="1">
            <a:schemeClr val="accent1"/>
          </a:lnRef>
          <a:fillRef idx="3">
            <a:schemeClr val="accent1"/>
          </a:fillRef>
          <a:effectRef idx="2">
            <a:schemeClr val="accent1"/>
          </a:effectRef>
          <a:fontRef idx="minor">
            <a:schemeClr val="lt1"/>
          </a:fontRef>
        </p:style>
        <p:txBody>
          <a:bodyPr lIns="91302" tIns="45651" rIns="91302" bIns="45651" rtlCol="0" anchor="t"/>
          <a:lstStyle/>
          <a:p>
            <a:pPr marL="214332" indent="-214332">
              <a:buFont typeface="Wingdings" pitchFamily="2" charset="2"/>
              <a:buChar char="§"/>
            </a:pPr>
            <a:r>
              <a:rPr lang="en-US" dirty="0">
                <a:solidFill>
                  <a:schemeClr val="tx1"/>
                </a:solidFill>
                <a:latin typeface="+mj-lt"/>
              </a:rPr>
              <a:t>Central audit policies can be applied across multiple file </a:t>
            </a:r>
            <a:r>
              <a:rPr lang="en-US" dirty="0" smtClean="0">
                <a:solidFill>
                  <a:schemeClr val="tx1"/>
                </a:solidFill>
                <a:latin typeface="+mj-lt"/>
              </a:rPr>
              <a:t>servers</a:t>
            </a:r>
          </a:p>
          <a:p>
            <a:pPr marL="214332" indent="-214332">
              <a:buFont typeface="Wingdings" pitchFamily="2" charset="2"/>
              <a:buChar char="§"/>
            </a:pPr>
            <a:endParaRPr lang="en-US" dirty="0">
              <a:solidFill>
                <a:schemeClr val="tx1"/>
              </a:solidFill>
              <a:latin typeface="+mj-lt"/>
            </a:endParaRPr>
          </a:p>
          <a:p>
            <a:pPr marL="214332" indent="-214332">
              <a:buFont typeface="Wingdings" pitchFamily="2" charset="2"/>
              <a:buChar char="§"/>
            </a:pPr>
            <a:r>
              <a:rPr lang="en-US" dirty="0">
                <a:solidFill>
                  <a:schemeClr val="tx1"/>
                </a:solidFill>
                <a:latin typeface="+mj-lt"/>
              </a:rPr>
              <a:t>Expression-based audits for user claims, </a:t>
            </a:r>
            <a:r>
              <a:rPr lang="en-US" dirty="0" smtClean="0">
                <a:solidFill>
                  <a:schemeClr val="tx1"/>
                </a:solidFill>
                <a:latin typeface="+mj-lt"/>
              </a:rPr>
              <a:t>device claims</a:t>
            </a:r>
            <a:r>
              <a:rPr lang="en-US" dirty="0">
                <a:solidFill>
                  <a:schemeClr val="tx1"/>
                </a:solidFill>
                <a:latin typeface="+mj-lt"/>
              </a:rPr>
              <a:t>, and file </a:t>
            </a:r>
            <a:r>
              <a:rPr lang="en-US" dirty="0" smtClean="0">
                <a:solidFill>
                  <a:schemeClr val="tx1"/>
                </a:solidFill>
                <a:latin typeface="+mj-lt"/>
              </a:rPr>
              <a:t>tags</a:t>
            </a:r>
          </a:p>
          <a:p>
            <a:pPr marL="214332" indent="-214332">
              <a:buFont typeface="Wingdings" pitchFamily="2" charset="2"/>
              <a:buChar char="§"/>
            </a:pPr>
            <a:endParaRPr lang="en-US" dirty="0">
              <a:solidFill>
                <a:schemeClr val="tx1"/>
              </a:solidFill>
              <a:latin typeface="+mj-lt"/>
            </a:endParaRPr>
          </a:p>
          <a:p>
            <a:pPr marL="214332" indent="-214332">
              <a:buFont typeface="Wingdings" pitchFamily="2" charset="2"/>
              <a:buChar char="§"/>
            </a:pPr>
            <a:r>
              <a:rPr lang="en-US" dirty="0">
                <a:solidFill>
                  <a:schemeClr val="tx1"/>
                </a:solidFill>
                <a:latin typeface="+mj-lt"/>
              </a:rPr>
              <a:t>Staging audits to simulate policy changes in a real environment</a:t>
            </a:r>
          </a:p>
        </p:txBody>
      </p:sp>
      <p:sp>
        <p:nvSpPr>
          <p:cNvPr id="22" name="Rectangle 21"/>
          <p:cNvSpPr/>
          <p:nvPr/>
        </p:nvSpPr>
        <p:spPr>
          <a:xfrm>
            <a:off x="6858596" y="1482490"/>
            <a:ext cx="1990687" cy="3371849"/>
          </a:xfrm>
          <a:prstGeom prst="rect">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lIns="91302" tIns="45651" rIns="91302" bIns="45651" rtlCol="0" anchor="t"/>
          <a:lstStyle/>
          <a:p>
            <a:pPr marL="214332" indent="-214332">
              <a:buFont typeface="Wingdings" pitchFamily="2" charset="2"/>
              <a:buChar char="§"/>
            </a:pPr>
            <a:r>
              <a:rPr lang="en-US" dirty="0">
                <a:solidFill>
                  <a:schemeClr val="tx1"/>
                </a:solidFill>
                <a:latin typeface="+mj-lt"/>
              </a:rPr>
              <a:t>Automatic Rights Management Services (RMS) protection for Microsoft Office </a:t>
            </a:r>
            <a:r>
              <a:rPr lang="en-US" dirty="0" smtClean="0">
                <a:solidFill>
                  <a:schemeClr val="tx1"/>
                </a:solidFill>
                <a:latin typeface="+mj-lt"/>
              </a:rPr>
              <a:t>documents</a:t>
            </a:r>
          </a:p>
          <a:p>
            <a:pPr marL="214332" indent="-214332">
              <a:buFont typeface="Wingdings" pitchFamily="2" charset="2"/>
              <a:buChar char="§"/>
            </a:pPr>
            <a:endParaRPr lang="en-US" dirty="0">
              <a:solidFill>
                <a:schemeClr val="tx1"/>
              </a:solidFill>
              <a:latin typeface="+mj-lt"/>
            </a:endParaRPr>
          </a:p>
          <a:p>
            <a:pPr marL="214332" indent="-214332">
              <a:buFont typeface="Wingdings" pitchFamily="2" charset="2"/>
              <a:buChar char="§"/>
            </a:pPr>
            <a:r>
              <a:rPr lang="en-US" dirty="0">
                <a:solidFill>
                  <a:schemeClr val="tx1"/>
                </a:solidFill>
                <a:latin typeface="+mj-lt"/>
              </a:rPr>
              <a:t>Near real-time protection when a file is </a:t>
            </a:r>
            <a:r>
              <a:rPr lang="en-US" dirty="0" smtClean="0">
                <a:solidFill>
                  <a:schemeClr val="tx1"/>
                </a:solidFill>
                <a:latin typeface="+mj-lt"/>
              </a:rPr>
              <a:t>tagged</a:t>
            </a:r>
          </a:p>
          <a:p>
            <a:pPr marL="214332" indent="-214332">
              <a:buFont typeface="Wingdings" pitchFamily="2" charset="2"/>
              <a:buChar char="§"/>
            </a:pPr>
            <a:endParaRPr lang="en-US" dirty="0">
              <a:solidFill>
                <a:schemeClr val="tx1"/>
              </a:solidFill>
              <a:latin typeface="+mj-lt"/>
            </a:endParaRPr>
          </a:p>
          <a:p>
            <a:pPr marL="214332" indent="-214332">
              <a:buFont typeface="Wingdings" pitchFamily="2" charset="2"/>
              <a:buChar char="§"/>
            </a:pPr>
            <a:r>
              <a:rPr lang="en-US" dirty="0">
                <a:solidFill>
                  <a:schemeClr val="tx1"/>
                </a:solidFill>
                <a:latin typeface="+mj-lt"/>
              </a:rPr>
              <a:t>Extensibility for non-Office RMS protectors</a:t>
            </a:r>
          </a:p>
        </p:txBody>
      </p:sp>
      <p:sp>
        <p:nvSpPr>
          <p:cNvPr id="23" name="Title 15"/>
          <p:cNvSpPr txBox="1">
            <a:spLocks/>
          </p:cNvSpPr>
          <p:nvPr/>
        </p:nvSpPr>
        <p:spPr bwMode="auto">
          <a:xfrm>
            <a:off x="294717" y="1198555"/>
            <a:ext cx="1990687" cy="238912"/>
          </a:xfrm>
          <a:prstGeom prst="rect">
            <a:avLst/>
          </a:prstGeom>
          <a:noFill/>
          <a:ln w="9525">
            <a:noFill/>
            <a:miter lim="800000"/>
            <a:headEnd/>
            <a:tailEnd/>
          </a:ln>
        </p:spPr>
        <p:txBody>
          <a:bodyPr wrap="square" lIns="0" tIns="0" rIns="0" bIns="0">
            <a:spAutoFit/>
          </a:bodyPr>
          <a:lstStyle/>
          <a:p>
            <a:pPr algn="ctr" defTabSz="822797">
              <a:lnSpc>
                <a:spcPct val="90000"/>
              </a:lnSpc>
              <a:spcBef>
                <a:spcPct val="20000"/>
              </a:spcBef>
              <a:spcAft>
                <a:spcPts val="554"/>
              </a:spcAft>
              <a:buClr>
                <a:srgbClr val="ADADAD"/>
              </a:buClr>
              <a:buSzPct val="80000"/>
            </a:pPr>
            <a:r>
              <a:rPr lang="en-US" sz="1700" dirty="0"/>
              <a:t>Classification</a:t>
            </a:r>
          </a:p>
        </p:txBody>
      </p:sp>
      <p:sp>
        <p:nvSpPr>
          <p:cNvPr id="24" name="Title 15"/>
          <p:cNvSpPr txBox="1">
            <a:spLocks/>
          </p:cNvSpPr>
          <p:nvPr/>
        </p:nvSpPr>
        <p:spPr bwMode="auto">
          <a:xfrm>
            <a:off x="2466984" y="1196476"/>
            <a:ext cx="1990687" cy="238912"/>
          </a:xfrm>
          <a:prstGeom prst="rect">
            <a:avLst/>
          </a:prstGeom>
          <a:noFill/>
          <a:ln w="9525">
            <a:noFill/>
            <a:miter lim="800000"/>
            <a:headEnd/>
            <a:tailEnd/>
          </a:ln>
        </p:spPr>
        <p:txBody>
          <a:bodyPr wrap="square" lIns="0" tIns="0" rIns="0" bIns="0">
            <a:spAutoFit/>
          </a:bodyPr>
          <a:lstStyle/>
          <a:p>
            <a:pPr algn="ctr" defTabSz="822797">
              <a:lnSpc>
                <a:spcPct val="90000"/>
              </a:lnSpc>
              <a:spcBef>
                <a:spcPct val="20000"/>
              </a:spcBef>
              <a:spcAft>
                <a:spcPts val="554"/>
              </a:spcAft>
              <a:buClr>
                <a:srgbClr val="ADADAD"/>
              </a:buClr>
              <a:buSzPct val="80000"/>
            </a:pPr>
            <a:r>
              <a:rPr lang="en-US" sz="1700" dirty="0"/>
              <a:t>Access Control</a:t>
            </a:r>
          </a:p>
        </p:txBody>
      </p:sp>
      <p:sp>
        <p:nvSpPr>
          <p:cNvPr id="25" name="Title 15"/>
          <p:cNvSpPr txBox="1">
            <a:spLocks/>
          </p:cNvSpPr>
          <p:nvPr/>
        </p:nvSpPr>
        <p:spPr bwMode="auto">
          <a:xfrm>
            <a:off x="4686329" y="1196474"/>
            <a:ext cx="1990687" cy="238912"/>
          </a:xfrm>
          <a:prstGeom prst="rect">
            <a:avLst/>
          </a:prstGeom>
          <a:noFill/>
          <a:ln w="9525">
            <a:noFill/>
            <a:miter lim="800000"/>
            <a:headEnd/>
            <a:tailEnd/>
          </a:ln>
        </p:spPr>
        <p:txBody>
          <a:bodyPr wrap="square" lIns="0" tIns="0" rIns="0" bIns="0">
            <a:spAutoFit/>
          </a:bodyPr>
          <a:lstStyle/>
          <a:p>
            <a:pPr algn="ctr" defTabSz="822797">
              <a:lnSpc>
                <a:spcPct val="90000"/>
              </a:lnSpc>
              <a:spcBef>
                <a:spcPct val="20000"/>
              </a:spcBef>
              <a:spcAft>
                <a:spcPts val="554"/>
              </a:spcAft>
              <a:buClr>
                <a:srgbClr val="ADADAD"/>
              </a:buClr>
              <a:buSzPct val="80000"/>
            </a:pPr>
            <a:r>
              <a:rPr lang="en-US" sz="1700" dirty="0"/>
              <a:t>Auditing</a:t>
            </a:r>
          </a:p>
        </p:txBody>
      </p:sp>
      <p:sp>
        <p:nvSpPr>
          <p:cNvPr id="26" name="Title 15"/>
          <p:cNvSpPr txBox="1">
            <a:spLocks/>
          </p:cNvSpPr>
          <p:nvPr/>
        </p:nvSpPr>
        <p:spPr bwMode="auto">
          <a:xfrm>
            <a:off x="6858596" y="1196475"/>
            <a:ext cx="1990687" cy="238912"/>
          </a:xfrm>
          <a:prstGeom prst="rect">
            <a:avLst/>
          </a:prstGeom>
          <a:noFill/>
          <a:ln w="9525">
            <a:noFill/>
            <a:miter lim="800000"/>
            <a:headEnd/>
            <a:tailEnd/>
          </a:ln>
        </p:spPr>
        <p:txBody>
          <a:bodyPr wrap="square" lIns="0" tIns="0" rIns="0" bIns="0">
            <a:spAutoFit/>
          </a:bodyPr>
          <a:lstStyle/>
          <a:p>
            <a:pPr algn="ctr" defTabSz="822797">
              <a:lnSpc>
                <a:spcPct val="90000"/>
              </a:lnSpc>
              <a:spcBef>
                <a:spcPct val="20000"/>
              </a:spcBef>
              <a:spcAft>
                <a:spcPts val="554"/>
              </a:spcAft>
              <a:buClr>
                <a:srgbClr val="ADADAD"/>
              </a:buClr>
              <a:buSzPct val="80000"/>
            </a:pPr>
            <a:r>
              <a:rPr lang="en-US" sz="1700" dirty="0"/>
              <a:t>RMS Protection</a:t>
            </a:r>
          </a:p>
        </p:txBody>
      </p:sp>
      <p:pic>
        <p:nvPicPr>
          <p:cNvPr id="27" name="Picture 2"/>
          <p:cNvPicPr>
            <a:picLocks noChangeAspect="1" noChangeArrowheads="1"/>
          </p:cNvPicPr>
          <p:nvPr/>
        </p:nvPicPr>
        <p:blipFill>
          <a:blip r:embed="rId3" cstate="email">
            <a:biLevel thresh="50000"/>
            <a:extLst>
              <a:ext uri="{28A0092B-C50C-407E-A947-70E740481C1C}">
                <a14:useLocalDpi xmlns:a14="http://schemas.microsoft.com/office/drawing/2010/main"/>
              </a:ext>
            </a:extLst>
          </a:blip>
          <a:srcRect/>
          <a:stretch>
            <a:fillRect/>
          </a:stretch>
        </p:blipFill>
        <p:spPr bwMode="auto">
          <a:xfrm>
            <a:off x="3250133" y="828542"/>
            <a:ext cx="424389" cy="3700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8" name="Picture 14"/>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5471283" y="782183"/>
            <a:ext cx="420782" cy="414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 name="Picture 17"/>
          <p:cNvPicPr>
            <a:picLocks noChangeAspect="1" noChangeArrowheads="1"/>
          </p:cNvPicPr>
          <p:nvPr/>
        </p:nvPicPr>
        <p:blipFill>
          <a:blip r:embed="rId5" cstate="email">
            <a:biLevel thresh="50000"/>
            <a:extLst>
              <a:ext uri="{28A0092B-C50C-407E-A947-70E740481C1C}">
                <a14:useLocalDpi xmlns:a14="http://schemas.microsoft.com/office/drawing/2010/main"/>
              </a:ext>
            </a:extLst>
          </a:blip>
          <a:srcRect/>
          <a:stretch>
            <a:fillRect/>
          </a:stretch>
        </p:blipFill>
        <p:spPr bwMode="auto">
          <a:xfrm>
            <a:off x="1059889" y="828866"/>
            <a:ext cx="460345" cy="3696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 name="Picture 6"/>
          <p:cNvPicPr>
            <a:picLocks noChangeAspect="1" noChangeArrowheads="1"/>
          </p:cNvPicPr>
          <p:nvPr/>
        </p:nvPicPr>
        <p:blipFill>
          <a:blip r:embed="rId6" cstate="email">
            <a:biLevel thresh="50000"/>
            <a:extLst>
              <a:ext uri="{28A0092B-C50C-407E-A947-70E740481C1C}">
                <a14:useLocalDpi xmlns:a14="http://schemas.microsoft.com/office/drawing/2010/main"/>
              </a:ext>
            </a:extLst>
          </a:blip>
          <a:srcRect/>
          <a:stretch>
            <a:fillRect/>
          </a:stretch>
        </p:blipFill>
        <p:spPr bwMode="auto">
          <a:xfrm>
            <a:off x="7698067" y="793543"/>
            <a:ext cx="311744" cy="4029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6"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7"/>
              </a:rPr>
              <a:t>www.rapidbbs.cn</a:t>
            </a:r>
            <a:endParaRPr lang="zh-CN" altLang="en-US" sz="1200" b="0">
              <a:latin typeface="Arial" charset="0"/>
              <a:ea typeface="ＭＳ Ｐゴシック" pitchFamily="34" charset="-128"/>
            </a:endParaRPr>
          </a:p>
        </p:txBody>
      </p:sp>
      <p:pic>
        <p:nvPicPr>
          <p:cNvPr id="17" name="Picture 2">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18964442"/>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 descr="C:\Users\bonnyl\AppData\Local\Microsoft\Windows\Temporary Internet Files\Content.IE5\JHHRB794\MP900425314[1].jp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35974" y="908149"/>
            <a:ext cx="3489799" cy="3488891"/>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bwMode="auto">
          <a:xfrm>
            <a:off x="4399271" y="907586"/>
            <a:ext cx="2894130" cy="1645920"/>
          </a:xfrm>
          <a:prstGeom prst="rect">
            <a:avLst/>
          </a:prstGeom>
          <a:solidFill>
            <a:schemeClr val="accent5">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68571" rIns="68568" bIns="68571" numCol="1" rtlCol="0" anchor="ctr" anchorCtr="0" compatLnSpc="1">
            <a:prstTxWarp prst="textNoShape">
              <a:avLst/>
            </a:prstTxWarp>
          </a:bodyPr>
          <a:lstStyle/>
          <a:p>
            <a:pPr defTabSz="685495"/>
            <a:r>
              <a:rPr lang="en-US" sz="1500" dirty="0">
                <a:solidFill>
                  <a:schemeClr val="bg1"/>
                </a:solidFill>
                <a:latin typeface="Segoe UI Semilight" pitchFamily="34" charset="0"/>
                <a:cs typeface="Segoe UI Semilight" pitchFamily="34" charset="0"/>
              </a:rPr>
              <a:t>Dolor </a:t>
            </a:r>
          </a:p>
          <a:p>
            <a:pPr defTabSz="685495"/>
            <a:r>
              <a:rPr lang="en-US" sz="1500" dirty="0">
                <a:solidFill>
                  <a:schemeClr val="bg1"/>
                </a:solidFill>
                <a:latin typeface="Segoe UI Semilight" pitchFamily="34" charset="0"/>
                <a:cs typeface="Segoe UI Semilight" pitchFamily="34" charset="0"/>
              </a:rPr>
              <a:t>Sit </a:t>
            </a:r>
          </a:p>
          <a:p>
            <a:pPr defTabSz="685495"/>
            <a:r>
              <a:rPr lang="en-US" sz="1500" dirty="0">
                <a:solidFill>
                  <a:schemeClr val="bg1"/>
                </a:solidFill>
                <a:latin typeface="Segoe UI Semilight" pitchFamily="34" charset="0"/>
                <a:cs typeface="Segoe UI Semilight" pitchFamily="34" charset="0"/>
              </a:rPr>
              <a:t>Amet</a:t>
            </a:r>
          </a:p>
          <a:p>
            <a:pPr defTabSz="685495"/>
            <a:r>
              <a:rPr lang="en-US" sz="1500" dirty="0">
                <a:solidFill>
                  <a:schemeClr val="bg1"/>
                </a:solidFill>
                <a:latin typeface="Segoe UI Semilight" pitchFamily="34" charset="0"/>
                <a:cs typeface="Segoe UI Semilight" pitchFamily="34" charset="0"/>
              </a:rPr>
              <a:t>Elit</a:t>
            </a:r>
          </a:p>
          <a:p>
            <a:pPr defTabSz="685495"/>
            <a:r>
              <a:rPr lang="en-US" sz="1500" dirty="0">
                <a:solidFill>
                  <a:schemeClr val="bg1"/>
                </a:solidFill>
                <a:latin typeface="Segoe UI Semilight" pitchFamily="34" charset="0"/>
                <a:cs typeface="Segoe UI Semilight" pitchFamily="34" charset="0"/>
              </a:rPr>
              <a:t>Mattis</a:t>
            </a:r>
          </a:p>
          <a:p>
            <a:pPr defTabSz="685495"/>
            <a:r>
              <a:rPr lang="en-US" sz="1500" dirty="0">
                <a:solidFill>
                  <a:schemeClr val="bg1"/>
                </a:solidFill>
                <a:latin typeface="Segoe UI Semilight" pitchFamily="34" charset="0"/>
                <a:cs typeface="Segoe UI Semilight" pitchFamily="34" charset="0"/>
              </a:rPr>
              <a:t>Diam</a:t>
            </a:r>
          </a:p>
        </p:txBody>
      </p:sp>
      <p:sp>
        <p:nvSpPr>
          <p:cNvPr id="25" name="Rectangle 24"/>
          <p:cNvSpPr/>
          <p:nvPr/>
        </p:nvSpPr>
        <p:spPr bwMode="auto">
          <a:xfrm>
            <a:off x="835974" y="3361429"/>
            <a:ext cx="3489799" cy="1035611"/>
          </a:xfrm>
          <a:prstGeom prst="rect">
            <a:avLst/>
          </a:prstGeom>
          <a:solidFill>
            <a:schemeClr val="accent6">
              <a:lumMod val="75000"/>
              <a:alpha val="8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t" anchorCtr="0" forceAA="0" compatLnSpc="1">
            <a:prstTxWarp prst="textNoShape">
              <a:avLst/>
            </a:prstTxWarp>
            <a:noAutofit/>
          </a:bodyPr>
          <a:lstStyle/>
          <a:p>
            <a:pPr defTabSz="685495"/>
            <a:r>
              <a:rPr lang="en-US" sz="3200" dirty="0">
                <a:latin typeface="Segoe UI Light" pitchFamily="34" charset="0"/>
              </a:rPr>
              <a:t>Lorem ipsum </a:t>
            </a:r>
          </a:p>
          <a:p>
            <a:pPr defTabSz="685495"/>
            <a:r>
              <a:rPr lang="en-US" sz="1500" dirty="0">
                <a:latin typeface="Segoe UI Light" pitchFamily="34" charset="0"/>
              </a:rPr>
              <a:t>Dolor sit amet, consectetur adipiscing elit. Aliquam suscipit mattis diam</a:t>
            </a:r>
            <a:endParaRPr lang="en-US" sz="1500" dirty="0">
              <a:solidFill>
                <a:schemeClr val="bg1"/>
              </a:solidFill>
              <a:latin typeface="Segoe UI Light" pitchFamily="34" charset="0"/>
            </a:endParaRPr>
          </a:p>
        </p:txBody>
      </p:sp>
      <p:sp>
        <p:nvSpPr>
          <p:cNvPr id="35" name="Title 5"/>
          <p:cNvSpPr txBox="1">
            <a:spLocks/>
          </p:cNvSpPr>
          <p:nvPr/>
        </p:nvSpPr>
        <p:spPr>
          <a:xfrm>
            <a:off x="724258" y="301735"/>
            <a:ext cx="8363938" cy="437838"/>
          </a:xfrm>
          <a:prstGeom prst="rect">
            <a:avLst/>
          </a:prstGeom>
        </p:spPr>
        <p:txBody>
          <a:bodyPr lIns="68571" tIns="34286" rIns="68571" bIns="34286"/>
          <a:lstStyle>
            <a:lvl1pPr algn="l" defTabSz="914363" rtl="0" eaLnBrk="1" latinLnBrk="0" hangingPunct="1">
              <a:lnSpc>
                <a:spcPct val="90000"/>
              </a:lnSpc>
              <a:spcBef>
                <a:spcPct val="0"/>
              </a:spcBef>
              <a:buNone/>
              <a:defRPr lang="en-US" sz="4800" b="0" kern="1200" cap="none" spc="-200" baseline="0" dirty="0" smtClean="0">
                <a:ln w="3175">
                  <a:noFill/>
                </a:ln>
                <a:solidFill>
                  <a:schemeClr val="accent6">
                    <a:alpha val="98824"/>
                  </a:schemeClr>
                </a:solidFill>
                <a:effectLst/>
                <a:latin typeface="Segoe UI Light" pitchFamily="34" charset="0"/>
                <a:ea typeface="+mn-ea"/>
                <a:cs typeface="Arial" charset="0"/>
              </a:defRPr>
            </a:lvl1pPr>
          </a:lstStyle>
          <a:p>
            <a:r>
              <a:rPr lang="en-US" sz="3200" dirty="0">
                <a:solidFill>
                  <a:schemeClr val="tx1">
                    <a:lumMod val="75000"/>
                    <a:lumOff val="25000"/>
                    <a:alpha val="98824"/>
                  </a:schemeClr>
                </a:solidFill>
              </a:rPr>
              <a:t>Content type</a:t>
            </a:r>
          </a:p>
        </p:txBody>
      </p:sp>
      <p:sp>
        <p:nvSpPr>
          <p:cNvPr id="6" name="Rectangle 5"/>
          <p:cNvSpPr/>
          <p:nvPr/>
        </p:nvSpPr>
        <p:spPr>
          <a:xfrm>
            <a:off x="4399271" y="2957472"/>
            <a:ext cx="2894130" cy="1188787"/>
          </a:xfrm>
          <a:prstGeom prst="rect">
            <a:avLst/>
          </a:prstGeom>
          <a:solidFill>
            <a:schemeClr val="accent5">
              <a:lumMod val="75000"/>
            </a:schemeClr>
          </a:solidFill>
        </p:spPr>
        <p:txBody>
          <a:bodyPr wrap="square" lIns="68571" tIns="34286" rIns="68571" bIns="34286">
            <a:spAutoFit/>
          </a:bodyPr>
          <a:lstStyle/>
          <a:p>
            <a:pPr defTabSz="685495"/>
            <a:r>
              <a:rPr lang="en-US" sz="1500" dirty="0">
                <a:solidFill>
                  <a:schemeClr val="tx1">
                    <a:lumMod val="90000"/>
                    <a:lumOff val="10000"/>
                  </a:schemeClr>
                </a:solidFill>
                <a:latin typeface="Segoe UI Semilight"/>
              </a:rPr>
              <a:t>Dolor sit amet </a:t>
            </a:r>
          </a:p>
          <a:p>
            <a:pPr defTabSz="685495"/>
            <a:r>
              <a:rPr lang="en-US" sz="800" dirty="0">
                <a:solidFill>
                  <a:schemeClr val="tx1">
                    <a:lumMod val="90000"/>
                    <a:lumOff val="10000"/>
                  </a:schemeClr>
                </a:solidFill>
                <a:latin typeface="+mj-lt"/>
              </a:rPr>
              <a:t>dolor sit amet, consectetur adipiscing elit. Aliquam suscipit mattis diam venenatis varius.  Consectetur adipiscing elit.</a:t>
            </a:r>
          </a:p>
          <a:p>
            <a:pPr defTabSz="685495"/>
            <a:r>
              <a:rPr lang="en-US" sz="800" dirty="0">
                <a:solidFill>
                  <a:schemeClr val="tx1">
                    <a:lumMod val="90000"/>
                    <a:lumOff val="10000"/>
                  </a:schemeClr>
                </a:solidFill>
              </a:rPr>
              <a:t>dolor sit amet, consectetur adipiscing elit. Aliquam suscipit mattis diam venenatis varius.  Consectetur adipiscing elit. </a:t>
            </a:r>
          </a:p>
          <a:p>
            <a:pPr defTabSz="685495"/>
            <a:r>
              <a:rPr lang="en-US" sz="800" dirty="0">
                <a:solidFill>
                  <a:schemeClr val="tx1">
                    <a:lumMod val="90000"/>
                    <a:lumOff val="10000"/>
                  </a:schemeClr>
                </a:solidFill>
              </a:rPr>
              <a:t>dolor sit amet, consectetur adipiscing elit. Aliquam suscipit mattis diam venenatis varius.  Consectetur adipiscing elit. </a:t>
            </a:r>
          </a:p>
          <a:p>
            <a:pPr defTabSz="685495"/>
            <a:r>
              <a:rPr lang="en-US" sz="800" dirty="0">
                <a:solidFill>
                  <a:schemeClr val="tx1">
                    <a:lumMod val="90000"/>
                    <a:lumOff val="10000"/>
                  </a:schemeClr>
                </a:solidFill>
                <a:latin typeface="+mj-lt"/>
              </a:rPr>
              <a:t> </a:t>
            </a:r>
          </a:p>
        </p:txBody>
      </p:sp>
      <p:pic>
        <p:nvPicPr>
          <p:cNvPr id="27" name="Picture 2" descr="C:\Users\bonnyl\AppData\Local\Microsoft\Windows\Temporary Internet Files\Content.IE5\JHHRB794\MP900425314[1].jpg"/>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l="-156"/>
          <a:stretch/>
        </p:blipFill>
        <p:spPr bwMode="auto">
          <a:xfrm>
            <a:off x="4399271" y="2629708"/>
            <a:ext cx="2889618" cy="327758"/>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2" descr="C:\Users\bonnyl\AppData\Local\Microsoft\Windows\Temporary Internet Files\Content.IE5\JHHRB794\MP900425314[1].jpg"/>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r="-867"/>
          <a:stretch/>
        </p:blipFill>
        <p:spPr bwMode="auto">
          <a:xfrm>
            <a:off x="4403783" y="4069276"/>
            <a:ext cx="2889618" cy="327758"/>
          </a:xfrm>
          <a:prstGeom prst="rect">
            <a:avLst/>
          </a:prstGeom>
          <a:noFill/>
          <a:extLst>
            <a:ext uri="{909E8E84-426E-40DD-AFC4-6F175D3DCCD1}">
              <a14:hiddenFill xmlns:a14="http://schemas.microsoft.com/office/drawing/2010/main">
                <a:solidFill>
                  <a:srgbClr val="FFFFFF"/>
                </a:solidFill>
              </a14:hiddenFill>
            </a:ext>
          </a:extLst>
        </p:spPr>
      </p:pic>
      <p:sp>
        <p:nvSpPr>
          <p:cNvPr id="38" name="Rectangle 37"/>
          <p:cNvSpPr/>
          <p:nvPr/>
        </p:nvSpPr>
        <p:spPr>
          <a:xfrm>
            <a:off x="8376858" y="1757317"/>
            <a:ext cx="1662385" cy="807914"/>
          </a:xfrm>
          <a:prstGeom prst="rect">
            <a:avLst/>
          </a:prstGeom>
        </p:spPr>
        <p:txBody>
          <a:bodyPr wrap="square" lIns="68571" tIns="34286" rIns="68571" bIns="34286">
            <a:spAutoFit/>
          </a:bodyPr>
          <a:lstStyle/>
          <a:p>
            <a:pPr defTabSz="685495"/>
            <a:r>
              <a:rPr lang="en-US" sz="1500" dirty="0">
                <a:solidFill>
                  <a:schemeClr val="tx1">
                    <a:lumMod val="90000"/>
                    <a:lumOff val="10000"/>
                  </a:schemeClr>
                </a:solidFill>
                <a:latin typeface="Segoe UI Semilight"/>
              </a:rPr>
              <a:t>Dolor sit amet </a:t>
            </a:r>
          </a:p>
          <a:p>
            <a:pPr defTabSz="685495"/>
            <a:r>
              <a:rPr lang="en-US" sz="800" dirty="0">
                <a:latin typeface="+mj-lt"/>
              </a:rPr>
              <a:t>dolor sit amet, consectetur adipiscing elit. Aliquam suscipit mattis diam venenatis varius.  Consectetur adipiscing elit. </a:t>
            </a:r>
          </a:p>
        </p:txBody>
      </p:sp>
      <p:pic>
        <p:nvPicPr>
          <p:cNvPr id="39" name="Picture 2" descr="C:\Users\bonnyl\AppData\Local\Microsoft\Windows\Temporary Internet Files\Content.IE5\JHHRB794\MP900425314[1].jp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8322422" y="908144"/>
            <a:ext cx="1645791" cy="1645362"/>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Group 11"/>
          <p:cNvGrpSpPr/>
          <p:nvPr/>
        </p:nvGrpSpPr>
        <p:grpSpPr>
          <a:xfrm>
            <a:off x="7376953" y="908144"/>
            <a:ext cx="927108" cy="3538371"/>
            <a:chOff x="10996628" y="1210858"/>
            <a:chExt cx="1235822" cy="4717828"/>
          </a:xfrm>
        </p:grpSpPr>
        <p:sp>
          <p:nvSpPr>
            <p:cNvPr id="40" name="Rectangle 39"/>
            <p:cNvSpPr/>
            <p:nvPr/>
          </p:nvSpPr>
          <p:spPr bwMode="auto">
            <a:xfrm>
              <a:off x="10996628" y="2343090"/>
              <a:ext cx="1163251" cy="3519622"/>
            </a:xfrm>
            <a:prstGeom prst="rect">
              <a:avLst/>
            </a:prstGeom>
            <a:solidFill>
              <a:schemeClr val="bg1">
                <a:lumMod val="8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chemeClr val="bg1"/>
                </a:solidFill>
              </a:endParaRPr>
            </a:p>
          </p:txBody>
        </p:sp>
        <p:sp>
          <p:nvSpPr>
            <p:cNvPr id="41" name="Rectangle 40"/>
            <p:cNvSpPr/>
            <p:nvPr/>
          </p:nvSpPr>
          <p:spPr>
            <a:xfrm>
              <a:off x="11069198" y="2343089"/>
              <a:ext cx="1163252" cy="3585597"/>
            </a:xfrm>
            <a:prstGeom prst="rect">
              <a:avLst/>
            </a:prstGeom>
          </p:spPr>
          <p:txBody>
            <a:bodyPr wrap="square">
              <a:spAutoFit/>
            </a:bodyPr>
            <a:lstStyle/>
            <a:p>
              <a:pPr algn="r" defTabSz="685495"/>
              <a:r>
                <a:rPr lang="en-US" sz="1500" dirty="0">
                  <a:solidFill>
                    <a:schemeClr val="tx1">
                      <a:lumMod val="90000"/>
                      <a:lumOff val="10000"/>
                    </a:schemeClr>
                  </a:solidFill>
                  <a:latin typeface="Segoe UI Semilight"/>
                </a:rPr>
                <a:t>Lorem ipsum </a:t>
              </a:r>
            </a:p>
            <a:p>
              <a:pPr algn="r" defTabSz="685495"/>
              <a:r>
                <a:rPr lang="en-US" sz="800" dirty="0">
                  <a:latin typeface="+mj-lt"/>
                </a:rPr>
                <a:t>dolor sit amet, consectetur adipiscing elit. Aliquam suscipit mattis diam venenatis varius.  Consectetur adipiscing elit. </a:t>
              </a:r>
              <a:r>
                <a:rPr lang="en-US" sz="800" dirty="0"/>
                <a:t>dolor sit amet, consectetur adipiscing elit. Aliquam suscipit mattis diam venenatis varius.  Consectetur </a:t>
              </a:r>
              <a:endParaRPr lang="en-US" sz="800" dirty="0">
                <a:latin typeface="+mj-lt"/>
              </a:endParaRPr>
            </a:p>
          </p:txBody>
        </p:sp>
        <p:pic>
          <p:nvPicPr>
            <p:cNvPr id="42" name="Picture 2" descr="C:\Users\bonnyl\AppData\Local\Microsoft\Windows\Temporary Internet Files\Content.IE5\JHHRB794\MP900425314[1].jp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0996628" y="1210858"/>
              <a:ext cx="1163252" cy="1163252"/>
            </a:xfrm>
            <a:prstGeom prst="rect">
              <a:avLst/>
            </a:prstGeom>
            <a:noFill/>
            <a:extLst>
              <a:ext uri="{909E8E84-426E-40DD-AFC4-6F175D3DCCD1}">
                <a14:hiddenFill xmlns:a14="http://schemas.microsoft.com/office/drawing/2010/main">
                  <a:solidFill>
                    <a:srgbClr val="FFFFFF"/>
                  </a:solidFill>
                </a14:hiddenFill>
              </a:ext>
            </a:extLst>
          </p:spPr>
        </p:pic>
      </p:grpSp>
      <p:sp>
        <p:nvSpPr>
          <p:cNvPr id="15"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6"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8"/>
              </a:rPr>
              <a:t>www.rapidbbs.cn</a:t>
            </a:r>
            <a:endParaRPr lang="zh-CN" altLang="en-US" sz="1200" b="0">
              <a:latin typeface="Arial" charset="0"/>
              <a:ea typeface="ＭＳ Ｐゴシック" pitchFamily="34" charset="-128"/>
            </a:endParaRPr>
          </a:p>
        </p:txBody>
      </p:sp>
      <p:pic>
        <p:nvPicPr>
          <p:cNvPr id="17" name="Picture 2">
            <a:hlinkClick r:id="rId8"/>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45593803"/>
      </p:ext>
    </p:extLst>
  </p:cSld>
  <p:clrMapOvr>
    <a:masterClrMapping/>
  </p:clrMapOvr>
  <p:transition spd="slow">
    <p:push/>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9" name="Oval 258"/>
          <p:cNvSpPr/>
          <p:nvPr/>
        </p:nvSpPr>
        <p:spPr bwMode="auto">
          <a:xfrm>
            <a:off x="167663" y="3835299"/>
            <a:ext cx="443028" cy="171451"/>
          </a:xfrm>
          <a:prstGeom prst="ellipse">
            <a:avLst/>
          </a:prstGeom>
          <a:solidFill>
            <a:schemeClr val="lt1">
              <a:alpha val="31000"/>
            </a:schemeClr>
          </a:solidFill>
          <a:ln w="6350">
            <a:solidFill>
              <a:schemeClr val="tx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57068" tIns="28535" rIns="57068" bIns="28535" numCol="1" rtlCol="0" anchor="ctr" anchorCtr="0" compatLnSpc="1">
            <a:prstTxWarp prst="textNoShape">
              <a:avLst/>
            </a:prstTxWarp>
          </a:bodyPr>
          <a:lstStyle/>
          <a:p>
            <a:pPr algn="ctr" defTabSz="682464"/>
            <a:endParaRPr lang="en-US" spc="-38" dirty="0">
              <a:gradFill>
                <a:gsLst>
                  <a:gs pos="0">
                    <a:srgbClr val="000000"/>
                  </a:gs>
                  <a:gs pos="100000">
                    <a:srgbClr val="000000"/>
                  </a:gs>
                </a:gsLst>
                <a:lin ang="5400000" scaled="0"/>
              </a:gradFill>
            </a:endParaRPr>
          </a:p>
        </p:txBody>
      </p:sp>
      <p:pic>
        <p:nvPicPr>
          <p:cNvPr id="20" name="Picture 19"/>
          <p:cNvPicPr>
            <a:picLocks noChangeAspect="1"/>
          </p:cNvPicPr>
          <p:nvPr/>
        </p:nvPicPr>
        <p:blipFill>
          <a:blip r:embed="rId3">
            <a:duotone>
              <a:prstClr val="black"/>
              <a:schemeClr val="accent4">
                <a:tint val="45000"/>
                <a:satMod val="400000"/>
              </a:schemeClr>
            </a:duotone>
            <a:extLst>
              <a:ext uri="{28A0092B-C50C-407E-A947-70E740481C1C}">
                <a14:useLocalDpi xmlns:a14="http://schemas.microsoft.com/office/drawing/2010/main" val="0"/>
              </a:ext>
            </a:extLst>
          </a:blip>
          <a:stretch>
            <a:fillRect/>
          </a:stretch>
        </p:blipFill>
        <p:spPr>
          <a:xfrm>
            <a:off x="570458" y="1257310"/>
            <a:ext cx="7545765" cy="3562994"/>
          </a:xfrm>
          <a:prstGeom prst="rect">
            <a:avLst/>
          </a:prstGeom>
        </p:spPr>
      </p:pic>
      <p:sp>
        <p:nvSpPr>
          <p:cNvPr id="15" name="TextBox 9"/>
          <p:cNvSpPr txBox="1">
            <a:spLocks noChangeArrowheads="1"/>
          </p:cNvSpPr>
          <p:nvPr/>
        </p:nvSpPr>
        <p:spPr bwMode="auto">
          <a:xfrm>
            <a:off x="545815" y="832738"/>
            <a:ext cx="3511709" cy="338330"/>
          </a:xfrm>
          <a:prstGeom prst="rect">
            <a:avLst/>
          </a:prstGeom>
          <a:noFill/>
          <a:ln w="9525">
            <a:noFill/>
            <a:miter lim="800000"/>
            <a:headEnd/>
            <a:tailEnd/>
          </a:ln>
        </p:spPr>
        <p:txBody>
          <a:bodyPr wrap="square" lIns="68259" tIns="34132" rIns="68259" bIns="34132">
            <a:spAutoFit/>
          </a:bodyPr>
          <a:lstStyle/>
          <a:p>
            <a:pPr algn="ctr" eaLnBrk="0" hangingPunct="0"/>
            <a:r>
              <a:rPr lang="en-US" sz="1700" dirty="0">
                <a:gradFill>
                  <a:gsLst>
                    <a:gs pos="0">
                      <a:schemeClr val="tx1"/>
                    </a:gs>
                    <a:gs pos="86000">
                      <a:schemeClr val="tx1"/>
                    </a:gs>
                  </a:gsLst>
                  <a:lin ang="5400000" scaled="0"/>
                </a:gradFill>
                <a:latin typeface="+mj-lt"/>
              </a:rPr>
              <a:t>North America Region </a:t>
            </a:r>
          </a:p>
        </p:txBody>
      </p:sp>
      <p:sp>
        <p:nvSpPr>
          <p:cNvPr id="22" name="TextBox 9"/>
          <p:cNvSpPr txBox="1">
            <a:spLocks noChangeArrowheads="1"/>
          </p:cNvSpPr>
          <p:nvPr/>
        </p:nvSpPr>
        <p:spPr bwMode="auto">
          <a:xfrm>
            <a:off x="3707395" y="839671"/>
            <a:ext cx="1950753" cy="338330"/>
          </a:xfrm>
          <a:prstGeom prst="rect">
            <a:avLst/>
          </a:prstGeom>
          <a:noFill/>
          <a:ln w="9525">
            <a:noFill/>
            <a:miter lim="800000"/>
            <a:headEnd/>
            <a:tailEnd/>
          </a:ln>
        </p:spPr>
        <p:txBody>
          <a:bodyPr wrap="square" lIns="68259" tIns="34132" rIns="68259" bIns="34132">
            <a:spAutoFit/>
          </a:bodyPr>
          <a:lstStyle/>
          <a:p>
            <a:pPr algn="ctr" eaLnBrk="0" hangingPunct="0"/>
            <a:r>
              <a:rPr lang="en-US" sz="1700" dirty="0">
                <a:gradFill>
                  <a:gsLst>
                    <a:gs pos="0">
                      <a:schemeClr val="tx1"/>
                    </a:gs>
                    <a:gs pos="86000">
                      <a:schemeClr val="tx1"/>
                    </a:gs>
                  </a:gsLst>
                  <a:lin ang="5400000" scaled="0"/>
                </a:gradFill>
                <a:latin typeface="+mj-lt"/>
              </a:rPr>
              <a:t>Europe Region </a:t>
            </a:r>
          </a:p>
        </p:txBody>
      </p:sp>
      <p:sp>
        <p:nvSpPr>
          <p:cNvPr id="39" name="TextBox 9"/>
          <p:cNvSpPr txBox="1">
            <a:spLocks noChangeArrowheads="1"/>
          </p:cNvSpPr>
          <p:nvPr/>
        </p:nvSpPr>
        <p:spPr bwMode="auto">
          <a:xfrm>
            <a:off x="5372324" y="839671"/>
            <a:ext cx="3584713" cy="338330"/>
          </a:xfrm>
          <a:prstGeom prst="rect">
            <a:avLst/>
          </a:prstGeom>
          <a:noFill/>
          <a:ln w="9525">
            <a:noFill/>
            <a:miter lim="800000"/>
            <a:headEnd/>
            <a:tailEnd/>
          </a:ln>
        </p:spPr>
        <p:txBody>
          <a:bodyPr wrap="square" lIns="68259" tIns="34132" rIns="68259" bIns="34132">
            <a:spAutoFit/>
          </a:bodyPr>
          <a:lstStyle/>
          <a:p>
            <a:pPr algn="ctr" eaLnBrk="0" hangingPunct="0"/>
            <a:r>
              <a:rPr lang="en-US" sz="1700" dirty="0">
                <a:gradFill>
                  <a:gsLst>
                    <a:gs pos="0">
                      <a:schemeClr val="tx1"/>
                    </a:gs>
                    <a:gs pos="86000">
                      <a:schemeClr val="tx1"/>
                    </a:gs>
                  </a:gsLst>
                  <a:lin ang="5400000" scaled="0"/>
                </a:gradFill>
                <a:latin typeface="+mj-lt"/>
              </a:rPr>
              <a:t>Asia Pacific Region </a:t>
            </a:r>
          </a:p>
        </p:txBody>
      </p:sp>
      <p:sp>
        <p:nvSpPr>
          <p:cNvPr id="67" name="Rounded Rectangle 66"/>
          <p:cNvSpPr/>
          <p:nvPr/>
        </p:nvSpPr>
        <p:spPr bwMode="auto">
          <a:xfrm>
            <a:off x="611823" y="3724630"/>
            <a:ext cx="1616423" cy="1179485"/>
          </a:xfrm>
          <a:prstGeom prst="roundRect">
            <a:avLst>
              <a:gd name="adj" fmla="val 0"/>
            </a:avLst>
          </a:prstGeom>
          <a:noFill/>
          <a:ln w="12700" cap="flat" cmpd="sng" algn="ctr">
            <a:noFill/>
            <a:prstDash val="solid"/>
            <a:round/>
            <a:headEnd type="none" w="med" len="med"/>
            <a:tailEnd type="none" w="med" len="med"/>
          </a:ln>
          <a:effectLst>
            <a:outerShdw blurRad="63500" sx="102000" sy="102000" algn="ctr" rotWithShape="0">
              <a:prstClr val="black">
                <a:alpha val="40000"/>
              </a:prstClr>
            </a:outerShdw>
            <a:reflection blurRad="6350" stA="50000" endA="300" endPos="38500" dist="50800" dir="5400000" sy="-100000" algn="bl" rotWithShape="0"/>
          </a:effectLst>
        </p:spPr>
        <p:txBody>
          <a:bodyPr vert="horz" wrap="square" lIns="90997" tIns="90997" rIns="90997" bIns="0" numCol="1" rtlCol="0" anchor="t" anchorCtr="0" compatLnSpc="1">
            <a:prstTxWarp prst="textNoShape">
              <a:avLst/>
            </a:prstTxWarp>
          </a:bodyPr>
          <a:lstStyle/>
          <a:p>
            <a:pPr defTabSz="682550" fontAlgn="base">
              <a:spcBef>
                <a:spcPts val="450"/>
              </a:spcBef>
            </a:pPr>
            <a:r>
              <a:rPr lang="en-US" dirty="0">
                <a:gradFill>
                  <a:gsLst>
                    <a:gs pos="0">
                      <a:schemeClr val="tx1"/>
                    </a:gs>
                    <a:gs pos="86000">
                      <a:schemeClr val="tx1"/>
                    </a:gs>
                  </a:gsLst>
                  <a:lin ang="5400000" scaled="0"/>
                </a:gradFill>
                <a:latin typeface="+mj-lt"/>
              </a:rPr>
              <a:t>Major</a:t>
            </a:r>
            <a:r>
              <a:rPr lang="en-US" dirty="0">
                <a:solidFill>
                  <a:schemeClr val="tx1">
                    <a:alpha val="99000"/>
                  </a:schemeClr>
                </a:solidFill>
                <a:latin typeface="+mj-lt"/>
              </a:rPr>
              <a:t> datacenter</a:t>
            </a:r>
          </a:p>
          <a:p>
            <a:pPr defTabSz="682550" fontAlgn="base">
              <a:spcBef>
                <a:spcPts val="450"/>
              </a:spcBef>
            </a:pPr>
            <a:r>
              <a:rPr lang="en-US" dirty="0" smtClean="0">
                <a:solidFill>
                  <a:schemeClr val="tx1">
                    <a:alpha val="99000"/>
                  </a:schemeClr>
                </a:solidFill>
                <a:latin typeface="+mj-lt"/>
              </a:rPr>
              <a:t>CDN </a:t>
            </a:r>
            <a:r>
              <a:rPr lang="en-US" dirty="0">
                <a:solidFill>
                  <a:schemeClr val="tx1">
                    <a:alpha val="99000"/>
                  </a:schemeClr>
                </a:solidFill>
                <a:latin typeface="+mj-lt"/>
              </a:rPr>
              <a:t>node</a:t>
            </a:r>
          </a:p>
        </p:txBody>
      </p:sp>
      <p:sp>
        <p:nvSpPr>
          <p:cNvPr id="102" name="Isosceles Triangle 101"/>
          <p:cNvSpPr/>
          <p:nvPr/>
        </p:nvSpPr>
        <p:spPr bwMode="auto">
          <a:xfrm>
            <a:off x="320084" y="4091311"/>
            <a:ext cx="138897" cy="138896"/>
          </a:xfrm>
          <a:prstGeom prst="triangle">
            <a:avLst/>
          </a:prstGeom>
          <a:solidFill>
            <a:srgbClr val="16A2D9"/>
          </a:solidFill>
          <a:ln>
            <a:noFill/>
            <a:headEnd type="none" w="med" len="med"/>
            <a:tailEnd type="none" w="med" len="med"/>
          </a:ln>
          <a:effectLst/>
          <a:scene3d>
            <a:camera prst="orthographicFront"/>
            <a:lightRig rig="threePt" dir="t"/>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341324" tIns="34132" rIns="68259" bIns="34132" numCol="1" rtlCol="0" anchor="ctr" anchorCtr="0" compatLnSpc="1">
            <a:prstTxWarp prst="textNoShape">
              <a:avLst/>
            </a:prstTxWarp>
          </a:bodyPr>
          <a:lstStyle/>
          <a:p>
            <a:pPr defTabSz="835435" fontAlgn="base">
              <a:lnSpc>
                <a:spcPct val="80000"/>
              </a:lnSpc>
              <a:spcBef>
                <a:spcPct val="0"/>
              </a:spcBef>
              <a:spcAft>
                <a:spcPts val="450"/>
              </a:spcAft>
              <a:defRPr/>
            </a:pPr>
            <a:endParaRPr lang="en-US" sz="1500" kern="0" spc="-75" dirty="0">
              <a:ln>
                <a:solidFill>
                  <a:srgbClr val="FFFFFF">
                    <a:alpha val="0"/>
                  </a:srgbClr>
                </a:solidFill>
              </a:ln>
              <a:gradFill>
                <a:gsLst>
                  <a:gs pos="0">
                    <a:schemeClr val="tx1"/>
                  </a:gs>
                  <a:gs pos="86000">
                    <a:schemeClr val="tx1"/>
                  </a:gs>
                </a:gsLst>
                <a:lin ang="5400000" scaled="0"/>
              </a:gradFill>
              <a:latin typeface="Segoe Semibold" pitchFamily="34" charset="0"/>
            </a:endParaRPr>
          </a:p>
        </p:txBody>
      </p:sp>
      <p:sp>
        <p:nvSpPr>
          <p:cNvPr id="104" name="Title 103"/>
          <p:cNvSpPr>
            <a:spLocks noGrp="1"/>
          </p:cNvSpPr>
          <p:nvPr>
            <p:ph type="title"/>
          </p:nvPr>
        </p:nvSpPr>
        <p:spPr/>
        <p:txBody>
          <a:bodyPr/>
          <a:lstStyle/>
          <a:p>
            <a:r>
              <a:rPr lang="en-US" dirty="0" smtClean="0"/>
              <a:t>Windows Azure Global Presence </a:t>
            </a:r>
            <a:endParaRPr lang="en-US" dirty="0"/>
          </a:p>
        </p:txBody>
      </p:sp>
      <p:sp>
        <p:nvSpPr>
          <p:cNvPr id="137" name="Oval 136"/>
          <p:cNvSpPr/>
          <p:nvPr/>
        </p:nvSpPr>
        <p:spPr bwMode="auto">
          <a:xfrm>
            <a:off x="2010186" y="2285496"/>
            <a:ext cx="443028" cy="171451"/>
          </a:xfrm>
          <a:prstGeom prst="ellipse">
            <a:avLst/>
          </a:prstGeom>
          <a:solidFill>
            <a:schemeClr val="lt1">
              <a:alpha val="31000"/>
            </a:schemeClr>
          </a:solidFill>
          <a:ln w="6350">
            <a:solidFill>
              <a:schemeClr val="tx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57068" tIns="28535" rIns="57068" bIns="28535" numCol="1" rtlCol="0" anchor="ctr" anchorCtr="0" compatLnSpc="1">
            <a:prstTxWarp prst="textNoShape">
              <a:avLst/>
            </a:prstTxWarp>
          </a:bodyPr>
          <a:lstStyle/>
          <a:p>
            <a:pPr algn="ctr" defTabSz="682464"/>
            <a:endParaRPr lang="en-US" spc="-38" dirty="0">
              <a:gradFill>
                <a:gsLst>
                  <a:gs pos="0">
                    <a:srgbClr val="000000"/>
                  </a:gs>
                  <a:gs pos="100000">
                    <a:srgbClr val="000000"/>
                  </a:gs>
                </a:gsLst>
                <a:lin ang="5400000" scaled="0"/>
              </a:gradFill>
            </a:endParaRPr>
          </a:p>
        </p:txBody>
      </p:sp>
      <p:sp>
        <p:nvSpPr>
          <p:cNvPr id="151" name="Oval 150"/>
          <p:cNvSpPr/>
          <p:nvPr/>
        </p:nvSpPr>
        <p:spPr bwMode="auto">
          <a:xfrm>
            <a:off x="1875851" y="2589654"/>
            <a:ext cx="443028" cy="171451"/>
          </a:xfrm>
          <a:prstGeom prst="ellipse">
            <a:avLst/>
          </a:prstGeom>
          <a:solidFill>
            <a:schemeClr val="lt1">
              <a:alpha val="31000"/>
            </a:schemeClr>
          </a:solidFill>
          <a:ln w="6350">
            <a:solidFill>
              <a:schemeClr val="tx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57068" tIns="28535" rIns="57068" bIns="28535" numCol="1" rtlCol="0" anchor="ctr" anchorCtr="0" compatLnSpc="1">
            <a:prstTxWarp prst="textNoShape">
              <a:avLst/>
            </a:prstTxWarp>
          </a:bodyPr>
          <a:lstStyle/>
          <a:p>
            <a:pPr algn="ctr" defTabSz="682464"/>
            <a:endParaRPr lang="en-US" spc="-38" dirty="0">
              <a:gradFill>
                <a:gsLst>
                  <a:gs pos="0">
                    <a:srgbClr val="000000"/>
                  </a:gs>
                  <a:gs pos="100000">
                    <a:srgbClr val="000000"/>
                  </a:gs>
                </a:gsLst>
                <a:lin ang="5400000" scaled="0"/>
              </a:gradFill>
            </a:endParaRPr>
          </a:p>
        </p:txBody>
      </p:sp>
      <p:cxnSp>
        <p:nvCxnSpPr>
          <p:cNvPr id="160" name="Straight Connector 159"/>
          <p:cNvCxnSpPr>
            <a:stCxn id="151" idx="6"/>
            <a:endCxn id="212" idx="1"/>
          </p:cNvCxnSpPr>
          <p:nvPr/>
        </p:nvCxnSpPr>
        <p:spPr>
          <a:xfrm>
            <a:off x="2318879" y="2675380"/>
            <a:ext cx="389878" cy="30669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62" name="Oval 161"/>
          <p:cNvSpPr/>
          <p:nvPr/>
        </p:nvSpPr>
        <p:spPr bwMode="auto">
          <a:xfrm>
            <a:off x="3822787" y="2013725"/>
            <a:ext cx="443028" cy="171451"/>
          </a:xfrm>
          <a:prstGeom prst="ellipse">
            <a:avLst/>
          </a:prstGeom>
          <a:solidFill>
            <a:schemeClr val="lt1">
              <a:alpha val="31000"/>
            </a:schemeClr>
          </a:solidFill>
          <a:ln w="6350">
            <a:solidFill>
              <a:schemeClr val="tx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57068" tIns="28535" rIns="57068" bIns="28535" numCol="1" rtlCol="0" anchor="ctr" anchorCtr="0" compatLnSpc="1">
            <a:prstTxWarp prst="textNoShape">
              <a:avLst/>
            </a:prstTxWarp>
          </a:bodyPr>
          <a:lstStyle/>
          <a:p>
            <a:pPr algn="ctr" defTabSz="682464"/>
            <a:endParaRPr lang="en-US" spc="-38" dirty="0">
              <a:gradFill>
                <a:gsLst>
                  <a:gs pos="0">
                    <a:srgbClr val="000000"/>
                  </a:gs>
                  <a:gs pos="100000">
                    <a:srgbClr val="000000"/>
                  </a:gs>
                </a:gsLst>
                <a:lin ang="5400000" scaled="0"/>
              </a:gradFill>
            </a:endParaRPr>
          </a:p>
        </p:txBody>
      </p:sp>
      <p:cxnSp>
        <p:nvCxnSpPr>
          <p:cNvPr id="166" name="Straight Connector 165"/>
          <p:cNvCxnSpPr>
            <a:stCxn id="206" idx="6"/>
            <a:endCxn id="210" idx="1"/>
          </p:cNvCxnSpPr>
          <p:nvPr/>
        </p:nvCxnSpPr>
        <p:spPr>
          <a:xfrm>
            <a:off x="4745791" y="2287237"/>
            <a:ext cx="363906" cy="28238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67" name="TextBox 13"/>
          <p:cNvSpPr txBox="1">
            <a:spLocks noChangeArrowheads="1"/>
          </p:cNvSpPr>
          <p:nvPr/>
        </p:nvSpPr>
        <p:spPr bwMode="auto">
          <a:xfrm>
            <a:off x="2708758" y="2313597"/>
            <a:ext cx="1080830" cy="576762"/>
          </a:xfrm>
          <a:prstGeom prst="rect">
            <a:avLst/>
          </a:prstGeom>
          <a:solidFill>
            <a:schemeClr val="tx1">
              <a:lumMod val="95000"/>
            </a:schemeClr>
          </a:solidFill>
          <a:ln w="6350">
            <a:solidFill>
              <a:schemeClr val="tx1"/>
            </a:solidFill>
            <a:miter lim="800000"/>
            <a:headEnd/>
            <a:tailEnd/>
          </a:ln>
        </p:spPr>
        <p:txBody>
          <a:bodyPr wrap="square" lIns="68259" tIns="34132" rIns="68259" bIns="34132">
            <a:spAutoFit/>
          </a:bodyPr>
          <a:lstStyle>
            <a:defPPr>
              <a:defRPr lang="en-US"/>
            </a:defPPr>
            <a:lvl1pPr>
              <a:defRPr sz="1100">
                <a:gradFill>
                  <a:gsLst>
                    <a:gs pos="0">
                      <a:schemeClr val="bg1">
                        <a:lumMod val="75000"/>
                      </a:schemeClr>
                    </a:gs>
                    <a:gs pos="100000">
                      <a:schemeClr val="bg1">
                        <a:lumMod val="75000"/>
                      </a:schemeClr>
                    </a:gs>
                  </a:gsLst>
                  <a:lin ang="5400000" scaled="0"/>
                </a:gradFill>
              </a:defRPr>
            </a:lvl1pPr>
          </a:lstStyle>
          <a:p>
            <a:r>
              <a:rPr lang="en-US" dirty="0"/>
              <a:t>N. Central </a:t>
            </a:r>
            <a:br>
              <a:rPr lang="en-US" dirty="0"/>
            </a:br>
            <a:r>
              <a:rPr lang="en-US" dirty="0"/>
              <a:t>– U.S. Sub-Region</a:t>
            </a:r>
          </a:p>
        </p:txBody>
      </p:sp>
      <p:sp>
        <p:nvSpPr>
          <p:cNvPr id="173" name="TextBox 13"/>
          <p:cNvSpPr txBox="1">
            <a:spLocks noChangeArrowheads="1"/>
          </p:cNvSpPr>
          <p:nvPr/>
        </p:nvSpPr>
        <p:spPr bwMode="auto">
          <a:xfrm>
            <a:off x="7453443" y="3014860"/>
            <a:ext cx="826898" cy="576762"/>
          </a:xfrm>
          <a:prstGeom prst="rect">
            <a:avLst/>
          </a:prstGeom>
          <a:solidFill>
            <a:schemeClr val="tx1">
              <a:lumMod val="95000"/>
            </a:schemeClr>
          </a:solidFill>
          <a:ln w="6350">
            <a:solidFill>
              <a:schemeClr val="tx1"/>
            </a:solidFill>
            <a:miter lim="800000"/>
            <a:headEnd/>
            <a:tailEnd/>
          </a:ln>
        </p:spPr>
        <p:txBody>
          <a:bodyPr wrap="square" lIns="68259" tIns="34132" rIns="68259" bIns="34132">
            <a:spAutoFit/>
          </a:bodyPr>
          <a:lstStyle>
            <a:defPPr>
              <a:defRPr lang="en-US"/>
            </a:defPPr>
            <a:lvl1pPr>
              <a:defRPr sz="1100">
                <a:gradFill>
                  <a:gsLst>
                    <a:gs pos="0">
                      <a:schemeClr val="bg1">
                        <a:lumMod val="75000"/>
                      </a:schemeClr>
                    </a:gs>
                    <a:gs pos="100000">
                      <a:schemeClr val="bg1">
                        <a:lumMod val="75000"/>
                      </a:schemeClr>
                    </a:gs>
                  </a:gsLst>
                  <a:lin ang="5400000" scaled="0"/>
                </a:gradFill>
              </a:defRPr>
            </a:lvl1pPr>
          </a:lstStyle>
          <a:p>
            <a:r>
              <a:rPr lang="en-US" dirty="0"/>
              <a:t>S.E. Asia</a:t>
            </a:r>
          </a:p>
          <a:p>
            <a:r>
              <a:rPr lang="en-US" dirty="0"/>
              <a:t>Sub-Region  </a:t>
            </a:r>
          </a:p>
        </p:txBody>
      </p:sp>
      <p:cxnSp>
        <p:nvCxnSpPr>
          <p:cNvPr id="179" name="Straight Connector 178"/>
          <p:cNvCxnSpPr>
            <a:stCxn id="175" idx="6"/>
            <a:endCxn id="173" idx="1"/>
          </p:cNvCxnSpPr>
          <p:nvPr/>
        </p:nvCxnSpPr>
        <p:spPr>
          <a:xfrm>
            <a:off x="7315914" y="3248684"/>
            <a:ext cx="137529" cy="5455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80" name="TextBox 13"/>
          <p:cNvSpPr txBox="1">
            <a:spLocks noChangeArrowheads="1"/>
          </p:cNvSpPr>
          <p:nvPr/>
        </p:nvSpPr>
        <p:spPr bwMode="auto">
          <a:xfrm>
            <a:off x="7453443" y="2628901"/>
            <a:ext cx="834276" cy="576762"/>
          </a:xfrm>
          <a:prstGeom prst="rect">
            <a:avLst/>
          </a:prstGeom>
          <a:solidFill>
            <a:schemeClr val="tx1">
              <a:lumMod val="95000"/>
            </a:schemeClr>
          </a:solidFill>
          <a:ln w="6350">
            <a:solidFill>
              <a:schemeClr val="tx1"/>
            </a:solidFill>
            <a:miter lim="800000"/>
            <a:headEnd/>
            <a:tailEnd/>
          </a:ln>
        </p:spPr>
        <p:txBody>
          <a:bodyPr wrap="square" lIns="68259" tIns="34132" rIns="68259" bIns="34132">
            <a:spAutoFit/>
          </a:bodyPr>
          <a:lstStyle>
            <a:defPPr>
              <a:defRPr lang="en-US"/>
            </a:defPPr>
            <a:lvl1pPr>
              <a:defRPr sz="1100">
                <a:gradFill>
                  <a:gsLst>
                    <a:gs pos="0">
                      <a:schemeClr val="bg1">
                        <a:lumMod val="75000"/>
                      </a:schemeClr>
                    </a:gs>
                    <a:gs pos="100000">
                      <a:schemeClr val="bg1">
                        <a:lumMod val="75000"/>
                      </a:schemeClr>
                    </a:gs>
                  </a:gsLst>
                  <a:lin ang="5400000" scaled="0"/>
                </a:gradFill>
              </a:defRPr>
            </a:lvl1pPr>
          </a:lstStyle>
          <a:p>
            <a:r>
              <a:rPr lang="en-US" dirty="0"/>
              <a:t>E. Asia</a:t>
            </a:r>
            <a:br>
              <a:rPr lang="en-US" dirty="0"/>
            </a:br>
            <a:r>
              <a:rPr lang="en-US" dirty="0"/>
              <a:t>Sub-Region </a:t>
            </a:r>
          </a:p>
        </p:txBody>
      </p:sp>
      <p:cxnSp>
        <p:nvCxnSpPr>
          <p:cNvPr id="181" name="Straight Connector 180"/>
          <p:cNvCxnSpPr>
            <a:stCxn id="169" idx="6"/>
            <a:endCxn id="180" idx="1"/>
          </p:cNvCxnSpPr>
          <p:nvPr/>
        </p:nvCxnSpPr>
        <p:spPr>
          <a:xfrm>
            <a:off x="7030091" y="2734334"/>
            <a:ext cx="423352" cy="1829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82" name="Isosceles Triangle 181"/>
          <p:cNvSpPr/>
          <p:nvPr/>
        </p:nvSpPr>
        <p:spPr bwMode="auto">
          <a:xfrm>
            <a:off x="3028549" y="3905896"/>
            <a:ext cx="138897" cy="138896"/>
          </a:xfrm>
          <a:prstGeom prst="triangle">
            <a:avLst/>
          </a:prstGeom>
          <a:solidFill>
            <a:srgbClr val="16A2D9"/>
          </a:solidFill>
          <a:ln>
            <a:noFill/>
            <a:headEnd type="none" w="med" len="med"/>
            <a:tailEnd type="none" w="med" len="med"/>
          </a:ln>
          <a:effectLst/>
          <a:scene3d>
            <a:camera prst="orthographicFront"/>
            <a:lightRig rig="threePt" dir="t"/>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341324" tIns="34132" rIns="68259" bIns="34132" numCol="1" rtlCol="0" anchor="ctr" anchorCtr="0" compatLnSpc="1">
            <a:prstTxWarp prst="textNoShape">
              <a:avLst/>
            </a:prstTxWarp>
          </a:bodyPr>
          <a:lstStyle/>
          <a:p>
            <a:pPr defTabSz="835435" fontAlgn="base">
              <a:lnSpc>
                <a:spcPct val="80000"/>
              </a:lnSpc>
              <a:spcBef>
                <a:spcPct val="0"/>
              </a:spcBef>
              <a:spcAft>
                <a:spcPts val="450"/>
              </a:spcAft>
              <a:defRPr/>
            </a:pPr>
            <a:endParaRPr lang="en-US" sz="1500" kern="0" spc="-75" dirty="0">
              <a:ln>
                <a:solidFill>
                  <a:srgbClr val="FFFFFF">
                    <a:alpha val="0"/>
                  </a:srgbClr>
                </a:solidFill>
              </a:ln>
              <a:gradFill>
                <a:gsLst>
                  <a:gs pos="0">
                    <a:schemeClr val="tx1"/>
                  </a:gs>
                  <a:gs pos="86000">
                    <a:schemeClr val="tx1"/>
                  </a:gs>
                </a:gsLst>
                <a:lin ang="5400000" scaled="0"/>
              </a:gradFill>
              <a:latin typeface="Segoe Semibold" pitchFamily="34" charset="0"/>
            </a:endParaRPr>
          </a:p>
        </p:txBody>
      </p:sp>
      <p:sp>
        <p:nvSpPr>
          <p:cNvPr id="183" name="Isosceles Triangle 182"/>
          <p:cNvSpPr/>
          <p:nvPr/>
        </p:nvSpPr>
        <p:spPr bwMode="auto">
          <a:xfrm>
            <a:off x="1908448" y="2045101"/>
            <a:ext cx="138897" cy="138896"/>
          </a:xfrm>
          <a:prstGeom prst="triangle">
            <a:avLst/>
          </a:prstGeom>
          <a:solidFill>
            <a:srgbClr val="16A2D9"/>
          </a:solidFill>
          <a:ln>
            <a:noFill/>
            <a:headEnd type="none" w="med" len="med"/>
            <a:tailEnd type="none" w="med" len="med"/>
          </a:ln>
          <a:effectLst/>
          <a:scene3d>
            <a:camera prst="orthographicFront"/>
            <a:lightRig rig="threePt" dir="t"/>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341324" tIns="34132" rIns="68259" bIns="34132" numCol="1" rtlCol="0" anchor="ctr" anchorCtr="0" compatLnSpc="1">
            <a:prstTxWarp prst="textNoShape">
              <a:avLst/>
            </a:prstTxWarp>
          </a:bodyPr>
          <a:lstStyle/>
          <a:p>
            <a:pPr defTabSz="835435" fontAlgn="base">
              <a:lnSpc>
                <a:spcPct val="80000"/>
              </a:lnSpc>
              <a:spcBef>
                <a:spcPct val="0"/>
              </a:spcBef>
              <a:spcAft>
                <a:spcPts val="450"/>
              </a:spcAft>
              <a:defRPr/>
            </a:pPr>
            <a:endParaRPr lang="en-US" sz="1500" kern="0" spc="-75" dirty="0">
              <a:ln>
                <a:solidFill>
                  <a:srgbClr val="FFFFFF">
                    <a:alpha val="0"/>
                  </a:srgbClr>
                </a:solidFill>
              </a:ln>
              <a:gradFill>
                <a:gsLst>
                  <a:gs pos="0">
                    <a:schemeClr val="tx1"/>
                  </a:gs>
                  <a:gs pos="86000">
                    <a:schemeClr val="tx1"/>
                  </a:gs>
                </a:gsLst>
                <a:lin ang="5400000" scaled="0"/>
              </a:gradFill>
              <a:latin typeface="Segoe Semibold" pitchFamily="34" charset="0"/>
            </a:endParaRPr>
          </a:p>
        </p:txBody>
      </p:sp>
      <p:sp>
        <p:nvSpPr>
          <p:cNvPr id="184" name="Isosceles Triangle 183"/>
          <p:cNvSpPr/>
          <p:nvPr/>
        </p:nvSpPr>
        <p:spPr bwMode="auto">
          <a:xfrm>
            <a:off x="1736954" y="2151676"/>
            <a:ext cx="138897" cy="138896"/>
          </a:xfrm>
          <a:prstGeom prst="triangle">
            <a:avLst/>
          </a:prstGeom>
          <a:solidFill>
            <a:srgbClr val="16A2D9"/>
          </a:solidFill>
          <a:ln>
            <a:noFill/>
            <a:headEnd type="none" w="med" len="med"/>
            <a:tailEnd type="none" w="med" len="med"/>
          </a:ln>
          <a:effectLst/>
          <a:scene3d>
            <a:camera prst="orthographicFront"/>
            <a:lightRig rig="threePt" dir="t"/>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341324" tIns="34132" rIns="68259" bIns="34132" numCol="1" rtlCol="0" anchor="ctr" anchorCtr="0" compatLnSpc="1">
            <a:prstTxWarp prst="textNoShape">
              <a:avLst/>
            </a:prstTxWarp>
          </a:bodyPr>
          <a:lstStyle/>
          <a:p>
            <a:pPr defTabSz="835435" fontAlgn="base">
              <a:lnSpc>
                <a:spcPct val="80000"/>
              </a:lnSpc>
              <a:spcBef>
                <a:spcPct val="0"/>
              </a:spcBef>
              <a:spcAft>
                <a:spcPts val="450"/>
              </a:spcAft>
              <a:defRPr/>
            </a:pPr>
            <a:endParaRPr lang="en-US" sz="1500" kern="0" spc="-75" dirty="0">
              <a:ln>
                <a:solidFill>
                  <a:srgbClr val="FFFFFF">
                    <a:alpha val="0"/>
                  </a:srgbClr>
                </a:solidFill>
              </a:ln>
              <a:gradFill>
                <a:gsLst>
                  <a:gs pos="0">
                    <a:schemeClr val="tx1"/>
                  </a:gs>
                  <a:gs pos="86000">
                    <a:schemeClr val="tx1"/>
                  </a:gs>
                </a:gsLst>
                <a:lin ang="5400000" scaled="0"/>
              </a:gradFill>
              <a:latin typeface="Segoe Semibold" pitchFamily="34" charset="0"/>
            </a:endParaRPr>
          </a:p>
        </p:txBody>
      </p:sp>
      <p:sp>
        <p:nvSpPr>
          <p:cNvPr id="185" name="Isosceles Triangle 184"/>
          <p:cNvSpPr/>
          <p:nvPr/>
        </p:nvSpPr>
        <p:spPr bwMode="auto">
          <a:xfrm>
            <a:off x="1667504" y="2323042"/>
            <a:ext cx="138897" cy="138896"/>
          </a:xfrm>
          <a:prstGeom prst="triangle">
            <a:avLst/>
          </a:prstGeom>
          <a:solidFill>
            <a:srgbClr val="16A2D9"/>
          </a:solidFill>
          <a:ln>
            <a:solidFill>
              <a:srgbClr val="16A2D9"/>
            </a:solidFill>
            <a:headEnd type="none" w="med" len="med"/>
            <a:tailEnd type="none" w="med" len="med"/>
          </a:ln>
          <a:effectLst/>
          <a:scene3d>
            <a:camera prst="orthographicFront"/>
            <a:lightRig rig="threePt" dir="t"/>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341324" tIns="34132" rIns="68259" bIns="34132" numCol="1" rtlCol="0" anchor="ctr" anchorCtr="0" compatLnSpc="1">
            <a:prstTxWarp prst="textNoShape">
              <a:avLst/>
            </a:prstTxWarp>
          </a:bodyPr>
          <a:lstStyle/>
          <a:p>
            <a:pPr defTabSz="835435" fontAlgn="base">
              <a:lnSpc>
                <a:spcPct val="80000"/>
              </a:lnSpc>
              <a:spcBef>
                <a:spcPct val="0"/>
              </a:spcBef>
              <a:spcAft>
                <a:spcPts val="450"/>
              </a:spcAft>
              <a:defRPr/>
            </a:pPr>
            <a:endParaRPr lang="en-US" sz="1500" kern="0" spc="-75" dirty="0">
              <a:ln>
                <a:solidFill>
                  <a:srgbClr val="FFFFFF">
                    <a:alpha val="0"/>
                  </a:srgbClr>
                </a:solidFill>
              </a:ln>
              <a:gradFill>
                <a:gsLst>
                  <a:gs pos="0">
                    <a:schemeClr val="tx1"/>
                  </a:gs>
                  <a:gs pos="86000">
                    <a:schemeClr val="tx1"/>
                  </a:gs>
                </a:gsLst>
                <a:lin ang="5400000" scaled="0"/>
              </a:gradFill>
              <a:latin typeface="Segoe Semibold" pitchFamily="34" charset="0"/>
            </a:endParaRPr>
          </a:p>
        </p:txBody>
      </p:sp>
      <p:sp>
        <p:nvSpPr>
          <p:cNvPr id="186" name="Isosceles Triangle 185"/>
          <p:cNvSpPr/>
          <p:nvPr/>
        </p:nvSpPr>
        <p:spPr bwMode="auto">
          <a:xfrm>
            <a:off x="2442497" y="2311759"/>
            <a:ext cx="138897" cy="138896"/>
          </a:xfrm>
          <a:prstGeom prst="triangle">
            <a:avLst/>
          </a:prstGeom>
          <a:solidFill>
            <a:srgbClr val="16A2D9"/>
          </a:solidFill>
          <a:ln>
            <a:noFill/>
            <a:headEnd type="none" w="med" len="med"/>
            <a:tailEnd type="none" w="med" len="med"/>
          </a:ln>
          <a:effectLst/>
          <a:scene3d>
            <a:camera prst="orthographicFront"/>
            <a:lightRig rig="threePt" dir="t"/>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341324" tIns="34132" rIns="68259" bIns="34132" numCol="1" rtlCol="0" anchor="ctr" anchorCtr="0" compatLnSpc="1">
            <a:prstTxWarp prst="textNoShape">
              <a:avLst/>
            </a:prstTxWarp>
          </a:bodyPr>
          <a:lstStyle/>
          <a:p>
            <a:pPr defTabSz="835435" fontAlgn="base">
              <a:lnSpc>
                <a:spcPct val="80000"/>
              </a:lnSpc>
              <a:spcBef>
                <a:spcPct val="0"/>
              </a:spcBef>
              <a:spcAft>
                <a:spcPts val="450"/>
              </a:spcAft>
              <a:defRPr/>
            </a:pPr>
            <a:endParaRPr lang="en-US" sz="1500" kern="0" spc="-75" dirty="0">
              <a:ln>
                <a:solidFill>
                  <a:srgbClr val="FFFFFF">
                    <a:alpha val="0"/>
                  </a:srgbClr>
                </a:solidFill>
              </a:ln>
              <a:gradFill>
                <a:gsLst>
                  <a:gs pos="0">
                    <a:schemeClr val="tx1"/>
                  </a:gs>
                  <a:gs pos="86000">
                    <a:schemeClr val="tx1"/>
                  </a:gs>
                </a:gsLst>
                <a:lin ang="5400000" scaled="0"/>
              </a:gradFill>
              <a:latin typeface="Segoe Semibold" pitchFamily="34" charset="0"/>
            </a:endParaRPr>
          </a:p>
        </p:txBody>
      </p:sp>
      <p:sp>
        <p:nvSpPr>
          <p:cNvPr id="187" name="Isosceles Triangle 186"/>
          <p:cNvSpPr/>
          <p:nvPr/>
        </p:nvSpPr>
        <p:spPr bwMode="auto">
          <a:xfrm>
            <a:off x="2308603" y="2445151"/>
            <a:ext cx="138897" cy="138896"/>
          </a:xfrm>
          <a:prstGeom prst="triangle">
            <a:avLst/>
          </a:prstGeom>
          <a:solidFill>
            <a:srgbClr val="16A2D9"/>
          </a:solidFill>
          <a:ln>
            <a:noFill/>
            <a:headEnd type="none" w="med" len="med"/>
            <a:tailEnd type="none" w="med" len="med"/>
          </a:ln>
          <a:effectLst/>
          <a:scene3d>
            <a:camera prst="orthographicFront"/>
            <a:lightRig rig="threePt" dir="t"/>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341324" tIns="34132" rIns="68259" bIns="34132" numCol="1" rtlCol="0" anchor="ctr" anchorCtr="0" compatLnSpc="1">
            <a:prstTxWarp prst="textNoShape">
              <a:avLst/>
            </a:prstTxWarp>
          </a:bodyPr>
          <a:lstStyle/>
          <a:p>
            <a:pPr defTabSz="835435" fontAlgn="base">
              <a:lnSpc>
                <a:spcPct val="80000"/>
              </a:lnSpc>
              <a:spcBef>
                <a:spcPct val="0"/>
              </a:spcBef>
              <a:spcAft>
                <a:spcPts val="450"/>
              </a:spcAft>
              <a:defRPr/>
            </a:pPr>
            <a:endParaRPr lang="en-US" sz="1500" kern="0" spc="-75" dirty="0">
              <a:ln>
                <a:solidFill>
                  <a:srgbClr val="FFFFFF">
                    <a:alpha val="0"/>
                  </a:srgbClr>
                </a:solidFill>
              </a:ln>
              <a:gradFill>
                <a:gsLst>
                  <a:gs pos="0">
                    <a:schemeClr val="tx1"/>
                  </a:gs>
                  <a:gs pos="86000">
                    <a:schemeClr val="tx1"/>
                  </a:gs>
                </a:gsLst>
                <a:lin ang="5400000" scaled="0"/>
              </a:gradFill>
              <a:latin typeface="Segoe Semibold" pitchFamily="34" charset="0"/>
            </a:endParaRPr>
          </a:p>
        </p:txBody>
      </p:sp>
      <p:sp>
        <p:nvSpPr>
          <p:cNvPr id="188" name="Isosceles Triangle 187"/>
          <p:cNvSpPr/>
          <p:nvPr/>
        </p:nvSpPr>
        <p:spPr bwMode="auto">
          <a:xfrm>
            <a:off x="1455002" y="2201521"/>
            <a:ext cx="138897" cy="138896"/>
          </a:xfrm>
          <a:prstGeom prst="triangle">
            <a:avLst/>
          </a:prstGeom>
          <a:solidFill>
            <a:srgbClr val="16A2D9"/>
          </a:solidFill>
          <a:ln>
            <a:noFill/>
            <a:headEnd type="none" w="med" len="med"/>
            <a:tailEnd type="none" w="med" len="med"/>
          </a:ln>
          <a:effectLst/>
          <a:scene3d>
            <a:camera prst="orthographicFront"/>
            <a:lightRig rig="threePt" dir="t"/>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341324" tIns="34132" rIns="68259" bIns="34132" numCol="1" rtlCol="0" anchor="ctr" anchorCtr="0" compatLnSpc="1">
            <a:prstTxWarp prst="textNoShape">
              <a:avLst/>
            </a:prstTxWarp>
          </a:bodyPr>
          <a:lstStyle/>
          <a:p>
            <a:pPr defTabSz="835435" fontAlgn="base">
              <a:lnSpc>
                <a:spcPct val="80000"/>
              </a:lnSpc>
              <a:spcBef>
                <a:spcPct val="0"/>
              </a:spcBef>
              <a:spcAft>
                <a:spcPts val="450"/>
              </a:spcAft>
              <a:defRPr/>
            </a:pPr>
            <a:endParaRPr lang="en-US" sz="1500" kern="0" spc="-75" dirty="0">
              <a:ln>
                <a:solidFill>
                  <a:srgbClr val="FFFFFF">
                    <a:alpha val="0"/>
                  </a:srgbClr>
                </a:solidFill>
              </a:ln>
              <a:gradFill>
                <a:gsLst>
                  <a:gs pos="0">
                    <a:schemeClr val="tx1"/>
                  </a:gs>
                  <a:gs pos="86000">
                    <a:schemeClr val="tx1"/>
                  </a:gs>
                </a:gsLst>
                <a:lin ang="5400000" scaled="0"/>
              </a:gradFill>
              <a:latin typeface="Segoe Semibold" pitchFamily="34" charset="0"/>
            </a:endParaRPr>
          </a:p>
        </p:txBody>
      </p:sp>
      <p:sp>
        <p:nvSpPr>
          <p:cNvPr id="189" name="Isosceles Triangle 188"/>
          <p:cNvSpPr/>
          <p:nvPr/>
        </p:nvSpPr>
        <p:spPr bwMode="auto">
          <a:xfrm>
            <a:off x="1470027" y="2363587"/>
            <a:ext cx="138897" cy="138896"/>
          </a:xfrm>
          <a:prstGeom prst="triangle">
            <a:avLst/>
          </a:prstGeom>
          <a:solidFill>
            <a:srgbClr val="16A2D9"/>
          </a:solidFill>
          <a:ln>
            <a:noFill/>
            <a:headEnd type="none" w="med" len="med"/>
            <a:tailEnd type="none" w="med" len="med"/>
          </a:ln>
          <a:effectLst/>
          <a:scene3d>
            <a:camera prst="orthographicFront"/>
            <a:lightRig rig="threePt" dir="t"/>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341324" tIns="34132" rIns="68259" bIns="34132" numCol="1" rtlCol="0" anchor="ctr" anchorCtr="0" compatLnSpc="1">
            <a:prstTxWarp prst="textNoShape">
              <a:avLst/>
            </a:prstTxWarp>
          </a:bodyPr>
          <a:lstStyle/>
          <a:p>
            <a:pPr defTabSz="835435" fontAlgn="base">
              <a:lnSpc>
                <a:spcPct val="80000"/>
              </a:lnSpc>
              <a:spcBef>
                <a:spcPct val="0"/>
              </a:spcBef>
              <a:spcAft>
                <a:spcPts val="450"/>
              </a:spcAft>
              <a:defRPr/>
            </a:pPr>
            <a:endParaRPr lang="en-US" sz="1500" kern="0" spc="-75" dirty="0">
              <a:ln>
                <a:solidFill>
                  <a:srgbClr val="FFFFFF">
                    <a:alpha val="0"/>
                  </a:srgbClr>
                </a:solidFill>
              </a:ln>
              <a:gradFill>
                <a:gsLst>
                  <a:gs pos="0">
                    <a:schemeClr val="tx1"/>
                  </a:gs>
                  <a:gs pos="86000">
                    <a:schemeClr val="tx1"/>
                  </a:gs>
                </a:gsLst>
                <a:lin ang="5400000" scaled="0"/>
              </a:gradFill>
              <a:latin typeface="Segoe Semibold" pitchFamily="34" charset="0"/>
            </a:endParaRPr>
          </a:p>
        </p:txBody>
      </p:sp>
      <p:sp>
        <p:nvSpPr>
          <p:cNvPr id="190" name="Isosceles Triangle 189"/>
          <p:cNvSpPr/>
          <p:nvPr/>
        </p:nvSpPr>
        <p:spPr bwMode="auto">
          <a:xfrm>
            <a:off x="1540892" y="1987951"/>
            <a:ext cx="138897" cy="138896"/>
          </a:xfrm>
          <a:prstGeom prst="triangle">
            <a:avLst/>
          </a:prstGeom>
          <a:solidFill>
            <a:srgbClr val="16A2D9"/>
          </a:solidFill>
          <a:ln>
            <a:noFill/>
            <a:headEnd type="none" w="med" len="med"/>
            <a:tailEnd type="none" w="med" len="med"/>
          </a:ln>
          <a:effectLst/>
          <a:scene3d>
            <a:camera prst="orthographicFront"/>
            <a:lightRig rig="threePt" dir="t"/>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341324" tIns="34132" rIns="68259" bIns="34132" numCol="1" rtlCol="0" anchor="ctr" anchorCtr="0" compatLnSpc="1">
            <a:prstTxWarp prst="textNoShape">
              <a:avLst/>
            </a:prstTxWarp>
          </a:bodyPr>
          <a:lstStyle/>
          <a:p>
            <a:pPr defTabSz="835435" fontAlgn="base">
              <a:lnSpc>
                <a:spcPct val="80000"/>
              </a:lnSpc>
              <a:spcBef>
                <a:spcPct val="0"/>
              </a:spcBef>
              <a:spcAft>
                <a:spcPts val="450"/>
              </a:spcAft>
              <a:defRPr/>
            </a:pPr>
            <a:endParaRPr lang="en-US" sz="1500" kern="0" spc="-75" dirty="0">
              <a:ln>
                <a:solidFill>
                  <a:srgbClr val="FFFFFF">
                    <a:alpha val="0"/>
                  </a:srgbClr>
                </a:solidFill>
              </a:ln>
              <a:gradFill>
                <a:gsLst>
                  <a:gs pos="0">
                    <a:schemeClr val="tx1"/>
                  </a:gs>
                  <a:gs pos="86000">
                    <a:schemeClr val="tx1"/>
                  </a:gs>
                </a:gsLst>
                <a:lin ang="5400000" scaled="0"/>
              </a:gradFill>
              <a:latin typeface="Segoe Semibold" pitchFamily="34" charset="0"/>
            </a:endParaRPr>
          </a:p>
        </p:txBody>
      </p:sp>
      <p:sp>
        <p:nvSpPr>
          <p:cNvPr id="191" name="Isosceles Triangle 190"/>
          <p:cNvSpPr/>
          <p:nvPr/>
        </p:nvSpPr>
        <p:spPr bwMode="auto">
          <a:xfrm>
            <a:off x="2537261" y="2191954"/>
            <a:ext cx="138897" cy="138896"/>
          </a:xfrm>
          <a:prstGeom prst="triangle">
            <a:avLst/>
          </a:prstGeom>
          <a:solidFill>
            <a:srgbClr val="16A2D9"/>
          </a:solidFill>
          <a:ln>
            <a:noFill/>
            <a:headEnd type="none" w="med" len="med"/>
            <a:tailEnd type="none" w="med" len="med"/>
          </a:ln>
          <a:effectLst/>
          <a:scene3d>
            <a:camera prst="orthographicFront"/>
            <a:lightRig rig="threePt" dir="t"/>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341324" tIns="34132" rIns="68259" bIns="34132" numCol="1" rtlCol="0" anchor="ctr" anchorCtr="0" compatLnSpc="1">
            <a:prstTxWarp prst="textNoShape">
              <a:avLst/>
            </a:prstTxWarp>
          </a:bodyPr>
          <a:lstStyle/>
          <a:p>
            <a:pPr defTabSz="835435" fontAlgn="base">
              <a:lnSpc>
                <a:spcPct val="80000"/>
              </a:lnSpc>
              <a:spcBef>
                <a:spcPct val="0"/>
              </a:spcBef>
              <a:spcAft>
                <a:spcPts val="450"/>
              </a:spcAft>
              <a:defRPr/>
            </a:pPr>
            <a:endParaRPr lang="en-US" sz="1500" kern="0" spc="-75" dirty="0">
              <a:ln>
                <a:solidFill>
                  <a:srgbClr val="FFFFFF">
                    <a:alpha val="0"/>
                  </a:srgbClr>
                </a:solidFill>
              </a:ln>
              <a:gradFill>
                <a:gsLst>
                  <a:gs pos="0">
                    <a:schemeClr val="tx1"/>
                  </a:gs>
                  <a:gs pos="86000">
                    <a:schemeClr val="tx1"/>
                  </a:gs>
                </a:gsLst>
                <a:lin ang="5400000" scaled="0"/>
              </a:gradFill>
              <a:latin typeface="Segoe Semibold" pitchFamily="34" charset="0"/>
            </a:endParaRPr>
          </a:p>
        </p:txBody>
      </p:sp>
      <p:sp>
        <p:nvSpPr>
          <p:cNvPr id="192" name="Isosceles Triangle 191"/>
          <p:cNvSpPr/>
          <p:nvPr/>
        </p:nvSpPr>
        <p:spPr bwMode="auto">
          <a:xfrm>
            <a:off x="4636520" y="2020504"/>
            <a:ext cx="138897" cy="138896"/>
          </a:xfrm>
          <a:prstGeom prst="triangle">
            <a:avLst/>
          </a:prstGeom>
          <a:solidFill>
            <a:srgbClr val="16A2D9"/>
          </a:solidFill>
          <a:ln>
            <a:noFill/>
            <a:headEnd type="none" w="med" len="med"/>
            <a:tailEnd type="none" w="med" len="med"/>
          </a:ln>
          <a:effectLst/>
          <a:scene3d>
            <a:camera prst="orthographicFront"/>
            <a:lightRig rig="threePt" dir="t"/>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341324" tIns="34132" rIns="68259" bIns="34132" numCol="1" rtlCol="0" anchor="ctr" anchorCtr="0" compatLnSpc="1">
            <a:prstTxWarp prst="textNoShape">
              <a:avLst/>
            </a:prstTxWarp>
          </a:bodyPr>
          <a:lstStyle/>
          <a:p>
            <a:pPr defTabSz="835435" fontAlgn="base">
              <a:lnSpc>
                <a:spcPct val="80000"/>
              </a:lnSpc>
              <a:spcBef>
                <a:spcPct val="0"/>
              </a:spcBef>
              <a:spcAft>
                <a:spcPts val="450"/>
              </a:spcAft>
              <a:defRPr/>
            </a:pPr>
            <a:endParaRPr lang="en-US" sz="1500" kern="0" spc="-75" dirty="0">
              <a:ln>
                <a:solidFill>
                  <a:srgbClr val="FFFFFF">
                    <a:alpha val="0"/>
                  </a:srgbClr>
                </a:solidFill>
              </a:ln>
              <a:gradFill>
                <a:gsLst>
                  <a:gs pos="0">
                    <a:schemeClr val="tx1"/>
                  </a:gs>
                  <a:gs pos="86000">
                    <a:schemeClr val="tx1"/>
                  </a:gs>
                </a:gsLst>
                <a:lin ang="5400000" scaled="0"/>
              </a:gradFill>
              <a:latin typeface="Segoe Semibold" pitchFamily="34" charset="0"/>
            </a:endParaRPr>
          </a:p>
        </p:txBody>
      </p:sp>
      <p:sp>
        <p:nvSpPr>
          <p:cNvPr id="193" name="Isosceles Triangle 192"/>
          <p:cNvSpPr/>
          <p:nvPr/>
        </p:nvSpPr>
        <p:spPr bwMode="auto">
          <a:xfrm>
            <a:off x="4510593" y="1920364"/>
            <a:ext cx="138897" cy="138896"/>
          </a:xfrm>
          <a:prstGeom prst="triangle">
            <a:avLst/>
          </a:prstGeom>
          <a:solidFill>
            <a:srgbClr val="16A2D9"/>
          </a:solidFill>
          <a:ln>
            <a:noFill/>
            <a:headEnd type="none" w="med" len="med"/>
            <a:tailEnd type="none" w="med" len="med"/>
          </a:ln>
          <a:effectLst/>
          <a:scene3d>
            <a:camera prst="orthographicFront"/>
            <a:lightRig rig="threePt" dir="t"/>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341324" tIns="34132" rIns="68259" bIns="34132" numCol="1" rtlCol="0" anchor="ctr" anchorCtr="0" compatLnSpc="1">
            <a:prstTxWarp prst="textNoShape">
              <a:avLst/>
            </a:prstTxWarp>
          </a:bodyPr>
          <a:lstStyle/>
          <a:p>
            <a:pPr defTabSz="835435" fontAlgn="base">
              <a:lnSpc>
                <a:spcPct val="80000"/>
              </a:lnSpc>
              <a:spcBef>
                <a:spcPct val="0"/>
              </a:spcBef>
              <a:spcAft>
                <a:spcPts val="450"/>
              </a:spcAft>
              <a:defRPr/>
            </a:pPr>
            <a:endParaRPr lang="en-US" sz="1500" kern="0" spc="-75" dirty="0">
              <a:ln>
                <a:solidFill>
                  <a:srgbClr val="FFFFFF">
                    <a:alpha val="0"/>
                  </a:srgbClr>
                </a:solidFill>
              </a:ln>
              <a:gradFill>
                <a:gsLst>
                  <a:gs pos="0">
                    <a:schemeClr val="tx1"/>
                  </a:gs>
                  <a:gs pos="86000">
                    <a:schemeClr val="tx1"/>
                  </a:gs>
                </a:gsLst>
                <a:lin ang="5400000" scaled="0"/>
              </a:gradFill>
              <a:latin typeface="Segoe Semibold" pitchFamily="34" charset="0"/>
            </a:endParaRPr>
          </a:p>
        </p:txBody>
      </p:sp>
      <p:sp>
        <p:nvSpPr>
          <p:cNvPr id="194" name="Isosceles Triangle 193"/>
          <p:cNvSpPr/>
          <p:nvPr/>
        </p:nvSpPr>
        <p:spPr bwMode="auto">
          <a:xfrm>
            <a:off x="4514836" y="2052499"/>
            <a:ext cx="138897" cy="138896"/>
          </a:xfrm>
          <a:prstGeom prst="triangle">
            <a:avLst/>
          </a:prstGeom>
          <a:solidFill>
            <a:srgbClr val="16A2D9"/>
          </a:solidFill>
          <a:ln>
            <a:noFill/>
            <a:headEnd type="none" w="med" len="med"/>
            <a:tailEnd type="none" w="med" len="med"/>
          </a:ln>
          <a:effectLst/>
          <a:scene3d>
            <a:camera prst="orthographicFront"/>
            <a:lightRig rig="threePt" dir="t"/>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341324" tIns="34132" rIns="68259" bIns="34132" numCol="1" rtlCol="0" anchor="ctr" anchorCtr="0" compatLnSpc="1">
            <a:prstTxWarp prst="textNoShape">
              <a:avLst/>
            </a:prstTxWarp>
          </a:bodyPr>
          <a:lstStyle/>
          <a:p>
            <a:pPr defTabSz="835435" fontAlgn="base">
              <a:lnSpc>
                <a:spcPct val="80000"/>
              </a:lnSpc>
              <a:spcBef>
                <a:spcPct val="0"/>
              </a:spcBef>
              <a:spcAft>
                <a:spcPts val="450"/>
              </a:spcAft>
              <a:defRPr/>
            </a:pPr>
            <a:endParaRPr lang="en-US" sz="1500" kern="0" spc="-75" dirty="0">
              <a:ln>
                <a:solidFill>
                  <a:srgbClr val="FFFFFF">
                    <a:alpha val="0"/>
                  </a:srgbClr>
                </a:solidFill>
              </a:ln>
              <a:gradFill>
                <a:gsLst>
                  <a:gs pos="0">
                    <a:schemeClr val="tx1"/>
                  </a:gs>
                  <a:gs pos="86000">
                    <a:schemeClr val="tx1"/>
                  </a:gs>
                </a:gsLst>
                <a:lin ang="5400000" scaled="0"/>
              </a:gradFill>
              <a:latin typeface="Segoe Semibold" pitchFamily="34" charset="0"/>
            </a:endParaRPr>
          </a:p>
        </p:txBody>
      </p:sp>
      <p:sp>
        <p:nvSpPr>
          <p:cNvPr id="195" name="Isosceles Triangle 194"/>
          <p:cNvSpPr/>
          <p:nvPr/>
        </p:nvSpPr>
        <p:spPr bwMode="auto">
          <a:xfrm>
            <a:off x="4385383" y="1944961"/>
            <a:ext cx="138897" cy="138896"/>
          </a:xfrm>
          <a:prstGeom prst="triangle">
            <a:avLst/>
          </a:prstGeom>
          <a:solidFill>
            <a:srgbClr val="16A2D9"/>
          </a:solidFill>
          <a:ln>
            <a:noFill/>
            <a:headEnd type="none" w="med" len="med"/>
            <a:tailEnd type="none" w="med" len="med"/>
          </a:ln>
          <a:effectLst/>
          <a:scene3d>
            <a:camera prst="orthographicFront"/>
            <a:lightRig rig="threePt" dir="t"/>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341324" tIns="34132" rIns="68259" bIns="34132" numCol="1" rtlCol="0" anchor="ctr" anchorCtr="0" compatLnSpc="1">
            <a:prstTxWarp prst="textNoShape">
              <a:avLst/>
            </a:prstTxWarp>
          </a:bodyPr>
          <a:lstStyle/>
          <a:p>
            <a:pPr defTabSz="835435" fontAlgn="base">
              <a:lnSpc>
                <a:spcPct val="80000"/>
              </a:lnSpc>
              <a:spcBef>
                <a:spcPct val="0"/>
              </a:spcBef>
              <a:spcAft>
                <a:spcPts val="450"/>
              </a:spcAft>
              <a:defRPr/>
            </a:pPr>
            <a:endParaRPr lang="en-US" sz="1500" kern="0" spc="-75" dirty="0">
              <a:ln>
                <a:solidFill>
                  <a:srgbClr val="FFFFFF">
                    <a:alpha val="0"/>
                  </a:srgbClr>
                </a:solidFill>
              </a:ln>
              <a:gradFill>
                <a:gsLst>
                  <a:gs pos="0">
                    <a:schemeClr val="tx1"/>
                  </a:gs>
                  <a:gs pos="86000">
                    <a:schemeClr val="tx1"/>
                  </a:gs>
                </a:gsLst>
                <a:lin ang="5400000" scaled="0"/>
              </a:gradFill>
              <a:latin typeface="Segoe Semibold" pitchFamily="34" charset="0"/>
            </a:endParaRPr>
          </a:p>
        </p:txBody>
      </p:sp>
      <p:sp>
        <p:nvSpPr>
          <p:cNvPr id="196" name="Isosceles Triangle 195"/>
          <p:cNvSpPr/>
          <p:nvPr/>
        </p:nvSpPr>
        <p:spPr bwMode="auto">
          <a:xfrm>
            <a:off x="4604599" y="1860997"/>
            <a:ext cx="138897" cy="138896"/>
          </a:xfrm>
          <a:prstGeom prst="triangle">
            <a:avLst/>
          </a:prstGeom>
          <a:solidFill>
            <a:srgbClr val="16A2D9"/>
          </a:solidFill>
          <a:ln>
            <a:noFill/>
            <a:headEnd type="none" w="med" len="med"/>
            <a:tailEnd type="none" w="med" len="med"/>
          </a:ln>
          <a:effectLst/>
          <a:scene3d>
            <a:camera prst="orthographicFront"/>
            <a:lightRig rig="threePt" dir="t"/>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341324" tIns="34132" rIns="68259" bIns="34132" numCol="1" rtlCol="0" anchor="ctr" anchorCtr="0" compatLnSpc="1">
            <a:prstTxWarp prst="textNoShape">
              <a:avLst/>
            </a:prstTxWarp>
          </a:bodyPr>
          <a:lstStyle/>
          <a:p>
            <a:pPr defTabSz="835435" fontAlgn="base">
              <a:lnSpc>
                <a:spcPct val="80000"/>
              </a:lnSpc>
              <a:spcBef>
                <a:spcPct val="0"/>
              </a:spcBef>
              <a:spcAft>
                <a:spcPts val="450"/>
              </a:spcAft>
              <a:defRPr/>
            </a:pPr>
            <a:endParaRPr lang="en-US" sz="1500" kern="0" spc="-75" dirty="0">
              <a:ln>
                <a:solidFill>
                  <a:srgbClr val="FFFFFF">
                    <a:alpha val="0"/>
                  </a:srgbClr>
                </a:solidFill>
              </a:ln>
              <a:gradFill>
                <a:gsLst>
                  <a:gs pos="0">
                    <a:schemeClr val="tx1"/>
                  </a:gs>
                  <a:gs pos="86000">
                    <a:schemeClr val="tx1"/>
                  </a:gs>
                </a:gsLst>
                <a:lin ang="5400000" scaled="0"/>
              </a:gradFill>
              <a:latin typeface="Segoe Semibold" pitchFamily="34" charset="0"/>
            </a:endParaRPr>
          </a:p>
        </p:txBody>
      </p:sp>
      <p:sp>
        <p:nvSpPr>
          <p:cNvPr id="197" name="Isosceles Triangle 196"/>
          <p:cNvSpPr/>
          <p:nvPr/>
        </p:nvSpPr>
        <p:spPr bwMode="auto">
          <a:xfrm>
            <a:off x="4196366" y="2140024"/>
            <a:ext cx="138897" cy="138896"/>
          </a:xfrm>
          <a:prstGeom prst="triangle">
            <a:avLst/>
          </a:prstGeom>
          <a:solidFill>
            <a:srgbClr val="16A2D9"/>
          </a:solidFill>
          <a:ln>
            <a:noFill/>
            <a:headEnd type="none" w="med" len="med"/>
            <a:tailEnd type="none" w="med" len="med"/>
          </a:ln>
          <a:effectLst/>
          <a:scene3d>
            <a:camera prst="orthographicFront"/>
            <a:lightRig rig="threePt" dir="t"/>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341324" tIns="34132" rIns="68259" bIns="34132" numCol="1" rtlCol="0" anchor="ctr" anchorCtr="0" compatLnSpc="1">
            <a:prstTxWarp prst="textNoShape">
              <a:avLst/>
            </a:prstTxWarp>
          </a:bodyPr>
          <a:lstStyle/>
          <a:p>
            <a:pPr defTabSz="835435" fontAlgn="base">
              <a:lnSpc>
                <a:spcPct val="80000"/>
              </a:lnSpc>
              <a:spcBef>
                <a:spcPct val="0"/>
              </a:spcBef>
              <a:spcAft>
                <a:spcPts val="450"/>
              </a:spcAft>
              <a:defRPr/>
            </a:pPr>
            <a:endParaRPr lang="en-US" sz="1500" kern="0" spc="-75" dirty="0">
              <a:ln>
                <a:solidFill>
                  <a:srgbClr val="FFFFFF">
                    <a:alpha val="0"/>
                  </a:srgbClr>
                </a:solidFill>
              </a:ln>
              <a:gradFill>
                <a:gsLst>
                  <a:gs pos="0">
                    <a:schemeClr val="tx1"/>
                  </a:gs>
                  <a:gs pos="86000">
                    <a:schemeClr val="tx1"/>
                  </a:gs>
                </a:gsLst>
                <a:lin ang="5400000" scaled="0"/>
              </a:gradFill>
              <a:latin typeface="Segoe Semibold" pitchFamily="34" charset="0"/>
            </a:endParaRPr>
          </a:p>
        </p:txBody>
      </p:sp>
      <p:sp>
        <p:nvSpPr>
          <p:cNvPr id="198" name="Isosceles Triangle 197"/>
          <p:cNvSpPr/>
          <p:nvPr/>
        </p:nvSpPr>
        <p:spPr bwMode="auto">
          <a:xfrm>
            <a:off x="4183921" y="1849054"/>
            <a:ext cx="138897" cy="138896"/>
          </a:xfrm>
          <a:prstGeom prst="triangle">
            <a:avLst/>
          </a:prstGeom>
          <a:solidFill>
            <a:srgbClr val="16A2D9"/>
          </a:solidFill>
          <a:ln>
            <a:noFill/>
            <a:headEnd type="none" w="med" len="med"/>
            <a:tailEnd type="none" w="med" len="med"/>
          </a:ln>
          <a:effectLst/>
          <a:scene3d>
            <a:camera prst="orthographicFront"/>
            <a:lightRig rig="threePt" dir="t"/>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341324" tIns="34132" rIns="68259" bIns="34132" numCol="1" rtlCol="0" anchor="ctr" anchorCtr="0" compatLnSpc="1">
            <a:prstTxWarp prst="textNoShape">
              <a:avLst/>
            </a:prstTxWarp>
          </a:bodyPr>
          <a:lstStyle/>
          <a:p>
            <a:pPr defTabSz="835435" fontAlgn="base">
              <a:lnSpc>
                <a:spcPct val="80000"/>
              </a:lnSpc>
              <a:spcBef>
                <a:spcPct val="0"/>
              </a:spcBef>
              <a:spcAft>
                <a:spcPts val="450"/>
              </a:spcAft>
              <a:defRPr/>
            </a:pPr>
            <a:endParaRPr lang="en-US" sz="1500" kern="0" spc="-75" dirty="0">
              <a:ln>
                <a:solidFill>
                  <a:srgbClr val="FFFFFF">
                    <a:alpha val="0"/>
                  </a:srgbClr>
                </a:solidFill>
              </a:ln>
              <a:gradFill>
                <a:gsLst>
                  <a:gs pos="0">
                    <a:schemeClr val="tx1"/>
                  </a:gs>
                  <a:gs pos="86000">
                    <a:schemeClr val="tx1"/>
                  </a:gs>
                </a:gsLst>
                <a:lin ang="5400000" scaled="0"/>
              </a:gradFill>
              <a:latin typeface="Segoe Semibold" pitchFamily="34" charset="0"/>
            </a:endParaRPr>
          </a:p>
        </p:txBody>
      </p:sp>
      <p:sp>
        <p:nvSpPr>
          <p:cNvPr id="199" name="Isosceles Triangle 198"/>
          <p:cNvSpPr/>
          <p:nvPr/>
        </p:nvSpPr>
        <p:spPr bwMode="auto">
          <a:xfrm>
            <a:off x="7682101" y="4045351"/>
            <a:ext cx="138897" cy="138896"/>
          </a:xfrm>
          <a:prstGeom prst="triangle">
            <a:avLst/>
          </a:prstGeom>
          <a:solidFill>
            <a:srgbClr val="16A2D9"/>
          </a:solidFill>
          <a:ln>
            <a:noFill/>
            <a:headEnd type="none" w="med" len="med"/>
            <a:tailEnd type="none" w="med" len="med"/>
          </a:ln>
          <a:effectLst/>
          <a:scene3d>
            <a:camera prst="orthographicFront"/>
            <a:lightRig rig="threePt" dir="t"/>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341324" tIns="34132" rIns="68259" bIns="34132" numCol="1" rtlCol="0" anchor="ctr" anchorCtr="0" compatLnSpc="1">
            <a:prstTxWarp prst="textNoShape">
              <a:avLst/>
            </a:prstTxWarp>
          </a:bodyPr>
          <a:lstStyle/>
          <a:p>
            <a:pPr defTabSz="835435" fontAlgn="base">
              <a:lnSpc>
                <a:spcPct val="80000"/>
              </a:lnSpc>
              <a:spcBef>
                <a:spcPct val="0"/>
              </a:spcBef>
              <a:spcAft>
                <a:spcPts val="450"/>
              </a:spcAft>
              <a:defRPr/>
            </a:pPr>
            <a:endParaRPr lang="en-US" sz="1500" kern="0" spc="-75" dirty="0">
              <a:ln>
                <a:solidFill>
                  <a:srgbClr val="FFFFFF">
                    <a:alpha val="0"/>
                  </a:srgbClr>
                </a:solidFill>
              </a:ln>
              <a:gradFill>
                <a:gsLst>
                  <a:gs pos="0">
                    <a:schemeClr val="tx1"/>
                  </a:gs>
                  <a:gs pos="86000">
                    <a:schemeClr val="tx1"/>
                  </a:gs>
                </a:gsLst>
                <a:lin ang="5400000" scaled="0"/>
              </a:gradFill>
              <a:latin typeface="Segoe Semibold" pitchFamily="34" charset="0"/>
            </a:endParaRPr>
          </a:p>
        </p:txBody>
      </p:sp>
      <p:sp>
        <p:nvSpPr>
          <p:cNvPr id="200" name="Isosceles Triangle 199"/>
          <p:cNvSpPr/>
          <p:nvPr/>
        </p:nvSpPr>
        <p:spPr bwMode="auto">
          <a:xfrm>
            <a:off x="7339113" y="2273701"/>
            <a:ext cx="138897" cy="138896"/>
          </a:xfrm>
          <a:prstGeom prst="triangle">
            <a:avLst/>
          </a:prstGeom>
          <a:solidFill>
            <a:srgbClr val="16A2D9"/>
          </a:solidFill>
          <a:ln>
            <a:noFill/>
            <a:headEnd type="none" w="med" len="med"/>
            <a:tailEnd type="none" w="med" len="med"/>
          </a:ln>
          <a:effectLst/>
          <a:scene3d>
            <a:camera prst="orthographicFront"/>
            <a:lightRig rig="threePt" dir="t"/>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341324" tIns="34132" rIns="68259" bIns="34132" numCol="1" rtlCol="0" anchor="ctr" anchorCtr="0" compatLnSpc="1">
            <a:prstTxWarp prst="textNoShape">
              <a:avLst/>
            </a:prstTxWarp>
          </a:bodyPr>
          <a:lstStyle/>
          <a:p>
            <a:pPr defTabSz="835435" fontAlgn="base">
              <a:lnSpc>
                <a:spcPct val="80000"/>
              </a:lnSpc>
              <a:spcBef>
                <a:spcPct val="0"/>
              </a:spcBef>
              <a:spcAft>
                <a:spcPts val="450"/>
              </a:spcAft>
              <a:defRPr/>
            </a:pPr>
            <a:endParaRPr lang="en-US" sz="1500" kern="0" spc="-75" dirty="0">
              <a:ln>
                <a:solidFill>
                  <a:srgbClr val="FFFFFF">
                    <a:alpha val="0"/>
                  </a:srgbClr>
                </a:solidFill>
              </a:ln>
              <a:gradFill>
                <a:gsLst>
                  <a:gs pos="0">
                    <a:schemeClr val="tx1"/>
                  </a:gs>
                  <a:gs pos="86000">
                    <a:schemeClr val="tx1"/>
                  </a:gs>
                </a:gsLst>
                <a:lin ang="5400000" scaled="0"/>
              </a:gradFill>
              <a:latin typeface="Segoe Semibold" pitchFamily="34" charset="0"/>
            </a:endParaRPr>
          </a:p>
        </p:txBody>
      </p:sp>
      <p:sp>
        <p:nvSpPr>
          <p:cNvPr id="201" name="Isosceles Triangle 200"/>
          <p:cNvSpPr/>
          <p:nvPr/>
        </p:nvSpPr>
        <p:spPr bwMode="auto">
          <a:xfrm>
            <a:off x="6938958" y="2452549"/>
            <a:ext cx="138897" cy="138896"/>
          </a:xfrm>
          <a:prstGeom prst="triangle">
            <a:avLst/>
          </a:prstGeom>
          <a:solidFill>
            <a:srgbClr val="16A2D9"/>
          </a:solidFill>
          <a:ln>
            <a:noFill/>
            <a:headEnd type="none" w="med" len="med"/>
            <a:tailEnd type="none" w="med" len="med"/>
          </a:ln>
          <a:effectLst/>
          <a:scene3d>
            <a:camera prst="orthographicFront"/>
            <a:lightRig rig="threePt" dir="t"/>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341324" tIns="34132" rIns="68259" bIns="34132" numCol="1" rtlCol="0" anchor="ctr" anchorCtr="0" compatLnSpc="1">
            <a:prstTxWarp prst="textNoShape">
              <a:avLst/>
            </a:prstTxWarp>
          </a:bodyPr>
          <a:lstStyle/>
          <a:p>
            <a:pPr defTabSz="835435" fontAlgn="base">
              <a:lnSpc>
                <a:spcPct val="80000"/>
              </a:lnSpc>
              <a:spcBef>
                <a:spcPct val="0"/>
              </a:spcBef>
              <a:spcAft>
                <a:spcPts val="450"/>
              </a:spcAft>
              <a:defRPr/>
            </a:pPr>
            <a:endParaRPr lang="en-US" sz="1500" kern="0" spc="-75" dirty="0">
              <a:ln>
                <a:solidFill>
                  <a:srgbClr val="FFFFFF">
                    <a:alpha val="0"/>
                  </a:srgbClr>
                </a:solidFill>
              </a:ln>
              <a:gradFill>
                <a:gsLst>
                  <a:gs pos="0">
                    <a:schemeClr val="tx1"/>
                  </a:gs>
                  <a:gs pos="86000">
                    <a:schemeClr val="tx1"/>
                  </a:gs>
                </a:gsLst>
                <a:lin ang="5400000" scaled="0"/>
              </a:gradFill>
              <a:latin typeface="Segoe Semibold" pitchFamily="34" charset="0"/>
            </a:endParaRPr>
          </a:p>
        </p:txBody>
      </p:sp>
      <p:sp>
        <p:nvSpPr>
          <p:cNvPr id="202" name="Isosceles Triangle 201"/>
          <p:cNvSpPr/>
          <p:nvPr/>
        </p:nvSpPr>
        <p:spPr bwMode="auto">
          <a:xfrm>
            <a:off x="6776864" y="3252649"/>
            <a:ext cx="138897" cy="138896"/>
          </a:xfrm>
          <a:prstGeom prst="triangle">
            <a:avLst/>
          </a:prstGeom>
          <a:solidFill>
            <a:srgbClr val="16A2D9"/>
          </a:solidFill>
          <a:ln>
            <a:noFill/>
            <a:headEnd type="none" w="med" len="med"/>
            <a:tailEnd type="none" w="med" len="med"/>
          </a:ln>
          <a:effectLst/>
          <a:scene3d>
            <a:camera prst="orthographicFront"/>
            <a:lightRig rig="threePt" dir="t"/>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341324" tIns="34132" rIns="68259" bIns="34132" numCol="1" rtlCol="0" anchor="ctr" anchorCtr="0" compatLnSpc="1">
            <a:prstTxWarp prst="textNoShape">
              <a:avLst/>
            </a:prstTxWarp>
          </a:bodyPr>
          <a:lstStyle/>
          <a:p>
            <a:pPr defTabSz="835435" fontAlgn="base">
              <a:lnSpc>
                <a:spcPct val="80000"/>
              </a:lnSpc>
              <a:spcBef>
                <a:spcPct val="0"/>
              </a:spcBef>
              <a:spcAft>
                <a:spcPts val="450"/>
              </a:spcAft>
              <a:defRPr/>
            </a:pPr>
            <a:endParaRPr lang="en-US" sz="1500" kern="0" spc="-75" dirty="0">
              <a:ln>
                <a:solidFill>
                  <a:srgbClr val="FFFFFF">
                    <a:alpha val="0"/>
                  </a:srgbClr>
                </a:solidFill>
              </a:ln>
              <a:gradFill>
                <a:gsLst>
                  <a:gs pos="0">
                    <a:schemeClr val="tx1"/>
                  </a:gs>
                  <a:gs pos="86000">
                    <a:schemeClr val="tx1"/>
                  </a:gs>
                </a:gsLst>
                <a:lin ang="5400000" scaled="0"/>
              </a:gradFill>
              <a:latin typeface="Segoe Semibold" pitchFamily="34" charset="0"/>
            </a:endParaRPr>
          </a:p>
        </p:txBody>
      </p:sp>
      <p:sp>
        <p:nvSpPr>
          <p:cNvPr id="203" name="TextBox 13"/>
          <p:cNvSpPr txBox="1">
            <a:spLocks noChangeArrowheads="1"/>
          </p:cNvSpPr>
          <p:nvPr/>
        </p:nvSpPr>
        <p:spPr bwMode="auto">
          <a:xfrm>
            <a:off x="5109697" y="1816503"/>
            <a:ext cx="725873" cy="746039"/>
          </a:xfrm>
          <a:prstGeom prst="rect">
            <a:avLst/>
          </a:prstGeom>
          <a:solidFill>
            <a:schemeClr val="tx1">
              <a:lumMod val="95000"/>
            </a:schemeClr>
          </a:solidFill>
          <a:ln w="6350">
            <a:solidFill>
              <a:schemeClr val="tx1"/>
            </a:solidFill>
            <a:miter lim="800000"/>
            <a:headEnd/>
            <a:tailEnd/>
          </a:ln>
        </p:spPr>
        <p:txBody>
          <a:bodyPr wrap="square" lIns="68259" tIns="34132" rIns="68259" bIns="34132">
            <a:spAutoFit/>
          </a:bodyPr>
          <a:lstStyle>
            <a:defPPr>
              <a:defRPr lang="en-US"/>
            </a:defPPr>
            <a:lvl1pPr>
              <a:defRPr sz="1100">
                <a:gradFill>
                  <a:gsLst>
                    <a:gs pos="0">
                      <a:schemeClr val="bg1">
                        <a:lumMod val="75000"/>
                      </a:schemeClr>
                    </a:gs>
                    <a:gs pos="100000">
                      <a:schemeClr val="bg1">
                        <a:lumMod val="75000"/>
                      </a:schemeClr>
                    </a:gs>
                  </a:gsLst>
                  <a:lin ang="5400000" scaled="0"/>
                </a:gradFill>
              </a:defRPr>
            </a:lvl1pPr>
          </a:lstStyle>
          <a:p>
            <a:r>
              <a:rPr lang="en-US" dirty="0"/>
              <a:t>N. Europe </a:t>
            </a:r>
          </a:p>
          <a:p>
            <a:r>
              <a:rPr lang="en-US" dirty="0"/>
              <a:t>Sub-Region </a:t>
            </a:r>
          </a:p>
        </p:txBody>
      </p:sp>
      <p:cxnSp>
        <p:nvCxnSpPr>
          <p:cNvPr id="204" name="Straight Connector 203"/>
          <p:cNvCxnSpPr>
            <a:stCxn id="162" idx="7"/>
            <a:endCxn id="203" idx="1"/>
          </p:cNvCxnSpPr>
          <p:nvPr/>
        </p:nvCxnSpPr>
        <p:spPr>
          <a:xfrm>
            <a:off x="4200935" y="2038833"/>
            <a:ext cx="908762" cy="15069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0" name="TextBox 13"/>
          <p:cNvSpPr txBox="1">
            <a:spLocks noChangeArrowheads="1"/>
          </p:cNvSpPr>
          <p:nvPr/>
        </p:nvSpPr>
        <p:spPr bwMode="auto">
          <a:xfrm>
            <a:off x="5109697" y="2196604"/>
            <a:ext cx="725873" cy="746039"/>
          </a:xfrm>
          <a:prstGeom prst="rect">
            <a:avLst/>
          </a:prstGeom>
          <a:solidFill>
            <a:schemeClr val="tx1">
              <a:lumMod val="95000"/>
            </a:schemeClr>
          </a:solidFill>
          <a:ln w="6350">
            <a:solidFill>
              <a:schemeClr val="tx1"/>
            </a:solidFill>
            <a:miter lim="800000"/>
            <a:headEnd/>
            <a:tailEnd/>
          </a:ln>
        </p:spPr>
        <p:txBody>
          <a:bodyPr wrap="square" lIns="68259" tIns="34132" rIns="68259" bIns="34132">
            <a:spAutoFit/>
          </a:bodyPr>
          <a:lstStyle>
            <a:defPPr>
              <a:defRPr lang="en-US"/>
            </a:defPPr>
            <a:lvl1pPr>
              <a:defRPr sz="1100">
                <a:gradFill>
                  <a:gsLst>
                    <a:gs pos="0">
                      <a:schemeClr val="bg1">
                        <a:lumMod val="75000"/>
                      </a:schemeClr>
                    </a:gs>
                    <a:gs pos="100000">
                      <a:schemeClr val="bg1">
                        <a:lumMod val="75000"/>
                      </a:schemeClr>
                    </a:gs>
                  </a:gsLst>
                  <a:lin ang="5400000" scaled="0"/>
                </a:gradFill>
              </a:defRPr>
            </a:lvl1pPr>
          </a:lstStyle>
          <a:p>
            <a:r>
              <a:rPr lang="en-US" dirty="0"/>
              <a:t>W. Europe </a:t>
            </a:r>
          </a:p>
          <a:p>
            <a:r>
              <a:rPr lang="en-US" dirty="0"/>
              <a:t>Sub-Region </a:t>
            </a:r>
          </a:p>
        </p:txBody>
      </p:sp>
      <p:cxnSp>
        <p:nvCxnSpPr>
          <p:cNvPr id="211" name="Straight Connector 210"/>
          <p:cNvCxnSpPr>
            <a:stCxn id="137" idx="6"/>
            <a:endCxn id="167" idx="1"/>
          </p:cNvCxnSpPr>
          <p:nvPr/>
        </p:nvCxnSpPr>
        <p:spPr>
          <a:xfrm>
            <a:off x="2453214" y="2371222"/>
            <a:ext cx="255544" cy="2307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2" name="TextBox 13"/>
          <p:cNvSpPr txBox="1">
            <a:spLocks noChangeArrowheads="1"/>
          </p:cNvSpPr>
          <p:nvPr/>
        </p:nvSpPr>
        <p:spPr bwMode="auto">
          <a:xfrm>
            <a:off x="2708757" y="2693697"/>
            <a:ext cx="1077795" cy="576762"/>
          </a:xfrm>
          <a:prstGeom prst="rect">
            <a:avLst/>
          </a:prstGeom>
          <a:solidFill>
            <a:schemeClr val="tx1">
              <a:lumMod val="95000"/>
            </a:schemeClr>
          </a:solidFill>
          <a:ln w="6350">
            <a:solidFill>
              <a:schemeClr val="tx1"/>
            </a:solidFill>
            <a:miter lim="800000"/>
            <a:headEnd/>
            <a:tailEnd/>
          </a:ln>
        </p:spPr>
        <p:txBody>
          <a:bodyPr wrap="square" lIns="68259" tIns="34132" rIns="68259" bIns="34132">
            <a:spAutoFit/>
          </a:bodyPr>
          <a:lstStyle>
            <a:defPPr>
              <a:defRPr lang="en-US"/>
            </a:defPPr>
            <a:lvl1pPr>
              <a:defRPr sz="1100">
                <a:gradFill>
                  <a:gsLst>
                    <a:gs pos="0">
                      <a:schemeClr val="bg1">
                        <a:lumMod val="75000"/>
                      </a:schemeClr>
                    </a:gs>
                    <a:gs pos="100000">
                      <a:schemeClr val="bg1">
                        <a:lumMod val="75000"/>
                      </a:schemeClr>
                    </a:gs>
                  </a:gsLst>
                  <a:lin ang="5400000" scaled="0"/>
                </a:gradFill>
              </a:defRPr>
            </a:lvl1pPr>
          </a:lstStyle>
          <a:p>
            <a:r>
              <a:rPr lang="en-US" dirty="0"/>
              <a:t>S. Central </a:t>
            </a:r>
            <a:br>
              <a:rPr lang="en-US" dirty="0"/>
            </a:br>
            <a:r>
              <a:rPr lang="en-US" dirty="0"/>
              <a:t>– U.S. Sub-Region</a:t>
            </a:r>
          </a:p>
        </p:txBody>
      </p:sp>
      <p:sp>
        <p:nvSpPr>
          <p:cNvPr id="175" name="Oval 174"/>
          <p:cNvSpPr/>
          <p:nvPr/>
        </p:nvSpPr>
        <p:spPr bwMode="auto">
          <a:xfrm>
            <a:off x="6872886" y="3162958"/>
            <a:ext cx="443028" cy="171451"/>
          </a:xfrm>
          <a:prstGeom prst="ellipse">
            <a:avLst/>
          </a:prstGeom>
          <a:solidFill>
            <a:schemeClr val="lt1">
              <a:alpha val="31000"/>
            </a:schemeClr>
          </a:solidFill>
          <a:ln w="6350">
            <a:solidFill>
              <a:schemeClr val="tx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57068" tIns="28535" rIns="57068" bIns="28535" numCol="1" rtlCol="0" anchor="ctr" anchorCtr="0" compatLnSpc="1">
            <a:prstTxWarp prst="textNoShape">
              <a:avLst/>
            </a:prstTxWarp>
          </a:bodyPr>
          <a:lstStyle/>
          <a:p>
            <a:pPr algn="ctr" defTabSz="682464"/>
            <a:endParaRPr lang="en-US" spc="-38" dirty="0">
              <a:gradFill>
                <a:gsLst>
                  <a:gs pos="0">
                    <a:srgbClr val="000000"/>
                  </a:gs>
                  <a:gs pos="100000">
                    <a:srgbClr val="000000"/>
                  </a:gs>
                </a:gsLst>
                <a:lin ang="5400000" scaled="0"/>
              </a:gradFill>
            </a:endParaRPr>
          </a:p>
        </p:txBody>
      </p:sp>
      <p:sp>
        <p:nvSpPr>
          <p:cNvPr id="169" name="Oval 168"/>
          <p:cNvSpPr/>
          <p:nvPr/>
        </p:nvSpPr>
        <p:spPr bwMode="auto">
          <a:xfrm>
            <a:off x="6587063" y="2648608"/>
            <a:ext cx="443028" cy="171451"/>
          </a:xfrm>
          <a:prstGeom prst="ellipse">
            <a:avLst/>
          </a:prstGeom>
          <a:solidFill>
            <a:schemeClr val="lt1">
              <a:alpha val="31000"/>
            </a:schemeClr>
          </a:solidFill>
          <a:ln w="6350">
            <a:solidFill>
              <a:schemeClr val="tx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57068" tIns="28535" rIns="57068" bIns="28535" numCol="1" rtlCol="0" anchor="ctr" anchorCtr="0" compatLnSpc="1">
            <a:prstTxWarp prst="textNoShape">
              <a:avLst/>
            </a:prstTxWarp>
          </a:bodyPr>
          <a:lstStyle/>
          <a:p>
            <a:pPr algn="ctr" defTabSz="682464"/>
            <a:endParaRPr lang="en-US" spc="-38" dirty="0">
              <a:gradFill>
                <a:gsLst>
                  <a:gs pos="0">
                    <a:srgbClr val="000000"/>
                  </a:gs>
                  <a:gs pos="100000">
                    <a:srgbClr val="000000"/>
                  </a:gs>
                </a:gsLst>
                <a:lin ang="5400000" scaled="0"/>
              </a:gradFill>
            </a:endParaRPr>
          </a:p>
        </p:txBody>
      </p:sp>
      <p:sp>
        <p:nvSpPr>
          <p:cNvPr id="206" name="Oval 205"/>
          <p:cNvSpPr/>
          <p:nvPr/>
        </p:nvSpPr>
        <p:spPr bwMode="auto">
          <a:xfrm>
            <a:off x="4302763" y="2201511"/>
            <a:ext cx="443028" cy="171451"/>
          </a:xfrm>
          <a:prstGeom prst="ellipse">
            <a:avLst/>
          </a:prstGeom>
          <a:solidFill>
            <a:schemeClr val="lt1">
              <a:alpha val="31000"/>
            </a:schemeClr>
          </a:solidFill>
          <a:ln w="6350">
            <a:solidFill>
              <a:schemeClr val="tx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57068" tIns="28535" rIns="57068" bIns="28535" numCol="1" rtlCol="0" anchor="ctr" anchorCtr="0" compatLnSpc="1">
            <a:prstTxWarp prst="textNoShape">
              <a:avLst/>
            </a:prstTxWarp>
          </a:bodyPr>
          <a:lstStyle/>
          <a:p>
            <a:pPr algn="ctr" defTabSz="682464"/>
            <a:endParaRPr lang="en-US" spc="-38" dirty="0">
              <a:gradFill>
                <a:gsLst>
                  <a:gs pos="0">
                    <a:srgbClr val="000000"/>
                  </a:gs>
                  <a:gs pos="100000">
                    <a:srgbClr val="000000"/>
                  </a:gs>
                </a:gsLst>
                <a:lin ang="5400000" scaled="0"/>
              </a:gradFill>
            </a:endParaRPr>
          </a:p>
        </p:txBody>
      </p:sp>
      <p:sp>
        <p:nvSpPr>
          <p:cNvPr id="80" name="Oval 79"/>
          <p:cNvSpPr/>
          <p:nvPr/>
        </p:nvSpPr>
        <p:spPr bwMode="auto">
          <a:xfrm>
            <a:off x="2386469" y="2173089"/>
            <a:ext cx="443028" cy="171451"/>
          </a:xfrm>
          <a:prstGeom prst="ellipse">
            <a:avLst/>
          </a:prstGeom>
          <a:solidFill>
            <a:schemeClr val="lt1">
              <a:alpha val="31000"/>
            </a:schemeClr>
          </a:solidFill>
          <a:ln w="6350">
            <a:solidFill>
              <a:schemeClr val="tx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57068" tIns="28535" rIns="57068" bIns="28535" numCol="1" rtlCol="0" anchor="ctr" anchorCtr="0" compatLnSpc="1">
            <a:prstTxWarp prst="textNoShape">
              <a:avLst/>
            </a:prstTxWarp>
          </a:bodyPr>
          <a:lstStyle/>
          <a:p>
            <a:pPr algn="ctr" defTabSz="682464"/>
            <a:endParaRPr lang="en-US" spc="-38" dirty="0">
              <a:gradFill>
                <a:gsLst>
                  <a:gs pos="0">
                    <a:srgbClr val="000000"/>
                  </a:gs>
                  <a:gs pos="100000">
                    <a:srgbClr val="000000"/>
                  </a:gs>
                </a:gsLst>
                <a:lin ang="5400000" scaled="0"/>
              </a:gradFill>
            </a:endParaRPr>
          </a:p>
        </p:txBody>
      </p:sp>
      <p:sp>
        <p:nvSpPr>
          <p:cNvPr id="89" name="TextBox 13"/>
          <p:cNvSpPr txBox="1">
            <a:spLocks noChangeArrowheads="1"/>
          </p:cNvSpPr>
          <p:nvPr/>
        </p:nvSpPr>
        <p:spPr bwMode="auto">
          <a:xfrm>
            <a:off x="2723631" y="1753842"/>
            <a:ext cx="1019454" cy="576762"/>
          </a:xfrm>
          <a:prstGeom prst="rect">
            <a:avLst/>
          </a:prstGeom>
          <a:solidFill>
            <a:schemeClr val="tx1">
              <a:lumMod val="95000"/>
            </a:schemeClr>
          </a:solidFill>
          <a:ln w="6350">
            <a:solidFill>
              <a:schemeClr val="tx1"/>
            </a:solidFill>
            <a:miter lim="800000"/>
            <a:headEnd/>
            <a:tailEnd/>
          </a:ln>
        </p:spPr>
        <p:txBody>
          <a:bodyPr wrap="square" lIns="68259" tIns="34132" rIns="68259" bIns="34132">
            <a:spAutoFit/>
          </a:bodyPr>
          <a:lstStyle>
            <a:defPPr>
              <a:defRPr lang="en-US"/>
            </a:defPPr>
            <a:lvl1pPr>
              <a:defRPr sz="1100">
                <a:gradFill>
                  <a:gsLst>
                    <a:gs pos="0">
                      <a:schemeClr val="bg1">
                        <a:lumMod val="75000"/>
                      </a:schemeClr>
                    </a:gs>
                    <a:gs pos="100000">
                      <a:schemeClr val="bg1">
                        <a:lumMod val="75000"/>
                      </a:schemeClr>
                    </a:gs>
                  </a:gsLst>
                  <a:lin ang="5400000" scaled="0"/>
                </a:gradFill>
              </a:defRPr>
            </a:lvl1pPr>
          </a:lstStyle>
          <a:p>
            <a:r>
              <a:rPr lang="en-US" dirty="0"/>
              <a:t>East </a:t>
            </a:r>
            <a:br>
              <a:rPr lang="en-US" dirty="0"/>
            </a:br>
            <a:r>
              <a:rPr lang="en-US" dirty="0"/>
              <a:t>– U.S. Sub-Region</a:t>
            </a:r>
          </a:p>
        </p:txBody>
      </p:sp>
      <p:cxnSp>
        <p:nvCxnSpPr>
          <p:cNvPr id="90" name="Straight Connector 89"/>
          <p:cNvCxnSpPr>
            <a:stCxn id="80" idx="7"/>
          </p:cNvCxnSpPr>
          <p:nvPr/>
        </p:nvCxnSpPr>
        <p:spPr>
          <a:xfrm flipV="1">
            <a:off x="2764629" y="2088798"/>
            <a:ext cx="192651" cy="10938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93" name="Oval 92"/>
          <p:cNvSpPr/>
          <p:nvPr/>
        </p:nvSpPr>
        <p:spPr bwMode="auto">
          <a:xfrm>
            <a:off x="1281043" y="2161652"/>
            <a:ext cx="443028" cy="171451"/>
          </a:xfrm>
          <a:prstGeom prst="ellipse">
            <a:avLst/>
          </a:prstGeom>
          <a:solidFill>
            <a:schemeClr val="lt1">
              <a:alpha val="31000"/>
            </a:schemeClr>
          </a:solidFill>
          <a:ln w="6350">
            <a:solidFill>
              <a:schemeClr val="tx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57068" tIns="28535" rIns="57068" bIns="28535" numCol="1" rtlCol="0" anchor="ctr" anchorCtr="0" compatLnSpc="1">
            <a:prstTxWarp prst="textNoShape">
              <a:avLst/>
            </a:prstTxWarp>
          </a:bodyPr>
          <a:lstStyle/>
          <a:p>
            <a:pPr algn="ctr" defTabSz="682464"/>
            <a:endParaRPr lang="en-US" spc="-38" dirty="0">
              <a:gradFill>
                <a:gsLst>
                  <a:gs pos="0">
                    <a:srgbClr val="000000"/>
                  </a:gs>
                  <a:gs pos="100000">
                    <a:srgbClr val="000000"/>
                  </a:gs>
                </a:gsLst>
                <a:lin ang="5400000" scaled="0"/>
              </a:gradFill>
            </a:endParaRPr>
          </a:p>
        </p:txBody>
      </p:sp>
      <p:sp>
        <p:nvSpPr>
          <p:cNvPr id="97" name="TextBox 13"/>
          <p:cNvSpPr txBox="1">
            <a:spLocks noChangeArrowheads="1"/>
          </p:cNvSpPr>
          <p:nvPr/>
        </p:nvSpPr>
        <p:spPr bwMode="auto">
          <a:xfrm>
            <a:off x="200215" y="1722148"/>
            <a:ext cx="1080830" cy="322952"/>
          </a:xfrm>
          <a:prstGeom prst="rect">
            <a:avLst/>
          </a:prstGeom>
          <a:solidFill>
            <a:schemeClr val="tx1">
              <a:lumMod val="95000"/>
            </a:schemeClr>
          </a:solidFill>
          <a:ln w="6350">
            <a:solidFill>
              <a:schemeClr val="tx1"/>
            </a:solidFill>
            <a:miter lim="800000"/>
            <a:headEnd/>
            <a:tailEnd/>
          </a:ln>
        </p:spPr>
        <p:txBody>
          <a:bodyPr wrap="square" lIns="68259" tIns="34132" rIns="68259" bIns="34132">
            <a:spAutoFit/>
          </a:bodyPr>
          <a:lstStyle/>
          <a:p>
            <a:r>
              <a:rPr lang="en-US" sz="800" dirty="0">
                <a:gradFill>
                  <a:gsLst>
                    <a:gs pos="0">
                      <a:schemeClr val="bg1">
                        <a:lumMod val="75000"/>
                      </a:schemeClr>
                    </a:gs>
                    <a:gs pos="100000">
                      <a:schemeClr val="bg1">
                        <a:lumMod val="75000"/>
                      </a:schemeClr>
                    </a:gs>
                  </a:gsLst>
                  <a:lin ang="5400000" scaled="0"/>
                </a:gradFill>
              </a:rPr>
              <a:t>West </a:t>
            </a:r>
            <a:br>
              <a:rPr lang="en-US" sz="800" dirty="0">
                <a:gradFill>
                  <a:gsLst>
                    <a:gs pos="0">
                      <a:schemeClr val="bg1">
                        <a:lumMod val="75000"/>
                      </a:schemeClr>
                    </a:gs>
                    <a:gs pos="100000">
                      <a:schemeClr val="bg1">
                        <a:lumMod val="75000"/>
                      </a:schemeClr>
                    </a:gs>
                  </a:gsLst>
                  <a:lin ang="5400000" scaled="0"/>
                </a:gradFill>
              </a:rPr>
            </a:br>
            <a:r>
              <a:rPr lang="en-US" sz="800" dirty="0">
                <a:gradFill>
                  <a:gsLst>
                    <a:gs pos="0">
                      <a:schemeClr val="bg1">
                        <a:lumMod val="75000"/>
                      </a:schemeClr>
                    </a:gs>
                    <a:gs pos="100000">
                      <a:schemeClr val="bg1">
                        <a:lumMod val="75000"/>
                      </a:schemeClr>
                    </a:gs>
                  </a:gsLst>
                  <a:lin ang="5400000" scaled="0"/>
                </a:gradFill>
              </a:rPr>
              <a:t>– U.S. Sub-Region</a:t>
            </a:r>
          </a:p>
        </p:txBody>
      </p:sp>
      <p:cxnSp>
        <p:nvCxnSpPr>
          <p:cNvPr id="4" name="Straight Connector 3"/>
          <p:cNvCxnSpPr>
            <a:stCxn id="97" idx="2"/>
            <a:endCxn id="93" idx="1"/>
          </p:cNvCxnSpPr>
          <p:nvPr/>
        </p:nvCxnSpPr>
        <p:spPr>
          <a:xfrm>
            <a:off x="740635" y="2045101"/>
            <a:ext cx="605294" cy="1416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 name="Group 4"/>
          <p:cNvGrpSpPr/>
          <p:nvPr/>
        </p:nvGrpSpPr>
        <p:grpSpPr>
          <a:xfrm>
            <a:off x="302494" y="3694823"/>
            <a:ext cx="228993" cy="280521"/>
            <a:chOff x="503238" y="5911715"/>
            <a:chExt cx="366389" cy="448833"/>
          </a:xfrm>
        </p:grpSpPr>
        <p:grpSp>
          <p:nvGrpSpPr>
            <p:cNvPr id="139" name="Group 138"/>
            <p:cNvGrpSpPr/>
            <p:nvPr/>
          </p:nvGrpSpPr>
          <p:grpSpPr>
            <a:xfrm>
              <a:off x="503238" y="5911715"/>
              <a:ext cx="216199" cy="448833"/>
              <a:chOff x="1413986" y="6580204"/>
              <a:chExt cx="488910" cy="1014984"/>
            </a:xfrm>
          </p:grpSpPr>
          <p:sp>
            <p:nvSpPr>
              <p:cNvPr id="140" name="Rectangle 18"/>
              <p:cNvSpPr/>
              <p:nvPr/>
            </p:nvSpPr>
            <p:spPr bwMode="auto">
              <a:xfrm>
                <a:off x="1423190" y="6675286"/>
                <a:ext cx="452611" cy="826300"/>
              </a:xfrm>
              <a:custGeom>
                <a:avLst/>
                <a:gdLst/>
                <a:ahLst/>
                <a:cxnLst/>
                <a:rect l="l" t="t" r="r" b="b"/>
                <a:pathLst>
                  <a:path w="460787" h="841225">
                    <a:moveTo>
                      <a:pt x="295330" y="0"/>
                    </a:moveTo>
                    <a:lnTo>
                      <a:pt x="460787" y="70191"/>
                    </a:lnTo>
                    <a:lnTo>
                      <a:pt x="460787" y="763884"/>
                    </a:lnTo>
                    <a:lnTo>
                      <a:pt x="301267" y="841225"/>
                    </a:lnTo>
                    <a:lnTo>
                      <a:pt x="0" y="780330"/>
                    </a:lnTo>
                    <a:lnTo>
                      <a:pt x="0" y="683108"/>
                    </a:lnTo>
                    <a:lnTo>
                      <a:pt x="0" y="51455"/>
                    </a:lnTo>
                    <a:close/>
                  </a:path>
                </a:pathLst>
              </a:custGeom>
              <a:solidFill>
                <a:schemeClr val="bg1">
                  <a:lumMod val="50000"/>
                  <a:lumOff val="50000"/>
                </a:schemeClr>
              </a:solidFill>
              <a:ln>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70567" fontAlgn="base">
                  <a:spcBef>
                    <a:spcPct val="0"/>
                  </a:spcBef>
                  <a:spcAft>
                    <a:spcPct val="0"/>
                  </a:spcAft>
                </a:pPr>
                <a:endParaRPr lang="en-US" dirty="0">
                  <a:solidFill>
                    <a:schemeClr val="tx2"/>
                  </a:solidFill>
                </a:endParaRPr>
              </a:p>
            </p:txBody>
          </p:sp>
          <p:pic>
            <p:nvPicPr>
              <p:cNvPr id="141" name="Picture 6" descr="\\magnum\Projects\Microsoft\Cloud Power FY12\Design\Icons\PNGs\Server_2.png"/>
              <p:cNvPicPr>
                <a:picLocks noChangeAspect="1" noChangeArrowheads="1"/>
              </p:cNvPicPr>
              <p:nvPr/>
            </p:nvPicPr>
            <p:blipFill rotWithShape="1">
              <a:blip r:embed="rId4" cstate="print">
                <a:biLevel thresh="25000"/>
              </a:blip>
              <a:srcRect l="27509" r="25796"/>
              <a:stretch/>
            </p:blipFill>
            <p:spPr bwMode="auto">
              <a:xfrm>
                <a:off x="1413986" y="6580204"/>
                <a:ext cx="488910" cy="1014984"/>
              </a:xfrm>
              <a:prstGeom prst="rect">
                <a:avLst/>
              </a:prstGeom>
              <a:noFill/>
            </p:spPr>
          </p:pic>
        </p:grpSp>
        <p:sp>
          <p:nvSpPr>
            <p:cNvPr id="2" name="Oval 1"/>
            <p:cNvSpPr/>
            <p:nvPr/>
          </p:nvSpPr>
          <p:spPr bwMode="auto">
            <a:xfrm>
              <a:off x="645609" y="6127512"/>
              <a:ext cx="224018" cy="224018"/>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570567" fontAlgn="base">
                <a:spcBef>
                  <a:spcPct val="0"/>
                </a:spcBef>
                <a:spcAft>
                  <a:spcPct val="0"/>
                </a:spcAft>
              </a:pPr>
              <a:endParaRPr lang="en-US" spc="-32"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44" name="Group 143"/>
          <p:cNvGrpSpPr/>
          <p:nvPr/>
        </p:nvGrpSpPr>
        <p:grpSpPr>
          <a:xfrm>
            <a:off x="1386921" y="2021381"/>
            <a:ext cx="228993" cy="280521"/>
            <a:chOff x="503238" y="5911715"/>
            <a:chExt cx="366389" cy="448833"/>
          </a:xfrm>
        </p:grpSpPr>
        <p:grpSp>
          <p:nvGrpSpPr>
            <p:cNvPr id="146" name="Group 145"/>
            <p:cNvGrpSpPr/>
            <p:nvPr/>
          </p:nvGrpSpPr>
          <p:grpSpPr>
            <a:xfrm>
              <a:off x="503238" y="5911715"/>
              <a:ext cx="216199" cy="448833"/>
              <a:chOff x="1413986" y="6580204"/>
              <a:chExt cx="488910" cy="1014984"/>
            </a:xfrm>
          </p:grpSpPr>
          <p:sp>
            <p:nvSpPr>
              <p:cNvPr id="152" name="Rectangle 18"/>
              <p:cNvSpPr/>
              <p:nvPr/>
            </p:nvSpPr>
            <p:spPr bwMode="auto">
              <a:xfrm>
                <a:off x="1423190" y="6675286"/>
                <a:ext cx="452611" cy="826300"/>
              </a:xfrm>
              <a:custGeom>
                <a:avLst/>
                <a:gdLst/>
                <a:ahLst/>
                <a:cxnLst/>
                <a:rect l="l" t="t" r="r" b="b"/>
                <a:pathLst>
                  <a:path w="460787" h="841225">
                    <a:moveTo>
                      <a:pt x="295330" y="0"/>
                    </a:moveTo>
                    <a:lnTo>
                      <a:pt x="460787" y="70191"/>
                    </a:lnTo>
                    <a:lnTo>
                      <a:pt x="460787" y="763884"/>
                    </a:lnTo>
                    <a:lnTo>
                      <a:pt x="301267" y="841225"/>
                    </a:lnTo>
                    <a:lnTo>
                      <a:pt x="0" y="780330"/>
                    </a:lnTo>
                    <a:lnTo>
                      <a:pt x="0" y="683108"/>
                    </a:lnTo>
                    <a:lnTo>
                      <a:pt x="0" y="51455"/>
                    </a:lnTo>
                    <a:close/>
                  </a:path>
                </a:pathLst>
              </a:custGeom>
              <a:solidFill>
                <a:schemeClr val="bg1">
                  <a:lumMod val="50000"/>
                  <a:lumOff val="50000"/>
                </a:schemeClr>
              </a:solidFill>
              <a:ln>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70567" fontAlgn="base">
                  <a:spcBef>
                    <a:spcPct val="0"/>
                  </a:spcBef>
                  <a:spcAft>
                    <a:spcPct val="0"/>
                  </a:spcAft>
                </a:pPr>
                <a:endParaRPr lang="en-US" dirty="0">
                  <a:solidFill>
                    <a:schemeClr val="tx2"/>
                  </a:solidFill>
                </a:endParaRPr>
              </a:p>
            </p:txBody>
          </p:sp>
          <p:pic>
            <p:nvPicPr>
              <p:cNvPr id="153" name="Picture 6" descr="\\magnum\Projects\Microsoft\Cloud Power FY12\Design\Icons\PNGs\Server_2.png"/>
              <p:cNvPicPr>
                <a:picLocks noChangeAspect="1" noChangeArrowheads="1"/>
              </p:cNvPicPr>
              <p:nvPr/>
            </p:nvPicPr>
            <p:blipFill rotWithShape="1">
              <a:blip r:embed="rId4" cstate="print">
                <a:biLevel thresh="25000"/>
              </a:blip>
              <a:srcRect l="27509" r="25796"/>
              <a:stretch/>
            </p:blipFill>
            <p:spPr bwMode="auto">
              <a:xfrm>
                <a:off x="1413986" y="6580204"/>
                <a:ext cx="488910" cy="1014984"/>
              </a:xfrm>
              <a:prstGeom prst="rect">
                <a:avLst/>
              </a:prstGeom>
              <a:noFill/>
            </p:spPr>
          </p:pic>
        </p:grpSp>
        <p:sp>
          <p:nvSpPr>
            <p:cNvPr id="148" name="Oval 147"/>
            <p:cNvSpPr/>
            <p:nvPr/>
          </p:nvSpPr>
          <p:spPr bwMode="auto">
            <a:xfrm>
              <a:off x="645609" y="6127512"/>
              <a:ext cx="224018" cy="224018"/>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570567" fontAlgn="base">
                <a:spcBef>
                  <a:spcPct val="0"/>
                </a:spcBef>
                <a:spcAft>
                  <a:spcPct val="0"/>
                </a:spcAft>
              </a:pPr>
              <a:endParaRPr lang="en-US" spc="-32"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54" name="Group 153"/>
          <p:cNvGrpSpPr/>
          <p:nvPr/>
        </p:nvGrpSpPr>
        <p:grpSpPr>
          <a:xfrm>
            <a:off x="1981729" y="2449382"/>
            <a:ext cx="228993" cy="280521"/>
            <a:chOff x="503238" y="5911715"/>
            <a:chExt cx="366389" cy="448833"/>
          </a:xfrm>
        </p:grpSpPr>
        <p:grpSp>
          <p:nvGrpSpPr>
            <p:cNvPr id="155" name="Group 154"/>
            <p:cNvGrpSpPr/>
            <p:nvPr/>
          </p:nvGrpSpPr>
          <p:grpSpPr>
            <a:xfrm>
              <a:off x="503238" y="5911715"/>
              <a:ext cx="216199" cy="448833"/>
              <a:chOff x="1413986" y="6580204"/>
              <a:chExt cx="488910" cy="1014984"/>
            </a:xfrm>
          </p:grpSpPr>
          <p:sp>
            <p:nvSpPr>
              <p:cNvPr id="215" name="Rectangle 18"/>
              <p:cNvSpPr/>
              <p:nvPr/>
            </p:nvSpPr>
            <p:spPr bwMode="auto">
              <a:xfrm>
                <a:off x="1423190" y="6675286"/>
                <a:ext cx="452611" cy="826300"/>
              </a:xfrm>
              <a:custGeom>
                <a:avLst/>
                <a:gdLst/>
                <a:ahLst/>
                <a:cxnLst/>
                <a:rect l="l" t="t" r="r" b="b"/>
                <a:pathLst>
                  <a:path w="460787" h="841225">
                    <a:moveTo>
                      <a:pt x="295330" y="0"/>
                    </a:moveTo>
                    <a:lnTo>
                      <a:pt x="460787" y="70191"/>
                    </a:lnTo>
                    <a:lnTo>
                      <a:pt x="460787" y="763884"/>
                    </a:lnTo>
                    <a:lnTo>
                      <a:pt x="301267" y="841225"/>
                    </a:lnTo>
                    <a:lnTo>
                      <a:pt x="0" y="780330"/>
                    </a:lnTo>
                    <a:lnTo>
                      <a:pt x="0" y="683108"/>
                    </a:lnTo>
                    <a:lnTo>
                      <a:pt x="0" y="51455"/>
                    </a:lnTo>
                    <a:close/>
                  </a:path>
                </a:pathLst>
              </a:custGeom>
              <a:solidFill>
                <a:schemeClr val="bg1">
                  <a:lumMod val="50000"/>
                  <a:lumOff val="50000"/>
                </a:schemeClr>
              </a:solidFill>
              <a:ln>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70567" fontAlgn="base">
                  <a:spcBef>
                    <a:spcPct val="0"/>
                  </a:spcBef>
                  <a:spcAft>
                    <a:spcPct val="0"/>
                  </a:spcAft>
                </a:pPr>
                <a:endParaRPr lang="en-US" dirty="0">
                  <a:solidFill>
                    <a:schemeClr val="tx2"/>
                  </a:solidFill>
                </a:endParaRPr>
              </a:p>
            </p:txBody>
          </p:sp>
          <p:pic>
            <p:nvPicPr>
              <p:cNvPr id="216" name="Picture 6" descr="\\magnum\Projects\Microsoft\Cloud Power FY12\Design\Icons\PNGs\Server_2.png"/>
              <p:cNvPicPr>
                <a:picLocks noChangeAspect="1" noChangeArrowheads="1"/>
              </p:cNvPicPr>
              <p:nvPr/>
            </p:nvPicPr>
            <p:blipFill rotWithShape="1">
              <a:blip r:embed="rId4" cstate="print">
                <a:biLevel thresh="25000"/>
              </a:blip>
              <a:srcRect l="27509" r="25796"/>
              <a:stretch/>
            </p:blipFill>
            <p:spPr bwMode="auto">
              <a:xfrm>
                <a:off x="1413986" y="6580204"/>
                <a:ext cx="488910" cy="1014984"/>
              </a:xfrm>
              <a:prstGeom prst="rect">
                <a:avLst/>
              </a:prstGeom>
              <a:noFill/>
            </p:spPr>
          </p:pic>
        </p:grpSp>
        <p:sp>
          <p:nvSpPr>
            <p:cNvPr id="213" name="Oval 212"/>
            <p:cNvSpPr/>
            <p:nvPr/>
          </p:nvSpPr>
          <p:spPr bwMode="auto">
            <a:xfrm>
              <a:off x="645609" y="6127512"/>
              <a:ext cx="224018" cy="224018"/>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570567" fontAlgn="base">
                <a:spcBef>
                  <a:spcPct val="0"/>
                </a:spcBef>
                <a:spcAft>
                  <a:spcPct val="0"/>
                </a:spcAft>
              </a:pPr>
              <a:endParaRPr lang="en-US" spc="-32"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17" name="Group 216"/>
          <p:cNvGrpSpPr/>
          <p:nvPr/>
        </p:nvGrpSpPr>
        <p:grpSpPr>
          <a:xfrm>
            <a:off x="2116065" y="2152514"/>
            <a:ext cx="228993" cy="280521"/>
            <a:chOff x="503238" y="5911715"/>
            <a:chExt cx="366389" cy="448833"/>
          </a:xfrm>
        </p:grpSpPr>
        <p:grpSp>
          <p:nvGrpSpPr>
            <p:cNvPr id="218" name="Group 217"/>
            <p:cNvGrpSpPr/>
            <p:nvPr/>
          </p:nvGrpSpPr>
          <p:grpSpPr>
            <a:xfrm>
              <a:off x="503238" y="5911715"/>
              <a:ext cx="216199" cy="448833"/>
              <a:chOff x="1413986" y="6580204"/>
              <a:chExt cx="488910" cy="1014984"/>
            </a:xfrm>
          </p:grpSpPr>
          <p:sp>
            <p:nvSpPr>
              <p:cNvPr id="222" name="Rectangle 18"/>
              <p:cNvSpPr/>
              <p:nvPr/>
            </p:nvSpPr>
            <p:spPr bwMode="auto">
              <a:xfrm>
                <a:off x="1423190" y="6675286"/>
                <a:ext cx="452611" cy="826300"/>
              </a:xfrm>
              <a:custGeom>
                <a:avLst/>
                <a:gdLst/>
                <a:ahLst/>
                <a:cxnLst/>
                <a:rect l="l" t="t" r="r" b="b"/>
                <a:pathLst>
                  <a:path w="460787" h="841225">
                    <a:moveTo>
                      <a:pt x="295330" y="0"/>
                    </a:moveTo>
                    <a:lnTo>
                      <a:pt x="460787" y="70191"/>
                    </a:lnTo>
                    <a:lnTo>
                      <a:pt x="460787" y="763884"/>
                    </a:lnTo>
                    <a:lnTo>
                      <a:pt x="301267" y="841225"/>
                    </a:lnTo>
                    <a:lnTo>
                      <a:pt x="0" y="780330"/>
                    </a:lnTo>
                    <a:lnTo>
                      <a:pt x="0" y="683108"/>
                    </a:lnTo>
                    <a:lnTo>
                      <a:pt x="0" y="51455"/>
                    </a:lnTo>
                    <a:close/>
                  </a:path>
                </a:pathLst>
              </a:custGeom>
              <a:solidFill>
                <a:schemeClr val="bg1">
                  <a:lumMod val="50000"/>
                  <a:lumOff val="50000"/>
                </a:schemeClr>
              </a:solidFill>
              <a:ln>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70567" fontAlgn="base">
                  <a:spcBef>
                    <a:spcPct val="0"/>
                  </a:spcBef>
                  <a:spcAft>
                    <a:spcPct val="0"/>
                  </a:spcAft>
                </a:pPr>
                <a:endParaRPr lang="en-US" dirty="0">
                  <a:solidFill>
                    <a:schemeClr val="tx2"/>
                  </a:solidFill>
                </a:endParaRPr>
              </a:p>
            </p:txBody>
          </p:sp>
          <p:pic>
            <p:nvPicPr>
              <p:cNvPr id="223" name="Picture 6" descr="\\magnum\Projects\Microsoft\Cloud Power FY12\Design\Icons\PNGs\Server_2.png"/>
              <p:cNvPicPr>
                <a:picLocks noChangeAspect="1" noChangeArrowheads="1"/>
              </p:cNvPicPr>
              <p:nvPr/>
            </p:nvPicPr>
            <p:blipFill rotWithShape="1">
              <a:blip r:embed="rId4" cstate="print">
                <a:biLevel thresh="25000"/>
              </a:blip>
              <a:srcRect l="27509" r="25796"/>
              <a:stretch/>
            </p:blipFill>
            <p:spPr bwMode="auto">
              <a:xfrm>
                <a:off x="1413986" y="6580204"/>
                <a:ext cx="488910" cy="1014984"/>
              </a:xfrm>
              <a:prstGeom prst="rect">
                <a:avLst/>
              </a:prstGeom>
              <a:noFill/>
            </p:spPr>
          </p:pic>
        </p:grpSp>
        <p:sp>
          <p:nvSpPr>
            <p:cNvPr id="220" name="Oval 219"/>
            <p:cNvSpPr/>
            <p:nvPr/>
          </p:nvSpPr>
          <p:spPr bwMode="auto">
            <a:xfrm>
              <a:off x="645609" y="6127512"/>
              <a:ext cx="224018" cy="224018"/>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570567" fontAlgn="base">
                <a:spcBef>
                  <a:spcPct val="0"/>
                </a:spcBef>
                <a:spcAft>
                  <a:spcPct val="0"/>
                </a:spcAft>
              </a:pPr>
              <a:endParaRPr lang="en-US" spc="-32"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24" name="Group 223"/>
          <p:cNvGrpSpPr/>
          <p:nvPr/>
        </p:nvGrpSpPr>
        <p:grpSpPr>
          <a:xfrm>
            <a:off x="2492348" y="2031239"/>
            <a:ext cx="228993" cy="280521"/>
            <a:chOff x="503238" y="5911715"/>
            <a:chExt cx="366389" cy="448833"/>
          </a:xfrm>
        </p:grpSpPr>
        <p:grpSp>
          <p:nvGrpSpPr>
            <p:cNvPr id="225" name="Group 224"/>
            <p:cNvGrpSpPr/>
            <p:nvPr/>
          </p:nvGrpSpPr>
          <p:grpSpPr>
            <a:xfrm>
              <a:off x="503238" y="5911715"/>
              <a:ext cx="216199" cy="448833"/>
              <a:chOff x="1413986" y="6580204"/>
              <a:chExt cx="488910" cy="1014984"/>
            </a:xfrm>
          </p:grpSpPr>
          <p:sp>
            <p:nvSpPr>
              <p:cNvPr id="229" name="Rectangle 18"/>
              <p:cNvSpPr/>
              <p:nvPr/>
            </p:nvSpPr>
            <p:spPr bwMode="auto">
              <a:xfrm>
                <a:off x="1423190" y="6675286"/>
                <a:ext cx="452611" cy="826300"/>
              </a:xfrm>
              <a:custGeom>
                <a:avLst/>
                <a:gdLst/>
                <a:ahLst/>
                <a:cxnLst/>
                <a:rect l="l" t="t" r="r" b="b"/>
                <a:pathLst>
                  <a:path w="460787" h="841225">
                    <a:moveTo>
                      <a:pt x="295330" y="0"/>
                    </a:moveTo>
                    <a:lnTo>
                      <a:pt x="460787" y="70191"/>
                    </a:lnTo>
                    <a:lnTo>
                      <a:pt x="460787" y="763884"/>
                    </a:lnTo>
                    <a:lnTo>
                      <a:pt x="301267" y="841225"/>
                    </a:lnTo>
                    <a:lnTo>
                      <a:pt x="0" y="780330"/>
                    </a:lnTo>
                    <a:lnTo>
                      <a:pt x="0" y="683108"/>
                    </a:lnTo>
                    <a:lnTo>
                      <a:pt x="0" y="51455"/>
                    </a:lnTo>
                    <a:close/>
                  </a:path>
                </a:pathLst>
              </a:custGeom>
              <a:solidFill>
                <a:schemeClr val="bg1">
                  <a:lumMod val="50000"/>
                  <a:lumOff val="50000"/>
                </a:schemeClr>
              </a:solidFill>
              <a:ln>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70567" fontAlgn="base">
                  <a:spcBef>
                    <a:spcPct val="0"/>
                  </a:spcBef>
                  <a:spcAft>
                    <a:spcPct val="0"/>
                  </a:spcAft>
                </a:pPr>
                <a:endParaRPr lang="en-US" dirty="0">
                  <a:solidFill>
                    <a:schemeClr val="tx2"/>
                  </a:solidFill>
                </a:endParaRPr>
              </a:p>
            </p:txBody>
          </p:sp>
          <p:pic>
            <p:nvPicPr>
              <p:cNvPr id="230" name="Picture 6" descr="\\magnum\Projects\Microsoft\Cloud Power FY12\Design\Icons\PNGs\Server_2.png"/>
              <p:cNvPicPr>
                <a:picLocks noChangeAspect="1" noChangeArrowheads="1"/>
              </p:cNvPicPr>
              <p:nvPr/>
            </p:nvPicPr>
            <p:blipFill rotWithShape="1">
              <a:blip r:embed="rId4" cstate="print">
                <a:biLevel thresh="25000"/>
              </a:blip>
              <a:srcRect l="27509" r="25796"/>
              <a:stretch/>
            </p:blipFill>
            <p:spPr bwMode="auto">
              <a:xfrm>
                <a:off x="1413986" y="6580204"/>
                <a:ext cx="488910" cy="1014984"/>
              </a:xfrm>
              <a:prstGeom prst="rect">
                <a:avLst/>
              </a:prstGeom>
              <a:noFill/>
            </p:spPr>
          </p:pic>
        </p:grpSp>
        <p:sp>
          <p:nvSpPr>
            <p:cNvPr id="227" name="Oval 226"/>
            <p:cNvSpPr/>
            <p:nvPr/>
          </p:nvSpPr>
          <p:spPr bwMode="auto">
            <a:xfrm>
              <a:off x="645609" y="6127512"/>
              <a:ext cx="224018" cy="224018"/>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570567" fontAlgn="base">
                <a:spcBef>
                  <a:spcPct val="0"/>
                </a:spcBef>
                <a:spcAft>
                  <a:spcPct val="0"/>
                </a:spcAft>
              </a:pPr>
              <a:endParaRPr lang="en-US" spc="-32"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31" name="Group 230"/>
          <p:cNvGrpSpPr/>
          <p:nvPr/>
        </p:nvGrpSpPr>
        <p:grpSpPr>
          <a:xfrm>
            <a:off x="3928666" y="1860998"/>
            <a:ext cx="228993" cy="280521"/>
            <a:chOff x="503238" y="5911715"/>
            <a:chExt cx="366389" cy="448833"/>
          </a:xfrm>
        </p:grpSpPr>
        <p:grpSp>
          <p:nvGrpSpPr>
            <p:cNvPr id="232" name="Group 231"/>
            <p:cNvGrpSpPr/>
            <p:nvPr/>
          </p:nvGrpSpPr>
          <p:grpSpPr>
            <a:xfrm>
              <a:off x="503238" y="5911715"/>
              <a:ext cx="216199" cy="448833"/>
              <a:chOff x="1413986" y="6580204"/>
              <a:chExt cx="488910" cy="1014984"/>
            </a:xfrm>
          </p:grpSpPr>
          <p:sp>
            <p:nvSpPr>
              <p:cNvPr id="236" name="Rectangle 18"/>
              <p:cNvSpPr/>
              <p:nvPr/>
            </p:nvSpPr>
            <p:spPr bwMode="auto">
              <a:xfrm>
                <a:off x="1423190" y="6675286"/>
                <a:ext cx="452611" cy="826300"/>
              </a:xfrm>
              <a:custGeom>
                <a:avLst/>
                <a:gdLst/>
                <a:ahLst/>
                <a:cxnLst/>
                <a:rect l="l" t="t" r="r" b="b"/>
                <a:pathLst>
                  <a:path w="460787" h="841225">
                    <a:moveTo>
                      <a:pt x="295330" y="0"/>
                    </a:moveTo>
                    <a:lnTo>
                      <a:pt x="460787" y="70191"/>
                    </a:lnTo>
                    <a:lnTo>
                      <a:pt x="460787" y="763884"/>
                    </a:lnTo>
                    <a:lnTo>
                      <a:pt x="301267" y="841225"/>
                    </a:lnTo>
                    <a:lnTo>
                      <a:pt x="0" y="780330"/>
                    </a:lnTo>
                    <a:lnTo>
                      <a:pt x="0" y="683108"/>
                    </a:lnTo>
                    <a:lnTo>
                      <a:pt x="0" y="51455"/>
                    </a:lnTo>
                    <a:close/>
                  </a:path>
                </a:pathLst>
              </a:custGeom>
              <a:solidFill>
                <a:schemeClr val="bg1">
                  <a:lumMod val="50000"/>
                  <a:lumOff val="50000"/>
                </a:schemeClr>
              </a:solidFill>
              <a:ln>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70567" fontAlgn="base">
                  <a:spcBef>
                    <a:spcPct val="0"/>
                  </a:spcBef>
                  <a:spcAft>
                    <a:spcPct val="0"/>
                  </a:spcAft>
                </a:pPr>
                <a:endParaRPr lang="en-US" dirty="0">
                  <a:solidFill>
                    <a:schemeClr val="tx2"/>
                  </a:solidFill>
                </a:endParaRPr>
              </a:p>
            </p:txBody>
          </p:sp>
          <p:pic>
            <p:nvPicPr>
              <p:cNvPr id="237" name="Picture 6" descr="\\magnum\Projects\Microsoft\Cloud Power FY12\Design\Icons\PNGs\Server_2.png"/>
              <p:cNvPicPr>
                <a:picLocks noChangeAspect="1" noChangeArrowheads="1"/>
              </p:cNvPicPr>
              <p:nvPr/>
            </p:nvPicPr>
            <p:blipFill rotWithShape="1">
              <a:blip r:embed="rId4" cstate="print">
                <a:biLevel thresh="25000"/>
              </a:blip>
              <a:srcRect l="27509" r="25796"/>
              <a:stretch/>
            </p:blipFill>
            <p:spPr bwMode="auto">
              <a:xfrm>
                <a:off x="1413986" y="6580204"/>
                <a:ext cx="488910" cy="1014984"/>
              </a:xfrm>
              <a:prstGeom prst="rect">
                <a:avLst/>
              </a:prstGeom>
              <a:noFill/>
            </p:spPr>
          </p:pic>
        </p:grpSp>
        <p:sp>
          <p:nvSpPr>
            <p:cNvPr id="234" name="Oval 233"/>
            <p:cNvSpPr/>
            <p:nvPr/>
          </p:nvSpPr>
          <p:spPr bwMode="auto">
            <a:xfrm>
              <a:off x="645609" y="6127512"/>
              <a:ext cx="224018" cy="224018"/>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570567" fontAlgn="base">
                <a:spcBef>
                  <a:spcPct val="0"/>
                </a:spcBef>
                <a:spcAft>
                  <a:spcPct val="0"/>
                </a:spcAft>
              </a:pPr>
              <a:endParaRPr lang="en-US" spc="-32"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38" name="Group 237"/>
          <p:cNvGrpSpPr/>
          <p:nvPr/>
        </p:nvGrpSpPr>
        <p:grpSpPr>
          <a:xfrm>
            <a:off x="4408642" y="2029373"/>
            <a:ext cx="228993" cy="280521"/>
            <a:chOff x="503238" y="5911715"/>
            <a:chExt cx="366389" cy="448833"/>
          </a:xfrm>
        </p:grpSpPr>
        <p:grpSp>
          <p:nvGrpSpPr>
            <p:cNvPr id="239" name="Group 238"/>
            <p:cNvGrpSpPr/>
            <p:nvPr/>
          </p:nvGrpSpPr>
          <p:grpSpPr>
            <a:xfrm>
              <a:off x="503238" y="5911715"/>
              <a:ext cx="216199" cy="448833"/>
              <a:chOff x="1413986" y="6580204"/>
              <a:chExt cx="488910" cy="1014984"/>
            </a:xfrm>
          </p:grpSpPr>
          <p:sp>
            <p:nvSpPr>
              <p:cNvPr id="243" name="Rectangle 18"/>
              <p:cNvSpPr/>
              <p:nvPr/>
            </p:nvSpPr>
            <p:spPr bwMode="auto">
              <a:xfrm>
                <a:off x="1423190" y="6675286"/>
                <a:ext cx="452611" cy="826300"/>
              </a:xfrm>
              <a:custGeom>
                <a:avLst/>
                <a:gdLst/>
                <a:ahLst/>
                <a:cxnLst/>
                <a:rect l="l" t="t" r="r" b="b"/>
                <a:pathLst>
                  <a:path w="460787" h="841225">
                    <a:moveTo>
                      <a:pt x="295330" y="0"/>
                    </a:moveTo>
                    <a:lnTo>
                      <a:pt x="460787" y="70191"/>
                    </a:lnTo>
                    <a:lnTo>
                      <a:pt x="460787" y="763884"/>
                    </a:lnTo>
                    <a:lnTo>
                      <a:pt x="301267" y="841225"/>
                    </a:lnTo>
                    <a:lnTo>
                      <a:pt x="0" y="780330"/>
                    </a:lnTo>
                    <a:lnTo>
                      <a:pt x="0" y="683108"/>
                    </a:lnTo>
                    <a:lnTo>
                      <a:pt x="0" y="51455"/>
                    </a:lnTo>
                    <a:close/>
                  </a:path>
                </a:pathLst>
              </a:custGeom>
              <a:solidFill>
                <a:schemeClr val="bg1">
                  <a:lumMod val="50000"/>
                  <a:lumOff val="50000"/>
                </a:schemeClr>
              </a:solidFill>
              <a:ln>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70567" fontAlgn="base">
                  <a:spcBef>
                    <a:spcPct val="0"/>
                  </a:spcBef>
                  <a:spcAft>
                    <a:spcPct val="0"/>
                  </a:spcAft>
                </a:pPr>
                <a:endParaRPr lang="en-US" dirty="0">
                  <a:solidFill>
                    <a:schemeClr val="tx2"/>
                  </a:solidFill>
                </a:endParaRPr>
              </a:p>
            </p:txBody>
          </p:sp>
          <p:pic>
            <p:nvPicPr>
              <p:cNvPr id="244" name="Picture 6" descr="\\magnum\Projects\Microsoft\Cloud Power FY12\Design\Icons\PNGs\Server_2.png"/>
              <p:cNvPicPr>
                <a:picLocks noChangeAspect="1" noChangeArrowheads="1"/>
              </p:cNvPicPr>
              <p:nvPr/>
            </p:nvPicPr>
            <p:blipFill rotWithShape="1">
              <a:blip r:embed="rId4" cstate="print">
                <a:biLevel thresh="25000"/>
              </a:blip>
              <a:srcRect l="27509" r="25796"/>
              <a:stretch/>
            </p:blipFill>
            <p:spPr bwMode="auto">
              <a:xfrm>
                <a:off x="1413986" y="6580204"/>
                <a:ext cx="488910" cy="1014984"/>
              </a:xfrm>
              <a:prstGeom prst="rect">
                <a:avLst/>
              </a:prstGeom>
              <a:noFill/>
            </p:spPr>
          </p:pic>
        </p:grpSp>
        <p:sp>
          <p:nvSpPr>
            <p:cNvPr id="241" name="Oval 240"/>
            <p:cNvSpPr/>
            <p:nvPr/>
          </p:nvSpPr>
          <p:spPr bwMode="auto">
            <a:xfrm>
              <a:off x="645609" y="6127512"/>
              <a:ext cx="224018" cy="224018"/>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570567" fontAlgn="base">
                <a:spcBef>
                  <a:spcPct val="0"/>
                </a:spcBef>
                <a:spcAft>
                  <a:spcPct val="0"/>
                </a:spcAft>
              </a:pPr>
              <a:endParaRPr lang="en-US" spc="-32"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45" name="Group 244"/>
          <p:cNvGrpSpPr/>
          <p:nvPr/>
        </p:nvGrpSpPr>
        <p:grpSpPr>
          <a:xfrm>
            <a:off x="6692941" y="2497655"/>
            <a:ext cx="228993" cy="280521"/>
            <a:chOff x="503238" y="5911715"/>
            <a:chExt cx="366389" cy="448833"/>
          </a:xfrm>
        </p:grpSpPr>
        <p:grpSp>
          <p:nvGrpSpPr>
            <p:cNvPr id="246" name="Group 245"/>
            <p:cNvGrpSpPr/>
            <p:nvPr/>
          </p:nvGrpSpPr>
          <p:grpSpPr>
            <a:xfrm>
              <a:off x="503238" y="5911715"/>
              <a:ext cx="216199" cy="448833"/>
              <a:chOff x="1413986" y="6580204"/>
              <a:chExt cx="488910" cy="1014984"/>
            </a:xfrm>
          </p:grpSpPr>
          <p:sp>
            <p:nvSpPr>
              <p:cNvPr id="250" name="Rectangle 18"/>
              <p:cNvSpPr/>
              <p:nvPr/>
            </p:nvSpPr>
            <p:spPr bwMode="auto">
              <a:xfrm>
                <a:off x="1423190" y="6675286"/>
                <a:ext cx="452611" cy="826300"/>
              </a:xfrm>
              <a:custGeom>
                <a:avLst/>
                <a:gdLst/>
                <a:ahLst/>
                <a:cxnLst/>
                <a:rect l="l" t="t" r="r" b="b"/>
                <a:pathLst>
                  <a:path w="460787" h="841225">
                    <a:moveTo>
                      <a:pt x="295330" y="0"/>
                    </a:moveTo>
                    <a:lnTo>
                      <a:pt x="460787" y="70191"/>
                    </a:lnTo>
                    <a:lnTo>
                      <a:pt x="460787" y="763884"/>
                    </a:lnTo>
                    <a:lnTo>
                      <a:pt x="301267" y="841225"/>
                    </a:lnTo>
                    <a:lnTo>
                      <a:pt x="0" y="780330"/>
                    </a:lnTo>
                    <a:lnTo>
                      <a:pt x="0" y="683108"/>
                    </a:lnTo>
                    <a:lnTo>
                      <a:pt x="0" y="51455"/>
                    </a:lnTo>
                    <a:close/>
                  </a:path>
                </a:pathLst>
              </a:custGeom>
              <a:solidFill>
                <a:schemeClr val="bg1">
                  <a:lumMod val="50000"/>
                  <a:lumOff val="50000"/>
                </a:schemeClr>
              </a:solidFill>
              <a:ln>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70567" fontAlgn="base">
                  <a:spcBef>
                    <a:spcPct val="0"/>
                  </a:spcBef>
                  <a:spcAft>
                    <a:spcPct val="0"/>
                  </a:spcAft>
                </a:pPr>
                <a:endParaRPr lang="en-US" dirty="0">
                  <a:solidFill>
                    <a:schemeClr val="tx2"/>
                  </a:solidFill>
                </a:endParaRPr>
              </a:p>
            </p:txBody>
          </p:sp>
          <p:pic>
            <p:nvPicPr>
              <p:cNvPr id="251" name="Picture 6" descr="\\magnum\Projects\Microsoft\Cloud Power FY12\Design\Icons\PNGs\Server_2.png"/>
              <p:cNvPicPr>
                <a:picLocks noChangeAspect="1" noChangeArrowheads="1"/>
              </p:cNvPicPr>
              <p:nvPr/>
            </p:nvPicPr>
            <p:blipFill rotWithShape="1">
              <a:blip r:embed="rId4" cstate="print">
                <a:biLevel thresh="25000"/>
              </a:blip>
              <a:srcRect l="27509" r="25796"/>
              <a:stretch/>
            </p:blipFill>
            <p:spPr bwMode="auto">
              <a:xfrm>
                <a:off x="1413986" y="6580204"/>
                <a:ext cx="488910" cy="1014984"/>
              </a:xfrm>
              <a:prstGeom prst="rect">
                <a:avLst/>
              </a:prstGeom>
              <a:noFill/>
            </p:spPr>
          </p:pic>
        </p:grpSp>
        <p:sp>
          <p:nvSpPr>
            <p:cNvPr id="248" name="Oval 247"/>
            <p:cNvSpPr/>
            <p:nvPr/>
          </p:nvSpPr>
          <p:spPr bwMode="auto">
            <a:xfrm>
              <a:off x="645609" y="6127512"/>
              <a:ext cx="224018" cy="224018"/>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570567" fontAlgn="base">
                <a:spcBef>
                  <a:spcPct val="0"/>
                </a:spcBef>
                <a:spcAft>
                  <a:spcPct val="0"/>
                </a:spcAft>
              </a:pPr>
              <a:endParaRPr lang="en-US" spc="-32"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52" name="Group 251"/>
          <p:cNvGrpSpPr/>
          <p:nvPr/>
        </p:nvGrpSpPr>
        <p:grpSpPr>
          <a:xfrm>
            <a:off x="6978766" y="3014015"/>
            <a:ext cx="228993" cy="280521"/>
            <a:chOff x="503238" y="5911715"/>
            <a:chExt cx="366389" cy="448833"/>
          </a:xfrm>
        </p:grpSpPr>
        <p:grpSp>
          <p:nvGrpSpPr>
            <p:cNvPr id="253" name="Group 252"/>
            <p:cNvGrpSpPr/>
            <p:nvPr/>
          </p:nvGrpSpPr>
          <p:grpSpPr>
            <a:xfrm>
              <a:off x="503238" y="5911715"/>
              <a:ext cx="216199" cy="448833"/>
              <a:chOff x="1413986" y="6580204"/>
              <a:chExt cx="488910" cy="1014984"/>
            </a:xfrm>
          </p:grpSpPr>
          <p:sp>
            <p:nvSpPr>
              <p:cNvPr id="257" name="Rectangle 18"/>
              <p:cNvSpPr/>
              <p:nvPr/>
            </p:nvSpPr>
            <p:spPr bwMode="auto">
              <a:xfrm>
                <a:off x="1423190" y="6675286"/>
                <a:ext cx="452611" cy="826300"/>
              </a:xfrm>
              <a:custGeom>
                <a:avLst/>
                <a:gdLst/>
                <a:ahLst/>
                <a:cxnLst/>
                <a:rect l="l" t="t" r="r" b="b"/>
                <a:pathLst>
                  <a:path w="460787" h="841225">
                    <a:moveTo>
                      <a:pt x="295330" y="0"/>
                    </a:moveTo>
                    <a:lnTo>
                      <a:pt x="460787" y="70191"/>
                    </a:lnTo>
                    <a:lnTo>
                      <a:pt x="460787" y="763884"/>
                    </a:lnTo>
                    <a:lnTo>
                      <a:pt x="301267" y="841225"/>
                    </a:lnTo>
                    <a:lnTo>
                      <a:pt x="0" y="780330"/>
                    </a:lnTo>
                    <a:lnTo>
                      <a:pt x="0" y="683108"/>
                    </a:lnTo>
                    <a:lnTo>
                      <a:pt x="0" y="51455"/>
                    </a:lnTo>
                    <a:close/>
                  </a:path>
                </a:pathLst>
              </a:custGeom>
              <a:solidFill>
                <a:schemeClr val="bg1">
                  <a:lumMod val="50000"/>
                  <a:lumOff val="50000"/>
                </a:schemeClr>
              </a:solidFill>
              <a:ln>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70567" fontAlgn="base">
                  <a:spcBef>
                    <a:spcPct val="0"/>
                  </a:spcBef>
                  <a:spcAft>
                    <a:spcPct val="0"/>
                  </a:spcAft>
                </a:pPr>
                <a:endParaRPr lang="en-US" dirty="0">
                  <a:solidFill>
                    <a:schemeClr val="tx2"/>
                  </a:solidFill>
                </a:endParaRPr>
              </a:p>
            </p:txBody>
          </p:sp>
          <p:pic>
            <p:nvPicPr>
              <p:cNvPr id="258" name="Picture 6" descr="\\magnum\Projects\Microsoft\Cloud Power FY12\Design\Icons\PNGs\Server_2.png"/>
              <p:cNvPicPr>
                <a:picLocks noChangeAspect="1" noChangeArrowheads="1"/>
              </p:cNvPicPr>
              <p:nvPr/>
            </p:nvPicPr>
            <p:blipFill rotWithShape="1">
              <a:blip r:embed="rId4" cstate="print">
                <a:biLevel thresh="25000"/>
              </a:blip>
              <a:srcRect l="27509" r="25796"/>
              <a:stretch/>
            </p:blipFill>
            <p:spPr bwMode="auto">
              <a:xfrm>
                <a:off x="1413986" y="6580204"/>
                <a:ext cx="488910" cy="1014984"/>
              </a:xfrm>
              <a:prstGeom prst="rect">
                <a:avLst/>
              </a:prstGeom>
              <a:noFill/>
            </p:spPr>
          </p:pic>
        </p:grpSp>
        <p:sp>
          <p:nvSpPr>
            <p:cNvPr id="255" name="Oval 254"/>
            <p:cNvSpPr/>
            <p:nvPr/>
          </p:nvSpPr>
          <p:spPr bwMode="auto">
            <a:xfrm>
              <a:off x="645609" y="6127512"/>
              <a:ext cx="224018" cy="224018"/>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570567" fontAlgn="base">
                <a:spcBef>
                  <a:spcPct val="0"/>
                </a:spcBef>
                <a:spcAft>
                  <a:spcPct val="0"/>
                </a:spcAft>
              </a:pPr>
              <a:endParaRPr lang="en-US" spc="-32"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sp>
        <p:nvSpPr>
          <p:cNvPr id="119" name="Isosceles Triangle 118"/>
          <p:cNvSpPr/>
          <p:nvPr/>
        </p:nvSpPr>
        <p:spPr bwMode="auto">
          <a:xfrm>
            <a:off x="5339507" y="2536477"/>
            <a:ext cx="138897" cy="138896"/>
          </a:xfrm>
          <a:prstGeom prst="triangle">
            <a:avLst/>
          </a:prstGeom>
          <a:solidFill>
            <a:srgbClr val="16A2D9"/>
          </a:solidFill>
          <a:ln>
            <a:noFill/>
            <a:headEnd type="none" w="med" len="med"/>
            <a:tailEnd type="none" w="med" len="med"/>
          </a:ln>
          <a:effectLst/>
          <a:scene3d>
            <a:camera prst="orthographicFront"/>
            <a:lightRig rig="threePt" dir="t"/>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341324" tIns="34132" rIns="68259" bIns="34132" numCol="1" rtlCol="0" anchor="ctr" anchorCtr="0" compatLnSpc="1">
            <a:prstTxWarp prst="textNoShape">
              <a:avLst/>
            </a:prstTxWarp>
          </a:bodyPr>
          <a:lstStyle/>
          <a:p>
            <a:pPr defTabSz="835435" fontAlgn="base">
              <a:lnSpc>
                <a:spcPct val="80000"/>
              </a:lnSpc>
              <a:spcBef>
                <a:spcPct val="0"/>
              </a:spcBef>
              <a:spcAft>
                <a:spcPts val="450"/>
              </a:spcAft>
              <a:defRPr/>
            </a:pPr>
            <a:endParaRPr lang="en-US" sz="1500" kern="0" spc="-75" dirty="0">
              <a:ln>
                <a:solidFill>
                  <a:srgbClr val="FFFFFF">
                    <a:alpha val="0"/>
                  </a:srgbClr>
                </a:solidFill>
              </a:ln>
              <a:gradFill>
                <a:gsLst>
                  <a:gs pos="0">
                    <a:schemeClr val="tx1"/>
                  </a:gs>
                  <a:gs pos="86000">
                    <a:schemeClr val="tx1"/>
                  </a:gs>
                </a:gsLst>
                <a:lin ang="5400000" scaled="0"/>
              </a:gradFill>
              <a:latin typeface="Segoe Semibold" pitchFamily="34" charset="0"/>
            </a:endParaRPr>
          </a:p>
        </p:txBody>
      </p:sp>
      <p:sp>
        <p:nvSpPr>
          <p:cNvPr id="120" name="Freeform 78"/>
          <p:cNvSpPr>
            <a:spLocks noEditPoints="1"/>
          </p:cNvSpPr>
          <p:nvPr/>
        </p:nvSpPr>
        <p:spPr bwMode="auto">
          <a:xfrm>
            <a:off x="2203096" y="2285384"/>
            <a:ext cx="144056" cy="144018"/>
          </a:xfrm>
          <a:custGeom>
            <a:avLst/>
            <a:gdLst>
              <a:gd name="T0" fmla="*/ 174 w 347"/>
              <a:gd name="T1" fmla="*/ 0 h 347"/>
              <a:gd name="T2" fmla="*/ 0 w 347"/>
              <a:gd name="T3" fmla="*/ 174 h 347"/>
              <a:gd name="T4" fmla="*/ 174 w 347"/>
              <a:gd name="T5" fmla="*/ 347 h 347"/>
              <a:gd name="T6" fmla="*/ 347 w 347"/>
              <a:gd name="T7" fmla="*/ 174 h 347"/>
              <a:gd name="T8" fmla="*/ 174 w 347"/>
              <a:gd name="T9" fmla="*/ 0 h 347"/>
              <a:gd name="T10" fmla="*/ 332 w 347"/>
              <a:gd name="T11" fmla="*/ 166 h 347"/>
              <a:gd name="T12" fmla="*/ 283 w 347"/>
              <a:gd name="T13" fmla="*/ 166 h 347"/>
              <a:gd name="T14" fmla="*/ 231 w 347"/>
              <a:gd name="T15" fmla="*/ 26 h 347"/>
              <a:gd name="T16" fmla="*/ 332 w 347"/>
              <a:gd name="T17" fmla="*/ 166 h 347"/>
              <a:gd name="T18" fmla="*/ 174 w 347"/>
              <a:gd name="T19" fmla="*/ 332 h 347"/>
              <a:gd name="T20" fmla="*/ 147 w 347"/>
              <a:gd name="T21" fmla="*/ 181 h 347"/>
              <a:gd name="T22" fmla="*/ 200 w 347"/>
              <a:gd name="T23" fmla="*/ 181 h 347"/>
              <a:gd name="T24" fmla="*/ 174 w 347"/>
              <a:gd name="T25" fmla="*/ 332 h 347"/>
              <a:gd name="T26" fmla="*/ 147 w 347"/>
              <a:gd name="T27" fmla="*/ 166 h 347"/>
              <a:gd name="T28" fmla="*/ 174 w 347"/>
              <a:gd name="T29" fmla="*/ 15 h 347"/>
              <a:gd name="T30" fmla="*/ 174 w 347"/>
              <a:gd name="T31" fmla="*/ 15 h 347"/>
              <a:gd name="T32" fmla="*/ 200 w 347"/>
              <a:gd name="T33" fmla="*/ 166 h 347"/>
              <a:gd name="T34" fmla="*/ 147 w 347"/>
              <a:gd name="T35" fmla="*/ 166 h 347"/>
              <a:gd name="T36" fmla="*/ 153 w 347"/>
              <a:gd name="T37" fmla="*/ 19 h 347"/>
              <a:gd name="T38" fmla="*/ 133 w 347"/>
              <a:gd name="T39" fmla="*/ 166 h 347"/>
              <a:gd name="T40" fmla="*/ 79 w 347"/>
              <a:gd name="T41" fmla="*/ 166 h 347"/>
              <a:gd name="T42" fmla="*/ 153 w 347"/>
              <a:gd name="T43" fmla="*/ 19 h 347"/>
              <a:gd name="T44" fmla="*/ 133 w 347"/>
              <a:gd name="T45" fmla="*/ 181 h 347"/>
              <a:gd name="T46" fmla="*/ 153 w 347"/>
              <a:gd name="T47" fmla="*/ 329 h 347"/>
              <a:gd name="T48" fmla="*/ 79 w 347"/>
              <a:gd name="T49" fmla="*/ 181 h 347"/>
              <a:gd name="T50" fmla="*/ 133 w 347"/>
              <a:gd name="T51" fmla="*/ 181 h 347"/>
              <a:gd name="T52" fmla="*/ 194 w 347"/>
              <a:gd name="T53" fmla="*/ 329 h 347"/>
              <a:gd name="T54" fmla="*/ 215 w 347"/>
              <a:gd name="T55" fmla="*/ 181 h 347"/>
              <a:gd name="T56" fmla="*/ 268 w 347"/>
              <a:gd name="T57" fmla="*/ 181 h 347"/>
              <a:gd name="T58" fmla="*/ 194 w 347"/>
              <a:gd name="T59" fmla="*/ 329 h 347"/>
              <a:gd name="T60" fmla="*/ 215 w 347"/>
              <a:gd name="T61" fmla="*/ 166 h 347"/>
              <a:gd name="T62" fmla="*/ 194 w 347"/>
              <a:gd name="T63" fmla="*/ 19 h 347"/>
              <a:gd name="T64" fmla="*/ 268 w 347"/>
              <a:gd name="T65" fmla="*/ 166 h 347"/>
              <a:gd name="T66" fmla="*/ 215 w 347"/>
              <a:gd name="T67" fmla="*/ 166 h 347"/>
              <a:gd name="T68" fmla="*/ 117 w 347"/>
              <a:gd name="T69" fmla="*/ 26 h 347"/>
              <a:gd name="T70" fmla="*/ 64 w 347"/>
              <a:gd name="T71" fmla="*/ 166 h 347"/>
              <a:gd name="T72" fmla="*/ 15 w 347"/>
              <a:gd name="T73" fmla="*/ 166 h 347"/>
              <a:gd name="T74" fmla="*/ 117 w 347"/>
              <a:gd name="T75" fmla="*/ 26 h 347"/>
              <a:gd name="T76" fmla="*/ 15 w 347"/>
              <a:gd name="T77" fmla="*/ 181 h 347"/>
              <a:gd name="T78" fmla="*/ 64 w 347"/>
              <a:gd name="T79" fmla="*/ 181 h 347"/>
              <a:gd name="T80" fmla="*/ 117 w 347"/>
              <a:gd name="T81" fmla="*/ 322 h 347"/>
              <a:gd name="T82" fmla="*/ 15 w 347"/>
              <a:gd name="T83" fmla="*/ 181 h 347"/>
              <a:gd name="T84" fmla="*/ 231 w 347"/>
              <a:gd name="T85" fmla="*/ 322 h 347"/>
              <a:gd name="T86" fmla="*/ 283 w 347"/>
              <a:gd name="T87" fmla="*/ 181 h 347"/>
              <a:gd name="T88" fmla="*/ 332 w 347"/>
              <a:gd name="T89" fmla="*/ 181 h 347"/>
              <a:gd name="T90" fmla="*/ 231 w 347"/>
              <a:gd name="T91" fmla="*/ 322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7" h="347">
                <a:moveTo>
                  <a:pt x="174" y="0"/>
                </a:moveTo>
                <a:cubicBezTo>
                  <a:pt x="78" y="0"/>
                  <a:pt x="0" y="78"/>
                  <a:pt x="0" y="174"/>
                </a:cubicBezTo>
                <a:cubicBezTo>
                  <a:pt x="0" y="269"/>
                  <a:pt x="78" y="347"/>
                  <a:pt x="174" y="347"/>
                </a:cubicBezTo>
                <a:cubicBezTo>
                  <a:pt x="269" y="347"/>
                  <a:pt x="347" y="269"/>
                  <a:pt x="347" y="174"/>
                </a:cubicBezTo>
                <a:cubicBezTo>
                  <a:pt x="347" y="78"/>
                  <a:pt x="269" y="0"/>
                  <a:pt x="174" y="0"/>
                </a:cubicBezTo>
                <a:close/>
                <a:moveTo>
                  <a:pt x="332" y="166"/>
                </a:moveTo>
                <a:cubicBezTo>
                  <a:pt x="283" y="166"/>
                  <a:pt x="283" y="166"/>
                  <a:pt x="283" y="166"/>
                </a:cubicBezTo>
                <a:cubicBezTo>
                  <a:pt x="281" y="107"/>
                  <a:pt x="261" y="55"/>
                  <a:pt x="231" y="26"/>
                </a:cubicBezTo>
                <a:cubicBezTo>
                  <a:pt x="288" y="48"/>
                  <a:pt x="329" y="102"/>
                  <a:pt x="332" y="166"/>
                </a:cubicBezTo>
                <a:close/>
                <a:moveTo>
                  <a:pt x="174" y="332"/>
                </a:moveTo>
                <a:cubicBezTo>
                  <a:pt x="165" y="330"/>
                  <a:pt x="148" y="277"/>
                  <a:pt x="147" y="181"/>
                </a:cubicBezTo>
                <a:cubicBezTo>
                  <a:pt x="200" y="181"/>
                  <a:pt x="200" y="181"/>
                  <a:pt x="200" y="181"/>
                </a:cubicBezTo>
                <a:cubicBezTo>
                  <a:pt x="199" y="277"/>
                  <a:pt x="183" y="330"/>
                  <a:pt x="174" y="332"/>
                </a:cubicBezTo>
                <a:close/>
                <a:moveTo>
                  <a:pt x="147" y="166"/>
                </a:moveTo>
                <a:cubicBezTo>
                  <a:pt x="148" y="70"/>
                  <a:pt x="165" y="17"/>
                  <a:pt x="174" y="15"/>
                </a:cubicBezTo>
                <a:cubicBezTo>
                  <a:pt x="174" y="15"/>
                  <a:pt x="174" y="15"/>
                  <a:pt x="174" y="15"/>
                </a:cubicBezTo>
                <a:cubicBezTo>
                  <a:pt x="183" y="17"/>
                  <a:pt x="199" y="70"/>
                  <a:pt x="200" y="166"/>
                </a:cubicBezTo>
                <a:lnTo>
                  <a:pt x="147" y="166"/>
                </a:lnTo>
                <a:close/>
                <a:moveTo>
                  <a:pt x="153" y="19"/>
                </a:moveTo>
                <a:cubicBezTo>
                  <a:pt x="138" y="51"/>
                  <a:pt x="133" y="118"/>
                  <a:pt x="133" y="166"/>
                </a:cubicBezTo>
                <a:cubicBezTo>
                  <a:pt x="79" y="166"/>
                  <a:pt x="79" y="166"/>
                  <a:pt x="79" y="166"/>
                </a:cubicBezTo>
                <a:cubicBezTo>
                  <a:pt x="81" y="94"/>
                  <a:pt x="112" y="34"/>
                  <a:pt x="153" y="19"/>
                </a:cubicBezTo>
                <a:close/>
                <a:moveTo>
                  <a:pt x="133" y="181"/>
                </a:moveTo>
                <a:cubicBezTo>
                  <a:pt x="133" y="229"/>
                  <a:pt x="138" y="296"/>
                  <a:pt x="153" y="329"/>
                </a:cubicBezTo>
                <a:cubicBezTo>
                  <a:pt x="112" y="313"/>
                  <a:pt x="81" y="254"/>
                  <a:pt x="79" y="181"/>
                </a:cubicBezTo>
                <a:lnTo>
                  <a:pt x="133" y="181"/>
                </a:lnTo>
                <a:close/>
                <a:moveTo>
                  <a:pt x="194" y="329"/>
                </a:moveTo>
                <a:cubicBezTo>
                  <a:pt x="209" y="296"/>
                  <a:pt x="214" y="229"/>
                  <a:pt x="215" y="181"/>
                </a:cubicBezTo>
                <a:cubicBezTo>
                  <a:pt x="268" y="181"/>
                  <a:pt x="268" y="181"/>
                  <a:pt x="268" y="181"/>
                </a:cubicBezTo>
                <a:cubicBezTo>
                  <a:pt x="266" y="254"/>
                  <a:pt x="235" y="313"/>
                  <a:pt x="194" y="329"/>
                </a:cubicBezTo>
                <a:close/>
                <a:moveTo>
                  <a:pt x="215" y="166"/>
                </a:moveTo>
                <a:cubicBezTo>
                  <a:pt x="214" y="118"/>
                  <a:pt x="209" y="51"/>
                  <a:pt x="194" y="19"/>
                </a:cubicBezTo>
                <a:cubicBezTo>
                  <a:pt x="235" y="34"/>
                  <a:pt x="266" y="94"/>
                  <a:pt x="268" y="166"/>
                </a:cubicBezTo>
                <a:lnTo>
                  <a:pt x="215" y="166"/>
                </a:lnTo>
                <a:close/>
                <a:moveTo>
                  <a:pt x="117" y="26"/>
                </a:moveTo>
                <a:cubicBezTo>
                  <a:pt x="87" y="55"/>
                  <a:pt x="66" y="107"/>
                  <a:pt x="64" y="166"/>
                </a:cubicBezTo>
                <a:cubicBezTo>
                  <a:pt x="15" y="166"/>
                  <a:pt x="15" y="166"/>
                  <a:pt x="15" y="166"/>
                </a:cubicBezTo>
                <a:cubicBezTo>
                  <a:pt x="18" y="102"/>
                  <a:pt x="59" y="48"/>
                  <a:pt x="117" y="26"/>
                </a:cubicBezTo>
                <a:close/>
                <a:moveTo>
                  <a:pt x="15" y="181"/>
                </a:moveTo>
                <a:cubicBezTo>
                  <a:pt x="64" y="181"/>
                  <a:pt x="64" y="181"/>
                  <a:pt x="64" y="181"/>
                </a:cubicBezTo>
                <a:cubicBezTo>
                  <a:pt x="66" y="241"/>
                  <a:pt x="87" y="292"/>
                  <a:pt x="117" y="322"/>
                </a:cubicBezTo>
                <a:cubicBezTo>
                  <a:pt x="59" y="300"/>
                  <a:pt x="18" y="245"/>
                  <a:pt x="15" y="181"/>
                </a:cubicBezTo>
                <a:close/>
                <a:moveTo>
                  <a:pt x="231" y="322"/>
                </a:moveTo>
                <a:cubicBezTo>
                  <a:pt x="261" y="292"/>
                  <a:pt x="281" y="241"/>
                  <a:pt x="283" y="181"/>
                </a:cubicBezTo>
                <a:cubicBezTo>
                  <a:pt x="332" y="181"/>
                  <a:pt x="332" y="181"/>
                  <a:pt x="332" y="181"/>
                </a:cubicBezTo>
                <a:cubicBezTo>
                  <a:pt x="329" y="245"/>
                  <a:pt x="288" y="300"/>
                  <a:pt x="231" y="322"/>
                </a:cubicBezTo>
                <a:close/>
              </a:path>
            </a:pathLst>
          </a:custGeom>
          <a:solidFill>
            <a:schemeClr val="tx1"/>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121" name="Freeform 78"/>
          <p:cNvSpPr>
            <a:spLocks noEditPoints="1"/>
          </p:cNvSpPr>
          <p:nvPr/>
        </p:nvSpPr>
        <p:spPr bwMode="auto">
          <a:xfrm>
            <a:off x="2579306" y="2162513"/>
            <a:ext cx="144056" cy="144018"/>
          </a:xfrm>
          <a:custGeom>
            <a:avLst/>
            <a:gdLst>
              <a:gd name="T0" fmla="*/ 174 w 347"/>
              <a:gd name="T1" fmla="*/ 0 h 347"/>
              <a:gd name="T2" fmla="*/ 0 w 347"/>
              <a:gd name="T3" fmla="*/ 174 h 347"/>
              <a:gd name="T4" fmla="*/ 174 w 347"/>
              <a:gd name="T5" fmla="*/ 347 h 347"/>
              <a:gd name="T6" fmla="*/ 347 w 347"/>
              <a:gd name="T7" fmla="*/ 174 h 347"/>
              <a:gd name="T8" fmla="*/ 174 w 347"/>
              <a:gd name="T9" fmla="*/ 0 h 347"/>
              <a:gd name="T10" fmla="*/ 332 w 347"/>
              <a:gd name="T11" fmla="*/ 166 h 347"/>
              <a:gd name="T12" fmla="*/ 283 w 347"/>
              <a:gd name="T13" fmla="*/ 166 h 347"/>
              <a:gd name="T14" fmla="*/ 231 w 347"/>
              <a:gd name="T15" fmla="*/ 26 h 347"/>
              <a:gd name="T16" fmla="*/ 332 w 347"/>
              <a:gd name="T17" fmla="*/ 166 h 347"/>
              <a:gd name="T18" fmla="*/ 174 w 347"/>
              <a:gd name="T19" fmla="*/ 332 h 347"/>
              <a:gd name="T20" fmla="*/ 147 w 347"/>
              <a:gd name="T21" fmla="*/ 181 h 347"/>
              <a:gd name="T22" fmla="*/ 200 w 347"/>
              <a:gd name="T23" fmla="*/ 181 h 347"/>
              <a:gd name="T24" fmla="*/ 174 w 347"/>
              <a:gd name="T25" fmla="*/ 332 h 347"/>
              <a:gd name="T26" fmla="*/ 147 w 347"/>
              <a:gd name="T27" fmla="*/ 166 h 347"/>
              <a:gd name="T28" fmla="*/ 174 w 347"/>
              <a:gd name="T29" fmla="*/ 15 h 347"/>
              <a:gd name="T30" fmla="*/ 174 w 347"/>
              <a:gd name="T31" fmla="*/ 15 h 347"/>
              <a:gd name="T32" fmla="*/ 200 w 347"/>
              <a:gd name="T33" fmla="*/ 166 h 347"/>
              <a:gd name="T34" fmla="*/ 147 w 347"/>
              <a:gd name="T35" fmla="*/ 166 h 347"/>
              <a:gd name="T36" fmla="*/ 153 w 347"/>
              <a:gd name="T37" fmla="*/ 19 h 347"/>
              <a:gd name="T38" fmla="*/ 133 w 347"/>
              <a:gd name="T39" fmla="*/ 166 h 347"/>
              <a:gd name="T40" fmla="*/ 79 w 347"/>
              <a:gd name="T41" fmla="*/ 166 h 347"/>
              <a:gd name="T42" fmla="*/ 153 w 347"/>
              <a:gd name="T43" fmla="*/ 19 h 347"/>
              <a:gd name="T44" fmla="*/ 133 w 347"/>
              <a:gd name="T45" fmla="*/ 181 h 347"/>
              <a:gd name="T46" fmla="*/ 153 w 347"/>
              <a:gd name="T47" fmla="*/ 329 h 347"/>
              <a:gd name="T48" fmla="*/ 79 w 347"/>
              <a:gd name="T49" fmla="*/ 181 h 347"/>
              <a:gd name="T50" fmla="*/ 133 w 347"/>
              <a:gd name="T51" fmla="*/ 181 h 347"/>
              <a:gd name="T52" fmla="*/ 194 w 347"/>
              <a:gd name="T53" fmla="*/ 329 h 347"/>
              <a:gd name="T54" fmla="*/ 215 w 347"/>
              <a:gd name="T55" fmla="*/ 181 h 347"/>
              <a:gd name="T56" fmla="*/ 268 w 347"/>
              <a:gd name="T57" fmla="*/ 181 h 347"/>
              <a:gd name="T58" fmla="*/ 194 w 347"/>
              <a:gd name="T59" fmla="*/ 329 h 347"/>
              <a:gd name="T60" fmla="*/ 215 w 347"/>
              <a:gd name="T61" fmla="*/ 166 h 347"/>
              <a:gd name="T62" fmla="*/ 194 w 347"/>
              <a:gd name="T63" fmla="*/ 19 h 347"/>
              <a:gd name="T64" fmla="*/ 268 w 347"/>
              <a:gd name="T65" fmla="*/ 166 h 347"/>
              <a:gd name="T66" fmla="*/ 215 w 347"/>
              <a:gd name="T67" fmla="*/ 166 h 347"/>
              <a:gd name="T68" fmla="*/ 117 w 347"/>
              <a:gd name="T69" fmla="*/ 26 h 347"/>
              <a:gd name="T70" fmla="*/ 64 w 347"/>
              <a:gd name="T71" fmla="*/ 166 h 347"/>
              <a:gd name="T72" fmla="*/ 15 w 347"/>
              <a:gd name="T73" fmla="*/ 166 h 347"/>
              <a:gd name="T74" fmla="*/ 117 w 347"/>
              <a:gd name="T75" fmla="*/ 26 h 347"/>
              <a:gd name="T76" fmla="*/ 15 w 347"/>
              <a:gd name="T77" fmla="*/ 181 h 347"/>
              <a:gd name="T78" fmla="*/ 64 w 347"/>
              <a:gd name="T79" fmla="*/ 181 h 347"/>
              <a:gd name="T80" fmla="*/ 117 w 347"/>
              <a:gd name="T81" fmla="*/ 322 h 347"/>
              <a:gd name="T82" fmla="*/ 15 w 347"/>
              <a:gd name="T83" fmla="*/ 181 h 347"/>
              <a:gd name="T84" fmla="*/ 231 w 347"/>
              <a:gd name="T85" fmla="*/ 322 h 347"/>
              <a:gd name="T86" fmla="*/ 283 w 347"/>
              <a:gd name="T87" fmla="*/ 181 h 347"/>
              <a:gd name="T88" fmla="*/ 332 w 347"/>
              <a:gd name="T89" fmla="*/ 181 h 347"/>
              <a:gd name="T90" fmla="*/ 231 w 347"/>
              <a:gd name="T91" fmla="*/ 322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7" h="347">
                <a:moveTo>
                  <a:pt x="174" y="0"/>
                </a:moveTo>
                <a:cubicBezTo>
                  <a:pt x="78" y="0"/>
                  <a:pt x="0" y="78"/>
                  <a:pt x="0" y="174"/>
                </a:cubicBezTo>
                <a:cubicBezTo>
                  <a:pt x="0" y="269"/>
                  <a:pt x="78" y="347"/>
                  <a:pt x="174" y="347"/>
                </a:cubicBezTo>
                <a:cubicBezTo>
                  <a:pt x="269" y="347"/>
                  <a:pt x="347" y="269"/>
                  <a:pt x="347" y="174"/>
                </a:cubicBezTo>
                <a:cubicBezTo>
                  <a:pt x="347" y="78"/>
                  <a:pt x="269" y="0"/>
                  <a:pt x="174" y="0"/>
                </a:cubicBezTo>
                <a:close/>
                <a:moveTo>
                  <a:pt x="332" y="166"/>
                </a:moveTo>
                <a:cubicBezTo>
                  <a:pt x="283" y="166"/>
                  <a:pt x="283" y="166"/>
                  <a:pt x="283" y="166"/>
                </a:cubicBezTo>
                <a:cubicBezTo>
                  <a:pt x="281" y="107"/>
                  <a:pt x="261" y="55"/>
                  <a:pt x="231" y="26"/>
                </a:cubicBezTo>
                <a:cubicBezTo>
                  <a:pt x="288" y="48"/>
                  <a:pt x="329" y="102"/>
                  <a:pt x="332" y="166"/>
                </a:cubicBezTo>
                <a:close/>
                <a:moveTo>
                  <a:pt x="174" y="332"/>
                </a:moveTo>
                <a:cubicBezTo>
                  <a:pt x="165" y="330"/>
                  <a:pt x="148" y="277"/>
                  <a:pt x="147" y="181"/>
                </a:cubicBezTo>
                <a:cubicBezTo>
                  <a:pt x="200" y="181"/>
                  <a:pt x="200" y="181"/>
                  <a:pt x="200" y="181"/>
                </a:cubicBezTo>
                <a:cubicBezTo>
                  <a:pt x="199" y="277"/>
                  <a:pt x="183" y="330"/>
                  <a:pt x="174" y="332"/>
                </a:cubicBezTo>
                <a:close/>
                <a:moveTo>
                  <a:pt x="147" y="166"/>
                </a:moveTo>
                <a:cubicBezTo>
                  <a:pt x="148" y="70"/>
                  <a:pt x="165" y="17"/>
                  <a:pt x="174" y="15"/>
                </a:cubicBezTo>
                <a:cubicBezTo>
                  <a:pt x="174" y="15"/>
                  <a:pt x="174" y="15"/>
                  <a:pt x="174" y="15"/>
                </a:cubicBezTo>
                <a:cubicBezTo>
                  <a:pt x="183" y="17"/>
                  <a:pt x="199" y="70"/>
                  <a:pt x="200" y="166"/>
                </a:cubicBezTo>
                <a:lnTo>
                  <a:pt x="147" y="166"/>
                </a:lnTo>
                <a:close/>
                <a:moveTo>
                  <a:pt x="153" y="19"/>
                </a:moveTo>
                <a:cubicBezTo>
                  <a:pt x="138" y="51"/>
                  <a:pt x="133" y="118"/>
                  <a:pt x="133" y="166"/>
                </a:cubicBezTo>
                <a:cubicBezTo>
                  <a:pt x="79" y="166"/>
                  <a:pt x="79" y="166"/>
                  <a:pt x="79" y="166"/>
                </a:cubicBezTo>
                <a:cubicBezTo>
                  <a:pt x="81" y="94"/>
                  <a:pt x="112" y="34"/>
                  <a:pt x="153" y="19"/>
                </a:cubicBezTo>
                <a:close/>
                <a:moveTo>
                  <a:pt x="133" y="181"/>
                </a:moveTo>
                <a:cubicBezTo>
                  <a:pt x="133" y="229"/>
                  <a:pt x="138" y="296"/>
                  <a:pt x="153" y="329"/>
                </a:cubicBezTo>
                <a:cubicBezTo>
                  <a:pt x="112" y="313"/>
                  <a:pt x="81" y="254"/>
                  <a:pt x="79" y="181"/>
                </a:cubicBezTo>
                <a:lnTo>
                  <a:pt x="133" y="181"/>
                </a:lnTo>
                <a:close/>
                <a:moveTo>
                  <a:pt x="194" y="329"/>
                </a:moveTo>
                <a:cubicBezTo>
                  <a:pt x="209" y="296"/>
                  <a:pt x="214" y="229"/>
                  <a:pt x="215" y="181"/>
                </a:cubicBezTo>
                <a:cubicBezTo>
                  <a:pt x="268" y="181"/>
                  <a:pt x="268" y="181"/>
                  <a:pt x="268" y="181"/>
                </a:cubicBezTo>
                <a:cubicBezTo>
                  <a:pt x="266" y="254"/>
                  <a:pt x="235" y="313"/>
                  <a:pt x="194" y="329"/>
                </a:cubicBezTo>
                <a:close/>
                <a:moveTo>
                  <a:pt x="215" y="166"/>
                </a:moveTo>
                <a:cubicBezTo>
                  <a:pt x="214" y="118"/>
                  <a:pt x="209" y="51"/>
                  <a:pt x="194" y="19"/>
                </a:cubicBezTo>
                <a:cubicBezTo>
                  <a:pt x="235" y="34"/>
                  <a:pt x="266" y="94"/>
                  <a:pt x="268" y="166"/>
                </a:cubicBezTo>
                <a:lnTo>
                  <a:pt x="215" y="166"/>
                </a:lnTo>
                <a:close/>
                <a:moveTo>
                  <a:pt x="117" y="26"/>
                </a:moveTo>
                <a:cubicBezTo>
                  <a:pt x="87" y="55"/>
                  <a:pt x="66" y="107"/>
                  <a:pt x="64" y="166"/>
                </a:cubicBezTo>
                <a:cubicBezTo>
                  <a:pt x="15" y="166"/>
                  <a:pt x="15" y="166"/>
                  <a:pt x="15" y="166"/>
                </a:cubicBezTo>
                <a:cubicBezTo>
                  <a:pt x="18" y="102"/>
                  <a:pt x="59" y="48"/>
                  <a:pt x="117" y="26"/>
                </a:cubicBezTo>
                <a:close/>
                <a:moveTo>
                  <a:pt x="15" y="181"/>
                </a:moveTo>
                <a:cubicBezTo>
                  <a:pt x="64" y="181"/>
                  <a:pt x="64" y="181"/>
                  <a:pt x="64" y="181"/>
                </a:cubicBezTo>
                <a:cubicBezTo>
                  <a:pt x="66" y="241"/>
                  <a:pt x="87" y="292"/>
                  <a:pt x="117" y="322"/>
                </a:cubicBezTo>
                <a:cubicBezTo>
                  <a:pt x="59" y="300"/>
                  <a:pt x="18" y="245"/>
                  <a:pt x="15" y="181"/>
                </a:cubicBezTo>
                <a:close/>
                <a:moveTo>
                  <a:pt x="231" y="322"/>
                </a:moveTo>
                <a:cubicBezTo>
                  <a:pt x="261" y="292"/>
                  <a:pt x="281" y="241"/>
                  <a:pt x="283" y="181"/>
                </a:cubicBezTo>
                <a:cubicBezTo>
                  <a:pt x="332" y="181"/>
                  <a:pt x="332" y="181"/>
                  <a:pt x="332" y="181"/>
                </a:cubicBezTo>
                <a:cubicBezTo>
                  <a:pt x="329" y="245"/>
                  <a:pt x="288" y="300"/>
                  <a:pt x="231" y="322"/>
                </a:cubicBezTo>
                <a:close/>
              </a:path>
            </a:pathLst>
          </a:custGeom>
          <a:solidFill>
            <a:schemeClr val="tx1"/>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122" name="Freeform 78"/>
          <p:cNvSpPr>
            <a:spLocks noEditPoints="1"/>
          </p:cNvSpPr>
          <p:nvPr/>
        </p:nvSpPr>
        <p:spPr bwMode="auto">
          <a:xfrm>
            <a:off x="2068688" y="2582252"/>
            <a:ext cx="144056" cy="144018"/>
          </a:xfrm>
          <a:custGeom>
            <a:avLst/>
            <a:gdLst>
              <a:gd name="T0" fmla="*/ 174 w 347"/>
              <a:gd name="T1" fmla="*/ 0 h 347"/>
              <a:gd name="T2" fmla="*/ 0 w 347"/>
              <a:gd name="T3" fmla="*/ 174 h 347"/>
              <a:gd name="T4" fmla="*/ 174 w 347"/>
              <a:gd name="T5" fmla="*/ 347 h 347"/>
              <a:gd name="T6" fmla="*/ 347 w 347"/>
              <a:gd name="T7" fmla="*/ 174 h 347"/>
              <a:gd name="T8" fmla="*/ 174 w 347"/>
              <a:gd name="T9" fmla="*/ 0 h 347"/>
              <a:gd name="T10" fmla="*/ 332 w 347"/>
              <a:gd name="T11" fmla="*/ 166 h 347"/>
              <a:gd name="T12" fmla="*/ 283 w 347"/>
              <a:gd name="T13" fmla="*/ 166 h 347"/>
              <a:gd name="T14" fmla="*/ 231 w 347"/>
              <a:gd name="T15" fmla="*/ 26 h 347"/>
              <a:gd name="T16" fmla="*/ 332 w 347"/>
              <a:gd name="T17" fmla="*/ 166 h 347"/>
              <a:gd name="T18" fmla="*/ 174 w 347"/>
              <a:gd name="T19" fmla="*/ 332 h 347"/>
              <a:gd name="T20" fmla="*/ 147 w 347"/>
              <a:gd name="T21" fmla="*/ 181 h 347"/>
              <a:gd name="T22" fmla="*/ 200 w 347"/>
              <a:gd name="T23" fmla="*/ 181 h 347"/>
              <a:gd name="T24" fmla="*/ 174 w 347"/>
              <a:gd name="T25" fmla="*/ 332 h 347"/>
              <a:gd name="T26" fmla="*/ 147 w 347"/>
              <a:gd name="T27" fmla="*/ 166 h 347"/>
              <a:gd name="T28" fmla="*/ 174 w 347"/>
              <a:gd name="T29" fmla="*/ 15 h 347"/>
              <a:gd name="T30" fmla="*/ 174 w 347"/>
              <a:gd name="T31" fmla="*/ 15 h 347"/>
              <a:gd name="T32" fmla="*/ 200 w 347"/>
              <a:gd name="T33" fmla="*/ 166 h 347"/>
              <a:gd name="T34" fmla="*/ 147 w 347"/>
              <a:gd name="T35" fmla="*/ 166 h 347"/>
              <a:gd name="T36" fmla="*/ 153 w 347"/>
              <a:gd name="T37" fmla="*/ 19 h 347"/>
              <a:gd name="T38" fmla="*/ 133 w 347"/>
              <a:gd name="T39" fmla="*/ 166 h 347"/>
              <a:gd name="T40" fmla="*/ 79 w 347"/>
              <a:gd name="T41" fmla="*/ 166 h 347"/>
              <a:gd name="T42" fmla="*/ 153 w 347"/>
              <a:gd name="T43" fmla="*/ 19 h 347"/>
              <a:gd name="T44" fmla="*/ 133 w 347"/>
              <a:gd name="T45" fmla="*/ 181 h 347"/>
              <a:gd name="T46" fmla="*/ 153 w 347"/>
              <a:gd name="T47" fmla="*/ 329 h 347"/>
              <a:gd name="T48" fmla="*/ 79 w 347"/>
              <a:gd name="T49" fmla="*/ 181 h 347"/>
              <a:gd name="T50" fmla="*/ 133 w 347"/>
              <a:gd name="T51" fmla="*/ 181 h 347"/>
              <a:gd name="T52" fmla="*/ 194 w 347"/>
              <a:gd name="T53" fmla="*/ 329 h 347"/>
              <a:gd name="T54" fmla="*/ 215 w 347"/>
              <a:gd name="T55" fmla="*/ 181 h 347"/>
              <a:gd name="T56" fmla="*/ 268 w 347"/>
              <a:gd name="T57" fmla="*/ 181 h 347"/>
              <a:gd name="T58" fmla="*/ 194 w 347"/>
              <a:gd name="T59" fmla="*/ 329 h 347"/>
              <a:gd name="T60" fmla="*/ 215 w 347"/>
              <a:gd name="T61" fmla="*/ 166 h 347"/>
              <a:gd name="T62" fmla="*/ 194 w 347"/>
              <a:gd name="T63" fmla="*/ 19 h 347"/>
              <a:gd name="T64" fmla="*/ 268 w 347"/>
              <a:gd name="T65" fmla="*/ 166 h 347"/>
              <a:gd name="T66" fmla="*/ 215 w 347"/>
              <a:gd name="T67" fmla="*/ 166 h 347"/>
              <a:gd name="T68" fmla="*/ 117 w 347"/>
              <a:gd name="T69" fmla="*/ 26 h 347"/>
              <a:gd name="T70" fmla="*/ 64 w 347"/>
              <a:gd name="T71" fmla="*/ 166 h 347"/>
              <a:gd name="T72" fmla="*/ 15 w 347"/>
              <a:gd name="T73" fmla="*/ 166 h 347"/>
              <a:gd name="T74" fmla="*/ 117 w 347"/>
              <a:gd name="T75" fmla="*/ 26 h 347"/>
              <a:gd name="T76" fmla="*/ 15 w 347"/>
              <a:gd name="T77" fmla="*/ 181 h 347"/>
              <a:gd name="T78" fmla="*/ 64 w 347"/>
              <a:gd name="T79" fmla="*/ 181 h 347"/>
              <a:gd name="T80" fmla="*/ 117 w 347"/>
              <a:gd name="T81" fmla="*/ 322 h 347"/>
              <a:gd name="T82" fmla="*/ 15 w 347"/>
              <a:gd name="T83" fmla="*/ 181 h 347"/>
              <a:gd name="T84" fmla="*/ 231 w 347"/>
              <a:gd name="T85" fmla="*/ 322 h 347"/>
              <a:gd name="T86" fmla="*/ 283 w 347"/>
              <a:gd name="T87" fmla="*/ 181 h 347"/>
              <a:gd name="T88" fmla="*/ 332 w 347"/>
              <a:gd name="T89" fmla="*/ 181 h 347"/>
              <a:gd name="T90" fmla="*/ 231 w 347"/>
              <a:gd name="T91" fmla="*/ 322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7" h="347">
                <a:moveTo>
                  <a:pt x="174" y="0"/>
                </a:moveTo>
                <a:cubicBezTo>
                  <a:pt x="78" y="0"/>
                  <a:pt x="0" y="78"/>
                  <a:pt x="0" y="174"/>
                </a:cubicBezTo>
                <a:cubicBezTo>
                  <a:pt x="0" y="269"/>
                  <a:pt x="78" y="347"/>
                  <a:pt x="174" y="347"/>
                </a:cubicBezTo>
                <a:cubicBezTo>
                  <a:pt x="269" y="347"/>
                  <a:pt x="347" y="269"/>
                  <a:pt x="347" y="174"/>
                </a:cubicBezTo>
                <a:cubicBezTo>
                  <a:pt x="347" y="78"/>
                  <a:pt x="269" y="0"/>
                  <a:pt x="174" y="0"/>
                </a:cubicBezTo>
                <a:close/>
                <a:moveTo>
                  <a:pt x="332" y="166"/>
                </a:moveTo>
                <a:cubicBezTo>
                  <a:pt x="283" y="166"/>
                  <a:pt x="283" y="166"/>
                  <a:pt x="283" y="166"/>
                </a:cubicBezTo>
                <a:cubicBezTo>
                  <a:pt x="281" y="107"/>
                  <a:pt x="261" y="55"/>
                  <a:pt x="231" y="26"/>
                </a:cubicBezTo>
                <a:cubicBezTo>
                  <a:pt x="288" y="48"/>
                  <a:pt x="329" y="102"/>
                  <a:pt x="332" y="166"/>
                </a:cubicBezTo>
                <a:close/>
                <a:moveTo>
                  <a:pt x="174" y="332"/>
                </a:moveTo>
                <a:cubicBezTo>
                  <a:pt x="165" y="330"/>
                  <a:pt x="148" y="277"/>
                  <a:pt x="147" y="181"/>
                </a:cubicBezTo>
                <a:cubicBezTo>
                  <a:pt x="200" y="181"/>
                  <a:pt x="200" y="181"/>
                  <a:pt x="200" y="181"/>
                </a:cubicBezTo>
                <a:cubicBezTo>
                  <a:pt x="199" y="277"/>
                  <a:pt x="183" y="330"/>
                  <a:pt x="174" y="332"/>
                </a:cubicBezTo>
                <a:close/>
                <a:moveTo>
                  <a:pt x="147" y="166"/>
                </a:moveTo>
                <a:cubicBezTo>
                  <a:pt x="148" y="70"/>
                  <a:pt x="165" y="17"/>
                  <a:pt x="174" y="15"/>
                </a:cubicBezTo>
                <a:cubicBezTo>
                  <a:pt x="174" y="15"/>
                  <a:pt x="174" y="15"/>
                  <a:pt x="174" y="15"/>
                </a:cubicBezTo>
                <a:cubicBezTo>
                  <a:pt x="183" y="17"/>
                  <a:pt x="199" y="70"/>
                  <a:pt x="200" y="166"/>
                </a:cubicBezTo>
                <a:lnTo>
                  <a:pt x="147" y="166"/>
                </a:lnTo>
                <a:close/>
                <a:moveTo>
                  <a:pt x="153" y="19"/>
                </a:moveTo>
                <a:cubicBezTo>
                  <a:pt x="138" y="51"/>
                  <a:pt x="133" y="118"/>
                  <a:pt x="133" y="166"/>
                </a:cubicBezTo>
                <a:cubicBezTo>
                  <a:pt x="79" y="166"/>
                  <a:pt x="79" y="166"/>
                  <a:pt x="79" y="166"/>
                </a:cubicBezTo>
                <a:cubicBezTo>
                  <a:pt x="81" y="94"/>
                  <a:pt x="112" y="34"/>
                  <a:pt x="153" y="19"/>
                </a:cubicBezTo>
                <a:close/>
                <a:moveTo>
                  <a:pt x="133" y="181"/>
                </a:moveTo>
                <a:cubicBezTo>
                  <a:pt x="133" y="229"/>
                  <a:pt x="138" y="296"/>
                  <a:pt x="153" y="329"/>
                </a:cubicBezTo>
                <a:cubicBezTo>
                  <a:pt x="112" y="313"/>
                  <a:pt x="81" y="254"/>
                  <a:pt x="79" y="181"/>
                </a:cubicBezTo>
                <a:lnTo>
                  <a:pt x="133" y="181"/>
                </a:lnTo>
                <a:close/>
                <a:moveTo>
                  <a:pt x="194" y="329"/>
                </a:moveTo>
                <a:cubicBezTo>
                  <a:pt x="209" y="296"/>
                  <a:pt x="214" y="229"/>
                  <a:pt x="215" y="181"/>
                </a:cubicBezTo>
                <a:cubicBezTo>
                  <a:pt x="268" y="181"/>
                  <a:pt x="268" y="181"/>
                  <a:pt x="268" y="181"/>
                </a:cubicBezTo>
                <a:cubicBezTo>
                  <a:pt x="266" y="254"/>
                  <a:pt x="235" y="313"/>
                  <a:pt x="194" y="329"/>
                </a:cubicBezTo>
                <a:close/>
                <a:moveTo>
                  <a:pt x="215" y="166"/>
                </a:moveTo>
                <a:cubicBezTo>
                  <a:pt x="214" y="118"/>
                  <a:pt x="209" y="51"/>
                  <a:pt x="194" y="19"/>
                </a:cubicBezTo>
                <a:cubicBezTo>
                  <a:pt x="235" y="34"/>
                  <a:pt x="266" y="94"/>
                  <a:pt x="268" y="166"/>
                </a:cubicBezTo>
                <a:lnTo>
                  <a:pt x="215" y="166"/>
                </a:lnTo>
                <a:close/>
                <a:moveTo>
                  <a:pt x="117" y="26"/>
                </a:moveTo>
                <a:cubicBezTo>
                  <a:pt x="87" y="55"/>
                  <a:pt x="66" y="107"/>
                  <a:pt x="64" y="166"/>
                </a:cubicBezTo>
                <a:cubicBezTo>
                  <a:pt x="15" y="166"/>
                  <a:pt x="15" y="166"/>
                  <a:pt x="15" y="166"/>
                </a:cubicBezTo>
                <a:cubicBezTo>
                  <a:pt x="18" y="102"/>
                  <a:pt x="59" y="48"/>
                  <a:pt x="117" y="26"/>
                </a:cubicBezTo>
                <a:close/>
                <a:moveTo>
                  <a:pt x="15" y="181"/>
                </a:moveTo>
                <a:cubicBezTo>
                  <a:pt x="64" y="181"/>
                  <a:pt x="64" y="181"/>
                  <a:pt x="64" y="181"/>
                </a:cubicBezTo>
                <a:cubicBezTo>
                  <a:pt x="66" y="241"/>
                  <a:pt x="87" y="292"/>
                  <a:pt x="117" y="322"/>
                </a:cubicBezTo>
                <a:cubicBezTo>
                  <a:pt x="59" y="300"/>
                  <a:pt x="18" y="245"/>
                  <a:pt x="15" y="181"/>
                </a:cubicBezTo>
                <a:close/>
                <a:moveTo>
                  <a:pt x="231" y="322"/>
                </a:moveTo>
                <a:cubicBezTo>
                  <a:pt x="261" y="292"/>
                  <a:pt x="281" y="241"/>
                  <a:pt x="283" y="181"/>
                </a:cubicBezTo>
                <a:cubicBezTo>
                  <a:pt x="332" y="181"/>
                  <a:pt x="332" y="181"/>
                  <a:pt x="332" y="181"/>
                </a:cubicBezTo>
                <a:cubicBezTo>
                  <a:pt x="329" y="245"/>
                  <a:pt x="288" y="300"/>
                  <a:pt x="231" y="322"/>
                </a:cubicBezTo>
                <a:close/>
              </a:path>
            </a:pathLst>
          </a:custGeom>
          <a:solidFill>
            <a:schemeClr val="tx1"/>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123" name="Freeform 78"/>
          <p:cNvSpPr>
            <a:spLocks noEditPoints="1"/>
          </p:cNvSpPr>
          <p:nvPr/>
        </p:nvSpPr>
        <p:spPr bwMode="auto">
          <a:xfrm>
            <a:off x="1473880" y="2154249"/>
            <a:ext cx="144056" cy="144018"/>
          </a:xfrm>
          <a:custGeom>
            <a:avLst/>
            <a:gdLst>
              <a:gd name="T0" fmla="*/ 174 w 347"/>
              <a:gd name="T1" fmla="*/ 0 h 347"/>
              <a:gd name="T2" fmla="*/ 0 w 347"/>
              <a:gd name="T3" fmla="*/ 174 h 347"/>
              <a:gd name="T4" fmla="*/ 174 w 347"/>
              <a:gd name="T5" fmla="*/ 347 h 347"/>
              <a:gd name="T6" fmla="*/ 347 w 347"/>
              <a:gd name="T7" fmla="*/ 174 h 347"/>
              <a:gd name="T8" fmla="*/ 174 w 347"/>
              <a:gd name="T9" fmla="*/ 0 h 347"/>
              <a:gd name="T10" fmla="*/ 332 w 347"/>
              <a:gd name="T11" fmla="*/ 166 h 347"/>
              <a:gd name="T12" fmla="*/ 283 w 347"/>
              <a:gd name="T13" fmla="*/ 166 h 347"/>
              <a:gd name="T14" fmla="*/ 231 w 347"/>
              <a:gd name="T15" fmla="*/ 26 h 347"/>
              <a:gd name="T16" fmla="*/ 332 w 347"/>
              <a:gd name="T17" fmla="*/ 166 h 347"/>
              <a:gd name="T18" fmla="*/ 174 w 347"/>
              <a:gd name="T19" fmla="*/ 332 h 347"/>
              <a:gd name="T20" fmla="*/ 147 w 347"/>
              <a:gd name="T21" fmla="*/ 181 h 347"/>
              <a:gd name="T22" fmla="*/ 200 w 347"/>
              <a:gd name="T23" fmla="*/ 181 h 347"/>
              <a:gd name="T24" fmla="*/ 174 w 347"/>
              <a:gd name="T25" fmla="*/ 332 h 347"/>
              <a:gd name="T26" fmla="*/ 147 w 347"/>
              <a:gd name="T27" fmla="*/ 166 h 347"/>
              <a:gd name="T28" fmla="*/ 174 w 347"/>
              <a:gd name="T29" fmla="*/ 15 h 347"/>
              <a:gd name="T30" fmla="*/ 174 w 347"/>
              <a:gd name="T31" fmla="*/ 15 h 347"/>
              <a:gd name="T32" fmla="*/ 200 w 347"/>
              <a:gd name="T33" fmla="*/ 166 h 347"/>
              <a:gd name="T34" fmla="*/ 147 w 347"/>
              <a:gd name="T35" fmla="*/ 166 h 347"/>
              <a:gd name="T36" fmla="*/ 153 w 347"/>
              <a:gd name="T37" fmla="*/ 19 h 347"/>
              <a:gd name="T38" fmla="*/ 133 w 347"/>
              <a:gd name="T39" fmla="*/ 166 h 347"/>
              <a:gd name="T40" fmla="*/ 79 w 347"/>
              <a:gd name="T41" fmla="*/ 166 h 347"/>
              <a:gd name="T42" fmla="*/ 153 w 347"/>
              <a:gd name="T43" fmla="*/ 19 h 347"/>
              <a:gd name="T44" fmla="*/ 133 w 347"/>
              <a:gd name="T45" fmla="*/ 181 h 347"/>
              <a:gd name="T46" fmla="*/ 153 w 347"/>
              <a:gd name="T47" fmla="*/ 329 h 347"/>
              <a:gd name="T48" fmla="*/ 79 w 347"/>
              <a:gd name="T49" fmla="*/ 181 h 347"/>
              <a:gd name="T50" fmla="*/ 133 w 347"/>
              <a:gd name="T51" fmla="*/ 181 h 347"/>
              <a:gd name="T52" fmla="*/ 194 w 347"/>
              <a:gd name="T53" fmla="*/ 329 h 347"/>
              <a:gd name="T54" fmla="*/ 215 w 347"/>
              <a:gd name="T55" fmla="*/ 181 h 347"/>
              <a:gd name="T56" fmla="*/ 268 w 347"/>
              <a:gd name="T57" fmla="*/ 181 h 347"/>
              <a:gd name="T58" fmla="*/ 194 w 347"/>
              <a:gd name="T59" fmla="*/ 329 h 347"/>
              <a:gd name="T60" fmla="*/ 215 w 347"/>
              <a:gd name="T61" fmla="*/ 166 h 347"/>
              <a:gd name="T62" fmla="*/ 194 w 347"/>
              <a:gd name="T63" fmla="*/ 19 h 347"/>
              <a:gd name="T64" fmla="*/ 268 w 347"/>
              <a:gd name="T65" fmla="*/ 166 h 347"/>
              <a:gd name="T66" fmla="*/ 215 w 347"/>
              <a:gd name="T67" fmla="*/ 166 h 347"/>
              <a:gd name="T68" fmla="*/ 117 w 347"/>
              <a:gd name="T69" fmla="*/ 26 h 347"/>
              <a:gd name="T70" fmla="*/ 64 w 347"/>
              <a:gd name="T71" fmla="*/ 166 h 347"/>
              <a:gd name="T72" fmla="*/ 15 w 347"/>
              <a:gd name="T73" fmla="*/ 166 h 347"/>
              <a:gd name="T74" fmla="*/ 117 w 347"/>
              <a:gd name="T75" fmla="*/ 26 h 347"/>
              <a:gd name="T76" fmla="*/ 15 w 347"/>
              <a:gd name="T77" fmla="*/ 181 h 347"/>
              <a:gd name="T78" fmla="*/ 64 w 347"/>
              <a:gd name="T79" fmla="*/ 181 h 347"/>
              <a:gd name="T80" fmla="*/ 117 w 347"/>
              <a:gd name="T81" fmla="*/ 322 h 347"/>
              <a:gd name="T82" fmla="*/ 15 w 347"/>
              <a:gd name="T83" fmla="*/ 181 h 347"/>
              <a:gd name="T84" fmla="*/ 231 w 347"/>
              <a:gd name="T85" fmla="*/ 322 h 347"/>
              <a:gd name="T86" fmla="*/ 283 w 347"/>
              <a:gd name="T87" fmla="*/ 181 h 347"/>
              <a:gd name="T88" fmla="*/ 332 w 347"/>
              <a:gd name="T89" fmla="*/ 181 h 347"/>
              <a:gd name="T90" fmla="*/ 231 w 347"/>
              <a:gd name="T91" fmla="*/ 322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7" h="347">
                <a:moveTo>
                  <a:pt x="174" y="0"/>
                </a:moveTo>
                <a:cubicBezTo>
                  <a:pt x="78" y="0"/>
                  <a:pt x="0" y="78"/>
                  <a:pt x="0" y="174"/>
                </a:cubicBezTo>
                <a:cubicBezTo>
                  <a:pt x="0" y="269"/>
                  <a:pt x="78" y="347"/>
                  <a:pt x="174" y="347"/>
                </a:cubicBezTo>
                <a:cubicBezTo>
                  <a:pt x="269" y="347"/>
                  <a:pt x="347" y="269"/>
                  <a:pt x="347" y="174"/>
                </a:cubicBezTo>
                <a:cubicBezTo>
                  <a:pt x="347" y="78"/>
                  <a:pt x="269" y="0"/>
                  <a:pt x="174" y="0"/>
                </a:cubicBezTo>
                <a:close/>
                <a:moveTo>
                  <a:pt x="332" y="166"/>
                </a:moveTo>
                <a:cubicBezTo>
                  <a:pt x="283" y="166"/>
                  <a:pt x="283" y="166"/>
                  <a:pt x="283" y="166"/>
                </a:cubicBezTo>
                <a:cubicBezTo>
                  <a:pt x="281" y="107"/>
                  <a:pt x="261" y="55"/>
                  <a:pt x="231" y="26"/>
                </a:cubicBezTo>
                <a:cubicBezTo>
                  <a:pt x="288" y="48"/>
                  <a:pt x="329" y="102"/>
                  <a:pt x="332" y="166"/>
                </a:cubicBezTo>
                <a:close/>
                <a:moveTo>
                  <a:pt x="174" y="332"/>
                </a:moveTo>
                <a:cubicBezTo>
                  <a:pt x="165" y="330"/>
                  <a:pt x="148" y="277"/>
                  <a:pt x="147" y="181"/>
                </a:cubicBezTo>
                <a:cubicBezTo>
                  <a:pt x="200" y="181"/>
                  <a:pt x="200" y="181"/>
                  <a:pt x="200" y="181"/>
                </a:cubicBezTo>
                <a:cubicBezTo>
                  <a:pt x="199" y="277"/>
                  <a:pt x="183" y="330"/>
                  <a:pt x="174" y="332"/>
                </a:cubicBezTo>
                <a:close/>
                <a:moveTo>
                  <a:pt x="147" y="166"/>
                </a:moveTo>
                <a:cubicBezTo>
                  <a:pt x="148" y="70"/>
                  <a:pt x="165" y="17"/>
                  <a:pt x="174" y="15"/>
                </a:cubicBezTo>
                <a:cubicBezTo>
                  <a:pt x="174" y="15"/>
                  <a:pt x="174" y="15"/>
                  <a:pt x="174" y="15"/>
                </a:cubicBezTo>
                <a:cubicBezTo>
                  <a:pt x="183" y="17"/>
                  <a:pt x="199" y="70"/>
                  <a:pt x="200" y="166"/>
                </a:cubicBezTo>
                <a:lnTo>
                  <a:pt x="147" y="166"/>
                </a:lnTo>
                <a:close/>
                <a:moveTo>
                  <a:pt x="153" y="19"/>
                </a:moveTo>
                <a:cubicBezTo>
                  <a:pt x="138" y="51"/>
                  <a:pt x="133" y="118"/>
                  <a:pt x="133" y="166"/>
                </a:cubicBezTo>
                <a:cubicBezTo>
                  <a:pt x="79" y="166"/>
                  <a:pt x="79" y="166"/>
                  <a:pt x="79" y="166"/>
                </a:cubicBezTo>
                <a:cubicBezTo>
                  <a:pt x="81" y="94"/>
                  <a:pt x="112" y="34"/>
                  <a:pt x="153" y="19"/>
                </a:cubicBezTo>
                <a:close/>
                <a:moveTo>
                  <a:pt x="133" y="181"/>
                </a:moveTo>
                <a:cubicBezTo>
                  <a:pt x="133" y="229"/>
                  <a:pt x="138" y="296"/>
                  <a:pt x="153" y="329"/>
                </a:cubicBezTo>
                <a:cubicBezTo>
                  <a:pt x="112" y="313"/>
                  <a:pt x="81" y="254"/>
                  <a:pt x="79" y="181"/>
                </a:cubicBezTo>
                <a:lnTo>
                  <a:pt x="133" y="181"/>
                </a:lnTo>
                <a:close/>
                <a:moveTo>
                  <a:pt x="194" y="329"/>
                </a:moveTo>
                <a:cubicBezTo>
                  <a:pt x="209" y="296"/>
                  <a:pt x="214" y="229"/>
                  <a:pt x="215" y="181"/>
                </a:cubicBezTo>
                <a:cubicBezTo>
                  <a:pt x="268" y="181"/>
                  <a:pt x="268" y="181"/>
                  <a:pt x="268" y="181"/>
                </a:cubicBezTo>
                <a:cubicBezTo>
                  <a:pt x="266" y="254"/>
                  <a:pt x="235" y="313"/>
                  <a:pt x="194" y="329"/>
                </a:cubicBezTo>
                <a:close/>
                <a:moveTo>
                  <a:pt x="215" y="166"/>
                </a:moveTo>
                <a:cubicBezTo>
                  <a:pt x="214" y="118"/>
                  <a:pt x="209" y="51"/>
                  <a:pt x="194" y="19"/>
                </a:cubicBezTo>
                <a:cubicBezTo>
                  <a:pt x="235" y="34"/>
                  <a:pt x="266" y="94"/>
                  <a:pt x="268" y="166"/>
                </a:cubicBezTo>
                <a:lnTo>
                  <a:pt x="215" y="166"/>
                </a:lnTo>
                <a:close/>
                <a:moveTo>
                  <a:pt x="117" y="26"/>
                </a:moveTo>
                <a:cubicBezTo>
                  <a:pt x="87" y="55"/>
                  <a:pt x="66" y="107"/>
                  <a:pt x="64" y="166"/>
                </a:cubicBezTo>
                <a:cubicBezTo>
                  <a:pt x="15" y="166"/>
                  <a:pt x="15" y="166"/>
                  <a:pt x="15" y="166"/>
                </a:cubicBezTo>
                <a:cubicBezTo>
                  <a:pt x="18" y="102"/>
                  <a:pt x="59" y="48"/>
                  <a:pt x="117" y="26"/>
                </a:cubicBezTo>
                <a:close/>
                <a:moveTo>
                  <a:pt x="15" y="181"/>
                </a:moveTo>
                <a:cubicBezTo>
                  <a:pt x="64" y="181"/>
                  <a:pt x="64" y="181"/>
                  <a:pt x="64" y="181"/>
                </a:cubicBezTo>
                <a:cubicBezTo>
                  <a:pt x="66" y="241"/>
                  <a:pt x="87" y="292"/>
                  <a:pt x="117" y="322"/>
                </a:cubicBezTo>
                <a:cubicBezTo>
                  <a:pt x="59" y="300"/>
                  <a:pt x="18" y="245"/>
                  <a:pt x="15" y="181"/>
                </a:cubicBezTo>
                <a:close/>
                <a:moveTo>
                  <a:pt x="231" y="322"/>
                </a:moveTo>
                <a:cubicBezTo>
                  <a:pt x="261" y="292"/>
                  <a:pt x="281" y="241"/>
                  <a:pt x="283" y="181"/>
                </a:cubicBezTo>
                <a:cubicBezTo>
                  <a:pt x="332" y="181"/>
                  <a:pt x="332" y="181"/>
                  <a:pt x="332" y="181"/>
                </a:cubicBezTo>
                <a:cubicBezTo>
                  <a:pt x="329" y="245"/>
                  <a:pt x="288" y="300"/>
                  <a:pt x="231" y="322"/>
                </a:cubicBezTo>
                <a:close/>
              </a:path>
            </a:pathLst>
          </a:custGeom>
          <a:solidFill>
            <a:schemeClr val="tx1"/>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124" name="Freeform 78"/>
          <p:cNvSpPr>
            <a:spLocks noEditPoints="1"/>
          </p:cNvSpPr>
          <p:nvPr/>
        </p:nvSpPr>
        <p:spPr bwMode="auto">
          <a:xfrm>
            <a:off x="4015624" y="1991864"/>
            <a:ext cx="144056" cy="144018"/>
          </a:xfrm>
          <a:custGeom>
            <a:avLst/>
            <a:gdLst>
              <a:gd name="T0" fmla="*/ 174 w 347"/>
              <a:gd name="T1" fmla="*/ 0 h 347"/>
              <a:gd name="T2" fmla="*/ 0 w 347"/>
              <a:gd name="T3" fmla="*/ 174 h 347"/>
              <a:gd name="T4" fmla="*/ 174 w 347"/>
              <a:gd name="T5" fmla="*/ 347 h 347"/>
              <a:gd name="T6" fmla="*/ 347 w 347"/>
              <a:gd name="T7" fmla="*/ 174 h 347"/>
              <a:gd name="T8" fmla="*/ 174 w 347"/>
              <a:gd name="T9" fmla="*/ 0 h 347"/>
              <a:gd name="T10" fmla="*/ 332 w 347"/>
              <a:gd name="T11" fmla="*/ 166 h 347"/>
              <a:gd name="T12" fmla="*/ 283 w 347"/>
              <a:gd name="T13" fmla="*/ 166 h 347"/>
              <a:gd name="T14" fmla="*/ 231 w 347"/>
              <a:gd name="T15" fmla="*/ 26 h 347"/>
              <a:gd name="T16" fmla="*/ 332 w 347"/>
              <a:gd name="T17" fmla="*/ 166 h 347"/>
              <a:gd name="T18" fmla="*/ 174 w 347"/>
              <a:gd name="T19" fmla="*/ 332 h 347"/>
              <a:gd name="T20" fmla="*/ 147 w 347"/>
              <a:gd name="T21" fmla="*/ 181 h 347"/>
              <a:gd name="T22" fmla="*/ 200 w 347"/>
              <a:gd name="T23" fmla="*/ 181 h 347"/>
              <a:gd name="T24" fmla="*/ 174 w 347"/>
              <a:gd name="T25" fmla="*/ 332 h 347"/>
              <a:gd name="T26" fmla="*/ 147 w 347"/>
              <a:gd name="T27" fmla="*/ 166 h 347"/>
              <a:gd name="T28" fmla="*/ 174 w 347"/>
              <a:gd name="T29" fmla="*/ 15 h 347"/>
              <a:gd name="T30" fmla="*/ 174 w 347"/>
              <a:gd name="T31" fmla="*/ 15 h 347"/>
              <a:gd name="T32" fmla="*/ 200 w 347"/>
              <a:gd name="T33" fmla="*/ 166 h 347"/>
              <a:gd name="T34" fmla="*/ 147 w 347"/>
              <a:gd name="T35" fmla="*/ 166 h 347"/>
              <a:gd name="T36" fmla="*/ 153 w 347"/>
              <a:gd name="T37" fmla="*/ 19 h 347"/>
              <a:gd name="T38" fmla="*/ 133 w 347"/>
              <a:gd name="T39" fmla="*/ 166 h 347"/>
              <a:gd name="T40" fmla="*/ 79 w 347"/>
              <a:gd name="T41" fmla="*/ 166 h 347"/>
              <a:gd name="T42" fmla="*/ 153 w 347"/>
              <a:gd name="T43" fmla="*/ 19 h 347"/>
              <a:gd name="T44" fmla="*/ 133 w 347"/>
              <a:gd name="T45" fmla="*/ 181 h 347"/>
              <a:gd name="T46" fmla="*/ 153 w 347"/>
              <a:gd name="T47" fmla="*/ 329 h 347"/>
              <a:gd name="T48" fmla="*/ 79 w 347"/>
              <a:gd name="T49" fmla="*/ 181 h 347"/>
              <a:gd name="T50" fmla="*/ 133 w 347"/>
              <a:gd name="T51" fmla="*/ 181 h 347"/>
              <a:gd name="T52" fmla="*/ 194 w 347"/>
              <a:gd name="T53" fmla="*/ 329 h 347"/>
              <a:gd name="T54" fmla="*/ 215 w 347"/>
              <a:gd name="T55" fmla="*/ 181 h 347"/>
              <a:gd name="T56" fmla="*/ 268 w 347"/>
              <a:gd name="T57" fmla="*/ 181 h 347"/>
              <a:gd name="T58" fmla="*/ 194 w 347"/>
              <a:gd name="T59" fmla="*/ 329 h 347"/>
              <a:gd name="T60" fmla="*/ 215 w 347"/>
              <a:gd name="T61" fmla="*/ 166 h 347"/>
              <a:gd name="T62" fmla="*/ 194 w 347"/>
              <a:gd name="T63" fmla="*/ 19 h 347"/>
              <a:gd name="T64" fmla="*/ 268 w 347"/>
              <a:gd name="T65" fmla="*/ 166 h 347"/>
              <a:gd name="T66" fmla="*/ 215 w 347"/>
              <a:gd name="T67" fmla="*/ 166 h 347"/>
              <a:gd name="T68" fmla="*/ 117 w 347"/>
              <a:gd name="T69" fmla="*/ 26 h 347"/>
              <a:gd name="T70" fmla="*/ 64 w 347"/>
              <a:gd name="T71" fmla="*/ 166 h 347"/>
              <a:gd name="T72" fmla="*/ 15 w 347"/>
              <a:gd name="T73" fmla="*/ 166 h 347"/>
              <a:gd name="T74" fmla="*/ 117 w 347"/>
              <a:gd name="T75" fmla="*/ 26 h 347"/>
              <a:gd name="T76" fmla="*/ 15 w 347"/>
              <a:gd name="T77" fmla="*/ 181 h 347"/>
              <a:gd name="T78" fmla="*/ 64 w 347"/>
              <a:gd name="T79" fmla="*/ 181 h 347"/>
              <a:gd name="T80" fmla="*/ 117 w 347"/>
              <a:gd name="T81" fmla="*/ 322 h 347"/>
              <a:gd name="T82" fmla="*/ 15 w 347"/>
              <a:gd name="T83" fmla="*/ 181 h 347"/>
              <a:gd name="T84" fmla="*/ 231 w 347"/>
              <a:gd name="T85" fmla="*/ 322 h 347"/>
              <a:gd name="T86" fmla="*/ 283 w 347"/>
              <a:gd name="T87" fmla="*/ 181 h 347"/>
              <a:gd name="T88" fmla="*/ 332 w 347"/>
              <a:gd name="T89" fmla="*/ 181 h 347"/>
              <a:gd name="T90" fmla="*/ 231 w 347"/>
              <a:gd name="T91" fmla="*/ 322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7" h="347">
                <a:moveTo>
                  <a:pt x="174" y="0"/>
                </a:moveTo>
                <a:cubicBezTo>
                  <a:pt x="78" y="0"/>
                  <a:pt x="0" y="78"/>
                  <a:pt x="0" y="174"/>
                </a:cubicBezTo>
                <a:cubicBezTo>
                  <a:pt x="0" y="269"/>
                  <a:pt x="78" y="347"/>
                  <a:pt x="174" y="347"/>
                </a:cubicBezTo>
                <a:cubicBezTo>
                  <a:pt x="269" y="347"/>
                  <a:pt x="347" y="269"/>
                  <a:pt x="347" y="174"/>
                </a:cubicBezTo>
                <a:cubicBezTo>
                  <a:pt x="347" y="78"/>
                  <a:pt x="269" y="0"/>
                  <a:pt x="174" y="0"/>
                </a:cubicBezTo>
                <a:close/>
                <a:moveTo>
                  <a:pt x="332" y="166"/>
                </a:moveTo>
                <a:cubicBezTo>
                  <a:pt x="283" y="166"/>
                  <a:pt x="283" y="166"/>
                  <a:pt x="283" y="166"/>
                </a:cubicBezTo>
                <a:cubicBezTo>
                  <a:pt x="281" y="107"/>
                  <a:pt x="261" y="55"/>
                  <a:pt x="231" y="26"/>
                </a:cubicBezTo>
                <a:cubicBezTo>
                  <a:pt x="288" y="48"/>
                  <a:pt x="329" y="102"/>
                  <a:pt x="332" y="166"/>
                </a:cubicBezTo>
                <a:close/>
                <a:moveTo>
                  <a:pt x="174" y="332"/>
                </a:moveTo>
                <a:cubicBezTo>
                  <a:pt x="165" y="330"/>
                  <a:pt x="148" y="277"/>
                  <a:pt x="147" y="181"/>
                </a:cubicBezTo>
                <a:cubicBezTo>
                  <a:pt x="200" y="181"/>
                  <a:pt x="200" y="181"/>
                  <a:pt x="200" y="181"/>
                </a:cubicBezTo>
                <a:cubicBezTo>
                  <a:pt x="199" y="277"/>
                  <a:pt x="183" y="330"/>
                  <a:pt x="174" y="332"/>
                </a:cubicBezTo>
                <a:close/>
                <a:moveTo>
                  <a:pt x="147" y="166"/>
                </a:moveTo>
                <a:cubicBezTo>
                  <a:pt x="148" y="70"/>
                  <a:pt x="165" y="17"/>
                  <a:pt x="174" y="15"/>
                </a:cubicBezTo>
                <a:cubicBezTo>
                  <a:pt x="174" y="15"/>
                  <a:pt x="174" y="15"/>
                  <a:pt x="174" y="15"/>
                </a:cubicBezTo>
                <a:cubicBezTo>
                  <a:pt x="183" y="17"/>
                  <a:pt x="199" y="70"/>
                  <a:pt x="200" y="166"/>
                </a:cubicBezTo>
                <a:lnTo>
                  <a:pt x="147" y="166"/>
                </a:lnTo>
                <a:close/>
                <a:moveTo>
                  <a:pt x="153" y="19"/>
                </a:moveTo>
                <a:cubicBezTo>
                  <a:pt x="138" y="51"/>
                  <a:pt x="133" y="118"/>
                  <a:pt x="133" y="166"/>
                </a:cubicBezTo>
                <a:cubicBezTo>
                  <a:pt x="79" y="166"/>
                  <a:pt x="79" y="166"/>
                  <a:pt x="79" y="166"/>
                </a:cubicBezTo>
                <a:cubicBezTo>
                  <a:pt x="81" y="94"/>
                  <a:pt x="112" y="34"/>
                  <a:pt x="153" y="19"/>
                </a:cubicBezTo>
                <a:close/>
                <a:moveTo>
                  <a:pt x="133" y="181"/>
                </a:moveTo>
                <a:cubicBezTo>
                  <a:pt x="133" y="229"/>
                  <a:pt x="138" y="296"/>
                  <a:pt x="153" y="329"/>
                </a:cubicBezTo>
                <a:cubicBezTo>
                  <a:pt x="112" y="313"/>
                  <a:pt x="81" y="254"/>
                  <a:pt x="79" y="181"/>
                </a:cubicBezTo>
                <a:lnTo>
                  <a:pt x="133" y="181"/>
                </a:lnTo>
                <a:close/>
                <a:moveTo>
                  <a:pt x="194" y="329"/>
                </a:moveTo>
                <a:cubicBezTo>
                  <a:pt x="209" y="296"/>
                  <a:pt x="214" y="229"/>
                  <a:pt x="215" y="181"/>
                </a:cubicBezTo>
                <a:cubicBezTo>
                  <a:pt x="268" y="181"/>
                  <a:pt x="268" y="181"/>
                  <a:pt x="268" y="181"/>
                </a:cubicBezTo>
                <a:cubicBezTo>
                  <a:pt x="266" y="254"/>
                  <a:pt x="235" y="313"/>
                  <a:pt x="194" y="329"/>
                </a:cubicBezTo>
                <a:close/>
                <a:moveTo>
                  <a:pt x="215" y="166"/>
                </a:moveTo>
                <a:cubicBezTo>
                  <a:pt x="214" y="118"/>
                  <a:pt x="209" y="51"/>
                  <a:pt x="194" y="19"/>
                </a:cubicBezTo>
                <a:cubicBezTo>
                  <a:pt x="235" y="34"/>
                  <a:pt x="266" y="94"/>
                  <a:pt x="268" y="166"/>
                </a:cubicBezTo>
                <a:lnTo>
                  <a:pt x="215" y="166"/>
                </a:lnTo>
                <a:close/>
                <a:moveTo>
                  <a:pt x="117" y="26"/>
                </a:moveTo>
                <a:cubicBezTo>
                  <a:pt x="87" y="55"/>
                  <a:pt x="66" y="107"/>
                  <a:pt x="64" y="166"/>
                </a:cubicBezTo>
                <a:cubicBezTo>
                  <a:pt x="15" y="166"/>
                  <a:pt x="15" y="166"/>
                  <a:pt x="15" y="166"/>
                </a:cubicBezTo>
                <a:cubicBezTo>
                  <a:pt x="18" y="102"/>
                  <a:pt x="59" y="48"/>
                  <a:pt x="117" y="26"/>
                </a:cubicBezTo>
                <a:close/>
                <a:moveTo>
                  <a:pt x="15" y="181"/>
                </a:moveTo>
                <a:cubicBezTo>
                  <a:pt x="64" y="181"/>
                  <a:pt x="64" y="181"/>
                  <a:pt x="64" y="181"/>
                </a:cubicBezTo>
                <a:cubicBezTo>
                  <a:pt x="66" y="241"/>
                  <a:pt x="87" y="292"/>
                  <a:pt x="117" y="322"/>
                </a:cubicBezTo>
                <a:cubicBezTo>
                  <a:pt x="59" y="300"/>
                  <a:pt x="18" y="245"/>
                  <a:pt x="15" y="181"/>
                </a:cubicBezTo>
                <a:close/>
                <a:moveTo>
                  <a:pt x="231" y="322"/>
                </a:moveTo>
                <a:cubicBezTo>
                  <a:pt x="261" y="292"/>
                  <a:pt x="281" y="241"/>
                  <a:pt x="283" y="181"/>
                </a:cubicBezTo>
                <a:cubicBezTo>
                  <a:pt x="332" y="181"/>
                  <a:pt x="332" y="181"/>
                  <a:pt x="332" y="181"/>
                </a:cubicBezTo>
                <a:cubicBezTo>
                  <a:pt x="329" y="245"/>
                  <a:pt x="288" y="300"/>
                  <a:pt x="231" y="322"/>
                </a:cubicBezTo>
                <a:close/>
              </a:path>
            </a:pathLst>
          </a:custGeom>
          <a:solidFill>
            <a:schemeClr val="tx1"/>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125" name="Freeform 78"/>
          <p:cNvSpPr>
            <a:spLocks noEditPoints="1"/>
          </p:cNvSpPr>
          <p:nvPr/>
        </p:nvSpPr>
        <p:spPr bwMode="auto">
          <a:xfrm>
            <a:off x="4497624" y="2160239"/>
            <a:ext cx="144056" cy="144018"/>
          </a:xfrm>
          <a:custGeom>
            <a:avLst/>
            <a:gdLst>
              <a:gd name="T0" fmla="*/ 174 w 347"/>
              <a:gd name="T1" fmla="*/ 0 h 347"/>
              <a:gd name="T2" fmla="*/ 0 w 347"/>
              <a:gd name="T3" fmla="*/ 174 h 347"/>
              <a:gd name="T4" fmla="*/ 174 w 347"/>
              <a:gd name="T5" fmla="*/ 347 h 347"/>
              <a:gd name="T6" fmla="*/ 347 w 347"/>
              <a:gd name="T7" fmla="*/ 174 h 347"/>
              <a:gd name="T8" fmla="*/ 174 w 347"/>
              <a:gd name="T9" fmla="*/ 0 h 347"/>
              <a:gd name="T10" fmla="*/ 332 w 347"/>
              <a:gd name="T11" fmla="*/ 166 h 347"/>
              <a:gd name="T12" fmla="*/ 283 w 347"/>
              <a:gd name="T13" fmla="*/ 166 h 347"/>
              <a:gd name="T14" fmla="*/ 231 w 347"/>
              <a:gd name="T15" fmla="*/ 26 h 347"/>
              <a:gd name="T16" fmla="*/ 332 w 347"/>
              <a:gd name="T17" fmla="*/ 166 h 347"/>
              <a:gd name="T18" fmla="*/ 174 w 347"/>
              <a:gd name="T19" fmla="*/ 332 h 347"/>
              <a:gd name="T20" fmla="*/ 147 w 347"/>
              <a:gd name="T21" fmla="*/ 181 h 347"/>
              <a:gd name="T22" fmla="*/ 200 w 347"/>
              <a:gd name="T23" fmla="*/ 181 h 347"/>
              <a:gd name="T24" fmla="*/ 174 w 347"/>
              <a:gd name="T25" fmla="*/ 332 h 347"/>
              <a:gd name="T26" fmla="*/ 147 w 347"/>
              <a:gd name="T27" fmla="*/ 166 h 347"/>
              <a:gd name="T28" fmla="*/ 174 w 347"/>
              <a:gd name="T29" fmla="*/ 15 h 347"/>
              <a:gd name="T30" fmla="*/ 174 w 347"/>
              <a:gd name="T31" fmla="*/ 15 h 347"/>
              <a:gd name="T32" fmla="*/ 200 w 347"/>
              <a:gd name="T33" fmla="*/ 166 h 347"/>
              <a:gd name="T34" fmla="*/ 147 w 347"/>
              <a:gd name="T35" fmla="*/ 166 h 347"/>
              <a:gd name="T36" fmla="*/ 153 w 347"/>
              <a:gd name="T37" fmla="*/ 19 h 347"/>
              <a:gd name="T38" fmla="*/ 133 w 347"/>
              <a:gd name="T39" fmla="*/ 166 h 347"/>
              <a:gd name="T40" fmla="*/ 79 w 347"/>
              <a:gd name="T41" fmla="*/ 166 h 347"/>
              <a:gd name="T42" fmla="*/ 153 w 347"/>
              <a:gd name="T43" fmla="*/ 19 h 347"/>
              <a:gd name="T44" fmla="*/ 133 w 347"/>
              <a:gd name="T45" fmla="*/ 181 h 347"/>
              <a:gd name="T46" fmla="*/ 153 w 347"/>
              <a:gd name="T47" fmla="*/ 329 h 347"/>
              <a:gd name="T48" fmla="*/ 79 w 347"/>
              <a:gd name="T49" fmla="*/ 181 h 347"/>
              <a:gd name="T50" fmla="*/ 133 w 347"/>
              <a:gd name="T51" fmla="*/ 181 h 347"/>
              <a:gd name="T52" fmla="*/ 194 w 347"/>
              <a:gd name="T53" fmla="*/ 329 h 347"/>
              <a:gd name="T54" fmla="*/ 215 w 347"/>
              <a:gd name="T55" fmla="*/ 181 h 347"/>
              <a:gd name="T56" fmla="*/ 268 w 347"/>
              <a:gd name="T57" fmla="*/ 181 h 347"/>
              <a:gd name="T58" fmla="*/ 194 w 347"/>
              <a:gd name="T59" fmla="*/ 329 h 347"/>
              <a:gd name="T60" fmla="*/ 215 w 347"/>
              <a:gd name="T61" fmla="*/ 166 h 347"/>
              <a:gd name="T62" fmla="*/ 194 w 347"/>
              <a:gd name="T63" fmla="*/ 19 h 347"/>
              <a:gd name="T64" fmla="*/ 268 w 347"/>
              <a:gd name="T65" fmla="*/ 166 h 347"/>
              <a:gd name="T66" fmla="*/ 215 w 347"/>
              <a:gd name="T67" fmla="*/ 166 h 347"/>
              <a:gd name="T68" fmla="*/ 117 w 347"/>
              <a:gd name="T69" fmla="*/ 26 h 347"/>
              <a:gd name="T70" fmla="*/ 64 w 347"/>
              <a:gd name="T71" fmla="*/ 166 h 347"/>
              <a:gd name="T72" fmla="*/ 15 w 347"/>
              <a:gd name="T73" fmla="*/ 166 h 347"/>
              <a:gd name="T74" fmla="*/ 117 w 347"/>
              <a:gd name="T75" fmla="*/ 26 h 347"/>
              <a:gd name="T76" fmla="*/ 15 w 347"/>
              <a:gd name="T77" fmla="*/ 181 h 347"/>
              <a:gd name="T78" fmla="*/ 64 w 347"/>
              <a:gd name="T79" fmla="*/ 181 h 347"/>
              <a:gd name="T80" fmla="*/ 117 w 347"/>
              <a:gd name="T81" fmla="*/ 322 h 347"/>
              <a:gd name="T82" fmla="*/ 15 w 347"/>
              <a:gd name="T83" fmla="*/ 181 h 347"/>
              <a:gd name="T84" fmla="*/ 231 w 347"/>
              <a:gd name="T85" fmla="*/ 322 h 347"/>
              <a:gd name="T86" fmla="*/ 283 w 347"/>
              <a:gd name="T87" fmla="*/ 181 h 347"/>
              <a:gd name="T88" fmla="*/ 332 w 347"/>
              <a:gd name="T89" fmla="*/ 181 h 347"/>
              <a:gd name="T90" fmla="*/ 231 w 347"/>
              <a:gd name="T91" fmla="*/ 322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7" h="347">
                <a:moveTo>
                  <a:pt x="174" y="0"/>
                </a:moveTo>
                <a:cubicBezTo>
                  <a:pt x="78" y="0"/>
                  <a:pt x="0" y="78"/>
                  <a:pt x="0" y="174"/>
                </a:cubicBezTo>
                <a:cubicBezTo>
                  <a:pt x="0" y="269"/>
                  <a:pt x="78" y="347"/>
                  <a:pt x="174" y="347"/>
                </a:cubicBezTo>
                <a:cubicBezTo>
                  <a:pt x="269" y="347"/>
                  <a:pt x="347" y="269"/>
                  <a:pt x="347" y="174"/>
                </a:cubicBezTo>
                <a:cubicBezTo>
                  <a:pt x="347" y="78"/>
                  <a:pt x="269" y="0"/>
                  <a:pt x="174" y="0"/>
                </a:cubicBezTo>
                <a:close/>
                <a:moveTo>
                  <a:pt x="332" y="166"/>
                </a:moveTo>
                <a:cubicBezTo>
                  <a:pt x="283" y="166"/>
                  <a:pt x="283" y="166"/>
                  <a:pt x="283" y="166"/>
                </a:cubicBezTo>
                <a:cubicBezTo>
                  <a:pt x="281" y="107"/>
                  <a:pt x="261" y="55"/>
                  <a:pt x="231" y="26"/>
                </a:cubicBezTo>
                <a:cubicBezTo>
                  <a:pt x="288" y="48"/>
                  <a:pt x="329" y="102"/>
                  <a:pt x="332" y="166"/>
                </a:cubicBezTo>
                <a:close/>
                <a:moveTo>
                  <a:pt x="174" y="332"/>
                </a:moveTo>
                <a:cubicBezTo>
                  <a:pt x="165" y="330"/>
                  <a:pt x="148" y="277"/>
                  <a:pt x="147" y="181"/>
                </a:cubicBezTo>
                <a:cubicBezTo>
                  <a:pt x="200" y="181"/>
                  <a:pt x="200" y="181"/>
                  <a:pt x="200" y="181"/>
                </a:cubicBezTo>
                <a:cubicBezTo>
                  <a:pt x="199" y="277"/>
                  <a:pt x="183" y="330"/>
                  <a:pt x="174" y="332"/>
                </a:cubicBezTo>
                <a:close/>
                <a:moveTo>
                  <a:pt x="147" y="166"/>
                </a:moveTo>
                <a:cubicBezTo>
                  <a:pt x="148" y="70"/>
                  <a:pt x="165" y="17"/>
                  <a:pt x="174" y="15"/>
                </a:cubicBezTo>
                <a:cubicBezTo>
                  <a:pt x="174" y="15"/>
                  <a:pt x="174" y="15"/>
                  <a:pt x="174" y="15"/>
                </a:cubicBezTo>
                <a:cubicBezTo>
                  <a:pt x="183" y="17"/>
                  <a:pt x="199" y="70"/>
                  <a:pt x="200" y="166"/>
                </a:cubicBezTo>
                <a:lnTo>
                  <a:pt x="147" y="166"/>
                </a:lnTo>
                <a:close/>
                <a:moveTo>
                  <a:pt x="153" y="19"/>
                </a:moveTo>
                <a:cubicBezTo>
                  <a:pt x="138" y="51"/>
                  <a:pt x="133" y="118"/>
                  <a:pt x="133" y="166"/>
                </a:cubicBezTo>
                <a:cubicBezTo>
                  <a:pt x="79" y="166"/>
                  <a:pt x="79" y="166"/>
                  <a:pt x="79" y="166"/>
                </a:cubicBezTo>
                <a:cubicBezTo>
                  <a:pt x="81" y="94"/>
                  <a:pt x="112" y="34"/>
                  <a:pt x="153" y="19"/>
                </a:cubicBezTo>
                <a:close/>
                <a:moveTo>
                  <a:pt x="133" y="181"/>
                </a:moveTo>
                <a:cubicBezTo>
                  <a:pt x="133" y="229"/>
                  <a:pt x="138" y="296"/>
                  <a:pt x="153" y="329"/>
                </a:cubicBezTo>
                <a:cubicBezTo>
                  <a:pt x="112" y="313"/>
                  <a:pt x="81" y="254"/>
                  <a:pt x="79" y="181"/>
                </a:cubicBezTo>
                <a:lnTo>
                  <a:pt x="133" y="181"/>
                </a:lnTo>
                <a:close/>
                <a:moveTo>
                  <a:pt x="194" y="329"/>
                </a:moveTo>
                <a:cubicBezTo>
                  <a:pt x="209" y="296"/>
                  <a:pt x="214" y="229"/>
                  <a:pt x="215" y="181"/>
                </a:cubicBezTo>
                <a:cubicBezTo>
                  <a:pt x="268" y="181"/>
                  <a:pt x="268" y="181"/>
                  <a:pt x="268" y="181"/>
                </a:cubicBezTo>
                <a:cubicBezTo>
                  <a:pt x="266" y="254"/>
                  <a:pt x="235" y="313"/>
                  <a:pt x="194" y="329"/>
                </a:cubicBezTo>
                <a:close/>
                <a:moveTo>
                  <a:pt x="215" y="166"/>
                </a:moveTo>
                <a:cubicBezTo>
                  <a:pt x="214" y="118"/>
                  <a:pt x="209" y="51"/>
                  <a:pt x="194" y="19"/>
                </a:cubicBezTo>
                <a:cubicBezTo>
                  <a:pt x="235" y="34"/>
                  <a:pt x="266" y="94"/>
                  <a:pt x="268" y="166"/>
                </a:cubicBezTo>
                <a:lnTo>
                  <a:pt x="215" y="166"/>
                </a:lnTo>
                <a:close/>
                <a:moveTo>
                  <a:pt x="117" y="26"/>
                </a:moveTo>
                <a:cubicBezTo>
                  <a:pt x="87" y="55"/>
                  <a:pt x="66" y="107"/>
                  <a:pt x="64" y="166"/>
                </a:cubicBezTo>
                <a:cubicBezTo>
                  <a:pt x="15" y="166"/>
                  <a:pt x="15" y="166"/>
                  <a:pt x="15" y="166"/>
                </a:cubicBezTo>
                <a:cubicBezTo>
                  <a:pt x="18" y="102"/>
                  <a:pt x="59" y="48"/>
                  <a:pt x="117" y="26"/>
                </a:cubicBezTo>
                <a:close/>
                <a:moveTo>
                  <a:pt x="15" y="181"/>
                </a:moveTo>
                <a:cubicBezTo>
                  <a:pt x="64" y="181"/>
                  <a:pt x="64" y="181"/>
                  <a:pt x="64" y="181"/>
                </a:cubicBezTo>
                <a:cubicBezTo>
                  <a:pt x="66" y="241"/>
                  <a:pt x="87" y="292"/>
                  <a:pt x="117" y="322"/>
                </a:cubicBezTo>
                <a:cubicBezTo>
                  <a:pt x="59" y="300"/>
                  <a:pt x="18" y="245"/>
                  <a:pt x="15" y="181"/>
                </a:cubicBezTo>
                <a:close/>
                <a:moveTo>
                  <a:pt x="231" y="322"/>
                </a:moveTo>
                <a:cubicBezTo>
                  <a:pt x="261" y="292"/>
                  <a:pt x="281" y="241"/>
                  <a:pt x="283" y="181"/>
                </a:cubicBezTo>
                <a:cubicBezTo>
                  <a:pt x="332" y="181"/>
                  <a:pt x="332" y="181"/>
                  <a:pt x="332" y="181"/>
                </a:cubicBezTo>
                <a:cubicBezTo>
                  <a:pt x="329" y="245"/>
                  <a:pt x="288" y="300"/>
                  <a:pt x="231" y="322"/>
                </a:cubicBezTo>
                <a:close/>
              </a:path>
            </a:pathLst>
          </a:custGeom>
          <a:solidFill>
            <a:schemeClr val="tx1"/>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127" name="Freeform 78"/>
          <p:cNvSpPr>
            <a:spLocks noEditPoints="1"/>
          </p:cNvSpPr>
          <p:nvPr/>
        </p:nvSpPr>
        <p:spPr bwMode="auto">
          <a:xfrm>
            <a:off x="6779900" y="2628520"/>
            <a:ext cx="144056" cy="144018"/>
          </a:xfrm>
          <a:custGeom>
            <a:avLst/>
            <a:gdLst>
              <a:gd name="T0" fmla="*/ 174 w 347"/>
              <a:gd name="T1" fmla="*/ 0 h 347"/>
              <a:gd name="T2" fmla="*/ 0 w 347"/>
              <a:gd name="T3" fmla="*/ 174 h 347"/>
              <a:gd name="T4" fmla="*/ 174 w 347"/>
              <a:gd name="T5" fmla="*/ 347 h 347"/>
              <a:gd name="T6" fmla="*/ 347 w 347"/>
              <a:gd name="T7" fmla="*/ 174 h 347"/>
              <a:gd name="T8" fmla="*/ 174 w 347"/>
              <a:gd name="T9" fmla="*/ 0 h 347"/>
              <a:gd name="T10" fmla="*/ 332 w 347"/>
              <a:gd name="T11" fmla="*/ 166 h 347"/>
              <a:gd name="T12" fmla="*/ 283 w 347"/>
              <a:gd name="T13" fmla="*/ 166 h 347"/>
              <a:gd name="T14" fmla="*/ 231 w 347"/>
              <a:gd name="T15" fmla="*/ 26 h 347"/>
              <a:gd name="T16" fmla="*/ 332 w 347"/>
              <a:gd name="T17" fmla="*/ 166 h 347"/>
              <a:gd name="T18" fmla="*/ 174 w 347"/>
              <a:gd name="T19" fmla="*/ 332 h 347"/>
              <a:gd name="T20" fmla="*/ 147 w 347"/>
              <a:gd name="T21" fmla="*/ 181 h 347"/>
              <a:gd name="T22" fmla="*/ 200 w 347"/>
              <a:gd name="T23" fmla="*/ 181 h 347"/>
              <a:gd name="T24" fmla="*/ 174 w 347"/>
              <a:gd name="T25" fmla="*/ 332 h 347"/>
              <a:gd name="T26" fmla="*/ 147 w 347"/>
              <a:gd name="T27" fmla="*/ 166 h 347"/>
              <a:gd name="T28" fmla="*/ 174 w 347"/>
              <a:gd name="T29" fmla="*/ 15 h 347"/>
              <a:gd name="T30" fmla="*/ 174 w 347"/>
              <a:gd name="T31" fmla="*/ 15 h 347"/>
              <a:gd name="T32" fmla="*/ 200 w 347"/>
              <a:gd name="T33" fmla="*/ 166 h 347"/>
              <a:gd name="T34" fmla="*/ 147 w 347"/>
              <a:gd name="T35" fmla="*/ 166 h 347"/>
              <a:gd name="T36" fmla="*/ 153 w 347"/>
              <a:gd name="T37" fmla="*/ 19 h 347"/>
              <a:gd name="T38" fmla="*/ 133 w 347"/>
              <a:gd name="T39" fmla="*/ 166 h 347"/>
              <a:gd name="T40" fmla="*/ 79 w 347"/>
              <a:gd name="T41" fmla="*/ 166 h 347"/>
              <a:gd name="T42" fmla="*/ 153 w 347"/>
              <a:gd name="T43" fmla="*/ 19 h 347"/>
              <a:gd name="T44" fmla="*/ 133 w 347"/>
              <a:gd name="T45" fmla="*/ 181 h 347"/>
              <a:gd name="T46" fmla="*/ 153 w 347"/>
              <a:gd name="T47" fmla="*/ 329 h 347"/>
              <a:gd name="T48" fmla="*/ 79 w 347"/>
              <a:gd name="T49" fmla="*/ 181 h 347"/>
              <a:gd name="T50" fmla="*/ 133 w 347"/>
              <a:gd name="T51" fmla="*/ 181 h 347"/>
              <a:gd name="T52" fmla="*/ 194 w 347"/>
              <a:gd name="T53" fmla="*/ 329 h 347"/>
              <a:gd name="T54" fmla="*/ 215 w 347"/>
              <a:gd name="T55" fmla="*/ 181 h 347"/>
              <a:gd name="T56" fmla="*/ 268 w 347"/>
              <a:gd name="T57" fmla="*/ 181 h 347"/>
              <a:gd name="T58" fmla="*/ 194 w 347"/>
              <a:gd name="T59" fmla="*/ 329 h 347"/>
              <a:gd name="T60" fmla="*/ 215 w 347"/>
              <a:gd name="T61" fmla="*/ 166 h 347"/>
              <a:gd name="T62" fmla="*/ 194 w 347"/>
              <a:gd name="T63" fmla="*/ 19 h 347"/>
              <a:gd name="T64" fmla="*/ 268 w 347"/>
              <a:gd name="T65" fmla="*/ 166 h 347"/>
              <a:gd name="T66" fmla="*/ 215 w 347"/>
              <a:gd name="T67" fmla="*/ 166 h 347"/>
              <a:gd name="T68" fmla="*/ 117 w 347"/>
              <a:gd name="T69" fmla="*/ 26 h 347"/>
              <a:gd name="T70" fmla="*/ 64 w 347"/>
              <a:gd name="T71" fmla="*/ 166 h 347"/>
              <a:gd name="T72" fmla="*/ 15 w 347"/>
              <a:gd name="T73" fmla="*/ 166 h 347"/>
              <a:gd name="T74" fmla="*/ 117 w 347"/>
              <a:gd name="T75" fmla="*/ 26 h 347"/>
              <a:gd name="T76" fmla="*/ 15 w 347"/>
              <a:gd name="T77" fmla="*/ 181 h 347"/>
              <a:gd name="T78" fmla="*/ 64 w 347"/>
              <a:gd name="T79" fmla="*/ 181 h 347"/>
              <a:gd name="T80" fmla="*/ 117 w 347"/>
              <a:gd name="T81" fmla="*/ 322 h 347"/>
              <a:gd name="T82" fmla="*/ 15 w 347"/>
              <a:gd name="T83" fmla="*/ 181 h 347"/>
              <a:gd name="T84" fmla="*/ 231 w 347"/>
              <a:gd name="T85" fmla="*/ 322 h 347"/>
              <a:gd name="T86" fmla="*/ 283 w 347"/>
              <a:gd name="T87" fmla="*/ 181 h 347"/>
              <a:gd name="T88" fmla="*/ 332 w 347"/>
              <a:gd name="T89" fmla="*/ 181 h 347"/>
              <a:gd name="T90" fmla="*/ 231 w 347"/>
              <a:gd name="T91" fmla="*/ 322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7" h="347">
                <a:moveTo>
                  <a:pt x="174" y="0"/>
                </a:moveTo>
                <a:cubicBezTo>
                  <a:pt x="78" y="0"/>
                  <a:pt x="0" y="78"/>
                  <a:pt x="0" y="174"/>
                </a:cubicBezTo>
                <a:cubicBezTo>
                  <a:pt x="0" y="269"/>
                  <a:pt x="78" y="347"/>
                  <a:pt x="174" y="347"/>
                </a:cubicBezTo>
                <a:cubicBezTo>
                  <a:pt x="269" y="347"/>
                  <a:pt x="347" y="269"/>
                  <a:pt x="347" y="174"/>
                </a:cubicBezTo>
                <a:cubicBezTo>
                  <a:pt x="347" y="78"/>
                  <a:pt x="269" y="0"/>
                  <a:pt x="174" y="0"/>
                </a:cubicBezTo>
                <a:close/>
                <a:moveTo>
                  <a:pt x="332" y="166"/>
                </a:moveTo>
                <a:cubicBezTo>
                  <a:pt x="283" y="166"/>
                  <a:pt x="283" y="166"/>
                  <a:pt x="283" y="166"/>
                </a:cubicBezTo>
                <a:cubicBezTo>
                  <a:pt x="281" y="107"/>
                  <a:pt x="261" y="55"/>
                  <a:pt x="231" y="26"/>
                </a:cubicBezTo>
                <a:cubicBezTo>
                  <a:pt x="288" y="48"/>
                  <a:pt x="329" y="102"/>
                  <a:pt x="332" y="166"/>
                </a:cubicBezTo>
                <a:close/>
                <a:moveTo>
                  <a:pt x="174" y="332"/>
                </a:moveTo>
                <a:cubicBezTo>
                  <a:pt x="165" y="330"/>
                  <a:pt x="148" y="277"/>
                  <a:pt x="147" y="181"/>
                </a:cubicBezTo>
                <a:cubicBezTo>
                  <a:pt x="200" y="181"/>
                  <a:pt x="200" y="181"/>
                  <a:pt x="200" y="181"/>
                </a:cubicBezTo>
                <a:cubicBezTo>
                  <a:pt x="199" y="277"/>
                  <a:pt x="183" y="330"/>
                  <a:pt x="174" y="332"/>
                </a:cubicBezTo>
                <a:close/>
                <a:moveTo>
                  <a:pt x="147" y="166"/>
                </a:moveTo>
                <a:cubicBezTo>
                  <a:pt x="148" y="70"/>
                  <a:pt x="165" y="17"/>
                  <a:pt x="174" y="15"/>
                </a:cubicBezTo>
                <a:cubicBezTo>
                  <a:pt x="174" y="15"/>
                  <a:pt x="174" y="15"/>
                  <a:pt x="174" y="15"/>
                </a:cubicBezTo>
                <a:cubicBezTo>
                  <a:pt x="183" y="17"/>
                  <a:pt x="199" y="70"/>
                  <a:pt x="200" y="166"/>
                </a:cubicBezTo>
                <a:lnTo>
                  <a:pt x="147" y="166"/>
                </a:lnTo>
                <a:close/>
                <a:moveTo>
                  <a:pt x="153" y="19"/>
                </a:moveTo>
                <a:cubicBezTo>
                  <a:pt x="138" y="51"/>
                  <a:pt x="133" y="118"/>
                  <a:pt x="133" y="166"/>
                </a:cubicBezTo>
                <a:cubicBezTo>
                  <a:pt x="79" y="166"/>
                  <a:pt x="79" y="166"/>
                  <a:pt x="79" y="166"/>
                </a:cubicBezTo>
                <a:cubicBezTo>
                  <a:pt x="81" y="94"/>
                  <a:pt x="112" y="34"/>
                  <a:pt x="153" y="19"/>
                </a:cubicBezTo>
                <a:close/>
                <a:moveTo>
                  <a:pt x="133" y="181"/>
                </a:moveTo>
                <a:cubicBezTo>
                  <a:pt x="133" y="229"/>
                  <a:pt x="138" y="296"/>
                  <a:pt x="153" y="329"/>
                </a:cubicBezTo>
                <a:cubicBezTo>
                  <a:pt x="112" y="313"/>
                  <a:pt x="81" y="254"/>
                  <a:pt x="79" y="181"/>
                </a:cubicBezTo>
                <a:lnTo>
                  <a:pt x="133" y="181"/>
                </a:lnTo>
                <a:close/>
                <a:moveTo>
                  <a:pt x="194" y="329"/>
                </a:moveTo>
                <a:cubicBezTo>
                  <a:pt x="209" y="296"/>
                  <a:pt x="214" y="229"/>
                  <a:pt x="215" y="181"/>
                </a:cubicBezTo>
                <a:cubicBezTo>
                  <a:pt x="268" y="181"/>
                  <a:pt x="268" y="181"/>
                  <a:pt x="268" y="181"/>
                </a:cubicBezTo>
                <a:cubicBezTo>
                  <a:pt x="266" y="254"/>
                  <a:pt x="235" y="313"/>
                  <a:pt x="194" y="329"/>
                </a:cubicBezTo>
                <a:close/>
                <a:moveTo>
                  <a:pt x="215" y="166"/>
                </a:moveTo>
                <a:cubicBezTo>
                  <a:pt x="214" y="118"/>
                  <a:pt x="209" y="51"/>
                  <a:pt x="194" y="19"/>
                </a:cubicBezTo>
                <a:cubicBezTo>
                  <a:pt x="235" y="34"/>
                  <a:pt x="266" y="94"/>
                  <a:pt x="268" y="166"/>
                </a:cubicBezTo>
                <a:lnTo>
                  <a:pt x="215" y="166"/>
                </a:lnTo>
                <a:close/>
                <a:moveTo>
                  <a:pt x="117" y="26"/>
                </a:moveTo>
                <a:cubicBezTo>
                  <a:pt x="87" y="55"/>
                  <a:pt x="66" y="107"/>
                  <a:pt x="64" y="166"/>
                </a:cubicBezTo>
                <a:cubicBezTo>
                  <a:pt x="15" y="166"/>
                  <a:pt x="15" y="166"/>
                  <a:pt x="15" y="166"/>
                </a:cubicBezTo>
                <a:cubicBezTo>
                  <a:pt x="18" y="102"/>
                  <a:pt x="59" y="48"/>
                  <a:pt x="117" y="26"/>
                </a:cubicBezTo>
                <a:close/>
                <a:moveTo>
                  <a:pt x="15" y="181"/>
                </a:moveTo>
                <a:cubicBezTo>
                  <a:pt x="64" y="181"/>
                  <a:pt x="64" y="181"/>
                  <a:pt x="64" y="181"/>
                </a:cubicBezTo>
                <a:cubicBezTo>
                  <a:pt x="66" y="241"/>
                  <a:pt x="87" y="292"/>
                  <a:pt x="117" y="322"/>
                </a:cubicBezTo>
                <a:cubicBezTo>
                  <a:pt x="59" y="300"/>
                  <a:pt x="18" y="245"/>
                  <a:pt x="15" y="181"/>
                </a:cubicBezTo>
                <a:close/>
                <a:moveTo>
                  <a:pt x="231" y="322"/>
                </a:moveTo>
                <a:cubicBezTo>
                  <a:pt x="261" y="292"/>
                  <a:pt x="281" y="241"/>
                  <a:pt x="283" y="181"/>
                </a:cubicBezTo>
                <a:cubicBezTo>
                  <a:pt x="332" y="181"/>
                  <a:pt x="332" y="181"/>
                  <a:pt x="332" y="181"/>
                </a:cubicBezTo>
                <a:cubicBezTo>
                  <a:pt x="329" y="245"/>
                  <a:pt x="288" y="300"/>
                  <a:pt x="231" y="322"/>
                </a:cubicBezTo>
                <a:close/>
              </a:path>
            </a:pathLst>
          </a:custGeom>
          <a:solidFill>
            <a:schemeClr val="tx1"/>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128" name="Freeform 78"/>
          <p:cNvSpPr>
            <a:spLocks noEditPoints="1"/>
          </p:cNvSpPr>
          <p:nvPr/>
        </p:nvSpPr>
        <p:spPr bwMode="auto">
          <a:xfrm>
            <a:off x="7065725" y="3144881"/>
            <a:ext cx="144056" cy="144018"/>
          </a:xfrm>
          <a:custGeom>
            <a:avLst/>
            <a:gdLst>
              <a:gd name="T0" fmla="*/ 174 w 347"/>
              <a:gd name="T1" fmla="*/ 0 h 347"/>
              <a:gd name="T2" fmla="*/ 0 w 347"/>
              <a:gd name="T3" fmla="*/ 174 h 347"/>
              <a:gd name="T4" fmla="*/ 174 w 347"/>
              <a:gd name="T5" fmla="*/ 347 h 347"/>
              <a:gd name="T6" fmla="*/ 347 w 347"/>
              <a:gd name="T7" fmla="*/ 174 h 347"/>
              <a:gd name="T8" fmla="*/ 174 w 347"/>
              <a:gd name="T9" fmla="*/ 0 h 347"/>
              <a:gd name="T10" fmla="*/ 332 w 347"/>
              <a:gd name="T11" fmla="*/ 166 h 347"/>
              <a:gd name="T12" fmla="*/ 283 w 347"/>
              <a:gd name="T13" fmla="*/ 166 h 347"/>
              <a:gd name="T14" fmla="*/ 231 w 347"/>
              <a:gd name="T15" fmla="*/ 26 h 347"/>
              <a:gd name="T16" fmla="*/ 332 w 347"/>
              <a:gd name="T17" fmla="*/ 166 h 347"/>
              <a:gd name="T18" fmla="*/ 174 w 347"/>
              <a:gd name="T19" fmla="*/ 332 h 347"/>
              <a:gd name="T20" fmla="*/ 147 w 347"/>
              <a:gd name="T21" fmla="*/ 181 h 347"/>
              <a:gd name="T22" fmla="*/ 200 w 347"/>
              <a:gd name="T23" fmla="*/ 181 h 347"/>
              <a:gd name="T24" fmla="*/ 174 w 347"/>
              <a:gd name="T25" fmla="*/ 332 h 347"/>
              <a:gd name="T26" fmla="*/ 147 w 347"/>
              <a:gd name="T27" fmla="*/ 166 h 347"/>
              <a:gd name="T28" fmla="*/ 174 w 347"/>
              <a:gd name="T29" fmla="*/ 15 h 347"/>
              <a:gd name="T30" fmla="*/ 174 w 347"/>
              <a:gd name="T31" fmla="*/ 15 h 347"/>
              <a:gd name="T32" fmla="*/ 200 w 347"/>
              <a:gd name="T33" fmla="*/ 166 h 347"/>
              <a:gd name="T34" fmla="*/ 147 w 347"/>
              <a:gd name="T35" fmla="*/ 166 h 347"/>
              <a:gd name="T36" fmla="*/ 153 w 347"/>
              <a:gd name="T37" fmla="*/ 19 h 347"/>
              <a:gd name="T38" fmla="*/ 133 w 347"/>
              <a:gd name="T39" fmla="*/ 166 h 347"/>
              <a:gd name="T40" fmla="*/ 79 w 347"/>
              <a:gd name="T41" fmla="*/ 166 h 347"/>
              <a:gd name="T42" fmla="*/ 153 w 347"/>
              <a:gd name="T43" fmla="*/ 19 h 347"/>
              <a:gd name="T44" fmla="*/ 133 w 347"/>
              <a:gd name="T45" fmla="*/ 181 h 347"/>
              <a:gd name="T46" fmla="*/ 153 w 347"/>
              <a:gd name="T47" fmla="*/ 329 h 347"/>
              <a:gd name="T48" fmla="*/ 79 w 347"/>
              <a:gd name="T49" fmla="*/ 181 h 347"/>
              <a:gd name="T50" fmla="*/ 133 w 347"/>
              <a:gd name="T51" fmla="*/ 181 h 347"/>
              <a:gd name="T52" fmla="*/ 194 w 347"/>
              <a:gd name="T53" fmla="*/ 329 h 347"/>
              <a:gd name="T54" fmla="*/ 215 w 347"/>
              <a:gd name="T55" fmla="*/ 181 h 347"/>
              <a:gd name="T56" fmla="*/ 268 w 347"/>
              <a:gd name="T57" fmla="*/ 181 h 347"/>
              <a:gd name="T58" fmla="*/ 194 w 347"/>
              <a:gd name="T59" fmla="*/ 329 h 347"/>
              <a:gd name="T60" fmla="*/ 215 w 347"/>
              <a:gd name="T61" fmla="*/ 166 h 347"/>
              <a:gd name="T62" fmla="*/ 194 w 347"/>
              <a:gd name="T63" fmla="*/ 19 h 347"/>
              <a:gd name="T64" fmla="*/ 268 w 347"/>
              <a:gd name="T65" fmla="*/ 166 h 347"/>
              <a:gd name="T66" fmla="*/ 215 w 347"/>
              <a:gd name="T67" fmla="*/ 166 h 347"/>
              <a:gd name="T68" fmla="*/ 117 w 347"/>
              <a:gd name="T69" fmla="*/ 26 h 347"/>
              <a:gd name="T70" fmla="*/ 64 w 347"/>
              <a:gd name="T71" fmla="*/ 166 h 347"/>
              <a:gd name="T72" fmla="*/ 15 w 347"/>
              <a:gd name="T73" fmla="*/ 166 h 347"/>
              <a:gd name="T74" fmla="*/ 117 w 347"/>
              <a:gd name="T75" fmla="*/ 26 h 347"/>
              <a:gd name="T76" fmla="*/ 15 w 347"/>
              <a:gd name="T77" fmla="*/ 181 h 347"/>
              <a:gd name="T78" fmla="*/ 64 w 347"/>
              <a:gd name="T79" fmla="*/ 181 h 347"/>
              <a:gd name="T80" fmla="*/ 117 w 347"/>
              <a:gd name="T81" fmla="*/ 322 h 347"/>
              <a:gd name="T82" fmla="*/ 15 w 347"/>
              <a:gd name="T83" fmla="*/ 181 h 347"/>
              <a:gd name="T84" fmla="*/ 231 w 347"/>
              <a:gd name="T85" fmla="*/ 322 h 347"/>
              <a:gd name="T86" fmla="*/ 283 w 347"/>
              <a:gd name="T87" fmla="*/ 181 h 347"/>
              <a:gd name="T88" fmla="*/ 332 w 347"/>
              <a:gd name="T89" fmla="*/ 181 h 347"/>
              <a:gd name="T90" fmla="*/ 231 w 347"/>
              <a:gd name="T91" fmla="*/ 322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7" h="347">
                <a:moveTo>
                  <a:pt x="174" y="0"/>
                </a:moveTo>
                <a:cubicBezTo>
                  <a:pt x="78" y="0"/>
                  <a:pt x="0" y="78"/>
                  <a:pt x="0" y="174"/>
                </a:cubicBezTo>
                <a:cubicBezTo>
                  <a:pt x="0" y="269"/>
                  <a:pt x="78" y="347"/>
                  <a:pt x="174" y="347"/>
                </a:cubicBezTo>
                <a:cubicBezTo>
                  <a:pt x="269" y="347"/>
                  <a:pt x="347" y="269"/>
                  <a:pt x="347" y="174"/>
                </a:cubicBezTo>
                <a:cubicBezTo>
                  <a:pt x="347" y="78"/>
                  <a:pt x="269" y="0"/>
                  <a:pt x="174" y="0"/>
                </a:cubicBezTo>
                <a:close/>
                <a:moveTo>
                  <a:pt x="332" y="166"/>
                </a:moveTo>
                <a:cubicBezTo>
                  <a:pt x="283" y="166"/>
                  <a:pt x="283" y="166"/>
                  <a:pt x="283" y="166"/>
                </a:cubicBezTo>
                <a:cubicBezTo>
                  <a:pt x="281" y="107"/>
                  <a:pt x="261" y="55"/>
                  <a:pt x="231" y="26"/>
                </a:cubicBezTo>
                <a:cubicBezTo>
                  <a:pt x="288" y="48"/>
                  <a:pt x="329" y="102"/>
                  <a:pt x="332" y="166"/>
                </a:cubicBezTo>
                <a:close/>
                <a:moveTo>
                  <a:pt x="174" y="332"/>
                </a:moveTo>
                <a:cubicBezTo>
                  <a:pt x="165" y="330"/>
                  <a:pt x="148" y="277"/>
                  <a:pt x="147" y="181"/>
                </a:cubicBezTo>
                <a:cubicBezTo>
                  <a:pt x="200" y="181"/>
                  <a:pt x="200" y="181"/>
                  <a:pt x="200" y="181"/>
                </a:cubicBezTo>
                <a:cubicBezTo>
                  <a:pt x="199" y="277"/>
                  <a:pt x="183" y="330"/>
                  <a:pt x="174" y="332"/>
                </a:cubicBezTo>
                <a:close/>
                <a:moveTo>
                  <a:pt x="147" y="166"/>
                </a:moveTo>
                <a:cubicBezTo>
                  <a:pt x="148" y="70"/>
                  <a:pt x="165" y="17"/>
                  <a:pt x="174" y="15"/>
                </a:cubicBezTo>
                <a:cubicBezTo>
                  <a:pt x="174" y="15"/>
                  <a:pt x="174" y="15"/>
                  <a:pt x="174" y="15"/>
                </a:cubicBezTo>
                <a:cubicBezTo>
                  <a:pt x="183" y="17"/>
                  <a:pt x="199" y="70"/>
                  <a:pt x="200" y="166"/>
                </a:cubicBezTo>
                <a:lnTo>
                  <a:pt x="147" y="166"/>
                </a:lnTo>
                <a:close/>
                <a:moveTo>
                  <a:pt x="153" y="19"/>
                </a:moveTo>
                <a:cubicBezTo>
                  <a:pt x="138" y="51"/>
                  <a:pt x="133" y="118"/>
                  <a:pt x="133" y="166"/>
                </a:cubicBezTo>
                <a:cubicBezTo>
                  <a:pt x="79" y="166"/>
                  <a:pt x="79" y="166"/>
                  <a:pt x="79" y="166"/>
                </a:cubicBezTo>
                <a:cubicBezTo>
                  <a:pt x="81" y="94"/>
                  <a:pt x="112" y="34"/>
                  <a:pt x="153" y="19"/>
                </a:cubicBezTo>
                <a:close/>
                <a:moveTo>
                  <a:pt x="133" y="181"/>
                </a:moveTo>
                <a:cubicBezTo>
                  <a:pt x="133" y="229"/>
                  <a:pt x="138" y="296"/>
                  <a:pt x="153" y="329"/>
                </a:cubicBezTo>
                <a:cubicBezTo>
                  <a:pt x="112" y="313"/>
                  <a:pt x="81" y="254"/>
                  <a:pt x="79" y="181"/>
                </a:cubicBezTo>
                <a:lnTo>
                  <a:pt x="133" y="181"/>
                </a:lnTo>
                <a:close/>
                <a:moveTo>
                  <a:pt x="194" y="329"/>
                </a:moveTo>
                <a:cubicBezTo>
                  <a:pt x="209" y="296"/>
                  <a:pt x="214" y="229"/>
                  <a:pt x="215" y="181"/>
                </a:cubicBezTo>
                <a:cubicBezTo>
                  <a:pt x="268" y="181"/>
                  <a:pt x="268" y="181"/>
                  <a:pt x="268" y="181"/>
                </a:cubicBezTo>
                <a:cubicBezTo>
                  <a:pt x="266" y="254"/>
                  <a:pt x="235" y="313"/>
                  <a:pt x="194" y="329"/>
                </a:cubicBezTo>
                <a:close/>
                <a:moveTo>
                  <a:pt x="215" y="166"/>
                </a:moveTo>
                <a:cubicBezTo>
                  <a:pt x="214" y="118"/>
                  <a:pt x="209" y="51"/>
                  <a:pt x="194" y="19"/>
                </a:cubicBezTo>
                <a:cubicBezTo>
                  <a:pt x="235" y="34"/>
                  <a:pt x="266" y="94"/>
                  <a:pt x="268" y="166"/>
                </a:cubicBezTo>
                <a:lnTo>
                  <a:pt x="215" y="166"/>
                </a:lnTo>
                <a:close/>
                <a:moveTo>
                  <a:pt x="117" y="26"/>
                </a:moveTo>
                <a:cubicBezTo>
                  <a:pt x="87" y="55"/>
                  <a:pt x="66" y="107"/>
                  <a:pt x="64" y="166"/>
                </a:cubicBezTo>
                <a:cubicBezTo>
                  <a:pt x="15" y="166"/>
                  <a:pt x="15" y="166"/>
                  <a:pt x="15" y="166"/>
                </a:cubicBezTo>
                <a:cubicBezTo>
                  <a:pt x="18" y="102"/>
                  <a:pt x="59" y="48"/>
                  <a:pt x="117" y="26"/>
                </a:cubicBezTo>
                <a:close/>
                <a:moveTo>
                  <a:pt x="15" y="181"/>
                </a:moveTo>
                <a:cubicBezTo>
                  <a:pt x="64" y="181"/>
                  <a:pt x="64" y="181"/>
                  <a:pt x="64" y="181"/>
                </a:cubicBezTo>
                <a:cubicBezTo>
                  <a:pt x="66" y="241"/>
                  <a:pt x="87" y="292"/>
                  <a:pt x="117" y="322"/>
                </a:cubicBezTo>
                <a:cubicBezTo>
                  <a:pt x="59" y="300"/>
                  <a:pt x="18" y="245"/>
                  <a:pt x="15" y="181"/>
                </a:cubicBezTo>
                <a:close/>
                <a:moveTo>
                  <a:pt x="231" y="322"/>
                </a:moveTo>
                <a:cubicBezTo>
                  <a:pt x="261" y="292"/>
                  <a:pt x="281" y="241"/>
                  <a:pt x="283" y="181"/>
                </a:cubicBezTo>
                <a:cubicBezTo>
                  <a:pt x="332" y="181"/>
                  <a:pt x="332" y="181"/>
                  <a:pt x="332" y="181"/>
                </a:cubicBezTo>
                <a:cubicBezTo>
                  <a:pt x="329" y="245"/>
                  <a:pt x="288" y="300"/>
                  <a:pt x="231" y="322"/>
                </a:cubicBezTo>
                <a:close/>
              </a:path>
            </a:pathLst>
          </a:custGeom>
          <a:solidFill>
            <a:schemeClr val="tx1"/>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130" name="Freeform 78"/>
          <p:cNvSpPr>
            <a:spLocks noEditPoints="1"/>
          </p:cNvSpPr>
          <p:nvPr/>
        </p:nvSpPr>
        <p:spPr bwMode="auto">
          <a:xfrm>
            <a:off x="391476" y="3825689"/>
            <a:ext cx="144056" cy="144018"/>
          </a:xfrm>
          <a:custGeom>
            <a:avLst/>
            <a:gdLst>
              <a:gd name="T0" fmla="*/ 174 w 347"/>
              <a:gd name="T1" fmla="*/ 0 h 347"/>
              <a:gd name="T2" fmla="*/ 0 w 347"/>
              <a:gd name="T3" fmla="*/ 174 h 347"/>
              <a:gd name="T4" fmla="*/ 174 w 347"/>
              <a:gd name="T5" fmla="*/ 347 h 347"/>
              <a:gd name="T6" fmla="*/ 347 w 347"/>
              <a:gd name="T7" fmla="*/ 174 h 347"/>
              <a:gd name="T8" fmla="*/ 174 w 347"/>
              <a:gd name="T9" fmla="*/ 0 h 347"/>
              <a:gd name="T10" fmla="*/ 332 w 347"/>
              <a:gd name="T11" fmla="*/ 166 h 347"/>
              <a:gd name="T12" fmla="*/ 283 w 347"/>
              <a:gd name="T13" fmla="*/ 166 h 347"/>
              <a:gd name="T14" fmla="*/ 231 w 347"/>
              <a:gd name="T15" fmla="*/ 26 h 347"/>
              <a:gd name="T16" fmla="*/ 332 w 347"/>
              <a:gd name="T17" fmla="*/ 166 h 347"/>
              <a:gd name="T18" fmla="*/ 174 w 347"/>
              <a:gd name="T19" fmla="*/ 332 h 347"/>
              <a:gd name="T20" fmla="*/ 147 w 347"/>
              <a:gd name="T21" fmla="*/ 181 h 347"/>
              <a:gd name="T22" fmla="*/ 200 w 347"/>
              <a:gd name="T23" fmla="*/ 181 h 347"/>
              <a:gd name="T24" fmla="*/ 174 w 347"/>
              <a:gd name="T25" fmla="*/ 332 h 347"/>
              <a:gd name="T26" fmla="*/ 147 w 347"/>
              <a:gd name="T27" fmla="*/ 166 h 347"/>
              <a:gd name="T28" fmla="*/ 174 w 347"/>
              <a:gd name="T29" fmla="*/ 15 h 347"/>
              <a:gd name="T30" fmla="*/ 174 w 347"/>
              <a:gd name="T31" fmla="*/ 15 h 347"/>
              <a:gd name="T32" fmla="*/ 200 w 347"/>
              <a:gd name="T33" fmla="*/ 166 h 347"/>
              <a:gd name="T34" fmla="*/ 147 w 347"/>
              <a:gd name="T35" fmla="*/ 166 h 347"/>
              <a:gd name="T36" fmla="*/ 153 w 347"/>
              <a:gd name="T37" fmla="*/ 19 h 347"/>
              <a:gd name="T38" fmla="*/ 133 w 347"/>
              <a:gd name="T39" fmla="*/ 166 h 347"/>
              <a:gd name="T40" fmla="*/ 79 w 347"/>
              <a:gd name="T41" fmla="*/ 166 h 347"/>
              <a:gd name="T42" fmla="*/ 153 w 347"/>
              <a:gd name="T43" fmla="*/ 19 h 347"/>
              <a:gd name="T44" fmla="*/ 133 w 347"/>
              <a:gd name="T45" fmla="*/ 181 h 347"/>
              <a:gd name="T46" fmla="*/ 153 w 347"/>
              <a:gd name="T47" fmla="*/ 329 h 347"/>
              <a:gd name="T48" fmla="*/ 79 w 347"/>
              <a:gd name="T49" fmla="*/ 181 h 347"/>
              <a:gd name="T50" fmla="*/ 133 w 347"/>
              <a:gd name="T51" fmla="*/ 181 h 347"/>
              <a:gd name="T52" fmla="*/ 194 w 347"/>
              <a:gd name="T53" fmla="*/ 329 h 347"/>
              <a:gd name="T54" fmla="*/ 215 w 347"/>
              <a:gd name="T55" fmla="*/ 181 h 347"/>
              <a:gd name="T56" fmla="*/ 268 w 347"/>
              <a:gd name="T57" fmla="*/ 181 h 347"/>
              <a:gd name="T58" fmla="*/ 194 w 347"/>
              <a:gd name="T59" fmla="*/ 329 h 347"/>
              <a:gd name="T60" fmla="*/ 215 w 347"/>
              <a:gd name="T61" fmla="*/ 166 h 347"/>
              <a:gd name="T62" fmla="*/ 194 w 347"/>
              <a:gd name="T63" fmla="*/ 19 h 347"/>
              <a:gd name="T64" fmla="*/ 268 w 347"/>
              <a:gd name="T65" fmla="*/ 166 h 347"/>
              <a:gd name="T66" fmla="*/ 215 w 347"/>
              <a:gd name="T67" fmla="*/ 166 h 347"/>
              <a:gd name="T68" fmla="*/ 117 w 347"/>
              <a:gd name="T69" fmla="*/ 26 h 347"/>
              <a:gd name="T70" fmla="*/ 64 w 347"/>
              <a:gd name="T71" fmla="*/ 166 h 347"/>
              <a:gd name="T72" fmla="*/ 15 w 347"/>
              <a:gd name="T73" fmla="*/ 166 h 347"/>
              <a:gd name="T74" fmla="*/ 117 w 347"/>
              <a:gd name="T75" fmla="*/ 26 h 347"/>
              <a:gd name="T76" fmla="*/ 15 w 347"/>
              <a:gd name="T77" fmla="*/ 181 h 347"/>
              <a:gd name="T78" fmla="*/ 64 w 347"/>
              <a:gd name="T79" fmla="*/ 181 h 347"/>
              <a:gd name="T80" fmla="*/ 117 w 347"/>
              <a:gd name="T81" fmla="*/ 322 h 347"/>
              <a:gd name="T82" fmla="*/ 15 w 347"/>
              <a:gd name="T83" fmla="*/ 181 h 347"/>
              <a:gd name="T84" fmla="*/ 231 w 347"/>
              <a:gd name="T85" fmla="*/ 322 h 347"/>
              <a:gd name="T86" fmla="*/ 283 w 347"/>
              <a:gd name="T87" fmla="*/ 181 h 347"/>
              <a:gd name="T88" fmla="*/ 332 w 347"/>
              <a:gd name="T89" fmla="*/ 181 h 347"/>
              <a:gd name="T90" fmla="*/ 231 w 347"/>
              <a:gd name="T91" fmla="*/ 322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7" h="347">
                <a:moveTo>
                  <a:pt x="174" y="0"/>
                </a:moveTo>
                <a:cubicBezTo>
                  <a:pt x="78" y="0"/>
                  <a:pt x="0" y="78"/>
                  <a:pt x="0" y="174"/>
                </a:cubicBezTo>
                <a:cubicBezTo>
                  <a:pt x="0" y="269"/>
                  <a:pt x="78" y="347"/>
                  <a:pt x="174" y="347"/>
                </a:cubicBezTo>
                <a:cubicBezTo>
                  <a:pt x="269" y="347"/>
                  <a:pt x="347" y="269"/>
                  <a:pt x="347" y="174"/>
                </a:cubicBezTo>
                <a:cubicBezTo>
                  <a:pt x="347" y="78"/>
                  <a:pt x="269" y="0"/>
                  <a:pt x="174" y="0"/>
                </a:cubicBezTo>
                <a:close/>
                <a:moveTo>
                  <a:pt x="332" y="166"/>
                </a:moveTo>
                <a:cubicBezTo>
                  <a:pt x="283" y="166"/>
                  <a:pt x="283" y="166"/>
                  <a:pt x="283" y="166"/>
                </a:cubicBezTo>
                <a:cubicBezTo>
                  <a:pt x="281" y="107"/>
                  <a:pt x="261" y="55"/>
                  <a:pt x="231" y="26"/>
                </a:cubicBezTo>
                <a:cubicBezTo>
                  <a:pt x="288" y="48"/>
                  <a:pt x="329" y="102"/>
                  <a:pt x="332" y="166"/>
                </a:cubicBezTo>
                <a:close/>
                <a:moveTo>
                  <a:pt x="174" y="332"/>
                </a:moveTo>
                <a:cubicBezTo>
                  <a:pt x="165" y="330"/>
                  <a:pt x="148" y="277"/>
                  <a:pt x="147" y="181"/>
                </a:cubicBezTo>
                <a:cubicBezTo>
                  <a:pt x="200" y="181"/>
                  <a:pt x="200" y="181"/>
                  <a:pt x="200" y="181"/>
                </a:cubicBezTo>
                <a:cubicBezTo>
                  <a:pt x="199" y="277"/>
                  <a:pt x="183" y="330"/>
                  <a:pt x="174" y="332"/>
                </a:cubicBezTo>
                <a:close/>
                <a:moveTo>
                  <a:pt x="147" y="166"/>
                </a:moveTo>
                <a:cubicBezTo>
                  <a:pt x="148" y="70"/>
                  <a:pt x="165" y="17"/>
                  <a:pt x="174" y="15"/>
                </a:cubicBezTo>
                <a:cubicBezTo>
                  <a:pt x="174" y="15"/>
                  <a:pt x="174" y="15"/>
                  <a:pt x="174" y="15"/>
                </a:cubicBezTo>
                <a:cubicBezTo>
                  <a:pt x="183" y="17"/>
                  <a:pt x="199" y="70"/>
                  <a:pt x="200" y="166"/>
                </a:cubicBezTo>
                <a:lnTo>
                  <a:pt x="147" y="166"/>
                </a:lnTo>
                <a:close/>
                <a:moveTo>
                  <a:pt x="153" y="19"/>
                </a:moveTo>
                <a:cubicBezTo>
                  <a:pt x="138" y="51"/>
                  <a:pt x="133" y="118"/>
                  <a:pt x="133" y="166"/>
                </a:cubicBezTo>
                <a:cubicBezTo>
                  <a:pt x="79" y="166"/>
                  <a:pt x="79" y="166"/>
                  <a:pt x="79" y="166"/>
                </a:cubicBezTo>
                <a:cubicBezTo>
                  <a:pt x="81" y="94"/>
                  <a:pt x="112" y="34"/>
                  <a:pt x="153" y="19"/>
                </a:cubicBezTo>
                <a:close/>
                <a:moveTo>
                  <a:pt x="133" y="181"/>
                </a:moveTo>
                <a:cubicBezTo>
                  <a:pt x="133" y="229"/>
                  <a:pt x="138" y="296"/>
                  <a:pt x="153" y="329"/>
                </a:cubicBezTo>
                <a:cubicBezTo>
                  <a:pt x="112" y="313"/>
                  <a:pt x="81" y="254"/>
                  <a:pt x="79" y="181"/>
                </a:cubicBezTo>
                <a:lnTo>
                  <a:pt x="133" y="181"/>
                </a:lnTo>
                <a:close/>
                <a:moveTo>
                  <a:pt x="194" y="329"/>
                </a:moveTo>
                <a:cubicBezTo>
                  <a:pt x="209" y="296"/>
                  <a:pt x="214" y="229"/>
                  <a:pt x="215" y="181"/>
                </a:cubicBezTo>
                <a:cubicBezTo>
                  <a:pt x="268" y="181"/>
                  <a:pt x="268" y="181"/>
                  <a:pt x="268" y="181"/>
                </a:cubicBezTo>
                <a:cubicBezTo>
                  <a:pt x="266" y="254"/>
                  <a:pt x="235" y="313"/>
                  <a:pt x="194" y="329"/>
                </a:cubicBezTo>
                <a:close/>
                <a:moveTo>
                  <a:pt x="215" y="166"/>
                </a:moveTo>
                <a:cubicBezTo>
                  <a:pt x="214" y="118"/>
                  <a:pt x="209" y="51"/>
                  <a:pt x="194" y="19"/>
                </a:cubicBezTo>
                <a:cubicBezTo>
                  <a:pt x="235" y="34"/>
                  <a:pt x="266" y="94"/>
                  <a:pt x="268" y="166"/>
                </a:cubicBezTo>
                <a:lnTo>
                  <a:pt x="215" y="166"/>
                </a:lnTo>
                <a:close/>
                <a:moveTo>
                  <a:pt x="117" y="26"/>
                </a:moveTo>
                <a:cubicBezTo>
                  <a:pt x="87" y="55"/>
                  <a:pt x="66" y="107"/>
                  <a:pt x="64" y="166"/>
                </a:cubicBezTo>
                <a:cubicBezTo>
                  <a:pt x="15" y="166"/>
                  <a:pt x="15" y="166"/>
                  <a:pt x="15" y="166"/>
                </a:cubicBezTo>
                <a:cubicBezTo>
                  <a:pt x="18" y="102"/>
                  <a:pt x="59" y="48"/>
                  <a:pt x="117" y="26"/>
                </a:cubicBezTo>
                <a:close/>
                <a:moveTo>
                  <a:pt x="15" y="181"/>
                </a:moveTo>
                <a:cubicBezTo>
                  <a:pt x="64" y="181"/>
                  <a:pt x="64" y="181"/>
                  <a:pt x="64" y="181"/>
                </a:cubicBezTo>
                <a:cubicBezTo>
                  <a:pt x="66" y="241"/>
                  <a:pt x="87" y="292"/>
                  <a:pt x="117" y="322"/>
                </a:cubicBezTo>
                <a:cubicBezTo>
                  <a:pt x="59" y="300"/>
                  <a:pt x="18" y="245"/>
                  <a:pt x="15" y="181"/>
                </a:cubicBezTo>
                <a:close/>
                <a:moveTo>
                  <a:pt x="231" y="322"/>
                </a:moveTo>
                <a:cubicBezTo>
                  <a:pt x="261" y="292"/>
                  <a:pt x="281" y="241"/>
                  <a:pt x="283" y="181"/>
                </a:cubicBezTo>
                <a:cubicBezTo>
                  <a:pt x="332" y="181"/>
                  <a:pt x="332" y="181"/>
                  <a:pt x="332" y="181"/>
                </a:cubicBezTo>
                <a:cubicBezTo>
                  <a:pt x="329" y="245"/>
                  <a:pt x="288" y="300"/>
                  <a:pt x="231" y="322"/>
                </a:cubicBezTo>
                <a:close/>
              </a:path>
            </a:pathLst>
          </a:custGeom>
          <a:solidFill>
            <a:schemeClr val="tx1"/>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110"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11"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5"/>
              </a:rPr>
              <a:t>www.rapidbbs.cn</a:t>
            </a:r>
            <a:endParaRPr lang="zh-CN" altLang="en-US" sz="1200" b="0">
              <a:latin typeface="Arial" charset="0"/>
              <a:ea typeface="ＭＳ Ｐゴシック" pitchFamily="34" charset="-128"/>
            </a:endParaRPr>
          </a:p>
        </p:txBody>
      </p:sp>
      <p:pic>
        <p:nvPicPr>
          <p:cNvPr id="112" name="Picture 2">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83803546"/>
      </p:ext>
    </p:extLst>
  </p:cSld>
  <p:clrMapOvr>
    <a:masterClrMapping/>
  </p:clrMapOvr>
  <p:transition>
    <p:fade/>
  </p:transition>
  <p:timing>
    <p:tnLst>
      <p:par>
        <p:cTn id="1" dur="indefinite" restart="never" nodeType="tmRoot"/>
      </p:par>
    </p:tnLst>
  </p:timing>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457049"/>
          </a:xfrm>
        </p:spPr>
        <p:txBody>
          <a:bodyPr/>
          <a:lstStyle/>
          <a:p>
            <a:r>
              <a:rPr lang="en-US" dirty="0" smtClean="0"/>
              <a:t>New Demands on IT</a:t>
            </a:r>
            <a:endParaRPr lang="en-US" dirty="0"/>
          </a:p>
        </p:txBody>
      </p:sp>
      <p:grpSp>
        <p:nvGrpSpPr>
          <p:cNvPr id="52" name="Group 51"/>
          <p:cNvGrpSpPr/>
          <p:nvPr/>
        </p:nvGrpSpPr>
        <p:grpSpPr>
          <a:xfrm>
            <a:off x="-58356" y="2628900"/>
            <a:ext cx="9260712" cy="514350"/>
            <a:chOff x="-77788" y="3505200"/>
            <a:chExt cx="12344400" cy="685800"/>
          </a:xfrm>
        </p:grpSpPr>
        <p:sp>
          <p:nvSpPr>
            <p:cNvPr id="47" name="Rectangle 46"/>
            <p:cNvSpPr/>
            <p:nvPr/>
          </p:nvSpPr>
          <p:spPr bwMode="auto">
            <a:xfrm>
              <a:off x="-77788" y="3505200"/>
              <a:ext cx="12344400" cy="68580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grpSp>
          <p:nvGrpSpPr>
            <p:cNvPr id="4" name="Group 3"/>
            <p:cNvGrpSpPr/>
            <p:nvPr/>
          </p:nvGrpSpPr>
          <p:grpSpPr>
            <a:xfrm>
              <a:off x="1277202" y="3541972"/>
              <a:ext cx="5884010" cy="572828"/>
              <a:chOff x="1150419" y="3496349"/>
              <a:chExt cx="7843304" cy="763771"/>
            </a:xfrm>
          </p:grpSpPr>
          <p:sp>
            <p:nvSpPr>
              <p:cNvPr id="6" name="Rounded Rectangle 5"/>
              <p:cNvSpPr/>
              <p:nvPr/>
            </p:nvSpPr>
            <p:spPr bwMode="auto">
              <a:xfrm>
                <a:off x="2368194" y="3619504"/>
                <a:ext cx="6625529" cy="640616"/>
              </a:xfrm>
              <a:prstGeom prst="roundRect">
                <a:avLst>
                  <a:gd name="adj" fmla="val 9078"/>
                </a:avLst>
              </a:prstGeom>
              <a:noFill/>
              <a:ln w="12700" cap="flat" cmpd="sng" algn="ctr">
                <a:noFill/>
                <a:prstDash val="solid"/>
                <a:round/>
                <a:headEnd type="none" w="med" len="med"/>
                <a:tailEnd type="none" w="med" len="med"/>
              </a:ln>
              <a:effectLst/>
            </p:spPr>
            <p:txBody>
              <a:bodyPr vert="horz" wrap="square" lIns="91412" tIns="137119" rIns="91412" bIns="91412" numCol="1" rtlCol="0" anchor="ctr" anchorCtr="0" compatLnSpc="1">
                <a:prstTxWarp prst="textNoShape">
                  <a:avLst/>
                </a:prstTxWarp>
              </a:bodyPr>
              <a:lstStyle/>
              <a:p>
                <a:pPr marL="0" lvl="1" defTabSz="514253" fontAlgn="base">
                  <a:lnSpc>
                    <a:spcPct val="85000"/>
                  </a:lnSpc>
                  <a:spcBef>
                    <a:spcPct val="25000"/>
                  </a:spcBef>
                  <a:spcAft>
                    <a:spcPct val="0"/>
                  </a:spcAft>
                  <a:buClr>
                    <a:srgbClr val="F7AB3B"/>
                  </a:buClr>
                  <a:buSzPct val="95000"/>
                  <a:defRPr/>
                </a:pPr>
                <a:r>
                  <a:rPr lang="en-US" sz="1500" dirty="0">
                    <a:solidFill>
                      <a:prstClr val="white">
                        <a:alpha val="99000"/>
                      </a:prstClr>
                    </a:solidFill>
                    <a:latin typeface="Segoe Semibold" pitchFamily="34" charset="0"/>
                  </a:rPr>
                  <a:t>Expanding Importance of Identity</a:t>
                </a:r>
              </a:p>
            </p:txBody>
          </p:sp>
          <p:sp>
            <p:nvSpPr>
              <p:cNvPr id="7" name="Freeform 9"/>
              <p:cNvSpPr>
                <a:spLocks noChangeAspect="1" noEditPoints="1"/>
              </p:cNvSpPr>
              <p:nvPr/>
            </p:nvSpPr>
            <p:spPr bwMode="auto">
              <a:xfrm>
                <a:off x="1150419" y="3496349"/>
                <a:ext cx="530009" cy="76377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0"/>
              </a:p>
            </p:txBody>
          </p:sp>
        </p:grpSp>
      </p:grpSp>
      <p:grpSp>
        <p:nvGrpSpPr>
          <p:cNvPr id="51" name="Group 50"/>
          <p:cNvGrpSpPr/>
          <p:nvPr/>
        </p:nvGrpSpPr>
        <p:grpSpPr>
          <a:xfrm>
            <a:off x="-58356" y="1828800"/>
            <a:ext cx="9260712" cy="514350"/>
            <a:chOff x="-77788" y="2438400"/>
            <a:chExt cx="12344400" cy="685800"/>
          </a:xfrm>
        </p:grpSpPr>
        <p:sp>
          <p:nvSpPr>
            <p:cNvPr id="46" name="Rectangle 45"/>
            <p:cNvSpPr/>
            <p:nvPr/>
          </p:nvSpPr>
          <p:spPr bwMode="auto">
            <a:xfrm>
              <a:off x="-77788" y="2438400"/>
              <a:ext cx="12344400" cy="68580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grpSp>
          <p:nvGrpSpPr>
            <p:cNvPr id="8" name="Group 7"/>
            <p:cNvGrpSpPr/>
            <p:nvPr/>
          </p:nvGrpSpPr>
          <p:grpSpPr>
            <a:xfrm>
              <a:off x="1141412" y="2472891"/>
              <a:ext cx="6019800" cy="575109"/>
              <a:chOff x="851791" y="2799486"/>
              <a:chExt cx="8024310" cy="766812"/>
            </a:xfrm>
          </p:grpSpPr>
          <p:sp>
            <p:nvSpPr>
              <p:cNvPr id="10" name="Rounded Rectangle 9"/>
              <p:cNvSpPr/>
              <p:nvPr/>
            </p:nvSpPr>
            <p:spPr bwMode="auto">
              <a:xfrm>
                <a:off x="2250572" y="2855098"/>
                <a:ext cx="6625529" cy="640616"/>
              </a:xfrm>
              <a:prstGeom prst="roundRect">
                <a:avLst>
                  <a:gd name="adj" fmla="val 9078"/>
                </a:avLst>
              </a:prstGeom>
              <a:noFill/>
              <a:ln w="12700" cap="flat" cmpd="sng" algn="ctr">
                <a:noFill/>
                <a:prstDash val="solid"/>
                <a:round/>
                <a:headEnd type="none" w="med" len="med"/>
                <a:tailEnd type="none" w="med" len="med"/>
              </a:ln>
              <a:effectLst/>
            </p:spPr>
            <p:txBody>
              <a:bodyPr vert="horz" wrap="square" lIns="91412" tIns="137119" rIns="91412" bIns="91412" numCol="1" rtlCol="0" anchor="ctr" anchorCtr="0" compatLnSpc="1">
                <a:prstTxWarp prst="textNoShape">
                  <a:avLst/>
                </a:prstTxWarp>
              </a:bodyPr>
              <a:lstStyle/>
              <a:p>
                <a:pPr marL="0" lvl="1" defTabSz="514253" fontAlgn="base">
                  <a:lnSpc>
                    <a:spcPct val="85000"/>
                  </a:lnSpc>
                  <a:spcBef>
                    <a:spcPct val="25000"/>
                  </a:spcBef>
                  <a:spcAft>
                    <a:spcPct val="0"/>
                  </a:spcAft>
                  <a:buClr>
                    <a:srgbClr val="F7AB3B"/>
                  </a:buClr>
                  <a:buSzPct val="95000"/>
                  <a:defRPr/>
                </a:pPr>
                <a:r>
                  <a:rPr lang="en-US" sz="1500" dirty="0">
                    <a:solidFill>
                      <a:prstClr val="white">
                        <a:alpha val="99000"/>
                      </a:prstClr>
                    </a:solidFill>
                    <a:latin typeface="Segoe Semibold" pitchFamily="34" charset="0"/>
                  </a:rPr>
                  <a:t>Advanced Persistent Threat</a:t>
                </a:r>
              </a:p>
            </p:txBody>
          </p:sp>
          <p:sp>
            <p:nvSpPr>
              <p:cNvPr id="11" name="Freeform 13"/>
              <p:cNvSpPr>
                <a:spLocks noChangeAspect="1" noEditPoints="1"/>
              </p:cNvSpPr>
              <p:nvPr/>
            </p:nvSpPr>
            <p:spPr bwMode="auto">
              <a:xfrm>
                <a:off x="851791" y="2799486"/>
                <a:ext cx="772220" cy="766812"/>
              </a:xfrm>
              <a:custGeom>
                <a:avLst/>
                <a:gdLst>
                  <a:gd name="T0" fmla="*/ 294 w 302"/>
                  <a:gd name="T1" fmla="*/ 294 h 300"/>
                  <a:gd name="T2" fmla="*/ 279 w 302"/>
                  <a:gd name="T3" fmla="*/ 300 h 300"/>
                  <a:gd name="T4" fmla="*/ 264 w 302"/>
                  <a:gd name="T5" fmla="*/ 294 h 300"/>
                  <a:gd name="T6" fmla="*/ 164 w 302"/>
                  <a:gd name="T7" fmla="*/ 194 h 300"/>
                  <a:gd name="T8" fmla="*/ 181 w 302"/>
                  <a:gd name="T9" fmla="*/ 181 h 300"/>
                  <a:gd name="T10" fmla="*/ 194 w 302"/>
                  <a:gd name="T11" fmla="*/ 164 h 300"/>
                  <a:gd name="T12" fmla="*/ 294 w 302"/>
                  <a:gd name="T13" fmla="*/ 264 h 300"/>
                  <a:gd name="T14" fmla="*/ 294 w 302"/>
                  <a:gd name="T15" fmla="*/ 294 h 300"/>
                  <a:gd name="T16" fmla="*/ 207 w 302"/>
                  <a:gd name="T17" fmla="*/ 104 h 300"/>
                  <a:gd name="T18" fmla="*/ 177 w 302"/>
                  <a:gd name="T19" fmla="*/ 30 h 300"/>
                  <a:gd name="T20" fmla="*/ 103 w 302"/>
                  <a:gd name="T21" fmla="*/ 0 h 300"/>
                  <a:gd name="T22" fmla="*/ 30 w 302"/>
                  <a:gd name="T23" fmla="*/ 30 h 300"/>
                  <a:gd name="T24" fmla="*/ 0 w 302"/>
                  <a:gd name="T25" fmla="*/ 104 h 300"/>
                  <a:gd name="T26" fmla="*/ 30 w 302"/>
                  <a:gd name="T27" fmla="*/ 177 h 300"/>
                  <a:gd name="T28" fmla="*/ 103 w 302"/>
                  <a:gd name="T29" fmla="*/ 207 h 300"/>
                  <a:gd name="T30" fmla="*/ 177 w 302"/>
                  <a:gd name="T31" fmla="*/ 177 h 300"/>
                  <a:gd name="T32" fmla="*/ 207 w 302"/>
                  <a:gd name="T33" fmla="*/ 104 h 300"/>
                  <a:gd name="T34" fmla="*/ 161 w 302"/>
                  <a:gd name="T35" fmla="*/ 46 h 300"/>
                  <a:gd name="T36" fmla="*/ 185 w 302"/>
                  <a:gd name="T37" fmla="*/ 104 h 300"/>
                  <a:gd name="T38" fmla="*/ 161 w 302"/>
                  <a:gd name="T39" fmla="*/ 161 h 300"/>
                  <a:gd name="T40" fmla="*/ 103 w 302"/>
                  <a:gd name="T41" fmla="*/ 185 h 300"/>
                  <a:gd name="T42" fmla="*/ 46 w 302"/>
                  <a:gd name="T43" fmla="*/ 161 h 300"/>
                  <a:gd name="T44" fmla="*/ 22 w 302"/>
                  <a:gd name="T45" fmla="*/ 104 h 300"/>
                  <a:gd name="T46" fmla="*/ 46 w 302"/>
                  <a:gd name="T47" fmla="*/ 46 h 300"/>
                  <a:gd name="T48" fmla="*/ 103 w 302"/>
                  <a:gd name="T49" fmla="*/ 22 h 300"/>
                  <a:gd name="T50" fmla="*/ 161 w 302"/>
                  <a:gd name="T51" fmla="*/ 46 h 300"/>
                  <a:gd name="T52" fmla="*/ 110 w 302"/>
                  <a:gd name="T53" fmla="*/ 43 h 300"/>
                  <a:gd name="T54" fmla="*/ 107 w 302"/>
                  <a:gd name="T55" fmla="*/ 40 h 300"/>
                  <a:gd name="T56" fmla="*/ 40 w 302"/>
                  <a:gd name="T57" fmla="*/ 107 h 300"/>
                  <a:gd name="T58" fmla="*/ 43 w 302"/>
                  <a:gd name="T59" fmla="*/ 110 h 300"/>
                  <a:gd name="T60" fmla="*/ 46 w 302"/>
                  <a:gd name="T61" fmla="*/ 107 h 300"/>
                  <a:gd name="T62" fmla="*/ 64 w 302"/>
                  <a:gd name="T63" fmla="*/ 64 h 300"/>
                  <a:gd name="T64" fmla="*/ 107 w 302"/>
                  <a:gd name="T65" fmla="*/ 46 h 300"/>
                  <a:gd name="T66" fmla="*/ 110 w 302"/>
                  <a:gd name="T67" fmla="*/ 43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2" h="300">
                    <a:moveTo>
                      <a:pt x="294" y="294"/>
                    </a:moveTo>
                    <a:cubicBezTo>
                      <a:pt x="290" y="298"/>
                      <a:pt x="284" y="300"/>
                      <a:pt x="279" y="300"/>
                    </a:cubicBezTo>
                    <a:cubicBezTo>
                      <a:pt x="273" y="300"/>
                      <a:pt x="268" y="298"/>
                      <a:pt x="264" y="294"/>
                    </a:cubicBezTo>
                    <a:cubicBezTo>
                      <a:pt x="264" y="294"/>
                      <a:pt x="184" y="213"/>
                      <a:pt x="164" y="194"/>
                    </a:cubicBezTo>
                    <a:cubicBezTo>
                      <a:pt x="170" y="190"/>
                      <a:pt x="176" y="186"/>
                      <a:pt x="181" y="181"/>
                    </a:cubicBezTo>
                    <a:cubicBezTo>
                      <a:pt x="186" y="176"/>
                      <a:pt x="190" y="170"/>
                      <a:pt x="194" y="164"/>
                    </a:cubicBezTo>
                    <a:cubicBezTo>
                      <a:pt x="294" y="264"/>
                      <a:pt x="294" y="264"/>
                      <a:pt x="294" y="264"/>
                    </a:cubicBezTo>
                    <a:cubicBezTo>
                      <a:pt x="302" y="272"/>
                      <a:pt x="302" y="286"/>
                      <a:pt x="294" y="294"/>
                    </a:cubicBezTo>
                    <a:close/>
                    <a:moveTo>
                      <a:pt x="207" y="104"/>
                    </a:moveTo>
                    <a:cubicBezTo>
                      <a:pt x="207" y="75"/>
                      <a:pt x="195" y="49"/>
                      <a:pt x="177" y="30"/>
                    </a:cubicBezTo>
                    <a:cubicBezTo>
                      <a:pt x="158" y="12"/>
                      <a:pt x="132" y="0"/>
                      <a:pt x="103" y="0"/>
                    </a:cubicBezTo>
                    <a:cubicBezTo>
                      <a:pt x="75" y="0"/>
                      <a:pt x="49" y="12"/>
                      <a:pt x="30" y="30"/>
                    </a:cubicBezTo>
                    <a:cubicBezTo>
                      <a:pt x="12" y="49"/>
                      <a:pt x="0" y="75"/>
                      <a:pt x="0" y="104"/>
                    </a:cubicBezTo>
                    <a:cubicBezTo>
                      <a:pt x="0" y="132"/>
                      <a:pt x="12" y="158"/>
                      <a:pt x="30" y="177"/>
                    </a:cubicBezTo>
                    <a:cubicBezTo>
                      <a:pt x="49" y="195"/>
                      <a:pt x="75" y="207"/>
                      <a:pt x="103" y="207"/>
                    </a:cubicBezTo>
                    <a:cubicBezTo>
                      <a:pt x="132" y="207"/>
                      <a:pt x="158" y="195"/>
                      <a:pt x="177" y="177"/>
                    </a:cubicBezTo>
                    <a:cubicBezTo>
                      <a:pt x="195" y="158"/>
                      <a:pt x="207" y="132"/>
                      <a:pt x="207" y="104"/>
                    </a:cubicBezTo>
                    <a:close/>
                    <a:moveTo>
                      <a:pt x="161" y="46"/>
                    </a:moveTo>
                    <a:cubicBezTo>
                      <a:pt x="176" y="60"/>
                      <a:pt x="185" y="81"/>
                      <a:pt x="185" y="104"/>
                    </a:cubicBezTo>
                    <a:cubicBezTo>
                      <a:pt x="185" y="126"/>
                      <a:pt x="176" y="147"/>
                      <a:pt x="161" y="161"/>
                    </a:cubicBezTo>
                    <a:cubicBezTo>
                      <a:pt x="147" y="176"/>
                      <a:pt x="126" y="185"/>
                      <a:pt x="103" y="185"/>
                    </a:cubicBezTo>
                    <a:cubicBezTo>
                      <a:pt x="81" y="185"/>
                      <a:pt x="60" y="176"/>
                      <a:pt x="46" y="161"/>
                    </a:cubicBezTo>
                    <a:cubicBezTo>
                      <a:pt x="31" y="147"/>
                      <a:pt x="22" y="126"/>
                      <a:pt x="22" y="104"/>
                    </a:cubicBezTo>
                    <a:cubicBezTo>
                      <a:pt x="22" y="81"/>
                      <a:pt x="31" y="60"/>
                      <a:pt x="46" y="46"/>
                    </a:cubicBezTo>
                    <a:cubicBezTo>
                      <a:pt x="60" y="31"/>
                      <a:pt x="81" y="22"/>
                      <a:pt x="103" y="22"/>
                    </a:cubicBezTo>
                    <a:cubicBezTo>
                      <a:pt x="126" y="22"/>
                      <a:pt x="147" y="31"/>
                      <a:pt x="161" y="46"/>
                    </a:cubicBezTo>
                    <a:close/>
                    <a:moveTo>
                      <a:pt x="110" y="43"/>
                    </a:moveTo>
                    <a:cubicBezTo>
                      <a:pt x="110" y="41"/>
                      <a:pt x="108" y="40"/>
                      <a:pt x="107" y="40"/>
                    </a:cubicBezTo>
                    <a:cubicBezTo>
                      <a:pt x="70" y="40"/>
                      <a:pt x="40" y="70"/>
                      <a:pt x="40" y="107"/>
                    </a:cubicBezTo>
                    <a:cubicBezTo>
                      <a:pt x="40" y="108"/>
                      <a:pt x="41" y="110"/>
                      <a:pt x="43" y="110"/>
                    </a:cubicBezTo>
                    <a:cubicBezTo>
                      <a:pt x="45" y="110"/>
                      <a:pt x="46" y="108"/>
                      <a:pt x="46" y="107"/>
                    </a:cubicBezTo>
                    <a:cubicBezTo>
                      <a:pt x="46" y="90"/>
                      <a:pt x="53" y="75"/>
                      <a:pt x="64" y="64"/>
                    </a:cubicBezTo>
                    <a:cubicBezTo>
                      <a:pt x="75" y="53"/>
                      <a:pt x="90" y="46"/>
                      <a:pt x="107" y="46"/>
                    </a:cubicBezTo>
                    <a:cubicBezTo>
                      <a:pt x="108" y="46"/>
                      <a:pt x="110" y="45"/>
                      <a:pt x="110" y="43"/>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3" name="Group 52"/>
          <p:cNvGrpSpPr/>
          <p:nvPr/>
        </p:nvGrpSpPr>
        <p:grpSpPr>
          <a:xfrm>
            <a:off x="-58356" y="3429000"/>
            <a:ext cx="9260712" cy="514350"/>
            <a:chOff x="-77788" y="4572000"/>
            <a:chExt cx="12344400" cy="685800"/>
          </a:xfrm>
        </p:grpSpPr>
        <p:sp>
          <p:nvSpPr>
            <p:cNvPr id="48" name="Rectangle 47"/>
            <p:cNvSpPr/>
            <p:nvPr/>
          </p:nvSpPr>
          <p:spPr bwMode="auto">
            <a:xfrm>
              <a:off x="-77788" y="4572000"/>
              <a:ext cx="12344400" cy="685800"/>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grpSp>
          <p:nvGrpSpPr>
            <p:cNvPr id="12" name="Group 11"/>
            <p:cNvGrpSpPr/>
            <p:nvPr/>
          </p:nvGrpSpPr>
          <p:grpSpPr>
            <a:xfrm>
              <a:off x="1141412" y="4648200"/>
              <a:ext cx="6019800" cy="480462"/>
              <a:chOff x="965434" y="4383908"/>
              <a:chExt cx="8024310" cy="640616"/>
            </a:xfrm>
          </p:grpSpPr>
          <p:sp>
            <p:nvSpPr>
              <p:cNvPr id="14" name="big cloud"/>
              <p:cNvSpPr>
                <a:spLocks noChangeAspect="1"/>
              </p:cNvSpPr>
              <p:nvPr/>
            </p:nvSpPr>
            <p:spPr bwMode="auto">
              <a:xfrm>
                <a:off x="965434" y="4510447"/>
                <a:ext cx="970379" cy="514076"/>
              </a:xfrm>
              <a:custGeom>
                <a:avLst/>
                <a:gdLst/>
                <a:ahLst/>
                <a:cxnLst>
                  <a:cxn ang="0">
                    <a:pos x="6359" y="0"/>
                  </a:cxn>
                  <a:cxn ang="0">
                    <a:pos x="4385" y="1129"/>
                  </a:cxn>
                  <a:cxn ang="0">
                    <a:pos x="3525" y="915"/>
                  </a:cxn>
                  <a:cxn ang="0">
                    <a:pos x="1888" y="1923"/>
                  </a:cxn>
                  <a:cxn ang="0">
                    <a:pos x="1378" y="1826"/>
                  </a:cxn>
                  <a:cxn ang="0">
                    <a:pos x="0" y="3203"/>
                  </a:cxn>
                  <a:cxn ang="0">
                    <a:pos x="1301" y="4578"/>
                  </a:cxn>
                  <a:cxn ang="0">
                    <a:pos x="1301" y="4581"/>
                  </a:cxn>
                  <a:cxn ang="0">
                    <a:pos x="6359" y="4581"/>
                  </a:cxn>
                  <a:cxn ang="0">
                    <a:pos x="8650" y="2290"/>
                  </a:cxn>
                  <a:cxn ang="0">
                    <a:pos x="6359" y="0"/>
                  </a:cxn>
                </a:cxnLst>
                <a:rect l="0" t="0" r="r" b="b"/>
                <a:pathLst>
                  <a:path w="8650" h="4581">
                    <a:moveTo>
                      <a:pt x="6359" y="0"/>
                    </a:moveTo>
                    <a:cubicBezTo>
                      <a:pt x="5518" y="0"/>
                      <a:pt x="4783" y="453"/>
                      <a:pt x="4385" y="1129"/>
                    </a:cubicBezTo>
                    <a:cubicBezTo>
                      <a:pt x="4128" y="993"/>
                      <a:pt x="3836" y="915"/>
                      <a:pt x="3525" y="915"/>
                    </a:cubicBezTo>
                    <a:cubicBezTo>
                      <a:pt x="2809" y="915"/>
                      <a:pt x="2190" y="1325"/>
                      <a:pt x="1888" y="1923"/>
                    </a:cubicBezTo>
                    <a:cubicBezTo>
                      <a:pt x="1730" y="1860"/>
                      <a:pt x="1558" y="1826"/>
                      <a:pt x="1378" y="1826"/>
                    </a:cubicBezTo>
                    <a:cubicBezTo>
                      <a:pt x="617" y="1826"/>
                      <a:pt x="0" y="2442"/>
                      <a:pt x="0" y="3203"/>
                    </a:cubicBezTo>
                    <a:cubicBezTo>
                      <a:pt x="0" y="3938"/>
                      <a:pt x="576" y="4538"/>
                      <a:pt x="1301" y="4578"/>
                    </a:cubicBezTo>
                    <a:cubicBezTo>
                      <a:pt x="1301" y="4581"/>
                      <a:pt x="1301" y="4581"/>
                      <a:pt x="1301" y="4581"/>
                    </a:cubicBezTo>
                    <a:cubicBezTo>
                      <a:pt x="6359" y="4581"/>
                      <a:pt x="6359" y="4581"/>
                      <a:pt x="6359" y="4581"/>
                    </a:cubicBezTo>
                    <a:cubicBezTo>
                      <a:pt x="7624" y="4581"/>
                      <a:pt x="8650" y="3555"/>
                      <a:pt x="8650" y="2290"/>
                    </a:cubicBezTo>
                    <a:cubicBezTo>
                      <a:pt x="8650" y="1025"/>
                      <a:pt x="7624" y="0"/>
                      <a:pt x="6359" y="0"/>
                    </a:cubicBezTo>
                    <a:close/>
                  </a:path>
                </a:pathLst>
              </a:custGeom>
              <a:solidFill>
                <a:schemeClr val="tx1"/>
              </a:solidFill>
              <a:ln w="38100" cap="rnd">
                <a:solidFill>
                  <a:schemeClr val="tx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514254" fontAlgn="base">
                  <a:spcBef>
                    <a:spcPct val="0"/>
                  </a:spcBef>
                  <a:spcAft>
                    <a:spcPct val="0"/>
                  </a:spcAft>
                </a:pPr>
                <a:endParaRPr lang="en-US" sz="1100" b="1">
                  <a:gradFill>
                    <a:gsLst>
                      <a:gs pos="0">
                        <a:srgbClr val="FFFFFF"/>
                      </a:gs>
                      <a:gs pos="100000">
                        <a:srgbClr val="FFFFFF"/>
                      </a:gs>
                    </a:gsLst>
                    <a:lin ang="5400000" scaled="0"/>
                  </a:gradFill>
                  <a:latin typeface="Segoe UI Light" pitchFamily="34" charset="0"/>
                </a:endParaRPr>
              </a:p>
            </p:txBody>
          </p:sp>
          <p:sp>
            <p:nvSpPr>
              <p:cNvPr id="15" name="Rounded Rectangle 14"/>
              <p:cNvSpPr/>
              <p:nvPr/>
            </p:nvSpPr>
            <p:spPr bwMode="auto">
              <a:xfrm>
                <a:off x="2364215" y="4383908"/>
                <a:ext cx="6625529" cy="640616"/>
              </a:xfrm>
              <a:prstGeom prst="roundRect">
                <a:avLst>
                  <a:gd name="adj" fmla="val 9078"/>
                </a:avLst>
              </a:prstGeom>
              <a:noFill/>
              <a:ln w="12700" cap="flat" cmpd="sng" algn="ctr">
                <a:noFill/>
                <a:prstDash val="solid"/>
                <a:round/>
                <a:headEnd type="none" w="med" len="med"/>
                <a:tailEnd type="none" w="med" len="med"/>
              </a:ln>
              <a:effectLst/>
            </p:spPr>
            <p:txBody>
              <a:bodyPr vert="horz" wrap="square" lIns="91412" tIns="137119" rIns="91412" bIns="91412" numCol="1" rtlCol="0" anchor="ctr" anchorCtr="0" compatLnSpc="1">
                <a:prstTxWarp prst="textNoShape">
                  <a:avLst/>
                </a:prstTxWarp>
              </a:bodyPr>
              <a:lstStyle/>
              <a:p>
                <a:pPr marL="0" lvl="1" defTabSz="514253" fontAlgn="base">
                  <a:lnSpc>
                    <a:spcPct val="85000"/>
                  </a:lnSpc>
                  <a:spcBef>
                    <a:spcPct val="25000"/>
                  </a:spcBef>
                  <a:spcAft>
                    <a:spcPct val="0"/>
                  </a:spcAft>
                  <a:buClr>
                    <a:srgbClr val="F7AB3B"/>
                  </a:buClr>
                  <a:buSzPct val="95000"/>
                  <a:defRPr/>
                </a:pPr>
                <a:endParaRPr lang="en-US" sz="1500" dirty="0">
                  <a:solidFill>
                    <a:prstClr val="white">
                      <a:alpha val="99000"/>
                    </a:prstClr>
                  </a:solidFill>
                  <a:latin typeface="Segoe Semibold" pitchFamily="34" charset="0"/>
                </a:endParaRPr>
              </a:p>
              <a:p>
                <a:pPr marL="0" lvl="1" defTabSz="514253" fontAlgn="base">
                  <a:lnSpc>
                    <a:spcPct val="85000"/>
                  </a:lnSpc>
                  <a:spcBef>
                    <a:spcPct val="25000"/>
                  </a:spcBef>
                  <a:spcAft>
                    <a:spcPct val="0"/>
                  </a:spcAft>
                  <a:buClr>
                    <a:srgbClr val="F7AB3B"/>
                  </a:buClr>
                  <a:buSzPct val="95000"/>
                  <a:defRPr/>
                </a:pPr>
                <a:r>
                  <a:rPr lang="en-US" sz="1500" dirty="0">
                    <a:solidFill>
                      <a:prstClr val="white">
                        <a:alpha val="99000"/>
                      </a:prstClr>
                    </a:solidFill>
                    <a:latin typeface="Segoe Semibold" pitchFamily="34" charset="0"/>
                  </a:rPr>
                  <a:t>Cloud Computing</a:t>
                </a:r>
              </a:p>
              <a:p>
                <a:pPr marL="0" lvl="1" defTabSz="514253" fontAlgn="base">
                  <a:lnSpc>
                    <a:spcPct val="85000"/>
                  </a:lnSpc>
                  <a:spcBef>
                    <a:spcPct val="25000"/>
                  </a:spcBef>
                  <a:spcAft>
                    <a:spcPct val="0"/>
                  </a:spcAft>
                  <a:buClr>
                    <a:srgbClr val="F7AB3B"/>
                  </a:buClr>
                  <a:buSzPct val="95000"/>
                  <a:defRPr/>
                </a:pPr>
                <a:endParaRPr lang="en-US" sz="1500" dirty="0">
                  <a:solidFill>
                    <a:prstClr val="white">
                      <a:alpha val="99000"/>
                    </a:prstClr>
                  </a:solidFill>
                  <a:latin typeface="Segoe Semibold" pitchFamily="34" charset="0"/>
                </a:endParaRPr>
              </a:p>
            </p:txBody>
          </p:sp>
        </p:grpSp>
      </p:grpSp>
      <p:grpSp>
        <p:nvGrpSpPr>
          <p:cNvPr id="54" name="Group 53"/>
          <p:cNvGrpSpPr/>
          <p:nvPr/>
        </p:nvGrpSpPr>
        <p:grpSpPr>
          <a:xfrm>
            <a:off x="-58356" y="4229100"/>
            <a:ext cx="9260712" cy="514350"/>
            <a:chOff x="-77788" y="5638800"/>
            <a:chExt cx="12344400" cy="685800"/>
          </a:xfrm>
        </p:grpSpPr>
        <p:sp>
          <p:nvSpPr>
            <p:cNvPr id="49" name="Rectangle 48"/>
            <p:cNvSpPr/>
            <p:nvPr/>
          </p:nvSpPr>
          <p:spPr bwMode="auto">
            <a:xfrm>
              <a:off x="-77788" y="5638800"/>
              <a:ext cx="12344400" cy="68580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grpSp>
          <p:nvGrpSpPr>
            <p:cNvPr id="16" name="Group 15"/>
            <p:cNvGrpSpPr/>
            <p:nvPr/>
          </p:nvGrpSpPr>
          <p:grpSpPr>
            <a:xfrm>
              <a:off x="1217612" y="5715002"/>
              <a:ext cx="5943600" cy="562810"/>
              <a:chOff x="699610" y="5133340"/>
              <a:chExt cx="7922737" cy="750413"/>
            </a:xfrm>
          </p:grpSpPr>
          <p:sp>
            <p:nvSpPr>
              <p:cNvPr id="18" name="Rounded Rectangle 17"/>
              <p:cNvSpPr/>
              <p:nvPr/>
            </p:nvSpPr>
            <p:spPr bwMode="auto">
              <a:xfrm>
                <a:off x="1996818" y="5148312"/>
                <a:ext cx="6625529" cy="640616"/>
              </a:xfrm>
              <a:prstGeom prst="roundRect">
                <a:avLst>
                  <a:gd name="adj" fmla="val 9078"/>
                </a:avLst>
              </a:prstGeom>
              <a:noFill/>
              <a:ln w="12700" cap="flat" cmpd="sng" algn="ctr">
                <a:noFill/>
                <a:prstDash val="solid"/>
                <a:round/>
                <a:headEnd type="none" w="med" len="med"/>
                <a:tailEnd type="none" w="med" len="med"/>
              </a:ln>
              <a:effectLst/>
            </p:spPr>
            <p:txBody>
              <a:bodyPr vert="horz" wrap="square" lIns="91412" tIns="137119" rIns="91412" bIns="91412" numCol="1" rtlCol="0" anchor="ctr" anchorCtr="0" compatLnSpc="1">
                <a:prstTxWarp prst="textNoShape">
                  <a:avLst/>
                </a:prstTxWarp>
              </a:bodyPr>
              <a:lstStyle/>
              <a:p>
                <a:pPr marL="0" lvl="1" defTabSz="514253" fontAlgn="base">
                  <a:lnSpc>
                    <a:spcPct val="85000"/>
                  </a:lnSpc>
                  <a:spcBef>
                    <a:spcPct val="25000"/>
                  </a:spcBef>
                  <a:spcAft>
                    <a:spcPct val="0"/>
                  </a:spcAft>
                  <a:buClr>
                    <a:srgbClr val="F7AB3B"/>
                  </a:buClr>
                  <a:buSzPct val="95000"/>
                  <a:defRPr/>
                </a:pPr>
                <a:r>
                  <a:rPr lang="en-US" sz="1500" dirty="0">
                    <a:solidFill>
                      <a:prstClr val="white">
                        <a:alpha val="99000"/>
                      </a:prstClr>
                    </a:solidFill>
                    <a:latin typeface="Segoe Semibold" pitchFamily="34" charset="0"/>
                  </a:rPr>
                  <a:t>Government Interests</a:t>
                </a:r>
              </a:p>
            </p:txBody>
          </p:sp>
          <p:sp>
            <p:nvSpPr>
              <p:cNvPr id="19" name="Freeform 24"/>
              <p:cNvSpPr>
                <a:spLocks noChangeAspect="1" noEditPoints="1"/>
              </p:cNvSpPr>
              <p:nvPr/>
            </p:nvSpPr>
            <p:spPr bwMode="auto">
              <a:xfrm>
                <a:off x="699610" y="5133340"/>
                <a:ext cx="754336" cy="750413"/>
              </a:xfrm>
              <a:custGeom>
                <a:avLst/>
                <a:gdLst>
                  <a:gd name="T0" fmla="*/ 407 w 407"/>
                  <a:gd name="T1" fmla="*/ 94 h 405"/>
                  <a:gd name="T2" fmla="*/ 0 w 407"/>
                  <a:gd name="T3" fmla="*/ 141 h 405"/>
                  <a:gd name="T4" fmla="*/ 325 w 407"/>
                  <a:gd name="T5" fmla="*/ 348 h 405"/>
                  <a:gd name="T6" fmla="*/ 393 w 407"/>
                  <a:gd name="T7" fmla="*/ 358 h 405"/>
                  <a:gd name="T8" fmla="*/ 407 w 407"/>
                  <a:gd name="T9" fmla="*/ 405 h 405"/>
                  <a:gd name="T10" fmla="*/ 0 w 407"/>
                  <a:gd name="T11" fmla="*/ 358 h 405"/>
                  <a:gd name="T12" fmla="*/ 26 w 407"/>
                  <a:gd name="T13" fmla="*/ 348 h 405"/>
                  <a:gd name="T14" fmla="*/ 93 w 407"/>
                  <a:gd name="T15" fmla="*/ 358 h 405"/>
                  <a:gd name="T16" fmla="*/ 125 w 407"/>
                  <a:gd name="T17" fmla="*/ 348 h 405"/>
                  <a:gd name="T18" fmla="*/ 192 w 407"/>
                  <a:gd name="T19" fmla="*/ 358 h 405"/>
                  <a:gd name="T20" fmla="*/ 225 w 407"/>
                  <a:gd name="T21" fmla="*/ 348 h 405"/>
                  <a:gd name="T22" fmla="*/ 293 w 407"/>
                  <a:gd name="T23" fmla="*/ 358 h 405"/>
                  <a:gd name="T24" fmla="*/ 325 w 407"/>
                  <a:gd name="T25" fmla="*/ 348 h 405"/>
                  <a:gd name="T26" fmla="*/ 82 w 407"/>
                  <a:gd name="T27" fmla="*/ 160 h 405"/>
                  <a:gd name="T28" fmla="*/ 77 w 407"/>
                  <a:gd name="T29" fmla="*/ 341 h 405"/>
                  <a:gd name="T30" fmla="*/ 30 w 407"/>
                  <a:gd name="T31" fmla="*/ 160 h 405"/>
                  <a:gd name="T32" fmla="*/ 14 w 407"/>
                  <a:gd name="T33" fmla="*/ 149 h 405"/>
                  <a:gd name="T34" fmla="*/ 192 w 407"/>
                  <a:gd name="T35" fmla="*/ 149 h 405"/>
                  <a:gd name="T36" fmla="*/ 177 w 407"/>
                  <a:gd name="T37" fmla="*/ 160 h 405"/>
                  <a:gd name="T38" fmla="*/ 130 w 407"/>
                  <a:gd name="T39" fmla="*/ 341 h 405"/>
                  <a:gd name="T40" fmla="*/ 125 w 407"/>
                  <a:gd name="T41" fmla="*/ 160 h 405"/>
                  <a:gd name="T42" fmla="*/ 192 w 407"/>
                  <a:gd name="T43" fmla="*/ 149 h 405"/>
                  <a:gd name="T44" fmla="*/ 282 w 407"/>
                  <a:gd name="T45" fmla="*/ 160 h 405"/>
                  <a:gd name="T46" fmla="*/ 277 w 407"/>
                  <a:gd name="T47" fmla="*/ 341 h 405"/>
                  <a:gd name="T48" fmla="*/ 230 w 407"/>
                  <a:gd name="T49" fmla="*/ 160 h 405"/>
                  <a:gd name="T50" fmla="*/ 214 w 407"/>
                  <a:gd name="T51" fmla="*/ 149 h 405"/>
                  <a:gd name="T52" fmla="*/ 377 w 407"/>
                  <a:gd name="T53" fmla="*/ 160 h 405"/>
                  <a:gd name="T54" fmla="*/ 330 w 407"/>
                  <a:gd name="T55" fmla="*/ 341 h 405"/>
                  <a:gd name="T56" fmla="*/ 325 w 407"/>
                  <a:gd name="T57" fmla="*/ 160 h 405"/>
                  <a:gd name="T58" fmla="*/ 393 w 407"/>
                  <a:gd name="T59" fmla="*/ 149 h 405"/>
                  <a:gd name="T60" fmla="*/ 377 w 407"/>
                  <a:gd name="T61" fmla="*/ 160 h 405"/>
                  <a:gd name="T62" fmla="*/ 204 w 407"/>
                  <a:gd name="T63" fmla="*/ 0 h 405"/>
                  <a:gd name="T64" fmla="*/ 0 w 407"/>
                  <a:gd name="T65" fmla="*/ 86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7" h="405">
                    <a:moveTo>
                      <a:pt x="0" y="94"/>
                    </a:moveTo>
                    <a:cubicBezTo>
                      <a:pt x="407" y="94"/>
                      <a:pt x="407" y="94"/>
                      <a:pt x="407" y="94"/>
                    </a:cubicBezTo>
                    <a:cubicBezTo>
                      <a:pt x="407" y="141"/>
                      <a:pt x="407" y="141"/>
                      <a:pt x="407" y="141"/>
                    </a:cubicBezTo>
                    <a:cubicBezTo>
                      <a:pt x="0" y="141"/>
                      <a:pt x="0" y="141"/>
                      <a:pt x="0" y="141"/>
                    </a:cubicBezTo>
                    <a:cubicBezTo>
                      <a:pt x="0" y="94"/>
                      <a:pt x="0" y="94"/>
                      <a:pt x="0" y="94"/>
                    </a:cubicBezTo>
                    <a:close/>
                    <a:moveTo>
                      <a:pt x="325" y="348"/>
                    </a:moveTo>
                    <a:cubicBezTo>
                      <a:pt x="382" y="348"/>
                      <a:pt x="382" y="348"/>
                      <a:pt x="382" y="348"/>
                    </a:cubicBezTo>
                    <a:cubicBezTo>
                      <a:pt x="389" y="348"/>
                      <a:pt x="392" y="353"/>
                      <a:pt x="393" y="358"/>
                    </a:cubicBezTo>
                    <a:cubicBezTo>
                      <a:pt x="407" y="358"/>
                      <a:pt x="407" y="358"/>
                      <a:pt x="407" y="358"/>
                    </a:cubicBezTo>
                    <a:cubicBezTo>
                      <a:pt x="407" y="405"/>
                      <a:pt x="407" y="405"/>
                      <a:pt x="407" y="405"/>
                    </a:cubicBezTo>
                    <a:cubicBezTo>
                      <a:pt x="0" y="405"/>
                      <a:pt x="0" y="405"/>
                      <a:pt x="0" y="405"/>
                    </a:cubicBezTo>
                    <a:cubicBezTo>
                      <a:pt x="0" y="358"/>
                      <a:pt x="0" y="358"/>
                      <a:pt x="0" y="358"/>
                    </a:cubicBezTo>
                    <a:cubicBezTo>
                      <a:pt x="14" y="358"/>
                      <a:pt x="14" y="358"/>
                      <a:pt x="14" y="358"/>
                    </a:cubicBezTo>
                    <a:cubicBezTo>
                      <a:pt x="15" y="353"/>
                      <a:pt x="19" y="348"/>
                      <a:pt x="26" y="348"/>
                    </a:cubicBezTo>
                    <a:cubicBezTo>
                      <a:pt x="82" y="348"/>
                      <a:pt x="82" y="348"/>
                      <a:pt x="82" y="348"/>
                    </a:cubicBezTo>
                    <a:cubicBezTo>
                      <a:pt x="89" y="348"/>
                      <a:pt x="93" y="353"/>
                      <a:pt x="93" y="358"/>
                    </a:cubicBezTo>
                    <a:cubicBezTo>
                      <a:pt x="114" y="358"/>
                      <a:pt x="114" y="358"/>
                      <a:pt x="114" y="358"/>
                    </a:cubicBezTo>
                    <a:cubicBezTo>
                      <a:pt x="114" y="353"/>
                      <a:pt x="118" y="348"/>
                      <a:pt x="125" y="348"/>
                    </a:cubicBezTo>
                    <a:cubicBezTo>
                      <a:pt x="181" y="348"/>
                      <a:pt x="181" y="348"/>
                      <a:pt x="181" y="348"/>
                    </a:cubicBezTo>
                    <a:cubicBezTo>
                      <a:pt x="188" y="348"/>
                      <a:pt x="192" y="353"/>
                      <a:pt x="192" y="358"/>
                    </a:cubicBezTo>
                    <a:cubicBezTo>
                      <a:pt x="214" y="358"/>
                      <a:pt x="214" y="358"/>
                      <a:pt x="214" y="358"/>
                    </a:cubicBezTo>
                    <a:cubicBezTo>
                      <a:pt x="215" y="353"/>
                      <a:pt x="218" y="348"/>
                      <a:pt x="225" y="348"/>
                    </a:cubicBezTo>
                    <a:cubicBezTo>
                      <a:pt x="282" y="348"/>
                      <a:pt x="282" y="348"/>
                      <a:pt x="282" y="348"/>
                    </a:cubicBezTo>
                    <a:cubicBezTo>
                      <a:pt x="289" y="348"/>
                      <a:pt x="293" y="353"/>
                      <a:pt x="293" y="358"/>
                    </a:cubicBezTo>
                    <a:cubicBezTo>
                      <a:pt x="314" y="358"/>
                      <a:pt x="314" y="358"/>
                      <a:pt x="314" y="358"/>
                    </a:cubicBezTo>
                    <a:cubicBezTo>
                      <a:pt x="315" y="353"/>
                      <a:pt x="318" y="348"/>
                      <a:pt x="325" y="348"/>
                    </a:cubicBezTo>
                    <a:close/>
                    <a:moveTo>
                      <a:pt x="93" y="149"/>
                    </a:moveTo>
                    <a:cubicBezTo>
                      <a:pt x="93" y="154"/>
                      <a:pt x="90" y="160"/>
                      <a:pt x="82" y="160"/>
                    </a:cubicBezTo>
                    <a:cubicBezTo>
                      <a:pt x="77" y="160"/>
                      <a:pt x="77" y="160"/>
                      <a:pt x="77" y="160"/>
                    </a:cubicBezTo>
                    <a:cubicBezTo>
                      <a:pt x="77" y="341"/>
                      <a:pt x="77" y="341"/>
                      <a:pt x="77" y="341"/>
                    </a:cubicBezTo>
                    <a:cubicBezTo>
                      <a:pt x="30" y="341"/>
                      <a:pt x="30" y="341"/>
                      <a:pt x="30" y="341"/>
                    </a:cubicBezTo>
                    <a:cubicBezTo>
                      <a:pt x="30" y="160"/>
                      <a:pt x="30" y="160"/>
                      <a:pt x="30" y="160"/>
                    </a:cubicBezTo>
                    <a:cubicBezTo>
                      <a:pt x="26" y="160"/>
                      <a:pt x="26" y="160"/>
                      <a:pt x="26" y="160"/>
                    </a:cubicBezTo>
                    <a:cubicBezTo>
                      <a:pt x="18" y="160"/>
                      <a:pt x="14" y="154"/>
                      <a:pt x="14" y="149"/>
                    </a:cubicBezTo>
                    <a:cubicBezTo>
                      <a:pt x="93" y="149"/>
                      <a:pt x="93" y="149"/>
                      <a:pt x="93" y="149"/>
                    </a:cubicBezTo>
                    <a:close/>
                    <a:moveTo>
                      <a:pt x="192" y="149"/>
                    </a:moveTo>
                    <a:cubicBezTo>
                      <a:pt x="193" y="154"/>
                      <a:pt x="189" y="160"/>
                      <a:pt x="181" y="160"/>
                    </a:cubicBezTo>
                    <a:cubicBezTo>
                      <a:pt x="177" y="160"/>
                      <a:pt x="177" y="160"/>
                      <a:pt x="177" y="160"/>
                    </a:cubicBezTo>
                    <a:cubicBezTo>
                      <a:pt x="177" y="341"/>
                      <a:pt x="177" y="341"/>
                      <a:pt x="177" y="341"/>
                    </a:cubicBezTo>
                    <a:cubicBezTo>
                      <a:pt x="130" y="341"/>
                      <a:pt x="130" y="341"/>
                      <a:pt x="130" y="341"/>
                    </a:cubicBezTo>
                    <a:cubicBezTo>
                      <a:pt x="130" y="160"/>
                      <a:pt x="130" y="160"/>
                      <a:pt x="130" y="160"/>
                    </a:cubicBezTo>
                    <a:cubicBezTo>
                      <a:pt x="125" y="160"/>
                      <a:pt x="125" y="160"/>
                      <a:pt x="125" y="160"/>
                    </a:cubicBezTo>
                    <a:cubicBezTo>
                      <a:pt x="117" y="160"/>
                      <a:pt x="114" y="154"/>
                      <a:pt x="114" y="149"/>
                    </a:cubicBezTo>
                    <a:cubicBezTo>
                      <a:pt x="192" y="149"/>
                      <a:pt x="192" y="149"/>
                      <a:pt x="192" y="149"/>
                    </a:cubicBezTo>
                    <a:close/>
                    <a:moveTo>
                      <a:pt x="293" y="149"/>
                    </a:moveTo>
                    <a:cubicBezTo>
                      <a:pt x="293" y="154"/>
                      <a:pt x="289" y="160"/>
                      <a:pt x="282" y="160"/>
                    </a:cubicBezTo>
                    <a:cubicBezTo>
                      <a:pt x="277" y="160"/>
                      <a:pt x="277" y="160"/>
                      <a:pt x="277" y="160"/>
                    </a:cubicBezTo>
                    <a:cubicBezTo>
                      <a:pt x="277" y="341"/>
                      <a:pt x="277" y="341"/>
                      <a:pt x="277" y="341"/>
                    </a:cubicBezTo>
                    <a:cubicBezTo>
                      <a:pt x="230" y="341"/>
                      <a:pt x="230" y="341"/>
                      <a:pt x="230" y="341"/>
                    </a:cubicBezTo>
                    <a:cubicBezTo>
                      <a:pt x="230" y="160"/>
                      <a:pt x="230" y="160"/>
                      <a:pt x="230" y="160"/>
                    </a:cubicBezTo>
                    <a:cubicBezTo>
                      <a:pt x="225" y="160"/>
                      <a:pt x="225" y="160"/>
                      <a:pt x="225" y="160"/>
                    </a:cubicBezTo>
                    <a:cubicBezTo>
                      <a:pt x="218" y="160"/>
                      <a:pt x="214" y="154"/>
                      <a:pt x="214" y="149"/>
                    </a:cubicBezTo>
                    <a:cubicBezTo>
                      <a:pt x="293" y="149"/>
                      <a:pt x="293" y="149"/>
                      <a:pt x="293" y="149"/>
                    </a:cubicBezTo>
                    <a:close/>
                    <a:moveTo>
                      <a:pt x="377" y="160"/>
                    </a:moveTo>
                    <a:cubicBezTo>
                      <a:pt x="377" y="341"/>
                      <a:pt x="377" y="341"/>
                      <a:pt x="377" y="341"/>
                    </a:cubicBezTo>
                    <a:cubicBezTo>
                      <a:pt x="330" y="341"/>
                      <a:pt x="330" y="341"/>
                      <a:pt x="330" y="341"/>
                    </a:cubicBezTo>
                    <a:cubicBezTo>
                      <a:pt x="330" y="160"/>
                      <a:pt x="330" y="160"/>
                      <a:pt x="330" y="160"/>
                    </a:cubicBezTo>
                    <a:cubicBezTo>
                      <a:pt x="325" y="160"/>
                      <a:pt x="325" y="160"/>
                      <a:pt x="325" y="160"/>
                    </a:cubicBezTo>
                    <a:cubicBezTo>
                      <a:pt x="318" y="160"/>
                      <a:pt x="314" y="154"/>
                      <a:pt x="314" y="149"/>
                    </a:cubicBezTo>
                    <a:cubicBezTo>
                      <a:pt x="393" y="149"/>
                      <a:pt x="393" y="149"/>
                      <a:pt x="393" y="149"/>
                    </a:cubicBezTo>
                    <a:cubicBezTo>
                      <a:pt x="393" y="154"/>
                      <a:pt x="389" y="160"/>
                      <a:pt x="382" y="160"/>
                    </a:cubicBezTo>
                    <a:cubicBezTo>
                      <a:pt x="377" y="160"/>
                      <a:pt x="377" y="160"/>
                      <a:pt x="377" y="160"/>
                    </a:cubicBezTo>
                    <a:close/>
                    <a:moveTo>
                      <a:pt x="0" y="86"/>
                    </a:moveTo>
                    <a:cubicBezTo>
                      <a:pt x="204" y="0"/>
                      <a:pt x="204" y="0"/>
                      <a:pt x="204" y="0"/>
                    </a:cubicBezTo>
                    <a:cubicBezTo>
                      <a:pt x="407" y="86"/>
                      <a:pt x="407" y="86"/>
                      <a:pt x="407" y="86"/>
                    </a:cubicBezTo>
                    <a:cubicBezTo>
                      <a:pt x="0" y="86"/>
                      <a:pt x="0" y="86"/>
                      <a:pt x="0" y="8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50" name="Group 49"/>
          <p:cNvGrpSpPr/>
          <p:nvPr/>
        </p:nvGrpSpPr>
        <p:grpSpPr>
          <a:xfrm>
            <a:off x="-58356" y="1028700"/>
            <a:ext cx="9260712" cy="514350"/>
            <a:chOff x="-77788" y="1371600"/>
            <a:chExt cx="12344400" cy="685800"/>
          </a:xfrm>
        </p:grpSpPr>
        <p:sp>
          <p:nvSpPr>
            <p:cNvPr id="45" name="Rectangle 44"/>
            <p:cNvSpPr/>
            <p:nvPr/>
          </p:nvSpPr>
          <p:spPr bwMode="auto">
            <a:xfrm>
              <a:off x="-77788" y="1371600"/>
              <a:ext cx="12344400" cy="68580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grpSp>
          <p:nvGrpSpPr>
            <p:cNvPr id="20" name="Group 19"/>
            <p:cNvGrpSpPr/>
            <p:nvPr/>
          </p:nvGrpSpPr>
          <p:grpSpPr>
            <a:xfrm>
              <a:off x="760412" y="1480784"/>
              <a:ext cx="6363179" cy="520434"/>
              <a:chOff x="343922" y="2090693"/>
              <a:chExt cx="8482030" cy="693911"/>
            </a:xfrm>
          </p:grpSpPr>
          <p:sp>
            <p:nvSpPr>
              <p:cNvPr id="22" name="Rounded Rectangle 21"/>
              <p:cNvSpPr/>
              <p:nvPr/>
            </p:nvSpPr>
            <p:spPr bwMode="auto">
              <a:xfrm>
                <a:off x="2200423" y="2090693"/>
                <a:ext cx="6625529" cy="640616"/>
              </a:xfrm>
              <a:prstGeom prst="roundRect">
                <a:avLst>
                  <a:gd name="adj" fmla="val 9078"/>
                </a:avLst>
              </a:prstGeom>
              <a:noFill/>
              <a:ln w="12700" cap="flat" cmpd="sng" algn="ctr">
                <a:noFill/>
                <a:prstDash val="solid"/>
                <a:round/>
                <a:headEnd type="none" w="med" len="med"/>
                <a:tailEnd type="none" w="med" len="med"/>
              </a:ln>
              <a:effectLst/>
            </p:spPr>
            <p:txBody>
              <a:bodyPr vert="horz" wrap="square" lIns="91412" tIns="137119" rIns="91412" bIns="91412" numCol="1" rtlCol="0" anchor="ctr" anchorCtr="0" compatLnSpc="1">
                <a:prstTxWarp prst="textNoShape">
                  <a:avLst/>
                </a:prstTxWarp>
              </a:bodyPr>
              <a:lstStyle/>
              <a:p>
                <a:pPr marL="0" lvl="1" defTabSz="514253" fontAlgn="base">
                  <a:lnSpc>
                    <a:spcPct val="85000"/>
                  </a:lnSpc>
                  <a:spcBef>
                    <a:spcPct val="25000"/>
                  </a:spcBef>
                  <a:spcAft>
                    <a:spcPct val="0"/>
                  </a:spcAft>
                  <a:buClr>
                    <a:srgbClr val="F7AB3B"/>
                  </a:buClr>
                  <a:buSzPct val="95000"/>
                  <a:defRPr/>
                </a:pPr>
                <a:r>
                  <a:rPr lang="en-US" sz="1500" dirty="0" err="1">
                    <a:solidFill>
                      <a:prstClr val="white">
                        <a:alpha val="99000"/>
                      </a:prstClr>
                    </a:solidFill>
                    <a:latin typeface="Segoe Semibold" pitchFamily="34" charset="0"/>
                  </a:rPr>
                  <a:t>Consumerization</a:t>
                </a:r>
                <a:r>
                  <a:rPr lang="en-US" sz="1500" dirty="0">
                    <a:solidFill>
                      <a:prstClr val="white">
                        <a:alpha val="99000"/>
                      </a:prstClr>
                    </a:solidFill>
                    <a:latin typeface="Segoe Semibold" pitchFamily="34" charset="0"/>
                  </a:rPr>
                  <a:t> of IT</a:t>
                </a:r>
              </a:p>
            </p:txBody>
          </p:sp>
          <p:sp>
            <p:nvSpPr>
              <p:cNvPr id="23" name="Freeform 71"/>
              <p:cNvSpPr>
                <a:spLocks noChangeAspect="1" noEditPoints="1"/>
              </p:cNvSpPr>
              <p:nvPr/>
            </p:nvSpPr>
            <p:spPr bwMode="auto">
              <a:xfrm>
                <a:off x="343922" y="2240150"/>
                <a:ext cx="354902" cy="544454"/>
              </a:xfrm>
              <a:custGeom>
                <a:avLst/>
                <a:gdLst/>
                <a:ahLst/>
                <a:cxnLst>
                  <a:cxn ang="0">
                    <a:pos x="192" y="0"/>
                  </a:cxn>
                  <a:cxn ang="0">
                    <a:pos x="8" y="0"/>
                  </a:cxn>
                  <a:cxn ang="0">
                    <a:pos x="0" y="8"/>
                  </a:cxn>
                  <a:cxn ang="0">
                    <a:pos x="0" y="299"/>
                  </a:cxn>
                  <a:cxn ang="0">
                    <a:pos x="8" y="307"/>
                  </a:cxn>
                  <a:cxn ang="0">
                    <a:pos x="192" y="307"/>
                  </a:cxn>
                  <a:cxn ang="0">
                    <a:pos x="200" y="299"/>
                  </a:cxn>
                  <a:cxn ang="0">
                    <a:pos x="200" y="8"/>
                  </a:cxn>
                  <a:cxn ang="0">
                    <a:pos x="192" y="0"/>
                  </a:cxn>
                  <a:cxn ang="0">
                    <a:pos x="102" y="297"/>
                  </a:cxn>
                  <a:cxn ang="0">
                    <a:pos x="85" y="279"/>
                  </a:cxn>
                  <a:cxn ang="0">
                    <a:pos x="102" y="262"/>
                  </a:cxn>
                  <a:cxn ang="0">
                    <a:pos x="120" y="279"/>
                  </a:cxn>
                  <a:cxn ang="0">
                    <a:pos x="102" y="297"/>
                  </a:cxn>
                  <a:cxn ang="0">
                    <a:pos x="178" y="245"/>
                  </a:cxn>
                  <a:cxn ang="0">
                    <a:pos x="169" y="254"/>
                  </a:cxn>
                  <a:cxn ang="0">
                    <a:pos x="30" y="254"/>
                  </a:cxn>
                  <a:cxn ang="0">
                    <a:pos x="22" y="245"/>
                  </a:cxn>
                  <a:cxn ang="0">
                    <a:pos x="22" y="29"/>
                  </a:cxn>
                  <a:cxn ang="0">
                    <a:pos x="30" y="20"/>
                  </a:cxn>
                  <a:cxn ang="0">
                    <a:pos x="169" y="20"/>
                  </a:cxn>
                  <a:cxn ang="0">
                    <a:pos x="178" y="29"/>
                  </a:cxn>
                  <a:cxn ang="0">
                    <a:pos x="178" y="245"/>
                  </a:cxn>
                </a:cxnLst>
                <a:rect l="0" t="0" r="r" b="b"/>
                <a:pathLst>
                  <a:path w="200" h="307">
                    <a:moveTo>
                      <a:pt x="192" y="0"/>
                    </a:moveTo>
                    <a:cubicBezTo>
                      <a:pt x="8" y="0"/>
                      <a:pt x="8" y="0"/>
                      <a:pt x="8" y="0"/>
                    </a:cubicBezTo>
                    <a:cubicBezTo>
                      <a:pt x="4" y="0"/>
                      <a:pt x="0" y="3"/>
                      <a:pt x="0" y="8"/>
                    </a:cubicBezTo>
                    <a:cubicBezTo>
                      <a:pt x="0" y="299"/>
                      <a:pt x="0" y="299"/>
                      <a:pt x="0" y="299"/>
                    </a:cubicBezTo>
                    <a:cubicBezTo>
                      <a:pt x="0" y="304"/>
                      <a:pt x="4" y="307"/>
                      <a:pt x="8" y="307"/>
                    </a:cubicBezTo>
                    <a:cubicBezTo>
                      <a:pt x="192" y="307"/>
                      <a:pt x="192" y="307"/>
                      <a:pt x="192" y="307"/>
                    </a:cubicBezTo>
                    <a:cubicBezTo>
                      <a:pt x="197" y="307"/>
                      <a:pt x="200" y="304"/>
                      <a:pt x="200" y="299"/>
                    </a:cubicBezTo>
                    <a:cubicBezTo>
                      <a:pt x="200" y="8"/>
                      <a:pt x="200" y="8"/>
                      <a:pt x="200" y="8"/>
                    </a:cubicBezTo>
                    <a:cubicBezTo>
                      <a:pt x="200" y="3"/>
                      <a:pt x="197" y="0"/>
                      <a:pt x="192" y="0"/>
                    </a:cubicBezTo>
                    <a:close/>
                    <a:moveTo>
                      <a:pt x="102" y="297"/>
                    </a:moveTo>
                    <a:cubicBezTo>
                      <a:pt x="92" y="297"/>
                      <a:pt x="85" y="289"/>
                      <a:pt x="85" y="279"/>
                    </a:cubicBezTo>
                    <a:cubicBezTo>
                      <a:pt x="85" y="270"/>
                      <a:pt x="92" y="262"/>
                      <a:pt x="102" y="262"/>
                    </a:cubicBezTo>
                    <a:cubicBezTo>
                      <a:pt x="112" y="262"/>
                      <a:pt x="120" y="270"/>
                      <a:pt x="120" y="279"/>
                    </a:cubicBezTo>
                    <a:cubicBezTo>
                      <a:pt x="120" y="289"/>
                      <a:pt x="112" y="297"/>
                      <a:pt x="102" y="297"/>
                    </a:cubicBezTo>
                    <a:close/>
                    <a:moveTo>
                      <a:pt x="178" y="245"/>
                    </a:moveTo>
                    <a:cubicBezTo>
                      <a:pt x="178" y="250"/>
                      <a:pt x="174" y="254"/>
                      <a:pt x="169" y="254"/>
                    </a:cubicBezTo>
                    <a:cubicBezTo>
                      <a:pt x="30" y="254"/>
                      <a:pt x="30" y="254"/>
                      <a:pt x="30" y="254"/>
                    </a:cubicBezTo>
                    <a:cubicBezTo>
                      <a:pt x="26" y="254"/>
                      <a:pt x="22" y="250"/>
                      <a:pt x="22" y="245"/>
                    </a:cubicBezTo>
                    <a:cubicBezTo>
                      <a:pt x="22" y="29"/>
                      <a:pt x="22" y="29"/>
                      <a:pt x="22" y="29"/>
                    </a:cubicBezTo>
                    <a:cubicBezTo>
                      <a:pt x="22" y="24"/>
                      <a:pt x="26" y="20"/>
                      <a:pt x="30" y="20"/>
                    </a:cubicBezTo>
                    <a:cubicBezTo>
                      <a:pt x="169" y="20"/>
                      <a:pt x="169" y="20"/>
                      <a:pt x="169" y="20"/>
                    </a:cubicBezTo>
                    <a:cubicBezTo>
                      <a:pt x="174" y="20"/>
                      <a:pt x="178" y="24"/>
                      <a:pt x="178" y="29"/>
                    </a:cubicBezTo>
                    <a:lnTo>
                      <a:pt x="178" y="245"/>
                    </a:lnTo>
                    <a:close/>
                  </a:path>
                </a:pathLst>
              </a:custGeom>
              <a:solidFill>
                <a:schemeClr val="tx1"/>
              </a:solidFill>
              <a:extLst/>
            </p:spPr>
            <p:txBody>
              <a:bodyPr vert="horz" wrap="square" lIns="91440" tIns="45720" rIns="91440" bIns="45720" numCol="1" anchor="t" anchorCtr="0" compatLnSpc="1">
                <a:prstTxWarp prst="textNoShape">
                  <a:avLst/>
                </a:prstTxWarp>
              </a:bodyPr>
              <a:lstStyle/>
              <a:p>
                <a:endParaRPr lang="en-US" sz="2100" dirty="0">
                  <a:latin typeface="Segoe UI" pitchFamily="34" charset="0"/>
                </a:endParaRPr>
              </a:p>
            </p:txBody>
          </p:sp>
          <p:sp>
            <p:nvSpPr>
              <p:cNvPr id="24" name="Freeform 27"/>
              <p:cNvSpPr>
                <a:spLocks noChangeAspect="1" noEditPoints="1"/>
              </p:cNvSpPr>
              <p:nvPr/>
            </p:nvSpPr>
            <p:spPr bwMode="auto">
              <a:xfrm>
                <a:off x="770947" y="2121961"/>
                <a:ext cx="945930" cy="609345"/>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1440" tIns="45720" rIns="91440" bIns="45720" numCol="1" anchor="t" anchorCtr="0" compatLnSpc="1">
                <a:prstTxWarp prst="textNoShape">
                  <a:avLst/>
                </a:prstTxWarp>
              </a:bodyPr>
              <a:lstStyle/>
              <a:p>
                <a:endParaRPr lang="en-US" sz="2100" dirty="0">
                  <a:latin typeface="Segoe UI" pitchFamily="34" charset="0"/>
                </a:endParaRPr>
              </a:p>
            </p:txBody>
          </p:sp>
          <p:sp>
            <p:nvSpPr>
              <p:cNvPr id="25" name="Freeform 85"/>
              <p:cNvSpPr>
                <a:spLocks noChangeAspect="1" noEditPoints="1"/>
              </p:cNvSpPr>
              <p:nvPr/>
            </p:nvSpPr>
            <p:spPr bwMode="auto">
              <a:xfrm>
                <a:off x="1735807" y="2247370"/>
                <a:ext cx="297916" cy="537156"/>
              </a:xfrm>
              <a:custGeom>
                <a:avLst/>
                <a:gdLst/>
                <a:ahLst/>
                <a:cxnLst>
                  <a:cxn ang="0">
                    <a:pos x="187" y="0"/>
                  </a:cxn>
                  <a:cxn ang="0">
                    <a:pos x="55" y="0"/>
                  </a:cxn>
                  <a:cxn ang="0">
                    <a:pos x="0" y="31"/>
                  </a:cxn>
                  <a:cxn ang="0">
                    <a:pos x="0" y="283"/>
                  </a:cxn>
                  <a:cxn ang="0">
                    <a:pos x="55" y="314"/>
                  </a:cxn>
                  <a:cxn ang="0">
                    <a:pos x="187" y="314"/>
                  </a:cxn>
                  <a:cxn ang="0">
                    <a:pos x="242" y="283"/>
                  </a:cxn>
                  <a:cxn ang="0">
                    <a:pos x="242" y="31"/>
                  </a:cxn>
                  <a:cxn ang="0">
                    <a:pos x="187" y="0"/>
                  </a:cxn>
                  <a:cxn ang="0">
                    <a:pos x="126" y="283"/>
                  </a:cxn>
                  <a:cxn ang="0">
                    <a:pos x="97" y="254"/>
                  </a:cxn>
                  <a:cxn ang="0">
                    <a:pos x="126" y="225"/>
                  </a:cxn>
                  <a:cxn ang="0">
                    <a:pos x="155" y="254"/>
                  </a:cxn>
                  <a:cxn ang="0">
                    <a:pos x="126" y="283"/>
                  </a:cxn>
                  <a:cxn ang="0">
                    <a:pos x="221" y="161"/>
                  </a:cxn>
                  <a:cxn ang="0">
                    <a:pos x="215" y="167"/>
                  </a:cxn>
                  <a:cxn ang="0">
                    <a:pos x="26" y="167"/>
                  </a:cxn>
                  <a:cxn ang="0">
                    <a:pos x="21" y="161"/>
                  </a:cxn>
                  <a:cxn ang="0">
                    <a:pos x="21" y="31"/>
                  </a:cxn>
                  <a:cxn ang="0">
                    <a:pos x="26" y="25"/>
                  </a:cxn>
                  <a:cxn ang="0">
                    <a:pos x="215" y="25"/>
                  </a:cxn>
                  <a:cxn ang="0">
                    <a:pos x="221" y="31"/>
                  </a:cxn>
                  <a:cxn ang="0">
                    <a:pos x="221" y="161"/>
                  </a:cxn>
                </a:cxnLst>
                <a:rect l="0" t="0" r="r" b="b"/>
                <a:pathLst>
                  <a:path w="242" h="314">
                    <a:moveTo>
                      <a:pt x="187" y="0"/>
                    </a:moveTo>
                    <a:cubicBezTo>
                      <a:pt x="55" y="0"/>
                      <a:pt x="55" y="0"/>
                      <a:pt x="55" y="0"/>
                    </a:cubicBezTo>
                    <a:cubicBezTo>
                      <a:pt x="25" y="0"/>
                      <a:pt x="0" y="1"/>
                      <a:pt x="0" y="31"/>
                    </a:cubicBezTo>
                    <a:cubicBezTo>
                      <a:pt x="0" y="283"/>
                      <a:pt x="0" y="283"/>
                      <a:pt x="0" y="283"/>
                    </a:cubicBezTo>
                    <a:cubicBezTo>
                      <a:pt x="0" y="313"/>
                      <a:pt x="25" y="314"/>
                      <a:pt x="55" y="314"/>
                    </a:cubicBezTo>
                    <a:cubicBezTo>
                      <a:pt x="187" y="314"/>
                      <a:pt x="187" y="314"/>
                      <a:pt x="187" y="314"/>
                    </a:cubicBezTo>
                    <a:cubicBezTo>
                      <a:pt x="217" y="314"/>
                      <a:pt x="242" y="313"/>
                      <a:pt x="242" y="283"/>
                    </a:cubicBezTo>
                    <a:cubicBezTo>
                      <a:pt x="242" y="31"/>
                      <a:pt x="242" y="31"/>
                      <a:pt x="242" y="31"/>
                    </a:cubicBezTo>
                    <a:cubicBezTo>
                      <a:pt x="242" y="1"/>
                      <a:pt x="217" y="0"/>
                      <a:pt x="187" y="0"/>
                    </a:cubicBezTo>
                    <a:close/>
                    <a:moveTo>
                      <a:pt x="126" y="283"/>
                    </a:moveTo>
                    <a:cubicBezTo>
                      <a:pt x="110" y="283"/>
                      <a:pt x="97" y="270"/>
                      <a:pt x="97" y="254"/>
                    </a:cubicBezTo>
                    <a:cubicBezTo>
                      <a:pt x="97" y="238"/>
                      <a:pt x="110" y="225"/>
                      <a:pt x="126" y="225"/>
                    </a:cubicBezTo>
                    <a:cubicBezTo>
                      <a:pt x="142" y="225"/>
                      <a:pt x="155" y="238"/>
                      <a:pt x="155" y="254"/>
                    </a:cubicBezTo>
                    <a:cubicBezTo>
                      <a:pt x="155" y="270"/>
                      <a:pt x="142" y="283"/>
                      <a:pt x="126" y="283"/>
                    </a:cubicBezTo>
                    <a:close/>
                    <a:moveTo>
                      <a:pt x="221" y="161"/>
                    </a:moveTo>
                    <a:cubicBezTo>
                      <a:pt x="221" y="165"/>
                      <a:pt x="218" y="167"/>
                      <a:pt x="215" y="167"/>
                    </a:cubicBezTo>
                    <a:cubicBezTo>
                      <a:pt x="26" y="167"/>
                      <a:pt x="26" y="167"/>
                      <a:pt x="26" y="167"/>
                    </a:cubicBezTo>
                    <a:cubicBezTo>
                      <a:pt x="23" y="167"/>
                      <a:pt x="21" y="165"/>
                      <a:pt x="21" y="161"/>
                    </a:cubicBezTo>
                    <a:cubicBezTo>
                      <a:pt x="21" y="31"/>
                      <a:pt x="21" y="31"/>
                      <a:pt x="21" y="31"/>
                    </a:cubicBezTo>
                    <a:cubicBezTo>
                      <a:pt x="21" y="28"/>
                      <a:pt x="23" y="25"/>
                      <a:pt x="26" y="25"/>
                    </a:cubicBezTo>
                    <a:cubicBezTo>
                      <a:pt x="215" y="25"/>
                      <a:pt x="215" y="25"/>
                      <a:pt x="215" y="25"/>
                    </a:cubicBezTo>
                    <a:cubicBezTo>
                      <a:pt x="218" y="25"/>
                      <a:pt x="221" y="28"/>
                      <a:pt x="221" y="31"/>
                    </a:cubicBezTo>
                    <a:lnTo>
                      <a:pt x="221" y="161"/>
                    </a:lnTo>
                    <a:close/>
                  </a:path>
                </a:pathLst>
              </a:custGeom>
              <a:solidFill>
                <a:srgbClr val="FFFEFA"/>
              </a:solidFill>
              <a:extLst/>
            </p:spPr>
            <p:txBody>
              <a:bodyPr vert="horz" wrap="square" lIns="91440" tIns="45720" rIns="91440" bIns="45720" numCol="1" anchor="t" anchorCtr="0" compatLnSpc="1">
                <a:prstTxWarp prst="textNoShape">
                  <a:avLst/>
                </a:prstTxWarp>
              </a:bodyPr>
              <a:lstStyle/>
              <a:p>
                <a:endParaRPr lang="en-US" sz="2100" dirty="0">
                  <a:latin typeface="Segoe UI" pitchFamily="34" charset="0"/>
                </a:endParaRPr>
              </a:p>
            </p:txBody>
          </p:sp>
        </p:grpSp>
      </p:grpSp>
      <p:sp>
        <p:nvSpPr>
          <p:cNvPr id="30"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1"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pic>
        <p:nvPicPr>
          <p:cNvPr id="32"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423101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50"/>
                                        </p:tgtEl>
                                        <p:attrNameLst>
                                          <p:attrName>style.visibility</p:attrName>
                                        </p:attrNameLst>
                                      </p:cBhvr>
                                      <p:to>
                                        <p:strVal val="visible"/>
                                      </p:to>
                                    </p:set>
                                    <p:anim calcmode="lin" valueType="num">
                                      <p:cBhvr additive="base">
                                        <p:cTn id="7" dur="500" fill="hold"/>
                                        <p:tgtEl>
                                          <p:spTgt spid="50"/>
                                        </p:tgtEl>
                                        <p:attrNameLst>
                                          <p:attrName>ppt_x</p:attrName>
                                        </p:attrNameLst>
                                      </p:cBhvr>
                                      <p:tavLst>
                                        <p:tav tm="0">
                                          <p:val>
                                            <p:strVal val="1+#ppt_w/2"/>
                                          </p:val>
                                        </p:tav>
                                        <p:tav tm="100000">
                                          <p:val>
                                            <p:strVal val="#ppt_x"/>
                                          </p:val>
                                        </p:tav>
                                      </p:tavLst>
                                    </p:anim>
                                    <p:anim calcmode="lin" valueType="num">
                                      <p:cBhvr additive="base">
                                        <p:cTn id="8" dur="500" fill="hold"/>
                                        <p:tgtEl>
                                          <p:spTgt spid="5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fill="hold" nodeType="afterEffect">
                                  <p:stCondLst>
                                    <p:cond delay="0"/>
                                  </p:stCondLst>
                                  <p:childTnLst>
                                    <p:set>
                                      <p:cBhvr>
                                        <p:cTn id="11" dur="1" fill="hold">
                                          <p:stCondLst>
                                            <p:cond delay="0"/>
                                          </p:stCondLst>
                                        </p:cTn>
                                        <p:tgtEl>
                                          <p:spTgt spid="51"/>
                                        </p:tgtEl>
                                        <p:attrNameLst>
                                          <p:attrName>style.visibility</p:attrName>
                                        </p:attrNameLst>
                                      </p:cBhvr>
                                      <p:to>
                                        <p:strVal val="visible"/>
                                      </p:to>
                                    </p:set>
                                    <p:anim calcmode="lin" valueType="num">
                                      <p:cBhvr additive="base">
                                        <p:cTn id="12" dur="500" fill="hold"/>
                                        <p:tgtEl>
                                          <p:spTgt spid="51"/>
                                        </p:tgtEl>
                                        <p:attrNameLst>
                                          <p:attrName>ppt_x</p:attrName>
                                        </p:attrNameLst>
                                      </p:cBhvr>
                                      <p:tavLst>
                                        <p:tav tm="0">
                                          <p:val>
                                            <p:strVal val="1+#ppt_w/2"/>
                                          </p:val>
                                        </p:tav>
                                        <p:tav tm="100000">
                                          <p:val>
                                            <p:strVal val="#ppt_x"/>
                                          </p:val>
                                        </p:tav>
                                      </p:tavLst>
                                    </p:anim>
                                    <p:anim calcmode="lin" valueType="num">
                                      <p:cBhvr additive="base">
                                        <p:cTn id="13" dur="500" fill="hold"/>
                                        <p:tgtEl>
                                          <p:spTgt spid="51"/>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2" fill="hold" nodeType="afterEffect">
                                  <p:stCondLst>
                                    <p:cond delay="0"/>
                                  </p:stCondLst>
                                  <p:childTnLst>
                                    <p:set>
                                      <p:cBhvr>
                                        <p:cTn id="16" dur="1" fill="hold">
                                          <p:stCondLst>
                                            <p:cond delay="0"/>
                                          </p:stCondLst>
                                        </p:cTn>
                                        <p:tgtEl>
                                          <p:spTgt spid="52"/>
                                        </p:tgtEl>
                                        <p:attrNameLst>
                                          <p:attrName>style.visibility</p:attrName>
                                        </p:attrNameLst>
                                      </p:cBhvr>
                                      <p:to>
                                        <p:strVal val="visible"/>
                                      </p:to>
                                    </p:set>
                                    <p:anim calcmode="lin" valueType="num">
                                      <p:cBhvr additive="base">
                                        <p:cTn id="17" dur="500" fill="hold"/>
                                        <p:tgtEl>
                                          <p:spTgt spid="52"/>
                                        </p:tgtEl>
                                        <p:attrNameLst>
                                          <p:attrName>ppt_x</p:attrName>
                                        </p:attrNameLst>
                                      </p:cBhvr>
                                      <p:tavLst>
                                        <p:tav tm="0">
                                          <p:val>
                                            <p:strVal val="1+#ppt_w/2"/>
                                          </p:val>
                                        </p:tav>
                                        <p:tav tm="100000">
                                          <p:val>
                                            <p:strVal val="#ppt_x"/>
                                          </p:val>
                                        </p:tav>
                                      </p:tavLst>
                                    </p:anim>
                                    <p:anim calcmode="lin" valueType="num">
                                      <p:cBhvr additive="base">
                                        <p:cTn id="18" dur="500" fill="hold"/>
                                        <p:tgtEl>
                                          <p:spTgt spid="52"/>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2" fill="hold" nodeType="afterEffect">
                                  <p:stCondLst>
                                    <p:cond delay="0"/>
                                  </p:stCondLst>
                                  <p:childTnLst>
                                    <p:set>
                                      <p:cBhvr>
                                        <p:cTn id="21" dur="1" fill="hold">
                                          <p:stCondLst>
                                            <p:cond delay="0"/>
                                          </p:stCondLst>
                                        </p:cTn>
                                        <p:tgtEl>
                                          <p:spTgt spid="53"/>
                                        </p:tgtEl>
                                        <p:attrNameLst>
                                          <p:attrName>style.visibility</p:attrName>
                                        </p:attrNameLst>
                                      </p:cBhvr>
                                      <p:to>
                                        <p:strVal val="visible"/>
                                      </p:to>
                                    </p:set>
                                    <p:anim calcmode="lin" valueType="num">
                                      <p:cBhvr additive="base">
                                        <p:cTn id="22" dur="500" fill="hold"/>
                                        <p:tgtEl>
                                          <p:spTgt spid="53"/>
                                        </p:tgtEl>
                                        <p:attrNameLst>
                                          <p:attrName>ppt_x</p:attrName>
                                        </p:attrNameLst>
                                      </p:cBhvr>
                                      <p:tavLst>
                                        <p:tav tm="0">
                                          <p:val>
                                            <p:strVal val="1+#ppt_w/2"/>
                                          </p:val>
                                        </p:tav>
                                        <p:tav tm="100000">
                                          <p:val>
                                            <p:strVal val="#ppt_x"/>
                                          </p:val>
                                        </p:tav>
                                      </p:tavLst>
                                    </p:anim>
                                    <p:anim calcmode="lin" valueType="num">
                                      <p:cBhvr additive="base">
                                        <p:cTn id="23" dur="500" fill="hold"/>
                                        <p:tgtEl>
                                          <p:spTgt spid="53"/>
                                        </p:tgtEl>
                                        <p:attrNameLst>
                                          <p:attrName>ppt_y</p:attrName>
                                        </p:attrNameLst>
                                      </p:cBhvr>
                                      <p:tavLst>
                                        <p:tav tm="0">
                                          <p:val>
                                            <p:strVal val="#ppt_y"/>
                                          </p:val>
                                        </p:tav>
                                        <p:tav tm="100000">
                                          <p:val>
                                            <p:strVal val="#ppt_y"/>
                                          </p:val>
                                        </p:tav>
                                      </p:tavLst>
                                    </p:anim>
                                  </p:childTnLst>
                                </p:cTn>
                              </p:par>
                            </p:childTnLst>
                          </p:cTn>
                        </p:par>
                        <p:par>
                          <p:cTn id="24" fill="hold">
                            <p:stCondLst>
                              <p:cond delay="2000"/>
                            </p:stCondLst>
                            <p:childTnLst>
                              <p:par>
                                <p:cTn id="25" presetID="2" presetClass="entr" presetSubtype="2" fill="hold" nodeType="afterEffect">
                                  <p:stCondLst>
                                    <p:cond delay="0"/>
                                  </p:stCondLst>
                                  <p:childTnLst>
                                    <p:set>
                                      <p:cBhvr>
                                        <p:cTn id="26" dur="1" fill="hold">
                                          <p:stCondLst>
                                            <p:cond delay="0"/>
                                          </p:stCondLst>
                                        </p:cTn>
                                        <p:tgtEl>
                                          <p:spTgt spid="54"/>
                                        </p:tgtEl>
                                        <p:attrNameLst>
                                          <p:attrName>style.visibility</p:attrName>
                                        </p:attrNameLst>
                                      </p:cBhvr>
                                      <p:to>
                                        <p:strVal val="visible"/>
                                      </p:to>
                                    </p:set>
                                    <p:anim calcmode="lin" valueType="num">
                                      <p:cBhvr additive="base">
                                        <p:cTn id="27" dur="500" fill="hold"/>
                                        <p:tgtEl>
                                          <p:spTgt spid="54"/>
                                        </p:tgtEl>
                                        <p:attrNameLst>
                                          <p:attrName>ppt_x</p:attrName>
                                        </p:attrNameLst>
                                      </p:cBhvr>
                                      <p:tavLst>
                                        <p:tav tm="0">
                                          <p:val>
                                            <p:strVal val="1+#ppt_w/2"/>
                                          </p:val>
                                        </p:tav>
                                        <p:tav tm="100000">
                                          <p:val>
                                            <p:strVal val="#ppt_x"/>
                                          </p:val>
                                        </p:tav>
                                      </p:tavLst>
                                    </p:anim>
                                    <p:anim calcmode="lin" valueType="num">
                                      <p:cBhvr additive="base">
                                        <p:cTn id="28" dur="500" fill="hold"/>
                                        <p:tgtEl>
                                          <p:spTgt spid="5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rPr>
              <a:t>Information Protection</a:t>
            </a:r>
            <a:endParaRPr lang="en-US" dirty="0">
              <a:solidFill>
                <a:schemeClr val="tx1"/>
              </a:solidFill>
            </a:endParaRPr>
          </a:p>
        </p:txBody>
      </p:sp>
      <p:sp>
        <p:nvSpPr>
          <p:cNvPr id="3" name="Rectangle 5"/>
          <p:cNvSpPr>
            <a:spLocks noChangeArrowheads="1"/>
          </p:cNvSpPr>
          <p:nvPr/>
        </p:nvSpPr>
        <p:spPr bwMode="auto">
          <a:xfrm>
            <a:off x="523875" y="904877"/>
            <a:ext cx="8096250" cy="776883"/>
          </a:xfrm>
          <a:prstGeom prst="rect">
            <a:avLst/>
          </a:prstGeom>
          <a:solidFill>
            <a:schemeClr val="accent6"/>
          </a:solidFill>
          <a:ln w="9525">
            <a:noFill/>
            <a:miter lim="800000"/>
            <a:headEnd/>
            <a:tailEnd/>
          </a:ln>
        </p:spPr>
        <p:txBody>
          <a:bodyPr lIns="114272" tIns="28569" rIns="114272" bIns="28569" anchor="ctr"/>
          <a:lstStyle/>
          <a:p>
            <a:pPr algn="ctr" defTabSz="816418"/>
            <a:r>
              <a:rPr lang="en-US" sz="1800" dirty="0">
                <a:latin typeface="Segoe" charset="0"/>
              </a:rPr>
              <a:t>Discover, protect and manage confidential data throughout your business with a comprehensive solution integrated into the platform and applications</a:t>
            </a:r>
            <a:endParaRPr lang="en-US" sz="1800" dirty="0"/>
          </a:p>
        </p:txBody>
      </p:sp>
      <p:sp>
        <p:nvSpPr>
          <p:cNvPr id="5" name="Rectangle 5"/>
          <p:cNvSpPr>
            <a:spLocks noChangeArrowheads="1"/>
          </p:cNvSpPr>
          <p:nvPr/>
        </p:nvSpPr>
        <p:spPr bwMode="auto">
          <a:xfrm>
            <a:off x="523875" y="1809752"/>
            <a:ext cx="2476500" cy="2905125"/>
          </a:xfrm>
          <a:prstGeom prst="rect">
            <a:avLst/>
          </a:prstGeom>
          <a:solidFill>
            <a:schemeClr val="bg1"/>
          </a:solidFill>
          <a:ln w="9525">
            <a:noFill/>
            <a:miter lim="800000"/>
            <a:headEnd/>
            <a:tailEnd/>
          </a:ln>
        </p:spPr>
        <p:txBody>
          <a:bodyPr lIns="114272" tIns="28569" rIns="114272" bIns="28569" anchor="ctr"/>
          <a:lstStyle/>
          <a:p>
            <a:pPr marL="143841" lvl="1" indent="-143841" defTabSz="571204" fontAlgn="base">
              <a:spcBef>
                <a:spcPts val="375"/>
              </a:spcBef>
              <a:spcAft>
                <a:spcPts val="375"/>
              </a:spcAft>
              <a:buClr>
                <a:schemeClr val="tx2">
                  <a:lumMod val="75000"/>
                  <a:lumOff val="25000"/>
                </a:schemeClr>
              </a:buClr>
              <a:buSzPct val="120000"/>
              <a:buFont typeface="Arial" pitchFamily="34" charset="0"/>
              <a:buChar char="•"/>
              <a:defRPr/>
            </a:pPr>
            <a:endParaRPr lang="en-US" sz="900" dirty="0">
              <a:latin typeface="Segoe" charset="0"/>
            </a:endParaRPr>
          </a:p>
          <a:p>
            <a:pPr marL="143841" lvl="1" indent="-143841" defTabSz="571204" fontAlgn="base">
              <a:spcBef>
                <a:spcPts val="375"/>
              </a:spcBef>
              <a:spcAft>
                <a:spcPts val="375"/>
              </a:spcAft>
              <a:buClr>
                <a:schemeClr val="tx2">
                  <a:lumMod val="75000"/>
                  <a:lumOff val="25000"/>
                </a:schemeClr>
              </a:buClr>
              <a:buSzPct val="120000"/>
              <a:buFont typeface="Arial" pitchFamily="34" charset="0"/>
              <a:buChar char="•"/>
              <a:defRPr/>
            </a:pPr>
            <a:endParaRPr lang="en-US" sz="900" dirty="0">
              <a:latin typeface="Segoe" charset="0"/>
            </a:endParaRPr>
          </a:p>
          <a:p>
            <a:pPr marL="143841" lvl="1" indent="-143841" defTabSz="571204" fontAlgn="base">
              <a:spcBef>
                <a:spcPts val="375"/>
              </a:spcBef>
              <a:spcAft>
                <a:spcPts val="375"/>
              </a:spcAft>
              <a:buClr>
                <a:schemeClr val="tx2">
                  <a:lumMod val="75000"/>
                  <a:lumOff val="25000"/>
                </a:schemeClr>
              </a:buClr>
              <a:buSzPct val="120000"/>
              <a:buFont typeface="Arial" pitchFamily="34" charset="0"/>
              <a:buChar char="•"/>
              <a:defRPr/>
            </a:pPr>
            <a:endParaRPr lang="en-US" sz="900" dirty="0">
              <a:latin typeface="Segoe" charset="0"/>
            </a:endParaRPr>
          </a:p>
          <a:p>
            <a:pPr marL="143841" lvl="1" indent="-143841" defTabSz="571204" fontAlgn="base">
              <a:spcBef>
                <a:spcPts val="375"/>
              </a:spcBef>
              <a:spcAft>
                <a:spcPts val="375"/>
              </a:spcAft>
              <a:buClr>
                <a:schemeClr val="tx2">
                  <a:lumMod val="75000"/>
                  <a:lumOff val="25000"/>
                </a:schemeClr>
              </a:buClr>
              <a:buSzPct val="120000"/>
              <a:buFont typeface="Arial" pitchFamily="34" charset="0"/>
              <a:buChar char="•"/>
              <a:defRPr/>
            </a:pPr>
            <a:endParaRPr lang="en-US" sz="900" dirty="0">
              <a:latin typeface="Segoe" charset="0"/>
            </a:endParaRPr>
          </a:p>
          <a:p>
            <a:pPr marL="143841" lvl="1" indent="-143841" defTabSz="571204" fontAlgn="base">
              <a:spcBef>
                <a:spcPts val="375"/>
              </a:spcBef>
              <a:spcAft>
                <a:spcPts val="375"/>
              </a:spcAft>
              <a:buClr>
                <a:schemeClr val="tx2">
                  <a:lumMod val="75000"/>
                  <a:lumOff val="25000"/>
                </a:schemeClr>
              </a:buClr>
              <a:buSzPct val="120000"/>
              <a:buFont typeface="Arial" pitchFamily="34" charset="0"/>
              <a:buChar char="•"/>
              <a:defRPr/>
            </a:pPr>
            <a:endParaRPr lang="en-US" sz="900" dirty="0">
              <a:latin typeface="Segoe" charset="0"/>
            </a:endParaRPr>
          </a:p>
          <a:p>
            <a:pPr marL="143841" lvl="1" indent="-143841" defTabSz="571204" fontAlgn="base">
              <a:spcBef>
                <a:spcPts val="375"/>
              </a:spcBef>
              <a:spcAft>
                <a:spcPts val="375"/>
              </a:spcAft>
              <a:buClr>
                <a:schemeClr val="tx2">
                  <a:lumMod val="75000"/>
                  <a:lumOff val="25000"/>
                </a:schemeClr>
              </a:buClr>
              <a:buSzPct val="120000"/>
              <a:buFont typeface="Arial" pitchFamily="34" charset="0"/>
              <a:buChar char="•"/>
              <a:defRPr/>
            </a:pPr>
            <a:endParaRPr lang="en-US" sz="1100" dirty="0">
              <a:latin typeface="Segoe UI" pitchFamily="34" charset="0"/>
              <a:ea typeface="Segoe UI" pitchFamily="34" charset="0"/>
              <a:cs typeface="Segoe UI" pitchFamily="34" charset="0"/>
            </a:endParaRPr>
          </a:p>
          <a:p>
            <a:pPr marL="181536" lvl="1" indent="-181536" defTabSz="571204" fontAlgn="base">
              <a:spcBef>
                <a:spcPts val="375"/>
              </a:spcBef>
              <a:spcAft>
                <a:spcPts val="375"/>
              </a:spcAft>
              <a:buClr>
                <a:schemeClr val="bg2"/>
              </a:buClr>
              <a:buSzPct val="120000"/>
              <a:buFont typeface="Arial" pitchFamily="34" charset="0"/>
              <a:buChar char="•"/>
              <a:defRPr/>
            </a:pPr>
            <a:r>
              <a:rPr lang="en-US" sz="1100" dirty="0">
                <a:latin typeface="Segoe UI" pitchFamily="34" charset="0"/>
                <a:ea typeface="Segoe UI" pitchFamily="34" charset="0"/>
                <a:cs typeface="Segoe UI" pitchFamily="34" charset="0"/>
              </a:rPr>
              <a:t>Protect critical data wherever it goes</a:t>
            </a:r>
          </a:p>
          <a:p>
            <a:pPr marL="178560" lvl="1" indent="-178560" defTabSz="571204" fontAlgn="base">
              <a:spcBef>
                <a:spcPts val="375"/>
              </a:spcBef>
              <a:spcAft>
                <a:spcPts val="375"/>
              </a:spcAft>
              <a:buClr>
                <a:schemeClr val="bg2"/>
              </a:buClr>
              <a:buSzPct val="120000"/>
              <a:buFont typeface="Arial" pitchFamily="34" charset="0"/>
              <a:buChar char="•"/>
              <a:defRPr/>
            </a:pPr>
            <a:r>
              <a:rPr lang="en-US" sz="1100" dirty="0">
                <a:latin typeface="Segoe UI" pitchFamily="34" charset="0"/>
                <a:ea typeface="Segoe UI" pitchFamily="34" charset="0"/>
                <a:cs typeface="Segoe UI" pitchFamily="34" charset="0"/>
              </a:rPr>
              <a:t>Protect data wherever</a:t>
            </a:r>
            <a:br>
              <a:rPr lang="en-US" sz="1100" dirty="0">
                <a:latin typeface="Segoe UI" pitchFamily="34" charset="0"/>
                <a:ea typeface="Segoe UI" pitchFamily="34" charset="0"/>
                <a:cs typeface="Segoe UI" pitchFamily="34" charset="0"/>
              </a:rPr>
            </a:br>
            <a:r>
              <a:rPr lang="en-US" sz="1100" dirty="0">
                <a:latin typeface="Segoe UI" pitchFamily="34" charset="0"/>
                <a:ea typeface="Segoe UI" pitchFamily="34" charset="0"/>
                <a:cs typeface="Segoe UI" pitchFamily="34" charset="0"/>
              </a:rPr>
              <a:t>it resides</a:t>
            </a:r>
          </a:p>
          <a:p>
            <a:pPr marL="178560" lvl="1" indent="-178560" defTabSz="571204" fontAlgn="base">
              <a:spcBef>
                <a:spcPts val="375"/>
              </a:spcBef>
              <a:spcAft>
                <a:spcPts val="375"/>
              </a:spcAft>
              <a:buClr>
                <a:schemeClr val="bg2"/>
              </a:buClr>
              <a:buSzPct val="120000"/>
              <a:buFont typeface="Arial" pitchFamily="34" charset="0"/>
              <a:buChar char="•"/>
              <a:defRPr/>
            </a:pPr>
            <a:r>
              <a:rPr lang="en-US" sz="1100" dirty="0">
                <a:latin typeface="Segoe UI" pitchFamily="34" charset="0"/>
                <a:ea typeface="Segoe UI" pitchFamily="34" charset="0"/>
                <a:cs typeface="Segoe UI" pitchFamily="34" charset="0"/>
              </a:rPr>
              <a:t>Secure endpoints </a:t>
            </a:r>
            <a:br>
              <a:rPr lang="en-US" sz="1100" dirty="0">
                <a:latin typeface="Segoe UI" pitchFamily="34" charset="0"/>
                <a:ea typeface="Segoe UI" pitchFamily="34" charset="0"/>
                <a:cs typeface="Segoe UI" pitchFamily="34" charset="0"/>
              </a:rPr>
            </a:br>
            <a:r>
              <a:rPr lang="en-US" sz="1100" dirty="0">
                <a:latin typeface="Segoe UI" pitchFamily="34" charset="0"/>
                <a:ea typeface="Segoe UI" pitchFamily="34" charset="0"/>
                <a:cs typeface="Segoe UI" pitchFamily="34" charset="0"/>
              </a:rPr>
              <a:t>to reduce risk</a:t>
            </a:r>
          </a:p>
        </p:txBody>
      </p:sp>
      <p:sp>
        <p:nvSpPr>
          <p:cNvPr id="6" name="Rectangle 53"/>
          <p:cNvSpPr>
            <a:spLocks noChangeArrowheads="1"/>
          </p:cNvSpPr>
          <p:nvPr/>
        </p:nvSpPr>
        <p:spPr bwMode="auto">
          <a:xfrm>
            <a:off x="523875" y="1809752"/>
            <a:ext cx="2476500" cy="809625"/>
          </a:xfrm>
          <a:prstGeom prst="rect">
            <a:avLst/>
          </a:prstGeom>
          <a:solidFill>
            <a:schemeClr val="bg1"/>
          </a:solidFill>
          <a:ln w="9525">
            <a:noFill/>
            <a:miter lim="800000"/>
            <a:headEnd/>
            <a:tailEnd/>
          </a:ln>
        </p:spPr>
        <p:txBody>
          <a:bodyPr wrap="none" lIns="57140" tIns="28570" rIns="57140" bIns="28570" anchor="ctr"/>
          <a:lstStyle/>
          <a:p>
            <a:pPr algn="ctr"/>
            <a:r>
              <a:rPr lang="en-US" dirty="0" smtClean="0"/>
              <a:t>Protect everywhere,</a:t>
            </a:r>
          </a:p>
          <a:p>
            <a:pPr algn="ctr"/>
            <a:r>
              <a:rPr lang="en-US" dirty="0"/>
              <a:t>a</a:t>
            </a:r>
            <a:r>
              <a:rPr lang="en-US" dirty="0" smtClean="0"/>
              <a:t>ccess anywhere</a:t>
            </a:r>
            <a:endParaRPr lang="en-US" dirty="0"/>
          </a:p>
        </p:txBody>
      </p:sp>
      <p:sp>
        <p:nvSpPr>
          <p:cNvPr id="7" name="Rectangle 5"/>
          <p:cNvSpPr>
            <a:spLocks noChangeArrowheads="1"/>
          </p:cNvSpPr>
          <p:nvPr/>
        </p:nvSpPr>
        <p:spPr bwMode="auto">
          <a:xfrm>
            <a:off x="6143625" y="1809752"/>
            <a:ext cx="2476500" cy="2905125"/>
          </a:xfrm>
          <a:prstGeom prst="rect">
            <a:avLst/>
          </a:prstGeom>
          <a:solidFill>
            <a:schemeClr val="bg1"/>
          </a:solidFill>
          <a:ln w="9525">
            <a:noFill/>
            <a:miter lim="800000"/>
            <a:headEnd/>
            <a:tailEnd/>
          </a:ln>
        </p:spPr>
        <p:txBody>
          <a:bodyPr lIns="114272" tIns="28569" rIns="114272" bIns="28569" anchor="ctr"/>
          <a:lstStyle/>
          <a:p>
            <a:pPr marL="181536" lvl="1" indent="-181536" defTabSz="571204" fontAlgn="base">
              <a:spcBef>
                <a:spcPts val="375"/>
              </a:spcBef>
              <a:spcAft>
                <a:spcPts val="375"/>
              </a:spcAft>
              <a:buClr>
                <a:schemeClr val="bg2"/>
              </a:buClr>
              <a:buSzPct val="120000"/>
              <a:buFont typeface="Arial" pitchFamily="34" charset="0"/>
              <a:buChar char="•"/>
              <a:defRPr/>
            </a:pPr>
            <a:endParaRPr lang="en-US" sz="1100" dirty="0">
              <a:latin typeface="Segoe UI" pitchFamily="34" charset="0"/>
              <a:ea typeface="Segoe UI" pitchFamily="34" charset="0"/>
              <a:cs typeface="Segoe UI" pitchFamily="34" charset="0"/>
            </a:endParaRPr>
          </a:p>
          <a:p>
            <a:pPr marL="181536" lvl="1" indent="-181536" defTabSz="571204" fontAlgn="base">
              <a:spcBef>
                <a:spcPts val="375"/>
              </a:spcBef>
              <a:spcAft>
                <a:spcPts val="375"/>
              </a:spcAft>
              <a:buClr>
                <a:schemeClr val="bg2"/>
              </a:buClr>
              <a:buSzPct val="120000"/>
              <a:buFont typeface="Arial" pitchFamily="34" charset="0"/>
              <a:buChar char="•"/>
              <a:defRPr/>
            </a:pPr>
            <a:endParaRPr lang="en-US" sz="1100" dirty="0">
              <a:latin typeface="Segoe UI" pitchFamily="34" charset="0"/>
              <a:ea typeface="Segoe UI" pitchFamily="34" charset="0"/>
              <a:cs typeface="Segoe UI" pitchFamily="34" charset="0"/>
            </a:endParaRPr>
          </a:p>
          <a:p>
            <a:pPr marL="181536" lvl="1" indent="-181536" defTabSz="571204" fontAlgn="base">
              <a:spcBef>
                <a:spcPts val="375"/>
              </a:spcBef>
              <a:spcAft>
                <a:spcPts val="375"/>
              </a:spcAft>
              <a:buClr>
                <a:schemeClr val="bg2"/>
              </a:buClr>
              <a:buSzPct val="120000"/>
              <a:buFont typeface="Arial" pitchFamily="34" charset="0"/>
              <a:buChar char="•"/>
              <a:defRPr/>
            </a:pPr>
            <a:endParaRPr lang="en-US" sz="1100" dirty="0">
              <a:latin typeface="Segoe UI" pitchFamily="34" charset="0"/>
              <a:ea typeface="Segoe UI" pitchFamily="34" charset="0"/>
              <a:cs typeface="Segoe UI" pitchFamily="34" charset="0"/>
            </a:endParaRPr>
          </a:p>
          <a:p>
            <a:pPr marL="181536" lvl="1" indent="-181536" defTabSz="571204" fontAlgn="base">
              <a:spcBef>
                <a:spcPts val="375"/>
              </a:spcBef>
              <a:spcAft>
                <a:spcPts val="375"/>
              </a:spcAft>
              <a:buClr>
                <a:schemeClr val="bg2"/>
              </a:buClr>
              <a:buSzPct val="120000"/>
              <a:buFont typeface="Arial" pitchFamily="34" charset="0"/>
              <a:buChar char="•"/>
              <a:defRPr/>
            </a:pPr>
            <a:endParaRPr lang="en-US" sz="1100" dirty="0">
              <a:latin typeface="Segoe UI" pitchFamily="34" charset="0"/>
              <a:ea typeface="Segoe UI" pitchFamily="34" charset="0"/>
              <a:cs typeface="Segoe UI" pitchFamily="34" charset="0"/>
            </a:endParaRPr>
          </a:p>
          <a:p>
            <a:pPr marL="181536" lvl="1" indent="-181536" defTabSz="571204" fontAlgn="base">
              <a:spcBef>
                <a:spcPts val="375"/>
              </a:spcBef>
              <a:spcAft>
                <a:spcPts val="375"/>
              </a:spcAft>
              <a:buClr>
                <a:schemeClr val="bg2"/>
              </a:buClr>
              <a:buSzPct val="120000"/>
              <a:buFont typeface="Arial" pitchFamily="34" charset="0"/>
              <a:buChar char="•"/>
              <a:defRPr/>
            </a:pPr>
            <a:endParaRPr lang="en-US" sz="1100" dirty="0">
              <a:latin typeface="Segoe UI" pitchFamily="34" charset="0"/>
              <a:ea typeface="Segoe UI" pitchFamily="34" charset="0"/>
              <a:cs typeface="Segoe UI" pitchFamily="34" charset="0"/>
            </a:endParaRPr>
          </a:p>
          <a:p>
            <a:pPr marL="181536" lvl="1" indent="-181536" defTabSz="571204" fontAlgn="base">
              <a:spcBef>
                <a:spcPts val="375"/>
              </a:spcBef>
              <a:spcAft>
                <a:spcPts val="375"/>
              </a:spcAft>
              <a:buClr>
                <a:schemeClr val="bg2"/>
              </a:buClr>
              <a:buSzPct val="120000"/>
              <a:buFont typeface="Arial" pitchFamily="34" charset="0"/>
              <a:buChar char="•"/>
              <a:defRPr/>
            </a:pPr>
            <a:r>
              <a:rPr lang="en-US" sz="1100" dirty="0">
                <a:latin typeface="Segoe UI" pitchFamily="34" charset="0"/>
                <a:ea typeface="Segoe UI" pitchFamily="34" charset="0"/>
                <a:cs typeface="Segoe UI" pitchFamily="34" charset="0"/>
              </a:rPr>
              <a:t>Simplify deployment and ongoing management</a:t>
            </a:r>
          </a:p>
          <a:p>
            <a:pPr marL="181536" lvl="1" indent="-181536" defTabSz="571204" fontAlgn="base">
              <a:spcBef>
                <a:spcPts val="375"/>
              </a:spcBef>
              <a:spcAft>
                <a:spcPts val="375"/>
              </a:spcAft>
              <a:buClr>
                <a:schemeClr val="bg2"/>
              </a:buClr>
              <a:buSzPct val="120000"/>
              <a:buFont typeface="Arial" pitchFamily="34" charset="0"/>
              <a:buChar char="•"/>
              <a:defRPr/>
            </a:pPr>
            <a:r>
              <a:rPr lang="en-US" sz="1100" dirty="0">
                <a:latin typeface="Segoe UI" pitchFamily="34" charset="0"/>
                <a:ea typeface="Segoe UI" pitchFamily="34" charset="0"/>
                <a:cs typeface="Segoe UI" pitchFamily="34" charset="0"/>
              </a:rPr>
              <a:t>Enable compliance with information security policy</a:t>
            </a:r>
          </a:p>
        </p:txBody>
      </p:sp>
      <p:sp>
        <p:nvSpPr>
          <p:cNvPr id="8" name="Rectangle 53"/>
          <p:cNvSpPr>
            <a:spLocks noChangeArrowheads="1"/>
          </p:cNvSpPr>
          <p:nvPr/>
        </p:nvSpPr>
        <p:spPr bwMode="auto">
          <a:xfrm>
            <a:off x="6143625" y="1809752"/>
            <a:ext cx="2476500" cy="809625"/>
          </a:xfrm>
          <a:prstGeom prst="rect">
            <a:avLst/>
          </a:prstGeom>
          <a:solidFill>
            <a:schemeClr val="bg1"/>
          </a:solidFill>
          <a:ln w="9525">
            <a:noFill/>
            <a:miter lim="800000"/>
            <a:headEnd/>
            <a:tailEnd/>
          </a:ln>
        </p:spPr>
        <p:txBody>
          <a:bodyPr wrap="none" lIns="57140" tIns="28570" rIns="57140" bIns="28570" anchor="ctr"/>
          <a:lstStyle/>
          <a:p>
            <a:pPr algn="ctr"/>
            <a:r>
              <a:rPr lang="en-US" dirty="0" smtClean="0"/>
              <a:t>Simplify security, </a:t>
            </a:r>
          </a:p>
          <a:p>
            <a:pPr algn="ctr"/>
            <a:r>
              <a:rPr lang="en-US" dirty="0" smtClean="0"/>
              <a:t>manage compliance</a:t>
            </a:r>
            <a:endParaRPr lang="en-US" dirty="0"/>
          </a:p>
        </p:txBody>
      </p:sp>
      <p:sp>
        <p:nvSpPr>
          <p:cNvPr id="9" name="Rectangle 5"/>
          <p:cNvSpPr>
            <a:spLocks noChangeArrowheads="1"/>
          </p:cNvSpPr>
          <p:nvPr/>
        </p:nvSpPr>
        <p:spPr bwMode="auto">
          <a:xfrm>
            <a:off x="3333750" y="1809752"/>
            <a:ext cx="2476500" cy="2905125"/>
          </a:xfrm>
          <a:prstGeom prst="rect">
            <a:avLst/>
          </a:prstGeom>
          <a:solidFill>
            <a:schemeClr val="bg1"/>
          </a:solidFill>
          <a:ln w="9525">
            <a:noFill/>
            <a:miter lim="800000"/>
            <a:headEnd/>
            <a:tailEnd/>
          </a:ln>
        </p:spPr>
        <p:txBody>
          <a:bodyPr lIns="114272" tIns="28569" rIns="114272" bIns="28569" anchor="ctr"/>
          <a:lstStyle/>
          <a:p>
            <a:pPr marL="181536" lvl="1" indent="-181536" defTabSz="571204" fontAlgn="base">
              <a:spcBef>
                <a:spcPts val="375"/>
              </a:spcBef>
              <a:spcAft>
                <a:spcPts val="375"/>
              </a:spcAft>
              <a:buClr>
                <a:schemeClr val="bg2"/>
              </a:buClr>
              <a:buSzPct val="120000"/>
              <a:buFont typeface="Arial" pitchFamily="34" charset="0"/>
              <a:buChar char="•"/>
              <a:defRPr/>
            </a:pPr>
            <a:endParaRPr lang="en-US" sz="1100" dirty="0">
              <a:latin typeface="Segoe UI" pitchFamily="34" charset="0"/>
              <a:ea typeface="Segoe UI" pitchFamily="34" charset="0"/>
              <a:cs typeface="Segoe UI" pitchFamily="34" charset="0"/>
            </a:endParaRPr>
          </a:p>
          <a:p>
            <a:pPr marL="181536" lvl="1" indent="-181536" defTabSz="571204" fontAlgn="base">
              <a:spcBef>
                <a:spcPts val="375"/>
              </a:spcBef>
              <a:spcAft>
                <a:spcPts val="375"/>
              </a:spcAft>
              <a:buClr>
                <a:schemeClr val="bg2"/>
              </a:buClr>
              <a:buSzPct val="120000"/>
              <a:buFont typeface="Arial" pitchFamily="34" charset="0"/>
              <a:buChar char="•"/>
              <a:defRPr/>
            </a:pPr>
            <a:endParaRPr lang="en-US" sz="1100" dirty="0">
              <a:latin typeface="Segoe UI" pitchFamily="34" charset="0"/>
              <a:ea typeface="Segoe UI" pitchFamily="34" charset="0"/>
              <a:cs typeface="Segoe UI" pitchFamily="34" charset="0"/>
            </a:endParaRPr>
          </a:p>
          <a:p>
            <a:pPr marL="181536" lvl="1" indent="-181536" defTabSz="571204" fontAlgn="base">
              <a:spcBef>
                <a:spcPts val="375"/>
              </a:spcBef>
              <a:spcAft>
                <a:spcPts val="375"/>
              </a:spcAft>
              <a:buClr>
                <a:schemeClr val="bg2"/>
              </a:buClr>
              <a:buSzPct val="120000"/>
              <a:buFont typeface="Arial" pitchFamily="34" charset="0"/>
              <a:buChar char="•"/>
              <a:defRPr/>
            </a:pPr>
            <a:endParaRPr lang="en-US" sz="1100" dirty="0">
              <a:latin typeface="Segoe UI" pitchFamily="34" charset="0"/>
              <a:ea typeface="Segoe UI" pitchFamily="34" charset="0"/>
              <a:cs typeface="Segoe UI" pitchFamily="34" charset="0"/>
            </a:endParaRPr>
          </a:p>
          <a:p>
            <a:pPr marL="181536" lvl="1" indent="-181536" defTabSz="571204" fontAlgn="base">
              <a:spcBef>
                <a:spcPts val="375"/>
              </a:spcBef>
              <a:spcAft>
                <a:spcPts val="375"/>
              </a:spcAft>
              <a:buClr>
                <a:schemeClr val="bg2"/>
              </a:buClr>
              <a:buSzPct val="120000"/>
              <a:buFont typeface="Arial" pitchFamily="34" charset="0"/>
              <a:buChar char="•"/>
              <a:defRPr/>
            </a:pPr>
            <a:endParaRPr lang="en-US" sz="1100" dirty="0">
              <a:latin typeface="Segoe UI" pitchFamily="34" charset="0"/>
              <a:ea typeface="Segoe UI" pitchFamily="34" charset="0"/>
              <a:cs typeface="Segoe UI" pitchFamily="34" charset="0"/>
            </a:endParaRPr>
          </a:p>
          <a:p>
            <a:pPr marL="181536" lvl="1" indent="-181536" defTabSz="571204" fontAlgn="base">
              <a:spcBef>
                <a:spcPts val="375"/>
              </a:spcBef>
              <a:spcAft>
                <a:spcPts val="375"/>
              </a:spcAft>
              <a:buClr>
                <a:schemeClr val="bg2"/>
              </a:buClr>
              <a:buSzPct val="120000"/>
              <a:buFont typeface="Arial" pitchFamily="34" charset="0"/>
              <a:buChar char="•"/>
              <a:defRPr/>
            </a:pPr>
            <a:endParaRPr lang="en-US" sz="1100" dirty="0">
              <a:latin typeface="Segoe UI" pitchFamily="34" charset="0"/>
              <a:ea typeface="Segoe UI" pitchFamily="34" charset="0"/>
              <a:cs typeface="Segoe UI" pitchFamily="34" charset="0"/>
            </a:endParaRPr>
          </a:p>
          <a:p>
            <a:pPr marL="181536" lvl="1" indent="-181536" defTabSz="571204" fontAlgn="base">
              <a:spcBef>
                <a:spcPts val="375"/>
              </a:spcBef>
              <a:spcAft>
                <a:spcPts val="375"/>
              </a:spcAft>
              <a:buClr>
                <a:schemeClr val="bg2"/>
              </a:buClr>
              <a:buSzPct val="120000"/>
              <a:buFont typeface="Arial" pitchFamily="34" charset="0"/>
              <a:buChar char="•"/>
              <a:defRPr/>
            </a:pPr>
            <a:r>
              <a:rPr lang="en-US" sz="1100" dirty="0">
                <a:latin typeface="Segoe UI" pitchFamily="34" charset="0"/>
                <a:ea typeface="Segoe UI" pitchFamily="34" charset="0"/>
                <a:cs typeface="Segoe UI" pitchFamily="34" charset="0"/>
              </a:rPr>
              <a:t>Extend confidential communication to partners</a:t>
            </a:r>
          </a:p>
          <a:p>
            <a:pPr marL="181536" lvl="1" indent="-181536" defTabSz="571204" fontAlgn="base">
              <a:spcBef>
                <a:spcPts val="375"/>
              </a:spcBef>
              <a:spcAft>
                <a:spcPts val="375"/>
              </a:spcAft>
              <a:buClr>
                <a:schemeClr val="bg2"/>
              </a:buClr>
              <a:buSzPct val="120000"/>
              <a:buFont typeface="Arial" pitchFamily="34" charset="0"/>
              <a:buChar char="•"/>
              <a:defRPr/>
            </a:pPr>
            <a:r>
              <a:rPr lang="en-US" sz="1100" dirty="0">
                <a:latin typeface="Segoe UI" pitchFamily="34" charset="0"/>
                <a:ea typeface="Segoe UI" pitchFamily="34" charset="0"/>
                <a:cs typeface="Segoe UI" pitchFamily="34" charset="0"/>
              </a:rPr>
              <a:t>Built into the Windows platform and Microsoft applications</a:t>
            </a:r>
          </a:p>
        </p:txBody>
      </p:sp>
      <p:sp>
        <p:nvSpPr>
          <p:cNvPr id="10" name="Rectangle 53"/>
          <p:cNvSpPr>
            <a:spLocks noChangeArrowheads="1"/>
          </p:cNvSpPr>
          <p:nvPr/>
        </p:nvSpPr>
        <p:spPr bwMode="auto">
          <a:xfrm>
            <a:off x="3333750" y="1809752"/>
            <a:ext cx="2476500" cy="809625"/>
          </a:xfrm>
          <a:prstGeom prst="rect">
            <a:avLst/>
          </a:prstGeom>
          <a:solidFill>
            <a:schemeClr val="bg1"/>
          </a:solidFill>
          <a:ln w="9525">
            <a:noFill/>
            <a:miter lim="800000"/>
            <a:headEnd/>
            <a:tailEnd/>
          </a:ln>
        </p:spPr>
        <p:txBody>
          <a:bodyPr wrap="none" lIns="57140" tIns="28570" rIns="57140" bIns="28570" anchor="ctr"/>
          <a:lstStyle/>
          <a:p>
            <a:pPr algn="ctr"/>
            <a:r>
              <a:rPr lang="en-US" dirty="0" smtClean="0"/>
              <a:t>Integrate and </a:t>
            </a:r>
          </a:p>
          <a:p>
            <a:pPr algn="ctr"/>
            <a:r>
              <a:rPr lang="en-US" dirty="0" smtClean="0"/>
              <a:t>extend security</a:t>
            </a:r>
            <a:endParaRPr lang="en-US" dirty="0"/>
          </a:p>
        </p:txBody>
      </p:sp>
      <p:grpSp>
        <p:nvGrpSpPr>
          <p:cNvPr id="11" name="Group 42"/>
          <p:cNvGrpSpPr/>
          <p:nvPr/>
        </p:nvGrpSpPr>
        <p:grpSpPr>
          <a:xfrm>
            <a:off x="1228132" y="2600791"/>
            <a:ext cx="1010244" cy="637712"/>
            <a:chOff x="-1795842" y="3032045"/>
            <a:chExt cx="1012160" cy="647876"/>
          </a:xfrm>
        </p:grpSpPr>
        <p:pic>
          <p:nvPicPr>
            <p:cNvPr id="12" name="Picture 2" descr="\\eventsql\dvd\Online_ART\DVD_ART35\Artwork_Imagery\Icons - Illustrations\people\black silhouettes\PRB man silhouette people ready.png"/>
            <p:cNvPicPr>
              <a:picLocks noChangeAspect="1" noChangeArrowheads="1"/>
            </p:cNvPicPr>
            <p:nvPr/>
          </p:nvPicPr>
          <p:blipFill>
            <a:blip r:embed="rId2" cstate="print">
              <a:duotone>
                <a:prstClr val="black"/>
                <a:schemeClr val="tx1">
                  <a:tint val="45000"/>
                  <a:satMod val="400000"/>
                </a:schemeClr>
              </a:duotone>
            </a:blip>
            <a:srcRect/>
            <a:stretch>
              <a:fillRect/>
            </a:stretch>
          </p:blipFill>
          <p:spPr bwMode="auto">
            <a:xfrm>
              <a:off x="-1329179" y="3032045"/>
              <a:ext cx="131975" cy="472117"/>
            </a:xfrm>
            <a:prstGeom prst="rect">
              <a:avLst/>
            </a:prstGeom>
            <a:noFill/>
            <a:effectLst>
              <a:outerShdw blurRad="190500" sx="102000" sy="102000" algn="ctr" rotWithShape="0">
                <a:schemeClr val="bg1">
                  <a:alpha val="70000"/>
                </a:schemeClr>
              </a:outerShdw>
            </a:effectLst>
          </p:spPr>
        </p:pic>
        <p:pic>
          <p:nvPicPr>
            <p:cNvPr id="13" name="Picture 12" descr="explorer.exe_I0104_0409.png"/>
            <p:cNvPicPr>
              <a:picLocks noChangeAspect="1"/>
            </p:cNvPicPr>
            <p:nvPr/>
          </p:nvPicPr>
          <p:blipFill>
            <a:blip r:embed="rId3" cstate="print">
              <a:duotone>
                <a:prstClr val="black"/>
                <a:schemeClr val="tx1">
                  <a:tint val="45000"/>
                  <a:satMod val="400000"/>
                </a:schemeClr>
              </a:duotone>
            </a:blip>
            <a:stretch>
              <a:fillRect/>
            </a:stretch>
          </p:blipFill>
          <p:spPr>
            <a:xfrm>
              <a:off x="-1329180" y="3134423"/>
              <a:ext cx="545498" cy="545498"/>
            </a:xfrm>
            <a:prstGeom prst="rect">
              <a:avLst/>
            </a:prstGeom>
          </p:spPr>
        </p:pic>
        <p:pic>
          <p:nvPicPr>
            <p:cNvPr id="14" name="Picture 13" descr="Virtual App.png"/>
            <p:cNvPicPr>
              <a:picLocks noChangeAspect="1"/>
            </p:cNvPicPr>
            <p:nvPr/>
          </p:nvPicPr>
          <p:blipFill>
            <a:blip r:embed="rId4" cstate="screen">
              <a:duotone>
                <a:prstClr val="black"/>
                <a:schemeClr val="tx1">
                  <a:tint val="45000"/>
                  <a:satMod val="400000"/>
                </a:schemeClr>
              </a:duotone>
            </a:blip>
            <a:stretch>
              <a:fillRect/>
            </a:stretch>
          </p:blipFill>
          <p:spPr bwMode="invGray">
            <a:xfrm>
              <a:off x="-1795842" y="3233392"/>
              <a:ext cx="601727" cy="374885"/>
            </a:xfrm>
            <a:prstGeom prst="rect">
              <a:avLst/>
            </a:prstGeom>
          </p:spPr>
        </p:pic>
      </p:grpSp>
      <p:grpSp>
        <p:nvGrpSpPr>
          <p:cNvPr id="15" name="Group 61"/>
          <p:cNvGrpSpPr/>
          <p:nvPr/>
        </p:nvGrpSpPr>
        <p:grpSpPr>
          <a:xfrm>
            <a:off x="3938835" y="2656067"/>
            <a:ext cx="1252293" cy="582435"/>
            <a:chOff x="700964" y="3415859"/>
            <a:chExt cx="1187974" cy="594136"/>
          </a:xfrm>
        </p:grpSpPr>
        <p:pic>
          <p:nvPicPr>
            <p:cNvPr id="16" name="Picture 15" descr="SLUI.exe_I0003_0409.png"/>
            <p:cNvPicPr>
              <a:picLocks noChangeAspect="1"/>
            </p:cNvPicPr>
            <p:nvPr/>
          </p:nvPicPr>
          <p:blipFill>
            <a:blip r:embed="rId5" cstate="print">
              <a:duotone>
                <a:prstClr val="black"/>
                <a:schemeClr val="tx1">
                  <a:tint val="45000"/>
                  <a:satMod val="400000"/>
                </a:schemeClr>
              </a:duotone>
            </a:blip>
            <a:stretch>
              <a:fillRect/>
            </a:stretch>
          </p:blipFill>
          <p:spPr>
            <a:xfrm>
              <a:off x="1117711" y="3611951"/>
              <a:ext cx="398044" cy="398044"/>
            </a:xfrm>
            <a:prstGeom prst="rect">
              <a:avLst/>
            </a:prstGeom>
          </p:spPr>
        </p:pic>
        <p:pic>
          <p:nvPicPr>
            <p:cNvPr id="17" name="Picture 16" descr="connect.dll_I28a1_0409.png"/>
            <p:cNvPicPr>
              <a:picLocks noChangeAspect="1"/>
            </p:cNvPicPr>
            <p:nvPr/>
          </p:nvPicPr>
          <p:blipFill>
            <a:blip r:embed="rId6" cstate="print">
              <a:duotone>
                <a:prstClr val="black"/>
                <a:schemeClr val="tx1">
                  <a:tint val="45000"/>
                  <a:satMod val="400000"/>
                </a:schemeClr>
              </a:duotone>
            </a:blip>
            <a:stretch>
              <a:fillRect/>
            </a:stretch>
          </p:blipFill>
          <p:spPr>
            <a:xfrm>
              <a:off x="1389389" y="3415859"/>
              <a:ext cx="499549" cy="499549"/>
            </a:xfrm>
            <a:prstGeom prst="rect">
              <a:avLst/>
            </a:prstGeom>
          </p:spPr>
        </p:pic>
        <p:pic>
          <p:nvPicPr>
            <p:cNvPr id="18" name="Picture 17" descr="connect.dll_I28a1_0409.png"/>
            <p:cNvPicPr>
              <a:picLocks noChangeAspect="1"/>
            </p:cNvPicPr>
            <p:nvPr/>
          </p:nvPicPr>
          <p:blipFill>
            <a:blip r:embed="rId6" cstate="print">
              <a:duotone>
                <a:prstClr val="black"/>
                <a:schemeClr val="tx1">
                  <a:tint val="45000"/>
                  <a:satMod val="400000"/>
                </a:schemeClr>
              </a:duotone>
            </a:blip>
            <a:stretch>
              <a:fillRect/>
            </a:stretch>
          </p:blipFill>
          <p:spPr>
            <a:xfrm>
              <a:off x="700964" y="3421117"/>
              <a:ext cx="499549" cy="499549"/>
            </a:xfrm>
            <a:prstGeom prst="rect">
              <a:avLst/>
            </a:prstGeom>
          </p:spPr>
        </p:pic>
      </p:grpSp>
      <p:pic>
        <p:nvPicPr>
          <p:cNvPr id="19" name="Picture 2" descr="C:\Documents and Settings\cgarces\Desktop\VISTA ICONS\ICONS PNG\Network-Folder.png"/>
          <p:cNvPicPr>
            <a:picLocks noChangeAspect="1" noChangeArrowheads="1"/>
          </p:cNvPicPr>
          <p:nvPr/>
        </p:nvPicPr>
        <p:blipFill>
          <a:blip r:embed="rId7" cstate="print">
            <a:duotone>
              <a:prstClr val="black"/>
              <a:schemeClr val="tx1">
                <a:tint val="45000"/>
                <a:satMod val="400000"/>
              </a:schemeClr>
            </a:duotone>
          </a:blip>
          <a:srcRect/>
          <a:stretch>
            <a:fillRect/>
          </a:stretch>
        </p:blipFill>
        <p:spPr bwMode="auto">
          <a:xfrm>
            <a:off x="6996308" y="2627854"/>
            <a:ext cx="814195" cy="610646"/>
          </a:xfrm>
          <a:prstGeom prst="rect">
            <a:avLst/>
          </a:prstGeom>
          <a:noFill/>
        </p:spPr>
      </p:pic>
      <p:sp>
        <p:nvSpPr>
          <p:cNvPr id="20"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1"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8"/>
              </a:rPr>
              <a:t>www.rapidbbs.cn</a:t>
            </a:r>
            <a:endParaRPr lang="zh-CN" altLang="en-US" sz="1200" b="0">
              <a:latin typeface="Arial" charset="0"/>
              <a:ea typeface="ＭＳ Ｐゴシック" pitchFamily="34" charset="-128"/>
            </a:endParaRPr>
          </a:p>
        </p:txBody>
      </p:sp>
      <p:pic>
        <p:nvPicPr>
          <p:cNvPr id="22" name="Picture 2">
            <a:hlinkClick r:id="rId8"/>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45991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3670301" y="3994725"/>
            <a:ext cx="1254126" cy="114877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18" name="Rectangle 17"/>
          <p:cNvSpPr/>
          <p:nvPr/>
        </p:nvSpPr>
        <p:spPr bwMode="auto">
          <a:xfrm>
            <a:off x="4800659" y="4375142"/>
            <a:ext cx="4401696" cy="654059"/>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6" name="Rectangle 5"/>
          <p:cNvSpPr/>
          <p:nvPr/>
        </p:nvSpPr>
        <p:spPr bwMode="auto">
          <a:xfrm>
            <a:off x="-401346" y="4375142"/>
            <a:ext cx="4230202" cy="654059"/>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5" name="Rectangle 12295"/>
          <p:cNvSpPr>
            <a:spLocks noChangeArrowheads="1"/>
          </p:cNvSpPr>
          <p:nvPr/>
        </p:nvSpPr>
        <p:spPr bwMode="auto">
          <a:xfrm>
            <a:off x="3595689" y="4057650"/>
            <a:ext cx="1387475" cy="477127"/>
          </a:xfrm>
          <a:prstGeom prst="rect">
            <a:avLst/>
          </a:prstGeom>
          <a:noFill/>
          <a:ln w="9525">
            <a:miter lim="800000"/>
            <a:headEnd/>
            <a:tailEnd/>
          </a:ln>
        </p:spPr>
        <p:txBody>
          <a:bodyPr wrap="square" lIns="81615" tIns="40808" rIns="81615" bIns="40808">
            <a:spAutoFit/>
          </a:bodyPr>
          <a:lstStyle/>
          <a:p>
            <a:pPr algn="ctr">
              <a:lnSpc>
                <a:spcPct val="90000"/>
              </a:lnSpc>
              <a:buSzPct val="95000"/>
              <a:defRPr/>
            </a:pPr>
            <a:r>
              <a:rPr lang="en-US" i="0" kern="0" dirty="0" smtClean="0">
                <a:latin typeface="Segoe UI" pitchFamily="34" charset="0"/>
                <a:ea typeface="Segoe UI" pitchFamily="34" charset="0"/>
                <a:cs typeface="Segoe UI" pitchFamily="34" charset="0"/>
              </a:rPr>
              <a:t>Persistent</a:t>
            </a:r>
            <a:r>
              <a:rPr lang="en-US" b="1" i="0" kern="0" dirty="0" smtClean="0">
                <a:latin typeface="Segoe UI" pitchFamily="34" charset="0"/>
                <a:ea typeface="Segoe UI" pitchFamily="34" charset="0"/>
                <a:cs typeface="Segoe UI" pitchFamily="34" charset="0"/>
              </a:rPr>
              <a:t> </a:t>
            </a:r>
            <a:r>
              <a:rPr lang="en-US" i="0" kern="0" dirty="0" smtClean="0">
                <a:latin typeface="Segoe UI" pitchFamily="34" charset="0"/>
                <a:ea typeface="Segoe UI" pitchFamily="34" charset="0"/>
                <a:cs typeface="Segoe UI" pitchFamily="34" charset="0"/>
              </a:rPr>
              <a:t>Protection</a:t>
            </a:r>
            <a:endParaRPr lang="en-US" i="0" kern="0" dirty="0">
              <a:latin typeface="Segoe UI" pitchFamily="34" charset="0"/>
              <a:ea typeface="Segoe UI" pitchFamily="34" charset="0"/>
              <a:cs typeface="Segoe UI" pitchFamily="34" charset="0"/>
            </a:endParaRPr>
          </a:p>
        </p:txBody>
      </p:sp>
      <p:sp>
        <p:nvSpPr>
          <p:cNvPr id="179211" name="Text Box 11"/>
          <p:cNvSpPr txBox="1">
            <a:spLocks noChangeArrowheads="1"/>
          </p:cNvSpPr>
          <p:nvPr/>
        </p:nvSpPr>
        <p:spPr bwMode="auto">
          <a:xfrm>
            <a:off x="3910012" y="4126467"/>
            <a:ext cx="685800" cy="1029128"/>
          </a:xfrm>
          <a:prstGeom prst="rect">
            <a:avLst/>
          </a:prstGeom>
          <a:noFill/>
          <a:ln w="9525">
            <a:miter lim="800000"/>
            <a:headEnd/>
            <a:tailEnd/>
          </a:ln>
          <a:effectLst/>
        </p:spPr>
        <p:txBody>
          <a:bodyPr lIns="0" tIns="0" rIns="0" bIns="0">
            <a:spAutoFit/>
          </a:bodyPr>
          <a:lstStyle/>
          <a:p>
            <a:pPr algn="r">
              <a:lnSpc>
                <a:spcPct val="100000"/>
              </a:lnSpc>
              <a:spcBef>
                <a:spcPct val="0"/>
              </a:spcBef>
              <a:defRPr/>
            </a:pPr>
            <a:r>
              <a:rPr lang="en-US" sz="6700" kern="0" dirty="0">
                <a:latin typeface="Segoe UI" pitchFamily="34" charset="0"/>
                <a:ea typeface="Segoe UI" pitchFamily="34" charset="0"/>
                <a:cs typeface="Segoe UI" pitchFamily="34" charset="0"/>
              </a:rPr>
              <a:t>+</a:t>
            </a:r>
          </a:p>
        </p:txBody>
      </p:sp>
      <p:sp>
        <p:nvSpPr>
          <p:cNvPr id="179207" name="Text Box 7"/>
          <p:cNvSpPr txBox="1">
            <a:spLocks noChangeArrowheads="1"/>
          </p:cNvSpPr>
          <p:nvPr/>
        </p:nvSpPr>
        <p:spPr bwMode="auto">
          <a:xfrm>
            <a:off x="1911350" y="4514851"/>
            <a:ext cx="1758950" cy="288539"/>
          </a:xfrm>
          <a:prstGeom prst="rect">
            <a:avLst/>
          </a:prstGeom>
          <a:noFill/>
          <a:ln w="9525">
            <a:miter lim="800000"/>
            <a:headEnd/>
            <a:tailEnd/>
          </a:ln>
          <a:effectLst/>
        </p:spPr>
        <p:txBody>
          <a:bodyPr lIns="68586" tIns="34294" rIns="68586" bIns="34294">
            <a:spAutoFit/>
          </a:bodyPr>
          <a:lstStyle/>
          <a:p>
            <a:pPr algn="r">
              <a:lnSpc>
                <a:spcPct val="100000"/>
              </a:lnSpc>
              <a:spcBef>
                <a:spcPct val="0"/>
              </a:spcBef>
              <a:defRPr/>
            </a:pPr>
            <a:r>
              <a:rPr lang="en-US" i="0" kern="0" dirty="0">
                <a:latin typeface="Segoe UI" pitchFamily="34" charset="0"/>
                <a:ea typeface="Segoe UI" pitchFamily="34" charset="0"/>
                <a:cs typeface="Segoe UI" pitchFamily="34" charset="0"/>
              </a:rPr>
              <a:t>Encryption</a:t>
            </a:r>
          </a:p>
        </p:txBody>
      </p:sp>
      <p:grpSp>
        <p:nvGrpSpPr>
          <p:cNvPr id="3" name="Group 16"/>
          <p:cNvGrpSpPr/>
          <p:nvPr/>
        </p:nvGrpSpPr>
        <p:grpSpPr>
          <a:xfrm>
            <a:off x="4924426" y="4457701"/>
            <a:ext cx="3719765" cy="523220"/>
            <a:chOff x="4900613" y="4797747"/>
            <a:chExt cx="3719765" cy="697627"/>
          </a:xfrm>
        </p:grpSpPr>
        <p:sp>
          <p:nvSpPr>
            <p:cNvPr id="179210" name="Text Box 10"/>
            <p:cNvSpPr txBox="1">
              <a:spLocks noChangeArrowheads="1"/>
            </p:cNvSpPr>
            <p:nvPr/>
          </p:nvSpPr>
          <p:spPr bwMode="auto">
            <a:xfrm>
              <a:off x="4900613" y="4873947"/>
              <a:ext cx="1119187" cy="410370"/>
            </a:xfrm>
            <a:prstGeom prst="rect">
              <a:avLst/>
            </a:prstGeom>
            <a:noFill/>
            <a:ln w="9525">
              <a:miter lim="800000"/>
              <a:headEnd/>
              <a:tailEnd/>
            </a:ln>
            <a:effectLst/>
          </p:spPr>
          <p:txBody>
            <a:bodyPr wrap="square">
              <a:spAutoFit/>
            </a:bodyPr>
            <a:lstStyle/>
            <a:p>
              <a:pPr algn="l">
                <a:lnSpc>
                  <a:spcPct val="100000"/>
                </a:lnSpc>
                <a:spcBef>
                  <a:spcPct val="0"/>
                </a:spcBef>
                <a:defRPr/>
              </a:pPr>
              <a:r>
                <a:rPr lang="en-US" i="0" kern="0" dirty="0" smtClean="0">
                  <a:latin typeface="Segoe UI" pitchFamily="34" charset="0"/>
                  <a:ea typeface="Segoe UI" pitchFamily="34" charset="0"/>
                  <a:cs typeface="Segoe UI" pitchFamily="34" charset="0"/>
                </a:rPr>
                <a:t>Policy</a:t>
              </a:r>
              <a:r>
                <a:rPr lang="en-US" b="1" i="0" kern="0" dirty="0" smtClean="0">
                  <a:latin typeface="Segoe UI" pitchFamily="34" charset="0"/>
                  <a:ea typeface="Segoe UI" pitchFamily="34" charset="0"/>
                  <a:cs typeface="Segoe UI" pitchFamily="34" charset="0"/>
                </a:rPr>
                <a:t>: </a:t>
              </a:r>
              <a:endParaRPr lang="en-US" b="1" i="0" kern="0" dirty="0">
                <a:latin typeface="Segoe UI" pitchFamily="34" charset="0"/>
                <a:ea typeface="Segoe UI" pitchFamily="34" charset="0"/>
                <a:cs typeface="Segoe UI" pitchFamily="34" charset="0"/>
              </a:endParaRPr>
            </a:p>
          </p:txBody>
        </p:sp>
        <p:sp>
          <p:nvSpPr>
            <p:cNvPr id="14" name="Text Box 10"/>
            <p:cNvSpPr txBox="1">
              <a:spLocks noChangeArrowheads="1"/>
            </p:cNvSpPr>
            <p:nvPr/>
          </p:nvSpPr>
          <p:spPr bwMode="auto">
            <a:xfrm>
              <a:off x="5519991" y="4797747"/>
              <a:ext cx="3100387" cy="697627"/>
            </a:xfrm>
            <a:prstGeom prst="rect">
              <a:avLst/>
            </a:prstGeom>
            <a:noFill/>
            <a:ln w="9525">
              <a:miter lim="800000"/>
              <a:headEnd/>
              <a:tailEnd/>
            </a:ln>
            <a:effectLst/>
          </p:spPr>
          <p:txBody>
            <a:bodyPr wrap="square">
              <a:spAutoFit/>
            </a:bodyPr>
            <a:lstStyle/>
            <a:p>
              <a:pPr algn="l">
                <a:lnSpc>
                  <a:spcPct val="100000"/>
                </a:lnSpc>
                <a:spcBef>
                  <a:spcPct val="0"/>
                </a:spcBef>
                <a:defRPr/>
              </a:pPr>
              <a:r>
                <a:rPr lang="en-US" i="0" kern="0" dirty="0" smtClean="0">
                  <a:latin typeface="Segoe UI" pitchFamily="34" charset="0"/>
                  <a:ea typeface="Segoe UI" pitchFamily="34" charset="0"/>
                  <a:cs typeface="Segoe UI" pitchFamily="34" charset="0"/>
                </a:rPr>
                <a:t> Access Permissions</a:t>
              </a:r>
            </a:p>
            <a:p>
              <a:pPr algn="l">
                <a:lnSpc>
                  <a:spcPct val="100000"/>
                </a:lnSpc>
                <a:spcBef>
                  <a:spcPct val="0"/>
                </a:spcBef>
                <a:defRPr/>
              </a:pPr>
              <a:r>
                <a:rPr lang="en-US" kern="0" dirty="0" smtClean="0">
                  <a:latin typeface="Segoe UI" pitchFamily="34" charset="0"/>
                  <a:ea typeface="Segoe UI" pitchFamily="34" charset="0"/>
                  <a:cs typeface="Segoe UI" pitchFamily="34" charset="0"/>
                </a:rPr>
                <a:t> Use Right Permissions</a:t>
              </a:r>
              <a:r>
                <a:rPr lang="en-US" i="0" kern="0" dirty="0" smtClean="0">
                  <a:latin typeface="Segoe UI" pitchFamily="34" charset="0"/>
                  <a:ea typeface="Segoe UI" pitchFamily="34" charset="0"/>
                  <a:cs typeface="Segoe UI" pitchFamily="34" charset="0"/>
                </a:rPr>
                <a:t> </a:t>
              </a:r>
              <a:endParaRPr lang="en-US" i="0" kern="0" dirty="0">
                <a:latin typeface="Segoe UI" pitchFamily="34" charset="0"/>
                <a:ea typeface="Segoe UI" pitchFamily="34" charset="0"/>
                <a:cs typeface="Segoe UI" pitchFamily="34" charset="0"/>
              </a:endParaRPr>
            </a:p>
          </p:txBody>
        </p:sp>
      </p:grpSp>
      <p:sp>
        <p:nvSpPr>
          <p:cNvPr id="7" name="Content Placeholder 6"/>
          <p:cNvSpPr>
            <a:spLocks noGrp="1"/>
          </p:cNvSpPr>
          <p:nvPr>
            <p:ph idx="1"/>
          </p:nvPr>
        </p:nvSpPr>
        <p:spPr>
          <a:xfrm>
            <a:off x="389436" y="800101"/>
            <a:ext cx="8363938" cy="2626873"/>
          </a:xfrm>
        </p:spPr>
        <p:txBody>
          <a:bodyPr/>
          <a:lstStyle/>
          <a:p>
            <a:r>
              <a:rPr lang="en-US" dirty="0" smtClean="0"/>
              <a:t>Provides identity-based protection for sensitive data</a:t>
            </a:r>
          </a:p>
          <a:p>
            <a:pPr lvl="1"/>
            <a:r>
              <a:rPr lang="en-US" dirty="0" smtClean="0"/>
              <a:t>Controls access to information across the information lifecycle</a:t>
            </a:r>
          </a:p>
          <a:p>
            <a:pPr lvl="1"/>
            <a:r>
              <a:rPr lang="en-US" dirty="0" smtClean="0"/>
              <a:t>Allows only authorized access based on trusted identity</a:t>
            </a:r>
          </a:p>
          <a:p>
            <a:pPr lvl="1"/>
            <a:r>
              <a:rPr lang="en-US" dirty="0" smtClean="0"/>
              <a:t>Secures transmission and storage of sensitive information wherever it goes – policies embedded into the content; documents encrypted </a:t>
            </a:r>
          </a:p>
          <a:p>
            <a:pPr lvl="1"/>
            <a:r>
              <a:rPr lang="en-US" dirty="0" smtClean="0"/>
              <a:t>Embeds digital usage policies (print, view, edit, expiration etc. ) into the content to help prevent misuse after delivery </a:t>
            </a:r>
            <a:endParaRPr lang="en-US" dirty="0"/>
          </a:p>
        </p:txBody>
      </p:sp>
      <p:sp>
        <p:nvSpPr>
          <p:cNvPr id="179202" name="Rectangle 2"/>
          <p:cNvSpPr>
            <a:spLocks noGrp="1" noChangeArrowheads="1"/>
          </p:cNvSpPr>
          <p:nvPr>
            <p:ph type="title"/>
          </p:nvPr>
        </p:nvSpPr>
        <p:spPr/>
        <p:txBody>
          <a:bodyPr/>
          <a:lstStyle/>
          <a:p>
            <a:r>
              <a:rPr lang="en-US" smtClean="0"/>
              <a:t>AD Rights Management Services</a:t>
            </a:r>
            <a:endParaRPr lang="en-US" dirty="0"/>
          </a:p>
        </p:txBody>
      </p:sp>
      <p:pic>
        <p:nvPicPr>
          <p:cNvPr id="15" name="Picture 6"/>
          <p:cNvPicPr>
            <a:picLocks noChangeAspect="1" noChangeArrowheads="1"/>
          </p:cNvPicPr>
          <p:nvPr/>
        </p:nvPicPr>
        <p:blipFill>
          <a:blip r:embed="rId3" cstate="email">
            <a:biLevel thresh="50000"/>
            <a:extLst>
              <a:ext uri="{28A0092B-C50C-407E-A947-70E740481C1C}">
                <a14:useLocalDpi xmlns:a14="http://schemas.microsoft.com/office/drawing/2010/main"/>
              </a:ext>
            </a:extLst>
          </a:blip>
          <a:srcRect/>
          <a:stretch>
            <a:fillRect/>
          </a:stretch>
        </p:blipFill>
        <p:spPr bwMode="auto">
          <a:xfrm>
            <a:off x="4141492" y="3657601"/>
            <a:ext cx="311744" cy="4029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2"/>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8459213" y="4457701"/>
            <a:ext cx="521128" cy="4543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 name="Picture 12"/>
          <p:cNvPicPr>
            <a:picLocks noChangeAspect="1" noChangeArrowheads="1"/>
          </p:cNvPicPr>
          <p:nvPr/>
        </p:nvPicPr>
        <p:blipFill>
          <a:blip r:embed="rId5" cstate="email">
            <a:biLevel thresh="50000"/>
            <a:extLst>
              <a:ext uri="{28A0092B-C50C-407E-A947-70E740481C1C}">
                <a14:useLocalDpi xmlns:a14="http://schemas.microsoft.com/office/drawing/2010/main"/>
              </a:ext>
            </a:extLst>
          </a:blip>
          <a:srcRect/>
          <a:stretch>
            <a:fillRect/>
          </a:stretch>
        </p:blipFill>
        <p:spPr bwMode="auto">
          <a:xfrm>
            <a:off x="113139" y="4457701"/>
            <a:ext cx="404211" cy="4543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7"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6"/>
              </a:rPr>
              <a:t>www.rapidbbs.cn</a:t>
            </a:r>
            <a:endParaRPr lang="zh-CN" altLang="en-US" sz="1200" b="0">
              <a:latin typeface="Arial" charset="0"/>
              <a:ea typeface="ＭＳ Ｐゴシック" pitchFamily="34" charset="-128"/>
            </a:endParaRPr>
          </a:p>
        </p:txBody>
      </p:sp>
      <p:pic>
        <p:nvPicPr>
          <p:cNvPr id="21" name="Picture 2">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480129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20"/>
                                        </p:tgtEl>
                                        <p:attrNameLst>
                                          <p:attrName>style.visibility</p:attrName>
                                        </p:attrNameLst>
                                      </p:cBhvr>
                                      <p:to>
                                        <p:strVal val="visible"/>
                                      </p:to>
                                    </p:set>
                                    <p:anim calcmode="lin" valueType="num">
                                      <p:cBhvr additive="base">
                                        <p:cTn id="11" dur="500" fill="hold"/>
                                        <p:tgtEl>
                                          <p:spTgt spid="20"/>
                                        </p:tgtEl>
                                        <p:attrNameLst>
                                          <p:attrName>ppt_x</p:attrName>
                                        </p:attrNameLst>
                                      </p:cBhvr>
                                      <p:tavLst>
                                        <p:tav tm="0">
                                          <p:val>
                                            <p:strVal val="0-#ppt_w/2"/>
                                          </p:val>
                                        </p:tav>
                                        <p:tav tm="100000">
                                          <p:val>
                                            <p:strVal val="#ppt_x"/>
                                          </p:val>
                                        </p:tav>
                                      </p:tavLst>
                                    </p:anim>
                                    <p:anim calcmode="lin" valueType="num">
                                      <p:cBhvr additive="base">
                                        <p:cTn id="12" dur="500" fill="hold"/>
                                        <p:tgtEl>
                                          <p:spTgt spid="20"/>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179207"/>
                                        </p:tgtEl>
                                        <p:attrNameLst>
                                          <p:attrName>style.visibility</p:attrName>
                                        </p:attrNameLst>
                                      </p:cBhvr>
                                      <p:to>
                                        <p:strVal val="visible"/>
                                      </p:to>
                                    </p:set>
                                    <p:anim calcmode="lin" valueType="num">
                                      <p:cBhvr additive="base">
                                        <p:cTn id="15" dur="500" fill="hold"/>
                                        <p:tgtEl>
                                          <p:spTgt spid="179207"/>
                                        </p:tgtEl>
                                        <p:attrNameLst>
                                          <p:attrName>ppt_x</p:attrName>
                                        </p:attrNameLst>
                                      </p:cBhvr>
                                      <p:tavLst>
                                        <p:tav tm="0">
                                          <p:val>
                                            <p:strVal val="0-#ppt_w/2"/>
                                          </p:val>
                                        </p:tav>
                                        <p:tav tm="100000">
                                          <p:val>
                                            <p:strVal val="#ppt_x"/>
                                          </p:val>
                                        </p:tav>
                                      </p:tavLst>
                                    </p:anim>
                                    <p:anim calcmode="lin" valueType="num">
                                      <p:cBhvr additive="base">
                                        <p:cTn id="16" dur="500" fill="hold"/>
                                        <p:tgtEl>
                                          <p:spTgt spid="179207"/>
                                        </p:tgtEl>
                                        <p:attrNameLst>
                                          <p:attrName>ppt_y</p:attrName>
                                        </p:attrNameLst>
                                      </p:cBhvr>
                                      <p:tavLst>
                                        <p:tav tm="0">
                                          <p:val>
                                            <p:strVal val="#ppt_y"/>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2" fill="hold" nodeType="clickEffect">
                                  <p:stCondLst>
                                    <p:cond delay="0"/>
                                  </p:stCondLst>
                                  <p:childTnLst>
                                    <p:set>
                                      <p:cBhvr>
                                        <p:cTn id="20" dur="1" fill="hold">
                                          <p:stCondLst>
                                            <p:cond delay="0"/>
                                          </p:stCondLst>
                                        </p:cTn>
                                        <p:tgtEl>
                                          <p:spTgt spid="3"/>
                                        </p:tgtEl>
                                        <p:attrNameLst>
                                          <p:attrName>style.visibility</p:attrName>
                                        </p:attrNameLst>
                                      </p:cBhvr>
                                      <p:to>
                                        <p:strVal val="visible"/>
                                      </p:to>
                                    </p:set>
                                    <p:anim calcmode="lin" valueType="num">
                                      <p:cBhvr additive="base">
                                        <p:cTn id="21" dur="500" fill="hold"/>
                                        <p:tgtEl>
                                          <p:spTgt spid="3"/>
                                        </p:tgtEl>
                                        <p:attrNameLst>
                                          <p:attrName>ppt_x</p:attrName>
                                        </p:attrNameLst>
                                      </p:cBhvr>
                                      <p:tavLst>
                                        <p:tav tm="0">
                                          <p:val>
                                            <p:strVal val="1+#ppt_w/2"/>
                                          </p:val>
                                        </p:tav>
                                        <p:tav tm="100000">
                                          <p:val>
                                            <p:strVal val="#ppt_x"/>
                                          </p:val>
                                        </p:tav>
                                      </p:tavLst>
                                    </p:anim>
                                    <p:anim calcmode="lin" valueType="num">
                                      <p:cBhvr additive="base">
                                        <p:cTn id="22" dur="500" fill="hold"/>
                                        <p:tgtEl>
                                          <p:spTgt spid="3"/>
                                        </p:tgtEl>
                                        <p:attrNameLst>
                                          <p:attrName>ppt_y</p:attrName>
                                        </p:attrNameLst>
                                      </p:cBhvr>
                                      <p:tavLst>
                                        <p:tav tm="0">
                                          <p:val>
                                            <p:strVal val="#ppt_y"/>
                                          </p:val>
                                        </p:tav>
                                        <p:tav tm="100000">
                                          <p:val>
                                            <p:strVal val="#ppt_y"/>
                                          </p:val>
                                        </p:tav>
                                      </p:tavLst>
                                    </p:anim>
                                  </p:childTnLst>
                                </p:cTn>
                              </p:par>
                              <p:par>
                                <p:cTn id="23" presetID="2" presetClass="entr" presetSubtype="2" fill="hold" grpId="0" nodeType="withEffect">
                                  <p:stCondLst>
                                    <p:cond delay="0"/>
                                  </p:stCondLst>
                                  <p:childTnLst>
                                    <p:set>
                                      <p:cBhvr>
                                        <p:cTn id="24" dur="1" fill="hold">
                                          <p:stCondLst>
                                            <p:cond delay="0"/>
                                          </p:stCondLst>
                                        </p:cTn>
                                        <p:tgtEl>
                                          <p:spTgt spid="18"/>
                                        </p:tgtEl>
                                        <p:attrNameLst>
                                          <p:attrName>style.visibility</p:attrName>
                                        </p:attrNameLst>
                                      </p:cBhvr>
                                      <p:to>
                                        <p:strVal val="visible"/>
                                      </p:to>
                                    </p:set>
                                    <p:anim calcmode="lin" valueType="num">
                                      <p:cBhvr additive="base">
                                        <p:cTn id="25" dur="500" fill="hold"/>
                                        <p:tgtEl>
                                          <p:spTgt spid="18"/>
                                        </p:tgtEl>
                                        <p:attrNameLst>
                                          <p:attrName>ppt_x</p:attrName>
                                        </p:attrNameLst>
                                      </p:cBhvr>
                                      <p:tavLst>
                                        <p:tav tm="0">
                                          <p:val>
                                            <p:strVal val="1+#ppt_w/2"/>
                                          </p:val>
                                        </p:tav>
                                        <p:tav tm="100000">
                                          <p:val>
                                            <p:strVal val="#ppt_x"/>
                                          </p:val>
                                        </p:tav>
                                      </p:tavLst>
                                    </p:anim>
                                    <p:anim calcmode="lin" valueType="num">
                                      <p:cBhvr additive="base">
                                        <p:cTn id="26" dur="500" fill="hold"/>
                                        <p:tgtEl>
                                          <p:spTgt spid="18"/>
                                        </p:tgtEl>
                                        <p:attrNameLst>
                                          <p:attrName>ppt_y</p:attrName>
                                        </p:attrNameLst>
                                      </p:cBhvr>
                                      <p:tavLst>
                                        <p:tav tm="0">
                                          <p:val>
                                            <p:strVal val="#ppt_y"/>
                                          </p:val>
                                        </p:tav>
                                        <p:tav tm="100000">
                                          <p:val>
                                            <p:strVal val="#ppt_y"/>
                                          </p:val>
                                        </p:tav>
                                      </p:tavLst>
                                    </p:anim>
                                  </p:childTnLst>
                                </p:cTn>
                              </p:par>
                              <p:par>
                                <p:cTn id="27" presetID="2" presetClass="entr" presetSubtype="2" fill="hold" nodeType="withEffect">
                                  <p:stCondLst>
                                    <p:cond delay="0"/>
                                  </p:stCondLst>
                                  <p:childTnLst>
                                    <p:set>
                                      <p:cBhvr>
                                        <p:cTn id="28" dur="1" fill="hold">
                                          <p:stCondLst>
                                            <p:cond delay="0"/>
                                          </p:stCondLst>
                                        </p:cTn>
                                        <p:tgtEl>
                                          <p:spTgt spid="19"/>
                                        </p:tgtEl>
                                        <p:attrNameLst>
                                          <p:attrName>style.visibility</p:attrName>
                                        </p:attrNameLst>
                                      </p:cBhvr>
                                      <p:to>
                                        <p:strVal val="visible"/>
                                      </p:to>
                                    </p:set>
                                    <p:anim calcmode="lin" valueType="num">
                                      <p:cBhvr additive="base">
                                        <p:cTn id="29" dur="500" fill="hold"/>
                                        <p:tgtEl>
                                          <p:spTgt spid="19"/>
                                        </p:tgtEl>
                                        <p:attrNameLst>
                                          <p:attrName>ppt_x</p:attrName>
                                        </p:attrNameLst>
                                      </p:cBhvr>
                                      <p:tavLst>
                                        <p:tav tm="0">
                                          <p:val>
                                            <p:strVal val="1+#ppt_w/2"/>
                                          </p:val>
                                        </p:tav>
                                        <p:tav tm="100000">
                                          <p:val>
                                            <p:strVal val="#ppt_x"/>
                                          </p:val>
                                        </p:tav>
                                      </p:tavLst>
                                    </p:anim>
                                    <p:anim calcmode="lin" valueType="num">
                                      <p:cBhvr additive="base">
                                        <p:cTn id="30" dur="500" fill="hold"/>
                                        <p:tgtEl>
                                          <p:spTgt spid="19"/>
                                        </p:tgtEl>
                                        <p:attrNameLst>
                                          <p:attrName>ppt_y</p:attrName>
                                        </p:attrNameLst>
                                      </p:cBhvr>
                                      <p:tavLst>
                                        <p:tav tm="0">
                                          <p:val>
                                            <p:strVal val="#ppt_y"/>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1" fill="hold" grpId="0" nodeType="clickEffect">
                                  <p:stCondLst>
                                    <p:cond delay="0"/>
                                  </p:stCondLst>
                                  <p:childTnLst>
                                    <p:set>
                                      <p:cBhvr>
                                        <p:cTn id="34" dur="1" fill="hold">
                                          <p:stCondLst>
                                            <p:cond delay="0"/>
                                          </p:stCondLst>
                                        </p:cTn>
                                        <p:tgtEl>
                                          <p:spTgt spid="5"/>
                                        </p:tgtEl>
                                        <p:attrNameLst>
                                          <p:attrName>style.visibility</p:attrName>
                                        </p:attrNameLst>
                                      </p:cBhvr>
                                      <p:to>
                                        <p:strVal val="visible"/>
                                      </p:to>
                                    </p:set>
                                    <p:anim calcmode="lin" valueType="num">
                                      <p:cBhvr additive="base">
                                        <p:cTn id="35" dur="500" fill="hold"/>
                                        <p:tgtEl>
                                          <p:spTgt spid="5"/>
                                        </p:tgtEl>
                                        <p:attrNameLst>
                                          <p:attrName>ppt_x</p:attrName>
                                        </p:attrNameLst>
                                      </p:cBhvr>
                                      <p:tavLst>
                                        <p:tav tm="0">
                                          <p:val>
                                            <p:strVal val="#ppt_x"/>
                                          </p:val>
                                        </p:tav>
                                        <p:tav tm="100000">
                                          <p:val>
                                            <p:strVal val="#ppt_x"/>
                                          </p:val>
                                        </p:tav>
                                      </p:tavLst>
                                    </p:anim>
                                    <p:anim calcmode="lin" valueType="num">
                                      <p:cBhvr additive="base">
                                        <p:cTn id="36" dur="500" fill="hold"/>
                                        <p:tgtEl>
                                          <p:spTgt spid="5"/>
                                        </p:tgtEl>
                                        <p:attrNameLst>
                                          <p:attrName>ppt_y</p:attrName>
                                        </p:attrNameLst>
                                      </p:cBhvr>
                                      <p:tavLst>
                                        <p:tav tm="0">
                                          <p:val>
                                            <p:strVal val="0-#ppt_h/2"/>
                                          </p:val>
                                        </p:tav>
                                        <p:tav tm="100000">
                                          <p:val>
                                            <p:strVal val="#ppt_y"/>
                                          </p:val>
                                        </p:tav>
                                      </p:tavLst>
                                    </p:anim>
                                  </p:childTnLst>
                                </p:cTn>
                              </p:par>
                              <p:par>
                                <p:cTn id="37" presetID="2" presetClass="entr" presetSubtype="1" fill="hold" nodeType="withEffect">
                                  <p:stCondLst>
                                    <p:cond delay="0"/>
                                  </p:stCondLst>
                                  <p:childTnLst>
                                    <p:set>
                                      <p:cBhvr>
                                        <p:cTn id="38" dur="1" fill="hold">
                                          <p:stCondLst>
                                            <p:cond delay="0"/>
                                          </p:stCondLst>
                                        </p:cTn>
                                        <p:tgtEl>
                                          <p:spTgt spid="15"/>
                                        </p:tgtEl>
                                        <p:attrNameLst>
                                          <p:attrName>style.visibility</p:attrName>
                                        </p:attrNameLst>
                                      </p:cBhvr>
                                      <p:to>
                                        <p:strVal val="visible"/>
                                      </p:to>
                                    </p:set>
                                    <p:anim calcmode="lin" valueType="num">
                                      <p:cBhvr additive="base">
                                        <p:cTn id="39" dur="500" fill="hold"/>
                                        <p:tgtEl>
                                          <p:spTgt spid="15"/>
                                        </p:tgtEl>
                                        <p:attrNameLst>
                                          <p:attrName>ppt_x</p:attrName>
                                        </p:attrNameLst>
                                      </p:cBhvr>
                                      <p:tavLst>
                                        <p:tav tm="0">
                                          <p:val>
                                            <p:strVal val="#ppt_x"/>
                                          </p:val>
                                        </p:tav>
                                        <p:tav tm="100000">
                                          <p:val>
                                            <p:strVal val="#ppt_x"/>
                                          </p:val>
                                        </p:tav>
                                      </p:tavLst>
                                    </p:anim>
                                    <p:anim calcmode="lin" valueType="num">
                                      <p:cBhvr additive="base">
                                        <p:cTn id="40" dur="500" fill="hold"/>
                                        <p:tgtEl>
                                          <p:spTgt spid="15"/>
                                        </p:tgtEl>
                                        <p:attrNameLst>
                                          <p:attrName>ppt_y</p:attrName>
                                        </p:attrNameLst>
                                      </p:cBhvr>
                                      <p:tavLst>
                                        <p:tav tm="0">
                                          <p:val>
                                            <p:strVal val="0-#ppt_h/2"/>
                                          </p:val>
                                        </p:tav>
                                        <p:tav tm="100000">
                                          <p:val>
                                            <p:strVal val="#ppt_y"/>
                                          </p:val>
                                        </p:tav>
                                      </p:tavLst>
                                    </p:anim>
                                  </p:childTnLst>
                                </p:cTn>
                              </p:par>
                              <p:par>
                                <p:cTn id="41" presetID="2" presetClass="entr" presetSubtype="1" fill="hold" grpId="0" nodeType="withEffect">
                                  <p:stCondLst>
                                    <p:cond delay="0"/>
                                  </p:stCondLst>
                                  <p:childTnLst>
                                    <p:set>
                                      <p:cBhvr>
                                        <p:cTn id="42" dur="1" fill="hold">
                                          <p:stCondLst>
                                            <p:cond delay="0"/>
                                          </p:stCondLst>
                                        </p:cTn>
                                        <p:tgtEl>
                                          <p:spTgt spid="4"/>
                                        </p:tgtEl>
                                        <p:attrNameLst>
                                          <p:attrName>style.visibility</p:attrName>
                                        </p:attrNameLst>
                                      </p:cBhvr>
                                      <p:to>
                                        <p:strVal val="visible"/>
                                      </p:to>
                                    </p:set>
                                    <p:anim calcmode="lin" valueType="num">
                                      <p:cBhvr additive="base">
                                        <p:cTn id="43" dur="500" fill="hold"/>
                                        <p:tgtEl>
                                          <p:spTgt spid="4"/>
                                        </p:tgtEl>
                                        <p:attrNameLst>
                                          <p:attrName>ppt_x</p:attrName>
                                        </p:attrNameLst>
                                      </p:cBhvr>
                                      <p:tavLst>
                                        <p:tav tm="0">
                                          <p:val>
                                            <p:strVal val="#ppt_x"/>
                                          </p:val>
                                        </p:tav>
                                        <p:tav tm="100000">
                                          <p:val>
                                            <p:strVal val="#ppt_x"/>
                                          </p:val>
                                        </p:tav>
                                      </p:tavLst>
                                    </p:anim>
                                    <p:anim calcmode="lin" valueType="num">
                                      <p:cBhvr additive="base">
                                        <p:cTn id="44" dur="500" fill="hold"/>
                                        <p:tgtEl>
                                          <p:spTgt spid="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8" grpId="0" animBg="1"/>
      <p:bldP spid="6" grpId="0" animBg="1"/>
      <p:bldP spid="5" grpId="0" animBg="1"/>
      <p:bldP spid="179207" grpId="0" animBg="1"/>
    </p:bldLst>
  </p:timing>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ynamic Access Control 101</a:t>
            </a:r>
            <a:endParaRPr lang="en-US" dirty="0"/>
          </a:p>
        </p:txBody>
      </p:sp>
      <p:grpSp>
        <p:nvGrpSpPr>
          <p:cNvPr id="5" name="Group 4"/>
          <p:cNvGrpSpPr/>
          <p:nvPr/>
        </p:nvGrpSpPr>
        <p:grpSpPr>
          <a:xfrm>
            <a:off x="2399735" y="1943100"/>
            <a:ext cx="1990687" cy="1314450"/>
            <a:chOff x="3198812" y="2590800"/>
            <a:chExt cx="2653558" cy="1752600"/>
          </a:xfrm>
        </p:grpSpPr>
        <p:sp>
          <p:nvSpPr>
            <p:cNvPr id="17" name="Rectangle 16"/>
            <p:cNvSpPr/>
            <p:nvPr/>
          </p:nvSpPr>
          <p:spPr bwMode="auto">
            <a:xfrm>
              <a:off x="3382590" y="2590800"/>
              <a:ext cx="2286000" cy="1752600"/>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9" name="Title 15"/>
            <p:cNvSpPr txBox="1">
              <a:spLocks/>
            </p:cNvSpPr>
            <p:nvPr/>
          </p:nvSpPr>
          <p:spPr bwMode="auto">
            <a:xfrm>
              <a:off x="3198812" y="3447991"/>
              <a:ext cx="2653558" cy="318549"/>
            </a:xfrm>
            <a:prstGeom prst="rect">
              <a:avLst/>
            </a:prstGeom>
            <a:noFill/>
            <a:ln w="9525">
              <a:noFill/>
              <a:miter lim="800000"/>
              <a:headEnd/>
              <a:tailEnd/>
            </a:ln>
          </p:spPr>
          <p:txBody>
            <a:bodyPr wrap="square" lIns="0" tIns="0" rIns="0" bIns="0">
              <a:spAutoFit/>
            </a:bodyPr>
            <a:lstStyle/>
            <a:p>
              <a:pPr algn="ctr" defTabSz="822797">
                <a:lnSpc>
                  <a:spcPct val="90000"/>
                </a:lnSpc>
                <a:spcBef>
                  <a:spcPct val="20000"/>
                </a:spcBef>
                <a:spcAft>
                  <a:spcPts val="554"/>
                </a:spcAft>
                <a:buClr>
                  <a:srgbClr val="ADADAD"/>
                </a:buClr>
                <a:buSzPct val="80000"/>
              </a:pPr>
              <a:r>
                <a:rPr lang="en-US" sz="1700" dirty="0"/>
                <a:t>Access Control</a:t>
              </a:r>
            </a:p>
          </p:txBody>
        </p:sp>
        <p:pic>
          <p:nvPicPr>
            <p:cNvPr id="12" name="Picture 2"/>
            <p:cNvPicPr>
              <a:picLocks noChangeAspect="1" noChangeArrowheads="1"/>
            </p:cNvPicPr>
            <p:nvPr/>
          </p:nvPicPr>
          <p:blipFill>
            <a:blip r:embed="rId2" cstate="email">
              <a:biLevel thresh="50000"/>
              <a:extLst>
                <a:ext uri="{28A0092B-C50C-407E-A947-70E740481C1C}">
                  <a14:useLocalDpi xmlns:a14="http://schemas.microsoft.com/office/drawing/2010/main"/>
                </a:ext>
              </a:extLst>
            </a:blip>
            <a:srcRect/>
            <a:stretch>
              <a:fillRect/>
            </a:stretch>
          </p:blipFill>
          <p:spPr bwMode="auto">
            <a:xfrm>
              <a:off x="4242738" y="2957411"/>
              <a:ext cx="565705" cy="4933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6" name="Group 5"/>
          <p:cNvGrpSpPr/>
          <p:nvPr/>
        </p:nvGrpSpPr>
        <p:grpSpPr>
          <a:xfrm>
            <a:off x="4619080" y="1928768"/>
            <a:ext cx="1990687" cy="1314450"/>
            <a:chOff x="6157170" y="2571691"/>
            <a:chExt cx="2653558" cy="1752600"/>
          </a:xfrm>
        </p:grpSpPr>
        <p:sp>
          <p:nvSpPr>
            <p:cNvPr id="18" name="Rectangle 17"/>
            <p:cNvSpPr/>
            <p:nvPr/>
          </p:nvSpPr>
          <p:spPr bwMode="auto">
            <a:xfrm>
              <a:off x="6340949" y="2571691"/>
              <a:ext cx="2286000" cy="175260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10" name="Title 15"/>
            <p:cNvSpPr txBox="1">
              <a:spLocks/>
            </p:cNvSpPr>
            <p:nvPr/>
          </p:nvSpPr>
          <p:spPr bwMode="auto">
            <a:xfrm>
              <a:off x="6157170" y="3447988"/>
              <a:ext cx="2653558" cy="318549"/>
            </a:xfrm>
            <a:prstGeom prst="rect">
              <a:avLst/>
            </a:prstGeom>
            <a:noFill/>
            <a:ln w="9525">
              <a:noFill/>
              <a:miter lim="800000"/>
              <a:headEnd/>
              <a:tailEnd/>
            </a:ln>
          </p:spPr>
          <p:txBody>
            <a:bodyPr wrap="square" lIns="0" tIns="0" rIns="0" bIns="0">
              <a:spAutoFit/>
            </a:bodyPr>
            <a:lstStyle/>
            <a:p>
              <a:pPr algn="ctr" defTabSz="822797">
                <a:lnSpc>
                  <a:spcPct val="90000"/>
                </a:lnSpc>
                <a:spcBef>
                  <a:spcPct val="20000"/>
                </a:spcBef>
                <a:spcAft>
                  <a:spcPts val="554"/>
                </a:spcAft>
                <a:buClr>
                  <a:srgbClr val="ADADAD"/>
                </a:buClr>
                <a:buSzPct val="80000"/>
              </a:pPr>
              <a:r>
                <a:rPr lang="en-US" sz="1700" dirty="0"/>
                <a:t>Auditing</a:t>
              </a:r>
            </a:p>
          </p:txBody>
        </p:sp>
        <p:pic>
          <p:nvPicPr>
            <p:cNvPr id="13" name="Picture 14"/>
            <p:cNvPicPr>
              <a:picLocks noChangeAspect="1" noChangeArrowheads="1"/>
            </p:cNvPicPr>
            <p:nvPr/>
          </p:nvPicPr>
          <p:blipFill>
            <a:blip r:embed="rId3" cstate="email">
              <a:biLevel thresh="50000"/>
              <a:extLst>
                <a:ext uri="{28A0092B-C50C-407E-A947-70E740481C1C}">
                  <a14:useLocalDpi xmlns:a14="http://schemas.microsoft.com/office/drawing/2010/main"/>
                </a:ext>
              </a:extLst>
            </a:blip>
            <a:srcRect/>
            <a:stretch>
              <a:fillRect/>
            </a:stretch>
          </p:blipFill>
          <p:spPr bwMode="auto">
            <a:xfrm>
              <a:off x="7203501" y="2895600"/>
              <a:ext cx="560896" cy="55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4" name="Group 3"/>
          <p:cNvGrpSpPr/>
          <p:nvPr/>
        </p:nvGrpSpPr>
        <p:grpSpPr>
          <a:xfrm>
            <a:off x="227468" y="1943100"/>
            <a:ext cx="1990687" cy="1314450"/>
            <a:chOff x="303212" y="2590800"/>
            <a:chExt cx="2653558" cy="1752600"/>
          </a:xfrm>
        </p:grpSpPr>
        <p:sp>
          <p:nvSpPr>
            <p:cNvPr id="16" name="Rectangle 15"/>
            <p:cNvSpPr/>
            <p:nvPr/>
          </p:nvSpPr>
          <p:spPr bwMode="auto">
            <a:xfrm>
              <a:off x="531812" y="2590800"/>
              <a:ext cx="2286000" cy="175260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8" name="Title 15"/>
            <p:cNvSpPr txBox="1">
              <a:spLocks/>
            </p:cNvSpPr>
            <p:nvPr/>
          </p:nvSpPr>
          <p:spPr bwMode="auto">
            <a:xfrm>
              <a:off x="303212" y="3450763"/>
              <a:ext cx="2653558" cy="318549"/>
            </a:xfrm>
            <a:prstGeom prst="rect">
              <a:avLst/>
            </a:prstGeom>
            <a:noFill/>
            <a:ln w="9525">
              <a:noFill/>
              <a:miter lim="800000"/>
              <a:headEnd/>
              <a:tailEnd/>
            </a:ln>
          </p:spPr>
          <p:txBody>
            <a:bodyPr wrap="square" lIns="0" tIns="0" rIns="0" bIns="0">
              <a:spAutoFit/>
            </a:bodyPr>
            <a:lstStyle/>
            <a:p>
              <a:pPr algn="ctr" defTabSz="822797">
                <a:lnSpc>
                  <a:spcPct val="90000"/>
                </a:lnSpc>
                <a:spcBef>
                  <a:spcPct val="20000"/>
                </a:spcBef>
                <a:spcAft>
                  <a:spcPts val="554"/>
                </a:spcAft>
                <a:buClr>
                  <a:srgbClr val="ADADAD"/>
                </a:buClr>
                <a:buSzPct val="80000"/>
              </a:pPr>
              <a:r>
                <a:rPr lang="en-US" sz="1700" dirty="0"/>
                <a:t>Classification</a:t>
              </a:r>
            </a:p>
          </p:txBody>
        </p:sp>
        <p:pic>
          <p:nvPicPr>
            <p:cNvPr id="14" name="Picture 17"/>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1323174" y="2957843"/>
              <a:ext cx="613634" cy="4929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7" name="Group 6"/>
          <p:cNvGrpSpPr/>
          <p:nvPr/>
        </p:nvGrpSpPr>
        <p:grpSpPr>
          <a:xfrm>
            <a:off x="6791347" y="1925736"/>
            <a:ext cx="1990687" cy="1314450"/>
            <a:chOff x="9052770" y="2567648"/>
            <a:chExt cx="2653558" cy="1752600"/>
          </a:xfrm>
        </p:grpSpPr>
        <p:sp>
          <p:nvSpPr>
            <p:cNvPr id="19" name="Rectangle 18"/>
            <p:cNvSpPr/>
            <p:nvPr/>
          </p:nvSpPr>
          <p:spPr bwMode="auto">
            <a:xfrm>
              <a:off x="9236548" y="2567648"/>
              <a:ext cx="2286000" cy="175260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11" name="Title 15"/>
            <p:cNvSpPr txBox="1">
              <a:spLocks/>
            </p:cNvSpPr>
            <p:nvPr/>
          </p:nvSpPr>
          <p:spPr bwMode="auto">
            <a:xfrm>
              <a:off x="9052770" y="3447989"/>
              <a:ext cx="2653558" cy="318549"/>
            </a:xfrm>
            <a:prstGeom prst="rect">
              <a:avLst/>
            </a:prstGeom>
            <a:noFill/>
            <a:ln w="9525">
              <a:noFill/>
              <a:miter lim="800000"/>
              <a:headEnd/>
              <a:tailEnd/>
            </a:ln>
          </p:spPr>
          <p:txBody>
            <a:bodyPr wrap="square" lIns="0" tIns="0" rIns="0" bIns="0">
              <a:spAutoFit/>
            </a:bodyPr>
            <a:lstStyle/>
            <a:p>
              <a:pPr algn="ctr" defTabSz="822797">
                <a:lnSpc>
                  <a:spcPct val="90000"/>
                </a:lnSpc>
                <a:spcBef>
                  <a:spcPct val="20000"/>
                </a:spcBef>
                <a:spcAft>
                  <a:spcPts val="554"/>
                </a:spcAft>
                <a:buClr>
                  <a:srgbClr val="ADADAD"/>
                </a:buClr>
                <a:buSzPct val="80000"/>
              </a:pPr>
              <a:r>
                <a:rPr lang="en-US" sz="1700" dirty="0"/>
                <a:t>RMS Protection</a:t>
              </a:r>
            </a:p>
          </p:txBody>
        </p:sp>
        <p:pic>
          <p:nvPicPr>
            <p:cNvPr id="15" name="Picture 6"/>
            <p:cNvPicPr>
              <a:picLocks noChangeAspect="1" noChangeArrowheads="1"/>
            </p:cNvPicPr>
            <p:nvPr/>
          </p:nvPicPr>
          <p:blipFill>
            <a:blip r:embed="rId5" cstate="email">
              <a:biLevel thresh="50000"/>
              <a:extLst>
                <a:ext uri="{28A0092B-C50C-407E-A947-70E740481C1C}">
                  <a14:useLocalDpi xmlns:a14="http://schemas.microsoft.com/office/drawing/2010/main"/>
                </a:ext>
              </a:extLst>
            </a:blip>
            <a:srcRect/>
            <a:stretch>
              <a:fillRect/>
            </a:stretch>
          </p:blipFill>
          <p:spPr bwMode="auto">
            <a:xfrm>
              <a:off x="10171773" y="2910747"/>
              <a:ext cx="415551" cy="5372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3" name="TextBox 2"/>
          <p:cNvSpPr txBox="1"/>
          <p:nvPr/>
        </p:nvSpPr>
        <p:spPr>
          <a:xfrm>
            <a:off x="1599426" y="3943350"/>
            <a:ext cx="5830818" cy="470898"/>
          </a:xfrm>
          <a:prstGeom prst="rect">
            <a:avLst/>
          </a:prstGeom>
          <a:noFill/>
        </p:spPr>
        <p:txBody>
          <a:bodyPr wrap="square" lIns="68586" tIns="68586" rIns="68586" bIns="68586" rtlCol="0">
            <a:spAutoFit/>
          </a:bodyPr>
          <a:lstStyle/>
          <a:p>
            <a:pPr algn="ctr">
              <a:lnSpc>
                <a:spcPct val="90000"/>
              </a:lnSpc>
              <a:spcBef>
                <a:spcPct val="20000"/>
              </a:spcBef>
              <a:buSzPct val="90000"/>
            </a:pPr>
            <a:r>
              <a:rPr lang="en-US" sz="2400" dirty="0">
                <a:solidFill>
                  <a:schemeClr val="tx1">
                    <a:alpha val="99000"/>
                  </a:schemeClr>
                </a:solidFill>
              </a:rPr>
              <a:t>What data do I have?</a:t>
            </a:r>
          </a:p>
        </p:txBody>
      </p:sp>
      <p:sp>
        <p:nvSpPr>
          <p:cNvPr id="20" name="TextBox 19"/>
          <p:cNvSpPr txBox="1"/>
          <p:nvPr/>
        </p:nvSpPr>
        <p:spPr>
          <a:xfrm>
            <a:off x="1713756" y="4057650"/>
            <a:ext cx="5830818" cy="470898"/>
          </a:xfrm>
          <a:prstGeom prst="rect">
            <a:avLst/>
          </a:prstGeom>
          <a:noFill/>
        </p:spPr>
        <p:txBody>
          <a:bodyPr wrap="square" lIns="68586" tIns="68586" rIns="68586" bIns="68586" rtlCol="0">
            <a:spAutoFit/>
          </a:bodyPr>
          <a:lstStyle/>
          <a:p>
            <a:pPr algn="ctr">
              <a:lnSpc>
                <a:spcPct val="90000"/>
              </a:lnSpc>
              <a:spcBef>
                <a:spcPct val="20000"/>
              </a:spcBef>
              <a:buSzPct val="90000"/>
            </a:pPr>
            <a:r>
              <a:rPr lang="en-US" sz="2400" dirty="0">
                <a:solidFill>
                  <a:schemeClr val="tx1">
                    <a:alpha val="99000"/>
                  </a:schemeClr>
                </a:solidFill>
              </a:rPr>
              <a:t>Who should have accessed it?</a:t>
            </a:r>
          </a:p>
        </p:txBody>
      </p:sp>
      <p:sp>
        <p:nvSpPr>
          <p:cNvPr id="21" name="TextBox 20"/>
          <p:cNvSpPr txBox="1"/>
          <p:nvPr/>
        </p:nvSpPr>
        <p:spPr>
          <a:xfrm>
            <a:off x="1828085" y="4171950"/>
            <a:ext cx="5830818" cy="470898"/>
          </a:xfrm>
          <a:prstGeom prst="rect">
            <a:avLst/>
          </a:prstGeom>
          <a:noFill/>
        </p:spPr>
        <p:txBody>
          <a:bodyPr wrap="square" lIns="68586" tIns="68586" rIns="68586" bIns="68586" rtlCol="0">
            <a:spAutoFit/>
          </a:bodyPr>
          <a:lstStyle/>
          <a:p>
            <a:pPr algn="ctr">
              <a:lnSpc>
                <a:spcPct val="90000"/>
              </a:lnSpc>
              <a:spcBef>
                <a:spcPct val="20000"/>
              </a:spcBef>
              <a:buSzPct val="90000"/>
            </a:pPr>
            <a:r>
              <a:rPr lang="en-US" sz="2400" dirty="0">
                <a:solidFill>
                  <a:schemeClr val="tx1">
                    <a:alpha val="99000"/>
                  </a:schemeClr>
                </a:solidFill>
              </a:rPr>
              <a:t>Who has accessed it, and how?</a:t>
            </a:r>
          </a:p>
        </p:txBody>
      </p:sp>
      <p:sp>
        <p:nvSpPr>
          <p:cNvPr id="22" name="TextBox 21"/>
          <p:cNvSpPr txBox="1"/>
          <p:nvPr/>
        </p:nvSpPr>
        <p:spPr>
          <a:xfrm>
            <a:off x="1942415" y="4286250"/>
            <a:ext cx="5830818" cy="470898"/>
          </a:xfrm>
          <a:prstGeom prst="rect">
            <a:avLst/>
          </a:prstGeom>
          <a:noFill/>
        </p:spPr>
        <p:txBody>
          <a:bodyPr wrap="square" lIns="68586" tIns="68586" rIns="68586" bIns="68586" rtlCol="0">
            <a:spAutoFit/>
          </a:bodyPr>
          <a:lstStyle/>
          <a:p>
            <a:pPr algn="ctr">
              <a:lnSpc>
                <a:spcPct val="90000"/>
              </a:lnSpc>
              <a:spcBef>
                <a:spcPct val="20000"/>
              </a:spcBef>
              <a:buSzPct val="90000"/>
            </a:pPr>
            <a:r>
              <a:rPr lang="en-US" sz="2400" dirty="0">
                <a:solidFill>
                  <a:schemeClr val="tx1">
                    <a:alpha val="99000"/>
                  </a:schemeClr>
                </a:solidFill>
              </a:rPr>
              <a:t>How do I protect my sensitive data?</a:t>
            </a:r>
          </a:p>
        </p:txBody>
      </p:sp>
      <p:pic>
        <p:nvPicPr>
          <p:cNvPr id="23" name="Picture 2">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134230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xit" presetSubtype="0" fill="hold" grpId="1" nodeType="clickEffect">
                                  <p:stCondLst>
                                    <p:cond delay="0"/>
                                  </p:stCondLst>
                                  <p:childTnLst>
                                    <p:animEffect transition="out" filter="fade">
                                      <p:cBhvr>
                                        <p:cTn id="15" dur="500"/>
                                        <p:tgtEl>
                                          <p:spTgt spid="3"/>
                                        </p:tgtEl>
                                      </p:cBhvr>
                                    </p:animEffect>
                                    <p:set>
                                      <p:cBhvr>
                                        <p:cTn id="16" dur="1" fill="hold">
                                          <p:stCondLst>
                                            <p:cond delay="499"/>
                                          </p:stCondLst>
                                        </p:cTn>
                                        <p:tgtEl>
                                          <p:spTgt spid="3"/>
                                        </p:tgtEl>
                                        <p:attrNameLst>
                                          <p:attrName>style.visibility</p:attrName>
                                        </p:attrNameLst>
                                      </p:cBhvr>
                                      <p:to>
                                        <p:strVal val="hidden"/>
                                      </p:to>
                                    </p:set>
                                  </p:childTnLst>
                                </p:cTn>
                              </p:par>
                            </p:childTnLst>
                          </p:cTn>
                        </p:par>
                        <p:par>
                          <p:cTn id="17" fill="hold">
                            <p:stCondLst>
                              <p:cond delay="500"/>
                            </p:stCondLst>
                            <p:childTnLst>
                              <p:par>
                                <p:cTn id="18" presetID="2" presetClass="entr" presetSubtype="4" fill="hold" nodeType="afterEffect">
                                  <p:stCondLst>
                                    <p:cond delay="0"/>
                                  </p:stCondLst>
                                  <p:childTnLst>
                                    <p:set>
                                      <p:cBhvr>
                                        <p:cTn id="19" dur="1" fill="hold">
                                          <p:stCondLst>
                                            <p:cond delay="0"/>
                                          </p:stCondLst>
                                        </p:cTn>
                                        <p:tgtEl>
                                          <p:spTgt spid="5"/>
                                        </p:tgtEl>
                                        <p:attrNameLst>
                                          <p:attrName>style.visibility</p:attrName>
                                        </p:attrNameLst>
                                      </p:cBhvr>
                                      <p:to>
                                        <p:strVal val="visible"/>
                                      </p:to>
                                    </p:set>
                                    <p:anim calcmode="lin" valueType="num">
                                      <p:cBhvr additive="base">
                                        <p:cTn id="20" dur="500" fill="hold"/>
                                        <p:tgtEl>
                                          <p:spTgt spid="5"/>
                                        </p:tgtEl>
                                        <p:attrNameLst>
                                          <p:attrName>ppt_x</p:attrName>
                                        </p:attrNameLst>
                                      </p:cBhvr>
                                      <p:tavLst>
                                        <p:tav tm="0">
                                          <p:val>
                                            <p:strVal val="#ppt_x"/>
                                          </p:val>
                                        </p:tav>
                                        <p:tav tm="100000">
                                          <p:val>
                                            <p:strVal val="#ppt_x"/>
                                          </p:val>
                                        </p:tav>
                                      </p:tavLst>
                                    </p:anim>
                                    <p:anim calcmode="lin" valueType="num">
                                      <p:cBhvr additive="base">
                                        <p:cTn id="21" dur="500" fill="hold"/>
                                        <p:tgtEl>
                                          <p:spTgt spid="5"/>
                                        </p:tgtEl>
                                        <p:attrNameLst>
                                          <p:attrName>ppt_y</p:attrName>
                                        </p:attrNameLst>
                                      </p:cBhvr>
                                      <p:tavLst>
                                        <p:tav tm="0">
                                          <p:val>
                                            <p:strVal val="1+#ppt_h/2"/>
                                          </p:val>
                                        </p:tav>
                                        <p:tav tm="100000">
                                          <p:val>
                                            <p:strVal val="#ppt_y"/>
                                          </p:val>
                                        </p:tav>
                                      </p:tavLst>
                                    </p:anim>
                                  </p:childTnLst>
                                </p:cTn>
                              </p:par>
                              <p:par>
                                <p:cTn id="22" presetID="10" presetClass="entr" presetSubtype="0" fill="hold" grpId="0" nodeType="with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xit" presetSubtype="0" fill="hold" grpId="1" nodeType="clickEffect">
                                  <p:stCondLst>
                                    <p:cond delay="0"/>
                                  </p:stCondLst>
                                  <p:childTnLst>
                                    <p:animEffect transition="out" filter="fade">
                                      <p:cBhvr>
                                        <p:cTn id="28" dur="500"/>
                                        <p:tgtEl>
                                          <p:spTgt spid="20"/>
                                        </p:tgtEl>
                                      </p:cBhvr>
                                    </p:animEffect>
                                    <p:set>
                                      <p:cBhvr>
                                        <p:cTn id="29" dur="1" fill="hold">
                                          <p:stCondLst>
                                            <p:cond delay="499"/>
                                          </p:stCondLst>
                                        </p:cTn>
                                        <p:tgtEl>
                                          <p:spTgt spid="20"/>
                                        </p:tgtEl>
                                        <p:attrNameLst>
                                          <p:attrName>style.visibility</p:attrName>
                                        </p:attrNameLst>
                                      </p:cBhvr>
                                      <p:to>
                                        <p:strVal val="hidden"/>
                                      </p:to>
                                    </p:set>
                                  </p:childTnLst>
                                </p:cTn>
                              </p:par>
                            </p:childTnLst>
                          </p:cTn>
                        </p:par>
                        <p:par>
                          <p:cTn id="30" fill="hold">
                            <p:stCondLst>
                              <p:cond delay="500"/>
                            </p:stCondLst>
                            <p:childTnLst>
                              <p:par>
                                <p:cTn id="31" presetID="2" presetClass="entr" presetSubtype="4" fill="hold" nodeType="afterEffect">
                                  <p:stCondLst>
                                    <p:cond delay="0"/>
                                  </p:stCondLst>
                                  <p:childTnLst>
                                    <p:set>
                                      <p:cBhvr>
                                        <p:cTn id="32" dur="1" fill="hold">
                                          <p:stCondLst>
                                            <p:cond delay="0"/>
                                          </p:stCondLst>
                                        </p:cTn>
                                        <p:tgtEl>
                                          <p:spTgt spid="6"/>
                                        </p:tgtEl>
                                        <p:attrNameLst>
                                          <p:attrName>style.visibility</p:attrName>
                                        </p:attrNameLst>
                                      </p:cBhvr>
                                      <p:to>
                                        <p:strVal val="visible"/>
                                      </p:to>
                                    </p:set>
                                    <p:anim calcmode="lin" valueType="num">
                                      <p:cBhvr additive="base">
                                        <p:cTn id="33" dur="500" fill="hold"/>
                                        <p:tgtEl>
                                          <p:spTgt spid="6"/>
                                        </p:tgtEl>
                                        <p:attrNameLst>
                                          <p:attrName>ppt_x</p:attrName>
                                        </p:attrNameLst>
                                      </p:cBhvr>
                                      <p:tavLst>
                                        <p:tav tm="0">
                                          <p:val>
                                            <p:strVal val="#ppt_x"/>
                                          </p:val>
                                        </p:tav>
                                        <p:tav tm="100000">
                                          <p:val>
                                            <p:strVal val="#ppt_x"/>
                                          </p:val>
                                        </p:tav>
                                      </p:tavLst>
                                    </p:anim>
                                    <p:anim calcmode="lin" valueType="num">
                                      <p:cBhvr additive="base">
                                        <p:cTn id="34" dur="500" fill="hold"/>
                                        <p:tgtEl>
                                          <p:spTgt spid="6"/>
                                        </p:tgtEl>
                                        <p:attrNameLst>
                                          <p:attrName>ppt_y</p:attrName>
                                        </p:attrNameLst>
                                      </p:cBhvr>
                                      <p:tavLst>
                                        <p:tav tm="0">
                                          <p:val>
                                            <p:strVal val="1+#ppt_h/2"/>
                                          </p:val>
                                        </p:tav>
                                        <p:tav tm="100000">
                                          <p:val>
                                            <p:strVal val="#ppt_y"/>
                                          </p:val>
                                        </p:tav>
                                      </p:tavLst>
                                    </p:anim>
                                  </p:childTnLst>
                                </p:cTn>
                              </p:par>
                              <p:par>
                                <p:cTn id="35" presetID="10" presetClass="entr" presetSubtype="0" fill="hold" grpId="0" nodeType="withEffect">
                                  <p:stCondLst>
                                    <p:cond delay="0"/>
                                  </p:stCondLst>
                                  <p:childTnLst>
                                    <p:set>
                                      <p:cBhvr>
                                        <p:cTn id="36" dur="1" fill="hold">
                                          <p:stCondLst>
                                            <p:cond delay="0"/>
                                          </p:stCondLst>
                                        </p:cTn>
                                        <p:tgtEl>
                                          <p:spTgt spid="21"/>
                                        </p:tgtEl>
                                        <p:attrNameLst>
                                          <p:attrName>style.visibility</p:attrName>
                                        </p:attrNameLst>
                                      </p:cBhvr>
                                      <p:to>
                                        <p:strVal val="visible"/>
                                      </p:to>
                                    </p:set>
                                    <p:animEffect transition="in" filter="fade">
                                      <p:cBhvr>
                                        <p:cTn id="37" dur="500"/>
                                        <p:tgtEl>
                                          <p:spTgt spid="21"/>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xit" presetSubtype="0" fill="hold" grpId="1" nodeType="clickEffect">
                                  <p:stCondLst>
                                    <p:cond delay="0"/>
                                  </p:stCondLst>
                                  <p:childTnLst>
                                    <p:animEffect transition="out" filter="fade">
                                      <p:cBhvr>
                                        <p:cTn id="41" dur="500"/>
                                        <p:tgtEl>
                                          <p:spTgt spid="21"/>
                                        </p:tgtEl>
                                      </p:cBhvr>
                                    </p:animEffect>
                                    <p:set>
                                      <p:cBhvr>
                                        <p:cTn id="42" dur="1" fill="hold">
                                          <p:stCondLst>
                                            <p:cond delay="499"/>
                                          </p:stCondLst>
                                        </p:cTn>
                                        <p:tgtEl>
                                          <p:spTgt spid="21"/>
                                        </p:tgtEl>
                                        <p:attrNameLst>
                                          <p:attrName>style.visibility</p:attrName>
                                        </p:attrNameLst>
                                      </p:cBhvr>
                                      <p:to>
                                        <p:strVal val="hidden"/>
                                      </p:to>
                                    </p:set>
                                  </p:childTnLst>
                                </p:cTn>
                              </p:par>
                            </p:childTnLst>
                          </p:cTn>
                        </p:par>
                        <p:par>
                          <p:cTn id="43" fill="hold">
                            <p:stCondLst>
                              <p:cond delay="500"/>
                            </p:stCondLst>
                            <p:childTnLst>
                              <p:par>
                                <p:cTn id="44" presetID="2" presetClass="entr" presetSubtype="4" fill="hold" nodeType="afterEffect">
                                  <p:stCondLst>
                                    <p:cond delay="0"/>
                                  </p:stCondLst>
                                  <p:childTnLst>
                                    <p:set>
                                      <p:cBhvr>
                                        <p:cTn id="45" dur="1" fill="hold">
                                          <p:stCondLst>
                                            <p:cond delay="0"/>
                                          </p:stCondLst>
                                        </p:cTn>
                                        <p:tgtEl>
                                          <p:spTgt spid="7"/>
                                        </p:tgtEl>
                                        <p:attrNameLst>
                                          <p:attrName>style.visibility</p:attrName>
                                        </p:attrNameLst>
                                      </p:cBhvr>
                                      <p:to>
                                        <p:strVal val="visible"/>
                                      </p:to>
                                    </p:set>
                                    <p:anim calcmode="lin" valueType="num">
                                      <p:cBhvr additive="base">
                                        <p:cTn id="46" dur="500" fill="hold"/>
                                        <p:tgtEl>
                                          <p:spTgt spid="7"/>
                                        </p:tgtEl>
                                        <p:attrNameLst>
                                          <p:attrName>ppt_x</p:attrName>
                                        </p:attrNameLst>
                                      </p:cBhvr>
                                      <p:tavLst>
                                        <p:tav tm="0">
                                          <p:val>
                                            <p:strVal val="#ppt_x"/>
                                          </p:val>
                                        </p:tav>
                                        <p:tav tm="100000">
                                          <p:val>
                                            <p:strVal val="#ppt_x"/>
                                          </p:val>
                                        </p:tav>
                                      </p:tavLst>
                                    </p:anim>
                                    <p:anim calcmode="lin" valueType="num">
                                      <p:cBhvr additive="base">
                                        <p:cTn id="47" dur="500" fill="hold"/>
                                        <p:tgtEl>
                                          <p:spTgt spid="7"/>
                                        </p:tgtEl>
                                        <p:attrNameLst>
                                          <p:attrName>ppt_y</p:attrName>
                                        </p:attrNameLst>
                                      </p:cBhvr>
                                      <p:tavLst>
                                        <p:tav tm="0">
                                          <p:val>
                                            <p:strVal val="1+#ppt_h/2"/>
                                          </p:val>
                                        </p:tav>
                                        <p:tav tm="100000">
                                          <p:val>
                                            <p:strVal val="#ppt_y"/>
                                          </p:val>
                                        </p:tav>
                                      </p:tavLst>
                                    </p:anim>
                                  </p:childTnLst>
                                </p:cTn>
                              </p:par>
                              <p:par>
                                <p:cTn id="48" presetID="10" presetClass="entr" presetSubtype="0" fill="hold" grpId="0" nodeType="withEffect">
                                  <p:stCondLst>
                                    <p:cond delay="0"/>
                                  </p:stCondLst>
                                  <p:childTnLst>
                                    <p:set>
                                      <p:cBhvr>
                                        <p:cTn id="49" dur="1" fill="hold">
                                          <p:stCondLst>
                                            <p:cond delay="0"/>
                                          </p:stCondLst>
                                        </p:cTn>
                                        <p:tgtEl>
                                          <p:spTgt spid="22"/>
                                        </p:tgtEl>
                                        <p:attrNameLst>
                                          <p:attrName>style.visibility</p:attrName>
                                        </p:attrNameLst>
                                      </p:cBhvr>
                                      <p:to>
                                        <p:strVal val="visible"/>
                                      </p:to>
                                    </p:set>
                                    <p:animEffect transition="in" filter="fade">
                                      <p:cBhvr>
                                        <p:cTn id="50"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P spid="20" grpId="0"/>
      <p:bldP spid="20" grpId="1"/>
      <p:bldP spid="21" grpId="0"/>
      <p:bldP spid="21" grpId="1"/>
      <p:bldP spid="22" grpId="0"/>
    </p:bldLst>
  </p:timing>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Classify Information</a:t>
            </a:r>
            <a:endParaRPr lang="en-US" dirty="0"/>
          </a:p>
        </p:txBody>
      </p:sp>
      <p:cxnSp>
        <p:nvCxnSpPr>
          <p:cNvPr id="13" name="Straight Arrow Connector 12"/>
          <p:cNvCxnSpPr/>
          <p:nvPr/>
        </p:nvCxnSpPr>
        <p:spPr>
          <a:xfrm>
            <a:off x="3828856" y="2803294"/>
            <a:ext cx="590699" cy="226807"/>
          </a:xfrm>
          <a:prstGeom prst="straightConnector1">
            <a:avLst/>
          </a:prstGeom>
          <a:ln>
            <a:headEnd type="none" w="med" len="med"/>
            <a:tailEnd type="arrow" w="med" len="med"/>
          </a:ln>
        </p:spPr>
        <p:style>
          <a:lnRef idx="3">
            <a:schemeClr val="accent1"/>
          </a:lnRef>
          <a:fillRef idx="0">
            <a:schemeClr val="accent1"/>
          </a:fillRef>
          <a:effectRef idx="2">
            <a:schemeClr val="accent1"/>
          </a:effectRef>
          <a:fontRef idx="minor">
            <a:schemeClr val="tx1"/>
          </a:fontRef>
        </p:style>
      </p:cxnSp>
      <p:sp>
        <p:nvSpPr>
          <p:cNvPr id="17" name="Arc 16"/>
          <p:cNvSpPr/>
          <p:nvPr/>
        </p:nvSpPr>
        <p:spPr>
          <a:xfrm>
            <a:off x="4724359" y="2110538"/>
            <a:ext cx="1596615" cy="971550"/>
          </a:xfrm>
          <a:prstGeom prst="arc">
            <a:avLst>
              <a:gd name="adj1" fmla="val 11412010"/>
              <a:gd name="adj2" fmla="val 20792755"/>
            </a:avLst>
          </a:prstGeom>
          <a:ln>
            <a:solidFill>
              <a:schemeClr val="tx1"/>
            </a:solidFill>
            <a:headEnd type="none" w="med" len="med"/>
            <a:tailEnd type="arrow" w="med" len="med"/>
          </a:ln>
        </p:spPr>
        <p:style>
          <a:lnRef idx="3">
            <a:schemeClr val="accent4"/>
          </a:lnRef>
          <a:fillRef idx="0">
            <a:schemeClr val="accent4"/>
          </a:fillRef>
          <a:effectRef idx="2">
            <a:schemeClr val="accent4"/>
          </a:effectRef>
          <a:fontRef idx="minor">
            <a:schemeClr val="tx1"/>
          </a:fontRef>
        </p:style>
        <p:txBody>
          <a:bodyPr lIns="91424" tIns="45712" rIns="91424" bIns="45712" rtlCol="0" anchor="ctr"/>
          <a:lstStyle/>
          <a:p>
            <a:pPr algn="ctr"/>
            <a:endParaRPr lang="en-US" dirty="0"/>
          </a:p>
        </p:txBody>
      </p:sp>
      <p:sp>
        <p:nvSpPr>
          <p:cNvPr id="18" name="TextBox 17"/>
          <p:cNvSpPr txBox="1"/>
          <p:nvPr/>
        </p:nvSpPr>
        <p:spPr>
          <a:xfrm>
            <a:off x="3808932" y="1623485"/>
            <a:ext cx="1912416" cy="246221"/>
          </a:xfrm>
          <a:prstGeom prst="rect">
            <a:avLst/>
          </a:prstGeom>
          <a:noFill/>
        </p:spPr>
        <p:txBody>
          <a:bodyPr wrap="square" lIns="0" tIns="0" rIns="0" bIns="0" rtlCol="0">
            <a:spAutoFit/>
          </a:bodyPr>
          <a:lstStyle/>
          <a:p>
            <a:pPr algn="ctr"/>
            <a:r>
              <a:rPr lang="en-US" sz="1600" dirty="0">
                <a:latin typeface="+mj-lt"/>
              </a:rPr>
              <a:t>Modify / Create file</a:t>
            </a:r>
          </a:p>
        </p:txBody>
      </p:sp>
      <p:sp>
        <p:nvSpPr>
          <p:cNvPr id="19" name="TextBox 18"/>
          <p:cNvSpPr txBox="1"/>
          <p:nvPr/>
        </p:nvSpPr>
        <p:spPr>
          <a:xfrm>
            <a:off x="5829628" y="3666523"/>
            <a:ext cx="1736724" cy="461665"/>
          </a:xfrm>
          <a:prstGeom prst="rect">
            <a:avLst/>
          </a:prstGeom>
          <a:noFill/>
        </p:spPr>
        <p:txBody>
          <a:bodyPr wrap="square" lIns="0" tIns="0" rIns="0" bIns="0" rtlCol="0">
            <a:spAutoFit/>
          </a:bodyPr>
          <a:lstStyle/>
          <a:p>
            <a:pPr algn="ctr"/>
            <a:r>
              <a:rPr lang="en-US" sz="1500" dirty="0">
                <a:latin typeface="+mj-lt"/>
              </a:rPr>
              <a:t>Determine classification</a:t>
            </a:r>
          </a:p>
        </p:txBody>
      </p:sp>
      <p:sp>
        <p:nvSpPr>
          <p:cNvPr id="20" name="TextBox 19"/>
          <p:cNvSpPr txBox="1"/>
          <p:nvPr/>
        </p:nvSpPr>
        <p:spPr>
          <a:xfrm>
            <a:off x="3906651" y="3711733"/>
            <a:ext cx="1238627" cy="492443"/>
          </a:xfrm>
          <a:prstGeom prst="rect">
            <a:avLst/>
          </a:prstGeom>
          <a:noFill/>
        </p:spPr>
        <p:txBody>
          <a:bodyPr wrap="square" lIns="0" tIns="0" rIns="0" bIns="0" rtlCol="0">
            <a:spAutoFit/>
          </a:bodyPr>
          <a:lstStyle/>
          <a:p>
            <a:pPr algn="ctr"/>
            <a:r>
              <a:rPr lang="en-US" sz="1600" dirty="0">
                <a:latin typeface="+mj-lt"/>
              </a:rPr>
              <a:t>Save classification</a:t>
            </a:r>
          </a:p>
        </p:txBody>
      </p:sp>
      <p:sp>
        <p:nvSpPr>
          <p:cNvPr id="21" name="Arc 20"/>
          <p:cNvSpPr/>
          <p:nvPr/>
        </p:nvSpPr>
        <p:spPr>
          <a:xfrm rot="10800000">
            <a:off x="4663192" y="2925803"/>
            <a:ext cx="1770476" cy="971550"/>
          </a:xfrm>
          <a:prstGeom prst="arc">
            <a:avLst>
              <a:gd name="adj1" fmla="val 11005620"/>
              <a:gd name="adj2" fmla="val 21229780"/>
            </a:avLst>
          </a:prstGeom>
          <a:ln>
            <a:solidFill>
              <a:schemeClr val="tx1"/>
            </a:solidFill>
            <a:headEnd type="none" w="med" len="med"/>
            <a:tailEnd type="arrow" w="med" len="med"/>
          </a:ln>
        </p:spPr>
        <p:style>
          <a:lnRef idx="3">
            <a:schemeClr val="accent4"/>
          </a:lnRef>
          <a:fillRef idx="0">
            <a:schemeClr val="accent4"/>
          </a:fillRef>
          <a:effectRef idx="2">
            <a:schemeClr val="accent4"/>
          </a:effectRef>
          <a:fontRef idx="minor">
            <a:schemeClr val="tx1"/>
          </a:fontRef>
        </p:style>
        <p:txBody>
          <a:bodyPr lIns="91424" tIns="45712" rIns="91424" bIns="45712" rtlCol="0" anchor="ctr"/>
          <a:lstStyle/>
          <a:p>
            <a:pPr algn="ctr"/>
            <a:endParaRPr lang="en-US" dirty="0"/>
          </a:p>
        </p:txBody>
      </p:sp>
      <p:sp>
        <p:nvSpPr>
          <p:cNvPr id="3" name="Rounded Rectangle 2"/>
          <p:cNvSpPr/>
          <p:nvPr/>
        </p:nvSpPr>
        <p:spPr>
          <a:xfrm>
            <a:off x="7344311" y="1591326"/>
            <a:ext cx="1343561" cy="763186"/>
          </a:xfrm>
          <a:prstGeom prst="roundRect">
            <a:avLst>
              <a:gd name="adj" fmla="val 0"/>
            </a:avLst>
          </a:prstGeom>
          <a:solidFill>
            <a:schemeClr val="bg1"/>
          </a:solidFill>
          <a:ln>
            <a:noFill/>
          </a:ln>
        </p:spPr>
        <p:style>
          <a:lnRef idx="2">
            <a:schemeClr val="accent2">
              <a:shade val="50000"/>
            </a:schemeClr>
          </a:lnRef>
          <a:fillRef idx="1">
            <a:schemeClr val="accent2"/>
          </a:fillRef>
          <a:effectRef idx="0">
            <a:schemeClr val="accent2"/>
          </a:effectRef>
          <a:fontRef idx="minor">
            <a:schemeClr val="lt1"/>
          </a:fontRef>
        </p:style>
        <p:txBody>
          <a:bodyPr lIns="91424" tIns="45712" rIns="91424" bIns="45712" rtlCol="0" anchor="ctr"/>
          <a:lstStyle/>
          <a:p>
            <a:pPr algn="ctr"/>
            <a:r>
              <a:rPr lang="en-US" sz="1600" dirty="0">
                <a:latin typeface="+mj-lt"/>
              </a:rPr>
              <a:t>In-box content classifier</a:t>
            </a:r>
          </a:p>
        </p:txBody>
      </p:sp>
      <p:sp>
        <p:nvSpPr>
          <p:cNvPr id="40" name="Rounded Rectangle 39"/>
          <p:cNvSpPr/>
          <p:nvPr/>
        </p:nvSpPr>
        <p:spPr>
          <a:xfrm>
            <a:off x="7346455" y="2499677"/>
            <a:ext cx="1341417" cy="789968"/>
          </a:xfrm>
          <a:prstGeom prst="roundRect">
            <a:avLst>
              <a:gd name="adj" fmla="val 0"/>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lIns="91424" tIns="45712" rIns="91424" bIns="45712" rtlCol="0" anchor="ctr"/>
          <a:lstStyle/>
          <a:p>
            <a:pPr algn="ctr"/>
            <a:r>
              <a:rPr lang="en-US" sz="1600" dirty="0">
                <a:latin typeface="+mj-lt"/>
              </a:rPr>
              <a:t>3</a:t>
            </a:r>
            <a:r>
              <a:rPr lang="en-US" sz="1600" baseline="30000" dirty="0">
                <a:latin typeface="+mj-lt"/>
              </a:rPr>
              <a:t>rd</a:t>
            </a:r>
            <a:r>
              <a:rPr lang="en-US" sz="1600" dirty="0">
                <a:latin typeface="+mj-lt"/>
              </a:rPr>
              <a:t> party classification plugin</a:t>
            </a:r>
          </a:p>
        </p:txBody>
      </p:sp>
      <p:cxnSp>
        <p:nvCxnSpPr>
          <p:cNvPr id="5" name="Straight Arrow Connector 4"/>
          <p:cNvCxnSpPr/>
          <p:nvPr/>
        </p:nvCxnSpPr>
        <p:spPr>
          <a:xfrm flipV="1">
            <a:off x="6910530" y="2293390"/>
            <a:ext cx="353683" cy="290888"/>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42" name="Straight Arrow Connector 41"/>
          <p:cNvCxnSpPr>
            <a:stCxn id="736" idx="3"/>
          </p:cNvCxnSpPr>
          <p:nvPr/>
        </p:nvCxnSpPr>
        <p:spPr>
          <a:xfrm>
            <a:off x="6858595" y="2946868"/>
            <a:ext cx="405617" cy="19700"/>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pic>
        <p:nvPicPr>
          <p:cNvPr id="22" name="Picture 21"/>
          <p:cNvPicPr>
            <a:picLocks noChangeAspect="1" noChangeArrowheads="1"/>
          </p:cNvPicPr>
          <p:nvPr/>
        </p:nvPicPr>
        <p:blipFill>
          <a:blip r:embed="rId2" cstate="email">
            <a:biLevel thresh="25000"/>
            <a:extLst>
              <a:ext uri="{28A0092B-C50C-407E-A947-70E740481C1C}">
                <a14:useLocalDpi xmlns:a14="http://schemas.microsoft.com/office/drawing/2010/main"/>
              </a:ext>
            </a:extLst>
          </a:blip>
          <a:srcRect/>
          <a:stretch>
            <a:fillRect/>
          </a:stretch>
        </p:blipFill>
        <p:spPr bwMode="auto">
          <a:xfrm flipH="1">
            <a:off x="2906789" y="2032865"/>
            <a:ext cx="826739" cy="9140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Picture 8"/>
          <p:cNvPicPr>
            <a:picLocks noChangeAspect="1" noChangeArrowheads="1"/>
          </p:cNvPicPr>
          <p:nvPr/>
        </p:nvPicPr>
        <p:blipFill>
          <a:blip r:embed="rId3" cstate="email">
            <a:biLevel thresh="50000"/>
            <a:extLst>
              <a:ext uri="{28A0092B-C50C-407E-A947-70E740481C1C}">
                <a14:useLocalDpi xmlns:a14="http://schemas.microsoft.com/office/drawing/2010/main"/>
              </a:ext>
            </a:extLst>
          </a:blip>
          <a:srcRect/>
          <a:stretch>
            <a:fillRect/>
          </a:stretch>
        </p:blipFill>
        <p:spPr bwMode="auto">
          <a:xfrm>
            <a:off x="3828858" y="2050741"/>
            <a:ext cx="447297" cy="5106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Picture 14"/>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4525964" y="2535889"/>
            <a:ext cx="1049009" cy="9630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6" name="Group 5"/>
          <p:cNvGrpSpPr/>
          <p:nvPr/>
        </p:nvGrpSpPr>
        <p:grpSpPr>
          <a:xfrm>
            <a:off x="-115520" y="1210907"/>
            <a:ext cx="3001637" cy="825155"/>
            <a:chOff x="-153988" y="1614541"/>
            <a:chExt cx="4001141" cy="1100207"/>
          </a:xfrm>
        </p:grpSpPr>
        <p:sp>
          <p:nvSpPr>
            <p:cNvPr id="26" name="Rectangle 25"/>
            <p:cNvSpPr/>
            <p:nvPr/>
          </p:nvSpPr>
          <p:spPr bwMode="auto">
            <a:xfrm>
              <a:off x="-153988" y="1614541"/>
              <a:ext cx="4001141" cy="11002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0" rIns="45720" bIns="91440" numCol="1" spcCol="0" rtlCol="0" fromWordArt="0" anchor="t" anchorCtr="0" forceAA="0" compatLnSpc="1">
              <a:prstTxWarp prst="textNoShape">
                <a:avLst/>
              </a:prstTxWarp>
              <a:noAutofit/>
            </a:bodyPr>
            <a:lstStyle/>
            <a:p>
              <a:pPr algn="ctr" defTabSz="685637" fontAlgn="base">
                <a:spcBef>
                  <a:spcPct val="0"/>
                </a:spcBef>
                <a:spcAft>
                  <a:spcPct val="0"/>
                </a:spcAft>
              </a:pP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 name="TextBox 3"/>
            <p:cNvSpPr txBox="1"/>
            <p:nvPr/>
          </p:nvSpPr>
          <p:spPr>
            <a:xfrm>
              <a:off x="1065211" y="1828800"/>
              <a:ext cx="2781941" cy="689420"/>
            </a:xfrm>
            <a:prstGeom prst="rect">
              <a:avLst/>
            </a:prstGeom>
            <a:noFill/>
          </p:spPr>
          <p:txBody>
            <a:bodyPr wrap="square" lIns="91440" tIns="91440" rIns="91440" bIns="91440" rtlCol="0">
              <a:spAutoFit/>
            </a:bodyPr>
            <a:lstStyle/>
            <a:p>
              <a:pPr algn="r">
                <a:lnSpc>
                  <a:spcPct val="90000"/>
                </a:lnSpc>
                <a:spcBef>
                  <a:spcPct val="20000"/>
                </a:spcBef>
                <a:buClr>
                  <a:srgbClr val="84A8D8"/>
                </a:buClr>
                <a:buSzPct val="100000"/>
              </a:pPr>
              <a:r>
                <a:rPr lang="en-US" sz="2400" dirty="0">
                  <a:solidFill>
                    <a:schemeClr val="tx1">
                      <a:alpha val="99000"/>
                    </a:schemeClr>
                  </a:solidFill>
                  <a:latin typeface="+mj-lt"/>
                </a:rPr>
                <a:t>Location</a:t>
              </a:r>
            </a:p>
          </p:txBody>
        </p:sp>
        <p:pic>
          <p:nvPicPr>
            <p:cNvPr id="722" name="Picture 13"/>
            <p:cNvPicPr>
              <a:picLocks noChangeAspect="1" noChangeArrowheads="1"/>
            </p:cNvPicPr>
            <p:nvPr/>
          </p:nvPicPr>
          <p:blipFill>
            <a:blip r:embed="rId5" cstate="email">
              <a:biLevel thresh="50000"/>
              <a:extLst>
                <a:ext uri="{28A0092B-C50C-407E-A947-70E740481C1C}">
                  <a14:useLocalDpi xmlns:a14="http://schemas.microsoft.com/office/drawing/2010/main"/>
                </a:ext>
              </a:extLst>
            </a:blip>
            <a:srcRect/>
            <a:stretch>
              <a:fillRect/>
            </a:stretch>
          </p:blipFill>
          <p:spPr bwMode="auto">
            <a:xfrm>
              <a:off x="198711" y="1745032"/>
              <a:ext cx="839227" cy="8392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723" name="Group 722"/>
          <p:cNvGrpSpPr/>
          <p:nvPr/>
        </p:nvGrpSpPr>
        <p:grpSpPr>
          <a:xfrm>
            <a:off x="-137909" y="2171702"/>
            <a:ext cx="3001637" cy="825155"/>
            <a:chOff x="-153988" y="1614541"/>
            <a:chExt cx="4001141" cy="1100207"/>
          </a:xfrm>
          <a:solidFill>
            <a:schemeClr val="accent2"/>
          </a:solidFill>
        </p:grpSpPr>
        <p:sp>
          <p:nvSpPr>
            <p:cNvPr id="724" name="Rectangle 723"/>
            <p:cNvSpPr/>
            <p:nvPr/>
          </p:nvSpPr>
          <p:spPr bwMode="auto">
            <a:xfrm>
              <a:off x="-153988" y="1614541"/>
              <a:ext cx="4001141" cy="110020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0" rIns="45720" bIns="91440" numCol="1" spcCol="0" rtlCol="0" fromWordArt="0" anchor="t" anchorCtr="0" forceAA="0" compatLnSpc="1">
              <a:prstTxWarp prst="textNoShape">
                <a:avLst/>
              </a:prstTxWarp>
              <a:noAutofit/>
            </a:bodyPr>
            <a:lstStyle/>
            <a:p>
              <a:pPr algn="ctr" defTabSz="685637" fontAlgn="base">
                <a:spcBef>
                  <a:spcPct val="0"/>
                </a:spcBef>
                <a:spcAft>
                  <a:spcPct val="0"/>
                </a:spcAft>
              </a:pP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725" name="TextBox 724"/>
            <p:cNvSpPr txBox="1"/>
            <p:nvPr/>
          </p:nvSpPr>
          <p:spPr>
            <a:xfrm>
              <a:off x="1065211" y="1828800"/>
              <a:ext cx="2781941" cy="689420"/>
            </a:xfrm>
            <a:prstGeom prst="rect">
              <a:avLst/>
            </a:prstGeom>
            <a:grpFill/>
          </p:spPr>
          <p:txBody>
            <a:bodyPr wrap="square" lIns="91440" tIns="91440" rIns="91440" bIns="91440" rtlCol="0">
              <a:spAutoFit/>
            </a:bodyPr>
            <a:lstStyle/>
            <a:p>
              <a:pPr algn="r">
                <a:lnSpc>
                  <a:spcPct val="90000"/>
                </a:lnSpc>
                <a:spcBef>
                  <a:spcPct val="20000"/>
                </a:spcBef>
                <a:buClr>
                  <a:srgbClr val="84A8D8"/>
                </a:buClr>
                <a:buSzPct val="100000"/>
              </a:pPr>
              <a:r>
                <a:rPr lang="en-US" sz="2400" dirty="0">
                  <a:solidFill>
                    <a:schemeClr val="tx1">
                      <a:alpha val="99000"/>
                    </a:schemeClr>
                  </a:solidFill>
                  <a:latin typeface="+mj-lt"/>
                </a:rPr>
                <a:t>Manual</a:t>
              </a:r>
            </a:p>
          </p:txBody>
        </p:sp>
      </p:grpSp>
      <p:grpSp>
        <p:nvGrpSpPr>
          <p:cNvPr id="728" name="Group 727"/>
          <p:cNvGrpSpPr/>
          <p:nvPr/>
        </p:nvGrpSpPr>
        <p:grpSpPr>
          <a:xfrm>
            <a:off x="-144584" y="3128952"/>
            <a:ext cx="3001637" cy="825155"/>
            <a:chOff x="-153988" y="1614541"/>
            <a:chExt cx="4001141" cy="1100207"/>
          </a:xfrm>
          <a:solidFill>
            <a:schemeClr val="accent6"/>
          </a:solidFill>
        </p:grpSpPr>
        <p:sp>
          <p:nvSpPr>
            <p:cNvPr id="729" name="Rectangle 728"/>
            <p:cNvSpPr/>
            <p:nvPr/>
          </p:nvSpPr>
          <p:spPr bwMode="auto">
            <a:xfrm>
              <a:off x="-153988" y="1614541"/>
              <a:ext cx="4001141" cy="110020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0" rIns="45720" bIns="91440" numCol="1" spcCol="0" rtlCol="0" fromWordArt="0" anchor="t" anchorCtr="0" forceAA="0" compatLnSpc="1">
              <a:prstTxWarp prst="textNoShape">
                <a:avLst/>
              </a:prstTxWarp>
              <a:noAutofit/>
            </a:bodyPr>
            <a:lstStyle/>
            <a:p>
              <a:pPr algn="ctr" defTabSz="685637" fontAlgn="base">
                <a:spcBef>
                  <a:spcPct val="0"/>
                </a:spcBef>
                <a:spcAft>
                  <a:spcPct val="0"/>
                </a:spcAft>
              </a:pP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730" name="TextBox 729"/>
            <p:cNvSpPr txBox="1"/>
            <p:nvPr/>
          </p:nvSpPr>
          <p:spPr>
            <a:xfrm>
              <a:off x="1065211" y="1828800"/>
              <a:ext cx="2781941" cy="689420"/>
            </a:xfrm>
            <a:prstGeom prst="rect">
              <a:avLst/>
            </a:prstGeom>
            <a:grpFill/>
          </p:spPr>
          <p:txBody>
            <a:bodyPr wrap="square" lIns="91440" tIns="91440" rIns="91440" bIns="91440" rtlCol="0">
              <a:spAutoFit/>
            </a:bodyPr>
            <a:lstStyle/>
            <a:p>
              <a:pPr algn="r">
                <a:lnSpc>
                  <a:spcPct val="90000"/>
                </a:lnSpc>
                <a:spcBef>
                  <a:spcPct val="20000"/>
                </a:spcBef>
                <a:buClr>
                  <a:srgbClr val="84A8D8"/>
                </a:buClr>
                <a:buSzPct val="100000"/>
              </a:pPr>
              <a:r>
                <a:rPr lang="en-US" sz="2400" dirty="0">
                  <a:solidFill>
                    <a:schemeClr val="tx1">
                      <a:alpha val="99000"/>
                    </a:schemeClr>
                  </a:solidFill>
                  <a:latin typeface="+mj-lt"/>
                </a:rPr>
                <a:t>Contextual</a:t>
              </a:r>
            </a:p>
          </p:txBody>
        </p:sp>
      </p:grpSp>
      <p:grpSp>
        <p:nvGrpSpPr>
          <p:cNvPr id="732" name="Group 731"/>
          <p:cNvGrpSpPr/>
          <p:nvPr/>
        </p:nvGrpSpPr>
        <p:grpSpPr>
          <a:xfrm>
            <a:off x="-166971" y="4089746"/>
            <a:ext cx="3001637" cy="825155"/>
            <a:chOff x="-153988" y="1614541"/>
            <a:chExt cx="4001141" cy="1100207"/>
          </a:xfrm>
          <a:solidFill>
            <a:schemeClr val="accent3"/>
          </a:solidFill>
        </p:grpSpPr>
        <p:sp>
          <p:nvSpPr>
            <p:cNvPr id="733" name="Rectangle 732"/>
            <p:cNvSpPr/>
            <p:nvPr/>
          </p:nvSpPr>
          <p:spPr bwMode="auto">
            <a:xfrm>
              <a:off x="-153988" y="1614541"/>
              <a:ext cx="4001141" cy="110020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0" rIns="45720" bIns="91440" numCol="1" spcCol="0" rtlCol="0" fromWordArt="0" anchor="t" anchorCtr="0" forceAA="0" compatLnSpc="1">
              <a:prstTxWarp prst="textNoShape">
                <a:avLst/>
              </a:prstTxWarp>
              <a:noAutofit/>
            </a:bodyPr>
            <a:lstStyle/>
            <a:p>
              <a:pPr algn="ctr" defTabSz="685637" fontAlgn="base">
                <a:spcBef>
                  <a:spcPct val="0"/>
                </a:spcBef>
                <a:spcAft>
                  <a:spcPct val="0"/>
                </a:spcAft>
              </a:pP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734" name="TextBox 733"/>
            <p:cNvSpPr txBox="1"/>
            <p:nvPr/>
          </p:nvSpPr>
          <p:spPr>
            <a:xfrm>
              <a:off x="1065211" y="1828800"/>
              <a:ext cx="2781941" cy="689420"/>
            </a:xfrm>
            <a:prstGeom prst="rect">
              <a:avLst/>
            </a:prstGeom>
            <a:grpFill/>
          </p:spPr>
          <p:txBody>
            <a:bodyPr wrap="square" lIns="91440" tIns="91440" rIns="91440" bIns="91440" rtlCol="0">
              <a:spAutoFit/>
            </a:bodyPr>
            <a:lstStyle/>
            <a:p>
              <a:pPr algn="r">
                <a:lnSpc>
                  <a:spcPct val="90000"/>
                </a:lnSpc>
                <a:spcBef>
                  <a:spcPct val="20000"/>
                </a:spcBef>
                <a:buClr>
                  <a:srgbClr val="84A8D8"/>
                </a:buClr>
                <a:buSzPct val="100000"/>
              </a:pPr>
              <a:r>
                <a:rPr lang="en-US" sz="2400" dirty="0">
                  <a:solidFill>
                    <a:schemeClr val="tx1">
                      <a:alpha val="99000"/>
                    </a:schemeClr>
                  </a:solidFill>
                  <a:latin typeface="+mj-lt"/>
                </a:rPr>
                <a:t>Application</a:t>
              </a:r>
            </a:p>
          </p:txBody>
        </p:sp>
      </p:grpSp>
      <p:pic>
        <p:nvPicPr>
          <p:cNvPr id="736" name="Picture 10"/>
          <p:cNvPicPr>
            <a:picLocks noChangeAspect="1" noChangeArrowheads="1"/>
          </p:cNvPicPr>
          <p:nvPr/>
        </p:nvPicPr>
        <p:blipFill>
          <a:blip r:embed="rId6" cstate="email">
            <a:biLevel thresh="50000"/>
            <a:extLst>
              <a:ext uri="{28A0092B-C50C-407E-A947-70E740481C1C}">
                <a14:useLocalDpi xmlns:a14="http://schemas.microsoft.com/office/drawing/2010/main"/>
              </a:ext>
            </a:extLst>
          </a:blip>
          <a:srcRect/>
          <a:stretch>
            <a:fillRect/>
          </a:stretch>
        </p:blipFill>
        <p:spPr bwMode="auto">
          <a:xfrm>
            <a:off x="5783353" y="2528760"/>
            <a:ext cx="1075243" cy="8362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37" name="Picture 13"/>
          <p:cNvPicPr>
            <a:picLocks noChangeAspect="1" noChangeArrowheads="1"/>
          </p:cNvPicPr>
          <p:nvPr/>
        </p:nvPicPr>
        <p:blipFill>
          <a:blip r:embed="rId7" cstate="email">
            <a:biLevel thresh="50000"/>
            <a:extLst>
              <a:ext uri="{28A0092B-C50C-407E-A947-70E740481C1C}">
                <a14:useLocalDpi xmlns:a14="http://schemas.microsoft.com/office/drawing/2010/main"/>
              </a:ext>
            </a:extLst>
          </a:blip>
          <a:srcRect/>
          <a:stretch>
            <a:fillRect/>
          </a:stretch>
        </p:blipFill>
        <p:spPr bwMode="auto">
          <a:xfrm>
            <a:off x="170303" y="2300728"/>
            <a:ext cx="528306" cy="5567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38" name="Picture 6"/>
          <p:cNvPicPr>
            <a:picLocks noChangeAspect="1" noChangeArrowheads="1"/>
          </p:cNvPicPr>
          <p:nvPr/>
        </p:nvPicPr>
        <p:blipFill>
          <a:blip r:embed="rId8" cstate="email">
            <a:biLevel thresh="50000"/>
            <a:extLst>
              <a:ext uri="{28A0092B-C50C-407E-A947-70E740481C1C}">
                <a14:useLocalDpi xmlns:a14="http://schemas.microsoft.com/office/drawing/2010/main"/>
              </a:ext>
            </a:extLst>
          </a:blip>
          <a:srcRect/>
          <a:stretch>
            <a:fillRect/>
          </a:stretch>
        </p:blipFill>
        <p:spPr bwMode="auto">
          <a:xfrm>
            <a:off x="125466" y="3228934"/>
            <a:ext cx="558515" cy="637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739" name="Group 738"/>
          <p:cNvGrpSpPr/>
          <p:nvPr/>
        </p:nvGrpSpPr>
        <p:grpSpPr>
          <a:xfrm>
            <a:off x="114690" y="4180854"/>
            <a:ext cx="570098" cy="642938"/>
            <a:chOff x="2757488" y="1682751"/>
            <a:chExt cx="860425" cy="1149350"/>
          </a:xfrm>
          <a:solidFill>
            <a:schemeClr val="tx1"/>
          </a:solidFill>
        </p:grpSpPr>
        <p:sp>
          <p:nvSpPr>
            <p:cNvPr id="740" name="Freeform 12"/>
            <p:cNvSpPr>
              <a:spLocks/>
            </p:cNvSpPr>
            <p:nvPr/>
          </p:nvSpPr>
          <p:spPr bwMode="auto">
            <a:xfrm>
              <a:off x="2757488" y="1984376"/>
              <a:ext cx="557213" cy="555625"/>
            </a:xfrm>
            <a:custGeom>
              <a:avLst/>
              <a:gdLst>
                <a:gd name="T0" fmla="*/ 434 w 624"/>
                <a:gd name="T1" fmla="*/ 524 h 623"/>
                <a:gd name="T2" fmla="*/ 455 w 624"/>
                <a:gd name="T3" fmla="*/ 559 h 623"/>
                <a:gd name="T4" fmla="*/ 512 w 624"/>
                <a:gd name="T5" fmla="*/ 583 h 623"/>
                <a:gd name="T6" fmla="*/ 570 w 624"/>
                <a:gd name="T7" fmla="*/ 559 h 623"/>
                <a:gd name="T8" fmla="*/ 593 w 624"/>
                <a:gd name="T9" fmla="*/ 502 h 623"/>
                <a:gd name="T10" fmla="*/ 570 w 624"/>
                <a:gd name="T11" fmla="*/ 444 h 623"/>
                <a:gd name="T12" fmla="*/ 534 w 624"/>
                <a:gd name="T13" fmla="*/ 423 h 623"/>
                <a:gd name="T14" fmla="*/ 521 w 624"/>
                <a:gd name="T15" fmla="*/ 420 h 623"/>
                <a:gd name="T16" fmla="*/ 624 w 624"/>
                <a:gd name="T17" fmla="*/ 317 h 623"/>
                <a:gd name="T18" fmla="*/ 543 w 624"/>
                <a:gd name="T19" fmla="*/ 236 h 623"/>
                <a:gd name="T20" fmla="*/ 529 w 624"/>
                <a:gd name="T21" fmla="*/ 253 h 623"/>
                <a:gd name="T22" fmla="*/ 450 w 624"/>
                <a:gd name="T23" fmla="*/ 285 h 623"/>
                <a:gd name="T24" fmla="*/ 371 w 624"/>
                <a:gd name="T25" fmla="*/ 253 h 623"/>
                <a:gd name="T26" fmla="*/ 338 w 624"/>
                <a:gd name="T27" fmla="*/ 174 h 623"/>
                <a:gd name="T28" fmla="*/ 371 w 624"/>
                <a:gd name="T29" fmla="*/ 95 h 623"/>
                <a:gd name="T30" fmla="*/ 388 w 624"/>
                <a:gd name="T31" fmla="*/ 81 h 623"/>
                <a:gd name="T32" fmla="*/ 307 w 624"/>
                <a:gd name="T33" fmla="*/ 0 h 623"/>
                <a:gd name="T34" fmla="*/ 204 w 624"/>
                <a:gd name="T35" fmla="*/ 103 h 623"/>
                <a:gd name="T36" fmla="*/ 200 w 624"/>
                <a:gd name="T37" fmla="*/ 90 h 623"/>
                <a:gd name="T38" fmla="*/ 179 w 624"/>
                <a:gd name="T39" fmla="*/ 54 h 623"/>
                <a:gd name="T40" fmla="*/ 122 w 624"/>
                <a:gd name="T41" fmla="*/ 30 h 623"/>
                <a:gd name="T42" fmla="*/ 64 w 624"/>
                <a:gd name="T43" fmla="*/ 54 h 623"/>
                <a:gd name="T44" fmla="*/ 40 w 624"/>
                <a:gd name="T45" fmla="*/ 111 h 623"/>
                <a:gd name="T46" fmla="*/ 64 w 624"/>
                <a:gd name="T47" fmla="*/ 169 h 623"/>
                <a:gd name="T48" fmla="*/ 100 w 624"/>
                <a:gd name="T49" fmla="*/ 190 h 623"/>
                <a:gd name="T50" fmla="*/ 113 w 624"/>
                <a:gd name="T51" fmla="*/ 194 h 623"/>
                <a:gd name="T52" fmla="*/ 0 w 624"/>
                <a:gd name="T53" fmla="*/ 307 h 623"/>
                <a:gd name="T54" fmla="*/ 94 w 624"/>
                <a:gd name="T55" fmla="*/ 400 h 623"/>
                <a:gd name="T56" fmla="*/ 112 w 624"/>
                <a:gd name="T57" fmla="*/ 374 h 623"/>
                <a:gd name="T58" fmla="*/ 181 w 624"/>
                <a:gd name="T59" fmla="*/ 345 h 623"/>
                <a:gd name="T60" fmla="*/ 250 w 624"/>
                <a:gd name="T61" fmla="*/ 374 h 623"/>
                <a:gd name="T62" fmla="*/ 278 w 624"/>
                <a:gd name="T63" fmla="*/ 442 h 623"/>
                <a:gd name="T64" fmla="*/ 250 w 624"/>
                <a:gd name="T65" fmla="*/ 511 h 623"/>
                <a:gd name="T66" fmla="*/ 224 w 624"/>
                <a:gd name="T67" fmla="*/ 530 h 623"/>
                <a:gd name="T68" fmla="*/ 317 w 624"/>
                <a:gd name="T69" fmla="*/ 623 h 623"/>
                <a:gd name="T70" fmla="*/ 430 w 624"/>
                <a:gd name="T71" fmla="*/ 510 h 623"/>
                <a:gd name="T72" fmla="*/ 434 w 624"/>
                <a:gd name="T73" fmla="*/ 524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24" h="623">
                  <a:moveTo>
                    <a:pt x="434" y="524"/>
                  </a:moveTo>
                  <a:cubicBezTo>
                    <a:pt x="437" y="537"/>
                    <a:pt x="444" y="549"/>
                    <a:pt x="455" y="559"/>
                  </a:cubicBezTo>
                  <a:cubicBezTo>
                    <a:pt x="471" y="575"/>
                    <a:pt x="491" y="583"/>
                    <a:pt x="512" y="583"/>
                  </a:cubicBezTo>
                  <a:cubicBezTo>
                    <a:pt x="533" y="583"/>
                    <a:pt x="554" y="575"/>
                    <a:pt x="570" y="559"/>
                  </a:cubicBezTo>
                  <a:cubicBezTo>
                    <a:pt x="586" y="543"/>
                    <a:pt x="593" y="523"/>
                    <a:pt x="593" y="502"/>
                  </a:cubicBezTo>
                  <a:cubicBezTo>
                    <a:pt x="593" y="481"/>
                    <a:pt x="586" y="460"/>
                    <a:pt x="570" y="444"/>
                  </a:cubicBezTo>
                  <a:cubicBezTo>
                    <a:pt x="559" y="434"/>
                    <a:pt x="547" y="427"/>
                    <a:pt x="534" y="423"/>
                  </a:cubicBezTo>
                  <a:cubicBezTo>
                    <a:pt x="521" y="420"/>
                    <a:pt x="521" y="420"/>
                    <a:pt x="521" y="420"/>
                  </a:cubicBezTo>
                  <a:cubicBezTo>
                    <a:pt x="624" y="317"/>
                    <a:pt x="624" y="317"/>
                    <a:pt x="624" y="317"/>
                  </a:cubicBezTo>
                  <a:cubicBezTo>
                    <a:pt x="543" y="236"/>
                    <a:pt x="543" y="236"/>
                    <a:pt x="543" y="236"/>
                  </a:cubicBezTo>
                  <a:cubicBezTo>
                    <a:pt x="539" y="242"/>
                    <a:pt x="534" y="248"/>
                    <a:pt x="529" y="253"/>
                  </a:cubicBezTo>
                  <a:cubicBezTo>
                    <a:pt x="507" y="275"/>
                    <a:pt x="478" y="285"/>
                    <a:pt x="450" y="285"/>
                  </a:cubicBezTo>
                  <a:cubicBezTo>
                    <a:pt x="421" y="285"/>
                    <a:pt x="393" y="275"/>
                    <a:pt x="371" y="253"/>
                  </a:cubicBezTo>
                  <a:cubicBezTo>
                    <a:pt x="349" y="231"/>
                    <a:pt x="338" y="202"/>
                    <a:pt x="338" y="174"/>
                  </a:cubicBezTo>
                  <a:cubicBezTo>
                    <a:pt x="338" y="145"/>
                    <a:pt x="349" y="116"/>
                    <a:pt x="371" y="95"/>
                  </a:cubicBezTo>
                  <a:cubicBezTo>
                    <a:pt x="376" y="90"/>
                    <a:pt x="382" y="85"/>
                    <a:pt x="388" y="81"/>
                  </a:cubicBezTo>
                  <a:cubicBezTo>
                    <a:pt x="307" y="0"/>
                    <a:pt x="307" y="0"/>
                    <a:pt x="307" y="0"/>
                  </a:cubicBezTo>
                  <a:cubicBezTo>
                    <a:pt x="204" y="103"/>
                    <a:pt x="204" y="103"/>
                    <a:pt x="204" y="103"/>
                  </a:cubicBezTo>
                  <a:cubicBezTo>
                    <a:pt x="200" y="90"/>
                    <a:pt x="200" y="90"/>
                    <a:pt x="200" y="90"/>
                  </a:cubicBezTo>
                  <a:cubicBezTo>
                    <a:pt x="197" y="77"/>
                    <a:pt x="190" y="64"/>
                    <a:pt x="179" y="54"/>
                  </a:cubicBezTo>
                  <a:cubicBezTo>
                    <a:pt x="163" y="38"/>
                    <a:pt x="143" y="30"/>
                    <a:pt x="122" y="30"/>
                  </a:cubicBezTo>
                  <a:cubicBezTo>
                    <a:pt x="101" y="30"/>
                    <a:pt x="80" y="38"/>
                    <a:pt x="64" y="54"/>
                  </a:cubicBezTo>
                  <a:cubicBezTo>
                    <a:pt x="48" y="70"/>
                    <a:pt x="40" y="91"/>
                    <a:pt x="40" y="111"/>
                  </a:cubicBezTo>
                  <a:cubicBezTo>
                    <a:pt x="40" y="132"/>
                    <a:pt x="48" y="153"/>
                    <a:pt x="64" y="169"/>
                  </a:cubicBezTo>
                  <a:cubicBezTo>
                    <a:pt x="75" y="179"/>
                    <a:pt x="87" y="186"/>
                    <a:pt x="100" y="190"/>
                  </a:cubicBezTo>
                  <a:cubicBezTo>
                    <a:pt x="113" y="194"/>
                    <a:pt x="113" y="194"/>
                    <a:pt x="113" y="194"/>
                  </a:cubicBezTo>
                  <a:cubicBezTo>
                    <a:pt x="0" y="307"/>
                    <a:pt x="0" y="307"/>
                    <a:pt x="0" y="307"/>
                  </a:cubicBezTo>
                  <a:cubicBezTo>
                    <a:pt x="94" y="400"/>
                    <a:pt x="94" y="400"/>
                    <a:pt x="94" y="400"/>
                  </a:cubicBezTo>
                  <a:cubicBezTo>
                    <a:pt x="98" y="390"/>
                    <a:pt x="104" y="382"/>
                    <a:pt x="112" y="374"/>
                  </a:cubicBezTo>
                  <a:cubicBezTo>
                    <a:pt x="131" y="355"/>
                    <a:pt x="156" y="345"/>
                    <a:pt x="181" y="345"/>
                  </a:cubicBezTo>
                  <a:cubicBezTo>
                    <a:pt x="206" y="345"/>
                    <a:pt x="231" y="355"/>
                    <a:pt x="250" y="374"/>
                  </a:cubicBezTo>
                  <a:cubicBezTo>
                    <a:pt x="269" y="393"/>
                    <a:pt x="278" y="418"/>
                    <a:pt x="278" y="442"/>
                  </a:cubicBezTo>
                  <a:cubicBezTo>
                    <a:pt x="278" y="467"/>
                    <a:pt x="269" y="492"/>
                    <a:pt x="250" y="511"/>
                  </a:cubicBezTo>
                  <a:cubicBezTo>
                    <a:pt x="242" y="519"/>
                    <a:pt x="233" y="525"/>
                    <a:pt x="224" y="530"/>
                  </a:cubicBezTo>
                  <a:cubicBezTo>
                    <a:pt x="317" y="623"/>
                    <a:pt x="317" y="623"/>
                    <a:pt x="317" y="623"/>
                  </a:cubicBezTo>
                  <a:cubicBezTo>
                    <a:pt x="430" y="510"/>
                    <a:pt x="430" y="510"/>
                    <a:pt x="430" y="510"/>
                  </a:cubicBezTo>
                  <a:lnTo>
                    <a:pt x="434" y="5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1" name="Freeform 13"/>
            <p:cNvSpPr>
              <a:spLocks/>
            </p:cNvSpPr>
            <p:nvPr/>
          </p:nvSpPr>
          <p:spPr bwMode="auto">
            <a:xfrm>
              <a:off x="3059113" y="2284413"/>
              <a:ext cx="547688" cy="547688"/>
            </a:xfrm>
            <a:custGeom>
              <a:avLst/>
              <a:gdLst>
                <a:gd name="T0" fmla="*/ 513 w 613"/>
                <a:gd name="T1" fmla="*/ 190 h 613"/>
                <a:gd name="T2" fmla="*/ 549 w 613"/>
                <a:gd name="T3" fmla="*/ 169 h 613"/>
                <a:gd name="T4" fmla="*/ 573 w 613"/>
                <a:gd name="T5" fmla="*/ 111 h 613"/>
                <a:gd name="T6" fmla="*/ 549 w 613"/>
                <a:gd name="T7" fmla="*/ 54 h 613"/>
                <a:gd name="T8" fmla="*/ 492 w 613"/>
                <a:gd name="T9" fmla="*/ 30 h 613"/>
                <a:gd name="T10" fmla="*/ 434 w 613"/>
                <a:gd name="T11" fmla="*/ 54 h 613"/>
                <a:gd name="T12" fmla="*/ 413 w 613"/>
                <a:gd name="T13" fmla="*/ 90 h 613"/>
                <a:gd name="T14" fmla="*/ 410 w 613"/>
                <a:gd name="T15" fmla="*/ 103 h 613"/>
                <a:gd name="T16" fmla="*/ 307 w 613"/>
                <a:gd name="T17" fmla="*/ 0 h 613"/>
                <a:gd name="T18" fmla="*/ 236 w 613"/>
                <a:gd name="T19" fmla="*/ 71 h 613"/>
                <a:gd name="T20" fmla="*/ 253 w 613"/>
                <a:gd name="T21" fmla="*/ 84 h 613"/>
                <a:gd name="T22" fmla="*/ 285 w 613"/>
                <a:gd name="T23" fmla="*/ 163 h 613"/>
                <a:gd name="T24" fmla="*/ 253 w 613"/>
                <a:gd name="T25" fmla="*/ 243 h 613"/>
                <a:gd name="T26" fmla="*/ 174 w 613"/>
                <a:gd name="T27" fmla="*/ 275 h 613"/>
                <a:gd name="T28" fmla="*/ 95 w 613"/>
                <a:gd name="T29" fmla="*/ 243 h 613"/>
                <a:gd name="T30" fmla="*/ 81 w 613"/>
                <a:gd name="T31" fmla="*/ 226 h 613"/>
                <a:gd name="T32" fmla="*/ 0 w 613"/>
                <a:gd name="T33" fmla="*/ 307 h 613"/>
                <a:gd name="T34" fmla="*/ 103 w 613"/>
                <a:gd name="T35" fmla="*/ 410 h 613"/>
                <a:gd name="T36" fmla="*/ 90 w 613"/>
                <a:gd name="T37" fmla="*/ 413 h 613"/>
                <a:gd name="T38" fmla="*/ 54 w 613"/>
                <a:gd name="T39" fmla="*/ 434 h 613"/>
                <a:gd name="T40" fmla="*/ 30 w 613"/>
                <a:gd name="T41" fmla="*/ 492 h 613"/>
                <a:gd name="T42" fmla="*/ 54 w 613"/>
                <a:gd name="T43" fmla="*/ 549 h 613"/>
                <a:gd name="T44" fmla="*/ 112 w 613"/>
                <a:gd name="T45" fmla="*/ 573 h 613"/>
                <a:gd name="T46" fmla="*/ 169 w 613"/>
                <a:gd name="T47" fmla="*/ 549 h 613"/>
                <a:gd name="T48" fmla="*/ 190 w 613"/>
                <a:gd name="T49" fmla="*/ 513 h 613"/>
                <a:gd name="T50" fmla="*/ 194 w 613"/>
                <a:gd name="T51" fmla="*/ 500 h 613"/>
                <a:gd name="T52" fmla="*/ 307 w 613"/>
                <a:gd name="T53" fmla="*/ 613 h 613"/>
                <a:gd name="T54" fmla="*/ 400 w 613"/>
                <a:gd name="T55" fmla="*/ 520 h 613"/>
                <a:gd name="T56" fmla="*/ 374 w 613"/>
                <a:gd name="T57" fmla="*/ 501 h 613"/>
                <a:gd name="T58" fmla="*/ 345 w 613"/>
                <a:gd name="T59" fmla="*/ 432 h 613"/>
                <a:gd name="T60" fmla="*/ 374 w 613"/>
                <a:gd name="T61" fmla="*/ 363 h 613"/>
                <a:gd name="T62" fmla="*/ 443 w 613"/>
                <a:gd name="T63" fmla="*/ 335 h 613"/>
                <a:gd name="T64" fmla="*/ 511 w 613"/>
                <a:gd name="T65" fmla="*/ 363 h 613"/>
                <a:gd name="T66" fmla="*/ 530 w 613"/>
                <a:gd name="T67" fmla="*/ 390 h 613"/>
                <a:gd name="T68" fmla="*/ 613 w 613"/>
                <a:gd name="T69" fmla="*/ 307 h 613"/>
                <a:gd name="T70" fmla="*/ 500 w 613"/>
                <a:gd name="T71" fmla="*/ 193 h 613"/>
                <a:gd name="T72" fmla="*/ 513 w 613"/>
                <a:gd name="T73" fmla="*/ 190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13" h="613">
                  <a:moveTo>
                    <a:pt x="513" y="190"/>
                  </a:moveTo>
                  <a:cubicBezTo>
                    <a:pt x="527" y="186"/>
                    <a:pt x="539" y="179"/>
                    <a:pt x="549" y="169"/>
                  </a:cubicBezTo>
                  <a:cubicBezTo>
                    <a:pt x="565" y="153"/>
                    <a:pt x="573" y="132"/>
                    <a:pt x="573" y="111"/>
                  </a:cubicBezTo>
                  <a:cubicBezTo>
                    <a:pt x="573" y="91"/>
                    <a:pt x="565" y="70"/>
                    <a:pt x="549" y="54"/>
                  </a:cubicBezTo>
                  <a:cubicBezTo>
                    <a:pt x="533" y="38"/>
                    <a:pt x="513" y="30"/>
                    <a:pt x="492" y="30"/>
                  </a:cubicBezTo>
                  <a:cubicBezTo>
                    <a:pt x="471" y="30"/>
                    <a:pt x="450" y="38"/>
                    <a:pt x="434" y="54"/>
                  </a:cubicBezTo>
                  <a:cubicBezTo>
                    <a:pt x="424" y="64"/>
                    <a:pt x="417" y="77"/>
                    <a:pt x="413" y="90"/>
                  </a:cubicBezTo>
                  <a:cubicBezTo>
                    <a:pt x="410" y="103"/>
                    <a:pt x="410" y="103"/>
                    <a:pt x="410" y="103"/>
                  </a:cubicBezTo>
                  <a:cubicBezTo>
                    <a:pt x="307" y="0"/>
                    <a:pt x="307" y="0"/>
                    <a:pt x="307" y="0"/>
                  </a:cubicBezTo>
                  <a:cubicBezTo>
                    <a:pt x="236" y="71"/>
                    <a:pt x="236" y="71"/>
                    <a:pt x="236" y="71"/>
                  </a:cubicBezTo>
                  <a:cubicBezTo>
                    <a:pt x="242" y="75"/>
                    <a:pt x="248" y="79"/>
                    <a:pt x="253" y="84"/>
                  </a:cubicBezTo>
                  <a:cubicBezTo>
                    <a:pt x="275" y="106"/>
                    <a:pt x="285" y="135"/>
                    <a:pt x="285" y="163"/>
                  </a:cubicBezTo>
                  <a:cubicBezTo>
                    <a:pt x="285" y="192"/>
                    <a:pt x="275" y="221"/>
                    <a:pt x="253" y="243"/>
                  </a:cubicBezTo>
                  <a:cubicBezTo>
                    <a:pt x="231" y="264"/>
                    <a:pt x="202" y="275"/>
                    <a:pt x="174" y="275"/>
                  </a:cubicBezTo>
                  <a:cubicBezTo>
                    <a:pt x="145" y="275"/>
                    <a:pt x="117" y="264"/>
                    <a:pt x="95" y="243"/>
                  </a:cubicBezTo>
                  <a:cubicBezTo>
                    <a:pt x="90" y="237"/>
                    <a:pt x="85" y="232"/>
                    <a:pt x="81" y="226"/>
                  </a:cubicBezTo>
                  <a:cubicBezTo>
                    <a:pt x="0" y="307"/>
                    <a:pt x="0" y="307"/>
                    <a:pt x="0" y="307"/>
                  </a:cubicBezTo>
                  <a:cubicBezTo>
                    <a:pt x="103" y="410"/>
                    <a:pt x="103" y="410"/>
                    <a:pt x="103" y="410"/>
                  </a:cubicBezTo>
                  <a:cubicBezTo>
                    <a:pt x="90" y="413"/>
                    <a:pt x="90" y="413"/>
                    <a:pt x="90" y="413"/>
                  </a:cubicBezTo>
                  <a:cubicBezTo>
                    <a:pt x="77" y="417"/>
                    <a:pt x="64" y="424"/>
                    <a:pt x="54" y="434"/>
                  </a:cubicBezTo>
                  <a:cubicBezTo>
                    <a:pt x="38" y="450"/>
                    <a:pt x="30" y="471"/>
                    <a:pt x="30" y="492"/>
                  </a:cubicBezTo>
                  <a:cubicBezTo>
                    <a:pt x="30" y="512"/>
                    <a:pt x="38" y="533"/>
                    <a:pt x="54" y="549"/>
                  </a:cubicBezTo>
                  <a:cubicBezTo>
                    <a:pt x="70" y="565"/>
                    <a:pt x="91" y="573"/>
                    <a:pt x="112" y="573"/>
                  </a:cubicBezTo>
                  <a:cubicBezTo>
                    <a:pt x="132" y="573"/>
                    <a:pt x="153" y="565"/>
                    <a:pt x="169" y="549"/>
                  </a:cubicBezTo>
                  <a:cubicBezTo>
                    <a:pt x="179" y="539"/>
                    <a:pt x="186" y="526"/>
                    <a:pt x="190" y="513"/>
                  </a:cubicBezTo>
                  <a:cubicBezTo>
                    <a:pt x="194" y="500"/>
                    <a:pt x="194" y="500"/>
                    <a:pt x="194" y="500"/>
                  </a:cubicBezTo>
                  <a:cubicBezTo>
                    <a:pt x="307" y="613"/>
                    <a:pt x="307" y="613"/>
                    <a:pt x="307" y="613"/>
                  </a:cubicBezTo>
                  <a:cubicBezTo>
                    <a:pt x="400" y="520"/>
                    <a:pt x="400" y="520"/>
                    <a:pt x="400" y="520"/>
                  </a:cubicBezTo>
                  <a:cubicBezTo>
                    <a:pt x="391" y="515"/>
                    <a:pt x="382" y="509"/>
                    <a:pt x="374" y="501"/>
                  </a:cubicBezTo>
                  <a:cubicBezTo>
                    <a:pt x="355" y="482"/>
                    <a:pt x="345" y="457"/>
                    <a:pt x="345" y="432"/>
                  </a:cubicBezTo>
                  <a:cubicBezTo>
                    <a:pt x="345" y="407"/>
                    <a:pt x="355" y="382"/>
                    <a:pt x="374" y="363"/>
                  </a:cubicBezTo>
                  <a:cubicBezTo>
                    <a:pt x="393" y="344"/>
                    <a:pt x="418" y="335"/>
                    <a:pt x="443" y="335"/>
                  </a:cubicBezTo>
                  <a:cubicBezTo>
                    <a:pt x="467" y="335"/>
                    <a:pt x="492" y="344"/>
                    <a:pt x="511" y="363"/>
                  </a:cubicBezTo>
                  <a:cubicBezTo>
                    <a:pt x="519" y="371"/>
                    <a:pt x="526" y="380"/>
                    <a:pt x="530" y="390"/>
                  </a:cubicBezTo>
                  <a:cubicBezTo>
                    <a:pt x="613" y="307"/>
                    <a:pt x="613" y="307"/>
                    <a:pt x="613" y="307"/>
                  </a:cubicBezTo>
                  <a:cubicBezTo>
                    <a:pt x="500" y="193"/>
                    <a:pt x="500" y="193"/>
                    <a:pt x="500" y="193"/>
                  </a:cubicBezTo>
                  <a:lnTo>
                    <a:pt x="513" y="1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2" name="Freeform 14"/>
            <p:cNvSpPr>
              <a:spLocks/>
            </p:cNvSpPr>
            <p:nvPr/>
          </p:nvSpPr>
          <p:spPr bwMode="auto">
            <a:xfrm>
              <a:off x="3051175" y="1682751"/>
              <a:ext cx="566738" cy="565150"/>
            </a:xfrm>
            <a:custGeom>
              <a:avLst/>
              <a:gdLst>
                <a:gd name="T0" fmla="*/ 100 w 634"/>
                <a:gd name="T1" fmla="*/ 433 h 633"/>
                <a:gd name="T2" fmla="*/ 64 w 634"/>
                <a:gd name="T3" fmla="*/ 454 h 633"/>
                <a:gd name="T4" fmla="*/ 41 w 634"/>
                <a:gd name="T5" fmla="*/ 512 h 633"/>
                <a:gd name="T6" fmla="*/ 64 w 634"/>
                <a:gd name="T7" fmla="*/ 569 h 633"/>
                <a:gd name="T8" fmla="*/ 122 w 634"/>
                <a:gd name="T9" fmla="*/ 593 h 633"/>
                <a:gd name="T10" fmla="*/ 179 w 634"/>
                <a:gd name="T11" fmla="*/ 569 h 633"/>
                <a:gd name="T12" fmla="*/ 200 w 634"/>
                <a:gd name="T13" fmla="*/ 533 h 633"/>
                <a:gd name="T14" fmla="*/ 204 w 634"/>
                <a:gd name="T15" fmla="*/ 520 h 633"/>
                <a:gd name="T16" fmla="*/ 317 w 634"/>
                <a:gd name="T17" fmla="*/ 633 h 633"/>
                <a:gd name="T18" fmla="*/ 410 w 634"/>
                <a:gd name="T19" fmla="*/ 540 h 633"/>
                <a:gd name="T20" fmla="*/ 384 w 634"/>
                <a:gd name="T21" fmla="*/ 521 h 633"/>
                <a:gd name="T22" fmla="*/ 356 w 634"/>
                <a:gd name="T23" fmla="*/ 452 h 633"/>
                <a:gd name="T24" fmla="*/ 384 w 634"/>
                <a:gd name="T25" fmla="*/ 384 h 633"/>
                <a:gd name="T26" fmla="*/ 453 w 634"/>
                <a:gd name="T27" fmla="*/ 355 h 633"/>
                <a:gd name="T28" fmla="*/ 522 w 634"/>
                <a:gd name="T29" fmla="*/ 384 h 633"/>
                <a:gd name="T30" fmla="*/ 540 w 634"/>
                <a:gd name="T31" fmla="*/ 410 h 633"/>
                <a:gd name="T32" fmla="*/ 634 w 634"/>
                <a:gd name="T33" fmla="*/ 317 h 633"/>
                <a:gd name="T34" fmla="*/ 521 w 634"/>
                <a:gd name="T35" fmla="*/ 203 h 633"/>
                <a:gd name="T36" fmla="*/ 534 w 634"/>
                <a:gd name="T37" fmla="*/ 200 h 633"/>
                <a:gd name="T38" fmla="*/ 570 w 634"/>
                <a:gd name="T39" fmla="*/ 179 h 633"/>
                <a:gd name="T40" fmla="*/ 594 w 634"/>
                <a:gd name="T41" fmla="*/ 121 h 633"/>
                <a:gd name="T42" fmla="*/ 570 w 634"/>
                <a:gd name="T43" fmla="*/ 64 h 633"/>
                <a:gd name="T44" fmla="*/ 512 w 634"/>
                <a:gd name="T45" fmla="*/ 40 h 633"/>
                <a:gd name="T46" fmla="*/ 455 w 634"/>
                <a:gd name="T47" fmla="*/ 64 h 633"/>
                <a:gd name="T48" fmla="*/ 434 w 634"/>
                <a:gd name="T49" fmla="*/ 100 h 633"/>
                <a:gd name="T50" fmla="*/ 430 w 634"/>
                <a:gd name="T51" fmla="*/ 113 h 633"/>
                <a:gd name="T52" fmla="*/ 317 w 634"/>
                <a:gd name="T53" fmla="*/ 0 h 633"/>
                <a:gd name="T54" fmla="*/ 223 w 634"/>
                <a:gd name="T55" fmla="*/ 94 h 633"/>
                <a:gd name="T56" fmla="*/ 253 w 634"/>
                <a:gd name="T57" fmla="*/ 115 h 633"/>
                <a:gd name="T58" fmla="*/ 281 w 634"/>
                <a:gd name="T59" fmla="*/ 184 h 633"/>
                <a:gd name="T60" fmla="*/ 253 w 634"/>
                <a:gd name="T61" fmla="*/ 252 h 633"/>
                <a:gd name="T62" fmla="*/ 184 w 634"/>
                <a:gd name="T63" fmla="*/ 281 h 633"/>
                <a:gd name="T64" fmla="*/ 115 w 634"/>
                <a:gd name="T65" fmla="*/ 252 h 633"/>
                <a:gd name="T66" fmla="*/ 115 w 634"/>
                <a:gd name="T67" fmla="*/ 252 h 633"/>
                <a:gd name="T68" fmla="*/ 95 w 634"/>
                <a:gd name="T69" fmla="*/ 222 h 633"/>
                <a:gd name="T70" fmla="*/ 0 w 634"/>
                <a:gd name="T71" fmla="*/ 317 h 633"/>
                <a:gd name="T72" fmla="*/ 113 w 634"/>
                <a:gd name="T73" fmla="*/ 430 h 633"/>
                <a:gd name="T74" fmla="*/ 100 w 634"/>
                <a:gd name="T75" fmla="*/ 433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34" h="633">
                  <a:moveTo>
                    <a:pt x="100" y="433"/>
                  </a:moveTo>
                  <a:cubicBezTo>
                    <a:pt x="87" y="437"/>
                    <a:pt x="75" y="444"/>
                    <a:pt x="64" y="454"/>
                  </a:cubicBezTo>
                  <a:cubicBezTo>
                    <a:pt x="48" y="470"/>
                    <a:pt x="41" y="491"/>
                    <a:pt x="41" y="512"/>
                  </a:cubicBezTo>
                  <a:cubicBezTo>
                    <a:pt x="41" y="533"/>
                    <a:pt x="48" y="553"/>
                    <a:pt x="64" y="569"/>
                  </a:cubicBezTo>
                  <a:cubicBezTo>
                    <a:pt x="80" y="585"/>
                    <a:pt x="101" y="593"/>
                    <a:pt x="122" y="593"/>
                  </a:cubicBezTo>
                  <a:cubicBezTo>
                    <a:pt x="143" y="593"/>
                    <a:pt x="163" y="585"/>
                    <a:pt x="179" y="569"/>
                  </a:cubicBezTo>
                  <a:cubicBezTo>
                    <a:pt x="190" y="559"/>
                    <a:pt x="197" y="547"/>
                    <a:pt x="200" y="533"/>
                  </a:cubicBezTo>
                  <a:cubicBezTo>
                    <a:pt x="204" y="520"/>
                    <a:pt x="204" y="520"/>
                    <a:pt x="204" y="520"/>
                  </a:cubicBezTo>
                  <a:cubicBezTo>
                    <a:pt x="317" y="633"/>
                    <a:pt x="317" y="633"/>
                    <a:pt x="317" y="633"/>
                  </a:cubicBezTo>
                  <a:cubicBezTo>
                    <a:pt x="410" y="540"/>
                    <a:pt x="410" y="540"/>
                    <a:pt x="410" y="540"/>
                  </a:cubicBezTo>
                  <a:cubicBezTo>
                    <a:pt x="401" y="535"/>
                    <a:pt x="392" y="529"/>
                    <a:pt x="384" y="521"/>
                  </a:cubicBezTo>
                  <a:cubicBezTo>
                    <a:pt x="365" y="502"/>
                    <a:pt x="355" y="477"/>
                    <a:pt x="356" y="452"/>
                  </a:cubicBezTo>
                  <a:cubicBezTo>
                    <a:pt x="355" y="428"/>
                    <a:pt x="365" y="403"/>
                    <a:pt x="384" y="384"/>
                  </a:cubicBezTo>
                  <a:cubicBezTo>
                    <a:pt x="403" y="365"/>
                    <a:pt x="428" y="355"/>
                    <a:pt x="453" y="355"/>
                  </a:cubicBezTo>
                  <a:cubicBezTo>
                    <a:pt x="478" y="355"/>
                    <a:pt x="503" y="365"/>
                    <a:pt x="522" y="384"/>
                  </a:cubicBezTo>
                  <a:cubicBezTo>
                    <a:pt x="530" y="391"/>
                    <a:pt x="536" y="400"/>
                    <a:pt x="540" y="410"/>
                  </a:cubicBezTo>
                  <a:cubicBezTo>
                    <a:pt x="634" y="317"/>
                    <a:pt x="634" y="317"/>
                    <a:pt x="634" y="317"/>
                  </a:cubicBezTo>
                  <a:cubicBezTo>
                    <a:pt x="521" y="203"/>
                    <a:pt x="521" y="203"/>
                    <a:pt x="521" y="203"/>
                  </a:cubicBezTo>
                  <a:cubicBezTo>
                    <a:pt x="534" y="200"/>
                    <a:pt x="534" y="200"/>
                    <a:pt x="534" y="200"/>
                  </a:cubicBezTo>
                  <a:cubicBezTo>
                    <a:pt x="547" y="196"/>
                    <a:pt x="559" y="189"/>
                    <a:pt x="570" y="179"/>
                  </a:cubicBezTo>
                  <a:cubicBezTo>
                    <a:pt x="586" y="163"/>
                    <a:pt x="594" y="142"/>
                    <a:pt x="594" y="121"/>
                  </a:cubicBezTo>
                  <a:cubicBezTo>
                    <a:pt x="594" y="101"/>
                    <a:pt x="586" y="80"/>
                    <a:pt x="570" y="64"/>
                  </a:cubicBezTo>
                  <a:cubicBezTo>
                    <a:pt x="554" y="48"/>
                    <a:pt x="533" y="40"/>
                    <a:pt x="512" y="40"/>
                  </a:cubicBezTo>
                  <a:cubicBezTo>
                    <a:pt x="491" y="40"/>
                    <a:pt x="471" y="48"/>
                    <a:pt x="455" y="64"/>
                  </a:cubicBezTo>
                  <a:cubicBezTo>
                    <a:pt x="444" y="74"/>
                    <a:pt x="437" y="87"/>
                    <a:pt x="434" y="100"/>
                  </a:cubicBezTo>
                  <a:cubicBezTo>
                    <a:pt x="430" y="113"/>
                    <a:pt x="430" y="113"/>
                    <a:pt x="430" y="113"/>
                  </a:cubicBezTo>
                  <a:cubicBezTo>
                    <a:pt x="317" y="0"/>
                    <a:pt x="317" y="0"/>
                    <a:pt x="317" y="0"/>
                  </a:cubicBezTo>
                  <a:cubicBezTo>
                    <a:pt x="223" y="94"/>
                    <a:pt x="223" y="94"/>
                    <a:pt x="223" y="94"/>
                  </a:cubicBezTo>
                  <a:cubicBezTo>
                    <a:pt x="234" y="99"/>
                    <a:pt x="244" y="106"/>
                    <a:pt x="253" y="115"/>
                  </a:cubicBezTo>
                  <a:cubicBezTo>
                    <a:pt x="272" y="134"/>
                    <a:pt x="281" y="159"/>
                    <a:pt x="281" y="184"/>
                  </a:cubicBezTo>
                  <a:cubicBezTo>
                    <a:pt x="281" y="208"/>
                    <a:pt x="272" y="233"/>
                    <a:pt x="253" y="252"/>
                  </a:cubicBezTo>
                  <a:cubicBezTo>
                    <a:pt x="234" y="271"/>
                    <a:pt x="209" y="281"/>
                    <a:pt x="184" y="281"/>
                  </a:cubicBezTo>
                  <a:cubicBezTo>
                    <a:pt x="159" y="281"/>
                    <a:pt x="134" y="271"/>
                    <a:pt x="115" y="252"/>
                  </a:cubicBezTo>
                  <a:cubicBezTo>
                    <a:pt x="115" y="252"/>
                    <a:pt x="115" y="252"/>
                    <a:pt x="115" y="252"/>
                  </a:cubicBezTo>
                  <a:cubicBezTo>
                    <a:pt x="106" y="243"/>
                    <a:pt x="99" y="233"/>
                    <a:pt x="95" y="222"/>
                  </a:cubicBezTo>
                  <a:cubicBezTo>
                    <a:pt x="0" y="317"/>
                    <a:pt x="0" y="317"/>
                    <a:pt x="0" y="317"/>
                  </a:cubicBezTo>
                  <a:cubicBezTo>
                    <a:pt x="113" y="430"/>
                    <a:pt x="113" y="430"/>
                    <a:pt x="113" y="430"/>
                  </a:cubicBezTo>
                  <a:lnTo>
                    <a:pt x="100" y="4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6"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7"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9"/>
              </a:rPr>
              <a:t>www.rapidbbs.cn</a:t>
            </a:r>
            <a:endParaRPr lang="zh-CN" altLang="en-US" sz="1200" b="0">
              <a:latin typeface="Arial" charset="0"/>
              <a:ea typeface="ＭＳ Ｐゴシック" pitchFamily="34" charset="-128"/>
            </a:endParaRPr>
          </a:p>
        </p:txBody>
      </p:sp>
      <p:pic>
        <p:nvPicPr>
          <p:cNvPr id="38" name="Picture 2">
            <a:hlinkClick r:id="rId9"/>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64534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10" presetClass="entr" presetSubtype="0" fill="hold" nodeType="withEffect">
                                  <p:stCondLst>
                                    <p:cond delay="0"/>
                                  </p:stCondLst>
                                  <p:childTnLst>
                                    <p:set>
                                      <p:cBhvr>
                                        <p:cTn id="9" dur="1" fill="hold">
                                          <p:stCondLst>
                                            <p:cond delay="0"/>
                                          </p:stCondLst>
                                        </p:cTn>
                                        <p:tgtEl>
                                          <p:spTgt spid="23"/>
                                        </p:tgtEl>
                                        <p:attrNameLst>
                                          <p:attrName>style.visibility</p:attrName>
                                        </p:attrNameLst>
                                      </p:cBhvr>
                                      <p:to>
                                        <p:strVal val="visible"/>
                                      </p:to>
                                    </p:set>
                                    <p:animEffect transition="in" filter="fade">
                                      <p:cBhvr>
                                        <p:cTn id="10" dur="500"/>
                                        <p:tgtEl>
                                          <p:spTgt spid="23"/>
                                        </p:tgtEl>
                                      </p:cBhvr>
                                    </p:animEffect>
                                  </p:childTnLst>
                                </p:cTn>
                              </p:par>
                              <p:par>
                                <p:cTn id="11" presetID="22" presetClass="entr" presetSubtype="8" fill="hold" nodeType="with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wipe(left)">
                                      <p:cBhvr>
                                        <p:cTn id="13" dur="500"/>
                                        <p:tgtEl>
                                          <p:spTgt spid="13"/>
                                        </p:tgtEl>
                                      </p:cBhvr>
                                    </p:animEffect>
                                  </p:childTnLst>
                                </p:cTn>
                              </p:par>
                            </p:childTnLst>
                          </p:cTn>
                        </p:par>
                      </p:childTnLst>
                    </p:cTn>
                  </p:par>
                  <p:par>
                    <p:cTn id="14" fill="hold">
                      <p:stCondLst>
                        <p:cond delay="indefinite"/>
                      </p:stCondLst>
                      <p:childTnLst>
                        <p:par>
                          <p:cTn id="15" fill="hold">
                            <p:stCondLst>
                              <p:cond delay="0"/>
                            </p:stCondLst>
                            <p:childTnLst>
                              <p:par>
                                <p:cTn id="16" presetID="6" presetClass="entr" presetSubtype="16" fill="hold" grpId="0" nodeType="clickEffect">
                                  <p:stCondLst>
                                    <p:cond delay="0"/>
                                  </p:stCondLst>
                                  <p:childTnLst>
                                    <p:set>
                                      <p:cBhvr>
                                        <p:cTn id="17" dur="1" fill="hold">
                                          <p:stCondLst>
                                            <p:cond delay="0"/>
                                          </p:stCondLst>
                                        </p:cTn>
                                        <p:tgtEl>
                                          <p:spTgt spid="17"/>
                                        </p:tgtEl>
                                        <p:attrNameLst>
                                          <p:attrName>style.visibility</p:attrName>
                                        </p:attrNameLst>
                                      </p:cBhvr>
                                      <p:to>
                                        <p:strVal val="visible"/>
                                      </p:to>
                                    </p:set>
                                    <p:animEffect transition="in" filter="circle(in)">
                                      <p:cBhvr>
                                        <p:cTn id="18" dur="2000"/>
                                        <p:tgtEl>
                                          <p:spTgt spid="17"/>
                                        </p:tgtEl>
                                      </p:cBhvr>
                                    </p:animEffect>
                                  </p:childTnLst>
                                </p:cTn>
                              </p:par>
                            </p:childTnLst>
                          </p:cTn>
                        </p:par>
                        <p:par>
                          <p:cTn id="19" fill="hold">
                            <p:stCondLst>
                              <p:cond delay="2000"/>
                            </p:stCondLst>
                            <p:childTnLst>
                              <p:par>
                                <p:cTn id="20" presetID="10" presetClass="entr" presetSubtype="0" fill="hold" grpId="0" nodeType="after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3"/>
                                        </p:tgtEl>
                                        <p:attrNameLst>
                                          <p:attrName>style.visibility</p:attrName>
                                        </p:attrNameLst>
                                      </p:cBhvr>
                                      <p:to>
                                        <p:strVal val="visible"/>
                                      </p:to>
                                    </p:set>
                                    <p:animEffect transition="in" filter="fade">
                                      <p:cBhvr>
                                        <p:cTn id="28" dur="500"/>
                                        <p:tgtEl>
                                          <p:spTgt spid="3"/>
                                        </p:tgtEl>
                                      </p:cBhvr>
                                    </p:animEffect>
                                  </p:childTnLst>
                                </p:cTn>
                              </p:par>
                              <p:par>
                                <p:cTn id="29" presetID="10" presetClass="entr" presetSubtype="0" fill="hold" nodeType="withEffect">
                                  <p:stCondLst>
                                    <p:cond delay="0"/>
                                  </p:stCondLst>
                                  <p:childTnLst>
                                    <p:set>
                                      <p:cBhvr>
                                        <p:cTn id="30" dur="1" fill="hold">
                                          <p:stCondLst>
                                            <p:cond delay="0"/>
                                          </p:stCondLst>
                                        </p:cTn>
                                        <p:tgtEl>
                                          <p:spTgt spid="5"/>
                                        </p:tgtEl>
                                        <p:attrNameLst>
                                          <p:attrName>style.visibility</p:attrName>
                                        </p:attrNameLst>
                                      </p:cBhvr>
                                      <p:to>
                                        <p:strVal val="visible"/>
                                      </p:to>
                                    </p:set>
                                    <p:animEffect transition="in" filter="fade">
                                      <p:cBhvr>
                                        <p:cTn id="31" dur="500"/>
                                        <p:tgtEl>
                                          <p:spTgt spid="5"/>
                                        </p:tgtEl>
                                      </p:cBhvr>
                                    </p:animEffect>
                                  </p:childTnLst>
                                </p:cTn>
                              </p:par>
                              <p:par>
                                <p:cTn id="32" presetID="10" presetClass="entr" presetSubtype="0" fill="hold" nodeType="withEffect">
                                  <p:stCondLst>
                                    <p:cond delay="0"/>
                                  </p:stCondLst>
                                  <p:childTnLst>
                                    <p:set>
                                      <p:cBhvr>
                                        <p:cTn id="33" dur="1" fill="hold">
                                          <p:stCondLst>
                                            <p:cond delay="0"/>
                                          </p:stCondLst>
                                        </p:cTn>
                                        <p:tgtEl>
                                          <p:spTgt spid="42"/>
                                        </p:tgtEl>
                                        <p:attrNameLst>
                                          <p:attrName>style.visibility</p:attrName>
                                        </p:attrNameLst>
                                      </p:cBhvr>
                                      <p:to>
                                        <p:strVal val="visible"/>
                                      </p:to>
                                    </p:set>
                                    <p:animEffect transition="in" filter="fade">
                                      <p:cBhvr>
                                        <p:cTn id="34" dur="500"/>
                                        <p:tgtEl>
                                          <p:spTgt spid="42"/>
                                        </p:tgtEl>
                                      </p:cBhvr>
                                    </p:animEffect>
                                  </p:childTnLst>
                                </p:cTn>
                              </p:par>
                            </p:childTnLst>
                          </p:cTn>
                        </p:par>
                      </p:childTnLst>
                    </p:cTn>
                  </p:par>
                  <p:par>
                    <p:cTn id="35" fill="hold">
                      <p:stCondLst>
                        <p:cond delay="indefinite"/>
                      </p:stCondLst>
                      <p:childTnLst>
                        <p:par>
                          <p:cTn id="36" fill="hold">
                            <p:stCondLst>
                              <p:cond delay="0"/>
                            </p:stCondLst>
                            <p:childTnLst>
                              <p:par>
                                <p:cTn id="37" presetID="21" presetClass="entr" presetSubtype="1" fill="hold" grpId="0" nodeType="clickEffect">
                                  <p:stCondLst>
                                    <p:cond delay="0"/>
                                  </p:stCondLst>
                                  <p:childTnLst>
                                    <p:set>
                                      <p:cBhvr>
                                        <p:cTn id="38" dur="1" fill="hold">
                                          <p:stCondLst>
                                            <p:cond delay="0"/>
                                          </p:stCondLst>
                                        </p:cTn>
                                        <p:tgtEl>
                                          <p:spTgt spid="21"/>
                                        </p:tgtEl>
                                        <p:attrNameLst>
                                          <p:attrName>style.visibility</p:attrName>
                                        </p:attrNameLst>
                                      </p:cBhvr>
                                      <p:to>
                                        <p:strVal val="visible"/>
                                      </p:to>
                                    </p:set>
                                    <p:animEffect transition="in" filter="wheel(1)">
                                      <p:cBhvr>
                                        <p:cTn id="39" dur="2000"/>
                                        <p:tgtEl>
                                          <p:spTgt spid="21"/>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0"/>
                                        </p:tgtEl>
                                        <p:attrNameLst>
                                          <p:attrName>style.visibility</p:attrName>
                                        </p:attrNameLst>
                                      </p:cBhvr>
                                      <p:to>
                                        <p:strVal val="visible"/>
                                      </p:to>
                                    </p:set>
                                    <p:animEffect transition="in" filter="fade">
                                      <p:cBhvr>
                                        <p:cTn id="42"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p:bldP spid="19" grpId="0"/>
      <p:bldP spid="20" grpId="0"/>
      <p:bldP spid="21" grpId="0" animBg="1"/>
      <p:bldP spid="3" grpId="0" animBg="1"/>
      <p:bldP spid="40" grpId="0" animBg="1"/>
    </p:bldLst>
  </p:timing>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28953"/>
            <a:ext cx="8363938" cy="457049"/>
          </a:xfrm>
        </p:spPr>
        <p:txBody>
          <a:bodyPr>
            <a:normAutofit/>
          </a:bodyPr>
          <a:lstStyle/>
          <a:p>
            <a:r>
              <a:rPr lang="en-US" dirty="0" smtClean="0"/>
              <a:t>Centralized Access to Files</a:t>
            </a:r>
            <a:endParaRPr lang="en-US" dirty="0"/>
          </a:p>
        </p:txBody>
      </p:sp>
      <p:sp>
        <p:nvSpPr>
          <p:cNvPr id="9" name="TextBox 8"/>
          <p:cNvSpPr txBox="1"/>
          <p:nvPr/>
        </p:nvSpPr>
        <p:spPr>
          <a:xfrm>
            <a:off x="228605" y="914403"/>
            <a:ext cx="138578" cy="288539"/>
          </a:xfrm>
          <a:prstGeom prst="rect">
            <a:avLst/>
          </a:prstGeom>
          <a:noFill/>
        </p:spPr>
        <p:txBody>
          <a:bodyPr wrap="none" lIns="68580" tIns="34291" rIns="68580" bIns="34291" rtlCol="0">
            <a:spAutoFit/>
          </a:bodyPr>
          <a:lstStyle/>
          <a:p>
            <a:pPr defTabSz="685805"/>
            <a:endParaRPr lang="en-US">
              <a:solidFill>
                <a:prstClr val="black"/>
              </a:solidFill>
            </a:endParaRPr>
          </a:p>
        </p:txBody>
      </p:sp>
      <p:sp>
        <p:nvSpPr>
          <p:cNvPr id="22" name="Rectangle 21"/>
          <p:cNvSpPr/>
          <p:nvPr/>
        </p:nvSpPr>
        <p:spPr>
          <a:xfrm>
            <a:off x="294717" y="2704492"/>
            <a:ext cx="2558700" cy="627422"/>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lIns="91302" tIns="45651" rIns="91302" bIns="45651" rtlCol="0" anchor="ctr"/>
          <a:lstStyle/>
          <a:p>
            <a:pPr algn="ctr"/>
            <a:r>
              <a:rPr lang="en-US" sz="1200" u="sng" dirty="0">
                <a:solidFill>
                  <a:schemeClr val="tx1"/>
                </a:solidFill>
                <a:latin typeface="+mj-lt"/>
              </a:rPr>
              <a:t>USER CLAIMS</a:t>
            </a:r>
          </a:p>
          <a:p>
            <a:pPr algn="ctr"/>
            <a:r>
              <a:rPr lang="en-US" sz="1200" dirty="0" err="1">
                <a:solidFill>
                  <a:schemeClr val="tx1"/>
                </a:solidFill>
                <a:latin typeface="+mj-lt"/>
              </a:rPr>
              <a:t>User.Department</a:t>
            </a:r>
            <a:r>
              <a:rPr lang="en-US" sz="1200" dirty="0">
                <a:solidFill>
                  <a:schemeClr val="tx1"/>
                </a:solidFill>
                <a:latin typeface="+mj-lt"/>
              </a:rPr>
              <a:t> = Finance</a:t>
            </a:r>
          </a:p>
          <a:p>
            <a:pPr algn="ctr"/>
            <a:r>
              <a:rPr lang="en-US" sz="1200" dirty="0" err="1">
                <a:solidFill>
                  <a:schemeClr val="tx1"/>
                </a:solidFill>
                <a:latin typeface="+mj-lt"/>
              </a:rPr>
              <a:t>User.Clearance</a:t>
            </a:r>
            <a:r>
              <a:rPr lang="en-US" sz="1200" dirty="0">
                <a:solidFill>
                  <a:schemeClr val="tx1"/>
                </a:solidFill>
                <a:latin typeface="+mj-lt"/>
              </a:rPr>
              <a:t> = High</a:t>
            </a:r>
          </a:p>
        </p:txBody>
      </p:sp>
      <p:sp>
        <p:nvSpPr>
          <p:cNvPr id="23" name="Rectangle 22"/>
          <p:cNvSpPr/>
          <p:nvPr/>
        </p:nvSpPr>
        <p:spPr>
          <a:xfrm>
            <a:off x="294718" y="3884228"/>
            <a:ext cx="8552042" cy="802073"/>
          </a:xfrm>
          <a:prstGeom prst="rect">
            <a:avLst/>
          </a:prstGeom>
          <a:solidFill>
            <a:schemeClr val="accent1"/>
          </a:solidFill>
          <a:ln>
            <a:noFill/>
          </a:ln>
        </p:spPr>
        <p:style>
          <a:lnRef idx="1">
            <a:schemeClr val="accent2"/>
          </a:lnRef>
          <a:fillRef idx="3">
            <a:schemeClr val="accent2"/>
          </a:fillRef>
          <a:effectRef idx="2">
            <a:schemeClr val="accent2"/>
          </a:effectRef>
          <a:fontRef idx="minor">
            <a:schemeClr val="lt1"/>
          </a:fontRef>
        </p:style>
        <p:txBody>
          <a:bodyPr lIns="91302" tIns="45651" rIns="91302" bIns="45651" rtlCol="0" anchor="ctr"/>
          <a:lstStyle/>
          <a:p>
            <a:pPr algn="ctr"/>
            <a:r>
              <a:rPr lang="en-US" u="sng" dirty="0" smtClean="0">
                <a:solidFill>
                  <a:schemeClr val="tx1">
                    <a:lumMod val="90000"/>
                    <a:lumOff val="10000"/>
                  </a:schemeClr>
                </a:solidFill>
                <a:latin typeface="+mj-lt"/>
              </a:rPr>
              <a:t>ACCESS POLICY</a:t>
            </a:r>
            <a:endParaRPr lang="en-US" u="sng" dirty="0">
              <a:solidFill>
                <a:schemeClr val="tx1">
                  <a:lumMod val="90000"/>
                  <a:lumOff val="10000"/>
                </a:schemeClr>
              </a:solidFill>
              <a:latin typeface="+mj-lt"/>
            </a:endParaRPr>
          </a:p>
          <a:p>
            <a:pPr algn="ctr"/>
            <a:r>
              <a:rPr lang="en-US" dirty="0">
                <a:solidFill>
                  <a:schemeClr val="tx1"/>
                </a:solidFill>
                <a:latin typeface="+mj-lt"/>
              </a:rPr>
              <a:t>For access to finance information that has high business impact, a user must be a finance department employee with a high security clearance, and be using a managed device registered with the finance department. </a:t>
            </a:r>
          </a:p>
        </p:txBody>
      </p:sp>
      <p:sp>
        <p:nvSpPr>
          <p:cNvPr id="24" name="Rectangle 23"/>
          <p:cNvSpPr/>
          <p:nvPr/>
        </p:nvSpPr>
        <p:spPr>
          <a:xfrm>
            <a:off x="3291388" y="2704492"/>
            <a:ext cx="2558700" cy="627668"/>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lIns="91302" tIns="45651" rIns="91302" bIns="45651" rtlCol="0" anchor="ctr"/>
          <a:lstStyle/>
          <a:p>
            <a:pPr algn="ctr"/>
            <a:r>
              <a:rPr lang="en-US" sz="1200" u="sng" dirty="0">
                <a:solidFill>
                  <a:schemeClr val="tx1"/>
                </a:solidFill>
                <a:latin typeface="+mj-lt"/>
              </a:rPr>
              <a:t>DEVICE CLAIMS</a:t>
            </a:r>
          </a:p>
          <a:p>
            <a:pPr algn="ctr"/>
            <a:r>
              <a:rPr lang="en-US" sz="1200" dirty="0" err="1">
                <a:solidFill>
                  <a:schemeClr val="tx1">
                    <a:lumMod val="75000"/>
                    <a:lumOff val="25000"/>
                  </a:schemeClr>
                </a:solidFill>
                <a:latin typeface="+mj-lt"/>
              </a:rPr>
              <a:t>Device.Department</a:t>
            </a:r>
            <a:r>
              <a:rPr lang="en-US" sz="1200" dirty="0">
                <a:solidFill>
                  <a:schemeClr val="tx1">
                    <a:lumMod val="75000"/>
                    <a:lumOff val="25000"/>
                  </a:schemeClr>
                </a:solidFill>
                <a:latin typeface="+mj-lt"/>
              </a:rPr>
              <a:t> = Finance</a:t>
            </a:r>
          </a:p>
          <a:p>
            <a:pPr algn="ctr"/>
            <a:r>
              <a:rPr lang="en-US" sz="1200" dirty="0" err="1">
                <a:solidFill>
                  <a:schemeClr val="tx1">
                    <a:lumMod val="75000"/>
                    <a:lumOff val="25000"/>
                  </a:schemeClr>
                </a:solidFill>
                <a:latin typeface="+mj-lt"/>
              </a:rPr>
              <a:t>Device.Managed</a:t>
            </a:r>
            <a:r>
              <a:rPr lang="en-US" sz="1200" dirty="0">
                <a:solidFill>
                  <a:schemeClr val="tx1">
                    <a:lumMod val="75000"/>
                    <a:lumOff val="25000"/>
                  </a:schemeClr>
                </a:solidFill>
                <a:latin typeface="+mj-lt"/>
              </a:rPr>
              <a:t> = True</a:t>
            </a:r>
          </a:p>
        </p:txBody>
      </p:sp>
      <p:sp>
        <p:nvSpPr>
          <p:cNvPr id="25" name="Rectangle 24"/>
          <p:cNvSpPr/>
          <p:nvPr/>
        </p:nvSpPr>
        <p:spPr>
          <a:xfrm>
            <a:off x="6291175" y="2704493"/>
            <a:ext cx="2555584" cy="627423"/>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lIns="91302" tIns="45651" rIns="91302" bIns="45651" rtlCol="0" anchor="ctr"/>
          <a:lstStyle/>
          <a:p>
            <a:pPr algn="ctr"/>
            <a:r>
              <a:rPr lang="en-US" sz="1200" u="sng" dirty="0">
                <a:solidFill>
                  <a:schemeClr val="tx1"/>
                </a:solidFill>
                <a:latin typeface="+mj-lt"/>
              </a:rPr>
              <a:t>FILE PROPERTIES</a:t>
            </a:r>
          </a:p>
          <a:p>
            <a:pPr algn="ctr"/>
            <a:r>
              <a:rPr lang="en-US" sz="1200" dirty="0" err="1">
                <a:solidFill>
                  <a:schemeClr val="tx1">
                    <a:lumMod val="75000"/>
                    <a:lumOff val="25000"/>
                  </a:schemeClr>
                </a:solidFill>
                <a:latin typeface="+mj-lt"/>
              </a:rPr>
              <a:t>File.Department</a:t>
            </a:r>
            <a:r>
              <a:rPr lang="en-US" sz="1200" dirty="0">
                <a:solidFill>
                  <a:schemeClr val="tx1">
                    <a:lumMod val="75000"/>
                    <a:lumOff val="25000"/>
                  </a:schemeClr>
                </a:solidFill>
                <a:latin typeface="+mj-lt"/>
              </a:rPr>
              <a:t> = Finance</a:t>
            </a:r>
          </a:p>
          <a:p>
            <a:pPr algn="ctr"/>
            <a:r>
              <a:rPr lang="en-US" sz="1200" dirty="0" err="1">
                <a:solidFill>
                  <a:schemeClr val="tx1">
                    <a:lumMod val="75000"/>
                    <a:lumOff val="25000"/>
                  </a:schemeClr>
                </a:solidFill>
                <a:latin typeface="+mj-lt"/>
              </a:rPr>
              <a:t>File.Impact</a:t>
            </a:r>
            <a:r>
              <a:rPr lang="en-US" sz="1200" dirty="0">
                <a:solidFill>
                  <a:schemeClr val="tx1">
                    <a:lumMod val="75000"/>
                    <a:lumOff val="25000"/>
                  </a:schemeClr>
                </a:solidFill>
                <a:latin typeface="+mj-lt"/>
              </a:rPr>
              <a:t> = High</a:t>
            </a:r>
          </a:p>
        </p:txBody>
      </p:sp>
      <p:cxnSp>
        <p:nvCxnSpPr>
          <p:cNvPr id="26" name="Straight Arrow Connector 25"/>
          <p:cNvCxnSpPr>
            <a:stCxn id="22" idx="2"/>
          </p:cNvCxnSpPr>
          <p:nvPr/>
        </p:nvCxnSpPr>
        <p:spPr>
          <a:xfrm>
            <a:off x="1574067" y="3331915"/>
            <a:ext cx="0" cy="552313"/>
          </a:xfrm>
          <a:prstGeom prst="straightConnector1">
            <a:avLst/>
          </a:prstGeom>
          <a:ln>
            <a:solidFill>
              <a:schemeClr val="tx1"/>
            </a:solidFill>
            <a:tailEnd type="arrow"/>
          </a:ln>
        </p:spPr>
        <p:style>
          <a:lnRef idx="3">
            <a:schemeClr val="accent6"/>
          </a:lnRef>
          <a:fillRef idx="0">
            <a:schemeClr val="accent6"/>
          </a:fillRef>
          <a:effectRef idx="2">
            <a:schemeClr val="accent6"/>
          </a:effectRef>
          <a:fontRef idx="minor">
            <a:schemeClr val="tx1"/>
          </a:fontRef>
        </p:style>
      </p:cxnSp>
      <p:cxnSp>
        <p:nvCxnSpPr>
          <p:cNvPr id="27" name="Straight Arrow Connector 26"/>
          <p:cNvCxnSpPr>
            <a:stCxn id="24" idx="2"/>
          </p:cNvCxnSpPr>
          <p:nvPr/>
        </p:nvCxnSpPr>
        <p:spPr>
          <a:xfrm>
            <a:off x="4570739" y="3332160"/>
            <a:ext cx="6481" cy="552068"/>
          </a:xfrm>
          <a:prstGeom prst="straightConnector1">
            <a:avLst/>
          </a:prstGeom>
          <a:ln>
            <a:solidFill>
              <a:schemeClr val="tx1"/>
            </a:solidFill>
            <a:tailEnd type="arrow"/>
          </a:ln>
        </p:spPr>
        <p:style>
          <a:lnRef idx="3">
            <a:schemeClr val="accent6"/>
          </a:lnRef>
          <a:fillRef idx="0">
            <a:schemeClr val="accent6"/>
          </a:fillRef>
          <a:effectRef idx="2">
            <a:schemeClr val="accent6"/>
          </a:effectRef>
          <a:fontRef idx="minor">
            <a:schemeClr val="tx1"/>
          </a:fontRef>
        </p:style>
      </p:cxnSp>
      <p:cxnSp>
        <p:nvCxnSpPr>
          <p:cNvPr id="28" name="Straight Arrow Connector 27"/>
          <p:cNvCxnSpPr>
            <a:stCxn id="25" idx="2"/>
          </p:cNvCxnSpPr>
          <p:nvPr/>
        </p:nvCxnSpPr>
        <p:spPr>
          <a:xfrm>
            <a:off x="7568967" y="3331915"/>
            <a:ext cx="0" cy="552312"/>
          </a:xfrm>
          <a:prstGeom prst="straightConnector1">
            <a:avLst/>
          </a:prstGeom>
          <a:ln>
            <a:solidFill>
              <a:schemeClr val="tx1"/>
            </a:solidFill>
            <a:tailEnd type="arrow"/>
          </a:ln>
        </p:spPr>
        <p:style>
          <a:lnRef idx="3">
            <a:schemeClr val="accent6"/>
          </a:lnRef>
          <a:fillRef idx="0">
            <a:schemeClr val="accent6"/>
          </a:fillRef>
          <a:effectRef idx="2">
            <a:schemeClr val="accent6"/>
          </a:effectRef>
          <a:fontRef idx="minor">
            <a:schemeClr val="tx1"/>
          </a:fontRef>
        </p:style>
      </p:cxnSp>
      <p:pic>
        <p:nvPicPr>
          <p:cNvPr id="29" name="Picture 13"/>
          <p:cNvPicPr>
            <a:picLocks noChangeAspect="1" noChangeArrowheads="1"/>
          </p:cNvPicPr>
          <p:nvPr/>
        </p:nvPicPr>
        <p:blipFill>
          <a:blip r:embed="rId3" cstate="email">
            <a:biLevel thresh="50000"/>
            <a:extLst>
              <a:ext uri="{28A0092B-C50C-407E-A947-70E740481C1C}">
                <a14:useLocalDpi xmlns:a14="http://schemas.microsoft.com/office/drawing/2010/main"/>
              </a:ext>
            </a:extLst>
          </a:blip>
          <a:srcRect/>
          <a:stretch>
            <a:fillRect/>
          </a:stretch>
        </p:blipFill>
        <p:spPr bwMode="auto">
          <a:xfrm>
            <a:off x="1256438" y="1970784"/>
            <a:ext cx="526791" cy="5551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 name="Picture 29"/>
          <p:cNvPicPr>
            <a:picLocks noChangeAspect="1" noChangeArrowheads="1"/>
          </p:cNvPicPr>
          <p:nvPr/>
        </p:nvPicPr>
        <p:blipFill>
          <a:blip r:embed="rId4" cstate="email">
            <a:biLevel thresh="25000"/>
            <a:extLst>
              <a:ext uri="{28A0092B-C50C-407E-A947-70E740481C1C}">
                <a14:useLocalDpi xmlns:a14="http://schemas.microsoft.com/office/drawing/2010/main"/>
              </a:ext>
            </a:extLst>
          </a:blip>
          <a:srcRect/>
          <a:stretch>
            <a:fillRect/>
          </a:stretch>
        </p:blipFill>
        <p:spPr bwMode="auto">
          <a:xfrm flipH="1">
            <a:off x="4326485" y="1970784"/>
            <a:ext cx="501468" cy="5543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1" name="Picture 8"/>
          <p:cNvPicPr>
            <a:picLocks noChangeAspect="1" noChangeArrowheads="1"/>
          </p:cNvPicPr>
          <p:nvPr/>
        </p:nvPicPr>
        <p:blipFill>
          <a:blip r:embed="rId5" cstate="email">
            <a:biLevel thresh="50000"/>
            <a:extLst>
              <a:ext uri="{28A0092B-C50C-407E-A947-70E740481C1C}">
                <a14:useLocalDpi xmlns:a14="http://schemas.microsoft.com/office/drawing/2010/main"/>
              </a:ext>
            </a:extLst>
          </a:blip>
          <a:srcRect/>
          <a:stretch>
            <a:fillRect/>
          </a:stretch>
        </p:blipFill>
        <p:spPr bwMode="auto">
          <a:xfrm>
            <a:off x="7386351" y="2027147"/>
            <a:ext cx="444047" cy="506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2" name="TextBox 31"/>
          <p:cNvSpPr txBox="1"/>
          <p:nvPr/>
        </p:nvSpPr>
        <p:spPr>
          <a:xfrm>
            <a:off x="2342569" y="1832860"/>
            <a:ext cx="1307242" cy="219291"/>
          </a:xfrm>
          <a:prstGeom prst="rect">
            <a:avLst/>
          </a:prstGeom>
          <a:noFill/>
        </p:spPr>
        <p:txBody>
          <a:bodyPr wrap="square" lIns="0" tIns="0" rIns="0" bIns="0" rtlCol="0">
            <a:spAutoFit/>
          </a:bodyPr>
          <a:lstStyle/>
          <a:p>
            <a:r>
              <a:rPr lang="en-US" dirty="0" smtClean="0">
                <a:gradFill>
                  <a:gsLst>
                    <a:gs pos="0">
                      <a:schemeClr val="tx1"/>
                    </a:gs>
                    <a:gs pos="86000">
                      <a:schemeClr val="tx1"/>
                    </a:gs>
                  </a:gsLst>
                  <a:lin ang="5400000" scaled="0"/>
                </a:gradFill>
                <a:latin typeface="+mj-lt"/>
              </a:rPr>
              <a:t>Active Directory</a:t>
            </a:r>
          </a:p>
        </p:txBody>
      </p:sp>
      <p:sp>
        <p:nvSpPr>
          <p:cNvPr id="33" name="TextBox 32"/>
          <p:cNvSpPr txBox="1"/>
          <p:nvPr/>
        </p:nvSpPr>
        <p:spPr>
          <a:xfrm>
            <a:off x="7160023" y="1702578"/>
            <a:ext cx="817891" cy="215444"/>
          </a:xfrm>
          <a:prstGeom prst="rect">
            <a:avLst/>
          </a:prstGeom>
          <a:noFill/>
        </p:spPr>
        <p:txBody>
          <a:bodyPr wrap="square" lIns="0" tIns="0" rIns="0" bIns="0" rtlCol="0">
            <a:spAutoFit/>
          </a:bodyPr>
          <a:lstStyle/>
          <a:p>
            <a:r>
              <a:rPr lang="en-US" dirty="0" smtClean="0">
                <a:gradFill>
                  <a:gsLst>
                    <a:gs pos="0">
                      <a:schemeClr val="tx1"/>
                    </a:gs>
                    <a:gs pos="86000">
                      <a:schemeClr val="tx1"/>
                    </a:gs>
                  </a:gsLst>
                  <a:lin ang="5400000" scaled="0"/>
                </a:gradFill>
                <a:latin typeface="+mj-lt"/>
              </a:rPr>
              <a:t>File Server</a:t>
            </a:r>
          </a:p>
        </p:txBody>
      </p:sp>
      <p:pic>
        <p:nvPicPr>
          <p:cNvPr id="34" name="Picture 13"/>
          <p:cNvPicPr>
            <a:picLocks noChangeAspect="1" noChangeArrowheads="1"/>
          </p:cNvPicPr>
          <p:nvPr/>
        </p:nvPicPr>
        <p:blipFill>
          <a:blip r:embed="rId6" cstate="email">
            <a:biLevel thresh="50000"/>
            <a:extLst>
              <a:ext uri="{28A0092B-C50C-407E-A947-70E740481C1C}">
                <a14:useLocalDpi xmlns:a14="http://schemas.microsoft.com/office/drawing/2010/main"/>
              </a:ext>
            </a:extLst>
          </a:blip>
          <a:srcRect/>
          <a:stretch>
            <a:fillRect/>
          </a:stretch>
        </p:blipFill>
        <p:spPr bwMode="auto">
          <a:xfrm>
            <a:off x="2452407" y="1028701"/>
            <a:ext cx="957511" cy="7777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 name="Picture 34"/>
          <p:cNvPicPr>
            <a:picLocks noChangeAspect="1" noChangeArrowheads="1"/>
          </p:cNvPicPr>
          <p:nvPr/>
        </p:nvPicPr>
        <p:blipFill>
          <a:blip r:embed="rId7" cstate="email">
            <a:biLevel thresh="50000"/>
            <a:extLst>
              <a:ext uri="{28A0092B-C50C-407E-A947-70E740481C1C}">
                <a14:useLocalDpi xmlns:a14="http://schemas.microsoft.com/office/drawing/2010/main"/>
              </a:ext>
            </a:extLst>
          </a:blip>
          <a:srcRect/>
          <a:stretch>
            <a:fillRect/>
          </a:stretch>
        </p:blipFill>
        <p:spPr bwMode="auto">
          <a:xfrm>
            <a:off x="7315914" y="971551"/>
            <a:ext cx="527339" cy="6694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Title 1"/>
          <p:cNvSpPr txBox="1">
            <a:spLocks/>
          </p:cNvSpPr>
          <p:nvPr/>
        </p:nvSpPr>
        <p:spPr>
          <a:xfrm>
            <a:off x="398963" y="457352"/>
            <a:ext cx="8363938" cy="457049"/>
          </a:xfrm>
          <a:prstGeom prst="rect">
            <a:avLst/>
          </a:prstGeom>
        </p:spPr>
        <p:txBody>
          <a:bodyPr vert="horz" wrap="square" lIns="0" tIns="0" rIns="0" bIns="0" rtlCol="0" anchor="t">
            <a:norm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Segoe UI Light" pitchFamily="34" charset="0"/>
                <a:ea typeface="+mn-ea"/>
                <a:cs typeface="Arial" charset="0"/>
              </a:defRPr>
            </a:lvl1pPr>
          </a:lstStyle>
          <a:p>
            <a:r>
              <a:rPr lang="en-US" sz="2700" dirty="0">
                <a:solidFill>
                  <a:schemeClr val="tx2"/>
                </a:solidFill>
              </a:rPr>
              <a:t>Components</a:t>
            </a:r>
          </a:p>
        </p:txBody>
      </p:sp>
      <p:sp>
        <p:nvSpPr>
          <p:cNvPr id="19"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0"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8"/>
              </a:rPr>
              <a:t>www.rapidbbs.cn</a:t>
            </a:r>
            <a:endParaRPr lang="zh-CN" altLang="en-US" sz="1200" b="0">
              <a:latin typeface="Arial" charset="0"/>
              <a:ea typeface="ＭＳ Ｐゴシック" pitchFamily="34" charset="-128"/>
            </a:endParaRPr>
          </a:p>
        </p:txBody>
      </p:sp>
      <p:pic>
        <p:nvPicPr>
          <p:cNvPr id="21" name="Picture 2">
            <a:hlinkClick r:id="rId8"/>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61868838"/>
      </p:ext>
    </p:extLst>
  </p:cSld>
  <p:clrMapOvr>
    <a:masterClrMapping/>
  </p:clrMapOvr>
  <p:transition>
    <p:fade/>
  </p:transition>
  <p:timing>
    <p:tnLst>
      <p:par>
        <p:cTn id="1" dur="indefinite" restart="never" nodeType="tmRoot"/>
      </p:par>
    </p:tnLst>
  </p:timing>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ynamic </a:t>
            </a:r>
            <a:r>
              <a:rPr lang="en-US" dirty="0"/>
              <a:t>Access </a:t>
            </a:r>
            <a:r>
              <a:rPr lang="en-US" dirty="0" smtClean="0"/>
              <a:t>Control on File Servers</a:t>
            </a:r>
            <a:endParaRPr lang="en-US" dirty="0"/>
          </a:p>
        </p:txBody>
      </p:sp>
      <p:sp>
        <p:nvSpPr>
          <p:cNvPr id="19" name="Rectangle 18"/>
          <p:cNvSpPr/>
          <p:nvPr/>
        </p:nvSpPr>
        <p:spPr>
          <a:xfrm>
            <a:off x="294717" y="1485902"/>
            <a:ext cx="1990687" cy="3371849"/>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lIns="91302" tIns="45651" rIns="91302" bIns="45651" rtlCol="0" anchor="t"/>
          <a:lstStyle/>
          <a:p>
            <a:pPr marL="214332" indent="-214332">
              <a:buFont typeface="Wingdings" pitchFamily="2" charset="2"/>
              <a:buChar char="§"/>
            </a:pPr>
            <a:r>
              <a:rPr lang="en-US" dirty="0">
                <a:solidFill>
                  <a:schemeClr val="tx1"/>
                </a:solidFill>
                <a:latin typeface="+mj-lt"/>
              </a:rPr>
              <a:t>File inherits classification tags from parent </a:t>
            </a:r>
            <a:r>
              <a:rPr lang="en-US" dirty="0" smtClean="0">
                <a:solidFill>
                  <a:schemeClr val="tx1"/>
                </a:solidFill>
                <a:latin typeface="+mj-lt"/>
              </a:rPr>
              <a:t>folder</a:t>
            </a:r>
          </a:p>
          <a:p>
            <a:pPr marL="214332" indent="-214332">
              <a:buFont typeface="Wingdings" pitchFamily="2" charset="2"/>
              <a:buChar char="§"/>
            </a:pPr>
            <a:endParaRPr lang="en-US" dirty="0">
              <a:solidFill>
                <a:schemeClr val="tx1"/>
              </a:solidFill>
              <a:latin typeface="+mj-lt"/>
            </a:endParaRPr>
          </a:p>
          <a:p>
            <a:pPr marL="214332" indent="-214332">
              <a:buFont typeface="Wingdings" pitchFamily="2" charset="2"/>
              <a:buChar char="§"/>
            </a:pPr>
            <a:r>
              <a:rPr lang="en-US" dirty="0">
                <a:solidFill>
                  <a:schemeClr val="tx1"/>
                </a:solidFill>
                <a:latin typeface="+mj-lt"/>
              </a:rPr>
              <a:t>Manual tagging by </a:t>
            </a:r>
            <a:r>
              <a:rPr lang="en-US" dirty="0" smtClean="0">
                <a:solidFill>
                  <a:schemeClr val="tx1"/>
                </a:solidFill>
                <a:latin typeface="+mj-lt"/>
              </a:rPr>
              <a:t>owner</a:t>
            </a:r>
          </a:p>
          <a:p>
            <a:pPr marL="214332" indent="-214332">
              <a:buFont typeface="Wingdings" pitchFamily="2" charset="2"/>
              <a:buChar char="§"/>
            </a:pPr>
            <a:endParaRPr lang="en-US" dirty="0">
              <a:solidFill>
                <a:schemeClr val="tx1"/>
              </a:solidFill>
              <a:latin typeface="+mj-lt"/>
            </a:endParaRPr>
          </a:p>
          <a:p>
            <a:pPr marL="214332" indent="-214332">
              <a:buFont typeface="Wingdings" pitchFamily="2" charset="2"/>
              <a:buChar char="§"/>
            </a:pPr>
            <a:r>
              <a:rPr lang="en-US" dirty="0">
                <a:solidFill>
                  <a:schemeClr val="tx1"/>
                </a:solidFill>
                <a:latin typeface="+mj-lt"/>
              </a:rPr>
              <a:t>Automatic </a:t>
            </a:r>
            <a:r>
              <a:rPr lang="en-US" dirty="0" smtClean="0">
                <a:solidFill>
                  <a:schemeClr val="tx1"/>
                </a:solidFill>
                <a:latin typeface="+mj-lt"/>
              </a:rPr>
              <a:t>tagging</a:t>
            </a:r>
          </a:p>
          <a:p>
            <a:pPr marL="214332" indent="-214332">
              <a:buFont typeface="Wingdings" pitchFamily="2" charset="2"/>
              <a:buChar char="§"/>
            </a:pPr>
            <a:endParaRPr lang="en-US" dirty="0">
              <a:solidFill>
                <a:schemeClr val="tx1"/>
              </a:solidFill>
              <a:latin typeface="+mj-lt"/>
            </a:endParaRPr>
          </a:p>
          <a:p>
            <a:pPr marL="214332" indent="-214332">
              <a:buFont typeface="Wingdings" pitchFamily="2" charset="2"/>
              <a:buChar char="§"/>
            </a:pPr>
            <a:r>
              <a:rPr lang="en-US" dirty="0">
                <a:solidFill>
                  <a:schemeClr val="tx1"/>
                </a:solidFill>
                <a:latin typeface="+mj-lt"/>
              </a:rPr>
              <a:t>Tagging by applications</a:t>
            </a:r>
          </a:p>
        </p:txBody>
      </p:sp>
      <p:sp>
        <p:nvSpPr>
          <p:cNvPr id="20" name="Rectangle 19"/>
          <p:cNvSpPr/>
          <p:nvPr/>
        </p:nvSpPr>
        <p:spPr>
          <a:xfrm>
            <a:off x="2466984" y="1485902"/>
            <a:ext cx="1990687" cy="3371849"/>
          </a:xfrm>
          <a:prstGeom prst="rect">
            <a:avLst/>
          </a:prstGeom>
          <a:solidFill>
            <a:schemeClr val="accent6"/>
          </a:solidFill>
          <a:ln>
            <a:noFill/>
          </a:ln>
        </p:spPr>
        <p:style>
          <a:lnRef idx="1">
            <a:schemeClr val="accent1"/>
          </a:lnRef>
          <a:fillRef idx="3">
            <a:schemeClr val="accent1"/>
          </a:fillRef>
          <a:effectRef idx="2">
            <a:schemeClr val="accent1"/>
          </a:effectRef>
          <a:fontRef idx="minor">
            <a:schemeClr val="lt1"/>
          </a:fontRef>
        </p:style>
        <p:txBody>
          <a:bodyPr lIns="91302" tIns="45651" rIns="91302" bIns="45651" rtlCol="0" anchor="t"/>
          <a:lstStyle/>
          <a:p>
            <a:pPr marL="214332" indent="-214332">
              <a:buFont typeface="Wingdings" pitchFamily="2" charset="2"/>
              <a:buChar char="§"/>
            </a:pPr>
            <a:r>
              <a:rPr lang="en-US" dirty="0">
                <a:solidFill>
                  <a:schemeClr val="tx1"/>
                </a:solidFill>
                <a:latin typeface="+mj-lt"/>
              </a:rPr>
              <a:t>Central access policies based on </a:t>
            </a:r>
            <a:r>
              <a:rPr lang="en-US" dirty="0" smtClean="0">
                <a:solidFill>
                  <a:schemeClr val="tx1"/>
                </a:solidFill>
                <a:latin typeface="+mj-lt"/>
              </a:rPr>
              <a:t>classification</a:t>
            </a:r>
          </a:p>
          <a:p>
            <a:pPr marL="214332" indent="-214332">
              <a:buFont typeface="Wingdings" pitchFamily="2" charset="2"/>
              <a:buChar char="§"/>
            </a:pPr>
            <a:endParaRPr lang="en-US" dirty="0">
              <a:solidFill>
                <a:schemeClr val="tx1"/>
              </a:solidFill>
              <a:latin typeface="+mj-lt"/>
            </a:endParaRPr>
          </a:p>
          <a:p>
            <a:pPr marL="214332" indent="-214332">
              <a:buFont typeface="Wingdings" pitchFamily="2" charset="2"/>
              <a:buChar char="§"/>
            </a:pPr>
            <a:r>
              <a:rPr lang="en-US" dirty="0">
                <a:solidFill>
                  <a:schemeClr val="tx1"/>
                </a:solidFill>
                <a:latin typeface="+mj-lt"/>
              </a:rPr>
              <a:t>Expression-based access conditions for user claims, device claims, and file </a:t>
            </a:r>
            <a:r>
              <a:rPr lang="en-US" dirty="0" smtClean="0">
                <a:solidFill>
                  <a:schemeClr val="tx1"/>
                </a:solidFill>
                <a:latin typeface="+mj-lt"/>
              </a:rPr>
              <a:t>tags</a:t>
            </a:r>
          </a:p>
          <a:p>
            <a:pPr marL="214332" indent="-214332">
              <a:buFont typeface="Wingdings" pitchFamily="2" charset="2"/>
              <a:buChar char="§"/>
            </a:pPr>
            <a:endParaRPr lang="en-US" dirty="0">
              <a:solidFill>
                <a:schemeClr val="tx1"/>
              </a:solidFill>
              <a:latin typeface="+mj-lt"/>
            </a:endParaRPr>
          </a:p>
          <a:p>
            <a:pPr marL="214332" indent="-214332">
              <a:buFont typeface="Wingdings" pitchFamily="2" charset="2"/>
              <a:buChar char="§"/>
            </a:pPr>
            <a:r>
              <a:rPr lang="en-US" dirty="0">
                <a:solidFill>
                  <a:schemeClr val="tx1"/>
                </a:solidFill>
                <a:latin typeface="+mj-lt"/>
              </a:rPr>
              <a:t>Access denied remediation</a:t>
            </a:r>
          </a:p>
        </p:txBody>
      </p:sp>
      <p:sp>
        <p:nvSpPr>
          <p:cNvPr id="21" name="Rectangle 20"/>
          <p:cNvSpPr/>
          <p:nvPr/>
        </p:nvSpPr>
        <p:spPr>
          <a:xfrm>
            <a:off x="4686329" y="1482490"/>
            <a:ext cx="1990687" cy="3371849"/>
          </a:xfrm>
          <a:prstGeom prst="rect">
            <a:avLst/>
          </a:prstGeom>
          <a:solidFill>
            <a:schemeClr val="accent5"/>
          </a:solidFill>
          <a:ln>
            <a:noFill/>
          </a:ln>
        </p:spPr>
        <p:style>
          <a:lnRef idx="1">
            <a:schemeClr val="accent1"/>
          </a:lnRef>
          <a:fillRef idx="3">
            <a:schemeClr val="accent1"/>
          </a:fillRef>
          <a:effectRef idx="2">
            <a:schemeClr val="accent1"/>
          </a:effectRef>
          <a:fontRef idx="minor">
            <a:schemeClr val="lt1"/>
          </a:fontRef>
        </p:style>
        <p:txBody>
          <a:bodyPr lIns="91302" tIns="45651" rIns="91302" bIns="45651" rtlCol="0" anchor="t"/>
          <a:lstStyle/>
          <a:p>
            <a:pPr marL="214332" indent="-214332">
              <a:buFont typeface="Wingdings" pitchFamily="2" charset="2"/>
              <a:buChar char="§"/>
            </a:pPr>
            <a:r>
              <a:rPr lang="en-US" dirty="0">
                <a:solidFill>
                  <a:schemeClr val="tx1"/>
                </a:solidFill>
                <a:latin typeface="+mj-lt"/>
              </a:rPr>
              <a:t>Central audit policies can be applied across multiple file </a:t>
            </a:r>
            <a:r>
              <a:rPr lang="en-US" dirty="0" smtClean="0">
                <a:solidFill>
                  <a:schemeClr val="tx1"/>
                </a:solidFill>
                <a:latin typeface="+mj-lt"/>
              </a:rPr>
              <a:t>servers</a:t>
            </a:r>
          </a:p>
          <a:p>
            <a:pPr marL="214332" indent="-214332">
              <a:buFont typeface="Wingdings" pitchFamily="2" charset="2"/>
              <a:buChar char="§"/>
            </a:pPr>
            <a:endParaRPr lang="en-US" dirty="0">
              <a:solidFill>
                <a:schemeClr val="tx1"/>
              </a:solidFill>
              <a:latin typeface="+mj-lt"/>
            </a:endParaRPr>
          </a:p>
          <a:p>
            <a:pPr marL="214332" indent="-214332">
              <a:buFont typeface="Wingdings" pitchFamily="2" charset="2"/>
              <a:buChar char="§"/>
            </a:pPr>
            <a:r>
              <a:rPr lang="en-US" dirty="0">
                <a:solidFill>
                  <a:schemeClr val="tx1"/>
                </a:solidFill>
                <a:latin typeface="+mj-lt"/>
              </a:rPr>
              <a:t>Expression-based audits for user claims, </a:t>
            </a:r>
            <a:r>
              <a:rPr lang="en-US" dirty="0" smtClean="0">
                <a:solidFill>
                  <a:schemeClr val="tx1"/>
                </a:solidFill>
                <a:latin typeface="+mj-lt"/>
              </a:rPr>
              <a:t>device claims</a:t>
            </a:r>
            <a:r>
              <a:rPr lang="en-US" dirty="0">
                <a:solidFill>
                  <a:schemeClr val="tx1"/>
                </a:solidFill>
                <a:latin typeface="+mj-lt"/>
              </a:rPr>
              <a:t>, and file </a:t>
            </a:r>
            <a:r>
              <a:rPr lang="en-US" dirty="0" smtClean="0">
                <a:solidFill>
                  <a:schemeClr val="tx1"/>
                </a:solidFill>
                <a:latin typeface="+mj-lt"/>
              </a:rPr>
              <a:t>tags</a:t>
            </a:r>
          </a:p>
          <a:p>
            <a:pPr marL="214332" indent="-214332">
              <a:buFont typeface="Wingdings" pitchFamily="2" charset="2"/>
              <a:buChar char="§"/>
            </a:pPr>
            <a:endParaRPr lang="en-US" dirty="0">
              <a:solidFill>
                <a:schemeClr val="tx1"/>
              </a:solidFill>
              <a:latin typeface="+mj-lt"/>
            </a:endParaRPr>
          </a:p>
          <a:p>
            <a:pPr marL="214332" indent="-214332">
              <a:buFont typeface="Wingdings" pitchFamily="2" charset="2"/>
              <a:buChar char="§"/>
            </a:pPr>
            <a:r>
              <a:rPr lang="en-US" dirty="0">
                <a:solidFill>
                  <a:schemeClr val="tx1"/>
                </a:solidFill>
                <a:latin typeface="+mj-lt"/>
              </a:rPr>
              <a:t>Staging audits to simulate policy changes in a real environment</a:t>
            </a:r>
          </a:p>
        </p:txBody>
      </p:sp>
      <p:sp>
        <p:nvSpPr>
          <p:cNvPr id="22" name="Rectangle 21"/>
          <p:cNvSpPr/>
          <p:nvPr/>
        </p:nvSpPr>
        <p:spPr>
          <a:xfrm>
            <a:off x="6858596" y="1482490"/>
            <a:ext cx="1990687" cy="3371849"/>
          </a:xfrm>
          <a:prstGeom prst="rect">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lIns="91302" tIns="45651" rIns="91302" bIns="45651" rtlCol="0" anchor="t"/>
          <a:lstStyle/>
          <a:p>
            <a:pPr marL="214332" indent="-214332">
              <a:buFont typeface="Wingdings" pitchFamily="2" charset="2"/>
              <a:buChar char="§"/>
            </a:pPr>
            <a:r>
              <a:rPr lang="en-US" dirty="0">
                <a:solidFill>
                  <a:schemeClr val="tx1"/>
                </a:solidFill>
                <a:latin typeface="+mj-lt"/>
              </a:rPr>
              <a:t>Automatic Rights Management Services (RMS) protection for Microsoft Office </a:t>
            </a:r>
            <a:r>
              <a:rPr lang="en-US" dirty="0" smtClean="0">
                <a:solidFill>
                  <a:schemeClr val="tx1"/>
                </a:solidFill>
                <a:latin typeface="+mj-lt"/>
              </a:rPr>
              <a:t>documents</a:t>
            </a:r>
          </a:p>
          <a:p>
            <a:pPr marL="214332" indent="-214332">
              <a:buFont typeface="Wingdings" pitchFamily="2" charset="2"/>
              <a:buChar char="§"/>
            </a:pPr>
            <a:endParaRPr lang="en-US" dirty="0">
              <a:solidFill>
                <a:schemeClr val="tx1"/>
              </a:solidFill>
              <a:latin typeface="+mj-lt"/>
            </a:endParaRPr>
          </a:p>
          <a:p>
            <a:pPr marL="214332" indent="-214332">
              <a:buFont typeface="Wingdings" pitchFamily="2" charset="2"/>
              <a:buChar char="§"/>
            </a:pPr>
            <a:r>
              <a:rPr lang="en-US" dirty="0">
                <a:solidFill>
                  <a:schemeClr val="tx1"/>
                </a:solidFill>
                <a:latin typeface="+mj-lt"/>
              </a:rPr>
              <a:t>Near real-time protection when a file is </a:t>
            </a:r>
            <a:r>
              <a:rPr lang="en-US" dirty="0" smtClean="0">
                <a:solidFill>
                  <a:schemeClr val="tx1"/>
                </a:solidFill>
                <a:latin typeface="+mj-lt"/>
              </a:rPr>
              <a:t>tagged</a:t>
            </a:r>
          </a:p>
          <a:p>
            <a:pPr marL="214332" indent="-214332">
              <a:buFont typeface="Wingdings" pitchFamily="2" charset="2"/>
              <a:buChar char="§"/>
            </a:pPr>
            <a:endParaRPr lang="en-US" dirty="0">
              <a:solidFill>
                <a:schemeClr val="tx1"/>
              </a:solidFill>
              <a:latin typeface="+mj-lt"/>
            </a:endParaRPr>
          </a:p>
          <a:p>
            <a:pPr marL="214332" indent="-214332">
              <a:buFont typeface="Wingdings" pitchFamily="2" charset="2"/>
              <a:buChar char="§"/>
            </a:pPr>
            <a:r>
              <a:rPr lang="en-US" dirty="0">
                <a:solidFill>
                  <a:schemeClr val="tx1"/>
                </a:solidFill>
                <a:latin typeface="+mj-lt"/>
              </a:rPr>
              <a:t>Extensibility for non-Office RMS protectors</a:t>
            </a:r>
          </a:p>
        </p:txBody>
      </p:sp>
      <p:sp>
        <p:nvSpPr>
          <p:cNvPr id="23" name="Title 15"/>
          <p:cNvSpPr txBox="1">
            <a:spLocks/>
          </p:cNvSpPr>
          <p:nvPr/>
        </p:nvSpPr>
        <p:spPr bwMode="auto">
          <a:xfrm>
            <a:off x="294717" y="1198555"/>
            <a:ext cx="1990687" cy="238912"/>
          </a:xfrm>
          <a:prstGeom prst="rect">
            <a:avLst/>
          </a:prstGeom>
          <a:noFill/>
          <a:ln w="9525">
            <a:noFill/>
            <a:miter lim="800000"/>
            <a:headEnd/>
            <a:tailEnd/>
          </a:ln>
        </p:spPr>
        <p:txBody>
          <a:bodyPr wrap="square" lIns="0" tIns="0" rIns="0" bIns="0">
            <a:spAutoFit/>
          </a:bodyPr>
          <a:lstStyle/>
          <a:p>
            <a:pPr algn="ctr" defTabSz="822797">
              <a:lnSpc>
                <a:spcPct val="90000"/>
              </a:lnSpc>
              <a:spcBef>
                <a:spcPct val="20000"/>
              </a:spcBef>
              <a:spcAft>
                <a:spcPts val="554"/>
              </a:spcAft>
              <a:buClr>
                <a:srgbClr val="ADADAD"/>
              </a:buClr>
              <a:buSzPct val="80000"/>
            </a:pPr>
            <a:r>
              <a:rPr lang="en-US" sz="1700" dirty="0"/>
              <a:t>Classification</a:t>
            </a:r>
          </a:p>
        </p:txBody>
      </p:sp>
      <p:sp>
        <p:nvSpPr>
          <p:cNvPr id="24" name="Title 15"/>
          <p:cNvSpPr txBox="1">
            <a:spLocks/>
          </p:cNvSpPr>
          <p:nvPr/>
        </p:nvSpPr>
        <p:spPr bwMode="auto">
          <a:xfrm>
            <a:off x="2466984" y="1196476"/>
            <a:ext cx="1990687" cy="238912"/>
          </a:xfrm>
          <a:prstGeom prst="rect">
            <a:avLst/>
          </a:prstGeom>
          <a:noFill/>
          <a:ln w="9525">
            <a:noFill/>
            <a:miter lim="800000"/>
            <a:headEnd/>
            <a:tailEnd/>
          </a:ln>
        </p:spPr>
        <p:txBody>
          <a:bodyPr wrap="square" lIns="0" tIns="0" rIns="0" bIns="0">
            <a:spAutoFit/>
          </a:bodyPr>
          <a:lstStyle/>
          <a:p>
            <a:pPr algn="ctr" defTabSz="822797">
              <a:lnSpc>
                <a:spcPct val="90000"/>
              </a:lnSpc>
              <a:spcBef>
                <a:spcPct val="20000"/>
              </a:spcBef>
              <a:spcAft>
                <a:spcPts val="554"/>
              </a:spcAft>
              <a:buClr>
                <a:srgbClr val="ADADAD"/>
              </a:buClr>
              <a:buSzPct val="80000"/>
            </a:pPr>
            <a:r>
              <a:rPr lang="en-US" sz="1700" dirty="0"/>
              <a:t>Access Control</a:t>
            </a:r>
          </a:p>
        </p:txBody>
      </p:sp>
      <p:sp>
        <p:nvSpPr>
          <p:cNvPr id="25" name="Title 15"/>
          <p:cNvSpPr txBox="1">
            <a:spLocks/>
          </p:cNvSpPr>
          <p:nvPr/>
        </p:nvSpPr>
        <p:spPr bwMode="auto">
          <a:xfrm>
            <a:off x="4686329" y="1196474"/>
            <a:ext cx="1990687" cy="238912"/>
          </a:xfrm>
          <a:prstGeom prst="rect">
            <a:avLst/>
          </a:prstGeom>
          <a:noFill/>
          <a:ln w="9525">
            <a:noFill/>
            <a:miter lim="800000"/>
            <a:headEnd/>
            <a:tailEnd/>
          </a:ln>
        </p:spPr>
        <p:txBody>
          <a:bodyPr wrap="square" lIns="0" tIns="0" rIns="0" bIns="0">
            <a:spAutoFit/>
          </a:bodyPr>
          <a:lstStyle/>
          <a:p>
            <a:pPr algn="ctr" defTabSz="822797">
              <a:lnSpc>
                <a:spcPct val="90000"/>
              </a:lnSpc>
              <a:spcBef>
                <a:spcPct val="20000"/>
              </a:spcBef>
              <a:spcAft>
                <a:spcPts val="554"/>
              </a:spcAft>
              <a:buClr>
                <a:srgbClr val="ADADAD"/>
              </a:buClr>
              <a:buSzPct val="80000"/>
            </a:pPr>
            <a:r>
              <a:rPr lang="en-US" sz="1700" dirty="0"/>
              <a:t>Auditing</a:t>
            </a:r>
          </a:p>
        </p:txBody>
      </p:sp>
      <p:sp>
        <p:nvSpPr>
          <p:cNvPr id="26" name="Title 15"/>
          <p:cNvSpPr txBox="1">
            <a:spLocks/>
          </p:cNvSpPr>
          <p:nvPr/>
        </p:nvSpPr>
        <p:spPr bwMode="auto">
          <a:xfrm>
            <a:off x="6858596" y="1196475"/>
            <a:ext cx="1990687" cy="238912"/>
          </a:xfrm>
          <a:prstGeom prst="rect">
            <a:avLst/>
          </a:prstGeom>
          <a:noFill/>
          <a:ln w="9525">
            <a:noFill/>
            <a:miter lim="800000"/>
            <a:headEnd/>
            <a:tailEnd/>
          </a:ln>
        </p:spPr>
        <p:txBody>
          <a:bodyPr wrap="square" lIns="0" tIns="0" rIns="0" bIns="0">
            <a:spAutoFit/>
          </a:bodyPr>
          <a:lstStyle/>
          <a:p>
            <a:pPr algn="ctr" defTabSz="822797">
              <a:lnSpc>
                <a:spcPct val="90000"/>
              </a:lnSpc>
              <a:spcBef>
                <a:spcPct val="20000"/>
              </a:spcBef>
              <a:spcAft>
                <a:spcPts val="554"/>
              </a:spcAft>
              <a:buClr>
                <a:srgbClr val="ADADAD"/>
              </a:buClr>
              <a:buSzPct val="80000"/>
            </a:pPr>
            <a:r>
              <a:rPr lang="en-US" sz="1700" dirty="0"/>
              <a:t>RMS Protection</a:t>
            </a:r>
          </a:p>
        </p:txBody>
      </p:sp>
      <p:pic>
        <p:nvPicPr>
          <p:cNvPr id="27" name="Picture 2"/>
          <p:cNvPicPr>
            <a:picLocks noChangeAspect="1" noChangeArrowheads="1"/>
          </p:cNvPicPr>
          <p:nvPr/>
        </p:nvPicPr>
        <p:blipFill>
          <a:blip r:embed="rId3" cstate="email">
            <a:biLevel thresh="50000"/>
            <a:extLst>
              <a:ext uri="{28A0092B-C50C-407E-A947-70E740481C1C}">
                <a14:useLocalDpi xmlns:a14="http://schemas.microsoft.com/office/drawing/2010/main"/>
              </a:ext>
            </a:extLst>
          </a:blip>
          <a:srcRect/>
          <a:stretch>
            <a:fillRect/>
          </a:stretch>
        </p:blipFill>
        <p:spPr bwMode="auto">
          <a:xfrm>
            <a:off x="3250133" y="828542"/>
            <a:ext cx="424389" cy="3700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8" name="Picture 14"/>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5471283" y="782183"/>
            <a:ext cx="420782" cy="414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 name="Picture 17"/>
          <p:cNvPicPr>
            <a:picLocks noChangeAspect="1" noChangeArrowheads="1"/>
          </p:cNvPicPr>
          <p:nvPr/>
        </p:nvPicPr>
        <p:blipFill>
          <a:blip r:embed="rId5" cstate="email">
            <a:biLevel thresh="50000"/>
            <a:extLst>
              <a:ext uri="{28A0092B-C50C-407E-A947-70E740481C1C}">
                <a14:useLocalDpi xmlns:a14="http://schemas.microsoft.com/office/drawing/2010/main"/>
              </a:ext>
            </a:extLst>
          </a:blip>
          <a:srcRect/>
          <a:stretch>
            <a:fillRect/>
          </a:stretch>
        </p:blipFill>
        <p:spPr bwMode="auto">
          <a:xfrm>
            <a:off x="1059889" y="828866"/>
            <a:ext cx="460345" cy="3696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 name="Picture 6"/>
          <p:cNvPicPr>
            <a:picLocks noChangeAspect="1" noChangeArrowheads="1"/>
          </p:cNvPicPr>
          <p:nvPr/>
        </p:nvPicPr>
        <p:blipFill>
          <a:blip r:embed="rId6" cstate="email">
            <a:biLevel thresh="50000"/>
            <a:extLst>
              <a:ext uri="{28A0092B-C50C-407E-A947-70E740481C1C}">
                <a14:useLocalDpi xmlns:a14="http://schemas.microsoft.com/office/drawing/2010/main"/>
              </a:ext>
            </a:extLst>
          </a:blip>
          <a:srcRect/>
          <a:stretch>
            <a:fillRect/>
          </a:stretch>
        </p:blipFill>
        <p:spPr bwMode="auto">
          <a:xfrm>
            <a:off x="7698067" y="793543"/>
            <a:ext cx="311744" cy="4029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6"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7"/>
              </a:rPr>
              <a:t>www.rapidbbs.cn</a:t>
            </a:r>
            <a:endParaRPr lang="zh-CN" altLang="en-US" sz="1200" b="0">
              <a:latin typeface="Arial" charset="0"/>
              <a:ea typeface="ＭＳ Ｐゴシック" pitchFamily="34" charset="-128"/>
            </a:endParaRPr>
          </a:p>
        </p:txBody>
      </p:sp>
      <p:pic>
        <p:nvPicPr>
          <p:cNvPr id="17" name="Picture 2">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18964442"/>
      </p:ext>
    </p:extLst>
  </p:cSld>
  <p:clrMapOvr>
    <a:masterClrMapping/>
  </p:clrMapOvr>
  <p:transition>
    <p:fade/>
  </p:transition>
  <p:timing>
    <p:tnLst>
      <p:par>
        <p:cTn id="1" dur="indefinite" restart="never" nodeType="tmRoot"/>
      </p:par>
    </p:tnLst>
  </p:timing>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prstGeom prst="rect">
            <a:avLst/>
          </a:prstGeom>
        </p:spPr>
        <p:txBody>
          <a:bodyPr/>
          <a:lstStyle/>
          <a:p>
            <a:r>
              <a:rPr lang="en-GB" dirty="0" smtClean="0"/>
              <a:t>Agenda</a:t>
            </a:r>
            <a:endParaRPr lang="en-GB" dirty="0"/>
          </a:p>
        </p:txBody>
      </p:sp>
      <p:sp>
        <p:nvSpPr>
          <p:cNvPr id="20" name="TextBox 19"/>
          <p:cNvSpPr txBox="1"/>
          <p:nvPr>
            <p:custDataLst>
              <p:tags r:id="rId2"/>
            </p:custDataLst>
          </p:nvPr>
        </p:nvSpPr>
        <p:spPr>
          <a:xfrm>
            <a:off x="793686" y="1127023"/>
            <a:ext cx="3389401" cy="455462"/>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400" dirty="0">
              <a:ln>
                <a:solidFill>
                  <a:schemeClr val="tx1">
                    <a:alpha val="99000"/>
                  </a:schemeClr>
                </a:solidFill>
              </a:ln>
              <a:solidFill>
                <a:schemeClr val="tx1">
                  <a:alpha val="99000"/>
                </a:schemeClr>
              </a:solidFill>
            </a:endParaRPr>
          </a:p>
        </p:txBody>
      </p:sp>
      <p:sp>
        <p:nvSpPr>
          <p:cNvPr id="21" name="TextBox 20"/>
          <p:cNvSpPr txBox="1"/>
          <p:nvPr>
            <p:custDataLst>
              <p:tags r:id="rId3"/>
            </p:custDataLst>
          </p:nvPr>
        </p:nvSpPr>
        <p:spPr>
          <a:xfrm>
            <a:off x="1076900" y="1181629"/>
            <a:ext cx="2923451" cy="346249"/>
          </a:xfrm>
          <a:prstGeom prst="rect">
            <a:avLst/>
          </a:prstGeom>
          <a:noFill/>
        </p:spPr>
        <p:txBody>
          <a:bodyPr wrap="square" lIns="68586" tIns="34294" rIns="68586" bIns="34294" rtlCol="0">
            <a:spAutoFit/>
          </a:bodyPr>
          <a:lstStyle/>
          <a:p>
            <a:pPr algn="ctr">
              <a:buSzPct val="90000"/>
            </a:pPr>
            <a:r>
              <a:rPr lang="en-US" sz="1800" dirty="0">
                <a:solidFill>
                  <a:schemeClr val="tx1">
                    <a:alpha val="99000"/>
                  </a:schemeClr>
                </a:solidFill>
              </a:rPr>
              <a:t>Accountability Idea</a:t>
            </a:r>
          </a:p>
        </p:txBody>
      </p:sp>
      <p:sp>
        <p:nvSpPr>
          <p:cNvPr id="28" name="Right Triangle 27"/>
          <p:cNvSpPr/>
          <p:nvPr>
            <p:custDataLst>
              <p:tags r:id="rId4"/>
            </p:custDataLst>
          </p:nvPr>
        </p:nvSpPr>
        <p:spPr bwMode="auto">
          <a:xfrm rot="10800000" flipV="1">
            <a:off x="1504844" y="1669790"/>
            <a:ext cx="332298" cy="477755"/>
          </a:xfrm>
          <a:prstGeom prst="rtTriangle">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dirty="0">
              <a:ln>
                <a:solidFill>
                  <a:schemeClr val="tx1">
                    <a:alpha val="99000"/>
                  </a:schemeClr>
                </a:solidFill>
              </a:ln>
              <a:solidFill>
                <a:schemeClr val="tx1">
                  <a:alpha val="99000"/>
                </a:schemeClr>
              </a:solidFill>
              <a:latin typeface="Segoe UI" pitchFamily="34" charset="0"/>
              <a:ea typeface="Segoe UI" pitchFamily="34" charset="0"/>
              <a:cs typeface="Segoe UI" pitchFamily="34" charset="0"/>
            </a:endParaRPr>
          </a:p>
        </p:txBody>
      </p:sp>
      <p:sp>
        <p:nvSpPr>
          <p:cNvPr id="36" name="TextBox 35"/>
          <p:cNvSpPr txBox="1"/>
          <p:nvPr>
            <p:custDataLst>
              <p:tags r:id="rId5"/>
            </p:custDataLst>
          </p:nvPr>
        </p:nvSpPr>
        <p:spPr>
          <a:xfrm>
            <a:off x="4918629" y="1127023"/>
            <a:ext cx="3389401" cy="45546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defPPr>
              <a:defRPr lang="en-US"/>
            </a:defPPr>
            <a:lvl1pPr algn="ctr" defTabSz="914099">
              <a:defRPr sz="2200">
                <a:solidFill>
                  <a:srgbClr val="FFFFFF">
                    <a:alpha val="98824"/>
                  </a:srgbClr>
                </a:solidFill>
                <a:latin typeface="Segoe UI" pitchFamily="34" charset="0"/>
                <a:ea typeface="Segoe UI" pitchFamily="34" charset="0"/>
                <a:cs typeface="Segoe UI" pitchFamily="34" charset="0"/>
              </a:defRPr>
            </a:lvl1pPr>
          </a:lstStyle>
          <a:p>
            <a:endParaRPr lang="en-US" dirty="0">
              <a:ln>
                <a:solidFill>
                  <a:schemeClr val="tx1">
                    <a:alpha val="99000"/>
                  </a:schemeClr>
                </a:solidFill>
              </a:ln>
            </a:endParaRPr>
          </a:p>
        </p:txBody>
      </p:sp>
      <p:sp>
        <p:nvSpPr>
          <p:cNvPr id="37" name="TextBox 36"/>
          <p:cNvSpPr txBox="1"/>
          <p:nvPr>
            <p:custDataLst>
              <p:tags r:id="rId6"/>
            </p:custDataLst>
          </p:nvPr>
        </p:nvSpPr>
        <p:spPr>
          <a:xfrm>
            <a:off x="5201844" y="1181629"/>
            <a:ext cx="2923451" cy="346249"/>
          </a:xfrm>
          <a:prstGeom prst="rect">
            <a:avLst/>
          </a:prstGeom>
          <a:noFill/>
        </p:spPr>
        <p:txBody>
          <a:bodyPr wrap="square" lIns="68586" tIns="34294" rIns="68586" bIns="34294" rtlCol="0">
            <a:spAutoFit/>
          </a:bodyPr>
          <a:lstStyle/>
          <a:p>
            <a:pPr algn="ctr">
              <a:buSzPct val="90000"/>
            </a:pPr>
            <a:r>
              <a:rPr lang="en-US" sz="1800" dirty="0">
                <a:solidFill>
                  <a:schemeClr val="tx1">
                    <a:alpha val="99000"/>
                  </a:schemeClr>
                </a:solidFill>
              </a:rPr>
              <a:t>Hiding &amp; Detecting</a:t>
            </a:r>
          </a:p>
        </p:txBody>
      </p:sp>
      <p:sp>
        <p:nvSpPr>
          <p:cNvPr id="19" name="Rectangle 18"/>
          <p:cNvSpPr/>
          <p:nvPr>
            <p:custDataLst>
              <p:tags r:id="rId7"/>
            </p:custDataLst>
          </p:nvPr>
        </p:nvSpPr>
        <p:spPr bwMode="auto">
          <a:xfrm>
            <a:off x="1071983" y="2147543"/>
            <a:ext cx="1099092" cy="768096"/>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ln>
                <a:solidFill>
                  <a:schemeClr val="tx1">
                    <a:alpha val="99000"/>
                  </a:schemeClr>
                </a:solidFill>
              </a:ln>
              <a:solidFill>
                <a:srgbClr val="FFFFFF">
                  <a:alpha val="98824"/>
                </a:srgbClr>
              </a:solidFill>
              <a:latin typeface="Segoe UI" pitchFamily="34" charset="0"/>
              <a:ea typeface="Segoe UI" pitchFamily="34" charset="0"/>
              <a:cs typeface="Segoe UI" pitchFamily="34" charset="0"/>
            </a:endParaRPr>
          </a:p>
        </p:txBody>
      </p:sp>
      <p:sp>
        <p:nvSpPr>
          <p:cNvPr id="27" name="Rectangle 26"/>
          <p:cNvSpPr/>
          <p:nvPr>
            <p:custDataLst>
              <p:tags r:id="rId8"/>
            </p:custDataLst>
          </p:nvPr>
        </p:nvSpPr>
        <p:spPr bwMode="auto">
          <a:xfrm>
            <a:off x="4123769" y="2147543"/>
            <a:ext cx="2681834" cy="768096"/>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ln>
                <a:solidFill>
                  <a:schemeClr val="tx1">
                    <a:alpha val="99000"/>
                  </a:schemeClr>
                </a:solidFill>
              </a:ln>
              <a:solidFill>
                <a:srgbClr val="FFFFFF">
                  <a:alpha val="98824"/>
                </a:srgbClr>
              </a:solidFill>
              <a:latin typeface="Segoe UI" pitchFamily="34" charset="0"/>
              <a:ea typeface="Segoe UI" pitchFamily="34" charset="0"/>
              <a:cs typeface="Segoe UI" pitchFamily="34" charset="0"/>
            </a:endParaRPr>
          </a:p>
        </p:txBody>
      </p:sp>
      <p:sp>
        <p:nvSpPr>
          <p:cNvPr id="32" name="TextBox 31"/>
          <p:cNvSpPr txBox="1"/>
          <p:nvPr>
            <p:custDataLst>
              <p:tags r:id="rId9"/>
            </p:custDataLst>
          </p:nvPr>
        </p:nvSpPr>
        <p:spPr>
          <a:xfrm>
            <a:off x="1405917" y="2323843"/>
            <a:ext cx="431227" cy="415499"/>
          </a:xfrm>
          <a:prstGeom prst="rect">
            <a:avLst/>
          </a:prstGeom>
          <a:noFill/>
        </p:spPr>
        <p:txBody>
          <a:bodyPr wrap="square" lIns="68586" tIns="68586" rIns="68586" bIns="68586" rtlCol="0">
            <a:spAutoFit/>
          </a:bodyPr>
          <a:lstStyle/>
          <a:p>
            <a:pPr algn="ctr">
              <a:buSzPct val="90000"/>
            </a:pPr>
            <a:r>
              <a:rPr lang="en-US" sz="1800" dirty="0">
                <a:solidFill>
                  <a:schemeClr val="tx1">
                    <a:alpha val="99000"/>
                  </a:schemeClr>
                </a:solidFill>
              </a:rPr>
              <a:t>1</a:t>
            </a:r>
          </a:p>
        </p:txBody>
      </p:sp>
      <p:sp>
        <p:nvSpPr>
          <p:cNvPr id="34" name="Rectangle 33"/>
          <p:cNvSpPr/>
          <p:nvPr>
            <p:custDataLst>
              <p:tags r:id="rId10"/>
            </p:custDataLst>
          </p:nvPr>
        </p:nvSpPr>
        <p:spPr bwMode="auto">
          <a:xfrm>
            <a:off x="2224068" y="2147543"/>
            <a:ext cx="1846706" cy="768096"/>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ln>
                <a:solidFill>
                  <a:schemeClr val="tx1">
                    <a:alpha val="99000"/>
                  </a:schemeClr>
                </a:solidFill>
              </a:ln>
              <a:solidFill>
                <a:srgbClr val="FFFFFF">
                  <a:alpha val="98824"/>
                </a:srgbClr>
              </a:solidFill>
              <a:latin typeface="Segoe UI" pitchFamily="34" charset="0"/>
              <a:ea typeface="Segoe UI" pitchFamily="34" charset="0"/>
              <a:cs typeface="Segoe UI" pitchFamily="34" charset="0"/>
            </a:endParaRPr>
          </a:p>
        </p:txBody>
      </p:sp>
      <p:sp>
        <p:nvSpPr>
          <p:cNvPr id="35" name="Rectangle 34"/>
          <p:cNvSpPr/>
          <p:nvPr>
            <p:custDataLst>
              <p:tags r:id="rId11"/>
            </p:custDataLst>
          </p:nvPr>
        </p:nvSpPr>
        <p:spPr bwMode="auto">
          <a:xfrm>
            <a:off x="6858595" y="2147543"/>
            <a:ext cx="1099092" cy="76809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ln>
                <a:solidFill>
                  <a:schemeClr val="tx1">
                    <a:alpha val="99000"/>
                  </a:schemeClr>
                </a:solidFill>
              </a:ln>
              <a:solidFill>
                <a:srgbClr val="FFFFFF">
                  <a:alpha val="98824"/>
                </a:srgbClr>
              </a:solidFill>
              <a:latin typeface="Segoe UI" pitchFamily="34" charset="0"/>
              <a:ea typeface="Segoe UI" pitchFamily="34" charset="0"/>
              <a:cs typeface="Segoe UI" pitchFamily="34" charset="0"/>
            </a:endParaRPr>
          </a:p>
        </p:txBody>
      </p:sp>
      <p:sp>
        <p:nvSpPr>
          <p:cNvPr id="38" name="TextBox 37"/>
          <p:cNvSpPr txBox="1"/>
          <p:nvPr>
            <p:custDataLst>
              <p:tags r:id="rId12"/>
            </p:custDataLst>
          </p:nvPr>
        </p:nvSpPr>
        <p:spPr>
          <a:xfrm>
            <a:off x="2931809" y="2323843"/>
            <a:ext cx="431227" cy="415499"/>
          </a:xfrm>
          <a:prstGeom prst="rect">
            <a:avLst/>
          </a:prstGeom>
          <a:noFill/>
        </p:spPr>
        <p:txBody>
          <a:bodyPr wrap="square" lIns="68586" tIns="68586" rIns="68586" bIns="68586" rtlCol="0">
            <a:spAutoFit/>
          </a:bodyPr>
          <a:lstStyle/>
          <a:p>
            <a:pPr algn="ctr">
              <a:buSzPct val="90000"/>
            </a:pPr>
            <a:r>
              <a:rPr lang="en-US" sz="1800" dirty="0">
                <a:solidFill>
                  <a:schemeClr val="tx1">
                    <a:alpha val="99000"/>
                  </a:schemeClr>
                </a:solidFill>
              </a:rPr>
              <a:t>2</a:t>
            </a:r>
          </a:p>
        </p:txBody>
      </p:sp>
      <p:sp>
        <p:nvSpPr>
          <p:cNvPr id="39" name="TextBox 38"/>
          <p:cNvSpPr txBox="1"/>
          <p:nvPr>
            <p:custDataLst>
              <p:tags r:id="rId13"/>
            </p:custDataLst>
          </p:nvPr>
        </p:nvSpPr>
        <p:spPr>
          <a:xfrm>
            <a:off x="5249073" y="2323843"/>
            <a:ext cx="431227" cy="415499"/>
          </a:xfrm>
          <a:prstGeom prst="rect">
            <a:avLst/>
          </a:prstGeom>
          <a:noFill/>
        </p:spPr>
        <p:txBody>
          <a:bodyPr wrap="square" lIns="68586" tIns="68586" rIns="68586" bIns="68586" rtlCol="0">
            <a:spAutoFit/>
          </a:bodyPr>
          <a:lstStyle/>
          <a:p>
            <a:pPr algn="ctr">
              <a:buSzPct val="90000"/>
            </a:pPr>
            <a:r>
              <a:rPr lang="en-US" sz="1800" dirty="0">
                <a:solidFill>
                  <a:schemeClr val="tx1">
                    <a:alpha val="99000"/>
                  </a:schemeClr>
                </a:solidFill>
              </a:rPr>
              <a:t>3</a:t>
            </a:r>
          </a:p>
        </p:txBody>
      </p:sp>
      <p:sp>
        <p:nvSpPr>
          <p:cNvPr id="40" name="TextBox 39"/>
          <p:cNvSpPr txBox="1"/>
          <p:nvPr>
            <p:custDataLst>
              <p:tags r:id="rId14"/>
            </p:custDataLst>
          </p:nvPr>
        </p:nvSpPr>
        <p:spPr>
          <a:xfrm>
            <a:off x="7192528" y="2323843"/>
            <a:ext cx="431227" cy="415499"/>
          </a:xfrm>
          <a:prstGeom prst="rect">
            <a:avLst/>
          </a:prstGeom>
          <a:noFill/>
        </p:spPr>
        <p:txBody>
          <a:bodyPr wrap="square" lIns="68586" tIns="68586" rIns="68586" bIns="68586" rtlCol="0">
            <a:spAutoFit/>
          </a:bodyPr>
          <a:lstStyle/>
          <a:p>
            <a:pPr algn="ctr">
              <a:buSzPct val="90000"/>
            </a:pPr>
            <a:r>
              <a:rPr lang="en-US" sz="1800" dirty="0">
                <a:solidFill>
                  <a:schemeClr val="tx1">
                    <a:alpha val="99000"/>
                  </a:schemeClr>
                </a:solidFill>
              </a:rPr>
              <a:t>4</a:t>
            </a:r>
          </a:p>
        </p:txBody>
      </p:sp>
      <p:sp>
        <p:nvSpPr>
          <p:cNvPr id="42" name="TextBox 41"/>
          <p:cNvSpPr txBox="1"/>
          <p:nvPr>
            <p:custDataLst>
              <p:tags r:id="rId15"/>
            </p:custDataLst>
          </p:nvPr>
        </p:nvSpPr>
        <p:spPr>
          <a:xfrm>
            <a:off x="793686" y="3477711"/>
            <a:ext cx="3389401" cy="45546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400" dirty="0">
              <a:ln>
                <a:solidFill>
                  <a:schemeClr val="tx1">
                    <a:alpha val="99000"/>
                  </a:schemeClr>
                </a:solidFill>
              </a:ln>
              <a:solidFill>
                <a:schemeClr val="tx1">
                  <a:alpha val="99000"/>
                </a:schemeClr>
              </a:solidFill>
            </a:endParaRPr>
          </a:p>
        </p:txBody>
      </p:sp>
      <p:sp>
        <p:nvSpPr>
          <p:cNvPr id="43" name="TextBox 42"/>
          <p:cNvSpPr txBox="1"/>
          <p:nvPr>
            <p:custDataLst>
              <p:tags r:id="rId16"/>
            </p:custDataLst>
          </p:nvPr>
        </p:nvSpPr>
        <p:spPr>
          <a:xfrm>
            <a:off x="1076900" y="3532318"/>
            <a:ext cx="2923451" cy="346249"/>
          </a:xfrm>
          <a:prstGeom prst="rect">
            <a:avLst/>
          </a:prstGeom>
          <a:noFill/>
        </p:spPr>
        <p:txBody>
          <a:bodyPr wrap="square" lIns="68586" tIns="34294" rIns="68586" bIns="34294" rtlCol="0">
            <a:spAutoFit/>
          </a:bodyPr>
          <a:lstStyle/>
          <a:p>
            <a:pPr algn="ctr">
              <a:buSzPct val="90000"/>
            </a:pPr>
            <a:r>
              <a:rPr lang="en-US" sz="1800" dirty="0">
                <a:solidFill>
                  <a:schemeClr val="tx1">
                    <a:alpha val="99000"/>
                  </a:schemeClr>
                </a:solidFill>
              </a:rPr>
              <a:t>Delivery &amp; Launch</a:t>
            </a:r>
          </a:p>
        </p:txBody>
      </p:sp>
      <p:sp>
        <p:nvSpPr>
          <p:cNvPr id="44" name="TextBox 43"/>
          <p:cNvSpPr txBox="1"/>
          <p:nvPr>
            <p:custDataLst>
              <p:tags r:id="rId17"/>
            </p:custDataLst>
          </p:nvPr>
        </p:nvSpPr>
        <p:spPr>
          <a:xfrm>
            <a:off x="4965857" y="3477711"/>
            <a:ext cx="3389401" cy="45546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400" dirty="0">
              <a:ln>
                <a:solidFill>
                  <a:schemeClr val="tx1">
                    <a:alpha val="99000"/>
                  </a:schemeClr>
                </a:solidFill>
              </a:ln>
              <a:solidFill>
                <a:schemeClr val="tx1">
                  <a:alpha val="99000"/>
                </a:schemeClr>
              </a:solidFill>
            </a:endParaRPr>
          </a:p>
        </p:txBody>
      </p:sp>
      <p:sp>
        <p:nvSpPr>
          <p:cNvPr id="45" name="TextBox 44"/>
          <p:cNvSpPr txBox="1"/>
          <p:nvPr>
            <p:custDataLst>
              <p:tags r:id="rId18"/>
            </p:custDataLst>
          </p:nvPr>
        </p:nvSpPr>
        <p:spPr>
          <a:xfrm>
            <a:off x="5249071" y="3532318"/>
            <a:ext cx="2923451" cy="346249"/>
          </a:xfrm>
          <a:prstGeom prst="rect">
            <a:avLst/>
          </a:prstGeom>
          <a:noFill/>
        </p:spPr>
        <p:txBody>
          <a:bodyPr wrap="square" lIns="68586" tIns="34294" rIns="68586" bIns="34294" rtlCol="0">
            <a:spAutoFit/>
          </a:bodyPr>
          <a:lstStyle/>
          <a:p>
            <a:pPr algn="ctr">
              <a:buSzPct val="90000"/>
            </a:pPr>
            <a:r>
              <a:rPr lang="en-US" sz="1800" dirty="0">
                <a:solidFill>
                  <a:schemeClr val="tx1">
                    <a:alpha val="99000"/>
                  </a:schemeClr>
                </a:solidFill>
              </a:rPr>
              <a:t>Summary </a:t>
            </a:r>
          </a:p>
        </p:txBody>
      </p:sp>
      <p:sp>
        <p:nvSpPr>
          <p:cNvPr id="23" name="Right Triangle 22"/>
          <p:cNvSpPr/>
          <p:nvPr>
            <p:custDataLst>
              <p:tags r:id="rId19"/>
            </p:custDataLst>
          </p:nvPr>
        </p:nvSpPr>
        <p:spPr bwMode="auto">
          <a:xfrm rot="10800000" flipV="1">
            <a:off x="5514149" y="1669790"/>
            <a:ext cx="332298" cy="477755"/>
          </a:xfrm>
          <a:prstGeom prst="rtTriangle">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dirty="0">
              <a:ln>
                <a:solidFill>
                  <a:schemeClr val="tx1">
                    <a:alpha val="99000"/>
                  </a:schemeClr>
                </a:solidFill>
              </a:ln>
              <a:solidFill>
                <a:schemeClr val="tx1">
                  <a:alpha val="99000"/>
                </a:schemeClr>
              </a:solidFill>
              <a:latin typeface="Segoe UI" pitchFamily="34" charset="0"/>
              <a:ea typeface="Segoe UI" pitchFamily="34" charset="0"/>
              <a:cs typeface="Segoe UI" pitchFamily="34" charset="0"/>
            </a:endParaRPr>
          </a:p>
        </p:txBody>
      </p:sp>
      <p:sp>
        <p:nvSpPr>
          <p:cNvPr id="24" name="Right Triangle 23"/>
          <p:cNvSpPr/>
          <p:nvPr>
            <p:custDataLst>
              <p:tags r:id="rId20"/>
            </p:custDataLst>
          </p:nvPr>
        </p:nvSpPr>
        <p:spPr bwMode="auto">
          <a:xfrm flipV="1">
            <a:off x="2931808" y="2915641"/>
            <a:ext cx="332298" cy="477755"/>
          </a:xfrm>
          <a:prstGeom prst="rtTriangle">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dirty="0">
              <a:ln>
                <a:solidFill>
                  <a:schemeClr val="tx1">
                    <a:alpha val="99000"/>
                  </a:schemeClr>
                </a:solidFill>
              </a:ln>
              <a:solidFill>
                <a:schemeClr val="tx1">
                  <a:alpha val="99000"/>
                </a:schemeClr>
              </a:solidFill>
              <a:latin typeface="Segoe UI" pitchFamily="34" charset="0"/>
              <a:ea typeface="Segoe UI" pitchFamily="34" charset="0"/>
              <a:cs typeface="Segoe UI" pitchFamily="34" charset="0"/>
            </a:endParaRPr>
          </a:p>
        </p:txBody>
      </p:sp>
      <p:sp>
        <p:nvSpPr>
          <p:cNvPr id="25" name="Right Triangle 24"/>
          <p:cNvSpPr/>
          <p:nvPr>
            <p:custDataLst>
              <p:tags r:id="rId21"/>
            </p:custDataLst>
          </p:nvPr>
        </p:nvSpPr>
        <p:spPr bwMode="auto">
          <a:xfrm flipV="1">
            <a:off x="7297065" y="2915641"/>
            <a:ext cx="332298" cy="477755"/>
          </a:xfrm>
          <a:prstGeom prst="rtTriangle">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dirty="0">
              <a:ln>
                <a:solidFill>
                  <a:schemeClr val="tx1">
                    <a:alpha val="99000"/>
                  </a:schemeClr>
                </a:solidFill>
              </a:ln>
              <a:solidFill>
                <a:schemeClr val="tx1">
                  <a:alpha val="99000"/>
                </a:schemeClr>
              </a:solidFill>
              <a:latin typeface="Segoe UI" pitchFamily="34" charset="0"/>
              <a:ea typeface="Segoe UI" pitchFamily="34" charset="0"/>
              <a:cs typeface="Segoe UI" pitchFamily="34" charset="0"/>
            </a:endParaRPr>
          </a:p>
        </p:txBody>
      </p:sp>
      <p:sp>
        <p:nvSpPr>
          <p:cNvPr id="26"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9"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4"/>
              </a:rPr>
              <a:t>www.rapidbbs.cn</a:t>
            </a:r>
            <a:endParaRPr lang="zh-CN" altLang="en-US" sz="1200" b="0">
              <a:latin typeface="Arial" charset="0"/>
              <a:ea typeface="ＭＳ Ｐゴシック" pitchFamily="34" charset="-128"/>
            </a:endParaRPr>
          </a:p>
        </p:txBody>
      </p:sp>
      <p:pic>
        <p:nvPicPr>
          <p:cNvPr id="30" name="Picture 2">
            <a:hlinkClick r:id="rId24"/>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14903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en-US" dirty="0" smtClean="0"/>
              <a:t>Areas of Focus</a:t>
            </a:r>
            <a:endParaRPr lang="en-US" dirty="0"/>
          </a:p>
        </p:txBody>
      </p:sp>
      <p:sp>
        <p:nvSpPr>
          <p:cNvPr id="4" name="Freeform 13"/>
          <p:cNvSpPr>
            <a:spLocks noEditPoints="1"/>
          </p:cNvSpPr>
          <p:nvPr>
            <p:custDataLst>
              <p:tags r:id="rId2"/>
            </p:custDataLst>
          </p:nvPr>
        </p:nvSpPr>
        <p:spPr bwMode="auto">
          <a:xfrm>
            <a:off x="7374272" y="1085850"/>
            <a:ext cx="1370767" cy="2526686"/>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6" name="Rectangle 5"/>
          <p:cNvSpPr/>
          <p:nvPr>
            <p:custDataLst>
              <p:tags r:id="rId3"/>
            </p:custDataLst>
          </p:nvPr>
        </p:nvSpPr>
        <p:spPr bwMode="auto">
          <a:xfrm>
            <a:off x="378068" y="1085850"/>
            <a:ext cx="6667505" cy="89154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7" name="TextBox 6"/>
          <p:cNvSpPr txBox="1"/>
          <p:nvPr>
            <p:custDataLst>
              <p:tags r:id="rId4"/>
            </p:custDataLst>
          </p:nvPr>
        </p:nvSpPr>
        <p:spPr>
          <a:xfrm>
            <a:off x="378067" y="1085851"/>
            <a:ext cx="6641396" cy="863313"/>
          </a:xfrm>
          <a:prstGeom prst="rect">
            <a:avLst/>
          </a:prstGeom>
          <a:noFill/>
        </p:spPr>
        <p:txBody>
          <a:bodyPr wrap="square" lIns="137172" tIns="68586" rIns="68586" bIns="68586" rtlCol="0">
            <a:spAutoFit/>
          </a:bodyPr>
          <a:lstStyle/>
          <a:p>
            <a:pPr marL="11908" lvl="1">
              <a:spcBef>
                <a:spcPts val="600"/>
              </a:spcBef>
              <a:buSzPct val="90000"/>
            </a:pPr>
            <a:r>
              <a:rPr lang="en-US" sz="2400" dirty="0">
                <a:solidFill>
                  <a:schemeClr val="tx1">
                    <a:alpha val="99000"/>
                  </a:schemeClr>
                </a:solidFill>
              </a:rPr>
              <a:t>Problem: </a:t>
            </a:r>
          </a:p>
          <a:p>
            <a:pPr marL="342931" lvl="1" indent="-342931">
              <a:spcBef>
                <a:spcPts val="300"/>
              </a:spcBef>
              <a:buSzPct val="90000"/>
              <a:buBlip>
                <a:blip r:embed="rId11"/>
              </a:buBlip>
            </a:pPr>
            <a:r>
              <a:rPr lang="en-US" sz="2100" dirty="0">
                <a:solidFill>
                  <a:schemeClr val="tx1">
                    <a:alpha val="99000"/>
                  </a:schemeClr>
                </a:solidFill>
              </a:rPr>
              <a:t>Too much information to control</a:t>
            </a:r>
          </a:p>
        </p:txBody>
      </p:sp>
      <p:sp>
        <p:nvSpPr>
          <p:cNvPr id="8" name="Rectangle 7"/>
          <p:cNvSpPr/>
          <p:nvPr>
            <p:custDataLst>
              <p:tags r:id="rId5"/>
            </p:custDataLst>
          </p:nvPr>
        </p:nvSpPr>
        <p:spPr bwMode="auto">
          <a:xfrm>
            <a:off x="405459" y="2114550"/>
            <a:ext cx="6641396" cy="211455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9" name="TextBox 8"/>
          <p:cNvSpPr txBox="1"/>
          <p:nvPr>
            <p:custDataLst>
              <p:tags r:id="rId6"/>
            </p:custDataLst>
          </p:nvPr>
        </p:nvSpPr>
        <p:spPr>
          <a:xfrm>
            <a:off x="378068" y="2114550"/>
            <a:ext cx="6667505" cy="2000250"/>
          </a:xfrm>
          <a:prstGeom prst="rect">
            <a:avLst/>
          </a:prstGeom>
          <a:noFill/>
        </p:spPr>
        <p:txBody>
          <a:bodyPr wrap="square" lIns="137172" tIns="68586" rIns="68586" bIns="68586" rtlCol="0">
            <a:noAutofit/>
          </a:bodyPr>
          <a:lstStyle/>
          <a:p>
            <a:pPr marL="11908" lvl="1">
              <a:spcBef>
                <a:spcPts val="600"/>
              </a:spcBef>
              <a:buSzPct val="90000"/>
            </a:pPr>
            <a:r>
              <a:rPr lang="en-US" sz="2400" dirty="0">
                <a:solidFill>
                  <a:schemeClr val="tx1">
                    <a:alpha val="99000"/>
                  </a:schemeClr>
                </a:solidFill>
              </a:rPr>
              <a:t>Solution: </a:t>
            </a:r>
          </a:p>
          <a:p>
            <a:pPr marL="342931" lvl="1" indent="-342931">
              <a:spcBef>
                <a:spcPts val="300"/>
              </a:spcBef>
              <a:buSzPct val="90000"/>
              <a:buBlip>
                <a:blip r:embed="rId11"/>
              </a:buBlip>
            </a:pPr>
            <a:r>
              <a:rPr lang="en-US" sz="2100" dirty="0">
                <a:solidFill>
                  <a:schemeClr val="tx1">
                    <a:alpha val="99000"/>
                  </a:schemeClr>
                </a:solidFill>
              </a:rPr>
              <a:t>Select areas with high probability of infection</a:t>
            </a:r>
          </a:p>
          <a:p>
            <a:pPr marL="685862" lvl="1" indent="-342931">
              <a:spcBef>
                <a:spcPts val="150"/>
              </a:spcBef>
              <a:buSzPct val="90000"/>
              <a:buBlip>
                <a:blip r:embed="rId11"/>
              </a:buBlip>
            </a:pPr>
            <a:r>
              <a:rPr lang="en-US" sz="1800" dirty="0">
                <a:solidFill>
                  <a:schemeClr val="tx1">
                    <a:alpha val="99000"/>
                  </a:schemeClr>
                </a:solidFill>
              </a:rPr>
              <a:t>DLLs</a:t>
            </a:r>
          </a:p>
          <a:p>
            <a:pPr marL="685862" lvl="1" indent="-342931">
              <a:spcBef>
                <a:spcPts val="150"/>
              </a:spcBef>
              <a:buSzPct val="90000"/>
              <a:buBlip>
                <a:blip r:embed="rId11"/>
              </a:buBlip>
            </a:pPr>
            <a:r>
              <a:rPr lang="en-US" sz="1800" dirty="0">
                <a:solidFill>
                  <a:schemeClr val="tx1">
                    <a:alpha val="99000"/>
                  </a:schemeClr>
                </a:solidFill>
              </a:rPr>
              <a:t>Services</a:t>
            </a:r>
          </a:p>
          <a:p>
            <a:pPr marL="685862" lvl="1" indent="-342931">
              <a:spcBef>
                <a:spcPts val="150"/>
              </a:spcBef>
              <a:buSzPct val="90000"/>
              <a:buBlip>
                <a:blip r:embed="rId11"/>
              </a:buBlip>
            </a:pPr>
            <a:r>
              <a:rPr lang="en-US" sz="1800" dirty="0" err="1">
                <a:solidFill>
                  <a:schemeClr val="tx1">
                    <a:alpha val="99000"/>
                  </a:schemeClr>
                </a:solidFill>
              </a:rPr>
              <a:t>Executables</a:t>
            </a:r>
            <a:endParaRPr lang="en-US" sz="1800" dirty="0">
              <a:solidFill>
                <a:schemeClr val="tx1">
                  <a:alpha val="99000"/>
                </a:schemeClr>
              </a:solidFill>
            </a:endParaRPr>
          </a:p>
          <a:p>
            <a:pPr marL="685862" lvl="1" indent="-342931">
              <a:spcBef>
                <a:spcPts val="150"/>
              </a:spcBef>
              <a:buSzPct val="90000"/>
              <a:buBlip>
                <a:blip r:embed="rId11"/>
              </a:buBlip>
            </a:pPr>
            <a:r>
              <a:rPr lang="en-US" sz="1800" dirty="0">
                <a:solidFill>
                  <a:schemeClr val="tx1">
                    <a:alpha val="99000"/>
                  </a:schemeClr>
                </a:solidFill>
              </a:rPr>
              <a:t>Drivers</a:t>
            </a:r>
          </a:p>
        </p:txBody>
      </p:sp>
      <p:sp>
        <p:nvSpPr>
          <p:cNvPr id="10" name="Rectangle 9"/>
          <p:cNvSpPr/>
          <p:nvPr>
            <p:custDataLst>
              <p:tags r:id="rId7"/>
            </p:custDataLst>
          </p:nvPr>
        </p:nvSpPr>
        <p:spPr bwMode="auto">
          <a:xfrm>
            <a:off x="405459" y="4366260"/>
            <a:ext cx="6641396" cy="54864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11" name="TextBox 10"/>
          <p:cNvSpPr txBox="1"/>
          <p:nvPr>
            <p:custDataLst>
              <p:tags r:id="rId8"/>
            </p:custDataLst>
          </p:nvPr>
        </p:nvSpPr>
        <p:spPr>
          <a:xfrm>
            <a:off x="405459" y="4409749"/>
            <a:ext cx="6641396" cy="461665"/>
          </a:xfrm>
          <a:prstGeom prst="rect">
            <a:avLst/>
          </a:prstGeom>
          <a:noFill/>
        </p:spPr>
        <p:txBody>
          <a:bodyPr wrap="square" lIns="137172" tIns="68586" rIns="68586" bIns="68586" rtlCol="0">
            <a:spAutoFit/>
          </a:bodyPr>
          <a:lstStyle/>
          <a:p>
            <a:pPr marL="342931" lvl="1" indent="-342931">
              <a:spcBef>
                <a:spcPts val="300"/>
              </a:spcBef>
              <a:buSzPct val="90000"/>
              <a:buBlip>
                <a:blip r:embed="rId11"/>
              </a:buBlip>
            </a:pPr>
            <a:r>
              <a:rPr lang="en-US" sz="2100" dirty="0">
                <a:solidFill>
                  <a:schemeClr val="tx1">
                    <a:alpha val="99000"/>
                  </a:schemeClr>
                </a:solidFill>
              </a:rPr>
              <a:t>This attitude works as a first step</a:t>
            </a:r>
          </a:p>
        </p:txBody>
      </p:sp>
      <p:sp>
        <p:nvSpPr>
          <p:cNvPr id="12"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3"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2"/>
              </a:rPr>
              <a:t>www.rapidbbs.cn</a:t>
            </a:r>
            <a:endParaRPr lang="zh-CN" altLang="en-US" sz="1200" b="0">
              <a:latin typeface="Arial" charset="0"/>
              <a:ea typeface="ＭＳ Ｐゴシック" pitchFamily="34" charset="-128"/>
            </a:endParaRPr>
          </a:p>
        </p:txBody>
      </p:sp>
      <p:pic>
        <p:nvPicPr>
          <p:cNvPr id="14" name="Picture 2">
            <a:hlinkClick r:id="rId12"/>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61735202"/>
      </p:ext>
    </p:extLst>
  </p:cSld>
  <p:clrMapOvr>
    <a:masterClrMapping/>
  </p:clrMapOvr>
  <p:transition>
    <p:fade/>
  </p:transition>
  <p:timing>
    <p:tnLst>
      <p:par>
        <p:cTn id="1" dur="indefinite" restart="never" nodeType="tmRoot"/>
      </p:par>
    </p:tnLst>
  </p:timing>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Edition and Device Considerations</a:t>
            </a:r>
            <a:endParaRPr lang="en-US" dirty="0"/>
          </a:p>
        </p:txBody>
      </p:sp>
      <p:sp>
        <p:nvSpPr>
          <p:cNvPr id="4" name="Freeform 7"/>
          <p:cNvSpPr>
            <a:spLocks noChangeAspect="1" noEditPoints="1"/>
          </p:cNvSpPr>
          <p:nvPr/>
        </p:nvSpPr>
        <p:spPr bwMode="auto">
          <a:xfrm>
            <a:off x="1794025" y="967380"/>
            <a:ext cx="1137518" cy="835643"/>
          </a:xfrm>
          <a:custGeom>
            <a:avLst/>
            <a:gdLst>
              <a:gd name="T0" fmla="*/ 16 w 1389"/>
              <a:gd name="T1" fmla="*/ 0 h 878"/>
              <a:gd name="T2" fmla="*/ 0 w 1389"/>
              <a:gd name="T3" fmla="*/ 332 h 878"/>
              <a:gd name="T4" fmla="*/ 0 w 1389"/>
              <a:gd name="T5" fmla="*/ 788 h 878"/>
              <a:gd name="T6" fmla="*/ 198 w 1389"/>
              <a:gd name="T7" fmla="*/ 802 h 878"/>
              <a:gd name="T8" fmla="*/ 647 w 1389"/>
              <a:gd name="T9" fmla="*/ 803 h 878"/>
              <a:gd name="T10" fmla="*/ 647 w 1389"/>
              <a:gd name="T11" fmla="*/ 826 h 878"/>
              <a:gd name="T12" fmla="*/ 355 w 1389"/>
              <a:gd name="T13" fmla="*/ 840 h 878"/>
              <a:gd name="T14" fmla="*/ 345 w 1389"/>
              <a:gd name="T15" fmla="*/ 878 h 878"/>
              <a:gd name="T16" fmla="*/ 1039 w 1389"/>
              <a:gd name="T17" fmla="*/ 864 h 878"/>
              <a:gd name="T18" fmla="*/ 1000 w 1389"/>
              <a:gd name="T19" fmla="*/ 826 h 878"/>
              <a:gd name="T20" fmla="*/ 721 w 1389"/>
              <a:gd name="T21" fmla="*/ 804 h 878"/>
              <a:gd name="T22" fmla="*/ 1374 w 1389"/>
              <a:gd name="T23" fmla="*/ 803 h 878"/>
              <a:gd name="T24" fmla="*/ 1389 w 1389"/>
              <a:gd name="T25" fmla="*/ 14 h 878"/>
              <a:gd name="T26" fmla="*/ 1126 w 1389"/>
              <a:gd name="T27" fmla="*/ 781 h 878"/>
              <a:gd name="T28" fmla="*/ 1107 w 1389"/>
              <a:gd name="T29" fmla="*/ 778 h 878"/>
              <a:gd name="T30" fmla="*/ 1126 w 1389"/>
              <a:gd name="T31" fmla="*/ 774 h 878"/>
              <a:gd name="T32" fmla="*/ 1126 w 1389"/>
              <a:gd name="T33" fmla="*/ 781 h 878"/>
              <a:gd name="T34" fmla="*/ 1144 w 1389"/>
              <a:gd name="T35" fmla="*/ 781 h 878"/>
              <a:gd name="T36" fmla="*/ 1144 w 1389"/>
              <a:gd name="T37" fmla="*/ 774 h 878"/>
              <a:gd name="T38" fmla="*/ 1164 w 1389"/>
              <a:gd name="T39" fmla="*/ 778 h 878"/>
              <a:gd name="T40" fmla="*/ 1194 w 1389"/>
              <a:gd name="T41" fmla="*/ 781 h 878"/>
              <a:gd name="T42" fmla="*/ 1174 w 1389"/>
              <a:gd name="T43" fmla="*/ 778 h 878"/>
              <a:gd name="T44" fmla="*/ 1194 w 1389"/>
              <a:gd name="T45" fmla="*/ 774 h 878"/>
              <a:gd name="T46" fmla="*/ 1194 w 1389"/>
              <a:gd name="T47" fmla="*/ 781 h 878"/>
              <a:gd name="T48" fmla="*/ 1211 w 1389"/>
              <a:gd name="T49" fmla="*/ 781 h 878"/>
              <a:gd name="T50" fmla="*/ 1211 w 1389"/>
              <a:gd name="T51" fmla="*/ 774 h 878"/>
              <a:gd name="T52" fmla="*/ 1231 w 1389"/>
              <a:gd name="T53" fmla="*/ 778 h 878"/>
              <a:gd name="T54" fmla="*/ 1261 w 1389"/>
              <a:gd name="T55" fmla="*/ 781 h 878"/>
              <a:gd name="T56" fmla="*/ 1241 w 1389"/>
              <a:gd name="T57" fmla="*/ 778 h 878"/>
              <a:gd name="T58" fmla="*/ 1261 w 1389"/>
              <a:gd name="T59" fmla="*/ 774 h 878"/>
              <a:gd name="T60" fmla="*/ 1261 w 1389"/>
              <a:gd name="T61" fmla="*/ 781 h 878"/>
              <a:gd name="T62" fmla="*/ 1278 w 1389"/>
              <a:gd name="T63" fmla="*/ 781 h 878"/>
              <a:gd name="T64" fmla="*/ 1278 w 1389"/>
              <a:gd name="T65" fmla="*/ 774 h 878"/>
              <a:gd name="T66" fmla="*/ 1298 w 1389"/>
              <a:gd name="T67" fmla="*/ 778 h 878"/>
              <a:gd name="T68" fmla="*/ 1316 w 1389"/>
              <a:gd name="T69" fmla="*/ 787 h 878"/>
              <a:gd name="T70" fmla="*/ 1316 w 1389"/>
              <a:gd name="T71" fmla="*/ 768 h 878"/>
              <a:gd name="T72" fmla="*/ 1316 w 1389"/>
              <a:gd name="T73" fmla="*/ 787 h 878"/>
              <a:gd name="T74" fmla="*/ 1326 w 1389"/>
              <a:gd name="T75" fmla="*/ 754 h 878"/>
              <a:gd name="T76" fmla="*/ 455 w 1389"/>
              <a:gd name="T77" fmla="*/ 754 h 878"/>
              <a:gd name="T78" fmla="*/ 49 w 1389"/>
              <a:gd name="T79" fmla="*/ 739 h 878"/>
              <a:gd name="T80" fmla="*/ 49 w 1389"/>
              <a:gd name="T81" fmla="*/ 332 h 878"/>
              <a:gd name="T82" fmla="*/ 64 w 1389"/>
              <a:gd name="T83" fmla="*/ 48 h 878"/>
              <a:gd name="T84" fmla="*/ 1340 w 1389"/>
              <a:gd name="T85" fmla="*/ 63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9" h="878">
                <a:moveTo>
                  <a:pt x="1374" y="0"/>
                </a:moveTo>
                <a:cubicBezTo>
                  <a:pt x="16" y="0"/>
                  <a:pt x="16" y="0"/>
                  <a:pt x="16" y="0"/>
                </a:cubicBezTo>
                <a:cubicBezTo>
                  <a:pt x="7" y="0"/>
                  <a:pt x="0" y="6"/>
                  <a:pt x="0" y="14"/>
                </a:cubicBezTo>
                <a:cubicBezTo>
                  <a:pt x="0" y="139"/>
                  <a:pt x="0" y="244"/>
                  <a:pt x="0" y="332"/>
                </a:cubicBezTo>
                <a:cubicBezTo>
                  <a:pt x="0" y="384"/>
                  <a:pt x="0" y="430"/>
                  <a:pt x="0" y="470"/>
                </a:cubicBezTo>
                <a:cubicBezTo>
                  <a:pt x="0" y="788"/>
                  <a:pt x="0" y="788"/>
                  <a:pt x="0" y="788"/>
                </a:cubicBezTo>
                <a:cubicBezTo>
                  <a:pt x="0" y="796"/>
                  <a:pt x="7" y="802"/>
                  <a:pt x="16" y="802"/>
                </a:cubicBezTo>
                <a:cubicBezTo>
                  <a:pt x="16" y="802"/>
                  <a:pt x="16" y="802"/>
                  <a:pt x="198" y="802"/>
                </a:cubicBezTo>
                <a:cubicBezTo>
                  <a:pt x="198" y="802"/>
                  <a:pt x="198" y="803"/>
                  <a:pt x="198" y="803"/>
                </a:cubicBezTo>
                <a:cubicBezTo>
                  <a:pt x="647" y="803"/>
                  <a:pt x="647" y="803"/>
                  <a:pt x="647" y="803"/>
                </a:cubicBezTo>
                <a:cubicBezTo>
                  <a:pt x="647" y="803"/>
                  <a:pt x="647" y="803"/>
                  <a:pt x="647" y="804"/>
                </a:cubicBezTo>
                <a:cubicBezTo>
                  <a:pt x="647" y="826"/>
                  <a:pt x="647" y="826"/>
                  <a:pt x="647" y="826"/>
                </a:cubicBezTo>
                <a:cubicBezTo>
                  <a:pt x="369" y="826"/>
                  <a:pt x="369" y="826"/>
                  <a:pt x="369" y="826"/>
                </a:cubicBezTo>
                <a:cubicBezTo>
                  <a:pt x="362" y="826"/>
                  <a:pt x="355" y="832"/>
                  <a:pt x="355" y="840"/>
                </a:cubicBezTo>
                <a:cubicBezTo>
                  <a:pt x="331" y="864"/>
                  <a:pt x="331" y="864"/>
                  <a:pt x="331" y="864"/>
                </a:cubicBezTo>
                <a:cubicBezTo>
                  <a:pt x="331" y="872"/>
                  <a:pt x="337" y="878"/>
                  <a:pt x="345" y="878"/>
                </a:cubicBezTo>
                <a:cubicBezTo>
                  <a:pt x="1024" y="878"/>
                  <a:pt x="1024" y="878"/>
                  <a:pt x="1024" y="878"/>
                </a:cubicBezTo>
                <a:cubicBezTo>
                  <a:pt x="1033" y="878"/>
                  <a:pt x="1039" y="872"/>
                  <a:pt x="1039" y="864"/>
                </a:cubicBezTo>
                <a:cubicBezTo>
                  <a:pt x="1015" y="840"/>
                  <a:pt x="1015" y="840"/>
                  <a:pt x="1015" y="840"/>
                </a:cubicBezTo>
                <a:cubicBezTo>
                  <a:pt x="1015" y="832"/>
                  <a:pt x="1009" y="826"/>
                  <a:pt x="1000" y="826"/>
                </a:cubicBezTo>
                <a:cubicBezTo>
                  <a:pt x="721" y="826"/>
                  <a:pt x="721" y="826"/>
                  <a:pt x="721" y="826"/>
                </a:cubicBezTo>
                <a:cubicBezTo>
                  <a:pt x="721" y="804"/>
                  <a:pt x="721" y="804"/>
                  <a:pt x="721" y="804"/>
                </a:cubicBezTo>
                <a:cubicBezTo>
                  <a:pt x="721" y="803"/>
                  <a:pt x="721" y="803"/>
                  <a:pt x="721" y="803"/>
                </a:cubicBezTo>
                <a:cubicBezTo>
                  <a:pt x="1374" y="803"/>
                  <a:pt x="1374" y="803"/>
                  <a:pt x="1374" y="803"/>
                </a:cubicBezTo>
                <a:cubicBezTo>
                  <a:pt x="1383" y="803"/>
                  <a:pt x="1389" y="797"/>
                  <a:pt x="1389" y="789"/>
                </a:cubicBezTo>
                <a:cubicBezTo>
                  <a:pt x="1389" y="14"/>
                  <a:pt x="1389" y="14"/>
                  <a:pt x="1389" y="14"/>
                </a:cubicBezTo>
                <a:cubicBezTo>
                  <a:pt x="1389" y="6"/>
                  <a:pt x="1383" y="0"/>
                  <a:pt x="1374" y="0"/>
                </a:cubicBezTo>
                <a:close/>
                <a:moveTo>
                  <a:pt x="1126" y="781"/>
                </a:moveTo>
                <a:cubicBezTo>
                  <a:pt x="1110" y="781"/>
                  <a:pt x="1110" y="781"/>
                  <a:pt x="1110" y="781"/>
                </a:cubicBezTo>
                <a:cubicBezTo>
                  <a:pt x="1108" y="781"/>
                  <a:pt x="1107" y="780"/>
                  <a:pt x="1107" y="778"/>
                </a:cubicBezTo>
                <a:cubicBezTo>
                  <a:pt x="1107" y="776"/>
                  <a:pt x="1108" y="774"/>
                  <a:pt x="1110" y="774"/>
                </a:cubicBezTo>
                <a:cubicBezTo>
                  <a:pt x="1126" y="774"/>
                  <a:pt x="1126" y="774"/>
                  <a:pt x="1126" y="774"/>
                </a:cubicBezTo>
                <a:cubicBezTo>
                  <a:pt x="1129" y="774"/>
                  <a:pt x="1130" y="776"/>
                  <a:pt x="1130" y="778"/>
                </a:cubicBezTo>
                <a:cubicBezTo>
                  <a:pt x="1130" y="780"/>
                  <a:pt x="1129" y="781"/>
                  <a:pt x="1126" y="781"/>
                </a:cubicBezTo>
                <a:close/>
                <a:moveTo>
                  <a:pt x="1160" y="781"/>
                </a:moveTo>
                <a:cubicBezTo>
                  <a:pt x="1144" y="781"/>
                  <a:pt x="1144" y="781"/>
                  <a:pt x="1144" y="781"/>
                </a:cubicBezTo>
                <a:cubicBezTo>
                  <a:pt x="1142" y="781"/>
                  <a:pt x="1140" y="780"/>
                  <a:pt x="1140" y="778"/>
                </a:cubicBezTo>
                <a:cubicBezTo>
                  <a:pt x="1140" y="776"/>
                  <a:pt x="1142" y="774"/>
                  <a:pt x="1144" y="774"/>
                </a:cubicBezTo>
                <a:cubicBezTo>
                  <a:pt x="1160" y="774"/>
                  <a:pt x="1160" y="774"/>
                  <a:pt x="1160" y="774"/>
                </a:cubicBezTo>
                <a:cubicBezTo>
                  <a:pt x="1162" y="774"/>
                  <a:pt x="1164" y="776"/>
                  <a:pt x="1164" y="778"/>
                </a:cubicBezTo>
                <a:cubicBezTo>
                  <a:pt x="1164" y="780"/>
                  <a:pt x="1162" y="781"/>
                  <a:pt x="1160" y="781"/>
                </a:cubicBezTo>
                <a:close/>
                <a:moveTo>
                  <a:pt x="1194" y="781"/>
                </a:moveTo>
                <a:cubicBezTo>
                  <a:pt x="1177" y="781"/>
                  <a:pt x="1177" y="781"/>
                  <a:pt x="1177" y="781"/>
                </a:cubicBezTo>
                <a:cubicBezTo>
                  <a:pt x="1175" y="781"/>
                  <a:pt x="1174" y="780"/>
                  <a:pt x="1174" y="778"/>
                </a:cubicBezTo>
                <a:cubicBezTo>
                  <a:pt x="1174" y="776"/>
                  <a:pt x="1175" y="774"/>
                  <a:pt x="1177" y="774"/>
                </a:cubicBezTo>
                <a:cubicBezTo>
                  <a:pt x="1194" y="774"/>
                  <a:pt x="1194" y="774"/>
                  <a:pt x="1194" y="774"/>
                </a:cubicBezTo>
                <a:cubicBezTo>
                  <a:pt x="1196" y="774"/>
                  <a:pt x="1198" y="776"/>
                  <a:pt x="1198" y="778"/>
                </a:cubicBezTo>
                <a:cubicBezTo>
                  <a:pt x="1198" y="780"/>
                  <a:pt x="1196" y="781"/>
                  <a:pt x="1194" y="781"/>
                </a:cubicBezTo>
                <a:close/>
                <a:moveTo>
                  <a:pt x="1228" y="781"/>
                </a:moveTo>
                <a:cubicBezTo>
                  <a:pt x="1211" y="781"/>
                  <a:pt x="1211" y="781"/>
                  <a:pt x="1211" y="781"/>
                </a:cubicBezTo>
                <a:cubicBezTo>
                  <a:pt x="1209" y="781"/>
                  <a:pt x="1207" y="780"/>
                  <a:pt x="1207" y="778"/>
                </a:cubicBezTo>
                <a:cubicBezTo>
                  <a:pt x="1207" y="776"/>
                  <a:pt x="1209" y="774"/>
                  <a:pt x="1211" y="774"/>
                </a:cubicBezTo>
                <a:cubicBezTo>
                  <a:pt x="1228" y="774"/>
                  <a:pt x="1228" y="774"/>
                  <a:pt x="1228" y="774"/>
                </a:cubicBezTo>
                <a:cubicBezTo>
                  <a:pt x="1230" y="774"/>
                  <a:pt x="1231" y="776"/>
                  <a:pt x="1231" y="778"/>
                </a:cubicBezTo>
                <a:cubicBezTo>
                  <a:pt x="1231" y="780"/>
                  <a:pt x="1230" y="781"/>
                  <a:pt x="1228" y="781"/>
                </a:cubicBezTo>
                <a:close/>
                <a:moveTo>
                  <a:pt x="1261" y="781"/>
                </a:moveTo>
                <a:cubicBezTo>
                  <a:pt x="1244" y="781"/>
                  <a:pt x="1244" y="781"/>
                  <a:pt x="1244" y="781"/>
                </a:cubicBezTo>
                <a:cubicBezTo>
                  <a:pt x="1242" y="781"/>
                  <a:pt x="1241" y="780"/>
                  <a:pt x="1241" y="778"/>
                </a:cubicBezTo>
                <a:cubicBezTo>
                  <a:pt x="1241" y="776"/>
                  <a:pt x="1242" y="774"/>
                  <a:pt x="1244" y="774"/>
                </a:cubicBezTo>
                <a:cubicBezTo>
                  <a:pt x="1261" y="774"/>
                  <a:pt x="1261" y="774"/>
                  <a:pt x="1261" y="774"/>
                </a:cubicBezTo>
                <a:cubicBezTo>
                  <a:pt x="1263" y="774"/>
                  <a:pt x="1265" y="776"/>
                  <a:pt x="1265" y="778"/>
                </a:cubicBezTo>
                <a:cubicBezTo>
                  <a:pt x="1265" y="780"/>
                  <a:pt x="1263" y="781"/>
                  <a:pt x="1261" y="781"/>
                </a:cubicBezTo>
                <a:close/>
                <a:moveTo>
                  <a:pt x="1295" y="781"/>
                </a:moveTo>
                <a:cubicBezTo>
                  <a:pt x="1278" y="781"/>
                  <a:pt x="1278" y="781"/>
                  <a:pt x="1278" y="781"/>
                </a:cubicBezTo>
                <a:cubicBezTo>
                  <a:pt x="1276" y="781"/>
                  <a:pt x="1274" y="780"/>
                  <a:pt x="1274" y="778"/>
                </a:cubicBezTo>
                <a:cubicBezTo>
                  <a:pt x="1274" y="776"/>
                  <a:pt x="1276" y="774"/>
                  <a:pt x="1278" y="774"/>
                </a:cubicBezTo>
                <a:cubicBezTo>
                  <a:pt x="1295" y="774"/>
                  <a:pt x="1295" y="774"/>
                  <a:pt x="1295" y="774"/>
                </a:cubicBezTo>
                <a:cubicBezTo>
                  <a:pt x="1297" y="774"/>
                  <a:pt x="1298" y="776"/>
                  <a:pt x="1298" y="778"/>
                </a:cubicBezTo>
                <a:cubicBezTo>
                  <a:pt x="1298" y="780"/>
                  <a:pt x="1297" y="781"/>
                  <a:pt x="1295" y="781"/>
                </a:cubicBezTo>
                <a:close/>
                <a:moveTo>
                  <a:pt x="1316" y="787"/>
                </a:moveTo>
                <a:cubicBezTo>
                  <a:pt x="1311" y="787"/>
                  <a:pt x="1307" y="783"/>
                  <a:pt x="1307" y="778"/>
                </a:cubicBezTo>
                <a:cubicBezTo>
                  <a:pt x="1307" y="773"/>
                  <a:pt x="1311" y="768"/>
                  <a:pt x="1316" y="768"/>
                </a:cubicBezTo>
                <a:cubicBezTo>
                  <a:pt x="1321" y="768"/>
                  <a:pt x="1325" y="773"/>
                  <a:pt x="1325" y="778"/>
                </a:cubicBezTo>
                <a:cubicBezTo>
                  <a:pt x="1325" y="783"/>
                  <a:pt x="1321" y="787"/>
                  <a:pt x="1316" y="787"/>
                </a:cubicBezTo>
                <a:close/>
                <a:moveTo>
                  <a:pt x="1340" y="740"/>
                </a:moveTo>
                <a:cubicBezTo>
                  <a:pt x="1340" y="748"/>
                  <a:pt x="1334" y="754"/>
                  <a:pt x="1326" y="754"/>
                </a:cubicBezTo>
                <a:cubicBezTo>
                  <a:pt x="918" y="754"/>
                  <a:pt x="642" y="754"/>
                  <a:pt x="455" y="754"/>
                </a:cubicBezTo>
                <a:cubicBezTo>
                  <a:pt x="455" y="754"/>
                  <a:pt x="455" y="754"/>
                  <a:pt x="455" y="754"/>
                </a:cubicBezTo>
                <a:cubicBezTo>
                  <a:pt x="64" y="754"/>
                  <a:pt x="64" y="754"/>
                  <a:pt x="64" y="754"/>
                </a:cubicBezTo>
                <a:cubicBezTo>
                  <a:pt x="56" y="754"/>
                  <a:pt x="49" y="747"/>
                  <a:pt x="49" y="739"/>
                </a:cubicBezTo>
                <a:cubicBezTo>
                  <a:pt x="49" y="739"/>
                  <a:pt x="49" y="739"/>
                  <a:pt x="49" y="470"/>
                </a:cubicBezTo>
                <a:cubicBezTo>
                  <a:pt x="49" y="417"/>
                  <a:pt x="49" y="372"/>
                  <a:pt x="49" y="332"/>
                </a:cubicBezTo>
                <a:cubicBezTo>
                  <a:pt x="49" y="63"/>
                  <a:pt x="49" y="63"/>
                  <a:pt x="49" y="63"/>
                </a:cubicBezTo>
                <a:cubicBezTo>
                  <a:pt x="49" y="55"/>
                  <a:pt x="56" y="48"/>
                  <a:pt x="64" y="48"/>
                </a:cubicBezTo>
                <a:cubicBezTo>
                  <a:pt x="1326" y="48"/>
                  <a:pt x="1326" y="48"/>
                  <a:pt x="1326" y="48"/>
                </a:cubicBezTo>
                <a:cubicBezTo>
                  <a:pt x="1334" y="48"/>
                  <a:pt x="1340" y="55"/>
                  <a:pt x="1340" y="63"/>
                </a:cubicBezTo>
                <a:cubicBezTo>
                  <a:pt x="1340" y="740"/>
                  <a:pt x="1340" y="740"/>
                  <a:pt x="1340" y="740"/>
                </a:cubicBezTo>
                <a:close/>
              </a:path>
            </a:pathLst>
          </a:custGeom>
          <a:solidFill>
            <a:schemeClr val="tx1">
              <a:lumMod val="95000"/>
            </a:schemeClr>
          </a:solidFill>
          <a:ln w="25400" cap="flat" cmpd="sng" algn="ctr">
            <a:noFill/>
            <a:prstDash val="solid"/>
            <a:headEnd type="none" w="med" len="med"/>
            <a:tailEnd type="none" w="med" len="med"/>
          </a:ln>
          <a:effectLst/>
        </p:spPr>
        <p:txBody>
          <a:bodyPr vert="horz" wrap="square" lIns="87039" tIns="43520" rIns="87039" bIns="43520" numCol="1" rtlCol="0" anchor="ctr" anchorCtr="0" compatLnSpc="1">
            <a:prstTxWarp prst="textNoShape">
              <a:avLst/>
            </a:prstTxWarp>
          </a:bodyPr>
          <a:lstStyle/>
          <a:p>
            <a:pPr defTabSz="783380">
              <a:defRPr/>
            </a:pPr>
            <a:endParaRPr lang="en-US" sz="2100" kern="0" spc="-128">
              <a:solidFill>
                <a:schemeClr val="bg2"/>
              </a:solidFill>
              <a:latin typeface="Segoe Light" pitchFamily="34" charset="0"/>
            </a:endParaRPr>
          </a:p>
        </p:txBody>
      </p:sp>
      <p:sp>
        <p:nvSpPr>
          <p:cNvPr id="5" name="Freeform 20"/>
          <p:cNvSpPr>
            <a:spLocks noChangeAspect="1" noEditPoints="1"/>
          </p:cNvSpPr>
          <p:nvPr/>
        </p:nvSpPr>
        <p:spPr bwMode="black">
          <a:xfrm>
            <a:off x="4146348" y="1171307"/>
            <a:ext cx="973763" cy="631716"/>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tx1">
              <a:lumMod val="95000"/>
            </a:schemeClr>
          </a:solidFill>
          <a:extLst/>
        </p:spPr>
        <p:txBody>
          <a:bodyPr vert="horz" wrap="square" lIns="61735" tIns="30867" rIns="61735" bIns="30867" numCol="1" anchor="t" anchorCtr="0" compatLnSpc="1">
            <a:prstTxWarp prst="textNoShape">
              <a:avLst/>
            </a:prstTxWarp>
          </a:bodyPr>
          <a:lstStyle/>
          <a:p>
            <a:endParaRPr lang="en-US" sz="700" dirty="0">
              <a:solidFill>
                <a:srgbClr val="FFFFFF"/>
              </a:solidFill>
            </a:endParaRPr>
          </a:p>
        </p:txBody>
      </p:sp>
      <p:sp>
        <p:nvSpPr>
          <p:cNvPr id="6" name="Rounded Rectangle 6"/>
          <p:cNvSpPr/>
          <p:nvPr/>
        </p:nvSpPr>
        <p:spPr bwMode="black">
          <a:xfrm>
            <a:off x="6396865" y="1236881"/>
            <a:ext cx="399454" cy="566142"/>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chemeClr val="tx1">
              <a:lumMod val="9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1732" tIns="30866" rIns="61732" bIns="30866" numCol="1" rtlCol="0" anchor="ctr" anchorCtr="0" compatLnSpc="1">
            <a:prstTxWarp prst="textNoShape">
              <a:avLst/>
            </a:prstTxWarp>
          </a:bodyPr>
          <a:lstStyle/>
          <a:p>
            <a:pPr defTabSz="555606"/>
            <a:endParaRPr lang="en-US" spc="-92" dirty="0">
              <a:solidFill>
                <a:schemeClr val="tx1">
                  <a:lumMod val="50000"/>
                </a:schemeClr>
              </a:solidFill>
              <a:latin typeface="Segoe Light" pitchFamily="34" charset="0"/>
            </a:endParaRPr>
          </a:p>
        </p:txBody>
      </p:sp>
      <p:sp>
        <p:nvSpPr>
          <p:cNvPr id="7" name="Rounded Rectangle 48"/>
          <p:cNvSpPr/>
          <p:nvPr/>
        </p:nvSpPr>
        <p:spPr>
          <a:xfrm rot="16200000">
            <a:off x="7087637" y="1343688"/>
            <a:ext cx="360320" cy="558352"/>
          </a:xfrm>
          <a:custGeom>
            <a:avLst/>
            <a:gdLst/>
            <a:ahLst/>
            <a:cxnLst/>
            <a:rect l="l" t="t" r="r" b="b"/>
            <a:pathLst>
              <a:path w="736600" h="929111">
                <a:moveTo>
                  <a:pt x="163799" y="872703"/>
                </a:moveTo>
                <a:lnTo>
                  <a:pt x="163799" y="907053"/>
                </a:lnTo>
                <a:lnTo>
                  <a:pt x="198149" y="907053"/>
                </a:lnTo>
                <a:lnTo>
                  <a:pt x="198149" y="872703"/>
                </a:lnTo>
                <a:close/>
                <a:moveTo>
                  <a:pt x="103474" y="872703"/>
                </a:moveTo>
                <a:lnTo>
                  <a:pt x="103474" y="907053"/>
                </a:lnTo>
                <a:lnTo>
                  <a:pt x="137824" y="907053"/>
                </a:lnTo>
                <a:lnTo>
                  <a:pt x="137824" y="872703"/>
                </a:lnTo>
                <a:close/>
                <a:moveTo>
                  <a:pt x="85808" y="64817"/>
                </a:moveTo>
                <a:cubicBezTo>
                  <a:pt x="69794" y="64817"/>
                  <a:pt x="56812" y="79948"/>
                  <a:pt x="56812" y="98612"/>
                </a:cubicBezTo>
                <a:lnTo>
                  <a:pt x="56812" y="819588"/>
                </a:lnTo>
                <a:cubicBezTo>
                  <a:pt x="56812" y="838252"/>
                  <a:pt x="69794" y="853383"/>
                  <a:pt x="85808" y="853383"/>
                </a:cubicBezTo>
                <a:lnTo>
                  <a:pt x="652992" y="853383"/>
                </a:lnTo>
                <a:cubicBezTo>
                  <a:pt x="669005" y="853383"/>
                  <a:pt x="681988" y="838252"/>
                  <a:pt x="681988" y="819588"/>
                </a:cubicBezTo>
                <a:lnTo>
                  <a:pt x="681988" y="98612"/>
                </a:lnTo>
                <a:cubicBezTo>
                  <a:pt x="681988" y="79948"/>
                  <a:pt x="669005" y="64817"/>
                  <a:pt x="652992" y="64817"/>
                </a:cubicBezTo>
                <a:close/>
                <a:moveTo>
                  <a:pt x="34164" y="0"/>
                </a:moveTo>
                <a:lnTo>
                  <a:pt x="702437" y="0"/>
                </a:lnTo>
                <a:cubicBezTo>
                  <a:pt x="721305" y="0"/>
                  <a:pt x="736600" y="17827"/>
                  <a:pt x="736600" y="39818"/>
                </a:cubicBezTo>
                <a:lnTo>
                  <a:pt x="736600" y="889293"/>
                </a:lnTo>
                <a:cubicBezTo>
                  <a:pt x="736600" y="911284"/>
                  <a:pt x="721305" y="929111"/>
                  <a:pt x="702437" y="929111"/>
                </a:cubicBezTo>
                <a:lnTo>
                  <a:pt x="34164" y="929111"/>
                </a:lnTo>
                <a:cubicBezTo>
                  <a:pt x="15296" y="929111"/>
                  <a:pt x="0" y="911284"/>
                  <a:pt x="0" y="889293"/>
                </a:cubicBezTo>
                <a:lnTo>
                  <a:pt x="0" y="39818"/>
                </a:lnTo>
                <a:cubicBezTo>
                  <a:pt x="0" y="17827"/>
                  <a:pt x="15296" y="0"/>
                  <a:pt x="34164" y="0"/>
                </a:cubicBezTo>
                <a:close/>
              </a:path>
            </a:pathLst>
          </a:cu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endParaRPr lang="en-US">
              <a:solidFill>
                <a:prstClr val="white"/>
              </a:solidFill>
            </a:endParaRPr>
          </a:p>
        </p:txBody>
      </p:sp>
      <p:grpSp>
        <p:nvGrpSpPr>
          <p:cNvPr id="8" name="Group 7"/>
          <p:cNvGrpSpPr/>
          <p:nvPr/>
        </p:nvGrpSpPr>
        <p:grpSpPr>
          <a:xfrm>
            <a:off x="3160748" y="1314902"/>
            <a:ext cx="756395" cy="488121"/>
            <a:chOff x="4213232" y="3364799"/>
            <a:chExt cx="1008264" cy="650828"/>
          </a:xfrm>
          <a:solidFill>
            <a:schemeClr val="tx1">
              <a:lumMod val="95000"/>
            </a:schemeClr>
          </a:solidFill>
        </p:grpSpPr>
        <p:sp>
          <p:nvSpPr>
            <p:cNvPr id="9" name="Rounded Rectangle 48"/>
            <p:cNvSpPr/>
            <p:nvPr/>
          </p:nvSpPr>
          <p:spPr>
            <a:xfrm rot="16200000">
              <a:off x="4391950" y="3186081"/>
              <a:ext cx="650828" cy="1008264"/>
            </a:xfrm>
            <a:custGeom>
              <a:avLst/>
              <a:gdLst/>
              <a:ahLst/>
              <a:cxnLst/>
              <a:rect l="l" t="t" r="r" b="b"/>
              <a:pathLst>
                <a:path w="736600" h="929111">
                  <a:moveTo>
                    <a:pt x="163799" y="872703"/>
                  </a:moveTo>
                  <a:lnTo>
                    <a:pt x="163799" y="907053"/>
                  </a:lnTo>
                  <a:lnTo>
                    <a:pt x="198149" y="907053"/>
                  </a:lnTo>
                  <a:lnTo>
                    <a:pt x="198149" y="872703"/>
                  </a:lnTo>
                  <a:close/>
                  <a:moveTo>
                    <a:pt x="103474" y="872703"/>
                  </a:moveTo>
                  <a:lnTo>
                    <a:pt x="103474" y="907053"/>
                  </a:lnTo>
                  <a:lnTo>
                    <a:pt x="137824" y="907053"/>
                  </a:lnTo>
                  <a:lnTo>
                    <a:pt x="137824" y="872703"/>
                  </a:lnTo>
                  <a:close/>
                  <a:moveTo>
                    <a:pt x="85808" y="64817"/>
                  </a:moveTo>
                  <a:cubicBezTo>
                    <a:pt x="69794" y="64817"/>
                    <a:pt x="56812" y="79948"/>
                    <a:pt x="56812" y="98612"/>
                  </a:cubicBezTo>
                  <a:lnTo>
                    <a:pt x="56812" y="819588"/>
                  </a:lnTo>
                  <a:cubicBezTo>
                    <a:pt x="56812" y="838252"/>
                    <a:pt x="69794" y="853383"/>
                    <a:pt x="85808" y="853383"/>
                  </a:cubicBezTo>
                  <a:lnTo>
                    <a:pt x="652992" y="853383"/>
                  </a:lnTo>
                  <a:cubicBezTo>
                    <a:pt x="669005" y="853383"/>
                    <a:pt x="681988" y="838252"/>
                    <a:pt x="681988" y="819588"/>
                  </a:cubicBezTo>
                  <a:lnTo>
                    <a:pt x="681988" y="98612"/>
                  </a:lnTo>
                  <a:cubicBezTo>
                    <a:pt x="681988" y="79948"/>
                    <a:pt x="669005" y="64817"/>
                    <a:pt x="652992" y="64817"/>
                  </a:cubicBezTo>
                  <a:close/>
                  <a:moveTo>
                    <a:pt x="34164" y="0"/>
                  </a:moveTo>
                  <a:lnTo>
                    <a:pt x="702437" y="0"/>
                  </a:lnTo>
                  <a:cubicBezTo>
                    <a:pt x="721305" y="0"/>
                    <a:pt x="736600" y="17827"/>
                    <a:pt x="736600" y="39818"/>
                  </a:cubicBezTo>
                  <a:lnTo>
                    <a:pt x="736600" y="889293"/>
                  </a:lnTo>
                  <a:cubicBezTo>
                    <a:pt x="736600" y="911284"/>
                    <a:pt x="721305" y="929111"/>
                    <a:pt x="702437" y="929111"/>
                  </a:cubicBezTo>
                  <a:lnTo>
                    <a:pt x="34164" y="929111"/>
                  </a:lnTo>
                  <a:cubicBezTo>
                    <a:pt x="15296" y="929111"/>
                    <a:pt x="0" y="911284"/>
                    <a:pt x="0" y="889293"/>
                  </a:cubicBezTo>
                  <a:lnTo>
                    <a:pt x="0" y="39818"/>
                  </a:lnTo>
                  <a:cubicBezTo>
                    <a:pt x="0" y="17827"/>
                    <a:pt x="15296" y="0"/>
                    <a:pt x="34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10" name="Picture 2"/>
            <p:cNvPicPr>
              <a:picLocks noChangeAspect="1" noChangeArrowheads="1"/>
            </p:cNvPicPr>
            <p:nvPr/>
          </p:nvPicPr>
          <p:blipFill rotWithShape="1">
            <a:blip r:embed="rId3">
              <a:duotone>
                <a:prstClr val="black"/>
                <a:schemeClr val="tx2">
                  <a:tint val="45000"/>
                  <a:satMod val="400000"/>
                </a:schemeClr>
              </a:duotone>
              <a:extLst>
                <a:ext uri="{28A0092B-C50C-407E-A947-70E740481C1C}">
                  <a14:useLocalDpi xmlns:a14="http://schemas.microsoft.com/office/drawing/2010/main" val="0"/>
                </a:ext>
              </a:extLst>
            </a:blip>
            <a:srcRect r="18136"/>
            <a:stretch/>
          </p:blipFill>
          <p:spPr bwMode="auto">
            <a:xfrm>
              <a:off x="4310977" y="3445477"/>
              <a:ext cx="812921" cy="457200"/>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1" name="Group 10"/>
          <p:cNvGrpSpPr/>
          <p:nvPr/>
        </p:nvGrpSpPr>
        <p:grpSpPr>
          <a:xfrm>
            <a:off x="5349314" y="1219688"/>
            <a:ext cx="818348" cy="583337"/>
            <a:chOff x="7130561" y="3237845"/>
            <a:chExt cx="1090846" cy="777782"/>
          </a:xfrm>
          <a:solidFill>
            <a:schemeClr val="tx1">
              <a:lumMod val="95000"/>
            </a:schemeClr>
          </a:solidFill>
        </p:grpSpPr>
        <p:grpSp>
          <p:nvGrpSpPr>
            <p:cNvPr id="12" name="Group 11"/>
            <p:cNvGrpSpPr>
              <a:grpSpLocks noChangeAspect="1"/>
            </p:cNvGrpSpPr>
            <p:nvPr/>
          </p:nvGrpSpPr>
          <p:grpSpPr>
            <a:xfrm>
              <a:off x="7130561" y="3237845"/>
              <a:ext cx="1090846" cy="777782"/>
              <a:chOff x="1596718" y="2765463"/>
              <a:chExt cx="1546415" cy="1102607"/>
            </a:xfrm>
            <a:grpFill/>
          </p:grpSpPr>
          <p:sp>
            <p:nvSpPr>
              <p:cNvPr id="14" name="Round Same Side Corner Rectangle 11"/>
              <p:cNvSpPr/>
              <p:nvPr/>
            </p:nvSpPr>
            <p:spPr>
              <a:xfrm>
                <a:off x="1714917" y="2765463"/>
                <a:ext cx="1310015" cy="839533"/>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grpFill/>
              <a:ln w="25400" cap="flat" cmpd="sng" algn="ctr">
                <a:noFill/>
                <a:prstDash val="solid"/>
              </a:ln>
              <a:effectLst/>
            </p:spPr>
            <p:txBody>
              <a:bodyPr rtlCol="0" anchor="ctr"/>
              <a:lstStyle/>
              <a:p>
                <a:pPr algn="ctr" defTabSz="685862">
                  <a:defRPr/>
                </a:pPr>
                <a:endParaRPr lang="en-US" kern="0">
                  <a:solidFill>
                    <a:sysClr val="window" lastClr="FFFFFF"/>
                  </a:solidFill>
                  <a:latin typeface="Segoe"/>
                </a:endParaRPr>
              </a:p>
            </p:txBody>
          </p:sp>
          <p:sp>
            <p:nvSpPr>
              <p:cNvPr id="15" name="Trapezoid 12"/>
              <p:cNvSpPr/>
              <p:nvPr/>
            </p:nvSpPr>
            <p:spPr>
              <a:xfrm>
                <a:off x="1596718" y="3609187"/>
                <a:ext cx="1546415" cy="195224"/>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grpFill/>
              <a:ln w="25400" cap="flat" cmpd="sng" algn="ctr">
                <a:noFill/>
                <a:prstDash val="solid"/>
              </a:ln>
              <a:effectLst/>
            </p:spPr>
            <p:txBody>
              <a:bodyPr rtlCol="0" anchor="ctr"/>
              <a:lstStyle/>
              <a:p>
                <a:pPr algn="ctr" defTabSz="685862">
                  <a:defRPr/>
                </a:pPr>
                <a:endParaRPr lang="en-US" kern="0">
                  <a:solidFill>
                    <a:sysClr val="window" lastClr="FFFFFF"/>
                  </a:solidFill>
                  <a:latin typeface="Segoe"/>
                </a:endParaRPr>
              </a:p>
            </p:txBody>
          </p:sp>
          <p:sp>
            <p:nvSpPr>
              <p:cNvPr id="16" name="Rectangle 15"/>
              <p:cNvSpPr/>
              <p:nvPr/>
            </p:nvSpPr>
            <p:spPr>
              <a:xfrm>
                <a:off x="1597405" y="3804412"/>
                <a:ext cx="1545039" cy="63658"/>
              </a:xfrm>
              <a:prstGeom prst="rect">
                <a:avLst/>
              </a:prstGeom>
              <a:grpFill/>
              <a:ln w="25400" cap="flat" cmpd="sng" algn="ctr">
                <a:noFill/>
                <a:prstDash val="solid"/>
              </a:ln>
              <a:effectLst/>
            </p:spPr>
            <p:txBody>
              <a:bodyPr rtlCol="0" anchor="ctr"/>
              <a:lstStyle/>
              <a:p>
                <a:pPr algn="ctr" defTabSz="685862">
                  <a:defRPr/>
                </a:pPr>
                <a:endParaRPr lang="en-US" kern="0">
                  <a:solidFill>
                    <a:sysClr val="window" lastClr="FFFFFF"/>
                  </a:solidFill>
                  <a:latin typeface="Segoe"/>
                </a:endParaRPr>
              </a:p>
            </p:txBody>
          </p:sp>
        </p:grpSp>
        <p:pic>
          <p:nvPicPr>
            <p:cNvPr id="13" name="Picture 2"/>
            <p:cNvPicPr>
              <a:picLocks noChangeAspect="1" noChangeArrowheads="1"/>
            </p:cNvPicPr>
            <p:nvPr/>
          </p:nvPicPr>
          <p:blipFill rotWithShape="1">
            <a:blip r:embed="rId3">
              <a:duotone>
                <a:prstClr val="black"/>
                <a:schemeClr val="tx2">
                  <a:tint val="45000"/>
                  <a:satMod val="400000"/>
                </a:schemeClr>
              </a:duotone>
              <a:extLst>
                <a:ext uri="{28A0092B-C50C-407E-A947-70E740481C1C}">
                  <a14:useLocalDpi xmlns:a14="http://schemas.microsoft.com/office/drawing/2010/main" val="0"/>
                </a:ext>
              </a:extLst>
            </a:blip>
            <a:srcRect r="18136"/>
            <a:stretch/>
          </p:blipFill>
          <p:spPr bwMode="auto">
            <a:xfrm>
              <a:off x="7271187" y="3299538"/>
              <a:ext cx="812921" cy="457200"/>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17" name="Picture 2"/>
          <p:cNvPicPr>
            <a:picLocks noChangeAspect="1" noChangeArrowheads="1"/>
          </p:cNvPicPr>
          <p:nvPr/>
        </p:nvPicPr>
        <p:blipFill rotWithShape="1">
          <a:blip r:embed="rId3">
            <a:duotone>
              <a:prstClr val="black"/>
              <a:schemeClr val="tx2">
                <a:tint val="45000"/>
                <a:satMod val="400000"/>
              </a:schemeClr>
            </a:duotone>
            <a:extLst>
              <a:ext uri="{28A0092B-C50C-407E-A947-70E740481C1C}">
                <a14:useLocalDpi xmlns:a14="http://schemas.microsoft.com/office/drawing/2010/main" val="0"/>
              </a:ext>
            </a:extLst>
          </a:blip>
          <a:srcRect r="18136"/>
          <a:stretch/>
        </p:blipFill>
        <p:spPr bwMode="auto">
          <a:xfrm>
            <a:off x="1849090" y="1051760"/>
            <a:ext cx="1032976" cy="580811"/>
          </a:xfrm>
          <a:prstGeom prst="rect">
            <a:avLst/>
          </a:prstGeom>
          <a:solidFill>
            <a:schemeClr val="tx1">
              <a:lumMod val="95000"/>
            </a:schemeClr>
          </a:solidFill>
          <a:ln>
            <a:noFill/>
          </a:ln>
          <a:effectLst/>
          <a:extLst/>
        </p:spPr>
      </p:pic>
      <p:pic>
        <p:nvPicPr>
          <p:cNvPr id="18" name="Picture 2"/>
          <p:cNvPicPr>
            <a:picLocks noChangeAspect="1" noChangeArrowheads="1"/>
          </p:cNvPicPr>
          <p:nvPr/>
        </p:nvPicPr>
        <p:blipFill rotWithShape="1">
          <a:blip r:embed="rId3">
            <a:duotone>
              <a:prstClr val="black"/>
              <a:schemeClr val="tx2">
                <a:tint val="45000"/>
                <a:satMod val="400000"/>
              </a:schemeClr>
            </a:duotone>
            <a:extLst>
              <a:ext uri="{28A0092B-C50C-407E-A947-70E740481C1C}">
                <a14:useLocalDpi xmlns:a14="http://schemas.microsoft.com/office/drawing/2010/main" val="0"/>
              </a:ext>
            </a:extLst>
          </a:blip>
          <a:srcRect r="18136"/>
          <a:stretch/>
        </p:blipFill>
        <p:spPr bwMode="auto">
          <a:xfrm>
            <a:off x="4280830" y="1226143"/>
            <a:ext cx="712652" cy="400703"/>
          </a:xfrm>
          <a:prstGeom prst="rect">
            <a:avLst/>
          </a:prstGeom>
          <a:solidFill>
            <a:schemeClr val="tx1">
              <a:lumMod val="95000"/>
            </a:schemeClr>
          </a:solidFill>
          <a:ln>
            <a:noFill/>
          </a:ln>
          <a:effectLst/>
          <a:extLst/>
        </p:spPr>
      </p:pic>
      <p:pic>
        <p:nvPicPr>
          <p:cNvPr id="19" name="Picture 2"/>
          <p:cNvPicPr>
            <a:picLocks noChangeArrowheads="1"/>
          </p:cNvPicPr>
          <p:nvPr/>
        </p:nvPicPr>
        <p:blipFill rotWithShape="1">
          <a:blip r:embed="rId3">
            <a:duotone>
              <a:prstClr val="black"/>
              <a:schemeClr val="tx2">
                <a:tint val="45000"/>
                <a:satMod val="400000"/>
              </a:schemeClr>
            </a:duotone>
            <a:extLst>
              <a:ext uri="{28A0092B-C50C-407E-A947-70E740481C1C}">
                <a14:useLocalDpi xmlns:a14="http://schemas.microsoft.com/office/drawing/2010/main" val="0"/>
              </a:ext>
            </a:extLst>
          </a:blip>
          <a:srcRect r="55458"/>
          <a:stretch/>
        </p:blipFill>
        <p:spPr bwMode="auto">
          <a:xfrm>
            <a:off x="6431510" y="1311673"/>
            <a:ext cx="315550" cy="326096"/>
          </a:xfrm>
          <a:prstGeom prst="rect">
            <a:avLst/>
          </a:prstGeom>
          <a:solidFill>
            <a:schemeClr val="tx1">
              <a:lumMod val="95000"/>
            </a:schemeClr>
          </a:solidFill>
          <a:ln>
            <a:noFill/>
          </a:ln>
          <a:effectLst/>
          <a:extLst/>
        </p:spPr>
      </p:pic>
      <p:pic>
        <p:nvPicPr>
          <p:cNvPr id="20" name="Picture 2"/>
          <p:cNvPicPr>
            <a:picLocks noChangeAspect="1" noChangeArrowheads="1"/>
          </p:cNvPicPr>
          <p:nvPr/>
        </p:nvPicPr>
        <p:blipFill rotWithShape="1">
          <a:blip r:embed="rId3">
            <a:duotone>
              <a:prstClr val="black"/>
              <a:schemeClr val="tx2">
                <a:tint val="45000"/>
                <a:satMod val="400000"/>
              </a:schemeClr>
            </a:duotone>
            <a:extLst>
              <a:ext uri="{28A0092B-C50C-407E-A947-70E740481C1C}">
                <a14:useLocalDpi xmlns:a14="http://schemas.microsoft.com/office/drawing/2010/main" val="0"/>
              </a:ext>
            </a:extLst>
          </a:blip>
          <a:srcRect r="27590"/>
          <a:stretch/>
        </p:blipFill>
        <p:spPr bwMode="auto">
          <a:xfrm>
            <a:off x="7046023" y="1483959"/>
            <a:ext cx="445806" cy="283388"/>
          </a:xfrm>
          <a:prstGeom prst="rect">
            <a:avLst/>
          </a:prstGeom>
          <a:solidFill>
            <a:schemeClr val="tx1">
              <a:lumMod val="95000"/>
            </a:schemeClr>
          </a:solidFill>
          <a:ln>
            <a:noFill/>
          </a:ln>
          <a:effectLst/>
          <a:extLst/>
        </p:spPr>
      </p:pic>
      <p:sp>
        <p:nvSpPr>
          <p:cNvPr id="23" name="Freeform 142"/>
          <p:cNvSpPr>
            <a:spLocks/>
          </p:cNvSpPr>
          <p:nvPr/>
        </p:nvSpPr>
        <p:spPr bwMode="auto">
          <a:xfrm>
            <a:off x="265540" y="1878498"/>
            <a:ext cx="8630054" cy="1094639"/>
          </a:xfrm>
          <a:custGeom>
            <a:avLst/>
            <a:gdLst/>
            <a:ahLst/>
            <a:cxnLst>
              <a:cxn ang="0">
                <a:pos x="2763" y="296"/>
              </a:cxn>
              <a:cxn ang="0">
                <a:pos x="2741" y="400"/>
              </a:cxn>
              <a:cxn ang="0">
                <a:pos x="3063" y="200"/>
              </a:cxn>
              <a:cxn ang="0">
                <a:pos x="2741" y="0"/>
              </a:cxn>
              <a:cxn ang="0">
                <a:pos x="2763" y="103"/>
              </a:cxn>
              <a:cxn ang="0">
                <a:pos x="1520" y="150"/>
              </a:cxn>
              <a:cxn ang="0">
                <a:pos x="300" y="103"/>
              </a:cxn>
              <a:cxn ang="0">
                <a:pos x="322" y="0"/>
              </a:cxn>
              <a:cxn ang="0">
                <a:pos x="0" y="200"/>
              </a:cxn>
              <a:cxn ang="0">
                <a:pos x="322" y="400"/>
              </a:cxn>
              <a:cxn ang="0">
                <a:pos x="300" y="296"/>
              </a:cxn>
              <a:cxn ang="0">
                <a:pos x="1523" y="250"/>
              </a:cxn>
              <a:cxn ang="0">
                <a:pos x="2763" y="296"/>
              </a:cxn>
            </a:cxnLst>
            <a:rect l="0" t="0" r="r" b="b"/>
            <a:pathLst>
              <a:path w="3063" h="400">
                <a:moveTo>
                  <a:pt x="2763" y="296"/>
                </a:moveTo>
                <a:cubicBezTo>
                  <a:pt x="2741" y="400"/>
                  <a:pt x="2741" y="400"/>
                  <a:pt x="2741" y="400"/>
                </a:cubicBezTo>
                <a:cubicBezTo>
                  <a:pt x="3063" y="200"/>
                  <a:pt x="3063" y="200"/>
                  <a:pt x="3063" y="200"/>
                </a:cubicBezTo>
                <a:cubicBezTo>
                  <a:pt x="2741" y="0"/>
                  <a:pt x="2741" y="0"/>
                  <a:pt x="2741" y="0"/>
                </a:cubicBezTo>
                <a:cubicBezTo>
                  <a:pt x="2763" y="103"/>
                  <a:pt x="2763" y="103"/>
                  <a:pt x="2763" y="103"/>
                </a:cubicBezTo>
                <a:cubicBezTo>
                  <a:pt x="2763" y="103"/>
                  <a:pt x="2140" y="150"/>
                  <a:pt x="1520" y="150"/>
                </a:cubicBezTo>
                <a:cubicBezTo>
                  <a:pt x="908" y="150"/>
                  <a:pt x="300" y="103"/>
                  <a:pt x="300" y="103"/>
                </a:cubicBezTo>
                <a:cubicBezTo>
                  <a:pt x="322" y="0"/>
                  <a:pt x="322" y="0"/>
                  <a:pt x="322" y="0"/>
                </a:cubicBezTo>
                <a:cubicBezTo>
                  <a:pt x="0" y="200"/>
                  <a:pt x="0" y="200"/>
                  <a:pt x="0" y="200"/>
                </a:cubicBezTo>
                <a:cubicBezTo>
                  <a:pt x="322" y="400"/>
                  <a:pt x="322" y="400"/>
                  <a:pt x="322" y="400"/>
                </a:cubicBezTo>
                <a:cubicBezTo>
                  <a:pt x="300" y="296"/>
                  <a:pt x="300" y="296"/>
                  <a:pt x="300" y="296"/>
                </a:cubicBezTo>
                <a:cubicBezTo>
                  <a:pt x="300" y="296"/>
                  <a:pt x="910" y="250"/>
                  <a:pt x="1523" y="250"/>
                </a:cubicBezTo>
                <a:cubicBezTo>
                  <a:pt x="2142" y="250"/>
                  <a:pt x="2763" y="296"/>
                  <a:pt x="2763" y="296"/>
                </a:cubicBezTo>
                <a:close/>
              </a:path>
            </a:pathLst>
          </a:custGeom>
          <a:solidFill>
            <a:schemeClr val="tx1">
              <a:lumMod val="95000"/>
              <a:alpha val="97000"/>
            </a:schemeClr>
          </a:solidFill>
          <a:ln w="9525">
            <a:noFill/>
            <a:round/>
            <a:headEnd/>
            <a:tailEnd/>
          </a:ln>
        </p:spPr>
        <p:txBody>
          <a:bodyPr vert="horz" wrap="square" lIns="68586" tIns="34294" rIns="68586" bIns="34294" numCol="1" anchor="t" anchorCtr="0" compatLnSpc="1">
            <a:prstTxWarp prst="textNoShape">
              <a:avLst/>
            </a:prstTxWarp>
          </a:bodyPr>
          <a:lstStyle/>
          <a:p>
            <a:endParaRPr lang="en-US" dirty="0">
              <a:latin typeface="Segoe UI" pitchFamily="34" charset="0"/>
            </a:endParaRPr>
          </a:p>
        </p:txBody>
      </p:sp>
      <p:sp>
        <p:nvSpPr>
          <p:cNvPr id="26" name="Text Placeholder 5"/>
          <p:cNvSpPr txBox="1">
            <a:spLocks/>
          </p:cNvSpPr>
          <p:nvPr/>
        </p:nvSpPr>
        <p:spPr>
          <a:xfrm>
            <a:off x="1250514" y="3075011"/>
            <a:ext cx="7012548" cy="1974069"/>
          </a:xfrm>
          <a:prstGeom prst="rect">
            <a:avLst/>
          </a:prstGeom>
        </p:spPr>
        <p:txBody>
          <a:bodyPr lIns="68586" tIns="34294" rIns="68586" bIns="34294"/>
          <a:lstStyle>
            <a:lvl1pPr marL="460375" indent="-460375" algn="l" defTabSz="914363" rtl="0" eaLnBrk="1" latinLnBrk="0" hangingPunct="1">
              <a:lnSpc>
                <a:spcPct val="90000"/>
              </a:lnSpc>
              <a:spcBef>
                <a:spcPct val="20000"/>
              </a:spcBef>
              <a:buSzPct val="90000"/>
              <a:buFontTx/>
              <a:buBlip>
                <a:blip r:embed="rId4"/>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4"/>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4"/>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dirty="0"/>
              <a:t>Windows Editions</a:t>
            </a:r>
          </a:p>
          <a:p>
            <a:pPr lvl="1"/>
            <a:r>
              <a:rPr lang="en-US" sz="1500" dirty="0"/>
              <a:t>All Windows editions share the same security fundamentals</a:t>
            </a:r>
          </a:p>
          <a:p>
            <a:pPr lvl="1"/>
            <a:r>
              <a:rPr lang="en-US" sz="1500" dirty="0"/>
              <a:t>Pro and </a:t>
            </a:r>
            <a:r>
              <a:rPr lang="en-US" sz="1500" dirty="0" err="1"/>
              <a:t>Ent</a:t>
            </a:r>
            <a:r>
              <a:rPr lang="en-US" sz="1500" dirty="0"/>
              <a:t> editions have additional business related security capabilities</a:t>
            </a:r>
          </a:p>
          <a:p>
            <a:pPr lvl="1"/>
            <a:r>
              <a:rPr lang="en-US" sz="1500" dirty="0"/>
              <a:t>Windows RT uses device encryption powered by BitLocker technology</a:t>
            </a:r>
          </a:p>
          <a:p>
            <a:pPr marL="345312" lvl="1" indent="0">
              <a:buNone/>
            </a:pPr>
            <a:endParaRPr lang="en-US" sz="500" dirty="0"/>
          </a:p>
          <a:p>
            <a:r>
              <a:rPr lang="en-US" sz="1800" dirty="0"/>
              <a:t>Devices</a:t>
            </a:r>
          </a:p>
          <a:p>
            <a:pPr lvl="1"/>
            <a:r>
              <a:rPr lang="en-US" sz="1500" dirty="0"/>
              <a:t>Device Types: Tablet, Convertible, Notebook, All In One, Desktop</a:t>
            </a:r>
          </a:p>
          <a:p>
            <a:pPr lvl="1"/>
            <a:r>
              <a:rPr lang="en-US" sz="1500" dirty="0"/>
              <a:t>Connected Standby devices will include UEFI and TPM, others might!</a:t>
            </a:r>
          </a:p>
        </p:txBody>
      </p:sp>
      <p:sp>
        <p:nvSpPr>
          <p:cNvPr id="22"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4"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5"/>
              </a:rPr>
              <a:t>www.rapidbbs.cn</a:t>
            </a:r>
            <a:endParaRPr lang="zh-CN" altLang="en-US" sz="1200" b="0">
              <a:latin typeface="Arial" charset="0"/>
              <a:ea typeface="ＭＳ Ｐゴシック" pitchFamily="34" charset="-128"/>
            </a:endParaRPr>
          </a:p>
        </p:txBody>
      </p:sp>
      <p:pic>
        <p:nvPicPr>
          <p:cNvPr id="25" name="Picture 2">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971397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latform-Level DR Preparedness</a:t>
            </a:r>
            <a:endParaRPr lang="en-US" dirty="0"/>
          </a:p>
        </p:txBody>
      </p:sp>
      <p:grpSp>
        <p:nvGrpSpPr>
          <p:cNvPr id="18" name="Group 17"/>
          <p:cNvGrpSpPr/>
          <p:nvPr/>
        </p:nvGrpSpPr>
        <p:grpSpPr>
          <a:xfrm>
            <a:off x="685255" y="883267"/>
            <a:ext cx="901447" cy="901212"/>
            <a:chOff x="625083" y="1438279"/>
            <a:chExt cx="1442315" cy="1441939"/>
          </a:xfrm>
        </p:grpSpPr>
        <p:sp>
          <p:nvSpPr>
            <p:cNvPr id="5" name="Rectangle 4"/>
            <p:cNvSpPr/>
            <p:nvPr/>
          </p:nvSpPr>
          <p:spPr bwMode="auto">
            <a:xfrm>
              <a:off x="642438" y="1455629"/>
              <a:ext cx="1407604" cy="1407238"/>
            </a:xfrm>
            <a:prstGeom prst="rect">
              <a:avLst/>
            </a:prstGeom>
            <a:solidFill>
              <a:schemeClr val="accent5"/>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a:lnSpc>
                  <a:spcPct val="90000"/>
                </a:lnSpc>
                <a:buSzPct val="90000"/>
              </a:pPr>
              <a:endParaRPr lang="en-US" sz="1800" dirty="0">
                <a:gradFill>
                  <a:gsLst>
                    <a:gs pos="85000">
                      <a:srgbClr val="FFFFFF"/>
                    </a:gs>
                    <a:gs pos="0">
                      <a:srgbClr val="FFFFFF"/>
                    </a:gs>
                  </a:gsLst>
                  <a:lin ang="5400000" scaled="0"/>
                </a:gradFill>
              </a:endParaRPr>
            </a:p>
          </p:txBody>
        </p:sp>
        <p:pic>
          <p:nvPicPr>
            <p:cNvPr id="4" name="Picture 7" descr="\\MAGNUM\Projects\Microsoft\Cloud Power FY12\Design\ICONS_PNG\Lower_Energy_Costs.png"/>
            <p:cNvPicPr>
              <a:picLocks noChangeAspect="1" noChangeArrowheads="1"/>
            </p:cNvPicPr>
            <p:nvPr/>
          </p:nvPicPr>
          <p:blipFill>
            <a:blip r:embed="rId2" cstate="print">
              <a:lum bright="100000"/>
            </a:blip>
            <a:srcRect/>
            <a:stretch>
              <a:fillRect/>
            </a:stretch>
          </p:blipFill>
          <p:spPr bwMode="auto">
            <a:xfrm rot="10800000">
              <a:off x="625083" y="1438279"/>
              <a:ext cx="1442315" cy="1441939"/>
            </a:xfrm>
            <a:prstGeom prst="rect">
              <a:avLst/>
            </a:prstGeom>
            <a:noFill/>
          </p:spPr>
        </p:pic>
      </p:grpSp>
      <p:grpSp>
        <p:nvGrpSpPr>
          <p:cNvPr id="17" name="Group 16"/>
          <p:cNvGrpSpPr/>
          <p:nvPr/>
        </p:nvGrpSpPr>
        <p:grpSpPr>
          <a:xfrm>
            <a:off x="684018" y="1893873"/>
            <a:ext cx="891837" cy="891604"/>
            <a:chOff x="623103" y="3154570"/>
            <a:chExt cx="1426940" cy="1426566"/>
          </a:xfrm>
        </p:grpSpPr>
        <p:sp>
          <p:nvSpPr>
            <p:cNvPr id="6" name="Rectangle 5"/>
            <p:cNvSpPr/>
            <p:nvPr/>
          </p:nvSpPr>
          <p:spPr bwMode="auto">
            <a:xfrm>
              <a:off x="632771" y="3164234"/>
              <a:ext cx="1407604" cy="1407238"/>
            </a:xfrm>
            <a:prstGeom prst="rect">
              <a:avLst/>
            </a:prstGeom>
            <a:solidFill>
              <a:schemeClr val="accent4"/>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a:lnSpc>
                  <a:spcPct val="90000"/>
                </a:lnSpc>
                <a:buSzPct val="90000"/>
              </a:pPr>
              <a:endParaRPr lang="en-US" sz="1800" dirty="0">
                <a:gradFill>
                  <a:gsLst>
                    <a:gs pos="85000">
                      <a:srgbClr val="FFFFFF"/>
                    </a:gs>
                    <a:gs pos="0">
                      <a:srgbClr val="FFFFFF"/>
                    </a:gs>
                  </a:gsLst>
                  <a:lin ang="5400000" scaled="0"/>
                </a:gradFill>
              </a:endParaRPr>
            </a:p>
          </p:txBody>
        </p:sp>
        <p:pic>
          <p:nvPicPr>
            <p:cNvPr id="7" name="Picture 7" descr="\\MAGNUM\Projects\Microsoft\Cloud Power FY12\Design\Icons\PNGs\Storage.png"/>
            <p:cNvPicPr>
              <a:picLocks noChangeAspect="1" noChangeArrowheads="1"/>
            </p:cNvPicPr>
            <p:nvPr/>
          </p:nvPicPr>
          <p:blipFill>
            <a:blip r:embed="rId3" cstate="print">
              <a:biLevel thresh="25000"/>
              <a:extLst>
                <a:ext uri="{BEBA8EAE-BF5A-486C-A8C5-ECC9F3942E4B}">
                  <a14:imgProps xmlns:a14="http://schemas.microsoft.com/office/drawing/2010/main">
                    <a14:imgLayer r:embed="rId4"/>
                  </a14:imgProps>
                </a:ext>
              </a:extLst>
            </a:blip>
            <a:srcRect/>
            <a:stretch>
              <a:fillRect/>
            </a:stretch>
          </p:blipFill>
          <p:spPr bwMode="auto">
            <a:xfrm>
              <a:off x="623103" y="3154570"/>
              <a:ext cx="1426940" cy="1426566"/>
            </a:xfrm>
            <a:prstGeom prst="rect">
              <a:avLst/>
            </a:prstGeom>
            <a:noFill/>
          </p:spPr>
        </p:pic>
      </p:grpSp>
      <p:grpSp>
        <p:nvGrpSpPr>
          <p:cNvPr id="16" name="Group 15"/>
          <p:cNvGrpSpPr/>
          <p:nvPr/>
        </p:nvGrpSpPr>
        <p:grpSpPr>
          <a:xfrm>
            <a:off x="684023" y="2894866"/>
            <a:ext cx="879753" cy="879524"/>
            <a:chOff x="623103" y="4879525"/>
            <a:chExt cx="1407604" cy="1407238"/>
          </a:xfrm>
        </p:grpSpPr>
        <p:sp>
          <p:nvSpPr>
            <p:cNvPr id="9" name="Rectangle 8"/>
            <p:cNvSpPr/>
            <p:nvPr/>
          </p:nvSpPr>
          <p:spPr bwMode="auto">
            <a:xfrm>
              <a:off x="623103" y="4879525"/>
              <a:ext cx="1407604" cy="1407238"/>
            </a:xfrm>
            <a:prstGeom prst="rect">
              <a:avLst/>
            </a:prstGeom>
            <a:solidFill>
              <a:schemeClr val="accent2"/>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a:lnSpc>
                  <a:spcPct val="90000"/>
                </a:lnSpc>
                <a:buSzPct val="90000"/>
              </a:pPr>
              <a:endParaRPr lang="en-US" sz="1800" dirty="0">
                <a:gradFill>
                  <a:gsLst>
                    <a:gs pos="85000">
                      <a:srgbClr val="FFFFFF"/>
                    </a:gs>
                    <a:gs pos="0">
                      <a:srgbClr val="FFFFFF"/>
                    </a:gs>
                  </a:gsLst>
                  <a:lin ang="5400000" scaled="0"/>
                </a:gradFill>
              </a:endParaRPr>
            </a:p>
          </p:txBody>
        </p:sp>
        <p:sp>
          <p:nvSpPr>
            <p:cNvPr id="8" name="Freeform 18"/>
            <p:cNvSpPr>
              <a:spLocks noEditPoints="1"/>
            </p:cNvSpPr>
            <p:nvPr/>
          </p:nvSpPr>
          <p:spPr bwMode="black">
            <a:xfrm>
              <a:off x="861708" y="5015608"/>
              <a:ext cx="930394" cy="1135072"/>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000" dirty="0"/>
            </a:p>
          </p:txBody>
        </p:sp>
      </p:grpSp>
      <p:grpSp>
        <p:nvGrpSpPr>
          <p:cNvPr id="15" name="Group 14"/>
          <p:cNvGrpSpPr/>
          <p:nvPr/>
        </p:nvGrpSpPr>
        <p:grpSpPr>
          <a:xfrm>
            <a:off x="684023" y="3904423"/>
            <a:ext cx="879753" cy="879524"/>
            <a:chOff x="623103" y="6635257"/>
            <a:chExt cx="1407604" cy="1407238"/>
          </a:xfrm>
        </p:grpSpPr>
        <p:sp>
          <p:nvSpPr>
            <p:cNvPr id="10" name="Rectangle 9"/>
            <p:cNvSpPr/>
            <p:nvPr/>
          </p:nvSpPr>
          <p:spPr bwMode="auto">
            <a:xfrm>
              <a:off x="623103" y="6635257"/>
              <a:ext cx="1407604" cy="1407238"/>
            </a:xfrm>
            <a:prstGeom prst="rect">
              <a:avLst/>
            </a:prstGeom>
            <a:solidFill>
              <a:schemeClr val="accent1"/>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a:lnSpc>
                  <a:spcPct val="90000"/>
                </a:lnSpc>
                <a:buSzPct val="90000"/>
              </a:pPr>
              <a:endParaRPr lang="en-US" sz="1800" dirty="0">
                <a:gradFill>
                  <a:gsLst>
                    <a:gs pos="85000">
                      <a:srgbClr val="FFFFFF"/>
                    </a:gs>
                    <a:gs pos="0">
                      <a:srgbClr val="FFFFFF"/>
                    </a:gs>
                  </a:gsLst>
                  <a:lin ang="5400000" scaled="0"/>
                </a:gradFill>
              </a:endParaRPr>
            </a:p>
          </p:txBody>
        </p:sp>
        <p:pic>
          <p:nvPicPr>
            <p:cNvPr id="11"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849224" y="6906154"/>
              <a:ext cx="955362" cy="86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1" name="Rectangle 20"/>
          <p:cNvSpPr/>
          <p:nvPr/>
        </p:nvSpPr>
        <p:spPr bwMode="auto">
          <a:xfrm>
            <a:off x="1700827" y="3904423"/>
            <a:ext cx="3165752" cy="879524"/>
          </a:xfrm>
          <a:prstGeom prst="rect">
            <a:avLst/>
          </a:prstGeom>
          <a:solidFill>
            <a:schemeClr val="accent1"/>
          </a:solidFill>
          <a:ln w="9525" cap="flat" cmpd="sng" algn="ctr">
            <a:noFill/>
            <a:prstDash val="solid"/>
            <a:headEnd type="none" w="med" len="med"/>
            <a:tailEnd type="none" w="med" len="med"/>
          </a:ln>
          <a:effectLst/>
        </p:spPr>
        <p:txBody>
          <a:bodyPr vert="horz" wrap="square" lIns="137142" tIns="68571" rIns="68571" bIns="68571" numCol="1" rtlCol="0" anchor="b" anchorCtr="0" compatLnSpc="1">
            <a:prstTxWarp prst="textNoShape">
              <a:avLst/>
            </a:prstTxWarp>
          </a:bodyPr>
          <a:lstStyle/>
          <a:p>
            <a:r>
              <a:rPr lang="en-US" sz="2500" dirty="0">
                <a:gradFill flip="none" rotWithShape="1">
                  <a:gsLst>
                    <a:gs pos="0">
                      <a:schemeClr val="tx1">
                        <a:lumMod val="65000"/>
                        <a:lumOff val="35000"/>
                      </a:schemeClr>
                    </a:gs>
                    <a:gs pos="100000">
                      <a:schemeClr val="tx1">
                        <a:lumMod val="75000"/>
                        <a:lumOff val="25000"/>
                      </a:schemeClr>
                    </a:gs>
                  </a:gsLst>
                  <a:path path="circle">
                    <a:fillToRect r="100000" b="100000"/>
                  </a:path>
                  <a:tileRect l="-100000" t="-100000"/>
                </a:gradFill>
              </a:rPr>
              <a:t>Capacity management</a:t>
            </a:r>
          </a:p>
        </p:txBody>
      </p:sp>
      <p:sp>
        <p:nvSpPr>
          <p:cNvPr id="22" name="Rectangle 21"/>
          <p:cNvSpPr/>
          <p:nvPr/>
        </p:nvSpPr>
        <p:spPr bwMode="auto">
          <a:xfrm>
            <a:off x="5007496" y="3904423"/>
            <a:ext cx="3446378" cy="879524"/>
          </a:xfrm>
          <a:prstGeom prst="rect">
            <a:avLst/>
          </a:prstGeom>
          <a:solidFill>
            <a:schemeClr val="accent1"/>
          </a:solidFill>
          <a:ln w="9525" cap="flat" cmpd="sng" algn="ctr">
            <a:noFill/>
            <a:prstDash val="solid"/>
            <a:headEnd type="none" w="med" len="med"/>
            <a:tailEnd type="none" w="med" len="med"/>
          </a:ln>
          <a:effectLst/>
        </p:spPr>
        <p:txBody>
          <a:bodyPr vert="horz" wrap="square" lIns="137142" tIns="68571" rIns="68571" bIns="68571" numCol="1" rtlCol="0" anchor="t" anchorCtr="0" compatLnSpc="1">
            <a:prstTxWarp prst="textNoShape">
              <a:avLst/>
            </a:prstTxWarp>
          </a:bodyPr>
          <a:lstStyle/>
          <a:p>
            <a:pPr>
              <a:spcBef>
                <a:spcPts val="375"/>
              </a:spcBef>
              <a:spcAft>
                <a:spcPts val="375"/>
              </a:spcAft>
              <a:buSzPct val="90000"/>
            </a:pPr>
            <a:r>
              <a:rPr lang="en-US" sz="1500" dirty="0">
                <a:gradFill>
                  <a:gsLst>
                    <a:gs pos="85000">
                      <a:srgbClr val="FFFFFF"/>
                    </a:gs>
                    <a:gs pos="0">
                      <a:srgbClr val="FFFFFF"/>
                    </a:gs>
                  </a:gsLst>
                  <a:lin ang="5400000" scaled="0"/>
                </a:gradFill>
              </a:rPr>
              <a:t>Extra capacity reserved in each </a:t>
            </a:r>
            <a:br>
              <a:rPr lang="en-US" sz="1500" dirty="0">
                <a:gradFill>
                  <a:gsLst>
                    <a:gs pos="85000">
                      <a:srgbClr val="FFFFFF"/>
                    </a:gs>
                    <a:gs pos="0">
                      <a:srgbClr val="FFFFFF"/>
                    </a:gs>
                  </a:gsLst>
                  <a:lin ang="5400000" scaled="0"/>
                </a:gradFill>
              </a:rPr>
            </a:br>
            <a:r>
              <a:rPr lang="en-US" sz="1500" dirty="0">
                <a:gradFill>
                  <a:gsLst>
                    <a:gs pos="85000">
                      <a:srgbClr val="FFFFFF"/>
                    </a:gs>
                    <a:gs pos="0">
                      <a:srgbClr val="FFFFFF"/>
                    </a:gs>
                  </a:gsLst>
                  <a:lin ang="5400000" scaled="0"/>
                </a:gradFill>
              </a:rPr>
              <a:t>datacenter for DR purposes</a:t>
            </a:r>
          </a:p>
          <a:p>
            <a:pPr>
              <a:spcBef>
                <a:spcPts val="375"/>
              </a:spcBef>
              <a:spcAft>
                <a:spcPts val="375"/>
              </a:spcAft>
              <a:buSzPct val="90000"/>
            </a:pPr>
            <a:r>
              <a:rPr lang="en-US" sz="1500" dirty="0">
                <a:gradFill>
                  <a:gsLst>
                    <a:gs pos="85000">
                      <a:srgbClr val="FFFFFF"/>
                    </a:gs>
                    <a:gs pos="0">
                      <a:srgbClr val="FFFFFF"/>
                    </a:gs>
                  </a:gsLst>
                  <a:lin ang="5400000" scaled="0"/>
                </a:gradFill>
              </a:rPr>
              <a:t>“N+1” model for failover</a:t>
            </a:r>
          </a:p>
        </p:txBody>
      </p:sp>
      <p:sp>
        <p:nvSpPr>
          <p:cNvPr id="23" name="Rectangle 22"/>
          <p:cNvSpPr/>
          <p:nvPr/>
        </p:nvSpPr>
        <p:spPr bwMode="auto">
          <a:xfrm>
            <a:off x="1700827" y="2894866"/>
            <a:ext cx="6753048" cy="879524"/>
          </a:xfrm>
          <a:prstGeom prst="rect">
            <a:avLst/>
          </a:prstGeom>
          <a:solidFill>
            <a:schemeClr val="accent2"/>
          </a:solidFill>
          <a:ln w="9525" cap="flat" cmpd="sng" algn="ctr">
            <a:noFill/>
            <a:prstDash val="solid"/>
            <a:headEnd type="none" w="med" len="med"/>
            <a:tailEnd type="none" w="med" len="med"/>
          </a:ln>
          <a:effectLst/>
        </p:spPr>
        <p:txBody>
          <a:bodyPr vert="horz" wrap="square" lIns="137142" tIns="68571" rIns="68571" bIns="68571" numCol="1" rtlCol="0" anchor="b" anchorCtr="0" compatLnSpc="1">
            <a:prstTxWarp prst="textNoShape">
              <a:avLst/>
            </a:prstTxWarp>
          </a:bodyPr>
          <a:lstStyle/>
          <a:p>
            <a:pPr>
              <a:lnSpc>
                <a:spcPct val="90000"/>
              </a:lnSpc>
              <a:buSzPct val="90000"/>
            </a:pPr>
            <a:r>
              <a:rPr lang="en-US" sz="2500" dirty="0">
                <a:gradFill>
                  <a:gsLst>
                    <a:gs pos="85000">
                      <a:srgbClr val="FFFFFF"/>
                    </a:gs>
                    <a:gs pos="0">
                      <a:srgbClr val="FFFFFF"/>
                    </a:gs>
                  </a:gsLst>
                  <a:lin ang="5400000" scaled="0"/>
                </a:gradFill>
              </a:rPr>
              <a:t>Testing, simulations and process refinements</a:t>
            </a:r>
          </a:p>
        </p:txBody>
      </p:sp>
      <p:sp>
        <p:nvSpPr>
          <p:cNvPr id="25" name="Rectangle 24"/>
          <p:cNvSpPr/>
          <p:nvPr/>
        </p:nvSpPr>
        <p:spPr bwMode="auto">
          <a:xfrm>
            <a:off x="1700827" y="1893871"/>
            <a:ext cx="3165752" cy="879524"/>
          </a:xfrm>
          <a:prstGeom prst="rect">
            <a:avLst/>
          </a:prstGeom>
          <a:solidFill>
            <a:schemeClr val="accent4"/>
          </a:solidFill>
          <a:ln w="9525" cap="flat" cmpd="sng" algn="ctr">
            <a:noFill/>
            <a:prstDash val="solid"/>
            <a:headEnd type="none" w="med" len="med"/>
            <a:tailEnd type="none" w="med" len="med"/>
          </a:ln>
          <a:effectLst/>
        </p:spPr>
        <p:txBody>
          <a:bodyPr vert="horz" wrap="square" lIns="137142" tIns="68571" rIns="68571" bIns="68571" numCol="1" rtlCol="0" anchor="b" anchorCtr="0" compatLnSpc="1">
            <a:prstTxWarp prst="textNoShape">
              <a:avLst/>
            </a:prstTxWarp>
          </a:bodyPr>
          <a:lstStyle/>
          <a:p>
            <a:pPr>
              <a:lnSpc>
                <a:spcPct val="90000"/>
              </a:lnSpc>
              <a:buSzPct val="90000"/>
            </a:pPr>
            <a:r>
              <a:rPr lang="en-US" sz="2500" dirty="0">
                <a:gradFill>
                  <a:gsLst>
                    <a:gs pos="85000">
                      <a:srgbClr val="FFFFFF"/>
                    </a:gs>
                    <a:gs pos="0">
                      <a:srgbClr val="FFFFFF"/>
                    </a:gs>
                  </a:gsLst>
                  <a:lin ang="5400000" scaled="0"/>
                </a:gradFill>
              </a:rPr>
              <a:t>Platform meta state</a:t>
            </a:r>
          </a:p>
        </p:txBody>
      </p:sp>
      <p:sp>
        <p:nvSpPr>
          <p:cNvPr id="26" name="Rectangle 25"/>
          <p:cNvSpPr/>
          <p:nvPr/>
        </p:nvSpPr>
        <p:spPr bwMode="auto">
          <a:xfrm>
            <a:off x="5007496" y="1893871"/>
            <a:ext cx="3446378" cy="879524"/>
          </a:xfrm>
          <a:prstGeom prst="rect">
            <a:avLst/>
          </a:prstGeom>
          <a:solidFill>
            <a:schemeClr val="accent4"/>
          </a:solidFill>
          <a:ln w="9525" cap="flat" cmpd="sng" algn="ctr">
            <a:noFill/>
            <a:prstDash val="solid"/>
            <a:headEnd type="none" w="med" len="med"/>
            <a:tailEnd type="none" w="med" len="med"/>
          </a:ln>
          <a:effectLst/>
        </p:spPr>
        <p:txBody>
          <a:bodyPr vert="horz" wrap="square" lIns="137142" tIns="68571" rIns="68571" bIns="68571" numCol="1" rtlCol="0" anchor="t" anchorCtr="0" compatLnSpc="1">
            <a:prstTxWarp prst="textNoShape">
              <a:avLst/>
            </a:prstTxWarp>
          </a:bodyPr>
          <a:lstStyle/>
          <a:p>
            <a:pPr>
              <a:spcBef>
                <a:spcPts val="375"/>
              </a:spcBef>
              <a:spcAft>
                <a:spcPts val="375"/>
              </a:spcAft>
              <a:buSzPct val="90000"/>
            </a:pPr>
            <a:r>
              <a:rPr lang="en-US" sz="1500" dirty="0">
                <a:gradFill>
                  <a:gsLst>
                    <a:gs pos="85000">
                      <a:srgbClr val="FFFFFF"/>
                    </a:gs>
                    <a:gs pos="0">
                      <a:srgbClr val="FFFFFF"/>
                    </a:gs>
                  </a:gsLst>
                  <a:lin ang="5400000" scaled="0"/>
                </a:gradFill>
              </a:rPr>
              <a:t>Stored in storage system</a:t>
            </a:r>
          </a:p>
          <a:p>
            <a:pPr>
              <a:spcBef>
                <a:spcPts val="375"/>
              </a:spcBef>
              <a:spcAft>
                <a:spcPts val="375"/>
              </a:spcAft>
              <a:buSzPct val="90000"/>
            </a:pPr>
            <a:r>
              <a:rPr lang="en-US" sz="1500" dirty="0">
                <a:gradFill>
                  <a:gsLst>
                    <a:gs pos="85000">
                      <a:srgbClr val="FFFFFF"/>
                    </a:gs>
                    <a:gs pos="0">
                      <a:srgbClr val="FFFFFF"/>
                    </a:gs>
                  </a:gsLst>
                  <a:lin ang="5400000" scaled="0"/>
                </a:gradFill>
              </a:rPr>
              <a:t>Frequently check-pointed, </a:t>
            </a:r>
            <a:br>
              <a:rPr lang="en-US" sz="1500" dirty="0">
                <a:gradFill>
                  <a:gsLst>
                    <a:gs pos="85000">
                      <a:srgbClr val="FFFFFF"/>
                    </a:gs>
                    <a:gs pos="0">
                      <a:srgbClr val="FFFFFF"/>
                    </a:gs>
                  </a:gsLst>
                  <a:lin ang="5400000" scaled="0"/>
                </a:gradFill>
              </a:rPr>
            </a:br>
            <a:r>
              <a:rPr lang="en-US" sz="1500" dirty="0">
                <a:gradFill>
                  <a:gsLst>
                    <a:gs pos="85000">
                      <a:srgbClr val="FFFFFF"/>
                    </a:gs>
                    <a:gs pos="0">
                      <a:srgbClr val="FFFFFF"/>
                    </a:gs>
                  </a:gsLst>
                  <a:lin ang="5400000" scaled="0"/>
                </a:gradFill>
              </a:rPr>
              <a:t>backed-up and geo replicated</a:t>
            </a:r>
          </a:p>
        </p:txBody>
      </p:sp>
      <p:sp>
        <p:nvSpPr>
          <p:cNvPr id="27" name="Rectangle 26"/>
          <p:cNvSpPr/>
          <p:nvPr/>
        </p:nvSpPr>
        <p:spPr bwMode="auto">
          <a:xfrm>
            <a:off x="1700826" y="894111"/>
            <a:ext cx="6759157" cy="879524"/>
          </a:xfrm>
          <a:prstGeom prst="rect">
            <a:avLst/>
          </a:prstGeom>
          <a:solidFill>
            <a:schemeClr val="accent5"/>
          </a:solidFill>
          <a:ln w="9525" cap="flat" cmpd="sng" algn="ctr">
            <a:noFill/>
            <a:prstDash val="solid"/>
            <a:headEnd type="none" w="med" len="med"/>
            <a:tailEnd type="none" w="med" len="med"/>
          </a:ln>
          <a:effectLst/>
        </p:spPr>
        <p:txBody>
          <a:bodyPr vert="horz" wrap="square" lIns="137142" tIns="68571" rIns="68571" bIns="68571" numCol="1" rtlCol="0" anchor="b" anchorCtr="0" compatLnSpc="1">
            <a:prstTxWarp prst="textNoShape">
              <a:avLst/>
            </a:prstTxWarp>
          </a:bodyPr>
          <a:lstStyle/>
          <a:p>
            <a:pPr>
              <a:lnSpc>
                <a:spcPct val="90000"/>
              </a:lnSpc>
              <a:buSzPct val="90000"/>
            </a:pPr>
            <a:r>
              <a:rPr lang="en-US" sz="2500" dirty="0">
                <a:gradFill>
                  <a:gsLst>
                    <a:gs pos="85000">
                      <a:srgbClr val="FFFFFF"/>
                    </a:gs>
                    <a:gs pos="0">
                      <a:srgbClr val="FFFFFF"/>
                    </a:gs>
                  </a:gsLst>
                  <a:lin ang="5400000" scaled="0"/>
                </a:gradFill>
              </a:rPr>
              <a:t>On-going investment in disaster preparedness</a:t>
            </a:r>
          </a:p>
        </p:txBody>
      </p:sp>
      <p:sp>
        <p:nvSpPr>
          <p:cNvPr id="24"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8"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6"/>
              </a:rPr>
              <a:t>www.rapidbbs.cn</a:t>
            </a:r>
            <a:endParaRPr lang="zh-CN" altLang="en-US" sz="1200" b="0">
              <a:latin typeface="Arial" charset="0"/>
              <a:ea typeface="ＭＳ Ｐゴシック" pitchFamily="34" charset="-128"/>
            </a:endParaRPr>
          </a:p>
        </p:txBody>
      </p:sp>
      <p:pic>
        <p:nvPicPr>
          <p:cNvPr id="29" name="Picture 2">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44655723"/>
      </p:ext>
    </p:extLst>
  </p:cSld>
  <p:clrMapOvr>
    <a:masterClrMapping/>
  </p:clrMapOvr>
  <p:transition>
    <p:fade/>
  </p:transition>
  <p:timing>
    <p:tnLst>
      <p:par>
        <p:cTn id="1" dur="indefinite" restart="never" nodeType="tmRoot"/>
      </p:par>
    </p:tnLst>
  </p:timing>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itle 45"/>
          <p:cNvSpPr>
            <a:spLocks noGrp="1"/>
          </p:cNvSpPr>
          <p:nvPr>
            <p:ph type="title"/>
          </p:nvPr>
        </p:nvSpPr>
        <p:spPr>
          <a:xfrm>
            <a:off x="178531" y="152789"/>
            <a:ext cx="8375946" cy="666363"/>
          </a:xfrm>
        </p:spPr>
        <p:txBody>
          <a:bodyPr anchor="t">
            <a:noAutofit/>
          </a:bodyPr>
          <a:lstStyle/>
          <a:p>
            <a:r>
              <a:rPr lang="en-US" sz="3800" dirty="0"/>
              <a:t>Windows 8 investments in client security</a:t>
            </a:r>
          </a:p>
        </p:txBody>
      </p:sp>
      <p:grpSp>
        <p:nvGrpSpPr>
          <p:cNvPr id="10" name="Group 9"/>
          <p:cNvGrpSpPr/>
          <p:nvPr/>
        </p:nvGrpSpPr>
        <p:grpSpPr>
          <a:xfrm>
            <a:off x="3215964" y="2615749"/>
            <a:ext cx="1964770" cy="869772"/>
            <a:chOff x="960801" y="2194222"/>
            <a:chExt cx="2619011" cy="1159696"/>
          </a:xfrm>
        </p:grpSpPr>
        <p:grpSp>
          <p:nvGrpSpPr>
            <p:cNvPr id="11" name="Group 82"/>
            <p:cNvGrpSpPr/>
            <p:nvPr/>
          </p:nvGrpSpPr>
          <p:grpSpPr>
            <a:xfrm>
              <a:off x="960801" y="2230808"/>
              <a:ext cx="1293989" cy="1123110"/>
              <a:chOff x="7155366" y="2381353"/>
              <a:chExt cx="1121634" cy="1042785"/>
            </a:xfrm>
            <a:effectLst>
              <a:outerShdw blurRad="50800" dist="38100" dir="5400000" algn="t" rotWithShape="0">
                <a:prstClr val="black">
                  <a:alpha val="40000"/>
                </a:prstClr>
              </a:outerShdw>
            </a:effectLst>
          </p:grpSpPr>
          <p:pic>
            <p:nvPicPr>
              <p:cNvPr id="17" name="Picture 6" descr="C:\Users\aheaton\AppData\Local\Microsoft\Windows\Temporary Internet Files\Content.IE5\U60ZBJ5U\MCj04315710000[1].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155366" y="2381353"/>
                <a:ext cx="1121634" cy="1042785"/>
              </a:xfrm>
              <a:prstGeom prst="rect">
                <a:avLst/>
              </a:prstGeom>
              <a:noFill/>
            </p:spPr>
          </p:pic>
          <p:pic>
            <p:nvPicPr>
              <p:cNvPr id="18" name="Picture 2" descr="\\eventsql\dvd\Online_ART\DVD_ART34\Artwork_Imagery\Icons - Illustrations\_WINDOWS VISTA ICONS\Keys secure security.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612566" y="2609953"/>
                <a:ext cx="457199" cy="457200"/>
              </a:xfrm>
              <a:prstGeom prst="rect">
                <a:avLst/>
              </a:prstGeom>
              <a:noFill/>
            </p:spPr>
          </p:pic>
        </p:grpSp>
        <p:grpSp>
          <p:nvGrpSpPr>
            <p:cNvPr id="12" name="Group 81"/>
            <p:cNvGrpSpPr/>
            <p:nvPr/>
          </p:nvGrpSpPr>
          <p:grpSpPr>
            <a:xfrm>
              <a:off x="2154491" y="2194222"/>
              <a:ext cx="1425321" cy="994506"/>
              <a:chOff x="703293" y="5364790"/>
              <a:chExt cx="808181" cy="645261"/>
            </a:xfrm>
          </p:grpSpPr>
          <p:pic>
            <p:nvPicPr>
              <p:cNvPr id="15" name="Picture 3" descr="C:\Program Files\Microsoft Resource DVD Artwork\DVD_ART\Artwork_Imagery\HARDWARE_IMAGERY\Photos - OEM Hardware\Computer\Vista Laptop\Gateway M680 laptop Vista Business.png"/>
              <p:cNvPicPr>
                <a:picLocks noChangeAspect="1" noChangeArrowheads="1"/>
              </p:cNvPicPr>
              <p:nvPr/>
            </p:nvPicPr>
            <p:blipFill>
              <a:blip r:embed="rId5" cstate="print">
                <a:extLst>
                  <a:ext uri="{28A0092B-C50C-407E-A947-70E740481C1C}">
                    <a14:useLocalDpi xmlns:a14="http://schemas.microsoft.com/office/drawing/2010/main"/>
                  </a:ext>
                </a:extLst>
              </a:blip>
              <a:srcRect r="-600" b="-6222"/>
              <a:stretch>
                <a:fillRect/>
              </a:stretch>
            </p:blipFill>
            <p:spPr bwMode="auto">
              <a:xfrm>
                <a:off x="703293" y="5371361"/>
                <a:ext cx="808181" cy="638690"/>
              </a:xfrm>
              <a:prstGeom prst="rect">
                <a:avLst/>
              </a:prstGeom>
              <a:noFill/>
              <a:effectLst>
                <a:outerShdw blurRad="50800" dist="38100" dir="2700000" algn="tl" rotWithShape="0">
                  <a:prstClr val="black">
                    <a:alpha val="40000"/>
                  </a:prstClr>
                </a:outerShdw>
              </a:effectLst>
            </p:spPr>
          </p:pic>
          <p:pic>
            <p:nvPicPr>
              <p:cNvPr id="16" name="Picture 15" descr="futuristic_screen.png"/>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a:xfrm>
                <a:off x="703517" y="5364790"/>
                <a:ext cx="558032" cy="433496"/>
              </a:xfrm>
              <a:prstGeom prst="rect">
                <a:avLst/>
              </a:prstGeom>
            </p:spPr>
          </p:pic>
        </p:grpSp>
        <p:pic>
          <p:nvPicPr>
            <p:cNvPr id="13" name="Picture 4" descr="image004"/>
            <p:cNvPicPr>
              <a:picLocks noChangeAspect="1" noChangeArrowheads="1"/>
            </p:cNvPicPr>
            <p:nvPr/>
          </p:nvPicPr>
          <p:blipFill>
            <a:blip r:embed="rId7" cstate="email">
              <a:extLst>
                <a:ext uri="{28A0092B-C50C-407E-A947-70E740481C1C}">
                  <a14:useLocalDpi xmlns:a14="http://schemas.microsoft.com/office/drawing/2010/main"/>
                </a:ext>
              </a:extLst>
            </a:blip>
            <a:stretch>
              <a:fillRect/>
            </a:stretch>
          </p:blipFill>
          <p:spPr bwMode="auto">
            <a:xfrm>
              <a:off x="2484801" y="2377707"/>
              <a:ext cx="408787" cy="406618"/>
            </a:xfrm>
            <a:prstGeom prst="rect">
              <a:avLst/>
            </a:prstGeom>
            <a:noFill/>
            <a:ln>
              <a:noFill/>
            </a:ln>
          </p:spPr>
        </p:pic>
        <p:pic>
          <p:nvPicPr>
            <p:cNvPr id="14" name="Picture 2" descr="\\eventsql\dvd\Online_ART\DVD_ART34\Artwork_Imagery\Icons - Illustrations\_WINDOWS VISTA ICONS\Keys secure security.png"/>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2858754" y="2480926"/>
              <a:ext cx="539459" cy="490874"/>
            </a:xfrm>
            <a:prstGeom prst="rect">
              <a:avLst/>
            </a:prstGeom>
            <a:noFill/>
          </p:spPr>
        </p:pic>
      </p:grpSp>
      <p:grpSp>
        <p:nvGrpSpPr>
          <p:cNvPr id="20" name="Group 19"/>
          <p:cNvGrpSpPr/>
          <p:nvPr/>
        </p:nvGrpSpPr>
        <p:grpSpPr>
          <a:xfrm>
            <a:off x="3450144" y="1327156"/>
            <a:ext cx="1351714" cy="885410"/>
            <a:chOff x="5203950" y="2133600"/>
            <a:chExt cx="1801816" cy="1180547"/>
          </a:xfrm>
        </p:grpSpPr>
        <p:pic>
          <p:nvPicPr>
            <p:cNvPr id="21" name="Picture 5" descr="\\eventsql\dvd27\Clip_Installer\DVD_ART\Artwork_Imagery\HARDWARE_IMAGERY\Illustration - Misc Hardware\Windows Vista Illustration Icons\Server.pn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5905273" y="2230808"/>
              <a:ext cx="902552" cy="926545"/>
            </a:xfrm>
            <a:prstGeom prst="rect">
              <a:avLst/>
            </a:prstGeom>
            <a:noFill/>
            <a:ln w="9525">
              <a:noFill/>
              <a:miter lim="800000"/>
              <a:headEnd/>
              <a:tailEnd/>
            </a:ln>
          </p:spPr>
        </p:pic>
        <p:grpSp>
          <p:nvGrpSpPr>
            <p:cNvPr id="22" name="Group 146"/>
            <p:cNvGrpSpPr/>
            <p:nvPr/>
          </p:nvGrpSpPr>
          <p:grpSpPr>
            <a:xfrm>
              <a:off x="6257517" y="2510043"/>
              <a:ext cx="748249" cy="309357"/>
              <a:chOff x="6505548" y="845445"/>
              <a:chExt cx="855186" cy="627755"/>
            </a:xfrm>
          </p:grpSpPr>
          <p:pic>
            <p:nvPicPr>
              <p:cNvPr id="26" name="Picture 25" descr="server.png"/>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6505548" y="845445"/>
                <a:ext cx="338102" cy="449955"/>
              </a:xfrm>
              <a:prstGeom prst="rect">
                <a:avLst/>
              </a:prstGeom>
            </p:spPr>
          </p:pic>
          <p:pic>
            <p:nvPicPr>
              <p:cNvPr id="27" name="Picture 26" descr="server.png"/>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7022632" y="845445"/>
                <a:ext cx="338102" cy="449954"/>
              </a:xfrm>
              <a:prstGeom prst="rect">
                <a:avLst/>
              </a:prstGeom>
            </p:spPr>
          </p:pic>
          <p:pic>
            <p:nvPicPr>
              <p:cNvPr id="28" name="Picture 27" descr="server.png"/>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6683348" y="1023245"/>
                <a:ext cx="338102" cy="449955"/>
              </a:xfrm>
              <a:prstGeom prst="rect">
                <a:avLst/>
              </a:prstGeom>
            </p:spPr>
          </p:pic>
        </p:grpSp>
        <p:pic>
          <p:nvPicPr>
            <p:cNvPr id="23" name="Picture 2" descr="M:\PPT Resources\RESOURCE DVD 35\Artwork_Imagery\Shapes\Arrows\White Collection 25 percent opaque - soft shadow\curved arrow 3.png"/>
            <p:cNvPicPr>
              <a:picLocks noChangeAspect="1" noChangeArrowheads="1"/>
            </p:cNvPicPr>
            <p:nvPr/>
          </p:nvPicPr>
          <p:blipFill>
            <a:blip r:embed="rId11" cstate="email">
              <a:duotone>
                <a:prstClr val="black"/>
                <a:schemeClr val="accent1">
                  <a:tint val="45000"/>
                  <a:satMod val="400000"/>
                </a:schemeClr>
              </a:duotone>
              <a:extLst>
                <a:ext uri="{28A0092B-C50C-407E-A947-70E740481C1C}">
                  <a14:useLocalDpi xmlns:a14="http://schemas.microsoft.com/office/drawing/2010/main"/>
                </a:ext>
              </a:extLst>
            </a:blip>
            <a:srcRect/>
            <a:stretch>
              <a:fillRect/>
            </a:stretch>
          </p:blipFill>
          <p:spPr bwMode="auto">
            <a:xfrm rot="7869389">
              <a:off x="5672897" y="1996797"/>
              <a:ext cx="631891" cy="905497"/>
            </a:xfrm>
            <a:prstGeom prst="rect">
              <a:avLst/>
            </a:prstGeom>
            <a:noFill/>
          </p:spPr>
        </p:pic>
        <p:pic>
          <p:nvPicPr>
            <p:cNvPr id="24" name="Picture 23" descr="112.png"/>
            <p:cNvPicPr>
              <a:picLocks noChangeAspect="1"/>
            </p:cNvPicPr>
            <p:nvPr/>
          </p:nvPicPr>
          <p:blipFill>
            <a:blip r:embed="rId12" cstate="email">
              <a:extLst>
                <a:ext uri="{28A0092B-C50C-407E-A947-70E740481C1C}">
                  <a14:useLocalDpi xmlns:a14="http://schemas.microsoft.com/office/drawing/2010/main"/>
                </a:ext>
              </a:extLst>
            </a:blip>
            <a:srcRect/>
            <a:stretch>
              <a:fillRect/>
            </a:stretch>
          </p:blipFill>
          <p:spPr bwMode="auto">
            <a:xfrm>
              <a:off x="5203950" y="2488357"/>
              <a:ext cx="956954" cy="780930"/>
            </a:xfrm>
            <a:prstGeom prst="rect">
              <a:avLst/>
            </a:prstGeom>
            <a:noFill/>
            <a:effectLst>
              <a:outerShdw blurRad="76200" dir="18900000" sy="23000" kx="-1200000" algn="bl" rotWithShape="0">
                <a:prstClr val="black">
                  <a:alpha val="20000"/>
                </a:prstClr>
              </a:outerShdw>
            </a:effectLst>
          </p:spPr>
        </p:pic>
        <p:pic>
          <p:nvPicPr>
            <p:cNvPr id="25" name="Picture 2" descr="\\eventsql\dvd\Online_ART\DVD_ART36\Logos\Internet Explorer 8\Internet Explorer 8 IE logo v r.png"/>
            <p:cNvPicPr>
              <a:picLocks noChangeAspect="1" noChangeArrowheads="1"/>
            </p:cNvPicPr>
            <p:nvPr/>
          </p:nvPicPr>
          <p:blipFill rotWithShape="1">
            <a:blip r:embed="rId13" cstate="print">
              <a:extLst>
                <a:ext uri="{28A0092B-C50C-407E-A947-70E740481C1C}">
                  <a14:useLocalDpi xmlns:a14="http://schemas.microsoft.com/office/drawing/2010/main"/>
                </a:ext>
              </a:extLst>
            </a:blip>
            <a:srcRect/>
            <a:stretch/>
          </p:blipFill>
          <p:spPr bwMode="auto">
            <a:xfrm>
              <a:off x="6160904" y="2879837"/>
              <a:ext cx="461972" cy="434310"/>
            </a:xfrm>
            <a:prstGeom prst="rect">
              <a:avLst/>
            </a:prstGeom>
            <a:extLst/>
          </p:spPr>
        </p:pic>
      </p:grpSp>
      <p:grpSp>
        <p:nvGrpSpPr>
          <p:cNvPr id="29" name="Group 28"/>
          <p:cNvGrpSpPr/>
          <p:nvPr/>
        </p:nvGrpSpPr>
        <p:grpSpPr>
          <a:xfrm>
            <a:off x="3558130" y="3773701"/>
            <a:ext cx="1337990" cy="857250"/>
            <a:chOff x="9035290" y="1981201"/>
            <a:chExt cx="1783522" cy="1143000"/>
          </a:xfrm>
        </p:grpSpPr>
        <p:grpSp>
          <p:nvGrpSpPr>
            <p:cNvPr id="30" name="Group 29"/>
            <p:cNvGrpSpPr/>
            <p:nvPr/>
          </p:nvGrpSpPr>
          <p:grpSpPr>
            <a:xfrm>
              <a:off x="9035290" y="1981201"/>
              <a:ext cx="1783522" cy="1143000"/>
              <a:chOff x="8713235" y="1848140"/>
              <a:chExt cx="2476441" cy="1587070"/>
            </a:xfrm>
          </p:grpSpPr>
          <p:pic>
            <p:nvPicPr>
              <p:cNvPr id="33" name="Picture 32" descr="radio waves wireless signals.png"/>
              <p:cNvPicPr>
                <a:picLocks noChangeAspect="1"/>
              </p:cNvPicPr>
              <p:nvPr/>
            </p:nvPicPr>
            <p:blipFill>
              <a:blip r:embed="rId14"/>
              <a:stretch>
                <a:fillRect/>
              </a:stretch>
            </p:blipFill>
            <p:spPr>
              <a:xfrm rot="21351436">
                <a:off x="8713235" y="1848140"/>
                <a:ext cx="2476441" cy="1587070"/>
              </a:xfrm>
              <a:prstGeom prst="rect">
                <a:avLst/>
              </a:prstGeom>
            </p:spPr>
          </p:pic>
          <p:pic>
            <p:nvPicPr>
              <p:cNvPr id="34" name="Picture 4" descr="\\eventsql\dvd\Online_ART\DVD_ART36\Artwork_Imagery\Icons - Illustrations\_ REAL VISTA STYLE\world globe map.png"/>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9192542" y="1909307"/>
                <a:ext cx="1453583" cy="1453587"/>
              </a:xfrm>
              <a:prstGeom prst="rect">
                <a:avLst/>
              </a:prstGeom>
              <a:extLst>
                <a:ext uri="{909E8E84-426E-40DD-AFC4-6F175D3DCCD1}">
                  <a14:hiddenFill xmlns:a14="http://schemas.microsoft.com/office/drawing/2010/main">
                    <a:solidFill>
                      <a:srgbClr val="FFFFFF"/>
                    </a:solidFill>
                  </a14:hiddenFill>
                </a:ext>
                <a:ext uri="{53640926-AAD7-44D8-BBD7-CCE9431645EC}">
                  <a14:shadowObscured xmlns:a14="http://schemas.microsoft.com/office/drawing/2010/main" val="1"/>
                </a:ext>
              </a:extLst>
            </p:spPr>
          </p:pic>
          <p:pic>
            <p:nvPicPr>
              <p:cNvPr id="35" name="Picture 9" descr="\\SERVER3\InternalBin\Resource DVD\DVD_ART36\Artwork_Imagery\Icons - Illustrations\_ REAL VISTA STYLE\lock locked secure security.png"/>
              <p:cNvPicPr>
                <a:picLocks noChangeAspect="1" noChangeArrowheads="1"/>
              </p:cNvPicPr>
              <p:nvPr/>
            </p:nvPicPr>
            <p:blipFill>
              <a:blip r:embed="rId16" cstate="email"/>
              <a:stretch>
                <a:fillRect/>
              </a:stretch>
            </p:blipFill>
            <p:spPr bwMode="auto">
              <a:xfrm>
                <a:off x="8995504" y="2491548"/>
                <a:ext cx="837857" cy="837856"/>
              </a:xfrm>
              <a:prstGeom prst="rect">
                <a:avLst/>
              </a:prstGeom>
              <a:noFill/>
              <a:scene3d>
                <a:camera prst="orthographicFront">
                  <a:rot lat="20765849" lon="615924" rev="21145887"/>
                </a:camera>
                <a:lightRig rig="threePt" dir="t"/>
              </a:scene3d>
            </p:spPr>
          </p:pic>
        </p:grpSp>
        <p:pic>
          <p:nvPicPr>
            <p:cNvPr id="32" name="Picture 3" descr="\\eventsql\dvd\Online_ART\DVD_ART36\Artwork_Imagery\Icons - Illustrations\_ REAL VISTA STYLE\people three icon users.png"/>
            <p:cNvPicPr>
              <a:picLocks noChangeAspect="1" noChangeArrowheads="1"/>
            </p:cNvPicPr>
            <p:nvPr/>
          </p:nvPicPr>
          <p:blipFill>
            <a:blip r:embed="rId17" cstate="email"/>
            <a:stretch>
              <a:fillRect/>
            </a:stretch>
          </p:blipFill>
          <p:spPr bwMode="auto">
            <a:xfrm>
              <a:off x="9980612" y="2590800"/>
              <a:ext cx="511548" cy="450412"/>
            </a:xfrm>
            <a:prstGeom prst="rect">
              <a:avLst/>
            </a:prstGeom>
            <a:noFill/>
            <a:ln>
              <a:noFill/>
            </a:ln>
            <a:extLst>
              <a:ext uri="{909E8E84-426E-40DD-AFC4-6F175D3DCCD1}">
                <a14:hiddenFill xmlns:a14="http://schemas.microsoft.com/office/drawing/2010/main">
                  <a:solidFill>
                    <a:srgbClr val="FFFFFF"/>
                  </a:solidFill>
                </a14:hiddenFill>
              </a:ext>
            </a:extLst>
          </p:spPr>
        </p:pic>
      </p:grpSp>
      <p:sp>
        <p:nvSpPr>
          <p:cNvPr id="36" name="Rectangle 35"/>
          <p:cNvSpPr/>
          <p:nvPr/>
        </p:nvSpPr>
        <p:spPr>
          <a:xfrm>
            <a:off x="5255480" y="1275607"/>
            <a:ext cx="3611116" cy="1418140"/>
          </a:xfrm>
          <a:prstGeom prst="rect">
            <a:avLst/>
          </a:prstGeom>
        </p:spPr>
        <p:txBody>
          <a:bodyPr wrap="square" lIns="89985" tIns="44993" rIns="89985" bIns="44993">
            <a:spAutoFit/>
          </a:bodyPr>
          <a:lstStyle/>
          <a:p>
            <a:r>
              <a:rPr lang="en-US" sz="1500" b="1" dirty="0"/>
              <a:t>Groundbreaking Malware Resistance</a:t>
            </a:r>
          </a:p>
          <a:p>
            <a:r>
              <a:rPr lang="en-US" dirty="0" smtClean="0">
                <a:solidFill>
                  <a:srgbClr val="FFFFFF"/>
                </a:solidFill>
              </a:rPr>
              <a:t>  Protects </a:t>
            </a:r>
            <a:r>
              <a:rPr lang="en-US" dirty="0">
                <a:solidFill>
                  <a:srgbClr val="FFFFFF"/>
                </a:solidFill>
              </a:rPr>
              <a:t>the client, data, and corporate</a:t>
            </a:r>
          </a:p>
          <a:p>
            <a:r>
              <a:rPr lang="en-US" dirty="0" smtClean="0">
                <a:solidFill>
                  <a:srgbClr val="FFFFFF"/>
                </a:solidFill>
              </a:rPr>
              <a:t>  resources </a:t>
            </a:r>
            <a:r>
              <a:rPr lang="en-US" dirty="0">
                <a:solidFill>
                  <a:srgbClr val="FFFFFF"/>
                </a:solidFill>
              </a:rPr>
              <a:t>by making the client inherently </a:t>
            </a:r>
            <a:r>
              <a:rPr lang="en-US" dirty="0" smtClean="0">
                <a:solidFill>
                  <a:srgbClr val="FFFFFF"/>
                </a:solidFill>
              </a:rPr>
              <a:t> </a:t>
            </a:r>
          </a:p>
          <a:p>
            <a:r>
              <a:rPr lang="en-US" dirty="0">
                <a:solidFill>
                  <a:srgbClr val="FFFFFF"/>
                </a:solidFill>
              </a:rPr>
              <a:t> </a:t>
            </a:r>
            <a:r>
              <a:rPr lang="en-US" dirty="0" smtClean="0">
                <a:solidFill>
                  <a:srgbClr val="FFFFFF"/>
                </a:solidFill>
              </a:rPr>
              <a:t> secure </a:t>
            </a:r>
            <a:r>
              <a:rPr lang="en-US" dirty="0">
                <a:solidFill>
                  <a:srgbClr val="FFFFFF"/>
                </a:solidFill>
              </a:rPr>
              <a:t>and less vulnerable from the effects</a:t>
            </a:r>
          </a:p>
          <a:p>
            <a:r>
              <a:rPr lang="en-US" dirty="0" smtClean="0">
                <a:solidFill>
                  <a:srgbClr val="FFFFFF"/>
                </a:solidFill>
              </a:rPr>
              <a:t>  from </a:t>
            </a:r>
            <a:r>
              <a:rPr lang="en-US" dirty="0">
                <a:solidFill>
                  <a:srgbClr val="FFFFFF"/>
                </a:solidFill>
              </a:rPr>
              <a:t>malware.</a:t>
            </a:r>
          </a:p>
        </p:txBody>
      </p:sp>
      <p:sp>
        <p:nvSpPr>
          <p:cNvPr id="37" name="Rectangle 36"/>
          <p:cNvSpPr/>
          <p:nvPr/>
        </p:nvSpPr>
        <p:spPr>
          <a:xfrm>
            <a:off x="5292034" y="2436736"/>
            <a:ext cx="3248662" cy="1418140"/>
          </a:xfrm>
          <a:prstGeom prst="rect">
            <a:avLst/>
          </a:prstGeom>
        </p:spPr>
        <p:txBody>
          <a:bodyPr wrap="square" lIns="89985" tIns="44993" rIns="89985" bIns="44993">
            <a:spAutoFit/>
          </a:bodyPr>
          <a:lstStyle/>
          <a:p>
            <a:r>
              <a:rPr lang="en-US" sz="1500" b="1" dirty="0"/>
              <a:t>Pervasive Device Encryption</a:t>
            </a:r>
          </a:p>
          <a:p>
            <a:r>
              <a:rPr lang="en-US" dirty="0">
                <a:solidFill>
                  <a:srgbClr val="FFFFFF"/>
                </a:solidFill>
              </a:rPr>
              <a:t>  Simplifies provisioning and compliance </a:t>
            </a:r>
          </a:p>
          <a:p>
            <a:r>
              <a:rPr lang="en-US" dirty="0">
                <a:solidFill>
                  <a:srgbClr val="FFFFFF"/>
                </a:solidFill>
              </a:rPr>
              <a:t>  management the of encrypted drives </a:t>
            </a:r>
            <a:r>
              <a:rPr lang="en-US" dirty="0" smtClean="0">
                <a:solidFill>
                  <a:srgbClr val="FFFFFF"/>
                </a:solidFill>
              </a:rPr>
              <a:t>  </a:t>
            </a:r>
          </a:p>
          <a:p>
            <a:r>
              <a:rPr lang="en-US" dirty="0">
                <a:solidFill>
                  <a:srgbClr val="FFFFFF"/>
                </a:solidFill>
              </a:rPr>
              <a:t> </a:t>
            </a:r>
            <a:r>
              <a:rPr lang="en-US" dirty="0" smtClean="0">
                <a:solidFill>
                  <a:srgbClr val="FFFFFF"/>
                </a:solidFill>
              </a:rPr>
              <a:t> on </a:t>
            </a:r>
            <a:r>
              <a:rPr lang="en-US" dirty="0">
                <a:solidFill>
                  <a:srgbClr val="FFFFFF"/>
                </a:solidFill>
              </a:rPr>
              <a:t>the </a:t>
            </a:r>
            <a:r>
              <a:rPr lang="en-US" dirty="0" smtClean="0">
                <a:solidFill>
                  <a:srgbClr val="FFFFFF"/>
                </a:solidFill>
              </a:rPr>
              <a:t>widest </a:t>
            </a:r>
            <a:r>
              <a:rPr lang="en-US" dirty="0">
                <a:solidFill>
                  <a:srgbClr val="FFFFFF"/>
                </a:solidFill>
              </a:rPr>
              <a:t>variety of PC form </a:t>
            </a:r>
            <a:r>
              <a:rPr lang="en-US" dirty="0" smtClean="0">
                <a:solidFill>
                  <a:srgbClr val="FFFFFF"/>
                </a:solidFill>
              </a:rPr>
              <a:t> </a:t>
            </a:r>
          </a:p>
          <a:p>
            <a:r>
              <a:rPr lang="en-US" dirty="0">
                <a:solidFill>
                  <a:srgbClr val="FFFFFF"/>
                </a:solidFill>
              </a:rPr>
              <a:t> </a:t>
            </a:r>
            <a:r>
              <a:rPr lang="en-US" dirty="0" smtClean="0">
                <a:solidFill>
                  <a:srgbClr val="FFFFFF"/>
                </a:solidFill>
              </a:rPr>
              <a:t> factors </a:t>
            </a:r>
            <a:r>
              <a:rPr lang="en-US" dirty="0">
                <a:solidFill>
                  <a:srgbClr val="FFFFFF"/>
                </a:solidFill>
              </a:rPr>
              <a:t>and storage </a:t>
            </a:r>
            <a:r>
              <a:rPr lang="en-US" dirty="0" smtClean="0">
                <a:solidFill>
                  <a:srgbClr val="FFFFFF"/>
                </a:solidFill>
              </a:rPr>
              <a:t>technologies</a:t>
            </a:r>
            <a:endParaRPr lang="en-US" dirty="0">
              <a:solidFill>
                <a:srgbClr val="FFFFFF"/>
              </a:solidFill>
            </a:endParaRPr>
          </a:p>
        </p:txBody>
      </p:sp>
      <p:sp>
        <p:nvSpPr>
          <p:cNvPr id="39" name="Rectangle 38"/>
          <p:cNvSpPr/>
          <p:nvPr/>
        </p:nvSpPr>
        <p:spPr>
          <a:xfrm>
            <a:off x="5306615" y="3714319"/>
            <a:ext cx="3190527" cy="1198849"/>
          </a:xfrm>
          <a:prstGeom prst="rect">
            <a:avLst/>
          </a:prstGeom>
        </p:spPr>
        <p:txBody>
          <a:bodyPr wrap="square" lIns="89985" tIns="44993" rIns="89985" bIns="44993">
            <a:spAutoFit/>
          </a:bodyPr>
          <a:lstStyle/>
          <a:p>
            <a:r>
              <a:rPr lang="en-US" sz="1500" b="1" dirty="0"/>
              <a:t>Modernized Access Control</a:t>
            </a:r>
            <a:endParaRPr lang="en-US" sz="1500" dirty="0"/>
          </a:p>
          <a:p>
            <a:r>
              <a:rPr lang="en-US" dirty="0"/>
              <a:t>  Modernizes access control and data </a:t>
            </a:r>
          </a:p>
          <a:p>
            <a:r>
              <a:rPr lang="en-US" dirty="0"/>
              <a:t>  management while increasing data </a:t>
            </a:r>
            <a:endParaRPr lang="en-US" dirty="0" smtClean="0"/>
          </a:p>
          <a:p>
            <a:r>
              <a:rPr lang="en-US" dirty="0"/>
              <a:t> </a:t>
            </a:r>
            <a:r>
              <a:rPr lang="en-US" dirty="0" smtClean="0"/>
              <a:t> security within </a:t>
            </a:r>
            <a:r>
              <a:rPr lang="en-US" dirty="0"/>
              <a:t>the enterprise.</a:t>
            </a:r>
          </a:p>
          <a:p>
            <a:endParaRPr lang="en-US" dirty="0">
              <a:solidFill>
                <a:srgbClr val="FFFFFF"/>
              </a:solidFill>
            </a:endParaRPr>
          </a:p>
        </p:txBody>
      </p:sp>
      <p:graphicFrame>
        <p:nvGraphicFramePr>
          <p:cNvPr id="42" name="Diagram 41"/>
          <p:cNvGraphicFramePr/>
          <p:nvPr>
            <p:extLst>
              <p:ext uri="{D42A27DB-BD31-4B8C-83A1-F6EECF244321}">
                <p14:modId xmlns:p14="http://schemas.microsoft.com/office/powerpoint/2010/main" val="2184993430"/>
              </p:ext>
            </p:extLst>
          </p:nvPr>
        </p:nvGraphicFramePr>
        <p:xfrm>
          <a:off x="1528135" y="843558"/>
          <a:ext cx="6096000" cy="3962400"/>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sp>
        <p:nvSpPr>
          <p:cNvPr id="31"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8"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3"/>
              </a:rPr>
              <a:t>www.rapidbbs.cn</a:t>
            </a:r>
            <a:endParaRPr lang="zh-CN" altLang="en-US" sz="1200" b="0">
              <a:latin typeface="Arial" charset="0"/>
              <a:ea typeface="ＭＳ Ｐゴシック" pitchFamily="34" charset="-128"/>
            </a:endParaRPr>
          </a:p>
        </p:txBody>
      </p:sp>
      <p:pic>
        <p:nvPicPr>
          <p:cNvPr id="40" name="Picture 2">
            <a:hlinkClick r:id="rId23"/>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605759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grpId="0" nodeType="withEffect">
                                  <p:stCondLst>
                                    <p:cond delay="0"/>
                                  </p:stCondLst>
                                  <p:childTnLst>
                                    <p:set>
                                      <p:cBhvr>
                                        <p:cTn id="6" dur="1" fill="hold">
                                          <p:stCondLst>
                                            <p:cond delay="0"/>
                                          </p:stCondLst>
                                        </p:cTn>
                                        <p:tgtEl>
                                          <p:spTgt spid="42">
                                            <p:graphicEl>
                                              <a:dgm id="{F860AC9F-97A3-4DC4-A2A8-C4F2AAE87A79}"/>
                                            </p:graphicEl>
                                          </p:spTgt>
                                        </p:tgtEl>
                                        <p:attrNameLst>
                                          <p:attrName>style.visibility</p:attrName>
                                        </p:attrNameLst>
                                      </p:cBhvr>
                                      <p:to>
                                        <p:strVal val="visible"/>
                                      </p:to>
                                    </p:set>
                                    <p:anim calcmode="lin" valueType="num">
                                      <p:cBhvr>
                                        <p:cTn id="7" dur="1000" fill="hold"/>
                                        <p:tgtEl>
                                          <p:spTgt spid="42">
                                            <p:graphicEl>
                                              <a:dgm id="{F860AC9F-97A3-4DC4-A2A8-C4F2AAE87A79}"/>
                                            </p:graphicEl>
                                          </p:spTgt>
                                        </p:tgtEl>
                                        <p:attrNameLst>
                                          <p:attrName>ppt_w</p:attrName>
                                        </p:attrNameLst>
                                      </p:cBhvr>
                                      <p:tavLst>
                                        <p:tav tm="0">
                                          <p:val>
                                            <p:fltVal val="0"/>
                                          </p:val>
                                        </p:tav>
                                        <p:tav tm="100000">
                                          <p:val>
                                            <p:strVal val="#ppt_w"/>
                                          </p:val>
                                        </p:tav>
                                      </p:tavLst>
                                    </p:anim>
                                    <p:anim calcmode="lin" valueType="num">
                                      <p:cBhvr>
                                        <p:cTn id="8" dur="1000" fill="hold"/>
                                        <p:tgtEl>
                                          <p:spTgt spid="42">
                                            <p:graphicEl>
                                              <a:dgm id="{F860AC9F-97A3-4DC4-A2A8-C4F2AAE87A79}"/>
                                            </p:graphicEl>
                                          </p:spTgt>
                                        </p:tgtEl>
                                        <p:attrNameLst>
                                          <p:attrName>ppt_h</p:attrName>
                                        </p:attrNameLst>
                                      </p:cBhvr>
                                      <p:tavLst>
                                        <p:tav tm="0">
                                          <p:val>
                                            <p:fltVal val="0"/>
                                          </p:val>
                                        </p:tav>
                                        <p:tav tm="100000">
                                          <p:val>
                                            <p:strVal val="#ppt_h"/>
                                          </p:val>
                                        </p:tav>
                                      </p:tavLst>
                                    </p:anim>
                                    <p:anim calcmode="lin" valueType="num">
                                      <p:cBhvr>
                                        <p:cTn id="9" dur="1000" fill="hold"/>
                                        <p:tgtEl>
                                          <p:spTgt spid="42">
                                            <p:graphicEl>
                                              <a:dgm id="{F860AC9F-97A3-4DC4-A2A8-C4F2AAE87A79}"/>
                                            </p:graphicEl>
                                          </p:spTgt>
                                        </p:tgtEl>
                                        <p:attrNameLst>
                                          <p:attrName>style.rotation</p:attrName>
                                        </p:attrNameLst>
                                      </p:cBhvr>
                                      <p:tavLst>
                                        <p:tav tm="0">
                                          <p:val>
                                            <p:fltVal val="90"/>
                                          </p:val>
                                        </p:tav>
                                        <p:tav tm="100000">
                                          <p:val>
                                            <p:fltVal val="0"/>
                                          </p:val>
                                        </p:tav>
                                      </p:tavLst>
                                    </p:anim>
                                    <p:animEffect transition="in" filter="fade">
                                      <p:cBhvr>
                                        <p:cTn id="10" dur="1000"/>
                                        <p:tgtEl>
                                          <p:spTgt spid="42">
                                            <p:graphicEl>
                                              <a:dgm id="{F860AC9F-97A3-4DC4-A2A8-C4F2AAE87A79}"/>
                                            </p:graphicEl>
                                          </p:spTgt>
                                        </p:tgtEl>
                                      </p:cBhvr>
                                    </p:animEffect>
                                  </p:childTnLst>
                                </p:cTn>
                              </p:par>
                              <p:par>
                                <p:cTn id="11" presetID="31" presetClass="entr" presetSubtype="0" fill="hold" grpId="0" nodeType="withEffect">
                                  <p:stCondLst>
                                    <p:cond delay="0"/>
                                  </p:stCondLst>
                                  <p:childTnLst>
                                    <p:set>
                                      <p:cBhvr>
                                        <p:cTn id="12" dur="1" fill="hold">
                                          <p:stCondLst>
                                            <p:cond delay="0"/>
                                          </p:stCondLst>
                                        </p:cTn>
                                        <p:tgtEl>
                                          <p:spTgt spid="42">
                                            <p:graphicEl>
                                              <a:dgm id="{09273BE7-DE2C-4061-AA17-0A7BFA57CFB0}"/>
                                            </p:graphicEl>
                                          </p:spTgt>
                                        </p:tgtEl>
                                        <p:attrNameLst>
                                          <p:attrName>style.visibility</p:attrName>
                                        </p:attrNameLst>
                                      </p:cBhvr>
                                      <p:to>
                                        <p:strVal val="visible"/>
                                      </p:to>
                                    </p:set>
                                    <p:anim calcmode="lin" valueType="num">
                                      <p:cBhvr>
                                        <p:cTn id="13" dur="1000" fill="hold"/>
                                        <p:tgtEl>
                                          <p:spTgt spid="42">
                                            <p:graphicEl>
                                              <a:dgm id="{09273BE7-DE2C-4061-AA17-0A7BFA57CFB0}"/>
                                            </p:graphicEl>
                                          </p:spTgt>
                                        </p:tgtEl>
                                        <p:attrNameLst>
                                          <p:attrName>ppt_w</p:attrName>
                                        </p:attrNameLst>
                                      </p:cBhvr>
                                      <p:tavLst>
                                        <p:tav tm="0">
                                          <p:val>
                                            <p:fltVal val="0"/>
                                          </p:val>
                                        </p:tav>
                                        <p:tav tm="100000">
                                          <p:val>
                                            <p:strVal val="#ppt_w"/>
                                          </p:val>
                                        </p:tav>
                                      </p:tavLst>
                                    </p:anim>
                                    <p:anim calcmode="lin" valueType="num">
                                      <p:cBhvr>
                                        <p:cTn id="14" dur="1000" fill="hold"/>
                                        <p:tgtEl>
                                          <p:spTgt spid="42">
                                            <p:graphicEl>
                                              <a:dgm id="{09273BE7-DE2C-4061-AA17-0A7BFA57CFB0}"/>
                                            </p:graphicEl>
                                          </p:spTgt>
                                        </p:tgtEl>
                                        <p:attrNameLst>
                                          <p:attrName>ppt_h</p:attrName>
                                        </p:attrNameLst>
                                      </p:cBhvr>
                                      <p:tavLst>
                                        <p:tav tm="0">
                                          <p:val>
                                            <p:fltVal val="0"/>
                                          </p:val>
                                        </p:tav>
                                        <p:tav tm="100000">
                                          <p:val>
                                            <p:strVal val="#ppt_h"/>
                                          </p:val>
                                        </p:tav>
                                      </p:tavLst>
                                    </p:anim>
                                    <p:anim calcmode="lin" valueType="num">
                                      <p:cBhvr>
                                        <p:cTn id="15" dur="1000" fill="hold"/>
                                        <p:tgtEl>
                                          <p:spTgt spid="42">
                                            <p:graphicEl>
                                              <a:dgm id="{09273BE7-DE2C-4061-AA17-0A7BFA57CFB0}"/>
                                            </p:graphicEl>
                                          </p:spTgt>
                                        </p:tgtEl>
                                        <p:attrNameLst>
                                          <p:attrName>style.rotation</p:attrName>
                                        </p:attrNameLst>
                                      </p:cBhvr>
                                      <p:tavLst>
                                        <p:tav tm="0">
                                          <p:val>
                                            <p:fltVal val="90"/>
                                          </p:val>
                                        </p:tav>
                                        <p:tav tm="100000">
                                          <p:val>
                                            <p:fltVal val="0"/>
                                          </p:val>
                                        </p:tav>
                                      </p:tavLst>
                                    </p:anim>
                                    <p:animEffect transition="in" filter="fade">
                                      <p:cBhvr>
                                        <p:cTn id="16" dur="1000"/>
                                        <p:tgtEl>
                                          <p:spTgt spid="42">
                                            <p:graphicEl>
                                              <a:dgm id="{09273BE7-DE2C-4061-AA17-0A7BFA57CFB0}"/>
                                            </p:graphicEl>
                                          </p:spTgt>
                                        </p:tgtEl>
                                      </p:cBhvr>
                                    </p:animEffect>
                                  </p:childTnLst>
                                </p:cTn>
                              </p:par>
                              <p:par>
                                <p:cTn id="17" presetID="31" presetClass="entr" presetSubtype="0" fill="hold" grpId="0" nodeType="withEffect">
                                  <p:stCondLst>
                                    <p:cond delay="0"/>
                                  </p:stCondLst>
                                  <p:childTnLst>
                                    <p:set>
                                      <p:cBhvr>
                                        <p:cTn id="18" dur="1" fill="hold">
                                          <p:stCondLst>
                                            <p:cond delay="0"/>
                                          </p:stCondLst>
                                        </p:cTn>
                                        <p:tgtEl>
                                          <p:spTgt spid="42">
                                            <p:graphicEl>
                                              <a:dgm id="{B26FD3CE-1CF3-41CF-B8EC-1A601E69492E}"/>
                                            </p:graphicEl>
                                          </p:spTgt>
                                        </p:tgtEl>
                                        <p:attrNameLst>
                                          <p:attrName>style.visibility</p:attrName>
                                        </p:attrNameLst>
                                      </p:cBhvr>
                                      <p:to>
                                        <p:strVal val="visible"/>
                                      </p:to>
                                    </p:set>
                                    <p:anim calcmode="lin" valueType="num">
                                      <p:cBhvr>
                                        <p:cTn id="19" dur="1000" fill="hold"/>
                                        <p:tgtEl>
                                          <p:spTgt spid="42">
                                            <p:graphicEl>
                                              <a:dgm id="{B26FD3CE-1CF3-41CF-B8EC-1A601E69492E}"/>
                                            </p:graphicEl>
                                          </p:spTgt>
                                        </p:tgtEl>
                                        <p:attrNameLst>
                                          <p:attrName>ppt_w</p:attrName>
                                        </p:attrNameLst>
                                      </p:cBhvr>
                                      <p:tavLst>
                                        <p:tav tm="0">
                                          <p:val>
                                            <p:fltVal val="0"/>
                                          </p:val>
                                        </p:tav>
                                        <p:tav tm="100000">
                                          <p:val>
                                            <p:strVal val="#ppt_w"/>
                                          </p:val>
                                        </p:tav>
                                      </p:tavLst>
                                    </p:anim>
                                    <p:anim calcmode="lin" valueType="num">
                                      <p:cBhvr>
                                        <p:cTn id="20" dur="1000" fill="hold"/>
                                        <p:tgtEl>
                                          <p:spTgt spid="42">
                                            <p:graphicEl>
                                              <a:dgm id="{B26FD3CE-1CF3-41CF-B8EC-1A601E69492E}"/>
                                            </p:graphicEl>
                                          </p:spTgt>
                                        </p:tgtEl>
                                        <p:attrNameLst>
                                          <p:attrName>ppt_h</p:attrName>
                                        </p:attrNameLst>
                                      </p:cBhvr>
                                      <p:tavLst>
                                        <p:tav tm="0">
                                          <p:val>
                                            <p:fltVal val="0"/>
                                          </p:val>
                                        </p:tav>
                                        <p:tav tm="100000">
                                          <p:val>
                                            <p:strVal val="#ppt_h"/>
                                          </p:val>
                                        </p:tav>
                                      </p:tavLst>
                                    </p:anim>
                                    <p:anim calcmode="lin" valueType="num">
                                      <p:cBhvr>
                                        <p:cTn id="21" dur="1000" fill="hold"/>
                                        <p:tgtEl>
                                          <p:spTgt spid="42">
                                            <p:graphicEl>
                                              <a:dgm id="{B26FD3CE-1CF3-41CF-B8EC-1A601E69492E}"/>
                                            </p:graphicEl>
                                          </p:spTgt>
                                        </p:tgtEl>
                                        <p:attrNameLst>
                                          <p:attrName>style.rotation</p:attrName>
                                        </p:attrNameLst>
                                      </p:cBhvr>
                                      <p:tavLst>
                                        <p:tav tm="0">
                                          <p:val>
                                            <p:fltVal val="90"/>
                                          </p:val>
                                        </p:tav>
                                        <p:tav tm="100000">
                                          <p:val>
                                            <p:fltVal val="0"/>
                                          </p:val>
                                        </p:tav>
                                      </p:tavLst>
                                    </p:anim>
                                    <p:animEffect transition="in" filter="fade">
                                      <p:cBhvr>
                                        <p:cTn id="22" dur="1000"/>
                                        <p:tgtEl>
                                          <p:spTgt spid="42">
                                            <p:graphicEl>
                                              <a:dgm id="{B26FD3CE-1CF3-41CF-B8EC-1A601E69492E}"/>
                                            </p:graphicEl>
                                          </p:spTgt>
                                        </p:tgtEl>
                                      </p:cBhvr>
                                    </p:animEffect>
                                  </p:childTnLst>
                                </p:cTn>
                              </p:par>
                              <p:par>
                                <p:cTn id="23" presetID="31" presetClass="entr" presetSubtype="0" fill="hold" grpId="0" nodeType="withEffect">
                                  <p:stCondLst>
                                    <p:cond delay="0"/>
                                  </p:stCondLst>
                                  <p:childTnLst>
                                    <p:set>
                                      <p:cBhvr>
                                        <p:cTn id="24" dur="1" fill="hold">
                                          <p:stCondLst>
                                            <p:cond delay="0"/>
                                          </p:stCondLst>
                                        </p:cTn>
                                        <p:tgtEl>
                                          <p:spTgt spid="42">
                                            <p:graphicEl>
                                              <a:dgm id="{EDA3FFD0-8996-4842-85DC-BE79E94C23B4}"/>
                                            </p:graphicEl>
                                          </p:spTgt>
                                        </p:tgtEl>
                                        <p:attrNameLst>
                                          <p:attrName>style.visibility</p:attrName>
                                        </p:attrNameLst>
                                      </p:cBhvr>
                                      <p:to>
                                        <p:strVal val="visible"/>
                                      </p:to>
                                    </p:set>
                                    <p:anim calcmode="lin" valueType="num">
                                      <p:cBhvr>
                                        <p:cTn id="25" dur="1000" fill="hold"/>
                                        <p:tgtEl>
                                          <p:spTgt spid="42">
                                            <p:graphicEl>
                                              <a:dgm id="{EDA3FFD0-8996-4842-85DC-BE79E94C23B4}"/>
                                            </p:graphicEl>
                                          </p:spTgt>
                                        </p:tgtEl>
                                        <p:attrNameLst>
                                          <p:attrName>ppt_w</p:attrName>
                                        </p:attrNameLst>
                                      </p:cBhvr>
                                      <p:tavLst>
                                        <p:tav tm="0">
                                          <p:val>
                                            <p:fltVal val="0"/>
                                          </p:val>
                                        </p:tav>
                                        <p:tav tm="100000">
                                          <p:val>
                                            <p:strVal val="#ppt_w"/>
                                          </p:val>
                                        </p:tav>
                                      </p:tavLst>
                                    </p:anim>
                                    <p:anim calcmode="lin" valueType="num">
                                      <p:cBhvr>
                                        <p:cTn id="26" dur="1000" fill="hold"/>
                                        <p:tgtEl>
                                          <p:spTgt spid="42">
                                            <p:graphicEl>
                                              <a:dgm id="{EDA3FFD0-8996-4842-85DC-BE79E94C23B4}"/>
                                            </p:graphicEl>
                                          </p:spTgt>
                                        </p:tgtEl>
                                        <p:attrNameLst>
                                          <p:attrName>ppt_h</p:attrName>
                                        </p:attrNameLst>
                                      </p:cBhvr>
                                      <p:tavLst>
                                        <p:tav tm="0">
                                          <p:val>
                                            <p:fltVal val="0"/>
                                          </p:val>
                                        </p:tav>
                                        <p:tav tm="100000">
                                          <p:val>
                                            <p:strVal val="#ppt_h"/>
                                          </p:val>
                                        </p:tav>
                                      </p:tavLst>
                                    </p:anim>
                                    <p:anim calcmode="lin" valueType="num">
                                      <p:cBhvr>
                                        <p:cTn id="27" dur="1000" fill="hold"/>
                                        <p:tgtEl>
                                          <p:spTgt spid="42">
                                            <p:graphicEl>
                                              <a:dgm id="{EDA3FFD0-8996-4842-85DC-BE79E94C23B4}"/>
                                            </p:graphicEl>
                                          </p:spTgt>
                                        </p:tgtEl>
                                        <p:attrNameLst>
                                          <p:attrName>style.rotation</p:attrName>
                                        </p:attrNameLst>
                                      </p:cBhvr>
                                      <p:tavLst>
                                        <p:tav tm="0">
                                          <p:val>
                                            <p:fltVal val="90"/>
                                          </p:val>
                                        </p:tav>
                                        <p:tav tm="100000">
                                          <p:val>
                                            <p:fltVal val="0"/>
                                          </p:val>
                                        </p:tav>
                                      </p:tavLst>
                                    </p:anim>
                                    <p:animEffect transition="in" filter="fade">
                                      <p:cBhvr>
                                        <p:cTn id="28" dur="1000"/>
                                        <p:tgtEl>
                                          <p:spTgt spid="42">
                                            <p:graphicEl>
                                              <a:dgm id="{EDA3FFD0-8996-4842-85DC-BE79E94C23B4}"/>
                                            </p:graphicEl>
                                          </p:spTgt>
                                        </p:tgtEl>
                                      </p:cBhvr>
                                    </p:animEffect>
                                  </p:childTnLst>
                                </p:cTn>
                              </p:par>
                              <p:par>
                                <p:cTn id="29" presetID="31" presetClass="entr" presetSubtype="0" fill="hold" grpId="0" nodeType="withEffect">
                                  <p:stCondLst>
                                    <p:cond delay="0"/>
                                  </p:stCondLst>
                                  <p:childTnLst>
                                    <p:set>
                                      <p:cBhvr>
                                        <p:cTn id="30" dur="1" fill="hold">
                                          <p:stCondLst>
                                            <p:cond delay="0"/>
                                          </p:stCondLst>
                                        </p:cTn>
                                        <p:tgtEl>
                                          <p:spTgt spid="42">
                                            <p:graphicEl>
                                              <a:dgm id="{0C74514F-B192-4726-8F5A-3050F80ADCD6}"/>
                                            </p:graphicEl>
                                          </p:spTgt>
                                        </p:tgtEl>
                                        <p:attrNameLst>
                                          <p:attrName>style.visibility</p:attrName>
                                        </p:attrNameLst>
                                      </p:cBhvr>
                                      <p:to>
                                        <p:strVal val="visible"/>
                                      </p:to>
                                    </p:set>
                                    <p:anim calcmode="lin" valueType="num">
                                      <p:cBhvr>
                                        <p:cTn id="31" dur="1000" fill="hold"/>
                                        <p:tgtEl>
                                          <p:spTgt spid="42">
                                            <p:graphicEl>
                                              <a:dgm id="{0C74514F-B192-4726-8F5A-3050F80ADCD6}"/>
                                            </p:graphicEl>
                                          </p:spTgt>
                                        </p:tgtEl>
                                        <p:attrNameLst>
                                          <p:attrName>ppt_w</p:attrName>
                                        </p:attrNameLst>
                                      </p:cBhvr>
                                      <p:tavLst>
                                        <p:tav tm="0">
                                          <p:val>
                                            <p:fltVal val="0"/>
                                          </p:val>
                                        </p:tav>
                                        <p:tav tm="100000">
                                          <p:val>
                                            <p:strVal val="#ppt_w"/>
                                          </p:val>
                                        </p:tav>
                                      </p:tavLst>
                                    </p:anim>
                                    <p:anim calcmode="lin" valueType="num">
                                      <p:cBhvr>
                                        <p:cTn id="32" dur="1000" fill="hold"/>
                                        <p:tgtEl>
                                          <p:spTgt spid="42">
                                            <p:graphicEl>
                                              <a:dgm id="{0C74514F-B192-4726-8F5A-3050F80ADCD6}"/>
                                            </p:graphicEl>
                                          </p:spTgt>
                                        </p:tgtEl>
                                        <p:attrNameLst>
                                          <p:attrName>ppt_h</p:attrName>
                                        </p:attrNameLst>
                                      </p:cBhvr>
                                      <p:tavLst>
                                        <p:tav tm="0">
                                          <p:val>
                                            <p:fltVal val="0"/>
                                          </p:val>
                                        </p:tav>
                                        <p:tav tm="100000">
                                          <p:val>
                                            <p:strVal val="#ppt_h"/>
                                          </p:val>
                                        </p:tav>
                                      </p:tavLst>
                                    </p:anim>
                                    <p:anim calcmode="lin" valueType="num">
                                      <p:cBhvr>
                                        <p:cTn id="33" dur="1000" fill="hold"/>
                                        <p:tgtEl>
                                          <p:spTgt spid="42">
                                            <p:graphicEl>
                                              <a:dgm id="{0C74514F-B192-4726-8F5A-3050F80ADCD6}"/>
                                            </p:graphicEl>
                                          </p:spTgt>
                                        </p:tgtEl>
                                        <p:attrNameLst>
                                          <p:attrName>style.rotation</p:attrName>
                                        </p:attrNameLst>
                                      </p:cBhvr>
                                      <p:tavLst>
                                        <p:tav tm="0">
                                          <p:val>
                                            <p:fltVal val="90"/>
                                          </p:val>
                                        </p:tav>
                                        <p:tav tm="100000">
                                          <p:val>
                                            <p:fltVal val="0"/>
                                          </p:val>
                                        </p:tav>
                                      </p:tavLst>
                                    </p:anim>
                                    <p:animEffect transition="in" filter="fade">
                                      <p:cBhvr>
                                        <p:cTn id="34" dur="1000"/>
                                        <p:tgtEl>
                                          <p:spTgt spid="42">
                                            <p:graphicEl>
                                              <a:dgm id="{0C74514F-B192-4726-8F5A-3050F80ADCD6}"/>
                                            </p:graphicEl>
                                          </p:spTgt>
                                        </p:tgtEl>
                                      </p:cBhvr>
                                    </p:animEffect>
                                  </p:childTnLst>
                                </p:cTn>
                              </p:par>
                              <p:par>
                                <p:cTn id="35" presetID="31" presetClass="entr" presetSubtype="0" fill="hold" grpId="0" nodeType="withEffect">
                                  <p:stCondLst>
                                    <p:cond delay="0"/>
                                  </p:stCondLst>
                                  <p:childTnLst>
                                    <p:set>
                                      <p:cBhvr>
                                        <p:cTn id="36" dur="1" fill="hold">
                                          <p:stCondLst>
                                            <p:cond delay="0"/>
                                          </p:stCondLst>
                                        </p:cTn>
                                        <p:tgtEl>
                                          <p:spTgt spid="42">
                                            <p:graphicEl>
                                              <a:dgm id="{D448F732-7F5F-49D0-ABE9-D806C79498D3}"/>
                                            </p:graphicEl>
                                          </p:spTgt>
                                        </p:tgtEl>
                                        <p:attrNameLst>
                                          <p:attrName>style.visibility</p:attrName>
                                        </p:attrNameLst>
                                      </p:cBhvr>
                                      <p:to>
                                        <p:strVal val="visible"/>
                                      </p:to>
                                    </p:set>
                                    <p:anim calcmode="lin" valueType="num">
                                      <p:cBhvr>
                                        <p:cTn id="37" dur="1000" fill="hold"/>
                                        <p:tgtEl>
                                          <p:spTgt spid="42">
                                            <p:graphicEl>
                                              <a:dgm id="{D448F732-7F5F-49D0-ABE9-D806C79498D3}"/>
                                            </p:graphicEl>
                                          </p:spTgt>
                                        </p:tgtEl>
                                        <p:attrNameLst>
                                          <p:attrName>ppt_w</p:attrName>
                                        </p:attrNameLst>
                                      </p:cBhvr>
                                      <p:tavLst>
                                        <p:tav tm="0">
                                          <p:val>
                                            <p:fltVal val="0"/>
                                          </p:val>
                                        </p:tav>
                                        <p:tav tm="100000">
                                          <p:val>
                                            <p:strVal val="#ppt_w"/>
                                          </p:val>
                                        </p:tav>
                                      </p:tavLst>
                                    </p:anim>
                                    <p:anim calcmode="lin" valueType="num">
                                      <p:cBhvr>
                                        <p:cTn id="38" dur="1000" fill="hold"/>
                                        <p:tgtEl>
                                          <p:spTgt spid="42">
                                            <p:graphicEl>
                                              <a:dgm id="{D448F732-7F5F-49D0-ABE9-D806C79498D3}"/>
                                            </p:graphicEl>
                                          </p:spTgt>
                                        </p:tgtEl>
                                        <p:attrNameLst>
                                          <p:attrName>ppt_h</p:attrName>
                                        </p:attrNameLst>
                                      </p:cBhvr>
                                      <p:tavLst>
                                        <p:tav tm="0">
                                          <p:val>
                                            <p:fltVal val="0"/>
                                          </p:val>
                                        </p:tav>
                                        <p:tav tm="100000">
                                          <p:val>
                                            <p:strVal val="#ppt_h"/>
                                          </p:val>
                                        </p:tav>
                                      </p:tavLst>
                                    </p:anim>
                                    <p:anim calcmode="lin" valueType="num">
                                      <p:cBhvr>
                                        <p:cTn id="39" dur="1000" fill="hold"/>
                                        <p:tgtEl>
                                          <p:spTgt spid="42">
                                            <p:graphicEl>
                                              <a:dgm id="{D448F732-7F5F-49D0-ABE9-D806C79498D3}"/>
                                            </p:graphicEl>
                                          </p:spTgt>
                                        </p:tgtEl>
                                        <p:attrNameLst>
                                          <p:attrName>style.rotation</p:attrName>
                                        </p:attrNameLst>
                                      </p:cBhvr>
                                      <p:tavLst>
                                        <p:tav tm="0">
                                          <p:val>
                                            <p:fltVal val="90"/>
                                          </p:val>
                                        </p:tav>
                                        <p:tav tm="100000">
                                          <p:val>
                                            <p:fltVal val="0"/>
                                          </p:val>
                                        </p:tav>
                                      </p:tavLst>
                                    </p:anim>
                                    <p:animEffect transition="in" filter="fade">
                                      <p:cBhvr>
                                        <p:cTn id="40" dur="1000"/>
                                        <p:tgtEl>
                                          <p:spTgt spid="42">
                                            <p:graphicEl>
                                              <a:dgm id="{D448F732-7F5F-49D0-ABE9-D806C79498D3}"/>
                                            </p:graphicEl>
                                          </p:spTgt>
                                        </p:tgtEl>
                                      </p:cBhvr>
                                    </p:animEffect>
                                  </p:childTnLst>
                                </p:cTn>
                              </p:par>
                            </p:childTnLst>
                          </p:cTn>
                        </p:par>
                      </p:childTnLst>
                    </p:cTn>
                  </p:par>
                  <p:par>
                    <p:cTn id="41" fill="hold">
                      <p:stCondLst>
                        <p:cond delay="indefinite"/>
                      </p:stCondLst>
                      <p:childTnLst>
                        <p:par>
                          <p:cTn id="42" fill="hold">
                            <p:stCondLst>
                              <p:cond delay="0"/>
                            </p:stCondLst>
                            <p:childTnLst>
                              <p:par>
                                <p:cTn id="43" presetID="42" presetClass="path" presetSubtype="0" accel="50000" decel="50000" fill="hold" grpId="1" nodeType="clickEffect">
                                  <p:stCondLst>
                                    <p:cond delay="0"/>
                                  </p:stCondLst>
                                  <p:childTnLst>
                                    <p:animMotion origin="layout" path="M -1.9333E-6 8.83033E-7 L -0.32321 8.83033E-7 " pathEditMode="relative" rAng="0" ptsTypes="AA">
                                      <p:cBhvr>
                                        <p:cTn id="44" dur="2000" fill="hold"/>
                                        <p:tgtEl>
                                          <p:spTgt spid="42">
                                            <p:graphicEl>
                                              <a:dgm id="{F860AC9F-97A3-4DC4-A2A8-C4F2AAE87A79}"/>
                                            </p:graphicEl>
                                          </p:spTgt>
                                        </p:tgtEl>
                                        <p:attrNameLst>
                                          <p:attrName>ppt_x</p:attrName>
                                          <p:attrName>ppt_y</p:attrName>
                                        </p:attrNameLst>
                                      </p:cBhvr>
                                      <p:rCtr x="-16167" y="0"/>
                                    </p:animMotion>
                                  </p:childTnLst>
                                </p:cTn>
                              </p:par>
                              <p:par>
                                <p:cTn id="45" presetID="42" presetClass="path" presetSubtype="0" accel="50000" decel="50000" fill="hold" grpId="1" nodeType="withEffect">
                                  <p:stCondLst>
                                    <p:cond delay="0"/>
                                  </p:stCondLst>
                                  <p:childTnLst>
                                    <p:animMotion origin="layout" path="M -1.9333E-6 8.83033E-7 L -0.32321 8.83033E-7 " pathEditMode="relative" rAng="0" ptsTypes="AA">
                                      <p:cBhvr>
                                        <p:cTn id="46" dur="2000" fill="hold"/>
                                        <p:tgtEl>
                                          <p:spTgt spid="42">
                                            <p:graphicEl>
                                              <a:dgm id="{09273BE7-DE2C-4061-AA17-0A7BFA57CFB0}"/>
                                            </p:graphicEl>
                                          </p:spTgt>
                                        </p:tgtEl>
                                        <p:attrNameLst>
                                          <p:attrName>ppt_x</p:attrName>
                                          <p:attrName>ppt_y</p:attrName>
                                        </p:attrNameLst>
                                      </p:cBhvr>
                                      <p:rCtr x="-16167" y="0"/>
                                    </p:animMotion>
                                  </p:childTnLst>
                                </p:cTn>
                              </p:par>
                              <p:par>
                                <p:cTn id="47" presetID="42" presetClass="path" presetSubtype="0" accel="50000" decel="50000" fill="hold" grpId="1" nodeType="withEffect">
                                  <p:stCondLst>
                                    <p:cond delay="0"/>
                                  </p:stCondLst>
                                  <p:childTnLst>
                                    <p:animMotion origin="layout" path="M -1.9333E-6 8.83033E-7 L -0.32321 8.83033E-7 " pathEditMode="relative" rAng="0" ptsTypes="AA">
                                      <p:cBhvr>
                                        <p:cTn id="48" dur="2000" fill="hold"/>
                                        <p:tgtEl>
                                          <p:spTgt spid="42">
                                            <p:graphicEl>
                                              <a:dgm id="{B26FD3CE-1CF3-41CF-B8EC-1A601E69492E}"/>
                                            </p:graphicEl>
                                          </p:spTgt>
                                        </p:tgtEl>
                                        <p:attrNameLst>
                                          <p:attrName>ppt_x</p:attrName>
                                          <p:attrName>ppt_y</p:attrName>
                                        </p:attrNameLst>
                                      </p:cBhvr>
                                      <p:rCtr x="-16167" y="0"/>
                                    </p:animMotion>
                                  </p:childTnLst>
                                </p:cTn>
                              </p:par>
                              <p:par>
                                <p:cTn id="49" presetID="42" presetClass="path" presetSubtype="0" accel="50000" decel="50000" fill="hold" grpId="1" nodeType="withEffect">
                                  <p:stCondLst>
                                    <p:cond delay="0"/>
                                  </p:stCondLst>
                                  <p:childTnLst>
                                    <p:animMotion origin="layout" path="M -1.9333E-6 8.83033E-7 L -0.32321 8.83033E-7 " pathEditMode="relative" rAng="0" ptsTypes="AA">
                                      <p:cBhvr>
                                        <p:cTn id="50" dur="2000" fill="hold"/>
                                        <p:tgtEl>
                                          <p:spTgt spid="42">
                                            <p:graphicEl>
                                              <a:dgm id="{EDA3FFD0-8996-4842-85DC-BE79E94C23B4}"/>
                                            </p:graphicEl>
                                          </p:spTgt>
                                        </p:tgtEl>
                                        <p:attrNameLst>
                                          <p:attrName>ppt_x</p:attrName>
                                          <p:attrName>ppt_y</p:attrName>
                                        </p:attrNameLst>
                                      </p:cBhvr>
                                      <p:rCtr x="-16167" y="0"/>
                                    </p:animMotion>
                                  </p:childTnLst>
                                </p:cTn>
                              </p:par>
                              <p:par>
                                <p:cTn id="51" presetID="42" presetClass="path" presetSubtype="0" accel="50000" decel="50000" fill="hold" grpId="1" nodeType="withEffect">
                                  <p:stCondLst>
                                    <p:cond delay="0"/>
                                  </p:stCondLst>
                                  <p:childTnLst>
                                    <p:animMotion origin="layout" path="M -1.9333E-6 8.83033E-7 L -0.32321 8.83033E-7 " pathEditMode="relative" rAng="0" ptsTypes="AA">
                                      <p:cBhvr>
                                        <p:cTn id="52" dur="2000" fill="hold"/>
                                        <p:tgtEl>
                                          <p:spTgt spid="42">
                                            <p:graphicEl>
                                              <a:dgm id="{0C74514F-B192-4726-8F5A-3050F80ADCD6}"/>
                                            </p:graphicEl>
                                          </p:spTgt>
                                        </p:tgtEl>
                                        <p:attrNameLst>
                                          <p:attrName>ppt_x</p:attrName>
                                          <p:attrName>ppt_y</p:attrName>
                                        </p:attrNameLst>
                                      </p:cBhvr>
                                      <p:rCtr x="-16167" y="0"/>
                                    </p:animMotion>
                                  </p:childTnLst>
                                </p:cTn>
                              </p:par>
                              <p:par>
                                <p:cTn id="53" presetID="42" presetClass="path" presetSubtype="0" accel="50000" decel="50000" fill="hold" grpId="1" nodeType="withEffect">
                                  <p:stCondLst>
                                    <p:cond delay="0"/>
                                  </p:stCondLst>
                                  <p:childTnLst>
                                    <p:animMotion origin="layout" path="M -1.9333E-6 8.83033E-7 L -0.32321 8.83033E-7 " pathEditMode="relative" rAng="0" ptsTypes="AA">
                                      <p:cBhvr>
                                        <p:cTn id="54" dur="2000" fill="hold"/>
                                        <p:tgtEl>
                                          <p:spTgt spid="42">
                                            <p:graphicEl>
                                              <a:dgm id="{D448F732-7F5F-49D0-ABE9-D806C79498D3}"/>
                                            </p:graphicEl>
                                          </p:spTgt>
                                        </p:tgtEl>
                                        <p:attrNameLst>
                                          <p:attrName>ppt_x</p:attrName>
                                          <p:attrName>ppt_y</p:attrName>
                                        </p:attrNameLst>
                                      </p:cBhvr>
                                      <p:rCtr x="-16167" y="0"/>
                                    </p:animMotion>
                                  </p:childTnLst>
                                </p:cTn>
                              </p:par>
                            </p:childTnLst>
                          </p:cTn>
                        </p:par>
                        <p:par>
                          <p:cTn id="55" fill="hold">
                            <p:stCondLst>
                              <p:cond delay="2000"/>
                            </p:stCondLst>
                            <p:childTnLst>
                              <p:par>
                                <p:cTn id="56" presetID="10" presetClass="entr" presetSubtype="0" fill="hold" nodeType="afterEffect">
                                  <p:stCondLst>
                                    <p:cond delay="0"/>
                                  </p:stCondLst>
                                  <p:childTnLst>
                                    <p:set>
                                      <p:cBhvr>
                                        <p:cTn id="57" dur="1" fill="hold">
                                          <p:stCondLst>
                                            <p:cond delay="0"/>
                                          </p:stCondLst>
                                        </p:cTn>
                                        <p:tgtEl>
                                          <p:spTgt spid="20"/>
                                        </p:tgtEl>
                                        <p:attrNameLst>
                                          <p:attrName>style.visibility</p:attrName>
                                        </p:attrNameLst>
                                      </p:cBhvr>
                                      <p:to>
                                        <p:strVal val="visible"/>
                                      </p:to>
                                    </p:set>
                                    <p:animEffect transition="in" filter="fade">
                                      <p:cBhvr>
                                        <p:cTn id="58" dur="500"/>
                                        <p:tgtEl>
                                          <p:spTgt spid="20"/>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36"/>
                                        </p:tgtEl>
                                        <p:attrNameLst>
                                          <p:attrName>style.visibility</p:attrName>
                                        </p:attrNameLst>
                                      </p:cBhvr>
                                      <p:to>
                                        <p:strVal val="visible"/>
                                      </p:to>
                                    </p:set>
                                    <p:animEffect transition="in" filter="fade">
                                      <p:cBhvr>
                                        <p:cTn id="61" dur="500"/>
                                        <p:tgtEl>
                                          <p:spTgt spid="36"/>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nodeType="clickEffect">
                                  <p:stCondLst>
                                    <p:cond delay="0"/>
                                  </p:stCondLst>
                                  <p:childTnLst>
                                    <p:set>
                                      <p:cBhvr>
                                        <p:cTn id="65" dur="1" fill="hold">
                                          <p:stCondLst>
                                            <p:cond delay="0"/>
                                          </p:stCondLst>
                                        </p:cTn>
                                        <p:tgtEl>
                                          <p:spTgt spid="10"/>
                                        </p:tgtEl>
                                        <p:attrNameLst>
                                          <p:attrName>style.visibility</p:attrName>
                                        </p:attrNameLst>
                                      </p:cBhvr>
                                      <p:to>
                                        <p:strVal val="visible"/>
                                      </p:to>
                                    </p:set>
                                    <p:animEffect transition="in" filter="fade">
                                      <p:cBhvr>
                                        <p:cTn id="66" dur="500"/>
                                        <p:tgtEl>
                                          <p:spTgt spid="10"/>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37"/>
                                        </p:tgtEl>
                                        <p:attrNameLst>
                                          <p:attrName>style.visibility</p:attrName>
                                        </p:attrNameLst>
                                      </p:cBhvr>
                                      <p:to>
                                        <p:strVal val="visible"/>
                                      </p:to>
                                    </p:set>
                                    <p:animEffect transition="in" filter="fade">
                                      <p:cBhvr>
                                        <p:cTn id="69" dur="500"/>
                                        <p:tgtEl>
                                          <p:spTgt spid="37"/>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nodeType="clickEffect">
                                  <p:stCondLst>
                                    <p:cond delay="0"/>
                                  </p:stCondLst>
                                  <p:childTnLst>
                                    <p:set>
                                      <p:cBhvr>
                                        <p:cTn id="73" dur="1" fill="hold">
                                          <p:stCondLst>
                                            <p:cond delay="0"/>
                                          </p:stCondLst>
                                        </p:cTn>
                                        <p:tgtEl>
                                          <p:spTgt spid="29"/>
                                        </p:tgtEl>
                                        <p:attrNameLst>
                                          <p:attrName>style.visibility</p:attrName>
                                        </p:attrNameLst>
                                      </p:cBhvr>
                                      <p:to>
                                        <p:strVal val="visible"/>
                                      </p:to>
                                    </p:set>
                                    <p:animEffect transition="in" filter="fade">
                                      <p:cBhvr>
                                        <p:cTn id="74" dur="500"/>
                                        <p:tgtEl>
                                          <p:spTgt spid="29"/>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39"/>
                                        </p:tgtEl>
                                        <p:attrNameLst>
                                          <p:attrName>style.visibility</p:attrName>
                                        </p:attrNameLst>
                                      </p:cBhvr>
                                      <p:to>
                                        <p:strVal val="visible"/>
                                      </p:to>
                                    </p:set>
                                    <p:animEffect transition="in" filter="fade">
                                      <p:cBhvr>
                                        <p:cTn id="77" dur="500"/>
                                        <p:tgtEl>
                                          <p:spTgt spid="39"/>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xit" presetSubtype="0" fill="hold" grpId="2" nodeType="clickEffect">
                                  <p:stCondLst>
                                    <p:cond delay="0"/>
                                  </p:stCondLst>
                                  <p:childTnLst>
                                    <p:animEffect transition="out" filter="fade">
                                      <p:cBhvr>
                                        <p:cTn id="81" dur="500"/>
                                        <p:tgtEl>
                                          <p:spTgt spid="42">
                                            <p:graphicEl>
                                              <a:dgm id="{F860AC9F-97A3-4DC4-A2A8-C4F2AAE87A79}"/>
                                            </p:graphicEl>
                                          </p:spTgt>
                                        </p:tgtEl>
                                      </p:cBhvr>
                                    </p:animEffect>
                                    <p:set>
                                      <p:cBhvr>
                                        <p:cTn id="82" dur="1" fill="hold">
                                          <p:stCondLst>
                                            <p:cond delay="499"/>
                                          </p:stCondLst>
                                        </p:cTn>
                                        <p:tgtEl>
                                          <p:spTgt spid="42">
                                            <p:graphicEl>
                                              <a:dgm id="{F860AC9F-97A3-4DC4-A2A8-C4F2AAE87A79}"/>
                                            </p:graphicEl>
                                          </p:spTgt>
                                        </p:tgtEl>
                                        <p:attrNameLst>
                                          <p:attrName>style.visibility</p:attrName>
                                        </p:attrNameLst>
                                      </p:cBhvr>
                                      <p:to>
                                        <p:strVal val="hidden"/>
                                      </p:to>
                                    </p:set>
                                  </p:childTnLst>
                                </p:cTn>
                              </p:par>
                              <p:par>
                                <p:cTn id="83" presetID="10" presetClass="exit" presetSubtype="0" fill="hold" grpId="2" nodeType="withEffect">
                                  <p:stCondLst>
                                    <p:cond delay="0"/>
                                  </p:stCondLst>
                                  <p:childTnLst>
                                    <p:animEffect transition="out" filter="fade">
                                      <p:cBhvr>
                                        <p:cTn id="84" dur="500"/>
                                        <p:tgtEl>
                                          <p:spTgt spid="42">
                                            <p:graphicEl>
                                              <a:dgm id="{09273BE7-DE2C-4061-AA17-0A7BFA57CFB0}"/>
                                            </p:graphicEl>
                                          </p:spTgt>
                                        </p:tgtEl>
                                      </p:cBhvr>
                                    </p:animEffect>
                                    <p:set>
                                      <p:cBhvr>
                                        <p:cTn id="85" dur="1" fill="hold">
                                          <p:stCondLst>
                                            <p:cond delay="499"/>
                                          </p:stCondLst>
                                        </p:cTn>
                                        <p:tgtEl>
                                          <p:spTgt spid="42">
                                            <p:graphicEl>
                                              <a:dgm id="{09273BE7-DE2C-4061-AA17-0A7BFA57CFB0}"/>
                                            </p:graphicEl>
                                          </p:spTgt>
                                        </p:tgtEl>
                                        <p:attrNameLst>
                                          <p:attrName>style.visibility</p:attrName>
                                        </p:attrNameLst>
                                      </p:cBhvr>
                                      <p:to>
                                        <p:strVal val="hidden"/>
                                      </p:to>
                                    </p:set>
                                  </p:childTnLst>
                                </p:cTn>
                              </p:par>
                              <p:par>
                                <p:cTn id="86" presetID="10" presetClass="exit" presetSubtype="0" fill="hold" grpId="2" nodeType="withEffect">
                                  <p:stCondLst>
                                    <p:cond delay="0"/>
                                  </p:stCondLst>
                                  <p:childTnLst>
                                    <p:animEffect transition="out" filter="fade">
                                      <p:cBhvr>
                                        <p:cTn id="87" dur="500"/>
                                        <p:tgtEl>
                                          <p:spTgt spid="42">
                                            <p:graphicEl>
                                              <a:dgm id="{B26FD3CE-1CF3-41CF-B8EC-1A601E69492E}"/>
                                            </p:graphicEl>
                                          </p:spTgt>
                                        </p:tgtEl>
                                      </p:cBhvr>
                                    </p:animEffect>
                                    <p:set>
                                      <p:cBhvr>
                                        <p:cTn id="88" dur="1" fill="hold">
                                          <p:stCondLst>
                                            <p:cond delay="499"/>
                                          </p:stCondLst>
                                        </p:cTn>
                                        <p:tgtEl>
                                          <p:spTgt spid="42">
                                            <p:graphicEl>
                                              <a:dgm id="{B26FD3CE-1CF3-41CF-B8EC-1A601E69492E}"/>
                                            </p:graphicEl>
                                          </p:spTgt>
                                        </p:tgtEl>
                                        <p:attrNameLst>
                                          <p:attrName>style.visibility</p:attrName>
                                        </p:attrNameLst>
                                      </p:cBhvr>
                                      <p:to>
                                        <p:strVal val="hidden"/>
                                      </p:to>
                                    </p:set>
                                  </p:childTnLst>
                                </p:cTn>
                              </p:par>
                              <p:par>
                                <p:cTn id="89" presetID="10" presetClass="exit" presetSubtype="0" fill="hold" grpId="2" nodeType="withEffect">
                                  <p:stCondLst>
                                    <p:cond delay="0"/>
                                  </p:stCondLst>
                                  <p:childTnLst>
                                    <p:animEffect transition="out" filter="fade">
                                      <p:cBhvr>
                                        <p:cTn id="90" dur="500"/>
                                        <p:tgtEl>
                                          <p:spTgt spid="42">
                                            <p:graphicEl>
                                              <a:dgm id="{EDA3FFD0-8996-4842-85DC-BE79E94C23B4}"/>
                                            </p:graphicEl>
                                          </p:spTgt>
                                        </p:tgtEl>
                                      </p:cBhvr>
                                    </p:animEffect>
                                    <p:set>
                                      <p:cBhvr>
                                        <p:cTn id="91" dur="1" fill="hold">
                                          <p:stCondLst>
                                            <p:cond delay="499"/>
                                          </p:stCondLst>
                                        </p:cTn>
                                        <p:tgtEl>
                                          <p:spTgt spid="42">
                                            <p:graphicEl>
                                              <a:dgm id="{EDA3FFD0-8996-4842-85DC-BE79E94C23B4}"/>
                                            </p:graphicEl>
                                          </p:spTgt>
                                        </p:tgtEl>
                                        <p:attrNameLst>
                                          <p:attrName>style.visibility</p:attrName>
                                        </p:attrNameLst>
                                      </p:cBhvr>
                                      <p:to>
                                        <p:strVal val="hidden"/>
                                      </p:to>
                                    </p:set>
                                  </p:childTnLst>
                                </p:cTn>
                              </p:par>
                              <p:par>
                                <p:cTn id="92" presetID="10" presetClass="exit" presetSubtype="0" fill="hold" grpId="2" nodeType="withEffect">
                                  <p:stCondLst>
                                    <p:cond delay="0"/>
                                  </p:stCondLst>
                                  <p:childTnLst>
                                    <p:animEffect transition="out" filter="fade">
                                      <p:cBhvr>
                                        <p:cTn id="93" dur="500"/>
                                        <p:tgtEl>
                                          <p:spTgt spid="42">
                                            <p:graphicEl>
                                              <a:dgm id="{0C74514F-B192-4726-8F5A-3050F80ADCD6}"/>
                                            </p:graphicEl>
                                          </p:spTgt>
                                        </p:tgtEl>
                                      </p:cBhvr>
                                    </p:animEffect>
                                    <p:set>
                                      <p:cBhvr>
                                        <p:cTn id="94" dur="1" fill="hold">
                                          <p:stCondLst>
                                            <p:cond delay="499"/>
                                          </p:stCondLst>
                                        </p:cTn>
                                        <p:tgtEl>
                                          <p:spTgt spid="42">
                                            <p:graphicEl>
                                              <a:dgm id="{0C74514F-B192-4726-8F5A-3050F80ADCD6}"/>
                                            </p:graphicEl>
                                          </p:spTgt>
                                        </p:tgtEl>
                                        <p:attrNameLst>
                                          <p:attrName>style.visibility</p:attrName>
                                        </p:attrNameLst>
                                      </p:cBhvr>
                                      <p:to>
                                        <p:strVal val="hidden"/>
                                      </p:to>
                                    </p:set>
                                  </p:childTnLst>
                                </p:cTn>
                              </p:par>
                              <p:par>
                                <p:cTn id="95" presetID="10" presetClass="exit" presetSubtype="0" fill="hold" grpId="2" nodeType="withEffect">
                                  <p:stCondLst>
                                    <p:cond delay="0"/>
                                  </p:stCondLst>
                                  <p:childTnLst>
                                    <p:animEffect transition="out" filter="fade">
                                      <p:cBhvr>
                                        <p:cTn id="96" dur="500"/>
                                        <p:tgtEl>
                                          <p:spTgt spid="42">
                                            <p:graphicEl>
                                              <a:dgm id="{D448F732-7F5F-49D0-ABE9-D806C79498D3}"/>
                                            </p:graphicEl>
                                          </p:spTgt>
                                        </p:tgtEl>
                                      </p:cBhvr>
                                    </p:animEffect>
                                    <p:set>
                                      <p:cBhvr>
                                        <p:cTn id="97" dur="1" fill="hold">
                                          <p:stCondLst>
                                            <p:cond delay="499"/>
                                          </p:stCondLst>
                                        </p:cTn>
                                        <p:tgtEl>
                                          <p:spTgt spid="42">
                                            <p:graphicEl>
                                              <a:dgm id="{D448F732-7F5F-49D0-ABE9-D806C79498D3}"/>
                                            </p:graphicEl>
                                          </p:spTgt>
                                        </p:tgtEl>
                                        <p:attrNameLst>
                                          <p:attrName>style.visibility</p:attrName>
                                        </p:attrNameLst>
                                      </p:cBhvr>
                                      <p:to>
                                        <p:strVal val="hidden"/>
                                      </p:to>
                                    </p:set>
                                  </p:childTnLst>
                                </p:cTn>
                              </p:par>
                              <p:par>
                                <p:cTn id="98" presetID="10" presetClass="exit" presetSubtype="0" fill="hold" nodeType="withEffect">
                                  <p:stCondLst>
                                    <p:cond delay="0"/>
                                  </p:stCondLst>
                                  <p:childTnLst>
                                    <p:animEffect transition="out" filter="fade">
                                      <p:cBhvr>
                                        <p:cTn id="99" dur="500"/>
                                        <p:tgtEl>
                                          <p:spTgt spid="10"/>
                                        </p:tgtEl>
                                      </p:cBhvr>
                                    </p:animEffect>
                                    <p:set>
                                      <p:cBhvr>
                                        <p:cTn id="100" dur="1" fill="hold">
                                          <p:stCondLst>
                                            <p:cond delay="499"/>
                                          </p:stCondLst>
                                        </p:cTn>
                                        <p:tgtEl>
                                          <p:spTgt spid="10"/>
                                        </p:tgtEl>
                                        <p:attrNameLst>
                                          <p:attrName>style.visibility</p:attrName>
                                        </p:attrNameLst>
                                      </p:cBhvr>
                                      <p:to>
                                        <p:strVal val="hidden"/>
                                      </p:to>
                                    </p:set>
                                  </p:childTnLst>
                                </p:cTn>
                              </p:par>
                              <p:par>
                                <p:cTn id="101" presetID="10" presetClass="exit" presetSubtype="0" fill="hold" grpId="1" nodeType="withEffect">
                                  <p:stCondLst>
                                    <p:cond delay="0"/>
                                  </p:stCondLst>
                                  <p:childTnLst>
                                    <p:animEffect transition="out" filter="fade">
                                      <p:cBhvr>
                                        <p:cTn id="102" dur="500"/>
                                        <p:tgtEl>
                                          <p:spTgt spid="37"/>
                                        </p:tgtEl>
                                      </p:cBhvr>
                                    </p:animEffect>
                                    <p:set>
                                      <p:cBhvr>
                                        <p:cTn id="103" dur="1" fill="hold">
                                          <p:stCondLst>
                                            <p:cond delay="499"/>
                                          </p:stCondLst>
                                        </p:cTn>
                                        <p:tgtEl>
                                          <p:spTgt spid="37"/>
                                        </p:tgtEl>
                                        <p:attrNameLst>
                                          <p:attrName>style.visibility</p:attrName>
                                        </p:attrNameLst>
                                      </p:cBhvr>
                                      <p:to>
                                        <p:strVal val="hidden"/>
                                      </p:to>
                                    </p:set>
                                  </p:childTnLst>
                                </p:cTn>
                              </p:par>
                              <p:par>
                                <p:cTn id="104" presetID="10" presetClass="exit" presetSubtype="0" fill="hold" nodeType="withEffect">
                                  <p:stCondLst>
                                    <p:cond delay="0"/>
                                  </p:stCondLst>
                                  <p:childTnLst>
                                    <p:animEffect transition="out" filter="fade">
                                      <p:cBhvr>
                                        <p:cTn id="105" dur="500"/>
                                        <p:tgtEl>
                                          <p:spTgt spid="29"/>
                                        </p:tgtEl>
                                      </p:cBhvr>
                                    </p:animEffect>
                                    <p:set>
                                      <p:cBhvr>
                                        <p:cTn id="106" dur="1" fill="hold">
                                          <p:stCondLst>
                                            <p:cond delay="499"/>
                                          </p:stCondLst>
                                        </p:cTn>
                                        <p:tgtEl>
                                          <p:spTgt spid="29"/>
                                        </p:tgtEl>
                                        <p:attrNameLst>
                                          <p:attrName>style.visibility</p:attrName>
                                        </p:attrNameLst>
                                      </p:cBhvr>
                                      <p:to>
                                        <p:strVal val="hidden"/>
                                      </p:to>
                                    </p:set>
                                  </p:childTnLst>
                                </p:cTn>
                              </p:par>
                              <p:par>
                                <p:cTn id="107" presetID="10" presetClass="exit" presetSubtype="0" fill="hold" grpId="1" nodeType="withEffect">
                                  <p:stCondLst>
                                    <p:cond delay="0"/>
                                  </p:stCondLst>
                                  <p:childTnLst>
                                    <p:animEffect transition="out" filter="fade">
                                      <p:cBhvr>
                                        <p:cTn id="108" dur="500"/>
                                        <p:tgtEl>
                                          <p:spTgt spid="39"/>
                                        </p:tgtEl>
                                      </p:cBhvr>
                                    </p:animEffect>
                                    <p:set>
                                      <p:cBhvr>
                                        <p:cTn id="109" dur="1" fill="hold">
                                          <p:stCondLst>
                                            <p:cond delay="499"/>
                                          </p:stCondLst>
                                        </p:cTn>
                                        <p:tgtEl>
                                          <p:spTgt spid="39"/>
                                        </p:tgtEl>
                                        <p:attrNameLst>
                                          <p:attrName>style.visibility</p:attrName>
                                        </p:attrNameLst>
                                      </p:cBhvr>
                                      <p:to>
                                        <p:strVal val="hidden"/>
                                      </p:to>
                                    </p:set>
                                  </p:childTnLst>
                                </p:cTn>
                              </p:par>
                              <p:par>
                                <p:cTn id="110" presetID="42" presetClass="path" presetSubtype="0" accel="50000" decel="50000" fill="hold" nodeType="withEffect">
                                  <p:stCondLst>
                                    <p:cond delay="0"/>
                                  </p:stCondLst>
                                  <p:childTnLst>
                                    <p:animMotion origin="layout" path="M -1.66667E-6 -1.48148E-6 L -0.10182 0.20324 " pathEditMode="relative" rAng="0" ptsTypes="AA">
                                      <p:cBhvr>
                                        <p:cTn id="111" dur="2000" fill="hold"/>
                                        <p:tgtEl>
                                          <p:spTgt spid="20"/>
                                        </p:tgtEl>
                                        <p:attrNameLst>
                                          <p:attrName>ppt_x</p:attrName>
                                          <p:attrName>ppt_y</p:attrName>
                                        </p:attrNameLst>
                                      </p:cBhvr>
                                      <p:rCtr x="-5091" y="10162"/>
                                    </p:animMotion>
                                  </p:childTnLst>
                                </p:cTn>
                              </p:par>
                              <p:par>
                                <p:cTn id="112" presetID="42" presetClass="path" presetSubtype="0" accel="50000" decel="50000" fill="hold" grpId="1" nodeType="withEffect">
                                  <p:stCondLst>
                                    <p:cond delay="0"/>
                                  </p:stCondLst>
                                  <p:childTnLst>
                                    <p:animMotion origin="layout" path="M 4.79167E-6 -0.00023 L -0.10378 0.20301 " pathEditMode="relative" rAng="0" ptsTypes="AA">
                                      <p:cBhvr>
                                        <p:cTn id="113" dur="2000" fill="hold"/>
                                        <p:tgtEl>
                                          <p:spTgt spid="36"/>
                                        </p:tgtEl>
                                        <p:attrNameLst>
                                          <p:attrName>ppt_x</p:attrName>
                                          <p:attrName>ppt_y</p:attrName>
                                        </p:attrNameLst>
                                      </p:cBhvr>
                                      <p:rCtr x="-5195" y="1016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6" grpId="1"/>
      <p:bldP spid="37" grpId="0"/>
      <p:bldP spid="37" grpId="1"/>
      <p:bldP spid="39" grpId="0"/>
      <p:bldP spid="39" grpId="1"/>
      <p:bldGraphic spid="42" grpId="0">
        <p:bldSub>
          <a:bldDgm/>
        </p:bldSub>
      </p:bldGraphic>
      <p:bldGraphic spid="42" grpId="1">
        <p:bldSub>
          <a:bldDgm/>
        </p:bldSub>
      </p:bldGraphic>
      <p:bldGraphic spid="42" grpId="2">
        <p:bldSub>
          <a:bldDgm/>
        </p:bldSub>
      </p:bldGraphic>
    </p:bldLst>
  </p:timing>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p:cNvGraphicFramePr>
          <p:nvPr>
            <p:custDataLst>
              <p:tags r:id="rId2"/>
            </p:custDataLst>
            <p:extLst>
              <p:ext uri="{D42A27DB-BD31-4B8C-83A1-F6EECF244321}">
                <p14:modId xmlns:p14="http://schemas.microsoft.com/office/powerpoint/2010/main" val="379007394"/>
              </p:ext>
            </p:extLst>
          </p:nvPr>
        </p:nvGraphicFramePr>
        <p:xfrm>
          <a:off x="1191" y="1192"/>
          <a:ext cx="1191" cy="1190"/>
        </p:xfrm>
        <a:graphic>
          <a:graphicData uri="http://schemas.openxmlformats.org/presentationml/2006/ole">
            <mc:AlternateContent xmlns:mc="http://schemas.openxmlformats.org/markup-compatibility/2006">
              <mc:Choice xmlns:v="urn:schemas-microsoft-com:vml" Requires="v">
                <p:oleObj spid="_x0000_s9227" name="think-cell Slide" r:id="rId55" imgW="270" imgH="270" progId="TCLayout.ActiveDocument.1">
                  <p:embed/>
                </p:oleObj>
              </mc:Choice>
              <mc:Fallback>
                <p:oleObj name="think-cell Slide" r:id="rId55" imgW="270" imgH="270" progId="TCLayout.ActiveDocument.1">
                  <p:embed/>
                  <p:pic>
                    <p:nvPicPr>
                      <p:cNvPr id="0" name=""/>
                      <p:cNvPicPr/>
                      <p:nvPr/>
                    </p:nvPicPr>
                    <p:blipFill>
                      <a:blip r:embed="rId56"/>
                      <a:stretch>
                        <a:fillRect/>
                      </a:stretch>
                    </p:blipFill>
                    <p:spPr>
                      <a:xfrm>
                        <a:off x="1191" y="1192"/>
                        <a:ext cx="1191" cy="1190"/>
                      </a:xfrm>
                      <a:prstGeom prst="rect">
                        <a:avLst/>
                      </a:prstGeom>
                    </p:spPr>
                  </p:pic>
                </p:oleObj>
              </mc:Fallback>
            </mc:AlternateContent>
          </a:graphicData>
        </a:graphic>
      </p:graphicFrame>
      <p:sp>
        <p:nvSpPr>
          <p:cNvPr id="136" name="Right Arrow 24"/>
          <p:cNvSpPr/>
          <p:nvPr>
            <p:custDataLst>
              <p:tags r:id="rId3"/>
            </p:custDataLst>
          </p:nvPr>
        </p:nvSpPr>
        <p:spPr bwMode="auto">
          <a:xfrm>
            <a:off x="4168159" y="4066633"/>
            <a:ext cx="790219" cy="121590"/>
          </a:xfrm>
          <a:prstGeom prst="rightArrow">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marL="257198" indent="-257198" algn="ctr"/>
            <a:endParaRPr lang="en-US" sz="1500" dirty="0">
              <a:solidFill>
                <a:schemeClr val="accent6">
                  <a:alpha val="99000"/>
                </a:schemeClr>
              </a:solidFill>
              <a:latin typeface="Segoe UI Semibold" pitchFamily="34" charset="0"/>
            </a:endParaRPr>
          </a:p>
        </p:txBody>
      </p:sp>
      <p:sp>
        <p:nvSpPr>
          <p:cNvPr id="58" name="Title 57"/>
          <p:cNvSpPr>
            <a:spLocks noGrp="1"/>
          </p:cNvSpPr>
          <p:nvPr>
            <p:ph type="title"/>
            <p:custDataLst>
              <p:tags r:id="rId4"/>
            </p:custDataLst>
          </p:nvPr>
        </p:nvSpPr>
        <p:spPr/>
        <p:txBody>
          <a:bodyPr/>
          <a:lstStyle/>
          <a:p>
            <a:r>
              <a:rPr lang="de-DE" dirty="0" smtClean="0">
                <a:cs typeface="Segoe UI"/>
              </a:rPr>
              <a:t>Recycle Bin: </a:t>
            </a:r>
            <a:r>
              <a:rPr lang="de-DE" dirty="0" err="1" smtClean="0">
                <a:cs typeface="Segoe UI"/>
              </a:rPr>
              <a:t>Lifecycle</a:t>
            </a:r>
            <a:endParaRPr lang="de-DE" dirty="0">
              <a:cs typeface="Segoe UI"/>
            </a:endParaRPr>
          </a:p>
        </p:txBody>
      </p:sp>
      <p:sp>
        <p:nvSpPr>
          <p:cNvPr id="13" name="Rectangle 12"/>
          <p:cNvSpPr/>
          <p:nvPr>
            <p:custDataLst>
              <p:tags r:id="rId5"/>
            </p:custDataLst>
          </p:nvPr>
        </p:nvSpPr>
        <p:spPr>
          <a:xfrm>
            <a:off x="389437" y="1304002"/>
            <a:ext cx="2471078" cy="253916"/>
          </a:xfrm>
          <a:prstGeom prst="rect">
            <a:avLst/>
          </a:prstGeom>
        </p:spPr>
        <p:txBody>
          <a:bodyPr wrap="square" lIns="68586" tIns="34294" rIns="68586" bIns="34294">
            <a:spAutoFit/>
          </a:bodyPr>
          <a:lstStyle/>
          <a:p>
            <a:pPr>
              <a:defRPr/>
            </a:pPr>
            <a:r>
              <a:rPr lang="en-US" sz="1200" dirty="0">
                <a:solidFill>
                  <a:schemeClr val="accent5">
                    <a:alpha val="99000"/>
                  </a:schemeClr>
                </a:solidFill>
                <a:latin typeface="Segoe UI Semibold" pitchFamily="34" charset="0"/>
              </a:rPr>
              <a:t>No Recycle bin feature </a:t>
            </a:r>
          </a:p>
        </p:txBody>
      </p:sp>
      <p:sp>
        <p:nvSpPr>
          <p:cNvPr id="14" name="Rectangle 13"/>
          <p:cNvSpPr/>
          <p:nvPr>
            <p:custDataLst>
              <p:tags r:id="rId6"/>
            </p:custDataLst>
          </p:nvPr>
        </p:nvSpPr>
        <p:spPr bwMode="auto">
          <a:xfrm>
            <a:off x="1414957" y="1771650"/>
            <a:ext cx="1445558" cy="43815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65" name="Rectangle 64"/>
          <p:cNvSpPr/>
          <p:nvPr>
            <p:custDataLst>
              <p:tags r:id="rId7"/>
            </p:custDataLst>
          </p:nvPr>
        </p:nvSpPr>
        <p:spPr bwMode="auto">
          <a:xfrm>
            <a:off x="6480485" y="1771650"/>
            <a:ext cx="1445558" cy="43815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16" name="Rectangle 15"/>
          <p:cNvSpPr/>
          <p:nvPr>
            <p:custDataLst>
              <p:tags r:id="rId8"/>
            </p:custDataLst>
          </p:nvPr>
        </p:nvSpPr>
        <p:spPr>
          <a:xfrm>
            <a:off x="1648670" y="1794517"/>
            <a:ext cx="1127030" cy="415497"/>
          </a:xfrm>
          <a:prstGeom prst="rect">
            <a:avLst/>
          </a:prstGeom>
        </p:spPr>
        <p:txBody>
          <a:bodyPr wrap="square" lIns="68586" tIns="34294" rIns="68586" bIns="34294">
            <a:spAutoFit/>
          </a:bodyPr>
          <a:lstStyle/>
          <a:p>
            <a:r>
              <a:rPr lang="en-US" sz="1100" dirty="0">
                <a:solidFill>
                  <a:schemeClr val="tx1">
                    <a:alpha val="99000"/>
                  </a:schemeClr>
                </a:solidFill>
              </a:rPr>
              <a:t>Live</a:t>
            </a:r>
          </a:p>
          <a:p>
            <a:r>
              <a:rPr lang="en-US" sz="1100" dirty="0">
                <a:solidFill>
                  <a:schemeClr val="tx1">
                    <a:alpha val="99000"/>
                  </a:schemeClr>
                </a:solidFill>
              </a:rPr>
              <a:t>Object</a:t>
            </a:r>
          </a:p>
        </p:txBody>
      </p:sp>
      <p:sp>
        <p:nvSpPr>
          <p:cNvPr id="68" name="Rectangle 67"/>
          <p:cNvSpPr/>
          <p:nvPr>
            <p:custDataLst>
              <p:tags r:id="rId9"/>
            </p:custDataLst>
          </p:nvPr>
        </p:nvSpPr>
        <p:spPr>
          <a:xfrm>
            <a:off x="6703580" y="1794517"/>
            <a:ext cx="1142832" cy="415497"/>
          </a:xfrm>
          <a:prstGeom prst="rect">
            <a:avLst/>
          </a:prstGeom>
        </p:spPr>
        <p:txBody>
          <a:bodyPr wrap="square" lIns="68586" tIns="34294" rIns="68586" bIns="34294">
            <a:spAutoFit/>
          </a:bodyPr>
          <a:lstStyle/>
          <a:p>
            <a:r>
              <a:rPr lang="en-US" sz="1100" dirty="0">
                <a:solidFill>
                  <a:schemeClr val="tx1">
                    <a:alpha val="99000"/>
                  </a:schemeClr>
                </a:solidFill>
              </a:rPr>
              <a:t>Garbage</a:t>
            </a:r>
            <a:br>
              <a:rPr lang="en-US" sz="1100" dirty="0">
                <a:solidFill>
                  <a:schemeClr val="tx1">
                    <a:alpha val="99000"/>
                  </a:schemeClr>
                </a:solidFill>
              </a:rPr>
            </a:br>
            <a:r>
              <a:rPr lang="en-US" sz="1100" dirty="0">
                <a:solidFill>
                  <a:schemeClr val="tx1">
                    <a:alpha val="99000"/>
                  </a:schemeClr>
                </a:solidFill>
              </a:rPr>
              <a:t>Collection</a:t>
            </a:r>
          </a:p>
        </p:txBody>
      </p:sp>
      <p:sp>
        <p:nvSpPr>
          <p:cNvPr id="186" name="TextBox 185"/>
          <p:cNvSpPr txBox="1"/>
          <p:nvPr>
            <p:custDataLst>
              <p:tags r:id="rId10"/>
            </p:custDataLst>
          </p:nvPr>
        </p:nvSpPr>
        <p:spPr>
          <a:xfrm>
            <a:off x="3142367" y="1540819"/>
            <a:ext cx="549903" cy="242372"/>
          </a:xfrm>
          <a:prstGeom prst="rect">
            <a:avLst/>
          </a:prstGeom>
          <a:noFill/>
        </p:spPr>
        <p:txBody>
          <a:bodyPr wrap="none" lIns="68586" tIns="34294" rIns="68586" bIns="34294" rtlCol="0">
            <a:spAutoFit/>
          </a:bodyPr>
          <a:lstStyle/>
          <a:p>
            <a:pPr defTabSz="685835"/>
            <a:r>
              <a:rPr lang="en-US" sz="1100" dirty="0">
                <a:solidFill>
                  <a:schemeClr val="tx1">
                    <a:alpha val="99000"/>
                  </a:schemeClr>
                </a:solidFill>
              </a:rPr>
              <a:t>Delete</a:t>
            </a:r>
          </a:p>
        </p:txBody>
      </p:sp>
      <p:sp>
        <p:nvSpPr>
          <p:cNvPr id="2" name="TextBox 1"/>
          <p:cNvSpPr txBox="1"/>
          <p:nvPr>
            <p:custDataLst>
              <p:tags r:id="rId11"/>
            </p:custDataLst>
          </p:nvPr>
        </p:nvSpPr>
        <p:spPr>
          <a:xfrm>
            <a:off x="-15321" y="4954910"/>
            <a:ext cx="707343" cy="196206"/>
          </a:xfrm>
          <a:prstGeom prst="rect">
            <a:avLst/>
          </a:prstGeom>
          <a:noFill/>
        </p:spPr>
        <p:txBody>
          <a:bodyPr wrap="none" lIns="68586" tIns="34294" rIns="68586" bIns="34294" rtlCol="0">
            <a:spAutoFit/>
          </a:bodyPr>
          <a:lstStyle/>
          <a:p>
            <a:r>
              <a:rPr lang="en-US" sz="800" dirty="0">
                <a:solidFill>
                  <a:schemeClr val="tx1">
                    <a:alpha val="99000"/>
                  </a:schemeClr>
                </a:solidFill>
              </a:rPr>
              <a:t>© Microsoft</a:t>
            </a:r>
          </a:p>
        </p:txBody>
      </p:sp>
      <p:sp>
        <p:nvSpPr>
          <p:cNvPr id="75" name="TextBox 74"/>
          <p:cNvSpPr txBox="1"/>
          <p:nvPr>
            <p:custDataLst>
              <p:tags r:id="rId12"/>
            </p:custDataLst>
          </p:nvPr>
        </p:nvSpPr>
        <p:spPr>
          <a:xfrm>
            <a:off x="2951520" y="2495014"/>
            <a:ext cx="960075" cy="242372"/>
          </a:xfrm>
          <a:prstGeom prst="rect">
            <a:avLst/>
          </a:prstGeom>
          <a:noFill/>
        </p:spPr>
        <p:txBody>
          <a:bodyPr wrap="none" lIns="68586" tIns="34294" rIns="68586" bIns="34294" rtlCol="0">
            <a:spAutoFit/>
          </a:bodyPr>
          <a:lstStyle/>
          <a:p>
            <a:r>
              <a:rPr lang="en-US" sz="1100" dirty="0" err="1">
                <a:solidFill>
                  <a:schemeClr val="tx1">
                    <a:alpha val="99000"/>
                  </a:schemeClr>
                </a:solidFill>
              </a:rPr>
              <a:t>Auth</a:t>
            </a:r>
            <a:r>
              <a:rPr lang="en-US" sz="1100" dirty="0">
                <a:solidFill>
                  <a:schemeClr val="tx1">
                    <a:alpha val="99000"/>
                  </a:schemeClr>
                </a:solidFill>
              </a:rPr>
              <a:t> Restore</a:t>
            </a:r>
          </a:p>
        </p:txBody>
      </p:sp>
      <p:sp>
        <p:nvSpPr>
          <p:cNvPr id="18" name="Rectangle 17"/>
          <p:cNvSpPr/>
          <p:nvPr>
            <p:custDataLst>
              <p:tags r:id="rId13"/>
            </p:custDataLst>
          </p:nvPr>
        </p:nvSpPr>
        <p:spPr>
          <a:xfrm>
            <a:off x="3941648" y="2398088"/>
            <a:ext cx="1451632" cy="415497"/>
          </a:xfrm>
          <a:prstGeom prst="rect">
            <a:avLst/>
          </a:prstGeom>
        </p:spPr>
        <p:txBody>
          <a:bodyPr wrap="square" lIns="68586" tIns="34294" rIns="68586" bIns="34294">
            <a:spAutoFit/>
          </a:bodyPr>
          <a:lstStyle/>
          <a:p>
            <a:pPr algn="ctr"/>
            <a:r>
              <a:rPr lang="en-US" sz="1100" dirty="0">
                <a:solidFill>
                  <a:schemeClr val="tx1">
                    <a:alpha val="99000"/>
                  </a:schemeClr>
                </a:solidFill>
              </a:rPr>
              <a:t>Tombstone Lifetime</a:t>
            </a:r>
          </a:p>
          <a:p>
            <a:pPr algn="ctr"/>
            <a:r>
              <a:rPr lang="en-US" sz="1100" dirty="0">
                <a:solidFill>
                  <a:schemeClr val="tx1">
                    <a:alpha val="99000"/>
                  </a:schemeClr>
                </a:solidFill>
              </a:rPr>
              <a:t>60/180 Days</a:t>
            </a:r>
          </a:p>
        </p:txBody>
      </p:sp>
      <p:pic>
        <p:nvPicPr>
          <p:cNvPr id="79" name="Picture 3"/>
          <p:cNvPicPr>
            <a:picLocks noChangeAspect="1" noChangeArrowheads="1"/>
          </p:cNvPicPr>
          <p:nvPr>
            <p:custDataLst>
              <p:tags r:id="rId14"/>
            </p:custDataLst>
          </p:nvPr>
        </p:nvPicPr>
        <p:blipFill>
          <a:blip r:embed="rId57">
            <a:extLst>
              <a:ext uri="{28A0092B-C50C-407E-A947-70E740481C1C}">
                <a14:useLocalDpi xmlns:a14="http://schemas.microsoft.com/office/drawing/2010/main" val="0"/>
              </a:ext>
            </a:extLst>
          </a:blip>
          <a:stretch>
            <a:fillRect/>
          </a:stretch>
        </p:blipFill>
        <p:spPr bwMode="auto">
          <a:xfrm>
            <a:off x="1501317" y="1806580"/>
            <a:ext cx="147353" cy="368289"/>
          </a:xfrm>
          <a:prstGeom prst="rect">
            <a:avLst/>
          </a:prstGeom>
          <a:noFill/>
          <a:extLst>
            <a:ext uri="{909E8E84-426E-40DD-AFC4-6F175D3DCCD1}">
              <a14:hiddenFill xmlns:a14="http://schemas.microsoft.com/office/drawing/2010/main">
                <a:solidFill>
                  <a:srgbClr val="FFFFFF"/>
                </a:solidFill>
              </a14:hiddenFill>
            </a:ext>
          </a:extLst>
        </p:spPr>
      </p:pic>
      <p:sp>
        <p:nvSpPr>
          <p:cNvPr id="83" name="Rectangle 82"/>
          <p:cNvSpPr/>
          <p:nvPr>
            <p:custDataLst>
              <p:tags r:id="rId15"/>
            </p:custDataLst>
          </p:nvPr>
        </p:nvSpPr>
        <p:spPr>
          <a:xfrm>
            <a:off x="389437" y="3333853"/>
            <a:ext cx="2471078" cy="253916"/>
          </a:xfrm>
          <a:prstGeom prst="rect">
            <a:avLst/>
          </a:prstGeom>
        </p:spPr>
        <p:txBody>
          <a:bodyPr wrap="square" lIns="68586" tIns="34294" rIns="68586" bIns="34294">
            <a:spAutoFit/>
          </a:bodyPr>
          <a:lstStyle/>
          <a:p>
            <a:pPr lvl="0">
              <a:defRPr/>
            </a:pPr>
            <a:r>
              <a:rPr lang="en-US" sz="1200" dirty="0">
                <a:solidFill>
                  <a:schemeClr val="accent5">
                    <a:alpha val="99000"/>
                  </a:schemeClr>
                </a:solidFill>
                <a:latin typeface="Segoe UI Semibold" pitchFamily="34" charset="0"/>
              </a:rPr>
              <a:t>with Recycle Bin enabled</a:t>
            </a:r>
          </a:p>
        </p:txBody>
      </p:sp>
      <p:sp>
        <p:nvSpPr>
          <p:cNvPr id="84" name="Rectangle 83"/>
          <p:cNvSpPr/>
          <p:nvPr>
            <p:custDataLst>
              <p:tags r:id="rId16"/>
            </p:custDataLst>
          </p:nvPr>
        </p:nvSpPr>
        <p:spPr bwMode="auto">
          <a:xfrm>
            <a:off x="474678" y="3908352"/>
            <a:ext cx="1445558" cy="43815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85" name="Rectangle 84"/>
          <p:cNvSpPr/>
          <p:nvPr>
            <p:custDataLst>
              <p:tags r:id="rId17"/>
            </p:custDataLst>
          </p:nvPr>
        </p:nvSpPr>
        <p:spPr bwMode="auto">
          <a:xfrm>
            <a:off x="4964451" y="3908352"/>
            <a:ext cx="1445558" cy="43815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86" name="Rectangle 85"/>
          <p:cNvSpPr/>
          <p:nvPr>
            <p:custDataLst>
              <p:tags r:id="rId18"/>
            </p:custDataLst>
          </p:nvPr>
        </p:nvSpPr>
        <p:spPr bwMode="auto">
          <a:xfrm>
            <a:off x="7209337" y="3908352"/>
            <a:ext cx="1445558" cy="43815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87" name="Rectangle 86"/>
          <p:cNvSpPr/>
          <p:nvPr>
            <p:custDataLst>
              <p:tags r:id="rId19"/>
            </p:custDataLst>
          </p:nvPr>
        </p:nvSpPr>
        <p:spPr>
          <a:xfrm>
            <a:off x="774273" y="3931220"/>
            <a:ext cx="1061148" cy="415497"/>
          </a:xfrm>
          <a:prstGeom prst="rect">
            <a:avLst/>
          </a:prstGeom>
        </p:spPr>
        <p:txBody>
          <a:bodyPr wrap="square" lIns="68586" tIns="34294" rIns="68586" bIns="34294">
            <a:spAutoFit/>
          </a:bodyPr>
          <a:lstStyle/>
          <a:p>
            <a:r>
              <a:rPr lang="en-US" sz="1100" dirty="0">
                <a:solidFill>
                  <a:schemeClr val="tx1">
                    <a:alpha val="99000"/>
                  </a:schemeClr>
                </a:solidFill>
              </a:rPr>
              <a:t>Live</a:t>
            </a:r>
          </a:p>
          <a:p>
            <a:r>
              <a:rPr lang="en-US" sz="1100" dirty="0">
                <a:solidFill>
                  <a:schemeClr val="tx1">
                    <a:alpha val="99000"/>
                  </a:schemeClr>
                </a:solidFill>
              </a:rPr>
              <a:t>Object</a:t>
            </a:r>
          </a:p>
        </p:txBody>
      </p:sp>
      <p:sp>
        <p:nvSpPr>
          <p:cNvPr id="88" name="Rectangle 87"/>
          <p:cNvSpPr/>
          <p:nvPr>
            <p:custDataLst>
              <p:tags r:id="rId20"/>
            </p:custDataLst>
          </p:nvPr>
        </p:nvSpPr>
        <p:spPr>
          <a:xfrm>
            <a:off x="5182961" y="3931220"/>
            <a:ext cx="1118424" cy="415497"/>
          </a:xfrm>
          <a:prstGeom prst="rect">
            <a:avLst/>
          </a:prstGeom>
        </p:spPr>
        <p:txBody>
          <a:bodyPr wrap="square" lIns="68586" tIns="34294" rIns="68586" bIns="34294">
            <a:spAutoFit/>
          </a:bodyPr>
          <a:lstStyle/>
          <a:p>
            <a:r>
              <a:rPr lang="en-US" sz="1100" dirty="0">
                <a:solidFill>
                  <a:schemeClr val="tx1">
                    <a:alpha val="99000"/>
                  </a:schemeClr>
                </a:solidFill>
              </a:rPr>
              <a:t>Tombstone</a:t>
            </a:r>
            <a:br>
              <a:rPr lang="en-US" sz="1100" dirty="0">
                <a:solidFill>
                  <a:schemeClr val="tx1">
                    <a:alpha val="99000"/>
                  </a:schemeClr>
                </a:solidFill>
              </a:rPr>
            </a:br>
            <a:r>
              <a:rPr lang="en-US" sz="1100" dirty="0">
                <a:solidFill>
                  <a:schemeClr val="tx1">
                    <a:alpha val="99000"/>
                  </a:schemeClr>
                </a:solidFill>
              </a:rPr>
              <a:t>Object*</a:t>
            </a:r>
          </a:p>
        </p:txBody>
      </p:sp>
      <p:sp>
        <p:nvSpPr>
          <p:cNvPr id="89" name="Rectangle 88"/>
          <p:cNvSpPr/>
          <p:nvPr>
            <p:custDataLst>
              <p:tags r:id="rId21"/>
            </p:custDataLst>
          </p:nvPr>
        </p:nvSpPr>
        <p:spPr>
          <a:xfrm>
            <a:off x="7436302" y="3931220"/>
            <a:ext cx="1152545" cy="415497"/>
          </a:xfrm>
          <a:prstGeom prst="rect">
            <a:avLst/>
          </a:prstGeom>
        </p:spPr>
        <p:txBody>
          <a:bodyPr wrap="square" lIns="68586" tIns="34294" rIns="68586" bIns="34294">
            <a:spAutoFit/>
          </a:bodyPr>
          <a:lstStyle/>
          <a:p>
            <a:r>
              <a:rPr lang="en-US" sz="1100" dirty="0">
                <a:solidFill>
                  <a:schemeClr val="tx1">
                    <a:alpha val="99000"/>
                  </a:schemeClr>
                </a:solidFill>
              </a:rPr>
              <a:t>Garbage</a:t>
            </a:r>
            <a:br>
              <a:rPr lang="en-US" sz="1100" dirty="0">
                <a:solidFill>
                  <a:schemeClr val="tx1">
                    <a:alpha val="99000"/>
                  </a:schemeClr>
                </a:solidFill>
              </a:rPr>
            </a:br>
            <a:r>
              <a:rPr lang="en-US" sz="1100" dirty="0">
                <a:solidFill>
                  <a:schemeClr val="tx1">
                    <a:alpha val="99000"/>
                  </a:schemeClr>
                </a:solidFill>
              </a:rPr>
              <a:t>Collection</a:t>
            </a:r>
          </a:p>
        </p:txBody>
      </p:sp>
      <p:sp>
        <p:nvSpPr>
          <p:cNvPr id="90" name="TextBox 89"/>
          <p:cNvSpPr txBox="1"/>
          <p:nvPr>
            <p:custDataLst>
              <p:tags r:id="rId22"/>
            </p:custDataLst>
          </p:nvPr>
        </p:nvSpPr>
        <p:spPr>
          <a:xfrm>
            <a:off x="2041830" y="3714989"/>
            <a:ext cx="549903" cy="242372"/>
          </a:xfrm>
          <a:prstGeom prst="rect">
            <a:avLst/>
          </a:prstGeom>
          <a:noFill/>
        </p:spPr>
        <p:txBody>
          <a:bodyPr wrap="none" lIns="68586" tIns="34294" rIns="68586" bIns="34294" rtlCol="0">
            <a:spAutoFit/>
          </a:bodyPr>
          <a:lstStyle/>
          <a:p>
            <a:pPr defTabSz="685835"/>
            <a:r>
              <a:rPr lang="en-US" sz="1100" dirty="0">
                <a:solidFill>
                  <a:schemeClr val="tx1">
                    <a:alpha val="99000"/>
                  </a:schemeClr>
                </a:solidFill>
              </a:rPr>
              <a:t>Delete</a:t>
            </a:r>
          </a:p>
        </p:txBody>
      </p:sp>
      <p:sp>
        <p:nvSpPr>
          <p:cNvPr id="94" name="TextBox 93"/>
          <p:cNvSpPr txBox="1"/>
          <p:nvPr>
            <p:custDataLst>
              <p:tags r:id="rId23"/>
            </p:custDataLst>
          </p:nvPr>
        </p:nvSpPr>
        <p:spPr>
          <a:xfrm>
            <a:off x="1965467" y="4631716"/>
            <a:ext cx="714655" cy="242372"/>
          </a:xfrm>
          <a:prstGeom prst="rect">
            <a:avLst/>
          </a:prstGeom>
          <a:noFill/>
        </p:spPr>
        <p:txBody>
          <a:bodyPr wrap="none" lIns="68586" tIns="34294" rIns="68586" bIns="34294" rtlCol="0">
            <a:spAutoFit/>
          </a:bodyPr>
          <a:lstStyle/>
          <a:p>
            <a:r>
              <a:rPr lang="en-US" sz="1100" dirty="0">
                <a:solidFill>
                  <a:schemeClr val="tx1">
                    <a:alpha val="99000"/>
                  </a:schemeClr>
                </a:solidFill>
              </a:rPr>
              <a:t>Undelete</a:t>
            </a:r>
          </a:p>
        </p:txBody>
      </p:sp>
      <p:sp>
        <p:nvSpPr>
          <p:cNvPr id="96" name="Rectangle 95"/>
          <p:cNvSpPr/>
          <p:nvPr>
            <p:custDataLst>
              <p:tags r:id="rId24"/>
            </p:custDataLst>
          </p:nvPr>
        </p:nvSpPr>
        <p:spPr>
          <a:xfrm>
            <a:off x="4912015" y="4534790"/>
            <a:ext cx="1451632" cy="588621"/>
          </a:xfrm>
          <a:prstGeom prst="rect">
            <a:avLst/>
          </a:prstGeom>
        </p:spPr>
        <p:txBody>
          <a:bodyPr wrap="square" lIns="68586" tIns="34294" rIns="68586" bIns="34294">
            <a:spAutoFit/>
          </a:bodyPr>
          <a:lstStyle/>
          <a:p>
            <a:pPr algn="ctr"/>
            <a:r>
              <a:rPr lang="en-US" sz="1100" dirty="0">
                <a:solidFill>
                  <a:schemeClr val="tx1">
                    <a:alpha val="99000"/>
                  </a:schemeClr>
                </a:solidFill>
              </a:rPr>
              <a:t>Tombstone</a:t>
            </a:r>
            <a:br>
              <a:rPr lang="en-US" sz="1100" dirty="0">
                <a:solidFill>
                  <a:schemeClr val="tx1">
                    <a:alpha val="99000"/>
                  </a:schemeClr>
                </a:solidFill>
              </a:rPr>
            </a:br>
            <a:r>
              <a:rPr lang="en-US" sz="1100" dirty="0">
                <a:solidFill>
                  <a:schemeClr val="tx1">
                    <a:alpha val="99000"/>
                  </a:schemeClr>
                </a:solidFill>
              </a:rPr>
              <a:t>Lifetime</a:t>
            </a:r>
          </a:p>
          <a:p>
            <a:pPr algn="ctr"/>
            <a:r>
              <a:rPr lang="en-US" sz="1100" dirty="0">
                <a:solidFill>
                  <a:schemeClr val="tx1">
                    <a:alpha val="99000"/>
                  </a:schemeClr>
                </a:solidFill>
              </a:rPr>
              <a:t>60/180 Days</a:t>
            </a:r>
          </a:p>
        </p:txBody>
      </p:sp>
      <p:pic>
        <p:nvPicPr>
          <p:cNvPr id="97" name="Picture 3"/>
          <p:cNvPicPr>
            <a:picLocks noChangeAspect="1" noChangeArrowheads="1"/>
          </p:cNvPicPr>
          <p:nvPr>
            <p:custDataLst>
              <p:tags r:id="rId25"/>
            </p:custDataLst>
          </p:nvPr>
        </p:nvPicPr>
        <p:blipFill>
          <a:blip r:embed="rId57">
            <a:extLst>
              <a:ext uri="{28A0092B-C50C-407E-A947-70E740481C1C}">
                <a14:useLocalDpi xmlns:a14="http://schemas.microsoft.com/office/drawing/2010/main" val="0"/>
              </a:ext>
            </a:extLst>
          </a:blip>
          <a:stretch>
            <a:fillRect/>
          </a:stretch>
        </p:blipFill>
        <p:spPr bwMode="auto">
          <a:xfrm>
            <a:off x="565438" y="3943283"/>
            <a:ext cx="147353" cy="368289"/>
          </a:xfrm>
          <a:prstGeom prst="rect">
            <a:avLst/>
          </a:prstGeom>
          <a:noFill/>
          <a:extLst>
            <a:ext uri="{909E8E84-426E-40DD-AFC4-6F175D3DCCD1}">
              <a14:hiddenFill xmlns:a14="http://schemas.microsoft.com/office/drawing/2010/main">
                <a:solidFill>
                  <a:srgbClr val="FFFFFF"/>
                </a:solidFill>
              </a14:hiddenFill>
            </a:ext>
          </a:extLst>
        </p:spPr>
      </p:pic>
      <p:sp>
        <p:nvSpPr>
          <p:cNvPr id="107" name="Rectangle 106"/>
          <p:cNvSpPr/>
          <p:nvPr>
            <p:custDataLst>
              <p:tags r:id="rId26"/>
            </p:custDataLst>
          </p:nvPr>
        </p:nvSpPr>
        <p:spPr bwMode="auto">
          <a:xfrm>
            <a:off x="2719564" y="3908352"/>
            <a:ext cx="1445558" cy="43815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110" name="Rectangle 109"/>
          <p:cNvSpPr/>
          <p:nvPr>
            <p:custDataLst>
              <p:tags r:id="rId27"/>
            </p:custDataLst>
          </p:nvPr>
        </p:nvSpPr>
        <p:spPr>
          <a:xfrm>
            <a:off x="2719564" y="4534790"/>
            <a:ext cx="1445558" cy="588621"/>
          </a:xfrm>
          <a:prstGeom prst="rect">
            <a:avLst/>
          </a:prstGeom>
        </p:spPr>
        <p:txBody>
          <a:bodyPr wrap="square" lIns="68586" tIns="34294" rIns="68586" bIns="34294">
            <a:spAutoFit/>
          </a:bodyPr>
          <a:lstStyle/>
          <a:p>
            <a:pPr algn="ctr"/>
            <a:r>
              <a:rPr lang="en-US" sz="1100" dirty="0">
                <a:solidFill>
                  <a:schemeClr val="tx1">
                    <a:alpha val="99000"/>
                  </a:schemeClr>
                </a:solidFill>
              </a:rPr>
              <a:t>Deleted Object </a:t>
            </a:r>
            <a:br>
              <a:rPr lang="en-US" sz="1100" dirty="0">
                <a:solidFill>
                  <a:schemeClr val="tx1">
                    <a:alpha val="99000"/>
                  </a:schemeClr>
                </a:solidFill>
              </a:rPr>
            </a:br>
            <a:r>
              <a:rPr lang="en-US" sz="1100" dirty="0">
                <a:solidFill>
                  <a:schemeClr val="tx1">
                    <a:alpha val="99000"/>
                  </a:schemeClr>
                </a:solidFill>
              </a:rPr>
              <a:t>Lifetime</a:t>
            </a:r>
          </a:p>
          <a:p>
            <a:pPr algn="ctr"/>
            <a:r>
              <a:rPr lang="en-US" sz="1100" dirty="0">
                <a:solidFill>
                  <a:schemeClr val="tx1">
                    <a:alpha val="99000"/>
                  </a:schemeClr>
                </a:solidFill>
              </a:rPr>
              <a:t>60/180 Days</a:t>
            </a:r>
          </a:p>
        </p:txBody>
      </p:sp>
      <p:sp>
        <p:nvSpPr>
          <p:cNvPr id="112" name="Rectangle 111"/>
          <p:cNvSpPr/>
          <p:nvPr>
            <p:custDataLst>
              <p:tags r:id="rId28"/>
            </p:custDataLst>
          </p:nvPr>
        </p:nvSpPr>
        <p:spPr>
          <a:xfrm>
            <a:off x="2948447" y="3931220"/>
            <a:ext cx="1154345" cy="415497"/>
          </a:xfrm>
          <a:prstGeom prst="rect">
            <a:avLst/>
          </a:prstGeom>
        </p:spPr>
        <p:txBody>
          <a:bodyPr wrap="square" lIns="68586" tIns="34294" rIns="68586" bIns="34294">
            <a:spAutoFit/>
          </a:bodyPr>
          <a:lstStyle/>
          <a:p>
            <a:r>
              <a:rPr lang="en-US" sz="1100" dirty="0">
                <a:solidFill>
                  <a:schemeClr val="tx1">
                    <a:alpha val="99000"/>
                  </a:schemeClr>
                </a:solidFill>
              </a:rPr>
              <a:t>Deleted </a:t>
            </a:r>
            <a:br>
              <a:rPr lang="en-US" sz="1100" dirty="0">
                <a:solidFill>
                  <a:schemeClr val="tx1">
                    <a:alpha val="99000"/>
                  </a:schemeClr>
                </a:solidFill>
              </a:rPr>
            </a:br>
            <a:r>
              <a:rPr lang="en-US" sz="1100" dirty="0">
                <a:solidFill>
                  <a:schemeClr val="tx1">
                    <a:alpha val="99000"/>
                  </a:schemeClr>
                </a:solidFill>
              </a:rPr>
              <a:t>Object</a:t>
            </a:r>
          </a:p>
        </p:txBody>
      </p:sp>
      <p:sp>
        <p:nvSpPr>
          <p:cNvPr id="116" name="Right Brace 115"/>
          <p:cNvSpPr/>
          <p:nvPr>
            <p:custDataLst>
              <p:tags r:id="rId29"/>
            </p:custDataLst>
          </p:nvPr>
        </p:nvSpPr>
        <p:spPr>
          <a:xfrm rot="5400000">
            <a:off x="3346176" y="3716855"/>
            <a:ext cx="192334" cy="1451631"/>
          </a:xfrm>
          <a:prstGeom prst="rightBrace">
            <a:avLst>
              <a:gd name="adj1" fmla="val 87738"/>
              <a:gd name="adj2" fmla="val 49523"/>
            </a:avLst>
          </a:prstGeom>
          <a:ln w="15875">
            <a:solidFill>
              <a:schemeClr val="tx1"/>
            </a:solidFill>
          </a:ln>
        </p:spPr>
        <p:style>
          <a:lnRef idx="1">
            <a:schemeClr val="accent1"/>
          </a:lnRef>
          <a:fillRef idx="0">
            <a:schemeClr val="accent1"/>
          </a:fillRef>
          <a:effectRef idx="0">
            <a:schemeClr val="accent1"/>
          </a:effectRef>
          <a:fontRef idx="minor">
            <a:schemeClr val="tx1"/>
          </a:fontRef>
        </p:style>
        <p:txBody>
          <a:bodyPr lIns="68586" tIns="34294" rIns="68586" bIns="34294" rtlCol="0" anchor="ctr"/>
          <a:lstStyle/>
          <a:p>
            <a:pPr algn="ctr"/>
            <a:endParaRPr lang="en-US"/>
          </a:p>
        </p:txBody>
      </p:sp>
      <p:sp>
        <p:nvSpPr>
          <p:cNvPr id="121" name="Right Brace 120"/>
          <p:cNvSpPr/>
          <p:nvPr>
            <p:custDataLst>
              <p:tags r:id="rId30"/>
            </p:custDataLst>
          </p:nvPr>
        </p:nvSpPr>
        <p:spPr>
          <a:xfrm rot="5400000">
            <a:off x="5588027" y="3716855"/>
            <a:ext cx="192334" cy="1451631"/>
          </a:xfrm>
          <a:prstGeom prst="rightBrace">
            <a:avLst>
              <a:gd name="adj1" fmla="val 87738"/>
              <a:gd name="adj2" fmla="val 49523"/>
            </a:avLst>
          </a:prstGeom>
          <a:ln w="15875">
            <a:solidFill>
              <a:schemeClr val="tx1"/>
            </a:solidFill>
          </a:ln>
        </p:spPr>
        <p:style>
          <a:lnRef idx="1">
            <a:schemeClr val="accent1"/>
          </a:lnRef>
          <a:fillRef idx="0">
            <a:schemeClr val="accent1"/>
          </a:fillRef>
          <a:effectRef idx="0">
            <a:schemeClr val="accent1"/>
          </a:effectRef>
          <a:fontRef idx="minor">
            <a:schemeClr val="tx1"/>
          </a:fontRef>
        </p:style>
        <p:txBody>
          <a:bodyPr lIns="68586" tIns="34294" rIns="68586" bIns="34294" rtlCol="0" anchor="ctr"/>
          <a:lstStyle/>
          <a:p>
            <a:pPr algn="ctr"/>
            <a:endParaRPr lang="en-US"/>
          </a:p>
        </p:txBody>
      </p:sp>
      <p:pic>
        <p:nvPicPr>
          <p:cNvPr id="131" name="Picture 81" descr="E:\Eric Suchiang FD\Icons\Metro Icon\Metro icons ALL WHITE\recycle_bin_full.png"/>
          <p:cNvPicPr>
            <a:picLocks noChangeAspect="1" noChangeArrowheads="1"/>
          </p:cNvPicPr>
          <p:nvPr>
            <p:custDataLst>
              <p:tags r:id="rId31"/>
            </p:custDataLst>
          </p:nvPr>
        </p:nvPicPr>
        <p:blipFill>
          <a:blip r:embed="rId58">
            <a:extLst>
              <a:ext uri="{28A0092B-C50C-407E-A947-70E740481C1C}">
                <a14:useLocalDpi xmlns:a14="http://schemas.microsoft.com/office/drawing/2010/main" val="0"/>
              </a:ext>
            </a:extLst>
          </a:blip>
          <a:srcRect/>
          <a:stretch>
            <a:fillRect/>
          </a:stretch>
        </p:blipFill>
        <p:spPr bwMode="auto">
          <a:xfrm>
            <a:off x="1308461" y="4348047"/>
            <a:ext cx="680417" cy="680240"/>
          </a:xfrm>
          <a:prstGeom prst="rect">
            <a:avLst/>
          </a:prstGeom>
          <a:noFill/>
          <a:extLst>
            <a:ext uri="{909E8E84-426E-40DD-AFC4-6F175D3DCCD1}">
              <a14:hiddenFill xmlns:a14="http://schemas.microsoft.com/office/drawing/2010/main">
                <a:solidFill>
                  <a:srgbClr val="FFFFFF"/>
                </a:solidFill>
              </a14:hiddenFill>
            </a:ext>
          </a:extLst>
        </p:spPr>
      </p:pic>
      <p:pic>
        <p:nvPicPr>
          <p:cNvPr id="130" name="Picture 79" descr="E:\Eric Suchiang FD\Icons\Metro Icon\Metro icons ALL WHITE\recycle_alt.png"/>
          <p:cNvPicPr>
            <a:picLocks noChangeAspect="1" noChangeArrowheads="1"/>
          </p:cNvPicPr>
          <p:nvPr>
            <p:custDataLst>
              <p:tags r:id="rId32"/>
            </p:custDataLst>
          </p:nvPr>
        </p:nvPicPr>
        <p:blipFill>
          <a:blip r:embed="rId59">
            <a:duotone>
              <a:prstClr val="black"/>
              <a:srgbClr val="D9C3A5">
                <a:tint val="50000"/>
                <a:satMod val="180000"/>
              </a:srgbClr>
            </a:duotone>
            <a:extLst>
              <a:ext uri="{BEBA8EAE-BF5A-486C-A8C5-ECC9F3942E4B}">
                <a14:imgProps xmlns:a14="http://schemas.microsoft.com/office/drawing/2010/main">
                  <a14:imgLayer r:embed="rId60">
                    <a14:imgEffect>
                      <a14:brightnessContrast bright="-100000" contrast="-40000"/>
                    </a14:imgEffect>
                  </a14:imgLayer>
                </a14:imgProps>
              </a:ext>
              <a:ext uri="{28A0092B-C50C-407E-A947-70E740481C1C}">
                <a14:useLocalDpi xmlns:a14="http://schemas.microsoft.com/office/drawing/2010/main" val="0"/>
              </a:ext>
            </a:extLst>
          </a:blip>
          <a:srcRect/>
          <a:stretch>
            <a:fillRect/>
          </a:stretch>
        </p:blipFill>
        <p:spPr bwMode="auto">
          <a:xfrm>
            <a:off x="1493529" y="4596335"/>
            <a:ext cx="310281" cy="310200"/>
          </a:xfrm>
          <a:prstGeom prst="rect">
            <a:avLst/>
          </a:prstGeom>
          <a:noFill/>
          <a:extLst>
            <a:ext uri="{909E8E84-426E-40DD-AFC4-6F175D3DCCD1}">
              <a14:hiddenFill xmlns:a14="http://schemas.microsoft.com/office/drawing/2010/main">
                <a:solidFill>
                  <a:srgbClr val="FFFFFF"/>
                </a:solidFill>
              </a14:hiddenFill>
            </a:ext>
          </a:extLst>
        </p:spPr>
      </p:pic>
      <p:sp>
        <p:nvSpPr>
          <p:cNvPr id="137" name="Right Arrow 24"/>
          <p:cNvSpPr/>
          <p:nvPr>
            <p:custDataLst>
              <p:tags r:id="rId33"/>
            </p:custDataLst>
          </p:nvPr>
        </p:nvSpPr>
        <p:spPr bwMode="auto">
          <a:xfrm>
            <a:off x="6418047" y="4066632"/>
            <a:ext cx="790219" cy="121590"/>
          </a:xfrm>
          <a:prstGeom prst="rightArrow">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marL="257198" indent="-257198" algn="ctr"/>
            <a:endParaRPr lang="en-US" sz="1500" dirty="0">
              <a:solidFill>
                <a:schemeClr val="accent6">
                  <a:alpha val="99000"/>
                </a:schemeClr>
              </a:solidFill>
              <a:latin typeface="Segoe UI Semibold" pitchFamily="34" charset="0"/>
            </a:endParaRPr>
          </a:p>
        </p:txBody>
      </p:sp>
      <p:sp>
        <p:nvSpPr>
          <p:cNvPr id="138" name="Right Arrow 24"/>
          <p:cNvSpPr/>
          <p:nvPr>
            <p:custDataLst>
              <p:tags r:id="rId34"/>
            </p:custDataLst>
          </p:nvPr>
        </p:nvSpPr>
        <p:spPr bwMode="auto">
          <a:xfrm>
            <a:off x="5393280" y="1920240"/>
            <a:ext cx="1080785" cy="140970"/>
          </a:xfrm>
          <a:prstGeom prst="rightArrow">
            <a:avLst>
              <a:gd name="adj1" fmla="val 42718"/>
              <a:gd name="adj2" fmla="val 50000"/>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marL="257198" indent="-257198" algn="ctr"/>
            <a:endParaRPr lang="en-US" sz="1500" dirty="0">
              <a:solidFill>
                <a:schemeClr val="accent6">
                  <a:alpha val="99000"/>
                </a:schemeClr>
              </a:solidFill>
              <a:latin typeface="Segoe UI Semibold" pitchFamily="34" charset="0"/>
            </a:endParaRPr>
          </a:p>
        </p:txBody>
      </p:sp>
      <p:sp>
        <p:nvSpPr>
          <p:cNvPr id="21" name="Right Brace 20"/>
          <p:cNvSpPr/>
          <p:nvPr>
            <p:custDataLst>
              <p:tags r:id="rId35"/>
            </p:custDataLst>
          </p:nvPr>
        </p:nvSpPr>
        <p:spPr>
          <a:xfrm rot="5400000">
            <a:off x="4571296" y="1590527"/>
            <a:ext cx="192334" cy="1451631"/>
          </a:xfrm>
          <a:prstGeom prst="rightBrace">
            <a:avLst>
              <a:gd name="adj1" fmla="val 87738"/>
              <a:gd name="adj2" fmla="val 49523"/>
            </a:avLst>
          </a:prstGeom>
          <a:ln w="15875">
            <a:solidFill>
              <a:schemeClr val="tx1"/>
            </a:solidFill>
          </a:ln>
        </p:spPr>
        <p:style>
          <a:lnRef idx="1">
            <a:schemeClr val="accent1"/>
          </a:lnRef>
          <a:fillRef idx="0">
            <a:schemeClr val="accent1"/>
          </a:fillRef>
          <a:effectRef idx="0">
            <a:schemeClr val="accent1"/>
          </a:effectRef>
          <a:fontRef idx="minor">
            <a:schemeClr val="tx1"/>
          </a:fontRef>
        </p:style>
        <p:txBody>
          <a:bodyPr lIns="68586" tIns="34294" rIns="68586" bIns="34294" rtlCol="0" anchor="ctr"/>
          <a:lstStyle/>
          <a:p>
            <a:pPr algn="ctr"/>
            <a:endParaRPr lang="en-US"/>
          </a:p>
        </p:txBody>
      </p:sp>
      <p:sp>
        <p:nvSpPr>
          <p:cNvPr id="64" name="Rectangle 63"/>
          <p:cNvSpPr/>
          <p:nvPr>
            <p:custDataLst>
              <p:tags r:id="rId36"/>
            </p:custDataLst>
          </p:nvPr>
        </p:nvSpPr>
        <p:spPr bwMode="auto">
          <a:xfrm>
            <a:off x="3947721" y="1771650"/>
            <a:ext cx="1445558" cy="43815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67" name="Rectangle 66"/>
          <p:cNvSpPr/>
          <p:nvPr>
            <p:custDataLst>
              <p:tags r:id="rId37"/>
            </p:custDataLst>
          </p:nvPr>
        </p:nvSpPr>
        <p:spPr>
          <a:xfrm>
            <a:off x="4169465" y="1794517"/>
            <a:ext cx="1169852" cy="415497"/>
          </a:xfrm>
          <a:prstGeom prst="rect">
            <a:avLst/>
          </a:prstGeom>
        </p:spPr>
        <p:txBody>
          <a:bodyPr wrap="square" lIns="68586" tIns="34294" rIns="68586" bIns="34294">
            <a:spAutoFit/>
          </a:bodyPr>
          <a:lstStyle/>
          <a:p>
            <a:r>
              <a:rPr lang="en-US" sz="1100" dirty="0">
                <a:solidFill>
                  <a:schemeClr val="tx1">
                    <a:alpha val="99000"/>
                  </a:schemeClr>
                </a:solidFill>
              </a:rPr>
              <a:t>Tombstone</a:t>
            </a:r>
            <a:br>
              <a:rPr lang="en-US" sz="1100" dirty="0">
                <a:solidFill>
                  <a:schemeClr val="tx1">
                    <a:alpha val="99000"/>
                  </a:schemeClr>
                </a:solidFill>
              </a:rPr>
            </a:br>
            <a:r>
              <a:rPr lang="en-US" sz="1100" dirty="0">
                <a:solidFill>
                  <a:schemeClr val="tx1">
                    <a:alpha val="99000"/>
                  </a:schemeClr>
                </a:solidFill>
              </a:rPr>
              <a:t>Object</a:t>
            </a:r>
          </a:p>
        </p:txBody>
      </p:sp>
      <p:pic>
        <p:nvPicPr>
          <p:cNvPr id="140" name="Picture 3"/>
          <p:cNvPicPr>
            <a:picLocks noChangeAspect="1" noChangeArrowheads="1"/>
          </p:cNvPicPr>
          <p:nvPr>
            <p:custDataLst>
              <p:tags r:id="rId38"/>
            </p:custDataLst>
          </p:nvPr>
        </p:nvPicPr>
        <p:blipFill>
          <a:blip r:embed="rId57">
            <a:extLst>
              <a:ext uri="{28A0092B-C50C-407E-A947-70E740481C1C}">
                <a14:useLocalDpi xmlns:a14="http://schemas.microsoft.com/office/drawing/2010/main" val="0"/>
              </a:ext>
            </a:extLst>
          </a:blip>
          <a:stretch>
            <a:fillRect/>
          </a:stretch>
        </p:blipFill>
        <p:spPr bwMode="auto">
          <a:xfrm>
            <a:off x="4022112" y="1806580"/>
            <a:ext cx="147353" cy="368289"/>
          </a:xfrm>
          <a:prstGeom prst="rect">
            <a:avLst/>
          </a:prstGeom>
          <a:noFill/>
          <a:extLst>
            <a:ext uri="{909E8E84-426E-40DD-AFC4-6F175D3DCCD1}">
              <a14:hiddenFill xmlns:a14="http://schemas.microsoft.com/office/drawing/2010/main">
                <a:solidFill>
                  <a:srgbClr val="FFFFFF"/>
                </a:solidFill>
              </a14:hiddenFill>
            </a:ext>
          </a:extLst>
        </p:spPr>
      </p:pic>
      <p:pic>
        <p:nvPicPr>
          <p:cNvPr id="141" name="Picture 3"/>
          <p:cNvPicPr>
            <a:picLocks noChangeAspect="1" noChangeArrowheads="1"/>
          </p:cNvPicPr>
          <p:nvPr>
            <p:custDataLst>
              <p:tags r:id="rId39"/>
            </p:custDataLst>
          </p:nvPr>
        </p:nvPicPr>
        <p:blipFill>
          <a:blip r:embed="rId57">
            <a:extLst>
              <a:ext uri="{28A0092B-C50C-407E-A947-70E740481C1C}">
                <a14:useLocalDpi xmlns:a14="http://schemas.microsoft.com/office/drawing/2010/main" val="0"/>
              </a:ext>
            </a:extLst>
          </a:blip>
          <a:stretch>
            <a:fillRect/>
          </a:stretch>
        </p:blipFill>
        <p:spPr bwMode="auto">
          <a:xfrm>
            <a:off x="6556228" y="1806580"/>
            <a:ext cx="147353" cy="368289"/>
          </a:xfrm>
          <a:prstGeom prst="rect">
            <a:avLst/>
          </a:prstGeom>
          <a:noFill/>
          <a:extLst>
            <a:ext uri="{909E8E84-426E-40DD-AFC4-6F175D3DCCD1}">
              <a14:hiddenFill xmlns:a14="http://schemas.microsoft.com/office/drawing/2010/main">
                <a:solidFill>
                  <a:srgbClr val="FFFFFF"/>
                </a:solidFill>
              </a14:hiddenFill>
            </a:ext>
          </a:extLst>
        </p:spPr>
      </p:pic>
      <p:pic>
        <p:nvPicPr>
          <p:cNvPr id="142" name="Picture 3"/>
          <p:cNvPicPr>
            <a:picLocks noChangeAspect="1" noChangeArrowheads="1"/>
          </p:cNvPicPr>
          <p:nvPr>
            <p:custDataLst>
              <p:tags r:id="rId40"/>
            </p:custDataLst>
          </p:nvPr>
        </p:nvPicPr>
        <p:blipFill>
          <a:blip r:embed="rId57">
            <a:extLst>
              <a:ext uri="{28A0092B-C50C-407E-A947-70E740481C1C}">
                <a14:useLocalDpi xmlns:a14="http://schemas.microsoft.com/office/drawing/2010/main" val="0"/>
              </a:ext>
            </a:extLst>
          </a:blip>
          <a:stretch>
            <a:fillRect/>
          </a:stretch>
        </p:blipFill>
        <p:spPr bwMode="auto">
          <a:xfrm>
            <a:off x="2801093" y="3943283"/>
            <a:ext cx="147353" cy="368289"/>
          </a:xfrm>
          <a:prstGeom prst="rect">
            <a:avLst/>
          </a:prstGeom>
          <a:noFill/>
          <a:extLst>
            <a:ext uri="{909E8E84-426E-40DD-AFC4-6F175D3DCCD1}">
              <a14:hiddenFill xmlns:a14="http://schemas.microsoft.com/office/drawing/2010/main">
                <a:solidFill>
                  <a:srgbClr val="FFFFFF"/>
                </a:solidFill>
              </a14:hiddenFill>
            </a:ext>
          </a:extLst>
        </p:spPr>
      </p:pic>
      <p:pic>
        <p:nvPicPr>
          <p:cNvPr id="143" name="Picture 3"/>
          <p:cNvPicPr>
            <a:picLocks noChangeAspect="1" noChangeArrowheads="1"/>
          </p:cNvPicPr>
          <p:nvPr>
            <p:custDataLst>
              <p:tags r:id="rId41"/>
            </p:custDataLst>
          </p:nvPr>
        </p:nvPicPr>
        <p:blipFill>
          <a:blip r:embed="rId57">
            <a:extLst>
              <a:ext uri="{28A0092B-C50C-407E-A947-70E740481C1C}">
                <a14:useLocalDpi xmlns:a14="http://schemas.microsoft.com/office/drawing/2010/main" val="0"/>
              </a:ext>
            </a:extLst>
          </a:blip>
          <a:stretch>
            <a:fillRect/>
          </a:stretch>
        </p:blipFill>
        <p:spPr bwMode="auto">
          <a:xfrm>
            <a:off x="5035609" y="3943283"/>
            <a:ext cx="147353" cy="368289"/>
          </a:xfrm>
          <a:prstGeom prst="rect">
            <a:avLst/>
          </a:prstGeom>
          <a:noFill/>
          <a:extLst>
            <a:ext uri="{909E8E84-426E-40DD-AFC4-6F175D3DCCD1}">
              <a14:hiddenFill xmlns:a14="http://schemas.microsoft.com/office/drawing/2010/main">
                <a:solidFill>
                  <a:srgbClr val="FFFFFF"/>
                </a:solidFill>
              </a14:hiddenFill>
            </a:ext>
          </a:extLst>
        </p:spPr>
      </p:pic>
      <p:pic>
        <p:nvPicPr>
          <p:cNvPr id="144" name="Picture 3"/>
          <p:cNvPicPr>
            <a:picLocks noChangeAspect="1" noChangeArrowheads="1"/>
          </p:cNvPicPr>
          <p:nvPr>
            <p:custDataLst>
              <p:tags r:id="rId42"/>
            </p:custDataLst>
          </p:nvPr>
        </p:nvPicPr>
        <p:blipFill>
          <a:blip r:embed="rId57">
            <a:extLst>
              <a:ext uri="{28A0092B-C50C-407E-A947-70E740481C1C}">
                <a14:useLocalDpi xmlns:a14="http://schemas.microsoft.com/office/drawing/2010/main" val="0"/>
              </a:ext>
            </a:extLst>
          </a:blip>
          <a:stretch>
            <a:fillRect/>
          </a:stretch>
        </p:blipFill>
        <p:spPr bwMode="auto">
          <a:xfrm>
            <a:off x="7288949" y="3945821"/>
            <a:ext cx="147353" cy="368289"/>
          </a:xfrm>
          <a:prstGeom prst="rect">
            <a:avLst/>
          </a:prstGeom>
          <a:noFill/>
          <a:extLst>
            <a:ext uri="{909E8E84-426E-40DD-AFC4-6F175D3DCCD1}">
              <a14:hiddenFill xmlns:a14="http://schemas.microsoft.com/office/drawing/2010/main">
                <a:solidFill>
                  <a:srgbClr val="FFFFFF"/>
                </a:solidFill>
              </a14:hiddenFill>
            </a:ext>
          </a:extLst>
        </p:spPr>
      </p:pic>
      <p:cxnSp>
        <p:nvCxnSpPr>
          <p:cNvPr id="4" name="Straight Connector 3"/>
          <p:cNvCxnSpPr/>
          <p:nvPr>
            <p:custDataLst>
              <p:tags r:id="rId43"/>
            </p:custDataLst>
          </p:nvPr>
        </p:nvCxnSpPr>
        <p:spPr>
          <a:xfrm>
            <a:off x="389436" y="2851360"/>
            <a:ext cx="8355601" cy="0"/>
          </a:xfrm>
          <a:prstGeom prst="line">
            <a:avLst/>
          </a:prstGeom>
          <a:ln w="9525">
            <a:solidFill>
              <a:schemeClr val="accent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59" name="Group 58"/>
          <p:cNvGrpSpPr/>
          <p:nvPr>
            <p:custDataLst>
              <p:tags r:id="rId44"/>
            </p:custDataLst>
          </p:nvPr>
        </p:nvGrpSpPr>
        <p:grpSpPr>
          <a:xfrm>
            <a:off x="2801093" y="4032650"/>
            <a:ext cx="147353" cy="147315"/>
            <a:chOff x="6501079" y="3462693"/>
            <a:chExt cx="365760" cy="365760"/>
          </a:xfrm>
          <a:solidFill>
            <a:schemeClr val="bg1"/>
          </a:solidFill>
        </p:grpSpPr>
        <p:sp>
          <p:nvSpPr>
            <p:cNvPr id="61" name="Circular Arrow 60"/>
            <p:cNvSpPr/>
            <p:nvPr/>
          </p:nvSpPr>
          <p:spPr bwMode="auto">
            <a:xfrm>
              <a:off x="6501079" y="3462693"/>
              <a:ext cx="365760" cy="365760"/>
            </a:xfrm>
            <a:prstGeom prst="circularArrow">
              <a:avLst>
                <a:gd name="adj1" fmla="val 12500"/>
                <a:gd name="adj2" fmla="val 1142319"/>
                <a:gd name="adj3" fmla="val 20457681"/>
                <a:gd name="adj4" fmla="val 15354812"/>
                <a:gd name="adj5" fmla="val 12500"/>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62" name="Circular Arrow 61"/>
            <p:cNvSpPr/>
            <p:nvPr/>
          </p:nvSpPr>
          <p:spPr bwMode="auto">
            <a:xfrm rot="14439571">
              <a:off x="6501079" y="3462693"/>
              <a:ext cx="365760" cy="365760"/>
            </a:xfrm>
            <a:prstGeom prst="circularArrow">
              <a:avLst>
                <a:gd name="adj1" fmla="val 12500"/>
                <a:gd name="adj2" fmla="val 1142319"/>
                <a:gd name="adj3" fmla="val 20457681"/>
                <a:gd name="adj4" fmla="val 15354812"/>
                <a:gd name="adj5" fmla="val 12500"/>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63" name="Circular Arrow 62"/>
            <p:cNvSpPr/>
            <p:nvPr/>
          </p:nvSpPr>
          <p:spPr bwMode="auto">
            <a:xfrm rot="7330431">
              <a:off x="6501079" y="3462693"/>
              <a:ext cx="365760" cy="365760"/>
            </a:xfrm>
            <a:prstGeom prst="circularArrow">
              <a:avLst>
                <a:gd name="adj1" fmla="val 12500"/>
                <a:gd name="adj2" fmla="val 1142319"/>
                <a:gd name="adj3" fmla="val 20457681"/>
                <a:gd name="adj4" fmla="val 15354812"/>
                <a:gd name="adj5" fmla="val 12500"/>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grpSp>
      <p:sp>
        <p:nvSpPr>
          <p:cNvPr id="3" name="Arc 2"/>
          <p:cNvSpPr/>
          <p:nvPr>
            <p:custDataLst>
              <p:tags r:id="rId45"/>
            </p:custDataLst>
          </p:nvPr>
        </p:nvSpPr>
        <p:spPr>
          <a:xfrm rot="19005331">
            <a:off x="1670846" y="3668518"/>
            <a:ext cx="1262311" cy="1261982"/>
          </a:xfrm>
          <a:prstGeom prst="arc">
            <a:avLst/>
          </a:prstGeom>
          <a:ln w="25400">
            <a:solidFill>
              <a:schemeClr val="tx1"/>
            </a:solidFill>
            <a:tailEnd type="stealth" w="lg" len="lg"/>
          </a:ln>
        </p:spPr>
        <p:style>
          <a:lnRef idx="1">
            <a:schemeClr val="accent1"/>
          </a:lnRef>
          <a:fillRef idx="0">
            <a:schemeClr val="accent1"/>
          </a:fillRef>
          <a:effectRef idx="0">
            <a:schemeClr val="accent1"/>
          </a:effectRef>
          <a:fontRef idx="minor">
            <a:schemeClr val="tx1"/>
          </a:fontRef>
        </p:style>
        <p:txBody>
          <a:bodyPr lIns="68586" tIns="34294" rIns="68586" bIns="34294" rtlCol="0" anchor="ctr"/>
          <a:lstStyle/>
          <a:p>
            <a:pPr algn="ctr"/>
            <a:endParaRPr lang="en-US"/>
          </a:p>
        </p:txBody>
      </p:sp>
      <p:sp>
        <p:nvSpPr>
          <p:cNvPr id="53" name="Arc 52"/>
          <p:cNvSpPr/>
          <p:nvPr>
            <p:custDataLst>
              <p:tags r:id="rId46"/>
            </p:custDataLst>
          </p:nvPr>
        </p:nvSpPr>
        <p:spPr>
          <a:xfrm rot="19357472" flipH="1" flipV="1">
            <a:off x="1678319" y="3384961"/>
            <a:ext cx="1262311" cy="1261982"/>
          </a:xfrm>
          <a:prstGeom prst="arc">
            <a:avLst>
              <a:gd name="adj1" fmla="val 15842538"/>
              <a:gd name="adj2" fmla="val 21324885"/>
            </a:avLst>
          </a:prstGeom>
          <a:ln w="25400">
            <a:solidFill>
              <a:schemeClr val="tx1"/>
            </a:solidFill>
            <a:tailEnd type="stealth" w="lg" len="lg"/>
          </a:ln>
        </p:spPr>
        <p:style>
          <a:lnRef idx="1">
            <a:schemeClr val="accent1"/>
          </a:lnRef>
          <a:fillRef idx="0">
            <a:schemeClr val="accent1"/>
          </a:fillRef>
          <a:effectRef idx="0">
            <a:schemeClr val="accent1"/>
          </a:effectRef>
          <a:fontRef idx="minor">
            <a:schemeClr val="tx1"/>
          </a:fontRef>
        </p:style>
        <p:txBody>
          <a:bodyPr lIns="68586" tIns="34294" rIns="68586" bIns="34294" rtlCol="0" anchor="ctr"/>
          <a:lstStyle/>
          <a:p>
            <a:pPr algn="ctr"/>
            <a:endParaRPr lang="en-US"/>
          </a:p>
        </p:txBody>
      </p:sp>
      <p:sp>
        <p:nvSpPr>
          <p:cNvPr id="54" name="Arc 53"/>
          <p:cNvSpPr/>
          <p:nvPr>
            <p:custDataLst>
              <p:tags r:id="rId47"/>
            </p:custDataLst>
          </p:nvPr>
        </p:nvSpPr>
        <p:spPr>
          <a:xfrm rot="19005331">
            <a:off x="2765286" y="1500679"/>
            <a:ext cx="1262311" cy="1261982"/>
          </a:xfrm>
          <a:prstGeom prst="arc">
            <a:avLst>
              <a:gd name="adj1" fmla="val 15714616"/>
              <a:gd name="adj2" fmla="val 0"/>
            </a:avLst>
          </a:prstGeom>
          <a:ln w="25400">
            <a:solidFill>
              <a:schemeClr val="tx1"/>
            </a:solidFill>
            <a:tailEnd type="stealth" w="lg" len="lg"/>
          </a:ln>
        </p:spPr>
        <p:style>
          <a:lnRef idx="1">
            <a:schemeClr val="accent1"/>
          </a:lnRef>
          <a:fillRef idx="0">
            <a:schemeClr val="accent1"/>
          </a:fillRef>
          <a:effectRef idx="0">
            <a:schemeClr val="accent1"/>
          </a:effectRef>
          <a:fontRef idx="minor">
            <a:schemeClr val="tx1"/>
          </a:fontRef>
        </p:style>
        <p:txBody>
          <a:bodyPr lIns="68586" tIns="34294" rIns="68586" bIns="34294" rtlCol="0" anchor="ctr"/>
          <a:lstStyle/>
          <a:p>
            <a:pPr algn="ctr"/>
            <a:endParaRPr lang="en-US"/>
          </a:p>
        </p:txBody>
      </p:sp>
      <p:sp>
        <p:nvSpPr>
          <p:cNvPr id="55" name="Arc 54"/>
          <p:cNvSpPr/>
          <p:nvPr>
            <p:custDataLst>
              <p:tags r:id="rId48"/>
            </p:custDataLst>
          </p:nvPr>
        </p:nvSpPr>
        <p:spPr>
          <a:xfrm rot="19357472" flipH="1" flipV="1">
            <a:off x="2757813" y="1217122"/>
            <a:ext cx="1262311" cy="1261982"/>
          </a:xfrm>
          <a:prstGeom prst="arc">
            <a:avLst>
              <a:gd name="adj1" fmla="val 15678767"/>
              <a:gd name="adj2" fmla="val 0"/>
            </a:avLst>
          </a:prstGeom>
          <a:ln w="25400">
            <a:solidFill>
              <a:schemeClr val="tx1"/>
            </a:solidFill>
            <a:tailEnd type="stealth" w="lg" len="lg"/>
          </a:ln>
        </p:spPr>
        <p:style>
          <a:lnRef idx="1">
            <a:schemeClr val="accent1"/>
          </a:lnRef>
          <a:fillRef idx="0">
            <a:schemeClr val="accent1"/>
          </a:fillRef>
          <a:effectRef idx="0">
            <a:schemeClr val="accent1"/>
          </a:effectRef>
          <a:fontRef idx="minor">
            <a:schemeClr val="tx1"/>
          </a:fontRef>
        </p:style>
        <p:txBody>
          <a:bodyPr lIns="68586" tIns="34294" rIns="68586" bIns="34294" rtlCol="0" anchor="ctr"/>
          <a:lstStyle/>
          <a:p>
            <a:pPr algn="ctr"/>
            <a:endParaRPr lang="en-US"/>
          </a:p>
        </p:txBody>
      </p:sp>
      <p:sp>
        <p:nvSpPr>
          <p:cNvPr id="56" name="Multiply 55"/>
          <p:cNvSpPr/>
          <p:nvPr>
            <p:custDataLst>
              <p:tags r:id="rId49"/>
            </p:custDataLst>
          </p:nvPr>
        </p:nvSpPr>
        <p:spPr bwMode="auto">
          <a:xfrm>
            <a:off x="6504762" y="1960665"/>
            <a:ext cx="250282" cy="250216"/>
          </a:xfrm>
          <a:prstGeom prst="mathMultiply">
            <a:avLst>
              <a:gd name="adj1" fmla="val 15533"/>
            </a:avLst>
          </a:prstGeom>
          <a:solidFill>
            <a:srgbClr val="FF00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marL="257198" indent="-257198" algn="ctr"/>
            <a:endParaRPr lang="en-US" sz="1500" dirty="0">
              <a:solidFill>
                <a:schemeClr val="accent6">
                  <a:alpha val="99000"/>
                </a:schemeClr>
              </a:solidFill>
              <a:latin typeface="Segoe UI Semibold" pitchFamily="34" charset="0"/>
            </a:endParaRPr>
          </a:p>
        </p:txBody>
      </p:sp>
      <p:sp>
        <p:nvSpPr>
          <p:cNvPr id="57" name="Multiply 56"/>
          <p:cNvSpPr/>
          <p:nvPr>
            <p:custDataLst>
              <p:tags r:id="rId50"/>
            </p:custDataLst>
          </p:nvPr>
        </p:nvSpPr>
        <p:spPr bwMode="auto">
          <a:xfrm>
            <a:off x="7237485" y="4109366"/>
            <a:ext cx="250282" cy="250216"/>
          </a:xfrm>
          <a:prstGeom prst="mathMultiply">
            <a:avLst>
              <a:gd name="adj1" fmla="val 15533"/>
            </a:avLst>
          </a:prstGeom>
          <a:solidFill>
            <a:srgbClr val="FF00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marL="257198" indent="-257198" algn="ctr"/>
            <a:endParaRPr lang="en-US" sz="1500" dirty="0">
              <a:solidFill>
                <a:schemeClr val="accent6">
                  <a:alpha val="99000"/>
                </a:schemeClr>
              </a:solidFill>
              <a:latin typeface="Segoe UI Semibold" pitchFamily="34" charset="0"/>
            </a:endParaRPr>
          </a:p>
        </p:txBody>
      </p:sp>
      <p:grpSp>
        <p:nvGrpSpPr>
          <p:cNvPr id="60" name="Group 59"/>
          <p:cNvGrpSpPr/>
          <p:nvPr>
            <p:custDataLst>
              <p:tags r:id="rId51"/>
            </p:custDataLst>
          </p:nvPr>
        </p:nvGrpSpPr>
        <p:grpSpPr>
          <a:xfrm>
            <a:off x="447790" y="899260"/>
            <a:ext cx="1387630" cy="411480"/>
            <a:chOff x="4951412" y="3810000"/>
            <a:chExt cx="1825770" cy="549580"/>
          </a:xfrm>
        </p:grpSpPr>
        <p:pic>
          <p:nvPicPr>
            <p:cNvPr id="66" name="Picture 65"/>
            <p:cNvPicPr>
              <a:picLocks noChangeAspect="1"/>
            </p:cNvPicPr>
            <p:nvPr/>
          </p:nvPicPr>
          <p:blipFill rotWithShape="1">
            <a:blip r:embed="rId61">
              <a:extLst>
                <a:ext uri="{BEBA8EAE-BF5A-486C-A8C5-ECC9F3942E4B}">
                  <a14:imgProps xmlns:a14="http://schemas.microsoft.com/office/drawing/2010/main">
                    <a14:imgLayer r:embed="rId62">
                      <a14:imgEffect>
                        <a14:brightnessContrast bright="100000" contrast="100000"/>
                      </a14:imgEffect>
                    </a14:imgLayer>
                  </a14:imgProps>
                </a:ext>
                <a:ext uri="{28A0092B-C50C-407E-A947-70E740481C1C}">
                  <a14:useLocalDpi xmlns:a14="http://schemas.microsoft.com/office/drawing/2010/main" val="0"/>
                </a:ext>
              </a:extLst>
            </a:blip>
            <a:srcRect l="17451" b="33781"/>
            <a:stretch/>
          </p:blipFill>
          <p:spPr>
            <a:xfrm>
              <a:off x="4951412" y="4034628"/>
              <a:ext cx="1825770" cy="324952"/>
            </a:xfrm>
            <a:prstGeom prst="rect">
              <a:avLst/>
            </a:prstGeom>
          </p:spPr>
        </p:pic>
        <p:pic>
          <p:nvPicPr>
            <p:cNvPr id="69" name="Picture 68"/>
            <p:cNvPicPr>
              <a:picLocks noChangeAspect="1"/>
            </p:cNvPicPr>
            <p:nvPr/>
          </p:nvPicPr>
          <p:blipFill rotWithShape="1">
            <a:blip r:embed="rId61">
              <a:extLst>
                <a:ext uri="{BEBA8EAE-BF5A-486C-A8C5-ECC9F3942E4B}">
                  <a14:imgProps xmlns:a14="http://schemas.microsoft.com/office/drawing/2010/main">
                    <a14:imgLayer r:embed="rId62">
                      <a14:imgEffect>
                        <a14:brightnessContrast bright="100000" contrast="100000"/>
                      </a14:imgEffect>
                    </a14:imgLayer>
                  </a14:imgProps>
                </a:ext>
                <a:ext uri="{28A0092B-C50C-407E-A947-70E740481C1C}">
                  <a14:useLocalDpi xmlns:a14="http://schemas.microsoft.com/office/drawing/2010/main" val="0"/>
                </a:ext>
              </a:extLst>
            </a:blip>
            <a:srcRect r="82512" b="31391"/>
            <a:stretch/>
          </p:blipFill>
          <p:spPr>
            <a:xfrm>
              <a:off x="5422502" y="3810000"/>
              <a:ext cx="386790" cy="336681"/>
            </a:xfrm>
            <a:prstGeom prst="rect">
              <a:avLst/>
            </a:prstGeom>
          </p:spPr>
        </p:pic>
      </p:grpSp>
      <p:grpSp>
        <p:nvGrpSpPr>
          <p:cNvPr id="70" name="Group 69"/>
          <p:cNvGrpSpPr/>
          <p:nvPr>
            <p:custDataLst>
              <p:tags r:id="rId52"/>
            </p:custDataLst>
          </p:nvPr>
        </p:nvGrpSpPr>
        <p:grpSpPr>
          <a:xfrm>
            <a:off x="447791" y="2957661"/>
            <a:ext cx="1499992" cy="409292"/>
            <a:chOff x="3546764" y="4876800"/>
            <a:chExt cx="4227224" cy="1153750"/>
          </a:xfrm>
        </p:grpSpPr>
        <p:pic>
          <p:nvPicPr>
            <p:cNvPr id="71" name="Picture 70"/>
            <p:cNvPicPr>
              <a:picLocks noChangeAspect="1"/>
            </p:cNvPicPr>
            <p:nvPr/>
          </p:nvPicPr>
          <p:blipFill rotWithShape="1">
            <a:blip r:embed="rId63">
              <a:extLst>
                <a:ext uri="{BEBA8EAE-BF5A-486C-A8C5-ECC9F3942E4B}">
                  <a14:imgProps xmlns:a14="http://schemas.microsoft.com/office/drawing/2010/main">
                    <a14:imgLayer r:embed="rId64">
                      <a14:imgEffect>
                        <a14:brightnessContrast bright="100000" contrast="100000"/>
                      </a14:imgEffect>
                    </a14:imgLayer>
                  </a14:imgProps>
                </a:ext>
                <a:ext uri="{28A0092B-C50C-407E-A947-70E740481C1C}">
                  <a14:useLocalDpi xmlns:a14="http://schemas.microsoft.com/office/drawing/2010/main" val="0"/>
                </a:ext>
              </a:extLst>
            </a:blip>
            <a:srcRect r="83817"/>
            <a:stretch/>
          </p:blipFill>
          <p:spPr>
            <a:xfrm>
              <a:off x="4570412" y="4876800"/>
              <a:ext cx="814388" cy="696550"/>
            </a:xfrm>
            <a:prstGeom prst="rect">
              <a:avLst/>
            </a:prstGeom>
          </p:spPr>
        </p:pic>
        <p:pic>
          <p:nvPicPr>
            <p:cNvPr id="72" name="Picture 71"/>
            <p:cNvPicPr>
              <a:picLocks noChangeAspect="1"/>
            </p:cNvPicPr>
            <p:nvPr/>
          </p:nvPicPr>
          <p:blipFill rotWithShape="1">
            <a:blip r:embed="rId63">
              <a:extLst>
                <a:ext uri="{BEBA8EAE-BF5A-486C-A8C5-ECC9F3942E4B}">
                  <a14:imgProps xmlns:a14="http://schemas.microsoft.com/office/drawing/2010/main">
                    <a14:imgLayer r:embed="rId64">
                      <a14:imgEffect>
                        <a14:brightnessContrast bright="100000" contrast="100000"/>
                      </a14:imgEffect>
                    </a14:imgLayer>
                  </a14:imgProps>
                </a:ext>
                <a:ext uri="{28A0092B-C50C-407E-A947-70E740481C1C}">
                  <a14:useLocalDpi xmlns:a14="http://schemas.microsoft.com/office/drawing/2010/main" val="0"/>
                </a:ext>
              </a:extLst>
            </a:blip>
            <a:srcRect l="15999"/>
            <a:stretch/>
          </p:blipFill>
          <p:spPr>
            <a:xfrm>
              <a:off x="3546764" y="5334000"/>
              <a:ext cx="4227224" cy="696550"/>
            </a:xfrm>
            <a:prstGeom prst="rect">
              <a:avLst/>
            </a:prstGeom>
          </p:spPr>
        </p:pic>
      </p:grpSp>
      <p:sp>
        <p:nvSpPr>
          <p:cNvPr id="73"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74"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65"/>
              </a:rPr>
              <a:t>www.rapidbbs.cn</a:t>
            </a:r>
            <a:endParaRPr lang="zh-CN" altLang="en-US" sz="1200" b="0">
              <a:latin typeface="Arial" charset="0"/>
              <a:ea typeface="ＭＳ Ｐゴシック" pitchFamily="34" charset="-128"/>
            </a:endParaRPr>
          </a:p>
        </p:txBody>
      </p:sp>
      <p:pic>
        <p:nvPicPr>
          <p:cNvPr id="76" name="Picture 2">
            <a:hlinkClick r:id="rId65"/>
          </p:cNvPr>
          <p:cNvPicPr>
            <a:picLocks noChangeAspect="1" noChangeArrowheads="1"/>
          </p:cNvPicPr>
          <p:nvPr/>
        </p:nvPicPr>
        <p:blipFill>
          <a:blip r:embed="rId66">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5099814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138"/>
                                        </p:tgtEl>
                                        <p:attrNameLst>
                                          <p:attrName>style.visibility</p:attrName>
                                        </p:attrNameLst>
                                      </p:cBhvr>
                                      <p:to>
                                        <p:strVal val="visible"/>
                                      </p:to>
                                    </p:set>
                                    <p:animEffect transition="in" filter="wipe(left)">
                                      <p:cBhvr>
                                        <p:cTn id="7" dur="1000"/>
                                        <p:tgtEl>
                                          <p:spTgt spid="138"/>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grpId="0" nodeType="clickEffect">
                                  <p:stCondLst>
                                    <p:cond delay="0"/>
                                  </p:stCondLst>
                                  <p:childTnLst>
                                    <p:set>
                                      <p:cBhvr>
                                        <p:cTn id="11" dur="1" fill="hold">
                                          <p:stCondLst>
                                            <p:cond delay="0"/>
                                          </p:stCondLst>
                                        </p:cTn>
                                        <p:tgtEl>
                                          <p:spTgt spid="75"/>
                                        </p:tgtEl>
                                        <p:attrNameLst>
                                          <p:attrName>style.visibility</p:attrName>
                                        </p:attrNameLst>
                                      </p:cBhvr>
                                      <p:to>
                                        <p:strVal val="visible"/>
                                      </p:to>
                                    </p:set>
                                    <p:animEffect transition="in" filter="wipe(up)">
                                      <p:cBhvr>
                                        <p:cTn id="12" dur="500"/>
                                        <p:tgtEl>
                                          <p:spTgt spid="75"/>
                                        </p:tgtEl>
                                      </p:cBhvr>
                                    </p:animEffect>
                                  </p:childTnLst>
                                </p:cTn>
                              </p:par>
                              <p:par>
                                <p:cTn id="13" presetID="22" presetClass="entr" presetSubtype="1" fill="hold" grpId="0" nodeType="withEffect">
                                  <p:stCondLst>
                                    <p:cond delay="0"/>
                                  </p:stCondLst>
                                  <p:childTnLst>
                                    <p:set>
                                      <p:cBhvr>
                                        <p:cTn id="14" dur="1" fill="hold">
                                          <p:stCondLst>
                                            <p:cond delay="0"/>
                                          </p:stCondLst>
                                        </p:cTn>
                                        <p:tgtEl>
                                          <p:spTgt spid="83"/>
                                        </p:tgtEl>
                                        <p:attrNameLst>
                                          <p:attrName>style.visibility</p:attrName>
                                        </p:attrNameLst>
                                      </p:cBhvr>
                                      <p:to>
                                        <p:strVal val="visible"/>
                                      </p:to>
                                    </p:set>
                                    <p:animEffect transition="in" filter="wipe(up)">
                                      <p:cBhvr>
                                        <p:cTn id="15" dur="500"/>
                                        <p:tgtEl>
                                          <p:spTgt spid="83"/>
                                        </p:tgtEl>
                                      </p:cBhvr>
                                    </p:animEffect>
                                  </p:childTnLst>
                                </p:cTn>
                              </p:par>
                              <p:par>
                                <p:cTn id="16" presetID="22" presetClass="entr" presetSubtype="1" fill="hold" grpId="0" nodeType="withEffect">
                                  <p:stCondLst>
                                    <p:cond delay="0"/>
                                  </p:stCondLst>
                                  <p:childTnLst>
                                    <p:set>
                                      <p:cBhvr>
                                        <p:cTn id="17" dur="1" fill="hold">
                                          <p:stCondLst>
                                            <p:cond delay="0"/>
                                          </p:stCondLst>
                                        </p:cTn>
                                        <p:tgtEl>
                                          <p:spTgt spid="84"/>
                                        </p:tgtEl>
                                        <p:attrNameLst>
                                          <p:attrName>style.visibility</p:attrName>
                                        </p:attrNameLst>
                                      </p:cBhvr>
                                      <p:to>
                                        <p:strVal val="visible"/>
                                      </p:to>
                                    </p:set>
                                    <p:animEffect transition="in" filter="wipe(up)">
                                      <p:cBhvr>
                                        <p:cTn id="18" dur="500"/>
                                        <p:tgtEl>
                                          <p:spTgt spid="84"/>
                                        </p:tgtEl>
                                      </p:cBhvr>
                                    </p:animEffect>
                                  </p:childTnLst>
                                </p:cTn>
                              </p:par>
                              <p:par>
                                <p:cTn id="19" presetID="22" presetClass="entr" presetSubtype="1" fill="hold" grpId="0" nodeType="withEffect">
                                  <p:stCondLst>
                                    <p:cond delay="0"/>
                                  </p:stCondLst>
                                  <p:childTnLst>
                                    <p:set>
                                      <p:cBhvr>
                                        <p:cTn id="20" dur="1" fill="hold">
                                          <p:stCondLst>
                                            <p:cond delay="0"/>
                                          </p:stCondLst>
                                        </p:cTn>
                                        <p:tgtEl>
                                          <p:spTgt spid="85"/>
                                        </p:tgtEl>
                                        <p:attrNameLst>
                                          <p:attrName>style.visibility</p:attrName>
                                        </p:attrNameLst>
                                      </p:cBhvr>
                                      <p:to>
                                        <p:strVal val="visible"/>
                                      </p:to>
                                    </p:set>
                                    <p:animEffect transition="in" filter="wipe(up)">
                                      <p:cBhvr>
                                        <p:cTn id="21" dur="500"/>
                                        <p:tgtEl>
                                          <p:spTgt spid="85"/>
                                        </p:tgtEl>
                                      </p:cBhvr>
                                    </p:animEffect>
                                  </p:childTnLst>
                                </p:cTn>
                              </p:par>
                              <p:par>
                                <p:cTn id="22" presetID="22" presetClass="entr" presetSubtype="1" fill="hold" grpId="0" nodeType="withEffect">
                                  <p:stCondLst>
                                    <p:cond delay="0"/>
                                  </p:stCondLst>
                                  <p:childTnLst>
                                    <p:set>
                                      <p:cBhvr>
                                        <p:cTn id="23" dur="1" fill="hold">
                                          <p:stCondLst>
                                            <p:cond delay="0"/>
                                          </p:stCondLst>
                                        </p:cTn>
                                        <p:tgtEl>
                                          <p:spTgt spid="86"/>
                                        </p:tgtEl>
                                        <p:attrNameLst>
                                          <p:attrName>style.visibility</p:attrName>
                                        </p:attrNameLst>
                                      </p:cBhvr>
                                      <p:to>
                                        <p:strVal val="visible"/>
                                      </p:to>
                                    </p:set>
                                    <p:animEffect transition="in" filter="wipe(up)">
                                      <p:cBhvr>
                                        <p:cTn id="24" dur="500"/>
                                        <p:tgtEl>
                                          <p:spTgt spid="86"/>
                                        </p:tgtEl>
                                      </p:cBhvr>
                                    </p:animEffect>
                                  </p:childTnLst>
                                </p:cTn>
                              </p:par>
                              <p:par>
                                <p:cTn id="25" presetID="22" presetClass="entr" presetSubtype="1" fill="hold" grpId="0" nodeType="withEffect">
                                  <p:stCondLst>
                                    <p:cond delay="0"/>
                                  </p:stCondLst>
                                  <p:childTnLst>
                                    <p:set>
                                      <p:cBhvr>
                                        <p:cTn id="26" dur="1" fill="hold">
                                          <p:stCondLst>
                                            <p:cond delay="0"/>
                                          </p:stCondLst>
                                        </p:cTn>
                                        <p:tgtEl>
                                          <p:spTgt spid="87"/>
                                        </p:tgtEl>
                                        <p:attrNameLst>
                                          <p:attrName>style.visibility</p:attrName>
                                        </p:attrNameLst>
                                      </p:cBhvr>
                                      <p:to>
                                        <p:strVal val="visible"/>
                                      </p:to>
                                    </p:set>
                                    <p:animEffect transition="in" filter="wipe(up)">
                                      <p:cBhvr>
                                        <p:cTn id="27" dur="500"/>
                                        <p:tgtEl>
                                          <p:spTgt spid="87"/>
                                        </p:tgtEl>
                                      </p:cBhvr>
                                    </p:animEffect>
                                  </p:childTnLst>
                                </p:cTn>
                              </p:par>
                              <p:par>
                                <p:cTn id="28" presetID="22" presetClass="entr" presetSubtype="1" fill="hold" grpId="0" nodeType="withEffect">
                                  <p:stCondLst>
                                    <p:cond delay="0"/>
                                  </p:stCondLst>
                                  <p:childTnLst>
                                    <p:set>
                                      <p:cBhvr>
                                        <p:cTn id="29" dur="1" fill="hold">
                                          <p:stCondLst>
                                            <p:cond delay="0"/>
                                          </p:stCondLst>
                                        </p:cTn>
                                        <p:tgtEl>
                                          <p:spTgt spid="88"/>
                                        </p:tgtEl>
                                        <p:attrNameLst>
                                          <p:attrName>style.visibility</p:attrName>
                                        </p:attrNameLst>
                                      </p:cBhvr>
                                      <p:to>
                                        <p:strVal val="visible"/>
                                      </p:to>
                                    </p:set>
                                    <p:animEffect transition="in" filter="wipe(up)">
                                      <p:cBhvr>
                                        <p:cTn id="30" dur="500"/>
                                        <p:tgtEl>
                                          <p:spTgt spid="88"/>
                                        </p:tgtEl>
                                      </p:cBhvr>
                                    </p:animEffect>
                                  </p:childTnLst>
                                </p:cTn>
                              </p:par>
                              <p:par>
                                <p:cTn id="31" presetID="22" presetClass="entr" presetSubtype="1" fill="hold" grpId="0" nodeType="withEffect">
                                  <p:stCondLst>
                                    <p:cond delay="0"/>
                                  </p:stCondLst>
                                  <p:childTnLst>
                                    <p:set>
                                      <p:cBhvr>
                                        <p:cTn id="32" dur="1" fill="hold">
                                          <p:stCondLst>
                                            <p:cond delay="0"/>
                                          </p:stCondLst>
                                        </p:cTn>
                                        <p:tgtEl>
                                          <p:spTgt spid="89"/>
                                        </p:tgtEl>
                                        <p:attrNameLst>
                                          <p:attrName>style.visibility</p:attrName>
                                        </p:attrNameLst>
                                      </p:cBhvr>
                                      <p:to>
                                        <p:strVal val="visible"/>
                                      </p:to>
                                    </p:set>
                                    <p:animEffect transition="in" filter="wipe(up)">
                                      <p:cBhvr>
                                        <p:cTn id="33" dur="500"/>
                                        <p:tgtEl>
                                          <p:spTgt spid="89"/>
                                        </p:tgtEl>
                                      </p:cBhvr>
                                    </p:animEffect>
                                  </p:childTnLst>
                                </p:cTn>
                              </p:par>
                              <p:par>
                                <p:cTn id="34" presetID="22" presetClass="entr" presetSubtype="1" fill="hold" grpId="0" nodeType="withEffect">
                                  <p:stCondLst>
                                    <p:cond delay="0"/>
                                  </p:stCondLst>
                                  <p:childTnLst>
                                    <p:set>
                                      <p:cBhvr>
                                        <p:cTn id="35" dur="1" fill="hold">
                                          <p:stCondLst>
                                            <p:cond delay="0"/>
                                          </p:stCondLst>
                                        </p:cTn>
                                        <p:tgtEl>
                                          <p:spTgt spid="90"/>
                                        </p:tgtEl>
                                        <p:attrNameLst>
                                          <p:attrName>style.visibility</p:attrName>
                                        </p:attrNameLst>
                                      </p:cBhvr>
                                      <p:to>
                                        <p:strVal val="visible"/>
                                      </p:to>
                                    </p:set>
                                    <p:animEffect transition="in" filter="wipe(up)">
                                      <p:cBhvr>
                                        <p:cTn id="36" dur="500"/>
                                        <p:tgtEl>
                                          <p:spTgt spid="90"/>
                                        </p:tgtEl>
                                      </p:cBhvr>
                                    </p:animEffect>
                                  </p:childTnLst>
                                </p:cTn>
                              </p:par>
                              <p:par>
                                <p:cTn id="37" presetID="22" presetClass="entr" presetSubtype="1" fill="hold" grpId="0" nodeType="withEffect">
                                  <p:stCondLst>
                                    <p:cond delay="0"/>
                                  </p:stCondLst>
                                  <p:childTnLst>
                                    <p:set>
                                      <p:cBhvr>
                                        <p:cTn id="38" dur="1" fill="hold">
                                          <p:stCondLst>
                                            <p:cond delay="0"/>
                                          </p:stCondLst>
                                        </p:cTn>
                                        <p:tgtEl>
                                          <p:spTgt spid="94"/>
                                        </p:tgtEl>
                                        <p:attrNameLst>
                                          <p:attrName>style.visibility</p:attrName>
                                        </p:attrNameLst>
                                      </p:cBhvr>
                                      <p:to>
                                        <p:strVal val="visible"/>
                                      </p:to>
                                    </p:set>
                                    <p:animEffect transition="in" filter="wipe(up)">
                                      <p:cBhvr>
                                        <p:cTn id="39" dur="500"/>
                                        <p:tgtEl>
                                          <p:spTgt spid="94"/>
                                        </p:tgtEl>
                                      </p:cBhvr>
                                    </p:animEffect>
                                  </p:childTnLst>
                                </p:cTn>
                              </p:par>
                              <p:par>
                                <p:cTn id="40" presetID="22" presetClass="entr" presetSubtype="1" fill="hold" grpId="0" nodeType="withEffect">
                                  <p:stCondLst>
                                    <p:cond delay="0"/>
                                  </p:stCondLst>
                                  <p:childTnLst>
                                    <p:set>
                                      <p:cBhvr>
                                        <p:cTn id="41" dur="1" fill="hold">
                                          <p:stCondLst>
                                            <p:cond delay="0"/>
                                          </p:stCondLst>
                                        </p:cTn>
                                        <p:tgtEl>
                                          <p:spTgt spid="96"/>
                                        </p:tgtEl>
                                        <p:attrNameLst>
                                          <p:attrName>style.visibility</p:attrName>
                                        </p:attrNameLst>
                                      </p:cBhvr>
                                      <p:to>
                                        <p:strVal val="visible"/>
                                      </p:to>
                                    </p:set>
                                    <p:animEffect transition="in" filter="wipe(up)">
                                      <p:cBhvr>
                                        <p:cTn id="42" dur="500"/>
                                        <p:tgtEl>
                                          <p:spTgt spid="96"/>
                                        </p:tgtEl>
                                      </p:cBhvr>
                                    </p:animEffect>
                                  </p:childTnLst>
                                </p:cTn>
                              </p:par>
                              <p:par>
                                <p:cTn id="43" presetID="22" presetClass="entr" presetSubtype="1" fill="hold" nodeType="withEffect">
                                  <p:stCondLst>
                                    <p:cond delay="0"/>
                                  </p:stCondLst>
                                  <p:childTnLst>
                                    <p:set>
                                      <p:cBhvr>
                                        <p:cTn id="44" dur="1" fill="hold">
                                          <p:stCondLst>
                                            <p:cond delay="0"/>
                                          </p:stCondLst>
                                        </p:cTn>
                                        <p:tgtEl>
                                          <p:spTgt spid="97"/>
                                        </p:tgtEl>
                                        <p:attrNameLst>
                                          <p:attrName>style.visibility</p:attrName>
                                        </p:attrNameLst>
                                      </p:cBhvr>
                                      <p:to>
                                        <p:strVal val="visible"/>
                                      </p:to>
                                    </p:set>
                                    <p:animEffect transition="in" filter="wipe(up)">
                                      <p:cBhvr>
                                        <p:cTn id="45" dur="500"/>
                                        <p:tgtEl>
                                          <p:spTgt spid="97"/>
                                        </p:tgtEl>
                                      </p:cBhvr>
                                    </p:animEffect>
                                  </p:childTnLst>
                                </p:cTn>
                              </p:par>
                              <p:par>
                                <p:cTn id="46" presetID="22" presetClass="entr" presetSubtype="1" fill="hold" grpId="0" nodeType="withEffect">
                                  <p:stCondLst>
                                    <p:cond delay="0"/>
                                  </p:stCondLst>
                                  <p:childTnLst>
                                    <p:set>
                                      <p:cBhvr>
                                        <p:cTn id="47" dur="1" fill="hold">
                                          <p:stCondLst>
                                            <p:cond delay="0"/>
                                          </p:stCondLst>
                                        </p:cTn>
                                        <p:tgtEl>
                                          <p:spTgt spid="107"/>
                                        </p:tgtEl>
                                        <p:attrNameLst>
                                          <p:attrName>style.visibility</p:attrName>
                                        </p:attrNameLst>
                                      </p:cBhvr>
                                      <p:to>
                                        <p:strVal val="visible"/>
                                      </p:to>
                                    </p:set>
                                    <p:animEffect transition="in" filter="wipe(up)">
                                      <p:cBhvr>
                                        <p:cTn id="48" dur="500"/>
                                        <p:tgtEl>
                                          <p:spTgt spid="107"/>
                                        </p:tgtEl>
                                      </p:cBhvr>
                                    </p:animEffect>
                                  </p:childTnLst>
                                </p:cTn>
                              </p:par>
                              <p:par>
                                <p:cTn id="49" presetID="22" presetClass="entr" presetSubtype="1" fill="hold" grpId="0" nodeType="withEffect">
                                  <p:stCondLst>
                                    <p:cond delay="0"/>
                                  </p:stCondLst>
                                  <p:childTnLst>
                                    <p:set>
                                      <p:cBhvr>
                                        <p:cTn id="50" dur="1" fill="hold">
                                          <p:stCondLst>
                                            <p:cond delay="0"/>
                                          </p:stCondLst>
                                        </p:cTn>
                                        <p:tgtEl>
                                          <p:spTgt spid="110"/>
                                        </p:tgtEl>
                                        <p:attrNameLst>
                                          <p:attrName>style.visibility</p:attrName>
                                        </p:attrNameLst>
                                      </p:cBhvr>
                                      <p:to>
                                        <p:strVal val="visible"/>
                                      </p:to>
                                    </p:set>
                                    <p:animEffect transition="in" filter="wipe(up)">
                                      <p:cBhvr>
                                        <p:cTn id="51" dur="500"/>
                                        <p:tgtEl>
                                          <p:spTgt spid="110"/>
                                        </p:tgtEl>
                                      </p:cBhvr>
                                    </p:animEffect>
                                  </p:childTnLst>
                                </p:cTn>
                              </p:par>
                              <p:par>
                                <p:cTn id="52" presetID="22" presetClass="entr" presetSubtype="1" fill="hold" grpId="0" nodeType="withEffect">
                                  <p:stCondLst>
                                    <p:cond delay="0"/>
                                  </p:stCondLst>
                                  <p:childTnLst>
                                    <p:set>
                                      <p:cBhvr>
                                        <p:cTn id="53" dur="1" fill="hold">
                                          <p:stCondLst>
                                            <p:cond delay="0"/>
                                          </p:stCondLst>
                                        </p:cTn>
                                        <p:tgtEl>
                                          <p:spTgt spid="112"/>
                                        </p:tgtEl>
                                        <p:attrNameLst>
                                          <p:attrName>style.visibility</p:attrName>
                                        </p:attrNameLst>
                                      </p:cBhvr>
                                      <p:to>
                                        <p:strVal val="visible"/>
                                      </p:to>
                                    </p:set>
                                    <p:animEffect transition="in" filter="wipe(up)">
                                      <p:cBhvr>
                                        <p:cTn id="54" dur="500"/>
                                        <p:tgtEl>
                                          <p:spTgt spid="112"/>
                                        </p:tgtEl>
                                      </p:cBhvr>
                                    </p:animEffect>
                                  </p:childTnLst>
                                </p:cTn>
                              </p:par>
                              <p:par>
                                <p:cTn id="55" presetID="22" presetClass="entr" presetSubtype="1" fill="hold" grpId="0" nodeType="withEffect">
                                  <p:stCondLst>
                                    <p:cond delay="0"/>
                                  </p:stCondLst>
                                  <p:childTnLst>
                                    <p:set>
                                      <p:cBhvr>
                                        <p:cTn id="56" dur="1" fill="hold">
                                          <p:stCondLst>
                                            <p:cond delay="0"/>
                                          </p:stCondLst>
                                        </p:cTn>
                                        <p:tgtEl>
                                          <p:spTgt spid="116"/>
                                        </p:tgtEl>
                                        <p:attrNameLst>
                                          <p:attrName>style.visibility</p:attrName>
                                        </p:attrNameLst>
                                      </p:cBhvr>
                                      <p:to>
                                        <p:strVal val="visible"/>
                                      </p:to>
                                    </p:set>
                                    <p:animEffect transition="in" filter="wipe(up)">
                                      <p:cBhvr>
                                        <p:cTn id="57" dur="500"/>
                                        <p:tgtEl>
                                          <p:spTgt spid="116"/>
                                        </p:tgtEl>
                                      </p:cBhvr>
                                    </p:animEffect>
                                  </p:childTnLst>
                                </p:cTn>
                              </p:par>
                              <p:par>
                                <p:cTn id="58" presetID="22" presetClass="entr" presetSubtype="1" fill="hold" grpId="0" nodeType="withEffect">
                                  <p:stCondLst>
                                    <p:cond delay="0"/>
                                  </p:stCondLst>
                                  <p:childTnLst>
                                    <p:set>
                                      <p:cBhvr>
                                        <p:cTn id="59" dur="1" fill="hold">
                                          <p:stCondLst>
                                            <p:cond delay="0"/>
                                          </p:stCondLst>
                                        </p:cTn>
                                        <p:tgtEl>
                                          <p:spTgt spid="121"/>
                                        </p:tgtEl>
                                        <p:attrNameLst>
                                          <p:attrName>style.visibility</p:attrName>
                                        </p:attrNameLst>
                                      </p:cBhvr>
                                      <p:to>
                                        <p:strVal val="visible"/>
                                      </p:to>
                                    </p:set>
                                    <p:animEffect transition="in" filter="wipe(up)">
                                      <p:cBhvr>
                                        <p:cTn id="60" dur="500"/>
                                        <p:tgtEl>
                                          <p:spTgt spid="121"/>
                                        </p:tgtEl>
                                      </p:cBhvr>
                                    </p:animEffect>
                                  </p:childTnLst>
                                </p:cTn>
                              </p:par>
                              <p:par>
                                <p:cTn id="61" presetID="22" presetClass="entr" presetSubtype="1" fill="hold" nodeType="withEffect">
                                  <p:stCondLst>
                                    <p:cond delay="0"/>
                                  </p:stCondLst>
                                  <p:childTnLst>
                                    <p:set>
                                      <p:cBhvr>
                                        <p:cTn id="62" dur="1" fill="hold">
                                          <p:stCondLst>
                                            <p:cond delay="0"/>
                                          </p:stCondLst>
                                        </p:cTn>
                                        <p:tgtEl>
                                          <p:spTgt spid="131"/>
                                        </p:tgtEl>
                                        <p:attrNameLst>
                                          <p:attrName>style.visibility</p:attrName>
                                        </p:attrNameLst>
                                      </p:cBhvr>
                                      <p:to>
                                        <p:strVal val="visible"/>
                                      </p:to>
                                    </p:set>
                                    <p:animEffect transition="in" filter="wipe(up)">
                                      <p:cBhvr>
                                        <p:cTn id="63" dur="500"/>
                                        <p:tgtEl>
                                          <p:spTgt spid="131"/>
                                        </p:tgtEl>
                                      </p:cBhvr>
                                    </p:animEffect>
                                  </p:childTnLst>
                                </p:cTn>
                              </p:par>
                              <p:par>
                                <p:cTn id="64" presetID="22" presetClass="entr" presetSubtype="1" fill="hold" nodeType="withEffect">
                                  <p:stCondLst>
                                    <p:cond delay="0"/>
                                  </p:stCondLst>
                                  <p:childTnLst>
                                    <p:set>
                                      <p:cBhvr>
                                        <p:cTn id="65" dur="1" fill="hold">
                                          <p:stCondLst>
                                            <p:cond delay="0"/>
                                          </p:stCondLst>
                                        </p:cTn>
                                        <p:tgtEl>
                                          <p:spTgt spid="130"/>
                                        </p:tgtEl>
                                        <p:attrNameLst>
                                          <p:attrName>style.visibility</p:attrName>
                                        </p:attrNameLst>
                                      </p:cBhvr>
                                      <p:to>
                                        <p:strVal val="visible"/>
                                      </p:to>
                                    </p:set>
                                    <p:animEffect transition="in" filter="wipe(up)">
                                      <p:cBhvr>
                                        <p:cTn id="66" dur="500"/>
                                        <p:tgtEl>
                                          <p:spTgt spid="130"/>
                                        </p:tgtEl>
                                      </p:cBhvr>
                                    </p:animEffect>
                                  </p:childTnLst>
                                </p:cTn>
                              </p:par>
                              <p:par>
                                <p:cTn id="67" presetID="22" presetClass="entr" presetSubtype="1" fill="hold" nodeType="withEffect">
                                  <p:stCondLst>
                                    <p:cond delay="0"/>
                                  </p:stCondLst>
                                  <p:childTnLst>
                                    <p:set>
                                      <p:cBhvr>
                                        <p:cTn id="68" dur="1" fill="hold">
                                          <p:stCondLst>
                                            <p:cond delay="0"/>
                                          </p:stCondLst>
                                        </p:cTn>
                                        <p:tgtEl>
                                          <p:spTgt spid="142"/>
                                        </p:tgtEl>
                                        <p:attrNameLst>
                                          <p:attrName>style.visibility</p:attrName>
                                        </p:attrNameLst>
                                      </p:cBhvr>
                                      <p:to>
                                        <p:strVal val="visible"/>
                                      </p:to>
                                    </p:set>
                                    <p:animEffect transition="in" filter="wipe(up)">
                                      <p:cBhvr>
                                        <p:cTn id="69" dur="500"/>
                                        <p:tgtEl>
                                          <p:spTgt spid="142"/>
                                        </p:tgtEl>
                                      </p:cBhvr>
                                    </p:animEffect>
                                  </p:childTnLst>
                                </p:cTn>
                              </p:par>
                              <p:par>
                                <p:cTn id="70" presetID="10" presetClass="entr" presetSubtype="0" fill="hold" nodeType="withEffect">
                                  <p:stCondLst>
                                    <p:cond delay="0"/>
                                  </p:stCondLst>
                                  <p:childTnLst>
                                    <p:set>
                                      <p:cBhvr>
                                        <p:cTn id="71" dur="1" fill="hold">
                                          <p:stCondLst>
                                            <p:cond delay="0"/>
                                          </p:stCondLst>
                                        </p:cTn>
                                        <p:tgtEl>
                                          <p:spTgt spid="70"/>
                                        </p:tgtEl>
                                        <p:attrNameLst>
                                          <p:attrName>style.visibility</p:attrName>
                                        </p:attrNameLst>
                                      </p:cBhvr>
                                      <p:to>
                                        <p:strVal val="visible"/>
                                      </p:to>
                                    </p:set>
                                    <p:animEffect transition="in" filter="fade">
                                      <p:cBhvr>
                                        <p:cTn id="72" dur="500"/>
                                        <p:tgtEl>
                                          <p:spTgt spid="70"/>
                                        </p:tgtEl>
                                      </p:cBhvr>
                                    </p:animEffect>
                                  </p:childTnLst>
                                </p:cTn>
                              </p:par>
                              <p:par>
                                <p:cTn id="73" presetID="22" presetClass="entr" presetSubtype="1" fill="hold" nodeType="withEffect">
                                  <p:stCondLst>
                                    <p:cond delay="0"/>
                                  </p:stCondLst>
                                  <p:childTnLst>
                                    <p:set>
                                      <p:cBhvr>
                                        <p:cTn id="74" dur="1" fill="hold">
                                          <p:stCondLst>
                                            <p:cond delay="0"/>
                                          </p:stCondLst>
                                        </p:cTn>
                                        <p:tgtEl>
                                          <p:spTgt spid="143"/>
                                        </p:tgtEl>
                                        <p:attrNameLst>
                                          <p:attrName>style.visibility</p:attrName>
                                        </p:attrNameLst>
                                      </p:cBhvr>
                                      <p:to>
                                        <p:strVal val="visible"/>
                                      </p:to>
                                    </p:set>
                                    <p:animEffect transition="in" filter="wipe(up)">
                                      <p:cBhvr>
                                        <p:cTn id="75" dur="500"/>
                                        <p:tgtEl>
                                          <p:spTgt spid="143"/>
                                        </p:tgtEl>
                                      </p:cBhvr>
                                    </p:animEffect>
                                  </p:childTnLst>
                                </p:cTn>
                              </p:par>
                              <p:par>
                                <p:cTn id="76" presetID="22" presetClass="entr" presetSubtype="1" fill="hold" nodeType="withEffect">
                                  <p:stCondLst>
                                    <p:cond delay="0"/>
                                  </p:stCondLst>
                                  <p:childTnLst>
                                    <p:set>
                                      <p:cBhvr>
                                        <p:cTn id="77" dur="1" fill="hold">
                                          <p:stCondLst>
                                            <p:cond delay="0"/>
                                          </p:stCondLst>
                                        </p:cTn>
                                        <p:tgtEl>
                                          <p:spTgt spid="144"/>
                                        </p:tgtEl>
                                        <p:attrNameLst>
                                          <p:attrName>style.visibility</p:attrName>
                                        </p:attrNameLst>
                                      </p:cBhvr>
                                      <p:to>
                                        <p:strVal val="visible"/>
                                      </p:to>
                                    </p:set>
                                    <p:animEffect transition="in" filter="wipe(up)">
                                      <p:cBhvr>
                                        <p:cTn id="78" dur="500"/>
                                        <p:tgtEl>
                                          <p:spTgt spid="144"/>
                                        </p:tgtEl>
                                      </p:cBhvr>
                                    </p:animEffect>
                                  </p:childTnLst>
                                </p:cTn>
                              </p:par>
                              <p:par>
                                <p:cTn id="79" presetID="22" presetClass="entr" presetSubtype="1" fill="hold" nodeType="withEffect">
                                  <p:stCondLst>
                                    <p:cond delay="0"/>
                                  </p:stCondLst>
                                  <p:childTnLst>
                                    <p:set>
                                      <p:cBhvr>
                                        <p:cTn id="80" dur="1" fill="hold">
                                          <p:stCondLst>
                                            <p:cond delay="0"/>
                                          </p:stCondLst>
                                        </p:cTn>
                                        <p:tgtEl>
                                          <p:spTgt spid="4"/>
                                        </p:tgtEl>
                                        <p:attrNameLst>
                                          <p:attrName>style.visibility</p:attrName>
                                        </p:attrNameLst>
                                      </p:cBhvr>
                                      <p:to>
                                        <p:strVal val="visible"/>
                                      </p:to>
                                    </p:set>
                                    <p:animEffect transition="in" filter="wipe(up)">
                                      <p:cBhvr>
                                        <p:cTn id="81" dur="500"/>
                                        <p:tgtEl>
                                          <p:spTgt spid="4"/>
                                        </p:tgtEl>
                                      </p:cBhvr>
                                    </p:animEffect>
                                  </p:childTnLst>
                                </p:cTn>
                              </p:par>
                              <p:par>
                                <p:cTn id="82" presetID="22" presetClass="entr" presetSubtype="1" fill="hold" nodeType="withEffect">
                                  <p:stCondLst>
                                    <p:cond delay="0"/>
                                  </p:stCondLst>
                                  <p:childTnLst>
                                    <p:set>
                                      <p:cBhvr>
                                        <p:cTn id="83" dur="1" fill="hold">
                                          <p:stCondLst>
                                            <p:cond delay="0"/>
                                          </p:stCondLst>
                                        </p:cTn>
                                        <p:tgtEl>
                                          <p:spTgt spid="59"/>
                                        </p:tgtEl>
                                        <p:attrNameLst>
                                          <p:attrName>style.visibility</p:attrName>
                                        </p:attrNameLst>
                                      </p:cBhvr>
                                      <p:to>
                                        <p:strVal val="visible"/>
                                      </p:to>
                                    </p:set>
                                    <p:animEffect transition="in" filter="wipe(up)">
                                      <p:cBhvr>
                                        <p:cTn id="84" dur="500"/>
                                        <p:tgtEl>
                                          <p:spTgt spid="59"/>
                                        </p:tgtEl>
                                      </p:cBhvr>
                                    </p:animEffect>
                                  </p:childTnLst>
                                </p:cTn>
                              </p:par>
                              <p:par>
                                <p:cTn id="85" presetID="22" presetClass="entr" presetSubtype="1" fill="hold" grpId="0" nodeType="withEffect">
                                  <p:stCondLst>
                                    <p:cond delay="0"/>
                                  </p:stCondLst>
                                  <p:childTnLst>
                                    <p:set>
                                      <p:cBhvr>
                                        <p:cTn id="86" dur="1" fill="hold">
                                          <p:stCondLst>
                                            <p:cond delay="0"/>
                                          </p:stCondLst>
                                        </p:cTn>
                                        <p:tgtEl>
                                          <p:spTgt spid="3"/>
                                        </p:tgtEl>
                                        <p:attrNameLst>
                                          <p:attrName>style.visibility</p:attrName>
                                        </p:attrNameLst>
                                      </p:cBhvr>
                                      <p:to>
                                        <p:strVal val="visible"/>
                                      </p:to>
                                    </p:set>
                                    <p:animEffect transition="in" filter="wipe(up)">
                                      <p:cBhvr>
                                        <p:cTn id="87" dur="500"/>
                                        <p:tgtEl>
                                          <p:spTgt spid="3"/>
                                        </p:tgtEl>
                                      </p:cBhvr>
                                    </p:animEffect>
                                  </p:childTnLst>
                                </p:cTn>
                              </p:par>
                              <p:par>
                                <p:cTn id="88" presetID="22" presetClass="entr" presetSubtype="1" fill="hold" grpId="0" nodeType="withEffect">
                                  <p:stCondLst>
                                    <p:cond delay="0"/>
                                  </p:stCondLst>
                                  <p:childTnLst>
                                    <p:set>
                                      <p:cBhvr>
                                        <p:cTn id="89" dur="1" fill="hold">
                                          <p:stCondLst>
                                            <p:cond delay="0"/>
                                          </p:stCondLst>
                                        </p:cTn>
                                        <p:tgtEl>
                                          <p:spTgt spid="53"/>
                                        </p:tgtEl>
                                        <p:attrNameLst>
                                          <p:attrName>style.visibility</p:attrName>
                                        </p:attrNameLst>
                                      </p:cBhvr>
                                      <p:to>
                                        <p:strVal val="visible"/>
                                      </p:to>
                                    </p:set>
                                    <p:animEffect transition="in" filter="wipe(up)">
                                      <p:cBhvr>
                                        <p:cTn id="90" dur="500"/>
                                        <p:tgtEl>
                                          <p:spTgt spid="53"/>
                                        </p:tgtEl>
                                      </p:cBhvr>
                                    </p:animEffect>
                                  </p:childTnLst>
                                </p:cTn>
                              </p:par>
                              <p:par>
                                <p:cTn id="91" presetID="22" presetClass="entr" presetSubtype="1" fill="hold" grpId="0" nodeType="withEffect">
                                  <p:stCondLst>
                                    <p:cond delay="0"/>
                                  </p:stCondLst>
                                  <p:childTnLst>
                                    <p:set>
                                      <p:cBhvr>
                                        <p:cTn id="92" dur="1" fill="hold">
                                          <p:stCondLst>
                                            <p:cond delay="0"/>
                                          </p:stCondLst>
                                        </p:cTn>
                                        <p:tgtEl>
                                          <p:spTgt spid="57"/>
                                        </p:tgtEl>
                                        <p:attrNameLst>
                                          <p:attrName>style.visibility</p:attrName>
                                        </p:attrNameLst>
                                      </p:cBhvr>
                                      <p:to>
                                        <p:strVal val="visible"/>
                                      </p:to>
                                    </p:set>
                                    <p:animEffect transition="in" filter="wipe(up)">
                                      <p:cBhvr>
                                        <p:cTn id="93" dur="500"/>
                                        <p:tgtEl>
                                          <p:spTgt spid="57"/>
                                        </p:tgtEl>
                                      </p:cBhvr>
                                    </p:animEffect>
                                  </p:childTnLst>
                                </p:cTn>
                              </p:par>
                            </p:childTnLst>
                          </p:cTn>
                        </p:par>
                        <p:par>
                          <p:cTn id="94" fill="hold">
                            <p:stCondLst>
                              <p:cond delay="500"/>
                            </p:stCondLst>
                            <p:childTnLst>
                              <p:par>
                                <p:cTn id="95" presetID="22" presetClass="entr" presetSubtype="8" fill="hold" grpId="0" nodeType="afterEffect">
                                  <p:stCondLst>
                                    <p:cond delay="0"/>
                                  </p:stCondLst>
                                  <p:childTnLst>
                                    <p:set>
                                      <p:cBhvr>
                                        <p:cTn id="96" dur="1" fill="hold">
                                          <p:stCondLst>
                                            <p:cond delay="0"/>
                                          </p:stCondLst>
                                        </p:cTn>
                                        <p:tgtEl>
                                          <p:spTgt spid="136"/>
                                        </p:tgtEl>
                                        <p:attrNameLst>
                                          <p:attrName>style.visibility</p:attrName>
                                        </p:attrNameLst>
                                      </p:cBhvr>
                                      <p:to>
                                        <p:strVal val="visible"/>
                                      </p:to>
                                    </p:set>
                                    <p:animEffect transition="in" filter="wipe(left)">
                                      <p:cBhvr>
                                        <p:cTn id="97" dur="1000"/>
                                        <p:tgtEl>
                                          <p:spTgt spid="136"/>
                                        </p:tgtEl>
                                      </p:cBhvr>
                                    </p:animEffect>
                                  </p:childTnLst>
                                </p:cTn>
                              </p:par>
                            </p:childTnLst>
                          </p:cTn>
                        </p:par>
                        <p:par>
                          <p:cTn id="98" fill="hold">
                            <p:stCondLst>
                              <p:cond delay="1500"/>
                            </p:stCondLst>
                            <p:childTnLst>
                              <p:par>
                                <p:cTn id="99" presetID="22" presetClass="entr" presetSubtype="8" fill="hold" grpId="0" nodeType="afterEffect">
                                  <p:stCondLst>
                                    <p:cond delay="0"/>
                                  </p:stCondLst>
                                  <p:childTnLst>
                                    <p:set>
                                      <p:cBhvr>
                                        <p:cTn id="100" dur="1" fill="hold">
                                          <p:stCondLst>
                                            <p:cond delay="0"/>
                                          </p:stCondLst>
                                        </p:cTn>
                                        <p:tgtEl>
                                          <p:spTgt spid="137"/>
                                        </p:tgtEl>
                                        <p:attrNameLst>
                                          <p:attrName>style.visibility</p:attrName>
                                        </p:attrNameLst>
                                      </p:cBhvr>
                                      <p:to>
                                        <p:strVal val="visible"/>
                                      </p:to>
                                    </p:set>
                                    <p:animEffect transition="in" filter="wipe(left)">
                                      <p:cBhvr>
                                        <p:cTn id="101" dur="1000"/>
                                        <p:tgtEl>
                                          <p:spTgt spid="1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6" grpId="0" animBg="1"/>
      <p:bldP spid="75" grpId="0"/>
      <p:bldP spid="83" grpId="0"/>
      <p:bldP spid="84" grpId="0" animBg="1"/>
      <p:bldP spid="85" grpId="0" animBg="1"/>
      <p:bldP spid="86" grpId="0" animBg="1"/>
      <p:bldP spid="87" grpId="0"/>
      <p:bldP spid="88" grpId="0"/>
      <p:bldP spid="89" grpId="0"/>
      <p:bldP spid="90" grpId="0"/>
      <p:bldP spid="94" grpId="0"/>
      <p:bldP spid="96" grpId="0"/>
      <p:bldP spid="107" grpId="0" animBg="1"/>
      <p:bldP spid="110" grpId="0"/>
      <p:bldP spid="112" grpId="0"/>
      <p:bldP spid="116" grpId="0" animBg="1"/>
      <p:bldP spid="121" grpId="0" animBg="1"/>
      <p:bldP spid="137" grpId="0" animBg="1"/>
      <p:bldP spid="138" grpId="0" animBg="1"/>
      <p:bldP spid="3" grpId="0" animBg="1"/>
      <p:bldP spid="53" grpId="0" animBg="1"/>
      <p:bldP spid="57" grpId="0" animBg="1"/>
    </p:bldLst>
  </p:timing>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ChangeArrowheads="1"/>
          </p:cNvSpPr>
          <p:nvPr>
            <p:ph type="title"/>
          </p:nvPr>
        </p:nvSpPr>
        <p:spPr>
          <a:xfrm>
            <a:off x="457200" y="205978"/>
            <a:ext cx="8229600" cy="529568"/>
          </a:xfrm>
        </p:spPr>
        <p:txBody>
          <a:bodyPr>
            <a:normAutofit/>
          </a:bodyPr>
          <a:lstStyle/>
          <a:p>
            <a:pPr eaLnBrk="1" hangingPunct="1"/>
            <a:r>
              <a:rPr lang="en-US" dirty="0" smtClean="0"/>
              <a:t>Look a Little Closer!</a:t>
            </a:r>
            <a:endParaRPr lang="en-AU" dirty="0" smtClean="0"/>
          </a:p>
        </p:txBody>
      </p:sp>
      <p:sp>
        <p:nvSpPr>
          <p:cNvPr id="32771" name="Rectangle 3"/>
          <p:cNvSpPr>
            <a:spLocks noGrp="1" noChangeArrowheads="1"/>
          </p:cNvSpPr>
          <p:nvPr>
            <p:ph type="body" idx="4294967295"/>
          </p:nvPr>
        </p:nvSpPr>
        <p:spPr>
          <a:xfrm>
            <a:off x="398964" y="1543050"/>
            <a:ext cx="7934503" cy="1731336"/>
          </a:xfrm>
          <a:prstGeom prst="rect">
            <a:avLst/>
          </a:prstGeom>
        </p:spPr>
        <p:txBody>
          <a:bodyPr>
            <a:noAutofit/>
          </a:bodyPr>
          <a:lstStyle/>
          <a:p>
            <a:pPr marL="0" lvl="1" indent="0">
              <a:buNone/>
            </a:pPr>
            <a:r>
              <a:rPr lang="en-AU" sz="3000" dirty="0">
                <a:latin typeface="Courier New" pitchFamily="49" charset="0"/>
                <a:cs typeface="Courier New" pitchFamily="49" charset="0"/>
              </a:rPr>
              <a:t>U</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latin typeface="Courier New" pitchFamily="49" charset="0"/>
                <a:cs typeface="Courier New" pitchFamily="49" charset="0"/>
              </a:rPr>
              <a:t>QSOVUOHXMOPVGPO</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latin typeface="Courier New" pitchFamily="49" charset="0"/>
                <a:cs typeface="Courier New" pitchFamily="49" charset="0"/>
              </a:rPr>
              <a:t>PEVSG</a:t>
            </a:r>
            <a:r>
              <a:rPr lang="en-AU" sz="3000" dirty="0">
                <a:solidFill>
                  <a:schemeClr val="tx1"/>
                </a:solidFill>
                <a:effectLst>
                  <a:glow rad="723900">
                    <a:schemeClr val="accent1"/>
                  </a:glow>
                </a:effectLst>
                <a:latin typeface="Courier New" pitchFamily="49" charset="0"/>
                <a:cs typeface="Courier New" pitchFamily="49" charset="0"/>
              </a:rPr>
              <a:t>ZW</a:t>
            </a:r>
            <a:r>
              <a:rPr lang="en-AU" sz="3000" dirty="0">
                <a:latin typeface="Courier New" pitchFamily="49" charset="0"/>
                <a:cs typeface="Courier New" pitchFamily="49" charset="0"/>
              </a:rPr>
              <a:t>S</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latin typeface="Courier New" pitchFamily="49" charset="0"/>
                <a:cs typeface="Courier New" pitchFamily="49" charset="0"/>
              </a:rPr>
              <a:t>OPFPESXUDBMETSXAI</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latin typeface="Courier New" pitchFamily="49" charset="0"/>
                <a:cs typeface="Courier New" pitchFamily="49" charset="0"/>
              </a:rPr>
              <a:t>VUEPH</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latin typeface="Courier New" pitchFamily="49" charset="0"/>
                <a:cs typeface="Courier New" pitchFamily="49" charset="0"/>
              </a:rPr>
              <a:t>HMD</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latin typeface="Courier New" pitchFamily="49" charset="0"/>
                <a:cs typeface="Courier New" pitchFamily="49" charset="0"/>
              </a:rPr>
              <a:t>SH</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latin typeface="Courier New" pitchFamily="49" charset="0"/>
                <a:cs typeface="Courier New" pitchFamily="49" charset="0"/>
              </a:rPr>
              <a:t>OWSFPAPPDTSVPQU</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latin typeface="Courier New" pitchFamily="49" charset="0"/>
                <a:cs typeface="Courier New" pitchFamily="49" charset="0"/>
              </a:rPr>
              <a:t>WYMXU</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latin typeface="Courier New" pitchFamily="49" charset="0"/>
                <a:cs typeface="Courier New" pitchFamily="49" charset="0"/>
              </a:rPr>
              <a:t>UHSXEPYEPOPD</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latin typeface="Courier New" pitchFamily="49" charset="0"/>
                <a:cs typeface="Courier New" pitchFamily="49" charset="0"/>
              </a:rPr>
              <a:t>S</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latin typeface="Courier New" pitchFamily="49" charset="0"/>
                <a:cs typeface="Courier New" pitchFamily="49" charset="0"/>
              </a:rPr>
              <a:t>UFPOMB</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latin typeface="Courier New" pitchFamily="49" charset="0"/>
                <a:cs typeface="Courier New" pitchFamily="49" charset="0"/>
              </a:rPr>
              <a:t>WPFUP</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latin typeface="Courier New" pitchFamily="49" charset="0"/>
                <a:cs typeface="Courier New" pitchFamily="49" charset="0"/>
              </a:rPr>
              <a:t>HMDJUDTMOHMQ</a:t>
            </a:r>
            <a:endParaRPr lang="en-US" sz="3000" dirty="0">
              <a:latin typeface="Courier New" pitchFamily="49" charset="0"/>
              <a:cs typeface="Courier New" pitchFamily="49" charset="0"/>
            </a:endParaRPr>
          </a:p>
          <a:p>
            <a:pPr marL="345312" lvl="1" indent="-345312">
              <a:buBlip>
                <a:blip r:embed="rId3"/>
              </a:buBlip>
            </a:pPr>
            <a:endParaRPr lang="en-AU" dirty="0">
              <a:gradFill>
                <a:gsLst>
                  <a:gs pos="0">
                    <a:schemeClr val="tx1"/>
                  </a:gs>
                  <a:gs pos="100000">
                    <a:schemeClr val="tx1"/>
                  </a:gs>
                </a:gsLst>
                <a:lin ang="5400000" scaled="0"/>
              </a:gradFill>
            </a:endParaRPr>
          </a:p>
        </p:txBody>
      </p:sp>
      <p:sp>
        <p:nvSpPr>
          <p:cNvPr id="4"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5"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4"/>
              </a:rPr>
              <a:t>www.rapidbbs.cn</a:t>
            </a:r>
            <a:endParaRPr lang="zh-CN" altLang="en-US" sz="1200" b="0">
              <a:latin typeface="Arial" charset="0"/>
              <a:ea typeface="ＭＳ Ｐゴシック" pitchFamily="34" charset="-128"/>
            </a:endParaRPr>
          </a:p>
        </p:txBody>
      </p:sp>
      <p:pic>
        <p:nvPicPr>
          <p:cNvPr id="6" name="Picture 2">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38759242"/>
      </p:ext>
    </p:extLst>
  </p:cSld>
  <p:clrMapOvr>
    <a:masterClrMapping/>
  </p:clrMapOvr>
  <p:transition>
    <p:fade/>
  </p:transition>
  <p:timing>
    <p:tnLst>
      <p:par>
        <p:cTn id="1" dur="indefinite" restart="never" nodeType="tmRoot"/>
      </p:par>
    </p:tnLst>
  </p:timing>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ChangeArrowheads="1"/>
          </p:cNvSpPr>
          <p:nvPr>
            <p:ph type="title"/>
          </p:nvPr>
        </p:nvSpPr>
        <p:spPr>
          <a:xfrm>
            <a:off x="457200" y="205978"/>
            <a:ext cx="8229600" cy="529568"/>
          </a:xfrm>
        </p:spPr>
        <p:txBody>
          <a:bodyPr>
            <a:normAutofit/>
          </a:bodyPr>
          <a:lstStyle/>
          <a:p>
            <a:pPr eaLnBrk="1" hangingPunct="1"/>
            <a:r>
              <a:rPr lang="en-US" dirty="0" smtClean="0"/>
              <a:t>And Again…</a:t>
            </a:r>
            <a:endParaRPr lang="en-AU" dirty="0" smtClean="0"/>
          </a:p>
        </p:txBody>
      </p:sp>
      <p:sp>
        <p:nvSpPr>
          <p:cNvPr id="32771" name="Rectangle 3"/>
          <p:cNvSpPr>
            <a:spLocks noGrp="1" noChangeArrowheads="1"/>
          </p:cNvSpPr>
          <p:nvPr>
            <p:ph type="body" idx="4294967295"/>
          </p:nvPr>
        </p:nvSpPr>
        <p:spPr>
          <a:xfrm>
            <a:off x="398964" y="1543050"/>
            <a:ext cx="7934503" cy="1731336"/>
          </a:xfrm>
          <a:prstGeom prst="rect">
            <a:avLst/>
          </a:prstGeom>
        </p:spPr>
        <p:txBody>
          <a:bodyPr>
            <a:noAutofit/>
          </a:bodyPr>
          <a:lstStyle/>
          <a:p>
            <a:pPr marL="0" lvl="1" indent="0">
              <a:buNone/>
            </a:pPr>
            <a:r>
              <a:rPr lang="en-AU" sz="3000" dirty="0">
                <a:latin typeface="Courier New" pitchFamily="49" charset="0"/>
                <a:cs typeface="Courier New" pitchFamily="49" charset="0"/>
              </a:rPr>
              <a:t>U</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latin typeface="Courier New" pitchFamily="49" charset="0"/>
                <a:cs typeface="Courier New" pitchFamily="49" charset="0"/>
              </a:rPr>
              <a:t>QSOVUOHXMOPVGPO</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latin typeface="Courier New" pitchFamily="49" charset="0"/>
                <a:cs typeface="Courier New" pitchFamily="49" charset="0"/>
              </a:rPr>
              <a:t>PEVSG</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solidFill>
                  <a:schemeClr val="tx1"/>
                </a:solidFill>
                <a:effectLst>
                  <a:glow rad="127000">
                    <a:schemeClr val="accent6"/>
                  </a:glow>
                </a:effectLst>
                <a:latin typeface="Courier New" pitchFamily="49" charset="0"/>
                <a:cs typeface="Courier New" pitchFamily="49" charset="0"/>
              </a:rPr>
              <a:t>W</a:t>
            </a:r>
            <a:r>
              <a:rPr lang="en-AU" sz="3000" dirty="0">
                <a:latin typeface="Courier New" pitchFamily="49" charset="0"/>
                <a:cs typeface="Courier New" pitchFamily="49" charset="0"/>
              </a:rPr>
              <a:t>S</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latin typeface="Courier New" pitchFamily="49" charset="0"/>
                <a:cs typeface="Courier New" pitchFamily="49" charset="0"/>
              </a:rPr>
              <a:t>OPFPESXUDBMETSXAI</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latin typeface="Courier New" pitchFamily="49" charset="0"/>
                <a:cs typeface="Courier New" pitchFamily="49" charset="0"/>
              </a:rPr>
              <a:t>VUEPH</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latin typeface="Courier New" pitchFamily="49" charset="0"/>
                <a:cs typeface="Courier New" pitchFamily="49" charset="0"/>
              </a:rPr>
              <a:t>HMD</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latin typeface="Courier New" pitchFamily="49" charset="0"/>
                <a:cs typeface="Courier New" pitchFamily="49" charset="0"/>
              </a:rPr>
              <a:t>SH</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latin typeface="Courier New" pitchFamily="49" charset="0"/>
                <a:cs typeface="Courier New" pitchFamily="49" charset="0"/>
              </a:rPr>
              <a:t>O</a:t>
            </a:r>
            <a:r>
              <a:rPr lang="en-AU" sz="3000" dirty="0">
                <a:solidFill>
                  <a:schemeClr val="tx1"/>
                </a:solidFill>
                <a:effectLst>
                  <a:glow rad="127000">
                    <a:schemeClr val="accent6"/>
                  </a:glow>
                </a:effectLst>
                <a:latin typeface="Courier New" pitchFamily="49" charset="0"/>
                <a:cs typeface="Courier New" pitchFamily="49" charset="0"/>
              </a:rPr>
              <a:t>W</a:t>
            </a:r>
            <a:r>
              <a:rPr lang="en-AU" sz="3000" dirty="0">
                <a:latin typeface="Courier New" pitchFamily="49" charset="0"/>
                <a:cs typeface="Courier New" pitchFamily="49" charset="0"/>
              </a:rPr>
              <a:t>SFPAPPDTSVPQU</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solidFill>
                  <a:schemeClr val="tx1"/>
                </a:solidFill>
                <a:effectLst>
                  <a:glow rad="127000">
                    <a:schemeClr val="accent6"/>
                  </a:glow>
                </a:effectLst>
                <a:latin typeface="Courier New" pitchFamily="49" charset="0"/>
                <a:cs typeface="Courier New" pitchFamily="49" charset="0"/>
              </a:rPr>
              <a:t>W</a:t>
            </a:r>
            <a:r>
              <a:rPr lang="en-AU" sz="3000" dirty="0">
                <a:latin typeface="Courier New" pitchFamily="49" charset="0"/>
                <a:cs typeface="Courier New" pitchFamily="49" charset="0"/>
              </a:rPr>
              <a:t>YMXU</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latin typeface="Courier New" pitchFamily="49" charset="0"/>
                <a:cs typeface="Courier New" pitchFamily="49" charset="0"/>
              </a:rPr>
              <a:t>UHSXEPYEPOPD</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latin typeface="Courier New" pitchFamily="49" charset="0"/>
                <a:cs typeface="Courier New" pitchFamily="49" charset="0"/>
              </a:rPr>
              <a:t>S</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latin typeface="Courier New" pitchFamily="49" charset="0"/>
                <a:cs typeface="Courier New" pitchFamily="49" charset="0"/>
              </a:rPr>
              <a:t>UFPOMB</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latin typeface="Courier New" pitchFamily="49" charset="0"/>
                <a:cs typeface="Courier New" pitchFamily="49" charset="0"/>
              </a:rPr>
              <a:t>WPFUP</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latin typeface="Courier New" pitchFamily="49" charset="0"/>
                <a:cs typeface="Courier New" pitchFamily="49" charset="0"/>
              </a:rPr>
              <a:t>HMDJUDTMOHMQ</a:t>
            </a:r>
            <a:endParaRPr lang="en-US" sz="3000" dirty="0">
              <a:latin typeface="Courier New" pitchFamily="49" charset="0"/>
              <a:cs typeface="Courier New" pitchFamily="49" charset="0"/>
            </a:endParaRPr>
          </a:p>
          <a:p>
            <a:pPr marL="345312" lvl="1" indent="-345312">
              <a:buBlip>
                <a:blip r:embed="rId3"/>
              </a:buBlip>
            </a:pPr>
            <a:endParaRPr lang="en-AU" dirty="0">
              <a:gradFill>
                <a:gsLst>
                  <a:gs pos="0">
                    <a:schemeClr val="tx1"/>
                  </a:gs>
                  <a:gs pos="100000">
                    <a:schemeClr val="tx1"/>
                  </a:gs>
                </a:gsLst>
                <a:lin ang="5400000" scaled="0"/>
              </a:gradFill>
            </a:endParaRPr>
          </a:p>
        </p:txBody>
      </p:sp>
      <p:sp>
        <p:nvSpPr>
          <p:cNvPr id="4"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5"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4"/>
              </a:rPr>
              <a:t>www.rapidbbs.cn</a:t>
            </a:r>
            <a:endParaRPr lang="zh-CN" altLang="en-US" sz="1200" b="0">
              <a:latin typeface="Arial" charset="0"/>
              <a:ea typeface="ＭＳ Ｐゴシック" pitchFamily="34" charset="-128"/>
            </a:endParaRPr>
          </a:p>
        </p:txBody>
      </p:sp>
      <p:pic>
        <p:nvPicPr>
          <p:cNvPr id="6" name="Picture 2">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12671279"/>
      </p:ext>
    </p:extLst>
  </p:cSld>
  <p:clrMapOvr>
    <a:masterClrMapping/>
  </p:clrMapOvr>
  <p:transition>
    <p:fade/>
  </p:transition>
  <p:timing>
    <p:tnLst>
      <p:par>
        <p:cTn id="1" dur="indefinite" restart="never" nodeType="tmRoot"/>
      </p:par>
    </p:tnLst>
  </p:timing>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ChangeArrowheads="1"/>
          </p:cNvSpPr>
          <p:nvPr>
            <p:ph type="title"/>
          </p:nvPr>
        </p:nvSpPr>
        <p:spPr>
          <a:xfrm>
            <a:off x="457200" y="205978"/>
            <a:ext cx="8229600" cy="529568"/>
          </a:xfrm>
        </p:spPr>
        <p:txBody>
          <a:bodyPr>
            <a:normAutofit/>
          </a:bodyPr>
          <a:lstStyle/>
          <a:p>
            <a:pPr eaLnBrk="1" hangingPunct="1"/>
            <a:r>
              <a:rPr lang="en-US" dirty="0" smtClean="0"/>
              <a:t>And Again…</a:t>
            </a:r>
            <a:endParaRPr lang="en-AU" dirty="0" smtClean="0"/>
          </a:p>
        </p:txBody>
      </p:sp>
      <p:sp>
        <p:nvSpPr>
          <p:cNvPr id="32771" name="Rectangle 3"/>
          <p:cNvSpPr>
            <a:spLocks noGrp="1" noChangeArrowheads="1"/>
          </p:cNvSpPr>
          <p:nvPr>
            <p:ph type="body" idx="4294967295"/>
          </p:nvPr>
        </p:nvSpPr>
        <p:spPr>
          <a:xfrm>
            <a:off x="398964" y="1543050"/>
            <a:ext cx="7934503" cy="1731336"/>
          </a:xfrm>
          <a:prstGeom prst="rect">
            <a:avLst/>
          </a:prstGeom>
        </p:spPr>
        <p:txBody>
          <a:bodyPr>
            <a:noAutofit/>
          </a:bodyPr>
          <a:lstStyle/>
          <a:p>
            <a:pPr marL="0" lvl="1" indent="0">
              <a:buNone/>
            </a:pPr>
            <a:r>
              <a:rPr lang="en-AU" sz="3000" dirty="0">
                <a:effectLst>
                  <a:glow rad="698500">
                    <a:schemeClr val="accent5">
                      <a:alpha val="40000"/>
                    </a:schemeClr>
                  </a:glow>
                </a:effectLst>
                <a:latin typeface="Courier New" pitchFamily="49" charset="0"/>
                <a:cs typeface="Courier New" pitchFamily="49" charset="0"/>
              </a:rPr>
              <a:t>U</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latin typeface="Courier New" pitchFamily="49" charset="0"/>
                <a:cs typeface="Courier New" pitchFamily="49" charset="0"/>
              </a:rPr>
              <a:t>QSOV</a:t>
            </a:r>
            <a:r>
              <a:rPr lang="en-AU" sz="3000" dirty="0">
                <a:effectLst>
                  <a:glow rad="698500">
                    <a:schemeClr val="accent5">
                      <a:alpha val="40000"/>
                    </a:schemeClr>
                  </a:glow>
                </a:effectLst>
                <a:latin typeface="Courier New" pitchFamily="49" charset="0"/>
                <a:cs typeface="Courier New" pitchFamily="49" charset="0"/>
              </a:rPr>
              <a:t>U</a:t>
            </a:r>
            <a:r>
              <a:rPr lang="en-AU" sz="3000" dirty="0">
                <a:latin typeface="Courier New" pitchFamily="49" charset="0"/>
                <a:cs typeface="Courier New" pitchFamily="49" charset="0"/>
              </a:rPr>
              <a:t>OHXMOPVGPO</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latin typeface="Courier New" pitchFamily="49" charset="0"/>
                <a:cs typeface="Courier New" pitchFamily="49" charset="0"/>
              </a:rPr>
              <a:t>PEVSG</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solidFill>
                  <a:schemeClr val="tx1"/>
                </a:solidFill>
                <a:effectLst>
                  <a:glow rad="127000">
                    <a:schemeClr val="accent6"/>
                  </a:glow>
                </a:effectLst>
                <a:latin typeface="Courier New" pitchFamily="49" charset="0"/>
                <a:cs typeface="Courier New" pitchFamily="49" charset="0"/>
              </a:rPr>
              <a:t>W</a:t>
            </a:r>
            <a:r>
              <a:rPr lang="en-AU" sz="3000" dirty="0">
                <a:latin typeface="Courier New" pitchFamily="49" charset="0"/>
                <a:cs typeface="Courier New" pitchFamily="49" charset="0"/>
              </a:rPr>
              <a:t>S</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latin typeface="Courier New" pitchFamily="49" charset="0"/>
                <a:cs typeface="Courier New" pitchFamily="49" charset="0"/>
              </a:rPr>
              <a:t>OPFPESXUDBMETSXAI</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latin typeface="Courier New" pitchFamily="49" charset="0"/>
                <a:cs typeface="Courier New" pitchFamily="49" charset="0"/>
              </a:rPr>
              <a:t>V</a:t>
            </a:r>
            <a:r>
              <a:rPr lang="en-AU" sz="3000" dirty="0">
                <a:effectLst>
                  <a:glow rad="698500">
                    <a:schemeClr val="accent5">
                      <a:alpha val="40000"/>
                    </a:schemeClr>
                  </a:glow>
                </a:effectLst>
                <a:latin typeface="Courier New" pitchFamily="49" charset="0"/>
                <a:cs typeface="Courier New" pitchFamily="49" charset="0"/>
              </a:rPr>
              <a:t>U</a:t>
            </a:r>
            <a:r>
              <a:rPr lang="en-AU" sz="3000" dirty="0">
                <a:latin typeface="Courier New" pitchFamily="49" charset="0"/>
                <a:cs typeface="Courier New" pitchFamily="49" charset="0"/>
              </a:rPr>
              <a:t>EPH</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latin typeface="Courier New" pitchFamily="49" charset="0"/>
                <a:cs typeface="Courier New" pitchFamily="49" charset="0"/>
              </a:rPr>
              <a:t>HMD</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latin typeface="Courier New" pitchFamily="49" charset="0"/>
                <a:cs typeface="Courier New" pitchFamily="49" charset="0"/>
              </a:rPr>
              <a:t>SH</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latin typeface="Courier New" pitchFamily="49" charset="0"/>
                <a:cs typeface="Courier New" pitchFamily="49" charset="0"/>
              </a:rPr>
              <a:t>O</a:t>
            </a:r>
            <a:r>
              <a:rPr lang="en-AU" sz="3000" dirty="0">
                <a:solidFill>
                  <a:schemeClr val="tx1"/>
                </a:solidFill>
                <a:effectLst>
                  <a:glow rad="127000">
                    <a:schemeClr val="accent6"/>
                  </a:glow>
                </a:effectLst>
                <a:latin typeface="Courier New" pitchFamily="49" charset="0"/>
                <a:cs typeface="Courier New" pitchFamily="49" charset="0"/>
              </a:rPr>
              <a:t>W</a:t>
            </a:r>
            <a:r>
              <a:rPr lang="en-AU" sz="3000" dirty="0">
                <a:latin typeface="Courier New" pitchFamily="49" charset="0"/>
                <a:cs typeface="Courier New" pitchFamily="49" charset="0"/>
              </a:rPr>
              <a:t>SFPAPPDTSVPQ</a:t>
            </a:r>
            <a:r>
              <a:rPr lang="en-AU" sz="3000" dirty="0">
                <a:effectLst>
                  <a:glow rad="698500">
                    <a:schemeClr val="accent5">
                      <a:alpha val="40000"/>
                    </a:schemeClr>
                  </a:glow>
                </a:effectLst>
                <a:latin typeface="Courier New" pitchFamily="49" charset="0"/>
                <a:cs typeface="Courier New" pitchFamily="49" charset="0"/>
              </a:rPr>
              <a:t>U</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solidFill>
                  <a:schemeClr val="tx1"/>
                </a:solidFill>
                <a:effectLst>
                  <a:glow rad="127000">
                    <a:schemeClr val="accent6"/>
                  </a:glow>
                </a:effectLst>
                <a:latin typeface="Courier New" pitchFamily="49" charset="0"/>
                <a:cs typeface="Courier New" pitchFamily="49" charset="0"/>
              </a:rPr>
              <a:t>W</a:t>
            </a:r>
            <a:r>
              <a:rPr lang="en-AU" sz="3000" dirty="0">
                <a:latin typeface="Courier New" pitchFamily="49" charset="0"/>
                <a:cs typeface="Courier New" pitchFamily="49" charset="0"/>
              </a:rPr>
              <a:t>YMX</a:t>
            </a:r>
            <a:r>
              <a:rPr lang="en-AU" sz="3000" dirty="0">
                <a:effectLst>
                  <a:glow rad="698500">
                    <a:schemeClr val="accent5">
                      <a:alpha val="40000"/>
                    </a:schemeClr>
                  </a:glow>
                </a:effectLst>
                <a:latin typeface="Courier New" pitchFamily="49" charset="0"/>
                <a:cs typeface="Courier New" pitchFamily="49" charset="0"/>
              </a:rPr>
              <a:t>U</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effectLst>
                  <a:glow rad="698500">
                    <a:schemeClr val="accent5">
                      <a:alpha val="40000"/>
                    </a:schemeClr>
                  </a:glow>
                </a:effectLst>
                <a:latin typeface="Courier New" pitchFamily="49" charset="0"/>
                <a:cs typeface="Courier New" pitchFamily="49" charset="0"/>
              </a:rPr>
              <a:t>U</a:t>
            </a:r>
            <a:r>
              <a:rPr lang="en-AU" sz="3000" dirty="0">
                <a:latin typeface="Courier New" pitchFamily="49" charset="0"/>
                <a:cs typeface="Courier New" pitchFamily="49" charset="0"/>
              </a:rPr>
              <a:t>HSXEPYEPOPD</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latin typeface="Courier New" pitchFamily="49" charset="0"/>
                <a:cs typeface="Courier New" pitchFamily="49" charset="0"/>
              </a:rPr>
              <a:t>S</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effectLst>
                  <a:glow rad="698500">
                    <a:schemeClr val="accent5">
                      <a:alpha val="40000"/>
                    </a:schemeClr>
                  </a:glow>
                </a:effectLst>
                <a:latin typeface="Courier New" pitchFamily="49" charset="0"/>
                <a:cs typeface="Courier New" pitchFamily="49" charset="0"/>
              </a:rPr>
              <a:t>U</a:t>
            </a:r>
            <a:r>
              <a:rPr lang="en-AU" sz="3000" dirty="0">
                <a:latin typeface="Courier New" pitchFamily="49" charset="0"/>
                <a:cs typeface="Courier New" pitchFamily="49" charset="0"/>
              </a:rPr>
              <a:t>FPOMB</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latin typeface="Courier New" pitchFamily="49" charset="0"/>
                <a:cs typeface="Courier New" pitchFamily="49" charset="0"/>
              </a:rPr>
              <a:t>WPF</a:t>
            </a:r>
            <a:r>
              <a:rPr lang="en-AU" sz="3000" dirty="0">
                <a:effectLst>
                  <a:glow rad="698500">
                    <a:schemeClr val="accent5">
                      <a:alpha val="40000"/>
                    </a:schemeClr>
                  </a:glow>
                </a:effectLst>
                <a:latin typeface="Courier New" pitchFamily="49" charset="0"/>
                <a:cs typeface="Courier New" pitchFamily="49" charset="0"/>
              </a:rPr>
              <a:t>U</a:t>
            </a:r>
            <a:r>
              <a:rPr lang="en-AU" sz="3000" dirty="0">
                <a:latin typeface="Courier New" pitchFamily="49" charset="0"/>
                <a:cs typeface="Courier New" pitchFamily="49" charset="0"/>
              </a:rPr>
              <a:t>P</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latin typeface="Courier New" pitchFamily="49" charset="0"/>
                <a:cs typeface="Courier New" pitchFamily="49" charset="0"/>
              </a:rPr>
              <a:t>HMDJUDTMOHMQ</a:t>
            </a:r>
            <a:endParaRPr lang="en-US" sz="3000" dirty="0">
              <a:latin typeface="Courier New" pitchFamily="49" charset="0"/>
              <a:cs typeface="Courier New" pitchFamily="49" charset="0"/>
            </a:endParaRPr>
          </a:p>
          <a:p>
            <a:pPr marL="345312" lvl="1" indent="-345312">
              <a:buBlip>
                <a:blip r:embed="rId3"/>
              </a:buBlip>
            </a:pPr>
            <a:endParaRPr lang="en-AU" dirty="0">
              <a:gradFill>
                <a:gsLst>
                  <a:gs pos="0">
                    <a:schemeClr val="tx1"/>
                  </a:gs>
                  <a:gs pos="100000">
                    <a:schemeClr val="tx1"/>
                  </a:gs>
                </a:gsLst>
                <a:lin ang="5400000" scaled="0"/>
              </a:gradFill>
            </a:endParaRPr>
          </a:p>
        </p:txBody>
      </p:sp>
      <p:sp>
        <p:nvSpPr>
          <p:cNvPr id="4"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5"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4"/>
              </a:rPr>
              <a:t>www.rapidbbs.cn</a:t>
            </a:r>
            <a:endParaRPr lang="zh-CN" altLang="en-US" sz="1200" b="0">
              <a:latin typeface="Arial" charset="0"/>
              <a:ea typeface="ＭＳ Ｐゴシック" pitchFamily="34" charset="-128"/>
            </a:endParaRPr>
          </a:p>
        </p:txBody>
      </p:sp>
      <p:pic>
        <p:nvPicPr>
          <p:cNvPr id="6" name="Picture 2">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23756100"/>
      </p:ext>
    </p:extLst>
  </p:cSld>
  <p:clrMapOvr>
    <a:masterClrMapping/>
  </p:clrMapOvr>
  <p:transition>
    <p:fade/>
  </p:transition>
  <p:timing>
    <p:tnLst>
      <p:par>
        <p:cTn id="1" dur="indefinite" restart="never" nodeType="tmRoot"/>
      </p:par>
    </p:tnLst>
  </p:timing>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ChangeArrowheads="1"/>
          </p:cNvSpPr>
          <p:nvPr>
            <p:ph type="title"/>
          </p:nvPr>
        </p:nvSpPr>
        <p:spPr>
          <a:xfrm>
            <a:off x="457200" y="205978"/>
            <a:ext cx="8229600" cy="529568"/>
          </a:xfrm>
        </p:spPr>
        <p:txBody>
          <a:bodyPr>
            <a:normAutofit/>
          </a:bodyPr>
          <a:lstStyle/>
          <a:p>
            <a:pPr eaLnBrk="1" hangingPunct="1"/>
            <a:r>
              <a:rPr lang="en-US" dirty="0" smtClean="0"/>
              <a:t>And Again…</a:t>
            </a:r>
            <a:endParaRPr lang="en-AU" dirty="0" smtClean="0"/>
          </a:p>
        </p:txBody>
      </p:sp>
      <p:sp>
        <p:nvSpPr>
          <p:cNvPr id="32771" name="Rectangle 3"/>
          <p:cNvSpPr>
            <a:spLocks noGrp="1" noChangeArrowheads="1"/>
          </p:cNvSpPr>
          <p:nvPr>
            <p:ph type="body" idx="4294967295"/>
          </p:nvPr>
        </p:nvSpPr>
        <p:spPr>
          <a:xfrm>
            <a:off x="398964" y="1543050"/>
            <a:ext cx="7934503" cy="1731336"/>
          </a:xfrm>
          <a:prstGeom prst="rect">
            <a:avLst/>
          </a:prstGeom>
        </p:spPr>
        <p:txBody>
          <a:bodyPr>
            <a:noAutofit/>
          </a:bodyPr>
          <a:lstStyle/>
          <a:p>
            <a:pPr marL="0" lvl="1" indent="0">
              <a:buNone/>
            </a:pPr>
            <a:r>
              <a:rPr lang="en-AU" sz="3000" dirty="0">
                <a:effectLst>
                  <a:glow rad="698500">
                    <a:schemeClr val="accent5">
                      <a:alpha val="40000"/>
                    </a:schemeClr>
                  </a:glow>
                </a:effectLst>
                <a:latin typeface="Courier New" pitchFamily="49" charset="0"/>
                <a:cs typeface="Courier New" pitchFamily="49" charset="0"/>
              </a:rPr>
              <a:t>U</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latin typeface="Courier New" pitchFamily="49" charset="0"/>
                <a:cs typeface="Courier New" pitchFamily="49" charset="0"/>
              </a:rPr>
              <a:t>Q</a:t>
            </a:r>
            <a:r>
              <a:rPr lang="en-AU" sz="3000" dirty="0">
                <a:effectLst>
                  <a:glow rad="152400">
                    <a:srgbClr val="FF0000"/>
                  </a:glow>
                </a:effectLst>
                <a:latin typeface="Courier New" pitchFamily="49" charset="0"/>
                <a:cs typeface="Courier New" pitchFamily="49" charset="0"/>
              </a:rPr>
              <a:t>S</a:t>
            </a:r>
            <a:r>
              <a:rPr lang="en-AU" sz="3000" dirty="0">
                <a:latin typeface="Courier New" pitchFamily="49" charset="0"/>
                <a:cs typeface="Courier New" pitchFamily="49" charset="0"/>
              </a:rPr>
              <a:t>OV</a:t>
            </a:r>
            <a:r>
              <a:rPr lang="en-AU" sz="3000" dirty="0">
                <a:effectLst>
                  <a:glow rad="698500">
                    <a:schemeClr val="accent5">
                      <a:alpha val="40000"/>
                    </a:schemeClr>
                  </a:glow>
                </a:effectLst>
                <a:latin typeface="Courier New" pitchFamily="49" charset="0"/>
                <a:cs typeface="Courier New" pitchFamily="49" charset="0"/>
              </a:rPr>
              <a:t>U</a:t>
            </a:r>
            <a:r>
              <a:rPr lang="en-AU" sz="3000" dirty="0">
                <a:latin typeface="Courier New" pitchFamily="49" charset="0"/>
                <a:cs typeface="Courier New" pitchFamily="49" charset="0"/>
              </a:rPr>
              <a:t>OHXMOPVGPO</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latin typeface="Courier New" pitchFamily="49" charset="0"/>
                <a:cs typeface="Courier New" pitchFamily="49" charset="0"/>
              </a:rPr>
              <a:t>PEV</a:t>
            </a:r>
            <a:r>
              <a:rPr lang="en-AU" sz="3000" dirty="0">
                <a:effectLst>
                  <a:glow rad="152400">
                    <a:srgbClr val="FF0000"/>
                  </a:glow>
                </a:effectLst>
                <a:latin typeface="Courier New" pitchFamily="49" charset="0"/>
                <a:cs typeface="Courier New" pitchFamily="49" charset="0"/>
              </a:rPr>
              <a:t>S</a:t>
            </a:r>
            <a:r>
              <a:rPr lang="en-AU" sz="3000" dirty="0">
                <a:latin typeface="Courier New" pitchFamily="49" charset="0"/>
                <a:cs typeface="Courier New" pitchFamily="49" charset="0"/>
              </a:rPr>
              <a:t>G</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solidFill>
                  <a:schemeClr val="tx1"/>
                </a:solidFill>
                <a:effectLst>
                  <a:glow rad="127000">
                    <a:schemeClr val="accent6"/>
                  </a:glow>
                </a:effectLst>
                <a:latin typeface="Courier New" pitchFamily="49" charset="0"/>
                <a:cs typeface="Courier New" pitchFamily="49" charset="0"/>
              </a:rPr>
              <a:t>W</a:t>
            </a:r>
            <a:r>
              <a:rPr lang="en-AU" sz="3000" dirty="0">
                <a:effectLst>
                  <a:glow rad="152400">
                    <a:srgbClr val="FF0000"/>
                  </a:glow>
                </a:effectLst>
                <a:latin typeface="Courier New" pitchFamily="49" charset="0"/>
                <a:cs typeface="Courier New" pitchFamily="49" charset="0"/>
              </a:rPr>
              <a:t>S</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latin typeface="Courier New" pitchFamily="49" charset="0"/>
                <a:cs typeface="Courier New" pitchFamily="49" charset="0"/>
              </a:rPr>
              <a:t>OPFPE</a:t>
            </a:r>
            <a:r>
              <a:rPr lang="en-AU" sz="3000" dirty="0">
                <a:effectLst>
                  <a:glow rad="152400">
                    <a:srgbClr val="FF0000"/>
                  </a:glow>
                </a:effectLst>
                <a:latin typeface="Courier New" pitchFamily="49" charset="0"/>
                <a:cs typeface="Courier New" pitchFamily="49" charset="0"/>
              </a:rPr>
              <a:t>S</a:t>
            </a:r>
            <a:r>
              <a:rPr lang="en-AU" sz="3000" dirty="0">
                <a:latin typeface="Courier New" pitchFamily="49" charset="0"/>
                <a:cs typeface="Courier New" pitchFamily="49" charset="0"/>
              </a:rPr>
              <a:t>XUDBMET</a:t>
            </a:r>
            <a:r>
              <a:rPr lang="en-AU" sz="3000" dirty="0">
                <a:effectLst>
                  <a:glow rad="152400">
                    <a:srgbClr val="FF0000"/>
                  </a:glow>
                </a:effectLst>
                <a:latin typeface="Courier New" pitchFamily="49" charset="0"/>
                <a:cs typeface="Courier New" pitchFamily="49" charset="0"/>
              </a:rPr>
              <a:t>S</a:t>
            </a:r>
            <a:r>
              <a:rPr lang="en-AU" sz="3000" dirty="0">
                <a:latin typeface="Courier New" pitchFamily="49" charset="0"/>
                <a:cs typeface="Courier New" pitchFamily="49" charset="0"/>
              </a:rPr>
              <a:t>XAI</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latin typeface="Courier New" pitchFamily="49" charset="0"/>
                <a:cs typeface="Courier New" pitchFamily="49" charset="0"/>
              </a:rPr>
              <a:t>V</a:t>
            </a:r>
            <a:r>
              <a:rPr lang="en-AU" sz="3000" dirty="0">
                <a:effectLst>
                  <a:glow rad="698500">
                    <a:schemeClr val="accent5">
                      <a:alpha val="40000"/>
                    </a:schemeClr>
                  </a:glow>
                </a:effectLst>
                <a:latin typeface="Courier New" pitchFamily="49" charset="0"/>
                <a:cs typeface="Courier New" pitchFamily="49" charset="0"/>
              </a:rPr>
              <a:t>U</a:t>
            </a:r>
            <a:r>
              <a:rPr lang="en-AU" sz="3000" dirty="0">
                <a:latin typeface="Courier New" pitchFamily="49" charset="0"/>
                <a:cs typeface="Courier New" pitchFamily="49" charset="0"/>
              </a:rPr>
              <a:t>EPH</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latin typeface="Courier New" pitchFamily="49" charset="0"/>
                <a:cs typeface="Courier New" pitchFamily="49" charset="0"/>
              </a:rPr>
              <a:t>HMD</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effectLst>
                  <a:glow rad="152400">
                    <a:srgbClr val="FF0000"/>
                  </a:glow>
                </a:effectLst>
                <a:latin typeface="Courier New" pitchFamily="49" charset="0"/>
                <a:cs typeface="Courier New" pitchFamily="49" charset="0"/>
              </a:rPr>
              <a:t>S</a:t>
            </a:r>
            <a:r>
              <a:rPr lang="en-AU" sz="3000" dirty="0">
                <a:latin typeface="Courier New" pitchFamily="49" charset="0"/>
                <a:cs typeface="Courier New" pitchFamily="49" charset="0"/>
              </a:rPr>
              <a:t>H</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latin typeface="Courier New" pitchFamily="49" charset="0"/>
                <a:cs typeface="Courier New" pitchFamily="49" charset="0"/>
              </a:rPr>
              <a:t>O</a:t>
            </a:r>
            <a:r>
              <a:rPr lang="en-AU" sz="3000" dirty="0">
                <a:solidFill>
                  <a:schemeClr val="tx1"/>
                </a:solidFill>
                <a:effectLst>
                  <a:glow rad="127000">
                    <a:schemeClr val="accent6"/>
                  </a:glow>
                </a:effectLst>
                <a:latin typeface="Courier New" pitchFamily="49" charset="0"/>
                <a:cs typeface="Courier New" pitchFamily="49" charset="0"/>
              </a:rPr>
              <a:t>W</a:t>
            </a:r>
            <a:r>
              <a:rPr lang="en-AU" sz="3000" dirty="0">
                <a:effectLst>
                  <a:glow rad="152400">
                    <a:srgbClr val="FF0000"/>
                  </a:glow>
                </a:effectLst>
                <a:latin typeface="Courier New" pitchFamily="49" charset="0"/>
                <a:cs typeface="Courier New" pitchFamily="49" charset="0"/>
              </a:rPr>
              <a:t>S</a:t>
            </a:r>
            <a:r>
              <a:rPr lang="en-AU" sz="3000" dirty="0">
                <a:latin typeface="Courier New" pitchFamily="49" charset="0"/>
                <a:cs typeface="Courier New" pitchFamily="49" charset="0"/>
              </a:rPr>
              <a:t>FPAPPDT</a:t>
            </a:r>
            <a:r>
              <a:rPr lang="en-AU" sz="3000" dirty="0">
                <a:effectLst>
                  <a:glow rad="152400">
                    <a:srgbClr val="FF0000"/>
                  </a:glow>
                </a:effectLst>
                <a:latin typeface="Courier New" pitchFamily="49" charset="0"/>
                <a:cs typeface="Courier New" pitchFamily="49" charset="0"/>
              </a:rPr>
              <a:t>S</a:t>
            </a:r>
            <a:r>
              <a:rPr lang="en-AU" sz="3000" dirty="0">
                <a:latin typeface="Courier New" pitchFamily="49" charset="0"/>
                <a:cs typeface="Courier New" pitchFamily="49" charset="0"/>
              </a:rPr>
              <a:t>VPQ</a:t>
            </a:r>
            <a:r>
              <a:rPr lang="en-AU" sz="3000" dirty="0">
                <a:effectLst>
                  <a:glow rad="698500">
                    <a:schemeClr val="accent5">
                      <a:alpha val="40000"/>
                    </a:schemeClr>
                  </a:glow>
                </a:effectLst>
                <a:latin typeface="Courier New" pitchFamily="49" charset="0"/>
                <a:cs typeface="Courier New" pitchFamily="49" charset="0"/>
              </a:rPr>
              <a:t>U</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solidFill>
                  <a:schemeClr val="tx1"/>
                </a:solidFill>
                <a:effectLst>
                  <a:glow rad="127000">
                    <a:schemeClr val="accent6"/>
                  </a:glow>
                </a:effectLst>
                <a:latin typeface="Courier New" pitchFamily="49" charset="0"/>
                <a:cs typeface="Courier New" pitchFamily="49" charset="0"/>
              </a:rPr>
              <a:t>W</a:t>
            </a:r>
            <a:r>
              <a:rPr lang="en-AU" sz="3000" dirty="0">
                <a:latin typeface="Courier New" pitchFamily="49" charset="0"/>
                <a:cs typeface="Courier New" pitchFamily="49" charset="0"/>
              </a:rPr>
              <a:t>YMX</a:t>
            </a:r>
            <a:r>
              <a:rPr lang="en-AU" sz="3000" dirty="0">
                <a:effectLst>
                  <a:glow rad="698500">
                    <a:schemeClr val="accent5">
                      <a:alpha val="40000"/>
                    </a:schemeClr>
                  </a:glow>
                </a:effectLst>
                <a:latin typeface="Courier New" pitchFamily="49" charset="0"/>
                <a:cs typeface="Courier New" pitchFamily="49" charset="0"/>
              </a:rPr>
              <a:t>U</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effectLst>
                  <a:glow rad="698500">
                    <a:schemeClr val="accent5">
                      <a:alpha val="40000"/>
                    </a:schemeClr>
                  </a:glow>
                </a:effectLst>
                <a:latin typeface="Courier New" pitchFamily="49" charset="0"/>
                <a:cs typeface="Courier New" pitchFamily="49" charset="0"/>
              </a:rPr>
              <a:t>U</a:t>
            </a:r>
            <a:r>
              <a:rPr lang="en-AU" sz="3000" dirty="0">
                <a:latin typeface="Courier New" pitchFamily="49" charset="0"/>
                <a:cs typeface="Courier New" pitchFamily="49" charset="0"/>
              </a:rPr>
              <a:t>H</a:t>
            </a:r>
            <a:r>
              <a:rPr lang="en-AU" sz="3000" dirty="0">
                <a:effectLst>
                  <a:glow rad="152400">
                    <a:srgbClr val="FF0000"/>
                  </a:glow>
                </a:effectLst>
                <a:latin typeface="Courier New" pitchFamily="49" charset="0"/>
                <a:cs typeface="Courier New" pitchFamily="49" charset="0"/>
              </a:rPr>
              <a:t>S</a:t>
            </a:r>
            <a:r>
              <a:rPr lang="en-AU" sz="3000" dirty="0">
                <a:latin typeface="Courier New" pitchFamily="49" charset="0"/>
                <a:cs typeface="Courier New" pitchFamily="49" charset="0"/>
              </a:rPr>
              <a:t>XEPYEPOPD</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effectLst>
                  <a:glow rad="152400">
                    <a:srgbClr val="FF0000"/>
                  </a:glow>
                </a:effectLst>
                <a:latin typeface="Courier New" pitchFamily="49" charset="0"/>
                <a:cs typeface="Courier New" pitchFamily="49" charset="0"/>
              </a:rPr>
              <a:t>S</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effectLst>
                  <a:glow rad="698500">
                    <a:schemeClr val="accent5">
                      <a:alpha val="40000"/>
                    </a:schemeClr>
                  </a:glow>
                </a:effectLst>
                <a:latin typeface="Courier New" pitchFamily="49" charset="0"/>
                <a:cs typeface="Courier New" pitchFamily="49" charset="0"/>
              </a:rPr>
              <a:t>U</a:t>
            </a:r>
            <a:r>
              <a:rPr lang="en-AU" sz="3000" dirty="0">
                <a:latin typeface="Courier New" pitchFamily="49" charset="0"/>
                <a:cs typeface="Courier New" pitchFamily="49" charset="0"/>
              </a:rPr>
              <a:t>FPOMB</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latin typeface="Courier New" pitchFamily="49" charset="0"/>
                <a:cs typeface="Courier New" pitchFamily="49" charset="0"/>
              </a:rPr>
              <a:t>WPF</a:t>
            </a:r>
            <a:r>
              <a:rPr lang="en-AU" sz="3000" dirty="0">
                <a:effectLst>
                  <a:glow rad="698500">
                    <a:schemeClr val="accent5">
                      <a:alpha val="40000"/>
                    </a:schemeClr>
                  </a:glow>
                </a:effectLst>
                <a:latin typeface="Courier New" pitchFamily="49" charset="0"/>
                <a:cs typeface="Courier New" pitchFamily="49" charset="0"/>
              </a:rPr>
              <a:t>U</a:t>
            </a:r>
            <a:r>
              <a:rPr lang="en-AU" sz="3000" dirty="0">
                <a:latin typeface="Courier New" pitchFamily="49" charset="0"/>
                <a:cs typeface="Courier New" pitchFamily="49" charset="0"/>
              </a:rPr>
              <a:t>P</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latin typeface="Courier New" pitchFamily="49" charset="0"/>
                <a:cs typeface="Courier New" pitchFamily="49" charset="0"/>
              </a:rPr>
              <a:t>HMDJUDTMOHMQ</a:t>
            </a:r>
            <a:endParaRPr lang="en-US" sz="3000" dirty="0">
              <a:latin typeface="Courier New" pitchFamily="49" charset="0"/>
              <a:cs typeface="Courier New" pitchFamily="49" charset="0"/>
            </a:endParaRPr>
          </a:p>
          <a:p>
            <a:pPr marL="345312" lvl="1" indent="-345312">
              <a:buBlip>
                <a:blip r:embed="rId3"/>
              </a:buBlip>
            </a:pPr>
            <a:endParaRPr lang="en-AU" dirty="0">
              <a:gradFill>
                <a:gsLst>
                  <a:gs pos="0">
                    <a:schemeClr val="tx1"/>
                  </a:gs>
                  <a:gs pos="100000">
                    <a:schemeClr val="tx1"/>
                  </a:gs>
                </a:gsLst>
                <a:lin ang="5400000" scaled="0"/>
              </a:gradFill>
            </a:endParaRPr>
          </a:p>
        </p:txBody>
      </p:sp>
      <p:sp>
        <p:nvSpPr>
          <p:cNvPr id="4"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5"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4"/>
              </a:rPr>
              <a:t>www.rapidbbs.cn</a:t>
            </a:r>
            <a:endParaRPr lang="zh-CN" altLang="en-US" sz="1200" b="0">
              <a:latin typeface="Arial" charset="0"/>
              <a:ea typeface="ＭＳ Ｐゴシック" pitchFamily="34" charset="-128"/>
            </a:endParaRPr>
          </a:p>
        </p:txBody>
      </p:sp>
      <p:pic>
        <p:nvPicPr>
          <p:cNvPr id="6" name="Picture 2">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86489038"/>
      </p:ext>
    </p:extLst>
  </p:cSld>
  <p:clrMapOvr>
    <a:masterClrMapping/>
  </p:clrMapOvr>
  <p:transition>
    <p:fade/>
  </p:transition>
  <p:timing>
    <p:tnLst>
      <p:par>
        <p:cTn id="1" dur="indefinite" restart="never" nodeType="tmRoot"/>
      </p:par>
    </p:tnLst>
  </p:timing>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ChangeArrowheads="1"/>
          </p:cNvSpPr>
          <p:nvPr>
            <p:ph type="title"/>
          </p:nvPr>
        </p:nvSpPr>
        <p:spPr>
          <a:xfrm>
            <a:off x="457200" y="205978"/>
            <a:ext cx="8229600" cy="529568"/>
          </a:xfrm>
        </p:spPr>
        <p:txBody>
          <a:bodyPr>
            <a:normAutofit/>
          </a:bodyPr>
          <a:lstStyle/>
          <a:p>
            <a:pPr eaLnBrk="1" hangingPunct="1"/>
            <a:r>
              <a:rPr lang="en-US" dirty="0" smtClean="0"/>
              <a:t>And Again…</a:t>
            </a:r>
            <a:endParaRPr lang="en-AU" dirty="0" smtClean="0"/>
          </a:p>
        </p:txBody>
      </p:sp>
      <p:sp>
        <p:nvSpPr>
          <p:cNvPr id="32771" name="Rectangle 3"/>
          <p:cNvSpPr>
            <a:spLocks noGrp="1" noChangeArrowheads="1"/>
          </p:cNvSpPr>
          <p:nvPr>
            <p:ph type="body" idx="4294967295"/>
          </p:nvPr>
        </p:nvSpPr>
        <p:spPr>
          <a:xfrm>
            <a:off x="398964" y="1543050"/>
            <a:ext cx="7934503" cy="1731336"/>
          </a:xfrm>
          <a:prstGeom prst="rect">
            <a:avLst/>
          </a:prstGeom>
        </p:spPr>
        <p:txBody>
          <a:bodyPr>
            <a:noAutofit/>
          </a:bodyPr>
          <a:lstStyle/>
          <a:p>
            <a:pPr marL="0" lvl="1" indent="0">
              <a:buNone/>
            </a:pPr>
            <a:r>
              <a:rPr lang="en-AU" sz="3000" dirty="0">
                <a:effectLst>
                  <a:glow rad="698500">
                    <a:schemeClr val="accent5">
                      <a:alpha val="40000"/>
                    </a:schemeClr>
                  </a:glow>
                </a:effectLst>
                <a:latin typeface="Courier New" pitchFamily="49" charset="0"/>
                <a:cs typeface="Courier New" pitchFamily="49" charset="0"/>
              </a:rPr>
              <a:t>U</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latin typeface="Courier New" pitchFamily="49" charset="0"/>
                <a:cs typeface="Courier New" pitchFamily="49" charset="0"/>
              </a:rPr>
              <a:t>Q</a:t>
            </a:r>
            <a:r>
              <a:rPr lang="en-AU" sz="3000" dirty="0">
                <a:effectLst>
                  <a:glow rad="152400">
                    <a:srgbClr val="FF0000"/>
                  </a:glow>
                </a:effectLst>
                <a:latin typeface="Courier New" pitchFamily="49" charset="0"/>
                <a:cs typeface="Courier New" pitchFamily="49" charset="0"/>
              </a:rPr>
              <a:t>S</a:t>
            </a:r>
            <a:r>
              <a:rPr lang="en-AU" sz="3000" dirty="0">
                <a:effectLst>
                  <a:glow rad="419100">
                    <a:schemeClr val="accent3"/>
                  </a:glow>
                </a:effectLst>
                <a:latin typeface="Courier New" pitchFamily="49" charset="0"/>
                <a:cs typeface="Courier New" pitchFamily="49" charset="0"/>
              </a:rPr>
              <a:t>O</a:t>
            </a:r>
            <a:r>
              <a:rPr lang="en-AU" sz="3000" dirty="0">
                <a:latin typeface="Courier New" pitchFamily="49" charset="0"/>
                <a:cs typeface="Courier New" pitchFamily="49" charset="0"/>
              </a:rPr>
              <a:t>V</a:t>
            </a:r>
            <a:r>
              <a:rPr lang="en-AU" sz="3000" dirty="0">
                <a:effectLst>
                  <a:glow rad="698500">
                    <a:schemeClr val="accent5">
                      <a:alpha val="40000"/>
                    </a:schemeClr>
                  </a:glow>
                </a:effectLst>
                <a:latin typeface="Courier New" pitchFamily="49" charset="0"/>
                <a:cs typeface="Courier New" pitchFamily="49" charset="0"/>
              </a:rPr>
              <a:t>U</a:t>
            </a:r>
            <a:r>
              <a:rPr lang="en-AU" sz="3000" dirty="0">
                <a:effectLst>
                  <a:glow rad="419100">
                    <a:schemeClr val="accent3"/>
                  </a:glow>
                </a:effectLst>
                <a:latin typeface="Courier New" pitchFamily="49" charset="0"/>
                <a:cs typeface="Courier New" pitchFamily="49" charset="0"/>
              </a:rPr>
              <a:t>O</a:t>
            </a:r>
            <a:r>
              <a:rPr lang="en-AU" sz="3000" dirty="0">
                <a:latin typeface="Courier New" pitchFamily="49" charset="0"/>
                <a:cs typeface="Courier New" pitchFamily="49" charset="0"/>
              </a:rPr>
              <a:t>HXM</a:t>
            </a:r>
            <a:r>
              <a:rPr lang="en-AU" sz="3000" dirty="0">
                <a:effectLst>
                  <a:glow rad="419100">
                    <a:schemeClr val="accent3"/>
                  </a:glow>
                </a:effectLst>
                <a:latin typeface="Courier New" pitchFamily="49" charset="0"/>
                <a:cs typeface="Courier New" pitchFamily="49" charset="0"/>
              </a:rPr>
              <a:t>O</a:t>
            </a:r>
            <a:r>
              <a:rPr lang="en-AU" sz="3000" dirty="0">
                <a:latin typeface="Courier New" pitchFamily="49" charset="0"/>
                <a:cs typeface="Courier New" pitchFamily="49" charset="0"/>
              </a:rPr>
              <a:t>PVGP</a:t>
            </a:r>
            <a:r>
              <a:rPr lang="en-AU" sz="3000" dirty="0">
                <a:effectLst>
                  <a:glow rad="419100">
                    <a:schemeClr val="accent3"/>
                  </a:glow>
                </a:effectLst>
                <a:latin typeface="Courier New" pitchFamily="49" charset="0"/>
                <a:cs typeface="Courier New" pitchFamily="49" charset="0"/>
              </a:rPr>
              <a:t>O</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latin typeface="Courier New" pitchFamily="49" charset="0"/>
                <a:cs typeface="Courier New" pitchFamily="49" charset="0"/>
              </a:rPr>
              <a:t>PEV</a:t>
            </a:r>
            <a:r>
              <a:rPr lang="en-AU" sz="3000" dirty="0">
                <a:effectLst>
                  <a:glow rad="152400">
                    <a:srgbClr val="FF0000"/>
                  </a:glow>
                </a:effectLst>
                <a:latin typeface="Courier New" pitchFamily="49" charset="0"/>
                <a:cs typeface="Courier New" pitchFamily="49" charset="0"/>
              </a:rPr>
              <a:t>S</a:t>
            </a:r>
            <a:r>
              <a:rPr lang="en-AU" sz="3000" dirty="0">
                <a:latin typeface="Courier New" pitchFamily="49" charset="0"/>
                <a:cs typeface="Courier New" pitchFamily="49" charset="0"/>
              </a:rPr>
              <a:t>G</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solidFill>
                  <a:schemeClr val="tx1"/>
                </a:solidFill>
                <a:effectLst>
                  <a:glow rad="127000">
                    <a:schemeClr val="accent6"/>
                  </a:glow>
                </a:effectLst>
                <a:latin typeface="Courier New" pitchFamily="49" charset="0"/>
                <a:cs typeface="Courier New" pitchFamily="49" charset="0"/>
              </a:rPr>
              <a:t>W</a:t>
            </a:r>
            <a:r>
              <a:rPr lang="en-AU" sz="3000" dirty="0">
                <a:effectLst>
                  <a:glow rad="152400">
                    <a:srgbClr val="FF0000"/>
                  </a:glow>
                </a:effectLst>
                <a:latin typeface="Courier New" pitchFamily="49" charset="0"/>
                <a:cs typeface="Courier New" pitchFamily="49" charset="0"/>
              </a:rPr>
              <a:t>S</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effectLst>
                  <a:glow rad="419100">
                    <a:schemeClr val="accent3"/>
                  </a:glow>
                </a:effectLst>
                <a:latin typeface="Courier New" pitchFamily="49" charset="0"/>
                <a:cs typeface="Courier New" pitchFamily="49" charset="0"/>
              </a:rPr>
              <a:t>O</a:t>
            </a:r>
            <a:r>
              <a:rPr lang="en-AU" sz="3000" dirty="0">
                <a:latin typeface="Courier New" pitchFamily="49" charset="0"/>
                <a:cs typeface="Courier New" pitchFamily="49" charset="0"/>
              </a:rPr>
              <a:t>PFPE</a:t>
            </a:r>
            <a:r>
              <a:rPr lang="en-AU" sz="3000" dirty="0">
                <a:effectLst>
                  <a:glow rad="152400">
                    <a:srgbClr val="FF0000"/>
                  </a:glow>
                </a:effectLst>
                <a:latin typeface="Courier New" pitchFamily="49" charset="0"/>
                <a:cs typeface="Courier New" pitchFamily="49" charset="0"/>
              </a:rPr>
              <a:t>S</a:t>
            </a:r>
            <a:r>
              <a:rPr lang="en-AU" sz="3000" dirty="0">
                <a:latin typeface="Courier New" pitchFamily="49" charset="0"/>
                <a:cs typeface="Courier New" pitchFamily="49" charset="0"/>
              </a:rPr>
              <a:t>XUDBMET</a:t>
            </a:r>
            <a:r>
              <a:rPr lang="en-AU" sz="3000" dirty="0">
                <a:effectLst>
                  <a:glow rad="152400">
                    <a:srgbClr val="FF0000"/>
                  </a:glow>
                </a:effectLst>
                <a:latin typeface="Courier New" pitchFamily="49" charset="0"/>
                <a:cs typeface="Courier New" pitchFamily="49" charset="0"/>
              </a:rPr>
              <a:t>S</a:t>
            </a:r>
            <a:r>
              <a:rPr lang="en-AU" sz="3000" dirty="0">
                <a:latin typeface="Courier New" pitchFamily="49" charset="0"/>
                <a:cs typeface="Courier New" pitchFamily="49" charset="0"/>
              </a:rPr>
              <a:t>XAI</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latin typeface="Courier New" pitchFamily="49" charset="0"/>
                <a:cs typeface="Courier New" pitchFamily="49" charset="0"/>
              </a:rPr>
              <a:t>V</a:t>
            </a:r>
            <a:r>
              <a:rPr lang="en-AU" sz="3000" dirty="0">
                <a:effectLst>
                  <a:glow rad="698500">
                    <a:schemeClr val="accent5">
                      <a:alpha val="40000"/>
                    </a:schemeClr>
                  </a:glow>
                </a:effectLst>
                <a:latin typeface="Courier New" pitchFamily="49" charset="0"/>
                <a:cs typeface="Courier New" pitchFamily="49" charset="0"/>
              </a:rPr>
              <a:t>U</a:t>
            </a:r>
            <a:r>
              <a:rPr lang="en-AU" sz="3000" dirty="0">
                <a:latin typeface="Courier New" pitchFamily="49" charset="0"/>
                <a:cs typeface="Courier New" pitchFamily="49" charset="0"/>
              </a:rPr>
              <a:t>EPH</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latin typeface="Courier New" pitchFamily="49" charset="0"/>
                <a:cs typeface="Courier New" pitchFamily="49" charset="0"/>
              </a:rPr>
              <a:t>HMD</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effectLst>
                  <a:glow rad="152400">
                    <a:srgbClr val="FF0000"/>
                  </a:glow>
                </a:effectLst>
                <a:latin typeface="Courier New" pitchFamily="49" charset="0"/>
                <a:cs typeface="Courier New" pitchFamily="49" charset="0"/>
              </a:rPr>
              <a:t>S</a:t>
            </a:r>
            <a:r>
              <a:rPr lang="en-AU" sz="3000" dirty="0">
                <a:latin typeface="Courier New" pitchFamily="49" charset="0"/>
                <a:cs typeface="Courier New" pitchFamily="49" charset="0"/>
              </a:rPr>
              <a:t>H</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effectLst>
                  <a:glow rad="419100">
                    <a:schemeClr val="accent3"/>
                  </a:glow>
                </a:effectLst>
                <a:latin typeface="Courier New" pitchFamily="49" charset="0"/>
                <a:cs typeface="Courier New" pitchFamily="49" charset="0"/>
              </a:rPr>
              <a:t>O</a:t>
            </a:r>
            <a:r>
              <a:rPr lang="en-AU" sz="3000" dirty="0">
                <a:solidFill>
                  <a:schemeClr val="tx1"/>
                </a:solidFill>
                <a:effectLst>
                  <a:glow rad="127000">
                    <a:schemeClr val="accent6"/>
                  </a:glow>
                </a:effectLst>
                <a:latin typeface="Courier New" pitchFamily="49" charset="0"/>
                <a:cs typeface="Courier New" pitchFamily="49" charset="0"/>
              </a:rPr>
              <a:t>W</a:t>
            </a:r>
            <a:r>
              <a:rPr lang="en-AU" sz="3000" dirty="0">
                <a:effectLst>
                  <a:glow rad="152400">
                    <a:srgbClr val="FF0000"/>
                  </a:glow>
                </a:effectLst>
                <a:latin typeface="Courier New" pitchFamily="49" charset="0"/>
                <a:cs typeface="Courier New" pitchFamily="49" charset="0"/>
              </a:rPr>
              <a:t>S</a:t>
            </a:r>
            <a:r>
              <a:rPr lang="en-AU" sz="3000" dirty="0">
                <a:latin typeface="Courier New" pitchFamily="49" charset="0"/>
                <a:cs typeface="Courier New" pitchFamily="49" charset="0"/>
              </a:rPr>
              <a:t>FPAPPDT</a:t>
            </a:r>
            <a:r>
              <a:rPr lang="en-AU" sz="3000" dirty="0">
                <a:effectLst>
                  <a:glow rad="152400">
                    <a:srgbClr val="FF0000"/>
                  </a:glow>
                </a:effectLst>
                <a:latin typeface="Courier New" pitchFamily="49" charset="0"/>
                <a:cs typeface="Courier New" pitchFamily="49" charset="0"/>
              </a:rPr>
              <a:t>S</a:t>
            </a:r>
            <a:r>
              <a:rPr lang="en-AU" sz="3000" dirty="0">
                <a:latin typeface="Courier New" pitchFamily="49" charset="0"/>
                <a:cs typeface="Courier New" pitchFamily="49" charset="0"/>
              </a:rPr>
              <a:t>VPQ</a:t>
            </a:r>
            <a:r>
              <a:rPr lang="en-AU" sz="3000" dirty="0">
                <a:effectLst>
                  <a:glow rad="698500">
                    <a:schemeClr val="accent5">
                      <a:alpha val="40000"/>
                    </a:schemeClr>
                  </a:glow>
                </a:effectLst>
                <a:latin typeface="Courier New" pitchFamily="49" charset="0"/>
                <a:cs typeface="Courier New" pitchFamily="49" charset="0"/>
              </a:rPr>
              <a:t>U</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solidFill>
                  <a:schemeClr val="tx1"/>
                </a:solidFill>
                <a:effectLst>
                  <a:glow rad="127000">
                    <a:schemeClr val="accent6"/>
                  </a:glow>
                </a:effectLst>
                <a:latin typeface="Courier New" pitchFamily="49" charset="0"/>
                <a:cs typeface="Courier New" pitchFamily="49" charset="0"/>
              </a:rPr>
              <a:t>W</a:t>
            </a:r>
            <a:r>
              <a:rPr lang="en-AU" sz="3000" dirty="0">
                <a:latin typeface="Courier New" pitchFamily="49" charset="0"/>
                <a:cs typeface="Courier New" pitchFamily="49" charset="0"/>
              </a:rPr>
              <a:t>YMX</a:t>
            </a:r>
            <a:r>
              <a:rPr lang="en-AU" sz="3000" dirty="0">
                <a:effectLst>
                  <a:glow rad="698500">
                    <a:schemeClr val="accent5">
                      <a:alpha val="40000"/>
                    </a:schemeClr>
                  </a:glow>
                </a:effectLst>
                <a:latin typeface="Courier New" pitchFamily="49" charset="0"/>
                <a:cs typeface="Courier New" pitchFamily="49" charset="0"/>
              </a:rPr>
              <a:t>U</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effectLst>
                  <a:glow rad="698500">
                    <a:schemeClr val="accent5">
                      <a:alpha val="40000"/>
                    </a:schemeClr>
                  </a:glow>
                </a:effectLst>
                <a:latin typeface="Courier New" pitchFamily="49" charset="0"/>
                <a:cs typeface="Courier New" pitchFamily="49" charset="0"/>
              </a:rPr>
              <a:t>U</a:t>
            </a:r>
            <a:r>
              <a:rPr lang="en-AU" sz="3000" dirty="0">
                <a:latin typeface="Courier New" pitchFamily="49" charset="0"/>
                <a:cs typeface="Courier New" pitchFamily="49" charset="0"/>
              </a:rPr>
              <a:t>H</a:t>
            </a:r>
            <a:r>
              <a:rPr lang="en-AU" sz="3000" dirty="0">
                <a:effectLst>
                  <a:glow rad="152400">
                    <a:srgbClr val="FF0000"/>
                  </a:glow>
                </a:effectLst>
                <a:latin typeface="Courier New" pitchFamily="49" charset="0"/>
                <a:cs typeface="Courier New" pitchFamily="49" charset="0"/>
              </a:rPr>
              <a:t>S</a:t>
            </a:r>
            <a:r>
              <a:rPr lang="en-AU" sz="3000" dirty="0">
                <a:latin typeface="Courier New" pitchFamily="49" charset="0"/>
                <a:cs typeface="Courier New" pitchFamily="49" charset="0"/>
              </a:rPr>
              <a:t>XEPYEP</a:t>
            </a:r>
            <a:r>
              <a:rPr lang="en-AU" sz="3000" dirty="0">
                <a:effectLst>
                  <a:glow rad="419100">
                    <a:schemeClr val="accent3"/>
                  </a:glow>
                </a:effectLst>
                <a:latin typeface="Courier New" pitchFamily="49" charset="0"/>
                <a:cs typeface="Courier New" pitchFamily="49" charset="0"/>
              </a:rPr>
              <a:t>O</a:t>
            </a:r>
            <a:r>
              <a:rPr lang="en-AU" sz="3000" dirty="0">
                <a:latin typeface="Courier New" pitchFamily="49" charset="0"/>
                <a:cs typeface="Courier New" pitchFamily="49" charset="0"/>
              </a:rPr>
              <a:t>PD</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effectLst>
                  <a:glow rad="152400">
                    <a:srgbClr val="FF0000"/>
                  </a:glow>
                </a:effectLst>
                <a:latin typeface="Courier New" pitchFamily="49" charset="0"/>
                <a:cs typeface="Courier New" pitchFamily="49" charset="0"/>
              </a:rPr>
              <a:t>S</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effectLst>
                  <a:glow rad="698500">
                    <a:schemeClr val="accent5">
                      <a:alpha val="40000"/>
                    </a:schemeClr>
                  </a:glow>
                </a:effectLst>
                <a:latin typeface="Courier New" pitchFamily="49" charset="0"/>
                <a:cs typeface="Courier New" pitchFamily="49" charset="0"/>
              </a:rPr>
              <a:t>U</a:t>
            </a:r>
            <a:r>
              <a:rPr lang="en-AU" sz="3000" dirty="0">
                <a:latin typeface="Courier New" pitchFamily="49" charset="0"/>
                <a:cs typeface="Courier New" pitchFamily="49" charset="0"/>
              </a:rPr>
              <a:t>FP</a:t>
            </a:r>
            <a:r>
              <a:rPr lang="en-AU" sz="3000" dirty="0">
                <a:effectLst>
                  <a:glow rad="419100">
                    <a:schemeClr val="accent3"/>
                  </a:glow>
                </a:effectLst>
                <a:latin typeface="Courier New" pitchFamily="49" charset="0"/>
                <a:cs typeface="Courier New" pitchFamily="49" charset="0"/>
              </a:rPr>
              <a:t>O</a:t>
            </a:r>
            <a:r>
              <a:rPr lang="en-AU" sz="3000" dirty="0">
                <a:latin typeface="Courier New" pitchFamily="49" charset="0"/>
                <a:cs typeface="Courier New" pitchFamily="49" charset="0"/>
              </a:rPr>
              <a:t>MB</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latin typeface="Courier New" pitchFamily="49" charset="0"/>
                <a:cs typeface="Courier New" pitchFamily="49" charset="0"/>
              </a:rPr>
              <a:t>WPF</a:t>
            </a:r>
            <a:r>
              <a:rPr lang="en-AU" sz="3000" dirty="0">
                <a:effectLst>
                  <a:glow rad="698500">
                    <a:schemeClr val="accent5">
                      <a:alpha val="40000"/>
                    </a:schemeClr>
                  </a:glow>
                </a:effectLst>
                <a:latin typeface="Courier New" pitchFamily="49" charset="0"/>
                <a:cs typeface="Courier New" pitchFamily="49" charset="0"/>
              </a:rPr>
              <a:t>U</a:t>
            </a:r>
            <a:r>
              <a:rPr lang="en-AU" sz="3000" dirty="0">
                <a:latin typeface="Courier New" pitchFamily="49" charset="0"/>
                <a:cs typeface="Courier New" pitchFamily="49" charset="0"/>
              </a:rPr>
              <a:t>P</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latin typeface="Courier New" pitchFamily="49" charset="0"/>
                <a:cs typeface="Courier New" pitchFamily="49" charset="0"/>
              </a:rPr>
              <a:t>HMDJUDTM</a:t>
            </a:r>
            <a:r>
              <a:rPr lang="en-AU" sz="3000" dirty="0">
                <a:effectLst>
                  <a:glow rad="419100">
                    <a:schemeClr val="accent3"/>
                  </a:glow>
                </a:effectLst>
                <a:latin typeface="Courier New" pitchFamily="49" charset="0"/>
                <a:cs typeface="Courier New" pitchFamily="49" charset="0"/>
              </a:rPr>
              <a:t>O</a:t>
            </a:r>
            <a:r>
              <a:rPr lang="en-AU" sz="3000" dirty="0">
                <a:latin typeface="Courier New" pitchFamily="49" charset="0"/>
                <a:cs typeface="Courier New" pitchFamily="49" charset="0"/>
              </a:rPr>
              <a:t>HMQ</a:t>
            </a:r>
            <a:endParaRPr lang="en-US" sz="3000" dirty="0">
              <a:latin typeface="Courier New" pitchFamily="49" charset="0"/>
              <a:cs typeface="Courier New" pitchFamily="49" charset="0"/>
            </a:endParaRPr>
          </a:p>
          <a:p>
            <a:pPr marL="345312" lvl="1" indent="-345312">
              <a:buBlip>
                <a:blip r:embed="rId3"/>
              </a:buBlip>
            </a:pPr>
            <a:endParaRPr lang="en-AU" dirty="0">
              <a:gradFill>
                <a:gsLst>
                  <a:gs pos="0">
                    <a:schemeClr val="tx1"/>
                  </a:gs>
                  <a:gs pos="100000">
                    <a:schemeClr val="tx1"/>
                  </a:gs>
                </a:gsLst>
                <a:lin ang="5400000" scaled="0"/>
              </a:gradFill>
            </a:endParaRPr>
          </a:p>
        </p:txBody>
      </p:sp>
      <p:sp>
        <p:nvSpPr>
          <p:cNvPr id="4"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5"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4"/>
              </a:rPr>
              <a:t>www.rapidbbs.cn</a:t>
            </a:r>
            <a:endParaRPr lang="zh-CN" altLang="en-US" sz="1200" b="0">
              <a:latin typeface="Arial" charset="0"/>
              <a:ea typeface="ＭＳ Ｐゴシック" pitchFamily="34" charset="-128"/>
            </a:endParaRPr>
          </a:p>
        </p:txBody>
      </p:sp>
      <p:pic>
        <p:nvPicPr>
          <p:cNvPr id="6" name="Picture 2">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86504035"/>
      </p:ext>
    </p:extLst>
  </p:cSld>
  <p:clrMapOvr>
    <a:masterClrMapping/>
  </p:clrMapOvr>
  <p:transition>
    <p:fade/>
  </p:transition>
  <p:timing>
    <p:tnLst>
      <p:par>
        <p:cTn id="1" dur="indefinite" restart="never" nodeType="tmRoot"/>
      </p:par>
    </p:tnLst>
  </p:timing>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ChangeArrowheads="1"/>
          </p:cNvSpPr>
          <p:nvPr>
            <p:ph type="title"/>
          </p:nvPr>
        </p:nvSpPr>
        <p:spPr>
          <a:xfrm>
            <a:off x="457200" y="205978"/>
            <a:ext cx="8229600" cy="529568"/>
          </a:xfrm>
        </p:spPr>
        <p:txBody>
          <a:bodyPr>
            <a:normAutofit/>
          </a:bodyPr>
          <a:lstStyle/>
          <a:p>
            <a:pPr eaLnBrk="1" hangingPunct="1"/>
            <a:r>
              <a:rPr lang="en-US" dirty="0" smtClean="0"/>
              <a:t>And So On…</a:t>
            </a:r>
            <a:endParaRPr lang="en-AU" dirty="0" smtClean="0"/>
          </a:p>
        </p:txBody>
      </p:sp>
      <p:sp>
        <p:nvSpPr>
          <p:cNvPr id="32771" name="Rectangle 3"/>
          <p:cNvSpPr>
            <a:spLocks noGrp="1" noChangeArrowheads="1"/>
          </p:cNvSpPr>
          <p:nvPr>
            <p:ph type="body" idx="4294967295"/>
          </p:nvPr>
        </p:nvSpPr>
        <p:spPr>
          <a:xfrm>
            <a:off x="398964" y="1543050"/>
            <a:ext cx="7934503" cy="1731336"/>
          </a:xfrm>
          <a:prstGeom prst="rect">
            <a:avLst/>
          </a:prstGeom>
        </p:spPr>
        <p:txBody>
          <a:bodyPr>
            <a:noAutofit/>
          </a:bodyPr>
          <a:lstStyle/>
          <a:p>
            <a:pPr marL="0" lvl="1" indent="0">
              <a:buNone/>
            </a:pPr>
            <a:r>
              <a:rPr lang="en-AU" sz="3000" dirty="0">
                <a:effectLst>
                  <a:glow rad="698500">
                    <a:schemeClr val="accent5">
                      <a:alpha val="40000"/>
                    </a:schemeClr>
                  </a:glow>
                </a:effectLst>
                <a:latin typeface="Courier New" pitchFamily="49" charset="0"/>
                <a:cs typeface="Courier New" pitchFamily="49" charset="0"/>
              </a:rPr>
              <a:t>U</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latin typeface="Courier New" pitchFamily="49" charset="0"/>
                <a:cs typeface="Courier New" pitchFamily="49" charset="0"/>
              </a:rPr>
              <a:t>Q</a:t>
            </a:r>
            <a:r>
              <a:rPr lang="en-AU" sz="3000" dirty="0">
                <a:effectLst>
                  <a:glow rad="152400">
                    <a:srgbClr val="FF0000"/>
                  </a:glow>
                </a:effectLst>
                <a:latin typeface="Courier New" pitchFamily="49" charset="0"/>
                <a:cs typeface="Courier New" pitchFamily="49" charset="0"/>
              </a:rPr>
              <a:t>S</a:t>
            </a:r>
            <a:r>
              <a:rPr lang="en-AU" sz="3000" dirty="0">
                <a:effectLst>
                  <a:glow rad="419100">
                    <a:schemeClr val="accent3"/>
                  </a:glow>
                </a:effectLst>
                <a:latin typeface="Courier New" pitchFamily="49" charset="0"/>
                <a:cs typeface="Courier New" pitchFamily="49" charset="0"/>
              </a:rPr>
              <a:t>O</a:t>
            </a:r>
            <a:r>
              <a:rPr lang="en-AU" sz="3000" dirty="0">
                <a:latin typeface="Courier New" pitchFamily="49" charset="0"/>
                <a:cs typeface="Courier New" pitchFamily="49" charset="0"/>
              </a:rPr>
              <a:t>V</a:t>
            </a:r>
            <a:r>
              <a:rPr lang="en-AU" sz="3000" dirty="0">
                <a:effectLst>
                  <a:glow rad="698500">
                    <a:schemeClr val="accent5">
                      <a:alpha val="40000"/>
                    </a:schemeClr>
                  </a:glow>
                </a:effectLst>
                <a:latin typeface="Courier New" pitchFamily="49" charset="0"/>
                <a:cs typeface="Courier New" pitchFamily="49" charset="0"/>
              </a:rPr>
              <a:t>U</a:t>
            </a:r>
            <a:r>
              <a:rPr lang="en-AU" sz="3000" dirty="0">
                <a:effectLst>
                  <a:glow rad="419100">
                    <a:schemeClr val="accent3"/>
                  </a:glow>
                </a:effectLst>
                <a:latin typeface="Courier New" pitchFamily="49" charset="0"/>
                <a:cs typeface="Courier New" pitchFamily="49" charset="0"/>
              </a:rPr>
              <a:t>O</a:t>
            </a:r>
            <a:r>
              <a:rPr lang="en-AU" sz="3000" dirty="0">
                <a:latin typeface="Courier New" pitchFamily="49" charset="0"/>
                <a:cs typeface="Courier New" pitchFamily="49" charset="0"/>
              </a:rPr>
              <a:t>HXM</a:t>
            </a:r>
            <a:r>
              <a:rPr lang="en-AU" sz="3000" dirty="0">
                <a:effectLst>
                  <a:glow rad="419100">
                    <a:schemeClr val="accent3"/>
                  </a:glow>
                </a:effectLst>
                <a:latin typeface="Courier New" pitchFamily="49" charset="0"/>
                <a:cs typeface="Courier New" pitchFamily="49" charset="0"/>
              </a:rPr>
              <a:t>O</a:t>
            </a:r>
            <a:r>
              <a:rPr lang="en-AU" sz="3000" dirty="0">
                <a:effectLst>
                  <a:glow rad="368300">
                    <a:srgbClr val="FF0066"/>
                  </a:glow>
                </a:effectLst>
                <a:latin typeface="Courier New" pitchFamily="49" charset="0"/>
                <a:cs typeface="Courier New" pitchFamily="49" charset="0"/>
              </a:rPr>
              <a:t>P</a:t>
            </a:r>
            <a:r>
              <a:rPr lang="en-AU" sz="3000" dirty="0">
                <a:latin typeface="Courier New" pitchFamily="49" charset="0"/>
                <a:cs typeface="Courier New" pitchFamily="49" charset="0"/>
              </a:rPr>
              <a:t>VGP</a:t>
            </a:r>
            <a:r>
              <a:rPr lang="en-AU" sz="3000" dirty="0">
                <a:effectLst>
                  <a:glow rad="419100">
                    <a:schemeClr val="accent3"/>
                  </a:glow>
                </a:effectLst>
                <a:latin typeface="Courier New" pitchFamily="49" charset="0"/>
                <a:cs typeface="Courier New" pitchFamily="49" charset="0"/>
              </a:rPr>
              <a:t>O</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latin typeface="Courier New" pitchFamily="49" charset="0"/>
                <a:cs typeface="Courier New" pitchFamily="49" charset="0"/>
              </a:rPr>
              <a:t>PEV</a:t>
            </a:r>
            <a:r>
              <a:rPr lang="en-AU" sz="3000" dirty="0">
                <a:effectLst>
                  <a:glow rad="152400">
                    <a:srgbClr val="FF0000"/>
                  </a:glow>
                </a:effectLst>
                <a:latin typeface="Courier New" pitchFamily="49" charset="0"/>
                <a:cs typeface="Courier New" pitchFamily="49" charset="0"/>
              </a:rPr>
              <a:t>S</a:t>
            </a:r>
            <a:r>
              <a:rPr lang="en-AU" sz="3000" dirty="0">
                <a:latin typeface="Courier New" pitchFamily="49" charset="0"/>
                <a:cs typeface="Courier New" pitchFamily="49" charset="0"/>
              </a:rPr>
              <a:t>G</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solidFill>
                  <a:schemeClr val="tx1"/>
                </a:solidFill>
                <a:effectLst>
                  <a:glow rad="127000">
                    <a:schemeClr val="accent6"/>
                  </a:glow>
                </a:effectLst>
                <a:latin typeface="Courier New" pitchFamily="49" charset="0"/>
                <a:cs typeface="Courier New" pitchFamily="49" charset="0"/>
              </a:rPr>
              <a:t>W</a:t>
            </a:r>
            <a:r>
              <a:rPr lang="en-AU" sz="3000" dirty="0">
                <a:effectLst>
                  <a:glow rad="152400">
                    <a:srgbClr val="FF0000"/>
                  </a:glow>
                </a:effectLst>
                <a:latin typeface="Courier New" pitchFamily="49" charset="0"/>
                <a:cs typeface="Courier New" pitchFamily="49" charset="0"/>
              </a:rPr>
              <a:t>S</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effectLst>
                  <a:glow rad="419100">
                    <a:schemeClr val="accent3"/>
                  </a:glow>
                </a:effectLst>
                <a:latin typeface="Courier New" pitchFamily="49" charset="0"/>
                <a:cs typeface="Courier New" pitchFamily="49" charset="0"/>
              </a:rPr>
              <a:t>O</a:t>
            </a:r>
            <a:r>
              <a:rPr lang="en-AU" sz="3000" dirty="0">
                <a:effectLst>
                  <a:glow rad="368300">
                    <a:srgbClr val="FF0066"/>
                  </a:glow>
                </a:effectLst>
                <a:latin typeface="Courier New" pitchFamily="49" charset="0"/>
                <a:cs typeface="Courier New" pitchFamily="49" charset="0"/>
              </a:rPr>
              <a:t>P</a:t>
            </a:r>
            <a:r>
              <a:rPr lang="en-AU" sz="3000" dirty="0">
                <a:latin typeface="Courier New" pitchFamily="49" charset="0"/>
                <a:cs typeface="Courier New" pitchFamily="49" charset="0"/>
              </a:rPr>
              <a:t>FPE</a:t>
            </a:r>
            <a:r>
              <a:rPr lang="en-AU" sz="3000" dirty="0">
                <a:effectLst>
                  <a:glow rad="152400">
                    <a:srgbClr val="FF0000"/>
                  </a:glow>
                </a:effectLst>
                <a:latin typeface="Courier New" pitchFamily="49" charset="0"/>
                <a:cs typeface="Courier New" pitchFamily="49" charset="0"/>
              </a:rPr>
              <a:t>S</a:t>
            </a:r>
            <a:r>
              <a:rPr lang="en-AU" sz="3000" dirty="0">
                <a:latin typeface="Courier New" pitchFamily="49" charset="0"/>
                <a:cs typeface="Courier New" pitchFamily="49" charset="0"/>
              </a:rPr>
              <a:t>XUDBMET</a:t>
            </a:r>
            <a:r>
              <a:rPr lang="en-AU" sz="3000" dirty="0">
                <a:effectLst>
                  <a:glow rad="152400">
                    <a:srgbClr val="FF0000"/>
                  </a:glow>
                </a:effectLst>
                <a:latin typeface="Courier New" pitchFamily="49" charset="0"/>
                <a:cs typeface="Courier New" pitchFamily="49" charset="0"/>
              </a:rPr>
              <a:t>S</a:t>
            </a:r>
            <a:r>
              <a:rPr lang="en-AU" sz="3000" dirty="0">
                <a:latin typeface="Courier New" pitchFamily="49" charset="0"/>
                <a:cs typeface="Courier New" pitchFamily="49" charset="0"/>
              </a:rPr>
              <a:t>XAI</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latin typeface="Courier New" pitchFamily="49" charset="0"/>
                <a:cs typeface="Courier New" pitchFamily="49" charset="0"/>
              </a:rPr>
              <a:t>V</a:t>
            </a:r>
            <a:r>
              <a:rPr lang="en-AU" sz="3000" dirty="0">
                <a:effectLst>
                  <a:glow rad="698500">
                    <a:schemeClr val="accent5">
                      <a:alpha val="40000"/>
                    </a:schemeClr>
                  </a:glow>
                </a:effectLst>
                <a:latin typeface="Courier New" pitchFamily="49" charset="0"/>
                <a:cs typeface="Courier New" pitchFamily="49" charset="0"/>
              </a:rPr>
              <a:t>U</a:t>
            </a:r>
            <a:r>
              <a:rPr lang="en-AU" sz="3000" dirty="0">
                <a:latin typeface="Courier New" pitchFamily="49" charset="0"/>
                <a:cs typeface="Courier New" pitchFamily="49" charset="0"/>
              </a:rPr>
              <a:t>E</a:t>
            </a:r>
            <a:r>
              <a:rPr lang="en-AU" sz="3000" dirty="0">
                <a:effectLst>
                  <a:glow rad="368300">
                    <a:srgbClr val="FF0066"/>
                  </a:glow>
                </a:effectLst>
                <a:latin typeface="Courier New" pitchFamily="49" charset="0"/>
                <a:cs typeface="Courier New" pitchFamily="49" charset="0"/>
              </a:rPr>
              <a:t>P</a:t>
            </a:r>
            <a:r>
              <a:rPr lang="en-AU" sz="3000" dirty="0">
                <a:latin typeface="Courier New" pitchFamily="49" charset="0"/>
                <a:cs typeface="Courier New" pitchFamily="49" charset="0"/>
              </a:rPr>
              <a:t>H</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latin typeface="Courier New" pitchFamily="49" charset="0"/>
                <a:cs typeface="Courier New" pitchFamily="49" charset="0"/>
              </a:rPr>
              <a:t>HMD</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effectLst>
                  <a:glow rad="152400">
                    <a:srgbClr val="FF0000"/>
                  </a:glow>
                </a:effectLst>
                <a:latin typeface="Courier New" pitchFamily="49" charset="0"/>
                <a:cs typeface="Courier New" pitchFamily="49" charset="0"/>
              </a:rPr>
              <a:t>S</a:t>
            </a:r>
            <a:r>
              <a:rPr lang="en-AU" sz="3000" dirty="0">
                <a:latin typeface="Courier New" pitchFamily="49" charset="0"/>
                <a:cs typeface="Courier New" pitchFamily="49" charset="0"/>
              </a:rPr>
              <a:t>H</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effectLst>
                  <a:glow rad="419100">
                    <a:schemeClr val="accent3"/>
                  </a:glow>
                </a:effectLst>
                <a:latin typeface="Courier New" pitchFamily="49" charset="0"/>
                <a:cs typeface="Courier New" pitchFamily="49" charset="0"/>
              </a:rPr>
              <a:t>O</a:t>
            </a:r>
            <a:r>
              <a:rPr lang="en-AU" sz="3000" dirty="0">
                <a:solidFill>
                  <a:schemeClr val="tx1"/>
                </a:solidFill>
                <a:effectLst>
                  <a:glow rad="127000">
                    <a:schemeClr val="accent6"/>
                  </a:glow>
                </a:effectLst>
                <a:latin typeface="Courier New" pitchFamily="49" charset="0"/>
                <a:cs typeface="Courier New" pitchFamily="49" charset="0"/>
              </a:rPr>
              <a:t>W</a:t>
            </a:r>
            <a:r>
              <a:rPr lang="en-AU" sz="3000" dirty="0">
                <a:effectLst>
                  <a:glow rad="152400">
                    <a:srgbClr val="FF0000"/>
                  </a:glow>
                </a:effectLst>
                <a:latin typeface="Courier New" pitchFamily="49" charset="0"/>
                <a:cs typeface="Courier New" pitchFamily="49" charset="0"/>
              </a:rPr>
              <a:t>S</a:t>
            </a:r>
            <a:r>
              <a:rPr lang="en-AU" sz="3000" dirty="0">
                <a:latin typeface="Courier New" pitchFamily="49" charset="0"/>
                <a:cs typeface="Courier New" pitchFamily="49" charset="0"/>
              </a:rPr>
              <a:t>F</a:t>
            </a:r>
            <a:r>
              <a:rPr lang="en-AU" sz="3000" dirty="0">
                <a:effectLst>
                  <a:glow rad="368300">
                    <a:srgbClr val="FF0066"/>
                  </a:glow>
                </a:effectLst>
                <a:latin typeface="Courier New" pitchFamily="49" charset="0"/>
                <a:cs typeface="Courier New" pitchFamily="49" charset="0"/>
              </a:rPr>
              <a:t>P</a:t>
            </a:r>
            <a:r>
              <a:rPr lang="en-AU" sz="3000" dirty="0">
                <a:latin typeface="Courier New" pitchFamily="49" charset="0"/>
                <a:cs typeface="Courier New" pitchFamily="49" charset="0"/>
              </a:rPr>
              <a:t>A</a:t>
            </a:r>
            <a:r>
              <a:rPr lang="en-AU" sz="3000" dirty="0">
                <a:effectLst>
                  <a:glow rad="368300">
                    <a:srgbClr val="FF0066"/>
                  </a:glow>
                </a:effectLst>
                <a:latin typeface="Courier New" pitchFamily="49" charset="0"/>
                <a:cs typeface="Courier New" pitchFamily="49" charset="0"/>
              </a:rPr>
              <a:t>PP</a:t>
            </a:r>
            <a:r>
              <a:rPr lang="en-AU" sz="3000" dirty="0">
                <a:latin typeface="Courier New" pitchFamily="49" charset="0"/>
                <a:cs typeface="Courier New" pitchFamily="49" charset="0"/>
              </a:rPr>
              <a:t>DT</a:t>
            </a:r>
            <a:r>
              <a:rPr lang="en-AU" sz="3000" dirty="0">
                <a:effectLst>
                  <a:glow rad="152400">
                    <a:srgbClr val="FF0000"/>
                  </a:glow>
                </a:effectLst>
                <a:latin typeface="Courier New" pitchFamily="49" charset="0"/>
                <a:cs typeface="Courier New" pitchFamily="49" charset="0"/>
              </a:rPr>
              <a:t>S</a:t>
            </a:r>
            <a:r>
              <a:rPr lang="en-AU" sz="3000" dirty="0">
                <a:latin typeface="Courier New" pitchFamily="49" charset="0"/>
                <a:cs typeface="Courier New" pitchFamily="49" charset="0"/>
              </a:rPr>
              <a:t>V</a:t>
            </a:r>
            <a:r>
              <a:rPr lang="en-AU" sz="3000" dirty="0">
                <a:effectLst>
                  <a:glow rad="368300">
                    <a:srgbClr val="FF0066"/>
                  </a:glow>
                </a:effectLst>
                <a:latin typeface="Courier New" pitchFamily="49" charset="0"/>
                <a:cs typeface="Courier New" pitchFamily="49" charset="0"/>
              </a:rPr>
              <a:t>P</a:t>
            </a:r>
            <a:r>
              <a:rPr lang="en-AU" sz="3000" dirty="0">
                <a:latin typeface="Courier New" pitchFamily="49" charset="0"/>
                <a:cs typeface="Courier New" pitchFamily="49" charset="0"/>
              </a:rPr>
              <a:t>Q</a:t>
            </a:r>
            <a:r>
              <a:rPr lang="en-AU" sz="3000" dirty="0">
                <a:effectLst>
                  <a:glow rad="698500">
                    <a:schemeClr val="accent5">
                      <a:alpha val="40000"/>
                    </a:schemeClr>
                  </a:glow>
                </a:effectLst>
                <a:latin typeface="Courier New" pitchFamily="49" charset="0"/>
                <a:cs typeface="Courier New" pitchFamily="49" charset="0"/>
              </a:rPr>
              <a:t>U</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solidFill>
                  <a:schemeClr val="tx1"/>
                </a:solidFill>
                <a:effectLst>
                  <a:glow rad="127000">
                    <a:schemeClr val="accent6"/>
                  </a:glow>
                </a:effectLst>
                <a:latin typeface="Courier New" pitchFamily="49" charset="0"/>
                <a:cs typeface="Courier New" pitchFamily="49" charset="0"/>
              </a:rPr>
              <a:t>W</a:t>
            </a:r>
            <a:r>
              <a:rPr lang="en-AU" sz="3000" dirty="0">
                <a:latin typeface="Courier New" pitchFamily="49" charset="0"/>
                <a:cs typeface="Courier New" pitchFamily="49" charset="0"/>
              </a:rPr>
              <a:t>YMX</a:t>
            </a:r>
            <a:r>
              <a:rPr lang="en-AU" sz="3000" dirty="0">
                <a:effectLst>
                  <a:glow rad="698500">
                    <a:schemeClr val="accent5">
                      <a:alpha val="40000"/>
                    </a:schemeClr>
                  </a:glow>
                </a:effectLst>
                <a:latin typeface="Courier New" pitchFamily="49" charset="0"/>
                <a:cs typeface="Courier New" pitchFamily="49" charset="0"/>
              </a:rPr>
              <a:t>U</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effectLst>
                  <a:glow rad="698500">
                    <a:schemeClr val="accent5">
                      <a:alpha val="40000"/>
                    </a:schemeClr>
                  </a:glow>
                </a:effectLst>
                <a:latin typeface="Courier New" pitchFamily="49" charset="0"/>
                <a:cs typeface="Courier New" pitchFamily="49" charset="0"/>
              </a:rPr>
              <a:t>U</a:t>
            </a:r>
            <a:r>
              <a:rPr lang="en-AU" sz="3000" dirty="0">
                <a:latin typeface="Courier New" pitchFamily="49" charset="0"/>
                <a:cs typeface="Courier New" pitchFamily="49" charset="0"/>
              </a:rPr>
              <a:t>H</a:t>
            </a:r>
            <a:r>
              <a:rPr lang="en-AU" sz="3000" dirty="0">
                <a:effectLst>
                  <a:glow rad="152400">
                    <a:srgbClr val="FF0000"/>
                  </a:glow>
                </a:effectLst>
                <a:latin typeface="Courier New" pitchFamily="49" charset="0"/>
                <a:cs typeface="Courier New" pitchFamily="49" charset="0"/>
              </a:rPr>
              <a:t>S</a:t>
            </a:r>
            <a:r>
              <a:rPr lang="en-AU" sz="3000" dirty="0">
                <a:latin typeface="Courier New" pitchFamily="49" charset="0"/>
                <a:cs typeface="Courier New" pitchFamily="49" charset="0"/>
              </a:rPr>
              <a:t>XE</a:t>
            </a:r>
            <a:r>
              <a:rPr lang="en-AU" sz="3000" dirty="0">
                <a:effectLst>
                  <a:glow rad="368300">
                    <a:srgbClr val="FF0066"/>
                  </a:glow>
                </a:effectLst>
                <a:latin typeface="Courier New" pitchFamily="49" charset="0"/>
                <a:cs typeface="Courier New" pitchFamily="49" charset="0"/>
              </a:rPr>
              <a:t>P</a:t>
            </a:r>
            <a:r>
              <a:rPr lang="en-AU" sz="3000" dirty="0">
                <a:latin typeface="Courier New" pitchFamily="49" charset="0"/>
                <a:cs typeface="Courier New" pitchFamily="49" charset="0"/>
              </a:rPr>
              <a:t>YE</a:t>
            </a:r>
            <a:r>
              <a:rPr lang="en-AU" sz="3000" dirty="0">
                <a:effectLst>
                  <a:glow rad="368300">
                    <a:srgbClr val="FF0066"/>
                  </a:glow>
                </a:effectLst>
                <a:latin typeface="Courier New" pitchFamily="49" charset="0"/>
                <a:cs typeface="Courier New" pitchFamily="49" charset="0"/>
              </a:rPr>
              <a:t>P</a:t>
            </a:r>
            <a:r>
              <a:rPr lang="en-AU" sz="3000" dirty="0">
                <a:effectLst>
                  <a:glow rad="419100">
                    <a:schemeClr val="accent3"/>
                  </a:glow>
                </a:effectLst>
                <a:latin typeface="Courier New" pitchFamily="49" charset="0"/>
                <a:cs typeface="Courier New" pitchFamily="49" charset="0"/>
              </a:rPr>
              <a:t>O</a:t>
            </a:r>
            <a:r>
              <a:rPr lang="en-AU" sz="3000" dirty="0">
                <a:effectLst>
                  <a:glow rad="368300">
                    <a:srgbClr val="FF0066"/>
                  </a:glow>
                </a:effectLst>
                <a:latin typeface="Courier New" pitchFamily="49" charset="0"/>
                <a:cs typeface="Courier New" pitchFamily="49" charset="0"/>
              </a:rPr>
              <a:t>P</a:t>
            </a:r>
            <a:r>
              <a:rPr lang="en-AU" sz="3000" dirty="0">
                <a:latin typeface="Courier New" pitchFamily="49" charset="0"/>
                <a:cs typeface="Courier New" pitchFamily="49" charset="0"/>
              </a:rPr>
              <a:t>D</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effectLst>
                  <a:glow rad="152400">
                    <a:srgbClr val="FF0000"/>
                  </a:glow>
                </a:effectLst>
                <a:latin typeface="Courier New" pitchFamily="49" charset="0"/>
                <a:cs typeface="Courier New" pitchFamily="49" charset="0"/>
              </a:rPr>
              <a:t>S</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effectLst>
                  <a:glow rad="698500">
                    <a:schemeClr val="accent5">
                      <a:alpha val="40000"/>
                    </a:schemeClr>
                  </a:glow>
                </a:effectLst>
                <a:latin typeface="Courier New" pitchFamily="49" charset="0"/>
                <a:cs typeface="Courier New" pitchFamily="49" charset="0"/>
              </a:rPr>
              <a:t>U</a:t>
            </a:r>
            <a:r>
              <a:rPr lang="en-AU" sz="3000" dirty="0">
                <a:latin typeface="Courier New" pitchFamily="49" charset="0"/>
                <a:cs typeface="Courier New" pitchFamily="49" charset="0"/>
              </a:rPr>
              <a:t>F</a:t>
            </a:r>
            <a:r>
              <a:rPr lang="en-AU" sz="3000" dirty="0">
                <a:effectLst>
                  <a:glow rad="368300">
                    <a:srgbClr val="FF0066"/>
                  </a:glow>
                </a:effectLst>
                <a:latin typeface="Courier New" pitchFamily="49" charset="0"/>
                <a:cs typeface="Courier New" pitchFamily="49" charset="0"/>
              </a:rPr>
              <a:t>P</a:t>
            </a:r>
            <a:r>
              <a:rPr lang="en-AU" sz="3000" dirty="0">
                <a:effectLst>
                  <a:glow rad="419100">
                    <a:schemeClr val="accent3"/>
                  </a:glow>
                </a:effectLst>
                <a:latin typeface="Courier New" pitchFamily="49" charset="0"/>
                <a:cs typeface="Courier New" pitchFamily="49" charset="0"/>
              </a:rPr>
              <a:t>O</a:t>
            </a:r>
            <a:r>
              <a:rPr lang="en-AU" sz="3000" dirty="0">
                <a:latin typeface="Courier New" pitchFamily="49" charset="0"/>
                <a:cs typeface="Courier New" pitchFamily="49" charset="0"/>
              </a:rPr>
              <a:t>MB</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latin typeface="Courier New" pitchFamily="49" charset="0"/>
                <a:cs typeface="Courier New" pitchFamily="49" charset="0"/>
              </a:rPr>
              <a:t>W</a:t>
            </a:r>
            <a:r>
              <a:rPr lang="en-AU" sz="3000" dirty="0">
                <a:effectLst>
                  <a:glow rad="368300">
                    <a:srgbClr val="FF0066"/>
                  </a:glow>
                </a:effectLst>
                <a:latin typeface="Courier New" pitchFamily="49" charset="0"/>
                <a:cs typeface="Courier New" pitchFamily="49" charset="0"/>
              </a:rPr>
              <a:t>P</a:t>
            </a:r>
            <a:r>
              <a:rPr lang="en-AU" sz="3000" dirty="0">
                <a:latin typeface="Courier New" pitchFamily="49" charset="0"/>
                <a:cs typeface="Courier New" pitchFamily="49" charset="0"/>
              </a:rPr>
              <a:t>F</a:t>
            </a:r>
            <a:r>
              <a:rPr lang="en-AU" sz="3000" dirty="0">
                <a:effectLst>
                  <a:glow rad="698500">
                    <a:schemeClr val="accent5">
                      <a:alpha val="40000"/>
                    </a:schemeClr>
                  </a:glow>
                </a:effectLst>
                <a:latin typeface="Courier New" pitchFamily="49" charset="0"/>
                <a:cs typeface="Courier New" pitchFamily="49" charset="0"/>
              </a:rPr>
              <a:t>U</a:t>
            </a:r>
            <a:r>
              <a:rPr lang="en-AU" sz="3000" dirty="0">
                <a:effectLst>
                  <a:glow rad="368300">
                    <a:srgbClr val="FF0066"/>
                  </a:glow>
                </a:effectLst>
                <a:latin typeface="Courier New" pitchFamily="49" charset="0"/>
                <a:cs typeface="Courier New" pitchFamily="49" charset="0"/>
              </a:rPr>
              <a:t>P</a:t>
            </a:r>
            <a:r>
              <a:rPr lang="en-AU" sz="3000" dirty="0">
                <a:solidFill>
                  <a:schemeClr val="tx1"/>
                </a:solidFill>
                <a:effectLst>
                  <a:glow rad="723900">
                    <a:schemeClr val="accent1"/>
                  </a:glow>
                </a:effectLst>
                <a:latin typeface="Courier New" pitchFamily="49" charset="0"/>
                <a:cs typeface="Courier New" pitchFamily="49" charset="0"/>
              </a:rPr>
              <a:t>Z</a:t>
            </a:r>
            <a:r>
              <a:rPr lang="en-AU" sz="3000" dirty="0">
                <a:latin typeface="Courier New" pitchFamily="49" charset="0"/>
                <a:cs typeface="Courier New" pitchFamily="49" charset="0"/>
              </a:rPr>
              <a:t>HMDJUDTM</a:t>
            </a:r>
            <a:r>
              <a:rPr lang="en-AU" sz="3000" dirty="0">
                <a:effectLst>
                  <a:glow rad="419100">
                    <a:schemeClr val="accent3"/>
                  </a:glow>
                </a:effectLst>
                <a:latin typeface="Courier New" pitchFamily="49" charset="0"/>
                <a:cs typeface="Courier New" pitchFamily="49" charset="0"/>
              </a:rPr>
              <a:t>O</a:t>
            </a:r>
            <a:r>
              <a:rPr lang="en-AU" sz="3000" dirty="0">
                <a:latin typeface="Courier New" pitchFamily="49" charset="0"/>
                <a:cs typeface="Courier New" pitchFamily="49" charset="0"/>
              </a:rPr>
              <a:t>HMQ</a:t>
            </a:r>
            <a:endParaRPr lang="en-US" sz="3000" dirty="0">
              <a:latin typeface="Courier New" pitchFamily="49" charset="0"/>
              <a:cs typeface="Courier New" pitchFamily="49" charset="0"/>
            </a:endParaRPr>
          </a:p>
          <a:p>
            <a:pPr marL="345312" lvl="1" indent="-345312">
              <a:buBlip>
                <a:blip r:embed="rId3"/>
              </a:buBlip>
            </a:pPr>
            <a:endParaRPr lang="en-AU" dirty="0">
              <a:gradFill>
                <a:gsLst>
                  <a:gs pos="0">
                    <a:schemeClr val="tx1"/>
                  </a:gs>
                  <a:gs pos="100000">
                    <a:schemeClr val="tx1"/>
                  </a:gs>
                </a:gsLst>
                <a:lin ang="5400000" scaled="0"/>
              </a:gradFill>
            </a:endParaRPr>
          </a:p>
        </p:txBody>
      </p:sp>
      <p:sp>
        <p:nvSpPr>
          <p:cNvPr id="4"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5"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4"/>
              </a:rPr>
              <a:t>www.rapidbbs.cn</a:t>
            </a:r>
            <a:endParaRPr lang="zh-CN" altLang="en-US" sz="1200" b="0">
              <a:latin typeface="Arial" charset="0"/>
              <a:ea typeface="ＭＳ Ｐゴシック" pitchFamily="34" charset="-128"/>
            </a:endParaRPr>
          </a:p>
        </p:txBody>
      </p:sp>
      <p:pic>
        <p:nvPicPr>
          <p:cNvPr id="6" name="Picture 2">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39518551"/>
      </p:ext>
    </p:extLst>
  </p:cSld>
  <p:clrMapOvr>
    <a:masterClrMapping/>
  </p:clrMapOvr>
  <p:transition>
    <p:fade/>
  </p:transition>
  <p:timing>
    <p:tnLst>
      <p:par>
        <p:cTn id="1" dur="indefinite" restart="never" nodeType="tmRoot"/>
      </p:par>
    </p:tnLst>
  </p:timing>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Number Placeholder 2"/>
          <p:cNvSpPr>
            <a:spLocks noGrp="1"/>
          </p:cNvSpPr>
          <p:nvPr>
            <p:ph type="sldNum" sz="quarter" idx="4294967295"/>
          </p:nvPr>
        </p:nvSpPr>
        <p:spPr>
          <a:xfrm>
            <a:off x="8585452" y="4822032"/>
            <a:ext cx="171495" cy="91679"/>
          </a:xfrm>
          <a:prstGeom prst="rect">
            <a:avLst/>
          </a:prstGeom>
        </p:spPr>
        <p:txBody>
          <a:bodyPr lIns="68586" tIns="34294" rIns="68586" bIns="34294"/>
          <a:lstStyle/>
          <a:p>
            <a:pPr>
              <a:defRPr/>
            </a:pPr>
            <a:fld id="{3EEC0ADA-5B5A-4583-8BA7-83C0E1853A55}" type="slidenum">
              <a:rPr/>
              <a:pPr>
                <a:defRPr/>
              </a:pPr>
              <a:t>318</a:t>
            </a:fld>
            <a:endParaRPr dirty="0"/>
          </a:p>
        </p:txBody>
      </p:sp>
      <p:pic>
        <p:nvPicPr>
          <p:cNvPr id="38915" name="Picture 2"/>
          <p:cNvPicPr>
            <a:picLocks noChangeAspect="1" noChangeArrowheads="1"/>
          </p:cNvPicPr>
          <p:nvPr/>
        </p:nvPicPr>
        <p:blipFill>
          <a:blip r:embed="rId3"/>
          <a:srcRect/>
          <a:stretch>
            <a:fillRect/>
          </a:stretch>
        </p:blipFill>
        <p:spPr bwMode="auto">
          <a:xfrm>
            <a:off x="3543032" y="1085850"/>
            <a:ext cx="1994816" cy="3657600"/>
          </a:xfrm>
          <a:prstGeom prst="rect">
            <a:avLst/>
          </a:prstGeom>
          <a:noFill/>
          <a:ln w="9525">
            <a:noFill/>
            <a:miter lim="800000"/>
            <a:headEnd/>
            <a:tailEnd/>
          </a:ln>
        </p:spPr>
      </p:pic>
      <p:pic>
        <p:nvPicPr>
          <p:cNvPr id="38916" name="Picture 3"/>
          <p:cNvPicPr>
            <a:picLocks noChangeAspect="1" noChangeArrowheads="1"/>
          </p:cNvPicPr>
          <p:nvPr/>
        </p:nvPicPr>
        <p:blipFill>
          <a:blip r:embed="rId4"/>
          <a:srcRect/>
          <a:stretch>
            <a:fillRect/>
          </a:stretch>
        </p:blipFill>
        <p:spPr bwMode="auto">
          <a:xfrm>
            <a:off x="5829628" y="1085850"/>
            <a:ext cx="1997198" cy="3657600"/>
          </a:xfrm>
          <a:prstGeom prst="rect">
            <a:avLst/>
          </a:prstGeom>
          <a:noFill/>
          <a:ln w="9525">
            <a:noFill/>
            <a:miter lim="800000"/>
            <a:headEnd/>
            <a:tailEnd/>
          </a:ln>
        </p:spPr>
      </p:pic>
      <p:pic>
        <p:nvPicPr>
          <p:cNvPr id="2055" name="Picture 7"/>
          <p:cNvPicPr>
            <a:picLocks noChangeAspect="1" noChangeArrowheads="1"/>
          </p:cNvPicPr>
          <p:nvPr/>
        </p:nvPicPr>
        <p:blipFill>
          <a:blip r:embed="rId5"/>
          <a:srcRect/>
          <a:stretch>
            <a:fillRect/>
          </a:stretch>
        </p:blipFill>
        <p:spPr bwMode="auto">
          <a:xfrm>
            <a:off x="1256437" y="1085850"/>
            <a:ext cx="1997198" cy="3657600"/>
          </a:xfrm>
          <a:prstGeom prst="rect">
            <a:avLst/>
          </a:prstGeom>
          <a:noFill/>
          <a:ln w="9525">
            <a:noFill/>
            <a:miter lim="800000"/>
            <a:headEnd/>
            <a:tailEnd/>
          </a:ln>
        </p:spPr>
      </p:pic>
      <p:sp>
        <p:nvSpPr>
          <p:cNvPr id="38918" name="Rectangle 16"/>
          <p:cNvSpPr>
            <a:spLocks noChangeArrowheads="1"/>
          </p:cNvSpPr>
          <p:nvPr/>
        </p:nvSpPr>
        <p:spPr bwMode="auto">
          <a:xfrm>
            <a:off x="1256438" y="3943350"/>
            <a:ext cx="2000771" cy="800100"/>
          </a:xfrm>
          <a:prstGeom prst="rect">
            <a:avLst/>
          </a:prstGeom>
          <a:solidFill>
            <a:schemeClr val="accent1"/>
          </a:solidFill>
          <a:ln w="9525">
            <a:noFill/>
            <a:miter lim="800000"/>
            <a:headEnd/>
            <a:tailEnd/>
          </a:ln>
        </p:spPr>
        <p:txBody>
          <a:bodyPr wrap="none" lIns="137172" tIns="34294" rIns="137172" bIns="34294" anchor="ctr"/>
          <a:lstStyle/>
          <a:p>
            <a:pPr defTabSz="685862"/>
            <a:r>
              <a:rPr lang="en-US" sz="1800">
                <a:solidFill>
                  <a:srgbClr val="FFFFFF"/>
                </a:solidFill>
              </a:rPr>
              <a:t>Productive</a:t>
            </a:r>
            <a:br>
              <a:rPr lang="en-US" sz="1800">
                <a:solidFill>
                  <a:srgbClr val="FFFFFF"/>
                </a:solidFill>
              </a:rPr>
            </a:br>
            <a:r>
              <a:rPr lang="en-US" sz="1800">
                <a:solidFill>
                  <a:srgbClr val="FFFFFF"/>
                </a:solidFill>
              </a:rPr>
              <a:t>Infrastructure</a:t>
            </a:r>
          </a:p>
        </p:txBody>
      </p:sp>
      <p:sp>
        <p:nvSpPr>
          <p:cNvPr id="38919" name="Rectangle 17"/>
          <p:cNvSpPr>
            <a:spLocks noChangeArrowheads="1"/>
          </p:cNvSpPr>
          <p:nvPr/>
        </p:nvSpPr>
        <p:spPr bwMode="auto">
          <a:xfrm>
            <a:off x="3543032" y="3943350"/>
            <a:ext cx="2000771" cy="800100"/>
          </a:xfrm>
          <a:prstGeom prst="rect">
            <a:avLst/>
          </a:prstGeom>
          <a:solidFill>
            <a:schemeClr val="accent1"/>
          </a:solidFill>
          <a:ln w="9525">
            <a:noFill/>
            <a:miter lim="800000"/>
            <a:headEnd/>
            <a:tailEnd/>
          </a:ln>
        </p:spPr>
        <p:txBody>
          <a:bodyPr wrap="none" lIns="137172" tIns="34294" rIns="137172" bIns="34294" anchor="ctr"/>
          <a:lstStyle/>
          <a:p>
            <a:pPr defTabSz="685862"/>
            <a:r>
              <a:rPr lang="en-US" sz="1800">
                <a:solidFill>
                  <a:srgbClr val="FFFFFF"/>
                </a:solidFill>
              </a:rPr>
              <a:t>Predictable</a:t>
            </a:r>
            <a:br>
              <a:rPr lang="en-US" sz="1800">
                <a:solidFill>
                  <a:srgbClr val="FFFFFF"/>
                </a:solidFill>
              </a:rPr>
            </a:br>
            <a:r>
              <a:rPr lang="en-US" sz="1800">
                <a:solidFill>
                  <a:srgbClr val="FFFFFF"/>
                </a:solidFill>
              </a:rPr>
              <a:t>Applications</a:t>
            </a:r>
          </a:p>
        </p:txBody>
      </p:sp>
      <p:sp>
        <p:nvSpPr>
          <p:cNvPr id="38920" name="Rectangle 18"/>
          <p:cNvSpPr>
            <a:spLocks noChangeArrowheads="1"/>
          </p:cNvSpPr>
          <p:nvPr/>
        </p:nvSpPr>
        <p:spPr bwMode="auto">
          <a:xfrm>
            <a:off x="5829629" y="3943350"/>
            <a:ext cx="2000771" cy="800100"/>
          </a:xfrm>
          <a:prstGeom prst="rect">
            <a:avLst/>
          </a:prstGeom>
          <a:solidFill>
            <a:schemeClr val="accent1"/>
          </a:solidFill>
          <a:ln w="9525">
            <a:noFill/>
            <a:miter lim="800000"/>
            <a:headEnd/>
            <a:tailEnd/>
          </a:ln>
        </p:spPr>
        <p:txBody>
          <a:bodyPr wrap="none" lIns="137172" tIns="34294" rIns="137172" bIns="34294" anchor="ctr"/>
          <a:lstStyle/>
          <a:p>
            <a:pPr defTabSz="685862"/>
            <a:r>
              <a:rPr lang="en-US" sz="1800">
                <a:solidFill>
                  <a:srgbClr val="FFFFFF"/>
                </a:solidFill>
              </a:rPr>
              <a:t>Your Cloud</a:t>
            </a:r>
          </a:p>
        </p:txBody>
      </p:sp>
      <p:sp useBgFill="1">
        <p:nvSpPr>
          <p:cNvPr id="3" name="Rectangle 2"/>
          <p:cNvSpPr/>
          <p:nvPr/>
        </p:nvSpPr>
        <p:spPr bwMode="auto">
          <a:xfrm>
            <a:off x="0" y="4726783"/>
            <a:ext cx="9144000" cy="416719"/>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68583" tIns="34292" rIns="68583" bIns="34292" anchor="ctr"/>
          <a:lstStyle/>
          <a:p>
            <a:pPr algn="ctr" defTabSz="685637">
              <a:lnSpc>
                <a:spcPct val="90000"/>
              </a:lnSpc>
              <a:defRPr/>
            </a:pPr>
            <a:endParaRPr lang="en-US" sz="1500" spc="-38" dirty="0">
              <a:gradFill>
                <a:gsLst>
                  <a:gs pos="0">
                    <a:srgbClr val="EFEFEF"/>
                  </a:gs>
                  <a:gs pos="100000">
                    <a:srgbClr val="EFEFEF"/>
                  </a:gs>
                </a:gsLst>
                <a:lin ang="5400000" scaled="0"/>
              </a:gradFill>
            </a:endParaRPr>
          </a:p>
        </p:txBody>
      </p:sp>
      <p:sp>
        <p:nvSpPr>
          <p:cNvPr id="37907" name="Rectangle 19"/>
          <p:cNvSpPr>
            <a:spLocks noChangeArrowheads="1"/>
          </p:cNvSpPr>
          <p:nvPr/>
        </p:nvSpPr>
        <p:spPr bwMode="auto">
          <a:xfrm>
            <a:off x="1256438" y="1085850"/>
            <a:ext cx="2000771" cy="2800350"/>
          </a:xfrm>
          <a:prstGeom prst="rect">
            <a:avLst/>
          </a:prstGeom>
          <a:solidFill>
            <a:schemeClr val="accent2"/>
          </a:solidFill>
          <a:ln w="9525">
            <a:noFill/>
            <a:miter lim="800000"/>
            <a:headEnd/>
            <a:tailEnd/>
          </a:ln>
        </p:spPr>
        <p:txBody>
          <a:bodyPr wrap="none" lIns="68586" tIns="34294" rIns="68586" bIns="34294" anchor="ctr"/>
          <a:lstStyle/>
          <a:p>
            <a:pPr algn="ctr" defTabSz="685862"/>
            <a:r>
              <a:rPr lang="en-US">
                <a:solidFill>
                  <a:srgbClr val="FFFFFF"/>
                </a:solidFill>
              </a:rPr>
              <a:t>Windows Server 2012</a:t>
            </a:r>
          </a:p>
        </p:txBody>
      </p:sp>
      <p:sp>
        <p:nvSpPr>
          <p:cNvPr id="37908" name="Rectangle 20"/>
          <p:cNvSpPr>
            <a:spLocks noGrp="1"/>
          </p:cNvSpPr>
          <p:nvPr>
            <p:ph type="title" idx="4294967295"/>
          </p:nvPr>
        </p:nvSpPr>
        <p:spPr bwMode="auto">
          <a:xfrm>
            <a:off x="389436" y="171450"/>
            <a:ext cx="8363937" cy="457048"/>
          </a:xfrm>
        </p:spPr>
        <p:txBody>
          <a:bodyPr/>
          <a:lstStyle/>
          <a:p>
            <a:pPr eaLnBrk="1" hangingPunct="1">
              <a:defRPr/>
            </a:pPr>
            <a:r>
              <a:rPr dirty="0">
                <a:ln>
                  <a:noFill/>
                </a:ln>
                <a:latin typeface="+mn-lt"/>
                <a:cs typeface="Arial" pitchFamily="34" charset="0"/>
              </a:rPr>
              <a:t>System Center </a:t>
            </a:r>
            <a:r>
              <a:rPr dirty="0" smtClean="0">
                <a:ln>
                  <a:noFill/>
                </a:ln>
                <a:latin typeface="+mn-lt"/>
                <a:cs typeface="Arial" pitchFamily="34" charset="0"/>
              </a:rPr>
              <a:t>2012 </a:t>
            </a:r>
            <a:r>
              <a:rPr dirty="0">
                <a:ln>
                  <a:noFill/>
                </a:ln>
                <a:latin typeface="+mn-lt"/>
                <a:cs typeface="Arial" pitchFamily="34" charset="0"/>
              </a:rPr>
              <a:t>SP1</a:t>
            </a:r>
          </a:p>
        </p:txBody>
      </p:sp>
      <p:sp>
        <p:nvSpPr>
          <p:cNvPr id="12"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3"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6"/>
              </a:rPr>
              <a:t>www.rapidbbs.cn</a:t>
            </a:r>
            <a:endParaRPr lang="zh-CN" altLang="en-US" sz="1200" b="0">
              <a:latin typeface="Arial" charset="0"/>
              <a:ea typeface="ＭＳ Ｐゴシック" pitchFamily="34" charset="-128"/>
            </a:endParaRPr>
          </a:p>
        </p:txBody>
      </p:sp>
      <p:pic>
        <p:nvPicPr>
          <p:cNvPr id="14" name="Picture 2">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3418170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4" fill="hold" grpId="0" nodeType="afterEffect">
                                  <p:stCondLst>
                                    <p:cond delay="0"/>
                                  </p:stCondLst>
                                  <p:childTnLst>
                                    <p:set>
                                      <p:cBhvr>
                                        <p:cTn id="6" dur="1" fill="hold">
                                          <p:stCondLst>
                                            <p:cond delay="0"/>
                                          </p:stCondLst>
                                        </p:cTn>
                                        <p:tgtEl>
                                          <p:spTgt spid="37907"/>
                                        </p:tgtEl>
                                        <p:attrNameLst>
                                          <p:attrName>style.visibility</p:attrName>
                                        </p:attrNameLst>
                                      </p:cBhvr>
                                      <p:to>
                                        <p:strVal val="visible"/>
                                      </p:to>
                                    </p:set>
                                    <p:animEffect transition="in" filter="slide(fromBottom)">
                                      <p:cBhvr>
                                        <p:cTn id="7" dur="500"/>
                                        <p:tgtEl>
                                          <p:spTgt spid="37907"/>
                                        </p:tgtEl>
                                      </p:cBhvr>
                                    </p:animEffect>
                                  </p:childTnLst>
                                </p:cTn>
                              </p:par>
                              <p:par>
                                <p:cTn id="8" presetID="10" presetClass="exit" presetSubtype="0" fill="hold" nodeType="withEffect">
                                  <p:stCondLst>
                                    <p:cond delay="0"/>
                                  </p:stCondLst>
                                  <p:childTnLst>
                                    <p:animEffect transition="out" filter="fade">
                                      <p:cBhvr>
                                        <p:cTn id="9" dur="500"/>
                                        <p:tgtEl>
                                          <p:spTgt spid="2055"/>
                                        </p:tgtEl>
                                      </p:cBhvr>
                                    </p:animEffect>
                                    <p:set>
                                      <p:cBhvr>
                                        <p:cTn id="10" dur="1" fill="hold">
                                          <p:stCondLst>
                                            <p:cond delay="499"/>
                                          </p:stCondLst>
                                        </p:cTn>
                                        <p:tgtEl>
                                          <p:spTgt spid="205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907" grpId="0" animBg="1"/>
    </p:bldLst>
  </p:timing>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1" name="Group 40"/>
          <p:cNvGrpSpPr>
            <a:grpSpLocks/>
          </p:cNvGrpSpPr>
          <p:nvPr/>
        </p:nvGrpSpPr>
        <p:grpSpPr bwMode="auto">
          <a:xfrm>
            <a:off x="1024428" y="4216977"/>
            <a:ext cx="4392613" cy="626489"/>
            <a:chOff x="1082902" y="5200438"/>
            <a:chExt cx="4393059" cy="1173468"/>
          </a:xfrm>
          <a:gradFill flip="none" rotWithShape="1">
            <a:gsLst>
              <a:gs pos="0">
                <a:schemeClr val="bg2">
                  <a:lumMod val="50000"/>
                  <a:shade val="30000"/>
                  <a:satMod val="115000"/>
                </a:schemeClr>
              </a:gs>
              <a:gs pos="50000">
                <a:schemeClr val="bg2">
                  <a:lumMod val="75000"/>
                </a:schemeClr>
              </a:gs>
              <a:gs pos="100000">
                <a:schemeClr val="tx2"/>
              </a:gs>
            </a:gsLst>
            <a:lin ang="16200000" scaled="1"/>
            <a:tileRect/>
          </a:gradFill>
          <a:effectLst>
            <a:outerShdw blurRad="88900" dist="50800" dir="9240000" sx="92000" sy="92000" algn="ctr" rotWithShape="0">
              <a:schemeClr val="bg1">
                <a:alpha val="85000"/>
              </a:schemeClr>
            </a:outerShdw>
          </a:effectLst>
        </p:grpSpPr>
        <p:sp>
          <p:nvSpPr>
            <p:cNvPr id="42" name="Isosceles Triangle 41"/>
            <p:cNvSpPr/>
            <p:nvPr/>
          </p:nvSpPr>
          <p:spPr bwMode="auto">
            <a:xfrm rot="10800000">
              <a:off x="1082902" y="5200438"/>
              <a:ext cx="4393059" cy="1173468"/>
            </a:xfrm>
            <a:prstGeom prst="triangle">
              <a:avLst/>
            </a:prstGeom>
            <a:grpFill/>
            <a:ln w="12700">
              <a:noFill/>
              <a:miter lim="800000"/>
              <a:headEnd type="none" w="sm" len="sm"/>
              <a:tailEnd type="none" w="sm" len="sm"/>
            </a:ln>
          </p:spPr>
          <p:txBody>
            <a:bodyPr anchor="ctr"/>
            <a:lstStyle/>
            <a:p>
              <a:pPr algn="ctr" defTabSz="914249">
                <a:lnSpc>
                  <a:spcPts val="1700"/>
                </a:lnSpc>
                <a:spcBef>
                  <a:spcPts val="630"/>
                </a:spcBef>
                <a:buClr>
                  <a:srgbClr val="FFFF99"/>
                </a:buClr>
                <a:buSzPct val="120000"/>
                <a:defRPr/>
              </a:pPr>
              <a:endParaRPr lang="en-US" altLang="zh-CN" dirty="0">
                <a:gradFill>
                  <a:gsLst>
                    <a:gs pos="36000">
                      <a:srgbClr val="FFFFFF"/>
                    </a:gs>
                    <a:gs pos="86000">
                      <a:srgbClr val="FFFFFF"/>
                    </a:gs>
                  </a:gsLst>
                  <a:lin ang="5400000" scaled="0"/>
                </a:gradFill>
                <a:cs typeface="Segoe UI"/>
              </a:endParaRPr>
            </a:p>
          </p:txBody>
        </p:sp>
        <p:sp>
          <p:nvSpPr>
            <p:cNvPr id="43" name="TextBox 42"/>
            <p:cNvSpPr txBox="1"/>
            <p:nvPr/>
          </p:nvSpPr>
          <p:spPr>
            <a:xfrm>
              <a:off x="1948224" y="5378141"/>
              <a:ext cx="2662415" cy="720608"/>
            </a:xfrm>
            <a:prstGeom prst="rect">
              <a:avLst/>
            </a:prstGeom>
            <a:noFill/>
          </p:spPr>
          <p:txBody>
            <a:bodyPr lIns="76197" tIns="38098" rIns="76197" bIns="38098">
              <a:spAutoFit/>
            </a:bodyPr>
            <a:lstStyle/>
            <a:p>
              <a:pPr algn="ctr" defTabSz="914249">
                <a:defRPr/>
              </a:pPr>
              <a:r>
                <a:rPr lang="en-US" sz="2000" b="1" dirty="0">
                  <a:gradFill>
                    <a:gsLst>
                      <a:gs pos="0">
                        <a:srgbClr val="FFFFFF"/>
                      </a:gs>
                      <a:gs pos="75000">
                        <a:srgbClr val="FFFFFF"/>
                      </a:gs>
                    </a:gsLst>
                    <a:lin ang="16200000" scaled="0"/>
                  </a:gradFill>
                  <a:effectLst>
                    <a:outerShdw blurRad="63500" dist="38100" dir="2700000" algn="tl">
                      <a:srgbClr val="000000">
                        <a:alpha val="82000"/>
                      </a:srgbClr>
                    </a:outerShdw>
                  </a:effectLst>
                  <a:cs typeface="Arial" pitchFamily="34" charset="0"/>
                </a:rPr>
                <a:t>Cost</a:t>
              </a:r>
            </a:p>
          </p:txBody>
        </p:sp>
      </p:grpSp>
      <p:sp>
        <p:nvSpPr>
          <p:cNvPr id="37" name="Rectangle 36"/>
          <p:cNvSpPr/>
          <p:nvPr/>
        </p:nvSpPr>
        <p:spPr bwMode="invGray">
          <a:xfrm>
            <a:off x="0" y="3988168"/>
            <a:ext cx="9144000" cy="1155338"/>
          </a:xfrm>
          <a:prstGeom prst="rect">
            <a:avLst/>
          </a:prstGeom>
          <a:noFill/>
          <a:ln w="6350" cap="flat" cmpd="sng" algn="ctr">
            <a:noFill/>
            <a:prstDash val="solid"/>
            <a:round/>
            <a:headEnd type="none" w="med" len="med"/>
            <a:tailEnd type="none" w="med" len="med"/>
          </a:ln>
          <a:effectLst/>
        </p:spPr>
        <p:txBody>
          <a:bodyPr lIns="0" tIns="91428" rIns="0" bIns="0"/>
          <a:lstStyle/>
          <a:p>
            <a:pPr algn="ctr">
              <a:defRPr/>
            </a:pPr>
            <a:endParaRPr lang="en-US" sz="2000" kern="0" dirty="0">
              <a:gradFill>
                <a:gsLst>
                  <a:gs pos="0">
                    <a:srgbClr val="FFFFFF"/>
                  </a:gs>
                  <a:gs pos="86000">
                    <a:srgbClr val="FFFFFF"/>
                  </a:gs>
                </a:gsLst>
                <a:lin ang="5400000" scaled="0"/>
              </a:gradFill>
            </a:endParaRPr>
          </a:p>
        </p:txBody>
      </p:sp>
      <p:sp>
        <p:nvSpPr>
          <p:cNvPr id="9" name="Title 11"/>
          <p:cNvSpPr>
            <a:spLocks noGrp="1"/>
          </p:cNvSpPr>
          <p:nvPr>
            <p:ph type="title"/>
          </p:nvPr>
        </p:nvSpPr>
        <p:spPr/>
        <p:txBody>
          <a:bodyPr>
            <a:normAutofit/>
          </a:bodyPr>
          <a:lstStyle/>
          <a:p>
            <a:r>
              <a:rPr lang="en-US" dirty="0" smtClean="0"/>
              <a:t>Evolution of Clouds</a:t>
            </a:r>
            <a:endParaRPr lang="en-US" dirty="0">
              <a:solidFill>
                <a:schemeClr val="tx1"/>
              </a:solidFill>
            </a:endParaRPr>
          </a:p>
        </p:txBody>
      </p:sp>
      <p:sp>
        <p:nvSpPr>
          <p:cNvPr id="13" name="Round Same Side Corner Rectangle 12"/>
          <p:cNvSpPr/>
          <p:nvPr/>
        </p:nvSpPr>
        <p:spPr bwMode="auto">
          <a:xfrm flipV="1">
            <a:off x="0" y="819150"/>
            <a:ext cx="9144000" cy="3748896"/>
          </a:xfrm>
          <a:prstGeom prst="round2SameRect">
            <a:avLst>
              <a:gd name="adj1" fmla="val 0"/>
              <a:gd name="adj2" fmla="val 2813"/>
            </a:avLst>
          </a:prstGeom>
          <a:noFill/>
          <a:ln w="28575" cap="flat" cmpd="sng" algn="ctr">
            <a:noFill/>
            <a:prstDash val="solid"/>
            <a:headEnd type="none" w="med" len="med"/>
            <a:tailEnd type="none" w="med" len="med"/>
          </a:ln>
          <a:effectLst/>
        </p:spPr>
        <p:txBody>
          <a:bodyPr lIns="91424" tIns="45712" rIns="91424" bIns="45712" anchor="ctr"/>
          <a:lstStyle/>
          <a:p>
            <a:pPr algn="ctr" defTabSz="913985">
              <a:defRPr/>
            </a:pPr>
            <a:endParaRPr lang="en-US" kern="0" dirty="0">
              <a:solidFill>
                <a:srgbClr val="000000">
                  <a:alpha val="99000"/>
                </a:srgbClr>
              </a:solidFill>
              <a:latin typeface="Calibri"/>
            </a:endParaRPr>
          </a:p>
        </p:txBody>
      </p:sp>
      <p:sp>
        <p:nvSpPr>
          <p:cNvPr id="19" name="Rectangle 18"/>
          <p:cNvSpPr/>
          <p:nvPr/>
        </p:nvSpPr>
        <p:spPr>
          <a:xfrm>
            <a:off x="1790609" y="967990"/>
            <a:ext cx="2286000" cy="923318"/>
          </a:xfrm>
          <a:prstGeom prst="rect">
            <a:avLst/>
          </a:prstGeom>
        </p:spPr>
        <p:txBody>
          <a:bodyPr wrap="square" lIns="91428" tIns="45714" rIns="91428" bIns="45714">
            <a:spAutoFit/>
          </a:bodyPr>
          <a:lstStyle/>
          <a:p>
            <a:pPr algn="ctr" defTabSz="914184" eaLnBrk="0" hangingPunct="0">
              <a:lnSpc>
                <a:spcPct val="90000"/>
              </a:lnSpc>
              <a:defRPr/>
            </a:pPr>
            <a:r>
              <a:rPr lang="en-US" sz="2000" kern="0" dirty="0">
                <a:gradFill>
                  <a:gsLst>
                    <a:gs pos="26000">
                      <a:srgbClr val="FFFFFF"/>
                    </a:gs>
                    <a:gs pos="97000">
                      <a:srgbClr val="FFFFFF"/>
                    </a:gs>
                  </a:gsLst>
                  <a:lin ang="16200000" scaled="0"/>
                </a:gradFill>
                <a:effectLst>
                  <a:outerShdw blurRad="38100" dist="38100" dir="2700000" algn="tl">
                    <a:srgbClr val="000000">
                      <a:alpha val="43137"/>
                    </a:srgbClr>
                  </a:outerShdw>
                </a:effectLst>
                <a:latin typeface="Segoe Light" pitchFamily="34" charset="0"/>
                <a:ea typeface="Segoe UI" pitchFamily="34" charset="0"/>
                <a:cs typeface="Segoe UI" pitchFamily="34" charset="0"/>
              </a:rPr>
              <a:t>Traditional</a:t>
            </a:r>
            <a:r>
              <a:rPr lang="en-US" sz="2000" kern="0" dirty="0">
                <a:gradFill>
                  <a:gsLst>
                    <a:gs pos="26000">
                      <a:srgbClr val="FFFFFF"/>
                    </a:gs>
                    <a:gs pos="97000">
                      <a:srgbClr val="FFFFFF"/>
                    </a:gs>
                  </a:gsLst>
                  <a:lin ang="16200000" scaled="0"/>
                </a:gradFill>
                <a:latin typeface="Segoe Light" pitchFamily="34" charset="0"/>
                <a:ea typeface="Segoe UI" pitchFamily="34" charset="0"/>
                <a:cs typeface="Segoe UI" pitchFamily="34" charset="0"/>
              </a:rPr>
              <a:t> </a:t>
            </a:r>
          </a:p>
          <a:p>
            <a:pPr algn="ctr" defTabSz="914184" eaLnBrk="0" hangingPunct="0">
              <a:lnSpc>
                <a:spcPct val="90000"/>
              </a:lnSpc>
              <a:defRPr/>
            </a:pPr>
            <a:r>
              <a:rPr lang="en-US" sz="2000" kern="0" dirty="0">
                <a:gradFill>
                  <a:gsLst>
                    <a:gs pos="26000">
                      <a:srgbClr val="FFFFFF"/>
                    </a:gs>
                    <a:gs pos="97000">
                      <a:srgbClr val="FFFFFF"/>
                    </a:gs>
                  </a:gsLst>
                  <a:lin ang="16200000" scaled="0"/>
                </a:gradFill>
                <a:latin typeface="Segoe Light" pitchFamily="34" charset="0"/>
                <a:ea typeface="Segoe UI" pitchFamily="34" charset="0"/>
                <a:cs typeface="Segoe UI" pitchFamily="34" charset="0"/>
              </a:rPr>
              <a:t>Datacenters with Dedicated Servers</a:t>
            </a:r>
          </a:p>
        </p:txBody>
      </p:sp>
      <p:sp>
        <p:nvSpPr>
          <p:cNvPr id="20" name="Rectangle 19"/>
          <p:cNvSpPr/>
          <p:nvPr/>
        </p:nvSpPr>
        <p:spPr>
          <a:xfrm>
            <a:off x="4420137" y="986661"/>
            <a:ext cx="2209800" cy="933701"/>
          </a:xfrm>
          <a:prstGeom prst="rect">
            <a:avLst/>
          </a:prstGeom>
        </p:spPr>
        <p:txBody>
          <a:bodyPr wrap="square" lIns="91428" tIns="45714" rIns="91428" bIns="45714">
            <a:spAutoFit/>
          </a:bodyPr>
          <a:lstStyle/>
          <a:p>
            <a:pPr algn="ctr" defTabSz="914184" eaLnBrk="0" hangingPunct="0">
              <a:lnSpc>
                <a:spcPct val="90000"/>
              </a:lnSpc>
              <a:defRPr/>
            </a:pPr>
            <a:r>
              <a:rPr lang="en-US" sz="2000" kern="0" dirty="0">
                <a:gradFill>
                  <a:gsLst>
                    <a:gs pos="26000">
                      <a:srgbClr val="FFFFFF"/>
                    </a:gs>
                    <a:gs pos="97000">
                      <a:srgbClr val="FFFFFF"/>
                    </a:gs>
                  </a:gsLst>
                  <a:lin ang="16200000" scaled="0"/>
                </a:gradFill>
                <a:effectLst>
                  <a:outerShdw blurRad="38100" dist="38100" dir="2700000" algn="tl">
                    <a:srgbClr val="000000">
                      <a:alpha val="43137"/>
                    </a:srgbClr>
                  </a:outerShdw>
                </a:effectLst>
                <a:latin typeface="Segoe Light" pitchFamily="34" charset="0"/>
                <a:ea typeface="Segoe UI" pitchFamily="34" charset="0"/>
                <a:cs typeface="Segoe UI" pitchFamily="34" charset="0"/>
              </a:rPr>
              <a:t>Server Virtualization in Datacenters</a:t>
            </a:r>
          </a:p>
        </p:txBody>
      </p:sp>
      <p:sp>
        <p:nvSpPr>
          <p:cNvPr id="56" name="Rectangle 55"/>
          <p:cNvSpPr/>
          <p:nvPr/>
        </p:nvSpPr>
        <p:spPr>
          <a:xfrm>
            <a:off x="3276604" y="3154960"/>
            <a:ext cx="1752599" cy="445490"/>
          </a:xfrm>
          <a:prstGeom prst="rect">
            <a:avLst/>
          </a:prstGeom>
        </p:spPr>
        <p:txBody>
          <a:bodyPr wrap="square" lIns="91428" tIns="45714" rIns="91428" bIns="45714">
            <a:spAutoFit/>
          </a:bodyPr>
          <a:lstStyle/>
          <a:p>
            <a:pPr marL="171429" indent="-171429" defTabSz="914184" eaLnBrk="0" hangingPunct="0">
              <a:lnSpc>
                <a:spcPct val="90000"/>
              </a:lnSpc>
              <a:buFont typeface="Arial" pitchFamily="34" charset="0"/>
              <a:buChar char="•"/>
              <a:defRPr/>
            </a:pPr>
            <a:endParaRPr lang="en-US" sz="1100" kern="0" dirty="0">
              <a:gradFill>
                <a:gsLst>
                  <a:gs pos="26000">
                    <a:srgbClr val="FFFFFF"/>
                  </a:gs>
                  <a:gs pos="97000">
                    <a:srgbClr val="FFFFFF"/>
                  </a:gs>
                </a:gsLst>
                <a:lin ang="16200000" scaled="0"/>
              </a:gradFill>
              <a:latin typeface="Segoe Light" pitchFamily="34" charset="0"/>
              <a:ea typeface="Segoe UI" pitchFamily="34" charset="0"/>
              <a:cs typeface="Segoe UI" pitchFamily="34" charset="0"/>
            </a:endParaRPr>
          </a:p>
          <a:p>
            <a:pPr algn="ctr" defTabSz="914184" eaLnBrk="0" hangingPunct="0">
              <a:lnSpc>
                <a:spcPct val="90000"/>
              </a:lnSpc>
              <a:defRPr/>
            </a:pPr>
            <a:endParaRPr lang="en-US" kern="0" dirty="0">
              <a:gradFill>
                <a:gsLst>
                  <a:gs pos="26000">
                    <a:srgbClr val="FFFFFF"/>
                  </a:gs>
                  <a:gs pos="97000">
                    <a:srgbClr val="FFFFFF"/>
                  </a:gs>
                </a:gsLst>
                <a:lin ang="16200000" scaled="0"/>
              </a:gradFill>
              <a:latin typeface="Segoe Light" pitchFamily="34" charset="0"/>
              <a:ea typeface="Segoe UI" pitchFamily="34" charset="0"/>
              <a:cs typeface="Segoe UI" pitchFamily="34" charset="0"/>
            </a:endParaRPr>
          </a:p>
        </p:txBody>
      </p:sp>
      <p:grpSp>
        <p:nvGrpSpPr>
          <p:cNvPr id="73" name="Group 72"/>
          <p:cNvGrpSpPr>
            <a:grpSpLocks/>
          </p:cNvGrpSpPr>
          <p:nvPr/>
        </p:nvGrpSpPr>
        <p:grpSpPr bwMode="auto">
          <a:xfrm>
            <a:off x="4533188" y="1958595"/>
            <a:ext cx="2020553" cy="1138781"/>
            <a:chOff x="5065683" y="1628640"/>
            <a:chExt cx="3599354" cy="2955295"/>
          </a:xfrm>
        </p:grpSpPr>
        <p:grpSp>
          <p:nvGrpSpPr>
            <p:cNvPr id="83" name="Group 65"/>
            <p:cNvGrpSpPr>
              <a:grpSpLocks/>
            </p:cNvGrpSpPr>
            <p:nvPr/>
          </p:nvGrpSpPr>
          <p:grpSpPr bwMode="auto">
            <a:xfrm>
              <a:off x="5065683" y="1628640"/>
              <a:ext cx="1900577" cy="2955295"/>
              <a:chOff x="5105004" y="1336938"/>
              <a:chExt cx="1900576" cy="2955295"/>
            </a:xfrm>
          </p:grpSpPr>
          <p:pic>
            <p:nvPicPr>
              <p:cNvPr id="84" name="Picture 66" descr="2-20113-ServerRow.png"/>
              <p:cNvPicPr>
                <a:picLocks noChangeAspect="1"/>
              </p:cNvPicPr>
              <p:nvPr/>
            </p:nvPicPr>
            <p:blipFill>
              <a:blip r:embed="rId3"/>
              <a:srcRect/>
              <a:stretch>
                <a:fillRect/>
              </a:stretch>
            </p:blipFill>
            <p:spPr bwMode="auto">
              <a:xfrm>
                <a:off x="5374335" y="1343011"/>
                <a:ext cx="1631245" cy="2949222"/>
              </a:xfrm>
              <a:prstGeom prst="rect">
                <a:avLst/>
              </a:prstGeom>
              <a:noFill/>
              <a:ln w="9525">
                <a:noFill/>
                <a:miter lim="800000"/>
                <a:headEnd/>
                <a:tailEnd/>
              </a:ln>
            </p:spPr>
          </p:pic>
          <p:sp>
            <p:nvSpPr>
              <p:cNvPr id="85" name="Rectangle 84"/>
              <p:cNvSpPr/>
              <p:nvPr/>
            </p:nvSpPr>
            <p:spPr bwMode="auto">
              <a:xfrm>
                <a:off x="5105004" y="1336938"/>
                <a:ext cx="269335" cy="2949222"/>
              </a:xfrm>
              <a:prstGeom prst="rect">
                <a:avLst/>
              </a:prstGeom>
              <a:gradFill flip="none" rotWithShape="1">
                <a:gsLst>
                  <a:gs pos="0">
                    <a:srgbClr val="000000">
                      <a:lumMod val="75000"/>
                      <a:lumOff val="25000"/>
                    </a:srgbClr>
                  </a:gs>
                  <a:gs pos="100000">
                    <a:srgbClr val="000000">
                      <a:shade val="30000"/>
                      <a:satMod val="200000"/>
                      <a:lumMod val="0"/>
                    </a:srgbClr>
                  </a:gs>
                </a:gsLst>
                <a:path path="circle">
                  <a:fillToRect t="100000" r="100000"/>
                </a:path>
                <a:tileRect l="-100000" b="-100000"/>
              </a:gradFill>
              <a:ln w="6350" cap="flat" cmpd="sng" algn="ctr">
                <a:noFill/>
                <a:prstDash val="solid"/>
                <a:headEnd type="none" w="med" len="med"/>
                <a:tailEnd type="none" w="med" len="med"/>
              </a:ln>
              <a:effectLst>
                <a:outerShdw blurRad="50800" dist="38100" dir="13500000" algn="br" rotWithShape="0">
                  <a:prstClr val="black">
                    <a:alpha val="40000"/>
                  </a:prstClr>
                </a:outerShdw>
              </a:effectLst>
            </p:spPr>
            <p:txBody>
              <a:bodyPr lIns="91436" tIns="45718" rIns="91436" bIns="45718" anchor="ctr"/>
              <a:lstStyle/>
              <a:p>
                <a:pPr algn="ctr" defTabSz="913985">
                  <a:defRPr/>
                </a:pPr>
                <a:endParaRPr lang="en-US" kern="0" dirty="0">
                  <a:solidFill>
                    <a:srgbClr val="000000">
                      <a:alpha val="99000"/>
                    </a:srgbClr>
                  </a:solidFill>
                  <a:latin typeface="Calibri"/>
                </a:endParaRPr>
              </a:p>
            </p:txBody>
          </p:sp>
        </p:grpSp>
        <p:grpSp>
          <p:nvGrpSpPr>
            <p:cNvPr id="77" name="Group 59"/>
            <p:cNvGrpSpPr>
              <a:grpSpLocks/>
            </p:cNvGrpSpPr>
            <p:nvPr/>
          </p:nvGrpSpPr>
          <p:grpSpPr bwMode="auto">
            <a:xfrm flipH="1">
              <a:off x="6764458" y="1628640"/>
              <a:ext cx="1900579" cy="2955295"/>
              <a:chOff x="5105004" y="1336938"/>
              <a:chExt cx="1900580" cy="2955295"/>
            </a:xfrm>
          </p:grpSpPr>
          <p:pic>
            <p:nvPicPr>
              <p:cNvPr id="78" name="Picture 60" descr="2-20113-ServerRow.png"/>
              <p:cNvPicPr>
                <a:picLocks noChangeAspect="1"/>
              </p:cNvPicPr>
              <p:nvPr/>
            </p:nvPicPr>
            <p:blipFill>
              <a:blip r:embed="rId3"/>
              <a:srcRect/>
              <a:stretch>
                <a:fillRect/>
              </a:stretch>
            </p:blipFill>
            <p:spPr bwMode="auto">
              <a:xfrm>
                <a:off x="5374339" y="1343011"/>
                <a:ext cx="1631245" cy="2949222"/>
              </a:xfrm>
              <a:prstGeom prst="rect">
                <a:avLst/>
              </a:prstGeom>
              <a:noFill/>
              <a:ln w="9525">
                <a:noFill/>
                <a:miter lim="800000"/>
                <a:headEnd/>
                <a:tailEnd/>
              </a:ln>
            </p:spPr>
          </p:pic>
          <p:sp>
            <p:nvSpPr>
              <p:cNvPr id="79" name="Rectangle 78"/>
              <p:cNvSpPr/>
              <p:nvPr/>
            </p:nvSpPr>
            <p:spPr bwMode="auto">
              <a:xfrm>
                <a:off x="5105004" y="1336938"/>
                <a:ext cx="269335" cy="2949222"/>
              </a:xfrm>
              <a:prstGeom prst="rect">
                <a:avLst/>
              </a:prstGeom>
              <a:gradFill flip="none" rotWithShape="1">
                <a:gsLst>
                  <a:gs pos="0">
                    <a:srgbClr val="000000">
                      <a:lumMod val="75000"/>
                      <a:lumOff val="25000"/>
                    </a:srgbClr>
                  </a:gs>
                  <a:gs pos="100000">
                    <a:srgbClr val="000000">
                      <a:shade val="30000"/>
                      <a:satMod val="200000"/>
                      <a:lumMod val="0"/>
                    </a:srgbClr>
                  </a:gs>
                </a:gsLst>
                <a:path path="circle">
                  <a:fillToRect t="100000" r="100000"/>
                </a:path>
                <a:tileRect l="-100000" b="-100000"/>
              </a:gradFill>
              <a:ln w="6350" cap="flat" cmpd="sng" algn="ctr">
                <a:noFill/>
                <a:prstDash val="solid"/>
                <a:headEnd type="none" w="med" len="med"/>
                <a:tailEnd type="none" w="med" len="med"/>
              </a:ln>
              <a:effectLst>
                <a:outerShdw blurRad="50800" dist="38100" dir="13500000" algn="br" rotWithShape="0">
                  <a:prstClr val="black">
                    <a:alpha val="40000"/>
                  </a:prstClr>
                </a:outerShdw>
              </a:effectLst>
            </p:spPr>
            <p:txBody>
              <a:bodyPr lIns="91436" tIns="45718" rIns="91436" bIns="45718" anchor="ctr"/>
              <a:lstStyle/>
              <a:p>
                <a:pPr algn="ctr" defTabSz="913985">
                  <a:defRPr/>
                </a:pPr>
                <a:endParaRPr lang="en-US" kern="0" dirty="0">
                  <a:solidFill>
                    <a:srgbClr val="000000">
                      <a:alpha val="99000"/>
                    </a:srgbClr>
                  </a:solidFill>
                  <a:latin typeface="Calibri"/>
                </a:endParaRPr>
              </a:p>
            </p:txBody>
          </p:sp>
        </p:grpSp>
      </p:grpSp>
      <p:grpSp>
        <p:nvGrpSpPr>
          <p:cNvPr id="6" name="Group 5"/>
          <p:cNvGrpSpPr/>
          <p:nvPr/>
        </p:nvGrpSpPr>
        <p:grpSpPr>
          <a:xfrm>
            <a:off x="1654188" y="1882391"/>
            <a:ext cx="2574827" cy="1391247"/>
            <a:chOff x="1654184" y="2311401"/>
            <a:chExt cx="2574827" cy="1854996"/>
          </a:xfrm>
        </p:grpSpPr>
        <p:grpSp>
          <p:nvGrpSpPr>
            <p:cNvPr id="21" name="Group 20"/>
            <p:cNvGrpSpPr>
              <a:grpSpLocks/>
            </p:cNvGrpSpPr>
            <p:nvPr/>
          </p:nvGrpSpPr>
          <p:grpSpPr bwMode="auto">
            <a:xfrm>
              <a:off x="1654184" y="2311401"/>
              <a:ext cx="2574827" cy="1651795"/>
              <a:chOff x="4572000" y="1368957"/>
              <a:chExt cx="4586725" cy="3214978"/>
            </a:xfrm>
          </p:grpSpPr>
          <p:grpSp>
            <p:nvGrpSpPr>
              <p:cNvPr id="22" name="Group 56"/>
              <p:cNvGrpSpPr>
                <a:grpSpLocks/>
              </p:cNvGrpSpPr>
              <p:nvPr/>
            </p:nvGrpSpPr>
            <p:grpSpPr bwMode="auto">
              <a:xfrm>
                <a:off x="4572000" y="1368957"/>
                <a:ext cx="2394263" cy="3214978"/>
                <a:chOff x="4980817" y="1354805"/>
                <a:chExt cx="2394263" cy="3214978"/>
              </a:xfrm>
            </p:grpSpPr>
            <p:grpSp>
              <p:nvGrpSpPr>
                <p:cNvPr id="30" name="Group 64"/>
                <p:cNvGrpSpPr>
                  <a:grpSpLocks/>
                </p:cNvGrpSpPr>
                <p:nvPr/>
              </p:nvGrpSpPr>
              <p:grpSpPr bwMode="auto">
                <a:xfrm>
                  <a:off x="4980817" y="1354805"/>
                  <a:ext cx="1900580" cy="2955295"/>
                  <a:chOff x="5105004" y="1336938"/>
                  <a:chExt cx="1900580" cy="2955295"/>
                </a:xfrm>
              </p:grpSpPr>
              <p:pic>
                <p:nvPicPr>
                  <p:cNvPr id="34" name="Picture 68" descr="2-20113-ServerRow.png"/>
                  <p:cNvPicPr>
                    <a:picLocks noChangeAspect="1"/>
                  </p:cNvPicPr>
                  <p:nvPr/>
                </p:nvPicPr>
                <p:blipFill>
                  <a:blip r:embed="rId3"/>
                  <a:srcRect/>
                  <a:stretch>
                    <a:fillRect/>
                  </a:stretch>
                </p:blipFill>
                <p:spPr bwMode="auto">
                  <a:xfrm>
                    <a:off x="5374339" y="1343011"/>
                    <a:ext cx="1631245" cy="2949222"/>
                  </a:xfrm>
                  <a:prstGeom prst="rect">
                    <a:avLst/>
                  </a:prstGeom>
                  <a:noFill/>
                  <a:ln w="9525">
                    <a:noFill/>
                    <a:miter lim="800000"/>
                    <a:headEnd/>
                    <a:tailEnd/>
                  </a:ln>
                </p:spPr>
              </p:pic>
              <p:sp>
                <p:nvSpPr>
                  <p:cNvPr id="35" name="Rectangle 34"/>
                  <p:cNvSpPr/>
                  <p:nvPr/>
                </p:nvSpPr>
                <p:spPr bwMode="auto">
                  <a:xfrm>
                    <a:off x="5105004" y="1336938"/>
                    <a:ext cx="269335" cy="2949222"/>
                  </a:xfrm>
                  <a:prstGeom prst="rect">
                    <a:avLst/>
                  </a:prstGeom>
                  <a:gradFill flip="none" rotWithShape="1">
                    <a:gsLst>
                      <a:gs pos="0">
                        <a:srgbClr val="000000">
                          <a:lumMod val="75000"/>
                          <a:lumOff val="25000"/>
                        </a:srgbClr>
                      </a:gs>
                      <a:gs pos="100000">
                        <a:srgbClr val="000000">
                          <a:shade val="30000"/>
                          <a:satMod val="200000"/>
                          <a:lumMod val="0"/>
                        </a:srgbClr>
                      </a:gs>
                    </a:gsLst>
                    <a:path path="circle">
                      <a:fillToRect t="100000" r="100000"/>
                    </a:path>
                    <a:tileRect l="-100000" b="-100000"/>
                  </a:gradFill>
                  <a:ln w="6350" cap="flat" cmpd="sng" algn="ctr">
                    <a:noFill/>
                    <a:prstDash val="solid"/>
                    <a:headEnd type="none" w="med" len="med"/>
                    <a:tailEnd type="none" w="med" len="med"/>
                  </a:ln>
                  <a:effectLst>
                    <a:outerShdw blurRad="50800" dist="38100" dir="13500000" algn="br" rotWithShape="0">
                      <a:prstClr val="black">
                        <a:alpha val="40000"/>
                      </a:prstClr>
                    </a:outerShdw>
                  </a:effectLst>
                </p:spPr>
                <p:txBody>
                  <a:bodyPr lIns="91436" tIns="45718" rIns="91436" bIns="45718" anchor="ctr"/>
                  <a:lstStyle/>
                  <a:p>
                    <a:pPr algn="ctr" defTabSz="913985">
                      <a:defRPr/>
                    </a:pPr>
                    <a:endParaRPr lang="en-US" kern="0" dirty="0">
                      <a:solidFill>
                        <a:srgbClr val="000000">
                          <a:alpha val="99000"/>
                        </a:srgbClr>
                      </a:solidFill>
                      <a:latin typeface="Calibri"/>
                    </a:endParaRPr>
                  </a:p>
                </p:txBody>
              </p:sp>
            </p:grpSp>
            <p:grpSp>
              <p:nvGrpSpPr>
                <p:cNvPr id="31" name="Group 65"/>
                <p:cNvGrpSpPr>
                  <a:grpSpLocks/>
                </p:cNvGrpSpPr>
                <p:nvPr/>
              </p:nvGrpSpPr>
              <p:grpSpPr bwMode="auto">
                <a:xfrm>
                  <a:off x="5474500" y="1614488"/>
                  <a:ext cx="1900580" cy="2955295"/>
                  <a:chOff x="5105004" y="1336938"/>
                  <a:chExt cx="1900580" cy="2955295"/>
                </a:xfrm>
              </p:grpSpPr>
              <p:pic>
                <p:nvPicPr>
                  <p:cNvPr id="32" name="Picture 66" descr="2-20113-ServerRow.png"/>
                  <p:cNvPicPr>
                    <a:picLocks noChangeAspect="1"/>
                  </p:cNvPicPr>
                  <p:nvPr/>
                </p:nvPicPr>
                <p:blipFill>
                  <a:blip r:embed="rId3"/>
                  <a:srcRect/>
                  <a:stretch>
                    <a:fillRect/>
                  </a:stretch>
                </p:blipFill>
                <p:spPr bwMode="auto">
                  <a:xfrm>
                    <a:off x="5374339" y="1343011"/>
                    <a:ext cx="1631245" cy="2949222"/>
                  </a:xfrm>
                  <a:prstGeom prst="rect">
                    <a:avLst/>
                  </a:prstGeom>
                  <a:noFill/>
                  <a:ln w="9525">
                    <a:noFill/>
                    <a:miter lim="800000"/>
                    <a:headEnd/>
                    <a:tailEnd/>
                  </a:ln>
                </p:spPr>
              </p:pic>
              <p:sp>
                <p:nvSpPr>
                  <p:cNvPr id="33" name="Rectangle 32"/>
                  <p:cNvSpPr/>
                  <p:nvPr/>
                </p:nvSpPr>
                <p:spPr bwMode="auto">
                  <a:xfrm>
                    <a:off x="5105004" y="1336938"/>
                    <a:ext cx="269335" cy="2949222"/>
                  </a:xfrm>
                  <a:prstGeom prst="rect">
                    <a:avLst/>
                  </a:prstGeom>
                  <a:gradFill flip="none" rotWithShape="1">
                    <a:gsLst>
                      <a:gs pos="0">
                        <a:srgbClr val="000000">
                          <a:lumMod val="75000"/>
                          <a:lumOff val="25000"/>
                        </a:srgbClr>
                      </a:gs>
                      <a:gs pos="100000">
                        <a:srgbClr val="000000">
                          <a:shade val="30000"/>
                          <a:satMod val="200000"/>
                          <a:lumMod val="0"/>
                        </a:srgbClr>
                      </a:gs>
                    </a:gsLst>
                    <a:path path="circle">
                      <a:fillToRect t="100000" r="100000"/>
                    </a:path>
                    <a:tileRect l="-100000" b="-100000"/>
                  </a:gradFill>
                  <a:ln w="6350" cap="flat" cmpd="sng" algn="ctr">
                    <a:noFill/>
                    <a:prstDash val="solid"/>
                    <a:headEnd type="none" w="med" len="med"/>
                    <a:tailEnd type="none" w="med" len="med"/>
                  </a:ln>
                  <a:effectLst>
                    <a:outerShdw blurRad="50800" dist="38100" dir="13500000" algn="br" rotWithShape="0">
                      <a:prstClr val="black">
                        <a:alpha val="40000"/>
                      </a:prstClr>
                    </a:outerShdw>
                  </a:effectLst>
                </p:spPr>
                <p:txBody>
                  <a:bodyPr lIns="91436" tIns="45718" rIns="91436" bIns="45718" anchor="ctr"/>
                  <a:lstStyle/>
                  <a:p>
                    <a:pPr algn="ctr" defTabSz="913985">
                      <a:defRPr/>
                    </a:pPr>
                    <a:endParaRPr lang="en-US" kern="0" dirty="0">
                      <a:solidFill>
                        <a:srgbClr val="000000">
                          <a:alpha val="99000"/>
                        </a:srgbClr>
                      </a:solidFill>
                      <a:latin typeface="Calibri"/>
                    </a:endParaRPr>
                  </a:p>
                </p:txBody>
              </p:sp>
            </p:grpSp>
          </p:grpSp>
          <p:grpSp>
            <p:nvGrpSpPr>
              <p:cNvPr id="23" name="Group 57"/>
              <p:cNvGrpSpPr>
                <a:grpSpLocks/>
              </p:cNvGrpSpPr>
              <p:nvPr/>
            </p:nvGrpSpPr>
            <p:grpSpPr bwMode="auto">
              <a:xfrm flipH="1">
                <a:off x="6764462" y="1368957"/>
                <a:ext cx="2394263" cy="3214978"/>
                <a:chOff x="4980817" y="1354805"/>
                <a:chExt cx="2394263" cy="3214978"/>
              </a:xfrm>
            </p:grpSpPr>
            <p:grpSp>
              <p:nvGrpSpPr>
                <p:cNvPr id="24" name="Group 58"/>
                <p:cNvGrpSpPr>
                  <a:grpSpLocks/>
                </p:cNvGrpSpPr>
                <p:nvPr/>
              </p:nvGrpSpPr>
              <p:grpSpPr bwMode="auto">
                <a:xfrm>
                  <a:off x="4980817" y="1354805"/>
                  <a:ext cx="1900580" cy="2955295"/>
                  <a:chOff x="5105004" y="1336938"/>
                  <a:chExt cx="1900580" cy="2955295"/>
                </a:xfrm>
              </p:grpSpPr>
              <p:pic>
                <p:nvPicPr>
                  <p:cNvPr id="28" name="Picture 62" descr="2-20113-ServerRow.png"/>
                  <p:cNvPicPr>
                    <a:picLocks noChangeAspect="1"/>
                  </p:cNvPicPr>
                  <p:nvPr/>
                </p:nvPicPr>
                <p:blipFill>
                  <a:blip r:embed="rId3"/>
                  <a:srcRect/>
                  <a:stretch>
                    <a:fillRect/>
                  </a:stretch>
                </p:blipFill>
                <p:spPr bwMode="auto">
                  <a:xfrm>
                    <a:off x="5374339" y="1343011"/>
                    <a:ext cx="1631245" cy="2949222"/>
                  </a:xfrm>
                  <a:prstGeom prst="rect">
                    <a:avLst/>
                  </a:prstGeom>
                  <a:noFill/>
                  <a:ln w="9525">
                    <a:noFill/>
                    <a:miter lim="800000"/>
                    <a:headEnd/>
                    <a:tailEnd/>
                  </a:ln>
                </p:spPr>
              </p:pic>
              <p:sp>
                <p:nvSpPr>
                  <p:cNvPr id="29" name="Rectangle 28"/>
                  <p:cNvSpPr/>
                  <p:nvPr/>
                </p:nvSpPr>
                <p:spPr bwMode="auto">
                  <a:xfrm>
                    <a:off x="5105004" y="1336938"/>
                    <a:ext cx="269335" cy="2949222"/>
                  </a:xfrm>
                  <a:prstGeom prst="rect">
                    <a:avLst/>
                  </a:prstGeom>
                  <a:gradFill flip="none" rotWithShape="1">
                    <a:gsLst>
                      <a:gs pos="0">
                        <a:srgbClr val="000000">
                          <a:lumMod val="75000"/>
                          <a:lumOff val="25000"/>
                        </a:srgbClr>
                      </a:gs>
                      <a:gs pos="100000">
                        <a:srgbClr val="000000">
                          <a:shade val="30000"/>
                          <a:satMod val="200000"/>
                          <a:lumMod val="0"/>
                        </a:srgbClr>
                      </a:gs>
                    </a:gsLst>
                    <a:path path="circle">
                      <a:fillToRect t="100000" r="100000"/>
                    </a:path>
                    <a:tileRect l="-100000" b="-100000"/>
                  </a:gradFill>
                  <a:ln w="6350" cap="flat" cmpd="sng" algn="ctr">
                    <a:noFill/>
                    <a:prstDash val="solid"/>
                    <a:headEnd type="none" w="med" len="med"/>
                    <a:tailEnd type="none" w="med" len="med"/>
                  </a:ln>
                  <a:effectLst>
                    <a:outerShdw blurRad="50800" dist="38100" dir="13500000" algn="br" rotWithShape="0">
                      <a:prstClr val="black">
                        <a:alpha val="40000"/>
                      </a:prstClr>
                    </a:outerShdw>
                  </a:effectLst>
                </p:spPr>
                <p:txBody>
                  <a:bodyPr lIns="91436" tIns="45718" rIns="91436" bIns="45718" anchor="ctr"/>
                  <a:lstStyle/>
                  <a:p>
                    <a:pPr algn="ctr" defTabSz="913985">
                      <a:defRPr/>
                    </a:pPr>
                    <a:endParaRPr lang="en-US" kern="0" dirty="0">
                      <a:solidFill>
                        <a:srgbClr val="000000">
                          <a:alpha val="99000"/>
                        </a:srgbClr>
                      </a:solidFill>
                      <a:latin typeface="Calibri"/>
                    </a:endParaRPr>
                  </a:p>
                </p:txBody>
              </p:sp>
            </p:grpSp>
            <p:grpSp>
              <p:nvGrpSpPr>
                <p:cNvPr id="25" name="Group 59"/>
                <p:cNvGrpSpPr>
                  <a:grpSpLocks/>
                </p:cNvGrpSpPr>
                <p:nvPr/>
              </p:nvGrpSpPr>
              <p:grpSpPr bwMode="auto">
                <a:xfrm>
                  <a:off x="5474500" y="1614488"/>
                  <a:ext cx="1900580" cy="2955295"/>
                  <a:chOff x="5105004" y="1336938"/>
                  <a:chExt cx="1900580" cy="2955295"/>
                </a:xfrm>
              </p:grpSpPr>
              <p:pic>
                <p:nvPicPr>
                  <p:cNvPr id="26" name="Picture 60" descr="2-20113-ServerRow.png"/>
                  <p:cNvPicPr>
                    <a:picLocks noChangeAspect="1"/>
                  </p:cNvPicPr>
                  <p:nvPr/>
                </p:nvPicPr>
                <p:blipFill>
                  <a:blip r:embed="rId3"/>
                  <a:srcRect/>
                  <a:stretch>
                    <a:fillRect/>
                  </a:stretch>
                </p:blipFill>
                <p:spPr bwMode="auto">
                  <a:xfrm>
                    <a:off x="5374339" y="1343011"/>
                    <a:ext cx="1631245" cy="2949222"/>
                  </a:xfrm>
                  <a:prstGeom prst="rect">
                    <a:avLst/>
                  </a:prstGeom>
                  <a:noFill/>
                  <a:ln w="9525">
                    <a:noFill/>
                    <a:miter lim="800000"/>
                    <a:headEnd/>
                    <a:tailEnd/>
                  </a:ln>
                </p:spPr>
              </p:pic>
              <p:sp>
                <p:nvSpPr>
                  <p:cNvPr id="27" name="Rectangle 26"/>
                  <p:cNvSpPr/>
                  <p:nvPr/>
                </p:nvSpPr>
                <p:spPr bwMode="auto">
                  <a:xfrm>
                    <a:off x="5105004" y="1336938"/>
                    <a:ext cx="269335" cy="2949222"/>
                  </a:xfrm>
                  <a:prstGeom prst="rect">
                    <a:avLst/>
                  </a:prstGeom>
                  <a:gradFill flip="none" rotWithShape="1">
                    <a:gsLst>
                      <a:gs pos="0">
                        <a:srgbClr val="000000">
                          <a:lumMod val="75000"/>
                          <a:lumOff val="25000"/>
                        </a:srgbClr>
                      </a:gs>
                      <a:gs pos="100000">
                        <a:srgbClr val="000000">
                          <a:shade val="30000"/>
                          <a:satMod val="200000"/>
                          <a:lumMod val="0"/>
                        </a:srgbClr>
                      </a:gs>
                    </a:gsLst>
                    <a:path path="circle">
                      <a:fillToRect t="100000" r="100000"/>
                    </a:path>
                    <a:tileRect l="-100000" b="-100000"/>
                  </a:gradFill>
                  <a:ln w="6350" cap="flat" cmpd="sng" algn="ctr">
                    <a:noFill/>
                    <a:prstDash val="solid"/>
                    <a:headEnd type="none" w="med" len="med"/>
                    <a:tailEnd type="none" w="med" len="med"/>
                  </a:ln>
                  <a:effectLst>
                    <a:outerShdw blurRad="50800" dist="38100" dir="13500000" algn="br" rotWithShape="0">
                      <a:prstClr val="black">
                        <a:alpha val="40000"/>
                      </a:prstClr>
                    </a:outerShdw>
                  </a:effectLst>
                </p:spPr>
                <p:txBody>
                  <a:bodyPr lIns="91436" tIns="45718" rIns="91436" bIns="45718" anchor="ctr"/>
                  <a:lstStyle/>
                  <a:p>
                    <a:pPr algn="ctr" defTabSz="913985">
                      <a:defRPr/>
                    </a:pPr>
                    <a:endParaRPr lang="en-US" kern="0" dirty="0">
                      <a:solidFill>
                        <a:srgbClr val="000000">
                          <a:alpha val="99000"/>
                        </a:srgbClr>
                      </a:solidFill>
                      <a:latin typeface="Calibri"/>
                    </a:endParaRPr>
                  </a:p>
                </p:txBody>
              </p:sp>
            </p:grpSp>
          </p:grpSp>
        </p:grpSp>
        <p:pic>
          <p:nvPicPr>
            <p:cNvPr id="102" name="Picture 60" descr="2-20113-ServerRow.png"/>
            <p:cNvPicPr>
              <a:picLocks noChangeAspect="1"/>
            </p:cNvPicPr>
            <p:nvPr/>
          </p:nvPicPr>
          <p:blipFill>
            <a:blip r:embed="rId3"/>
            <a:srcRect/>
            <a:stretch>
              <a:fillRect/>
            </a:stretch>
          </p:blipFill>
          <p:spPr bwMode="auto">
            <a:xfrm flipH="1">
              <a:off x="2875479" y="2684875"/>
              <a:ext cx="659578" cy="1455327"/>
            </a:xfrm>
            <a:prstGeom prst="rect">
              <a:avLst/>
            </a:prstGeom>
            <a:noFill/>
            <a:ln w="9525">
              <a:noFill/>
              <a:miter lim="800000"/>
              <a:headEnd/>
              <a:tailEnd/>
            </a:ln>
          </p:spPr>
        </p:pic>
        <p:sp>
          <p:nvSpPr>
            <p:cNvPr id="104" name="Rectangle 103"/>
            <p:cNvSpPr/>
            <p:nvPr/>
          </p:nvSpPr>
          <p:spPr bwMode="auto">
            <a:xfrm flipH="1">
              <a:off x="3533737" y="2624947"/>
              <a:ext cx="151195" cy="1515255"/>
            </a:xfrm>
            <a:prstGeom prst="rect">
              <a:avLst/>
            </a:prstGeom>
            <a:gradFill flip="none" rotWithShape="1">
              <a:gsLst>
                <a:gs pos="0">
                  <a:srgbClr val="000000">
                    <a:lumMod val="75000"/>
                    <a:lumOff val="25000"/>
                  </a:srgbClr>
                </a:gs>
                <a:gs pos="100000">
                  <a:srgbClr val="000000">
                    <a:shade val="30000"/>
                    <a:satMod val="200000"/>
                    <a:lumMod val="0"/>
                  </a:srgbClr>
                </a:gs>
              </a:gsLst>
              <a:path path="circle">
                <a:fillToRect t="100000" r="100000"/>
              </a:path>
              <a:tileRect l="-100000" b="-100000"/>
            </a:gradFill>
            <a:ln w="6350" cap="flat" cmpd="sng" algn="ctr">
              <a:noFill/>
              <a:prstDash val="solid"/>
              <a:headEnd type="none" w="med" len="med"/>
              <a:tailEnd type="none" w="med" len="med"/>
            </a:ln>
            <a:effectLst>
              <a:outerShdw blurRad="50800" dist="38100" dir="13500000" algn="br" rotWithShape="0">
                <a:prstClr val="black">
                  <a:alpha val="40000"/>
                </a:prstClr>
              </a:outerShdw>
            </a:effectLst>
          </p:spPr>
          <p:txBody>
            <a:bodyPr lIns="91436" tIns="45718" rIns="91436" bIns="45718" anchor="ctr"/>
            <a:lstStyle/>
            <a:p>
              <a:pPr algn="ctr" defTabSz="913985">
                <a:defRPr/>
              </a:pPr>
              <a:endParaRPr lang="en-US" kern="0" dirty="0">
                <a:solidFill>
                  <a:srgbClr val="000000">
                    <a:alpha val="99000"/>
                  </a:srgbClr>
                </a:solidFill>
                <a:latin typeface="Calibri"/>
              </a:endParaRPr>
            </a:p>
          </p:txBody>
        </p:sp>
        <p:pic>
          <p:nvPicPr>
            <p:cNvPr id="105" name="Picture 66" descr="2-20113-ServerRow.png"/>
            <p:cNvPicPr>
              <a:picLocks noChangeAspect="1"/>
            </p:cNvPicPr>
            <p:nvPr/>
          </p:nvPicPr>
          <p:blipFill>
            <a:blip r:embed="rId3"/>
            <a:srcRect/>
            <a:stretch>
              <a:fillRect/>
            </a:stretch>
          </p:blipFill>
          <p:spPr bwMode="auto">
            <a:xfrm>
              <a:off x="2313212" y="2651142"/>
              <a:ext cx="562268" cy="1515255"/>
            </a:xfrm>
            <a:prstGeom prst="rect">
              <a:avLst/>
            </a:prstGeom>
            <a:noFill/>
            <a:ln w="9525">
              <a:noFill/>
              <a:miter lim="800000"/>
              <a:headEnd/>
              <a:tailEnd/>
            </a:ln>
          </p:spPr>
        </p:pic>
        <p:sp>
          <p:nvSpPr>
            <p:cNvPr id="107" name="Rectangle 106"/>
            <p:cNvSpPr/>
            <p:nvPr/>
          </p:nvSpPr>
          <p:spPr bwMode="auto">
            <a:xfrm>
              <a:off x="2163342" y="2648022"/>
              <a:ext cx="151195" cy="1515255"/>
            </a:xfrm>
            <a:prstGeom prst="rect">
              <a:avLst/>
            </a:prstGeom>
            <a:gradFill flip="none" rotWithShape="1">
              <a:gsLst>
                <a:gs pos="0">
                  <a:srgbClr val="000000">
                    <a:lumMod val="75000"/>
                    <a:lumOff val="25000"/>
                  </a:srgbClr>
                </a:gs>
                <a:gs pos="100000">
                  <a:srgbClr val="000000">
                    <a:shade val="30000"/>
                    <a:satMod val="200000"/>
                    <a:lumMod val="0"/>
                  </a:srgbClr>
                </a:gs>
              </a:gsLst>
              <a:path path="circle">
                <a:fillToRect t="100000" r="100000"/>
              </a:path>
              <a:tileRect l="-100000" b="-100000"/>
            </a:gradFill>
            <a:ln w="6350" cap="flat" cmpd="sng" algn="ctr">
              <a:noFill/>
              <a:prstDash val="solid"/>
              <a:headEnd type="none" w="med" len="med"/>
              <a:tailEnd type="none" w="med" len="med"/>
            </a:ln>
            <a:effectLst>
              <a:outerShdw blurRad="50800" dist="38100" dir="13500000" algn="br" rotWithShape="0">
                <a:prstClr val="black">
                  <a:alpha val="40000"/>
                </a:prstClr>
              </a:outerShdw>
            </a:effectLst>
          </p:spPr>
          <p:txBody>
            <a:bodyPr lIns="91436" tIns="45718" rIns="91436" bIns="45718" anchor="ctr"/>
            <a:lstStyle/>
            <a:p>
              <a:pPr algn="ctr" defTabSz="913985">
                <a:defRPr/>
              </a:pPr>
              <a:endParaRPr lang="en-US" kern="0" dirty="0">
                <a:solidFill>
                  <a:srgbClr val="000000">
                    <a:alpha val="99000"/>
                  </a:srgbClr>
                </a:solidFill>
                <a:latin typeface="Calibri"/>
              </a:endParaRPr>
            </a:p>
          </p:txBody>
        </p:sp>
      </p:grpSp>
      <p:sp>
        <p:nvSpPr>
          <p:cNvPr id="51" name="Rectangle 50"/>
          <p:cNvSpPr/>
          <p:nvPr/>
        </p:nvSpPr>
        <p:spPr>
          <a:xfrm>
            <a:off x="6032221" y="831025"/>
            <a:ext cx="3684623" cy="1117229"/>
          </a:xfrm>
          <a:prstGeom prst="rect">
            <a:avLst/>
          </a:prstGeom>
        </p:spPr>
        <p:txBody>
          <a:bodyPr lIns="91428" tIns="45714" rIns="91428" bIns="45714">
            <a:spAutoFit/>
          </a:bodyPr>
          <a:lstStyle/>
          <a:p>
            <a:pPr algn="ctr" defTabSz="914184" eaLnBrk="0" hangingPunct="0">
              <a:lnSpc>
                <a:spcPct val="90000"/>
              </a:lnSpc>
              <a:defRPr/>
            </a:pPr>
            <a:r>
              <a:rPr lang="en-US" sz="2400" kern="0" dirty="0">
                <a:effectLst>
                  <a:outerShdw blurRad="38100" dist="38100" dir="2700000" algn="tl">
                    <a:srgbClr val="000000">
                      <a:alpha val="43137"/>
                    </a:srgbClr>
                  </a:outerShdw>
                </a:effectLst>
                <a:latin typeface="Segoe Light" pitchFamily="34" charset="0"/>
                <a:ea typeface="Segoe UI" pitchFamily="34" charset="0"/>
                <a:cs typeface="Segoe UI" pitchFamily="34" charset="0"/>
              </a:rPr>
              <a:t>Cloud</a:t>
            </a:r>
          </a:p>
          <a:p>
            <a:pPr algn="ctr" defTabSz="914184" eaLnBrk="0" hangingPunct="0">
              <a:lnSpc>
                <a:spcPct val="90000"/>
              </a:lnSpc>
              <a:defRPr/>
            </a:pPr>
            <a:r>
              <a:rPr lang="en-US" sz="1600" kern="0" dirty="0">
                <a:effectLst>
                  <a:outerShdw blurRad="38100" dist="38100" dir="2700000" algn="tl">
                    <a:srgbClr val="000000">
                      <a:alpha val="43137"/>
                    </a:srgbClr>
                  </a:outerShdw>
                </a:effectLst>
                <a:latin typeface="Segoe Light" pitchFamily="34" charset="0"/>
                <a:ea typeface="Segoe UI" pitchFamily="34" charset="0"/>
                <a:cs typeface="Segoe UI" pitchFamily="34" charset="0"/>
              </a:rPr>
              <a:t>Public</a:t>
            </a:r>
          </a:p>
          <a:p>
            <a:pPr algn="ctr" defTabSz="914184" eaLnBrk="0" hangingPunct="0">
              <a:lnSpc>
                <a:spcPct val="90000"/>
              </a:lnSpc>
              <a:defRPr/>
            </a:pPr>
            <a:r>
              <a:rPr lang="en-US" sz="1600" kern="0" dirty="0">
                <a:effectLst>
                  <a:outerShdw blurRad="38100" dist="38100" dir="2700000" algn="tl">
                    <a:srgbClr val="000000">
                      <a:alpha val="43137"/>
                    </a:srgbClr>
                  </a:outerShdw>
                </a:effectLst>
                <a:latin typeface="Segoe Light" pitchFamily="34" charset="0"/>
                <a:ea typeface="Segoe UI" pitchFamily="34" charset="0"/>
                <a:cs typeface="Segoe UI" pitchFamily="34" charset="0"/>
              </a:rPr>
              <a:t>Private</a:t>
            </a:r>
          </a:p>
          <a:p>
            <a:pPr algn="ctr" defTabSz="914184" eaLnBrk="0" hangingPunct="0">
              <a:lnSpc>
                <a:spcPct val="90000"/>
              </a:lnSpc>
              <a:defRPr/>
            </a:pPr>
            <a:r>
              <a:rPr lang="en-US" sz="1600" kern="0" dirty="0">
                <a:effectLst>
                  <a:outerShdw blurRad="38100" dist="38100" dir="2700000" algn="tl">
                    <a:srgbClr val="000000">
                      <a:alpha val="43137"/>
                    </a:srgbClr>
                  </a:outerShdw>
                </a:effectLst>
                <a:latin typeface="Segoe Light" pitchFamily="34" charset="0"/>
                <a:ea typeface="Segoe UI" pitchFamily="34" charset="0"/>
                <a:cs typeface="Segoe UI" pitchFamily="34" charset="0"/>
              </a:rPr>
              <a:t>Hybrid</a:t>
            </a:r>
          </a:p>
        </p:txBody>
      </p:sp>
      <p:grpSp>
        <p:nvGrpSpPr>
          <p:cNvPr id="52" name="Group 51"/>
          <p:cNvGrpSpPr>
            <a:grpSpLocks/>
          </p:cNvGrpSpPr>
          <p:nvPr/>
        </p:nvGrpSpPr>
        <p:grpSpPr bwMode="auto">
          <a:xfrm>
            <a:off x="6897442" y="1958595"/>
            <a:ext cx="2020553" cy="1138781"/>
            <a:chOff x="5065683" y="1628640"/>
            <a:chExt cx="3599354" cy="2955295"/>
          </a:xfrm>
        </p:grpSpPr>
        <p:grpSp>
          <p:nvGrpSpPr>
            <p:cNvPr id="53" name="Group 65"/>
            <p:cNvGrpSpPr>
              <a:grpSpLocks/>
            </p:cNvGrpSpPr>
            <p:nvPr/>
          </p:nvGrpSpPr>
          <p:grpSpPr bwMode="auto">
            <a:xfrm>
              <a:off x="5065683" y="1628640"/>
              <a:ext cx="1900577" cy="2955295"/>
              <a:chOff x="5105004" y="1336938"/>
              <a:chExt cx="1900576" cy="2955295"/>
            </a:xfrm>
          </p:grpSpPr>
          <p:pic>
            <p:nvPicPr>
              <p:cNvPr id="58" name="Picture 66" descr="2-20113-ServerRow.png"/>
              <p:cNvPicPr>
                <a:picLocks noChangeAspect="1"/>
              </p:cNvPicPr>
              <p:nvPr/>
            </p:nvPicPr>
            <p:blipFill>
              <a:blip r:embed="rId3"/>
              <a:srcRect/>
              <a:stretch>
                <a:fillRect/>
              </a:stretch>
            </p:blipFill>
            <p:spPr bwMode="auto">
              <a:xfrm>
                <a:off x="5374335" y="1343011"/>
                <a:ext cx="1631245" cy="2949222"/>
              </a:xfrm>
              <a:prstGeom prst="rect">
                <a:avLst/>
              </a:prstGeom>
              <a:noFill/>
              <a:ln w="9525">
                <a:noFill/>
                <a:miter lim="800000"/>
                <a:headEnd/>
                <a:tailEnd/>
              </a:ln>
            </p:spPr>
          </p:pic>
          <p:sp>
            <p:nvSpPr>
              <p:cNvPr id="59" name="Rectangle 58"/>
              <p:cNvSpPr/>
              <p:nvPr/>
            </p:nvSpPr>
            <p:spPr bwMode="auto">
              <a:xfrm>
                <a:off x="5105004" y="1336938"/>
                <a:ext cx="269335" cy="2949222"/>
              </a:xfrm>
              <a:prstGeom prst="rect">
                <a:avLst/>
              </a:prstGeom>
              <a:gradFill flip="none" rotWithShape="1">
                <a:gsLst>
                  <a:gs pos="0">
                    <a:srgbClr val="000000">
                      <a:lumMod val="75000"/>
                      <a:lumOff val="25000"/>
                    </a:srgbClr>
                  </a:gs>
                  <a:gs pos="100000">
                    <a:srgbClr val="000000">
                      <a:shade val="30000"/>
                      <a:satMod val="200000"/>
                      <a:lumMod val="0"/>
                    </a:srgbClr>
                  </a:gs>
                </a:gsLst>
                <a:path path="circle">
                  <a:fillToRect t="100000" r="100000"/>
                </a:path>
                <a:tileRect l="-100000" b="-100000"/>
              </a:gradFill>
              <a:ln w="6350" cap="flat" cmpd="sng" algn="ctr">
                <a:noFill/>
                <a:prstDash val="solid"/>
                <a:headEnd type="none" w="med" len="med"/>
                <a:tailEnd type="none" w="med" len="med"/>
              </a:ln>
              <a:effectLst>
                <a:outerShdw blurRad="50800" dist="38100" dir="13500000" algn="br" rotWithShape="0">
                  <a:prstClr val="black">
                    <a:alpha val="40000"/>
                  </a:prstClr>
                </a:outerShdw>
              </a:effectLst>
            </p:spPr>
            <p:txBody>
              <a:bodyPr lIns="91436" tIns="45718" rIns="91436" bIns="45718" anchor="ctr"/>
              <a:lstStyle/>
              <a:p>
                <a:pPr algn="ctr" defTabSz="913985">
                  <a:defRPr/>
                </a:pPr>
                <a:endParaRPr lang="en-US" kern="0" dirty="0">
                  <a:solidFill>
                    <a:srgbClr val="000000">
                      <a:alpha val="99000"/>
                    </a:srgbClr>
                  </a:solidFill>
                  <a:latin typeface="Calibri"/>
                </a:endParaRPr>
              </a:p>
            </p:txBody>
          </p:sp>
        </p:grpSp>
        <p:grpSp>
          <p:nvGrpSpPr>
            <p:cNvPr id="54" name="Group 59"/>
            <p:cNvGrpSpPr>
              <a:grpSpLocks/>
            </p:cNvGrpSpPr>
            <p:nvPr/>
          </p:nvGrpSpPr>
          <p:grpSpPr bwMode="auto">
            <a:xfrm flipH="1">
              <a:off x="6764458" y="1628640"/>
              <a:ext cx="1900579" cy="2955295"/>
              <a:chOff x="5105004" y="1336938"/>
              <a:chExt cx="1900580" cy="2955295"/>
            </a:xfrm>
          </p:grpSpPr>
          <p:pic>
            <p:nvPicPr>
              <p:cNvPr id="55" name="Picture 60" descr="2-20113-ServerRow.png"/>
              <p:cNvPicPr>
                <a:picLocks noChangeAspect="1"/>
              </p:cNvPicPr>
              <p:nvPr/>
            </p:nvPicPr>
            <p:blipFill>
              <a:blip r:embed="rId3"/>
              <a:srcRect/>
              <a:stretch>
                <a:fillRect/>
              </a:stretch>
            </p:blipFill>
            <p:spPr bwMode="auto">
              <a:xfrm>
                <a:off x="5374339" y="1343011"/>
                <a:ext cx="1631245" cy="2949222"/>
              </a:xfrm>
              <a:prstGeom prst="rect">
                <a:avLst/>
              </a:prstGeom>
              <a:noFill/>
              <a:ln w="9525">
                <a:noFill/>
                <a:miter lim="800000"/>
                <a:headEnd/>
                <a:tailEnd/>
              </a:ln>
            </p:spPr>
          </p:pic>
          <p:sp>
            <p:nvSpPr>
              <p:cNvPr id="57" name="Rectangle 56"/>
              <p:cNvSpPr/>
              <p:nvPr/>
            </p:nvSpPr>
            <p:spPr bwMode="auto">
              <a:xfrm>
                <a:off x="5105004" y="1336938"/>
                <a:ext cx="269335" cy="2949222"/>
              </a:xfrm>
              <a:prstGeom prst="rect">
                <a:avLst/>
              </a:prstGeom>
              <a:gradFill flip="none" rotWithShape="1">
                <a:gsLst>
                  <a:gs pos="0">
                    <a:srgbClr val="000000">
                      <a:lumMod val="75000"/>
                      <a:lumOff val="25000"/>
                    </a:srgbClr>
                  </a:gs>
                  <a:gs pos="100000">
                    <a:srgbClr val="000000">
                      <a:shade val="30000"/>
                      <a:satMod val="200000"/>
                      <a:lumMod val="0"/>
                    </a:srgbClr>
                  </a:gs>
                </a:gsLst>
                <a:path path="circle">
                  <a:fillToRect t="100000" r="100000"/>
                </a:path>
                <a:tileRect l="-100000" b="-100000"/>
              </a:gradFill>
              <a:ln w="6350" cap="flat" cmpd="sng" algn="ctr">
                <a:noFill/>
                <a:prstDash val="solid"/>
                <a:headEnd type="none" w="med" len="med"/>
                <a:tailEnd type="none" w="med" len="med"/>
              </a:ln>
              <a:effectLst>
                <a:outerShdw blurRad="50800" dist="38100" dir="13500000" algn="br" rotWithShape="0">
                  <a:prstClr val="black">
                    <a:alpha val="40000"/>
                  </a:prstClr>
                </a:outerShdw>
              </a:effectLst>
            </p:spPr>
            <p:txBody>
              <a:bodyPr lIns="91436" tIns="45718" rIns="91436" bIns="45718" anchor="ctr"/>
              <a:lstStyle/>
              <a:p>
                <a:pPr algn="ctr" defTabSz="913985">
                  <a:defRPr/>
                </a:pPr>
                <a:endParaRPr lang="en-US" kern="0" dirty="0">
                  <a:solidFill>
                    <a:srgbClr val="000000">
                      <a:alpha val="99000"/>
                    </a:srgbClr>
                  </a:solidFill>
                  <a:latin typeface="Calibri"/>
                </a:endParaRPr>
              </a:p>
            </p:txBody>
          </p:sp>
        </p:grpSp>
      </p:grpSp>
      <p:pic>
        <p:nvPicPr>
          <p:cNvPr id="60" name="Picture 4" descr="D:\DVD_ART34\Artwork_Imagery\Icons - Illustrations\Internet Clouds web\cloud 2.png"/>
          <p:cNvPicPr>
            <a:picLocks noChangeAspect="1" noChangeArrowheads="1"/>
          </p:cNvPicPr>
          <p:nvPr/>
        </p:nvPicPr>
        <p:blipFill>
          <a:blip r:embed="rId4"/>
          <a:srcRect r="6662"/>
          <a:stretch>
            <a:fillRect/>
          </a:stretch>
        </p:blipFill>
        <p:spPr bwMode="auto">
          <a:xfrm>
            <a:off x="6824417" y="2028838"/>
            <a:ext cx="2130425" cy="1148954"/>
          </a:xfrm>
          <a:prstGeom prst="rect">
            <a:avLst/>
          </a:prstGeom>
          <a:noFill/>
          <a:ln w="9525">
            <a:noFill/>
            <a:miter lim="800000"/>
            <a:headEnd/>
            <a:tailEnd/>
          </a:ln>
        </p:spPr>
      </p:pic>
      <p:sp>
        <p:nvSpPr>
          <p:cNvPr id="49" name="Isosceles Triangle 48"/>
          <p:cNvSpPr/>
          <p:nvPr/>
        </p:nvSpPr>
        <p:spPr bwMode="auto">
          <a:xfrm>
            <a:off x="3609281" y="4194350"/>
            <a:ext cx="4392613" cy="649116"/>
          </a:xfrm>
          <a:prstGeom prst="triangle">
            <a:avLst/>
          </a:prstGeom>
          <a:gradFill flip="none" rotWithShape="1">
            <a:gsLst>
              <a:gs pos="0">
                <a:schemeClr val="bg2">
                  <a:lumMod val="50000"/>
                  <a:shade val="30000"/>
                  <a:satMod val="115000"/>
                </a:schemeClr>
              </a:gs>
              <a:gs pos="50000">
                <a:schemeClr val="bg2"/>
              </a:gs>
              <a:gs pos="100000">
                <a:schemeClr val="tx2"/>
              </a:gs>
            </a:gsLst>
            <a:lin ang="16200000" scaled="1"/>
            <a:tileRect/>
          </a:gradFill>
          <a:ln w="12700">
            <a:noFill/>
            <a:miter lim="800000"/>
            <a:headEnd type="none" w="sm" len="sm"/>
            <a:tailEnd type="none" w="sm" len="sm"/>
          </a:ln>
        </p:spPr>
        <p:txBody>
          <a:bodyPr lIns="68583" tIns="34292" rIns="68583" bIns="34292" anchor="ctr"/>
          <a:lstStyle/>
          <a:p>
            <a:pPr algn="ctr" defTabSz="914249">
              <a:lnSpc>
                <a:spcPts val="1700"/>
              </a:lnSpc>
              <a:spcBef>
                <a:spcPts val="630"/>
              </a:spcBef>
              <a:buClr>
                <a:srgbClr val="FFFF99"/>
              </a:buClr>
              <a:buSzPct val="120000"/>
              <a:defRPr/>
            </a:pPr>
            <a:endParaRPr lang="en-US" altLang="zh-CN" sz="2000" b="1" dirty="0">
              <a:cs typeface="Segoe UI"/>
            </a:endParaRPr>
          </a:p>
        </p:txBody>
      </p:sp>
      <p:pic>
        <p:nvPicPr>
          <p:cNvPr id="45" name="Picture 44" descr="Picture1.png"/>
          <p:cNvPicPr>
            <a:picLocks noChangeAspect="1"/>
          </p:cNvPicPr>
          <p:nvPr/>
        </p:nvPicPr>
        <p:blipFill>
          <a:blip r:embed="rId5"/>
          <a:srcRect b="51591"/>
          <a:stretch>
            <a:fillRect/>
          </a:stretch>
        </p:blipFill>
        <p:spPr>
          <a:xfrm>
            <a:off x="685801" y="3628375"/>
            <a:ext cx="8345235" cy="513323"/>
          </a:xfrm>
          <a:prstGeom prst="rect">
            <a:avLst/>
          </a:prstGeom>
        </p:spPr>
      </p:pic>
      <p:sp>
        <p:nvSpPr>
          <p:cNvPr id="46" name="TextBox 45"/>
          <p:cNvSpPr txBox="1"/>
          <p:nvPr/>
        </p:nvSpPr>
        <p:spPr bwMode="invGray">
          <a:xfrm>
            <a:off x="1125989" y="3700449"/>
            <a:ext cx="6588294" cy="516526"/>
          </a:xfrm>
          <a:prstGeom prst="rect">
            <a:avLst/>
          </a:prstGeom>
          <a:noFill/>
        </p:spPr>
        <p:txBody>
          <a:bodyPr lIns="0" tIns="0" rIns="0" bIns="0" anchor="ctr"/>
          <a:lstStyle/>
          <a:p>
            <a:pPr algn="ctr">
              <a:lnSpc>
                <a:spcPct val="70000"/>
              </a:lnSpc>
              <a:defRPr/>
            </a:pPr>
            <a:r>
              <a:rPr lang="en-US" sz="2400" kern="2000" dirty="0">
                <a:solidFill>
                  <a:srgbClr val="FFFFFF">
                    <a:alpha val="77000"/>
                  </a:srgbClr>
                </a:solidFill>
                <a:effectLst>
                  <a:glow rad="101600">
                    <a:srgbClr val="0077B8">
                      <a:satMod val="175000"/>
                      <a:alpha val="40000"/>
                    </a:srgbClr>
                  </a:glow>
                  <a:outerShdw blurRad="38100" dist="38100" dir="2700000" algn="tl">
                    <a:srgbClr val="000000">
                      <a:alpha val="43137"/>
                    </a:srgbClr>
                  </a:outerShdw>
                </a:effectLst>
                <a:latin typeface="Segoe Light" pitchFamily="34" charset="0"/>
              </a:rPr>
              <a:t>Infrastructure Optimization</a:t>
            </a:r>
          </a:p>
        </p:txBody>
      </p:sp>
      <p:sp>
        <p:nvSpPr>
          <p:cNvPr id="40" name="TextBox 39"/>
          <p:cNvSpPr txBox="1"/>
          <p:nvPr/>
        </p:nvSpPr>
        <p:spPr bwMode="auto">
          <a:xfrm>
            <a:off x="4474514" y="4454914"/>
            <a:ext cx="2662144" cy="388550"/>
          </a:xfrm>
          <a:prstGeom prst="rect">
            <a:avLst/>
          </a:prstGeom>
          <a:noFill/>
        </p:spPr>
        <p:txBody>
          <a:bodyPr lIns="76188" tIns="38093" rIns="76188" bIns="38093">
            <a:spAutoFit/>
          </a:bodyPr>
          <a:lstStyle/>
          <a:p>
            <a:pPr algn="ctr" defTabSz="914249">
              <a:defRPr/>
            </a:pPr>
            <a:r>
              <a:rPr lang="en-US" sz="2000" b="1" dirty="0">
                <a:effectLst>
                  <a:outerShdw blurRad="38100" dist="38100" dir="2700000" algn="tl">
                    <a:srgbClr val="000000">
                      <a:alpha val="43137"/>
                    </a:srgbClr>
                  </a:outerShdw>
                </a:effectLst>
                <a:cs typeface="Arial" pitchFamily="34" charset="0"/>
              </a:rPr>
              <a:t> Flexibility</a:t>
            </a:r>
          </a:p>
        </p:txBody>
      </p:sp>
      <p:sp>
        <p:nvSpPr>
          <p:cNvPr id="64" name="Rectangle 63"/>
          <p:cNvSpPr/>
          <p:nvPr/>
        </p:nvSpPr>
        <p:spPr>
          <a:xfrm>
            <a:off x="-402299" y="1132258"/>
            <a:ext cx="2286000" cy="369332"/>
          </a:xfrm>
          <a:prstGeom prst="rect">
            <a:avLst/>
          </a:prstGeom>
        </p:spPr>
        <p:txBody>
          <a:bodyPr wrap="square" lIns="91428" tIns="45714" rIns="91428" bIns="45714">
            <a:spAutoFit/>
          </a:bodyPr>
          <a:lstStyle/>
          <a:p>
            <a:pPr algn="ctr" defTabSz="914184" eaLnBrk="0" hangingPunct="0">
              <a:lnSpc>
                <a:spcPct val="90000"/>
              </a:lnSpc>
              <a:defRPr/>
            </a:pPr>
            <a:r>
              <a:rPr lang="en-US" sz="2000" kern="0" dirty="0">
                <a:gradFill>
                  <a:gsLst>
                    <a:gs pos="26000">
                      <a:srgbClr val="FFFFFF"/>
                    </a:gs>
                    <a:gs pos="97000">
                      <a:srgbClr val="FFFFFF"/>
                    </a:gs>
                  </a:gsLst>
                  <a:lin ang="16200000" scaled="0"/>
                </a:gradFill>
                <a:effectLst>
                  <a:outerShdw blurRad="38100" dist="38100" dir="2700000" algn="tl">
                    <a:srgbClr val="000000">
                      <a:alpha val="43137"/>
                    </a:srgbClr>
                  </a:outerShdw>
                </a:effectLst>
                <a:latin typeface="Segoe Light" pitchFamily="34" charset="0"/>
                <a:ea typeface="Segoe UI" pitchFamily="34" charset="0"/>
                <a:cs typeface="Segoe UI" pitchFamily="34" charset="0"/>
              </a:rPr>
              <a:t>Servers</a:t>
            </a:r>
            <a:endParaRPr lang="en-US" sz="2000" kern="0" dirty="0">
              <a:gradFill>
                <a:gsLst>
                  <a:gs pos="26000">
                    <a:srgbClr val="FFFFFF"/>
                  </a:gs>
                  <a:gs pos="97000">
                    <a:srgbClr val="FFFFFF"/>
                  </a:gs>
                </a:gsLst>
                <a:lin ang="16200000" scaled="0"/>
              </a:gradFill>
              <a:latin typeface="Segoe Light" pitchFamily="34" charset="0"/>
              <a:ea typeface="Segoe UI" pitchFamily="34" charset="0"/>
              <a:cs typeface="Segoe UI" pitchFamily="34" charset="0"/>
            </a:endParaRPr>
          </a:p>
        </p:txBody>
      </p:sp>
      <p:pic>
        <p:nvPicPr>
          <p:cNvPr id="1026" name="Picture 2" descr="C:\Users\seemongt\AppData\Local\Microsoft\Windows\Temporary Internet Files\Content.IE5\57IOVWKH\MC900435242[1].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86003" y="2232483"/>
            <a:ext cx="499798" cy="741665"/>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2" descr="C:\Users\seemongt\AppData\Local\Microsoft\Windows\Temporary Internet Files\Content.IE5\57IOVWKH\MC900435242[1].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90802" y="1863342"/>
            <a:ext cx="499798" cy="741665"/>
          </a:xfrm>
          <a:prstGeom prst="rect">
            <a:avLst/>
          </a:prstGeom>
          <a:noFill/>
          <a:extLst>
            <a:ext uri="{909E8E84-426E-40DD-AFC4-6F175D3DCCD1}">
              <a14:hiddenFill xmlns:a14="http://schemas.microsoft.com/office/drawing/2010/main">
                <a:solidFill>
                  <a:srgbClr val="FFFFFF"/>
                </a:solidFill>
              </a14:hiddenFill>
            </a:ext>
          </a:extLst>
        </p:spPr>
      </p:pic>
      <p:sp>
        <p:nvSpPr>
          <p:cNvPr id="61"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62"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7"/>
              </a:rPr>
              <a:t>www.rapidbbs.cn</a:t>
            </a:r>
            <a:endParaRPr lang="zh-CN" altLang="en-US" sz="1200" b="0">
              <a:latin typeface="Arial" charset="0"/>
              <a:ea typeface="ＭＳ Ｐゴシック" pitchFamily="34" charset="-128"/>
            </a:endParaRPr>
          </a:p>
        </p:txBody>
      </p:sp>
      <p:pic>
        <p:nvPicPr>
          <p:cNvPr id="63" name="Picture 2">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420392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4"/>
                                        </p:tgtEl>
                                        <p:attrNameLst>
                                          <p:attrName>style.visibility</p:attrName>
                                        </p:attrNameLst>
                                      </p:cBhvr>
                                      <p:to>
                                        <p:strVal val="visible"/>
                                      </p:to>
                                    </p:set>
                                    <p:anim calcmode="lin" valueType="num">
                                      <p:cBhvr additive="base">
                                        <p:cTn id="7" dur="500" fill="hold"/>
                                        <p:tgtEl>
                                          <p:spTgt spid="64"/>
                                        </p:tgtEl>
                                        <p:attrNameLst>
                                          <p:attrName>ppt_x</p:attrName>
                                        </p:attrNameLst>
                                      </p:cBhvr>
                                      <p:tavLst>
                                        <p:tav tm="0">
                                          <p:val>
                                            <p:strVal val="#ppt_x"/>
                                          </p:val>
                                        </p:tav>
                                        <p:tav tm="100000">
                                          <p:val>
                                            <p:strVal val="#ppt_x"/>
                                          </p:val>
                                        </p:tav>
                                      </p:tavLst>
                                    </p:anim>
                                    <p:anim calcmode="lin" valueType="num">
                                      <p:cBhvr additive="base">
                                        <p:cTn id="8" dur="500" fill="hold"/>
                                        <p:tgtEl>
                                          <p:spTgt spid="64"/>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66"/>
                                        </p:tgtEl>
                                        <p:attrNameLst>
                                          <p:attrName>style.visibility</p:attrName>
                                        </p:attrNameLst>
                                      </p:cBhvr>
                                      <p:to>
                                        <p:strVal val="visible"/>
                                      </p:to>
                                    </p:set>
                                    <p:anim calcmode="lin" valueType="num">
                                      <p:cBhvr additive="base">
                                        <p:cTn id="11" dur="500" fill="hold"/>
                                        <p:tgtEl>
                                          <p:spTgt spid="66"/>
                                        </p:tgtEl>
                                        <p:attrNameLst>
                                          <p:attrName>ppt_x</p:attrName>
                                        </p:attrNameLst>
                                      </p:cBhvr>
                                      <p:tavLst>
                                        <p:tav tm="0">
                                          <p:val>
                                            <p:strVal val="#ppt_x"/>
                                          </p:val>
                                        </p:tav>
                                        <p:tav tm="100000">
                                          <p:val>
                                            <p:strVal val="#ppt_x"/>
                                          </p:val>
                                        </p:tav>
                                      </p:tavLst>
                                    </p:anim>
                                    <p:anim calcmode="lin" valueType="num">
                                      <p:cBhvr additive="base">
                                        <p:cTn id="12" dur="500" fill="hold"/>
                                        <p:tgtEl>
                                          <p:spTgt spid="66"/>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1026"/>
                                        </p:tgtEl>
                                        <p:attrNameLst>
                                          <p:attrName>style.visibility</p:attrName>
                                        </p:attrNameLst>
                                      </p:cBhvr>
                                      <p:to>
                                        <p:strVal val="visible"/>
                                      </p:to>
                                    </p:set>
                                    <p:anim calcmode="lin" valueType="num">
                                      <p:cBhvr additive="base">
                                        <p:cTn id="15" dur="500" fill="hold"/>
                                        <p:tgtEl>
                                          <p:spTgt spid="1026"/>
                                        </p:tgtEl>
                                        <p:attrNameLst>
                                          <p:attrName>ppt_x</p:attrName>
                                        </p:attrNameLst>
                                      </p:cBhvr>
                                      <p:tavLst>
                                        <p:tav tm="0">
                                          <p:val>
                                            <p:strVal val="#ppt_x"/>
                                          </p:val>
                                        </p:tav>
                                        <p:tav tm="100000">
                                          <p:val>
                                            <p:strVal val="#ppt_x"/>
                                          </p:val>
                                        </p:tav>
                                      </p:tavLst>
                                    </p:anim>
                                    <p:anim calcmode="lin" valueType="num">
                                      <p:cBhvr additive="base">
                                        <p:cTn id="16" dur="500" fill="hold"/>
                                        <p:tgtEl>
                                          <p:spTgt spid="1026"/>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grpId="0" nodeType="clickEffect">
                                  <p:stCondLst>
                                    <p:cond delay="0"/>
                                  </p:stCondLst>
                                  <p:childTnLst>
                                    <p:set>
                                      <p:cBhvr>
                                        <p:cTn id="20" dur="1" fill="hold">
                                          <p:stCondLst>
                                            <p:cond delay="0"/>
                                          </p:stCondLst>
                                        </p:cTn>
                                        <p:tgtEl>
                                          <p:spTgt spid="19"/>
                                        </p:tgtEl>
                                        <p:attrNameLst>
                                          <p:attrName>style.visibility</p:attrName>
                                        </p:attrNameLst>
                                      </p:cBhvr>
                                      <p:to>
                                        <p:strVal val="visible"/>
                                      </p:to>
                                    </p:set>
                                    <p:anim calcmode="lin" valueType="num">
                                      <p:cBhvr additive="base">
                                        <p:cTn id="21" dur="500" fill="hold"/>
                                        <p:tgtEl>
                                          <p:spTgt spid="19"/>
                                        </p:tgtEl>
                                        <p:attrNameLst>
                                          <p:attrName>ppt_x</p:attrName>
                                        </p:attrNameLst>
                                      </p:cBhvr>
                                      <p:tavLst>
                                        <p:tav tm="0">
                                          <p:val>
                                            <p:strVal val="#ppt_x"/>
                                          </p:val>
                                        </p:tav>
                                        <p:tav tm="100000">
                                          <p:val>
                                            <p:strVal val="#ppt_x"/>
                                          </p:val>
                                        </p:tav>
                                      </p:tavLst>
                                    </p:anim>
                                    <p:anim calcmode="lin" valueType="num">
                                      <p:cBhvr additive="base">
                                        <p:cTn id="22" dur="500" fill="hold"/>
                                        <p:tgtEl>
                                          <p:spTgt spid="19"/>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6"/>
                                        </p:tgtEl>
                                        <p:attrNameLst>
                                          <p:attrName>style.visibility</p:attrName>
                                        </p:attrNameLst>
                                      </p:cBhvr>
                                      <p:to>
                                        <p:strVal val="visible"/>
                                      </p:to>
                                    </p:set>
                                    <p:anim calcmode="lin" valueType="num">
                                      <p:cBhvr additive="base">
                                        <p:cTn id="25" dur="500" fill="hold"/>
                                        <p:tgtEl>
                                          <p:spTgt spid="6"/>
                                        </p:tgtEl>
                                        <p:attrNameLst>
                                          <p:attrName>ppt_x</p:attrName>
                                        </p:attrNameLst>
                                      </p:cBhvr>
                                      <p:tavLst>
                                        <p:tav tm="0">
                                          <p:val>
                                            <p:strVal val="#ppt_x"/>
                                          </p:val>
                                        </p:tav>
                                        <p:tav tm="100000">
                                          <p:val>
                                            <p:strVal val="#ppt_x"/>
                                          </p:val>
                                        </p:tav>
                                      </p:tavLst>
                                    </p:anim>
                                    <p:anim calcmode="lin" valueType="num">
                                      <p:cBhvr additive="base">
                                        <p:cTn id="26"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20"/>
                                        </p:tgtEl>
                                        <p:attrNameLst>
                                          <p:attrName>style.visibility</p:attrName>
                                        </p:attrNameLst>
                                      </p:cBhvr>
                                      <p:to>
                                        <p:strVal val="visible"/>
                                      </p:to>
                                    </p:set>
                                    <p:anim calcmode="lin" valueType="num">
                                      <p:cBhvr additive="base">
                                        <p:cTn id="31" dur="500" fill="hold"/>
                                        <p:tgtEl>
                                          <p:spTgt spid="20"/>
                                        </p:tgtEl>
                                        <p:attrNameLst>
                                          <p:attrName>ppt_x</p:attrName>
                                        </p:attrNameLst>
                                      </p:cBhvr>
                                      <p:tavLst>
                                        <p:tav tm="0">
                                          <p:val>
                                            <p:strVal val="#ppt_x"/>
                                          </p:val>
                                        </p:tav>
                                        <p:tav tm="100000">
                                          <p:val>
                                            <p:strVal val="#ppt_x"/>
                                          </p:val>
                                        </p:tav>
                                      </p:tavLst>
                                    </p:anim>
                                    <p:anim calcmode="lin" valueType="num">
                                      <p:cBhvr additive="base">
                                        <p:cTn id="32" dur="500" fill="hold"/>
                                        <p:tgtEl>
                                          <p:spTgt spid="20"/>
                                        </p:tgtEl>
                                        <p:attrNameLst>
                                          <p:attrName>ppt_y</p:attrName>
                                        </p:attrNameLst>
                                      </p:cBhvr>
                                      <p:tavLst>
                                        <p:tav tm="0">
                                          <p:val>
                                            <p:strVal val="1+#ppt_h/2"/>
                                          </p:val>
                                        </p:tav>
                                        <p:tav tm="100000">
                                          <p:val>
                                            <p:strVal val="#ppt_y"/>
                                          </p:val>
                                        </p:tav>
                                      </p:tavLst>
                                    </p:anim>
                                  </p:childTnLst>
                                </p:cTn>
                              </p:par>
                              <p:par>
                                <p:cTn id="33" presetID="2" presetClass="entr" presetSubtype="4" fill="hold" nodeType="withEffect">
                                  <p:stCondLst>
                                    <p:cond delay="0"/>
                                  </p:stCondLst>
                                  <p:childTnLst>
                                    <p:set>
                                      <p:cBhvr>
                                        <p:cTn id="34" dur="1" fill="hold">
                                          <p:stCondLst>
                                            <p:cond delay="0"/>
                                          </p:stCondLst>
                                        </p:cTn>
                                        <p:tgtEl>
                                          <p:spTgt spid="73"/>
                                        </p:tgtEl>
                                        <p:attrNameLst>
                                          <p:attrName>style.visibility</p:attrName>
                                        </p:attrNameLst>
                                      </p:cBhvr>
                                      <p:to>
                                        <p:strVal val="visible"/>
                                      </p:to>
                                    </p:set>
                                    <p:anim calcmode="lin" valueType="num">
                                      <p:cBhvr additive="base">
                                        <p:cTn id="35" dur="500" fill="hold"/>
                                        <p:tgtEl>
                                          <p:spTgt spid="73"/>
                                        </p:tgtEl>
                                        <p:attrNameLst>
                                          <p:attrName>ppt_x</p:attrName>
                                        </p:attrNameLst>
                                      </p:cBhvr>
                                      <p:tavLst>
                                        <p:tav tm="0">
                                          <p:val>
                                            <p:strVal val="#ppt_x"/>
                                          </p:val>
                                        </p:tav>
                                        <p:tav tm="100000">
                                          <p:val>
                                            <p:strVal val="#ppt_x"/>
                                          </p:val>
                                        </p:tav>
                                      </p:tavLst>
                                    </p:anim>
                                    <p:anim calcmode="lin" valueType="num">
                                      <p:cBhvr additive="base">
                                        <p:cTn id="36" dur="500" fill="hold"/>
                                        <p:tgtEl>
                                          <p:spTgt spid="73"/>
                                        </p:tgtEl>
                                        <p:attrNameLst>
                                          <p:attrName>ppt_y</p:attrName>
                                        </p:attrNameLst>
                                      </p:cBhvr>
                                      <p:tavLst>
                                        <p:tav tm="0">
                                          <p:val>
                                            <p:strVal val="1+#ppt_h/2"/>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4" fill="hold" grpId="0" nodeType="clickEffect">
                                  <p:stCondLst>
                                    <p:cond delay="0"/>
                                  </p:stCondLst>
                                  <p:childTnLst>
                                    <p:set>
                                      <p:cBhvr>
                                        <p:cTn id="40" dur="1" fill="hold">
                                          <p:stCondLst>
                                            <p:cond delay="0"/>
                                          </p:stCondLst>
                                        </p:cTn>
                                        <p:tgtEl>
                                          <p:spTgt spid="51"/>
                                        </p:tgtEl>
                                        <p:attrNameLst>
                                          <p:attrName>style.visibility</p:attrName>
                                        </p:attrNameLst>
                                      </p:cBhvr>
                                      <p:to>
                                        <p:strVal val="visible"/>
                                      </p:to>
                                    </p:set>
                                    <p:anim calcmode="lin" valueType="num">
                                      <p:cBhvr additive="base">
                                        <p:cTn id="41" dur="500" fill="hold"/>
                                        <p:tgtEl>
                                          <p:spTgt spid="51"/>
                                        </p:tgtEl>
                                        <p:attrNameLst>
                                          <p:attrName>ppt_x</p:attrName>
                                        </p:attrNameLst>
                                      </p:cBhvr>
                                      <p:tavLst>
                                        <p:tav tm="0">
                                          <p:val>
                                            <p:strVal val="#ppt_x"/>
                                          </p:val>
                                        </p:tav>
                                        <p:tav tm="100000">
                                          <p:val>
                                            <p:strVal val="#ppt_x"/>
                                          </p:val>
                                        </p:tav>
                                      </p:tavLst>
                                    </p:anim>
                                    <p:anim calcmode="lin" valueType="num">
                                      <p:cBhvr additive="base">
                                        <p:cTn id="42" dur="500" fill="hold"/>
                                        <p:tgtEl>
                                          <p:spTgt spid="51"/>
                                        </p:tgtEl>
                                        <p:attrNameLst>
                                          <p:attrName>ppt_y</p:attrName>
                                        </p:attrNameLst>
                                      </p:cBhvr>
                                      <p:tavLst>
                                        <p:tav tm="0">
                                          <p:val>
                                            <p:strVal val="1+#ppt_h/2"/>
                                          </p:val>
                                        </p:tav>
                                        <p:tav tm="100000">
                                          <p:val>
                                            <p:strVal val="#ppt_y"/>
                                          </p:val>
                                        </p:tav>
                                      </p:tavLst>
                                    </p:anim>
                                  </p:childTnLst>
                                </p:cTn>
                              </p:par>
                              <p:par>
                                <p:cTn id="43" presetID="2" presetClass="entr" presetSubtype="4" fill="hold" nodeType="withEffect">
                                  <p:stCondLst>
                                    <p:cond delay="0"/>
                                  </p:stCondLst>
                                  <p:childTnLst>
                                    <p:set>
                                      <p:cBhvr>
                                        <p:cTn id="44" dur="1" fill="hold">
                                          <p:stCondLst>
                                            <p:cond delay="0"/>
                                          </p:stCondLst>
                                        </p:cTn>
                                        <p:tgtEl>
                                          <p:spTgt spid="60"/>
                                        </p:tgtEl>
                                        <p:attrNameLst>
                                          <p:attrName>style.visibility</p:attrName>
                                        </p:attrNameLst>
                                      </p:cBhvr>
                                      <p:to>
                                        <p:strVal val="visible"/>
                                      </p:to>
                                    </p:set>
                                    <p:anim calcmode="lin" valueType="num">
                                      <p:cBhvr additive="base">
                                        <p:cTn id="45" dur="500" fill="hold"/>
                                        <p:tgtEl>
                                          <p:spTgt spid="60"/>
                                        </p:tgtEl>
                                        <p:attrNameLst>
                                          <p:attrName>ppt_x</p:attrName>
                                        </p:attrNameLst>
                                      </p:cBhvr>
                                      <p:tavLst>
                                        <p:tav tm="0">
                                          <p:val>
                                            <p:strVal val="#ppt_x"/>
                                          </p:val>
                                        </p:tav>
                                        <p:tav tm="100000">
                                          <p:val>
                                            <p:strVal val="#ppt_x"/>
                                          </p:val>
                                        </p:tav>
                                      </p:tavLst>
                                    </p:anim>
                                    <p:anim calcmode="lin" valueType="num">
                                      <p:cBhvr additive="base">
                                        <p:cTn id="46" dur="500" fill="hold"/>
                                        <p:tgtEl>
                                          <p:spTgt spid="60"/>
                                        </p:tgtEl>
                                        <p:attrNameLst>
                                          <p:attrName>ppt_y</p:attrName>
                                        </p:attrNameLst>
                                      </p:cBhvr>
                                      <p:tavLst>
                                        <p:tav tm="0">
                                          <p:val>
                                            <p:strVal val="1+#ppt_h/2"/>
                                          </p:val>
                                        </p:tav>
                                        <p:tav tm="100000">
                                          <p:val>
                                            <p:strVal val="#ppt_y"/>
                                          </p:val>
                                        </p:tav>
                                      </p:tavLst>
                                    </p:anim>
                                  </p:childTnLst>
                                </p:cTn>
                              </p:par>
                              <p:par>
                                <p:cTn id="47" presetID="2" presetClass="entr" presetSubtype="4" fill="hold" nodeType="withEffect">
                                  <p:stCondLst>
                                    <p:cond delay="0"/>
                                  </p:stCondLst>
                                  <p:childTnLst>
                                    <p:set>
                                      <p:cBhvr>
                                        <p:cTn id="48" dur="1" fill="hold">
                                          <p:stCondLst>
                                            <p:cond delay="0"/>
                                          </p:stCondLst>
                                        </p:cTn>
                                        <p:tgtEl>
                                          <p:spTgt spid="52"/>
                                        </p:tgtEl>
                                        <p:attrNameLst>
                                          <p:attrName>style.visibility</p:attrName>
                                        </p:attrNameLst>
                                      </p:cBhvr>
                                      <p:to>
                                        <p:strVal val="visible"/>
                                      </p:to>
                                    </p:set>
                                    <p:anim calcmode="lin" valueType="num">
                                      <p:cBhvr additive="base">
                                        <p:cTn id="49" dur="500" fill="hold"/>
                                        <p:tgtEl>
                                          <p:spTgt spid="52"/>
                                        </p:tgtEl>
                                        <p:attrNameLst>
                                          <p:attrName>ppt_x</p:attrName>
                                        </p:attrNameLst>
                                      </p:cBhvr>
                                      <p:tavLst>
                                        <p:tav tm="0">
                                          <p:val>
                                            <p:strVal val="#ppt_x"/>
                                          </p:val>
                                        </p:tav>
                                        <p:tav tm="100000">
                                          <p:val>
                                            <p:strVal val="#ppt_x"/>
                                          </p:val>
                                        </p:tav>
                                      </p:tavLst>
                                    </p:anim>
                                    <p:anim calcmode="lin" valueType="num">
                                      <p:cBhvr additive="base">
                                        <p:cTn id="50" dur="500" fill="hold"/>
                                        <p:tgtEl>
                                          <p:spTgt spid="5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0" grpId="0"/>
      <p:bldP spid="51" grpId="0"/>
      <p:bldP spid="64"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latform Services</a:t>
            </a:r>
            <a:endParaRPr lang="en-US" dirty="0"/>
          </a:p>
        </p:txBody>
      </p:sp>
      <p:sp>
        <p:nvSpPr>
          <p:cNvPr id="6" name="Text Placeholder 5"/>
          <p:cNvSpPr>
            <a:spLocks noGrp="1"/>
          </p:cNvSpPr>
          <p:nvPr>
            <p:ph type="body" sz="quarter" idx="10"/>
          </p:nvPr>
        </p:nvSpPr>
        <p:spPr>
          <a:xfrm>
            <a:off x="389448" y="1085855"/>
            <a:ext cx="8363938" cy="332399"/>
          </a:xfrm>
        </p:spPr>
        <p:txBody>
          <a:bodyPr/>
          <a:lstStyle/>
          <a:p>
            <a:r>
              <a:rPr lang="en-US" sz="2400" b="1" dirty="0">
                <a:latin typeface="+mn-lt"/>
              </a:rPr>
              <a:t>A set of building blocks </a:t>
            </a:r>
          </a:p>
        </p:txBody>
      </p:sp>
      <p:sp>
        <p:nvSpPr>
          <p:cNvPr id="3" name="Rectangle 2"/>
          <p:cNvSpPr/>
          <p:nvPr/>
        </p:nvSpPr>
        <p:spPr bwMode="auto">
          <a:xfrm>
            <a:off x="2509417" y="1653610"/>
            <a:ext cx="2004144" cy="2003622"/>
          </a:xfrm>
          <a:prstGeom prst="rect">
            <a:avLst/>
          </a:prstGeom>
          <a:solidFill>
            <a:schemeClr val="accent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68568" tIns="34285" rIns="68568" bIns="34285" numCol="1" rtlCol="0" anchor="b" anchorCtr="0" compatLnSpc="1">
            <a:prstTxWarp prst="textNoShape">
              <a:avLst/>
            </a:prstTxWarp>
          </a:bodyPr>
          <a:lstStyle/>
          <a:p>
            <a:pPr defTabSz="685495" fontAlgn="base">
              <a:spcBef>
                <a:spcPct val="0"/>
              </a:spcBef>
              <a:spcAft>
                <a:spcPct val="0"/>
              </a:spcAft>
            </a:pPr>
            <a:r>
              <a:rPr lang="en-US" sz="1700" dirty="0">
                <a:gradFill>
                  <a:gsLst>
                    <a:gs pos="0">
                      <a:srgbClr val="FFFFFF"/>
                    </a:gs>
                    <a:gs pos="100000">
                      <a:srgbClr val="FFFFFF"/>
                    </a:gs>
                  </a:gsLst>
                  <a:lin ang="5400000" scaled="0"/>
                </a:gradFill>
              </a:rPr>
              <a:t>BLOB and Table</a:t>
            </a:r>
          </a:p>
          <a:p>
            <a:pPr defTabSz="685495" fontAlgn="base">
              <a:spcBef>
                <a:spcPct val="0"/>
              </a:spcBef>
              <a:spcAft>
                <a:spcPct val="0"/>
              </a:spcAft>
            </a:pPr>
            <a:r>
              <a:rPr lang="en-US" sz="1700" dirty="0">
                <a:gradFill>
                  <a:gsLst>
                    <a:gs pos="0">
                      <a:srgbClr val="FFFFFF"/>
                    </a:gs>
                    <a:gs pos="100000">
                      <a:srgbClr val="FFFFFF"/>
                    </a:gs>
                  </a:gsLst>
                  <a:lin ang="5400000" scaled="0"/>
                </a:gradFill>
              </a:rPr>
              <a:t>Geo-replication</a:t>
            </a:r>
          </a:p>
        </p:txBody>
      </p:sp>
      <p:sp>
        <p:nvSpPr>
          <p:cNvPr id="4" name="Rectangle 3"/>
          <p:cNvSpPr/>
          <p:nvPr/>
        </p:nvSpPr>
        <p:spPr bwMode="auto">
          <a:xfrm>
            <a:off x="4625888" y="1653610"/>
            <a:ext cx="2004144" cy="2003622"/>
          </a:xfrm>
          <a:prstGeom prst="rect">
            <a:avLst/>
          </a:prstGeom>
          <a:solidFill>
            <a:schemeClr val="accent6"/>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68568" tIns="34285" rIns="68568" bIns="34285" numCol="1" rtlCol="0" anchor="b" anchorCtr="0" compatLnSpc="1">
            <a:prstTxWarp prst="textNoShape">
              <a:avLst/>
            </a:prstTxWarp>
          </a:bodyPr>
          <a:lstStyle/>
          <a:p>
            <a:pPr defTabSz="685495" fontAlgn="base">
              <a:spcBef>
                <a:spcPct val="0"/>
              </a:spcBef>
              <a:spcAft>
                <a:spcPct val="0"/>
              </a:spcAft>
            </a:pPr>
            <a:r>
              <a:rPr lang="en-US" sz="1700" dirty="0">
                <a:gradFill>
                  <a:gsLst>
                    <a:gs pos="0">
                      <a:srgbClr val="FFFFFF"/>
                    </a:gs>
                    <a:gs pos="100000">
                      <a:srgbClr val="FFFFFF"/>
                    </a:gs>
                  </a:gsLst>
                  <a:lin ang="5400000" scaled="0"/>
                </a:gradFill>
              </a:rPr>
              <a:t>SQL Azure</a:t>
            </a:r>
          </a:p>
          <a:p>
            <a:pPr defTabSz="685495" fontAlgn="base">
              <a:spcBef>
                <a:spcPct val="0"/>
              </a:spcBef>
              <a:spcAft>
                <a:spcPct val="0"/>
              </a:spcAft>
            </a:pPr>
            <a:r>
              <a:rPr lang="en-US" sz="1700" dirty="0">
                <a:gradFill>
                  <a:gsLst>
                    <a:gs pos="0">
                      <a:srgbClr val="FFFFFF"/>
                    </a:gs>
                    <a:gs pos="100000">
                      <a:srgbClr val="FFFFFF"/>
                    </a:gs>
                  </a:gsLst>
                  <a:lin ang="5400000" scaled="0"/>
                </a:gradFill>
              </a:rPr>
              <a:t>DB Copy</a:t>
            </a:r>
          </a:p>
        </p:txBody>
      </p:sp>
      <p:sp>
        <p:nvSpPr>
          <p:cNvPr id="5" name="Rectangle 4"/>
          <p:cNvSpPr/>
          <p:nvPr/>
        </p:nvSpPr>
        <p:spPr bwMode="auto">
          <a:xfrm>
            <a:off x="6742360" y="1658222"/>
            <a:ext cx="2004144" cy="2003622"/>
          </a:xfrm>
          <a:prstGeom prst="rect">
            <a:avLst/>
          </a:prstGeom>
          <a:solidFill>
            <a:schemeClr val="accent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68568" tIns="34285" rIns="68568" bIns="34285" numCol="1" rtlCol="0" anchor="b" anchorCtr="0" compatLnSpc="1">
            <a:prstTxWarp prst="textNoShape">
              <a:avLst/>
            </a:prstTxWarp>
          </a:bodyPr>
          <a:lstStyle/>
          <a:p>
            <a:pPr defTabSz="685495" fontAlgn="base">
              <a:spcBef>
                <a:spcPct val="0"/>
              </a:spcBef>
              <a:spcAft>
                <a:spcPct val="0"/>
              </a:spcAft>
            </a:pPr>
            <a:r>
              <a:rPr lang="en-US" sz="1700" dirty="0">
                <a:gradFill>
                  <a:gsLst>
                    <a:gs pos="0">
                      <a:srgbClr val="FFFFFF"/>
                    </a:gs>
                    <a:gs pos="100000">
                      <a:srgbClr val="FFFFFF"/>
                    </a:gs>
                  </a:gsLst>
                  <a:lin ang="5400000" scaled="0"/>
                </a:gradFill>
              </a:rPr>
              <a:t>Traffic Manager CTP</a:t>
            </a:r>
          </a:p>
        </p:txBody>
      </p:sp>
      <p:sp>
        <p:nvSpPr>
          <p:cNvPr id="9" name="Rectangle 8"/>
          <p:cNvSpPr/>
          <p:nvPr/>
        </p:nvSpPr>
        <p:spPr bwMode="auto">
          <a:xfrm>
            <a:off x="383960" y="1658222"/>
            <a:ext cx="2004144" cy="2003622"/>
          </a:xfrm>
          <a:prstGeom prst="rect">
            <a:avLst/>
          </a:prstGeom>
          <a:solidFill>
            <a:schemeClr val="accent4"/>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68568" tIns="34285" rIns="68568" bIns="34285" numCol="1" rtlCol="0" anchor="b" anchorCtr="0" compatLnSpc="1">
            <a:prstTxWarp prst="textNoShape">
              <a:avLst/>
            </a:prstTxWarp>
          </a:bodyPr>
          <a:lstStyle/>
          <a:p>
            <a:pPr defTabSz="685495" fontAlgn="base">
              <a:spcBef>
                <a:spcPct val="0"/>
              </a:spcBef>
              <a:spcAft>
                <a:spcPct val="0"/>
              </a:spcAft>
            </a:pPr>
            <a:r>
              <a:rPr lang="en-US" sz="1700" dirty="0">
                <a:gradFill>
                  <a:gsLst>
                    <a:gs pos="0">
                      <a:srgbClr val="FFFFFF"/>
                    </a:gs>
                    <a:gs pos="100000">
                      <a:srgbClr val="FFFFFF"/>
                    </a:gs>
                  </a:gsLst>
                  <a:lin ang="5400000" scaled="0"/>
                </a:gradFill>
              </a:rPr>
              <a:t>Application Health Management</a:t>
            </a:r>
          </a:p>
        </p:txBody>
      </p:sp>
      <p:pic>
        <p:nvPicPr>
          <p:cNvPr id="10" name="Picture 50" descr="C:\Users\sakuu\Documents\Ballmer MGX 2011\Tile Icons\Road Fork.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7312153" y="2026690"/>
            <a:ext cx="864558" cy="86410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74"/>
          <p:cNvPicPr>
            <a:picLocks noChangeAspect="1" noChangeArrowheads="1"/>
          </p:cNvPicPr>
          <p:nvPr/>
        </p:nvPicPr>
        <p:blipFill>
          <a:blip r:embed="rId3">
            <a:lum bright="100000"/>
            <a:extLst>
              <a:ext uri="{28A0092B-C50C-407E-A947-70E740481C1C}">
                <a14:useLocalDpi xmlns:a14="http://schemas.microsoft.com/office/drawing/2010/main" val="0"/>
              </a:ext>
            </a:extLst>
          </a:blip>
          <a:srcRect/>
          <a:stretch>
            <a:fillRect/>
          </a:stretch>
        </p:blipFill>
        <p:spPr bwMode="black">
          <a:xfrm>
            <a:off x="988923" y="2125459"/>
            <a:ext cx="794218" cy="6665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Freeform 58"/>
          <p:cNvSpPr>
            <a:spLocks noEditPoints="1"/>
          </p:cNvSpPr>
          <p:nvPr/>
        </p:nvSpPr>
        <p:spPr bwMode="black">
          <a:xfrm>
            <a:off x="5351080" y="2144625"/>
            <a:ext cx="553760" cy="62800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61720" tIns="30860" rIns="61720" bIns="30860" numCol="1" anchor="t" anchorCtr="0" compatLnSpc="1">
            <a:prstTxWarp prst="textNoShape">
              <a:avLst/>
            </a:prstTxWarp>
          </a:bodyPr>
          <a:lstStyle/>
          <a:p>
            <a:endParaRPr lang="en-US" sz="1200" dirty="0"/>
          </a:p>
        </p:txBody>
      </p:sp>
      <p:sp>
        <p:nvSpPr>
          <p:cNvPr id="13" name="Freeform 81"/>
          <p:cNvSpPr>
            <a:spLocks noChangeAspect="1" noEditPoints="1"/>
          </p:cNvSpPr>
          <p:nvPr/>
        </p:nvSpPr>
        <p:spPr bwMode="black">
          <a:xfrm>
            <a:off x="3105974" y="2211277"/>
            <a:ext cx="811029" cy="494945"/>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rgbClr val="FFFFFF"/>
          </a:solidFill>
          <a:ln>
            <a:noFill/>
          </a:ln>
        </p:spPr>
        <p:txBody>
          <a:bodyPr vert="horz" wrap="square" lIns="61720" tIns="30860" rIns="61720" bIns="30860" numCol="1" anchor="t" anchorCtr="0" compatLnSpc="1">
            <a:prstTxWarp prst="textNoShape">
              <a:avLst/>
            </a:prstTxWarp>
          </a:bodyPr>
          <a:lstStyle/>
          <a:p>
            <a:endParaRPr lang="en-US" sz="1200" dirty="0"/>
          </a:p>
        </p:txBody>
      </p:sp>
      <p:sp>
        <p:nvSpPr>
          <p:cNvPr id="14"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5"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4"/>
              </a:rPr>
              <a:t>www.rapidbbs.cn</a:t>
            </a:r>
            <a:endParaRPr lang="zh-CN" altLang="en-US" sz="1200" b="0">
              <a:latin typeface="Arial" charset="0"/>
              <a:ea typeface="ＭＳ Ｐゴシック" pitchFamily="34" charset="-128"/>
            </a:endParaRPr>
          </a:p>
        </p:txBody>
      </p:sp>
      <p:pic>
        <p:nvPicPr>
          <p:cNvPr id="16" name="Picture 2">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66272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83983" y="2528630"/>
            <a:ext cx="2003232" cy="2135050"/>
          </a:xfrm>
          <a:prstGeom prst="rect">
            <a:avLst/>
          </a:prstGeom>
        </p:spPr>
        <p:txBody>
          <a:bodyPr vert="horz" wrap="square" lIns="0" tIns="45650" rIns="91301" bIns="45650" anchor="t" anchorCtr="0">
            <a:spAutoFit/>
          </a:bodyPr>
          <a:lstStyle/>
          <a:p>
            <a:pPr indent="-4757"/>
            <a:r>
              <a:rPr lang="en-US" b="1" dirty="0">
                <a:solidFill>
                  <a:srgbClr val="FFFFFF"/>
                </a:solidFill>
                <a:latin typeface="Segoe"/>
                <a:ea typeface="Segoe UI" pitchFamily="34" charset="0"/>
                <a:cs typeface="Segoe"/>
              </a:rPr>
              <a:t>Beyond </a:t>
            </a:r>
          </a:p>
          <a:p>
            <a:pPr indent="-4757"/>
            <a:r>
              <a:rPr lang="en-US" b="1" dirty="0">
                <a:solidFill>
                  <a:srgbClr val="FFFFFF"/>
                </a:solidFill>
                <a:latin typeface="Segoe"/>
                <a:ea typeface="Segoe UI" pitchFamily="34" charset="0"/>
                <a:cs typeface="Segoe"/>
              </a:rPr>
              <a:t>Virtualization</a:t>
            </a:r>
          </a:p>
          <a:p>
            <a:pPr indent="-4757"/>
            <a:endParaRPr lang="en-US" b="1" dirty="0">
              <a:solidFill>
                <a:srgbClr val="FFFFFF"/>
              </a:solidFill>
              <a:latin typeface="Segoe"/>
              <a:ea typeface="Segoe UI" pitchFamily="34" charset="0"/>
              <a:cs typeface="Segoe"/>
            </a:endParaRPr>
          </a:p>
          <a:p>
            <a:pPr indent="-4757"/>
            <a:endParaRPr lang="en-US" sz="1100" dirty="0">
              <a:solidFill>
                <a:srgbClr val="FFFFFF"/>
              </a:solidFill>
              <a:latin typeface="Segoe"/>
              <a:cs typeface="Segoe"/>
            </a:endParaRPr>
          </a:p>
          <a:p>
            <a:r>
              <a:rPr lang="en-US" sz="1100" dirty="0">
                <a:solidFill>
                  <a:srgbClr val="FFFFFF"/>
                </a:solidFill>
                <a:cs typeface="Arial" pitchFamily="34" charset="0"/>
              </a:rPr>
              <a:t>Windows Server 2012 offers a dynamic, multi-tenant infrastructure that goes beyond virtualization to provide maximum flexibility for delivering and connecting to cloud services.</a:t>
            </a:r>
          </a:p>
        </p:txBody>
      </p:sp>
      <p:sp>
        <p:nvSpPr>
          <p:cNvPr id="4" name="Rectangle 3"/>
          <p:cNvSpPr/>
          <p:nvPr/>
        </p:nvSpPr>
        <p:spPr>
          <a:xfrm>
            <a:off x="6748693" y="2528630"/>
            <a:ext cx="2196903" cy="2385127"/>
          </a:xfrm>
          <a:prstGeom prst="rect">
            <a:avLst/>
          </a:prstGeom>
        </p:spPr>
        <p:txBody>
          <a:bodyPr vert="horz" wrap="square" lIns="0" tIns="45650" rIns="91301" bIns="45650" anchor="t" anchorCtr="0">
            <a:spAutoFit/>
          </a:bodyPr>
          <a:lstStyle/>
          <a:p>
            <a:pPr indent="-4757"/>
            <a:r>
              <a:rPr lang="en-US" b="1" dirty="0">
                <a:solidFill>
                  <a:srgbClr val="FFFFFF"/>
                </a:solidFill>
                <a:latin typeface="Segoe"/>
                <a:ea typeface="Segoe UI" pitchFamily="34" charset="0"/>
                <a:cs typeface="Segoe"/>
              </a:rPr>
              <a:t>Modern </a:t>
            </a:r>
            <a:r>
              <a:rPr lang="en-US" b="1" dirty="0" err="1">
                <a:solidFill>
                  <a:srgbClr val="FFFFFF"/>
                </a:solidFill>
                <a:latin typeface="Segoe"/>
                <a:ea typeface="Segoe UI" pitchFamily="34" charset="0"/>
                <a:cs typeface="Segoe"/>
              </a:rPr>
              <a:t>Workstyle</a:t>
            </a:r>
            <a:r>
              <a:rPr lang="en-US" b="1" dirty="0">
                <a:solidFill>
                  <a:srgbClr val="FFFFFF"/>
                </a:solidFill>
                <a:latin typeface="Segoe"/>
                <a:ea typeface="Segoe UI" pitchFamily="34" charset="0"/>
                <a:cs typeface="Segoe"/>
              </a:rPr>
              <a:t>, Enabled</a:t>
            </a:r>
          </a:p>
          <a:p>
            <a:pPr indent="-4757"/>
            <a:endParaRPr lang="en-US" sz="1100" b="1" dirty="0">
              <a:solidFill>
                <a:srgbClr val="FFFFFF"/>
              </a:solidFill>
              <a:latin typeface="Segoe"/>
              <a:cs typeface="Segoe"/>
            </a:endParaRPr>
          </a:p>
          <a:p>
            <a:pPr indent="-4757"/>
            <a:endParaRPr lang="en-US" sz="1100" dirty="0">
              <a:solidFill>
                <a:srgbClr val="FFFFFF"/>
              </a:solidFill>
              <a:latin typeface="Segoe"/>
              <a:cs typeface="Segoe"/>
            </a:endParaRPr>
          </a:p>
          <a:p>
            <a:r>
              <a:rPr lang="en-US" sz="1100" dirty="0">
                <a:solidFill>
                  <a:srgbClr val="FFFFFF"/>
                </a:solidFill>
                <a:cs typeface="Arial" pitchFamily="34" charset="0"/>
              </a:rPr>
              <a:t>Windows Server 2012 empowers IT to provide users with flexible access to data and applications from virtually anywhere on any device with a rich user experience, while simplifying management and helping maintain security, control and compliance.</a:t>
            </a:r>
          </a:p>
          <a:p>
            <a:endParaRPr lang="en-US" sz="1100" dirty="0">
              <a:solidFill>
                <a:srgbClr val="FFFFFF"/>
              </a:solidFill>
              <a:cs typeface="Arial" pitchFamily="34" charset="0"/>
            </a:endParaRPr>
          </a:p>
        </p:txBody>
      </p:sp>
      <p:sp>
        <p:nvSpPr>
          <p:cNvPr id="6" name="Rectangle 5"/>
          <p:cNvSpPr/>
          <p:nvPr/>
        </p:nvSpPr>
        <p:spPr>
          <a:xfrm>
            <a:off x="383983" y="1056565"/>
            <a:ext cx="2003232" cy="1405904"/>
          </a:xfrm>
          <a:prstGeom prst="rect">
            <a:avLst/>
          </a:prstGeom>
          <a:solidFill>
            <a:srgbClr val="5FC4E6"/>
          </a:solidFill>
          <a:ln>
            <a:noFill/>
          </a:ln>
          <a:effectLst/>
        </p:spPr>
        <p:style>
          <a:lnRef idx="1">
            <a:schemeClr val="accent1"/>
          </a:lnRef>
          <a:fillRef idx="3">
            <a:schemeClr val="accent1"/>
          </a:fillRef>
          <a:effectRef idx="2">
            <a:schemeClr val="accent1"/>
          </a:effectRef>
          <a:fontRef idx="minor">
            <a:schemeClr val="lt1"/>
          </a:fontRef>
        </p:style>
        <p:txBody>
          <a:bodyPr lIns="274297" tIns="274297" rIns="91432" bIns="45716" anchor="t"/>
          <a:lstStyle/>
          <a:p>
            <a:endParaRPr lang="en-US" b="1" dirty="0" smtClean="0">
              <a:solidFill>
                <a:srgbClr val="FFFFFF"/>
              </a:solidFill>
              <a:latin typeface="Segoe" pitchFamily="34" charset="0"/>
            </a:endParaRPr>
          </a:p>
        </p:txBody>
      </p:sp>
      <p:sp>
        <p:nvSpPr>
          <p:cNvPr id="7" name="Rectangle 6"/>
          <p:cNvSpPr/>
          <p:nvPr/>
        </p:nvSpPr>
        <p:spPr>
          <a:xfrm>
            <a:off x="6727550" y="1056565"/>
            <a:ext cx="2097273" cy="1405904"/>
          </a:xfrm>
          <a:prstGeom prst="rect">
            <a:avLst/>
          </a:prstGeom>
          <a:solidFill>
            <a:srgbClr val="75C7E4"/>
          </a:solidFill>
          <a:ln>
            <a:noFill/>
          </a:ln>
          <a:effectLst/>
        </p:spPr>
        <p:style>
          <a:lnRef idx="1">
            <a:schemeClr val="accent1"/>
          </a:lnRef>
          <a:fillRef idx="3">
            <a:schemeClr val="accent1"/>
          </a:fillRef>
          <a:effectRef idx="2">
            <a:schemeClr val="accent1"/>
          </a:effectRef>
          <a:fontRef idx="minor">
            <a:schemeClr val="lt1"/>
          </a:fontRef>
        </p:style>
        <p:txBody>
          <a:bodyPr lIns="274297" tIns="274297" rIns="91432" bIns="45716" anchor="t"/>
          <a:lstStyle/>
          <a:p>
            <a:endParaRPr lang="en-US" b="1" dirty="0" smtClean="0">
              <a:solidFill>
                <a:srgbClr val="FFFFFF"/>
              </a:solidFill>
              <a:latin typeface="Segoe" pitchFamily="34" charset="0"/>
            </a:endParaRPr>
          </a:p>
        </p:txBody>
      </p:sp>
      <p:sp>
        <p:nvSpPr>
          <p:cNvPr id="8" name="Rectangle 7"/>
          <p:cNvSpPr/>
          <p:nvPr/>
        </p:nvSpPr>
        <p:spPr>
          <a:xfrm>
            <a:off x="2554152" y="2528630"/>
            <a:ext cx="1891940" cy="2092739"/>
          </a:xfrm>
          <a:prstGeom prst="rect">
            <a:avLst/>
          </a:prstGeom>
        </p:spPr>
        <p:txBody>
          <a:bodyPr vert="horz" wrap="square" lIns="0" tIns="45650" rIns="91301" bIns="45650" anchor="t" anchorCtr="0">
            <a:spAutoFit/>
          </a:bodyPr>
          <a:lstStyle/>
          <a:p>
            <a:pPr indent="-4757"/>
            <a:r>
              <a:rPr lang="en-US" b="1" dirty="0">
                <a:solidFill>
                  <a:srgbClr val="FFFFFF"/>
                </a:solidFill>
                <a:latin typeface="Segoe"/>
                <a:ea typeface="Segoe UI" pitchFamily="34" charset="0"/>
                <a:cs typeface="Segoe"/>
              </a:rPr>
              <a:t>The Power of Many Servers, the Simplicity of One</a:t>
            </a:r>
          </a:p>
          <a:p>
            <a:endParaRPr lang="en-US" sz="1100" dirty="0">
              <a:solidFill>
                <a:srgbClr val="FFFFFF"/>
              </a:solidFill>
              <a:latin typeface="Segoe"/>
            </a:endParaRPr>
          </a:p>
          <a:p>
            <a:r>
              <a:rPr lang="en-US" sz="1100" dirty="0">
                <a:solidFill>
                  <a:srgbClr val="FFFFFF"/>
                </a:solidFill>
                <a:cs typeface="Arial" pitchFamily="34" charset="0"/>
              </a:rPr>
              <a:t>Windows Server 2012 offers excellent economics by integrating a highly available and easy  to manage multi-server platform with breakthrough efficiency and ubiquitous automation.</a:t>
            </a:r>
          </a:p>
        </p:txBody>
      </p:sp>
      <p:pic>
        <p:nvPicPr>
          <p:cNvPr id="11" name="Picture 4" descr="\\MAGNUM\Projects\Microsoft\Journey to the Cloud Campaign\Design\Assets\PrivateCloud.png"/>
          <p:cNvPicPr>
            <a:picLocks noChangeAspect="1" noChangeArrowheads="1"/>
          </p:cNvPicPr>
          <p:nvPr/>
        </p:nvPicPr>
        <p:blipFill>
          <a:blip r:embed="rId3" cstate="print">
            <a:lum bright="100000"/>
          </a:blip>
          <a:srcRect/>
          <a:stretch>
            <a:fillRect/>
          </a:stretch>
        </p:blipFill>
        <p:spPr bwMode="auto">
          <a:xfrm>
            <a:off x="578350" y="1420254"/>
            <a:ext cx="1565973" cy="785218"/>
          </a:xfrm>
          <a:prstGeom prst="rect">
            <a:avLst/>
          </a:prstGeom>
          <a:noFill/>
        </p:spPr>
      </p:pic>
      <p:sp>
        <p:nvSpPr>
          <p:cNvPr id="12" name="Rectangle 11"/>
          <p:cNvSpPr/>
          <p:nvPr/>
        </p:nvSpPr>
        <p:spPr>
          <a:xfrm>
            <a:off x="4613027" y="2528631"/>
            <a:ext cx="2114522" cy="2435132"/>
          </a:xfrm>
          <a:prstGeom prst="rect">
            <a:avLst/>
          </a:prstGeom>
        </p:spPr>
        <p:txBody>
          <a:bodyPr vert="horz" wrap="square" lIns="0" tIns="45650" rIns="91301" bIns="45650" anchor="t" anchorCtr="0">
            <a:spAutoFit/>
          </a:bodyPr>
          <a:lstStyle/>
          <a:p>
            <a:pPr indent="-4757"/>
            <a:r>
              <a:rPr lang="en-US" b="1" dirty="0">
                <a:solidFill>
                  <a:srgbClr val="FFFFFF"/>
                </a:solidFill>
                <a:latin typeface="Segoe"/>
                <a:ea typeface="Segoe UI" pitchFamily="34" charset="0"/>
                <a:cs typeface="Segoe"/>
              </a:rPr>
              <a:t>Every App, </a:t>
            </a:r>
          </a:p>
          <a:p>
            <a:pPr indent="-4757"/>
            <a:r>
              <a:rPr lang="en-US" b="1" dirty="0">
                <a:solidFill>
                  <a:srgbClr val="FFFFFF"/>
                </a:solidFill>
                <a:latin typeface="Segoe"/>
                <a:ea typeface="Segoe UI" pitchFamily="34" charset="0"/>
                <a:cs typeface="Segoe"/>
              </a:rPr>
              <a:t>Any Cloud</a:t>
            </a:r>
          </a:p>
          <a:p>
            <a:pPr defTabSz="914130">
              <a:defRPr/>
            </a:pPr>
            <a:endParaRPr lang="en-US" sz="1100" dirty="0">
              <a:solidFill>
                <a:srgbClr val="FFFFFF"/>
              </a:solidFill>
              <a:cs typeface="Arial" pitchFamily="34" charset="0"/>
            </a:endParaRPr>
          </a:p>
          <a:p>
            <a:pPr defTabSz="914130">
              <a:defRPr/>
            </a:pPr>
            <a:endParaRPr lang="en-US" sz="1100" dirty="0">
              <a:solidFill>
                <a:srgbClr val="FFFFFF"/>
              </a:solidFill>
              <a:cs typeface="Arial" pitchFamily="34" charset="0"/>
            </a:endParaRPr>
          </a:p>
          <a:p>
            <a:pPr defTabSz="914130">
              <a:defRPr/>
            </a:pPr>
            <a:r>
              <a:rPr lang="en-US" sz="1100" dirty="0">
                <a:solidFill>
                  <a:srgbClr val="FFFFFF"/>
                </a:solidFill>
                <a:cs typeface="Arial" pitchFamily="34" charset="0"/>
              </a:rPr>
              <a:t>Windows Server 212 is a broad, scalable and elastic server platform that gives you the flexibility to build and deploy applications and websites on-premises, in the cloud and in a hybrid environment, using a consistent set of tools and frameworks.</a:t>
            </a:r>
          </a:p>
        </p:txBody>
      </p:sp>
      <p:pic>
        <p:nvPicPr>
          <p:cNvPr id="15" name="Picture 2" descr="\\MAGNUM\Projects\Microsoft\Journey to the Cloud Campaign\Design\Assets\Flexible.png"/>
          <p:cNvPicPr>
            <a:picLocks noChangeAspect="1" noChangeArrowheads="1"/>
          </p:cNvPicPr>
          <p:nvPr/>
        </p:nvPicPr>
        <p:blipFill>
          <a:blip r:embed="rId4" cstate="print">
            <a:lum bright="100000"/>
          </a:blip>
          <a:srcRect/>
          <a:stretch>
            <a:fillRect/>
          </a:stretch>
        </p:blipFill>
        <p:spPr bwMode="auto">
          <a:xfrm>
            <a:off x="7142947" y="1195483"/>
            <a:ext cx="1252371" cy="1184912"/>
          </a:xfrm>
          <a:prstGeom prst="rect">
            <a:avLst/>
          </a:prstGeom>
          <a:noFill/>
        </p:spPr>
      </p:pic>
      <p:sp>
        <p:nvSpPr>
          <p:cNvPr id="16" name="Rectangle 15"/>
          <p:cNvSpPr/>
          <p:nvPr/>
        </p:nvSpPr>
        <p:spPr>
          <a:xfrm>
            <a:off x="2505416" y="1053697"/>
            <a:ext cx="2003232" cy="1405904"/>
          </a:xfrm>
          <a:prstGeom prst="rect">
            <a:avLst/>
          </a:prstGeom>
          <a:solidFill>
            <a:srgbClr val="009BD2"/>
          </a:solidFill>
          <a:ln>
            <a:noFill/>
          </a:ln>
          <a:effectLst/>
        </p:spPr>
        <p:style>
          <a:lnRef idx="1">
            <a:schemeClr val="accent1"/>
          </a:lnRef>
          <a:fillRef idx="3">
            <a:schemeClr val="accent1"/>
          </a:fillRef>
          <a:effectRef idx="2">
            <a:schemeClr val="accent1"/>
          </a:effectRef>
          <a:fontRef idx="minor">
            <a:schemeClr val="lt1"/>
          </a:fontRef>
        </p:style>
        <p:txBody>
          <a:bodyPr lIns="274297" tIns="274297" rIns="91432" bIns="45716" anchor="t"/>
          <a:lstStyle/>
          <a:p>
            <a:endParaRPr lang="en-US" b="1" dirty="0" smtClean="0">
              <a:solidFill>
                <a:srgbClr val="FFFFFF"/>
              </a:solidFill>
              <a:latin typeface="Segoe" pitchFamily="34" charset="0"/>
            </a:endParaRPr>
          </a:p>
        </p:txBody>
      </p:sp>
      <p:pic>
        <p:nvPicPr>
          <p:cNvPr id="10" name="Picture 34" descr="Efficiency.png"/>
          <p:cNvPicPr>
            <a:picLocks noChangeAspect="1"/>
          </p:cNvPicPr>
          <p:nvPr/>
        </p:nvPicPr>
        <p:blipFill>
          <a:blip r:embed="rId5" cstate="print"/>
          <a:srcRect/>
          <a:stretch>
            <a:fillRect/>
          </a:stretch>
        </p:blipFill>
        <p:spPr bwMode="auto">
          <a:xfrm>
            <a:off x="2856838" y="1168705"/>
            <a:ext cx="1311028" cy="1226804"/>
          </a:xfrm>
          <a:prstGeom prst="rect">
            <a:avLst/>
          </a:prstGeom>
          <a:noFill/>
          <a:ln w="9525">
            <a:noFill/>
            <a:miter lim="800000"/>
            <a:headEnd/>
            <a:tailEnd/>
          </a:ln>
        </p:spPr>
      </p:pic>
      <p:sp>
        <p:nvSpPr>
          <p:cNvPr id="17" name="Rectangle 16"/>
          <p:cNvSpPr/>
          <p:nvPr/>
        </p:nvSpPr>
        <p:spPr>
          <a:xfrm>
            <a:off x="4611875" y="1056565"/>
            <a:ext cx="2003232" cy="1405904"/>
          </a:xfrm>
          <a:prstGeom prst="rect">
            <a:avLst/>
          </a:prstGeom>
          <a:solidFill>
            <a:srgbClr val="00A5C8"/>
          </a:solidFill>
          <a:ln>
            <a:noFill/>
          </a:ln>
          <a:effectLst/>
        </p:spPr>
        <p:style>
          <a:lnRef idx="1">
            <a:schemeClr val="accent1"/>
          </a:lnRef>
          <a:fillRef idx="3">
            <a:schemeClr val="accent1"/>
          </a:fillRef>
          <a:effectRef idx="2">
            <a:schemeClr val="accent1"/>
          </a:effectRef>
          <a:fontRef idx="minor">
            <a:schemeClr val="lt1"/>
          </a:fontRef>
        </p:style>
        <p:txBody>
          <a:bodyPr lIns="274297" tIns="274297" rIns="91432" bIns="45716" anchor="t"/>
          <a:lstStyle/>
          <a:p>
            <a:endParaRPr lang="en-US" b="1" dirty="0" smtClean="0">
              <a:solidFill>
                <a:srgbClr val="FFFFFF"/>
              </a:solidFill>
              <a:latin typeface="Segoe" pitchFamily="34" charset="0"/>
            </a:endParaRPr>
          </a:p>
        </p:txBody>
      </p:sp>
      <p:pic>
        <p:nvPicPr>
          <p:cNvPr id="14" name="Picture 2" descr="\\MAGNUM\Projects\Microsoft\Journey to the Cloud Campaign\Design\Assets\App_web.png"/>
          <p:cNvPicPr>
            <a:picLocks noChangeAspect="1" noChangeArrowheads="1"/>
          </p:cNvPicPr>
          <p:nvPr/>
        </p:nvPicPr>
        <p:blipFill>
          <a:blip r:embed="rId6" cstate="print">
            <a:lum bright="100000"/>
          </a:blip>
          <a:srcRect/>
          <a:stretch>
            <a:fillRect/>
          </a:stretch>
        </p:blipFill>
        <p:spPr bwMode="auto">
          <a:xfrm>
            <a:off x="5075912" y="1394127"/>
            <a:ext cx="1095185" cy="807805"/>
          </a:xfrm>
          <a:prstGeom prst="rect">
            <a:avLst/>
          </a:prstGeom>
          <a:noFill/>
        </p:spPr>
      </p:pic>
      <p:sp>
        <p:nvSpPr>
          <p:cNvPr id="5" name="Title 4"/>
          <p:cNvSpPr>
            <a:spLocks noGrp="1"/>
          </p:cNvSpPr>
          <p:nvPr>
            <p:ph type="title"/>
          </p:nvPr>
        </p:nvSpPr>
        <p:spPr>
          <a:xfrm>
            <a:off x="381000" y="172646"/>
            <a:ext cx="8382000" cy="830997"/>
          </a:xfrm>
        </p:spPr>
        <p:txBody>
          <a:bodyPr/>
          <a:lstStyle/>
          <a:p>
            <a:r>
              <a:rPr lang="en-US" sz="3600" dirty="0"/>
              <a:t>Windows Server 2012</a:t>
            </a:r>
            <a:br>
              <a:rPr lang="en-US" sz="3600" dirty="0"/>
            </a:br>
            <a:r>
              <a:rPr lang="en-US" sz="2400" dirty="0"/>
              <a:t>Cloud Optimize Your IT</a:t>
            </a:r>
          </a:p>
        </p:txBody>
      </p:sp>
      <p:sp>
        <p:nvSpPr>
          <p:cNvPr id="18"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9"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7"/>
              </a:rPr>
              <a:t>www.rapidbbs.cn</a:t>
            </a:r>
            <a:endParaRPr lang="zh-CN" altLang="en-US" sz="1200" b="0">
              <a:latin typeface="Arial" charset="0"/>
              <a:ea typeface="ＭＳ Ｐゴシック" pitchFamily="34" charset="-128"/>
            </a:endParaRPr>
          </a:p>
        </p:txBody>
      </p:sp>
      <p:pic>
        <p:nvPicPr>
          <p:cNvPr id="20" name="Picture 2">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757144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ete to Win | The Series</a:t>
            </a:r>
            <a:endParaRPr lang="en-US" dirty="0"/>
          </a:p>
        </p:txBody>
      </p:sp>
      <p:sp>
        <p:nvSpPr>
          <p:cNvPr id="4" name="Arrow Bar"/>
          <p:cNvSpPr/>
          <p:nvPr/>
        </p:nvSpPr>
        <p:spPr bwMode="gray">
          <a:xfrm>
            <a:off x="1142106" y="1085851"/>
            <a:ext cx="6750030" cy="1109234"/>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4100" dirty="0">
                <a:solidFill>
                  <a:schemeClr val="tx1">
                    <a:lumMod val="20000"/>
                    <a:lumOff val="80000"/>
                    <a:alpha val="99000"/>
                  </a:schemeClr>
                </a:solidFill>
                <a:latin typeface="Segoe UI" pitchFamily="34" charset="0"/>
                <a:ea typeface="Segoe UI" pitchFamily="34" charset="0"/>
                <a:cs typeface="Segoe UI" pitchFamily="34" charset="0"/>
              </a:rPr>
              <a:t>Compete to Win</a:t>
            </a:r>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5" name="Arrow Bar"/>
          <p:cNvSpPr/>
          <p:nvPr/>
        </p:nvSpPr>
        <p:spPr bwMode="gray">
          <a:xfrm>
            <a:off x="1142107" y="2228851"/>
            <a:ext cx="3361295" cy="1109234"/>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2400" dirty="0">
                <a:solidFill>
                  <a:schemeClr val="tx1">
                    <a:lumMod val="20000"/>
                    <a:lumOff val="80000"/>
                    <a:alpha val="99000"/>
                  </a:schemeClr>
                </a:solidFill>
                <a:latin typeface="Segoe UI" pitchFamily="34" charset="0"/>
                <a:ea typeface="Segoe UI" pitchFamily="34" charset="0"/>
                <a:cs typeface="Segoe UI" pitchFamily="34" charset="0"/>
              </a:rPr>
              <a:t>I - Core Virtualization</a:t>
            </a:r>
          </a:p>
        </p:txBody>
      </p:sp>
      <p:sp>
        <p:nvSpPr>
          <p:cNvPr id="6" name="Arrow Bar"/>
          <p:cNvSpPr/>
          <p:nvPr/>
        </p:nvSpPr>
        <p:spPr bwMode="gray">
          <a:xfrm>
            <a:off x="4530842" y="2228851"/>
            <a:ext cx="3361295" cy="1109234"/>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2400" dirty="0">
                <a:solidFill>
                  <a:schemeClr val="tx1">
                    <a:lumMod val="20000"/>
                    <a:lumOff val="80000"/>
                    <a:alpha val="99000"/>
                  </a:schemeClr>
                </a:solidFill>
                <a:latin typeface="Segoe UI" pitchFamily="34" charset="0"/>
                <a:ea typeface="Segoe UI" pitchFamily="34" charset="0"/>
                <a:cs typeface="Segoe UI" pitchFamily="34" charset="0"/>
              </a:rPr>
              <a:t>II - Private Cloud</a:t>
            </a:r>
          </a:p>
        </p:txBody>
      </p:sp>
      <p:sp>
        <p:nvSpPr>
          <p:cNvPr id="7" name="Arrow Bar"/>
          <p:cNvSpPr/>
          <p:nvPr/>
        </p:nvSpPr>
        <p:spPr bwMode="gray">
          <a:xfrm>
            <a:off x="4530842" y="3371851"/>
            <a:ext cx="3361295" cy="1109234"/>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2400" dirty="0">
                <a:solidFill>
                  <a:schemeClr val="tx1">
                    <a:lumMod val="20000"/>
                    <a:lumOff val="80000"/>
                    <a:alpha val="99000"/>
                  </a:schemeClr>
                </a:solidFill>
                <a:latin typeface="Segoe UI" pitchFamily="34" charset="0"/>
                <a:ea typeface="Segoe UI" pitchFamily="34" charset="0"/>
                <a:cs typeface="Segoe UI" pitchFamily="34" charset="0"/>
              </a:rPr>
              <a:t>Thursday June 14</a:t>
            </a:r>
            <a:r>
              <a:rPr lang="en-US" sz="2400" baseline="30000" dirty="0">
                <a:solidFill>
                  <a:schemeClr val="tx1">
                    <a:lumMod val="20000"/>
                    <a:lumOff val="80000"/>
                    <a:alpha val="99000"/>
                  </a:schemeClr>
                </a:solidFill>
                <a:latin typeface="Segoe UI" pitchFamily="34" charset="0"/>
                <a:ea typeface="Segoe UI" pitchFamily="34" charset="0"/>
                <a:cs typeface="Segoe UI" pitchFamily="34" charset="0"/>
              </a:rPr>
              <a:t>th</a:t>
            </a:r>
            <a:r>
              <a:rPr lang="en-US" sz="2400" dirty="0">
                <a:solidFill>
                  <a:schemeClr val="tx1">
                    <a:lumMod val="20000"/>
                    <a:lumOff val="80000"/>
                    <a:alpha val="99000"/>
                  </a:schemeClr>
                </a:solidFill>
                <a:latin typeface="Segoe UI" pitchFamily="34" charset="0"/>
                <a:ea typeface="Segoe UI" pitchFamily="34" charset="0"/>
                <a:cs typeface="Segoe UI" pitchFamily="34" charset="0"/>
              </a:rPr>
              <a:t/>
            </a:r>
            <a:br>
              <a:rPr lang="en-US" sz="2400" dirty="0">
                <a:solidFill>
                  <a:schemeClr val="tx1">
                    <a:lumMod val="20000"/>
                    <a:lumOff val="80000"/>
                    <a:alpha val="99000"/>
                  </a:schemeClr>
                </a:solidFill>
                <a:latin typeface="Segoe UI" pitchFamily="34" charset="0"/>
                <a:ea typeface="Segoe UI" pitchFamily="34" charset="0"/>
                <a:cs typeface="Segoe UI" pitchFamily="34" charset="0"/>
              </a:rPr>
            </a:br>
            <a:r>
              <a:rPr lang="en-US" sz="2400" dirty="0">
                <a:solidFill>
                  <a:schemeClr val="tx1">
                    <a:lumMod val="20000"/>
                    <a:lumOff val="80000"/>
                    <a:alpha val="99000"/>
                  </a:schemeClr>
                </a:solidFill>
                <a:latin typeface="Segoe UI" pitchFamily="34" charset="0"/>
                <a:ea typeface="Segoe UI" pitchFamily="34" charset="0"/>
                <a:cs typeface="Segoe UI" pitchFamily="34" charset="0"/>
              </a:rPr>
              <a:t>8:30am</a:t>
            </a:r>
          </a:p>
        </p:txBody>
      </p:sp>
      <p:sp>
        <p:nvSpPr>
          <p:cNvPr id="8" name="Arrow Bar"/>
          <p:cNvSpPr/>
          <p:nvPr/>
        </p:nvSpPr>
        <p:spPr bwMode="gray">
          <a:xfrm>
            <a:off x="1142107" y="3371851"/>
            <a:ext cx="3361295" cy="1109234"/>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2100" dirty="0">
                <a:solidFill>
                  <a:schemeClr val="tx1">
                    <a:lumMod val="20000"/>
                    <a:lumOff val="80000"/>
                    <a:alpha val="99000"/>
                  </a:schemeClr>
                </a:solidFill>
                <a:latin typeface="Segoe UI" pitchFamily="34" charset="0"/>
                <a:ea typeface="Segoe UI" pitchFamily="34" charset="0"/>
                <a:cs typeface="Segoe UI" pitchFamily="34" charset="0"/>
              </a:rPr>
              <a:t>Hypervisor Choices</a:t>
            </a:r>
          </a:p>
          <a:p>
            <a:pPr algn="ctr" defTabSz="685637"/>
            <a:r>
              <a:rPr lang="en-US" sz="2100" dirty="0">
                <a:solidFill>
                  <a:schemeClr val="tx1">
                    <a:lumMod val="20000"/>
                    <a:lumOff val="80000"/>
                    <a:alpha val="99000"/>
                  </a:schemeClr>
                </a:solidFill>
                <a:latin typeface="Segoe UI" pitchFamily="34" charset="0"/>
                <a:ea typeface="Segoe UI" pitchFamily="34" charset="0"/>
                <a:cs typeface="Segoe UI" pitchFamily="34" charset="0"/>
              </a:rPr>
              <a:t>Hypervisor Comparison</a:t>
            </a:r>
          </a:p>
        </p:txBody>
      </p:sp>
      <p:sp>
        <p:nvSpPr>
          <p:cNvPr id="9"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0"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
              </a:rPr>
              <a:t>www.rapidbbs.cn</a:t>
            </a:r>
            <a:endParaRPr lang="zh-CN" altLang="en-US" sz="1200" b="0">
              <a:latin typeface="Arial" charset="0"/>
              <a:ea typeface="ＭＳ Ｐゴシック" pitchFamily="34" charset="-128"/>
            </a:endParaRPr>
          </a:p>
        </p:txBody>
      </p:sp>
      <p:pic>
        <p:nvPicPr>
          <p:cNvPr id="11" name="Picture 2">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8971634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2" presetClass="entr" presetSubtype="1" fill="hold" grpId="0" nodeType="click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wipe(up)">
                                      <p:cBhvr>
                                        <p:cTn id="14" dur="500"/>
                                        <p:tgtEl>
                                          <p:spTgt spid="5"/>
                                        </p:tgtEl>
                                      </p:cBhvr>
                                    </p:animEffect>
                                  </p:childTnLst>
                                </p:cTn>
                              </p:par>
                            </p:childTnLst>
                          </p:cTn>
                        </p:par>
                        <p:par>
                          <p:cTn id="15" fill="hold">
                            <p:stCondLst>
                              <p:cond delay="500"/>
                            </p:stCondLst>
                            <p:childTnLst>
                              <p:par>
                                <p:cTn id="16" presetID="22" presetClass="entr" presetSubtype="1" fill="hold" grpId="0" nodeType="after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wipe(up)">
                                      <p:cBhvr>
                                        <p:cTn id="18" dur="500"/>
                                        <p:tgtEl>
                                          <p:spTgt spid="8"/>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1" fill="hold" grpId="0" nodeType="click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wipe(up)">
                                      <p:cBhvr>
                                        <p:cTn id="23" dur="500"/>
                                        <p:tgtEl>
                                          <p:spTgt spid="6"/>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1" fill="hold" grpId="0" nodeType="clickEffect">
                                  <p:stCondLst>
                                    <p:cond delay="0"/>
                                  </p:stCondLst>
                                  <p:childTnLst>
                                    <p:set>
                                      <p:cBhvr>
                                        <p:cTn id="27" dur="1" fill="hold">
                                          <p:stCondLst>
                                            <p:cond delay="0"/>
                                          </p:stCondLst>
                                        </p:cTn>
                                        <p:tgtEl>
                                          <p:spTgt spid="7"/>
                                        </p:tgtEl>
                                        <p:attrNameLst>
                                          <p:attrName>style.visibility</p:attrName>
                                        </p:attrNameLst>
                                      </p:cBhvr>
                                      <p:to>
                                        <p:strVal val="visible"/>
                                      </p:to>
                                    </p:set>
                                    <p:animEffect transition="in" filter="wipe(up)">
                                      <p:cBhvr>
                                        <p:cTn id="28"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Lst>
  </p:timing>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hoices, Choices, Choices….</a:t>
            </a:r>
            <a:endParaRPr lang="en-US" dirty="0"/>
          </a:p>
        </p:txBody>
      </p:sp>
      <p:grpSp>
        <p:nvGrpSpPr>
          <p:cNvPr id="4" name="MS Learning Tile"/>
          <p:cNvGrpSpPr/>
          <p:nvPr/>
        </p:nvGrpSpPr>
        <p:grpSpPr bwMode="gray">
          <a:xfrm>
            <a:off x="627622" y="1085851"/>
            <a:ext cx="2629585" cy="1109234"/>
            <a:chOff x="6175639" y="1168386"/>
            <a:chExt cx="3505200" cy="1478979"/>
          </a:xfrm>
        </p:grpSpPr>
        <p:sp>
          <p:nvSpPr>
            <p:cNvPr id="5" name="Arrow Bar"/>
            <p:cNvSpPr/>
            <p:nvPr/>
          </p:nvSpPr>
          <p:spPr bwMode="gray">
            <a:xfrm>
              <a:off x="6175639" y="1168386"/>
              <a:ext cx="3505200" cy="1478979"/>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9" name="Picture 2" descr="Microsoft logo and tagline"/>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gray">
            <a:xfrm>
              <a:off x="6772294" y="1690653"/>
              <a:ext cx="2311890" cy="388828"/>
            </a:xfrm>
            <a:prstGeom prst="rect">
              <a:avLst/>
            </a:prstGeom>
            <a:noFill/>
            <a:ln>
              <a:noFill/>
            </a:ln>
          </p:spPr>
        </p:pic>
      </p:grpSp>
      <p:grpSp>
        <p:nvGrpSpPr>
          <p:cNvPr id="17" name="Group 16"/>
          <p:cNvGrpSpPr/>
          <p:nvPr/>
        </p:nvGrpSpPr>
        <p:grpSpPr>
          <a:xfrm>
            <a:off x="5931981" y="1085851"/>
            <a:ext cx="2629585" cy="1109234"/>
            <a:chOff x="7847012" y="1340420"/>
            <a:chExt cx="3505200" cy="1478979"/>
          </a:xfrm>
        </p:grpSpPr>
        <p:sp>
          <p:nvSpPr>
            <p:cNvPr id="14" name="Arrow Bar"/>
            <p:cNvSpPr/>
            <p:nvPr/>
          </p:nvSpPr>
          <p:spPr bwMode="gray">
            <a:xfrm>
              <a:off x="7847012" y="1340420"/>
              <a:ext cx="3505200" cy="1478979"/>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6" name="Picture 15" descr="http://theitbros.com/wp-content/uploads/2011/02/vmware-logo.png"/>
            <p:cNvPicPr>
              <a:picLocks noChangeAspect="1" noChangeArrowheads="1"/>
            </p:cNvPicPr>
            <p:nvPr/>
          </p:nvPicPr>
          <p:blipFill rotWithShape="1">
            <a:blip r:embed="rId4" cstate="print">
              <a:extLst>
                <a:ext uri="{BEBA8EAE-BF5A-486C-A8C5-ECC9F3942E4B}">
                  <a14:imgProps xmlns:a14="http://schemas.microsoft.com/office/drawing/2010/main">
                    <a14:imgLayer r:embed="rId5">
                      <a14:imgEffect>
                        <a14:backgroundRemoval t="30667" b="63556" l="1250" r="99375">
                          <a14:foregroundMark x1="3750" y1="34889" x2="3750" y2="34889"/>
                          <a14:foregroundMark x1="3854" y1="34889" x2="9063" y2="58000"/>
                          <a14:foregroundMark x1="41771" y1="42222" x2="41771" y2="42222"/>
                          <a14:foregroundMark x1="68438" y1="34667" x2="68438" y2="34667"/>
                          <a14:foregroundMark x1="76875" y1="36889" x2="76875" y2="36889"/>
                          <a14:foregroundMark x1="87708" y1="36000" x2="87708" y2="36000"/>
                        </a14:backgroundRemoval>
                      </a14:imgEffect>
                      <a14:imgEffect>
                        <a14:brightnessContrast bright="100000"/>
                      </a14:imgEffect>
                    </a14:imgLayer>
                  </a14:imgProps>
                </a:ext>
                <a:ext uri="{28A0092B-C50C-407E-A947-70E740481C1C}">
                  <a14:useLocalDpi xmlns:a14="http://schemas.microsoft.com/office/drawing/2010/main" val="0"/>
                </a:ext>
              </a:extLst>
            </a:blip>
            <a:srcRect t="29105" b="32546"/>
            <a:stretch/>
          </p:blipFill>
          <p:spPr bwMode="auto">
            <a:xfrm>
              <a:off x="8579598" y="1897172"/>
              <a:ext cx="2163014" cy="38882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 name="Group 17"/>
          <p:cNvGrpSpPr/>
          <p:nvPr/>
        </p:nvGrpSpPr>
        <p:grpSpPr>
          <a:xfrm>
            <a:off x="3285790" y="1085853"/>
            <a:ext cx="2629585" cy="1109234"/>
            <a:chOff x="4265612" y="1340421"/>
            <a:chExt cx="3505200" cy="1478979"/>
          </a:xfrm>
        </p:grpSpPr>
        <p:sp>
          <p:nvSpPr>
            <p:cNvPr id="11" name="Arrow Bar"/>
            <p:cNvSpPr/>
            <p:nvPr/>
          </p:nvSpPr>
          <p:spPr bwMode="gray">
            <a:xfrm>
              <a:off x="4265612" y="1340421"/>
              <a:ext cx="3505200" cy="1478979"/>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026" name="Picture 2" descr="http://xen.org/images/logos/CITRIX_logo.png"/>
            <p:cNvPicPr>
              <a:picLocks noChangeAspect="1" noChangeArrowheads="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232413" y="1774418"/>
              <a:ext cx="1571598" cy="634335"/>
            </a:xfrm>
            <a:prstGeom prst="rect">
              <a:avLst/>
            </a:prstGeom>
            <a:noFill/>
            <a:extLst>
              <a:ext uri="{909E8E84-426E-40DD-AFC4-6F175D3DCCD1}">
                <a14:hiddenFill xmlns:a14="http://schemas.microsoft.com/office/drawing/2010/main">
                  <a:solidFill>
                    <a:srgbClr val="FFFFFF"/>
                  </a:solidFill>
                </a14:hiddenFill>
              </a:ext>
            </a:extLst>
          </p:spPr>
        </p:pic>
      </p:grpSp>
      <p:sp>
        <p:nvSpPr>
          <p:cNvPr id="21" name="Arrow Bar"/>
          <p:cNvSpPr/>
          <p:nvPr/>
        </p:nvSpPr>
        <p:spPr bwMode="gray">
          <a:xfrm>
            <a:off x="3285790" y="2211969"/>
            <a:ext cx="2629585" cy="1109234"/>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2400" b="1" dirty="0">
                <a:solidFill>
                  <a:schemeClr val="tx1">
                    <a:lumMod val="20000"/>
                    <a:lumOff val="80000"/>
                    <a:alpha val="99000"/>
                  </a:schemeClr>
                </a:solidFill>
                <a:latin typeface="Segoe UI" pitchFamily="34" charset="0"/>
                <a:ea typeface="Segoe UI" pitchFamily="34" charset="0"/>
                <a:cs typeface="Segoe UI" pitchFamily="34" charset="0"/>
              </a:rPr>
              <a:t>Xen</a:t>
            </a:r>
            <a:r>
              <a:rPr lang="en-US" sz="2400" dirty="0">
                <a:solidFill>
                  <a:schemeClr val="tx1">
                    <a:lumMod val="20000"/>
                    <a:lumOff val="80000"/>
                    <a:alpha val="99000"/>
                  </a:schemeClr>
                </a:solidFill>
                <a:latin typeface="Segoe UI" pitchFamily="34" charset="0"/>
                <a:ea typeface="Segoe UI" pitchFamily="34" charset="0"/>
                <a:cs typeface="Segoe UI" pitchFamily="34" charset="0"/>
              </a:rPr>
              <a:t>Server</a:t>
            </a:r>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4" name="Arrow Bar"/>
          <p:cNvSpPr/>
          <p:nvPr/>
        </p:nvSpPr>
        <p:spPr bwMode="gray">
          <a:xfrm>
            <a:off x="5931981" y="2211970"/>
            <a:ext cx="2629585" cy="1109234"/>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2100" dirty="0">
                <a:solidFill>
                  <a:schemeClr val="tx1">
                    <a:lumMod val="20000"/>
                    <a:lumOff val="80000"/>
                    <a:alpha val="99000"/>
                  </a:schemeClr>
                </a:solidFill>
                <a:latin typeface="Segoe UI" pitchFamily="34" charset="0"/>
                <a:ea typeface="Segoe UI" pitchFamily="34" charset="0"/>
                <a:cs typeface="Segoe UI" pitchFamily="34" charset="0"/>
              </a:rPr>
              <a:t>vSphere |</a:t>
            </a:r>
            <a:br>
              <a:rPr lang="en-US" sz="2100" dirty="0">
                <a:solidFill>
                  <a:schemeClr val="tx1">
                    <a:lumMod val="20000"/>
                    <a:lumOff val="80000"/>
                    <a:alpha val="99000"/>
                  </a:schemeClr>
                </a:solidFill>
                <a:latin typeface="Segoe UI" pitchFamily="34" charset="0"/>
                <a:ea typeface="Segoe UI" pitchFamily="34" charset="0"/>
                <a:cs typeface="Segoe UI" pitchFamily="34" charset="0"/>
              </a:rPr>
            </a:br>
            <a:r>
              <a:rPr lang="en-US" sz="2100" dirty="0">
                <a:solidFill>
                  <a:schemeClr val="tx1">
                    <a:lumMod val="20000"/>
                    <a:lumOff val="80000"/>
                    <a:alpha val="99000"/>
                  </a:schemeClr>
                </a:solidFill>
                <a:latin typeface="Segoe UI" pitchFamily="34" charset="0"/>
                <a:ea typeface="Segoe UI" pitchFamily="34" charset="0"/>
                <a:cs typeface="Segoe UI" pitchFamily="34" charset="0"/>
              </a:rPr>
              <a:t>vSphere Hypervisor</a:t>
            </a:r>
            <a:endParaRPr lang="en-US" sz="1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024" name="Group 1023"/>
          <p:cNvGrpSpPr/>
          <p:nvPr/>
        </p:nvGrpSpPr>
        <p:grpSpPr>
          <a:xfrm>
            <a:off x="627622" y="2211970"/>
            <a:ext cx="2629585" cy="1109234"/>
            <a:chOff x="684212" y="2834228"/>
            <a:chExt cx="3505200" cy="1478979"/>
          </a:xfrm>
        </p:grpSpPr>
        <p:sp>
          <p:nvSpPr>
            <p:cNvPr id="27" name="Arrow Bar"/>
            <p:cNvSpPr/>
            <p:nvPr/>
          </p:nvSpPr>
          <p:spPr bwMode="gray">
            <a:xfrm>
              <a:off x="684212" y="2834228"/>
              <a:ext cx="3505200" cy="1478979"/>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0" name="TextBox 29"/>
            <p:cNvSpPr txBox="1"/>
            <p:nvPr/>
          </p:nvSpPr>
          <p:spPr>
            <a:xfrm>
              <a:off x="912811" y="3081075"/>
              <a:ext cx="3200401" cy="1132618"/>
            </a:xfrm>
            <a:prstGeom prst="rect">
              <a:avLst/>
            </a:prstGeom>
            <a:noFill/>
          </p:spPr>
          <p:txBody>
            <a:bodyPr wrap="square" lIns="91440" tIns="91440" rIns="91440" bIns="91440" rtlCol="0">
              <a:spAutoFit/>
            </a:bodyPr>
            <a:lstStyle/>
            <a:p>
              <a:pPr>
                <a:lnSpc>
                  <a:spcPct val="90000"/>
                </a:lnSpc>
                <a:spcBef>
                  <a:spcPct val="20000"/>
                </a:spcBef>
                <a:buSzPct val="90000"/>
              </a:pPr>
              <a:r>
                <a:rPr lang="en-US" sz="2400" dirty="0">
                  <a:solidFill>
                    <a:schemeClr val="tx1">
                      <a:alpha val="99000"/>
                    </a:schemeClr>
                  </a:solidFill>
                </a:rPr>
                <a:t>Windows Server Hyper-V</a:t>
              </a:r>
            </a:p>
          </p:txBody>
        </p:sp>
      </p:grpSp>
      <p:grpSp>
        <p:nvGrpSpPr>
          <p:cNvPr id="1027" name="Group 1026"/>
          <p:cNvGrpSpPr/>
          <p:nvPr/>
        </p:nvGrpSpPr>
        <p:grpSpPr>
          <a:xfrm>
            <a:off x="627622" y="3338086"/>
            <a:ext cx="2629585" cy="1109234"/>
            <a:chOff x="684212" y="4343400"/>
            <a:chExt cx="3505200" cy="1478979"/>
          </a:xfrm>
        </p:grpSpPr>
        <p:sp>
          <p:nvSpPr>
            <p:cNvPr id="35" name="Arrow Bar"/>
            <p:cNvSpPr/>
            <p:nvPr/>
          </p:nvSpPr>
          <p:spPr bwMode="gray">
            <a:xfrm>
              <a:off x="684212" y="4343400"/>
              <a:ext cx="3505200" cy="1478979"/>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8" name="TextBox 37"/>
            <p:cNvSpPr txBox="1"/>
            <p:nvPr/>
          </p:nvSpPr>
          <p:spPr>
            <a:xfrm>
              <a:off x="684212" y="4769419"/>
              <a:ext cx="3505200" cy="689420"/>
            </a:xfrm>
            <a:prstGeom prst="rect">
              <a:avLst/>
            </a:prstGeom>
            <a:noFill/>
          </p:spPr>
          <p:txBody>
            <a:bodyPr wrap="square" lIns="91440" tIns="91440" rIns="91440" bIns="91440" rtlCol="0">
              <a:spAutoFit/>
            </a:bodyPr>
            <a:lstStyle/>
            <a:p>
              <a:pPr algn="ctr">
                <a:lnSpc>
                  <a:spcPct val="90000"/>
                </a:lnSpc>
                <a:spcBef>
                  <a:spcPct val="20000"/>
                </a:spcBef>
                <a:buSzPct val="90000"/>
              </a:pPr>
              <a:r>
                <a:rPr lang="en-US" sz="2400" dirty="0">
                  <a:solidFill>
                    <a:schemeClr val="tx1">
                      <a:alpha val="99000"/>
                    </a:schemeClr>
                  </a:solidFill>
                </a:rPr>
                <a:t>Hyper-V Server</a:t>
              </a:r>
            </a:p>
          </p:txBody>
        </p:sp>
      </p:grpSp>
      <p:sp>
        <p:nvSpPr>
          <p:cNvPr id="44" name="Arrow Bar"/>
          <p:cNvSpPr/>
          <p:nvPr/>
        </p:nvSpPr>
        <p:spPr bwMode="gray">
          <a:xfrm>
            <a:off x="3285791" y="3338086"/>
            <a:ext cx="5275775" cy="1109234"/>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2400" dirty="0">
                <a:solidFill>
                  <a:schemeClr val="tx1">
                    <a:lumMod val="20000"/>
                    <a:lumOff val="80000"/>
                    <a:alpha val="99000"/>
                  </a:schemeClr>
                </a:solidFill>
                <a:latin typeface="Segoe UI" pitchFamily="34" charset="0"/>
                <a:ea typeface="Segoe UI" pitchFamily="34" charset="0"/>
                <a:cs typeface="Segoe UI" pitchFamily="34" charset="0"/>
              </a:rPr>
              <a:t>What is </a:t>
            </a:r>
            <a:r>
              <a:rPr lang="en-US" sz="2400" b="1" dirty="0">
                <a:solidFill>
                  <a:schemeClr val="tx1">
                    <a:lumMod val="20000"/>
                    <a:lumOff val="80000"/>
                    <a:alpha val="99000"/>
                  </a:schemeClr>
                </a:solidFill>
                <a:latin typeface="Segoe UI" pitchFamily="34" charset="0"/>
                <a:ea typeface="Segoe UI" pitchFamily="34" charset="0"/>
                <a:cs typeface="Segoe UI" pitchFamily="34" charset="0"/>
              </a:rPr>
              <a:t>Hyper-V Server</a:t>
            </a:r>
            <a:r>
              <a:rPr lang="en-US" sz="2400" dirty="0">
                <a:solidFill>
                  <a:schemeClr val="tx1">
                    <a:lumMod val="20000"/>
                    <a:lumOff val="80000"/>
                    <a:alpha val="99000"/>
                  </a:schemeClr>
                </a:solidFill>
                <a:latin typeface="Segoe UI" pitchFamily="34" charset="0"/>
                <a:ea typeface="Segoe UI" pitchFamily="34" charset="0"/>
                <a:cs typeface="Segoe UI" pitchFamily="34" charset="0"/>
              </a:rPr>
              <a:t>?</a:t>
            </a:r>
          </a:p>
        </p:txBody>
      </p:sp>
      <p:sp>
        <p:nvSpPr>
          <p:cNvPr id="22"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3"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8"/>
              </a:rPr>
              <a:t>www.rapidbbs.cn</a:t>
            </a:r>
            <a:endParaRPr lang="zh-CN" altLang="en-US" sz="1200" b="0">
              <a:latin typeface="Arial" charset="0"/>
              <a:ea typeface="ＭＳ Ｐゴシック" pitchFamily="34" charset="-128"/>
            </a:endParaRPr>
          </a:p>
        </p:txBody>
      </p:sp>
      <p:pic>
        <p:nvPicPr>
          <p:cNvPr id="25" name="Picture 2">
            <a:hlinkClick r:id="rId8"/>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0701827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1000"/>
                                        <p:tgtEl>
                                          <p:spTgt spid="18"/>
                                        </p:tgtEl>
                                      </p:cBhvr>
                                    </p:animEffect>
                                    <p:anim calcmode="lin" valueType="num">
                                      <p:cBhvr>
                                        <p:cTn id="14" dur="1000" fill="hold"/>
                                        <p:tgtEl>
                                          <p:spTgt spid="18"/>
                                        </p:tgtEl>
                                        <p:attrNameLst>
                                          <p:attrName>ppt_x</p:attrName>
                                        </p:attrNameLst>
                                      </p:cBhvr>
                                      <p:tavLst>
                                        <p:tav tm="0">
                                          <p:val>
                                            <p:strVal val="#ppt_x"/>
                                          </p:val>
                                        </p:tav>
                                        <p:tav tm="100000">
                                          <p:val>
                                            <p:strVal val="#ppt_x"/>
                                          </p:val>
                                        </p:tav>
                                      </p:tavLst>
                                    </p:anim>
                                    <p:anim calcmode="lin" valueType="num">
                                      <p:cBhvr>
                                        <p:cTn id="15" dur="1000" fill="hold"/>
                                        <p:tgtEl>
                                          <p:spTgt spid="18"/>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fade">
                                      <p:cBhvr>
                                        <p:cTn id="19" dur="1000"/>
                                        <p:tgtEl>
                                          <p:spTgt spid="17"/>
                                        </p:tgtEl>
                                      </p:cBhvr>
                                    </p:animEffect>
                                    <p:anim calcmode="lin" valueType="num">
                                      <p:cBhvr>
                                        <p:cTn id="20" dur="1000" fill="hold"/>
                                        <p:tgtEl>
                                          <p:spTgt spid="17"/>
                                        </p:tgtEl>
                                        <p:attrNameLst>
                                          <p:attrName>ppt_x</p:attrName>
                                        </p:attrNameLst>
                                      </p:cBhvr>
                                      <p:tavLst>
                                        <p:tav tm="0">
                                          <p:val>
                                            <p:strVal val="#ppt_x"/>
                                          </p:val>
                                        </p:tav>
                                        <p:tav tm="100000">
                                          <p:val>
                                            <p:strVal val="#ppt_x"/>
                                          </p:val>
                                        </p:tav>
                                      </p:tavLst>
                                    </p:anim>
                                    <p:anim calcmode="lin" valueType="num">
                                      <p:cBhvr>
                                        <p:cTn id="21"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22" presetClass="entr" presetSubtype="1" fill="hold" grpId="0" nodeType="click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wipe(up)">
                                      <p:cBhvr>
                                        <p:cTn id="26" dur="500"/>
                                        <p:tgtEl>
                                          <p:spTgt spid="24"/>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1" fill="hold" grpId="0" nodeType="clickEffect">
                                  <p:stCondLst>
                                    <p:cond delay="0"/>
                                  </p:stCondLst>
                                  <p:childTnLst>
                                    <p:set>
                                      <p:cBhvr>
                                        <p:cTn id="30" dur="1" fill="hold">
                                          <p:stCondLst>
                                            <p:cond delay="0"/>
                                          </p:stCondLst>
                                        </p:cTn>
                                        <p:tgtEl>
                                          <p:spTgt spid="21"/>
                                        </p:tgtEl>
                                        <p:attrNameLst>
                                          <p:attrName>style.visibility</p:attrName>
                                        </p:attrNameLst>
                                      </p:cBhvr>
                                      <p:to>
                                        <p:strVal val="visible"/>
                                      </p:to>
                                    </p:set>
                                    <p:animEffect transition="in" filter="wipe(up)">
                                      <p:cBhvr>
                                        <p:cTn id="31" dur="500"/>
                                        <p:tgtEl>
                                          <p:spTgt spid="21"/>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1" fill="hold" nodeType="clickEffect">
                                  <p:stCondLst>
                                    <p:cond delay="0"/>
                                  </p:stCondLst>
                                  <p:childTnLst>
                                    <p:set>
                                      <p:cBhvr>
                                        <p:cTn id="35" dur="1" fill="hold">
                                          <p:stCondLst>
                                            <p:cond delay="0"/>
                                          </p:stCondLst>
                                        </p:cTn>
                                        <p:tgtEl>
                                          <p:spTgt spid="1024"/>
                                        </p:tgtEl>
                                        <p:attrNameLst>
                                          <p:attrName>style.visibility</p:attrName>
                                        </p:attrNameLst>
                                      </p:cBhvr>
                                      <p:to>
                                        <p:strVal val="visible"/>
                                      </p:to>
                                    </p:set>
                                    <p:animEffect transition="in" filter="wipe(up)">
                                      <p:cBhvr>
                                        <p:cTn id="36" dur="500"/>
                                        <p:tgtEl>
                                          <p:spTgt spid="1024"/>
                                        </p:tgtEl>
                                      </p:cBhvr>
                                    </p:animEffect>
                                  </p:childTnLst>
                                </p:cTn>
                              </p:par>
                            </p:childTnLst>
                          </p:cTn>
                        </p:par>
                      </p:childTnLst>
                    </p:cTn>
                  </p:par>
                  <p:par>
                    <p:cTn id="37" fill="hold">
                      <p:stCondLst>
                        <p:cond delay="indefinite"/>
                      </p:stCondLst>
                      <p:childTnLst>
                        <p:par>
                          <p:cTn id="38" fill="hold">
                            <p:stCondLst>
                              <p:cond delay="0"/>
                            </p:stCondLst>
                            <p:childTnLst>
                              <p:par>
                                <p:cTn id="39" presetID="22" presetClass="entr" presetSubtype="1" fill="hold" nodeType="clickEffect">
                                  <p:stCondLst>
                                    <p:cond delay="0"/>
                                  </p:stCondLst>
                                  <p:childTnLst>
                                    <p:set>
                                      <p:cBhvr>
                                        <p:cTn id="40" dur="1" fill="hold">
                                          <p:stCondLst>
                                            <p:cond delay="0"/>
                                          </p:stCondLst>
                                        </p:cTn>
                                        <p:tgtEl>
                                          <p:spTgt spid="1027"/>
                                        </p:tgtEl>
                                        <p:attrNameLst>
                                          <p:attrName>style.visibility</p:attrName>
                                        </p:attrNameLst>
                                      </p:cBhvr>
                                      <p:to>
                                        <p:strVal val="visible"/>
                                      </p:to>
                                    </p:set>
                                    <p:animEffect transition="in" filter="wipe(up)">
                                      <p:cBhvr>
                                        <p:cTn id="41" dur="500"/>
                                        <p:tgtEl>
                                          <p:spTgt spid="1027"/>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8" fill="hold" grpId="0" nodeType="clickEffect">
                                  <p:stCondLst>
                                    <p:cond delay="0"/>
                                  </p:stCondLst>
                                  <p:childTnLst>
                                    <p:set>
                                      <p:cBhvr>
                                        <p:cTn id="45" dur="1" fill="hold">
                                          <p:stCondLst>
                                            <p:cond delay="0"/>
                                          </p:stCondLst>
                                        </p:cTn>
                                        <p:tgtEl>
                                          <p:spTgt spid="44"/>
                                        </p:tgtEl>
                                        <p:attrNameLst>
                                          <p:attrName>style.visibility</p:attrName>
                                        </p:attrNameLst>
                                      </p:cBhvr>
                                      <p:to>
                                        <p:strVal val="visible"/>
                                      </p:to>
                                    </p:set>
                                    <p:animEffect transition="in" filter="wipe(left)">
                                      <p:cBhvr>
                                        <p:cTn id="46"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4" grpId="0" animBg="1"/>
      <p:bldP spid="44" grpId="0" animBg="1"/>
    </p:bldLst>
  </p:timing>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yper-V Server | Use Cases</a:t>
            </a:r>
            <a:endParaRPr lang="en-US" dirty="0"/>
          </a:p>
        </p:txBody>
      </p:sp>
      <p:grpSp>
        <p:nvGrpSpPr>
          <p:cNvPr id="17" name="Group 16"/>
          <p:cNvGrpSpPr/>
          <p:nvPr/>
        </p:nvGrpSpPr>
        <p:grpSpPr>
          <a:xfrm>
            <a:off x="627622" y="1028702"/>
            <a:ext cx="2629585" cy="3486149"/>
            <a:chOff x="760412" y="1371600"/>
            <a:chExt cx="3505200" cy="4648199"/>
          </a:xfrm>
        </p:grpSpPr>
        <p:sp>
          <p:nvSpPr>
            <p:cNvPr id="6" name="Arrow Bar"/>
            <p:cNvSpPr/>
            <p:nvPr/>
          </p:nvSpPr>
          <p:spPr bwMode="gray">
            <a:xfrm>
              <a:off x="760412" y="1371600"/>
              <a:ext cx="3505200" cy="4648199"/>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Picture 8"/>
            <p:cNvPicPr>
              <a:picLocks noChangeAspect="1" noChangeArrowheads="1"/>
            </p:cNvPicPr>
            <p:nvPr/>
          </p:nvPicPr>
          <p:blipFill>
            <a:blip r:embed="rId2" cstate="email">
              <a:biLevel thresh="50000"/>
              <a:extLst>
                <a:ext uri="{28A0092B-C50C-407E-A947-70E740481C1C}">
                  <a14:useLocalDpi xmlns:a14="http://schemas.microsoft.com/office/drawing/2010/main"/>
                </a:ext>
              </a:extLst>
            </a:blip>
            <a:srcRect/>
            <a:stretch>
              <a:fillRect/>
            </a:stretch>
          </p:blipFill>
          <p:spPr bwMode="auto">
            <a:xfrm>
              <a:off x="1217612" y="1676400"/>
              <a:ext cx="698617"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extBox 12"/>
            <p:cNvSpPr txBox="1"/>
            <p:nvPr/>
          </p:nvSpPr>
          <p:spPr>
            <a:xfrm>
              <a:off x="2015392" y="1752600"/>
              <a:ext cx="2133600" cy="1243417"/>
            </a:xfrm>
            <a:prstGeom prst="rect">
              <a:avLst/>
            </a:prstGeom>
            <a:noFill/>
          </p:spPr>
          <p:txBody>
            <a:bodyPr wrap="square" lIns="91440" tIns="91440" rIns="91440" bIns="91440" rtlCol="0">
              <a:spAutoFit/>
            </a:bodyPr>
            <a:lstStyle/>
            <a:p>
              <a:pPr>
                <a:lnSpc>
                  <a:spcPct val="90000"/>
                </a:lnSpc>
                <a:spcBef>
                  <a:spcPct val="20000"/>
                </a:spcBef>
                <a:buSzPct val="90000"/>
              </a:pPr>
              <a:r>
                <a:rPr lang="en-US" sz="1800" b="1" dirty="0">
                  <a:solidFill>
                    <a:schemeClr val="tx1">
                      <a:alpha val="99000"/>
                    </a:schemeClr>
                  </a:solidFill>
                </a:rPr>
                <a:t>V</a:t>
              </a:r>
              <a:r>
                <a:rPr lang="en-US" sz="1800" dirty="0">
                  <a:solidFill>
                    <a:schemeClr val="tx1">
                      <a:alpha val="99000"/>
                    </a:schemeClr>
                  </a:solidFill>
                </a:rPr>
                <a:t>irtual </a:t>
              </a:r>
              <a:r>
                <a:rPr lang="en-US" sz="1800" b="1" dirty="0">
                  <a:solidFill>
                    <a:schemeClr val="tx1">
                      <a:alpha val="99000"/>
                    </a:schemeClr>
                  </a:solidFill>
                </a:rPr>
                <a:t>D</a:t>
              </a:r>
              <a:r>
                <a:rPr lang="en-US" sz="1800" dirty="0">
                  <a:solidFill>
                    <a:schemeClr val="tx1">
                      <a:alpha val="99000"/>
                    </a:schemeClr>
                  </a:solidFill>
                </a:rPr>
                <a:t>esktop </a:t>
              </a:r>
              <a:r>
                <a:rPr lang="en-US" sz="1800" b="1" dirty="0">
                  <a:solidFill>
                    <a:schemeClr val="tx1">
                      <a:alpha val="99000"/>
                    </a:schemeClr>
                  </a:solidFill>
                </a:rPr>
                <a:t>I</a:t>
              </a:r>
              <a:r>
                <a:rPr lang="en-US" sz="1800" dirty="0">
                  <a:solidFill>
                    <a:schemeClr val="tx1">
                      <a:alpha val="99000"/>
                    </a:schemeClr>
                  </a:solidFill>
                </a:rPr>
                <a:t>nfrastructure</a:t>
              </a:r>
            </a:p>
          </p:txBody>
        </p:sp>
        <p:sp>
          <p:nvSpPr>
            <p:cNvPr id="16" name="TextBox 15"/>
            <p:cNvSpPr txBox="1"/>
            <p:nvPr/>
          </p:nvSpPr>
          <p:spPr>
            <a:xfrm>
              <a:off x="912812" y="3048000"/>
              <a:ext cx="3312380" cy="2862323"/>
            </a:xfrm>
            <a:prstGeom prst="rect">
              <a:avLst/>
            </a:prstGeom>
            <a:noFill/>
          </p:spPr>
          <p:txBody>
            <a:bodyPr wrap="square" lIns="91440" tIns="91440" rIns="91440" bIns="91440" rtlCol="0">
              <a:spAutoFit/>
            </a:bodyPr>
            <a:lstStyle/>
            <a:p>
              <a:pPr marL="257198" indent="-257198">
                <a:lnSpc>
                  <a:spcPct val="90000"/>
                </a:lnSpc>
                <a:spcBef>
                  <a:spcPct val="20000"/>
                </a:spcBef>
                <a:buSzPct val="90000"/>
                <a:buFont typeface="Arial" pitchFamily="34" charset="0"/>
                <a:buChar char="•"/>
              </a:pPr>
              <a:r>
                <a:rPr lang="en-US" sz="1500" dirty="0">
                  <a:solidFill>
                    <a:schemeClr val="tx1">
                      <a:alpha val="99000"/>
                    </a:schemeClr>
                  </a:solidFill>
                </a:rPr>
                <a:t>Windows Client VDI licensing is per end-point device</a:t>
              </a:r>
            </a:p>
            <a:p>
              <a:pPr marL="257198" indent="-257198">
                <a:lnSpc>
                  <a:spcPct val="90000"/>
                </a:lnSpc>
                <a:spcBef>
                  <a:spcPct val="20000"/>
                </a:spcBef>
                <a:buSzPct val="90000"/>
                <a:buFont typeface="Arial" pitchFamily="34" charset="0"/>
                <a:buChar char="•"/>
              </a:pPr>
              <a:r>
                <a:rPr lang="en-US" sz="1500" dirty="0">
                  <a:solidFill>
                    <a:schemeClr val="tx1">
                      <a:alpha val="99000"/>
                    </a:schemeClr>
                  </a:solidFill>
                </a:rPr>
                <a:t>VDI technologies are typically multi-hypervisor aware</a:t>
              </a:r>
            </a:p>
            <a:p>
              <a:pPr marL="257198" indent="-257198">
                <a:lnSpc>
                  <a:spcPct val="90000"/>
                </a:lnSpc>
                <a:spcBef>
                  <a:spcPct val="20000"/>
                </a:spcBef>
                <a:buSzPct val="90000"/>
                <a:buFont typeface="Arial" pitchFamily="34" charset="0"/>
                <a:buChar char="•"/>
              </a:pPr>
              <a:r>
                <a:rPr lang="en-US" sz="1500" dirty="0">
                  <a:solidFill>
                    <a:schemeClr val="tx1">
                      <a:alpha val="99000"/>
                    </a:schemeClr>
                  </a:solidFill>
                </a:rPr>
                <a:t>Windows 7 and Windows 8 run best on Hyper-V</a:t>
              </a:r>
            </a:p>
          </p:txBody>
        </p:sp>
      </p:grpSp>
      <p:grpSp>
        <p:nvGrpSpPr>
          <p:cNvPr id="19" name="Group 18"/>
          <p:cNvGrpSpPr/>
          <p:nvPr/>
        </p:nvGrpSpPr>
        <p:grpSpPr>
          <a:xfrm>
            <a:off x="3285791" y="1028701"/>
            <a:ext cx="2658167" cy="3500558"/>
            <a:chOff x="4303712" y="1371600"/>
            <a:chExt cx="3543300" cy="4667411"/>
          </a:xfrm>
        </p:grpSpPr>
        <p:sp>
          <p:nvSpPr>
            <p:cNvPr id="8" name="Arrow Bar"/>
            <p:cNvSpPr/>
            <p:nvPr/>
          </p:nvSpPr>
          <p:spPr bwMode="gray">
            <a:xfrm>
              <a:off x="4303712" y="1371600"/>
              <a:ext cx="3505200" cy="4648199"/>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4" name="Picture 2"/>
            <p:cNvPicPr>
              <a:picLocks noChangeAspect="1" noChangeArrowheads="1"/>
            </p:cNvPicPr>
            <p:nvPr/>
          </p:nvPicPr>
          <p:blipFill>
            <a:blip r:embed="rId3" cstate="email">
              <a:biLevel thresh="50000"/>
              <a:extLst>
                <a:ext uri="{28A0092B-C50C-407E-A947-70E740481C1C}">
                  <a14:useLocalDpi xmlns:a14="http://schemas.microsoft.com/office/drawing/2010/main"/>
                </a:ext>
              </a:extLst>
            </a:blip>
            <a:srcRect/>
            <a:stretch>
              <a:fillRect/>
            </a:stretch>
          </p:blipFill>
          <p:spPr bwMode="auto">
            <a:xfrm>
              <a:off x="4598988" y="1934084"/>
              <a:ext cx="1266824" cy="7898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TextBox 14"/>
            <p:cNvSpPr txBox="1"/>
            <p:nvPr/>
          </p:nvSpPr>
          <p:spPr>
            <a:xfrm>
              <a:off x="5942012" y="1752600"/>
              <a:ext cx="1905000" cy="1243417"/>
            </a:xfrm>
            <a:prstGeom prst="rect">
              <a:avLst/>
            </a:prstGeom>
            <a:noFill/>
          </p:spPr>
          <p:txBody>
            <a:bodyPr wrap="square" lIns="91440" tIns="91440" rIns="91440" bIns="91440" rtlCol="0">
              <a:spAutoFit/>
            </a:bodyPr>
            <a:lstStyle/>
            <a:p>
              <a:pPr>
                <a:lnSpc>
                  <a:spcPct val="90000"/>
                </a:lnSpc>
                <a:spcBef>
                  <a:spcPct val="20000"/>
                </a:spcBef>
                <a:buSzPct val="90000"/>
              </a:pPr>
              <a:r>
                <a:rPr lang="en-US" sz="1800" dirty="0">
                  <a:solidFill>
                    <a:schemeClr val="tx1">
                      <a:alpha val="99000"/>
                    </a:schemeClr>
                  </a:solidFill>
                </a:rPr>
                <a:t>Alternative Operating Systems</a:t>
              </a:r>
            </a:p>
          </p:txBody>
        </p:sp>
        <p:sp>
          <p:nvSpPr>
            <p:cNvPr id="18" name="TextBox 17"/>
            <p:cNvSpPr txBox="1"/>
            <p:nvPr/>
          </p:nvSpPr>
          <p:spPr>
            <a:xfrm>
              <a:off x="4418012" y="3047423"/>
              <a:ext cx="3276600" cy="2991588"/>
            </a:xfrm>
            <a:prstGeom prst="rect">
              <a:avLst/>
            </a:prstGeom>
            <a:noFill/>
          </p:spPr>
          <p:txBody>
            <a:bodyPr wrap="square" lIns="91440" tIns="91440" rIns="91440" bIns="91440" rtlCol="0">
              <a:spAutoFit/>
            </a:bodyPr>
            <a:lstStyle/>
            <a:p>
              <a:pPr marL="257198" indent="-257198">
                <a:lnSpc>
                  <a:spcPct val="90000"/>
                </a:lnSpc>
                <a:spcBef>
                  <a:spcPct val="20000"/>
                </a:spcBef>
                <a:buSzPct val="90000"/>
                <a:buFont typeface="Arial" pitchFamily="34" charset="0"/>
                <a:buChar char="•"/>
              </a:pPr>
              <a:r>
                <a:rPr lang="en-US" sz="1500" dirty="0">
                  <a:solidFill>
                    <a:schemeClr val="tx1">
                      <a:alpha val="99000"/>
                    </a:schemeClr>
                  </a:solidFill>
                </a:rPr>
                <a:t>Microsoft currently supports the following Linux distributions on Hyper-V:</a:t>
              </a:r>
            </a:p>
            <a:p>
              <a:pPr marL="600117" lvl="1" indent="-257198">
                <a:lnSpc>
                  <a:spcPct val="90000"/>
                </a:lnSpc>
                <a:spcBef>
                  <a:spcPct val="20000"/>
                </a:spcBef>
                <a:buSzPct val="90000"/>
                <a:buFont typeface="Arial" pitchFamily="34" charset="0"/>
                <a:buChar char="•"/>
              </a:pPr>
              <a:r>
                <a:rPr lang="en-US" sz="1100" dirty="0">
                  <a:solidFill>
                    <a:schemeClr val="tx1">
                      <a:alpha val="99000"/>
                    </a:schemeClr>
                  </a:solidFill>
                </a:rPr>
                <a:t>SLES: (10 SP4 – 11 SP1/2)</a:t>
              </a:r>
            </a:p>
            <a:p>
              <a:pPr marL="600117" lvl="1" indent="-257198">
                <a:lnSpc>
                  <a:spcPct val="90000"/>
                </a:lnSpc>
                <a:spcBef>
                  <a:spcPct val="20000"/>
                </a:spcBef>
                <a:buSzPct val="90000"/>
                <a:buFont typeface="Arial" pitchFamily="34" charset="0"/>
                <a:buChar char="•"/>
              </a:pPr>
              <a:r>
                <a:rPr lang="en-US" sz="1100" dirty="0">
                  <a:solidFill>
                    <a:schemeClr val="tx1">
                      <a:alpha val="99000"/>
                    </a:schemeClr>
                  </a:solidFill>
                </a:rPr>
                <a:t>RHEL: 5.5-5.7 | 6.0-6.2</a:t>
              </a:r>
            </a:p>
            <a:p>
              <a:pPr marL="600117" lvl="1" indent="-257198">
                <a:lnSpc>
                  <a:spcPct val="90000"/>
                </a:lnSpc>
                <a:spcBef>
                  <a:spcPct val="20000"/>
                </a:spcBef>
                <a:buSzPct val="90000"/>
                <a:buFont typeface="Arial" pitchFamily="34" charset="0"/>
                <a:buChar char="•"/>
              </a:pPr>
              <a:r>
                <a:rPr lang="en-US" sz="1100" dirty="0">
                  <a:solidFill>
                    <a:schemeClr val="tx1">
                      <a:alpha val="99000"/>
                    </a:schemeClr>
                  </a:solidFill>
                </a:rPr>
                <a:t>CentOS: 5.5-5.7 | 6.0-6.2</a:t>
              </a:r>
            </a:p>
            <a:p>
              <a:pPr marL="257198" indent="-257198">
                <a:lnSpc>
                  <a:spcPct val="90000"/>
                </a:lnSpc>
                <a:spcBef>
                  <a:spcPct val="20000"/>
                </a:spcBef>
                <a:buSzPct val="90000"/>
                <a:buFont typeface="Arial" pitchFamily="34" charset="0"/>
                <a:buChar char="•"/>
              </a:pPr>
              <a:r>
                <a:rPr lang="en-US" sz="1500" dirty="0">
                  <a:solidFill>
                    <a:schemeClr val="tx1">
                      <a:alpha val="99000"/>
                    </a:schemeClr>
                  </a:solidFill>
                </a:rPr>
                <a:t>Enhancing Linux integration and support rapidly</a:t>
              </a:r>
            </a:p>
          </p:txBody>
        </p:sp>
      </p:grpSp>
      <p:grpSp>
        <p:nvGrpSpPr>
          <p:cNvPr id="21" name="Group 20"/>
          <p:cNvGrpSpPr/>
          <p:nvPr/>
        </p:nvGrpSpPr>
        <p:grpSpPr>
          <a:xfrm>
            <a:off x="5943958" y="1028702"/>
            <a:ext cx="2629585" cy="3486149"/>
            <a:chOff x="7847012" y="1371600"/>
            <a:chExt cx="3505200" cy="4648199"/>
          </a:xfrm>
        </p:grpSpPr>
        <p:sp>
          <p:nvSpPr>
            <p:cNvPr id="9" name="Arrow Bar"/>
            <p:cNvSpPr/>
            <p:nvPr/>
          </p:nvSpPr>
          <p:spPr bwMode="gray">
            <a:xfrm>
              <a:off x="7847012" y="1371600"/>
              <a:ext cx="3505200" cy="4648199"/>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0" name="Picture 14"/>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8456612" y="1786488"/>
              <a:ext cx="810646" cy="1123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TextBox 10"/>
            <p:cNvSpPr txBox="1"/>
            <p:nvPr/>
          </p:nvSpPr>
          <p:spPr>
            <a:xfrm>
              <a:off x="9343458" y="1752600"/>
              <a:ext cx="1905000" cy="1243417"/>
            </a:xfrm>
            <a:prstGeom prst="rect">
              <a:avLst/>
            </a:prstGeom>
            <a:noFill/>
          </p:spPr>
          <p:txBody>
            <a:bodyPr wrap="square" lIns="91440" tIns="91440" rIns="91440" bIns="91440" rtlCol="0">
              <a:spAutoFit/>
            </a:bodyPr>
            <a:lstStyle/>
            <a:p>
              <a:pPr>
                <a:lnSpc>
                  <a:spcPct val="90000"/>
                </a:lnSpc>
                <a:spcBef>
                  <a:spcPct val="20000"/>
                </a:spcBef>
                <a:buSzPct val="90000"/>
              </a:pPr>
              <a:r>
                <a:rPr lang="en-US" sz="1800" dirty="0">
                  <a:solidFill>
                    <a:schemeClr val="tx1">
                      <a:alpha val="99000"/>
                    </a:schemeClr>
                  </a:solidFill>
                </a:rPr>
                <a:t>Windows Server Licensing</a:t>
              </a:r>
            </a:p>
          </p:txBody>
        </p:sp>
        <p:sp>
          <p:nvSpPr>
            <p:cNvPr id="20" name="TextBox 19"/>
            <p:cNvSpPr txBox="1"/>
            <p:nvPr/>
          </p:nvSpPr>
          <p:spPr>
            <a:xfrm>
              <a:off x="7961312" y="3047423"/>
              <a:ext cx="3276600" cy="2246769"/>
            </a:xfrm>
            <a:prstGeom prst="rect">
              <a:avLst/>
            </a:prstGeom>
            <a:noFill/>
          </p:spPr>
          <p:txBody>
            <a:bodyPr wrap="square" lIns="91440" tIns="91440" rIns="91440" bIns="91440" rtlCol="0">
              <a:spAutoFit/>
            </a:bodyPr>
            <a:lstStyle/>
            <a:p>
              <a:pPr marL="257198" indent="-257198">
                <a:lnSpc>
                  <a:spcPct val="90000"/>
                </a:lnSpc>
                <a:spcBef>
                  <a:spcPct val="20000"/>
                </a:spcBef>
                <a:buSzPct val="90000"/>
                <a:buFont typeface="Arial" pitchFamily="34" charset="0"/>
                <a:buChar char="•"/>
              </a:pPr>
              <a:r>
                <a:rPr lang="en-US" sz="1500" dirty="0">
                  <a:solidFill>
                    <a:schemeClr val="tx1">
                      <a:alpha val="99000"/>
                    </a:schemeClr>
                  </a:solidFill>
                </a:rPr>
                <a:t>Reassign, where applicable, existing VL onto Hyper-V Servers</a:t>
              </a:r>
            </a:p>
            <a:p>
              <a:pPr marL="257198" indent="-257198">
                <a:lnSpc>
                  <a:spcPct val="90000"/>
                </a:lnSpc>
                <a:spcBef>
                  <a:spcPct val="20000"/>
                </a:spcBef>
                <a:buSzPct val="90000"/>
                <a:buFont typeface="Arial" pitchFamily="34" charset="0"/>
                <a:buChar char="•"/>
              </a:pPr>
              <a:r>
                <a:rPr lang="en-US" sz="1500" dirty="0">
                  <a:solidFill>
                    <a:schemeClr val="tx1">
                      <a:alpha val="99000"/>
                    </a:schemeClr>
                  </a:solidFill>
                </a:rPr>
                <a:t>However, you would lose benefits of other Windows Server 2012 capabilities</a:t>
              </a:r>
            </a:p>
          </p:txBody>
        </p:sp>
      </p:grpSp>
      <p:sp>
        <p:nvSpPr>
          <p:cNvPr id="22"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3"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5"/>
              </a:rPr>
              <a:t>www.rapidbbs.cn</a:t>
            </a:r>
            <a:endParaRPr lang="zh-CN" altLang="en-US" sz="1200" b="0">
              <a:latin typeface="Arial" charset="0"/>
              <a:ea typeface="ＭＳ Ｐゴシック" pitchFamily="34" charset="-128"/>
            </a:endParaRPr>
          </a:p>
        </p:txBody>
      </p:sp>
      <p:pic>
        <p:nvPicPr>
          <p:cNvPr id="24" name="Picture 2">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16676803"/>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anim calcmode="lin" valueType="num">
                                      <p:cBhvr>
                                        <p:cTn id="8" dur="1000" fill="hold"/>
                                        <p:tgtEl>
                                          <p:spTgt spid="17"/>
                                        </p:tgtEl>
                                        <p:attrNameLst>
                                          <p:attrName>ppt_x</p:attrName>
                                        </p:attrNameLst>
                                      </p:cBhvr>
                                      <p:tavLst>
                                        <p:tav tm="0">
                                          <p:val>
                                            <p:strVal val="#ppt_x"/>
                                          </p:val>
                                        </p:tav>
                                        <p:tav tm="100000">
                                          <p:val>
                                            <p:strVal val="#ppt_x"/>
                                          </p:val>
                                        </p:tav>
                                      </p:tavLst>
                                    </p:anim>
                                    <p:anim calcmode="lin" valueType="num">
                                      <p:cBhvr>
                                        <p:cTn id="9"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fade">
                                      <p:cBhvr>
                                        <p:cTn id="14" dur="1000"/>
                                        <p:tgtEl>
                                          <p:spTgt spid="19"/>
                                        </p:tgtEl>
                                      </p:cBhvr>
                                    </p:animEffect>
                                    <p:anim calcmode="lin" valueType="num">
                                      <p:cBhvr>
                                        <p:cTn id="15" dur="1000" fill="hold"/>
                                        <p:tgtEl>
                                          <p:spTgt spid="19"/>
                                        </p:tgtEl>
                                        <p:attrNameLst>
                                          <p:attrName>ppt_x</p:attrName>
                                        </p:attrNameLst>
                                      </p:cBhvr>
                                      <p:tavLst>
                                        <p:tav tm="0">
                                          <p:val>
                                            <p:strVal val="#ppt_x"/>
                                          </p:val>
                                        </p:tav>
                                        <p:tav tm="100000">
                                          <p:val>
                                            <p:strVal val="#ppt_x"/>
                                          </p:val>
                                        </p:tav>
                                      </p:tavLst>
                                    </p:anim>
                                    <p:anim calcmode="lin" valueType="num">
                                      <p:cBhvr>
                                        <p:cTn id="16"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1"/>
                                        </p:tgtEl>
                                        <p:attrNameLst>
                                          <p:attrName>style.visibility</p:attrName>
                                        </p:attrNameLst>
                                      </p:cBhvr>
                                      <p:to>
                                        <p:strVal val="visible"/>
                                      </p:to>
                                    </p:set>
                                    <p:animEffect transition="in" filter="fade">
                                      <p:cBhvr>
                                        <p:cTn id="21" dur="1000"/>
                                        <p:tgtEl>
                                          <p:spTgt spid="21"/>
                                        </p:tgtEl>
                                      </p:cBhvr>
                                    </p:animEffect>
                                    <p:anim calcmode="lin" valueType="num">
                                      <p:cBhvr>
                                        <p:cTn id="22" dur="1000" fill="hold"/>
                                        <p:tgtEl>
                                          <p:spTgt spid="21"/>
                                        </p:tgtEl>
                                        <p:attrNameLst>
                                          <p:attrName>ppt_x</p:attrName>
                                        </p:attrNameLst>
                                      </p:cBhvr>
                                      <p:tavLst>
                                        <p:tav tm="0">
                                          <p:val>
                                            <p:strVal val="#ppt_x"/>
                                          </p:val>
                                        </p:tav>
                                        <p:tav tm="100000">
                                          <p:val>
                                            <p:strVal val="#ppt_x"/>
                                          </p:val>
                                        </p:tav>
                                      </p:tavLst>
                                    </p:anim>
                                    <p:anim calcmode="lin" valueType="num">
                                      <p:cBhvr>
                                        <p:cTn id="23" dur="1000" fill="hold"/>
                                        <p:tgtEl>
                                          <p:spTgt spid="2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arison | 4 Key Areas</a:t>
            </a:r>
            <a:endParaRPr lang="en-US" dirty="0"/>
          </a:p>
        </p:txBody>
      </p:sp>
      <p:grpSp>
        <p:nvGrpSpPr>
          <p:cNvPr id="4" name="Group 5"/>
          <p:cNvGrpSpPr>
            <a:grpSpLocks/>
          </p:cNvGrpSpPr>
          <p:nvPr/>
        </p:nvGrpSpPr>
        <p:grpSpPr bwMode="auto">
          <a:xfrm>
            <a:off x="970613" y="1256705"/>
            <a:ext cx="1772111" cy="2571750"/>
            <a:chOff x="528" y="2159"/>
            <a:chExt cx="1488" cy="2160"/>
          </a:xfrm>
        </p:grpSpPr>
        <p:sp>
          <p:nvSpPr>
            <p:cNvPr id="5" name="Rectangle 20"/>
            <p:cNvSpPr>
              <a:spLocks noChangeArrowheads="1"/>
            </p:cNvSpPr>
            <p:nvPr/>
          </p:nvSpPr>
          <p:spPr bwMode="auto">
            <a:xfrm rot="10800000">
              <a:off x="528" y="2159"/>
              <a:ext cx="1488" cy="2112"/>
            </a:xfrm>
            <a:prstGeom prst="rect">
              <a:avLst/>
            </a:prstGeom>
            <a:solidFill>
              <a:schemeClr val="tx2">
                <a:alpha val="80000"/>
              </a:schemeClr>
            </a:solidFill>
            <a:ln w="9525">
              <a:noFill/>
              <a:miter lim="800000"/>
              <a:headEnd/>
              <a:tailEnd/>
            </a:ln>
          </p:spPr>
          <p:txBody>
            <a:bodyPr rot="10800000" wrap="none" anchor="ctr"/>
            <a:lstStyle/>
            <a:p>
              <a:endParaRPr lang="en-US" dirty="0"/>
            </a:p>
          </p:txBody>
        </p:sp>
        <p:sp>
          <p:nvSpPr>
            <p:cNvPr id="6" name="Text Box 10"/>
            <p:cNvSpPr txBox="1">
              <a:spLocks noChangeArrowheads="1"/>
            </p:cNvSpPr>
            <p:nvPr/>
          </p:nvSpPr>
          <p:spPr bwMode="auto">
            <a:xfrm>
              <a:off x="647" y="2308"/>
              <a:ext cx="1242" cy="776"/>
            </a:xfrm>
            <a:prstGeom prst="rect">
              <a:avLst/>
            </a:prstGeom>
            <a:noFill/>
            <a:ln w="9525">
              <a:noFill/>
              <a:miter lim="800000"/>
              <a:headEnd/>
              <a:tailEnd/>
            </a:ln>
          </p:spPr>
          <p:txBody>
            <a:bodyPr>
              <a:spAutoFit/>
            </a:bodyPr>
            <a:lstStyle/>
            <a:p>
              <a:pPr defTabSz="979974"/>
              <a:r>
                <a:rPr lang="en-US" sz="1800" dirty="0"/>
                <a:t>Scalability, Performance &amp; Density</a:t>
              </a:r>
            </a:p>
          </p:txBody>
        </p:sp>
        <p:grpSp>
          <p:nvGrpSpPr>
            <p:cNvPr id="7" name="Group 28"/>
            <p:cNvGrpSpPr>
              <a:grpSpLocks/>
            </p:cNvGrpSpPr>
            <p:nvPr/>
          </p:nvGrpSpPr>
          <p:grpSpPr bwMode="auto">
            <a:xfrm>
              <a:off x="1248" y="3647"/>
              <a:ext cx="672" cy="672"/>
              <a:chOff x="959" y="3264"/>
              <a:chExt cx="934" cy="934"/>
            </a:xfrm>
          </p:grpSpPr>
          <p:sp>
            <p:nvSpPr>
              <p:cNvPr id="8" name="Oval 399"/>
              <p:cNvSpPr>
                <a:spLocks noChangeArrowheads="1"/>
              </p:cNvSpPr>
              <p:nvPr/>
            </p:nvSpPr>
            <p:spPr bwMode="auto">
              <a:xfrm>
                <a:off x="1152" y="3456"/>
                <a:ext cx="548" cy="548"/>
              </a:xfrm>
              <a:prstGeom prst="ellipse">
                <a:avLst/>
              </a:prstGeom>
              <a:noFill/>
              <a:ln w="28575">
                <a:solidFill>
                  <a:srgbClr val="FFFFFF"/>
                </a:solidFill>
                <a:round/>
                <a:headEnd/>
                <a:tailEnd/>
              </a:ln>
            </p:spPr>
            <p:txBody>
              <a:bodyPr/>
              <a:lstStyle/>
              <a:p>
                <a:endParaRPr lang="en-US" dirty="0"/>
              </a:p>
            </p:txBody>
          </p:sp>
          <p:pic>
            <p:nvPicPr>
              <p:cNvPr id="9" name="Picture 27" descr="arrow"/>
              <p:cNvPicPr>
                <a:picLocks noChangeAspect="1" noChangeArrowheads="1"/>
              </p:cNvPicPr>
              <p:nvPr/>
            </p:nvPicPr>
            <p:blipFill>
              <a:blip r:embed="rId2" cstate="print"/>
              <a:srcRect/>
              <a:stretch>
                <a:fillRect/>
              </a:stretch>
            </p:blipFill>
            <p:spPr bwMode="auto">
              <a:xfrm>
                <a:off x="959" y="3264"/>
                <a:ext cx="934" cy="934"/>
              </a:xfrm>
              <a:prstGeom prst="rect">
                <a:avLst/>
              </a:prstGeom>
              <a:noFill/>
              <a:ln w="9525">
                <a:noFill/>
                <a:miter lim="800000"/>
                <a:headEnd/>
                <a:tailEnd/>
              </a:ln>
            </p:spPr>
          </p:pic>
        </p:grpSp>
      </p:grpSp>
      <p:grpSp>
        <p:nvGrpSpPr>
          <p:cNvPr id="10" name="Group 12"/>
          <p:cNvGrpSpPr>
            <a:grpSpLocks/>
          </p:cNvGrpSpPr>
          <p:nvPr/>
        </p:nvGrpSpPr>
        <p:grpSpPr bwMode="auto">
          <a:xfrm>
            <a:off x="2763539" y="1256110"/>
            <a:ext cx="1772111" cy="2572941"/>
            <a:chOff x="2208" y="2159"/>
            <a:chExt cx="1488" cy="2161"/>
          </a:xfrm>
        </p:grpSpPr>
        <p:sp>
          <p:nvSpPr>
            <p:cNvPr id="11" name="Rectangle 21"/>
            <p:cNvSpPr>
              <a:spLocks noChangeArrowheads="1"/>
            </p:cNvSpPr>
            <p:nvPr/>
          </p:nvSpPr>
          <p:spPr bwMode="auto">
            <a:xfrm rot="10800000">
              <a:off x="2208" y="2159"/>
              <a:ext cx="1488" cy="2112"/>
            </a:xfrm>
            <a:prstGeom prst="rect">
              <a:avLst/>
            </a:prstGeom>
            <a:solidFill>
              <a:schemeClr val="accent2">
                <a:alpha val="80000"/>
              </a:schemeClr>
            </a:solidFill>
            <a:ln w="9525">
              <a:noFill/>
              <a:miter lim="800000"/>
              <a:headEnd/>
              <a:tailEnd/>
            </a:ln>
          </p:spPr>
          <p:txBody>
            <a:bodyPr rot="10800000" wrap="none" anchor="ctr"/>
            <a:lstStyle/>
            <a:p>
              <a:endParaRPr lang="en-US" sz="1800" dirty="0"/>
            </a:p>
          </p:txBody>
        </p:sp>
        <p:sp>
          <p:nvSpPr>
            <p:cNvPr id="12" name="Text Box 11"/>
            <p:cNvSpPr txBox="1">
              <a:spLocks noChangeArrowheads="1"/>
            </p:cNvSpPr>
            <p:nvPr/>
          </p:nvSpPr>
          <p:spPr bwMode="auto">
            <a:xfrm>
              <a:off x="2280" y="2314"/>
              <a:ext cx="1344" cy="543"/>
            </a:xfrm>
            <a:prstGeom prst="rect">
              <a:avLst/>
            </a:prstGeom>
            <a:noFill/>
            <a:ln w="9525">
              <a:noFill/>
              <a:miter lim="800000"/>
              <a:headEnd/>
              <a:tailEnd/>
            </a:ln>
          </p:spPr>
          <p:txBody>
            <a:bodyPr>
              <a:spAutoFit/>
            </a:bodyPr>
            <a:lstStyle/>
            <a:p>
              <a:pPr defTabSz="979974"/>
              <a:r>
                <a:rPr lang="en-US" sz="1800" dirty="0"/>
                <a:t>Security &amp; Multitenancy</a:t>
              </a:r>
            </a:p>
          </p:txBody>
        </p:sp>
        <p:grpSp>
          <p:nvGrpSpPr>
            <p:cNvPr id="13" name="Group 29"/>
            <p:cNvGrpSpPr>
              <a:grpSpLocks/>
            </p:cNvGrpSpPr>
            <p:nvPr/>
          </p:nvGrpSpPr>
          <p:grpSpPr bwMode="auto">
            <a:xfrm>
              <a:off x="2928" y="3648"/>
              <a:ext cx="672" cy="672"/>
              <a:chOff x="959" y="3264"/>
              <a:chExt cx="934" cy="934"/>
            </a:xfrm>
          </p:grpSpPr>
          <p:sp>
            <p:nvSpPr>
              <p:cNvPr id="14" name="Oval 399"/>
              <p:cNvSpPr>
                <a:spLocks noChangeArrowheads="1"/>
              </p:cNvSpPr>
              <p:nvPr/>
            </p:nvSpPr>
            <p:spPr bwMode="auto">
              <a:xfrm>
                <a:off x="1152" y="3456"/>
                <a:ext cx="548" cy="548"/>
              </a:xfrm>
              <a:prstGeom prst="ellipse">
                <a:avLst/>
              </a:prstGeom>
              <a:noFill/>
              <a:ln w="28575">
                <a:solidFill>
                  <a:srgbClr val="FFFFFF"/>
                </a:solidFill>
                <a:round/>
                <a:headEnd/>
                <a:tailEnd/>
              </a:ln>
            </p:spPr>
            <p:txBody>
              <a:bodyPr/>
              <a:lstStyle/>
              <a:p>
                <a:endParaRPr lang="en-US" dirty="0"/>
              </a:p>
            </p:txBody>
          </p:sp>
          <p:pic>
            <p:nvPicPr>
              <p:cNvPr id="15" name="Picture 31" descr="arrow"/>
              <p:cNvPicPr>
                <a:picLocks noChangeAspect="1" noChangeArrowheads="1"/>
              </p:cNvPicPr>
              <p:nvPr/>
            </p:nvPicPr>
            <p:blipFill>
              <a:blip r:embed="rId2" cstate="print"/>
              <a:srcRect/>
              <a:stretch>
                <a:fillRect/>
              </a:stretch>
            </p:blipFill>
            <p:spPr bwMode="auto">
              <a:xfrm>
                <a:off x="959" y="3264"/>
                <a:ext cx="934" cy="934"/>
              </a:xfrm>
              <a:prstGeom prst="rect">
                <a:avLst/>
              </a:prstGeom>
              <a:noFill/>
              <a:ln w="9525">
                <a:noFill/>
                <a:miter lim="800000"/>
                <a:headEnd/>
                <a:tailEnd/>
              </a:ln>
            </p:spPr>
          </p:pic>
        </p:grpSp>
      </p:grpSp>
      <p:grpSp>
        <p:nvGrpSpPr>
          <p:cNvPr id="16" name="Group 19"/>
          <p:cNvGrpSpPr>
            <a:grpSpLocks/>
          </p:cNvGrpSpPr>
          <p:nvPr/>
        </p:nvGrpSpPr>
        <p:grpSpPr bwMode="auto">
          <a:xfrm>
            <a:off x="4556466" y="1256110"/>
            <a:ext cx="1772111" cy="2572940"/>
            <a:chOff x="3888" y="2159"/>
            <a:chExt cx="1488" cy="2161"/>
          </a:xfrm>
        </p:grpSpPr>
        <p:sp>
          <p:nvSpPr>
            <p:cNvPr id="17" name="Rectangle 22"/>
            <p:cNvSpPr>
              <a:spLocks noChangeArrowheads="1"/>
            </p:cNvSpPr>
            <p:nvPr/>
          </p:nvSpPr>
          <p:spPr bwMode="auto">
            <a:xfrm rot="10800000">
              <a:off x="3888" y="2159"/>
              <a:ext cx="1488" cy="2112"/>
            </a:xfrm>
            <a:prstGeom prst="rect">
              <a:avLst/>
            </a:prstGeom>
            <a:solidFill>
              <a:schemeClr val="accent3">
                <a:alpha val="80000"/>
              </a:schemeClr>
            </a:solidFill>
            <a:ln w="9525">
              <a:noFill/>
              <a:miter lim="800000"/>
              <a:headEnd/>
              <a:tailEnd/>
            </a:ln>
          </p:spPr>
          <p:txBody>
            <a:bodyPr rot="10800000" wrap="none" anchor="ctr"/>
            <a:lstStyle/>
            <a:p>
              <a:endParaRPr lang="en-US" dirty="0"/>
            </a:p>
          </p:txBody>
        </p:sp>
        <p:sp>
          <p:nvSpPr>
            <p:cNvPr id="18" name="Text Box 12"/>
            <p:cNvSpPr txBox="1">
              <a:spLocks noChangeArrowheads="1"/>
            </p:cNvSpPr>
            <p:nvPr/>
          </p:nvSpPr>
          <p:spPr bwMode="auto">
            <a:xfrm>
              <a:off x="3996" y="2312"/>
              <a:ext cx="1296" cy="543"/>
            </a:xfrm>
            <a:prstGeom prst="rect">
              <a:avLst/>
            </a:prstGeom>
            <a:noFill/>
            <a:ln w="9525">
              <a:noFill/>
              <a:miter lim="800000"/>
              <a:headEnd/>
              <a:tailEnd/>
            </a:ln>
          </p:spPr>
          <p:txBody>
            <a:bodyPr wrap="square">
              <a:spAutoFit/>
            </a:bodyPr>
            <a:lstStyle/>
            <a:p>
              <a:pPr defTabSz="979974"/>
              <a:r>
                <a:rPr lang="en-US" sz="1800" dirty="0"/>
                <a:t>Flexible Infrastructure</a:t>
              </a:r>
            </a:p>
          </p:txBody>
        </p:sp>
        <p:grpSp>
          <p:nvGrpSpPr>
            <p:cNvPr id="19" name="Group 32"/>
            <p:cNvGrpSpPr>
              <a:grpSpLocks/>
            </p:cNvGrpSpPr>
            <p:nvPr/>
          </p:nvGrpSpPr>
          <p:grpSpPr bwMode="auto">
            <a:xfrm>
              <a:off x="4608" y="3648"/>
              <a:ext cx="672" cy="672"/>
              <a:chOff x="959" y="3264"/>
              <a:chExt cx="934" cy="934"/>
            </a:xfrm>
          </p:grpSpPr>
          <p:sp>
            <p:nvSpPr>
              <p:cNvPr id="20" name="Oval 399"/>
              <p:cNvSpPr>
                <a:spLocks noChangeArrowheads="1"/>
              </p:cNvSpPr>
              <p:nvPr/>
            </p:nvSpPr>
            <p:spPr bwMode="auto">
              <a:xfrm>
                <a:off x="1152" y="3456"/>
                <a:ext cx="548" cy="548"/>
              </a:xfrm>
              <a:prstGeom prst="ellipse">
                <a:avLst/>
              </a:prstGeom>
              <a:noFill/>
              <a:ln w="28575">
                <a:solidFill>
                  <a:srgbClr val="FFFFFF"/>
                </a:solidFill>
                <a:round/>
                <a:headEnd/>
                <a:tailEnd/>
              </a:ln>
            </p:spPr>
            <p:txBody>
              <a:bodyPr/>
              <a:lstStyle/>
              <a:p>
                <a:endParaRPr lang="en-US" dirty="0"/>
              </a:p>
            </p:txBody>
          </p:sp>
          <p:pic>
            <p:nvPicPr>
              <p:cNvPr id="21" name="Picture 34" descr="arrow"/>
              <p:cNvPicPr>
                <a:picLocks noChangeAspect="1" noChangeArrowheads="1"/>
              </p:cNvPicPr>
              <p:nvPr/>
            </p:nvPicPr>
            <p:blipFill>
              <a:blip r:embed="rId2" cstate="print"/>
              <a:srcRect/>
              <a:stretch>
                <a:fillRect/>
              </a:stretch>
            </p:blipFill>
            <p:spPr bwMode="auto">
              <a:xfrm>
                <a:off x="959" y="3264"/>
                <a:ext cx="934" cy="934"/>
              </a:xfrm>
              <a:prstGeom prst="rect">
                <a:avLst/>
              </a:prstGeom>
              <a:noFill/>
              <a:ln w="9525">
                <a:noFill/>
                <a:miter lim="800000"/>
                <a:headEnd/>
                <a:tailEnd/>
              </a:ln>
            </p:spPr>
          </p:pic>
        </p:grpSp>
      </p:grpSp>
      <p:grpSp>
        <p:nvGrpSpPr>
          <p:cNvPr id="22" name="Group 26"/>
          <p:cNvGrpSpPr>
            <a:grpSpLocks/>
          </p:cNvGrpSpPr>
          <p:nvPr/>
        </p:nvGrpSpPr>
        <p:grpSpPr bwMode="auto">
          <a:xfrm>
            <a:off x="6349392" y="1256110"/>
            <a:ext cx="1772111" cy="2572940"/>
            <a:chOff x="5520" y="2159"/>
            <a:chExt cx="1488" cy="2161"/>
          </a:xfrm>
        </p:grpSpPr>
        <p:sp>
          <p:nvSpPr>
            <p:cNvPr id="23" name="Rectangle 23"/>
            <p:cNvSpPr>
              <a:spLocks noChangeArrowheads="1"/>
            </p:cNvSpPr>
            <p:nvPr/>
          </p:nvSpPr>
          <p:spPr bwMode="auto">
            <a:xfrm rot="10800000">
              <a:off x="5520" y="2159"/>
              <a:ext cx="1488" cy="2112"/>
            </a:xfrm>
            <a:prstGeom prst="rect">
              <a:avLst/>
            </a:prstGeom>
            <a:solidFill>
              <a:schemeClr val="accent4">
                <a:alpha val="80000"/>
              </a:schemeClr>
            </a:solidFill>
            <a:ln w="9525">
              <a:noFill/>
              <a:miter lim="800000"/>
              <a:headEnd/>
              <a:tailEnd/>
            </a:ln>
          </p:spPr>
          <p:txBody>
            <a:bodyPr rot="10800000" wrap="none" anchor="ctr"/>
            <a:lstStyle/>
            <a:p>
              <a:endParaRPr lang="en-US" dirty="0"/>
            </a:p>
          </p:txBody>
        </p:sp>
        <p:sp>
          <p:nvSpPr>
            <p:cNvPr id="24" name="Text Box 13"/>
            <p:cNvSpPr txBox="1">
              <a:spLocks noChangeArrowheads="1"/>
            </p:cNvSpPr>
            <p:nvPr/>
          </p:nvSpPr>
          <p:spPr bwMode="auto">
            <a:xfrm>
              <a:off x="5664" y="2312"/>
              <a:ext cx="1152" cy="1008"/>
            </a:xfrm>
            <a:prstGeom prst="rect">
              <a:avLst/>
            </a:prstGeom>
            <a:noFill/>
            <a:ln w="9525">
              <a:noFill/>
              <a:miter lim="800000"/>
              <a:headEnd/>
              <a:tailEnd/>
            </a:ln>
          </p:spPr>
          <p:txBody>
            <a:bodyPr wrap="square">
              <a:spAutoFit/>
            </a:bodyPr>
            <a:lstStyle/>
            <a:p>
              <a:pPr defTabSz="979974"/>
              <a:r>
                <a:rPr lang="en-US" sz="1800" dirty="0"/>
                <a:t>High Availability &amp; Resiliency</a:t>
              </a:r>
            </a:p>
          </p:txBody>
        </p:sp>
        <p:grpSp>
          <p:nvGrpSpPr>
            <p:cNvPr id="25" name="Group 35"/>
            <p:cNvGrpSpPr>
              <a:grpSpLocks/>
            </p:cNvGrpSpPr>
            <p:nvPr/>
          </p:nvGrpSpPr>
          <p:grpSpPr bwMode="auto">
            <a:xfrm>
              <a:off x="6240" y="3648"/>
              <a:ext cx="672" cy="672"/>
              <a:chOff x="959" y="3264"/>
              <a:chExt cx="934" cy="934"/>
            </a:xfrm>
          </p:grpSpPr>
          <p:sp>
            <p:nvSpPr>
              <p:cNvPr id="26" name="Oval 399"/>
              <p:cNvSpPr>
                <a:spLocks noChangeArrowheads="1"/>
              </p:cNvSpPr>
              <p:nvPr/>
            </p:nvSpPr>
            <p:spPr bwMode="auto">
              <a:xfrm>
                <a:off x="1152" y="3456"/>
                <a:ext cx="548" cy="548"/>
              </a:xfrm>
              <a:prstGeom prst="ellipse">
                <a:avLst/>
              </a:prstGeom>
              <a:noFill/>
              <a:ln w="28575">
                <a:solidFill>
                  <a:srgbClr val="FFFFFF"/>
                </a:solidFill>
                <a:round/>
                <a:headEnd/>
                <a:tailEnd/>
              </a:ln>
            </p:spPr>
            <p:txBody>
              <a:bodyPr/>
              <a:lstStyle/>
              <a:p>
                <a:endParaRPr lang="en-US" dirty="0"/>
              </a:p>
            </p:txBody>
          </p:sp>
          <p:pic>
            <p:nvPicPr>
              <p:cNvPr id="27" name="Picture 37" descr="arrow"/>
              <p:cNvPicPr>
                <a:picLocks noChangeAspect="1" noChangeArrowheads="1"/>
              </p:cNvPicPr>
              <p:nvPr/>
            </p:nvPicPr>
            <p:blipFill>
              <a:blip r:embed="rId2" cstate="print"/>
              <a:srcRect/>
              <a:stretch>
                <a:fillRect/>
              </a:stretch>
            </p:blipFill>
            <p:spPr bwMode="auto">
              <a:xfrm>
                <a:off x="959" y="3264"/>
                <a:ext cx="934" cy="934"/>
              </a:xfrm>
              <a:prstGeom prst="rect">
                <a:avLst/>
              </a:prstGeom>
              <a:noFill/>
              <a:ln w="9525">
                <a:noFill/>
                <a:miter lim="800000"/>
                <a:headEnd/>
                <a:tailEnd/>
              </a:ln>
            </p:spPr>
          </p:pic>
        </p:grpSp>
      </p:grpSp>
      <p:sp>
        <p:nvSpPr>
          <p:cNvPr id="28"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9"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pic>
        <p:nvPicPr>
          <p:cNvPr id="30"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7113198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750"/>
                                        <p:tgtEl>
                                          <p:spTgt spid="4"/>
                                        </p:tgtEl>
                                      </p:cBhvr>
                                    </p:animEffect>
                                    <p:anim calcmode="lin" valueType="num">
                                      <p:cBhvr>
                                        <p:cTn id="8" dur="750" fill="hold"/>
                                        <p:tgtEl>
                                          <p:spTgt spid="4"/>
                                        </p:tgtEl>
                                        <p:attrNameLst>
                                          <p:attrName>ppt_x</p:attrName>
                                        </p:attrNameLst>
                                      </p:cBhvr>
                                      <p:tavLst>
                                        <p:tav tm="0">
                                          <p:val>
                                            <p:strVal val="#ppt_x"/>
                                          </p:val>
                                        </p:tav>
                                        <p:tav tm="100000">
                                          <p:val>
                                            <p:strVal val="#ppt_x"/>
                                          </p:val>
                                        </p:tav>
                                      </p:tavLst>
                                    </p:anim>
                                    <p:anim calcmode="lin" valueType="num">
                                      <p:cBhvr>
                                        <p:cTn id="9" dur="750" fill="hold"/>
                                        <p:tgtEl>
                                          <p:spTgt spid="4"/>
                                        </p:tgtEl>
                                        <p:attrNameLst>
                                          <p:attrName>ppt_y</p:attrName>
                                        </p:attrNameLst>
                                      </p:cBhvr>
                                      <p:tavLst>
                                        <p:tav tm="0">
                                          <p:val>
                                            <p:strVal val="#ppt_y+.1"/>
                                          </p:val>
                                        </p:tav>
                                        <p:tav tm="100000">
                                          <p:val>
                                            <p:strVal val="#ppt_y"/>
                                          </p:val>
                                        </p:tav>
                                      </p:tavLst>
                                    </p:anim>
                                  </p:childTnLst>
                                </p:cTn>
                              </p:par>
                            </p:childTnLst>
                          </p:cTn>
                        </p:par>
                        <p:par>
                          <p:cTn id="10" fill="hold">
                            <p:stCondLst>
                              <p:cond delay="750"/>
                            </p:stCondLst>
                            <p:childTnLst>
                              <p:par>
                                <p:cTn id="11" presetID="42" presetClass="entr" presetSubtype="0" fill="hold" nodeType="after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750"/>
                                        <p:tgtEl>
                                          <p:spTgt spid="10"/>
                                        </p:tgtEl>
                                      </p:cBhvr>
                                    </p:animEffect>
                                    <p:anim calcmode="lin" valueType="num">
                                      <p:cBhvr>
                                        <p:cTn id="14" dur="750" fill="hold"/>
                                        <p:tgtEl>
                                          <p:spTgt spid="10"/>
                                        </p:tgtEl>
                                        <p:attrNameLst>
                                          <p:attrName>ppt_x</p:attrName>
                                        </p:attrNameLst>
                                      </p:cBhvr>
                                      <p:tavLst>
                                        <p:tav tm="0">
                                          <p:val>
                                            <p:strVal val="#ppt_x"/>
                                          </p:val>
                                        </p:tav>
                                        <p:tav tm="100000">
                                          <p:val>
                                            <p:strVal val="#ppt_x"/>
                                          </p:val>
                                        </p:tav>
                                      </p:tavLst>
                                    </p:anim>
                                    <p:anim calcmode="lin" valueType="num">
                                      <p:cBhvr>
                                        <p:cTn id="15" dur="750" fill="hold"/>
                                        <p:tgtEl>
                                          <p:spTgt spid="10"/>
                                        </p:tgtEl>
                                        <p:attrNameLst>
                                          <p:attrName>ppt_y</p:attrName>
                                        </p:attrNameLst>
                                      </p:cBhvr>
                                      <p:tavLst>
                                        <p:tav tm="0">
                                          <p:val>
                                            <p:strVal val="#ppt_y+.1"/>
                                          </p:val>
                                        </p:tav>
                                        <p:tav tm="100000">
                                          <p:val>
                                            <p:strVal val="#ppt_y"/>
                                          </p:val>
                                        </p:tav>
                                      </p:tavLst>
                                    </p:anim>
                                  </p:childTnLst>
                                </p:cTn>
                              </p:par>
                            </p:childTnLst>
                          </p:cTn>
                        </p:par>
                        <p:par>
                          <p:cTn id="16" fill="hold">
                            <p:stCondLst>
                              <p:cond delay="1500"/>
                            </p:stCondLst>
                            <p:childTnLst>
                              <p:par>
                                <p:cTn id="17" presetID="42" presetClass="entr" presetSubtype="0"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750"/>
                                        <p:tgtEl>
                                          <p:spTgt spid="16"/>
                                        </p:tgtEl>
                                      </p:cBhvr>
                                    </p:animEffect>
                                    <p:anim calcmode="lin" valueType="num">
                                      <p:cBhvr>
                                        <p:cTn id="20" dur="750" fill="hold"/>
                                        <p:tgtEl>
                                          <p:spTgt spid="16"/>
                                        </p:tgtEl>
                                        <p:attrNameLst>
                                          <p:attrName>ppt_x</p:attrName>
                                        </p:attrNameLst>
                                      </p:cBhvr>
                                      <p:tavLst>
                                        <p:tav tm="0">
                                          <p:val>
                                            <p:strVal val="#ppt_x"/>
                                          </p:val>
                                        </p:tav>
                                        <p:tav tm="100000">
                                          <p:val>
                                            <p:strVal val="#ppt_x"/>
                                          </p:val>
                                        </p:tav>
                                      </p:tavLst>
                                    </p:anim>
                                    <p:anim calcmode="lin" valueType="num">
                                      <p:cBhvr>
                                        <p:cTn id="21" dur="750" fill="hold"/>
                                        <p:tgtEl>
                                          <p:spTgt spid="16"/>
                                        </p:tgtEl>
                                        <p:attrNameLst>
                                          <p:attrName>ppt_y</p:attrName>
                                        </p:attrNameLst>
                                      </p:cBhvr>
                                      <p:tavLst>
                                        <p:tav tm="0">
                                          <p:val>
                                            <p:strVal val="#ppt_y+.1"/>
                                          </p:val>
                                        </p:tav>
                                        <p:tav tm="100000">
                                          <p:val>
                                            <p:strVal val="#ppt_y"/>
                                          </p:val>
                                        </p:tav>
                                      </p:tavLst>
                                    </p:anim>
                                  </p:childTnLst>
                                </p:cTn>
                              </p:par>
                            </p:childTnLst>
                          </p:cTn>
                        </p:par>
                        <p:par>
                          <p:cTn id="22" fill="hold">
                            <p:stCondLst>
                              <p:cond delay="2250"/>
                            </p:stCondLst>
                            <p:childTnLst>
                              <p:par>
                                <p:cTn id="23" presetID="42" presetClass="entr" presetSubtype="0" fill="hold" nodeType="afterEffect">
                                  <p:stCondLst>
                                    <p:cond delay="0"/>
                                  </p:stCondLst>
                                  <p:childTnLst>
                                    <p:set>
                                      <p:cBhvr>
                                        <p:cTn id="24" dur="1" fill="hold">
                                          <p:stCondLst>
                                            <p:cond delay="0"/>
                                          </p:stCondLst>
                                        </p:cTn>
                                        <p:tgtEl>
                                          <p:spTgt spid="22"/>
                                        </p:tgtEl>
                                        <p:attrNameLst>
                                          <p:attrName>style.visibility</p:attrName>
                                        </p:attrNameLst>
                                      </p:cBhvr>
                                      <p:to>
                                        <p:strVal val="visible"/>
                                      </p:to>
                                    </p:set>
                                    <p:animEffect transition="in" filter="fade">
                                      <p:cBhvr>
                                        <p:cTn id="25" dur="750"/>
                                        <p:tgtEl>
                                          <p:spTgt spid="22"/>
                                        </p:tgtEl>
                                      </p:cBhvr>
                                    </p:animEffect>
                                    <p:anim calcmode="lin" valueType="num">
                                      <p:cBhvr>
                                        <p:cTn id="26" dur="750" fill="hold"/>
                                        <p:tgtEl>
                                          <p:spTgt spid="22"/>
                                        </p:tgtEl>
                                        <p:attrNameLst>
                                          <p:attrName>ppt_x</p:attrName>
                                        </p:attrNameLst>
                                      </p:cBhvr>
                                      <p:tavLst>
                                        <p:tav tm="0">
                                          <p:val>
                                            <p:strVal val="#ppt_x"/>
                                          </p:val>
                                        </p:tav>
                                        <p:tav tm="100000">
                                          <p:val>
                                            <p:strVal val="#ppt_x"/>
                                          </p:val>
                                        </p:tav>
                                      </p:tavLst>
                                    </p:anim>
                                    <p:anim calcmode="lin" valueType="num">
                                      <p:cBhvr>
                                        <p:cTn id="27" dur="750" fill="hold"/>
                                        <p:tgtEl>
                                          <p:spTgt spid="2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yper-V | Enhanced Storage Capabilities</a:t>
            </a:r>
            <a:endParaRPr lang="en-US" dirty="0"/>
          </a:p>
        </p:txBody>
      </p:sp>
      <p:sp>
        <p:nvSpPr>
          <p:cNvPr id="4" name="Rectangle 3"/>
          <p:cNvSpPr/>
          <p:nvPr/>
        </p:nvSpPr>
        <p:spPr bwMode="auto">
          <a:xfrm rot="16200000">
            <a:off x="-579056" y="2281671"/>
            <a:ext cx="3646716" cy="100469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5758" tIns="34294" rIns="34294" bIns="34294" numCol="1" spcCol="0" rtlCol="0" fromWordArt="0" anchor="ctr" anchorCtr="0" forceAA="0" compatLnSpc="1">
            <a:prstTxWarp prst="textNoShape">
              <a:avLst/>
            </a:prstTxWarp>
            <a:noAutofit/>
          </a:bodyPr>
          <a:lstStyle/>
          <a:p>
            <a:pPr defTabSz="685637" fontAlgn="base">
              <a:spcBef>
                <a:spcPct val="0"/>
              </a:spcBef>
              <a:spcAft>
                <a:spcPct val="0"/>
              </a:spcAft>
            </a:pPr>
            <a:r>
              <a:rPr lang="en-US" sz="3600" spc="-38" dirty="0">
                <a:gradFill>
                  <a:gsLst>
                    <a:gs pos="0">
                      <a:srgbClr val="FFFFFF"/>
                    </a:gs>
                    <a:gs pos="100000">
                      <a:srgbClr val="FFFFFF"/>
                    </a:gs>
                  </a:gsLst>
                  <a:lin ang="5400000" scaled="0"/>
                </a:gradFill>
                <a:latin typeface="Segoe UI Light" pitchFamily="34" charset="0"/>
                <a:ea typeface="Segoe UI" pitchFamily="34" charset="0"/>
                <a:cs typeface="Segoe UI Light" pitchFamily="34" charset="0"/>
              </a:rPr>
              <a:t>Storage</a:t>
            </a:r>
            <a:endParaRPr lang="en-US" sz="2000" spc="-38" dirty="0">
              <a:gradFill>
                <a:gsLst>
                  <a:gs pos="0">
                    <a:srgbClr val="FFFFFF"/>
                  </a:gs>
                  <a:gs pos="100000">
                    <a:srgbClr val="FFFFFF"/>
                  </a:gs>
                </a:gsLst>
                <a:lin ang="5400000" scaled="0"/>
              </a:gradFill>
              <a:latin typeface="Segoe UI Light" pitchFamily="34" charset="0"/>
              <a:ea typeface="Segoe UI" pitchFamily="34" charset="0"/>
              <a:cs typeface="Segoe UI Light" pitchFamily="34" charset="0"/>
            </a:endParaRPr>
          </a:p>
        </p:txBody>
      </p:sp>
      <p:grpSp>
        <p:nvGrpSpPr>
          <p:cNvPr id="28" name="Group 27"/>
          <p:cNvGrpSpPr/>
          <p:nvPr/>
        </p:nvGrpSpPr>
        <p:grpSpPr>
          <a:xfrm>
            <a:off x="1791073" y="1878329"/>
            <a:ext cx="6362157" cy="891540"/>
            <a:chOff x="2387474" y="2504439"/>
            <a:chExt cx="8480667" cy="1188720"/>
          </a:xfrm>
        </p:grpSpPr>
        <p:grpSp>
          <p:nvGrpSpPr>
            <p:cNvPr id="8" name="Group 7"/>
            <p:cNvGrpSpPr/>
            <p:nvPr/>
          </p:nvGrpSpPr>
          <p:grpSpPr>
            <a:xfrm>
              <a:off x="2387474" y="2504439"/>
              <a:ext cx="8480667" cy="1188720"/>
              <a:chOff x="2477618" y="4361546"/>
              <a:chExt cx="8480667" cy="1188720"/>
            </a:xfrm>
          </p:grpSpPr>
          <p:sp>
            <p:nvSpPr>
              <p:cNvPr id="9" name="Rectangle 8"/>
              <p:cNvSpPr/>
              <p:nvPr/>
            </p:nvSpPr>
            <p:spPr bwMode="auto">
              <a:xfrm>
                <a:off x="2477618" y="4361546"/>
                <a:ext cx="8480667" cy="11887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45720" bIns="45720" numCol="1" spcCol="0" rtlCol="0" fromWordArt="0" anchor="ctr" anchorCtr="0" forceAA="0" compatLnSpc="1">
                <a:prstTxWarp prst="textNoShape">
                  <a:avLst/>
                </a:prstTxWarp>
                <a:noAutofit/>
              </a:bodyPr>
              <a:lstStyle/>
              <a:p>
                <a:pPr defTabSz="685637" fontAlgn="base">
                  <a:spcBef>
                    <a:spcPct val="0"/>
                  </a:spcBef>
                  <a:spcAft>
                    <a:spcPct val="0"/>
                  </a:spcAft>
                </a:pPr>
                <a:r>
                  <a:rPr lang="en-US" sz="2700" spc="-38" dirty="0">
                    <a:gradFill>
                      <a:gsLst>
                        <a:gs pos="0">
                          <a:srgbClr val="FFFFFF"/>
                        </a:gs>
                        <a:gs pos="100000">
                          <a:srgbClr val="FFFFFF"/>
                        </a:gs>
                      </a:gsLst>
                      <a:lin ang="5400000" scaled="0"/>
                    </a:gradFill>
                    <a:latin typeface="Segoe UI Light" pitchFamily="34" charset="0"/>
                    <a:ea typeface="Segoe UI" pitchFamily="34" charset="0"/>
                    <a:cs typeface="Segoe UI Light" pitchFamily="34" charset="0"/>
                  </a:rPr>
                  <a:t>Native 4K Disk Support</a:t>
                </a:r>
                <a:r>
                  <a:rPr lang="en-US" sz="3000" spc="-38" dirty="0">
                    <a:gradFill>
                      <a:gsLst>
                        <a:gs pos="0">
                          <a:srgbClr val="FFFFFF"/>
                        </a:gs>
                        <a:gs pos="100000">
                          <a:srgbClr val="FFFFFF"/>
                        </a:gs>
                      </a:gsLst>
                      <a:lin ang="5400000" scaled="0"/>
                    </a:gradFill>
                    <a:latin typeface="Segoe UI Light" pitchFamily="34" charset="0"/>
                    <a:ea typeface="Segoe UI" pitchFamily="34" charset="0"/>
                    <a:cs typeface="Segoe UI Light" pitchFamily="34" charset="0"/>
                  </a:rPr>
                  <a:t/>
                </a:r>
                <a:br>
                  <a:rPr lang="en-US" sz="3000" spc="-38" dirty="0">
                    <a:gradFill>
                      <a:gsLst>
                        <a:gs pos="0">
                          <a:srgbClr val="FFFFFF"/>
                        </a:gs>
                        <a:gs pos="100000">
                          <a:srgbClr val="FFFFFF"/>
                        </a:gs>
                      </a:gsLst>
                      <a:lin ang="5400000" scaled="0"/>
                    </a:gradFill>
                    <a:latin typeface="Segoe UI Light" pitchFamily="34" charset="0"/>
                    <a:ea typeface="Segoe UI" pitchFamily="34" charset="0"/>
                    <a:cs typeface="Segoe UI Light" pitchFamily="34" charset="0"/>
                  </a:rPr>
                </a:br>
                <a:r>
                  <a:rPr lang="en-US" sz="1500" spc="-38" dirty="0">
                    <a:gradFill>
                      <a:gsLst>
                        <a:gs pos="0">
                          <a:srgbClr val="FFFFFF"/>
                        </a:gs>
                        <a:gs pos="100000">
                          <a:srgbClr val="FFFFFF"/>
                        </a:gs>
                      </a:gsLst>
                      <a:lin ang="5400000" scaled="0"/>
                    </a:gradFill>
                    <a:latin typeface="Segoe UI Light" pitchFamily="34" charset="0"/>
                    <a:ea typeface="Segoe UI" pitchFamily="34" charset="0"/>
                    <a:cs typeface="Segoe UI Light" pitchFamily="34" charset="0"/>
                  </a:rPr>
                  <a:t>Take advantage of enhanced density and reliability</a:t>
                </a:r>
              </a:p>
              <a:p>
                <a:pPr defTabSz="685637" fontAlgn="base">
                  <a:spcBef>
                    <a:spcPct val="0"/>
                  </a:spcBef>
                  <a:spcAft>
                    <a:spcPct val="0"/>
                  </a:spcAft>
                </a:pPr>
                <a:endParaRPr lang="en-US" sz="500"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1" name="Freeform 511"/>
              <p:cNvSpPr>
                <a:spLocks/>
              </p:cNvSpPr>
              <p:nvPr/>
            </p:nvSpPr>
            <p:spPr bwMode="auto">
              <a:xfrm>
                <a:off x="10019794" y="5410770"/>
                <a:ext cx="1588" cy="1587"/>
              </a:xfrm>
              <a:custGeom>
                <a:avLst/>
                <a:gdLst>
                  <a:gd name="T0" fmla="*/ 1 w 2"/>
                  <a:gd name="T1" fmla="*/ 1 h 1"/>
                  <a:gd name="T2" fmla="*/ 2 w 2"/>
                  <a:gd name="T3" fmla="*/ 0 h 1"/>
                  <a:gd name="T4" fmla="*/ 0 w 2"/>
                  <a:gd name="T5" fmla="*/ 0 h 1"/>
                  <a:gd name="T6" fmla="*/ 1 w 2"/>
                  <a:gd name="T7" fmla="*/ 1 h 1"/>
                </a:gdLst>
                <a:ahLst/>
                <a:cxnLst>
                  <a:cxn ang="0">
                    <a:pos x="T0" y="T1"/>
                  </a:cxn>
                  <a:cxn ang="0">
                    <a:pos x="T2" y="T3"/>
                  </a:cxn>
                  <a:cxn ang="0">
                    <a:pos x="T4" y="T5"/>
                  </a:cxn>
                  <a:cxn ang="0">
                    <a:pos x="T6" y="T7"/>
                  </a:cxn>
                </a:cxnLst>
                <a:rect l="0" t="0" r="r" b="b"/>
                <a:pathLst>
                  <a:path w="2" h="1">
                    <a:moveTo>
                      <a:pt x="1" y="1"/>
                    </a:moveTo>
                    <a:cubicBezTo>
                      <a:pt x="1" y="1"/>
                      <a:pt x="1" y="1"/>
                      <a:pt x="2" y="0"/>
                    </a:cubicBezTo>
                    <a:cubicBezTo>
                      <a:pt x="1" y="0"/>
                      <a:pt x="0" y="0"/>
                      <a:pt x="0" y="0"/>
                    </a:cubicBezTo>
                    <a:lnTo>
                      <a:pt x="1" y="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 name="Group 19"/>
            <p:cNvGrpSpPr/>
            <p:nvPr/>
          </p:nvGrpSpPr>
          <p:grpSpPr>
            <a:xfrm>
              <a:off x="9371012" y="2850830"/>
              <a:ext cx="1218568" cy="547472"/>
              <a:chOff x="4429125" y="2127251"/>
              <a:chExt cx="1423988" cy="639762"/>
            </a:xfrm>
            <a:solidFill>
              <a:schemeClr val="tx1"/>
            </a:solidFill>
          </p:grpSpPr>
          <p:sp>
            <p:nvSpPr>
              <p:cNvPr id="21" name="Freeform 511"/>
              <p:cNvSpPr>
                <a:spLocks/>
              </p:cNvSpPr>
              <p:nvPr/>
            </p:nvSpPr>
            <p:spPr bwMode="auto">
              <a:xfrm>
                <a:off x="5238750" y="2741613"/>
                <a:ext cx="1588" cy="1587"/>
              </a:xfrm>
              <a:custGeom>
                <a:avLst/>
                <a:gdLst>
                  <a:gd name="T0" fmla="*/ 1 w 2"/>
                  <a:gd name="T1" fmla="*/ 1 h 1"/>
                  <a:gd name="T2" fmla="*/ 2 w 2"/>
                  <a:gd name="T3" fmla="*/ 0 h 1"/>
                  <a:gd name="T4" fmla="*/ 0 w 2"/>
                  <a:gd name="T5" fmla="*/ 0 h 1"/>
                  <a:gd name="T6" fmla="*/ 1 w 2"/>
                  <a:gd name="T7" fmla="*/ 1 h 1"/>
                </a:gdLst>
                <a:ahLst/>
                <a:cxnLst>
                  <a:cxn ang="0">
                    <a:pos x="T0" y="T1"/>
                  </a:cxn>
                  <a:cxn ang="0">
                    <a:pos x="T2" y="T3"/>
                  </a:cxn>
                  <a:cxn ang="0">
                    <a:pos x="T4" y="T5"/>
                  </a:cxn>
                  <a:cxn ang="0">
                    <a:pos x="T6" y="T7"/>
                  </a:cxn>
                </a:cxnLst>
                <a:rect l="0" t="0" r="r" b="b"/>
                <a:pathLst>
                  <a:path w="2" h="1">
                    <a:moveTo>
                      <a:pt x="1" y="1"/>
                    </a:moveTo>
                    <a:cubicBezTo>
                      <a:pt x="1" y="1"/>
                      <a:pt x="1" y="1"/>
                      <a:pt x="2" y="0"/>
                    </a:cubicBezTo>
                    <a:cubicBezTo>
                      <a:pt x="1" y="0"/>
                      <a:pt x="0" y="0"/>
                      <a:pt x="0" y="0"/>
                    </a:cubicBezTo>
                    <a:lnTo>
                      <a:pt x="1"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512"/>
              <p:cNvSpPr>
                <a:spLocks noEditPoints="1"/>
              </p:cNvSpPr>
              <p:nvPr/>
            </p:nvSpPr>
            <p:spPr bwMode="auto">
              <a:xfrm>
                <a:off x="4429125" y="2127251"/>
                <a:ext cx="1423988" cy="639762"/>
              </a:xfrm>
              <a:custGeom>
                <a:avLst/>
                <a:gdLst>
                  <a:gd name="T0" fmla="*/ 1155 w 1179"/>
                  <a:gd name="T1" fmla="*/ 87 h 530"/>
                  <a:gd name="T2" fmla="*/ 578 w 1179"/>
                  <a:gd name="T3" fmla="*/ 0 h 530"/>
                  <a:gd name="T4" fmla="*/ 44 w 1179"/>
                  <a:gd name="T5" fmla="*/ 178 h 530"/>
                  <a:gd name="T6" fmla="*/ 53 w 1179"/>
                  <a:gd name="T7" fmla="*/ 378 h 530"/>
                  <a:gd name="T8" fmla="*/ 337 w 1179"/>
                  <a:gd name="T9" fmla="*/ 462 h 530"/>
                  <a:gd name="T10" fmla="*/ 683 w 1179"/>
                  <a:gd name="T11" fmla="*/ 530 h 530"/>
                  <a:gd name="T12" fmla="*/ 1155 w 1179"/>
                  <a:gd name="T13" fmla="*/ 224 h 530"/>
                  <a:gd name="T14" fmla="*/ 1155 w 1179"/>
                  <a:gd name="T15" fmla="*/ 87 h 530"/>
                  <a:gd name="T16" fmla="*/ 672 w 1179"/>
                  <a:gd name="T17" fmla="*/ 509 h 530"/>
                  <a:gd name="T18" fmla="*/ 670 w 1179"/>
                  <a:gd name="T19" fmla="*/ 509 h 530"/>
                  <a:gd name="T20" fmla="*/ 342 w 1179"/>
                  <a:gd name="T21" fmla="*/ 444 h 530"/>
                  <a:gd name="T22" fmla="*/ 66 w 1179"/>
                  <a:gd name="T23" fmla="*/ 362 h 530"/>
                  <a:gd name="T24" fmla="*/ 59 w 1179"/>
                  <a:gd name="T25" fmla="*/ 194 h 530"/>
                  <a:gd name="T26" fmla="*/ 671 w 1179"/>
                  <a:gd name="T27" fmla="*/ 291 h 530"/>
                  <a:gd name="T28" fmla="*/ 672 w 1179"/>
                  <a:gd name="T29" fmla="*/ 509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79" h="530">
                    <a:moveTo>
                      <a:pt x="1155" y="87"/>
                    </a:moveTo>
                    <a:cubicBezTo>
                      <a:pt x="890" y="5"/>
                      <a:pt x="578" y="0"/>
                      <a:pt x="578" y="0"/>
                    </a:cubicBezTo>
                    <a:cubicBezTo>
                      <a:pt x="44" y="178"/>
                      <a:pt x="44" y="178"/>
                      <a:pt x="44" y="178"/>
                    </a:cubicBezTo>
                    <a:cubicBezTo>
                      <a:pt x="0" y="301"/>
                      <a:pt x="53" y="378"/>
                      <a:pt x="53" y="378"/>
                    </a:cubicBezTo>
                    <a:cubicBezTo>
                      <a:pt x="53" y="378"/>
                      <a:pt x="118" y="402"/>
                      <a:pt x="337" y="462"/>
                    </a:cubicBezTo>
                    <a:cubicBezTo>
                      <a:pt x="556" y="522"/>
                      <a:pt x="683" y="530"/>
                      <a:pt x="683" y="530"/>
                    </a:cubicBezTo>
                    <a:cubicBezTo>
                      <a:pt x="1155" y="224"/>
                      <a:pt x="1155" y="224"/>
                      <a:pt x="1155" y="224"/>
                    </a:cubicBezTo>
                    <a:cubicBezTo>
                      <a:pt x="1179" y="159"/>
                      <a:pt x="1155" y="87"/>
                      <a:pt x="1155" y="87"/>
                    </a:cubicBezTo>
                    <a:close/>
                    <a:moveTo>
                      <a:pt x="672" y="509"/>
                    </a:moveTo>
                    <a:cubicBezTo>
                      <a:pt x="671" y="509"/>
                      <a:pt x="670" y="509"/>
                      <a:pt x="670" y="509"/>
                    </a:cubicBezTo>
                    <a:cubicBezTo>
                      <a:pt x="631" y="505"/>
                      <a:pt x="515" y="491"/>
                      <a:pt x="342" y="444"/>
                    </a:cubicBezTo>
                    <a:cubicBezTo>
                      <a:pt x="163" y="395"/>
                      <a:pt x="87" y="369"/>
                      <a:pt x="66" y="362"/>
                    </a:cubicBezTo>
                    <a:cubicBezTo>
                      <a:pt x="57" y="345"/>
                      <a:pt x="30" y="284"/>
                      <a:pt x="59" y="194"/>
                    </a:cubicBezTo>
                    <a:cubicBezTo>
                      <a:pt x="671" y="291"/>
                      <a:pt x="671" y="291"/>
                      <a:pt x="671" y="291"/>
                    </a:cubicBezTo>
                    <a:cubicBezTo>
                      <a:pt x="671" y="291"/>
                      <a:pt x="712" y="379"/>
                      <a:pt x="672" y="5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513"/>
              <p:cNvSpPr>
                <a:spLocks/>
              </p:cNvSpPr>
              <p:nvPr/>
            </p:nvSpPr>
            <p:spPr bwMode="auto">
              <a:xfrm>
                <a:off x="4530725" y="2452688"/>
                <a:ext cx="638175" cy="180975"/>
              </a:xfrm>
              <a:custGeom>
                <a:avLst/>
                <a:gdLst>
                  <a:gd name="T0" fmla="*/ 402 w 402"/>
                  <a:gd name="T1" fmla="*/ 114 h 114"/>
                  <a:gd name="T2" fmla="*/ 0 w 402"/>
                  <a:gd name="T3" fmla="*/ 31 h 114"/>
                  <a:gd name="T4" fmla="*/ 0 w 402"/>
                  <a:gd name="T5" fmla="*/ 0 h 114"/>
                  <a:gd name="T6" fmla="*/ 402 w 402"/>
                  <a:gd name="T7" fmla="*/ 75 h 114"/>
                  <a:gd name="T8" fmla="*/ 402 w 402"/>
                  <a:gd name="T9" fmla="*/ 114 h 114"/>
                </a:gdLst>
                <a:ahLst/>
                <a:cxnLst>
                  <a:cxn ang="0">
                    <a:pos x="T0" y="T1"/>
                  </a:cxn>
                  <a:cxn ang="0">
                    <a:pos x="T2" y="T3"/>
                  </a:cxn>
                  <a:cxn ang="0">
                    <a:pos x="T4" y="T5"/>
                  </a:cxn>
                  <a:cxn ang="0">
                    <a:pos x="T6" y="T7"/>
                  </a:cxn>
                  <a:cxn ang="0">
                    <a:pos x="T8" y="T9"/>
                  </a:cxn>
                </a:cxnLst>
                <a:rect l="0" t="0" r="r" b="b"/>
                <a:pathLst>
                  <a:path w="402" h="114">
                    <a:moveTo>
                      <a:pt x="402" y="114"/>
                    </a:moveTo>
                    <a:lnTo>
                      <a:pt x="0" y="31"/>
                    </a:lnTo>
                    <a:lnTo>
                      <a:pt x="0" y="0"/>
                    </a:lnTo>
                    <a:lnTo>
                      <a:pt x="402" y="75"/>
                    </a:lnTo>
                    <a:lnTo>
                      <a:pt x="402"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0" name="Group 29"/>
          <p:cNvGrpSpPr/>
          <p:nvPr/>
        </p:nvGrpSpPr>
        <p:grpSpPr>
          <a:xfrm>
            <a:off x="1791073" y="3714751"/>
            <a:ext cx="6362157" cy="892628"/>
            <a:chOff x="2387473" y="4953000"/>
            <a:chExt cx="8480667" cy="1190170"/>
          </a:xfrm>
        </p:grpSpPr>
        <p:sp>
          <p:nvSpPr>
            <p:cNvPr id="6" name="Rectangle 5"/>
            <p:cNvSpPr/>
            <p:nvPr/>
          </p:nvSpPr>
          <p:spPr bwMode="auto">
            <a:xfrm>
              <a:off x="2387473" y="4953000"/>
              <a:ext cx="8480667" cy="119017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45720" bIns="45720" numCol="1" spcCol="0" rtlCol="0" fromWordArt="0" anchor="ctr" anchorCtr="0" forceAA="0" compatLnSpc="1">
              <a:prstTxWarp prst="textNoShape">
                <a:avLst/>
              </a:prstTxWarp>
              <a:noAutofit/>
            </a:bodyPr>
            <a:lstStyle/>
            <a:p>
              <a:pPr defTabSz="685637" fontAlgn="base">
                <a:spcBef>
                  <a:spcPct val="0"/>
                </a:spcBef>
                <a:spcAft>
                  <a:spcPct val="0"/>
                </a:spcAft>
              </a:pPr>
              <a:r>
                <a:rPr lang="en-US" sz="27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Offloaded Data Transfer</a:t>
              </a:r>
              <a:r>
                <a:rPr lang="en-US" sz="30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
              </a:r>
              <a:br>
                <a:rPr lang="en-US" sz="30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br>
              <a:r>
                <a:rPr lang="en-US" sz="15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Offloads storage-intensive tasks to the SAN</a:t>
              </a:r>
              <a:endParaRPr lang="en-US" sz="500"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pic>
          <p:nvPicPr>
            <p:cNvPr id="24" name="Picture 18"/>
            <p:cNvPicPr>
              <a:picLocks noChangeAspect="1" noChangeArrowheads="1"/>
            </p:cNvPicPr>
            <p:nvPr/>
          </p:nvPicPr>
          <p:blipFill>
            <a:blip r:embed="rId2" cstate="email">
              <a:biLevel thresh="25000"/>
              <a:extLst>
                <a:ext uri="{28A0092B-C50C-407E-A947-70E740481C1C}">
                  <a14:useLocalDpi xmlns:a14="http://schemas.microsoft.com/office/drawing/2010/main"/>
                </a:ext>
              </a:extLst>
            </a:blip>
            <a:srcRect/>
            <a:stretch>
              <a:fillRect/>
            </a:stretch>
          </p:blipFill>
          <p:spPr bwMode="auto">
            <a:xfrm>
              <a:off x="9647607" y="5077879"/>
              <a:ext cx="637805" cy="940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7" name="Group 26"/>
          <p:cNvGrpSpPr/>
          <p:nvPr/>
        </p:nvGrpSpPr>
        <p:grpSpPr>
          <a:xfrm>
            <a:off x="1791073" y="960662"/>
            <a:ext cx="6362157" cy="891540"/>
            <a:chOff x="2387474" y="1280883"/>
            <a:chExt cx="8480667" cy="1188720"/>
          </a:xfrm>
        </p:grpSpPr>
        <p:sp>
          <p:nvSpPr>
            <p:cNvPr id="15" name="Rectangle 14"/>
            <p:cNvSpPr/>
            <p:nvPr/>
          </p:nvSpPr>
          <p:spPr bwMode="auto">
            <a:xfrm>
              <a:off x="2387474" y="1280883"/>
              <a:ext cx="8480667" cy="11887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45720" rIns="45720" bIns="45720" numCol="1" spcCol="0" rtlCol="0" fromWordArt="0" anchor="ctr" anchorCtr="0" forceAA="0" compatLnSpc="1">
              <a:prstTxWarp prst="textNoShape">
                <a:avLst/>
              </a:prstTxWarp>
              <a:noAutofit/>
            </a:bodyPr>
            <a:lstStyle/>
            <a:p>
              <a:pPr defTabSz="685637" fontAlgn="base">
                <a:spcBef>
                  <a:spcPct val="0"/>
                </a:spcBef>
                <a:spcAft>
                  <a:spcPct val="0"/>
                </a:spcAft>
              </a:pPr>
              <a:r>
                <a:rPr lang="en-US" sz="27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Virtual Fiber Channel</a:t>
              </a:r>
              <a:r>
                <a:rPr lang="en-US" sz="30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
              </a:r>
              <a:br>
                <a:rPr lang="en-US" sz="30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br>
              <a:r>
                <a:rPr lang="en-US" sz="15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Connect a VM directly to FC SAN without sacrificing features</a:t>
              </a:r>
            </a:p>
          </p:txBody>
        </p:sp>
        <p:pic>
          <p:nvPicPr>
            <p:cNvPr id="25" name="Picture 7"/>
            <p:cNvPicPr>
              <a:picLocks noChangeAspect="1" noChangeArrowheads="1"/>
            </p:cNvPicPr>
            <p:nvPr/>
          </p:nvPicPr>
          <p:blipFill>
            <a:blip r:embed="rId3" cstate="email">
              <a:biLevel thresh="50000"/>
              <a:extLst>
                <a:ext uri="{28A0092B-C50C-407E-A947-70E740481C1C}">
                  <a14:useLocalDpi xmlns:a14="http://schemas.microsoft.com/office/drawing/2010/main"/>
                </a:ext>
              </a:extLst>
            </a:blip>
            <a:srcRect/>
            <a:stretch>
              <a:fillRect/>
            </a:stretch>
          </p:blipFill>
          <p:spPr bwMode="auto">
            <a:xfrm>
              <a:off x="9593492" y="1447800"/>
              <a:ext cx="844320" cy="844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9" name="Group 28"/>
          <p:cNvGrpSpPr/>
          <p:nvPr/>
        </p:nvGrpSpPr>
        <p:grpSpPr>
          <a:xfrm>
            <a:off x="1791073" y="2795997"/>
            <a:ext cx="6362157" cy="892628"/>
            <a:chOff x="2387474" y="3727995"/>
            <a:chExt cx="8480667" cy="1190170"/>
          </a:xfrm>
        </p:grpSpPr>
        <p:sp>
          <p:nvSpPr>
            <p:cNvPr id="18" name="Rectangle 17"/>
            <p:cNvSpPr/>
            <p:nvPr/>
          </p:nvSpPr>
          <p:spPr bwMode="auto">
            <a:xfrm>
              <a:off x="2387474" y="3727995"/>
              <a:ext cx="8480667" cy="119017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45720" bIns="45720" numCol="1" spcCol="0" rtlCol="0" fromWordArt="0" anchor="ctr" anchorCtr="0" forceAA="0" compatLnSpc="1">
              <a:prstTxWarp prst="textNoShape">
                <a:avLst/>
              </a:prstTxWarp>
              <a:noAutofit/>
            </a:bodyPr>
            <a:lstStyle/>
            <a:p>
              <a:pPr defTabSz="685637" fontAlgn="base">
                <a:spcBef>
                  <a:spcPct val="0"/>
                </a:spcBef>
                <a:spcAft>
                  <a:spcPct val="0"/>
                </a:spcAft>
              </a:pPr>
              <a:r>
                <a:rPr lang="en-US" sz="27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64TB Virtual Hard Disks (VHDX)</a:t>
              </a:r>
              <a:r>
                <a:rPr lang="en-US" sz="30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
              </a:r>
              <a:br>
                <a:rPr lang="en-US" sz="30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br>
              <a:r>
                <a:rPr lang="en-US" sz="15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Increased capacity, protection &amp; alignment optimization</a:t>
              </a:r>
            </a:p>
          </p:txBody>
        </p:sp>
        <p:sp>
          <p:nvSpPr>
            <p:cNvPr id="26" name="Freeform 507"/>
            <p:cNvSpPr>
              <a:spLocks noEditPoints="1"/>
            </p:cNvSpPr>
            <p:nvPr/>
          </p:nvSpPr>
          <p:spPr bwMode="auto">
            <a:xfrm>
              <a:off x="9531264" y="3962400"/>
              <a:ext cx="982748" cy="726320"/>
            </a:xfrm>
            <a:custGeom>
              <a:avLst/>
              <a:gdLst>
                <a:gd name="T0" fmla="*/ 0 w 732"/>
                <a:gd name="T1" fmla="*/ 541 h 541"/>
                <a:gd name="T2" fmla="*/ 732 w 732"/>
                <a:gd name="T3" fmla="*/ 541 h 541"/>
                <a:gd name="T4" fmla="*/ 732 w 732"/>
                <a:gd name="T5" fmla="*/ 376 h 541"/>
                <a:gd name="T6" fmla="*/ 0 w 732"/>
                <a:gd name="T7" fmla="*/ 376 h 541"/>
                <a:gd name="T8" fmla="*/ 0 w 732"/>
                <a:gd name="T9" fmla="*/ 541 h 541"/>
                <a:gd name="T10" fmla="*/ 449 w 732"/>
                <a:gd name="T11" fmla="*/ 398 h 541"/>
                <a:gd name="T12" fmla="*/ 568 w 732"/>
                <a:gd name="T13" fmla="*/ 398 h 541"/>
                <a:gd name="T14" fmla="*/ 568 w 732"/>
                <a:gd name="T15" fmla="*/ 518 h 541"/>
                <a:gd name="T16" fmla="*/ 449 w 732"/>
                <a:gd name="T17" fmla="*/ 518 h 541"/>
                <a:gd name="T18" fmla="*/ 449 w 732"/>
                <a:gd name="T19" fmla="*/ 398 h 541"/>
                <a:gd name="T20" fmla="*/ 306 w 732"/>
                <a:gd name="T21" fmla="*/ 398 h 541"/>
                <a:gd name="T22" fmla="*/ 426 w 732"/>
                <a:gd name="T23" fmla="*/ 398 h 541"/>
                <a:gd name="T24" fmla="*/ 426 w 732"/>
                <a:gd name="T25" fmla="*/ 518 h 541"/>
                <a:gd name="T26" fmla="*/ 306 w 732"/>
                <a:gd name="T27" fmla="*/ 518 h 541"/>
                <a:gd name="T28" fmla="*/ 306 w 732"/>
                <a:gd name="T29" fmla="*/ 398 h 541"/>
                <a:gd name="T30" fmla="*/ 0 w 732"/>
                <a:gd name="T31" fmla="*/ 353 h 541"/>
                <a:gd name="T32" fmla="*/ 732 w 732"/>
                <a:gd name="T33" fmla="*/ 353 h 541"/>
                <a:gd name="T34" fmla="*/ 732 w 732"/>
                <a:gd name="T35" fmla="*/ 188 h 541"/>
                <a:gd name="T36" fmla="*/ 0 w 732"/>
                <a:gd name="T37" fmla="*/ 188 h 541"/>
                <a:gd name="T38" fmla="*/ 0 w 732"/>
                <a:gd name="T39" fmla="*/ 353 h 541"/>
                <a:gd name="T40" fmla="*/ 591 w 732"/>
                <a:gd name="T41" fmla="*/ 211 h 541"/>
                <a:gd name="T42" fmla="*/ 710 w 732"/>
                <a:gd name="T43" fmla="*/ 211 h 541"/>
                <a:gd name="T44" fmla="*/ 710 w 732"/>
                <a:gd name="T45" fmla="*/ 330 h 541"/>
                <a:gd name="T46" fmla="*/ 591 w 732"/>
                <a:gd name="T47" fmla="*/ 330 h 541"/>
                <a:gd name="T48" fmla="*/ 591 w 732"/>
                <a:gd name="T49" fmla="*/ 211 h 541"/>
                <a:gd name="T50" fmla="*/ 449 w 732"/>
                <a:gd name="T51" fmla="*/ 211 h 541"/>
                <a:gd name="T52" fmla="*/ 568 w 732"/>
                <a:gd name="T53" fmla="*/ 211 h 541"/>
                <a:gd name="T54" fmla="*/ 568 w 732"/>
                <a:gd name="T55" fmla="*/ 330 h 541"/>
                <a:gd name="T56" fmla="*/ 449 w 732"/>
                <a:gd name="T57" fmla="*/ 330 h 541"/>
                <a:gd name="T58" fmla="*/ 449 w 732"/>
                <a:gd name="T59" fmla="*/ 211 h 541"/>
                <a:gd name="T60" fmla="*/ 0 w 732"/>
                <a:gd name="T61" fmla="*/ 0 h 541"/>
                <a:gd name="T62" fmla="*/ 0 w 732"/>
                <a:gd name="T63" fmla="*/ 165 h 541"/>
                <a:gd name="T64" fmla="*/ 732 w 732"/>
                <a:gd name="T65" fmla="*/ 165 h 541"/>
                <a:gd name="T66" fmla="*/ 732 w 732"/>
                <a:gd name="T67" fmla="*/ 0 h 541"/>
                <a:gd name="T68" fmla="*/ 0 w 732"/>
                <a:gd name="T69" fmla="*/ 0 h 541"/>
                <a:gd name="T70" fmla="*/ 141 w 732"/>
                <a:gd name="T71" fmla="*/ 143 h 541"/>
                <a:gd name="T72" fmla="*/ 22 w 732"/>
                <a:gd name="T73" fmla="*/ 143 h 541"/>
                <a:gd name="T74" fmla="*/ 22 w 732"/>
                <a:gd name="T75" fmla="*/ 23 h 541"/>
                <a:gd name="T76" fmla="*/ 141 w 732"/>
                <a:gd name="T77" fmla="*/ 23 h 541"/>
                <a:gd name="T78" fmla="*/ 141 w 732"/>
                <a:gd name="T79" fmla="*/ 143 h 541"/>
                <a:gd name="T80" fmla="*/ 284 w 732"/>
                <a:gd name="T81" fmla="*/ 143 h 541"/>
                <a:gd name="T82" fmla="*/ 164 w 732"/>
                <a:gd name="T83" fmla="*/ 143 h 541"/>
                <a:gd name="T84" fmla="*/ 164 w 732"/>
                <a:gd name="T85" fmla="*/ 23 h 541"/>
                <a:gd name="T86" fmla="*/ 284 w 732"/>
                <a:gd name="T87" fmla="*/ 23 h 541"/>
                <a:gd name="T88" fmla="*/ 284 w 732"/>
                <a:gd name="T89" fmla="*/ 143 h 541"/>
                <a:gd name="T90" fmla="*/ 426 w 732"/>
                <a:gd name="T91" fmla="*/ 143 h 541"/>
                <a:gd name="T92" fmla="*/ 306 w 732"/>
                <a:gd name="T93" fmla="*/ 143 h 541"/>
                <a:gd name="T94" fmla="*/ 306 w 732"/>
                <a:gd name="T95" fmla="*/ 23 h 541"/>
                <a:gd name="T96" fmla="*/ 426 w 732"/>
                <a:gd name="T97" fmla="*/ 23 h 541"/>
                <a:gd name="T98" fmla="*/ 426 w 732"/>
                <a:gd name="T99" fmla="*/ 143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32" h="541">
                  <a:moveTo>
                    <a:pt x="0" y="541"/>
                  </a:moveTo>
                  <a:lnTo>
                    <a:pt x="732" y="541"/>
                  </a:lnTo>
                  <a:lnTo>
                    <a:pt x="732" y="376"/>
                  </a:lnTo>
                  <a:lnTo>
                    <a:pt x="0" y="376"/>
                  </a:lnTo>
                  <a:lnTo>
                    <a:pt x="0" y="541"/>
                  </a:lnTo>
                  <a:close/>
                  <a:moveTo>
                    <a:pt x="449" y="398"/>
                  </a:moveTo>
                  <a:lnTo>
                    <a:pt x="568" y="398"/>
                  </a:lnTo>
                  <a:lnTo>
                    <a:pt x="568" y="518"/>
                  </a:lnTo>
                  <a:lnTo>
                    <a:pt x="449" y="518"/>
                  </a:lnTo>
                  <a:lnTo>
                    <a:pt x="449" y="398"/>
                  </a:lnTo>
                  <a:close/>
                  <a:moveTo>
                    <a:pt x="306" y="398"/>
                  </a:moveTo>
                  <a:lnTo>
                    <a:pt x="426" y="398"/>
                  </a:lnTo>
                  <a:lnTo>
                    <a:pt x="426" y="518"/>
                  </a:lnTo>
                  <a:lnTo>
                    <a:pt x="306" y="518"/>
                  </a:lnTo>
                  <a:lnTo>
                    <a:pt x="306" y="398"/>
                  </a:lnTo>
                  <a:close/>
                  <a:moveTo>
                    <a:pt x="0" y="353"/>
                  </a:moveTo>
                  <a:lnTo>
                    <a:pt x="732" y="353"/>
                  </a:lnTo>
                  <a:lnTo>
                    <a:pt x="732" y="188"/>
                  </a:lnTo>
                  <a:lnTo>
                    <a:pt x="0" y="188"/>
                  </a:lnTo>
                  <a:lnTo>
                    <a:pt x="0" y="353"/>
                  </a:lnTo>
                  <a:close/>
                  <a:moveTo>
                    <a:pt x="591" y="211"/>
                  </a:moveTo>
                  <a:lnTo>
                    <a:pt x="710" y="211"/>
                  </a:lnTo>
                  <a:lnTo>
                    <a:pt x="710" y="330"/>
                  </a:lnTo>
                  <a:lnTo>
                    <a:pt x="591" y="330"/>
                  </a:lnTo>
                  <a:lnTo>
                    <a:pt x="591" y="211"/>
                  </a:lnTo>
                  <a:close/>
                  <a:moveTo>
                    <a:pt x="449" y="211"/>
                  </a:moveTo>
                  <a:lnTo>
                    <a:pt x="568" y="211"/>
                  </a:lnTo>
                  <a:lnTo>
                    <a:pt x="568" y="330"/>
                  </a:lnTo>
                  <a:lnTo>
                    <a:pt x="449" y="330"/>
                  </a:lnTo>
                  <a:lnTo>
                    <a:pt x="449" y="211"/>
                  </a:lnTo>
                  <a:close/>
                  <a:moveTo>
                    <a:pt x="0" y="0"/>
                  </a:moveTo>
                  <a:lnTo>
                    <a:pt x="0" y="165"/>
                  </a:lnTo>
                  <a:lnTo>
                    <a:pt x="732" y="165"/>
                  </a:lnTo>
                  <a:lnTo>
                    <a:pt x="732" y="0"/>
                  </a:lnTo>
                  <a:lnTo>
                    <a:pt x="0" y="0"/>
                  </a:lnTo>
                  <a:close/>
                  <a:moveTo>
                    <a:pt x="141" y="143"/>
                  </a:moveTo>
                  <a:lnTo>
                    <a:pt x="22" y="143"/>
                  </a:lnTo>
                  <a:lnTo>
                    <a:pt x="22" y="23"/>
                  </a:lnTo>
                  <a:lnTo>
                    <a:pt x="141" y="23"/>
                  </a:lnTo>
                  <a:lnTo>
                    <a:pt x="141" y="143"/>
                  </a:lnTo>
                  <a:close/>
                  <a:moveTo>
                    <a:pt x="284" y="143"/>
                  </a:moveTo>
                  <a:lnTo>
                    <a:pt x="164" y="143"/>
                  </a:lnTo>
                  <a:lnTo>
                    <a:pt x="164" y="23"/>
                  </a:lnTo>
                  <a:lnTo>
                    <a:pt x="284" y="23"/>
                  </a:lnTo>
                  <a:lnTo>
                    <a:pt x="284" y="143"/>
                  </a:lnTo>
                  <a:close/>
                  <a:moveTo>
                    <a:pt x="426" y="143"/>
                  </a:moveTo>
                  <a:lnTo>
                    <a:pt x="306" y="143"/>
                  </a:lnTo>
                  <a:lnTo>
                    <a:pt x="306" y="23"/>
                  </a:lnTo>
                  <a:lnTo>
                    <a:pt x="426" y="23"/>
                  </a:lnTo>
                  <a:lnTo>
                    <a:pt x="426" y="14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31"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2"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4"/>
              </a:rPr>
              <a:t>www.rapidbbs.cn</a:t>
            </a:r>
            <a:endParaRPr lang="zh-CN" altLang="en-US" sz="1200" b="0">
              <a:latin typeface="Arial" charset="0"/>
              <a:ea typeface="ＭＳ Ｐゴシック" pitchFamily="34" charset="-128"/>
            </a:endParaRPr>
          </a:p>
        </p:txBody>
      </p:sp>
      <p:pic>
        <p:nvPicPr>
          <p:cNvPr id="33" name="Picture 2">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07748729"/>
      </p:ext>
    </p:extLst>
  </p:cSld>
  <p:clrMapOvr>
    <a:masterClrMapping/>
  </p:clrMapOvr>
  <p:transition spd="slow">
    <p:push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22" presetClass="entr" presetSubtype="8" fill="hold" nodeType="after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wipe(left)">
                                      <p:cBhvr>
                                        <p:cTn id="13" dur="500"/>
                                        <p:tgtEl>
                                          <p:spTgt spid="27"/>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8" fill="hold" nodeType="clickEffect">
                                  <p:stCondLst>
                                    <p:cond delay="0"/>
                                  </p:stCondLst>
                                  <p:childTnLst>
                                    <p:set>
                                      <p:cBhvr>
                                        <p:cTn id="17" dur="1" fill="hold">
                                          <p:stCondLst>
                                            <p:cond delay="0"/>
                                          </p:stCondLst>
                                        </p:cTn>
                                        <p:tgtEl>
                                          <p:spTgt spid="28"/>
                                        </p:tgtEl>
                                        <p:attrNameLst>
                                          <p:attrName>style.visibility</p:attrName>
                                        </p:attrNameLst>
                                      </p:cBhvr>
                                      <p:to>
                                        <p:strVal val="visible"/>
                                      </p:to>
                                    </p:set>
                                    <p:animEffect transition="in" filter="wipe(left)">
                                      <p:cBhvr>
                                        <p:cTn id="18" dur="500"/>
                                        <p:tgtEl>
                                          <p:spTgt spid="28"/>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nodeType="clickEffect">
                                  <p:stCondLst>
                                    <p:cond delay="0"/>
                                  </p:stCondLst>
                                  <p:childTnLst>
                                    <p:set>
                                      <p:cBhvr>
                                        <p:cTn id="22" dur="1" fill="hold">
                                          <p:stCondLst>
                                            <p:cond delay="0"/>
                                          </p:stCondLst>
                                        </p:cTn>
                                        <p:tgtEl>
                                          <p:spTgt spid="29"/>
                                        </p:tgtEl>
                                        <p:attrNameLst>
                                          <p:attrName>style.visibility</p:attrName>
                                        </p:attrNameLst>
                                      </p:cBhvr>
                                      <p:to>
                                        <p:strVal val="visible"/>
                                      </p:to>
                                    </p:set>
                                    <p:animEffect transition="in" filter="wipe(left)">
                                      <p:cBhvr>
                                        <p:cTn id="23" dur="500"/>
                                        <p:tgtEl>
                                          <p:spTgt spid="29"/>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8" fill="hold" nodeType="clickEffect">
                                  <p:stCondLst>
                                    <p:cond delay="0"/>
                                  </p:stCondLst>
                                  <p:childTnLst>
                                    <p:set>
                                      <p:cBhvr>
                                        <p:cTn id="27" dur="1" fill="hold">
                                          <p:stCondLst>
                                            <p:cond delay="0"/>
                                          </p:stCondLst>
                                        </p:cTn>
                                        <p:tgtEl>
                                          <p:spTgt spid="30"/>
                                        </p:tgtEl>
                                        <p:attrNameLst>
                                          <p:attrName>style.visibility</p:attrName>
                                        </p:attrNameLst>
                                      </p:cBhvr>
                                      <p:to>
                                        <p:strVal val="visible"/>
                                      </p:to>
                                    </p:set>
                                    <p:animEffect transition="in" filter="wipe(left)">
                                      <p:cBhvr>
                                        <p:cTn id="28"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yper-V | Enhanced Resource Management</a:t>
            </a:r>
            <a:endParaRPr lang="en-US" dirty="0"/>
          </a:p>
        </p:txBody>
      </p:sp>
      <p:sp>
        <p:nvSpPr>
          <p:cNvPr id="4" name="Rectangle 3"/>
          <p:cNvSpPr/>
          <p:nvPr/>
        </p:nvSpPr>
        <p:spPr bwMode="auto">
          <a:xfrm rot="16200000">
            <a:off x="-579056" y="2281671"/>
            <a:ext cx="3646716" cy="100469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5758" tIns="34294" rIns="34294" bIns="34294" numCol="1" spcCol="0" rtlCol="0" fromWordArt="0" anchor="ctr" anchorCtr="0" forceAA="0" compatLnSpc="1">
            <a:prstTxWarp prst="textNoShape">
              <a:avLst/>
            </a:prstTxWarp>
            <a:noAutofit/>
          </a:bodyPr>
          <a:lstStyle/>
          <a:p>
            <a:pPr defTabSz="685637" fontAlgn="base">
              <a:spcBef>
                <a:spcPct val="0"/>
              </a:spcBef>
              <a:spcAft>
                <a:spcPct val="0"/>
              </a:spcAft>
            </a:pPr>
            <a:r>
              <a:rPr lang="en-US" sz="3600" spc="-38" dirty="0">
                <a:gradFill>
                  <a:gsLst>
                    <a:gs pos="0">
                      <a:srgbClr val="FFFFFF"/>
                    </a:gs>
                    <a:gs pos="100000">
                      <a:srgbClr val="FFFFFF"/>
                    </a:gs>
                  </a:gsLst>
                  <a:lin ang="5400000" scaled="0"/>
                </a:gradFill>
                <a:latin typeface="Segoe UI Light" pitchFamily="34" charset="0"/>
                <a:ea typeface="Segoe UI" pitchFamily="34" charset="0"/>
                <a:cs typeface="Segoe UI Light" pitchFamily="34" charset="0"/>
              </a:rPr>
              <a:t>Resource Mgmt.</a:t>
            </a:r>
            <a:endParaRPr lang="en-US" sz="2000" spc="-38" dirty="0">
              <a:gradFill>
                <a:gsLst>
                  <a:gs pos="0">
                    <a:srgbClr val="FFFFFF"/>
                  </a:gs>
                  <a:gs pos="100000">
                    <a:srgbClr val="FFFFFF"/>
                  </a:gs>
                </a:gsLst>
                <a:lin ang="5400000" scaled="0"/>
              </a:gradFill>
              <a:latin typeface="Segoe UI Light" pitchFamily="34" charset="0"/>
              <a:ea typeface="Segoe UI" pitchFamily="34" charset="0"/>
              <a:cs typeface="Segoe UI Light" pitchFamily="34" charset="0"/>
            </a:endParaRPr>
          </a:p>
        </p:txBody>
      </p:sp>
      <p:grpSp>
        <p:nvGrpSpPr>
          <p:cNvPr id="5" name="Group 4"/>
          <p:cNvGrpSpPr/>
          <p:nvPr/>
        </p:nvGrpSpPr>
        <p:grpSpPr>
          <a:xfrm>
            <a:off x="1791073" y="1878329"/>
            <a:ext cx="6362157" cy="891540"/>
            <a:chOff x="2387474" y="2504439"/>
            <a:chExt cx="8480667" cy="1188720"/>
          </a:xfrm>
        </p:grpSpPr>
        <p:grpSp>
          <p:nvGrpSpPr>
            <p:cNvPr id="28" name="Group 27"/>
            <p:cNvGrpSpPr/>
            <p:nvPr/>
          </p:nvGrpSpPr>
          <p:grpSpPr>
            <a:xfrm>
              <a:off x="2387474" y="2504439"/>
              <a:ext cx="8480667" cy="1188720"/>
              <a:chOff x="2387474" y="2504439"/>
              <a:chExt cx="8480667" cy="1188720"/>
            </a:xfrm>
          </p:grpSpPr>
          <p:grpSp>
            <p:nvGrpSpPr>
              <p:cNvPr id="8" name="Group 7"/>
              <p:cNvGrpSpPr/>
              <p:nvPr/>
            </p:nvGrpSpPr>
            <p:grpSpPr>
              <a:xfrm>
                <a:off x="2387474" y="2504439"/>
                <a:ext cx="8480667" cy="1188720"/>
                <a:chOff x="2477618" y="4361546"/>
                <a:chExt cx="8480667" cy="1188720"/>
              </a:xfrm>
            </p:grpSpPr>
            <p:sp>
              <p:nvSpPr>
                <p:cNvPr id="9" name="Rectangle 8"/>
                <p:cNvSpPr/>
                <p:nvPr/>
              </p:nvSpPr>
              <p:spPr bwMode="auto">
                <a:xfrm>
                  <a:off x="2477618" y="4361546"/>
                  <a:ext cx="8480667" cy="11887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45720" bIns="45720" numCol="1" spcCol="0" rtlCol="0" fromWordArt="0" anchor="ctr" anchorCtr="0" forceAA="0" compatLnSpc="1">
                  <a:prstTxWarp prst="textNoShape">
                    <a:avLst/>
                  </a:prstTxWarp>
                  <a:noAutofit/>
                </a:bodyPr>
                <a:lstStyle/>
                <a:p>
                  <a:pPr defTabSz="685637" fontAlgn="base">
                    <a:spcBef>
                      <a:spcPct val="0"/>
                    </a:spcBef>
                    <a:spcAft>
                      <a:spcPct val="0"/>
                    </a:spcAft>
                  </a:pPr>
                  <a:r>
                    <a:rPr lang="en-US" sz="2700" spc="-38" dirty="0">
                      <a:gradFill>
                        <a:gsLst>
                          <a:gs pos="0">
                            <a:srgbClr val="FFFFFF"/>
                          </a:gs>
                          <a:gs pos="100000">
                            <a:srgbClr val="FFFFFF"/>
                          </a:gs>
                        </a:gsLst>
                        <a:lin ang="5400000" scaled="0"/>
                      </a:gradFill>
                      <a:latin typeface="Segoe UI Light" pitchFamily="34" charset="0"/>
                      <a:ea typeface="Segoe UI" pitchFamily="34" charset="0"/>
                      <a:cs typeface="Segoe UI Light" pitchFamily="34" charset="0"/>
                    </a:rPr>
                    <a:t>Resource Metering</a:t>
                  </a:r>
                  <a:r>
                    <a:rPr lang="en-US" sz="3000" spc="-38" dirty="0">
                      <a:gradFill>
                        <a:gsLst>
                          <a:gs pos="0">
                            <a:srgbClr val="FFFFFF"/>
                          </a:gs>
                          <a:gs pos="100000">
                            <a:srgbClr val="FFFFFF"/>
                          </a:gs>
                        </a:gsLst>
                        <a:lin ang="5400000" scaled="0"/>
                      </a:gradFill>
                      <a:latin typeface="Segoe UI Light" pitchFamily="34" charset="0"/>
                      <a:ea typeface="Segoe UI" pitchFamily="34" charset="0"/>
                      <a:cs typeface="Segoe UI Light" pitchFamily="34" charset="0"/>
                    </a:rPr>
                    <a:t/>
                  </a:r>
                  <a:br>
                    <a:rPr lang="en-US" sz="3000" spc="-38" dirty="0">
                      <a:gradFill>
                        <a:gsLst>
                          <a:gs pos="0">
                            <a:srgbClr val="FFFFFF"/>
                          </a:gs>
                          <a:gs pos="100000">
                            <a:srgbClr val="FFFFFF"/>
                          </a:gs>
                        </a:gsLst>
                        <a:lin ang="5400000" scaled="0"/>
                      </a:gradFill>
                      <a:latin typeface="Segoe UI Light" pitchFamily="34" charset="0"/>
                      <a:ea typeface="Segoe UI" pitchFamily="34" charset="0"/>
                      <a:cs typeface="Segoe UI Light" pitchFamily="34" charset="0"/>
                    </a:rPr>
                  </a:br>
                  <a:r>
                    <a:rPr lang="en-US" sz="1500" spc="-38" dirty="0">
                      <a:gradFill>
                        <a:gsLst>
                          <a:gs pos="0">
                            <a:srgbClr val="FFFFFF"/>
                          </a:gs>
                          <a:gs pos="100000">
                            <a:srgbClr val="FFFFFF"/>
                          </a:gs>
                        </a:gsLst>
                        <a:lin ang="5400000" scaled="0"/>
                      </a:gradFill>
                      <a:latin typeface="Segoe UI Light" pitchFamily="34" charset="0"/>
                      <a:ea typeface="Segoe UI" pitchFamily="34" charset="0"/>
                      <a:cs typeface="Segoe UI Light" pitchFamily="34" charset="0"/>
                    </a:rPr>
                    <a:t>Track historical data for virtual machine usage</a:t>
                  </a:r>
                </a:p>
                <a:p>
                  <a:pPr defTabSz="685637" fontAlgn="base">
                    <a:spcBef>
                      <a:spcPct val="0"/>
                    </a:spcBef>
                    <a:spcAft>
                      <a:spcPct val="0"/>
                    </a:spcAft>
                  </a:pPr>
                  <a:endParaRPr lang="en-US" sz="500"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1" name="Freeform 511"/>
                <p:cNvSpPr>
                  <a:spLocks/>
                </p:cNvSpPr>
                <p:nvPr/>
              </p:nvSpPr>
              <p:spPr bwMode="auto">
                <a:xfrm>
                  <a:off x="10019794" y="5410770"/>
                  <a:ext cx="1588" cy="1587"/>
                </a:xfrm>
                <a:custGeom>
                  <a:avLst/>
                  <a:gdLst>
                    <a:gd name="T0" fmla="*/ 1 w 2"/>
                    <a:gd name="T1" fmla="*/ 1 h 1"/>
                    <a:gd name="T2" fmla="*/ 2 w 2"/>
                    <a:gd name="T3" fmla="*/ 0 h 1"/>
                    <a:gd name="T4" fmla="*/ 0 w 2"/>
                    <a:gd name="T5" fmla="*/ 0 h 1"/>
                    <a:gd name="T6" fmla="*/ 1 w 2"/>
                    <a:gd name="T7" fmla="*/ 1 h 1"/>
                  </a:gdLst>
                  <a:ahLst/>
                  <a:cxnLst>
                    <a:cxn ang="0">
                      <a:pos x="T0" y="T1"/>
                    </a:cxn>
                    <a:cxn ang="0">
                      <a:pos x="T2" y="T3"/>
                    </a:cxn>
                    <a:cxn ang="0">
                      <a:pos x="T4" y="T5"/>
                    </a:cxn>
                    <a:cxn ang="0">
                      <a:pos x="T6" y="T7"/>
                    </a:cxn>
                  </a:cxnLst>
                  <a:rect l="0" t="0" r="r" b="b"/>
                  <a:pathLst>
                    <a:path w="2" h="1">
                      <a:moveTo>
                        <a:pt x="1" y="1"/>
                      </a:moveTo>
                      <a:cubicBezTo>
                        <a:pt x="1" y="1"/>
                        <a:pt x="1" y="1"/>
                        <a:pt x="2" y="0"/>
                      </a:cubicBezTo>
                      <a:cubicBezTo>
                        <a:pt x="1" y="0"/>
                        <a:pt x="0" y="0"/>
                        <a:pt x="0" y="0"/>
                      </a:cubicBezTo>
                      <a:lnTo>
                        <a:pt x="1" y="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 name="Freeform 511"/>
              <p:cNvSpPr>
                <a:spLocks/>
              </p:cNvSpPr>
              <p:nvPr/>
            </p:nvSpPr>
            <p:spPr bwMode="auto">
              <a:xfrm>
                <a:off x="10064106" y="3376454"/>
                <a:ext cx="1359" cy="1358"/>
              </a:xfrm>
              <a:custGeom>
                <a:avLst/>
                <a:gdLst>
                  <a:gd name="T0" fmla="*/ 1 w 2"/>
                  <a:gd name="T1" fmla="*/ 1 h 1"/>
                  <a:gd name="T2" fmla="*/ 2 w 2"/>
                  <a:gd name="T3" fmla="*/ 0 h 1"/>
                  <a:gd name="T4" fmla="*/ 0 w 2"/>
                  <a:gd name="T5" fmla="*/ 0 h 1"/>
                  <a:gd name="T6" fmla="*/ 1 w 2"/>
                  <a:gd name="T7" fmla="*/ 1 h 1"/>
                </a:gdLst>
                <a:ahLst/>
                <a:cxnLst>
                  <a:cxn ang="0">
                    <a:pos x="T0" y="T1"/>
                  </a:cxn>
                  <a:cxn ang="0">
                    <a:pos x="T2" y="T3"/>
                  </a:cxn>
                  <a:cxn ang="0">
                    <a:pos x="T4" y="T5"/>
                  </a:cxn>
                  <a:cxn ang="0">
                    <a:pos x="T6" y="T7"/>
                  </a:cxn>
                </a:cxnLst>
                <a:rect l="0" t="0" r="r" b="b"/>
                <a:pathLst>
                  <a:path w="2" h="1">
                    <a:moveTo>
                      <a:pt x="1" y="1"/>
                    </a:moveTo>
                    <a:cubicBezTo>
                      <a:pt x="1" y="1"/>
                      <a:pt x="1" y="1"/>
                      <a:pt x="2" y="0"/>
                    </a:cubicBezTo>
                    <a:cubicBezTo>
                      <a:pt x="1" y="0"/>
                      <a:pt x="0" y="0"/>
                      <a:pt x="0" y="0"/>
                    </a:cubicBezTo>
                    <a:lnTo>
                      <a:pt x="1" y="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5" name="Group 34"/>
            <p:cNvGrpSpPr/>
            <p:nvPr/>
          </p:nvGrpSpPr>
          <p:grpSpPr>
            <a:xfrm>
              <a:off x="9599612" y="2772097"/>
              <a:ext cx="1027112" cy="580703"/>
              <a:chOff x="8172451" y="3778251"/>
              <a:chExt cx="1311275" cy="741362"/>
            </a:xfrm>
            <a:solidFill>
              <a:schemeClr val="tx1"/>
            </a:solidFill>
          </p:grpSpPr>
          <p:sp>
            <p:nvSpPr>
              <p:cNvPr id="36" name="Freeform 624"/>
              <p:cNvSpPr>
                <a:spLocks/>
              </p:cNvSpPr>
              <p:nvPr/>
            </p:nvSpPr>
            <p:spPr bwMode="auto">
              <a:xfrm>
                <a:off x="8172451" y="3778251"/>
                <a:ext cx="1311275" cy="657225"/>
              </a:xfrm>
              <a:custGeom>
                <a:avLst/>
                <a:gdLst>
                  <a:gd name="T0" fmla="*/ 665 w 1330"/>
                  <a:gd name="T1" fmla="*/ 59 h 665"/>
                  <a:gd name="T2" fmla="*/ 1271 w 1330"/>
                  <a:gd name="T3" fmla="*/ 665 h 665"/>
                  <a:gd name="T4" fmla="*/ 1330 w 1330"/>
                  <a:gd name="T5" fmla="*/ 665 h 665"/>
                  <a:gd name="T6" fmla="*/ 665 w 1330"/>
                  <a:gd name="T7" fmla="*/ 0 h 665"/>
                  <a:gd name="T8" fmla="*/ 0 w 1330"/>
                  <a:gd name="T9" fmla="*/ 665 h 665"/>
                  <a:gd name="T10" fmla="*/ 59 w 1330"/>
                  <a:gd name="T11" fmla="*/ 665 h 665"/>
                  <a:gd name="T12" fmla="*/ 665 w 1330"/>
                  <a:gd name="T13" fmla="*/ 59 h 665"/>
                </a:gdLst>
                <a:ahLst/>
                <a:cxnLst>
                  <a:cxn ang="0">
                    <a:pos x="T0" y="T1"/>
                  </a:cxn>
                  <a:cxn ang="0">
                    <a:pos x="T2" y="T3"/>
                  </a:cxn>
                  <a:cxn ang="0">
                    <a:pos x="T4" y="T5"/>
                  </a:cxn>
                  <a:cxn ang="0">
                    <a:pos x="T6" y="T7"/>
                  </a:cxn>
                  <a:cxn ang="0">
                    <a:pos x="T8" y="T9"/>
                  </a:cxn>
                  <a:cxn ang="0">
                    <a:pos x="T10" y="T11"/>
                  </a:cxn>
                  <a:cxn ang="0">
                    <a:pos x="T12" y="T13"/>
                  </a:cxn>
                </a:cxnLst>
                <a:rect l="0" t="0" r="r" b="b"/>
                <a:pathLst>
                  <a:path w="1330" h="665">
                    <a:moveTo>
                      <a:pt x="665" y="59"/>
                    </a:moveTo>
                    <a:cubicBezTo>
                      <a:pt x="1000" y="59"/>
                      <a:pt x="1271" y="330"/>
                      <a:pt x="1271" y="665"/>
                    </a:cubicBezTo>
                    <a:cubicBezTo>
                      <a:pt x="1330" y="665"/>
                      <a:pt x="1330" y="665"/>
                      <a:pt x="1330" y="665"/>
                    </a:cubicBezTo>
                    <a:cubicBezTo>
                      <a:pt x="1330" y="298"/>
                      <a:pt x="1032" y="0"/>
                      <a:pt x="665" y="0"/>
                    </a:cubicBezTo>
                    <a:cubicBezTo>
                      <a:pt x="298" y="0"/>
                      <a:pt x="0" y="298"/>
                      <a:pt x="0" y="665"/>
                    </a:cubicBezTo>
                    <a:cubicBezTo>
                      <a:pt x="59" y="665"/>
                      <a:pt x="59" y="665"/>
                      <a:pt x="59" y="665"/>
                    </a:cubicBezTo>
                    <a:cubicBezTo>
                      <a:pt x="59" y="330"/>
                      <a:pt x="330" y="59"/>
                      <a:pt x="665"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Oval 625"/>
              <p:cNvSpPr>
                <a:spLocks noChangeArrowheads="1"/>
              </p:cNvSpPr>
              <p:nvPr/>
            </p:nvSpPr>
            <p:spPr bwMode="auto">
              <a:xfrm>
                <a:off x="8767763" y="3887788"/>
                <a:ext cx="111125" cy="1111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Oval 626"/>
              <p:cNvSpPr>
                <a:spLocks noChangeArrowheads="1"/>
              </p:cNvSpPr>
              <p:nvPr/>
            </p:nvSpPr>
            <p:spPr bwMode="auto">
              <a:xfrm>
                <a:off x="9036051" y="3981450"/>
                <a:ext cx="109538" cy="1111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Oval 627"/>
              <p:cNvSpPr>
                <a:spLocks noChangeArrowheads="1"/>
              </p:cNvSpPr>
              <p:nvPr/>
            </p:nvSpPr>
            <p:spPr bwMode="auto">
              <a:xfrm>
                <a:off x="8499476" y="3981450"/>
                <a:ext cx="111125" cy="1111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Oval 628"/>
              <p:cNvSpPr>
                <a:spLocks noChangeArrowheads="1"/>
              </p:cNvSpPr>
              <p:nvPr/>
            </p:nvSpPr>
            <p:spPr bwMode="auto">
              <a:xfrm>
                <a:off x="9199563" y="4173538"/>
                <a:ext cx="111125" cy="1111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Oval 629"/>
              <p:cNvSpPr>
                <a:spLocks noChangeArrowheads="1"/>
              </p:cNvSpPr>
              <p:nvPr/>
            </p:nvSpPr>
            <p:spPr bwMode="auto">
              <a:xfrm>
                <a:off x="8334376" y="4173538"/>
                <a:ext cx="111125" cy="1111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630"/>
              <p:cNvSpPr>
                <a:spLocks noEditPoints="1"/>
              </p:cNvSpPr>
              <p:nvPr/>
            </p:nvSpPr>
            <p:spPr bwMode="auto">
              <a:xfrm>
                <a:off x="8737601" y="4157663"/>
                <a:ext cx="365125" cy="361950"/>
              </a:xfrm>
              <a:custGeom>
                <a:avLst/>
                <a:gdLst>
                  <a:gd name="T0" fmla="*/ 229 w 369"/>
                  <a:gd name="T1" fmla="*/ 0 h 367"/>
                  <a:gd name="T2" fmla="*/ 266 w 369"/>
                  <a:gd name="T3" fmla="*/ 37 h 367"/>
                  <a:gd name="T4" fmla="*/ 104 w 369"/>
                  <a:gd name="T5" fmla="*/ 199 h 367"/>
                  <a:gd name="T6" fmla="*/ 86 w 369"/>
                  <a:gd name="T7" fmla="*/ 197 h 367"/>
                  <a:gd name="T8" fmla="*/ 0 w 369"/>
                  <a:gd name="T9" fmla="*/ 282 h 367"/>
                  <a:gd name="T10" fmla="*/ 86 w 369"/>
                  <a:gd name="T11" fmla="*/ 367 h 367"/>
                  <a:gd name="T12" fmla="*/ 171 w 369"/>
                  <a:gd name="T13" fmla="*/ 282 h 367"/>
                  <a:gd name="T14" fmla="*/ 169 w 369"/>
                  <a:gd name="T15" fmla="*/ 266 h 367"/>
                  <a:gd name="T16" fmla="*/ 332 w 369"/>
                  <a:gd name="T17" fmla="*/ 103 h 367"/>
                  <a:gd name="T18" fmla="*/ 369 w 369"/>
                  <a:gd name="T19" fmla="*/ 139 h 367"/>
                  <a:gd name="T20" fmla="*/ 369 w 369"/>
                  <a:gd name="T21" fmla="*/ 0 h 367"/>
                  <a:gd name="T22" fmla="*/ 229 w 369"/>
                  <a:gd name="T23" fmla="*/ 0 h 367"/>
                  <a:gd name="T24" fmla="*/ 86 w 369"/>
                  <a:gd name="T25" fmla="*/ 335 h 367"/>
                  <a:gd name="T26" fmla="*/ 32 w 369"/>
                  <a:gd name="T27" fmla="*/ 282 h 367"/>
                  <a:gd name="T28" fmla="*/ 86 w 369"/>
                  <a:gd name="T29" fmla="*/ 229 h 367"/>
                  <a:gd name="T30" fmla="*/ 139 w 369"/>
                  <a:gd name="T31" fmla="*/ 282 h 367"/>
                  <a:gd name="T32" fmla="*/ 86 w 369"/>
                  <a:gd name="T33" fmla="*/ 335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9" h="367">
                    <a:moveTo>
                      <a:pt x="229" y="0"/>
                    </a:moveTo>
                    <a:cubicBezTo>
                      <a:pt x="266" y="37"/>
                      <a:pt x="266" y="37"/>
                      <a:pt x="266" y="37"/>
                    </a:cubicBezTo>
                    <a:cubicBezTo>
                      <a:pt x="104" y="199"/>
                      <a:pt x="104" y="199"/>
                      <a:pt x="104" y="199"/>
                    </a:cubicBezTo>
                    <a:cubicBezTo>
                      <a:pt x="98" y="197"/>
                      <a:pt x="92" y="197"/>
                      <a:pt x="86" y="197"/>
                    </a:cubicBezTo>
                    <a:cubicBezTo>
                      <a:pt x="39" y="197"/>
                      <a:pt x="0" y="235"/>
                      <a:pt x="0" y="282"/>
                    </a:cubicBezTo>
                    <a:cubicBezTo>
                      <a:pt x="0" y="329"/>
                      <a:pt x="39" y="367"/>
                      <a:pt x="86" y="367"/>
                    </a:cubicBezTo>
                    <a:cubicBezTo>
                      <a:pt x="133" y="367"/>
                      <a:pt x="171" y="329"/>
                      <a:pt x="171" y="282"/>
                    </a:cubicBezTo>
                    <a:cubicBezTo>
                      <a:pt x="171" y="276"/>
                      <a:pt x="170" y="271"/>
                      <a:pt x="169" y="266"/>
                    </a:cubicBezTo>
                    <a:cubicBezTo>
                      <a:pt x="332" y="103"/>
                      <a:pt x="332" y="103"/>
                      <a:pt x="332" y="103"/>
                    </a:cubicBezTo>
                    <a:cubicBezTo>
                      <a:pt x="369" y="139"/>
                      <a:pt x="369" y="139"/>
                      <a:pt x="369" y="139"/>
                    </a:cubicBezTo>
                    <a:cubicBezTo>
                      <a:pt x="369" y="0"/>
                      <a:pt x="369" y="0"/>
                      <a:pt x="369" y="0"/>
                    </a:cubicBezTo>
                    <a:lnTo>
                      <a:pt x="229" y="0"/>
                    </a:lnTo>
                    <a:close/>
                    <a:moveTo>
                      <a:pt x="86" y="335"/>
                    </a:moveTo>
                    <a:cubicBezTo>
                      <a:pt x="56" y="335"/>
                      <a:pt x="32" y="311"/>
                      <a:pt x="32" y="282"/>
                    </a:cubicBezTo>
                    <a:cubicBezTo>
                      <a:pt x="32" y="253"/>
                      <a:pt x="56" y="229"/>
                      <a:pt x="86" y="229"/>
                    </a:cubicBezTo>
                    <a:cubicBezTo>
                      <a:pt x="115" y="229"/>
                      <a:pt x="139" y="253"/>
                      <a:pt x="139" y="282"/>
                    </a:cubicBezTo>
                    <a:cubicBezTo>
                      <a:pt x="139" y="311"/>
                      <a:pt x="115" y="335"/>
                      <a:pt x="86" y="3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631"/>
              <p:cNvSpPr>
                <a:spLocks noEditPoints="1"/>
              </p:cNvSpPr>
              <p:nvPr/>
            </p:nvSpPr>
            <p:spPr bwMode="auto">
              <a:xfrm>
                <a:off x="8289926" y="4381500"/>
                <a:ext cx="1071563" cy="53975"/>
              </a:xfrm>
              <a:custGeom>
                <a:avLst/>
                <a:gdLst>
                  <a:gd name="T0" fmla="*/ 56 w 1085"/>
                  <a:gd name="T1" fmla="*/ 0 h 56"/>
                  <a:gd name="T2" fmla="*/ 0 w 1085"/>
                  <a:gd name="T3" fmla="*/ 56 h 56"/>
                  <a:gd name="T4" fmla="*/ 112 w 1085"/>
                  <a:gd name="T5" fmla="*/ 56 h 56"/>
                  <a:gd name="T6" fmla="*/ 56 w 1085"/>
                  <a:gd name="T7" fmla="*/ 0 h 56"/>
                  <a:gd name="T8" fmla="*/ 1029 w 1085"/>
                  <a:gd name="T9" fmla="*/ 0 h 56"/>
                  <a:gd name="T10" fmla="*/ 973 w 1085"/>
                  <a:gd name="T11" fmla="*/ 56 h 56"/>
                  <a:gd name="T12" fmla="*/ 1085 w 1085"/>
                  <a:gd name="T13" fmla="*/ 56 h 56"/>
                  <a:gd name="T14" fmla="*/ 1029 w 1085"/>
                  <a:gd name="T15" fmla="*/ 0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5" h="56">
                    <a:moveTo>
                      <a:pt x="56" y="0"/>
                    </a:moveTo>
                    <a:cubicBezTo>
                      <a:pt x="25" y="0"/>
                      <a:pt x="0" y="25"/>
                      <a:pt x="0" y="56"/>
                    </a:cubicBezTo>
                    <a:cubicBezTo>
                      <a:pt x="112" y="56"/>
                      <a:pt x="112" y="56"/>
                      <a:pt x="112" y="56"/>
                    </a:cubicBezTo>
                    <a:cubicBezTo>
                      <a:pt x="112" y="25"/>
                      <a:pt x="87" y="0"/>
                      <a:pt x="56" y="0"/>
                    </a:cubicBezTo>
                    <a:close/>
                    <a:moveTo>
                      <a:pt x="1029" y="0"/>
                    </a:moveTo>
                    <a:cubicBezTo>
                      <a:pt x="998" y="0"/>
                      <a:pt x="973" y="25"/>
                      <a:pt x="973" y="56"/>
                    </a:cubicBezTo>
                    <a:cubicBezTo>
                      <a:pt x="1085" y="56"/>
                      <a:pt x="1085" y="56"/>
                      <a:pt x="1085" y="56"/>
                    </a:cubicBezTo>
                    <a:cubicBezTo>
                      <a:pt x="1085" y="25"/>
                      <a:pt x="1060" y="0"/>
                      <a:pt x="102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 name="Group 2"/>
          <p:cNvGrpSpPr/>
          <p:nvPr/>
        </p:nvGrpSpPr>
        <p:grpSpPr>
          <a:xfrm>
            <a:off x="1791073" y="960662"/>
            <a:ext cx="6362157" cy="891540"/>
            <a:chOff x="2387474" y="1280883"/>
            <a:chExt cx="8480667" cy="1188720"/>
          </a:xfrm>
        </p:grpSpPr>
        <p:sp>
          <p:nvSpPr>
            <p:cNvPr id="15" name="Rectangle 14"/>
            <p:cNvSpPr/>
            <p:nvPr/>
          </p:nvSpPr>
          <p:spPr bwMode="auto">
            <a:xfrm>
              <a:off x="2387474" y="1280883"/>
              <a:ext cx="8480667" cy="11887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45720" rIns="45720" bIns="45720" numCol="1" spcCol="0" rtlCol="0" fromWordArt="0" anchor="ctr" anchorCtr="0" forceAA="0" compatLnSpc="1">
              <a:prstTxWarp prst="textNoShape">
                <a:avLst/>
              </a:prstTxWarp>
              <a:noAutofit/>
            </a:bodyPr>
            <a:lstStyle/>
            <a:p>
              <a:pPr defTabSz="685637" fontAlgn="base">
                <a:spcBef>
                  <a:spcPct val="0"/>
                </a:spcBef>
                <a:spcAft>
                  <a:spcPct val="0"/>
                </a:spcAft>
              </a:pPr>
              <a:r>
                <a:rPr lang="en-US" sz="27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Dynamic Memory Improvements</a:t>
              </a:r>
              <a:r>
                <a:rPr lang="en-US" sz="30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
              </a:r>
              <a:br>
                <a:rPr lang="en-US" sz="30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br>
              <a:r>
                <a:rPr lang="en-US" sz="15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Support for greater virtual machine consolidation</a:t>
              </a:r>
            </a:p>
          </p:txBody>
        </p:sp>
        <p:pic>
          <p:nvPicPr>
            <p:cNvPr id="44" name="Picture 7"/>
            <p:cNvPicPr>
              <a:picLocks noChangeAspect="1" noChangeArrowheads="1"/>
            </p:cNvPicPr>
            <p:nvPr/>
          </p:nvPicPr>
          <p:blipFill>
            <a:blip r:embed="rId2" cstate="email">
              <a:biLevel thresh="50000"/>
              <a:extLst>
                <a:ext uri="{28A0092B-C50C-407E-A947-70E740481C1C}">
                  <a14:useLocalDpi xmlns:a14="http://schemas.microsoft.com/office/drawing/2010/main"/>
                </a:ext>
              </a:extLst>
            </a:blip>
            <a:srcRect/>
            <a:stretch>
              <a:fillRect/>
            </a:stretch>
          </p:blipFill>
          <p:spPr bwMode="auto">
            <a:xfrm>
              <a:off x="9675812" y="1412546"/>
              <a:ext cx="887436" cy="9253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0" name="Group 9"/>
          <p:cNvGrpSpPr/>
          <p:nvPr/>
        </p:nvGrpSpPr>
        <p:grpSpPr>
          <a:xfrm>
            <a:off x="1791073" y="3714751"/>
            <a:ext cx="6362157" cy="892628"/>
            <a:chOff x="2387473" y="4953000"/>
            <a:chExt cx="8480667" cy="1190170"/>
          </a:xfrm>
        </p:grpSpPr>
        <p:sp>
          <p:nvSpPr>
            <p:cNvPr id="6" name="Rectangle 5"/>
            <p:cNvSpPr/>
            <p:nvPr/>
          </p:nvSpPr>
          <p:spPr bwMode="auto">
            <a:xfrm>
              <a:off x="2387473" y="4953000"/>
              <a:ext cx="8480667" cy="119017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45720" bIns="45720" numCol="1" spcCol="0" rtlCol="0" fromWordArt="0" anchor="ctr" anchorCtr="0" forceAA="0" compatLnSpc="1">
              <a:prstTxWarp prst="textNoShape">
                <a:avLst/>
              </a:prstTxWarp>
              <a:noAutofit/>
            </a:bodyPr>
            <a:lstStyle/>
            <a:p>
              <a:pPr defTabSz="685637" fontAlgn="base">
                <a:spcBef>
                  <a:spcPct val="0"/>
                </a:spcBef>
                <a:spcAft>
                  <a:spcPct val="0"/>
                </a:spcAft>
              </a:pPr>
              <a:r>
                <a:rPr lang="en-US" sz="27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Data Center Bridging (DCB)</a:t>
              </a:r>
              <a:r>
                <a:rPr lang="en-US" sz="30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
              </a:r>
              <a:br>
                <a:rPr lang="en-US" sz="30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br>
              <a:r>
                <a:rPr lang="en-US" sz="15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Converge network traffic to provide enhanced QoS</a:t>
              </a:r>
              <a:endParaRPr lang="en-US" sz="500"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pic>
          <p:nvPicPr>
            <p:cNvPr id="45" name="Picture 13"/>
            <p:cNvPicPr>
              <a:picLocks noChangeAspect="1" noChangeArrowheads="1"/>
            </p:cNvPicPr>
            <p:nvPr/>
          </p:nvPicPr>
          <p:blipFill>
            <a:blip r:embed="rId3" cstate="email">
              <a:biLevel thresh="50000"/>
              <a:extLst>
                <a:ext uri="{28A0092B-C50C-407E-A947-70E740481C1C}">
                  <a14:useLocalDpi xmlns:a14="http://schemas.microsoft.com/office/drawing/2010/main"/>
                </a:ext>
              </a:extLst>
            </a:blip>
            <a:srcRect/>
            <a:stretch>
              <a:fillRect/>
            </a:stretch>
          </p:blipFill>
          <p:spPr bwMode="auto">
            <a:xfrm>
              <a:off x="9660095" y="5178183"/>
              <a:ext cx="899796" cy="8373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7" name="Group 6"/>
          <p:cNvGrpSpPr/>
          <p:nvPr/>
        </p:nvGrpSpPr>
        <p:grpSpPr>
          <a:xfrm>
            <a:off x="1791073" y="2795997"/>
            <a:ext cx="6362157" cy="892628"/>
            <a:chOff x="2387474" y="3727995"/>
            <a:chExt cx="8480667" cy="1190170"/>
          </a:xfrm>
        </p:grpSpPr>
        <p:sp>
          <p:nvSpPr>
            <p:cNvPr id="18" name="Rectangle 17"/>
            <p:cNvSpPr/>
            <p:nvPr/>
          </p:nvSpPr>
          <p:spPr bwMode="auto">
            <a:xfrm>
              <a:off x="2387474" y="3727995"/>
              <a:ext cx="8480667" cy="119017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45720" bIns="45720" numCol="1" spcCol="0" rtlCol="0" fromWordArt="0" anchor="ctr" anchorCtr="0" forceAA="0" compatLnSpc="1">
              <a:prstTxWarp prst="textNoShape">
                <a:avLst/>
              </a:prstTxWarp>
              <a:noAutofit/>
            </a:bodyPr>
            <a:lstStyle/>
            <a:p>
              <a:pPr defTabSz="685637" fontAlgn="base">
                <a:spcBef>
                  <a:spcPct val="0"/>
                </a:spcBef>
                <a:spcAft>
                  <a:spcPct val="0"/>
                </a:spcAft>
              </a:pPr>
              <a:r>
                <a:rPr lang="en-US" sz="27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Quality of Service (QoS)</a:t>
              </a:r>
              <a:r>
                <a:rPr lang="en-US" sz="30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
              </a:r>
              <a:br>
                <a:rPr lang="en-US" sz="30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br>
              <a:r>
                <a:rPr lang="en-US" sz="15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Consistent level of performance based on SLAs</a:t>
              </a:r>
            </a:p>
          </p:txBody>
        </p:sp>
        <p:grpSp>
          <p:nvGrpSpPr>
            <p:cNvPr id="31" name="Group 30"/>
            <p:cNvGrpSpPr/>
            <p:nvPr/>
          </p:nvGrpSpPr>
          <p:grpSpPr>
            <a:xfrm>
              <a:off x="9705974" y="3886200"/>
              <a:ext cx="808038" cy="808038"/>
              <a:chOff x="4529138" y="1731963"/>
              <a:chExt cx="1031875" cy="1031875"/>
            </a:xfrm>
            <a:solidFill>
              <a:schemeClr val="tx1"/>
            </a:solidFill>
          </p:grpSpPr>
          <p:sp>
            <p:nvSpPr>
              <p:cNvPr id="32" name="Freeform 18"/>
              <p:cNvSpPr>
                <a:spLocks noEditPoints="1"/>
              </p:cNvSpPr>
              <p:nvPr/>
            </p:nvSpPr>
            <p:spPr bwMode="auto">
              <a:xfrm>
                <a:off x="4908551" y="2027238"/>
                <a:ext cx="428625" cy="357188"/>
              </a:xfrm>
              <a:custGeom>
                <a:avLst/>
                <a:gdLst>
                  <a:gd name="T0" fmla="*/ 47 w 497"/>
                  <a:gd name="T1" fmla="*/ 340 h 415"/>
                  <a:gd name="T2" fmla="*/ 246 w 497"/>
                  <a:gd name="T3" fmla="*/ 368 h 415"/>
                  <a:gd name="T4" fmla="*/ 497 w 497"/>
                  <a:gd name="T5" fmla="*/ 0 h 415"/>
                  <a:gd name="T6" fmla="*/ 75 w 497"/>
                  <a:gd name="T7" fmla="*/ 141 h 415"/>
                  <a:gd name="T8" fmla="*/ 47 w 497"/>
                  <a:gd name="T9" fmla="*/ 340 h 415"/>
                  <a:gd name="T10" fmla="*/ 158 w 497"/>
                  <a:gd name="T11" fmla="*/ 169 h 415"/>
                  <a:gd name="T12" fmla="*/ 245 w 497"/>
                  <a:gd name="T13" fmla="*/ 256 h 415"/>
                  <a:gd name="T14" fmla="*/ 158 w 497"/>
                  <a:gd name="T15" fmla="*/ 343 h 415"/>
                  <a:gd name="T16" fmla="*/ 71 w 497"/>
                  <a:gd name="T17" fmla="*/ 256 h 415"/>
                  <a:gd name="T18" fmla="*/ 158 w 497"/>
                  <a:gd name="T19" fmla="*/ 169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7" h="415">
                    <a:moveTo>
                      <a:pt x="47" y="340"/>
                    </a:moveTo>
                    <a:cubicBezTo>
                      <a:pt x="95" y="403"/>
                      <a:pt x="184" y="415"/>
                      <a:pt x="246" y="368"/>
                    </a:cubicBezTo>
                    <a:cubicBezTo>
                      <a:pt x="309" y="320"/>
                      <a:pt x="497" y="0"/>
                      <a:pt x="497" y="0"/>
                    </a:cubicBezTo>
                    <a:cubicBezTo>
                      <a:pt x="497" y="0"/>
                      <a:pt x="137" y="94"/>
                      <a:pt x="75" y="141"/>
                    </a:cubicBezTo>
                    <a:cubicBezTo>
                      <a:pt x="12" y="189"/>
                      <a:pt x="0" y="278"/>
                      <a:pt x="47" y="340"/>
                    </a:cubicBezTo>
                    <a:close/>
                    <a:moveTo>
                      <a:pt x="158" y="169"/>
                    </a:moveTo>
                    <a:cubicBezTo>
                      <a:pt x="206" y="169"/>
                      <a:pt x="245" y="208"/>
                      <a:pt x="245" y="256"/>
                    </a:cubicBezTo>
                    <a:cubicBezTo>
                      <a:pt x="245" y="304"/>
                      <a:pt x="206" y="343"/>
                      <a:pt x="158" y="343"/>
                    </a:cubicBezTo>
                    <a:cubicBezTo>
                      <a:pt x="110" y="343"/>
                      <a:pt x="71" y="304"/>
                      <a:pt x="71" y="256"/>
                    </a:cubicBezTo>
                    <a:cubicBezTo>
                      <a:pt x="71" y="208"/>
                      <a:pt x="110" y="169"/>
                      <a:pt x="158"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19"/>
              <p:cNvSpPr>
                <a:spLocks noEditPoints="1"/>
              </p:cNvSpPr>
              <p:nvPr/>
            </p:nvSpPr>
            <p:spPr bwMode="auto">
              <a:xfrm>
                <a:off x="4529138" y="1731963"/>
                <a:ext cx="1031875" cy="1031875"/>
              </a:xfrm>
              <a:custGeom>
                <a:avLst/>
                <a:gdLst>
                  <a:gd name="T0" fmla="*/ 600 w 1200"/>
                  <a:gd name="T1" fmla="*/ 0 h 1200"/>
                  <a:gd name="T2" fmla="*/ 0 w 1200"/>
                  <a:gd name="T3" fmla="*/ 600 h 1200"/>
                  <a:gd name="T4" fmla="*/ 600 w 1200"/>
                  <a:gd name="T5" fmla="*/ 1200 h 1200"/>
                  <a:gd name="T6" fmla="*/ 1200 w 1200"/>
                  <a:gd name="T7" fmla="*/ 600 h 1200"/>
                  <a:gd name="T8" fmla="*/ 600 w 1200"/>
                  <a:gd name="T9" fmla="*/ 0 h 1200"/>
                  <a:gd name="T10" fmla="*/ 1093 w 1200"/>
                  <a:gd name="T11" fmla="*/ 831 h 1200"/>
                  <a:gd name="T12" fmla="*/ 971 w 1200"/>
                  <a:gd name="T13" fmla="*/ 997 h 1200"/>
                  <a:gd name="T14" fmla="*/ 878 w 1200"/>
                  <a:gd name="T15" fmla="*/ 983 h 1200"/>
                  <a:gd name="T16" fmla="*/ 863 w 1200"/>
                  <a:gd name="T17" fmla="*/ 1076 h 1200"/>
                  <a:gd name="T18" fmla="*/ 667 w 1200"/>
                  <a:gd name="T19" fmla="*/ 1140 h 1200"/>
                  <a:gd name="T20" fmla="*/ 600 w 1200"/>
                  <a:gd name="T21" fmla="*/ 1073 h 1200"/>
                  <a:gd name="T22" fmla="*/ 533 w 1200"/>
                  <a:gd name="T23" fmla="*/ 1140 h 1200"/>
                  <a:gd name="T24" fmla="*/ 337 w 1200"/>
                  <a:gd name="T25" fmla="*/ 1076 h 1200"/>
                  <a:gd name="T26" fmla="*/ 322 w 1200"/>
                  <a:gd name="T27" fmla="*/ 983 h 1200"/>
                  <a:gd name="T28" fmla="*/ 229 w 1200"/>
                  <a:gd name="T29" fmla="*/ 997 h 1200"/>
                  <a:gd name="T30" fmla="*/ 107 w 1200"/>
                  <a:gd name="T31" fmla="*/ 831 h 1200"/>
                  <a:gd name="T32" fmla="*/ 150 w 1200"/>
                  <a:gd name="T33" fmla="*/ 746 h 1200"/>
                  <a:gd name="T34" fmla="*/ 66 w 1200"/>
                  <a:gd name="T35" fmla="*/ 703 h 1200"/>
                  <a:gd name="T36" fmla="*/ 56 w 1200"/>
                  <a:gd name="T37" fmla="*/ 600 h 1200"/>
                  <a:gd name="T38" fmla="*/ 66 w 1200"/>
                  <a:gd name="T39" fmla="*/ 497 h 1200"/>
                  <a:gd name="T40" fmla="*/ 150 w 1200"/>
                  <a:gd name="T41" fmla="*/ 454 h 1200"/>
                  <a:gd name="T42" fmla="*/ 107 w 1200"/>
                  <a:gd name="T43" fmla="*/ 369 h 1200"/>
                  <a:gd name="T44" fmla="*/ 229 w 1200"/>
                  <a:gd name="T45" fmla="*/ 203 h 1200"/>
                  <a:gd name="T46" fmla="*/ 322 w 1200"/>
                  <a:gd name="T47" fmla="*/ 217 h 1200"/>
                  <a:gd name="T48" fmla="*/ 337 w 1200"/>
                  <a:gd name="T49" fmla="*/ 124 h 1200"/>
                  <a:gd name="T50" fmla="*/ 533 w 1200"/>
                  <a:gd name="T51" fmla="*/ 60 h 1200"/>
                  <a:gd name="T52" fmla="*/ 600 w 1200"/>
                  <a:gd name="T53" fmla="*/ 127 h 1200"/>
                  <a:gd name="T54" fmla="*/ 667 w 1200"/>
                  <a:gd name="T55" fmla="*/ 60 h 1200"/>
                  <a:gd name="T56" fmla="*/ 863 w 1200"/>
                  <a:gd name="T57" fmla="*/ 124 h 1200"/>
                  <a:gd name="T58" fmla="*/ 878 w 1200"/>
                  <a:gd name="T59" fmla="*/ 217 h 1200"/>
                  <a:gd name="T60" fmla="*/ 971 w 1200"/>
                  <a:gd name="T61" fmla="*/ 203 h 1200"/>
                  <a:gd name="T62" fmla="*/ 1093 w 1200"/>
                  <a:gd name="T63" fmla="*/ 369 h 1200"/>
                  <a:gd name="T64" fmla="*/ 1050 w 1200"/>
                  <a:gd name="T65" fmla="*/ 454 h 1200"/>
                  <a:gd name="T66" fmla="*/ 1134 w 1200"/>
                  <a:gd name="T67" fmla="*/ 497 h 1200"/>
                  <a:gd name="T68" fmla="*/ 1144 w 1200"/>
                  <a:gd name="T69" fmla="*/ 600 h 1200"/>
                  <a:gd name="T70" fmla="*/ 1134 w 1200"/>
                  <a:gd name="T71" fmla="*/ 703 h 1200"/>
                  <a:gd name="T72" fmla="*/ 1050 w 1200"/>
                  <a:gd name="T73" fmla="*/ 746 h 1200"/>
                  <a:gd name="T74" fmla="*/ 1093 w 1200"/>
                  <a:gd name="T75" fmla="*/ 831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00" h="1200">
                    <a:moveTo>
                      <a:pt x="600" y="0"/>
                    </a:moveTo>
                    <a:cubicBezTo>
                      <a:pt x="269" y="0"/>
                      <a:pt x="0" y="269"/>
                      <a:pt x="0" y="600"/>
                    </a:cubicBezTo>
                    <a:cubicBezTo>
                      <a:pt x="0" y="931"/>
                      <a:pt x="269" y="1200"/>
                      <a:pt x="600" y="1200"/>
                    </a:cubicBezTo>
                    <a:cubicBezTo>
                      <a:pt x="931" y="1200"/>
                      <a:pt x="1200" y="931"/>
                      <a:pt x="1200" y="600"/>
                    </a:cubicBezTo>
                    <a:cubicBezTo>
                      <a:pt x="1200" y="269"/>
                      <a:pt x="931" y="0"/>
                      <a:pt x="600" y="0"/>
                    </a:cubicBezTo>
                    <a:close/>
                    <a:moveTo>
                      <a:pt x="1093" y="831"/>
                    </a:moveTo>
                    <a:cubicBezTo>
                      <a:pt x="1063" y="894"/>
                      <a:pt x="1022" y="950"/>
                      <a:pt x="971" y="997"/>
                    </a:cubicBezTo>
                    <a:cubicBezTo>
                      <a:pt x="878" y="983"/>
                      <a:pt x="878" y="983"/>
                      <a:pt x="878" y="983"/>
                    </a:cubicBezTo>
                    <a:cubicBezTo>
                      <a:pt x="863" y="1076"/>
                      <a:pt x="863" y="1076"/>
                      <a:pt x="863" y="1076"/>
                    </a:cubicBezTo>
                    <a:cubicBezTo>
                      <a:pt x="804" y="1109"/>
                      <a:pt x="737" y="1131"/>
                      <a:pt x="667" y="1140"/>
                    </a:cubicBezTo>
                    <a:cubicBezTo>
                      <a:pt x="600" y="1073"/>
                      <a:pt x="600" y="1073"/>
                      <a:pt x="600" y="1073"/>
                    </a:cubicBezTo>
                    <a:cubicBezTo>
                      <a:pt x="533" y="1140"/>
                      <a:pt x="533" y="1140"/>
                      <a:pt x="533" y="1140"/>
                    </a:cubicBezTo>
                    <a:cubicBezTo>
                      <a:pt x="463" y="1131"/>
                      <a:pt x="396" y="1109"/>
                      <a:pt x="337" y="1076"/>
                    </a:cubicBezTo>
                    <a:cubicBezTo>
                      <a:pt x="322" y="983"/>
                      <a:pt x="322" y="983"/>
                      <a:pt x="322" y="983"/>
                    </a:cubicBezTo>
                    <a:cubicBezTo>
                      <a:pt x="229" y="997"/>
                      <a:pt x="229" y="997"/>
                      <a:pt x="229" y="997"/>
                    </a:cubicBezTo>
                    <a:cubicBezTo>
                      <a:pt x="178" y="950"/>
                      <a:pt x="137" y="894"/>
                      <a:pt x="107" y="831"/>
                    </a:cubicBezTo>
                    <a:cubicBezTo>
                      <a:pt x="150" y="746"/>
                      <a:pt x="150" y="746"/>
                      <a:pt x="150" y="746"/>
                    </a:cubicBezTo>
                    <a:cubicBezTo>
                      <a:pt x="66" y="703"/>
                      <a:pt x="66" y="703"/>
                      <a:pt x="66" y="703"/>
                    </a:cubicBezTo>
                    <a:cubicBezTo>
                      <a:pt x="59" y="670"/>
                      <a:pt x="56" y="635"/>
                      <a:pt x="56" y="600"/>
                    </a:cubicBezTo>
                    <a:cubicBezTo>
                      <a:pt x="56" y="565"/>
                      <a:pt x="59" y="530"/>
                      <a:pt x="66" y="497"/>
                    </a:cubicBezTo>
                    <a:cubicBezTo>
                      <a:pt x="150" y="454"/>
                      <a:pt x="150" y="454"/>
                      <a:pt x="150" y="454"/>
                    </a:cubicBezTo>
                    <a:cubicBezTo>
                      <a:pt x="107" y="369"/>
                      <a:pt x="107" y="369"/>
                      <a:pt x="107" y="369"/>
                    </a:cubicBezTo>
                    <a:cubicBezTo>
                      <a:pt x="137" y="306"/>
                      <a:pt x="178" y="250"/>
                      <a:pt x="229" y="203"/>
                    </a:cubicBezTo>
                    <a:cubicBezTo>
                      <a:pt x="322" y="217"/>
                      <a:pt x="322" y="217"/>
                      <a:pt x="322" y="217"/>
                    </a:cubicBezTo>
                    <a:cubicBezTo>
                      <a:pt x="337" y="124"/>
                      <a:pt x="337" y="124"/>
                      <a:pt x="337" y="124"/>
                    </a:cubicBezTo>
                    <a:cubicBezTo>
                      <a:pt x="396" y="91"/>
                      <a:pt x="463" y="69"/>
                      <a:pt x="533" y="60"/>
                    </a:cubicBezTo>
                    <a:cubicBezTo>
                      <a:pt x="600" y="127"/>
                      <a:pt x="600" y="127"/>
                      <a:pt x="600" y="127"/>
                    </a:cubicBezTo>
                    <a:cubicBezTo>
                      <a:pt x="667" y="60"/>
                      <a:pt x="667" y="60"/>
                      <a:pt x="667" y="60"/>
                    </a:cubicBezTo>
                    <a:cubicBezTo>
                      <a:pt x="737" y="69"/>
                      <a:pt x="804" y="91"/>
                      <a:pt x="863" y="124"/>
                    </a:cubicBezTo>
                    <a:cubicBezTo>
                      <a:pt x="878" y="217"/>
                      <a:pt x="878" y="217"/>
                      <a:pt x="878" y="217"/>
                    </a:cubicBezTo>
                    <a:cubicBezTo>
                      <a:pt x="971" y="203"/>
                      <a:pt x="971" y="203"/>
                      <a:pt x="971" y="203"/>
                    </a:cubicBezTo>
                    <a:cubicBezTo>
                      <a:pt x="1022" y="250"/>
                      <a:pt x="1063" y="306"/>
                      <a:pt x="1093" y="369"/>
                    </a:cubicBezTo>
                    <a:cubicBezTo>
                      <a:pt x="1050" y="454"/>
                      <a:pt x="1050" y="454"/>
                      <a:pt x="1050" y="454"/>
                    </a:cubicBezTo>
                    <a:cubicBezTo>
                      <a:pt x="1134" y="497"/>
                      <a:pt x="1134" y="497"/>
                      <a:pt x="1134" y="497"/>
                    </a:cubicBezTo>
                    <a:cubicBezTo>
                      <a:pt x="1141" y="530"/>
                      <a:pt x="1144" y="565"/>
                      <a:pt x="1144" y="600"/>
                    </a:cubicBezTo>
                    <a:cubicBezTo>
                      <a:pt x="1144" y="635"/>
                      <a:pt x="1141" y="670"/>
                      <a:pt x="1134" y="703"/>
                    </a:cubicBezTo>
                    <a:cubicBezTo>
                      <a:pt x="1050" y="746"/>
                      <a:pt x="1050" y="746"/>
                      <a:pt x="1050" y="746"/>
                    </a:cubicBezTo>
                    <a:lnTo>
                      <a:pt x="1093" y="8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Oval 20"/>
              <p:cNvSpPr>
                <a:spLocks noChangeArrowheads="1"/>
              </p:cNvSpPr>
              <p:nvPr/>
            </p:nvSpPr>
            <p:spPr bwMode="auto">
              <a:xfrm>
                <a:off x="5018088" y="2220913"/>
                <a:ext cx="53975" cy="539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46"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47"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4"/>
              </a:rPr>
              <a:t>www.rapidbbs.cn</a:t>
            </a:r>
            <a:endParaRPr lang="zh-CN" altLang="en-US" sz="1200" b="0">
              <a:latin typeface="Arial" charset="0"/>
              <a:ea typeface="ＭＳ Ｐゴシック" pitchFamily="34" charset="-128"/>
            </a:endParaRPr>
          </a:p>
        </p:txBody>
      </p:sp>
      <p:pic>
        <p:nvPicPr>
          <p:cNvPr id="48" name="Picture 2">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33055831"/>
      </p:ext>
    </p:extLst>
  </p:cSld>
  <p:clrMapOvr>
    <a:masterClrMapping/>
  </p:clrMapOvr>
  <p:transition spd="slow">
    <p:push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22" presetClass="entr" presetSubtype="8" fill="hold" nodeType="after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wipe(left)">
                                      <p:cBhvr>
                                        <p:cTn id="13" dur="500"/>
                                        <p:tgtEl>
                                          <p:spTgt spid="3"/>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8" fill="hold" nodeType="click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wipe(left)">
                                      <p:cBhvr>
                                        <p:cTn id="18" dur="500"/>
                                        <p:tgtEl>
                                          <p:spTgt spid="5"/>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nodeType="click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wipe(left)">
                                      <p:cBhvr>
                                        <p:cTn id="23" dur="500"/>
                                        <p:tgtEl>
                                          <p:spTgt spid="7"/>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8" fill="hold" nodeType="clickEffect">
                                  <p:stCondLst>
                                    <p:cond delay="0"/>
                                  </p:stCondLst>
                                  <p:childTnLst>
                                    <p:set>
                                      <p:cBhvr>
                                        <p:cTn id="27" dur="1" fill="hold">
                                          <p:stCondLst>
                                            <p:cond delay="0"/>
                                          </p:stCondLst>
                                        </p:cTn>
                                        <p:tgtEl>
                                          <p:spTgt spid="10"/>
                                        </p:tgtEl>
                                        <p:attrNameLst>
                                          <p:attrName>style.visibility</p:attrName>
                                        </p:attrNameLst>
                                      </p:cBhvr>
                                      <p:to>
                                        <p:strVal val="visible"/>
                                      </p:to>
                                    </p:set>
                                    <p:animEffect transition="in" filter="wipe(left)">
                                      <p:cBhvr>
                                        <p:cTn id="28"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yper-V | Extensible Switch</a:t>
            </a:r>
            <a:endParaRPr lang="en-US" dirty="0"/>
          </a:p>
        </p:txBody>
      </p:sp>
      <p:sp>
        <p:nvSpPr>
          <p:cNvPr id="4" name="Rectangle 3"/>
          <p:cNvSpPr/>
          <p:nvPr/>
        </p:nvSpPr>
        <p:spPr bwMode="auto">
          <a:xfrm rot="16200000">
            <a:off x="-579056" y="2281671"/>
            <a:ext cx="3646716" cy="100469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5758" tIns="34294" rIns="34294" bIns="34294" numCol="1" spcCol="0" rtlCol="0" fromWordArt="0" anchor="ctr" anchorCtr="0" forceAA="0" compatLnSpc="1">
            <a:prstTxWarp prst="textNoShape">
              <a:avLst/>
            </a:prstTxWarp>
            <a:noAutofit/>
          </a:bodyPr>
          <a:lstStyle/>
          <a:p>
            <a:pPr defTabSz="685637" fontAlgn="base">
              <a:spcBef>
                <a:spcPct val="0"/>
              </a:spcBef>
              <a:spcAft>
                <a:spcPct val="0"/>
              </a:spcAft>
            </a:pPr>
            <a:r>
              <a:rPr lang="en-US" sz="3500" spc="-38" dirty="0">
                <a:gradFill>
                  <a:gsLst>
                    <a:gs pos="0">
                      <a:srgbClr val="FFFFFF"/>
                    </a:gs>
                    <a:gs pos="100000">
                      <a:srgbClr val="FFFFFF"/>
                    </a:gs>
                  </a:gsLst>
                  <a:lin ang="5400000" scaled="0"/>
                </a:gradFill>
                <a:latin typeface="Segoe UI Light" pitchFamily="34" charset="0"/>
                <a:ea typeface="Segoe UI" pitchFamily="34" charset="0"/>
                <a:cs typeface="Segoe UI Light" pitchFamily="34" charset="0"/>
              </a:rPr>
              <a:t>Extensible Switch</a:t>
            </a:r>
          </a:p>
        </p:txBody>
      </p:sp>
      <p:grpSp>
        <p:nvGrpSpPr>
          <p:cNvPr id="13" name="Group 12"/>
          <p:cNvGrpSpPr/>
          <p:nvPr/>
        </p:nvGrpSpPr>
        <p:grpSpPr>
          <a:xfrm>
            <a:off x="1791073" y="2824298"/>
            <a:ext cx="6362157" cy="1783080"/>
            <a:chOff x="2387474" y="3727995"/>
            <a:chExt cx="8480667" cy="2377440"/>
          </a:xfrm>
        </p:grpSpPr>
        <p:sp>
          <p:nvSpPr>
            <p:cNvPr id="18" name="Rectangle 17"/>
            <p:cNvSpPr/>
            <p:nvPr/>
          </p:nvSpPr>
          <p:spPr bwMode="auto">
            <a:xfrm>
              <a:off x="2387474" y="3727995"/>
              <a:ext cx="8480667" cy="23774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45720" bIns="45720" numCol="1" spcCol="0" rtlCol="0" fromWordArt="0" anchor="t" anchorCtr="0" forceAA="0" compatLnSpc="1">
              <a:prstTxWarp prst="textNoShape">
                <a:avLst/>
              </a:prstTxWarp>
              <a:noAutofit/>
            </a:bodyPr>
            <a:lstStyle/>
            <a:p>
              <a:pPr defTabSz="685637" fontAlgn="base">
                <a:spcBef>
                  <a:spcPct val="0"/>
                </a:spcBef>
                <a:spcAft>
                  <a:spcPct val="0"/>
                </a:spcAft>
              </a:pPr>
              <a:r>
                <a:rPr lang="en-US" sz="24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Extensible by Partners</a:t>
              </a:r>
              <a:r>
                <a:rPr lang="en-US" sz="27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
              </a:r>
              <a:br>
                <a:rPr lang="en-US" sz="27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br>
              <a:r>
                <a:rPr lang="en-US"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Open platform that lets multiple Partners provide extensions that are</a:t>
              </a:r>
              <a:br>
                <a:rPr lang="en-US"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br>
              <a:r>
                <a:rPr lang="en-US"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written to standard Windows API frameworks.  These Partners include:</a:t>
              </a:r>
            </a:p>
            <a:p>
              <a:pPr marL="214332" indent="-214332" defTabSz="685637" fontAlgn="base">
                <a:spcBef>
                  <a:spcPct val="0"/>
                </a:spcBef>
                <a:spcAft>
                  <a:spcPct val="0"/>
                </a:spcAft>
                <a:buFontTx/>
                <a:buChar char="-"/>
              </a:pPr>
              <a:r>
                <a:rPr lang="en-US"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Cisco: Nexus 1000V &amp; UCS Virtual Machine Fabric Extender (VM-FEX)</a:t>
              </a:r>
            </a:p>
            <a:p>
              <a:pPr marL="214332" indent="-214332" defTabSz="685637" fontAlgn="base">
                <a:spcBef>
                  <a:spcPct val="0"/>
                </a:spcBef>
                <a:spcAft>
                  <a:spcPct val="0"/>
                </a:spcAft>
                <a:buFontTx/>
                <a:buChar char="-"/>
              </a:pPr>
              <a:r>
                <a:rPr lang="en-US"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NEC: OpenFlow</a:t>
              </a:r>
            </a:p>
            <a:p>
              <a:pPr marL="214332" indent="-214332" defTabSz="685637" fontAlgn="base">
                <a:spcBef>
                  <a:spcPct val="0"/>
                </a:spcBef>
                <a:spcAft>
                  <a:spcPct val="0"/>
                </a:spcAft>
                <a:buFontTx/>
                <a:buChar char="-"/>
              </a:pPr>
              <a:r>
                <a:rPr lang="en-US"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5nine: Virtual Firewall 3.0</a:t>
              </a:r>
            </a:p>
            <a:p>
              <a:pPr marL="214332" indent="-214332" defTabSz="685637" fontAlgn="base">
                <a:spcBef>
                  <a:spcPct val="0"/>
                </a:spcBef>
                <a:spcAft>
                  <a:spcPct val="0"/>
                </a:spcAft>
                <a:buFontTx/>
                <a:buChar char="-"/>
              </a:pPr>
              <a:r>
                <a:rPr lang="en-US"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InMon: sFlow</a:t>
              </a:r>
            </a:p>
            <a:p>
              <a:pPr defTabSz="685637" fontAlgn="base">
                <a:spcBef>
                  <a:spcPct val="0"/>
                </a:spcBef>
                <a:spcAft>
                  <a:spcPct val="0"/>
                </a:spcAft>
              </a:pPr>
              <a:endParaRPr lang="en-US"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p:txBody>
        </p:sp>
        <p:pic>
          <p:nvPicPr>
            <p:cNvPr id="46" name="Picture 15"/>
            <p:cNvPicPr>
              <a:picLocks noChangeAspect="1" noChangeArrowheads="1"/>
            </p:cNvPicPr>
            <p:nvPr/>
          </p:nvPicPr>
          <p:blipFill>
            <a:blip r:embed="rId2" cstate="email">
              <a:biLevel thresh="25000"/>
              <a:extLst>
                <a:ext uri="{28A0092B-C50C-407E-A947-70E740481C1C}">
                  <a14:useLocalDpi xmlns:a14="http://schemas.microsoft.com/office/drawing/2010/main"/>
                </a:ext>
              </a:extLst>
            </a:blip>
            <a:srcRect/>
            <a:stretch>
              <a:fillRect/>
            </a:stretch>
          </p:blipFill>
          <p:spPr bwMode="auto">
            <a:xfrm>
              <a:off x="9371012" y="4114800"/>
              <a:ext cx="1219200" cy="1587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2" name="Group 11"/>
          <p:cNvGrpSpPr/>
          <p:nvPr/>
        </p:nvGrpSpPr>
        <p:grpSpPr>
          <a:xfrm>
            <a:off x="1791073" y="960663"/>
            <a:ext cx="6362157" cy="1823357"/>
            <a:chOff x="2387474" y="1280882"/>
            <a:chExt cx="8480667" cy="2431143"/>
          </a:xfrm>
        </p:grpSpPr>
        <p:sp>
          <p:nvSpPr>
            <p:cNvPr id="15" name="Rectangle 14"/>
            <p:cNvSpPr/>
            <p:nvPr/>
          </p:nvSpPr>
          <p:spPr bwMode="auto">
            <a:xfrm>
              <a:off x="2387474" y="1280882"/>
              <a:ext cx="8480667" cy="243114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45720" bIns="45720" numCol="1" spcCol="0" rtlCol="0" fromWordArt="0" anchor="t" anchorCtr="0" forceAA="0" compatLnSpc="1">
              <a:prstTxWarp prst="textNoShape">
                <a:avLst/>
              </a:prstTxWarp>
              <a:noAutofit/>
            </a:bodyPr>
            <a:lstStyle/>
            <a:p>
              <a:pPr defTabSz="685637" fontAlgn="base">
                <a:spcBef>
                  <a:spcPct val="0"/>
                </a:spcBef>
                <a:spcAft>
                  <a:spcPct val="0"/>
                </a:spcAft>
              </a:pPr>
              <a:r>
                <a:rPr lang="en-US" sz="24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New Security &amp; Isolation Capabilities</a:t>
              </a:r>
              <a:endParaRPr lang="en-US" sz="27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a:p>
              <a:pPr marL="257198" indent="-257198" defTabSz="685637" fontAlgn="base">
                <a:spcBef>
                  <a:spcPct val="0"/>
                </a:spcBef>
                <a:spcAft>
                  <a:spcPct val="0"/>
                </a:spcAft>
                <a:buFontTx/>
                <a:buChar char="-"/>
              </a:pPr>
              <a:r>
                <a:rPr lang="en-US"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PVLANs</a:t>
              </a:r>
            </a:p>
            <a:p>
              <a:pPr marL="257198" indent="-257198" defTabSz="685637" fontAlgn="base">
                <a:spcBef>
                  <a:spcPct val="0"/>
                </a:spcBef>
                <a:spcAft>
                  <a:spcPct val="0"/>
                </a:spcAft>
                <a:buFontTx/>
                <a:buChar char="-"/>
              </a:pPr>
              <a:r>
                <a:rPr lang="en-US"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ARP/ND Spoofing Protection | DHCP Guard Protection</a:t>
              </a:r>
            </a:p>
            <a:p>
              <a:pPr marL="257198" indent="-257198" defTabSz="685637" fontAlgn="base">
                <a:spcBef>
                  <a:spcPct val="0"/>
                </a:spcBef>
                <a:spcAft>
                  <a:spcPct val="0"/>
                </a:spcAft>
                <a:buFontTx/>
                <a:buChar char="-"/>
              </a:pPr>
              <a:r>
                <a:rPr lang="en-US"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Virtual Port ACLs | Trunk Mode to VMs</a:t>
              </a:r>
            </a:p>
            <a:p>
              <a:pPr marL="257198" indent="-257198" defTabSz="685637" fontAlgn="base">
                <a:spcBef>
                  <a:spcPct val="0"/>
                </a:spcBef>
                <a:spcAft>
                  <a:spcPct val="0"/>
                </a:spcAft>
                <a:buFontTx/>
                <a:buChar char="-"/>
              </a:pPr>
              <a:r>
                <a:rPr lang="en-US"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Monitoring &amp; Port Mirroring</a:t>
              </a:r>
            </a:p>
            <a:p>
              <a:pPr marL="257198" indent="-257198" defTabSz="685637" fontAlgn="base">
                <a:spcBef>
                  <a:spcPct val="0"/>
                </a:spcBef>
                <a:spcAft>
                  <a:spcPct val="0"/>
                </a:spcAft>
                <a:buFontTx/>
                <a:buChar char="-"/>
              </a:pPr>
              <a:r>
                <a:rPr lang="en-US"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Windows PowerShell | WMI Management</a:t>
              </a:r>
            </a:p>
            <a:p>
              <a:pPr marL="257198" indent="-257198" defTabSz="685637" fontAlgn="base">
                <a:spcBef>
                  <a:spcPct val="0"/>
                </a:spcBef>
                <a:spcAft>
                  <a:spcPct val="0"/>
                </a:spcAft>
                <a:buFontTx/>
                <a:buChar char="-"/>
              </a:pPr>
              <a:r>
                <a:rPr lang="en-US"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Performance Enhancements: </a:t>
              </a:r>
              <a:r>
                <a:rPr lang="en-US" spc="-38" dirty="0" err="1">
                  <a:gradFill>
                    <a:gsLst>
                      <a:gs pos="0">
                        <a:srgbClr val="FFFFFF"/>
                      </a:gs>
                      <a:gs pos="100000">
                        <a:srgbClr val="FFFFFF"/>
                      </a:gs>
                    </a:gsLst>
                    <a:lin ang="5400000" scaled="0"/>
                  </a:gradFill>
                  <a:latin typeface="Segoe UI Light" pitchFamily="34" charset="0"/>
                  <a:ea typeface="Segoe UI" pitchFamily="34" charset="0"/>
                  <a:cs typeface="Segoe UI" pitchFamily="34" charset="0"/>
                </a:rPr>
                <a:t>DVMDq</a:t>
              </a:r>
              <a:r>
                <a:rPr lang="en-US"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 | IPsec Task Offload | SR-IOV</a:t>
              </a:r>
            </a:p>
          </p:txBody>
        </p:sp>
        <p:pic>
          <p:nvPicPr>
            <p:cNvPr id="47" name="Picture 6"/>
            <p:cNvPicPr>
              <a:picLocks noChangeAspect="1" noChangeArrowheads="1"/>
            </p:cNvPicPr>
            <p:nvPr/>
          </p:nvPicPr>
          <p:blipFill>
            <a:blip r:embed="rId3" cstate="email">
              <a:biLevel thresh="50000"/>
              <a:extLst>
                <a:ext uri="{28A0092B-C50C-407E-A947-70E740481C1C}">
                  <a14:useLocalDpi xmlns:a14="http://schemas.microsoft.com/office/drawing/2010/main"/>
                </a:ext>
              </a:extLst>
            </a:blip>
            <a:srcRect/>
            <a:stretch>
              <a:fillRect/>
            </a:stretch>
          </p:blipFill>
          <p:spPr bwMode="auto">
            <a:xfrm>
              <a:off x="9371012" y="1742535"/>
              <a:ext cx="1219200" cy="1576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0"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1"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4"/>
              </a:rPr>
              <a:t>www.rapidbbs.cn</a:t>
            </a:r>
            <a:endParaRPr lang="zh-CN" altLang="en-US" sz="1200" b="0">
              <a:latin typeface="Arial" charset="0"/>
              <a:ea typeface="ＭＳ Ｐゴシック" pitchFamily="34" charset="-128"/>
            </a:endParaRPr>
          </a:p>
        </p:txBody>
      </p:sp>
      <p:pic>
        <p:nvPicPr>
          <p:cNvPr id="14" name="Picture 2">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18164409"/>
      </p:ext>
    </p:extLst>
  </p:cSld>
  <p:clrMapOvr>
    <a:masterClrMapping/>
  </p:clrMapOvr>
  <p:transition spd="slow">
    <p:push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22" presetClass="entr" presetSubtype="8" fill="hold" nodeType="after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wipe(left)">
                                      <p:cBhvr>
                                        <p:cTn id="13" dur="500"/>
                                        <p:tgtEl>
                                          <p:spTgt spid="12"/>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8" fill="hold" nodeType="clickEffect">
                                  <p:stCondLst>
                                    <p:cond delay="0"/>
                                  </p:stCondLst>
                                  <p:childTnLst>
                                    <p:set>
                                      <p:cBhvr>
                                        <p:cTn id="17" dur="1" fill="hold">
                                          <p:stCondLst>
                                            <p:cond delay="0"/>
                                          </p:stCondLst>
                                        </p:cTn>
                                        <p:tgtEl>
                                          <p:spTgt spid="13"/>
                                        </p:tgtEl>
                                        <p:attrNameLst>
                                          <p:attrName>style.visibility</p:attrName>
                                        </p:attrNameLst>
                                      </p:cBhvr>
                                      <p:to>
                                        <p:strVal val="visible"/>
                                      </p:to>
                                    </p:set>
                                    <p:animEffect transition="in" filter="wipe(left)">
                                      <p:cBhvr>
                                        <p:cTn id="18"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yper-V | Physical Security</a:t>
            </a:r>
            <a:endParaRPr lang="en-US" dirty="0"/>
          </a:p>
        </p:txBody>
      </p:sp>
      <p:sp>
        <p:nvSpPr>
          <p:cNvPr id="4" name="Rectangle 3"/>
          <p:cNvSpPr/>
          <p:nvPr/>
        </p:nvSpPr>
        <p:spPr bwMode="auto">
          <a:xfrm rot="16200000">
            <a:off x="-579056" y="2281671"/>
            <a:ext cx="3646716" cy="100469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5758" tIns="34294" rIns="34294" bIns="34294" numCol="1" spcCol="0" rtlCol="0" fromWordArt="0" anchor="ctr" anchorCtr="0" forceAA="0" compatLnSpc="1">
            <a:prstTxWarp prst="textNoShape">
              <a:avLst/>
            </a:prstTxWarp>
            <a:noAutofit/>
          </a:bodyPr>
          <a:lstStyle/>
          <a:p>
            <a:pPr defTabSz="685637" fontAlgn="base">
              <a:spcBef>
                <a:spcPct val="0"/>
              </a:spcBef>
              <a:spcAft>
                <a:spcPct val="0"/>
              </a:spcAft>
            </a:pPr>
            <a:r>
              <a:rPr lang="en-US" sz="3500" spc="-38" dirty="0">
                <a:gradFill>
                  <a:gsLst>
                    <a:gs pos="0">
                      <a:srgbClr val="FFFFFF"/>
                    </a:gs>
                    <a:gs pos="100000">
                      <a:srgbClr val="FFFFFF"/>
                    </a:gs>
                  </a:gsLst>
                  <a:lin ang="5400000" scaled="0"/>
                </a:gradFill>
                <a:latin typeface="Segoe UI Light" pitchFamily="34" charset="0"/>
                <a:ea typeface="Segoe UI" pitchFamily="34" charset="0"/>
                <a:cs typeface="Segoe UI Light" pitchFamily="34" charset="0"/>
              </a:rPr>
              <a:t>Physical Security</a:t>
            </a:r>
          </a:p>
        </p:txBody>
      </p:sp>
      <p:grpSp>
        <p:nvGrpSpPr>
          <p:cNvPr id="7" name="Group 6"/>
          <p:cNvGrpSpPr/>
          <p:nvPr/>
        </p:nvGrpSpPr>
        <p:grpSpPr>
          <a:xfrm>
            <a:off x="1791073" y="960662"/>
            <a:ext cx="6362157" cy="2239739"/>
            <a:chOff x="2387474" y="1280882"/>
            <a:chExt cx="8480667" cy="2986318"/>
          </a:xfrm>
        </p:grpSpPr>
        <p:sp>
          <p:nvSpPr>
            <p:cNvPr id="5" name="Rectangle 4"/>
            <p:cNvSpPr/>
            <p:nvPr/>
          </p:nvSpPr>
          <p:spPr bwMode="auto">
            <a:xfrm>
              <a:off x="2387474" y="1280882"/>
              <a:ext cx="8480667" cy="298631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45720" bIns="45720" numCol="1" spcCol="0" rtlCol="0" fromWordArt="0" anchor="t" anchorCtr="0" forceAA="0" compatLnSpc="1">
              <a:prstTxWarp prst="textNoShape">
                <a:avLst/>
              </a:prstTxWarp>
              <a:noAutofit/>
            </a:bodyPr>
            <a:lstStyle/>
            <a:p>
              <a:pPr defTabSz="685637" fontAlgn="base">
                <a:spcBef>
                  <a:spcPct val="0"/>
                </a:spcBef>
                <a:spcAft>
                  <a:spcPct val="0"/>
                </a:spcAft>
              </a:pPr>
              <a:r>
                <a:rPr lang="en-US" sz="27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BitLocker Drive Encryption</a:t>
              </a:r>
              <a:endParaRPr lang="en-US" sz="30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a:p>
              <a:pPr defTabSz="685637" fontAlgn="base">
                <a:spcBef>
                  <a:spcPct val="0"/>
                </a:spcBef>
                <a:spcAft>
                  <a:spcPct val="0"/>
                </a:spcAft>
              </a:pPr>
              <a:r>
                <a:rPr lang="en-US" sz="15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Provides a solution for securing data within deployments</a:t>
              </a:r>
              <a:br>
                <a:rPr lang="en-US" sz="15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br>
              <a:r>
                <a:rPr lang="en-US" sz="15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outside of the datacenter.  BitLocker in Windows Server 2012</a:t>
              </a:r>
              <a:br>
                <a:rPr lang="en-US" sz="15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br>
              <a:r>
                <a:rPr lang="en-US" sz="15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enables the IT administrator to:</a:t>
              </a:r>
            </a:p>
            <a:p>
              <a:pPr marL="257198" indent="-257198" defTabSz="685637" fontAlgn="base">
                <a:spcBef>
                  <a:spcPct val="0"/>
                </a:spcBef>
                <a:spcAft>
                  <a:spcPct val="0"/>
                </a:spcAft>
                <a:buFontTx/>
                <a:buChar char="-"/>
              </a:pPr>
              <a:r>
                <a:rPr lang="en-US" sz="15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Encrypt local disk storage (DAS)</a:t>
              </a:r>
            </a:p>
            <a:p>
              <a:pPr marL="257198" indent="-257198" defTabSz="685637" fontAlgn="base">
                <a:spcBef>
                  <a:spcPct val="0"/>
                </a:spcBef>
                <a:spcAft>
                  <a:spcPct val="0"/>
                </a:spcAft>
                <a:buFontTx/>
                <a:buChar char="-"/>
              </a:pPr>
              <a:r>
                <a:rPr lang="en-US" sz="15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Encrypt traditional failover cluster disks</a:t>
              </a:r>
            </a:p>
            <a:p>
              <a:pPr marL="257198" indent="-257198" defTabSz="685637" fontAlgn="base">
                <a:spcBef>
                  <a:spcPct val="0"/>
                </a:spcBef>
                <a:spcAft>
                  <a:spcPct val="0"/>
                </a:spcAft>
                <a:buFontTx/>
                <a:buChar char="-"/>
              </a:pPr>
              <a:r>
                <a:rPr lang="en-US" sz="15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Encrypt Cluster Shared Volumes 2.0</a:t>
              </a:r>
            </a:p>
            <a:p>
              <a:pPr defTabSz="685637" fontAlgn="base">
                <a:spcBef>
                  <a:spcPct val="0"/>
                </a:spcBef>
                <a:spcAft>
                  <a:spcPct val="0"/>
                </a:spcAft>
              </a:pPr>
              <a:r>
                <a:rPr lang="en-US" sz="15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BitLocker offers a solution to meeting compliance demands.</a:t>
              </a:r>
            </a:p>
          </p:txBody>
        </p:sp>
        <p:pic>
          <p:nvPicPr>
            <p:cNvPr id="6" name="Picture 4"/>
            <p:cNvPicPr>
              <a:picLocks noChangeAspect="1" noChangeArrowheads="1"/>
            </p:cNvPicPr>
            <p:nvPr/>
          </p:nvPicPr>
          <p:blipFill>
            <a:blip r:embed="rId2" cstate="email">
              <a:biLevel thresh="50000"/>
              <a:extLst>
                <a:ext uri="{28A0092B-C50C-407E-A947-70E740481C1C}">
                  <a14:useLocalDpi xmlns:a14="http://schemas.microsoft.com/office/drawing/2010/main"/>
                </a:ext>
              </a:extLst>
            </a:blip>
            <a:srcRect/>
            <a:stretch>
              <a:fillRect/>
            </a:stretch>
          </p:blipFill>
          <p:spPr bwMode="auto">
            <a:xfrm>
              <a:off x="9130927" y="1849662"/>
              <a:ext cx="1352878" cy="18487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8"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9"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pic>
        <p:nvPicPr>
          <p:cNvPr id="10"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28796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yper-V | Virtual Machine Migration</a:t>
            </a:r>
            <a:endParaRPr lang="en-US" dirty="0"/>
          </a:p>
        </p:txBody>
      </p:sp>
      <p:sp>
        <p:nvSpPr>
          <p:cNvPr id="4" name="Rectangle 3"/>
          <p:cNvSpPr/>
          <p:nvPr/>
        </p:nvSpPr>
        <p:spPr bwMode="auto">
          <a:xfrm rot="16200000">
            <a:off x="-394207" y="2235407"/>
            <a:ext cx="3439889" cy="100469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5758" tIns="34294" rIns="34294" bIns="34294" numCol="1" spcCol="0" rtlCol="0" fromWordArt="0" anchor="ctr" anchorCtr="0" forceAA="0" compatLnSpc="1">
            <a:prstTxWarp prst="textNoShape">
              <a:avLst/>
            </a:prstTxWarp>
            <a:noAutofit/>
          </a:bodyPr>
          <a:lstStyle/>
          <a:p>
            <a:pPr defTabSz="685637" fontAlgn="base">
              <a:spcBef>
                <a:spcPct val="0"/>
              </a:spcBef>
              <a:spcAft>
                <a:spcPct val="0"/>
              </a:spcAft>
            </a:pPr>
            <a:r>
              <a:rPr lang="en-US" sz="3600" spc="-38" dirty="0">
                <a:gradFill>
                  <a:gsLst>
                    <a:gs pos="0">
                      <a:srgbClr val="FFFFFF"/>
                    </a:gs>
                    <a:gs pos="100000">
                      <a:srgbClr val="FFFFFF"/>
                    </a:gs>
                  </a:gsLst>
                  <a:lin ang="5400000" scaled="0"/>
                </a:gradFill>
                <a:latin typeface="Segoe UI Light"/>
                <a:ea typeface="Segoe UI" pitchFamily="34" charset="0"/>
                <a:cs typeface="Segoe UI" pitchFamily="34" charset="0"/>
              </a:rPr>
              <a:t>Migration</a:t>
            </a:r>
            <a:endParaRPr lang="en-US" sz="2000" spc="-38"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nvGrpSpPr>
          <p:cNvPr id="5" name="Group 4"/>
          <p:cNvGrpSpPr/>
          <p:nvPr/>
        </p:nvGrpSpPr>
        <p:grpSpPr>
          <a:xfrm>
            <a:off x="1858698" y="2171701"/>
            <a:ext cx="6362157" cy="1132115"/>
            <a:chOff x="2477617" y="1132117"/>
            <a:chExt cx="8480667" cy="1509486"/>
          </a:xfrm>
        </p:grpSpPr>
        <p:sp>
          <p:nvSpPr>
            <p:cNvPr id="6" name="Rectangle 5"/>
            <p:cNvSpPr/>
            <p:nvPr/>
          </p:nvSpPr>
          <p:spPr bwMode="auto">
            <a:xfrm>
              <a:off x="2477617" y="1132117"/>
              <a:ext cx="8480667" cy="150948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45720" bIns="45720" numCol="1" spcCol="0" rtlCol="0" fromWordArt="0" anchor="ctr" anchorCtr="0" forceAA="0" compatLnSpc="1">
              <a:prstTxWarp prst="textNoShape">
                <a:avLst/>
              </a:prstTxWarp>
              <a:noAutofit/>
            </a:bodyPr>
            <a:lstStyle/>
            <a:p>
              <a:pPr defTabSz="685637" fontAlgn="base">
                <a:spcBef>
                  <a:spcPct val="0"/>
                </a:spcBef>
                <a:spcAft>
                  <a:spcPct val="0"/>
                </a:spcAft>
              </a:pPr>
              <a:r>
                <a:rPr lang="en-US" sz="27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Live Storage Migration</a:t>
              </a:r>
              <a:r>
                <a:rPr lang="en-US" sz="30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
              </a:r>
              <a:br>
                <a:rPr lang="en-US" sz="30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br>
              <a:r>
                <a:rPr lang="en-US" sz="15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Move the virtual hard disks of running virtual machines to</a:t>
              </a:r>
              <a:br>
                <a:rPr lang="en-US" sz="15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br>
              <a:r>
                <a:rPr lang="en-US" sz="15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a different storage location with no downtime</a:t>
              </a:r>
            </a:p>
          </p:txBody>
        </p:sp>
        <p:grpSp>
          <p:nvGrpSpPr>
            <p:cNvPr id="7" name="Group 6"/>
            <p:cNvGrpSpPr/>
            <p:nvPr/>
          </p:nvGrpSpPr>
          <p:grpSpPr>
            <a:xfrm>
              <a:off x="9233136" y="1584110"/>
              <a:ext cx="1423988" cy="639762"/>
              <a:chOff x="4429125" y="2127251"/>
              <a:chExt cx="1423988" cy="639762"/>
            </a:xfrm>
            <a:solidFill>
              <a:schemeClr val="tx1"/>
            </a:solidFill>
          </p:grpSpPr>
          <p:sp>
            <p:nvSpPr>
              <p:cNvPr id="8" name="Freeform 511"/>
              <p:cNvSpPr>
                <a:spLocks/>
              </p:cNvSpPr>
              <p:nvPr/>
            </p:nvSpPr>
            <p:spPr bwMode="auto">
              <a:xfrm>
                <a:off x="5238750" y="2741613"/>
                <a:ext cx="1588" cy="1587"/>
              </a:xfrm>
              <a:custGeom>
                <a:avLst/>
                <a:gdLst>
                  <a:gd name="T0" fmla="*/ 1 w 2"/>
                  <a:gd name="T1" fmla="*/ 1 h 1"/>
                  <a:gd name="T2" fmla="*/ 2 w 2"/>
                  <a:gd name="T3" fmla="*/ 0 h 1"/>
                  <a:gd name="T4" fmla="*/ 0 w 2"/>
                  <a:gd name="T5" fmla="*/ 0 h 1"/>
                  <a:gd name="T6" fmla="*/ 1 w 2"/>
                  <a:gd name="T7" fmla="*/ 1 h 1"/>
                </a:gdLst>
                <a:ahLst/>
                <a:cxnLst>
                  <a:cxn ang="0">
                    <a:pos x="T0" y="T1"/>
                  </a:cxn>
                  <a:cxn ang="0">
                    <a:pos x="T2" y="T3"/>
                  </a:cxn>
                  <a:cxn ang="0">
                    <a:pos x="T4" y="T5"/>
                  </a:cxn>
                  <a:cxn ang="0">
                    <a:pos x="T6" y="T7"/>
                  </a:cxn>
                </a:cxnLst>
                <a:rect l="0" t="0" r="r" b="b"/>
                <a:pathLst>
                  <a:path w="2" h="1">
                    <a:moveTo>
                      <a:pt x="1" y="1"/>
                    </a:moveTo>
                    <a:cubicBezTo>
                      <a:pt x="1" y="1"/>
                      <a:pt x="1" y="1"/>
                      <a:pt x="2" y="0"/>
                    </a:cubicBezTo>
                    <a:cubicBezTo>
                      <a:pt x="1" y="0"/>
                      <a:pt x="0" y="0"/>
                      <a:pt x="0" y="0"/>
                    </a:cubicBezTo>
                    <a:lnTo>
                      <a:pt x="1"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512"/>
              <p:cNvSpPr>
                <a:spLocks noEditPoints="1"/>
              </p:cNvSpPr>
              <p:nvPr/>
            </p:nvSpPr>
            <p:spPr bwMode="auto">
              <a:xfrm>
                <a:off x="4429125" y="2127251"/>
                <a:ext cx="1423988" cy="639762"/>
              </a:xfrm>
              <a:custGeom>
                <a:avLst/>
                <a:gdLst>
                  <a:gd name="T0" fmla="*/ 1155 w 1179"/>
                  <a:gd name="T1" fmla="*/ 87 h 530"/>
                  <a:gd name="T2" fmla="*/ 578 w 1179"/>
                  <a:gd name="T3" fmla="*/ 0 h 530"/>
                  <a:gd name="T4" fmla="*/ 44 w 1179"/>
                  <a:gd name="T5" fmla="*/ 178 h 530"/>
                  <a:gd name="T6" fmla="*/ 53 w 1179"/>
                  <a:gd name="T7" fmla="*/ 378 h 530"/>
                  <a:gd name="T8" fmla="*/ 337 w 1179"/>
                  <a:gd name="T9" fmla="*/ 462 h 530"/>
                  <a:gd name="T10" fmla="*/ 683 w 1179"/>
                  <a:gd name="T11" fmla="*/ 530 h 530"/>
                  <a:gd name="T12" fmla="*/ 1155 w 1179"/>
                  <a:gd name="T13" fmla="*/ 224 h 530"/>
                  <a:gd name="T14" fmla="*/ 1155 w 1179"/>
                  <a:gd name="T15" fmla="*/ 87 h 530"/>
                  <a:gd name="T16" fmla="*/ 672 w 1179"/>
                  <a:gd name="T17" fmla="*/ 509 h 530"/>
                  <a:gd name="T18" fmla="*/ 670 w 1179"/>
                  <a:gd name="T19" fmla="*/ 509 h 530"/>
                  <a:gd name="T20" fmla="*/ 342 w 1179"/>
                  <a:gd name="T21" fmla="*/ 444 h 530"/>
                  <a:gd name="T22" fmla="*/ 66 w 1179"/>
                  <a:gd name="T23" fmla="*/ 362 h 530"/>
                  <a:gd name="T24" fmla="*/ 59 w 1179"/>
                  <a:gd name="T25" fmla="*/ 194 h 530"/>
                  <a:gd name="T26" fmla="*/ 671 w 1179"/>
                  <a:gd name="T27" fmla="*/ 291 h 530"/>
                  <a:gd name="T28" fmla="*/ 672 w 1179"/>
                  <a:gd name="T29" fmla="*/ 509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79" h="530">
                    <a:moveTo>
                      <a:pt x="1155" y="87"/>
                    </a:moveTo>
                    <a:cubicBezTo>
                      <a:pt x="890" y="5"/>
                      <a:pt x="578" y="0"/>
                      <a:pt x="578" y="0"/>
                    </a:cubicBezTo>
                    <a:cubicBezTo>
                      <a:pt x="44" y="178"/>
                      <a:pt x="44" y="178"/>
                      <a:pt x="44" y="178"/>
                    </a:cubicBezTo>
                    <a:cubicBezTo>
                      <a:pt x="0" y="301"/>
                      <a:pt x="53" y="378"/>
                      <a:pt x="53" y="378"/>
                    </a:cubicBezTo>
                    <a:cubicBezTo>
                      <a:pt x="53" y="378"/>
                      <a:pt x="118" y="402"/>
                      <a:pt x="337" y="462"/>
                    </a:cubicBezTo>
                    <a:cubicBezTo>
                      <a:pt x="556" y="522"/>
                      <a:pt x="683" y="530"/>
                      <a:pt x="683" y="530"/>
                    </a:cubicBezTo>
                    <a:cubicBezTo>
                      <a:pt x="1155" y="224"/>
                      <a:pt x="1155" y="224"/>
                      <a:pt x="1155" y="224"/>
                    </a:cubicBezTo>
                    <a:cubicBezTo>
                      <a:pt x="1179" y="159"/>
                      <a:pt x="1155" y="87"/>
                      <a:pt x="1155" y="87"/>
                    </a:cubicBezTo>
                    <a:close/>
                    <a:moveTo>
                      <a:pt x="672" y="509"/>
                    </a:moveTo>
                    <a:cubicBezTo>
                      <a:pt x="671" y="509"/>
                      <a:pt x="670" y="509"/>
                      <a:pt x="670" y="509"/>
                    </a:cubicBezTo>
                    <a:cubicBezTo>
                      <a:pt x="631" y="505"/>
                      <a:pt x="515" y="491"/>
                      <a:pt x="342" y="444"/>
                    </a:cubicBezTo>
                    <a:cubicBezTo>
                      <a:pt x="163" y="395"/>
                      <a:pt x="87" y="369"/>
                      <a:pt x="66" y="362"/>
                    </a:cubicBezTo>
                    <a:cubicBezTo>
                      <a:pt x="57" y="345"/>
                      <a:pt x="30" y="284"/>
                      <a:pt x="59" y="194"/>
                    </a:cubicBezTo>
                    <a:cubicBezTo>
                      <a:pt x="671" y="291"/>
                      <a:pt x="671" y="291"/>
                      <a:pt x="671" y="291"/>
                    </a:cubicBezTo>
                    <a:cubicBezTo>
                      <a:pt x="671" y="291"/>
                      <a:pt x="712" y="379"/>
                      <a:pt x="672" y="5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513"/>
              <p:cNvSpPr>
                <a:spLocks/>
              </p:cNvSpPr>
              <p:nvPr/>
            </p:nvSpPr>
            <p:spPr bwMode="auto">
              <a:xfrm>
                <a:off x="4530725" y="2452688"/>
                <a:ext cx="638175" cy="180975"/>
              </a:xfrm>
              <a:custGeom>
                <a:avLst/>
                <a:gdLst>
                  <a:gd name="T0" fmla="*/ 402 w 402"/>
                  <a:gd name="T1" fmla="*/ 114 h 114"/>
                  <a:gd name="T2" fmla="*/ 0 w 402"/>
                  <a:gd name="T3" fmla="*/ 31 h 114"/>
                  <a:gd name="T4" fmla="*/ 0 w 402"/>
                  <a:gd name="T5" fmla="*/ 0 h 114"/>
                  <a:gd name="T6" fmla="*/ 402 w 402"/>
                  <a:gd name="T7" fmla="*/ 75 h 114"/>
                  <a:gd name="T8" fmla="*/ 402 w 402"/>
                  <a:gd name="T9" fmla="*/ 114 h 114"/>
                </a:gdLst>
                <a:ahLst/>
                <a:cxnLst>
                  <a:cxn ang="0">
                    <a:pos x="T0" y="T1"/>
                  </a:cxn>
                  <a:cxn ang="0">
                    <a:pos x="T2" y="T3"/>
                  </a:cxn>
                  <a:cxn ang="0">
                    <a:pos x="T4" y="T5"/>
                  </a:cxn>
                  <a:cxn ang="0">
                    <a:pos x="T6" y="T7"/>
                  </a:cxn>
                  <a:cxn ang="0">
                    <a:pos x="T8" y="T9"/>
                  </a:cxn>
                </a:cxnLst>
                <a:rect l="0" t="0" r="r" b="b"/>
                <a:pathLst>
                  <a:path w="402" h="114">
                    <a:moveTo>
                      <a:pt x="402" y="114"/>
                    </a:moveTo>
                    <a:lnTo>
                      <a:pt x="0" y="31"/>
                    </a:lnTo>
                    <a:lnTo>
                      <a:pt x="0" y="0"/>
                    </a:lnTo>
                    <a:lnTo>
                      <a:pt x="402" y="75"/>
                    </a:lnTo>
                    <a:lnTo>
                      <a:pt x="402"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1" name="Group 10"/>
          <p:cNvGrpSpPr/>
          <p:nvPr/>
        </p:nvGrpSpPr>
        <p:grpSpPr>
          <a:xfrm>
            <a:off x="1858698" y="3325586"/>
            <a:ext cx="6362157" cy="1132115"/>
            <a:chOff x="2477617" y="2746832"/>
            <a:chExt cx="8480667" cy="1509486"/>
          </a:xfrm>
        </p:grpSpPr>
        <p:sp>
          <p:nvSpPr>
            <p:cNvPr id="12" name="Rectangle 11"/>
            <p:cNvSpPr/>
            <p:nvPr/>
          </p:nvSpPr>
          <p:spPr bwMode="auto">
            <a:xfrm>
              <a:off x="2477617" y="2746832"/>
              <a:ext cx="8480667" cy="150948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45720" rIns="45720" bIns="45720" numCol="1" spcCol="0" rtlCol="0" fromWordArt="0" anchor="ctr" anchorCtr="0" forceAA="0" compatLnSpc="1">
              <a:prstTxWarp prst="textNoShape">
                <a:avLst/>
              </a:prstTxWarp>
              <a:noAutofit/>
            </a:bodyPr>
            <a:lstStyle/>
            <a:p>
              <a:pPr defTabSz="685637" fontAlgn="base">
                <a:spcBef>
                  <a:spcPct val="0"/>
                </a:spcBef>
                <a:spcAft>
                  <a:spcPct val="0"/>
                </a:spcAft>
              </a:pPr>
              <a:r>
                <a:rPr lang="en-US" sz="27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Shared Nothing Live Migration</a:t>
              </a:r>
              <a:r>
                <a:rPr lang="en-US" sz="30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
              </a:r>
              <a:br>
                <a:rPr lang="en-US" sz="30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br>
              <a:r>
                <a:rPr lang="en-US" sz="15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Move Virtual Machines between Hyper-V hosts with</a:t>
              </a:r>
              <a:br>
                <a:rPr lang="en-US" sz="15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br>
              <a:r>
                <a:rPr lang="en-US" sz="15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nothing but a network cable</a:t>
              </a:r>
            </a:p>
          </p:txBody>
        </p:sp>
        <p:pic>
          <p:nvPicPr>
            <p:cNvPr id="13" name="Picture 11"/>
            <p:cNvPicPr>
              <a:picLocks noChangeAspect="1" noChangeArrowheads="1"/>
            </p:cNvPicPr>
            <p:nvPr/>
          </p:nvPicPr>
          <p:blipFill>
            <a:blip r:embed="rId2" cstate="email">
              <a:biLevel thresh="50000"/>
              <a:extLst>
                <a:ext uri="{28A0092B-C50C-407E-A947-70E740481C1C}">
                  <a14:useLocalDpi xmlns:a14="http://schemas.microsoft.com/office/drawing/2010/main"/>
                </a:ext>
              </a:extLst>
            </a:blip>
            <a:srcRect/>
            <a:stretch>
              <a:fillRect/>
            </a:stretch>
          </p:blipFill>
          <p:spPr bwMode="auto">
            <a:xfrm>
              <a:off x="9300605" y="3191705"/>
              <a:ext cx="1289049" cy="743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4" name="Group 23"/>
          <p:cNvGrpSpPr/>
          <p:nvPr/>
        </p:nvGrpSpPr>
        <p:grpSpPr>
          <a:xfrm>
            <a:off x="1858697" y="1017812"/>
            <a:ext cx="6362157" cy="1132115"/>
            <a:chOff x="2477616" y="1357081"/>
            <a:chExt cx="8480667" cy="1509486"/>
          </a:xfrm>
        </p:grpSpPr>
        <p:sp>
          <p:nvSpPr>
            <p:cNvPr id="18" name="Rectangle 17"/>
            <p:cNvSpPr/>
            <p:nvPr/>
          </p:nvSpPr>
          <p:spPr bwMode="auto">
            <a:xfrm>
              <a:off x="2477616" y="1357081"/>
              <a:ext cx="8480667" cy="150948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45720" bIns="45720" numCol="1" spcCol="0" rtlCol="0" fromWordArt="0" anchor="ctr" anchorCtr="0" forceAA="0" compatLnSpc="1">
              <a:prstTxWarp prst="textNoShape">
                <a:avLst/>
              </a:prstTxWarp>
              <a:noAutofit/>
            </a:bodyPr>
            <a:lstStyle/>
            <a:p>
              <a:pPr defTabSz="685637" fontAlgn="base">
                <a:spcBef>
                  <a:spcPct val="0"/>
                </a:spcBef>
                <a:spcAft>
                  <a:spcPct val="0"/>
                </a:spcAft>
              </a:pPr>
              <a:r>
                <a:rPr lang="en-US" sz="27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Live Migration</a:t>
              </a:r>
              <a:r>
                <a:rPr lang="en-US" sz="30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
              </a:r>
              <a:br>
                <a:rPr lang="en-US" sz="30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br>
              <a:r>
                <a:rPr lang="en-US" sz="15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Faster, unrestricted, simultaneous VM live migrations</a:t>
              </a:r>
              <a:br>
                <a:rPr lang="en-US" sz="15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br>
              <a:r>
                <a:rPr lang="en-US" sz="15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between cluster nodes with no downtime</a:t>
              </a:r>
            </a:p>
          </p:txBody>
        </p:sp>
        <p:pic>
          <p:nvPicPr>
            <p:cNvPr id="23" name="Picture 2"/>
            <p:cNvPicPr>
              <a:picLocks noChangeAspect="1" noChangeArrowheads="1"/>
            </p:cNvPicPr>
            <p:nvPr/>
          </p:nvPicPr>
          <p:blipFill>
            <a:blip r:embed="rId3" cstate="email">
              <a:biLevel thresh="50000"/>
              <a:extLst>
                <a:ext uri="{28A0092B-C50C-407E-A947-70E740481C1C}">
                  <a14:useLocalDpi xmlns:a14="http://schemas.microsoft.com/office/drawing/2010/main"/>
                </a:ext>
              </a:extLst>
            </a:blip>
            <a:srcRect/>
            <a:stretch>
              <a:fillRect/>
            </a:stretch>
          </p:blipFill>
          <p:spPr bwMode="auto">
            <a:xfrm>
              <a:off x="9218612" y="1676400"/>
              <a:ext cx="1407876" cy="8778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6"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7"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4"/>
              </a:rPr>
              <a:t>www.rapidbbs.cn</a:t>
            </a:r>
            <a:endParaRPr lang="zh-CN" altLang="en-US" sz="1200" b="0">
              <a:latin typeface="Arial" charset="0"/>
              <a:ea typeface="ＭＳ Ｐゴシック" pitchFamily="34" charset="-128"/>
            </a:endParaRPr>
          </a:p>
        </p:txBody>
      </p:sp>
      <p:pic>
        <p:nvPicPr>
          <p:cNvPr id="19" name="Picture 2">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2434624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22" presetClass="entr" presetSubtype="8" fill="hold" nodeType="afterEffect">
                                  <p:stCondLst>
                                    <p:cond delay="0"/>
                                  </p:stCondLst>
                                  <p:childTnLst>
                                    <p:set>
                                      <p:cBhvr>
                                        <p:cTn id="12" dur="1" fill="hold">
                                          <p:stCondLst>
                                            <p:cond delay="0"/>
                                          </p:stCondLst>
                                        </p:cTn>
                                        <p:tgtEl>
                                          <p:spTgt spid="24"/>
                                        </p:tgtEl>
                                        <p:attrNameLst>
                                          <p:attrName>style.visibility</p:attrName>
                                        </p:attrNameLst>
                                      </p:cBhvr>
                                      <p:to>
                                        <p:strVal val="visible"/>
                                      </p:to>
                                    </p:set>
                                    <p:animEffect transition="in" filter="wipe(left)">
                                      <p:cBhvr>
                                        <p:cTn id="13" dur="500"/>
                                        <p:tgtEl>
                                          <p:spTgt spid="24"/>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8" fill="hold" nodeType="click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wipe(left)">
                                      <p:cBhvr>
                                        <p:cTn id="18" dur="500"/>
                                        <p:tgtEl>
                                          <p:spTgt spid="5"/>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nodeType="click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wipe(left)">
                                      <p:cBhvr>
                                        <p:cTn id="23"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nvSpPr>
        <p:spPr>
          <a:xfrm>
            <a:off x="388136" y="1433903"/>
            <a:ext cx="8755864" cy="276999"/>
          </a:xfrm>
          <a:prstGeom prst="rect">
            <a:avLst/>
          </a:prstGeom>
          <a:solidFill>
            <a:schemeClr val="accent1"/>
          </a:solidFill>
        </p:spPr>
        <p:txBody>
          <a:bodyPr wrap="square" lIns="68571" tIns="34286" rIns="68571" bIns="34286" anchor="b">
            <a:spAutoFit/>
          </a:bodyPr>
          <a:lstStyle/>
          <a:p>
            <a:pPr>
              <a:lnSpc>
                <a:spcPct val="90000"/>
              </a:lnSpc>
              <a:spcBef>
                <a:spcPct val="20000"/>
              </a:spcBef>
              <a:buSzPct val="105000"/>
            </a:pPr>
            <a:r>
              <a:rPr lang="en-US" sz="1500" dirty="0">
                <a:gradFill>
                  <a:gsLst>
                    <a:gs pos="0">
                      <a:schemeClr val="tx1"/>
                    </a:gs>
                    <a:gs pos="86000">
                      <a:schemeClr val="tx1"/>
                    </a:gs>
                  </a:gsLst>
                  <a:lin ang="5400000" scaled="0"/>
                </a:gradFill>
              </a:rPr>
              <a:t>User initiated geo-replication</a:t>
            </a:r>
          </a:p>
        </p:txBody>
      </p:sp>
      <p:sp>
        <p:nvSpPr>
          <p:cNvPr id="34" name="Rectangle 33"/>
          <p:cNvSpPr/>
          <p:nvPr/>
        </p:nvSpPr>
        <p:spPr>
          <a:xfrm>
            <a:off x="388136" y="1907138"/>
            <a:ext cx="8755863" cy="276999"/>
          </a:xfrm>
          <a:prstGeom prst="rect">
            <a:avLst/>
          </a:prstGeom>
          <a:solidFill>
            <a:schemeClr val="accent4"/>
          </a:solidFill>
        </p:spPr>
        <p:txBody>
          <a:bodyPr wrap="square" lIns="68571" tIns="34286" rIns="68571" bIns="34286" anchor="b">
            <a:spAutoFit/>
          </a:bodyPr>
          <a:lstStyle/>
          <a:p>
            <a:pPr>
              <a:lnSpc>
                <a:spcPct val="90000"/>
              </a:lnSpc>
              <a:spcBef>
                <a:spcPct val="20000"/>
              </a:spcBef>
              <a:buSzPct val="105000"/>
            </a:pPr>
            <a:r>
              <a:rPr lang="en-US" sz="1500" dirty="0">
                <a:gradFill>
                  <a:gsLst>
                    <a:gs pos="0">
                      <a:schemeClr val="tx1"/>
                    </a:gs>
                    <a:gs pos="86000">
                      <a:schemeClr val="tx1"/>
                    </a:gs>
                  </a:gsLst>
                  <a:lin ang="5400000" scaled="0"/>
                </a:gradFill>
              </a:rPr>
              <a:t>Automatic replication and synchronization</a:t>
            </a:r>
          </a:p>
        </p:txBody>
      </p:sp>
      <p:sp>
        <p:nvSpPr>
          <p:cNvPr id="40" name="Rectangle 39"/>
          <p:cNvSpPr/>
          <p:nvPr/>
        </p:nvSpPr>
        <p:spPr>
          <a:xfrm>
            <a:off x="388136" y="2362284"/>
            <a:ext cx="8755864" cy="277000"/>
          </a:xfrm>
          <a:prstGeom prst="rect">
            <a:avLst/>
          </a:prstGeom>
          <a:solidFill>
            <a:schemeClr val="accent5"/>
          </a:solidFill>
        </p:spPr>
        <p:txBody>
          <a:bodyPr wrap="square" lIns="68571" tIns="34286" rIns="68571" bIns="34286" anchor="b">
            <a:spAutoFit/>
          </a:bodyPr>
          <a:lstStyle/>
          <a:p>
            <a:pPr>
              <a:lnSpc>
                <a:spcPct val="90000"/>
              </a:lnSpc>
              <a:spcBef>
                <a:spcPct val="20000"/>
              </a:spcBef>
              <a:buSzPct val="105000"/>
            </a:pPr>
            <a:r>
              <a:rPr lang="en-US" sz="1500" dirty="0">
                <a:gradFill>
                  <a:gsLst>
                    <a:gs pos="0">
                      <a:schemeClr val="tx1"/>
                    </a:gs>
                    <a:gs pos="86000">
                      <a:schemeClr val="tx1"/>
                    </a:gs>
                  </a:gsLst>
                  <a:lin ang="5400000" scaled="0"/>
                </a:gradFill>
              </a:rPr>
              <a:t>Optional RPO enforcement</a:t>
            </a:r>
          </a:p>
        </p:txBody>
      </p:sp>
      <p:sp>
        <p:nvSpPr>
          <p:cNvPr id="46" name="Rectangle 45"/>
          <p:cNvSpPr/>
          <p:nvPr/>
        </p:nvSpPr>
        <p:spPr>
          <a:xfrm>
            <a:off x="388136" y="2821536"/>
            <a:ext cx="8755863" cy="277000"/>
          </a:xfrm>
          <a:prstGeom prst="rect">
            <a:avLst/>
          </a:prstGeom>
          <a:solidFill>
            <a:schemeClr val="accent6"/>
          </a:solidFill>
        </p:spPr>
        <p:txBody>
          <a:bodyPr wrap="square" lIns="68571" tIns="34286" rIns="68571" bIns="34286" anchor="b">
            <a:spAutoFit/>
          </a:bodyPr>
          <a:lstStyle/>
          <a:p>
            <a:pPr>
              <a:lnSpc>
                <a:spcPct val="90000"/>
              </a:lnSpc>
              <a:spcBef>
                <a:spcPct val="20000"/>
              </a:spcBef>
              <a:buSzPct val="105000"/>
            </a:pPr>
            <a:r>
              <a:rPr lang="en-US" sz="1500" dirty="0">
                <a:gradFill>
                  <a:gsLst>
                    <a:gs pos="0">
                      <a:schemeClr val="tx1"/>
                    </a:gs>
                    <a:gs pos="86000">
                      <a:schemeClr val="tx1"/>
                    </a:gs>
                  </a:gsLst>
                  <a:lin ang="5400000" scaled="0"/>
                </a:gradFill>
              </a:rPr>
              <a:t>Read-only geo-secondary</a:t>
            </a:r>
          </a:p>
        </p:txBody>
      </p:sp>
      <p:sp>
        <p:nvSpPr>
          <p:cNvPr id="49" name="Rectangle 48"/>
          <p:cNvSpPr/>
          <p:nvPr/>
        </p:nvSpPr>
        <p:spPr>
          <a:xfrm>
            <a:off x="388136" y="3278739"/>
            <a:ext cx="8755863" cy="277000"/>
          </a:xfrm>
          <a:prstGeom prst="rect">
            <a:avLst/>
          </a:prstGeom>
          <a:solidFill>
            <a:schemeClr val="accent2"/>
          </a:solidFill>
        </p:spPr>
        <p:txBody>
          <a:bodyPr wrap="square" lIns="68571" tIns="34286" rIns="68571" bIns="34286" anchor="b">
            <a:spAutoFit/>
          </a:bodyPr>
          <a:lstStyle/>
          <a:p>
            <a:pPr>
              <a:lnSpc>
                <a:spcPct val="90000"/>
              </a:lnSpc>
              <a:spcBef>
                <a:spcPct val="20000"/>
              </a:spcBef>
              <a:buSzPct val="105000"/>
            </a:pPr>
            <a:r>
              <a:rPr lang="en-US" sz="1500" dirty="0">
                <a:gradFill>
                  <a:gsLst>
                    <a:gs pos="0">
                      <a:schemeClr val="tx1"/>
                    </a:gs>
                    <a:gs pos="86000">
                      <a:schemeClr val="tx1"/>
                    </a:gs>
                  </a:gsLst>
                  <a:lin ang="5400000" scaled="0"/>
                </a:gradFill>
              </a:rPr>
              <a:t>Multiple geo-secondaries</a:t>
            </a:r>
          </a:p>
        </p:txBody>
      </p:sp>
      <p:sp>
        <p:nvSpPr>
          <p:cNvPr id="52" name="Rectangle 51"/>
          <p:cNvSpPr/>
          <p:nvPr/>
        </p:nvSpPr>
        <p:spPr>
          <a:xfrm>
            <a:off x="388136" y="3704310"/>
            <a:ext cx="8755864" cy="277000"/>
          </a:xfrm>
          <a:prstGeom prst="rect">
            <a:avLst/>
          </a:prstGeom>
          <a:solidFill>
            <a:schemeClr val="accent3"/>
          </a:solidFill>
        </p:spPr>
        <p:txBody>
          <a:bodyPr wrap="square" lIns="68571" tIns="34286" rIns="68571" bIns="34286" anchor="b">
            <a:spAutoFit/>
          </a:bodyPr>
          <a:lstStyle/>
          <a:p>
            <a:pPr>
              <a:lnSpc>
                <a:spcPct val="90000"/>
              </a:lnSpc>
              <a:spcBef>
                <a:spcPct val="20000"/>
              </a:spcBef>
              <a:buSzPct val="105000"/>
            </a:pPr>
            <a:r>
              <a:rPr lang="en-US" sz="1500" dirty="0">
                <a:gradFill>
                  <a:gsLst>
                    <a:gs pos="0">
                      <a:schemeClr val="tx1"/>
                    </a:gs>
                    <a:gs pos="86000">
                      <a:schemeClr val="tx1"/>
                    </a:gs>
                  </a:gsLst>
                  <a:lin ang="5400000" scaled="0"/>
                </a:gradFill>
              </a:rPr>
              <a:t>User-controlled termination for failover</a:t>
            </a:r>
          </a:p>
        </p:txBody>
      </p:sp>
      <p:sp>
        <p:nvSpPr>
          <p:cNvPr id="73" name="Freeform 31"/>
          <p:cNvSpPr>
            <a:spLocks/>
          </p:cNvSpPr>
          <p:nvPr/>
        </p:nvSpPr>
        <p:spPr bwMode="auto">
          <a:xfrm>
            <a:off x="3995993" y="1475533"/>
            <a:ext cx="5001650" cy="2759116"/>
          </a:xfrm>
          <a:custGeom>
            <a:avLst/>
            <a:gdLst/>
            <a:ahLst/>
            <a:cxnLst>
              <a:cxn ang="0">
                <a:pos x="390" y="520"/>
              </a:cxn>
              <a:cxn ang="0">
                <a:pos x="417" y="491"/>
              </a:cxn>
              <a:cxn ang="0">
                <a:pos x="448" y="470"/>
              </a:cxn>
              <a:cxn ang="0">
                <a:pos x="502" y="465"/>
              </a:cxn>
              <a:cxn ang="0">
                <a:pos x="542" y="472"/>
              </a:cxn>
              <a:cxn ang="0">
                <a:pos x="534" y="449"/>
              </a:cxn>
              <a:cxn ang="0">
                <a:pos x="573" y="447"/>
              </a:cxn>
              <a:cxn ang="0">
                <a:pos x="607" y="447"/>
              </a:cxn>
              <a:cxn ang="0">
                <a:pos x="662" y="459"/>
              </a:cxn>
              <a:cxn ang="0">
                <a:pos x="672" y="533"/>
              </a:cxn>
              <a:cxn ang="0">
                <a:pos x="682" y="571"/>
              </a:cxn>
              <a:cxn ang="0">
                <a:pos x="705" y="560"/>
              </a:cxn>
              <a:cxn ang="0">
                <a:pos x="706" y="487"/>
              </a:cxn>
              <a:cxn ang="0">
                <a:pos x="728" y="397"/>
              </a:cxn>
              <a:cxn ang="0">
                <a:pos x="764" y="368"/>
              </a:cxn>
              <a:cxn ang="0">
                <a:pos x="829" y="324"/>
              </a:cxn>
              <a:cxn ang="0">
                <a:pos x="839" y="309"/>
              </a:cxn>
              <a:cxn ang="0">
                <a:pos x="844" y="286"/>
              </a:cxn>
              <a:cxn ang="0">
                <a:pos x="835" y="247"/>
              </a:cxn>
              <a:cxn ang="0">
                <a:pos x="850" y="239"/>
              </a:cxn>
              <a:cxn ang="0">
                <a:pos x="867" y="247"/>
              </a:cxn>
              <a:cxn ang="0">
                <a:pos x="863" y="220"/>
              </a:cxn>
              <a:cxn ang="0">
                <a:pos x="895" y="217"/>
              </a:cxn>
              <a:cxn ang="0">
                <a:pos x="912" y="194"/>
              </a:cxn>
              <a:cxn ang="0">
                <a:pos x="967" y="169"/>
              </a:cxn>
              <a:cxn ang="0">
                <a:pos x="993" y="132"/>
              </a:cxn>
              <a:cxn ang="0">
                <a:pos x="1048" y="109"/>
              </a:cxn>
              <a:cxn ang="0">
                <a:pos x="1062" y="50"/>
              </a:cxn>
              <a:cxn ang="0">
                <a:pos x="1014" y="63"/>
              </a:cxn>
              <a:cxn ang="0">
                <a:pos x="923" y="94"/>
              </a:cxn>
              <a:cxn ang="0">
                <a:pos x="868" y="138"/>
              </a:cxn>
              <a:cxn ang="0">
                <a:pos x="778" y="175"/>
              </a:cxn>
              <a:cxn ang="0">
                <a:pos x="776" y="125"/>
              </a:cxn>
              <a:cxn ang="0">
                <a:pos x="769" y="111"/>
              </a:cxn>
              <a:cxn ang="0">
                <a:pos x="747" y="91"/>
              </a:cxn>
              <a:cxn ang="0">
                <a:pos x="720" y="118"/>
              </a:cxn>
              <a:cxn ang="0">
                <a:pos x="675" y="154"/>
              </a:cxn>
              <a:cxn ang="0">
                <a:pos x="701" y="103"/>
              </a:cxn>
              <a:cxn ang="0">
                <a:pos x="750" y="76"/>
              </a:cxn>
              <a:cxn ang="0">
                <a:pos x="756" y="63"/>
              </a:cxn>
              <a:cxn ang="0">
                <a:pos x="715" y="50"/>
              </a:cxn>
              <a:cxn ang="0">
                <a:pos x="665" y="67"/>
              </a:cxn>
              <a:cxn ang="0">
                <a:pos x="694" y="34"/>
              </a:cxn>
              <a:cxn ang="0">
                <a:pos x="623" y="0"/>
              </a:cxn>
              <a:cxn ang="0">
                <a:pos x="144" y="37"/>
              </a:cxn>
              <a:cxn ang="0">
                <a:pos x="93" y="70"/>
              </a:cxn>
              <a:cxn ang="0">
                <a:pos x="31" y="180"/>
              </a:cxn>
              <a:cxn ang="0">
                <a:pos x="13" y="265"/>
              </a:cxn>
              <a:cxn ang="0">
                <a:pos x="15" y="317"/>
              </a:cxn>
              <a:cxn ang="0">
                <a:pos x="51" y="363"/>
              </a:cxn>
              <a:cxn ang="0">
                <a:pos x="103" y="395"/>
              </a:cxn>
              <a:cxn ang="0">
                <a:pos x="244" y="414"/>
              </a:cxn>
              <a:cxn ang="0">
                <a:pos x="291" y="467"/>
              </a:cxn>
              <a:cxn ang="0">
                <a:pos x="347" y="538"/>
              </a:cxn>
            </a:cxnLst>
            <a:rect l="0" t="0" r="r" b="b"/>
            <a:pathLst>
              <a:path w="1074" h="580">
                <a:moveTo>
                  <a:pt x="380" y="560"/>
                </a:moveTo>
                <a:cubicBezTo>
                  <a:pt x="380" y="548"/>
                  <a:pt x="384" y="549"/>
                  <a:pt x="381" y="544"/>
                </a:cubicBezTo>
                <a:cubicBezTo>
                  <a:pt x="379" y="539"/>
                  <a:pt x="385" y="540"/>
                  <a:pt x="387" y="529"/>
                </a:cubicBezTo>
                <a:cubicBezTo>
                  <a:pt x="389" y="518"/>
                  <a:pt x="384" y="521"/>
                  <a:pt x="390" y="520"/>
                </a:cubicBezTo>
                <a:cubicBezTo>
                  <a:pt x="395" y="519"/>
                  <a:pt x="389" y="514"/>
                  <a:pt x="394" y="518"/>
                </a:cubicBezTo>
                <a:cubicBezTo>
                  <a:pt x="397" y="519"/>
                  <a:pt x="400" y="510"/>
                  <a:pt x="403" y="509"/>
                </a:cubicBezTo>
                <a:cubicBezTo>
                  <a:pt x="408" y="507"/>
                  <a:pt x="413" y="500"/>
                  <a:pt x="411" y="496"/>
                </a:cubicBezTo>
                <a:cubicBezTo>
                  <a:pt x="420" y="504"/>
                  <a:pt x="416" y="489"/>
                  <a:pt x="417" y="491"/>
                </a:cubicBezTo>
                <a:cubicBezTo>
                  <a:pt x="419" y="492"/>
                  <a:pt x="417" y="484"/>
                  <a:pt x="421" y="488"/>
                </a:cubicBezTo>
                <a:cubicBezTo>
                  <a:pt x="424" y="490"/>
                  <a:pt x="427" y="483"/>
                  <a:pt x="429" y="487"/>
                </a:cubicBezTo>
                <a:cubicBezTo>
                  <a:pt x="432" y="490"/>
                  <a:pt x="435" y="480"/>
                  <a:pt x="443" y="478"/>
                </a:cubicBezTo>
                <a:cubicBezTo>
                  <a:pt x="456" y="474"/>
                  <a:pt x="445" y="473"/>
                  <a:pt x="448" y="470"/>
                </a:cubicBezTo>
                <a:cubicBezTo>
                  <a:pt x="452" y="467"/>
                  <a:pt x="444" y="466"/>
                  <a:pt x="457" y="459"/>
                </a:cubicBezTo>
                <a:cubicBezTo>
                  <a:pt x="451" y="467"/>
                  <a:pt x="457" y="466"/>
                  <a:pt x="453" y="472"/>
                </a:cubicBezTo>
                <a:cubicBezTo>
                  <a:pt x="449" y="477"/>
                  <a:pt x="457" y="469"/>
                  <a:pt x="466" y="463"/>
                </a:cubicBezTo>
                <a:cubicBezTo>
                  <a:pt x="488" y="448"/>
                  <a:pt x="490" y="469"/>
                  <a:pt x="502" y="465"/>
                </a:cubicBezTo>
                <a:cubicBezTo>
                  <a:pt x="509" y="463"/>
                  <a:pt x="506" y="458"/>
                  <a:pt x="511" y="464"/>
                </a:cubicBezTo>
                <a:cubicBezTo>
                  <a:pt x="516" y="470"/>
                  <a:pt x="514" y="463"/>
                  <a:pt x="516" y="467"/>
                </a:cubicBezTo>
                <a:cubicBezTo>
                  <a:pt x="518" y="472"/>
                  <a:pt x="530" y="469"/>
                  <a:pt x="533" y="473"/>
                </a:cubicBezTo>
                <a:cubicBezTo>
                  <a:pt x="539" y="480"/>
                  <a:pt x="539" y="469"/>
                  <a:pt x="542" y="472"/>
                </a:cubicBezTo>
                <a:cubicBezTo>
                  <a:pt x="545" y="476"/>
                  <a:pt x="543" y="477"/>
                  <a:pt x="550" y="475"/>
                </a:cubicBezTo>
                <a:cubicBezTo>
                  <a:pt x="558" y="473"/>
                  <a:pt x="546" y="470"/>
                  <a:pt x="548" y="468"/>
                </a:cubicBezTo>
                <a:cubicBezTo>
                  <a:pt x="551" y="465"/>
                  <a:pt x="543" y="464"/>
                  <a:pt x="544" y="461"/>
                </a:cubicBezTo>
                <a:cubicBezTo>
                  <a:pt x="549" y="451"/>
                  <a:pt x="530" y="459"/>
                  <a:pt x="534" y="449"/>
                </a:cubicBezTo>
                <a:cubicBezTo>
                  <a:pt x="537" y="440"/>
                  <a:pt x="540" y="455"/>
                  <a:pt x="552" y="450"/>
                </a:cubicBezTo>
                <a:cubicBezTo>
                  <a:pt x="555" y="448"/>
                  <a:pt x="567" y="454"/>
                  <a:pt x="566" y="447"/>
                </a:cubicBezTo>
                <a:cubicBezTo>
                  <a:pt x="565" y="439"/>
                  <a:pt x="567" y="440"/>
                  <a:pt x="567" y="440"/>
                </a:cubicBezTo>
                <a:cubicBezTo>
                  <a:pt x="567" y="440"/>
                  <a:pt x="564" y="450"/>
                  <a:pt x="573" y="447"/>
                </a:cubicBezTo>
                <a:cubicBezTo>
                  <a:pt x="581" y="444"/>
                  <a:pt x="580" y="445"/>
                  <a:pt x="580" y="442"/>
                </a:cubicBezTo>
                <a:cubicBezTo>
                  <a:pt x="584" y="448"/>
                  <a:pt x="602" y="446"/>
                  <a:pt x="597" y="443"/>
                </a:cubicBezTo>
                <a:cubicBezTo>
                  <a:pt x="593" y="441"/>
                  <a:pt x="610" y="440"/>
                  <a:pt x="615" y="442"/>
                </a:cubicBezTo>
                <a:cubicBezTo>
                  <a:pt x="619" y="443"/>
                  <a:pt x="588" y="442"/>
                  <a:pt x="607" y="447"/>
                </a:cubicBezTo>
                <a:cubicBezTo>
                  <a:pt x="625" y="453"/>
                  <a:pt x="632" y="454"/>
                  <a:pt x="627" y="457"/>
                </a:cubicBezTo>
                <a:cubicBezTo>
                  <a:pt x="623" y="459"/>
                  <a:pt x="627" y="461"/>
                  <a:pt x="632" y="459"/>
                </a:cubicBezTo>
                <a:cubicBezTo>
                  <a:pt x="637" y="456"/>
                  <a:pt x="634" y="463"/>
                  <a:pt x="647" y="455"/>
                </a:cubicBezTo>
                <a:cubicBezTo>
                  <a:pt x="659" y="446"/>
                  <a:pt x="656" y="458"/>
                  <a:pt x="662" y="459"/>
                </a:cubicBezTo>
                <a:cubicBezTo>
                  <a:pt x="669" y="460"/>
                  <a:pt x="664" y="468"/>
                  <a:pt x="672" y="473"/>
                </a:cubicBezTo>
                <a:cubicBezTo>
                  <a:pt x="680" y="478"/>
                  <a:pt x="662" y="499"/>
                  <a:pt x="666" y="505"/>
                </a:cubicBezTo>
                <a:cubicBezTo>
                  <a:pt x="669" y="511"/>
                  <a:pt x="660" y="509"/>
                  <a:pt x="669" y="531"/>
                </a:cubicBezTo>
                <a:cubicBezTo>
                  <a:pt x="671" y="528"/>
                  <a:pt x="675" y="529"/>
                  <a:pt x="672" y="533"/>
                </a:cubicBezTo>
                <a:cubicBezTo>
                  <a:pt x="669" y="537"/>
                  <a:pt x="672" y="538"/>
                  <a:pt x="672" y="545"/>
                </a:cubicBezTo>
                <a:cubicBezTo>
                  <a:pt x="672" y="559"/>
                  <a:pt x="679" y="553"/>
                  <a:pt x="680" y="559"/>
                </a:cubicBezTo>
                <a:cubicBezTo>
                  <a:pt x="682" y="564"/>
                  <a:pt x="691" y="565"/>
                  <a:pt x="686" y="567"/>
                </a:cubicBezTo>
                <a:cubicBezTo>
                  <a:pt x="682" y="568"/>
                  <a:pt x="687" y="574"/>
                  <a:pt x="682" y="571"/>
                </a:cubicBezTo>
                <a:cubicBezTo>
                  <a:pt x="677" y="568"/>
                  <a:pt x="680" y="580"/>
                  <a:pt x="689" y="576"/>
                </a:cubicBezTo>
                <a:cubicBezTo>
                  <a:pt x="694" y="573"/>
                  <a:pt x="693" y="578"/>
                  <a:pt x="696" y="573"/>
                </a:cubicBezTo>
                <a:cubicBezTo>
                  <a:pt x="698" y="569"/>
                  <a:pt x="698" y="576"/>
                  <a:pt x="702" y="571"/>
                </a:cubicBezTo>
                <a:cubicBezTo>
                  <a:pt x="706" y="566"/>
                  <a:pt x="699" y="572"/>
                  <a:pt x="705" y="560"/>
                </a:cubicBezTo>
                <a:cubicBezTo>
                  <a:pt x="710" y="547"/>
                  <a:pt x="715" y="533"/>
                  <a:pt x="710" y="528"/>
                </a:cubicBezTo>
                <a:cubicBezTo>
                  <a:pt x="711" y="523"/>
                  <a:pt x="704" y="515"/>
                  <a:pt x="704" y="501"/>
                </a:cubicBezTo>
                <a:cubicBezTo>
                  <a:pt x="704" y="487"/>
                  <a:pt x="706" y="513"/>
                  <a:pt x="708" y="512"/>
                </a:cubicBezTo>
                <a:cubicBezTo>
                  <a:pt x="710" y="512"/>
                  <a:pt x="706" y="495"/>
                  <a:pt x="706" y="487"/>
                </a:cubicBezTo>
                <a:cubicBezTo>
                  <a:pt x="706" y="478"/>
                  <a:pt x="706" y="492"/>
                  <a:pt x="704" y="480"/>
                </a:cubicBezTo>
                <a:cubicBezTo>
                  <a:pt x="702" y="467"/>
                  <a:pt x="699" y="448"/>
                  <a:pt x="703" y="442"/>
                </a:cubicBezTo>
                <a:cubicBezTo>
                  <a:pt x="707" y="436"/>
                  <a:pt x="698" y="437"/>
                  <a:pt x="720" y="405"/>
                </a:cubicBezTo>
                <a:cubicBezTo>
                  <a:pt x="726" y="396"/>
                  <a:pt x="730" y="404"/>
                  <a:pt x="728" y="397"/>
                </a:cubicBezTo>
                <a:cubicBezTo>
                  <a:pt x="728" y="394"/>
                  <a:pt x="734" y="395"/>
                  <a:pt x="730" y="388"/>
                </a:cubicBezTo>
                <a:cubicBezTo>
                  <a:pt x="725" y="380"/>
                  <a:pt x="735" y="396"/>
                  <a:pt x="740" y="385"/>
                </a:cubicBezTo>
                <a:cubicBezTo>
                  <a:pt x="741" y="382"/>
                  <a:pt x="740" y="394"/>
                  <a:pt x="754" y="379"/>
                </a:cubicBezTo>
                <a:cubicBezTo>
                  <a:pt x="759" y="374"/>
                  <a:pt x="758" y="381"/>
                  <a:pt x="764" y="368"/>
                </a:cubicBezTo>
                <a:cubicBezTo>
                  <a:pt x="766" y="365"/>
                  <a:pt x="775" y="357"/>
                  <a:pt x="782" y="359"/>
                </a:cubicBezTo>
                <a:cubicBezTo>
                  <a:pt x="788" y="361"/>
                  <a:pt x="797" y="343"/>
                  <a:pt x="801" y="345"/>
                </a:cubicBezTo>
                <a:cubicBezTo>
                  <a:pt x="804" y="347"/>
                  <a:pt x="807" y="335"/>
                  <a:pt x="817" y="335"/>
                </a:cubicBezTo>
                <a:cubicBezTo>
                  <a:pt x="827" y="334"/>
                  <a:pt x="825" y="327"/>
                  <a:pt x="829" y="324"/>
                </a:cubicBezTo>
                <a:cubicBezTo>
                  <a:pt x="833" y="322"/>
                  <a:pt x="818" y="328"/>
                  <a:pt x="826" y="322"/>
                </a:cubicBezTo>
                <a:cubicBezTo>
                  <a:pt x="831" y="318"/>
                  <a:pt x="815" y="312"/>
                  <a:pt x="828" y="316"/>
                </a:cubicBezTo>
                <a:cubicBezTo>
                  <a:pt x="840" y="320"/>
                  <a:pt x="835" y="318"/>
                  <a:pt x="840" y="314"/>
                </a:cubicBezTo>
                <a:cubicBezTo>
                  <a:pt x="844" y="311"/>
                  <a:pt x="842" y="304"/>
                  <a:pt x="839" y="309"/>
                </a:cubicBezTo>
                <a:cubicBezTo>
                  <a:pt x="835" y="313"/>
                  <a:pt x="841" y="307"/>
                  <a:pt x="833" y="307"/>
                </a:cubicBezTo>
                <a:cubicBezTo>
                  <a:pt x="825" y="308"/>
                  <a:pt x="828" y="305"/>
                  <a:pt x="829" y="302"/>
                </a:cubicBezTo>
                <a:cubicBezTo>
                  <a:pt x="832" y="306"/>
                  <a:pt x="836" y="303"/>
                  <a:pt x="842" y="304"/>
                </a:cubicBezTo>
                <a:cubicBezTo>
                  <a:pt x="847" y="305"/>
                  <a:pt x="847" y="294"/>
                  <a:pt x="844" y="286"/>
                </a:cubicBezTo>
                <a:cubicBezTo>
                  <a:pt x="842" y="279"/>
                  <a:pt x="846" y="264"/>
                  <a:pt x="838" y="269"/>
                </a:cubicBezTo>
                <a:cubicBezTo>
                  <a:pt x="846" y="263"/>
                  <a:pt x="837" y="262"/>
                  <a:pt x="835" y="258"/>
                </a:cubicBezTo>
                <a:cubicBezTo>
                  <a:pt x="841" y="261"/>
                  <a:pt x="839" y="258"/>
                  <a:pt x="843" y="259"/>
                </a:cubicBezTo>
                <a:cubicBezTo>
                  <a:pt x="839" y="252"/>
                  <a:pt x="845" y="252"/>
                  <a:pt x="835" y="247"/>
                </a:cubicBezTo>
                <a:cubicBezTo>
                  <a:pt x="839" y="248"/>
                  <a:pt x="845" y="250"/>
                  <a:pt x="840" y="241"/>
                </a:cubicBezTo>
                <a:cubicBezTo>
                  <a:pt x="843" y="246"/>
                  <a:pt x="840" y="235"/>
                  <a:pt x="846" y="230"/>
                </a:cubicBezTo>
                <a:cubicBezTo>
                  <a:pt x="852" y="226"/>
                  <a:pt x="861" y="224"/>
                  <a:pt x="853" y="230"/>
                </a:cubicBezTo>
                <a:cubicBezTo>
                  <a:pt x="846" y="236"/>
                  <a:pt x="853" y="232"/>
                  <a:pt x="850" y="239"/>
                </a:cubicBezTo>
                <a:cubicBezTo>
                  <a:pt x="846" y="245"/>
                  <a:pt x="854" y="245"/>
                  <a:pt x="851" y="250"/>
                </a:cubicBezTo>
                <a:cubicBezTo>
                  <a:pt x="847" y="255"/>
                  <a:pt x="858" y="256"/>
                  <a:pt x="853" y="263"/>
                </a:cubicBezTo>
                <a:cubicBezTo>
                  <a:pt x="848" y="270"/>
                  <a:pt x="847" y="273"/>
                  <a:pt x="852" y="270"/>
                </a:cubicBezTo>
                <a:cubicBezTo>
                  <a:pt x="858" y="267"/>
                  <a:pt x="861" y="253"/>
                  <a:pt x="867" y="247"/>
                </a:cubicBezTo>
                <a:cubicBezTo>
                  <a:pt x="872" y="242"/>
                  <a:pt x="861" y="262"/>
                  <a:pt x="863" y="260"/>
                </a:cubicBezTo>
                <a:cubicBezTo>
                  <a:pt x="867" y="255"/>
                  <a:pt x="876" y="242"/>
                  <a:pt x="870" y="237"/>
                </a:cubicBezTo>
                <a:cubicBezTo>
                  <a:pt x="864" y="233"/>
                  <a:pt x="872" y="233"/>
                  <a:pt x="866" y="229"/>
                </a:cubicBezTo>
                <a:cubicBezTo>
                  <a:pt x="860" y="225"/>
                  <a:pt x="863" y="225"/>
                  <a:pt x="863" y="220"/>
                </a:cubicBezTo>
                <a:cubicBezTo>
                  <a:pt x="866" y="229"/>
                  <a:pt x="870" y="226"/>
                  <a:pt x="871" y="234"/>
                </a:cubicBezTo>
                <a:cubicBezTo>
                  <a:pt x="872" y="241"/>
                  <a:pt x="873" y="235"/>
                  <a:pt x="876" y="230"/>
                </a:cubicBezTo>
                <a:cubicBezTo>
                  <a:pt x="883" y="221"/>
                  <a:pt x="883" y="228"/>
                  <a:pt x="887" y="221"/>
                </a:cubicBezTo>
                <a:cubicBezTo>
                  <a:pt x="891" y="214"/>
                  <a:pt x="889" y="223"/>
                  <a:pt x="895" y="217"/>
                </a:cubicBezTo>
                <a:cubicBezTo>
                  <a:pt x="890" y="213"/>
                  <a:pt x="891" y="212"/>
                  <a:pt x="890" y="209"/>
                </a:cubicBezTo>
                <a:cubicBezTo>
                  <a:pt x="895" y="214"/>
                  <a:pt x="896" y="216"/>
                  <a:pt x="900" y="212"/>
                </a:cubicBezTo>
                <a:cubicBezTo>
                  <a:pt x="903" y="207"/>
                  <a:pt x="905" y="207"/>
                  <a:pt x="909" y="202"/>
                </a:cubicBezTo>
                <a:cubicBezTo>
                  <a:pt x="918" y="194"/>
                  <a:pt x="906" y="198"/>
                  <a:pt x="912" y="194"/>
                </a:cubicBezTo>
                <a:cubicBezTo>
                  <a:pt x="914" y="193"/>
                  <a:pt x="913" y="190"/>
                  <a:pt x="917" y="190"/>
                </a:cubicBezTo>
                <a:cubicBezTo>
                  <a:pt x="923" y="188"/>
                  <a:pt x="922" y="179"/>
                  <a:pt x="938" y="179"/>
                </a:cubicBezTo>
                <a:cubicBezTo>
                  <a:pt x="953" y="179"/>
                  <a:pt x="945" y="173"/>
                  <a:pt x="952" y="177"/>
                </a:cubicBezTo>
                <a:cubicBezTo>
                  <a:pt x="958" y="179"/>
                  <a:pt x="967" y="172"/>
                  <a:pt x="967" y="169"/>
                </a:cubicBezTo>
                <a:cubicBezTo>
                  <a:pt x="969" y="180"/>
                  <a:pt x="979" y="163"/>
                  <a:pt x="983" y="169"/>
                </a:cubicBezTo>
                <a:cubicBezTo>
                  <a:pt x="991" y="157"/>
                  <a:pt x="981" y="169"/>
                  <a:pt x="978" y="161"/>
                </a:cubicBezTo>
                <a:cubicBezTo>
                  <a:pt x="976" y="153"/>
                  <a:pt x="977" y="152"/>
                  <a:pt x="982" y="144"/>
                </a:cubicBezTo>
                <a:cubicBezTo>
                  <a:pt x="988" y="137"/>
                  <a:pt x="986" y="143"/>
                  <a:pt x="993" y="132"/>
                </a:cubicBezTo>
                <a:cubicBezTo>
                  <a:pt x="1000" y="121"/>
                  <a:pt x="1007" y="126"/>
                  <a:pt x="1014" y="120"/>
                </a:cubicBezTo>
                <a:cubicBezTo>
                  <a:pt x="1020" y="115"/>
                  <a:pt x="1020" y="129"/>
                  <a:pt x="1028" y="111"/>
                </a:cubicBezTo>
                <a:cubicBezTo>
                  <a:pt x="1030" y="105"/>
                  <a:pt x="1031" y="125"/>
                  <a:pt x="1034" y="112"/>
                </a:cubicBezTo>
                <a:cubicBezTo>
                  <a:pt x="1037" y="101"/>
                  <a:pt x="1044" y="114"/>
                  <a:pt x="1048" y="109"/>
                </a:cubicBezTo>
                <a:cubicBezTo>
                  <a:pt x="1047" y="110"/>
                  <a:pt x="1074" y="98"/>
                  <a:pt x="1070" y="94"/>
                </a:cubicBezTo>
                <a:cubicBezTo>
                  <a:pt x="1064" y="85"/>
                  <a:pt x="1064" y="96"/>
                  <a:pt x="1061" y="88"/>
                </a:cubicBezTo>
                <a:cubicBezTo>
                  <a:pt x="1057" y="79"/>
                  <a:pt x="1052" y="85"/>
                  <a:pt x="1054" y="78"/>
                </a:cubicBezTo>
                <a:cubicBezTo>
                  <a:pt x="1055" y="71"/>
                  <a:pt x="1061" y="54"/>
                  <a:pt x="1062" y="50"/>
                </a:cubicBezTo>
                <a:cubicBezTo>
                  <a:pt x="1063" y="47"/>
                  <a:pt x="1065" y="47"/>
                  <a:pt x="1061" y="45"/>
                </a:cubicBezTo>
                <a:cubicBezTo>
                  <a:pt x="1056" y="44"/>
                  <a:pt x="1065" y="32"/>
                  <a:pt x="1045" y="44"/>
                </a:cubicBezTo>
                <a:cubicBezTo>
                  <a:pt x="1032" y="52"/>
                  <a:pt x="1038" y="35"/>
                  <a:pt x="1027" y="50"/>
                </a:cubicBezTo>
                <a:cubicBezTo>
                  <a:pt x="1021" y="58"/>
                  <a:pt x="1019" y="56"/>
                  <a:pt x="1014" y="63"/>
                </a:cubicBezTo>
                <a:cubicBezTo>
                  <a:pt x="1010" y="70"/>
                  <a:pt x="1008" y="69"/>
                  <a:pt x="1008" y="74"/>
                </a:cubicBezTo>
                <a:cubicBezTo>
                  <a:pt x="1008" y="82"/>
                  <a:pt x="1000" y="78"/>
                  <a:pt x="994" y="85"/>
                </a:cubicBezTo>
                <a:cubicBezTo>
                  <a:pt x="989" y="92"/>
                  <a:pt x="990" y="86"/>
                  <a:pt x="982" y="94"/>
                </a:cubicBezTo>
                <a:cubicBezTo>
                  <a:pt x="982" y="94"/>
                  <a:pt x="930" y="94"/>
                  <a:pt x="923" y="94"/>
                </a:cubicBezTo>
                <a:cubicBezTo>
                  <a:pt x="907" y="94"/>
                  <a:pt x="905" y="112"/>
                  <a:pt x="896" y="116"/>
                </a:cubicBezTo>
                <a:cubicBezTo>
                  <a:pt x="886" y="121"/>
                  <a:pt x="898" y="122"/>
                  <a:pt x="892" y="123"/>
                </a:cubicBezTo>
                <a:cubicBezTo>
                  <a:pt x="888" y="124"/>
                  <a:pt x="896" y="131"/>
                  <a:pt x="892" y="131"/>
                </a:cubicBezTo>
                <a:cubicBezTo>
                  <a:pt x="875" y="131"/>
                  <a:pt x="877" y="137"/>
                  <a:pt x="868" y="138"/>
                </a:cubicBezTo>
                <a:cubicBezTo>
                  <a:pt x="849" y="140"/>
                  <a:pt x="861" y="136"/>
                  <a:pt x="838" y="139"/>
                </a:cubicBezTo>
                <a:cubicBezTo>
                  <a:pt x="839" y="146"/>
                  <a:pt x="844" y="144"/>
                  <a:pt x="832" y="151"/>
                </a:cubicBezTo>
                <a:cubicBezTo>
                  <a:pt x="817" y="161"/>
                  <a:pt x="820" y="154"/>
                  <a:pt x="802" y="166"/>
                </a:cubicBezTo>
                <a:cubicBezTo>
                  <a:pt x="784" y="177"/>
                  <a:pt x="783" y="171"/>
                  <a:pt x="778" y="175"/>
                </a:cubicBezTo>
                <a:cubicBezTo>
                  <a:pt x="773" y="179"/>
                  <a:pt x="769" y="175"/>
                  <a:pt x="760" y="172"/>
                </a:cubicBezTo>
                <a:cubicBezTo>
                  <a:pt x="751" y="168"/>
                  <a:pt x="754" y="169"/>
                  <a:pt x="762" y="158"/>
                </a:cubicBezTo>
                <a:cubicBezTo>
                  <a:pt x="767" y="152"/>
                  <a:pt x="769" y="142"/>
                  <a:pt x="772" y="144"/>
                </a:cubicBezTo>
                <a:cubicBezTo>
                  <a:pt x="775" y="147"/>
                  <a:pt x="776" y="133"/>
                  <a:pt x="776" y="125"/>
                </a:cubicBezTo>
                <a:cubicBezTo>
                  <a:pt x="777" y="116"/>
                  <a:pt x="775" y="115"/>
                  <a:pt x="773" y="120"/>
                </a:cubicBezTo>
                <a:cubicBezTo>
                  <a:pt x="771" y="125"/>
                  <a:pt x="769" y="120"/>
                  <a:pt x="767" y="121"/>
                </a:cubicBezTo>
                <a:cubicBezTo>
                  <a:pt x="765" y="122"/>
                  <a:pt x="760" y="120"/>
                  <a:pt x="765" y="118"/>
                </a:cubicBezTo>
                <a:cubicBezTo>
                  <a:pt x="771" y="115"/>
                  <a:pt x="764" y="114"/>
                  <a:pt x="769" y="111"/>
                </a:cubicBezTo>
                <a:cubicBezTo>
                  <a:pt x="772" y="109"/>
                  <a:pt x="775" y="100"/>
                  <a:pt x="775" y="98"/>
                </a:cubicBezTo>
                <a:cubicBezTo>
                  <a:pt x="771" y="89"/>
                  <a:pt x="776" y="96"/>
                  <a:pt x="774" y="91"/>
                </a:cubicBezTo>
                <a:cubicBezTo>
                  <a:pt x="772" y="87"/>
                  <a:pt x="764" y="81"/>
                  <a:pt x="760" y="81"/>
                </a:cubicBezTo>
                <a:cubicBezTo>
                  <a:pt x="749" y="82"/>
                  <a:pt x="753" y="88"/>
                  <a:pt x="747" y="91"/>
                </a:cubicBezTo>
                <a:cubicBezTo>
                  <a:pt x="740" y="94"/>
                  <a:pt x="745" y="92"/>
                  <a:pt x="741" y="99"/>
                </a:cubicBezTo>
                <a:cubicBezTo>
                  <a:pt x="736" y="106"/>
                  <a:pt x="734" y="103"/>
                  <a:pt x="737" y="99"/>
                </a:cubicBezTo>
                <a:cubicBezTo>
                  <a:pt x="739" y="97"/>
                  <a:pt x="736" y="94"/>
                  <a:pt x="733" y="99"/>
                </a:cubicBezTo>
                <a:cubicBezTo>
                  <a:pt x="728" y="106"/>
                  <a:pt x="728" y="101"/>
                  <a:pt x="720" y="118"/>
                </a:cubicBezTo>
                <a:cubicBezTo>
                  <a:pt x="715" y="129"/>
                  <a:pt x="713" y="128"/>
                  <a:pt x="715" y="131"/>
                </a:cubicBezTo>
                <a:cubicBezTo>
                  <a:pt x="718" y="135"/>
                  <a:pt x="718" y="146"/>
                  <a:pt x="708" y="156"/>
                </a:cubicBezTo>
                <a:cubicBezTo>
                  <a:pt x="697" y="166"/>
                  <a:pt x="686" y="170"/>
                  <a:pt x="678" y="172"/>
                </a:cubicBezTo>
                <a:cubicBezTo>
                  <a:pt x="670" y="173"/>
                  <a:pt x="674" y="155"/>
                  <a:pt x="675" y="154"/>
                </a:cubicBezTo>
                <a:cubicBezTo>
                  <a:pt x="689" y="136"/>
                  <a:pt x="688" y="129"/>
                  <a:pt x="694" y="124"/>
                </a:cubicBezTo>
                <a:cubicBezTo>
                  <a:pt x="696" y="123"/>
                  <a:pt x="705" y="108"/>
                  <a:pt x="716" y="97"/>
                </a:cubicBezTo>
                <a:cubicBezTo>
                  <a:pt x="724" y="89"/>
                  <a:pt x="727" y="83"/>
                  <a:pt x="718" y="91"/>
                </a:cubicBezTo>
                <a:cubicBezTo>
                  <a:pt x="709" y="99"/>
                  <a:pt x="713" y="92"/>
                  <a:pt x="701" y="103"/>
                </a:cubicBezTo>
                <a:cubicBezTo>
                  <a:pt x="706" y="94"/>
                  <a:pt x="714" y="88"/>
                  <a:pt x="720" y="83"/>
                </a:cubicBezTo>
                <a:cubicBezTo>
                  <a:pt x="725" y="78"/>
                  <a:pt x="728" y="79"/>
                  <a:pt x="725" y="81"/>
                </a:cubicBezTo>
                <a:cubicBezTo>
                  <a:pt x="721" y="84"/>
                  <a:pt x="725" y="87"/>
                  <a:pt x="732" y="81"/>
                </a:cubicBezTo>
                <a:cubicBezTo>
                  <a:pt x="739" y="75"/>
                  <a:pt x="747" y="79"/>
                  <a:pt x="750" y="76"/>
                </a:cubicBezTo>
                <a:cubicBezTo>
                  <a:pt x="755" y="72"/>
                  <a:pt x="763" y="82"/>
                  <a:pt x="762" y="78"/>
                </a:cubicBezTo>
                <a:cubicBezTo>
                  <a:pt x="762" y="74"/>
                  <a:pt x="787" y="82"/>
                  <a:pt x="780" y="73"/>
                </a:cubicBezTo>
                <a:cubicBezTo>
                  <a:pt x="773" y="64"/>
                  <a:pt x="778" y="69"/>
                  <a:pt x="768" y="70"/>
                </a:cubicBezTo>
                <a:cubicBezTo>
                  <a:pt x="755" y="70"/>
                  <a:pt x="772" y="61"/>
                  <a:pt x="756" y="63"/>
                </a:cubicBezTo>
                <a:cubicBezTo>
                  <a:pt x="744" y="63"/>
                  <a:pt x="741" y="59"/>
                  <a:pt x="730" y="64"/>
                </a:cubicBezTo>
                <a:cubicBezTo>
                  <a:pt x="716" y="58"/>
                  <a:pt x="727" y="59"/>
                  <a:pt x="720" y="55"/>
                </a:cubicBezTo>
                <a:cubicBezTo>
                  <a:pt x="714" y="52"/>
                  <a:pt x="709" y="56"/>
                  <a:pt x="708" y="55"/>
                </a:cubicBezTo>
                <a:cubicBezTo>
                  <a:pt x="706" y="55"/>
                  <a:pt x="708" y="52"/>
                  <a:pt x="715" y="50"/>
                </a:cubicBezTo>
                <a:cubicBezTo>
                  <a:pt x="721" y="48"/>
                  <a:pt x="724" y="45"/>
                  <a:pt x="712" y="48"/>
                </a:cubicBezTo>
                <a:cubicBezTo>
                  <a:pt x="699" y="52"/>
                  <a:pt x="704" y="56"/>
                  <a:pt x="692" y="61"/>
                </a:cubicBezTo>
                <a:cubicBezTo>
                  <a:pt x="680" y="65"/>
                  <a:pt x="680" y="62"/>
                  <a:pt x="674" y="66"/>
                </a:cubicBezTo>
                <a:cubicBezTo>
                  <a:pt x="668" y="69"/>
                  <a:pt x="665" y="69"/>
                  <a:pt x="665" y="67"/>
                </a:cubicBezTo>
                <a:cubicBezTo>
                  <a:pt x="665" y="61"/>
                  <a:pt x="669" y="60"/>
                  <a:pt x="654" y="63"/>
                </a:cubicBezTo>
                <a:cubicBezTo>
                  <a:pt x="647" y="64"/>
                  <a:pt x="632" y="66"/>
                  <a:pt x="642" y="60"/>
                </a:cubicBezTo>
                <a:cubicBezTo>
                  <a:pt x="652" y="54"/>
                  <a:pt x="663" y="50"/>
                  <a:pt x="671" y="43"/>
                </a:cubicBezTo>
                <a:cubicBezTo>
                  <a:pt x="680" y="35"/>
                  <a:pt x="678" y="32"/>
                  <a:pt x="694" y="34"/>
                </a:cubicBezTo>
                <a:cubicBezTo>
                  <a:pt x="680" y="20"/>
                  <a:pt x="667" y="33"/>
                  <a:pt x="660" y="26"/>
                </a:cubicBezTo>
                <a:cubicBezTo>
                  <a:pt x="654" y="20"/>
                  <a:pt x="654" y="26"/>
                  <a:pt x="645" y="23"/>
                </a:cubicBezTo>
                <a:cubicBezTo>
                  <a:pt x="636" y="19"/>
                  <a:pt x="633" y="15"/>
                  <a:pt x="628" y="15"/>
                </a:cubicBezTo>
                <a:cubicBezTo>
                  <a:pt x="611" y="15"/>
                  <a:pt x="630" y="0"/>
                  <a:pt x="623" y="0"/>
                </a:cubicBezTo>
                <a:cubicBezTo>
                  <a:pt x="612" y="0"/>
                  <a:pt x="613" y="13"/>
                  <a:pt x="604" y="13"/>
                </a:cubicBezTo>
                <a:cubicBezTo>
                  <a:pt x="587" y="13"/>
                  <a:pt x="152" y="13"/>
                  <a:pt x="152" y="13"/>
                </a:cubicBezTo>
                <a:cubicBezTo>
                  <a:pt x="161" y="24"/>
                  <a:pt x="145" y="16"/>
                  <a:pt x="153" y="25"/>
                </a:cubicBezTo>
                <a:cubicBezTo>
                  <a:pt x="161" y="34"/>
                  <a:pt x="150" y="22"/>
                  <a:pt x="144" y="37"/>
                </a:cubicBezTo>
                <a:cubicBezTo>
                  <a:pt x="137" y="53"/>
                  <a:pt x="137" y="41"/>
                  <a:pt x="139" y="35"/>
                </a:cubicBezTo>
                <a:cubicBezTo>
                  <a:pt x="141" y="28"/>
                  <a:pt x="126" y="34"/>
                  <a:pt x="116" y="28"/>
                </a:cubicBezTo>
                <a:cubicBezTo>
                  <a:pt x="107" y="22"/>
                  <a:pt x="104" y="37"/>
                  <a:pt x="104" y="45"/>
                </a:cubicBezTo>
                <a:cubicBezTo>
                  <a:pt x="104" y="53"/>
                  <a:pt x="99" y="61"/>
                  <a:pt x="93" y="70"/>
                </a:cubicBezTo>
                <a:cubicBezTo>
                  <a:pt x="87" y="79"/>
                  <a:pt x="101" y="77"/>
                  <a:pt x="106" y="84"/>
                </a:cubicBezTo>
                <a:cubicBezTo>
                  <a:pt x="106" y="84"/>
                  <a:pt x="98" y="81"/>
                  <a:pt x="89" y="80"/>
                </a:cubicBezTo>
                <a:cubicBezTo>
                  <a:pt x="79" y="97"/>
                  <a:pt x="47" y="141"/>
                  <a:pt x="45" y="142"/>
                </a:cubicBezTo>
                <a:cubicBezTo>
                  <a:pt x="26" y="152"/>
                  <a:pt x="34" y="179"/>
                  <a:pt x="31" y="180"/>
                </a:cubicBezTo>
                <a:cubicBezTo>
                  <a:pt x="13" y="190"/>
                  <a:pt x="31" y="183"/>
                  <a:pt x="20" y="193"/>
                </a:cubicBezTo>
                <a:cubicBezTo>
                  <a:pt x="3" y="208"/>
                  <a:pt x="19" y="208"/>
                  <a:pt x="15" y="218"/>
                </a:cubicBezTo>
                <a:cubicBezTo>
                  <a:pt x="7" y="237"/>
                  <a:pt x="12" y="244"/>
                  <a:pt x="10" y="249"/>
                </a:cubicBezTo>
                <a:cubicBezTo>
                  <a:pt x="7" y="254"/>
                  <a:pt x="11" y="265"/>
                  <a:pt x="13" y="265"/>
                </a:cubicBezTo>
                <a:cubicBezTo>
                  <a:pt x="17" y="266"/>
                  <a:pt x="17" y="259"/>
                  <a:pt x="23" y="260"/>
                </a:cubicBezTo>
                <a:cubicBezTo>
                  <a:pt x="19" y="261"/>
                  <a:pt x="25" y="263"/>
                  <a:pt x="12" y="269"/>
                </a:cubicBezTo>
                <a:cubicBezTo>
                  <a:pt x="0" y="274"/>
                  <a:pt x="24" y="288"/>
                  <a:pt x="14" y="293"/>
                </a:cubicBezTo>
                <a:cubicBezTo>
                  <a:pt x="5" y="299"/>
                  <a:pt x="21" y="310"/>
                  <a:pt x="15" y="317"/>
                </a:cubicBezTo>
                <a:cubicBezTo>
                  <a:pt x="10" y="324"/>
                  <a:pt x="19" y="321"/>
                  <a:pt x="17" y="325"/>
                </a:cubicBezTo>
                <a:cubicBezTo>
                  <a:pt x="15" y="329"/>
                  <a:pt x="20" y="329"/>
                  <a:pt x="17" y="335"/>
                </a:cubicBezTo>
                <a:cubicBezTo>
                  <a:pt x="11" y="350"/>
                  <a:pt x="36" y="341"/>
                  <a:pt x="36" y="353"/>
                </a:cubicBezTo>
                <a:cubicBezTo>
                  <a:pt x="37" y="360"/>
                  <a:pt x="43" y="353"/>
                  <a:pt x="51" y="363"/>
                </a:cubicBezTo>
                <a:cubicBezTo>
                  <a:pt x="59" y="373"/>
                  <a:pt x="66" y="376"/>
                  <a:pt x="60" y="381"/>
                </a:cubicBezTo>
                <a:cubicBezTo>
                  <a:pt x="55" y="386"/>
                  <a:pt x="66" y="384"/>
                  <a:pt x="61" y="391"/>
                </a:cubicBezTo>
                <a:cubicBezTo>
                  <a:pt x="76" y="392"/>
                  <a:pt x="95" y="390"/>
                  <a:pt x="105" y="391"/>
                </a:cubicBezTo>
                <a:cubicBezTo>
                  <a:pt x="103" y="395"/>
                  <a:pt x="103" y="395"/>
                  <a:pt x="103" y="395"/>
                </a:cubicBezTo>
                <a:cubicBezTo>
                  <a:pt x="164" y="424"/>
                  <a:pt x="164" y="424"/>
                  <a:pt x="164" y="424"/>
                </a:cubicBezTo>
                <a:cubicBezTo>
                  <a:pt x="208" y="424"/>
                  <a:pt x="208" y="424"/>
                  <a:pt x="208" y="424"/>
                </a:cubicBezTo>
                <a:cubicBezTo>
                  <a:pt x="213" y="414"/>
                  <a:pt x="213" y="414"/>
                  <a:pt x="213" y="414"/>
                </a:cubicBezTo>
                <a:cubicBezTo>
                  <a:pt x="244" y="414"/>
                  <a:pt x="244" y="414"/>
                  <a:pt x="244" y="414"/>
                </a:cubicBezTo>
                <a:cubicBezTo>
                  <a:pt x="244" y="414"/>
                  <a:pt x="245" y="417"/>
                  <a:pt x="252" y="424"/>
                </a:cubicBezTo>
                <a:cubicBezTo>
                  <a:pt x="259" y="430"/>
                  <a:pt x="253" y="429"/>
                  <a:pt x="263" y="436"/>
                </a:cubicBezTo>
                <a:cubicBezTo>
                  <a:pt x="274" y="445"/>
                  <a:pt x="260" y="456"/>
                  <a:pt x="272" y="465"/>
                </a:cubicBezTo>
                <a:cubicBezTo>
                  <a:pt x="285" y="475"/>
                  <a:pt x="285" y="477"/>
                  <a:pt x="291" y="467"/>
                </a:cubicBezTo>
                <a:cubicBezTo>
                  <a:pt x="296" y="457"/>
                  <a:pt x="300" y="463"/>
                  <a:pt x="303" y="459"/>
                </a:cubicBezTo>
                <a:cubicBezTo>
                  <a:pt x="306" y="456"/>
                  <a:pt x="307" y="458"/>
                  <a:pt x="316" y="462"/>
                </a:cubicBezTo>
                <a:cubicBezTo>
                  <a:pt x="326" y="467"/>
                  <a:pt x="332" y="469"/>
                  <a:pt x="336" y="496"/>
                </a:cubicBezTo>
                <a:cubicBezTo>
                  <a:pt x="343" y="538"/>
                  <a:pt x="345" y="523"/>
                  <a:pt x="347" y="538"/>
                </a:cubicBezTo>
                <a:cubicBezTo>
                  <a:pt x="349" y="554"/>
                  <a:pt x="346" y="551"/>
                  <a:pt x="380" y="560"/>
                </a:cubicBezTo>
                <a:close/>
              </a:path>
            </a:pathLst>
          </a:custGeom>
          <a:solidFill>
            <a:schemeClr val="tx1"/>
          </a:solidFill>
          <a:ln w="3175" cmpd="sng">
            <a:noFill/>
            <a:headEnd type="none" w="med" len="med"/>
            <a:tailEnd type="none" w="med" len="med"/>
          </a:ln>
          <a:effectLst/>
          <a:scene3d>
            <a:camera prst="orthographicFront"/>
            <a:lightRig rig="soft" dir="t">
              <a:rot lat="0" lon="0" rev="0"/>
            </a:lightRig>
          </a:scene3d>
          <a:sp3d extrusionH="463550" prstMaterial="plastic">
            <a:extrusionClr>
              <a:srgbClr val="66331C"/>
            </a:extrusionClr>
            <a:contourClr>
              <a:srgbClr val="E4882C"/>
            </a:contourClr>
          </a:sp3d>
        </p:spPr>
        <p:txBody>
          <a:bodyPr vert="horz" wrap="square" lIns="0" tIns="0" rIns="0" bIns="0" numCol="1" rtlCol="0" anchor="ctr" anchorCtr="0" compatLnSpc="1">
            <a:prstTxWarp prst="textNoShape">
              <a:avLst/>
            </a:prstTxWarp>
          </a:bodyPr>
          <a:lstStyle/>
          <a:p>
            <a:pPr algn="ctr" fontAlgn="base">
              <a:lnSpc>
                <a:spcPct val="80000"/>
              </a:lnSpc>
              <a:spcBef>
                <a:spcPct val="0"/>
              </a:spcBef>
              <a:spcAft>
                <a:spcPct val="0"/>
              </a:spcAft>
              <a:buClr>
                <a:srgbClr val="FFFF99"/>
              </a:buClr>
              <a:buSzPct val="120000"/>
              <a:defRPr/>
            </a:pPr>
            <a:endParaRPr lang="en-US" altLang="zh-CN" sz="1700" i="1" spc="-38" dirty="0">
              <a:ln w="3175">
                <a:noFill/>
              </a:ln>
              <a:solidFill>
                <a:srgbClr val="FFFFFF"/>
              </a:solidFill>
              <a:latin typeface="Segoe UI" pitchFamily="34" charset="0"/>
              <a:cs typeface="Segoe UI" pitchFamily="34" charset="0"/>
            </a:endParaRPr>
          </a:p>
        </p:txBody>
      </p:sp>
      <p:grpSp>
        <p:nvGrpSpPr>
          <p:cNvPr id="5" name="Group 4"/>
          <p:cNvGrpSpPr/>
          <p:nvPr/>
        </p:nvGrpSpPr>
        <p:grpSpPr>
          <a:xfrm>
            <a:off x="4087928" y="1600567"/>
            <a:ext cx="1763113" cy="1960640"/>
            <a:chOff x="4948609" y="4440810"/>
            <a:chExt cx="2350205" cy="2614187"/>
          </a:xfrm>
        </p:grpSpPr>
        <p:grpSp>
          <p:nvGrpSpPr>
            <p:cNvPr id="36" name="Group 35"/>
            <p:cNvGrpSpPr/>
            <p:nvPr/>
          </p:nvGrpSpPr>
          <p:grpSpPr>
            <a:xfrm>
              <a:off x="4948609" y="4440810"/>
              <a:ext cx="1148638" cy="2384591"/>
              <a:chOff x="5091210" y="2326715"/>
              <a:chExt cx="1148638" cy="2384591"/>
            </a:xfrm>
          </p:grpSpPr>
          <p:sp>
            <p:nvSpPr>
              <p:cNvPr id="37" name="Trapezoid 36"/>
              <p:cNvSpPr/>
              <p:nvPr/>
            </p:nvSpPr>
            <p:spPr bwMode="auto">
              <a:xfrm rot="16200000">
                <a:off x="4604271" y="3213510"/>
                <a:ext cx="1780324" cy="599772"/>
              </a:xfrm>
              <a:prstGeom prst="trapezoid">
                <a:avLst>
                  <a:gd name="adj" fmla="val 1898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pic>
            <p:nvPicPr>
              <p:cNvPr id="38" name="Picture 6" descr="\\magnum\Projects\Microsoft\Cloud Power FY12\Design\Icons\PNGs\Server_2.png"/>
              <p:cNvPicPr>
                <a:picLocks noChangeAspect="1" noChangeArrowheads="1"/>
              </p:cNvPicPr>
              <p:nvPr/>
            </p:nvPicPr>
            <p:blipFill rotWithShape="1">
              <a:blip r:embed="rId3" cstate="print">
                <a:grayscl/>
              </a:blip>
              <a:srcRect l="27509" r="25796"/>
              <a:stretch/>
            </p:blipFill>
            <p:spPr bwMode="auto">
              <a:xfrm>
                <a:off x="5091210" y="2326715"/>
                <a:ext cx="1148638" cy="2384591"/>
              </a:xfrm>
              <a:prstGeom prst="rect">
                <a:avLst/>
              </a:prstGeom>
              <a:noFill/>
            </p:spPr>
          </p:pic>
        </p:grpSp>
        <p:grpSp>
          <p:nvGrpSpPr>
            <p:cNvPr id="39" name="Group 38"/>
            <p:cNvGrpSpPr/>
            <p:nvPr/>
          </p:nvGrpSpPr>
          <p:grpSpPr>
            <a:xfrm>
              <a:off x="5549393" y="4556315"/>
              <a:ext cx="1148638" cy="2384591"/>
              <a:chOff x="5091210" y="2326715"/>
              <a:chExt cx="1148638" cy="2384591"/>
            </a:xfrm>
          </p:grpSpPr>
          <p:sp>
            <p:nvSpPr>
              <p:cNvPr id="41" name="Trapezoid 40"/>
              <p:cNvSpPr/>
              <p:nvPr/>
            </p:nvSpPr>
            <p:spPr bwMode="auto">
              <a:xfrm rot="16200000">
                <a:off x="4604271" y="3213510"/>
                <a:ext cx="1780324" cy="599772"/>
              </a:xfrm>
              <a:prstGeom prst="trapezoid">
                <a:avLst>
                  <a:gd name="adj" fmla="val 1898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pic>
            <p:nvPicPr>
              <p:cNvPr id="42" name="Picture 6" descr="\\magnum\Projects\Microsoft\Cloud Power FY12\Design\Icons\PNGs\Server_2.png"/>
              <p:cNvPicPr>
                <a:picLocks noChangeAspect="1" noChangeArrowheads="1"/>
              </p:cNvPicPr>
              <p:nvPr/>
            </p:nvPicPr>
            <p:blipFill rotWithShape="1">
              <a:blip r:embed="rId3" cstate="print">
                <a:grayscl/>
              </a:blip>
              <a:srcRect l="27509" r="25796"/>
              <a:stretch/>
            </p:blipFill>
            <p:spPr bwMode="auto">
              <a:xfrm>
                <a:off x="5091210" y="2326715"/>
                <a:ext cx="1148638" cy="2384591"/>
              </a:xfrm>
              <a:prstGeom prst="rect">
                <a:avLst/>
              </a:prstGeom>
              <a:noFill/>
            </p:spPr>
          </p:pic>
        </p:grpSp>
        <p:grpSp>
          <p:nvGrpSpPr>
            <p:cNvPr id="43" name="Group 42"/>
            <p:cNvGrpSpPr/>
            <p:nvPr/>
          </p:nvGrpSpPr>
          <p:grpSpPr>
            <a:xfrm>
              <a:off x="6150176" y="4670406"/>
              <a:ext cx="1148638" cy="2384591"/>
              <a:chOff x="5091210" y="2326715"/>
              <a:chExt cx="1148638" cy="2384591"/>
            </a:xfrm>
          </p:grpSpPr>
          <p:sp>
            <p:nvSpPr>
              <p:cNvPr id="44" name="Trapezoid 43"/>
              <p:cNvSpPr/>
              <p:nvPr/>
            </p:nvSpPr>
            <p:spPr bwMode="auto">
              <a:xfrm rot="16200000">
                <a:off x="4604271" y="3213510"/>
                <a:ext cx="1780324" cy="599772"/>
              </a:xfrm>
              <a:prstGeom prst="trapezoid">
                <a:avLst>
                  <a:gd name="adj" fmla="val 1898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pic>
            <p:nvPicPr>
              <p:cNvPr id="45" name="Picture 6" descr="\\magnum\Projects\Microsoft\Cloud Power FY12\Design\Icons\PNGs\Server_2.png"/>
              <p:cNvPicPr>
                <a:picLocks noChangeAspect="1" noChangeArrowheads="1"/>
              </p:cNvPicPr>
              <p:nvPr/>
            </p:nvPicPr>
            <p:blipFill rotWithShape="1">
              <a:blip r:embed="rId3" cstate="print">
                <a:grayscl/>
              </a:blip>
              <a:srcRect l="27509" r="25796"/>
              <a:stretch/>
            </p:blipFill>
            <p:spPr bwMode="auto">
              <a:xfrm>
                <a:off x="5091210" y="2326715"/>
                <a:ext cx="1148638" cy="2384591"/>
              </a:xfrm>
              <a:prstGeom prst="rect">
                <a:avLst/>
              </a:prstGeom>
              <a:noFill/>
            </p:spPr>
          </p:pic>
        </p:grpSp>
      </p:grpSp>
      <p:sp>
        <p:nvSpPr>
          <p:cNvPr id="2" name="Title 1"/>
          <p:cNvSpPr>
            <a:spLocks noGrp="1"/>
          </p:cNvSpPr>
          <p:nvPr>
            <p:ph type="title"/>
          </p:nvPr>
        </p:nvSpPr>
        <p:spPr/>
        <p:txBody>
          <a:bodyPr/>
          <a:lstStyle/>
          <a:p>
            <a:r>
              <a:rPr lang="en-US" dirty="0" smtClean="0"/>
              <a:t>Roadmap: Evolution of HA in SQL Azure</a:t>
            </a:r>
            <a:endParaRPr lang="en-US" dirty="0"/>
          </a:p>
        </p:txBody>
      </p:sp>
      <p:grpSp>
        <p:nvGrpSpPr>
          <p:cNvPr id="187" name="Group 186"/>
          <p:cNvGrpSpPr/>
          <p:nvPr/>
        </p:nvGrpSpPr>
        <p:grpSpPr>
          <a:xfrm>
            <a:off x="4324064" y="2090143"/>
            <a:ext cx="1290841" cy="973871"/>
            <a:chOff x="5911427" y="2786849"/>
            <a:chExt cx="1720673" cy="1298495"/>
          </a:xfrm>
        </p:grpSpPr>
        <p:sp>
          <p:nvSpPr>
            <p:cNvPr id="115" name="Circular Arrow 114"/>
            <p:cNvSpPr/>
            <p:nvPr/>
          </p:nvSpPr>
          <p:spPr bwMode="auto">
            <a:xfrm rot="5946335">
              <a:off x="6289399" y="2808040"/>
              <a:ext cx="793970" cy="751587"/>
            </a:xfrm>
            <a:prstGeom prst="circularArrow">
              <a:avLst>
                <a:gd name="adj1" fmla="val 10344"/>
                <a:gd name="adj2" fmla="val 845271"/>
                <a:gd name="adj3" fmla="val 14263549"/>
                <a:gd name="adj4" fmla="val 6561038"/>
                <a:gd name="adj5" fmla="val 1058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495" fontAlgn="base">
                <a:spcBef>
                  <a:spcPct val="0"/>
                </a:spcBef>
                <a:spcAft>
                  <a:spcPct val="0"/>
                </a:spcAft>
              </a:pP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16" name="Circular Arrow 115"/>
            <p:cNvSpPr/>
            <p:nvPr/>
          </p:nvSpPr>
          <p:spPr bwMode="auto">
            <a:xfrm rot="10091276" flipH="1">
              <a:off x="5932709" y="3084915"/>
              <a:ext cx="793970" cy="751587"/>
            </a:xfrm>
            <a:prstGeom prst="circularArrow">
              <a:avLst>
                <a:gd name="adj1" fmla="val 10344"/>
                <a:gd name="adj2" fmla="val 845271"/>
                <a:gd name="adj3" fmla="val 14263549"/>
                <a:gd name="adj4" fmla="val 6561038"/>
                <a:gd name="adj5" fmla="val 1058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495" fontAlgn="base">
                <a:spcBef>
                  <a:spcPct val="0"/>
                </a:spcBef>
                <a:spcAft>
                  <a:spcPct val="0"/>
                </a:spcAft>
              </a:pP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76" name="Group 175"/>
            <p:cNvGrpSpPr/>
            <p:nvPr/>
          </p:nvGrpSpPr>
          <p:grpSpPr>
            <a:xfrm>
              <a:off x="5911427" y="2816929"/>
              <a:ext cx="814142" cy="607753"/>
              <a:chOff x="5911427" y="2816929"/>
              <a:chExt cx="814142" cy="607753"/>
            </a:xfrm>
          </p:grpSpPr>
          <p:grpSp>
            <p:nvGrpSpPr>
              <p:cNvPr id="173" name="Group 172"/>
              <p:cNvGrpSpPr/>
              <p:nvPr/>
            </p:nvGrpSpPr>
            <p:grpSpPr>
              <a:xfrm flipH="1">
                <a:off x="5911427" y="2816929"/>
                <a:ext cx="814142" cy="607753"/>
                <a:chOff x="2806700" y="5572125"/>
                <a:chExt cx="1358900" cy="1014412"/>
              </a:xfrm>
            </p:grpSpPr>
            <p:sp>
              <p:nvSpPr>
                <p:cNvPr id="174" name="Freeform 56"/>
                <p:cNvSpPr>
                  <a:spLocks/>
                </p:cNvSpPr>
                <p:nvPr/>
              </p:nvSpPr>
              <p:spPr bwMode="auto">
                <a:xfrm>
                  <a:off x="2851150" y="5572125"/>
                  <a:ext cx="1314450" cy="992187"/>
                </a:xfrm>
                <a:custGeom>
                  <a:avLst/>
                  <a:gdLst>
                    <a:gd name="T0" fmla="*/ 88 w 175"/>
                    <a:gd name="T1" fmla="*/ 1 h 132"/>
                    <a:gd name="T2" fmla="*/ 5 w 175"/>
                    <a:gd name="T3" fmla="*/ 50 h 132"/>
                    <a:gd name="T4" fmla="*/ 0 w 175"/>
                    <a:gd name="T5" fmla="*/ 55 h 132"/>
                    <a:gd name="T6" fmla="*/ 0 w 175"/>
                    <a:gd name="T7" fmla="*/ 84 h 132"/>
                    <a:gd name="T8" fmla="*/ 84 w 175"/>
                    <a:gd name="T9" fmla="*/ 132 h 132"/>
                    <a:gd name="T10" fmla="*/ 98 w 175"/>
                    <a:gd name="T11" fmla="*/ 123 h 132"/>
                    <a:gd name="T12" fmla="*/ 172 w 175"/>
                    <a:gd name="T13" fmla="*/ 81 h 132"/>
                    <a:gd name="T14" fmla="*/ 175 w 175"/>
                    <a:gd name="T15" fmla="*/ 50 h 132"/>
                    <a:gd name="T16" fmla="*/ 173 w 175"/>
                    <a:gd name="T17" fmla="*/ 46 h 132"/>
                    <a:gd name="T18" fmla="*/ 95 w 175"/>
                    <a:gd name="T19" fmla="*/ 1 h 132"/>
                    <a:gd name="T20" fmla="*/ 92 w 175"/>
                    <a:gd name="T21" fmla="*/ 0 h 132"/>
                    <a:gd name="T22" fmla="*/ 88 w 175"/>
                    <a:gd name="T23" fmla="*/ 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5" h="132">
                      <a:moveTo>
                        <a:pt x="88" y="1"/>
                      </a:moveTo>
                      <a:cubicBezTo>
                        <a:pt x="5" y="50"/>
                        <a:pt x="5" y="50"/>
                        <a:pt x="5" y="50"/>
                      </a:cubicBezTo>
                      <a:cubicBezTo>
                        <a:pt x="0" y="55"/>
                        <a:pt x="0" y="55"/>
                        <a:pt x="0" y="55"/>
                      </a:cubicBezTo>
                      <a:cubicBezTo>
                        <a:pt x="0" y="84"/>
                        <a:pt x="0" y="84"/>
                        <a:pt x="0" y="84"/>
                      </a:cubicBezTo>
                      <a:cubicBezTo>
                        <a:pt x="84" y="132"/>
                        <a:pt x="84" y="132"/>
                        <a:pt x="84" y="132"/>
                      </a:cubicBezTo>
                      <a:cubicBezTo>
                        <a:pt x="98" y="123"/>
                        <a:pt x="98" y="123"/>
                        <a:pt x="98" y="123"/>
                      </a:cubicBezTo>
                      <a:cubicBezTo>
                        <a:pt x="172" y="81"/>
                        <a:pt x="172" y="81"/>
                        <a:pt x="172" y="81"/>
                      </a:cubicBezTo>
                      <a:cubicBezTo>
                        <a:pt x="175" y="50"/>
                        <a:pt x="175" y="50"/>
                        <a:pt x="175" y="50"/>
                      </a:cubicBezTo>
                      <a:cubicBezTo>
                        <a:pt x="173" y="46"/>
                        <a:pt x="173" y="46"/>
                        <a:pt x="173" y="46"/>
                      </a:cubicBezTo>
                      <a:cubicBezTo>
                        <a:pt x="95" y="1"/>
                        <a:pt x="95" y="1"/>
                        <a:pt x="95" y="1"/>
                      </a:cubicBezTo>
                      <a:cubicBezTo>
                        <a:pt x="95" y="1"/>
                        <a:pt x="94" y="0"/>
                        <a:pt x="92" y="0"/>
                      </a:cubicBezTo>
                      <a:cubicBezTo>
                        <a:pt x="90" y="0"/>
                        <a:pt x="88" y="1"/>
                        <a:pt x="88" y="1"/>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5" name="Freeform 103"/>
                <p:cNvSpPr>
                  <a:spLocks noEditPoints="1"/>
                </p:cNvSpPr>
                <p:nvPr/>
              </p:nvSpPr>
              <p:spPr bwMode="auto">
                <a:xfrm>
                  <a:off x="2806700" y="5572125"/>
                  <a:ext cx="1358900" cy="1014412"/>
                </a:xfrm>
                <a:custGeom>
                  <a:avLst/>
                  <a:gdLst>
                    <a:gd name="T0" fmla="*/ 179 w 181"/>
                    <a:gd name="T1" fmla="*/ 46 h 135"/>
                    <a:gd name="T2" fmla="*/ 101 w 181"/>
                    <a:gd name="T3" fmla="*/ 1 h 135"/>
                    <a:gd name="T4" fmla="*/ 95 w 181"/>
                    <a:gd name="T5" fmla="*/ 1 h 135"/>
                    <a:gd name="T6" fmla="*/ 97 w 181"/>
                    <a:gd name="T7" fmla="*/ 95 h 135"/>
                    <a:gd name="T8" fmla="*/ 22 w 181"/>
                    <a:gd name="T9" fmla="*/ 86 h 135"/>
                    <a:gd name="T10" fmla="*/ 67 w 181"/>
                    <a:gd name="T11" fmla="*/ 119 h 135"/>
                    <a:gd name="T12" fmla="*/ 21 w 181"/>
                    <a:gd name="T13" fmla="*/ 88 h 135"/>
                    <a:gd name="T14" fmla="*/ 100 w 181"/>
                    <a:gd name="T15" fmla="*/ 102 h 135"/>
                    <a:gd name="T16" fmla="*/ 98 w 181"/>
                    <a:gd name="T17" fmla="*/ 135 h 135"/>
                    <a:gd name="T18" fmla="*/ 94 w 181"/>
                    <a:gd name="T19" fmla="*/ 134 h 135"/>
                    <a:gd name="T20" fmla="*/ 81 w 181"/>
                    <a:gd name="T21" fmla="*/ 122 h 135"/>
                    <a:gd name="T22" fmla="*/ 94 w 181"/>
                    <a:gd name="T23" fmla="*/ 127 h 135"/>
                    <a:gd name="T24" fmla="*/ 6 w 181"/>
                    <a:gd name="T25" fmla="*/ 55 h 135"/>
                    <a:gd name="T26" fmla="*/ 6 w 181"/>
                    <a:gd name="T27" fmla="*/ 77 h 135"/>
                    <a:gd name="T28" fmla="*/ 7 w 181"/>
                    <a:gd name="T29" fmla="*/ 85 h 135"/>
                    <a:gd name="T30" fmla="*/ 0 w 181"/>
                    <a:gd name="T31" fmla="*/ 81 h 135"/>
                    <a:gd name="T32" fmla="*/ 0 w 181"/>
                    <a:gd name="T33" fmla="*/ 51 h 135"/>
                    <a:gd name="T34" fmla="*/ 6 w 181"/>
                    <a:gd name="T35" fmla="*/ 47 h 135"/>
                    <a:gd name="T36" fmla="*/ 11 w 181"/>
                    <a:gd name="T37" fmla="*/ 50 h 135"/>
                    <a:gd name="T38" fmla="*/ 100 w 181"/>
                    <a:gd name="T39" fmla="*/ 102 h 135"/>
                    <a:gd name="T40" fmla="*/ 181 w 181"/>
                    <a:gd name="T41" fmla="*/ 51 h 135"/>
                    <a:gd name="T42" fmla="*/ 178 w 181"/>
                    <a:gd name="T43" fmla="*/ 81 h 135"/>
                    <a:gd name="T44" fmla="*/ 104 w 181"/>
                    <a:gd name="T45" fmla="*/ 102 h 135"/>
                    <a:gd name="T46" fmla="*/ 181 w 181"/>
                    <a:gd name="T47" fmla="*/ 50 h 135"/>
                    <a:gd name="T48" fmla="*/ 59 w 181"/>
                    <a:gd name="T49" fmla="*/ 100 h 135"/>
                    <a:gd name="T50" fmla="*/ 36 w 181"/>
                    <a:gd name="T51" fmla="*/ 87 h 135"/>
                    <a:gd name="T52" fmla="*/ 34 w 181"/>
                    <a:gd name="T53" fmla="*/ 82 h 135"/>
                    <a:gd name="T54" fmla="*/ 59 w 181"/>
                    <a:gd name="T55" fmla="*/ 93 h 135"/>
                    <a:gd name="T56" fmla="*/ 61 w 181"/>
                    <a:gd name="T57" fmla="*/ 99 h 135"/>
                    <a:gd name="T58" fmla="*/ 80 w 181"/>
                    <a:gd name="T59" fmla="*/ 117 h 135"/>
                    <a:gd name="T60" fmla="*/ 73 w 181"/>
                    <a:gd name="T61" fmla="*/ 124 h 135"/>
                    <a:gd name="T62" fmla="*/ 70 w 181"/>
                    <a:gd name="T63" fmla="*/ 121 h 135"/>
                    <a:gd name="T64" fmla="*/ 71 w 181"/>
                    <a:gd name="T65" fmla="*/ 104 h 135"/>
                    <a:gd name="T66" fmla="*/ 80 w 181"/>
                    <a:gd name="T67" fmla="*/ 100 h 135"/>
                    <a:gd name="T68" fmla="*/ 80 w 181"/>
                    <a:gd name="T69" fmla="*/ 103 h 135"/>
                    <a:gd name="T70" fmla="*/ 74 w 181"/>
                    <a:gd name="T71" fmla="*/ 118 h 135"/>
                    <a:gd name="T72" fmla="*/ 80 w 181"/>
                    <a:gd name="T73" fmla="*/ 117 h 135"/>
                    <a:gd name="T74" fmla="*/ 20 w 181"/>
                    <a:gd name="T75" fmla="*/ 86 h 135"/>
                    <a:gd name="T76" fmla="*/ 10 w 181"/>
                    <a:gd name="T77" fmla="*/ 89 h 135"/>
                    <a:gd name="T78" fmla="*/ 9 w 181"/>
                    <a:gd name="T79" fmla="*/ 72 h 135"/>
                    <a:gd name="T80" fmla="*/ 17 w 181"/>
                    <a:gd name="T81" fmla="*/ 66 h 135"/>
                    <a:gd name="T82" fmla="*/ 20 w 181"/>
                    <a:gd name="T83" fmla="*/ 66 h 135"/>
                    <a:gd name="T84" fmla="*/ 14 w 181"/>
                    <a:gd name="T85" fmla="*/ 72 h 135"/>
                    <a:gd name="T86" fmla="*/ 17 w 181"/>
                    <a:gd name="T87" fmla="*/ 8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1" h="135">
                      <a:moveTo>
                        <a:pt x="97" y="95"/>
                      </a:moveTo>
                      <a:cubicBezTo>
                        <a:pt x="179" y="46"/>
                        <a:pt x="179" y="46"/>
                        <a:pt x="179" y="46"/>
                      </a:cubicBezTo>
                      <a:cubicBezTo>
                        <a:pt x="179" y="46"/>
                        <a:pt x="179" y="46"/>
                        <a:pt x="178" y="46"/>
                      </a:cubicBezTo>
                      <a:cubicBezTo>
                        <a:pt x="101" y="1"/>
                        <a:pt x="101" y="1"/>
                        <a:pt x="101" y="1"/>
                      </a:cubicBezTo>
                      <a:cubicBezTo>
                        <a:pt x="100" y="0"/>
                        <a:pt x="99" y="0"/>
                        <a:pt x="98" y="0"/>
                      </a:cubicBezTo>
                      <a:cubicBezTo>
                        <a:pt x="97" y="0"/>
                        <a:pt x="96" y="0"/>
                        <a:pt x="95" y="1"/>
                      </a:cubicBezTo>
                      <a:cubicBezTo>
                        <a:pt x="14" y="48"/>
                        <a:pt x="14" y="48"/>
                        <a:pt x="14" y="48"/>
                      </a:cubicBezTo>
                      <a:cubicBezTo>
                        <a:pt x="97" y="95"/>
                        <a:pt x="97" y="95"/>
                        <a:pt x="97" y="95"/>
                      </a:cubicBezTo>
                      <a:cubicBezTo>
                        <a:pt x="97" y="95"/>
                        <a:pt x="97" y="95"/>
                        <a:pt x="97" y="95"/>
                      </a:cubicBezTo>
                      <a:close/>
                      <a:moveTo>
                        <a:pt x="22" y="86"/>
                      </a:moveTo>
                      <a:cubicBezTo>
                        <a:pt x="67" y="112"/>
                        <a:pt x="67" y="112"/>
                        <a:pt x="67" y="112"/>
                      </a:cubicBezTo>
                      <a:cubicBezTo>
                        <a:pt x="67" y="119"/>
                        <a:pt x="67" y="119"/>
                        <a:pt x="67" y="119"/>
                      </a:cubicBezTo>
                      <a:cubicBezTo>
                        <a:pt x="17" y="90"/>
                        <a:pt x="17" y="90"/>
                        <a:pt x="17" y="90"/>
                      </a:cubicBezTo>
                      <a:cubicBezTo>
                        <a:pt x="21" y="88"/>
                        <a:pt x="21" y="88"/>
                        <a:pt x="21" y="88"/>
                      </a:cubicBezTo>
                      <a:cubicBezTo>
                        <a:pt x="21" y="87"/>
                        <a:pt x="22" y="87"/>
                        <a:pt x="22" y="86"/>
                      </a:cubicBezTo>
                      <a:close/>
                      <a:moveTo>
                        <a:pt x="100" y="102"/>
                      </a:moveTo>
                      <a:cubicBezTo>
                        <a:pt x="100" y="132"/>
                        <a:pt x="100" y="132"/>
                        <a:pt x="100" y="132"/>
                      </a:cubicBezTo>
                      <a:cubicBezTo>
                        <a:pt x="100" y="133"/>
                        <a:pt x="99" y="134"/>
                        <a:pt x="98" y="135"/>
                      </a:cubicBezTo>
                      <a:cubicBezTo>
                        <a:pt x="98" y="135"/>
                        <a:pt x="97" y="135"/>
                        <a:pt x="96" y="135"/>
                      </a:cubicBezTo>
                      <a:cubicBezTo>
                        <a:pt x="96" y="135"/>
                        <a:pt x="95" y="135"/>
                        <a:pt x="94" y="134"/>
                      </a:cubicBezTo>
                      <a:cubicBezTo>
                        <a:pt x="76" y="124"/>
                        <a:pt x="76" y="124"/>
                        <a:pt x="76" y="124"/>
                      </a:cubicBezTo>
                      <a:cubicBezTo>
                        <a:pt x="81" y="122"/>
                        <a:pt x="81" y="122"/>
                        <a:pt x="81" y="122"/>
                      </a:cubicBezTo>
                      <a:cubicBezTo>
                        <a:pt x="82" y="121"/>
                        <a:pt x="82" y="121"/>
                        <a:pt x="82" y="120"/>
                      </a:cubicBezTo>
                      <a:cubicBezTo>
                        <a:pt x="94" y="127"/>
                        <a:pt x="94" y="127"/>
                        <a:pt x="94" y="127"/>
                      </a:cubicBezTo>
                      <a:cubicBezTo>
                        <a:pt x="94" y="105"/>
                        <a:pt x="94" y="105"/>
                        <a:pt x="94" y="105"/>
                      </a:cubicBezTo>
                      <a:cubicBezTo>
                        <a:pt x="6" y="55"/>
                        <a:pt x="6" y="55"/>
                        <a:pt x="6" y="55"/>
                      </a:cubicBezTo>
                      <a:cubicBezTo>
                        <a:pt x="6" y="77"/>
                        <a:pt x="6" y="77"/>
                        <a:pt x="6" y="77"/>
                      </a:cubicBezTo>
                      <a:cubicBezTo>
                        <a:pt x="6" y="77"/>
                        <a:pt x="6" y="77"/>
                        <a:pt x="6" y="77"/>
                      </a:cubicBezTo>
                      <a:cubicBezTo>
                        <a:pt x="7" y="78"/>
                        <a:pt x="7" y="78"/>
                        <a:pt x="7" y="78"/>
                      </a:cubicBezTo>
                      <a:cubicBezTo>
                        <a:pt x="7" y="85"/>
                        <a:pt x="7" y="85"/>
                        <a:pt x="7" y="85"/>
                      </a:cubicBezTo>
                      <a:cubicBezTo>
                        <a:pt x="3" y="83"/>
                        <a:pt x="3" y="83"/>
                        <a:pt x="3" y="83"/>
                      </a:cubicBezTo>
                      <a:cubicBezTo>
                        <a:pt x="0" y="81"/>
                        <a:pt x="0" y="81"/>
                        <a:pt x="0" y="81"/>
                      </a:cubicBezTo>
                      <a:cubicBezTo>
                        <a:pt x="0" y="78"/>
                        <a:pt x="0" y="78"/>
                        <a:pt x="0" y="78"/>
                      </a:cubicBezTo>
                      <a:cubicBezTo>
                        <a:pt x="0" y="51"/>
                        <a:pt x="0" y="51"/>
                        <a:pt x="0" y="51"/>
                      </a:cubicBezTo>
                      <a:cubicBezTo>
                        <a:pt x="0" y="49"/>
                        <a:pt x="0" y="48"/>
                        <a:pt x="2" y="47"/>
                      </a:cubicBezTo>
                      <a:cubicBezTo>
                        <a:pt x="3" y="47"/>
                        <a:pt x="4" y="47"/>
                        <a:pt x="6" y="47"/>
                      </a:cubicBezTo>
                      <a:cubicBezTo>
                        <a:pt x="11" y="50"/>
                        <a:pt x="11" y="50"/>
                        <a:pt x="11" y="50"/>
                      </a:cubicBezTo>
                      <a:cubicBezTo>
                        <a:pt x="11" y="50"/>
                        <a:pt x="11" y="50"/>
                        <a:pt x="11" y="50"/>
                      </a:cubicBezTo>
                      <a:cubicBezTo>
                        <a:pt x="99" y="100"/>
                        <a:pt x="99" y="100"/>
                        <a:pt x="99" y="100"/>
                      </a:cubicBezTo>
                      <a:cubicBezTo>
                        <a:pt x="100" y="100"/>
                        <a:pt x="100" y="101"/>
                        <a:pt x="100" y="102"/>
                      </a:cubicBezTo>
                      <a:close/>
                      <a:moveTo>
                        <a:pt x="181" y="50"/>
                      </a:moveTo>
                      <a:cubicBezTo>
                        <a:pt x="181" y="50"/>
                        <a:pt x="181" y="50"/>
                        <a:pt x="181" y="51"/>
                      </a:cubicBezTo>
                      <a:cubicBezTo>
                        <a:pt x="181" y="76"/>
                        <a:pt x="181" y="76"/>
                        <a:pt x="181" y="76"/>
                      </a:cubicBezTo>
                      <a:cubicBezTo>
                        <a:pt x="181" y="78"/>
                        <a:pt x="180" y="80"/>
                        <a:pt x="178" y="81"/>
                      </a:cubicBezTo>
                      <a:cubicBezTo>
                        <a:pt x="104" y="123"/>
                        <a:pt x="104" y="123"/>
                        <a:pt x="104" y="123"/>
                      </a:cubicBezTo>
                      <a:cubicBezTo>
                        <a:pt x="104" y="102"/>
                        <a:pt x="104" y="102"/>
                        <a:pt x="104" y="102"/>
                      </a:cubicBezTo>
                      <a:cubicBezTo>
                        <a:pt x="104" y="100"/>
                        <a:pt x="103" y="98"/>
                        <a:pt x="101" y="97"/>
                      </a:cubicBezTo>
                      <a:cubicBezTo>
                        <a:pt x="181" y="50"/>
                        <a:pt x="181" y="50"/>
                        <a:pt x="181" y="50"/>
                      </a:cubicBezTo>
                      <a:cubicBezTo>
                        <a:pt x="181" y="50"/>
                        <a:pt x="181" y="50"/>
                        <a:pt x="181" y="50"/>
                      </a:cubicBezTo>
                      <a:close/>
                      <a:moveTo>
                        <a:pt x="59" y="100"/>
                      </a:moveTo>
                      <a:cubicBezTo>
                        <a:pt x="59" y="100"/>
                        <a:pt x="59" y="100"/>
                        <a:pt x="58" y="100"/>
                      </a:cubicBezTo>
                      <a:cubicBezTo>
                        <a:pt x="36" y="87"/>
                        <a:pt x="36" y="87"/>
                        <a:pt x="36" y="87"/>
                      </a:cubicBezTo>
                      <a:cubicBezTo>
                        <a:pt x="35" y="87"/>
                        <a:pt x="34" y="85"/>
                        <a:pt x="34" y="84"/>
                      </a:cubicBezTo>
                      <a:cubicBezTo>
                        <a:pt x="34" y="82"/>
                        <a:pt x="34" y="82"/>
                        <a:pt x="34" y="82"/>
                      </a:cubicBezTo>
                      <a:cubicBezTo>
                        <a:pt x="34" y="80"/>
                        <a:pt x="35" y="80"/>
                        <a:pt x="36" y="80"/>
                      </a:cubicBezTo>
                      <a:cubicBezTo>
                        <a:pt x="59" y="93"/>
                        <a:pt x="59" y="93"/>
                        <a:pt x="59" y="93"/>
                      </a:cubicBezTo>
                      <a:cubicBezTo>
                        <a:pt x="60" y="94"/>
                        <a:pt x="61" y="95"/>
                        <a:pt x="61" y="96"/>
                      </a:cubicBezTo>
                      <a:cubicBezTo>
                        <a:pt x="61" y="99"/>
                        <a:pt x="61" y="99"/>
                        <a:pt x="61" y="99"/>
                      </a:cubicBezTo>
                      <a:cubicBezTo>
                        <a:pt x="61" y="100"/>
                        <a:pt x="60" y="100"/>
                        <a:pt x="59" y="100"/>
                      </a:cubicBezTo>
                      <a:close/>
                      <a:moveTo>
                        <a:pt x="80" y="117"/>
                      </a:moveTo>
                      <a:cubicBezTo>
                        <a:pt x="81" y="118"/>
                        <a:pt x="81" y="119"/>
                        <a:pt x="80" y="120"/>
                      </a:cubicBezTo>
                      <a:cubicBezTo>
                        <a:pt x="73" y="124"/>
                        <a:pt x="73" y="124"/>
                        <a:pt x="73" y="124"/>
                      </a:cubicBezTo>
                      <a:cubicBezTo>
                        <a:pt x="72" y="124"/>
                        <a:pt x="71" y="124"/>
                        <a:pt x="70" y="123"/>
                      </a:cubicBezTo>
                      <a:cubicBezTo>
                        <a:pt x="70" y="123"/>
                        <a:pt x="70" y="121"/>
                        <a:pt x="70" y="121"/>
                      </a:cubicBezTo>
                      <a:cubicBezTo>
                        <a:pt x="70" y="106"/>
                        <a:pt x="70" y="106"/>
                        <a:pt x="70" y="106"/>
                      </a:cubicBezTo>
                      <a:cubicBezTo>
                        <a:pt x="70" y="106"/>
                        <a:pt x="70" y="104"/>
                        <a:pt x="71" y="104"/>
                      </a:cubicBezTo>
                      <a:cubicBezTo>
                        <a:pt x="77" y="100"/>
                        <a:pt x="77" y="100"/>
                        <a:pt x="77" y="100"/>
                      </a:cubicBezTo>
                      <a:cubicBezTo>
                        <a:pt x="78" y="99"/>
                        <a:pt x="80" y="100"/>
                        <a:pt x="80" y="100"/>
                      </a:cubicBezTo>
                      <a:cubicBezTo>
                        <a:pt x="80" y="100"/>
                        <a:pt x="80" y="100"/>
                        <a:pt x="80" y="100"/>
                      </a:cubicBezTo>
                      <a:cubicBezTo>
                        <a:pt x="81" y="101"/>
                        <a:pt x="81" y="103"/>
                        <a:pt x="80" y="103"/>
                      </a:cubicBezTo>
                      <a:cubicBezTo>
                        <a:pt x="74" y="106"/>
                        <a:pt x="74" y="106"/>
                        <a:pt x="74" y="106"/>
                      </a:cubicBezTo>
                      <a:cubicBezTo>
                        <a:pt x="74" y="118"/>
                        <a:pt x="74" y="118"/>
                        <a:pt x="74" y="118"/>
                      </a:cubicBezTo>
                      <a:cubicBezTo>
                        <a:pt x="77" y="117"/>
                        <a:pt x="77" y="117"/>
                        <a:pt x="77" y="117"/>
                      </a:cubicBezTo>
                      <a:cubicBezTo>
                        <a:pt x="78" y="116"/>
                        <a:pt x="80" y="116"/>
                        <a:pt x="80" y="117"/>
                      </a:cubicBezTo>
                      <a:close/>
                      <a:moveTo>
                        <a:pt x="20" y="83"/>
                      </a:moveTo>
                      <a:cubicBezTo>
                        <a:pt x="21" y="84"/>
                        <a:pt x="21" y="85"/>
                        <a:pt x="20" y="86"/>
                      </a:cubicBezTo>
                      <a:cubicBezTo>
                        <a:pt x="13" y="90"/>
                        <a:pt x="13" y="90"/>
                        <a:pt x="13" y="90"/>
                      </a:cubicBezTo>
                      <a:cubicBezTo>
                        <a:pt x="12" y="90"/>
                        <a:pt x="11" y="90"/>
                        <a:pt x="10" y="89"/>
                      </a:cubicBezTo>
                      <a:cubicBezTo>
                        <a:pt x="10" y="89"/>
                        <a:pt x="9" y="87"/>
                        <a:pt x="9" y="87"/>
                      </a:cubicBezTo>
                      <a:cubicBezTo>
                        <a:pt x="9" y="72"/>
                        <a:pt x="9" y="72"/>
                        <a:pt x="9" y="72"/>
                      </a:cubicBezTo>
                      <a:cubicBezTo>
                        <a:pt x="9" y="72"/>
                        <a:pt x="10" y="70"/>
                        <a:pt x="10" y="70"/>
                      </a:cubicBezTo>
                      <a:cubicBezTo>
                        <a:pt x="17" y="66"/>
                        <a:pt x="17" y="66"/>
                        <a:pt x="17" y="66"/>
                      </a:cubicBezTo>
                      <a:cubicBezTo>
                        <a:pt x="18" y="65"/>
                        <a:pt x="20" y="66"/>
                        <a:pt x="20" y="66"/>
                      </a:cubicBezTo>
                      <a:cubicBezTo>
                        <a:pt x="20" y="66"/>
                        <a:pt x="20" y="66"/>
                        <a:pt x="20" y="66"/>
                      </a:cubicBezTo>
                      <a:cubicBezTo>
                        <a:pt x="21" y="67"/>
                        <a:pt x="21" y="69"/>
                        <a:pt x="20" y="69"/>
                      </a:cubicBezTo>
                      <a:cubicBezTo>
                        <a:pt x="14" y="72"/>
                        <a:pt x="14" y="72"/>
                        <a:pt x="14" y="72"/>
                      </a:cubicBezTo>
                      <a:cubicBezTo>
                        <a:pt x="14" y="84"/>
                        <a:pt x="14" y="84"/>
                        <a:pt x="14" y="84"/>
                      </a:cubicBezTo>
                      <a:cubicBezTo>
                        <a:pt x="17" y="83"/>
                        <a:pt x="17" y="83"/>
                        <a:pt x="17" y="83"/>
                      </a:cubicBezTo>
                      <a:cubicBezTo>
                        <a:pt x="18" y="82"/>
                        <a:pt x="20" y="82"/>
                        <a:pt x="20" y="8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69" name="Picture 2"/>
              <p:cNvPicPr>
                <a:picLocks noChangeAspect="1" noChangeArrowheads="1"/>
              </p:cNvPicPr>
              <p:nvPr/>
            </p:nvPicPr>
            <p:blipFill>
              <a:blip r:embed="rId4" cstate="print">
                <a:clrChange>
                  <a:clrFrom>
                    <a:srgbClr val="4EB1E4"/>
                  </a:clrFrom>
                  <a:clrTo>
                    <a:srgbClr val="4EB1E4">
                      <a:alpha val="0"/>
                    </a:srgbClr>
                  </a:clrTo>
                </a:clrChange>
                <a:duotone>
                  <a:prstClr val="black"/>
                  <a:schemeClr val="accent4">
                    <a:tint val="45000"/>
                    <a:satMod val="400000"/>
                  </a:schemeClr>
                </a:duotone>
                <a:extLst>
                  <a:ext uri="{28A0092B-C50C-407E-A947-70E740481C1C}">
                    <a14:useLocalDpi xmlns:a14="http://schemas.microsoft.com/office/drawing/2010/main" val="0"/>
                  </a:ext>
                </a:extLst>
              </a:blip>
              <a:srcRect/>
              <a:stretch>
                <a:fillRect/>
              </a:stretch>
            </p:blipFill>
            <p:spPr bwMode="auto">
              <a:xfrm>
                <a:off x="5977159" y="3154213"/>
                <a:ext cx="198884" cy="180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77" name="Group 176"/>
            <p:cNvGrpSpPr/>
            <p:nvPr/>
          </p:nvGrpSpPr>
          <p:grpSpPr>
            <a:xfrm>
              <a:off x="6305182" y="3477591"/>
              <a:ext cx="814142" cy="607753"/>
              <a:chOff x="5911427" y="2816929"/>
              <a:chExt cx="814142" cy="607753"/>
            </a:xfrm>
          </p:grpSpPr>
          <p:grpSp>
            <p:nvGrpSpPr>
              <p:cNvPr id="178" name="Group 177"/>
              <p:cNvGrpSpPr/>
              <p:nvPr/>
            </p:nvGrpSpPr>
            <p:grpSpPr>
              <a:xfrm flipH="1">
                <a:off x="5911427" y="2816929"/>
                <a:ext cx="814142" cy="607753"/>
                <a:chOff x="2806700" y="5572125"/>
                <a:chExt cx="1358900" cy="1014412"/>
              </a:xfrm>
            </p:grpSpPr>
            <p:sp>
              <p:nvSpPr>
                <p:cNvPr id="180" name="Freeform 56"/>
                <p:cNvSpPr>
                  <a:spLocks/>
                </p:cNvSpPr>
                <p:nvPr/>
              </p:nvSpPr>
              <p:spPr bwMode="auto">
                <a:xfrm>
                  <a:off x="2851150" y="5572125"/>
                  <a:ext cx="1314450" cy="992187"/>
                </a:xfrm>
                <a:custGeom>
                  <a:avLst/>
                  <a:gdLst>
                    <a:gd name="T0" fmla="*/ 88 w 175"/>
                    <a:gd name="T1" fmla="*/ 1 h 132"/>
                    <a:gd name="T2" fmla="*/ 5 w 175"/>
                    <a:gd name="T3" fmla="*/ 50 h 132"/>
                    <a:gd name="T4" fmla="*/ 0 w 175"/>
                    <a:gd name="T5" fmla="*/ 55 h 132"/>
                    <a:gd name="T6" fmla="*/ 0 w 175"/>
                    <a:gd name="T7" fmla="*/ 84 h 132"/>
                    <a:gd name="T8" fmla="*/ 84 w 175"/>
                    <a:gd name="T9" fmla="*/ 132 h 132"/>
                    <a:gd name="T10" fmla="*/ 98 w 175"/>
                    <a:gd name="T11" fmla="*/ 123 h 132"/>
                    <a:gd name="T12" fmla="*/ 172 w 175"/>
                    <a:gd name="T13" fmla="*/ 81 h 132"/>
                    <a:gd name="T14" fmla="*/ 175 w 175"/>
                    <a:gd name="T15" fmla="*/ 50 h 132"/>
                    <a:gd name="T16" fmla="*/ 173 w 175"/>
                    <a:gd name="T17" fmla="*/ 46 h 132"/>
                    <a:gd name="T18" fmla="*/ 95 w 175"/>
                    <a:gd name="T19" fmla="*/ 1 h 132"/>
                    <a:gd name="T20" fmla="*/ 92 w 175"/>
                    <a:gd name="T21" fmla="*/ 0 h 132"/>
                    <a:gd name="T22" fmla="*/ 88 w 175"/>
                    <a:gd name="T23" fmla="*/ 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5" h="132">
                      <a:moveTo>
                        <a:pt x="88" y="1"/>
                      </a:moveTo>
                      <a:cubicBezTo>
                        <a:pt x="5" y="50"/>
                        <a:pt x="5" y="50"/>
                        <a:pt x="5" y="50"/>
                      </a:cubicBezTo>
                      <a:cubicBezTo>
                        <a:pt x="0" y="55"/>
                        <a:pt x="0" y="55"/>
                        <a:pt x="0" y="55"/>
                      </a:cubicBezTo>
                      <a:cubicBezTo>
                        <a:pt x="0" y="84"/>
                        <a:pt x="0" y="84"/>
                        <a:pt x="0" y="84"/>
                      </a:cubicBezTo>
                      <a:cubicBezTo>
                        <a:pt x="84" y="132"/>
                        <a:pt x="84" y="132"/>
                        <a:pt x="84" y="132"/>
                      </a:cubicBezTo>
                      <a:cubicBezTo>
                        <a:pt x="98" y="123"/>
                        <a:pt x="98" y="123"/>
                        <a:pt x="98" y="123"/>
                      </a:cubicBezTo>
                      <a:cubicBezTo>
                        <a:pt x="172" y="81"/>
                        <a:pt x="172" y="81"/>
                        <a:pt x="172" y="81"/>
                      </a:cubicBezTo>
                      <a:cubicBezTo>
                        <a:pt x="175" y="50"/>
                        <a:pt x="175" y="50"/>
                        <a:pt x="175" y="50"/>
                      </a:cubicBezTo>
                      <a:cubicBezTo>
                        <a:pt x="173" y="46"/>
                        <a:pt x="173" y="46"/>
                        <a:pt x="173" y="46"/>
                      </a:cubicBezTo>
                      <a:cubicBezTo>
                        <a:pt x="95" y="1"/>
                        <a:pt x="95" y="1"/>
                        <a:pt x="95" y="1"/>
                      </a:cubicBezTo>
                      <a:cubicBezTo>
                        <a:pt x="95" y="1"/>
                        <a:pt x="94" y="0"/>
                        <a:pt x="92" y="0"/>
                      </a:cubicBezTo>
                      <a:cubicBezTo>
                        <a:pt x="90" y="0"/>
                        <a:pt x="88" y="1"/>
                        <a:pt x="88" y="1"/>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1" name="Freeform 103"/>
                <p:cNvSpPr>
                  <a:spLocks noEditPoints="1"/>
                </p:cNvSpPr>
                <p:nvPr/>
              </p:nvSpPr>
              <p:spPr bwMode="auto">
                <a:xfrm>
                  <a:off x="2806700" y="5572125"/>
                  <a:ext cx="1358900" cy="1014412"/>
                </a:xfrm>
                <a:custGeom>
                  <a:avLst/>
                  <a:gdLst>
                    <a:gd name="T0" fmla="*/ 179 w 181"/>
                    <a:gd name="T1" fmla="*/ 46 h 135"/>
                    <a:gd name="T2" fmla="*/ 101 w 181"/>
                    <a:gd name="T3" fmla="*/ 1 h 135"/>
                    <a:gd name="T4" fmla="*/ 95 w 181"/>
                    <a:gd name="T5" fmla="*/ 1 h 135"/>
                    <a:gd name="T6" fmla="*/ 97 w 181"/>
                    <a:gd name="T7" fmla="*/ 95 h 135"/>
                    <a:gd name="T8" fmla="*/ 22 w 181"/>
                    <a:gd name="T9" fmla="*/ 86 h 135"/>
                    <a:gd name="T10" fmla="*/ 67 w 181"/>
                    <a:gd name="T11" fmla="*/ 119 h 135"/>
                    <a:gd name="T12" fmla="*/ 21 w 181"/>
                    <a:gd name="T13" fmla="*/ 88 h 135"/>
                    <a:gd name="T14" fmla="*/ 100 w 181"/>
                    <a:gd name="T15" fmla="*/ 102 h 135"/>
                    <a:gd name="T16" fmla="*/ 98 w 181"/>
                    <a:gd name="T17" fmla="*/ 135 h 135"/>
                    <a:gd name="T18" fmla="*/ 94 w 181"/>
                    <a:gd name="T19" fmla="*/ 134 h 135"/>
                    <a:gd name="T20" fmla="*/ 81 w 181"/>
                    <a:gd name="T21" fmla="*/ 122 h 135"/>
                    <a:gd name="T22" fmla="*/ 94 w 181"/>
                    <a:gd name="T23" fmla="*/ 127 h 135"/>
                    <a:gd name="T24" fmla="*/ 6 w 181"/>
                    <a:gd name="T25" fmla="*/ 55 h 135"/>
                    <a:gd name="T26" fmla="*/ 6 w 181"/>
                    <a:gd name="T27" fmla="*/ 77 h 135"/>
                    <a:gd name="T28" fmla="*/ 7 w 181"/>
                    <a:gd name="T29" fmla="*/ 85 h 135"/>
                    <a:gd name="T30" fmla="*/ 0 w 181"/>
                    <a:gd name="T31" fmla="*/ 81 h 135"/>
                    <a:gd name="T32" fmla="*/ 0 w 181"/>
                    <a:gd name="T33" fmla="*/ 51 h 135"/>
                    <a:gd name="T34" fmla="*/ 6 w 181"/>
                    <a:gd name="T35" fmla="*/ 47 h 135"/>
                    <a:gd name="T36" fmla="*/ 11 w 181"/>
                    <a:gd name="T37" fmla="*/ 50 h 135"/>
                    <a:gd name="T38" fmla="*/ 100 w 181"/>
                    <a:gd name="T39" fmla="*/ 102 h 135"/>
                    <a:gd name="T40" fmla="*/ 181 w 181"/>
                    <a:gd name="T41" fmla="*/ 51 h 135"/>
                    <a:gd name="T42" fmla="*/ 178 w 181"/>
                    <a:gd name="T43" fmla="*/ 81 h 135"/>
                    <a:gd name="T44" fmla="*/ 104 w 181"/>
                    <a:gd name="T45" fmla="*/ 102 h 135"/>
                    <a:gd name="T46" fmla="*/ 181 w 181"/>
                    <a:gd name="T47" fmla="*/ 50 h 135"/>
                    <a:gd name="T48" fmla="*/ 59 w 181"/>
                    <a:gd name="T49" fmla="*/ 100 h 135"/>
                    <a:gd name="T50" fmla="*/ 36 w 181"/>
                    <a:gd name="T51" fmla="*/ 87 h 135"/>
                    <a:gd name="T52" fmla="*/ 34 w 181"/>
                    <a:gd name="T53" fmla="*/ 82 h 135"/>
                    <a:gd name="T54" fmla="*/ 59 w 181"/>
                    <a:gd name="T55" fmla="*/ 93 h 135"/>
                    <a:gd name="T56" fmla="*/ 61 w 181"/>
                    <a:gd name="T57" fmla="*/ 99 h 135"/>
                    <a:gd name="T58" fmla="*/ 80 w 181"/>
                    <a:gd name="T59" fmla="*/ 117 h 135"/>
                    <a:gd name="T60" fmla="*/ 73 w 181"/>
                    <a:gd name="T61" fmla="*/ 124 h 135"/>
                    <a:gd name="T62" fmla="*/ 70 w 181"/>
                    <a:gd name="T63" fmla="*/ 121 h 135"/>
                    <a:gd name="T64" fmla="*/ 71 w 181"/>
                    <a:gd name="T65" fmla="*/ 104 h 135"/>
                    <a:gd name="T66" fmla="*/ 80 w 181"/>
                    <a:gd name="T67" fmla="*/ 100 h 135"/>
                    <a:gd name="T68" fmla="*/ 80 w 181"/>
                    <a:gd name="T69" fmla="*/ 103 h 135"/>
                    <a:gd name="T70" fmla="*/ 74 w 181"/>
                    <a:gd name="T71" fmla="*/ 118 h 135"/>
                    <a:gd name="T72" fmla="*/ 80 w 181"/>
                    <a:gd name="T73" fmla="*/ 117 h 135"/>
                    <a:gd name="T74" fmla="*/ 20 w 181"/>
                    <a:gd name="T75" fmla="*/ 86 h 135"/>
                    <a:gd name="T76" fmla="*/ 10 w 181"/>
                    <a:gd name="T77" fmla="*/ 89 h 135"/>
                    <a:gd name="T78" fmla="*/ 9 w 181"/>
                    <a:gd name="T79" fmla="*/ 72 h 135"/>
                    <a:gd name="T80" fmla="*/ 17 w 181"/>
                    <a:gd name="T81" fmla="*/ 66 h 135"/>
                    <a:gd name="T82" fmla="*/ 20 w 181"/>
                    <a:gd name="T83" fmla="*/ 66 h 135"/>
                    <a:gd name="T84" fmla="*/ 14 w 181"/>
                    <a:gd name="T85" fmla="*/ 72 h 135"/>
                    <a:gd name="T86" fmla="*/ 17 w 181"/>
                    <a:gd name="T87" fmla="*/ 8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1" h="135">
                      <a:moveTo>
                        <a:pt x="97" y="95"/>
                      </a:moveTo>
                      <a:cubicBezTo>
                        <a:pt x="179" y="46"/>
                        <a:pt x="179" y="46"/>
                        <a:pt x="179" y="46"/>
                      </a:cubicBezTo>
                      <a:cubicBezTo>
                        <a:pt x="179" y="46"/>
                        <a:pt x="179" y="46"/>
                        <a:pt x="178" y="46"/>
                      </a:cubicBezTo>
                      <a:cubicBezTo>
                        <a:pt x="101" y="1"/>
                        <a:pt x="101" y="1"/>
                        <a:pt x="101" y="1"/>
                      </a:cubicBezTo>
                      <a:cubicBezTo>
                        <a:pt x="100" y="0"/>
                        <a:pt x="99" y="0"/>
                        <a:pt x="98" y="0"/>
                      </a:cubicBezTo>
                      <a:cubicBezTo>
                        <a:pt x="97" y="0"/>
                        <a:pt x="96" y="0"/>
                        <a:pt x="95" y="1"/>
                      </a:cubicBezTo>
                      <a:cubicBezTo>
                        <a:pt x="14" y="48"/>
                        <a:pt x="14" y="48"/>
                        <a:pt x="14" y="48"/>
                      </a:cubicBezTo>
                      <a:cubicBezTo>
                        <a:pt x="97" y="95"/>
                        <a:pt x="97" y="95"/>
                        <a:pt x="97" y="95"/>
                      </a:cubicBezTo>
                      <a:cubicBezTo>
                        <a:pt x="97" y="95"/>
                        <a:pt x="97" y="95"/>
                        <a:pt x="97" y="95"/>
                      </a:cubicBezTo>
                      <a:close/>
                      <a:moveTo>
                        <a:pt x="22" y="86"/>
                      </a:moveTo>
                      <a:cubicBezTo>
                        <a:pt x="67" y="112"/>
                        <a:pt x="67" y="112"/>
                        <a:pt x="67" y="112"/>
                      </a:cubicBezTo>
                      <a:cubicBezTo>
                        <a:pt x="67" y="119"/>
                        <a:pt x="67" y="119"/>
                        <a:pt x="67" y="119"/>
                      </a:cubicBezTo>
                      <a:cubicBezTo>
                        <a:pt x="17" y="90"/>
                        <a:pt x="17" y="90"/>
                        <a:pt x="17" y="90"/>
                      </a:cubicBezTo>
                      <a:cubicBezTo>
                        <a:pt x="21" y="88"/>
                        <a:pt x="21" y="88"/>
                        <a:pt x="21" y="88"/>
                      </a:cubicBezTo>
                      <a:cubicBezTo>
                        <a:pt x="21" y="87"/>
                        <a:pt x="22" y="87"/>
                        <a:pt x="22" y="86"/>
                      </a:cubicBezTo>
                      <a:close/>
                      <a:moveTo>
                        <a:pt x="100" y="102"/>
                      </a:moveTo>
                      <a:cubicBezTo>
                        <a:pt x="100" y="132"/>
                        <a:pt x="100" y="132"/>
                        <a:pt x="100" y="132"/>
                      </a:cubicBezTo>
                      <a:cubicBezTo>
                        <a:pt x="100" y="133"/>
                        <a:pt x="99" y="134"/>
                        <a:pt x="98" y="135"/>
                      </a:cubicBezTo>
                      <a:cubicBezTo>
                        <a:pt x="98" y="135"/>
                        <a:pt x="97" y="135"/>
                        <a:pt x="96" y="135"/>
                      </a:cubicBezTo>
                      <a:cubicBezTo>
                        <a:pt x="96" y="135"/>
                        <a:pt x="95" y="135"/>
                        <a:pt x="94" y="134"/>
                      </a:cubicBezTo>
                      <a:cubicBezTo>
                        <a:pt x="76" y="124"/>
                        <a:pt x="76" y="124"/>
                        <a:pt x="76" y="124"/>
                      </a:cubicBezTo>
                      <a:cubicBezTo>
                        <a:pt x="81" y="122"/>
                        <a:pt x="81" y="122"/>
                        <a:pt x="81" y="122"/>
                      </a:cubicBezTo>
                      <a:cubicBezTo>
                        <a:pt x="82" y="121"/>
                        <a:pt x="82" y="121"/>
                        <a:pt x="82" y="120"/>
                      </a:cubicBezTo>
                      <a:cubicBezTo>
                        <a:pt x="94" y="127"/>
                        <a:pt x="94" y="127"/>
                        <a:pt x="94" y="127"/>
                      </a:cubicBezTo>
                      <a:cubicBezTo>
                        <a:pt x="94" y="105"/>
                        <a:pt x="94" y="105"/>
                        <a:pt x="94" y="105"/>
                      </a:cubicBezTo>
                      <a:cubicBezTo>
                        <a:pt x="6" y="55"/>
                        <a:pt x="6" y="55"/>
                        <a:pt x="6" y="55"/>
                      </a:cubicBezTo>
                      <a:cubicBezTo>
                        <a:pt x="6" y="77"/>
                        <a:pt x="6" y="77"/>
                        <a:pt x="6" y="77"/>
                      </a:cubicBezTo>
                      <a:cubicBezTo>
                        <a:pt x="6" y="77"/>
                        <a:pt x="6" y="77"/>
                        <a:pt x="6" y="77"/>
                      </a:cubicBezTo>
                      <a:cubicBezTo>
                        <a:pt x="7" y="78"/>
                        <a:pt x="7" y="78"/>
                        <a:pt x="7" y="78"/>
                      </a:cubicBezTo>
                      <a:cubicBezTo>
                        <a:pt x="7" y="85"/>
                        <a:pt x="7" y="85"/>
                        <a:pt x="7" y="85"/>
                      </a:cubicBezTo>
                      <a:cubicBezTo>
                        <a:pt x="3" y="83"/>
                        <a:pt x="3" y="83"/>
                        <a:pt x="3" y="83"/>
                      </a:cubicBezTo>
                      <a:cubicBezTo>
                        <a:pt x="0" y="81"/>
                        <a:pt x="0" y="81"/>
                        <a:pt x="0" y="81"/>
                      </a:cubicBezTo>
                      <a:cubicBezTo>
                        <a:pt x="0" y="78"/>
                        <a:pt x="0" y="78"/>
                        <a:pt x="0" y="78"/>
                      </a:cubicBezTo>
                      <a:cubicBezTo>
                        <a:pt x="0" y="51"/>
                        <a:pt x="0" y="51"/>
                        <a:pt x="0" y="51"/>
                      </a:cubicBezTo>
                      <a:cubicBezTo>
                        <a:pt x="0" y="49"/>
                        <a:pt x="0" y="48"/>
                        <a:pt x="2" y="47"/>
                      </a:cubicBezTo>
                      <a:cubicBezTo>
                        <a:pt x="3" y="47"/>
                        <a:pt x="4" y="47"/>
                        <a:pt x="6" y="47"/>
                      </a:cubicBezTo>
                      <a:cubicBezTo>
                        <a:pt x="11" y="50"/>
                        <a:pt x="11" y="50"/>
                        <a:pt x="11" y="50"/>
                      </a:cubicBezTo>
                      <a:cubicBezTo>
                        <a:pt x="11" y="50"/>
                        <a:pt x="11" y="50"/>
                        <a:pt x="11" y="50"/>
                      </a:cubicBezTo>
                      <a:cubicBezTo>
                        <a:pt x="99" y="100"/>
                        <a:pt x="99" y="100"/>
                        <a:pt x="99" y="100"/>
                      </a:cubicBezTo>
                      <a:cubicBezTo>
                        <a:pt x="100" y="100"/>
                        <a:pt x="100" y="101"/>
                        <a:pt x="100" y="102"/>
                      </a:cubicBezTo>
                      <a:close/>
                      <a:moveTo>
                        <a:pt x="181" y="50"/>
                      </a:moveTo>
                      <a:cubicBezTo>
                        <a:pt x="181" y="50"/>
                        <a:pt x="181" y="50"/>
                        <a:pt x="181" y="51"/>
                      </a:cubicBezTo>
                      <a:cubicBezTo>
                        <a:pt x="181" y="76"/>
                        <a:pt x="181" y="76"/>
                        <a:pt x="181" y="76"/>
                      </a:cubicBezTo>
                      <a:cubicBezTo>
                        <a:pt x="181" y="78"/>
                        <a:pt x="180" y="80"/>
                        <a:pt x="178" y="81"/>
                      </a:cubicBezTo>
                      <a:cubicBezTo>
                        <a:pt x="104" y="123"/>
                        <a:pt x="104" y="123"/>
                        <a:pt x="104" y="123"/>
                      </a:cubicBezTo>
                      <a:cubicBezTo>
                        <a:pt x="104" y="102"/>
                        <a:pt x="104" y="102"/>
                        <a:pt x="104" y="102"/>
                      </a:cubicBezTo>
                      <a:cubicBezTo>
                        <a:pt x="104" y="100"/>
                        <a:pt x="103" y="98"/>
                        <a:pt x="101" y="97"/>
                      </a:cubicBezTo>
                      <a:cubicBezTo>
                        <a:pt x="181" y="50"/>
                        <a:pt x="181" y="50"/>
                        <a:pt x="181" y="50"/>
                      </a:cubicBezTo>
                      <a:cubicBezTo>
                        <a:pt x="181" y="50"/>
                        <a:pt x="181" y="50"/>
                        <a:pt x="181" y="50"/>
                      </a:cubicBezTo>
                      <a:close/>
                      <a:moveTo>
                        <a:pt x="59" y="100"/>
                      </a:moveTo>
                      <a:cubicBezTo>
                        <a:pt x="59" y="100"/>
                        <a:pt x="59" y="100"/>
                        <a:pt x="58" y="100"/>
                      </a:cubicBezTo>
                      <a:cubicBezTo>
                        <a:pt x="36" y="87"/>
                        <a:pt x="36" y="87"/>
                        <a:pt x="36" y="87"/>
                      </a:cubicBezTo>
                      <a:cubicBezTo>
                        <a:pt x="35" y="87"/>
                        <a:pt x="34" y="85"/>
                        <a:pt x="34" y="84"/>
                      </a:cubicBezTo>
                      <a:cubicBezTo>
                        <a:pt x="34" y="82"/>
                        <a:pt x="34" y="82"/>
                        <a:pt x="34" y="82"/>
                      </a:cubicBezTo>
                      <a:cubicBezTo>
                        <a:pt x="34" y="80"/>
                        <a:pt x="35" y="80"/>
                        <a:pt x="36" y="80"/>
                      </a:cubicBezTo>
                      <a:cubicBezTo>
                        <a:pt x="59" y="93"/>
                        <a:pt x="59" y="93"/>
                        <a:pt x="59" y="93"/>
                      </a:cubicBezTo>
                      <a:cubicBezTo>
                        <a:pt x="60" y="94"/>
                        <a:pt x="61" y="95"/>
                        <a:pt x="61" y="96"/>
                      </a:cubicBezTo>
                      <a:cubicBezTo>
                        <a:pt x="61" y="99"/>
                        <a:pt x="61" y="99"/>
                        <a:pt x="61" y="99"/>
                      </a:cubicBezTo>
                      <a:cubicBezTo>
                        <a:pt x="61" y="100"/>
                        <a:pt x="60" y="100"/>
                        <a:pt x="59" y="100"/>
                      </a:cubicBezTo>
                      <a:close/>
                      <a:moveTo>
                        <a:pt x="80" y="117"/>
                      </a:moveTo>
                      <a:cubicBezTo>
                        <a:pt x="81" y="118"/>
                        <a:pt x="81" y="119"/>
                        <a:pt x="80" y="120"/>
                      </a:cubicBezTo>
                      <a:cubicBezTo>
                        <a:pt x="73" y="124"/>
                        <a:pt x="73" y="124"/>
                        <a:pt x="73" y="124"/>
                      </a:cubicBezTo>
                      <a:cubicBezTo>
                        <a:pt x="72" y="124"/>
                        <a:pt x="71" y="124"/>
                        <a:pt x="70" y="123"/>
                      </a:cubicBezTo>
                      <a:cubicBezTo>
                        <a:pt x="70" y="123"/>
                        <a:pt x="70" y="121"/>
                        <a:pt x="70" y="121"/>
                      </a:cubicBezTo>
                      <a:cubicBezTo>
                        <a:pt x="70" y="106"/>
                        <a:pt x="70" y="106"/>
                        <a:pt x="70" y="106"/>
                      </a:cubicBezTo>
                      <a:cubicBezTo>
                        <a:pt x="70" y="106"/>
                        <a:pt x="70" y="104"/>
                        <a:pt x="71" y="104"/>
                      </a:cubicBezTo>
                      <a:cubicBezTo>
                        <a:pt x="77" y="100"/>
                        <a:pt x="77" y="100"/>
                        <a:pt x="77" y="100"/>
                      </a:cubicBezTo>
                      <a:cubicBezTo>
                        <a:pt x="78" y="99"/>
                        <a:pt x="80" y="100"/>
                        <a:pt x="80" y="100"/>
                      </a:cubicBezTo>
                      <a:cubicBezTo>
                        <a:pt x="80" y="100"/>
                        <a:pt x="80" y="100"/>
                        <a:pt x="80" y="100"/>
                      </a:cubicBezTo>
                      <a:cubicBezTo>
                        <a:pt x="81" y="101"/>
                        <a:pt x="81" y="103"/>
                        <a:pt x="80" y="103"/>
                      </a:cubicBezTo>
                      <a:cubicBezTo>
                        <a:pt x="74" y="106"/>
                        <a:pt x="74" y="106"/>
                        <a:pt x="74" y="106"/>
                      </a:cubicBezTo>
                      <a:cubicBezTo>
                        <a:pt x="74" y="118"/>
                        <a:pt x="74" y="118"/>
                        <a:pt x="74" y="118"/>
                      </a:cubicBezTo>
                      <a:cubicBezTo>
                        <a:pt x="77" y="117"/>
                        <a:pt x="77" y="117"/>
                        <a:pt x="77" y="117"/>
                      </a:cubicBezTo>
                      <a:cubicBezTo>
                        <a:pt x="78" y="116"/>
                        <a:pt x="80" y="116"/>
                        <a:pt x="80" y="117"/>
                      </a:cubicBezTo>
                      <a:close/>
                      <a:moveTo>
                        <a:pt x="20" y="83"/>
                      </a:moveTo>
                      <a:cubicBezTo>
                        <a:pt x="21" y="84"/>
                        <a:pt x="21" y="85"/>
                        <a:pt x="20" y="86"/>
                      </a:cubicBezTo>
                      <a:cubicBezTo>
                        <a:pt x="13" y="90"/>
                        <a:pt x="13" y="90"/>
                        <a:pt x="13" y="90"/>
                      </a:cubicBezTo>
                      <a:cubicBezTo>
                        <a:pt x="12" y="90"/>
                        <a:pt x="11" y="90"/>
                        <a:pt x="10" y="89"/>
                      </a:cubicBezTo>
                      <a:cubicBezTo>
                        <a:pt x="10" y="89"/>
                        <a:pt x="9" y="87"/>
                        <a:pt x="9" y="87"/>
                      </a:cubicBezTo>
                      <a:cubicBezTo>
                        <a:pt x="9" y="72"/>
                        <a:pt x="9" y="72"/>
                        <a:pt x="9" y="72"/>
                      </a:cubicBezTo>
                      <a:cubicBezTo>
                        <a:pt x="9" y="72"/>
                        <a:pt x="10" y="70"/>
                        <a:pt x="10" y="70"/>
                      </a:cubicBezTo>
                      <a:cubicBezTo>
                        <a:pt x="17" y="66"/>
                        <a:pt x="17" y="66"/>
                        <a:pt x="17" y="66"/>
                      </a:cubicBezTo>
                      <a:cubicBezTo>
                        <a:pt x="18" y="65"/>
                        <a:pt x="20" y="66"/>
                        <a:pt x="20" y="66"/>
                      </a:cubicBezTo>
                      <a:cubicBezTo>
                        <a:pt x="20" y="66"/>
                        <a:pt x="20" y="66"/>
                        <a:pt x="20" y="66"/>
                      </a:cubicBezTo>
                      <a:cubicBezTo>
                        <a:pt x="21" y="67"/>
                        <a:pt x="21" y="69"/>
                        <a:pt x="20" y="69"/>
                      </a:cubicBezTo>
                      <a:cubicBezTo>
                        <a:pt x="14" y="72"/>
                        <a:pt x="14" y="72"/>
                        <a:pt x="14" y="72"/>
                      </a:cubicBezTo>
                      <a:cubicBezTo>
                        <a:pt x="14" y="84"/>
                        <a:pt x="14" y="84"/>
                        <a:pt x="14" y="84"/>
                      </a:cubicBezTo>
                      <a:cubicBezTo>
                        <a:pt x="17" y="83"/>
                        <a:pt x="17" y="83"/>
                        <a:pt x="17" y="83"/>
                      </a:cubicBezTo>
                      <a:cubicBezTo>
                        <a:pt x="18" y="82"/>
                        <a:pt x="20" y="82"/>
                        <a:pt x="20" y="8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9" name="Picture 2"/>
              <p:cNvPicPr>
                <a:picLocks noChangeAspect="1" noChangeArrowheads="1"/>
              </p:cNvPicPr>
              <p:nvPr/>
            </p:nvPicPr>
            <p:blipFill>
              <a:blip r:embed="rId4" cstate="print">
                <a:clrChange>
                  <a:clrFrom>
                    <a:srgbClr val="4EB1E4"/>
                  </a:clrFrom>
                  <a:clrTo>
                    <a:srgbClr val="4EB1E4">
                      <a:alpha val="0"/>
                    </a:srgbClr>
                  </a:clrTo>
                </a:clrChange>
                <a:duotone>
                  <a:prstClr val="black"/>
                  <a:schemeClr val="accent4">
                    <a:tint val="45000"/>
                    <a:satMod val="400000"/>
                  </a:schemeClr>
                </a:duotone>
                <a:extLst>
                  <a:ext uri="{28A0092B-C50C-407E-A947-70E740481C1C}">
                    <a14:useLocalDpi xmlns:a14="http://schemas.microsoft.com/office/drawing/2010/main" val="0"/>
                  </a:ext>
                </a:extLst>
              </a:blip>
              <a:srcRect/>
              <a:stretch>
                <a:fillRect/>
              </a:stretch>
            </p:blipFill>
            <p:spPr bwMode="auto">
              <a:xfrm>
                <a:off x="5977159" y="3154213"/>
                <a:ext cx="198884" cy="180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2" name="Group 181"/>
            <p:cNvGrpSpPr/>
            <p:nvPr/>
          </p:nvGrpSpPr>
          <p:grpSpPr>
            <a:xfrm>
              <a:off x="6817958" y="3016890"/>
              <a:ext cx="814142" cy="607753"/>
              <a:chOff x="5911427" y="2816929"/>
              <a:chExt cx="814142" cy="607753"/>
            </a:xfrm>
          </p:grpSpPr>
          <p:grpSp>
            <p:nvGrpSpPr>
              <p:cNvPr id="183" name="Group 182"/>
              <p:cNvGrpSpPr/>
              <p:nvPr/>
            </p:nvGrpSpPr>
            <p:grpSpPr>
              <a:xfrm flipH="1">
                <a:off x="5911427" y="2816929"/>
                <a:ext cx="814142" cy="607753"/>
                <a:chOff x="2806700" y="5572125"/>
                <a:chExt cx="1358900" cy="1014412"/>
              </a:xfrm>
            </p:grpSpPr>
            <p:sp>
              <p:nvSpPr>
                <p:cNvPr id="185" name="Freeform 56"/>
                <p:cNvSpPr>
                  <a:spLocks/>
                </p:cNvSpPr>
                <p:nvPr/>
              </p:nvSpPr>
              <p:spPr bwMode="auto">
                <a:xfrm>
                  <a:off x="2851150" y="5572125"/>
                  <a:ext cx="1314450" cy="992187"/>
                </a:xfrm>
                <a:custGeom>
                  <a:avLst/>
                  <a:gdLst>
                    <a:gd name="T0" fmla="*/ 88 w 175"/>
                    <a:gd name="T1" fmla="*/ 1 h 132"/>
                    <a:gd name="T2" fmla="*/ 5 w 175"/>
                    <a:gd name="T3" fmla="*/ 50 h 132"/>
                    <a:gd name="T4" fmla="*/ 0 w 175"/>
                    <a:gd name="T5" fmla="*/ 55 h 132"/>
                    <a:gd name="T6" fmla="*/ 0 w 175"/>
                    <a:gd name="T7" fmla="*/ 84 h 132"/>
                    <a:gd name="T8" fmla="*/ 84 w 175"/>
                    <a:gd name="T9" fmla="*/ 132 h 132"/>
                    <a:gd name="T10" fmla="*/ 98 w 175"/>
                    <a:gd name="T11" fmla="*/ 123 h 132"/>
                    <a:gd name="T12" fmla="*/ 172 w 175"/>
                    <a:gd name="T13" fmla="*/ 81 h 132"/>
                    <a:gd name="T14" fmla="*/ 175 w 175"/>
                    <a:gd name="T15" fmla="*/ 50 h 132"/>
                    <a:gd name="T16" fmla="*/ 173 w 175"/>
                    <a:gd name="T17" fmla="*/ 46 h 132"/>
                    <a:gd name="T18" fmla="*/ 95 w 175"/>
                    <a:gd name="T19" fmla="*/ 1 h 132"/>
                    <a:gd name="T20" fmla="*/ 92 w 175"/>
                    <a:gd name="T21" fmla="*/ 0 h 132"/>
                    <a:gd name="T22" fmla="*/ 88 w 175"/>
                    <a:gd name="T23" fmla="*/ 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5" h="132">
                      <a:moveTo>
                        <a:pt x="88" y="1"/>
                      </a:moveTo>
                      <a:cubicBezTo>
                        <a:pt x="5" y="50"/>
                        <a:pt x="5" y="50"/>
                        <a:pt x="5" y="50"/>
                      </a:cubicBezTo>
                      <a:cubicBezTo>
                        <a:pt x="0" y="55"/>
                        <a:pt x="0" y="55"/>
                        <a:pt x="0" y="55"/>
                      </a:cubicBezTo>
                      <a:cubicBezTo>
                        <a:pt x="0" y="84"/>
                        <a:pt x="0" y="84"/>
                        <a:pt x="0" y="84"/>
                      </a:cubicBezTo>
                      <a:cubicBezTo>
                        <a:pt x="84" y="132"/>
                        <a:pt x="84" y="132"/>
                        <a:pt x="84" y="132"/>
                      </a:cubicBezTo>
                      <a:cubicBezTo>
                        <a:pt x="98" y="123"/>
                        <a:pt x="98" y="123"/>
                        <a:pt x="98" y="123"/>
                      </a:cubicBezTo>
                      <a:cubicBezTo>
                        <a:pt x="172" y="81"/>
                        <a:pt x="172" y="81"/>
                        <a:pt x="172" y="81"/>
                      </a:cubicBezTo>
                      <a:cubicBezTo>
                        <a:pt x="175" y="50"/>
                        <a:pt x="175" y="50"/>
                        <a:pt x="175" y="50"/>
                      </a:cubicBezTo>
                      <a:cubicBezTo>
                        <a:pt x="173" y="46"/>
                        <a:pt x="173" y="46"/>
                        <a:pt x="173" y="46"/>
                      </a:cubicBezTo>
                      <a:cubicBezTo>
                        <a:pt x="95" y="1"/>
                        <a:pt x="95" y="1"/>
                        <a:pt x="95" y="1"/>
                      </a:cubicBezTo>
                      <a:cubicBezTo>
                        <a:pt x="95" y="1"/>
                        <a:pt x="94" y="0"/>
                        <a:pt x="92" y="0"/>
                      </a:cubicBezTo>
                      <a:cubicBezTo>
                        <a:pt x="90" y="0"/>
                        <a:pt x="88" y="1"/>
                        <a:pt x="88" y="1"/>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6" name="Freeform 103"/>
                <p:cNvSpPr>
                  <a:spLocks noEditPoints="1"/>
                </p:cNvSpPr>
                <p:nvPr/>
              </p:nvSpPr>
              <p:spPr bwMode="auto">
                <a:xfrm>
                  <a:off x="2806700" y="5572125"/>
                  <a:ext cx="1358900" cy="1014412"/>
                </a:xfrm>
                <a:custGeom>
                  <a:avLst/>
                  <a:gdLst>
                    <a:gd name="T0" fmla="*/ 179 w 181"/>
                    <a:gd name="T1" fmla="*/ 46 h 135"/>
                    <a:gd name="T2" fmla="*/ 101 w 181"/>
                    <a:gd name="T3" fmla="*/ 1 h 135"/>
                    <a:gd name="T4" fmla="*/ 95 w 181"/>
                    <a:gd name="T5" fmla="*/ 1 h 135"/>
                    <a:gd name="T6" fmla="*/ 97 w 181"/>
                    <a:gd name="T7" fmla="*/ 95 h 135"/>
                    <a:gd name="T8" fmla="*/ 22 w 181"/>
                    <a:gd name="T9" fmla="*/ 86 h 135"/>
                    <a:gd name="T10" fmla="*/ 67 w 181"/>
                    <a:gd name="T11" fmla="*/ 119 h 135"/>
                    <a:gd name="T12" fmla="*/ 21 w 181"/>
                    <a:gd name="T13" fmla="*/ 88 h 135"/>
                    <a:gd name="T14" fmla="*/ 100 w 181"/>
                    <a:gd name="T15" fmla="*/ 102 h 135"/>
                    <a:gd name="T16" fmla="*/ 98 w 181"/>
                    <a:gd name="T17" fmla="*/ 135 h 135"/>
                    <a:gd name="T18" fmla="*/ 94 w 181"/>
                    <a:gd name="T19" fmla="*/ 134 h 135"/>
                    <a:gd name="T20" fmla="*/ 81 w 181"/>
                    <a:gd name="T21" fmla="*/ 122 h 135"/>
                    <a:gd name="T22" fmla="*/ 94 w 181"/>
                    <a:gd name="T23" fmla="*/ 127 h 135"/>
                    <a:gd name="T24" fmla="*/ 6 w 181"/>
                    <a:gd name="T25" fmla="*/ 55 h 135"/>
                    <a:gd name="T26" fmla="*/ 6 w 181"/>
                    <a:gd name="T27" fmla="*/ 77 h 135"/>
                    <a:gd name="T28" fmla="*/ 7 w 181"/>
                    <a:gd name="T29" fmla="*/ 85 h 135"/>
                    <a:gd name="T30" fmla="*/ 0 w 181"/>
                    <a:gd name="T31" fmla="*/ 81 h 135"/>
                    <a:gd name="T32" fmla="*/ 0 w 181"/>
                    <a:gd name="T33" fmla="*/ 51 h 135"/>
                    <a:gd name="T34" fmla="*/ 6 w 181"/>
                    <a:gd name="T35" fmla="*/ 47 h 135"/>
                    <a:gd name="T36" fmla="*/ 11 w 181"/>
                    <a:gd name="T37" fmla="*/ 50 h 135"/>
                    <a:gd name="T38" fmla="*/ 100 w 181"/>
                    <a:gd name="T39" fmla="*/ 102 h 135"/>
                    <a:gd name="T40" fmla="*/ 181 w 181"/>
                    <a:gd name="T41" fmla="*/ 51 h 135"/>
                    <a:gd name="T42" fmla="*/ 178 w 181"/>
                    <a:gd name="T43" fmla="*/ 81 h 135"/>
                    <a:gd name="T44" fmla="*/ 104 w 181"/>
                    <a:gd name="T45" fmla="*/ 102 h 135"/>
                    <a:gd name="T46" fmla="*/ 181 w 181"/>
                    <a:gd name="T47" fmla="*/ 50 h 135"/>
                    <a:gd name="T48" fmla="*/ 59 w 181"/>
                    <a:gd name="T49" fmla="*/ 100 h 135"/>
                    <a:gd name="T50" fmla="*/ 36 w 181"/>
                    <a:gd name="T51" fmla="*/ 87 h 135"/>
                    <a:gd name="T52" fmla="*/ 34 w 181"/>
                    <a:gd name="T53" fmla="*/ 82 h 135"/>
                    <a:gd name="T54" fmla="*/ 59 w 181"/>
                    <a:gd name="T55" fmla="*/ 93 h 135"/>
                    <a:gd name="T56" fmla="*/ 61 w 181"/>
                    <a:gd name="T57" fmla="*/ 99 h 135"/>
                    <a:gd name="T58" fmla="*/ 80 w 181"/>
                    <a:gd name="T59" fmla="*/ 117 h 135"/>
                    <a:gd name="T60" fmla="*/ 73 w 181"/>
                    <a:gd name="T61" fmla="*/ 124 h 135"/>
                    <a:gd name="T62" fmla="*/ 70 w 181"/>
                    <a:gd name="T63" fmla="*/ 121 h 135"/>
                    <a:gd name="T64" fmla="*/ 71 w 181"/>
                    <a:gd name="T65" fmla="*/ 104 h 135"/>
                    <a:gd name="T66" fmla="*/ 80 w 181"/>
                    <a:gd name="T67" fmla="*/ 100 h 135"/>
                    <a:gd name="T68" fmla="*/ 80 w 181"/>
                    <a:gd name="T69" fmla="*/ 103 h 135"/>
                    <a:gd name="T70" fmla="*/ 74 w 181"/>
                    <a:gd name="T71" fmla="*/ 118 h 135"/>
                    <a:gd name="T72" fmla="*/ 80 w 181"/>
                    <a:gd name="T73" fmla="*/ 117 h 135"/>
                    <a:gd name="T74" fmla="*/ 20 w 181"/>
                    <a:gd name="T75" fmla="*/ 86 h 135"/>
                    <a:gd name="T76" fmla="*/ 10 w 181"/>
                    <a:gd name="T77" fmla="*/ 89 h 135"/>
                    <a:gd name="T78" fmla="*/ 9 w 181"/>
                    <a:gd name="T79" fmla="*/ 72 h 135"/>
                    <a:gd name="T80" fmla="*/ 17 w 181"/>
                    <a:gd name="T81" fmla="*/ 66 h 135"/>
                    <a:gd name="T82" fmla="*/ 20 w 181"/>
                    <a:gd name="T83" fmla="*/ 66 h 135"/>
                    <a:gd name="T84" fmla="*/ 14 w 181"/>
                    <a:gd name="T85" fmla="*/ 72 h 135"/>
                    <a:gd name="T86" fmla="*/ 17 w 181"/>
                    <a:gd name="T87" fmla="*/ 8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1" h="135">
                      <a:moveTo>
                        <a:pt x="97" y="95"/>
                      </a:moveTo>
                      <a:cubicBezTo>
                        <a:pt x="179" y="46"/>
                        <a:pt x="179" y="46"/>
                        <a:pt x="179" y="46"/>
                      </a:cubicBezTo>
                      <a:cubicBezTo>
                        <a:pt x="179" y="46"/>
                        <a:pt x="179" y="46"/>
                        <a:pt x="178" y="46"/>
                      </a:cubicBezTo>
                      <a:cubicBezTo>
                        <a:pt x="101" y="1"/>
                        <a:pt x="101" y="1"/>
                        <a:pt x="101" y="1"/>
                      </a:cubicBezTo>
                      <a:cubicBezTo>
                        <a:pt x="100" y="0"/>
                        <a:pt x="99" y="0"/>
                        <a:pt x="98" y="0"/>
                      </a:cubicBezTo>
                      <a:cubicBezTo>
                        <a:pt x="97" y="0"/>
                        <a:pt x="96" y="0"/>
                        <a:pt x="95" y="1"/>
                      </a:cubicBezTo>
                      <a:cubicBezTo>
                        <a:pt x="14" y="48"/>
                        <a:pt x="14" y="48"/>
                        <a:pt x="14" y="48"/>
                      </a:cubicBezTo>
                      <a:cubicBezTo>
                        <a:pt x="97" y="95"/>
                        <a:pt x="97" y="95"/>
                        <a:pt x="97" y="95"/>
                      </a:cubicBezTo>
                      <a:cubicBezTo>
                        <a:pt x="97" y="95"/>
                        <a:pt x="97" y="95"/>
                        <a:pt x="97" y="95"/>
                      </a:cubicBezTo>
                      <a:close/>
                      <a:moveTo>
                        <a:pt x="22" y="86"/>
                      </a:moveTo>
                      <a:cubicBezTo>
                        <a:pt x="67" y="112"/>
                        <a:pt x="67" y="112"/>
                        <a:pt x="67" y="112"/>
                      </a:cubicBezTo>
                      <a:cubicBezTo>
                        <a:pt x="67" y="119"/>
                        <a:pt x="67" y="119"/>
                        <a:pt x="67" y="119"/>
                      </a:cubicBezTo>
                      <a:cubicBezTo>
                        <a:pt x="17" y="90"/>
                        <a:pt x="17" y="90"/>
                        <a:pt x="17" y="90"/>
                      </a:cubicBezTo>
                      <a:cubicBezTo>
                        <a:pt x="21" y="88"/>
                        <a:pt x="21" y="88"/>
                        <a:pt x="21" y="88"/>
                      </a:cubicBezTo>
                      <a:cubicBezTo>
                        <a:pt x="21" y="87"/>
                        <a:pt x="22" y="87"/>
                        <a:pt x="22" y="86"/>
                      </a:cubicBezTo>
                      <a:close/>
                      <a:moveTo>
                        <a:pt x="100" y="102"/>
                      </a:moveTo>
                      <a:cubicBezTo>
                        <a:pt x="100" y="132"/>
                        <a:pt x="100" y="132"/>
                        <a:pt x="100" y="132"/>
                      </a:cubicBezTo>
                      <a:cubicBezTo>
                        <a:pt x="100" y="133"/>
                        <a:pt x="99" y="134"/>
                        <a:pt x="98" y="135"/>
                      </a:cubicBezTo>
                      <a:cubicBezTo>
                        <a:pt x="98" y="135"/>
                        <a:pt x="97" y="135"/>
                        <a:pt x="96" y="135"/>
                      </a:cubicBezTo>
                      <a:cubicBezTo>
                        <a:pt x="96" y="135"/>
                        <a:pt x="95" y="135"/>
                        <a:pt x="94" y="134"/>
                      </a:cubicBezTo>
                      <a:cubicBezTo>
                        <a:pt x="76" y="124"/>
                        <a:pt x="76" y="124"/>
                        <a:pt x="76" y="124"/>
                      </a:cubicBezTo>
                      <a:cubicBezTo>
                        <a:pt x="81" y="122"/>
                        <a:pt x="81" y="122"/>
                        <a:pt x="81" y="122"/>
                      </a:cubicBezTo>
                      <a:cubicBezTo>
                        <a:pt x="82" y="121"/>
                        <a:pt x="82" y="121"/>
                        <a:pt x="82" y="120"/>
                      </a:cubicBezTo>
                      <a:cubicBezTo>
                        <a:pt x="94" y="127"/>
                        <a:pt x="94" y="127"/>
                        <a:pt x="94" y="127"/>
                      </a:cubicBezTo>
                      <a:cubicBezTo>
                        <a:pt x="94" y="105"/>
                        <a:pt x="94" y="105"/>
                        <a:pt x="94" y="105"/>
                      </a:cubicBezTo>
                      <a:cubicBezTo>
                        <a:pt x="6" y="55"/>
                        <a:pt x="6" y="55"/>
                        <a:pt x="6" y="55"/>
                      </a:cubicBezTo>
                      <a:cubicBezTo>
                        <a:pt x="6" y="77"/>
                        <a:pt x="6" y="77"/>
                        <a:pt x="6" y="77"/>
                      </a:cubicBezTo>
                      <a:cubicBezTo>
                        <a:pt x="6" y="77"/>
                        <a:pt x="6" y="77"/>
                        <a:pt x="6" y="77"/>
                      </a:cubicBezTo>
                      <a:cubicBezTo>
                        <a:pt x="7" y="78"/>
                        <a:pt x="7" y="78"/>
                        <a:pt x="7" y="78"/>
                      </a:cubicBezTo>
                      <a:cubicBezTo>
                        <a:pt x="7" y="85"/>
                        <a:pt x="7" y="85"/>
                        <a:pt x="7" y="85"/>
                      </a:cubicBezTo>
                      <a:cubicBezTo>
                        <a:pt x="3" y="83"/>
                        <a:pt x="3" y="83"/>
                        <a:pt x="3" y="83"/>
                      </a:cubicBezTo>
                      <a:cubicBezTo>
                        <a:pt x="0" y="81"/>
                        <a:pt x="0" y="81"/>
                        <a:pt x="0" y="81"/>
                      </a:cubicBezTo>
                      <a:cubicBezTo>
                        <a:pt x="0" y="78"/>
                        <a:pt x="0" y="78"/>
                        <a:pt x="0" y="78"/>
                      </a:cubicBezTo>
                      <a:cubicBezTo>
                        <a:pt x="0" y="51"/>
                        <a:pt x="0" y="51"/>
                        <a:pt x="0" y="51"/>
                      </a:cubicBezTo>
                      <a:cubicBezTo>
                        <a:pt x="0" y="49"/>
                        <a:pt x="0" y="48"/>
                        <a:pt x="2" y="47"/>
                      </a:cubicBezTo>
                      <a:cubicBezTo>
                        <a:pt x="3" y="47"/>
                        <a:pt x="4" y="47"/>
                        <a:pt x="6" y="47"/>
                      </a:cubicBezTo>
                      <a:cubicBezTo>
                        <a:pt x="11" y="50"/>
                        <a:pt x="11" y="50"/>
                        <a:pt x="11" y="50"/>
                      </a:cubicBezTo>
                      <a:cubicBezTo>
                        <a:pt x="11" y="50"/>
                        <a:pt x="11" y="50"/>
                        <a:pt x="11" y="50"/>
                      </a:cubicBezTo>
                      <a:cubicBezTo>
                        <a:pt x="99" y="100"/>
                        <a:pt x="99" y="100"/>
                        <a:pt x="99" y="100"/>
                      </a:cubicBezTo>
                      <a:cubicBezTo>
                        <a:pt x="100" y="100"/>
                        <a:pt x="100" y="101"/>
                        <a:pt x="100" y="102"/>
                      </a:cubicBezTo>
                      <a:close/>
                      <a:moveTo>
                        <a:pt x="181" y="50"/>
                      </a:moveTo>
                      <a:cubicBezTo>
                        <a:pt x="181" y="50"/>
                        <a:pt x="181" y="50"/>
                        <a:pt x="181" y="51"/>
                      </a:cubicBezTo>
                      <a:cubicBezTo>
                        <a:pt x="181" y="76"/>
                        <a:pt x="181" y="76"/>
                        <a:pt x="181" y="76"/>
                      </a:cubicBezTo>
                      <a:cubicBezTo>
                        <a:pt x="181" y="78"/>
                        <a:pt x="180" y="80"/>
                        <a:pt x="178" y="81"/>
                      </a:cubicBezTo>
                      <a:cubicBezTo>
                        <a:pt x="104" y="123"/>
                        <a:pt x="104" y="123"/>
                        <a:pt x="104" y="123"/>
                      </a:cubicBezTo>
                      <a:cubicBezTo>
                        <a:pt x="104" y="102"/>
                        <a:pt x="104" y="102"/>
                        <a:pt x="104" y="102"/>
                      </a:cubicBezTo>
                      <a:cubicBezTo>
                        <a:pt x="104" y="100"/>
                        <a:pt x="103" y="98"/>
                        <a:pt x="101" y="97"/>
                      </a:cubicBezTo>
                      <a:cubicBezTo>
                        <a:pt x="181" y="50"/>
                        <a:pt x="181" y="50"/>
                        <a:pt x="181" y="50"/>
                      </a:cubicBezTo>
                      <a:cubicBezTo>
                        <a:pt x="181" y="50"/>
                        <a:pt x="181" y="50"/>
                        <a:pt x="181" y="50"/>
                      </a:cubicBezTo>
                      <a:close/>
                      <a:moveTo>
                        <a:pt x="59" y="100"/>
                      </a:moveTo>
                      <a:cubicBezTo>
                        <a:pt x="59" y="100"/>
                        <a:pt x="59" y="100"/>
                        <a:pt x="58" y="100"/>
                      </a:cubicBezTo>
                      <a:cubicBezTo>
                        <a:pt x="36" y="87"/>
                        <a:pt x="36" y="87"/>
                        <a:pt x="36" y="87"/>
                      </a:cubicBezTo>
                      <a:cubicBezTo>
                        <a:pt x="35" y="87"/>
                        <a:pt x="34" y="85"/>
                        <a:pt x="34" y="84"/>
                      </a:cubicBezTo>
                      <a:cubicBezTo>
                        <a:pt x="34" y="82"/>
                        <a:pt x="34" y="82"/>
                        <a:pt x="34" y="82"/>
                      </a:cubicBezTo>
                      <a:cubicBezTo>
                        <a:pt x="34" y="80"/>
                        <a:pt x="35" y="80"/>
                        <a:pt x="36" y="80"/>
                      </a:cubicBezTo>
                      <a:cubicBezTo>
                        <a:pt x="59" y="93"/>
                        <a:pt x="59" y="93"/>
                        <a:pt x="59" y="93"/>
                      </a:cubicBezTo>
                      <a:cubicBezTo>
                        <a:pt x="60" y="94"/>
                        <a:pt x="61" y="95"/>
                        <a:pt x="61" y="96"/>
                      </a:cubicBezTo>
                      <a:cubicBezTo>
                        <a:pt x="61" y="99"/>
                        <a:pt x="61" y="99"/>
                        <a:pt x="61" y="99"/>
                      </a:cubicBezTo>
                      <a:cubicBezTo>
                        <a:pt x="61" y="100"/>
                        <a:pt x="60" y="100"/>
                        <a:pt x="59" y="100"/>
                      </a:cubicBezTo>
                      <a:close/>
                      <a:moveTo>
                        <a:pt x="80" y="117"/>
                      </a:moveTo>
                      <a:cubicBezTo>
                        <a:pt x="81" y="118"/>
                        <a:pt x="81" y="119"/>
                        <a:pt x="80" y="120"/>
                      </a:cubicBezTo>
                      <a:cubicBezTo>
                        <a:pt x="73" y="124"/>
                        <a:pt x="73" y="124"/>
                        <a:pt x="73" y="124"/>
                      </a:cubicBezTo>
                      <a:cubicBezTo>
                        <a:pt x="72" y="124"/>
                        <a:pt x="71" y="124"/>
                        <a:pt x="70" y="123"/>
                      </a:cubicBezTo>
                      <a:cubicBezTo>
                        <a:pt x="70" y="123"/>
                        <a:pt x="70" y="121"/>
                        <a:pt x="70" y="121"/>
                      </a:cubicBezTo>
                      <a:cubicBezTo>
                        <a:pt x="70" y="106"/>
                        <a:pt x="70" y="106"/>
                        <a:pt x="70" y="106"/>
                      </a:cubicBezTo>
                      <a:cubicBezTo>
                        <a:pt x="70" y="106"/>
                        <a:pt x="70" y="104"/>
                        <a:pt x="71" y="104"/>
                      </a:cubicBezTo>
                      <a:cubicBezTo>
                        <a:pt x="77" y="100"/>
                        <a:pt x="77" y="100"/>
                        <a:pt x="77" y="100"/>
                      </a:cubicBezTo>
                      <a:cubicBezTo>
                        <a:pt x="78" y="99"/>
                        <a:pt x="80" y="100"/>
                        <a:pt x="80" y="100"/>
                      </a:cubicBezTo>
                      <a:cubicBezTo>
                        <a:pt x="80" y="100"/>
                        <a:pt x="80" y="100"/>
                        <a:pt x="80" y="100"/>
                      </a:cubicBezTo>
                      <a:cubicBezTo>
                        <a:pt x="81" y="101"/>
                        <a:pt x="81" y="103"/>
                        <a:pt x="80" y="103"/>
                      </a:cubicBezTo>
                      <a:cubicBezTo>
                        <a:pt x="74" y="106"/>
                        <a:pt x="74" y="106"/>
                        <a:pt x="74" y="106"/>
                      </a:cubicBezTo>
                      <a:cubicBezTo>
                        <a:pt x="74" y="118"/>
                        <a:pt x="74" y="118"/>
                        <a:pt x="74" y="118"/>
                      </a:cubicBezTo>
                      <a:cubicBezTo>
                        <a:pt x="77" y="117"/>
                        <a:pt x="77" y="117"/>
                        <a:pt x="77" y="117"/>
                      </a:cubicBezTo>
                      <a:cubicBezTo>
                        <a:pt x="78" y="116"/>
                        <a:pt x="80" y="116"/>
                        <a:pt x="80" y="117"/>
                      </a:cubicBezTo>
                      <a:close/>
                      <a:moveTo>
                        <a:pt x="20" y="83"/>
                      </a:moveTo>
                      <a:cubicBezTo>
                        <a:pt x="21" y="84"/>
                        <a:pt x="21" y="85"/>
                        <a:pt x="20" y="86"/>
                      </a:cubicBezTo>
                      <a:cubicBezTo>
                        <a:pt x="13" y="90"/>
                        <a:pt x="13" y="90"/>
                        <a:pt x="13" y="90"/>
                      </a:cubicBezTo>
                      <a:cubicBezTo>
                        <a:pt x="12" y="90"/>
                        <a:pt x="11" y="90"/>
                        <a:pt x="10" y="89"/>
                      </a:cubicBezTo>
                      <a:cubicBezTo>
                        <a:pt x="10" y="89"/>
                        <a:pt x="9" y="87"/>
                        <a:pt x="9" y="87"/>
                      </a:cubicBezTo>
                      <a:cubicBezTo>
                        <a:pt x="9" y="72"/>
                        <a:pt x="9" y="72"/>
                        <a:pt x="9" y="72"/>
                      </a:cubicBezTo>
                      <a:cubicBezTo>
                        <a:pt x="9" y="72"/>
                        <a:pt x="10" y="70"/>
                        <a:pt x="10" y="70"/>
                      </a:cubicBezTo>
                      <a:cubicBezTo>
                        <a:pt x="17" y="66"/>
                        <a:pt x="17" y="66"/>
                        <a:pt x="17" y="66"/>
                      </a:cubicBezTo>
                      <a:cubicBezTo>
                        <a:pt x="18" y="65"/>
                        <a:pt x="20" y="66"/>
                        <a:pt x="20" y="66"/>
                      </a:cubicBezTo>
                      <a:cubicBezTo>
                        <a:pt x="20" y="66"/>
                        <a:pt x="20" y="66"/>
                        <a:pt x="20" y="66"/>
                      </a:cubicBezTo>
                      <a:cubicBezTo>
                        <a:pt x="21" y="67"/>
                        <a:pt x="21" y="69"/>
                        <a:pt x="20" y="69"/>
                      </a:cubicBezTo>
                      <a:cubicBezTo>
                        <a:pt x="14" y="72"/>
                        <a:pt x="14" y="72"/>
                        <a:pt x="14" y="72"/>
                      </a:cubicBezTo>
                      <a:cubicBezTo>
                        <a:pt x="14" y="84"/>
                        <a:pt x="14" y="84"/>
                        <a:pt x="14" y="84"/>
                      </a:cubicBezTo>
                      <a:cubicBezTo>
                        <a:pt x="17" y="83"/>
                        <a:pt x="17" y="83"/>
                        <a:pt x="17" y="83"/>
                      </a:cubicBezTo>
                      <a:cubicBezTo>
                        <a:pt x="18" y="82"/>
                        <a:pt x="20" y="82"/>
                        <a:pt x="20" y="8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84" name="Picture 2"/>
              <p:cNvPicPr>
                <a:picLocks noChangeAspect="1" noChangeArrowheads="1"/>
              </p:cNvPicPr>
              <p:nvPr/>
            </p:nvPicPr>
            <p:blipFill>
              <a:blip r:embed="rId4" cstate="print">
                <a:clrChange>
                  <a:clrFrom>
                    <a:srgbClr val="4EB1E4"/>
                  </a:clrFrom>
                  <a:clrTo>
                    <a:srgbClr val="4EB1E4">
                      <a:alpha val="0"/>
                    </a:srgbClr>
                  </a:clrTo>
                </a:clrChange>
                <a:duotone>
                  <a:prstClr val="black"/>
                  <a:schemeClr val="accent4">
                    <a:tint val="45000"/>
                    <a:satMod val="400000"/>
                  </a:schemeClr>
                </a:duotone>
                <a:extLst>
                  <a:ext uri="{28A0092B-C50C-407E-A947-70E740481C1C}">
                    <a14:useLocalDpi xmlns:a14="http://schemas.microsoft.com/office/drawing/2010/main" val="0"/>
                  </a:ext>
                </a:extLst>
              </a:blip>
              <a:srcRect/>
              <a:stretch>
                <a:fillRect/>
              </a:stretch>
            </p:blipFill>
            <p:spPr bwMode="auto">
              <a:xfrm>
                <a:off x="5977159" y="3154213"/>
                <a:ext cx="198884" cy="180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217" name="Circular Arrow 216"/>
          <p:cNvSpPr/>
          <p:nvPr/>
        </p:nvSpPr>
        <p:spPr bwMode="auto">
          <a:xfrm rot="17410223" flipH="1">
            <a:off x="4588148" y="1540838"/>
            <a:ext cx="2817565" cy="2667855"/>
          </a:xfrm>
          <a:prstGeom prst="circularArrow">
            <a:avLst>
              <a:gd name="adj1" fmla="val 10344"/>
              <a:gd name="adj2" fmla="val 845271"/>
              <a:gd name="adj3" fmla="val 14263549"/>
              <a:gd name="adj4" fmla="val 6561038"/>
              <a:gd name="adj5" fmla="val 10580"/>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1" tIns="34286" rIns="34286" bIns="68571" numCol="1" spcCol="0" rtlCol="0" fromWordArt="0" anchor="b" anchorCtr="0" forceAA="0" compatLnSpc="1">
            <a:prstTxWarp prst="textNoShape">
              <a:avLst/>
            </a:prstTxWarp>
            <a:noAutofit/>
          </a:bodyPr>
          <a:lstStyle/>
          <a:p>
            <a:pPr algn="ctr" defTabSz="685495" fontAlgn="base">
              <a:spcBef>
                <a:spcPct val="0"/>
              </a:spcBef>
              <a:spcAft>
                <a:spcPct val="0"/>
              </a:spcAft>
            </a:pP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89" name="Group 188"/>
          <p:cNvGrpSpPr/>
          <p:nvPr/>
        </p:nvGrpSpPr>
        <p:grpSpPr>
          <a:xfrm>
            <a:off x="6166069" y="2042110"/>
            <a:ext cx="1763113" cy="1960640"/>
            <a:chOff x="4948609" y="4440810"/>
            <a:chExt cx="2350205" cy="2614187"/>
          </a:xfrm>
        </p:grpSpPr>
        <p:grpSp>
          <p:nvGrpSpPr>
            <p:cNvPr id="190" name="Group 189"/>
            <p:cNvGrpSpPr/>
            <p:nvPr/>
          </p:nvGrpSpPr>
          <p:grpSpPr>
            <a:xfrm>
              <a:off x="4948609" y="4440810"/>
              <a:ext cx="1148638" cy="2384591"/>
              <a:chOff x="5091210" y="2326715"/>
              <a:chExt cx="1148638" cy="2384591"/>
            </a:xfrm>
          </p:grpSpPr>
          <p:sp>
            <p:nvSpPr>
              <p:cNvPr id="197" name="Trapezoid 196"/>
              <p:cNvSpPr/>
              <p:nvPr/>
            </p:nvSpPr>
            <p:spPr bwMode="auto">
              <a:xfrm rot="16200000">
                <a:off x="4604271" y="3213510"/>
                <a:ext cx="1780324" cy="599772"/>
              </a:xfrm>
              <a:prstGeom prst="trapezoid">
                <a:avLst>
                  <a:gd name="adj" fmla="val 1898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pic>
            <p:nvPicPr>
              <p:cNvPr id="198" name="Picture 6" descr="\\magnum\Projects\Microsoft\Cloud Power FY12\Design\Icons\PNGs\Server_2.png"/>
              <p:cNvPicPr>
                <a:picLocks noChangeAspect="1" noChangeArrowheads="1"/>
              </p:cNvPicPr>
              <p:nvPr/>
            </p:nvPicPr>
            <p:blipFill rotWithShape="1">
              <a:blip r:embed="rId3" cstate="print">
                <a:grayscl/>
              </a:blip>
              <a:srcRect l="27509" r="25796"/>
              <a:stretch/>
            </p:blipFill>
            <p:spPr bwMode="auto">
              <a:xfrm>
                <a:off x="5091210" y="2326715"/>
                <a:ext cx="1148638" cy="2384591"/>
              </a:xfrm>
              <a:prstGeom prst="rect">
                <a:avLst/>
              </a:prstGeom>
              <a:noFill/>
            </p:spPr>
          </p:pic>
        </p:grpSp>
        <p:grpSp>
          <p:nvGrpSpPr>
            <p:cNvPr id="191" name="Group 190"/>
            <p:cNvGrpSpPr/>
            <p:nvPr/>
          </p:nvGrpSpPr>
          <p:grpSpPr>
            <a:xfrm>
              <a:off x="5549393" y="4556315"/>
              <a:ext cx="1148638" cy="2384591"/>
              <a:chOff x="5091210" y="2326715"/>
              <a:chExt cx="1148638" cy="2384591"/>
            </a:xfrm>
          </p:grpSpPr>
          <p:sp>
            <p:nvSpPr>
              <p:cNvPr id="195" name="Trapezoid 194"/>
              <p:cNvSpPr/>
              <p:nvPr/>
            </p:nvSpPr>
            <p:spPr bwMode="auto">
              <a:xfrm rot="16200000">
                <a:off x="4604271" y="3213510"/>
                <a:ext cx="1780324" cy="599772"/>
              </a:xfrm>
              <a:prstGeom prst="trapezoid">
                <a:avLst>
                  <a:gd name="adj" fmla="val 1898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pic>
            <p:nvPicPr>
              <p:cNvPr id="196" name="Picture 6" descr="\\magnum\Projects\Microsoft\Cloud Power FY12\Design\Icons\PNGs\Server_2.png"/>
              <p:cNvPicPr>
                <a:picLocks noChangeAspect="1" noChangeArrowheads="1"/>
              </p:cNvPicPr>
              <p:nvPr/>
            </p:nvPicPr>
            <p:blipFill rotWithShape="1">
              <a:blip r:embed="rId3" cstate="print">
                <a:grayscl/>
              </a:blip>
              <a:srcRect l="27509" r="25796"/>
              <a:stretch/>
            </p:blipFill>
            <p:spPr bwMode="auto">
              <a:xfrm>
                <a:off x="5091210" y="2326715"/>
                <a:ext cx="1148638" cy="2384591"/>
              </a:xfrm>
              <a:prstGeom prst="rect">
                <a:avLst/>
              </a:prstGeom>
              <a:noFill/>
            </p:spPr>
          </p:pic>
        </p:grpSp>
        <p:grpSp>
          <p:nvGrpSpPr>
            <p:cNvPr id="192" name="Group 191"/>
            <p:cNvGrpSpPr/>
            <p:nvPr/>
          </p:nvGrpSpPr>
          <p:grpSpPr>
            <a:xfrm>
              <a:off x="6150176" y="4670406"/>
              <a:ext cx="1148638" cy="2384591"/>
              <a:chOff x="5091210" y="2326715"/>
              <a:chExt cx="1148638" cy="2384591"/>
            </a:xfrm>
          </p:grpSpPr>
          <p:sp>
            <p:nvSpPr>
              <p:cNvPr id="193" name="Trapezoid 192"/>
              <p:cNvSpPr/>
              <p:nvPr/>
            </p:nvSpPr>
            <p:spPr bwMode="auto">
              <a:xfrm rot="16200000">
                <a:off x="4604271" y="3213510"/>
                <a:ext cx="1780324" cy="599772"/>
              </a:xfrm>
              <a:prstGeom prst="trapezoid">
                <a:avLst>
                  <a:gd name="adj" fmla="val 1898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pic>
            <p:nvPicPr>
              <p:cNvPr id="194" name="Picture 6" descr="\\magnum\Projects\Microsoft\Cloud Power FY12\Design\Icons\PNGs\Server_2.png"/>
              <p:cNvPicPr>
                <a:picLocks noChangeAspect="1" noChangeArrowheads="1"/>
              </p:cNvPicPr>
              <p:nvPr/>
            </p:nvPicPr>
            <p:blipFill rotWithShape="1">
              <a:blip r:embed="rId3" cstate="print">
                <a:grayscl/>
              </a:blip>
              <a:srcRect l="27509" r="25796"/>
              <a:stretch/>
            </p:blipFill>
            <p:spPr bwMode="auto">
              <a:xfrm>
                <a:off x="5091210" y="2326715"/>
                <a:ext cx="1148638" cy="2384591"/>
              </a:xfrm>
              <a:prstGeom prst="rect">
                <a:avLst/>
              </a:prstGeom>
              <a:noFill/>
            </p:spPr>
          </p:pic>
        </p:grpSp>
      </p:grpSp>
      <p:grpSp>
        <p:nvGrpSpPr>
          <p:cNvPr id="199" name="Group 198"/>
          <p:cNvGrpSpPr/>
          <p:nvPr/>
        </p:nvGrpSpPr>
        <p:grpSpPr>
          <a:xfrm>
            <a:off x="6402205" y="2531688"/>
            <a:ext cx="1290841" cy="973871"/>
            <a:chOff x="5911427" y="2786849"/>
            <a:chExt cx="1720673" cy="1298495"/>
          </a:xfrm>
        </p:grpSpPr>
        <p:sp>
          <p:nvSpPr>
            <p:cNvPr id="200" name="Circular Arrow 199"/>
            <p:cNvSpPr/>
            <p:nvPr/>
          </p:nvSpPr>
          <p:spPr bwMode="auto">
            <a:xfrm rot="5946335">
              <a:off x="6289399" y="2808040"/>
              <a:ext cx="793970" cy="751587"/>
            </a:xfrm>
            <a:prstGeom prst="circularArrow">
              <a:avLst>
                <a:gd name="adj1" fmla="val 10344"/>
                <a:gd name="adj2" fmla="val 845271"/>
                <a:gd name="adj3" fmla="val 14263549"/>
                <a:gd name="adj4" fmla="val 6561038"/>
                <a:gd name="adj5" fmla="val 1058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495" fontAlgn="base">
                <a:spcBef>
                  <a:spcPct val="0"/>
                </a:spcBef>
                <a:spcAft>
                  <a:spcPct val="0"/>
                </a:spcAft>
              </a:pP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01" name="Circular Arrow 200"/>
            <p:cNvSpPr/>
            <p:nvPr/>
          </p:nvSpPr>
          <p:spPr bwMode="auto">
            <a:xfrm rot="10091276" flipH="1">
              <a:off x="5932709" y="3084915"/>
              <a:ext cx="793970" cy="751587"/>
            </a:xfrm>
            <a:prstGeom prst="circularArrow">
              <a:avLst>
                <a:gd name="adj1" fmla="val 10344"/>
                <a:gd name="adj2" fmla="val 845271"/>
                <a:gd name="adj3" fmla="val 14263549"/>
                <a:gd name="adj4" fmla="val 6561038"/>
                <a:gd name="adj5" fmla="val 1058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495" fontAlgn="base">
                <a:spcBef>
                  <a:spcPct val="0"/>
                </a:spcBef>
                <a:spcAft>
                  <a:spcPct val="0"/>
                </a:spcAft>
              </a:pP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202" name="Group 201"/>
            <p:cNvGrpSpPr/>
            <p:nvPr/>
          </p:nvGrpSpPr>
          <p:grpSpPr>
            <a:xfrm>
              <a:off x="5911427" y="2816929"/>
              <a:ext cx="814142" cy="607753"/>
              <a:chOff x="5911427" y="2816929"/>
              <a:chExt cx="814142" cy="607753"/>
            </a:xfrm>
          </p:grpSpPr>
          <p:grpSp>
            <p:nvGrpSpPr>
              <p:cNvPr id="213" name="Group 212"/>
              <p:cNvGrpSpPr/>
              <p:nvPr/>
            </p:nvGrpSpPr>
            <p:grpSpPr>
              <a:xfrm flipH="1">
                <a:off x="5911427" y="2816929"/>
                <a:ext cx="814142" cy="607753"/>
                <a:chOff x="2806700" y="5572125"/>
                <a:chExt cx="1358900" cy="1014412"/>
              </a:xfrm>
            </p:grpSpPr>
            <p:sp>
              <p:nvSpPr>
                <p:cNvPr id="215" name="Freeform 56"/>
                <p:cNvSpPr>
                  <a:spLocks/>
                </p:cNvSpPr>
                <p:nvPr/>
              </p:nvSpPr>
              <p:spPr bwMode="auto">
                <a:xfrm>
                  <a:off x="2851150" y="5572125"/>
                  <a:ext cx="1314450" cy="992187"/>
                </a:xfrm>
                <a:custGeom>
                  <a:avLst/>
                  <a:gdLst>
                    <a:gd name="T0" fmla="*/ 88 w 175"/>
                    <a:gd name="T1" fmla="*/ 1 h 132"/>
                    <a:gd name="T2" fmla="*/ 5 w 175"/>
                    <a:gd name="T3" fmla="*/ 50 h 132"/>
                    <a:gd name="T4" fmla="*/ 0 w 175"/>
                    <a:gd name="T5" fmla="*/ 55 h 132"/>
                    <a:gd name="T6" fmla="*/ 0 w 175"/>
                    <a:gd name="T7" fmla="*/ 84 h 132"/>
                    <a:gd name="T8" fmla="*/ 84 w 175"/>
                    <a:gd name="T9" fmla="*/ 132 h 132"/>
                    <a:gd name="T10" fmla="*/ 98 w 175"/>
                    <a:gd name="T11" fmla="*/ 123 h 132"/>
                    <a:gd name="T12" fmla="*/ 172 w 175"/>
                    <a:gd name="T13" fmla="*/ 81 h 132"/>
                    <a:gd name="T14" fmla="*/ 175 w 175"/>
                    <a:gd name="T15" fmla="*/ 50 h 132"/>
                    <a:gd name="T16" fmla="*/ 173 w 175"/>
                    <a:gd name="T17" fmla="*/ 46 h 132"/>
                    <a:gd name="T18" fmla="*/ 95 w 175"/>
                    <a:gd name="T19" fmla="*/ 1 h 132"/>
                    <a:gd name="T20" fmla="*/ 92 w 175"/>
                    <a:gd name="T21" fmla="*/ 0 h 132"/>
                    <a:gd name="T22" fmla="*/ 88 w 175"/>
                    <a:gd name="T23" fmla="*/ 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5" h="132">
                      <a:moveTo>
                        <a:pt x="88" y="1"/>
                      </a:moveTo>
                      <a:cubicBezTo>
                        <a:pt x="5" y="50"/>
                        <a:pt x="5" y="50"/>
                        <a:pt x="5" y="50"/>
                      </a:cubicBezTo>
                      <a:cubicBezTo>
                        <a:pt x="0" y="55"/>
                        <a:pt x="0" y="55"/>
                        <a:pt x="0" y="55"/>
                      </a:cubicBezTo>
                      <a:cubicBezTo>
                        <a:pt x="0" y="84"/>
                        <a:pt x="0" y="84"/>
                        <a:pt x="0" y="84"/>
                      </a:cubicBezTo>
                      <a:cubicBezTo>
                        <a:pt x="84" y="132"/>
                        <a:pt x="84" y="132"/>
                        <a:pt x="84" y="132"/>
                      </a:cubicBezTo>
                      <a:cubicBezTo>
                        <a:pt x="98" y="123"/>
                        <a:pt x="98" y="123"/>
                        <a:pt x="98" y="123"/>
                      </a:cubicBezTo>
                      <a:cubicBezTo>
                        <a:pt x="172" y="81"/>
                        <a:pt x="172" y="81"/>
                        <a:pt x="172" y="81"/>
                      </a:cubicBezTo>
                      <a:cubicBezTo>
                        <a:pt x="175" y="50"/>
                        <a:pt x="175" y="50"/>
                        <a:pt x="175" y="50"/>
                      </a:cubicBezTo>
                      <a:cubicBezTo>
                        <a:pt x="173" y="46"/>
                        <a:pt x="173" y="46"/>
                        <a:pt x="173" y="46"/>
                      </a:cubicBezTo>
                      <a:cubicBezTo>
                        <a:pt x="95" y="1"/>
                        <a:pt x="95" y="1"/>
                        <a:pt x="95" y="1"/>
                      </a:cubicBezTo>
                      <a:cubicBezTo>
                        <a:pt x="95" y="1"/>
                        <a:pt x="94" y="0"/>
                        <a:pt x="92" y="0"/>
                      </a:cubicBezTo>
                      <a:cubicBezTo>
                        <a:pt x="90" y="0"/>
                        <a:pt x="88" y="1"/>
                        <a:pt x="88" y="1"/>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6" name="Freeform 103"/>
                <p:cNvSpPr>
                  <a:spLocks noEditPoints="1"/>
                </p:cNvSpPr>
                <p:nvPr/>
              </p:nvSpPr>
              <p:spPr bwMode="auto">
                <a:xfrm>
                  <a:off x="2806700" y="5572125"/>
                  <a:ext cx="1358900" cy="1014412"/>
                </a:xfrm>
                <a:custGeom>
                  <a:avLst/>
                  <a:gdLst>
                    <a:gd name="T0" fmla="*/ 179 w 181"/>
                    <a:gd name="T1" fmla="*/ 46 h 135"/>
                    <a:gd name="T2" fmla="*/ 101 w 181"/>
                    <a:gd name="T3" fmla="*/ 1 h 135"/>
                    <a:gd name="T4" fmla="*/ 95 w 181"/>
                    <a:gd name="T5" fmla="*/ 1 h 135"/>
                    <a:gd name="T6" fmla="*/ 97 w 181"/>
                    <a:gd name="T7" fmla="*/ 95 h 135"/>
                    <a:gd name="T8" fmla="*/ 22 w 181"/>
                    <a:gd name="T9" fmla="*/ 86 h 135"/>
                    <a:gd name="T10" fmla="*/ 67 w 181"/>
                    <a:gd name="T11" fmla="*/ 119 h 135"/>
                    <a:gd name="T12" fmla="*/ 21 w 181"/>
                    <a:gd name="T13" fmla="*/ 88 h 135"/>
                    <a:gd name="T14" fmla="*/ 100 w 181"/>
                    <a:gd name="T15" fmla="*/ 102 h 135"/>
                    <a:gd name="T16" fmla="*/ 98 w 181"/>
                    <a:gd name="T17" fmla="*/ 135 h 135"/>
                    <a:gd name="T18" fmla="*/ 94 w 181"/>
                    <a:gd name="T19" fmla="*/ 134 h 135"/>
                    <a:gd name="T20" fmla="*/ 81 w 181"/>
                    <a:gd name="T21" fmla="*/ 122 h 135"/>
                    <a:gd name="T22" fmla="*/ 94 w 181"/>
                    <a:gd name="T23" fmla="*/ 127 h 135"/>
                    <a:gd name="T24" fmla="*/ 6 w 181"/>
                    <a:gd name="T25" fmla="*/ 55 h 135"/>
                    <a:gd name="T26" fmla="*/ 6 w 181"/>
                    <a:gd name="T27" fmla="*/ 77 h 135"/>
                    <a:gd name="T28" fmla="*/ 7 w 181"/>
                    <a:gd name="T29" fmla="*/ 85 h 135"/>
                    <a:gd name="T30" fmla="*/ 0 w 181"/>
                    <a:gd name="T31" fmla="*/ 81 h 135"/>
                    <a:gd name="T32" fmla="*/ 0 w 181"/>
                    <a:gd name="T33" fmla="*/ 51 h 135"/>
                    <a:gd name="T34" fmla="*/ 6 w 181"/>
                    <a:gd name="T35" fmla="*/ 47 h 135"/>
                    <a:gd name="T36" fmla="*/ 11 w 181"/>
                    <a:gd name="T37" fmla="*/ 50 h 135"/>
                    <a:gd name="T38" fmla="*/ 100 w 181"/>
                    <a:gd name="T39" fmla="*/ 102 h 135"/>
                    <a:gd name="T40" fmla="*/ 181 w 181"/>
                    <a:gd name="T41" fmla="*/ 51 h 135"/>
                    <a:gd name="T42" fmla="*/ 178 w 181"/>
                    <a:gd name="T43" fmla="*/ 81 h 135"/>
                    <a:gd name="T44" fmla="*/ 104 w 181"/>
                    <a:gd name="T45" fmla="*/ 102 h 135"/>
                    <a:gd name="T46" fmla="*/ 181 w 181"/>
                    <a:gd name="T47" fmla="*/ 50 h 135"/>
                    <a:gd name="T48" fmla="*/ 59 w 181"/>
                    <a:gd name="T49" fmla="*/ 100 h 135"/>
                    <a:gd name="T50" fmla="*/ 36 w 181"/>
                    <a:gd name="T51" fmla="*/ 87 h 135"/>
                    <a:gd name="T52" fmla="*/ 34 w 181"/>
                    <a:gd name="T53" fmla="*/ 82 h 135"/>
                    <a:gd name="T54" fmla="*/ 59 w 181"/>
                    <a:gd name="T55" fmla="*/ 93 h 135"/>
                    <a:gd name="T56" fmla="*/ 61 w 181"/>
                    <a:gd name="T57" fmla="*/ 99 h 135"/>
                    <a:gd name="T58" fmla="*/ 80 w 181"/>
                    <a:gd name="T59" fmla="*/ 117 h 135"/>
                    <a:gd name="T60" fmla="*/ 73 w 181"/>
                    <a:gd name="T61" fmla="*/ 124 h 135"/>
                    <a:gd name="T62" fmla="*/ 70 w 181"/>
                    <a:gd name="T63" fmla="*/ 121 h 135"/>
                    <a:gd name="T64" fmla="*/ 71 w 181"/>
                    <a:gd name="T65" fmla="*/ 104 h 135"/>
                    <a:gd name="T66" fmla="*/ 80 w 181"/>
                    <a:gd name="T67" fmla="*/ 100 h 135"/>
                    <a:gd name="T68" fmla="*/ 80 w 181"/>
                    <a:gd name="T69" fmla="*/ 103 h 135"/>
                    <a:gd name="T70" fmla="*/ 74 w 181"/>
                    <a:gd name="T71" fmla="*/ 118 h 135"/>
                    <a:gd name="T72" fmla="*/ 80 w 181"/>
                    <a:gd name="T73" fmla="*/ 117 h 135"/>
                    <a:gd name="T74" fmla="*/ 20 w 181"/>
                    <a:gd name="T75" fmla="*/ 86 h 135"/>
                    <a:gd name="T76" fmla="*/ 10 w 181"/>
                    <a:gd name="T77" fmla="*/ 89 h 135"/>
                    <a:gd name="T78" fmla="*/ 9 w 181"/>
                    <a:gd name="T79" fmla="*/ 72 h 135"/>
                    <a:gd name="T80" fmla="*/ 17 w 181"/>
                    <a:gd name="T81" fmla="*/ 66 h 135"/>
                    <a:gd name="T82" fmla="*/ 20 w 181"/>
                    <a:gd name="T83" fmla="*/ 66 h 135"/>
                    <a:gd name="T84" fmla="*/ 14 w 181"/>
                    <a:gd name="T85" fmla="*/ 72 h 135"/>
                    <a:gd name="T86" fmla="*/ 17 w 181"/>
                    <a:gd name="T87" fmla="*/ 8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1" h="135">
                      <a:moveTo>
                        <a:pt x="97" y="95"/>
                      </a:moveTo>
                      <a:cubicBezTo>
                        <a:pt x="179" y="46"/>
                        <a:pt x="179" y="46"/>
                        <a:pt x="179" y="46"/>
                      </a:cubicBezTo>
                      <a:cubicBezTo>
                        <a:pt x="179" y="46"/>
                        <a:pt x="179" y="46"/>
                        <a:pt x="178" y="46"/>
                      </a:cubicBezTo>
                      <a:cubicBezTo>
                        <a:pt x="101" y="1"/>
                        <a:pt x="101" y="1"/>
                        <a:pt x="101" y="1"/>
                      </a:cubicBezTo>
                      <a:cubicBezTo>
                        <a:pt x="100" y="0"/>
                        <a:pt x="99" y="0"/>
                        <a:pt x="98" y="0"/>
                      </a:cubicBezTo>
                      <a:cubicBezTo>
                        <a:pt x="97" y="0"/>
                        <a:pt x="96" y="0"/>
                        <a:pt x="95" y="1"/>
                      </a:cubicBezTo>
                      <a:cubicBezTo>
                        <a:pt x="14" y="48"/>
                        <a:pt x="14" y="48"/>
                        <a:pt x="14" y="48"/>
                      </a:cubicBezTo>
                      <a:cubicBezTo>
                        <a:pt x="97" y="95"/>
                        <a:pt x="97" y="95"/>
                        <a:pt x="97" y="95"/>
                      </a:cubicBezTo>
                      <a:cubicBezTo>
                        <a:pt x="97" y="95"/>
                        <a:pt x="97" y="95"/>
                        <a:pt x="97" y="95"/>
                      </a:cubicBezTo>
                      <a:close/>
                      <a:moveTo>
                        <a:pt x="22" y="86"/>
                      </a:moveTo>
                      <a:cubicBezTo>
                        <a:pt x="67" y="112"/>
                        <a:pt x="67" y="112"/>
                        <a:pt x="67" y="112"/>
                      </a:cubicBezTo>
                      <a:cubicBezTo>
                        <a:pt x="67" y="119"/>
                        <a:pt x="67" y="119"/>
                        <a:pt x="67" y="119"/>
                      </a:cubicBezTo>
                      <a:cubicBezTo>
                        <a:pt x="17" y="90"/>
                        <a:pt x="17" y="90"/>
                        <a:pt x="17" y="90"/>
                      </a:cubicBezTo>
                      <a:cubicBezTo>
                        <a:pt x="21" y="88"/>
                        <a:pt x="21" y="88"/>
                        <a:pt x="21" y="88"/>
                      </a:cubicBezTo>
                      <a:cubicBezTo>
                        <a:pt x="21" y="87"/>
                        <a:pt x="22" y="87"/>
                        <a:pt x="22" y="86"/>
                      </a:cubicBezTo>
                      <a:close/>
                      <a:moveTo>
                        <a:pt x="100" y="102"/>
                      </a:moveTo>
                      <a:cubicBezTo>
                        <a:pt x="100" y="132"/>
                        <a:pt x="100" y="132"/>
                        <a:pt x="100" y="132"/>
                      </a:cubicBezTo>
                      <a:cubicBezTo>
                        <a:pt x="100" y="133"/>
                        <a:pt x="99" y="134"/>
                        <a:pt x="98" y="135"/>
                      </a:cubicBezTo>
                      <a:cubicBezTo>
                        <a:pt x="98" y="135"/>
                        <a:pt x="97" y="135"/>
                        <a:pt x="96" y="135"/>
                      </a:cubicBezTo>
                      <a:cubicBezTo>
                        <a:pt x="96" y="135"/>
                        <a:pt x="95" y="135"/>
                        <a:pt x="94" y="134"/>
                      </a:cubicBezTo>
                      <a:cubicBezTo>
                        <a:pt x="76" y="124"/>
                        <a:pt x="76" y="124"/>
                        <a:pt x="76" y="124"/>
                      </a:cubicBezTo>
                      <a:cubicBezTo>
                        <a:pt x="81" y="122"/>
                        <a:pt x="81" y="122"/>
                        <a:pt x="81" y="122"/>
                      </a:cubicBezTo>
                      <a:cubicBezTo>
                        <a:pt x="82" y="121"/>
                        <a:pt x="82" y="121"/>
                        <a:pt x="82" y="120"/>
                      </a:cubicBezTo>
                      <a:cubicBezTo>
                        <a:pt x="94" y="127"/>
                        <a:pt x="94" y="127"/>
                        <a:pt x="94" y="127"/>
                      </a:cubicBezTo>
                      <a:cubicBezTo>
                        <a:pt x="94" y="105"/>
                        <a:pt x="94" y="105"/>
                        <a:pt x="94" y="105"/>
                      </a:cubicBezTo>
                      <a:cubicBezTo>
                        <a:pt x="6" y="55"/>
                        <a:pt x="6" y="55"/>
                        <a:pt x="6" y="55"/>
                      </a:cubicBezTo>
                      <a:cubicBezTo>
                        <a:pt x="6" y="77"/>
                        <a:pt x="6" y="77"/>
                        <a:pt x="6" y="77"/>
                      </a:cubicBezTo>
                      <a:cubicBezTo>
                        <a:pt x="6" y="77"/>
                        <a:pt x="6" y="77"/>
                        <a:pt x="6" y="77"/>
                      </a:cubicBezTo>
                      <a:cubicBezTo>
                        <a:pt x="7" y="78"/>
                        <a:pt x="7" y="78"/>
                        <a:pt x="7" y="78"/>
                      </a:cubicBezTo>
                      <a:cubicBezTo>
                        <a:pt x="7" y="85"/>
                        <a:pt x="7" y="85"/>
                        <a:pt x="7" y="85"/>
                      </a:cubicBezTo>
                      <a:cubicBezTo>
                        <a:pt x="3" y="83"/>
                        <a:pt x="3" y="83"/>
                        <a:pt x="3" y="83"/>
                      </a:cubicBezTo>
                      <a:cubicBezTo>
                        <a:pt x="0" y="81"/>
                        <a:pt x="0" y="81"/>
                        <a:pt x="0" y="81"/>
                      </a:cubicBezTo>
                      <a:cubicBezTo>
                        <a:pt x="0" y="78"/>
                        <a:pt x="0" y="78"/>
                        <a:pt x="0" y="78"/>
                      </a:cubicBezTo>
                      <a:cubicBezTo>
                        <a:pt x="0" y="51"/>
                        <a:pt x="0" y="51"/>
                        <a:pt x="0" y="51"/>
                      </a:cubicBezTo>
                      <a:cubicBezTo>
                        <a:pt x="0" y="49"/>
                        <a:pt x="0" y="48"/>
                        <a:pt x="2" y="47"/>
                      </a:cubicBezTo>
                      <a:cubicBezTo>
                        <a:pt x="3" y="47"/>
                        <a:pt x="4" y="47"/>
                        <a:pt x="6" y="47"/>
                      </a:cubicBezTo>
                      <a:cubicBezTo>
                        <a:pt x="11" y="50"/>
                        <a:pt x="11" y="50"/>
                        <a:pt x="11" y="50"/>
                      </a:cubicBezTo>
                      <a:cubicBezTo>
                        <a:pt x="11" y="50"/>
                        <a:pt x="11" y="50"/>
                        <a:pt x="11" y="50"/>
                      </a:cubicBezTo>
                      <a:cubicBezTo>
                        <a:pt x="99" y="100"/>
                        <a:pt x="99" y="100"/>
                        <a:pt x="99" y="100"/>
                      </a:cubicBezTo>
                      <a:cubicBezTo>
                        <a:pt x="100" y="100"/>
                        <a:pt x="100" y="101"/>
                        <a:pt x="100" y="102"/>
                      </a:cubicBezTo>
                      <a:close/>
                      <a:moveTo>
                        <a:pt x="181" y="50"/>
                      </a:moveTo>
                      <a:cubicBezTo>
                        <a:pt x="181" y="50"/>
                        <a:pt x="181" y="50"/>
                        <a:pt x="181" y="51"/>
                      </a:cubicBezTo>
                      <a:cubicBezTo>
                        <a:pt x="181" y="76"/>
                        <a:pt x="181" y="76"/>
                        <a:pt x="181" y="76"/>
                      </a:cubicBezTo>
                      <a:cubicBezTo>
                        <a:pt x="181" y="78"/>
                        <a:pt x="180" y="80"/>
                        <a:pt x="178" y="81"/>
                      </a:cubicBezTo>
                      <a:cubicBezTo>
                        <a:pt x="104" y="123"/>
                        <a:pt x="104" y="123"/>
                        <a:pt x="104" y="123"/>
                      </a:cubicBezTo>
                      <a:cubicBezTo>
                        <a:pt x="104" y="102"/>
                        <a:pt x="104" y="102"/>
                        <a:pt x="104" y="102"/>
                      </a:cubicBezTo>
                      <a:cubicBezTo>
                        <a:pt x="104" y="100"/>
                        <a:pt x="103" y="98"/>
                        <a:pt x="101" y="97"/>
                      </a:cubicBezTo>
                      <a:cubicBezTo>
                        <a:pt x="181" y="50"/>
                        <a:pt x="181" y="50"/>
                        <a:pt x="181" y="50"/>
                      </a:cubicBezTo>
                      <a:cubicBezTo>
                        <a:pt x="181" y="50"/>
                        <a:pt x="181" y="50"/>
                        <a:pt x="181" y="50"/>
                      </a:cubicBezTo>
                      <a:close/>
                      <a:moveTo>
                        <a:pt x="59" y="100"/>
                      </a:moveTo>
                      <a:cubicBezTo>
                        <a:pt x="59" y="100"/>
                        <a:pt x="59" y="100"/>
                        <a:pt x="58" y="100"/>
                      </a:cubicBezTo>
                      <a:cubicBezTo>
                        <a:pt x="36" y="87"/>
                        <a:pt x="36" y="87"/>
                        <a:pt x="36" y="87"/>
                      </a:cubicBezTo>
                      <a:cubicBezTo>
                        <a:pt x="35" y="87"/>
                        <a:pt x="34" y="85"/>
                        <a:pt x="34" y="84"/>
                      </a:cubicBezTo>
                      <a:cubicBezTo>
                        <a:pt x="34" y="82"/>
                        <a:pt x="34" y="82"/>
                        <a:pt x="34" y="82"/>
                      </a:cubicBezTo>
                      <a:cubicBezTo>
                        <a:pt x="34" y="80"/>
                        <a:pt x="35" y="80"/>
                        <a:pt x="36" y="80"/>
                      </a:cubicBezTo>
                      <a:cubicBezTo>
                        <a:pt x="59" y="93"/>
                        <a:pt x="59" y="93"/>
                        <a:pt x="59" y="93"/>
                      </a:cubicBezTo>
                      <a:cubicBezTo>
                        <a:pt x="60" y="94"/>
                        <a:pt x="61" y="95"/>
                        <a:pt x="61" y="96"/>
                      </a:cubicBezTo>
                      <a:cubicBezTo>
                        <a:pt x="61" y="99"/>
                        <a:pt x="61" y="99"/>
                        <a:pt x="61" y="99"/>
                      </a:cubicBezTo>
                      <a:cubicBezTo>
                        <a:pt x="61" y="100"/>
                        <a:pt x="60" y="100"/>
                        <a:pt x="59" y="100"/>
                      </a:cubicBezTo>
                      <a:close/>
                      <a:moveTo>
                        <a:pt x="80" y="117"/>
                      </a:moveTo>
                      <a:cubicBezTo>
                        <a:pt x="81" y="118"/>
                        <a:pt x="81" y="119"/>
                        <a:pt x="80" y="120"/>
                      </a:cubicBezTo>
                      <a:cubicBezTo>
                        <a:pt x="73" y="124"/>
                        <a:pt x="73" y="124"/>
                        <a:pt x="73" y="124"/>
                      </a:cubicBezTo>
                      <a:cubicBezTo>
                        <a:pt x="72" y="124"/>
                        <a:pt x="71" y="124"/>
                        <a:pt x="70" y="123"/>
                      </a:cubicBezTo>
                      <a:cubicBezTo>
                        <a:pt x="70" y="123"/>
                        <a:pt x="70" y="121"/>
                        <a:pt x="70" y="121"/>
                      </a:cubicBezTo>
                      <a:cubicBezTo>
                        <a:pt x="70" y="106"/>
                        <a:pt x="70" y="106"/>
                        <a:pt x="70" y="106"/>
                      </a:cubicBezTo>
                      <a:cubicBezTo>
                        <a:pt x="70" y="106"/>
                        <a:pt x="70" y="104"/>
                        <a:pt x="71" y="104"/>
                      </a:cubicBezTo>
                      <a:cubicBezTo>
                        <a:pt x="77" y="100"/>
                        <a:pt x="77" y="100"/>
                        <a:pt x="77" y="100"/>
                      </a:cubicBezTo>
                      <a:cubicBezTo>
                        <a:pt x="78" y="99"/>
                        <a:pt x="80" y="100"/>
                        <a:pt x="80" y="100"/>
                      </a:cubicBezTo>
                      <a:cubicBezTo>
                        <a:pt x="80" y="100"/>
                        <a:pt x="80" y="100"/>
                        <a:pt x="80" y="100"/>
                      </a:cubicBezTo>
                      <a:cubicBezTo>
                        <a:pt x="81" y="101"/>
                        <a:pt x="81" y="103"/>
                        <a:pt x="80" y="103"/>
                      </a:cubicBezTo>
                      <a:cubicBezTo>
                        <a:pt x="74" y="106"/>
                        <a:pt x="74" y="106"/>
                        <a:pt x="74" y="106"/>
                      </a:cubicBezTo>
                      <a:cubicBezTo>
                        <a:pt x="74" y="118"/>
                        <a:pt x="74" y="118"/>
                        <a:pt x="74" y="118"/>
                      </a:cubicBezTo>
                      <a:cubicBezTo>
                        <a:pt x="77" y="117"/>
                        <a:pt x="77" y="117"/>
                        <a:pt x="77" y="117"/>
                      </a:cubicBezTo>
                      <a:cubicBezTo>
                        <a:pt x="78" y="116"/>
                        <a:pt x="80" y="116"/>
                        <a:pt x="80" y="117"/>
                      </a:cubicBezTo>
                      <a:close/>
                      <a:moveTo>
                        <a:pt x="20" y="83"/>
                      </a:moveTo>
                      <a:cubicBezTo>
                        <a:pt x="21" y="84"/>
                        <a:pt x="21" y="85"/>
                        <a:pt x="20" y="86"/>
                      </a:cubicBezTo>
                      <a:cubicBezTo>
                        <a:pt x="13" y="90"/>
                        <a:pt x="13" y="90"/>
                        <a:pt x="13" y="90"/>
                      </a:cubicBezTo>
                      <a:cubicBezTo>
                        <a:pt x="12" y="90"/>
                        <a:pt x="11" y="90"/>
                        <a:pt x="10" y="89"/>
                      </a:cubicBezTo>
                      <a:cubicBezTo>
                        <a:pt x="10" y="89"/>
                        <a:pt x="9" y="87"/>
                        <a:pt x="9" y="87"/>
                      </a:cubicBezTo>
                      <a:cubicBezTo>
                        <a:pt x="9" y="72"/>
                        <a:pt x="9" y="72"/>
                        <a:pt x="9" y="72"/>
                      </a:cubicBezTo>
                      <a:cubicBezTo>
                        <a:pt x="9" y="72"/>
                        <a:pt x="10" y="70"/>
                        <a:pt x="10" y="70"/>
                      </a:cubicBezTo>
                      <a:cubicBezTo>
                        <a:pt x="17" y="66"/>
                        <a:pt x="17" y="66"/>
                        <a:pt x="17" y="66"/>
                      </a:cubicBezTo>
                      <a:cubicBezTo>
                        <a:pt x="18" y="65"/>
                        <a:pt x="20" y="66"/>
                        <a:pt x="20" y="66"/>
                      </a:cubicBezTo>
                      <a:cubicBezTo>
                        <a:pt x="20" y="66"/>
                        <a:pt x="20" y="66"/>
                        <a:pt x="20" y="66"/>
                      </a:cubicBezTo>
                      <a:cubicBezTo>
                        <a:pt x="21" y="67"/>
                        <a:pt x="21" y="69"/>
                        <a:pt x="20" y="69"/>
                      </a:cubicBezTo>
                      <a:cubicBezTo>
                        <a:pt x="14" y="72"/>
                        <a:pt x="14" y="72"/>
                        <a:pt x="14" y="72"/>
                      </a:cubicBezTo>
                      <a:cubicBezTo>
                        <a:pt x="14" y="84"/>
                        <a:pt x="14" y="84"/>
                        <a:pt x="14" y="84"/>
                      </a:cubicBezTo>
                      <a:cubicBezTo>
                        <a:pt x="17" y="83"/>
                        <a:pt x="17" y="83"/>
                        <a:pt x="17" y="83"/>
                      </a:cubicBezTo>
                      <a:cubicBezTo>
                        <a:pt x="18" y="82"/>
                        <a:pt x="20" y="82"/>
                        <a:pt x="20" y="8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214" name="Picture 2"/>
              <p:cNvPicPr>
                <a:picLocks noChangeAspect="1" noChangeArrowheads="1"/>
              </p:cNvPicPr>
              <p:nvPr/>
            </p:nvPicPr>
            <p:blipFill>
              <a:blip r:embed="rId4" cstate="print">
                <a:clrChange>
                  <a:clrFrom>
                    <a:srgbClr val="4EB1E4"/>
                  </a:clrFrom>
                  <a:clrTo>
                    <a:srgbClr val="4EB1E4">
                      <a:alpha val="0"/>
                    </a:srgbClr>
                  </a:clrTo>
                </a:clrChange>
                <a:duotone>
                  <a:prstClr val="black"/>
                  <a:schemeClr val="accent4">
                    <a:tint val="45000"/>
                    <a:satMod val="400000"/>
                  </a:schemeClr>
                </a:duotone>
                <a:extLst>
                  <a:ext uri="{28A0092B-C50C-407E-A947-70E740481C1C}">
                    <a14:useLocalDpi xmlns:a14="http://schemas.microsoft.com/office/drawing/2010/main" val="0"/>
                  </a:ext>
                </a:extLst>
              </a:blip>
              <a:srcRect/>
              <a:stretch>
                <a:fillRect/>
              </a:stretch>
            </p:blipFill>
            <p:spPr bwMode="auto">
              <a:xfrm>
                <a:off x="5977159" y="3154213"/>
                <a:ext cx="198884" cy="180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03" name="Group 202"/>
            <p:cNvGrpSpPr/>
            <p:nvPr/>
          </p:nvGrpSpPr>
          <p:grpSpPr>
            <a:xfrm>
              <a:off x="6305182" y="3477591"/>
              <a:ext cx="814142" cy="607753"/>
              <a:chOff x="5911427" y="2816929"/>
              <a:chExt cx="814142" cy="607753"/>
            </a:xfrm>
          </p:grpSpPr>
          <p:grpSp>
            <p:nvGrpSpPr>
              <p:cNvPr id="209" name="Group 208"/>
              <p:cNvGrpSpPr/>
              <p:nvPr/>
            </p:nvGrpSpPr>
            <p:grpSpPr>
              <a:xfrm flipH="1">
                <a:off x="5911427" y="2816929"/>
                <a:ext cx="814142" cy="607753"/>
                <a:chOff x="2806700" y="5572125"/>
                <a:chExt cx="1358900" cy="1014412"/>
              </a:xfrm>
            </p:grpSpPr>
            <p:sp>
              <p:nvSpPr>
                <p:cNvPr id="211" name="Freeform 56"/>
                <p:cNvSpPr>
                  <a:spLocks/>
                </p:cNvSpPr>
                <p:nvPr/>
              </p:nvSpPr>
              <p:spPr bwMode="auto">
                <a:xfrm>
                  <a:off x="2851150" y="5572125"/>
                  <a:ext cx="1314450" cy="992187"/>
                </a:xfrm>
                <a:custGeom>
                  <a:avLst/>
                  <a:gdLst>
                    <a:gd name="T0" fmla="*/ 88 w 175"/>
                    <a:gd name="T1" fmla="*/ 1 h 132"/>
                    <a:gd name="T2" fmla="*/ 5 w 175"/>
                    <a:gd name="T3" fmla="*/ 50 h 132"/>
                    <a:gd name="T4" fmla="*/ 0 w 175"/>
                    <a:gd name="T5" fmla="*/ 55 h 132"/>
                    <a:gd name="T6" fmla="*/ 0 w 175"/>
                    <a:gd name="T7" fmla="*/ 84 h 132"/>
                    <a:gd name="T8" fmla="*/ 84 w 175"/>
                    <a:gd name="T9" fmla="*/ 132 h 132"/>
                    <a:gd name="T10" fmla="*/ 98 w 175"/>
                    <a:gd name="T11" fmla="*/ 123 h 132"/>
                    <a:gd name="T12" fmla="*/ 172 w 175"/>
                    <a:gd name="T13" fmla="*/ 81 h 132"/>
                    <a:gd name="T14" fmla="*/ 175 w 175"/>
                    <a:gd name="T15" fmla="*/ 50 h 132"/>
                    <a:gd name="T16" fmla="*/ 173 w 175"/>
                    <a:gd name="T17" fmla="*/ 46 h 132"/>
                    <a:gd name="T18" fmla="*/ 95 w 175"/>
                    <a:gd name="T19" fmla="*/ 1 h 132"/>
                    <a:gd name="T20" fmla="*/ 92 w 175"/>
                    <a:gd name="T21" fmla="*/ 0 h 132"/>
                    <a:gd name="T22" fmla="*/ 88 w 175"/>
                    <a:gd name="T23" fmla="*/ 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5" h="132">
                      <a:moveTo>
                        <a:pt x="88" y="1"/>
                      </a:moveTo>
                      <a:cubicBezTo>
                        <a:pt x="5" y="50"/>
                        <a:pt x="5" y="50"/>
                        <a:pt x="5" y="50"/>
                      </a:cubicBezTo>
                      <a:cubicBezTo>
                        <a:pt x="0" y="55"/>
                        <a:pt x="0" y="55"/>
                        <a:pt x="0" y="55"/>
                      </a:cubicBezTo>
                      <a:cubicBezTo>
                        <a:pt x="0" y="84"/>
                        <a:pt x="0" y="84"/>
                        <a:pt x="0" y="84"/>
                      </a:cubicBezTo>
                      <a:cubicBezTo>
                        <a:pt x="84" y="132"/>
                        <a:pt x="84" y="132"/>
                        <a:pt x="84" y="132"/>
                      </a:cubicBezTo>
                      <a:cubicBezTo>
                        <a:pt x="98" y="123"/>
                        <a:pt x="98" y="123"/>
                        <a:pt x="98" y="123"/>
                      </a:cubicBezTo>
                      <a:cubicBezTo>
                        <a:pt x="172" y="81"/>
                        <a:pt x="172" y="81"/>
                        <a:pt x="172" y="81"/>
                      </a:cubicBezTo>
                      <a:cubicBezTo>
                        <a:pt x="175" y="50"/>
                        <a:pt x="175" y="50"/>
                        <a:pt x="175" y="50"/>
                      </a:cubicBezTo>
                      <a:cubicBezTo>
                        <a:pt x="173" y="46"/>
                        <a:pt x="173" y="46"/>
                        <a:pt x="173" y="46"/>
                      </a:cubicBezTo>
                      <a:cubicBezTo>
                        <a:pt x="95" y="1"/>
                        <a:pt x="95" y="1"/>
                        <a:pt x="95" y="1"/>
                      </a:cubicBezTo>
                      <a:cubicBezTo>
                        <a:pt x="95" y="1"/>
                        <a:pt x="94" y="0"/>
                        <a:pt x="92" y="0"/>
                      </a:cubicBezTo>
                      <a:cubicBezTo>
                        <a:pt x="90" y="0"/>
                        <a:pt x="88" y="1"/>
                        <a:pt x="88" y="1"/>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2" name="Freeform 103"/>
                <p:cNvSpPr>
                  <a:spLocks noEditPoints="1"/>
                </p:cNvSpPr>
                <p:nvPr/>
              </p:nvSpPr>
              <p:spPr bwMode="auto">
                <a:xfrm>
                  <a:off x="2806700" y="5572125"/>
                  <a:ext cx="1358900" cy="1014412"/>
                </a:xfrm>
                <a:custGeom>
                  <a:avLst/>
                  <a:gdLst>
                    <a:gd name="T0" fmla="*/ 179 w 181"/>
                    <a:gd name="T1" fmla="*/ 46 h 135"/>
                    <a:gd name="T2" fmla="*/ 101 w 181"/>
                    <a:gd name="T3" fmla="*/ 1 h 135"/>
                    <a:gd name="T4" fmla="*/ 95 w 181"/>
                    <a:gd name="T5" fmla="*/ 1 h 135"/>
                    <a:gd name="T6" fmla="*/ 97 w 181"/>
                    <a:gd name="T7" fmla="*/ 95 h 135"/>
                    <a:gd name="T8" fmla="*/ 22 w 181"/>
                    <a:gd name="T9" fmla="*/ 86 h 135"/>
                    <a:gd name="T10" fmla="*/ 67 w 181"/>
                    <a:gd name="T11" fmla="*/ 119 h 135"/>
                    <a:gd name="T12" fmla="*/ 21 w 181"/>
                    <a:gd name="T13" fmla="*/ 88 h 135"/>
                    <a:gd name="T14" fmla="*/ 100 w 181"/>
                    <a:gd name="T15" fmla="*/ 102 h 135"/>
                    <a:gd name="T16" fmla="*/ 98 w 181"/>
                    <a:gd name="T17" fmla="*/ 135 h 135"/>
                    <a:gd name="T18" fmla="*/ 94 w 181"/>
                    <a:gd name="T19" fmla="*/ 134 h 135"/>
                    <a:gd name="T20" fmla="*/ 81 w 181"/>
                    <a:gd name="T21" fmla="*/ 122 h 135"/>
                    <a:gd name="T22" fmla="*/ 94 w 181"/>
                    <a:gd name="T23" fmla="*/ 127 h 135"/>
                    <a:gd name="T24" fmla="*/ 6 w 181"/>
                    <a:gd name="T25" fmla="*/ 55 h 135"/>
                    <a:gd name="T26" fmla="*/ 6 w 181"/>
                    <a:gd name="T27" fmla="*/ 77 h 135"/>
                    <a:gd name="T28" fmla="*/ 7 w 181"/>
                    <a:gd name="T29" fmla="*/ 85 h 135"/>
                    <a:gd name="T30" fmla="*/ 0 w 181"/>
                    <a:gd name="T31" fmla="*/ 81 h 135"/>
                    <a:gd name="T32" fmla="*/ 0 w 181"/>
                    <a:gd name="T33" fmla="*/ 51 h 135"/>
                    <a:gd name="T34" fmla="*/ 6 w 181"/>
                    <a:gd name="T35" fmla="*/ 47 h 135"/>
                    <a:gd name="T36" fmla="*/ 11 w 181"/>
                    <a:gd name="T37" fmla="*/ 50 h 135"/>
                    <a:gd name="T38" fmla="*/ 100 w 181"/>
                    <a:gd name="T39" fmla="*/ 102 h 135"/>
                    <a:gd name="T40" fmla="*/ 181 w 181"/>
                    <a:gd name="T41" fmla="*/ 51 h 135"/>
                    <a:gd name="T42" fmla="*/ 178 w 181"/>
                    <a:gd name="T43" fmla="*/ 81 h 135"/>
                    <a:gd name="T44" fmla="*/ 104 w 181"/>
                    <a:gd name="T45" fmla="*/ 102 h 135"/>
                    <a:gd name="T46" fmla="*/ 181 w 181"/>
                    <a:gd name="T47" fmla="*/ 50 h 135"/>
                    <a:gd name="T48" fmla="*/ 59 w 181"/>
                    <a:gd name="T49" fmla="*/ 100 h 135"/>
                    <a:gd name="T50" fmla="*/ 36 w 181"/>
                    <a:gd name="T51" fmla="*/ 87 h 135"/>
                    <a:gd name="T52" fmla="*/ 34 w 181"/>
                    <a:gd name="T53" fmla="*/ 82 h 135"/>
                    <a:gd name="T54" fmla="*/ 59 w 181"/>
                    <a:gd name="T55" fmla="*/ 93 h 135"/>
                    <a:gd name="T56" fmla="*/ 61 w 181"/>
                    <a:gd name="T57" fmla="*/ 99 h 135"/>
                    <a:gd name="T58" fmla="*/ 80 w 181"/>
                    <a:gd name="T59" fmla="*/ 117 h 135"/>
                    <a:gd name="T60" fmla="*/ 73 w 181"/>
                    <a:gd name="T61" fmla="*/ 124 h 135"/>
                    <a:gd name="T62" fmla="*/ 70 w 181"/>
                    <a:gd name="T63" fmla="*/ 121 h 135"/>
                    <a:gd name="T64" fmla="*/ 71 w 181"/>
                    <a:gd name="T65" fmla="*/ 104 h 135"/>
                    <a:gd name="T66" fmla="*/ 80 w 181"/>
                    <a:gd name="T67" fmla="*/ 100 h 135"/>
                    <a:gd name="T68" fmla="*/ 80 w 181"/>
                    <a:gd name="T69" fmla="*/ 103 h 135"/>
                    <a:gd name="T70" fmla="*/ 74 w 181"/>
                    <a:gd name="T71" fmla="*/ 118 h 135"/>
                    <a:gd name="T72" fmla="*/ 80 w 181"/>
                    <a:gd name="T73" fmla="*/ 117 h 135"/>
                    <a:gd name="T74" fmla="*/ 20 w 181"/>
                    <a:gd name="T75" fmla="*/ 86 h 135"/>
                    <a:gd name="T76" fmla="*/ 10 w 181"/>
                    <a:gd name="T77" fmla="*/ 89 h 135"/>
                    <a:gd name="T78" fmla="*/ 9 w 181"/>
                    <a:gd name="T79" fmla="*/ 72 h 135"/>
                    <a:gd name="T80" fmla="*/ 17 w 181"/>
                    <a:gd name="T81" fmla="*/ 66 h 135"/>
                    <a:gd name="T82" fmla="*/ 20 w 181"/>
                    <a:gd name="T83" fmla="*/ 66 h 135"/>
                    <a:gd name="T84" fmla="*/ 14 w 181"/>
                    <a:gd name="T85" fmla="*/ 72 h 135"/>
                    <a:gd name="T86" fmla="*/ 17 w 181"/>
                    <a:gd name="T87" fmla="*/ 8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1" h="135">
                      <a:moveTo>
                        <a:pt x="97" y="95"/>
                      </a:moveTo>
                      <a:cubicBezTo>
                        <a:pt x="179" y="46"/>
                        <a:pt x="179" y="46"/>
                        <a:pt x="179" y="46"/>
                      </a:cubicBezTo>
                      <a:cubicBezTo>
                        <a:pt x="179" y="46"/>
                        <a:pt x="179" y="46"/>
                        <a:pt x="178" y="46"/>
                      </a:cubicBezTo>
                      <a:cubicBezTo>
                        <a:pt x="101" y="1"/>
                        <a:pt x="101" y="1"/>
                        <a:pt x="101" y="1"/>
                      </a:cubicBezTo>
                      <a:cubicBezTo>
                        <a:pt x="100" y="0"/>
                        <a:pt x="99" y="0"/>
                        <a:pt x="98" y="0"/>
                      </a:cubicBezTo>
                      <a:cubicBezTo>
                        <a:pt x="97" y="0"/>
                        <a:pt x="96" y="0"/>
                        <a:pt x="95" y="1"/>
                      </a:cubicBezTo>
                      <a:cubicBezTo>
                        <a:pt x="14" y="48"/>
                        <a:pt x="14" y="48"/>
                        <a:pt x="14" y="48"/>
                      </a:cubicBezTo>
                      <a:cubicBezTo>
                        <a:pt x="97" y="95"/>
                        <a:pt x="97" y="95"/>
                        <a:pt x="97" y="95"/>
                      </a:cubicBezTo>
                      <a:cubicBezTo>
                        <a:pt x="97" y="95"/>
                        <a:pt x="97" y="95"/>
                        <a:pt x="97" y="95"/>
                      </a:cubicBezTo>
                      <a:close/>
                      <a:moveTo>
                        <a:pt x="22" y="86"/>
                      </a:moveTo>
                      <a:cubicBezTo>
                        <a:pt x="67" y="112"/>
                        <a:pt x="67" y="112"/>
                        <a:pt x="67" y="112"/>
                      </a:cubicBezTo>
                      <a:cubicBezTo>
                        <a:pt x="67" y="119"/>
                        <a:pt x="67" y="119"/>
                        <a:pt x="67" y="119"/>
                      </a:cubicBezTo>
                      <a:cubicBezTo>
                        <a:pt x="17" y="90"/>
                        <a:pt x="17" y="90"/>
                        <a:pt x="17" y="90"/>
                      </a:cubicBezTo>
                      <a:cubicBezTo>
                        <a:pt x="21" y="88"/>
                        <a:pt x="21" y="88"/>
                        <a:pt x="21" y="88"/>
                      </a:cubicBezTo>
                      <a:cubicBezTo>
                        <a:pt x="21" y="87"/>
                        <a:pt x="22" y="87"/>
                        <a:pt x="22" y="86"/>
                      </a:cubicBezTo>
                      <a:close/>
                      <a:moveTo>
                        <a:pt x="100" y="102"/>
                      </a:moveTo>
                      <a:cubicBezTo>
                        <a:pt x="100" y="132"/>
                        <a:pt x="100" y="132"/>
                        <a:pt x="100" y="132"/>
                      </a:cubicBezTo>
                      <a:cubicBezTo>
                        <a:pt x="100" y="133"/>
                        <a:pt x="99" y="134"/>
                        <a:pt x="98" y="135"/>
                      </a:cubicBezTo>
                      <a:cubicBezTo>
                        <a:pt x="98" y="135"/>
                        <a:pt x="97" y="135"/>
                        <a:pt x="96" y="135"/>
                      </a:cubicBezTo>
                      <a:cubicBezTo>
                        <a:pt x="96" y="135"/>
                        <a:pt x="95" y="135"/>
                        <a:pt x="94" y="134"/>
                      </a:cubicBezTo>
                      <a:cubicBezTo>
                        <a:pt x="76" y="124"/>
                        <a:pt x="76" y="124"/>
                        <a:pt x="76" y="124"/>
                      </a:cubicBezTo>
                      <a:cubicBezTo>
                        <a:pt x="81" y="122"/>
                        <a:pt x="81" y="122"/>
                        <a:pt x="81" y="122"/>
                      </a:cubicBezTo>
                      <a:cubicBezTo>
                        <a:pt x="82" y="121"/>
                        <a:pt x="82" y="121"/>
                        <a:pt x="82" y="120"/>
                      </a:cubicBezTo>
                      <a:cubicBezTo>
                        <a:pt x="94" y="127"/>
                        <a:pt x="94" y="127"/>
                        <a:pt x="94" y="127"/>
                      </a:cubicBezTo>
                      <a:cubicBezTo>
                        <a:pt x="94" y="105"/>
                        <a:pt x="94" y="105"/>
                        <a:pt x="94" y="105"/>
                      </a:cubicBezTo>
                      <a:cubicBezTo>
                        <a:pt x="6" y="55"/>
                        <a:pt x="6" y="55"/>
                        <a:pt x="6" y="55"/>
                      </a:cubicBezTo>
                      <a:cubicBezTo>
                        <a:pt x="6" y="77"/>
                        <a:pt x="6" y="77"/>
                        <a:pt x="6" y="77"/>
                      </a:cubicBezTo>
                      <a:cubicBezTo>
                        <a:pt x="6" y="77"/>
                        <a:pt x="6" y="77"/>
                        <a:pt x="6" y="77"/>
                      </a:cubicBezTo>
                      <a:cubicBezTo>
                        <a:pt x="7" y="78"/>
                        <a:pt x="7" y="78"/>
                        <a:pt x="7" y="78"/>
                      </a:cubicBezTo>
                      <a:cubicBezTo>
                        <a:pt x="7" y="85"/>
                        <a:pt x="7" y="85"/>
                        <a:pt x="7" y="85"/>
                      </a:cubicBezTo>
                      <a:cubicBezTo>
                        <a:pt x="3" y="83"/>
                        <a:pt x="3" y="83"/>
                        <a:pt x="3" y="83"/>
                      </a:cubicBezTo>
                      <a:cubicBezTo>
                        <a:pt x="0" y="81"/>
                        <a:pt x="0" y="81"/>
                        <a:pt x="0" y="81"/>
                      </a:cubicBezTo>
                      <a:cubicBezTo>
                        <a:pt x="0" y="78"/>
                        <a:pt x="0" y="78"/>
                        <a:pt x="0" y="78"/>
                      </a:cubicBezTo>
                      <a:cubicBezTo>
                        <a:pt x="0" y="51"/>
                        <a:pt x="0" y="51"/>
                        <a:pt x="0" y="51"/>
                      </a:cubicBezTo>
                      <a:cubicBezTo>
                        <a:pt x="0" y="49"/>
                        <a:pt x="0" y="48"/>
                        <a:pt x="2" y="47"/>
                      </a:cubicBezTo>
                      <a:cubicBezTo>
                        <a:pt x="3" y="47"/>
                        <a:pt x="4" y="47"/>
                        <a:pt x="6" y="47"/>
                      </a:cubicBezTo>
                      <a:cubicBezTo>
                        <a:pt x="11" y="50"/>
                        <a:pt x="11" y="50"/>
                        <a:pt x="11" y="50"/>
                      </a:cubicBezTo>
                      <a:cubicBezTo>
                        <a:pt x="11" y="50"/>
                        <a:pt x="11" y="50"/>
                        <a:pt x="11" y="50"/>
                      </a:cubicBezTo>
                      <a:cubicBezTo>
                        <a:pt x="99" y="100"/>
                        <a:pt x="99" y="100"/>
                        <a:pt x="99" y="100"/>
                      </a:cubicBezTo>
                      <a:cubicBezTo>
                        <a:pt x="100" y="100"/>
                        <a:pt x="100" y="101"/>
                        <a:pt x="100" y="102"/>
                      </a:cubicBezTo>
                      <a:close/>
                      <a:moveTo>
                        <a:pt x="181" y="50"/>
                      </a:moveTo>
                      <a:cubicBezTo>
                        <a:pt x="181" y="50"/>
                        <a:pt x="181" y="50"/>
                        <a:pt x="181" y="51"/>
                      </a:cubicBezTo>
                      <a:cubicBezTo>
                        <a:pt x="181" y="76"/>
                        <a:pt x="181" y="76"/>
                        <a:pt x="181" y="76"/>
                      </a:cubicBezTo>
                      <a:cubicBezTo>
                        <a:pt x="181" y="78"/>
                        <a:pt x="180" y="80"/>
                        <a:pt x="178" y="81"/>
                      </a:cubicBezTo>
                      <a:cubicBezTo>
                        <a:pt x="104" y="123"/>
                        <a:pt x="104" y="123"/>
                        <a:pt x="104" y="123"/>
                      </a:cubicBezTo>
                      <a:cubicBezTo>
                        <a:pt x="104" y="102"/>
                        <a:pt x="104" y="102"/>
                        <a:pt x="104" y="102"/>
                      </a:cubicBezTo>
                      <a:cubicBezTo>
                        <a:pt x="104" y="100"/>
                        <a:pt x="103" y="98"/>
                        <a:pt x="101" y="97"/>
                      </a:cubicBezTo>
                      <a:cubicBezTo>
                        <a:pt x="181" y="50"/>
                        <a:pt x="181" y="50"/>
                        <a:pt x="181" y="50"/>
                      </a:cubicBezTo>
                      <a:cubicBezTo>
                        <a:pt x="181" y="50"/>
                        <a:pt x="181" y="50"/>
                        <a:pt x="181" y="50"/>
                      </a:cubicBezTo>
                      <a:close/>
                      <a:moveTo>
                        <a:pt x="59" y="100"/>
                      </a:moveTo>
                      <a:cubicBezTo>
                        <a:pt x="59" y="100"/>
                        <a:pt x="59" y="100"/>
                        <a:pt x="58" y="100"/>
                      </a:cubicBezTo>
                      <a:cubicBezTo>
                        <a:pt x="36" y="87"/>
                        <a:pt x="36" y="87"/>
                        <a:pt x="36" y="87"/>
                      </a:cubicBezTo>
                      <a:cubicBezTo>
                        <a:pt x="35" y="87"/>
                        <a:pt x="34" y="85"/>
                        <a:pt x="34" y="84"/>
                      </a:cubicBezTo>
                      <a:cubicBezTo>
                        <a:pt x="34" y="82"/>
                        <a:pt x="34" y="82"/>
                        <a:pt x="34" y="82"/>
                      </a:cubicBezTo>
                      <a:cubicBezTo>
                        <a:pt x="34" y="80"/>
                        <a:pt x="35" y="80"/>
                        <a:pt x="36" y="80"/>
                      </a:cubicBezTo>
                      <a:cubicBezTo>
                        <a:pt x="59" y="93"/>
                        <a:pt x="59" y="93"/>
                        <a:pt x="59" y="93"/>
                      </a:cubicBezTo>
                      <a:cubicBezTo>
                        <a:pt x="60" y="94"/>
                        <a:pt x="61" y="95"/>
                        <a:pt x="61" y="96"/>
                      </a:cubicBezTo>
                      <a:cubicBezTo>
                        <a:pt x="61" y="99"/>
                        <a:pt x="61" y="99"/>
                        <a:pt x="61" y="99"/>
                      </a:cubicBezTo>
                      <a:cubicBezTo>
                        <a:pt x="61" y="100"/>
                        <a:pt x="60" y="100"/>
                        <a:pt x="59" y="100"/>
                      </a:cubicBezTo>
                      <a:close/>
                      <a:moveTo>
                        <a:pt x="80" y="117"/>
                      </a:moveTo>
                      <a:cubicBezTo>
                        <a:pt x="81" y="118"/>
                        <a:pt x="81" y="119"/>
                        <a:pt x="80" y="120"/>
                      </a:cubicBezTo>
                      <a:cubicBezTo>
                        <a:pt x="73" y="124"/>
                        <a:pt x="73" y="124"/>
                        <a:pt x="73" y="124"/>
                      </a:cubicBezTo>
                      <a:cubicBezTo>
                        <a:pt x="72" y="124"/>
                        <a:pt x="71" y="124"/>
                        <a:pt x="70" y="123"/>
                      </a:cubicBezTo>
                      <a:cubicBezTo>
                        <a:pt x="70" y="123"/>
                        <a:pt x="70" y="121"/>
                        <a:pt x="70" y="121"/>
                      </a:cubicBezTo>
                      <a:cubicBezTo>
                        <a:pt x="70" y="106"/>
                        <a:pt x="70" y="106"/>
                        <a:pt x="70" y="106"/>
                      </a:cubicBezTo>
                      <a:cubicBezTo>
                        <a:pt x="70" y="106"/>
                        <a:pt x="70" y="104"/>
                        <a:pt x="71" y="104"/>
                      </a:cubicBezTo>
                      <a:cubicBezTo>
                        <a:pt x="77" y="100"/>
                        <a:pt x="77" y="100"/>
                        <a:pt x="77" y="100"/>
                      </a:cubicBezTo>
                      <a:cubicBezTo>
                        <a:pt x="78" y="99"/>
                        <a:pt x="80" y="100"/>
                        <a:pt x="80" y="100"/>
                      </a:cubicBezTo>
                      <a:cubicBezTo>
                        <a:pt x="80" y="100"/>
                        <a:pt x="80" y="100"/>
                        <a:pt x="80" y="100"/>
                      </a:cubicBezTo>
                      <a:cubicBezTo>
                        <a:pt x="81" y="101"/>
                        <a:pt x="81" y="103"/>
                        <a:pt x="80" y="103"/>
                      </a:cubicBezTo>
                      <a:cubicBezTo>
                        <a:pt x="74" y="106"/>
                        <a:pt x="74" y="106"/>
                        <a:pt x="74" y="106"/>
                      </a:cubicBezTo>
                      <a:cubicBezTo>
                        <a:pt x="74" y="118"/>
                        <a:pt x="74" y="118"/>
                        <a:pt x="74" y="118"/>
                      </a:cubicBezTo>
                      <a:cubicBezTo>
                        <a:pt x="77" y="117"/>
                        <a:pt x="77" y="117"/>
                        <a:pt x="77" y="117"/>
                      </a:cubicBezTo>
                      <a:cubicBezTo>
                        <a:pt x="78" y="116"/>
                        <a:pt x="80" y="116"/>
                        <a:pt x="80" y="117"/>
                      </a:cubicBezTo>
                      <a:close/>
                      <a:moveTo>
                        <a:pt x="20" y="83"/>
                      </a:moveTo>
                      <a:cubicBezTo>
                        <a:pt x="21" y="84"/>
                        <a:pt x="21" y="85"/>
                        <a:pt x="20" y="86"/>
                      </a:cubicBezTo>
                      <a:cubicBezTo>
                        <a:pt x="13" y="90"/>
                        <a:pt x="13" y="90"/>
                        <a:pt x="13" y="90"/>
                      </a:cubicBezTo>
                      <a:cubicBezTo>
                        <a:pt x="12" y="90"/>
                        <a:pt x="11" y="90"/>
                        <a:pt x="10" y="89"/>
                      </a:cubicBezTo>
                      <a:cubicBezTo>
                        <a:pt x="10" y="89"/>
                        <a:pt x="9" y="87"/>
                        <a:pt x="9" y="87"/>
                      </a:cubicBezTo>
                      <a:cubicBezTo>
                        <a:pt x="9" y="72"/>
                        <a:pt x="9" y="72"/>
                        <a:pt x="9" y="72"/>
                      </a:cubicBezTo>
                      <a:cubicBezTo>
                        <a:pt x="9" y="72"/>
                        <a:pt x="10" y="70"/>
                        <a:pt x="10" y="70"/>
                      </a:cubicBezTo>
                      <a:cubicBezTo>
                        <a:pt x="17" y="66"/>
                        <a:pt x="17" y="66"/>
                        <a:pt x="17" y="66"/>
                      </a:cubicBezTo>
                      <a:cubicBezTo>
                        <a:pt x="18" y="65"/>
                        <a:pt x="20" y="66"/>
                        <a:pt x="20" y="66"/>
                      </a:cubicBezTo>
                      <a:cubicBezTo>
                        <a:pt x="20" y="66"/>
                        <a:pt x="20" y="66"/>
                        <a:pt x="20" y="66"/>
                      </a:cubicBezTo>
                      <a:cubicBezTo>
                        <a:pt x="21" y="67"/>
                        <a:pt x="21" y="69"/>
                        <a:pt x="20" y="69"/>
                      </a:cubicBezTo>
                      <a:cubicBezTo>
                        <a:pt x="14" y="72"/>
                        <a:pt x="14" y="72"/>
                        <a:pt x="14" y="72"/>
                      </a:cubicBezTo>
                      <a:cubicBezTo>
                        <a:pt x="14" y="84"/>
                        <a:pt x="14" y="84"/>
                        <a:pt x="14" y="84"/>
                      </a:cubicBezTo>
                      <a:cubicBezTo>
                        <a:pt x="17" y="83"/>
                        <a:pt x="17" y="83"/>
                        <a:pt x="17" y="83"/>
                      </a:cubicBezTo>
                      <a:cubicBezTo>
                        <a:pt x="18" y="82"/>
                        <a:pt x="20" y="82"/>
                        <a:pt x="20" y="8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210" name="Picture 2"/>
              <p:cNvPicPr>
                <a:picLocks noChangeAspect="1" noChangeArrowheads="1"/>
              </p:cNvPicPr>
              <p:nvPr/>
            </p:nvPicPr>
            <p:blipFill>
              <a:blip r:embed="rId4" cstate="print">
                <a:clrChange>
                  <a:clrFrom>
                    <a:srgbClr val="4EB1E4"/>
                  </a:clrFrom>
                  <a:clrTo>
                    <a:srgbClr val="4EB1E4">
                      <a:alpha val="0"/>
                    </a:srgbClr>
                  </a:clrTo>
                </a:clrChange>
                <a:duotone>
                  <a:prstClr val="black"/>
                  <a:schemeClr val="accent4">
                    <a:tint val="45000"/>
                    <a:satMod val="400000"/>
                  </a:schemeClr>
                </a:duotone>
                <a:extLst>
                  <a:ext uri="{28A0092B-C50C-407E-A947-70E740481C1C}">
                    <a14:useLocalDpi xmlns:a14="http://schemas.microsoft.com/office/drawing/2010/main" val="0"/>
                  </a:ext>
                </a:extLst>
              </a:blip>
              <a:srcRect/>
              <a:stretch>
                <a:fillRect/>
              </a:stretch>
            </p:blipFill>
            <p:spPr bwMode="auto">
              <a:xfrm>
                <a:off x="5977159" y="3154213"/>
                <a:ext cx="198884" cy="180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04" name="Group 203"/>
            <p:cNvGrpSpPr/>
            <p:nvPr/>
          </p:nvGrpSpPr>
          <p:grpSpPr>
            <a:xfrm>
              <a:off x="6817958" y="3016890"/>
              <a:ext cx="814142" cy="607753"/>
              <a:chOff x="5911427" y="2816929"/>
              <a:chExt cx="814142" cy="607753"/>
            </a:xfrm>
          </p:grpSpPr>
          <p:grpSp>
            <p:nvGrpSpPr>
              <p:cNvPr id="205" name="Group 204"/>
              <p:cNvGrpSpPr/>
              <p:nvPr/>
            </p:nvGrpSpPr>
            <p:grpSpPr>
              <a:xfrm flipH="1">
                <a:off x="5911427" y="2816929"/>
                <a:ext cx="814142" cy="607753"/>
                <a:chOff x="2806700" y="5572125"/>
                <a:chExt cx="1358900" cy="1014412"/>
              </a:xfrm>
            </p:grpSpPr>
            <p:sp>
              <p:nvSpPr>
                <p:cNvPr id="207" name="Freeform 56"/>
                <p:cNvSpPr>
                  <a:spLocks/>
                </p:cNvSpPr>
                <p:nvPr/>
              </p:nvSpPr>
              <p:spPr bwMode="auto">
                <a:xfrm>
                  <a:off x="2851150" y="5572125"/>
                  <a:ext cx="1314450" cy="992187"/>
                </a:xfrm>
                <a:custGeom>
                  <a:avLst/>
                  <a:gdLst>
                    <a:gd name="T0" fmla="*/ 88 w 175"/>
                    <a:gd name="T1" fmla="*/ 1 h 132"/>
                    <a:gd name="T2" fmla="*/ 5 w 175"/>
                    <a:gd name="T3" fmla="*/ 50 h 132"/>
                    <a:gd name="T4" fmla="*/ 0 w 175"/>
                    <a:gd name="T5" fmla="*/ 55 h 132"/>
                    <a:gd name="T6" fmla="*/ 0 w 175"/>
                    <a:gd name="T7" fmla="*/ 84 h 132"/>
                    <a:gd name="T8" fmla="*/ 84 w 175"/>
                    <a:gd name="T9" fmla="*/ 132 h 132"/>
                    <a:gd name="T10" fmla="*/ 98 w 175"/>
                    <a:gd name="T11" fmla="*/ 123 h 132"/>
                    <a:gd name="T12" fmla="*/ 172 w 175"/>
                    <a:gd name="T13" fmla="*/ 81 h 132"/>
                    <a:gd name="T14" fmla="*/ 175 w 175"/>
                    <a:gd name="T15" fmla="*/ 50 h 132"/>
                    <a:gd name="T16" fmla="*/ 173 w 175"/>
                    <a:gd name="T17" fmla="*/ 46 h 132"/>
                    <a:gd name="T18" fmla="*/ 95 w 175"/>
                    <a:gd name="T19" fmla="*/ 1 h 132"/>
                    <a:gd name="T20" fmla="*/ 92 w 175"/>
                    <a:gd name="T21" fmla="*/ 0 h 132"/>
                    <a:gd name="T22" fmla="*/ 88 w 175"/>
                    <a:gd name="T23" fmla="*/ 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5" h="132">
                      <a:moveTo>
                        <a:pt x="88" y="1"/>
                      </a:moveTo>
                      <a:cubicBezTo>
                        <a:pt x="5" y="50"/>
                        <a:pt x="5" y="50"/>
                        <a:pt x="5" y="50"/>
                      </a:cubicBezTo>
                      <a:cubicBezTo>
                        <a:pt x="0" y="55"/>
                        <a:pt x="0" y="55"/>
                        <a:pt x="0" y="55"/>
                      </a:cubicBezTo>
                      <a:cubicBezTo>
                        <a:pt x="0" y="84"/>
                        <a:pt x="0" y="84"/>
                        <a:pt x="0" y="84"/>
                      </a:cubicBezTo>
                      <a:cubicBezTo>
                        <a:pt x="84" y="132"/>
                        <a:pt x="84" y="132"/>
                        <a:pt x="84" y="132"/>
                      </a:cubicBezTo>
                      <a:cubicBezTo>
                        <a:pt x="98" y="123"/>
                        <a:pt x="98" y="123"/>
                        <a:pt x="98" y="123"/>
                      </a:cubicBezTo>
                      <a:cubicBezTo>
                        <a:pt x="172" y="81"/>
                        <a:pt x="172" y="81"/>
                        <a:pt x="172" y="81"/>
                      </a:cubicBezTo>
                      <a:cubicBezTo>
                        <a:pt x="175" y="50"/>
                        <a:pt x="175" y="50"/>
                        <a:pt x="175" y="50"/>
                      </a:cubicBezTo>
                      <a:cubicBezTo>
                        <a:pt x="173" y="46"/>
                        <a:pt x="173" y="46"/>
                        <a:pt x="173" y="46"/>
                      </a:cubicBezTo>
                      <a:cubicBezTo>
                        <a:pt x="95" y="1"/>
                        <a:pt x="95" y="1"/>
                        <a:pt x="95" y="1"/>
                      </a:cubicBezTo>
                      <a:cubicBezTo>
                        <a:pt x="95" y="1"/>
                        <a:pt x="94" y="0"/>
                        <a:pt x="92" y="0"/>
                      </a:cubicBezTo>
                      <a:cubicBezTo>
                        <a:pt x="90" y="0"/>
                        <a:pt x="88" y="1"/>
                        <a:pt x="88" y="1"/>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8" name="Freeform 103"/>
                <p:cNvSpPr>
                  <a:spLocks noEditPoints="1"/>
                </p:cNvSpPr>
                <p:nvPr/>
              </p:nvSpPr>
              <p:spPr bwMode="auto">
                <a:xfrm>
                  <a:off x="2806700" y="5572125"/>
                  <a:ext cx="1358900" cy="1014412"/>
                </a:xfrm>
                <a:custGeom>
                  <a:avLst/>
                  <a:gdLst>
                    <a:gd name="T0" fmla="*/ 179 w 181"/>
                    <a:gd name="T1" fmla="*/ 46 h 135"/>
                    <a:gd name="T2" fmla="*/ 101 w 181"/>
                    <a:gd name="T3" fmla="*/ 1 h 135"/>
                    <a:gd name="T4" fmla="*/ 95 w 181"/>
                    <a:gd name="T5" fmla="*/ 1 h 135"/>
                    <a:gd name="T6" fmla="*/ 97 w 181"/>
                    <a:gd name="T7" fmla="*/ 95 h 135"/>
                    <a:gd name="T8" fmla="*/ 22 w 181"/>
                    <a:gd name="T9" fmla="*/ 86 h 135"/>
                    <a:gd name="T10" fmla="*/ 67 w 181"/>
                    <a:gd name="T11" fmla="*/ 119 h 135"/>
                    <a:gd name="T12" fmla="*/ 21 w 181"/>
                    <a:gd name="T13" fmla="*/ 88 h 135"/>
                    <a:gd name="T14" fmla="*/ 100 w 181"/>
                    <a:gd name="T15" fmla="*/ 102 h 135"/>
                    <a:gd name="T16" fmla="*/ 98 w 181"/>
                    <a:gd name="T17" fmla="*/ 135 h 135"/>
                    <a:gd name="T18" fmla="*/ 94 w 181"/>
                    <a:gd name="T19" fmla="*/ 134 h 135"/>
                    <a:gd name="T20" fmla="*/ 81 w 181"/>
                    <a:gd name="T21" fmla="*/ 122 h 135"/>
                    <a:gd name="T22" fmla="*/ 94 w 181"/>
                    <a:gd name="T23" fmla="*/ 127 h 135"/>
                    <a:gd name="T24" fmla="*/ 6 w 181"/>
                    <a:gd name="T25" fmla="*/ 55 h 135"/>
                    <a:gd name="T26" fmla="*/ 6 w 181"/>
                    <a:gd name="T27" fmla="*/ 77 h 135"/>
                    <a:gd name="T28" fmla="*/ 7 w 181"/>
                    <a:gd name="T29" fmla="*/ 85 h 135"/>
                    <a:gd name="T30" fmla="*/ 0 w 181"/>
                    <a:gd name="T31" fmla="*/ 81 h 135"/>
                    <a:gd name="T32" fmla="*/ 0 w 181"/>
                    <a:gd name="T33" fmla="*/ 51 h 135"/>
                    <a:gd name="T34" fmla="*/ 6 w 181"/>
                    <a:gd name="T35" fmla="*/ 47 h 135"/>
                    <a:gd name="T36" fmla="*/ 11 w 181"/>
                    <a:gd name="T37" fmla="*/ 50 h 135"/>
                    <a:gd name="T38" fmla="*/ 100 w 181"/>
                    <a:gd name="T39" fmla="*/ 102 h 135"/>
                    <a:gd name="T40" fmla="*/ 181 w 181"/>
                    <a:gd name="T41" fmla="*/ 51 h 135"/>
                    <a:gd name="T42" fmla="*/ 178 w 181"/>
                    <a:gd name="T43" fmla="*/ 81 h 135"/>
                    <a:gd name="T44" fmla="*/ 104 w 181"/>
                    <a:gd name="T45" fmla="*/ 102 h 135"/>
                    <a:gd name="T46" fmla="*/ 181 w 181"/>
                    <a:gd name="T47" fmla="*/ 50 h 135"/>
                    <a:gd name="T48" fmla="*/ 59 w 181"/>
                    <a:gd name="T49" fmla="*/ 100 h 135"/>
                    <a:gd name="T50" fmla="*/ 36 w 181"/>
                    <a:gd name="T51" fmla="*/ 87 h 135"/>
                    <a:gd name="T52" fmla="*/ 34 w 181"/>
                    <a:gd name="T53" fmla="*/ 82 h 135"/>
                    <a:gd name="T54" fmla="*/ 59 w 181"/>
                    <a:gd name="T55" fmla="*/ 93 h 135"/>
                    <a:gd name="T56" fmla="*/ 61 w 181"/>
                    <a:gd name="T57" fmla="*/ 99 h 135"/>
                    <a:gd name="T58" fmla="*/ 80 w 181"/>
                    <a:gd name="T59" fmla="*/ 117 h 135"/>
                    <a:gd name="T60" fmla="*/ 73 w 181"/>
                    <a:gd name="T61" fmla="*/ 124 h 135"/>
                    <a:gd name="T62" fmla="*/ 70 w 181"/>
                    <a:gd name="T63" fmla="*/ 121 h 135"/>
                    <a:gd name="T64" fmla="*/ 71 w 181"/>
                    <a:gd name="T65" fmla="*/ 104 h 135"/>
                    <a:gd name="T66" fmla="*/ 80 w 181"/>
                    <a:gd name="T67" fmla="*/ 100 h 135"/>
                    <a:gd name="T68" fmla="*/ 80 w 181"/>
                    <a:gd name="T69" fmla="*/ 103 h 135"/>
                    <a:gd name="T70" fmla="*/ 74 w 181"/>
                    <a:gd name="T71" fmla="*/ 118 h 135"/>
                    <a:gd name="T72" fmla="*/ 80 w 181"/>
                    <a:gd name="T73" fmla="*/ 117 h 135"/>
                    <a:gd name="T74" fmla="*/ 20 w 181"/>
                    <a:gd name="T75" fmla="*/ 86 h 135"/>
                    <a:gd name="T76" fmla="*/ 10 w 181"/>
                    <a:gd name="T77" fmla="*/ 89 h 135"/>
                    <a:gd name="T78" fmla="*/ 9 w 181"/>
                    <a:gd name="T79" fmla="*/ 72 h 135"/>
                    <a:gd name="T80" fmla="*/ 17 w 181"/>
                    <a:gd name="T81" fmla="*/ 66 h 135"/>
                    <a:gd name="T82" fmla="*/ 20 w 181"/>
                    <a:gd name="T83" fmla="*/ 66 h 135"/>
                    <a:gd name="T84" fmla="*/ 14 w 181"/>
                    <a:gd name="T85" fmla="*/ 72 h 135"/>
                    <a:gd name="T86" fmla="*/ 17 w 181"/>
                    <a:gd name="T87" fmla="*/ 8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1" h="135">
                      <a:moveTo>
                        <a:pt x="97" y="95"/>
                      </a:moveTo>
                      <a:cubicBezTo>
                        <a:pt x="179" y="46"/>
                        <a:pt x="179" y="46"/>
                        <a:pt x="179" y="46"/>
                      </a:cubicBezTo>
                      <a:cubicBezTo>
                        <a:pt x="179" y="46"/>
                        <a:pt x="179" y="46"/>
                        <a:pt x="178" y="46"/>
                      </a:cubicBezTo>
                      <a:cubicBezTo>
                        <a:pt x="101" y="1"/>
                        <a:pt x="101" y="1"/>
                        <a:pt x="101" y="1"/>
                      </a:cubicBezTo>
                      <a:cubicBezTo>
                        <a:pt x="100" y="0"/>
                        <a:pt x="99" y="0"/>
                        <a:pt x="98" y="0"/>
                      </a:cubicBezTo>
                      <a:cubicBezTo>
                        <a:pt x="97" y="0"/>
                        <a:pt x="96" y="0"/>
                        <a:pt x="95" y="1"/>
                      </a:cubicBezTo>
                      <a:cubicBezTo>
                        <a:pt x="14" y="48"/>
                        <a:pt x="14" y="48"/>
                        <a:pt x="14" y="48"/>
                      </a:cubicBezTo>
                      <a:cubicBezTo>
                        <a:pt x="97" y="95"/>
                        <a:pt x="97" y="95"/>
                        <a:pt x="97" y="95"/>
                      </a:cubicBezTo>
                      <a:cubicBezTo>
                        <a:pt x="97" y="95"/>
                        <a:pt x="97" y="95"/>
                        <a:pt x="97" y="95"/>
                      </a:cubicBezTo>
                      <a:close/>
                      <a:moveTo>
                        <a:pt x="22" y="86"/>
                      </a:moveTo>
                      <a:cubicBezTo>
                        <a:pt x="67" y="112"/>
                        <a:pt x="67" y="112"/>
                        <a:pt x="67" y="112"/>
                      </a:cubicBezTo>
                      <a:cubicBezTo>
                        <a:pt x="67" y="119"/>
                        <a:pt x="67" y="119"/>
                        <a:pt x="67" y="119"/>
                      </a:cubicBezTo>
                      <a:cubicBezTo>
                        <a:pt x="17" y="90"/>
                        <a:pt x="17" y="90"/>
                        <a:pt x="17" y="90"/>
                      </a:cubicBezTo>
                      <a:cubicBezTo>
                        <a:pt x="21" y="88"/>
                        <a:pt x="21" y="88"/>
                        <a:pt x="21" y="88"/>
                      </a:cubicBezTo>
                      <a:cubicBezTo>
                        <a:pt x="21" y="87"/>
                        <a:pt x="22" y="87"/>
                        <a:pt x="22" y="86"/>
                      </a:cubicBezTo>
                      <a:close/>
                      <a:moveTo>
                        <a:pt x="100" y="102"/>
                      </a:moveTo>
                      <a:cubicBezTo>
                        <a:pt x="100" y="132"/>
                        <a:pt x="100" y="132"/>
                        <a:pt x="100" y="132"/>
                      </a:cubicBezTo>
                      <a:cubicBezTo>
                        <a:pt x="100" y="133"/>
                        <a:pt x="99" y="134"/>
                        <a:pt x="98" y="135"/>
                      </a:cubicBezTo>
                      <a:cubicBezTo>
                        <a:pt x="98" y="135"/>
                        <a:pt x="97" y="135"/>
                        <a:pt x="96" y="135"/>
                      </a:cubicBezTo>
                      <a:cubicBezTo>
                        <a:pt x="96" y="135"/>
                        <a:pt x="95" y="135"/>
                        <a:pt x="94" y="134"/>
                      </a:cubicBezTo>
                      <a:cubicBezTo>
                        <a:pt x="76" y="124"/>
                        <a:pt x="76" y="124"/>
                        <a:pt x="76" y="124"/>
                      </a:cubicBezTo>
                      <a:cubicBezTo>
                        <a:pt x="81" y="122"/>
                        <a:pt x="81" y="122"/>
                        <a:pt x="81" y="122"/>
                      </a:cubicBezTo>
                      <a:cubicBezTo>
                        <a:pt x="82" y="121"/>
                        <a:pt x="82" y="121"/>
                        <a:pt x="82" y="120"/>
                      </a:cubicBezTo>
                      <a:cubicBezTo>
                        <a:pt x="94" y="127"/>
                        <a:pt x="94" y="127"/>
                        <a:pt x="94" y="127"/>
                      </a:cubicBezTo>
                      <a:cubicBezTo>
                        <a:pt x="94" y="105"/>
                        <a:pt x="94" y="105"/>
                        <a:pt x="94" y="105"/>
                      </a:cubicBezTo>
                      <a:cubicBezTo>
                        <a:pt x="6" y="55"/>
                        <a:pt x="6" y="55"/>
                        <a:pt x="6" y="55"/>
                      </a:cubicBezTo>
                      <a:cubicBezTo>
                        <a:pt x="6" y="77"/>
                        <a:pt x="6" y="77"/>
                        <a:pt x="6" y="77"/>
                      </a:cubicBezTo>
                      <a:cubicBezTo>
                        <a:pt x="6" y="77"/>
                        <a:pt x="6" y="77"/>
                        <a:pt x="6" y="77"/>
                      </a:cubicBezTo>
                      <a:cubicBezTo>
                        <a:pt x="7" y="78"/>
                        <a:pt x="7" y="78"/>
                        <a:pt x="7" y="78"/>
                      </a:cubicBezTo>
                      <a:cubicBezTo>
                        <a:pt x="7" y="85"/>
                        <a:pt x="7" y="85"/>
                        <a:pt x="7" y="85"/>
                      </a:cubicBezTo>
                      <a:cubicBezTo>
                        <a:pt x="3" y="83"/>
                        <a:pt x="3" y="83"/>
                        <a:pt x="3" y="83"/>
                      </a:cubicBezTo>
                      <a:cubicBezTo>
                        <a:pt x="0" y="81"/>
                        <a:pt x="0" y="81"/>
                        <a:pt x="0" y="81"/>
                      </a:cubicBezTo>
                      <a:cubicBezTo>
                        <a:pt x="0" y="78"/>
                        <a:pt x="0" y="78"/>
                        <a:pt x="0" y="78"/>
                      </a:cubicBezTo>
                      <a:cubicBezTo>
                        <a:pt x="0" y="51"/>
                        <a:pt x="0" y="51"/>
                        <a:pt x="0" y="51"/>
                      </a:cubicBezTo>
                      <a:cubicBezTo>
                        <a:pt x="0" y="49"/>
                        <a:pt x="0" y="48"/>
                        <a:pt x="2" y="47"/>
                      </a:cubicBezTo>
                      <a:cubicBezTo>
                        <a:pt x="3" y="47"/>
                        <a:pt x="4" y="47"/>
                        <a:pt x="6" y="47"/>
                      </a:cubicBezTo>
                      <a:cubicBezTo>
                        <a:pt x="11" y="50"/>
                        <a:pt x="11" y="50"/>
                        <a:pt x="11" y="50"/>
                      </a:cubicBezTo>
                      <a:cubicBezTo>
                        <a:pt x="11" y="50"/>
                        <a:pt x="11" y="50"/>
                        <a:pt x="11" y="50"/>
                      </a:cubicBezTo>
                      <a:cubicBezTo>
                        <a:pt x="99" y="100"/>
                        <a:pt x="99" y="100"/>
                        <a:pt x="99" y="100"/>
                      </a:cubicBezTo>
                      <a:cubicBezTo>
                        <a:pt x="100" y="100"/>
                        <a:pt x="100" y="101"/>
                        <a:pt x="100" y="102"/>
                      </a:cubicBezTo>
                      <a:close/>
                      <a:moveTo>
                        <a:pt x="181" y="50"/>
                      </a:moveTo>
                      <a:cubicBezTo>
                        <a:pt x="181" y="50"/>
                        <a:pt x="181" y="50"/>
                        <a:pt x="181" y="51"/>
                      </a:cubicBezTo>
                      <a:cubicBezTo>
                        <a:pt x="181" y="76"/>
                        <a:pt x="181" y="76"/>
                        <a:pt x="181" y="76"/>
                      </a:cubicBezTo>
                      <a:cubicBezTo>
                        <a:pt x="181" y="78"/>
                        <a:pt x="180" y="80"/>
                        <a:pt x="178" y="81"/>
                      </a:cubicBezTo>
                      <a:cubicBezTo>
                        <a:pt x="104" y="123"/>
                        <a:pt x="104" y="123"/>
                        <a:pt x="104" y="123"/>
                      </a:cubicBezTo>
                      <a:cubicBezTo>
                        <a:pt x="104" y="102"/>
                        <a:pt x="104" y="102"/>
                        <a:pt x="104" y="102"/>
                      </a:cubicBezTo>
                      <a:cubicBezTo>
                        <a:pt x="104" y="100"/>
                        <a:pt x="103" y="98"/>
                        <a:pt x="101" y="97"/>
                      </a:cubicBezTo>
                      <a:cubicBezTo>
                        <a:pt x="181" y="50"/>
                        <a:pt x="181" y="50"/>
                        <a:pt x="181" y="50"/>
                      </a:cubicBezTo>
                      <a:cubicBezTo>
                        <a:pt x="181" y="50"/>
                        <a:pt x="181" y="50"/>
                        <a:pt x="181" y="50"/>
                      </a:cubicBezTo>
                      <a:close/>
                      <a:moveTo>
                        <a:pt x="59" y="100"/>
                      </a:moveTo>
                      <a:cubicBezTo>
                        <a:pt x="59" y="100"/>
                        <a:pt x="59" y="100"/>
                        <a:pt x="58" y="100"/>
                      </a:cubicBezTo>
                      <a:cubicBezTo>
                        <a:pt x="36" y="87"/>
                        <a:pt x="36" y="87"/>
                        <a:pt x="36" y="87"/>
                      </a:cubicBezTo>
                      <a:cubicBezTo>
                        <a:pt x="35" y="87"/>
                        <a:pt x="34" y="85"/>
                        <a:pt x="34" y="84"/>
                      </a:cubicBezTo>
                      <a:cubicBezTo>
                        <a:pt x="34" y="82"/>
                        <a:pt x="34" y="82"/>
                        <a:pt x="34" y="82"/>
                      </a:cubicBezTo>
                      <a:cubicBezTo>
                        <a:pt x="34" y="80"/>
                        <a:pt x="35" y="80"/>
                        <a:pt x="36" y="80"/>
                      </a:cubicBezTo>
                      <a:cubicBezTo>
                        <a:pt x="59" y="93"/>
                        <a:pt x="59" y="93"/>
                        <a:pt x="59" y="93"/>
                      </a:cubicBezTo>
                      <a:cubicBezTo>
                        <a:pt x="60" y="94"/>
                        <a:pt x="61" y="95"/>
                        <a:pt x="61" y="96"/>
                      </a:cubicBezTo>
                      <a:cubicBezTo>
                        <a:pt x="61" y="99"/>
                        <a:pt x="61" y="99"/>
                        <a:pt x="61" y="99"/>
                      </a:cubicBezTo>
                      <a:cubicBezTo>
                        <a:pt x="61" y="100"/>
                        <a:pt x="60" y="100"/>
                        <a:pt x="59" y="100"/>
                      </a:cubicBezTo>
                      <a:close/>
                      <a:moveTo>
                        <a:pt x="80" y="117"/>
                      </a:moveTo>
                      <a:cubicBezTo>
                        <a:pt x="81" y="118"/>
                        <a:pt x="81" y="119"/>
                        <a:pt x="80" y="120"/>
                      </a:cubicBezTo>
                      <a:cubicBezTo>
                        <a:pt x="73" y="124"/>
                        <a:pt x="73" y="124"/>
                        <a:pt x="73" y="124"/>
                      </a:cubicBezTo>
                      <a:cubicBezTo>
                        <a:pt x="72" y="124"/>
                        <a:pt x="71" y="124"/>
                        <a:pt x="70" y="123"/>
                      </a:cubicBezTo>
                      <a:cubicBezTo>
                        <a:pt x="70" y="123"/>
                        <a:pt x="70" y="121"/>
                        <a:pt x="70" y="121"/>
                      </a:cubicBezTo>
                      <a:cubicBezTo>
                        <a:pt x="70" y="106"/>
                        <a:pt x="70" y="106"/>
                        <a:pt x="70" y="106"/>
                      </a:cubicBezTo>
                      <a:cubicBezTo>
                        <a:pt x="70" y="106"/>
                        <a:pt x="70" y="104"/>
                        <a:pt x="71" y="104"/>
                      </a:cubicBezTo>
                      <a:cubicBezTo>
                        <a:pt x="77" y="100"/>
                        <a:pt x="77" y="100"/>
                        <a:pt x="77" y="100"/>
                      </a:cubicBezTo>
                      <a:cubicBezTo>
                        <a:pt x="78" y="99"/>
                        <a:pt x="80" y="100"/>
                        <a:pt x="80" y="100"/>
                      </a:cubicBezTo>
                      <a:cubicBezTo>
                        <a:pt x="80" y="100"/>
                        <a:pt x="80" y="100"/>
                        <a:pt x="80" y="100"/>
                      </a:cubicBezTo>
                      <a:cubicBezTo>
                        <a:pt x="81" y="101"/>
                        <a:pt x="81" y="103"/>
                        <a:pt x="80" y="103"/>
                      </a:cubicBezTo>
                      <a:cubicBezTo>
                        <a:pt x="74" y="106"/>
                        <a:pt x="74" y="106"/>
                        <a:pt x="74" y="106"/>
                      </a:cubicBezTo>
                      <a:cubicBezTo>
                        <a:pt x="74" y="118"/>
                        <a:pt x="74" y="118"/>
                        <a:pt x="74" y="118"/>
                      </a:cubicBezTo>
                      <a:cubicBezTo>
                        <a:pt x="77" y="117"/>
                        <a:pt x="77" y="117"/>
                        <a:pt x="77" y="117"/>
                      </a:cubicBezTo>
                      <a:cubicBezTo>
                        <a:pt x="78" y="116"/>
                        <a:pt x="80" y="116"/>
                        <a:pt x="80" y="117"/>
                      </a:cubicBezTo>
                      <a:close/>
                      <a:moveTo>
                        <a:pt x="20" y="83"/>
                      </a:moveTo>
                      <a:cubicBezTo>
                        <a:pt x="21" y="84"/>
                        <a:pt x="21" y="85"/>
                        <a:pt x="20" y="86"/>
                      </a:cubicBezTo>
                      <a:cubicBezTo>
                        <a:pt x="13" y="90"/>
                        <a:pt x="13" y="90"/>
                        <a:pt x="13" y="90"/>
                      </a:cubicBezTo>
                      <a:cubicBezTo>
                        <a:pt x="12" y="90"/>
                        <a:pt x="11" y="90"/>
                        <a:pt x="10" y="89"/>
                      </a:cubicBezTo>
                      <a:cubicBezTo>
                        <a:pt x="10" y="89"/>
                        <a:pt x="9" y="87"/>
                        <a:pt x="9" y="87"/>
                      </a:cubicBezTo>
                      <a:cubicBezTo>
                        <a:pt x="9" y="72"/>
                        <a:pt x="9" y="72"/>
                        <a:pt x="9" y="72"/>
                      </a:cubicBezTo>
                      <a:cubicBezTo>
                        <a:pt x="9" y="72"/>
                        <a:pt x="10" y="70"/>
                        <a:pt x="10" y="70"/>
                      </a:cubicBezTo>
                      <a:cubicBezTo>
                        <a:pt x="17" y="66"/>
                        <a:pt x="17" y="66"/>
                        <a:pt x="17" y="66"/>
                      </a:cubicBezTo>
                      <a:cubicBezTo>
                        <a:pt x="18" y="65"/>
                        <a:pt x="20" y="66"/>
                        <a:pt x="20" y="66"/>
                      </a:cubicBezTo>
                      <a:cubicBezTo>
                        <a:pt x="20" y="66"/>
                        <a:pt x="20" y="66"/>
                        <a:pt x="20" y="66"/>
                      </a:cubicBezTo>
                      <a:cubicBezTo>
                        <a:pt x="21" y="67"/>
                        <a:pt x="21" y="69"/>
                        <a:pt x="20" y="69"/>
                      </a:cubicBezTo>
                      <a:cubicBezTo>
                        <a:pt x="14" y="72"/>
                        <a:pt x="14" y="72"/>
                        <a:pt x="14" y="72"/>
                      </a:cubicBezTo>
                      <a:cubicBezTo>
                        <a:pt x="14" y="84"/>
                        <a:pt x="14" y="84"/>
                        <a:pt x="14" y="84"/>
                      </a:cubicBezTo>
                      <a:cubicBezTo>
                        <a:pt x="17" y="83"/>
                        <a:pt x="17" y="83"/>
                        <a:pt x="17" y="83"/>
                      </a:cubicBezTo>
                      <a:cubicBezTo>
                        <a:pt x="18" y="82"/>
                        <a:pt x="20" y="82"/>
                        <a:pt x="20" y="8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206" name="Picture 2"/>
              <p:cNvPicPr>
                <a:picLocks noChangeAspect="1" noChangeArrowheads="1"/>
              </p:cNvPicPr>
              <p:nvPr/>
            </p:nvPicPr>
            <p:blipFill>
              <a:blip r:embed="rId4" cstate="print">
                <a:clrChange>
                  <a:clrFrom>
                    <a:srgbClr val="4EB1E4"/>
                  </a:clrFrom>
                  <a:clrTo>
                    <a:srgbClr val="4EB1E4">
                      <a:alpha val="0"/>
                    </a:srgbClr>
                  </a:clrTo>
                </a:clrChange>
                <a:duotone>
                  <a:prstClr val="black"/>
                  <a:schemeClr val="accent4">
                    <a:tint val="45000"/>
                    <a:satMod val="400000"/>
                  </a:schemeClr>
                </a:duotone>
                <a:extLst>
                  <a:ext uri="{28A0092B-C50C-407E-A947-70E740481C1C}">
                    <a14:useLocalDpi xmlns:a14="http://schemas.microsoft.com/office/drawing/2010/main" val="0"/>
                  </a:ext>
                </a:extLst>
              </a:blip>
              <a:srcRect/>
              <a:stretch>
                <a:fillRect/>
              </a:stretch>
            </p:blipFill>
            <p:spPr bwMode="auto">
              <a:xfrm>
                <a:off x="5977159" y="3154213"/>
                <a:ext cx="198884" cy="180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67"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68"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5"/>
              </a:rPr>
              <a:t>www.rapidbbs.cn</a:t>
            </a:r>
            <a:endParaRPr lang="zh-CN" altLang="en-US" sz="1200" b="0">
              <a:latin typeface="Arial" charset="0"/>
              <a:ea typeface="ＭＳ Ｐゴシック" pitchFamily="34" charset="-128"/>
            </a:endParaRPr>
          </a:p>
        </p:txBody>
      </p:sp>
      <p:pic>
        <p:nvPicPr>
          <p:cNvPr id="69" name="Picture 2">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612089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grpId="0" nodeType="clickEffect">
                                  <p:stCondLst>
                                    <p:cond delay="0"/>
                                  </p:stCondLst>
                                  <p:childTnLst>
                                    <p:set>
                                      <p:cBhvr>
                                        <p:cTn id="6" dur="1" fill="hold">
                                          <p:stCondLst>
                                            <p:cond delay="0"/>
                                          </p:stCondLst>
                                        </p:cTn>
                                        <p:tgtEl>
                                          <p:spTgt spid="217"/>
                                        </p:tgtEl>
                                        <p:attrNameLst>
                                          <p:attrName>style.visibility</p:attrName>
                                        </p:attrNameLst>
                                      </p:cBhvr>
                                      <p:to>
                                        <p:strVal val="visible"/>
                                      </p:to>
                                    </p:set>
                                    <p:animEffect transition="in" filter="wipe(right)">
                                      <p:cBhvr>
                                        <p:cTn id="7" dur="500"/>
                                        <p:tgtEl>
                                          <p:spTgt spid="2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7" grpId="0" animBg="1"/>
    </p:bldLst>
  </p:timing>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yper-V | Network Virtualization</a:t>
            </a:r>
            <a:endParaRPr lang="en-US" dirty="0"/>
          </a:p>
        </p:txBody>
      </p:sp>
      <p:sp>
        <p:nvSpPr>
          <p:cNvPr id="4" name="Rectangle 3"/>
          <p:cNvSpPr/>
          <p:nvPr/>
        </p:nvSpPr>
        <p:spPr bwMode="auto">
          <a:xfrm rot="16200000">
            <a:off x="-394207" y="2235407"/>
            <a:ext cx="3439889" cy="100469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5758" tIns="34294" rIns="34294" bIns="34294" numCol="1" spcCol="0" rtlCol="0" fromWordArt="0" anchor="ctr" anchorCtr="0" forceAA="0" compatLnSpc="1">
            <a:prstTxWarp prst="textNoShape">
              <a:avLst/>
            </a:prstTxWarp>
            <a:noAutofit/>
          </a:bodyPr>
          <a:lstStyle/>
          <a:p>
            <a:pPr defTabSz="685637" fontAlgn="base">
              <a:spcBef>
                <a:spcPct val="0"/>
              </a:spcBef>
              <a:spcAft>
                <a:spcPct val="0"/>
              </a:spcAft>
            </a:pPr>
            <a:r>
              <a:rPr lang="en-US" sz="3300" spc="-38" dirty="0">
                <a:gradFill>
                  <a:gsLst>
                    <a:gs pos="0">
                      <a:srgbClr val="FFFFFF"/>
                    </a:gs>
                    <a:gs pos="100000">
                      <a:srgbClr val="FFFFFF"/>
                    </a:gs>
                  </a:gsLst>
                  <a:lin ang="5400000" scaled="0"/>
                </a:gradFill>
                <a:latin typeface="Segoe UI Light"/>
                <a:ea typeface="Segoe UI" pitchFamily="34" charset="0"/>
                <a:cs typeface="Segoe UI" pitchFamily="34" charset="0"/>
              </a:rPr>
              <a:t>Network Flexibility</a:t>
            </a:r>
            <a:endParaRPr lang="en-US" sz="2000" spc="-38"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nvGrpSpPr>
          <p:cNvPr id="3" name="Group 2"/>
          <p:cNvGrpSpPr/>
          <p:nvPr/>
        </p:nvGrpSpPr>
        <p:grpSpPr>
          <a:xfrm>
            <a:off x="1858697" y="1017812"/>
            <a:ext cx="6362157" cy="1132115"/>
            <a:chOff x="2477616" y="1357081"/>
            <a:chExt cx="8480667" cy="1509486"/>
          </a:xfrm>
        </p:grpSpPr>
        <p:sp>
          <p:nvSpPr>
            <p:cNvPr id="18" name="Rectangle 17"/>
            <p:cNvSpPr/>
            <p:nvPr/>
          </p:nvSpPr>
          <p:spPr bwMode="auto">
            <a:xfrm>
              <a:off x="2477616" y="1357081"/>
              <a:ext cx="8480667" cy="150948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45720" bIns="45720" numCol="1" spcCol="0" rtlCol="0" fromWordArt="0" anchor="ctr" anchorCtr="0" forceAA="0" compatLnSpc="1">
              <a:prstTxWarp prst="textNoShape">
                <a:avLst/>
              </a:prstTxWarp>
              <a:noAutofit/>
            </a:bodyPr>
            <a:lstStyle/>
            <a:p>
              <a:pPr defTabSz="685637" fontAlgn="base">
                <a:spcBef>
                  <a:spcPct val="0"/>
                </a:spcBef>
                <a:spcAft>
                  <a:spcPct val="0"/>
                </a:spcAft>
              </a:pPr>
              <a:r>
                <a:rPr lang="en-US" sz="27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Secure Isolation</a:t>
              </a:r>
              <a:r>
                <a:rPr lang="en-US" sz="30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
              </a:r>
              <a:br>
                <a:rPr lang="en-US" sz="30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br>
              <a:r>
                <a:rPr lang="en-US" sz="15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Isolate network traffic from different business units or</a:t>
              </a:r>
              <a:br>
                <a:rPr lang="en-US" sz="15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br>
              <a:r>
                <a:rPr lang="en-US" sz="15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customers on a shared infrastructure without VLANs</a:t>
              </a:r>
            </a:p>
          </p:txBody>
        </p:sp>
        <p:pic>
          <p:nvPicPr>
            <p:cNvPr id="16" name="Picture 9"/>
            <p:cNvPicPr>
              <a:picLocks noChangeAspect="1" noChangeArrowheads="1"/>
            </p:cNvPicPr>
            <p:nvPr/>
          </p:nvPicPr>
          <p:blipFill>
            <a:blip r:embed="rId2" cstate="email">
              <a:biLevel thresh="50000"/>
              <a:extLst>
                <a:ext uri="{28A0092B-C50C-407E-A947-70E740481C1C}">
                  <a14:useLocalDpi xmlns:a14="http://schemas.microsoft.com/office/drawing/2010/main"/>
                </a:ext>
              </a:extLst>
            </a:blip>
            <a:srcRect/>
            <a:stretch>
              <a:fillRect/>
            </a:stretch>
          </p:blipFill>
          <p:spPr bwMode="auto">
            <a:xfrm>
              <a:off x="9675812" y="1568930"/>
              <a:ext cx="521106" cy="10980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4" name="Group 13"/>
          <p:cNvGrpSpPr/>
          <p:nvPr/>
        </p:nvGrpSpPr>
        <p:grpSpPr>
          <a:xfrm>
            <a:off x="1858698" y="2171701"/>
            <a:ext cx="6362157" cy="1132115"/>
            <a:chOff x="2477617" y="2895600"/>
            <a:chExt cx="8480667" cy="1509486"/>
          </a:xfrm>
        </p:grpSpPr>
        <p:sp>
          <p:nvSpPr>
            <p:cNvPr id="6" name="Rectangle 5"/>
            <p:cNvSpPr/>
            <p:nvPr/>
          </p:nvSpPr>
          <p:spPr bwMode="auto">
            <a:xfrm>
              <a:off x="2477617" y="2895600"/>
              <a:ext cx="8480667" cy="150948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45720" bIns="45720" numCol="1" spcCol="0" rtlCol="0" fromWordArt="0" anchor="ctr" anchorCtr="0" forceAA="0" compatLnSpc="1">
              <a:prstTxWarp prst="textNoShape">
                <a:avLst/>
              </a:prstTxWarp>
              <a:noAutofit/>
            </a:bodyPr>
            <a:lstStyle/>
            <a:p>
              <a:pPr defTabSz="685637" fontAlgn="base">
                <a:spcBef>
                  <a:spcPct val="0"/>
                </a:spcBef>
                <a:spcAft>
                  <a:spcPct val="0"/>
                </a:spcAft>
              </a:pPr>
              <a:r>
                <a:rPr lang="en-US" sz="27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Flexible Migrations</a:t>
              </a:r>
              <a:r>
                <a:rPr lang="en-US" sz="30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
              </a:r>
              <a:br>
                <a:rPr lang="en-US" sz="30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br>
              <a:r>
                <a:rPr lang="en-US" sz="15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Move VMs as needed within your virtual infrastructure</a:t>
              </a:r>
              <a:br>
                <a:rPr lang="en-US" sz="15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br>
              <a:r>
                <a:rPr lang="en-US" sz="15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while preserving their virtual network assignments</a:t>
              </a:r>
            </a:p>
          </p:txBody>
        </p:sp>
        <p:pic>
          <p:nvPicPr>
            <p:cNvPr id="19" name="Picture 16"/>
            <p:cNvPicPr>
              <a:picLocks noChangeAspect="1" noChangeArrowheads="1"/>
            </p:cNvPicPr>
            <p:nvPr/>
          </p:nvPicPr>
          <p:blipFill>
            <a:blip r:embed="rId3" cstate="email">
              <a:biLevel thresh="50000"/>
              <a:extLst>
                <a:ext uri="{28A0092B-C50C-407E-A947-70E740481C1C}">
                  <a14:useLocalDpi xmlns:a14="http://schemas.microsoft.com/office/drawing/2010/main"/>
                </a:ext>
              </a:extLst>
            </a:blip>
            <a:srcRect/>
            <a:stretch>
              <a:fillRect/>
            </a:stretch>
          </p:blipFill>
          <p:spPr bwMode="auto">
            <a:xfrm>
              <a:off x="9066212" y="3276600"/>
              <a:ext cx="1643298" cy="8251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7" name="Group 16"/>
          <p:cNvGrpSpPr/>
          <p:nvPr/>
        </p:nvGrpSpPr>
        <p:grpSpPr>
          <a:xfrm>
            <a:off x="1858698" y="3325586"/>
            <a:ext cx="6362157" cy="1132115"/>
            <a:chOff x="2477617" y="4434114"/>
            <a:chExt cx="8480667" cy="1509486"/>
          </a:xfrm>
        </p:grpSpPr>
        <p:sp>
          <p:nvSpPr>
            <p:cNvPr id="12" name="Rectangle 11"/>
            <p:cNvSpPr/>
            <p:nvPr/>
          </p:nvSpPr>
          <p:spPr bwMode="auto">
            <a:xfrm>
              <a:off x="2477617" y="4434114"/>
              <a:ext cx="8480667" cy="150948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45720" rIns="45720" bIns="45720" numCol="1" spcCol="0" rtlCol="0" fromWordArt="0" anchor="ctr" anchorCtr="0" forceAA="0" compatLnSpc="1">
              <a:prstTxWarp prst="textNoShape">
                <a:avLst/>
              </a:prstTxWarp>
              <a:noAutofit/>
            </a:bodyPr>
            <a:lstStyle/>
            <a:p>
              <a:pPr defTabSz="685637" fontAlgn="base">
                <a:spcBef>
                  <a:spcPct val="0"/>
                </a:spcBef>
                <a:spcAft>
                  <a:spcPct val="0"/>
                </a:spcAft>
              </a:pPr>
              <a:r>
                <a:rPr lang="en-US" sz="27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Seamless Integration</a:t>
              </a:r>
              <a:r>
                <a:rPr lang="en-US" sz="30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
              </a:r>
              <a:br>
                <a:rPr lang="en-US" sz="30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br>
              <a:r>
                <a:rPr lang="en-US" sz="15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Transparently integrate these private networks into a</a:t>
              </a:r>
              <a:br>
                <a:rPr lang="en-US" sz="15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br>
              <a:r>
                <a:rPr lang="en-US" sz="15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preexisting infrastructure on another site</a:t>
              </a:r>
            </a:p>
          </p:txBody>
        </p:sp>
        <p:pic>
          <p:nvPicPr>
            <p:cNvPr id="22" name="Picture 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8310440" y="4927139"/>
              <a:ext cx="2432172" cy="6354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3"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5"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5"/>
              </a:rPr>
              <a:t>www.rapidbbs.cn</a:t>
            </a:r>
            <a:endParaRPr lang="zh-CN" altLang="en-US" sz="1200" b="0">
              <a:latin typeface="Arial" charset="0"/>
              <a:ea typeface="ＭＳ Ｐゴシック" pitchFamily="34" charset="-128"/>
            </a:endParaRPr>
          </a:p>
        </p:txBody>
      </p:sp>
      <p:pic>
        <p:nvPicPr>
          <p:cNvPr id="20" name="Picture 2">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67278425"/>
      </p:ext>
    </p:extLst>
  </p:cSld>
  <p:clrMapOvr>
    <a:masterClrMapping/>
  </p:clrMapOvr>
  <p:transition spd="slow">
    <p:push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nodeType="clickEffect">
                                  <p:stCondLst>
                                    <p:cond delay="0"/>
                                  </p:stCondLst>
                                  <p:childTnLst>
                                    <p:set>
                                      <p:cBhvr>
                                        <p:cTn id="13" dur="1" fill="hold">
                                          <p:stCondLst>
                                            <p:cond delay="0"/>
                                          </p:stCondLst>
                                        </p:cTn>
                                        <p:tgtEl>
                                          <p:spTgt spid="3"/>
                                        </p:tgtEl>
                                        <p:attrNameLst>
                                          <p:attrName>style.visibility</p:attrName>
                                        </p:attrNameLst>
                                      </p:cBhvr>
                                      <p:to>
                                        <p:strVal val="visible"/>
                                      </p:to>
                                    </p:set>
                                    <p:animEffect transition="in" filter="wipe(left)">
                                      <p:cBhvr>
                                        <p:cTn id="14" dur="500"/>
                                        <p:tgtEl>
                                          <p:spTgt spid="3"/>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8" fill="hold" nodeType="click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wipe(left)">
                                      <p:cBhvr>
                                        <p:cTn id="19" dur="500"/>
                                        <p:tgtEl>
                                          <p:spTgt spid="14"/>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8" fill="hold" nodeType="clickEffect">
                                  <p:stCondLst>
                                    <p:cond delay="0"/>
                                  </p:stCondLst>
                                  <p:childTnLst>
                                    <p:set>
                                      <p:cBhvr>
                                        <p:cTn id="23" dur="1" fill="hold">
                                          <p:stCondLst>
                                            <p:cond delay="0"/>
                                          </p:stCondLst>
                                        </p:cTn>
                                        <p:tgtEl>
                                          <p:spTgt spid="17"/>
                                        </p:tgtEl>
                                        <p:attrNameLst>
                                          <p:attrName>style.visibility</p:attrName>
                                        </p:attrNameLst>
                                      </p:cBhvr>
                                      <p:to>
                                        <p:strVal val="visible"/>
                                      </p:to>
                                    </p:set>
                                    <p:animEffect transition="in" filter="wipe(left)">
                                      <p:cBhvr>
                                        <p:cTn id="24"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yper-V | Resiliency</a:t>
            </a:r>
            <a:endParaRPr lang="en-US" dirty="0"/>
          </a:p>
        </p:txBody>
      </p:sp>
      <p:sp>
        <p:nvSpPr>
          <p:cNvPr id="4" name="Rectangle 3"/>
          <p:cNvSpPr/>
          <p:nvPr/>
        </p:nvSpPr>
        <p:spPr bwMode="auto">
          <a:xfrm rot="16200000">
            <a:off x="-394207" y="2235407"/>
            <a:ext cx="3439889" cy="100469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5758" tIns="34294" rIns="34294" bIns="34294" numCol="1" spcCol="0" rtlCol="0" fromWordArt="0" anchor="ctr" anchorCtr="0" forceAA="0" compatLnSpc="1">
            <a:prstTxWarp prst="textNoShape">
              <a:avLst/>
            </a:prstTxWarp>
            <a:noAutofit/>
          </a:bodyPr>
          <a:lstStyle/>
          <a:p>
            <a:pPr defTabSz="685637" fontAlgn="base">
              <a:spcBef>
                <a:spcPct val="0"/>
              </a:spcBef>
              <a:spcAft>
                <a:spcPct val="0"/>
              </a:spcAft>
            </a:pPr>
            <a:r>
              <a:rPr lang="en-US" sz="3300" spc="-38" dirty="0">
                <a:gradFill>
                  <a:gsLst>
                    <a:gs pos="0">
                      <a:srgbClr val="FFFFFF"/>
                    </a:gs>
                    <a:gs pos="100000">
                      <a:srgbClr val="FFFFFF"/>
                    </a:gs>
                  </a:gsLst>
                  <a:lin ang="5400000" scaled="0"/>
                </a:gradFill>
                <a:latin typeface="Segoe UI Light"/>
                <a:ea typeface="Segoe UI" pitchFamily="34" charset="0"/>
                <a:cs typeface="Segoe UI" pitchFamily="34" charset="0"/>
              </a:rPr>
              <a:t>Resiliency</a:t>
            </a:r>
            <a:endParaRPr lang="en-US" sz="2000" spc="-38"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nvGrpSpPr>
          <p:cNvPr id="5" name="Group 4"/>
          <p:cNvGrpSpPr/>
          <p:nvPr/>
        </p:nvGrpSpPr>
        <p:grpSpPr>
          <a:xfrm>
            <a:off x="1858698" y="2171701"/>
            <a:ext cx="6362157" cy="1132115"/>
            <a:chOff x="2477617" y="2895600"/>
            <a:chExt cx="8480667" cy="1509486"/>
          </a:xfrm>
        </p:grpSpPr>
        <p:sp>
          <p:nvSpPr>
            <p:cNvPr id="6" name="Rectangle 5"/>
            <p:cNvSpPr/>
            <p:nvPr/>
          </p:nvSpPr>
          <p:spPr bwMode="auto">
            <a:xfrm>
              <a:off x="2477617" y="2895600"/>
              <a:ext cx="8480667" cy="150948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45720" bIns="45720" numCol="1" spcCol="0" rtlCol="0" fromWordArt="0" anchor="ctr" anchorCtr="0" forceAA="0" compatLnSpc="1">
              <a:prstTxWarp prst="textNoShape">
                <a:avLst/>
              </a:prstTxWarp>
              <a:noAutofit/>
            </a:bodyPr>
            <a:lstStyle/>
            <a:p>
              <a:pPr defTabSz="685637" fontAlgn="base">
                <a:spcBef>
                  <a:spcPct val="0"/>
                </a:spcBef>
                <a:spcAft>
                  <a:spcPct val="0"/>
                </a:spcAft>
              </a:pPr>
              <a:r>
                <a:rPr lang="en-US" sz="27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Inbox Replication</a:t>
              </a:r>
              <a:r>
                <a:rPr lang="en-US" sz="30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
              </a:r>
              <a:br>
                <a:rPr lang="en-US" sz="30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br>
              <a:r>
                <a:rPr lang="en-US" sz="15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Hyper-V Replica enables the replication of VMs from</a:t>
              </a:r>
              <a:br>
                <a:rPr lang="en-US" sz="15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br>
              <a:r>
                <a:rPr lang="en-US" sz="15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Primary to Secondary site for inbuilt Disaster Recovery</a:t>
              </a:r>
            </a:p>
          </p:txBody>
        </p:sp>
        <p:pic>
          <p:nvPicPr>
            <p:cNvPr id="13" name="Picture 13"/>
            <p:cNvPicPr>
              <a:picLocks noChangeAspect="1" noChangeArrowheads="1"/>
            </p:cNvPicPr>
            <p:nvPr/>
          </p:nvPicPr>
          <p:blipFill>
            <a:blip r:embed="rId2" cstate="email">
              <a:biLevel thresh="50000"/>
              <a:extLst>
                <a:ext uri="{28A0092B-C50C-407E-A947-70E740481C1C}">
                  <a14:useLocalDpi xmlns:a14="http://schemas.microsoft.com/office/drawing/2010/main"/>
                </a:ext>
              </a:extLst>
            </a:blip>
            <a:srcRect/>
            <a:stretch>
              <a:fillRect/>
            </a:stretch>
          </p:blipFill>
          <p:spPr bwMode="auto">
            <a:xfrm>
              <a:off x="9599612" y="3041785"/>
              <a:ext cx="990600" cy="12171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7" name="Group 6"/>
          <p:cNvGrpSpPr/>
          <p:nvPr/>
        </p:nvGrpSpPr>
        <p:grpSpPr>
          <a:xfrm>
            <a:off x="1858697" y="1017812"/>
            <a:ext cx="6362157" cy="1132115"/>
            <a:chOff x="2477616" y="1357081"/>
            <a:chExt cx="8480667" cy="1509486"/>
          </a:xfrm>
        </p:grpSpPr>
        <p:sp>
          <p:nvSpPr>
            <p:cNvPr id="18" name="Rectangle 17"/>
            <p:cNvSpPr/>
            <p:nvPr/>
          </p:nvSpPr>
          <p:spPr bwMode="auto">
            <a:xfrm>
              <a:off x="2477616" y="1357081"/>
              <a:ext cx="8480667" cy="150948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45720" bIns="45720" numCol="1" spcCol="0" rtlCol="0" fromWordArt="0" anchor="ctr" anchorCtr="0" forceAA="0" compatLnSpc="1">
              <a:prstTxWarp prst="textNoShape">
                <a:avLst/>
              </a:prstTxWarp>
              <a:noAutofit/>
            </a:bodyPr>
            <a:lstStyle/>
            <a:p>
              <a:pPr defTabSz="685637" fontAlgn="base">
                <a:spcBef>
                  <a:spcPct val="0"/>
                </a:spcBef>
                <a:spcAft>
                  <a:spcPct val="0"/>
                </a:spcAft>
              </a:pPr>
              <a:r>
                <a:rPr lang="en-US" sz="27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Incremental Backups</a:t>
              </a:r>
              <a:r>
                <a:rPr lang="en-US" sz="30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
              </a:r>
              <a:br>
                <a:rPr lang="en-US" sz="30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br>
              <a:r>
                <a:rPr lang="en-US" sz="15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Perform agentless backup operations more quickly &amp;</a:t>
              </a:r>
              <a:br>
                <a:rPr lang="en-US" sz="15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br>
              <a:r>
                <a:rPr lang="en-US" sz="15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easily whilst saving network bandwidth &amp; disk space</a:t>
              </a:r>
            </a:p>
          </p:txBody>
        </p:sp>
        <p:sp>
          <p:nvSpPr>
            <p:cNvPr id="15" name="Freeform 473"/>
            <p:cNvSpPr>
              <a:spLocks noEditPoints="1"/>
            </p:cNvSpPr>
            <p:nvPr/>
          </p:nvSpPr>
          <p:spPr bwMode="auto">
            <a:xfrm>
              <a:off x="9523412" y="1525243"/>
              <a:ext cx="1241424" cy="1173162"/>
            </a:xfrm>
            <a:custGeom>
              <a:avLst/>
              <a:gdLst>
                <a:gd name="T0" fmla="*/ 1002 w 1234"/>
                <a:gd name="T1" fmla="*/ 906 h 1168"/>
                <a:gd name="T2" fmla="*/ 577 w 1234"/>
                <a:gd name="T3" fmla="*/ 777 h 1168"/>
                <a:gd name="T4" fmla="*/ 108 w 1234"/>
                <a:gd name="T5" fmla="*/ 940 h 1168"/>
                <a:gd name="T6" fmla="*/ 572 w 1234"/>
                <a:gd name="T7" fmla="*/ 23 h 1168"/>
                <a:gd name="T8" fmla="*/ 823 w 1234"/>
                <a:gd name="T9" fmla="*/ 193 h 1168"/>
                <a:gd name="T10" fmla="*/ 104 w 1234"/>
                <a:gd name="T11" fmla="*/ 325 h 1168"/>
                <a:gd name="T12" fmla="*/ 1 w 1234"/>
                <a:gd name="T13" fmla="*/ 960 h 1168"/>
                <a:gd name="T14" fmla="*/ 515 w 1234"/>
                <a:gd name="T15" fmla="*/ 1168 h 1168"/>
                <a:gd name="T16" fmla="*/ 1035 w 1234"/>
                <a:gd name="T17" fmla="*/ 943 h 1168"/>
                <a:gd name="T18" fmla="*/ 513 w 1234"/>
                <a:gd name="T19" fmla="*/ 1136 h 1168"/>
                <a:gd name="T20" fmla="*/ 101 w 1234"/>
                <a:gd name="T21" fmla="*/ 948 h 1168"/>
                <a:gd name="T22" fmla="*/ 580 w 1234"/>
                <a:gd name="T23" fmla="*/ 1063 h 1168"/>
                <a:gd name="T24" fmla="*/ 513 w 1234"/>
                <a:gd name="T25" fmla="*/ 1136 h 1168"/>
                <a:gd name="T26" fmla="*/ 136 w 1234"/>
                <a:gd name="T27" fmla="*/ 404 h 1168"/>
                <a:gd name="T28" fmla="*/ 539 w 1234"/>
                <a:gd name="T29" fmla="*/ 94 h 1168"/>
                <a:gd name="T30" fmla="*/ 136 w 1234"/>
                <a:gd name="T31" fmla="*/ 784 h 1168"/>
                <a:gd name="T32" fmla="*/ 545 w 1234"/>
                <a:gd name="T33" fmla="*/ 858 h 1168"/>
                <a:gd name="T34" fmla="*/ 136 w 1234"/>
                <a:gd name="T35" fmla="*/ 784 h 1168"/>
                <a:gd name="T36" fmla="*/ 546 w 1234"/>
                <a:gd name="T37" fmla="*/ 995 h 1168"/>
                <a:gd name="T38" fmla="*/ 136 w 1234"/>
                <a:gd name="T39" fmla="*/ 871 h 1168"/>
                <a:gd name="T40" fmla="*/ 136 w 1234"/>
                <a:gd name="T41" fmla="*/ 489 h 1168"/>
                <a:gd name="T42" fmla="*/ 540 w 1234"/>
                <a:gd name="T43" fmla="*/ 231 h 1168"/>
                <a:gd name="T44" fmla="*/ 136 w 1234"/>
                <a:gd name="T45" fmla="*/ 489 h 1168"/>
                <a:gd name="T46" fmla="*/ 136 w 1234"/>
                <a:gd name="T47" fmla="*/ 748 h 1168"/>
                <a:gd name="T48" fmla="*/ 516 w 1234"/>
                <a:gd name="T49" fmla="*/ 646 h 1168"/>
                <a:gd name="T50" fmla="*/ 136 w 1234"/>
                <a:gd name="T51" fmla="*/ 609 h 1168"/>
                <a:gd name="T52" fmla="*/ 507 w 1234"/>
                <a:gd name="T53" fmla="*/ 593 h 1168"/>
                <a:gd name="T54" fmla="*/ 508 w 1234"/>
                <a:gd name="T55" fmla="*/ 514 h 1168"/>
                <a:gd name="T56" fmla="*/ 541 w 1234"/>
                <a:gd name="T57" fmla="*/ 368 h 1168"/>
                <a:gd name="T58" fmla="*/ 136 w 1234"/>
                <a:gd name="T59" fmla="*/ 575 h 1168"/>
                <a:gd name="T60" fmla="*/ 541 w 1234"/>
                <a:gd name="T61" fmla="*/ 399 h 1168"/>
                <a:gd name="T62" fmla="*/ 996 w 1234"/>
                <a:gd name="T63" fmla="*/ 378 h 1168"/>
                <a:gd name="T64" fmla="*/ 793 w 1234"/>
                <a:gd name="T65" fmla="*/ 443 h 1168"/>
                <a:gd name="T66" fmla="*/ 683 w 1234"/>
                <a:gd name="T67" fmla="*/ 494 h 1168"/>
                <a:gd name="T68" fmla="*/ 690 w 1234"/>
                <a:gd name="T69" fmla="*/ 538 h 1168"/>
                <a:gd name="T70" fmla="*/ 858 w 1234"/>
                <a:gd name="T71" fmla="*/ 720 h 1168"/>
                <a:gd name="T72" fmla="*/ 913 w 1234"/>
                <a:gd name="T73" fmla="*/ 716 h 1168"/>
                <a:gd name="T74" fmla="*/ 1029 w 1234"/>
                <a:gd name="T75" fmla="*/ 562 h 1168"/>
                <a:gd name="T76" fmla="*/ 1178 w 1234"/>
                <a:gd name="T77" fmla="*/ 419 h 1168"/>
                <a:gd name="T78" fmla="*/ 1206 w 1234"/>
                <a:gd name="T79" fmla="*/ 397 h 1168"/>
                <a:gd name="T80" fmla="*/ 1217 w 1234"/>
                <a:gd name="T81" fmla="*/ 347 h 1168"/>
                <a:gd name="T82" fmla="*/ 1117 w 1234"/>
                <a:gd name="T83" fmla="*/ 281 h 1168"/>
                <a:gd name="T84" fmla="*/ 1087 w 1234"/>
                <a:gd name="T85" fmla="*/ 301 h 1168"/>
                <a:gd name="T86" fmla="*/ 864 w 1234"/>
                <a:gd name="T87" fmla="*/ 225 h 1168"/>
                <a:gd name="T88" fmla="*/ 542 w 1234"/>
                <a:gd name="T89" fmla="*/ 521 h 1168"/>
                <a:gd name="T90" fmla="*/ 541 w 1234"/>
                <a:gd name="T91" fmla="*/ 587 h 1168"/>
                <a:gd name="T92" fmla="*/ 875 w 1234"/>
                <a:gd name="T93" fmla="*/ 893 h 1168"/>
                <a:gd name="T94" fmla="*/ 1209 w 1234"/>
                <a:gd name="T95" fmla="*/ 559 h 1168"/>
                <a:gd name="T96" fmla="*/ 1157 w 1234"/>
                <a:gd name="T97" fmla="*/ 483 h 1168"/>
                <a:gd name="T98" fmla="*/ 1001 w 1234"/>
                <a:gd name="T99" fmla="*/ 823 h 1168"/>
                <a:gd name="T100" fmla="*/ 582 w 1234"/>
                <a:gd name="T101" fmla="*/ 559 h 1168"/>
                <a:gd name="T102" fmla="*/ 924 w 1234"/>
                <a:gd name="T103" fmla="*/ 271 h 1168"/>
                <a:gd name="T104" fmla="*/ 998 w 1234"/>
                <a:gd name="T105" fmla="*/ 376 h 1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4" h="1168">
                  <a:moveTo>
                    <a:pt x="1002" y="936"/>
                  </a:moveTo>
                  <a:cubicBezTo>
                    <a:pt x="1002" y="933"/>
                    <a:pt x="1002" y="922"/>
                    <a:pt x="1002" y="906"/>
                  </a:cubicBezTo>
                  <a:cubicBezTo>
                    <a:pt x="962" y="920"/>
                    <a:pt x="919" y="928"/>
                    <a:pt x="875" y="928"/>
                  </a:cubicBezTo>
                  <a:cubicBezTo>
                    <a:pt x="752" y="928"/>
                    <a:pt x="644" y="869"/>
                    <a:pt x="577" y="777"/>
                  </a:cubicBezTo>
                  <a:cubicBezTo>
                    <a:pt x="579" y="1046"/>
                    <a:pt x="579" y="1046"/>
                    <a:pt x="579" y="1046"/>
                  </a:cubicBezTo>
                  <a:cubicBezTo>
                    <a:pt x="541" y="1043"/>
                    <a:pt x="148" y="951"/>
                    <a:pt x="108" y="940"/>
                  </a:cubicBezTo>
                  <a:cubicBezTo>
                    <a:pt x="109" y="912"/>
                    <a:pt x="116" y="337"/>
                    <a:pt x="116" y="337"/>
                  </a:cubicBezTo>
                  <a:cubicBezTo>
                    <a:pt x="572" y="23"/>
                    <a:pt x="572" y="23"/>
                    <a:pt x="572" y="23"/>
                  </a:cubicBezTo>
                  <a:cubicBezTo>
                    <a:pt x="574" y="344"/>
                    <a:pt x="574" y="344"/>
                    <a:pt x="574" y="344"/>
                  </a:cubicBezTo>
                  <a:cubicBezTo>
                    <a:pt x="632" y="264"/>
                    <a:pt x="721" y="208"/>
                    <a:pt x="823" y="193"/>
                  </a:cubicBezTo>
                  <a:cubicBezTo>
                    <a:pt x="571" y="0"/>
                    <a:pt x="571" y="0"/>
                    <a:pt x="571" y="0"/>
                  </a:cubicBezTo>
                  <a:cubicBezTo>
                    <a:pt x="104" y="325"/>
                    <a:pt x="104" y="325"/>
                    <a:pt x="104" y="325"/>
                  </a:cubicBezTo>
                  <a:cubicBezTo>
                    <a:pt x="104" y="325"/>
                    <a:pt x="96" y="934"/>
                    <a:pt x="96" y="942"/>
                  </a:cubicBezTo>
                  <a:cubicBezTo>
                    <a:pt x="64" y="948"/>
                    <a:pt x="33" y="954"/>
                    <a:pt x="1" y="960"/>
                  </a:cubicBezTo>
                  <a:cubicBezTo>
                    <a:pt x="1" y="967"/>
                    <a:pt x="1" y="973"/>
                    <a:pt x="0" y="980"/>
                  </a:cubicBezTo>
                  <a:cubicBezTo>
                    <a:pt x="171" y="1044"/>
                    <a:pt x="337" y="1105"/>
                    <a:pt x="515" y="1168"/>
                  </a:cubicBezTo>
                  <a:cubicBezTo>
                    <a:pt x="695" y="1109"/>
                    <a:pt x="827" y="1062"/>
                    <a:pt x="1041" y="990"/>
                  </a:cubicBezTo>
                  <a:cubicBezTo>
                    <a:pt x="1039" y="974"/>
                    <a:pt x="1037" y="959"/>
                    <a:pt x="1035" y="943"/>
                  </a:cubicBezTo>
                  <a:cubicBezTo>
                    <a:pt x="1024" y="940"/>
                    <a:pt x="1013" y="938"/>
                    <a:pt x="1002" y="936"/>
                  </a:cubicBezTo>
                  <a:close/>
                  <a:moveTo>
                    <a:pt x="513" y="1136"/>
                  </a:moveTo>
                  <a:cubicBezTo>
                    <a:pt x="438" y="1111"/>
                    <a:pt x="56" y="980"/>
                    <a:pt x="16" y="966"/>
                  </a:cubicBezTo>
                  <a:cubicBezTo>
                    <a:pt x="45" y="960"/>
                    <a:pt x="73" y="954"/>
                    <a:pt x="101" y="948"/>
                  </a:cubicBezTo>
                  <a:cubicBezTo>
                    <a:pt x="105" y="949"/>
                    <a:pt x="109" y="950"/>
                    <a:pt x="112" y="951"/>
                  </a:cubicBezTo>
                  <a:cubicBezTo>
                    <a:pt x="159" y="964"/>
                    <a:pt x="580" y="1063"/>
                    <a:pt x="580" y="1063"/>
                  </a:cubicBezTo>
                  <a:cubicBezTo>
                    <a:pt x="796" y="1053"/>
                    <a:pt x="796" y="1053"/>
                    <a:pt x="796" y="1053"/>
                  </a:cubicBezTo>
                  <a:cubicBezTo>
                    <a:pt x="696" y="1082"/>
                    <a:pt x="570" y="1119"/>
                    <a:pt x="513" y="1136"/>
                  </a:cubicBezTo>
                  <a:close/>
                  <a:moveTo>
                    <a:pt x="136" y="346"/>
                  </a:moveTo>
                  <a:cubicBezTo>
                    <a:pt x="136" y="404"/>
                    <a:pt x="136" y="404"/>
                    <a:pt x="136" y="404"/>
                  </a:cubicBezTo>
                  <a:cubicBezTo>
                    <a:pt x="540" y="183"/>
                    <a:pt x="540" y="183"/>
                    <a:pt x="540" y="183"/>
                  </a:cubicBezTo>
                  <a:cubicBezTo>
                    <a:pt x="539" y="94"/>
                    <a:pt x="539" y="94"/>
                    <a:pt x="539" y="94"/>
                  </a:cubicBezTo>
                  <a:lnTo>
                    <a:pt x="136" y="346"/>
                  </a:lnTo>
                  <a:close/>
                  <a:moveTo>
                    <a:pt x="136" y="784"/>
                  </a:moveTo>
                  <a:cubicBezTo>
                    <a:pt x="136" y="835"/>
                    <a:pt x="136" y="835"/>
                    <a:pt x="136" y="835"/>
                  </a:cubicBezTo>
                  <a:cubicBezTo>
                    <a:pt x="545" y="858"/>
                    <a:pt x="545" y="858"/>
                    <a:pt x="545" y="858"/>
                  </a:cubicBezTo>
                  <a:cubicBezTo>
                    <a:pt x="544" y="779"/>
                    <a:pt x="544" y="779"/>
                    <a:pt x="544" y="779"/>
                  </a:cubicBezTo>
                  <a:lnTo>
                    <a:pt x="136" y="784"/>
                  </a:lnTo>
                  <a:close/>
                  <a:moveTo>
                    <a:pt x="136" y="922"/>
                  </a:moveTo>
                  <a:cubicBezTo>
                    <a:pt x="546" y="995"/>
                    <a:pt x="546" y="995"/>
                    <a:pt x="546" y="995"/>
                  </a:cubicBezTo>
                  <a:cubicBezTo>
                    <a:pt x="545" y="916"/>
                    <a:pt x="545" y="916"/>
                    <a:pt x="545" y="916"/>
                  </a:cubicBezTo>
                  <a:cubicBezTo>
                    <a:pt x="136" y="871"/>
                    <a:pt x="136" y="871"/>
                    <a:pt x="136" y="871"/>
                  </a:cubicBezTo>
                  <a:lnTo>
                    <a:pt x="136" y="922"/>
                  </a:lnTo>
                  <a:close/>
                  <a:moveTo>
                    <a:pt x="136" y="489"/>
                  </a:moveTo>
                  <a:cubicBezTo>
                    <a:pt x="541" y="317"/>
                    <a:pt x="541" y="317"/>
                    <a:pt x="541" y="317"/>
                  </a:cubicBezTo>
                  <a:cubicBezTo>
                    <a:pt x="540" y="231"/>
                    <a:pt x="540" y="231"/>
                    <a:pt x="540" y="231"/>
                  </a:cubicBezTo>
                  <a:cubicBezTo>
                    <a:pt x="136" y="434"/>
                    <a:pt x="136" y="434"/>
                    <a:pt x="136" y="434"/>
                  </a:cubicBezTo>
                  <a:lnTo>
                    <a:pt x="136" y="489"/>
                  </a:lnTo>
                  <a:close/>
                  <a:moveTo>
                    <a:pt x="136" y="697"/>
                  </a:moveTo>
                  <a:cubicBezTo>
                    <a:pt x="136" y="748"/>
                    <a:pt x="136" y="748"/>
                    <a:pt x="136" y="748"/>
                  </a:cubicBezTo>
                  <a:cubicBezTo>
                    <a:pt x="543" y="722"/>
                    <a:pt x="543" y="722"/>
                    <a:pt x="543" y="722"/>
                  </a:cubicBezTo>
                  <a:cubicBezTo>
                    <a:pt x="531" y="698"/>
                    <a:pt x="522" y="672"/>
                    <a:pt x="516" y="646"/>
                  </a:cubicBezTo>
                  <a:lnTo>
                    <a:pt x="136" y="697"/>
                  </a:lnTo>
                  <a:close/>
                  <a:moveTo>
                    <a:pt x="136" y="609"/>
                  </a:moveTo>
                  <a:cubicBezTo>
                    <a:pt x="136" y="662"/>
                    <a:pt x="136" y="662"/>
                    <a:pt x="136" y="662"/>
                  </a:cubicBezTo>
                  <a:cubicBezTo>
                    <a:pt x="507" y="593"/>
                    <a:pt x="507" y="593"/>
                    <a:pt x="507" y="593"/>
                  </a:cubicBezTo>
                  <a:cubicBezTo>
                    <a:pt x="506" y="582"/>
                    <a:pt x="505" y="570"/>
                    <a:pt x="505" y="559"/>
                  </a:cubicBezTo>
                  <a:cubicBezTo>
                    <a:pt x="505" y="544"/>
                    <a:pt x="506" y="529"/>
                    <a:pt x="508" y="514"/>
                  </a:cubicBezTo>
                  <a:lnTo>
                    <a:pt x="136" y="609"/>
                  </a:lnTo>
                  <a:close/>
                  <a:moveTo>
                    <a:pt x="541" y="368"/>
                  </a:moveTo>
                  <a:cubicBezTo>
                    <a:pt x="136" y="521"/>
                    <a:pt x="136" y="521"/>
                    <a:pt x="136" y="521"/>
                  </a:cubicBezTo>
                  <a:cubicBezTo>
                    <a:pt x="136" y="575"/>
                    <a:pt x="136" y="575"/>
                    <a:pt x="136" y="575"/>
                  </a:cubicBezTo>
                  <a:cubicBezTo>
                    <a:pt x="519" y="458"/>
                    <a:pt x="519" y="458"/>
                    <a:pt x="519" y="458"/>
                  </a:cubicBezTo>
                  <a:cubicBezTo>
                    <a:pt x="525" y="438"/>
                    <a:pt x="532" y="418"/>
                    <a:pt x="541" y="399"/>
                  </a:cubicBezTo>
                  <a:lnTo>
                    <a:pt x="541" y="368"/>
                  </a:lnTo>
                  <a:close/>
                  <a:moveTo>
                    <a:pt x="996" y="378"/>
                  </a:moveTo>
                  <a:cubicBezTo>
                    <a:pt x="939" y="435"/>
                    <a:pt x="875" y="525"/>
                    <a:pt x="875" y="525"/>
                  </a:cubicBezTo>
                  <a:cubicBezTo>
                    <a:pt x="793" y="443"/>
                    <a:pt x="793" y="443"/>
                    <a:pt x="793" y="443"/>
                  </a:cubicBezTo>
                  <a:cubicBezTo>
                    <a:pt x="759" y="407"/>
                    <a:pt x="730" y="436"/>
                    <a:pt x="716" y="452"/>
                  </a:cubicBezTo>
                  <a:cubicBezTo>
                    <a:pt x="702" y="468"/>
                    <a:pt x="698" y="470"/>
                    <a:pt x="683" y="494"/>
                  </a:cubicBezTo>
                  <a:cubicBezTo>
                    <a:pt x="672" y="511"/>
                    <a:pt x="681" y="527"/>
                    <a:pt x="687" y="534"/>
                  </a:cubicBezTo>
                  <a:cubicBezTo>
                    <a:pt x="689" y="537"/>
                    <a:pt x="690" y="538"/>
                    <a:pt x="690" y="538"/>
                  </a:cubicBezTo>
                  <a:cubicBezTo>
                    <a:pt x="690" y="538"/>
                    <a:pt x="724" y="574"/>
                    <a:pt x="768" y="619"/>
                  </a:cubicBezTo>
                  <a:cubicBezTo>
                    <a:pt x="812" y="665"/>
                    <a:pt x="858" y="720"/>
                    <a:pt x="858" y="720"/>
                  </a:cubicBezTo>
                  <a:cubicBezTo>
                    <a:pt x="858" y="720"/>
                    <a:pt x="865" y="731"/>
                    <a:pt x="884" y="731"/>
                  </a:cubicBezTo>
                  <a:cubicBezTo>
                    <a:pt x="902" y="731"/>
                    <a:pt x="913" y="716"/>
                    <a:pt x="913" y="716"/>
                  </a:cubicBezTo>
                  <a:cubicBezTo>
                    <a:pt x="913" y="716"/>
                    <a:pt x="955" y="656"/>
                    <a:pt x="998" y="601"/>
                  </a:cubicBezTo>
                  <a:cubicBezTo>
                    <a:pt x="1009" y="587"/>
                    <a:pt x="1019" y="574"/>
                    <a:pt x="1029" y="562"/>
                  </a:cubicBezTo>
                  <a:cubicBezTo>
                    <a:pt x="1060" y="526"/>
                    <a:pt x="1106" y="481"/>
                    <a:pt x="1145" y="447"/>
                  </a:cubicBezTo>
                  <a:cubicBezTo>
                    <a:pt x="1157" y="437"/>
                    <a:pt x="1168" y="427"/>
                    <a:pt x="1178" y="419"/>
                  </a:cubicBezTo>
                  <a:cubicBezTo>
                    <a:pt x="1190" y="409"/>
                    <a:pt x="1199" y="402"/>
                    <a:pt x="1206" y="397"/>
                  </a:cubicBezTo>
                  <a:cubicBezTo>
                    <a:pt x="1206" y="397"/>
                    <a:pt x="1206" y="397"/>
                    <a:pt x="1206" y="397"/>
                  </a:cubicBezTo>
                  <a:cubicBezTo>
                    <a:pt x="1210" y="394"/>
                    <a:pt x="1212" y="392"/>
                    <a:pt x="1215" y="390"/>
                  </a:cubicBezTo>
                  <a:cubicBezTo>
                    <a:pt x="1234" y="370"/>
                    <a:pt x="1217" y="347"/>
                    <a:pt x="1217" y="347"/>
                  </a:cubicBezTo>
                  <a:cubicBezTo>
                    <a:pt x="1217" y="347"/>
                    <a:pt x="1190" y="309"/>
                    <a:pt x="1169" y="282"/>
                  </a:cubicBezTo>
                  <a:cubicBezTo>
                    <a:pt x="1149" y="257"/>
                    <a:pt x="1121" y="278"/>
                    <a:pt x="1117" y="281"/>
                  </a:cubicBezTo>
                  <a:cubicBezTo>
                    <a:pt x="1117" y="281"/>
                    <a:pt x="1117" y="281"/>
                    <a:pt x="1117" y="281"/>
                  </a:cubicBezTo>
                  <a:cubicBezTo>
                    <a:pt x="1117" y="281"/>
                    <a:pt x="1105" y="288"/>
                    <a:pt x="1087" y="301"/>
                  </a:cubicBezTo>
                  <a:cubicBezTo>
                    <a:pt x="1030" y="253"/>
                    <a:pt x="955" y="225"/>
                    <a:pt x="875" y="225"/>
                  </a:cubicBezTo>
                  <a:cubicBezTo>
                    <a:pt x="871" y="225"/>
                    <a:pt x="868" y="225"/>
                    <a:pt x="864" y="225"/>
                  </a:cubicBezTo>
                  <a:cubicBezTo>
                    <a:pt x="737" y="229"/>
                    <a:pt x="628" y="304"/>
                    <a:pt x="574" y="411"/>
                  </a:cubicBezTo>
                  <a:cubicBezTo>
                    <a:pt x="558" y="445"/>
                    <a:pt x="547" y="482"/>
                    <a:pt x="542" y="521"/>
                  </a:cubicBezTo>
                  <a:cubicBezTo>
                    <a:pt x="541" y="533"/>
                    <a:pt x="540" y="546"/>
                    <a:pt x="540" y="559"/>
                  </a:cubicBezTo>
                  <a:cubicBezTo>
                    <a:pt x="540" y="568"/>
                    <a:pt x="541" y="577"/>
                    <a:pt x="541" y="587"/>
                  </a:cubicBezTo>
                  <a:cubicBezTo>
                    <a:pt x="545" y="631"/>
                    <a:pt x="557" y="673"/>
                    <a:pt x="576" y="710"/>
                  </a:cubicBezTo>
                  <a:cubicBezTo>
                    <a:pt x="632" y="819"/>
                    <a:pt x="744" y="893"/>
                    <a:pt x="875" y="893"/>
                  </a:cubicBezTo>
                  <a:cubicBezTo>
                    <a:pt x="919" y="893"/>
                    <a:pt x="962" y="884"/>
                    <a:pt x="1001" y="868"/>
                  </a:cubicBezTo>
                  <a:cubicBezTo>
                    <a:pt x="1123" y="818"/>
                    <a:pt x="1209" y="699"/>
                    <a:pt x="1209" y="559"/>
                  </a:cubicBezTo>
                  <a:cubicBezTo>
                    <a:pt x="1209" y="522"/>
                    <a:pt x="1203" y="487"/>
                    <a:pt x="1192" y="454"/>
                  </a:cubicBezTo>
                  <a:cubicBezTo>
                    <a:pt x="1182" y="462"/>
                    <a:pt x="1170" y="471"/>
                    <a:pt x="1157" y="483"/>
                  </a:cubicBezTo>
                  <a:cubicBezTo>
                    <a:pt x="1164" y="507"/>
                    <a:pt x="1167" y="533"/>
                    <a:pt x="1167" y="559"/>
                  </a:cubicBezTo>
                  <a:cubicBezTo>
                    <a:pt x="1167" y="675"/>
                    <a:pt x="1099" y="776"/>
                    <a:pt x="1001" y="823"/>
                  </a:cubicBezTo>
                  <a:cubicBezTo>
                    <a:pt x="962" y="841"/>
                    <a:pt x="920" y="851"/>
                    <a:pt x="875" y="851"/>
                  </a:cubicBezTo>
                  <a:cubicBezTo>
                    <a:pt x="713" y="851"/>
                    <a:pt x="582" y="720"/>
                    <a:pt x="582" y="559"/>
                  </a:cubicBezTo>
                  <a:cubicBezTo>
                    <a:pt x="582" y="397"/>
                    <a:pt x="713" y="266"/>
                    <a:pt x="875" y="266"/>
                  </a:cubicBezTo>
                  <a:cubicBezTo>
                    <a:pt x="891" y="266"/>
                    <a:pt x="908" y="268"/>
                    <a:pt x="924" y="271"/>
                  </a:cubicBezTo>
                  <a:cubicBezTo>
                    <a:pt x="972" y="279"/>
                    <a:pt x="1016" y="299"/>
                    <a:pt x="1053" y="327"/>
                  </a:cubicBezTo>
                  <a:cubicBezTo>
                    <a:pt x="1036" y="341"/>
                    <a:pt x="1017" y="358"/>
                    <a:pt x="998" y="376"/>
                  </a:cubicBezTo>
                  <a:cubicBezTo>
                    <a:pt x="997" y="377"/>
                    <a:pt x="997" y="377"/>
                    <a:pt x="996" y="37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8" name="Group 7"/>
          <p:cNvGrpSpPr/>
          <p:nvPr/>
        </p:nvGrpSpPr>
        <p:grpSpPr>
          <a:xfrm>
            <a:off x="1858698" y="3325586"/>
            <a:ext cx="6362157" cy="1132115"/>
            <a:chOff x="2477617" y="4434114"/>
            <a:chExt cx="8480667" cy="1509486"/>
          </a:xfrm>
        </p:grpSpPr>
        <p:sp>
          <p:nvSpPr>
            <p:cNvPr id="12" name="Rectangle 11"/>
            <p:cNvSpPr/>
            <p:nvPr/>
          </p:nvSpPr>
          <p:spPr bwMode="auto">
            <a:xfrm>
              <a:off x="2477617" y="4434114"/>
              <a:ext cx="8480667" cy="150948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45720" rIns="45720" bIns="45720" numCol="1" spcCol="0" rtlCol="0" fromWordArt="0" anchor="ctr" anchorCtr="0" forceAA="0" compatLnSpc="1">
              <a:prstTxWarp prst="textNoShape">
                <a:avLst/>
              </a:prstTxWarp>
              <a:noAutofit/>
            </a:bodyPr>
            <a:lstStyle/>
            <a:p>
              <a:pPr defTabSz="685637" fontAlgn="base">
                <a:spcBef>
                  <a:spcPct val="0"/>
                </a:spcBef>
                <a:spcAft>
                  <a:spcPct val="0"/>
                </a:spcAft>
              </a:pPr>
              <a:r>
                <a:rPr lang="en-US" sz="27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Integrated NIC Teaming</a:t>
              </a:r>
              <a:r>
                <a:rPr lang="en-US" sz="30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
              </a:r>
              <a:br>
                <a:rPr lang="en-US" sz="30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br>
              <a:r>
                <a:rPr lang="en-US" sz="15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Aggregate network adaptors to increase throughput &amp;</a:t>
              </a:r>
              <a:br>
                <a:rPr lang="en-US" sz="15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br>
              <a:r>
                <a:rPr lang="en-US" sz="15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provide redundancy in case of link failure</a:t>
              </a:r>
            </a:p>
          </p:txBody>
        </p:sp>
        <p:pic>
          <p:nvPicPr>
            <p:cNvPr id="20" name="Picture 7"/>
            <p:cNvPicPr>
              <a:picLocks noChangeAspect="1" noChangeArrowheads="1"/>
            </p:cNvPicPr>
            <p:nvPr/>
          </p:nvPicPr>
          <p:blipFill>
            <a:blip r:embed="rId3" cstate="email">
              <a:biLevel thresh="50000"/>
              <a:extLst>
                <a:ext uri="{28A0092B-C50C-407E-A947-70E740481C1C}">
                  <a14:useLocalDpi xmlns:a14="http://schemas.microsoft.com/office/drawing/2010/main"/>
                </a:ext>
              </a:extLst>
            </a:blip>
            <a:srcRect/>
            <a:stretch>
              <a:fillRect/>
            </a:stretch>
          </p:blipFill>
          <p:spPr bwMode="auto">
            <a:xfrm>
              <a:off x="9589293" y="4683238"/>
              <a:ext cx="1011237" cy="1011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4"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6"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4"/>
              </a:rPr>
              <a:t>www.rapidbbs.cn</a:t>
            </a:r>
            <a:endParaRPr lang="zh-CN" altLang="en-US" sz="1200" b="0">
              <a:latin typeface="Arial" charset="0"/>
              <a:ea typeface="ＭＳ Ｐゴシック" pitchFamily="34" charset="-128"/>
            </a:endParaRPr>
          </a:p>
        </p:txBody>
      </p:sp>
      <p:pic>
        <p:nvPicPr>
          <p:cNvPr id="17" name="Picture 2">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11203256"/>
      </p:ext>
    </p:extLst>
  </p:cSld>
  <p:clrMapOvr>
    <a:masterClrMapping/>
  </p:clrMapOvr>
  <p:transition spd="slow">
    <p:push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nodeType="click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wipe(left)">
                                      <p:cBhvr>
                                        <p:cTn id="14" dur="500"/>
                                        <p:tgtEl>
                                          <p:spTgt spid="7"/>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8" fill="hold" nodeType="click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wipe(left)">
                                      <p:cBhvr>
                                        <p:cTn id="19" dur="500"/>
                                        <p:tgtEl>
                                          <p:spTgt spid="5"/>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8" fill="hold" nodeType="clickEffect">
                                  <p:stCondLst>
                                    <p:cond delay="0"/>
                                  </p:stCondLst>
                                  <p:childTnLst>
                                    <p:set>
                                      <p:cBhvr>
                                        <p:cTn id="23" dur="1" fill="hold">
                                          <p:stCondLst>
                                            <p:cond delay="0"/>
                                          </p:stCondLst>
                                        </p:cTn>
                                        <p:tgtEl>
                                          <p:spTgt spid="8"/>
                                        </p:tgtEl>
                                        <p:attrNameLst>
                                          <p:attrName>style.visibility</p:attrName>
                                        </p:attrNameLst>
                                      </p:cBhvr>
                                      <p:to>
                                        <p:strVal val="visible"/>
                                      </p:to>
                                    </p:set>
                                    <p:animEffect transition="in" filter="wipe(left)">
                                      <p:cBhvr>
                                        <p:cTn id="2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yper-V | Failover Clustering</a:t>
            </a:r>
            <a:endParaRPr lang="en-US" dirty="0"/>
          </a:p>
        </p:txBody>
      </p:sp>
      <p:sp>
        <p:nvSpPr>
          <p:cNvPr id="4" name="Rectangle 3"/>
          <p:cNvSpPr/>
          <p:nvPr/>
        </p:nvSpPr>
        <p:spPr bwMode="auto">
          <a:xfrm rot="16200000">
            <a:off x="-579056" y="2281671"/>
            <a:ext cx="3646716" cy="100469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5758" tIns="34294" rIns="34294" bIns="34294" numCol="1" spcCol="0" rtlCol="0" fromWordArt="0" anchor="ctr" anchorCtr="0" forceAA="0" compatLnSpc="1">
            <a:prstTxWarp prst="textNoShape">
              <a:avLst/>
            </a:prstTxWarp>
            <a:noAutofit/>
          </a:bodyPr>
          <a:lstStyle/>
          <a:p>
            <a:pPr defTabSz="685637" fontAlgn="base">
              <a:spcBef>
                <a:spcPct val="0"/>
              </a:spcBef>
              <a:spcAft>
                <a:spcPct val="0"/>
              </a:spcAft>
            </a:pPr>
            <a:r>
              <a:rPr lang="en-US" sz="3600" spc="-38" dirty="0">
                <a:gradFill>
                  <a:gsLst>
                    <a:gs pos="0">
                      <a:srgbClr val="FFFFFF"/>
                    </a:gs>
                    <a:gs pos="100000">
                      <a:srgbClr val="FFFFFF"/>
                    </a:gs>
                  </a:gsLst>
                  <a:lin ang="5400000" scaled="0"/>
                </a:gradFill>
                <a:latin typeface="Segoe UI Light" pitchFamily="34" charset="0"/>
                <a:ea typeface="Segoe UI" pitchFamily="34" charset="0"/>
                <a:cs typeface="Segoe UI Light" pitchFamily="34" charset="0"/>
              </a:rPr>
              <a:t>Clustering</a:t>
            </a:r>
            <a:endParaRPr lang="en-US" sz="2000" spc="-38" dirty="0">
              <a:gradFill>
                <a:gsLst>
                  <a:gs pos="0">
                    <a:srgbClr val="FFFFFF"/>
                  </a:gs>
                  <a:gs pos="100000">
                    <a:srgbClr val="FFFFFF"/>
                  </a:gs>
                </a:gsLst>
                <a:lin ang="5400000" scaled="0"/>
              </a:gradFill>
              <a:latin typeface="Segoe UI Light" pitchFamily="34" charset="0"/>
              <a:ea typeface="Segoe UI" pitchFamily="34" charset="0"/>
              <a:cs typeface="Segoe UI Light" pitchFamily="34" charset="0"/>
            </a:endParaRPr>
          </a:p>
        </p:txBody>
      </p:sp>
      <p:grpSp>
        <p:nvGrpSpPr>
          <p:cNvPr id="3" name="Group 2"/>
          <p:cNvGrpSpPr/>
          <p:nvPr/>
        </p:nvGrpSpPr>
        <p:grpSpPr>
          <a:xfrm>
            <a:off x="1791073" y="960662"/>
            <a:ext cx="6362157" cy="891540"/>
            <a:chOff x="2387474" y="1280883"/>
            <a:chExt cx="8480667" cy="1188720"/>
          </a:xfrm>
        </p:grpSpPr>
        <p:sp>
          <p:nvSpPr>
            <p:cNvPr id="15" name="Rectangle 14"/>
            <p:cNvSpPr/>
            <p:nvPr/>
          </p:nvSpPr>
          <p:spPr bwMode="auto">
            <a:xfrm>
              <a:off x="2387474" y="1280883"/>
              <a:ext cx="8480667" cy="11887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45720" rIns="45720" bIns="45720" numCol="1" spcCol="0" rtlCol="0" fromWordArt="0" anchor="ctr" anchorCtr="0" forceAA="0" compatLnSpc="1">
              <a:prstTxWarp prst="textNoShape">
                <a:avLst/>
              </a:prstTxWarp>
              <a:noAutofit/>
            </a:bodyPr>
            <a:lstStyle/>
            <a:p>
              <a:pPr defTabSz="685637" fontAlgn="base">
                <a:spcBef>
                  <a:spcPct val="0"/>
                </a:spcBef>
                <a:spcAft>
                  <a:spcPct val="0"/>
                </a:spcAft>
              </a:pPr>
              <a:r>
                <a:rPr lang="en-US" sz="27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Unmatched Scale</a:t>
              </a:r>
              <a:r>
                <a:rPr lang="en-US" sz="30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
              </a:r>
              <a:br>
                <a:rPr lang="en-US" sz="30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br>
              <a:r>
                <a:rPr lang="en-US" sz="15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Failover Clusters support 64 Nodes and 4000 VMs</a:t>
              </a:r>
            </a:p>
          </p:txBody>
        </p:sp>
        <p:pic>
          <p:nvPicPr>
            <p:cNvPr id="12" name="Picture 2"/>
            <p:cNvPicPr>
              <a:picLocks noChangeAspect="1" noChangeArrowheads="1"/>
            </p:cNvPicPr>
            <p:nvPr/>
          </p:nvPicPr>
          <p:blipFill>
            <a:blip r:embed="rId2" cstate="email">
              <a:biLevel thresh="50000"/>
              <a:extLst>
                <a:ext uri="{28A0092B-C50C-407E-A947-70E740481C1C}">
                  <a14:useLocalDpi xmlns:a14="http://schemas.microsoft.com/office/drawing/2010/main"/>
                </a:ext>
              </a:extLst>
            </a:blip>
            <a:srcRect/>
            <a:stretch>
              <a:fillRect/>
            </a:stretch>
          </p:blipFill>
          <p:spPr bwMode="auto">
            <a:xfrm>
              <a:off x="9650801" y="1466740"/>
              <a:ext cx="939411" cy="819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5" name="Group 4"/>
          <p:cNvGrpSpPr/>
          <p:nvPr/>
        </p:nvGrpSpPr>
        <p:grpSpPr>
          <a:xfrm>
            <a:off x="1791073" y="1878329"/>
            <a:ext cx="6362157" cy="891540"/>
            <a:chOff x="2387474" y="2504439"/>
            <a:chExt cx="8480667" cy="1188720"/>
          </a:xfrm>
        </p:grpSpPr>
        <p:grpSp>
          <p:nvGrpSpPr>
            <p:cNvPr id="28" name="Group 27"/>
            <p:cNvGrpSpPr/>
            <p:nvPr/>
          </p:nvGrpSpPr>
          <p:grpSpPr>
            <a:xfrm>
              <a:off x="2387474" y="2504439"/>
              <a:ext cx="8480667" cy="1188720"/>
              <a:chOff x="2387474" y="2504439"/>
              <a:chExt cx="8480667" cy="1188720"/>
            </a:xfrm>
          </p:grpSpPr>
          <p:grpSp>
            <p:nvGrpSpPr>
              <p:cNvPr id="8" name="Group 7"/>
              <p:cNvGrpSpPr/>
              <p:nvPr/>
            </p:nvGrpSpPr>
            <p:grpSpPr>
              <a:xfrm>
                <a:off x="2387474" y="2504439"/>
                <a:ext cx="8480667" cy="1188720"/>
                <a:chOff x="2477618" y="4361546"/>
                <a:chExt cx="8480667" cy="1188720"/>
              </a:xfrm>
            </p:grpSpPr>
            <p:sp>
              <p:nvSpPr>
                <p:cNvPr id="9" name="Rectangle 8"/>
                <p:cNvSpPr/>
                <p:nvPr/>
              </p:nvSpPr>
              <p:spPr bwMode="auto">
                <a:xfrm>
                  <a:off x="2477618" y="4361546"/>
                  <a:ext cx="8480667" cy="11887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45720" bIns="45720" numCol="1" spcCol="0" rtlCol="0" fromWordArt="0" anchor="ctr" anchorCtr="0" forceAA="0" compatLnSpc="1">
                  <a:prstTxWarp prst="textNoShape">
                    <a:avLst/>
                  </a:prstTxWarp>
                  <a:noAutofit/>
                </a:bodyPr>
                <a:lstStyle/>
                <a:p>
                  <a:pPr defTabSz="685637" fontAlgn="base">
                    <a:spcBef>
                      <a:spcPct val="0"/>
                    </a:spcBef>
                    <a:spcAft>
                      <a:spcPct val="0"/>
                    </a:spcAft>
                  </a:pPr>
                  <a:r>
                    <a:rPr lang="en-US" sz="2700" spc="-38" dirty="0">
                      <a:gradFill>
                        <a:gsLst>
                          <a:gs pos="0">
                            <a:srgbClr val="FFFFFF"/>
                          </a:gs>
                          <a:gs pos="100000">
                            <a:srgbClr val="FFFFFF"/>
                          </a:gs>
                        </a:gsLst>
                        <a:lin ang="5400000" scaled="0"/>
                      </a:gradFill>
                      <a:latin typeface="Segoe UI Light" pitchFamily="34" charset="0"/>
                      <a:ea typeface="Segoe UI" pitchFamily="34" charset="0"/>
                      <a:cs typeface="Segoe UI Light" pitchFamily="34" charset="0"/>
                    </a:rPr>
                    <a:t>Flexible VM Clustering</a:t>
                  </a:r>
                  <a:r>
                    <a:rPr lang="en-US" sz="3000" spc="-38" dirty="0">
                      <a:gradFill>
                        <a:gsLst>
                          <a:gs pos="0">
                            <a:srgbClr val="FFFFFF"/>
                          </a:gs>
                          <a:gs pos="100000">
                            <a:srgbClr val="FFFFFF"/>
                          </a:gs>
                        </a:gsLst>
                        <a:lin ang="5400000" scaled="0"/>
                      </a:gradFill>
                      <a:latin typeface="Segoe UI Light" pitchFamily="34" charset="0"/>
                      <a:ea typeface="Segoe UI" pitchFamily="34" charset="0"/>
                      <a:cs typeface="Segoe UI Light" pitchFamily="34" charset="0"/>
                    </a:rPr>
                    <a:t/>
                  </a:r>
                  <a:br>
                    <a:rPr lang="en-US" sz="3000" spc="-38" dirty="0">
                      <a:gradFill>
                        <a:gsLst>
                          <a:gs pos="0">
                            <a:srgbClr val="FFFFFF"/>
                          </a:gs>
                          <a:gs pos="100000">
                            <a:srgbClr val="FFFFFF"/>
                          </a:gs>
                        </a:gsLst>
                        <a:lin ang="5400000" scaled="0"/>
                      </a:gradFill>
                      <a:latin typeface="Segoe UI Light" pitchFamily="34" charset="0"/>
                      <a:ea typeface="Segoe UI" pitchFamily="34" charset="0"/>
                      <a:cs typeface="Segoe UI Light" pitchFamily="34" charset="0"/>
                    </a:rPr>
                  </a:br>
                  <a:r>
                    <a:rPr lang="en-US" sz="1500" spc="-38" dirty="0">
                      <a:gradFill>
                        <a:gsLst>
                          <a:gs pos="0">
                            <a:srgbClr val="FFFFFF"/>
                          </a:gs>
                          <a:gs pos="100000">
                            <a:srgbClr val="FFFFFF"/>
                          </a:gs>
                        </a:gsLst>
                        <a:lin ang="5400000" scaled="0"/>
                      </a:gradFill>
                      <a:latin typeface="Segoe UI Light" pitchFamily="34" charset="0"/>
                      <a:ea typeface="Segoe UI" pitchFamily="34" charset="0"/>
                      <a:cs typeface="Segoe UI Light" pitchFamily="34" charset="0"/>
                    </a:rPr>
                    <a:t>iSCSI, Virtual Fiber Channel &amp; SMB 3.0 clustering support</a:t>
                  </a:r>
                </a:p>
                <a:p>
                  <a:pPr defTabSz="685637" fontAlgn="base">
                    <a:spcBef>
                      <a:spcPct val="0"/>
                    </a:spcBef>
                    <a:spcAft>
                      <a:spcPct val="0"/>
                    </a:spcAft>
                  </a:pPr>
                  <a:endParaRPr lang="en-US" sz="500"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1" name="Freeform 511"/>
                <p:cNvSpPr>
                  <a:spLocks/>
                </p:cNvSpPr>
                <p:nvPr/>
              </p:nvSpPr>
              <p:spPr bwMode="auto">
                <a:xfrm>
                  <a:off x="10019794" y="5410770"/>
                  <a:ext cx="1588" cy="1587"/>
                </a:xfrm>
                <a:custGeom>
                  <a:avLst/>
                  <a:gdLst>
                    <a:gd name="T0" fmla="*/ 1 w 2"/>
                    <a:gd name="T1" fmla="*/ 1 h 1"/>
                    <a:gd name="T2" fmla="*/ 2 w 2"/>
                    <a:gd name="T3" fmla="*/ 0 h 1"/>
                    <a:gd name="T4" fmla="*/ 0 w 2"/>
                    <a:gd name="T5" fmla="*/ 0 h 1"/>
                    <a:gd name="T6" fmla="*/ 1 w 2"/>
                    <a:gd name="T7" fmla="*/ 1 h 1"/>
                  </a:gdLst>
                  <a:ahLst/>
                  <a:cxnLst>
                    <a:cxn ang="0">
                      <a:pos x="T0" y="T1"/>
                    </a:cxn>
                    <a:cxn ang="0">
                      <a:pos x="T2" y="T3"/>
                    </a:cxn>
                    <a:cxn ang="0">
                      <a:pos x="T4" y="T5"/>
                    </a:cxn>
                    <a:cxn ang="0">
                      <a:pos x="T6" y="T7"/>
                    </a:cxn>
                  </a:cxnLst>
                  <a:rect l="0" t="0" r="r" b="b"/>
                  <a:pathLst>
                    <a:path w="2" h="1">
                      <a:moveTo>
                        <a:pt x="1" y="1"/>
                      </a:moveTo>
                      <a:cubicBezTo>
                        <a:pt x="1" y="1"/>
                        <a:pt x="1" y="1"/>
                        <a:pt x="2" y="0"/>
                      </a:cubicBezTo>
                      <a:cubicBezTo>
                        <a:pt x="1" y="0"/>
                        <a:pt x="0" y="0"/>
                        <a:pt x="0" y="0"/>
                      </a:cubicBezTo>
                      <a:lnTo>
                        <a:pt x="1" y="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 name="Freeform 511"/>
              <p:cNvSpPr>
                <a:spLocks/>
              </p:cNvSpPr>
              <p:nvPr/>
            </p:nvSpPr>
            <p:spPr bwMode="auto">
              <a:xfrm>
                <a:off x="10064106" y="3376454"/>
                <a:ext cx="1359" cy="1358"/>
              </a:xfrm>
              <a:custGeom>
                <a:avLst/>
                <a:gdLst>
                  <a:gd name="T0" fmla="*/ 1 w 2"/>
                  <a:gd name="T1" fmla="*/ 1 h 1"/>
                  <a:gd name="T2" fmla="*/ 2 w 2"/>
                  <a:gd name="T3" fmla="*/ 0 h 1"/>
                  <a:gd name="T4" fmla="*/ 0 w 2"/>
                  <a:gd name="T5" fmla="*/ 0 h 1"/>
                  <a:gd name="T6" fmla="*/ 1 w 2"/>
                  <a:gd name="T7" fmla="*/ 1 h 1"/>
                </a:gdLst>
                <a:ahLst/>
                <a:cxnLst>
                  <a:cxn ang="0">
                    <a:pos x="T0" y="T1"/>
                  </a:cxn>
                  <a:cxn ang="0">
                    <a:pos x="T2" y="T3"/>
                  </a:cxn>
                  <a:cxn ang="0">
                    <a:pos x="T4" y="T5"/>
                  </a:cxn>
                  <a:cxn ang="0">
                    <a:pos x="T6" y="T7"/>
                  </a:cxn>
                </a:cxnLst>
                <a:rect l="0" t="0" r="r" b="b"/>
                <a:pathLst>
                  <a:path w="2" h="1">
                    <a:moveTo>
                      <a:pt x="1" y="1"/>
                    </a:moveTo>
                    <a:cubicBezTo>
                      <a:pt x="1" y="1"/>
                      <a:pt x="1" y="1"/>
                      <a:pt x="2" y="0"/>
                    </a:cubicBezTo>
                    <a:cubicBezTo>
                      <a:pt x="1" y="0"/>
                      <a:pt x="0" y="0"/>
                      <a:pt x="0" y="0"/>
                    </a:cubicBezTo>
                    <a:lnTo>
                      <a:pt x="1" y="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6" name="Picture 5"/>
            <p:cNvPicPr>
              <a:picLocks noChangeAspect="1" noChangeArrowheads="1"/>
            </p:cNvPicPr>
            <p:nvPr/>
          </p:nvPicPr>
          <p:blipFill>
            <a:blip r:embed="rId3" cstate="email">
              <a:alphaModFix/>
              <a:biLevel thresh="50000"/>
              <a:extLst>
                <a:ext uri="{28A0092B-C50C-407E-A947-70E740481C1C}">
                  <a14:useLocalDpi xmlns:a14="http://schemas.microsoft.com/office/drawing/2010/main"/>
                </a:ext>
              </a:extLst>
            </a:blip>
            <a:srcRect/>
            <a:stretch>
              <a:fillRect/>
            </a:stretch>
          </p:blipFill>
          <p:spPr bwMode="auto">
            <a:xfrm>
              <a:off x="9675812" y="2640602"/>
              <a:ext cx="923666" cy="9407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7" name="Group 6"/>
          <p:cNvGrpSpPr/>
          <p:nvPr/>
        </p:nvGrpSpPr>
        <p:grpSpPr>
          <a:xfrm>
            <a:off x="1791073" y="2795997"/>
            <a:ext cx="6362157" cy="892628"/>
            <a:chOff x="2387474" y="3727995"/>
            <a:chExt cx="8480667" cy="1190170"/>
          </a:xfrm>
        </p:grpSpPr>
        <p:sp>
          <p:nvSpPr>
            <p:cNvPr id="18" name="Rectangle 17"/>
            <p:cNvSpPr/>
            <p:nvPr/>
          </p:nvSpPr>
          <p:spPr bwMode="auto">
            <a:xfrm>
              <a:off x="2387474" y="3727995"/>
              <a:ext cx="8480667" cy="119017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45720" bIns="45720" numCol="1" spcCol="0" rtlCol="0" fromWordArt="0" anchor="ctr" anchorCtr="0" forceAA="0" compatLnSpc="1">
              <a:prstTxWarp prst="textNoShape">
                <a:avLst/>
              </a:prstTxWarp>
              <a:noAutofit/>
            </a:bodyPr>
            <a:lstStyle/>
            <a:p>
              <a:pPr defTabSz="685637" fontAlgn="base">
                <a:spcBef>
                  <a:spcPct val="0"/>
                </a:spcBef>
                <a:spcAft>
                  <a:spcPct val="0"/>
                </a:spcAft>
              </a:pPr>
              <a:r>
                <a:rPr lang="en-US" sz="27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Highly Secured Clustered Storage</a:t>
              </a:r>
              <a:r>
                <a:rPr lang="en-US" sz="30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
              </a:r>
              <a:br>
                <a:rPr lang="en-US" sz="30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br>
              <a:r>
                <a:rPr lang="en-US" sz="15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BitLocker Drive Encryption for improved security</a:t>
              </a:r>
            </a:p>
          </p:txBody>
        </p:sp>
        <p:pic>
          <p:nvPicPr>
            <p:cNvPr id="17" name="Picture 4"/>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9828212" y="3886200"/>
              <a:ext cx="650980" cy="889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0" name="Group 9"/>
          <p:cNvGrpSpPr/>
          <p:nvPr/>
        </p:nvGrpSpPr>
        <p:grpSpPr>
          <a:xfrm>
            <a:off x="1791073" y="3714751"/>
            <a:ext cx="6362157" cy="892628"/>
            <a:chOff x="2387473" y="4953000"/>
            <a:chExt cx="8480667" cy="1190170"/>
          </a:xfrm>
        </p:grpSpPr>
        <p:sp>
          <p:nvSpPr>
            <p:cNvPr id="6" name="Rectangle 5"/>
            <p:cNvSpPr/>
            <p:nvPr/>
          </p:nvSpPr>
          <p:spPr bwMode="auto">
            <a:xfrm>
              <a:off x="2387473" y="4953000"/>
              <a:ext cx="8480667" cy="119017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45720" bIns="45720" numCol="1" spcCol="0" rtlCol="0" fromWordArt="0" anchor="ctr" anchorCtr="0" forceAA="0" compatLnSpc="1">
              <a:prstTxWarp prst="textNoShape">
                <a:avLst/>
              </a:prstTxWarp>
              <a:noAutofit/>
            </a:bodyPr>
            <a:lstStyle/>
            <a:p>
              <a:pPr defTabSz="685637" fontAlgn="base">
                <a:spcBef>
                  <a:spcPct val="0"/>
                </a:spcBef>
                <a:spcAft>
                  <a:spcPct val="0"/>
                </a:spcAft>
              </a:pPr>
              <a:r>
                <a:rPr lang="en-US" sz="27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Enhanced Cluster Shared Volumes</a:t>
              </a:r>
              <a:r>
                <a:rPr lang="en-US" sz="30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
              </a:r>
              <a:br>
                <a:rPr lang="en-US" sz="30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br>
              <a:r>
                <a:rPr lang="en-US" sz="15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Deeper integration with storage arrays</a:t>
              </a:r>
            </a:p>
            <a:p>
              <a:pPr defTabSz="685637" fontAlgn="base">
                <a:spcBef>
                  <a:spcPct val="0"/>
                </a:spcBef>
                <a:spcAft>
                  <a:spcPct val="0"/>
                </a:spcAft>
              </a:pPr>
              <a:endParaRPr lang="en-US" sz="500"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pic>
          <p:nvPicPr>
            <p:cNvPr id="19" name="Picture 18"/>
            <p:cNvPicPr>
              <a:picLocks noChangeAspect="1" noChangeArrowheads="1"/>
            </p:cNvPicPr>
            <p:nvPr/>
          </p:nvPicPr>
          <p:blipFill>
            <a:blip r:embed="rId5" cstate="email">
              <a:biLevel thresh="25000"/>
              <a:extLst>
                <a:ext uri="{28A0092B-C50C-407E-A947-70E740481C1C}">
                  <a14:useLocalDpi xmlns:a14="http://schemas.microsoft.com/office/drawing/2010/main"/>
                </a:ext>
              </a:extLst>
            </a:blip>
            <a:srcRect/>
            <a:stretch>
              <a:fillRect/>
            </a:stretch>
          </p:blipFill>
          <p:spPr bwMode="auto">
            <a:xfrm>
              <a:off x="9828212" y="5105400"/>
              <a:ext cx="597596" cy="8811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0"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2"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6"/>
              </a:rPr>
              <a:t>www.rapidbbs.cn</a:t>
            </a:r>
            <a:endParaRPr lang="zh-CN" altLang="en-US" sz="1200" b="0">
              <a:latin typeface="Arial" charset="0"/>
              <a:ea typeface="ＭＳ Ｐゴシック" pitchFamily="34" charset="-128"/>
            </a:endParaRPr>
          </a:p>
        </p:txBody>
      </p:sp>
      <p:pic>
        <p:nvPicPr>
          <p:cNvPr id="23" name="Picture 2">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726029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wipe(left)">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wipe(left)">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wipe(left)">
                                      <p:cBhvr>
                                        <p:cTn id="2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yper-V | Failover Clustering</a:t>
            </a:r>
            <a:endParaRPr lang="en-US" dirty="0"/>
          </a:p>
        </p:txBody>
      </p:sp>
      <p:sp>
        <p:nvSpPr>
          <p:cNvPr id="4" name="Rectangle 3"/>
          <p:cNvSpPr/>
          <p:nvPr/>
        </p:nvSpPr>
        <p:spPr bwMode="auto">
          <a:xfrm rot="16200000">
            <a:off x="-579056" y="2281671"/>
            <a:ext cx="3646716" cy="100469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5758" tIns="34294" rIns="34294" bIns="34294" numCol="1" spcCol="0" rtlCol="0" fromWordArt="0" anchor="ctr" anchorCtr="0" forceAA="0" compatLnSpc="1">
            <a:prstTxWarp prst="textNoShape">
              <a:avLst/>
            </a:prstTxWarp>
            <a:noAutofit/>
          </a:bodyPr>
          <a:lstStyle/>
          <a:p>
            <a:pPr defTabSz="685637" fontAlgn="base">
              <a:spcBef>
                <a:spcPct val="0"/>
              </a:spcBef>
              <a:spcAft>
                <a:spcPct val="0"/>
              </a:spcAft>
            </a:pPr>
            <a:r>
              <a:rPr lang="en-US" sz="3600" spc="-38" dirty="0">
                <a:gradFill>
                  <a:gsLst>
                    <a:gs pos="0">
                      <a:srgbClr val="FFFFFF"/>
                    </a:gs>
                    <a:gs pos="100000">
                      <a:srgbClr val="FFFFFF"/>
                    </a:gs>
                  </a:gsLst>
                  <a:lin ang="5400000" scaled="0"/>
                </a:gradFill>
                <a:latin typeface="Segoe UI Light" pitchFamily="34" charset="0"/>
                <a:ea typeface="Segoe UI" pitchFamily="34" charset="0"/>
                <a:cs typeface="Segoe UI Light" pitchFamily="34" charset="0"/>
              </a:rPr>
              <a:t>Clustering</a:t>
            </a:r>
            <a:endParaRPr lang="en-US" sz="2000" spc="-38" dirty="0">
              <a:gradFill>
                <a:gsLst>
                  <a:gs pos="0">
                    <a:srgbClr val="FFFFFF"/>
                  </a:gs>
                  <a:gs pos="100000">
                    <a:srgbClr val="FFFFFF"/>
                  </a:gs>
                </a:gsLst>
                <a:lin ang="5400000" scaled="0"/>
              </a:gradFill>
              <a:latin typeface="Segoe UI Light" pitchFamily="34" charset="0"/>
              <a:ea typeface="Segoe UI" pitchFamily="34" charset="0"/>
              <a:cs typeface="Segoe UI Light" pitchFamily="34" charset="0"/>
            </a:endParaRPr>
          </a:p>
        </p:txBody>
      </p:sp>
      <p:grpSp>
        <p:nvGrpSpPr>
          <p:cNvPr id="3" name="Group 2"/>
          <p:cNvGrpSpPr/>
          <p:nvPr/>
        </p:nvGrpSpPr>
        <p:grpSpPr>
          <a:xfrm>
            <a:off x="1791073" y="960662"/>
            <a:ext cx="6362157" cy="891540"/>
            <a:chOff x="2387474" y="1280883"/>
            <a:chExt cx="8480667" cy="1188720"/>
          </a:xfrm>
        </p:grpSpPr>
        <p:sp>
          <p:nvSpPr>
            <p:cNvPr id="15" name="Rectangle 14"/>
            <p:cNvSpPr/>
            <p:nvPr/>
          </p:nvSpPr>
          <p:spPr bwMode="auto">
            <a:xfrm>
              <a:off x="2387474" y="1280883"/>
              <a:ext cx="8480667" cy="11887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45720" rIns="45720" bIns="45720" numCol="1" spcCol="0" rtlCol="0" fromWordArt="0" anchor="ctr" anchorCtr="0" forceAA="0" compatLnSpc="1">
              <a:prstTxWarp prst="textNoShape">
                <a:avLst/>
              </a:prstTxWarp>
              <a:noAutofit/>
            </a:bodyPr>
            <a:lstStyle/>
            <a:p>
              <a:pPr defTabSz="685637" fontAlgn="base">
                <a:spcBef>
                  <a:spcPct val="0"/>
                </a:spcBef>
                <a:spcAft>
                  <a:spcPct val="0"/>
                </a:spcAft>
              </a:pPr>
              <a:r>
                <a:rPr lang="en-US" sz="27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3 Levels of Availability</a:t>
              </a:r>
              <a:r>
                <a:rPr lang="en-US" sz="30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
              </a:r>
              <a:br>
                <a:rPr lang="en-US" sz="30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br>
              <a:r>
                <a:rPr lang="en-US" sz="15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Host, Guest OS &amp; Application Level Protection</a:t>
              </a:r>
            </a:p>
          </p:txBody>
        </p:sp>
        <p:pic>
          <p:nvPicPr>
            <p:cNvPr id="12" name="Picture 12"/>
            <p:cNvPicPr>
              <a:picLocks noChangeAspect="1" noChangeArrowheads="1"/>
            </p:cNvPicPr>
            <p:nvPr/>
          </p:nvPicPr>
          <p:blipFill>
            <a:blip r:embed="rId2" cstate="email">
              <a:biLevel thresh="50000"/>
              <a:extLst>
                <a:ext uri="{28A0092B-C50C-407E-A947-70E740481C1C}">
                  <a14:useLocalDpi xmlns:a14="http://schemas.microsoft.com/office/drawing/2010/main"/>
                </a:ext>
              </a:extLst>
            </a:blip>
            <a:srcRect/>
            <a:stretch>
              <a:fillRect/>
            </a:stretch>
          </p:blipFill>
          <p:spPr bwMode="auto">
            <a:xfrm>
              <a:off x="9523412" y="1409658"/>
              <a:ext cx="875910" cy="9311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5" name="Group 4"/>
          <p:cNvGrpSpPr/>
          <p:nvPr/>
        </p:nvGrpSpPr>
        <p:grpSpPr>
          <a:xfrm>
            <a:off x="1791073" y="1878329"/>
            <a:ext cx="6362157" cy="891540"/>
            <a:chOff x="2387474" y="2504439"/>
            <a:chExt cx="8480667" cy="1188720"/>
          </a:xfrm>
        </p:grpSpPr>
        <p:grpSp>
          <p:nvGrpSpPr>
            <p:cNvPr id="28" name="Group 27"/>
            <p:cNvGrpSpPr/>
            <p:nvPr/>
          </p:nvGrpSpPr>
          <p:grpSpPr>
            <a:xfrm>
              <a:off x="2387474" y="2504439"/>
              <a:ext cx="8480667" cy="1188720"/>
              <a:chOff x="2387474" y="2504439"/>
              <a:chExt cx="8480667" cy="1188720"/>
            </a:xfrm>
          </p:grpSpPr>
          <p:grpSp>
            <p:nvGrpSpPr>
              <p:cNvPr id="8" name="Group 7"/>
              <p:cNvGrpSpPr/>
              <p:nvPr/>
            </p:nvGrpSpPr>
            <p:grpSpPr>
              <a:xfrm>
                <a:off x="2387474" y="2504439"/>
                <a:ext cx="8480667" cy="1188720"/>
                <a:chOff x="2477618" y="4361546"/>
                <a:chExt cx="8480667" cy="1188720"/>
              </a:xfrm>
            </p:grpSpPr>
            <p:sp>
              <p:nvSpPr>
                <p:cNvPr id="9" name="Rectangle 8"/>
                <p:cNvSpPr/>
                <p:nvPr/>
              </p:nvSpPr>
              <p:spPr bwMode="auto">
                <a:xfrm>
                  <a:off x="2477618" y="4361546"/>
                  <a:ext cx="8480667" cy="11887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45720" bIns="45720" numCol="1" spcCol="0" rtlCol="0" fromWordArt="0" anchor="ctr" anchorCtr="0" forceAA="0" compatLnSpc="1">
                  <a:prstTxWarp prst="textNoShape">
                    <a:avLst/>
                  </a:prstTxWarp>
                  <a:noAutofit/>
                </a:bodyPr>
                <a:lstStyle/>
                <a:p>
                  <a:pPr defTabSz="685637" fontAlgn="base">
                    <a:spcBef>
                      <a:spcPct val="0"/>
                    </a:spcBef>
                    <a:spcAft>
                      <a:spcPct val="0"/>
                    </a:spcAft>
                  </a:pPr>
                  <a:r>
                    <a:rPr lang="en-US" sz="2700" spc="-38" dirty="0">
                      <a:gradFill>
                        <a:gsLst>
                          <a:gs pos="0">
                            <a:srgbClr val="FFFFFF"/>
                          </a:gs>
                          <a:gs pos="100000">
                            <a:srgbClr val="FFFFFF"/>
                          </a:gs>
                        </a:gsLst>
                        <a:lin ang="5400000" scaled="0"/>
                      </a:gradFill>
                      <a:latin typeface="Segoe UI Light" pitchFamily="34" charset="0"/>
                      <a:ea typeface="Segoe UI" pitchFamily="34" charset="0"/>
                      <a:cs typeface="Segoe UI Light" pitchFamily="34" charset="0"/>
                    </a:rPr>
                    <a:t>Cluster Aware Updating</a:t>
                  </a:r>
                  <a:r>
                    <a:rPr lang="en-US" sz="3000" spc="-38" dirty="0">
                      <a:gradFill>
                        <a:gsLst>
                          <a:gs pos="0">
                            <a:srgbClr val="FFFFFF"/>
                          </a:gs>
                          <a:gs pos="100000">
                            <a:srgbClr val="FFFFFF"/>
                          </a:gs>
                        </a:gsLst>
                        <a:lin ang="5400000" scaled="0"/>
                      </a:gradFill>
                      <a:latin typeface="Segoe UI Light" pitchFamily="34" charset="0"/>
                      <a:ea typeface="Segoe UI" pitchFamily="34" charset="0"/>
                      <a:cs typeface="Segoe UI Light" pitchFamily="34" charset="0"/>
                    </a:rPr>
                    <a:t/>
                  </a:r>
                  <a:br>
                    <a:rPr lang="en-US" sz="3000" spc="-38" dirty="0">
                      <a:gradFill>
                        <a:gsLst>
                          <a:gs pos="0">
                            <a:srgbClr val="FFFFFF"/>
                          </a:gs>
                          <a:gs pos="100000">
                            <a:srgbClr val="FFFFFF"/>
                          </a:gs>
                        </a:gsLst>
                        <a:lin ang="5400000" scaled="0"/>
                      </a:gradFill>
                      <a:latin typeface="Segoe UI Light" pitchFamily="34" charset="0"/>
                      <a:ea typeface="Segoe UI" pitchFamily="34" charset="0"/>
                      <a:cs typeface="Segoe UI Light" pitchFamily="34" charset="0"/>
                    </a:rPr>
                  </a:br>
                  <a:r>
                    <a:rPr lang="en-US" sz="1500" spc="-38" dirty="0">
                      <a:gradFill>
                        <a:gsLst>
                          <a:gs pos="0">
                            <a:srgbClr val="FFFFFF"/>
                          </a:gs>
                          <a:gs pos="100000">
                            <a:srgbClr val="FFFFFF"/>
                          </a:gs>
                        </a:gsLst>
                        <a:lin ang="5400000" scaled="0"/>
                      </a:gradFill>
                      <a:latin typeface="Segoe UI Light" pitchFamily="34" charset="0"/>
                      <a:ea typeface="Segoe UI" pitchFamily="34" charset="0"/>
                      <a:cs typeface="Segoe UI Light" pitchFamily="34" charset="0"/>
                    </a:rPr>
                    <a:t>Eliminate downtime associated with cluster updating</a:t>
                  </a:r>
                </a:p>
                <a:p>
                  <a:pPr defTabSz="685637" fontAlgn="base">
                    <a:spcBef>
                      <a:spcPct val="0"/>
                    </a:spcBef>
                    <a:spcAft>
                      <a:spcPct val="0"/>
                    </a:spcAft>
                  </a:pPr>
                  <a:endParaRPr lang="en-US" sz="500"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1" name="Freeform 511"/>
                <p:cNvSpPr>
                  <a:spLocks/>
                </p:cNvSpPr>
                <p:nvPr/>
              </p:nvSpPr>
              <p:spPr bwMode="auto">
                <a:xfrm>
                  <a:off x="10019794" y="5410770"/>
                  <a:ext cx="1588" cy="1587"/>
                </a:xfrm>
                <a:custGeom>
                  <a:avLst/>
                  <a:gdLst>
                    <a:gd name="T0" fmla="*/ 1 w 2"/>
                    <a:gd name="T1" fmla="*/ 1 h 1"/>
                    <a:gd name="T2" fmla="*/ 2 w 2"/>
                    <a:gd name="T3" fmla="*/ 0 h 1"/>
                    <a:gd name="T4" fmla="*/ 0 w 2"/>
                    <a:gd name="T5" fmla="*/ 0 h 1"/>
                    <a:gd name="T6" fmla="*/ 1 w 2"/>
                    <a:gd name="T7" fmla="*/ 1 h 1"/>
                  </a:gdLst>
                  <a:ahLst/>
                  <a:cxnLst>
                    <a:cxn ang="0">
                      <a:pos x="T0" y="T1"/>
                    </a:cxn>
                    <a:cxn ang="0">
                      <a:pos x="T2" y="T3"/>
                    </a:cxn>
                    <a:cxn ang="0">
                      <a:pos x="T4" y="T5"/>
                    </a:cxn>
                    <a:cxn ang="0">
                      <a:pos x="T6" y="T7"/>
                    </a:cxn>
                  </a:cxnLst>
                  <a:rect l="0" t="0" r="r" b="b"/>
                  <a:pathLst>
                    <a:path w="2" h="1">
                      <a:moveTo>
                        <a:pt x="1" y="1"/>
                      </a:moveTo>
                      <a:cubicBezTo>
                        <a:pt x="1" y="1"/>
                        <a:pt x="1" y="1"/>
                        <a:pt x="2" y="0"/>
                      </a:cubicBezTo>
                      <a:cubicBezTo>
                        <a:pt x="1" y="0"/>
                        <a:pt x="0" y="0"/>
                        <a:pt x="0" y="0"/>
                      </a:cubicBezTo>
                      <a:lnTo>
                        <a:pt x="1" y="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 name="Freeform 511"/>
              <p:cNvSpPr>
                <a:spLocks/>
              </p:cNvSpPr>
              <p:nvPr/>
            </p:nvSpPr>
            <p:spPr bwMode="auto">
              <a:xfrm>
                <a:off x="10064106" y="3376454"/>
                <a:ext cx="1359" cy="1358"/>
              </a:xfrm>
              <a:custGeom>
                <a:avLst/>
                <a:gdLst>
                  <a:gd name="T0" fmla="*/ 1 w 2"/>
                  <a:gd name="T1" fmla="*/ 1 h 1"/>
                  <a:gd name="T2" fmla="*/ 2 w 2"/>
                  <a:gd name="T3" fmla="*/ 0 h 1"/>
                  <a:gd name="T4" fmla="*/ 0 w 2"/>
                  <a:gd name="T5" fmla="*/ 0 h 1"/>
                  <a:gd name="T6" fmla="*/ 1 w 2"/>
                  <a:gd name="T7" fmla="*/ 1 h 1"/>
                </a:gdLst>
                <a:ahLst/>
                <a:cxnLst>
                  <a:cxn ang="0">
                    <a:pos x="T0" y="T1"/>
                  </a:cxn>
                  <a:cxn ang="0">
                    <a:pos x="T2" y="T3"/>
                  </a:cxn>
                  <a:cxn ang="0">
                    <a:pos x="T4" y="T5"/>
                  </a:cxn>
                  <a:cxn ang="0">
                    <a:pos x="T6" y="T7"/>
                  </a:cxn>
                </a:cxnLst>
                <a:rect l="0" t="0" r="r" b="b"/>
                <a:pathLst>
                  <a:path w="2" h="1">
                    <a:moveTo>
                      <a:pt x="1" y="1"/>
                    </a:moveTo>
                    <a:cubicBezTo>
                      <a:pt x="1" y="1"/>
                      <a:pt x="1" y="1"/>
                      <a:pt x="2" y="0"/>
                    </a:cubicBezTo>
                    <a:cubicBezTo>
                      <a:pt x="1" y="0"/>
                      <a:pt x="0" y="0"/>
                      <a:pt x="0" y="0"/>
                    </a:cubicBezTo>
                    <a:lnTo>
                      <a:pt x="1" y="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4" name="Picture 13"/>
            <p:cNvPicPr>
              <a:picLocks noChangeAspect="1" noChangeArrowheads="1"/>
            </p:cNvPicPr>
            <p:nvPr/>
          </p:nvPicPr>
          <p:blipFill>
            <a:blip r:embed="rId3" cstate="email">
              <a:biLevel thresh="50000"/>
              <a:extLst>
                <a:ext uri="{28A0092B-C50C-407E-A947-70E740481C1C}">
                  <a14:useLocalDpi xmlns:a14="http://schemas.microsoft.com/office/drawing/2010/main"/>
                </a:ext>
              </a:extLst>
            </a:blip>
            <a:srcRect/>
            <a:stretch>
              <a:fillRect/>
            </a:stretch>
          </p:blipFill>
          <p:spPr bwMode="auto">
            <a:xfrm>
              <a:off x="9165269" y="2737570"/>
              <a:ext cx="1528762" cy="7676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7" name="Group 6"/>
          <p:cNvGrpSpPr/>
          <p:nvPr/>
        </p:nvGrpSpPr>
        <p:grpSpPr>
          <a:xfrm>
            <a:off x="1791073" y="2795997"/>
            <a:ext cx="6362157" cy="892628"/>
            <a:chOff x="2387474" y="3727995"/>
            <a:chExt cx="8480667" cy="1190170"/>
          </a:xfrm>
        </p:grpSpPr>
        <p:sp>
          <p:nvSpPr>
            <p:cNvPr id="18" name="Rectangle 17"/>
            <p:cNvSpPr/>
            <p:nvPr/>
          </p:nvSpPr>
          <p:spPr bwMode="auto">
            <a:xfrm>
              <a:off x="2387474" y="3727995"/>
              <a:ext cx="8480667" cy="119017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45720" bIns="45720" numCol="1" spcCol="0" rtlCol="0" fromWordArt="0" anchor="ctr" anchorCtr="0" forceAA="0" compatLnSpc="1">
              <a:prstTxWarp prst="textNoShape">
                <a:avLst/>
              </a:prstTxWarp>
              <a:noAutofit/>
            </a:bodyPr>
            <a:lstStyle/>
            <a:p>
              <a:pPr defTabSz="685637" fontAlgn="base">
                <a:spcBef>
                  <a:spcPct val="0"/>
                </a:spcBef>
                <a:spcAft>
                  <a:spcPct val="0"/>
                </a:spcAft>
              </a:pPr>
              <a:r>
                <a:rPr lang="en-US" sz="27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Failover Prioritization</a:t>
              </a:r>
              <a:r>
                <a:rPr lang="en-US" sz="30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
              </a:r>
              <a:br>
                <a:rPr lang="en-US" sz="30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br>
              <a:r>
                <a:rPr lang="en-US" sz="15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Controls the order in which VMs fail over or start</a:t>
              </a:r>
            </a:p>
          </p:txBody>
        </p:sp>
        <p:pic>
          <p:nvPicPr>
            <p:cNvPr id="16" name="Picture 6"/>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9416042" y="3865523"/>
              <a:ext cx="1097970" cy="915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0" name="Group 9"/>
          <p:cNvGrpSpPr/>
          <p:nvPr/>
        </p:nvGrpSpPr>
        <p:grpSpPr>
          <a:xfrm>
            <a:off x="1791073" y="3714751"/>
            <a:ext cx="6362157" cy="892628"/>
            <a:chOff x="2387473" y="4953000"/>
            <a:chExt cx="8480667" cy="1190170"/>
          </a:xfrm>
        </p:grpSpPr>
        <p:sp>
          <p:nvSpPr>
            <p:cNvPr id="6" name="Rectangle 5"/>
            <p:cNvSpPr/>
            <p:nvPr/>
          </p:nvSpPr>
          <p:spPr bwMode="auto">
            <a:xfrm>
              <a:off x="2387473" y="4953000"/>
              <a:ext cx="8480667" cy="119017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45720" bIns="45720" numCol="1" spcCol="0" rtlCol="0" fromWordArt="0" anchor="ctr" anchorCtr="0" forceAA="0" compatLnSpc="1">
              <a:prstTxWarp prst="textNoShape">
                <a:avLst/>
              </a:prstTxWarp>
              <a:noAutofit/>
            </a:bodyPr>
            <a:lstStyle/>
            <a:p>
              <a:pPr defTabSz="685637" fontAlgn="base">
                <a:spcBef>
                  <a:spcPct val="0"/>
                </a:spcBef>
                <a:spcAft>
                  <a:spcPct val="0"/>
                </a:spcAft>
              </a:pPr>
              <a:r>
                <a:rPr lang="en-US" sz="27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Affinity &amp; Anti-Affinity Rules</a:t>
              </a:r>
              <a:r>
                <a:rPr lang="en-US" sz="30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
              </a:r>
              <a:br>
                <a:rPr lang="en-US" sz="30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br>
              <a:r>
                <a:rPr lang="en-US" sz="1500"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Ensure VMs stay together, or apart within the cluster</a:t>
              </a:r>
            </a:p>
          </p:txBody>
        </p:sp>
        <p:pic>
          <p:nvPicPr>
            <p:cNvPr id="19" name="Picture 7"/>
            <p:cNvPicPr>
              <a:picLocks noChangeAspect="1" noChangeArrowheads="1"/>
            </p:cNvPicPr>
            <p:nvPr/>
          </p:nvPicPr>
          <p:blipFill>
            <a:blip r:embed="rId5" cstate="email">
              <a:biLevel thresh="50000"/>
              <a:extLst>
                <a:ext uri="{28A0092B-C50C-407E-A947-70E740481C1C}">
                  <a14:useLocalDpi xmlns:a14="http://schemas.microsoft.com/office/drawing/2010/main"/>
                </a:ext>
              </a:extLst>
            </a:blip>
            <a:srcRect/>
            <a:stretch>
              <a:fillRect/>
            </a:stretch>
          </p:blipFill>
          <p:spPr bwMode="auto">
            <a:xfrm>
              <a:off x="9447212" y="5029200"/>
              <a:ext cx="957410" cy="9983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0"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2"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6"/>
              </a:rPr>
              <a:t>www.rapidbbs.cn</a:t>
            </a:r>
            <a:endParaRPr lang="zh-CN" altLang="en-US" sz="1200" b="0">
              <a:latin typeface="Arial" charset="0"/>
              <a:ea typeface="ＭＳ Ｐゴシック" pitchFamily="34" charset="-128"/>
            </a:endParaRPr>
          </a:p>
        </p:txBody>
      </p:sp>
      <p:pic>
        <p:nvPicPr>
          <p:cNvPr id="23" name="Picture 2">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672892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wipe(left)">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wipe(left)">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wipe(left)">
                                      <p:cBhvr>
                                        <p:cTn id="2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a:t>
            </a:r>
            <a:endParaRPr lang="en-US" dirty="0"/>
          </a:p>
        </p:txBody>
      </p:sp>
      <p:grpSp>
        <p:nvGrpSpPr>
          <p:cNvPr id="4" name="Group 5"/>
          <p:cNvGrpSpPr>
            <a:grpSpLocks/>
          </p:cNvGrpSpPr>
          <p:nvPr/>
        </p:nvGrpSpPr>
        <p:grpSpPr bwMode="auto">
          <a:xfrm>
            <a:off x="970613" y="1256705"/>
            <a:ext cx="1772111" cy="2571750"/>
            <a:chOff x="528" y="2159"/>
            <a:chExt cx="1488" cy="2160"/>
          </a:xfrm>
        </p:grpSpPr>
        <p:sp>
          <p:nvSpPr>
            <p:cNvPr id="5" name="Rectangle 20"/>
            <p:cNvSpPr>
              <a:spLocks noChangeArrowheads="1"/>
            </p:cNvSpPr>
            <p:nvPr/>
          </p:nvSpPr>
          <p:spPr bwMode="auto">
            <a:xfrm rot="10800000">
              <a:off x="528" y="2159"/>
              <a:ext cx="1488" cy="2112"/>
            </a:xfrm>
            <a:prstGeom prst="rect">
              <a:avLst/>
            </a:prstGeom>
            <a:solidFill>
              <a:schemeClr val="tx2">
                <a:alpha val="80000"/>
              </a:schemeClr>
            </a:solidFill>
            <a:ln w="9525">
              <a:noFill/>
              <a:miter lim="800000"/>
              <a:headEnd/>
              <a:tailEnd/>
            </a:ln>
          </p:spPr>
          <p:txBody>
            <a:bodyPr rot="10800000" wrap="none" anchor="ctr"/>
            <a:lstStyle/>
            <a:p>
              <a:endParaRPr lang="en-US" dirty="0"/>
            </a:p>
          </p:txBody>
        </p:sp>
        <p:sp>
          <p:nvSpPr>
            <p:cNvPr id="6" name="Text Box 10"/>
            <p:cNvSpPr txBox="1">
              <a:spLocks noChangeArrowheads="1"/>
            </p:cNvSpPr>
            <p:nvPr/>
          </p:nvSpPr>
          <p:spPr bwMode="auto">
            <a:xfrm>
              <a:off x="647" y="2308"/>
              <a:ext cx="1242" cy="776"/>
            </a:xfrm>
            <a:prstGeom prst="rect">
              <a:avLst/>
            </a:prstGeom>
            <a:noFill/>
            <a:ln w="9525">
              <a:noFill/>
              <a:miter lim="800000"/>
              <a:headEnd/>
              <a:tailEnd/>
            </a:ln>
          </p:spPr>
          <p:txBody>
            <a:bodyPr>
              <a:spAutoFit/>
            </a:bodyPr>
            <a:lstStyle/>
            <a:p>
              <a:pPr defTabSz="979974"/>
              <a:r>
                <a:rPr lang="en-US" sz="1800" dirty="0"/>
                <a:t>Scalability, Performance &amp; Density</a:t>
              </a:r>
            </a:p>
          </p:txBody>
        </p:sp>
        <p:grpSp>
          <p:nvGrpSpPr>
            <p:cNvPr id="7" name="Group 28"/>
            <p:cNvGrpSpPr>
              <a:grpSpLocks/>
            </p:cNvGrpSpPr>
            <p:nvPr/>
          </p:nvGrpSpPr>
          <p:grpSpPr bwMode="auto">
            <a:xfrm>
              <a:off x="1248" y="3647"/>
              <a:ext cx="672" cy="672"/>
              <a:chOff x="959" y="3264"/>
              <a:chExt cx="934" cy="934"/>
            </a:xfrm>
          </p:grpSpPr>
          <p:sp>
            <p:nvSpPr>
              <p:cNvPr id="8" name="Oval 399"/>
              <p:cNvSpPr>
                <a:spLocks noChangeArrowheads="1"/>
              </p:cNvSpPr>
              <p:nvPr/>
            </p:nvSpPr>
            <p:spPr bwMode="auto">
              <a:xfrm>
                <a:off x="1152" y="3456"/>
                <a:ext cx="548" cy="548"/>
              </a:xfrm>
              <a:prstGeom prst="ellipse">
                <a:avLst/>
              </a:prstGeom>
              <a:noFill/>
              <a:ln w="28575">
                <a:solidFill>
                  <a:srgbClr val="FFFFFF"/>
                </a:solidFill>
                <a:round/>
                <a:headEnd/>
                <a:tailEnd/>
              </a:ln>
            </p:spPr>
            <p:txBody>
              <a:bodyPr/>
              <a:lstStyle/>
              <a:p>
                <a:endParaRPr lang="en-US" dirty="0"/>
              </a:p>
            </p:txBody>
          </p:sp>
          <p:pic>
            <p:nvPicPr>
              <p:cNvPr id="9" name="Picture 27" descr="arrow"/>
              <p:cNvPicPr>
                <a:picLocks noChangeAspect="1" noChangeArrowheads="1"/>
              </p:cNvPicPr>
              <p:nvPr/>
            </p:nvPicPr>
            <p:blipFill>
              <a:blip r:embed="rId2" cstate="print"/>
              <a:srcRect/>
              <a:stretch>
                <a:fillRect/>
              </a:stretch>
            </p:blipFill>
            <p:spPr bwMode="auto">
              <a:xfrm>
                <a:off x="959" y="3264"/>
                <a:ext cx="934" cy="934"/>
              </a:xfrm>
              <a:prstGeom prst="rect">
                <a:avLst/>
              </a:prstGeom>
              <a:noFill/>
              <a:ln w="9525">
                <a:noFill/>
                <a:miter lim="800000"/>
                <a:headEnd/>
                <a:tailEnd/>
              </a:ln>
            </p:spPr>
          </p:pic>
        </p:grpSp>
      </p:grpSp>
      <p:grpSp>
        <p:nvGrpSpPr>
          <p:cNvPr id="10" name="Group 12"/>
          <p:cNvGrpSpPr>
            <a:grpSpLocks/>
          </p:cNvGrpSpPr>
          <p:nvPr/>
        </p:nvGrpSpPr>
        <p:grpSpPr bwMode="auto">
          <a:xfrm>
            <a:off x="2763539" y="1256110"/>
            <a:ext cx="1772111" cy="2572941"/>
            <a:chOff x="2208" y="2159"/>
            <a:chExt cx="1488" cy="2161"/>
          </a:xfrm>
        </p:grpSpPr>
        <p:sp>
          <p:nvSpPr>
            <p:cNvPr id="11" name="Rectangle 21"/>
            <p:cNvSpPr>
              <a:spLocks noChangeArrowheads="1"/>
            </p:cNvSpPr>
            <p:nvPr/>
          </p:nvSpPr>
          <p:spPr bwMode="auto">
            <a:xfrm rot="10800000">
              <a:off x="2208" y="2159"/>
              <a:ext cx="1488" cy="2112"/>
            </a:xfrm>
            <a:prstGeom prst="rect">
              <a:avLst/>
            </a:prstGeom>
            <a:solidFill>
              <a:schemeClr val="accent2">
                <a:alpha val="80000"/>
              </a:schemeClr>
            </a:solidFill>
            <a:ln w="9525">
              <a:noFill/>
              <a:miter lim="800000"/>
              <a:headEnd/>
              <a:tailEnd/>
            </a:ln>
          </p:spPr>
          <p:txBody>
            <a:bodyPr rot="10800000" wrap="none" anchor="ctr"/>
            <a:lstStyle/>
            <a:p>
              <a:endParaRPr lang="en-US" sz="1800" dirty="0"/>
            </a:p>
          </p:txBody>
        </p:sp>
        <p:sp>
          <p:nvSpPr>
            <p:cNvPr id="12" name="Text Box 11"/>
            <p:cNvSpPr txBox="1">
              <a:spLocks noChangeArrowheads="1"/>
            </p:cNvSpPr>
            <p:nvPr/>
          </p:nvSpPr>
          <p:spPr bwMode="auto">
            <a:xfrm>
              <a:off x="2280" y="2314"/>
              <a:ext cx="1344" cy="543"/>
            </a:xfrm>
            <a:prstGeom prst="rect">
              <a:avLst/>
            </a:prstGeom>
            <a:noFill/>
            <a:ln w="9525">
              <a:noFill/>
              <a:miter lim="800000"/>
              <a:headEnd/>
              <a:tailEnd/>
            </a:ln>
          </p:spPr>
          <p:txBody>
            <a:bodyPr>
              <a:spAutoFit/>
            </a:bodyPr>
            <a:lstStyle/>
            <a:p>
              <a:pPr defTabSz="979974"/>
              <a:r>
                <a:rPr lang="en-US" sz="1800" dirty="0"/>
                <a:t>Security &amp; Multitenancy</a:t>
              </a:r>
            </a:p>
          </p:txBody>
        </p:sp>
        <p:grpSp>
          <p:nvGrpSpPr>
            <p:cNvPr id="13" name="Group 29"/>
            <p:cNvGrpSpPr>
              <a:grpSpLocks/>
            </p:cNvGrpSpPr>
            <p:nvPr/>
          </p:nvGrpSpPr>
          <p:grpSpPr bwMode="auto">
            <a:xfrm>
              <a:off x="2928" y="3648"/>
              <a:ext cx="672" cy="672"/>
              <a:chOff x="959" y="3264"/>
              <a:chExt cx="934" cy="934"/>
            </a:xfrm>
          </p:grpSpPr>
          <p:sp>
            <p:nvSpPr>
              <p:cNvPr id="14" name="Oval 399"/>
              <p:cNvSpPr>
                <a:spLocks noChangeArrowheads="1"/>
              </p:cNvSpPr>
              <p:nvPr/>
            </p:nvSpPr>
            <p:spPr bwMode="auto">
              <a:xfrm>
                <a:off x="1152" y="3456"/>
                <a:ext cx="548" cy="548"/>
              </a:xfrm>
              <a:prstGeom prst="ellipse">
                <a:avLst/>
              </a:prstGeom>
              <a:noFill/>
              <a:ln w="28575">
                <a:solidFill>
                  <a:srgbClr val="FFFFFF"/>
                </a:solidFill>
                <a:round/>
                <a:headEnd/>
                <a:tailEnd/>
              </a:ln>
            </p:spPr>
            <p:txBody>
              <a:bodyPr/>
              <a:lstStyle/>
              <a:p>
                <a:endParaRPr lang="en-US" dirty="0"/>
              </a:p>
            </p:txBody>
          </p:sp>
          <p:pic>
            <p:nvPicPr>
              <p:cNvPr id="15" name="Picture 31" descr="arrow"/>
              <p:cNvPicPr>
                <a:picLocks noChangeAspect="1" noChangeArrowheads="1"/>
              </p:cNvPicPr>
              <p:nvPr/>
            </p:nvPicPr>
            <p:blipFill>
              <a:blip r:embed="rId2" cstate="print"/>
              <a:srcRect/>
              <a:stretch>
                <a:fillRect/>
              </a:stretch>
            </p:blipFill>
            <p:spPr bwMode="auto">
              <a:xfrm>
                <a:off x="959" y="3264"/>
                <a:ext cx="934" cy="934"/>
              </a:xfrm>
              <a:prstGeom prst="rect">
                <a:avLst/>
              </a:prstGeom>
              <a:noFill/>
              <a:ln w="9525">
                <a:noFill/>
                <a:miter lim="800000"/>
                <a:headEnd/>
                <a:tailEnd/>
              </a:ln>
            </p:spPr>
          </p:pic>
        </p:grpSp>
      </p:grpSp>
      <p:grpSp>
        <p:nvGrpSpPr>
          <p:cNvPr id="16" name="Group 19"/>
          <p:cNvGrpSpPr>
            <a:grpSpLocks/>
          </p:cNvGrpSpPr>
          <p:nvPr/>
        </p:nvGrpSpPr>
        <p:grpSpPr bwMode="auto">
          <a:xfrm>
            <a:off x="4556466" y="1256110"/>
            <a:ext cx="1772111" cy="2572940"/>
            <a:chOff x="3888" y="2159"/>
            <a:chExt cx="1488" cy="2161"/>
          </a:xfrm>
        </p:grpSpPr>
        <p:sp>
          <p:nvSpPr>
            <p:cNvPr id="17" name="Rectangle 22"/>
            <p:cNvSpPr>
              <a:spLocks noChangeArrowheads="1"/>
            </p:cNvSpPr>
            <p:nvPr/>
          </p:nvSpPr>
          <p:spPr bwMode="auto">
            <a:xfrm rot="10800000">
              <a:off x="3888" y="2159"/>
              <a:ext cx="1488" cy="2112"/>
            </a:xfrm>
            <a:prstGeom prst="rect">
              <a:avLst/>
            </a:prstGeom>
            <a:solidFill>
              <a:schemeClr val="accent3">
                <a:alpha val="80000"/>
              </a:schemeClr>
            </a:solidFill>
            <a:ln w="9525">
              <a:noFill/>
              <a:miter lim="800000"/>
              <a:headEnd/>
              <a:tailEnd/>
            </a:ln>
          </p:spPr>
          <p:txBody>
            <a:bodyPr rot="10800000" wrap="none" anchor="ctr"/>
            <a:lstStyle/>
            <a:p>
              <a:endParaRPr lang="en-US" dirty="0"/>
            </a:p>
          </p:txBody>
        </p:sp>
        <p:sp>
          <p:nvSpPr>
            <p:cNvPr id="18" name="Text Box 12"/>
            <p:cNvSpPr txBox="1">
              <a:spLocks noChangeArrowheads="1"/>
            </p:cNvSpPr>
            <p:nvPr/>
          </p:nvSpPr>
          <p:spPr bwMode="auto">
            <a:xfrm>
              <a:off x="3996" y="2312"/>
              <a:ext cx="1296" cy="543"/>
            </a:xfrm>
            <a:prstGeom prst="rect">
              <a:avLst/>
            </a:prstGeom>
            <a:noFill/>
            <a:ln w="9525">
              <a:noFill/>
              <a:miter lim="800000"/>
              <a:headEnd/>
              <a:tailEnd/>
            </a:ln>
          </p:spPr>
          <p:txBody>
            <a:bodyPr wrap="square">
              <a:spAutoFit/>
            </a:bodyPr>
            <a:lstStyle/>
            <a:p>
              <a:pPr defTabSz="979974"/>
              <a:r>
                <a:rPr lang="en-US" sz="1800" dirty="0"/>
                <a:t>Flexible Infrastructure</a:t>
              </a:r>
            </a:p>
          </p:txBody>
        </p:sp>
        <p:grpSp>
          <p:nvGrpSpPr>
            <p:cNvPr id="19" name="Group 32"/>
            <p:cNvGrpSpPr>
              <a:grpSpLocks/>
            </p:cNvGrpSpPr>
            <p:nvPr/>
          </p:nvGrpSpPr>
          <p:grpSpPr bwMode="auto">
            <a:xfrm>
              <a:off x="4608" y="3648"/>
              <a:ext cx="672" cy="672"/>
              <a:chOff x="959" y="3264"/>
              <a:chExt cx="934" cy="934"/>
            </a:xfrm>
          </p:grpSpPr>
          <p:sp>
            <p:nvSpPr>
              <p:cNvPr id="20" name="Oval 399"/>
              <p:cNvSpPr>
                <a:spLocks noChangeArrowheads="1"/>
              </p:cNvSpPr>
              <p:nvPr/>
            </p:nvSpPr>
            <p:spPr bwMode="auto">
              <a:xfrm>
                <a:off x="1152" y="3456"/>
                <a:ext cx="548" cy="548"/>
              </a:xfrm>
              <a:prstGeom prst="ellipse">
                <a:avLst/>
              </a:prstGeom>
              <a:noFill/>
              <a:ln w="28575">
                <a:solidFill>
                  <a:srgbClr val="FFFFFF"/>
                </a:solidFill>
                <a:round/>
                <a:headEnd/>
                <a:tailEnd/>
              </a:ln>
            </p:spPr>
            <p:txBody>
              <a:bodyPr/>
              <a:lstStyle/>
              <a:p>
                <a:endParaRPr lang="en-US" dirty="0"/>
              </a:p>
            </p:txBody>
          </p:sp>
          <p:pic>
            <p:nvPicPr>
              <p:cNvPr id="21" name="Picture 34" descr="arrow"/>
              <p:cNvPicPr>
                <a:picLocks noChangeAspect="1" noChangeArrowheads="1"/>
              </p:cNvPicPr>
              <p:nvPr/>
            </p:nvPicPr>
            <p:blipFill>
              <a:blip r:embed="rId2" cstate="print"/>
              <a:srcRect/>
              <a:stretch>
                <a:fillRect/>
              </a:stretch>
            </p:blipFill>
            <p:spPr bwMode="auto">
              <a:xfrm>
                <a:off x="959" y="3264"/>
                <a:ext cx="934" cy="934"/>
              </a:xfrm>
              <a:prstGeom prst="rect">
                <a:avLst/>
              </a:prstGeom>
              <a:noFill/>
              <a:ln w="9525">
                <a:noFill/>
                <a:miter lim="800000"/>
                <a:headEnd/>
                <a:tailEnd/>
              </a:ln>
            </p:spPr>
          </p:pic>
        </p:grpSp>
      </p:grpSp>
      <p:grpSp>
        <p:nvGrpSpPr>
          <p:cNvPr id="22" name="Group 26"/>
          <p:cNvGrpSpPr>
            <a:grpSpLocks/>
          </p:cNvGrpSpPr>
          <p:nvPr/>
        </p:nvGrpSpPr>
        <p:grpSpPr bwMode="auto">
          <a:xfrm>
            <a:off x="6349392" y="1256110"/>
            <a:ext cx="1772111" cy="2572940"/>
            <a:chOff x="5520" y="2159"/>
            <a:chExt cx="1488" cy="2161"/>
          </a:xfrm>
        </p:grpSpPr>
        <p:sp>
          <p:nvSpPr>
            <p:cNvPr id="23" name="Rectangle 23"/>
            <p:cNvSpPr>
              <a:spLocks noChangeArrowheads="1"/>
            </p:cNvSpPr>
            <p:nvPr/>
          </p:nvSpPr>
          <p:spPr bwMode="auto">
            <a:xfrm rot="10800000">
              <a:off x="5520" y="2159"/>
              <a:ext cx="1488" cy="2112"/>
            </a:xfrm>
            <a:prstGeom prst="rect">
              <a:avLst/>
            </a:prstGeom>
            <a:solidFill>
              <a:schemeClr val="accent4">
                <a:alpha val="80000"/>
              </a:schemeClr>
            </a:solidFill>
            <a:ln w="9525">
              <a:noFill/>
              <a:miter lim="800000"/>
              <a:headEnd/>
              <a:tailEnd/>
            </a:ln>
          </p:spPr>
          <p:txBody>
            <a:bodyPr rot="10800000" wrap="none" anchor="ctr"/>
            <a:lstStyle/>
            <a:p>
              <a:endParaRPr lang="en-US" dirty="0"/>
            </a:p>
          </p:txBody>
        </p:sp>
        <p:sp>
          <p:nvSpPr>
            <p:cNvPr id="24" name="Text Box 13"/>
            <p:cNvSpPr txBox="1">
              <a:spLocks noChangeArrowheads="1"/>
            </p:cNvSpPr>
            <p:nvPr/>
          </p:nvSpPr>
          <p:spPr bwMode="auto">
            <a:xfrm>
              <a:off x="5664" y="2312"/>
              <a:ext cx="1152" cy="1008"/>
            </a:xfrm>
            <a:prstGeom prst="rect">
              <a:avLst/>
            </a:prstGeom>
            <a:noFill/>
            <a:ln w="9525">
              <a:noFill/>
              <a:miter lim="800000"/>
              <a:headEnd/>
              <a:tailEnd/>
            </a:ln>
          </p:spPr>
          <p:txBody>
            <a:bodyPr wrap="square">
              <a:spAutoFit/>
            </a:bodyPr>
            <a:lstStyle/>
            <a:p>
              <a:pPr defTabSz="979974"/>
              <a:r>
                <a:rPr lang="en-US" sz="1800" dirty="0"/>
                <a:t>High Availability &amp; Resiliency</a:t>
              </a:r>
            </a:p>
          </p:txBody>
        </p:sp>
        <p:grpSp>
          <p:nvGrpSpPr>
            <p:cNvPr id="25" name="Group 35"/>
            <p:cNvGrpSpPr>
              <a:grpSpLocks/>
            </p:cNvGrpSpPr>
            <p:nvPr/>
          </p:nvGrpSpPr>
          <p:grpSpPr bwMode="auto">
            <a:xfrm>
              <a:off x="6240" y="3648"/>
              <a:ext cx="672" cy="672"/>
              <a:chOff x="959" y="3264"/>
              <a:chExt cx="934" cy="934"/>
            </a:xfrm>
          </p:grpSpPr>
          <p:sp>
            <p:nvSpPr>
              <p:cNvPr id="26" name="Oval 399"/>
              <p:cNvSpPr>
                <a:spLocks noChangeArrowheads="1"/>
              </p:cNvSpPr>
              <p:nvPr/>
            </p:nvSpPr>
            <p:spPr bwMode="auto">
              <a:xfrm>
                <a:off x="1152" y="3456"/>
                <a:ext cx="548" cy="548"/>
              </a:xfrm>
              <a:prstGeom prst="ellipse">
                <a:avLst/>
              </a:prstGeom>
              <a:noFill/>
              <a:ln w="28575">
                <a:solidFill>
                  <a:srgbClr val="FFFFFF"/>
                </a:solidFill>
                <a:round/>
                <a:headEnd/>
                <a:tailEnd/>
              </a:ln>
            </p:spPr>
            <p:txBody>
              <a:bodyPr/>
              <a:lstStyle/>
              <a:p>
                <a:endParaRPr lang="en-US" dirty="0"/>
              </a:p>
            </p:txBody>
          </p:sp>
          <p:pic>
            <p:nvPicPr>
              <p:cNvPr id="27" name="Picture 37" descr="arrow"/>
              <p:cNvPicPr>
                <a:picLocks noChangeAspect="1" noChangeArrowheads="1"/>
              </p:cNvPicPr>
              <p:nvPr/>
            </p:nvPicPr>
            <p:blipFill>
              <a:blip r:embed="rId2" cstate="print"/>
              <a:srcRect/>
              <a:stretch>
                <a:fillRect/>
              </a:stretch>
            </p:blipFill>
            <p:spPr bwMode="auto">
              <a:xfrm>
                <a:off x="959" y="3264"/>
                <a:ext cx="934" cy="934"/>
              </a:xfrm>
              <a:prstGeom prst="rect">
                <a:avLst/>
              </a:prstGeom>
              <a:noFill/>
              <a:ln w="9525">
                <a:noFill/>
                <a:miter lim="800000"/>
                <a:headEnd/>
                <a:tailEnd/>
              </a:ln>
            </p:spPr>
          </p:pic>
        </p:grpSp>
      </p:grpSp>
      <p:sp>
        <p:nvSpPr>
          <p:cNvPr id="29" name="Rectangle 20"/>
          <p:cNvSpPr>
            <a:spLocks noChangeArrowheads="1"/>
          </p:cNvSpPr>
          <p:nvPr/>
        </p:nvSpPr>
        <p:spPr bwMode="auto">
          <a:xfrm rot="10800000">
            <a:off x="970612" y="3805238"/>
            <a:ext cx="7150375" cy="652463"/>
          </a:xfrm>
          <a:prstGeom prst="rect">
            <a:avLst/>
          </a:prstGeom>
          <a:solidFill>
            <a:schemeClr val="accent5">
              <a:alpha val="80000"/>
            </a:schemeClr>
          </a:solidFill>
          <a:ln w="9525">
            <a:noFill/>
            <a:miter lim="800000"/>
            <a:headEnd/>
            <a:tailEnd/>
          </a:ln>
        </p:spPr>
        <p:txBody>
          <a:bodyPr rot="10800000" wrap="none" lIns="68586" tIns="34294" rIns="68586" bIns="34294" anchor="ctr"/>
          <a:lstStyle/>
          <a:p>
            <a:pPr algn="ctr"/>
            <a:r>
              <a:rPr lang="en-US" sz="2100" dirty="0"/>
              <a:t>Hyper-V: A More Complete Virtualization Platform</a:t>
            </a:r>
          </a:p>
        </p:txBody>
      </p:sp>
      <p:pic>
        <p:nvPicPr>
          <p:cNvPr id="28"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6945227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750"/>
                                        <p:tgtEl>
                                          <p:spTgt spid="4"/>
                                        </p:tgtEl>
                                      </p:cBhvr>
                                    </p:animEffect>
                                    <p:anim calcmode="lin" valueType="num">
                                      <p:cBhvr>
                                        <p:cTn id="8" dur="750" fill="hold"/>
                                        <p:tgtEl>
                                          <p:spTgt spid="4"/>
                                        </p:tgtEl>
                                        <p:attrNameLst>
                                          <p:attrName>ppt_x</p:attrName>
                                        </p:attrNameLst>
                                      </p:cBhvr>
                                      <p:tavLst>
                                        <p:tav tm="0">
                                          <p:val>
                                            <p:strVal val="#ppt_x"/>
                                          </p:val>
                                        </p:tav>
                                        <p:tav tm="100000">
                                          <p:val>
                                            <p:strVal val="#ppt_x"/>
                                          </p:val>
                                        </p:tav>
                                      </p:tavLst>
                                    </p:anim>
                                    <p:anim calcmode="lin" valueType="num">
                                      <p:cBhvr>
                                        <p:cTn id="9" dur="750" fill="hold"/>
                                        <p:tgtEl>
                                          <p:spTgt spid="4"/>
                                        </p:tgtEl>
                                        <p:attrNameLst>
                                          <p:attrName>ppt_y</p:attrName>
                                        </p:attrNameLst>
                                      </p:cBhvr>
                                      <p:tavLst>
                                        <p:tav tm="0">
                                          <p:val>
                                            <p:strVal val="#ppt_y+.1"/>
                                          </p:val>
                                        </p:tav>
                                        <p:tav tm="100000">
                                          <p:val>
                                            <p:strVal val="#ppt_y"/>
                                          </p:val>
                                        </p:tav>
                                      </p:tavLst>
                                    </p:anim>
                                  </p:childTnLst>
                                </p:cTn>
                              </p:par>
                            </p:childTnLst>
                          </p:cTn>
                        </p:par>
                        <p:par>
                          <p:cTn id="10" fill="hold">
                            <p:stCondLst>
                              <p:cond delay="750"/>
                            </p:stCondLst>
                            <p:childTnLst>
                              <p:par>
                                <p:cTn id="11" presetID="42" presetClass="entr" presetSubtype="0" fill="hold" nodeType="after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750"/>
                                        <p:tgtEl>
                                          <p:spTgt spid="10"/>
                                        </p:tgtEl>
                                      </p:cBhvr>
                                    </p:animEffect>
                                    <p:anim calcmode="lin" valueType="num">
                                      <p:cBhvr>
                                        <p:cTn id="14" dur="750" fill="hold"/>
                                        <p:tgtEl>
                                          <p:spTgt spid="10"/>
                                        </p:tgtEl>
                                        <p:attrNameLst>
                                          <p:attrName>ppt_x</p:attrName>
                                        </p:attrNameLst>
                                      </p:cBhvr>
                                      <p:tavLst>
                                        <p:tav tm="0">
                                          <p:val>
                                            <p:strVal val="#ppt_x"/>
                                          </p:val>
                                        </p:tav>
                                        <p:tav tm="100000">
                                          <p:val>
                                            <p:strVal val="#ppt_x"/>
                                          </p:val>
                                        </p:tav>
                                      </p:tavLst>
                                    </p:anim>
                                    <p:anim calcmode="lin" valueType="num">
                                      <p:cBhvr>
                                        <p:cTn id="15" dur="750" fill="hold"/>
                                        <p:tgtEl>
                                          <p:spTgt spid="10"/>
                                        </p:tgtEl>
                                        <p:attrNameLst>
                                          <p:attrName>ppt_y</p:attrName>
                                        </p:attrNameLst>
                                      </p:cBhvr>
                                      <p:tavLst>
                                        <p:tav tm="0">
                                          <p:val>
                                            <p:strVal val="#ppt_y+.1"/>
                                          </p:val>
                                        </p:tav>
                                        <p:tav tm="100000">
                                          <p:val>
                                            <p:strVal val="#ppt_y"/>
                                          </p:val>
                                        </p:tav>
                                      </p:tavLst>
                                    </p:anim>
                                  </p:childTnLst>
                                </p:cTn>
                              </p:par>
                            </p:childTnLst>
                          </p:cTn>
                        </p:par>
                        <p:par>
                          <p:cTn id="16" fill="hold">
                            <p:stCondLst>
                              <p:cond delay="1500"/>
                            </p:stCondLst>
                            <p:childTnLst>
                              <p:par>
                                <p:cTn id="17" presetID="42" presetClass="entr" presetSubtype="0"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750"/>
                                        <p:tgtEl>
                                          <p:spTgt spid="16"/>
                                        </p:tgtEl>
                                      </p:cBhvr>
                                    </p:animEffect>
                                    <p:anim calcmode="lin" valueType="num">
                                      <p:cBhvr>
                                        <p:cTn id="20" dur="750" fill="hold"/>
                                        <p:tgtEl>
                                          <p:spTgt spid="16"/>
                                        </p:tgtEl>
                                        <p:attrNameLst>
                                          <p:attrName>ppt_x</p:attrName>
                                        </p:attrNameLst>
                                      </p:cBhvr>
                                      <p:tavLst>
                                        <p:tav tm="0">
                                          <p:val>
                                            <p:strVal val="#ppt_x"/>
                                          </p:val>
                                        </p:tav>
                                        <p:tav tm="100000">
                                          <p:val>
                                            <p:strVal val="#ppt_x"/>
                                          </p:val>
                                        </p:tav>
                                      </p:tavLst>
                                    </p:anim>
                                    <p:anim calcmode="lin" valueType="num">
                                      <p:cBhvr>
                                        <p:cTn id="21" dur="750" fill="hold"/>
                                        <p:tgtEl>
                                          <p:spTgt spid="16"/>
                                        </p:tgtEl>
                                        <p:attrNameLst>
                                          <p:attrName>ppt_y</p:attrName>
                                        </p:attrNameLst>
                                      </p:cBhvr>
                                      <p:tavLst>
                                        <p:tav tm="0">
                                          <p:val>
                                            <p:strVal val="#ppt_y+.1"/>
                                          </p:val>
                                        </p:tav>
                                        <p:tav tm="100000">
                                          <p:val>
                                            <p:strVal val="#ppt_y"/>
                                          </p:val>
                                        </p:tav>
                                      </p:tavLst>
                                    </p:anim>
                                  </p:childTnLst>
                                </p:cTn>
                              </p:par>
                            </p:childTnLst>
                          </p:cTn>
                        </p:par>
                        <p:par>
                          <p:cTn id="22" fill="hold">
                            <p:stCondLst>
                              <p:cond delay="2250"/>
                            </p:stCondLst>
                            <p:childTnLst>
                              <p:par>
                                <p:cTn id="23" presetID="42" presetClass="entr" presetSubtype="0" fill="hold" nodeType="afterEffect">
                                  <p:stCondLst>
                                    <p:cond delay="0"/>
                                  </p:stCondLst>
                                  <p:childTnLst>
                                    <p:set>
                                      <p:cBhvr>
                                        <p:cTn id="24" dur="1" fill="hold">
                                          <p:stCondLst>
                                            <p:cond delay="0"/>
                                          </p:stCondLst>
                                        </p:cTn>
                                        <p:tgtEl>
                                          <p:spTgt spid="22"/>
                                        </p:tgtEl>
                                        <p:attrNameLst>
                                          <p:attrName>style.visibility</p:attrName>
                                        </p:attrNameLst>
                                      </p:cBhvr>
                                      <p:to>
                                        <p:strVal val="visible"/>
                                      </p:to>
                                    </p:set>
                                    <p:animEffect transition="in" filter="fade">
                                      <p:cBhvr>
                                        <p:cTn id="25" dur="750"/>
                                        <p:tgtEl>
                                          <p:spTgt spid="22"/>
                                        </p:tgtEl>
                                      </p:cBhvr>
                                    </p:animEffect>
                                    <p:anim calcmode="lin" valueType="num">
                                      <p:cBhvr>
                                        <p:cTn id="26" dur="750" fill="hold"/>
                                        <p:tgtEl>
                                          <p:spTgt spid="22"/>
                                        </p:tgtEl>
                                        <p:attrNameLst>
                                          <p:attrName>ppt_x</p:attrName>
                                        </p:attrNameLst>
                                      </p:cBhvr>
                                      <p:tavLst>
                                        <p:tav tm="0">
                                          <p:val>
                                            <p:strVal val="#ppt_x"/>
                                          </p:val>
                                        </p:tav>
                                        <p:tav tm="100000">
                                          <p:val>
                                            <p:strVal val="#ppt_x"/>
                                          </p:val>
                                        </p:tav>
                                      </p:tavLst>
                                    </p:anim>
                                    <p:anim calcmode="lin" valueType="num">
                                      <p:cBhvr>
                                        <p:cTn id="27" dur="750" fill="hold"/>
                                        <p:tgtEl>
                                          <p:spTgt spid="22"/>
                                        </p:tgtEl>
                                        <p:attrNameLst>
                                          <p:attrName>ppt_y</p:attrName>
                                        </p:attrNameLst>
                                      </p:cBhvr>
                                      <p:tavLst>
                                        <p:tav tm="0">
                                          <p:val>
                                            <p:strVal val="#ppt_y+.1"/>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grpId="0" nodeType="clickEffect">
                                  <p:stCondLst>
                                    <p:cond delay="0"/>
                                  </p:stCondLst>
                                  <p:childTnLst>
                                    <p:set>
                                      <p:cBhvr>
                                        <p:cTn id="31" dur="1" fill="hold">
                                          <p:stCondLst>
                                            <p:cond delay="0"/>
                                          </p:stCondLst>
                                        </p:cTn>
                                        <p:tgtEl>
                                          <p:spTgt spid="29"/>
                                        </p:tgtEl>
                                        <p:attrNameLst>
                                          <p:attrName>style.visibility</p:attrName>
                                        </p:attrNameLst>
                                      </p:cBhvr>
                                      <p:to>
                                        <p:strVal val="visible"/>
                                      </p:to>
                                    </p:set>
                                    <p:animEffect transition="in" filter="wipe(left)">
                                      <p:cBhvr>
                                        <p:cTn id="3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Lst>
  </p:timing>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duct View</a:t>
            </a:r>
            <a:endParaRPr lang="en-US" dirty="0"/>
          </a:p>
        </p:txBody>
      </p:sp>
      <p:sp>
        <p:nvSpPr>
          <p:cNvPr id="4" name="Rectangle 3"/>
          <p:cNvSpPr/>
          <p:nvPr/>
        </p:nvSpPr>
        <p:spPr>
          <a:xfrm>
            <a:off x="570458" y="4225439"/>
            <a:ext cx="1943606" cy="466733"/>
          </a:xfrm>
          <a:prstGeom prst="rect">
            <a:avLst/>
          </a:prstGeom>
          <a:solidFill>
            <a:schemeClr val="bg2">
              <a:lumMod val="75000"/>
            </a:schemeClr>
          </a:solidFill>
          <a:ln>
            <a:noFill/>
          </a:ln>
          <a:effectLst/>
        </p:spPr>
        <p:style>
          <a:lnRef idx="2">
            <a:schemeClr val="accent6">
              <a:shade val="50000"/>
            </a:schemeClr>
          </a:lnRef>
          <a:fillRef idx="1">
            <a:schemeClr val="accent6"/>
          </a:fillRef>
          <a:effectRef idx="0">
            <a:schemeClr val="accent6"/>
          </a:effectRef>
          <a:fontRef idx="minor">
            <a:schemeClr val="lt1"/>
          </a:fontRef>
        </p:style>
        <p:txBody>
          <a:bodyPr lIns="68586" tIns="137172" rIns="68586" bIns="137172" rtlCol="0" anchor="ctr"/>
          <a:lstStyle/>
          <a:p>
            <a:pPr algn="ctr"/>
            <a:r>
              <a:rPr lang="en-GB" sz="1800" b="1" dirty="0">
                <a:solidFill>
                  <a:schemeClr val="tx1"/>
                </a:solidFill>
                <a:latin typeface="Segoe UI Light" pitchFamily="34" charset="0"/>
                <a:cs typeface="Segoe UI Light" pitchFamily="34" charset="0"/>
              </a:rPr>
              <a:t>Hypervisor</a:t>
            </a:r>
          </a:p>
        </p:txBody>
      </p:sp>
      <p:sp>
        <p:nvSpPr>
          <p:cNvPr id="5" name="Rectangle 4"/>
          <p:cNvSpPr/>
          <p:nvPr/>
        </p:nvSpPr>
        <p:spPr>
          <a:xfrm>
            <a:off x="570458" y="3711089"/>
            <a:ext cx="1943606" cy="466733"/>
          </a:xfrm>
          <a:prstGeom prst="rect">
            <a:avLst/>
          </a:prstGeom>
          <a:solidFill>
            <a:schemeClr val="bg2">
              <a:lumMod val="75000"/>
            </a:schemeClr>
          </a:solidFill>
          <a:ln>
            <a:noFill/>
          </a:ln>
          <a:effectLst/>
        </p:spPr>
        <p:style>
          <a:lnRef idx="2">
            <a:schemeClr val="accent6">
              <a:shade val="50000"/>
            </a:schemeClr>
          </a:lnRef>
          <a:fillRef idx="1">
            <a:schemeClr val="accent6"/>
          </a:fillRef>
          <a:effectRef idx="0">
            <a:schemeClr val="accent6"/>
          </a:effectRef>
          <a:fontRef idx="minor">
            <a:schemeClr val="lt1"/>
          </a:fontRef>
        </p:style>
        <p:txBody>
          <a:bodyPr lIns="68586" tIns="137172" rIns="68586" bIns="137172" rtlCol="0" anchor="ctr"/>
          <a:lstStyle/>
          <a:p>
            <a:pPr algn="ctr"/>
            <a:r>
              <a:rPr lang="en-GB" sz="1800" b="1" dirty="0">
                <a:solidFill>
                  <a:schemeClr val="tx1"/>
                </a:solidFill>
                <a:latin typeface="Segoe UI Light" pitchFamily="34" charset="0"/>
                <a:cs typeface="Segoe UI Light" pitchFamily="34" charset="0"/>
              </a:rPr>
              <a:t>VM Management</a:t>
            </a:r>
          </a:p>
        </p:txBody>
      </p:sp>
      <p:sp>
        <p:nvSpPr>
          <p:cNvPr id="6" name="Rectangle 5"/>
          <p:cNvSpPr/>
          <p:nvPr/>
        </p:nvSpPr>
        <p:spPr>
          <a:xfrm>
            <a:off x="570458" y="2682389"/>
            <a:ext cx="1943606" cy="466733"/>
          </a:xfrm>
          <a:prstGeom prst="rect">
            <a:avLst/>
          </a:prstGeom>
          <a:solidFill>
            <a:schemeClr val="bg2">
              <a:lumMod val="75000"/>
            </a:schemeClr>
          </a:solidFill>
          <a:ln>
            <a:noFill/>
          </a:ln>
          <a:effectLst/>
        </p:spPr>
        <p:style>
          <a:lnRef idx="2">
            <a:schemeClr val="accent6">
              <a:shade val="50000"/>
            </a:schemeClr>
          </a:lnRef>
          <a:fillRef idx="1">
            <a:schemeClr val="accent6"/>
          </a:fillRef>
          <a:effectRef idx="0">
            <a:schemeClr val="accent6"/>
          </a:effectRef>
          <a:fontRef idx="minor">
            <a:schemeClr val="lt1"/>
          </a:fontRef>
        </p:style>
        <p:txBody>
          <a:bodyPr lIns="68586" tIns="137172" rIns="68586" bIns="137172" rtlCol="0" anchor="ctr"/>
          <a:lstStyle/>
          <a:p>
            <a:pPr algn="ctr"/>
            <a:r>
              <a:rPr lang="en-GB" sz="1800" b="1" dirty="0">
                <a:solidFill>
                  <a:schemeClr val="tx1"/>
                </a:solidFill>
                <a:latin typeface="Segoe UI Light" pitchFamily="34" charset="0"/>
                <a:cs typeface="Segoe UI Light" pitchFamily="34" charset="0"/>
              </a:rPr>
              <a:t>Automation</a:t>
            </a:r>
          </a:p>
        </p:txBody>
      </p:sp>
      <p:sp>
        <p:nvSpPr>
          <p:cNvPr id="7" name="Rectangle 6"/>
          <p:cNvSpPr/>
          <p:nvPr/>
        </p:nvSpPr>
        <p:spPr>
          <a:xfrm>
            <a:off x="570458" y="1653689"/>
            <a:ext cx="1943606" cy="466733"/>
          </a:xfrm>
          <a:prstGeom prst="rect">
            <a:avLst/>
          </a:prstGeom>
          <a:solidFill>
            <a:schemeClr val="bg2">
              <a:lumMod val="75000"/>
            </a:schemeClr>
          </a:solidFill>
          <a:ln>
            <a:noFill/>
          </a:ln>
          <a:effectLst/>
        </p:spPr>
        <p:style>
          <a:lnRef idx="2">
            <a:schemeClr val="accent6">
              <a:shade val="50000"/>
            </a:schemeClr>
          </a:lnRef>
          <a:fillRef idx="1">
            <a:schemeClr val="accent6"/>
          </a:fillRef>
          <a:effectRef idx="0">
            <a:schemeClr val="accent6"/>
          </a:effectRef>
          <a:fontRef idx="minor">
            <a:schemeClr val="lt1"/>
          </a:fontRef>
        </p:style>
        <p:txBody>
          <a:bodyPr lIns="68586" tIns="137172" rIns="68586" bIns="137172" rtlCol="0" anchor="ctr"/>
          <a:lstStyle/>
          <a:p>
            <a:pPr algn="ctr"/>
            <a:r>
              <a:rPr lang="en-GB" sz="1800" b="1" dirty="0">
                <a:solidFill>
                  <a:schemeClr val="tx1"/>
                </a:solidFill>
                <a:latin typeface="Segoe UI Light" pitchFamily="34" charset="0"/>
                <a:cs typeface="Segoe UI Light" pitchFamily="34" charset="0"/>
              </a:rPr>
              <a:t>Service Mgmt.</a:t>
            </a:r>
          </a:p>
        </p:txBody>
      </p:sp>
      <p:sp>
        <p:nvSpPr>
          <p:cNvPr id="8" name="Rectangle 7"/>
          <p:cNvSpPr/>
          <p:nvPr/>
        </p:nvSpPr>
        <p:spPr>
          <a:xfrm>
            <a:off x="570458" y="1139339"/>
            <a:ext cx="1943606" cy="466733"/>
          </a:xfrm>
          <a:prstGeom prst="rect">
            <a:avLst/>
          </a:prstGeom>
          <a:solidFill>
            <a:schemeClr val="bg2">
              <a:lumMod val="75000"/>
            </a:schemeClr>
          </a:solidFill>
          <a:ln>
            <a:noFill/>
          </a:ln>
          <a:effectLst/>
        </p:spPr>
        <p:style>
          <a:lnRef idx="2">
            <a:schemeClr val="accent6">
              <a:shade val="50000"/>
            </a:schemeClr>
          </a:lnRef>
          <a:fillRef idx="1">
            <a:schemeClr val="accent6"/>
          </a:fillRef>
          <a:effectRef idx="0">
            <a:schemeClr val="accent6"/>
          </a:effectRef>
          <a:fontRef idx="minor">
            <a:schemeClr val="lt1"/>
          </a:fontRef>
        </p:style>
        <p:txBody>
          <a:bodyPr lIns="68586" tIns="137172" rIns="68586" bIns="137172" rtlCol="0" anchor="ctr"/>
          <a:lstStyle/>
          <a:p>
            <a:pPr algn="ctr"/>
            <a:r>
              <a:rPr lang="en-GB" sz="1800" b="1" dirty="0">
                <a:solidFill>
                  <a:schemeClr val="tx1"/>
                </a:solidFill>
                <a:latin typeface="Segoe UI Light" pitchFamily="34" charset="0"/>
                <a:cs typeface="Segoe UI Light" pitchFamily="34" charset="0"/>
              </a:rPr>
              <a:t>Self-Service</a:t>
            </a:r>
          </a:p>
        </p:txBody>
      </p:sp>
      <p:sp>
        <p:nvSpPr>
          <p:cNvPr id="45" name="Rectangle 44"/>
          <p:cNvSpPr/>
          <p:nvPr/>
        </p:nvSpPr>
        <p:spPr>
          <a:xfrm>
            <a:off x="570458" y="3196739"/>
            <a:ext cx="1943606" cy="466733"/>
          </a:xfrm>
          <a:prstGeom prst="rect">
            <a:avLst/>
          </a:prstGeom>
          <a:solidFill>
            <a:schemeClr val="bg2">
              <a:lumMod val="75000"/>
            </a:schemeClr>
          </a:solidFill>
          <a:ln>
            <a:noFill/>
          </a:ln>
          <a:effectLst/>
        </p:spPr>
        <p:style>
          <a:lnRef idx="2">
            <a:schemeClr val="accent6">
              <a:shade val="50000"/>
            </a:schemeClr>
          </a:lnRef>
          <a:fillRef idx="1">
            <a:schemeClr val="accent6"/>
          </a:fillRef>
          <a:effectRef idx="0">
            <a:schemeClr val="accent6"/>
          </a:effectRef>
          <a:fontRef idx="minor">
            <a:schemeClr val="lt1"/>
          </a:fontRef>
        </p:style>
        <p:txBody>
          <a:bodyPr lIns="68586" tIns="137172" rIns="68586" bIns="137172" rtlCol="0" anchor="ctr"/>
          <a:lstStyle/>
          <a:p>
            <a:pPr algn="ctr"/>
            <a:r>
              <a:rPr lang="en-GB" sz="1800" b="1" dirty="0">
                <a:solidFill>
                  <a:schemeClr val="tx1"/>
                </a:solidFill>
                <a:latin typeface="Segoe UI Light" pitchFamily="34" charset="0"/>
                <a:cs typeface="Segoe UI Light" pitchFamily="34" charset="0"/>
              </a:rPr>
              <a:t>Monitoring</a:t>
            </a:r>
          </a:p>
        </p:txBody>
      </p:sp>
      <p:sp>
        <p:nvSpPr>
          <p:cNvPr id="46" name="Rectangle 45"/>
          <p:cNvSpPr/>
          <p:nvPr/>
        </p:nvSpPr>
        <p:spPr>
          <a:xfrm>
            <a:off x="2799888" y="4225439"/>
            <a:ext cx="2858244" cy="466733"/>
          </a:xfrm>
          <a:prstGeom prst="rect">
            <a:avLst/>
          </a:prstGeom>
          <a:solidFill>
            <a:schemeClr val="bg2">
              <a:lumMod val="75000"/>
            </a:schemeClr>
          </a:solidFill>
          <a:ln>
            <a:noFill/>
          </a:ln>
          <a:effectLst/>
        </p:spPr>
        <p:style>
          <a:lnRef idx="2">
            <a:schemeClr val="accent6">
              <a:shade val="50000"/>
            </a:schemeClr>
          </a:lnRef>
          <a:fillRef idx="1">
            <a:schemeClr val="accent6"/>
          </a:fillRef>
          <a:effectRef idx="0">
            <a:schemeClr val="accent6"/>
          </a:effectRef>
          <a:fontRef idx="minor">
            <a:schemeClr val="lt1"/>
          </a:fontRef>
        </p:style>
        <p:txBody>
          <a:bodyPr lIns="68586" tIns="137172" rIns="68586" bIns="137172" rtlCol="0" anchor="ctr"/>
          <a:lstStyle/>
          <a:p>
            <a:pPr algn="ctr"/>
            <a:r>
              <a:rPr lang="en-GB" sz="1800" dirty="0">
                <a:solidFill>
                  <a:schemeClr val="tx1"/>
                </a:solidFill>
                <a:latin typeface="Segoe UI Light" pitchFamily="34" charset="0"/>
                <a:cs typeface="Segoe UI Light" pitchFamily="34" charset="0"/>
              </a:rPr>
              <a:t>vSphere Hypervisor</a:t>
            </a:r>
          </a:p>
        </p:txBody>
      </p:sp>
      <p:sp>
        <p:nvSpPr>
          <p:cNvPr id="47" name="Rectangle 46"/>
          <p:cNvSpPr/>
          <p:nvPr/>
        </p:nvSpPr>
        <p:spPr>
          <a:xfrm>
            <a:off x="2799888" y="3711089"/>
            <a:ext cx="2858244" cy="466733"/>
          </a:xfrm>
          <a:prstGeom prst="rect">
            <a:avLst/>
          </a:prstGeom>
          <a:solidFill>
            <a:schemeClr val="bg2">
              <a:lumMod val="75000"/>
            </a:schemeClr>
          </a:solidFill>
          <a:ln>
            <a:noFill/>
          </a:ln>
          <a:effectLst/>
        </p:spPr>
        <p:style>
          <a:lnRef idx="2">
            <a:schemeClr val="accent6">
              <a:shade val="50000"/>
            </a:schemeClr>
          </a:lnRef>
          <a:fillRef idx="1">
            <a:schemeClr val="accent6"/>
          </a:fillRef>
          <a:effectRef idx="0">
            <a:schemeClr val="accent6"/>
          </a:effectRef>
          <a:fontRef idx="minor">
            <a:schemeClr val="lt1"/>
          </a:fontRef>
        </p:style>
        <p:txBody>
          <a:bodyPr lIns="68586" tIns="137172" rIns="68586" bIns="137172" rtlCol="0" anchor="ctr"/>
          <a:lstStyle/>
          <a:p>
            <a:pPr algn="ctr"/>
            <a:r>
              <a:rPr lang="en-GB" dirty="0" smtClean="0">
                <a:solidFill>
                  <a:schemeClr val="tx1"/>
                </a:solidFill>
                <a:latin typeface="Segoe UI Light" pitchFamily="34" charset="0"/>
                <a:cs typeface="Segoe UI Light" pitchFamily="34" charset="0"/>
              </a:rPr>
              <a:t>vCenter</a:t>
            </a:r>
            <a:br>
              <a:rPr lang="en-GB" dirty="0" smtClean="0">
                <a:solidFill>
                  <a:schemeClr val="tx1"/>
                </a:solidFill>
                <a:latin typeface="Segoe UI Light" pitchFamily="34" charset="0"/>
                <a:cs typeface="Segoe UI Light" pitchFamily="34" charset="0"/>
              </a:rPr>
            </a:br>
            <a:r>
              <a:rPr lang="en-GB" dirty="0" smtClean="0">
                <a:solidFill>
                  <a:schemeClr val="tx1"/>
                </a:solidFill>
                <a:latin typeface="Segoe UI Light" pitchFamily="34" charset="0"/>
                <a:cs typeface="Segoe UI Light" pitchFamily="34" charset="0"/>
              </a:rPr>
              <a:t>vFabric Application Director</a:t>
            </a:r>
            <a:endParaRPr lang="en-GB" dirty="0">
              <a:solidFill>
                <a:schemeClr val="tx1"/>
              </a:solidFill>
              <a:latin typeface="Segoe UI Light" pitchFamily="34" charset="0"/>
              <a:cs typeface="Segoe UI Light" pitchFamily="34" charset="0"/>
            </a:endParaRPr>
          </a:p>
        </p:txBody>
      </p:sp>
      <p:sp>
        <p:nvSpPr>
          <p:cNvPr id="48" name="Rectangle 47"/>
          <p:cNvSpPr/>
          <p:nvPr/>
        </p:nvSpPr>
        <p:spPr>
          <a:xfrm>
            <a:off x="2799888" y="2682389"/>
            <a:ext cx="2858244" cy="466733"/>
          </a:xfrm>
          <a:prstGeom prst="rect">
            <a:avLst/>
          </a:prstGeom>
          <a:solidFill>
            <a:schemeClr val="bg2">
              <a:lumMod val="75000"/>
            </a:schemeClr>
          </a:solidFill>
          <a:ln>
            <a:noFill/>
          </a:ln>
          <a:effectLst/>
        </p:spPr>
        <p:style>
          <a:lnRef idx="2">
            <a:schemeClr val="accent6">
              <a:shade val="50000"/>
            </a:schemeClr>
          </a:lnRef>
          <a:fillRef idx="1">
            <a:schemeClr val="accent6"/>
          </a:fillRef>
          <a:effectRef idx="0">
            <a:schemeClr val="accent6"/>
          </a:effectRef>
          <a:fontRef idx="minor">
            <a:schemeClr val="lt1"/>
          </a:fontRef>
        </p:style>
        <p:txBody>
          <a:bodyPr lIns="68586" tIns="137172" rIns="68586" bIns="137172" rtlCol="0" anchor="ctr"/>
          <a:lstStyle/>
          <a:p>
            <a:pPr algn="ctr"/>
            <a:r>
              <a:rPr lang="en-GB" sz="1800" dirty="0">
                <a:solidFill>
                  <a:schemeClr val="tx1"/>
                </a:solidFill>
                <a:latin typeface="Segoe UI Light" pitchFamily="34" charset="0"/>
                <a:cs typeface="Segoe UI Light" pitchFamily="34" charset="0"/>
              </a:rPr>
              <a:t>vCenter Orchestrator</a:t>
            </a:r>
          </a:p>
        </p:txBody>
      </p:sp>
      <p:sp>
        <p:nvSpPr>
          <p:cNvPr id="49" name="Rectangle 48"/>
          <p:cNvSpPr/>
          <p:nvPr/>
        </p:nvSpPr>
        <p:spPr>
          <a:xfrm>
            <a:off x="2799888" y="1653689"/>
            <a:ext cx="2858244" cy="466733"/>
          </a:xfrm>
          <a:prstGeom prst="rect">
            <a:avLst/>
          </a:prstGeom>
          <a:solidFill>
            <a:schemeClr val="bg2">
              <a:lumMod val="75000"/>
            </a:schemeClr>
          </a:solidFill>
          <a:ln>
            <a:noFill/>
          </a:ln>
          <a:effectLst/>
        </p:spPr>
        <p:style>
          <a:lnRef idx="2">
            <a:schemeClr val="accent6">
              <a:shade val="50000"/>
            </a:schemeClr>
          </a:lnRef>
          <a:fillRef idx="1">
            <a:schemeClr val="accent6"/>
          </a:fillRef>
          <a:effectRef idx="0">
            <a:schemeClr val="accent6"/>
          </a:effectRef>
          <a:fontRef idx="minor">
            <a:schemeClr val="lt1"/>
          </a:fontRef>
        </p:style>
        <p:txBody>
          <a:bodyPr lIns="68586" tIns="137172" rIns="68586" bIns="137172" rtlCol="0" anchor="ctr"/>
          <a:lstStyle/>
          <a:p>
            <a:pPr algn="ctr"/>
            <a:r>
              <a:rPr lang="en-GB" sz="1800" dirty="0">
                <a:solidFill>
                  <a:schemeClr val="tx1"/>
                </a:solidFill>
                <a:latin typeface="Segoe UI Light" pitchFamily="34" charset="0"/>
                <a:cs typeface="Segoe UI Light" pitchFamily="34" charset="0"/>
              </a:rPr>
              <a:t>VMware Service Manager</a:t>
            </a:r>
          </a:p>
        </p:txBody>
      </p:sp>
      <p:sp>
        <p:nvSpPr>
          <p:cNvPr id="50" name="Rectangle 49"/>
          <p:cNvSpPr/>
          <p:nvPr/>
        </p:nvSpPr>
        <p:spPr>
          <a:xfrm>
            <a:off x="2799888" y="1139339"/>
            <a:ext cx="2858244" cy="466733"/>
          </a:xfrm>
          <a:prstGeom prst="rect">
            <a:avLst/>
          </a:prstGeom>
          <a:solidFill>
            <a:schemeClr val="bg2">
              <a:lumMod val="75000"/>
            </a:schemeClr>
          </a:solidFill>
          <a:ln>
            <a:noFill/>
          </a:ln>
          <a:effectLst/>
        </p:spPr>
        <p:style>
          <a:lnRef idx="2">
            <a:schemeClr val="accent6">
              <a:shade val="50000"/>
            </a:schemeClr>
          </a:lnRef>
          <a:fillRef idx="1">
            <a:schemeClr val="accent6"/>
          </a:fillRef>
          <a:effectRef idx="0">
            <a:schemeClr val="accent6"/>
          </a:effectRef>
          <a:fontRef idx="minor">
            <a:schemeClr val="lt1"/>
          </a:fontRef>
        </p:style>
        <p:txBody>
          <a:bodyPr lIns="68586" tIns="137172" rIns="68586" bIns="137172" rtlCol="0" anchor="ctr"/>
          <a:lstStyle/>
          <a:p>
            <a:pPr algn="ctr"/>
            <a:r>
              <a:rPr lang="en-GB" sz="1800" dirty="0">
                <a:solidFill>
                  <a:schemeClr val="tx1"/>
                </a:solidFill>
                <a:latin typeface="Segoe UI Light" pitchFamily="34" charset="0"/>
                <a:cs typeface="Segoe UI Light" pitchFamily="34" charset="0"/>
              </a:rPr>
              <a:t>vCloud Director</a:t>
            </a:r>
          </a:p>
        </p:txBody>
      </p:sp>
      <p:sp>
        <p:nvSpPr>
          <p:cNvPr id="51" name="Rectangle 50"/>
          <p:cNvSpPr/>
          <p:nvPr/>
        </p:nvSpPr>
        <p:spPr>
          <a:xfrm>
            <a:off x="2799888" y="3196739"/>
            <a:ext cx="2858244" cy="466733"/>
          </a:xfrm>
          <a:prstGeom prst="rect">
            <a:avLst/>
          </a:prstGeom>
          <a:solidFill>
            <a:schemeClr val="bg2">
              <a:lumMod val="75000"/>
            </a:schemeClr>
          </a:solidFill>
          <a:ln>
            <a:noFill/>
          </a:ln>
          <a:effectLst/>
        </p:spPr>
        <p:style>
          <a:lnRef idx="2">
            <a:schemeClr val="accent6">
              <a:shade val="50000"/>
            </a:schemeClr>
          </a:lnRef>
          <a:fillRef idx="1">
            <a:schemeClr val="accent6"/>
          </a:fillRef>
          <a:effectRef idx="0">
            <a:schemeClr val="accent6"/>
          </a:effectRef>
          <a:fontRef idx="minor">
            <a:schemeClr val="lt1"/>
          </a:fontRef>
        </p:style>
        <p:txBody>
          <a:bodyPr lIns="68586" tIns="137172" rIns="68586" bIns="137172" rtlCol="0" anchor="ctr"/>
          <a:lstStyle/>
          <a:p>
            <a:pPr algn="ctr"/>
            <a:r>
              <a:rPr lang="en-GB" dirty="0" smtClean="0">
                <a:solidFill>
                  <a:schemeClr val="tx1"/>
                </a:solidFill>
                <a:latin typeface="Segoe UI Light" pitchFamily="34" charset="0"/>
                <a:cs typeface="Segoe UI Light" pitchFamily="34" charset="0"/>
              </a:rPr>
              <a:t>vCenter Ops Mgmt. Suite</a:t>
            </a:r>
          </a:p>
          <a:p>
            <a:pPr algn="ctr"/>
            <a:r>
              <a:rPr lang="en-GB" dirty="0" smtClean="0">
                <a:solidFill>
                  <a:schemeClr val="tx1"/>
                </a:solidFill>
                <a:latin typeface="Segoe UI Light" pitchFamily="34" charset="0"/>
                <a:cs typeface="Segoe UI Light" pitchFamily="34" charset="0"/>
              </a:rPr>
              <a:t>vFabric App Perf Mgr, vFabric Hyperic</a:t>
            </a:r>
            <a:endParaRPr lang="en-GB" dirty="0">
              <a:solidFill>
                <a:schemeClr val="tx1"/>
              </a:solidFill>
              <a:latin typeface="Segoe UI Light" pitchFamily="34" charset="0"/>
              <a:cs typeface="Segoe UI Light" pitchFamily="34" charset="0"/>
            </a:endParaRPr>
          </a:p>
        </p:txBody>
      </p:sp>
      <p:sp>
        <p:nvSpPr>
          <p:cNvPr id="52" name="Rectangle 51"/>
          <p:cNvSpPr/>
          <p:nvPr/>
        </p:nvSpPr>
        <p:spPr>
          <a:xfrm>
            <a:off x="5772462" y="4225439"/>
            <a:ext cx="2858244" cy="466733"/>
          </a:xfrm>
          <a:prstGeom prst="rect">
            <a:avLst/>
          </a:prstGeom>
          <a:solidFill>
            <a:schemeClr val="bg2">
              <a:lumMod val="75000"/>
            </a:schemeClr>
          </a:solidFill>
          <a:ln>
            <a:noFill/>
          </a:ln>
          <a:effectLst/>
        </p:spPr>
        <p:style>
          <a:lnRef idx="2">
            <a:schemeClr val="accent6">
              <a:shade val="50000"/>
            </a:schemeClr>
          </a:lnRef>
          <a:fillRef idx="1">
            <a:schemeClr val="accent6"/>
          </a:fillRef>
          <a:effectRef idx="0">
            <a:schemeClr val="accent6"/>
          </a:effectRef>
          <a:fontRef idx="minor">
            <a:schemeClr val="lt1"/>
          </a:fontRef>
        </p:style>
        <p:txBody>
          <a:bodyPr lIns="68586" tIns="137172" rIns="68586" bIns="137172" rtlCol="0" anchor="ctr"/>
          <a:lstStyle/>
          <a:p>
            <a:pPr algn="ctr"/>
            <a:r>
              <a:rPr lang="en-GB" sz="1800" dirty="0">
                <a:solidFill>
                  <a:schemeClr val="tx1"/>
                </a:solidFill>
                <a:latin typeface="Segoe UI Light" pitchFamily="34" charset="0"/>
                <a:cs typeface="Segoe UI Light" pitchFamily="34" charset="0"/>
              </a:rPr>
              <a:t>Hyper-V</a:t>
            </a:r>
          </a:p>
        </p:txBody>
      </p:sp>
      <p:sp>
        <p:nvSpPr>
          <p:cNvPr id="53" name="Rectangle 52"/>
          <p:cNvSpPr/>
          <p:nvPr/>
        </p:nvSpPr>
        <p:spPr>
          <a:xfrm>
            <a:off x="5772462" y="3711089"/>
            <a:ext cx="2858244" cy="466733"/>
          </a:xfrm>
          <a:prstGeom prst="rect">
            <a:avLst/>
          </a:prstGeom>
          <a:solidFill>
            <a:schemeClr val="bg2">
              <a:lumMod val="75000"/>
            </a:schemeClr>
          </a:solidFill>
          <a:ln>
            <a:noFill/>
          </a:ln>
          <a:effectLst/>
        </p:spPr>
        <p:style>
          <a:lnRef idx="2">
            <a:schemeClr val="accent6">
              <a:shade val="50000"/>
            </a:schemeClr>
          </a:lnRef>
          <a:fillRef idx="1">
            <a:schemeClr val="accent6"/>
          </a:fillRef>
          <a:effectRef idx="0">
            <a:schemeClr val="accent6"/>
          </a:effectRef>
          <a:fontRef idx="minor">
            <a:schemeClr val="lt1"/>
          </a:fontRef>
        </p:style>
        <p:txBody>
          <a:bodyPr lIns="68586" tIns="137172" rIns="68586" bIns="137172" rtlCol="0" anchor="ctr"/>
          <a:lstStyle/>
          <a:p>
            <a:pPr algn="ctr"/>
            <a:r>
              <a:rPr lang="en-GB" sz="1800" dirty="0">
                <a:solidFill>
                  <a:schemeClr val="tx1"/>
                </a:solidFill>
                <a:latin typeface="Segoe UI Light" pitchFamily="34" charset="0"/>
                <a:cs typeface="Segoe UI Light" pitchFamily="34" charset="0"/>
              </a:rPr>
              <a:t>Virtual Machine Manager</a:t>
            </a:r>
          </a:p>
        </p:txBody>
      </p:sp>
      <p:sp>
        <p:nvSpPr>
          <p:cNvPr id="54" name="Rectangle 53"/>
          <p:cNvSpPr/>
          <p:nvPr/>
        </p:nvSpPr>
        <p:spPr>
          <a:xfrm>
            <a:off x="5772462" y="2682389"/>
            <a:ext cx="2858244" cy="466733"/>
          </a:xfrm>
          <a:prstGeom prst="rect">
            <a:avLst/>
          </a:prstGeom>
          <a:solidFill>
            <a:schemeClr val="bg2">
              <a:lumMod val="75000"/>
            </a:schemeClr>
          </a:solidFill>
          <a:ln>
            <a:noFill/>
          </a:ln>
          <a:effectLst/>
        </p:spPr>
        <p:style>
          <a:lnRef idx="2">
            <a:schemeClr val="accent6">
              <a:shade val="50000"/>
            </a:schemeClr>
          </a:lnRef>
          <a:fillRef idx="1">
            <a:schemeClr val="accent6"/>
          </a:fillRef>
          <a:effectRef idx="0">
            <a:schemeClr val="accent6"/>
          </a:effectRef>
          <a:fontRef idx="minor">
            <a:schemeClr val="lt1"/>
          </a:fontRef>
        </p:style>
        <p:txBody>
          <a:bodyPr lIns="68586" tIns="137172" rIns="68586" bIns="137172" rtlCol="0" anchor="ctr"/>
          <a:lstStyle/>
          <a:p>
            <a:pPr algn="ctr"/>
            <a:r>
              <a:rPr lang="en-GB" sz="1800" dirty="0">
                <a:solidFill>
                  <a:schemeClr val="tx1"/>
                </a:solidFill>
                <a:latin typeface="Segoe UI Light" pitchFamily="34" charset="0"/>
                <a:cs typeface="Segoe UI Light" pitchFamily="34" charset="0"/>
              </a:rPr>
              <a:t>Orchestrator</a:t>
            </a:r>
          </a:p>
        </p:txBody>
      </p:sp>
      <p:sp>
        <p:nvSpPr>
          <p:cNvPr id="55" name="Rectangle 54"/>
          <p:cNvSpPr/>
          <p:nvPr/>
        </p:nvSpPr>
        <p:spPr>
          <a:xfrm>
            <a:off x="5772462" y="1653689"/>
            <a:ext cx="2858244" cy="466733"/>
          </a:xfrm>
          <a:prstGeom prst="rect">
            <a:avLst/>
          </a:prstGeom>
          <a:solidFill>
            <a:schemeClr val="bg2">
              <a:lumMod val="75000"/>
            </a:schemeClr>
          </a:solidFill>
          <a:ln>
            <a:noFill/>
          </a:ln>
          <a:effectLst/>
        </p:spPr>
        <p:style>
          <a:lnRef idx="2">
            <a:schemeClr val="accent6">
              <a:shade val="50000"/>
            </a:schemeClr>
          </a:lnRef>
          <a:fillRef idx="1">
            <a:schemeClr val="accent6"/>
          </a:fillRef>
          <a:effectRef idx="0">
            <a:schemeClr val="accent6"/>
          </a:effectRef>
          <a:fontRef idx="minor">
            <a:schemeClr val="lt1"/>
          </a:fontRef>
        </p:style>
        <p:txBody>
          <a:bodyPr lIns="68586" tIns="137172" rIns="68586" bIns="137172" rtlCol="0" anchor="ctr"/>
          <a:lstStyle/>
          <a:p>
            <a:pPr algn="ctr"/>
            <a:r>
              <a:rPr lang="en-GB" sz="1800" dirty="0">
                <a:solidFill>
                  <a:schemeClr val="tx1"/>
                </a:solidFill>
                <a:latin typeface="Segoe UI Light" pitchFamily="34" charset="0"/>
                <a:cs typeface="Segoe UI Light" pitchFamily="34" charset="0"/>
              </a:rPr>
              <a:t>Service Manager</a:t>
            </a:r>
          </a:p>
        </p:txBody>
      </p:sp>
      <p:sp>
        <p:nvSpPr>
          <p:cNvPr id="56" name="Rectangle 55"/>
          <p:cNvSpPr/>
          <p:nvPr/>
        </p:nvSpPr>
        <p:spPr>
          <a:xfrm>
            <a:off x="5772462" y="1139339"/>
            <a:ext cx="2858244" cy="466733"/>
          </a:xfrm>
          <a:prstGeom prst="rect">
            <a:avLst/>
          </a:prstGeom>
          <a:solidFill>
            <a:schemeClr val="bg2">
              <a:lumMod val="75000"/>
            </a:schemeClr>
          </a:solidFill>
          <a:ln>
            <a:noFill/>
          </a:ln>
          <a:effectLst/>
        </p:spPr>
        <p:style>
          <a:lnRef idx="2">
            <a:schemeClr val="accent6">
              <a:shade val="50000"/>
            </a:schemeClr>
          </a:lnRef>
          <a:fillRef idx="1">
            <a:schemeClr val="accent6"/>
          </a:fillRef>
          <a:effectRef idx="0">
            <a:schemeClr val="accent6"/>
          </a:effectRef>
          <a:fontRef idx="minor">
            <a:schemeClr val="lt1"/>
          </a:fontRef>
        </p:style>
        <p:txBody>
          <a:bodyPr lIns="68586" tIns="137172" rIns="68586" bIns="137172" rtlCol="0" anchor="ctr"/>
          <a:lstStyle/>
          <a:p>
            <a:pPr algn="ctr"/>
            <a:r>
              <a:rPr lang="en-GB" sz="1800" dirty="0">
                <a:solidFill>
                  <a:schemeClr val="tx1"/>
                </a:solidFill>
                <a:latin typeface="Segoe UI Light" pitchFamily="34" charset="0"/>
                <a:cs typeface="Segoe UI Light" pitchFamily="34" charset="0"/>
              </a:rPr>
              <a:t>App Controller</a:t>
            </a:r>
          </a:p>
        </p:txBody>
      </p:sp>
      <p:sp>
        <p:nvSpPr>
          <p:cNvPr id="57" name="Rectangle 56"/>
          <p:cNvSpPr/>
          <p:nvPr/>
        </p:nvSpPr>
        <p:spPr>
          <a:xfrm>
            <a:off x="5772462" y="3196739"/>
            <a:ext cx="2858244" cy="466733"/>
          </a:xfrm>
          <a:prstGeom prst="rect">
            <a:avLst/>
          </a:prstGeom>
          <a:solidFill>
            <a:schemeClr val="bg2">
              <a:lumMod val="75000"/>
            </a:schemeClr>
          </a:solidFill>
          <a:ln>
            <a:noFill/>
          </a:ln>
          <a:effectLst/>
        </p:spPr>
        <p:style>
          <a:lnRef idx="2">
            <a:schemeClr val="accent6">
              <a:shade val="50000"/>
            </a:schemeClr>
          </a:lnRef>
          <a:fillRef idx="1">
            <a:schemeClr val="accent6"/>
          </a:fillRef>
          <a:effectRef idx="0">
            <a:schemeClr val="accent6"/>
          </a:effectRef>
          <a:fontRef idx="minor">
            <a:schemeClr val="lt1"/>
          </a:fontRef>
        </p:style>
        <p:txBody>
          <a:bodyPr lIns="68586" tIns="137172" rIns="68586" bIns="137172" rtlCol="0" anchor="ctr"/>
          <a:lstStyle/>
          <a:p>
            <a:pPr algn="ctr"/>
            <a:r>
              <a:rPr lang="en-GB" sz="1800" dirty="0">
                <a:solidFill>
                  <a:schemeClr val="tx1"/>
                </a:solidFill>
                <a:latin typeface="Segoe UI Light" pitchFamily="34" charset="0"/>
                <a:cs typeface="Segoe UI Light" pitchFamily="34" charset="0"/>
              </a:rPr>
              <a:t>Operations Manager</a:t>
            </a:r>
          </a:p>
        </p:txBody>
      </p:sp>
      <p:pic>
        <p:nvPicPr>
          <p:cNvPr id="58" name="Picture 57" descr="http://theitbros.com/wp-content/uploads/2011/02/vmware-logo.png"/>
          <p:cNvPicPr>
            <a:picLocks noChangeAspect="1" noChangeArrowheads="1"/>
          </p:cNvPicPr>
          <p:nvPr/>
        </p:nvPicPr>
        <p:blipFill rotWithShape="1">
          <a:blip r:embed="rId2" cstate="print">
            <a:extLst>
              <a:ext uri="{BEBA8EAE-BF5A-486C-A8C5-ECC9F3942E4B}">
                <a14:imgProps xmlns:a14="http://schemas.microsoft.com/office/drawing/2010/main">
                  <a14:imgLayer r:embed="rId3">
                    <a14:imgEffect>
                      <a14:backgroundRemoval t="30667" b="63556" l="1250" r="99375">
                        <a14:foregroundMark x1="3750" y1="34889" x2="3750" y2="34889"/>
                        <a14:foregroundMark x1="3854" y1="34889" x2="9063" y2="58000"/>
                        <a14:foregroundMark x1="41771" y1="42222" x2="41771" y2="42222"/>
                        <a14:foregroundMark x1="68438" y1="34667" x2="68438" y2="34667"/>
                        <a14:foregroundMark x1="76875" y1="36889" x2="76875" y2="36889"/>
                        <a14:foregroundMark x1="87708" y1="36000" x2="87708" y2="36000"/>
                      </a14:backgroundRemoval>
                    </a14:imgEffect>
                    <a14:imgEffect>
                      <a14:brightnessContrast bright="100000"/>
                    </a14:imgEffect>
                  </a14:imgLayer>
                </a14:imgProps>
              </a:ext>
              <a:ext uri="{28A0092B-C50C-407E-A947-70E740481C1C}">
                <a14:useLocalDpi xmlns:a14="http://schemas.microsoft.com/office/drawing/2010/main" val="0"/>
              </a:ext>
            </a:extLst>
          </a:blip>
          <a:srcRect t="29105" b="32546"/>
          <a:stretch/>
        </p:blipFill>
        <p:spPr bwMode="auto">
          <a:xfrm>
            <a:off x="3417670" y="685801"/>
            <a:ext cx="1622683" cy="291621"/>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2" descr="Microsoft logo and tagline"/>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gray">
          <a:xfrm>
            <a:off x="6334401" y="685801"/>
            <a:ext cx="1734369" cy="291621"/>
          </a:xfrm>
          <a:prstGeom prst="rect">
            <a:avLst/>
          </a:prstGeom>
          <a:noFill/>
          <a:ln>
            <a:noFill/>
          </a:ln>
        </p:spPr>
      </p:pic>
      <p:sp>
        <p:nvSpPr>
          <p:cNvPr id="60" name="Rectangle 59"/>
          <p:cNvSpPr/>
          <p:nvPr/>
        </p:nvSpPr>
        <p:spPr>
          <a:xfrm>
            <a:off x="570458" y="2168039"/>
            <a:ext cx="1943606" cy="466733"/>
          </a:xfrm>
          <a:prstGeom prst="rect">
            <a:avLst/>
          </a:prstGeom>
          <a:solidFill>
            <a:schemeClr val="bg2">
              <a:lumMod val="75000"/>
            </a:schemeClr>
          </a:solidFill>
          <a:ln>
            <a:noFill/>
          </a:ln>
          <a:effectLst/>
        </p:spPr>
        <p:style>
          <a:lnRef idx="2">
            <a:schemeClr val="accent6">
              <a:shade val="50000"/>
            </a:schemeClr>
          </a:lnRef>
          <a:fillRef idx="1">
            <a:schemeClr val="accent6"/>
          </a:fillRef>
          <a:effectRef idx="0">
            <a:schemeClr val="accent6"/>
          </a:effectRef>
          <a:fontRef idx="minor">
            <a:schemeClr val="lt1"/>
          </a:fontRef>
        </p:style>
        <p:txBody>
          <a:bodyPr lIns="68586" tIns="137172" rIns="68586" bIns="137172" rtlCol="0" anchor="ctr"/>
          <a:lstStyle/>
          <a:p>
            <a:pPr algn="ctr"/>
            <a:r>
              <a:rPr lang="en-GB" sz="1800" b="1" dirty="0">
                <a:solidFill>
                  <a:schemeClr val="tx1"/>
                </a:solidFill>
                <a:latin typeface="Segoe UI Light" pitchFamily="34" charset="0"/>
                <a:cs typeface="Segoe UI Light" pitchFamily="34" charset="0"/>
              </a:rPr>
              <a:t>Protection</a:t>
            </a:r>
          </a:p>
        </p:txBody>
      </p:sp>
      <p:sp>
        <p:nvSpPr>
          <p:cNvPr id="61" name="Rectangle 60"/>
          <p:cNvSpPr/>
          <p:nvPr/>
        </p:nvSpPr>
        <p:spPr>
          <a:xfrm>
            <a:off x="2799888" y="2168039"/>
            <a:ext cx="2858244" cy="466733"/>
          </a:xfrm>
          <a:prstGeom prst="rect">
            <a:avLst/>
          </a:prstGeom>
          <a:solidFill>
            <a:schemeClr val="bg2">
              <a:lumMod val="75000"/>
            </a:schemeClr>
          </a:solidFill>
          <a:ln>
            <a:noFill/>
          </a:ln>
          <a:effectLst/>
        </p:spPr>
        <p:style>
          <a:lnRef idx="2">
            <a:schemeClr val="accent6">
              <a:shade val="50000"/>
            </a:schemeClr>
          </a:lnRef>
          <a:fillRef idx="1">
            <a:schemeClr val="accent6"/>
          </a:fillRef>
          <a:effectRef idx="0">
            <a:schemeClr val="accent6"/>
          </a:effectRef>
          <a:fontRef idx="minor">
            <a:schemeClr val="lt1"/>
          </a:fontRef>
        </p:style>
        <p:txBody>
          <a:bodyPr lIns="68586" tIns="137172" rIns="68586" bIns="137172" rtlCol="0" anchor="ctr"/>
          <a:lstStyle/>
          <a:p>
            <a:pPr algn="ctr"/>
            <a:r>
              <a:rPr lang="en-GB" sz="1800" dirty="0">
                <a:solidFill>
                  <a:schemeClr val="tx1"/>
                </a:solidFill>
                <a:latin typeface="Segoe UI Light" pitchFamily="34" charset="0"/>
                <a:cs typeface="Segoe UI Light" pitchFamily="34" charset="0"/>
              </a:rPr>
              <a:t>Data Recovery 2.0</a:t>
            </a:r>
          </a:p>
        </p:txBody>
      </p:sp>
      <p:sp>
        <p:nvSpPr>
          <p:cNvPr id="62" name="Rectangle 61"/>
          <p:cNvSpPr/>
          <p:nvPr/>
        </p:nvSpPr>
        <p:spPr>
          <a:xfrm>
            <a:off x="5772462" y="2168039"/>
            <a:ext cx="2858244" cy="466733"/>
          </a:xfrm>
          <a:prstGeom prst="rect">
            <a:avLst/>
          </a:prstGeom>
          <a:solidFill>
            <a:schemeClr val="bg2">
              <a:lumMod val="75000"/>
            </a:schemeClr>
          </a:solidFill>
          <a:ln>
            <a:noFill/>
          </a:ln>
          <a:effectLst/>
        </p:spPr>
        <p:style>
          <a:lnRef idx="2">
            <a:schemeClr val="accent6">
              <a:shade val="50000"/>
            </a:schemeClr>
          </a:lnRef>
          <a:fillRef idx="1">
            <a:schemeClr val="accent6"/>
          </a:fillRef>
          <a:effectRef idx="0">
            <a:schemeClr val="accent6"/>
          </a:effectRef>
          <a:fontRef idx="minor">
            <a:schemeClr val="lt1"/>
          </a:fontRef>
        </p:style>
        <p:txBody>
          <a:bodyPr lIns="68586" tIns="137172" rIns="68586" bIns="137172" rtlCol="0" anchor="ctr"/>
          <a:lstStyle/>
          <a:p>
            <a:pPr algn="ctr"/>
            <a:r>
              <a:rPr lang="en-GB" sz="1800" dirty="0">
                <a:solidFill>
                  <a:schemeClr val="tx1"/>
                </a:solidFill>
                <a:latin typeface="Segoe UI Light" pitchFamily="34" charset="0"/>
                <a:cs typeface="Segoe UI Light" pitchFamily="34" charset="0"/>
              </a:rPr>
              <a:t>Data Protection Manager</a:t>
            </a:r>
          </a:p>
        </p:txBody>
      </p:sp>
      <p:sp>
        <p:nvSpPr>
          <p:cNvPr id="26"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7"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5"/>
              </a:rPr>
              <a:t>www.rapidbbs.cn</a:t>
            </a:r>
            <a:endParaRPr lang="zh-CN" altLang="en-US" sz="1200" b="0">
              <a:latin typeface="Arial" charset="0"/>
              <a:ea typeface="ＭＳ Ｐゴシック" pitchFamily="34" charset="-128"/>
            </a:endParaRPr>
          </a:p>
        </p:txBody>
      </p:sp>
      <p:pic>
        <p:nvPicPr>
          <p:cNvPr id="28" name="Picture 2">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95508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50"/>
                                        <p:tgtEl>
                                          <p:spTgt spid="4"/>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50"/>
                                        <p:tgtEl>
                                          <p:spTgt spid="5"/>
                                        </p:tgtEl>
                                      </p:cBhvr>
                                    </p:animEffect>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fade">
                                      <p:cBhvr>
                                        <p:cTn id="15" dur="250"/>
                                        <p:tgtEl>
                                          <p:spTgt spid="45"/>
                                        </p:tgtEl>
                                      </p:cBhvr>
                                    </p:animEffect>
                                  </p:childTnLst>
                                </p:cTn>
                              </p:par>
                            </p:childTnLst>
                          </p:cTn>
                        </p:par>
                        <p:par>
                          <p:cTn id="16" fill="hold">
                            <p:stCondLst>
                              <p:cond delay="750"/>
                            </p:stCondLst>
                            <p:childTnLst>
                              <p:par>
                                <p:cTn id="17" presetID="10" presetClass="entr" presetSubtype="0" fill="hold" grpId="0"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250"/>
                                        <p:tgtEl>
                                          <p:spTgt spid="6"/>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60"/>
                                        </p:tgtEl>
                                        <p:attrNameLst>
                                          <p:attrName>style.visibility</p:attrName>
                                        </p:attrNameLst>
                                      </p:cBhvr>
                                      <p:to>
                                        <p:strVal val="visible"/>
                                      </p:to>
                                    </p:set>
                                    <p:animEffect transition="in" filter="fade">
                                      <p:cBhvr>
                                        <p:cTn id="23" dur="250"/>
                                        <p:tgtEl>
                                          <p:spTgt spid="60"/>
                                        </p:tgtEl>
                                      </p:cBhvr>
                                    </p:animEffect>
                                  </p:childTnLst>
                                </p:cTn>
                              </p:par>
                            </p:childTnLst>
                          </p:cTn>
                        </p:par>
                        <p:par>
                          <p:cTn id="24" fill="hold">
                            <p:stCondLst>
                              <p:cond delay="1250"/>
                            </p:stCondLst>
                            <p:childTnLst>
                              <p:par>
                                <p:cTn id="25" presetID="10" presetClass="entr" presetSubtype="0" fill="hold" grpId="0" nodeType="after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250"/>
                                        <p:tgtEl>
                                          <p:spTgt spid="7"/>
                                        </p:tgtEl>
                                      </p:cBhvr>
                                    </p:animEffect>
                                  </p:childTnLst>
                                </p:cTn>
                              </p:par>
                            </p:childTnLst>
                          </p:cTn>
                        </p:par>
                        <p:par>
                          <p:cTn id="28" fill="hold">
                            <p:stCondLst>
                              <p:cond delay="1500"/>
                            </p:stCondLst>
                            <p:childTnLst>
                              <p:par>
                                <p:cTn id="29" presetID="10" presetClass="entr" presetSubtype="0" fill="hold" grpId="0" nodeType="after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fade">
                                      <p:cBhvr>
                                        <p:cTn id="31" dur="250"/>
                                        <p:tgtEl>
                                          <p:spTgt spid="8"/>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58"/>
                                        </p:tgtEl>
                                        <p:attrNameLst>
                                          <p:attrName>style.visibility</p:attrName>
                                        </p:attrNameLst>
                                      </p:cBhvr>
                                      <p:to>
                                        <p:strVal val="visible"/>
                                      </p:to>
                                    </p:set>
                                    <p:animEffect transition="in" filter="fade">
                                      <p:cBhvr>
                                        <p:cTn id="36" dur="500"/>
                                        <p:tgtEl>
                                          <p:spTgt spid="58"/>
                                        </p:tgtEl>
                                      </p:cBhvr>
                                    </p:animEffect>
                                  </p:childTnLst>
                                </p:cTn>
                              </p:par>
                            </p:childTnLst>
                          </p:cTn>
                        </p:par>
                        <p:par>
                          <p:cTn id="37" fill="hold">
                            <p:stCondLst>
                              <p:cond delay="500"/>
                            </p:stCondLst>
                            <p:childTnLst>
                              <p:par>
                                <p:cTn id="38" presetID="10" presetClass="entr" presetSubtype="0" fill="hold" grpId="0" nodeType="afterEffect">
                                  <p:stCondLst>
                                    <p:cond delay="0"/>
                                  </p:stCondLst>
                                  <p:childTnLst>
                                    <p:set>
                                      <p:cBhvr>
                                        <p:cTn id="39" dur="1" fill="hold">
                                          <p:stCondLst>
                                            <p:cond delay="0"/>
                                          </p:stCondLst>
                                        </p:cTn>
                                        <p:tgtEl>
                                          <p:spTgt spid="46"/>
                                        </p:tgtEl>
                                        <p:attrNameLst>
                                          <p:attrName>style.visibility</p:attrName>
                                        </p:attrNameLst>
                                      </p:cBhvr>
                                      <p:to>
                                        <p:strVal val="visible"/>
                                      </p:to>
                                    </p:set>
                                    <p:animEffect transition="in" filter="fade">
                                      <p:cBhvr>
                                        <p:cTn id="40" dur="250"/>
                                        <p:tgtEl>
                                          <p:spTgt spid="46"/>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grpId="0" nodeType="clickEffect">
                                  <p:stCondLst>
                                    <p:cond delay="0"/>
                                  </p:stCondLst>
                                  <p:childTnLst>
                                    <p:set>
                                      <p:cBhvr>
                                        <p:cTn id="44" dur="1" fill="hold">
                                          <p:stCondLst>
                                            <p:cond delay="0"/>
                                          </p:stCondLst>
                                        </p:cTn>
                                        <p:tgtEl>
                                          <p:spTgt spid="47"/>
                                        </p:tgtEl>
                                        <p:attrNameLst>
                                          <p:attrName>style.visibility</p:attrName>
                                        </p:attrNameLst>
                                      </p:cBhvr>
                                      <p:to>
                                        <p:strVal val="visible"/>
                                      </p:to>
                                    </p:set>
                                    <p:animEffect transition="in" filter="fade">
                                      <p:cBhvr>
                                        <p:cTn id="45" dur="250"/>
                                        <p:tgtEl>
                                          <p:spTgt spid="47"/>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51"/>
                                        </p:tgtEl>
                                        <p:attrNameLst>
                                          <p:attrName>style.visibility</p:attrName>
                                        </p:attrNameLst>
                                      </p:cBhvr>
                                      <p:to>
                                        <p:strVal val="visible"/>
                                      </p:to>
                                    </p:set>
                                    <p:animEffect transition="in" filter="fade">
                                      <p:cBhvr>
                                        <p:cTn id="50" dur="250"/>
                                        <p:tgtEl>
                                          <p:spTgt spid="5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48"/>
                                        </p:tgtEl>
                                        <p:attrNameLst>
                                          <p:attrName>style.visibility</p:attrName>
                                        </p:attrNameLst>
                                      </p:cBhvr>
                                      <p:to>
                                        <p:strVal val="visible"/>
                                      </p:to>
                                    </p:set>
                                    <p:animEffect transition="in" filter="fade">
                                      <p:cBhvr>
                                        <p:cTn id="55" dur="250"/>
                                        <p:tgtEl>
                                          <p:spTgt spid="48"/>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grpId="0" nodeType="clickEffect">
                                  <p:stCondLst>
                                    <p:cond delay="0"/>
                                  </p:stCondLst>
                                  <p:childTnLst>
                                    <p:set>
                                      <p:cBhvr>
                                        <p:cTn id="59" dur="1" fill="hold">
                                          <p:stCondLst>
                                            <p:cond delay="0"/>
                                          </p:stCondLst>
                                        </p:cTn>
                                        <p:tgtEl>
                                          <p:spTgt spid="61"/>
                                        </p:tgtEl>
                                        <p:attrNameLst>
                                          <p:attrName>style.visibility</p:attrName>
                                        </p:attrNameLst>
                                      </p:cBhvr>
                                      <p:to>
                                        <p:strVal val="visible"/>
                                      </p:to>
                                    </p:set>
                                    <p:animEffect transition="in" filter="fade">
                                      <p:cBhvr>
                                        <p:cTn id="60" dur="250"/>
                                        <p:tgtEl>
                                          <p:spTgt spid="61"/>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grpId="0" nodeType="clickEffect">
                                  <p:stCondLst>
                                    <p:cond delay="0"/>
                                  </p:stCondLst>
                                  <p:childTnLst>
                                    <p:set>
                                      <p:cBhvr>
                                        <p:cTn id="64" dur="1" fill="hold">
                                          <p:stCondLst>
                                            <p:cond delay="0"/>
                                          </p:stCondLst>
                                        </p:cTn>
                                        <p:tgtEl>
                                          <p:spTgt spid="49"/>
                                        </p:tgtEl>
                                        <p:attrNameLst>
                                          <p:attrName>style.visibility</p:attrName>
                                        </p:attrNameLst>
                                      </p:cBhvr>
                                      <p:to>
                                        <p:strVal val="visible"/>
                                      </p:to>
                                    </p:set>
                                    <p:animEffect transition="in" filter="fade">
                                      <p:cBhvr>
                                        <p:cTn id="65" dur="250"/>
                                        <p:tgtEl>
                                          <p:spTgt spid="49"/>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grpId="0" nodeType="clickEffect">
                                  <p:stCondLst>
                                    <p:cond delay="0"/>
                                  </p:stCondLst>
                                  <p:childTnLst>
                                    <p:set>
                                      <p:cBhvr>
                                        <p:cTn id="69" dur="1" fill="hold">
                                          <p:stCondLst>
                                            <p:cond delay="0"/>
                                          </p:stCondLst>
                                        </p:cTn>
                                        <p:tgtEl>
                                          <p:spTgt spid="50"/>
                                        </p:tgtEl>
                                        <p:attrNameLst>
                                          <p:attrName>style.visibility</p:attrName>
                                        </p:attrNameLst>
                                      </p:cBhvr>
                                      <p:to>
                                        <p:strVal val="visible"/>
                                      </p:to>
                                    </p:set>
                                    <p:animEffect transition="in" filter="fade">
                                      <p:cBhvr>
                                        <p:cTn id="70" dur="250"/>
                                        <p:tgtEl>
                                          <p:spTgt spid="50"/>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nodeType="clickEffect">
                                  <p:stCondLst>
                                    <p:cond delay="0"/>
                                  </p:stCondLst>
                                  <p:childTnLst>
                                    <p:set>
                                      <p:cBhvr>
                                        <p:cTn id="74" dur="1" fill="hold">
                                          <p:stCondLst>
                                            <p:cond delay="0"/>
                                          </p:stCondLst>
                                        </p:cTn>
                                        <p:tgtEl>
                                          <p:spTgt spid="59"/>
                                        </p:tgtEl>
                                        <p:attrNameLst>
                                          <p:attrName>style.visibility</p:attrName>
                                        </p:attrNameLst>
                                      </p:cBhvr>
                                      <p:to>
                                        <p:strVal val="visible"/>
                                      </p:to>
                                    </p:set>
                                    <p:animEffect transition="in" filter="fade">
                                      <p:cBhvr>
                                        <p:cTn id="75" dur="500"/>
                                        <p:tgtEl>
                                          <p:spTgt spid="59"/>
                                        </p:tgtEl>
                                      </p:cBhvr>
                                    </p:animEffect>
                                  </p:childTnLst>
                                </p:cTn>
                              </p:par>
                            </p:childTnLst>
                          </p:cTn>
                        </p:par>
                        <p:par>
                          <p:cTn id="76" fill="hold">
                            <p:stCondLst>
                              <p:cond delay="500"/>
                            </p:stCondLst>
                            <p:childTnLst>
                              <p:par>
                                <p:cTn id="77" presetID="10" presetClass="entr" presetSubtype="0" fill="hold" grpId="0" nodeType="afterEffect">
                                  <p:stCondLst>
                                    <p:cond delay="0"/>
                                  </p:stCondLst>
                                  <p:childTnLst>
                                    <p:set>
                                      <p:cBhvr>
                                        <p:cTn id="78" dur="1" fill="hold">
                                          <p:stCondLst>
                                            <p:cond delay="0"/>
                                          </p:stCondLst>
                                        </p:cTn>
                                        <p:tgtEl>
                                          <p:spTgt spid="52"/>
                                        </p:tgtEl>
                                        <p:attrNameLst>
                                          <p:attrName>style.visibility</p:attrName>
                                        </p:attrNameLst>
                                      </p:cBhvr>
                                      <p:to>
                                        <p:strVal val="visible"/>
                                      </p:to>
                                    </p:set>
                                    <p:animEffect transition="in" filter="fade">
                                      <p:cBhvr>
                                        <p:cTn id="79" dur="250"/>
                                        <p:tgtEl>
                                          <p:spTgt spid="52"/>
                                        </p:tgtEl>
                                      </p:cBhvr>
                                    </p:animEffect>
                                  </p:childTnLst>
                                </p:cTn>
                              </p:par>
                            </p:childTnLst>
                          </p:cTn>
                        </p:par>
                      </p:childTnLst>
                    </p:cTn>
                  </p:par>
                  <p:par>
                    <p:cTn id="80" fill="hold">
                      <p:stCondLst>
                        <p:cond delay="indefinite"/>
                      </p:stCondLst>
                      <p:childTnLst>
                        <p:par>
                          <p:cTn id="81" fill="hold">
                            <p:stCondLst>
                              <p:cond delay="0"/>
                            </p:stCondLst>
                            <p:childTnLst>
                              <p:par>
                                <p:cTn id="82" presetID="10" presetClass="entr" presetSubtype="0" fill="hold" grpId="0" nodeType="clickEffect">
                                  <p:stCondLst>
                                    <p:cond delay="0"/>
                                  </p:stCondLst>
                                  <p:childTnLst>
                                    <p:set>
                                      <p:cBhvr>
                                        <p:cTn id="83" dur="1" fill="hold">
                                          <p:stCondLst>
                                            <p:cond delay="0"/>
                                          </p:stCondLst>
                                        </p:cTn>
                                        <p:tgtEl>
                                          <p:spTgt spid="53"/>
                                        </p:tgtEl>
                                        <p:attrNameLst>
                                          <p:attrName>style.visibility</p:attrName>
                                        </p:attrNameLst>
                                      </p:cBhvr>
                                      <p:to>
                                        <p:strVal val="visible"/>
                                      </p:to>
                                    </p:set>
                                    <p:animEffect transition="in" filter="fade">
                                      <p:cBhvr>
                                        <p:cTn id="84" dur="250"/>
                                        <p:tgtEl>
                                          <p:spTgt spid="53"/>
                                        </p:tgtEl>
                                      </p:cBhvr>
                                    </p:animEffect>
                                  </p:childTnLst>
                                </p:cTn>
                              </p:par>
                            </p:childTnLst>
                          </p:cTn>
                        </p:par>
                      </p:childTnLst>
                    </p:cTn>
                  </p:par>
                  <p:par>
                    <p:cTn id="85" fill="hold">
                      <p:stCondLst>
                        <p:cond delay="indefinite"/>
                      </p:stCondLst>
                      <p:childTnLst>
                        <p:par>
                          <p:cTn id="86" fill="hold">
                            <p:stCondLst>
                              <p:cond delay="0"/>
                            </p:stCondLst>
                            <p:childTnLst>
                              <p:par>
                                <p:cTn id="87" presetID="10" presetClass="entr" presetSubtype="0" fill="hold" grpId="0" nodeType="clickEffect">
                                  <p:stCondLst>
                                    <p:cond delay="0"/>
                                  </p:stCondLst>
                                  <p:childTnLst>
                                    <p:set>
                                      <p:cBhvr>
                                        <p:cTn id="88" dur="1" fill="hold">
                                          <p:stCondLst>
                                            <p:cond delay="0"/>
                                          </p:stCondLst>
                                        </p:cTn>
                                        <p:tgtEl>
                                          <p:spTgt spid="57"/>
                                        </p:tgtEl>
                                        <p:attrNameLst>
                                          <p:attrName>style.visibility</p:attrName>
                                        </p:attrNameLst>
                                      </p:cBhvr>
                                      <p:to>
                                        <p:strVal val="visible"/>
                                      </p:to>
                                    </p:set>
                                    <p:animEffect transition="in" filter="fade">
                                      <p:cBhvr>
                                        <p:cTn id="89" dur="250"/>
                                        <p:tgtEl>
                                          <p:spTgt spid="57"/>
                                        </p:tgtEl>
                                      </p:cBhvr>
                                    </p:animEffect>
                                  </p:childTnLst>
                                </p:cTn>
                              </p:par>
                            </p:childTnLst>
                          </p:cTn>
                        </p:par>
                      </p:childTnLst>
                    </p:cTn>
                  </p:par>
                  <p:par>
                    <p:cTn id="90" fill="hold">
                      <p:stCondLst>
                        <p:cond delay="indefinite"/>
                      </p:stCondLst>
                      <p:childTnLst>
                        <p:par>
                          <p:cTn id="91" fill="hold">
                            <p:stCondLst>
                              <p:cond delay="0"/>
                            </p:stCondLst>
                            <p:childTnLst>
                              <p:par>
                                <p:cTn id="92" presetID="10" presetClass="entr" presetSubtype="0" fill="hold" grpId="0" nodeType="clickEffect">
                                  <p:stCondLst>
                                    <p:cond delay="0"/>
                                  </p:stCondLst>
                                  <p:childTnLst>
                                    <p:set>
                                      <p:cBhvr>
                                        <p:cTn id="93" dur="1" fill="hold">
                                          <p:stCondLst>
                                            <p:cond delay="0"/>
                                          </p:stCondLst>
                                        </p:cTn>
                                        <p:tgtEl>
                                          <p:spTgt spid="54"/>
                                        </p:tgtEl>
                                        <p:attrNameLst>
                                          <p:attrName>style.visibility</p:attrName>
                                        </p:attrNameLst>
                                      </p:cBhvr>
                                      <p:to>
                                        <p:strVal val="visible"/>
                                      </p:to>
                                    </p:set>
                                    <p:animEffect transition="in" filter="fade">
                                      <p:cBhvr>
                                        <p:cTn id="94" dur="250"/>
                                        <p:tgtEl>
                                          <p:spTgt spid="54"/>
                                        </p:tgtEl>
                                      </p:cBhvr>
                                    </p:animEffect>
                                  </p:childTnLst>
                                </p:cTn>
                              </p:par>
                            </p:childTnLst>
                          </p:cTn>
                        </p:par>
                      </p:childTnLst>
                    </p:cTn>
                  </p:par>
                  <p:par>
                    <p:cTn id="95" fill="hold">
                      <p:stCondLst>
                        <p:cond delay="indefinite"/>
                      </p:stCondLst>
                      <p:childTnLst>
                        <p:par>
                          <p:cTn id="96" fill="hold">
                            <p:stCondLst>
                              <p:cond delay="0"/>
                            </p:stCondLst>
                            <p:childTnLst>
                              <p:par>
                                <p:cTn id="97" presetID="10" presetClass="entr" presetSubtype="0" fill="hold" grpId="0" nodeType="clickEffect">
                                  <p:stCondLst>
                                    <p:cond delay="0"/>
                                  </p:stCondLst>
                                  <p:childTnLst>
                                    <p:set>
                                      <p:cBhvr>
                                        <p:cTn id="98" dur="1" fill="hold">
                                          <p:stCondLst>
                                            <p:cond delay="0"/>
                                          </p:stCondLst>
                                        </p:cTn>
                                        <p:tgtEl>
                                          <p:spTgt spid="62"/>
                                        </p:tgtEl>
                                        <p:attrNameLst>
                                          <p:attrName>style.visibility</p:attrName>
                                        </p:attrNameLst>
                                      </p:cBhvr>
                                      <p:to>
                                        <p:strVal val="visible"/>
                                      </p:to>
                                    </p:set>
                                    <p:animEffect transition="in" filter="fade">
                                      <p:cBhvr>
                                        <p:cTn id="99" dur="250"/>
                                        <p:tgtEl>
                                          <p:spTgt spid="62"/>
                                        </p:tgtEl>
                                      </p:cBhvr>
                                    </p:animEffect>
                                  </p:childTnLst>
                                </p:cTn>
                              </p:par>
                            </p:childTnLst>
                          </p:cTn>
                        </p:par>
                      </p:childTnLst>
                    </p:cTn>
                  </p:par>
                  <p:par>
                    <p:cTn id="100" fill="hold">
                      <p:stCondLst>
                        <p:cond delay="indefinite"/>
                      </p:stCondLst>
                      <p:childTnLst>
                        <p:par>
                          <p:cTn id="101" fill="hold">
                            <p:stCondLst>
                              <p:cond delay="0"/>
                            </p:stCondLst>
                            <p:childTnLst>
                              <p:par>
                                <p:cTn id="102" presetID="10" presetClass="entr" presetSubtype="0" fill="hold" grpId="0" nodeType="clickEffect">
                                  <p:stCondLst>
                                    <p:cond delay="0"/>
                                  </p:stCondLst>
                                  <p:childTnLst>
                                    <p:set>
                                      <p:cBhvr>
                                        <p:cTn id="103" dur="1" fill="hold">
                                          <p:stCondLst>
                                            <p:cond delay="0"/>
                                          </p:stCondLst>
                                        </p:cTn>
                                        <p:tgtEl>
                                          <p:spTgt spid="55"/>
                                        </p:tgtEl>
                                        <p:attrNameLst>
                                          <p:attrName>style.visibility</p:attrName>
                                        </p:attrNameLst>
                                      </p:cBhvr>
                                      <p:to>
                                        <p:strVal val="visible"/>
                                      </p:to>
                                    </p:set>
                                    <p:animEffect transition="in" filter="fade">
                                      <p:cBhvr>
                                        <p:cTn id="104" dur="250"/>
                                        <p:tgtEl>
                                          <p:spTgt spid="55"/>
                                        </p:tgtEl>
                                      </p:cBhvr>
                                    </p:animEffect>
                                  </p:childTnLst>
                                </p:cTn>
                              </p:par>
                            </p:childTnLst>
                          </p:cTn>
                        </p:par>
                      </p:childTnLst>
                    </p:cTn>
                  </p:par>
                  <p:par>
                    <p:cTn id="105" fill="hold">
                      <p:stCondLst>
                        <p:cond delay="indefinite"/>
                      </p:stCondLst>
                      <p:childTnLst>
                        <p:par>
                          <p:cTn id="106" fill="hold">
                            <p:stCondLst>
                              <p:cond delay="0"/>
                            </p:stCondLst>
                            <p:childTnLst>
                              <p:par>
                                <p:cTn id="107" presetID="10" presetClass="entr" presetSubtype="0" fill="hold" grpId="0" nodeType="clickEffect">
                                  <p:stCondLst>
                                    <p:cond delay="0"/>
                                  </p:stCondLst>
                                  <p:childTnLst>
                                    <p:set>
                                      <p:cBhvr>
                                        <p:cTn id="108" dur="1" fill="hold">
                                          <p:stCondLst>
                                            <p:cond delay="0"/>
                                          </p:stCondLst>
                                        </p:cTn>
                                        <p:tgtEl>
                                          <p:spTgt spid="56"/>
                                        </p:tgtEl>
                                        <p:attrNameLst>
                                          <p:attrName>style.visibility</p:attrName>
                                        </p:attrNameLst>
                                      </p:cBhvr>
                                      <p:to>
                                        <p:strVal val="visible"/>
                                      </p:to>
                                    </p:set>
                                    <p:animEffect transition="in" filter="fade">
                                      <p:cBhvr>
                                        <p:cTn id="109" dur="25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45" grpId="0" animBg="1"/>
      <p:bldP spid="46" grpId="0" animBg="1"/>
      <p:bldP spid="47" grpId="0" animBg="1"/>
      <p:bldP spid="48" grpId="0" animBg="1"/>
      <p:bldP spid="49" grpId="0" animBg="1"/>
      <p:bldP spid="50" grpId="0" animBg="1"/>
      <p:bldP spid="51" grpId="0" animBg="1"/>
      <p:bldP spid="52" grpId="0" animBg="1"/>
      <p:bldP spid="53" grpId="0" animBg="1"/>
      <p:bldP spid="54" grpId="0" animBg="1"/>
      <p:bldP spid="55" grpId="0" animBg="1"/>
      <p:bldP spid="56" grpId="0" animBg="1"/>
      <p:bldP spid="57" grpId="0" animBg="1"/>
      <p:bldP spid="60" grpId="0" animBg="1"/>
      <p:bldP spid="61" grpId="0" animBg="1"/>
      <p:bldP spid="62" grpId="0" animBg="1"/>
    </p:bldLst>
  </p:timing>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icensing View</a:t>
            </a:r>
            <a:endParaRPr lang="en-US" dirty="0"/>
          </a:p>
        </p:txBody>
      </p:sp>
      <p:sp>
        <p:nvSpPr>
          <p:cNvPr id="4" name="Rectangle 3"/>
          <p:cNvSpPr/>
          <p:nvPr/>
        </p:nvSpPr>
        <p:spPr>
          <a:xfrm>
            <a:off x="570458" y="4225439"/>
            <a:ext cx="1943606" cy="466733"/>
          </a:xfrm>
          <a:prstGeom prst="rect">
            <a:avLst/>
          </a:prstGeom>
          <a:solidFill>
            <a:schemeClr val="bg2">
              <a:lumMod val="75000"/>
            </a:schemeClr>
          </a:solidFill>
          <a:ln>
            <a:noFill/>
          </a:ln>
          <a:effectLst/>
        </p:spPr>
        <p:style>
          <a:lnRef idx="2">
            <a:schemeClr val="accent6">
              <a:shade val="50000"/>
            </a:schemeClr>
          </a:lnRef>
          <a:fillRef idx="1">
            <a:schemeClr val="accent6"/>
          </a:fillRef>
          <a:effectRef idx="0">
            <a:schemeClr val="accent6"/>
          </a:effectRef>
          <a:fontRef idx="minor">
            <a:schemeClr val="lt1"/>
          </a:fontRef>
        </p:style>
        <p:txBody>
          <a:bodyPr lIns="68586" tIns="137172" rIns="68586" bIns="137172" rtlCol="0" anchor="ctr"/>
          <a:lstStyle/>
          <a:p>
            <a:pPr algn="ctr"/>
            <a:r>
              <a:rPr lang="en-GB" sz="1800" b="1" dirty="0">
                <a:solidFill>
                  <a:schemeClr val="tx1"/>
                </a:solidFill>
                <a:latin typeface="Segoe UI Light" pitchFamily="34" charset="0"/>
                <a:cs typeface="Segoe UI Light" pitchFamily="34" charset="0"/>
              </a:rPr>
              <a:t>Hypervisor</a:t>
            </a:r>
          </a:p>
        </p:txBody>
      </p:sp>
      <p:sp>
        <p:nvSpPr>
          <p:cNvPr id="5" name="Rectangle 4"/>
          <p:cNvSpPr/>
          <p:nvPr/>
        </p:nvSpPr>
        <p:spPr>
          <a:xfrm>
            <a:off x="570458" y="3711089"/>
            <a:ext cx="1943606" cy="466733"/>
          </a:xfrm>
          <a:prstGeom prst="rect">
            <a:avLst/>
          </a:prstGeom>
          <a:solidFill>
            <a:schemeClr val="bg2">
              <a:lumMod val="75000"/>
            </a:schemeClr>
          </a:solidFill>
          <a:ln>
            <a:noFill/>
          </a:ln>
          <a:effectLst/>
        </p:spPr>
        <p:style>
          <a:lnRef idx="2">
            <a:schemeClr val="accent6">
              <a:shade val="50000"/>
            </a:schemeClr>
          </a:lnRef>
          <a:fillRef idx="1">
            <a:schemeClr val="accent6"/>
          </a:fillRef>
          <a:effectRef idx="0">
            <a:schemeClr val="accent6"/>
          </a:effectRef>
          <a:fontRef idx="minor">
            <a:schemeClr val="lt1"/>
          </a:fontRef>
        </p:style>
        <p:txBody>
          <a:bodyPr lIns="68586" tIns="137172" rIns="68586" bIns="137172" rtlCol="0" anchor="ctr"/>
          <a:lstStyle/>
          <a:p>
            <a:pPr algn="ctr"/>
            <a:r>
              <a:rPr lang="en-GB" sz="1800" b="1" dirty="0">
                <a:solidFill>
                  <a:schemeClr val="tx1"/>
                </a:solidFill>
                <a:latin typeface="Segoe UI Light" pitchFamily="34" charset="0"/>
                <a:cs typeface="Segoe UI Light" pitchFamily="34" charset="0"/>
              </a:rPr>
              <a:t>VM Management</a:t>
            </a:r>
          </a:p>
        </p:txBody>
      </p:sp>
      <p:sp>
        <p:nvSpPr>
          <p:cNvPr id="6" name="Rectangle 5"/>
          <p:cNvSpPr/>
          <p:nvPr/>
        </p:nvSpPr>
        <p:spPr>
          <a:xfrm>
            <a:off x="570458" y="2682389"/>
            <a:ext cx="1943606" cy="466733"/>
          </a:xfrm>
          <a:prstGeom prst="rect">
            <a:avLst/>
          </a:prstGeom>
          <a:solidFill>
            <a:schemeClr val="bg2">
              <a:lumMod val="75000"/>
            </a:schemeClr>
          </a:solidFill>
          <a:ln>
            <a:noFill/>
          </a:ln>
          <a:effectLst/>
        </p:spPr>
        <p:style>
          <a:lnRef idx="2">
            <a:schemeClr val="accent6">
              <a:shade val="50000"/>
            </a:schemeClr>
          </a:lnRef>
          <a:fillRef idx="1">
            <a:schemeClr val="accent6"/>
          </a:fillRef>
          <a:effectRef idx="0">
            <a:schemeClr val="accent6"/>
          </a:effectRef>
          <a:fontRef idx="minor">
            <a:schemeClr val="lt1"/>
          </a:fontRef>
        </p:style>
        <p:txBody>
          <a:bodyPr lIns="68586" tIns="137172" rIns="68586" bIns="137172" rtlCol="0" anchor="ctr"/>
          <a:lstStyle/>
          <a:p>
            <a:pPr algn="ctr"/>
            <a:r>
              <a:rPr lang="en-GB" sz="1800" b="1" dirty="0">
                <a:solidFill>
                  <a:schemeClr val="tx1"/>
                </a:solidFill>
                <a:latin typeface="Segoe UI Light" pitchFamily="34" charset="0"/>
                <a:cs typeface="Segoe UI Light" pitchFamily="34" charset="0"/>
              </a:rPr>
              <a:t>Automation</a:t>
            </a:r>
          </a:p>
        </p:txBody>
      </p:sp>
      <p:sp>
        <p:nvSpPr>
          <p:cNvPr id="7" name="Rectangle 6"/>
          <p:cNvSpPr/>
          <p:nvPr/>
        </p:nvSpPr>
        <p:spPr>
          <a:xfrm>
            <a:off x="570458" y="1653689"/>
            <a:ext cx="1943606" cy="466733"/>
          </a:xfrm>
          <a:prstGeom prst="rect">
            <a:avLst/>
          </a:prstGeom>
          <a:solidFill>
            <a:schemeClr val="bg2">
              <a:lumMod val="75000"/>
            </a:schemeClr>
          </a:solidFill>
          <a:ln>
            <a:noFill/>
          </a:ln>
          <a:effectLst/>
        </p:spPr>
        <p:style>
          <a:lnRef idx="2">
            <a:schemeClr val="accent6">
              <a:shade val="50000"/>
            </a:schemeClr>
          </a:lnRef>
          <a:fillRef idx="1">
            <a:schemeClr val="accent6"/>
          </a:fillRef>
          <a:effectRef idx="0">
            <a:schemeClr val="accent6"/>
          </a:effectRef>
          <a:fontRef idx="minor">
            <a:schemeClr val="lt1"/>
          </a:fontRef>
        </p:style>
        <p:txBody>
          <a:bodyPr lIns="68586" tIns="137172" rIns="68586" bIns="137172" rtlCol="0" anchor="ctr"/>
          <a:lstStyle/>
          <a:p>
            <a:pPr algn="ctr"/>
            <a:r>
              <a:rPr lang="en-GB" sz="1800" b="1" dirty="0">
                <a:solidFill>
                  <a:schemeClr val="tx1"/>
                </a:solidFill>
                <a:latin typeface="Segoe UI Light" pitchFamily="34" charset="0"/>
                <a:cs typeface="Segoe UI Light" pitchFamily="34" charset="0"/>
              </a:rPr>
              <a:t>Service Mgmt.</a:t>
            </a:r>
          </a:p>
        </p:txBody>
      </p:sp>
      <p:sp>
        <p:nvSpPr>
          <p:cNvPr id="8" name="Rectangle 7"/>
          <p:cNvSpPr/>
          <p:nvPr/>
        </p:nvSpPr>
        <p:spPr>
          <a:xfrm>
            <a:off x="570458" y="1139339"/>
            <a:ext cx="1943606" cy="466733"/>
          </a:xfrm>
          <a:prstGeom prst="rect">
            <a:avLst/>
          </a:prstGeom>
          <a:solidFill>
            <a:schemeClr val="bg2">
              <a:lumMod val="75000"/>
            </a:schemeClr>
          </a:solidFill>
          <a:ln>
            <a:noFill/>
          </a:ln>
          <a:effectLst/>
        </p:spPr>
        <p:style>
          <a:lnRef idx="2">
            <a:schemeClr val="accent6">
              <a:shade val="50000"/>
            </a:schemeClr>
          </a:lnRef>
          <a:fillRef idx="1">
            <a:schemeClr val="accent6"/>
          </a:fillRef>
          <a:effectRef idx="0">
            <a:schemeClr val="accent6"/>
          </a:effectRef>
          <a:fontRef idx="minor">
            <a:schemeClr val="lt1"/>
          </a:fontRef>
        </p:style>
        <p:txBody>
          <a:bodyPr lIns="68586" tIns="137172" rIns="68586" bIns="137172" rtlCol="0" anchor="ctr"/>
          <a:lstStyle/>
          <a:p>
            <a:pPr algn="ctr"/>
            <a:r>
              <a:rPr lang="en-GB" sz="1800" b="1" dirty="0">
                <a:solidFill>
                  <a:schemeClr val="tx1"/>
                </a:solidFill>
                <a:latin typeface="Segoe UI Light" pitchFamily="34" charset="0"/>
                <a:cs typeface="Segoe UI Light" pitchFamily="34" charset="0"/>
              </a:rPr>
              <a:t>Self-Service</a:t>
            </a:r>
          </a:p>
        </p:txBody>
      </p:sp>
      <p:sp>
        <p:nvSpPr>
          <p:cNvPr id="45" name="Rectangle 44"/>
          <p:cNvSpPr/>
          <p:nvPr/>
        </p:nvSpPr>
        <p:spPr>
          <a:xfrm>
            <a:off x="570458" y="3196739"/>
            <a:ext cx="1943606" cy="466733"/>
          </a:xfrm>
          <a:prstGeom prst="rect">
            <a:avLst/>
          </a:prstGeom>
          <a:solidFill>
            <a:schemeClr val="bg2">
              <a:lumMod val="75000"/>
            </a:schemeClr>
          </a:solidFill>
          <a:ln>
            <a:noFill/>
          </a:ln>
          <a:effectLst/>
        </p:spPr>
        <p:style>
          <a:lnRef idx="2">
            <a:schemeClr val="accent6">
              <a:shade val="50000"/>
            </a:schemeClr>
          </a:lnRef>
          <a:fillRef idx="1">
            <a:schemeClr val="accent6"/>
          </a:fillRef>
          <a:effectRef idx="0">
            <a:schemeClr val="accent6"/>
          </a:effectRef>
          <a:fontRef idx="minor">
            <a:schemeClr val="lt1"/>
          </a:fontRef>
        </p:style>
        <p:txBody>
          <a:bodyPr lIns="68586" tIns="137172" rIns="68586" bIns="137172" rtlCol="0" anchor="ctr"/>
          <a:lstStyle/>
          <a:p>
            <a:pPr algn="ctr"/>
            <a:r>
              <a:rPr lang="en-GB" sz="1800" b="1" dirty="0">
                <a:solidFill>
                  <a:schemeClr val="tx1"/>
                </a:solidFill>
                <a:latin typeface="Segoe UI Light" pitchFamily="34" charset="0"/>
                <a:cs typeface="Segoe UI Light" pitchFamily="34" charset="0"/>
              </a:rPr>
              <a:t>Monitoring</a:t>
            </a:r>
          </a:p>
        </p:txBody>
      </p:sp>
      <p:sp>
        <p:nvSpPr>
          <p:cNvPr id="46" name="Rectangle 45"/>
          <p:cNvSpPr/>
          <p:nvPr/>
        </p:nvSpPr>
        <p:spPr>
          <a:xfrm>
            <a:off x="2799888" y="4225439"/>
            <a:ext cx="2858244" cy="466733"/>
          </a:xfrm>
          <a:prstGeom prst="rect">
            <a:avLst/>
          </a:prstGeom>
          <a:solidFill>
            <a:schemeClr val="bg2">
              <a:lumMod val="75000"/>
            </a:schemeClr>
          </a:solidFill>
          <a:ln>
            <a:noFill/>
          </a:ln>
          <a:effectLst/>
        </p:spPr>
        <p:style>
          <a:lnRef idx="2">
            <a:schemeClr val="accent6">
              <a:shade val="50000"/>
            </a:schemeClr>
          </a:lnRef>
          <a:fillRef idx="1">
            <a:schemeClr val="accent6"/>
          </a:fillRef>
          <a:effectRef idx="0">
            <a:schemeClr val="accent6"/>
          </a:effectRef>
          <a:fontRef idx="minor">
            <a:schemeClr val="lt1"/>
          </a:fontRef>
        </p:style>
        <p:txBody>
          <a:bodyPr lIns="68586" tIns="137172" rIns="68586" bIns="137172" rtlCol="0" anchor="ctr"/>
          <a:lstStyle/>
          <a:p>
            <a:pPr algn="ctr"/>
            <a:r>
              <a:rPr lang="en-GB" sz="1800" dirty="0">
                <a:solidFill>
                  <a:schemeClr val="tx1"/>
                </a:solidFill>
                <a:latin typeface="Segoe UI Light" pitchFamily="34" charset="0"/>
                <a:cs typeface="Segoe UI Light" pitchFamily="34" charset="0"/>
              </a:rPr>
              <a:t>vSphere Hypervisor</a:t>
            </a:r>
          </a:p>
        </p:txBody>
      </p:sp>
      <p:sp>
        <p:nvSpPr>
          <p:cNvPr id="47" name="Rectangle 46"/>
          <p:cNvSpPr/>
          <p:nvPr/>
        </p:nvSpPr>
        <p:spPr>
          <a:xfrm>
            <a:off x="2799888" y="3711089"/>
            <a:ext cx="2858244" cy="466733"/>
          </a:xfrm>
          <a:prstGeom prst="rect">
            <a:avLst/>
          </a:prstGeom>
          <a:solidFill>
            <a:schemeClr val="bg2">
              <a:lumMod val="75000"/>
            </a:schemeClr>
          </a:solidFill>
          <a:ln>
            <a:noFill/>
          </a:ln>
          <a:effectLst/>
        </p:spPr>
        <p:style>
          <a:lnRef idx="2">
            <a:schemeClr val="accent6">
              <a:shade val="50000"/>
            </a:schemeClr>
          </a:lnRef>
          <a:fillRef idx="1">
            <a:schemeClr val="accent6"/>
          </a:fillRef>
          <a:effectRef idx="0">
            <a:schemeClr val="accent6"/>
          </a:effectRef>
          <a:fontRef idx="minor">
            <a:schemeClr val="lt1"/>
          </a:fontRef>
        </p:style>
        <p:txBody>
          <a:bodyPr lIns="68586" tIns="137172" rIns="68586" bIns="137172" rtlCol="0" anchor="ctr"/>
          <a:lstStyle/>
          <a:p>
            <a:pPr algn="ctr"/>
            <a:r>
              <a:rPr lang="en-GB" dirty="0" smtClean="0">
                <a:solidFill>
                  <a:schemeClr val="tx1"/>
                </a:solidFill>
                <a:latin typeface="Segoe UI Light" pitchFamily="34" charset="0"/>
                <a:cs typeface="Segoe UI Light" pitchFamily="34" charset="0"/>
              </a:rPr>
              <a:t>vCenter</a:t>
            </a:r>
            <a:br>
              <a:rPr lang="en-GB" dirty="0" smtClean="0">
                <a:solidFill>
                  <a:schemeClr val="tx1"/>
                </a:solidFill>
                <a:latin typeface="Segoe UI Light" pitchFamily="34" charset="0"/>
                <a:cs typeface="Segoe UI Light" pitchFamily="34" charset="0"/>
              </a:rPr>
            </a:br>
            <a:r>
              <a:rPr lang="en-GB" dirty="0" smtClean="0">
                <a:solidFill>
                  <a:schemeClr val="tx1"/>
                </a:solidFill>
                <a:latin typeface="Segoe UI Light" pitchFamily="34" charset="0"/>
                <a:cs typeface="Segoe UI Light" pitchFamily="34" charset="0"/>
              </a:rPr>
              <a:t>vFabric Application Director</a:t>
            </a:r>
            <a:endParaRPr lang="en-GB" dirty="0">
              <a:solidFill>
                <a:schemeClr val="tx1"/>
              </a:solidFill>
              <a:latin typeface="Segoe UI Light" pitchFamily="34" charset="0"/>
              <a:cs typeface="Segoe UI Light" pitchFamily="34" charset="0"/>
            </a:endParaRPr>
          </a:p>
        </p:txBody>
      </p:sp>
      <p:sp>
        <p:nvSpPr>
          <p:cNvPr id="48" name="Rectangle 47"/>
          <p:cNvSpPr/>
          <p:nvPr/>
        </p:nvSpPr>
        <p:spPr>
          <a:xfrm>
            <a:off x="2799888" y="2682389"/>
            <a:ext cx="2858244" cy="466733"/>
          </a:xfrm>
          <a:prstGeom prst="rect">
            <a:avLst/>
          </a:prstGeom>
          <a:solidFill>
            <a:schemeClr val="bg2">
              <a:lumMod val="75000"/>
            </a:schemeClr>
          </a:solidFill>
          <a:ln>
            <a:noFill/>
          </a:ln>
          <a:effectLst/>
        </p:spPr>
        <p:style>
          <a:lnRef idx="2">
            <a:schemeClr val="accent6">
              <a:shade val="50000"/>
            </a:schemeClr>
          </a:lnRef>
          <a:fillRef idx="1">
            <a:schemeClr val="accent6"/>
          </a:fillRef>
          <a:effectRef idx="0">
            <a:schemeClr val="accent6"/>
          </a:effectRef>
          <a:fontRef idx="minor">
            <a:schemeClr val="lt1"/>
          </a:fontRef>
        </p:style>
        <p:txBody>
          <a:bodyPr lIns="68586" tIns="137172" rIns="68586" bIns="137172" rtlCol="0" anchor="ctr"/>
          <a:lstStyle/>
          <a:p>
            <a:pPr algn="ctr"/>
            <a:r>
              <a:rPr lang="en-GB" sz="1800" dirty="0">
                <a:solidFill>
                  <a:schemeClr val="tx1"/>
                </a:solidFill>
                <a:latin typeface="Segoe UI Light" pitchFamily="34" charset="0"/>
                <a:cs typeface="Segoe UI Light" pitchFamily="34" charset="0"/>
              </a:rPr>
              <a:t>vCenter Orchestrator</a:t>
            </a:r>
          </a:p>
        </p:txBody>
      </p:sp>
      <p:sp>
        <p:nvSpPr>
          <p:cNvPr id="49" name="Rectangle 48"/>
          <p:cNvSpPr/>
          <p:nvPr/>
        </p:nvSpPr>
        <p:spPr>
          <a:xfrm>
            <a:off x="2799888" y="1653689"/>
            <a:ext cx="2858244" cy="466733"/>
          </a:xfrm>
          <a:prstGeom prst="rect">
            <a:avLst/>
          </a:prstGeom>
          <a:solidFill>
            <a:schemeClr val="bg2">
              <a:lumMod val="75000"/>
            </a:schemeClr>
          </a:solidFill>
          <a:ln>
            <a:noFill/>
          </a:ln>
          <a:effectLst/>
        </p:spPr>
        <p:style>
          <a:lnRef idx="2">
            <a:schemeClr val="accent6">
              <a:shade val="50000"/>
            </a:schemeClr>
          </a:lnRef>
          <a:fillRef idx="1">
            <a:schemeClr val="accent6"/>
          </a:fillRef>
          <a:effectRef idx="0">
            <a:schemeClr val="accent6"/>
          </a:effectRef>
          <a:fontRef idx="minor">
            <a:schemeClr val="lt1"/>
          </a:fontRef>
        </p:style>
        <p:txBody>
          <a:bodyPr lIns="68586" tIns="137172" rIns="68586" bIns="137172" rtlCol="0" anchor="ctr"/>
          <a:lstStyle/>
          <a:p>
            <a:pPr algn="ctr"/>
            <a:r>
              <a:rPr lang="en-GB" sz="1800" dirty="0">
                <a:solidFill>
                  <a:schemeClr val="tx1"/>
                </a:solidFill>
                <a:latin typeface="Segoe UI Light" pitchFamily="34" charset="0"/>
                <a:cs typeface="Segoe UI Light" pitchFamily="34" charset="0"/>
              </a:rPr>
              <a:t>VMware Service Manager</a:t>
            </a:r>
          </a:p>
        </p:txBody>
      </p:sp>
      <p:sp>
        <p:nvSpPr>
          <p:cNvPr id="50" name="Rectangle 49"/>
          <p:cNvSpPr/>
          <p:nvPr/>
        </p:nvSpPr>
        <p:spPr>
          <a:xfrm>
            <a:off x="2799888" y="1139339"/>
            <a:ext cx="2858244" cy="466733"/>
          </a:xfrm>
          <a:prstGeom prst="rect">
            <a:avLst/>
          </a:prstGeom>
          <a:solidFill>
            <a:schemeClr val="bg2">
              <a:lumMod val="75000"/>
            </a:schemeClr>
          </a:solidFill>
          <a:ln>
            <a:noFill/>
          </a:ln>
          <a:effectLst/>
        </p:spPr>
        <p:style>
          <a:lnRef idx="2">
            <a:schemeClr val="accent6">
              <a:shade val="50000"/>
            </a:schemeClr>
          </a:lnRef>
          <a:fillRef idx="1">
            <a:schemeClr val="accent6"/>
          </a:fillRef>
          <a:effectRef idx="0">
            <a:schemeClr val="accent6"/>
          </a:effectRef>
          <a:fontRef idx="minor">
            <a:schemeClr val="lt1"/>
          </a:fontRef>
        </p:style>
        <p:txBody>
          <a:bodyPr lIns="68586" tIns="137172" rIns="68586" bIns="137172" rtlCol="0" anchor="ctr"/>
          <a:lstStyle/>
          <a:p>
            <a:pPr algn="ctr"/>
            <a:r>
              <a:rPr lang="en-GB" sz="1800" dirty="0">
                <a:solidFill>
                  <a:schemeClr val="tx1"/>
                </a:solidFill>
                <a:latin typeface="Segoe UI Light" pitchFamily="34" charset="0"/>
                <a:cs typeface="Segoe UI Light" pitchFamily="34" charset="0"/>
              </a:rPr>
              <a:t>vCloud Director</a:t>
            </a:r>
          </a:p>
        </p:txBody>
      </p:sp>
      <p:sp>
        <p:nvSpPr>
          <p:cNvPr id="51" name="Rectangle 50"/>
          <p:cNvSpPr/>
          <p:nvPr/>
        </p:nvSpPr>
        <p:spPr>
          <a:xfrm>
            <a:off x="2799888" y="3196739"/>
            <a:ext cx="2858244" cy="466733"/>
          </a:xfrm>
          <a:prstGeom prst="rect">
            <a:avLst/>
          </a:prstGeom>
          <a:solidFill>
            <a:schemeClr val="bg2">
              <a:lumMod val="75000"/>
            </a:schemeClr>
          </a:solidFill>
          <a:ln>
            <a:noFill/>
          </a:ln>
          <a:effectLst/>
        </p:spPr>
        <p:style>
          <a:lnRef idx="2">
            <a:schemeClr val="accent6">
              <a:shade val="50000"/>
            </a:schemeClr>
          </a:lnRef>
          <a:fillRef idx="1">
            <a:schemeClr val="accent6"/>
          </a:fillRef>
          <a:effectRef idx="0">
            <a:schemeClr val="accent6"/>
          </a:effectRef>
          <a:fontRef idx="minor">
            <a:schemeClr val="lt1"/>
          </a:fontRef>
        </p:style>
        <p:txBody>
          <a:bodyPr lIns="68586" tIns="137172" rIns="68586" bIns="137172" rtlCol="0" anchor="ctr"/>
          <a:lstStyle/>
          <a:p>
            <a:pPr algn="ctr"/>
            <a:r>
              <a:rPr lang="en-GB" dirty="0" smtClean="0">
                <a:solidFill>
                  <a:schemeClr val="tx1"/>
                </a:solidFill>
                <a:latin typeface="Segoe UI Light" pitchFamily="34" charset="0"/>
                <a:cs typeface="Segoe UI Light" pitchFamily="34" charset="0"/>
              </a:rPr>
              <a:t>vCenter Ops Mgmt. Suite</a:t>
            </a:r>
          </a:p>
          <a:p>
            <a:pPr algn="ctr"/>
            <a:r>
              <a:rPr lang="en-GB" dirty="0" smtClean="0">
                <a:solidFill>
                  <a:schemeClr val="tx1"/>
                </a:solidFill>
                <a:latin typeface="Segoe UI Light" pitchFamily="34" charset="0"/>
                <a:cs typeface="Segoe UI Light" pitchFamily="34" charset="0"/>
              </a:rPr>
              <a:t>vFabric App Perf Mgr, vFabric Hyperic</a:t>
            </a:r>
            <a:endParaRPr lang="en-GB" dirty="0">
              <a:solidFill>
                <a:schemeClr val="tx1"/>
              </a:solidFill>
              <a:latin typeface="Segoe UI Light" pitchFamily="34" charset="0"/>
              <a:cs typeface="Segoe UI Light" pitchFamily="34" charset="0"/>
            </a:endParaRPr>
          </a:p>
        </p:txBody>
      </p:sp>
      <p:sp>
        <p:nvSpPr>
          <p:cNvPr id="52" name="Rectangle 51"/>
          <p:cNvSpPr/>
          <p:nvPr/>
        </p:nvSpPr>
        <p:spPr>
          <a:xfrm>
            <a:off x="5772462" y="4225439"/>
            <a:ext cx="2858244" cy="466733"/>
          </a:xfrm>
          <a:prstGeom prst="rect">
            <a:avLst/>
          </a:prstGeom>
          <a:solidFill>
            <a:schemeClr val="bg2">
              <a:lumMod val="75000"/>
            </a:schemeClr>
          </a:solidFill>
          <a:ln>
            <a:noFill/>
          </a:ln>
          <a:effectLst/>
        </p:spPr>
        <p:style>
          <a:lnRef idx="2">
            <a:schemeClr val="accent6">
              <a:shade val="50000"/>
            </a:schemeClr>
          </a:lnRef>
          <a:fillRef idx="1">
            <a:schemeClr val="accent6"/>
          </a:fillRef>
          <a:effectRef idx="0">
            <a:schemeClr val="accent6"/>
          </a:effectRef>
          <a:fontRef idx="minor">
            <a:schemeClr val="lt1"/>
          </a:fontRef>
        </p:style>
        <p:txBody>
          <a:bodyPr lIns="68586" tIns="137172" rIns="68586" bIns="137172" rtlCol="0" anchor="ctr"/>
          <a:lstStyle/>
          <a:p>
            <a:pPr algn="ctr"/>
            <a:r>
              <a:rPr lang="en-GB" sz="1800" dirty="0">
                <a:solidFill>
                  <a:schemeClr val="tx1"/>
                </a:solidFill>
                <a:latin typeface="Segoe UI Light" pitchFamily="34" charset="0"/>
                <a:cs typeface="Segoe UI Light" pitchFamily="34" charset="0"/>
              </a:rPr>
              <a:t>Hyper-V</a:t>
            </a:r>
          </a:p>
        </p:txBody>
      </p:sp>
      <p:sp>
        <p:nvSpPr>
          <p:cNvPr id="53" name="Rectangle 52"/>
          <p:cNvSpPr/>
          <p:nvPr/>
        </p:nvSpPr>
        <p:spPr>
          <a:xfrm>
            <a:off x="5772462" y="3711089"/>
            <a:ext cx="2858244" cy="466733"/>
          </a:xfrm>
          <a:prstGeom prst="rect">
            <a:avLst/>
          </a:prstGeom>
          <a:solidFill>
            <a:schemeClr val="bg2">
              <a:lumMod val="75000"/>
            </a:schemeClr>
          </a:solidFill>
          <a:ln>
            <a:noFill/>
          </a:ln>
          <a:effectLst/>
        </p:spPr>
        <p:style>
          <a:lnRef idx="2">
            <a:schemeClr val="accent6">
              <a:shade val="50000"/>
            </a:schemeClr>
          </a:lnRef>
          <a:fillRef idx="1">
            <a:schemeClr val="accent6"/>
          </a:fillRef>
          <a:effectRef idx="0">
            <a:schemeClr val="accent6"/>
          </a:effectRef>
          <a:fontRef idx="minor">
            <a:schemeClr val="lt1"/>
          </a:fontRef>
        </p:style>
        <p:txBody>
          <a:bodyPr lIns="68586" tIns="137172" rIns="68586" bIns="137172" rtlCol="0" anchor="ctr"/>
          <a:lstStyle/>
          <a:p>
            <a:pPr algn="ctr"/>
            <a:r>
              <a:rPr lang="en-GB" sz="1800" dirty="0">
                <a:solidFill>
                  <a:schemeClr val="tx1"/>
                </a:solidFill>
                <a:latin typeface="Segoe UI Light" pitchFamily="34" charset="0"/>
                <a:cs typeface="Segoe UI Light" pitchFamily="34" charset="0"/>
              </a:rPr>
              <a:t>Virtual Machine Manager</a:t>
            </a:r>
          </a:p>
        </p:txBody>
      </p:sp>
      <p:sp>
        <p:nvSpPr>
          <p:cNvPr id="54" name="Rectangle 53"/>
          <p:cNvSpPr/>
          <p:nvPr/>
        </p:nvSpPr>
        <p:spPr>
          <a:xfrm>
            <a:off x="5772462" y="2682389"/>
            <a:ext cx="2858244" cy="466733"/>
          </a:xfrm>
          <a:prstGeom prst="rect">
            <a:avLst/>
          </a:prstGeom>
          <a:solidFill>
            <a:schemeClr val="bg2">
              <a:lumMod val="75000"/>
            </a:schemeClr>
          </a:solidFill>
          <a:ln>
            <a:noFill/>
          </a:ln>
          <a:effectLst/>
        </p:spPr>
        <p:style>
          <a:lnRef idx="2">
            <a:schemeClr val="accent6">
              <a:shade val="50000"/>
            </a:schemeClr>
          </a:lnRef>
          <a:fillRef idx="1">
            <a:schemeClr val="accent6"/>
          </a:fillRef>
          <a:effectRef idx="0">
            <a:schemeClr val="accent6"/>
          </a:effectRef>
          <a:fontRef idx="minor">
            <a:schemeClr val="lt1"/>
          </a:fontRef>
        </p:style>
        <p:txBody>
          <a:bodyPr lIns="68586" tIns="137172" rIns="68586" bIns="137172" rtlCol="0" anchor="ctr"/>
          <a:lstStyle/>
          <a:p>
            <a:pPr algn="ctr"/>
            <a:r>
              <a:rPr lang="en-GB" sz="1800" dirty="0">
                <a:solidFill>
                  <a:schemeClr val="tx1"/>
                </a:solidFill>
                <a:latin typeface="Segoe UI Light" pitchFamily="34" charset="0"/>
                <a:cs typeface="Segoe UI Light" pitchFamily="34" charset="0"/>
              </a:rPr>
              <a:t>Orchestrator</a:t>
            </a:r>
          </a:p>
        </p:txBody>
      </p:sp>
      <p:sp>
        <p:nvSpPr>
          <p:cNvPr id="55" name="Rectangle 54"/>
          <p:cNvSpPr/>
          <p:nvPr/>
        </p:nvSpPr>
        <p:spPr>
          <a:xfrm>
            <a:off x="5772462" y="1653689"/>
            <a:ext cx="2858244" cy="466733"/>
          </a:xfrm>
          <a:prstGeom prst="rect">
            <a:avLst/>
          </a:prstGeom>
          <a:solidFill>
            <a:schemeClr val="bg2">
              <a:lumMod val="75000"/>
            </a:schemeClr>
          </a:solidFill>
          <a:ln>
            <a:noFill/>
          </a:ln>
          <a:effectLst/>
        </p:spPr>
        <p:style>
          <a:lnRef idx="2">
            <a:schemeClr val="accent6">
              <a:shade val="50000"/>
            </a:schemeClr>
          </a:lnRef>
          <a:fillRef idx="1">
            <a:schemeClr val="accent6"/>
          </a:fillRef>
          <a:effectRef idx="0">
            <a:schemeClr val="accent6"/>
          </a:effectRef>
          <a:fontRef idx="minor">
            <a:schemeClr val="lt1"/>
          </a:fontRef>
        </p:style>
        <p:txBody>
          <a:bodyPr lIns="68586" tIns="137172" rIns="68586" bIns="137172" rtlCol="0" anchor="ctr"/>
          <a:lstStyle/>
          <a:p>
            <a:pPr algn="ctr"/>
            <a:r>
              <a:rPr lang="en-GB" sz="1800" dirty="0">
                <a:solidFill>
                  <a:schemeClr val="tx1"/>
                </a:solidFill>
                <a:latin typeface="Segoe UI Light" pitchFamily="34" charset="0"/>
                <a:cs typeface="Segoe UI Light" pitchFamily="34" charset="0"/>
              </a:rPr>
              <a:t>Service Manager</a:t>
            </a:r>
          </a:p>
        </p:txBody>
      </p:sp>
      <p:sp>
        <p:nvSpPr>
          <p:cNvPr id="56" name="Rectangle 55"/>
          <p:cNvSpPr/>
          <p:nvPr/>
        </p:nvSpPr>
        <p:spPr>
          <a:xfrm>
            <a:off x="5772462" y="1139339"/>
            <a:ext cx="2858244" cy="466733"/>
          </a:xfrm>
          <a:prstGeom prst="rect">
            <a:avLst/>
          </a:prstGeom>
          <a:solidFill>
            <a:schemeClr val="bg2">
              <a:lumMod val="75000"/>
            </a:schemeClr>
          </a:solidFill>
          <a:ln>
            <a:noFill/>
          </a:ln>
          <a:effectLst/>
        </p:spPr>
        <p:style>
          <a:lnRef idx="2">
            <a:schemeClr val="accent6">
              <a:shade val="50000"/>
            </a:schemeClr>
          </a:lnRef>
          <a:fillRef idx="1">
            <a:schemeClr val="accent6"/>
          </a:fillRef>
          <a:effectRef idx="0">
            <a:schemeClr val="accent6"/>
          </a:effectRef>
          <a:fontRef idx="minor">
            <a:schemeClr val="lt1"/>
          </a:fontRef>
        </p:style>
        <p:txBody>
          <a:bodyPr lIns="68586" tIns="137172" rIns="68586" bIns="137172" rtlCol="0" anchor="ctr"/>
          <a:lstStyle/>
          <a:p>
            <a:pPr algn="ctr"/>
            <a:r>
              <a:rPr lang="en-GB" sz="1800" dirty="0">
                <a:solidFill>
                  <a:schemeClr val="tx1"/>
                </a:solidFill>
                <a:latin typeface="Segoe UI Light" pitchFamily="34" charset="0"/>
                <a:cs typeface="Segoe UI Light" pitchFamily="34" charset="0"/>
              </a:rPr>
              <a:t>App Controller</a:t>
            </a:r>
          </a:p>
        </p:txBody>
      </p:sp>
      <p:sp>
        <p:nvSpPr>
          <p:cNvPr id="57" name="Rectangle 56"/>
          <p:cNvSpPr/>
          <p:nvPr/>
        </p:nvSpPr>
        <p:spPr>
          <a:xfrm>
            <a:off x="5772462" y="3196739"/>
            <a:ext cx="2858244" cy="466733"/>
          </a:xfrm>
          <a:prstGeom prst="rect">
            <a:avLst/>
          </a:prstGeom>
          <a:solidFill>
            <a:schemeClr val="bg2">
              <a:lumMod val="75000"/>
            </a:schemeClr>
          </a:solidFill>
          <a:ln>
            <a:noFill/>
          </a:ln>
          <a:effectLst/>
        </p:spPr>
        <p:style>
          <a:lnRef idx="2">
            <a:schemeClr val="accent6">
              <a:shade val="50000"/>
            </a:schemeClr>
          </a:lnRef>
          <a:fillRef idx="1">
            <a:schemeClr val="accent6"/>
          </a:fillRef>
          <a:effectRef idx="0">
            <a:schemeClr val="accent6"/>
          </a:effectRef>
          <a:fontRef idx="minor">
            <a:schemeClr val="lt1"/>
          </a:fontRef>
        </p:style>
        <p:txBody>
          <a:bodyPr lIns="68586" tIns="137172" rIns="68586" bIns="137172" rtlCol="0" anchor="ctr"/>
          <a:lstStyle/>
          <a:p>
            <a:pPr algn="ctr"/>
            <a:r>
              <a:rPr lang="en-GB" sz="1800" dirty="0">
                <a:solidFill>
                  <a:schemeClr val="tx1"/>
                </a:solidFill>
                <a:latin typeface="Segoe UI Light" pitchFamily="34" charset="0"/>
                <a:cs typeface="Segoe UI Light" pitchFamily="34" charset="0"/>
              </a:rPr>
              <a:t>Operations Manager</a:t>
            </a:r>
          </a:p>
        </p:txBody>
      </p:sp>
      <p:pic>
        <p:nvPicPr>
          <p:cNvPr id="58" name="Picture 57" descr="http://theitbros.com/wp-content/uploads/2011/02/vmware-logo.png"/>
          <p:cNvPicPr>
            <a:picLocks noChangeAspect="1" noChangeArrowheads="1"/>
          </p:cNvPicPr>
          <p:nvPr/>
        </p:nvPicPr>
        <p:blipFill rotWithShape="1">
          <a:blip r:embed="rId2" cstate="print">
            <a:extLst>
              <a:ext uri="{BEBA8EAE-BF5A-486C-A8C5-ECC9F3942E4B}">
                <a14:imgProps xmlns:a14="http://schemas.microsoft.com/office/drawing/2010/main">
                  <a14:imgLayer r:embed="rId3">
                    <a14:imgEffect>
                      <a14:backgroundRemoval t="30667" b="63556" l="1250" r="99375">
                        <a14:foregroundMark x1="3750" y1="34889" x2="3750" y2="34889"/>
                        <a14:foregroundMark x1="3854" y1="34889" x2="9063" y2="58000"/>
                        <a14:foregroundMark x1="41771" y1="42222" x2="41771" y2="42222"/>
                        <a14:foregroundMark x1="68438" y1="34667" x2="68438" y2="34667"/>
                        <a14:foregroundMark x1="76875" y1="36889" x2="76875" y2="36889"/>
                        <a14:foregroundMark x1="87708" y1="36000" x2="87708" y2="36000"/>
                      </a14:backgroundRemoval>
                    </a14:imgEffect>
                    <a14:imgEffect>
                      <a14:brightnessContrast bright="100000"/>
                    </a14:imgEffect>
                  </a14:imgLayer>
                </a14:imgProps>
              </a:ext>
              <a:ext uri="{28A0092B-C50C-407E-A947-70E740481C1C}">
                <a14:useLocalDpi xmlns:a14="http://schemas.microsoft.com/office/drawing/2010/main" val="0"/>
              </a:ext>
            </a:extLst>
          </a:blip>
          <a:srcRect t="29105" b="32546"/>
          <a:stretch/>
        </p:blipFill>
        <p:spPr bwMode="auto">
          <a:xfrm>
            <a:off x="3417670" y="685801"/>
            <a:ext cx="1622683" cy="291621"/>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2" descr="Microsoft logo and tagline"/>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gray">
          <a:xfrm>
            <a:off x="6334401" y="685801"/>
            <a:ext cx="1734369" cy="291621"/>
          </a:xfrm>
          <a:prstGeom prst="rect">
            <a:avLst/>
          </a:prstGeom>
          <a:noFill/>
          <a:ln>
            <a:noFill/>
          </a:ln>
        </p:spPr>
      </p:pic>
      <p:sp>
        <p:nvSpPr>
          <p:cNvPr id="60" name="Rectangle 59"/>
          <p:cNvSpPr/>
          <p:nvPr/>
        </p:nvSpPr>
        <p:spPr>
          <a:xfrm>
            <a:off x="570458" y="2168039"/>
            <a:ext cx="1943606" cy="466733"/>
          </a:xfrm>
          <a:prstGeom prst="rect">
            <a:avLst/>
          </a:prstGeom>
          <a:solidFill>
            <a:schemeClr val="bg2">
              <a:lumMod val="75000"/>
            </a:schemeClr>
          </a:solidFill>
          <a:ln>
            <a:noFill/>
          </a:ln>
          <a:effectLst/>
        </p:spPr>
        <p:style>
          <a:lnRef idx="2">
            <a:schemeClr val="accent6">
              <a:shade val="50000"/>
            </a:schemeClr>
          </a:lnRef>
          <a:fillRef idx="1">
            <a:schemeClr val="accent6"/>
          </a:fillRef>
          <a:effectRef idx="0">
            <a:schemeClr val="accent6"/>
          </a:effectRef>
          <a:fontRef idx="minor">
            <a:schemeClr val="lt1"/>
          </a:fontRef>
        </p:style>
        <p:txBody>
          <a:bodyPr lIns="68586" tIns="137172" rIns="68586" bIns="137172" rtlCol="0" anchor="ctr"/>
          <a:lstStyle/>
          <a:p>
            <a:pPr algn="ctr"/>
            <a:r>
              <a:rPr lang="en-GB" sz="1800" b="1" dirty="0">
                <a:solidFill>
                  <a:schemeClr val="tx1"/>
                </a:solidFill>
                <a:latin typeface="Segoe UI Light" pitchFamily="34" charset="0"/>
                <a:cs typeface="Segoe UI Light" pitchFamily="34" charset="0"/>
              </a:rPr>
              <a:t>Protection</a:t>
            </a:r>
          </a:p>
        </p:txBody>
      </p:sp>
      <p:sp>
        <p:nvSpPr>
          <p:cNvPr id="61" name="Rectangle 60"/>
          <p:cNvSpPr/>
          <p:nvPr/>
        </p:nvSpPr>
        <p:spPr>
          <a:xfrm>
            <a:off x="2799888" y="2168039"/>
            <a:ext cx="2858244" cy="466733"/>
          </a:xfrm>
          <a:prstGeom prst="rect">
            <a:avLst/>
          </a:prstGeom>
          <a:solidFill>
            <a:schemeClr val="bg2">
              <a:lumMod val="75000"/>
            </a:schemeClr>
          </a:solidFill>
          <a:ln>
            <a:noFill/>
          </a:ln>
          <a:effectLst/>
        </p:spPr>
        <p:style>
          <a:lnRef idx="2">
            <a:schemeClr val="accent6">
              <a:shade val="50000"/>
            </a:schemeClr>
          </a:lnRef>
          <a:fillRef idx="1">
            <a:schemeClr val="accent6"/>
          </a:fillRef>
          <a:effectRef idx="0">
            <a:schemeClr val="accent6"/>
          </a:effectRef>
          <a:fontRef idx="minor">
            <a:schemeClr val="lt1"/>
          </a:fontRef>
        </p:style>
        <p:txBody>
          <a:bodyPr lIns="68586" tIns="137172" rIns="68586" bIns="137172" rtlCol="0" anchor="ctr"/>
          <a:lstStyle/>
          <a:p>
            <a:pPr algn="ctr"/>
            <a:r>
              <a:rPr lang="en-GB" sz="1800" dirty="0">
                <a:solidFill>
                  <a:schemeClr val="tx1"/>
                </a:solidFill>
                <a:latin typeface="Segoe UI Light" pitchFamily="34" charset="0"/>
                <a:cs typeface="Segoe UI Light" pitchFamily="34" charset="0"/>
              </a:rPr>
              <a:t>Data Recovery 2.0</a:t>
            </a:r>
          </a:p>
        </p:txBody>
      </p:sp>
      <p:sp>
        <p:nvSpPr>
          <p:cNvPr id="62" name="Rectangle 61"/>
          <p:cNvSpPr/>
          <p:nvPr/>
        </p:nvSpPr>
        <p:spPr>
          <a:xfrm>
            <a:off x="5772462" y="2168039"/>
            <a:ext cx="2858244" cy="466733"/>
          </a:xfrm>
          <a:prstGeom prst="rect">
            <a:avLst/>
          </a:prstGeom>
          <a:solidFill>
            <a:schemeClr val="bg2">
              <a:lumMod val="75000"/>
            </a:schemeClr>
          </a:solidFill>
          <a:ln>
            <a:noFill/>
          </a:ln>
          <a:effectLst/>
        </p:spPr>
        <p:style>
          <a:lnRef idx="2">
            <a:schemeClr val="accent6">
              <a:shade val="50000"/>
            </a:schemeClr>
          </a:lnRef>
          <a:fillRef idx="1">
            <a:schemeClr val="accent6"/>
          </a:fillRef>
          <a:effectRef idx="0">
            <a:schemeClr val="accent6"/>
          </a:effectRef>
          <a:fontRef idx="minor">
            <a:schemeClr val="lt1"/>
          </a:fontRef>
        </p:style>
        <p:txBody>
          <a:bodyPr lIns="68586" tIns="137172" rIns="68586" bIns="137172" rtlCol="0" anchor="ctr"/>
          <a:lstStyle/>
          <a:p>
            <a:pPr algn="ctr"/>
            <a:r>
              <a:rPr lang="en-GB" sz="1800" dirty="0">
                <a:solidFill>
                  <a:schemeClr val="tx1"/>
                </a:solidFill>
                <a:latin typeface="Segoe UI Light" pitchFamily="34" charset="0"/>
                <a:cs typeface="Segoe UI Light" pitchFamily="34" charset="0"/>
              </a:rPr>
              <a:t>Data Protection Manager</a:t>
            </a:r>
          </a:p>
        </p:txBody>
      </p:sp>
      <p:sp>
        <p:nvSpPr>
          <p:cNvPr id="26" name="Rectangle 25"/>
          <p:cNvSpPr/>
          <p:nvPr/>
        </p:nvSpPr>
        <p:spPr>
          <a:xfrm>
            <a:off x="5772462" y="1139339"/>
            <a:ext cx="2858244" cy="3038483"/>
          </a:xfrm>
          <a:prstGeom prst="rect">
            <a:avLst/>
          </a:prstGeom>
          <a:solidFill>
            <a:schemeClr val="bg2">
              <a:lumMod val="75000"/>
            </a:schemeClr>
          </a:solidFill>
          <a:ln>
            <a:noFill/>
          </a:ln>
          <a:effectLst/>
        </p:spPr>
        <p:style>
          <a:lnRef idx="2">
            <a:schemeClr val="accent6">
              <a:shade val="50000"/>
            </a:schemeClr>
          </a:lnRef>
          <a:fillRef idx="1">
            <a:schemeClr val="accent6"/>
          </a:fillRef>
          <a:effectRef idx="0">
            <a:schemeClr val="accent6"/>
          </a:effectRef>
          <a:fontRef idx="minor">
            <a:schemeClr val="lt1"/>
          </a:fontRef>
        </p:style>
        <p:txBody>
          <a:bodyPr lIns="68586" tIns="137172" rIns="68586" bIns="137172" rtlCol="0" anchor="ctr"/>
          <a:lstStyle/>
          <a:p>
            <a:pPr algn="ctr"/>
            <a:r>
              <a:rPr lang="en-GB" sz="1800" dirty="0">
                <a:solidFill>
                  <a:schemeClr val="tx1"/>
                </a:solidFill>
                <a:latin typeface="Segoe UI Light" pitchFamily="34" charset="0"/>
                <a:cs typeface="Segoe UI Light" pitchFamily="34" charset="0"/>
              </a:rPr>
              <a:t>System Center 2012</a:t>
            </a:r>
          </a:p>
        </p:txBody>
      </p:sp>
      <p:sp>
        <p:nvSpPr>
          <p:cNvPr id="27"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8"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5"/>
              </a:rPr>
              <a:t>www.rapidbbs.cn</a:t>
            </a:r>
            <a:endParaRPr lang="zh-CN" altLang="en-US" sz="1200" b="0">
              <a:latin typeface="Arial" charset="0"/>
              <a:ea typeface="ＭＳ Ｐゴシック" pitchFamily="34" charset="-128"/>
            </a:endParaRPr>
          </a:p>
        </p:txBody>
      </p:sp>
      <p:pic>
        <p:nvPicPr>
          <p:cNvPr id="29" name="Picture 2">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316607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grpId="0" nodeType="clickEffect">
                                  <p:stCondLst>
                                    <p:cond delay="0"/>
                                  </p:stCondLst>
                                  <p:childTnLst>
                                    <p:set>
                                      <p:cBhvr rctx="PPT">
                                        <p:cTn id="6" dur="indefinite"/>
                                        <p:tgtEl>
                                          <p:spTgt spid="61"/>
                                        </p:tgtEl>
                                        <p:attrNameLst>
                                          <p:attrName>style.opacity</p:attrName>
                                        </p:attrNameLst>
                                      </p:cBhvr>
                                      <p:to>
                                        <p:strVal val="0.25"/>
                                      </p:to>
                                    </p:set>
                                    <p:animEffect filter="image" prLst="opacity: 0.25">
                                      <p:cBhvr rctx="IE">
                                        <p:cTn id="7" dur="indefinite"/>
                                        <p:tgtEl>
                                          <p:spTgt spid="61"/>
                                        </p:tgtEl>
                                      </p:cBhvr>
                                    </p:animEffect>
                                  </p:childTnLst>
                                </p:cTn>
                              </p:par>
                              <p:par>
                                <p:cTn id="8" presetID="9" presetClass="emph" presetSubtype="0" grpId="0" nodeType="withEffect">
                                  <p:stCondLst>
                                    <p:cond delay="0"/>
                                  </p:stCondLst>
                                  <p:childTnLst>
                                    <p:set>
                                      <p:cBhvr rctx="PPT">
                                        <p:cTn id="9" dur="indefinite"/>
                                        <p:tgtEl>
                                          <p:spTgt spid="48"/>
                                        </p:tgtEl>
                                        <p:attrNameLst>
                                          <p:attrName>style.opacity</p:attrName>
                                        </p:attrNameLst>
                                      </p:cBhvr>
                                      <p:to>
                                        <p:strVal val="0.25"/>
                                      </p:to>
                                    </p:set>
                                    <p:animEffect filter="image" prLst="opacity: 0.25">
                                      <p:cBhvr rctx="IE">
                                        <p:cTn id="10" dur="indefinite"/>
                                        <p:tgtEl>
                                          <p:spTgt spid="48"/>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6"/>
                                        </p:tgtEl>
                                        <p:attrNameLst>
                                          <p:attrName>style.visibility</p:attrName>
                                        </p:attrNameLst>
                                      </p:cBhvr>
                                      <p:to>
                                        <p:strVal val="visible"/>
                                      </p:to>
                                    </p:set>
                                    <p:animEffect transition="in" filter="fade">
                                      <p:cBhvr>
                                        <p:cTn id="15" dur="25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61" grpId="0" animBg="1"/>
      <p:bldP spid="26" grpId="0" animBg="1"/>
    </p:bldLst>
  </p:timing>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arison Focus</a:t>
            </a:r>
            <a:endParaRPr lang="en-US" dirty="0"/>
          </a:p>
        </p:txBody>
      </p:sp>
      <p:grpSp>
        <p:nvGrpSpPr>
          <p:cNvPr id="3" name="Group 2"/>
          <p:cNvGrpSpPr/>
          <p:nvPr/>
        </p:nvGrpSpPr>
        <p:grpSpPr>
          <a:xfrm>
            <a:off x="766112" y="1290079"/>
            <a:ext cx="1845872" cy="2609618"/>
            <a:chOff x="1021217" y="1720105"/>
            <a:chExt cx="2460522" cy="3479491"/>
          </a:xfrm>
        </p:grpSpPr>
        <p:sp>
          <p:nvSpPr>
            <p:cNvPr id="5" name="Rectangle 37"/>
            <p:cNvSpPr>
              <a:spLocks noChangeArrowheads="1"/>
            </p:cNvSpPr>
            <p:nvPr/>
          </p:nvSpPr>
          <p:spPr bwMode="auto">
            <a:xfrm>
              <a:off x="1021217" y="1720105"/>
              <a:ext cx="2460522" cy="3479491"/>
            </a:xfrm>
            <a:prstGeom prst="rect">
              <a:avLst/>
            </a:prstGeom>
            <a:solidFill>
              <a:schemeClr val="accent1"/>
            </a:solidFill>
            <a:ln w="9525">
              <a:noFill/>
              <a:miter lim="800000"/>
              <a:headEnd/>
              <a:tailEnd/>
            </a:ln>
          </p:spPr>
          <p:txBody>
            <a:bodyPr anchor="b"/>
            <a:lstStyle/>
            <a:p>
              <a:pPr defTabSz="685862" fontAlgn="base">
                <a:spcBef>
                  <a:spcPct val="0"/>
                </a:spcBef>
                <a:spcAft>
                  <a:spcPct val="0"/>
                </a:spcAft>
              </a:pPr>
              <a:r>
                <a:rPr lang="en-US" sz="1500" spc="-38" dirty="0">
                  <a:latin typeface="Segoe UI Light" pitchFamily="34" charset="0"/>
                  <a:cs typeface="Segoe UI Light" pitchFamily="34" charset="0"/>
                </a:rPr>
                <a:t>All About </a:t>
              </a:r>
              <a:br>
                <a:rPr lang="en-US" sz="1500" spc="-38" dirty="0">
                  <a:latin typeface="Segoe UI Light" pitchFamily="34" charset="0"/>
                  <a:cs typeface="Segoe UI Light" pitchFamily="34" charset="0"/>
                </a:rPr>
              </a:br>
              <a:r>
                <a:rPr lang="en-US" sz="1500" spc="-38" dirty="0">
                  <a:latin typeface="Segoe UI Light" pitchFamily="34" charset="0"/>
                  <a:cs typeface="Segoe UI Light" pitchFamily="34" charset="0"/>
                </a:rPr>
                <a:t>the App</a:t>
              </a:r>
            </a:p>
          </p:txBody>
        </p:sp>
        <p:pic>
          <p:nvPicPr>
            <p:cNvPr id="8" name="Picture 7" descr="\\MAGNUM\Projects\Microsoft\Cloud Power FY12\Design\ICONS_PNG\Application.png"/>
            <p:cNvPicPr>
              <a:picLocks noChangeAspect="1" noChangeArrowheads="1"/>
            </p:cNvPicPr>
            <p:nvPr/>
          </p:nvPicPr>
          <p:blipFill>
            <a:blip r:embed="rId2" cstate="email">
              <a:lum bright="100000"/>
              <a:extLst>
                <a:ext uri="{28A0092B-C50C-407E-A947-70E740481C1C}">
                  <a14:useLocalDpi xmlns:a14="http://schemas.microsoft.com/office/drawing/2010/main"/>
                </a:ext>
              </a:extLst>
            </a:blip>
            <a:srcRect/>
            <a:stretch>
              <a:fillRect/>
            </a:stretch>
          </p:blipFill>
          <p:spPr bwMode="auto">
            <a:xfrm>
              <a:off x="1276008" y="2376710"/>
              <a:ext cx="1962850" cy="1962338"/>
            </a:xfrm>
            <a:prstGeom prst="rect">
              <a:avLst/>
            </a:prstGeom>
            <a:noFill/>
          </p:spPr>
        </p:pic>
      </p:grpSp>
      <p:grpSp>
        <p:nvGrpSpPr>
          <p:cNvPr id="12" name="Group 11"/>
          <p:cNvGrpSpPr/>
          <p:nvPr/>
        </p:nvGrpSpPr>
        <p:grpSpPr>
          <a:xfrm>
            <a:off x="2718528" y="1290079"/>
            <a:ext cx="1845872" cy="2609618"/>
            <a:chOff x="3623760" y="1720106"/>
            <a:chExt cx="2460522" cy="3479490"/>
          </a:xfrm>
        </p:grpSpPr>
        <p:sp>
          <p:nvSpPr>
            <p:cNvPr id="4" name="Rectangle 36"/>
            <p:cNvSpPr>
              <a:spLocks noChangeArrowheads="1"/>
            </p:cNvSpPr>
            <p:nvPr/>
          </p:nvSpPr>
          <p:spPr bwMode="auto">
            <a:xfrm>
              <a:off x="3623760" y="1720106"/>
              <a:ext cx="2460522" cy="3479490"/>
            </a:xfrm>
            <a:prstGeom prst="rect">
              <a:avLst/>
            </a:prstGeom>
            <a:solidFill>
              <a:schemeClr val="accent2"/>
            </a:solidFill>
            <a:ln w="9525">
              <a:noFill/>
              <a:miter lim="800000"/>
              <a:headEnd/>
              <a:tailEnd/>
            </a:ln>
          </p:spPr>
          <p:txBody>
            <a:bodyPr anchor="b"/>
            <a:lstStyle/>
            <a:p>
              <a:pPr defTabSz="685862" fontAlgn="base">
                <a:spcBef>
                  <a:spcPct val="0"/>
                </a:spcBef>
                <a:spcAft>
                  <a:spcPct val="0"/>
                </a:spcAft>
              </a:pPr>
              <a:r>
                <a:rPr lang="en-US" sz="1500" spc="-38" dirty="0">
                  <a:latin typeface="Segoe UI Light" pitchFamily="34" charset="0"/>
                  <a:cs typeface="Segoe UI Light" pitchFamily="34" charset="0"/>
                </a:rPr>
                <a:t>Cross-Platform </a:t>
              </a:r>
              <a:br>
                <a:rPr lang="en-US" sz="1500" spc="-38" dirty="0">
                  <a:latin typeface="Segoe UI Light" pitchFamily="34" charset="0"/>
                  <a:cs typeface="Segoe UI Light" pitchFamily="34" charset="0"/>
                </a:rPr>
              </a:br>
              <a:r>
                <a:rPr lang="en-US" sz="1500" spc="-38" dirty="0">
                  <a:latin typeface="Segoe UI Light" pitchFamily="34" charset="0"/>
                  <a:cs typeface="Segoe UI Light" pitchFamily="34" charset="0"/>
                </a:rPr>
                <a:t>From the Metal Up  </a:t>
              </a:r>
            </a:p>
          </p:txBody>
        </p:sp>
        <p:pic>
          <p:nvPicPr>
            <p:cNvPr id="9" name="Picture 8" descr="cross platform.png"/>
            <p:cNvPicPr>
              <a:picLocks noChangeAspect="1"/>
            </p:cNvPicPr>
            <p:nvPr/>
          </p:nvPicPr>
          <p:blipFill>
            <a:blip r:embed="rId3" cstate="email">
              <a:lum bright="100000"/>
              <a:extLst>
                <a:ext uri="{28A0092B-C50C-407E-A947-70E740481C1C}">
                  <a14:useLocalDpi xmlns:a14="http://schemas.microsoft.com/office/drawing/2010/main"/>
                </a:ext>
              </a:extLst>
            </a:blip>
            <a:stretch>
              <a:fillRect/>
            </a:stretch>
          </p:blipFill>
          <p:spPr>
            <a:xfrm>
              <a:off x="4041692" y="2794036"/>
              <a:ext cx="1572905" cy="980322"/>
            </a:xfrm>
            <a:prstGeom prst="rect">
              <a:avLst/>
            </a:prstGeom>
          </p:spPr>
        </p:pic>
      </p:grpSp>
      <p:grpSp>
        <p:nvGrpSpPr>
          <p:cNvPr id="13" name="Group 12"/>
          <p:cNvGrpSpPr/>
          <p:nvPr/>
        </p:nvGrpSpPr>
        <p:grpSpPr>
          <a:xfrm>
            <a:off x="4670944" y="1290079"/>
            <a:ext cx="1845872" cy="2609618"/>
            <a:chOff x="6226303" y="1720106"/>
            <a:chExt cx="2460522" cy="3479490"/>
          </a:xfrm>
        </p:grpSpPr>
        <p:sp>
          <p:nvSpPr>
            <p:cNvPr id="6" name="Rectangle 38"/>
            <p:cNvSpPr>
              <a:spLocks noChangeArrowheads="1"/>
            </p:cNvSpPr>
            <p:nvPr/>
          </p:nvSpPr>
          <p:spPr bwMode="auto">
            <a:xfrm>
              <a:off x="6226303" y="1720106"/>
              <a:ext cx="2460522" cy="3479490"/>
            </a:xfrm>
            <a:prstGeom prst="rect">
              <a:avLst/>
            </a:prstGeom>
            <a:solidFill>
              <a:schemeClr val="accent3"/>
            </a:solidFill>
            <a:ln w="9525">
              <a:noFill/>
              <a:miter lim="800000"/>
              <a:headEnd/>
              <a:tailEnd/>
            </a:ln>
          </p:spPr>
          <p:txBody>
            <a:bodyPr anchor="b"/>
            <a:lstStyle/>
            <a:p>
              <a:pPr defTabSz="685862" fontAlgn="base">
                <a:spcBef>
                  <a:spcPct val="0"/>
                </a:spcBef>
                <a:spcAft>
                  <a:spcPct val="0"/>
                </a:spcAft>
              </a:pPr>
              <a:r>
                <a:rPr lang="en-US" sz="1500" spc="-38" dirty="0">
                  <a:latin typeface="Segoe UI Light" pitchFamily="34" charset="0"/>
                  <a:cs typeface="Segoe UI Light" pitchFamily="34" charset="0"/>
                </a:rPr>
                <a:t>Foundation For </a:t>
              </a:r>
              <a:br>
                <a:rPr lang="en-US" sz="1500" spc="-38" dirty="0">
                  <a:latin typeface="Segoe UI Light" pitchFamily="34" charset="0"/>
                  <a:cs typeface="Segoe UI Light" pitchFamily="34" charset="0"/>
                </a:rPr>
              </a:br>
              <a:r>
                <a:rPr lang="en-US" sz="1500" spc="-38" dirty="0">
                  <a:latin typeface="Segoe UI Light" pitchFamily="34" charset="0"/>
                  <a:cs typeface="Segoe UI Light" pitchFamily="34" charset="0"/>
                </a:rPr>
                <a:t>the Future</a:t>
              </a:r>
            </a:p>
          </p:txBody>
        </p:sp>
        <p:pic>
          <p:nvPicPr>
            <p:cNvPr id="10" name="Picture 2" descr="\\MAGNUM\Projects\Microsoft\Cloud Power FY12\Design\Icons\PNGs\Scalable_Elastic_3.png"/>
            <p:cNvPicPr>
              <a:picLocks noChangeAspect="1" noChangeArrowheads="1"/>
            </p:cNvPicPr>
            <p:nvPr/>
          </p:nvPicPr>
          <p:blipFill>
            <a:blip r:embed="rId4" cstate="email">
              <a:lum bright="100000" contrast="100000"/>
              <a:extLst>
                <a:ext uri="{28A0092B-C50C-407E-A947-70E740481C1C}">
                  <a14:useLocalDpi xmlns:a14="http://schemas.microsoft.com/office/drawing/2010/main"/>
                </a:ext>
              </a:extLst>
            </a:blip>
            <a:stretch>
              <a:fillRect/>
            </a:stretch>
          </p:blipFill>
          <p:spPr bwMode="auto">
            <a:xfrm>
              <a:off x="6649179" y="2512874"/>
              <a:ext cx="1588605" cy="1588191"/>
            </a:xfrm>
            <a:prstGeom prst="rect">
              <a:avLst/>
            </a:prstGeom>
            <a:noFill/>
          </p:spPr>
        </p:pic>
      </p:grpSp>
      <p:grpSp>
        <p:nvGrpSpPr>
          <p:cNvPr id="14" name="Group 13"/>
          <p:cNvGrpSpPr/>
          <p:nvPr/>
        </p:nvGrpSpPr>
        <p:grpSpPr>
          <a:xfrm>
            <a:off x="6623359" y="1290079"/>
            <a:ext cx="1845872" cy="2609618"/>
            <a:chOff x="8828846" y="1720106"/>
            <a:chExt cx="2460522" cy="3479490"/>
          </a:xfrm>
        </p:grpSpPr>
        <p:sp>
          <p:nvSpPr>
            <p:cNvPr id="7" name="Rectangle 38"/>
            <p:cNvSpPr>
              <a:spLocks noChangeArrowheads="1"/>
            </p:cNvSpPr>
            <p:nvPr/>
          </p:nvSpPr>
          <p:spPr bwMode="auto">
            <a:xfrm>
              <a:off x="8828846" y="1720106"/>
              <a:ext cx="2460522" cy="3479490"/>
            </a:xfrm>
            <a:prstGeom prst="rect">
              <a:avLst/>
            </a:prstGeom>
            <a:solidFill>
              <a:schemeClr val="accent4"/>
            </a:solidFill>
            <a:ln w="9525">
              <a:noFill/>
              <a:miter lim="800000"/>
              <a:headEnd/>
              <a:tailEnd/>
            </a:ln>
          </p:spPr>
          <p:txBody>
            <a:bodyPr anchor="b"/>
            <a:lstStyle/>
            <a:p>
              <a:pPr defTabSz="685862" fontAlgn="base">
                <a:spcBef>
                  <a:spcPct val="0"/>
                </a:spcBef>
                <a:spcAft>
                  <a:spcPct val="0"/>
                </a:spcAft>
              </a:pPr>
              <a:r>
                <a:rPr lang="en-US" sz="1500" spc="-38" dirty="0">
                  <a:latin typeface="Segoe UI Light" pitchFamily="34" charset="0"/>
                  <a:cs typeface="Segoe UI Light" pitchFamily="34" charset="0"/>
                </a:rPr>
                <a:t>Cloud On </a:t>
              </a:r>
              <a:br>
                <a:rPr lang="en-US" sz="1500" spc="-38" dirty="0">
                  <a:latin typeface="Segoe UI Light" pitchFamily="34" charset="0"/>
                  <a:cs typeface="Segoe UI Light" pitchFamily="34" charset="0"/>
                </a:rPr>
              </a:br>
              <a:r>
                <a:rPr lang="en-US" sz="1500" spc="-38" dirty="0">
                  <a:latin typeface="Segoe UI Light" pitchFamily="34" charset="0"/>
                  <a:cs typeface="Segoe UI Light" pitchFamily="34" charset="0"/>
                </a:rPr>
                <a:t>Your Terms</a:t>
              </a:r>
            </a:p>
          </p:txBody>
        </p:sp>
        <p:pic>
          <p:nvPicPr>
            <p:cNvPr id="11" name="Picture 10" descr="Private_to_Partner.png"/>
            <p:cNvPicPr>
              <a:picLocks noChangeAspect="1"/>
            </p:cNvPicPr>
            <p:nvPr/>
          </p:nvPicPr>
          <p:blipFill>
            <a:blip r:embed="rId5" cstate="email">
              <a:lum bright="100000"/>
              <a:extLst>
                <a:ext uri="{28A0092B-C50C-407E-A947-70E740481C1C}">
                  <a14:useLocalDpi xmlns:a14="http://schemas.microsoft.com/office/drawing/2010/main"/>
                </a:ext>
              </a:extLst>
            </a:blip>
            <a:stretch>
              <a:fillRect/>
            </a:stretch>
          </p:blipFill>
          <p:spPr>
            <a:xfrm>
              <a:off x="9009813" y="2344705"/>
              <a:ext cx="1994343" cy="1994343"/>
            </a:xfrm>
            <a:prstGeom prst="rect">
              <a:avLst/>
            </a:prstGeom>
          </p:spPr>
        </p:pic>
      </p:grpSp>
      <p:pic>
        <p:nvPicPr>
          <p:cNvPr id="15" name="Picture 2">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0529063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1000"/>
                                        <p:tgtEl>
                                          <p:spTgt spid="12"/>
                                        </p:tgtEl>
                                      </p:cBhvr>
                                    </p:animEffect>
                                    <p:anim calcmode="lin" valueType="num">
                                      <p:cBhvr>
                                        <p:cTn id="14" dur="1000" fill="hold"/>
                                        <p:tgtEl>
                                          <p:spTgt spid="12"/>
                                        </p:tgtEl>
                                        <p:attrNameLst>
                                          <p:attrName>ppt_x</p:attrName>
                                        </p:attrNameLst>
                                      </p:cBhvr>
                                      <p:tavLst>
                                        <p:tav tm="0">
                                          <p:val>
                                            <p:strVal val="#ppt_x"/>
                                          </p:val>
                                        </p:tav>
                                        <p:tav tm="100000">
                                          <p:val>
                                            <p:strVal val="#ppt_x"/>
                                          </p:val>
                                        </p:tav>
                                      </p:tavLst>
                                    </p:anim>
                                    <p:anim calcmode="lin" valueType="num">
                                      <p:cBhvr>
                                        <p:cTn id="15" dur="1000" fill="hold"/>
                                        <p:tgtEl>
                                          <p:spTgt spid="12"/>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fade">
                                      <p:cBhvr>
                                        <p:cTn id="19" dur="1000"/>
                                        <p:tgtEl>
                                          <p:spTgt spid="13"/>
                                        </p:tgtEl>
                                      </p:cBhvr>
                                    </p:animEffect>
                                    <p:anim calcmode="lin" valueType="num">
                                      <p:cBhvr>
                                        <p:cTn id="20" dur="1000" fill="hold"/>
                                        <p:tgtEl>
                                          <p:spTgt spid="13"/>
                                        </p:tgtEl>
                                        <p:attrNameLst>
                                          <p:attrName>ppt_x</p:attrName>
                                        </p:attrNameLst>
                                      </p:cBhvr>
                                      <p:tavLst>
                                        <p:tav tm="0">
                                          <p:val>
                                            <p:strVal val="#ppt_x"/>
                                          </p:val>
                                        </p:tav>
                                        <p:tav tm="100000">
                                          <p:val>
                                            <p:strVal val="#ppt_x"/>
                                          </p:val>
                                        </p:tav>
                                      </p:tavLst>
                                    </p:anim>
                                    <p:anim calcmode="lin" valueType="num">
                                      <p:cBhvr>
                                        <p:cTn id="21" dur="1000" fill="hold"/>
                                        <p:tgtEl>
                                          <p:spTgt spid="13"/>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nodeType="after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1000"/>
                                        <p:tgtEl>
                                          <p:spTgt spid="14"/>
                                        </p:tgtEl>
                                      </p:cBhvr>
                                    </p:animEffect>
                                    <p:anim calcmode="lin" valueType="num">
                                      <p:cBhvr>
                                        <p:cTn id="26" dur="1000" fill="hold"/>
                                        <p:tgtEl>
                                          <p:spTgt spid="14"/>
                                        </p:tgtEl>
                                        <p:attrNameLst>
                                          <p:attrName>ppt_x</p:attrName>
                                        </p:attrNameLst>
                                      </p:cBhvr>
                                      <p:tavLst>
                                        <p:tav tm="0">
                                          <p:val>
                                            <p:strVal val="#ppt_x"/>
                                          </p:val>
                                        </p:tav>
                                        <p:tav tm="100000">
                                          <p:val>
                                            <p:strVal val="#ppt_x"/>
                                          </p:val>
                                        </p:tav>
                                      </p:tavLst>
                                    </p:anim>
                                    <p:anim calcmode="lin" valueType="num">
                                      <p:cBhvr>
                                        <p:cTn id="27"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All about the App</a:t>
            </a:r>
            <a:endParaRPr lang="en-US" dirty="0"/>
          </a:p>
        </p:txBody>
      </p:sp>
      <p:grpSp>
        <p:nvGrpSpPr>
          <p:cNvPr id="18" name="Group 17"/>
          <p:cNvGrpSpPr/>
          <p:nvPr/>
        </p:nvGrpSpPr>
        <p:grpSpPr>
          <a:xfrm>
            <a:off x="1725836" y="1290079"/>
            <a:ext cx="1845872" cy="2609618"/>
            <a:chOff x="2300515" y="1720105"/>
            <a:chExt cx="2460522" cy="3479491"/>
          </a:xfrm>
        </p:grpSpPr>
        <p:sp>
          <p:nvSpPr>
            <p:cNvPr id="8" name="Rectangle 37"/>
            <p:cNvSpPr>
              <a:spLocks noChangeArrowheads="1"/>
            </p:cNvSpPr>
            <p:nvPr/>
          </p:nvSpPr>
          <p:spPr bwMode="auto">
            <a:xfrm>
              <a:off x="2300515" y="1720105"/>
              <a:ext cx="2460522" cy="3479491"/>
            </a:xfrm>
            <a:prstGeom prst="rect">
              <a:avLst/>
            </a:prstGeom>
            <a:solidFill>
              <a:schemeClr val="bg2">
                <a:lumMod val="75000"/>
              </a:schemeClr>
            </a:solidFill>
            <a:ln w="9525">
              <a:noFill/>
              <a:miter lim="800000"/>
              <a:headEnd/>
              <a:tailEnd/>
            </a:ln>
          </p:spPr>
          <p:txBody>
            <a:bodyPr anchor="b"/>
            <a:lstStyle/>
            <a:p>
              <a:pPr defTabSz="685862" fontAlgn="base">
                <a:spcBef>
                  <a:spcPct val="0"/>
                </a:spcBef>
                <a:spcAft>
                  <a:spcPct val="0"/>
                </a:spcAft>
              </a:pPr>
              <a:r>
                <a:rPr lang="en-US" sz="1500" spc="-38" dirty="0">
                  <a:latin typeface="Segoe UI Light" pitchFamily="34" charset="0"/>
                  <a:cs typeface="Segoe UI Light" pitchFamily="34" charset="0"/>
                </a:rPr>
                <a:t>Constructing, Delivering &amp; Consuming Apps</a:t>
              </a:r>
            </a:p>
          </p:txBody>
        </p:sp>
        <p:pic>
          <p:nvPicPr>
            <p:cNvPr id="17" name="Picture 15"/>
            <p:cNvPicPr>
              <a:picLocks noChangeAspect="1" noChangeArrowheads="1"/>
            </p:cNvPicPr>
            <p:nvPr/>
          </p:nvPicPr>
          <p:blipFill>
            <a:blip r:embed="rId2" cstate="email">
              <a:biLevel thresh="25000"/>
              <a:extLst>
                <a:ext uri="{28A0092B-C50C-407E-A947-70E740481C1C}">
                  <a14:useLocalDpi xmlns:a14="http://schemas.microsoft.com/office/drawing/2010/main"/>
                </a:ext>
              </a:extLst>
            </a:blip>
            <a:srcRect/>
            <a:stretch>
              <a:fillRect/>
            </a:stretch>
          </p:blipFill>
          <p:spPr bwMode="auto">
            <a:xfrm>
              <a:off x="2817812" y="2209800"/>
              <a:ext cx="1295355" cy="16864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58" name="Group 57"/>
          <p:cNvGrpSpPr/>
          <p:nvPr/>
        </p:nvGrpSpPr>
        <p:grpSpPr>
          <a:xfrm>
            <a:off x="3645282" y="1290079"/>
            <a:ext cx="1845872" cy="2609618"/>
            <a:chOff x="4859110" y="1720105"/>
            <a:chExt cx="2460522" cy="3479491"/>
          </a:xfrm>
        </p:grpSpPr>
        <p:sp>
          <p:nvSpPr>
            <p:cNvPr id="11" name="Rectangle 37"/>
            <p:cNvSpPr>
              <a:spLocks noChangeArrowheads="1"/>
            </p:cNvSpPr>
            <p:nvPr/>
          </p:nvSpPr>
          <p:spPr bwMode="auto">
            <a:xfrm>
              <a:off x="4859110" y="1720105"/>
              <a:ext cx="2460522" cy="3479491"/>
            </a:xfrm>
            <a:prstGeom prst="rect">
              <a:avLst/>
            </a:prstGeom>
            <a:solidFill>
              <a:schemeClr val="bg2">
                <a:lumMod val="75000"/>
              </a:schemeClr>
            </a:solidFill>
            <a:ln w="9525">
              <a:noFill/>
              <a:miter lim="800000"/>
              <a:headEnd/>
              <a:tailEnd/>
            </a:ln>
          </p:spPr>
          <p:txBody>
            <a:bodyPr anchor="b"/>
            <a:lstStyle/>
            <a:p>
              <a:pPr defTabSz="685862" fontAlgn="base">
                <a:spcBef>
                  <a:spcPct val="0"/>
                </a:spcBef>
                <a:spcAft>
                  <a:spcPct val="0"/>
                </a:spcAft>
              </a:pPr>
              <a:r>
                <a:rPr lang="en-US" sz="1500" spc="-38" dirty="0">
                  <a:latin typeface="Segoe UI Light" pitchFamily="34" charset="0"/>
                  <a:cs typeface="Segoe UI Light" pitchFamily="34" charset="0"/>
                </a:rPr>
                <a:t>Maintaining, Managing &amp; Monitoring Apps</a:t>
              </a:r>
            </a:p>
          </p:txBody>
        </p:sp>
        <p:grpSp>
          <p:nvGrpSpPr>
            <p:cNvPr id="19" name="Group 18"/>
            <p:cNvGrpSpPr/>
            <p:nvPr/>
          </p:nvGrpSpPr>
          <p:grpSpPr>
            <a:xfrm>
              <a:off x="5180012" y="2151378"/>
              <a:ext cx="1840027" cy="1734822"/>
              <a:chOff x="4468813" y="3567113"/>
              <a:chExt cx="1360487" cy="1282700"/>
            </a:xfrm>
            <a:solidFill>
              <a:schemeClr val="tx1"/>
            </a:solidFill>
          </p:grpSpPr>
          <p:sp>
            <p:nvSpPr>
              <p:cNvPr id="20" name="Freeform 579"/>
              <p:cNvSpPr>
                <a:spLocks noEditPoints="1"/>
              </p:cNvSpPr>
              <p:nvPr/>
            </p:nvSpPr>
            <p:spPr bwMode="auto">
              <a:xfrm>
                <a:off x="4813300" y="3913188"/>
                <a:ext cx="668337" cy="668338"/>
              </a:xfrm>
              <a:custGeom>
                <a:avLst/>
                <a:gdLst>
                  <a:gd name="T0" fmla="*/ 346 w 693"/>
                  <a:gd name="T1" fmla="*/ 0 h 693"/>
                  <a:gd name="T2" fmla="*/ 0 w 693"/>
                  <a:gd name="T3" fmla="*/ 347 h 693"/>
                  <a:gd name="T4" fmla="*/ 346 w 693"/>
                  <a:gd name="T5" fmla="*/ 693 h 693"/>
                  <a:gd name="T6" fmla="*/ 693 w 693"/>
                  <a:gd name="T7" fmla="*/ 347 h 693"/>
                  <a:gd name="T8" fmla="*/ 346 w 693"/>
                  <a:gd name="T9" fmla="*/ 0 h 693"/>
                  <a:gd name="T10" fmla="*/ 346 w 693"/>
                  <a:gd name="T11" fmla="*/ 674 h 693"/>
                  <a:gd name="T12" fmla="*/ 19 w 693"/>
                  <a:gd name="T13" fmla="*/ 347 h 693"/>
                  <a:gd name="T14" fmla="*/ 346 w 693"/>
                  <a:gd name="T15" fmla="*/ 19 h 693"/>
                  <a:gd name="T16" fmla="*/ 674 w 693"/>
                  <a:gd name="T17" fmla="*/ 347 h 693"/>
                  <a:gd name="T18" fmla="*/ 346 w 693"/>
                  <a:gd name="T19" fmla="*/ 674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3" h="693">
                    <a:moveTo>
                      <a:pt x="346" y="0"/>
                    </a:moveTo>
                    <a:cubicBezTo>
                      <a:pt x="155" y="0"/>
                      <a:pt x="0" y="155"/>
                      <a:pt x="0" y="347"/>
                    </a:cubicBezTo>
                    <a:cubicBezTo>
                      <a:pt x="0" y="538"/>
                      <a:pt x="155" y="693"/>
                      <a:pt x="346" y="693"/>
                    </a:cubicBezTo>
                    <a:cubicBezTo>
                      <a:pt x="538" y="693"/>
                      <a:pt x="693" y="538"/>
                      <a:pt x="693" y="347"/>
                    </a:cubicBezTo>
                    <a:cubicBezTo>
                      <a:pt x="693" y="155"/>
                      <a:pt x="538" y="0"/>
                      <a:pt x="346" y="0"/>
                    </a:cubicBezTo>
                    <a:close/>
                    <a:moveTo>
                      <a:pt x="346" y="674"/>
                    </a:moveTo>
                    <a:cubicBezTo>
                      <a:pt x="165" y="674"/>
                      <a:pt x="19" y="527"/>
                      <a:pt x="19" y="347"/>
                    </a:cubicBezTo>
                    <a:cubicBezTo>
                      <a:pt x="19" y="166"/>
                      <a:pt x="165" y="19"/>
                      <a:pt x="346" y="19"/>
                    </a:cubicBezTo>
                    <a:cubicBezTo>
                      <a:pt x="527" y="19"/>
                      <a:pt x="674" y="166"/>
                      <a:pt x="674" y="347"/>
                    </a:cubicBezTo>
                    <a:cubicBezTo>
                      <a:pt x="674" y="527"/>
                      <a:pt x="527" y="674"/>
                      <a:pt x="346" y="6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Light" pitchFamily="34" charset="0"/>
                  <a:cs typeface="Segoe UI Light" pitchFamily="34" charset="0"/>
                </a:endParaRPr>
              </a:p>
            </p:txBody>
          </p:sp>
          <p:sp>
            <p:nvSpPr>
              <p:cNvPr id="21" name="Freeform 580"/>
              <p:cNvSpPr>
                <a:spLocks/>
              </p:cNvSpPr>
              <p:nvPr/>
            </p:nvSpPr>
            <p:spPr bwMode="auto">
              <a:xfrm>
                <a:off x="4918075" y="4098925"/>
                <a:ext cx="260350" cy="355600"/>
              </a:xfrm>
              <a:custGeom>
                <a:avLst/>
                <a:gdLst>
                  <a:gd name="T0" fmla="*/ 187 w 270"/>
                  <a:gd name="T1" fmla="*/ 150 h 370"/>
                  <a:gd name="T2" fmla="*/ 230 w 270"/>
                  <a:gd name="T3" fmla="*/ 79 h 370"/>
                  <a:gd name="T4" fmla="*/ 151 w 270"/>
                  <a:gd name="T5" fmla="*/ 0 h 370"/>
                  <a:gd name="T6" fmla="*/ 72 w 270"/>
                  <a:gd name="T7" fmla="*/ 79 h 370"/>
                  <a:gd name="T8" fmla="*/ 110 w 270"/>
                  <a:gd name="T9" fmla="*/ 147 h 370"/>
                  <a:gd name="T10" fmla="*/ 28 w 270"/>
                  <a:gd name="T11" fmla="*/ 230 h 370"/>
                  <a:gd name="T12" fmla="*/ 21 w 270"/>
                  <a:gd name="T13" fmla="*/ 312 h 370"/>
                  <a:gd name="T14" fmla="*/ 35 w 270"/>
                  <a:gd name="T15" fmla="*/ 281 h 370"/>
                  <a:gd name="T16" fmla="*/ 39 w 270"/>
                  <a:gd name="T17" fmla="*/ 322 h 370"/>
                  <a:gd name="T18" fmla="*/ 130 w 270"/>
                  <a:gd name="T19" fmla="*/ 356 h 370"/>
                  <a:gd name="T20" fmla="*/ 270 w 270"/>
                  <a:gd name="T21" fmla="*/ 281 h 370"/>
                  <a:gd name="T22" fmla="*/ 187 w 270"/>
                  <a:gd name="T23" fmla="*/ 15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0" h="370">
                    <a:moveTo>
                      <a:pt x="187" y="150"/>
                    </a:moveTo>
                    <a:cubicBezTo>
                      <a:pt x="213" y="137"/>
                      <a:pt x="230" y="110"/>
                      <a:pt x="230" y="79"/>
                    </a:cubicBezTo>
                    <a:cubicBezTo>
                      <a:pt x="230" y="35"/>
                      <a:pt x="195" y="0"/>
                      <a:pt x="151" y="0"/>
                    </a:cubicBezTo>
                    <a:cubicBezTo>
                      <a:pt x="107" y="0"/>
                      <a:pt x="72" y="35"/>
                      <a:pt x="72" y="79"/>
                    </a:cubicBezTo>
                    <a:cubicBezTo>
                      <a:pt x="72" y="108"/>
                      <a:pt x="87" y="133"/>
                      <a:pt x="110" y="147"/>
                    </a:cubicBezTo>
                    <a:cubicBezTo>
                      <a:pt x="70" y="155"/>
                      <a:pt x="50" y="180"/>
                      <a:pt x="28" y="230"/>
                    </a:cubicBezTo>
                    <a:cubicBezTo>
                      <a:pt x="0" y="294"/>
                      <a:pt x="21" y="312"/>
                      <a:pt x="21" y="312"/>
                    </a:cubicBezTo>
                    <a:cubicBezTo>
                      <a:pt x="35" y="281"/>
                      <a:pt x="35" y="281"/>
                      <a:pt x="35" y="281"/>
                    </a:cubicBezTo>
                    <a:cubicBezTo>
                      <a:pt x="39" y="322"/>
                      <a:pt x="39" y="322"/>
                      <a:pt x="39" y="322"/>
                    </a:cubicBezTo>
                    <a:cubicBezTo>
                      <a:pt x="39" y="322"/>
                      <a:pt x="63" y="350"/>
                      <a:pt x="130" y="356"/>
                    </a:cubicBezTo>
                    <a:cubicBezTo>
                      <a:pt x="201" y="362"/>
                      <a:pt x="270" y="370"/>
                      <a:pt x="270" y="281"/>
                    </a:cubicBezTo>
                    <a:cubicBezTo>
                      <a:pt x="270" y="211"/>
                      <a:pt x="234" y="166"/>
                      <a:pt x="187" y="1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Light" pitchFamily="34" charset="0"/>
                  <a:cs typeface="Segoe UI Light" pitchFamily="34" charset="0"/>
                </a:endParaRPr>
              </a:p>
            </p:txBody>
          </p:sp>
          <p:sp>
            <p:nvSpPr>
              <p:cNvPr id="22" name="Freeform 581"/>
              <p:cNvSpPr>
                <a:spLocks noEditPoints="1"/>
              </p:cNvSpPr>
              <p:nvPr/>
            </p:nvSpPr>
            <p:spPr bwMode="auto">
              <a:xfrm>
                <a:off x="5003800" y="3567113"/>
                <a:ext cx="287337" cy="288925"/>
              </a:xfrm>
              <a:custGeom>
                <a:avLst/>
                <a:gdLst>
                  <a:gd name="T0" fmla="*/ 149 w 299"/>
                  <a:gd name="T1" fmla="*/ 0 h 299"/>
                  <a:gd name="T2" fmla="*/ 0 w 299"/>
                  <a:gd name="T3" fmla="*/ 150 h 299"/>
                  <a:gd name="T4" fmla="*/ 149 w 299"/>
                  <a:gd name="T5" fmla="*/ 299 h 299"/>
                  <a:gd name="T6" fmla="*/ 299 w 299"/>
                  <a:gd name="T7" fmla="*/ 150 h 299"/>
                  <a:gd name="T8" fmla="*/ 149 w 299"/>
                  <a:gd name="T9" fmla="*/ 0 h 299"/>
                  <a:gd name="T10" fmla="*/ 149 w 299"/>
                  <a:gd name="T11" fmla="*/ 280 h 299"/>
                  <a:gd name="T12" fmla="*/ 19 w 299"/>
                  <a:gd name="T13" fmla="*/ 150 h 299"/>
                  <a:gd name="T14" fmla="*/ 149 w 299"/>
                  <a:gd name="T15" fmla="*/ 19 h 299"/>
                  <a:gd name="T16" fmla="*/ 280 w 299"/>
                  <a:gd name="T17" fmla="*/ 150 h 299"/>
                  <a:gd name="T18" fmla="*/ 149 w 299"/>
                  <a:gd name="T19" fmla="*/ 28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9" h="299">
                    <a:moveTo>
                      <a:pt x="149" y="0"/>
                    </a:moveTo>
                    <a:cubicBezTo>
                      <a:pt x="67" y="0"/>
                      <a:pt x="0" y="67"/>
                      <a:pt x="0" y="150"/>
                    </a:cubicBezTo>
                    <a:cubicBezTo>
                      <a:pt x="0" y="232"/>
                      <a:pt x="67" y="299"/>
                      <a:pt x="149" y="299"/>
                    </a:cubicBezTo>
                    <a:cubicBezTo>
                      <a:pt x="232" y="299"/>
                      <a:pt x="299" y="232"/>
                      <a:pt x="299" y="150"/>
                    </a:cubicBezTo>
                    <a:cubicBezTo>
                      <a:pt x="299" y="67"/>
                      <a:pt x="232" y="0"/>
                      <a:pt x="149" y="0"/>
                    </a:cubicBezTo>
                    <a:close/>
                    <a:moveTo>
                      <a:pt x="149" y="280"/>
                    </a:moveTo>
                    <a:cubicBezTo>
                      <a:pt x="77" y="280"/>
                      <a:pt x="19" y="222"/>
                      <a:pt x="19" y="150"/>
                    </a:cubicBezTo>
                    <a:cubicBezTo>
                      <a:pt x="19" y="78"/>
                      <a:pt x="77" y="19"/>
                      <a:pt x="149" y="19"/>
                    </a:cubicBezTo>
                    <a:cubicBezTo>
                      <a:pt x="221" y="19"/>
                      <a:pt x="280" y="78"/>
                      <a:pt x="280" y="150"/>
                    </a:cubicBezTo>
                    <a:cubicBezTo>
                      <a:pt x="280" y="222"/>
                      <a:pt x="221" y="280"/>
                      <a:pt x="149" y="2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Light" pitchFamily="34" charset="0"/>
                  <a:cs typeface="Segoe UI Light" pitchFamily="34" charset="0"/>
                </a:endParaRPr>
              </a:p>
            </p:txBody>
          </p:sp>
          <p:sp>
            <p:nvSpPr>
              <p:cNvPr id="23" name="Rectangle 582"/>
              <p:cNvSpPr>
                <a:spLocks noChangeArrowheads="1"/>
              </p:cNvSpPr>
              <p:nvPr/>
            </p:nvSpPr>
            <p:spPr bwMode="auto">
              <a:xfrm>
                <a:off x="5138738" y="3836988"/>
                <a:ext cx="17462"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Light" pitchFamily="34" charset="0"/>
                  <a:cs typeface="Segoe UI Light" pitchFamily="34" charset="0"/>
                </a:endParaRPr>
              </a:p>
            </p:txBody>
          </p:sp>
          <p:sp>
            <p:nvSpPr>
              <p:cNvPr id="24" name="Freeform 583"/>
              <p:cNvSpPr>
                <a:spLocks noEditPoints="1"/>
              </p:cNvSpPr>
              <p:nvPr/>
            </p:nvSpPr>
            <p:spPr bwMode="auto">
              <a:xfrm>
                <a:off x="4468813" y="3935413"/>
                <a:ext cx="322262" cy="323850"/>
              </a:xfrm>
              <a:custGeom>
                <a:avLst/>
                <a:gdLst>
                  <a:gd name="T0" fmla="*/ 26 w 335"/>
                  <a:gd name="T1" fmla="*/ 121 h 335"/>
                  <a:gd name="T2" fmla="*/ 121 w 335"/>
                  <a:gd name="T3" fmla="*/ 309 h 335"/>
                  <a:gd name="T4" fmla="*/ 310 w 335"/>
                  <a:gd name="T5" fmla="*/ 213 h 335"/>
                  <a:gd name="T6" fmla="*/ 214 w 335"/>
                  <a:gd name="T7" fmla="*/ 25 h 335"/>
                  <a:gd name="T8" fmla="*/ 26 w 335"/>
                  <a:gd name="T9" fmla="*/ 121 h 335"/>
                  <a:gd name="T10" fmla="*/ 292 w 335"/>
                  <a:gd name="T11" fmla="*/ 208 h 335"/>
                  <a:gd name="T12" fmla="*/ 127 w 335"/>
                  <a:gd name="T13" fmla="*/ 291 h 335"/>
                  <a:gd name="T14" fmla="*/ 44 w 335"/>
                  <a:gd name="T15" fmla="*/ 127 h 335"/>
                  <a:gd name="T16" fmla="*/ 208 w 335"/>
                  <a:gd name="T17" fmla="*/ 43 h 335"/>
                  <a:gd name="T18" fmla="*/ 292 w 335"/>
                  <a:gd name="T19" fmla="*/ 20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5" h="335">
                    <a:moveTo>
                      <a:pt x="26" y="121"/>
                    </a:moveTo>
                    <a:cubicBezTo>
                      <a:pt x="0" y="200"/>
                      <a:pt x="43" y="284"/>
                      <a:pt x="121" y="309"/>
                    </a:cubicBezTo>
                    <a:cubicBezTo>
                      <a:pt x="200" y="335"/>
                      <a:pt x="284" y="292"/>
                      <a:pt x="310" y="213"/>
                    </a:cubicBezTo>
                    <a:cubicBezTo>
                      <a:pt x="335" y="135"/>
                      <a:pt x="292" y="51"/>
                      <a:pt x="214" y="25"/>
                    </a:cubicBezTo>
                    <a:cubicBezTo>
                      <a:pt x="135" y="0"/>
                      <a:pt x="51" y="43"/>
                      <a:pt x="26" y="121"/>
                    </a:cubicBezTo>
                    <a:close/>
                    <a:moveTo>
                      <a:pt x="292" y="208"/>
                    </a:moveTo>
                    <a:cubicBezTo>
                      <a:pt x="269" y="276"/>
                      <a:pt x="196" y="314"/>
                      <a:pt x="127" y="291"/>
                    </a:cubicBezTo>
                    <a:cubicBezTo>
                      <a:pt x="59" y="269"/>
                      <a:pt x="21" y="195"/>
                      <a:pt x="44" y="127"/>
                    </a:cubicBezTo>
                    <a:cubicBezTo>
                      <a:pt x="66" y="58"/>
                      <a:pt x="139" y="21"/>
                      <a:pt x="208" y="43"/>
                    </a:cubicBezTo>
                    <a:cubicBezTo>
                      <a:pt x="276" y="65"/>
                      <a:pt x="314" y="139"/>
                      <a:pt x="292"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Light" pitchFamily="34" charset="0"/>
                  <a:cs typeface="Segoe UI Light" pitchFamily="34" charset="0"/>
                </a:endParaRPr>
              </a:p>
            </p:txBody>
          </p:sp>
          <p:sp>
            <p:nvSpPr>
              <p:cNvPr id="25" name="Freeform 584"/>
              <p:cNvSpPr>
                <a:spLocks/>
              </p:cNvSpPr>
              <p:nvPr/>
            </p:nvSpPr>
            <p:spPr bwMode="auto">
              <a:xfrm>
                <a:off x="4746625" y="4125913"/>
                <a:ext cx="95250" cy="47625"/>
              </a:xfrm>
              <a:custGeom>
                <a:avLst/>
                <a:gdLst>
                  <a:gd name="T0" fmla="*/ 4 w 60"/>
                  <a:gd name="T1" fmla="*/ 0 h 30"/>
                  <a:gd name="T2" fmla="*/ 60 w 60"/>
                  <a:gd name="T3" fmla="*/ 19 h 30"/>
                  <a:gd name="T4" fmla="*/ 56 w 60"/>
                  <a:gd name="T5" fmla="*/ 30 h 30"/>
                  <a:gd name="T6" fmla="*/ 0 w 60"/>
                  <a:gd name="T7" fmla="*/ 12 h 30"/>
                  <a:gd name="T8" fmla="*/ 4 w 60"/>
                  <a:gd name="T9" fmla="*/ 0 h 30"/>
                </a:gdLst>
                <a:ahLst/>
                <a:cxnLst>
                  <a:cxn ang="0">
                    <a:pos x="T0" y="T1"/>
                  </a:cxn>
                  <a:cxn ang="0">
                    <a:pos x="T2" y="T3"/>
                  </a:cxn>
                  <a:cxn ang="0">
                    <a:pos x="T4" y="T5"/>
                  </a:cxn>
                  <a:cxn ang="0">
                    <a:pos x="T6" y="T7"/>
                  </a:cxn>
                  <a:cxn ang="0">
                    <a:pos x="T8" y="T9"/>
                  </a:cxn>
                </a:cxnLst>
                <a:rect l="0" t="0" r="r" b="b"/>
                <a:pathLst>
                  <a:path w="60" h="30">
                    <a:moveTo>
                      <a:pt x="4" y="0"/>
                    </a:moveTo>
                    <a:lnTo>
                      <a:pt x="60" y="19"/>
                    </a:lnTo>
                    <a:lnTo>
                      <a:pt x="56" y="30"/>
                    </a:lnTo>
                    <a:lnTo>
                      <a:pt x="0" y="12"/>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Light" pitchFamily="34" charset="0"/>
                  <a:cs typeface="Segoe UI Light" pitchFamily="34" charset="0"/>
                </a:endParaRPr>
              </a:p>
            </p:txBody>
          </p:sp>
          <p:sp>
            <p:nvSpPr>
              <p:cNvPr id="26" name="Freeform 585"/>
              <p:cNvSpPr>
                <a:spLocks noEditPoints="1"/>
              </p:cNvSpPr>
              <p:nvPr/>
            </p:nvSpPr>
            <p:spPr bwMode="auto">
              <a:xfrm>
                <a:off x="5507038" y="3935413"/>
                <a:ext cx="322262" cy="323850"/>
              </a:xfrm>
              <a:custGeom>
                <a:avLst/>
                <a:gdLst>
                  <a:gd name="T0" fmla="*/ 121 w 335"/>
                  <a:gd name="T1" fmla="*/ 25 h 335"/>
                  <a:gd name="T2" fmla="*/ 25 w 335"/>
                  <a:gd name="T3" fmla="*/ 213 h 335"/>
                  <a:gd name="T4" fmla="*/ 214 w 335"/>
                  <a:gd name="T5" fmla="*/ 309 h 335"/>
                  <a:gd name="T6" fmla="*/ 309 w 335"/>
                  <a:gd name="T7" fmla="*/ 121 h 335"/>
                  <a:gd name="T8" fmla="*/ 121 w 335"/>
                  <a:gd name="T9" fmla="*/ 25 h 335"/>
                  <a:gd name="T10" fmla="*/ 127 w 335"/>
                  <a:gd name="T11" fmla="*/ 43 h 335"/>
                  <a:gd name="T12" fmla="*/ 291 w 335"/>
                  <a:gd name="T13" fmla="*/ 127 h 335"/>
                  <a:gd name="T14" fmla="*/ 208 w 335"/>
                  <a:gd name="T15" fmla="*/ 291 h 335"/>
                  <a:gd name="T16" fmla="*/ 43 w 335"/>
                  <a:gd name="T17" fmla="*/ 208 h 335"/>
                  <a:gd name="T18" fmla="*/ 127 w 335"/>
                  <a:gd name="T19" fmla="*/ 43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5" h="335">
                    <a:moveTo>
                      <a:pt x="121" y="25"/>
                    </a:moveTo>
                    <a:cubicBezTo>
                      <a:pt x="43" y="51"/>
                      <a:pt x="0" y="135"/>
                      <a:pt x="25" y="213"/>
                    </a:cubicBezTo>
                    <a:cubicBezTo>
                      <a:pt x="51" y="292"/>
                      <a:pt x="135" y="335"/>
                      <a:pt x="214" y="309"/>
                    </a:cubicBezTo>
                    <a:cubicBezTo>
                      <a:pt x="292" y="284"/>
                      <a:pt x="335" y="200"/>
                      <a:pt x="309" y="121"/>
                    </a:cubicBezTo>
                    <a:cubicBezTo>
                      <a:pt x="284" y="43"/>
                      <a:pt x="200" y="0"/>
                      <a:pt x="121" y="25"/>
                    </a:cubicBezTo>
                    <a:close/>
                    <a:moveTo>
                      <a:pt x="127" y="43"/>
                    </a:moveTo>
                    <a:cubicBezTo>
                      <a:pt x="196" y="21"/>
                      <a:pt x="269" y="58"/>
                      <a:pt x="291" y="127"/>
                    </a:cubicBezTo>
                    <a:cubicBezTo>
                      <a:pt x="314" y="195"/>
                      <a:pt x="276" y="269"/>
                      <a:pt x="208" y="291"/>
                    </a:cubicBezTo>
                    <a:cubicBezTo>
                      <a:pt x="139" y="314"/>
                      <a:pt x="66" y="276"/>
                      <a:pt x="43" y="208"/>
                    </a:cubicBezTo>
                    <a:cubicBezTo>
                      <a:pt x="21" y="139"/>
                      <a:pt x="59" y="65"/>
                      <a:pt x="127"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Light" pitchFamily="34" charset="0"/>
                  <a:cs typeface="Segoe UI Light" pitchFamily="34" charset="0"/>
                </a:endParaRPr>
              </a:p>
            </p:txBody>
          </p:sp>
          <p:sp>
            <p:nvSpPr>
              <p:cNvPr id="27" name="Freeform 586"/>
              <p:cNvSpPr>
                <a:spLocks/>
              </p:cNvSpPr>
              <p:nvPr/>
            </p:nvSpPr>
            <p:spPr bwMode="auto">
              <a:xfrm>
                <a:off x="5456238" y="4125913"/>
                <a:ext cx="95250" cy="47625"/>
              </a:xfrm>
              <a:custGeom>
                <a:avLst/>
                <a:gdLst>
                  <a:gd name="T0" fmla="*/ 56 w 60"/>
                  <a:gd name="T1" fmla="*/ 0 h 30"/>
                  <a:gd name="T2" fmla="*/ 0 w 60"/>
                  <a:gd name="T3" fmla="*/ 19 h 30"/>
                  <a:gd name="T4" fmla="*/ 4 w 60"/>
                  <a:gd name="T5" fmla="*/ 30 h 30"/>
                  <a:gd name="T6" fmla="*/ 60 w 60"/>
                  <a:gd name="T7" fmla="*/ 12 h 30"/>
                  <a:gd name="T8" fmla="*/ 56 w 60"/>
                  <a:gd name="T9" fmla="*/ 0 h 30"/>
                </a:gdLst>
                <a:ahLst/>
                <a:cxnLst>
                  <a:cxn ang="0">
                    <a:pos x="T0" y="T1"/>
                  </a:cxn>
                  <a:cxn ang="0">
                    <a:pos x="T2" y="T3"/>
                  </a:cxn>
                  <a:cxn ang="0">
                    <a:pos x="T4" y="T5"/>
                  </a:cxn>
                  <a:cxn ang="0">
                    <a:pos x="T6" y="T7"/>
                  </a:cxn>
                  <a:cxn ang="0">
                    <a:pos x="T8" y="T9"/>
                  </a:cxn>
                </a:cxnLst>
                <a:rect l="0" t="0" r="r" b="b"/>
                <a:pathLst>
                  <a:path w="60" h="30">
                    <a:moveTo>
                      <a:pt x="56" y="0"/>
                    </a:moveTo>
                    <a:lnTo>
                      <a:pt x="0" y="19"/>
                    </a:lnTo>
                    <a:lnTo>
                      <a:pt x="4" y="30"/>
                    </a:lnTo>
                    <a:lnTo>
                      <a:pt x="60" y="12"/>
                    </a:lnTo>
                    <a:lnTo>
                      <a:pt x="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Light" pitchFamily="34" charset="0"/>
                  <a:cs typeface="Segoe UI Light" pitchFamily="34" charset="0"/>
                </a:endParaRPr>
              </a:p>
            </p:txBody>
          </p:sp>
          <p:sp>
            <p:nvSpPr>
              <p:cNvPr id="28" name="Freeform 587"/>
              <p:cNvSpPr>
                <a:spLocks noEditPoints="1"/>
              </p:cNvSpPr>
              <p:nvPr/>
            </p:nvSpPr>
            <p:spPr bwMode="auto">
              <a:xfrm>
                <a:off x="4664075" y="4522788"/>
                <a:ext cx="325437" cy="327025"/>
              </a:xfrm>
              <a:custGeom>
                <a:avLst/>
                <a:gdLst>
                  <a:gd name="T0" fmla="*/ 81 w 338"/>
                  <a:gd name="T1" fmla="*/ 290 h 339"/>
                  <a:gd name="T2" fmla="*/ 290 w 338"/>
                  <a:gd name="T3" fmla="*/ 257 h 339"/>
                  <a:gd name="T4" fmla="*/ 257 w 338"/>
                  <a:gd name="T5" fmla="*/ 48 h 339"/>
                  <a:gd name="T6" fmla="*/ 48 w 338"/>
                  <a:gd name="T7" fmla="*/ 81 h 339"/>
                  <a:gd name="T8" fmla="*/ 81 w 338"/>
                  <a:gd name="T9" fmla="*/ 290 h 339"/>
                  <a:gd name="T10" fmla="*/ 246 w 338"/>
                  <a:gd name="T11" fmla="*/ 64 h 339"/>
                  <a:gd name="T12" fmla="*/ 275 w 338"/>
                  <a:gd name="T13" fmla="*/ 246 h 339"/>
                  <a:gd name="T14" fmla="*/ 92 w 338"/>
                  <a:gd name="T15" fmla="*/ 275 h 339"/>
                  <a:gd name="T16" fmla="*/ 64 w 338"/>
                  <a:gd name="T17" fmla="*/ 93 h 339"/>
                  <a:gd name="T18" fmla="*/ 246 w 338"/>
                  <a:gd name="T19" fmla="*/ 64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8" h="339">
                    <a:moveTo>
                      <a:pt x="81" y="290"/>
                    </a:moveTo>
                    <a:cubicBezTo>
                      <a:pt x="148" y="339"/>
                      <a:pt x="241" y="324"/>
                      <a:pt x="290" y="257"/>
                    </a:cubicBezTo>
                    <a:cubicBezTo>
                      <a:pt x="338" y="190"/>
                      <a:pt x="324" y="97"/>
                      <a:pt x="257" y="48"/>
                    </a:cubicBezTo>
                    <a:cubicBezTo>
                      <a:pt x="190" y="0"/>
                      <a:pt x="97" y="15"/>
                      <a:pt x="48" y="81"/>
                    </a:cubicBezTo>
                    <a:cubicBezTo>
                      <a:pt x="0" y="148"/>
                      <a:pt x="15" y="242"/>
                      <a:pt x="81" y="290"/>
                    </a:cubicBezTo>
                    <a:close/>
                    <a:moveTo>
                      <a:pt x="246" y="64"/>
                    </a:moveTo>
                    <a:cubicBezTo>
                      <a:pt x="304" y="106"/>
                      <a:pt x="317" y="188"/>
                      <a:pt x="275" y="246"/>
                    </a:cubicBezTo>
                    <a:cubicBezTo>
                      <a:pt x="232" y="304"/>
                      <a:pt x="151" y="317"/>
                      <a:pt x="92" y="275"/>
                    </a:cubicBezTo>
                    <a:cubicBezTo>
                      <a:pt x="34" y="232"/>
                      <a:pt x="21" y="151"/>
                      <a:pt x="64" y="93"/>
                    </a:cubicBezTo>
                    <a:cubicBezTo>
                      <a:pt x="106" y="34"/>
                      <a:pt x="187" y="21"/>
                      <a:pt x="246"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Light" pitchFamily="34" charset="0"/>
                  <a:cs typeface="Segoe UI Light" pitchFamily="34" charset="0"/>
                </a:endParaRPr>
              </a:p>
            </p:txBody>
          </p:sp>
          <p:sp>
            <p:nvSpPr>
              <p:cNvPr id="29" name="Freeform 588"/>
              <p:cNvSpPr>
                <a:spLocks/>
              </p:cNvSpPr>
              <p:nvPr/>
            </p:nvSpPr>
            <p:spPr bwMode="auto">
              <a:xfrm>
                <a:off x="4892675" y="4502150"/>
                <a:ext cx="69850" cy="87313"/>
              </a:xfrm>
              <a:custGeom>
                <a:avLst/>
                <a:gdLst>
                  <a:gd name="T0" fmla="*/ 0 w 44"/>
                  <a:gd name="T1" fmla="*/ 48 h 55"/>
                  <a:gd name="T2" fmla="*/ 35 w 44"/>
                  <a:gd name="T3" fmla="*/ 0 h 55"/>
                  <a:gd name="T4" fmla="*/ 44 w 44"/>
                  <a:gd name="T5" fmla="*/ 7 h 55"/>
                  <a:gd name="T6" fmla="*/ 9 w 44"/>
                  <a:gd name="T7" fmla="*/ 55 h 55"/>
                  <a:gd name="T8" fmla="*/ 0 w 44"/>
                  <a:gd name="T9" fmla="*/ 48 h 55"/>
                </a:gdLst>
                <a:ahLst/>
                <a:cxnLst>
                  <a:cxn ang="0">
                    <a:pos x="T0" y="T1"/>
                  </a:cxn>
                  <a:cxn ang="0">
                    <a:pos x="T2" y="T3"/>
                  </a:cxn>
                  <a:cxn ang="0">
                    <a:pos x="T4" y="T5"/>
                  </a:cxn>
                  <a:cxn ang="0">
                    <a:pos x="T6" y="T7"/>
                  </a:cxn>
                  <a:cxn ang="0">
                    <a:pos x="T8" y="T9"/>
                  </a:cxn>
                </a:cxnLst>
                <a:rect l="0" t="0" r="r" b="b"/>
                <a:pathLst>
                  <a:path w="44" h="55">
                    <a:moveTo>
                      <a:pt x="0" y="48"/>
                    </a:moveTo>
                    <a:lnTo>
                      <a:pt x="35" y="0"/>
                    </a:lnTo>
                    <a:lnTo>
                      <a:pt x="44" y="7"/>
                    </a:lnTo>
                    <a:lnTo>
                      <a:pt x="9" y="55"/>
                    </a:lnTo>
                    <a:lnTo>
                      <a:pt x="0"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Light" pitchFamily="34" charset="0"/>
                  <a:cs typeface="Segoe UI Light" pitchFamily="34" charset="0"/>
                </a:endParaRPr>
              </a:p>
            </p:txBody>
          </p:sp>
          <p:sp>
            <p:nvSpPr>
              <p:cNvPr id="30" name="Freeform 589"/>
              <p:cNvSpPr>
                <a:spLocks noEditPoints="1"/>
              </p:cNvSpPr>
              <p:nvPr/>
            </p:nvSpPr>
            <p:spPr bwMode="auto">
              <a:xfrm>
                <a:off x="5291138" y="4522788"/>
                <a:ext cx="327025" cy="327025"/>
              </a:xfrm>
              <a:custGeom>
                <a:avLst/>
                <a:gdLst>
                  <a:gd name="T0" fmla="*/ 257 w 339"/>
                  <a:gd name="T1" fmla="*/ 290 h 339"/>
                  <a:gd name="T2" fmla="*/ 290 w 339"/>
                  <a:gd name="T3" fmla="*/ 81 h 339"/>
                  <a:gd name="T4" fmla="*/ 81 w 339"/>
                  <a:gd name="T5" fmla="*/ 48 h 339"/>
                  <a:gd name="T6" fmla="*/ 48 w 339"/>
                  <a:gd name="T7" fmla="*/ 257 h 339"/>
                  <a:gd name="T8" fmla="*/ 257 w 339"/>
                  <a:gd name="T9" fmla="*/ 290 h 339"/>
                  <a:gd name="T10" fmla="*/ 93 w 339"/>
                  <a:gd name="T11" fmla="*/ 64 h 339"/>
                  <a:gd name="T12" fmla="*/ 275 w 339"/>
                  <a:gd name="T13" fmla="*/ 93 h 339"/>
                  <a:gd name="T14" fmla="*/ 246 w 339"/>
                  <a:gd name="T15" fmla="*/ 275 h 339"/>
                  <a:gd name="T16" fmla="*/ 64 w 339"/>
                  <a:gd name="T17" fmla="*/ 246 h 339"/>
                  <a:gd name="T18" fmla="*/ 93 w 339"/>
                  <a:gd name="T19" fmla="*/ 64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9" h="339">
                    <a:moveTo>
                      <a:pt x="257" y="290"/>
                    </a:moveTo>
                    <a:cubicBezTo>
                      <a:pt x="324" y="242"/>
                      <a:pt x="339" y="148"/>
                      <a:pt x="290" y="81"/>
                    </a:cubicBezTo>
                    <a:cubicBezTo>
                      <a:pt x="242" y="15"/>
                      <a:pt x="148" y="0"/>
                      <a:pt x="81" y="48"/>
                    </a:cubicBezTo>
                    <a:cubicBezTo>
                      <a:pt x="15" y="97"/>
                      <a:pt x="0" y="190"/>
                      <a:pt x="48" y="257"/>
                    </a:cubicBezTo>
                    <a:cubicBezTo>
                      <a:pt x="97" y="324"/>
                      <a:pt x="190" y="339"/>
                      <a:pt x="257" y="290"/>
                    </a:cubicBezTo>
                    <a:close/>
                    <a:moveTo>
                      <a:pt x="93" y="64"/>
                    </a:moveTo>
                    <a:cubicBezTo>
                      <a:pt x="151" y="21"/>
                      <a:pt x="232" y="34"/>
                      <a:pt x="275" y="93"/>
                    </a:cubicBezTo>
                    <a:cubicBezTo>
                      <a:pt x="317" y="151"/>
                      <a:pt x="304" y="232"/>
                      <a:pt x="246" y="275"/>
                    </a:cubicBezTo>
                    <a:cubicBezTo>
                      <a:pt x="188" y="317"/>
                      <a:pt x="106" y="304"/>
                      <a:pt x="64" y="246"/>
                    </a:cubicBezTo>
                    <a:cubicBezTo>
                      <a:pt x="21" y="188"/>
                      <a:pt x="34" y="106"/>
                      <a:pt x="93"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Light" pitchFamily="34" charset="0"/>
                  <a:cs typeface="Segoe UI Light" pitchFamily="34" charset="0"/>
                </a:endParaRPr>
              </a:p>
            </p:txBody>
          </p:sp>
          <p:sp>
            <p:nvSpPr>
              <p:cNvPr id="31" name="Freeform 590"/>
              <p:cNvSpPr>
                <a:spLocks/>
              </p:cNvSpPr>
              <p:nvPr/>
            </p:nvSpPr>
            <p:spPr bwMode="auto">
              <a:xfrm>
                <a:off x="5318125" y="4502150"/>
                <a:ext cx="69850" cy="87313"/>
              </a:xfrm>
              <a:custGeom>
                <a:avLst/>
                <a:gdLst>
                  <a:gd name="T0" fmla="*/ 35 w 44"/>
                  <a:gd name="T1" fmla="*/ 55 h 55"/>
                  <a:gd name="T2" fmla="*/ 0 w 44"/>
                  <a:gd name="T3" fmla="*/ 7 h 55"/>
                  <a:gd name="T4" fmla="*/ 9 w 44"/>
                  <a:gd name="T5" fmla="*/ 0 h 55"/>
                  <a:gd name="T6" fmla="*/ 44 w 44"/>
                  <a:gd name="T7" fmla="*/ 48 h 55"/>
                  <a:gd name="T8" fmla="*/ 35 w 44"/>
                  <a:gd name="T9" fmla="*/ 55 h 55"/>
                </a:gdLst>
                <a:ahLst/>
                <a:cxnLst>
                  <a:cxn ang="0">
                    <a:pos x="T0" y="T1"/>
                  </a:cxn>
                  <a:cxn ang="0">
                    <a:pos x="T2" y="T3"/>
                  </a:cxn>
                  <a:cxn ang="0">
                    <a:pos x="T4" y="T5"/>
                  </a:cxn>
                  <a:cxn ang="0">
                    <a:pos x="T6" y="T7"/>
                  </a:cxn>
                  <a:cxn ang="0">
                    <a:pos x="T8" y="T9"/>
                  </a:cxn>
                </a:cxnLst>
                <a:rect l="0" t="0" r="r" b="b"/>
                <a:pathLst>
                  <a:path w="44" h="55">
                    <a:moveTo>
                      <a:pt x="35" y="55"/>
                    </a:moveTo>
                    <a:lnTo>
                      <a:pt x="0" y="7"/>
                    </a:lnTo>
                    <a:lnTo>
                      <a:pt x="9" y="0"/>
                    </a:lnTo>
                    <a:lnTo>
                      <a:pt x="44" y="48"/>
                    </a:lnTo>
                    <a:lnTo>
                      <a:pt x="35" y="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Light" pitchFamily="34" charset="0"/>
                  <a:cs typeface="Segoe UI Light" pitchFamily="34" charset="0"/>
                </a:endParaRPr>
              </a:p>
            </p:txBody>
          </p:sp>
          <p:sp>
            <p:nvSpPr>
              <p:cNvPr id="32" name="Freeform 591"/>
              <p:cNvSpPr>
                <a:spLocks noEditPoints="1"/>
              </p:cNvSpPr>
              <p:nvPr/>
            </p:nvSpPr>
            <p:spPr bwMode="auto">
              <a:xfrm>
                <a:off x="5048250" y="3630613"/>
                <a:ext cx="176212" cy="169863"/>
              </a:xfrm>
              <a:custGeom>
                <a:avLst/>
                <a:gdLst>
                  <a:gd name="T0" fmla="*/ 170 w 183"/>
                  <a:gd name="T1" fmla="*/ 103 h 177"/>
                  <a:gd name="T2" fmla="*/ 169 w 183"/>
                  <a:gd name="T3" fmla="*/ 99 h 177"/>
                  <a:gd name="T4" fmla="*/ 160 w 183"/>
                  <a:gd name="T5" fmla="*/ 97 h 177"/>
                  <a:gd name="T6" fmla="*/ 175 w 183"/>
                  <a:gd name="T7" fmla="*/ 97 h 177"/>
                  <a:gd name="T8" fmla="*/ 183 w 183"/>
                  <a:gd name="T9" fmla="*/ 0 h 177"/>
                  <a:gd name="T10" fmla="*/ 65 w 183"/>
                  <a:gd name="T11" fmla="*/ 4 h 177"/>
                  <a:gd name="T12" fmla="*/ 59 w 183"/>
                  <a:gd name="T13" fmla="*/ 86 h 177"/>
                  <a:gd name="T14" fmla="*/ 70 w 183"/>
                  <a:gd name="T15" fmla="*/ 88 h 177"/>
                  <a:gd name="T16" fmla="*/ 63 w 183"/>
                  <a:gd name="T17" fmla="*/ 88 h 177"/>
                  <a:gd name="T18" fmla="*/ 61 w 183"/>
                  <a:gd name="T19" fmla="*/ 92 h 177"/>
                  <a:gd name="T20" fmla="*/ 14 w 183"/>
                  <a:gd name="T21" fmla="*/ 121 h 177"/>
                  <a:gd name="T22" fmla="*/ 0 w 183"/>
                  <a:gd name="T23" fmla="*/ 133 h 177"/>
                  <a:gd name="T24" fmla="*/ 3 w 183"/>
                  <a:gd name="T25" fmla="*/ 143 h 177"/>
                  <a:gd name="T26" fmla="*/ 4 w 183"/>
                  <a:gd name="T27" fmla="*/ 144 h 177"/>
                  <a:gd name="T28" fmla="*/ 5 w 183"/>
                  <a:gd name="T29" fmla="*/ 145 h 177"/>
                  <a:gd name="T30" fmla="*/ 9 w 183"/>
                  <a:gd name="T31" fmla="*/ 148 h 177"/>
                  <a:gd name="T32" fmla="*/ 138 w 183"/>
                  <a:gd name="T33" fmla="*/ 177 h 177"/>
                  <a:gd name="T34" fmla="*/ 158 w 183"/>
                  <a:gd name="T35" fmla="*/ 145 h 177"/>
                  <a:gd name="T36" fmla="*/ 165 w 183"/>
                  <a:gd name="T37" fmla="*/ 133 h 177"/>
                  <a:gd name="T38" fmla="*/ 168 w 183"/>
                  <a:gd name="T39" fmla="*/ 130 h 177"/>
                  <a:gd name="T40" fmla="*/ 174 w 183"/>
                  <a:gd name="T41" fmla="*/ 104 h 177"/>
                  <a:gd name="T42" fmla="*/ 170 w 183"/>
                  <a:gd name="T43" fmla="*/ 103 h 177"/>
                  <a:gd name="T44" fmla="*/ 78 w 183"/>
                  <a:gd name="T45" fmla="*/ 131 h 177"/>
                  <a:gd name="T46" fmla="*/ 56 w 183"/>
                  <a:gd name="T47" fmla="*/ 126 h 177"/>
                  <a:gd name="T48" fmla="*/ 65 w 183"/>
                  <a:gd name="T49" fmla="*/ 119 h 177"/>
                  <a:gd name="T50" fmla="*/ 88 w 183"/>
                  <a:gd name="T51" fmla="*/ 123 h 177"/>
                  <a:gd name="T52" fmla="*/ 78 w 183"/>
                  <a:gd name="T53" fmla="*/ 131 h 177"/>
                  <a:gd name="T54" fmla="*/ 145 w 183"/>
                  <a:gd name="T55" fmla="*/ 127 h 177"/>
                  <a:gd name="T56" fmla="*/ 43 w 183"/>
                  <a:gd name="T57" fmla="*/ 111 h 177"/>
                  <a:gd name="T58" fmla="*/ 64 w 183"/>
                  <a:gd name="T59" fmla="*/ 97 h 177"/>
                  <a:gd name="T60" fmla="*/ 157 w 183"/>
                  <a:gd name="T61" fmla="*/ 110 h 177"/>
                  <a:gd name="T62" fmla="*/ 145 w 183"/>
                  <a:gd name="T63" fmla="*/ 127 h 177"/>
                  <a:gd name="T64" fmla="*/ 70 w 183"/>
                  <a:gd name="T65" fmla="*/ 80 h 177"/>
                  <a:gd name="T66" fmla="*/ 75 w 183"/>
                  <a:gd name="T67" fmla="*/ 11 h 177"/>
                  <a:gd name="T68" fmla="*/ 171 w 183"/>
                  <a:gd name="T69" fmla="*/ 8 h 177"/>
                  <a:gd name="T70" fmla="*/ 162 w 183"/>
                  <a:gd name="T71" fmla="*/ 89 h 177"/>
                  <a:gd name="T72" fmla="*/ 70 w 183"/>
                  <a:gd name="T73" fmla="*/ 8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3" h="177">
                    <a:moveTo>
                      <a:pt x="170" y="103"/>
                    </a:moveTo>
                    <a:cubicBezTo>
                      <a:pt x="169" y="102"/>
                      <a:pt x="170" y="99"/>
                      <a:pt x="169" y="99"/>
                    </a:cubicBezTo>
                    <a:cubicBezTo>
                      <a:pt x="166" y="98"/>
                      <a:pt x="162" y="99"/>
                      <a:pt x="160" y="97"/>
                    </a:cubicBezTo>
                    <a:cubicBezTo>
                      <a:pt x="165" y="96"/>
                      <a:pt x="171" y="98"/>
                      <a:pt x="175" y="97"/>
                    </a:cubicBezTo>
                    <a:cubicBezTo>
                      <a:pt x="178" y="64"/>
                      <a:pt x="183" y="0"/>
                      <a:pt x="183" y="0"/>
                    </a:cubicBezTo>
                    <a:cubicBezTo>
                      <a:pt x="65" y="4"/>
                      <a:pt x="65" y="4"/>
                      <a:pt x="65" y="4"/>
                    </a:cubicBezTo>
                    <a:cubicBezTo>
                      <a:pt x="65" y="4"/>
                      <a:pt x="61" y="58"/>
                      <a:pt x="59" y="86"/>
                    </a:cubicBezTo>
                    <a:cubicBezTo>
                      <a:pt x="63" y="86"/>
                      <a:pt x="68" y="86"/>
                      <a:pt x="70" y="88"/>
                    </a:cubicBezTo>
                    <a:cubicBezTo>
                      <a:pt x="67" y="88"/>
                      <a:pt x="65" y="87"/>
                      <a:pt x="63" y="88"/>
                    </a:cubicBezTo>
                    <a:cubicBezTo>
                      <a:pt x="62" y="89"/>
                      <a:pt x="62" y="91"/>
                      <a:pt x="61" y="92"/>
                    </a:cubicBezTo>
                    <a:cubicBezTo>
                      <a:pt x="47" y="101"/>
                      <a:pt x="30" y="112"/>
                      <a:pt x="14" y="121"/>
                    </a:cubicBezTo>
                    <a:cubicBezTo>
                      <a:pt x="10" y="123"/>
                      <a:pt x="1" y="128"/>
                      <a:pt x="0" y="133"/>
                    </a:cubicBezTo>
                    <a:cubicBezTo>
                      <a:pt x="0" y="136"/>
                      <a:pt x="2" y="140"/>
                      <a:pt x="3" y="143"/>
                    </a:cubicBezTo>
                    <a:cubicBezTo>
                      <a:pt x="3" y="143"/>
                      <a:pt x="3" y="144"/>
                      <a:pt x="4" y="144"/>
                    </a:cubicBezTo>
                    <a:cubicBezTo>
                      <a:pt x="4" y="144"/>
                      <a:pt x="4" y="144"/>
                      <a:pt x="5" y="145"/>
                    </a:cubicBezTo>
                    <a:cubicBezTo>
                      <a:pt x="6" y="145"/>
                      <a:pt x="7" y="147"/>
                      <a:pt x="9" y="148"/>
                    </a:cubicBezTo>
                    <a:cubicBezTo>
                      <a:pt x="18" y="151"/>
                      <a:pt x="122" y="176"/>
                      <a:pt x="138" y="177"/>
                    </a:cubicBezTo>
                    <a:cubicBezTo>
                      <a:pt x="145" y="168"/>
                      <a:pt x="152" y="155"/>
                      <a:pt x="158" y="145"/>
                    </a:cubicBezTo>
                    <a:cubicBezTo>
                      <a:pt x="161" y="141"/>
                      <a:pt x="163" y="136"/>
                      <a:pt x="165" y="133"/>
                    </a:cubicBezTo>
                    <a:cubicBezTo>
                      <a:pt x="166" y="132"/>
                      <a:pt x="167" y="131"/>
                      <a:pt x="168" y="130"/>
                    </a:cubicBezTo>
                    <a:cubicBezTo>
                      <a:pt x="173" y="123"/>
                      <a:pt x="177" y="114"/>
                      <a:pt x="174" y="104"/>
                    </a:cubicBezTo>
                    <a:cubicBezTo>
                      <a:pt x="174" y="103"/>
                      <a:pt x="171" y="104"/>
                      <a:pt x="170" y="103"/>
                    </a:cubicBezTo>
                    <a:close/>
                    <a:moveTo>
                      <a:pt x="78" y="131"/>
                    </a:moveTo>
                    <a:cubicBezTo>
                      <a:pt x="56" y="126"/>
                      <a:pt x="56" y="126"/>
                      <a:pt x="56" y="126"/>
                    </a:cubicBezTo>
                    <a:cubicBezTo>
                      <a:pt x="65" y="119"/>
                      <a:pt x="65" y="119"/>
                      <a:pt x="65" y="119"/>
                    </a:cubicBezTo>
                    <a:cubicBezTo>
                      <a:pt x="88" y="123"/>
                      <a:pt x="88" y="123"/>
                      <a:pt x="88" y="123"/>
                    </a:cubicBezTo>
                    <a:lnTo>
                      <a:pt x="78" y="131"/>
                    </a:lnTo>
                    <a:close/>
                    <a:moveTo>
                      <a:pt x="145" y="127"/>
                    </a:moveTo>
                    <a:cubicBezTo>
                      <a:pt x="43" y="111"/>
                      <a:pt x="43" y="111"/>
                      <a:pt x="43" y="111"/>
                    </a:cubicBezTo>
                    <a:cubicBezTo>
                      <a:pt x="64" y="97"/>
                      <a:pt x="64" y="97"/>
                      <a:pt x="64" y="97"/>
                    </a:cubicBezTo>
                    <a:cubicBezTo>
                      <a:pt x="157" y="110"/>
                      <a:pt x="157" y="110"/>
                      <a:pt x="157" y="110"/>
                    </a:cubicBezTo>
                    <a:lnTo>
                      <a:pt x="145" y="127"/>
                    </a:lnTo>
                    <a:close/>
                    <a:moveTo>
                      <a:pt x="70" y="80"/>
                    </a:moveTo>
                    <a:cubicBezTo>
                      <a:pt x="75" y="11"/>
                      <a:pt x="75" y="11"/>
                      <a:pt x="75" y="11"/>
                    </a:cubicBezTo>
                    <a:cubicBezTo>
                      <a:pt x="171" y="8"/>
                      <a:pt x="171" y="8"/>
                      <a:pt x="171" y="8"/>
                    </a:cubicBezTo>
                    <a:cubicBezTo>
                      <a:pt x="162" y="89"/>
                      <a:pt x="162" y="89"/>
                      <a:pt x="162" y="89"/>
                    </a:cubicBezTo>
                    <a:lnTo>
                      <a:pt x="70"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Light" pitchFamily="34" charset="0"/>
                  <a:cs typeface="Segoe UI Light" pitchFamily="34" charset="0"/>
                </a:endParaRPr>
              </a:p>
            </p:txBody>
          </p:sp>
          <p:sp>
            <p:nvSpPr>
              <p:cNvPr id="33" name="Freeform 592"/>
              <p:cNvSpPr>
                <a:spLocks noEditPoints="1"/>
              </p:cNvSpPr>
              <p:nvPr/>
            </p:nvSpPr>
            <p:spPr bwMode="auto">
              <a:xfrm>
                <a:off x="5583238" y="3995738"/>
                <a:ext cx="168275" cy="190500"/>
              </a:xfrm>
              <a:custGeom>
                <a:avLst/>
                <a:gdLst>
                  <a:gd name="T0" fmla="*/ 174 w 175"/>
                  <a:gd name="T1" fmla="*/ 159 h 197"/>
                  <a:gd name="T2" fmla="*/ 169 w 175"/>
                  <a:gd name="T3" fmla="*/ 158 h 197"/>
                  <a:gd name="T4" fmla="*/ 168 w 175"/>
                  <a:gd name="T5" fmla="*/ 55 h 197"/>
                  <a:gd name="T6" fmla="*/ 96 w 175"/>
                  <a:gd name="T7" fmla="*/ 0 h 197"/>
                  <a:gd name="T8" fmla="*/ 18 w 175"/>
                  <a:gd name="T9" fmla="*/ 55 h 197"/>
                  <a:gd name="T10" fmla="*/ 16 w 175"/>
                  <a:gd name="T11" fmla="*/ 159 h 197"/>
                  <a:gd name="T12" fmla="*/ 1 w 175"/>
                  <a:gd name="T13" fmla="*/ 162 h 197"/>
                  <a:gd name="T14" fmla="*/ 0 w 175"/>
                  <a:gd name="T15" fmla="*/ 165 h 197"/>
                  <a:gd name="T16" fmla="*/ 87 w 175"/>
                  <a:gd name="T17" fmla="*/ 197 h 197"/>
                  <a:gd name="T18" fmla="*/ 175 w 175"/>
                  <a:gd name="T19" fmla="*/ 167 h 197"/>
                  <a:gd name="T20" fmla="*/ 174 w 175"/>
                  <a:gd name="T21" fmla="*/ 159 h 197"/>
                  <a:gd name="T22" fmla="*/ 20 w 175"/>
                  <a:gd name="T23" fmla="*/ 57 h 197"/>
                  <a:gd name="T24" fmla="*/ 96 w 175"/>
                  <a:gd name="T25" fmla="*/ 4 h 197"/>
                  <a:gd name="T26" fmla="*/ 98 w 175"/>
                  <a:gd name="T27" fmla="*/ 176 h 197"/>
                  <a:gd name="T28" fmla="*/ 19 w 175"/>
                  <a:gd name="T29" fmla="*/ 158 h 197"/>
                  <a:gd name="T30" fmla="*/ 20 w 175"/>
                  <a:gd name="T31" fmla="*/ 57 h 197"/>
                  <a:gd name="T32" fmla="*/ 87 w 175"/>
                  <a:gd name="T33" fmla="*/ 191 h 197"/>
                  <a:gd name="T34" fmla="*/ 3 w 175"/>
                  <a:gd name="T35" fmla="*/ 163 h 197"/>
                  <a:gd name="T36" fmla="*/ 17 w 175"/>
                  <a:gd name="T37" fmla="*/ 160 h 197"/>
                  <a:gd name="T38" fmla="*/ 19 w 175"/>
                  <a:gd name="T39" fmla="*/ 160 h 197"/>
                  <a:gd name="T40" fmla="*/ 98 w 175"/>
                  <a:gd name="T41" fmla="*/ 179 h 197"/>
                  <a:gd name="T42" fmla="*/ 134 w 175"/>
                  <a:gd name="T43" fmla="*/ 177 h 197"/>
                  <a:gd name="T44" fmla="*/ 87 w 175"/>
                  <a:gd name="T45" fmla="*/ 19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5" h="197">
                    <a:moveTo>
                      <a:pt x="174" y="159"/>
                    </a:moveTo>
                    <a:cubicBezTo>
                      <a:pt x="172" y="158"/>
                      <a:pt x="171" y="158"/>
                      <a:pt x="169" y="158"/>
                    </a:cubicBezTo>
                    <a:cubicBezTo>
                      <a:pt x="169" y="154"/>
                      <a:pt x="168" y="55"/>
                      <a:pt x="168" y="55"/>
                    </a:cubicBezTo>
                    <a:cubicBezTo>
                      <a:pt x="96" y="0"/>
                      <a:pt x="96" y="0"/>
                      <a:pt x="96" y="0"/>
                    </a:cubicBezTo>
                    <a:cubicBezTo>
                      <a:pt x="18" y="55"/>
                      <a:pt x="18" y="55"/>
                      <a:pt x="18" y="55"/>
                    </a:cubicBezTo>
                    <a:cubicBezTo>
                      <a:pt x="18" y="55"/>
                      <a:pt x="17" y="157"/>
                      <a:pt x="16" y="159"/>
                    </a:cubicBezTo>
                    <a:cubicBezTo>
                      <a:pt x="11" y="160"/>
                      <a:pt x="6" y="161"/>
                      <a:pt x="1" y="162"/>
                    </a:cubicBezTo>
                    <a:cubicBezTo>
                      <a:pt x="1" y="163"/>
                      <a:pt x="1" y="164"/>
                      <a:pt x="0" y="165"/>
                    </a:cubicBezTo>
                    <a:cubicBezTo>
                      <a:pt x="29" y="176"/>
                      <a:pt x="57" y="186"/>
                      <a:pt x="87" y="197"/>
                    </a:cubicBezTo>
                    <a:cubicBezTo>
                      <a:pt x="117" y="187"/>
                      <a:pt x="139" y="179"/>
                      <a:pt x="175" y="167"/>
                    </a:cubicBezTo>
                    <a:cubicBezTo>
                      <a:pt x="175" y="164"/>
                      <a:pt x="175" y="162"/>
                      <a:pt x="174" y="159"/>
                    </a:cubicBezTo>
                    <a:close/>
                    <a:moveTo>
                      <a:pt x="20" y="57"/>
                    </a:moveTo>
                    <a:cubicBezTo>
                      <a:pt x="96" y="4"/>
                      <a:pt x="96" y="4"/>
                      <a:pt x="96" y="4"/>
                    </a:cubicBezTo>
                    <a:cubicBezTo>
                      <a:pt x="98" y="176"/>
                      <a:pt x="98" y="176"/>
                      <a:pt x="98" y="176"/>
                    </a:cubicBezTo>
                    <a:cubicBezTo>
                      <a:pt x="91" y="176"/>
                      <a:pt x="25" y="160"/>
                      <a:pt x="19" y="158"/>
                    </a:cubicBezTo>
                    <a:cubicBezTo>
                      <a:pt x="19" y="154"/>
                      <a:pt x="20" y="57"/>
                      <a:pt x="20" y="57"/>
                    </a:cubicBezTo>
                    <a:close/>
                    <a:moveTo>
                      <a:pt x="87" y="191"/>
                    </a:moveTo>
                    <a:cubicBezTo>
                      <a:pt x="74" y="187"/>
                      <a:pt x="10" y="165"/>
                      <a:pt x="3" y="163"/>
                    </a:cubicBezTo>
                    <a:cubicBezTo>
                      <a:pt x="8" y="162"/>
                      <a:pt x="13" y="161"/>
                      <a:pt x="17" y="160"/>
                    </a:cubicBezTo>
                    <a:cubicBezTo>
                      <a:pt x="18" y="160"/>
                      <a:pt x="19" y="160"/>
                      <a:pt x="19" y="160"/>
                    </a:cubicBezTo>
                    <a:cubicBezTo>
                      <a:pt x="27" y="162"/>
                      <a:pt x="98" y="179"/>
                      <a:pt x="98" y="179"/>
                    </a:cubicBezTo>
                    <a:cubicBezTo>
                      <a:pt x="134" y="177"/>
                      <a:pt x="134" y="177"/>
                      <a:pt x="134" y="177"/>
                    </a:cubicBezTo>
                    <a:cubicBezTo>
                      <a:pt x="117" y="182"/>
                      <a:pt x="96" y="189"/>
                      <a:pt x="87" y="1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Light" pitchFamily="34" charset="0"/>
                  <a:cs typeface="Segoe UI Light" pitchFamily="34" charset="0"/>
                </a:endParaRPr>
              </a:p>
            </p:txBody>
          </p:sp>
          <p:sp>
            <p:nvSpPr>
              <p:cNvPr id="34" name="Freeform 593"/>
              <p:cNvSpPr>
                <a:spLocks/>
              </p:cNvSpPr>
              <p:nvPr/>
            </p:nvSpPr>
            <p:spPr bwMode="auto">
              <a:xfrm>
                <a:off x="5605463" y="4011613"/>
                <a:ext cx="65087" cy="49213"/>
              </a:xfrm>
              <a:custGeom>
                <a:avLst/>
                <a:gdLst>
                  <a:gd name="T0" fmla="*/ 41 w 41"/>
                  <a:gd name="T1" fmla="*/ 0 h 31"/>
                  <a:gd name="T2" fmla="*/ 0 w 41"/>
                  <a:gd name="T3" fmla="*/ 26 h 31"/>
                  <a:gd name="T4" fmla="*/ 0 w 41"/>
                  <a:gd name="T5" fmla="*/ 31 h 31"/>
                  <a:gd name="T6" fmla="*/ 41 w 41"/>
                  <a:gd name="T7" fmla="*/ 9 h 31"/>
                  <a:gd name="T8" fmla="*/ 41 w 41"/>
                  <a:gd name="T9" fmla="*/ 0 h 31"/>
                </a:gdLst>
                <a:ahLst/>
                <a:cxnLst>
                  <a:cxn ang="0">
                    <a:pos x="T0" y="T1"/>
                  </a:cxn>
                  <a:cxn ang="0">
                    <a:pos x="T2" y="T3"/>
                  </a:cxn>
                  <a:cxn ang="0">
                    <a:pos x="T4" y="T5"/>
                  </a:cxn>
                  <a:cxn ang="0">
                    <a:pos x="T6" y="T7"/>
                  </a:cxn>
                  <a:cxn ang="0">
                    <a:pos x="T8" y="T9"/>
                  </a:cxn>
                </a:cxnLst>
                <a:rect l="0" t="0" r="r" b="b"/>
                <a:pathLst>
                  <a:path w="41" h="31">
                    <a:moveTo>
                      <a:pt x="41" y="0"/>
                    </a:moveTo>
                    <a:lnTo>
                      <a:pt x="0" y="26"/>
                    </a:lnTo>
                    <a:lnTo>
                      <a:pt x="0" y="31"/>
                    </a:lnTo>
                    <a:lnTo>
                      <a:pt x="41" y="9"/>
                    </a:lnTo>
                    <a:lnTo>
                      <a:pt x="4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Light" pitchFamily="34" charset="0"/>
                  <a:cs typeface="Segoe UI Light" pitchFamily="34" charset="0"/>
                </a:endParaRPr>
              </a:p>
            </p:txBody>
          </p:sp>
          <p:sp>
            <p:nvSpPr>
              <p:cNvPr id="35" name="Freeform 594"/>
              <p:cNvSpPr>
                <a:spLocks/>
              </p:cNvSpPr>
              <p:nvPr/>
            </p:nvSpPr>
            <p:spPr bwMode="auto">
              <a:xfrm>
                <a:off x="5605463" y="4121150"/>
                <a:ext cx="66675" cy="14288"/>
              </a:xfrm>
              <a:custGeom>
                <a:avLst/>
                <a:gdLst>
                  <a:gd name="T0" fmla="*/ 42 w 42"/>
                  <a:gd name="T1" fmla="*/ 0 h 9"/>
                  <a:gd name="T2" fmla="*/ 0 w 42"/>
                  <a:gd name="T3" fmla="*/ 1 h 9"/>
                  <a:gd name="T4" fmla="*/ 0 w 42"/>
                  <a:gd name="T5" fmla="*/ 7 h 9"/>
                  <a:gd name="T6" fmla="*/ 42 w 42"/>
                  <a:gd name="T7" fmla="*/ 9 h 9"/>
                  <a:gd name="T8" fmla="*/ 42 w 42"/>
                  <a:gd name="T9" fmla="*/ 0 h 9"/>
                </a:gdLst>
                <a:ahLst/>
                <a:cxnLst>
                  <a:cxn ang="0">
                    <a:pos x="T0" y="T1"/>
                  </a:cxn>
                  <a:cxn ang="0">
                    <a:pos x="T2" y="T3"/>
                  </a:cxn>
                  <a:cxn ang="0">
                    <a:pos x="T4" y="T5"/>
                  </a:cxn>
                  <a:cxn ang="0">
                    <a:pos x="T6" y="T7"/>
                  </a:cxn>
                  <a:cxn ang="0">
                    <a:pos x="T8" y="T9"/>
                  </a:cxn>
                </a:cxnLst>
                <a:rect l="0" t="0" r="r" b="b"/>
                <a:pathLst>
                  <a:path w="42" h="9">
                    <a:moveTo>
                      <a:pt x="42" y="0"/>
                    </a:moveTo>
                    <a:lnTo>
                      <a:pt x="0" y="1"/>
                    </a:lnTo>
                    <a:lnTo>
                      <a:pt x="0" y="7"/>
                    </a:lnTo>
                    <a:lnTo>
                      <a:pt x="42" y="9"/>
                    </a:lnTo>
                    <a:lnTo>
                      <a:pt x="4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Light" pitchFamily="34" charset="0"/>
                  <a:cs typeface="Segoe UI Light" pitchFamily="34" charset="0"/>
                </a:endParaRPr>
              </a:p>
            </p:txBody>
          </p:sp>
          <p:sp>
            <p:nvSpPr>
              <p:cNvPr id="36" name="Freeform 595"/>
              <p:cNvSpPr>
                <a:spLocks/>
              </p:cNvSpPr>
              <p:nvPr/>
            </p:nvSpPr>
            <p:spPr bwMode="auto">
              <a:xfrm>
                <a:off x="5605463" y="4137025"/>
                <a:ext cx="66675" cy="20638"/>
              </a:xfrm>
              <a:custGeom>
                <a:avLst/>
                <a:gdLst>
                  <a:gd name="T0" fmla="*/ 42 w 42"/>
                  <a:gd name="T1" fmla="*/ 4 h 13"/>
                  <a:gd name="T2" fmla="*/ 0 w 42"/>
                  <a:gd name="T3" fmla="*/ 0 h 13"/>
                  <a:gd name="T4" fmla="*/ 0 w 42"/>
                  <a:gd name="T5" fmla="*/ 5 h 13"/>
                  <a:gd name="T6" fmla="*/ 42 w 42"/>
                  <a:gd name="T7" fmla="*/ 13 h 13"/>
                  <a:gd name="T8" fmla="*/ 42 w 42"/>
                  <a:gd name="T9" fmla="*/ 4 h 13"/>
                </a:gdLst>
                <a:ahLst/>
                <a:cxnLst>
                  <a:cxn ang="0">
                    <a:pos x="T0" y="T1"/>
                  </a:cxn>
                  <a:cxn ang="0">
                    <a:pos x="T2" y="T3"/>
                  </a:cxn>
                  <a:cxn ang="0">
                    <a:pos x="T4" y="T5"/>
                  </a:cxn>
                  <a:cxn ang="0">
                    <a:pos x="T6" y="T7"/>
                  </a:cxn>
                  <a:cxn ang="0">
                    <a:pos x="T8" y="T9"/>
                  </a:cxn>
                </a:cxnLst>
                <a:rect l="0" t="0" r="r" b="b"/>
                <a:pathLst>
                  <a:path w="42" h="13">
                    <a:moveTo>
                      <a:pt x="42" y="4"/>
                    </a:moveTo>
                    <a:lnTo>
                      <a:pt x="0" y="0"/>
                    </a:lnTo>
                    <a:lnTo>
                      <a:pt x="0" y="5"/>
                    </a:lnTo>
                    <a:lnTo>
                      <a:pt x="42" y="13"/>
                    </a:lnTo>
                    <a:lnTo>
                      <a:pt x="4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Light" pitchFamily="34" charset="0"/>
                  <a:cs typeface="Segoe UI Light" pitchFamily="34" charset="0"/>
                </a:endParaRPr>
              </a:p>
            </p:txBody>
          </p:sp>
          <p:sp>
            <p:nvSpPr>
              <p:cNvPr id="37" name="Freeform 596"/>
              <p:cNvSpPr>
                <a:spLocks/>
              </p:cNvSpPr>
              <p:nvPr/>
            </p:nvSpPr>
            <p:spPr bwMode="auto">
              <a:xfrm>
                <a:off x="5605463" y="4033838"/>
                <a:ext cx="65087" cy="41275"/>
              </a:xfrm>
              <a:custGeom>
                <a:avLst/>
                <a:gdLst>
                  <a:gd name="T0" fmla="*/ 41 w 41"/>
                  <a:gd name="T1" fmla="*/ 0 h 26"/>
                  <a:gd name="T2" fmla="*/ 0 w 41"/>
                  <a:gd name="T3" fmla="*/ 20 h 26"/>
                  <a:gd name="T4" fmla="*/ 0 w 41"/>
                  <a:gd name="T5" fmla="*/ 26 h 26"/>
                  <a:gd name="T6" fmla="*/ 41 w 41"/>
                  <a:gd name="T7" fmla="*/ 9 h 26"/>
                  <a:gd name="T8" fmla="*/ 41 w 41"/>
                  <a:gd name="T9" fmla="*/ 0 h 26"/>
                </a:gdLst>
                <a:ahLst/>
                <a:cxnLst>
                  <a:cxn ang="0">
                    <a:pos x="T0" y="T1"/>
                  </a:cxn>
                  <a:cxn ang="0">
                    <a:pos x="T2" y="T3"/>
                  </a:cxn>
                  <a:cxn ang="0">
                    <a:pos x="T4" y="T5"/>
                  </a:cxn>
                  <a:cxn ang="0">
                    <a:pos x="T6" y="T7"/>
                  </a:cxn>
                  <a:cxn ang="0">
                    <a:pos x="T8" y="T9"/>
                  </a:cxn>
                </a:cxnLst>
                <a:rect l="0" t="0" r="r" b="b"/>
                <a:pathLst>
                  <a:path w="41" h="26">
                    <a:moveTo>
                      <a:pt x="41" y="0"/>
                    </a:moveTo>
                    <a:lnTo>
                      <a:pt x="0" y="20"/>
                    </a:lnTo>
                    <a:lnTo>
                      <a:pt x="0" y="26"/>
                    </a:lnTo>
                    <a:lnTo>
                      <a:pt x="41" y="9"/>
                    </a:lnTo>
                    <a:lnTo>
                      <a:pt x="4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Light" pitchFamily="34" charset="0"/>
                  <a:cs typeface="Segoe UI Light" pitchFamily="34" charset="0"/>
                </a:endParaRPr>
              </a:p>
            </p:txBody>
          </p:sp>
          <p:sp>
            <p:nvSpPr>
              <p:cNvPr id="38" name="Freeform 597"/>
              <p:cNvSpPr>
                <a:spLocks/>
              </p:cNvSpPr>
              <p:nvPr/>
            </p:nvSpPr>
            <p:spPr bwMode="auto">
              <a:xfrm>
                <a:off x="5605463" y="4098925"/>
                <a:ext cx="66675" cy="17463"/>
              </a:xfrm>
              <a:custGeom>
                <a:avLst/>
                <a:gdLst>
                  <a:gd name="T0" fmla="*/ 42 w 42"/>
                  <a:gd name="T1" fmla="*/ 0 h 11"/>
                  <a:gd name="T2" fmla="*/ 0 w 42"/>
                  <a:gd name="T3" fmla="*/ 7 h 11"/>
                  <a:gd name="T4" fmla="*/ 0 w 42"/>
                  <a:gd name="T5" fmla="*/ 11 h 11"/>
                  <a:gd name="T6" fmla="*/ 42 w 42"/>
                  <a:gd name="T7" fmla="*/ 9 h 11"/>
                  <a:gd name="T8" fmla="*/ 42 w 42"/>
                  <a:gd name="T9" fmla="*/ 0 h 11"/>
                </a:gdLst>
                <a:ahLst/>
                <a:cxnLst>
                  <a:cxn ang="0">
                    <a:pos x="T0" y="T1"/>
                  </a:cxn>
                  <a:cxn ang="0">
                    <a:pos x="T2" y="T3"/>
                  </a:cxn>
                  <a:cxn ang="0">
                    <a:pos x="T4" y="T5"/>
                  </a:cxn>
                  <a:cxn ang="0">
                    <a:pos x="T6" y="T7"/>
                  </a:cxn>
                  <a:cxn ang="0">
                    <a:pos x="T8" y="T9"/>
                  </a:cxn>
                </a:cxnLst>
                <a:rect l="0" t="0" r="r" b="b"/>
                <a:pathLst>
                  <a:path w="42" h="11">
                    <a:moveTo>
                      <a:pt x="42" y="0"/>
                    </a:moveTo>
                    <a:lnTo>
                      <a:pt x="0" y="7"/>
                    </a:lnTo>
                    <a:lnTo>
                      <a:pt x="0" y="11"/>
                    </a:lnTo>
                    <a:lnTo>
                      <a:pt x="42" y="9"/>
                    </a:lnTo>
                    <a:lnTo>
                      <a:pt x="4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Light" pitchFamily="34" charset="0"/>
                  <a:cs typeface="Segoe UI Light" pitchFamily="34" charset="0"/>
                </a:endParaRPr>
              </a:p>
            </p:txBody>
          </p:sp>
          <p:sp>
            <p:nvSpPr>
              <p:cNvPr id="39" name="Freeform 598"/>
              <p:cNvSpPr>
                <a:spLocks/>
              </p:cNvSpPr>
              <p:nvPr/>
            </p:nvSpPr>
            <p:spPr bwMode="auto">
              <a:xfrm>
                <a:off x="5605463" y="4078288"/>
                <a:ext cx="66675" cy="25400"/>
              </a:xfrm>
              <a:custGeom>
                <a:avLst/>
                <a:gdLst>
                  <a:gd name="T0" fmla="*/ 41 w 42"/>
                  <a:gd name="T1" fmla="*/ 0 h 16"/>
                  <a:gd name="T2" fmla="*/ 0 w 42"/>
                  <a:gd name="T3" fmla="*/ 10 h 16"/>
                  <a:gd name="T4" fmla="*/ 0 w 42"/>
                  <a:gd name="T5" fmla="*/ 16 h 16"/>
                  <a:gd name="T6" fmla="*/ 42 w 42"/>
                  <a:gd name="T7" fmla="*/ 8 h 16"/>
                  <a:gd name="T8" fmla="*/ 41 w 42"/>
                  <a:gd name="T9" fmla="*/ 0 h 16"/>
                </a:gdLst>
                <a:ahLst/>
                <a:cxnLst>
                  <a:cxn ang="0">
                    <a:pos x="T0" y="T1"/>
                  </a:cxn>
                  <a:cxn ang="0">
                    <a:pos x="T2" y="T3"/>
                  </a:cxn>
                  <a:cxn ang="0">
                    <a:pos x="T4" y="T5"/>
                  </a:cxn>
                  <a:cxn ang="0">
                    <a:pos x="T6" y="T7"/>
                  </a:cxn>
                  <a:cxn ang="0">
                    <a:pos x="T8" y="T9"/>
                  </a:cxn>
                </a:cxnLst>
                <a:rect l="0" t="0" r="r" b="b"/>
                <a:pathLst>
                  <a:path w="42" h="16">
                    <a:moveTo>
                      <a:pt x="41" y="0"/>
                    </a:moveTo>
                    <a:lnTo>
                      <a:pt x="0" y="10"/>
                    </a:lnTo>
                    <a:lnTo>
                      <a:pt x="0" y="16"/>
                    </a:lnTo>
                    <a:lnTo>
                      <a:pt x="42" y="8"/>
                    </a:lnTo>
                    <a:lnTo>
                      <a:pt x="4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Light" pitchFamily="34" charset="0"/>
                  <a:cs typeface="Segoe UI Light" pitchFamily="34" charset="0"/>
                </a:endParaRPr>
              </a:p>
            </p:txBody>
          </p:sp>
          <p:sp>
            <p:nvSpPr>
              <p:cNvPr id="40" name="Freeform 599"/>
              <p:cNvSpPr>
                <a:spLocks/>
              </p:cNvSpPr>
              <p:nvPr/>
            </p:nvSpPr>
            <p:spPr bwMode="auto">
              <a:xfrm>
                <a:off x="5605463" y="4056063"/>
                <a:ext cx="65087" cy="33338"/>
              </a:xfrm>
              <a:custGeom>
                <a:avLst/>
                <a:gdLst>
                  <a:gd name="T0" fmla="*/ 41 w 41"/>
                  <a:gd name="T1" fmla="*/ 0 h 21"/>
                  <a:gd name="T2" fmla="*/ 0 w 41"/>
                  <a:gd name="T3" fmla="*/ 15 h 21"/>
                  <a:gd name="T4" fmla="*/ 0 w 41"/>
                  <a:gd name="T5" fmla="*/ 21 h 21"/>
                  <a:gd name="T6" fmla="*/ 41 w 41"/>
                  <a:gd name="T7" fmla="*/ 8 h 21"/>
                  <a:gd name="T8" fmla="*/ 41 w 41"/>
                  <a:gd name="T9" fmla="*/ 0 h 21"/>
                </a:gdLst>
                <a:ahLst/>
                <a:cxnLst>
                  <a:cxn ang="0">
                    <a:pos x="T0" y="T1"/>
                  </a:cxn>
                  <a:cxn ang="0">
                    <a:pos x="T2" y="T3"/>
                  </a:cxn>
                  <a:cxn ang="0">
                    <a:pos x="T4" y="T5"/>
                  </a:cxn>
                  <a:cxn ang="0">
                    <a:pos x="T6" y="T7"/>
                  </a:cxn>
                  <a:cxn ang="0">
                    <a:pos x="T8" y="T9"/>
                  </a:cxn>
                </a:cxnLst>
                <a:rect l="0" t="0" r="r" b="b"/>
                <a:pathLst>
                  <a:path w="41" h="21">
                    <a:moveTo>
                      <a:pt x="41" y="0"/>
                    </a:moveTo>
                    <a:lnTo>
                      <a:pt x="0" y="15"/>
                    </a:lnTo>
                    <a:lnTo>
                      <a:pt x="0" y="21"/>
                    </a:lnTo>
                    <a:lnTo>
                      <a:pt x="41" y="8"/>
                    </a:lnTo>
                    <a:lnTo>
                      <a:pt x="4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Light" pitchFamily="34" charset="0"/>
                  <a:cs typeface="Segoe UI Light" pitchFamily="34" charset="0"/>
                </a:endParaRPr>
              </a:p>
            </p:txBody>
          </p:sp>
          <p:sp>
            <p:nvSpPr>
              <p:cNvPr id="41" name="Oval 600"/>
              <p:cNvSpPr>
                <a:spLocks noChangeArrowheads="1"/>
              </p:cNvSpPr>
              <p:nvPr/>
            </p:nvSpPr>
            <p:spPr bwMode="auto">
              <a:xfrm>
                <a:off x="5427663" y="4740275"/>
                <a:ext cx="11112" cy="11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Light" pitchFamily="34" charset="0"/>
                  <a:cs typeface="Segoe UI Light" pitchFamily="34" charset="0"/>
                </a:endParaRPr>
              </a:p>
            </p:txBody>
          </p:sp>
          <p:sp>
            <p:nvSpPr>
              <p:cNvPr id="42" name="Freeform 601"/>
              <p:cNvSpPr>
                <a:spLocks/>
              </p:cNvSpPr>
              <p:nvPr/>
            </p:nvSpPr>
            <p:spPr bwMode="auto">
              <a:xfrm>
                <a:off x="5526088" y="463708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Light" pitchFamily="34" charset="0"/>
                  <a:cs typeface="Segoe UI Light" pitchFamily="34" charset="0"/>
                </a:endParaRPr>
              </a:p>
            </p:txBody>
          </p:sp>
          <p:sp>
            <p:nvSpPr>
              <p:cNvPr id="43" name="Freeform 602"/>
              <p:cNvSpPr>
                <a:spLocks/>
              </p:cNvSpPr>
              <p:nvPr/>
            </p:nvSpPr>
            <p:spPr bwMode="auto">
              <a:xfrm>
                <a:off x="5526088" y="461168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Light" pitchFamily="34" charset="0"/>
                  <a:cs typeface="Segoe UI Light" pitchFamily="34" charset="0"/>
                </a:endParaRPr>
              </a:p>
            </p:txBody>
          </p:sp>
          <p:sp>
            <p:nvSpPr>
              <p:cNvPr id="44" name="Freeform 603"/>
              <p:cNvSpPr>
                <a:spLocks/>
              </p:cNvSpPr>
              <p:nvPr/>
            </p:nvSpPr>
            <p:spPr bwMode="auto">
              <a:xfrm>
                <a:off x="5526088" y="4664075"/>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Light" pitchFamily="34" charset="0"/>
                  <a:cs typeface="Segoe UI Light" pitchFamily="34" charset="0"/>
                </a:endParaRPr>
              </a:p>
            </p:txBody>
          </p:sp>
          <p:sp>
            <p:nvSpPr>
              <p:cNvPr id="45" name="Freeform 604"/>
              <p:cNvSpPr>
                <a:spLocks/>
              </p:cNvSpPr>
              <p:nvPr/>
            </p:nvSpPr>
            <p:spPr bwMode="auto">
              <a:xfrm>
                <a:off x="5387975" y="4632325"/>
                <a:ext cx="131762" cy="41275"/>
              </a:xfrm>
              <a:custGeom>
                <a:avLst/>
                <a:gdLst>
                  <a:gd name="T0" fmla="*/ 2 w 137"/>
                  <a:gd name="T1" fmla="*/ 37 h 44"/>
                  <a:gd name="T2" fmla="*/ 2 w 137"/>
                  <a:gd name="T3" fmla="*/ 37 h 44"/>
                  <a:gd name="T4" fmla="*/ 3 w 137"/>
                  <a:gd name="T5" fmla="*/ 38 h 44"/>
                  <a:gd name="T6" fmla="*/ 4 w 137"/>
                  <a:gd name="T7" fmla="*/ 38 h 44"/>
                  <a:gd name="T8" fmla="*/ 5 w 137"/>
                  <a:gd name="T9" fmla="*/ 38 h 44"/>
                  <a:gd name="T10" fmla="*/ 6 w 137"/>
                  <a:gd name="T11" fmla="*/ 38 h 44"/>
                  <a:gd name="T12" fmla="*/ 6 w 137"/>
                  <a:gd name="T13" fmla="*/ 38 h 44"/>
                  <a:gd name="T14" fmla="*/ 7 w 137"/>
                  <a:gd name="T15" fmla="*/ 38 h 44"/>
                  <a:gd name="T16" fmla="*/ 8 w 137"/>
                  <a:gd name="T17" fmla="*/ 38 h 44"/>
                  <a:gd name="T18" fmla="*/ 78 w 137"/>
                  <a:gd name="T19" fmla="*/ 44 h 44"/>
                  <a:gd name="T20" fmla="*/ 79 w 137"/>
                  <a:gd name="T21" fmla="*/ 44 h 44"/>
                  <a:gd name="T22" fmla="*/ 81 w 137"/>
                  <a:gd name="T23" fmla="*/ 44 h 44"/>
                  <a:gd name="T24" fmla="*/ 82 w 137"/>
                  <a:gd name="T25" fmla="*/ 44 h 44"/>
                  <a:gd name="T26" fmla="*/ 83 w 137"/>
                  <a:gd name="T27" fmla="*/ 44 h 44"/>
                  <a:gd name="T28" fmla="*/ 85 w 137"/>
                  <a:gd name="T29" fmla="*/ 44 h 44"/>
                  <a:gd name="T30" fmla="*/ 88 w 137"/>
                  <a:gd name="T31" fmla="*/ 44 h 44"/>
                  <a:gd name="T32" fmla="*/ 90 w 137"/>
                  <a:gd name="T33" fmla="*/ 44 h 44"/>
                  <a:gd name="T34" fmla="*/ 91 w 137"/>
                  <a:gd name="T35" fmla="*/ 44 h 44"/>
                  <a:gd name="T36" fmla="*/ 92 w 137"/>
                  <a:gd name="T37" fmla="*/ 44 h 44"/>
                  <a:gd name="T38" fmla="*/ 93 w 137"/>
                  <a:gd name="T39" fmla="*/ 43 h 44"/>
                  <a:gd name="T40" fmla="*/ 94 w 137"/>
                  <a:gd name="T41" fmla="*/ 43 h 44"/>
                  <a:gd name="T42" fmla="*/ 95 w 137"/>
                  <a:gd name="T43" fmla="*/ 43 h 44"/>
                  <a:gd name="T44" fmla="*/ 96 w 137"/>
                  <a:gd name="T45" fmla="*/ 43 h 44"/>
                  <a:gd name="T46" fmla="*/ 96 w 137"/>
                  <a:gd name="T47" fmla="*/ 42 h 44"/>
                  <a:gd name="T48" fmla="*/ 136 w 137"/>
                  <a:gd name="T49" fmla="*/ 21 h 44"/>
                  <a:gd name="T50" fmla="*/ 136 w 137"/>
                  <a:gd name="T51" fmla="*/ 21 h 44"/>
                  <a:gd name="T52" fmla="*/ 136 w 137"/>
                  <a:gd name="T53" fmla="*/ 21 h 44"/>
                  <a:gd name="T54" fmla="*/ 137 w 137"/>
                  <a:gd name="T55" fmla="*/ 20 h 44"/>
                  <a:gd name="T56" fmla="*/ 137 w 137"/>
                  <a:gd name="T57" fmla="*/ 3 h 44"/>
                  <a:gd name="T58" fmla="*/ 137 w 137"/>
                  <a:gd name="T59" fmla="*/ 3 h 44"/>
                  <a:gd name="T60" fmla="*/ 97 w 137"/>
                  <a:gd name="T61" fmla="*/ 18 h 44"/>
                  <a:gd name="T62" fmla="*/ 96 w 137"/>
                  <a:gd name="T63" fmla="*/ 18 h 44"/>
                  <a:gd name="T64" fmla="*/ 96 w 137"/>
                  <a:gd name="T65" fmla="*/ 18 h 44"/>
                  <a:gd name="T66" fmla="*/ 95 w 137"/>
                  <a:gd name="T67" fmla="*/ 18 h 44"/>
                  <a:gd name="T68" fmla="*/ 94 w 137"/>
                  <a:gd name="T69" fmla="*/ 19 h 44"/>
                  <a:gd name="T70" fmla="*/ 93 w 137"/>
                  <a:gd name="T71" fmla="*/ 19 h 44"/>
                  <a:gd name="T72" fmla="*/ 92 w 137"/>
                  <a:gd name="T73" fmla="*/ 19 h 44"/>
                  <a:gd name="T74" fmla="*/ 90 w 137"/>
                  <a:gd name="T75" fmla="*/ 19 h 44"/>
                  <a:gd name="T76" fmla="*/ 88 w 137"/>
                  <a:gd name="T77" fmla="*/ 19 h 44"/>
                  <a:gd name="T78" fmla="*/ 86 w 137"/>
                  <a:gd name="T79" fmla="*/ 19 h 44"/>
                  <a:gd name="T80" fmla="*/ 85 w 137"/>
                  <a:gd name="T81" fmla="*/ 19 h 44"/>
                  <a:gd name="T82" fmla="*/ 83 w 137"/>
                  <a:gd name="T83" fmla="*/ 19 h 44"/>
                  <a:gd name="T84" fmla="*/ 82 w 137"/>
                  <a:gd name="T85" fmla="*/ 19 h 44"/>
                  <a:gd name="T86" fmla="*/ 80 w 137"/>
                  <a:gd name="T87" fmla="*/ 19 h 44"/>
                  <a:gd name="T88" fmla="*/ 79 w 137"/>
                  <a:gd name="T89" fmla="*/ 19 h 44"/>
                  <a:gd name="T90" fmla="*/ 9 w 137"/>
                  <a:gd name="T91" fmla="*/ 14 h 44"/>
                  <a:gd name="T92" fmla="*/ 8 w 137"/>
                  <a:gd name="T93" fmla="*/ 14 h 44"/>
                  <a:gd name="T94" fmla="*/ 7 w 137"/>
                  <a:gd name="T95" fmla="*/ 14 h 44"/>
                  <a:gd name="T96" fmla="*/ 6 w 137"/>
                  <a:gd name="T97" fmla="*/ 13 h 44"/>
                  <a:gd name="T98" fmla="*/ 1 w 137"/>
                  <a:gd name="T99" fmla="*/ 16 h 44"/>
                  <a:gd name="T100" fmla="*/ 1 w 137"/>
                  <a:gd name="T101" fmla="*/ 37 h 44"/>
                  <a:gd name="T102" fmla="*/ 1 w 137"/>
                  <a:gd name="T103" fmla="*/ 3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7" h="44">
                    <a:moveTo>
                      <a:pt x="1" y="37"/>
                    </a:moveTo>
                    <a:cubicBezTo>
                      <a:pt x="1" y="37"/>
                      <a:pt x="2" y="37"/>
                      <a:pt x="2" y="37"/>
                    </a:cubicBezTo>
                    <a:cubicBezTo>
                      <a:pt x="2" y="37"/>
                      <a:pt x="2" y="37"/>
                      <a:pt x="2" y="37"/>
                    </a:cubicBezTo>
                    <a:cubicBezTo>
                      <a:pt x="2" y="37"/>
                      <a:pt x="2" y="37"/>
                      <a:pt x="2" y="37"/>
                    </a:cubicBezTo>
                    <a:cubicBezTo>
                      <a:pt x="2" y="37"/>
                      <a:pt x="3" y="37"/>
                      <a:pt x="3" y="37"/>
                    </a:cubicBezTo>
                    <a:cubicBezTo>
                      <a:pt x="3" y="38"/>
                      <a:pt x="3" y="38"/>
                      <a:pt x="3" y="38"/>
                    </a:cubicBezTo>
                    <a:cubicBezTo>
                      <a:pt x="3" y="38"/>
                      <a:pt x="3" y="38"/>
                      <a:pt x="3" y="38"/>
                    </a:cubicBezTo>
                    <a:cubicBezTo>
                      <a:pt x="4" y="38"/>
                      <a:pt x="4" y="38"/>
                      <a:pt x="4" y="38"/>
                    </a:cubicBezTo>
                    <a:cubicBezTo>
                      <a:pt x="4" y="38"/>
                      <a:pt x="4" y="38"/>
                      <a:pt x="4" y="38"/>
                    </a:cubicBezTo>
                    <a:cubicBezTo>
                      <a:pt x="5" y="38"/>
                      <a:pt x="5" y="38"/>
                      <a:pt x="5" y="38"/>
                    </a:cubicBezTo>
                    <a:cubicBezTo>
                      <a:pt x="5" y="38"/>
                      <a:pt x="5" y="38"/>
                      <a:pt x="5" y="38"/>
                    </a:cubicBezTo>
                    <a:cubicBezTo>
                      <a:pt x="5" y="38"/>
                      <a:pt x="5" y="38"/>
                      <a:pt x="6" y="38"/>
                    </a:cubicBezTo>
                    <a:cubicBezTo>
                      <a:pt x="6" y="38"/>
                      <a:pt x="6" y="38"/>
                      <a:pt x="6" y="38"/>
                    </a:cubicBezTo>
                    <a:cubicBezTo>
                      <a:pt x="6" y="38"/>
                      <a:pt x="6" y="38"/>
                      <a:pt x="6" y="38"/>
                    </a:cubicBezTo>
                    <a:cubicBezTo>
                      <a:pt x="7" y="38"/>
                      <a:pt x="7" y="38"/>
                      <a:pt x="7" y="38"/>
                    </a:cubicBezTo>
                    <a:cubicBezTo>
                      <a:pt x="7" y="38"/>
                      <a:pt x="7" y="38"/>
                      <a:pt x="7" y="38"/>
                    </a:cubicBezTo>
                    <a:cubicBezTo>
                      <a:pt x="8" y="38"/>
                      <a:pt x="8" y="38"/>
                      <a:pt x="8" y="38"/>
                    </a:cubicBezTo>
                    <a:cubicBezTo>
                      <a:pt x="8" y="38"/>
                      <a:pt x="8" y="38"/>
                      <a:pt x="8" y="38"/>
                    </a:cubicBezTo>
                    <a:cubicBezTo>
                      <a:pt x="9" y="38"/>
                      <a:pt x="9" y="38"/>
                      <a:pt x="9" y="39"/>
                    </a:cubicBezTo>
                    <a:cubicBezTo>
                      <a:pt x="78" y="44"/>
                      <a:pt x="78" y="44"/>
                      <a:pt x="78" y="44"/>
                    </a:cubicBezTo>
                    <a:cubicBezTo>
                      <a:pt x="78" y="44"/>
                      <a:pt x="78" y="44"/>
                      <a:pt x="79" y="44"/>
                    </a:cubicBezTo>
                    <a:cubicBezTo>
                      <a:pt x="79" y="44"/>
                      <a:pt x="79" y="44"/>
                      <a:pt x="79" y="44"/>
                    </a:cubicBezTo>
                    <a:cubicBezTo>
                      <a:pt x="80" y="44"/>
                      <a:pt x="80" y="44"/>
                      <a:pt x="80" y="44"/>
                    </a:cubicBezTo>
                    <a:cubicBezTo>
                      <a:pt x="80" y="44"/>
                      <a:pt x="81" y="44"/>
                      <a:pt x="81" y="44"/>
                    </a:cubicBezTo>
                    <a:cubicBezTo>
                      <a:pt x="81" y="44"/>
                      <a:pt x="81" y="44"/>
                      <a:pt x="82" y="44"/>
                    </a:cubicBezTo>
                    <a:cubicBezTo>
                      <a:pt x="82" y="44"/>
                      <a:pt x="82" y="44"/>
                      <a:pt x="82" y="44"/>
                    </a:cubicBezTo>
                    <a:cubicBezTo>
                      <a:pt x="82" y="44"/>
                      <a:pt x="83" y="44"/>
                      <a:pt x="83" y="44"/>
                    </a:cubicBezTo>
                    <a:cubicBezTo>
                      <a:pt x="83" y="44"/>
                      <a:pt x="83" y="44"/>
                      <a:pt x="83" y="44"/>
                    </a:cubicBezTo>
                    <a:cubicBezTo>
                      <a:pt x="84" y="44"/>
                      <a:pt x="84" y="44"/>
                      <a:pt x="85" y="44"/>
                    </a:cubicBezTo>
                    <a:cubicBezTo>
                      <a:pt x="85" y="44"/>
                      <a:pt x="85" y="44"/>
                      <a:pt x="85" y="44"/>
                    </a:cubicBezTo>
                    <a:cubicBezTo>
                      <a:pt x="85" y="44"/>
                      <a:pt x="86" y="44"/>
                      <a:pt x="86" y="44"/>
                    </a:cubicBezTo>
                    <a:cubicBezTo>
                      <a:pt x="87" y="44"/>
                      <a:pt x="87" y="44"/>
                      <a:pt x="88" y="44"/>
                    </a:cubicBezTo>
                    <a:cubicBezTo>
                      <a:pt x="88" y="44"/>
                      <a:pt x="88" y="44"/>
                      <a:pt x="88" y="44"/>
                    </a:cubicBezTo>
                    <a:cubicBezTo>
                      <a:pt x="89" y="44"/>
                      <a:pt x="89" y="44"/>
                      <a:pt x="90" y="44"/>
                    </a:cubicBezTo>
                    <a:cubicBezTo>
                      <a:pt x="90" y="44"/>
                      <a:pt x="90" y="44"/>
                      <a:pt x="90" y="44"/>
                    </a:cubicBezTo>
                    <a:cubicBezTo>
                      <a:pt x="91" y="44"/>
                      <a:pt x="91" y="44"/>
                      <a:pt x="91" y="44"/>
                    </a:cubicBezTo>
                    <a:cubicBezTo>
                      <a:pt x="91" y="44"/>
                      <a:pt x="91" y="44"/>
                      <a:pt x="92" y="44"/>
                    </a:cubicBezTo>
                    <a:cubicBezTo>
                      <a:pt x="92" y="44"/>
                      <a:pt x="92" y="44"/>
                      <a:pt x="92" y="44"/>
                    </a:cubicBezTo>
                    <a:cubicBezTo>
                      <a:pt x="92" y="43"/>
                      <a:pt x="93" y="43"/>
                      <a:pt x="93" y="43"/>
                    </a:cubicBezTo>
                    <a:cubicBezTo>
                      <a:pt x="93" y="43"/>
                      <a:pt x="93" y="43"/>
                      <a:pt x="93" y="43"/>
                    </a:cubicBezTo>
                    <a:cubicBezTo>
                      <a:pt x="93" y="43"/>
                      <a:pt x="94" y="43"/>
                      <a:pt x="94" y="43"/>
                    </a:cubicBezTo>
                    <a:cubicBezTo>
                      <a:pt x="94" y="43"/>
                      <a:pt x="94" y="43"/>
                      <a:pt x="94" y="43"/>
                    </a:cubicBezTo>
                    <a:cubicBezTo>
                      <a:pt x="94" y="43"/>
                      <a:pt x="94" y="43"/>
                      <a:pt x="95" y="43"/>
                    </a:cubicBezTo>
                    <a:cubicBezTo>
                      <a:pt x="95" y="43"/>
                      <a:pt x="95" y="43"/>
                      <a:pt x="95" y="43"/>
                    </a:cubicBezTo>
                    <a:cubicBezTo>
                      <a:pt x="95" y="43"/>
                      <a:pt x="95" y="43"/>
                      <a:pt x="96" y="43"/>
                    </a:cubicBezTo>
                    <a:cubicBezTo>
                      <a:pt x="96" y="43"/>
                      <a:pt x="96" y="43"/>
                      <a:pt x="96" y="43"/>
                    </a:cubicBezTo>
                    <a:cubicBezTo>
                      <a:pt x="96" y="43"/>
                      <a:pt x="96" y="43"/>
                      <a:pt x="96" y="43"/>
                    </a:cubicBezTo>
                    <a:cubicBezTo>
                      <a:pt x="96" y="43"/>
                      <a:pt x="96" y="43"/>
                      <a:pt x="96" y="42"/>
                    </a:cubicBezTo>
                    <a:cubicBezTo>
                      <a:pt x="97" y="42"/>
                      <a:pt x="97" y="42"/>
                      <a:pt x="97" y="42"/>
                    </a:cubicBezTo>
                    <a:cubicBezTo>
                      <a:pt x="136" y="21"/>
                      <a:pt x="136" y="21"/>
                      <a:pt x="136" y="21"/>
                    </a:cubicBezTo>
                    <a:cubicBezTo>
                      <a:pt x="136" y="21"/>
                      <a:pt x="136" y="21"/>
                      <a:pt x="136" y="21"/>
                    </a:cubicBezTo>
                    <a:cubicBezTo>
                      <a:pt x="136" y="21"/>
                      <a:pt x="136" y="21"/>
                      <a:pt x="136" y="21"/>
                    </a:cubicBezTo>
                    <a:cubicBezTo>
                      <a:pt x="136" y="21"/>
                      <a:pt x="136" y="21"/>
                      <a:pt x="136" y="21"/>
                    </a:cubicBezTo>
                    <a:cubicBezTo>
                      <a:pt x="136" y="21"/>
                      <a:pt x="136" y="21"/>
                      <a:pt x="136" y="21"/>
                    </a:cubicBezTo>
                    <a:cubicBezTo>
                      <a:pt x="137" y="21"/>
                      <a:pt x="137" y="20"/>
                      <a:pt x="137" y="20"/>
                    </a:cubicBezTo>
                    <a:cubicBezTo>
                      <a:pt x="137" y="20"/>
                      <a:pt x="137" y="20"/>
                      <a:pt x="137" y="20"/>
                    </a:cubicBezTo>
                    <a:cubicBezTo>
                      <a:pt x="137" y="20"/>
                      <a:pt x="137" y="20"/>
                      <a:pt x="137" y="20"/>
                    </a:cubicBezTo>
                    <a:cubicBezTo>
                      <a:pt x="137" y="3"/>
                      <a:pt x="137" y="3"/>
                      <a:pt x="137" y="3"/>
                    </a:cubicBezTo>
                    <a:cubicBezTo>
                      <a:pt x="137" y="3"/>
                      <a:pt x="137" y="3"/>
                      <a:pt x="137" y="3"/>
                    </a:cubicBezTo>
                    <a:cubicBezTo>
                      <a:pt x="137" y="3"/>
                      <a:pt x="137" y="3"/>
                      <a:pt x="137" y="3"/>
                    </a:cubicBezTo>
                    <a:cubicBezTo>
                      <a:pt x="137" y="2"/>
                      <a:pt x="135" y="1"/>
                      <a:pt x="130" y="0"/>
                    </a:cubicBezTo>
                    <a:cubicBezTo>
                      <a:pt x="97" y="18"/>
                      <a:pt x="97" y="18"/>
                      <a:pt x="97" y="18"/>
                    </a:cubicBezTo>
                    <a:cubicBezTo>
                      <a:pt x="97" y="18"/>
                      <a:pt x="97" y="18"/>
                      <a:pt x="96" y="18"/>
                    </a:cubicBezTo>
                    <a:cubicBezTo>
                      <a:pt x="96" y="18"/>
                      <a:pt x="96" y="18"/>
                      <a:pt x="96" y="18"/>
                    </a:cubicBezTo>
                    <a:cubicBezTo>
                      <a:pt x="96" y="18"/>
                      <a:pt x="96" y="18"/>
                      <a:pt x="96" y="18"/>
                    </a:cubicBezTo>
                    <a:cubicBezTo>
                      <a:pt x="96" y="18"/>
                      <a:pt x="96" y="18"/>
                      <a:pt x="96" y="18"/>
                    </a:cubicBezTo>
                    <a:cubicBezTo>
                      <a:pt x="95" y="18"/>
                      <a:pt x="95" y="18"/>
                      <a:pt x="95" y="18"/>
                    </a:cubicBezTo>
                    <a:cubicBezTo>
                      <a:pt x="95" y="18"/>
                      <a:pt x="95" y="18"/>
                      <a:pt x="95" y="18"/>
                    </a:cubicBezTo>
                    <a:cubicBezTo>
                      <a:pt x="94" y="18"/>
                      <a:pt x="94" y="18"/>
                      <a:pt x="94" y="18"/>
                    </a:cubicBezTo>
                    <a:cubicBezTo>
                      <a:pt x="94" y="18"/>
                      <a:pt x="94" y="19"/>
                      <a:pt x="94" y="19"/>
                    </a:cubicBezTo>
                    <a:cubicBezTo>
                      <a:pt x="94" y="19"/>
                      <a:pt x="93" y="19"/>
                      <a:pt x="93" y="19"/>
                    </a:cubicBezTo>
                    <a:cubicBezTo>
                      <a:pt x="93" y="19"/>
                      <a:pt x="93" y="19"/>
                      <a:pt x="93" y="19"/>
                    </a:cubicBezTo>
                    <a:cubicBezTo>
                      <a:pt x="93" y="19"/>
                      <a:pt x="93" y="19"/>
                      <a:pt x="92" y="19"/>
                    </a:cubicBezTo>
                    <a:cubicBezTo>
                      <a:pt x="92" y="19"/>
                      <a:pt x="92" y="19"/>
                      <a:pt x="92" y="19"/>
                    </a:cubicBezTo>
                    <a:cubicBezTo>
                      <a:pt x="91" y="19"/>
                      <a:pt x="91" y="19"/>
                      <a:pt x="91" y="19"/>
                    </a:cubicBezTo>
                    <a:cubicBezTo>
                      <a:pt x="91" y="19"/>
                      <a:pt x="91" y="19"/>
                      <a:pt x="90" y="19"/>
                    </a:cubicBezTo>
                    <a:cubicBezTo>
                      <a:pt x="90" y="19"/>
                      <a:pt x="90" y="19"/>
                      <a:pt x="90" y="19"/>
                    </a:cubicBezTo>
                    <a:cubicBezTo>
                      <a:pt x="89" y="19"/>
                      <a:pt x="89" y="19"/>
                      <a:pt x="88" y="19"/>
                    </a:cubicBezTo>
                    <a:cubicBezTo>
                      <a:pt x="88" y="19"/>
                      <a:pt x="88" y="19"/>
                      <a:pt x="88" y="19"/>
                    </a:cubicBezTo>
                    <a:cubicBezTo>
                      <a:pt x="87" y="19"/>
                      <a:pt x="87" y="19"/>
                      <a:pt x="86" y="19"/>
                    </a:cubicBezTo>
                    <a:cubicBezTo>
                      <a:pt x="86" y="19"/>
                      <a:pt x="85" y="19"/>
                      <a:pt x="85" y="19"/>
                    </a:cubicBezTo>
                    <a:cubicBezTo>
                      <a:pt x="85" y="19"/>
                      <a:pt x="85" y="19"/>
                      <a:pt x="85" y="19"/>
                    </a:cubicBezTo>
                    <a:cubicBezTo>
                      <a:pt x="84" y="19"/>
                      <a:pt x="84" y="19"/>
                      <a:pt x="83" y="19"/>
                    </a:cubicBezTo>
                    <a:cubicBezTo>
                      <a:pt x="83" y="19"/>
                      <a:pt x="83" y="19"/>
                      <a:pt x="83" y="19"/>
                    </a:cubicBezTo>
                    <a:cubicBezTo>
                      <a:pt x="83" y="19"/>
                      <a:pt x="82" y="19"/>
                      <a:pt x="82" y="19"/>
                    </a:cubicBezTo>
                    <a:cubicBezTo>
                      <a:pt x="82" y="19"/>
                      <a:pt x="82" y="19"/>
                      <a:pt x="82" y="19"/>
                    </a:cubicBezTo>
                    <a:cubicBezTo>
                      <a:pt x="81" y="19"/>
                      <a:pt x="81" y="19"/>
                      <a:pt x="81" y="19"/>
                    </a:cubicBezTo>
                    <a:cubicBezTo>
                      <a:pt x="80" y="19"/>
                      <a:pt x="80" y="19"/>
                      <a:pt x="80" y="19"/>
                    </a:cubicBezTo>
                    <a:cubicBezTo>
                      <a:pt x="80" y="19"/>
                      <a:pt x="80" y="19"/>
                      <a:pt x="79" y="19"/>
                    </a:cubicBezTo>
                    <a:cubicBezTo>
                      <a:pt x="79" y="19"/>
                      <a:pt x="79" y="19"/>
                      <a:pt x="79" y="19"/>
                    </a:cubicBezTo>
                    <a:cubicBezTo>
                      <a:pt x="79" y="19"/>
                      <a:pt x="78" y="19"/>
                      <a:pt x="78" y="19"/>
                    </a:cubicBezTo>
                    <a:cubicBezTo>
                      <a:pt x="9" y="14"/>
                      <a:pt x="9" y="14"/>
                      <a:pt x="9" y="14"/>
                    </a:cubicBezTo>
                    <a:cubicBezTo>
                      <a:pt x="9" y="14"/>
                      <a:pt x="9" y="14"/>
                      <a:pt x="8" y="14"/>
                    </a:cubicBezTo>
                    <a:cubicBezTo>
                      <a:pt x="8" y="14"/>
                      <a:pt x="8" y="14"/>
                      <a:pt x="8" y="14"/>
                    </a:cubicBezTo>
                    <a:cubicBezTo>
                      <a:pt x="8" y="14"/>
                      <a:pt x="8" y="14"/>
                      <a:pt x="7" y="14"/>
                    </a:cubicBezTo>
                    <a:cubicBezTo>
                      <a:pt x="7" y="14"/>
                      <a:pt x="7" y="14"/>
                      <a:pt x="7" y="14"/>
                    </a:cubicBezTo>
                    <a:cubicBezTo>
                      <a:pt x="7" y="14"/>
                      <a:pt x="7" y="14"/>
                      <a:pt x="6" y="13"/>
                    </a:cubicBezTo>
                    <a:cubicBezTo>
                      <a:pt x="6" y="13"/>
                      <a:pt x="6" y="13"/>
                      <a:pt x="6" y="13"/>
                    </a:cubicBezTo>
                    <a:cubicBezTo>
                      <a:pt x="6" y="13"/>
                      <a:pt x="6" y="13"/>
                      <a:pt x="6" y="13"/>
                    </a:cubicBezTo>
                    <a:cubicBezTo>
                      <a:pt x="1" y="16"/>
                      <a:pt x="1" y="16"/>
                      <a:pt x="1" y="16"/>
                    </a:cubicBezTo>
                    <a:cubicBezTo>
                      <a:pt x="1" y="16"/>
                      <a:pt x="0" y="16"/>
                      <a:pt x="0" y="16"/>
                    </a:cubicBezTo>
                    <a:cubicBezTo>
                      <a:pt x="1" y="37"/>
                      <a:pt x="1" y="37"/>
                      <a:pt x="1" y="37"/>
                    </a:cubicBezTo>
                    <a:cubicBezTo>
                      <a:pt x="1" y="37"/>
                      <a:pt x="1" y="37"/>
                      <a:pt x="1" y="37"/>
                    </a:cubicBezTo>
                    <a:cubicBezTo>
                      <a:pt x="1" y="37"/>
                      <a:pt x="1" y="37"/>
                      <a:pt x="1"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Light" pitchFamily="34" charset="0"/>
                  <a:cs typeface="Segoe UI Light" pitchFamily="34" charset="0"/>
                </a:endParaRPr>
              </a:p>
            </p:txBody>
          </p:sp>
          <p:sp>
            <p:nvSpPr>
              <p:cNvPr id="46" name="Freeform 605"/>
              <p:cNvSpPr>
                <a:spLocks/>
              </p:cNvSpPr>
              <p:nvPr/>
            </p:nvSpPr>
            <p:spPr bwMode="auto">
              <a:xfrm>
                <a:off x="5387975" y="4600575"/>
                <a:ext cx="131762" cy="42863"/>
              </a:xfrm>
              <a:custGeom>
                <a:avLst/>
                <a:gdLst>
                  <a:gd name="T0" fmla="*/ 1 w 137"/>
                  <a:gd name="T1" fmla="*/ 38 h 45"/>
                  <a:gd name="T2" fmla="*/ 2 w 137"/>
                  <a:gd name="T3" fmla="*/ 38 h 45"/>
                  <a:gd name="T4" fmla="*/ 2 w 137"/>
                  <a:gd name="T5" fmla="*/ 38 h 45"/>
                  <a:gd name="T6" fmla="*/ 3 w 137"/>
                  <a:gd name="T7" fmla="*/ 38 h 45"/>
                  <a:gd name="T8" fmla="*/ 4 w 137"/>
                  <a:gd name="T9" fmla="*/ 38 h 45"/>
                  <a:gd name="T10" fmla="*/ 5 w 137"/>
                  <a:gd name="T11" fmla="*/ 39 h 45"/>
                  <a:gd name="T12" fmla="*/ 6 w 137"/>
                  <a:gd name="T13" fmla="*/ 39 h 45"/>
                  <a:gd name="T14" fmla="*/ 6 w 137"/>
                  <a:gd name="T15" fmla="*/ 39 h 45"/>
                  <a:gd name="T16" fmla="*/ 7 w 137"/>
                  <a:gd name="T17" fmla="*/ 39 h 45"/>
                  <a:gd name="T18" fmla="*/ 8 w 137"/>
                  <a:gd name="T19" fmla="*/ 39 h 45"/>
                  <a:gd name="T20" fmla="*/ 78 w 137"/>
                  <a:gd name="T21" fmla="*/ 45 h 45"/>
                  <a:gd name="T22" fmla="*/ 79 w 137"/>
                  <a:gd name="T23" fmla="*/ 45 h 45"/>
                  <a:gd name="T24" fmla="*/ 81 w 137"/>
                  <a:gd name="T25" fmla="*/ 45 h 45"/>
                  <a:gd name="T26" fmla="*/ 82 w 137"/>
                  <a:gd name="T27" fmla="*/ 45 h 45"/>
                  <a:gd name="T28" fmla="*/ 83 w 137"/>
                  <a:gd name="T29" fmla="*/ 45 h 45"/>
                  <a:gd name="T30" fmla="*/ 85 w 137"/>
                  <a:gd name="T31" fmla="*/ 45 h 45"/>
                  <a:gd name="T32" fmla="*/ 88 w 137"/>
                  <a:gd name="T33" fmla="*/ 45 h 45"/>
                  <a:gd name="T34" fmla="*/ 90 w 137"/>
                  <a:gd name="T35" fmla="*/ 44 h 45"/>
                  <a:gd name="T36" fmla="*/ 91 w 137"/>
                  <a:gd name="T37" fmla="*/ 44 h 45"/>
                  <a:gd name="T38" fmla="*/ 92 w 137"/>
                  <a:gd name="T39" fmla="*/ 44 h 45"/>
                  <a:gd name="T40" fmla="*/ 93 w 137"/>
                  <a:gd name="T41" fmla="*/ 44 h 45"/>
                  <a:gd name="T42" fmla="*/ 94 w 137"/>
                  <a:gd name="T43" fmla="*/ 44 h 45"/>
                  <a:gd name="T44" fmla="*/ 95 w 137"/>
                  <a:gd name="T45" fmla="*/ 44 h 45"/>
                  <a:gd name="T46" fmla="*/ 96 w 137"/>
                  <a:gd name="T47" fmla="*/ 43 h 45"/>
                  <a:gd name="T48" fmla="*/ 96 w 137"/>
                  <a:gd name="T49" fmla="*/ 43 h 45"/>
                  <a:gd name="T50" fmla="*/ 136 w 137"/>
                  <a:gd name="T51" fmla="*/ 23 h 45"/>
                  <a:gd name="T52" fmla="*/ 136 w 137"/>
                  <a:gd name="T53" fmla="*/ 23 h 45"/>
                  <a:gd name="T54" fmla="*/ 136 w 137"/>
                  <a:gd name="T55" fmla="*/ 22 h 45"/>
                  <a:gd name="T56" fmla="*/ 137 w 137"/>
                  <a:gd name="T57" fmla="*/ 22 h 45"/>
                  <a:gd name="T58" fmla="*/ 137 w 137"/>
                  <a:gd name="T59" fmla="*/ 7 h 45"/>
                  <a:gd name="T60" fmla="*/ 137 w 137"/>
                  <a:gd name="T61" fmla="*/ 7 h 45"/>
                  <a:gd name="T62" fmla="*/ 59 w 137"/>
                  <a:gd name="T63" fmla="*/ 0 h 45"/>
                  <a:gd name="T64" fmla="*/ 1 w 137"/>
                  <a:gd name="T65" fmla="*/ 17 h 45"/>
                  <a:gd name="T66" fmla="*/ 0 w 137"/>
                  <a:gd name="T67" fmla="*/ 37 h 45"/>
                  <a:gd name="T68" fmla="*/ 1 w 137"/>
                  <a:gd name="T69" fmla="*/ 3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7" h="45">
                    <a:moveTo>
                      <a:pt x="1" y="37"/>
                    </a:moveTo>
                    <a:cubicBezTo>
                      <a:pt x="1" y="37"/>
                      <a:pt x="1" y="38"/>
                      <a:pt x="1" y="38"/>
                    </a:cubicBezTo>
                    <a:cubicBezTo>
                      <a:pt x="1" y="38"/>
                      <a:pt x="1" y="38"/>
                      <a:pt x="1" y="38"/>
                    </a:cubicBezTo>
                    <a:cubicBezTo>
                      <a:pt x="1" y="38"/>
                      <a:pt x="2" y="38"/>
                      <a:pt x="2" y="38"/>
                    </a:cubicBezTo>
                    <a:cubicBezTo>
                      <a:pt x="2" y="38"/>
                      <a:pt x="2" y="38"/>
                      <a:pt x="2" y="38"/>
                    </a:cubicBezTo>
                    <a:cubicBezTo>
                      <a:pt x="2" y="38"/>
                      <a:pt x="2" y="38"/>
                      <a:pt x="2" y="38"/>
                    </a:cubicBezTo>
                    <a:cubicBezTo>
                      <a:pt x="2" y="38"/>
                      <a:pt x="3" y="38"/>
                      <a:pt x="3" y="38"/>
                    </a:cubicBezTo>
                    <a:cubicBezTo>
                      <a:pt x="3" y="38"/>
                      <a:pt x="3" y="38"/>
                      <a:pt x="3" y="38"/>
                    </a:cubicBezTo>
                    <a:cubicBezTo>
                      <a:pt x="3" y="38"/>
                      <a:pt x="3" y="38"/>
                      <a:pt x="3" y="38"/>
                    </a:cubicBezTo>
                    <a:cubicBezTo>
                      <a:pt x="4" y="38"/>
                      <a:pt x="4" y="38"/>
                      <a:pt x="4" y="38"/>
                    </a:cubicBezTo>
                    <a:cubicBezTo>
                      <a:pt x="4" y="38"/>
                      <a:pt x="4" y="39"/>
                      <a:pt x="4" y="39"/>
                    </a:cubicBezTo>
                    <a:cubicBezTo>
                      <a:pt x="5" y="39"/>
                      <a:pt x="5" y="39"/>
                      <a:pt x="5" y="39"/>
                    </a:cubicBezTo>
                    <a:cubicBezTo>
                      <a:pt x="5" y="39"/>
                      <a:pt x="5" y="39"/>
                      <a:pt x="5" y="39"/>
                    </a:cubicBezTo>
                    <a:cubicBezTo>
                      <a:pt x="5" y="39"/>
                      <a:pt x="5" y="39"/>
                      <a:pt x="6" y="39"/>
                    </a:cubicBezTo>
                    <a:cubicBezTo>
                      <a:pt x="6" y="39"/>
                      <a:pt x="6" y="39"/>
                      <a:pt x="6" y="39"/>
                    </a:cubicBezTo>
                    <a:cubicBezTo>
                      <a:pt x="6" y="39"/>
                      <a:pt x="6" y="39"/>
                      <a:pt x="6" y="39"/>
                    </a:cubicBezTo>
                    <a:cubicBezTo>
                      <a:pt x="7" y="39"/>
                      <a:pt x="7" y="39"/>
                      <a:pt x="7" y="39"/>
                    </a:cubicBezTo>
                    <a:cubicBezTo>
                      <a:pt x="7" y="39"/>
                      <a:pt x="7" y="39"/>
                      <a:pt x="7" y="39"/>
                    </a:cubicBezTo>
                    <a:cubicBezTo>
                      <a:pt x="8" y="39"/>
                      <a:pt x="8" y="39"/>
                      <a:pt x="8" y="39"/>
                    </a:cubicBezTo>
                    <a:cubicBezTo>
                      <a:pt x="8" y="39"/>
                      <a:pt x="8" y="39"/>
                      <a:pt x="8" y="39"/>
                    </a:cubicBezTo>
                    <a:cubicBezTo>
                      <a:pt x="9" y="39"/>
                      <a:pt x="9" y="39"/>
                      <a:pt x="9" y="39"/>
                    </a:cubicBezTo>
                    <a:cubicBezTo>
                      <a:pt x="78" y="45"/>
                      <a:pt x="78" y="45"/>
                      <a:pt x="78" y="45"/>
                    </a:cubicBezTo>
                    <a:cubicBezTo>
                      <a:pt x="78" y="45"/>
                      <a:pt x="78" y="45"/>
                      <a:pt x="79" y="45"/>
                    </a:cubicBezTo>
                    <a:cubicBezTo>
                      <a:pt x="79" y="45"/>
                      <a:pt x="79" y="45"/>
                      <a:pt x="79" y="45"/>
                    </a:cubicBezTo>
                    <a:cubicBezTo>
                      <a:pt x="80" y="45"/>
                      <a:pt x="80" y="45"/>
                      <a:pt x="80" y="45"/>
                    </a:cubicBezTo>
                    <a:cubicBezTo>
                      <a:pt x="80" y="45"/>
                      <a:pt x="81" y="45"/>
                      <a:pt x="81" y="45"/>
                    </a:cubicBezTo>
                    <a:cubicBezTo>
                      <a:pt x="81" y="45"/>
                      <a:pt x="81" y="45"/>
                      <a:pt x="82" y="45"/>
                    </a:cubicBezTo>
                    <a:cubicBezTo>
                      <a:pt x="82" y="45"/>
                      <a:pt x="82" y="45"/>
                      <a:pt x="82" y="45"/>
                    </a:cubicBezTo>
                    <a:cubicBezTo>
                      <a:pt x="82" y="45"/>
                      <a:pt x="83" y="45"/>
                      <a:pt x="83" y="45"/>
                    </a:cubicBezTo>
                    <a:cubicBezTo>
                      <a:pt x="83" y="45"/>
                      <a:pt x="83" y="45"/>
                      <a:pt x="83" y="45"/>
                    </a:cubicBezTo>
                    <a:cubicBezTo>
                      <a:pt x="84" y="45"/>
                      <a:pt x="84" y="45"/>
                      <a:pt x="85" y="45"/>
                    </a:cubicBezTo>
                    <a:cubicBezTo>
                      <a:pt x="85" y="45"/>
                      <a:pt x="85" y="45"/>
                      <a:pt x="85" y="45"/>
                    </a:cubicBezTo>
                    <a:cubicBezTo>
                      <a:pt x="85" y="45"/>
                      <a:pt x="86" y="45"/>
                      <a:pt x="86" y="45"/>
                    </a:cubicBezTo>
                    <a:cubicBezTo>
                      <a:pt x="87" y="45"/>
                      <a:pt x="87" y="45"/>
                      <a:pt x="88" y="45"/>
                    </a:cubicBezTo>
                    <a:cubicBezTo>
                      <a:pt x="88" y="45"/>
                      <a:pt x="88" y="45"/>
                      <a:pt x="88" y="45"/>
                    </a:cubicBezTo>
                    <a:cubicBezTo>
                      <a:pt x="89" y="45"/>
                      <a:pt x="89" y="45"/>
                      <a:pt x="90" y="44"/>
                    </a:cubicBezTo>
                    <a:cubicBezTo>
                      <a:pt x="90" y="44"/>
                      <a:pt x="90" y="44"/>
                      <a:pt x="90" y="44"/>
                    </a:cubicBezTo>
                    <a:cubicBezTo>
                      <a:pt x="91" y="44"/>
                      <a:pt x="91" y="44"/>
                      <a:pt x="91" y="44"/>
                    </a:cubicBezTo>
                    <a:cubicBezTo>
                      <a:pt x="91" y="44"/>
                      <a:pt x="91" y="44"/>
                      <a:pt x="92" y="44"/>
                    </a:cubicBezTo>
                    <a:cubicBezTo>
                      <a:pt x="92" y="44"/>
                      <a:pt x="92" y="44"/>
                      <a:pt x="92" y="44"/>
                    </a:cubicBezTo>
                    <a:cubicBezTo>
                      <a:pt x="92" y="44"/>
                      <a:pt x="93" y="44"/>
                      <a:pt x="93" y="44"/>
                    </a:cubicBezTo>
                    <a:cubicBezTo>
                      <a:pt x="93" y="44"/>
                      <a:pt x="93" y="44"/>
                      <a:pt x="93" y="44"/>
                    </a:cubicBezTo>
                    <a:cubicBezTo>
                      <a:pt x="93" y="44"/>
                      <a:pt x="94" y="44"/>
                      <a:pt x="94" y="44"/>
                    </a:cubicBezTo>
                    <a:cubicBezTo>
                      <a:pt x="94" y="44"/>
                      <a:pt x="94" y="44"/>
                      <a:pt x="94" y="44"/>
                    </a:cubicBezTo>
                    <a:cubicBezTo>
                      <a:pt x="94" y="44"/>
                      <a:pt x="94" y="44"/>
                      <a:pt x="95" y="44"/>
                    </a:cubicBezTo>
                    <a:cubicBezTo>
                      <a:pt x="95" y="44"/>
                      <a:pt x="95" y="44"/>
                      <a:pt x="95" y="44"/>
                    </a:cubicBezTo>
                    <a:cubicBezTo>
                      <a:pt x="95" y="44"/>
                      <a:pt x="95" y="43"/>
                      <a:pt x="96" y="43"/>
                    </a:cubicBezTo>
                    <a:cubicBezTo>
                      <a:pt x="96" y="43"/>
                      <a:pt x="96" y="43"/>
                      <a:pt x="96" y="43"/>
                    </a:cubicBezTo>
                    <a:cubicBezTo>
                      <a:pt x="96" y="43"/>
                      <a:pt x="96" y="43"/>
                      <a:pt x="96" y="43"/>
                    </a:cubicBezTo>
                    <a:cubicBezTo>
                      <a:pt x="96" y="43"/>
                      <a:pt x="96" y="43"/>
                      <a:pt x="96" y="43"/>
                    </a:cubicBezTo>
                    <a:cubicBezTo>
                      <a:pt x="97" y="43"/>
                      <a:pt x="97" y="43"/>
                      <a:pt x="97" y="43"/>
                    </a:cubicBezTo>
                    <a:cubicBezTo>
                      <a:pt x="136" y="23"/>
                      <a:pt x="136" y="23"/>
                      <a:pt x="136" y="23"/>
                    </a:cubicBezTo>
                    <a:cubicBezTo>
                      <a:pt x="136" y="23"/>
                      <a:pt x="136" y="23"/>
                      <a:pt x="136" y="23"/>
                    </a:cubicBezTo>
                    <a:cubicBezTo>
                      <a:pt x="136" y="23"/>
                      <a:pt x="136" y="23"/>
                      <a:pt x="136" y="23"/>
                    </a:cubicBezTo>
                    <a:cubicBezTo>
                      <a:pt x="136" y="23"/>
                      <a:pt x="136" y="23"/>
                      <a:pt x="136" y="22"/>
                    </a:cubicBezTo>
                    <a:cubicBezTo>
                      <a:pt x="136" y="22"/>
                      <a:pt x="136" y="22"/>
                      <a:pt x="136" y="22"/>
                    </a:cubicBezTo>
                    <a:cubicBezTo>
                      <a:pt x="137" y="22"/>
                      <a:pt x="137" y="22"/>
                      <a:pt x="137" y="22"/>
                    </a:cubicBezTo>
                    <a:cubicBezTo>
                      <a:pt x="137" y="22"/>
                      <a:pt x="137" y="22"/>
                      <a:pt x="137" y="22"/>
                    </a:cubicBezTo>
                    <a:cubicBezTo>
                      <a:pt x="137" y="22"/>
                      <a:pt x="137" y="22"/>
                      <a:pt x="137" y="22"/>
                    </a:cubicBezTo>
                    <a:cubicBezTo>
                      <a:pt x="137" y="7"/>
                      <a:pt x="137" y="7"/>
                      <a:pt x="137" y="7"/>
                    </a:cubicBezTo>
                    <a:cubicBezTo>
                      <a:pt x="137" y="7"/>
                      <a:pt x="137" y="7"/>
                      <a:pt x="137" y="7"/>
                    </a:cubicBezTo>
                    <a:cubicBezTo>
                      <a:pt x="137" y="7"/>
                      <a:pt x="137" y="7"/>
                      <a:pt x="137" y="7"/>
                    </a:cubicBezTo>
                    <a:cubicBezTo>
                      <a:pt x="137" y="6"/>
                      <a:pt x="133" y="5"/>
                      <a:pt x="127" y="4"/>
                    </a:cubicBezTo>
                    <a:cubicBezTo>
                      <a:pt x="59" y="0"/>
                      <a:pt x="59" y="0"/>
                      <a:pt x="59" y="0"/>
                    </a:cubicBezTo>
                    <a:cubicBezTo>
                      <a:pt x="51" y="0"/>
                      <a:pt x="42" y="0"/>
                      <a:pt x="39" y="2"/>
                    </a:cubicBezTo>
                    <a:cubicBezTo>
                      <a:pt x="1" y="17"/>
                      <a:pt x="1" y="17"/>
                      <a:pt x="1" y="17"/>
                    </a:cubicBezTo>
                    <a:cubicBezTo>
                      <a:pt x="0" y="17"/>
                      <a:pt x="0" y="17"/>
                      <a:pt x="0" y="17"/>
                    </a:cubicBezTo>
                    <a:cubicBezTo>
                      <a:pt x="0" y="37"/>
                      <a:pt x="0" y="37"/>
                      <a:pt x="0" y="37"/>
                    </a:cubicBezTo>
                    <a:cubicBezTo>
                      <a:pt x="0" y="37"/>
                      <a:pt x="0" y="37"/>
                      <a:pt x="0" y="37"/>
                    </a:cubicBezTo>
                    <a:cubicBezTo>
                      <a:pt x="0" y="37"/>
                      <a:pt x="0" y="37"/>
                      <a:pt x="1" y="37"/>
                    </a:cubicBezTo>
                    <a:cubicBezTo>
                      <a:pt x="1" y="37"/>
                      <a:pt x="1" y="37"/>
                      <a:pt x="1"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Light" pitchFamily="34" charset="0"/>
                  <a:cs typeface="Segoe UI Light" pitchFamily="34" charset="0"/>
                </a:endParaRPr>
              </a:p>
            </p:txBody>
          </p:sp>
          <p:sp>
            <p:nvSpPr>
              <p:cNvPr id="47" name="Freeform 606"/>
              <p:cNvSpPr>
                <a:spLocks noEditPoints="1"/>
              </p:cNvSpPr>
              <p:nvPr/>
            </p:nvSpPr>
            <p:spPr bwMode="auto">
              <a:xfrm>
                <a:off x="5387975" y="4692650"/>
                <a:ext cx="131762" cy="85725"/>
              </a:xfrm>
              <a:custGeom>
                <a:avLst/>
                <a:gdLst>
                  <a:gd name="T0" fmla="*/ 129 w 136"/>
                  <a:gd name="T1" fmla="*/ 0 h 89"/>
                  <a:gd name="T2" fmla="*/ 95 w 136"/>
                  <a:gd name="T3" fmla="*/ 19 h 89"/>
                  <a:gd name="T4" fmla="*/ 95 w 136"/>
                  <a:gd name="T5" fmla="*/ 20 h 89"/>
                  <a:gd name="T6" fmla="*/ 94 w 136"/>
                  <a:gd name="T7" fmla="*/ 20 h 89"/>
                  <a:gd name="T8" fmla="*/ 93 w 136"/>
                  <a:gd name="T9" fmla="*/ 20 h 89"/>
                  <a:gd name="T10" fmla="*/ 92 w 136"/>
                  <a:gd name="T11" fmla="*/ 20 h 89"/>
                  <a:gd name="T12" fmla="*/ 91 w 136"/>
                  <a:gd name="T13" fmla="*/ 21 h 89"/>
                  <a:gd name="T14" fmla="*/ 90 w 136"/>
                  <a:gd name="T15" fmla="*/ 21 h 89"/>
                  <a:gd name="T16" fmla="*/ 89 w 136"/>
                  <a:gd name="T17" fmla="*/ 21 h 89"/>
                  <a:gd name="T18" fmla="*/ 87 w 136"/>
                  <a:gd name="T19" fmla="*/ 21 h 89"/>
                  <a:gd name="T20" fmla="*/ 84 w 136"/>
                  <a:gd name="T21" fmla="*/ 21 h 89"/>
                  <a:gd name="T22" fmla="*/ 82 w 136"/>
                  <a:gd name="T23" fmla="*/ 21 h 89"/>
                  <a:gd name="T24" fmla="*/ 81 w 136"/>
                  <a:gd name="T25" fmla="*/ 21 h 89"/>
                  <a:gd name="T26" fmla="*/ 80 w 136"/>
                  <a:gd name="T27" fmla="*/ 21 h 89"/>
                  <a:gd name="T28" fmla="*/ 78 w 136"/>
                  <a:gd name="T29" fmla="*/ 21 h 89"/>
                  <a:gd name="T30" fmla="*/ 77 w 136"/>
                  <a:gd name="T31" fmla="*/ 21 h 89"/>
                  <a:gd name="T32" fmla="*/ 7 w 136"/>
                  <a:gd name="T33" fmla="*/ 15 h 89"/>
                  <a:gd name="T34" fmla="*/ 6 w 136"/>
                  <a:gd name="T35" fmla="*/ 15 h 89"/>
                  <a:gd name="T36" fmla="*/ 5 w 136"/>
                  <a:gd name="T37" fmla="*/ 15 h 89"/>
                  <a:gd name="T38" fmla="*/ 5 w 136"/>
                  <a:gd name="T39" fmla="*/ 15 h 89"/>
                  <a:gd name="T40" fmla="*/ 1 w 136"/>
                  <a:gd name="T41" fmla="*/ 79 h 89"/>
                  <a:gd name="T42" fmla="*/ 2 w 136"/>
                  <a:gd name="T43" fmla="*/ 79 h 89"/>
                  <a:gd name="T44" fmla="*/ 3 w 136"/>
                  <a:gd name="T45" fmla="*/ 80 h 89"/>
                  <a:gd name="T46" fmla="*/ 3 w 136"/>
                  <a:gd name="T47" fmla="*/ 80 h 89"/>
                  <a:gd name="T48" fmla="*/ 4 w 136"/>
                  <a:gd name="T49" fmla="*/ 80 h 89"/>
                  <a:gd name="T50" fmla="*/ 5 w 136"/>
                  <a:gd name="T51" fmla="*/ 80 h 89"/>
                  <a:gd name="T52" fmla="*/ 6 w 136"/>
                  <a:gd name="T53" fmla="*/ 80 h 89"/>
                  <a:gd name="T54" fmla="*/ 7 w 136"/>
                  <a:gd name="T55" fmla="*/ 80 h 89"/>
                  <a:gd name="T56" fmla="*/ 8 w 136"/>
                  <a:gd name="T57" fmla="*/ 80 h 89"/>
                  <a:gd name="T58" fmla="*/ 8 w 136"/>
                  <a:gd name="T59" fmla="*/ 81 h 89"/>
                  <a:gd name="T60" fmla="*/ 77 w 136"/>
                  <a:gd name="T61" fmla="*/ 89 h 89"/>
                  <a:gd name="T62" fmla="*/ 78 w 136"/>
                  <a:gd name="T63" fmla="*/ 89 h 89"/>
                  <a:gd name="T64" fmla="*/ 80 w 136"/>
                  <a:gd name="T65" fmla="*/ 89 h 89"/>
                  <a:gd name="T66" fmla="*/ 81 w 136"/>
                  <a:gd name="T67" fmla="*/ 89 h 89"/>
                  <a:gd name="T68" fmla="*/ 82 w 136"/>
                  <a:gd name="T69" fmla="*/ 89 h 89"/>
                  <a:gd name="T70" fmla="*/ 84 w 136"/>
                  <a:gd name="T71" fmla="*/ 89 h 89"/>
                  <a:gd name="T72" fmla="*/ 87 w 136"/>
                  <a:gd name="T73" fmla="*/ 89 h 89"/>
                  <a:gd name="T74" fmla="*/ 89 w 136"/>
                  <a:gd name="T75" fmla="*/ 89 h 89"/>
                  <a:gd name="T76" fmla="*/ 90 w 136"/>
                  <a:gd name="T77" fmla="*/ 89 h 89"/>
                  <a:gd name="T78" fmla="*/ 91 w 136"/>
                  <a:gd name="T79" fmla="*/ 88 h 89"/>
                  <a:gd name="T80" fmla="*/ 92 w 136"/>
                  <a:gd name="T81" fmla="*/ 88 h 89"/>
                  <a:gd name="T82" fmla="*/ 93 w 136"/>
                  <a:gd name="T83" fmla="*/ 88 h 89"/>
                  <a:gd name="T84" fmla="*/ 94 w 136"/>
                  <a:gd name="T85" fmla="*/ 88 h 89"/>
                  <a:gd name="T86" fmla="*/ 95 w 136"/>
                  <a:gd name="T87" fmla="*/ 88 h 89"/>
                  <a:gd name="T88" fmla="*/ 95 w 136"/>
                  <a:gd name="T89" fmla="*/ 87 h 89"/>
                  <a:gd name="T90" fmla="*/ 96 w 136"/>
                  <a:gd name="T91" fmla="*/ 87 h 89"/>
                  <a:gd name="T92" fmla="*/ 136 w 136"/>
                  <a:gd name="T93" fmla="*/ 2 h 89"/>
                  <a:gd name="T94" fmla="*/ 43 w 136"/>
                  <a:gd name="T95" fmla="*/ 63 h 89"/>
                  <a:gd name="T96" fmla="*/ 43 w 136"/>
                  <a:gd name="T97" fmla="*/ 52 h 89"/>
                  <a:gd name="T98" fmla="*/ 43 w 136"/>
                  <a:gd name="T99" fmla="*/ 63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6" h="89">
                    <a:moveTo>
                      <a:pt x="136" y="2"/>
                    </a:moveTo>
                    <a:cubicBezTo>
                      <a:pt x="136" y="1"/>
                      <a:pt x="134" y="0"/>
                      <a:pt x="129" y="0"/>
                    </a:cubicBezTo>
                    <a:cubicBezTo>
                      <a:pt x="96" y="19"/>
                      <a:pt x="96" y="19"/>
                      <a:pt x="96" y="19"/>
                    </a:cubicBezTo>
                    <a:cubicBezTo>
                      <a:pt x="96" y="19"/>
                      <a:pt x="96" y="19"/>
                      <a:pt x="95" y="19"/>
                    </a:cubicBezTo>
                    <a:cubicBezTo>
                      <a:pt x="95" y="20"/>
                      <a:pt x="95" y="20"/>
                      <a:pt x="95" y="20"/>
                    </a:cubicBezTo>
                    <a:cubicBezTo>
                      <a:pt x="95" y="20"/>
                      <a:pt x="95" y="20"/>
                      <a:pt x="95" y="20"/>
                    </a:cubicBezTo>
                    <a:cubicBezTo>
                      <a:pt x="95" y="20"/>
                      <a:pt x="95" y="20"/>
                      <a:pt x="95" y="20"/>
                    </a:cubicBezTo>
                    <a:cubicBezTo>
                      <a:pt x="94" y="20"/>
                      <a:pt x="94" y="20"/>
                      <a:pt x="94" y="20"/>
                    </a:cubicBezTo>
                    <a:cubicBezTo>
                      <a:pt x="94" y="20"/>
                      <a:pt x="94" y="20"/>
                      <a:pt x="94" y="20"/>
                    </a:cubicBezTo>
                    <a:cubicBezTo>
                      <a:pt x="93" y="20"/>
                      <a:pt x="93" y="20"/>
                      <a:pt x="93" y="20"/>
                    </a:cubicBezTo>
                    <a:cubicBezTo>
                      <a:pt x="93" y="20"/>
                      <a:pt x="93" y="20"/>
                      <a:pt x="93" y="20"/>
                    </a:cubicBezTo>
                    <a:cubicBezTo>
                      <a:pt x="93" y="20"/>
                      <a:pt x="92" y="20"/>
                      <a:pt x="92" y="20"/>
                    </a:cubicBezTo>
                    <a:cubicBezTo>
                      <a:pt x="92" y="20"/>
                      <a:pt x="92" y="20"/>
                      <a:pt x="92" y="20"/>
                    </a:cubicBezTo>
                    <a:cubicBezTo>
                      <a:pt x="92" y="20"/>
                      <a:pt x="91" y="20"/>
                      <a:pt x="91" y="21"/>
                    </a:cubicBezTo>
                    <a:cubicBezTo>
                      <a:pt x="91" y="21"/>
                      <a:pt x="91" y="21"/>
                      <a:pt x="91" y="21"/>
                    </a:cubicBezTo>
                    <a:cubicBezTo>
                      <a:pt x="90" y="21"/>
                      <a:pt x="90" y="21"/>
                      <a:pt x="90" y="21"/>
                    </a:cubicBezTo>
                    <a:cubicBezTo>
                      <a:pt x="90" y="21"/>
                      <a:pt x="90" y="21"/>
                      <a:pt x="89" y="21"/>
                    </a:cubicBezTo>
                    <a:cubicBezTo>
                      <a:pt x="89" y="21"/>
                      <a:pt x="89" y="21"/>
                      <a:pt x="89" y="21"/>
                    </a:cubicBezTo>
                    <a:cubicBezTo>
                      <a:pt x="88" y="21"/>
                      <a:pt x="88" y="21"/>
                      <a:pt x="87" y="21"/>
                    </a:cubicBezTo>
                    <a:cubicBezTo>
                      <a:pt x="87" y="21"/>
                      <a:pt x="87" y="21"/>
                      <a:pt x="87" y="21"/>
                    </a:cubicBezTo>
                    <a:cubicBezTo>
                      <a:pt x="86" y="21"/>
                      <a:pt x="86" y="21"/>
                      <a:pt x="85" y="21"/>
                    </a:cubicBezTo>
                    <a:cubicBezTo>
                      <a:pt x="85" y="21"/>
                      <a:pt x="84" y="21"/>
                      <a:pt x="84" y="21"/>
                    </a:cubicBezTo>
                    <a:cubicBezTo>
                      <a:pt x="84" y="21"/>
                      <a:pt x="84" y="21"/>
                      <a:pt x="84" y="21"/>
                    </a:cubicBezTo>
                    <a:cubicBezTo>
                      <a:pt x="83" y="21"/>
                      <a:pt x="83" y="21"/>
                      <a:pt x="82" y="21"/>
                    </a:cubicBezTo>
                    <a:cubicBezTo>
                      <a:pt x="82" y="21"/>
                      <a:pt x="82" y="21"/>
                      <a:pt x="82" y="21"/>
                    </a:cubicBezTo>
                    <a:cubicBezTo>
                      <a:pt x="82" y="21"/>
                      <a:pt x="81" y="21"/>
                      <a:pt x="81" y="21"/>
                    </a:cubicBezTo>
                    <a:cubicBezTo>
                      <a:pt x="81" y="21"/>
                      <a:pt x="81" y="21"/>
                      <a:pt x="81" y="21"/>
                    </a:cubicBezTo>
                    <a:cubicBezTo>
                      <a:pt x="80" y="21"/>
                      <a:pt x="80" y="21"/>
                      <a:pt x="80" y="21"/>
                    </a:cubicBezTo>
                    <a:cubicBezTo>
                      <a:pt x="80" y="21"/>
                      <a:pt x="79" y="21"/>
                      <a:pt x="79" y="21"/>
                    </a:cubicBezTo>
                    <a:cubicBezTo>
                      <a:pt x="79" y="21"/>
                      <a:pt x="79" y="21"/>
                      <a:pt x="78" y="21"/>
                    </a:cubicBezTo>
                    <a:cubicBezTo>
                      <a:pt x="78" y="21"/>
                      <a:pt x="78" y="21"/>
                      <a:pt x="78" y="21"/>
                    </a:cubicBezTo>
                    <a:cubicBezTo>
                      <a:pt x="77" y="21"/>
                      <a:pt x="77" y="21"/>
                      <a:pt x="77" y="21"/>
                    </a:cubicBezTo>
                    <a:cubicBezTo>
                      <a:pt x="8" y="16"/>
                      <a:pt x="8" y="16"/>
                      <a:pt x="8" y="16"/>
                    </a:cubicBezTo>
                    <a:cubicBezTo>
                      <a:pt x="8" y="15"/>
                      <a:pt x="8" y="15"/>
                      <a:pt x="7" y="15"/>
                    </a:cubicBezTo>
                    <a:cubicBezTo>
                      <a:pt x="7" y="15"/>
                      <a:pt x="7" y="15"/>
                      <a:pt x="7" y="15"/>
                    </a:cubicBezTo>
                    <a:cubicBezTo>
                      <a:pt x="7" y="15"/>
                      <a:pt x="7" y="15"/>
                      <a:pt x="6" y="15"/>
                    </a:cubicBezTo>
                    <a:cubicBezTo>
                      <a:pt x="6" y="15"/>
                      <a:pt x="6" y="15"/>
                      <a:pt x="6" y="15"/>
                    </a:cubicBezTo>
                    <a:cubicBezTo>
                      <a:pt x="6" y="15"/>
                      <a:pt x="6" y="15"/>
                      <a:pt x="5" y="15"/>
                    </a:cubicBezTo>
                    <a:cubicBezTo>
                      <a:pt x="5" y="15"/>
                      <a:pt x="5" y="15"/>
                      <a:pt x="5" y="15"/>
                    </a:cubicBezTo>
                    <a:cubicBezTo>
                      <a:pt x="5" y="15"/>
                      <a:pt x="5" y="15"/>
                      <a:pt x="5" y="15"/>
                    </a:cubicBezTo>
                    <a:cubicBezTo>
                      <a:pt x="0" y="18"/>
                      <a:pt x="0" y="18"/>
                      <a:pt x="0" y="18"/>
                    </a:cubicBezTo>
                    <a:cubicBezTo>
                      <a:pt x="1" y="79"/>
                      <a:pt x="1" y="79"/>
                      <a:pt x="1" y="79"/>
                    </a:cubicBezTo>
                    <a:cubicBezTo>
                      <a:pt x="1" y="79"/>
                      <a:pt x="2" y="79"/>
                      <a:pt x="2" y="79"/>
                    </a:cubicBezTo>
                    <a:cubicBezTo>
                      <a:pt x="2" y="79"/>
                      <a:pt x="2" y="79"/>
                      <a:pt x="2" y="79"/>
                    </a:cubicBezTo>
                    <a:cubicBezTo>
                      <a:pt x="2" y="79"/>
                      <a:pt x="2" y="79"/>
                      <a:pt x="2" y="79"/>
                    </a:cubicBezTo>
                    <a:cubicBezTo>
                      <a:pt x="2" y="80"/>
                      <a:pt x="2" y="80"/>
                      <a:pt x="3" y="80"/>
                    </a:cubicBezTo>
                    <a:cubicBezTo>
                      <a:pt x="3" y="80"/>
                      <a:pt x="3" y="80"/>
                      <a:pt x="3" y="80"/>
                    </a:cubicBezTo>
                    <a:cubicBezTo>
                      <a:pt x="3" y="80"/>
                      <a:pt x="3" y="80"/>
                      <a:pt x="3" y="80"/>
                    </a:cubicBezTo>
                    <a:cubicBezTo>
                      <a:pt x="4" y="80"/>
                      <a:pt x="4" y="80"/>
                      <a:pt x="4" y="80"/>
                    </a:cubicBezTo>
                    <a:cubicBezTo>
                      <a:pt x="4" y="80"/>
                      <a:pt x="4" y="80"/>
                      <a:pt x="4" y="80"/>
                    </a:cubicBezTo>
                    <a:cubicBezTo>
                      <a:pt x="4" y="80"/>
                      <a:pt x="5" y="80"/>
                      <a:pt x="5" y="80"/>
                    </a:cubicBezTo>
                    <a:cubicBezTo>
                      <a:pt x="5" y="80"/>
                      <a:pt x="5" y="80"/>
                      <a:pt x="5" y="80"/>
                    </a:cubicBezTo>
                    <a:cubicBezTo>
                      <a:pt x="5" y="80"/>
                      <a:pt x="5" y="80"/>
                      <a:pt x="5" y="80"/>
                    </a:cubicBezTo>
                    <a:cubicBezTo>
                      <a:pt x="6" y="80"/>
                      <a:pt x="6" y="80"/>
                      <a:pt x="6" y="80"/>
                    </a:cubicBezTo>
                    <a:cubicBezTo>
                      <a:pt x="6" y="80"/>
                      <a:pt x="6" y="80"/>
                      <a:pt x="6" y="80"/>
                    </a:cubicBezTo>
                    <a:cubicBezTo>
                      <a:pt x="7" y="80"/>
                      <a:pt x="7" y="80"/>
                      <a:pt x="7" y="80"/>
                    </a:cubicBezTo>
                    <a:cubicBezTo>
                      <a:pt x="7" y="80"/>
                      <a:pt x="7" y="80"/>
                      <a:pt x="7" y="80"/>
                    </a:cubicBezTo>
                    <a:cubicBezTo>
                      <a:pt x="7" y="80"/>
                      <a:pt x="8" y="80"/>
                      <a:pt x="8" y="80"/>
                    </a:cubicBezTo>
                    <a:cubicBezTo>
                      <a:pt x="8" y="80"/>
                      <a:pt x="8" y="80"/>
                      <a:pt x="8" y="80"/>
                    </a:cubicBezTo>
                    <a:cubicBezTo>
                      <a:pt x="8" y="80"/>
                      <a:pt x="8" y="81"/>
                      <a:pt x="8" y="81"/>
                    </a:cubicBezTo>
                    <a:cubicBezTo>
                      <a:pt x="9" y="81"/>
                      <a:pt x="9" y="81"/>
                      <a:pt x="9" y="81"/>
                    </a:cubicBezTo>
                    <a:cubicBezTo>
                      <a:pt x="77" y="89"/>
                      <a:pt x="77" y="89"/>
                      <a:pt x="77" y="89"/>
                    </a:cubicBezTo>
                    <a:cubicBezTo>
                      <a:pt x="77" y="89"/>
                      <a:pt x="77" y="89"/>
                      <a:pt x="78" y="89"/>
                    </a:cubicBezTo>
                    <a:cubicBezTo>
                      <a:pt x="78" y="89"/>
                      <a:pt x="78" y="89"/>
                      <a:pt x="78" y="89"/>
                    </a:cubicBezTo>
                    <a:cubicBezTo>
                      <a:pt x="79" y="89"/>
                      <a:pt x="79" y="89"/>
                      <a:pt x="79" y="89"/>
                    </a:cubicBezTo>
                    <a:cubicBezTo>
                      <a:pt x="79" y="89"/>
                      <a:pt x="80" y="89"/>
                      <a:pt x="80" y="89"/>
                    </a:cubicBezTo>
                    <a:cubicBezTo>
                      <a:pt x="80" y="89"/>
                      <a:pt x="80" y="89"/>
                      <a:pt x="81" y="89"/>
                    </a:cubicBezTo>
                    <a:cubicBezTo>
                      <a:pt x="81" y="89"/>
                      <a:pt x="81" y="89"/>
                      <a:pt x="81" y="89"/>
                    </a:cubicBezTo>
                    <a:cubicBezTo>
                      <a:pt x="81" y="89"/>
                      <a:pt x="82" y="89"/>
                      <a:pt x="82" y="89"/>
                    </a:cubicBezTo>
                    <a:cubicBezTo>
                      <a:pt x="82" y="89"/>
                      <a:pt x="82" y="89"/>
                      <a:pt x="82" y="89"/>
                    </a:cubicBezTo>
                    <a:cubicBezTo>
                      <a:pt x="83" y="89"/>
                      <a:pt x="83" y="89"/>
                      <a:pt x="84" y="89"/>
                    </a:cubicBezTo>
                    <a:cubicBezTo>
                      <a:pt x="84" y="89"/>
                      <a:pt x="84" y="89"/>
                      <a:pt x="84" y="89"/>
                    </a:cubicBezTo>
                    <a:cubicBezTo>
                      <a:pt x="84" y="89"/>
                      <a:pt x="85" y="89"/>
                      <a:pt x="85" y="89"/>
                    </a:cubicBezTo>
                    <a:cubicBezTo>
                      <a:pt x="86" y="89"/>
                      <a:pt x="86" y="89"/>
                      <a:pt x="87" y="89"/>
                    </a:cubicBezTo>
                    <a:cubicBezTo>
                      <a:pt x="87" y="89"/>
                      <a:pt x="87" y="89"/>
                      <a:pt x="87" y="89"/>
                    </a:cubicBezTo>
                    <a:cubicBezTo>
                      <a:pt x="88" y="89"/>
                      <a:pt x="88" y="89"/>
                      <a:pt x="89" y="89"/>
                    </a:cubicBezTo>
                    <a:cubicBezTo>
                      <a:pt x="89" y="89"/>
                      <a:pt x="89" y="89"/>
                      <a:pt x="89" y="89"/>
                    </a:cubicBezTo>
                    <a:cubicBezTo>
                      <a:pt x="90" y="89"/>
                      <a:pt x="90" y="89"/>
                      <a:pt x="90" y="89"/>
                    </a:cubicBezTo>
                    <a:cubicBezTo>
                      <a:pt x="90" y="89"/>
                      <a:pt x="90" y="88"/>
                      <a:pt x="91" y="88"/>
                    </a:cubicBezTo>
                    <a:cubicBezTo>
                      <a:pt x="91" y="88"/>
                      <a:pt x="91" y="88"/>
                      <a:pt x="91" y="88"/>
                    </a:cubicBezTo>
                    <a:cubicBezTo>
                      <a:pt x="92" y="88"/>
                      <a:pt x="92" y="88"/>
                      <a:pt x="92" y="88"/>
                    </a:cubicBezTo>
                    <a:cubicBezTo>
                      <a:pt x="92" y="88"/>
                      <a:pt x="92" y="88"/>
                      <a:pt x="92" y="88"/>
                    </a:cubicBezTo>
                    <a:cubicBezTo>
                      <a:pt x="92" y="88"/>
                      <a:pt x="93" y="88"/>
                      <a:pt x="93" y="88"/>
                    </a:cubicBezTo>
                    <a:cubicBezTo>
                      <a:pt x="93" y="88"/>
                      <a:pt x="93" y="88"/>
                      <a:pt x="93" y="88"/>
                    </a:cubicBezTo>
                    <a:cubicBezTo>
                      <a:pt x="93" y="88"/>
                      <a:pt x="93" y="88"/>
                      <a:pt x="93" y="88"/>
                    </a:cubicBezTo>
                    <a:cubicBezTo>
                      <a:pt x="93" y="88"/>
                      <a:pt x="93" y="88"/>
                      <a:pt x="94" y="88"/>
                    </a:cubicBezTo>
                    <a:cubicBezTo>
                      <a:pt x="94" y="88"/>
                      <a:pt x="94" y="88"/>
                      <a:pt x="94" y="88"/>
                    </a:cubicBezTo>
                    <a:cubicBezTo>
                      <a:pt x="94" y="88"/>
                      <a:pt x="94" y="88"/>
                      <a:pt x="95" y="88"/>
                    </a:cubicBezTo>
                    <a:cubicBezTo>
                      <a:pt x="95" y="88"/>
                      <a:pt x="95" y="88"/>
                      <a:pt x="95" y="88"/>
                    </a:cubicBezTo>
                    <a:cubicBezTo>
                      <a:pt x="95" y="88"/>
                      <a:pt x="95" y="87"/>
                      <a:pt x="95" y="87"/>
                    </a:cubicBezTo>
                    <a:cubicBezTo>
                      <a:pt x="95" y="87"/>
                      <a:pt x="95" y="87"/>
                      <a:pt x="95" y="87"/>
                    </a:cubicBezTo>
                    <a:cubicBezTo>
                      <a:pt x="96" y="87"/>
                      <a:pt x="96" y="87"/>
                      <a:pt x="96" y="87"/>
                    </a:cubicBezTo>
                    <a:cubicBezTo>
                      <a:pt x="135" y="57"/>
                      <a:pt x="135" y="57"/>
                      <a:pt x="135" y="57"/>
                    </a:cubicBezTo>
                    <a:cubicBezTo>
                      <a:pt x="135" y="57"/>
                      <a:pt x="136" y="23"/>
                      <a:pt x="136" y="2"/>
                    </a:cubicBezTo>
                    <a:cubicBezTo>
                      <a:pt x="136" y="2"/>
                      <a:pt x="136" y="2"/>
                      <a:pt x="136" y="2"/>
                    </a:cubicBezTo>
                    <a:close/>
                    <a:moveTo>
                      <a:pt x="43" y="63"/>
                    </a:moveTo>
                    <a:cubicBezTo>
                      <a:pt x="40" y="63"/>
                      <a:pt x="38" y="60"/>
                      <a:pt x="38" y="57"/>
                    </a:cubicBezTo>
                    <a:cubicBezTo>
                      <a:pt x="38" y="54"/>
                      <a:pt x="40" y="52"/>
                      <a:pt x="43" y="52"/>
                    </a:cubicBezTo>
                    <a:cubicBezTo>
                      <a:pt x="46" y="52"/>
                      <a:pt x="48" y="54"/>
                      <a:pt x="48" y="57"/>
                    </a:cubicBezTo>
                    <a:cubicBezTo>
                      <a:pt x="48" y="60"/>
                      <a:pt x="46" y="63"/>
                      <a:pt x="43"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Light" pitchFamily="34" charset="0"/>
                  <a:cs typeface="Segoe UI Light" pitchFamily="34" charset="0"/>
                </a:endParaRPr>
              </a:p>
            </p:txBody>
          </p:sp>
          <p:sp>
            <p:nvSpPr>
              <p:cNvPr id="48" name="Freeform 607"/>
              <p:cNvSpPr>
                <a:spLocks/>
              </p:cNvSpPr>
              <p:nvPr/>
            </p:nvSpPr>
            <p:spPr bwMode="auto">
              <a:xfrm>
                <a:off x="5387975" y="4660900"/>
                <a:ext cx="131762" cy="44450"/>
              </a:xfrm>
              <a:custGeom>
                <a:avLst/>
                <a:gdLst>
                  <a:gd name="T0" fmla="*/ 1 w 136"/>
                  <a:gd name="T1" fmla="*/ 39 h 46"/>
                  <a:gd name="T2" fmla="*/ 2 w 136"/>
                  <a:gd name="T3" fmla="*/ 39 h 46"/>
                  <a:gd name="T4" fmla="*/ 3 w 136"/>
                  <a:gd name="T5" fmla="*/ 39 h 46"/>
                  <a:gd name="T6" fmla="*/ 4 w 136"/>
                  <a:gd name="T7" fmla="*/ 39 h 46"/>
                  <a:gd name="T8" fmla="*/ 5 w 136"/>
                  <a:gd name="T9" fmla="*/ 39 h 46"/>
                  <a:gd name="T10" fmla="*/ 5 w 136"/>
                  <a:gd name="T11" fmla="*/ 40 h 46"/>
                  <a:gd name="T12" fmla="*/ 6 w 136"/>
                  <a:gd name="T13" fmla="*/ 40 h 46"/>
                  <a:gd name="T14" fmla="*/ 7 w 136"/>
                  <a:gd name="T15" fmla="*/ 40 h 46"/>
                  <a:gd name="T16" fmla="*/ 77 w 136"/>
                  <a:gd name="T17" fmla="*/ 45 h 46"/>
                  <a:gd name="T18" fmla="*/ 78 w 136"/>
                  <a:gd name="T19" fmla="*/ 45 h 46"/>
                  <a:gd name="T20" fmla="*/ 80 w 136"/>
                  <a:gd name="T21" fmla="*/ 45 h 46"/>
                  <a:gd name="T22" fmla="*/ 81 w 136"/>
                  <a:gd name="T23" fmla="*/ 46 h 46"/>
                  <a:gd name="T24" fmla="*/ 82 w 136"/>
                  <a:gd name="T25" fmla="*/ 46 h 46"/>
                  <a:gd name="T26" fmla="*/ 84 w 136"/>
                  <a:gd name="T27" fmla="*/ 45 h 46"/>
                  <a:gd name="T28" fmla="*/ 87 w 136"/>
                  <a:gd name="T29" fmla="*/ 45 h 46"/>
                  <a:gd name="T30" fmla="*/ 89 w 136"/>
                  <a:gd name="T31" fmla="*/ 45 h 46"/>
                  <a:gd name="T32" fmla="*/ 90 w 136"/>
                  <a:gd name="T33" fmla="*/ 45 h 46"/>
                  <a:gd name="T34" fmla="*/ 91 w 136"/>
                  <a:gd name="T35" fmla="*/ 45 h 46"/>
                  <a:gd name="T36" fmla="*/ 92 w 136"/>
                  <a:gd name="T37" fmla="*/ 45 h 46"/>
                  <a:gd name="T38" fmla="*/ 93 w 136"/>
                  <a:gd name="T39" fmla="*/ 45 h 46"/>
                  <a:gd name="T40" fmla="*/ 94 w 136"/>
                  <a:gd name="T41" fmla="*/ 44 h 46"/>
                  <a:gd name="T42" fmla="*/ 95 w 136"/>
                  <a:gd name="T43" fmla="*/ 44 h 46"/>
                  <a:gd name="T44" fmla="*/ 95 w 136"/>
                  <a:gd name="T45" fmla="*/ 44 h 46"/>
                  <a:gd name="T46" fmla="*/ 135 w 136"/>
                  <a:gd name="T47" fmla="*/ 21 h 46"/>
                  <a:gd name="T48" fmla="*/ 135 w 136"/>
                  <a:gd name="T49" fmla="*/ 21 h 46"/>
                  <a:gd name="T50" fmla="*/ 135 w 136"/>
                  <a:gd name="T51" fmla="*/ 21 h 46"/>
                  <a:gd name="T52" fmla="*/ 136 w 136"/>
                  <a:gd name="T53" fmla="*/ 20 h 46"/>
                  <a:gd name="T54" fmla="*/ 136 w 136"/>
                  <a:gd name="T55" fmla="*/ 3 h 46"/>
                  <a:gd name="T56" fmla="*/ 136 w 136"/>
                  <a:gd name="T57" fmla="*/ 3 h 46"/>
                  <a:gd name="T58" fmla="*/ 96 w 136"/>
                  <a:gd name="T59" fmla="*/ 19 h 46"/>
                  <a:gd name="T60" fmla="*/ 95 w 136"/>
                  <a:gd name="T61" fmla="*/ 19 h 46"/>
                  <a:gd name="T62" fmla="*/ 95 w 136"/>
                  <a:gd name="T63" fmla="*/ 19 h 46"/>
                  <a:gd name="T64" fmla="*/ 94 w 136"/>
                  <a:gd name="T65" fmla="*/ 20 h 46"/>
                  <a:gd name="T66" fmla="*/ 93 w 136"/>
                  <a:gd name="T67" fmla="*/ 20 h 46"/>
                  <a:gd name="T68" fmla="*/ 92 w 136"/>
                  <a:gd name="T69" fmla="*/ 20 h 46"/>
                  <a:gd name="T70" fmla="*/ 91 w 136"/>
                  <a:gd name="T71" fmla="*/ 20 h 46"/>
                  <a:gd name="T72" fmla="*/ 89 w 136"/>
                  <a:gd name="T73" fmla="*/ 20 h 46"/>
                  <a:gd name="T74" fmla="*/ 87 w 136"/>
                  <a:gd name="T75" fmla="*/ 21 h 46"/>
                  <a:gd name="T76" fmla="*/ 85 w 136"/>
                  <a:gd name="T77" fmla="*/ 21 h 46"/>
                  <a:gd name="T78" fmla="*/ 84 w 136"/>
                  <a:gd name="T79" fmla="*/ 21 h 46"/>
                  <a:gd name="T80" fmla="*/ 82 w 136"/>
                  <a:gd name="T81" fmla="*/ 21 h 46"/>
                  <a:gd name="T82" fmla="*/ 81 w 136"/>
                  <a:gd name="T83" fmla="*/ 21 h 46"/>
                  <a:gd name="T84" fmla="*/ 79 w 136"/>
                  <a:gd name="T85" fmla="*/ 21 h 46"/>
                  <a:gd name="T86" fmla="*/ 78 w 136"/>
                  <a:gd name="T87" fmla="*/ 21 h 46"/>
                  <a:gd name="T88" fmla="*/ 8 w 136"/>
                  <a:gd name="T89" fmla="*/ 15 h 46"/>
                  <a:gd name="T90" fmla="*/ 7 w 136"/>
                  <a:gd name="T91" fmla="*/ 15 h 46"/>
                  <a:gd name="T92" fmla="*/ 6 w 136"/>
                  <a:gd name="T93" fmla="*/ 15 h 46"/>
                  <a:gd name="T94" fmla="*/ 5 w 136"/>
                  <a:gd name="T95" fmla="*/ 15 h 46"/>
                  <a:gd name="T96" fmla="*/ 0 w 136"/>
                  <a:gd name="T97" fmla="*/ 17 h 46"/>
                  <a:gd name="T98" fmla="*/ 1 w 136"/>
                  <a:gd name="T99" fmla="*/ 3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6" h="46">
                    <a:moveTo>
                      <a:pt x="1" y="39"/>
                    </a:moveTo>
                    <a:cubicBezTo>
                      <a:pt x="1" y="39"/>
                      <a:pt x="1" y="39"/>
                      <a:pt x="1" y="39"/>
                    </a:cubicBezTo>
                    <a:cubicBezTo>
                      <a:pt x="1" y="39"/>
                      <a:pt x="2" y="39"/>
                      <a:pt x="2" y="39"/>
                    </a:cubicBezTo>
                    <a:cubicBezTo>
                      <a:pt x="2" y="39"/>
                      <a:pt x="2" y="39"/>
                      <a:pt x="2" y="39"/>
                    </a:cubicBezTo>
                    <a:cubicBezTo>
                      <a:pt x="2" y="39"/>
                      <a:pt x="2" y="39"/>
                      <a:pt x="2" y="39"/>
                    </a:cubicBezTo>
                    <a:cubicBezTo>
                      <a:pt x="3" y="39"/>
                      <a:pt x="3" y="39"/>
                      <a:pt x="3" y="39"/>
                    </a:cubicBezTo>
                    <a:cubicBezTo>
                      <a:pt x="3" y="39"/>
                      <a:pt x="3" y="39"/>
                      <a:pt x="3" y="39"/>
                    </a:cubicBezTo>
                    <a:cubicBezTo>
                      <a:pt x="4" y="39"/>
                      <a:pt x="4" y="39"/>
                      <a:pt x="4" y="39"/>
                    </a:cubicBezTo>
                    <a:cubicBezTo>
                      <a:pt x="4" y="39"/>
                      <a:pt x="4" y="39"/>
                      <a:pt x="4" y="39"/>
                    </a:cubicBezTo>
                    <a:cubicBezTo>
                      <a:pt x="4" y="39"/>
                      <a:pt x="4" y="39"/>
                      <a:pt x="5" y="39"/>
                    </a:cubicBezTo>
                    <a:cubicBezTo>
                      <a:pt x="5" y="39"/>
                      <a:pt x="5" y="40"/>
                      <a:pt x="5" y="40"/>
                    </a:cubicBezTo>
                    <a:cubicBezTo>
                      <a:pt x="5" y="40"/>
                      <a:pt x="5" y="40"/>
                      <a:pt x="5" y="40"/>
                    </a:cubicBezTo>
                    <a:cubicBezTo>
                      <a:pt x="6" y="40"/>
                      <a:pt x="6" y="40"/>
                      <a:pt x="6" y="40"/>
                    </a:cubicBezTo>
                    <a:cubicBezTo>
                      <a:pt x="6" y="40"/>
                      <a:pt x="6" y="40"/>
                      <a:pt x="6" y="40"/>
                    </a:cubicBezTo>
                    <a:cubicBezTo>
                      <a:pt x="7" y="40"/>
                      <a:pt x="7" y="40"/>
                      <a:pt x="7" y="40"/>
                    </a:cubicBezTo>
                    <a:cubicBezTo>
                      <a:pt x="7" y="40"/>
                      <a:pt x="7" y="40"/>
                      <a:pt x="7" y="40"/>
                    </a:cubicBezTo>
                    <a:cubicBezTo>
                      <a:pt x="8" y="40"/>
                      <a:pt x="8" y="40"/>
                      <a:pt x="8" y="40"/>
                    </a:cubicBezTo>
                    <a:cubicBezTo>
                      <a:pt x="77" y="45"/>
                      <a:pt x="77" y="45"/>
                      <a:pt x="77" y="45"/>
                    </a:cubicBezTo>
                    <a:cubicBezTo>
                      <a:pt x="77" y="45"/>
                      <a:pt x="77" y="45"/>
                      <a:pt x="78" y="45"/>
                    </a:cubicBezTo>
                    <a:cubicBezTo>
                      <a:pt x="78" y="45"/>
                      <a:pt x="78" y="45"/>
                      <a:pt x="78" y="45"/>
                    </a:cubicBezTo>
                    <a:cubicBezTo>
                      <a:pt x="79" y="45"/>
                      <a:pt x="79" y="45"/>
                      <a:pt x="79" y="45"/>
                    </a:cubicBezTo>
                    <a:cubicBezTo>
                      <a:pt x="79" y="45"/>
                      <a:pt x="80" y="45"/>
                      <a:pt x="80" y="45"/>
                    </a:cubicBezTo>
                    <a:cubicBezTo>
                      <a:pt x="80" y="45"/>
                      <a:pt x="80" y="45"/>
                      <a:pt x="81" y="46"/>
                    </a:cubicBezTo>
                    <a:cubicBezTo>
                      <a:pt x="81" y="46"/>
                      <a:pt x="81" y="46"/>
                      <a:pt x="81" y="46"/>
                    </a:cubicBezTo>
                    <a:cubicBezTo>
                      <a:pt x="81" y="46"/>
                      <a:pt x="82" y="46"/>
                      <a:pt x="82" y="46"/>
                    </a:cubicBezTo>
                    <a:cubicBezTo>
                      <a:pt x="82" y="46"/>
                      <a:pt x="82" y="46"/>
                      <a:pt x="82" y="46"/>
                    </a:cubicBezTo>
                    <a:cubicBezTo>
                      <a:pt x="83" y="46"/>
                      <a:pt x="83" y="46"/>
                      <a:pt x="84" y="45"/>
                    </a:cubicBezTo>
                    <a:cubicBezTo>
                      <a:pt x="84" y="45"/>
                      <a:pt x="84" y="45"/>
                      <a:pt x="84" y="45"/>
                    </a:cubicBezTo>
                    <a:cubicBezTo>
                      <a:pt x="84" y="45"/>
                      <a:pt x="85" y="45"/>
                      <a:pt x="85" y="45"/>
                    </a:cubicBezTo>
                    <a:cubicBezTo>
                      <a:pt x="86" y="45"/>
                      <a:pt x="86" y="45"/>
                      <a:pt x="87" y="45"/>
                    </a:cubicBezTo>
                    <a:cubicBezTo>
                      <a:pt x="87" y="45"/>
                      <a:pt x="87" y="45"/>
                      <a:pt x="87" y="45"/>
                    </a:cubicBezTo>
                    <a:cubicBezTo>
                      <a:pt x="88" y="45"/>
                      <a:pt x="88" y="45"/>
                      <a:pt x="89" y="45"/>
                    </a:cubicBezTo>
                    <a:cubicBezTo>
                      <a:pt x="89" y="45"/>
                      <a:pt x="89" y="45"/>
                      <a:pt x="89" y="45"/>
                    </a:cubicBezTo>
                    <a:cubicBezTo>
                      <a:pt x="90" y="45"/>
                      <a:pt x="90" y="45"/>
                      <a:pt x="90" y="45"/>
                    </a:cubicBezTo>
                    <a:cubicBezTo>
                      <a:pt x="90" y="45"/>
                      <a:pt x="90" y="45"/>
                      <a:pt x="91" y="45"/>
                    </a:cubicBezTo>
                    <a:cubicBezTo>
                      <a:pt x="91" y="45"/>
                      <a:pt x="91" y="45"/>
                      <a:pt x="91" y="45"/>
                    </a:cubicBezTo>
                    <a:cubicBezTo>
                      <a:pt x="91" y="45"/>
                      <a:pt x="92" y="45"/>
                      <a:pt x="92" y="45"/>
                    </a:cubicBezTo>
                    <a:cubicBezTo>
                      <a:pt x="92" y="45"/>
                      <a:pt x="92" y="45"/>
                      <a:pt x="92" y="45"/>
                    </a:cubicBezTo>
                    <a:cubicBezTo>
                      <a:pt x="92" y="45"/>
                      <a:pt x="93" y="45"/>
                      <a:pt x="93" y="45"/>
                    </a:cubicBezTo>
                    <a:cubicBezTo>
                      <a:pt x="93" y="45"/>
                      <a:pt x="93" y="45"/>
                      <a:pt x="93" y="45"/>
                    </a:cubicBezTo>
                    <a:cubicBezTo>
                      <a:pt x="93" y="45"/>
                      <a:pt x="93" y="44"/>
                      <a:pt x="94" y="44"/>
                    </a:cubicBezTo>
                    <a:cubicBezTo>
                      <a:pt x="94" y="44"/>
                      <a:pt x="94" y="44"/>
                      <a:pt x="94" y="44"/>
                    </a:cubicBezTo>
                    <a:cubicBezTo>
                      <a:pt x="94" y="44"/>
                      <a:pt x="94" y="44"/>
                      <a:pt x="95" y="44"/>
                    </a:cubicBezTo>
                    <a:cubicBezTo>
                      <a:pt x="95" y="44"/>
                      <a:pt x="95" y="44"/>
                      <a:pt x="95" y="44"/>
                    </a:cubicBezTo>
                    <a:cubicBezTo>
                      <a:pt x="95" y="44"/>
                      <a:pt x="95" y="44"/>
                      <a:pt x="95" y="44"/>
                    </a:cubicBezTo>
                    <a:cubicBezTo>
                      <a:pt x="95" y="44"/>
                      <a:pt x="95" y="44"/>
                      <a:pt x="95" y="44"/>
                    </a:cubicBezTo>
                    <a:cubicBezTo>
                      <a:pt x="96" y="44"/>
                      <a:pt x="96" y="44"/>
                      <a:pt x="96" y="44"/>
                    </a:cubicBezTo>
                    <a:cubicBezTo>
                      <a:pt x="135" y="21"/>
                      <a:pt x="135" y="21"/>
                      <a:pt x="135" y="21"/>
                    </a:cubicBezTo>
                    <a:cubicBezTo>
                      <a:pt x="135" y="21"/>
                      <a:pt x="135" y="21"/>
                      <a:pt x="135" y="21"/>
                    </a:cubicBezTo>
                    <a:cubicBezTo>
                      <a:pt x="135" y="21"/>
                      <a:pt x="135" y="21"/>
                      <a:pt x="135" y="21"/>
                    </a:cubicBezTo>
                    <a:cubicBezTo>
                      <a:pt x="135" y="21"/>
                      <a:pt x="135" y="21"/>
                      <a:pt x="135" y="21"/>
                    </a:cubicBezTo>
                    <a:cubicBezTo>
                      <a:pt x="135" y="21"/>
                      <a:pt x="135" y="21"/>
                      <a:pt x="135" y="21"/>
                    </a:cubicBezTo>
                    <a:cubicBezTo>
                      <a:pt x="136" y="21"/>
                      <a:pt x="136" y="21"/>
                      <a:pt x="136" y="20"/>
                    </a:cubicBezTo>
                    <a:cubicBezTo>
                      <a:pt x="136" y="20"/>
                      <a:pt x="136" y="20"/>
                      <a:pt x="136" y="20"/>
                    </a:cubicBezTo>
                    <a:cubicBezTo>
                      <a:pt x="136" y="20"/>
                      <a:pt x="136" y="20"/>
                      <a:pt x="136" y="20"/>
                    </a:cubicBezTo>
                    <a:cubicBezTo>
                      <a:pt x="136" y="3"/>
                      <a:pt x="136" y="3"/>
                      <a:pt x="136" y="3"/>
                    </a:cubicBezTo>
                    <a:cubicBezTo>
                      <a:pt x="136" y="3"/>
                      <a:pt x="136" y="3"/>
                      <a:pt x="136" y="3"/>
                    </a:cubicBezTo>
                    <a:cubicBezTo>
                      <a:pt x="136" y="3"/>
                      <a:pt x="136" y="3"/>
                      <a:pt x="136" y="3"/>
                    </a:cubicBezTo>
                    <a:cubicBezTo>
                      <a:pt x="136" y="2"/>
                      <a:pt x="134" y="1"/>
                      <a:pt x="129" y="0"/>
                    </a:cubicBezTo>
                    <a:cubicBezTo>
                      <a:pt x="96" y="19"/>
                      <a:pt x="96" y="19"/>
                      <a:pt x="96" y="19"/>
                    </a:cubicBezTo>
                    <a:cubicBezTo>
                      <a:pt x="96" y="19"/>
                      <a:pt x="96" y="19"/>
                      <a:pt x="95" y="19"/>
                    </a:cubicBezTo>
                    <a:cubicBezTo>
                      <a:pt x="95" y="19"/>
                      <a:pt x="95" y="19"/>
                      <a:pt x="95" y="19"/>
                    </a:cubicBezTo>
                    <a:cubicBezTo>
                      <a:pt x="95" y="19"/>
                      <a:pt x="95" y="19"/>
                      <a:pt x="95" y="19"/>
                    </a:cubicBezTo>
                    <a:cubicBezTo>
                      <a:pt x="95" y="19"/>
                      <a:pt x="95" y="19"/>
                      <a:pt x="95" y="19"/>
                    </a:cubicBezTo>
                    <a:cubicBezTo>
                      <a:pt x="94" y="19"/>
                      <a:pt x="94" y="20"/>
                      <a:pt x="94" y="20"/>
                    </a:cubicBezTo>
                    <a:cubicBezTo>
                      <a:pt x="94" y="20"/>
                      <a:pt x="94" y="20"/>
                      <a:pt x="94" y="20"/>
                    </a:cubicBezTo>
                    <a:cubicBezTo>
                      <a:pt x="93" y="20"/>
                      <a:pt x="93" y="20"/>
                      <a:pt x="93" y="20"/>
                    </a:cubicBezTo>
                    <a:cubicBezTo>
                      <a:pt x="93" y="20"/>
                      <a:pt x="93" y="20"/>
                      <a:pt x="93" y="20"/>
                    </a:cubicBezTo>
                    <a:cubicBezTo>
                      <a:pt x="93" y="20"/>
                      <a:pt x="92" y="20"/>
                      <a:pt x="92" y="20"/>
                    </a:cubicBezTo>
                    <a:cubicBezTo>
                      <a:pt x="92" y="20"/>
                      <a:pt x="92" y="20"/>
                      <a:pt x="92" y="20"/>
                    </a:cubicBezTo>
                    <a:cubicBezTo>
                      <a:pt x="92" y="20"/>
                      <a:pt x="92" y="20"/>
                      <a:pt x="91" y="20"/>
                    </a:cubicBezTo>
                    <a:cubicBezTo>
                      <a:pt x="91" y="20"/>
                      <a:pt x="91" y="20"/>
                      <a:pt x="91" y="20"/>
                    </a:cubicBezTo>
                    <a:cubicBezTo>
                      <a:pt x="90" y="20"/>
                      <a:pt x="90" y="20"/>
                      <a:pt x="90" y="20"/>
                    </a:cubicBezTo>
                    <a:cubicBezTo>
                      <a:pt x="90" y="20"/>
                      <a:pt x="90" y="20"/>
                      <a:pt x="89" y="20"/>
                    </a:cubicBezTo>
                    <a:cubicBezTo>
                      <a:pt x="89" y="20"/>
                      <a:pt x="89" y="20"/>
                      <a:pt x="89" y="20"/>
                    </a:cubicBezTo>
                    <a:cubicBezTo>
                      <a:pt x="88" y="21"/>
                      <a:pt x="88" y="21"/>
                      <a:pt x="87" y="21"/>
                    </a:cubicBezTo>
                    <a:cubicBezTo>
                      <a:pt x="87" y="21"/>
                      <a:pt x="87" y="21"/>
                      <a:pt x="87" y="21"/>
                    </a:cubicBezTo>
                    <a:cubicBezTo>
                      <a:pt x="86" y="21"/>
                      <a:pt x="86" y="21"/>
                      <a:pt x="85" y="21"/>
                    </a:cubicBezTo>
                    <a:cubicBezTo>
                      <a:pt x="85" y="21"/>
                      <a:pt x="84" y="21"/>
                      <a:pt x="84" y="21"/>
                    </a:cubicBezTo>
                    <a:cubicBezTo>
                      <a:pt x="84" y="21"/>
                      <a:pt x="84" y="21"/>
                      <a:pt x="84" y="21"/>
                    </a:cubicBezTo>
                    <a:cubicBezTo>
                      <a:pt x="83" y="21"/>
                      <a:pt x="83" y="21"/>
                      <a:pt x="82" y="21"/>
                    </a:cubicBezTo>
                    <a:cubicBezTo>
                      <a:pt x="82" y="21"/>
                      <a:pt x="82" y="21"/>
                      <a:pt x="82" y="21"/>
                    </a:cubicBezTo>
                    <a:cubicBezTo>
                      <a:pt x="82" y="21"/>
                      <a:pt x="81" y="21"/>
                      <a:pt x="81" y="21"/>
                    </a:cubicBezTo>
                    <a:cubicBezTo>
                      <a:pt x="81" y="21"/>
                      <a:pt x="81" y="21"/>
                      <a:pt x="81" y="21"/>
                    </a:cubicBezTo>
                    <a:cubicBezTo>
                      <a:pt x="80" y="21"/>
                      <a:pt x="80" y="21"/>
                      <a:pt x="80" y="21"/>
                    </a:cubicBezTo>
                    <a:cubicBezTo>
                      <a:pt x="79" y="21"/>
                      <a:pt x="79" y="21"/>
                      <a:pt x="79" y="21"/>
                    </a:cubicBezTo>
                    <a:cubicBezTo>
                      <a:pt x="79" y="21"/>
                      <a:pt x="79" y="21"/>
                      <a:pt x="78" y="21"/>
                    </a:cubicBezTo>
                    <a:cubicBezTo>
                      <a:pt x="78" y="21"/>
                      <a:pt x="78" y="21"/>
                      <a:pt x="78" y="21"/>
                    </a:cubicBezTo>
                    <a:cubicBezTo>
                      <a:pt x="78" y="21"/>
                      <a:pt x="77" y="21"/>
                      <a:pt x="77" y="21"/>
                    </a:cubicBezTo>
                    <a:cubicBezTo>
                      <a:pt x="8" y="15"/>
                      <a:pt x="8" y="15"/>
                      <a:pt x="8" y="15"/>
                    </a:cubicBezTo>
                    <a:cubicBezTo>
                      <a:pt x="8" y="15"/>
                      <a:pt x="8" y="15"/>
                      <a:pt x="7" y="15"/>
                    </a:cubicBezTo>
                    <a:cubicBezTo>
                      <a:pt x="7" y="15"/>
                      <a:pt x="7" y="15"/>
                      <a:pt x="7" y="15"/>
                    </a:cubicBezTo>
                    <a:cubicBezTo>
                      <a:pt x="7" y="15"/>
                      <a:pt x="7" y="15"/>
                      <a:pt x="6" y="15"/>
                    </a:cubicBezTo>
                    <a:cubicBezTo>
                      <a:pt x="6" y="15"/>
                      <a:pt x="6" y="15"/>
                      <a:pt x="6" y="15"/>
                    </a:cubicBezTo>
                    <a:cubicBezTo>
                      <a:pt x="6" y="15"/>
                      <a:pt x="6" y="15"/>
                      <a:pt x="5" y="15"/>
                    </a:cubicBezTo>
                    <a:cubicBezTo>
                      <a:pt x="5" y="15"/>
                      <a:pt x="5" y="15"/>
                      <a:pt x="5" y="15"/>
                    </a:cubicBezTo>
                    <a:cubicBezTo>
                      <a:pt x="5" y="15"/>
                      <a:pt x="5" y="15"/>
                      <a:pt x="5" y="15"/>
                    </a:cubicBezTo>
                    <a:cubicBezTo>
                      <a:pt x="0" y="17"/>
                      <a:pt x="0" y="17"/>
                      <a:pt x="0" y="17"/>
                    </a:cubicBezTo>
                    <a:cubicBezTo>
                      <a:pt x="0" y="38"/>
                      <a:pt x="0" y="38"/>
                      <a:pt x="0" y="38"/>
                    </a:cubicBezTo>
                    <a:cubicBezTo>
                      <a:pt x="0" y="38"/>
                      <a:pt x="1" y="38"/>
                      <a:pt x="1" y="39"/>
                    </a:cubicBezTo>
                    <a:cubicBezTo>
                      <a:pt x="1" y="39"/>
                      <a:pt x="1" y="39"/>
                      <a:pt x="1"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Light" pitchFamily="34" charset="0"/>
                  <a:cs typeface="Segoe UI Light" pitchFamily="34" charset="0"/>
                </a:endParaRPr>
              </a:p>
            </p:txBody>
          </p:sp>
          <p:sp>
            <p:nvSpPr>
              <p:cNvPr id="49" name="Freeform 608"/>
              <p:cNvSpPr>
                <a:spLocks noEditPoints="1"/>
              </p:cNvSpPr>
              <p:nvPr/>
            </p:nvSpPr>
            <p:spPr bwMode="auto">
              <a:xfrm>
                <a:off x="4740275" y="4645025"/>
                <a:ext cx="171450" cy="109538"/>
              </a:xfrm>
              <a:custGeom>
                <a:avLst/>
                <a:gdLst>
                  <a:gd name="T0" fmla="*/ 168 w 177"/>
                  <a:gd name="T1" fmla="*/ 0 h 114"/>
                  <a:gd name="T2" fmla="*/ 9 w 177"/>
                  <a:gd name="T3" fmla="*/ 0 h 114"/>
                  <a:gd name="T4" fmla="*/ 0 w 177"/>
                  <a:gd name="T5" fmla="*/ 9 h 114"/>
                  <a:gd name="T6" fmla="*/ 0 w 177"/>
                  <a:gd name="T7" fmla="*/ 106 h 114"/>
                  <a:gd name="T8" fmla="*/ 9 w 177"/>
                  <a:gd name="T9" fmla="*/ 114 h 114"/>
                  <a:gd name="T10" fmla="*/ 168 w 177"/>
                  <a:gd name="T11" fmla="*/ 114 h 114"/>
                  <a:gd name="T12" fmla="*/ 177 w 177"/>
                  <a:gd name="T13" fmla="*/ 106 h 114"/>
                  <a:gd name="T14" fmla="*/ 177 w 177"/>
                  <a:gd name="T15" fmla="*/ 9 h 114"/>
                  <a:gd name="T16" fmla="*/ 168 w 177"/>
                  <a:gd name="T17" fmla="*/ 0 h 114"/>
                  <a:gd name="T18" fmla="*/ 168 w 177"/>
                  <a:gd name="T19" fmla="*/ 106 h 114"/>
                  <a:gd name="T20" fmla="*/ 168 w 177"/>
                  <a:gd name="T21" fmla="*/ 106 h 114"/>
                  <a:gd name="T22" fmla="*/ 9 w 177"/>
                  <a:gd name="T23" fmla="*/ 106 h 114"/>
                  <a:gd name="T24" fmla="*/ 9 w 177"/>
                  <a:gd name="T25" fmla="*/ 106 h 114"/>
                  <a:gd name="T26" fmla="*/ 9 w 177"/>
                  <a:gd name="T27" fmla="*/ 9 h 114"/>
                  <a:gd name="T28" fmla="*/ 9 w 177"/>
                  <a:gd name="T29" fmla="*/ 9 h 114"/>
                  <a:gd name="T30" fmla="*/ 168 w 177"/>
                  <a:gd name="T31" fmla="*/ 9 h 114"/>
                  <a:gd name="T32" fmla="*/ 168 w 177"/>
                  <a:gd name="T33" fmla="*/ 9 h 114"/>
                  <a:gd name="T34" fmla="*/ 168 w 177"/>
                  <a:gd name="T35" fmla="*/ 106 h 114"/>
                  <a:gd name="T36" fmla="*/ 168 w 177"/>
                  <a:gd name="T37" fmla="*/ 10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14">
                    <a:moveTo>
                      <a:pt x="168" y="0"/>
                    </a:moveTo>
                    <a:cubicBezTo>
                      <a:pt x="9" y="0"/>
                      <a:pt x="9" y="0"/>
                      <a:pt x="9" y="0"/>
                    </a:cubicBezTo>
                    <a:cubicBezTo>
                      <a:pt x="4" y="0"/>
                      <a:pt x="0" y="4"/>
                      <a:pt x="0" y="9"/>
                    </a:cubicBezTo>
                    <a:cubicBezTo>
                      <a:pt x="0" y="106"/>
                      <a:pt x="0" y="106"/>
                      <a:pt x="0" y="106"/>
                    </a:cubicBezTo>
                    <a:cubicBezTo>
                      <a:pt x="0" y="111"/>
                      <a:pt x="4" y="114"/>
                      <a:pt x="9" y="114"/>
                    </a:cubicBezTo>
                    <a:cubicBezTo>
                      <a:pt x="168" y="114"/>
                      <a:pt x="168" y="114"/>
                      <a:pt x="168" y="114"/>
                    </a:cubicBezTo>
                    <a:cubicBezTo>
                      <a:pt x="173" y="114"/>
                      <a:pt x="177" y="111"/>
                      <a:pt x="177" y="106"/>
                    </a:cubicBezTo>
                    <a:cubicBezTo>
                      <a:pt x="177" y="9"/>
                      <a:pt x="177" y="9"/>
                      <a:pt x="177" y="9"/>
                    </a:cubicBezTo>
                    <a:cubicBezTo>
                      <a:pt x="177" y="4"/>
                      <a:pt x="173" y="0"/>
                      <a:pt x="168" y="0"/>
                    </a:cubicBezTo>
                    <a:close/>
                    <a:moveTo>
                      <a:pt x="168" y="106"/>
                    </a:moveTo>
                    <a:cubicBezTo>
                      <a:pt x="168" y="106"/>
                      <a:pt x="168" y="106"/>
                      <a:pt x="168" y="106"/>
                    </a:cubicBezTo>
                    <a:cubicBezTo>
                      <a:pt x="9" y="106"/>
                      <a:pt x="9" y="106"/>
                      <a:pt x="9" y="106"/>
                    </a:cubicBezTo>
                    <a:cubicBezTo>
                      <a:pt x="9" y="106"/>
                      <a:pt x="9" y="106"/>
                      <a:pt x="9" y="106"/>
                    </a:cubicBezTo>
                    <a:cubicBezTo>
                      <a:pt x="9" y="9"/>
                      <a:pt x="9" y="9"/>
                      <a:pt x="9" y="9"/>
                    </a:cubicBezTo>
                    <a:cubicBezTo>
                      <a:pt x="9" y="9"/>
                      <a:pt x="9" y="9"/>
                      <a:pt x="9" y="9"/>
                    </a:cubicBezTo>
                    <a:cubicBezTo>
                      <a:pt x="168" y="9"/>
                      <a:pt x="168" y="9"/>
                      <a:pt x="168" y="9"/>
                    </a:cubicBezTo>
                    <a:cubicBezTo>
                      <a:pt x="168" y="9"/>
                      <a:pt x="168" y="9"/>
                      <a:pt x="168" y="9"/>
                    </a:cubicBezTo>
                    <a:cubicBezTo>
                      <a:pt x="168" y="106"/>
                      <a:pt x="168" y="106"/>
                      <a:pt x="168" y="106"/>
                    </a:cubicBezTo>
                    <a:cubicBezTo>
                      <a:pt x="168" y="106"/>
                      <a:pt x="168" y="106"/>
                      <a:pt x="168" y="1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Light" pitchFamily="34" charset="0"/>
                  <a:cs typeface="Segoe UI Light" pitchFamily="34" charset="0"/>
                </a:endParaRPr>
              </a:p>
            </p:txBody>
          </p:sp>
          <p:sp>
            <p:nvSpPr>
              <p:cNvPr id="50" name="Freeform 609"/>
              <p:cNvSpPr>
                <a:spLocks/>
              </p:cNvSpPr>
              <p:nvPr/>
            </p:nvSpPr>
            <p:spPr bwMode="auto">
              <a:xfrm>
                <a:off x="4740275" y="4622800"/>
                <a:ext cx="171450" cy="20638"/>
              </a:xfrm>
              <a:custGeom>
                <a:avLst/>
                <a:gdLst>
                  <a:gd name="T0" fmla="*/ 168 w 177"/>
                  <a:gd name="T1" fmla="*/ 0 h 21"/>
                  <a:gd name="T2" fmla="*/ 9 w 177"/>
                  <a:gd name="T3" fmla="*/ 0 h 21"/>
                  <a:gd name="T4" fmla="*/ 0 w 177"/>
                  <a:gd name="T5" fmla="*/ 9 h 21"/>
                  <a:gd name="T6" fmla="*/ 0 w 177"/>
                  <a:gd name="T7" fmla="*/ 20 h 21"/>
                  <a:gd name="T8" fmla="*/ 6 w 177"/>
                  <a:gd name="T9" fmla="*/ 18 h 21"/>
                  <a:gd name="T10" fmla="*/ 170 w 177"/>
                  <a:gd name="T11" fmla="*/ 18 h 21"/>
                  <a:gd name="T12" fmla="*/ 177 w 177"/>
                  <a:gd name="T13" fmla="*/ 21 h 21"/>
                  <a:gd name="T14" fmla="*/ 177 w 177"/>
                  <a:gd name="T15" fmla="*/ 9 h 21"/>
                  <a:gd name="T16" fmla="*/ 168 w 177"/>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21">
                    <a:moveTo>
                      <a:pt x="168" y="0"/>
                    </a:moveTo>
                    <a:cubicBezTo>
                      <a:pt x="9" y="0"/>
                      <a:pt x="9" y="0"/>
                      <a:pt x="9" y="0"/>
                    </a:cubicBezTo>
                    <a:cubicBezTo>
                      <a:pt x="4" y="0"/>
                      <a:pt x="0" y="4"/>
                      <a:pt x="0" y="9"/>
                    </a:cubicBezTo>
                    <a:cubicBezTo>
                      <a:pt x="0" y="20"/>
                      <a:pt x="0" y="20"/>
                      <a:pt x="0" y="20"/>
                    </a:cubicBezTo>
                    <a:cubicBezTo>
                      <a:pt x="2" y="19"/>
                      <a:pt x="4" y="18"/>
                      <a:pt x="6" y="18"/>
                    </a:cubicBezTo>
                    <a:cubicBezTo>
                      <a:pt x="170" y="18"/>
                      <a:pt x="170" y="18"/>
                      <a:pt x="170" y="18"/>
                    </a:cubicBezTo>
                    <a:cubicBezTo>
                      <a:pt x="173" y="18"/>
                      <a:pt x="175" y="19"/>
                      <a:pt x="177" y="21"/>
                    </a:cubicBezTo>
                    <a:cubicBezTo>
                      <a:pt x="177" y="9"/>
                      <a:pt x="177" y="9"/>
                      <a:pt x="177" y="9"/>
                    </a:cubicBezTo>
                    <a:cubicBezTo>
                      <a:pt x="177" y="4"/>
                      <a:pt x="173" y="0"/>
                      <a:pt x="16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Light" pitchFamily="34" charset="0"/>
                  <a:cs typeface="Segoe UI Light" pitchFamily="34" charset="0"/>
                </a:endParaRPr>
              </a:p>
            </p:txBody>
          </p:sp>
          <p:sp>
            <p:nvSpPr>
              <p:cNvPr id="51" name="Freeform 610"/>
              <p:cNvSpPr>
                <a:spLocks noEditPoints="1"/>
              </p:cNvSpPr>
              <p:nvPr/>
            </p:nvSpPr>
            <p:spPr bwMode="auto">
              <a:xfrm>
                <a:off x="4816475" y="4679950"/>
                <a:ext cx="52387" cy="52388"/>
              </a:xfrm>
              <a:custGeom>
                <a:avLst/>
                <a:gdLst>
                  <a:gd name="T0" fmla="*/ 48 w 55"/>
                  <a:gd name="T1" fmla="*/ 36 h 54"/>
                  <a:gd name="T2" fmla="*/ 54 w 55"/>
                  <a:gd name="T3" fmla="*/ 31 h 54"/>
                  <a:gd name="T4" fmla="*/ 54 w 55"/>
                  <a:gd name="T5" fmla="*/ 24 h 54"/>
                  <a:gd name="T6" fmla="*/ 48 w 55"/>
                  <a:gd name="T7" fmla="*/ 19 h 54"/>
                  <a:gd name="T8" fmla="*/ 49 w 55"/>
                  <a:gd name="T9" fmla="*/ 11 h 54"/>
                  <a:gd name="T10" fmla="*/ 44 w 55"/>
                  <a:gd name="T11" fmla="*/ 6 h 54"/>
                  <a:gd name="T12" fmla="*/ 36 w 55"/>
                  <a:gd name="T13" fmla="*/ 7 h 54"/>
                  <a:gd name="T14" fmla="*/ 31 w 55"/>
                  <a:gd name="T15" fmla="*/ 0 h 54"/>
                  <a:gd name="T16" fmla="*/ 23 w 55"/>
                  <a:gd name="T17" fmla="*/ 0 h 54"/>
                  <a:gd name="T18" fmla="*/ 19 w 55"/>
                  <a:gd name="T19" fmla="*/ 7 h 54"/>
                  <a:gd name="T20" fmla="*/ 11 w 55"/>
                  <a:gd name="T21" fmla="*/ 6 h 54"/>
                  <a:gd name="T22" fmla="*/ 6 w 55"/>
                  <a:gd name="T23" fmla="*/ 11 h 54"/>
                  <a:gd name="T24" fmla="*/ 7 w 55"/>
                  <a:gd name="T25" fmla="*/ 19 h 54"/>
                  <a:gd name="T26" fmla="*/ 0 w 55"/>
                  <a:gd name="T27" fmla="*/ 24 h 54"/>
                  <a:gd name="T28" fmla="*/ 0 w 55"/>
                  <a:gd name="T29" fmla="*/ 31 h 54"/>
                  <a:gd name="T30" fmla="*/ 7 w 55"/>
                  <a:gd name="T31" fmla="*/ 35 h 54"/>
                  <a:gd name="T32" fmla="*/ 6 w 55"/>
                  <a:gd name="T33" fmla="*/ 43 h 54"/>
                  <a:gd name="T34" fmla="*/ 11 w 55"/>
                  <a:gd name="T35" fmla="*/ 49 h 54"/>
                  <a:gd name="T36" fmla="*/ 19 w 55"/>
                  <a:gd name="T37" fmla="*/ 47 h 54"/>
                  <a:gd name="T38" fmla="*/ 23 w 55"/>
                  <a:gd name="T39" fmla="*/ 54 h 54"/>
                  <a:gd name="T40" fmla="*/ 31 w 55"/>
                  <a:gd name="T41" fmla="*/ 54 h 54"/>
                  <a:gd name="T42" fmla="*/ 36 w 55"/>
                  <a:gd name="T43" fmla="*/ 47 h 54"/>
                  <a:gd name="T44" fmla="*/ 44 w 55"/>
                  <a:gd name="T45" fmla="*/ 49 h 54"/>
                  <a:gd name="T46" fmla="*/ 49 w 55"/>
                  <a:gd name="T47" fmla="*/ 43 h 54"/>
                  <a:gd name="T48" fmla="*/ 48 w 55"/>
                  <a:gd name="T49" fmla="*/ 36 h 54"/>
                  <a:gd name="T50" fmla="*/ 21 w 55"/>
                  <a:gd name="T51" fmla="*/ 42 h 54"/>
                  <a:gd name="T52" fmla="*/ 12 w 55"/>
                  <a:gd name="T53" fmla="*/ 21 h 54"/>
                  <a:gd name="T54" fmla="*/ 34 w 55"/>
                  <a:gd name="T55" fmla="*/ 12 h 54"/>
                  <a:gd name="T56" fmla="*/ 42 w 55"/>
                  <a:gd name="T57" fmla="*/ 34 h 54"/>
                  <a:gd name="T58" fmla="*/ 21 w 55"/>
                  <a:gd name="T59"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5" h="54">
                    <a:moveTo>
                      <a:pt x="48" y="36"/>
                    </a:moveTo>
                    <a:cubicBezTo>
                      <a:pt x="49" y="33"/>
                      <a:pt x="51" y="31"/>
                      <a:pt x="54" y="31"/>
                    </a:cubicBezTo>
                    <a:cubicBezTo>
                      <a:pt x="55" y="28"/>
                      <a:pt x="55" y="26"/>
                      <a:pt x="54" y="24"/>
                    </a:cubicBezTo>
                    <a:cubicBezTo>
                      <a:pt x="51" y="23"/>
                      <a:pt x="49" y="22"/>
                      <a:pt x="48" y="19"/>
                    </a:cubicBezTo>
                    <a:cubicBezTo>
                      <a:pt x="47" y="16"/>
                      <a:pt x="47" y="13"/>
                      <a:pt x="49" y="11"/>
                    </a:cubicBezTo>
                    <a:cubicBezTo>
                      <a:pt x="48" y="9"/>
                      <a:pt x="46" y="7"/>
                      <a:pt x="44" y="6"/>
                    </a:cubicBezTo>
                    <a:cubicBezTo>
                      <a:pt x="42" y="7"/>
                      <a:pt x="39" y="8"/>
                      <a:pt x="36" y="7"/>
                    </a:cubicBezTo>
                    <a:cubicBezTo>
                      <a:pt x="33" y="6"/>
                      <a:pt x="31" y="3"/>
                      <a:pt x="31" y="0"/>
                    </a:cubicBezTo>
                    <a:cubicBezTo>
                      <a:pt x="29" y="0"/>
                      <a:pt x="26" y="0"/>
                      <a:pt x="23" y="0"/>
                    </a:cubicBezTo>
                    <a:cubicBezTo>
                      <a:pt x="23" y="3"/>
                      <a:pt x="21" y="6"/>
                      <a:pt x="19" y="7"/>
                    </a:cubicBezTo>
                    <a:cubicBezTo>
                      <a:pt x="16" y="8"/>
                      <a:pt x="13" y="7"/>
                      <a:pt x="11" y="6"/>
                    </a:cubicBezTo>
                    <a:cubicBezTo>
                      <a:pt x="9" y="7"/>
                      <a:pt x="7" y="9"/>
                      <a:pt x="6" y="11"/>
                    </a:cubicBezTo>
                    <a:cubicBezTo>
                      <a:pt x="7" y="13"/>
                      <a:pt x="8" y="16"/>
                      <a:pt x="7" y="19"/>
                    </a:cubicBezTo>
                    <a:cubicBezTo>
                      <a:pt x="6" y="22"/>
                      <a:pt x="3" y="23"/>
                      <a:pt x="0" y="24"/>
                    </a:cubicBezTo>
                    <a:cubicBezTo>
                      <a:pt x="0" y="26"/>
                      <a:pt x="0" y="28"/>
                      <a:pt x="0" y="31"/>
                    </a:cubicBezTo>
                    <a:cubicBezTo>
                      <a:pt x="3" y="31"/>
                      <a:pt x="6" y="33"/>
                      <a:pt x="7" y="35"/>
                    </a:cubicBezTo>
                    <a:cubicBezTo>
                      <a:pt x="8" y="38"/>
                      <a:pt x="7" y="41"/>
                      <a:pt x="6" y="43"/>
                    </a:cubicBezTo>
                    <a:cubicBezTo>
                      <a:pt x="7" y="45"/>
                      <a:pt x="9" y="47"/>
                      <a:pt x="11" y="49"/>
                    </a:cubicBezTo>
                    <a:cubicBezTo>
                      <a:pt x="13" y="47"/>
                      <a:pt x="16" y="46"/>
                      <a:pt x="19" y="47"/>
                    </a:cubicBezTo>
                    <a:cubicBezTo>
                      <a:pt x="21" y="49"/>
                      <a:pt x="23" y="51"/>
                      <a:pt x="23" y="54"/>
                    </a:cubicBezTo>
                    <a:cubicBezTo>
                      <a:pt x="26" y="54"/>
                      <a:pt x="29" y="54"/>
                      <a:pt x="31" y="54"/>
                    </a:cubicBezTo>
                    <a:cubicBezTo>
                      <a:pt x="32" y="51"/>
                      <a:pt x="33" y="49"/>
                      <a:pt x="36" y="47"/>
                    </a:cubicBezTo>
                    <a:cubicBezTo>
                      <a:pt x="39" y="46"/>
                      <a:pt x="42" y="47"/>
                      <a:pt x="44" y="49"/>
                    </a:cubicBezTo>
                    <a:cubicBezTo>
                      <a:pt x="46" y="47"/>
                      <a:pt x="48" y="45"/>
                      <a:pt x="49" y="43"/>
                    </a:cubicBezTo>
                    <a:cubicBezTo>
                      <a:pt x="47" y="41"/>
                      <a:pt x="47" y="38"/>
                      <a:pt x="48" y="36"/>
                    </a:cubicBezTo>
                    <a:close/>
                    <a:moveTo>
                      <a:pt x="21" y="42"/>
                    </a:moveTo>
                    <a:cubicBezTo>
                      <a:pt x="13" y="39"/>
                      <a:pt x="9" y="29"/>
                      <a:pt x="12" y="21"/>
                    </a:cubicBezTo>
                    <a:cubicBezTo>
                      <a:pt x="16" y="12"/>
                      <a:pt x="25" y="8"/>
                      <a:pt x="34" y="12"/>
                    </a:cubicBezTo>
                    <a:cubicBezTo>
                      <a:pt x="42" y="16"/>
                      <a:pt x="46" y="25"/>
                      <a:pt x="42" y="34"/>
                    </a:cubicBezTo>
                    <a:cubicBezTo>
                      <a:pt x="39" y="42"/>
                      <a:pt x="29" y="46"/>
                      <a:pt x="21"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Light" pitchFamily="34" charset="0"/>
                  <a:cs typeface="Segoe UI Light" pitchFamily="34" charset="0"/>
                </a:endParaRPr>
              </a:p>
            </p:txBody>
          </p:sp>
          <p:sp>
            <p:nvSpPr>
              <p:cNvPr id="52" name="Freeform 611"/>
              <p:cNvSpPr>
                <a:spLocks noEditPoints="1"/>
              </p:cNvSpPr>
              <p:nvPr/>
            </p:nvSpPr>
            <p:spPr bwMode="auto">
              <a:xfrm>
                <a:off x="4830763" y="4692650"/>
                <a:ext cx="23812" cy="25400"/>
              </a:xfrm>
              <a:custGeom>
                <a:avLst/>
                <a:gdLst>
                  <a:gd name="T0" fmla="*/ 17 w 25"/>
                  <a:gd name="T1" fmla="*/ 3 h 26"/>
                  <a:gd name="T2" fmla="*/ 2 w 25"/>
                  <a:gd name="T3" fmla="*/ 9 h 26"/>
                  <a:gd name="T4" fmla="*/ 8 w 25"/>
                  <a:gd name="T5" fmla="*/ 23 h 26"/>
                  <a:gd name="T6" fmla="*/ 23 w 25"/>
                  <a:gd name="T7" fmla="*/ 18 h 26"/>
                  <a:gd name="T8" fmla="*/ 17 w 25"/>
                  <a:gd name="T9" fmla="*/ 3 h 26"/>
                  <a:gd name="T10" fmla="*/ 10 w 25"/>
                  <a:gd name="T11" fmla="*/ 18 h 26"/>
                  <a:gd name="T12" fmla="*/ 7 w 25"/>
                  <a:gd name="T13" fmla="*/ 11 h 26"/>
                  <a:gd name="T14" fmla="*/ 15 w 25"/>
                  <a:gd name="T15" fmla="*/ 8 h 26"/>
                  <a:gd name="T16" fmla="*/ 18 w 25"/>
                  <a:gd name="T17" fmla="*/ 15 h 26"/>
                  <a:gd name="T18" fmla="*/ 10 w 25"/>
                  <a:gd name="T19" fmla="*/ 1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6">
                    <a:moveTo>
                      <a:pt x="17" y="3"/>
                    </a:moveTo>
                    <a:cubicBezTo>
                      <a:pt x="11" y="0"/>
                      <a:pt x="4" y="3"/>
                      <a:pt x="2" y="9"/>
                    </a:cubicBezTo>
                    <a:cubicBezTo>
                      <a:pt x="0" y="14"/>
                      <a:pt x="2" y="21"/>
                      <a:pt x="8" y="23"/>
                    </a:cubicBezTo>
                    <a:cubicBezTo>
                      <a:pt x="14" y="26"/>
                      <a:pt x="20" y="23"/>
                      <a:pt x="23" y="18"/>
                    </a:cubicBezTo>
                    <a:cubicBezTo>
                      <a:pt x="25" y="12"/>
                      <a:pt x="22" y="5"/>
                      <a:pt x="17" y="3"/>
                    </a:cubicBezTo>
                    <a:close/>
                    <a:moveTo>
                      <a:pt x="10" y="18"/>
                    </a:moveTo>
                    <a:cubicBezTo>
                      <a:pt x="7" y="17"/>
                      <a:pt x="6" y="14"/>
                      <a:pt x="7" y="11"/>
                    </a:cubicBezTo>
                    <a:cubicBezTo>
                      <a:pt x="8" y="8"/>
                      <a:pt x="12" y="7"/>
                      <a:pt x="15" y="8"/>
                    </a:cubicBezTo>
                    <a:cubicBezTo>
                      <a:pt x="18" y="9"/>
                      <a:pt x="19" y="12"/>
                      <a:pt x="18" y="15"/>
                    </a:cubicBezTo>
                    <a:cubicBezTo>
                      <a:pt x="16" y="18"/>
                      <a:pt x="13" y="20"/>
                      <a:pt x="1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Light" pitchFamily="34" charset="0"/>
                  <a:cs typeface="Segoe UI Light" pitchFamily="34" charset="0"/>
                </a:endParaRPr>
              </a:p>
            </p:txBody>
          </p:sp>
          <p:sp>
            <p:nvSpPr>
              <p:cNvPr id="53" name="Freeform 612"/>
              <p:cNvSpPr>
                <a:spLocks noEditPoints="1"/>
              </p:cNvSpPr>
              <p:nvPr/>
            </p:nvSpPr>
            <p:spPr bwMode="auto">
              <a:xfrm>
                <a:off x="4786313" y="4665663"/>
                <a:ext cx="33337" cy="34925"/>
              </a:xfrm>
              <a:custGeom>
                <a:avLst/>
                <a:gdLst>
                  <a:gd name="T0" fmla="*/ 31 w 35"/>
                  <a:gd name="T1" fmla="*/ 24 h 36"/>
                  <a:gd name="T2" fmla="*/ 35 w 35"/>
                  <a:gd name="T3" fmla="*/ 21 h 36"/>
                  <a:gd name="T4" fmla="*/ 35 w 35"/>
                  <a:gd name="T5" fmla="*/ 16 h 36"/>
                  <a:gd name="T6" fmla="*/ 31 w 35"/>
                  <a:gd name="T7" fmla="*/ 13 h 36"/>
                  <a:gd name="T8" fmla="*/ 32 w 35"/>
                  <a:gd name="T9" fmla="*/ 8 h 36"/>
                  <a:gd name="T10" fmla="*/ 28 w 35"/>
                  <a:gd name="T11" fmla="*/ 4 h 36"/>
                  <a:gd name="T12" fmla="*/ 23 w 35"/>
                  <a:gd name="T13" fmla="*/ 5 h 36"/>
                  <a:gd name="T14" fmla="*/ 20 w 35"/>
                  <a:gd name="T15" fmla="*/ 1 h 36"/>
                  <a:gd name="T16" fmla="*/ 15 w 35"/>
                  <a:gd name="T17" fmla="*/ 1 h 36"/>
                  <a:gd name="T18" fmla="*/ 12 w 35"/>
                  <a:gd name="T19" fmla="*/ 5 h 36"/>
                  <a:gd name="T20" fmla="*/ 6 w 35"/>
                  <a:gd name="T21" fmla="*/ 4 h 36"/>
                  <a:gd name="T22" fmla="*/ 3 w 35"/>
                  <a:gd name="T23" fmla="*/ 8 h 36"/>
                  <a:gd name="T24" fmla="*/ 4 w 35"/>
                  <a:gd name="T25" fmla="*/ 13 h 36"/>
                  <a:gd name="T26" fmla="*/ 0 w 35"/>
                  <a:gd name="T27" fmla="*/ 16 h 36"/>
                  <a:gd name="T28" fmla="*/ 0 w 35"/>
                  <a:gd name="T29" fmla="*/ 21 h 36"/>
                  <a:gd name="T30" fmla="*/ 4 w 35"/>
                  <a:gd name="T31" fmla="*/ 24 h 36"/>
                  <a:gd name="T32" fmla="*/ 3 w 35"/>
                  <a:gd name="T33" fmla="*/ 29 h 36"/>
                  <a:gd name="T34" fmla="*/ 6 w 35"/>
                  <a:gd name="T35" fmla="*/ 32 h 36"/>
                  <a:gd name="T36" fmla="*/ 12 w 35"/>
                  <a:gd name="T37" fmla="*/ 32 h 36"/>
                  <a:gd name="T38" fmla="*/ 15 w 35"/>
                  <a:gd name="T39" fmla="*/ 36 h 36"/>
                  <a:gd name="T40" fmla="*/ 20 w 35"/>
                  <a:gd name="T41" fmla="*/ 36 h 36"/>
                  <a:gd name="T42" fmla="*/ 23 w 35"/>
                  <a:gd name="T43" fmla="*/ 32 h 36"/>
                  <a:gd name="T44" fmla="*/ 28 w 35"/>
                  <a:gd name="T45" fmla="*/ 32 h 36"/>
                  <a:gd name="T46" fmla="*/ 32 w 35"/>
                  <a:gd name="T47" fmla="*/ 29 h 36"/>
                  <a:gd name="T48" fmla="*/ 31 w 35"/>
                  <a:gd name="T49" fmla="*/ 24 h 36"/>
                  <a:gd name="T50" fmla="*/ 13 w 35"/>
                  <a:gd name="T51" fmla="*/ 28 h 36"/>
                  <a:gd name="T52" fmla="*/ 7 w 35"/>
                  <a:gd name="T53" fmla="*/ 14 h 36"/>
                  <a:gd name="T54" fmla="*/ 22 w 35"/>
                  <a:gd name="T55" fmla="*/ 8 h 36"/>
                  <a:gd name="T56" fmla="*/ 27 w 35"/>
                  <a:gd name="T57" fmla="*/ 23 h 36"/>
                  <a:gd name="T58" fmla="*/ 13 w 35"/>
                  <a:gd name="T59"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5" h="36">
                    <a:moveTo>
                      <a:pt x="31" y="24"/>
                    </a:moveTo>
                    <a:cubicBezTo>
                      <a:pt x="32" y="22"/>
                      <a:pt x="33" y="21"/>
                      <a:pt x="35" y="21"/>
                    </a:cubicBezTo>
                    <a:cubicBezTo>
                      <a:pt x="35" y="19"/>
                      <a:pt x="35" y="18"/>
                      <a:pt x="35" y="16"/>
                    </a:cubicBezTo>
                    <a:cubicBezTo>
                      <a:pt x="33" y="16"/>
                      <a:pt x="32" y="15"/>
                      <a:pt x="31" y="13"/>
                    </a:cubicBezTo>
                    <a:cubicBezTo>
                      <a:pt x="30" y="11"/>
                      <a:pt x="30" y="9"/>
                      <a:pt x="32" y="8"/>
                    </a:cubicBezTo>
                    <a:cubicBezTo>
                      <a:pt x="31" y="6"/>
                      <a:pt x="30" y="5"/>
                      <a:pt x="28" y="4"/>
                    </a:cubicBezTo>
                    <a:cubicBezTo>
                      <a:pt x="27" y="5"/>
                      <a:pt x="25" y="6"/>
                      <a:pt x="23" y="5"/>
                    </a:cubicBezTo>
                    <a:cubicBezTo>
                      <a:pt x="21" y="4"/>
                      <a:pt x="20" y="3"/>
                      <a:pt x="20" y="1"/>
                    </a:cubicBezTo>
                    <a:cubicBezTo>
                      <a:pt x="18" y="0"/>
                      <a:pt x="16" y="0"/>
                      <a:pt x="15" y="1"/>
                    </a:cubicBezTo>
                    <a:cubicBezTo>
                      <a:pt x="15" y="3"/>
                      <a:pt x="13" y="4"/>
                      <a:pt x="12" y="5"/>
                    </a:cubicBezTo>
                    <a:cubicBezTo>
                      <a:pt x="10" y="6"/>
                      <a:pt x="8" y="5"/>
                      <a:pt x="6" y="4"/>
                    </a:cubicBezTo>
                    <a:cubicBezTo>
                      <a:pt x="5" y="5"/>
                      <a:pt x="4" y="6"/>
                      <a:pt x="3" y="8"/>
                    </a:cubicBezTo>
                    <a:cubicBezTo>
                      <a:pt x="4" y="9"/>
                      <a:pt x="5" y="11"/>
                      <a:pt x="4" y="13"/>
                    </a:cubicBezTo>
                    <a:cubicBezTo>
                      <a:pt x="3" y="15"/>
                      <a:pt x="2" y="16"/>
                      <a:pt x="0" y="16"/>
                    </a:cubicBezTo>
                    <a:cubicBezTo>
                      <a:pt x="0" y="18"/>
                      <a:pt x="0" y="19"/>
                      <a:pt x="0" y="21"/>
                    </a:cubicBezTo>
                    <a:cubicBezTo>
                      <a:pt x="2" y="21"/>
                      <a:pt x="3" y="22"/>
                      <a:pt x="4" y="24"/>
                    </a:cubicBezTo>
                    <a:cubicBezTo>
                      <a:pt x="5" y="26"/>
                      <a:pt x="4" y="28"/>
                      <a:pt x="3" y="29"/>
                    </a:cubicBezTo>
                    <a:cubicBezTo>
                      <a:pt x="4" y="30"/>
                      <a:pt x="5" y="31"/>
                      <a:pt x="6" y="32"/>
                    </a:cubicBezTo>
                    <a:cubicBezTo>
                      <a:pt x="8" y="31"/>
                      <a:pt x="10" y="31"/>
                      <a:pt x="12" y="32"/>
                    </a:cubicBezTo>
                    <a:cubicBezTo>
                      <a:pt x="13" y="32"/>
                      <a:pt x="15" y="34"/>
                      <a:pt x="15" y="36"/>
                    </a:cubicBezTo>
                    <a:cubicBezTo>
                      <a:pt x="17" y="36"/>
                      <a:pt x="18" y="36"/>
                      <a:pt x="20" y="36"/>
                    </a:cubicBezTo>
                    <a:cubicBezTo>
                      <a:pt x="20" y="34"/>
                      <a:pt x="21" y="32"/>
                      <a:pt x="23" y="32"/>
                    </a:cubicBezTo>
                    <a:cubicBezTo>
                      <a:pt x="25" y="31"/>
                      <a:pt x="27" y="31"/>
                      <a:pt x="28" y="32"/>
                    </a:cubicBezTo>
                    <a:cubicBezTo>
                      <a:pt x="29" y="31"/>
                      <a:pt x="31" y="30"/>
                      <a:pt x="32" y="29"/>
                    </a:cubicBezTo>
                    <a:cubicBezTo>
                      <a:pt x="30" y="28"/>
                      <a:pt x="30" y="26"/>
                      <a:pt x="31" y="24"/>
                    </a:cubicBezTo>
                    <a:close/>
                    <a:moveTo>
                      <a:pt x="13" y="28"/>
                    </a:moveTo>
                    <a:cubicBezTo>
                      <a:pt x="8" y="26"/>
                      <a:pt x="5" y="20"/>
                      <a:pt x="7" y="14"/>
                    </a:cubicBezTo>
                    <a:cubicBezTo>
                      <a:pt x="10" y="9"/>
                      <a:pt x="16" y="6"/>
                      <a:pt x="22" y="8"/>
                    </a:cubicBezTo>
                    <a:cubicBezTo>
                      <a:pt x="27" y="11"/>
                      <a:pt x="30" y="17"/>
                      <a:pt x="27" y="23"/>
                    </a:cubicBezTo>
                    <a:cubicBezTo>
                      <a:pt x="25" y="28"/>
                      <a:pt x="19" y="31"/>
                      <a:pt x="13"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Light" pitchFamily="34" charset="0"/>
                  <a:cs typeface="Segoe UI Light" pitchFamily="34" charset="0"/>
                </a:endParaRPr>
              </a:p>
            </p:txBody>
          </p:sp>
          <p:sp>
            <p:nvSpPr>
              <p:cNvPr id="54" name="Freeform 613"/>
              <p:cNvSpPr>
                <a:spLocks noEditPoints="1"/>
              </p:cNvSpPr>
              <p:nvPr/>
            </p:nvSpPr>
            <p:spPr bwMode="auto">
              <a:xfrm>
                <a:off x="4794250" y="4675188"/>
                <a:ext cx="17462" cy="15875"/>
              </a:xfrm>
              <a:custGeom>
                <a:avLst/>
                <a:gdLst>
                  <a:gd name="T0" fmla="*/ 11 w 17"/>
                  <a:gd name="T1" fmla="*/ 2 h 17"/>
                  <a:gd name="T2" fmla="*/ 2 w 17"/>
                  <a:gd name="T3" fmla="*/ 5 h 17"/>
                  <a:gd name="T4" fmla="*/ 5 w 17"/>
                  <a:gd name="T5" fmla="*/ 15 h 17"/>
                  <a:gd name="T6" fmla="*/ 15 w 17"/>
                  <a:gd name="T7" fmla="*/ 11 h 17"/>
                  <a:gd name="T8" fmla="*/ 11 w 17"/>
                  <a:gd name="T9" fmla="*/ 2 h 17"/>
                  <a:gd name="T10" fmla="*/ 7 w 17"/>
                  <a:gd name="T11" fmla="*/ 12 h 17"/>
                  <a:gd name="T12" fmla="*/ 5 w 17"/>
                  <a:gd name="T13" fmla="*/ 7 h 17"/>
                  <a:gd name="T14" fmla="*/ 10 w 17"/>
                  <a:gd name="T15" fmla="*/ 5 h 17"/>
                  <a:gd name="T16" fmla="*/ 12 w 17"/>
                  <a:gd name="T17" fmla="*/ 10 h 17"/>
                  <a:gd name="T18" fmla="*/ 7 w 17"/>
                  <a:gd name="T19"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11" y="2"/>
                    </a:moveTo>
                    <a:cubicBezTo>
                      <a:pt x="7" y="0"/>
                      <a:pt x="3" y="2"/>
                      <a:pt x="2" y="5"/>
                    </a:cubicBezTo>
                    <a:cubicBezTo>
                      <a:pt x="0" y="9"/>
                      <a:pt x="2" y="14"/>
                      <a:pt x="5" y="15"/>
                    </a:cubicBezTo>
                    <a:cubicBezTo>
                      <a:pt x="9" y="17"/>
                      <a:pt x="14" y="15"/>
                      <a:pt x="15" y="11"/>
                    </a:cubicBezTo>
                    <a:cubicBezTo>
                      <a:pt x="17" y="7"/>
                      <a:pt x="15" y="3"/>
                      <a:pt x="11" y="2"/>
                    </a:cubicBezTo>
                    <a:close/>
                    <a:moveTo>
                      <a:pt x="7" y="12"/>
                    </a:moveTo>
                    <a:cubicBezTo>
                      <a:pt x="5" y="11"/>
                      <a:pt x="4" y="9"/>
                      <a:pt x="5" y="7"/>
                    </a:cubicBezTo>
                    <a:cubicBezTo>
                      <a:pt x="6" y="5"/>
                      <a:pt x="8" y="4"/>
                      <a:pt x="10" y="5"/>
                    </a:cubicBezTo>
                    <a:cubicBezTo>
                      <a:pt x="12" y="6"/>
                      <a:pt x="13" y="8"/>
                      <a:pt x="12" y="10"/>
                    </a:cubicBezTo>
                    <a:cubicBezTo>
                      <a:pt x="11" y="12"/>
                      <a:pt x="9" y="13"/>
                      <a:pt x="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Light" pitchFamily="34" charset="0"/>
                  <a:cs typeface="Segoe UI Light" pitchFamily="34" charset="0"/>
                </a:endParaRPr>
              </a:p>
            </p:txBody>
          </p:sp>
          <p:sp>
            <p:nvSpPr>
              <p:cNvPr id="55" name="Freeform 614"/>
              <p:cNvSpPr>
                <a:spLocks noEditPoints="1"/>
              </p:cNvSpPr>
              <p:nvPr/>
            </p:nvSpPr>
            <p:spPr bwMode="auto">
              <a:xfrm>
                <a:off x="4540250" y="4003675"/>
                <a:ext cx="176212" cy="187325"/>
              </a:xfrm>
              <a:custGeom>
                <a:avLst/>
                <a:gdLst>
                  <a:gd name="T0" fmla="*/ 183 w 183"/>
                  <a:gd name="T1" fmla="*/ 77 h 193"/>
                  <a:gd name="T2" fmla="*/ 107 w 183"/>
                  <a:gd name="T3" fmla="*/ 122 h 193"/>
                  <a:gd name="T4" fmla="*/ 7 w 183"/>
                  <a:gd name="T5" fmla="*/ 52 h 193"/>
                  <a:gd name="T6" fmla="*/ 2 w 183"/>
                  <a:gd name="T7" fmla="*/ 55 h 193"/>
                  <a:gd name="T8" fmla="*/ 1 w 183"/>
                  <a:gd name="T9" fmla="*/ 57 h 193"/>
                  <a:gd name="T10" fmla="*/ 0 w 183"/>
                  <a:gd name="T11" fmla="*/ 59 h 193"/>
                  <a:gd name="T12" fmla="*/ 0 w 183"/>
                  <a:gd name="T13" fmla="*/ 80 h 193"/>
                  <a:gd name="T14" fmla="*/ 1 w 183"/>
                  <a:gd name="T15" fmla="*/ 82 h 193"/>
                  <a:gd name="T16" fmla="*/ 4 w 183"/>
                  <a:gd name="T17" fmla="*/ 85 h 193"/>
                  <a:gd name="T18" fmla="*/ 8 w 183"/>
                  <a:gd name="T19" fmla="*/ 84 h 193"/>
                  <a:gd name="T20" fmla="*/ 21 w 183"/>
                  <a:gd name="T21" fmla="*/ 106 h 193"/>
                  <a:gd name="T22" fmla="*/ 15 w 183"/>
                  <a:gd name="T23" fmla="*/ 74 h 193"/>
                  <a:gd name="T24" fmla="*/ 6 w 183"/>
                  <a:gd name="T25" fmla="*/ 82 h 193"/>
                  <a:gd name="T26" fmla="*/ 4 w 183"/>
                  <a:gd name="T27" fmla="*/ 82 h 193"/>
                  <a:gd name="T28" fmla="*/ 3 w 183"/>
                  <a:gd name="T29" fmla="*/ 81 h 193"/>
                  <a:gd name="T30" fmla="*/ 3 w 183"/>
                  <a:gd name="T31" fmla="*/ 79 h 193"/>
                  <a:gd name="T32" fmla="*/ 3 w 183"/>
                  <a:gd name="T33" fmla="*/ 59 h 193"/>
                  <a:gd name="T34" fmla="*/ 4 w 183"/>
                  <a:gd name="T35" fmla="*/ 57 h 193"/>
                  <a:gd name="T36" fmla="*/ 15 w 183"/>
                  <a:gd name="T37" fmla="*/ 55 h 193"/>
                  <a:gd name="T38" fmla="*/ 82 w 183"/>
                  <a:gd name="T39" fmla="*/ 115 h 193"/>
                  <a:gd name="T40" fmla="*/ 82 w 183"/>
                  <a:gd name="T41" fmla="*/ 104 h 193"/>
                  <a:gd name="T42" fmla="*/ 82 w 183"/>
                  <a:gd name="T43" fmla="*/ 104 h 193"/>
                  <a:gd name="T44" fmla="*/ 90 w 183"/>
                  <a:gd name="T45" fmla="*/ 131 h 193"/>
                  <a:gd name="T46" fmla="*/ 87 w 183"/>
                  <a:gd name="T47" fmla="*/ 131 h 193"/>
                  <a:gd name="T48" fmla="*/ 86 w 183"/>
                  <a:gd name="T49" fmla="*/ 130 h 193"/>
                  <a:gd name="T50" fmla="*/ 86 w 183"/>
                  <a:gd name="T51" fmla="*/ 129 h 193"/>
                  <a:gd name="T52" fmla="*/ 85 w 183"/>
                  <a:gd name="T53" fmla="*/ 108 h 193"/>
                  <a:gd name="T54" fmla="*/ 86 w 183"/>
                  <a:gd name="T55" fmla="*/ 107 h 193"/>
                  <a:gd name="T56" fmla="*/ 87 w 183"/>
                  <a:gd name="T57" fmla="*/ 106 h 193"/>
                  <a:gd name="T58" fmla="*/ 91 w 183"/>
                  <a:gd name="T59" fmla="*/ 124 h 193"/>
                  <a:gd name="T60" fmla="*/ 3 w 183"/>
                  <a:gd name="T61" fmla="*/ 113 h 193"/>
                  <a:gd name="T62" fmla="*/ 1 w 183"/>
                  <a:gd name="T63" fmla="*/ 115 h 193"/>
                  <a:gd name="T64" fmla="*/ 0 w 183"/>
                  <a:gd name="T65" fmla="*/ 117 h 193"/>
                  <a:gd name="T66" fmla="*/ 0 w 183"/>
                  <a:gd name="T67" fmla="*/ 138 h 193"/>
                  <a:gd name="T68" fmla="*/ 1 w 183"/>
                  <a:gd name="T69" fmla="*/ 141 h 193"/>
                  <a:gd name="T70" fmla="*/ 3 w 183"/>
                  <a:gd name="T71" fmla="*/ 143 h 193"/>
                  <a:gd name="T72" fmla="*/ 7 w 183"/>
                  <a:gd name="T73" fmla="*/ 144 h 193"/>
                  <a:gd name="T74" fmla="*/ 14 w 183"/>
                  <a:gd name="T75" fmla="*/ 140 h 193"/>
                  <a:gd name="T76" fmla="*/ 83 w 183"/>
                  <a:gd name="T77" fmla="*/ 188 h 193"/>
                  <a:gd name="T78" fmla="*/ 83 w 183"/>
                  <a:gd name="T79" fmla="*/ 190 h 193"/>
                  <a:gd name="T80" fmla="*/ 87 w 183"/>
                  <a:gd name="T81" fmla="*/ 193 h 193"/>
                  <a:gd name="T82" fmla="*/ 90 w 183"/>
                  <a:gd name="T83" fmla="*/ 193 h 193"/>
                  <a:gd name="T84" fmla="*/ 100 w 183"/>
                  <a:gd name="T85" fmla="*/ 191 h 193"/>
                  <a:gd name="T86" fmla="*/ 85 w 183"/>
                  <a:gd name="T87" fmla="*/ 167 h 193"/>
                  <a:gd name="T88" fmla="*/ 86 w 183"/>
                  <a:gd name="T89" fmla="*/ 166 h 193"/>
                  <a:gd name="T90" fmla="*/ 87 w 183"/>
                  <a:gd name="T91" fmla="*/ 165 h 193"/>
                  <a:gd name="T92" fmla="*/ 96 w 183"/>
                  <a:gd name="T93" fmla="*/ 166 h 193"/>
                  <a:gd name="T94" fmla="*/ 96 w 183"/>
                  <a:gd name="T95" fmla="*/ 186 h 193"/>
                  <a:gd name="T96" fmla="*/ 88 w 183"/>
                  <a:gd name="T97" fmla="*/ 190 h 193"/>
                  <a:gd name="T98" fmla="*/ 86 w 183"/>
                  <a:gd name="T99" fmla="*/ 189 h 193"/>
                  <a:gd name="T100" fmla="*/ 86 w 183"/>
                  <a:gd name="T101" fmla="*/ 188 h 193"/>
                  <a:gd name="T102" fmla="*/ 85 w 183"/>
                  <a:gd name="T103" fmla="*/ 167 h 193"/>
                  <a:gd name="T104" fmla="*/ 57 w 183"/>
                  <a:gd name="T105" fmla="*/ 141 h 193"/>
                  <a:gd name="T106" fmla="*/ 57 w 183"/>
                  <a:gd name="T107" fmla="*/ 152 h 193"/>
                  <a:gd name="T108" fmla="*/ 11 w 183"/>
                  <a:gd name="T109" fmla="*/ 132 h 193"/>
                  <a:gd name="T110" fmla="*/ 7 w 183"/>
                  <a:gd name="T111" fmla="*/ 141 h 193"/>
                  <a:gd name="T112" fmla="*/ 4 w 183"/>
                  <a:gd name="T113" fmla="*/ 141 h 193"/>
                  <a:gd name="T114" fmla="*/ 3 w 183"/>
                  <a:gd name="T115" fmla="*/ 140 h 193"/>
                  <a:gd name="T116" fmla="*/ 3 w 183"/>
                  <a:gd name="T117" fmla="*/ 138 h 193"/>
                  <a:gd name="T118" fmla="*/ 3 w 183"/>
                  <a:gd name="T119" fmla="*/ 118 h 193"/>
                  <a:gd name="T120" fmla="*/ 4 w 183"/>
                  <a:gd name="T121" fmla="*/ 116 h 193"/>
                  <a:gd name="T122" fmla="*/ 11 w 183"/>
                  <a:gd name="T123" fmla="*/ 112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3" h="193">
                    <a:moveTo>
                      <a:pt x="101" y="191"/>
                    </a:moveTo>
                    <a:cubicBezTo>
                      <a:pt x="183" y="134"/>
                      <a:pt x="183" y="134"/>
                      <a:pt x="183" y="134"/>
                    </a:cubicBezTo>
                    <a:cubicBezTo>
                      <a:pt x="183" y="106"/>
                      <a:pt x="183" y="106"/>
                      <a:pt x="183" y="106"/>
                    </a:cubicBezTo>
                    <a:cubicBezTo>
                      <a:pt x="159" y="92"/>
                      <a:pt x="159" y="92"/>
                      <a:pt x="159" y="92"/>
                    </a:cubicBezTo>
                    <a:cubicBezTo>
                      <a:pt x="183" y="77"/>
                      <a:pt x="183" y="77"/>
                      <a:pt x="183" y="77"/>
                    </a:cubicBezTo>
                    <a:cubicBezTo>
                      <a:pt x="183" y="47"/>
                      <a:pt x="183" y="47"/>
                      <a:pt x="183" y="47"/>
                    </a:cubicBezTo>
                    <a:cubicBezTo>
                      <a:pt x="102" y="0"/>
                      <a:pt x="102" y="0"/>
                      <a:pt x="102" y="0"/>
                    </a:cubicBezTo>
                    <a:cubicBezTo>
                      <a:pt x="21" y="47"/>
                      <a:pt x="21" y="47"/>
                      <a:pt x="21" y="47"/>
                    </a:cubicBezTo>
                    <a:cubicBezTo>
                      <a:pt x="107" y="96"/>
                      <a:pt x="107" y="96"/>
                      <a:pt x="107" y="96"/>
                    </a:cubicBezTo>
                    <a:cubicBezTo>
                      <a:pt x="107" y="122"/>
                      <a:pt x="107" y="122"/>
                      <a:pt x="107" y="122"/>
                    </a:cubicBezTo>
                    <a:cubicBezTo>
                      <a:pt x="101" y="132"/>
                      <a:pt x="101" y="132"/>
                      <a:pt x="101" y="132"/>
                    </a:cubicBezTo>
                    <a:cubicBezTo>
                      <a:pt x="101" y="99"/>
                      <a:pt x="101" y="99"/>
                      <a:pt x="101" y="99"/>
                    </a:cubicBezTo>
                    <a:cubicBezTo>
                      <a:pt x="67" y="80"/>
                      <a:pt x="67" y="80"/>
                      <a:pt x="67" y="80"/>
                    </a:cubicBezTo>
                    <a:cubicBezTo>
                      <a:pt x="7" y="46"/>
                      <a:pt x="7" y="46"/>
                      <a:pt x="7" y="46"/>
                    </a:cubicBezTo>
                    <a:cubicBezTo>
                      <a:pt x="7" y="52"/>
                      <a:pt x="7" y="52"/>
                      <a:pt x="7" y="52"/>
                    </a:cubicBezTo>
                    <a:cubicBezTo>
                      <a:pt x="3" y="54"/>
                      <a:pt x="3" y="54"/>
                      <a:pt x="3" y="54"/>
                    </a:cubicBezTo>
                    <a:cubicBezTo>
                      <a:pt x="3" y="55"/>
                      <a:pt x="3" y="55"/>
                      <a:pt x="3" y="55"/>
                    </a:cubicBezTo>
                    <a:cubicBezTo>
                      <a:pt x="3" y="55"/>
                      <a:pt x="3" y="55"/>
                      <a:pt x="3" y="55"/>
                    </a:cubicBezTo>
                    <a:cubicBezTo>
                      <a:pt x="3" y="55"/>
                      <a:pt x="2" y="55"/>
                      <a:pt x="2" y="55"/>
                    </a:cubicBezTo>
                    <a:cubicBezTo>
                      <a:pt x="2" y="55"/>
                      <a:pt x="2" y="55"/>
                      <a:pt x="2" y="55"/>
                    </a:cubicBezTo>
                    <a:cubicBezTo>
                      <a:pt x="2" y="55"/>
                      <a:pt x="2" y="56"/>
                      <a:pt x="2" y="56"/>
                    </a:cubicBezTo>
                    <a:cubicBezTo>
                      <a:pt x="1" y="56"/>
                      <a:pt x="1" y="56"/>
                      <a:pt x="1" y="56"/>
                    </a:cubicBezTo>
                    <a:cubicBezTo>
                      <a:pt x="1" y="56"/>
                      <a:pt x="1" y="56"/>
                      <a:pt x="1" y="56"/>
                    </a:cubicBezTo>
                    <a:cubicBezTo>
                      <a:pt x="1" y="57"/>
                      <a:pt x="1" y="57"/>
                      <a:pt x="1" y="57"/>
                    </a:cubicBezTo>
                    <a:cubicBezTo>
                      <a:pt x="1" y="57"/>
                      <a:pt x="1" y="57"/>
                      <a:pt x="1" y="57"/>
                    </a:cubicBezTo>
                    <a:cubicBezTo>
                      <a:pt x="1" y="57"/>
                      <a:pt x="1" y="57"/>
                      <a:pt x="1" y="57"/>
                    </a:cubicBezTo>
                    <a:cubicBezTo>
                      <a:pt x="1" y="57"/>
                      <a:pt x="0" y="57"/>
                      <a:pt x="0" y="58"/>
                    </a:cubicBezTo>
                    <a:cubicBezTo>
                      <a:pt x="0" y="58"/>
                      <a:pt x="0" y="58"/>
                      <a:pt x="0" y="58"/>
                    </a:cubicBezTo>
                    <a:cubicBezTo>
                      <a:pt x="0" y="58"/>
                      <a:pt x="0" y="58"/>
                      <a:pt x="0" y="59"/>
                    </a:cubicBezTo>
                    <a:cubicBezTo>
                      <a:pt x="0" y="59"/>
                      <a:pt x="0" y="59"/>
                      <a:pt x="0" y="59"/>
                    </a:cubicBezTo>
                    <a:cubicBezTo>
                      <a:pt x="0" y="59"/>
                      <a:pt x="0" y="59"/>
                      <a:pt x="0" y="59"/>
                    </a:cubicBezTo>
                    <a:cubicBezTo>
                      <a:pt x="0" y="79"/>
                      <a:pt x="0" y="79"/>
                      <a:pt x="0" y="79"/>
                    </a:cubicBezTo>
                    <a:cubicBezTo>
                      <a:pt x="0" y="80"/>
                      <a:pt x="0" y="80"/>
                      <a:pt x="0" y="80"/>
                    </a:cubicBezTo>
                    <a:cubicBezTo>
                      <a:pt x="0" y="80"/>
                      <a:pt x="0" y="80"/>
                      <a:pt x="0" y="80"/>
                    </a:cubicBezTo>
                    <a:cubicBezTo>
                      <a:pt x="0" y="80"/>
                      <a:pt x="0" y="80"/>
                      <a:pt x="0" y="80"/>
                    </a:cubicBezTo>
                    <a:cubicBezTo>
                      <a:pt x="0" y="80"/>
                      <a:pt x="0" y="81"/>
                      <a:pt x="0" y="81"/>
                    </a:cubicBezTo>
                    <a:cubicBezTo>
                      <a:pt x="0" y="81"/>
                      <a:pt x="0" y="81"/>
                      <a:pt x="0" y="81"/>
                    </a:cubicBezTo>
                    <a:cubicBezTo>
                      <a:pt x="0" y="82"/>
                      <a:pt x="1" y="82"/>
                      <a:pt x="1" y="82"/>
                    </a:cubicBezTo>
                    <a:cubicBezTo>
                      <a:pt x="1" y="82"/>
                      <a:pt x="1" y="82"/>
                      <a:pt x="1" y="82"/>
                    </a:cubicBezTo>
                    <a:cubicBezTo>
                      <a:pt x="1" y="82"/>
                      <a:pt x="1" y="82"/>
                      <a:pt x="1" y="82"/>
                    </a:cubicBezTo>
                    <a:cubicBezTo>
                      <a:pt x="1" y="82"/>
                      <a:pt x="1" y="82"/>
                      <a:pt x="1" y="82"/>
                    </a:cubicBezTo>
                    <a:cubicBezTo>
                      <a:pt x="1" y="83"/>
                      <a:pt x="1" y="83"/>
                      <a:pt x="2" y="83"/>
                    </a:cubicBezTo>
                    <a:cubicBezTo>
                      <a:pt x="2" y="84"/>
                      <a:pt x="2" y="84"/>
                      <a:pt x="3" y="84"/>
                    </a:cubicBezTo>
                    <a:cubicBezTo>
                      <a:pt x="3" y="84"/>
                      <a:pt x="3" y="84"/>
                      <a:pt x="3" y="84"/>
                    </a:cubicBezTo>
                    <a:cubicBezTo>
                      <a:pt x="3" y="85"/>
                      <a:pt x="4" y="85"/>
                      <a:pt x="4" y="85"/>
                    </a:cubicBezTo>
                    <a:cubicBezTo>
                      <a:pt x="4" y="85"/>
                      <a:pt x="4" y="85"/>
                      <a:pt x="4" y="85"/>
                    </a:cubicBezTo>
                    <a:cubicBezTo>
                      <a:pt x="5" y="85"/>
                      <a:pt x="5" y="85"/>
                      <a:pt x="6" y="85"/>
                    </a:cubicBezTo>
                    <a:cubicBezTo>
                      <a:pt x="6" y="85"/>
                      <a:pt x="7" y="85"/>
                      <a:pt x="7" y="85"/>
                    </a:cubicBezTo>
                    <a:cubicBezTo>
                      <a:pt x="7" y="85"/>
                      <a:pt x="7" y="85"/>
                      <a:pt x="7" y="85"/>
                    </a:cubicBezTo>
                    <a:cubicBezTo>
                      <a:pt x="8" y="85"/>
                      <a:pt x="8" y="85"/>
                      <a:pt x="8" y="84"/>
                    </a:cubicBezTo>
                    <a:cubicBezTo>
                      <a:pt x="9" y="84"/>
                      <a:pt x="9" y="84"/>
                      <a:pt x="9" y="84"/>
                    </a:cubicBezTo>
                    <a:cubicBezTo>
                      <a:pt x="9" y="84"/>
                      <a:pt x="9" y="84"/>
                      <a:pt x="9" y="84"/>
                    </a:cubicBezTo>
                    <a:cubicBezTo>
                      <a:pt x="14" y="82"/>
                      <a:pt x="14" y="82"/>
                      <a:pt x="14" y="82"/>
                    </a:cubicBezTo>
                    <a:cubicBezTo>
                      <a:pt x="38" y="96"/>
                      <a:pt x="38" y="96"/>
                      <a:pt x="38" y="96"/>
                    </a:cubicBezTo>
                    <a:cubicBezTo>
                      <a:pt x="21" y="106"/>
                      <a:pt x="21" y="106"/>
                      <a:pt x="21" y="106"/>
                    </a:cubicBezTo>
                    <a:cubicBezTo>
                      <a:pt x="107" y="155"/>
                      <a:pt x="107" y="155"/>
                      <a:pt x="107" y="155"/>
                    </a:cubicBezTo>
                    <a:cubicBezTo>
                      <a:pt x="107" y="180"/>
                      <a:pt x="107" y="180"/>
                      <a:pt x="107" y="180"/>
                    </a:cubicBezTo>
                    <a:lnTo>
                      <a:pt x="101" y="191"/>
                    </a:lnTo>
                    <a:close/>
                    <a:moveTo>
                      <a:pt x="11" y="73"/>
                    </a:moveTo>
                    <a:cubicBezTo>
                      <a:pt x="12" y="72"/>
                      <a:pt x="14" y="73"/>
                      <a:pt x="15" y="74"/>
                    </a:cubicBezTo>
                    <a:cubicBezTo>
                      <a:pt x="16" y="76"/>
                      <a:pt x="15" y="78"/>
                      <a:pt x="14" y="78"/>
                    </a:cubicBezTo>
                    <a:cubicBezTo>
                      <a:pt x="7" y="82"/>
                      <a:pt x="7" y="82"/>
                      <a:pt x="7" y="82"/>
                    </a:cubicBezTo>
                    <a:cubicBezTo>
                      <a:pt x="7" y="82"/>
                      <a:pt x="7" y="82"/>
                      <a:pt x="7" y="82"/>
                    </a:cubicBezTo>
                    <a:cubicBezTo>
                      <a:pt x="7" y="82"/>
                      <a:pt x="7" y="82"/>
                      <a:pt x="7" y="82"/>
                    </a:cubicBezTo>
                    <a:cubicBezTo>
                      <a:pt x="7" y="82"/>
                      <a:pt x="6" y="82"/>
                      <a:pt x="6" y="82"/>
                    </a:cubicBezTo>
                    <a:cubicBezTo>
                      <a:pt x="6" y="82"/>
                      <a:pt x="6" y="82"/>
                      <a:pt x="6" y="82"/>
                    </a:cubicBezTo>
                    <a:cubicBezTo>
                      <a:pt x="6" y="82"/>
                      <a:pt x="5" y="82"/>
                      <a:pt x="5" y="82"/>
                    </a:cubicBezTo>
                    <a:cubicBezTo>
                      <a:pt x="5" y="82"/>
                      <a:pt x="5" y="82"/>
                      <a:pt x="5" y="82"/>
                    </a:cubicBezTo>
                    <a:cubicBezTo>
                      <a:pt x="5" y="82"/>
                      <a:pt x="5" y="82"/>
                      <a:pt x="4" y="82"/>
                    </a:cubicBezTo>
                    <a:cubicBezTo>
                      <a:pt x="4" y="82"/>
                      <a:pt x="4" y="82"/>
                      <a:pt x="4" y="82"/>
                    </a:cubicBezTo>
                    <a:cubicBezTo>
                      <a:pt x="4" y="82"/>
                      <a:pt x="4" y="82"/>
                      <a:pt x="4" y="81"/>
                    </a:cubicBezTo>
                    <a:cubicBezTo>
                      <a:pt x="4" y="81"/>
                      <a:pt x="4" y="81"/>
                      <a:pt x="4" y="81"/>
                    </a:cubicBezTo>
                    <a:cubicBezTo>
                      <a:pt x="4" y="81"/>
                      <a:pt x="3" y="81"/>
                      <a:pt x="3" y="81"/>
                    </a:cubicBezTo>
                    <a:cubicBezTo>
                      <a:pt x="3" y="81"/>
                      <a:pt x="3" y="81"/>
                      <a:pt x="3" y="81"/>
                    </a:cubicBezTo>
                    <a:cubicBezTo>
                      <a:pt x="3" y="81"/>
                      <a:pt x="3" y="81"/>
                      <a:pt x="3" y="81"/>
                    </a:cubicBezTo>
                    <a:cubicBezTo>
                      <a:pt x="3" y="81"/>
                      <a:pt x="3" y="80"/>
                      <a:pt x="3" y="80"/>
                    </a:cubicBezTo>
                    <a:cubicBezTo>
                      <a:pt x="3" y="80"/>
                      <a:pt x="3" y="80"/>
                      <a:pt x="3" y="80"/>
                    </a:cubicBezTo>
                    <a:cubicBezTo>
                      <a:pt x="3" y="80"/>
                      <a:pt x="3" y="80"/>
                      <a:pt x="3" y="80"/>
                    </a:cubicBezTo>
                    <a:cubicBezTo>
                      <a:pt x="3" y="80"/>
                      <a:pt x="3" y="80"/>
                      <a:pt x="3" y="79"/>
                    </a:cubicBezTo>
                    <a:cubicBezTo>
                      <a:pt x="3" y="79"/>
                      <a:pt x="3" y="79"/>
                      <a:pt x="3" y="79"/>
                    </a:cubicBezTo>
                    <a:cubicBezTo>
                      <a:pt x="3" y="60"/>
                      <a:pt x="3" y="60"/>
                      <a:pt x="3" y="60"/>
                    </a:cubicBezTo>
                    <a:cubicBezTo>
                      <a:pt x="3" y="59"/>
                      <a:pt x="3" y="59"/>
                      <a:pt x="3" y="59"/>
                    </a:cubicBezTo>
                    <a:cubicBezTo>
                      <a:pt x="3" y="59"/>
                      <a:pt x="3" y="59"/>
                      <a:pt x="3" y="59"/>
                    </a:cubicBezTo>
                    <a:cubicBezTo>
                      <a:pt x="3" y="59"/>
                      <a:pt x="3" y="59"/>
                      <a:pt x="3" y="59"/>
                    </a:cubicBezTo>
                    <a:cubicBezTo>
                      <a:pt x="3" y="59"/>
                      <a:pt x="3" y="59"/>
                      <a:pt x="3" y="59"/>
                    </a:cubicBezTo>
                    <a:cubicBezTo>
                      <a:pt x="3" y="58"/>
                      <a:pt x="3" y="58"/>
                      <a:pt x="3" y="58"/>
                    </a:cubicBezTo>
                    <a:cubicBezTo>
                      <a:pt x="3" y="58"/>
                      <a:pt x="3" y="58"/>
                      <a:pt x="3" y="58"/>
                    </a:cubicBezTo>
                    <a:cubicBezTo>
                      <a:pt x="3" y="58"/>
                      <a:pt x="3" y="58"/>
                      <a:pt x="3" y="58"/>
                    </a:cubicBezTo>
                    <a:cubicBezTo>
                      <a:pt x="4" y="58"/>
                      <a:pt x="4" y="58"/>
                      <a:pt x="4" y="58"/>
                    </a:cubicBezTo>
                    <a:cubicBezTo>
                      <a:pt x="4" y="58"/>
                      <a:pt x="4" y="57"/>
                      <a:pt x="4" y="57"/>
                    </a:cubicBezTo>
                    <a:cubicBezTo>
                      <a:pt x="4" y="57"/>
                      <a:pt x="4" y="57"/>
                      <a:pt x="4" y="57"/>
                    </a:cubicBezTo>
                    <a:cubicBezTo>
                      <a:pt x="4" y="57"/>
                      <a:pt x="4" y="57"/>
                      <a:pt x="4" y="57"/>
                    </a:cubicBezTo>
                    <a:cubicBezTo>
                      <a:pt x="4" y="57"/>
                      <a:pt x="4" y="57"/>
                      <a:pt x="4" y="57"/>
                    </a:cubicBezTo>
                    <a:cubicBezTo>
                      <a:pt x="11" y="53"/>
                      <a:pt x="11" y="53"/>
                      <a:pt x="11" y="53"/>
                    </a:cubicBezTo>
                    <a:cubicBezTo>
                      <a:pt x="12" y="53"/>
                      <a:pt x="14" y="53"/>
                      <a:pt x="15" y="55"/>
                    </a:cubicBezTo>
                    <a:cubicBezTo>
                      <a:pt x="16" y="56"/>
                      <a:pt x="15" y="58"/>
                      <a:pt x="14" y="58"/>
                    </a:cubicBezTo>
                    <a:cubicBezTo>
                      <a:pt x="9" y="61"/>
                      <a:pt x="9" y="61"/>
                      <a:pt x="9" y="61"/>
                    </a:cubicBezTo>
                    <a:cubicBezTo>
                      <a:pt x="9" y="74"/>
                      <a:pt x="9" y="74"/>
                      <a:pt x="9" y="74"/>
                    </a:cubicBezTo>
                    <a:lnTo>
                      <a:pt x="11" y="73"/>
                    </a:lnTo>
                    <a:close/>
                    <a:moveTo>
                      <a:pt x="82" y="115"/>
                    </a:moveTo>
                    <a:cubicBezTo>
                      <a:pt x="57" y="100"/>
                      <a:pt x="57" y="100"/>
                      <a:pt x="57" y="100"/>
                    </a:cubicBezTo>
                    <a:cubicBezTo>
                      <a:pt x="57" y="93"/>
                      <a:pt x="57" y="93"/>
                      <a:pt x="57" y="93"/>
                    </a:cubicBezTo>
                    <a:cubicBezTo>
                      <a:pt x="82" y="108"/>
                      <a:pt x="82" y="108"/>
                      <a:pt x="82" y="108"/>
                    </a:cubicBezTo>
                    <a:lnTo>
                      <a:pt x="82" y="115"/>
                    </a:lnTo>
                    <a:close/>
                    <a:moveTo>
                      <a:pt x="82" y="104"/>
                    </a:moveTo>
                    <a:cubicBezTo>
                      <a:pt x="57" y="89"/>
                      <a:pt x="57" y="89"/>
                      <a:pt x="57" y="89"/>
                    </a:cubicBezTo>
                    <a:cubicBezTo>
                      <a:pt x="57" y="82"/>
                      <a:pt x="57" y="82"/>
                      <a:pt x="57" y="82"/>
                    </a:cubicBezTo>
                    <a:cubicBezTo>
                      <a:pt x="59" y="84"/>
                      <a:pt x="59" y="84"/>
                      <a:pt x="59" y="84"/>
                    </a:cubicBezTo>
                    <a:cubicBezTo>
                      <a:pt x="82" y="97"/>
                      <a:pt x="82" y="97"/>
                      <a:pt x="82" y="97"/>
                    </a:cubicBezTo>
                    <a:lnTo>
                      <a:pt x="82" y="104"/>
                    </a:lnTo>
                    <a:close/>
                    <a:moveTo>
                      <a:pt x="93" y="122"/>
                    </a:moveTo>
                    <a:cubicBezTo>
                      <a:pt x="95" y="122"/>
                      <a:pt x="97" y="122"/>
                      <a:pt x="97" y="123"/>
                    </a:cubicBezTo>
                    <a:cubicBezTo>
                      <a:pt x="98" y="125"/>
                      <a:pt x="98" y="127"/>
                      <a:pt x="96" y="127"/>
                    </a:cubicBezTo>
                    <a:cubicBezTo>
                      <a:pt x="90" y="131"/>
                      <a:pt x="90" y="131"/>
                      <a:pt x="90" y="131"/>
                    </a:cubicBezTo>
                    <a:cubicBezTo>
                      <a:pt x="90" y="131"/>
                      <a:pt x="90" y="131"/>
                      <a:pt x="90" y="131"/>
                    </a:cubicBezTo>
                    <a:cubicBezTo>
                      <a:pt x="89" y="131"/>
                      <a:pt x="89" y="131"/>
                      <a:pt x="89" y="131"/>
                    </a:cubicBezTo>
                    <a:cubicBezTo>
                      <a:pt x="89" y="131"/>
                      <a:pt x="89" y="131"/>
                      <a:pt x="89" y="131"/>
                    </a:cubicBezTo>
                    <a:cubicBezTo>
                      <a:pt x="89" y="131"/>
                      <a:pt x="89" y="131"/>
                      <a:pt x="88" y="131"/>
                    </a:cubicBezTo>
                    <a:cubicBezTo>
                      <a:pt x="88" y="131"/>
                      <a:pt x="88" y="131"/>
                      <a:pt x="88" y="131"/>
                    </a:cubicBezTo>
                    <a:cubicBezTo>
                      <a:pt x="88" y="131"/>
                      <a:pt x="88" y="131"/>
                      <a:pt x="87" y="131"/>
                    </a:cubicBezTo>
                    <a:cubicBezTo>
                      <a:pt x="87" y="131"/>
                      <a:pt x="87" y="131"/>
                      <a:pt x="87" y="131"/>
                    </a:cubicBezTo>
                    <a:cubicBezTo>
                      <a:pt x="87" y="131"/>
                      <a:pt x="87" y="131"/>
                      <a:pt x="87" y="131"/>
                    </a:cubicBezTo>
                    <a:cubicBezTo>
                      <a:pt x="87" y="131"/>
                      <a:pt x="86" y="131"/>
                      <a:pt x="86" y="130"/>
                    </a:cubicBezTo>
                    <a:cubicBezTo>
                      <a:pt x="86" y="130"/>
                      <a:pt x="86" y="130"/>
                      <a:pt x="86" y="130"/>
                    </a:cubicBezTo>
                    <a:cubicBezTo>
                      <a:pt x="86" y="130"/>
                      <a:pt x="86" y="130"/>
                      <a:pt x="86" y="130"/>
                    </a:cubicBezTo>
                    <a:cubicBezTo>
                      <a:pt x="86" y="130"/>
                      <a:pt x="86" y="130"/>
                      <a:pt x="86" y="130"/>
                    </a:cubicBezTo>
                    <a:cubicBezTo>
                      <a:pt x="86" y="130"/>
                      <a:pt x="86" y="130"/>
                      <a:pt x="86" y="130"/>
                    </a:cubicBezTo>
                    <a:cubicBezTo>
                      <a:pt x="86" y="130"/>
                      <a:pt x="86" y="129"/>
                      <a:pt x="86" y="129"/>
                    </a:cubicBezTo>
                    <a:cubicBezTo>
                      <a:pt x="86" y="129"/>
                      <a:pt x="86" y="129"/>
                      <a:pt x="86" y="129"/>
                    </a:cubicBezTo>
                    <a:cubicBezTo>
                      <a:pt x="86" y="129"/>
                      <a:pt x="86" y="129"/>
                      <a:pt x="86" y="129"/>
                    </a:cubicBezTo>
                    <a:cubicBezTo>
                      <a:pt x="85" y="129"/>
                      <a:pt x="85" y="129"/>
                      <a:pt x="85" y="129"/>
                    </a:cubicBezTo>
                    <a:cubicBezTo>
                      <a:pt x="85" y="129"/>
                      <a:pt x="85" y="128"/>
                      <a:pt x="85" y="128"/>
                    </a:cubicBezTo>
                    <a:cubicBezTo>
                      <a:pt x="85" y="109"/>
                      <a:pt x="85" y="109"/>
                      <a:pt x="85" y="109"/>
                    </a:cubicBezTo>
                    <a:cubicBezTo>
                      <a:pt x="85" y="109"/>
                      <a:pt x="85" y="108"/>
                      <a:pt x="85" y="108"/>
                    </a:cubicBezTo>
                    <a:cubicBezTo>
                      <a:pt x="85" y="108"/>
                      <a:pt x="85" y="108"/>
                      <a:pt x="85" y="108"/>
                    </a:cubicBezTo>
                    <a:cubicBezTo>
                      <a:pt x="86" y="108"/>
                      <a:pt x="86" y="108"/>
                      <a:pt x="86" y="108"/>
                    </a:cubicBezTo>
                    <a:cubicBezTo>
                      <a:pt x="86" y="108"/>
                      <a:pt x="86" y="108"/>
                      <a:pt x="86" y="108"/>
                    </a:cubicBezTo>
                    <a:cubicBezTo>
                      <a:pt x="86" y="108"/>
                      <a:pt x="86" y="107"/>
                      <a:pt x="86" y="107"/>
                    </a:cubicBezTo>
                    <a:cubicBezTo>
                      <a:pt x="86" y="107"/>
                      <a:pt x="86" y="107"/>
                      <a:pt x="86" y="107"/>
                    </a:cubicBezTo>
                    <a:cubicBezTo>
                      <a:pt x="86" y="107"/>
                      <a:pt x="86" y="107"/>
                      <a:pt x="86" y="107"/>
                    </a:cubicBezTo>
                    <a:cubicBezTo>
                      <a:pt x="86" y="107"/>
                      <a:pt x="86" y="107"/>
                      <a:pt x="86" y="107"/>
                    </a:cubicBezTo>
                    <a:cubicBezTo>
                      <a:pt x="86" y="107"/>
                      <a:pt x="86" y="107"/>
                      <a:pt x="86" y="106"/>
                    </a:cubicBezTo>
                    <a:cubicBezTo>
                      <a:pt x="86" y="106"/>
                      <a:pt x="87" y="106"/>
                      <a:pt x="87" y="106"/>
                    </a:cubicBezTo>
                    <a:cubicBezTo>
                      <a:pt x="87" y="106"/>
                      <a:pt x="87" y="106"/>
                      <a:pt x="87" y="106"/>
                    </a:cubicBezTo>
                    <a:cubicBezTo>
                      <a:pt x="87" y="106"/>
                      <a:pt x="87" y="106"/>
                      <a:pt x="87" y="106"/>
                    </a:cubicBezTo>
                    <a:cubicBezTo>
                      <a:pt x="93" y="102"/>
                      <a:pt x="93" y="102"/>
                      <a:pt x="93" y="102"/>
                    </a:cubicBezTo>
                    <a:cubicBezTo>
                      <a:pt x="95" y="102"/>
                      <a:pt x="97" y="102"/>
                      <a:pt x="97" y="104"/>
                    </a:cubicBezTo>
                    <a:cubicBezTo>
                      <a:pt x="98" y="105"/>
                      <a:pt x="98" y="107"/>
                      <a:pt x="96" y="107"/>
                    </a:cubicBezTo>
                    <a:cubicBezTo>
                      <a:pt x="91" y="110"/>
                      <a:pt x="91" y="110"/>
                      <a:pt x="91" y="110"/>
                    </a:cubicBezTo>
                    <a:cubicBezTo>
                      <a:pt x="91" y="124"/>
                      <a:pt x="91" y="124"/>
                      <a:pt x="91" y="124"/>
                    </a:cubicBezTo>
                    <a:lnTo>
                      <a:pt x="93" y="122"/>
                    </a:lnTo>
                    <a:close/>
                    <a:moveTo>
                      <a:pt x="7" y="111"/>
                    </a:moveTo>
                    <a:cubicBezTo>
                      <a:pt x="3" y="113"/>
                      <a:pt x="3" y="113"/>
                      <a:pt x="3" y="113"/>
                    </a:cubicBezTo>
                    <a:cubicBezTo>
                      <a:pt x="3" y="113"/>
                      <a:pt x="3" y="113"/>
                      <a:pt x="3" y="113"/>
                    </a:cubicBezTo>
                    <a:cubicBezTo>
                      <a:pt x="3" y="113"/>
                      <a:pt x="3" y="113"/>
                      <a:pt x="3" y="113"/>
                    </a:cubicBezTo>
                    <a:cubicBezTo>
                      <a:pt x="3" y="113"/>
                      <a:pt x="2" y="114"/>
                      <a:pt x="2" y="114"/>
                    </a:cubicBezTo>
                    <a:cubicBezTo>
                      <a:pt x="2" y="114"/>
                      <a:pt x="2" y="114"/>
                      <a:pt x="2" y="114"/>
                    </a:cubicBezTo>
                    <a:cubicBezTo>
                      <a:pt x="2" y="114"/>
                      <a:pt x="2" y="114"/>
                      <a:pt x="2" y="114"/>
                    </a:cubicBezTo>
                    <a:cubicBezTo>
                      <a:pt x="1" y="115"/>
                      <a:pt x="1" y="115"/>
                      <a:pt x="1" y="115"/>
                    </a:cubicBezTo>
                    <a:cubicBezTo>
                      <a:pt x="1" y="115"/>
                      <a:pt x="1" y="115"/>
                      <a:pt x="1" y="115"/>
                    </a:cubicBezTo>
                    <a:cubicBezTo>
                      <a:pt x="1" y="115"/>
                      <a:pt x="1" y="115"/>
                      <a:pt x="1" y="115"/>
                    </a:cubicBezTo>
                    <a:cubicBezTo>
                      <a:pt x="1" y="115"/>
                      <a:pt x="1" y="115"/>
                      <a:pt x="1" y="115"/>
                    </a:cubicBezTo>
                    <a:cubicBezTo>
                      <a:pt x="1" y="116"/>
                      <a:pt x="1" y="116"/>
                      <a:pt x="1" y="116"/>
                    </a:cubicBezTo>
                    <a:cubicBezTo>
                      <a:pt x="1" y="116"/>
                      <a:pt x="0" y="116"/>
                      <a:pt x="0" y="116"/>
                    </a:cubicBezTo>
                    <a:cubicBezTo>
                      <a:pt x="0" y="117"/>
                      <a:pt x="0" y="117"/>
                      <a:pt x="0" y="117"/>
                    </a:cubicBezTo>
                    <a:cubicBezTo>
                      <a:pt x="0" y="117"/>
                      <a:pt x="0" y="117"/>
                      <a:pt x="0" y="117"/>
                    </a:cubicBezTo>
                    <a:cubicBezTo>
                      <a:pt x="0" y="118"/>
                      <a:pt x="0" y="118"/>
                      <a:pt x="0" y="118"/>
                    </a:cubicBezTo>
                    <a:cubicBezTo>
                      <a:pt x="0" y="118"/>
                      <a:pt x="0" y="118"/>
                      <a:pt x="0" y="118"/>
                    </a:cubicBezTo>
                    <a:cubicBezTo>
                      <a:pt x="0" y="138"/>
                      <a:pt x="0" y="138"/>
                      <a:pt x="0" y="138"/>
                    </a:cubicBezTo>
                    <a:cubicBezTo>
                      <a:pt x="0" y="138"/>
                      <a:pt x="0" y="138"/>
                      <a:pt x="0" y="138"/>
                    </a:cubicBezTo>
                    <a:cubicBezTo>
                      <a:pt x="0" y="138"/>
                      <a:pt x="0" y="138"/>
                      <a:pt x="0" y="138"/>
                    </a:cubicBezTo>
                    <a:cubicBezTo>
                      <a:pt x="0" y="139"/>
                      <a:pt x="0" y="139"/>
                      <a:pt x="0" y="139"/>
                    </a:cubicBezTo>
                    <a:cubicBezTo>
                      <a:pt x="0" y="139"/>
                      <a:pt x="0" y="139"/>
                      <a:pt x="0" y="140"/>
                    </a:cubicBezTo>
                    <a:cubicBezTo>
                      <a:pt x="0" y="140"/>
                      <a:pt x="0" y="140"/>
                      <a:pt x="0" y="140"/>
                    </a:cubicBezTo>
                    <a:cubicBezTo>
                      <a:pt x="0" y="140"/>
                      <a:pt x="1" y="140"/>
                      <a:pt x="1" y="141"/>
                    </a:cubicBezTo>
                    <a:cubicBezTo>
                      <a:pt x="1" y="141"/>
                      <a:pt x="1" y="141"/>
                      <a:pt x="1" y="141"/>
                    </a:cubicBezTo>
                    <a:cubicBezTo>
                      <a:pt x="1" y="141"/>
                      <a:pt x="1" y="141"/>
                      <a:pt x="1" y="141"/>
                    </a:cubicBezTo>
                    <a:cubicBezTo>
                      <a:pt x="1" y="141"/>
                      <a:pt x="1" y="141"/>
                      <a:pt x="1" y="141"/>
                    </a:cubicBezTo>
                    <a:cubicBezTo>
                      <a:pt x="1" y="141"/>
                      <a:pt x="1" y="142"/>
                      <a:pt x="2" y="142"/>
                    </a:cubicBezTo>
                    <a:cubicBezTo>
                      <a:pt x="2" y="142"/>
                      <a:pt x="2" y="143"/>
                      <a:pt x="3" y="143"/>
                    </a:cubicBezTo>
                    <a:cubicBezTo>
                      <a:pt x="3" y="143"/>
                      <a:pt x="3" y="143"/>
                      <a:pt x="3" y="143"/>
                    </a:cubicBezTo>
                    <a:cubicBezTo>
                      <a:pt x="3" y="143"/>
                      <a:pt x="4" y="144"/>
                      <a:pt x="4" y="144"/>
                    </a:cubicBezTo>
                    <a:cubicBezTo>
                      <a:pt x="4" y="144"/>
                      <a:pt x="4" y="144"/>
                      <a:pt x="4" y="144"/>
                    </a:cubicBezTo>
                    <a:cubicBezTo>
                      <a:pt x="5" y="144"/>
                      <a:pt x="5" y="144"/>
                      <a:pt x="6" y="144"/>
                    </a:cubicBezTo>
                    <a:cubicBezTo>
                      <a:pt x="6" y="144"/>
                      <a:pt x="7" y="144"/>
                      <a:pt x="7" y="144"/>
                    </a:cubicBezTo>
                    <a:cubicBezTo>
                      <a:pt x="7" y="144"/>
                      <a:pt x="7" y="144"/>
                      <a:pt x="7" y="144"/>
                    </a:cubicBezTo>
                    <a:cubicBezTo>
                      <a:pt x="8" y="144"/>
                      <a:pt x="8" y="143"/>
                      <a:pt x="8" y="143"/>
                    </a:cubicBezTo>
                    <a:cubicBezTo>
                      <a:pt x="9" y="143"/>
                      <a:pt x="9" y="143"/>
                      <a:pt x="9" y="143"/>
                    </a:cubicBezTo>
                    <a:cubicBezTo>
                      <a:pt x="9" y="143"/>
                      <a:pt x="9" y="143"/>
                      <a:pt x="9" y="143"/>
                    </a:cubicBezTo>
                    <a:cubicBezTo>
                      <a:pt x="14" y="140"/>
                      <a:pt x="14" y="140"/>
                      <a:pt x="14" y="140"/>
                    </a:cubicBezTo>
                    <a:cubicBezTo>
                      <a:pt x="83" y="181"/>
                      <a:pt x="83" y="181"/>
                      <a:pt x="83" y="181"/>
                    </a:cubicBezTo>
                    <a:cubicBezTo>
                      <a:pt x="83" y="187"/>
                      <a:pt x="83" y="187"/>
                      <a:pt x="83" y="187"/>
                    </a:cubicBezTo>
                    <a:cubicBezTo>
                      <a:pt x="83" y="187"/>
                      <a:pt x="83" y="187"/>
                      <a:pt x="83" y="187"/>
                    </a:cubicBezTo>
                    <a:cubicBezTo>
                      <a:pt x="83" y="187"/>
                      <a:pt x="83" y="187"/>
                      <a:pt x="83" y="187"/>
                    </a:cubicBezTo>
                    <a:cubicBezTo>
                      <a:pt x="83" y="188"/>
                      <a:pt x="83" y="188"/>
                      <a:pt x="83" y="188"/>
                    </a:cubicBezTo>
                    <a:cubicBezTo>
                      <a:pt x="83" y="188"/>
                      <a:pt x="83" y="188"/>
                      <a:pt x="83" y="189"/>
                    </a:cubicBezTo>
                    <a:cubicBezTo>
                      <a:pt x="83" y="189"/>
                      <a:pt x="83" y="189"/>
                      <a:pt x="83" y="189"/>
                    </a:cubicBezTo>
                    <a:cubicBezTo>
                      <a:pt x="83" y="189"/>
                      <a:pt x="83" y="189"/>
                      <a:pt x="83" y="190"/>
                    </a:cubicBezTo>
                    <a:cubicBezTo>
                      <a:pt x="83" y="190"/>
                      <a:pt x="83" y="190"/>
                      <a:pt x="83" y="190"/>
                    </a:cubicBezTo>
                    <a:cubicBezTo>
                      <a:pt x="83" y="190"/>
                      <a:pt x="83" y="190"/>
                      <a:pt x="83" y="190"/>
                    </a:cubicBezTo>
                    <a:cubicBezTo>
                      <a:pt x="83" y="190"/>
                      <a:pt x="83" y="190"/>
                      <a:pt x="83" y="190"/>
                    </a:cubicBezTo>
                    <a:cubicBezTo>
                      <a:pt x="84" y="191"/>
                      <a:pt x="84" y="191"/>
                      <a:pt x="84" y="191"/>
                    </a:cubicBezTo>
                    <a:cubicBezTo>
                      <a:pt x="85" y="192"/>
                      <a:pt x="85" y="192"/>
                      <a:pt x="85" y="192"/>
                    </a:cubicBezTo>
                    <a:cubicBezTo>
                      <a:pt x="86" y="192"/>
                      <a:pt x="86" y="192"/>
                      <a:pt x="86" y="192"/>
                    </a:cubicBezTo>
                    <a:cubicBezTo>
                      <a:pt x="86" y="192"/>
                      <a:pt x="86" y="193"/>
                      <a:pt x="87" y="193"/>
                    </a:cubicBezTo>
                    <a:cubicBezTo>
                      <a:pt x="87" y="193"/>
                      <a:pt x="87" y="193"/>
                      <a:pt x="87" y="193"/>
                    </a:cubicBezTo>
                    <a:cubicBezTo>
                      <a:pt x="87" y="193"/>
                      <a:pt x="87" y="193"/>
                      <a:pt x="87" y="193"/>
                    </a:cubicBezTo>
                    <a:cubicBezTo>
                      <a:pt x="87" y="193"/>
                      <a:pt x="88" y="193"/>
                      <a:pt x="88" y="193"/>
                    </a:cubicBezTo>
                    <a:cubicBezTo>
                      <a:pt x="89" y="193"/>
                      <a:pt x="89" y="193"/>
                      <a:pt x="90" y="193"/>
                    </a:cubicBezTo>
                    <a:cubicBezTo>
                      <a:pt x="90" y="193"/>
                      <a:pt x="90" y="193"/>
                      <a:pt x="90" y="193"/>
                    </a:cubicBezTo>
                    <a:cubicBezTo>
                      <a:pt x="90" y="193"/>
                      <a:pt x="91" y="192"/>
                      <a:pt x="91" y="192"/>
                    </a:cubicBezTo>
                    <a:cubicBezTo>
                      <a:pt x="91" y="192"/>
                      <a:pt x="91" y="192"/>
                      <a:pt x="91" y="192"/>
                    </a:cubicBezTo>
                    <a:cubicBezTo>
                      <a:pt x="91" y="192"/>
                      <a:pt x="91" y="192"/>
                      <a:pt x="91" y="192"/>
                    </a:cubicBezTo>
                    <a:cubicBezTo>
                      <a:pt x="97" y="189"/>
                      <a:pt x="97" y="189"/>
                      <a:pt x="97" y="189"/>
                    </a:cubicBezTo>
                    <a:cubicBezTo>
                      <a:pt x="100" y="191"/>
                      <a:pt x="100" y="191"/>
                      <a:pt x="100" y="191"/>
                    </a:cubicBezTo>
                    <a:cubicBezTo>
                      <a:pt x="101" y="191"/>
                      <a:pt x="101" y="191"/>
                      <a:pt x="101" y="191"/>
                    </a:cubicBezTo>
                    <a:cubicBezTo>
                      <a:pt x="101" y="158"/>
                      <a:pt x="101" y="158"/>
                      <a:pt x="101" y="158"/>
                    </a:cubicBezTo>
                    <a:cubicBezTo>
                      <a:pt x="7" y="104"/>
                      <a:pt x="7" y="104"/>
                      <a:pt x="7" y="104"/>
                    </a:cubicBezTo>
                    <a:lnTo>
                      <a:pt x="7" y="111"/>
                    </a:lnTo>
                    <a:close/>
                    <a:moveTo>
                      <a:pt x="85" y="167"/>
                    </a:moveTo>
                    <a:cubicBezTo>
                      <a:pt x="85" y="167"/>
                      <a:pt x="85" y="167"/>
                      <a:pt x="85" y="167"/>
                    </a:cubicBezTo>
                    <a:cubicBezTo>
                      <a:pt x="85" y="167"/>
                      <a:pt x="85" y="167"/>
                      <a:pt x="85" y="167"/>
                    </a:cubicBezTo>
                    <a:cubicBezTo>
                      <a:pt x="86" y="167"/>
                      <a:pt x="86" y="167"/>
                      <a:pt x="86" y="167"/>
                    </a:cubicBezTo>
                    <a:cubicBezTo>
                      <a:pt x="86" y="167"/>
                      <a:pt x="86" y="166"/>
                      <a:pt x="86" y="166"/>
                    </a:cubicBezTo>
                    <a:cubicBezTo>
                      <a:pt x="86" y="166"/>
                      <a:pt x="86" y="166"/>
                      <a:pt x="86" y="166"/>
                    </a:cubicBezTo>
                    <a:cubicBezTo>
                      <a:pt x="86" y="166"/>
                      <a:pt x="86" y="166"/>
                      <a:pt x="86" y="166"/>
                    </a:cubicBezTo>
                    <a:cubicBezTo>
                      <a:pt x="86" y="166"/>
                      <a:pt x="86" y="166"/>
                      <a:pt x="86" y="166"/>
                    </a:cubicBezTo>
                    <a:cubicBezTo>
                      <a:pt x="86" y="166"/>
                      <a:pt x="86" y="165"/>
                      <a:pt x="86" y="165"/>
                    </a:cubicBezTo>
                    <a:cubicBezTo>
                      <a:pt x="86" y="165"/>
                      <a:pt x="86" y="165"/>
                      <a:pt x="86" y="165"/>
                    </a:cubicBezTo>
                    <a:cubicBezTo>
                      <a:pt x="86" y="165"/>
                      <a:pt x="87" y="165"/>
                      <a:pt x="87" y="165"/>
                    </a:cubicBezTo>
                    <a:cubicBezTo>
                      <a:pt x="87" y="165"/>
                      <a:pt x="87" y="165"/>
                      <a:pt x="87" y="165"/>
                    </a:cubicBezTo>
                    <a:cubicBezTo>
                      <a:pt x="87" y="165"/>
                      <a:pt x="87" y="165"/>
                      <a:pt x="87" y="165"/>
                    </a:cubicBezTo>
                    <a:cubicBezTo>
                      <a:pt x="93" y="161"/>
                      <a:pt x="93" y="161"/>
                      <a:pt x="93" y="161"/>
                    </a:cubicBezTo>
                    <a:cubicBezTo>
                      <a:pt x="95" y="160"/>
                      <a:pt x="97" y="161"/>
                      <a:pt x="97" y="162"/>
                    </a:cubicBezTo>
                    <a:cubicBezTo>
                      <a:pt x="98" y="164"/>
                      <a:pt x="98" y="165"/>
                      <a:pt x="96" y="166"/>
                    </a:cubicBezTo>
                    <a:cubicBezTo>
                      <a:pt x="91" y="169"/>
                      <a:pt x="91" y="169"/>
                      <a:pt x="91" y="169"/>
                    </a:cubicBezTo>
                    <a:cubicBezTo>
                      <a:pt x="91" y="182"/>
                      <a:pt x="91" y="182"/>
                      <a:pt x="91" y="182"/>
                    </a:cubicBezTo>
                    <a:cubicBezTo>
                      <a:pt x="93" y="181"/>
                      <a:pt x="93" y="181"/>
                      <a:pt x="93" y="181"/>
                    </a:cubicBezTo>
                    <a:cubicBezTo>
                      <a:pt x="95" y="180"/>
                      <a:pt x="97" y="181"/>
                      <a:pt x="97" y="182"/>
                    </a:cubicBezTo>
                    <a:cubicBezTo>
                      <a:pt x="98" y="184"/>
                      <a:pt x="98" y="185"/>
                      <a:pt x="96" y="186"/>
                    </a:cubicBezTo>
                    <a:cubicBezTo>
                      <a:pt x="90" y="190"/>
                      <a:pt x="90" y="190"/>
                      <a:pt x="90" y="190"/>
                    </a:cubicBezTo>
                    <a:cubicBezTo>
                      <a:pt x="90" y="190"/>
                      <a:pt x="90" y="190"/>
                      <a:pt x="90" y="190"/>
                    </a:cubicBezTo>
                    <a:cubicBezTo>
                      <a:pt x="89" y="190"/>
                      <a:pt x="89" y="190"/>
                      <a:pt x="89" y="190"/>
                    </a:cubicBezTo>
                    <a:cubicBezTo>
                      <a:pt x="89" y="190"/>
                      <a:pt x="89" y="190"/>
                      <a:pt x="89" y="190"/>
                    </a:cubicBezTo>
                    <a:cubicBezTo>
                      <a:pt x="89" y="190"/>
                      <a:pt x="89" y="190"/>
                      <a:pt x="88" y="190"/>
                    </a:cubicBezTo>
                    <a:cubicBezTo>
                      <a:pt x="88" y="190"/>
                      <a:pt x="88" y="190"/>
                      <a:pt x="88" y="190"/>
                    </a:cubicBezTo>
                    <a:cubicBezTo>
                      <a:pt x="88" y="190"/>
                      <a:pt x="88" y="190"/>
                      <a:pt x="87" y="190"/>
                    </a:cubicBezTo>
                    <a:cubicBezTo>
                      <a:pt x="87" y="190"/>
                      <a:pt x="87" y="190"/>
                      <a:pt x="87" y="190"/>
                    </a:cubicBezTo>
                    <a:cubicBezTo>
                      <a:pt x="87" y="190"/>
                      <a:pt x="87" y="190"/>
                      <a:pt x="87" y="190"/>
                    </a:cubicBezTo>
                    <a:cubicBezTo>
                      <a:pt x="87" y="190"/>
                      <a:pt x="86" y="189"/>
                      <a:pt x="86" y="189"/>
                    </a:cubicBezTo>
                    <a:cubicBezTo>
                      <a:pt x="86" y="189"/>
                      <a:pt x="86" y="189"/>
                      <a:pt x="86" y="189"/>
                    </a:cubicBezTo>
                    <a:cubicBezTo>
                      <a:pt x="86" y="189"/>
                      <a:pt x="86" y="189"/>
                      <a:pt x="86" y="189"/>
                    </a:cubicBezTo>
                    <a:cubicBezTo>
                      <a:pt x="86" y="189"/>
                      <a:pt x="86" y="189"/>
                      <a:pt x="86" y="189"/>
                    </a:cubicBezTo>
                    <a:cubicBezTo>
                      <a:pt x="86" y="189"/>
                      <a:pt x="86" y="188"/>
                      <a:pt x="86" y="188"/>
                    </a:cubicBezTo>
                    <a:cubicBezTo>
                      <a:pt x="86" y="188"/>
                      <a:pt x="86" y="188"/>
                      <a:pt x="86" y="188"/>
                    </a:cubicBezTo>
                    <a:cubicBezTo>
                      <a:pt x="86" y="188"/>
                      <a:pt x="86" y="188"/>
                      <a:pt x="86" y="188"/>
                    </a:cubicBezTo>
                    <a:cubicBezTo>
                      <a:pt x="86" y="188"/>
                      <a:pt x="86" y="188"/>
                      <a:pt x="86" y="188"/>
                    </a:cubicBezTo>
                    <a:cubicBezTo>
                      <a:pt x="85" y="188"/>
                      <a:pt x="85" y="187"/>
                      <a:pt x="85" y="187"/>
                    </a:cubicBezTo>
                    <a:cubicBezTo>
                      <a:pt x="85" y="187"/>
                      <a:pt x="85" y="187"/>
                      <a:pt x="85" y="187"/>
                    </a:cubicBezTo>
                    <a:lnTo>
                      <a:pt x="85" y="167"/>
                    </a:lnTo>
                    <a:close/>
                    <a:moveTo>
                      <a:pt x="57" y="141"/>
                    </a:moveTo>
                    <a:cubicBezTo>
                      <a:pt x="82" y="156"/>
                      <a:pt x="82" y="156"/>
                      <a:pt x="82" y="156"/>
                    </a:cubicBezTo>
                    <a:cubicBezTo>
                      <a:pt x="82" y="163"/>
                      <a:pt x="82" y="163"/>
                      <a:pt x="82" y="163"/>
                    </a:cubicBezTo>
                    <a:cubicBezTo>
                      <a:pt x="57" y="148"/>
                      <a:pt x="57" y="148"/>
                      <a:pt x="57" y="148"/>
                    </a:cubicBezTo>
                    <a:lnTo>
                      <a:pt x="57" y="141"/>
                    </a:lnTo>
                    <a:close/>
                    <a:moveTo>
                      <a:pt x="57" y="152"/>
                    </a:moveTo>
                    <a:cubicBezTo>
                      <a:pt x="82" y="167"/>
                      <a:pt x="82" y="167"/>
                      <a:pt x="82" y="167"/>
                    </a:cubicBezTo>
                    <a:cubicBezTo>
                      <a:pt x="82" y="174"/>
                      <a:pt x="82" y="174"/>
                      <a:pt x="82" y="174"/>
                    </a:cubicBezTo>
                    <a:cubicBezTo>
                      <a:pt x="57" y="159"/>
                      <a:pt x="57" y="159"/>
                      <a:pt x="57" y="159"/>
                    </a:cubicBezTo>
                    <a:lnTo>
                      <a:pt x="57" y="152"/>
                    </a:lnTo>
                    <a:close/>
                    <a:moveTo>
                      <a:pt x="15" y="113"/>
                    </a:moveTo>
                    <a:cubicBezTo>
                      <a:pt x="16" y="115"/>
                      <a:pt x="15" y="116"/>
                      <a:pt x="14" y="117"/>
                    </a:cubicBezTo>
                    <a:cubicBezTo>
                      <a:pt x="9" y="120"/>
                      <a:pt x="9" y="120"/>
                      <a:pt x="9" y="120"/>
                    </a:cubicBezTo>
                    <a:cubicBezTo>
                      <a:pt x="9" y="133"/>
                      <a:pt x="9" y="133"/>
                      <a:pt x="9" y="133"/>
                    </a:cubicBezTo>
                    <a:cubicBezTo>
                      <a:pt x="11" y="132"/>
                      <a:pt x="11" y="132"/>
                      <a:pt x="11" y="132"/>
                    </a:cubicBezTo>
                    <a:cubicBezTo>
                      <a:pt x="12" y="131"/>
                      <a:pt x="14" y="132"/>
                      <a:pt x="15" y="133"/>
                    </a:cubicBezTo>
                    <a:cubicBezTo>
                      <a:pt x="16" y="135"/>
                      <a:pt x="15" y="136"/>
                      <a:pt x="14" y="137"/>
                    </a:cubicBezTo>
                    <a:cubicBezTo>
                      <a:pt x="7" y="141"/>
                      <a:pt x="7" y="141"/>
                      <a:pt x="7" y="141"/>
                    </a:cubicBezTo>
                    <a:cubicBezTo>
                      <a:pt x="7" y="141"/>
                      <a:pt x="7" y="141"/>
                      <a:pt x="7" y="141"/>
                    </a:cubicBezTo>
                    <a:cubicBezTo>
                      <a:pt x="7" y="141"/>
                      <a:pt x="7" y="141"/>
                      <a:pt x="7" y="141"/>
                    </a:cubicBezTo>
                    <a:cubicBezTo>
                      <a:pt x="7" y="141"/>
                      <a:pt x="6" y="141"/>
                      <a:pt x="6" y="141"/>
                    </a:cubicBezTo>
                    <a:cubicBezTo>
                      <a:pt x="6" y="141"/>
                      <a:pt x="6" y="141"/>
                      <a:pt x="6" y="141"/>
                    </a:cubicBezTo>
                    <a:cubicBezTo>
                      <a:pt x="6" y="141"/>
                      <a:pt x="5" y="141"/>
                      <a:pt x="5" y="141"/>
                    </a:cubicBezTo>
                    <a:cubicBezTo>
                      <a:pt x="5" y="141"/>
                      <a:pt x="5" y="141"/>
                      <a:pt x="5" y="141"/>
                    </a:cubicBezTo>
                    <a:cubicBezTo>
                      <a:pt x="5" y="141"/>
                      <a:pt x="5" y="141"/>
                      <a:pt x="4" y="141"/>
                    </a:cubicBezTo>
                    <a:cubicBezTo>
                      <a:pt x="4" y="141"/>
                      <a:pt x="4" y="141"/>
                      <a:pt x="4" y="141"/>
                    </a:cubicBezTo>
                    <a:cubicBezTo>
                      <a:pt x="4" y="140"/>
                      <a:pt x="4" y="140"/>
                      <a:pt x="4" y="140"/>
                    </a:cubicBezTo>
                    <a:cubicBezTo>
                      <a:pt x="4" y="140"/>
                      <a:pt x="4" y="140"/>
                      <a:pt x="4" y="140"/>
                    </a:cubicBezTo>
                    <a:cubicBezTo>
                      <a:pt x="4" y="140"/>
                      <a:pt x="3" y="140"/>
                      <a:pt x="3" y="140"/>
                    </a:cubicBezTo>
                    <a:cubicBezTo>
                      <a:pt x="3" y="140"/>
                      <a:pt x="3" y="140"/>
                      <a:pt x="3" y="140"/>
                    </a:cubicBezTo>
                    <a:cubicBezTo>
                      <a:pt x="3" y="139"/>
                      <a:pt x="3" y="139"/>
                      <a:pt x="3" y="139"/>
                    </a:cubicBezTo>
                    <a:cubicBezTo>
                      <a:pt x="3" y="139"/>
                      <a:pt x="3" y="139"/>
                      <a:pt x="3" y="139"/>
                    </a:cubicBezTo>
                    <a:cubicBezTo>
                      <a:pt x="3" y="139"/>
                      <a:pt x="3" y="139"/>
                      <a:pt x="3" y="139"/>
                    </a:cubicBezTo>
                    <a:cubicBezTo>
                      <a:pt x="3" y="139"/>
                      <a:pt x="3" y="139"/>
                      <a:pt x="3" y="139"/>
                    </a:cubicBezTo>
                    <a:cubicBezTo>
                      <a:pt x="3" y="138"/>
                      <a:pt x="3" y="138"/>
                      <a:pt x="3" y="138"/>
                    </a:cubicBezTo>
                    <a:cubicBezTo>
                      <a:pt x="3" y="138"/>
                      <a:pt x="3" y="138"/>
                      <a:pt x="3" y="138"/>
                    </a:cubicBezTo>
                    <a:cubicBezTo>
                      <a:pt x="3" y="118"/>
                      <a:pt x="3" y="118"/>
                      <a:pt x="3" y="118"/>
                    </a:cubicBezTo>
                    <a:cubicBezTo>
                      <a:pt x="3" y="118"/>
                      <a:pt x="3" y="118"/>
                      <a:pt x="3" y="118"/>
                    </a:cubicBezTo>
                    <a:cubicBezTo>
                      <a:pt x="3" y="118"/>
                      <a:pt x="3" y="118"/>
                      <a:pt x="3" y="118"/>
                    </a:cubicBezTo>
                    <a:cubicBezTo>
                      <a:pt x="3" y="118"/>
                      <a:pt x="3" y="118"/>
                      <a:pt x="3" y="118"/>
                    </a:cubicBezTo>
                    <a:cubicBezTo>
                      <a:pt x="3" y="118"/>
                      <a:pt x="3" y="117"/>
                      <a:pt x="3" y="117"/>
                    </a:cubicBezTo>
                    <a:cubicBezTo>
                      <a:pt x="3" y="117"/>
                      <a:pt x="3" y="117"/>
                      <a:pt x="3" y="117"/>
                    </a:cubicBezTo>
                    <a:cubicBezTo>
                      <a:pt x="3" y="117"/>
                      <a:pt x="3" y="117"/>
                      <a:pt x="3" y="117"/>
                    </a:cubicBezTo>
                    <a:cubicBezTo>
                      <a:pt x="3" y="117"/>
                      <a:pt x="3" y="117"/>
                      <a:pt x="3" y="117"/>
                    </a:cubicBezTo>
                    <a:cubicBezTo>
                      <a:pt x="4" y="117"/>
                      <a:pt x="4" y="116"/>
                      <a:pt x="4" y="116"/>
                    </a:cubicBezTo>
                    <a:cubicBezTo>
                      <a:pt x="4" y="116"/>
                      <a:pt x="4" y="116"/>
                      <a:pt x="4" y="116"/>
                    </a:cubicBezTo>
                    <a:cubicBezTo>
                      <a:pt x="4" y="116"/>
                      <a:pt x="4" y="116"/>
                      <a:pt x="4" y="116"/>
                    </a:cubicBezTo>
                    <a:cubicBezTo>
                      <a:pt x="4" y="116"/>
                      <a:pt x="4" y="116"/>
                      <a:pt x="4" y="116"/>
                    </a:cubicBezTo>
                    <a:cubicBezTo>
                      <a:pt x="4" y="116"/>
                      <a:pt x="4" y="116"/>
                      <a:pt x="4" y="116"/>
                    </a:cubicBezTo>
                    <a:cubicBezTo>
                      <a:pt x="11" y="112"/>
                      <a:pt x="11" y="112"/>
                      <a:pt x="11" y="112"/>
                    </a:cubicBezTo>
                    <a:cubicBezTo>
                      <a:pt x="12" y="111"/>
                      <a:pt x="14" y="112"/>
                      <a:pt x="15"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Light" pitchFamily="34" charset="0"/>
                  <a:cs typeface="Segoe UI Light" pitchFamily="34" charset="0"/>
                </a:endParaRPr>
              </a:p>
            </p:txBody>
          </p:sp>
          <p:sp>
            <p:nvSpPr>
              <p:cNvPr id="56" name="Freeform 615"/>
              <p:cNvSpPr>
                <a:spLocks noEditPoints="1"/>
              </p:cNvSpPr>
              <p:nvPr/>
            </p:nvSpPr>
            <p:spPr bwMode="auto">
              <a:xfrm>
                <a:off x="4529138" y="3994150"/>
                <a:ext cx="196850" cy="204788"/>
              </a:xfrm>
              <a:custGeom>
                <a:avLst/>
                <a:gdLst>
                  <a:gd name="T0" fmla="*/ 86 w 203"/>
                  <a:gd name="T1" fmla="*/ 207 h 212"/>
                  <a:gd name="T2" fmla="*/ 93 w 203"/>
                  <a:gd name="T3" fmla="*/ 207 h 212"/>
                  <a:gd name="T4" fmla="*/ 99 w 203"/>
                  <a:gd name="T5" fmla="*/ 212 h 212"/>
                  <a:gd name="T6" fmla="*/ 106 w 203"/>
                  <a:gd name="T7" fmla="*/ 206 h 212"/>
                  <a:gd name="T8" fmla="*/ 119 w 203"/>
                  <a:gd name="T9" fmla="*/ 205 h 212"/>
                  <a:gd name="T10" fmla="*/ 136 w 203"/>
                  <a:gd name="T11" fmla="*/ 190 h 212"/>
                  <a:gd name="T12" fmla="*/ 73 w 203"/>
                  <a:gd name="T13" fmla="*/ 190 h 212"/>
                  <a:gd name="T14" fmla="*/ 83 w 203"/>
                  <a:gd name="T15" fmla="*/ 196 h 212"/>
                  <a:gd name="T16" fmla="*/ 147 w 203"/>
                  <a:gd name="T17" fmla="*/ 187 h 212"/>
                  <a:gd name="T18" fmla="*/ 65 w 203"/>
                  <a:gd name="T19" fmla="*/ 183 h 212"/>
                  <a:gd name="T20" fmla="*/ 179 w 203"/>
                  <a:gd name="T21" fmla="*/ 164 h 212"/>
                  <a:gd name="T22" fmla="*/ 31 w 203"/>
                  <a:gd name="T23" fmla="*/ 163 h 212"/>
                  <a:gd name="T24" fmla="*/ 11 w 203"/>
                  <a:gd name="T25" fmla="*/ 162 h 212"/>
                  <a:gd name="T26" fmla="*/ 13 w 203"/>
                  <a:gd name="T27" fmla="*/ 159 h 212"/>
                  <a:gd name="T28" fmla="*/ 24 w 203"/>
                  <a:gd name="T29" fmla="*/ 159 h 212"/>
                  <a:gd name="T30" fmla="*/ 12 w 203"/>
                  <a:gd name="T31" fmla="*/ 163 h 212"/>
                  <a:gd name="T32" fmla="*/ 187 w 203"/>
                  <a:gd name="T33" fmla="*/ 160 h 212"/>
                  <a:gd name="T34" fmla="*/ 0 w 203"/>
                  <a:gd name="T35" fmla="*/ 149 h 212"/>
                  <a:gd name="T36" fmla="*/ 4 w 203"/>
                  <a:gd name="T37" fmla="*/ 139 h 212"/>
                  <a:gd name="T38" fmla="*/ 5 w 203"/>
                  <a:gd name="T39" fmla="*/ 150 h 212"/>
                  <a:gd name="T40" fmla="*/ 199 w 203"/>
                  <a:gd name="T41" fmla="*/ 129 h 212"/>
                  <a:gd name="T42" fmla="*/ 0 w 203"/>
                  <a:gd name="T43" fmla="*/ 127 h 212"/>
                  <a:gd name="T44" fmla="*/ 1 w 203"/>
                  <a:gd name="T45" fmla="*/ 124 h 212"/>
                  <a:gd name="T46" fmla="*/ 4 w 203"/>
                  <a:gd name="T47" fmla="*/ 118 h 212"/>
                  <a:gd name="T48" fmla="*/ 5 w 203"/>
                  <a:gd name="T49" fmla="*/ 116 h 212"/>
                  <a:gd name="T50" fmla="*/ 5 w 203"/>
                  <a:gd name="T51" fmla="*/ 116 h 212"/>
                  <a:gd name="T52" fmla="*/ 8 w 203"/>
                  <a:gd name="T53" fmla="*/ 119 h 212"/>
                  <a:gd name="T54" fmla="*/ 7 w 203"/>
                  <a:gd name="T55" fmla="*/ 120 h 212"/>
                  <a:gd name="T56" fmla="*/ 5 w 203"/>
                  <a:gd name="T57" fmla="*/ 125 h 212"/>
                  <a:gd name="T58" fmla="*/ 4 w 203"/>
                  <a:gd name="T59" fmla="*/ 127 h 212"/>
                  <a:gd name="T60" fmla="*/ 194 w 203"/>
                  <a:gd name="T61" fmla="*/ 106 h 212"/>
                  <a:gd name="T62" fmla="*/ 10 w 203"/>
                  <a:gd name="T63" fmla="*/ 108 h 212"/>
                  <a:gd name="T64" fmla="*/ 13 w 203"/>
                  <a:gd name="T65" fmla="*/ 100 h 212"/>
                  <a:gd name="T66" fmla="*/ 17 w 203"/>
                  <a:gd name="T67" fmla="*/ 108 h 212"/>
                  <a:gd name="T68" fmla="*/ 184 w 203"/>
                  <a:gd name="T69" fmla="*/ 99 h 212"/>
                  <a:gd name="T70" fmla="*/ 186 w 203"/>
                  <a:gd name="T71" fmla="*/ 103 h 212"/>
                  <a:gd name="T72" fmla="*/ 1 w 203"/>
                  <a:gd name="T73" fmla="*/ 93 h 212"/>
                  <a:gd name="T74" fmla="*/ 4 w 203"/>
                  <a:gd name="T75" fmla="*/ 83 h 212"/>
                  <a:gd name="T76" fmla="*/ 5 w 203"/>
                  <a:gd name="T77" fmla="*/ 93 h 212"/>
                  <a:gd name="T78" fmla="*/ 2 w 203"/>
                  <a:gd name="T79" fmla="*/ 96 h 212"/>
                  <a:gd name="T80" fmla="*/ 199 w 203"/>
                  <a:gd name="T81" fmla="*/ 86 h 212"/>
                  <a:gd name="T82" fmla="*/ 1 w 203"/>
                  <a:gd name="T83" fmla="*/ 65 h 212"/>
                  <a:gd name="T84" fmla="*/ 3 w 203"/>
                  <a:gd name="T85" fmla="*/ 59 h 212"/>
                  <a:gd name="T86" fmla="*/ 6 w 203"/>
                  <a:gd name="T87" fmla="*/ 62 h 212"/>
                  <a:gd name="T88" fmla="*/ 5 w 203"/>
                  <a:gd name="T89" fmla="*/ 66 h 212"/>
                  <a:gd name="T90" fmla="*/ 199 w 203"/>
                  <a:gd name="T91" fmla="*/ 62 h 212"/>
                  <a:gd name="T92" fmla="*/ 203 w 203"/>
                  <a:gd name="T93" fmla="*/ 56 h 212"/>
                  <a:gd name="T94" fmla="*/ 9 w 203"/>
                  <a:gd name="T95" fmla="*/ 49 h 212"/>
                  <a:gd name="T96" fmla="*/ 21 w 203"/>
                  <a:gd name="T97" fmla="*/ 49 h 212"/>
                  <a:gd name="T98" fmla="*/ 10 w 203"/>
                  <a:gd name="T99" fmla="*/ 52 h 212"/>
                  <a:gd name="T100" fmla="*/ 34 w 203"/>
                  <a:gd name="T101" fmla="*/ 48 h 212"/>
                  <a:gd name="T102" fmla="*/ 190 w 203"/>
                  <a:gd name="T103" fmla="*/ 43 h 212"/>
                  <a:gd name="T104" fmla="*/ 66 w 203"/>
                  <a:gd name="T105" fmla="*/ 27 h 212"/>
                  <a:gd name="T106" fmla="*/ 156 w 203"/>
                  <a:gd name="T107" fmla="*/ 26 h 212"/>
                  <a:gd name="T108" fmla="*/ 72 w 203"/>
                  <a:gd name="T109" fmla="*/ 23 h 212"/>
                  <a:gd name="T110" fmla="*/ 74 w 203"/>
                  <a:gd name="T111" fmla="*/ 24 h 212"/>
                  <a:gd name="T112" fmla="*/ 149 w 203"/>
                  <a:gd name="T113" fmla="*/ 21 h 212"/>
                  <a:gd name="T114" fmla="*/ 106 w 203"/>
                  <a:gd name="T115" fmla="*/ 6 h 212"/>
                  <a:gd name="T116" fmla="*/ 118 w 203"/>
                  <a:gd name="T117" fmla="*/ 1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212">
                    <a:moveTo>
                      <a:pt x="95" y="212"/>
                    </a:moveTo>
                    <a:cubicBezTo>
                      <a:pt x="95" y="212"/>
                      <a:pt x="94" y="212"/>
                      <a:pt x="94" y="211"/>
                    </a:cubicBezTo>
                    <a:cubicBezTo>
                      <a:pt x="94" y="211"/>
                      <a:pt x="94" y="211"/>
                      <a:pt x="94" y="211"/>
                    </a:cubicBezTo>
                    <a:cubicBezTo>
                      <a:pt x="93" y="211"/>
                      <a:pt x="92" y="211"/>
                      <a:pt x="91" y="210"/>
                    </a:cubicBezTo>
                    <a:cubicBezTo>
                      <a:pt x="91" y="210"/>
                      <a:pt x="91" y="210"/>
                      <a:pt x="91" y="210"/>
                    </a:cubicBezTo>
                    <a:cubicBezTo>
                      <a:pt x="91" y="210"/>
                      <a:pt x="91" y="210"/>
                      <a:pt x="90" y="210"/>
                    </a:cubicBezTo>
                    <a:cubicBezTo>
                      <a:pt x="90" y="210"/>
                      <a:pt x="90" y="210"/>
                      <a:pt x="90" y="210"/>
                    </a:cubicBezTo>
                    <a:cubicBezTo>
                      <a:pt x="89" y="209"/>
                      <a:pt x="88" y="208"/>
                      <a:pt x="87" y="208"/>
                    </a:cubicBezTo>
                    <a:cubicBezTo>
                      <a:pt x="87" y="208"/>
                      <a:pt x="87" y="208"/>
                      <a:pt x="87" y="208"/>
                    </a:cubicBezTo>
                    <a:cubicBezTo>
                      <a:pt x="87" y="207"/>
                      <a:pt x="87" y="207"/>
                      <a:pt x="86" y="207"/>
                    </a:cubicBezTo>
                    <a:cubicBezTo>
                      <a:pt x="86" y="207"/>
                      <a:pt x="86" y="207"/>
                      <a:pt x="86" y="207"/>
                    </a:cubicBezTo>
                    <a:cubicBezTo>
                      <a:pt x="86" y="206"/>
                      <a:pt x="86" y="204"/>
                      <a:pt x="87" y="204"/>
                    </a:cubicBezTo>
                    <a:cubicBezTo>
                      <a:pt x="87" y="204"/>
                      <a:pt x="87" y="204"/>
                      <a:pt x="87" y="204"/>
                    </a:cubicBezTo>
                    <a:cubicBezTo>
                      <a:pt x="88" y="203"/>
                      <a:pt x="89" y="203"/>
                      <a:pt x="90" y="204"/>
                    </a:cubicBezTo>
                    <a:cubicBezTo>
                      <a:pt x="90" y="204"/>
                      <a:pt x="90" y="204"/>
                      <a:pt x="90" y="204"/>
                    </a:cubicBezTo>
                    <a:cubicBezTo>
                      <a:pt x="90" y="204"/>
                      <a:pt x="90" y="205"/>
                      <a:pt x="90" y="205"/>
                    </a:cubicBezTo>
                    <a:cubicBezTo>
                      <a:pt x="90" y="205"/>
                      <a:pt x="90" y="205"/>
                      <a:pt x="90" y="205"/>
                    </a:cubicBezTo>
                    <a:cubicBezTo>
                      <a:pt x="91" y="205"/>
                      <a:pt x="92" y="206"/>
                      <a:pt x="92" y="206"/>
                    </a:cubicBezTo>
                    <a:cubicBezTo>
                      <a:pt x="92" y="206"/>
                      <a:pt x="92" y="206"/>
                      <a:pt x="92" y="206"/>
                    </a:cubicBezTo>
                    <a:cubicBezTo>
                      <a:pt x="92" y="206"/>
                      <a:pt x="93" y="207"/>
                      <a:pt x="93" y="207"/>
                    </a:cubicBezTo>
                    <a:cubicBezTo>
                      <a:pt x="93" y="207"/>
                      <a:pt x="93" y="207"/>
                      <a:pt x="93" y="207"/>
                    </a:cubicBezTo>
                    <a:cubicBezTo>
                      <a:pt x="94" y="207"/>
                      <a:pt x="94" y="207"/>
                      <a:pt x="95" y="208"/>
                    </a:cubicBezTo>
                    <a:cubicBezTo>
                      <a:pt x="95" y="208"/>
                      <a:pt x="95" y="208"/>
                      <a:pt x="95" y="208"/>
                    </a:cubicBezTo>
                    <a:cubicBezTo>
                      <a:pt x="95" y="208"/>
                      <a:pt x="96" y="208"/>
                      <a:pt x="96" y="208"/>
                    </a:cubicBezTo>
                    <a:cubicBezTo>
                      <a:pt x="96" y="208"/>
                      <a:pt x="96" y="208"/>
                      <a:pt x="96" y="208"/>
                    </a:cubicBezTo>
                    <a:cubicBezTo>
                      <a:pt x="97" y="208"/>
                      <a:pt x="98" y="208"/>
                      <a:pt x="99" y="208"/>
                    </a:cubicBezTo>
                    <a:cubicBezTo>
                      <a:pt x="99" y="208"/>
                      <a:pt x="99" y="208"/>
                      <a:pt x="99" y="208"/>
                    </a:cubicBezTo>
                    <a:cubicBezTo>
                      <a:pt x="100" y="208"/>
                      <a:pt x="101" y="209"/>
                      <a:pt x="101" y="210"/>
                    </a:cubicBezTo>
                    <a:cubicBezTo>
                      <a:pt x="101" y="210"/>
                      <a:pt x="101" y="210"/>
                      <a:pt x="101" y="210"/>
                    </a:cubicBezTo>
                    <a:cubicBezTo>
                      <a:pt x="101" y="211"/>
                      <a:pt x="100" y="212"/>
                      <a:pt x="99" y="212"/>
                    </a:cubicBezTo>
                    <a:cubicBezTo>
                      <a:pt x="99" y="212"/>
                      <a:pt x="99" y="212"/>
                      <a:pt x="99" y="212"/>
                    </a:cubicBezTo>
                    <a:cubicBezTo>
                      <a:pt x="97" y="212"/>
                      <a:pt x="96" y="212"/>
                      <a:pt x="95" y="212"/>
                    </a:cubicBezTo>
                    <a:close/>
                    <a:moveTo>
                      <a:pt x="110" y="210"/>
                    </a:moveTo>
                    <a:cubicBezTo>
                      <a:pt x="109" y="210"/>
                      <a:pt x="108" y="210"/>
                      <a:pt x="107" y="210"/>
                    </a:cubicBezTo>
                    <a:cubicBezTo>
                      <a:pt x="107" y="210"/>
                      <a:pt x="107" y="210"/>
                      <a:pt x="107" y="210"/>
                    </a:cubicBezTo>
                    <a:cubicBezTo>
                      <a:pt x="106" y="210"/>
                      <a:pt x="105" y="209"/>
                      <a:pt x="105" y="209"/>
                    </a:cubicBezTo>
                    <a:cubicBezTo>
                      <a:pt x="105" y="209"/>
                      <a:pt x="105" y="209"/>
                      <a:pt x="105" y="209"/>
                    </a:cubicBezTo>
                    <a:cubicBezTo>
                      <a:pt x="104" y="208"/>
                      <a:pt x="105" y="207"/>
                      <a:pt x="106" y="206"/>
                    </a:cubicBezTo>
                    <a:cubicBezTo>
                      <a:pt x="106" y="206"/>
                      <a:pt x="106" y="206"/>
                      <a:pt x="106" y="206"/>
                    </a:cubicBezTo>
                    <a:cubicBezTo>
                      <a:pt x="106" y="206"/>
                      <a:pt x="106" y="206"/>
                      <a:pt x="106" y="206"/>
                    </a:cubicBezTo>
                    <a:cubicBezTo>
                      <a:pt x="106" y="206"/>
                      <a:pt x="107" y="206"/>
                      <a:pt x="108" y="206"/>
                    </a:cubicBezTo>
                    <a:cubicBezTo>
                      <a:pt x="108" y="206"/>
                      <a:pt x="108" y="206"/>
                      <a:pt x="108" y="206"/>
                    </a:cubicBezTo>
                    <a:cubicBezTo>
                      <a:pt x="108" y="206"/>
                      <a:pt x="109" y="206"/>
                      <a:pt x="110" y="206"/>
                    </a:cubicBezTo>
                    <a:cubicBezTo>
                      <a:pt x="110" y="206"/>
                      <a:pt x="110" y="206"/>
                      <a:pt x="110" y="206"/>
                    </a:cubicBezTo>
                    <a:cubicBezTo>
                      <a:pt x="111" y="206"/>
                      <a:pt x="111" y="206"/>
                      <a:pt x="111" y="206"/>
                    </a:cubicBezTo>
                    <a:cubicBezTo>
                      <a:pt x="113" y="206"/>
                      <a:pt x="114" y="206"/>
                      <a:pt x="115" y="205"/>
                    </a:cubicBezTo>
                    <a:cubicBezTo>
                      <a:pt x="115" y="205"/>
                      <a:pt x="115" y="205"/>
                      <a:pt x="115" y="205"/>
                    </a:cubicBezTo>
                    <a:cubicBezTo>
                      <a:pt x="117" y="204"/>
                      <a:pt x="117" y="204"/>
                      <a:pt x="117" y="204"/>
                    </a:cubicBezTo>
                    <a:cubicBezTo>
                      <a:pt x="117" y="204"/>
                      <a:pt x="119" y="204"/>
                      <a:pt x="119" y="205"/>
                    </a:cubicBezTo>
                    <a:cubicBezTo>
                      <a:pt x="119" y="205"/>
                      <a:pt x="119" y="205"/>
                      <a:pt x="119" y="205"/>
                    </a:cubicBezTo>
                    <a:cubicBezTo>
                      <a:pt x="120" y="206"/>
                      <a:pt x="120" y="207"/>
                      <a:pt x="119" y="207"/>
                    </a:cubicBezTo>
                    <a:cubicBezTo>
                      <a:pt x="119" y="207"/>
                      <a:pt x="119" y="207"/>
                      <a:pt x="119" y="207"/>
                    </a:cubicBezTo>
                    <a:cubicBezTo>
                      <a:pt x="117" y="209"/>
                      <a:pt x="117" y="209"/>
                      <a:pt x="117" y="209"/>
                    </a:cubicBezTo>
                    <a:cubicBezTo>
                      <a:pt x="115" y="210"/>
                      <a:pt x="113" y="210"/>
                      <a:pt x="111" y="210"/>
                    </a:cubicBezTo>
                    <a:cubicBezTo>
                      <a:pt x="111" y="210"/>
                      <a:pt x="111" y="210"/>
                      <a:pt x="111" y="210"/>
                    </a:cubicBezTo>
                    <a:cubicBezTo>
                      <a:pt x="110" y="210"/>
                      <a:pt x="110" y="210"/>
                      <a:pt x="110" y="210"/>
                    </a:cubicBezTo>
                    <a:close/>
                    <a:moveTo>
                      <a:pt x="126" y="200"/>
                    </a:moveTo>
                    <a:cubicBezTo>
                      <a:pt x="125" y="199"/>
                      <a:pt x="126" y="198"/>
                      <a:pt x="126" y="197"/>
                    </a:cubicBezTo>
                    <a:cubicBezTo>
                      <a:pt x="126" y="197"/>
                      <a:pt x="126" y="197"/>
                      <a:pt x="126" y="197"/>
                    </a:cubicBezTo>
                    <a:cubicBezTo>
                      <a:pt x="136" y="190"/>
                      <a:pt x="136" y="190"/>
                      <a:pt x="136" y="190"/>
                    </a:cubicBezTo>
                    <a:cubicBezTo>
                      <a:pt x="137" y="190"/>
                      <a:pt x="138" y="190"/>
                      <a:pt x="139" y="191"/>
                    </a:cubicBezTo>
                    <a:cubicBezTo>
                      <a:pt x="139" y="191"/>
                      <a:pt x="139" y="191"/>
                      <a:pt x="139" y="191"/>
                    </a:cubicBezTo>
                    <a:cubicBezTo>
                      <a:pt x="140" y="192"/>
                      <a:pt x="139" y="193"/>
                      <a:pt x="139" y="194"/>
                    </a:cubicBezTo>
                    <a:cubicBezTo>
                      <a:pt x="139" y="194"/>
                      <a:pt x="139" y="194"/>
                      <a:pt x="139" y="194"/>
                    </a:cubicBezTo>
                    <a:cubicBezTo>
                      <a:pt x="129" y="201"/>
                      <a:pt x="129" y="201"/>
                      <a:pt x="129" y="201"/>
                    </a:cubicBezTo>
                    <a:cubicBezTo>
                      <a:pt x="128" y="201"/>
                      <a:pt x="128" y="201"/>
                      <a:pt x="128" y="201"/>
                    </a:cubicBezTo>
                    <a:cubicBezTo>
                      <a:pt x="128" y="201"/>
                      <a:pt x="128" y="201"/>
                      <a:pt x="128" y="201"/>
                    </a:cubicBezTo>
                    <a:cubicBezTo>
                      <a:pt x="127" y="201"/>
                      <a:pt x="126" y="201"/>
                      <a:pt x="126" y="200"/>
                    </a:cubicBezTo>
                    <a:close/>
                    <a:moveTo>
                      <a:pt x="83" y="196"/>
                    </a:moveTo>
                    <a:cubicBezTo>
                      <a:pt x="73" y="190"/>
                      <a:pt x="73" y="190"/>
                      <a:pt x="73" y="190"/>
                    </a:cubicBezTo>
                    <a:cubicBezTo>
                      <a:pt x="72" y="189"/>
                      <a:pt x="72" y="188"/>
                      <a:pt x="72" y="187"/>
                    </a:cubicBezTo>
                    <a:cubicBezTo>
                      <a:pt x="72" y="187"/>
                      <a:pt x="72" y="187"/>
                      <a:pt x="72" y="187"/>
                    </a:cubicBezTo>
                    <a:cubicBezTo>
                      <a:pt x="73" y="186"/>
                      <a:pt x="74" y="186"/>
                      <a:pt x="75" y="187"/>
                    </a:cubicBezTo>
                    <a:cubicBezTo>
                      <a:pt x="75" y="187"/>
                      <a:pt x="75" y="187"/>
                      <a:pt x="75" y="187"/>
                    </a:cubicBezTo>
                    <a:cubicBezTo>
                      <a:pt x="85" y="193"/>
                      <a:pt x="85" y="193"/>
                      <a:pt x="85" y="193"/>
                    </a:cubicBezTo>
                    <a:cubicBezTo>
                      <a:pt x="86" y="193"/>
                      <a:pt x="86" y="194"/>
                      <a:pt x="86" y="195"/>
                    </a:cubicBezTo>
                    <a:cubicBezTo>
                      <a:pt x="86" y="195"/>
                      <a:pt x="86" y="195"/>
                      <a:pt x="86" y="195"/>
                    </a:cubicBezTo>
                    <a:cubicBezTo>
                      <a:pt x="86" y="196"/>
                      <a:pt x="85" y="196"/>
                      <a:pt x="84" y="196"/>
                    </a:cubicBezTo>
                    <a:cubicBezTo>
                      <a:pt x="84" y="196"/>
                      <a:pt x="84" y="196"/>
                      <a:pt x="84" y="196"/>
                    </a:cubicBezTo>
                    <a:cubicBezTo>
                      <a:pt x="84" y="196"/>
                      <a:pt x="83" y="196"/>
                      <a:pt x="83" y="196"/>
                    </a:cubicBezTo>
                    <a:close/>
                    <a:moveTo>
                      <a:pt x="146" y="186"/>
                    </a:moveTo>
                    <a:cubicBezTo>
                      <a:pt x="145" y="185"/>
                      <a:pt x="145" y="184"/>
                      <a:pt x="146" y="184"/>
                    </a:cubicBezTo>
                    <a:cubicBezTo>
                      <a:pt x="146" y="184"/>
                      <a:pt x="146" y="184"/>
                      <a:pt x="146" y="184"/>
                    </a:cubicBezTo>
                    <a:cubicBezTo>
                      <a:pt x="156" y="177"/>
                      <a:pt x="156" y="177"/>
                      <a:pt x="156" y="177"/>
                    </a:cubicBezTo>
                    <a:cubicBezTo>
                      <a:pt x="157" y="176"/>
                      <a:pt x="158" y="176"/>
                      <a:pt x="159" y="177"/>
                    </a:cubicBezTo>
                    <a:cubicBezTo>
                      <a:pt x="159" y="177"/>
                      <a:pt x="159" y="177"/>
                      <a:pt x="159" y="177"/>
                    </a:cubicBezTo>
                    <a:cubicBezTo>
                      <a:pt x="159" y="178"/>
                      <a:pt x="159" y="179"/>
                      <a:pt x="158" y="180"/>
                    </a:cubicBezTo>
                    <a:cubicBezTo>
                      <a:pt x="158" y="180"/>
                      <a:pt x="158" y="180"/>
                      <a:pt x="158" y="180"/>
                    </a:cubicBezTo>
                    <a:cubicBezTo>
                      <a:pt x="148" y="187"/>
                      <a:pt x="148" y="187"/>
                      <a:pt x="148" y="187"/>
                    </a:cubicBezTo>
                    <a:cubicBezTo>
                      <a:pt x="148" y="187"/>
                      <a:pt x="148" y="187"/>
                      <a:pt x="147" y="187"/>
                    </a:cubicBezTo>
                    <a:cubicBezTo>
                      <a:pt x="147" y="187"/>
                      <a:pt x="147" y="187"/>
                      <a:pt x="147" y="187"/>
                    </a:cubicBezTo>
                    <a:cubicBezTo>
                      <a:pt x="147" y="187"/>
                      <a:pt x="146" y="187"/>
                      <a:pt x="146" y="186"/>
                    </a:cubicBezTo>
                    <a:close/>
                    <a:moveTo>
                      <a:pt x="62" y="184"/>
                    </a:moveTo>
                    <a:cubicBezTo>
                      <a:pt x="52" y="178"/>
                      <a:pt x="52" y="178"/>
                      <a:pt x="52" y="178"/>
                    </a:cubicBezTo>
                    <a:cubicBezTo>
                      <a:pt x="51" y="177"/>
                      <a:pt x="51" y="176"/>
                      <a:pt x="51" y="175"/>
                    </a:cubicBezTo>
                    <a:cubicBezTo>
                      <a:pt x="51" y="175"/>
                      <a:pt x="51" y="175"/>
                      <a:pt x="51" y="175"/>
                    </a:cubicBezTo>
                    <a:cubicBezTo>
                      <a:pt x="52" y="174"/>
                      <a:pt x="53" y="174"/>
                      <a:pt x="54" y="174"/>
                    </a:cubicBezTo>
                    <a:cubicBezTo>
                      <a:pt x="54" y="174"/>
                      <a:pt x="54" y="174"/>
                      <a:pt x="54" y="174"/>
                    </a:cubicBezTo>
                    <a:cubicBezTo>
                      <a:pt x="65" y="180"/>
                      <a:pt x="65" y="180"/>
                      <a:pt x="65" y="180"/>
                    </a:cubicBezTo>
                    <a:cubicBezTo>
                      <a:pt x="65" y="181"/>
                      <a:pt x="66" y="182"/>
                      <a:pt x="65" y="183"/>
                    </a:cubicBezTo>
                    <a:cubicBezTo>
                      <a:pt x="65" y="183"/>
                      <a:pt x="65" y="183"/>
                      <a:pt x="65" y="183"/>
                    </a:cubicBezTo>
                    <a:cubicBezTo>
                      <a:pt x="65" y="184"/>
                      <a:pt x="64" y="184"/>
                      <a:pt x="63" y="184"/>
                    </a:cubicBezTo>
                    <a:cubicBezTo>
                      <a:pt x="63" y="184"/>
                      <a:pt x="63" y="184"/>
                      <a:pt x="63" y="184"/>
                    </a:cubicBezTo>
                    <a:cubicBezTo>
                      <a:pt x="63" y="184"/>
                      <a:pt x="63" y="184"/>
                      <a:pt x="62" y="184"/>
                    </a:cubicBezTo>
                    <a:close/>
                    <a:moveTo>
                      <a:pt x="165" y="173"/>
                    </a:moveTo>
                    <a:cubicBezTo>
                      <a:pt x="165" y="172"/>
                      <a:pt x="165" y="171"/>
                      <a:pt x="166" y="170"/>
                    </a:cubicBezTo>
                    <a:cubicBezTo>
                      <a:pt x="166" y="170"/>
                      <a:pt x="166" y="170"/>
                      <a:pt x="166" y="170"/>
                    </a:cubicBezTo>
                    <a:cubicBezTo>
                      <a:pt x="176" y="163"/>
                      <a:pt x="176" y="163"/>
                      <a:pt x="176" y="163"/>
                    </a:cubicBezTo>
                    <a:cubicBezTo>
                      <a:pt x="177" y="162"/>
                      <a:pt x="178" y="163"/>
                      <a:pt x="179" y="164"/>
                    </a:cubicBezTo>
                    <a:cubicBezTo>
                      <a:pt x="179" y="164"/>
                      <a:pt x="179" y="164"/>
                      <a:pt x="179" y="164"/>
                    </a:cubicBezTo>
                    <a:cubicBezTo>
                      <a:pt x="179" y="164"/>
                      <a:pt x="179" y="166"/>
                      <a:pt x="178" y="166"/>
                    </a:cubicBezTo>
                    <a:cubicBezTo>
                      <a:pt x="178" y="166"/>
                      <a:pt x="178" y="166"/>
                      <a:pt x="178" y="166"/>
                    </a:cubicBezTo>
                    <a:cubicBezTo>
                      <a:pt x="168" y="173"/>
                      <a:pt x="168" y="173"/>
                      <a:pt x="168" y="173"/>
                    </a:cubicBezTo>
                    <a:cubicBezTo>
                      <a:pt x="168" y="173"/>
                      <a:pt x="167" y="174"/>
                      <a:pt x="167" y="174"/>
                    </a:cubicBezTo>
                    <a:cubicBezTo>
                      <a:pt x="167" y="174"/>
                      <a:pt x="167" y="174"/>
                      <a:pt x="167" y="174"/>
                    </a:cubicBezTo>
                    <a:cubicBezTo>
                      <a:pt x="166" y="174"/>
                      <a:pt x="166" y="173"/>
                      <a:pt x="165" y="173"/>
                    </a:cubicBezTo>
                    <a:close/>
                    <a:moveTo>
                      <a:pt x="42" y="172"/>
                    </a:moveTo>
                    <a:cubicBezTo>
                      <a:pt x="31" y="166"/>
                      <a:pt x="31" y="166"/>
                      <a:pt x="31" y="166"/>
                    </a:cubicBezTo>
                    <a:cubicBezTo>
                      <a:pt x="30" y="165"/>
                      <a:pt x="30" y="164"/>
                      <a:pt x="31" y="163"/>
                    </a:cubicBezTo>
                    <a:cubicBezTo>
                      <a:pt x="31" y="163"/>
                      <a:pt x="31" y="163"/>
                      <a:pt x="31" y="163"/>
                    </a:cubicBezTo>
                    <a:cubicBezTo>
                      <a:pt x="31" y="162"/>
                      <a:pt x="33" y="162"/>
                      <a:pt x="33" y="162"/>
                    </a:cubicBezTo>
                    <a:cubicBezTo>
                      <a:pt x="33" y="162"/>
                      <a:pt x="33" y="162"/>
                      <a:pt x="33" y="162"/>
                    </a:cubicBezTo>
                    <a:cubicBezTo>
                      <a:pt x="44" y="168"/>
                      <a:pt x="44" y="168"/>
                      <a:pt x="44" y="168"/>
                    </a:cubicBezTo>
                    <a:cubicBezTo>
                      <a:pt x="45" y="169"/>
                      <a:pt x="45" y="170"/>
                      <a:pt x="45" y="171"/>
                    </a:cubicBezTo>
                    <a:cubicBezTo>
                      <a:pt x="45" y="171"/>
                      <a:pt x="45" y="171"/>
                      <a:pt x="45" y="171"/>
                    </a:cubicBezTo>
                    <a:cubicBezTo>
                      <a:pt x="44" y="172"/>
                      <a:pt x="43" y="172"/>
                      <a:pt x="43" y="172"/>
                    </a:cubicBezTo>
                    <a:cubicBezTo>
                      <a:pt x="43" y="172"/>
                      <a:pt x="43" y="172"/>
                      <a:pt x="43" y="172"/>
                    </a:cubicBezTo>
                    <a:cubicBezTo>
                      <a:pt x="42" y="172"/>
                      <a:pt x="42" y="172"/>
                      <a:pt x="42" y="172"/>
                    </a:cubicBezTo>
                    <a:close/>
                    <a:moveTo>
                      <a:pt x="12" y="163"/>
                    </a:moveTo>
                    <a:cubicBezTo>
                      <a:pt x="12" y="163"/>
                      <a:pt x="11" y="162"/>
                      <a:pt x="11" y="162"/>
                    </a:cubicBezTo>
                    <a:cubicBezTo>
                      <a:pt x="11" y="162"/>
                      <a:pt x="11" y="162"/>
                      <a:pt x="11" y="162"/>
                    </a:cubicBezTo>
                    <a:cubicBezTo>
                      <a:pt x="10" y="162"/>
                      <a:pt x="10" y="162"/>
                      <a:pt x="10" y="162"/>
                    </a:cubicBezTo>
                    <a:cubicBezTo>
                      <a:pt x="10" y="162"/>
                      <a:pt x="10" y="162"/>
                      <a:pt x="10" y="162"/>
                    </a:cubicBezTo>
                    <a:cubicBezTo>
                      <a:pt x="9" y="161"/>
                      <a:pt x="8" y="160"/>
                      <a:pt x="9" y="159"/>
                    </a:cubicBezTo>
                    <a:cubicBezTo>
                      <a:pt x="9" y="159"/>
                      <a:pt x="9" y="159"/>
                      <a:pt x="9" y="159"/>
                    </a:cubicBezTo>
                    <a:cubicBezTo>
                      <a:pt x="9" y="158"/>
                      <a:pt x="10" y="158"/>
                      <a:pt x="11" y="158"/>
                    </a:cubicBezTo>
                    <a:cubicBezTo>
                      <a:pt x="11" y="158"/>
                      <a:pt x="11" y="158"/>
                      <a:pt x="11" y="158"/>
                    </a:cubicBezTo>
                    <a:cubicBezTo>
                      <a:pt x="12" y="158"/>
                      <a:pt x="12" y="158"/>
                      <a:pt x="12" y="158"/>
                    </a:cubicBezTo>
                    <a:cubicBezTo>
                      <a:pt x="12" y="158"/>
                      <a:pt x="12" y="158"/>
                      <a:pt x="12" y="158"/>
                    </a:cubicBezTo>
                    <a:cubicBezTo>
                      <a:pt x="12" y="159"/>
                      <a:pt x="13" y="159"/>
                      <a:pt x="13" y="159"/>
                    </a:cubicBezTo>
                    <a:cubicBezTo>
                      <a:pt x="13" y="159"/>
                      <a:pt x="13" y="159"/>
                      <a:pt x="13" y="159"/>
                    </a:cubicBezTo>
                    <a:cubicBezTo>
                      <a:pt x="14" y="159"/>
                      <a:pt x="15" y="159"/>
                      <a:pt x="16" y="159"/>
                    </a:cubicBezTo>
                    <a:cubicBezTo>
                      <a:pt x="16" y="159"/>
                      <a:pt x="16" y="159"/>
                      <a:pt x="16" y="159"/>
                    </a:cubicBezTo>
                    <a:cubicBezTo>
                      <a:pt x="17" y="159"/>
                      <a:pt x="18" y="159"/>
                      <a:pt x="19" y="159"/>
                    </a:cubicBezTo>
                    <a:cubicBezTo>
                      <a:pt x="19" y="159"/>
                      <a:pt x="19" y="159"/>
                      <a:pt x="19" y="159"/>
                    </a:cubicBezTo>
                    <a:cubicBezTo>
                      <a:pt x="19" y="159"/>
                      <a:pt x="19" y="159"/>
                      <a:pt x="19" y="159"/>
                    </a:cubicBezTo>
                    <a:cubicBezTo>
                      <a:pt x="19" y="159"/>
                      <a:pt x="19" y="159"/>
                      <a:pt x="19" y="159"/>
                    </a:cubicBezTo>
                    <a:cubicBezTo>
                      <a:pt x="20" y="158"/>
                      <a:pt x="21" y="158"/>
                      <a:pt x="21" y="158"/>
                    </a:cubicBezTo>
                    <a:cubicBezTo>
                      <a:pt x="21" y="158"/>
                      <a:pt x="21" y="158"/>
                      <a:pt x="21" y="158"/>
                    </a:cubicBezTo>
                    <a:cubicBezTo>
                      <a:pt x="22" y="157"/>
                      <a:pt x="23" y="158"/>
                      <a:pt x="24" y="159"/>
                    </a:cubicBezTo>
                    <a:cubicBezTo>
                      <a:pt x="24" y="159"/>
                      <a:pt x="24" y="159"/>
                      <a:pt x="24" y="159"/>
                    </a:cubicBezTo>
                    <a:cubicBezTo>
                      <a:pt x="24" y="160"/>
                      <a:pt x="24" y="161"/>
                      <a:pt x="23" y="161"/>
                    </a:cubicBezTo>
                    <a:cubicBezTo>
                      <a:pt x="23" y="161"/>
                      <a:pt x="23" y="161"/>
                      <a:pt x="23" y="161"/>
                    </a:cubicBezTo>
                    <a:cubicBezTo>
                      <a:pt x="22" y="162"/>
                      <a:pt x="21" y="162"/>
                      <a:pt x="20" y="162"/>
                    </a:cubicBezTo>
                    <a:cubicBezTo>
                      <a:pt x="20" y="162"/>
                      <a:pt x="20" y="162"/>
                      <a:pt x="20" y="162"/>
                    </a:cubicBezTo>
                    <a:cubicBezTo>
                      <a:pt x="20" y="163"/>
                      <a:pt x="20" y="163"/>
                      <a:pt x="20" y="163"/>
                    </a:cubicBezTo>
                    <a:cubicBezTo>
                      <a:pt x="20" y="163"/>
                      <a:pt x="20" y="163"/>
                      <a:pt x="20" y="163"/>
                    </a:cubicBezTo>
                    <a:cubicBezTo>
                      <a:pt x="18" y="163"/>
                      <a:pt x="17" y="163"/>
                      <a:pt x="16" y="163"/>
                    </a:cubicBezTo>
                    <a:cubicBezTo>
                      <a:pt x="16" y="163"/>
                      <a:pt x="16" y="163"/>
                      <a:pt x="16" y="163"/>
                    </a:cubicBezTo>
                    <a:cubicBezTo>
                      <a:pt x="15" y="163"/>
                      <a:pt x="13" y="163"/>
                      <a:pt x="12" y="163"/>
                    </a:cubicBezTo>
                    <a:close/>
                    <a:moveTo>
                      <a:pt x="185" y="159"/>
                    </a:moveTo>
                    <a:cubicBezTo>
                      <a:pt x="184" y="158"/>
                      <a:pt x="185" y="157"/>
                      <a:pt x="186" y="156"/>
                    </a:cubicBezTo>
                    <a:cubicBezTo>
                      <a:pt x="186" y="156"/>
                      <a:pt x="186" y="156"/>
                      <a:pt x="186" y="156"/>
                    </a:cubicBezTo>
                    <a:cubicBezTo>
                      <a:pt x="195" y="149"/>
                      <a:pt x="195" y="149"/>
                      <a:pt x="195" y="149"/>
                    </a:cubicBezTo>
                    <a:cubicBezTo>
                      <a:pt x="196" y="149"/>
                      <a:pt x="198" y="149"/>
                      <a:pt x="198" y="150"/>
                    </a:cubicBezTo>
                    <a:cubicBezTo>
                      <a:pt x="198" y="150"/>
                      <a:pt x="198" y="150"/>
                      <a:pt x="198" y="150"/>
                    </a:cubicBezTo>
                    <a:cubicBezTo>
                      <a:pt x="199" y="151"/>
                      <a:pt x="199" y="152"/>
                      <a:pt x="198" y="153"/>
                    </a:cubicBezTo>
                    <a:cubicBezTo>
                      <a:pt x="198" y="153"/>
                      <a:pt x="198" y="153"/>
                      <a:pt x="198" y="153"/>
                    </a:cubicBezTo>
                    <a:cubicBezTo>
                      <a:pt x="188" y="160"/>
                      <a:pt x="188" y="160"/>
                      <a:pt x="188" y="160"/>
                    </a:cubicBezTo>
                    <a:cubicBezTo>
                      <a:pt x="188" y="160"/>
                      <a:pt x="187" y="160"/>
                      <a:pt x="187" y="160"/>
                    </a:cubicBezTo>
                    <a:cubicBezTo>
                      <a:pt x="187" y="160"/>
                      <a:pt x="187" y="160"/>
                      <a:pt x="187" y="160"/>
                    </a:cubicBezTo>
                    <a:cubicBezTo>
                      <a:pt x="186" y="160"/>
                      <a:pt x="185" y="160"/>
                      <a:pt x="185" y="159"/>
                    </a:cubicBezTo>
                    <a:close/>
                    <a:moveTo>
                      <a:pt x="1" y="152"/>
                    </a:moveTo>
                    <a:cubicBezTo>
                      <a:pt x="1" y="152"/>
                      <a:pt x="1" y="152"/>
                      <a:pt x="1" y="151"/>
                    </a:cubicBezTo>
                    <a:cubicBezTo>
                      <a:pt x="1" y="151"/>
                      <a:pt x="1" y="151"/>
                      <a:pt x="1" y="151"/>
                    </a:cubicBezTo>
                    <a:cubicBezTo>
                      <a:pt x="1" y="151"/>
                      <a:pt x="0" y="150"/>
                      <a:pt x="0" y="149"/>
                    </a:cubicBezTo>
                    <a:cubicBezTo>
                      <a:pt x="0" y="149"/>
                      <a:pt x="0" y="149"/>
                      <a:pt x="0" y="149"/>
                    </a:cubicBezTo>
                    <a:cubicBezTo>
                      <a:pt x="0" y="149"/>
                      <a:pt x="0" y="149"/>
                      <a:pt x="0" y="149"/>
                    </a:cubicBezTo>
                    <a:cubicBezTo>
                      <a:pt x="0" y="149"/>
                      <a:pt x="0" y="149"/>
                      <a:pt x="0" y="149"/>
                    </a:cubicBezTo>
                    <a:cubicBezTo>
                      <a:pt x="0" y="149"/>
                      <a:pt x="0" y="149"/>
                      <a:pt x="0" y="149"/>
                    </a:cubicBezTo>
                    <a:cubicBezTo>
                      <a:pt x="0" y="149"/>
                      <a:pt x="0" y="149"/>
                      <a:pt x="0" y="149"/>
                    </a:cubicBezTo>
                    <a:cubicBezTo>
                      <a:pt x="0" y="149"/>
                      <a:pt x="0" y="148"/>
                      <a:pt x="0" y="148"/>
                    </a:cubicBezTo>
                    <a:cubicBezTo>
                      <a:pt x="0" y="148"/>
                      <a:pt x="0" y="148"/>
                      <a:pt x="0" y="148"/>
                    </a:cubicBezTo>
                    <a:cubicBezTo>
                      <a:pt x="0" y="148"/>
                      <a:pt x="0" y="148"/>
                      <a:pt x="0" y="147"/>
                    </a:cubicBezTo>
                    <a:cubicBezTo>
                      <a:pt x="0" y="147"/>
                      <a:pt x="0" y="147"/>
                      <a:pt x="0" y="147"/>
                    </a:cubicBezTo>
                    <a:cubicBezTo>
                      <a:pt x="0" y="139"/>
                      <a:pt x="0" y="139"/>
                      <a:pt x="0" y="139"/>
                    </a:cubicBezTo>
                    <a:cubicBezTo>
                      <a:pt x="0" y="138"/>
                      <a:pt x="1" y="137"/>
                      <a:pt x="2" y="137"/>
                    </a:cubicBezTo>
                    <a:cubicBezTo>
                      <a:pt x="2" y="137"/>
                      <a:pt x="2" y="137"/>
                      <a:pt x="2" y="137"/>
                    </a:cubicBezTo>
                    <a:cubicBezTo>
                      <a:pt x="3" y="137"/>
                      <a:pt x="4" y="138"/>
                      <a:pt x="4" y="139"/>
                    </a:cubicBezTo>
                    <a:cubicBezTo>
                      <a:pt x="4" y="139"/>
                      <a:pt x="4" y="139"/>
                      <a:pt x="4" y="139"/>
                    </a:cubicBezTo>
                    <a:cubicBezTo>
                      <a:pt x="4" y="147"/>
                      <a:pt x="4" y="147"/>
                      <a:pt x="4" y="147"/>
                    </a:cubicBezTo>
                    <a:cubicBezTo>
                      <a:pt x="4" y="147"/>
                      <a:pt x="4" y="148"/>
                      <a:pt x="4" y="148"/>
                    </a:cubicBezTo>
                    <a:cubicBezTo>
                      <a:pt x="4" y="148"/>
                      <a:pt x="4" y="148"/>
                      <a:pt x="4" y="148"/>
                    </a:cubicBezTo>
                    <a:cubicBezTo>
                      <a:pt x="4" y="148"/>
                      <a:pt x="4" y="148"/>
                      <a:pt x="4" y="148"/>
                    </a:cubicBezTo>
                    <a:cubicBezTo>
                      <a:pt x="4" y="148"/>
                      <a:pt x="4" y="148"/>
                      <a:pt x="4" y="148"/>
                    </a:cubicBezTo>
                    <a:cubicBezTo>
                      <a:pt x="4" y="149"/>
                      <a:pt x="4" y="149"/>
                      <a:pt x="4" y="149"/>
                    </a:cubicBezTo>
                    <a:cubicBezTo>
                      <a:pt x="4" y="149"/>
                      <a:pt x="4" y="149"/>
                      <a:pt x="4" y="149"/>
                    </a:cubicBezTo>
                    <a:cubicBezTo>
                      <a:pt x="4" y="149"/>
                      <a:pt x="4" y="149"/>
                      <a:pt x="4" y="149"/>
                    </a:cubicBezTo>
                    <a:cubicBezTo>
                      <a:pt x="4" y="149"/>
                      <a:pt x="4" y="149"/>
                      <a:pt x="4" y="149"/>
                    </a:cubicBezTo>
                    <a:cubicBezTo>
                      <a:pt x="4" y="149"/>
                      <a:pt x="4" y="150"/>
                      <a:pt x="5" y="150"/>
                    </a:cubicBezTo>
                    <a:cubicBezTo>
                      <a:pt x="5" y="150"/>
                      <a:pt x="5" y="150"/>
                      <a:pt x="5" y="150"/>
                    </a:cubicBezTo>
                    <a:cubicBezTo>
                      <a:pt x="5" y="150"/>
                      <a:pt x="5" y="151"/>
                      <a:pt x="5" y="151"/>
                    </a:cubicBezTo>
                    <a:cubicBezTo>
                      <a:pt x="5" y="151"/>
                      <a:pt x="5" y="151"/>
                      <a:pt x="5" y="151"/>
                    </a:cubicBezTo>
                    <a:cubicBezTo>
                      <a:pt x="5" y="152"/>
                      <a:pt x="4" y="153"/>
                      <a:pt x="3" y="153"/>
                    </a:cubicBezTo>
                    <a:cubicBezTo>
                      <a:pt x="3" y="153"/>
                      <a:pt x="3" y="153"/>
                      <a:pt x="3" y="153"/>
                    </a:cubicBezTo>
                    <a:cubicBezTo>
                      <a:pt x="3" y="153"/>
                      <a:pt x="3" y="153"/>
                      <a:pt x="3" y="153"/>
                    </a:cubicBezTo>
                    <a:cubicBezTo>
                      <a:pt x="3" y="153"/>
                      <a:pt x="3" y="153"/>
                      <a:pt x="3" y="153"/>
                    </a:cubicBezTo>
                    <a:cubicBezTo>
                      <a:pt x="2" y="153"/>
                      <a:pt x="1" y="153"/>
                      <a:pt x="1" y="152"/>
                    </a:cubicBezTo>
                    <a:close/>
                    <a:moveTo>
                      <a:pt x="199" y="141"/>
                    </a:moveTo>
                    <a:cubicBezTo>
                      <a:pt x="199" y="129"/>
                      <a:pt x="199" y="129"/>
                      <a:pt x="199" y="129"/>
                    </a:cubicBezTo>
                    <a:cubicBezTo>
                      <a:pt x="199" y="128"/>
                      <a:pt x="200" y="127"/>
                      <a:pt x="201" y="127"/>
                    </a:cubicBezTo>
                    <a:cubicBezTo>
                      <a:pt x="201" y="127"/>
                      <a:pt x="201" y="127"/>
                      <a:pt x="201" y="127"/>
                    </a:cubicBezTo>
                    <a:cubicBezTo>
                      <a:pt x="203" y="127"/>
                      <a:pt x="203" y="128"/>
                      <a:pt x="203" y="129"/>
                    </a:cubicBezTo>
                    <a:cubicBezTo>
                      <a:pt x="203" y="129"/>
                      <a:pt x="203" y="129"/>
                      <a:pt x="203" y="129"/>
                    </a:cubicBezTo>
                    <a:cubicBezTo>
                      <a:pt x="203" y="141"/>
                      <a:pt x="203" y="141"/>
                      <a:pt x="203" y="141"/>
                    </a:cubicBezTo>
                    <a:cubicBezTo>
                      <a:pt x="203" y="142"/>
                      <a:pt x="203" y="143"/>
                      <a:pt x="201" y="143"/>
                    </a:cubicBezTo>
                    <a:cubicBezTo>
                      <a:pt x="201" y="143"/>
                      <a:pt x="201" y="143"/>
                      <a:pt x="201" y="143"/>
                    </a:cubicBezTo>
                    <a:cubicBezTo>
                      <a:pt x="200" y="143"/>
                      <a:pt x="199" y="142"/>
                      <a:pt x="199" y="141"/>
                    </a:cubicBezTo>
                    <a:close/>
                    <a:moveTo>
                      <a:pt x="2" y="129"/>
                    </a:moveTo>
                    <a:cubicBezTo>
                      <a:pt x="1" y="129"/>
                      <a:pt x="0" y="129"/>
                      <a:pt x="0" y="127"/>
                    </a:cubicBezTo>
                    <a:cubicBezTo>
                      <a:pt x="0" y="127"/>
                      <a:pt x="0" y="127"/>
                      <a:pt x="0" y="127"/>
                    </a:cubicBezTo>
                    <a:cubicBezTo>
                      <a:pt x="0" y="127"/>
                      <a:pt x="0" y="126"/>
                      <a:pt x="0" y="125"/>
                    </a:cubicBezTo>
                    <a:cubicBezTo>
                      <a:pt x="0" y="125"/>
                      <a:pt x="0" y="125"/>
                      <a:pt x="0" y="125"/>
                    </a:cubicBezTo>
                    <a:cubicBezTo>
                      <a:pt x="0" y="125"/>
                      <a:pt x="1" y="124"/>
                      <a:pt x="1" y="124"/>
                    </a:cubicBezTo>
                    <a:cubicBezTo>
                      <a:pt x="1" y="124"/>
                      <a:pt x="1" y="124"/>
                      <a:pt x="1" y="124"/>
                    </a:cubicBezTo>
                    <a:cubicBezTo>
                      <a:pt x="1" y="124"/>
                      <a:pt x="1" y="124"/>
                      <a:pt x="1" y="124"/>
                    </a:cubicBezTo>
                    <a:cubicBezTo>
                      <a:pt x="1" y="124"/>
                      <a:pt x="1" y="124"/>
                      <a:pt x="1" y="124"/>
                    </a:cubicBezTo>
                    <a:cubicBezTo>
                      <a:pt x="1" y="124"/>
                      <a:pt x="1" y="124"/>
                      <a:pt x="1" y="124"/>
                    </a:cubicBezTo>
                    <a:cubicBezTo>
                      <a:pt x="1" y="124"/>
                      <a:pt x="1" y="124"/>
                      <a:pt x="1" y="124"/>
                    </a:cubicBezTo>
                    <a:cubicBezTo>
                      <a:pt x="1" y="124"/>
                      <a:pt x="1" y="124"/>
                      <a:pt x="1" y="124"/>
                    </a:cubicBezTo>
                    <a:cubicBezTo>
                      <a:pt x="1" y="124"/>
                      <a:pt x="1" y="124"/>
                      <a:pt x="1" y="124"/>
                    </a:cubicBezTo>
                    <a:cubicBezTo>
                      <a:pt x="1" y="123"/>
                      <a:pt x="1" y="123"/>
                      <a:pt x="1" y="123"/>
                    </a:cubicBezTo>
                    <a:cubicBezTo>
                      <a:pt x="1" y="123"/>
                      <a:pt x="1" y="123"/>
                      <a:pt x="1" y="123"/>
                    </a:cubicBezTo>
                    <a:cubicBezTo>
                      <a:pt x="1" y="122"/>
                      <a:pt x="2" y="121"/>
                      <a:pt x="2" y="120"/>
                    </a:cubicBezTo>
                    <a:cubicBezTo>
                      <a:pt x="2" y="120"/>
                      <a:pt x="2" y="120"/>
                      <a:pt x="2" y="120"/>
                    </a:cubicBezTo>
                    <a:cubicBezTo>
                      <a:pt x="2" y="120"/>
                      <a:pt x="2" y="120"/>
                      <a:pt x="2" y="120"/>
                    </a:cubicBezTo>
                    <a:cubicBezTo>
                      <a:pt x="2" y="120"/>
                      <a:pt x="2" y="120"/>
                      <a:pt x="2" y="120"/>
                    </a:cubicBezTo>
                    <a:cubicBezTo>
                      <a:pt x="2" y="119"/>
                      <a:pt x="3" y="119"/>
                      <a:pt x="3" y="119"/>
                    </a:cubicBezTo>
                    <a:cubicBezTo>
                      <a:pt x="3" y="119"/>
                      <a:pt x="3" y="119"/>
                      <a:pt x="3" y="119"/>
                    </a:cubicBezTo>
                    <a:cubicBezTo>
                      <a:pt x="3" y="119"/>
                      <a:pt x="3" y="118"/>
                      <a:pt x="4" y="118"/>
                    </a:cubicBezTo>
                    <a:cubicBezTo>
                      <a:pt x="4" y="118"/>
                      <a:pt x="4" y="118"/>
                      <a:pt x="4" y="118"/>
                    </a:cubicBezTo>
                    <a:cubicBezTo>
                      <a:pt x="4" y="117"/>
                      <a:pt x="4" y="117"/>
                      <a:pt x="4" y="117"/>
                    </a:cubicBezTo>
                    <a:cubicBezTo>
                      <a:pt x="4" y="117"/>
                      <a:pt x="4" y="117"/>
                      <a:pt x="4" y="117"/>
                    </a:cubicBezTo>
                    <a:cubicBezTo>
                      <a:pt x="5" y="117"/>
                      <a:pt x="5" y="116"/>
                      <a:pt x="5" y="116"/>
                    </a:cubicBezTo>
                    <a:cubicBezTo>
                      <a:pt x="5" y="116"/>
                      <a:pt x="5" y="116"/>
                      <a:pt x="5" y="116"/>
                    </a:cubicBezTo>
                    <a:cubicBezTo>
                      <a:pt x="5" y="116"/>
                      <a:pt x="5" y="116"/>
                      <a:pt x="5" y="116"/>
                    </a:cubicBezTo>
                    <a:cubicBezTo>
                      <a:pt x="5" y="116"/>
                      <a:pt x="5" y="116"/>
                      <a:pt x="5" y="116"/>
                    </a:cubicBezTo>
                    <a:cubicBezTo>
                      <a:pt x="5" y="116"/>
                      <a:pt x="5" y="116"/>
                      <a:pt x="5" y="116"/>
                    </a:cubicBezTo>
                    <a:cubicBezTo>
                      <a:pt x="5" y="116"/>
                      <a:pt x="5" y="116"/>
                      <a:pt x="5" y="116"/>
                    </a:cubicBezTo>
                    <a:cubicBezTo>
                      <a:pt x="5" y="116"/>
                      <a:pt x="5" y="116"/>
                      <a:pt x="5" y="116"/>
                    </a:cubicBezTo>
                    <a:cubicBezTo>
                      <a:pt x="5" y="116"/>
                      <a:pt x="5" y="116"/>
                      <a:pt x="5" y="116"/>
                    </a:cubicBezTo>
                    <a:cubicBezTo>
                      <a:pt x="5" y="116"/>
                      <a:pt x="5" y="116"/>
                      <a:pt x="5" y="116"/>
                    </a:cubicBezTo>
                    <a:cubicBezTo>
                      <a:pt x="5" y="116"/>
                      <a:pt x="5" y="116"/>
                      <a:pt x="5" y="116"/>
                    </a:cubicBezTo>
                    <a:cubicBezTo>
                      <a:pt x="5" y="116"/>
                      <a:pt x="5" y="116"/>
                      <a:pt x="5" y="116"/>
                    </a:cubicBezTo>
                    <a:cubicBezTo>
                      <a:pt x="5" y="116"/>
                      <a:pt x="5" y="116"/>
                      <a:pt x="5" y="116"/>
                    </a:cubicBezTo>
                    <a:cubicBezTo>
                      <a:pt x="5" y="116"/>
                      <a:pt x="5" y="116"/>
                      <a:pt x="5" y="116"/>
                    </a:cubicBezTo>
                    <a:cubicBezTo>
                      <a:pt x="5" y="116"/>
                      <a:pt x="5" y="116"/>
                      <a:pt x="5" y="116"/>
                    </a:cubicBezTo>
                    <a:cubicBezTo>
                      <a:pt x="5" y="116"/>
                      <a:pt x="5" y="116"/>
                      <a:pt x="5" y="116"/>
                    </a:cubicBezTo>
                    <a:cubicBezTo>
                      <a:pt x="5" y="116"/>
                      <a:pt x="5" y="116"/>
                      <a:pt x="5" y="116"/>
                    </a:cubicBezTo>
                    <a:cubicBezTo>
                      <a:pt x="5" y="116"/>
                      <a:pt x="5" y="116"/>
                      <a:pt x="5" y="116"/>
                    </a:cubicBezTo>
                    <a:cubicBezTo>
                      <a:pt x="5" y="116"/>
                      <a:pt x="5" y="116"/>
                      <a:pt x="5" y="116"/>
                    </a:cubicBezTo>
                    <a:cubicBezTo>
                      <a:pt x="5" y="116"/>
                      <a:pt x="5" y="116"/>
                      <a:pt x="5" y="116"/>
                    </a:cubicBezTo>
                    <a:cubicBezTo>
                      <a:pt x="6" y="115"/>
                      <a:pt x="8" y="115"/>
                      <a:pt x="8" y="116"/>
                    </a:cubicBezTo>
                    <a:cubicBezTo>
                      <a:pt x="8" y="116"/>
                      <a:pt x="8" y="116"/>
                      <a:pt x="8" y="116"/>
                    </a:cubicBezTo>
                    <a:cubicBezTo>
                      <a:pt x="9" y="117"/>
                      <a:pt x="9" y="118"/>
                      <a:pt x="8" y="119"/>
                    </a:cubicBezTo>
                    <a:cubicBezTo>
                      <a:pt x="8" y="119"/>
                      <a:pt x="8" y="119"/>
                      <a:pt x="8" y="119"/>
                    </a:cubicBezTo>
                    <a:cubicBezTo>
                      <a:pt x="8" y="119"/>
                      <a:pt x="8" y="119"/>
                      <a:pt x="8" y="119"/>
                    </a:cubicBezTo>
                    <a:cubicBezTo>
                      <a:pt x="8" y="119"/>
                      <a:pt x="8" y="119"/>
                      <a:pt x="8" y="119"/>
                    </a:cubicBezTo>
                    <a:cubicBezTo>
                      <a:pt x="8" y="119"/>
                      <a:pt x="8" y="119"/>
                      <a:pt x="8" y="119"/>
                    </a:cubicBezTo>
                    <a:cubicBezTo>
                      <a:pt x="8" y="119"/>
                      <a:pt x="8" y="119"/>
                      <a:pt x="8" y="119"/>
                    </a:cubicBezTo>
                    <a:cubicBezTo>
                      <a:pt x="8" y="119"/>
                      <a:pt x="8" y="119"/>
                      <a:pt x="8" y="119"/>
                    </a:cubicBezTo>
                    <a:cubicBezTo>
                      <a:pt x="8" y="119"/>
                      <a:pt x="8" y="119"/>
                      <a:pt x="8" y="119"/>
                    </a:cubicBezTo>
                    <a:cubicBezTo>
                      <a:pt x="8" y="119"/>
                      <a:pt x="8" y="119"/>
                      <a:pt x="8" y="119"/>
                    </a:cubicBezTo>
                    <a:cubicBezTo>
                      <a:pt x="8" y="119"/>
                      <a:pt x="8" y="119"/>
                      <a:pt x="8" y="119"/>
                    </a:cubicBezTo>
                    <a:cubicBezTo>
                      <a:pt x="8" y="119"/>
                      <a:pt x="8" y="119"/>
                      <a:pt x="8" y="119"/>
                    </a:cubicBezTo>
                    <a:cubicBezTo>
                      <a:pt x="8" y="119"/>
                      <a:pt x="8" y="119"/>
                      <a:pt x="8" y="119"/>
                    </a:cubicBezTo>
                    <a:cubicBezTo>
                      <a:pt x="8" y="119"/>
                      <a:pt x="7" y="119"/>
                      <a:pt x="7" y="120"/>
                    </a:cubicBezTo>
                    <a:cubicBezTo>
                      <a:pt x="7" y="120"/>
                      <a:pt x="7" y="120"/>
                      <a:pt x="7" y="120"/>
                    </a:cubicBezTo>
                    <a:cubicBezTo>
                      <a:pt x="7" y="120"/>
                      <a:pt x="7" y="120"/>
                      <a:pt x="7" y="120"/>
                    </a:cubicBezTo>
                    <a:cubicBezTo>
                      <a:pt x="7" y="120"/>
                      <a:pt x="7" y="120"/>
                      <a:pt x="7" y="120"/>
                    </a:cubicBezTo>
                    <a:cubicBezTo>
                      <a:pt x="7" y="120"/>
                      <a:pt x="6" y="121"/>
                      <a:pt x="6" y="121"/>
                    </a:cubicBezTo>
                    <a:cubicBezTo>
                      <a:pt x="6" y="121"/>
                      <a:pt x="6" y="121"/>
                      <a:pt x="6" y="121"/>
                    </a:cubicBezTo>
                    <a:cubicBezTo>
                      <a:pt x="6" y="121"/>
                      <a:pt x="6" y="122"/>
                      <a:pt x="6" y="122"/>
                    </a:cubicBezTo>
                    <a:cubicBezTo>
                      <a:pt x="6" y="122"/>
                      <a:pt x="6" y="122"/>
                      <a:pt x="6" y="122"/>
                    </a:cubicBezTo>
                    <a:cubicBezTo>
                      <a:pt x="6" y="122"/>
                      <a:pt x="6" y="122"/>
                      <a:pt x="6" y="122"/>
                    </a:cubicBezTo>
                    <a:cubicBezTo>
                      <a:pt x="6" y="122"/>
                      <a:pt x="6" y="122"/>
                      <a:pt x="6" y="122"/>
                    </a:cubicBezTo>
                    <a:cubicBezTo>
                      <a:pt x="5" y="123"/>
                      <a:pt x="5" y="123"/>
                      <a:pt x="5" y="124"/>
                    </a:cubicBezTo>
                    <a:cubicBezTo>
                      <a:pt x="5" y="124"/>
                      <a:pt x="5" y="124"/>
                      <a:pt x="5" y="124"/>
                    </a:cubicBezTo>
                    <a:cubicBezTo>
                      <a:pt x="5" y="124"/>
                      <a:pt x="5" y="125"/>
                      <a:pt x="5" y="125"/>
                    </a:cubicBezTo>
                    <a:cubicBezTo>
                      <a:pt x="5" y="125"/>
                      <a:pt x="5" y="125"/>
                      <a:pt x="5" y="125"/>
                    </a:cubicBezTo>
                    <a:cubicBezTo>
                      <a:pt x="5" y="125"/>
                      <a:pt x="5" y="125"/>
                      <a:pt x="5" y="125"/>
                    </a:cubicBezTo>
                    <a:cubicBezTo>
                      <a:pt x="5" y="125"/>
                      <a:pt x="5" y="125"/>
                      <a:pt x="5" y="125"/>
                    </a:cubicBezTo>
                    <a:cubicBezTo>
                      <a:pt x="5" y="125"/>
                      <a:pt x="5" y="125"/>
                      <a:pt x="5" y="125"/>
                    </a:cubicBezTo>
                    <a:cubicBezTo>
                      <a:pt x="5" y="125"/>
                      <a:pt x="5" y="125"/>
                      <a:pt x="5" y="125"/>
                    </a:cubicBezTo>
                    <a:cubicBezTo>
                      <a:pt x="5" y="125"/>
                      <a:pt x="5" y="125"/>
                      <a:pt x="5" y="125"/>
                    </a:cubicBezTo>
                    <a:cubicBezTo>
                      <a:pt x="5" y="125"/>
                      <a:pt x="5" y="125"/>
                      <a:pt x="5" y="125"/>
                    </a:cubicBezTo>
                    <a:cubicBezTo>
                      <a:pt x="4" y="125"/>
                      <a:pt x="4" y="126"/>
                      <a:pt x="4" y="126"/>
                    </a:cubicBezTo>
                    <a:cubicBezTo>
                      <a:pt x="4" y="126"/>
                      <a:pt x="4" y="126"/>
                      <a:pt x="4" y="126"/>
                    </a:cubicBezTo>
                    <a:cubicBezTo>
                      <a:pt x="4" y="126"/>
                      <a:pt x="4" y="127"/>
                      <a:pt x="4" y="127"/>
                    </a:cubicBezTo>
                    <a:cubicBezTo>
                      <a:pt x="4" y="127"/>
                      <a:pt x="4" y="127"/>
                      <a:pt x="4" y="127"/>
                    </a:cubicBezTo>
                    <a:cubicBezTo>
                      <a:pt x="4" y="129"/>
                      <a:pt x="3" y="129"/>
                      <a:pt x="2" y="129"/>
                    </a:cubicBezTo>
                    <a:cubicBezTo>
                      <a:pt x="2" y="129"/>
                      <a:pt x="2" y="129"/>
                      <a:pt x="2" y="129"/>
                    </a:cubicBezTo>
                    <a:cubicBezTo>
                      <a:pt x="2" y="129"/>
                      <a:pt x="2" y="129"/>
                      <a:pt x="2" y="129"/>
                    </a:cubicBezTo>
                    <a:close/>
                    <a:moveTo>
                      <a:pt x="199" y="117"/>
                    </a:moveTo>
                    <a:cubicBezTo>
                      <a:pt x="199" y="115"/>
                      <a:pt x="199" y="115"/>
                      <a:pt x="199" y="115"/>
                    </a:cubicBezTo>
                    <a:cubicBezTo>
                      <a:pt x="199" y="113"/>
                      <a:pt x="198" y="111"/>
                      <a:pt x="196" y="110"/>
                    </a:cubicBezTo>
                    <a:cubicBezTo>
                      <a:pt x="196" y="110"/>
                      <a:pt x="196" y="110"/>
                      <a:pt x="196" y="110"/>
                    </a:cubicBezTo>
                    <a:cubicBezTo>
                      <a:pt x="195" y="109"/>
                      <a:pt x="195" y="109"/>
                      <a:pt x="195" y="109"/>
                    </a:cubicBezTo>
                    <a:cubicBezTo>
                      <a:pt x="194" y="108"/>
                      <a:pt x="194" y="107"/>
                      <a:pt x="194" y="106"/>
                    </a:cubicBezTo>
                    <a:cubicBezTo>
                      <a:pt x="194" y="106"/>
                      <a:pt x="194" y="106"/>
                      <a:pt x="194" y="106"/>
                    </a:cubicBezTo>
                    <a:cubicBezTo>
                      <a:pt x="195" y="105"/>
                      <a:pt x="196" y="105"/>
                      <a:pt x="197" y="105"/>
                    </a:cubicBezTo>
                    <a:cubicBezTo>
                      <a:pt x="197" y="105"/>
                      <a:pt x="197" y="105"/>
                      <a:pt x="197" y="105"/>
                    </a:cubicBezTo>
                    <a:cubicBezTo>
                      <a:pt x="198" y="106"/>
                      <a:pt x="198" y="106"/>
                      <a:pt x="198" y="106"/>
                    </a:cubicBezTo>
                    <a:cubicBezTo>
                      <a:pt x="202" y="108"/>
                      <a:pt x="203" y="111"/>
                      <a:pt x="203" y="115"/>
                    </a:cubicBezTo>
                    <a:cubicBezTo>
                      <a:pt x="203" y="115"/>
                      <a:pt x="203" y="115"/>
                      <a:pt x="203" y="115"/>
                    </a:cubicBezTo>
                    <a:cubicBezTo>
                      <a:pt x="203" y="117"/>
                      <a:pt x="203" y="117"/>
                      <a:pt x="203" y="117"/>
                    </a:cubicBezTo>
                    <a:cubicBezTo>
                      <a:pt x="203" y="118"/>
                      <a:pt x="203" y="119"/>
                      <a:pt x="201" y="119"/>
                    </a:cubicBezTo>
                    <a:cubicBezTo>
                      <a:pt x="201" y="119"/>
                      <a:pt x="201" y="119"/>
                      <a:pt x="201" y="119"/>
                    </a:cubicBezTo>
                    <a:cubicBezTo>
                      <a:pt x="200" y="119"/>
                      <a:pt x="199" y="118"/>
                      <a:pt x="199" y="117"/>
                    </a:cubicBezTo>
                    <a:close/>
                    <a:moveTo>
                      <a:pt x="10" y="108"/>
                    </a:moveTo>
                    <a:cubicBezTo>
                      <a:pt x="10" y="108"/>
                      <a:pt x="10" y="106"/>
                      <a:pt x="11" y="106"/>
                    </a:cubicBezTo>
                    <a:cubicBezTo>
                      <a:pt x="11" y="106"/>
                      <a:pt x="11" y="106"/>
                      <a:pt x="11" y="106"/>
                    </a:cubicBezTo>
                    <a:cubicBezTo>
                      <a:pt x="11" y="105"/>
                      <a:pt x="12" y="105"/>
                      <a:pt x="13" y="104"/>
                    </a:cubicBezTo>
                    <a:cubicBezTo>
                      <a:pt x="13" y="104"/>
                      <a:pt x="13" y="104"/>
                      <a:pt x="13" y="104"/>
                    </a:cubicBezTo>
                    <a:cubicBezTo>
                      <a:pt x="13" y="104"/>
                      <a:pt x="13" y="104"/>
                      <a:pt x="12" y="104"/>
                    </a:cubicBezTo>
                    <a:cubicBezTo>
                      <a:pt x="12" y="104"/>
                      <a:pt x="12" y="104"/>
                      <a:pt x="12" y="104"/>
                    </a:cubicBezTo>
                    <a:cubicBezTo>
                      <a:pt x="11" y="104"/>
                      <a:pt x="11" y="103"/>
                      <a:pt x="11" y="102"/>
                    </a:cubicBezTo>
                    <a:cubicBezTo>
                      <a:pt x="11" y="102"/>
                      <a:pt x="11" y="102"/>
                      <a:pt x="11" y="102"/>
                    </a:cubicBezTo>
                    <a:cubicBezTo>
                      <a:pt x="11" y="100"/>
                      <a:pt x="12" y="100"/>
                      <a:pt x="13" y="100"/>
                    </a:cubicBezTo>
                    <a:cubicBezTo>
                      <a:pt x="13" y="100"/>
                      <a:pt x="13" y="100"/>
                      <a:pt x="13" y="100"/>
                    </a:cubicBezTo>
                    <a:cubicBezTo>
                      <a:pt x="14" y="100"/>
                      <a:pt x="15" y="100"/>
                      <a:pt x="16" y="100"/>
                    </a:cubicBezTo>
                    <a:cubicBezTo>
                      <a:pt x="16" y="100"/>
                      <a:pt x="16" y="100"/>
                      <a:pt x="16" y="100"/>
                    </a:cubicBezTo>
                    <a:cubicBezTo>
                      <a:pt x="18" y="100"/>
                      <a:pt x="18" y="102"/>
                      <a:pt x="19" y="102"/>
                    </a:cubicBezTo>
                    <a:cubicBezTo>
                      <a:pt x="19" y="102"/>
                      <a:pt x="19" y="102"/>
                      <a:pt x="19" y="102"/>
                    </a:cubicBezTo>
                    <a:cubicBezTo>
                      <a:pt x="19" y="103"/>
                      <a:pt x="19" y="104"/>
                      <a:pt x="19" y="105"/>
                    </a:cubicBezTo>
                    <a:cubicBezTo>
                      <a:pt x="19" y="105"/>
                      <a:pt x="19" y="105"/>
                      <a:pt x="19" y="105"/>
                    </a:cubicBezTo>
                    <a:cubicBezTo>
                      <a:pt x="19" y="105"/>
                      <a:pt x="19" y="106"/>
                      <a:pt x="19" y="106"/>
                    </a:cubicBezTo>
                    <a:cubicBezTo>
                      <a:pt x="19" y="106"/>
                      <a:pt x="19" y="106"/>
                      <a:pt x="19" y="106"/>
                    </a:cubicBezTo>
                    <a:cubicBezTo>
                      <a:pt x="18" y="106"/>
                      <a:pt x="18" y="107"/>
                      <a:pt x="17" y="108"/>
                    </a:cubicBezTo>
                    <a:cubicBezTo>
                      <a:pt x="17" y="108"/>
                      <a:pt x="17" y="108"/>
                      <a:pt x="17" y="108"/>
                    </a:cubicBezTo>
                    <a:cubicBezTo>
                      <a:pt x="15" y="108"/>
                      <a:pt x="14" y="108"/>
                      <a:pt x="13" y="109"/>
                    </a:cubicBezTo>
                    <a:cubicBezTo>
                      <a:pt x="13" y="109"/>
                      <a:pt x="13" y="109"/>
                      <a:pt x="13" y="109"/>
                    </a:cubicBezTo>
                    <a:cubicBezTo>
                      <a:pt x="13" y="109"/>
                      <a:pt x="12" y="109"/>
                      <a:pt x="12" y="109"/>
                    </a:cubicBezTo>
                    <a:cubicBezTo>
                      <a:pt x="12" y="109"/>
                      <a:pt x="12" y="109"/>
                      <a:pt x="12" y="109"/>
                    </a:cubicBezTo>
                    <a:cubicBezTo>
                      <a:pt x="11" y="109"/>
                      <a:pt x="11" y="109"/>
                      <a:pt x="10" y="108"/>
                    </a:cubicBezTo>
                    <a:close/>
                    <a:moveTo>
                      <a:pt x="185" y="103"/>
                    </a:moveTo>
                    <a:cubicBezTo>
                      <a:pt x="184" y="102"/>
                      <a:pt x="184" y="102"/>
                      <a:pt x="184" y="102"/>
                    </a:cubicBezTo>
                    <a:cubicBezTo>
                      <a:pt x="183" y="102"/>
                      <a:pt x="183" y="101"/>
                      <a:pt x="183" y="101"/>
                    </a:cubicBezTo>
                    <a:cubicBezTo>
                      <a:pt x="183" y="101"/>
                      <a:pt x="183" y="101"/>
                      <a:pt x="183" y="101"/>
                    </a:cubicBezTo>
                    <a:cubicBezTo>
                      <a:pt x="183" y="100"/>
                      <a:pt x="183" y="99"/>
                      <a:pt x="184" y="99"/>
                    </a:cubicBezTo>
                    <a:cubicBezTo>
                      <a:pt x="184" y="99"/>
                      <a:pt x="184" y="99"/>
                      <a:pt x="184" y="99"/>
                    </a:cubicBezTo>
                    <a:cubicBezTo>
                      <a:pt x="193" y="93"/>
                      <a:pt x="193" y="93"/>
                      <a:pt x="193" y="93"/>
                    </a:cubicBezTo>
                    <a:cubicBezTo>
                      <a:pt x="194" y="93"/>
                      <a:pt x="196" y="93"/>
                      <a:pt x="196" y="94"/>
                    </a:cubicBezTo>
                    <a:cubicBezTo>
                      <a:pt x="196" y="94"/>
                      <a:pt x="196" y="94"/>
                      <a:pt x="196" y="94"/>
                    </a:cubicBezTo>
                    <a:cubicBezTo>
                      <a:pt x="197" y="95"/>
                      <a:pt x="196" y="96"/>
                      <a:pt x="195" y="97"/>
                    </a:cubicBezTo>
                    <a:cubicBezTo>
                      <a:pt x="195" y="97"/>
                      <a:pt x="195" y="97"/>
                      <a:pt x="195" y="97"/>
                    </a:cubicBezTo>
                    <a:cubicBezTo>
                      <a:pt x="188" y="101"/>
                      <a:pt x="188" y="101"/>
                      <a:pt x="188" y="101"/>
                    </a:cubicBezTo>
                    <a:cubicBezTo>
                      <a:pt x="187" y="102"/>
                      <a:pt x="187" y="102"/>
                      <a:pt x="187" y="102"/>
                    </a:cubicBezTo>
                    <a:cubicBezTo>
                      <a:pt x="187" y="102"/>
                      <a:pt x="187" y="102"/>
                      <a:pt x="187" y="102"/>
                    </a:cubicBezTo>
                    <a:cubicBezTo>
                      <a:pt x="187" y="103"/>
                      <a:pt x="186" y="103"/>
                      <a:pt x="186" y="103"/>
                    </a:cubicBezTo>
                    <a:cubicBezTo>
                      <a:pt x="186" y="103"/>
                      <a:pt x="186" y="103"/>
                      <a:pt x="186" y="103"/>
                    </a:cubicBezTo>
                    <a:cubicBezTo>
                      <a:pt x="185" y="103"/>
                      <a:pt x="185" y="103"/>
                      <a:pt x="185" y="103"/>
                    </a:cubicBezTo>
                    <a:close/>
                    <a:moveTo>
                      <a:pt x="2" y="96"/>
                    </a:moveTo>
                    <a:cubicBezTo>
                      <a:pt x="2" y="96"/>
                      <a:pt x="2" y="96"/>
                      <a:pt x="2" y="96"/>
                    </a:cubicBezTo>
                    <a:cubicBezTo>
                      <a:pt x="2" y="96"/>
                      <a:pt x="2" y="96"/>
                      <a:pt x="2" y="96"/>
                    </a:cubicBezTo>
                    <a:cubicBezTo>
                      <a:pt x="2" y="95"/>
                      <a:pt x="2" y="95"/>
                      <a:pt x="1" y="95"/>
                    </a:cubicBezTo>
                    <a:cubicBezTo>
                      <a:pt x="1" y="95"/>
                      <a:pt x="1" y="95"/>
                      <a:pt x="1" y="95"/>
                    </a:cubicBezTo>
                    <a:cubicBezTo>
                      <a:pt x="1" y="94"/>
                      <a:pt x="1" y="94"/>
                      <a:pt x="1" y="94"/>
                    </a:cubicBezTo>
                    <a:cubicBezTo>
                      <a:pt x="1" y="94"/>
                      <a:pt x="1" y="93"/>
                      <a:pt x="1" y="93"/>
                    </a:cubicBezTo>
                    <a:cubicBezTo>
                      <a:pt x="1" y="93"/>
                      <a:pt x="1" y="93"/>
                      <a:pt x="1" y="93"/>
                    </a:cubicBezTo>
                    <a:cubicBezTo>
                      <a:pt x="1" y="92"/>
                      <a:pt x="0" y="91"/>
                      <a:pt x="0" y="91"/>
                    </a:cubicBezTo>
                    <a:cubicBezTo>
                      <a:pt x="0" y="91"/>
                      <a:pt x="0" y="91"/>
                      <a:pt x="0" y="91"/>
                    </a:cubicBezTo>
                    <a:cubicBezTo>
                      <a:pt x="0" y="90"/>
                      <a:pt x="0" y="90"/>
                      <a:pt x="0" y="90"/>
                    </a:cubicBezTo>
                    <a:cubicBezTo>
                      <a:pt x="0" y="90"/>
                      <a:pt x="0" y="90"/>
                      <a:pt x="0" y="90"/>
                    </a:cubicBezTo>
                    <a:cubicBezTo>
                      <a:pt x="0" y="90"/>
                      <a:pt x="0" y="89"/>
                      <a:pt x="0" y="89"/>
                    </a:cubicBezTo>
                    <a:cubicBezTo>
                      <a:pt x="0" y="89"/>
                      <a:pt x="0" y="89"/>
                      <a:pt x="0" y="89"/>
                    </a:cubicBezTo>
                    <a:cubicBezTo>
                      <a:pt x="0" y="83"/>
                      <a:pt x="0" y="83"/>
                      <a:pt x="0" y="83"/>
                    </a:cubicBezTo>
                    <a:cubicBezTo>
                      <a:pt x="0" y="82"/>
                      <a:pt x="1" y="81"/>
                      <a:pt x="2" y="81"/>
                    </a:cubicBezTo>
                    <a:cubicBezTo>
                      <a:pt x="2" y="81"/>
                      <a:pt x="2" y="81"/>
                      <a:pt x="2" y="81"/>
                    </a:cubicBezTo>
                    <a:cubicBezTo>
                      <a:pt x="3" y="81"/>
                      <a:pt x="4" y="82"/>
                      <a:pt x="4" y="83"/>
                    </a:cubicBezTo>
                    <a:cubicBezTo>
                      <a:pt x="4" y="83"/>
                      <a:pt x="4" y="83"/>
                      <a:pt x="4" y="83"/>
                    </a:cubicBezTo>
                    <a:cubicBezTo>
                      <a:pt x="4" y="89"/>
                      <a:pt x="4" y="89"/>
                      <a:pt x="4" y="89"/>
                    </a:cubicBezTo>
                    <a:cubicBezTo>
                      <a:pt x="4" y="89"/>
                      <a:pt x="4" y="89"/>
                      <a:pt x="4" y="90"/>
                    </a:cubicBezTo>
                    <a:cubicBezTo>
                      <a:pt x="4" y="90"/>
                      <a:pt x="4" y="90"/>
                      <a:pt x="4" y="90"/>
                    </a:cubicBezTo>
                    <a:cubicBezTo>
                      <a:pt x="4" y="90"/>
                      <a:pt x="4" y="90"/>
                      <a:pt x="4" y="90"/>
                    </a:cubicBezTo>
                    <a:cubicBezTo>
                      <a:pt x="4" y="90"/>
                      <a:pt x="4" y="90"/>
                      <a:pt x="4" y="90"/>
                    </a:cubicBezTo>
                    <a:cubicBezTo>
                      <a:pt x="4" y="91"/>
                      <a:pt x="4" y="91"/>
                      <a:pt x="5" y="92"/>
                    </a:cubicBezTo>
                    <a:cubicBezTo>
                      <a:pt x="5" y="92"/>
                      <a:pt x="5" y="92"/>
                      <a:pt x="5" y="92"/>
                    </a:cubicBezTo>
                    <a:cubicBezTo>
                      <a:pt x="5" y="92"/>
                      <a:pt x="5" y="92"/>
                      <a:pt x="5" y="93"/>
                    </a:cubicBezTo>
                    <a:cubicBezTo>
                      <a:pt x="5" y="93"/>
                      <a:pt x="5" y="93"/>
                      <a:pt x="5" y="93"/>
                    </a:cubicBezTo>
                    <a:cubicBezTo>
                      <a:pt x="5" y="93"/>
                      <a:pt x="5" y="93"/>
                      <a:pt x="5" y="93"/>
                    </a:cubicBezTo>
                    <a:cubicBezTo>
                      <a:pt x="5" y="93"/>
                      <a:pt x="5" y="94"/>
                      <a:pt x="5" y="94"/>
                    </a:cubicBezTo>
                    <a:cubicBezTo>
                      <a:pt x="5" y="94"/>
                      <a:pt x="5" y="94"/>
                      <a:pt x="5" y="94"/>
                    </a:cubicBezTo>
                    <a:cubicBezTo>
                      <a:pt x="5" y="94"/>
                      <a:pt x="5" y="94"/>
                      <a:pt x="5" y="94"/>
                    </a:cubicBezTo>
                    <a:cubicBezTo>
                      <a:pt x="5" y="94"/>
                      <a:pt x="5" y="94"/>
                      <a:pt x="5" y="94"/>
                    </a:cubicBezTo>
                    <a:cubicBezTo>
                      <a:pt x="6" y="95"/>
                      <a:pt x="6" y="96"/>
                      <a:pt x="5" y="97"/>
                    </a:cubicBezTo>
                    <a:cubicBezTo>
                      <a:pt x="5" y="97"/>
                      <a:pt x="5" y="97"/>
                      <a:pt x="5" y="97"/>
                    </a:cubicBezTo>
                    <a:cubicBezTo>
                      <a:pt x="4" y="97"/>
                      <a:pt x="4" y="97"/>
                      <a:pt x="4" y="97"/>
                    </a:cubicBezTo>
                    <a:cubicBezTo>
                      <a:pt x="4" y="97"/>
                      <a:pt x="4" y="97"/>
                      <a:pt x="4" y="97"/>
                    </a:cubicBezTo>
                    <a:cubicBezTo>
                      <a:pt x="3" y="97"/>
                      <a:pt x="2" y="96"/>
                      <a:pt x="2" y="96"/>
                    </a:cubicBezTo>
                    <a:close/>
                    <a:moveTo>
                      <a:pt x="199" y="86"/>
                    </a:moveTo>
                    <a:cubicBezTo>
                      <a:pt x="199" y="74"/>
                      <a:pt x="199" y="74"/>
                      <a:pt x="199" y="74"/>
                    </a:cubicBezTo>
                    <a:cubicBezTo>
                      <a:pt x="199" y="73"/>
                      <a:pt x="200" y="72"/>
                      <a:pt x="201" y="72"/>
                    </a:cubicBezTo>
                    <a:cubicBezTo>
                      <a:pt x="201" y="72"/>
                      <a:pt x="201" y="72"/>
                      <a:pt x="201" y="72"/>
                    </a:cubicBezTo>
                    <a:cubicBezTo>
                      <a:pt x="203" y="72"/>
                      <a:pt x="203" y="73"/>
                      <a:pt x="203" y="74"/>
                    </a:cubicBezTo>
                    <a:cubicBezTo>
                      <a:pt x="203" y="74"/>
                      <a:pt x="203" y="74"/>
                      <a:pt x="203" y="74"/>
                    </a:cubicBezTo>
                    <a:cubicBezTo>
                      <a:pt x="203" y="86"/>
                      <a:pt x="203" y="86"/>
                      <a:pt x="203" y="86"/>
                    </a:cubicBezTo>
                    <a:cubicBezTo>
                      <a:pt x="203" y="87"/>
                      <a:pt x="203" y="88"/>
                      <a:pt x="201" y="88"/>
                    </a:cubicBezTo>
                    <a:cubicBezTo>
                      <a:pt x="201" y="88"/>
                      <a:pt x="201" y="88"/>
                      <a:pt x="201" y="88"/>
                    </a:cubicBezTo>
                    <a:cubicBezTo>
                      <a:pt x="200" y="88"/>
                      <a:pt x="199" y="87"/>
                      <a:pt x="199" y="86"/>
                    </a:cubicBezTo>
                    <a:close/>
                    <a:moveTo>
                      <a:pt x="0" y="71"/>
                    </a:moveTo>
                    <a:cubicBezTo>
                      <a:pt x="0" y="69"/>
                      <a:pt x="0" y="69"/>
                      <a:pt x="0" y="69"/>
                    </a:cubicBezTo>
                    <a:cubicBezTo>
                      <a:pt x="0" y="68"/>
                      <a:pt x="0" y="67"/>
                      <a:pt x="0" y="66"/>
                    </a:cubicBezTo>
                    <a:cubicBezTo>
                      <a:pt x="0" y="66"/>
                      <a:pt x="0" y="66"/>
                      <a:pt x="0" y="66"/>
                    </a:cubicBezTo>
                    <a:cubicBezTo>
                      <a:pt x="0" y="66"/>
                      <a:pt x="1" y="66"/>
                      <a:pt x="1" y="65"/>
                    </a:cubicBezTo>
                    <a:cubicBezTo>
                      <a:pt x="1" y="65"/>
                      <a:pt x="1" y="65"/>
                      <a:pt x="1" y="65"/>
                    </a:cubicBezTo>
                    <a:cubicBezTo>
                      <a:pt x="1" y="65"/>
                      <a:pt x="1" y="65"/>
                      <a:pt x="1" y="65"/>
                    </a:cubicBezTo>
                    <a:cubicBezTo>
                      <a:pt x="1" y="65"/>
                      <a:pt x="1" y="65"/>
                      <a:pt x="1" y="65"/>
                    </a:cubicBezTo>
                    <a:cubicBezTo>
                      <a:pt x="1" y="65"/>
                      <a:pt x="1" y="65"/>
                      <a:pt x="1" y="65"/>
                    </a:cubicBezTo>
                    <a:cubicBezTo>
                      <a:pt x="1" y="65"/>
                      <a:pt x="1" y="65"/>
                      <a:pt x="1" y="65"/>
                    </a:cubicBezTo>
                    <a:cubicBezTo>
                      <a:pt x="1" y="65"/>
                      <a:pt x="1" y="65"/>
                      <a:pt x="1" y="65"/>
                    </a:cubicBezTo>
                    <a:cubicBezTo>
                      <a:pt x="1" y="65"/>
                      <a:pt x="1" y="65"/>
                      <a:pt x="1" y="65"/>
                    </a:cubicBezTo>
                    <a:cubicBezTo>
                      <a:pt x="1" y="65"/>
                      <a:pt x="1" y="64"/>
                      <a:pt x="1" y="64"/>
                    </a:cubicBezTo>
                    <a:cubicBezTo>
                      <a:pt x="1" y="64"/>
                      <a:pt x="1" y="64"/>
                      <a:pt x="1" y="64"/>
                    </a:cubicBezTo>
                    <a:cubicBezTo>
                      <a:pt x="1" y="63"/>
                      <a:pt x="2" y="62"/>
                      <a:pt x="2" y="62"/>
                    </a:cubicBezTo>
                    <a:cubicBezTo>
                      <a:pt x="2" y="62"/>
                      <a:pt x="2" y="62"/>
                      <a:pt x="2" y="62"/>
                    </a:cubicBezTo>
                    <a:cubicBezTo>
                      <a:pt x="2" y="61"/>
                      <a:pt x="3" y="61"/>
                      <a:pt x="3" y="60"/>
                    </a:cubicBezTo>
                    <a:cubicBezTo>
                      <a:pt x="3" y="60"/>
                      <a:pt x="3" y="60"/>
                      <a:pt x="3" y="60"/>
                    </a:cubicBezTo>
                    <a:cubicBezTo>
                      <a:pt x="3" y="60"/>
                      <a:pt x="3" y="60"/>
                      <a:pt x="3" y="59"/>
                    </a:cubicBezTo>
                    <a:cubicBezTo>
                      <a:pt x="3" y="59"/>
                      <a:pt x="3" y="59"/>
                      <a:pt x="3" y="59"/>
                    </a:cubicBezTo>
                    <a:cubicBezTo>
                      <a:pt x="4" y="59"/>
                      <a:pt x="4" y="59"/>
                      <a:pt x="4" y="59"/>
                    </a:cubicBezTo>
                    <a:cubicBezTo>
                      <a:pt x="4" y="59"/>
                      <a:pt x="4" y="59"/>
                      <a:pt x="4" y="59"/>
                    </a:cubicBezTo>
                    <a:cubicBezTo>
                      <a:pt x="4" y="58"/>
                      <a:pt x="6" y="58"/>
                      <a:pt x="7" y="59"/>
                    </a:cubicBezTo>
                    <a:cubicBezTo>
                      <a:pt x="7" y="59"/>
                      <a:pt x="7" y="59"/>
                      <a:pt x="7" y="59"/>
                    </a:cubicBezTo>
                    <a:cubicBezTo>
                      <a:pt x="7" y="59"/>
                      <a:pt x="8" y="61"/>
                      <a:pt x="7" y="61"/>
                    </a:cubicBezTo>
                    <a:cubicBezTo>
                      <a:pt x="7" y="61"/>
                      <a:pt x="7" y="61"/>
                      <a:pt x="7" y="61"/>
                    </a:cubicBezTo>
                    <a:cubicBezTo>
                      <a:pt x="7" y="61"/>
                      <a:pt x="7" y="62"/>
                      <a:pt x="7" y="62"/>
                    </a:cubicBezTo>
                    <a:cubicBezTo>
                      <a:pt x="7" y="62"/>
                      <a:pt x="7" y="62"/>
                      <a:pt x="7" y="62"/>
                    </a:cubicBezTo>
                    <a:cubicBezTo>
                      <a:pt x="6" y="62"/>
                      <a:pt x="6" y="62"/>
                      <a:pt x="6" y="62"/>
                    </a:cubicBezTo>
                    <a:cubicBezTo>
                      <a:pt x="6" y="62"/>
                      <a:pt x="6" y="62"/>
                      <a:pt x="6" y="62"/>
                    </a:cubicBezTo>
                    <a:cubicBezTo>
                      <a:pt x="6" y="62"/>
                      <a:pt x="6" y="62"/>
                      <a:pt x="6" y="62"/>
                    </a:cubicBezTo>
                    <a:cubicBezTo>
                      <a:pt x="6" y="62"/>
                      <a:pt x="6" y="62"/>
                      <a:pt x="6" y="62"/>
                    </a:cubicBezTo>
                    <a:cubicBezTo>
                      <a:pt x="6" y="62"/>
                      <a:pt x="6" y="62"/>
                      <a:pt x="6" y="62"/>
                    </a:cubicBezTo>
                    <a:cubicBezTo>
                      <a:pt x="6" y="62"/>
                      <a:pt x="6" y="63"/>
                      <a:pt x="6" y="63"/>
                    </a:cubicBezTo>
                    <a:cubicBezTo>
                      <a:pt x="6" y="63"/>
                      <a:pt x="6" y="63"/>
                      <a:pt x="6" y="63"/>
                    </a:cubicBezTo>
                    <a:cubicBezTo>
                      <a:pt x="5" y="64"/>
                      <a:pt x="5" y="64"/>
                      <a:pt x="5" y="65"/>
                    </a:cubicBezTo>
                    <a:cubicBezTo>
                      <a:pt x="5" y="65"/>
                      <a:pt x="5" y="65"/>
                      <a:pt x="5" y="65"/>
                    </a:cubicBezTo>
                    <a:cubicBezTo>
                      <a:pt x="5" y="65"/>
                      <a:pt x="5" y="66"/>
                      <a:pt x="5" y="66"/>
                    </a:cubicBezTo>
                    <a:cubicBezTo>
                      <a:pt x="5" y="66"/>
                      <a:pt x="5" y="66"/>
                      <a:pt x="5" y="66"/>
                    </a:cubicBezTo>
                    <a:cubicBezTo>
                      <a:pt x="5" y="66"/>
                      <a:pt x="5" y="66"/>
                      <a:pt x="5" y="66"/>
                    </a:cubicBezTo>
                    <a:cubicBezTo>
                      <a:pt x="5" y="66"/>
                      <a:pt x="5" y="66"/>
                      <a:pt x="5" y="66"/>
                    </a:cubicBezTo>
                    <a:cubicBezTo>
                      <a:pt x="4" y="67"/>
                      <a:pt x="4" y="67"/>
                      <a:pt x="4" y="67"/>
                    </a:cubicBezTo>
                    <a:cubicBezTo>
                      <a:pt x="4" y="67"/>
                      <a:pt x="4" y="67"/>
                      <a:pt x="4" y="67"/>
                    </a:cubicBezTo>
                    <a:cubicBezTo>
                      <a:pt x="4" y="68"/>
                      <a:pt x="4" y="68"/>
                      <a:pt x="4" y="69"/>
                    </a:cubicBezTo>
                    <a:cubicBezTo>
                      <a:pt x="4" y="69"/>
                      <a:pt x="4" y="69"/>
                      <a:pt x="4" y="69"/>
                    </a:cubicBezTo>
                    <a:cubicBezTo>
                      <a:pt x="4" y="71"/>
                      <a:pt x="4" y="71"/>
                      <a:pt x="4" y="71"/>
                    </a:cubicBezTo>
                    <a:cubicBezTo>
                      <a:pt x="4" y="72"/>
                      <a:pt x="3" y="73"/>
                      <a:pt x="2" y="73"/>
                    </a:cubicBezTo>
                    <a:cubicBezTo>
                      <a:pt x="2" y="73"/>
                      <a:pt x="2" y="73"/>
                      <a:pt x="2" y="73"/>
                    </a:cubicBezTo>
                    <a:cubicBezTo>
                      <a:pt x="1" y="73"/>
                      <a:pt x="0" y="72"/>
                      <a:pt x="0" y="71"/>
                    </a:cubicBezTo>
                    <a:close/>
                    <a:moveTo>
                      <a:pt x="199" y="62"/>
                    </a:moveTo>
                    <a:cubicBezTo>
                      <a:pt x="199" y="56"/>
                      <a:pt x="199" y="56"/>
                      <a:pt x="199" y="56"/>
                    </a:cubicBezTo>
                    <a:cubicBezTo>
                      <a:pt x="199" y="55"/>
                      <a:pt x="199" y="53"/>
                      <a:pt x="198" y="52"/>
                    </a:cubicBezTo>
                    <a:cubicBezTo>
                      <a:pt x="198" y="52"/>
                      <a:pt x="198" y="52"/>
                      <a:pt x="198" y="52"/>
                    </a:cubicBezTo>
                    <a:cubicBezTo>
                      <a:pt x="198" y="52"/>
                      <a:pt x="198" y="52"/>
                      <a:pt x="198" y="52"/>
                    </a:cubicBezTo>
                    <a:cubicBezTo>
                      <a:pt x="197" y="51"/>
                      <a:pt x="197" y="50"/>
                      <a:pt x="198" y="49"/>
                    </a:cubicBezTo>
                    <a:cubicBezTo>
                      <a:pt x="198" y="49"/>
                      <a:pt x="198" y="49"/>
                      <a:pt x="198" y="49"/>
                    </a:cubicBezTo>
                    <a:cubicBezTo>
                      <a:pt x="199" y="49"/>
                      <a:pt x="200" y="49"/>
                      <a:pt x="201" y="50"/>
                    </a:cubicBezTo>
                    <a:cubicBezTo>
                      <a:pt x="201" y="50"/>
                      <a:pt x="201" y="50"/>
                      <a:pt x="201" y="50"/>
                    </a:cubicBezTo>
                    <a:cubicBezTo>
                      <a:pt x="202" y="51"/>
                      <a:pt x="203" y="54"/>
                      <a:pt x="203" y="56"/>
                    </a:cubicBezTo>
                    <a:cubicBezTo>
                      <a:pt x="203" y="56"/>
                      <a:pt x="203" y="56"/>
                      <a:pt x="203" y="56"/>
                    </a:cubicBezTo>
                    <a:cubicBezTo>
                      <a:pt x="203" y="62"/>
                      <a:pt x="203" y="62"/>
                      <a:pt x="203" y="62"/>
                    </a:cubicBezTo>
                    <a:cubicBezTo>
                      <a:pt x="203" y="63"/>
                      <a:pt x="203" y="64"/>
                      <a:pt x="201" y="64"/>
                    </a:cubicBezTo>
                    <a:cubicBezTo>
                      <a:pt x="201" y="64"/>
                      <a:pt x="201" y="64"/>
                      <a:pt x="201" y="64"/>
                    </a:cubicBezTo>
                    <a:cubicBezTo>
                      <a:pt x="200" y="64"/>
                      <a:pt x="199" y="63"/>
                      <a:pt x="199" y="62"/>
                    </a:cubicBezTo>
                    <a:close/>
                    <a:moveTo>
                      <a:pt x="6" y="62"/>
                    </a:moveTo>
                    <a:cubicBezTo>
                      <a:pt x="6" y="62"/>
                      <a:pt x="6" y="62"/>
                      <a:pt x="6" y="62"/>
                    </a:cubicBezTo>
                    <a:cubicBezTo>
                      <a:pt x="6" y="62"/>
                      <a:pt x="6" y="62"/>
                      <a:pt x="6" y="62"/>
                    </a:cubicBezTo>
                    <a:close/>
                    <a:moveTo>
                      <a:pt x="9" y="52"/>
                    </a:moveTo>
                    <a:cubicBezTo>
                      <a:pt x="8" y="51"/>
                      <a:pt x="8" y="50"/>
                      <a:pt x="9" y="49"/>
                    </a:cubicBezTo>
                    <a:cubicBezTo>
                      <a:pt x="9" y="49"/>
                      <a:pt x="9" y="49"/>
                      <a:pt x="9" y="49"/>
                    </a:cubicBezTo>
                    <a:cubicBezTo>
                      <a:pt x="9" y="48"/>
                      <a:pt x="9" y="48"/>
                      <a:pt x="10" y="47"/>
                    </a:cubicBezTo>
                    <a:cubicBezTo>
                      <a:pt x="10" y="47"/>
                      <a:pt x="10" y="47"/>
                      <a:pt x="10" y="47"/>
                    </a:cubicBezTo>
                    <a:cubicBezTo>
                      <a:pt x="12" y="46"/>
                      <a:pt x="14" y="45"/>
                      <a:pt x="17" y="45"/>
                    </a:cubicBezTo>
                    <a:cubicBezTo>
                      <a:pt x="17" y="45"/>
                      <a:pt x="17" y="45"/>
                      <a:pt x="17" y="45"/>
                    </a:cubicBezTo>
                    <a:cubicBezTo>
                      <a:pt x="17" y="45"/>
                      <a:pt x="17" y="45"/>
                      <a:pt x="18" y="45"/>
                    </a:cubicBezTo>
                    <a:cubicBezTo>
                      <a:pt x="18" y="45"/>
                      <a:pt x="18" y="45"/>
                      <a:pt x="18" y="45"/>
                    </a:cubicBezTo>
                    <a:cubicBezTo>
                      <a:pt x="21" y="45"/>
                      <a:pt x="21" y="45"/>
                      <a:pt x="21" y="45"/>
                    </a:cubicBezTo>
                    <a:cubicBezTo>
                      <a:pt x="23" y="45"/>
                      <a:pt x="23" y="46"/>
                      <a:pt x="23" y="47"/>
                    </a:cubicBezTo>
                    <a:cubicBezTo>
                      <a:pt x="23" y="47"/>
                      <a:pt x="23" y="47"/>
                      <a:pt x="23" y="47"/>
                    </a:cubicBezTo>
                    <a:cubicBezTo>
                      <a:pt x="23" y="49"/>
                      <a:pt x="22" y="49"/>
                      <a:pt x="21" y="49"/>
                    </a:cubicBezTo>
                    <a:cubicBezTo>
                      <a:pt x="21" y="49"/>
                      <a:pt x="21" y="49"/>
                      <a:pt x="21" y="49"/>
                    </a:cubicBezTo>
                    <a:cubicBezTo>
                      <a:pt x="17" y="49"/>
                      <a:pt x="17" y="49"/>
                      <a:pt x="17" y="49"/>
                    </a:cubicBezTo>
                    <a:cubicBezTo>
                      <a:pt x="17" y="49"/>
                      <a:pt x="17" y="49"/>
                      <a:pt x="17" y="49"/>
                    </a:cubicBezTo>
                    <a:cubicBezTo>
                      <a:pt x="17" y="49"/>
                      <a:pt x="17" y="49"/>
                      <a:pt x="17" y="49"/>
                    </a:cubicBezTo>
                    <a:cubicBezTo>
                      <a:pt x="15" y="49"/>
                      <a:pt x="14" y="49"/>
                      <a:pt x="13" y="50"/>
                    </a:cubicBezTo>
                    <a:cubicBezTo>
                      <a:pt x="13" y="50"/>
                      <a:pt x="13" y="50"/>
                      <a:pt x="13" y="50"/>
                    </a:cubicBezTo>
                    <a:cubicBezTo>
                      <a:pt x="12" y="51"/>
                      <a:pt x="12" y="51"/>
                      <a:pt x="12" y="51"/>
                    </a:cubicBezTo>
                    <a:cubicBezTo>
                      <a:pt x="12" y="51"/>
                      <a:pt x="12" y="51"/>
                      <a:pt x="12" y="51"/>
                    </a:cubicBezTo>
                    <a:cubicBezTo>
                      <a:pt x="11" y="52"/>
                      <a:pt x="11" y="52"/>
                      <a:pt x="10" y="52"/>
                    </a:cubicBezTo>
                    <a:cubicBezTo>
                      <a:pt x="10" y="52"/>
                      <a:pt x="10" y="52"/>
                      <a:pt x="10" y="52"/>
                    </a:cubicBezTo>
                    <a:cubicBezTo>
                      <a:pt x="10" y="52"/>
                      <a:pt x="9" y="52"/>
                      <a:pt x="9" y="52"/>
                    </a:cubicBezTo>
                    <a:close/>
                    <a:moveTo>
                      <a:pt x="31" y="47"/>
                    </a:moveTo>
                    <a:cubicBezTo>
                      <a:pt x="30" y="46"/>
                      <a:pt x="31" y="45"/>
                      <a:pt x="32" y="45"/>
                    </a:cubicBezTo>
                    <a:cubicBezTo>
                      <a:pt x="32" y="45"/>
                      <a:pt x="32" y="45"/>
                      <a:pt x="32" y="45"/>
                    </a:cubicBezTo>
                    <a:cubicBezTo>
                      <a:pt x="42" y="39"/>
                      <a:pt x="42" y="39"/>
                      <a:pt x="42" y="39"/>
                    </a:cubicBezTo>
                    <a:cubicBezTo>
                      <a:pt x="43" y="38"/>
                      <a:pt x="44" y="38"/>
                      <a:pt x="45" y="39"/>
                    </a:cubicBezTo>
                    <a:cubicBezTo>
                      <a:pt x="45" y="39"/>
                      <a:pt x="45" y="39"/>
                      <a:pt x="45" y="39"/>
                    </a:cubicBezTo>
                    <a:cubicBezTo>
                      <a:pt x="45" y="40"/>
                      <a:pt x="45" y="41"/>
                      <a:pt x="44" y="42"/>
                    </a:cubicBezTo>
                    <a:cubicBezTo>
                      <a:pt x="44" y="42"/>
                      <a:pt x="44" y="42"/>
                      <a:pt x="44" y="42"/>
                    </a:cubicBezTo>
                    <a:cubicBezTo>
                      <a:pt x="34" y="48"/>
                      <a:pt x="34" y="48"/>
                      <a:pt x="34" y="48"/>
                    </a:cubicBezTo>
                    <a:cubicBezTo>
                      <a:pt x="33" y="48"/>
                      <a:pt x="33" y="48"/>
                      <a:pt x="33" y="48"/>
                    </a:cubicBezTo>
                    <a:cubicBezTo>
                      <a:pt x="33" y="48"/>
                      <a:pt x="33" y="48"/>
                      <a:pt x="33" y="48"/>
                    </a:cubicBezTo>
                    <a:cubicBezTo>
                      <a:pt x="32" y="48"/>
                      <a:pt x="31" y="48"/>
                      <a:pt x="31" y="47"/>
                    </a:cubicBezTo>
                    <a:close/>
                    <a:moveTo>
                      <a:pt x="188" y="46"/>
                    </a:moveTo>
                    <a:cubicBezTo>
                      <a:pt x="178" y="40"/>
                      <a:pt x="178" y="40"/>
                      <a:pt x="178" y="40"/>
                    </a:cubicBezTo>
                    <a:cubicBezTo>
                      <a:pt x="177" y="40"/>
                      <a:pt x="177" y="38"/>
                      <a:pt x="177" y="38"/>
                    </a:cubicBezTo>
                    <a:cubicBezTo>
                      <a:pt x="177" y="38"/>
                      <a:pt x="177" y="38"/>
                      <a:pt x="177" y="38"/>
                    </a:cubicBezTo>
                    <a:cubicBezTo>
                      <a:pt x="178" y="37"/>
                      <a:pt x="179" y="36"/>
                      <a:pt x="180" y="37"/>
                    </a:cubicBezTo>
                    <a:cubicBezTo>
                      <a:pt x="180" y="37"/>
                      <a:pt x="180" y="37"/>
                      <a:pt x="180" y="37"/>
                    </a:cubicBezTo>
                    <a:cubicBezTo>
                      <a:pt x="190" y="43"/>
                      <a:pt x="190" y="43"/>
                      <a:pt x="190" y="43"/>
                    </a:cubicBezTo>
                    <a:cubicBezTo>
                      <a:pt x="191" y="43"/>
                      <a:pt x="191" y="45"/>
                      <a:pt x="191" y="46"/>
                    </a:cubicBezTo>
                    <a:cubicBezTo>
                      <a:pt x="191" y="46"/>
                      <a:pt x="191" y="46"/>
                      <a:pt x="191" y="46"/>
                    </a:cubicBezTo>
                    <a:cubicBezTo>
                      <a:pt x="191" y="46"/>
                      <a:pt x="190" y="47"/>
                      <a:pt x="189" y="47"/>
                    </a:cubicBezTo>
                    <a:cubicBezTo>
                      <a:pt x="189" y="47"/>
                      <a:pt x="189" y="47"/>
                      <a:pt x="189" y="47"/>
                    </a:cubicBezTo>
                    <a:cubicBezTo>
                      <a:pt x="189" y="47"/>
                      <a:pt x="189" y="46"/>
                      <a:pt x="188" y="46"/>
                    </a:cubicBezTo>
                    <a:close/>
                    <a:moveTo>
                      <a:pt x="52" y="35"/>
                    </a:moveTo>
                    <a:cubicBezTo>
                      <a:pt x="51" y="34"/>
                      <a:pt x="51" y="33"/>
                      <a:pt x="52" y="33"/>
                    </a:cubicBezTo>
                    <a:cubicBezTo>
                      <a:pt x="52" y="33"/>
                      <a:pt x="52" y="33"/>
                      <a:pt x="52" y="33"/>
                    </a:cubicBezTo>
                    <a:cubicBezTo>
                      <a:pt x="63" y="27"/>
                      <a:pt x="63" y="27"/>
                      <a:pt x="63" y="27"/>
                    </a:cubicBezTo>
                    <a:cubicBezTo>
                      <a:pt x="64" y="26"/>
                      <a:pt x="65" y="26"/>
                      <a:pt x="66" y="27"/>
                    </a:cubicBezTo>
                    <a:cubicBezTo>
                      <a:pt x="66" y="27"/>
                      <a:pt x="66" y="27"/>
                      <a:pt x="66" y="27"/>
                    </a:cubicBezTo>
                    <a:cubicBezTo>
                      <a:pt x="66" y="28"/>
                      <a:pt x="66" y="29"/>
                      <a:pt x="65" y="30"/>
                    </a:cubicBezTo>
                    <a:cubicBezTo>
                      <a:pt x="65" y="30"/>
                      <a:pt x="65" y="30"/>
                      <a:pt x="65" y="30"/>
                    </a:cubicBezTo>
                    <a:cubicBezTo>
                      <a:pt x="54" y="36"/>
                      <a:pt x="54" y="36"/>
                      <a:pt x="54" y="36"/>
                    </a:cubicBezTo>
                    <a:cubicBezTo>
                      <a:pt x="54" y="36"/>
                      <a:pt x="54" y="36"/>
                      <a:pt x="53" y="36"/>
                    </a:cubicBezTo>
                    <a:cubicBezTo>
                      <a:pt x="53" y="36"/>
                      <a:pt x="53" y="36"/>
                      <a:pt x="53" y="36"/>
                    </a:cubicBezTo>
                    <a:cubicBezTo>
                      <a:pt x="53" y="36"/>
                      <a:pt x="52" y="36"/>
                      <a:pt x="52" y="35"/>
                    </a:cubicBezTo>
                    <a:close/>
                    <a:moveTo>
                      <a:pt x="167" y="34"/>
                    </a:moveTo>
                    <a:cubicBezTo>
                      <a:pt x="157" y="28"/>
                      <a:pt x="157" y="28"/>
                      <a:pt x="157" y="28"/>
                    </a:cubicBezTo>
                    <a:cubicBezTo>
                      <a:pt x="156" y="28"/>
                      <a:pt x="156" y="26"/>
                      <a:pt x="156" y="26"/>
                    </a:cubicBezTo>
                    <a:cubicBezTo>
                      <a:pt x="156" y="26"/>
                      <a:pt x="156" y="26"/>
                      <a:pt x="156" y="26"/>
                    </a:cubicBezTo>
                    <a:cubicBezTo>
                      <a:pt x="157" y="25"/>
                      <a:pt x="158" y="24"/>
                      <a:pt x="159" y="25"/>
                    </a:cubicBezTo>
                    <a:cubicBezTo>
                      <a:pt x="159" y="25"/>
                      <a:pt x="159" y="25"/>
                      <a:pt x="159" y="25"/>
                    </a:cubicBezTo>
                    <a:cubicBezTo>
                      <a:pt x="169" y="31"/>
                      <a:pt x="169" y="31"/>
                      <a:pt x="169" y="31"/>
                    </a:cubicBezTo>
                    <a:cubicBezTo>
                      <a:pt x="170" y="31"/>
                      <a:pt x="171" y="33"/>
                      <a:pt x="170" y="34"/>
                    </a:cubicBezTo>
                    <a:cubicBezTo>
                      <a:pt x="170" y="34"/>
                      <a:pt x="170" y="34"/>
                      <a:pt x="170" y="34"/>
                    </a:cubicBezTo>
                    <a:cubicBezTo>
                      <a:pt x="170" y="34"/>
                      <a:pt x="169" y="35"/>
                      <a:pt x="168" y="35"/>
                    </a:cubicBezTo>
                    <a:cubicBezTo>
                      <a:pt x="168" y="35"/>
                      <a:pt x="168" y="35"/>
                      <a:pt x="168" y="35"/>
                    </a:cubicBezTo>
                    <a:cubicBezTo>
                      <a:pt x="168" y="35"/>
                      <a:pt x="168" y="34"/>
                      <a:pt x="167" y="34"/>
                    </a:cubicBezTo>
                    <a:close/>
                    <a:moveTo>
                      <a:pt x="72" y="23"/>
                    </a:moveTo>
                    <a:cubicBezTo>
                      <a:pt x="72" y="22"/>
                      <a:pt x="72" y="21"/>
                      <a:pt x="73" y="21"/>
                    </a:cubicBezTo>
                    <a:cubicBezTo>
                      <a:pt x="73" y="21"/>
                      <a:pt x="73" y="21"/>
                      <a:pt x="73" y="21"/>
                    </a:cubicBezTo>
                    <a:cubicBezTo>
                      <a:pt x="84" y="15"/>
                      <a:pt x="84" y="15"/>
                      <a:pt x="84" y="15"/>
                    </a:cubicBezTo>
                    <a:cubicBezTo>
                      <a:pt x="85" y="14"/>
                      <a:pt x="86" y="14"/>
                      <a:pt x="86" y="15"/>
                    </a:cubicBezTo>
                    <a:cubicBezTo>
                      <a:pt x="86" y="15"/>
                      <a:pt x="86" y="15"/>
                      <a:pt x="86" y="15"/>
                    </a:cubicBezTo>
                    <a:cubicBezTo>
                      <a:pt x="87" y="16"/>
                      <a:pt x="87" y="17"/>
                      <a:pt x="86" y="18"/>
                    </a:cubicBezTo>
                    <a:cubicBezTo>
                      <a:pt x="86" y="18"/>
                      <a:pt x="86" y="18"/>
                      <a:pt x="86" y="18"/>
                    </a:cubicBezTo>
                    <a:cubicBezTo>
                      <a:pt x="75" y="24"/>
                      <a:pt x="75" y="24"/>
                      <a:pt x="75" y="24"/>
                    </a:cubicBezTo>
                    <a:cubicBezTo>
                      <a:pt x="75" y="24"/>
                      <a:pt x="75" y="24"/>
                      <a:pt x="74" y="24"/>
                    </a:cubicBezTo>
                    <a:cubicBezTo>
                      <a:pt x="74" y="24"/>
                      <a:pt x="74" y="24"/>
                      <a:pt x="74" y="24"/>
                    </a:cubicBezTo>
                    <a:cubicBezTo>
                      <a:pt x="74" y="24"/>
                      <a:pt x="73" y="24"/>
                      <a:pt x="72" y="23"/>
                    </a:cubicBezTo>
                    <a:close/>
                    <a:moveTo>
                      <a:pt x="147" y="22"/>
                    </a:moveTo>
                    <a:cubicBezTo>
                      <a:pt x="136" y="16"/>
                      <a:pt x="136" y="16"/>
                      <a:pt x="136" y="16"/>
                    </a:cubicBezTo>
                    <a:cubicBezTo>
                      <a:pt x="135" y="16"/>
                      <a:pt x="135" y="14"/>
                      <a:pt x="136" y="13"/>
                    </a:cubicBezTo>
                    <a:cubicBezTo>
                      <a:pt x="136" y="13"/>
                      <a:pt x="136" y="13"/>
                      <a:pt x="136" y="13"/>
                    </a:cubicBezTo>
                    <a:cubicBezTo>
                      <a:pt x="136" y="13"/>
                      <a:pt x="137" y="12"/>
                      <a:pt x="138" y="13"/>
                    </a:cubicBezTo>
                    <a:cubicBezTo>
                      <a:pt x="138" y="13"/>
                      <a:pt x="138" y="13"/>
                      <a:pt x="138" y="13"/>
                    </a:cubicBezTo>
                    <a:cubicBezTo>
                      <a:pt x="149" y="19"/>
                      <a:pt x="149" y="19"/>
                      <a:pt x="149" y="19"/>
                    </a:cubicBezTo>
                    <a:cubicBezTo>
                      <a:pt x="150" y="19"/>
                      <a:pt x="150" y="21"/>
                      <a:pt x="149" y="21"/>
                    </a:cubicBezTo>
                    <a:cubicBezTo>
                      <a:pt x="149" y="21"/>
                      <a:pt x="149" y="21"/>
                      <a:pt x="149" y="21"/>
                    </a:cubicBezTo>
                    <a:cubicBezTo>
                      <a:pt x="149" y="22"/>
                      <a:pt x="148" y="22"/>
                      <a:pt x="148" y="22"/>
                    </a:cubicBezTo>
                    <a:cubicBezTo>
                      <a:pt x="148" y="22"/>
                      <a:pt x="148" y="22"/>
                      <a:pt x="148" y="22"/>
                    </a:cubicBezTo>
                    <a:cubicBezTo>
                      <a:pt x="147" y="22"/>
                      <a:pt x="147" y="22"/>
                      <a:pt x="147" y="22"/>
                    </a:cubicBezTo>
                    <a:close/>
                    <a:moveTo>
                      <a:pt x="93" y="11"/>
                    </a:moveTo>
                    <a:cubicBezTo>
                      <a:pt x="93" y="10"/>
                      <a:pt x="93" y="9"/>
                      <a:pt x="94" y="9"/>
                    </a:cubicBezTo>
                    <a:cubicBezTo>
                      <a:pt x="94" y="9"/>
                      <a:pt x="94" y="9"/>
                      <a:pt x="94" y="9"/>
                    </a:cubicBezTo>
                    <a:cubicBezTo>
                      <a:pt x="104" y="3"/>
                      <a:pt x="104" y="3"/>
                      <a:pt x="104" y="3"/>
                    </a:cubicBezTo>
                    <a:cubicBezTo>
                      <a:pt x="105" y="2"/>
                      <a:pt x="107" y="2"/>
                      <a:pt x="107" y="3"/>
                    </a:cubicBezTo>
                    <a:cubicBezTo>
                      <a:pt x="107" y="3"/>
                      <a:pt x="107" y="3"/>
                      <a:pt x="107" y="3"/>
                    </a:cubicBezTo>
                    <a:cubicBezTo>
                      <a:pt x="108" y="4"/>
                      <a:pt x="107" y="5"/>
                      <a:pt x="106" y="6"/>
                    </a:cubicBezTo>
                    <a:cubicBezTo>
                      <a:pt x="106" y="6"/>
                      <a:pt x="106" y="6"/>
                      <a:pt x="106" y="6"/>
                    </a:cubicBezTo>
                    <a:cubicBezTo>
                      <a:pt x="96" y="12"/>
                      <a:pt x="96" y="12"/>
                      <a:pt x="96" y="12"/>
                    </a:cubicBezTo>
                    <a:cubicBezTo>
                      <a:pt x="96" y="12"/>
                      <a:pt x="95" y="12"/>
                      <a:pt x="95" y="12"/>
                    </a:cubicBezTo>
                    <a:cubicBezTo>
                      <a:pt x="95" y="12"/>
                      <a:pt x="95" y="12"/>
                      <a:pt x="95" y="12"/>
                    </a:cubicBezTo>
                    <a:cubicBezTo>
                      <a:pt x="94" y="12"/>
                      <a:pt x="94" y="12"/>
                      <a:pt x="93" y="11"/>
                    </a:cubicBezTo>
                    <a:close/>
                    <a:moveTo>
                      <a:pt x="126" y="10"/>
                    </a:moveTo>
                    <a:cubicBezTo>
                      <a:pt x="116" y="4"/>
                      <a:pt x="116" y="4"/>
                      <a:pt x="116" y="4"/>
                    </a:cubicBezTo>
                    <a:cubicBezTo>
                      <a:pt x="115" y="4"/>
                      <a:pt x="114" y="2"/>
                      <a:pt x="115" y="1"/>
                    </a:cubicBezTo>
                    <a:cubicBezTo>
                      <a:pt x="115" y="1"/>
                      <a:pt x="115" y="1"/>
                      <a:pt x="115" y="1"/>
                    </a:cubicBezTo>
                    <a:cubicBezTo>
                      <a:pt x="115" y="0"/>
                      <a:pt x="117" y="0"/>
                      <a:pt x="118" y="1"/>
                    </a:cubicBezTo>
                    <a:cubicBezTo>
                      <a:pt x="118" y="1"/>
                      <a:pt x="118" y="1"/>
                      <a:pt x="118" y="1"/>
                    </a:cubicBezTo>
                    <a:cubicBezTo>
                      <a:pt x="118" y="1"/>
                      <a:pt x="118" y="1"/>
                      <a:pt x="118" y="1"/>
                    </a:cubicBezTo>
                    <a:cubicBezTo>
                      <a:pt x="128" y="7"/>
                      <a:pt x="128" y="7"/>
                      <a:pt x="128" y="7"/>
                    </a:cubicBezTo>
                    <a:cubicBezTo>
                      <a:pt x="129" y="7"/>
                      <a:pt x="129" y="9"/>
                      <a:pt x="129" y="9"/>
                    </a:cubicBezTo>
                    <a:cubicBezTo>
                      <a:pt x="129" y="9"/>
                      <a:pt x="129" y="9"/>
                      <a:pt x="129" y="9"/>
                    </a:cubicBezTo>
                    <a:cubicBezTo>
                      <a:pt x="128" y="10"/>
                      <a:pt x="128" y="10"/>
                      <a:pt x="127" y="10"/>
                    </a:cubicBezTo>
                    <a:cubicBezTo>
                      <a:pt x="127" y="10"/>
                      <a:pt x="127" y="10"/>
                      <a:pt x="127" y="10"/>
                    </a:cubicBezTo>
                    <a:cubicBezTo>
                      <a:pt x="127" y="10"/>
                      <a:pt x="126" y="10"/>
                      <a:pt x="126"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Light" pitchFamily="34" charset="0"/>
                  <a:cs typeface="Segoe UI Light" pitchFamily="34" charset="0"/>
                </a:endParaRPr>
              </a:p>
            </p:txBody>
          </p:sp>
          <p:sp>
            <p:nvSpPr>
              <p:cNvPr id="57" name="Freeform 616"/>
              <p:cNvSpPr>
                <a:spLocks noEditPoints="1"/>
              </p:cNvSpPr>
              <p:nvPr/>
            </p:nvSpPr>
            <p:spPr bwMode="auto">
              <a:xfrm>
                <a:off x="5094288" y="4049713"/>
                <a:ext cx="269875" cy="320675"/>
              </a:xfrm>
              <a:custGeom>
                <a:avLst/>
                <a:gdLst>
                  <a:gd name="T0" fmla="*/ 6 w 279"/>
                  <a:gd name="T1" fmla="*/ 0 h 333"/>
                  <a:gd name="T2" fmla="*/ 12 w 279"/>
                  <a:gd name="T3" fmla="*/ 50 h 333"/>
                  <a:gd name="T4" fmla="*/ 254 w 279"/>
                  <a:gd name="T5" fmla="*/ 43 h 333"/>
                  <a:gd name="T6" fmla="*/ 33 w 279"/>
                  <a:gd name="T7" fmla="*/ 202 h 333"/>
                  <a:gd name="T8" fmla="*/ 110 w 279"/>
                  <a:gd name="T9" fmla="*/ 239 h 333"/>
                  <a:gd name="T10" fmla="*/ 98 w 279"/>
                  <a:gd name="T11" fmla="*/ 330 h 333"/>
                  <a:gd name="T12" fmla="*/ 233 w 279"/>
                  <a:gd name="T13" fmla="*/ 285 h 333"/>
                  <a:gd name="T14" fmla="*/ 243 w 279"/>
                  <a:gd name="T15" fmla="*/ 267 h 333"/>
                  <a:gd name="T16" fmla="*/ 279 w 279"/>
                  <a:gd name="T17" fmla="*/ 44 h 333"/>
                  <a:gd name="T18" fmla="*/ 56 w 279"/>
                  <a:gd name="T19" fmla="*/ 108 h 333"/>
                  <a:gd name="T20" fmla="*/ 87 w 279"/>
                  <a:gd name="T21" fmla="*/ 118 h 333"/>
                  <a:gd name="T22" fmla="*/ 94 w 279"/>
                  <a:gd name="T23" fmla="*/ 130 h 333"/>
                  <a:gd name="T24" fmla="*/ 83 w 279"/>
                  <a:gd name="T25" fmla="*/ 148 h 333"/>
                  <a:gd name="T26" fmla="*/ 102 w 279"/>
                  <a:gd name="T27" fmla="*/ 177 h 333"/>
                  <a:gd name="T28" fmla="*/ 96 w 279"/>
                  <a:gd name="T29" fmla="*/ 150 h 333"/>
                  <a:gd name="T30" fmla="*/ 107 w 279"/>
                  <a:gd name="T31" fmla="*/ 132 h 333"/>
                  <a:gd name="T32" fmla="*/ 88 w 279"/>
                  <a:gd name="T33" fmla="*/ 104 h 333"/>
                  <a:gd name="T34" fmla="*/ 72 w 279"/>
                  <a:gd name="T35" fmla="*/ 110 h 333"/>
                  <a:gd name="T36" fmla="*/ 83 w 279"/>
                  <a:gd name="T37" fmla="*/ 89 h 333"/>
                  <a:gd name="T38" fmla="*/ 65 w 279"/>
                  <a:gd name="T39" fmla="*/ 62 h 333"/>
                  <a:gd name="T40" fmla="*/ 70 w 279"/>
                  <a:gd name="T41" fmla="*/ 88 h 333"/>
                  <a:gd name="T42" fmla="*/ 56 w 279"/>
                  <a:gd name="T43" fmla="*/ 108 h 333"/>
                  <a:gd name="T44" fmla="*/ 126 w 279"/>
                  <a:gd name="T45" fmla="*/ 181 h 333"/>
                  <a:gd name="T46" fmla="*/ 151 w 279"/>
                  <a:gd name="T47" fmla="*/ 159 h 333"/>
                  <a:gd name="T48" fmla="*/ 145 w 279"/>
                  <a:gd name="T49" fmla="*/ 138 h 333"/>
                  <a:gd name="T50" fmla="*/ 155 w 279"/>
                  <a:gd name="T51" fmla="*/ 128 h 333"/>
                  <a:gd name="T52" fmla="*/ 191 w 279"/>
                  <a:gd name="T53" fmla="*/ 145 h 333"/>
                  <a:gd name="T54" fmla="*/ 197 w 279"/>
                  <a:gd name="T55" fmla="*/ 166 h 333"/>
                  <a:gd name="T56" fmla="*/ 185 w 279"/>
                  <a:gd name="T57" fmla="*/ 190 h 333"/>
                  <a:gd name="T58" fmla="*/ 211 w 279"/>
                  <a:gd name="T59" fmla="*/ 168 h 333"/>
                  <a:gd name="T60" fmla="*/ 205 w 279"/>
                  <a:gd name="T61" fmla="*/ 147 h 333"/>
                  <a:gd name="T62" fmla="*/ 216 w 279"/>
                  <a:gd name="T63" fmla="*/ 122 h 333"/>
                  <a:gd name="T64" fmla="*/ 193 w 279"/>
                  <a:gd name="T65" fmla="*/ 128 h 333"/>
                  <a:gd name="T66" fmla="*/ 179 w 279"/>
                  <a:gd name="T67" fmla="*/ 103 h 333"/>
                  <a:gd name="T68" fmla="*/ 191 w 279"/>
                  <a:gd name="T69" fmla="*/ 78 h 333"/>
                  <a:gd name="T70" fmla="*/ 166 w 279"/>
                  <a:gd name="T71" fmla="*/ 101 h 333"/>
                  <a:gd name="T72" fmla="*/ 171 w 279"/>
                  <a:gd name="T73" fmla="*/ 125 h 333"/>
                  <a:gd name="T74" fmla="*/ 156 w 279"/>
                  <a:gd name="T75" fmla="*/ 114 h 333"/>
                  <a:gd name="T76" fmla="*/ 132 w 279"/>
                  <a:gd name="T77" fmla="*/ 136 h 333"/>
                  <a:gd name="T78" fmla="*/ 138 w 279"/>
                  <a:gd name="T79" fmla="*/ 157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9" h="333">
                    <a:moveTo>
                      <a:pt x="271" y="34"/>
                    </a:moveTo>
                    <a:cubicBezTo>
                      <a:pt x="6" y="0"/>
                      <a:pt x="6" y="0"/>
                      <a:pt x="6" y="0"/>
                    </a:cubicBezTo>
                    <a:cubicBezTo>
                      <a:pt x="0" y="45"/>
                      <a:pt x="0" y="45"/>
                      <a:pt x="0" y="45"/>
                    </a:cubicBezTo>
                    <a:cubicBezTo>
                      <a:pt x="4" y="46"/>
                      <a:pt x="8" y="48"/>
                      <a:pt x="12" y="50"/>
                    </a:cubicBezTo>
                    <a:cubicBezTo>
                      <a:pt x="17" y="13"/>
                      <a:pt x="17" y="13"/>
                      <a:pt x="17" y="13"/>
                    </a:cubicBezTo>
                    <a:cubicBezTo>
                      <a:pt x="254" y="43"/>
                      <a:pt x="254" y="43"/>
                      <a:pt x="254" y="43"/>
                    </a:cubicBezTo>
                    <a:cubicBezTo>
                      <a:pt x="229" y="240"/>
                      <a:pt x="229" y="240"/>
                      <a:pt x="229" y="240"/>
                    </a:cubicBezTo>
                    <a:cubicBezTo>
                      <a:pt x="33" y="202"/>
                      <a:pt x="33" y="202"/>
                      <a:pt x="33" y="202"/>
                    </a:cubicBezTo>
                    <a:cubicBezTo>
                      <a:pt x="45" y="209"/>
                      <a:pt x="56" y="219"/>
                      <a:pt x="65" y="230"/>
                    </a:cubicBezTo>
                    <a:cubicBezTo>
                      <a:pt x="110" y="239"/>
                      <a:pt x="110" y="239"/>
                      <a:pt x="110" y="239"/>
                    </a:cubicBezTo>
                    <a:cubicBezTo>
                      <a:pt x="98" y="241"/>
                      <a:pt x="87" y="244"/>
                      <a:pt x="77" y="247"/>
                    </a:cubicBezTo>
                    <a:cubicBezTo>
                      <a:pt x="90" y="270"/>
                      <a:pt x="97" y="298"/>
                      <a:pt x="98" y="330"/>
                    </a:cubicBezTo>
                    <a:cubicBezTo>
                      <a:pt x="109" y="332"/>
                      <a:pt x="122" y="333"/>
                      <a:pt x="136" y="333"/>
                    </a:cubicBezTo>
                    <a:cubicBezTo>
                      <a:pt x="189" y="333"/>
                      <a:pt x="233" y="312"/>
                      <a:pt x="233" y="285"/>
                    </a:cubicBezTo>
                    <a:cubicBezTo>
                      <a:pt x="233" y="277"/>
                      <a:pt x="228" y="269"/>
                      <a:pt x="220" y="262"/>
                    </a:cubicBezTo>
                    <a:cubicBezTo>
                      <a:pt x="243" y="267"/>
                      <a:pt x="243" y="267"/>
                      <a:pt x="243" y="267"/>
                    </a:cubicBezTo>
                    <a:cubicBezTo>
                      <a:pt x="256" y="249"/>
                      <a:pt x="256" y="249"/>
                      <a:pt x="256" y="249"/>
                    </a:cubicBezTo>
                    <a:cubicBezTo>
                      <a:pt x="279" y="44"/>
                      <a:pt x="279" y="44"/>
                      <a:pt x="279" y="44"/>
                    </a:cubicBezTo>
                    <a:lnTo>
                      <a:pt x="271" y="34"/>
                    </a:lnTo>
                    <a:close/>
                    <a:moveTo>
                      <a:pt x="56" y="108"/>
                    </a:moveTo>
                    <a:cubicBezTo>
                      <a:pt x="56" y="110"/>
                      <a:pt x="57" y="112"/>
                      <a:pt x="57" y="114"/>
                    </a:cubicBezTo>
                    <a:cubicBezTo>
                      <a:pt x="87" y="118"/>
                      <a:pt x="87" y="118"/>
                      <a:pt x="87" y="118"/>
                    </a:cubicBezTo>
                    <a:cubicBezTo>
                      <a:pt x="86" y="129"/>
                      <a:pt x="86" y="129"/>
                      <a:pt x="86" y="129"/>
                    </a:cubicBezTo>
                    <a:cubicBezTo>
                      <a:pt x="94" y="130"/>
                      <a:pt x="94" y="130"/>
                      <a:pt x="94" y="130"/>
                    </a:cubicBezTo>
                    <a:cubicBezTo>
                      <a:pt x="91" y="150"/>
                      <a:pt x="91" y="150"/>
                      <a:pt x="91" y="150"/>
                    </a:cubicBezTo>
                    <a:cubicBezTo>
                      <a:pt x="83" y="148"/>
                      <a:pt x="83" y="148"/>
                      <a:pt x="83" y="148"/>
                    </a:cubicBezTo>
                    <a:cubicBezTo>
                      <a:pt x="81" y="173"/>
                      <a:pt x="81" y="173"/>
                      <a:pt x="81" y="173"/>
                    </a:cubicBezTo>
                    <a:cubicBezTo>
                      <a:pt x="102" y="177"/>
                      <a:pt x="102" y="177"/>
                      <a:pt x="102" y="177"/>
                    </a:cubicBezTo>
                    <a:cubicBezTo>
                      <a:pt x="105" y="152"/>
                      <a:pt x="105" y="152"/>
                      <a:pt x="105" y="152"/>
                    </a:cubicBezTo>
                    <a:cubicBezTo>
                      <a:pt x="96" y="150"/>
                      <a:pt x="96" y="150"/>
                      <a:pt x="96" y="150"/>
                    </a:cubicBezTo>
                    <a:cubicBezTo>
                      <a:pt x="99" y="131"/>
                      <a:pt x="99" y="131"/>
                      <a:pt x="99" y="131"/>
                    </a:cubicBezTo>
                    <a:cubicBezTo>
                      <a:pt x="107" y="132"/>
                      <a:pt x="107" y="132"/>
                      <a:pt x="107" y="132"/>
                    </a:cubicBezTo>
                    <a:cubicBezTo>
                      <a:pt x="110" y="107"/>
                      <a:pt x="110" y="107"/>
                      <a:pt x="110" y="107"/>
                    </a:cubicBezTo>
                    <a:cubicBezTo>
                      <a:pt x="88" y="104"/>
                      <a:pt x="88" y="104"/>
                      <a:pt x="88" y="104"/>
                    </a:cubicBezTo>
                    <a:cubicBezTo>
                      <a:pt x="87" y="113"/>
                      <a:pt x="87" y="113"/>
                      <a:pt x="87" y="113"/>
                    </a:cubicBezTo>
                    <a:cubicBezTo>
                      <a:pt x="72" y="110"/>
                      <a:pt x="72" y="110"/>
                      <a:pt x="72" y="110"/>
                    </a:cubicBezTo>
                    <a:cubicBezTo>
                      <a:pt x="75" y="88"/>
                      <a:pt x="75" y="88"/>
                      <a:pt x="75" y="88"/>
                    </a:cubicBezTo>
                    <a:cubicBezTo>
                      <a:pt x="83" y="89"/>
                      <a:pt x="83" y="89"/>
                      <a:pt x="83" y="89"/>
                    </a:cubicBezTo>
                    <a:cubicBezTo>
                      <a:pt x="85" y="64"/>
                      <a:pt x="85" y="64"/>
                      <a:pt x="85" y="64"/>
                    </a:cubicBezTo>
                    <a:cubicBezTo>
                      <a:pt x="65" y="62"/>
                      <a:pt x="65" y="62"/>
                      <a:pt x="65" y="62"/>
                    </a:cubicBezTo>
                    <a:cubicBezTo>
                      <a:pt x="62" y="87"/>
                      <a:pt x="62" y="87"/>
                      <a:pt x="62" y="87"/>
                    </a:cubicBezTo>
                    <a:cubicBezTo>
                      <a:pt x="70" y="88"/>
                      <a:pt x="70" y="88"/>
                      <a:pt x="70" y="88"/>
                    </a:cubicBezTo>
                    <a:cubicBezTo>
                      <a:pt x="67" y="110"/>
                      <a:pt x="67" y="110"/>
                      <a:pt x="67" y="110"/>
                    </a:cubicBezTo>
                    <a:lnTo>
                      <a:pt x="56" y="108"/>
                    </a:lnTo>
                    <a:close/>
                    <a:moveTo>
                      <a:pt x="129" y="155"/>
                    </a:moveTo>
                    <a:cubicBezTo>
                      <a:pt x="126" y="181"/>
                      <a:pt x="126" y="181"/>
                      <a:pt x="126" y="181"/>
                    </a:cubicBezTo>
                    <a:cubicBezTo>
                      <a:pt x="148" y="184"/>
                      <a:pt x="148" y="184"/>
                      <a:pt x="148" y="184"/>
                    </a:cubicBezTo>
                    <a:cubicBezTo>
                      <a:pt x="151" y="159"/>
                      <a:pt x="151" y="159"/>
                      <a:pt x="151" y="159"/>
                    </a:cubicBezTo>
                    <a:cubicBezTo>
                      <a:pt x="143" y="157"/>
                      <a:pt x="143" y="157"/>
                      <a:pt x="143" y="157"/>
                    </a:cubicBezTo>
                    <a:cubicBezTo>
                      <a:pt x="145" y="138"/>
                      <a:pt x="145" y="138"/>
                      <a:pt x="145" y="138"/>
                    </a:cubicBezTo>
                    <a:cubicBezTo>
                      <a:pt x="153" y="139"/>
                      <a:pt x="153" y="139"/>
                      <a:pt x="153" y="139"/>
                    </a:cubicBezTo>
                    <a:cubicBezTo>
                      <a:pt x="155" y="128"/>
                      <a:pt x="155" y="128"/>
                      <a:pt x="155" y="128"/>
                    </a:cubicBezTo>
                    <a:cubicBezTo>
                      <a:pt x="192" y="134"/>
                      <a:pt x="192" y="134"/>
                      <a:pt x="192" y="134"/>
                    </a:cubicBezTo>
                    <a:cubicBezTo>
                      <a:pt x="191" y="145"/>
                      <a:pt x="191" y="145"/>
                      <a:pt x="191" y="145"/>
                    </a:cubicBezTo>
                    <a:cubicBezTo>
                      <a:pt x="199" y="146"/>
                      <a:pt x="199" y="146"/>
                      <a:pt x="199" y="146"/>
                    </a:cubicBezTo>
                    <a:cubicBezTo>
                      <a:pt x="197" y="166"/>
                      <a:pt x="197" y="166"/>
                      <a:pt x="197" y="166"/>
                    </a:cubicBezTo>
                    <a:cubicBezTo>
                      <a:pt x="188" y="164"/>
                      <a:pt x="188" y="164"/>
                      <a:pt x="188" y="164"/>
                    </a:cubicBezTo>
                    <a:cubicBezTo>
                      <a:pt x="185" y="190"/>
                      <a:pt x="185" y="190"/>
                      <a:pt x="185" y="190"/>
                    </a:cubicBezTo>
                    <a:cubicBezTo>
                      <a:pt x="208" y="194"/>
                      <a:pt x="208" y="194"/>
                      <a:pt x="208" y="194"/>
                    </a:cubicBezTo>
                    <a:cubicBezTo>
                      <a:pt x="211" y="168"/>
                      <a:pt x="211" y="168"/>
                      <a:pt x="211" y="168"/>
                    </a:cubicBezTo>
                    <a:cubicBezTo>
                      <a:pt x="202" y="167"/>
                      <a:pt x="202" y="167"/>
                      <a:pt x="202" y="167"/>
                    </a:cubicBezTo>
                    <a:cubicBezTo>
                      <a:pt x="205" y="147"/>
                      <a:pt x="205" y="147"/>
                      <a:pt x="205" y="147"/>
                    </a:cubicBezTo>
                    <a:cubicBezTo>
                      <a:pt x="213" y="148"/>
                      <a:pt x="213" y="148"/>
                      <a:pt x="213" y="148"/>
                    </a:cubicBezTo>
                    <a:cubicBezTo>
                      <a:pt x="216" y="122"/>
                      <a:pt x="216" y="122"/>
                      <a:pt x="216" y="122"/>
                    </a:cubicBezTo>
                    <a:cubicBezTo>
                      <a:pt x="194" y="119"/>
                      <a:pt x="194" y="119"/>
                      <a:pt x="194" y="119"/>
                    </a:cubicBezTo>
                    <a:cubicBezTo>
                      <a:pt x="193" y="128"/>
                      <a:pt x="193" y="128"/>
                      <a:pt x="193" y="128"/>
                    </a:cubicBezTo>
                    <a:cubicBezTo>
                      <a:pt x="176" y="125"/>
                      <a:pt x="176" y="125"/>
                      <a:pt x="176" y="125"/>
                    </a:cubicBezTo>
                    <a:cubicBezTo>
                      <a:pt x="179" y="103"/>
                      <a:pt x="179" y="103"/>
                      <a:pt x="179" y="103"/>
                    </a:cubicBezTo>
                    <a:cubicBezTo>
                      <a:pt x="188" y="104"/>
                      <a:pt x="188" y="104"/>
                      <a:pt x="188" y="104"/>
                    </a:cubicBezTo>
                    <a:cubicBezTo>
                      <a:pt x="191" y="78"/>
                      <a:pt x="191" y="78"/>
                      <a:pt x="191" y="78"/>
                    </a:cubicBezTo>
                    <a:cubicBezTo>
                      <a:pt x="168" y="75"/>
                      <a:pt x="168" y="75"/>
                      <a:pt x="168" y="75"/>
                    </a:cubicBezTo>
                    <a:cubicBezTo>
                      <a:pt x="166" y="101"/>
                      <a:pt x="166" y="101"/>
                      <a:pt x="166" y="101"/>
                    </a:cubicBezTo>
                    <a:cubicBezTo>
                      <a:pt x="174" y="102"/>
                      <a:pt x="174" y="102"/>
                      <a:pt x="174" y="102"/>
                    </a:cubicBezTo>
                    <a:cubicBezTo>
                      <a:pt x="171" y="125"/>
                      <a:pt x="171" y="125"/>
                      <a:pt x="171" y="125"/>
                    </a:cubicBezTo>
                    <a:cubicBezTo>
                      <a:pt x="155" y="122"/>
                      <a:pt x="155" y="122"/>
                      <a:pt x="155" y="122"/>
                    </a:cubicBezTo>
                    <a:cubicBezTo>
                      <a:pt x="156" y="114"/>
                      <a:pt x="156" y="114"/>
                      <a:pt x="156" y="114"/>
                    </a:cubicBezTo>
                    <a:cubicBezTo>
                      <a:pt x="135" y="110"/>
                      <a:pt x="135" y="110"/>
                      <a:pt x="135" y="110"/>
                    </a:cubicBezTo>
                    <a:cubicBezTo>
                      <a:pt x="132" y="136"/>
                      <a:pt x="132" y="136"/>
                      <a:pt x="132" y="136"/>
                    </a:cubicBezTo>
                    <a:cubicBezTo>
                      <a:pt x="140" y="137"/>
                      <a:pt x="140" y="137"/>
                      <a:pt x="140" y="137"/>
                    </a:cubicBezTo>
                    <a:cubicBezTo>
                      <a:pt x="138" y="157"/>
                      <a:pt x="138" y="157"/>
                      <a:pt x="138" y="157"/>
                    </a:cubicBezTo>
                    <a:lnTo>
                      <a:pt x="129" y="1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Light" pitchFamily="34" charset="0"/>
                  <a:cs typeface="Segoe UI Light" pitchFamily="34" charset="0"/>
                </a:endParaRPr>
              </a:p>
            </p:txBody>
          </p:sp>
        </p:grpSp>
      </p:grpSp>
      <p:grpSp>
        <p:nvGrpSpPr>
          <p:cNvPr id="60" name="Group 59"/>
          <p:cNvGrpSpPr/>
          <p:nvPr/>
        </p:nvGrpSpPr>
        <p:grpSpPr>
          <a:xfrm>
            <a:off x="5572292" y="1290079"/>
            <a:ext cx="1845872" cy="2609618"/>
            <a:chOff x="7427788" y="1720104"/>
            <a:chExt cx="2460522" cy="3479491"/>
          </a:xfrm>
        </p:grpSpPr>
        <p:sp>
          <p:nvSpPr>
            <p:cNvPr id="14" name="Rectangle 37"/>
            <p:cNvSpPr>
              <a:spLocks noChangeArrowheads="1"/>
            </p:cNvSpPr>
            <p:nvPr/>
          </p:nvSpPr>
          <p:spPr bwMode="auto">
            <a:xfrm>
              <a:off x="7427788" y="1720104"/>
              <a:ext cx="2460522" cy="3479491"/>
            </a:xfrm>
            <a:prstGeom prst="rect">
              <a:avLst/>
            </a:prstGeom>
            <a:solidFill>
              <a:schemeClr val="bg2">
                <a:lumMod val="75000"/>
              </a:schemeClr>
            </a:solidFill>
            <a:ln w="9525">
              <a:noFill/>
              <a:miter lim="800000"/>
              <a:headEnd/>
              <a:tailEnd/>
            </a:ln>
          </p:spPr>
          <p:txBody>
            <a:bodyPr anchor="b"/>
            <a:lstStyle/>
            <a:p>
              <a:pPr defTabSz="685862" fontAlgn="base">
                <a:spcBef>
                  <a:spcPct val="0"/>
                </a:spcBef>
                <a:spcAft>
                  <a:spcPct val="0"/>
                </a:spcAft>
              </a:pPr>
              <a:r>
                <a:rPr lang="en-US" sz="1500" spc="-38" dirty="0">
                  <a:latin typeface="Segoe UI Light" pitchFamily="34" charset="0"/>
                  <a:cs typeface="Segoe UI Light" pitchFamily="34" charset="0"/>
                </a:rPr>
                <a:t>Protection of Key Applications &amp; Workloads</a:t>
              </a:r>
            </a:p>
          </p:txBody>
        </p:sp>
        <p:pic>
          <p:nvPicPr>
            <p:cNvPr id="59" name="Picture 6"/>
            <p:cNvPicPr>
              <a:picLocks noChangeAspect="1" noChangeArrowheads="1"/>
            </p:cNvPicPr>
            <p:nvPr/>
          </p:nvPicPr>
          <p:blipFill>
            <a:blip r:embed="rId3" cstate="email">
              <a:biLevel thresh="50000"/>
              <a:extLst>
                <a:ext uri="{28A0092B-C50C-407E-A947-70E740481C1C}">
                  <a14:useLocalDpi xmlns:a14="http://schemas.microsoft.com/office/drawing/2010/main"/>
                </a:ext>
              </a:extLst>
            </a:blip>
            <a:srcRect/>
            <a:stretch>
              <a:fillRect/>
            </a:stretch>
          </p:blipFill>
          <p:spPr bwMode="auto">
            <a:xfrm>
              <a:off x="7999412" y="2209800"/>
              <a:ext cx="1336145" cy="17274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61"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62"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4"/>
              </a:rPr>
              <a:t>www.rapidbbs.cn</a:t>
            </a:r>
            <a:endParaRPr lang="zh-CN" altLang="en-US" sz="1200" b="0">
              <a:latin typeface="Arial" charset="0"/>
              <a:ea typeface="ＭＳ Ｐゴシック" pitchFamily="34" charset="-128"/>
            </a:endParaRPr>
          </a:p>
        </p:txBody>
      </p:sp>
      <p:pic>
        <p:nvPicPr>
          <p:cNvPr id="63" name="Picture 2">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057455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1000"/>
                                        <p:tgtEl>
                                          <p:spTgt spid="18"/>
                                        </p:tgtEl>
                                      </p:cBhvr>
                                    </p:animEffect>
                                    <p:anim calcmode="lin" valueType="num">
                                      <p:cBhvr>
                                        <p:cTn id="8" dur="1000" fill="hold"/>
                                        <p:tgtEl>
                                          <p:spTgt spid="18"/>
                                        </p:tgtEl>
                                        <p:attrNameLst>
                                          <p:attrName>ppt_x</p:attrName>
                                        </p:attrNameLst>
                                      </p:cBhvr>
                                      <p:tavLst>
                                        <p:tav tm="0">
                                          <p:val>
                                            <p:strVal val="#ppt_x"/>
                                          </p:val>
                                        </p:tav>
                                        <p:tav tm="100000">
                                          <p:val>
                                            <p:strVal val="#ppt_x"/>
                                          </p:val>
                                        </p:tav>
                                      </p:tavLst>
                                    </p:anim>
                                    <p:anim calcmode="lin" valueType="num">
                                      <p:cBhvr>
                                        <p:cTn id="9"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58"/>
                                        </p:tgtEl>
                                        <p:attrNameLst>
                                          <p:attrName>style.visibility</p:attrName>
                                        </p:attrNameLst>
                                      </p:cBhvr>
                                      <p:to>
                                        <p:strVal val="visible"/>
                                      </p:to>
                                    </p:set>
                                    <p:animEffect transition="in" filter="fade">
                                      <p:cBhvr>
                                        <p:cTn id="14" dur="1000"/>
                                        <p:tgtEl>
                                          <p:spTgt spid="58"/>
                                        </p:tgtEl>
                                      </p:cBhvr>
                                    </p:animEffect>
                                    <p:anim calcmode="lin" valueType="num">
                                      <p:cBhvr>
                                        <p:cTn id="15" dur="1000" fill="hold"/>
                                        <p:tgtEl>
                                          <p:spTgt spid="58"/>
                                        </p:tgtEl>
                                        <p:attrNameLst>
                                          <p:attrName>ppt_x</p:attrName>
                                        </p:attrNameLst>
                                      </p:cBhvr>
                                      <p:tavLst>
                                        <p:tav tm="0">
                                          <p:val>
                                            <p:strVal val="#ppt_x"/>
                                          </p:val>
                                        </p:tav>
                                        <p:tav tm="100000">
                                          <p:val>
                                            <p:strVal val="#ppt_x"/>
                                          </p:val>
                                        </p:tav>
                                      </p:tavLst>
                                    </p:anim>
                                    <p:anim calcmode="lin" valueType="num">
                                      <p:cBhvr>
                                        <p:cTn id="16" dur="1000" fill="hold"/>
                                        <p:tgtEl>
                                          <p:spTgt spid="58"/>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60"/>
                                        </p:tgtEl>
                                        <p:attrNameLst>
                                          <p:attrName>style.visibility</p:attrName>
                                        </p:attrNameLst>
                                      </p:cBhvr>
                                      <p:to>
                                        <p:strVal val="visible"/>
                                      </p:to>
                                    </p:set>
                                    <p:animEffect transition="in" filter="fade">
                                      <p:cBhvr>
                                        <p:cTn id="21" dur="1000"/>
                                        <p:tgtEl>
                                          <p:spTgt spid="60"/>
                                        </p:tgtEl>
                                      </p:cBhvr>
                                    </p:animEffect>
                                    <p:anim calcmode="lin" valueType="num">
                                      <p:cBhvr>
                                        <p:cTn id="22" dur="1000" fill="hold"/>
                                        <p:tgtEl>
                                          <p:spTgt spid="60"/>
                                        </p:tgtEl>
                                        <p:attrNameLst>
                                          <p:attrName>ppt_x</p:attrName>
                                        </p:attrNameLst>
                                      </p:cBhvr>
                                      <p:tavLst>
                                        <p:tav tm="0">
                                          <p:val>
                                            <p:strVal val="#ppt_x"/>
                                          </p:val>
                                        </p:tav>
                                        <p:tav tm="100000">
                                          <p:val>
                                            <p:strVal val="#ppt_x"/>
                                          </p:val>
                                        </p:tav>
                                      </p:tavLst>
                                    </p:anim>
                                    <p:anim calcmode="lin" valueType="num">
                                      <p:cBhvr>
                                        <p:cTn id="23" dur="1000" fill="hold"/>
                                        <p:tgtEl>
                                          <p:spTgt spid="6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Cloud on your terms</a:t>
            </a:r>
            <a:endParaRPr lang="en-US" dirty="0"/>
          </a:p>
        </p:txBody>
      </p:sp>
      <p:grpSp>
        <p:nvGrpSpPr>
          <p:cNvPr id="7" name="Group 6"/>
          <p:cNvGrpSpPr/>
          <p:nvPr/>
        </p:nvGrpSpPr>
        <p:grpSpPr>
          <a:xfrm>
            <a:off x="1717328" y="2249614"/>
            <a:ext cx="1966976" cy="2132713"/>
            <a:chOff x="2289174" y="2385536"/>
            <a:chExt cx="2621952" cy="2843617"/>
          </a:xfrm>
        </p:grpSpPr>
        <p:pic>
          <p:nvPicPr>
            <p:cNvPr id="8" name="Picture 2"/>
            <p:cNvPicPr>
              <a:picLocks noChangeAspect="1" noChangeArrowheads="1"/>
            </p:cNvPicPr>
            <p:nvPr/>
          </p:nvPicPr>
          <p:blipFill>
            <a:blip r:embed="rId2" cstate="email">
              <a:biLevel thresh="50000"/>
              <a:extLst>
                <a:ext uri="{28A0092B-C50C-407E-A947-70E740481C1C}">
                  <a14:useLocalDpi xmlns:a14="http://schemas.microsoft.com/office/drawing/2010/main"/>
                </a:ext>
              </a:extLst>
            </a:blip>
            <a:srcRect/>
            <a:stretch>
              <a:fillRect/>
            </a:stretch>
          </p:blipFill>
          <p:spPr bwMode="auto">
            <a:xfrm>
              <a:off x="2289174" y="2385536"/>
              <a:ext cx="2621952" cy="15586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2746374" y="3985736"/>
              <a:ext cx="1409700" cy="1243417"/>
            </a:xfrm>
            <a:prstGeom prst="rect">
              <a:avLst/>
            </a:prstGeom>
            <a:noFill/>
          </p:spPr>
          <p:txBody>
            <a:bodyPr wrap="square" lIns="91440" tIns="91440" rIns="91440" bIns="91440" rtlCol="0">
              <a:spAutoFit/>
            </a:bodyPr>
            <a:lstStyle/>
            <a:p>
              <a:pPr algn="ctr">
                <a:lnSpc>
                  <a:spcPct val="90000"/>
                </a:lnSpc>
                <a:spcBef>
                  <a:spcPct val="20000"/>
                </a:spcBef>
                <a:buClr>
                  <a:srgbClr val="84A8D8"/>
                </a:buClr>
                <a:buSzPct val="100000"/>
              </a:pPr>
              <a:r>
                <a:rPr lang="en-US" sz="1800" dirty="0">
                  <a:solidFill>
                    <a:schemeClr val="tx1">
                      <a:alpha val="99000"/>
                    </a:schemeClr>
                  </a:solidFill>
                  <a:latin typeface="Segoe UI Light" pitchFamily="34" charset="0"/>
                  <a:cs typeface="Segoe UI Light" pitchFamily="34" charset="0"/>
                </a:rPr>
                <a:t>Microsoft Private Cloud</a:t>
              </a:r>
            </a:p>
          </p:txBody>
        </p:sp>
      </p:grpSp>
      <p:grpSp>
        <p:nvGrpSpPr>
          <p:cNvPr id="10" name="Group 9"/>
          <p:cNvGrpSpPr/>
          <p:nvPr/>
        </p:nvGrpSpPr>
        <p:grpSpPr>
          <a:xfrm>
            <a:off x="5375881" y="2249614"/>
            <a:ext cx="1966976" cy="2132713"/>
            <a:chOff x="7165974" y="2385536"/>
            <a:chExt cx="2621952" cy="2843617"/>
          </a:xfrm>
        </p:grpSpPr>
        <p:pic>
          <p:nvPicPr>
            <p:cNvPr id="11" name="Picture 2"/>
            <p:cNvPicPr>
              <a:picLocks noChangeAspect="1" noChangeArrowheads="1"/>
            </p:cNvPicPr>
            <p:nvPr/>
          </p:nvPicPr>
          <p:blipFill>
            <a:blip r:embed="rId2" cstate="email">
              <a:biLevel thresh="50000"/>
              <a:extLst>
                <a:ext uri="{28A0092B-C50C-407E-A947-70E740481C1C}">
                  <a14:useLocalDpi xmlns:a14="http://schemas.microsoft.com/office/drawing/2010/main"/>
                </a:ext>
              </a:extLst>
            </a:blip>
            <a:srcRect/>
            <a:stretch>
              <a:fillRect/>
            </a:stretch>
          </p:blipFill>
          <p:spPr bwMode="auto">
            <a:xfrm>
              <a:off x="7165974" y="2385536"/>
              <a:ext cx="2621952" cy="15586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extBox 11"/>
            <p:cNvSpPr txBox="1"/>
            <p:nvPr/>
          </p:nvSpPr>
          <p:spPr>
            <a:xfrm>
              <a:off x="7623174" y="3985736"/>
              <a:ext cx="1409700" cy="1243417"/>
            </a:xfrm>
            <a:prstGeom prst="rect">
              <a:avLst/>
            </a:prstGeom>
            <a:noFill/>
          </p:spPr>
          <p:txBody>
            <a:bodyPr wrap="square" lIns="91440" tIns="91440" rIns="91440" bIns="91440" rtlCol="0">
              <a:spAutoFit/>
            </a:bodyPr>
            <a:lstStyle/>
            <a:p>
              <a:pPr algn="ctr">
                <a:lnSpc>
                  <a:spcPct val="90000"/>
                </a:lnSpc>
                <a:spcBef>
                  <a:spcPct val="20000"/>
                </a:spcBef>
                <a:buClr>
                  <a:srgbClr val="84A8D8"/>
                </a:buClr>
                <a:buSzPct val="100000"/>
              </a:pPr>
              <a:r>
                <a:rPr lang="en-US" sz="1800" dirty="0">
                  <a:solidFill>
                    <a:schemeClr val="tx1">
                      <a:alpha val="99000"/>
                    </a:schemeClr>
                  </a:solidFill>
                  <a:latin typeface="Segoe UI Light" pitchFamily="34" charset="0"/>
                  <a:cs typeface="Segoe UI Light" pitchFamily="34" charset="0"/>
                </a:rPr>
                <a:t>Microsoft Private Cloud</a:t>
              </a:r>
            </a:p>
          </p:txBody>
        </p:sp>
      </p:grpSp>
      <p:grpSp>
        <p:nvGrpSpPr>
          <p:cNvPr id="13" name="Group 12"/>
          <p:cNvGrpSpPr/>
          <p:nvPr/>
        </p:nvGrpSpPr>
        <p:grpSpPr>
          <a:xfrm>
            <a:off x="3832429" y="2792541"/>
            <a:ext cx="1429122" cy="1407988"/>
            <a:chOff x="5108574" y="3109436"/>
            <a:chExt cx="1905000" cy="1877319"/>
          </a:xfrm>
        </p:grpSpPr>
        <p:sp>
          <p:nvSpPr>
            <p:cNvPr id="14" name="Left-Right Arrow 13"/>
            <p:cNvSpPr/>
            <p:nvPr/>
          </p:nvSpPr>
          <p:spPr bwMode="auto">
            <a:xfrm>
              <a:off x="5108574" y="3109436"/>
              <a:ext cx="1905000" cy="685800"/>
            </a:xfrm>
            <a:prstGeom prst="leftRightArrow">
              <a:avLst/>
            </a:prstGeom>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Light" pitchFamily="34" charset="0"/>
                <a:ea typeface="Segoe UI" pitchFamily="34" charset="0"/>
                <a:cs typeface="Segoe UI Light" pitchFamily="34" charset="0"/>
              </a:endParaRPr>
            </a:p>
          </p:txBody>
        </p:sp>
        <p:sp>
          <p:nvSpPr>
            <p:cNvPr id="15" name="TextBox 14"/>
            <p:cNvSpPr txBox="1"/>
            <p:nvPr/>
          </p:nvSpPr>
          <p:spPr>
            <a:xfrm>
              <a:off x="5337174" y="3909537"/>
              <a:ext cx="1409700" cy="1077218"/>
            </a:xfrm>
            <a:prstGeom prst="rect">
              <a:avLst/>
            </a:prstGeom>
            <a:noFill/>
          </p:spPr>
          <p:txBody>
            <a:bodyPr wrap="square" lIns="91440" tIns="91440" rIns="91440" bIns="91440" rtlCol="0">
              <a:spAutoFit/>
            </a:bodyPr>
            <a:lstStyle/>
            <a:p>
              <a:pPr algn="ctr">
                <a:lnSpc>
                  <a:spcPct val="90000"/>
                </a:lnSpc>
                <a:spcBef>
                  <a:spcPct val="20000"/>
                </a:spcBef>
                <a:buClr>
                  <a:srgbClr val="84A8D8"/>
                </a:buClr>
                <a:buSzPct val="100000"/>
              </a:pPr>
              <a:r>
                <a:rPr lang="en-US" sz="1500" dirty="0">
                  <a:solidFill>
                    <a:schemeClr val="tx1">
                      <a:alpha val="99000"/>
                    </a:schemeClr>
                  </a:solidFill>
                  <a:latin typeface="Segoe UI Light" pitchFamily="34" charset="0"/>
                  <a:cs typeface="Segoe UI Light" pitchFamily="34" charset="0"/>
                </a:rPr>
                <a:t>System Center 2012</a:t>
              </a:r>
            </a:p>
          </p:txBody>
        </p:sp>
      </p:grpSp>
      <p:sp>
        <p:nvSpPr>
          <p:cNvPr id="16" name="Up Arrow 15"/>
          <p:cNvSpPr/>
          <p:nvPr/>
        </p:nvSpPr>
        <p:spPr bwMode="auto">
          <a:xfrm>
            <a:off x="4286175" y="1935861"/>
            <a:ext cx="514484" cy="1028700"/>
          </a:xfrm>
          <a:prstGeom prst="upArrow">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alpha val="98824"/>
                </a:srgbClr>
              </a:solidFill>
              <a:latin typeface="Segoe UI Light" pitchFamily="34" charset="0"/>
              <a:ea typeface="Segoe UI" pitchFamily="34" charset="0"/>
              <a:cs typeface="Segoe UI Light" pitchFamily="34" charset="0"/>
            </a:endParaRPr>
          </a:p>
        </p:txBody>
      </p:sp>
      <p:grpSp>
        <p:nvGrpSpPr>
          <p:cNvPr id="17" name="Group 16"/>
          <p:cNvGrpSpPr/>
          <p:nvPr/>
        </p:nvGrpSpPr>
        <p:grpSpPr>
          <a:xfrm>
            <a:off x="3671952" y="742951"/>
            <a:ext cx="2843655" cy="1250061"/>
            <a:chOff x="4894660" y="1076452"/>
            <a:chExt cx="3790552" cy="1666748"/>
          </a:xfrm>
        </p:grpSpPr>
        <p:grpSp>
          <p:nvGrpSpPr>
            <p:cNvPr id="18" name="Group 17"/>
            <p:cNvGrpSpPr/>
            <p:nvPr/>
          </p:nvGrpSpPr>
          <p:grpSpPr>
            <a:xfrm>
              <a:off x="4894660" y="1076452"/>
              <a:ext cx="2342752" cy="1666748"/>
              <a:chOff x="10064750" y="3713163"/>
              <a:chExt cx="1358900" cy="966788"/>
            </a:xfrm>
            <a:solidFill>
              <a:schemeClr val="tx1"/>
            </a:solidFill>
          </p:grpSpPr>
          <p:sp>
            <p:nvSpPr>
              <p:cNvPr id="20" name="Freeform 635"/>
              <p:cNvSpPr>
                <a:spLocks/>
              </p:cNvSpPr>
              <p:nvPr/>
            </p:nvSpPr>
            <p:spPr bwMode="auto">
              <a:xfrm>
                <a:off x="10302875" y="4330700"/>
                <a:ext cx="0" cy="0"/>
              </a:xfrm>
              <a:custGeom>
                <a:avLst/>
                <a:gdLst>
                  <a:gd name="T0" fmla="*/ 1 h 1"/>
                  <a:gd name="T1" fmla="*/ 1 h 1"/>
                  <a:gd name="T2" fmla="*/ 0 h 1"/>
                  <a:gd name="T3" fmla="*/ 1 h 1"/>
                </a:gdLst>
                <a:ahLst/>
                <a:cxnLst>
                  <a:cxn ang="0">
                    <a:pos x="0" y="T0"/>
                  </a:cxn>
                  <a:cxn ang="0">
                    <a:pos x="0" y="T1"/>
                  </a:cxn>
                  <a:cxn ang="0">
                    <a:pos x="0" y="T2"/>
                  </a:cxn>
                  <a:cxn ang="0">
                    <a:pos x="0" y="T3"/>
                  </a:cxn>
                </a:cxnLst>
                <a:rect l="0" t="0" r="r" b="b"/>
                <a:pathLst>
                  <a:path h="1">
                    <a:moveTo>
                      <a:pt x="0" y="1"/>
                    </a:moveTo>
                    <a:cubicBezTo>
                      <a:pt x="0" y="1"/>
                      <a:pt x="0" y="1"/>
                      <a:pt x="0" y="1"/>
                    </a:cubicBezTo>
                    <a:cubicBezTo>
                      <a:pt x="0" y="1"/>
                      <a:pt x="0" y="1"/>
                      <a:pt x="0" y="0"/>
                    </a:cubicBezTo>
                    <a:cubicBezTo>
                      <a:pt x="0"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Light" pitchFamily="34" charset="0"/>
                  <a:cs typeface="Segoe UI Light" pitchFamily="34" charset="0"/>
                </a:endParaRPr>
              </a:p>
            </p:txBody>
          </p:sp>
          <p:sp>
            <p:nvSpPr>
              <p:cNvPr id="21" name="Freeform 636"/>
              <p:cNvSpPr>
                <a:spLocks/>
              </p:cNvSpPr>
              <p:nvPr/>
            </p:nvSpPr>
            <p:spPr bwMode="auto">
              <a:xfrm>
                <a:off x="10302875" y="4310063"/>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Light" pitchFamily="34" charset="0"/>
                  <a:cs typeface="Segoe UI Light" pitchFamily="34" charset="0"/>
                </a:endParaRPr>
              </a:p>
            </p:txBody>
          </p:sp>
          <p:sp>
            <p:nvSpPr>
              <p:cNvPr id="22" name="Freeform 637"/>
              <p:cNvSpPr>
                <a:spLocks/>
              </p:cNvSpPr>
              <p:nvPr/>
            </p:nvSpPr>
            <p:spPr bwMode="auto">
              <a:xfrm>
                <a:off x="11036300" y="4244975"/>
                <a:ext cx="0" cy="1588"/>
              </a:xfrm>
              <a:custGeom>
                <a:avLst/>
                <a:gdLst>
                  <a:gd name="T0" fmla="*/ 0 h 1"/>
                  <a:gd name="T1" fmla="*/ 1 h 1"/>
                  <a:gd name="T2" fmla="*/ 0 h 1"/>
                  <a:gd name="T3" fmla="*/ 0 h 1"/>
                </a:gdLst>
                <a:ahLst/>
                <a:cxnLst>
                  <a:cxn ang="0">
                    <a:pos x="0" y="T0"/>
                  </a:cxn>
                  <a:cxn ang="0">
                    <a:pos x="0" y="T1"/>
                  </a:cxn>
                  <a:cxn ang="0">
                    <a:pos x="0" y="T2"/>
                  </a:cxn>
                  <a:cxn ang="0">
                    <a:pos x="0" y="T3"/>
                  </a:cxn>
                </a:cxnLst>
                <a:rect l="0" t="0" r="r" b="b"/>
                <a:pathLst>
                  <a:path h="1">
                    <a:moveTo>
                      <a:pt x="0" y="0"/>
                    </a:moveTo>
                    <a:cubicBezTo>
                      <a:pt x="0" y="0"/>
                      <a:pt x="0" y="1"/>
                      <a:pt x="0" y="1"/>
                    </a:cubicBezTo>
                    <a:cubicBezTo>
                      <a:pt x="0" y="1"/>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Light" pitchFamily="34" charset="0"/>
                  <a:cs typeface="Segoe UI Light" pitchFamily="34" charset="0"/>
                </a:endParaRPr>
              </a:p>
            </p:txBody>
          </p:sp>
          <p:sp>
            <p:nvSpPr>
              <p:cNvPr id="23" name="Freeform 638"/>
              <p:cNvSpPr>
                <a:spLocks/>
              </p:cNvSpPr>
              <p:nvPr/>
            </p:nvSpPr>
            <p:spPr bwMode="auto">
              <a:xfrm>
                <a:off x="10542588" y="3998913"/>
                <a:ext cx="0" cy="1588"/>
              </a:xfrm>
              <a:custGeom>
                <a:avLst/>
                <a:gdLst>
                  <a:gd name="T0" fmla="*/ 1 h 1"/>
                  <a:gd name="T1" fmla="*/ 0 h 1"/>
                  <a:gd name="T2" fmla="*/ 1 h 1"/>
                  <a:gd name="T3" fmla="*/ 1 h 1"/>
                </a:gdLst>
                <a:ahLst/>
                <a:cxnLst>
                  <a:cxn ang="0">
                    <a:pos x="0" y="T0"/>
                  </a:cxn>
                  <a:cxn ang="0">
                    <a:pos x="0" y="T1"/>
                  </a:cxn>
                  <a:cxn ang="0">
                    <a:pos x="0" y="T2"/>
                  </a:cxn>
                  <a:cxn ang="0">
                    <a:pos x="0" y="T3"/>
                  </a:cxn>
                </a:cxnLst>
                <a:rect l="0" t="0" r="r" b="b"/>
                <a:pathLst>
                  <a:path h="1">
                    <a:moveTo>
                      <a:pt x="0" y="1"/>
                    </a:moveTo>
                    <a:cubicBezTo>
                      <a:pt x="0" y="1"/>
                      <a:pt x="0" y="1"/>
                      <a:pt x="0" y="0"/>
                    </a:cubicBezTo>
                    <a:cubicBezTo>
                      <a:pt x="0" y="0"/>
                      <a:pt x="0" y="0"/>
                      <a:pt x="0"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Light" pitchFamily="34" charset="0"/>
                  <a:cs typeface="Segoe UI Light" pitchFamily="34" charset="0"/>
                </a:endParaRPr>
              </a:p>
            </p:txBody>
          </p:sp>
          <p:sp>
            <p:nvSpPr>
              <p:cNvPr id="24" name="Freeform 639"/>
              <p:cNvSpPr>
                <a:spLocks/>
              </p:cNvSpPr>
              <p:nvPr/>
            </p:nvSpPr>
            <p:spPr bwMode="auto">
              <a:xfrm>
                <a:off x="10707688" y="4429125"/>
                <a:ext cx="0" cy="0"/>
              </a:xfrm>
              <a:custGeom>
                <a:avLst/>
                <a:gdLst>
                  <a:gd name="T0" fmla="*/ 0 h 1"/>
                  <a:gd name="T1" fmla="*/ 0 h 1"/>
                  <a:gd name="T2" fmla="*/ 1 h 1"/>
                  <a:gd name="T3" fmla="*/ 0 h 1"/>
                </a:gdLst>
                <a:ahLst/>
                <a:cxnLst>
                  <a:cxn ang="0">
                    <a:pos x="0" y="T0"/>
                  </a:cxn>
                  <a:cxn ang="0">
                    <a:pos x="0" y="T1"/>
                  </a:cxn>
                  <a:cxn ang="0">
                    <a:pos x="0" y="T2"/>
                  </a:cxn>
                  <a:cxn ang="0">
                    <a:pos x="0" y="T3"/>
                  </a:cxn>
                </a:cxnLst>
                <a:rect l="0" t="0" r="r" b="b"/>
                <a:pathLst>
                  <a:path h="1">
                    <a:moveTo>
                      <a:pt x="0" y="0"/>
                    </a:moveTo>
                    <a:cubicBezTo>
                      <a:pt x="0" y="0"/>
                      <a:pt x="0" y="0"/>
                      <a:pt x="0" y="0"/>
                    </a:cubicBezTo>
                    <a:cubicBezTo>
                      <a:pt x="0" y="0"/>
                      <a:pt x="0" y="0"/>
                      <a:pt x="0" y="1"/>
                    </a:cubicBezTo>
                    <a:cubicBezTo>
                      <a:pt x="0" y="1"/>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Light" pitchFamily="34" charset="0"/>
                  <a:cs typeface="Segoe UI Light" pitchFamily="34" charset="0"/>
                </a:endParaRPr>
              </a:p>
            </p:txBody>
          </p:sp>
          <p:sp>
            <p:nvSpPr>
              <p:cNvPr id="25" name="Freeform 640"/>
              <p:cNvSpPr>
                <a:spLocks noEditPoints="1"/>
              </p:cNvSpPr>
              <p:nvPr/>
            </p:nvSpPr>
            <p:spPr bwMode="auto">
              <a:xfrm>
                <a:off x="10064750" y="3713163"/>
                <a:ext cx="1252538" cy="858838"/>
              </a:xfrm>
              <a:custGeom>
                <a:avLst/>
                <a:gdLst>
                  <a:gd name="T0" fmla="*/ 957 w 1406"/>
                  <a:gd name="T1" fmla="*/ 785 h 964"/>
                  <a:gd name="T2" fmla="*/ 1015 w 1406"/>
                  <a:gd name="T3" fmla="*/ 701 h 964"/>
                  <a:gd name="T4" fmla="*/ 999 w 1406"/>
                  <a:gd name="T5" fmla="*/ 643 h 964"/>
                  <a:gd name="T6" fmla="*/ 1119 w 1406"/>
                  <a:gd name="T7" fmla="*/ 523 h 964"/>
                  <a:gd name="T8" fmla="*/ 1186 w 1406"/>
                  <a:gd name="T9" fmla="*/ 544 h 964"/>
                  <a:gd name="T10" fmla="*/ 1332 w 1406"/>
                  <a:gd name="T11" fmla="*/ 455 h 964"/>
                  <a:gd name="T12" fmla="*/ 1406 w 1406"/>
                  <a:gd name="T13" fmla="*/ 473 h 964"/>
                  <a:gd name="T14" fmla="*/ 1249 w 1406"/>
                  <a:gd name="T15" fmla="*/ 367 h 964"/>
                  <a:gd name="T16" fmla="*/ 1189 w 1406"/>
                  <a:gd name="T17" fmla="*/ 378 h 964"/>
                  <a:gd name="T18" fmla="*/ 1186 w 1406"/>
                  <a:gd name="T19" fmla="*/ 300 h 964"/>
                  <a:gd name="T20" fmla="*/ 811 w 1406"/>
                  <a:gd name="T21" fmla="*/ 28 h 964"/>
                  <a:gd name="T22" fmla="*/ 572 w 1406"/>
                  <a:gd name="T23" fmla="*/ 200 h 964"/>
                  <a:gd name="T24" fmla="*/ 572 w 1406"/>
                  <a:gd name="T25" fmla="*/ 200 h 964"/>
                  <a:gd name="T26" fmla="*/ 429 w 1406"/>
                  <a:gd name="T27" fmla="*/ 127 h 964"/>
                  <a:gd name="T28" fmla="*/ 202 w 1406"/>
                  <a:gd name="T29" fmla="*/ 320 h 964"/>
                  <a:gd name="T30" fmla="*/ 213 w 1406"/>
                  <a:gd name="T31" fmla="*/ 408 h 964"/>
                  <a:gd name="T32" fmla="*/ 213 w 1406"/>
                  <a:gd name="T33" fmla="*/ 408 h 964"/>
                  <a:gd name="T34" fmla="*/ 34 w 1406"/>
                  <a:gd name="T35" fmla="*/ 517 h 964"/>
                  <a:gd name="T36" fmla="*/ 133 w 1406"/>
                  <a:gd name="T37" fmla="*/ 740 h 964"/>
                  <a:gd name="T38" fmla="*/ 271 w 1406"/>
                  <a:gd name="T39" fmla="*/ 734 h 964"/>
                  <a:gd name="T40" fmla="*/ 271 w 1406"/>
                  <a:gd name="T41" fmla="*/ 733 h 964"/>
                  <a:gd name="T42" fmla="*/ 292 w 1406"/>
                  <a:gd name="T43" fmla="*/ 795 h 964"/>
                  <a:gd name="T44" fmla="*/ 618 w 1406"/>
                  <a:gd name="T45" fmla="*/ 904 h 964"/>
                  <a:gd name="T46" fmla="*/ 702 w 1406"/>
                  <a:gd name="T47" fmla="*/ 836 h 964"/>
                  <a:gd name="T48" fmla="*/ 880 w 1406"/>
                  <a:gd name="T49" fmla="*/ 896 h 964"/>
                  <a:gd name="T50" fmla="*/ 939 w 1406"/>
                  <a:gd name="T51" fmla="*/ 863 h 964"/>
                  <a:gd name="T52" fmla="*/ 957 w 1406"/>
                  <a:gd name="T53" fmla="*/ 785 h 964"/>
                  <a:gd name="T54" fmla="*/ 266 w 1406"/>
                  <a:gd name="T55" fmla="*/ 694 h 964"/>
                  <a:gd name="T56" fmla="*/ 266 w 1406"/>
                  <a:gd name="T57" fmla="*/ 693 h 964"/>
                  <a:gd name="T58" fmla="*/ 266 w 1406"/>
                  <a:gd name="T59" fmla="*/ 694 h 964"/>
                  <a:gd name="T60" fmla="*/ 266 w 1406"/>
                  <a:gd name="T61" fmla="*/ 694 h 964"/>
                  <a:gd name="T62" fmla="*/ 267 w 1406"/>
                  <a:gd name="T63" fmla="*/ 670 h 964"/>
                  <a:gd name="T64" fmla="*/ 267 w 1406"/>
                  <a:gd name="T65" fmla="*/ 670 h 964"/>
                  <a:gd name="T66" fmla="*/ 267 w 1406"/>
                  <a:gd name="T67" fmla="*/ 670 h 964"/>
                  <a:gd name="T68" fmla="*/ 267 w 1406"/>
                  <a:gd name="T69" fmla="*/ 670 h 964"/>
                  <a:gd name="T70" fmla="*/ 536 w 1406"/>
                  <a:gd name="T71" fmla="*/ 323 h 964"/>
                  <a:gd name="T72" fmla="*/ 536 w 1406"/>
                  <a:gd name="T73" fmla="*/ 323 h 964"/>
                  <a:gd name="T74" fmla="*/ 536 w 1406"/>
                  <a:gd name="T75" fmla="*/ 322 h 964"/>
                  <a:gd name="T76" fmla="*/ 536 w 1406"/>
                  <a:gd name="T77" fmla="*/ 323 h 964"/>
                  <a:gd name="T78" fmla="*/ 722 w 1406"/>
                  <a:gd name="T79" fmla="*/ 804 h 964"/>
                  <a:gd name="T80" fmla="*/ 722 w 1406"/>
                  <a:gd name="T81" fmla="*/ 805 h 964"/>
                  <a:gd name="T82" fmla="*/ 722 w 1406"/>
                  <a:gd name="T83" fmla="*/ 804 h 964"/>
                  <a:gd name="T84" fmla="*/ 722 w 1406"/>
                  <a:gd name="T85" fmla="*/ 804 h 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06" h="964">
                    <a:moveTo>
                      <a:pt x="957" y="785"/>
                    </a:moveTo>
                    <a:cubicBezTo>
                      <a:pt x="972" y="750"/>
                      <a:pt x="989" y="721"/>
                      <a:pt x="1015" y="701"/>
                    </a:cubicBezTo>
                    <a:cubicBezTo>
                      <a:pt x="1005" y="684"/>
                      <a:pt x="999" y="663"/>
                      <a:pt x="999" y="643"/>
                    </a:cubicBezTo>
                    <a:cubicBezTo>
                      <a:pt x="999" y="577"/>
                      <a:pt x="1053" y="523"/>
                      <a:pt x="1119" y="523"/>
                    </a:cubicBezTo>
                    <a:cubicBezTo>
                      <a:pt x="1143" y="523"/>
                      <a:pt x="1167" y="530"/>
                      <a:pt x="1186" y="544"/>
                    </a:cubicBezTo>
                    <a:cubicBezTo>
                      <a:pt x="1214" y="491"/>
                      <a:pt x="1269" y="455"/>
                      <a:pt x="1332" y="455"/>
                    </a:cubicBezTo>
                    <a:cubicBezTo>
                      <a:pt x="1358" y="455"/>
                      <a:pt x="1384" y="462"/>
                      <a:pt x="1406" y="473"/>
                    </a:cubicBezTo>
                    <a:cubicBezTo>
                      <a:pt x="1381" y="411"/>
                      <a:pt x="1320" y="367"/>
                      <a:pt x="1249" y="367"/>
                    </a:cubicBezTo>
                    <a:cubicBezTo>
                      <a:pt x="1228" y="367"/>
                      <a:pt x="1208" y="371"/>
                      <a:pt x="1189" y="378"/>
                    </a:cubicBezTo>
                    <a:cubicBezTo>
                      <a:pt x="1191" y="352"/>
                      <a:pt x="1190" y="326"/>
                      <a:pt x="1186" y="300"/>
                    </a:cubicBezTo>
                    <a:cubicBezTo>
                      <a:pt x="1157" y="121"/>
                      <a:pt x="989" y="0"/>
                      <a:pt x="811" y="28"/>
                    </a:cubicBezTo>
                    <a:cubicBezTo>
                      <a:pt x="704" y="45"/>
                      <a:pt x="618" y="112"/>
                      <a:pt x="572" y="200"/>
                    </a:cubicBezTo>
                    <a:cubicBezTo>
                      <a:pt x="572" y="200"/>
                      <a:pt x="572" y="200"/>
                      <a:pt x="572" y="200"/>
                    </a:cubicBezTo>
                    <a:cubicBezTo>
                      <a:pt x="537" y="159"/>
                      <a:pt x="487" y="132"/>
                      <a:pt x="429" y="127"/>
                    </a:cubicBezTo>
                    <a:cubicBezTo>
                      <a:pt x="313" y="117"/>
                      <a:pt x="211" y="204"/>
                      <a:pt x="202" y="320"/>
                    </a:cubicBezTo>
                    <a:cubicBezTo>
                      <a:pt x="199" y="350"/>
                      <a:pt x="203" y="380"/>
                      <a:pt x="213" y="408"/>
                    </a:cubicBezTo>
                    <a:cubicBezTo>
                      <a:pt x="213" y="408"/>
                      <a:pt x="213" y="408"/>
                      <a:pt x="213" y="408"/>
                    </a:cubicBezTo>
                    <a:cubicBezTo>
                      <a:pt x="138" y="400"/>
                      <a:pt x="63" y="443"/>
                      <a:pt x="34" y="517"/>
                    </a:cubicBezTo>
                    <a:cubicBezTo>
                      <a:pt x="0" y="606"/>
                      <a:pt x="44" y="706"/>
                      <a:pt x="133" y="740"/>
                    </a:cubicBezTo>
                    <a:cubicBezTo>
                      <a:pt x="180" y="758"/>
                      <a:pt x="229" y="754"/>
                      <a:pt x="271" y="734"/>
                    </a:cubicBezTo>
                    <a:cubicBezTo>
                      <a:pt x="271" y="734"/>
                      <a:pt x="271" y="734"/>
                      <a:pt x="271" y="733"/>
                    </a:cubicBezTo>
                    <a:cubicBezTo>
                      <a:pt x="275" y="754"/>
                      <a:pt x="282" y="775"/>
                      <a:pt x="292" y="795"/>
                    </a:cubicBezTo>
                    <a:cubicBezTo>
                      <a:pt x="352" y="915"/>
                      <a:pt x="498" y="964"/>
                      <a:pt x="618" y="904"/>
                    </a:cubicBezTo>
                    <a:cubicBezTo>
                      <a:pt x="652" y="887"/>
                      <a:pt x="680" y="864"/>
                      <a:pt x="702" y="836"/>
                    </a:cubicBezTo>
                    <a:cubicBezTo>
                      <a:pt x="741" y="891"/>
                      <a:pt x="812" y="917"/>
                      <a:pt x="880" y="896"/>
                    </a:cubicBezTo>
                    <a:cubicBezTo>
                      <a:pt x="903" y="889"/>
                      <a:pt x="922" y="877"/>
                      <a:pt x="939" y="863"/>
                    </a:cubicBezTo>
                    <a:cubicBezTo>
                      <a:pt x="938" y="844"/>
                      <a:pt x="942" y="818"/>
                      <a:pt x="957" y="785"/>
                    </a:cubicBezTo>
                    <a:close/>
                    <a:moveTo>
                      <a:pt x="266" y="694"/>
                    </a:moveTo>
                    <a:cubicBezTo>
                      <a:pt x="266" y="694"/>
                      <a:pt x="266" y="693"/>
                      <a:pt x="266" y="693"/>
                    </a:cubicBezTo>
                    <a:cubicBezTo>
                      <a:pt x="266" y="694"/>
                      <a:pt x="266" y="694"/>
                      <a:pt x="266" y="694"/>
                    </a:cubicBezTo>
                    <a:cubicBezTo>
                      <a:pt x="266" y="694"/>
                      <a:pt x="266" y="694"/>
                      <a:pt x="266" y="694"/>
                    </a:cubicBezTo>
                    <a:close/>
                    <a:moveTo>
                      <a:pt x="267" y="670"/>
                    </a:moveTo>
                    <a:cubicBezTo>
                      <a:pt x="267" y="670"/>
                      <a:pt x="267" y="670"/>
                      <a:pt x="267" y="670"/>
                    </a:cubicBezTo>
                    <a:cubicBezTo>
                      <a:pt x="267" y="670"/>
                      <a:pt x="267" y="670"/>
                      <a:pt x="267" y="670"/>
                    </a:cubicBezTo>
                    <a:cubicBezTo>
                      <a:pt x="267" y="670"/>
                      <a:pt x="267" y="670"/>
                      <a:pt x="267" y="670"/>
                    </a:cubicBezTo>
                    <a:close/>
                    <a:moveTo>
                      <a:pt x="536" y="323"/>
                    </a:moveTo>
                    <a:cubicBezTo>
                      <a:pt x="536" y="323"/>
                      <a:pt x="536" y="323"/>
                      <a:pt x="536" y="323"/>
                    </a:cubicBezTo>
                    <a:cubicBezTo>
                      <a:pt x="536" y="322"/>
                      <a:pt x="536" y="322"/>
                      <a:pt x="536" y="322"/>
                    </a:cubicBezTo>
                    <a:cubicBezTo>
                      <a:pt x="536" y="323"/>
                      <a:pt x="536" y="323"/>
                      <a:pt x="536" y="323"/>
                    </a:cubicBezTo>
                    <a:close/>
                    <a:moveTo>
                      <a:pt x="722" y="804"/>
                    </a:moveTo>
                    <a:cubicBezTo>
                      <a:pt x="722" y="804"/>
                      <a:pt x="722" y="805"/>
                      <a:pt x="722" y="805"/>
                    </a:cubicBezTo>
                    <a:cubicBezTo>
                      <a:pt x="722" y="804"/>
                      <a:pt x="722" y="804"/>
                      <a:pt x="722" y="804"/>
                    </a:cubicBezTo>
                    <a:cubicBezTo>
                      <a:pt x="722" y="804"/>
                      <a:pt x="722" y="804"/>
                      <a:pt x="722" y="8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Light" pitchFamily="34" charset="0"/>
                  <a:cs typeface="Segoe UI Light" pitchFamily="34" charset="0"/>
                </a:endParaRPr>
              </a:p>
            </p:txBody>
          </p:sp>
          <p:sp>
            <p:nvSpPr>
              <p:cNvPr id="26" name="Freeform 641"/>
              <p:cNvSpPr>
                <a:spLocks/>
              </p:cNvSpPr>
              <p:nvPr/>
            </p:nvSpPr>
            <p:spPr bwMode="auto">
              <a:xfrm>
                <a:off x="11036300" y="4244975"/>
                <a:ext cx="0" cy="1588"/>
              </a:xfrm>
              <a:custGeom>
                <a:avLst/>
                <a:gdLst>
                  <a:gd name="T0" fmla="*/ 1 h 1"/>
                  <a:gd name="T1" fmla="*/ 0 h 1"/>
                  <a:gd name="T2" fmla="*/ 0 h 1"/>
                  <a:gd name="T3" fmla="*/ 1 h 1"/>
                </a:gdLst>
                <a:ahLst/>
                <a:cxnLst>
                  <a:cxn ang="0">
                    <a:pos x="0" y="T0"/>
                  </a:cxn>
                  <a:cxn ang="0">
                    <a:pos x="0" y="T1"/>
                  </a:cxn>
                  <a:cxn ang="0">
                    <a:pos x="0" y="T2"/>
                  </a:cxn>
                  <a:cxn ang="0">
                    <a:pos x="0" y="T3"/>
                  </a:cxn>
                </a:cxnLst>
                <a:rect l="0" t="0" r="r" b="b"/>
                <a:pathLst>
                  <a:path h="1">
                    <a:moveTo>
                      <a:pt x="0" y="1"/>
                    </a:moveTo>
                    <a:cubicBezTo>
                      <a:pt x="0" y="1"/>
                      <a:pt x="0" y="0"/>
                      <a:pt x="0" y="0"/>
                    </a:cubicBezTo>
                    <a:cubicBezTo>
                      <a:pt x="0" y="0"/>
                      <a:pt x="0" y="0"/>
                      <a:pt x="0" y="0"/>
                    </a:cubicBezTo>
                    <a:cubicBezTo>
                      <a:pt x="0"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Light" pitchFamily="34" charset="0"/>
                  <a:cs typeface="Segoe UI Light" pitchFamily="34" charset="0"/>
                </a:endParaRPr>
              </a:p>
            </p:txBody>
          </p:sp>
          <p:sp>
            <p:nvSpPr>
              <p:cNvPr id="27" name="Freeform 642"/>
              <p:cNvSpPr>
                <a:spLocks/>
              </p:cNvSpPr>
              <p:nvPr/>
            </p:nvSpPr>
            <p:spPr bwMode="auto">
              <a:xfrm>
                <a:off x="10925175" y="4211638"/>
                <a:ext cx="201613" cy="330200"/>
              </a:xfrm>
              <a:custGeom>
                <a:avLst/>
                <a:gdLst>
                  <a:gd name="T0" fmla="*/ 145 w 228"/>
                  <a:gd name="T1" fmla="*/ 289 h 370"/>
                  <a:gd name="T2" fmla="*/ 224 w 228"/>
                  <a:gd name="T3" fmla="*/ 172 h 370"/>
                  <a:gd name="T4" fmla="*/ 194 w 228"/>
                  <a:gd name="T5" fmla="*/ 157 h 370"/>
                  <a:gd name="T6" fmla="*/ 228 w 228"/>
                  <a:gd name="T7" fmla="*/ 127 h 370"/>
                  <a:gd name="T8" fmla="*/ 213 w 228"/>
                  <a:gd name="T9" fmla="*/ 60 h 370"/>
                  <a:gd name="T10" fmla="*/ 216 w 228"/>
                  <a:gd name="T11" fmla="*/ 25 h 370"/>
                  <a:gd name="T12" fmla="*/ 157 w 228"/>
                  <a:gd name="T13" fmla="*/ 0 h 370"/>
                  <a:gd name="T14" fmla="*/ 75 w 228"/>
                  <a:gd name="T15" fmla="*/ 83 h 370"/>
                  <a:gd name="T16" fmla="*/ 115 w 228"/>
                  <a:gd name="T17" fmla="*/ 154 h 370"/>
                  <a:gd name="T18" fmla="*/ 29 w 228"/>
                  <a:gd name="T19" fmla="*/ 240 h 370"/>
                  <a:gd name="T20" fmla="*/ 21 w 228"/>
                  <a:gd name="T21" fmla="*/ 326 h 370"/>
                  <a:gd name="T22" fmla="*/ 37 w 228"/>
                  <a:gd name="T23" fmla="*/ 294 h 370"/>
                  <a:gd name="T24" fmla="*/ 41 w 228"/>
                  <a:gd name="T25" fmla="*/ 336 h 370"/>
                  <a:gd name="T26" fmla="*/ 121 w 228"/>
                  <a:gd name="T27" fmla="*/ 370 h 370"/>
                  <a:gd name="T28" fmla="*/ 145 w 228"/>
                  <a:gd name="T29" fmla="*/ 289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8" h="370">
                    <a:moveTo>
                      <a:pt x="145" y="289"/>
                    </a:moveTo>
                    <a:cubicBezTo>
                      <a:pt x="167" y="238"/>
                      <a:pt x="190" y="199"/>
                      <a:pt x="224" y="172"/>
                    </a:cubicBezTo>
                    <a:cubicBezTo>
                      <a:pt x="215" y="166"/>
                      <a:pt x="205" y="161"/>
                      <a:pt x="194" y="157"/>
                    </a:cubicBezTo>
                    <a:cubicBezTo>
                      <a:pt x="208" y="150"/>
                      <a:pt x="220" y="140"/>
                      <a:pt x="228" y="127"/>
                    </a:cubicBezTo>
                    <a:cubicBezTo>
                      <a:pt x="218" y="106"/>
                      <a:pt x="213" y="83"/>
                      <a:pt x="213" y="60"/>
                    </a:cubicBezTo>
                    <a:cubicBezTo>
                      <a:pt x="213" y="48"/>
                      <a:pt x="214" y="36"/>
                      <a:pt x="216" y="25"/>
                    </a:cubicBezTo>
                    <a:cubicBezTo>
                      <a:pt x="201" y="10"/>
                      <a:pt x="181" y="0"/>
                      <a:pt x="157" y="0"/>
                    </a:cubicBezTo>
                    <a:cubicBezTo>
                      <a:pt x="112" y="0"/>
                      <a:pt x="75" y="37"/>
                      <a:pt x="75" y="83"/>
                    </a:cubicBezTo>
                    <a:cubicBezTo>
                      <a:pt x="75" y="113"/>
                      <a:pt x="91" y="140"/>
                      <a:pt x="115" y="154"/>
                    </a:cubicBezTo>
                    <a:cubicBezTo>
                      <a:pt x="73" y="163"/>
                      <a:pt x="52" y="188"/>
                      <a:pt x="29" y="240"/>
                    </a:cubicBezTo>
                    <a:cubicBezTo>
                      <a:pt x="0" y="307"/>
                      <a:pt x="21" y="326"/>
                      <a:pt x="21" y="326"/>
                    </a:cubicBezTo>
                    <a:cubicBezTo>
                      <a:pt x="37" y="294"/>
                      <a:pt x="37" y="294"/>
                      <a:pt x="37" y="294"/>
                    </a:cubicBezTo>
                    <a:cubicBezTo>
                      <a:pt x="41" y="336"/>
                      <a:pt x="41" y="336"/>
                      <a:pt x="41" y="336"/>
                    </a:cubicBezTo>
                    <a:cubicBezTo>
                      <a:pt x="41" y="336"/>
                      <a:pt x="62" y="362"/>
                      <a:pt x="121" y="370"/>
                    </a:cubicBezTo>
                    <a:cubicBezTo>
                      <a:pt x="124" y="348"/>
                      <a:pt x="131" y="322"/>
                      <a:pt x="145" y="2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Light" pitchFamily="34" charset="0"/>
                  <a:cs typeface="Segoe UI Light" pitchFamily="34" charset="0"/>
                </a:endParaRPr>
              </a:p>
            </p:txBody>
          </p:sp>
          <p:sp>
            <p:nvSpPr>
              <p:cNvPr id="28" name="Freeform 643"/>
              <p:cNvSpPr>
                <a:spLocks/>
              </p:cNvSpPr>
              <p:nvPr/>
            </p:nvSpPr>
            <p:spPr bwMode="auto">
              <a:xfrm>
                <a:off x="11039475" y="4151313"/>
                <a:ext cx="384175" cy="528638"/>
              </a:xfrm>
              <a:custGeom>
                <a:avLst/>
                <a:gdLst>
                  <a:gd name="T0" fmla="*/ 298 w 431"/>
                  <a:gd name="T1" fmla="*/ 240 h 592"/>
                  <a:gd name="T2" fmla="*/ 369 w 431"/>
                  <a:gd name="T3" fmla="*/ 127 h 592"/>
                  <a:gd name="T4" fmla="*/ 241 w 431"/>
                  <a:gd name="T5" fmla="*/ 0 h 592"/>
                  <a:gd name="T6" fmla="*/ 114 w 431"/>
                  <a:gd name="T7" fmla="*/ 127 h 592"/>
                  <a:gd name="T8" fmla="*/ 176 w 431"/>
                  <a:gd name="T9" fmla="*/ 236 h 592"/>
                  <a:gd name="T10" fmla="*/ 45 w 431"/>
                  <a:gd name="T11" fmla="*/ 368 h 592"/>
                  <a:gd name="T12" fmla="*/ 33 w 431"/>
                  <a:gd name="T13" fmla="*/ 498 h 592"/>
                  <a:gd name="T14" fmla="*/ 56 w 431"/>
                  <a:gd name="T15" fmla="*/ 450 h 592"/>
                  <a:gd name="T16" fmla="*/ 63 w 431"/>
                  <a:gd name="T17" fmla="*/ 515 h 592"/>
                  <a:gd name="T18" fmla="*/ 208 w 431"/>
                  <a:gd name="T19" fmla="*/ 570 h 592"/>
                  <a:gd name="T20" fmla="*/ 431 w 431"/>
                  <a:gd name="T21" fmla="*/ 450 h 592"/>
                  <a:gd name="T22" fmla="*/ 298 w 431"/>
                  <a:gd name="T23" fmla="*/ 240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1" h="592">
                    <a:moveTo>
                      <a:pt x="298" y="240"/>
                    </a:moveTo>
                    <a:cubicBezTo>
                      <a:pt x="340" y="219"/>
                      <a:pt x="369" y="176"/>
                      <a:pt x="369" y="127"/>
                    </a:cubicBezTo>
                    <a:cubicBezTo>
                      <a:pt x="369" y="57"/>
                      <a:pt x="312" y="0"/>
                      <a:pt x="241" y="0"/>
                    </a:cubicBezTo>
                    <a:cubicBezTo>
                      <a:pt x="171" y="0"/>
                      <a:pt x="114" y="57"/>
                      <a:pt x="114" y="127"/>
                    </a:cubicBezTo>
                    <a:cubicBezTo>
                      <a:pt x="114" y="173"/>
                      <a:pt x="139" y="213"/>
                      <a:pt x="176" y="236"/>
                    </a:cubicBezTo>
                    <a:cubicBezTo>
                      <a:pt x="113" y="249"/>
                      <a:pt x="79" y="287"/>
                      <a:pt x="45" y="368"/>
                    </a:cubicBezTo>
                    <a:cubicBezTo>
                      <a:pt x="0" y="471"/>
                      <a:pt x="33" y="498"/>
                      <a:pt x="33" y="498"/>
                    </a:cubicBezTo>
                    <a:cubicBezTo>
                      <a:pt x="56" y="450"/>
                      <a:pt x="56" y="450"/>
                      <a:pt x="56" y="450"/>
                    </a:cubicBezTo>
                    <a:cubicBezTo>
                      <a:pt x="63" y="515"/>
                      <a:pt x="63" y="515"/>
                      <a:pt x="63" y="515"/>
                    </a:cubicBezTo>
                    <a:cubicBezTo>
                      <a:pt x="63" y="515"/>
                      <a:pt x="100" y="560"/>
                      <a:pt x="208" y="570"/>
                    </a:cubicBezTo>
                    <a:cubicBezTo>
                      <a:pt x="321" y="579"/>
                      <a:pt x="431" y="592"/>
                      <a:pt x="431" y="450"/>
                    </a:cubicBezTo>
                    <a:cubicBezTo>
                      <a:pt x="431" y="337"/>
                      <a:pt x="374" y="265"/>
                      <a:pt x="298"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Light" pitchFamily="34" charset="0"/>
                  <a:cs typeface="Segoe UI Light" pitchFamily="34" charset="0"/>
                </a:endParaRPr>
              </a:p>
            </p:txBody>
          </p:sp>
        </p:grpSp>
        <p:sp>
          <p:nvSpPr>
            <p:cNvPr id="19" name="TextBox 18"/>
            <p:cNvSpPr txBox="1"/>
            <p:nvPr/>
          </p:nvSpPr>
          <p:spPr>
            <a:xfrm>
              <a:off x="7275511" y="1295400"/>
              <a:ext cx="1409701" cy="1243417"/>
            </a:xfrm>
            <a:prstGeom prst="rect">
              <a:avLst/>
            </a:prstGeom>
            <a:noFill/>
          </p:spPr>
          <p:txBody>
            <a:bodyPr wrap="square" lIns="91440" tIns="91440" rIns="91440" bIns="91440" rtlCol="0">
              <a:spAutoFit/>
            </a:bodyPr>
            <a:lstStyle/>
            <a:p>
              <a:pPr algn="ctr">
                <a:lnSpc>
                  <a:spcPct val="90000"/>
                </a:lnSpc>
                <a:spcBef>
                  <a:spcPct val="20000"/>
                </a:spcBef>
                <a:buClr>
                  <a:srgbClr val="84A8D8"/>
                </a:buClr>
                <a:buSzPct val="100000"/>
              </a:pPr>
              <a:r>
                <a:rPr lang="en-US" sz="1800" dirty="0">
                  <a:solidFill>
                    <a:schemeClr val="tx1">
                      <a:alpha val="99000"/>
                    </a:schemeClr>
                  </a:solidFill>
                  <a:latin typeface="Segoe UI Light" pitchFamily="34" charset="0"/>
                  <a:cs typeface="Segoe UI Light" pitchFamily="34" charset="0"/>
                </a:rPr>
                <a:t>Microsoft Public Cloud</a:t>
              </a:r>
            </a:p>
          </p:txBody>
        </p:sp>
      </p:grpSp>
      <p:sp>
        <p:nvSpPr>
          <p:cNvPr id="29" name="Title 1"/>
          <p:cNvSpPr txBox="1">
            <a:spLocks/>
          </p:cNvSpPr>
          <p:nvPr/>
        </p:nvSpPr>
        <p:spPr>
          <a:xfrm>
            <a:off x="390031" y="4478725"/>
            <a:ext cx="8363938" cy="290849"/>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Segoe UI Light" pitchFamily="34" charset="0"/>
                <a:ea typeface="+mn-ea"/>
                <a:cs typeface="Arial" charset="0"/>
              </a:defRPr>
            </a:lvl1pPr>
          </a:lstStyle>
          <a:p>
            <a:pPr algn="ctr"/>
            <a:r>
              <a:rPr lang="en-US" sz="2100" dirty="0">
                <a:cs typeface="Segoe UI Light" pitchFamily="34" charset="0"/>
              </a:rPr>
              <a:t>IDENTITY | MANAGEMENT | VIRTUALIZATION | DEVELOPMENT</a:t>
            </a:r>
          </a:p>
        </p:txBody>
      </p:sp>
      <p:sp>
        <p:nvSpPr>
          <p:cNvPr id="30"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1"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pic>
        <p:nvPicPr>
          <p:cNvPr id="32"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482524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childTnLst>
                          </p:cTn>
                        </p:par>
                        <p:par>
                          <p:cTn id="23" fill="hold">
                            <p:stCondLst>
                              <p:cond delay="500"/>
                            </p:stCondLst>
                            <p:childTnLst>
                              <p:par>
                                <p:cTn id="24" presetID="10" presetClass="entr" presetSubtype="0" fill="hold" nodeType="afterEffect">
                                  <p:stCondLst>
                                    <p:cond delay="0"/>
                                  </p:stCondLst>
                                  <p:childTnLst>
                                    <p:set>
                                      <p:cBhvr>
                                        <p:cTn id="25" dur="1" fill="hold">
                                          <p:stCondLst>
                                            <p:cond delay="0"/>
                                          </p:stCondLst>
                                        </p:cTn>
                                        <p:tgtEl>
                                          <p:spTgt spid="17"/>
                                        </p:tgtEl>
                                        <p:attrNameLst>
                                          <p:attrName>style.visibility</p:attrName>
                                        </p:attrNameLst>
                                      </p:cBhvr>
                                      <p:to>
                                        <p:strVal val="visible"/>
                                      </p:to>
                                    </p:set>
                                    <p:animEffect transition="in" filter="fade">
                                      <p:cBhvr>
                                        <p:cTn id="26" dur="500"/>
                                        <p:tgtEl>
                                          <p:spTgt spid="17"/>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8" fill="hold" grpId="0" nodeType="clickEffect">
                                  <p:stCondLst>
                                    <p:cond delay="0"/>
                                  </p:stCondLst>
                                  <p:childTnLst>
                                    <p:set>
                                      <p:cBhvr>
                                        <p:cTn id="30" dur="1" fill="hold">
                                          <p:stCondLst>
                                            <p:cond delay="0"/>
                                          </p:stCondLst>
                                        </p:cTn>
                                        <p:tgtEl>
                                          <p:spTgt spid="29"/>
                                        </p:tgtEl>
                                        <p:attrNameLst>
                                          <p:attrName>style.visibility</p:attrName>
                                        </p:attrNameLst>
                                      </p:cBhvr>
                                      <p:to>
                                        <p:strVal val="visible"/>
                                      </p:to>
                                    </p:set>
                                    <p:animEffect transition="in" filter="wipe(left)">
                                      <p:cBhvr>
                                        <p:cTn id="31" dur="10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29"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bwMode="auto">
          <a:xfrm>
            <a:off x="391915" y="2088322"/>
            <a:ext cx="2679450" cy="1683185"/>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7125" tIns="28565" rIns="28565" bIns="57125" numCol="1" spcCol="0" rtlCol="0" fromWordArt="0" anchor="t" anchorCtr="0" forceAA="0" compatLnSpc="1">
            <a:prstTxWarp prst="textNoShape">
              <a:avLst/>
            </a:prstTxWarp>
            <a:noAutofit/>
          </a:bodyPr>
          <a:lstStyle/>
          <a:p>
            <a:endParaRPr lang="en-US" sz="1700" dirty="0">
              <a:solidFill>
                <a:schemeClr val="lt1">
                  <a:alpha val="99000"/>
                </a:schemeClr>
              </a:solidFill>
            </a:endParaRPr>
          </a:p>
        </p:txBody>
      </p:sp>
      <p:sp>
        <p:nvSpPr>
          <p:cNvPr id="19" name="Rectangle 18"/>
          <p:cNvSpPr/>
          <p:nvPr/>
        </p:nvSpPr>
        <p:spPr bwMode="auto">
          <a:xfrm>
            <a:off x="3234159" y="2088322"/>
            <a:ext cx="2679450" cy="168318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7125" tIns="28565" rIns="28565" bIns="57125" numCol="1" spcCol="0" rtlCol="0" fromWordArt="0" anchor="t" anchorCtr="0" forceAA="0" compatLnSpc="1">
            <a:prstTxWarp prst="textNoShape">
              <a:avLst/>
            </a:prstTxWarp>
            <a:noAutofit/>
          </a:bodyPr>
          <a:lstStyle/>
          <a:p>
            <a:endParaRPr lang="en-US" sz="1700" dirty="0">
              <a:solidFill>
                <a:schemeClr val="lt1">
                  <a:alpha val="99000"/>
                </a:schemeClr>
              </a:solidFill>
            </a:endParaRPr>
          </a:p>
        </p:txBody>
      </p:sp>
      <p:sp>
        <p:nvSpPr>
          <p:cNvPr id="20" name="Rectangle 19"/>
          <p:cNvSpPr/>
          <p:nvPr/>
        </p:nvSpPr>
        <p:spPr bwMode="auto">
          <a:xfrm>
            <a:off x="6076404" y="2088322"/>
            <a:ext cx="2679450" cy="1683185"/>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7125" tIns="28565" rIns="28565" bIns="57125" numCol="1" spcCol="0" rtlCol="0" fromWordArt="0" anchor="t" anchorCtr="0" forceAA="0" compatLnSpc="1">
            <a:prstTxWarp prst="textNoShape">
              <a:avLst/>
            </a:prstTxWarp>
            <a:noAutofit/>
          </a:bodyPr>
          <a:lstStyle/>
          <a:p>
            <a:endParaRPr lang="en-US" sz="1700" dirty="0">
              <a:solidFill>
                <a:schemeClr val="lt1">
                  <a:alpha val="99000"/>
                </a:schemeClr>
              </a:solidFill>
            </a:endParaRPr>
          </a:p>
        </p:txBody>
      </p:sp>
      <p:sp>
        <p:nvSpPr>
          <p:cNvPr id="15" name="Rectangle 14"/>
          <p:cNvSpPr/>
          <p:nvPr/>
        </p:nvSpPr>
        <p:spPr bwMode="auto">
          <a:xfrm>
            <a:off x="389439" y="1411112"/>
            <a:ext cx="2679450" cy="6772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7125" tIns="28565" rIns="28565" bIns="57125" numCol="1" spcCol="0" rtlCol="0" fromWordArt="0" anchor="b" anchorCtr="0" forceAA="0" compatLnSpc="1">
            <a:prstTxWarp prst="textNoShape">
              <a:avLst/>
            </a:prstTxWarp>
            <a:noAutofit/>
          </a:bodyPr>
          <a:lstStyle/>
          <a:p>
            <a:r>
              <a:rPr lang="en-US" sz="1700" dirty="0">
                <a:gradFill>
                  <a:gsLst>
                    <a:gs pos="0">
                      <a:schemeClr val="tx1"/>
                    </a:gs>
                    <a:gs pos="86000">
                      <a:schemeClr val="tx1"/>
                    </a:gs>
                  </a:gsLst>
                  <a:lin ang="5400000" scaled="0"/>
                </a:gradFill>
              </a:rPr>
              <a:t>Deploy to </a:t>
            </a:r>
            <a:br>
              <a:rPr lang="en-US" sz="1700" dirty="0">
                <a:gradFill>
                  <a:gsLst>
                    <a:gs pos="0">
                      <a:schemeClr val="tx1"/>
                    </a:gs>
                    <a:gs pos="86000">
                      <a:schemeClr val="tx1"/>
                    </a:gs>
                  </a:gsLst>
                  <a:lin ang="5400000" scaled="0"/>
                </a:gradFill>
              </a:rPr>
            </a:br>
            <a:r>
              <a:rPr lang="en-US" sz="1700" dirty="0">
                <a:gradFill>
                  <a:gsLst>
                    <a:gs pos="0">
                      <a:schemeClr val="tx1"/>
                    </a:gs>
                    <a:gs pos="86000">
                      <a:schemeClr val="tx1"/>
                    </a:gs>
                  </a:gsLst>
                  <a:lin ang="5400000" scaled="0"/>
                </a:gradFill>
              </a:rPr>
              <a:t>multiple regions</a:t>
            </a:r>
          </a:p>
        </p:txBody>
      </p:sp>
      <p:sp>
        <p:nvSpPr>
          <p:cNvPr id="16" name="Rectangle 15"/>
          <p:cNvSpPr/>
          <p:nvPr/>
        </p:nvSpPr>
        <p:spPr bwMode="auto">
          <a:xfrm>
            <a:off x="3234159" y="1411112"/>
            <a:ext cx="2679450" cy="6772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7125" tIns="28565" rIns="28565" bIns="57125" numCol="1" spcCol="0" rtlCol="0" fromWordArt="0" anchor="b" anchorCtr="0" forceAA="0" compatLnSpc="1">
            <a:prstTxWarp prst="textNoShape">
              <a:avLst/>
            </a:prstTxWarp>
            <a:noAutofit/>
          </a:bodyPr>
          <a:lstStyle/>
          <a:p>
            <a:r>
              <a:rPr lang="en-US" sz="1700" dirty="0">
                <a:gradFill>
                  <a:gsLst>
                    <a:gs pos="0">
                      <a:schemeClr val="tx1"/>
                    </a:gs>
                    <a:gs pos="86000">
                      <a:schemeClr val="tx1"/>
                    </a:gs>
                  </a:gsLst>
                  <a:lin ang="5400000" scaled="0"/>
                </a:gradFill>
              </a:rPr>
              <a:t>Route traffic intelligently with Traffic Manager</a:t>
            </a:r>
          </a:p>
        </p:txBody>
      </p:sp>
      <p:sp>
        <p:nvSpPr>
          <p:cNvPr id="17" name="Rectangle 16"/>
          <p:cNvSpPr/>
          <p:nvPr/>
        </p:nvSpPr>
        <p:spPr bwMode="auto">
          <a:xfrm>
            <a:off x="6073928" y="1411112"/>
            <a:ext cx="2679450" cy="67720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7125" tIns="28565" rIns="28565" bIns="57125" numCol="1" spcCol="0" rtlCol="0" fromWordArt="0" anchor="b" anchorCtr="0" forceAA="0" compatLnSpc="1">
            <a:prstTxWarp prst="textNoShape">
              <a:avLst/>
            </a:prstTxWarp>
            <a:noAutofit/>
          </a:bodyPr>
          <a:lstStyle/>
          <a:p>
            <a:r>
              <a:rPr lang="en-US" sz="1700" dirty="0">
                <a:gradFill>
                  <a:gsLst>
                    <a:gs pos="0">
                      <a:schemeClr val="tx1"/>
                    </a:gs>
                    <a:gs pos="86000">
                      <a:schemeClr val="tx1"/>
                    </a:gs>
                  </a:gsLst>
                  <a:lin ang="5400000" scaled="0"/>
                </a:gradFill>
              </a:rPr>
              <a:t>Synchronize data</a:t>
            </a:r>
          </a:p>
        </p:txBody>
      </p:sp>
      <p:sp>
        <p:nvSpPr>
          <p:cNvPr id="3" name="Title 2"/>
          <p:cNvSpPr>
            <a:spLocks noGrp="1"/>
          </p:cNvSpPr>
          <p:nvPr>
            <p:ph type="title"/>
          </p:nvPr>
        </p:nvSpPr>
        <p:spPr/>
        <p:txBody>
          <a:bodyPr/>
          <a:lstStyle/>
          <a:p>
            <a:r>
              <a:rPr lang="en-US" dirty="0" smtClean="0"/>
              <a:t>Application Design Best Practices</a:t>
            </a:r>
            <a:endParaRPr lang="en-US" dirty="0"/>
          </a:p>
        </p:txBody>
      </p:sp>
      <p:sp>
        <p:nvSpPr>
          <p:cNvPr id="12" name="Freeform 58"/>
          <p:cNvSpPr>
            <a:spLocks noEditPoints="1"/>
          </p:cNvSpPr>
          <p:nvPr/>
        </p:nvSpPr>
        <p:spPr bwMode="black">
          <a:xfrm>
            <a:off x="6806228" y="2276207"/>
            <a:ext cx="1219800" cy="130740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51421" tIns="25711" rIns="51421" bIns="25711" numCol="1" anchor="t" anchorCtr="0" compatLnSpc="1">
            <a:prstTxWarp prst="textNoShape">
              <a:avLst/>
            </a:prstTxWarp>
          </a:bodyPr>
          <a:lstStyle/>
          <a:p>
            <a:endParaRPr lang="en-US" sz="1000" dirty="0"/>
          </a:p>
        </p:txBody>
      </p:sp>
      <p:pic>
        <p:nvPicPr>
          <p:cNvPr id="13" name="Picture 2" descr="\\MAGNUM\Projects\Microsoft\Cloud Power FY12\Design\ICONS_PNG\Tower.png"/>
          <p:cNvPicPr>
            <a:picLocks noChangeAspect="1" noChangeArrowheads="1"/>
          </p:cNvPicPr>
          <p:nvPr/>
        </p:nvPicPr>
        <p:blipFill rotWithShape="1">
          <a:blip r:embed="rId2" cstate="print">
            <a:lum bright="100000" contrast="100000"/>
          </a:blip>
          <a:srcRect t="22057" b="22140"/>
          <a:stretch/>
        </p:blipFill>
        <p:spPr bwMode="auto">
          <a:xfrm>
            <a:off x="445164" y="2213578"/>
            <a:ext cx="2567998" cy="1432664"/>
          </a:xfrm>
          <a:prstGeom prst="rect">
            <a:avLst/>
          </a:prstGeom>
          <a:noFill/>
        </p:spPr>
      </p:pic>
      <p:grpSp>
        <p:nvGrpSpPr>
          <p:cNvPr id="25" name="Group 24"/>
          <p:cNvGrpSpPr/>
          <p:nvPr/>
        </p:nvGrpSpPr>
        <p:grpSpPr>
          <a:xfrm>
            <a:off x="3917537" y="2276207"/>
            <a:ext cx="1307742" cy="1307403"/>
            <a:chOff x="6142735" y="3908122"/>
            <a:chExt cx="1936553" cy="1936051"/>
          </a:xfrm>
        </p:grpSpPr>
        <p:grpSp>
          <p:nvGrpSpPr>
            <p:cNvPr id="14" name="Group 13"/>
            <p:cNvGrpSpPr/>
            <p:nvPr/>
          </p:nvGrpSpPr>
          <p:grpSpPr>
            <a:xfrm>
              <a:off x="6142735" y="3908122"/>
              <a:ext cx="1936553" cy="1936051"/>
              <a:chOff x="12513191" y="4664739"/>
              <a:chExt cx="1347446" cy="1347097"/>
            </a:xfrm>
          </p:grpSpPr>
          <p:sp>
            <p:nvSpPr>
              <p:cNvPr id="8" name="Freeform 35"/>
              <p:cNvSpPr>
                <a:spLocks noEditPoints="1"/>
              </p:cNvSpPr>
              <p:nvPr/>
            </p:nvSpPr>
            <p:spPr bwMode="black">
              <a:xfrm>
                <a:off x="12513191" y="4664739"/>
                <a:ext cx="1347446" cy="1347097"/>
              </a:xfrm>
              <a:custGeom>
                <a:avLst/>
                <a:gdLst>
                  <a:gd name="T0" fmla="*/ 298 w 324"/>
                  <a:gd name="T1" fmla="*/ 0 h 324"/>
                  <a:gd name="T2" fmla="*/ 26 w 324"/>
                  <a:gd name="T3" fmla="*/ 0 h 324"/>
                  <a:gd name="T4" fmla="*/ 0 w 324"/>
                  <a:gd name="T5" fmla="*/ 26 h 324"/>
                  <a:gd name="T6" fmla="*/ 0 w 324"/>
                  <a:gd name="T7" fmla="*/ 299 h 324"/>
                  <a:gd name="T8" fmla="*/ 26 w 324"/>
                  <a:gd name="T9" fmla="*/ 324 h 324"/>
                  <a:gd name="T10" fmla="*/ 298 w 324"/>
                  <a:gd name="T11" fmla="*/ 324 h 324"/>
                  <a:gd name="T12" fmla="*/ 324 w 324"/>
                  <a:gd name="T13" fmla="*/ 299 h 324"/>
                  <a:gd name="T14" fmla="*/ 324 w 324"/>
                  <a:gd name="T15" fmla="*/ 26 h 324"/>
                  <a:gd name="T16" fmla="*/ 298 w 324"/>
                  <a:gd name="T17" fmla="*/ 0 h 324"/>
                  <a:gd name="T18" fmla="*/ 233 w 324"/>
                  <a:gd name="T19" fmla="*/ 125 h 324"/>
                  <a:gd name="T20" fmla="*/ 229 w 324"/>
                  <a:gd name="T21" fmla="*/ 161 h 324"/>
                  <a:gd name="T22" fmla="*/ 209 w 324"/>
                  <a:gd name="T23" fmla="*/ 201 h 324"/>
                  <a:gd name="T24" fmla="*/ 201 w 324"/>
                  <a:gd name="T25" fmla="*/ 201 h 324"/>
                  <a:gd name="T26" fmla="*/ 201 w 324"/>
                  <a:gd name="T27" fmla="*/ 208 h 324"/>
                  <a:gd name="T28" fmla="*/ 233 w 324"/>
                  <a:gd name="T29" fmla="*/ 208 h 324"/>
                  <a:gd name="T30" fmla="*/ 229 w 324"/>
                  <a:gd name="T31" fmla="*/ 244 h 324"/>
                  <a:gd name="T32" fmla="*/ 209 w 324"/>
                  <a:gd name="T33" fmla="*/ 284 h 324"/>
                  <a:gd name="T34" fmla="*/ 201 w 324"/>
                  <a:gd name="T35" fmla="*/ 284 h 324"/>
                  <a:gd name="T36" fmla="*/ 201 w 324"/>
                  <a:gd name="T37" fmla="*/ 287 h 324"/>
                  <a:gd name="T38" fmla="*/ 182 w 324"/>
                  <a:gd name="T39" fmla="*/ 296 h 324"/>
                  <a:gd name="T40" fmla="*/ 137 w 324"/>
                  <a:gd name="T41" fmla="*/ 296 h 324"/>
                  <a:gd name="T42" fmla="*/ 118 w 324"/>
                  <a:gd name="T43" fmla="*/ 287 h 324"/>
                  <a:gd name="T44" fmla="*/ 118 w 324"/>
                  <a:gd name="T45" fmla="*/ 284 h 324"/>
                  <a:gd name="T46" fmla="*/ 110 w 324"/>
                  <a:gd name="T47" fmla="*/ 284 h 324"/>
                  <a:gd name="T48" fmla="*/ 91 w 324"/>
                  <a:gd name="T49" fmla="*/ 244 h 324"/>
                  <a:gd name="T50" fmla="*/ 86 w 324"/>
                  <a:gd name="T51" fmla="*/ 208 h 324"/>
                  <a:gd name="T52" fmla="*/ 118 w 324"/>
                  <a:gd name="T53" fmla="*/ 208 h 324"/>
                  <a:gd name="T54" fmla="*/ 118 w 324"/>
                  <a:gd name="T55" fmla="*/ 201 h 324"/>
                  <a:gd name="T56" fmla="*/ 110 w 324"/>
                  <a:gd name="T57" fmla="*/ 201 h 324"/>
                  <a:gd name="T58" fmla="*/ 91 w 324"/>
                  <a:gd name="T59" fmla="*/ 161 h 324"/>
                  <a:gd name="T60" fmla="*/ 86 w 324"/>
                  <a:gd name="T61" fmla="*/ 125 h 324"/>
                  <a:gd name="T62" fmla="*/ 118 w 324"/>
                  <a:gd name="T63" fmla="*/ 125 h 324"/>
                  <a:gd name="T64" fmla="*/ 118 w 324"/>
                  <a:gd name="T65" fmla="*/ 119 h 324"/>
                  <a:gd name="T66" fmla="*/ 110 w 324"/>
                  <a:gd name="T67" fmla="*/ 119 h 324"/>
                  <a:gd name="T68" fmla="*/ 91 w 324"/>
                  <a:gd name="T69" fmla="*/ 78 h 324"/>
                  <a:gd name="T70" fmla="*/ 86 w 324"/>
                  <a:gd name="T71" fmla="*/ 42 h 324"/>
                  <a:gd name="T72" fmla="*/ 118 w 324"/>
                  <a:gd name="T73" fmla="*/ 42 h 324"/>
                  <a:gd name="T74" fmla="*/ 118 w 324"/>
                  <a:gd name="T75" fmla="*/ 39 h 324"/>
                  <a:gd name="T76" fmla="*/ 137 w 324"/>
                  <a:gd name="T77" fmla="*/ 19 h 324"/>
                  <a:gd name="T78" fmla="*/ 182 w 324"/>
                  <a:gd name="T79" fmla="*/ 19 h 324"/>
                  <a:gd name="T80" fmla="*/ 201 w 324"/>
                  <a:gd name="T81" fmla="*/ 39 h 324"/>
                  <a:gd name="T82" fmla="*/ 201 w 324"/>
                  <a:gd name="T83" fmla="*/ 42 h 324"/>
                  <a:gd name="T84" fmla="*/ 233 w 324"/>
                  <a:gd name="T85" fmla="*/ 42 h 324"/>
                  <a:gd name="T86" fmla="*/ 229 w 324"/>
                  <a:gd name="T87" fmla="*/ 78 h 324"/>
                  <a:gd name="T88" fmla="*/ 209 w 324"/>
                  <a:gd name="T89" fmla="*/ 119 h 324"/>
                  <a:gd name="T90" fmla="*/ 201 w 324"/>
                  <a:gd name="T91" fmla="*/ 119 h 324"/>
                  <a:gd name="T92" fmla="*/ 201 w 324"/>
                  <a:gd name="T93" fmla="*/ 125 h 324"/>
                  <a:gd name="T94" fmla="*/ 233 w 324"/>
                  <a:gd name="T95" fmla="*/ 12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298" y="0"/>
                    </a:moveTo>
                    <a:cubicBezTo>
                      <a:pt x="26" y="0"/>
                      <a:pt x="26" y="0"/>
                      <a:pt x="26" y="0"/>
                    </a:cubicBezTo>
                    <a:cubicBezTo>
                      <a:pt x="12" y="0"/>
                      <a:pt x="0" y="12"/>
                      <a:pt x="0" y="26"/>
                    </a:cubicBezTo>
                    <a:cubicBezTo>
                      <a:pt x="0" y="299"/>
                      <a:pt x="0" y="299"/>
                      <a:pt x="0" y="299"/>
                    </a:cubicBezTo>
                    <a:cubicBezTo>
                      <a:pt x="0" y="313"/>
                      <a:pt x="12" y="324"/>
                      <a:pt x="26" y="324"/>
                    </a:cubicBezTo>
                    <a:cubicBezTo>
                      <a:pt x="298" y="324"/>
                      <a:pt x="298" y="324"/>
                      <a:pt x="298" y="324"/>
                    </a:cubicBezTo>
                    <a:cubicBezTo>
                      <a:pt x="312" y="324"/>
                      <a:pt x="324" y="313"/>
                      <a:pt x="324" y="299"/>
                    </a:cubicBezTo>
                    <a:cubicBezTo>
                      <a:pt x="324" y="26"/>
                      <a:pt x="324" y="26"/>
                      <a:pt x="324" y="26"/>
                    </a:cubicBezTo>
                    <a:cubicBezTo>
                      <a:pt x="324" y="12"/>
                      <a:pt x="312" y="0"/>
                      <a:pt x="298" y="0"/>
                    </a:cubicBezTo>
                    <a:close/>
                    <a:moveTo>
                      <a:pt x="233" y="125"/>
                    </a:moveTo>
                    <a:cubicBezTo>
                      <a:pt x="239" y="125"/>
                      <a:pt x="237" y="131"/>
                      <a:pt x="229" y="161"/>
                    </a:cubicBezTo>
                    <a:cubicBezTo>
                      <a:pt x="221" y="190"/>
                      <a:pt x="209" y="201"/>
                      <a:pt x="209" y="201"/>
                    </a:cubicBezTo>
                    <a:cubicBezTo>
                      <a:pt x="201" y="201"/>
                      <a:pt x="201" y="201"/>
                      <a:pt x="201" y="201"/>
                    </a:cubicBezTo>
                    <a:cubicBezTo>
                      <a:pt x="201" y="208"/>
                      <a:pt x="201" y="208"/>
                      <a:pt x="201" y="208"/>
                    </a:cubicBezTo>
                    <a:cubicBezTo>
                      <a:pt x="233" y="208"/>
                      <a:pt x="233" y="208"/>
                      <a:pt x="233" y="208"/>
                    </a:cubicBezTo>
                    <a:cubicBezTo>
                      <a:pt x="239" y="208"/>
                      <a:pt x="237" y="214"/>
                      <a:pt x="229" y="244"/>
                    </a:cubicBezTo>
                    <a:cubicBezTo>
                      <a:pt x="221" y="273"/>
                      <a:pt x="209" y="284"/>
                      <a:pt x="209" y="284"/>
                    </a:cubicBezTo>
                    <a:cubicBezTo>
                      <a:pt x="201" y="284"/>
                      <a:pt x="201" y="284"/>
                      <a:pt x="201" y="284"/>
                    </a:cubicBezTo>
                    <a:cubicBezTo>
                      <a:pt x="201" y="287"/>
                      <a:pt x="201" y="287"/>
                      <a:pt x="201" y="287"/>
                    </a:cubicBezTo>
                    <a:cubicBezTo>
                      <a:pt x="182" y="296"/>
                      <a:pt x="182" y="296"/>
                      <a:pt x="182" y="296"/>
                    </a:cubicBezTo>
                    <a:cubicBezTo>
                      <a:pt x="137" y="296"/>
                      <a:pt x="137" y="296"/>
                      <a:pt x="137" y="296"/>
                    </a:cubicBezTo>
                    <a:cubicBezTo>
                      <a:pt x="118" y="287"/>
                      <a:pt x="118" y="287"/>
                      <a:pt x="118" y="287"/>
                    </a:cubicBezTo>
                    <a:cubicBezTo>
                      <a:pt x="118" y="284"/>
                      <a:pt x="118" y="284"/>
                      <a:pt x="118" y="284"/>
                    </a:cubicBezTo>
                    <a:cubicBezTo>
                      <a:pt x="110" y="284"/>
                      <a:pt x="110" y="284"/>
                      <a:pt x="110" y="284"/>
                    </a:cubicBezTo>
                    <a:cubicBezTo>
                      <a:pt x="110" y="284"/>
                      <a:pt x="99" y="273"/>
                      <a:pt x="91" y="244"/>
                    </a:cubicBezTo>
                    <a:cubicBezTo>
                      <a:pt x="83" y="214"/>
                      <a:pt x="80" y="208"/>
                      <a:pt x="86" y="208"/>
                    </a:cubicBezTo>
                    <a:cubicBezTo>
                      <a:pt x="118" y="208"/>
                      <a:pt x="118" y="208"/>
                      <a:pt x="118" y="208"/>
                    </a:cubicBezTo>
                    <a:cubicBezTo>
                      <a:pt x="118" y="201"/>
                      <a:pt x="118" y="201"/>
                      <a:pt x="118" y="201"/>
                    </a:cubicBezTo>
                    <a:cubicBezTo>
                      <a:pt x="110" y="201"/>
                      <a:pt x="110" y="201"/>
                      <a:pt x="110" y="201"/>
                    </a:cubicBezTo>
                    <a:cubicBezTo>
                      <a:pt x="110" y="201"/>
                      <a:pt x="99" y="190"/>
                      <a:pt x="91" y="161"/>
                    </a:cubicBezTo>
                    <a:cubicBezTo>
                      <a:pt x="83" y="131"/>
                      <a:pt x="80" y="125"/>
                      <a:pt x="86" y="125"/>
                    </a:cubicBezTo>
                    <a:cubicBezTo>
                      <a:pt x="118" y="125"/>
                      <a:pt x="118" y="125"/>
                      <a:pt x="118" y="125"/>
                    </a:cubicBezTo>
                    <a:cubicBezTo>
                      <a:pt x="118" y="119"/>
                      <a:pt x="118" y="119"/>
                      <a:pt x="118" y="119"/>
                    </a:cubicBezTo>
                    <a:cubicBezTo>
                      <a:pt x="110" y="119"/>
                      <a:pt x="110" y="119"/>
                      <a:pt x="110" y="119"/>
                    </a:cubicBezTo>
                    <a:cubicBezTo>
                      <a:pt x="110" y="119"/>
                      <a:pt x="99" y="108"/>
                      <a:pt x="91" y="78"/>
                    </a:cubicBezTo>
                    <a:cubicBezTo>
                      <a:pt x="83" y="49"/>
                      <a:pt x="80" y="42"/>
                      <a:pt x="86" y="42"/>
                    </a:cubicBezTo>
                    <a:cubicBezTo>
                      <a:pt x="118" y="42"/>
                      <a:pt x="118" y="42"/>
                      <a:pt x="118" y="42"/>
                    </a:cubicBezTo>
                    <a:cubicBezTo>
                      <a:pt x="118" y="39"/>
                      <a:pt x="118" y="39"/>
                      <a:pt x="118" y="39"/>
                    </a:cubicBezTo>
                    <a:cubicBezTo>
                      <a:pt x="137" y="19"/>
                      <a:pt x="137" y="19"/>
                      <a:pt x="137" y="19"/>
                    </a:cubicBezTo>
                    <a:cubicBezTo>
                      <a:pt x="182" y="19"/>
                      <a:pt x="182" y="19"/>
                      <a:pt x="182" y="19"/>
                    </a:cubicBezTo>
                    <a:cubicBezTo>
                      <a:pt x="201" y="39"/>
                      <a:pt x="201" y="39"/>
                      <a:pt x="201" y="39"/>
                    </a:cubicBezTo>
                    <a:cubicBezTo>
                      <a:pt x="201" y="42"/>
                      <a:pt x="201" y="42"/>
                      <a:pt x="201" y="42"/>
                    </a:cubicBezTo>
                    <a:cubicBezTo>
                      <a:pt x="233" y="42"/>
                      <a:pt x="233" y="42"/>
                      <a:pt x="233" y="42"/>
                    </a:cubicBezTo>
                    <a:cubicBezTo>
                      <a:pt x="239" y="42"/>
                      <a:pt x="237" y="49"/>
                      <a:pt x="229" y="78"/>
                    </a:cubicBezTo>
                    <a:cubicBezTo>
                      <a:pt x="221" y="108"/>
                      <a:pt x="209" y="119"/>
                      <a:pt x="209" y="119"/>
                    </a:cubicBezTo>
                    <a:cubicBezTo>
                      <a:pt x="201" y="119"/>
                      <a:pt x="201" y="119"/>
                      <a:pt x="201" y="119"/>
                    </a:cubicBezTo>
                    <a:cubicBezTo>
                      <a:pt x="201" y="125"/>
                      <a:pt x="201" y="125"/>
                      <a:pt x="201" y="125"/>
                    </a:cubicBezTo>
                    <a:lnTo>
                      <a:pt x="233" y="12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000" dirty="0"/>
              </a:p>
            </p:txBody>
          </p:sp>
          <p:sp>
            <p:nvSpPr>
              <p:cNvPr id="9" name="Oval 36"/>
              <p:cNvSpPr>
                <a:spLocks noChangeArrowheads="1"/>
              </p:cNvSpPr>
              <p:nvPr/>
            </p:nvSpPr>
            <p:spPr bwMode="black">
              <a:xfrm>
                <a:off x="13036579" y="4865134"/>
                <a:ext cx="278399" cy="274615"/>
              </a:xfrm>
              <a:prstGeom prst="ellipse">
                <a:avLst/>
              </a:prstGeom>
              <a:solidFill>
                <a:srgbClr val="FFFFFF"/>
              </a:solidFill>
              <a:ln>
                <a:noFill/>
              </a:ln>
            </p:spPr>
            <p:txBody>
              <a:bodyPr vert="horz" wrap="square" lIns="91440" tIns="45720" rIns="91440" bIns="45720" numCol="1" anchor="t" anchorCtr="0" compatLnSpc="1">
                <a:prstTxWarp prst="textNoShape">
                  <a:avLst/>
                </a:prstTxWarp>
              </a:bodyPr>
              <a:lstStyle/>
              <a:p>
                <a:endParaRPr lang="en-US" sz="1000" dirty="0"/>
              </a:p>
            </p:txBody>
          </p:sp>
          <p:sp>
            <p:nvSpPr>
              <p:cNvPr id="10" name="Oval 37"/>
              <p:cNvSpPr>
                <a:spLocks noChangeArrowheads="1"/>
              </p:cNvSpPr>
              <p:nvPr/>
            </p:nvSpPr>
            <p:spPr bwMode="black">
              <a:xfrm>
                <a:off x="13036579" y="5210256"/>
                <a:ext cx="278399" cy="278327"/>
              </a:xfrm>
              <a:prstGeom prst="ellipse">
                <a:avLst/>
              </a:prstGeom>
              <a:solidFill>
                <a:srgbClr val="FFFFFF"/>
              </a:solidFill>
              <a:ln>
                <a:noFill/>
              </a:ln>
            </p:spPr>
            <p:txBody>
              <a:bodyPr vert="horz" wrap="square" lIns="91440" tIns="45720" rIns="91440" bIns="45720" numCol="1" anchor="t" anchorCtr="0" compatLnSpc="1">
                <a:prstTxWarp prst="textNoShape">
                  <a:avLst/>
                </a:prstTxWarp>
              </a:bodyPr>
              <a:lstStyle/>
              <a:p>
                <a:endParaRPr lang="en-US" sz="1000" dirty="0"/>
              </a:p>
            </p:txBody>
          </p:sp>
          <p:sp>
            <p:nvSpPr>
              <p:cNvPr id="11" name="Oval 38"/>
              <p:cNvSpPr>
                <a:spLocks noChangeArrowheads="1"/>
              </p:cNvSpPr>
              <p:nvPr/>
            </p:nvSpPr>
            <p:spPr bwMode="black">
              <a:xfrm>
                <a:off x="13036579" y="5551669"/>
                <a:ext cx="278399" cy="278327"/>
              </a:xfrm>
              <a:prstGeom prst="ellipse">
                <a:avLst/>
              </a:prstGeom>
              <a:solidFill>
                <a:srgbClr val="FFFFFF"/>
              </a:solidFill>
              <a:ln>
                <a:noFill/>
              </a:ln>
            </p:spPr>
            <p:txBody>
              <a:bodyPr vert="horz" wrap="square" lIns="91440" tIns="45720" rIns="91440" bIns="45720" numCol="1" anchor="t" anchorCtr="0" compatLnSpc="1">
                <a:prstTxWarp prst="textNoShape">
                  <a:avLst/>
                </a:prstTxWarp>
              </a:bodyPr>
              <a:lstStyle/>
              <a:p>
                <a:endParaRPr lang="en-US" sz="1000" dirty="0"/>
              </a:p>
            </p:txBody>
          </p:sp>
        </p:grpSp>
        <p:sp>
          <p:nvSpPr>
            <p:cNvPr id="21" name="Rectangle 20"/>
            <p:cNvSpPr/>
            <p:nvPr/>
          </p:nvSpPr>
          <p:spPr bwMode="auto">
            <a:xfrm>
              <a:off x="6142735" y="3908122"/>
              <a:ext cx="428028" cy="54376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571084" fontAlgn="base">
                <a:spcBef>
                  <a:spcPct val="0"/>
                </a:spcBef>
                <a:spcAft>
                  <a:spcPct val="0"/>
                </a:spcAft>
              </a:pPr>
              <a:endParaRPr lang="en-US" spc="-32"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2" name="Rectangle 21"/>
            <p:cNvSpPr/>
            <p:nvPr/>
          </p:nvSpPr>
          <p:spPr bwMode="auto">
            <a:xfrm>
              <a:off x="6142735" y="5300411"/>
              <a:ext cx="428028" cy="54376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571084" fontAlgn="base">
                <a:spcBef>
                  <a:spcPct val="0"/>
                </a:spcBef>
                <a:spcAft>
                  <a:spcPct val="0"/>
                </a:spcAft>
              </a:pPr>
              <a:endParaRPr lang="en-US" spc="-32"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3" name="Rectangle 22"/>
            <p:cNvSpPr/>
            <p:nvPr/>
          </p:nvSpPr>
          <p:spPr bwMode="auto">
            <a:xfrm>
              <a:off x="7651260" y="5300411"/>
              <a:ext cx="428028" cy="54376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571084" fontAlgn="base">
                <a:spcBef>
                  <a:spcPct val="0"/>
                </a:spcBef>
                <a:spcAft>
                  <a:spcPct val="0"/>
                </a:spcAft>
              </a:pPr>
              <a:endParaRPr lang="en-US" spc="-32"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4" name="Rectangle 23"/>
            <p:cNvSpPr/>
            <p:nvPr/>
          </p:nvSpPr>
          <p:spPr bwMode="auto">
            <a:xfrm>
              <a:off x="7651260" y="3908122"/>
              <a:ext cx="428028" cy="54376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571084" fontAlgn="base">
                <a:spcBef>
                  <a:spcPct val="0"/>
                </a:spcBef>
                <a:spcAft>
                  <a:spcPct val="0"/>
                </a:spcAft>
              </a:pPr>
              <a:endParaRPr lang="en-US" spc="-32"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sp>
        <p:nvSpPr>
          <p:cNvPr id="27" name="Rectangle 26"/>
          <p:cNvSpPr/>
          <p:nvPr/>
        </p:nvSpPr>
        <p:spPr bwMode="auto">
          <a:xfrm>
            <a:off x="3231682" y="3771500"/>
            <a:ext cx="2679450" cy="668428"/>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7125" tIns="28565" rIns="28565" bIns="57125" numCol="1" spcCol="0" rtlCol="0" fromWordArt="0" anchor="b" anchorCtr="0" forceAA="0" compatLnSpc="1">
            <a:prstTxWarp prst="textNoShape">
              <a:avLst/>
            </a:prstTxWarp>
            <a:noAutofit/>
          </a:bodyPr>
          <a:lstStyle/>
          <a:p>
            <a:pPr>
              <a:spcBef>
                <a:spcPts val="375"/>
              </a:spcBef>
              <a:spcAft>
                <a:spcPts val="375"/>
              </a:spcAft>
            </a:pPr>
            <a:r>
              <a:rPr lang="en-US" sz="1100" dirty="0">
                <a:gradFill>
                  <a:gsLst>
                    <a:gs pos="0">
                      <a:schemeClr val="tx1"/>
                    </a:gs>
                    <a:gs pos="86000">
                      <a:schemeClr val="tx1"/>
                    </a:gs>
                  </a:gsLst>
                  <a:lin ang="5400000" scaled="0"/>
                </a:gradFill>
              </a:rPr>
              <a:t>“Performance” policy for active-active</a:t>
            </a:r>
          </a:p>
          <a:p>
            <a:pPr>
              <a:spcBef>
                <a:spcPts val="375"/>
              </a:spcBef>
              <a:spcAft>
                <a:spcPts val="375"/>
              </a:spcAft>
            </a:pPr>
            <a:r>
              <a:rPr lang="en-US" sz="1100" dirty="0">
                <a:gradFill>
                  <a:gsLst>
                    <a:gs pos="0">
                      <a:schemeClr val="tx1"/>
                    </a:gs>
                    <a:gs pos="86000">
                      <a:schemeClr val="tx1"/>
                    </a:gs>
                  </a:gsLst>
                  <a:lin ang="5400000" scaled="0"/>
                </a:gradFill>
              </a:rPr>
              <a:t>“Failover” policy for active-passive</a:t>
            </a:r>
          </a:p>
        </p:txBody>
      </p:sp>
      <p:sp>
        <p:nvSpPr>
          <p:cNvPr id="28" name="Rectangle 27"/>
          <p:cNvSpPr/>
          <p:nvPr/>
        </p:nvSpPr>
        <p:spPr bwMode="auto">
          <a:xfrm>
            <a:off x="6073926" y="3771500"/>
            <a:ext cx="2679450" cy="668428"/>
          </a:xfrm>
          <a:prstGeom prst="rect">
            <a:avLst/>
          </a:pr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7125" tIns="28565" rIns="28565" bIns="57125" numCol="1" spcCol="0" rtlCol="0" fromWordArt="0" anchor="b" anchorCtr="0" forceAA="0" compatLnSpc="1">
            <a:prstTxWarp prst="textNoShape">
              <a:avLst/>
            </a:prstTxWarp>
            <a:noAutofit/>
          </a:bodyPr>
          <a:lstStyle/>
          <a:p>
            <a:pPr>
              <a:spcBef>
                <a:spcPts val="375"/>
              </a:spcBef>
              <a:spcAft>
                <a:spcPts val="375"/>
              </a:spcAft>
            </a:pPr>
            <a:r>
              <a:rPr lang="en-US" sz="1100" dirty="0">
                <a:gradFill>
                  <a:gsLst>
                    <a:gs pos="0">
                      <a:schemeClr val="tx1"/>
                    </a:gs>
                    <a:gs pos="86000">
                      <a:schemeClr val="tx1"/>
                    </a:gs>
                  </a:gsLst>
                  <a:lin ang="5400000" scaled="0"/>
                </a:gradFill>
              </a:rPr>
              <a:t>SQL Azure Backup and Data Sync</a:t>
            </a:r>
          </a:p>
          <a:p>
            <a:pPr>
              <a:spcBef>
                <a:spcPts val="375"/>
              </a:spcBef>
              <a:spcAft>
                <a:spcPts val="375"/>
              </a:spcAft>
            </a:pPr>
            <a:r>
              <a:rPr lang="en-US" sz="1100" dirty="0">
                <a:gradFill>
                  <a:gsLst>
                    <a:gs pos="0">
                      <a:schemeClr val="tx1"/>
                    </a:gs>
                    <a:gs pos="86000">
                      <a:schemeClr val="tx1"/>
                    </a:gs>
                  </a:gsLst>
                  <a:lin ang="5400000" scaled="0"/>
                </a:gradFill>
              </a:rPr>
              <a:t>Other storage (custom-built replication)</a:t>
            </a:r>
          </a:p>
        </p:txBody>
      </p:sp>
      <p:sp>
        <p:nvSpPr>
          <p:cNvPr id="26" name="Rectangle 25"/>
          <p:cNvSpPr/>
          <p:nvPr/>
        </p:nvSpPr>
        <p:spPr bwMode="auto">
          <a:xfrm>
            <a:off x="389444" y="3771507"/>
            <a:ext cx="2681927" cy="66926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7125" tIns="28565" rIns="28565" bIns="57125" numCol="1" spcCol="0" rtlCol="0" fromWordArt="0" anchor="b" anchorCtr="0" forceAA="0" compatLnSpc="1">
            <a:prstTxWarp prst="textNoShape">
              <a:avLst/>
            </a:prstTxWarp>
            <a:noAutofit/>
          </a:bodyPr>
          <a:lstStyle/>
          <a:p>
            <a:pPr>
              <a:spcBef>
                <a:spcPts val="375"/>
              </a:spcBef>
              <a:spcAft>
                <a:spcPts val="375"/>
              </a:spcAft>
            </a:pPr>
            <a:r>
              <a:rPr lang="en-US" sz="1100" dirty="0">
                <a:gradFill>
                  <a:gsLst>
                    <a:gs pos="0">
                      <a:schemeClr val="tx1"/>
                    </a:gs>
                    <a:gs pos="86000">
                      <a:schemeClr val="tx1"/>
                    </a:gs>
                  </a:gsLst>
                  <a:lin ang="5400000" scaled="0"/>
                </a:gradFill>
              </a:rPr>
              <a:t>Specify locations of compute and storage resources</a:t>
            </a:r>
          </a:p>
          <a:p>
            <a:pPr>
              <a:spcBef>
                <a:spcPts val="375"/>
              </a:spcBef>
              <a:spcAft>
                <a:spcPts val="375"/>
              </a:spcAft>
            </a:pPr>
            <a:r>
              <a:rPr lang="en-US" sz="1100" dirty="0">
                <a:gradFill>
                  <a:gsLst>
                    <a:gs pos="0">
                      <a:schemeClr val="tx1"/>
                    </a:gs>
                    <a:gs pos="86000">
                      <a:schemeClr val="tx1"/>
                    </a:gs>
                  </a:gsLst>
                  <a:lin ang="5400000" scaled="0"/>
                </a:gradFill>
              </a:rPr>
              <a:t>Capacity and app arch considerations</a:t>
            </a:r>
          </a:p>
        </p:txBody>
      </p:sp>
      <p:sp>
        <p:nvSpPr>
          <p:cNvPr id="29"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0"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pic>
        <p:nvPicPr>
          <p:cNvPr id="31"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60335034"/>
      </p:ext>
    </p:extLst>
  </p:cSld>
  <p:clrMapOvr>
    <a:masterClrMapping/>
  </p:clrMapOvr>
  <p:transition>
    <p:fade/>
  </p:transition>
  <p:timing>
    <p:tnLst>
      <p:par>
        <p:cTn id="1" dur="indefinite" restart="never" nodeType="tmRoot"/>
      </p:par>
    </p:tnLst>
  </p:timing>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rapezoid 4"/>
          <p:cNvSpPr/>
          <p:nvPr/>
        </p:nvSpPr>
        <p:spPr bwMode="auto">
          <a:xfrm rot="5400000">
            <a:off x="2433269" y="-53283"/>
            <a:ext cx="3757197" cy="6449980"/>
          </a:xfrm>
          <a:custGeom>
            <a:avLst/>
            <a:gdLst>
              <a:gd name="connsiteX0" fmla="*/ 0 w 4297075"/>
              <a:gd name="connsiteY0" fmla="*/ 8526482 h 8526482"/>
              <a:gd name="connsiteX1" fmla="*/ 1074269 w 4297075"/>
              <a:gd name="connsiteY1" fmla="*/ 0 h 8526482"/>
              <a:gd name="connsiteX2" fmla="*/ 3222806 w 4297075"/>
              <a:gd name="connsiteY2" fmla="*/ 0 h 8526482"/>
              <a:gd name="connsiteX3" fmla="*/ 4297075 w 4297075"/>
              <a:gd name="connsiteY3" fmla="*/ 8526482 h 8526482"/>
              <a:gd name="connsiteX4" fmla="*/ 0 w 4297075"/>
              <a:gd name="connsiteY4" fmla="*/ 8526482 h 8526482"/>
              <a:gd name="connsiteX0" fmla="*/ 0 w 4724585"/>
              <a:gd name="connsiteY0" fmla="*/ 8562108 h 8562108"/>
              <a:gd name="connsiteX1" fmla="*/ 1501779 w 4724585"/>
              <a:gd name="connsiteY1" fmla="*/ 0 h 8562108"/>
              <a:gd name="connsiteX2" fmla="*/ 3650316 w 4724585"/>
              <a:gd name="connsiteY2" fmla="*/ 0 h 8562108"/>
              <a:gd name="connsiteX3" fmla="*/ 4724585 w 4724585"/>
              <a:gd name="connsiteY3" fmla="*/ 8526482 h 8562108"/>
              <a:gd name="connsiteX4" fmla="*/ 0 w 4724585"/>
              <a:gd name="connsiteY4" fmla="*/ 8562108 h 8562108"/>
              <a:gd name="connsiteX0" fmla="*/ 0 w 5009596"/>
              <a:gd name="connsiteY0" fmla="*/ 8562108 h 8597734"/>
              <a:gd name="connsiteX1" fmla="*/ 1501779 w 5009596"/>
              <a:gd name="connsiteY1" fmla="*/ 0 h 8597734"/>
              <a:gd name="connsiteX2" fmla="*/ 3650316 w 5009596"/>
              <a:gd name="connsiteY2" fmla="*/ 0 h 8597734"/>
              <a:gd name="connsiteX3" fmla="*/ 5009596 w 5009596"/>
              <a:gd name="connsiteY3" fmla="*/ 8597734 h 8597734"/>
              <a:gd name="connsiteX4" fmla="*/ 0 w 5009596"/>
              <a:gd name="connsiteY4" fmla="*/ 8562108 h 8597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9596" h="8597734">
                <a:moveTo>
                  <a:pt x="0" y="8562108"/>
                </a:moveTo>
                <a:lnTo>
                  <a:pt x="1501779" y="0"/>
                </a:lnTo>
                <a:lnTo>
                  <a:pt x="3650316" y="0"/>
                </a:lnTo>
                <a:lnTo>
                  <a:pt x="5009596" y="8597734"/>
                </a:lnTo>
                <a:lnTo>
                  <a:pt x="0" y="8562108"/>
                </a:lnTo>
                <a:close/>
              </a:path>
            </a:pathLst>
          </a:custGeom>
          <a:gradFill>
            <a:gsLst>
              <a:gs pos="0">
                <a:schemeClr val="tx2">
                  <a:lumMod val="75000"/>
                  <a:alpha val="59000"/>
                </a:schemeClr>
              </a:gs>
              <a:gs pos="50000">
                <a:schemeClr val="tx2">
                  <a:lumMod val="60000"/>
                  <a:lumOff val="40000"/>
                  <a:alpha val="51000"/>
                </a:schemeClr>
              </a:gs>
              <a:gs pos="100000">
                <a:schemeClr val="tx2">
                  <a:lumMod val="60000"/>
                  <a:lumOff val="40000"/>
                  <a:alpha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solidFill>
                <a:schemeClr val="tx1"/>
              </a:solidFill>
            </a:endParaRPr>
          </a:p>
        </p:txBody>
      </p:sp>
      <p:pic>
        <p:nvPicPr>
          <p:cNvPr id="143"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rot="943923">
            <a:off x="2379818" y="1806379"/>
            <a:ext cx="2660732" cy="9730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Title 4"/>
          <p:cNvSpPr>
            <a:spLocks noGrp="1"/>
          </p:cNvSpPr>
          <p:nvPr>
            <p:ph type="title"/>
          </p:nvPr>
        </p:nvSpPr>
        <p:spPr/>
        <p:txBody>
          <a:bodyPr/>
          <a:lstStyle/>
          <a:p>
            <a:pPr lvl="0"/>
            <a:r>
              <a:rPr lang="en-US" dirty="0" smtClean="0"/>
              <a:t>Rich Experience Everywhere</a:t>
            </a:r>
            <a:endParaRPr lang="en-US" dirty="0"/>
          </a:p>
        </p:txBody>
      </p:sp>
      <p:sp>
        <p:nvSpPr>
          <p:cNvPr id="191" name="Rectangle 190"/>
          <p:cNvSpPr/>
          <p:nvPr/>
        </p:nvSpPr>
        <p:spPr>
          <a:xfrm>
            <a:off x="855246" y="950153"/>
            <a:ext cx="7554674" cy="484739"/>
          </a:xfrm>
          <a:prstGeom prst="rect">
            <a:avLst/>
          </a:prstGeom>
        </p:spPr>
        <p:txBody>
          <a:bodyPr wrap="square" lIns="68577" tIns="34289" rIns="68577" bIns="34289">
            <a:spAutoFit/>
          </a:bodyPr>
          <a:lstStyle/>
          <a:p>
            <a:pPr marL="0" lvl="1" algn="ctr" defTabSz="-8670092" eaLnBrk="0" hangingPunct="0">
              <a:lnSpc>
                <a:spcPct val="90000"/>
              </a:lnSpc>
              <a:spcBef>
                <a:spcPts val="375"/>
              </a:spcBef>
              <a:buClr>
                <a:srgbClr val="FFFFFF"/>
              </a:buClr>
              <a:buSzPct val="95000"/>
              <a:defRPr/>
            </a:pPr>
            <a:r>
              <a:rPr lang="en-US" sz="1500" dirty="0">
                <a:ln w="12700">
                  <a:noFill/>
                  <a:prstDash val="solid"/>
                </a:ln>
                <a:latin typeface="Segoe UI Light" pitchFamily="34" charset="0"/>
              </a:rPr>
              <a:t>RemoteFX delivers a consistently rich user experience to users over LAN or WAN (irrespective of deployment model)</a:t>
            </a:r>
          </a:p>
        </p:txBody>
      </p:sp>
      <p:pic>
        <p:nvPicPr>
          <p:cNvPr id="203" name="Picture 20"/>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rot="20775514">
            <a:off x="1988677" y="3436708"/>
            <a:ext cx="2576553" cy="1109783"/>
          </a:xfrm>
          <a:prstGeom prst="rect">
            <a:avLst/>
          </a:prstGeom>
          <a:noFill/>
          <a:extLst>
            <a:ext uri="{909E8E84-426E-40DD-AFC4-6F175D3DCCD1}">
              <a14:hiddenFill xmlns:a14="http://schemas.microsoft.com/office/drawing/2010/main">
                <a:solidFill>
                  <a:srgbClr val="FFFFFF"/>
                </a:solidFill>
              </a14:hiddenFill>
            </a:ext>
          </a:extLst>
        </p:spPr>
      </p:pic>
      <p:pic>
        <p:nvPicPr>
          <p:cNvPr id="147" name="Picture 14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09404" y="4122908"/>
            <a:ext cx="898125" cy="435221"/>
          </a:xfrm>
          <a:prstGeom prst="rect">
            <a:avLst/>
          </a:prstGeom>
        </p:spPr>
      </p:pic>
      <p:sp>
        <p:nvSpPr>
          <p:cNvPr id="13" name="TextBox 12"/>
          <p:cNvSpPr txBox="1"/>
          <p:nvPr/>
        </p:nvSpPr>
        <p:spPr>
          <a:xfrm>
            <a:off x="2571481" y="3880535"/>
            <a:ext cx="1214456" cy="507830"/>
          </a:xfrm>
          <a:prstGeom prst="rect">
            <a:avLst/>
          </a:prstGeom>
          <a:noFill/>
        </p:spPr>
        <p:txBody>
          <a:bodyPr wrap="square" lIns="68586" tIns="34294" rIns="68586" bIns="34294" rtlCol="0">
            <a:spAutoFit/>
          </a:bodyPr>
          <a:lstStyle/>
          <a:p>
            <a:pPr algn="ctr"/>
            <a:r>
              <a:rPr lang="en-US" b="1" dirty="0" smtClean="0"/>
              <a:t>Internet or WAN</a:t>
            </a:r>
            <a:endParaRPr lang="en-US" b="1" dirty="0"/>
          </a:p>
        </p:txBody>
      </p:sp>
      <p:pic>
        <p:nvPicPr>
          <p:cNvPr id="148" name="Picture 14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559679" y="1695746"/>
            <a:ext cx="940969" cy="695176"/>
          </a:xfrm>
          <a:prstGeom prst="rect">
            <a:avLst/>
          </a:prstGeom>
        </p:spPr>
      </p:pic>
      <p:pic>
        <p:nvPicPr>
          <p:cNvPr id="178" name="Picture 177" descr="green_mon.png"/>
          <p:cNvPicPr>
            <a:picLocks noChangeAspect="1"/>
          </p:cNvPicPr>
          <p:nvPr/>
        </p:nvPicPr>
        <p:blipFill>
          <a:blip r:embed="rId7"/>
          <a:stretch>
            <a:fillRect/>
          </a:stretch>
        </p:blipFill>
        <p:spPr>
          <a:xfrm>
            <a:off x="1518664" y="2390921"/>
            <a:ext cx="743392" cy="726937"/>
          </a:xfrm>
          <a:prstGeom prst="rect">
            <a:avLst/>
          </a:prstGeom>
          <a:noFill/>
          <a:ln>
            <a:noFill/>
          </a:ln>
        </p:spPr>
      </p:pic>
      <p:sp>
        <p:nvSpPr>
          <p:cNvPr id="12" name="TextBox 11"/>
          <p:cNvSpPr txBox="1"/>
          <p:nvPr/>
        </p:nvSpPr>
        <p:spPr>
          <a:xfrm>
            <a:off x="2425995" y="2043332"/>
            <a:ext cx="1416538" cy="288539"/>
          </a:xfrm>
          <a:prstGeom prst="rect">
            <a:avLst/>
          </a:prstGeom>
          <a:noFill/>
        </p:spPr>
        <p:txBody>
          <a:bodyPr wrap="square" lIns="68586" tIns="34294" rIns="68586" bIns="34294" rtlCol="0">
            <a:spAutoFit/>
          </a:bodyPr>
          <a:lstStyle/>
          <a:p>
            <a:pPr algn="ctr"/>
            <a:r>
              <a:rPr lang="en-US" b="1" dirty="0" smtClean="0"/>
              <a:t>Corporate LAN</a:t>
            </a:r>
            <a:endParaRPr lang="en-US" b="1" dirty="0"/>
          </a:p>
        </p:txBody>
      </p:sp>
      <p:pic>
        <p:nvPicPr>
          <p:cNvPr id="26" name="Picture 25" descr="Servers.png"/>
          <p:cNvPicPr>
            <a:picLocks noChangeAspect="1"/>
          </p:cNvPicPr>
          <p:nvPr/>
        </p:nvPicPr>
        <p:blipFill>
          <a:blip r:embed="rId8" cstate="print"/>
          <a:stretch>
            <a:fillRect/>
          </a:stretch>
        </p:blipFill>
        <p:spPr>
          <a:xfrm>
            <a:off x="6082931" y="1801579"/>
            <a:ext cx="1603804" cy="2573177"/>
          </a:xfrm>
          <a:prstGeom prst="rect">
            <a:avLst/>
          </a:prstGeom>
        </p:spPr>
      </p:pic>
      <p:sp>
        <p:nvSpPr>
          <p:cNvPr id="6" name="TextBox 5"/>
          <p:cNvSpPr txBox="1"/>
          <p:nvPr/>
        </p:nvSpPr>
        <p:spPr>
          <a:xfrm>
            <a:off x="7258751" y="1326413"/>
            <a:ext cx="1701583" cy="369332"/>
          </a:xfrm>
          <a:prstGeom prst="rect">
            <a:avLst/>
          </a:prstGeom>
          <a:noFill/>
        </p:spPr>
        <p:txBody>
          <a:bodyPr wrap="square" lIns="0" tIns="0" rIns="0" bIns="0" rtlCol="0">
            <a:spAutoFit/>
          </a:bodyPr>
          <a:lstStyle/>
          <a:p>
            <a:pPr algn="ctr"/>
            <a:r>
              <a:rPr lang="en-US" sz="2400" b="1" dirty="0">
                <a:solidFill>
                  <a:srgbClr val="FFC000"/>
                </a:solidFill>
              </a:rPr>
              <a:t>RemoteFX</a:t>
            </a:r>
          </a:p>
        </p:txBody>
      </p:sp>
      <p:sp>
        <p:nvSpPr>
          <p:cNvPr id="19" name="TextBox 18"/>
          <p:cNvSpPr txBox="1"/>
          <p:nvPr/>
        </p:nvSpPr>
        <p:spPr>
          <a:xfrm>
            <a:off x="4446395" y="2529975"/>
            <a:ext cx="2199409" cy="184666"/>
          </a:xfrm>
          <a:prstGeom prst="rect">
            <a:avLst/>
          </a:prstGeom>
          <a:noFill/>
        </p:spPr>
        <p:txBody>
          <a:bodyPr wrap="square" lIns="0" tIns="0" rIns="0" bIns="0" rtlCol="0">
            <a:spAutoFit/>
          </a:bodyPr>
          <a:lstStyle/>
          <a:p>
            <a:pPr algn="ctr"/>
            <a:r>
              <a:rPr lang="en-US" sz="1200" dirty="0"/>
              <a:t>Rich multimedia</a:t>
            </a:r>
          </a:p>
        </p:txBody>
      </p:sp>
      <p:sp>
        <p:nvSpPr>
          <p:cNvPr id="20" name="TextBox 19"/>
          <p:cNvSpPr txBox="1"/>
          <p:nvPr/>
        </p:nvSpPr>
        <p:spPr>
          <a:xfrm>
            <a:off x="5011925" y="2795670"/>
            <a:ext cx="1068346" cy="369332"/>
          </a:xfrm>
          <a:prstGeom prst="rect">
            <a:avLst/>
          </a:prstGeom>
          <a:noFill/>
        </p:spPr>
        <p:txBody>
          <a:bodyPr wrap="square" lIns="0" tIns="0" rIns="0" bIns="0" rtlCol="0">
            <a:spAutoFit/>
          </a:bodyPr>
          <a:lstStyle/>
          <a:p>
            <a:pPr algn="ctr"/>
            <a:r>
              <a:rPr lang="en-US" sz="1200" dirty="0"/>
              <a:t>USB Redirection</a:t>
            </a:r>
          </a:p>
        </p:txBody>
      </p:sp>
      <p:sp>
        <p:nvSpPr>
          <p:cNvPr id="21" name="TextBox 20"/>
          <p:cNvSpPr txBox="1"/>
          <p:nvPr/>
        </p:nvSpPr>
        <p:spPr>
          <a:xfrm>
            <a:off x="4880983" y="3741078"/>
            <a:ext cx="1335550" cy="184666"/>
          </a:xfrm>
          <a:prstGeom prst="rect">
            <a:avLst/>
          </a:prstGeom>
          <a:noFill/>
        </p:spPr>
        <p:txBody>
          <a:bodyPr wrap="square" lIns="0" tIns="0" rIns="0" bIns="0" rtlCol="0">
            <a:spAutoFit/>
          </a:bodyPr>
          <a:lstStyle/>
          <a:p>
            <a:pPr algn="ctr"/>
            <a:r>
              <a:rPr lang="en-US" sz="1200" dirty="0"/>
              <a:t>WAN acceleration</a:t>
            </a:r>
          </a:p>
        </p:txBody>
      </p:sp>
      <p:sp>
        <p:nvSpPr>
          <p:cNvPr id="23" name="TextBox 22"/>
          <p:cNvSpPr txBox="1"/>
          <p:nvPr/>
        </p:nvSpPr>
        <p:spPr>
          <a:xfrm>
            <a:off x="5011924" y="3464909"/>
            <a:ext cx="1068346" cy="184666"/>
          </a:xfrm>
          <a:prstGeom prst="rect">
            <a:avLst/>
          </a:prstGeom>
          <a:noFill/>
        </p:spPr>
        <p:txBody>
          <a:bodyPr wrap="square" lIns="0" tIns="0" rIns="0" bIns="0" rtlCol="0">
            <a:spAutoFit/>
          </a:bodyPr>
          <a:lstStyle/>
          <a:p>
            <a:pPr algn="ctr"/>
            <a:r>
              <a:rPr lang="en-US" sz="1200" dirty="0"/>
              <a:t>Multi Touch</a:t>
            </a:r>
          </a:p>
        </p:txBody>
      </p:sp>
      <p:sp>
        <p:nvSpPr>
          <p:cNvPr id="24" name="TextBox 23"/>
          <p:cNvSpPr txBox="1"/>
          <p:nvPr/>
        </p:nvSpPr>
        <p:spPr>
          <a:xfrm>
            <a:off x="5014585" y="4030575"/>
            <a:ext cx="1068346" cy="184666"/>
          </a:xfrm>
          <a:prstGeom prst="rect">
            <a:avLst/>
          </a:prstGeom>
          <a:noFill/>
        </p:spPr>
        <p:txBody>
          <a:bodyPr wrap="square" lIns="0" tIns="0" rIns="0" bIns="0" rtlCol="0">
            <a:spAutoFit/>
          </a:bodyPr>
          <a:lstStyle/>
          <a:p>
            <a:pPr algn="ctr"/>
            <a:r>
              <a:rPr lang="en-US" sz="1200" dirty="0"/>
              <a:t>Single Sign On</a:t>
            </a:r>
          </a:p>
        </p:txBody>
      </p:sp>
      <p:sp>
        <p:nvSpPr>
          <p:cNvPr id="28" name="TextBox 27"/>
          <p:cNvSpPr txBox="1"/>
          <p:nvPr/>
        </p:nvSpPr>
        <p:spPr>
          <a:xfrm>
            <a:off x="4449053" y="2288028"/>
            <a:ext cx="2199409" cy="184666"/>
          </a:xfrm>
          <a:prstGeom prst="rect">
            <a:avLst/>
          </a:prstGeom>
          <a:noFill/>
        </p:spPr>
        <p:txBody>
          <a:bodyPr wrap="square" lIns="0" tIns="0" rIns="0" bIns="0" rtlCol="0">
            <a:spAutoFit/>
          </a:bodyPr>
          <a:lstStyle/>
          <a:p>
            <a:pPr algn="ctr"/>
            <a:r>
              <a:rPr lang="en-US" sz="1200" dirty="0"/>
              <a:t>Hardware  and Software GPUs</a:t>
            </a:r>
          </a:p>
        </p:txBody>
      </p:sp>
      <p:sp>
        <p:nvSpPr>
          <p:cNvPr id="22"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5"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9"/>
              </a:rPr>
              <a:t>www.rapidbbs.cn</a:t>
            </a:r>
            <a:endParaRPr lang="zh-CN" altLang="en-US" sz="1200" b="0">
              <a:latin typeface="Arial" charset="0"/>
              <a:ea typeface="ＭＳ Ｐゴシック" pitchFamily="34" charset="-128"/>
            </a:endParaRPr>
          </a:p>
        </p:txBody>
      </p:sp>
      <p:pic>
        <p:nvPicPr>
          <p:cNvPr id="27" name="Picture 2">
            <a:hlinkClick r:id="rId9"/>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79493439"/>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481134" y="1042857"/>
            <a:ext cx="6270239" cy="388162"/>
          </a:xfrm>
          <a:prstGeom prst="rect">
            <a:avLst/>
          </a:prstGeom>
          <a:solidFill>
            <a:srgbClr val="FF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500" dirty="0">
                <a:gradFill>
                  <a:gsLst>
                    <a:gs pos="0">
                      <a:schemeClr val="tx1"/>
                    </a:gs>
                    <a:gs pos="100000">
                      <a:schemeClr val="tx1"/>
                    </a:gs>
                  </a:gsLst>
                  <a:lin ang="5400000" scaled="0"/>
                </a:gradFill>
                <a:latin typeface="+mj-lt"/>
              </a:rPr>
              <a:t>Windows Metro style UI and Applications (HTML, XAML, Native, etc..)</a:t>
            </a:r>
          </a:p>
        </p:txBody>
      </p:sp>
      <p:sp>
        <p:nvSpPr>
          <p:cNvPr id="6" name="Rectangle 5"/>
          <p:cNvSpPr/>
          <p:nvPr/>
        </p:nvSpPr>
        <p:spPr>
          <a:xfrm>
            <a:off x="491620" y="2033525"/>
            <a:ext cx="6259752" cy="258417"/>
          </a:xfrm>
          <a:prstGeom prst="rect">
            <a:avLst/>
          </a:prstGeom>
          <a:solidFill>
            <a:srgbClr val="59CC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sz="1500" dirty="0">
                <a:gradFill>
                  <a:gsLst>
                    <a:gs pos="0">
                      <a:schemeClr val="tx1"/>
                    </a:gs>
                    <a:gs pos="100000">
                      <a:schemeClr val="tx1"/>
                    </a:gs>
                  </a:gsLst>
                  <a:lin ang="5400000" scaled="0"/>
                </a:gradFill>
                <a:latin typeface="+mj-lt"/>
              </a:rPr>
              <a:t>RemoteFX Intelligent Caching</a:t>
            </a:r>
          </a:p>
        </p:txBody>
      </p:sp>
      <p:sp>
        <p:nvSpPr>
          <p:cNvPr id="38" name="Title 37"/>
          <p:cNvSpPr>
            <a:spLocks noGrp="1"/>
          </p:cNvSpPr>
          <p:nvPr>
            <p:ph type="title"/>
          </p:nvPr>
        </p:nvSpPr>
        <p:spPr/>
        <p:txBody>
          <a:bodyPr/>
          <a:lstStyle/>
          <a:p>
            <a:r>
              <a:rPr lang="en-US" dirty="0" smtClean="0"/>
              <a:t>RemoteFX Architecture Overview</a:t>
            </a:r>
            <a:endParaRPr lang="en-US" dirty="0"/>
          </a:p>
        </p:txBody>
      </p:sp>
      <p:sp>
        <p:nvSpPr>
          <p:cNvPr id="37" name="Rectangle 36"/>
          <p:cNvSpPr/>
          <p:nvPr/>
        </p:nvSpPr>
        <p:spPr>
          <a:xfrm>
            <a:off x="1851168" y="2431811"/>
            <a:ext cx="1608867" cy="727725"/>
          </a:xfrm>
          <a:prstGeom prst="rect">
            <a:avLst/>
          </a:prstGeom>
          <a:solidFill>
            <a:srgbClr val="59CC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sz="1500" dirty="0">
                <a:gradFill>
                  <a:gsLst>
                    <a:gs pos="0">
                      <a:schemeClr val="tx1"/>
                    </a:gs>
                    <a:gs pos="100000">
                      <a:schemeClr val="tx1"/>
                    </a:gs>
                  </a:gsLst>
                  <a:lin ang="5400000" scaled="0"/>
                </a:gradFill>
                <a:latin typeface="+mj-lt"/>
              </a:rPr>
              <a:t>RemoteFX Progressive Rendering</a:t>
            </a:r>
          </a:p>
          <a:p>
            <a:pPr algn="ctr" defTabSz="685637" fontAlgn="base">
              <a:spcBef>
                <a:spcPct val="0"/>
              </a:spcBef>
              <a:spcAft>
                <a:spcPct val="0"/>
              </a:spcAft>
            </a:pPr>
            <a:endParaRPr lang="en-US" sz="1500" dirty="0">
              <a:gradFill>
                <a:gsLst>
                  <a:gs pos="0">
                    <a:schemeClr val="tx1"/>
                  </a:gs>
                  <a:gs pos="100000">
                    <a:schemeClr val="tx1"/>
                  </a:gs>
                </a:gsLst>
                <a:lin ang="5400000" scaled="0"/>
              </a:gradFill>
              <a:latin typeface="+mj-lt"/>
            </a:endParaRPr>
          </a:p>
        </p:txBody>
      </p:sp>
      <p:sp>
        <p:nvSpPr>
          <p:cNvPr id="39" name="Rectangle 38"/>
          <p:cNvSpPr/>
          <p:nvPr/>
        </p:nvSpPr>
        <p:spPr>
          <a:xfrm>
            <a:off x="3532406" y="2431810"/>
            <a:ext cx="1622016" cy="717786"/>
          </a:xfrm>
          <a:prstGeom prst="rect">
            <a:avLst/>
          </a:prstGeom>
          <a:solidFill>
            <a:srgbClr val="59CC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sz="1500" dirty="0">
                <a:gradFill>
                  <a:gsLst>
                    <a:gs pos="0">
                      <a:schemeClr val="tx1"/>
                    </a:gs>
                    <a:gs pos="100000">
                      <a:schemeClr val="tx1"/>
                    </a:gs>
                  </a:gsLst>
                  <a:lin ang="5400000" scaled="0"/>
                </a:gradFill>
                <a:latin typeface="+mj-lt"/>
              </a:rPr>
              <a:t>RemoteFX </a:t>
            </a:r>
          </a:p>
          <a:p>
            <a:pPr algn="ctr" defTabSz="685637" fontAlgn="base">
              <a:spcBef>
                <a:spcPct val="0"/>
              </a:spcBef>
              <a:spcAft>
                <a:spcPct val="0"/>
              </a:spcAft>
            </a:pPr>
            <a:r>
              <a:rPr lang="en-US" sz="1500" dirty="0">
                <a:gradFill>
                  <a:gsLst>
                    <a:gs pos="0">
                      <a:schemeClr val="tx1"/>
                    </a:gs>
                    <a:gs pos="100000">
                      <a:schemeClr val="tx1"/>
                    </a:gs>
                  </a:gsLst>
                  <a:lin ang="5400000" scaled="0"/>
                </a:gradFill>
                <a:latin typeface="+mj-lt"/>
              </a:rPr>
              <a:t>Optimized Text Codecs</a:t>
            </a:r>
          </a:p>
          <a:p>
            <a:pPr algn="ctr" defTabSz="685637" fontAlgn="base">
              <a:spcBef>
                <a:spcPct val="0"/>
              </a:spcBef>
              <a:spcAft>
                <a:spcPct val="0"/>
              </a:spcAft>
            </a:pPr>
            <a:endParaRPr lang="en-US" sz="1500" dirty="0">
              <a:gradFill>
                <a:gsLst>
                  <a:gs pos="0">
                    <a:schemeClr val="tx1"/>
                  </a:gs>
                  <a:gs pos="100000">
                    <a:schemeClr val="tx1"/>
                  </a:gs>
                </a:gsLst>
                <a:lin ang="5400000" scaled="0"/>
              </a:gradFill>
              <a:latin typeface="+mj-lt"/>
            </a:endParaRPr>
          </a:p>
        </p:txBody>
      </p:sp>
      <p:sp>
        <p:nvSpPr>
          <p:cNvPr id="43" name="Rectangle 42"/>
          <p:cNvSpPr/>
          <p:nvPr/>
        </p:nvSpPr>
        <p:spPr>
          <a:xfrm>
            <a:off x="491620" y="2411635"/>
            <a:ext cx="1284100" cy="747900"/>
          </a:xfrm>
          <a:prstGeom prst="rect">
            <a:avLst/>
          </a:prstGeom>
          <a:solidFill>
            <a:srgbClr val="59CC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sz="1500" dirty="0">
                <a:gradFill>
                  <a:gsLst>
                    <a:gs pos="0">
                      <a:schemeClr val="tx1"/>
                    </a:gs>
                    <a:gs pos="100000">
                      <a:schemeClr val="tx1"/>
                    </a:gs>
                  </a:gsLst>
                  <a:lin ang="5400000" scaled="0"/>
                </a:gradFill>
                <a:latin typeface="+mj-lt"/>
              </a:rPr>
              <a:t>RemoteFX Media Streaming</a:t>
            </a:r>
          </a:p>
          <a:p>
            <a:pPr algn="ctr" defTabSz="685637" fontAlgn="base">
              <a:spcBef>
                <a:spcPct val="0"/>
              </a:spcBef>
              <a:spcAft>
                <a:spcPct val="0"/>
              </a:spcAft>
            </a:pPr>
            <a:endParaRPr lang="en-US" sz="1500" dirty="0">
              <a:gradFill>
                <a:gsLst>
                  <a:gs pos="0">
                    <a:schemeClr val="tx1"/>
                  </a:gs>
                  <a:gs pos="100000">
                    <a:schemeClr val="tx1"/>
                  </a:gs>
                </a:gsLst>
                <a:lin ang="5400000" scaled="0"/>
              </a:gradFill>
              <a:latin typeface="+mj-lt"/>
            </a:endParaRPr>
          </a:p>
        </p:txBody>
      </p:sp>
      <p:sp>
        <p:nvSpPr>
          <p:cNvPr id="44" name="Rectangle 43"/>
          <p:cNvSpPr/>
          <p:nvPr/>
        </p:nvSpPr>
        <p:spPr>
          <a:xfrm>
            <a:off x="481133" y="4158600"/>
            <a:ext cx="6270239" cy="541684"/>
          </a:xfrm>
          <a:prstGeom prst="rect">
            <a:avLst/>
          </a:prstGeom>
          <a:solidFill>
            <a:srgbClr val="0087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500" dirty="0">
                <a:gradFill>
                  <a:gsLst>
                    <a:gs pos="0">
                      <a:schemeClr val="tx1"/>
                    </a:gs>
                    <a:gs pos="100000">
                      <a:schemeClr val="tx1"/>
                    </a:gs>
                  </a:gsLst>
                  <a:lin ang="5400000" scaled="0"/>
                </a:gradFill>
                <a:latin typeface="+mj-lt"/>
              </a:rPr>
              <a:t>RemoteFX for WAN Transports</a:t>
            </a:r>
          </a:p>
        </p:txBody>
      </p:sp>
      <p:sp>
        <p:nvSpPr>
          <p:cNvPr id="45" name="Rectangle 44"/>
          <p:cNvSpPr/>
          <p:nvPr/>
        </p:nvSpPr>
        <p:spPr>
          <a:xfrm>
            <a:off x="5242220" y="2431810"/>
            <a:ext cx="1509153" cy="717786"/>
          </a:xfrm>
          <a:prstGeom prst="rect">
            <a:avLst/>
          </a:prstGeom>
          <a:solidFill>
            <a:srgbClr val="59CC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sz="1500" dirty="0">
                <a:gradFill>
                  <a:gsLst>
                    <a:gs pos="0">
                      <a:schemeClr val="tx1"/>
                    </a:gs>
                    <a:gs pos="100000">
                      <a:schemeClr val="tx1"/>
                    </a:gs>
                  </a:gsLst>
                  <a:lin ang="5400000" scaled="0"/>
                </a:gradFill>
                <a:latin typeface="+mj-lt"/>
              </a:rPr>
              <a:t>RemoteFX </a:t>
            </a:r>
          </a:p>
          <a:p>
            <a:pPr algn="ctr" defTabSz="685637" fontAlgn="base">
              <a:spcBef>
                <a:spcPct val="0"/>
              </a:spcBef>
              <a:spcAft>
                <a:spcPct val="0"/>
              </a:spcAft>
            </a:pPr>
            <a:r>
              <a:rPr lang="en-US" sz="1500" dirty="0">
                <a:gradFill>
                  <a:gsLst>
                    <a:gs pos="0">
                      <a:schemeClr val="tx1"/>
                    </a:gs>
                    <a:gs pos="100000">
                      <a:schemeClr val="tx1"/>
                    </a:gs>
                  </a:gsLst>
                  <a:lin ang="5400000" scaled="0"/>
                </a:gradFill>
                <a:latin typeface="+mj-lt"/>
              </a:rPr>
              <a:t>Calista Codec</a:t>
            </a:r>
          </a:p>
          <a:p>
            <a:pPr algn="ctr" defTabSz="685637" fontAlgn="base">
              <a:spcBef>
                <a:spcPct val="0"/>
              </a:spcBef>
              <a:spcAft>
                <a:spcPct val="0"/>
              </a:spcAft>
            </a:pPr>
            <a:endParaRPr lang="en-US" sz="1500" dirty="0">
              <a:gradFill>
                <a:gsLst>
                  <a:gs pos="0">
                    <a:schemeClr val="tx1"/>
                  </a:gs>
                  <a:gs pos="100000">
                    <a:schemeClr val="tx1"/>
                  </a:gs>
                </a:gsLst>
                <a:lin ang="5400000" scaled="0"/>
              </a:gradFill>
              <a:latin typeface="+mj-lt"/>
            </a:endParaRPr>
          </a:p>
        </p:txBody>
      </p:sp>
      <p:sp>
        <p:nvSpPr>
          <p:cNvPr id="51" name="Text Placeholder 2"/>
          <p:cNvSpPr txBox="1">
            <a:spLocks/>
          </p:cNvSpPr>
          <p:nvPr/>
        </p:nvSpPr>
        <p:spPr>
          <a:xfrm>
            <a:off x="6965437" y="1019369"/>
            <a:ext cx="1628060" cy="3680915"/>
          </a:xfrm>
          <a:prstGeom prst="rect">
            <a:avLst/>
          </a:prstGeom>
        </p:spPr>
        <p:txBody>
          <a:bodyPr lIns="68586" tIns="34294" rIns="68586" bIns="34294"/>
          <a:lstStyle>
            <a:lvl1pPr marL="460375" indent="-460375" algn="l" defTabSz="914363" rtl="0" eaLnBrk="1" latinLnBrk="0" hangingPunct="1">
              <a:lnSpc>
                <a:spcPct val="90000"/>
              </a:lnSpc>
              <a:spcBef>
                <a:spcPct val="20000"/>
              </a:spcBef>
              <a:buSzPct val="90000"/>
              <a:buFont typeface="Arial" pitchFamily="34" charset="0"/>
              <a:buChar char="•"/>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 typeface="Arial" pitchFamily="34" charset="0"/>
              <a:buChar char="•"/>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 typeface="Arial" pitchFamily="34" charset="0"/>
              <a:buChar char="•"/>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 typeface="Arial" pitchFamily="34" charset="0"/>
              <a:buChar char="•"/>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 typeface="Arial" pitchFamily="34" charset="0"/>
              <a:buChar char="•"/>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smtClean="0"/>
              <a:t>Apps and Desktop</a:t>
            </a:r>
          </a:p>
          <a:p>
            <a:pPr marL="0" indent="0">
              <a:buNone/>
            </a:pPr>
            <a:endParaRPr lang="en-US" dirty="0" smtClean="0"/>
          </a:p>
          <a:p>
            <a:pPr marL="0" indent="0">
              <a:buNone/>
            </a:pPr>
            <a:r>
              <a:rPr lang="en-US" dirty="0" smtClean="0"/>
              <a:t>RemoteFX Adaptive Graphics</a:t>
            </a:r>
          </a:p>
          <a:p>
            <a:pPr marL="0" indent="0">
              <a:buNone/>
            </a:pPr>
            <a:endParaRPr lang="en-US" dirty="0" smtClean="0"/>
          </a:p>
          <a:p>
            <a:pPr marL="0" indent="0">
              <a:buNone/>
            </a:pPr>
            <a:endParaRPr lang="en-US" dirty="0"/>
          </a:p>
          <a:p>
            <a:pPr marL="0" indent="0">
              <a:buNone/>
            </a:pPr>
            <a:r>
              <a:rPr lang="en-US" dirty="0" smtClean="0"/>
              <a:t>RemoteFX for WAN</a:t>
            </a:r>
            <a:endParaRPr lang="en-US" dirty="0"/>
          </a:p>
        </p:txBody>
      </p:sp>
      <p:sp>
        <p:nvSpPr>
          <p:cNvPr id="21" name="Rectangle 20"/>
          <p:cNvSpPr/>
          <p:nvPr/>
        </p:nvSpPr>
        <p:spPr>
          <a:xfrm>
            <a:off x="491620" y="3243740"/>
            <a:ext cx="6259752" cy="274102"/>
          </a:xfrm>
          <a:prstGeom prst="rect">
            <a:avLst/>
          </a:prstGeom>
          <a:solidFill>
            <a:srgbClr val="59CC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sz="1500" dirty="0">
                <a:gradFill>
                  <a:gsLst>
                    <a:gs pos="0">
                      <a:schemeClr val="tx1"/>
                    </a:gs>
                    <a:gs pos="100000">
                      <a:schemeClr val="tx1"/>
                    </a:gs>
                  </a:gsLst>
                  <a:lin ang="5400000" scaled="0"/>
                </a:gradFill>
                <a:latin typeface="+mj-lt"/>
              </a:rPr>
              <a:t>RemoteFX Protocol Encoding</a:t>
            </a:r>
          </a:p>
        </p:txBody>
      </p:sp>
      <p:sp>
        <p:nvSpPr>
          <p:cNvPr id="8" name="Down Arrow 7"/>
          <p:cNvSpPr/>
          <p:nvPr/>
        </p:nvSpPr>
        <p:spPr bwMode="auto">
          <a:xfrm>
            <a:off x="3460034" y="1528259"/>
            <a:ext cx="268264" cy="447256"/>
          </a:xfrm>
          <a:prstGeom prst="downArrow">
            <a:avLst/>
          </a:prstGeom>
          <a:solidFill>
            <a:srgbClr val="B0D6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chemeClr val="bg1"/>
                  </a:gs>
                  <a:gs pos="100000">
                    <a:schemeClr val="bg1"/>
                  </a:gs>
                </a:gsLst>
                <a:lin ang="5400000" scaled="0"/>
              </a:gradFill>
            </a:endParaRPr>
          </a:p>
        </p:txBody>
      </p:sp>
      <p:sp>
        <p:nvSpPr>
          <p:cNvPr id="9" name="Up-Down Arrow 8"/>
          <p:cNvSpPr/>
          <p:nvPr/>
        </p:nvSpPr>
        <p:spPr bwMode="auto">
          <a:xfrm>
            <a:off x="3487363" y="3655815"/>
            <a:ext cx="268264" cy="418043"/>
          </a:xfrm>
          <a:prstGeom prst="upDownArrow">
            <a:avLst/>
          </a:prstGeom>
          <a:solidFill>
            <a:srgbClr val="B0D6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chemeClr val="bg1"/>
                  </a:gs>
                  <a:gs pos="100000">
                    <a:schemeClr val="bg1"/>
                  </a:gs>
                </a:gsLst>
                <a:lin ang="5400000" scaled="0"/>
              </a:gradFill>
            </a:endParaRPr>
          </a:p>
        </p:txBody>
      </p:sp>
      <p:sp>
        <p:nvSpPr>
          <p:cNvPr id="14"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5"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pic>
        <p:nvPicPr>
          <p:cNvPr id="16"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6870721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0" y="504737"/>
            <a:ext cx="1907840" cy="784821"/>
          </a:xfrm>
          <a:prstGeom prst="rect">
            <a:avLst/>
          </a:prstGeom>
          <a:noFill/>
        </p:spPr>
        <p:txBody>
          <a:bodyPr wrap="square" lIns="68577" tIns="34289" rIns="68577" bIns="34289" rtlCol="0">
            <a:spAutoFit/>
          </a:bodyPr>
          <a:lstStyle/>
          <a:p>
            <a:pPr algn="ctr"/>
            <a:r>
              <a:rPr lang="en-US" sz="2300" dirty="0">
                <a:solidFill>
                  <a:prstClr val="white"/>
                </a:solidFill>
                <a:latin typeface="Segoe UI Light" pitchFamily="34" charset="0"/>
              </a:rPr>
              <a:t>Centralized Management</a:t>
            </a:r>
          </a:p>
        </p:txBody>
      </p:sp>
      <p:sp>
        <p:nvSpPr>
          <p:cNvPr id="25" name="TextBox 24"/>
          <p:cNvSpPr txBox="1"/>
          <p:nvPr/>
        </p:nvSpPr>
        <p:spPr>
          <a:xfrm>
            <a:off x="7188033" y="506066"/>
            <a:ext cx="1868044" cy="784821"/>
          </a:xfrm>
          <a:prstGeom prst="rect">
            <a:avLst/>
          </a:prstGeom>
          <a:noFill/>
        </p:spPr>
        <p:txBody>
          <a:bodyPr wrap="square" lIns="68577" tIns="34289" rIns="68577" bIns="34289" rtlCol="0">
            <a:spAutoFit/>
          </a:bodyPr>
          <a:lstStyle/>
          <a:p>
            <a:pPr algn="ctr"/>
            <a:r>
              <a:rPr lang="en-US" sz="2300" dirty="0">
                <a:solidFill>
                  <a:prstClr val="white"/>
                </a:solidFill>
                <a:latin typeface="Segoe UI Light" pitchFamily="34" charset="0"/>
              </a:rPr>
              <a:t>Anywhere, Any Device</a:t>
            </a:r>
          </a:p>
        </p:txBody>
      </p:sp>
      <p:sp>
        <p:nvSpPr>
          <p:cNvPr id="27" name="TextBox 26"/>
          <p:cNvSpPr txBox="1"/>
          <p:nvPr/>
        </p:nvSpPr>
        <p:spPr>
          <a:xfrm>
            <a:off x="7247328" y="4034590"/>
            <a:ext cx="1749453" cy="427031"/>
          </a:xfrm>
          <a:prstGeom prst="rect">
            <a:avLst/>
          </a:prstGeom>
          <a:noFill/>
        </p:spPr>
        <p:txBody>
          <a:bodyPr wrap="square" lIns="68577" tIns="34289" rIns="68577" bIns="34289" rtlCol="0">
            <a:spAutoFit/>
          </a:bodyPr>
          <a:lstStyle/>
          <a:p>
            <a:pPr algn="ctr"/>
            <a:r>
              <a:rPr lang="en-US" sz="2300" dirty="0">
                <a:solidFill>
                  <a:prstClr val="white"/>
                </a:solidFill>
                <a:latin typeface="Segoe UI Light" pitchFamily="34" charset="0"/>
              </a:rPr>
              <a:t>BYOD</a:t>
            </a:r>
          </a:p>
        </p:txBody>
      </p:sp>
      <p:sp>
        <p:nvSpPr>
          <p:cNvPr id="28" name="TextBox 27"/>
          <p:cNvSpPr txBox="1"/>
          <p:nvPr/>
        </p:nvSpPr>
        <p:spPr>
          <a:xfrm>
            <a:off x="81808" y="3855695"/>
            <a:ext cx="1826033" cy="784821"/>
          </a:xfrm>
          <a:prstGeom prst="rect">
            <a:avLst/>
          </a:prstGeom>
          <a:noFill/>
        </p:spPr>
        <p:txBody>
          <a:bodyPr wrap="square" lIns="68577" tIns="34289" rIns="68577" bIns="34289" rtlCol="0">
            <a:spAutoFit/>
          </a:bodyPr>
          <a:lstStyle/>
          <a:p>
            <a:pPr algn="ctr"/>
            <a:r>
              <a:rPr lang="en-US" sz="2300" dirty="0">
                <a:solidFill>
                  <a:prstClr val="white"/>
                </a:solidFill>
                <a:latin typeface="Segoe UI Light" pitchFamily="34" charset="0"/>
              </a:rPr>
              <a:t>Data </a:t>
            </a:r>
            <a:br>
              <a:rPr lang="en-US" sz="2300" dirty="0">
                <a:solidFill>
                  <a:prstClr val="white"/>
                </a:solidFill>
                <a:latin typeface="Segoe UI Light" pitchFamily="34" charset="0"/>
              </a:rPr>
            </a:br>
            <a:r>
              <a:rPr lang="en-US" sz="2300" dirty="0">
                <a:solidFill>
                  <a:prstClr val="white"/>
                </a:solidFill>
                <a:latin typeface="Segoe UI Light" pitchFamily="34" charset="0"/>
              </a:rPr>
              <a:t>Security</a:t>
            </a:r>
          </a:p>
        </p:txBody>
      </p:sp>
      <p:pic>
        <p:nvPicPr>
          <p:cNvPr id="2" name="Picture 1"/>
          <p:cNvPicPr>
            <a:picLocks noChangeAspect="1"/>
          </p:cNvPicPr>
          <p:nvPr/>
        </p:nvPicPr>
        <p:blipFill rotWithShape="1">
          <a:blip r:embed="rId3" cstate="print">
            <a:extLst>
              <a:ext uri="{28A0092B-C50C-407E-A947-70E740481C1C}">
                <a14:useLocalDpi xmlns:a14="http://schemas.microsoft.com/office/drawing/2010/main" val="0"/>
              </a:ext>
            </a:extLst>
          </a:blip>
          <a:srcRect t="7301" b="29324"/>
          <a:stretch/>
        </p:blipFill>
        <p:spPr>
          <a:xfrm>
            <a:off x="3733873" y="1800225"/>
            <a:ext cx="1666760" cy="1543050"/>
          </a:xfrm>
          <a:prstGeom prst="rect">
            <a:avLst/>
          </a:prstGeom>
        </p:spPr>
      </p:pic>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l="1191" t="8653" r="-1" b="9844"/>
          <a:stretch/>
        </p:blipFill>
        <p:spPr>
          <a:xfrm>
            <a:off x="3733873" y="133945"/>
            <a:ext cx="1680738" cy="1543508"/>
          </a:xfrm>
          <a:prstGeom prst="rect">
            <a:avLst/>
          </a:prstGeom>
        </p:spPr>
      </p:pic>
      <p:pic>
        <p:nvPicPr>
          <p:cNvPr id="10" name="Picture 9"/>
          <p:cNvPicPr>
            <a:picLocks noChangeAspect="1"/>
          </p:cNvPicPr>
          <p:nvPr/>
        </p:nvPicPr>
        <p:blipFill rotWithShape="1">
          <a:blip r:embed="rId5" cstate="print">
            <a:extLst>
              <a:ext uri="{28A0092B-C50C-407E-A947-70E740481C1C}">
                <a14:useLocalDpi xmlns:a14="http://schemas.microsoft.com/office/drawing/2010/main" val="0"/>
              </a:ext>
            </a:extLst>
          </a:blip>
          <a:srcRect t="10954" b="6561"/>
          <a:stretch/>
        </p:blipFill>
        <p:spPr>
          <a:xfrm>
            <a:off x="5515712" y="133949"/>
            <a:ext cx="1672321" cy="1543507"/>
          </a:xfrm>
          <a:prstGeom prst="rect">
            <a:avLst/>
          </a:prstGeom>
        </p:spPr>
      </p:pic>
      <p:pic>
        <p:nvPicPr>
          <p:cNvPr id="11" name="Picture 10"/>
          <p:cNvPicPr>
            <a:picLocks noChangeAspect="1"/>
          </p:cNvPicPr>
          <p:nvPr/>
        </p:nvPicPr>
        <p:blipFill rotWithShape="1">
          <a:blip r:embed="rId6" cstate="print">
            <a:extLst>
              <a:ext uri="{28A0092B-C50C-407E-A947-70E740481C1C}">
                <a14:useLocalDpi xmlns:a14="http://schemas.microsoft.com/office/drawing/2010/main" val="0"/>
              </a:ext>
            </a:extLst>
          </a:blip>
          <a:srcRect t="4202" r="27745"/>
          <a:stretch/>
        </p:blipFill>
        <p:spPr>
          <a:xfrm>
            <a:off x="144170" y="1800225"/>
            <a:ext cx="1793677" cy="1543050"/>
          </a:xfrm>
          <a:prstGeom prst="rect">
            <a:avLst/>
          </a:prstGeom>
        </p:spPr>
      </p:pic>
      <p:pic>
        <p:nvPicPr>
          <p:cNvPr id="15" name="Picture 14"/>
          <p:cNvPicPr>
            <a:picLocks noChangeAspect="1"/>
          </p:cNvPicPr>
          <p:nvPr/>
        </p:nvPicPr>
        <p:blipFill rotWithShape="1">
          <a:blip r:embed="rId7" cstate="print">
            <a:extLst>
              <a:ext uri="{28A0092B-C50C-407E-A947-70E740481C1C}">
                <a14:useLocalDpi xmlns:a14="http://schemas.microsoft.com/office/drawing/2010/main" val="0"/>
              </a:ext>
            </a:extLst>
          </a:blip>
          <a:srcRect b="17711"/>
          <a:stretch/>
        </p:blipFill>
        <p:spPr>
          <a:xfrm>
            <a:off x="1937847" y="3476583"/>
            <a:ext cx="1655559" cy="1532975"/>
          </a:xfrm>
          <a:prstGeom prst="rect">
            <a:avLst/>
          </a:prstGeom>
        </p:spPr>
      </p:pic>
      <p:pic>
        <p:nvPicPr>
          <p:cNvPr id="16" name="Picture 15"/>
          <p:cNvPicPr>
            <a:picLocks noChangeAspect="1"/>
          </p:cNvPicPr>
          <p:nvPr/>
        </p:nvPicPr>
        <p:blipFill rotWithShape="1">
          <a:blip r:embed="rId8" cstate="print">
            <a:extLst>
              <a:ext uri="{28A0092B-C50C-407E-A947-70E740481C1C}">
                <a14:useLocalDpi xmlns:a14="http://schemas.microsoft.com/office/drawing/2010/main" val="0"/>
              </a:ext>
            </a:extLst>
          </a:blip>
          <a:srcRect t="756" b="1770"/>
          <a:stretch/>
        </p:blipFill>
        <p:spPr>
          <a:xfrm>
            <a:off x="1937847" y="133949"/>
            <a:ext cx="1655559" cy="1543507"/>
          </a:xfrm>
          <a:prstGeom prst="rect">
            <a:avLst/>
          </a:prstGeom>
        </p:spPr>
      </p:pic>
      <p:pic>
        <p:nvPicPr>
          <p:cNvPr id="32" name="Picture 10"/>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t="6183" r="8225" b="17058"/>
          <a:stretch/>
        </p:blipFill>
        <p:spPr bwMode="auto">
          <a:xfrm>
            <a:off x="7306269" y="1800225"/>
            <a:ext cx="1651524" cy="154305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p:cNvPicPr>
            <a:picLocks noChangeAspect="1"/>
          </p:cNvPicPr>
          <p:nvPr/>
        </p:nvPicPr>
        <p:blipFill rotWithShape="1">
          <a:blip r:embed="rId10" cstate="print">
            <a:extLst>
              <a:ext uri="{28A0092B-C50C-407E-A947-70E740481C1C}">
                <a14:useLocalDpi xmlns:a14="http://schemas.microsoft.com/office/drawing/2010/main" val="0"/>
              </a:ext>
            </a:extLst>
          </a:blip>
          <a:srcRect l="18957" r="10700"/>
          <a:stretch/>
        </p:blipFill>
        <p:spPr>
          <a:xfrm>
            <a:off x="5518501" y="3476579"/>
            <a:ext cx="1669533" cy="1543050"/>
          </a:xfrm>
          <a:prstGeom prst="rect">
            <a:avLst/>
          </a:prstGeom>
        </p:spPr>
      </p:pic>
      <p:sp>
        <p:nvSpPr>
          <p:cNvPr id="21" name="Rectangle 20"/>
          <p:cNvSpPr/>
          <p:nvPr/>
        </p:nvSpPr>
        <p:spPr>
          <a:xfrm>
            <a:off x="2243" y="1600200"/>
            <a:ext cx="9144000" cy="1920610"/>
          </a:xfrm>
          <a:prstGeom prst="rect">
            <a:avLst/>
          </a:prstGeom>
          <a:solidFill>
            <a:srgbClr val="29292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100" dirty="0">
              <a:solidFill>
                <a:prstClr val="white"/>
              </a:solidFill>
              <a:latin typeface="Segoe UI Light" pitchFamily="34" charset="0"/>
            </a:endParaRPr>
          </a:p>
          <a:p>
            <a:pPr algn="ctr"/>
            <a:r>
              <a:rPr lang="en-US" sz="2100" dirty="0">
                <a:solidFill>
                  <a:prstClr val="white"/>
                </a:solidFill>
                <a:latin typeface="Segoe UI Light" pitchFamily="34" charset="0"/>
              </a:rPr>
              <a:t>VDI helps deliver on this promise.</a:t>
            </a:r>
          </a:p>
          <a:p>
            <a:pPr algn="ctr"/>
            <a:endParaRPr lang="en-US" sz="2100" dirty="0">
              <a:solidFill>
                <a:prstClr val="white"/>
              </a:solidFill>
              <a:latin typeface="Segoe UI Light" pitchFamily="34" charset="0"/>
            </a:endParaRPr>
          </a:p>
          <a:p>
            <a:pPr algn="ctr"/>
            <a:r>
              <a:rPr lang="en-US" sz="2100" dirty="0">
                <a:solidFill>
                  <a:prstClr val="white"/>
                </a:solidFill>
                <a:latin typeface="Segoe UI Light" pitchFamily="34" charset="0"/>
              </a:rPr>
              <a:t>Windows Server 2012 provides a scalable, easy to manage, </a:t>
            </a:r>
            <a:br>
              <a:rPr lang="en-US" sz="2100" dirty="0">
                <a:solidFill>
                  <a:prstClr val="white"/>
                </a:solidFill>
                <a:latin typeface="Segoe UI Light" pitchFamily="34" charset="0"/>
              </a:rPr>
            </a:br>
            <a:r>
              <a:rPr lang="en-US" sz="2100" dirty="0">
                <a:solidFill>
                  <a:prstClr val="white"/>
                </a:solidFill>
                <a:latin typeface="Segoe UI Light" pitchFamily="34" charset="0"/>
              </a:rPr>
              <a:t>and high fidelity VDI solution.</a:t>
            </a:r>
          </a:p>
          <a:p>
            <a:pPr algn="ctr"/>
            <a:endParaRPr lang="en-US" sz="1800" dirty="0">
              <a:solidFill>
                <a:prstClr val="white"/>
              </a:solidFill>
              <a:latin typeface="Segoe UI Light" pitchFamily="34" charset="0"/>
            </a:endParaRPr>
          </a:p>
          <a:p>
            <a:pPr algn="ctr"/>
            <a:endParaRPr lang="en-US" sz="1800" spc="225" dirty="0">
              <a:solidFill>
                <a:prstClr val="white"/>
              </a:solidFill>
              <a:latin typeface="Segoe UI Light" pitchFamily="34" charset="0"/>
              <a:cs typeface="Segoe UI Light" pitchFamily="34" charset="0"/>
            </a:endParaRPr>
          </a:p>
        </p:txBody>
      </p:sp>
      <p:sp>
        <p:nvSpPr>
          <p:cNvPr id="17"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8"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1"/>
              </a:rPr>
              <a:t>www.rapidbbs.cn</a:t>
            </a:r>
            <a:endParaRPr lang="zh-CN" altLang="en-US" sz="1200" b="0">
              <a:latin typeface="Arial" charset="0"/>
              <a:ea typeface="ＭＳ Ｐゴシック" pitchFamily="34" charset="-128"/>
            </a:endParaRPr>
          </a:p>
        </p:txBody>
      </p:sp>
      <p:pic>
        <p:nvPicPr>
          <p:cNvPr id="20" name="Picture 2">
            <a:hlinkClick r:id="rId11"/>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23424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250"/>
                                        <p:tgtEl>
                                          <p:spTgt spid="9"/>
                                        </p:tgtEl>
                                      </p:cBhvr>
                                    </p:animEffect>
                                  </p:childTnLst>
                                </p:cTn>
                              </p:par>
                            </p:childTnLst>
                          </p:cTn>
                        </p:par>
                        <p:par>
                          <p:cTn id="8" fill="hold">
                            <p:stCondLst>
                              <p:cond delay="250"/>
                            </p:stCondLst>
                            <p:childTnLst>
                              <p:par>
                                <p:cTn id="9" presetID="10" presetClass="entr" presetSubtype="0" fill="hold"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250"/>
                                        <p:tgtEl>
                                          <p:spTgt spid="16"/>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250"/>
                                        <p:tgtEl>
                                          <p:spTgt spid="11"/>
                                        </p:tgtEl>
                                      </p:cBhvr>
                                    </p:animEffect>
                                  </p:childTnLst>
                                </p:cTn>
                              </p:par>
                            </p:childTnLst>
                          </p:cTn>
                        </p:par>
                        <p:par>
                          <p:cTn id="16" fill="hold">
                            <p:stCondLst>
                              <p:cond delay="750"/>
                            </p:stCondLst>
                            <p:childTnLst>
                              <p:par>
                                <p:cTn id="17" presetID="10" presetClass="entr" presetSubtype="0" fill="hold" nodeType="after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250"/>
                                        <p:tgtEl>
                                          <p:spTgt spid="10"/>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27"/>
                                        </p:tgtEl>
                                        <p:attrNameLst>
                                          <p:attrName>style.visibility</p:attrName>
                                        </p:attrNameLst>
                                      </p:cBhvr>
                                      <p:to>
                                        <p:strVal val="visible"/>
                                      </p:to>
                                    </p:set>
                                    <p:animEffect transition="in" filter="fade">
                                      <p:cBhvr>
                                        <p:cTn id="23" dur="250"/>
                                        <p:tgtEl>
                                          <p:spTgt spid="27"/>
                                        </p:tgtEl>
                                      </p:cBhvr>
                                    </p:animEffect>
                                  </p:childTnLst>
                                </p:cTn>
                              </p:par>
                            </p:childTnLst>
                          </p:cTn>
                        </p:par>
                        <p:par>
                          <p:cTn id="24" fill="hold">
                            <p:stCondLst>
                              <p:cond delay="1250"/>
                            </p:stCondLst>
                            <p:childTnLst>
                              <p:par>
                                <p:cTn id="25" presetID="10" presetClass="entr" presetSubtype="0" fill="hold" nodeType="after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250"/>
                                        <p:tgtEl>
                                          <p:spTgt spid="15"/>
                                        </p:tgtEl>
                                      </p:cBhvr>
                                    </p:animEffect>
                                  </p:childTnLst>
                                </p:cTn>
                              </p:par>
                            </p:childTnLst>
                          </p:cTn>
                        </p:par>
                        <p:par>
                          <p:cTn id="28" fill="hold">
                            <p:stCondLst>
                              <p:cond delay="1500"/>
                            </p:stCondLst>
                            <p:childTnLst>
                              <p:par>
                                <p:cTn id="29" presetID="10" presetClass="entr" presetSubtype="0" fill="hold" nodeType="afterEffect">
                                  <p:stCondLst>
                                    <p:cond delay="0"/>
                                  </p:stCondLst>
                                  <p:childTnLst>
                                    <p:set>
                                      <p:cBhvr>
                                        <p:cTn id="30" dur="1" fill="hold">
                                          <p:stCondLst>
                                            <p:cond delay="0"/>
                                          </p:stCondLst>
                                        </p:cTn>
                                        <p:tgtEl>
                                          <p:spTgt spid="5"/>
                                        </p:tgtEl>
                                        <p:attrNameLst>
                                          <p:attrName>style.visibility</p:attrName>
                                        </p:attrNameLst>
                                      </p:cBhvr>
                                      <p:to>
                                        <p:strVal val="visible"/>
                                      </p:to>
                                    </p:set>
                                    <p:animEffect transition="in" filter="fade">
                                      <p:cBhvr>
                                        <p:cTn id="31" dur="250"/>
                                        <p:tgtEl>
                                          <p:spTgt spid="5"/>
                                        </p:tgtEl>
                                      </p:cBhvr>
                                    </p:animEffect>
                                  </p:childTnLst>
                                </p:cTn>
                              </p:par>
                            </p:childTnLst>
                          </p:cTn>
                        </p:par>
                        <p:par>
                          <p:cTn id="32" fill="hold">
                            <p:stCondLst>
                              <p:cond delay="1750"/>
                            </p:stCondLst>
                            <p:childTnLst>
                              <p:par>
                                <p:cTn id="33" presetID="10" presetClass="entr" presetSubtype="0" fill="hold" nodeType="afterEffect">
                                  <p:stCondLst>
                                    <p:cond delay="0"/>
                                  </p:stCondLst>
                                  <p:childTnLst>
                                    <p:set>
                                      <p:cBhvr>
                                        <p:cTn id="34" dur="1" fill="hold">
                                          <p:stCondLst>
                                            <p:cond delay="0"/>
                                          </p:stCondLst>
                                        </p:cTn>
                                        <p:tgtEl>
                                          <p:spTgt spid="2"/>
                                        </p:tgtEl>
                                        <p:attrNameLst>
                                          <p:attrName>style.visibility</p:attrName>
                                        </p:attrNameLst>
                                      </p:cBhvr>
                                      <p:to>
                                        <p:strVal val="visible"/>
                                      </p:to>
                                    </p:set>
                                    <p:animEffect transition="in" filter="fade">
                                      <p:cBhvr>
                                        <p:cTn id="35" dur="250"/>
                                        <p:tgtEl>
                                          <p:spTgt spid="2"/>
                                        </p:tgtEl>
                                      </p:cBhvr>
                                    </p:animEffect>
                                  </p:childTnLst>
                                </p:cTn>
                              </p:par>
                            </p:childTnLst>
                          </p:cTn>
                        </p:par>
                        <p:par>
                          <p:cTn id="36" fill="hold">
                            <p:stCondLst>
                              <p:cond delay="2000"/>
                            </p:stCondLst>
                            <p:childTnLst>
                              <p:par>
                                <p:cTn id="37" presetID="10" presetClass="entr" presetSubtype="0" fill="hold" grpId="0" nodeType="afterEffect">
                                  <p:stCondLst>
                                    <p:cond delay="0"/>
                                  </p:stCondLst>
                                  <p:childTnLst>
                                    <p:set>
                                      <p:cBhvr>
                                        <p:cTn id="38" dur="1" fill="hold">
                                          <p:stCondLst>
                                            <p:cond delay="0"/>
                                          </p:stCondLst>
                                        </p:cTn>
                                        <p:tgtEl>
                                          <p:spTgt spid="25"/>
                                        </p:tgtEl>
                                        <p:attrNameLst>
                                          <p:attrName>style.visibility</p:attrName>
                                        </p:attrNameLst>
                                      </p:cBhvr>
                                      <p:to>
                                        <p:strVal val="visible"/>
                                      </p:to>
                                    </p:set>
                                    <p:animEffect transition="in" filter="fade">
                                      <p:cBhvr>
                                        <p:cTn id="39" dur="250"/>
                                        <p:tgtEl>
                                          <p:spTgt spid="25"/>
                                        </p:tgtEl>
                                      </p:cBhvr>
                                    </p:animEffect>
                                  </p:childTnLst>
                                </p:cTn>
                              </p:par>
                            </p:childTnLst>
                          </p:cTn>
                        </p:par>
                        <p:par>
                          <p:cTn id="40" fill="hold">
                            <p:stCondLst>
                              <p:cond delay="2250"/>
                            </p:stCondLst>
                            <p:childTnLst>
                              <p:par>
                                <p:cTn id="41" presetID="10" presetClass="entr" presetSubtype="0" fill="hold" grpId="0" nodeType="afterEffect">
                                  <p:stCondLst>
                                    <p:cond delay="0"/>
                                  </p:stCondLst>
                                  <p:childTnLst>
                                    <p:set>
                                      <p:cBhvr>
                                        <p:cTn id="42" dur="1" fill="hold">
                                          <p:stCondLst>
                                            <p:cond delay="0"/>
                                          </p:stCondLst>
                                        </p:cTn>
                                        <p:tgtEl>
                                          <p:spTgt spid="28"/>
                                        </p:tgtEl>
                                        <p:attrNameLst>
                                          <p:attrName>style.visibility</p:attrName>
                                        </p:attrNameLst>
                                      </p:cBhvr>
                                      <p:to>
                                        <p:strVal val="visible"/>
                                      </p:to>
                                    </p:set>
                                    <p:animEffect transition="in" filter="fade">
                                      <p:cBhvr>
                                        <p:cTn id="43" dur="250"/>
                                        <p:tgtEl>
                                          <p:spTgt spid="28"/>
                                        </p:tgtEl>
                                      </p:cBhvr>
                                    </p:animEffect>
                                  </p:childTnLst>
                                </p:cTn>
                              </p:par>
                            </p:childTnLst>
                          </p:cTn>
                        </p:par>
                        <p:par>
                          <p:cTn id="44" fill="hold">
                            <p:stCondLst>
                              <p:cond delay="2500"/>
                            </p:stCondLst>
                            <p:childTnLst>
                              <p:par>
                                <p:cTn id="45" presetID="10" presetClass="entr" presetSubtype="0" fill="hold" nodeType="afterEffect">
                                  <p:stCondLst>
                                    <p:cond delay="0"/>
                                  </p:stCondLst>
                                  <p:childTnLst>
                                    <p:set>
                                      <p:cBhvr>
                                        <p:cTn id="46" dur="1" fill="hold">
                                          <p:stCondLst>
                                            <p:cond delay="0"/>
                                          </p:stCondLst>
                                        </p:cTn>
                                        <p:tgtEl>
                                          <p:spTgt spid="32"/>
                                        </p:tgtEl>
                                        <p:attrNameLst>
                                          <p:attrName>style.visibility</p:attrName>
                                        </p:attrNameLst>
                                      </p:cBhvr>
                                      <p:to>
                                        <p:strVal val="visible"/>
                                      </p:to>
                                    </p:set>
                                    <p:animEffect transition="in" filter="fade">
                                      <p:cBhvr>
                                        <p:cTn id="47" dur="250"/>
                                        <p:tgtEl>
                                          <p:spTgt spid="32"/>
                                        </p:tgtEl>
                                      </p:cBhvr>
                                    </p:animEffect>
                                  </p:childTnLst>
                                </p:cTn>
                              </p:par>
                            </p:childTnLst>
                          </p:cTn>
                        </p:par>
                        <p:par>
                          <p:cTn id="48" fill="hold">
                            <p:stCondLst>
                              <p:cond delay="2750"/>
                            </p:stCondLst>
                            <p:childTnLst>
                              <p:par>
                                <p:cTn id="49" presetID="10" presetClass="entr" presetSubtype="0" fill="hold" nodeType="afterEffect">
                                  <p:stCondLst>
                                    <p:cond delay="0"/>
                                  </p:stCondLst>
                                  <p:childTnLst>
                                    <p:set>
                                      <p:cBhvr>
                                        <p:cTn id="50" dur="1" fill="hold">
                                          <p:stCondLst>
                                            <p:cond delay="0"/>
                                          </p:stCondLst>
                                        </p:cTn>
                                        <p:tgtEl>
                                          <p:spTgt spid="19"/>
                                        </p:tgtEl>
                                        <p:attrNameLst>
                                          <p:attrName>style.visibility</p:attrName>
                                        </p:attrNameLst>
                                      </p:cBhvr>
                                      <p:to>
                                        <p:strVal val="visible"/>
                                      </p:to>
                                    </p:set>
                                    <p:animEffect transition="in" filter="fade">
                                      <p:cBhvr>
                                        <p:cTn id="51" dur="250"/>
                                        <p:tgtEl>
                                          <p:spTgt spid="19"/>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grpId="0" nodeType="click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fade">
                                      <p:cBhvr>
                                        <p:cTn id="56" dur="10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25" grpId="0"/>
      <p:bldP spid="27" grpId="0"/>
      <p:bldP spid="28" grpId="0"/>
      <p:bldP spid="21" grpId="0" animBg="1"/>
    </p:bldLst>
  </p:timing>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4"/>
          <p:cNvSpPr>
            <a:spLocks noGrp="1"/>
          </p:cNvSpPr>
          <p:nvPr>
            <p:ph type="title"/>
          </p:nvPr>
        </p:nvSpPr>
        <p:spPr>
          <a:xfrm>
            <a:off x="375881" y="171451"/>
            <a:ext cx="8363938" cy="457049"/>
          </a:xfrm>
        </p:spPr>
        <p:txBody>
          <a:bodyPr/>
          <a:lstStyle/>
          <a:p>
            <a:pPr lvl="0"/>
            <a:r>
              <a:rPr lang="en-US" smtClean="0"/>
              <a:t>Efficient management</a:t>
            </a:r>
            <a:endParaRPr lang="en-US" dirty="0"/>
          </a:p>
        </p:txBody>
      </p:sp>
      <p:sp>
        <p:nvSpPr>
          <p:cNvPr id="25" name="Rectangle 24"/>
          <p:cNvSpPr/>
          <p:nvPr/>
        </p:nvSpPr>
        <p:spPr>
          <a:xfrm>
            <a:off x="375882" y="595860"/>
            <a:ext cx="7743625" cy="318540"/>
          </a:xfrm>
          <a:prstGeom prst="rect">
            <a:avLst/>
          </a:prstGeom>
        </p:spPr>
        <p:txBody>
          <a:bodyPr wrap="square" lIns="68577" tIns="34289" rIns="68577" bIns="34289">
            <a:spAutoFit/>
          </a:bodyPr>
          <a:lstStyle/>
          <a:p>
            <a:pPr marL="0" lvl="1" defTabSz="-8670092" eaLnBrk="0" hangingPunct="0">
              <a:lnSpc>
                <a:spcPct val="90000"/>
              </a:lnSpc>
              <a:spcBef>
                <a:spcPts val="375"/>
              </a:spcBef>
              <a:buClr>
                <a:srgbClr val="FFFFFF"/>
              </a:buClr>
              <a:buSzPct val="95000"/>
              <a:defRPr/>
            </a:pPr>
            <a:r>
              <a:rPr lang="en-US" sz="1800" dirty="0">
                <a:ln w="12700">
                  <a:noFill/>
                  <a:prstDash val="solid"/>
                </a:ln>
                <a:solidFill>
                  <a:schemeClr val="accent6"/>
                </a:solidFill>
                <a:latin typeface="Segoe UI Light" pitchFamily="34" charset="0"/>
              </a:rPr>
              <a:t>Simple to deploy, intuitive to manage, easy to expand at scale</a:t>
            </a:r>
          </a:p>
        </p:txBody>
      </p:sp>
      <p:grpSp>
        <p:nvGrpSpPr>
          <p:cNvPr id="5" name="Group 4"/>
          <p:cNvGrpSpPr/>
          <p:nvPr/>
        </p:nvGrpSpPr>
        <p:grpSpPr>
          <a:xfrm>
            <a:off x="375882" y="1085851"/>
            <a:ext cx="8029423" cy="1135083"/>
            <a:chOff x="368299" y="1543566"/>
            <a:chExt cx="10703109" cy="1513444"/>
          </a:xfrm>
        </p:grpSpPr>
        <p:sp>
          <p:nvSpPr>
            <p:cNvPr id="29" name="Rectangle 28"/>
            <p:cNvSpPr/>
            <p:nvPr/>
          </p:nvSpPr>
          <p:spPr bwMode="auto">
            <a:xfrm>
              <a:off x="2653138" y="1543566"/>
              <a:ext cx="8418270" cy="1513444"/>
            </a:xfrm>
            <a:prstGeom prst="rect">
              <a:avLst/>
            </a:prstGeom>
            <a:solidFill>
              <a:schemeClr val="bg1">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marL="127409" indent="-88114">
                <a:spcBef>
                  <a:spcPts val="300"/>
                </a:spcBef>
                <a:buClr>
                  <a:schemeClr val="tx1"/>
                </a:buClr>
                <a:buSzPct val="90000"/>
                <a:buFont typeface="Wingdings" pitchFamily="-84" charset="2"/>
                <a:buChar char="§"/>
              </a:pPr>
              <a:r>
                <a:rPr lang="en-US" sz="1500" dirty="0">
                  <a:solidFill>
                    <a:srgbClr val="FFFFFF"/>
                  </a:solidFill>
                  <a:latin typeface="Segoe UI" pitchFamily="-84" charset="-52"/>
                  <a:ea typeface="ＭＳ Ｐゴシック" pitchFamily="-103" charset="-128"/>
                </a:rPr>
                <a:t>Set up a simple VDI deployment easily and quickly</a:t>
              </a:r>
            </a:p>
            <a:p>
              <a:pPr marL="127409" indent="-88114">
                <a:spcBef>
                  <a:spcPts val="300"/>
                </a:spcBef>
                <a:buClr>
                  <a:schemeClr val="tx1"/>
                </a:buClr>
                <a:buSzPct val="90000"/>
                <a:buFont typeface="Wingdings" pitchFamily="-84" charset="2"/>
                <a:buChar char="§"/>
              </a:pPr>
              <a:r>
                <a:rPr lang="en-US" sz="1500" dirty="0">
                  <a:solidFill>
                    <a:srgbClr val="FFFFFF"/>
                  </a:solidFill>
                  <a:latin typeface="Segoe UI" pitchFamily="-84" charset="-52"/>
                  <a:ea typeface="ＭＳ Ｐゴシック" pitchFamily="-103" charset="-128"/>
                </a:rPr>
                <a:t>Wizard-based setup and deployment for multiple scenarios</a:t>
              </a:r>
            </a:p>
            <a:p>
              <a:pPr marL="127409" indent="-88114">
                <a:spcBef>
                  <a:spcPts val="300"/>
                </a:spcBef>
                <a:buClr>
                  <a:schemeClr val="tx1"/>
                </a:buClr>
                <a:buSzPct val="90000"/>
                <a:buFont typeface="Wingdings" pitchFamily="-84" charset="2"/>
                <a:buChar char="§"/>
              </a:pPr>
              <a:r>
                <a:rPr lang="en-US" sz="1500" dirty="0">
                  <a:solidFill>
                    <a:srgbClr val="FFFFFF"/>
                  </a:solidFill>
                  <a:latin typeface="Segoe UI" pitchFamily="-84" charset="-52"/>
                  <a:ea typeface="ＭＳ Ｐゴシック" pitchFamily="-103" charset="-128"/>
                </a:rPr>
                <a:t>Automatic creation of VM with settings</a:t>
              </a:r>
            </a:p>
          </p:txBody>
        </p:sp>
        <p:sp>
          <p:nvSpPr>
            <p:cNvPr id="38" name="Rectangle 37"/>
            <p:cNvSpPr/>
            <p:nvPr/>
          </p:nvSpPr>
          <p:spPr bwMode="auto">
            <a:xfrm>
              <a:off x="368299" y="1543566"/>
              <a:ext cx="2284839" cy="151344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8" rIns="91436" bIns="45718" anchor="b"/>
            <a:lstStyle/>
            <a:p>
              <a:r>
                <a:rPr lang="en-US" dirty="0" smtClean="0">
                  <a:solidFill>
                    <a:srgbClr val="FFFFFF"/>
                  </a:solidFill>
                  <a:latin typeface="+mj-lt"/>
                  <a:ea typeface="ＭＳ Ｐゴシック" pitchFamily="-103" charset="-128"/>
                </a:rPr>
                <a:t>Easy Deployment</a:t>
              </a:r>
              <a:endParaRPr lang="en-US" dirty="0">
                <a:solidFill>
                  <a:srgbClr val="FFFFFF"/>
                </a:solidFill>
                <a:latin typeface="+mj-lt"/>
                <a:ea typeface="ＭＳ Ｐゴシック" pitchFamily="-103" charset="-128"/>
              </a:endParaRPr>
            </a:p>
          </p:txBody>
        </p:sp>
        <p:pic>
          <p:nvPicPr>
            <p:cNvPr id="2050" name="Picture 2" descr="\\eventsql\dvd\Online_ART\DVD_Art_Sept-2-2010\Artwork_Imagery\Icons - Illustrations\_ REAL VISTA STYLE\clipboard checklist inventory.png"/>
            <p:cNvPicPr>
              <a:picLocks noChangeAspect="1" noChangeArrowheads="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92636" y="1715015"/>
              <a:ext cx="649515" cy="64951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375882" y="2389391"/>
            <a:ext cx="8029423" cy="1135083"/>
            <a:chOff x="368299" y="3253818"/>
            <a:chExt cx="10703109" cy="1513444"/>
          </a:xfrm>
        </p:grpSpPr>
        <p:sp>
          <p:nvSpPr>
            <p:cNvPr id="30" name="Rectangle 29"/>
            <p:cNvSpPr/>
            <p:nvPr/>
          </p:nvSpPr>
          <p:spPr bwMode="auto">
            <a:xfrm>
              <a:off x="2653138" y="3253818"/>
              <a:ext cx="8418270" cy="1513444"/>
            </a:xfrm>
            <a:prstGeom prst="rect">
              <a:avLst/>
            </a:prstGeom>
            <a:solidFill>
              <a:schemeClr val="bg1">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marL="127409" indent="-88114">
                <a:spcBef>
                  <a:spcPts val="300"/>
                </a:spcBef>
                <a:buClr>
                  <a:schemeClr val="tx1"/>
                </a:buClr>
                <a:buSzPct val="90000"/>
                <a:buFont typeface="Wingdings" pitchFamily="-84" charset="2"/>
                <a:buChar char="§"/>
              </a:pPr>
              <a:r>
                <a:rPr lang="en-US" sz="1500" dirty="0">
                  <a:solidFill>
                    <a:srgbClr val="FFFFFF"/>
                  </a:solidFill>
                  <a:latin typeface="Segoe UI" pitchFamily="-84" charset="-52"/>
                  <a:ea typeface="ＭＳ Ｐゴシック" pitchFamily="-103" charset="-128"/>
                </a:rPr>
                <a:t>One, integrated console for roles, servers, collections, users, and VMs</a:t>
              </a:r>
            </a:p>
            <a:p>
              <a:pPr marL="127409" indent="-88114">
                <a:spcBef>
                  <a:spcPts val="300"/>
                </a:spcBef>
                <a:buClr>
                  <a:schemeClr val="tx1"/>
                </a:buClr>
                <a:buSzPct val="90000"/>
                <a:buFont typeface="Wingdings" pitchFamily="-84" charset="2"/>
                <a:buChar char="§"/>
              </a:pPr>
              <a:r>
                <a:rPr lang="en-US" sz="1500" dirty="0">
                  <a:solidFill>
                    <a:srgbClr val="FFFFFF"/>
                  </a:solidFill>
                  <a:latin typeface="Segoe UI" pitchFamily="-84" charset="-52"/>
                  <a:ea typeface="ＭＳ Ｐゴシック" pitchFamily="-103" charset="-128"/>
                </a:rPr>
                <a:t>Consistent publishing apps and desktops </a:t>
              </a:r>
            </a:p>
            <a:p>
              <a:pPr marL="127409" indent="-88114">
                <a:spcBef>
                  <a:spcPts val="300"/>
                </a:spcBef>
                <a:buClr>
                  <a:schemeClr val="tx1"/>
                </a:buClr>
                <a:buSzPct val="90000"/>
                <a:buFont typeface="Wingdings" pitchFamily="-84" charset="2"/>
                <a:buChar char="§"/>
              </a:pPr>
              <a:r>
                <a:rPr lang="en-US" sz="1500" dirty="0">
                  <a:solidFill>
                    <a:srgbClr val="FFFFFF"/>
                  </a:solidFill>
                  <a:latin typeface="Segoe UI" pitchFamily="-84" charset="-52"/>
                  <a:ea typeface="ＭＳ Ｐゴシック" pitchFamily="-103" charset="-128"/>
                </a:rPr>
                <a:t>Automate and manage at scale with </a:t>
              </a:r>
              <a:r>
                <a:rPr lang="en-US" sz="1500" dirty="0" err="1">
                  <a:solidFill>
                    <a:srgbClr val="FFFFFF"/>
                  </a:solidFill>
                  <a:latin typeface="Segoe UI" pitchFamily="-84" charset="-52"/>
                  <a:ea typeface="ＭＳ Ｐゴシック" pitchFamily="-103" charset="-128"/>
                </a:rPr>
                <a:t>Powershell</a:t>
              </a:r>
              <a:endParaRPr lang="en-US" sz="1500" dirty="0">
                <a:solidFill>
                  <a:srgbClr val="FFFFFF"/>
                </a:solidFill>
                <a:latin typeface="Segoe UI" pitchFamily="-84" charset="-52"/>
                <a:ea typeface="ＭＳ Ｐゴシック" pitchFamily="-103" charset="-128"/>
              </a:endParaRPr>
            </a:p>
          </p:txBody>
        </p:sp>
        <p:sp>
          <p:nvSpPr>
            <p:cNvPr id="41" name="Rectangle 40"/>
            <p:cNvSpPr/>
            <p:nvPr/>
          </p:nvSpPr>
          <p:spPr bwMode="auto">
            <a:xfrm>
              <a:off x="368299" y="3253818"/>
              <a:ext cx="2284839" cy="151344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8" rIns="91436" bIns="45718" anchor="b"/>
            <a:lstStyle/>
            <a:p>
              <a:r>
                <a:rPr lang="en-US" dirty="0" smtClean="0">
                  <a:solidFill>
                    <a:srgbClr val="FFFFFF"/>
                  </a:solidFill>
                  <a:latin typeface="+mj-lt"/>
                  <a:ea typeface="ＭＳ Ｐゴシック" pitchFamily="-103" charset="-128"/>
                </a:rPr>
                <a:t>Unified</a:t>
              </a:r>
            </a:p>
            <a:p>
              <a:r>
                <a:rPr lang="en-US" dirty="0" smtClean="0">
                  <a:solidFill>
                    <a:srgbClr val="FFFFFF"/>
                  </a:solidFill>
                  <a:latin typeface="+mj-lt"/>
                  <a:ea typeface="ＭＳ Ｐゴシック" pitchFamily="-103" charset="-128"/>
                </a:rPr>
                <a:t>Administration</a:t>
              </a:r>
              <a:endParaRPr lang="en-US" dirty="0">
                <a:solidFill>
                  <a:srgbClr val="FFFFFF"/>
                </a:solidFill>
                <a:latin typeface="+mj-lt"/>
                <a:ea typeface="ＭＳ Ｐゴシック" pitchFamily="-103" charset="-128"/>
              </a:endParaRPr>
            </a:p>
          </p:txBody>
        </p:sp>
        <p:pic>
          <p:nvPicPr>
            <p:cNvPr id="2051" name="Picture 3" descr="\\eventsql\dvd\Online_ART\DVD_Art_Sept-2-2010\Artwork_Imagery\Icons - Illustrations\_ REAL VISTA STYLE\multi tool pocket knife tool.png"/>
            <p:cNvPicPr>
              <a:picLocks noChangeAspect="1" noChangeArrowheads="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92636" y="3389085"/>
              <a:ext cx="649515" cy="64951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 name="Group 11"/>
          <p:cNvGrpSpPr/>
          <p:nvPr/>
        </p:nvGrpSpPr>
        <p:grpSpPr>
          <a:xfrm>
            <a:off x="375881" y="3692933"/>
            <a:ext cx="8030614" cy="1135083"/>
            <a:chOff x="366711" y="5019675"/>
            <a:chExt cx="10704697" cy="1513444"/>
          </a:xfrm>
        </p:grpSpPr>
        <p:sp>
          <p:nvSpPr>
            <p:cNvPr id="32" name="Rectangle 31"/>
            <p:cNvSpPr/>
            <p:nvPr/>
          </p:nvSpPr>
          <p:spPr bwMode="auto">
            <a:xfrm>
              <a:off x="2653138" y="5019675"/>
              <a:ext cx="8418270" cy="1513444"/>
            </a:xfrm>
            <a:prstGeom prst="rect">
              <a:avLst/>
            </a:prstGeom>
            <a:solidFill>
              <a:schemeClr val="bg1">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marL="127409" indent="-88114">
                <a:spcBef>
                  <a:spcPts val="300"/>
                </a:spcBef>
                <a:buClr>
                  <a:schemeClr val="tx1"/>
                </a:buClr>
                <a:buSzPct val="90000"/>
                <a:buFont typeface="Wingdings" pitchFamily="-84" charset="2"/>
                <a:buChar char="§"/>
              </a:pPr>
              <a:r>
                <a:rPr lang="en-US" sz="1500" dirty="0">
                  <a:solidFill>
                    <a:srgbClr val="FFFFFF"/>
                  </a:solidFill>
                  <a:latin typeface="Segoe UI" pitchFamily="-84" charset="-52"/>
                  <a:ea typeface="ＭＳ Ｐゴシック" pitchFamily="-103" charset="-128"/>
                </a:rPr>
                <a:t>Master images for personal and pooled VMs</a:t>
              </a:r>
            </a:p>
            <a:p>
              <a:pPr marL="127409" indent="-88114">
                <a:spcBef>
                  <a:spcPts val="300"/>
                </a:spcBef>
                <a:buClr>
                  <a:schemeClr val="tx1"/>
                </a:buClr>
                <a:buSzPct val="90000"/>
                <a:buFont typeface="Wingdings" pitchFamily="-84" charset="2"/>
                <a:buChar char="§"/>
              </a:pPr>
              <a:r>
                <a:rPr lang="en-US" sz="1500" dirty="0">
                  <a:solidFill>
                    <a:srgbClr val="FFFFFF"/>
                  </a:solidFill>
                  <a:latin typeface="Segoe UI" pitchFamily="-84" charset="-52"/>
                  <a:ea typeface="ＭＳ Ｐゴシック" pitchFamily="-103" charset="-128"/>
                </a:rPr>
                <a:t>Avoid  patch storms by queuing maintenance updates</a:t>
              </a:r>
            </a:p>
            <a:p>
              <a:pPr marL="127409" indent="-88114">
                <a:spcBef>
                  <a:spcPts val="300"/>
                </a:spcBef>
                <a:buClr>
                  <a:schemeClr val="tx1"/>
                </a:buClr>
                <a:buSzPct val="90000"/>
                <a:buFont typeface="Wingdings" pitchFamily="-84" charset="2"/>
                <a:buChar char="§"/>
              </a:pPr>
              <a:r>
                <a:rPr lang="en-US" sz="1500" dirty="0">
                  <a:solidFill>
                    <a:srgbClr val="FFFFFF"/>
                  </a:solidFill>
                  <a:latin typeface="Segoe UI" pitchFamily="-84" charset="-52"/>
                  <a:ea typeface="ＭＳ Ｐゴシック" pitchFamily="-103" charset="-128"/>
                </a:rPr>
                <a:t>Streamlined VM </a:t>
              </a:r>
              <a:r>
                <a:rPr lang="en-US" sz="1500" dirty="0" err="1">
                  <a:solidFill>
                    <a:srgbClr val="FFFFFF"/>
                  </a:solidFill>
                  <a:latin typeface="Segoe UI" pitchFamily="-84" charset="-52"/>
                  <a:ea typeface="ＭＳ Ｐゴシック" pitchFamily="-103" charset="-128"/>
                </a:rPr>
                <a:t>mgmt</a:t>
              </a:r>
              <a:r>
                <a:rPr lang="en-US" sz="1500" dirty="0">
                  <a:solidFill>
                    <a:srgbClr val="FFFFFF"/>
                  </a:solidFill>
                  <a:latin typeface="Segoe UI" pitchFamily="-84" charset="-52"/>
                  <a:ea typeface="ＭＳ Ｐゴシック" pitchFamily="-103" charset="-128"/>
                </a:rPr>
                <a:t>: Fast </a:t>
              </a:r>
              <a:r>
                <a:rPr lang="en-US" sz="1500" dirty="0" err="1">
                  <a:solidFill>
                    <a:srgbClr val="FFFFFF"/>
                  </a:solidFill>
                  <a:latin typeface="Segoe UI" pitchFamily="-84" charset="-52"/>
                  <a:ea typeface="ＭＳ Ｐゴシック" pitchFamily="-103" charset="-128"/>
                </a:rPr>
                <a:t>sysprep</a:t>
              </a:r>
              <a:r>
                <a:rPr lang="en-US" sz="1500" dirty="0">
                  <a:solidFill>
                    <a:srgbClr val="FFFFFF"/>
                  </a:solidFill>
                  <a:latin typeface="Segoe UI" pitchFamily="-84" charset="-52"/>
                  <a:ea typeface="ＭＳ Ｐゴシック" pitchFamily="-103" charset="-128"/>
                </a:rPr>
                <a:t>, optimized logon, auto rollback</a:t>
              </a:r>
            </a:p>
          </p:txBody>
        </p:sp>
        <p:sp>
          <p:nvSpPr>
            <p:cNvPr id="35" name="Rectangle 34"/>
            <p:cNvSpPr/>
            <p:nvPr/>
          </p:nvSpPr>
          <p:spPr bwMode="auto">
            <a:xfrm>
              <a:off x="366711" y="5019675"/>
              <a:ext cx="2284839" cy="151344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8" rIns="91436" bIns="45718" anchor="b"/>
            <a:lstStyle/>
            <a:p>
              <a:r>
                <a:rPr lang="en-US" dirty="0" smtClean="0">
                  <a:solidFill>
                    <a:srgbClr val="FFFFFF"/>
                  </a:solidFill>
                  <a:latin typeface="+mj-lt"/>
                  <a:ea typeface="ＭＳ Ｐゴシック" pitchFamily="-103" charset="-128"/>
                </a:rPr>
                <a:t>Streamlined VM Management</a:t>
              </a:r>
              <a:endParaRPr lang="en-US" dirty="0">
                <a:solidFill>
                  <a:srgbClr val="FFFFFF"/>
                </a:solidFill>
                <a:latin typeface="+mj-lt"/>
                <a:ea typeface="ＭＳ Ｐゴシック" pitchFamily="-103" charset="-128"/>
              </a:endParaRPr>
            </a:p>
          </p:txBody>
        </p:sp>
        <p:grpSp>
          <p:nvGrpSpPr>
            <p:cNvPr id="3" name="Group 2"/>
            <p:cNvGrpSpPr>
              <a:grpSpLocks noChangeAspect="1"/>
            </p:cNvGrpSpPr>
            <p:nvPr/>
          </p:nvGrpSpPr>
          <p:grpSpPr>
            <a:xfrm>
              <a:off x="473854" y="5141976"/>
              <a:ext cx="687079" cy="649224"/>
              <a:chOff x="1819768" y="4222899"/>
              <a:chExt cx="557747" cy="527018"/>
            </a:xfrm>
          </p:grpSpPr>
          <p:pic>
            <p:nvPicPr>
              <p:cNvPr id="49" name="Picture 3" descr="C:\Program Files\Microsoft Resource DVD Artwork\DVD_ART\Artwork_Imagery\HARDWARE_IMAGERY\Photos - OEM Hardware\Computer\Vista Laptop\Gateway M680 laptop Vista Business.png"/>
              <p:cNvPicPr>
                <a:picLocks noChangeAspect="1" noChangeArrowheads="1"/>
              </p:cNvPicPr>
              <p:nvPr/>
            </p:nvPicPr>
            <p:blipFill>
              <a:blip r:embed="rId5" cstate="email">
                <a:duotone>
                  <a:schemeClr val="accent1">
                    <a:shade val="45000"/>
                    <a:satMod val="135000"/>
                  </a:schemeClr>
                  <a:prstClr val="white"/>
                </a:duotone>
                <a:extLst>
                  <a:ext uri="{28A0092B-C50C-407E-A947-70E740481C1C}">
                    <a14:useLocalDpi xmlns:a14="http://schemas.microsoft.com/office/drawing/2010/main"/>
                  </a:ext>
                </a:extLst>
              </a:blip>
              <a:srcRect r="-600" b="-6222"/>
              <a:stretch>
                <a:fillRect/>
              </a:stretch>
            </p:blipFill>
            <p:spPr bwMode="auto">
              <a:xfrm>
                <a:off x="2022191" y="4362672"/>
                <a:ext cx="355324" cy="259054"/>
              </a:xfrm>
              <a:prstGeom prst="rect">
                <a:avLst/>
              </a:prstGeom>
              <a:noFill/>
              <a:effectLst>
                <a:outerShdw blurRad="50800" dist="38100" dir="2700000" algn="tl" rotWithShape="0">
                  <a:prstClr val="black"/>
                </a:outerShdw>
              </a:effectLst>
            </p:spPr>
          </p:pic>
          <p:pic>
            <p:nvPicPr>
              <p:cNvPr id="50" name="Picture 49" descr="04.psd"/>
              <p:cNvPicPr>
                <a:picLocks noChangeAspect="1"/>
              </p:cNvPicPr>
              <p:nvPr/>
            </p:nvPicPr>
            <p:blipFill>
              <a:blip r:embed="rId6"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flipH="1">
                <a:off x="1819768" y="4222899"/>
                <a:ext cx="468587" cy="527018"/>
              </a:xfrm>
              <a:prstGeom prst="rect">
                <a:avLst/>
              </a:prstGeom>
            </p:spPr>
          </p:pic>
          <p:pic>
            <p:nvPicPr>
              <p:cNvPr id="52" name="Picture 31" descr="XP icon control panel"/>
              <p:cNvPicPr>
                <a:picLocks noChangeAspect="1" noChangeArrowheads="1"/>
              </p:cNvPicPr>
              <p:nvPr/>
            </p:nvPicPr>
            <p:blipFill>
              <a:blip r:embed="rId7" cstate="email">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2085834" y="4512296"/>
                <a:ext cx="149900" cy="230840"/>
              </a:xfrm>
              <a:prstGeom prst="rect">
                <a:avLst/>
              </a:prstGeom>
              <a:noFill/>
              <a:effectLst/>
            </p:spPr>
          </p:pic>
        </p:grpSp>
      </p:grpSp>
      <p:sp>
        <p:nvSpPr>
          <p:cNvPr id="19"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0"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8"/>
              </a:rPr>
              <a:t>www.rapidbbs.cn</a:t>
            </a:r>
            <a:endParaRPr lang="zh-CN" altLang="en-US" sz="1200" b="0">
              <a:latin typeface="Arial" charset="0"/>
              <a:ea typeface="ＭＳ Ｐゴシック" pitchFamily="34" charset="-128"/>
            </a:endParaRPr>
          </a:p>
        </p:txBody>
      </p:sp>
      <p:pic>
        <p:nvPicPr>
          <p:cNvPr id="21" name="Picture 2">
            <a:hlinkClick r:id="rId8"/>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85164333"/>
      </p:ext>
    </p:extLst>
  </p:cSld>
  <p:clrMapOvr>
    <a:masterClrMapping/>
  </p:clrMapOvr>
  <p:transition spd="slow">
    <p:wipe dir="r"/>
  </p:transition>
  <p:timing>
    <p:tnLst>
      <p:par>
        <p:cTn id="1" dur="indefinite" restart="never" nodeType="tmRoot"/>
      </p:par>
    </p:tnLst>
  </p:timing>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4"/>
          <p:cNvSpPr>
            <a:spLocks noGrp="1"/>
          </p:cNvSpPr>
          <p:nvPr>
            <p:ph type="title"/>
          </p:nvPr>
        </p:nvSpPr>
        <p:spPr/>
        <p:txBody>
          <a:bodyPr/>
          <a:lstStyle/>
          <a:p>
            <a:pPr lvl="0"/>
            <a:r>
              <a:rPr lang="en-US" dirty="0" smtClean="0"/>
              <a:t>Best Value for VDI</a:t>
            </a:r>
            <a:endParaRPr lang="en-US" dirty="0"/>
          </a:p>
        </p:txBody>
      </p:sp>
      <p:sp>
        <p:nvSpPr>
          <p:cNvPr id="25" name="Rectangle 24"/>
          <p:cNvSpPr/>
          <p:nvPr/>
        </p:nvSpPr>
        <p:spPr>
          <a:xfrm>
            <a:off x="375882" y="595860"/>
            <a:ext cx="7743625" cy="318540"/>
          </a:xfrm>
          <a:prstGeom prst="rect">
            <a:avLst/>
          </a:prstGeom>
        </p:spPr>
        <p:txBody>
          <a:bodyPr wrap="square" lIns="68577" tIns="34289" rIns="68577" bIns="34289">
            <a:spAutoFit/>
          </a:bodyPr>
          <a:lstStyle/>
          <a:p>
            <a:pPr marL="0" lvl="1" defTabSz="-8670092" eaLnBrk="0" hangingPunct="0">
              <a:lnSpc>
                <a:spcPct val="90000"/>
              </a:lnSpc>
              <a:spcBef>
                <a:spcPts val="375"/>
              </a:spcBef>
              <a:buClr>
                <a:srgbClr val="FFFFFF"/>
              </a:buClr>
              <a:buSzPct val="95000"/>
              <a:defRPr/>
            </a:pPr>
            <a:r>
              <a:rPr lang="en-US" sz="1800" dirty="0">
                <a:ln w="12700">
                  <a:noFill/>
                  <a:prstDash val="solid"/>
                </a:ln>
                <a:solidFill>
                  <a:schemeClr val="accent6"/>
                </a:solidFill>
                <a:latin typeface="Segoe UI Light" pitchFamily="34" charset="0"/>
              </a:rPr>
              <a:t>Key Platform Capabilities</a:t>
            </a:r>
          </a:p>
        </p:txBody>
      </p:sp>
      <p:grpSp>
        <p:nvGrpSpPr>
          <p:cNvPr id="5" name="Group 4"/>
          <p:cNvGrpSpPr>
            <a:grpSpLocks noChangeAspect="1"/>
          </p:cNvGrpSpPr>
          <p:nvPr/>
        </p:nvGrpSpPr>
        <p:grpSpPr>
          <a:xfrm>
            <a:off x="375882" y="1152253"/>
            <a:ext cx="8029423" cy="812666"/>
            <a:chOff x="368299" y="1543566"/>
            <a:chExt cx="10703109" cy="1513444"/>
          </a:xfrm>
        </p:grpSpPr>
        <p:sp>
          <p:nvSpPr>
            <p:cNvPr id="29" name="Rectangle 28"/>
            <p:cNvSpPr/>
            <p:nvPr/>
          </p:nvSpPr>
          <p:spPr bwMode="auto">
            <a:xfrm>
              <a:off x="2653138" y="1543566"/>
              <a:ext cx="8418270" cy="1513444"/>
            </a:xfrm>
            <a:prstGeom prst="rect">
              <a:avLst/>
            </a:prstGeom>
            <a:solidFill>
              <a:schemeClr val="bg1">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marL="127409" indent="-88114">
                <a:spcBef>
                  <a:spcPts val="300"/>
                </a:spcBef>
                <a:buClr>
                  <a:schemeClr val="tx1"/>
                </a:buClr>
                <a:buSzPct val="90000"/>
                <a:buFont typeface="Wingdings" pitchFamily="-84" charset="2"/>
                <a:buChar char="§"/>
              </a:pPr>
              <a:r>
                <a:rPr lang="en-US" dirty="0">
                  <a:solidFill>
                    <a:srgbClr val="FFFFFF"/>
                  </a:solidFill>
                  <a:latin typeface="Segoe UI" pitchFamily="-84" charset="-52"/>
                  <a:ea typeface="ＭＳ Ｐゴシック" pitchFamily="-103" charset="-128"/>
                </a:rPr>
                <a:t>User disk enables personalization on pooled VMs or sessions.</a:t>
              </a:r>
            </a:p>
            <a:p>
              <a:pPr marL="127409" indent="-88114">
                <a:spcBef>
                  <a:spcPts val="300"/>
                </a:spcBef>
                <a:buClr>
                  <a:schemeClr val="tx1"/>
                </a:buClr>
                <a:buSzPct val="90000"/>
                <a:buFont typeface="Wingdings" pitchFamily="-84" charset="2"/>
                <a:buChar char="§"/>
              </a:pPr>
              <a:r>
                <a:rPr lang="en-US" dirty="0">
                  <a:solidFill>
                    <a:srgbClr val="FFFFFF"/>
                  </a:solidFill>
                  <a:latin typeface="Segoe UI" pitchFamily="-84" charset="-52"/>
                  <a:ea typeface="ＭＳ Ｐゴシック" pitchFamily="-103" charset="-128"/>
                </a:rPr>
                <a:t>User data and settings are stored on a separate </a:t>
              </a:r>
              <a:r>
                <a:rPr lang="en-US" dirty="0" err="1">
                  <a:solidFill>
                    <a:srgbClr val="FFFFFF"/>
                  </a:solidFill>
                  <a:latin typeface="Segoe UI" pitchFamily="-84" charset="-52"/>
                  <a:ea typeface="ＭＳ Ｐゴシック" pitchFamily="-103" charset="-128"/>
                </a:rPr>
                <a:t>vhd</a:t>
              </a:r>
              <a:r>
                <a:rPr lang="en-US" dirty="0">
                  <a:solidFill>
                    <a:srgbClr val="FFFFFF"/>
                  </a:solidFill>
                  <a:latin typeface="Segoe UI" pitchFamily="-84" charset="-52"/>
                  <a:ea typeface="ＭＳ Ｐゴシック" pitchFamily="-103" charset="-128"/>
                </a:rPr>
                <a:t>.</a:t>
              </a:r>
            </a:p>
            <a:p>
              <a:pPr marL="127409" indent="-88114">
                <a:spcBef>
                  <a:spcPts val="300"/>
                </a:spcBef>
                <a:buClr>
                  <a:schemeClr val="tx1"/>
                </a:buClr>
                <a:buSzPct val="90000"/>
                <a:buFont typeface="Wingdings" pitchFamily="-84" charset="2"/>
                <a:buChar char="§"/>
              </a:pPr>
              <a:r>
                <a:rPr lang="en-US" dirty="0">
                  <a:solidFill>
                    <a:srgbClr val="FFFFFF"/>
                  </a:solidFill>
                  <a:latin typeface="Segoe UI" pitchFamily="-84" charset="-52"/>
                  <a:ea typeface="ＭＳ Ｐゴシック" pitchFamily="-103" charset="-128"/>
                </a:rPr>
                <a:t>Simplifies deployment of lower cost VDI (pooled VMs / Sessions) </a:t>
              </a:r>
            </a:p>
          </p:txBody>
        </p:sp>
        <p:sp>
          <p:nvSpPr>
            <p:cNvPr id="38" name="Rectangle 37"/>
            <p:cNvSpPr/>
            <p:nvPr/>
          </p:nvSpPr>
          <p:spPr bwMode="auto">
            <a:xfrm>
              <a:off x="368299" y="1543566"/>
              <a:ext cx="2284839" cy="151344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8" rIns="91436" bIns="45718" anchor="b"/>
            <a:lstStyle/>
            <a:p>
              <a:r>
                <a:rPr lang="en-US" dirty="0" smtClean="0">
                  <a:solidFill>
                    <a:srgbClr val="FFFFFF"/>
                  </a:solidFill>
                  <a:latin typeface="+mj-lt"/>
                  <a:ea typeface="ＭＳ Ｐゴシック" pitchFamily="-103" charset="-128"/>
                </a:rPr>
                <a:t>User Disks</a:t>
              </a:r>
              <a:endParaRPr lang="en-US" dirty="0">
                <a:solidFill>
                  <a:srgbClr val="FFFFFF"/>
                </a:solidFill>
                <a:latin typeface="+mj-lt"/>
                <a:ea typeface="ＭＳ Ｐゴシック" pitchFamily="-103" charset="-128"/>
              </a:endParaRPr>
            </a:p>
          </p:txBody>
        </p:sp>
      </p:grpSp>
      <p:grpSp>
        <p:nvGrpSpPr>
          <p:cNvPr id="6" name="Group 5"/>
          <p:cNvGrpSpPr/>
          <p:nvPr/>
        </p:nvGrpSpPr>
        <p:grpSpPr>
          <a:xfrm>
            <a:off x="377073" y="2021281"/>
            <a:ext cx="8029423" cy="812666"/>
            <a:chOff x="368299" y="3253818"/>
            <a:chExt cx="10703109" cy="1513444"/>
          </a:xfrm>
        </p:grpSpPr>
        <p:sp>
          <p:nvSpPr>
            <p:cNvPr id="30" name="Rectangle 29"/>
            <p:cNvSpPr/>
            <p:nvPr/>
          </p:nvSpPr>
          <p:spPr bwMode="auto">
            <a:xfrm>
              <a:off x="2653138" y="3253818"/>
              <a:ext cx="8418270" cy="1513444"/>
            </a:xfrm>
            <a:prstGeom prst="rect">
              <a:avLst/>
            </a:prstGeom>
            <a:solidFill>
              <a:schemeClr val="bg1">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marL="127409" indent="-88114">
                <a:spcBef>
                  <a:spcPts val="300"/>
                </a:spcBef>
                <a:buClr>
                  <a:schemeClr val="tx1"/>
                </a:buClr>
                <a:buSzPct val="90000"/>
                <a:buFont typeface="Wingdings" pitchFamily="-84" charset="2"/>
                <a:buChar char="§"/>
              </a:pPr>
              <a:r>
                <a:rPr lang="en-US" dirty="0" err="1">
                  <a:solidFill>
                    <a:srgbClr val="FFFFFF"/>
                  </a:solidFill>
                  <a:latin typeface="Segoe UI" pitchFamily="-84" charset="-52"/>
                  <a:ea typeface="ＭＳ Ｐゴシック" pitchFamily="-103" charset="-128"/>
                </a:rPr>
                <a:t>Fairshare</a:t>
              </a:r>
              <a:r>
                <a:rPr lang="en-US" dirty="0">
                  <a:solidFill>
                    <a:srgbClr val="FFFFFF"/>
                  </a:solidFill>
                  <a:latin typeface="Segoe UI" pitchFamily="-84" charset="-52"/>
                  <a:ea typeface="ＭＳ Ｐゴシック" pitchFamily="-103" charset="-128"/>
                </a:rPr>
                <a:t> ensures high performance across all user VMs / Sessions</a:t>
              </a:r>
            </a:p>
            <a:p>
              <a:pPr marL="127409" indent="-88114">
                <a:spcBef>
                  <a:spcPts val="300"/>
                </a:spcBef>
                <a:buClr>
                  <a:schemeClr val="tx1"/>
                </a:buClr>
                <a:buSzPct val="90000"/>
                <a:buFont typeface="Wingdings" pitchFamily="-84" charset="2"/>
                <a:buChar char="§"/>
              </a:pPr>
              <a:r>
                <a:rPr lang="en-US" dirty="0">
                  <a:solidFill>
                    <a:srgbClr val="FFFFFF"/>
                  </a:solidFill>
                  <a:latin typeface="Segoe UI" pitchFamily="-84" charset="-52"/>
                  <a:ea typeface="ＭＳ Ｐゴシック" pitchFamily="-103" charset="-128"/>
                </a:rPr>
                <a:t>Dynamically distributes resources (bandwidth, CPU and I/O)</a:t>
              </a:r>
            </a:p>
            <a:p>
              <a:pPr marL="127409" indent="-88114">
                <a:spcBef>
                  <a:spcPts val="300"/>
                </a:spcBef>
                <a:buClr>
                  <a:schemeClr val="tx1"/>
                </a:buClr>
                <a:buSzPct val="90000"/>
                <a:buFont typeface="Wingdings" pitchFamily="-84" charset="2"/>
                <a:buChar char="§"/>
              </a:pPr>
              <a:r>
                <a:rPr lang="en-US" dirty="0">
                  <a:solidFill>
                    <a:srgbClr val="FFFFFF"/>
                  </a:solidFill>
                  <a:latin typeface="Segoe UI" pitchFamily="-84" charset="-52"/>
                  <a:ea typeface="ＭＳ Ｐゴシック" pitchFamily="-103" charset="-128"/>
                </a:rPr>
                <a:t>Applicable to both Sessions and VMs</a:t>
              </a:r>
            </a:p>
          </p:txBody>
        </p:sp>
        <p:sp>
          <p:nvSpPr>
            <p:cNvPr id="41" name="Rectangle 40"/>
            <p:cNvSpPr/>
            <p:nvPr/>
          </p:nvSpPr>
          <p:spPr bwMode="auto">
            <a:xfrm>
              <a:off x="368299" y="3253818"/>
              <a:ext cx="2284839" cy="151344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8" rIns="91436" bIns="45718" anchor="b"/>
            <a:lstStyle/>
            <a:p>
              <a:r>
                <a:rPr lang="en-US" dirty="0" smtClean="0">
                  <a:solidFill>
                    <a:srgbClr val="FFFFFF"/>
                  </a:solidFill>
                  <a:latin typeface="+mj-lt"/>
                  <a:ea typeface="ＭＳ Ｐゴシック" pitchFamily="-103" charset="-128"/>
                </a:rPr>
                <a:t>Fair Share</a:t>
              </a:r>
              <a:endParaRPr lang="en-US" dirty="0">
                <a:solidFill>
                  <a:srgbClr val="FFFFFF"/>
                </a:solidFill>
                <a:latin typeface="+mj-lt"/>
                <a:ea typeface="ＭＳ Ｐゴシック" pitchFamily="-103" charset="-128"/>
              </a:endParaRPr>
            </a:p>
          </p:txBody>
        </p:sp>
      </p:grpSp>
      <p:grpSp>
        <p:nvGrpSpPr>
          <p:cNvPr id="12" name="Group 11"/>
          <p:cNvGrpSpPr/>
          <p:nvPr/>
        </p:nvGrpSpPr>
        <p:grpSpPr>
          <a:xfrm>
            <a:off x="375881" y="3759334"/>
            <a:ext cx="8030614" cy="984116"/>
            <a:chOff x="366711" y="5019675"/>
            <a:chExt cx="10704697" cy="1832739"/>
          </a:xfrm>
        </p:grpSpPr>
        <p:sp>
          <p:nvSpPr>
            <p:cNvPr id="32" name="Rectangle 31"/>
            <p:cNvSpPr/>
            <p:nvPr/>
          </p:nvSpPr>
          <p:spPr bwMode="auto">
            <a:xfrm>
              <a:off x="2653138" y="5019675"/>
              <a:ext cx="8418270" cy="1832739"/>
            </a:xfrm>
            <a:prstGeom prst="rect">
              <a:avLst/>
            </a:prstGeom>
            <a:solidFill>
              <a:schemeClr val="bg1">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marL="127409" indent="-88114">
                <a:spcBef>
                  <a:spcPts val="300"/>
                </a:spcBef>
                <a:buClr>
                  <a:schemeClr val="tx1"/>
                </a:buClr>
                <a:buSzPct val="90000"/>
                <a:buFont typeface="Wingdings" pitchFamily="-84" charset="2"/>
                <a:buChar char="§"/>
              </a:pPr>
              <a:r>
                <a:rPr lang="en-US" dirty="0">
                  <a:solidFill>
                    <a:srgbClr val="FFFFFF"/>
                  </a:solidFill>
                  <a:latin typeface="Segoe UI" pitchFamily="-84" charset="-52"/>
                  <a:ea typeface="ＭＳ Ｐゴシック" pitchFamily="-103" charset="-128"/>
                </a:rPr>
                <a:t>Active/Active Broker </a:t>
              </a:r>
            </a:p>
            <a:p>
              <a:pPr marL="127409" indent="-88114">
                <a:spcBef>
                  <a:spcPts val="300"/>
                </a:spcBef>
                <a:buClr>
                  <a:schemeClr val="tx1"/>
                </a:buClr>
                <a:buSzPct val="90000"/>
                <a:buFont typeface="Wingdings" pitchFamily="-84" charset="2"/>
                <a:buChar char="§"/>
              </a:pPr>
              <a:r>
                <a:rPr lang="en-US" dirty="0">
                  <a:solidFill>
                    <a:srgbClr val="FFFFFF"/>
                  </a:solidFill>
                  <a:latin typeface="Segoe UI" pitchFamily="-84" charset="-52"/>
                  <a:ea typeface="ＭＳ Ｐゴシック" pitchFamily="-103" charset="-128"/>
                </a:rPr>
                <a:t>Scale-out File Server, </a:t>
              </a:r>
              <a:r>
                <a:rPr lang="en-US" dirty="0" err="1">
                  <a:solidFill>
                    <a:srgbClr val="FFFFFF"/>
                  </a:solidFill>
                  <a:latin typeface="Segoe UI" pitchFamily="-84" charset="-52"/>
                  <a:ea typeface="ＭＳ Ｐゴシック" pitchFamily="-103" charset="-128"/>
                </a:rPr>
                <a:t>HyperV</a:t>
              </a:r>
              <a:r>
                <a:rPr lang="en-US" dirty="0">
                  <a:solidFill>
                    <a:srgbClr val="FFFFFF"/>
                  </a:solidFill>
                  <a:latin typeface="Segoe UI" pitchFamily="-84" charset="-52"/>
                  <a:ea typeface="ＭＳ Ｐゴシック" pitchFamily="-103" charset="-128"/>
                </a:rPr>
                <a:t> Clustering</a:t>
              </a:r>
            </a:p>
            <a:p>
              <a:pPr marL="127409" indent="-88114">
                <a:spcBef>
                  <a:spcPts val="300"/>
                </a:spcBef>
                <a:buClr>
                  <a:schemeClr val="tx1"/>
                </a:buClr>
                <a:buSzPct val="90000"/>
                <a:buFont typeface="Wingdings" pitchFamily="-84" charset="2"/>
                <a:buChar char="§"/>
              </a:pPr>
              <a:r>
                <a:rPr lang="en-US" dirty="0">
                  <a:solidFill>
                    <a:srgbClr val="FFFFFF"/>
                  </a:solidFill>
                  <a:latin typeface="Segoe UI" pitchFamily="-84" charset="-52"/>
                  <a:ea typeface="ＭＳ Ｐゴシック" pitchFamily="-103" charset="-128"/>
                </a:rPr>
                <a:t>Up to 32 nodes and 4000 VMs per cluster with Hyper-V</a:t>
              </a:r>
            </a:p>
            <a:p>
              <a:pPr marL="127409" indent="-88114">
                <a:spcBef>
                  <a:spcPts val="300"/>
                </a:spcBef>
                <a:buClr>
                  <a:schemeClr val="tx1"/>
                </a:buClr>
                <a:buSzPct val="90000"/>
                <a:buFont typeface="Wingdings" pitchFamily="-84" charset="2"/>
                <a:buChar char="§"/>
              </a:pPr>
              <a:r>
                <a:rPr lang="en-US" dirty="0">
                  <a:solidFill>
                    <a:srgbClr val="FFFFFF"/>
                  </a:solidFill>
                  <a:latin typeface="Segoe UI" pitchFamily="-84" charset="-52"/>
                  <a:ea typeface="ＭＳ Ｐゴシック" pitchFamily="-103" charset="-128"/>
                </a:rPr>
                <a:t>Increase density further by using RDSH (&gt;2X compared to VMs).</a:t>
              </a:r>
            </a:p>
          </p:txBody>
        </p:sp>
        <p:sp>
          <p:nvSpPr>
            <p:cNvPr id="35" name="Rectangle 34"/>
            <p:cNvSpPr/>
            <p:nvPr/>
          </p:nvSpPr>
          <p:spPr bwMode="auto">
            <a:xfrm>
              <a:off x="366711" y="5019675"/>
              <a:ext cx="2284839" cy="183273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8" rIns="91436" bIns="45718" anchor="b"/>
            <a:lstStyle/>
            <a:p>
              <a:r>
                <a:rPr lang="en-US" dirty="0" smtClean="0">
                  <a:solidFill>
                    <a:srgbClr val="FFFFFF"/>
                  </a:solidFill>
                  <a:latin typeface="+mj-lt"/>
                  <a:ea typeface="ＭＳ Ｐゴシック" pitchFamily="-103" charset="-128"/>
                </a:rPr>
                <a:t>Highly Available</a:t>
              </a:r>
              <a:endParaRPr lang="en-US" dirty="0">
                <a:solidFill>
                  <a:srgbClr val="FFFFFF"/>
                </a:solidFill>
                <a:latin typeface="+mj-lt"/>
                <a:ea typeface="ＭＳ Ｐゴシック" pitchFamily="-103" charset="-128"/>
              </a:endParaRPr>
            </a:p>
          </p:txBody>
        </p:sp>
      </p:grpSp>
      <p:grpSp>
        <p:nvGrpSpPr>
          <p:cNvPr id="19" name="Group 18"/>
          <p:cNvGrpSpPr/>
          <p:nvPr/>
        </p:nvGrpSpPr>
        <p:grpSpPr>
          <a:xfrm>
            <a:off x="375882" y="2890308"/>
            <a:ext cx="8029423" cy="812666"/>
            <a:chOff x="368299" y="1543566"/>
            <a:chExt cx="10703109" cy="1513444"/>
          </a:xfrm>
        </p:grpSpPr>
        <p:sp>
          <p:nvSpPr>
            <p:cNvPr id="20" name="Rectangle 19"/>
            <p:cNvSpPr/>
            <p:nvPr/>
          </p:nvSpPr>
          <p:spPr bwMode="auto">
            <a:xfrm>
              <a:off x="2653138" y="1543566"/>
              <a:ext cx="8418270" cy="1513444"/>
            </a:xfrm>
            <a:prstGeom prst="rect">
              <a:avLst/>
            </a:prstGeom>
            <a:solidFill>
              <a:schemeClr val="bg1">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marL="127409" indent="-88114">
                <a:spcBef>
                  <a:spcPts val="300"/>
                </a:spcBef>
                <a:buClr>
                  <a:schemeClr val="tx1"/>
                </a:buClr>
                <a:buSzPct val="90000"/>
                <a:buFont typeface="Wingdings" pitchFamily="-84" charset="2"/>
                <a:buChar char="§"/>
              </a:pPr>
              <a:r>
                <a:rPr lang="en-US" dirty="0">
                  <a:solidFill>
                    <a:srgbClr val="FFFFFF"/>
                  </a:solidFill>
                  <a:latin typeface="Segoe UI" pitchFamily="-84" charset="-52"/>
                  <a:ea typeface="ＭＳ Ｐゴシック" pitchFamily="-103" charset="-128"/>
                </a:rPr>
                <a:t>Direct Attached Storage, Network Attached </a:t>
              </a:r>
              <a:r>
                <a:rPr lang="en-US" dirty="0" smtClean="0">
                  <a:solidFill>
                    <a:srgbClr val="FFFFFF"/>
                  </a:solidFill>
                  <a:latin typeface="Segoe UI" pitchFamily="-84" charset="-52"/>
                  <a:ea typeface="ＭＳ Ｐゴシック" pitchFamily="-103" charset="-128"/>
                </a:rPr>
                <a:t>Storage</a:t>
              </a:r>
              <a:r>
                <a:rPr lang="en-US" dirty="0">
                  <a:solidFill>
                    <a:srgbClr val="FFFFFF"/>
                  </a:solidFill>
                  <a:latin typeface="Segoe UI" pitchFamily="-84" charset="-52"/>
                  <a:ea typeface="ＭＳ Ｐゴシック" pitchFamily="-103" charset="-128"/>
                </a:rPr>
                <a:t>, and Clustered/SAN Storage</a:t>
              </a:r>
            </a:p>
            <a:p>
              <a:pPr marL="127409" indent="-88114">
                <a:spcBef>
                  <a:spcPts val="300"/>
                </a:spcBef>
                <a:buClr>
                  <a:schemeClr val="tx1"/>
                </a:buClr>
                <a:buSzPct val="90000"/>
                <a:buFont typeface="Wingdings" pitchFamily="-84" charset="2"/>
                <a:buChar char="§"/>
              </a:pPr>
              <a:r>
                <a:rPr lang="en-US" dirty="0">
                  <a:solidFill>
                    <a:srgbClr val="FFFFFF"/>
                  </a:solidFill>
                  <a:latin typeface="Segoe UI" pitchFamily="-84" charset="-52"/>
                  <a:ea typeface="ＭＳ Ｐゴシック" pitchFamily="-103" charset="-128"/>
                </a:rPr>
                <a:t>Configuration options to optimize for tiered storage</a:t>
              </a:r>
            </a:p>
            <a:p>
              <a:pPr marL="127409" indent="-88114">
                <a:spcBef>
                  <a:spcPts val="300"/>
                </a:spcBef>
                <a:buClr>
                  <a:schemeClr val="tx1"/>
                </a:buClr>
                <a:buSzPct val="90000"/>
                <a:buFont typeface="Wingdings" pitchFamily="-84" charset="2"/>
                <a:buChar char="§"/>
              </a:pPr>
              <a:r>
                <a:rPr lang="en-US" dirty="0">
                  <a:solidFill>
                    <a:srgbClr val="FFFFFF"/>
                  </a:solidFill>
                  <a:latin typeface="Segoe UI" pitchFamily="-84" charset="-52"/>
                  <a:ea typeface="ＭＳ Ｐゴシック" pitchFamily="-103" charset="-128"/>
                </a:rPr>
                <a:t>Reduce storage cost while maximizing IOPS	</a:t>
              </a:r>
            </a:p>
          </p:txBody>
        </p:sp>
        <p:sp>
          <p:nvSpPr>
            <p:cNvPr id="21" name="Rectangle 20"/>
            <p:cNvSpPr/>
            <p:nvPr/>
          </p:nvSpPr>
          <p:spPr bwMode="auto">
            <a:xfrm>
              <a:off x="368299" y="1543566"/>
              <a:ext cx="2284839" cy="151344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8" rIns="91436" bIns="45718" anchor="b"/>
            <a:lstStyle/>
            <a:p>
              <a:r>
                <a:rPr lang="en-US" dirty="0" smtClean="0">
                  <a:solidFill>
                    <a:srgbClr val="FFFFFF"/>
                  </a:solidFill>
                  <a:latin typeface="+mj-lt"/>
                  <a:ea typeface="ＭＳ Ｐゴシック" pitchFamily="-103" charset="-128"/>
                </a:rPr>
                <a:t>Storage</a:t>
              </a:r>
              <a:endParaRPr lang="en-US" dirty="0">
                <a:solidFill>
                  <a:srgbClr val="FFFFFF"/>
                </a:solidFill>
                <a:latin typeface="+mj-lt"/>
                <a:ea typeface="ＭＳ Ｐゴシック" pitchFamily="-103" charset="-128"/>
              </a:endParaRPr>
            </a:p>
          </p:txBody>
        </p:sp>
      </p:grpSp>
      <p:pic>
        <p:nvPicPr>
          <p:cNvPr id="105" name="Picture 104"/>
          <p:cNvPicPr>
            <a:picLocks noChangeAspect="1"/>
          </p:cNvPicPr>
          <p:nvPr/>
        </p:nvPicPr>
        <p:blipFill rotWithShape="1">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l="67536"/>
          <a:stretch/>
        </p:blipFill>
        <p:spPr>
          <a:xfrm>
            <a:off x="456128" y="2125062"/>
            <a:ext cx="327742" cy="349758"/>
          </a:xfrm>
          <a:prstGeom prst="rect">
            <a:avLst/>
          </a:prstGeom>
          <a:solidFill>
            <a:schemeClr val="accent1">
              <a:lumMod val="75000"/>
              <a:alpha val="52000"/>
            </a:schemeClr>
          </a:solidFill>
          <a:ln>
            <a:noFill/>
            <a:headEnd type="none" w="med" len="med"/>
            <a:tailEnd type="none" w="med" len="med"/>
          </a:ln>
          <a:effectLst/>
        </p:spPr>
      </p:pic>
      <p:pic>
        <p:nvPicPr>
          <p:cNvPr id="106" name="Picture 4" descr="C:\Program Files\Microsoft Resource DVD Artwork\DVD_ART\Artwork_Imagery\HARDWARE_IMAGERY\Illustration - Misc Hardware\Windows Vista Illustration Icons\Windows Vista Start Button.png"/>
          <p:cNvPicPr>
            <a:picLocks noChangeArrowheads="1"/>
          </p:cNvPicPr>
          <p:nvPr/>
        </p:nvPicPr>
        <p:blipFill>
          <a:blip r:embed="rId4" cstate="print">
            <a:duotone>
              <a:schemeClr val="accent1">
                <a:shade val="45000"/>
                <a:satMod val="135000"/>
              </a:schemeClr>
              <a:prstClr val="white"/>
            </a:duotone>
          </a:blip>
          <a:stretch>
            <a:fillRect/>
          </a:stretch>
        </p:blipFill>
        <p:spPr bwMode="auto">
          <a:xfrm>
            <a:off x="807387" y="2294721"/>
            <a:ext cx="118913" cy="95536"/>
          </a:xfrm>
          <a:prstGeom prst="rect">
            <a:avLst/>
          </a:prstGeom>
          <a:solidFill>
            <a:schemeClr val="accent1">
              <a:lumMod val="75000"/>
              <a:alpha val="52000"/>
            </a:schemeClr>
          </a:solidFill>
          <a:ln>
            <a:noFill/>
            <a:headEnd type="none" w="med" len="med"/>
            <a:tailEnd type="none" w="med" len="med"/>
          </a:ln>
          <a:effectLst/>
        </p:spPr>
      </p:pic>
      <p:pic>
        <p:nvPicPr>
          <p:cNvPr id="107" name="Picture 4" descr="C:\Program Files\Microsoft Resource DVD Artwork\DVD_ART\Artwork_Imagery\HARDWARE_IMAGERY\Illustration - Misc Hardware\Windows Vista Illustration Icons\Windows Vista Start Button.png"/>
          <p:cNvPicPr>
            <a:picLocks noChangeArrowheads="1"/>
          </p:cNvPicPr>
          <p:nvPr/>
        </p:nvPicPr>
        <p:blipFill>
          <a:blip r:embed="rId4" cstate="print">
            <a:duotone>
              <a:schemeClr val="accent1">
                <a:shade val="45000"/>
                <a:satMod val="135000"/>
              </a:schemeClr>
              <a:prstClr val="white"/>
            </a:duotone>
          </a:blip>
          <a:stretch>
            <a:fillRect/>
          </a:stretch>
        </p:blipFill>
        <p:spPr bwMode="auto">
          <a:xfrm>
            <a:off x="929113" y="2295069"/>
            <a:ext cx="118913" cy="95536"/>
          </a:xfrm>
          <a:prstGeom prst="rect">
            <a:avLst/>
          </a:prstGeom>
          <a:solidFill>
            <a:schemeClr val="accent1">
              <a:lumMod val="75000"/>
              <a:alpha val="52000"/>
            </a:schemeClr>
          </a:solidFill>
          <a:ln>
            <a:noFill/>
            <a:headEnd type="none" w="med" len="med"/>
            <a:tailEnd type="none" w="med" len="med"/>
          </a:ln>
          <a:effectLst/>
        </p:spPr>
      </p:pic>
      <p:pic>
        <p:nvPicPr>
          <p:cNvPr id="108" name="Picture 4" descr="C:\Program Files\Microsoft Resource DVD Artwork\DVD_ART\Artwork_Imagery\HARDWARE_IMAGERY\Illustration - Misc Hardware\Windows Vista Illustration Icons\Windows Vista Start Button.png"/>
          <p:cNvPicPr>
            <a:picLocks noChangeArrowheads="1"/>
          </p:cNvPicPr>
          <p:nvPr/>
        </p:nvPicPr>
        <p:blipFill>
          <a:blip r:embed="rId4" cstate="print">
            <a:duotone>
              <a:schemeClr val="accent1">
                <a:shade val="45000"/>
                <a:satMod val="135000"/>
              </a:schemeClr>
              <a:prstClr val="white"/>
            </a:duotone>
          </a:blip>
          <a:stretch>
            <a:fillRect/>
          </a:stretch>
        </p:blipFill>
        <p:spPr bwMode="auto">
          <a:xfrm>
            <a:off x="803967" y="2199531"/>
            <a:ext cx="118913" cy="95536"/>
          </a:xfrm>
          <a:prstGeom prst="rect">
            <a:avLst/>
          </a:prstGeom>
          <a:solidFill>
            <a:schemeClr val="accent1">
              <a:lumMod val="75000"/>
              <a:alpha val="52000"/>
            </a:schemeClr>
          </a:solidFill>
          <a:ln>
            <a:noFill/>
            <a:headEnd type="none" w="med" len="med"/>
            <a:tailEnd type="none" w="med" len="med"/>
          </a:ln>
          <a:effectLst/>
        </p:spPr>
      </p:pic>
      <p:pic>
        <p:nvPicPr>
          <p:cNvPr id="109" name="Picture 4" descr="C:\Program Files\Microsoft Resource DVD Artwork\DVD_ART\Artwork_Imagery\HARDWARE_IMAGERY\Illustration - Misc Hardware\Windows Vista Illustration Icons\Windows Vista Start Button.png"/>
          <p:cNvPicPr>
            <a:picLocks noChangeArrowheads="1"/>
          </p:cNvPicPr>
          <p:nvPr/>
        </p:nvPicPr>
        <p:blipFill>
          <a:blip r:embed="rId4" cstate="print">
            <a:clrChange>
              <a:clrFrom>
                <a:srgbClr val="000000">
                  <a:alpha val="0"/>
                </a:srgbClr>
              </a:clrFrom>
              <a:clrTo>
                <a:srgbClr val="000000">
                  <a:alpha val="0"/>
                </a:srgbClr>
              </a:clrTo>
            </a:clrChange>
            <a:duotone>
              <a:schemeClr val="accent1">
                <a:shade val="45000"/>
                <a:satMod val="135000"/>
              </a:schemeClr>
              <a:prstClr val="white"/>
            </a:duotone>
          </a:blip>
          <a:stretch>
            <a:fillRect/>
          </a:stretch>
        </p:blipFill>
        <p:spPr bwMode="auto">
          <a:xfrm>
            <a:off x="925997" y="2199533"/>
            <a:ext cx="118913" cy="95536"/>
          </a:xfrm>
          <a:prstGeom prst="rect">
            <a:avLst/>
          </a:prstGeom>
          <a:solidFill>
            <a:schemeClr val="accent1">
              <a:lumMod val="75000"/>
              <a:alpha val="52000"/>
            </a:schemeClr>
          </a:solidFill>
          <a:ln>
            <a:noFill/>
            <a:headEnd type="none" w="med" len="med"/>
            <a:tailEnd type="none" w="med" len="med"/>
          </a:ln>
          <a:effectLst/>
        </p:spPr>
      </p:pic>
      <p:grpSp>
        <p:nvGrpSpPr>
          <p:cNvPr id="111" name="Group 110"/>
          <p:cNvGrpSpPr>
            <a:grpSpLocks noChangeAspect="1"/>
          </p:cNvGrpSpPr>
          <p:nvPr/>
        </p:nvGrpSpPr>
        <p:grpSpPr>
          <a:xfrm>
            <a:off x="456129" y="3022658"/>
            <a:ext cx="470171" cy="349758"/>
            <a:chOff x="8035500" y="4317355"/>
            <a:chExt cx="620758" cy="461899"/>
          </a:xfrm>
        </p:grpSpPr>
        <p:grpSp>
          <p:nvGrpSpPr>
            <p:cNvPr id="112" name="Group 111"/>
            <p:cNvGrpSpPr/>
            <p:nvPr/>
          </p:nvGrpSpPr>
          <p:grpSpPr>
            <a:xfrm>
              <a:off x="8035500" y="4317355"/>
              <a:ext cx="620758" cy="461899"/>
              <a:chOff x="5636554" y="5412798"/>
              <a:chExt cx="641510" cy="642080"/>
            </a:xfrm>
          </p:grpSpPr>
          <p:sp>
            <p:nvSpPr>
              <p:cNvPr id="114" name="Can 113"/>
              <p:cNvSpPr/>
              <p:nvPr/>
            </p:nvSpPr>
            <p:spPr>
              <a:xfrm>
                <a:off x="5636554" y="5438271"/>
                <a:ext cx="408951" cy="616607"/>
              </a:xfrm>
              <a:prstGeom prst="can">
                <a:avLst/>
              </a:prstGeom>
              <a:solidFill>
                <a:srgbClr val="FFFFFF">
                  <a:alpha val="32157"/>
                </a:srgb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1"/>
                  </a:solidFill>
                </a:endParaRPr>
              </a:p>
            </p:txBody>
          </p:sp>
          <p:pic>
            <p:nvPicPr>
              <p:cNvPr id="115" name="Picture 114"/>
              <p:cNvPicPr>
                <a:picLocks noChangeAspect="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015628" y="5412798"/>
                <a:ext cx="262436" cy="330682"/>
              </a:xfrm>
              <a:prstGeom prst="rect">
                <a:avLst/>
              </a:prstGeom>
              <a:solidFill>
                <a:schemeClr val="accent1"/>
              </a:solidFill>
            </p:spPr>
          </p:pic>
        </p:grpSp>
        <p:pic>
          <p:nvPicPr>
            <p:cNvPr id="113" name="Picture 4" descr="C:\Program Files\Microsoft Resource DVD Artwork\DVD_ART\Artwork_Imagery\HARDWARE_IMAGERY\Illustration - Misc Hardware\Windows Vista Illustration Icons\Windows Vista Start Button.png"/>
            <p:cNvPicPr>
              <a:picLocks noChangeArrowheads="1"/>
            </p:cNvPicPr>
            <p:nvPr/>
          </p:nvPicPr>
          <p:blipFill>
            <a:blip r:embed="rId4" cstate="print">
              <a:duotone>
                <a:schemeClr val="accent1">
                  <a:shade val="45000"/>
                  <a:satMod val="135000"/>
                </a:schemeClr>
                <a:prstClr val="white"/>
              </a:duotone>
            </a:blip>
            <a:stretch>
              <a:fillRect/>
            </a:stretch>
          </p:blipFill>
          <p:spPr bwMode="auto">
            <a:xfrm>
              <a:off x="8327736" y="4467289"/>
              <a:ext cx="237252" cy="170418"/>
            </a:xfrm>
            <a:prstGeom prst="rect">
              <a:avLst/>
            </a:prstGeom>
            <a:noFill/>
            <a:ln w="9525">
              <a:noFill/>
              <a:miter lim="800000"/>
              <a:headEnd/>
              <a:tailEnd/>
            </a:ln>
          </p:spPr>
        </p:pic>
      </p:grpSp>
      <p:grpSp>
        <p:nvGrpSpPr>
          <p:cNvPr id="117" name="Group 116"/>
          <p:cNvGrpSpPr>
            <a:grpSpLocks noChangeAspect="1"/>
          </p:cNvGrpSpPr>
          <p:nvPr/>
        </p:nvGrpSpPr>
        <p:grpSpPr>
          <a:xfrm>
            <a:off x="456129" y="3879342"/>
            <a:ext cx="542911" cy="349758"/>
            <a:chOff x="7847012" y="5427303"/>
            <a:chExt cx="1254991" cy="808710"/>
          </a:xfrm>
        </p:grpSpPr>
        <p:pic>
          <p:nvPicPr>
            <p:cNvPr id="118" name="Picture 4" descr="\\eventsql\dvd\Online_ART\DVD_Art_Sept-2-2010\Artwork_Imagery\Icons - Illustrations\_ VIRTUALIZATION ICONS\Server Virtual 2U.png"/>
            <p:cNvPicPr>
              <a:picLocks noChangeAspect="1" noChangeArrowheads="1"/>
            </p:cNvPicPr>
            <p:nvPr/>
          </p:nvPicPr>
          <p:blipFill>
            <a:blip r:embed="rId6">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847012" y="5427303"/>
              <a:ext cx="1254991" cy="808710"/>
            </a:xfrm>
            <a:prstGeom prst="rect">
              <a:avLst/>
            </a:prstGeom>
            <a:noFill/>
            <a:extLst>
              <a:ext uri="{909E8E84-426E-40DD-AFC4-6F175D3DCCD1}">
                <a14:hiddenFill xmlns:a14="http://schemas.microsoft.com/office/drawing/2010/main">
                  <a:solidFill>
                    <a:srgbClr val="FFFFFF"/>
                  </a:solidFill>
                </a14:hiddenFill>
              </a:ext>
            </a:extLst>
          </p:spPr>
        </p:pic>
        <p:grpSp>
          <p:nvGrpSpPr>
            <p:cNvPr id="119" name="Group 118"/>
            <p:cNvGrpSpPr/>
            <p:nvPr/>
          </p:nvGrpSpPr>
          <p:grpSpPr>
            <a:xfrm>
              <a:off x="8023837" y="5615493"/>
              <a:ext cx="945895" cy="279541"/>
              <a:chOff x="6041774" y="3679858"/>
              <a:chExt cx="1100354" cy="382181"/>
            </a:xfrm>
          </p:grpSpPr>
          <p:grpSp>
            <p:nvGrpSpPr>
              <p:cNvPr id="120" name="Group 119"/>
              <p:cNvGrpSpPr/>
              <p:nvPr/>
            </p:nvGrpSpPr>
            <p:grpSpPr>
              <a:xfrm>
                <a:off x="6041774" y="3888750"/>
                <a:ext cx="1100354" cy="173289"/>
                <a:chOff x="6056602" y="3715461"/>
                <a:chExt cx="1100354" cy="173289"/>
              </a:xfrm>
            </p:grpSpPr>
            <p:pic>
              <p:nvPicPr>
                <p:cNvPr id="128" name="Picture 5" descr="\\eventsql\dvd\Online_ART\DVD_Art_Sept-2-2010\Artwork_Imagery\Icons - Illustrations\_ VIRTUALIZATION ICONS\Windows Logo.png"/>
                <p:cNvPicPr>
                  <a:picLocks noChangeAspect="1" noChangeArrowheads="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056602" y="3715463"/>
                  <a:ext cx="188335" cy="173287"/>
                </a:xfrm>
                <a:prstGeom prst="rect">
                  <a:avLst/>
                </a:prstGeom>
                <a:noFill/>
                <a:extLst>
                  <a:ext uri="{909E8E84-426E-40DD-AFC4-6F175D3DCCD1}">
                    <a14:hiddenFill xmlns:a14="http://schemas.microsoft.com/office/drawing/2010/main">
                      <a:solidFill>
                        <a:srgbClr val="FFFFFF"/>
                      </a:solidFill>
                    </a14:hiddenFill>
                  </a:ext>
                </a:extLst>
              </p:spPr>
            </p:pic>
            <p:pic>
              <p:nvPicPr>
                <p:cNvPr id="129" name="Picture 5" descr="\\eventsql\dvd\Online_ART\DVD_Art_Sept-2-2010\Artwork_Imagery\Icons - Illustrations\_ VIRTUALIZATION ICONS\Windows Logo.png"/>
                <p:cNvPicPr>
                  <a:picLocks noChangeAspect="1" noChangeArrowheads="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236712" y="3715463"/>
                  <a:ext cx="188335" cy="173287"/>
                </a:xfrm>
                <a:prstGeom prst="rect">
                  <a:avLst/>
                </a:prstGeom>
                <a:noFill/>
                <a:extLst>
                  <a:ext uri="{909E8E84-426E-40DD-AFC4-6F175D3DCCD1}">
                    <a14:hiddenFill xmlns:a14="http://schemas.microsoft.com/office/drawing/2010/main">
                      <a:solidFill>
                        <a:srgbClr val="FFFFFF"/>
                      </a:solidFill>
                    </a14:hiddenFill>
                  </a:ext>
                </a:extLst>
              </p:spPr>
            </p:pic>
            <p:pic>
              <p:nvPicPr>
                <p:cNvPr id="130" name="Picture 5" descr="\\eventsql\dvd\Online_ART\DVD_Art_Sept-2-2010\Artwork_Imagery\Icons - Illustrations\_ VIRTUALIZATION ICONS\Windows Logo.png"/>
                <p:cNvPicPr>
                  <a:picLocks noChangeAspect="1" noChangeArrowheads="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425047" y="3715462"/>
                  <a:ext cx="188335" cy="173287"/>
                </a:xfrm>
                <a:prstGeom prst="rect">
                  <a:avLst/>
                </a:prstGeom>
                <a:noFill/>
                <a:extLst>
                  <a:ext uri="{909E8E84-426E-40DD-AFC4-6F175D3DCCD1}">
                    <a14:hiddenFill xmlns:a14="http://schemas.microsoft.com/office/drawing/2010/main">
                      <a:solidFill>
                        <a:srgbClr val="FFFFFF"/>
                      </a:solidFill>
                    </a14:hiddenFill>
                  </a:ext>
                </a:extLst>
              </p:spPr>
            </p:pic>
            <p:pic>
              <p:nvPicPr>
                <p:cNvPr id="131" name="Picture 5" descr="\\eventsql\dvd\Online_ART\DVD_Art_Sept-2-2010\Artwork_Imagery\Icons - Illustrations\_ VIRTUALIZATION ICONS\Windows Logo.png"/>
                <p:cNvPicPr>
                  <a:picLocks noChangeAspect="1" noChangeArrowheads="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591951" y="3715463"/>
                  <a:ext cx="188335" cy="173287"/>
                </a:xfrm>
                <a:prstGeom prst="rect">
                  <a:avLst/>
                </a:prstGeom>
                <a:noFill/>
                <a:extLst>
                  <a:ext uri="{909E8E84-426E-40DD-AFC4-6F175D3DCCD1}">
                    <a14:hiddenFill xmlns:a14="http://schemas.microsoft.com/office/drawing/2010/main">
                      <a:solidFill>
                        <a:srgbClr val="FFFFFF"/>
                      </a:solidFill>
                    </a14:hiddenFill>
                  </a:ext>
                </a:extLst>
              </p:spPr>
            </p:pic>
            <p:pic>
              <p:nvPicPr>
                <p:cNvPr id="132" name="Picture 5" descr="\\eventsql\dvd\Online_ART\DVD_Art_Sept-2-2010\Artwork_Imagery\Icons - Illustrations\_ VIRTUALIZATION ICONS\Windows Logo.png"/>
                <p:cNvPicPr>
                  <a:picLocks noChangeAspect="1" noChangeArrowheads="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780286" y="3715461"/>
                  <a:ext cx="188335" cy="173287"/>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5" descr="\\eventsql\dvd\Online_ART\DVD_Art_Sept-2-2010\Artwork_Imagery\Icons - Illustrations\_ VIRTUALIZATION ICONS\Windows Logo.png"/>
                <p:cNvPicPr>
                  <a:picLocks noChangeAspect="1" noChangeArrowheads="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968621" y="3715463"/>
                  <a:ext cx="188335" cy="17328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1" name="Group 120"/>
              <p:cNvGrpSpPr/>
              <p:nvPr/>
            </p:nvGrpSpPr>
            <p:grpSpPr>
              <a:xfrm>
                <a:off x="6041774" y="3679858"/>
                <a:ext cx="1100354" cy="173289"/>
                <a:chOff x="6056602" y="3715461"/>
                <a:chExt cx="1100354" cy="173289"/>
              </a:xfrm>
            </p:grpSpPr>
            <p:pic>
              <p:nvPicPr>
                <p:cNvPr id="122" name="Picture 5" descr="\\eventsql\dvd\Online_ART\DVD_Art_Sept-2-2010\Artwork_Imagery\Icons - Illustrations\_ VIRTUALIZATION ICONS\Windows Logo.png"/>
                <p:cNvPicPr>
                  <a:picLocks noChangeAspect="1" noChangeArrowheads="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056602" y="3715463"/>
                  <a:ext cx="188335" cy="173287"/>
                </a:xfrm>
                <a:prstGeom prst="rect">
                  <a:avLst/>
                </a:prstGeom>
                <a:noFill/>
                <a:extLst>
                  <a:ext uri="{909E8E84-426E-40DD-AFC4-6F175D3DCCD1}">
                    <a14:hiddenFill xmlns:a14="http://schemas.microsoft.com/office/drawing/2010/main">
                      <a:solidFill>
                        <a:srgbClr val="FFFFFF"/>
                      </a:solidFill>
                    </a14:hiddenFill>
                  </a:ext>
                </a:extLst>
              </p:spPr>
            </p:pic>
            <p:pic>
              <p:nvPicPr>
                <p:cNvPr id="123" name="Picture 5" descr="\\eventsql\dvd\Online_ART\DVD_Art_Sept-2-2010\Artwork_Imagery\Icons - Illustrations\_ VIRTUALIZATION ICONS\Windows Logo.png"/>
                <p:cNvPicPr>
                  <a:picLocks noChangeAspect="1" noChangeArrowheads="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236712" y="3715463"/>
                  <a:ext cx="188335" cy="173287"/>
                </a:xfrm>
                <a:prstGeom prst="rect">
                  <a:avLst/>
                </a:prstGeom>
                <a:noFill/>
                <a:extLst>
                  <a:ext uri="{909E8E84-426E-40DD-AFC4-6F175D3DCCD1}">
                    <a14:hiddenFill xmlns:a14="http://schemas.microsoft.com/office/drawing/2010/main">
                      <a:solidFill>
                        <a:srgbClr val="FFFFFF"/>
                      </a:solidFill>
                    </a14:hiddenFill>
                  </a:ext>
                </a:extLst>
              </p:spPr>
            </p:pic>
            <p:pic>
              <p:nvPicPr>
                <p:cNvPr id="124" name="Picture 5" descr="\\eventsql\dvd\Online_ART\DVD_Art_Sept-2-2010\Artwork_Imagery\Icons - Illustrations\_ VIRTUALIZATION ICONS\Windows Logo.png"/>
                <p:cNvPicPr>
                  <a:picLocks noChangeAspect="1" noChangeArrowheads="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425047" y="3715462"/>
                  <a:ext cx="188335" cy="173287"/>
                </a:xfrm>
                <a:prstGeom prst="rect">
                  <a:avLst/>
                </a:prstGeom>
                <a:noFill/>
                <a:extLst>
                  <a:ext uri="{909E8E84-426E-40DD-AFC4-6F175D3DCCD1}">
                    <a14:hiddenFill xmlns:a14="http://schemas.microsoft.com/office/drawing/2010/main">
                      <a:solidFill>
                        <a:srgbClr val="FFFFFF"/>
                      </a:solidFill>
                    </a14:hiddenFill>
                  </a:ext>
                </a:extLst>
              </p:spPr>
            </p:pic>
            <p:pic>
              <p:nvPicPr>
                <p:cNvPr id="125" name="Picture 5" descr="\\eventsql\dvd\Online_ART\DVD_Art_Sept-2-2010\Artwork_Imagery\Icons - Illustrations\_ VIRTUALIZATION ICONS\Windows Logo.png"/>
                <p:cNvPicPr>
                  <a:picLocks noChangeAspect="1" noChangeArrowheads="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591951" y="3715463"/>
                  <a:ext cx="188335" cy="173287"/>
                </a:xfrm>
                <a:prstGeom prst="rect">
                  <a:avLst/>
                </a:prstGeom>
                <a:noFill/>
                <a:extLst>
                  <a:ext uri="{909E8E84-426E-40DD-AFC4-6F175D3DCCD1}">
                    <a14:hiddenFill xmlns:a14="http://schemas.microsoft.com/office/drawing/2010/main">
                      <a:solidFill>
                        <a:srgbClr val="FFFFFF"/>
                      </a:solidFill>
                    </a14:hiddenFill>
                  </a:ext>
                </a:extLst>
              </p:spPr>
            </p:pic>
            <p:pic>
              <p:nvPicPr>
                <p:cNvPr id="126" name="Picture 5" descr="\\eventsql\dvd\Online_ART\DVD_Art_Sept-2-2010\Artwork_Imagery\Icons - Illustrations\_ VIRTUALIZATION ICONS\Windows Logo.png"/>
                <p:cNvPicPr>
                  <a:picLocks noChangeAspect="1" noChangeArrowheads="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780286" y="3715461"/>
                  <a:ext cx="188335" cy="173287"/>
                </a:xfrm>
                <a:prstGeom prst="rect">
                  <a:avLst/>
                </a:prstGeom>
                <a:noFill/>
                <a:extLst>
                  <a:ext uri="{909E8E84-426E-40DD-AFC4-6F175D3DCCD1}">
                    <a14:hiddenFill xmlns:a14="http://schemas.microsoft.com/office/drawing/2010/main">
                      <a:solidFill>
                        <a:srgbClr val="FFFFFF"/>
                      </a:solidFill>
                    </a14:hiddenFill>
                  </a:ext>
                </a:extLst>
              </p:spPr>
            </p:pic>
            <p:pic>
              <p:nvPicPr>
                <p:cNvPr id="127" name="Picture 5" descr="\\eventsql\dvd\Online_ART\DVD_Art_Sept-2-2010\Artwork_Imagery\Icons - Illustrations\_ VIRTUALIZATION ICONS\Windows Logo.png"/>
                <p:cNvPicPr>
                  <a:picLocks noChangeAspect="1" noChangeArrowheads="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968621" y="3715463"/>
                  <a:ext cx="188335" cy="173287"/>
                </a:xfrm>
                <a:prstGeom prst="rect">
                  <a:avLst/>
                </a:prstGeom>
                <a:noFill/>
                <a:extLst>
                  <a:ext uri="{909E8E84-426E-40DD-AFC4-6F175D3DCCD1}">
                    <a14:hiddenFill xmlns:a14="http://schemas.microsoft.com/office/drawing/2010/main">
                      <a:solidFill>
                        <a:srgbClr val="FFFFFF"/>
                      </a:solidFill>
                    </a14:hiddenFill>
                  </a:ext>
                </a:extLst>
              </p:spPr>
            </p:pic>
          </p:grpSp>
        </p:grpSp>
      </p:grpSp>
      <p:grpSp>
        <p:nvGrpSpPr>
          <p:cNvPr id="135" name="Group 134"/>
          <p:cNvGrpSpPr>
            <a:grpSpLocks noChangeAspect="1"/>
          </p:cNvGrpSpPr>
          <p:nvPr/>
        </p:nvGrpSpPr>
        <p:grpSpPr>
          <a:xfrm>
            <a:off x="456128" y="1234677"/>
            <a:ext cx="688664" cy="445683"/>
            <a:chOff x="1317583" y="1423553"/>
            <a:chExt cx="1407612" cy="911204"/>
          </a:xfrm>
        </p:grpSpPr>
        <p:grpSp>
          <p:nvGrpSpPr>
            <p:cNvPr id="136" name="Group 135"/>
            <p:cNvGrpSpPr/>
            <p:nvPr/>
          </p:nvGrpSpPr>
          <p:grpSpPr>
            <a:xfrm>
              <a:off x="1317583" y="1423553"/>
              <a:ext cx="312560" cy="412133"/>
              <a:chOff x="7333964" y="2973472"/>
              <a:chExt cx="304825" cy="637488"/>
            </a:xfrm>
          </p:grpSpPr>
          <p:sp>
            <p:nvSpPr>
              <p:cNvPr id="152" name="TextBox 151"/>
              <p:cNvSpPr txBox="1"/>
              <p:nvPr/>
            </p:nvSpPr>
            <p:spPr>
              <a:xfrm>
                <a:off x="7333964" y="2973472"/>
                <a:ext cx="292099" cy="637488"/>
              </a:xfrm>
              <a:prstGeom prst="rect">
                <a:avLst/>
              </a:prstGeom>
              <a:noFill/>
              <a:ln>
                <a:solidFill>
                  <a:schemeClr val="bg1">
                    <a:lumMod val="95000"/>
                  </a:schemeClr>
                </a:solidFill>
                <a:prstDash val="sysDash"/>
              </a:ln>
            </p:spPr>
            <p:txBody>
              <a:bodyPr wrap="square" lIns="76188" tIns="38093" rIns="76188" bIns="38093" rtlCol="0">
                <a:spAutoFit/>
              </a:bodyPr>
              <a:lstStyle/>
              <a:p>
                <a:pPr algn="ctr" defTabSz="684561" eaLnBrk="0" hangingPunct="0">
                  <a:lnSpc>
                    <a:spcPct val="90000"/>
                  </a:lnSpc>
                  <a:spcBef>
                    <a:spcPct val="30000"/>
                  </a:spcBef>
                  <a:buClr>
                    <a:srgbClr val="1F497D"/>
                  </a:buClr>
                  <a:buSzPct val="95000"/>
                  <a:defRPr/>
                </a:pPr>
                <a:r>
                  <a:rPr lang="en-US" sz="900" dirty="0">
                    <a:latin typeface="Segoe UI" pitchFamily="34" charset="0"/>
                    <a:ea typeface="Segoe UI" pitchFamily="34" charset="0"/>
                    <a:cs typeface="Segoe UI" pitchFamily="34" charset="0"/>
                  </a:rPr>
                  <a:t>A</a:t>
                </a:r>
              </a:p>
            </p:txBody>
          </p:sp>
          <p:sp>
            <p:nvSpPr>
              <p:cNvPr id="153" name="Round Same Side Corner Rectangle 13335"/>
              <p:cNvSpPr/>
              <p:nvPr/>
            </p:nvSpPr>
            <p:spPr>
              <a:xfrm>
                <a:off x="7507298" y="3210856"/>
                <a:ext cx="131491" cy="222405"/>
              </a:xfrm>
              <a:custGeom>
                <a:avLst/>
                <a:gdLst/>
                <a:ahLst/>
                <a:cxnLst/>
                <a:rect l="l" t="t" r="r" b="b"/>
                <a:pathLst>
                  <a:path w="304800" h="426063">
                    <a:moveTo>
                      <a:pt x="67626" y="203200"/>
                    </a:moveTo>
                    <a:lnTo>
                      <a:pt x="151680" y="203200"/>
                    </a:lnTo>
                    <a:lnTo>
                      <a:pt x="237174" y="203200"/>
                    </a:lnTo>
                    <a:cubicBezTo>
                      <a:pt x="274523" y="203200"/>
                      <a:pt x="304800" y="233477"/>
                      <a:pt x="304800" y="270826"/>
                    </a:cubicBezTo>
                    <a:lnTo>
                      <a:pt x="304800" y="426063"/>
                    </a:lnTo>
                    <a:lnTo>
                      <a:pt x="0" y="426063"/>
                    </a:lnTo>
                    <a:lnTo>
                      <a:pt x="0" y="270826"/>
                    </a:lnTo>
                    <a:cubicBezTo>
                      <a:pt x="0" y="233477"/>
                      <a:pt x="30277" y="203200"/>
                      <a:pt x="67626" y="203200"/>
                    </a:cubicBezTo>
                    <a:close/>
                    <a:moveTo>
                      <a:pt x="151680" y="0"/>
                    </a:moveTo>
                    <a:cubicBezTo>
                      <a:pt x="209857" y="0"/>
                      <a:pt x="257018" y="45488"/>
                      <a:pt x="257018" y="101600"/>
                    </a:cubicBezTo>
                    <a:cubicBezTo>
                      <a:pt x="257018" y="157712"/>
                      <a:pt x="209857" y="203200"/>
                      <a:pt x="151680" y="203200"/>
                    </a:cubicBezTo>
                    <a:cubicBezTo>
                      <a:pt x="93503" y="203200"/>
                      <a:pt x="46342" y="157712"/>
                      <a:pt x="46342" y="101600"/>
                    </a:cubicBezTo>
                    <a:cubicBezTo>
                      <a:pt x="46342" y="45488"/>
                      <a:pt x="93503" y="0"/>
                      <a:pt x="151680" y="0"/>
                    </a:cubicBezTo>
                    <a:close/>
                  </a:path>
                </a:pathLst>
              </a:cu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137" name="Group 136"/>
            <p:cNvGrpSpPr/>
            <p:nvPr/>
          </p:nvGrpSpPr>
          <p:grpSpPr>
            <a:xfrm>
              <a:off x="1871633" y="1423554"/>
              <a:ext cx="299512" cy="497080"/>
              <a:chOff x="7874304" y="2973472"/>
              <a:chExt cx="292100" cy="768884"/>
            </a:xfrm>
          </p:grpSpPr>
          <p:sp>
            <p:nvSpPr>
              <p:cNvPr id="150" name="TextBox 149"/>
              <p:cNvSpPr txBox="1"/>
              <p:nvPr/>
            </p:nvSpPr>
            <p:spPr>
              <a:xfrm>
                <a:off x="7874304" y="2973472"/>
                <a:ext cx="292100" cy="768884"/>
              </a:xfrm>
              <a:prstGeom prst="rect">
                <a:avLst/>
              </a:prstGeom>
              <a:noFill/>
              <a:ln>
                <a:solidFill>
                  <a:schemeClr val="bg1">
                    <a:lumMod val="95000"/>
                  </a:schemeClr>
                </a:solidFill>
                <a:prstDash val="sysDash"/>
              </a:ln>
            </p:spPr>
            <p:txBody>
              <a:bodyPr wrap="square" lIns="76188" tIns="38093" rIns="76188" bIns="38093" rtlCol="0">
                <a:spAutoFit/>
              </a:bodyPr>
              <a:lstStyle>
                <a:defPPr>
                  <a:defRPr lang="en-US"/>
                </a:defPPr>
                <a:lvl1pPr algn="ctr" defTabSz="912663" eaLnBrk="0" hangingPunct="0">
                  <a:lnSpc>
                    <a:spcPct val="90000"/>
                  </a:lnSpc>
                  <a:spcBef>
                    <a:spcPct val="30000"/>
                  </a:spcBef>
                  <a:buClr>
                    <a:srgbClr val="1F497D"/>
                  </a:buClr>
                  <a:buSzPct val="95000"/>
                  <a:defRPr sz="1200">
                    <a:solidFill>
                      <a:prstClr val="white"/>
                    </a:solidFill>
                    <a:latin typeface="Segoe UI" pitchFamily="34" charset="0"/>
                    <a:ea typeface="Segoe UI" pitchFamily="34" charset="0"/>
                    <a:cs typeface="Segoe UI" pitchFamily="34" charset="0"/>
                  </a:defRPr>
                </a:lvl1pPr>
              </a:lstStyle>
              <a:p>
                <a:r>
                  <a:rPr lang="en-US" dirty="0">
                    <a:solidFill>
                      <a:schemeClr val="tx1"/>
                    </a:solidFill>
                  </a:rPr>
                  <a:t>B</a:t>
                </a:r>
              </a:p>
            </p:txBody>
          </p:sp>
          <p:sp>
            <p:nvSpPr>
              <p:cNvPr id="151" name="Round Same Side Corner Rectangle 13335"/>
              <p:cNvSpPr/>
              <p:nvPr/>
            </p:nvSpPr>
            <p:spPr>
              <a:xfrm>
                <a:off x="7987196" y="3210856"/>
                <a:ext cx="131491" cy="222405"/>
              </a:xfrm>
              <a:custGeom>
                <a:avLst/>
                <a:gdLst/>
                <a:ahLst/>
                <a:cxnLst/>
                <a:rect l="l" t="t" r="r" b="b"/>
                <a:pathLst>
                  <a:path w="304800" h="426063">
                    <a:moveTo>
                      <a:pt x="67626" y="203200"/>
                    </a:moveTo>
                    <a:lnTo>
                      <a:pt x="151680" y="203200"/>
                    </a:lnTo>
                    <a:lnTo>
                      <a:pt x="237174" y="203200"/>
                    </a:lnTo>
                    <a:cubicBezTo>
                      <a:pt x="274523" y="203200"/>
                      <a:pt x="304800" y="233477"/>
                      <a:pt x="304800" y="270826"/>
                    </a:cubicBezTo>
                    <a:lnTo>
                      <a:pt x="304800" y="426063"/>
                    </a:lnTo>
                    <a:lnTo>
                      <a:pt x="0" y="426063"/>
                    </a:lnTo>
                    <a:lnTo>
                      <a:pt x="0" y="270826"/>
                    </a:lnTo>
                    <a:cubicBezTo>
                      <a:pt x="0" y="233477"/>
                      <a:pt x="30277" y="203200"/>
                      <a:pt x="67626" y="203200"/>
                    </a:cubicBezTo>
                    <a:close/>
                    <a:moveTo>
                      <a:pt x="151680" y="0"/>
                    </a:moveTo>
                    <a:cubicBezTo>
                      <a:pt x="209857" y="0"/>
                      <a:pt x="257018" y="45488"/>
                      <a:pt x="257018" y="101600"/>
                    </a:cubicBezTo>
                    <a:cubicBezTo>
                      <a:pt x="257018" y="157712"/>
                      <a:pt x="209857" y="203200"/>
                      <a:pt x="151680" y="203200"/>
                    </a:cubicBezTo>
                    <a:cubicBezTo>
                      <a:pt x="93503" y="203200"/>
                      <a:pt x="46342" y="157712"/>
                      <a:pt x="46342" y="101600"/>
                    </a:cubicBezTo>
                    <a:cubicBezTo>
                      <a:pt x="46342" y="45488"/>
                      <a:pt x="93503" y="0"/>
                      <a:pt x="151680" y="0"/>
                    </a:cubicBezTo>
                    <a:close/>
                  </a:path>
                </a:pathLst>
              </a:cu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138" name="Group 137"/>
            <p:cNvGrpSpPr/>
            <p:nvPr/>
          </p:nvGrpSpPr>
          <p:grpSpPr>
            <a:xfrm>
              <a:off x="2425683" y="1423554"/>
              <a:ext cx="299512" cy="497080"/>
              <a:chOff x="8414644" y="2973472"/>
              <a:chExt cx="292100" cy="768884"/>
            </a:xfrm>
          </p:grpSpPr>
          <p:sp>
            <p:nvSpPr>
              <p:cNvPr id="148" name="TextBox 147"/>
              <p:cNvSpPr txBox="1"/>
              <p:nvPr/>
            </p:nvSpPr>
            <p:spPr>
              <a:xfrm>
                <a:off x="8414644" y="2973472"/>
                <a:ext cx="292100" cy="768884"/>
              </a:xfrm>
              <a:prstGeom prst="rect">
                <a:avLst/>
              </a:prstGeom>
              <a:noFill/>
              <a:ln>
                <a:solidFill>
                  <a:schemeClr val="bg1">
                    <a:lumMod val="95000"/>
                  </a:schemeClr>
                </a:solidFill>
                <a:prstDash val="sysDash"/>
              </a:ln>
            </p:spPr>
            <p:txBody>
              <a:bodyPr wrap="square" lIns="76188" tIns="38093" rIns="76188" bIns="38093" rtlCol="0">
                <a:spAutoFit/>
              </a:bodyPr>
              <a:lstStyle>
                <a:defPPr>
                  <a:defRPr lang="en-US"/>
                </a:defPPr>
                <a:lvl1pPr algn="ctr" defTabSz="912663" eaLnBrk="0" hangingPunct="0">
                  <a:lnSpc>
                    <a:spcPct val="90000"/>
                  </a:lnSpc>
                  <a:spcBef>
                    <a:spcPct val="30000"/>
                  </a:spcBef>
                  <a:buClr>
                    <a:srgbClr val="1F497D"/>
                  </a:buClr>
                  <a:buSzPct val="95000"/>
                  <a:defRPr sz="1200">
                    <a:solidFill>
                      <a:prstClr val="white"/>
                    </a:solidFill>
                    <a:latin typeface="Segoe UI" pitchFamily="34" charset="0"/>
                    <a:ea typeface="Segoe UI" pitchFamily="34" charset="0"/>
                    <a:cs typeface="Segoe UI" pitchFamily="34" charset="0"/>
                  </a:defRPr>
                </a:lvl1pPr>
              </a:lstStyle>
              <a:p>
                <a:r>
                  <a:rPr lang="en-US" dirty="0">
                    <a:solidFill>
                      <a:schemeClr val="tx1"/>
                    </a:solidFill>
                  </a:rPr>
                  <a:t>C</a:t>
                </a:r>
              </a:p>
            </p:txBody>
          </p:sp>
          <p:sp>
            <p:nvSpPr>
              <p:cNvPr id="149" name="Round Same Side Corner Rectangle 13335"/>
              <p:cNvSpPr/>
              <p:nvPr/>
            </p:nvSpPr>
            <p:spPr>
              <a:xfrm>
                <a:off x="8513849" y="3210856"/>
                <a:ext cx="131491" cy="222405"/>
              </a:xfrm>
              <a:custGeom>
                <a:avLst/>
                <a:gdLst/>
                <a:ahLst/>
                <a:cxnLst/>
                <a:rect l="l" t="t" r="r" b="b"/>
                <a:pathLst>
                  <a:path w="304800" h="426063">
                    <a:moveTo>
                      <a:pt x="67626" y="203200"/>
                    </a:moveTo>
                    <a:lnTo>
                      <a:pt x="151680" y="203200"/>
                    </a:lnTo>
                    <a:lnTo>
                      <a:pt x="237174" y="203200"/>
                    </a:lnTo>
                    <a:cubicBezTo>
                      <a:pt x="274523" y="203200"/>
                      <a:pt x="304800" y="233477"/>
                      <a:pt x="304800" y="270826"/>
                    </a:cubicBezTo>
                    <a:lnTo>
                      <a:pt x="304800" y="426063"/>
                    </a:lnTo>
                    <a:lnTo>
                      <a:pt x="0" y="426063"/>
                    </a:lnTo>
                    <a:lnTo>
                      <a:pt x="0" y="270826"/>
                    </a:lnTo>
                    <a:cubicBezTo>
                      <a:pt x="0" y="233477"/>
                      <a:pt x="30277" y="203200"/>
                      <a:pt x="67626" y="203200"/>
                    </a:cubicBezTo>
                    <a:close/>
                    <a:moveTo>
                      <a:pt x="151680" y="0"/>
                    </a:moveTo>
                    <a:cubicBezTo>
                      <a:pt x="209857" y="0"/>
                      <a:pt x="257018" y="45488"/>
                      <a:pt x="257018" y="101600"/>
                    </a:cubicBezTo>
                    <a:cubicBezTo>
                      <a:pt x="257018" y="157712"/>
                      <a:pt x="209857" y="203200"/>
                      <a:pt x="151680" y="203200"/>
                    </a:cubicBezTo>
                    <a:cubicBezTo>
                      <a:pt x="93503" y="203200"/>
                      <a:pt x="46342" y="157712"/>
                      <a:pt x="46342" y="101600"/>
                    </a:cubicBezTo>
                    <a:cubicBezTo>
                      <a:pt x="46342" y="45488"/>
                      <a:pt x="93503" y="0"/>
                      <a:pt x="151680" y="0"/>
                    </a:cubicBezTo>
                    <a:close/>
                  </a:path>
                </a:pathLst>
              </a:cu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139" name="Group 138"/>
            <p:cNvGrpSpPr/>
            <p:nvPr/>
          </p:nvGrpSpPr>
          <p:grpSpPr>
            <a:xfrm>
              <a:off x="1317583" y="1837677"/>
              <a:ext cx="312560" cy="497080"/>
              <a:chOff x="7333964" y="3614029"/>
              <a:chExt cx="304825" cy="768882"/>
            </a:xfrm>
          </p:grpSpPr>
          <p:sp>
            <p:nvSpPr>
              <p:cNvPr id="146" name="TextBox 145"/>
              <p:cNvSpPr txBox="1"/>
              <p:nvPr/>
            </p:nvSpPr>
            <p:spPr>
              <a:xfrm>
                <a:off x="7333964" y="3614029"/>
                <a:ext cx="292099" cy="768882"/>
              </a:xfrm>
              <a:prstGeom prst="rect">
                <a:avLst/>
              </a:prstGeom>
              <a:noFill/>
              <a:ln>
                <a:solidFill>
                  <a:schemeClr val="bg1">
                    <a:lumMod val="95000"/>
                  </a:schemeClr>
                </a:solidFill>
                <a:prstDash val="sysDash"/>
              </a:ln>
            </p:spPr>
            <p:txBody>
              <a:bodyPr wrap="square" lIns="76188" tIns="38093" rIns="76188" bIns="38093" rtlCol="0">
                <a:spAutoFit/>
              </a:bodyPr>
              <a:lstStyle>
                <a:defPPr>
                  <a:defRPr lang="en-US"/>
                </a:defPPr>
                <a:lvl1pPr algn="ctr" defTabSz="912663" eaLnBrk="0" hangingPunct="0">
                  <a:lnSpc>
                    <a:spcPct val="90000"/>
                  </a:lnSpc>
                  <a:spcBef>
                    <a:spcPct val="30000"/>
                  </a:spcBef>
                  <a:buClr>
                    <a:srgbClr val="1F497D"/>
                  </a:buClr>
                  <a:buSzPct val="95000"/>
                  <a:defRPr sz="1200">
                    <a:solidFill>
                      <a:prstClr val="white"/>
                    </a:solidFill>
                    <a:latin typeface="Segoe UI" pitchFamily="34" charset="0"/>
                    <a:ea typeface="Segoe UI" pitchFamily="34" charset="0"/>
                    <a:cs typeface="Segoe UI" pitchFamily="34" charset="0"/>
                  </a:defRPr>
                </a:lvl1pPr>
              </a:lstStyle>
              <a:p>
                <a:r>
                  <a:rPr lang="en-US" dirty="0">
                    <a:solidFill>
                      <a:schemeClr val="tx1"/>
                    </a:solidFill>
                  </a:rPr>
                  <a:t>D</a:t>
                </a:r>
              </a:p>
            </p:txBody>
          </p:sp>
          <p:sp>
            <p:nvSpPr>
              <p:cNvPr id="147" name="Round Same Side Corner Rectangle 13335"/>
              <p:cNvSpPr/>
              <p:nvPr/>
            </p:nvSpPr>
            <p:spPr>
              <a:xfrm>
                <a:off x="7507298" y="3857158"/>
                <a:ext cx="131491" cy="222405"/>
              </a:xfrm>
              <a:custGeom>
                <a:avLst/>
                <a:gdLst/>
                <a:ahLst/>
                <a:cxnLst/>
                <a:rect l="l" t="t" r="r" b="b"/>
                <a:pathLst>
                  <a:path w="304800" h="426063">
                    <a:moveTo>
                      <a:pt x="67626" y="203200"/>
                    </a:moveTo>
                    <a:lnTo>
                      <a:pt x="151680" y="203200"/>
                    </a:lnTo>
                    <a:lnTo>
                      <a:pt x="237174" y="203200"/>
                    </a:lnTo>
                    <a:cubicBezTo>
                      <a:pt x="274523" y="203200"/>
                      <a:pt x="304800" y="233477"/>
                      <a:pt x="304800" y="270826"/>
                    </a:cubicBezTo>
                    <a:lnTo>
                      <a:pt x="304800" y="426063"/>
                    </a:lnTo>
                    <a:lnTo>
                      <a:pt x="0" y="426063"/>
                    </a:lnTo>
                    <a:lnTo>
                      <a:pt x="0" y="270826"/>
                    </a:lnTo>
                    <a:cubicBezTo>
                      <a:pt x="0" y="233477"/>
                      <a:pt x="30277" y="203200"/>
                      <a:pt x="67626" y="203200"/>
                    </a:cubicBezTo>
                    <a:close/>
                    <a:moveTo>
                      <a:pt x="151680" y="0"/>
                    </a:moveTo>
                    <a:cubicBezTo>
                      <a:pt x="209857" y="0"/>
                      <a:pt x="257018" y="45488"/>
                      <a:pt x="257018" y="101600"/>
                    </a:cubicBezTo>
                    <a:cubicBezTo>
                      <a:pt x="257018" y="157712"/>
                      <a:pt x="209857" y="203200"/>
                      <a:pt x="151680" y="203200"/>
                    </a:cubicBezTo>
                    <a:cubicBezTo>
                      <a:pt x="93503" y="203200"/>
                      <a:pt x="46342" y="157712"/>
                      <a:pt x="46342" y="101600"/>
                    </a:cubicBezTo>
                    <a:cubicBezTo>
                      <a:pt x="46342" y="45488"/>
                      <a:pt x="93503" y="0"/>
                      <a:pt x="151680" y="0"/>
                    </a:cubicBezTo>
                    <a:close/>
                  </a:path>
                </a:pathLst>
              </a:cu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140" name="Group 139"/>
            <p:cNvGrpSpPr/>
            <p:nvPr/>
          </p:nvGrpSpPr>
          <p:grpSpPr>
            <a:xfrm>
              <a:off x="1871633" y="1837677"/>
              <a:ext cx="299512" cy="497080"/>
              <a:chOff x="7874304" y="3614029"/>
              <a:chExt cx="292100" cy="768882"/>
            </a:xfrm>
          </p:grpSpPr>
          <p:sp>
            <p:nvSpPr>
              <p:cNvPr id="144" name="TextBox 143"/>
              <p:cNvSpPr txBox="1"/>
              <p:nvPr/>
            </p:nvSpPr>
            <p:spPr>
              <a:xfrm>
                <a:off x="7874304" y="3614029"/>
                <a:ext cx="292100" cy="768882"/>
              </a:xfrm>
              <a:prstGeom prst="rect">
                <a:avLst/>
              </a:prstGeom>
              <a:noFill/>
              <a:ln>
                <a:solidFill>
                  <a:schemeClr val="bg1">
                    <a:lumMod val="95000"/>
                  </a:schemeClr>
                </a:solidFill>
                <a:prstDash val="sysDash"/>
              </a:ln>
            </p:spPr>
            <p:txBody>
              <a:bodyPr wrap="square" lIns="76188" tIns="38093" rIns="76188" bIns="38093" rtlCol="0">
                <a:spAutoFit/>
              </a:bodyPr>
              <a:lstStyle>
                <a:defPPr>
                  <a:defRPr lang="en-US"/>
                </a:defPPr>
                <a:lvl1pPr algn="ctr" defTabSz="912663" eaLnBrk="0" hangingPunct="0">
                  <a:lnSpc>
                    <a:spcPct val="90000"/>
                  </a:lnSpc>
                  <a:spcBef>
                    <a:spcPct val="30000"/>
                  </a:spcBef>
                  <a:buClr>
                    <a:srgbClr val="1F497D"/>
                  </a:buClr>
                  <a:buSzPct val="95000"/>
                  <a:defRPr sz="1200">
                    <a:solidFill>
                      <a:prstClr val="white"/>
                    </a:solidFill>
                    <a:latin typeface="Segoe UI" pitchFamily="34" charset="0"/>
                    <a:ea typeface="Segoe UI" pitchFamily="34" charset="0"/>
                    <a:cs typeface="Segoe UI" pitchFamily="34" charset="0"/>
                  </a:defRPr>
                </a:lvl1pPr>
              </a:lstStyle>
              <a:p>
                <a:r>
                  <a:rPr lang="en-US" dirty="0" smtClean="0">
                    <a:solidFill>
                      <a:schemeClr val="tx1"/>
                    </a:solidFill>
                  </a:rPr>
                  <a:t>E</a:t>
                </a:r>
                <a:endParaRPr lang="en-US" dirty="0">
                  <a:solidFill>
                    <a:schemeClr val="tx1"/>
                  </a:solidFill>
                </a:endParaRPr>
              </a:p>
            </p:txBody>
          </p:sp>
          <p:sp>
            <p:nvSpPr>
              <p:cNvPr id="145" name="Round Same Side Corner Rectangle 13335"/>
              <p:cNvSpPr/>
              <p:nvPr/>
            </p:nvSpPr>
            <p:spPr>
              <a:xfrm>
                <a:off x="7987196" y="3857158"/>
                <a:ext cx="131491" cy="222405"/>
              </a:xfrm>
              <a:custGeom>
                <a:avLst/>
                <a:gdLst/>
                <a:ahLst/>
                <a:cxnLst/>
                <a:rect l="l" t="t" r="r" b="b"/>
                <a:pathLst>
                  <a:path w="304800" h="426063">
                    <a:moveTo>
                      <a:pt x="67626" y="203200"/>
                    </a:moveTo>
                    <a:lnTo>
                      <a:pt x="151680" y="203200"/>
                    </a:lnTo>
                    <a:lnTo>
                      <a:pt x="237174" y="203200"/>
                    </a:lnTo>
                    <a:cubicBezTo>
                      <a:pt x="274523" y="203200"/>
                      <a:pt x="304800" y="233477"/>
                      <a:pt x="304800" y="270826"/>
                    </a:cubicBezTo>
                    <a:lnTo>
                      <a:pt x="304800" y="426063"/>
                    </a:lnTo>
                    <a:lnTo>
                      <a:pt x="0" y="426063"/>
                    </a:lnTo>
                    <a:lnTo>
                      <a:pt x="0" y="270826"/>
                    </a:lnTo>
                    <a:cubicBezTo>
                      <a:pt x="0" y="233477"/>
                      <a:pt x="30277" y="203200"/>
                      <a:pt x="67626" y="203200"/>
                    </a:cubicBezTo>
                    <a:close/>
                    <a:moveTo>
                      <a:pt x="151680" y="0"/>
                    </a:moveTo>
                    <a:cubicBezTo>
                      <a:pt x="209857" y="0"/>
                      <a:pt x="257018" y="45488"/>
                      <a:pt x="257018" y="101600"/>
                    </a:cubicBezTo>
                    <a:cubicBezTo>
                      <a:pt x="257018" y="157712"/>
                      <a:pt x="209857" y="203200"/>
                      <a:pt x="151680" y="203200"/>
                    </a:cubicBezTo>
                    <a:cubicBezTo>
                      <a:pt x="93503" y="203200"/>
                      <a:pt x="46342" y="157712"/>
                      <a:pt x="46342" y="101600"/>
                    </a:cubicBezTo>
                    <a:cubicBezTo>
                      <a:pt x="46342" y="45488"/>
                      <a:pt x="93503" y="0"/>
                      <a:pt x="151680" y="0"/>
                    </a:cubicBezTo>
                    <a:close/>
                  </a:path>
                </a:pathLst>
              </a:cu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141" name="Group 140"/>
            <p:cNvGrpSpPr/>
            <p:nvPr/>
          </p:nvGrpSpPr>
          <p:grpSpPr>
            <a:xfrm>
              <a:off x="2425683" y="1837677"/>
              <a:ext cx="299512" cy="497080"/>
              <a:chOff x="8414644" y="3614029"/>
              <a:chExt cx="292100" cy="768882"/>
            </a:xfrm>
          </p:grpSpPr>
          <p:sp>
            <p:nvSpPr>
              <p:cNvPr id="142" name="TextBox 141"/>
              <p:cNvSpPr txBox="1"/>
              <p:nvPr/>
            </p:nvSpPr>
            <p:spPr>
              <a:xfrm>
                <a:off x="8414644" y="3614029"/>
                <a:ext cx="292100" cy="768882"/>
              </a:xfrm>
              <a:prstGeom prst="rect">
                <a:avLst/>
              </a:prstGeom>
              <a:noFill/>
              <a:ln>
                <a:solidFill>
                  <a:schemeClr val="bg1">
                    <a:lumMod val="95000"/>
                  </a:schemeClr>
                </a:solidFill>
                <a:prstDash val="sysDash"/>
              </a:ln>
            </p:spPr>
            <p:txBody>
              <a:bodyPr wrap="square" lIns="76188" tIns="38093" rIns="76188" bIns="38093" rtlCol="0">
                <a:spAutoFit/>
              </a:bodyPr>
              <a:lstStyle>
                <a:defPPr>
                  <a:defRPr lang="en-US"/>
                </a:defPPr>
                <a:lvl1pPr algn="ctr" defTabSz="912663" eaLnBrk="0" hangingPunct="0">
                  <a:lnSpc>
                    <a:spcPct val="90000"/>
                  </a:lnSpc>
                  <a:spcBef>
                    <a:spcPct val="30000"/>
                  </a:spcBef>
                  <a:buClr>
                    <a:srgbClr val="1F497D"/>
                  </a:buClr>
                  <a:buSzPct val="95000"/>
                  <a:defRPr sz="1200">
                    <a:solidFill>
                      <a:prstClr val="white"/>
                    </a:solidFill>
                    <a:latin typeface="Segoe UI" pitchFamily="34" charset="0"/>
                    <a:ea typeface="Segoe UI" pitchFamily="34" charset="0"/>
                    <a:cs typeface="Segoe UI" pitchFamily="34" charset="0"/>
                  </a:defRPr>
                </a:lvl1pPr>
              </a:lstStyle>
              <a:p>
                <a:r>
                  <a:rPr lang="en-US" dirty="0" smtClean="0">
                    <a:solidFill>
                      <a:schemeClr val="tx1"/>
                    </a:solidFill>
                  </a:rPr>
                  <a:t>F</a:t>
                </a:r>
                <a:endParaRPr lang="en-US" dirty="0">
                  <a:solidFill>
                    <a:schemeClr val="tx1"/>
                  </a:solidFill>
                </a:endParaRPr>
              </a:p>
            </p:txBody>
          </p:sp>
          <p:sp>
            <p:nvSpPr>
              <p:cNvPr id="143" name="Round Same Side Corner Rectangle 13335"/>
              <p:cNvSpPr/>
              <p:nvPr/>
            </p:nvSpPr>
            <p:spPr>
              <a:xfrm>
                <a:off x="8513849" y="3857158"/>
                <a:ext cx="131491" cy="222405"/>
              </a:xfrm>
              <a:custGeom>
                <a:avLst/>
                <a:gdLst/>
                <a:ahLst/>
                <a:cxnLst/>
                <a:rect l="l" t="t" r="r" b="b"/>
                <a:pathLst>
                  <a:path w="304800" h="426063">
                    <a:moveTo>
                      <a:pt x="67626" y="203200"/>
                    </a:moveTo>
                    <a:lnTo>
                      <a:pt x="151680" y="203200"/>
                    </a:lnTo>
                    <a:lnTo>
                      <a:pt x="237174" y="203200"/>
                    </a:lnTo>
                    <a:cubicBezTo>
                      <a:pt x="274523" y="203200"/>
                      <a:pt x="304800" y="233477"/>
                      <a:pt x="304800" y="270826"/>
                    </a:cubicBezTo>
                    <a:lnTo>
                      <a:pt x="304800" y="426063"/>
                    </a:lnTo>
                    <a:lnTo>
                      <a:pt x="0" y="426063"/>
                    </a:lnTo>
                    <a:lnTo>
                      <a:pt x="0" y="270826"/>
                    </a:lnTo>
                    <a:cubicBezTo>
                      <a:pt x="0" y="233477"/>
                      <a:pt x="30277" y="203200"/>
                      <a:pt x="67626" y="203200"/>
                    </a:cubicBezTo>
                    <a:close/>
                    <a:moveTo>
                      <a:pt x="151680" y="0"/>
                    </a:moveTo>
                    <a:cubicBezTo>
                      <a:pt x="209857" y="0"/>
                      <a:pt x="257018" y="45488"/>
                      <a:pt x="257018" y="101600"/>
                    </a:cubicBezTo>
                    <a:cubicBezTo>
                      <a:pt x="257018" y="157712"/>
                      <a:pt x="209857" y="203200"/>
                      <a:pt x="151680" y="203200"/>
                    </a:cubicBezTo>
                    <a:cubicBezTo>
                      <a:pt x="93503" y="203200"/>
                      <a:pt x="46342" y="157712"/>
                      <a:pt x="46342" y="101600"/>
                    </a:cubicBezTo>
                    <a:cubicBezTo>
                      <a:pt x="46342" y="45488"/>
                      <a:pt x="93503" y="0"/>
                      <a:pt x="151680" y="0"/>
                    </a:cubicBezTo>
                    <a:close/>
                  </a:path>
                </a:pathLst>
              </a:cu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sp>
        <p:nvSpPr>
          <p:cNvPr id="62"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63"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8"/>
              </a:rPr>
              <a:t>www.rapidbbs.cn</a:t>
            </a:r>
            <a:endParaRPr lang="zh-CN" altLang="en-US" sz="1200" b="0">
              <a:latin typeface="Arial" charset="0"/>
              <a:ea typeface="ＭＳ Ｐゴシック" pitchFamily="34" charset="-128"/>
            </a:endParaRPr>
          </a:p>
        </p:txBody>
      </p:sp>
      <p:pic>
        <p:nvPicPr>
          <p:cNvPr id="64" name="Picture 2">
            <a:hlinkClick r:id="rId8"/>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25682200"/>
      </p:ext>
    </p:extLst>
  </p:cSld>
  <p:clrMapOvr>
    <a:masterClrMapping/>
  </p:clrMapOvr>
  <p:transition spd="slow">
    <p:wipe dir="r"/>
  </p:transition>
  <p:timing>
    <p:tnLst>
      <p:par>
        <p:cTn id="1" dur="indefinite" restart="never" nodeType="tmRoot"/>
      </p:par>
    </p:tnLst>
  </p:timing>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 name="Rectangle 145"/>
          <p:cNvSpPr/>
          <p:nvPr/>
        </p:nvSpPr>
        <p:spPr>
          <a:xfrm>
            <a:off x="4739027" y="1826981"/>
            <a:ext cx="2145034" cy="71597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endParaRPr lang="en-US"/>
          </a:p>
        </p:txBody>
      </p:sp>
      <p:sp>
        <p:nvSpPr>
          <p:cNvPr id="17" name="Rectangle 16"/>
          <p:cNvSpPr/>
          <p:nvPr/>
        </p:nvSpPr>
        <p:spPr>
          <a:xfrm>
            <a:off x="4739027" y="1826981"/>
            <a:ext cx="2145034" cy="71597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endParaRPr lang="en-US"/>
          </a:p>
        </p:txBody>
      </p:sp>
      <p:sp>
        <p:nvSpPr>
          <p:cNvPr id="108" name="Rectangle 107"/>
          <p:cNvSpPr/>
          <p:nvPr/>
        </p:nvSpPr>
        <p:spPr>
          <a:xfrm>
            <a:off x="4734471" y="1828803"/>
            <a:ext cx="1291234" cy="71597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endParaRPr lang="en-US"/>
          </a:p>
        </p:txBody>
      </p:sp>
      <p:sp>
        <p:nvSpPr>
          <p:cNvPr id="124" name="Rectangle 123"/>
          <p:cNvSpPr/>
          <p:nvPr/>
        </p:nvSpPr>
        <p:spPr>
          <a:xfrm>
            <a:off x="3195647" y="3323531"/>
            <a:ext cx="645644" cy="71597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endParaRPr lang="en-US"/>
          </a:p>
        </p:txBody>
      </p:sp>
      <p:sp>
        <p:nvSpPr>
          <p:cNvPr id="126" name="Rectangle 125"/>
          <p:cNvSpPr/>
          <p:nvPr/>
        </p:nvSpPr>
        <p:spPr>
          <a:xfrm>
            <a:off x="2564972" y="3323531"/>
            <a:ext cx="631592" cy="715979"/>
          </a:xfrm>
          <a:prstGeom prst="rect">
            <a:avLst/>
          </a:prstGeom>
          <a:solidFill>
            <a:schemeClr val="accent6">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endParaRPr lang="en-US"/>
          </a:p>
        </p:txBody>
      </p:sp>
      <p:sp>
        <p:nvSpPr>
          <p:cNvPr id="120" name="Rectangle 119"/>
          <p:cNvSpPr/>
          <p:nvPr/>
        </p:nvSpPr>
        <p:spPr>
          <a:xfrm>
            <a:off x="4186865" y="2580581"/>
            <a:ext cx="657838" cy="71597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endParaRPr lang="en-US"/>
          </a:p>
        </p:txBody>
      </p:sp>
      <p:sp>
        <p:nvSpPr>
          <p:cNvPr id="122" name="Rectangle 121"/>
          <p:cNvSpPr/>
          <p:nvPr/>
        </p:nvSpPr>
        <p:spPr>
          <a:xfrm>
            <a:off x="2730991" y="2580581"/>
            <a:ext cx="1455873" cy="715979"/>
          </a:xfrm>
          <a:prstGeom prst="rect">
            <a:avLst/>
          </a:prstGeom>
          <a:solidFill>
            <a:schemeClr val="accent6">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endParaRPr lang="en-US"/>
          </a:p>
        </p:txBody>
      </p:sp>
      <p:sp>
        <p:nvSpPr>
          <p:cNvPr id="111" name="Rectangle 110"/>
          <p:cNvSpPr/>
          <p:nvPr/>
        </p:nvSpPr>
        <p:spPr>
          <a:xfrm>
            <a:off x="3266406" y="1828803"/>
            <a:ext cx="1468066" cy="715979"/>
          </a:xfrm>
          <a:prstGeom prst="rect">
            <a:avLst/>
          </a:prstGeom>
          <a:solidFill>
            <a:schemeClr val="accent6">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endParaRPr lang="en-US"/>
          </a:p>
        </p:txBody>
      </p:sp>
      <p:sp>
        <p:nvSpPr>
          <p:cNvPr id="110" name="Rectangle 109"/>
          <p:cNvSpPr/>
          <p:nvPr/>
        </p:nvSpPr>
        <p:spPr>
          <a:xfrm>
            <a:off x="2193888" y="1828803"/>
            <a:ext cx="1072517" cy="715979"/>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endParaRPr lang="en-US"/>
          </a:p>
        </p:txBody>
      </p:sp>
      <p:sp>
        <p:nvSpPr>
          <p:cNvPr id="121" name="Rectangle 120"/>
          <p:cNvSpPr/>
          <p:nvPr/>
        </p:nvSpPr>
        <p:spPr>
          <a:xfrm>
            <a:off x="2202693" y="2580581"/>
            <a:ext cx="690231" cy="715979"/>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endParaRPr lang="en-US"/>
          </a:p>
        </p:txBody>
      </p:sp>
      <p:sp>
        <p:nvSpPr>
          <p:cNvPr id="125" name="Rectangle 124"/>
          <p:cNvSpPr/>
          <p:nvPr/>
        </p:nvSpPr>
        <p:spPr>
          <a:xfrm>
            <a:off x="2202695" y="3323530"/>
            <a:ext cx="362278" cy="715979"/>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endParaRPr lang="en-US"/>
          </a:p>
        </p:txBody>
      </p:sp>
      <p:sp useBgFill="1">
        <p:nvSpPr>
          <p:cNvPr id="22" name="Rectangle 21"/>
          <p:cNvSpPr/>
          <p:nvPr/>
        </p:nvSpPr>
        <p:spPr bwMode="auto">
          <a:xfrm>
            <a:off x="1" y="1814512"/>
            <a:ext cx="2202695" cy="225196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grpSp>
        <p:nvGrpSpPr>
          <p:cNvPr id="13" name="Group 12"/>
          <p:cNvGrpSpPr/>
          <p:nvPr/>
        </p:nvGrpSpPr>
        <p:grpSpPr>
          <a:xfrm>
            <a:off x="389437" y="1828803"/>
            <a:ext cx="1804450" cy="715979"/>
            <a:chOff x="67127" y="7273382"/>
            <a:chExt cx="2405307" cy="954639"/>
          </a:xfrm>
        </p:grpSpPr>
        <p:sp>
          <p:nvSpPr>
            <p:cNvPr id="142" name="Rectangle 141"/>
            <p:cNvSpPr/>
            <p:nvPr/>
          </p:nvSpPr>
          <p:spPr bwMode="auto">
            <a:xfrm>
              <a:off x="67127" y="7273382"/>
              <a:ext cx="2405307" cy="954639"/>
            </a:xfrm>
            <a:prstGeom prst="rect">
              <a:avLst/>
            </a:prstGeom>
            <a:solidFill>
              <a:schemeClr val="accent1">
                <a:alpha val="4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gradFill>
                  <a:gsLst>
                    <a:gs pos="50000">
                      <a:schemeClr val="tx1"/>
                    </a:gs>
                    <a:gs pos="100000">
                      <a:schemeClr val="tx1"/>
                    </a:gs>
                  </a:gsLst>
                  <a:lin ang="5400000" scaled="0"/>
                </a:gradFill>
              </a:endParaRPr>
            </a:p>
          </p:txBody>
        </p:sp>
        <p:sp>
          <p:nvSpPr>
            <p:cNvPr id="214" name="TextBox 213"/>
            <p:cNvSpPr txBox="1"/>
            <p:nvPr/>
          </p:nvSpPr>
          <p:spPr>
            <a:xfrm>
              <a:off x="79826" y="7406066"/>
              <a:ext cx="1332869" cy="326243"/>
            </a:xfrm>
            <a:prstGeom prst="rect">
              <a:avLst/>
            </a:prstGeom>
            <a:noFill/>
          </p:spPr>
          <p:txBody>
            <a:bodyPr wrap="square" rtlCol="0">
              <a:spAutoFit/>
            </a:bodyPr>
            <a:lstStyle/>
            <a:p>
              <a:pPr marL="0" lvl="1" algn="ctr" fontAlgn="base">
                <a:lnSpc>
                  <a:spcPct val="90000"/>
                </a:lnSpc>
                <a:spcBef>
                  <a:spcPts val="150"/>
                </a:spcBef>
                <a:spcAft>
                  <a:spcPts val="300"/>
                </a:spcAft>
                <a:buClr>
                  <a:srgbClr val="FFFFFF"/>
                </a:buClr>
                <a:buSzPct val="90000"/>
                <a:tabLst>
                  <a:tab pos="472722" algn="l"/>
                </a:tabLst>
                <a:defRPr/>
              </a:pPr>
              <a:r>
                <a:rPr lang="en-US" sz="1100" spc="-38" dirty="0">
                  <a:gradFill>
                    <a:gsLst>
                      <a:gs pos="50000">
                        <a:schemeClr val="tx1"/>
                      </a:gs>
                      <a:gs pos="100000">
                        <a:schemeClr val="tx1"/>
                      </a:gs>
                    </a:gsLst>
                    <a:lin ang="5400000" scaled="0"/>
                  </a:gradFill>
                </a:rPr>
                <a:t>Personal VMs</a:t>
              </a:r>
            </a:p>
          </p:txBody>
        </p:sp>
        <p:grpSp>
          <p:nvGrpSpPr>
            <p:cNvPr id="11" name="Group 10"/>
            <p:cNvGrpSpPr/>
            <p:nvPr/>
          </p:nvGrpSpPr>
          <p:grpSpPr>
            <a:xfrm>
              <a:off x="1460692" y="7451915"/>
              <a:ext cx="660034" cy="597572"/>
              <a:chOff x="6514166" y="8241893"/>
              <a:chExt cx="1169291" cy="1058634"/>
            </a:xfrm>
          </p:grpSpPr>
          <p:cxnSp>
            <p:nvCxnSpPr>
              <p:cNvPr id="235" name="Straight Connector 234"/>
              <p:cNvCxnSpPr/>
              <p:nvPr/>
            </p:nvCxnSpPr>
            <p:spPr>
              <a:xfrm>
                <a:off x="6842993" y="8381541"/>
                <a:ext cx="401909" cy="0"/>
              </a:xfrm>
              <a:prstGeom prst="line">
                <a:avLst/>
              </a:prstGeom>
              <a:ln w="25400">
                <a:solidFill>
                  <a:schemeClr val="tx1"/>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36" name="Group 150"/>
              <p:cNvGrpSpPr/>
              <p:nvPr/>
            </p:nvGrpSpPr>
            <p:grpSpPr>
              <a:xfrm>
                <a:off x="7337654" y="8241893"/>
                <a:ext cx="339868" cy="279296"/>
                <a:chOff x="9237915" y="2606364"/>
                <a:chExt cx="235673" cy="193670"/>
              </a:xfrm>
            </p:grpSpPr>
            <p:sp>
              <p:nvSpPr>
                <p:cNvPr id="256" name="Rectangle 255"/>
                <p:cNvSpPr/>
                <p:nvPr/>
              </p:nvSpPr>
              <p:spPr>
                <a:xfrm>
                  <a:off x="9237915" y="2606364"/>
                  <a:ext cx="235673" cy="193670"/>
                </a:xfrm>
                <a:prstGeom prst="rect">
                  <a:avLst/>
                </a:prstGeom>
                <a:solidFill>
                  <a:srgbClr val="FFFFFF">
                    <a:alpha val="0"/>
                  </a:srgbClr>
                </a:solid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gradFill>
                      <a:gsLst>
                        <a:gs pos="50000">
                          <a:schemeClr val="tx1"/>
                        </a:gs>
                        <a:gs pos="100000">
                          <a:schemeClr val="tx1"/>
                        </a:gs>
                      </a:gsLst>
                      <a:lin ang="5400000" scaled="0"/>
                    </a:gradFill>
                  </a:endParaRPr>
                </a:p>
              </p:txBody>
            </p:sp>
            <p:sp>
              <p:nvSpPr>
                <p:cNvPr id="257" name="Freeform 256"/>
                <p:cNvSpPr>
                  <a:spLocks noEditPoints="1"/>
                </p:cNvSpPr>
                <p:nvPr/>
              </p:nvSpPr>
              <p:spPr bwMode="auto">
                <a:xfrm>
                  <a:off x="9279448" y="2637513"/>
                  <a:ext cx="51196" cy="12523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extLst/>
              </p:spPr>
              <p:txBody>
                <a:bodyPr vert="horz" wrap="square" lIns="91440" tIns="45720" rIns="91440" bIns="45720" numCol="1" anchor="t" anchorCtr="0" compatLnSpc="1">
                  <a:prstTxWarp prst="textNoShape">
                    <a:avLst/>
                  </a:prstTxWarp>
                </a:bodyPr>
                <a:lstStyle/>
                <a:p>
                  <a:endParaRPr lang="en-US" dirty="0">
                    <a:gradFill>
                      <a:gsLst>
                        <a:gs pos="50000">
                          <a:schemeClr val="tx1"/>
                        </a:gs>
                        <a:gs pos="100000">
                          <a:schemeClr val="tx1"/>
                        </a:gs>
                      </a:gsLst>
                      <a:lin ang="5400000" scaled="0"/>
                    </a:gradFill>
                  </a:endParaRPr>
                </a:p>
              </p:txBody>
            </p:sp>
            <p:sp>
              <p:nvSpPr>
                <p:cNvPr id="258" name="Freeform 94"/>
                <p:cNvSpPr>
                  <a:spLocks noEditPoints="1"/>
                </p:cNvSpPr>
                <p:nvPr/>
              </p:nvSpPr>
              <p:spPr bwMode="auto">
                <a:xfrm>
                  <a:off x="9340271" y="2662985"/>
                  <a:ext cx="104144" cy="99765"/>
                </a:xfrm>
                <a:custGeom>
                  <a:avLst/>
                  <a:gdLst/>
                  <a:ahLst/>
                  <a:cxnLst>
                    <a:cxn ang="0">
                      <a:pos x="523" y="4"/>
                    </a:cxn>
                    <a:cxn ang="0">
                      <a:pos x="19" y="3"/>
                    </a:cxn>
                    <a:cxn ang="0">
                      <a:pos x="2" y="21"/>
                    </a:cxn>
                    <a:cxn ang="0">
                      <a:pos x="6" y="382"/>
                    </a:cxn>
                    <a:cxn ang="0">
                      <a:pos x="23" y="399"/>
                    </a:cxn>
                    <a:cxn ang="0">
                      <a:pos x="185" y="403"/>
                    </a:cxn>
                    <a:cxn ang="0">
                      <a:pos x="186" y="428"/>
                    </a:cxn>
                    <a:cxn ang="0">
                      <a:pos x="367" y="427"/>
                    </a:cxn>
                    <a:cxn ang="0">
                      <a:pos x="367" y="403"/>
                    </a:cxn>
                    <a:cxn ang="0">
                      <a:pos x="520" y="399"/>
                    </a:cxn>
                    <a:cxn ang="0">
                      <a:pos x="537" y="381"/>
                    </a:cxn>
                    <a:cxn ang="0">
                      <a:pos x="540" y="21"/>
                    </a:cxn>
                    <a:cxn ang="0">
                      <a:pos x="523" y="4"/>
                    </a:cxn>
                    <a:cxn ang="0">
                      <a:pos x="508" y="356"/>
                    </a:cxn>
                    <a:cxn ang="0">
                      <a:pos x="494" y="371"/>
                    </a:cxn>
                    <a:cxn ang="0">
                      <a:pos x="49" y="371"/>
                    </a:cxn>
                    <a:cxn ang="0">
                      <a:pos x="35" y="357"/>
                    </a:cxn>
                    <a:cxn ang="0">
                      <a:pos x="32" y="48"/>
                    </a:cxn>
                    <a:cxn ang="0">
                      <a:pos x="47" y="33"/>
                    </a:cxn>
                    <a:cxn ang="0">
                      <a:pos x="496" y="33"/>
                    </a:cxn>
                    <a:cxn ang="0">
                      <a:pos x="511" y="48"/>
                    </a:cxn>
                    <a:cxn ang="0">
                      <a:pos x="508" y="356"/>
                    </a:cxn>
                  </a:cxnLst>
                  <a:rect l="0" t="0" r="r" b="b"/>
                  <a:pathLst>
                    <a:path w="543" h="428">
                      <a:moveTo>
                        <a:pt x="523" y="4"/>
                      </a:moveTo>
                      <a:cubicBezTo>
                        <a:pt x="357" y="0"/>
                        <a:pt x="186" y="0"/>
                        <a:pt x="19" y="3"/>
                      </a:cubicBezTo>
                      <a:cubicBezTo>
                        <a:pt x="10" y="4"/>
                        <a:pt x="3" y="11"/>
                        <a:pt x="2" y="21"/>
                      </a:cubicBezTo>
                      <a:cubicBezTo>
                        <a:pt x="0" y="142"/>
                        <a:pt x="1" y="264"/>
                        <a:pt x="6" y="382"/>
                      </a:cubicBezTo>
                      <a:cubicBezTo>
                        <a:pt x="6" y="391"/>
                        <a:pt x="14" y="399"/>
                        <a:pt x="23" y="399"/>
                      </a:cubicBezTo>
                      <a:cubicBezTo>
                        <a:pt x="76" y="401"/>
                        <a:pt x="130" y="402"/>
                        <a:pt x="185" y="403"/>
                      </a:cubicBezTo>
                      <a:cubicBezTo>
                        <a:pt x="185" y="411"/>
                        <a:pt x="186" y="419"/>
                        <a:pt x="186" y="428"/>
                      </a:cubicBezTo>
                      <a:cubicBezTo>
                        <a:pt x="246" y="428"/>
                        <a:pt x="307" y="428"/>
                        <a:pt x="367" y="427"/>
                      </a:cubicBezTo>
                      <a:cubicBezTo>
                        <a:pt x="367" y="419"/>
                        <a:pt x="367" y="411"/>
                        <a:pt x="367" y="403"/>
                      </a:cubicBezTo>
                      <a:cubicBezTo>
                        <a:pt x="419" y="402"/>
                        <a:pt x="470" y="401"/>
                        <a:pt x="520" y="399"/>
                      </a:cubicBezTo>
                      <a:cubicBezTo>
                        <a:pt x="529" y="398"/>
                        <a:pt x="537" y="391"/>
                        <a:pt x="537" y="381"/>
                      </a:cubicBezTo>
                      <a:cubicBezTo>
                        <a:pt x="542" y="263"/>
                        <a:pt x="543" y="142"/>
                        <a:pt x="540" y="21"/>
                      </a:cubicBezTo>
                      <a:cubicBezTo>
                        <a:pt x="540" y="12"/>
                        <a:pt x="533" y="4"/>
                        <a:pt x="523" y="4"/>
                      </a:cubicBezTo>
                      <a:close/>
                      <a:moveTo>
                        <a:pt x="508" y="356"/>
                      </a:moveTo>
                      <a:cubicBezTo>
                        <a:pt x="508" y="364"/>
                        <a:pt x="501" y="371"/>
                        <a:pt x="494" y="371"/>
                      </a:cubicBezTo>
                      <a:cubicBezTo>
                        <a:pt x="347" y="376"/>
                        <a:pt x="197" y="376"/>
                        <a:pt x="49" y="371"/>
                      </a:cubicBezTo>
                      <a:cubicBezTo>
                        <a:pt x="41" y="371"/>
                        <a:pt x="35" y="365"/>
                        <a:pt x="35" y="357"/>
                      </a:cubicBezTo>
                      <a:cubicBezTo>
                        <a:pt x="32" y="255"/>
                        <a:pt x="31" y="151"/>
                        <a:pt x="32" y="48"/>
                      </a:cubicBezTo>
                      <a:cubicBezTo>
                        <a:pt x="32" y="39"/>
                        <a:pt x="39" y="33"/>
                        <a:pt x="47" y="33"/>
                      </a:cubicBezTo>
                      <a:cubicBezTo>
                        <a:pt x="196" y="30"/>
                        <a:pt x="348" y="30"/>
                        <a:pt x="496" y="33"/>
                      </a:cubicBezTo>
                      <a:cubicBezTo>
                        <a:pt x="504" y="33"/>
                        <a:pt x="511" y="40"/>
                        <a:pt x="511" y="48"/>
                      </a:cubicBezTo>
                      <a:cubicBezTo>
                        <a:pt x="512" y="151"/>
                        <a:pt x="511" y="255"/>
                        <a:pt x="508" y="356"/>
                      </a:cubicBezTo>
                      <a:close/>
                    </a:path>
                  </a:pathLst>
                </a:custGeom>
                <a:solidFill>
                  <a:srgbClr val="FFFFFF"/>
                </a:solidFill>
                <a:extLst/>
              </p:spPr>
              <p:txBody>
                <a:bodyPr vert="horz" wrap="square" lIns="91440" tIns="45720" rIns="91440" bIns="45720" numCol="1" anchor="t" anchorCtr="0" compatLnSpc="1">
                  <a:prstTxWarp prst="textNoShape">
                    <a:avLst/>
                  </a:prstTxWarp>
                </a:bodyPr>
                <a:lstStyle/>
                <a:p>
                  <a:endParaRPr lang="en-US" dirty="0">
                    <a:gradFill>
                      <a:gsLst>
                        <a:gs pos="50000">
                          <a:schemeClr val="tx1"/>
                        </a:gs>
                        <a:gs pos="100000">
                          <a:schemeClr val="tx1"/>
                        </a:gs>
                      </a:gsLst>
                      <a:lin ang="5400000" scaled="0"/>
                    </a:gradFill>
                  </a:endParaRPr>
                </a:p>
              </p:txBody>
            </p:sp>
          </p:grpSp>
          <p:grpSp>
            <p:nvGrpSpPr>
              <p:cNvPr id="237" name="Group 236"/>
              <p:cNvGrpSpPr>
                <a:grpSpLocks noChangeAspect="1"/>
              </p:cNvGrpSpPr>
              <p:nvPr/>
            </p:nvGrpSpPr>
            <p:grpSpPr>
              <a:xfrm>
                <a:off x="6514166" y="8256593"/>
                <a:ext cx="259410" cy="249895"/>
                <a:chOff x="5677562" y="3388801"/>
                <a:chExt cx="839322" cy="808538"/>
              </a:xfrm>
            </p:grpSpPr>
            <p:sp>
              <p:nvSpPr>
                <p:cNvPr id="254" name="Oval 6"/>
                <p:cNvSpPr>
                  <a:spLocks noChangeArrowheads="1"/>
                </p:cNvSpPr>
                <p:nvPr/>
              </p:nvSpPr>
              <p:spPr bwMode="auto">
                <a:xfrm>
                  <a:off x="5882458" y="3388801"/>
                  <a:ext cx="439400" cy="42852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7"/>
                  <a:endParaRPr lang="en-US" dirty="0">
                    <a:gradFill>
                      <a:gsLst>
                        <a:gs pos="50000">
                          <a:schemeClr val="tx1"/>
                        </a:gs>
                        <a:gs pos="100000">
                          <a:schemeClr val="tx1"/>
                        </a:gs>
                      </a:gsLst>
                      <a:lin ang="5400000" scaled="0"/>
                    </a:gradFill>
                  </a:endParaRPr>
                </a:p>
              </p:txBody>
            </p:sp>
            <p:sp>
              <p:nvSpPr>
                <p:cNvPr id="255" name="Freeform 7"/>
                <p:cNvSpPr>
                  <a:spLocks/>
                </p:cNvSpPr>
                <p:nvPr/>
              </p:nvSpPr>
              <p:spPr bwMode="auto">
                <a:xfrm>
                  <a:off x="5677562" y="3848128"/>
                  <a:ext cx="839322" cy="349211"/>
                </a:xfrm>
                <a:custGeom>
                  <a:avLst/>
                  <a:gdLst>
                    <a:gd name="T0" fmla="*/ 688 w 900"/>
                    <a:gd name="T1" fmla="*/ 0 h 384"/>
                    <a:gd name="T2" fmla="*/ 212 w 900"/>
                    <a:gd name="T3" fmla="*/ 0 h 384"/>
                    <a:gd name="T4" fmla="*/ 0 w 900"/>
                    <a:gd name="T5" fmla="*/ 260 h 384"/>
                    <a:gd name="T6" fmla="*/ 0 w 900"/>
                    <a:gd name="T7" fmla="*/ 361 h 384"/>
                    <a:gd name="T8" fmla="*/ 1 w 900"/>
                    <a:gd name="T9" fmla="*/ 384 h 384"/>
                    <a:gd name="T10" fmla="*/ 899 w 900"/>
                    <a:gd name="T11" fmla="*/ 384 h 384"/>
                    <a:gd name="T12" fmla="*/ 900 w 900"/>
                    <a:gd name="T13" fmla="*/ 361 h 384"/>
                    <a:gd name="T14" fmla="*/ 900 w 900"/>
                    <a:gd name="T15" fmla="*/ 260 h 384"/>
                    <a:gd name="T16" fmla="*/ 688 w 900"/>
                    <a:gd name="T17"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0" h="384">
                      <a:moveTo>
                        <a:pt x="688" y="0"/>
                      </a:moveTo>
                      <a:cubicBezTo>
                        <a:pt x="212" y="0"/>
                        <a:pt x="212" y="0"/>
                        <a:pt x="212" y="0"/>
                      </a:cubicBezTo>
                      <a:cubicBezTo>
                        <a:pt x="95" y="0"/>
                        <a:pt x="0" y="117"/>
                        <a:pt x="0" y="260"/>
                      </a:cubicBezTo>
                      <a:cubicBezTo>
                        <a:pt x="0" y="361"/>
                        <a:pt x="0" y="361"/>
                        <a:pt x="0" y="361"/>
                      </a:cubicBezTo>
                      <a:cubicBezTo>
                        <a:pt x="0" y="368"/>
                        <a:pt x="0" y="376"/>
                        <a:pt x="1" y="384"/>
                      </a:cubicBezTo>
                      <a:cubicBezTo>
                        <a:pt x="899" y="384"/>
                        <a:pt x="899" y="384"/>
                        <a:pt x="899" y="384"/>
                      </a:cubicBezTo>
                      <a:cubicBezTo>
                        <a:pt x="900" y="376"/>
                        <a:pt x="900" y="368"/>
                        <a:pt x="900" y="361"/>
                      </a:cubicBezTo>
                      <a:cubicBezTo>
                        <a:pt x="900" y="260"/>
                        <a:pt x="900" y="260"/>
                        <a:pt x="900" y="260"/>
                      </a:cubicBezTo>
                      <a:cubicBezTo>
                        <a:pt x="900" y="117"/>
                        <a:pt x="805" y="0"/>
                        <a:pt x="688"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7"/>
                  <a:endParaRPr lang="en-US" dirty="0">
                    <a:gradFill>
                      <a:gsLst>
                        <a:gs pos="50000">
                          <a:schemeClr val="tx1"/>
                        </a:gs>
                        <a:gs pos="100000">
                          <a:schemeClr val="tx1"/>
                        </a:gs>
                      </a:gsLst>
                      <a:lin ang="5400000" scaled="0"/>
                    </a:gradFill>
                  </a:endParaRPr>
                </a:p>
              </p:txBody>
            </p:sp>
          </p:grpSp>
          <p:cxnSp>
            <p:nvCxnSpPr>
              <p:cNvPr id="238" name="Straight Connector 237"/>
              <p:cNvCxnSpPr/>
              <p:nvPr/>
            </p:nvCxnSpPr>
            <p:spPr>
              <a:xfrm flipV="1">
                <a:off x="6858144" y="8771102"/>
                <a:ext cx="383576" cy="216"/>
              </a:xfrm>
              <a:prstGeom prst="line">
                <a:avLst/>
              </a:prstGeom>
              <a:ln w="25400">
                <a:solidFill>
                  <a:schemeClr val="tx1"/>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39" name="Group 151"/>
              <p:cNvGrpSpPr/>
              <p:nvPr/>
            </p:nvGrpSpPr>
            <p:grpSpPr>
              <a:xfrm>
                <a:off x="7343589" y="8631562"/>
                <a:ext cx="339868" cy="279296"/>
                <a:chOff x="9237915" y="2606364"/>
                <a:chExt cx="235673" cy="193670"/>
              </a:xfrm>
            </p:grpSpPr>
            <p:sp>
              <p:nvSpPr>
                <p:cNvPr id="251" name="Rectangle 250"/>
                <p:cNvSpPr/>
                <p:nvPr/>
              </p:nvSpPr>
              <p:spPr>
                <a:xfrm>
                  <a:off x="9237915" y="2606364"/>
                  <a:ext cx="235673" cy="193670"/>
                </a:xfrm>
                <a:prstGeom prst="rect">
                  <a:avLst/>
                </a:prstGeom>
                <a:solidFill>
                  <a:srgbClr val="FFFFFF">
                    <a:alpha val="0"/>
                  </a:srgbClr>
                </a:solid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gradFill>
                      <a:gsLst>
                        <a:gs pos="50000">
                          <a:schemeClr val="tx1"/>
                        </a:gs>
                        <a:gs pos="100000">
                          <a:schemeClr val="tx1"/>
                        </a:gs>
                      </a:gsLst>
                      <a:lin ang="5400000" scaled="0"/>
                    </a:gradFill>
                  </a:endParaRPr>
                </a:p>
              </p:txBody>
            </p:sp>
            <p:sp>
              <p:nvSpPr>
                <p:cNvPr id="252" name="Freeform 251"/>
                <p:cNvSpPr>
                  <a:spLocks noEditPoints="1"/>
                </p:cNvSpPr>
                <p:nvPr/>
              </p:nvSpPr>
              <p:spPr bwMode="auto">
                <a:xfrm>
                  <a:off x="9279448" y="2637513"/>
                  <a:ext cx="51196" cy="12523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extLst/>
              </p:spPr>
              <p:txBody>
                <a:bodyPr vert="horz" wrap="square" lIns="91440" tIns="45720" rIns="91440" bIns="45720" numCol="1" anchor="t" anchorCtr="0" compatLnSpc="1">
                  <a:prstTxWarp prst="textNoShape">
                    <a:avLst/>
                  </a:prstTxWarp>
                </a:bodyPr>
                <a:lstStyle/>
                <a:p>
                  <a:endParaRPr lang="en-US" dirty="0">
                    <a:gradFill>
                      <a:gsLst>
                        <a:gs pos="50000">
                          <a:schemeClr val="tx1"/>
                        </a:gs>
                        <a:gs pos="100000">
                          <a:schemeClr val="tx1"/>
                        </a:gs>
                      </a:gsLst>
                      <a:lin ang="5400000" scaled="0"/>
                    </a:gradFill>
                  </a:endParaRPr>
                </a:p>
              </p:txBody>
            </p:sp>
            <p:sp>
              <p:nvSpPr>
                <p:cNvPr id="253" name="Freeform 94"/>
                <p:cNvSpPr>
                  <a:spLocks noEditPoints="1"/>
                </p:cNvSpPr>
                <p:nvPr/>
              </p:nvSpPr>
              <p:spPr bwMode="auto">
                <a:xfrm>
                  <a:off x="9340271" y="2662985"/>
                  <a:ext cx="104144" cy="99765"/>
                </a:xfrm>
                <a:custGeom>
                  <a:avLst/>
                  <a:gdLst/>
                  <a:ahLst/>
                  <a:cxnLst>
                    <a:cxn ang="0">
                      <a:pos x="523" y="4"/>
                    </a:cxn>
                    <a:cxn ang="0">
                      <a:pos x="19" y="3"/>
                    </a:cxn>
                    <a:cxn ang="0">
                      <a:pos x="2" y="21"/>
                    </a:cxn>
                    <a:cxn ang="0">
                      <a:pos x="6" y="382"/>
                    </a:cxn>
                    <a:cxn ang="0">
                      <a:pos x="23" y="399"/>
                    </a:cxn>
                    <a:cxn ang="0">
                      <a:pos x="185" y="403"/>
                    </a:cxn>
                    <a:cxn ang="0">
                      <a:pos x="186" y="428"/>
                    </a:cxn>
                    <a:cxn ang="0">
                      <a:pos x="367" y="427"/>
                    </a:cxn>
                    <a:cxn ang="0">
                      <a:pos x="367" y="403"/>
                    </a:cxn>
                    <a:cxn ang="0">
                      <a:pos x="520" y="399"/>
                    </a:cxn>
                    <a:cxn ang="0">
                      <a:pos x="537" y="381"/>
                    </a:cxn>
                    <a:cxn ang="0">
                      <a:pos x="540" y="21"/>
                    </a:cxn>
                    <a:cxn ang="0">
                      <a:pos x="523" y="4"/>
                    </a:cxn>
                    <a:cxn ang="0">
                      <a:pos x="508" y="356"/>
                    </a:cxn>
                    <a:cxn ang="0">
                      <a:pos x="494" y="371"/>
                    </a:cxn>
                    <a:cxn ang="0">
                      <a:pos x="49" y="371"/>
                    </a:cxn>
                    <a:cxn ang="0">
                      <a:pos x="35" y="357"/>
                    </a:cxn>
                    <a:cxn ang="0">
                      <a:pos x="32" y="48"/>
                    </a:cxn>
                    <a:cxn ang="0">
                      <a:pos x="47" y="33"/>
                    </a:cxn>
                    <a:cxn ang="0">
                      <a:pos x="496" y="33"/>
                    </a:cxn>
                    <a:cxn ang="0">
                      <a:pos x="511" y="48"/>
                    </a:cxn>
                    <a:cxn ang="0">
                      <a:pos x="508" y="356"/>
                    </a:cxn>
                  </a:cxnLst>
                  <a:rect l="0" t="0" r="r" b="b"/>
                  <a:pathLst>
                    <a:path w="543" h="428">
                      <a:moveTo>
                        <a:pt x="523" y="4"/>
                      </a:moveTo>
                      <a:cubicBezTo>
                        <a:pt x="357" y="0"/>
                        <a:pt x="186" y="0"/>
                        <a:pt x="19" y="3"/>
                      </a:cubicBezTo>
                      <a:cubicBezTo>
                        <a:pt x="10" y="4"/>
                        <a:pt x="3" y="11"/>
                        <a:pt x="2" y="21"/>
                      </a:cubicBezTo>
                      <a:cubicBezTo>
                        <a:pt x="0" y="142"/>
                        <a:pt x="1" y="264"/>
                        <a:pt x="6" y="382"/>
                      </a:cubicBezTo>
                      <a:cubicBezTo>
                        <a:pt x="6" y="391"/>
                        <a:pt x="14" y="399"/>
                        <a:pt x="23" y="399"/>
                      </a:cubicBezTo>
                      <a:cubicBezTo>
                        <a:pt x="76" y="401"/>
                        <a:pt x="130" y="402"/>
                        <a:pt x="185" y="403"/>
                      </a:cubicBezTo>
                      <a:cubicBezTo>
                        <a:pt x="185" y="411"/>
                        <a:pt x="186" y="419"/>
                        <a:pt x="186" y="428"/>
                      </a:cubicBezTo>
                      <a:cubicBezTo>
                        <a:pt x="246" y="428"/>
                        <a:pt x="307" y="428"/>
                        <a:pt x="367" y="427"/>
                      </a:cubicBezTo>
                      <a:cubicBezTo>
                        <a:pt x="367" y="419"/>
                        <a:pt x="367" y="411"/>
                        <a:pt x="367" y="403"/>
                      </a:cubicBezTo>
                      <a:cubicBezTo>
                        <a:pt x="419" y="402"/>
                        <a:pt x="470" y="401"/>
                        <a:pt x="520" y="399"/>
                      </a:cubicBezTo>
                      <a:cubicBezTo>
                        <a:pt x="529" y="398"/>
                        <a:pt x="537" y="391"/>
                        <a:pt x="537" y="381"/>
                      </a:cubicBezTo>
                      <a:cubicBezTo>
                        <a:pt x="542" y="263"/>
                        <a:pt x="543" y="142"/>
                        <a:pt x="540" y="21"/>
                      </a:cubicBezTo>
                      <a:cubicBezTo>
                        <a:pt x="540" y="12"/>
                        <a:pt x="533" y="4"/>
                        <a:pt x="523" y="4"/>
                      </a:cubicBezTo>
                      <a:close/>
                      <a:moveTo>
                        <a:pt x="508" y="356"/>
                      </a:moveTo>
                      <a:cubicBezTo>
                        <a:pt x="508" y="364"/>
                        <a:pt x="501" y="371"/>
                        <a:pt x="494" y="371"/>
                      </a:cubicBezTo>
                      <a:cubicBezTo>
                        <a:pt x="347" y="376"/>
                        <a:pt x="197" y="376"/>
                        <a:pt x="49" y="371"/>
                      </a:cubicBezTo>
                      <a:cubicBezTo>
                        <a:pt x="41" y="371"/>
                        <a:pt x="35" y="365"/>
                        <a:pt x="35" y="357"/>
                      </a:cubicBezTo>
                      <a:cubicBezTo>
                        <a:pt x="32" y="255"/>
                        <a:pt x="31" y="151"/>
                        <a:pt x="32" y="48"/>
                      </a:cubicBezTo>
                      <a:cubicBezTo>
                        <a:pt x="32" y="39"/>
                        <a:pt x="39" y="33"/>
                        <a:pt x="47" y="33"/>
                      </a:cubicBezTo>
                      <a:cubicBezTo>
                        <a:pt x="196" y="30"/>
                        <a:pt x="348" y="30"/>
                        <a:pt x="496" y="33"/>
                      </a:cubicBezTo>
                      <a:cubicBezTo>
                        <a:pt x="504" y="33"/>
                        <a:pt x="511" y="40"/>
                        <a:pt x="511" y="48"/>
                      </a:cubicBezTo>
                      <a:cubicBezTo>
                        <a:pt x="512" y="151"/>
                        <a:pt x="511" y="255"/>
                        <a:pt x="508" y="356"/>
                      </a:cubicBezTo>
                      <a:close/>
                    </a:path>
                  </a:pathLst>
                </a:custGeom>
                <a:solidFill>
                  <a:srgbClr val="FFFFFF"/>
                </a:solidFill>
                <a:extLst/>
              </p:spPr>
              <p:txBody>
                <a:bodyPr vert="horz" wrap="square" lIns="91440" tIns="45720" rIns="91440" bIns="45720" numCol="1" anchor="t" anchorCtr="0" compatLnSpc="1">
                  <a:prstTxWarp prst="textNoShape">
                    <a:avLst/>
                  </a:prstTxWarp>
                </a:bodyPr>
                <a:lstStyle/>
                <a:p>
                  <a:endParaRPr lang="en-US" dirty="0">
                    <a:gradFill>
                      <a:gsLst>
                        <a:gs pos="50000">
                          <a:schemeClr val="tx1"/>
                        </a:gs>
                        <a:gs pos="100000">
                          <a:schemeClr val="tx1"/>
                        </a:gs>
                      </a:gsLst>
                      <a:lin ang="5400000" scaled="0"/>
                    </a:gradFill>
                  </a:endParaRPr>
                </a:p>
              </p:txBody>
            </p:sp>
          </p:grpSp>
          <p:grpSp>
            <p:nvGrpSpPr>
              <p:cNvPr id="240" name="Group 239"/>
              <p:cNvGrpSpPr>
                <a:grpSpLocks noChangeAspect="1"/>
              </p:cNvGrpSpPr>
              <p:nvPr/>
            </p:nvGrpSpPr>
            <p:grpSpPr>
              <a:xfrm>
                <a:off x="6514166" y="8646262"/>
                <a:ext cx="259410" cy="249895"/>
                <a:chOff x="5677562" y="3388801"/>
                <a:chExt cx="839322" cy="808538"/>
              </a:xfrm>
            </p:grpSpPr>
            <p:sp>
              <p:nvSpPr>
                <p:cNvPr id="249" name="Oval 6"/>
                <p:cNvSpPr>
                  <a:spLocks noChangeArrowheads="1"/>
                </p:cNvSpPr>
                <p:nvPr/>
              </p:nvSpPr>
              <p:spPr bwMode="auto">
                <a:xfrm>
                  <a:off x="5882458" y="3388801"/>
                  <a:ext cx="439400" cy="42852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7"/>
                  <a:endParaRPr lang="en-US" dirty="0">
                    <a:gradFill>
                      <a:gsLst>
                        <a:gs pos="50000">
                          <a:schemeClr val="tx1"/>
                        </a:gs>
                        <a:gs pos="100000">
                          <a:schemeClr val="tx1"/>
                        </a:gs>
                      </a:gsLst>
                      <a:lin ang="5400000" scaled="0"/>
                    </a:gradFill>
                  </a:endParaRPr>
                </a:p>
              </p:txBody>
            </p:sp>
            <p:sp>
              <p:nvSpPr>
                <p:cNvPr id="250" name="Freeform 7"/>
                <p:cNvSpPr>
                  <a:spLocks/>
                </p:cNvSpPr>
                <p:nvPr/>
              </p:nvSpPr>
              <p:spPr bwMode="auto">
                <a:xfrm>
                  <a:off x="5677562" y="3848128"/>
                  <a:ext cx="839322" cy="349211"/>
                </a:xfrm>
                <a:custGeom>
                  <a:avLst/>
                  <a:gdLst>
                    <a:gd name="T0" fmla="*/ 688 w 900"/>
                    <a:gd name="T1" fmla="*/ 0 h 384"/>
                    <a:gd name="T2" fmla="*/ 212 w 900"/>
                    <a:gd name="T3" fmla="*/ 0 h 384"/>
                    <a:gd name="T4" fmla="*/ 0 w 900"/>
                    <a:gd name="T5" fmla="*/ 260 h 384"/>
                    <a:gd name="T6" fmla="*/ 0 w 900"/>
                    <a:gd name="T7" fmla="*/ 361 h 384"/>
                    <a:gd name="T8" fmla="*/ 1 w 900"/>
                    <a:gd name="T9" fmla="*/ 384 h 384"/>
                    <a:gd name="T10" fmla="*/ 899 w 900"/>
                    <a:gd name="T11" fmla="*/ 384 h 384"/>
                    <a:gd name="T12" fmla="*/ 900 w 900"/>
                    <a:gd name="T13" fmla="*/ 361 h 384"/>
                    <a:gd name="T14" fmla="*/ 900 w 900"/>
                    <a:gd name="T15" fmla="*/ 260 h 384"/>
                    <a:gd name="T16" fmla="*/ 688 w 900"/>
                    <a:gd name="T17"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0" h="384">
                      <a:moveTo>
                        <a:pt x="688" y="0"/>
                      </a:moveTo>
                      <a:cubicBezTo>
                        <a:pt x="212" y="0"/>
                        <a:pt x="212" y="0"/>
                        <a:pt x="212" y="0"/>
                      </a:cubicBezTo>
                      <a:cubicBezTo>
                        <a:pt x="95" y="0"/>
                        <a:pt x="0" y="117"/>
                        <a:pt x="0" y="260"/>
                      </a:cubicBezTo>
                      <a:cubicBezTo>
                        <a:pt x="0" y="361"/>
                        <a:pt x="0" y="361"/>
                        <a:pt x="0" y="361"/>
                      </a:cubicBezTo>
                      <a:cubicBezTo>
                        <a:pt x="0" y="368"/>
                        <a:pt x="0" y="376"/>
                        <a:pt x="1" y="384"/>
                      </a:cubicBezTo>
                      <a:cubicBezTo>
                        <a:pt x="899" y="384"/>
                        <a:pt x="899" y="384"/>
                        <a:pt x="899" y="384"/>
                      </a:cubicBezTo>
                      <a:cubicBezTo>
                        <a:pt x="900" y="376"/>
                        <a:pt x="900" y="368"/>
                        <a:pt x="900" y="361"/>
                      </a:cubicBezTo>
                      <a:cubicBezTo>
                        <a:pt x="900" y="260"/>
                        <a:pt x="900" y="260"/>
                        <a:pt x="900" y="260"/>
                      </a:cubicBezTo>
                      <a:cubicBezTo>
                        <a:pt x="900" y="117"/>
                        <a:pt x="805" y="0"/>
                        <a:pt x="688"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7"/>
                  <a:endParaRPr lang="en-US" dirty="0">
                    <a:gradFill>
                      <a:gsLst>
                        <a:gs pos="50000">
                          <a:schemeClr val="tx1"/>
                        </a:gs>
                        <a:gs pos="100000">
                          <a:schemeClr val="tx1"/>
                        </a:gs>
                      </a:gsLst>
                      <a:lin ang="5400000" scaled="0"/>
                    </a:gradFill>
                  </a:endParaRPr>
                </a:p>
              </p:txBody>
            </p:sp>
          </p:grpSp>
          <p:cxnSp>
            <p:nvCxnSpPr>
              <p:cNvPr id="241" name="Straight Connector 240"/>
              <p:cNvCxnSpPr/>
              <p:nvPr/>
            </p:nvCxnSpPr>
            <p:spPr>
              <a:xfrm>
                <a:off x="6858144" y="9160879"/>
                <a:ext cx="386758" cy="0"/>
              </a:xfrm>
              <a:prstGeom prst="line">
                <a:avLst/>
              </a:prstGeom>
              <a:ln w="25400">
                <a:solidFill>
                  <a:schemeClr val="tx1"/>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42" name="Group 152"/>
              <p:cNvGrpSpPr/>
              <p:nvPr/>
            </p:nvGrpSpPr>
            <p:grpSpPr>
              <a:xfrm>
                <a:off x="7339877" y="9021231"/>
                <a:ext cx="339868" cy="279296"/>
                <a:chOff x="9237915" y="2606364"/>
                <a:chExt cx="235673" cy="193670"/>
              </a:xfrm>
            </p:grpSpPr>
            <p:sp>
              <p:nvSpPr>
                <p:cNvPr id="246" name="Rectangle 245"/>
                <p:cNvSpPr/>
                <p:nvPr/>
              </p:nvSpPr>
              <p:spPr>
                <a:xfrm>
                  <a:off x="9237915" y="2606364"/>
                  <a:ext cx="235673" cy="193670"/>
                </a:xfrm>
                <a:prstGeom prst="rect">
                  <a:avLst/>
                </a:prstGeom>
                <a:solidFill>
                  <a:srgbClr val="FFFFFF">
                    <a:alpha val="0"/>
                  </a:srgbClr>
                </a:solid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gradFill>
                      <a:gsLst>
                        <a:gs pos="50000">
                          <a:schemeClr val="tx1"/>
                        </a:gs>
                        <a:gs pos="100000">
                          <a:schemeClr val="tx1"/>
                        </a:gs>
                      </a:gsLst>
                      <a:lin ang="5400000" scaled="0"/>
                    </a:gradFill>
                  </a:endParaRPr>
                </a:p>
              </p:txBody>
            </p:sp>
            <p:sp>
              <p:nvSpPr>
                <p:cNvPr id="247" name="Freeform 246"/>
                <p:cNvSpPr>
                  <a:spLocks noEditPoints="1"/>
                </p:cNvSpPr>
                <p:nvPr/>
              </p:nvSpPr>
              <p:spPr bwMode="auto">
                <a:xfrm>
                  <a:off x="9279448" y="2637513"/>
                  <a:ext cx="51196" cy="12523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extLst/>
              </p:spPr>
              <p:txBody>
                <a:bodyPr vert="horz" wrap="square" lIns="91440" tIns="45720" rIns="91440" bIns="45720" numCol="1" anchor="t" anchorCtr="0" compatLnSpc="1">
                  <a:prstTxWarp prst="textNoShape">
                    <a:avLst/>
                  </a:prstTxWarp>
                </a:bodyPr>
                <a:lstStyle/>
                <a:p>
                  <a:endParaRPr lang="en-US" dirty="0">
                    <a:gradFill>
                      <a:gsLst>
                        <a:gs pos="50000">
                          <a:schemeClr val="tx1"/>
                        </a:gs>
                        <a:gs pos="100000">
                          <a:schemeClr val="tx1"/>
                        </a:gs>
                      </a:gsLst>
                      <a:lin ang="5400000" scaled="0"/>
                    </a:gradFill>
                  </a:endParaRPr>
                </a:p>
              </p:txBody>
            </p:sp>
            <p:sp>
              <p:nvSpPr>
                <p:cNvPr id="248" name="Freeform 94"/>
                <p:cNvSpPr>
                  <a:spLocks noEditPoints="1"/>
                </p:cNvSpPr>
                <p:nvPr/>
              </p:nvSpPr>
              <p:spPr bwMode="auto">
                <a:xfrm>
                  <a:off x="9340271" y="2662985"/>
                  <a:ext cx="104144" cy="99765"/>
                </a:xfrm>
                <a:custGeom>
                  <a:avLst/>
                  <a:gdLst/>
                  <a:ahLst/>
                  <a:cxnLst>
                    <a:cxn ang="0">
                      <a:pos x="523" y="4"/>
                    </a:cxn>
                    <a:cxn ang="0">
                      <a:pos x="19" y="3"/>
                    </a:cxn>
                    <a:cxn ang="0">
                      <a:pos x="2" y="21"/>
                    </a:cxn>
                    <a:cxn ang="0">
                      <a:pos x="6" y="382"/>
                    </a:cxn>
                    <a:cxn ang="0">
                      <a:pos x="23" y="399"/>
                    </a:cxn>
                    <a:cxn ang="0">
                      <a:pos x="185" y="403"/>
                    </a:cxn>
                    <a:cxn ang="0">
                      <a:pos x="186" y="428"/>
                    </a:cxn>
                    <a:cxn ang="0">
                      <a:pos x="367" y="427"/>
                    </a:cxn>
                    <a:cxn ang="0">
                      <a:pos x="367" y="403"/>
                    </a:cxn>
                    <a:cxn ang="0">
                      <a:pos x="520" y="399"/>
                    </a:cxn>
                    <a:cxn ang="0">
                      <a:pos x="537" y="381"/>
                    </a:cxn>
                    <a:cxn ang="0">
                      <a:pos x="540" y="21"/>
                    </a:cxn>
                    <a:cxn ang="0">
                      <a:pos x="523" y="4"/>
                    </a:cxn>
                    <a:cxn ang="0">
                      <a:pos x="508" y="356"/>
                    </a:cxn>
                    <a:cxn ang="0">
                      <a:pos x="494" y="371"/>
                    </a:cxn>
                    <a:cxn ang="0">
                      <a:pos x="49" y="371"/>
                    </a:cxn>
                    <a:cxn ang="0">
                      <a:pos x="35" y="357"/>
                    </a:cxn>
                    <a:cxn ang="0">
                      <a:pos x="32" y="48"/>
                    </a:cxn>
                    <a:cxn ang="0">
                      <a:pos x="47" y="33"/>
                    </a:cxn>
                    <a:cxn ang="0">
                      <a:pos x="496" y="33"/>
                    </a:cxn>
                    <a:cxn ang="0">
                      <a:pos x="511" y="48"/>
                    </a:cxn>
                    <a:cxn ang="0">
                      <a:pos x="508" y="356"/>
                    </a:cxn>
                  </a:cxnLst>
                  <a:rect l="0" t="0" r="r" b="b"/>
                  <a:pathLst>
                    <a:path w="543" h="428">
                      <a:moveTo>
                        <a:pt x="523" y="4"/>
                      </a:moveTo>
                      <a:cubicBezTo>
                        <a:pt x="357" y="0"/>
                        <a:pt x="186" y="0"/>
                        <a:pt x="19" y="3"/>
                      </a:cubicBezTo>
                      <a:cubicBezTo>
                        <a:pt x="10" y="4"/>
                        <a:pt x="3" y="11"/>
                        <a:pt x="2" y="21"/>
                      </a:cubicBezTo>
                      <a:cubicBezTo>
                        <a:pt x="0" y="142"/>
                        <a:pt x="1" y="264"/>
                        <a:pt x="6" y="382"/>
                      </a:cubicBezTo>
                      <a:cubicBezTo>
                        <a:pt x="6" y="391"/>
                        <a:pt x="14" y="399"/>
                        <a:pt x="23" y="399"/>
                      </a:cubicBezTo>
                      <a:cubicBezTo>
                        <a:pt x="76" y="401"/>
                        <a:pt x="130" y="402"/>
                        <a:pt x="185" y="403"/>
                      </a:cubicBezTo>
                      <a:cubicBezTo>
                        <a:pt x="185" y="411"/>
                        <a:pt x="186" y="419"/>
                        <a:pt x="186" y="428"/>
                      </a:cubicBezTo>
                      <a:cubicBezTo>
                        <a:pt x="246" y="428"/>
                        <a:pt x="307" y="428"/>
                        <a:pt x="367" y="427"/>
                      </a:cubicBezTo>
                      <a:cubicBezTo>
                        <a:pt x="367" y="419"/>
                        <a:pt x="367" y="411"/>
                        <a:pt x="367" y="403"/>
                      </a:cubicBezTo>
                      <a:cubicBezTo>
                        <a:pt x="419" y="402"/>
                        <a:pt x="470" y="401"/>
                        <a:pt x="520" y="399"/>
                      </a:cubicBezTo>
                      <a:cubicBezTo>
                        <a:pt x="529" y="398"/>
                        <a:pt x="537" y="391"/>
                        <a:pt x="537" y="381"/>
                      </a:cubicBezTo>
                      <a:cubicBezTo>
                        <a:pt x="542" y="263"/>
                        <a:pt x="543" y="142"/>
                        <a:pt x="540" y="21"/>
                      </a:cubicBezTo>
                      <a:cubicBezTo>
                        <a:pt x="540" y="12"/>
                        <a:pt x="533" y="4"/>
                        <a:pt x="523" y="4"/>
                      </a:cubicBezTo>
                      <a:close/>
                      <a:moveTo>
                        <a:pt x="508" y="356"/>
                      </a:moveTo>
                      <a:cubicBezTo>
                        <a:pt x="508" y="364"/>
                        <a:pt x="501" y="371"/>
                        <a:pt x="494" y="371"/>
                      </a:cubicBezTo>
                      <a:cubicBezTo>
                        <a:pt x="347" y="376"/>
                        <a:pt x="197" y="376"/>
                        <a:pt x="49" y="371"/>
                      </a:cubicBezTo>
                      <a:cubicBezTo>
                        <a:pt x="41" y="371"/>
                        <a:pt x="35" y="365"/>
                        <a:pt x="35" y="357"/>
                      </a:cubicBezTo>
                      <a:cubicBezTo>
                        <a:pt x="32" y="255"/>
                        <a:pt x="31" y="151"/>
                        <a:pt x="32" y="48"/>
                      </a:cubicBezTo>
                      <a:cubicBezTo>
                        <a:pt x="32" y="39"/>
                        <a:pt x="39" y="33"/>
                        <a:pt x="47" y="33"/>
                      </a:cubicBezTo>
                      <a:cubicBezTo>
                        <a:pt x="196" y="30"/>
                        <a:pt x="348" y="30"/>
                        <a:pt x="496" y="33"/>
                      </a:cubicBezTo>
                      <a:cubicBezTo>
                        <a:pt x="504" y="33"/>
                        <a:pt x="511" y="40"/>
                        <a:pt x="511" y="48"/>
                      </a:cubicBezTo>
                      <a:cubicBezTo>
                        <a:pt x="512" y="151"/>
                        <a:pt x="511" y="255"/>
                        <a:pt x="508" y="356"/>
                      </a:cubicBezTo>
                      <a:close/>
                    </a:path>
                  </a:pathLst>
                </a:custGeom>
                <a:solidFill>
                  <a:srgbClr val="FFFFFF"/>
                </a:solidFill>
                <a:extLst/>
              </p:spPr>
              <p:txBody>
                <a:bodyPr vert="horz" wrap="square" lIns="91440" tIns="45720" rIns="91440" bIns="45720" numCol="1" anchor="t" anchorCtr="0" compatLnSpc="1">
                  <a:prstTxWarp prst="textNoShape">
                    <a:avLst/>
                  </a:prstTxWarp>
                </a:bodyPr>
                <a:lstStyle/>
                <a:p>
                  <a:endParaRPr lang="en-US" dirty="0">
                    <a:gradFill>
                      <a:gsLst>
                        <a:gs pos="50000">
                          <a:schemeClr val="tx1"/>
                        </a:gs>
                        <a:gs pos="100000">
                          <a:schemeClr val="tx1"/>
                        </a:gs>
                      </a:gsLst>
                      <a:lin ang="5400000" scaled="0"/>
                    </a:gradFill>
                  </a:endParaRPr>
                </a:p>
              </p:txBody>
            </p:sp>
          </p:grpSp>
          <p:grpSp>
            <p:nvGrpSpPr>
              <p:cNvPr id="243" name="Group 242"/>
              <p:cNvGrpSpPr>
                <a:grpSpLocks noChangeAspect="1"/>
              </p:cNvGrpSpPr>
              <p:nvPr/>
            </p:nvGrpSpPr>
            <p:grpSpPr>
              <a:xfrm>
                <a:off x="6514166" y="9035931"/>
                <a:ext cx="259410" cy="249895"/>
                <a:chOff x="5677562" y="3388801"/>
                <a:chExt cx="839322" cy="808538"/>
              </a:xfrm>
            </p:grpSpPr>
            <p:sp>
              <p:nvSpPr>
                <p:cNvPr id="244" name="Oval 6"/>
                <p:cNvSpPr>
                  <a:spLocks noChangeArrowheads="1"/>
                </p:cNvSpPr>
                <p:nvPr/>
              </p:nvSpPr>
              <p:spPr bwMode="auto">
                <a:xfrm>
                  <a:off x="5882458" y="3388801"/>
                  <a:ext cx="439400" cy="42852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7"/>
                  <a:endParaRPr lang="en-US" dirty="0">
                    <a:gradFill>
                      <a:gsLst>
                        <a:gs pos="50000">
                          <a:schemeClr val="tx1"/>
                        </a:gs>
                        <a:gs pos="100000">
                          <a:schemeClr val="tx1"/>
                        </a:gs>
                      </a:gsLst>
                      <a:lin ang="5400000" scaled="0"/>
                    </a:gradFill>
                  </a:endParaRPr>
                </a:p>
              </p:txBody>
            </p:sp>
            <p:sp>
              <p:nvSpPr>
                <p:cNvPr id="245" name="Freeform 7"/>
                <p:cNvSpPr>
                  <a:spLocks/>
                </p:cNvSpPr>
                <p:nvPr/>
              </p:nvSpPr>
              <p:spPr bwMode="auto">
                <a:xfrm>
                  <a:off x="5677562" y="3848128"/>
                  <a:ext cx="839322" cy="349211"/>
                </a:xfrm>
                <a:custGeom>
                  <a:avLst/>
                  <a:gdLst>
                    <a:gd name="T0" fmla="*/ 688 w 900"/>
                    <a:gd name="T1" fmla="*/ 0 h 384"/>
                    <a:gd name="T2" fmla="*/ 212 w 900"/>
                    <a:gd name="T3" fmla="*/ 0 h 384"/>
                    <a:gd name="T4" fmla="*/ 0 w 900"/>
                    <a:gd name="T5" fmla="*/ 260 h 384"/>
                    <a:gd name="T6" fmla="*/ 0 w 900"/>
                    <a:gd name="T7" fmla="*/ 361 h 384"/>
                    <a:gd name="T8" fmla="*/ 1 w 900"/>
                    <a:gd name="T9" fmla="*/ 384 h 384"/>
                    <a:gd name="T10" fmla="*/ 899 w 900"/>
                    <a:gd name="T11" fmla="*/ 384 h 384"/>
                    <a:gd name="T12" fmla="*/ 900 w 900"/>
                    <a:gd name="T13" fmla="*/ 361 h 384"/>
                    <a:gd name="T14" fmla="*/ 900 w 900"/>
                    <a:gd name="T15" fmla="*/ 260 h 384"/>
                    <a:gd name="T16" fmla="*/ 688 w 900"/>
                    <a:gd name="T17"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0" h="384">
                      <a:moveTo>
                        <a:pt x="688" y="0"/>
                      </a:moveTo>
                      <a:cubicBezTo>
                        <a:pt x="212" y="0"/>
                        <a:pt x="212" y="0"/>
                        <a:pt x="212" y="0"/>
                      </a:cubicBezTo>
                      <a:cubicBezTo>
                        <a:pt x="95" y="0"/>
                        <a:pt x="0" y="117"/>
                        <a:pt x="0" y="260"/>
                      </a:cubicBezTo>
                      <a:cubicBezTo>
                        <a:pt x="0" y="361"/>
                        <a:pt x="0" y="361"/>
                        <a:pt x="0" y="361"/>
                      </a:cubicBezTo>
                      <a:cubicBezTo>
                        <a:pt x="0" y="368"/>
                        <a:pt x="0" y="376"/>
                        <a:pt x="1" y="384"/>
                      </a:cubicBezTo>
                      <a:cubicBezTo>
                        <a:pt x="899" y="384"/>
                        <a:pt x="899" y="384"/>
                        <a:pt x="899" y="384"/>
                      </a:cubicBezTo>
                      <a:cubicBezTo>
                        <a:pt x="900" y="376"/>
                        <a:pt x="900" y="368"/>
                        <a:pt x="900" y="361"/>
                      </a:cubicBezTo>
                      <a:cubicBezTo>
                        <a:pt x="900" y="260"/>
                        <a:pt x="900" y="260"/>
                        <a:pt x="900" y="260"/>
                      </a:cubicBezTo>
                      <a:cubicBezTo>
                        <a:pt x="900" y="117"/>
                        <a:pt x="805" y="0"/>
                        <a:pt x="688"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7"/>
                  <a:endParaRPr lang="en-US" dirty="0">
                    <a:gradFill>
                      <a:gsLst>
                        <a:gs pos="50000">
                          <a:schemeClr val="tx1"/>
                        </a:gs>
                        <a:gs pos="100000">
                          <a:schemeClr val="tx1"/>
                        </a:gs>
                      </a:gsLst>
                      <a:lin ang="5400000" scaled="0"/>
                    </a:gradFill>
                  </a:endParaRPr>
                </a:p>
              </p:txBody>
            </p:sp>
          </p:grpSp>
        </p:grpSp>
      </p:grpSp>
      <p:grpSp>
        <p:nvGrpSpPr>
          <p:cNvPr id="316" name="Group 315"/>
          <p:cNvGrpSpPr/>
          <p:nvPr/>
        </p:nvGrpSpPr>
        <p:grpSpPr>
          <a:xfrm>
            <a:off x="389435" y="3323531"/>
            <a:ext cx="1813260" cy="715979"/>
            <a:chOff x="1557" y="7792116"/>
            <a:chExt cx="2417050" cy="954639"/>
          </a:xfrm>
        </p:grpSpPr>
        <p:sp>
          <p:nvSpPr>
            <p:cNvPr id="317" name="Rectangle 316"/>
            <p:cNvSpPr/>
            <p:nvPr/>
          </p:nvSpPr>
          <p:spPr bwMode="auto">
            <a:xfrm>
              <a:off x="1557" y="7792116"/>
              <a:ext cx="2417050" cy="954639"/>
            </a:xfrm>
            <a:prstGeom prst="rect">
              <a:avLst/>
            </a:prstGeom>
            <a:solidFill>
              <a:schemeClr val="accent1">
                <a:alpha val="4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gradFill>
                  <a:gsLst>
                    <a:gs pos="50000">
                      <a:schemeClr val="tx1"/>
                    </a:gs>
                    <a:gs pos="100000">
                      <a:schemeClr val="tx1"/>
                    </a:gs>
                  </a:gsLst>
                  <a:lin ang="5400000" scaled="0"/>
                </a:gradFill>
              </a:endParaRPr>
            </a:p>
          </p:txBody>
        </p:sp>
        <p:sp>
          <p:nvSpPr>
            <p:cNvPr id="318" name="TextBox 317"/>
            <p:cNvSpPr txBox="1"/>
            <p:nvPr/>
          </p:nvSpPr>
          <p:spPr>
            <a:xfrm>
              <a:off x="14256" y="7924800"/>
              <a:ext cx="1332869" cy="818002"/>
            </a:xfrm>
            <a:prstGeom prst="rect">
              <a:avLst/>
            </a:prstGeom>
            <a:noFill/>
          </p:spPr>
          <p:txBody>
            <a:bodyPr wrap="square" rtlCol="0">
              <a:spAutoFit/>
            </a:bodyPr>
            <a:lstStyle/>
            <a:p>
              <a:pPr marL="0" lvl="1" algn="ctr" fontAlgn="base">
                <a:lnSpc>
                  <a:spcPct val="90000"/>
                </a:lnSpc>
                <a:spcBef>
                  <a:spcPts val="150"/>
                </a:spcBef>
                <a:spcAft>
                  <a:spcPts val="300"/>
                </a:spcAft>
                <a:buClr>
                  <a:srgbClr val="FFFFFF"/>
                </a:buClr>
                <a:buSzPct val="90000"/>
                <a:tabLst>
                  <a:tab pos="472722" algn="l"/>
                </a:tabLst>
                <a:defRPr/>
              </a:pPr>
              <a:r>
                <a:rPr lang="en-US" sz="1100" spc="-38" dirty="0">
                  <a:gradFill>
                    <a:gsLst>
                      <a:gs pos="50000">
                        <a:schemeClr val="tx1"/>
                      </a:gs>
                      <a:gs pos="100000">
                        <a:schemeClr val="tx1"/>
                      </a:gs>
                    </a:gsLst>
                    <a:lin ang="5400000" scaled="0"/>
                  </a:gradFill>
                </a:rPr>
                <a:t>Sessions +</a:t>
              </a:r>
            </a:p>
            <a:p>
              <a:pPr marL="0" lvl="1" algn="ctr" fontAlgn="base">
                <a:lnSpc>
                  <a:spcPct val="90000"/>
                </a:lnSpc>
                <a:spcBef>
                  <a:spcPts val="150"/>
                </a:spcBef>
                <a:spcAft>
                  <a:spcPts val="300"/>
                </a:spcAft>
                <a:buClr>
                  <a:srgbClr val="FFFFFF"/>
                </a:buClr>
                <a:buSzPct val="90000"/>
                <a:tabLst>
                  <a:tab pos="472722" algn="l"/>
                </a:tabLst>
                <a:defRPr/>
              </a:pPr>
              <a:r>
                <a:rPr lang="en-US" sz="1100" spc="-38" dirty="0">
                  <a:gradFill>
                    <a:gsLst>
                      <a:gs pos="50000">
                        <a:schemeClr val="tx1"/>
                      </a:gs>
                      <a:gs pos="100000">
                        <a:schemeClr val="tx1"/>
                      </a:gs>
                    </a:gsLst>
                    <a:lin ang="5400000" scaled="0"/>
                  </a:gradFill>
                </a:rPr>
                <a:t>User Disk + App-V</a:t>
              </a:r>
            </a:p>
          </p:txBody>
        </p:sp>
        <p:grpSp>
          <p:nvGrpSpPr>
            <p:cNvPr id="319" name="Group 318"/>
            <p:cNvGrpSpPr/>
            <p:nvPr/>
          </p:nvGrpSpPr>
          <p:grpSpPr>
            <a:xfrm>
              <a:off x="1251949" y="7922478"/>
              <a:ext cx="803863" cy="664538"/>
              <a:chOff x="782832" y="8714563"/>
              <a:chExt cx="1294627" cy="1070247"/>
            </a:xfrm>
          </p:grpSpPr>
          <p:cxnSp>
            <p:nvCxnSpPr>
              <p:cNvPr id="320" name="Straight Connector 319"/>
              <p:cNvCxnSpPr/>
              <p:nvPr/>
            </p:nvCxnSpPr>
            <p:spPr>
              <a:xfrm>
                <a:off x="1098876" y="8859336"/>
                <a:ext cx="275598" cy="128765"/>
              </a:xfrm>
              <a:prstGeom prst="line">
                <a:avLst/>
              </a:prstGeom>
              <a:ln w="1270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321" name="Straight Connector 320"/>
              <p:cNvCxnSpPr>
                <a:endCxn id="333" idx="1"/>
              </p:cNvCxnSpPr>
              <p:nvPr/>
            </p:nvCxnSpPr>
            <p:spPr>
              <a:xfrm flipV="1">
                <a:off x="1095573" y="9263886"/>
                <a:ext cx="274799" cy="0"/>
              </a:xfrm>
              <a:prstGeom prst="line">
                <a:avLst/>
              </a:prstGeom>
              <a:ln w="1270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322" name="Straight Connector 321"/>
              <p:cNvCxnSpPr/>
              <p:nvPr/>
            </p:nvCxnSpPr>
            <p:spPr>
              <a:xfrm flipV="1">
                <a:off x="1090544" y="9538087"/>
                <a:ext cx="276056" cy="128398"/>
              </a:xfrm>
              <a:prstGeom prst="line">
                <a:avLst/>
              </a:prstGeom>
              <a:ln w="1270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nvGrpSpPr>
              <p:cNvPr id="323" name="Group 105"/>
              <p:cNvGrpSpPr/>
              <p:nvPr/>
            </p:nvGrpSpPr>
            <p:grpSpPr>
              <a:xfrm>
                <a:off x="1370371" y="8917328"/>
                <a:ext cx="707088" cy="693115"/>
                <a:chOff x="-259085" y="-1950692"/>
                <a:chExt cx="1181062" cy="1066802"/>
              </a:xfrm>
            </p:grpSpPr>
            <p:sp>
              <p:nvSpPr>
                <p:cNvPr id="333" name="Rectangle 332"/>
                <p:cNvSpPr/>
                <p:nvPr/>
              </p:nvSpPr>
              <p:spPr>
                <a:xfrm>
                  <a:off x="-259085" y="-1950692"/>
                  <a:ext cx="1181062" cy="1066802"/>
                </a:xfrm>
                <a:prstGeom prst="rect">
                  <a:avLst/>
                </a:prstGeom>
                <a:solidFill>
                  <a:schemeClr val="tx1">
                    <a:alpha val="0"/>
                  </a:schemeClr>
                </a:solid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gradFill>
                      <a:gsLst>
                        <a:gs pos="50000">
                          <a:schemeClr val="tx1"/>
                        </a:gs>
                        <a:gs pos="100000">
                          <a:schemeClr val="tx1"/>
                        </a:gs>
                      </a:gsLst>
                      <a:lin ang="5400000" scaled="0"/>
                    </a:gradFill>
                  </a:endParaRPr>
                </a:p>
              </p:txBody>
            </p:sp>
            <p:grpSp>
              <p:nvGrpSpPr>
                <p:cNvPr id="334" name="Desktop icon"/>
                <p:cNvGrpSpPr/>
                <p:nvPr/>
              </p:nvGrpSpPr>
              <p:grpSpPr>
                <a:xfrm>
                  <a:off x="-50949" y="-1768121"/>
                  <a:ext cx="826721" cy="595624"/>
                  <a:chOff x="381897" y="204238"/>
                  <a:chExt cx="715576" cy="386762"/>
                </a:xfrm>
                <a:solidFill>
                  <a:schemeClr val="bg2"/>
                </a:solidFill>
              </p:grpSpPr>
              <p:sp>
                <p:nvSpPr>
                  <p:cNvPr id="335" name="Freeform 334"/>
                  <p:cNvSpPr>
                    <a:spLocks noEditPoints="1"/>
                  </p:cNvSpPr>
                  <p:nvPr/>
                </p:nvSpPr>
                <p:spPr bwMode="auto">
                  <a:xfrm>
                    <a:off x="381897" y="204238"/>
                    <a:ext cx="222074" cy="3867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extLst/>
                </p:spPr>
                <p:txBody>
                  <a:bodyPr vert="horz" wrap="square" lIns="91440" tIns="45720" rIns="91440" bIns="45720" numCol="1" anchor="t" anchorCtr="0" compatLnSpc="1">
                    <a:prstTxWarp prst="textNoShape">
                      <a:avLst/>
                    </a:prstTxWarp>
                  </a:bodyPr>
                  <a:lstStyle/>
                  <a:p>
                    <a:endParaRPr lang="en-US" dirty="0">
                      <a:gradFill>
                        <a:gsLst>
                          <a:gs pos="50000">
                            <a:schemeClr val="tx1"/>
                          </a:gs>
                          <a:gs pos="100000">
                            <a:schemeClr val="tx1"/>
                          </a:gs>
                        </a:gsLst>
                        <a:lin ang="5400000" scaled="0"/>
                      </a:gradFill>
                    </a:endParaRPr>
                  </a:p>
                </p:txBody>
              </p:sp>
              <p:sp>
                <p:nvSpPr>
                  <p:cNvPr id="336" name="Freeform 94"/>
                  <p:cNvSpPr>
                    <a:spLocks noEditPoints="1"/>
                  </p:cNvSpPr>
                  <p:nvPr/>
                </p:nvSpPr>
                <p:spPr bwMode="auto">
                  <a:xfrm>
                    <a:off x="645728" y="313560"/>
                    <a:ext cx="451745" cy="277440"/>
                  </a:xfrm>
                  <a:custGeom>
                    <a:avLst/>
                    <a:gdLst/>
                    <a:ahLst/>
                    <a:cxnLst>
                      <a:cxn ang="0">
                        <a:pos x="523" y="4"/>
                      </a:cxn>
                      <a:cxn ang="0">
                        <a:pos x="19" y="3"/>
                      </a:cxn>
                      <a:cxn ang="0">
                        <a:pos x="2" y="21"/>
                      </a:cxn>
                      <a:cxn ang="0">
                        <a:pos x="6" y="382"/>
                      </a:cxn>
                      <a:cxn ang="0">
                        <a:pos x="23" y="399"/>
                      </a:cxn>
                      <a:cxn ang="0">
                        <a:pos x="185" y="403"/>
                      </a:cxn>
                      <a:cxn ang="0">
                        <a:pos x="186" y="428"/>
                      </a:cxn>
                      <a:cxn ang="0">
                        <a:pos x="367" y="427"/>
                      </a:cxn>
                      <a:cxn ang="0">
                        <a:pos x="367" y="403"/>
                      </a:cxn>
                      <a:cxn ang="0">
                        <a:pos x="520" y="399"/>
                      </a:cxn>
                      <a:cxn ang="0">
                        <a:pos x="537" y="381"/>
                      </a:cxn>
                      <a:cxn ang="0">
                        <a:pos x="540" y="21"/>
                      </a:cxn>
                      <a:cxn ang="0">
                        <a:pos x="523" y="4"/>
                      </a:cxn>
                      <a:cxn ang="0">
                        <a:pos x="508" y="356"/>
                      </a:cxn>
                      <a:cxn ang="0">
                        <a:pos x="494" y="371"/>
                      </a:cxn>
                      <a:cxn ang="0">
                        <a:pos x="49" y="371"/>
                      </a:cxn>
                      <a:cxn ang="0">
                        <a:pos x="35" y="357"/>
                      </a:cxn>
                      <a:cxn ang="0">
                        <a:pos x="32" y="48"/>
                      </a:cxn>
                      <a:cxn ang="0">
                        <a:pos x="47" y="33"/>
                      </a:cxn>
                      <a:cxn ang="0">
                        <a:pos x="496" y="33"/>
                      </a:cxn>
                      <a:cxn ang="0">
                        <a:pos x="511" y="48"/>
                      </a:cxn>
                      <a:cxn ang="0">
                        <a:pos x="508" y="356"/>
                      </a:cxn>
                    </a:cxnLst>
                    <a:rect l="0" t="0" r="r" b="b"/>
                    <a:pathLst>
                      <a:path w="543" h="428">
                        <a:moveTo>
                          <a:pt x="523" y="4"/>
                        </a:moveTo>
                        <a:cubicBezTo>
                          <a:pt x="357" y="0"/>
                          <a:pt x="186" y="0"/>
                          <a:pt x="19" y="3"/>
                        </a:cubicBezTo>
                        <a:cubicBezTo>
                          <a:pt x="10" y="4"/>
                          <a:pt x="3" y="11"/>
                          <a:pt x="2" y="21"/>
                        </a:cubicBezTo>
                        <a:cubicBezTo>
                          <a:pt x="0" y="142"/>
                          <a:pt x="1" y="264"/>
                          <a:pt x="6" y="382"/>
                        </a:cubicBezTo>
                        <a:cubicBezTo>
                          <a:pt x="6" y="391"/>
                          <a:pt x="14" y="399"/>
                          <a:pt x="23" y="399"/>
                        </a:cubicBezTo>
                        <a:cubicBezTo>
                          <a:pt x="76" y="401"/>
                          <a:pt x="130" y="402"/>
                          <a:pt x="185" y="403"/>
                        </a:cubicBezTo>
                        <a:cubicBezTo>
                          <a:pt x="185" y="411"/>
                          <a:pt x="186" y="419"/>
                          <a:pt x="186" y="428"/>
                        </a:cubicBezTo>
                        <a:cubicBezTo>
                          <a:pt x="246" y="428"/>
                          <a:pt x="307" y="428"/>
                          <a:pt x="367" y="427"/>
                        </a:cubicBezTo>
                        <a:cubicBezTo>
                          <a:pt x="367" y="419"/>
                          <a:pt x="367" y="411"/>
                          <a:pt x="367" y="403"/>
                        </a:cubicBezTo>
                        <a:cubicBezTo>
                          <a:pt x="419" y="402"/>
                          <a:pt x="470" y="401"/>
                          <a:pt x="520" y="399"/>
                        </a:cubicBezTo>
                        <a:cubicBezTo>
                          <a:pt x="529" y="398"/>
                          <a:pt x="537" y="391"/>
                          <a:pt x="537" y="381"/>
                        </a:cubicBezTo>
                        <a:cubicBezTo>
                          <a:pt x="542" y="263"/>
                          <a:pt x="543" y="142"/>
                          <a:pt x="540" y="21"/>
                        </a:cubicBezTo>
                        <a:cubicBezTo>
                          <a:pt x="540" y="12"/>
                          <a:pt x="533" y="4"/>
                          <a:pt x="523" y="4"/>
                        </a:cubicBezTo>
                        <a:close/>
                        <a:moveTo>
                          <a:pt x="508" y="356"/>
                        </a:moveTo>
                        <a:cubicBezTo>
                          <a:pt x="508" y="364"/>
                          <a:pt x="501" y="371"/>
                          <a:pt x="494" y="371"/>
                        </a:cubicBezTo>
                        <a:cubicBezTo>
                          <a:pt x="347" y="376"/>
                          <a:pt x="197" y="376"/>
                          <a:pt x="49" y="371"/>
                        </a:cubicBezTo>
                        <a:cubicBezTo>
                          <a:pt x="41" y="371"/>
                          <a:pt x="35" y="365"/>
                          <a:pt x="35" y="357"/>
                        </a:cubicBezTo>
                        <a:cubicBezTo>
                          <a:pt x="32" y="255"/>
                          <a:pt x="31" y="151"/>
                          <a:pt x="32" y="48"/>
                        </a:cubicBezTo>
                        <a:cubicBezTo>
                          <a:pt x="32" y="39"/>
                          <a:pt x="39" y="33"/>
                          <a:pt x="47" y="33"/>
                        </a:cubicBezTo>
                        <a:cubicBezTo>
                          <a:pt x="196" y="30"/>
                          <a:pt x="348" y="30"/>
                          <a:pt x="496" y="33"/>
                        </a:cubicBezTo>
                        <a:cubicBezTo>
                          <a:pt x="504" y="33"/>
                          <a:pt x="511" y="40"/>
                          <a:pt x="511" y="48"/>
                        </a:cubicBezTo>
                        <a:cubicBezTo>
                          <a:pt x="512" y="151"/>
                          <a:pt x="511" y="255"/>
                          <a:pt x="508" y="356"/>
                        </a:cubicBezTo>
                        <a:close/>
                      </a:path>
                    </a:pathLst>
                  </a:custGeom>
                  <a:solidFill>
                    <a:schemeClr val="tx1"/>
                  </a:solidFill>
                  <a:extLst/>
                </p:spPr>
                <p:txBody>
                  <a:bodyPr vert="horz" wrap="square" lIns="91440" tIns="45720" rIns="91440" bIns="45720" numCol="1" anchor="t" anchorCtr="0" compatLnSpc="1">
                    <a:prstTxWarp prst="textNoShape">
                      <a:avLst/>
                    </a:prstTxWarp>
                  </a:bodyPr>
                  <a:lstStyle/>
                  <a:p>
                    <a:endParaRPr lang="en-US" dirty="0">
                      <a:gradFill>
                        <a:gsLst>
                          <a:gs pos="50000">
                            <a:schemeClr val="tx1"/>
                          </a:gs>
                          <a:gs pos="100000">
                            <a:schemeClr val="tx1"/>
                          </a:gs>
                        </a:gsLst>
                        <a:lin ang="5400000" scaled="0"/>
                      </a:gradFill>
                    </a:endParaRPr>
                  </a:p>
                </p:txBody>
              </p:sp>
            </p:grpSp>
          </p:grpSp>
          <p:grpSp>
            <p:nvGrpSpPr>
              <p:cNvPr id="324" name="Group 323"/>
              <p:cNvGrpSpPr>
                <a:grpSpLocks noChangeAspect="1"/>
              </p:cNvGrpSpPr>
              <p:nvPr/>
            </p:nvGrpSpPr>
            <p:grpSpPr>
              <a:xfrm>
                <a:off x="782834" y="8714563"/>
                <a:ext cx="259410" cy="249895"/>
                <a:chOff x="5677562" y="3388839"/>
                <a:chExt cx="839322" cy="808534"/>
              </a:xfrm>
            </p:grpSpPr>
            <p:sp>
              <p:nvSpPr>
                <p:cNvPr id="331" name="Oval 6"/>
                <p:cNvSpPr>
                  <a:spLocks noChangeArrowheads="1"/>
                </p:cNvSpPr>
                <p:nvPr/>
              </p:nvSpPr>
              <p:spPr bwMode="auto">
                <a:xfrm>
                  <a:off x="5882450" y="3388839"/>
                  <a:ext cx="439400" cy="428521"/>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7"/>
                  <a:endParaRPr lang="en-US" dirty="0">
                    <a:gradFill>
                      <a:gsLst>
                        <a:gs pos="50000">
                          <a:schemeClr val="tx1"/>
                        </a:gs>
                        <a:gs pos="100000">
                          <a:schemeClr val="tx1"/>
                        </a:gs>
                      </a:gsLst>
                      <a:lin ang="5400000" scaled="0"/>
                    </a:gradFill>
                  </a:endParaRPr>
                </a:p>
              </p:txBody>
            </p:sp>
            <p:sp>
              <p:nvSpPr>
                <p:cNvPr id="332" name="Freeform 7"/>
                <p:cNvSpPr>
                  <a:spLocks/>
                </p:cNvSpPr>
                <p:nvPr/>
              </p:nvSpPr>
              <p:spPr bwMode="auto">
                <a:xfrm>
                  <a:off x="5677562" y="3848164"/>
                  <a:ext cx="839322" cy="349209"/>
                </a:xfrm>
                <a:custGeom>
                  <a:avLst/>
                  <a:gdLst>
                    <a:gd name="T0" fmla="*/ 688 w 900"/>
                    <a:gd name="T1" fmla="*/ 0 h 384"/>
                    <a:gd name="T2" fmla="*/ 212 w 900"/>
                    <a:gd name="T3" fmla="*/ 0 h 384"/>
                    <a:gd name="T4" fmla="*/ 0 w 900"/>
                    <a:gd name="T5" fmla="*/ 260 h 384"/>
                    <a:gd name="T6" fmla="*/ 0 w 900"/>
                    <a:gd name="T7" fmla="*/ 361 h 384"/>
                    <a:gd name="T8" fmla="*/ 1 w 900"/>
                    <a:gd name="T9" fmla="*/ 384 h 384"/>
                    <a:gd name="T10" fmla="*/ 899 w 900"/>
                    <a:gd name="T11" fmla="*/ 384 h 384"/>
                    <a:gd name="T12" fmla="*/ 900 w 900"/>
                    <a:gd name="T13" fmla="*/ 361 h 384"/>
                    <a:gd name="T14" fmla="*/ 900 w 900"/>
                    <a:gd name="T15" fmla="*/ 260 h 384"/>
                    <a:gd name="T16" fmla="*/ 688 w 900"/>
                    <a:gd name="T17"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0" h="384">
                      <a:moveTo>
                        <a:pt x="688" y="0"/>
                      </a:moveTo>
                      <a:cubicBezTo>
                        <a:pt x="212" y="0"/>
                        <a:pt x="212" y="0"/>
                        <a:pt x="212" y="0"/>
                      </a:cubicBezTo>
                      <a:cubicBezTo>
                        <a:pt x="95" y="0"/>
                        <a:pt x="0" y="117"/>
                        <a:pt x="0" y="260"/>
                      </a:cubicBezTo>
                      <a:cubicBezTo>
                        <a:pt x="0" y="361"/>
                        <a:pt x="0" y="361"/>
                        <a:pt x="0" y="361"/>
                      </a:cubicBezTo>
                      <a:cubicBezTo>
                        <a:pt x="0" y="368"/>
                        <a:pt x="0" y="376"/>
                        <a:pt x="1" y="384"/>
                      </a:cubicBezTo>
                      <a:cubicBezTo>
                        <a:pt x="899" y="384"/>
                        <a:pt x="899" y="384"/>
                        <a:pt x="899" y="384"/>
                      </a:cubicBezTo>
                      <a:cubicBezTo>
                        <a:pt x="900" y="376"/>
                        <a:pt x="900" y="368"/>
                        <a:pt x="900" y="361"/>
                      </a:cubicBezTo>
                      <a:cubicBezTo>
                        <a:pt x="900" y="260"/>
                        <a:pt x="900" y="260"/>
                        <a:pt x="900" y="260"/>
                      </a:cubicBezTo>
                      <a:cubicBezTo>
                        <a:pt x="900" y="117"/>
                        <a:pt x="805" y="0"/>
                        <a:pt x="688"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7"/>
                  <a:endParaRPr lang="en-US" dirty="0">
                    <a:gradFill>
                      <a:gsLst>
                        <a:gs pos="50000">
                          <a:schemeClr val="tx1"/>
                        </a:gs>
                        <a:gs pos="100000">
                          <a:schemeClr val="tx1"/>
                        </a:gs>
                      </a:gsLst>
                      <a:lin ang="5400000" scaled="0"/>
                    </a:gradFill>
                  </a:endParaRPr>
                </a:p>
              </p:txBody>
            </p:sp>
          </p:grpSp>
          <p:grpSp>
            <p:nvGrpSpPr>
              <p:cNvPr id="325" name="Group 324"/>
              <p:cNvGrpSpPr>
                <a:grpSpLocks noChangeAspect="1"/>
              </p:cNvGrpSpPr>
              <p:nvPr/>
            </p:nvGrpSpPr>
            <p:grpSpPr>
              <a:xfrm>
                <a:off x="782832" y="9131226"/>
                <a:ext cx="259410" cy="249896"/>
                <a:chOff x="5677558" y="3388848"/>
                <a:chExt cx="839322" cy="808538"/>
              </a:xfrm>
            </p:grpSpPr>
            <p:sp>
              <p:nvSpPr>
                <p:cNvPr id="329" name="Oval 6"/>
                <p:cNvSpPr>
                  <a:spLocks noChangeArrowheads="1"/>
                </p:cNvSpPr>
                <p:nvPr/>
              </p:nvSpPr>
              <p:spPr bwMode="auto">
                <a:xfrm>
                  <a:off x="5882445" y="3388848"/>
                  <a:ext cx="439400" cy="428523"/>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7"/>
                  <a:endParaRPr lang="en-US" dirty="0">
                    <a:gradFill>
                      <a:gsLst>
                        <a:gs pos="50000">
                          <a:schemeClr val="tx1"/>
                        </a:gs>
                        <a:gs pos="100000">
                          <a:schemeClr val="tx1"/>
                        </a:gs>
                      </a:gsLst>
                      <a:lin ang="5400000" scaled="0"/>
                    </a:gradFill>
                  </a:endParaRPr>
                </a:p>
              </p:txBody>
            </p:sp>
            <p:sp>
              <p:nvSpPr>
                <p:cNvPr id="330" name="Freeform 7"/>
                <p:cNvSpPr>
                  <a:spLocks/>
                </p:cNvSpPr>
                <p:nvPr/>
              </p:nvSpPr>
              <p:spPr bwMode="auto">
                <a:xfrm>
                  <a:off x="5677558" y="3848175"/>
                  <a:ext cx="839322" cy="349211"/>
                </a:xfrm>
                <a:custGeom>
                  <a:avLst/>
                  <a:gdLst>
                    <a:gd name="T0" fmla="*/ 688 w 900"/>
                    <a:gd name="T1" fmla="*/ 0 h 384"/>
                    <a:gd name="T2" fmla="*/ 212 w 900"/>
                    <a:gd name="T3" fmla="*/ 0 h 384"/>
                    <a:gd name="T4" fmla="*/ 0 w 900"/>
                    <a:gd name="T5" fmla="*/ 260 h 384"/>
                    <a:gd name="T6" fmla="*/ 0 w 900"/>
                    <a:gd name="T7" fmla="*/ 361 h 384"/>
                    <a:gd name="T8" fmla="*/ 1 w 900"/>
                    <a:gd name="T9" fmla="*/ 384 h 384"/>
                    <a:gd name="T10" fmla="*/ 899 w 900"/>
                    <a:gd name="T11" fmla="*/ 384 h 384"/>
                    <a:gd name="T12" fmla="*/ 900 w 900"/>
                    <a:gd name="T13" fmla="*/ 361 h 384"/>
                    <a:gd name="T14" fmla="*/ 900 w 900"/>
                    <a:gd name="T15" fmla="*/ 260 h 384"/>
                    <a:gd name="T16" fmla="*/ 688 w 900"/>
                    <a:gd name="T17"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0" h="384">
                      <a:moveTo>
                        <a:pt x="688" y="0"/>
                      </a:moveTo>
                      <a:cubicBezTo>
                        <a:pt x="212" y="0"/>
                        <a:pt x="212" y="0"/>
                        <a:pt x="212" y="0"/>
                      </a:cubicBezTo>
                      <a:cubicBezTo>
                        <a:pt x="95" y="0"/>
                        <a:pt x="0" y="117"/>
                        <a:pt x="0" y="260"/>
                      </a:cubicBezTo>
                      <a:cubicBezTo>
                        <a:pt x="0" y="361"/>
                        <a:pt x="0" y="361"/>
                        <a:pt x="0" y="361"/>
                      </a:cubicBezTo>
                      <a:cubicBezTo>
                        <a:pt x="0" y="368"/>
                        <a:pt x="0" y="376"/>
                        <a:pt x="1" y="384"/>
                      </a:cubicBezTo>
                      <a:cubicBezTo>
                        <a:pt x="899" y="384"/>
                        <a:pt x="899" y="384"/>
                        <a:pt x="899" y="384"/>
                      </a:cubicBezTo>
                      <a:cubicBezTo>
                        <a:pt x="900" y="376"/>
                        <a:pt x="900" y="368"/>
                        <a:pt x="900" y="361"/>
                      </a:cubicBezTo>
                      <a:cubicBezTo>
                        <a:pt x="900" y="260"/>
                        <a:pt x="900" y="260"/>
                        <a:pt x="900" y="260"/>
                      </a:cubicBezTo>
                      <a:cubicBezTo>
                        <a:pt x="900" y="117"/>
                        <a:pt x="805" y="0"/>
                        <a:pt x="688"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7"/>
                  <a:endParaRPr lang="en-US" dirty="0">
                    <a:gradFill>
                      <a:gsLst>
                        <a:gs pos="50000">
                          <a:schemeClr val="tx1"/>
                        </a:gs>
                        <a:gs pos="100000">
                          <a:schemeClr val="tx1"/>
                        </a:gs>
                      </a:gsLst>
                      <a:lin ang="5400000" scaled="0"/>
                    </a:gradFill>
                  </a:endParaRPr>
                </a:p>
              </p:txBody>
            </p:sp>
          </p:grpSp>
          <p:grpSp>
            <p:nvGrpSpPr>
              <p:cNvPr id="326" name="Group 325"/>
              <p:cNvGrpSpPr>
                <a:grpSpLocks noChangeAspect="1"/>
              </p:cNvGrpSpPr>
              <p:nvPr/>
            </p:nvGrpSpPr>
            <p:grpSpPr>
              <a:xfrm>
                <a:off x="782832" y="9534913"/>
                <a:ext cx="259410" cy="249897"/>
                <a:chOff x="5677558" y="3388844"/>
                <a:chExt cx="839322" cy="808543"/>
              </a:xfrm>
            </p:grpSpPr>
            <p:sp>
              <p:nvSpPr>
                <p:cNvPr id="327" name="Oval 6"/>
                <p:cNvSpPr>
                  <a:spLocks noChangeArrowheads="1"/>
                </p:cNvSpPr>
                <p:nvPr/>
              </p:nvSpPr>
              <p:spPr bwMode="auto">
                <a:xfrm>
                  <a:off x="5882454" y="3388844"/>
                  <a:ext cx="439400" cy="428523"/>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7"/>
                  <a:endParaRPr lang="en-US" dirty="0">
                    <a:gradFill>
                      <a:gsLst>
                        <a:gs pos="50000">
                          <a:schemeClr val="tx1"/>
                        </a:gs>
                        <a:gs pos="100000">
                          <a:schemeClr val="tx1"/>
                        </a:gs>
                      </a:gsLst>
                      <a:lin ang="5400000" scaled="0"/>
                    </a:gradFill>
                  </a:endParaRPr>
                </a:p>
              </p:txBody>
            </p:sp>
            <p:sp>
              <p:nvSpPr>
                <p:cNvPr id="328" name="Freeform 7"/>
                <p:cNvSpPr>
                  <a:spLocks/>
                </p:cNvSpPr>
                <p:nvPr/>
              </p:nvSpPr>
              <p:spPr bwMode="auto">
                <a:xfrm>
                  <a:off x="5677558" y="3848176"/>
                  <a:ext cx="839322" cy="349211"/>
                </a:xfrm>
                <a:custGeom>
                  <a:avLst/>
                  <a:gdLst>
                    <a:gd name="T0" fmla="*/ 688 w 900"/>
                    <a:gd name="T1" fmla="*/ 0 h 384"/>
                    <a:gd name="T2" fmla="*/ 212 w 900"/>
                    <a:gd name="T3" fmla="*/ 0 h 384"/>
                    <a:gd name="T4" fmla="*/ 0 w 900"/>
                    <a:gd name="T5" fmla="*/ 260 h 384"/>
                    <a:gd name="T6" fmla="*/ 0 w 900"/>
                    <a:gd name="T7" fmla="*/ 361 h 384"/>
                    <a:gd name="T8" fmla="*/ 1 w 900"/>
                    <a:gd name="T9" fmla="*/ 384 h 384"/>
                    <a:gd name="T10" fmla="*/ 899 w 900"/>
                    <a:gd name="T11" fmla="*/ 384 h 384"/>
                    <a:gd name="T12" fmla="*/ 900 w 900"/>
                    <a:gd name="T13" fmla="*/ 361 h 384"/>
                    <a:gd name="T14" fmla="*/ 900 w 900"/>
                    <a:gd name="T15" fmla="*/ 260 h 384"/>
                    <a:gd name="T16" fmla="*/ 688 w 900"/>
                    <a:gd name="T17"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0" h="384">
                      <a:moveTo>
                        <a:pt x="688" y="0"/>
                      </a:moveTo>
                      <a:cubicBezTo>
                        <a:pt x="212" y="0"/>
                        <a:pt x="212" y="0"/>
                        <a:pt x="212" y="0"/>
                      </a:cubicBezTo>
                      <a:cubicBezTo>
                        <a:pt x="95" y="0"/>
                        <a:pt x="0" y="117"/>
                        <a:pt x="0" y="260"/>
                      </a:cubicBezTo>
                      <a:cubicBezTo>
                        <a:pt x="0" y="361"/>
                        <a:pt x="0" y="361"/>
                        <a:pt x="0" y="361"/>
                      </a:cubicBezTo>
                      <a:cubicBezTo>
                        <a:pt x="0" y="368"/>
                        <a:pt x="0" y="376"/>
                        <a:pt x="1" y="384"/>
                      </a:cubicBezTo>
                      <a:cubicBezTo>
                        <a:pt x="899" y="384"/>
                        <a:pt x="899" y="384"/>
                        <a:pt x="899" y="384"/>
                      </a:cubicBezTo>
                      <a:cubicBezTo>
                        <a:pt x="900" y="376"/>
                        <a:pt x="900" y="368"/>
                        <a:pt x="900" y="361"/>
                      </a:cubicBezTo>
                      <a:cubicBezTo>
                        <a:pt x="900" y="260"/>
                        <a:pt x="900" y="260"/>
                        <a:pt x="900" y="260"/>
                      </a:cubicBezTo>
                      <a:cubicBezTo>
                        <a:pt x="900" y="117"/>
                        <a:pt x="805" y="0"/>
                        <a:pt x="688"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7"/>
                  <a:endParaRPr lang="en-US" dirty="0">
                    <a:gradFill>
                      <a:gsLst>
                        <a:gs pos="50000">
                          <a:schemeClr val="tx1"/>
                        </a:gs>
                        <a:gs pos="100000">
                          <a:schemeClr val="tx1"/>
                        </a:gs>
                      </a:gsLst>
                      <a:lin ang="5400000" scaled="0"/>
                    </a:gradFill>
                  </a:endParaRPr>
                </a:p>
              </p:txBody>
            </p:sp>
          </p:grpSp>
        </p:grpSp>
      </p:grpSp>
      <p:grpSp>
        <p:nvGrpSpPr>
          <p:cNvPr id="12" name="Group 11"/>
          <p:cNvGrpSpPr/>
          <p:nvPr/>
        </p:nvGrpSpPr>
        <p:grpSpPr>
          <a:xfrm>
            <a:off x="389436" y="2580573"/>
            <a:ext cx="1813260" cy="890721"/>
            <a:chOff x="67127" y="8529599"/>
            <a:chExt cx="2417050" cy="1187629"/>
          </a:xfrm>
        </p:grpSpPr>
        <p:sp>
          <p:nvSpPr>
            <p:cNvPr id="296" name="Rectangle 295"/>
            <p:cNvSpPr/>
            <p:nvPr/>
          </p:nvSpPr>
          <p:spPr bwMode="auto">
            <a:xfrm>
              <a:off x="67127" y="8529599"/>
              <a:ext cx="2417050" cy="954639"/>
            </a:xfrm>
            <a:prstGeom prst="rect">
              <a:avLst/>
            </a:prstGeom>
            <a:solidFill>
              <a:schemeClr val="accent1">
                <a:alpha val="4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gradFill>
                  <a:gsLst>
                    <a:gs pos="50000">
                      <a:schemeClr val="tx1"/>
                    </a:gs>
                    <a:gs pos="100000">
                      <a:schemeClr val="tx1"/>
                    </a:gs>
                  </a:gsLst>
                  <a:lin ang="5400000" scaled="0"/>
                </a:gradFill>
              </a:endParaRPr>
            </a:p>
          </p:txBody>
        </p:sp>
        <p:sp>
          <p:nvSpPr>
            <p:cNvPr id="297" name="TextBox 296"/>
            <p:cNvSpPr txBox="1"/>
            <p:nvPr/>
          </p:nvSpPr>
          <p:spPr>
            <a:xfrm>
              <a:off x="113343" y="8610600"/>
              <a:ext cx="1332869" cy="1106628"/>
            </a:xfrm>
            <a:prstGeom prst="rect">
              <a:avLst/>
            </a:prstGeom>
            <a:noFill/>
          </p:spPr>
          <p:txBody>
            <a:bodyPr wrap="square" rtlCol="0">
              <a:spAutoFit/>
            </a:bodyPr>
            <a:lstStyle/>
            <a:p>
              <a:pPr marL="0" lvl="1" algn="ctr" fontAlgn="base">
                <a:lnSpc>
                  <a:spcPct val="90000"/>
                </a:lnSpc>
                <a:spcBef>
                  <a:spcPts val="150"/>
                </a:spcBef>
                <a:spcAft>
                  <a:spcPts val="300"/>
                </a:spcAft>
                <a:buClr>
                  <a:srgbClr val="FFFFFF"/>
                </a:buClr>
                <a:buSzPct val="90000"/>
                <a:tabLst>
                  <a:tab pos="472722" algn="l"/>
                </a:tabLst>
                <a:defRPr/>
              </a:pPr>
              <a:r>
                <a:rPr lang="nb-NO" sz="1100" spc="-38" dirty="0">
                  <a:gradFill>
                    <a:gsLst>
                      <a:gs pos="50000">
                        <a:schemeClr val="tx1"/>
                      </a:gs>
                      <a:gs pos="100000">
                        <a:schemeClr val="tx1"/>
                      </a:gs>
                    </a:gsLst>
                    <a:lin ang="5400000" scaled="0"/>
                  </a:gradFill>
                </a:rPr>
                <a:t>Pooled VMs + </a:t>
              </a:r>
            </a:p>
            <a:p>
              <a:pPr marL="0" lvl="1" algn="ctr" fontAlgn="base">
                <a:lnSpc>
                  <a:spcPct val="90000"/>
                </a:lnSpc>
                <a:spcBef>
                  <a:spcPts val="150"/>
                </a:spcBef>
                <a:spcAft>
                  <a:spcPts val="300"/>
                </a:spcAft>
                <a:buClr>
                  <a:srgbClr val="FFFFFF"/>
                </a:buClr>
                <a:buSzPct val="90000"/>
                <a:tabLst>
                  <a:tab pos="472722" algn="l"/>
                </a:tabLst>
                <a:defRPr/>
              </a:pPr>
              <a:r>
                <a:rPr lang="nb-NO" sz="1100" spc="-38" dirty="0">
                  <a:gradFill>
                    <a:gsLst>
                      <a:gs pos="50000">
                        <a:schemeClr val="tx1"/>
                      </a:gs>
                      <a:gs pos="100000">
                        <a:schemeClr val="tx1"/>
                      </a:gs>
                    </a:gsLst>
                    <a:lin ang="5400000" scaled="0"/>
                  </a:gradFill>
                </a:rPr>
                <a:t>User Disk + </a:t>
              </a:r>
            </a:p>
            <a:p>
              <a:pPr marL="0" lvl="1" algn="ctr" fontAlgn="base">
                <a:lnSpc>
                  <a:spcPct val="90000"/>
                </a:lnSpc>
                <a:spcBef>
                  <a:spcPts val="150"/>
                </a:spcBef>
                <a:spcAft>
                  <a:spcPts val="300"/>
                </a:spcAft>
                <a:buClr>
                  <a:srgbClr val="FFFFFF"/>
                </a:buClr>
                <a:buSzPct val="90000"/>
                <a:tabLst>
                  <a:tab pos="472722" algn="l"/>
                </a:tabLst>
                <a:defRPr/>
              </a:pPr>
              <a:r>
                <a:rPr lang="nb-NO" sz="1100" spc="-38" dirty="0">
                  <a:gradFill>
                    <a:gsLst>
                      <a:gs pos="50000">
                        <a:schemeClr val="tx1"/>
                      </a:gs>
                      <a:gs pos="100000">
                        <a:schemeClr val="tx1"/>
                      </a:gs>
                    </a:gsLst>
                    <a:lin ang="5400000" scaled="0"/>
                  </a:gradFill>
                </a:rPr>
                <a:t>App-V</a:t>
              </a:r>
            </a:p>
          </p:txBody>
        </p:sp>
        <p:grpSp>
          <p:nvGrpSpPr>
            <p:cNvPr id="10" name="Group 9"/>
            <p:cNvGrpSpPr/>
            <p:nvPr/>
          </p:nvGrpSpPr>
          <p:grpSpPr>
            <a:xfrm>
              <a:off x="1362953" y="8712802"/>
              <a:ext cx="857426" cy="578477"/>
              <a:chOff x="4488009" y="8175988"/>
              <a:chExt cx="1687588" cy="1138560"/>
            </a:xfrm>
          </p:grpSpPr>
          <p:cxnSp>
            <p:nvCxnSpPr>
              <p:cNvPr id="224" name="Straight Connector 223"/>
              <p:cNvCxnSpPr/>
              <p:nvPr/>
            </p:nvCxnSpPr>
            <p:spPr>
              <a:xfrm>
                <a:off x="4783193" y="8520492"/>
                <a:ext cx="154037" cy="121744"/>
              </a:xfrm>
              <a:prstGeom prst="line">
                <a:avLst/>
              </a:prstGeom>
              <a:ln w="1270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V="1">
                <a:off x="4783193" y="8989433"/>
                <a:ext cx="155452" cy="155083"/>
              </a:xfrm>
              <a:prstGeom prst="line">
                <a:avLst/>
              </a:prstGeom>
              <a:ln w="1270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nvGrpSpPr>
              <p:cNvPr id="269" name="Group 105"/>
              <p:cNvGrpSpPr/>
              <p:nvPr/>
            </p:nvGrpSpPr>
            <p:grpSpPr>
              <a:xfrm>
                <a:off x="5172337" y="8461610"/>
                <a:ext cx="373854" cy="307225"/>
                <a:chOff x="-461586" y="-2004058"/>
                <a:chExt cx="1299167" cy="1173477"/>
              </a:xfrm>
            </p:grpSpPr>
            <p:sp>
              <p:nvSpPr>
                <p:cNvPr id="281" name="Rectangle 280"/>
                <p:cNvSpPr/>
                <p:nvPr/>
              </p:nvSpPr>
              <p:spPr>
                <a:xfrm>
                  <a:off x="-461586" y="-2004058"/>
                  <a:ext cx="1299167" cy="1173477"/>
                </a:xfrm>
                <a:prstGeom prst="rect">
                  <a:avLst/>
                </a:prstGeom>
                <a:solidFill>
                  <a:srgbClr val="FFFFFF">
                    <a:alpha val="0"/>
                  </a:srgbClr>
                </a:solid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gradFill>
                      <a:gsLst>
                        <a:gs pos="50000">
                          <a:schemeClr val="tx1"/>
                        </a:gs>
                        <a:gs pos="100000">
                          <a:schemeClr val="tx1"/>
                        </a:gs>
                      </a:gsLst>
                      <a:lin ang="5400000" scaled="0"/>
                    </a:gradFill>
                  </a:endParaRPr>
                </a:p>
              </p:txBody>
            </p:sp>
            <p:grpSp>
              <p:nvGrpSpPr>
                <p:cNvPr id="282" name="Desktop icon"/>
                <p:cNvGrpSpPr/>
                <p:nvPr/>
              </p:nvGrpSpPr>
              <p:grpSpPr>
                <a:xfrm>
                  <a:off x="-263824" y="-1779142"/>
                  <a:ext cx="925600" cy="689850"/>
                  <a:chOff x="197640" y="197080"/>
                  <a:chExt cx="801161" cy="447947"/>
                </a:xfrm>
                <a:solidFill>
                  <a:schemeClr val="bg2"/>
                </a:solidFill>
              </p:grpSpPr>
              <p:sp>
                <p:nvSpPr>
                  <p:cNvPr id="283" name="Freeform 282"/>
                  <p:cNvSpPr>
                    <a:spLocks noEditPoints="1"/>
                  </p:cNvSpPr>
                  <p:nvPr/>
                </p:nvSpPr>
                <p:spPr bwMode="auto">
                  <a:xfrm>
                    <a:off x="197640" y="197080"/>
                    <a:ext cx="222075" cy="44794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solidFill>
                      <a:schemeClr val="tx1"/>
                    </a:solidFill>
                  </a:ln>
                  <a:extLst/>
                </p:spPr>
                <p:txBody>
                  <a:bodyPr vert="horz" wrap="square" lIns="91440" tIns="45720" rIns="91440" bIns="45720" numCol="1" anchor="t" anchorCtr="0" compatLnSpc="1">
                    <a:prstTxWarp prst="textNoShape">
                      <a:avLst/>
                    </a:prstTxWarp>
                  </a:bodyPr>
                  <a:lstStyle/>
                  <a:p>
                    <a:endParaRPr lang="en-US" dirty="0">
                      <a:gradFill>
                        <a:gsLst>
                          <a:gs pos="50000">
                            <a:schemeClr val="tx1"/>
                          </a:gs>
                          <a:gs pos="100000">
                            <a:schemeClr val="tx1"/>
                          </a:gs>
                        </a:gsLst>
                        <a:lin ang="5400000" scaled="0"/>
                      </a:gradFill>
                    </a:endParaRPr>
                  </a:p>
                </p:txBody>
              </p:sp>
              <p:sp>
                <p:nvSpPr>
                  <p:cNvPr id="284" name="Freeform 94"/>
                  <p:cNvSpPr>
                    <a:spLocks noEditPoints="1"/>
                  </p:cNvSpPr>
                  <p:nvPr/>
                </p:nvSpPr>
                <p:spPr bwMode="auto">
                  <a:xfrm>
                    <a:off x="547056" y="288190"/>
                    <a:ext cx="451745" cy="356837"/>
                  </a:xfrm>
                  <a:custGeom>
                    <a:avLst/>
                    <a:gdLst/>
                    <a:ahLst/>
                    <a:cxnLst>
                      <a:cxn ang="0">
                        <a:pos x="523" y="4"/>
                      </a:cxn>
                      <a:cxn ang="0">
                        <a:pos x="19" y="3"/>
                      </a:cxn>
                      <a:cxn ang="0">
                        <a:pos x="2" y="21"/>
                      </a:cxn>
                      <a:cxn ang="0">
                        <a:pos x="6" y="382"/>
                      </a:cxn>
                      <a:cxn ang="0">
                        <a:pos x="23" y="399"/>
                      </a:cxn>
                      <a:cxn ang="0">
                        <a:pos x="185" y="403"/>
                      </a:cxn>
                      <a:cxn ang="0">
                        <a:pos x="186" y="428"/>
                      </a:cxn>
                      <a:cxn ang="0">
                        <a:pos x="367" y="427"/>
                      </a:cxn>
                      <a:cxn ang="0">
                        <a:pos x="367" y="403"/>
                      </a:cxn>
                      <a:cxn ang="0">
                        <a:pos x="520" y="399"/>
                      </a:cxn>
                      <a:cxn ang="0">
                        <a:pos x="537" y="381"/>
                      </a:cxn>
                      <a:cxn ang="0">
                        <a:pos x="540" y="21"/>
                      </a:cxn>
                      <a:cxn ang="0">
                        <a:pos x="523" y="4"/>
                      </a:cxn>
                      <a:cxn ang="0">
                        <a:pos x="508" y="356"/>
                      </a:cxn>
                      <a:cxn ang="0">
                        <a:pos x="494" y="371"/>
                      </a:cxn>
                      <a:cxn ang="0">
                        <a:pos x="49" y="371"/>
                      </a:cxn>
                      <a:cxn ang="0">
                        <a:pos x="35" y="357"/>
                      </a:cxn>
                      <a:cxn ang="0">
                        <a:pos x="32" y="48"/>
                      </a:cxn>
                      <a:cxn ang="0">
                        <a:pos x="47" y="33"/>
                      </a:cxn>
                      <a:cxn ang="0">
                        <a:pos x="496" y="33"/>
                      </a:cxn>
                      <a:cxn ang="0">
                        <a:pos x="511" y="48"/>
                      </a:cxn>
                      <a:cxn ang="0">
                        <a:pos x="508" y="356"/>
                      </a:cxn>
                    </a:cxnLst>
                    <a:rect l="0" t="0" r="r" b="b"/>
                    <a:pathLst>
                      <a:path w="543" h="428">
                        <a:moveTo>
                          <a:pt x="523" y="4"/>
                        </a:moveTo>
                        <a:cubicBezTo>
                          <a:pt x="357" y="0"/>
                          <a:pt x="186" y="0"/>
                          <a:pt x="19" y="3"/>
                        </a:cubicBezTo>
                        <a:cubicBezTo>
                          <a:pt x="10" y="4"/>
                          <a:pt x="3" y="11"/>
                          <a:pt x="2" y="21"/>
                        </a:cubicBezTo>
                        <a:cubicBezTo>
                          <a:pt x="0" y="142"/>
                          <a:pt x="1" y="264"/>
                          <a:pt x="6" y="382"/>
                        </a:cubicBezTo>
                        <a:cubicBezTo>
                          <a:pt x="6" y="391"/>
                          <a:pt x="14" y="399"/>
                          <a:pt x="23" y="399"/>
                        </a:cubicBezTo>
                        <a:cubicBezTo>
                          <a:pt x="76" y="401"/>
                          <a:pt x="130" y="402"/>
                          <a:pt x="185" y="403"/>
                        </a:cubicBezTo>
                        <a:cubicBezTo>
                          <a:pt x="185" y="411"/>
                          <a:pt x="186" y="419"/>
                          <a:pt x="186" y="428"/>
                        </a:cubicBezTo>
                        <a:cubicBezTo>
                          <a:pt x="246" y="428"/>
                          <a:pt x="307" y="428"/>
                          <a:pt x="367" y="427"/>
                        </a:cubicBezTo>
                        <a:cubicBezTo>
                          <a:pt x="367" y="419"/>
                          <a:pt x="367" y="411"/>
                          <a:pt x="367" y="403"/>
                        </a:cubicBezTo>
                        <a:cubicBezTo>
                          <a:pt x="419" y="402"/>
                          <a:pt x="470" y="401"/>
                          <a:pt x="520" y="399"/>
                        </a:cubicBezTo>
                        <a:cubicBezTo>
                          <a:pt x="529" y="398"/>
                          <a:pt x="537" y="391"/>
                          <a:pt x="537" y="381"/>
                        </a:cubicBezTo>
                        <a:cubicBezTo>
                          <a:pt x="542" y="263"/>
                          <a:pt x="543" y="142"/>
                          <a:pt x="540" y="21"/>
                        </a:cubicBezTo>
                        <a:cubicBezTo>
                          <a:pt x="540" y="12"/>
                          <a:pt x="533" y="4"/>
                          <a:pt x="523" y="4"/>
                        </a:cubicBezTo>
                        <a:close/>
                        <a:moveTo>
                          <a:pt x="508" y="356"/>
                        </a:moveTo>
                        <a:cubicBezTo>
                          <a:pt x="508" y="364"/>
                          <a:pt x="501" y="371"/>
                          <a:pt x="494" y="371"/>
                        </a:cubicBezTo>
                        <a:cubicBezTo>
                          <a:pt x="347" y="376"/>
                          <a:pt x="197" y="376"/>
                          <a:pt x="49" y="371"/>
                        </a:cubicBezTo>
                        <a:cubicBezTo>
                          <a:pt x="41" y="371"/>
                          <a:pt x="35" y="365"/>
                          <a:pt x="35" y="357"/>
                        </a:cubicBezTo>
                        <a:cubicBezTo>
                          <a:pt x="32" y="255"/>
                          <a:pt x="31" y="151"/>
                          <a:pt x="32" y="48"/>
                        </a:cubicBezTo>
                        <a:cubicBezTo>
                          <a:pt x="32" y="39"/>
                          <a:pt x="39" y="33"/>
                          <a:pt x="47" y="33"/>
                        </a:cubicBezTo>
                        <a:cubicBezTo>
                          <a:pt x="196" y="30"/>
                          <a:pt x="348" y="30"/>
                          <a:pt x="496" y="33"/>
                        </a:cubicBezTo>
                        <a:cubicBezTo>
                          <a:pt x="504" y="33"/>
                          <a:pt x="511" y="40"/>
                          <a:pt x="511" y="48"/>
                        </a:cubicBezTo>
                        <a:cubicBezTo>
                          <a:pt x="512" y="151"/>
                          <a:pt x="511" y="255"/>
                          <a:pt x="508" y="356"/>
                        </a:cubicBezTo>
                        <a:close/>
                      </a:path>
                    </a:pathLst>
                  </a:custGeom>
                  <a:solidFill>
                    <a:srgbClr val="FFFFFF"/>
                  </a:solidFill>
                  <a:ln>
                    <a:solidFill>
                      <a:schemeClr val="tx1"/>
                    </a:solidFill>
                  </a:ln>
                  <a:extLst/>
                </p:spPr>
                <p:txBody>
                  <a:bodyPr vert="horz" wrap="square" lIns="91440" tIns="45720" rIns="91440" bIns="45720" numCol="1" anchor="t" anchorCtr="0" compatLnSpc="1">
                    <a:prstTxWarp prst="textNoShape">
                      <a:avLst/>
                    </a:prstTxWarp>
                  </a:bodyPr>
                  <a:lstStyle/>
                  <a:p>
                    <a:endParaRPr lang="en-US" dirty="0">
                      <a:gradFill>
                        <a:gsLst>
                          <a:gs pos="50000">
                            <a:schemeClr val="tx1"/>
                          </a:gs>
                          <a:gs pos="100000">
                            <a:schemeClr val="tx1"/>
                          </a:gs>
                        </a:gsLst>
                        <a:lin ang="5400000" scaled="0"/>
                      </a:gradFill>
                    </a:endParaRPr>
                  </a:p>
                </p:txBody>
              </p:sp>
            </p:grpSp>
          </p:grpSp>
          <p:sp>
            <p:nvSpPr>
              <p:cNvPr id="270" name="Oval 269"/>
              <p:cNvSpPr/>
              <p:nvPr/>
            </p:nvSpPr>
            <p:spPr>
              <a:xfrm>
                <a:off x="4962096" y="8175988"/>
                <a:ext cx="1213501" cy="1138560"/>
              </a:xfrm>
              <a:prstGeom prst="ellipse">
                <a:avLst/>
              </a:prstGeom>
              <a:no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gradFill>
                    <a:gsLst>
                      <a:gs pos="50000">
                        <a:schemeClr val="tx1"/>
                      </a:gs>
                      <a:gs pos="100000">
                        <a:schemeClr val="tx1"/>
                      </a:gs>
                    </a:gsLst>
                    <a:lin ang="5400000" scaled="0"/>
                  </a:gradFill>
                </a:endParaRPr>
              </a:p>
            </p:txBody>
          </p:sp>
          <p:grpSp>
            <p:nvGrpSpPr>
              <p:cNvPr id="271" name="Group 105"/>
              <p:cNvGrpSpPr/>
              <p:nvPr/>
            </p:nvGrpSpPr>
            <p:grpSpPr>
              <a:xfrm>
                <a:off x="5383551" y="8851259"/>
                <a:ext cx="373855" cy="307225"/>
                <a:chOff x="-318133" y="-2004058"/>
                <a:chExt cx="1299169" cy="1173477"/>
              </a:xfrm>
            </p:grpSpPr>
            <p:sp>
              <p:nvSpPr>
                <p:cNvPr id="277" name="Rectangle 276"/>
                <p:cNvSpPr/>
                <p:nvPr/>
              </p:nvSpPr>
              <p:spPr>
                <a:xfrm>
                  <a:off x="-318133" y="-2004058"/>
                  <a:ext cx="1299169" cy="1173477"/>
                </a:xfrm>
                <a:prstGeom prst="rect">
                  <a:avLst/>
                </a:prstGeom>
                <a:solidFill>
                  <a:srgbClr val="FFFFFF">
                    <a:alpha val="0"/>
                  </a:srgbClr>
                </a:solid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gradFill>
                      <a:gsLst>
                        <a:gs pos="50000">
                          <a:schemeClr val="tx1"/>
                        </a:gs>
                        <a:gs pos="100000">
                          <a:schemeClr val="tx1"/>
                        </a:gs>
                      </a:gsLst>
                      <a:lin ang="5400000" scaled="0"/>
                    </a:gradFill>
                  </a:endParaRPr>
                </a:p>
              </p:txBody>
            </p:sp>
            <p:grpSp>
              <p:nvGrpSpPr>
                <p:cNvPr id="278" name="Desktop icon"/>
                <p:cNvGrpSpPr/>
                <p:nvPr/>
              </p:nvGrpSpPr>
              <p:grpSpPr>
                <a:xfrm>
                  <a:off x="-50944" y="-1779142"/>
                  <a:ext cx="826721" cy="689850"/>
                  <a:chOff x="381901" y="197080"/>
                  <a:chExt cx="715576" cy="447947"/>
                </a:xfrm>
                <a:solidFill>
                  <a:schemeClr val="bg2"/>
                </a:solidFill>
              </p:grpSpPr>
              <p:sp>
                <p:nvSpPr>
                  <p:cNvPr id="279" name="Freeform 278"/>
                  <p:cNvSpPr>
                    <a:spLocks noEditPoints="1"/>
                  </p:cNvSpPr>
                  <p:nvPr/>
                </p:nvSpPr>
                <p:spPr bwMode="auto">
                  <a:xfrm>
                    <a:off x="381901" y="197080"/>
                    <a:ext cx="222074" cy="44794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extLst/>
                </p:spPr>
                <p:txBody>
                  <a:bodyPr vert="horz" wrap="square" lIns="91440" tIns="45720" rIns="91440" bIns="45720" numCol="1" anchor="t" anchorCtr="0" compatLnSpc="1">
                    <a:prstTxWarp prst="textNoShape">
                      <a:avLst/>
                    </a:prstTxWarp>
                  </a:bodyPr>
                  <a:lstStyle/>
                  <a:p>
                    <a:endParaRPr lang="en-US" dirty="0">
                      <a:gradFill>
                        <a:gsLst>
                          <a:gs pos="50000">
                            <a:schemeClr val="tx1"/>
                          </a:gs>
                          <a:gs pos="100000">
                            <a:schemeClr val="tx1"/>
                          </a:gs>
                        </a:gsLst>
                        <a:lin ang="5400000" scaled="0"/>
                      </a:gradFill>
                    </a:endParaRPr>
                  </a:p>
                </p:txBody>
              </p:sp>
              <p:sp>
                <p:nvSpPr>
                  <p:cNvPr id="280" name="Freeform 94"/>
                  <p:cNvSpPr>
                    <a:spLocks noEditPoints="1"/>
                  </p:cNvSpPr>
                  <p:nvPr/>
                </p:nvSpPr>
                <p:spPr bwMode="auto">
                  <a:xfrm>
                    <a:off x="645734" y="288188"/>
                    <a:ext cx="451743" cy="356839"/>
                  </a:xfrm>
                  <a:custGeom>
                    <a:avLst/>
                    <a:gdLst/>
                    <a:ahLst/>
                    <a:cxnLst>
                      <a:cxn ang="0">
                        <a:pos x="523" y="4"/>
                      </a:cxn>
                      <a:cxn ang="0">
                        <a:pos x="19" y="3"/>
                      </a:cxn>
                      <a:cxn ang="0">
                        <a:pos x="2" y="21"/>
                      </a:cxn>
                      <a:cxn ang="0">
                        <a:pos x="6" y="382"/>
                      </a:cxn>
                      <a:cxn ang="0">
                        <a:pos x="23" y="399"/>
                      </a:cxn>
                      <a:cxn ang="0">
                        <a:pos x="185" y="403"/>
                      </a:cxn>
                      <a:cxn ang="0">
                        <a:pos x="186" y="428"/>
                      </a:cxn>
                      <a:cxn ang="0">
                        <a:pos x="367" y="427"/>
                      </a:cxn>
                      <a:cxn ang="0">
                        <a:pos x="367" y="403"/>
                      </a:cxn>
                      <a:cxn ang="0">
                        <a:pos x="520" y="399"/>
                      </a:cxn>
                      <a:cxn ang="0">
                        <a:pos x="537" y="381"/>
                      </a:cxn>
                      <a:cxn ang="0">
                        <a:pos x="540" y="21"/>
                      </a:cxn>
                      <a:cxn ang="0">
                        <a:pos x="523" y="4"/>
                      </a:cxn>
                      <a:cxn ang="0">
                        <a:pos x="508" y="356"/>
                      </a:cxn>
                      <a:cxn ang="0">
                        <a:pos x="494" y="371"/>
                      </a:cxn>
                      <a:cxn ang="0">
                        <a:pos x="49" y="371"/>
                      </a:cxn>
                      <a:cxn ang="0">
                        <a:pos x="35" y="357"/>
                      </a:cxn>
                      <a:cxn ang="0">
                        <a:pos x="32" y="48"/>
                      </a:cxn>
                      <a:cxn ang="0">
                        <a:pos x="47" y="33"/>
                      </a:cxn>
                      <a:cxn ang="0">
                        <a:pos x="496" y="33"/>
                      </a:cxn>
                      <a:cxn ang="0">
                        <a:pos x="511" y="48"/>
                      </a:cxn>
                      <a:cxn ang="0">
                        <a:pos x="508" y="356"/>
                      </a:cxn>
                    </a:cxnLst>
                    <a:rect l="0" t="0" r="r" b="b"/>
                    <a:pathLst>
                      <a:path w="543" h="428">
                        <a:moveTo>
                          <a:pt x="523" y="4"/>
                        </a:moveTo>
                        <a:cubicBezTo>
                          <a:pt x="357" y="0"/>
                          <a:pt x="186" y="0"/>
                          <a:pt x="19" y="3"/>
                        </a:cubicBezTo>
                        <a:cubicBezTo>
                          <a:pt x="10" y="4"/>
                          <a:pt x="3" y="11"/>
                          <a:pt x="2" y="21"/>
                        </a:cubicBezTo>
                        <a:cubicBezTo>
                          <a:pt x="0" y="142"/>
                          <a:pt x="1" y="264"/>
                          <a:pt x="6" y="382"/>
                        </a:cubicBezTo>
                        <a:cubicBezTo>
                          <a:pt x="6" y="391"/>
                          <a:pt x="14" y="399"/>
                          <a:pt x="23" y="399"/>
                        </a:cubicBezTo>
                        <a:cubicBezTo>
                          <a:pt x="76" y="401"/>
                          <a:pt x="130" y="402"/>
                          <a:pt x="185" y="403"/>
                        </a:cubicBezTo>
                        <a:cubicBezTo>
                          <a:pt x="185" y="411"/>
                          <a:pt x="186" y="419"/>
                          <a:pt x="186" y="428"/>
                        </a:cubicBezTo>
                        <a:cubicBezTo>
                          <a:pt x="246" y="428"/>
                          <a:pt x="307" y="428"/>
                          <a:pt x="367" y="427"/>
                        </a:cubicBezTo>
                        <a:cubicBezTo>
                          <a:pt x="367" y="419"/>
                          <a:pt x="367" y="411"/>
                          <a:pt x="367" y="403"/>
                        </a:cubicBezTo>
                        <a:cubicBezTo>
                          <a:pt x="419" y="402"/>
                          <a:pt x="470" y="401"/>
                          <a:pt x="520" y="399"/>
                        </a:cubicBezTo>
                        <a:cubicBezTo>
                          <a:pt x="529" y="398"/>
                          <a:pt x="537" y="391"/>
                          <a:pt x="537" y="381"/>
                        </a:cubicBezTo>
                        <a:cubicBezTo>
                          <a:pt x="542" y="263"/>
                          <a:pt x="543" y="142"/>
                          <a:pt x="540" y="21"/>
                        </a:cubicBezTo>
                        <a:cubicBezTo>
                          <a:pt x="540" y="12"/>
                          <a:pt x="533" y="4"/>
                          <a:pt x="523" y="4"/>
                        </a:cubicBezTo>
                        <a:close/>
                        <a:moveTo>
                          <a:pt x="508" y="356"/>
                        </a:moveTo>
                        <a:cubicBezTo>
                          <a:pt x="508" y="364"/>
                          <a:pt x="501" y="371"/>
                          <a:pt x="494" y="371"/>
                        </a:cubicBezTo>
                        <a:cubicBezTo>
                          <a:pt x="347" y="376"/>
                          <a:pt x="197" y="376"/>
                          <a:pt x="49" y="371"/>
                        </a:cubicBezTo>
                        <a:cubicBezTo>
                          <a:pt x="41" y="371"/>
                          <a:pt x="35" y="365"/>
                          <a:pt x="35" y="357"/>
                        </a:cubicBezTo>
                        <a:cubicBezTo>
                          <a:pt x="32" y="255"/>
                          <a:pt x="31" y="151"/>
                          <a:pt x="32" y="48"/>
                        </a:cubicBezTo>
                        <a:cubicBezTo>
                          <a:pt x="32" y="39"/>
                          <a:pt x="39" y="33"/>
                          <a:pt x="47" y="33"/>
                        </a:cubicBezTo>
                        <a:cubicBezTo>
                          <a:pt x="196" y="30"/>
                          <a:pt x="348" y="30"/>
                          <a:pt x="496" y="33"/>
                        </a:cubicBezTo>
                        <a:cubicBezTo>
                          <a:pt x="504" y="33"/>
                          <a:pt x="511" y="40"/>
                          <a:pt x="511" y="48"/>
                        </a:cubicBezTo>
                        <a:cubicBezTo>
                          <a:pt x="512" y="151"/>
                          <a:pt x="511" y="255"/>
                          <a:pt x="508" y="356"/>
                        </a:cubicBezTo>
                        <a:close/>
                      </a:path>
                    </a:pathLst>
                  </a:custGeom>
                  <a:solidFill>
                    <a:schemeClr val="tx1"/>
                  </a:solidFill>
                  <a:ln w="12700">
                    <a:solidFill>
                      <a:schemeClr val="tx1"/>
                    </a:solidFill>
                  </a:ln>
                  <a:extLst/>
                </p:spPr>
                <p:txBody>
                  <a:bodyPr vert="horz" wrap="square" lIns="91440" tIns="45720" rIns="91440" bIns="45720" numCol="1" anchor="t" anchorCtr="0" compatLnSpc="1">
                    <a:prstTxWarp prst="textNoShape">
                      <a:avLst/>
                    </a:prstTxWarp>
                  </a:bodyPr>
                  <a:lstStyle/>
                  <a:p>
                    <a:endParaRPr lang="en-US" dirty="0">
                      <a:gradFill>
                        <a:gsLst>
                          <a:gs pos="50000">
                            <a:schemeClr val="tx1"/>
                          </a:gs>
                          <a:gs pos="100000">
                            <a:schemeClr val="tx1"/>
                          </a:gs>
                        </a:gsLst>
                        <a:lin ang="5400000" scaled="0"/>
                      </a:gradFill>
                    </a:endParaRPr>
                  </a:p>
                </p:txBody>
              </p:sp>
            </p:grpSp>
          </p:grpSp>
          <p:grpSp>
            <p:nvGrpSpPr>
              <p:cNvPr id="272" name="Group 105"/>
              <p:cNvGrpSpPr/>
              <p:nvPr/>
            </p:nvGrpSpPr>
            <p:grpSpPr>
              <a:xfrm>
                <a:off x="5605274" y="8457185"/>
                <a:ext cx="373855" cy="307225"/>
                <a:chOff x="-359881" y="-2076943"/>
                <a:chExt cx="1299169" cy="1173477"/>
              </a:xfrm>
            </p:grpSpPr>
            <p:sp>
              <p:nvSpPr>
                <p:cNvPr id="273" name="Rectangle 272"/>
                <p:cNvSpPr/>
                <p:nvPr/>
              </p:nvSpPr>
              <p:spPr>
                <a:xfrm>
                  <a:off x="-359881" y="-2076943"/>
                  <a:ext cx="1299169" cy="1173477"/>
                </a:xfrm>
                <a:prstGeom prst="rect">
                  <a:avLst/>
                </a:prstGeom>
                <a:solidFill>
                  <a:srgbClr val="FFFFFF">
                    <a:alpha val="0"/>
                  </a:srgbClr>
                </a:solid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gradFill>
                      <a:gsLst>
                        <a:gs pos="50000">
                          <a:schemeClr val="tx1"/>
                        </a:gs>
                        <a:gs pos="100000">
                          <a:schemeClr val="tx1"/>
                        </a:gs>
                      </a:gsLst>
                      <a:lin ang="5400000" scaled="0"/>
                    </a:gradFill>
                  </a:endParaRPr>
                </a:p>
              </p:txBody>
            </p:sp>
            <p:grpSp>
              <p:nvGrpSpPr>
                <p:cNvPr id="274" name="Desktop icon"/>
                <p:cNvGrpSpPr/>
                <p:nvPr/>
              </p:nvGrpSpPr>
              <p:grpSpPr>
                <a:xfrm>
                  <a:off x="-92692" y="-1852027"/>
                  <a:ext cx="826717" cy="689852"/>
                  <a:chOff x="345766" y="149753"/>
                  <a:chExt cx="715574" cy="447948"/>
                </a:xfrm>
                <a:solidFill>
                  <a:schemeClr val="bg2"/>
                </a:solidFill>
              </p:grpSpPr>
              <p:sp>
                <p:nvSpPr>
                  <p:cNvPr id="275" name="Freeform 274"/>
                  <p:cNvSpPr>
                    <a:spLocks noEditPoints="1"/>
                  </p:cNvSpPr>
                  <p:nvPr/>
                </p:nvSpPr>
                <p:spPr bwMode="auto">
                  <a:xfrm>
                    <a:off x="345766" y="149753"/>
                    <a:ext cx="222077" cy="44794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solidFill>
                      <a:schemeClr val="tx1"/>
                    </a:solidFill>
                  </a:ln>
                  <a:extLst/>
                </p:spPr>
                <p:txBody>
                  <a:bodyPr vert="horz" wrap="square" lIns="91440" tIns="45720" rIns="91440" bIns="45720" numCol="1" anchor="t" anchorCtr="0" compatLnSpc="1">
                    <a:prstTxWarp prst="textNoShape">
                      <a:avLst/>
                    </a:prstTxWarp>
                  </a:bodyPr>
                  <a:lstStyle/>
                  <a:p>
                    <a:endParaRPr lang="en-US" dirty="0">
                      <a:gradFill>
                        <a:gsLst>
                          <a:gs pos="50000">
                            <a:schemeClr val="tx1"/>
                          </a:gs>
                          <a:gs pos="100000">
                            <a:schemeClr val="tx1"/>
                          </a:gs>
                        </a:gsLst>
                        <a:lin ang="5400000" scaled="0"/>
                      </a:gradFill>
                    </a:endParaRPr>
                  </a:p>
                </p:txBody>
              </p:sp>
              <p:sp>
                <p:nvSpPr>
                  <p:cNvPr id="276" name="Freeform 94"/>
                  <p:cNvSpPr>
                    <a:spLocks noEditPoints="1"/>
                  </p:cNvSpPr>
                  <p:nvPr/>
                </p:nvSpPr>
                <p:spPr bwMode="auto">
                  <a:xfrm>
                    <a:off x="609603" y="240863"/>
                    <a:ext cx="451737" cy="356838"/>
                  </a:xfrm>
                  <a:custGeom>
                    <a:avLst/>
                    <a:gdLst/>
                    <a:ahLst/>
                    <a:cxnLst>
                      <a:cxn ang="0">
                        <a:pos x="523" y="4"/>
                      </a:cxn>
                      <a:cxn ang="0">
                        <a:pos x="19" y="3"/>
                      </a:cxn>
                      <a:cxn ang="0">
                        <a:pos x="2" y="21"/>
                      </a:cxn>
                      <a:cxn ang="0">
                        <a:pos x="6" y="382"/>
                      </a:cxn>
                      <a:cxn ang="0">
                        <a:pos x="23" y="399"/>
                      </a:cxn>
                      <a:cxn ang="0">
                        <a:pos x="185" y="403"/>
                      </a:cxn>
                      <a:cxn ang="0">
                        <a:pos x="186" y="428"/>
                      </a:cxn>
                      <a:cxn ang="0">
                        <a:pos x="367" y="427"/>
                      </a:cxn>
                      <a:cxn ang="0">
                        <a:pos x="367" y="403"/>
                      </a:cxn>
                      <a:cxn ang="0">
                        <a:pos x="520" y="399"/>
                      </a:cxn>
                      <a:cxn ang="0">
                        <a:pos x="537" y="381"/>
                      </a:cxn>
                      <a:cxn ang="0">
                        <a:pos x="540" y="21"/>
                      </a:cxn>
                      <a:cxn ang="0">
                        <a:pos x="523" y="4"/>
                      </a:cxn>
                      <a:cxn ang="0">
                        <a:pos x="508" y="356"/>
                      </a:cxn>
                      <a:cxn ang="0">
                        <a:pos x="494" y="371"/>
                      </a:cxn>
                      <a:cxn ang="0">
                        <a:pos x="49" y="371"/>
                      </a:cxn>
                      <a:cxn ang="0">
                        <a:pos x="35" y="357"/>
                      </a:cxn>
                      <a:cxn ang="0">
                        <a:pos x="32" y="48"/>
                      </a:cxn>
                      <a:cxn ang="0">
                        <a:pos x="47" y="33"/>
                      </a:cxn>
                      <a:cxn ang="0">
                        <a:pos x="496" y="33"/>
                      </a:cxn>
                      <a:cxn ang="0">
                        <a:pos x="511" y="48"/>
                      </a:cxn>
                      <a:cxn ang="0">
                        <a:pos x="508" y="356"/>
                      </a:cxn>
                    </a:cxnLst>
                    <a:rect l="0" t="0" r="r" b="b"/>
                    <a:pathLst>
                      <a:path w="543" h="428">
                        <a:moveTo>
                          <a:pt x="523" y="4"/>
                        </a:moveTo>
                        <a:cubicBezTo>
                          <a:pt x="357" y="0"/>
                          <a:pt x="186" y="0"/>
                          <a:pt x="19" y="3"/>
                        </a:cubicBezTo>
                        <a:cubicBezTo>
                          <a:pt x="10" y="4"/>
                          <a:pt x="3" y="11"/>
                          <a:pt x="2" y="21"/>
                        </a:cubicBezTo>
                        <a:cubicBezTo>
                          <a:pt x="0" y="142"/>
                          <a:pt x="1" y="264"/>
                          <a:pt x="6" y="382"/>
                        </a:cubicBezTo>
                        <a:cubicBezTo>
                          <a:pt x="6" y="391"/>
                          <a:pt x="14" y="399"/>
                          <a:pt x="23" y="399"/>
                        </a:cubicBezTo>
                        <a:cubicBezTo>
                          <a:pt x="76" y="401"/>
                          <a:pt x="130" y="402"/>
                          <a:pt x="185" y="403"/>
                        </a:cubicBezTo>
                        <a:cubicBezTo>
                          <a:pt x="185" y="411"/>
                          <a:pt x="186" y="419"/>
                          <a:pt x="186" y="428"/>
                        </a:cubicBezTo>
                        <a:cubicBezTo>
                          <a:pt x="246" y="428"/>
                          <a:pt x="307" y="428"/>
                          <a:pt x="367" y="427"/>
                        </a:cubicBezTo>
                        <a:cubicBezTo>
                          <a:pt x="367" y="419"/>
                          <a:pt x="367" y="411"/>
                          <a:pt x="367" y="403"/>
                        </a:cubicBezTo>
                        <a:cubicBezTo>
                          <a:pt x="419" y="402"/>
                          <a:pt x="470" y="401"/>
                          <a:pt x="520" y="399"/>
                        </a:cubicBezTo>
                        <a:cubicBezTo>
                          <a:pt x="529" y="398"/>
                          <a:pt x="537" y="391"/>
                          <a:pt x="537" y="381"/>
                        </a:cubicBezTo>
                        <a:cubicBezTo>
                          <a:pt x="542" y="263"/>
                          <a:pt x="543" y="142"/>
                          <a:pt x="540" y="21"/>
                        </a:cubicBezTo>
                        <a:cubicBezTo>
                          <a:pt x="540" y="12"/>
                          <a:pt x="533" y="4"/>
                          <a:pt x="523" y="4"/>
                        </a:cubicBezTo>
                        <a:close/>
                        <a:moveTo>
                          <a:pt x="508" y="356"/>
                        </a:moveTo>
                        <a:cubicBezTo>
                          <a:pt x="508" y="364"/>
                          <a:pt x="501" y="371"/>
                          <a:pt x="494" y="371"/>
                        </a:cubicBezTo>
                        <a:cubicBezTo>
                          <a:pt x="347" y="376"/>
                          <a:pt x="197" y="376"/>
                          <a:pt x="49" y="371"/>
                        </a:cubicBezTo>
                        <a:cubicBezTo>
                          <a:pt x="41" y="371"/>
                          <a:pt x="35" y="365"/>
                          <a:pt x="35" y="357"/>
                        </a:cubicBezTo>
                        <a:cubicBezTo>
                          <a:pt x="32" y="255"/>
                          <a:pt x="31" y="151"/>
                          <a:pt x="32" y="48"/>
                        </a:cubicBezTo>
                        <a:cubicBezTo>
                          <a:pt x="32" y="39"/>
                          <a:pt x="39" y="33"/>
                          <a:pt x="47" y="33"/>
                        </a:cubicBezTo>
                        <a:cubicBezTo>
                          <a:pt x="196" y="30"/>
                          <a:pt x="348" y="30"/>
                          <a:pt x="496" y="33"/>
                        </a:cubicBezTo>
                        <a:cubicBezTo>
                          <a:pt x="504" y="33"/>
                          <a:pt x="511" y="40"/>
                          <a:pt x="511" y="48"/>
                        </a:cubicBezTo>
                        <a:cubicBezTo>
                          <a:pt x="512" y="151"/>
                          <a:pt x="511" y="255"/>
                          <a:pt x="508" y="356"/>
                        </a:cubicBezTo>
                        <a:close/>
                      </a:path>
                    </a:pathLst>
                  </a:custGeom>
                  <a:solidFill>
                    <a:srgbClr val="FFFFFF"/>
                  </a:solidFill>
                  <a:ln>
                    <a:solidFill>
                      <a:schemeClr val="tx1"/>
                    </a:solidFill>
                  </a:ln>
                  <a:extLst/>
                </p:spPr>
                <p:txBody>
                  <a:bodyPr vert="horz" wrap="square" lIns="91440" tIns="45720" rIns="91440" bIns="45720" numCol="1" anchor="t" anchorCtr="0" compatLnSpc="1">
                    <a:prstTxWarp prst="textNoShape">
                      <a:avLst/>
                    </a:prstTxWarp>
                  </a:bodyPr>
                  <a:lstStyle/>
                  <a:p>
                    <a:endParaRPr lang="en-US" dirty="0">
                      <a:gradFill>
                        <a:gsLst>
                          <a:gs pos="50000">
                            <a:schemeClr val="tx1"/>
                          </a:gs>
                          <a:gs pos="100000">
                            <a:schemeClr val="tx1"/>
                          </a:gs>
                        </a:gsLst>
                        <a:lin ang="5400000" scaled="0"/>
                      </a:gradFill>
                    </a:endParaRPr>
                  </a:p>
                </p:txBody>
              </p:sp>
            </p:grpSp>
          </p:grpSp>
          <p:grpSp>
            <p:nvGrpSpPr>
              <p:cNvPr id="231" name="Group 230"/>
              <p:cNvGrpSpPr>
                <a:grpSpLocks noChangeAspect="1"/>
              </p:cNvGrpSpPr>
              <p:nvPr/>
            </p:nvGrpSpPr>
            <p:grpSpPr>
              <a:xfrm>
                <a:off x="4488009" y="8368316"/>
                <a:ext cx="259410" cy="249895"/>
                <a:chOff x="5677562" y="3388801"/>
                <a:chExt cx="839322" cy="808538"/>
              </a:xfrm>
            </p:grpSpPr>
            <p:sp>
              <p:nvSpPr>
                <p:cNvPr id="265" name="Oval 6"/>
                <p:cNvSpPr>
                  <a:spLocks noChangeArrowheads="1"/>
                </p:cNvSpPr>
                <p:nvPr/>
              </p:nvSpPr>
              <p:spPr bwMode="auto">
                <a:xfrm>
                  <a:off x="5882458" y="3388801"/>
                  <a:ext cx="439400" cy="42852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7"/>
                  <a:endParaRPr lang="en-US" dirty="0">
                    <a:gradFill>
                      <a:gsLst>
                        <a:gs pos="50000">
                          <a:schemeClr val="tx1"/>
                        </a:gs>
                        <a:gs pos="100000">
                          <a:schemeClr val="tx1"/>
                        </a:gs>
                      </a:gsLst>
                      <a:lin ang="5400000" scaled="0"/>
                    </a:gradFill>
                  </a:endParaRPr>
                </a:p>
              </p:txBody>
            </p:sp>
            <p:sp>
              <p:nvSpPr>
                <p:cNvPr id="266" name="Freeform 7"/>
                <p:cNvSpPr>
                  <a:spLocks/>
                </p:cNvSpPr>
                <p:nvPr/>
              </p:nvSpPr>
              <p:spPr bwMode="auto">
                <a:xfrm>
                  <a:off x="5677562" y="3848128"/>
                  <a:ext cx="839322" cy="349211"/>
                </a:xfrm>
                <a:custGeom>
                  <a:avLst/>
                  <a:gdLst>
                    <a:gd name="T0" fmla="*/ 688 w 900"/>
                    <a:gd name="T1" fmla="*/ 0 h 384"/>
                    <a:gd name="T2" fmla="*/ 212 w 900"/>
                    <a:gd name="T3" fmla="*/ 0 h 384"/>
                    <a:gd name="T4" fmla="*/ 0 w 900"/>
                    <a:gd name="T5" fmla="*/ 260 h 384"/>
                    <a:gd name="T6" fmla="*/ 0 w 900"/>
                    <a:gd name="T7" fmla="*/ 361 h 384"/>
                    <a:gd name="T8" fmla="*/ 1 w 900"/>
                    <a:gd name="T9" fmla="*/ 384 h 384"/>
                    <a:gd name="T10" fmla="*/ 899 w 900"/>
                    <a:gd name="T11" fmla="*/ 384 h 384"/>
                    <a:gd name="T12" fmla="*/ 900 w 900"/>
                    <a:gd name="T13" fmla="*/ 361 h 384"/>
                    <a:gd name="T14" fmla="*/ 900 w 900"/>
                    <a:gd name="T15" fmla="*/ 260 h 384"/>
                    <a:gd name="T16" fmla="*/ 688 w 900"/>
                    <a:gd name="T17"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0" h="384">
                      <a:moveTo>
                        <a:pt x="688" y="0"/>
                      </a:moveTo>
                      <a:cubicBezTo>
                        <a:pt x="212" y="0"/>
                        <a:pt x="212" y="0"/>
                        <a:pt x="212" y="0"/>
                      </a:cubicBezTo>
                      <a:cubicBezTo>
                        <a:pt x="95" y="0"/>
                        <a:pt x="0" y="117"/>
                        <a:pt x="0" y="260"/>
                      </a:cubicBezTo>
                      <a:cubicBezTo>
                        <a:pt x="0" y="361"/>
                        <a:pt x="0" y="361"/>
                        <a:pt x="0" y="361"/>
                      </a:cubicBezTo>
                      <a:cubicBezTo>
                        <a:pt x="0" y="368"/>
                        <a:pt x="0" y="376"/>
                        <a:pt x="1" y="384"/>
                      </a:cubicBezTo>
                      <a:cubicBezTo>
                        <a:pt x="899" y="384"/>
                        <a:pt x="899" y="384"/>
                        <a:pt x="899" y="384"/>
                      </a:cubicBezTo>
                      <a:cubicBezTo>
                        <a:pt x="900" y="376"/>
                        <a:pt x="900" y="368"/>
                        <a:pt x="900" y="361"/>
                      </a:cubicBezTo>
                      <a:cubicBezTo>
                        <a:pt x="900" y="260"/>
                        <a:pt x="900" y="260"/>
                        <a:pt x="900" y="260"/>
                      </a:cubicBezTo>
                      <a:cubicBezTo>
                        <a:pt x="900" y="117"/>
                        <a:pt x="805" y="0"/>
                        <a:pt x="688"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7"/>
                  <a:endParaRPr lang="en-US" dirty="0">
                    <a:gradFill>
                      <a:gsLst>
                        <a:gs pos="50000">
                          <a:schemeClr val="tx1"/>
                        </a:gs>
                        <a:gs pos="100000">
                          <a:schemeClr val="tx1"/>
                        </a:gs>
                      </a:gsLst>
                      <a:lin ang="5400000" scaled="0"/>
                    </a:gradFill>
                  </a:endParaRPr>
                </a:p>
              </p:txBody>
            </p:sp>
          </p:grpSp>
          <p:grpSp>
            <p:nvGrpSpPr>
              <p:cNvPr id="232" name="Group 231"/>
              <p:cNvGrpSpPr>
                <a:grpSpLocks noChangeAspect="1"/>
              </p:cNvGrpSpPr>
              <p:nvPr/>
            </p:nvGrpSpPr>
            <p:grpSpPr>
              <a:xfrm>
                <a:off x="4488009" y="9006603"/>
                <a:ext cx="259410" cy="249895"/>
                <a:chOff x="5677562" y="3388801"/>
                <a:chExt cx="839322" cy="808538"/>
              </a:xfrm>
            </p:grpSpPr>
            <p:sp>
              <p:nvSpPr>
                <p:cNvPr id="263" name="Oval 6"/>
                <p:cNvSpPr>
                  <a:spLocks noChangeArrowheads="1"/>
                </p:cNvSpPr>
                <p:nvPr/>
              </p:nvSpPr>
              <p:spPr bwMode="auto">
                <a:xfrm>
                  <a:off x="5882458" y="3388801"/>
                  <a:ext cx="439400" cy="42852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7"/>
                  <a:endParaRPr lang="en-US" dirty="0">
                    <a:gradFill>
                      <a:gsLst>
                        <a:gs pos="50000">
                          <a:schemeClr val="tx1"/>
                        </a:gs>
                        <a:gs pos="100000">
                          <a:schemeClr val="tx1"/>
                        </a:gs>
                      </a:gsLst>
                      <a:lin ang="5400000" scaled="0"/>
                    </a:gradFill>
                  </a:endParaRPr>
                </a:p>
              </p:txBody>
            </p:sp>
            <p:sp>
              <p:nvSpPr>
                <p:cNvPr id="264" name="Freeform 7"/>
                <p:cNvSpPr>
                  <a:spLocks/>
                </p:cNvSpPr>
                <p:nvPr/>
              </p:nvSpPr>
              <p:spPr bwMode="auto">
                <a:xfrm>
                  <a:off x="5677562" y="3848128"/>
                  <a:ext cx="839322" cy="349211"/>
                </a:xfrm>
                <a:custGeom>
                  <a:avLst/>
                  <a:gdLst>
                    <a:gd name="T0" fmla="*/ 688 w 900"/>
                    <a:gd name="T1" fmla="*/ 0 h 384"/>
                    <a:gd name="T2" fmla="*/ 212 w 900"/>
                    <a:gd name="T3" fmla="*/ 0 h 384"/>
                    <a:gd name="T4" fmla="*/ 0 w 900"/>
                    <a:gd name="T5" fmla="*/ 260 h 384"/>
                    <a:gd name="T6" fmla="*/ 0 w 900"/>
                    <a:gd name="T7" fmla="*/ 361 h 384"/>
                    <a:gd name="T8" fmla="*/ 1 w 900"/>
                    <a:gd name="T9" fmla="*/ 384 h 384"/>
                    <a:gd name="T10" fmla="*/ 899 w 900"/>
                    <a:gd name="T11" fmla="*/ 384 h 384"/>
                    <a:gd name="T12" fmla="*/ 900 w 900"/>
                    <a:gd name="T13" fmla="*/ 361 h 384"/>
                    <a:gd name="T14" fmla="*/ 900 w 900"/>
                    <a:gd name="T15" fmla="*/ 260 h 384"/>
                    <a:gd name="T16" fmla="*/ 688 w 900"/>
                    <a:gd name="T17"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0" h="384">
                      <a:moveTo>
                        <a:pt x="688" y="0"/>
                      </a:moveTo>
                      <a:cubicBezTo>
                        <a:pt x="212" y="0"/>
                        <a:pt x="212" y="0"/>
                        <a:pt x="212" y="0"/>
                      </a:cubicBezTo>
                      <a:cubicBezTo>
                        <a:pt x="95" y="0"/>
                        <a:pt x="0" y="117"/>
                        <a:pt x="0" y="260"/>
                      </a:cubicBezTo>
                      <a:cubicBezTo>
                        <a:pt x="0" y="361"/>
                        <a:pt x="0" y="361"/>
                        <a:pt x="0" y="361"/>
                      </a:cubicBezTo>
                      <a:cubicBezTo>
                        <a:pt x="0" y="368"/>
                        <a:pt x="0" y="376"/>
                        <a:pt x="1" y="384"/>
                      </a:cubicBezTo>
                      <a:cubicBezTo>
                        <a:pt x="899" y="384"/>
                        <a:pt x="899" y="384"/>
                        <a:pt x="899" y="384"/>
                      </a:cubicBezTo>
                      <a:cubicBezTo>
                        <a:pt x="900" y="376"/>
                        <a:pt x="900" y="368"/>
                        <a:pt x="900" y="361"/>
                      </a:cubicBezTo>
                      <a:cubicBezTo>
                        <a:pt x="900" y="260"/>
                        <a:pt x="900" y="260"/>
                        <a:pt x="900" y="260"/>
                      </a:cubicBezTo>
                      <a:cubicBezTo>
                        <a:pt x="900" y="117"/>
                        <a:pt x="805" y="0"/>
                        <a:pt x="688"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7"/>
                  <a:endParaRPr lang="en-US" dirty="0">
                    <a:gradFill>
                      <a:gsLst>
                        <a:gs pos="50000">
                          <a:schemeClr val="tx1"/>
                        </a:gs>
                        <a:gs pos="100000">
                          <a:schemeClr val="tx1"/>
                        </a:gs>
                      </a:gsLst>
                      <a:lin ang="5400000" scaled="0"/>
                    </a:gradFill>
                  </a:endParaRPr>
                </a:p>
              </p:txBody>
            </p:sp>
          </p:grpSp>
        </p:grpSp>
      </p:grpSp>
      <p:cxnSp>
        <p:nvCxnSpPr>
          <p:cNvPr id="8" name="Straight Arrow Connector 7"/>
          <p:cNvCxnSpPr/>
          <p:nvPr/>
        </p:nvCxnSpPr>
        <p:spPr>
          <a:xfrm>
            <a:off x="2193888" y="4066478"/>
            <a:ext cx="5567474" cy="0"/>
          </a:xfrm>
          <a:prstGeom prst="straightConnector1">
            <a:avLst/>
          </a:prstGeom>
          <a:ln w="12700">
            <a:solidFill>
              <a:schemeClr val="tx1"/>
            </a:solidFill>
            <a:tailEnd type="none"/>
          </a:ln>
        </p:spPr>
        <p:style>
          <a:lnRef idx="1">
            <a:schemeClr val="accent1"/>
          </a:lnRef>
          <a:fillRef idx="0">
            <a:schemeClr val="accent1"/>
          </a:fillRef>
          <a:effectRef idx="0">
            <a:schemeClr val="accent1"/>
          </a:effectRef>
          <a:fontRef idx="minor">
            <a:schemeClr val="tx1"/>
          </a:fontRef>
        </p:style>
      </p:cxnSp>
      <p:grpSp>
        <p:nvGrpSpPr>
          <p:cNvPr id="20" name="Group 19"/>
          <p:cNvGrpSpPr/>
          <p:nvPr/>
        </p:nvGrpSpPr>
        <p:grpSpPr>
          <a:xfrm>
            <a:off x="816755" y="1211693"/>
            <a:ext cx="1787929" cy="276999"/>
            <a:chOff x="9172867" y="1014602"/>
            <a:chExt cx="2324309" cy="369330"/>
          </a:xfrm>
        </p:grpSpPr>
        <p:sp>
          <p:nvSpPr>
            <p:cNvPr id="113" name="Rectangle 112"/>
            <p:cNvSpPr/>
            <p:nvPr/>
          </p:nvSpPr>
          <p:spPr>
            <a:xfrm>
              <a:off x="9172867" y="1075192"/>
              <a:ext cx="218853" cy="217374"/>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8" name="TextBox 17"/>
            <p:cNvSpPr txBox="1"/>
            <p:nvPr/>
          </p:nvSpPr>
          <p:spPr>
            <a:xfrm>
              <a:off x="9381775" y="1014602"/>
              <a:ext cx="2115401" cy="369330"/>
            </a:xfrm>
            <a:prstGeom prst="rect">
              <a:avLst/>
            </a:prstGeom>
            <a:noFill/>
          </p:spPr>
          <p:txBody>
            <a:bodyPr wrap="square" rtlCol="0">
              <a:spAutoFit/>
            </a:bodyPr>
            <a:lstStyle/>
            <a:p>
              <a:r>
                <a:rPr lang="en-US" sz="1200" spc="-45" dirty="0">
                  <a:gradFill>
                    <a:gsLst>
                      <a:gs pos="0">
                        <a:schemeClr val="tx1"/>
                      </a:gs>
                      <a:gs pos="86000">
                        <a:schemeClr val="tx1"/>
                      </a:gs>
                    </a:gsLst>
                    <a:lin ang="5400000" scaled="0"/>
                  </a:gradFill>
                  <a:latin typeface="+mj-lt"/>
                </a:rPr>
                <a:t>Management Costs</a:t>
              </a:r>
            </a:p>
          </p:txBody>
        </p:sp>
      </p:grpSp>
      <p:grpSp>
        <p:nvGrpSpPr>
          <p:cNvPr id="28" name="Group 27"/>
          <p:cNvGrpSpPr/>
          <p:nvPr/>
        </p:nvGrpSpPr>
        <p:grpSpPr>
          <a:xfrm>
            <a:off x="2724577" y="1211694"/>
            <a:ext cx="1467639" cy="584775"/>
            <a:chOff x="9007056" y="1455132"/>
            <a:chExt cx="1907931" cy="779696"/>
          </a:xfrm>
        </p:grpSpPr>
        <p:sp>
          <p:nvSpPr>
            <p:cNvPr id="114" name="Rectangle 113"/>
            <p:cNvSpPr/>
            <p:nvPr/>
          </p:nvSpPr>
          <p:spPr>
            <a:xfrm>
              <a:off x="9007056" y="1517444"/>
              <a:ext cx="218851" cy="213930"/>
            </a:xfrm>
            <a:prstGeom prst="rect">
              <a:avLst/>
            </a:prstGeom>
            <a:solidFill>
              <a:schemeClr val="accent6">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17" name="TextBox 116"/>
            <p:cNvSpPr txBox="1"/>
            <p:nvPr/>
          </p:nvSpPr>
          <p:spPr>
            <a:xfrm>
              <a:off x="9215960" y="1455132"/>
              <a:ext cx="1699027" cy="779696"/>
            </a:xfrm>
            <a:prstGeom prst="rect">
              <a:avLst/>
            </a:prstGeom>
            <a:noFill/>
          </p:spPr>
          <p:txBody>
            <a:bodyPr wrap="square" rtlCol="0">
              <a:spAutoFit/>
            </a:bodyPr>
            <a:lstStyle>
              <a:defPPr>
                <a:defRPr lang="en-US"/>
              </a:defPPr>
              <a:lvl1pPr>
                <a:defRPr sz="1600" spc="-60">
                  <a:gradFill>
                    <a:gsLst>
                      <a:gs pos="0">
                        <a:schemeClr val="tx1"/>
                      </a:gs>
                      <a:gs pos="86000">
                        <a:schemeClr val="tx1"/>
                      </a:gs>
                    </a:gsLst>
                    <a:lin ang="5400000" scaled="0"/>
                  </a:gradFill>
                  <a:latin typeface="+mj-lt"/>
                </a:defRPr>
              </a:lvl1pPr>
            </a:lstStyle>
            <a:p>
              <a:r>
                <a:rPr lang="en-US" dirty="0"/>
                <a:t>Compute Costs</a:t>
              </a:r>
            </a:p>
          </p:txBody>
        </p:sp>
      </p:grpSp>
      <p:grpSp>
        <p:nvGrpSpPr>
          <p:cNvPr id="31" name="Group 30"/>
          <p:cNvGrpSpPr/>
          <p:nvPr/>
        </p:nvGrpSpPr>
        <p:grpSpPr>
          <a:xfrm>
            <a:off x="6499790" y="1211694"/>
            <a:ext cx="1787929" cy="584775"/>
            <a:chOff x="9172867" y="1966599"/>
            <a:chExt cx="2324309" cy="779696"/>
          </a:xfrm>
        </p:grpSpPr>
        <p:sp>
          <p:nvSpPr>
            <p:cNvPr id="115" name="Rectangle 114"/>
            <p:cNvSpPr/>
            <p:nvPr/>
          </p:nvSpPr>
          <p:spPr>
            <a:xfrm>
              <a:off x="9172867" y="2021615"/>
              <a:ext cx="218854" cy="228522"/>
            </a:xfrm>
            <a:prstGeom prst="rect">
              <a:avLst/>
            </a:prstGeom>
            <a:solidFill>
              <a:schemeClr val="accent4"/>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18" name="TextBox 117"/>
            <p:cNvSpPr txBox="1"/>
            <p:nvPr/>
          </p:nvSpPr>
          <p:spPr>
            <a:xfrm>
              <a:off x="9381772" y="1966599"/>
              <a:ext cx="2115404" cy="779696"/>
            </a:xfrm>
            <a:prstGeom prst="rect">
              <a:avLst/>
            </a:prstGeom>
            <a:noFill/>
          </p:spPr>
          <p:txBody>
            <a:bodyPr wrap="square" rtlCol="0">
              <a:spAutoFit/>
            </a:bodyPr>
            <a:lstStyle>
              <a:defPPr>
                <a:defRPr lang="en-US"/>
              </a:defPPr>
              <a:lvl1pPr>
                <a:defRPr sz="1600" spc="-60">
                  <a:gradFill>
                    <a:gsLst>
                      <a:gs pos="0">
                        <a:schemeClr val="tx1"/>
                      </a:gs>
                      <a:gs pos="86000">
                        <a:schemeClr val="tx1"/>
                      </a:gs>
                    </a:gsLst>
                    <a:lin ang="5400000" scaled="0"/>
                  </a:gradFill>
                  <a:latin typeface="+mj-lt"/>
                </a:defRPr>
              </a:lvl1pPr>
            </a:lstStyle>
            <a:p>
              <a:r>
                <a:rPr lang="en-US" dirty="0"/>
                <a:t>DAS Storage Costs </a:t>
              </a:r>
            </a:p>
          </p:txBody>
        </p:sp>
      </p:grpSp>
      <p:sp>
        <p:nvSpPr>
          <p:cNvPr id="116" name="Rectangle 115"/>
          <p:cNvSpPr/>
          <p:nvPr/>
        </p:nvSpPr>
        <p:spPr>
          <a:xfrm>
            <a:off x="4408449" y="1255837"/>
            <a:ext cx="153044" cy="16563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endParaRPr lang="en-US" sz="900"/>
          </a:p>
        </p:txBody>
      </p:sp>
      <p:sp>
        <p:nvSpPr>
          <p:cNvPr id="119" name="TextBox 118"/>
          <p:cNvSpPr txBox="1"/>
          <p:nvPr/>
        </p:nvSpPr>
        <p:spPr>
          <a:xfrm>
            <a:off x="4542102" y="1211692"/>
            <a:ext cx="1627234" cy="561700"/>
          </a:xfrm>
          <a:prstGeom prst="rect">
            <a:avLst/>
          </a:prstGeom>
          <a:noFill/>
        </p:spPr>
        <p:txBody>
          <a:bodyPr wrap="square" lIns="68586" tIns="34294" rIns="68586" bIns="34294" rtlCol="0">
            <a:spAutoFit/>
          </a:bodyPr>
          <a:lstStyle>
            <a:defPPr>
              <a:defRPr lang="en-US"/>
            </a:defPPr>
            <a:lvl1pPr>
              <a:defRPr sz="1600" spc="-60">
                <a:gradFill>
                  <a:gsLst>
                    <a:gs pos="0">
                      <a:schemeClr val="tx1"/>
                    </a:gs>
                    <a:gs pos="86000">
                      <a:schemeClr val="tx1"/>
                    </a:gs>
                  </a:gsLst>
                  <a:lin ang="5400000" scaled="0"/>
                </a:gradFill>
                <a:latin typeface="+mj-lt"/>
              </a:defRPr>
            </a:lvl1pPr>
          </a:lstStyle>
          <a:p>
            <a:r>
              <a:rPr lang="en-US" dirty="0"/>
              <a:t>SAN Storage Costs</a:t>
            </a:r>
          </a:p>
        </p:txBody>
      </p:sp>
      <p:cxnSp>
        <p:nvCxnSpPr>
          <p:cNvPr id="128" name="Straight Arrow Connector 127"/>
          <p:cNvCxnSpPr/>
          <p:nvPr/>
        </p:nvCxnSpPr>
        <p:spPr>
          <a:xfrm flipV="1">
            <a:off x="2193886" y="1771651"/>
            <a:ext cx="0" cy="2294828"/>
          </a:xfrm>
          <a:prstGeom prst="straightConnector1">
            <a:avLst/>
          </a:prstGeom>
          <a:ln w="127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131" name="TextBox 130"/>
          <p:cNvSpPr txBox="1"/>
          <p:nvPr/>
        </p:nvSpPr>
        <p:spPr>
          <a:xfrm>
            <a:off x="6913041" y="2012644"/>
            <a:ext cx="2174987" cy="536684"/>
          </a:xfrm>
          <a:prstGeom prst="rect">
            <a:avLst/>
          </a:prstGeom>
          <a:noFill/>
        </p:spPr>
        <p:txBody>
          <a:bodyPr wrap="square" lIns="68586" tIns="34294" rIns="68586" bIns="34294" rtlCol="0">
            <a:spAutoFit/>
          </a:bodyPr>
          <a:lstStyle/>
          <a:p>
            <a:pPr>
              <a:lnSpc>
                <a:spcPct val="90000"/>
              </a:lnSpc>
            </a:pPr>
            <a:r>
              <a:rPr lang="en-US" sz="1100" dirty="0">
                <a:gradFill>
                  <a:gsLst>
                    <a:gs pos="0">
                      <a:schemeClr val="tx1"/>
                    </a:gs>
                    <a:gs pos="86000">
                      <a:schemeClr val="tx1"/>
                    </a:gs>
                  </a:gsLst>
                  <a:lin ang="5400000" scaled="0"/>
                </a:gradFill>
              </a:rPr>
              <a:t>Each Image = </a:t>
            </a:r>
            <a:r>
              <a:rPr lang="en-US" sz="1100" dirty="0" err="1">
                <a:gradFill>
                  <a:gsLst>
                    <a:gs pos="0">
                      <a:schemeClr val="tx1"/>
                    </a:gs>
                    <a:gs pos="86000">
                      <a:schemeClr val="tx1"/>
                    </a:gs>
                  </a:gsLst>
                  <a:lin ang="5400000" scaled="0"/>
                </a:gradFill>
              </a:rPr>
              <a:t>OS+App+User</a:t>
            </a:r>
            <a:r>
              <a:rPr lang="en-US" sz="1100" dirty="0">
                <a:gradFill>
                  <a:gsLst>
                    <a:gs pos="0">
                      <a:schemeClr val="tx1"/>
                    </a:gs>
                    <a:gs pos="86000">
                      <a:schemeClr val="tx1"/>
                    </a:gs>
                  </a:gsLst>
                  <a:lin ang="5400000" scaled="0"/>
                </a:gradFill>
              </a:rPr>
              <a:t> Data</a:t>
            </a:r>
          </a:p>
          <a:p>
            <a:pPr>
              <a:lnSpc>
                <a:spcPct val="90000"/>
              </a:lnSpc>
            </a:pPr>
            <a:r>
              <a:rPr lang="en-US" sz="1100" dirty="0">
                <a:gradFill>
                  <a:gsLst>
                    <a:gs pos="0">
                      <a:schemeClr val="tx1"/>
                    </a:gs>
                    <a:gs pos="86000">
                      <a:schemeClr val="tx1"/>
                    </a:gs>
                  </a:gsLst>
                  <a:lin ang="5400000" scaled="0"/>
                </a:gradFill>
              </a:rPr>
              <a:t>Each user has a personal image</a:t>
            </a:r>
          </a:p>
        </p:txBody>
      </p:sp>
      <p:sp>
        <p:nvSpPr>
          <p:cNvPr id="134" name="TextBox 133"/>
          <p:cNvSpPr txBox="1"/>
          <p:nvPr/>
        </p:nvSpPr>
        <p:spPr>
          <a:xfrm>
            <a:off x="7333443" y="4041164"/>
            <a:ext cx="814023" cy="315479"/>
          </a:xfrm>
          <a:prstGeom prst="rect">
            <a:avLst/>
          </a:prstGeom>
          <a:noFill/>
        </p:spPr>
        <p:txBody>
          <a:bodyPr wrap="square" lIns="68586" tIns="34294" rIns="68586" bIns="34294" rtlCol="0">
            <a:spAutoFit/>
          </a:bodyPr>
          <a:lstStyle>
            <a:defPPr>
              <a:defRPr lang="en-US"/>
            </a:defPPr>
            <a:lvl1pPr>
              <a:defRPr sz="1600" spc="-60">
                <a:gradFill>
                  <a:gsLst>
                    <a:gs pos="0">
                      <a:schemeClr val="tx1"/>
                    </a:gs>
                    <a:gs pos="86000">
                      <a:schemeClr val="tx1"/>
                    </a:gs>
                  </a:gsLst>
                  <a:lin ang="5400000" scaled="0"/>
                </a:gradFill>
                <a:latin typeface="+mj-lt"/>
              </a:defRPr>
            </a:lvl1pPr>
          </a:lstStyle>
          <a:p>
            <a:r>
              <a:rPr lang="en-US" dirty="0">
                <a:latin typeface="+mn-lt"/>
              </a:rPr>
              <a:t>Costs</a:t>
            </a:r>
          </a:p>
        </p:txBody>
      </p:sp>
      <p:grpSp>
        <p:nvGrpSpPr>
          <p:cNvPr id="3" name="Group 2"/>
          <p:cNvGrpSpPr/>
          <p:nvPr/>
        </p:nvGrpSpPr>
        <p:grpSpPr>
          <a:xfrm>
            <a:off x="6982157" y="2007890"/>
            <a:ext cx="1648550" cy="397032"/>
            <a:chOff x="8792306" y="1998598"/>
            <a:chExt cx="2143115" cy="529376"/>
          </a:xfrm>
        </p:grpSpPr>
        <p:sp>
          <p:nvSpPr>
            <p:cNvPr id="109" name="TextBox 108"/>
            <p:cNvSpPr txBox="1"/>
            <p:nvPr/>
          </p:nvSpPr>
          <p:spPr>
            <a:xfrm>
              <a:off x="8792306" y="1998598"/>
              <a:ext cx="2143115" cy="529376"/>
            </a:xfrm>
            <a:prstGeom prst="rect">
              <a:avLst/>
            </a:prstGeom>
            <a:noFill/>
          </p:spPr>
          <p:txBody>
            <a:bodyPr wrap="square" rtlCol="0">
              <a:spAutoFit/>
            </a:bodyPr>
            <a:lstStyle/>
            <a:p>
              <a:pPr>
                <a:lnSpc>
                  <a:spcPct val="90000"/>
                </a:lnSpc>
              </a:pPr>
              <a:r>
                <a:rPr lang="en-US" sz="1100" dirty="0">
                  <a:gradFill>
                    <a:gsLst>
                      <a:gs pos="0">
                        <a:schemeClr val="tx1"/>
                      </a:gs>
                      <a:gs pos="86000">
                        <a:schemeClr val="tx1"/>
                      </a:gs>
                    </a:gsLst>
                    <a:lin ang="5400000" scaled="0"/>
                  </a:gradFill>
                </a:rPr>
                <a:t>With </a:t>
              </a:r>
              <a:r>
                <a:rPr lang="en-US" sz="1100" dirty="0" err="1">
                  <a:gradFill>
                    <a:gsLst>
                      <a:gs pos="0">
                        <a:schemeClr val="tx1"/>
                      </a:gs>
                      <a:gs pos="86000">
                        <a:schemeClr val="tx1"/>
                      </a:gs>
                    </a:gsLst>
                    <a:lin ang="5400000" scaled="0"/>
                  </a:gradFill>
                </a:rPr>
                <a:t>App-V</a:t>
              </a:r>
              <a:r>
                <a:rPr lang="en-US" sz="1100" dirty="0">
                  <a:gradFill>
                    <a:gsLst>
                      <a:gs pos="0">
                        <a:schemeClr val="tx1"/>
                      </a:gs>
                      <a:gs pos="86000">
                        <a:schemeClr val="tx1"/>
                      </a:gs>
                    </a:gsLst>
                    <a:lin ang="5400000" scaled="0"/>
                  </a:gradFill>
                </a:rPr>
                <a:t>, </a:t>
              </a:r>
              <a:br>
                <a:rPr lang="en-US" sz="1100" dirty="0">
                  <a:gradFill>
                    <a:gsLst>
                      <a:gs pos="0">
                        <a:schemeClr val="tx1"/>
                      </a:gs>
                      <a:gs pos="86000">
                        <a:schemeClr val="tx1"/>
                      </a:gs>
                    </a:gsLst>
                    <a:lin ang="5400000" scaled="0"/>
                  </a:gradFill>
                </a:rPr>
              </a:br>
              <a:r>
                <a:rPr lang="en-US" sz="1100" dirty="0">
                  <a:gradFill>
                    <a:gsLst>
                      <a:gs pos="0">
                        <a:schemeClr val="tx1"/>
                      </a:gs>
                      <a:gs pos="86000">
                        <a:schemeClr val="tx1"/>
                      </a:gs>
                    </a:gsLst>
                    <a:lin ang="5400000" scaled="0"/>
                  </a:gradFill>
                </a:rPr>
                <a:t>Storage for apps</a:t>
              </a:r>
            </a:p>
          </p:txBody>
        </p:sp>
        <p:sp>
          <p:nvSpPr>
            <p:cNvPr id="129" name="Freeform 8"/>
            <p:cNvSpPr>
              <a:spLocks noEditPoints="1"/>
            </p:cNvSpPr>
            <p:nvPr/>
          </p:nvSpPr>
          <p:spPr bwMode="black">
            <a:xfrm rot="10800000">
              <a:off x="10418229" y="2048950"/>
              <a:ext cx="393700" cy="392112"/>
            </a:xfrm>
            <a:custGeom>
              <a:avLst/>
              <a:gdLst>
                <a:gd name="T0" fmla="*/ 68 w 150"/>
                <a:gd name="T1" fmla="*/ 61 h 149"/>
                <a:gd name="T2" fmla="*/ 46 w 150"/>
                <a:gd name="T3" fmla="*/ 84 h 149"/>
                <a:gd name="T4" fmla="*/ 46 w 150"/>
                <a:gd name="T5" fmla="*/ 65 h 149"/>
                <a:gd name="T6" fmla="*/ 75 w 150"/>
                <a:gd name="T7" fmla="*/ 34 h 149"/>
                <a:gd name="T8" fmla="*/ 104 w 150"/>
                <a:gd name="T9" fmla="*/ 65 h 149"/>
                <a:gd name="T10" fmla="*/ 104 w 150"/>
                <a:gd name="T11" fmla="*/ 84 h 149"/>
                <a:gd name="T12" fmla="*/ 82 w 150"/>
                <a:gd name="T13" fmla="*/ 61 h 149"/>
                <a:gd name="T14" fmla="*/ 82 w 150"/>
                <a:gd name="T15" fmla="*/ 113 h 149"/>
                <a:gd name="T16" fmla="*/ 68 w 150"/>
                <a:gd name="T17" fmla="*/ 113 h 149"/>
                <a:gd name="T18" fmla="*/ 68 w 150"/>
                <a:gd name="T19" fmla="*/ 61 h 149"/>
                <a:gd name="T20" fmla="*/ 10 w 150"/>
                <a:gd name="T21" fmla="*/ 75 h 149"/>
                <a:gd name="T22" fmla="*/ 75 w 150"/>
                <a:gd name="T23" fmla="*/ 9 h 149"/>
                <a:gd name="T24" fmla="*/ 140 w 150"/>
                <a:gd name="T25" fmla="*/ 75 h 149"/>
                <a:gd name="T26" fmla="*/ 75 w 150"/>
                <a:gd name="T27" fmla="*/ 140 h 149"/>
                <a:gd name="T28" fmla="*/ 10 w 150"/>
                <a:gd name="T29" fmla="*/ 75 h 149"/>
                <a:gd name="T30" fmla="*/ 0 w 150"/>
                <a:gd name="T31" fmla="*/ 75 h 149"/>
                <a:gd name="T32" fmla="*/ 75 w 150"/>
                <a:gd name="T33" fmla="*/ 149 h 149"/>
                <a:gd name="T34" fmla="*/ 150 w 150"/>
                <a:gd name="T35" fmla="*/ 75 h 149"/>
                <a:gd name="T36" fmla="*/ 75 w 150"/>
                <a:gd name="T37" fmla="*/ 0 h 149"/>
                <a:gd name="T38" fmla="*/ 0 w 150"/>
                <a:gd name="T39" fmla="*/ 7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0" h="149">
                  <a:moveTo>
                    <a:pt x="68" y="61"/>
                  </a:moveTo>
                  <a:cubicBezTo>
                    <a:pt x="46" y="84"/>
                    <a:pt x="46" y="84"/>
                    <a:pt x="46" y="84"/>
                  </a:cubicBezTo>
                  <a:cubicBezTo>
                    <a:pt x="46" y="65"/>
                    <a:pt x="46" y="65"/>
                    <a:pt x="46" y="65"/>
                  </a:cubicBezTo>
                  <a:cubicBezTo>
                    <a:pt x="75" y="34"/>
                    <a:pt x="75" y="34"/>
                    <a:pt x="75" y="34"/>
                  </a:cubicBezTo>
                  <a:cubicBezTo>
                    <a:pt x="104" y="65"/>
                    <a:pt x="104" y="65"/>
                    <a:pt x="104" y="65"/>
                  </a:cubicBezTo>
                  <a:cubicBezTo>
                    <a:pt x="104" y="84"/>
                    <a:pt x="104" y="84"/>
                    <a:pt x="104" y="84"/>
                  </a:cubicBezTo>
                  <a:cubicBezTo>
                    <a:pt x="82" y="61"/>
                    <a:pt x="82" y="61"/>
                    <a:pt x="82" y="61"/>
                  </a:cubicBezTo>
                  <a:cubicBezTo>
                    <a:pt x="82" y="113"/>
                    <a:pt x="82" y="113"/>
                    <a:pt x="82" y="113"/>
                  </a:cubicBezTo>
                  <a:cubicBezTo>
                    <a:pt x="68" y="113"/>
                    <a:pt x="68" y="113"/>
                    <a:pt x="68" y="113"/>
                  </a:cubicBezTo>
                  <a:lnTo>
                    <a:pt x="68" y="61"/>
                  </a:lnTo>
                  <a:close/>
                  <a:moveTo>
                    <a:pt x="10" y="75"/>
                  </a:moveTo>
                  <a:cubicBezTo>
                    <a:pt x="10" y="39"/>
                    <a:pt x="39" y="9"/>
                    <a:pt x="75" y="9"/>
                  </a:cubicBezTo>
                  <a:cubicBezTo>
                    <a:pt x="111" y="9"/>
                    <a:pt x="140" y="39"/>
                    <a:pt x="140" y="75"/>
                  </a:cubicBezTo>
                  <a:cubicBezTo>
                    <a:pt x="140" y="111"/>
                    <a:pt x="111" y="140"/>
                    <a:pt x="75" y="140"/>
                  </a:cubicBezTo>
                  <a:cubicBezTo>
                    <a:pt x="39" y="140"/>
                    <a:pt x="10" y="111"/>
                    <a:pt x="10" y="75"/>
                  </a:cubicBezTo>
                  <a:moveTo>
                    <a:pt x="0" y="75"/>
                  </a:moveTo>
                  <a:cubicBezTo>
                    <a:pt x="0" y="116"/>
                    <a:pt x="34" y="149"/>
                    <a:pt x="75" y="149"/>
                  </a:cubicBezTo>
                  <a:cubicBezTo>
                    <a:pt x="116" y="149"/>
                    <a:pt x="150" y="116"/>
                    <a:pt x="150" y="75"/>
                  </a:cubicBezTo>
                  <a:cubicBezTo>
                    <a:pt x="150" y="33"/>
                    <a:pt x="116" y="0"/>
                    <a:pt x="75" y="0"/>
                  </a:cubicBezTo>
                  <a:cubicBezTo>
                    <a:pt x="34" y="0"/>
                    <a:pt x="0" y="33"/>
                    <a:pt x="0" y="7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30" name="Group 129"/>
          <p:cNvGrpSpPr/>
          <p:nvPr/>
        </p:nvGrpSpPr>
        <p:grpSpPr>
          <a:xfrm>
            <a:off x="5032070" y="2724048"/>
            <a:ext cx="2330617" cy="495007"/>
            <a:chOff x="8769579" y="2132806"/>
            <a:chExt cx="3029802" cy="660009"/>
          </a:xfrm>
        </p:grpSpPr>
        <p:sp>
          <p:nvSpPr>
            <p:cNvPr id="135" name="TextBox 134"/>
            <p:cNvSpPr txBox="1"/>
            <p:nvPr/>
          </p:nvSpPr>
          <p:spPr>
            <a:xfrm>
              <a:off x="8769579" y="2132806"/>
              <a:ext cx="3029802" cy="660009"/>
            </a:xfrm>
            <a:prstGeom prst="rect">
              <a:avLst/>
            </a:prstGeom>
            <a:noFill/>
          </p:spPr>
          <p:txBody>
            <a:bodyPr wrap="square" rtlCol="0">
              <a:spAutoFit/>
            </a:bodyPr>
            <a:lstStyle/>
            <a:p>
              <a:r>
                <a:rPr lang="en-US" sz="1100" dirty="0">
                  <a:gradFill>
                    <a:gsLst>
                      <a:gs pos="0">
                        <a:schemeClr val="tx1"/>
                      </a:gs>
                      <a:gs pos="86000">
                        <a:schemeClr val="tx1"/>
                      </a:gs>
                    </a:gsLst>
                    <a:lin ang="5400000" scaled="0"/>
                  </a:gradFill>
                </a:rPr>
                <a:t>Storage for OS images</a:t>
              </a:r>
            </a:p>
            <a:p>
              <a:pPr>
                <a:lnSpc>
                  <a:spcPts val="450"/>
                </a:lnSpc>
              </a:pPr>
              <a:endParaRPr lang="en-US" sz="1100" dirty="0">
                <a:gradFill>
                  <a:gsLst>
                    <a:gs pos="0">
                      <a:schemeClr val="tx1"/>
                    </a:gs>
                    <a:gs pos="86000">
                      <a:schemeClr val="tx1"/>
                    </a:gs>
                  </a:gsLst>
                  <a:lin ang="5400000" scaled="0"/>
                </a:gradFill>
              </a:endParaRPr>
            </a:p>
            <a:p>
              <a:r>
                <a:rPr lang="en-US" sz="1100" dirty="0">
                  <a:gradFill>
                    <a:gsLst>
                      <a:gs pos="0">
                        <a:schemeClr val="tx1"/>
                      </a:gs>
                      <a:gs pos="86000">
                        <a:schemeClr val="tx1"/>
                      </a:gs>
                    </a:gsLst>
                    <a:lin ang="5400000" scaled="0"/>
                  </a:gradFill>
                </a:rPr>
                <a:t>Images to manage</a:t>
              </a:r>
            </a:p>
          </p:txBody>
        </p:sp>
        <p:sp>
          <p:nvSpPr>
            <p:cNvPr id="137" name="Freeform 8"/>
            <p:cNvSpPr>
              <a:spLocks noEditPoints="1"/>
            </p:cNvSpPr>
            <p:nvPr/>
          </p:nvSpPr>
          <p:spPr bwMode="black">
            <a:xfrm rot="10800000">
              <a:off x="10912333" y="2137678"/>
              <a:ext cx="393700" cy="392112"/>
            </a:xfrm>
            <a:custGeom>
              <a:avLst/>
              <a:gdLst>
                <a:gd name="T0" fmla="*/ 68 w 150"/>
                <a:gd name="T1" fmla="*/ 61 h 149"/>
                <a:gd name="T2" fmla="*/ 46 w 150"/>
                <a:gd name="T3" fmla="*/ 84 h 149"/>
                <a:gd name="T4" fmla="*/ 46 w 150"/>
                <a:gd name="T5" fmla="*/ 65 h 149"/>
                <a:gd name="T6" fmla="*/ 75 w 150"/>
                <a:gd name="T7" fmla="*/ 34 h 149"/>
                <a:gd name="T8" fmla="*/ 104 w 150"/>
                <a:gd name="T9" fmla="*/ 65 h 149"/>
                <a:gd name="T10" fmla="*/ 104 w 150"/>
                <a:gd name="T11" fmla="*/ 84 h 149"/>
                <a:gd name="T12" fmla="*/ 82 w 150"/>
                <a:gd name="T13" fmla="*/ 61 h 149"/>
                <a:gd name="T14" fmla="*/ 82 w 150"/>
                <a:gd name="T15" fmla="*/ 113 h 149"/>
                <a:gd name="T16" fmla="*/ 68 w 150"/>
                <a:gd name="T17" fmla="*/ 113 h 149"/>
                <a:gd name="T18" fmla="*/ 68 w 150"/>
                <a:gd name="T19" fmla="*/ 61 h 149"/>
                <a:gd name="T20" fmla="*/ 10 w 150"/>
                <a:gd name="T21" fmla="*/ 75 h 149"/>
                <a:gd name="T22" fmla="*/ 75 w 150"/>
                <a:gd name="T23" fmla="*/ 9 h 149"/>
                <a:gd name="T24" fmla="*/ 140 w 150"/>
                <a:gd name="T25" fmla="*/ 75 h 149"/>
                <a:gd name="T26" fmla="*/ 75 w 150"/>
                <a:gd name="T27" fmla="*/ 140 h 149"/>
                <a:gd name="T28" fmla="*/ 10 w 150"/>
                <a:gd name="T29" fmla="*/ 75 h 149"/>
                <a:gd name="T30" fmla="*/ 0 w 150"/>
                <a:gd name="T31" fmla="*/ 75 h 149"/>
                <a:gd name="T32" fmla="*/ 75 w 150"/>
                <a:gd name="T33" fmla="*/ 149 h 149"/>
                <a:gd name="T34" fmla="*/ 150 w 150"/>
                <a:gd name="T35" fmla="*/ 75 h 149"/>
                <a:gd name="T36" fmla="*/ 75 w 150"/>
                <a:gd name="T37" fmla="*/ 0 h 149"/>
                <a:gd name="T38" fmla="*/ 0 w 150"/>
                <a:gd name="T39" fmla="*/ 7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0" h="149">
                  <a:moveTo>
                    <a:pt x="68" y="61"/>
                  </a:moveTo>
                  <a:cubicBezTo>
                    <a:pt x="46" y="84"/>
                    <a:pt x="46" y="84"/>
                    <a:pt x="46" y="84"/>
                  </a:cubicBezTo>
                  <a:cubicBezTo>
                    <a:pt x="46" y="65"/>
                    <a:pt x="46" y="65"/>
                    <a:pt x="46" y="65"/>
                  </a:cubicBezTo>
                  <a:cubicBezTo>
                    <a:pt x="75" y="34"/>
                    <a:pt x="75" y="34"/>
                    <a:pt x="75" y="34"/>
                  </a:cubicBezTo>
                  <a:cubicBezTo>
                    <a:pt x="104" y="65"/>
                    <a:pt x="104" y="65"/>
                    <a:pt x="104" y="65"/>
                  </a:cubicBezTo>
                  <a:cubicBezTo>
                    <a:pt x="104" y="84"/>
                    <a:pt x="104" y="84"/>
                    <a:pt x="104" y="84"/>
                  </a:cubicBezTo>
                  <a:cubicBezTo>
                    <a:pt x="82" y="61"/>
                    <a:pt x="82" y="61"/>
                    <a:pt x="82" y="61"/>
                  </a:cubicBezTo>
                  <a:cubicBezTo>
                    <a:pt x="82" y="113"/>
                    <a:pt x="82" y="113"/>
                    <a:pt x="82" y="113"/>
                  </a:cubicBezTo>
                  <a:cubicBezTo>
                    <a:pt x="68" y="113"/>
                    <a:pt x="68" y="113"/>
                    <a:pt x="68" y="113"/>
                  </a:cubicBezTo>
                  <a:lnTo>
                    <a:pt x="68" y="61"/>
                  </a:lnTo>
                  <a:close/>
                  <a:moveTo>
                    <a:pt x="10" y="75"/>
                  </a:moveTo>
                  <a:cubicBezTo>
                    <a:pt x="10" y="39"/>
                    <a:pt x="39" y="9"/>
                    <a:pt x="75" y="9"/>
                  </a:cubicBezTo>
                  <a:cubicBezTo>
                    <a:pt x="111" y="9"/>
                    <a:pt x="140" y="39"/>
                    <a:pt x="140" y="75"/>
                  </a:cubicBezTo>
                  <a:cubicBezTo>
                    <a:pt x="140" y="111"/>
                    <a:pt x="111" y="140"/>
                    <a:pt x="75" y="140"/>
                  </a:cubicBezTo>
                  <a:cubicBezTo>
                    <a:pt x="39" y="140"/>
                    <a:pt x="10" y="111"/>
                    <a:pt x="10" y="75"/>
                  </a:cubicBezTo>
                  <a:moveTo>
                    <a:pt x="0" y="75"/>
                  </a:moveTo>
                  <a:cubicBezTo>
                    <a:pt x="0" y="116"/>
                    <a:pt x="34" y="149"/>
                    <a:pt x="75" y="149"/>
                  </a:cubicBezTo>
                  <a:cubicBezTo>
                    <a:pt x="116" y="149"/>
                    <a:pt x="150" y="116"/>
                    <a:pt x="150" y="75"/>
                  </a:cubicBezTo>
                  <a:cubicBezTo>
                    <a:pt x="150" y="33"/>
                    <a:pt x="116" y="0"/>
                    <a:pt x="75" y="0"/>
                  </a:cubicBezTo>
                  <a:cubicBezTo>
                    <a:pt x="34" y="0"/>
                    <a:pt x="0" y="33"/>
                    <a:pt x="0" y="7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38" name="Group 137"/>
          <p:cNvGrpSpPr/>
          <p:nvPr/>
        </p:nvGrpSpPr>
        <p:grpSpPr>
          <a:xfrm>
            <a:off x="4055525" y="3526534"/>
            <a:ext cx="2330617" cy="397032"/>
            <a:chOff x="8792306" y="2011215"/>
            <a:chExt cx="3029802" cy="529376"/>
          </a:xfrm>
        </p:grpSpPr>
        <p:sp>
          <p:nvSpPr>
            <p:cNvPr id="139" name="TextBox 138"/>
            <p:cNvSpPr txBox="1"/>
            <p:nvPr/>
          </p:nvSpPr>
          <p:spPr>
            <a:xfrm>
              <a:off x="8792306" y="2011215"/>
              <a:ext cx="3029802" cy="529376"/>
            </a:xfrm>
            <a:prstGeom prst="rect">
              <a:avLst/>
            </a:prstGeom>
            <a:noFill/>
          </p:spPr>
          <p:txBody>
            <a:bodyPr wrap="square" rtlCol="0">
              <a:spAutoFit/>
            </a:bodyPr>
            <a:lstStyle/>
            <a:p>
              <a:pPr>
                <a:lnSpc>
                  <a:spcPct val="90000"/>
                </a:lnSpc>
              </a:pPr>
              <a:r>
                <a:rPr lang="en-US" sz="1100" dirty="0">
                  <a:gradFill>
                    <a:gsLst>
                      <a:gs pos="0">
                        <a:schemeClr val="tx1"/>
                      </a:gs>
                      <a:gs pos="86000">
                        <a:schemeClr val="tx1"/>
                      </a:gs>
                    </a:gsLst>
                    <a:lin ang="5400000" scaled="0"/>
                  </a:gradFill>
                </a:rPr>
                <a:t>Server infrastructure</a:t>
              </a:r>
            </a:p>
            <a:p>
              <a:pPr>
                <a:lnSpc>
                  <a:spcPct val="90000"/>
                </a:lnSpc>
              </a:pPr>
              <a:r>
                <a:rPr lang="en-US" sz="1100" dirty="0">
                  <a:gradFill>
                    <a:gsLst>
                      <a:gs pos="0">
                        <a:schemeClr val="tx1"/>
                      </a:gs>
                      <a:gs pos="86000">
                        <a:schemeClr val="tx1"/>
                      </a:gs>
                    </a:gsLst>
                    <a:lin ang="5400000" scaled="0"/>
                  </a:gradFill>
                </a:rPr>
                <a:t>Management effort</a:t>
              </a:r>
            </a:p>
          </p:txBody>
        </p:sp>
        <p:sp>
          <p:nvSpPr>
            <p:cNvPr id="140" name="Freeform 8"/>
            <p:cNvSpPr>
              <a:spLocks noEditPoints="1"/>
            </p:cNvSpPr>
            <p:nvPr/>
          </p:nvSpPr>
          <p:spPr bwMode="black">
            <a:xfrm rot="10800000">
              <a:off x="10836937" y="2052663"/>
              <a:ext cx="393700" cy="392112"/>
            </a:xfrm>
            <a:custGeom>
              <a:avLst/>
              <a:gdLst>
                <a:gd name="T0" fmla="*/ 68 w 150"/>
                <a:gd name="T1" fmla="*/ 61 h 149"/>
                <a:gd name="T2" fmla="*/ 46 w 150"/>
                <a:gd name="T3" fmla="*/ 84 h 149"/>
                <a:gd name="T4" fmla="*/ 46 w 150"/>
                <a:gd name="T5" fmla="*/ 65 h 149"/>
                <a:gd name="T6" fmla="*/ 75 w 150"/>
                <a:gd name="T7" fmla="*/ 34 h 149"/>
                <a:gd name="T8" fmla="*/ 104 w 150"/>
                <a:gd name="T9" fmla="*/ 65 h 149"/>
                <a:gd name="T10" fmla="*/ 104 w 150"/>
                <a:gd name="T11" fmla="*/ 84 h 149"/>
                <a:gd name="T12" fmla="*/ 82 w 150"/>
                <a:gd name="T13" fmla="*/ 61 h 149"/>
                <a:gd name="T14" fmla="*/ 82 w 150"/>
                <a:gd name="T15" fmla="*/ 113 h 149"/>
                <a:gd name="T16" fmla="*/ 68 w 150"/>
                <a:gd name="T17" fmla="*/ 113 h 149"/>
                <a:gd name="T18" fmla="*/ 68 w 150"/>
                <a:gd name="T19" fmla="*/ 61 h 149"/>
                <a:gd name="T20" fmla="*/ 10 w 150"/>
                <a:gd name="T21" fmla="*/ 75 h 149"/>
                <a:gd name="T22" fmla="*/ 75 w 150"/>
                <a:gd name="T23" fmla="*/ 9 h 149"/>
                <a:gd name="T24" fmla="*/ 140 w 150"/>
                <a:gd name="T25" fmla="*/ 75 h 149"/>
                <a:gd name="T26" fmla="*/ 75 w 150"/>
                <a:gd name="T27" fmla="*/ 140 h 149"/>
                <a:gd name="T28" fmla="*/ 10 w 150"/>
                <a:gd name="T29" fmla="*/ 75 h 149"/>
                <a:gd name="T30" fmla="*/ 0 w 150"/>
                <a:gd name="T31" fmla="*/ 75 h 149"/>
                <a:gd name="T32" fmla="*/ 75 w 150"/>
                <a:gd name="T33" fmla="*/ 149 h 149"/>
                <a:gd name="T34" fmla="*/ 150 w 150"/>
                <a:gd name="T35" fmla="*/ 75 h 149"/>
                <a:gd name="T36" fmla="*/ 75 w 150"/>
                <a:gd name="T37" fmla="*/ 0 h 149"/>
                <a:gd name="T38" fmla="*/ 0 w 150"/>
                <a:gd name="T39" fmla="*/ 7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0" h="149">
                  <a:moveTo>
                    <a:pt x="68" y="61"/>
                  </a:moveTo>
                  <a:cubicBezTo>
                    <a:pt x="46" y="84"/>
                    <a:pt x="46" y="84"/>
                    <a:pt x="46" y="84"/>
                  </a:cubicBezTo>
                  <a:cubicBezTo>
                    <a:pt x="46" y="65"/>
                    <a:pt x="46" y="65"/>
                    <a:pt x="46" y="65"/>
                  </a:cubicBezTo>
                  <a:cubicBezTo>
                    <a:pt x="75" y="34"/>
                    <a:pt x="75" y="34"/>
                    <a:pt x="75" y="34"/>
                  </a:cubicBezTo>
                  <a:cubicBezTo>
                    <a:pt x="104" y="65"/>
                    <a:pt x="104" y="65"/>
                    <a:pt x="104" y="65"/>
                  </a:cubicBezTo>
                  <a:cubicBezTo>
                    <a:pt x="104" y="84"/>
                    <a:pt x="104" y="84"/>
                    <a:pt x="104" y="84"/>
                  </a:cubicBezTo>
                  <a:cubicBezTo>
                    <a:pt x="82" y="61"/>
                    <a:pt x="82" y="61"/>
                    <a:pt x="82" y="61"/>
                  </a:cubicBezTo>
                  <a:cubicBezTo>
                    <a:pt x="82" y="113"/>
                    <a:pt x="82" y="113"/>
                    <a:pt x="82" y="113"/>
                  </a:cubicBezTo>
                  <a:cubicBezTo>
                    <a:pt x="68" y="113"/>
                    <a:pt x="68" y="113"/>
                    <a:pt x="68" y="113"/>
                  </a:cubicBezTo>
                  <a:lnTo>
                    <a:pt x="68" y="61"/>
                  </a:lnTo>
                  <a:close/>
                  <a:moveTo>
                    <a:pt x="10" y="75"/>
                  </a:moveTo>
                  <a:cubicBezTo>
                    <a:pt x="10" y="39"/>
                    <a:pt x="39" y="9"/>
                    <a:pt x="75" y="9"/>
                  </a:cubicBezTo>
                  <a:cubicBezTo>
                    <a:pt x="111" y="9"/>
                    <a:pt x="140" y="39"/>
                    <a:pt x="140" y="75"/>
                  </a:cubicBezTo>
                  <a:cubicBezTo>
                    <a:pt x="140" y="111"/>
                    <a:pt x="111" y="140"/>
                    <a:pt x="75" y="140"/>
                  </a:cubicBezTo>
                  <a:cubicBezTo>
                    <a:pt x="39" y="140"/>
                    <a:pt x="10" y="111"/>
                    <a:pt x="10" y="75"/>
                  </a:cubicBezTo>
                  <a:moveTo>
                    <a:pt x="0" y="75"/>
                  </a:moveTo>
                  <a:cubicBezTo>
                    <a:pt x="0" y="116"/>
                    <a:pt x="34" y="149"/>
                    <a:pt x="75" y="149"/>
                  </a:cubicBezTo>
                  <a:cubicBezTo>
                    <a:pt x="116" y="149"/>
                    <a:pt x="150" y="116"/>
                    <a:pt x="150" y="75"/>
                  </a:cubicBezTo>
                  <a:cubicBezTo>
                    <a:pt x="150" y="33"/>
                    <a:pt x="116" y="0"/>
                    <a:pt x="75" y="0"/>
                  </a:cubicBezTo>
                  <a:cubicBezTo>
                    <a:pt x="34" y="0"/>
                    <a:pt x="0" y="33"/>
                    <a:pt x="0" y="7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37" name="TextBox 336"/>
          <p:cNvSpPr txBox="1"/>
          <p:nvPr/>
        </p:nvSpPr>
        <p:spPr>
          <a:xfrm>
            <a:off x="389437" y="2180528"/>
            <a:ext cx="902225" cy="225060"/>
          </a:xfrm>
          <a:prstGeom prst="rect">
            <a:avLst/>
          </a:prstGeom>
          <a:solidFill>
            <a:schemeClr val="accent3"/>
          </a:solidFill>
        </p:spPr>
        <p:txBody>
          <a:bodyPr wrap="square" lIns="68586" tIns="34294" rIns="68586" bIns="34294" rtlCol="0">
            <a:spAutoFit/>
          </a:bodyPr>
          <a:lstStyle/>
          <a:p>
            <a:pPr marL="0" lvl="1" algn="ctr" fontAlgn="base">
              <a:lnSpc>
                <a:spcPct val="90000"/>
              </a:lnSpc>
              <a:spcBef>
                <a:spcPts val="150"/>
              </a:spcBef>
              <a:spcAft>
                <a:spcPts val="300"/>
              </a:spcAft>
              <a:buClr>
                <a:srgbClr val="FFFFFF"/>
              </a:buClr>
              <a:buSzPct val="90000"/>
              <a:tabLst>
                <a:tab pos="472722" algn="l"/>
              </a:tabLst>
              <a:defRPr/>
            </a:pPr>
            <a:endParaRPr lang="en-US" sz="1100" b="1" spc="-38" dirty="0">
              <a:gradFill>
                <a:gsLst>
                  <a:gs pos="50000">
                    <a:schemeClr val="tx1"/>
                  </a:gs>
                  <a:gs pos="100000">
                    <a:schemeClr val="tx1"/>
                  </a:gs>
                </a:gsLst>
                <a:lin ang="5400000" scaled="0"/>
              </a:gradFill>
            </a:endParaRPr>
          </a:p>
        </p:txBody>
      </p:sp>
      <p:sp>
        <p:nvSpPr>
          <p:cNvPr id="141" name="Freeform 8"/>
          <p:cNvSpPr>
            <a:spLocks noEditPoints="1"/>
          </p:cNvSpPr>
          <p:nvPr/>
        </p:nvSpPr>
        <p:spPr bwMode="black">
          <a:xfrm rot="10800000">
            <a:off x="4898130" y="2839072"/>
            <a:ext cx="302846" cy="294084"/>
          </a:xfrm>
          <a:custGeom>
            <a:avLst/>
            <a:gdLst>
              <a:gd name="T0" fmla="*/ 68 w 150"/>
              <a:gd name="T1" fmla="*/ 61 h 149"/>
              <a:gd name="T2" fmla="*/ 46 w 150"/>
              <a:gd name="T3" fmla="*/ 84 h 149"/>
              <a:gd name="T4" fmla="*/ 46 w 150"/>
              <a:gd name="T5" fmla="*/ 65 h 149"/>
              <a:gd name="T6" fmla="*/ 75 w 150"/>
              <a:gd name="T7" fmla="*/ 34 h 149"/>
              <a:gd name="T8" fmla="*/ 104 w 150"/>
              <a:gd name="T9" fmla="*/ 65 h 149"/>
              <a:gd name="T10" fmla="*/ 104 w 150"/>
              <a:gd name="T11" fmla="*/ 84 h 149"/>
              <a:gd name="T12" fmla="*/ 82 w 150"/>
              <a:gd name="T13" fmla="*/ 61 h 149"/>
              <a:gd name="T14" fmla="*/ 82 w 150"/>
              <a:gd name="T15" fmla="*/ 113 h 149"/>
              <a:gd name="T16" fmla="*/ 68 w 150"/>
              <a:gd name="T17" fmla="*/ 113 h 149"/>
              <a:gd name="T18" fmla="*/ 68 w 150"/>
              <a:gd name="T19" fmla="*/ 61 h 149"/>
              <a:gd name="T20" fmla="*/ 10 w 150"/>
              <a:gd name="T21" fmla="*/ 75 h 149"/>
              <a:gd name="T22" fmla="*/ 75 w 150"/>
              <a:gd name="T23" fmla="*/ 9 h 149"/>
              <a:gd name="T24" fmla="*/ 140 w 150"/>
              <a:gd name="T25" fmla="*/ 75 h 149"/>
              <a:gd name="T26" fmla="*/ 75 w 150"/>
              <a:gd name="T27" fmla="*/ 140 h 149"/>
              <a:gd name="T28" fmla="*/ 10 w 150"/>
              <a:gd name="T29" fmla="*/ 75 h 149"/>
              <a:gd name="T30" fmla="*/ 0 w 150"/>
              <a:gd name="T31" fmla="*/ 75 h 149"/>
              <a:gd name="T32" fmla="*/ 75 w 150"/>
              <a:gd name="T33" fmla="*/ 149 h 149"/>
              <a:gd name="T34" fmla="*/ 150 w 150"/>
              <a:gd name="T35" fmla="*/ 75 h 149"/>
              <a:gd name="T36" fmla="*/ 75 w 150"/>
              <a:gd name="T37" fmla="*/ 0 h 149"/>
              <a:gd name="T38" fmla="*/ 0 w 150"/>
              <a:gd name="T39" fmla="*/ 7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0" h="149">
                <a:moveTo>
                  <a:pt x="68" y="61"/>
                </a:moveTo>
                <a:cubicBezTo>
                  <a:pt x="46" y="84"/>
                  <a:pt x="46" y="84"/>
                  <a:pt x="46" y="84"/>
                </a:cubicBezTo>
                <a:cubicBezTo>
                  <a:pt x="46" y="65"/>
                  <a:pt x="46" y="65"/>
                  <a:pt x="46" y="65"/>
                </a:cubicBezTo>
                <a:cubicBezTo>
                  <a:pt x="75" y="34"/>
                  <a:pt x="75" y="34"/>
                  <a:pt x="75" y="34"/>
                </a:cubicBezTo>
                <a:cubicBezTo>
                  <a:pt x="104" y="65"/>
                  <a:pt x="104" y="65"/>
                  <a:pt x="104" y="65"/>
                </a:cubicBezTo>
                <a:cubicBezTo>
                  <a:pt x="104" y="84"/>
                  <a:pt x="104" y="84"/>
                  <a:pt x="104" y="84"/>
                </a:cubicBezTo>
                <a:cubicBezTo>
                  <a:pt x="82" y="61"/>
                  <a:pt x="82" y="61"/>
                  <a:pt x="82" y="61"/>
                </a:cubicBezTo>
                <a:cubicBezTo>
                  <a:pt x="82" y="113"/>
                  <a:pt x="82" y="113"/>
                  <a:pt x="82" y="113"/>
                </a:cubicBezTo>
                <a:cubicBezTo>
                  <a:pt x="68" y="113"/>
                  <a:pt x="68" y="113"/>
                  <a:pt x="68" y="113"/>
                </a:cubicBezTo>
                <a:lnTo>
                  <a:pt x="68" y="61"/>
                </a:lnTo>
                <a:close/>
                <a:moveTo>
                  <a:pt x="10" y="75"/>
                </a:moveTo>
                <a:cubicBezTo>
                  <a:pt x="10" y="39"/>
                  <a:pt x="39" y="9"/>
                  <a:pt x="75" y="9"/>
                </a:cubicBezTo>
                <a:cubicBezTo>
                  <a:pt x="111" y="9"/>
                  <a:pt x="140" y="39"/>
                  <a:pt x="140" y="75"/>
                </a:cubicBezTo>
                <a:cubicBezTo>
                  <a:pt x="140" y="111"/>
                  <a:pt x="111" y="140"/>
                  <a:pt x="75" y="140"/>
                </a:cubicBezTo>
                <a:cubicBezTo>
                  <a:pt x="39" y="140"/>
                  <a:pt x="10" y="111"/>
                  <a:pt x="10" y="75"/>
                </a:cubicBezTo>
                <a:moveTo>
                  <a:pt x="0" y="75"/>
                </a:moveTo>
                <a:cubicBezTo>
                  <a:pt x="0" y="116"/>
                  <a:pt x="34" y="149"/>
                  <a:pt x="75" y="149"/>
                </a:cubicBezTo>
                <a:cubicBezTo>
                  <a:pt x="116" y="149"/>
                  <a:pt x="150" y="116"/>
                  <a:pt x="150" y="75"/>
                </a:cubicBezTo>
                <a:cubicBezTo>
                  <a:pt x="150" y="33"/>
                  <a:pt x="116" y="0"/>
                  <a:pt x="75" y="0"/>
                </a:cubicBezTo>
                <a:cubicBezTo>
                  <a:pt x="34" y="0"/>
                  <a:pt x="0" y="33"/>
                  <a:pt x="0" y="7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6" tIns="34294" rIns="68586" bIns="34294" numCol="1" anchor="t" anchorCtr="0" compatLnSpc="1">
            <a:prstTxWarp prst="textNoShape">
              <a:avLst/>
            </a:prstTxWarp>
          </a:bodyPr>
          <a:lstStyle/>
          <a:p>
            <a:endParaRPr lang="en-US"/>
          </a:p>
        </p:txBody>
      </p:sp>
      <p:sp>
        <p:nvSpPr>
          <p:cNvPr id="143" name="TextBox 142"/>
          <p:cNvSpPr txBox="1"/>
          <p:nvPr/>
        </p:nvSpPr>
        <p:spPr>
          <a:xfrm>
            <a:off x="508431" y="2172797"/>
            <a:ext cx="757133" cy="225060"/>
          </a:xfrm>
          <a:prstGeom prst="rect">
            <a:avLst/>
          </a:prstGeom>
          <a:noFill/>
        </p:spPr>
        <p:txBody>
          <a:bodyPr wrap="square" lIns="68586" tIns="34294" rIns="68586" bIns="34294" rtlCol="0">
            <a:spAutoFit/>
          </a:bodyPr>
          <a:lstStyle/>
          <a:p>
            <a:pPr marL="0" lvl="1" algn="ctr" fontAlgn="base">
              <a:lnSpc>
                <a:spcPct val="90000"/>
              </a:lnSpc>
              <a:spcBef>
                <a:spcPts val="150"/>
              </a:spcBef>
              <a:spcAft>
                <a:spcPts val="300"/>
              </a:spcAft>
              <a:buClr>
                <a:srgbClr val="FFFFFF"/>
              </a:buClr>
              <a:buSzPct val="90000"/>
              <a:tabLst>
                <a:tab pos="472722" algn="l"/>
              </a:tabLst>
              <a:defRPr/>
            </a:pPr>
            <a:r>
              <a:rPr lang="en-US" sz="1100" b="1" spc="-38" dirty="0">
                <a:gradFill>
                  <a:gsLst>
                    <a:gs pos="50000">
                      <a:schemeClr val="tx1"/>
                    </a:gs>
                    <a:gs pos="100000">
                      <a:schemeClr val="tx1"/>
                    </a:gs>
                  </a:gsLst>
                  <a:lin ang="5400000" scaled="0"/>
                </a:gradFill>
              </a:rPr>
              <a:t>+ App-V</a:t>
            </a:r>
          </a:p>
        </p:txBody>
      </p:sp>
      <p:sp useBgFill="1">
        <p:nvSpPr>
          <p:cNvPr id="5" name="Rectangle 4"/>
          <p:cNvSpPr/>
          <p:nvPr/>
        </p:nvSpPr>
        <p:spPr bwMode="auto">
          <a:xfrm>
            <a:off x="1" y="1683330"/>
            <a:ext cx="389435" cy="2611751"/>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useBgFill="1">
        <p:nvSpPr>
          <p:cNvPr id="136" name="TextBox 135"/>
          <p:cNvSpPr txBox="1"/>
          <p:nvPr/>
        </p:nvSpPr>
        <p:spPr>
          <a:xfrm>
            <a:off x="5244968" y="2671568"/>
            <a:ext cx="4176947" cy="588621"/>
          </a:xfrm>
          <a:prstGeom prst="rect">
            <a:avLst/>
          </a:prstGeom>
        </p:spPr>
        <p:txBody>
          <a:bodyPr wrap="square" lIns="68586" tIns="34294" rIns="68586" bIns="34294" rtlCol="0">
            <a:spAutoFit/>
          </a:bodyPr>
          <a:lstStyle/>
          <a:p>
            <a:r>
              <a:rPr lang="en-US" sz="1100" dirty="0">
                <a:gradFill>
                  <a:gsLst>
                    <a:gs pos="0">
                      <a:schemeClr val="tx1"/>
                    </a:gs>
                    <a:gs pos="86000">
                      <a:schemeClr val="tx1"/>
                    </a:gs>
                  </a:gsLst>
                  <a:lin ang="5400000" scaled="0"/>
                </a:gradFill>
              </a:rPr>
              <a:t>Reduce costs across all deployment types </a:t>
            </a:r>
            <a:br>
              <a:rPr lang="en-US" sz="1100" dirty="0">
                <a:gradFill>
                  <a:gsLst>
                    <a:gs pos="0">
                      <a:schemeClr val="tx1"/>
                    </a:gs>
                    <a:gs pos="86000">
                      <a:schemeClr val="tx1"/>
                    </a:gs>
                  </a:gsLst>
                  <a:lin ang="5400000" scaled="0"/>
                </a:gradFill>
              </a:rPr>
            </a:br>
            <a:r>
              <a:rPr lang="en-US" sz="1100" dirty="0">
                <a:gradFill>
                  <a:gsLst>
                    <a:gs pos="0">
                      <a:schemeClr val="tx1"/>
                    </a:gs>
                    <a:gs pos="86000">
                      <a:schemeClr val="tx1"/>
                    </a:gs>
                  </a:gsLst>
                  <a:lin ang="5400000" scaled="0"/>
                </a:gradFill>
              </a:rPr>
              <a:t>using Windows 8 and DAS   </a:t>
            </a:r>
          </a:p>
          <a:p>
            <a:r>
              <a:rPr lang="en-US" sz="1100" dirty="0">
                <a:gradFill>
                  <a:gsLst>
                    <a:gs pos="0">
                      <a:schemeClr val="tx1"/>
                    </a:gs>
                    <a:gs pos="86000">
                      <a:schemeClr val="tx1"/>
                    </a:gs>
                  </a:gsLst>
                  <a:lin ang="5400000" scaled="0"/>
                </a:gradFill>
              </a:rPr>
              <a:t>(DAS is ~25% the cost of SAN)</a:t>
            </a:r>
          </a:p>
        </p:txBody>
      </p:sp>
      <p:sp>
        <p:nvSpPr>
          <p:cNvPr id="112" name="Rectangle 111"/>
          <p:cNvSpPr/>
          <p:nvPr/>
        </p:nvSpPr>
        <p:spPr>
          <a:xfrm>
            <a:off x="4734471" y="1828803"/>
            <a:ext cx="430374" cy="715979"/>
          </a:xfrm>
          <a:prstGeom prst="rect">
            <a:avLst/>
          </a:prstGeom>
          <a:solidFill>
            <a:schemeClr val="accent4">
              <a:alpha val="9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endParaRPr lang="en-US"/>
          </a:p>
        </p:txBody>
      </p:sp>
      <p:sp>
        <p:nvSpPr>
          <p:cNvPr id="127" name="Rectangle 126"/>
          <p:cNvSpPr/>
          <p:nvPr/>
        </p:nvSpPr>
        <p:spPr>
          <a:xfrm>
            <a:off x="3190599" y="3323531"/>
            <a:ext cx="229269" cy="715979"/>
          </a:xfrm>
          <a:prstGeom prst="rect">
            <a:avLst/>
          </a:prstGeom>
          <a:solidFill>
            <a:schemeClr val="accent4">
              <a:alpha val="9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endParaRPr lang="en-US"/>
          </a:p>
        </p:txBody>
      </p:sp>
      <p:sp>
        <p:nvSpPr>
          <p:cNvPr id="123" name="Rectangle 122"/>
          <p:cNvSpPr/>
          <p:nvPr/>
        </p:nvSpPr>
        <p:spPr>
          <a:xfrm>
            <a:off x="4186863" y="2580581"/>
            <a:ext cx="229269" cy="715979"/>
          </a:xfrm>
          <a:prstGeom prst="rect">
            <a:avLst/>
          </a:prstGeom>
          <a:solidFill>
            <a:schemeClr val="accent4">
              <a:alpha val="9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endParaRPr lang="en-US"/>
          </a:p>
        </p:txBody>
      </p:sp>
      <p:sp>
        <p:nvSpPr>
          <p:cNvPr id="2" name="Title 1"/>
          <p:cNvSpPr>
            <a:spLocks noGrp="1"/>
          </p:cNvSpPr>
          <p:nvPr>
            <p:ph type="title"/>
          </p:nvPr>
        </p:nvSpPr>
        <p:spPr>
          <a:xfrm>
            <a:off x="389436" y="171451"/>
            <a:ext cx="8363938" cy="457049"/>
          </a:xfrm>
        </p:spPr>
        <p:txBody>
          <a:bodyPr/>
          <a:lstStyle/>
          <a:p>
            <a:r>
              <a:rPr lang="en-US" dirty="0" smtClean="0"/>
              <a:t>Comparing and Reducing VDI Costs</a:t>
            </a:r>
            <a:endParaRPr lang="en-US" dirty="0"/>
          </a:p>
        </p:txBody>
      </p:sp>
      <p:sp>
        <p:nvSpPr>
          <p:cNvPr id="132"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33"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pic>
        <p:nvPicPr>
          <p:cNvPr id="144"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891064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par>
                          <p:cTn id="8" fill="hold">
                            <p:stCondLst>
                              <p:cond delay="500"/>
                            </p:stCondLst>
                            <p:childTnLst>
                              <p:par>
                                <p:cTn id="9" presetID="2" presetClass="entr" presetSubtype="8" decel="100000" fill="hold" grpId="0" nodeType="afterEffect">
                                  <p:stCondLst>
                                    <p:cond delay="0"/>
                                  </p:stCondLst>
                                  <p:childTnLst>
                                    <p:set>
                                      <p:cBhvr>
                                        <p:cTn id="10" dur="1" fill="hold">
                                          <p:stCondLst>
                                            <p:cond delay="0"/>
                                          </p:stCondLst>
                                        </p:cTn>
                                        <p:tgtEl>
                                          <p:spTgt spid="110"/>
                                        </p:tgtEl>
                                        <p:attrNameLst>
                                          <p:attrName>style.visibility</p:attrName>
                                        </p:attrNameLst>
                                      </p:cBhvr>
                                      <p:to>
                                        <p:strVal val="visible"/>
                                      </p:to>
                                    </p:set>
                                    <p:anim calcmode="lin" valueType="num">
                                      <p:cBhvr additive="base">
                                        <p:cTn id="11" dur="500" fill="hold"/>
                                        <p:tgtEl>
                                          <p:spTgt spid="110"/>
                                        </p:tgtEl>
                                        <p:attrNameLst>
                                          <p:attrName>ppt_x</p:attrName>
                                        </p:attrNameLst>
                                      </p:cBhvr>
                                      <p:tavLst>
                                        <p:tav tm="0">
                                          <p:val>
                                            <p:strVal val="0-#ppt_w/2"/>
                                          </p:val>
                                        </p:tav>
                                        <p:tav tm="100000">
                                          <p:val>
                                            <p:strVal val="#ppt_x"/>
                                          </p:val>
                                        </p:tav>
                                      </p:tavLst>
                                    </p:anim>
                                    <p:anim calcmode="lin" valueType="num">
                                      <p:cBhvr additive="base">
                                        <p:cTn id="12" dur="500" fill="hold"/>
                                        <p:tgtEl>
                                          <p:spTgt spid="110"/>
                                        </p:tgtEl>
                                        <p:attrNameLst>
                                          <p:attrName>ppt_y</p:attrName>
                                        </p:attrNameLst>
                                      </p:cBhvr>
                                      <p:tavLst>
                                        <p:tav tm="0">
                                          <p:val>
                                            <p:strVal val="#ppt_y"/>
                                          </p:val>
                                        </p:tav>
                                        <p:tav tm="100000">
                                          <p:val>
                                            <p:strVal val="#ppt_y"/>
                                          </p:val>
                                        </p:tav>
                                      </p:tavLst>
                                    </p:anim>
                                  </p:childTnLst>
                                </p:cTn>
                              </p:par>
                            </p:childTnLst>
                          </p:cTn>
                        </p:par>
                        <p:par>
                          <p:cTn id="13" fill="hold">
                            <p:stCondLst>
                              <p:cond delay="1000"/>
                            </p:stCondLst>
                            <p:childTnLst>
                              <p:par>
                                <p:cTn id="14" presetID="2" presetClass="entr" presetSubtype="8" decel="100000" fill="hold" grpId="0" nodeType="afterEffect">
                                  <p:stCondLst>
                                    <p:cond delay="0"/>
                                  </p:stCondLst>
                                  <p:childTnLst>
                                    <p:set>
                                      <p:cBhvr>
                                        <p:cTn id="15" dur="1" fill="hold">
                                          <p:stCondLst>
                                            <p:cond delay="0"/>
                                          </p:stCondLst>
                                        </p:cTn>
                                        <p:tgtEl>
                                          <p:spTgt spid="111"/>
                                        </p:tgtEl>
                                        <p:attrNameLst>
                                          <p:attrName>style.visibility</p:attrName>
                                        </p:attrNameLst>
                                      </p:cBhvr>
                                      <p:to>
                                        <p:strVal val="visible"/>
                                      </p:to>
                                    </p:set>
                                    <p:anim calcmode="lin" valueType="num">
                                      <p:cBhvr additive="base">
                                        <p:cTn id="16" dur="500" fill="hold"/>
                                        <p:tgtEl>
                                          <p:spTgt spid="111"/>
                                        </p:tgtEl>
                                        <p:attrNameLst>
                                          <p:attrName>ppt_x</p:attrName>
                                        </p:attrNameLst>
                                      </p:cBhvr>
                                      <p:tavLst>
                                        <p:tav tm="0">
                                          <p:val>
                                            <p:strVal val="0-#ppt_w/2"/>
                                          </p:val>
                                        </p:tav>
                                        <p:tav tm="100000">
                                          <p:val>
                                            <p:strVal val="#ppt_x"/>
                                          </p:val>
                                        </p:tav>
                                      </p:tavLst>
                                    </p:anim>
                                    <p:anim calcmode="lin" valueType="num">
                                      <p:cBhvr additive="base">
                                        <p:cTn id="17" dur="500" fill="hold"/>
                                        <p:tgtEl>
                                          <p:spTgt spid="111"/>
                                        </p:tgtEl>
                                        <p:attrNameLst>
                                          <p:attrName>ppt_y</p:attrName>
                                        </p:attrNameLst>
                                      </p:cBhvr>
                                      <p:tavLst>
                                        <p:tav tm="0">
                                          <p:val>
                                            <p:strVal val="#ppt_y"/>
                                          </p:val>
                                        </p:tav>
                                        <p:tav tm="100000">
                                          <p:val>
                                            <p:strVal val="#ppt_y"/>
                                          </p:val>
                                        </p:tav>
                                      </p:tavLst>
                                    </p:anim>
                                  </p:childTnLst>
                                </p:cTn>
                              </p:par>
                            </p:childTnLst>
                          </p:cTn>
                        </p:par>
                        <p:par>
                          <p:cTn id="18" fill="hold">
                            <p:stCondLst>
                              <p:cond delay="1500"/>
                            </p:stCondLst>
                            <p:childTnLst>
                              <p:par>
                                <p:cTn id="19" presetID="2" presetClass="entr" presetSubtype="8" decel="100000" fill="hold" grpId="0" nodeType="afterEffect">
                                  <p:stCondLst>
                                    <p:cond delay="0"/>
                                  </p:stCondLst>
                                  <p:childTnLst>
                                    <p:set>
                                      <p:cBhvr>
                                        <p:cTn id="20" dur="1" fill="hold">
                                          <p:stCondLst>
                                            <p:cond delay="0"/>
                                          </p:stCondLst>
                                        </p:cTn>
                                        <p:tgtEl>
                                          <p:spTgt spid="17"/>
                                        </p:tgtEl>
                                        <p:attrNameLst>
                                          <p:attrName>style.visibility</p:attrName>
                                        </p:attrNameLst>
                                      </p:cBhvr>
                                      <p:to>
                                        <p:strVal val="visible"/>
                                      </p:to>
                                    </p:set>
                                    <p:anim calcmode="lin" valueType="num">
                                      <p:cBhvr additive="base">
                                        <p:cTn id="21" dur="500" fill="hold"/>
                                        <p:tgtEl>
                                          <p:spTgt spid="17"/>
                                        </p:tgtEl>
                                        <p:attrNameLst>
                                          <p:attrName>ppt_x</p:attrName>
                                        </p:attrNameLst>
                                      </p:cBhvr>
                                      <p:tavLst>
                                        <p:tav tm="0">
                                          <p:val>
                                            <p:strVal val="0-#ppt_w/2"/>
                                          </p:val>
                                        </p:tav>
                                        <p:tav tm="100000">
                                          <p:val>
                                            <p:strVal val="#ppt_x"/>
                                          </p:val>
                                        </p:tav>
                                      </p:tavLst>
                                    </p:anim>
                                    <p:anim calcmode="lin" valueType="num">
                                      <p:cBhvr additive="base">
                                        <p:cTn id="22" dur="500" fill="hold"/>
                                        <p:tgtEl>
                                          <p:spTgt spid="17"/>
                                        </p:tgtEl>
                                        <p:attrNameLst>
                                          <p:attrName>ppt_y</p:attrName>
                                        </p:attrNameLst>
                                      </p:cBhvr>
                                      <p:tavLst>
                                        <p:tav tm="0">
                                          <p:val>
                                            <p:strVal val="#ppt_y"/>
                                          </p:val>
                                        </p:tav>
                                        <p:tav tm="100000">
                                          <p:val>
                                            <p:strVal val="#ppt_y"/>
                                          </p:val>
                                        </p:tav>
                                      </p:tavLst>
                                    </p:anim>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131">
                                            <p:txEl>
                                              <p:pRg st="0" end="0"/>
                                            </p:txEl>
                                          </p:spTgt>
                                        </p:tgtEl>
                                        <p:attrNameLst>
                                          <p:attrName>style.visibility</p:attrName>
                                        </p:attrNameLst>
                                      </p:cBhvr>
                                      <p:to>
                                        <p:strVal val="visible"/>
                                      </p:to>
                                    </p:set>
                                    <p:animEffect transition="in" filter="fade">
                                      <p:cBhvr>
                                        <p:cTn id="26" dur="500"/>
                                        <p:tgtEl>
                                          <p:spTgt spid="131">
                                            <p:txEl>
                                              <p:pRg st="0" end="0"/>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31">
                                            <p:txEl>
                                              <p:pRg st="1" end="1"/>
                                            </p:txEl>
                                          </p:spTgt>
                                        </p:tgtEl>
                                        <p:attrNameLst>
                                          <p:attrName>style.visibility</p:attrName>
                                        </p:attrNameLst>
                                      </p:cBhvr>
                                      <p:to>
                                        <p:strVal val="visible"/>
                                      </p:to>
                                    </p:set>
                                    <p:animEffect transition="in" filter="fade">
                                      <p:cBhvr>
                                        <p:cTn id="29" dur="500"/>
                                        <p:tgtEl>
                                          <p:spTgt spid="131">
                                            <p:txEl>
                                              <p:pRg st="1" end="1"/>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2" presetClass="entr" presetSubtype="8" decel="100000" fill="hold" grpId="0" nodeType="clickEffect">
                                  <p:stCondLst>
                                    <p:cond delay="0"/>
                                  </p:stCondLst>
                                  <p:childTnLst>
                                    <p:set>
                                      <p:cBhvr>
                                        <p:cTn id="33" dur="1" fill="hold">
                                          <p:stCondLst>
                                            <p:cond delay="0"/>
                                          </p:stCondLst>
                                        </p:cTn>
                                        <p:tgtEl>
                                          <p:spTgt spid="337"/>
                                        </p:tgtEl>
                                        <p:attrNameLst>
                                          <p:attrName>style.visibility</p:attrName>
                                        </p:attrNameLst>
                                      </p:cBhvr>
                                      <p:to>
                                        <p:strVal val="visible"/>
                                      </p:to>
                                    </p:set>
                                    <p:anim calcmode="lin" valueType="num">
                                      <p:cBhvr additive="base">
                                        <p:cTn id="34" dur="500" fill="hold"/>
                                        <p:tgtEl>
                                          <p:spTgt spid="337"/>
                                        </p:tgtEl>
                                        <p:attrNameLst>
                                          <p:attrName>ppt_x</p:attrName>
                                        </p:attrNameLst>
                                      </p:cBhvr>
                                      <p:tavLst>
                                        <p:tav tm="0">
                                          <p:val>
                                            <p:strVal val="0-#ppt_w/2"/>
                                          </p:val>
                                        </p:tav>
                                        <p:tav tm="100000">
                                          <p:val>
                                            <p:strVal val="#ppt_x"/>
                                          </p:val>
                                        </p:tav>
                                      </p:tavLst>
                                    </p:anim>
                                    <p:anim calcmode="lin" valueType="num">
                                      <p:cBhvr additive="base">
                                        <p:cTn id="35" dur="500" fill="hold"/>
                                        <p:tgtEl>
                                          <p:spTgt spid="337"/>
                                        </p:tgtEl>
                                        <p:attrNameLst>
                                          <p:attrName>ppt_y</p:attrName>
                                        </p:attrNameLst>
                                      </p:cBhvr>
                                      <p:tavLst>
                                        <p:tav tm="0">
                                          <p:val>
                                            <p:strVal val="#ppt_y"/>
                                          </p:val>
                                        </p:tav>
                                        <p:tav tm="100000">
                                          <p:val>
                                            <p:strVal val="#ppt_y"/>
                                          </p:val>
                                        </p:tav>
                                      </p:tavLst>
                                    </p:anim>
                                  </p:childTnLst>
                                </p:cTn>
                              </p:par>
                              <p:par>
                                <p:cTn id="36" presetID="2" presetClass="entr" presetSubtype="8" decel="100000" fill="hold" grpId="0" nodeType="withEffect">
                                  <p:stCondLst>
                                    <p:cond delay="0"/>
                                  </p:stCondLst>
                                  <p:childTnLst>
                                    <p:set>
                                      <p:cBhvr>
                                        <p:cTn id="37" dur="1" fill="hold">
                                          <p:stCondLst>
                                            <p:cond delay="0"/>
                                          </p:stCondLst>
                                        </p:cTn>
                                        <p:tgtEl>
                                          <p:spTgt spid="143"/>
                                        </p:tgtEl>
                                        <p:attrNameLst>
                                          <p:attrName>style.visibility</p:attrName>
                                        </p:attrNameLst>
                                      </p:cBhvr>
                                      <p:to>
                                        <p:strVal val="visible"/>
                                      </p:to>
                                    </p:set>
                                    <p:anim calcmode="lin" valueType="num">
                                      <p:cBhvr additive="base">
                                        <p:cTn id="38" dur="500" fill="hold"/>
                                        <p:tgtEl>
                                          <p:spTgt spid="143"/>
                                        </p:tgtEl>
                                        <p:attrNameLst>
                                          <p:attrName>ppt_x</p:attrName>
                                        </p:attrNameLst>
                                      </p:cBhvr>
                                      <p:tavLst>
                                        <p:tav tm="0">
                                          <p:val>
                                            <p:strVal val="0-#ppt_w/2"/>
                                          </p:val>
                                        </p:tav>
                                        <p:tav tm="100000">
                                          <p:val>
                                            <p:strVal val="#ppt_x"/>
                                          </p:val>
                                        </p:tav>
                                      </p:tavLst>
                                    </p:anim>
                                    <p:anim calcmode="lin" valueType="num">
                                      <p:cBhvr additive="base">
                                        <p:cTn id="39" dur="500" fill="hold"/>
                                        <p:tgtEl>
                                          <p:spTgt spid="143"/>
                                        </p:tgtEl>
                                        <p:attrNameLst>
                                          <p:attrName>ppt_y</p:attrName>
                                        </p:attrNameLst>
                                      </p:cBhvr>
                                      <p:tavLst>
                                        <p:tav tm="0">
                                          <p:val>
                                            <p:strVal val="#ppt_y"/>
                                          </p:val>
                                        </p:tav>
                                        <p:tav tm="100000">
                                          <p:val>
                                            <p:strVal val="#ppt_y"/>
                                          </p:val>
                                        </p:tav>
                                      </p:tavLst>
                                    </p:anim>
                                  </p:childTnLst>
                                </p:cTn>
                              </p:par>
                              <p:par>
                                <p:cTn id="40" presetID="19" presetClass="emph" presetSubtype="0" fill="remove" grpId="1" nodeType="withEffect">
                                  <p:stCondLst>
                                    <p:cond delay="500"/>
                                  </p:stCondLst>
                                  <p:childTnLst>
                                    <p:animClr clrSpc="rgb" dir="cw">
                                      <p:cBhvr override="childStyle">
                                        <p:cTn id="41" dur="1000" fill="hold"/>
                                        <p:tgtEl>
                                          <p:spTgt spid="337"/>
                                        </p:tgtEl>
                                        <p:attrNameLst>
                                          <p:attrName>style.color</p:attrName>
                                        </p:attrNameLst>
                                      </p:cBhvr>
                                      <p:to>
                                        <a:schemeClr val="folHlink"/>
                                      </p:to>
                                    </p:animClr>
                                    <p:animClr clrSpc="rgb" dir="cw">
                                      <p:cBhvr>
                                        <p:cTn id="42" dur="1000" fill="hold"/>
                                        <p:tgtEl>
                                          <p:spTgt spid="337"/>
                                        </p:tgtEl>
                                        <p:attrNameLst>
                                          <p:attrName>fillcolor</p:attrName>
                                        </p:attrNameLst>
                                      </p:cBhvr>
                                      <p:to>
                                        <a:schemeClr val="folHlink"/>
                                      </p:to>
                                    </p:animClr>
                                    <p:set>
                                      <p:cBhvr>
                                        <p:cTn id="43" dur="1000" fill="hold"/>
                                        <p:tgtEl>
                                          <p:spTgt spid="337"/>
                                        </p:tgtEl>
                                        <p:attrNameLst>
                                          <p:attrName>fill.type</p:attrName>
                                        </p:attrNameLst>
                                      </p:cBhvr>
                                      <p:to>
                                        <p:strVal val="solid"/>
                                      </p:to>
                                    </p:set>
                                    <p:set>
                                      <p:cBhvr>
                                        <p:cTn id="44" dur="1000" fill="hold"/>
                                        <p:tgtEl>
                                          <p:spTgt spid="337"/>
                                        </p:tgtEl>
                                        <p:attrNameLst>
                                          <p:attrName>fill.on</p:attrName>
                                        </p:attrNameLst>
                                      </p:cBhvr>
                                      <p:to>
                                        <p:strVal val="true"/>
                                      </p:to>
                                    </p:set>
                                  </p:childTnLst>
                                </p:cTn>
                              </p:par>
                              <p:par>
                                <p:cTn id="45" presetID="10" presetClass="exit" presetSubtype="0" fill="hold" grpId="1" nodeType="withEffect">
                                  <p:stCondLst>
                                    <p:cond delay="250"/>
                                  </p:stCondLst>
                                  <p:childTnLst>
                                    <p:animEffect transition="out" filter="fade">
                                      <p:cBhvr>
                                        <p:cTn id="46" dur="500"/>
                                        <p:tgtEl>
                                          <p:spTgt spid="131">
                                            <p:txEl>
                                              <p:pRg st="0" end="0"/>
                                            </p:txEl>
                                          </p:spTgt>
                                        </p:tgtEl>
                                      </p:cBhvr>
                                    </p:animEffect>
                                    <p:set>
                                      <p:cBhvr>
                                        <p:cTn id="47" dur="1" fill="hold">
                                          <p:stCondLst>
                                            <p:cond delay="499"/>
                                          </p:stCondLst>
                                        </p:cTn>
                                        <p:tgtEl>
                                          <p:spTgt spid="131">
                                            <p:txEl>
                                              <p:pRg st="0" end="0"/>
                                            </p:txEl>
                                          </p:spTgt>
                                        </p:tgtEl>
                                        <p:attrNameLst>
                                          <p:attrName>style.visibility</p:attrName>
                                        </p:attrNameLst>
                                      </p:cBhvr>
                                      <p:to>
                                        <p:strVal val="hidden"/>
                                      </p:to>
                                    </p:set>
                                  </p:childTnLst>
                                </p:cTn>
                              </p:par>
                              <p:par>
                                <p:cTn id="48" presetID="10" presetClass="exit" presetSubtype="0" fill="hold" grpId="1" nodeType="withEffect">
                                  <p:stCondLst>
                                    <p:cond delay="250"/>
                                  </p:stCondLst>
                                  <p:childTnLst>
                                    <p:animEffect transition="out" filter="fade">
                                      <p:cBhvr>
                                        <p:cTn id="49" dur="500"/>
                                        <p:tgtEl>
                                          <p:spTgt spid="131">
                                            <p:txEl>
                                              <p:pRg st="1" end="1"/>
                                            </p:txEl>
                                          </p:spTgt>
                                        </p:tgtEl>
                                      </p:cBhvr>
                                    </p:animEffect>
                                    <p:set>
                                      <p:cBhvr>
                                        <p:cTn id="50" dur="1" fill="hold">
                                          <p:stCondLst>
                                            <p:cond delay="499"/>
                                          </p:stCondLst>
                                        </p:cTn>
                                        <p:tgtEl>
                                          <p:spTgt spid="131">
                                            <p:txEl>
                                              <p:pRg st="1" end="1"/>
                                            </p:txEl>
                                          </p:spTgt>
                                        </p:tgtEl>
                                        <p:attrNameLst>
                                          <p:attrName>style.visibility</p:attrName>
                                        </p:attrNameLst>
                                      </p:cBhvr>
                                      <p:to>
                                        <p:strVal val="hidden"/>
                                      </p:to>
                                    </p:set>
                                  </p:childTnLst>
                                </p:cTn>
                              </p:par>
                            </p:childTnLst>
                          </p:cTn>
                        </p:par>
                        <p:par>
                          <p:cTn id="51" fill="hold">
                            <p:stCondLst>
                              <p:cond delay="1500"/>
                            </p:stCondLst>
                            <p:childTnLst>
                              <p:par>
                                <p:cTn id="52" presetID="1" presetClass="entr" presetSubtype="0" fill="hold" grpId="0" nodeType="afterEffect">
                                  <p:stCondLst>
                                    <p:cond delay="0"/>
                                  </p:stCondLst>
                                  <p:childTnLst>
                                    <p:set>
                                      <p:cBhvr>
                                        <p:cTn id="53" dur="1" fill="hold">
                                          <p:stCondLst>
                                            <p:cond delay="0"/>
                                          </p:stCondLst>
                                        </p:cTn>
                                        <p:tgtEl>
                                          <p:spTgt spid="146"/>
                                        </p:tgtEl>
                                        <p:attrNameLst>
                                          <p:attrName>style.visibility</p:attrName>
                                        </p:attrNameLst>
                                      </p:cBhvr>
                                      <p:to>
                                        <p:strVal val="visible"/>
                                      </p:to>
                                    </p:set>
                                  </p:childTnLst>
                                </p:cTn>
                              </p:par>
                            </p:childTnLst>
                          </p:cTn>
                        </p:par>
                        <p:par>
                          <p:cTn id="54" fill="hold">
                            <p:stCondLst>
                              <p:cond delay="1500"/>
                            </p:stCondLst>
                            <p:childTnLst>
                              <p:par>
                                <p:cTn id="55" presetID="9" presetClass="emph" presetSubtype="0" grpId="1" nodeType="afterEffect">
                                  <p:stCondLst>
                                    <p:cond delay="0"/>
                                  </p:stCondLst>
                                  <p:childTnLst>
                                    <p:set>
                                      <p:cBhvr rctx="PPT">
                                        <p:cTn id="56" dur="indefinite"/>
                                        <p:tgtEl>
                                          <p:spTgt spid="146"/>
                                        </p:tgtEl>
                                        <p:attrNameLst>
                                          <p:attrName>style.opacity</p:attrName>
                                        </p:attrNameLst>
                                      </p:cBhvr>
                                      <p:to>
                                        <p:strVal val="0.25"/>
                                      </p:to>
                                    </p:set>
                                    <p:animEffect filter="image" prLst="opacity: 0.25">
                                      <p:cBhvr rctx="IE">
                                        <p:cTn id="57" dur="indefinite"/>
                                        <p:tgtEl>
                                          <p:spTgt spid="146"/>
                                        </p:tgtEl>
                                      </p:cBhvr>
                                    </p:animEffect>
                                  </p:childTnLst>
                                </p:cTn>
                              </p:par>
                              <p:par>
                                <p:cTn id="58" presetID="35" presetClass="path" presetSubtype="0" accel="50000" decel="50000" fill="hold" grpId="1" nodeType="withEffect">
                                  <p:stCondLst>
                                    <p:cond delay="500"/>
                                  </p:stCondLst>
                                  <p:childTnLst>
                                    <p:animMotion origin="layout" path="M 5.53746E-7 3.15449E-6 L -0.09355 3.15449E-6 " pathEditMode="relative" rAng="0" ptsTypes="AA">
                                      <p:cBhvr>
                                        <p:cTn id="59" dur="750" fill="hold"/>
                                        <p:tgtEl>
                                          <p:spTgt spid="17"/>
                                        </p:tgtEl>
                                        <p:attrNameLst>
                                          <p:attrName>ppt_x</p:attrName>
                                          <p:attrName>ppt_y</p:attrName>
                                        </p:attrNameLst>
                                      </p:cBhvr>
                                      <p:rCtr x="-4678" y="0"/>
                                    </p:animMotion>
                                  </p:childTnLst>
                                </p:cTn>
                              </p:par>
                            </p:childTnLst>
                          </p:cTn>
                        </p:par>
                        <p:par>
                          <p:cTn id="60" fill="hold">
                            <p:stCondLst>
                              <p:cond delay="2750"/>
                            </p:stCondLst>
                            <p:childTnLst>
                              <p:par>
                                <p:cTn id="61" presetID="2" presetClass="entr" presetSubtype="8" decel="100000" fill="hold" grpId="0" nodeType="afterEffect">
                                  <p:stCondLst>
                                    <p:cond delay="0"/>
                                  </p:stCondLst>
                                  <p:childTnLst>
                                    <p:set>
                                      <p:cBhvr>
                                        <p:cTn id="62" dur="1" fill="hold">
                                          <p:stCondLst>
                                            <p:cond delay="0"/>
                                          </p:stCondLst>
                                        </p:cTn>
                                        <p:tgtEl>
                                          <p:spTgt spid="108"/>
                                        </p:tgtEl>
                                        <p:attrNameLst>
                                          <p:attrName>style.visibility</p:attrName>
                                        </p:attrNameLst>
                                      </p:cBhvr>
                                      <p:to>
                                        <p:strVal val="visible"/>
                                      </p:to>
                                    </p:set>
                                    <p:anim calcmode="lin" valueType="num">
                                      <p:cBhvr additive="base">
                                        <p:cTn id="63" dur="500" fill="hold"/>
                                        <p:tgtEl>
                                          <p:spTgt spid="108"/>
                                        </p:tgtEl>
                                        <p:attrNameLst>
                                          <p:attrName>ppt_x</p:attrName>
                                        </p:attrNameLst>
                                      </p:cBhvr>
                                      <p:tavLst>
                                        <p:tav tm="0">
                                          <p:val>
                                            <p:strVal val="0-#ppt_w/2"/>
                                          </p:val>
                                        </p:tav>
                                        <p:tav tm="100000">
                                          <p:val>
                                            <p:strVal val="#ppt_x"/>
                                          </p:val>
                                        </p:tav>
                                      </p:tavLst>
                                    </p:anim>
                                    <p:anim calcmode="lin" valueType="num">
                                      <p:cBhvr additive="base">
                                        <p:cTn id="64" dur="500" fill="hold"/>
                                        <p:tgtEl>
                                          <p:spTgt spid="108"/>
                                        </p:tgtEl>
                                        <p:attrNameLst>
                                          <p:attrName>ppt_y</p:attrName>
                                        </p:attrNameLst>
                                      </p:cBhvr>
                                      <p:tavLst>
                                        <p:tav tm="0">
                                          <p:val>
                                            <p:strVal val="#ppt_y"/>
                                          </p:val>
                                        </p:tav>
                                        <p:tav tm="100000">
                                          <p:val>
                                            <p:strVal val="#ppt_y"/>
                                          </p:val>
                                        </p:tav>
                                      </p:tavLst>
                                    </p:anim>
                                  </p:childTnLst>
                                </p:cTn>
                              </p:par>
                            </p:childTnLst>
                          </p:cTn>
                        </p:par>
                        <p:par>
                          <p:cTn id="65" fill="hold">
                            <p:stCondLst>
                              <p:cond delay="3250"/>
                            </p:stCondLst>
                            <p:childTnLst>
                              <p:par>
                                <p:cTn id="66" presetID="10" presetClass="entr" presetSubtype="0" fill="hold" nodeType="afterEffect">
                                  <p:stCondLst>
                                    <p:cond delay="0"/>
                                  </p:stCondLst>
                                  <p:childTnLst>
                                    <p:set>
                                      <p:cBhvr>
                                        <p:cTn id="67" dur="1" fill="hold">
                                          <p:stCondLst>
                                            <p:cond delay="0"/>
                                          </p:stCondLst>
                                        </p:cTn>
                                        <p:tgtEl>
                                          <p:spTgt spid="3"/>
                                        </p:tgtEl>
                                        <p:attrNameLst>
                                          <p:attrName>style.visibility</p:attrName>
                                        </p:attrNameLst>
                                      </p:cBhvr>
                                      <p:to>
                                        <p:strVal val="visible"/>
                                      </p:to>
                                    </p:set>
                                    <p:animEffect transition="in" filter="fade">
                                      <p:cBhvr>
                                        <p:cTn id="68" dur="500"/>
                                        <p:tgtEl>
                                          <p:spTgt spid="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nodeType="clickEffect">
                                  <p:stCondLst>
                                    <p:cond delay="0"/>
                                  </p:stCondLst>
                                  <p:childTnLst>
                                    <p:set>
                                      <p:cBhvr>
                                        <p:cTn id="72" dur="1" fill="hold">
                                          <p:stCondLst>
                                            <p:cond delay="0"/>
                                          </p:stCondLst>
                                        </p:cTn>
                                        <p:tgtEl>
                                          <p:spTgt spid="12"/>
                                        </p:tgtEl>
                                        <p:attrNameLst>
                                          <p:attrName>style.visibility</p:attrName>
                                        </p:attrNameLst>
                                      </p:cBhvr>
                                      <p:to>
                                        <p:strVal val="visible"/>
                                      </p:to>
                                    </p:set>
                                    <p:animEffect transition="in" filter="fade">
                                      <p:cBhvr>
                                        <p:cTn id="73" dur="500"/>
                                        <p:tgtEl>
                                          <p:spTgt spid="12"/>
                                        </p:tgtEl>
                                      </p:cBhvr>
                                    </p:animEffect>
                                  </p:childTnLst>
                                </p:cTn>
                              </p:par>
                            </p:childTnLst>
                          </p:cTn>
                        </p:par>
                        <p:par>
                          <p:cTn id="74" fill="hold">
                            <p:stCondLst>
                              <p:cond delay="500"/>
                            </p:stCondLst>
                            <p:childTnLst>
                              <p:par>
                                <p:cTn id="75" presetID="2" presetClass="entr" presetSubtype="8" decel="100000" fill="hold" grpId="0" nodeType="afterEffect">
                                  <p:stCondLst>
                                    <p:cond delay="0"/>
                                  </p:stCondLst>
                                  <p:childTnLst>
                                    <p:set>
                                      <p:cBhvr>
                                        <p:cTn id="76" dur="1" fill="hold">
                                          <p:stCondLst>
                                            <p:cond delay="0"/>
                                          </p:stCondLst>
                                        </p:cTn>
                                        <p:tgtEl>
                                          <p:spTgt spid="121"/>
                                        </p:tgtEl>
                                        <p:attrNameLst>
                                          <p:attrName>style.visibility</p:attrName>
                                        </p:attrNameLst>
                                      </p:cBhvr>
                                      <p:to>
                                        <p:strVal val="visible"/>
                                      </p:to>
                                    </p:set>
                                    <p:anim calcmode="lin" valueType="num">
                                      <p:cBhvr additive="base">
                                        <p:cTn id="77" dur="500" fill="hold"/>
                                        <p:tgtEl>
                                          <p:spTgt spid="121"/>
                                        </p:tgtEl>
                                        <p:attrNameLst>
                                          <p:attrName>ppt_x</p:attrName>
                                        </p:attrNameLst>
                                      </p:cBhvr>
                                      <p:tavLst>
                                        <p:tav tm="0">
                                          <p:val>
                                            <p:strVal val="0-#ppt_w/2"/>
                                          </p:val>
                                        </p:tav>
                                        <p:tav tm="100000">
                                          <p:val>
                                            <p:strVal val="#ppt_x"/>
                                          </p:val>
                                        </p:tav>
                                      </p:tavLst>
                                    </p:anim>
                                    <p:anim calcmode="lin" valueType="num">
                                      <p:cBhvr additive="base">
                                        <p:cTn id="78" dur="500" fill="hold"/>
                                        <p:tgtEl>
                                          <p:spTgt spid="121"/>
                                        </p:tgtEl>
                                        <p:attrNameLst>
                                          <p:attrName>ppt_y</p:attrName>
                                        </p:attrNameLst>
                                      </p:cBhvr>
                                      <p:tavLst>
                                        <p:tav tm="0">
                                          <p:val>
                                            <p:strVal val="#ppt_y"/>
                                          </p:val>
                                        </p:tav>
                                        <p:tav tm="100000">
                                          <p:val>
                                            <p:strVal val="#ppt_y"/>
                                          </p:val>
                                        </p:tav>
                                      </p:tavLst>
                                    </p:anim>
                                  </p:childTnLst>
                                </p:cTn>
                              </p:par>
                            </p:childTnLst>
                          </p:cTn>
                        </p:par>
                        <p:par>
                          <p:cTn id="79" fill="hold">
                            <p:stCondLst>
                              <p:cond delay="1000"/>
                            </p:stCondLst>
                            <p:childTnLst>
                              <p:par>
                                <p:cTn id="80" presetID="2" presetClass="entr" presetSubtype="8" decel="100000" fill="hold" grpId="0" nodeType="afterEffect">
                                  <p:stCondLst>
                                    <p:cond delay="0"/>
                                  </p:stCondLst>
                                  <p:childTnLst>
                                    <p:set>
                                      <p:cBhvr>
                                        <p:cTn id="81" dur="1" fill="hold">
                                          <p:stCondLst>
                                            <p:cond delay="0"/>
                                          </p:stCondLst>
                                        </p:cTn>
                                        <p:tgtEl>
                                          <p:spTgt spid="122"/>
                                        </p:tgtEl>
                                        <p:attrNameLst>
                                          <p:attrName>style.visibility</p:attrName>
                                        </p:attrNameLst>
                                      </p:cBhvr>
                                      <p:to>
                                        <p:strVal val="visible"/>
                                      </p:to>
                                    </p:set>
                                    <p:anim calcmode="lin" valueType="num">
                                      <p:cBhvr additive="base">
                                        <p:cTn id="82" dur="500" fill="hold"/>
                                        <p:tgtEl>
                                          <p:spTgt spid="122"/>
                                        </p:tgtEl>
                                        <p:attrNameLst>
                                          <p:attrName>ppt_x</p:attrName>
                                        </p:attrNameLst>
                                      </p:cBhvr>
                                      <p:tavLst>
                                        <p:tav tm="0">
                                          <p:val>
                                            <p:strVal val="0-#ppt_w/2"/>
                                          </p:val>
                                        </p:tav>
                                        <p:tav tm="100000">
                                          <p:val>
                                            <p:strVal val="#ppt_x"/>
                                          </p:val>
                                        </p:tav>
                                      </p:tavLst>
                                    </p:anim>
                                    <p:anim calcmode="lin" valueType="num">
                                      <p:cBhvr additive="base">
                                        <p:cTn id="83" dur="500" fill="hold"/>
                                        <p:tgtEl>
                                          <p:spTgt spid="122"/>
                                        </p:tgtEl>
                                        <p:attrNameLst>
                                          <p:attrName>ppt_y</p:attrName>
                                        </p:attrNameLst>
                                      </p:cBhvr>
                                      <p:tavLst>
                                        <p:tav tm="0">
                                          <p:val>
                                            <p:strVal val="#ppt_y"/>
                                          </p:val>
                                        </p:tav>
                                        <p:tav tm="100000">
                                          <p:val>
                                            <p:strVal val="#ppt_y"/>
                                          </p:val>
                                        </p:tav>
                                      </p:tavLst>
                                    </p:anim>
                                  </p:childTnLst>
                                </p:cTn>
                              </p:par>
                            </p:childTnLst>
                          </p:cTn>
                        </p:par>
                        <p:par>
                          <p:cTn id="84" fill="hold">
                            <p:stCondLst>
                              <p:cond delay="1500"/>
                            </p:stCondLst>
                            <p:childTnLst>
                              <p:par>
                                <p:cTn id="85" presetID="2" presetClass="entr" presetSubtype="8" decel="100000" fill="hold" grpId="0" nodeType="afterEffect">
                                  <p:stCondLst>
                                    <p:cond delay="0"/>
                                  </p:stCondLst>
                                  <p:childTnLst>
                                    <p:set>
                                      <p:cBhvr>
                                        <p:cTn id="86" dur="1" fill="hold">
                                          <p:stCondLst>
                                            <p:cond delay="0"/>
                                          </p:stCondLst>
                                        </p:cTn>
                                        <p:tgtEl>
                                          <p:spTgt spid="120"/>
                                        </p:tgtEl>
                                        <p:attrNameLst>
                                          <p:attrName>style.visibility</p:attrName>
                                        </p:attrNameLst>
                                      </p:cBhvr>
                                      <p:to>
                                        <p:strVal val="visible"/>
                                      </p:to>
                                    </p:set>
                                    <p:anim calcmode="lin" valueType="num">
                                      <p:cBhvr additive="base">
                                        <p:cTn id="87" dur="500" fill="hold"/>
                                        <p:tgtEl>
                                          <p:spTgt spid="120"/>
                                        </p:tgtEl>
                                        <p:attrNameLst>
                                          <p:attrName>ppt_x</p:attrName>
                                        </p:attrNameLst>
                                      </p:cBhvr>
                                      <p:tavLst>
                                        <p:tav tm="0">
                                          <p:val>
                                            <p:strVal val="0-#ppt_w/2"/>
                                          </p:val>
                                        </p:tav>
                                        <p:tav tm="100000">
                                          <p:val>
                                            <p:strVal val="#ppt_x"/>
                                          </p:val>
                                        </p:tav>
                                      </p:tavLst>
                                    </p:anim>
                                    <p:anim calcmode="lin" valueType="num">
                                      <p:cBhvr additive="base">
                                        <p:cTn id="88" dur="500" fill="hold"/>
                                        <p:tgtEl>
                                          <p:spTgt spid="120"/>
                                        </p:tgtEl>
                                        <p:attrNameLst>
                                          <p:attrName>ppt_y</p:attrName>
                                        </p:attrNameLst>
                                      </p:cBhvr>
                                      <p:tavLst>
                                        <p:tav tm="0">
                                          <p:val>
                                            <p:strVal val="#ppt_y"/>
                                          </p:val>
                                        </p:tav>
                                        <p:tav tm="100000">
                                          <p:val>
                                            <p:strVal val="#ppt_y"/>
                                          </p:val>
                                        </p:tav>
                                      </p:tavLst>
                                    </p:anim>
                                  </p:childTnLst>
                                </p:cTn>
                              </p:par>
                            </p:childTnLst>
                          </p:cTn>
                        </p:par>
                        <p:par>
                          <p:cTn id="89" fill="hold">
                            <p:stCondLst>
                              <p:cond delay="2000"/>
                            </p:stCondLst>
                            <p:childTnLst>
                              <p:par>
                                <p:cTn id="90" presetID="10" presetClass="entr" presetSubtype="0" fill="hold" nodeType="afterEffect">
                                  <p:stCondLst>
                                    <p:cond delay="0"/>
                                  </p:stCondLst>
                                  <p:childTnLst>
                                    <p:set>
                                      <p:cBhvr>
                                        <p:cTn id="91" dur="1" fill="hold">
                                          <p:stCondLst>
                                            <p:cond delay="0"/>
                                          </p:stCondLst>
                                        </p:cTn>
                                        <p:tgtEl>
                                          <p:spTgt spid="130"/>
                                        </p:tgtEl>
                                        <p:attrNameLst>
                                          <p:attrName>style.visibility</p:attrName>
                                        </p:attrNameLst>
                                      </p:cBhvr>
                                      <p:to>
                                        <p:strVal val="visible"/>
                                      </p:to>
                                    </p:set>
                                    <p:animEffect transition="in" filter="fade">
                                      <p:cBhvr>
                                        <p:cTn id="92" dur="500"/>
                                        <p:tgtEl>
                                          <p:spTgt spid="130"/>
                                        </p:tgtEl>
                                      </p:cBhvr>
                                    </p:animEffect>
                                  </p:childTnLst>
                                </p:cTn>
                              </p:par>
                            </p:childTnLst>
                          </p:cTn>
                        </p:par>
                      </p:childTnLst>
                    </p:cTn>
                  </p:par>
                  <p:par>
                    <p:cTn id="93" fill="hold">
                      <p:stCondLst>
                        <p:cond delay="indefinite"/>
                      </p:stCondLst>
                      <p:childTnLst>
                        <p:par>
                          <p:cTn id="94" fill="hold">
                            <p:stCondLst>
                              <p:cond delay="0"/>
                            </p:stCondLst>
                            <p:childTnLst>
                              <p:par>
                                <p:cTn id="95" presetID="10" presetClass="entr" presetSubtype="0" fill="hold" nodeType="clickEffect">
                                  <p:stCondLst>
                                    <p:cond delay="0"/>
                                  </p:stCondLst>
                                  <p:childTnLst>
                                    <p:set>
                                      <p:cBhvr>
                                        <p:cTn id="96" dur="1" fill="hold">
                                          <p:stCondLst>
                                            <p:cond delay="0"/>
                                          </p:stCondLst>
                                        </p:cTn>
                                        <p:tgtEl>
                                          <p:spTgt spid="316"/>
                                        </p:tgtEl>
                                        <p:attrNameLst>
                                          <p:attrName>style.visibility</p:attrName>
                                        </p:attrNameLst>
                                      </p:cBhvr>
                                      <p:to>
                                        <p:strVal val="visible"/>
                                      </p:to>
                                    </p:set>
                                    <p:animEffect transition="in" filter="fade">
                                      <p:cBhvr>
                                        <p:cTn id="97" dur="500"/>
                                        <p:tgtEl>
                                          <p:spTgt spid="316"/>
                                        </p:tgtEl>
                                      </p:cBhvr>
                                    </p:animEffect>
                                  </p:childTnLst>
                                </p:cTn>
                              </p:par>
                            </p:childTnLst>
                          </p:cTn>
                        </p:par>
                        <p:par>
                          <p:cTn id="98" fill="hold">
                            <p:stCondLst>
                              <p:cond delay="500"/>
                            </p:stCondLst>
                            <p:childTnLst>
                              <p:par>
                                <p:cTn id="99" presetID="2" presetClass="entr" presetSubtype="8" decel="100000" fill="hold" grpId="0" nodeType="afterEffect">
                                  <p:stCondLst>
                                    <p:cond delay="0"/>
                                  </p:stCondLst>
                                  <p:childTnLst>
                                    <p:set>
                                      <p:cBhvr>
                                        <p:cTn id="100" dur="1" fill="hold">
                                          <p:stCondLst>
                                            <p:cond delay="0"/>
                                          </p:stCondLst>
                                        </p:cTn>
                                        <p:tgtEl>
                                          <p:spTgt spid="125"/>
                                        </p:tgtEl>
                                        <p:attrNameLst>
                                          <p:attrName>style.visibility</p:attrName>
                                        </p:attrNameLst>
                                      </p:cBhvr>
                                      <p:to>
                                        <p:strVal val="visible"/>
                                      </p:to>
                                    </p:set>
                                    <p:anim calcmode="lin" valueType="num">
                                      <p:cBhvr additive="base">
                                        <p:cTn id="101" dur="500" fill="hold"/>
                                        <p:tgtEl>
                                          <p:spTgt spid="125"/>
                                        </p:tgtEl>
                                        <p:attrNameLst>
                                          <p:attrName>ppt_x</p:attrName>
                                        </p:attrNameLst>
                                      </p:cBhvr>
                                      <p:tavLst>
                                        <p:tav tm="0">
                                          <p:val>
                                            <p:strVal val="0-#ppt_w/2"/>
                                          </p:val>
                                        </p:tav>
                                        <p:tav tm="100000">
                                          <p:val>
                                            <p:strVal val="#ppt_x"/>
                                          </p:val>
                                        </p:tav>
                                      </p:tavLst>
                                    </p:anim>
                                    <p:anim calcmode="lin" valueType="num">
                                      <p:cBhvr additive="base">
                                        <p:cTn id="102" dur="500" fill="hold"/>
                                        <p:tgtEl>
                                          <p:spTgt spid="125"/>
                                        </p:tgtEl>
                                        <p:attrNameLst>
                                          <p:attrName>ppt_y</p:attrName>
                                        </p:attrNameLst>
                                      </p:cBhvr>
                                      <p:tavLst>
                                        <p:tav tm="0">
                                          <p:val>
                                            <p:strVal val="#ppt_y"/>
                                          </p:val>
                                        </p:tav>
                                        <p:tav tm="100000">
                                          <p:val>
                                            <p:strVal val="#ppt_y"/>
                                          </p:val>
                                        </p:tav>
                                      </p:tavLst>
                                    </p:anim>
                                  </p:childTnLst>
                                </p:cTn>
                              </p:par>
                            </p:childTnLst>
                          </p:cTn>
                        </p:par>
                        <p:par>
                          <p:cTn id="103" fill="hold">
                            <p:stCondLst>
                              <p:cond delay="1000"/>
                            </p:stCondLst>
                            <p:childTnLst>
                              <p:par>
                                <p:cTn id="104" presetID="2" presetClass="entr" presetSubtype="8" decel="100000" fill="hold" grpId="0" nodeType="afterEffect">
                                  <p:stCondLst>
                                    <p:cond delay="0"/>
                                  </p:stCondLst>
                                  <p:childTnLst>
                                    <p:set>
                                      <p:cBhvr>
                                        <p:cTn id="105" dur="1" fill="hold">
                                          <p:stCondLst>
                                            <p:cond delay="0"/>
                                          </p:stCondLst>
                                        </p:cTn>
                                        <p:tgtEl>
                                          <p:spTgt spid="126"/>
                                        </p:tgtEl>
                                        <p:attrNameLst>
                                          <p:attrName>style.visibility</p:attrName>
                                        </p:attrNameLst>
                                      </p:cBhvr>
                                      <p:to>
                                        <p:strVal val="visible"/>
                                      </p:to>
                                    </p:set>
                                    <p:anim calcmode="lin" valueType="num">
                                      <p:cBhvr additive="base">
                                        <p:cTn id="106" dur="500" fill="hold"/>
                                        <p:tgtEl>
                                          <p:spTgt spid="126"/>
                                        </p:tgtEl>
                                        <p:attrNameLst>
                                          <p:attrName>ppt_x</p:attrName>
                                        </p:attrNameLst>
                                      </p:cBhvr>
                                      <p:tavLst>
                                        <p:tav tm="0">
                                          <p:val>
                                            <p:strVal val="0-#ppt_w/2"/>
                                          </p:val>
                                        </p:tav>
                                        <p:tav tm="100000">
                                          <p:val>
                                            <p:strVal val="#ppt_x"/>
                                          </p:val>
                                        </p:tav>
                                      </p:tavLst>
                                    </p:anim>
                                    <p:anim calcmode="lin" valueType="num">
                                      <p:cBhvr additive="base">
                                        <p:cTn id="107" dur="500" fill="hold"/>
                                        <p:tgtEl>
                                          <p:spTgt spid="126"/>
                                        </p:tgtEl>
                                        <p:attrNameLst>
                                          <p:attrName>ppt_y</p:attrName>
                                        </p:attrNameLst>
                                      </p:cBhvr>
                                      <p:tavLst>
                                        <p:tav tm="0">
                                          <p:val>
                                            <p:strVal val="#ppt_y"/>
                                          </p:val>
                                        </p:tav>
                                        <p:tav tm="100000">
                                          <p:val>
                                            <p:strVal val="#ppt_y"/>
                                          </p:val>
                                        </p:tav>
                                      </p:tavLst>
                                    </p:anim>
                                  </p:childTnLst>
                                </p:cTn>
                              </p:par>
                            </p:childTnLst>
                          </p:cTn>
                        </p:par>
                        <p:par>
                          <p:cTn id="108" fill="hold">
                            <p:stCondLst>
                              <p:cond delay="1500"/>
                            </p:stCondLst>
                            <p:childTnLst>
                              <p:par>
                                <p:cTn id="109" presetID="2" presetClass="entr" presetSubtype="8" decel="100000" fill="hold" grpId="0" nodeType="afterEffect">
                                  <p:stCondLst>
                                    <p:cond delay="0"/>
                                  </p:stCondLst>
                                  <p:childTnLst>
                                    <p:set>
                                      <p:cBhvr>
                                        <p:cTn id="110" dur="1" fill="hold">
                                          <p:stCondLst>
                                            <p:cond delay="0"/>
                                          </p:stCondLst>
                                        </p:cTn>
                                        <p:tgtEl>
                                          <p:spTgt spid="124"/>
                                        </p:tgtEl>
                                        <p:attrNameLst>
                                          <p:attrName>style.visibility</p:attrName>
                                        </p:attrNameLst>
                                      </p:cBhvr>
                                      <p:to>
                                        <p:strVal val="visible"/>
                                      </p:to>
                                    </p:set>
                                    <p:anim calcmode="lin" valueType="num">
                                      <p:cBhvr additive="base">
                                        <p:cTn id="111" dur="500" fill="hold"/>
                                        <p:tgtEl>
                                          <p:spTgt spid="124"/>
                                        </p:tgtEl>
                                        <p:attrNameLst>
                                          <p:attrName>ppt_x</p:attrName>
                                        </p:attrNameLst>
                                      </p:cBhvr>
                                      <p:tavLst>
                                        <p:tav tm="0">
                                          <p:val>
                                            <p:strVal val="0-#ppt_w/2"/>
                                          </p:val>
                                        </p:tav>
                                        <p:tav tm="100000">
                                          <p:val>
                                            <p:strVal val="#ppt_x"/>
                                          </p:val>
                                        </p:tav>
                                      </p:tavLst>
                                    </p:anim>
                                    <p:anim calcmode="lin" valueType="num">
                                      <p:cBhvr additive="base">
                                        <p:cTn id="112" dur="500" fill="hold"/>
                                        <p:tgtEl>
                                          <p:spTgt spid="124"/>
                                        </p:tgtEl>
                                        <p:attrNameLst>
                                          <p:attrName>ppt_y</p:attrName>
                                        </p:attrNameLst>
                                      </p:cBhvr>
                                      <p:tavLst>
                                        <p:tav tm="0">
                                          <p:val>
                                            <p:strVal val="#ppt_y"/>
                                          </p:val>
                                        </p:tav>
                                        <p:tav tm="100000">
                                          <p:val>
                                            <p:strVal val="#ppt_y"/>
                                          </p:val>
                                        </p:tav>
                                      </p:tavLst>
                                    </p:anim>
                                  </p:childTnLst>
                                </p:cTn>
                              </p:par>
                            </p:childTnLst>
                          </p:cTn>
                        </p:par>
                        <p:par>
                          <p:cTn id="113" fill="hold">
                            <p:stCondLst>
                              <p:cond delay="2000"/>
                            </p:stCondLst>
                            <p:childTnLst>
                              <p:par>
                                <p:cTn id="114" presetID="10" presetClass="entr" presetSubtype="0" fill="hold" nodeType="afterEffect">
                                  <p:stCondLst>
                                    <p:cond delay="0"/>
                                  </p:stCondLst>
                                  <p:childTnLst>
                                    <p:set>
                                      <p:cBhvr>
                                        <p:cTn id="115" dur="1" fill="hold">
                                          <p:stCondLst>
                                            <p:cond delay="0"/>
                                          </p:stCondLst>
                                        </p:cTn>
                                        <p:tgtEl>
                                          <p:spTgt spid="138"/>
                                        </p:tgtEl>
                                        <p:attrNameLst>
                                          <p:attrName>style.visibility</p:attrName>
                                        </p:attrNameLst>
                                      </p:cBhvr>
                                      <p:to>
                                        <p:strVal val="visible"/>
                                      </p:to>
                                    </p:set>
                                    <p:animEffect transition="in" filter="fade">
                                      <p:cBhvr>
                                        <p:cTn id="116" dur="500"/>
                                        <p:tgtEl>
                                          <p:spTgt spid="138"/>
                                        </p:tgtEl>
                                      </p:cBhvr>
                                    </p:animEffect>
                                  </p:childTnLst>
                                </p:cTn>
                              </p:par>
                            </p:childTnLst>
                          </p:cTn>
                        </p:par>
                      </p:childTnLst>
                    </p:cTn>
                  </p:par>
                  <p:par>
                    <p:cTn id="117" fill="hold">
                      <p:stCondLst>
                        <p:cond delay="indefinite"/>
                      </p:stCondLst>
                      <p:childTnLst>
                        <p:par>
                          <p:cTn id="118" fill="hold">
                            <p:stCondLst>
                              <p:cond delay="0"/>
                            </p:stCondLst>
                            <p:childTnLst>
                              <p:par>
                                <p:cTn id="119" presetID="10" presetClass="entr" presetSubtype="0" fill="hold" nodeType="clickEffect">
                                  <p:stCondLst>
                                    <p:cond delay="0"/>
                                  </p:stCondLst>
                                  <p:childTnLst>
                                    <p:set>
                                      <p:cBhvr>
                                        <p:cTn id="120" dur="1" fill="hold">
                                          <p:stCondLst>
                                            <p:cond delay="0"/>
                                          </p:stCondLst>
                                        </p:cTn>
                                        <p:tgtEl>
                                          <p:spTgt spid="31"/>
                                        </p:tgtEl>
                                        <p:attrNameLst>
                                          <p:attrName>style.visibility</p:attrName>
                                        </p:attrNameLst>
                                      </p:cBhvr>
                                      <p:to>
                                        <p:strVal val="visible"/>
                                      </p:to>
                                    </p:set>
                                    <p:animEffect transition="in" filter="fade">
                                      <p:cBhvr>
                                        <p:cTn id="121" dur="500"/>
                                        <p:tgtEl>
                                          <p:spTgt spid="31"/>
                                        </p:tgtEl>
                                      </p:cBhvr>
                                    </p:animEffect>
                                  </p:childTnLst>
                                </p:cTn>
                              </p:par>
                              <p:par>
                                <p:cTn id="122" presetID="10" presetClass="exit" presetSubtype="0" fill="hold" nodeType="withEffect">
                                  <p:stCondLst>
                                    <p:cond delay="0"/>
                                  </p:stCondLst>
                                  <p:childTnLst>
                                    <p:animEffect transition="out" filter="fade">
                                      <p:cBhvr>
                                        <p:cTn id="123" dur="500"/>
                                        <p:tgtEl>
                                          <p:spTgt spid="3"/>
                                        </p:tgtEl>
                                      </p:cBhvr>
                                    </p:animEffect>
                                    <p:set>
                                      <p:cBhvr>
                                        <p:cTn id="124" dur="1" fill="hold">
                                          <p:stCondLst>
                                            <p:cond delay="499"/>
                                          </p:stCondLst>
                                        </p:cTn>
                                        <p:tgtEl>
                                          <p:spTgt spid="3"/>
                                        </p:tgtEl>
                                        <p:attrNameLst>
                                          <p:attrName>style.visibility</p:attrName>
                                        </p:attrNameLst>
                                      </p:cBhvr>
                                      <p:to>
                                        <p:strVal val="hidden"/>
                                      </p:to>
                                    </p:set>
                                  </p:childTnLst>
                                </p:cTn>
                              </p:par>
                              <p:par>
                                <p:cTn id="125" presetID="10" presetClass="exit" presetSubtype="0" fill="hold" nodeType="withEffect">
                                  <p:stCondLst>
                                    <p:cond delay="0"/>
                                  </p:stCondLst>
                                  <p:childTnLst>
                                    <p:animEffect transition="out" filter="fade">
                                      <p:cBhvr>
                                        <p:cTn id="126" dur="500"/>
                                        <p:tgtEl>
                                          <p:spTgt spid="130"/>
                                        </p:tgtEl>
                                      </p:cBhvr>
                                    </p:animEffect>
                                    <p:set>
                                      <p:cBhvr>
                                        <p:cTn id="127" dur="1" fill="hold">
                                          <p:stCondLst>
                                            <p:cond delay="499"/>
                                          </p:stCondLst>
                                        </p:cTn>
                                        <p:tgtEl>
                                          <p:spTgt spid="130"/>
                                        </p:tgtEl>
                                        <p:attrNameLst>
                                          <p:attrName>style.visibility</p:attrName>
                                        </p:attrNameLst>
                                      </p:cBhvr>
                                      <p:to>
                                        <p:strVal val="hidden"/>
                                      </p:to>
                                    </p:set>
                                  </p:childTnLst>
                                </p:cTn>
                              </p:par>
                              <p:par>
                                <p:cTn id="128" presetID="10" presetClass="exit" presetSubtype="0" fill="hold" nodeType="withEffect">
                                  <p:stCondLst>
                                    <p:cond delay="0"/>
                                  </p:stCondLst>
                                  <p:childTnLst>
                                    <p:animEffect transition="out" filter="fade">
                                      <p:cBhvr>
                                        <p:cTn id="129" dur="500"/>
                                        <p:tgtEl>
                                          <p:spTgt spid="138"/>
                                        </p:tgtEl>
                                      </p:cBhvr>
                                    </p:animEffect>
                                    <p:set>
                                      <p:cBhvr>
                                        <p:cTn id="130" dur="1" fill="hold">
                                          <p:stCondLst>
                                            <p:cond delay="499"/>
                                          </p:stCondLst>
                                        </p:cTn>
                                        <p:tgtEl>
                                          <p:spTgt spid="138"/>
                                        </p:tgtEl>
                                        <p:attrNameLst>
                                          <p:attrName>style.visibility</p:attrName>
                                        </p:attrNameLst>
                                      </p:cBhvr>
                                      <p:to>
                                        <p:strVal val="hidden"/>
                                      </p:to>
                                    </p:set>
                                  </p:childTnLst>
                                </p:cTn>
                              </p:par>
                              <p:par>
                                <p:cTn id="131" presetID="10" presetClass="entr" presetSubtype="0" fill="hold" grpId="0" nodeType="withEffect">
                                  <p:stCondLst>
                                    <p:cond delay="0"/>
                                  </p:stCondLst>
                                  <p:childTnLst>
                                    <p:set>
                                      <p:cBhvr>
                                        <p:cTn id="132" dur="1" fill="hold">
                                          <p:stCondLst>
                                            <p:cond delay="0"/>
                                          </p:stCondLst>
                                        </p:cTn>
                                        <p:tgtEl>
                                          <p:spTgt spid="136"/>
                                        </p:tgtEl>
                                        <p:attrNameLst>
                                          <p:attrName>style.visibility</p:attrName>
                                        </p:attrNameLst>
                                      </p:cBhvr>
                                      <p:to>
                                        <p:strVal val="visible"/>
                                      </p:to>
                                    </p:set>
                                    <p:animEffect transition="in" filter="fade">
                                      <p:cBhvr>
                                        <p:cTn id="133" dur="500"/>
                                        <p:tgtEl>
                                          <p:spTgt spid="136"/>
                                        </p:tgtEl>
                                      </p:cBhvr>
                                    </p:animEffect>
                                  </p:childTnLst>
                                </p:cTn>
                              </p:par>
                              <p:par>
                                <p:cTn id="134" presetID="9" presetClass="emph" presetSubtype="0" grpId="1" nodeType="withEffect">
                                  <p:stCondLst>
                                    <p:cond delay="0"/>
                                  </p:stCondLst>
                                  <p:childTnLst>
                                    <p:set>
                                      <p:cBhvr rctx="PPT">
                                        <p:cTn id="135" dur="indefinite"/>
                                        <p:tgtEl>
                                          <p:spTgt spid="108"/>
                                        </p:tgtEl>
                                        <p:attrNameLst>
                                          <p:attrName>style.opacity</p:attrName>
                                        </p:attrNameLst>
                                      </p:cBhvr>
                                      <p:to>
                                        <p:strVal val="0"/>
                                      </p:to>
                                    </p:set>
                                    <p:animEffect filter="image" prLst="opacity: 0">
                                      <p:cBhvr rctx="IE">
                                        <p:cTn id="136" dur="indefinite"/>
                                        <p:tgtEl>
                                          <p:spTgt spid="108"/>
                                        </p:tgtEl>
                                      </p:cBhvr>
                                    </p:animEffect>
                                  </p:childTnLst>
                                </p:cTn>
                              </p:par>
                              <p:par>
                                <p:cTn id="137" presetID="9" presetClass="emph" presetSubtype="0" grpId="2" nodeType="withEffect">
                                  <p:stCondLst>
                                    <p:cond delay="0"/>
                                  </p:stCondLst>
                                  <p:childTnLst>
                                    <p:set>
                                      <p:cBhvr rctx="PPT">
                                        <p:cTn id="138" dur="indefinite"/>
                                        <p:tgtEl>
                                          <p:spTgt spid="108"/>
                                        </p:tgtEl>
                                        <p:attrNameLst>
                                          <p:attrName>style.opacity</p:attrName>
                                        </p:attrNameLst>
                                      </p:cBhvr>
                                      <p:to>
                                        <p:strVal val="0.25"/>
                                      </p:to>
                                    </p:set>
                                    <p:animEffect filter="image" prLst="opacity: 0.25">
                                      <p:cBhvr rctx="IE">
                                        <p:cTn id="139" dur="indefinite"/>
                                        <p:tgtEl>
                                          <p:spTgt spid="108"/>
                                        </p:tgtEl>
                                      </p:cBhvr>
                                    </p:animEffect>
                                  </p:childTnLst>
                                </p:cTn>
                              </p:par>
                              <p:par>
                                <p:cTn id="140" presetID="9" presetClass="emph" presetSubtype="0" grpId="1" nodeType="withEffect">
                                  <p:stCondLst>
                                    <p:cond delay="0"/>
                                  </p:stCondLst>
                                  <p:childTnLst>
                                    <p:set>
                                      <p:cBhvr rctx="PPT">
                                        <p:cTn id="141" dur="indefinite"/>
                                        <p:tgtEl>
                                          <p:spTgt spid="120"/>
                                        </p:tgtEl>
                                        <p:attrNameLst>
                                          <p:attrName>style.opacity</p:attrName>
                                        </p:attrNameLst>
                                      </p:cBhvr>
                                      <p:to>
                                        <p:strVal val="0.25"/>
                                      </p:to>
                                    </p:set>
                                    <p:animEffect filter="image" prLst="opacity: 0.25">
                                      <p:cBhvr rctx="IE">
                                        <p:cTn id="142" dur="indefinite"/>
                                        <p:tgtEl>
                                          <p:spTgt spid="120"/>
                                        </p:tgtEl>
                                      </p:cBhvr>
                                    </p:animEffect>
                                  </p:childTnLst>
                                </p:cTn>
                              </p:par>
                              <p:par>
                                <p:cTn id="143" presetID="9" presetClass="emph" presetSubtype="0" grpId="1" nodeType="withEffect">
                                  <p:stCondLst>
                                    <p:cond delay="0"/>
                                  </p:stCondLst>
                                  <p:childTnLst>
                                    <p:set>
                                      <p:cBhvr rctx="PPT">
                                        <p:cTn id="144" dur="indefinite"/>
                                        <p:tgtEl>
                                          <p:spTgt spid="124"/>
                                        </p:tgtEl>
                                        <p:attrNameLst>
                                          <p:attrName>style.opacity</p:attrName>
                                        </p:attrNameLst>
                                      </p:cBhvr>
                                      <p:to>
                                        <p:strVal val="0.25"/>
                                      </p:to>
                                    </p:set>
                                    <p:animEffect filter="image" prLst="opacity: 0.25">
                                      <p:cBhvr rctx="IE">
                                        <p:cTn id="145" dur="indefinite"/>
                                        <p:tgtEl>
                                          <p:spTgt spid="124"/>
                                        </p:tgtEl>
                                      </p:cBhvr>
                                    </p:animEffect>
                                  </p:childTnLst>
                                </p:cTn>
                              </p:par>
                              <p:par>
                                <p:cTn id="146" presetID="9" presetClass="emph" presetSubtype="0" grpId="0" nodeType="withEffect">
                                  <p:stCondLst>
                                    <p:cond delay="0"/>
                                  </p:stCondLst>
                                  <p:childTnLst>
                                    <p:set>
                                      <p:cBhvr rctx="PPT">
                                        <p:cTn id="147" dur="indefinite"/>
                                        <p:tgtEl>
                                          <p:spTgt spid="116"/>
                                        </p:tgtEl>
                                        <p:attrNameLst>
                                          <p:attrName>style.opacity</p:attrName>
                                        </p:attrNameLst>
                                      </p:cBhvr>
                                      <p:to>
                                        <p:strVal val="0.25"/>
                                      </p:to>
                                    </p:set>
                                    <p:animEffect filter="image" prLst="opacity: 0.25">
                                      <p:cBhvr rctx="IE">
                                        <p:cTn id="148" dur="indefinite"/>
                                        <p:tgtEl>
                                          <p:spTgt spid="116"/>
                                        </p:tgtEl>
                                      </p:cBhvr>
                                    </p:animEffect>
                                  </p:childTnLst>
                                </p:cTn>
                              </p:par>
                            </p:childTnLst>
                          </p:cTn>
                        </p:par>
                        <p:par>
                          <p:cTn id="149" fill="hold">
                            <p:stCondLst>
                              <p:cond delay="500"/>
                            </p:stCondLst>
                            <p:childTnLst>
                              <p:par>
                                <p:cTn id="150" presetID="2" presetClass="entr" presetSubtype="8" decel="100000" fill="hold" grpId="0" nodeType="afterEffect">
                                  <p:stCondLst>
                                    <p:cond delay="0"/>
                                  </p:stCondLst>
                                  <p:childTnLst>
                                    <p:set>
                                      <p:cBhvr>
                                        <p:cTn id="151" dur="1" fill="hold">
                                          <p:stCondLst>
                                            <p:cond delay="0"/>
                                          </p:stCondLst>
                                        </p:cTn>
                                        <p:tgtEl>
                                          <p:spTgt spid="112"/>
                                        </p:tgtEl>
                                        <p:attrNameLst>
                                          <p:attrName>style.visibility</p:attrName>
                                        </p:attrNameLst>
                                      </p:cBhvr>
                                      <p:to>
                                        <p:strVal val="visible"/>
                                      </p:to>
                                    </p:set>
                                    <p:anim calcmode="lin" valueType="num">
                                      <p:cBhvr additive="base">
                                        <p:cTn id="152" dur="500" fill="hold"/>
                                        <p:tgtEl>
                                          <p:spTgt spid="112"/>
                                        </p:tgtEl>
                                        <p:attrNameLst>
                                          <p:attrName>ppt_x</p:attrName>
                                        </p:attrNameLst>
                                      </p:cBhvr>
                                      <p:tavLst>
                                        <p:tav tm="0">
                                          <p:val>
                                            <p:strVal val="0-#ppt_w/2"/>
                                          </p:val>
                                        </p:tav>
                                        <p:tav tm="100000">
                                          <p:val>
                                            <p:strVal val="#ppt_x"/>
                                          </p:val>
                                        </p:tav>
                                      </p:tavLst>
                                    </p:anim>
                                    <p:anim calcmode="lin" valueType="num">
                                      <p:cBhvr additive="base">
                                        <p:cTn id="153" dur="500" fill="hold"/>
                                        <p:tgtEl>
                                          <p:spTgt spid="112"/>
                                        </p:tgtEl>
                                        <p:attrNameLst>
                                          <p:attrName>ppt_y</p:attrName>
                                        </p:attrNameLst>
                                      </p:cBhvr>
                                      <p:tavLst>
                                        <p:tav tm="0">
                                          <p:val>
                                            <p:strVal val="#ppt_y"/>
                                          </p:val>
                                        </p:tav>
                                        <p:tav tm="100000">
                                          <p:val>
                                            <p:strVal val="#ppt_y"/>
                                          </p:val>
                                        </p:tav>
                                      </p:tavLst>
                                    </p:anim>
                                  </p:childTnLst>
                                </p:cTn>
                              </p:par>
                              <p:par>
                                <p:cTn id="154" presetID="2" presetClass="entr" presetSubtype="8" decel="100000" fill="hold" grpId="0" nodeType="withEffect">
                                  <p:stCondLst>
                                    <p:cond delay="0"/>
                                  </p:stCondLst>
                                  <p:childTnLst>
                                    <p:set>
                                      <p:cBhvr>
                                        <p:cTn id="155" dur="1" fill="hold">
                                          <p:stCondLst>
                                            <p:cond delay="0"/>
                                          </p:stCondLst>
                                        </p:cTn>
                                        <p:tgtEl>
                                          <p:spTgt spid="123"/>
                                        </p:tgtEl>
                                        <p:attrNameLst>
                                          <p:attrName>style.visibility</p:attrName>
                                        </p:attrNameLst>
                                      </p:cBhvr>
                                      <p:to>
                                        <p:strVal val="visible"/>
                                      </p:to>
                                    </p:set>
                                    <p:anim calcmode="lin" valueType="num">
                                      <p:cBhvr additive="base">
                                        <p:cTn id="156" dur="500" fill="hold"/>
                                        <p:tgtEl>
                                          <p:spTgt spid="123"/>
                                        </p:tgtEl>
                                        <p:attrNameLst>
                                          <p:attrName>ppt_x</p:attrName>
                                        </p:attrNameLst>
                                      </p:cBhvr>
                                      <p:tavLst>
                                        <p:tav tm="0">
                                          <p:val>
                                            <p:strVal val="0-#ppt_w/2"/>
                                          </p:val>
                                        </p:tav>
                                        <p:tav tm="100000">
                                          <p:val>
                                            <p:strVal val="#ppt_x"/>
                                          </p:val>
                                        </p:tav>
                                      </p:tavLst>
                                    </p:anim>
                                    <p:anim calcmode="lin" valueType="num">
                                      <p:cBhvr additive="base">
                                        <p:cTn id="157" dur="500" fill="hold"/>
                                        <p:tgtEl>
                                          <p:spTgt spid="123"/>
                                        </p:tgtEl>
                                        <p:attrNameLst>
                                          <p:attrName>ppt_y</p:attrName>
                                        </p:attrNameLst>
                                      </p:cBhvr>
                                      <p:tavLst>
                                        <p:tav tm="0">
                                          <p:val>
                                            <p:strVal val="#ppt_y"/>
                                          </p:val>
                                        </p:tav>
                                        <p:tav tm="100000">
                                          <p:val>
                                            <p:strVal val="#ppt_y"/>
                                          </p:val>
                                        </p:tav>
                                      </p:tavLst>
                                    </p:anim>
                                  </p:childTnLst>
                                </p:cTn>
                              </p:par>
                              <p:par>
                                <p:cTn id="158" presetID="2" presetClass="entr" presetSubtype="8" decel="100000" fill="hold" grpId="0" nodeType="withEffect">
                                  <p:stCondLst>
                                    <p:cond delay="0"/>
                                  </p:stCondLst>
                                  <p:childTnLst>
                                    <p:set>
                                      <p:cBhvr>
                                        <p:cTn id="159" dur="1" fill="hold">
                                          <p:stCondLst>
                                            <p:cond delay="0"/>
                                          </p:stCondLst>
                                        </p:cTn>
                                        <p:tgtEl>
                                          <p:spTgt spid="127"/>
                                        </p:tgtEl>
                                        <p:attrNameLst>
                                          <p:attrName>style.visibility</p:attrName>
                                        </p:attrNameLst>
                                      </p:cBhvr>
                                      <p:to>
                                        <p:strVal val="visible"/>
                                      </p:to>
                                    </p:set>
                                    <p:anim calcmode="lin" valueType="num">
                                      <p:cBhvr additive="base">
                                        <p:cTn id="160" dur="500" fill="hold"/>
                                        <p:tgtEl>
                                          <p:spTgt spid="127"/>
                                        </p:tgtEl>
                                        <p:attrNameLst>
                                          <p:attrName>ppt_x</p:attrName>
                                        </p:attrNameLst>
                                      </p:cBhvr>
                                      <p:tavLst>
                                        <p:tav tm="0">
                                          <p:val>
                                            <p:strVal val="0-#ppt_w/2"/>
                                          </p:val>
                                        </p:tav>
                                        <p:tav tm="100000">
                                          <p:val>
                                            <p:strVal val="#ppt_x"/>
                                          </p:val>
                                        </p:tav>
                                      </p:tavLst>
                                    </p:anim>
                                    <p:anim calcmode="lin" valueType="num">
                                      <p:cBhvr additive="base">
                                        <p:cTn id="161" dur="500" fill="hold"/>
                                        <p:tgtEl>
                                          <p:spTgt spid="127"/>
                                        </p:tgtEl>
                                        <p:attrNameLst>
                                          <p:attrName>ppt_y</p:attrName>
                                        </p:attrNameLst>
                                      </p:cBhvr>
                                      <p:tavLst>
                                        <p:tav tm="0">
                                          <p:val>
                                            <p:strVal val="#ppt_y"/>
                                          </p:val>
                                        </p:tav>
                                        <p:tav tm="100000">
                                          <p:val>
                                            <p:strVal val="#ppt_y"/>
                                          </p:val>
                                        </p:tav>
                                      </p:tavLst>
                                    </p:anim>
                                  </p:childTnLst>
                                </p:cTn>
                              </p:par>
                              <p:par>
                                <p:cTn id="162" presetID="2" presetClass="entr" presetSubtype="2" decel="100000" fill="hold" grpId="0" nodeType="withEffect">
                                  <p:stCondLst>
                                    <p:cond delay="0"/>
                                  </p:stCondLst>
                                  <p:childTnLst>
                                    <p:set>
                                      <p:cBhvr>
                                        <p:cTn id="163" dur="1" fill="hold">
                                          <p:stCondLst>
                                            <p:cond delay="0"/>
                                          </p:stCondLst>
                                        </p:cTn>
                                        <p:tgtEl>
                                          <p:spTgt spid="141"/>
                                        </p:tgtEl>
                                        <p:attrNameLst>
                                          <p:attrName>style.visibility</p:attrName>
                                        </p:attrNameLst>
                                      </p:cBhvr>
                                      <p:to>
                                        <p:strVal val="visible"/>
                                      </p:to>
                                    </p:set>
                                    <p:anim calcmode="lin" valueType="num">
                                      <p:cBhvr additive="base">
                                        <p:cTn id="164" dur="750" fill="hold"/>
                                        <p:tgtEl>
                                          <p:spTgt spid="141"/>
                                        </p:tgtEl>
                                        <p:attrNameLst>
                                          <p:attrName>ppt_x</p:attrName>
                                        </p:attrNameLst>
                                      </p:cBhvr>
                                      <p:tavLst>
                                        <p:tav tm="0">
                                          <p:val>
                                            <p:strVal val="1+#ppt_w/2"/>
                                          </p:val>
                                        </p:tav>
                                        <p:tav tm="100000">
                                          <p:val>
                                            <p:strVal val="#ppt_x"/>
                                          </p:val>
                                        </p:tav>
                                      </p:tavLst>
                                    </p:anim>
                                    <p:anim calcmode="lin" valueType="num">
                                      <p:cBhvr additive="base">
                                        <p:cTn id="165" dur="750" fill="hold"/>
                                        <p:tgtEl>
                                          <p:spTgt spid="14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6" grpId="0" animBg="1"/>
      <p:bldP spid="146" grpId="1" animBg="1"/>
      <p:bldP spid="17" grpId="0" animBg="1"/>
      <p:bldP spid="17" grpId="1" animBg="1"/>
      <p:bldP spid="108" grpId="0" animBg="1"/>
      <p:bldP spid="108" grpId="1" animBg="1"/>
      <p:bldP spid="108" grpId="2" animBg="1"/>
      <p:bldP spid="124" grpId="0" animBg="1"/>
      <p:bldP spid="124" grpId="1" animBg="1"/>
      <p:bldP spid="126" grpId="0" animBg="1"/>
      <p:bldP spid="120" grpId="0" animBg="1"/>
      <p:bldP spid="120" grpId="1" animBg="1"/>
      <p:bldP spid="122" grpId="0" animBg="1"/>
      <p:bldP spid="111" grpId="0" animBg="1"/>
      <p:bldP spid="110" grpId="0" animBg="1"/>
      <p:bldP spid="121" grpId="0" animBg="1"/>
      <p:bldP spid="125" grpId="0" animBg="1"/>
      <p:bldP spid="116" grpId="0" animBg="1"/>
      <p:bldP spid="131" grpId="0" build="allAtOnce"/>
      <p:bldP spid="131" grpId="1" build="allAtOnce"/>
      <p:bldP spid="337" grpId="0" animBg="1"/>
      <p:bldP spid="337" grpId="1" animBg="1"/>
      <p:bldP spid="141" grpId="0" animBg="1"/>
      <p:bldP spid="143" grpId="0"/>
      <p:bldP spid="136" grpId="0" animBg="1"/>
      <p:bldP spid="112" grpId="0" animBg="1"/>
      <p:bldP spid="127" grpId="0" animBg="1"/>
      <p:bldP spid="123" grpId="0" animBg="1"/>
    </p:bldLst>
  </p:timing>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6001122" y="990082"/>
            <a:ext cx="2772838" cy="3875237"/>
            <a:chOff x="496793" y="1302056"/>
            <a:chExt cx="3696154" cy="5166983"/>
          </a:xfrm>
        </p:grpSpPr>
        <p:sp>
          <p:nvSpPr>
            <p:cNvPr id="114" name="Rectangle 113"/>
            <p:cNvSpPr/>
            <p:nvPr/>
          </p:nvSpPr>
          <p:spPr>
            <a:xfrm>
              <a:off x="496793" y="1302057"/>
              <a:ext cx="3657600" cy="5166982"/>
            </a:xfrm>
            <a:prstGeom prst="rect">
              <a:avLst/>
            </a:prstGeom>
            <a:blipFill dpi="0" rotWithShape="1">
              <a:blip r:embed="rId3" cstate="print">
                <a:alphaModFix amt="9000"/>
              </a:blip>
              <a:srcRect/>
              <a:tile tx="0" ty="0" sx="100000" sy="100000" flip="none" algn="tl"/>
            </a:blipFill>
            <a:ln w="19050" cap="flat" cmpd="sng" algn="ctr">
              <a:solidFill>
                <a:srgbClr val="FFFFFF">
                  <a:alpha val="23922"/>
                </a:srgbClr>
              </a:solid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91426" tIns="45712" rIns="91426" bIns="45712" numCol="1" rtlCol="0" anchor="ctr" anchorCtr="0" compatLnSpc="1">
              <a:prstTxWarp prst="textNoShape">
                <a:avLst/>
              </a:prstTxWarp>
            </a:bodyPr>
            <a:lstStyle/>
            <a:p>
              <a:pPr defTabSz="685754" fontAlgn="base">
                <a:spcBef>
                  <a:spcPct val="0"/>
                </a:spcBef>
                <a:spcAft>
                  <a:spcPct val="0"/>
                </a:spcAft>
              </a:pPr>
              <a:r>
                <a:rPr lang="en-US" kern="0" dirty="0" smtClean="0">
                  <a:solidFill>
                    <a:sysClr val="windowText" lastClr="000000"/>
                  </a:solidFill>
                </a:rPr>
                <a:t>  </a:t>
              </a:r>
              <a:endParaRPr lang="en-US" kern="0" dirty="0">
                <a:solidFill>
                  <a:sysClr val="windowText" lastClr="000000"/>
                </a:solidFill>
              </a:endParaRPr>
            </a:p>
          </p:txBody>
        </p:sp>
        <p:pic>
          <p:nvPicPr>
            <p:cNvPr id="115" name="Picture 2" descr="C:\Users\v-junyo\Documents\Jun_Mesh\Microsoft Files\DesignTools\Brand Photos\Office Brand - No_exp\Office Anywhere\female laptop talking conversation restaurant public discussion people.jpg"/>
            <p:cNvPicPr>
              <a:picLocks noChangeAspect="1" noChangeArrowheads="1"/>
            </p:cNvPicPr>
            <p:nvPr/>
          </p:nvPicPr>
          <p:blipFill rotWithShape="1">
            <a:blip r:embed="rId4" cstate="email">
              <a:extLst>
                <a:ext uri="{28A0092B-C50C-407E-A947-70E740481C1C}">
                  <a14:useLocalDpi xmlns:a14="http://schemas.microsoft.com/office/drawing/2010/main"/>
                </a:ext>
              </a:extLst>
            </a:blip>
            <a:stretch/>
          </p:blipFill>
          <p:spPr bwMode="auto">
            <a:xfrm>
              <a:off x="496793" y="1302056"/>
              <a:ext cx="3656647" cy="2312288"/>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16" name="Title 4"/>
            <p:cNvSpPr txBox="1">
              <a:spLocks/>
            </p:cNvSpPr>
            <p:nvPr/>
          </p:nvSpPr>
          <p:spPr>
            <a:xfrm>
              <a:off x="496793" y="3774987"/>
              <a:ext cx="3696154" cy="14975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36" bIns="45718" numCol="1" spcCol="0" rtlCol="0" fromWordArt="0" anchor="t" anchorCtr="0" forceAA="0" compatLnSpc="1">
              <a:prstTxWarp prst="textNoShape">
                <a:avLst/>
              </a:prstTxWarp>
              <a:noAutofit/>
            </a:bodyPr>
            <a:lstStyle>
              <a:defPPr>
                <a:defRPr lang="en-US"/>
              </a:defPPr>
              <a:lvl1pPr defTabSz="914099" fontAlgn="base">
                <a:lnSpc>
                  <a:spcPct val="90000"/>
                </a:lnSpc>
                <a:spcBef>
                  <a:spcPct val="0"/>
                </a:spcBef>
                <a:spcAft>
                  <a:spcPct val="0"/>
                </a:spcAft>
                <a:defRPr sz="2800">
                  <a:gradFill>
                    <a:gsLst>
                      <a:gs pos="0">
                        <a:srgbClr val="FFFFFF"/>
                      </a:gs>
                      <a:gs pos="100000">
                        <a:srgbClr val="FFFFFF"/>
                      </a:gs>
                    </a:gsLst>
                    <a:lin ang="540000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lnSpc>
                  <a:spcPct val="150000"/>
                </a:lnSpc>
                <a:spcBef>
                  <a:spcPts val="225"/>
                </a:spcBef>
              </a:pPr>
              <a:r>
                <a:rPr lang="en-US" sz="1100" dirty="0">
                  <a:latin typeface="Segoe UI" pitchFamily="34" charset="0"/>
                  <a:ea typeface="Segoe UI" pitchFamily="34" charset="0"/>
                  <a:cs typeface="Segoe UI" pitchFamily="34" charset="0"/>
                </a:rPr>
                <a:t>Support WAN</a:t>
              </a:r>
            </a:p>
            <a:p>
              <a:pPr algn="ctr">
                <a:lnSpc>
                  <a:spcPct val="150000"/>
                </a:lnSpc>
                <a:spcBef>
                  <a:spcPts val="225"/>
                </a:spcBef>
              </a:pPr>
              <a:r>
                <a:rPr lang="en-US" sz="1100" dirty="0">
                  <a:latin typeface="Segoe UI" pitchFamily="34" charset="0"/>
                  <a:ea typeface="Segoe UI" pitchFamily="34" charset="0"/>
                  <a:cs typeface="Segoe UI" pitchFamily="34" charset="0"/>
                </a:rPr>
                <a:t>Adaptive Encoding</a:t>
              </a:r>
            </a:p>
            <a:p>
              <a:pPr algn="ctr">
                <a:lnSpc>
                  <a:spcPct val="150000"/>
                </a:lnSpc>
                <a:spcBef>
                  <a:spcPts val="225"/>
                </a:spcBef>
              </a:pPr>
              <a:r>
                <a:rPr lang="en-US" sz="1100" dirty="0">
                  <a:latin typeface="Segoe UI" pitchFamily="34" charset="0"/>
                  <a:ea typeface="Segoe UI" pitchFamily="34" charset="0"/>
                  <a:cs typeface="Segoe UI" pitchFamily="34" charset="0"/>
                </a:rPr>
                <a:t>Multi-Touch</a:t>
              </a:r>
            </a:p>
            <a:p>
              <a:pPr algn="ctr">
                <a:lnSpc>
                  <a:spcPct val="150000"/>
                </a:lnSpc>
                <a:spcBef>
                  <a:spcPts val="225"/>
                </a:spcBef>
              </a:pPr>
              <a:r>
                <a:rPr lang="en-US" sz="1100" dirty="0">
                  <a:latin typeface="Segoe UI" pitchFamily="34" charset="0"/>
                  <a:ea typeface="Segoe UI" pitchFamily="34" charset="0"/>
                  <a:cs typeface="Segoe UI" pitchFamily="34" charset="0"/>
                </a:rPr>
                <a:t>USB </a:t>
              </a:r>
              <a:r>
                <a:rPr lang="en-US" sz="1100" dirty="0" err="1">
                  <a:latin typeface="Segoe UI" pitchFamily="34" charset="0"/>
                  <a:ea typeface="Segoe UI" pitchFamily="34" charset="0"/>
                  <a:cs typeface="Segoe UI" pitchFamily="34" charset="0"/>
                </a:rPr>
                <a:t>remoting</a:t>
              </a:r>
              <a:r>
                <a:rPr lang="en-US" sz="1100" dirty="0">
                  <a:latin typeface="Segoe UI" pitchFamily="34" charset="0"/>
                  <a:ea typeface="Segoe UI" pitchFamily="34" charset="0"/>
                  <a:cs typeface="Segoe UI" pitchFamily="34" charset="0"/>
                </a:rPr>
                <a:t> for Sessions, VM’s, Physical</a:t>
              </a:r>
            </a:p>
            <a:p>
              <a:pPr algn="ctr">
                <a:lnSpc>
                  <a:spcPct val="150000"/>
                </a:lnSpc>
                <a:spcBef>
                  <a:spcPts val="225"/>
                </a:spcBef>
              </a:pPr>
              <a:r>
                <a:rPr lang="en-US" sz="1100" dirty="0">
                  <a:latin typeface="Segoe UI" pitchFamily="34" charset="0"/>
                  <a:ea typeface="Segoe UI" pitchFamily="34" charset="0"/>
                  <a:cs typeface="Segoe UI" pitchFamily="34" charset="0"/>
                </a:rPr>
                <a:t>Simplified user discovery and SSO</a:t>
              </a:r>
            </a:p>
            <a:p>
              <a:pPr algn="ctr">
                <a:lnSpc>
                  <a:spcPct val="150000"/>
                </a:lnSpc>
                <a:spcBef>
                  <a:spcPts val="225"/>
                </a:spcBef>
              </a:pPr>
              <a:r>
                <a:rPr lang="en-US" sz="1100" dirty="0" err="1">
                  <a:latin typeface="Segoe UI" pitchFamily="34" charset="0"/>
                  <a:ea typeface="Segoe UI" pitchFamily="34" charset="0"/>
                  <a:cs typeface="Segoe UI" pitchFamily="34" charset="0"/>
                </a:rPr>
                <a:t>RDWeb</a:t>
              </a:r>
              <a:r>
                <a:rPr lang="en-US" sz="1100" dirty="0">
                  <a:latin typeface="Segoe UI" pitchFamily="34" charset="0"/>
                  <a:ea typeface="Segoe UI" pitchFamily="34" charset="0"/>
                  <a:cs typeface="Segoe UI" pitchFamily="34" charset="0"/>
                </a:rPr>
                <a:t> Folders and file type association</a:t>
              </a:r>
            </a:p>
            <a:p>
              <a:pPr algn="ctr">
                <a:lnSpc>
                  <a:spcPct val="150000"/>
                </a:lnSpc>
                <a:spcBef>
                  <a:spcPts val="225"/>
                </a:spcBef>
              </a:pPr>
              <a:r>
                <a:rPr lang="en-US" sz="1100" dirty="0">
                  <a:latin typeface="Segoe UI" pitchFamily="34" charset="0"/>
                  <a:ea typeface="Segoe UI" pitchFamily="34" charset="0"/>
                  <a:cs typeface="Segoe UI" pitchFamily="34" charset="0"/>
                </a:rPr>
                <a:t>Easily extended by partners &amp; customers</a:t>
              </a:r>
            </a:p>
          </p:txBody>
        </p:sp>
        <p:sp>
          <p:nvSpPr>
            <p:cNvPr id="117" name="Rectangle 116"/>
            <p:cNvSpPr/>
            <p:nvPr/>
          </p:nvSpPr>
          <p:spPr>
            <a:xfrm>
              <a:off x="496793" y="2665526"/>
              <a:ext cx="3657600" cy="954670"/>
            </a:xfrm>
            <a:prstGeom prst="rect">
              <a:avLst/>
            </a:prstGeom>
            <a:solidFill>
              <a:srgbClr val="000000">
                <a:alpha val="6392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Rectangle 117"/>
            <p:cNvSpPr/>
            <p:nvPr/>
          </p:nvSpPr>
          <p:spPr>
            <a:xfrm>
              <a:off x="1040123" y="2663711"/>
              <a:ext cx="2570974" cy="861775"/>
            </a:xfrm>
            <a:prstGeom prst="rect">
              <a:avLst/>
            </a:prstGeom>
          </p:spPr>
          <p:txBody>
            <a:bodyPr wrap="none">
              <a:spAutoFit/>
            </a:bodyPr>
            <a:lstStyle/>
            <a:p>
              <a:pPr lvl="0" algn="ctr"/>
              <a:r>
                <a:rPr lang="en-US" sz="1800" dirty="0">
                  <a:solidFill>
                    <a:prstClr val="white"/>
                  </a:solidFill>
                  <a:latin typeface="Segoe Light" pitchFamily="34" charset="0"/>
                  <a:ea typeface="Segoe UI" pitchFamily="34" charset="0"/>
                  <a:cs typeface="Segoe UI" pitchFamily="34" charset="0"/>
                </a:rPr>
                <a:t>Rich Experience </a:t>
              </a:r>
            </a:p>
            <a:p>
              <a:pPr lvl="0" algn="ctr"/>
              <a:r>
                <a:rPr lang="en-US" sz="1800" dirty="0">
                  <a:solidFill>
                    <a:prstClr val="white"/>
                  </a:solidFill>
                  <a:latin typeface="Segoe Light" pitchFamily="34" charset="0"/>
                  <a:ea typeface="Segoe UI" pitchFamily="34" charset="0"/>
                  <a:cs typeface="Segoe UI" pitchFamily="34" charset="0"/>
                </a:rPr>
                <a:t>Everywhere</a:t>
              </a:r>
            </a:p>
          </p:txBody>
        </p:sp>
      </p:grpSp>
      <p:grpSp>
        <p:nvGrpSpPr>
          <p:cNvPr id="2" name="Group 1"/>
          <p:cNvGrpSpPr/>
          <p:nvPr/>
        </p:nvGrpSpPr>
        <p:grpSpPr>
          <a:xfrm>
            <a:off x="3169950" y="976544"/>
            <a:ext cx="2744470" cy="3875237"/>
            <a:chOff x="4225499" y="1302057"/>
            <a:chExt cx="3658340" cy="5166982"/>
          </a:xfrm>
        </p:grpSpPr>
        <p:sp>
          <p:nvSpPr>
            <p:cNvPr id="120" name="Rectangle 119"/>
            <p:cNvSpPr/>
            <p:nvPr/>
          </p:nvSpPr>
          <p:spPr>
            <a:xfrm>
              <a:off x="4225500" y="1302057"/>
              <a:ext cx="3657601" cy="5166982"/>
            </a:xfrm>
            <a:prstGeom prst="rect">
              <a:avLst/>
            </a:prstGeom>
            <a:blipFill dpi="0" rotWithShape="1">
              <a:blip r:embed="rId3" cstate="print">
                <a:alphaModFix amt="9000"/>
              </a:blip>
              <a:srcRect/>
              <a:tile tx="0" ty="0" sx="100000" sy="100000" flip="none" algn="tl"/>
            </a:blipFill>
            <a:ln w="19050" cap="flat" cmpd="sng" algn="ctr">
              <a:solidFill>
                <a:srgbClr val="FFFFFF">
                  <a:alpha val="23922"/>
                </a:srgbClr>
              </a:solid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91426" tIns="45712" rIns="91426" bIns="45712" numCol="1" rtlCol="0" anchor="ctr" anchorCtr="0" compatLnSpc="1">
              <a:prstTxWarp prst="textNoShape">
                <a:avLst/>
              </a:prstTxWarp>
            </a:bodyPr>
            <a:lstStyle/>
            <a:p>
              <a:pPr defTabSz="685754" fontAlgn="base">
                <a:spcBef>
                  <a:spcPct val="0"/>
                </a:spcBef>
                <a:spcAft>
                  <a:spcPct val="0"/>
                </a:spcAft>
              </a:pPr>
              <a:r>
                <a:rPr lang="en-US" kern="0" dirty="0" smtClean="0">
                  <a:solidFill>
                    <a:sysClr val="windowText" lastClr="000000"/>
                  </a:solidFill>
                </a:rPr>
                <a:t>  </a:t>
              </a:r>
              <a:endParaRPr lang="en-US" kern="0" dirty="0">
                <a:solidFill>
                  <a:sysClr val="windowText" lastClr="000000"/>
                </a:solidFill>
              </a:endParaRPr>
            </a:p>
          </p:txBody>
        </p:sp>
        <p:sp>
          <p:nvSpPr>
            <p:cNvPr id="121" name="Title 4"/>
            <p:cNvSpPr txBox="1">
              <a:spLocks/>
            </p:cNvSpPr>
            <p:nvPr/>
          </p:nvSpPr>
          <p:spPr>
            <a:xfrm>
              <a:off x="4247565" y="3943655"/>
              <a:ext cx="3636274" cy="21176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36" bIns="45718" numCol="1" spcCol="0" rtlCol="0" fromWordArt="0" anchor="t" anchorCtr="0" forceAA="0" compatLnSpc="1">
              <a:prstTxWarp prst="textNoShape">
                <a:avLst/>
              </a:prstTxWarp>
              <a:noAutofit/>
            </a:bodyPr>
            <a:lstStyle>
              <a:defPPr>
                <a:defRPr lang="en-US"/>
              </a:defPPr>
              <a:lvl1pPr algn="ctr" defTabSz="914099" fontAlgn="base">
                <a:lnSpc>
                  <a:spcPct val="90000"/>
                </a:lnSpc>
                <a:spcBef>
                  <a:spcPct val="0"/>
                </a:spcBef>
                <a:spcAft>
                  <a:spcPct val="0"/>
                </a:spcAft>
                <a:defRPr sz="160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pPr lvl="0">
                <a:lnSpc>
                  <a:spcPct val="150000"/>
                </a:lnSpc>
              </a:pPr>
              <a:r>
                <a:rPr lang="en-US" sz="1100" dirty="0"/>
                <a:t>Increase use cases for pooled desktops</a:t>
              </a:r>
            </a:p>
            <a:p>
              <a:pPr lvl="0">
                <a:lnSpc>
                  <a:spcPct val="150000"/>
                </a:lnSpc>
              </a:pPr>
              <a:r>
                <a:rPr lang="en-US" sz="1100" dirty="0"/>
                <a:t>Cheaper storage alternatives</a:t>
              </a:r>
            </a:p>
            <a:p>
              <a:pPr lvl="0">
                <a:lnSpc>
                  <a:spcPct val="100000"/>
                </a:lnSpc>
              </a:pPr>
              <a:r>
                <a:rPr lang="en-US" sz="1100" dirty="0"/>
                <a:t>Simplified VM creation, assignment, and patching</a:t>
              </a:r>
            </a:p>
            <a:p>
              <a:pPr lvl="0">
                <a:lnSpc>
                  <a:spcPct val="100000"/>
                </a:lnSpc>
              </a:pPr>
              <a:r>
                <a:rPr lang="en-US" sz="1100" dirty="0"/>
                <a:t>Fair share: network, disk I/O, and processor</a:t>
              </a:r>
            </a:p>
            <a:p>
              <a:pPr lvl="0">
                <a:lnSpc>
                  <a:spcPct val="150000"/>
                </a:lnSpc>
              </a:pPr>
              <a:r>
                <a:rPr lang="en-US" sz="1100" dirty="0"/>
                <a:t>GPU optional, synthetic GPU supplied</a:t>
              </a:r>
            </a:p>
            <a:p>
              <a:pPr lvl="0">
                <a:lnSpc>
                  <a:spcPct val="150000"/>
                </a:lnSpc>
              </a:pPr>
              <a:r>
                <a:rPr lang="en-US" sz="1100" dirty="0"/>
                <a:t>Full partner extensible platform</a:t>
              </a:r>
            </a:p>
            <a:p>
              <a:pPr>
                <a:spcBef>
                  <a:spcPts val="225"/>
                </a:spcBef>
              </a:pPr>
              <a:endParaRPr lang="en-US" sz="1100" dirty="0"/>
            </a:p>
          </p:txBody>
        </p:sp>
        <p:pic>
          <p:nvPicPr>
            <p:cNvPr id="122" name="Picture 14"/>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4225500" y="1302057"/>
              <a:ext cx="3656647" cy="2312286"/>
            </a:xfrm>
            <a:prstGeom prst="rect">
              <a:avLst/>
            </a:prstGeom>
            <a:noFill/>
            <a:extLst>
              <a:ext uri="{909E8E84-426E-40DD-AFC4-6F175D3DCCD1}">
                <a14:hiddenFill xmlns:a14="http://schemas.microsoft.com/office/drawing/2010/main">
                  <a:solidFill>
                    <a:srgbClr val="FFFFFF"/>
                  </a:solidFill>
                </a14:hiddenFill>
              </a:ext>
            </a:extLst>
          </p:spPr>
        </p:pic>
        <p:sp>
          <p:nvSpPr>
            <p:cNvPr id="123" name="Rectangle 122"/>
            <p:cNvSpPr/>
            <p:nvPr/>
          </p:nvSpPr>
          <p:spPr>
            <a:xfrm>
              <a:off x="4225499" y="2665525"/>
              <a:ext cx="3657600" cy="954670"/>
            </a:xfrm>
            <a:prstGeom prst="rect">
              <a:avLst/>
            </a:prstGeom>
            <a:solidFill>
              <a:srgbClr val="000000">
                <a:alpha val="6392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Rectangle 123"/>
            <p:cNvSpPr/>
            <p:nvPr/>
          </p:nvSpPr>
          <p:spPr>
            <a:xfrm>
              <a:off x="4677655" y="2663710"/>
              <a:ext cx="2776105" cy="861775"/>
            </a:xfrm>
            <a:prstGeom prst="rect">
              <a:avLst/>
            </a:prstGeom>
          </p:spPr>
          <p:txBody>
            <a:bodyPr wrap="none">
              <a:spAutoFit/>
            </a:bodyPr>
            <a:lstStyle/>
            <a:p>
              <a:pPr lvl="0" algn="ctr"/>
              <a:r>
                <a:rPr lang="en-US" sz="1800" dirty="0">
                  <a:solidFill>
                    <a:prstClr val="white"/>
                  </a:solidFill>
                  <a:latin typeface="Segoe Light" pitchFamily="34" charset="0"/>
                  <a:ea typeface="Segoe UI" pitchFamily="34" charset="0"/>
                  <a:cs typeface="Segoe UI" pitchFamily="34" charset="0"/>
                </a:rPr>
                <a:t>Best VDI Platform </a:t>
              </a:r>
            </a:p>
            <a:p>
              <a:pPr lvl="0" algn="ctr"/>
              <a:r>
                <a:rPr lang="en-US" sz="1800" dirty="0">
                  <a:solidFill>
                    <a:prstClr val="white"/>
                  </a:solidFill>
                  <a:latin typeface="Segoe Light" pitchFamily="34" charset="0"/>
                  <a:ea typeface="Segoe UI" pitchFamily="34" charset="0"/>
                  <a:cs typeface="Segoe UI" pitchFamily="34" charset="0"/>
                </a:rPr>
                <a:t>Value</a:t>
              </a:r>
            </a:p>
          </p:txBody>
        </p:sp>
      </p:grpSp>
      <p:grpSp>
        <p:nvGrpSpPr>
          <p:cNvPr id="125" name="Group 15"/>
          <p:cNvGrpSpPr/>
          <p:nvPr/>
        </p:nvGrpSpPr>
        <p:grpSpPr>
          <a:xfrm>
            <a:off x="328266" y="983313"/>
            <a:ext cx="2779920" cy="3875236"/>
            <a:chOff x="7850394" y="1302058"/>
            <a:chExt cx="3613896" cy="4411981"/>
          </a:xfrm>
        </p:grpSpPr>
        <p:sp>
          <p:nvSpPr>
            <p:cNvPr id="126" name="Rectangle 125"/>
            <p:cNvSpPr/>
            <p:nvPr/>
          </p:nvSpPr>
          <p:spPr>
            <a:xfrm>
              <a:off x="7875773" y="1302058"/>
              <a:ext cx="3567089" cy="4411981"/>
            </a:xfrm>
            <a:prstGeom prst="rect">
              <a:avLst/>
            </a:prstGeom>
            <a:blipFill dpi="0" rotWithShape="1">
              <a:blip r:embed="rId3" cstate="print">
                <a:alphaModFix amt="9000"/>
              </a:blip>
              <a:srcRect/>
              <a:tile tx="0" ty="0" sx="100000" sy="100000" flip="none" algn="tl"/>
            </a:blipFill>
            <a:ln w="19050" cap="flat" cmpd="sng" algn="ctr">
              <a:solidFill>
                <a:srgbClr val="FFFFFF">
                  <a:alpha val="23922"/>
                </a:srgbClr>
              </a:solid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91426" tIns="45712" rIns="91426" bIns="45712" numCol="1" rtlCol="0" anchor="ctr" anchorCtr="0" compatLnSpc="1">
              <a:prstTxWarp prst="textNoShape">
                <a:avLst/>
              </a:prstTxWarp>
            </a:bodyPr>
            <a:lstStyle/>
            <a:p>
              <a:pPr defTabSz="685754" fontAlgn="base">
                <a:spcBef>
                  <a:spcPct val="0"/>
                </a:spcBef>
                <a:spcAft>
                  <a:spcPct val="0"/>
                </a:spcAft>
              </a:pPr>
              <a:r>
                <a:rPr lang="en-US" kern="0" dirty="0" smtClean="0">
                  <a:solidFill>
                    <a:sysClr val="windowText" lastClr="000000"/>
                  </a:solidFill>
                </a:rPr>
                <a:t>  </a:t>
              </a:r>
              <a:endParaRPr lang="en-US" kern="0" dirty="0">
                <a:solidFill>
                  <a:sysClr val="windowText" lastClr="000000"/>
                </a:solidFill>
              </a:endParaRPr>
            </a:p>
          </p:txBody>
        </p:sp>
        <p:sp>
          <p:nvSpPr>
            <p:cNvPr id="127" name="Title 4"/>
            <p:cNvSpPr txBox="1">
              <a:spLocks/>
            </p:cNvSpPr>
            <p:nvPr/>
          </p:nvSpPr>
          <p:spPr>
            <a:xfrm>
              <a:off x="7850394" y="3585525"/>
              <a:ext cx="3613896" cy="1882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36" bIns="45718" numCol="1" spcCol="0" rtlCol="0" fromWordArt="0" anchor="t" anchorCtr="0" forceAA="0" compatLnSpc="1">
              <a:prstTxWarp prst="textNoShape">
                <a:avLst/>
              </a:prstTxWarp>
              <a:noAutofit/>
            </a:bodyPr>
            <a:lstStyle>
              <a:defPPr>
                <a:defRPr lang="en-US"/>
              </a:defPPr>
              <a:lvl1pPr algn="ctr" defTabSz="914099" fontAlgn="base">
                <a:lnSpc>
                  <a:spcPct val="90000"/>
                </a:lnSpc>
                <a:spcBef>
                  <a:spcPct val="0"/>
                </a:spcBef>
                <a:spcAft>
                  <a:spcPct val="0"/>
                </a:spcAft>
                <a:defRPr sz="160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pPr lvl="0">
                <a:lnSpc>
                  <a:spcPct val="150000"/>
                </a:lnSpc>
              </a:pPr>
              <a:r>
                <a:rPr lang="en-US" sz="1100" dirty="0"/>
                <a:t>Single management UI for Simplified</a:t>
              </a:r>
            </a:p>
            <a:p>
              <a:pPr lvl="0">
                <a:lnSpc>
                  <a:spcPct val="150000"/>
                </a:lnSpc>
              </a:pPr>
              <a:r>
                <a:rPr lang="en-US" sz="1100" dirty="0"/>
                <a:t>Scenario and advanced administration</a:t>
              </a:r>
            </a:p>
            <a:p>
              <a:pPr lvl="0">
                <a:lnSpc>
                  <a:spcPct val="100000"/>
                </a:lnSpc>
              </a:pPr>
              <a:r>
                <a:rPr lang="en-US" sz="1100" dirty="0"/>
                <a:t>Active/Active Connection Brokering</a:t>
              </a:r>
            </a:p>
            <a:p>
              <a:pPr lvl="0">
                <a:lnSpc>
                  <a:spcPct val="150000"/>
                </a:lnSpc>
              </a:pPr>
              <a:r>
                <a:rPr lang="en-US" sz="1100" dirty="0" err="1"/>
                <a:t>Powershell</a:t>
              </a:r>
              <a:r>
                <a:rPr lang="en-US" sz="1100" dirty="0"/>
                <a:t> administration across RDS</a:t>
              </a:r>
            </a:p>
            <a:p>
              <a:pPr lvl="0">
                <a:lnSpc>
                  <a:spcPct val="150000"/>
                </a:lnSpc>
              </a:pPr>
              <a:r>
                <a:rPr lang="en-US" sz="1100" dirty="0"/>
                <a:t>Reduced number of roles to manage</a:t>
              </a:r>
            </a:p>
            <a:p>
              <a:pPr lvl="0">
                <a:lnSpc>
                  <a:spcPct val="150000"/>
                </a:lnSpc>
              </a:pPr>
              <a:endParaRPr lang="en-US" sz="1100" dirty="0"/>
            </a:p>
          </p:txBody>
        </p:sp>
        <p:pic>
          <p:nvPicPr>
            <p:cNvPr id="128" name="Picture 13"/>
            <p:cNvPicPr>
              <a:picLocks noChangeAspect="1" noChangeArrowheads="1"/>
            </p:cNvPicPr>
            <p:nvPr/>
          </p:nvPicPr>
          <p:blipFill>
            <a:blip r:embed="rId6" cstate="email">
              <a:extLst>
                <a:ext uri="{28A0092B-C50C-407E-A947-70E740481C1C}">
                  <a14:useLocalDpi xmlns:a14="http://schemas.microsoft.com/office/drawing/2010/main"/>
                </a:ext>
              </a:extLst>
            </a:blip>
            <a:stretch>
              <a:fillRect/>
            </a:stretch>
          </p:blipFill>
          <p:spPr bwMode="auto">
            <a:xfrm>
              <a:off x="7875773" y="1309763"/>
              <a:ext cx="3566160" cy="1966708"/>
            </a:xfrm>
            <a:prstGeom prst="rect">
              <a:avLst/>
            </a:prstGeom>
            <a:noFill/>
            <a:extLst>
              <a:ext uri="{909E8E84-426E-40DD-AFC4-6F175D3DCCD1}">
                <a14:hiddenFill xmlns:a14="http://schemas.microsoft.com/office/drawing/2010/main">
                  <a:solidFill>
                    <a:srgbClr val="FFFFFF"/>
                  </a:solidFill>
                </a14:hiddenFill>
              </a:ext>
            </a:extLst>
          </p:spPr>
        </p:pic>
        <p:sp>
          <p:nvSpPr>
            <p:cNvPr id="129" name="Rectangle 128"/>
            <p:cNvSpPr/>
            <p:nvPr/>
          </p:nvSpPr>
          <p:spPr>
            <a:xfrm>
              <a:off x="7875773" y="2442988"/>
              <a:ext cx="3567089" cy="825221"/>
            </a:xfrm>
            <a:prstGeom prst="rect">
              <a:avLst/>
            </a:prstGeom>
            <a:solidFill>
              <a:srgbClr val="000000">
                <a:alpha val="6392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Rectangle 129"/>
            <p:cNvSpPr/>
            <p:nvPr/>
          </p:nvSpPr>
          <p:spPr>
            <a:xfrm>
              <a:off x="8661868" y="2441436"/>
              <a:ext cx="1990546" cy="735852"/>
            </a:xfrm>
            <a:prstGeom prst="rect">
              <a:avLst/>
            </a:prstGeom>
          </p:spPr>
          <p:txBody>
            <a:bodyPr wrap="none">
              <a:spAutoFit/>
            </a:bodyPr>
            <a:lstStyle/>
            <a:p>
              <a:pPr lvl="0" algn="ctr"/>
              <a:r>
                <a:rPr lang="en-US" sz="1800" dirty="0">
                  <a:solidFill>
                    <a:prstClr val="white"/>
                  </a:solidFill>
                  <a:latin typeface="Segoe Light" pitchFamily="34" charset="0"/>
                  <a:ea typeface="Segoe UI" pitchFamily="34" charset="0"/>
                  <a:cs typeface="Segoe UI" pitchFamily="34" charset="0"/>
                </a:rPr>
                <a:t>Simplified</a:t>
              </a:r>
              <a:br>
                <a:rPr lang="en-US" sz="1800" dirty="0">
                  <a:solidFill>
                    <a:prstClr val="white"/>
                  </a:solidFill>
                  <a:latin typeface="Segoe Light" pitchFamily="34" charset="0"/>
                  <a:ea typeface="Segoe UI" pitchFamily="34" charset="0"/>
                  <a:cs typeface="Segoe UI" pitchFamily="34" charset="0"/>
                </a:rPr>
              </a:br>
              <a:r>
                <a:rPr lang="en-US" sz="1800" dirty="0">
                  <a:solidFill>
                    <a:prstClr val="white"/>
                  </a:solidFill>
                  <a:latin typeface="Segoe Light" pitchFamily="34" charset="0"/>
                  <a:ea typeface="Segoe UI" pitchFamily="34" charset="0"/>
                  <a:cs typeface="Segoe UI" pitchFamily="34" charset="0"/>
                </a:rPr>
                <a:t>Management</a:t>
              </a:r>
            </a:p>
          </p:txBody>
        </p:sp>
      </p:grpSp>
      <p:sp>
        <p:nvSpPr>
          <p:cNvPr id="4" name="Title 3"/>
          <p:cNvSpPr>
            <a:spLocks noGrp="1"/>
          </p:cNvSpPr>
          <p:nvPr>
            <p:ph type="title"/>
          </p:nvPr>
        </p:nvSpPr>
        <p:spPr/>
        <p:txBody>
          <a:bodyPr/>
          <a:lstStyle/>
          <a:p>
            <a:r>
              <a:rPr lang="en-US" dirty="0" smtClean="0"/>
              <a:t>Remote Desktop Services Summary</a:t>
            </a:r>
            <a:endParaRPr lang="en-US" dirty="0"/>
          </a:p>
        </p:txBody>
      </p:sp>
      <p:sp>
        <p:nvSpPr>
          <p:cNvPr id="21"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2"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7"/>
              </a:rPr>
              <a:t>www.rapidbbs.cn</a:t>
            </a:r>
            <a:endParaRPr lang="zh-CN" altLang="en-US" sz="1200" b="0">
              <a:latin typeface="Arial" charset="0"/>
              <a:ea typeface="ＭＳ Ｐゴシック" pitchFamily="34" charset="-128"/>
            </a:endParaRPr>
          </a:p>
        </p:txBody>
      </p:sp>
      <p:pic>
        <p:nvPicPr>
          <p:cNvPr id="23" name="Picture 2">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28883101"/>
      </p:ext>
    </p:extLst>
  </p:cSld>
  <p:clrMapOvr>
    <a:masterClrMapping/>
  </p:clrMapOvr>
  <p:transition>
    <p:fade/>
  </p:transition>
  <p:timing>
    <p:tnLst>
      <p:par>
        <p:cTn id="1" dur="indefinite" restart="never" nodeType="tmRoot"/>
      </p:par>
    </p:tnLst>
  </p:timing>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ow it’s time to start deploying…</a:t>
            </a:r>
            <a:endParaRPr lang="en-US" dirty="0">
              <a:gradFill flip="none" rotWithShape="1">
                <a:gsLst>
                  <a:gs pos="0">
                    <a:schemeClr val="accent1"/>
                  </a:gs>
                  <a:gs pos="100000">
                    <a:schemeClr val="accent1"/>
                  </a:gs>
                </a:gsLst>
                <a:lin ang="5400000" scaled="0"/>
                <a:tileRect/>
              </a:gradFill>
            </a:endParaRPr>
          </a:p>
        </p:txBody>
      </p:sp>
      <p:sp>
        <p:nvSpPr>
          <p:cNvPr id="20" name="Rectangle 19"/>
          <p:cNvSpPr/>
          <p:nvPr/>
        </p:nvSpPr>
        <p:spPr bwMode="auto">
          <a:xfrm>
            <a:off x="6840661" y="1334693"/>
            <a:ext cx="1409147" cy="1408781"/>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b" anchorCtr="0" forceAA="0" compatLnSpc="1">
            <a:prstTxWarp prst="textNoShape">
              <a:avLst/>
            </a:prstTxWarp>
            <a:noAutofit/>
          </a:bodyPr>
          <a:lstStyle/>
          <a:p>
            <a:pPr defTabSz="685637" fontAlgn="base">
              <a:lnSpc>
                <a:spcPct val="80000"/>
              </a:lnSpc>
              <a:spcBef>
                <a:spcPct val="0"/>
              </a:spcBef>
              <a:spcAft>
                <a:spcPct val="0"/>
              </a:spcAft>
            </a:pPr>
            <a:r>
              <a:rPr lang="en-US" spc="-38" dirty="0">
                <a:gradFill>
                  <a:gsLst>
                    <a:gs pos="0">
                      <a:srgbClr val="FFFFFF"/>
                    </a:gs>
                    <a:gs pos="100000">
                      <a:srgbClr val="FFFFFF"/>
                    </a:gs>
                  </a:gsLst>
                  <a:lin ang="5400000" scaled="0"/>
                </a:gradFill>
                <a:ea typeface="Segoe UI" pitchFamily="34" charset="0"/>
                <a:cs typeface="Segoe UI" pitchFamily="34" charset="0"/>
              </a:rPr>
              <a:t>helpdesk</a:t>
            </a:r>
            <a:br>
              <a:rPr lang="en-US" spc="-38" dirty="0">
                <a:gradFill>
                  <a:gsLst>
                    <a:gs pos="0">
                      <a:srgbClr val="FFFFFF"/>
                    </a:gs>
                    <a:gs pos="100000">
                      <a:srgbClr val="FFFFFF"/>
                    </a:gs>
                  </a:gsLst>
                  <a:lin ang="5400000" scaled="0"/>
                </a:gradFill>
                <a:ea typeface="Segoe UI" pitchFamily="34" charset="0"/>
                <a:cs typeface="Segoe UI" pitchFamily="34" charset="0"/>
              </a:rPr>
            </a:br>
            <a:r>
              <a:rPr lang="en-US" spc="-38" dirty="0">
                <a:gradFill>
                  <a:gsLst>
                    <a:gs pos="0">
                      <a:srgbClr val="FFFFFF"/>
                    </a:gs>
                    <a:gs pos="100000">
                      <a:srgbClr val="FFFFFF"/>
                    </a:gs>
                  </a:gsLst>
                  <a:lin ang="5400000" scaled="0"/>
                </a:gradFill>
                <a:ea typeface="Segoe UI" pitchFamily="34" charset="0"/>
                <a:cs typeface="Segoe UI" pitchFamily="34" charset="0"/>
              </a:rPr>
              <a:t>bandwidth?</a:t>
            </a:r>
          </a:p>
          <a:p>
            <a:pPr defTabSz="685637" fontAlgn="base">
              <a:lnSpc>
                <a:spcPct val="80000"/>
              </a:lnSpc>
              <a:spcBef>
                <a:spcPct val="0"/>
              </a:spcBef>
              <a:spcAft>
                <a:spcPct val="0"/>
              </a:spcAft>
            </a:pPr>
            <a:r>
              <a:rPr lang="en-US" spc="-38" dirty="0">
                <a:gradFill>
                  <a:gsLst>
                    <a:gs pos="0">
                      <a:srgbClr val="FFFFFF"/>
                    </a:gs>
                    <a:gs pos="100000">
                      <a:srgbClr val="FFFFFF"/>
                    </a:gs>
                  </a:gsLst>
                  <a:lin ang="5400000" scaled="0"/>
                </a:gradFill>
                <a:ea typeface="Segoe UI" pitchFamily="34" charset="0"/>
                <a:cs typeface="Segoe UI" pitchFamily="34" charset="0"/>
              </a:rPr>
              <a:t>go faster!</a:t>
            </a:r>
          </a:p>
        </p:txBody>
      </p:sp>
      <p:sp>
        <p:nvSpPr>
          <p:cNvPr id="21" name="Rectangle 20"/>
          <p:cNvSpPr/>
          <p:nvPr/>
        </p:nvSpPr>
        <p:spPr bwMode="auto">
          <a:xfrm>
            <a:off x="6840661" y="2824637"/>
            <a:ext cx="1409147" cy="1408781"/>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b" anchorCtr="0" forceAA="0" compatLnSpc="1">
            <a:prstTxWarp prst="textNoShape">
              <a:avLst/>
            </a:prstTxWarp>
            <a:noAutofit/>
          </a:bodyPr>
          <a:lstStyle/>
          <a:p>
            <a:pPr defTabSz="685637" fontAlgn="base">
              <a:lnSpc>
                <a:spcPct val="80000"/>
              </a:lnSpc>
              <a:spcBef>
                <a:spcPct val="0"/>
              </a:spcBef>
              <a:spcAft>
                <a:spcPct val="0"/>
              </a:spcAft>
            </a:pPr>
            <a:r>
              <a:rPr lang="en-US" spc="-38" dirty="0">
                <a:gradFill>
                  <a:gsLst>
                    <a:gs pos="0">
                      <a:srgbClr val="FFFFFF"/>
                    </a:gs>
                    <a:gs pos="100000">
                      <a:srgbClr val="FFFFFF"/>
                    </a:gs>
                  </a:gsLst>
                  <a:lin ang="5400000" scaled="0"/>
                </a:gradFill>
                <a:ea typeface="Segoe UI" pitchFamily="34" charset="0"/>
                <a:cs typeface="Segoe UI" pitchFamily="34" charset="0"/>
              </a:rPr>
              <a:t>user satisfaction</a:t>
            </a:r>
            <a:br>
              <a:rPr lang="en-US" spc="-38" dirty="0">
                <a:gradFill>
                  <a:gsLst>
                    <a:gs pos="0">
                      <a:srgbClr val="FFFFFF"/>
                    </a:gs>
                    <a:gs pos="100000">
                      <a:srgbClr val="FFFFFF"/>
                    </a:gs>
                  </a:gsLst>
                  <a:lin ang="5400000" scaled="0"/>
                </a:gradFill>
                <a:ea typeface="Segoe UI" pitchFamily="34" charset="0"/>
                <a:cs typeface="Segoe UI" pitchFamily="34" charset="0"/>
              </a:rPr>
            </a:br>
            <a:r>
              <a:rPr lang="en-US" spc="-38" dirty="0">
                <a:gradFill>
                  <a:gsLst>
                    <a:gs pos="0">
                      <a:srgbClr val="FFFFFF"/>
                    </a:gs>
                    <a:gs pos="100000">
                      <a:srgbClr val="FFFFFF"/>
                    </a:gs>
                  </a:gsLst>
                  <a:lin ang="5400000" scaled="0"/>
                </a:gradFill>
                <a:ea typeface="Segoe UI" pitchFamily="34" charset="0"/>
                <a:cs typeface="Segoe UI" pitchFamily="34" charset="0"/>
              </a:rPr>
              <a:t>organic support</a:t>
            </a:r>
          </a:p>
        </p:txBody>
      </p:sp>
      <p:sp>
        <p:nvSpPr>
          <p:cNvPr id="22" name="Rectangle 21"/>
          <p:cNvSpPr/>
          <p:nvPr/>
        </p:nvSpPr>
        <p:spPr bwMode="auto">
          <a:xfrm>
            <a:off x="3870557" y="1334691"/>
            <a:ext cx="2899482" cy="2898726"/>
          </a:xfrm>
          <a:prstGeom prst="rect">
            <a:avLst/>
          </a:prstGeom>
          <a:blipFill dpi="0" rotWithShape="1">
            <a:blip r:embed="rId2" cstate="screen">
              <a:extLst>
                <a:ext uri="{28A0092B-C50C-407E-A947-70E740481C1C}">
                  <a14:useLocalDpi xmlns:a14="http://schemas.microsoft.com/office/drawing/2010/main"/>
                </a:ext>
              </a:extLst>
            </a:blip>
            <a:srcRect/>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6" tIns="68586" rIns="68586" bIns="68586" numCol="1" spcCol="0" rtlCol="0" fromWordArt="0" anchor="b" anchorCtr="0" forceAA="0" compatLnSpc="1">
            <a:prstTxWarp prst="textNoShape">
              <a:avLst/>
            </a:prstTxWarp>
            <a:noAutofit/>
          </a:bodyPr>
          <a:lstStyle/>
          <a:p>
            <a:pPr defTabSz="685637"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26"/>
          <p:cNvSpPr/>
          <p:nvPr/>
        </p:nvSpPr>
        <p:spPr bwMode="auto">
          <a:xfrm>
            <a:off x="894191" y="1334692"/>
            <a:ext cx="2901690" cy="658368"/>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b" anchorCtr="0" forceAA="0" compatLnSpc="1">
            <a:prstTxWarp prst="textNoShape">
              <a:avLst/>
            </a:prstTxWarp>
            <a:noAutofit/>
          </a:bodyPr>
          <a:lstStyle/>
          <a:p>
            <a:pPr defTabSz="685637"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a:off x="894191" y="2085105"/>
            <a:ext cx="2901690" cy="658368"/>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b" anchorCtr="0" forceAA="0" compatLnSpc="1">
            <a:prstTxWarp prst="textNoShape">
              <a:avLst/>
            </a:prstTxWarp>
            <a:noAutofit/>
          </a:bodyPr>
          <a:lstStyle/>
          <a:p>
            <a:pPr defTabSz="685637"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894191" y="2829845"/>
            <a:ext cx="2901690" cy="658368"/>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b" anchorCtr="0" forceAA="0" compatLnSpc="1">
            <a:prstTxWarp prst="textNoShape">
              <a:avLst/>
            </a:prstTxWarp>
            <a:noAutofit/>
          </a:bodyPr>
          <a:lstStyle/>
          <a:p>
            <a:pPr defTabSz="685637" fontAlgn="base">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1.0</a:t>
            </a:r>
          </a:p>
        </p:txBody>
      </p:sp>
      <p:sp>
        <p:nvSpPr>
          <p:cNvPr id="32" name="Rectangle 31"/>
          <p:cNvSpPr/>
          <p:nvPr/>
        </p:nvSpPr>
        <p:spPr bwMode="auto">
          <a:xfrm>
            <a:off x="894191" y="3580258"/>
            <a:ext cx="2901690" cy="658368"/>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b" anchorCtr="0" forceAA="0" compatLnSpc="1">
            <a:prstTxWarp prst="textNoShape">
              <a:avLst/>
            </a:prstTxWarp>
            <a:noAutofit/>
          </a:bodyPr>
          <a:lstStyle/>
          <a:p>
            <a:pPr defTabSz="685637"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33" name="Rectangle 32"/>
          <p:cNvSpPr/>
          <p:nvPr/>
        </p:nvSpPr>
        <p:spPr bwMode="auto">
          <a:xfrm>
            <a:off x="894193" y="1334692"/>
            <a:ext cx="116068" cy="658368"/>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b" anchorCtr="0" forceAA="0" compatLnSpc="1">
            <a:prstTxWarp prst="textNoShape">
              <a:avLst/>
            </a:prstTxWarp>
            <a:noAutofit/>
          </a:bodyPr>
          <a:lstStyle/>
          <a:p>
            <a:pPr defTabSz="685637" fontAlgn="base">
              <a:spcBef>
                <a:spcPct val="0"/>
              </a:spcBef>
              <a:spcAft>
                <a:spcPct val="0"/>
              </a:spcAft>
            </a:pPr>
            <a:endParaRPr lang="en-US" spc="-38" dirty="0">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894192" y="2085105"/>
            <a:ext cx="583082" cy="658368"/>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b" anchorCtr="0" forceAA="0" compatLnSpc="1">
            <a:prstTxWarp prst="textNoShape">
              <a:avLst/>
            </a:prstTxWarp>
            <a:noAutofit/>
          </a:bodyPr>
          <a:lstStyle/>
          <a:p>
            <a:pPr defTabSz="685637" fontAlgn="base">
              <a:spcBef>
                <a:spcPct val="0"/>
              </a:spcBef>
              <a:spcAft>
                <a:spcPct val="0"/>
              </a:spcAft>
            </a:pPr>
            <a:r>
              <a:rPr lang="en-US" b="1" spc="-38" dirty="0">
                <a:gradFill>
                  <a:gsLst>
                    <a:gs pos="0">
                      <a:srgbClr val="FFFFFF"/>
                    </a:gs>
                    <a:gs pos="100000">
                      <a:srgbClr val="FFFFFF"/>
                    </a:gs>
                  </a:gsLst>
                  <a:lin ang="5400000" scaled="0"/>
                </a:gradFill>
                <a:ea typeface="Segoe UI" pitchFamily="34" charset="0"/>
                <a:cs typeface="Segoe UI" pitchFamily="34" charset="0"/>
              </a:rPr>
              <a:t>20%</a:t>
            </a:r>
          </a:p>
        </p:txBody>
      </p:sp>
      <p:sp>
        <p:nvSpPr>
          <p:cNvPr id="35" name="Rectangle 34"/>
          <p:cNvSpPr/>
          <p:nvPr/>
        </p:nvSpPr>
        <p:spPr bwMode="auto">
          <a:xfrm>
            <a:off x="894192" y="2829845"/>
            <a:ext cx="960370" cy="658368"/>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b" anchorCtr="0" forceAA="0" compatLnSpc="1">
            <a:prstTxWarp prst="textNoShape">
              <a:avLst/>
            </a:prstTxWarp>
            <a:noAutofit/>
          </a:bodyPr>
          <a:lstStyle/>
          <a:p>
            <a:pPr defTabSz="685637" fontAlgn="base">
              <a:spcBef>
                <a:spcPct val="0"/>
              </a:spcBef>
              <a:spcAft>
                <a:spcPct val="0"/>
              </a:spcAft>
            </a:pPr>
            <a:r>
              <a:rPr lang="en-US" b="1" spc="-38" dirty="0">
                <a:gradFill>
                  <a:gsLst>
                    <a:gs pos="0">
                      <a:srgbClr val="FFFFFF"/>
                    </a:gs>
                    <a:gs pos="100000">
                      <a:srgbClr val="FFFFFF"/>
                    </a:gs>
                  </a:gsLst>
                  <a:lin ang="5400000" scaled="0"/>
                </a:gradFill>
                <a:ea typeface="Segoe UI" pitchFamily="34" charset="0"/>
                <a:cs typeface="Segoe UI" pitchFamily="34" charset="0"/>
              </a:rPr>
              <a:t>33% </a:t>
            </a:r>
            <a:r>
              <a:rPr lang="en-US" spc="-38" dirty="0">
                <a:gradFill>
                  <a:gsLst>
                    <a:gs pos="0">
                      <a:srgbClr val="FFFFFF"/>
                    </a:gs>
                    <a:gs pos="100000">
                      <a:srgbClr val="FFFFFF"/>
                    </a:gs>
                  </a:gsLst>
                  <a:lin ang="5400000" scaled="0"/>
                </a:gradFill>
                <a:ea typeface="Segoe UI" pitchFamily="34" charset="0"/>
                <a:cs typeface="Segoe UI" pitchFamily="34" charset="0"/>
              </a:rPr>
              <a:t>Q1</a:t>
            </a:r>
          </a:p>
        </p:txBody>
      </p:sp>
      <p:sp>
        <p:nvSpPr>
          <p:cNvPr id="36" name="Rectangle 35"/>
          <p:cNvSpPr/>
          <p:nvPr/>
        </p:nvSpPr>
        <p:spPr bwMode="auto">
          <a:xfrm>
            <a:off x="894191" y="3580258"/>
            <a:ext cx="1454275" cy="658368"/>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b" anchorCtr="0" forceAA="0" compatLnSpc="1">
            <a:prstTxWarp prst="textNoShape">
              <a:avLst/>
            </a:prstTxWarp>
            <a:noAutofit/>
          </a:bodyPr>
          <a:lstStyle/>
          <a:p>
            <a:pPr defTabSz="685637" fontAlgn="base">
              <a:spcBef>
                <a:spcPct val="0"/>
              </a:spcBef>
              <a:spcAft>
                <a:spcPct val="0"/>
              </a:spcAft>
            </a:pPr>
            <a:r>
              <a:rPr lang="en-US" b="1" spc="-38" dirty="0">
                <a:gradFill>
                  <a:gsLst>
                    <a:gs pos="0">
                      <a:srgbClr val="FFFFFF"/>
                    </a:gs>
                    <a:gs pos="100000">
                      <a:srgbClr val="FFFFFF"/>
                    </a:gs>
                  </a:gsLst>
                  <a:lin ang="5400000" scaled="0"/>
                </a:gradFill>
                <a:ea typeface="Segoe UI" pitchFamily="34" charset="0"/>
                <a:cs typeface="Segoe UI" pitchFamily="34" charset="0"/>
              </a:rPr>
              <a:t>50% </a:t>
            </a:r>
            <a:r>
              <a:rPr lang="en-US" spc="-38" dirty="0">
                <a:gradFill>
                  <a:gsLst>
                    <a:gs pos="0">
                      <a:srgbClr val="FFFFFF"/>
                    </a:gs>
                    <a:gs pos="100000">
                      <a:srgbClr val="FFFFFF"/>
                    </a:gs>
                  </a:gsLst>
                  <a:lin ang="5400000" scaled="0"/>
                </a:gradFill>
                <a:ea typeface="Segoe UI" pitchFamily="34" charset="0"/>
                <a:cs typeface="Segoe UI" pitchFamily="34" charset="0"/>
              </a:rPr>
              <a:t>Q2</a:t>
            </a:r>
          </a:p>
        </p:txBody>
      </p:sp>
      <p:sp>
        <p:nvSpPr>
          <p:cNvPr id="39" name="Right Arrow 38"/>
          <p:cNvSpPr/>
          <p:nvPr/>
        </p:nvSpPr>
        <p:spPr bwMode="auto">
          <a:xfrm rot="16200000">
            <a:off x="7318619" y="1846942"/>
            <a:ext cx="1182659" cy="610405"/>
          </a:xfrm>
          <a:prstGeom prst="rightArrow">
            <a:avLst/>
          </a:prstGeom>
          <a:solidFill>
            <a:srgbClr val="FBFBF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41" name="Freeform 14"/>
          <p:cNvSpPr>
            <a:spLocks noEditPoints="1"/>
          </p:cNvSpPr>
          <p:nvPr/>
        </p:nvSpPr>
        <p:spPr bwMode="auto">
          <a:xfrm>
            <a:off x="7271224" y="3050345"/>
            <a:ext cx="548022" cy="579963"/>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rgbClr val="FFFFFF"/>
          </a:solidFill>
          <a:ln w="38100" cap="flat" cmpd="sng" algn="ctr">
            <a:noFill/>
            <a:prstDash val="solid"/>
            <a:headEnd type="none" w="med" len="med"/>
            <a:tailEnd type="none" w="med" len="med"/>
          </a:ln>
          <a:effectLst/>
        </p:spPr>
        <p:txBody>
          <a:bodyPr vert="horz" wrap="square" lIns="68583" tIns="34292" rIns="68583" bIns="34292" numCol="1" rtlCol="0" anchor="ctr" anchorCtr="0" compatLnSpc="1">
            <a:prstTxWarp prst="textNoShape">
              <a:avLst/>
            </a:prstTxWarp>
          </a:bodyPr>
          <a:lstStyle/>
          <a:p>
            <a:pPr defTabSz="617272">
              <a:defRPr/>
            </a:pPr>
            <a:endParaRPr lang="en-US" sz="1700" kern="0" spc="-101" dirty="0">
              <a:solidFill>
                <a:srgbClr val="FFFFFF">
                  <a:lumMod val="50000"/>
                </a:srgbClr>
              </a:solidFill>
              <a:latin typeface="Segoe UI Light" pitchFamily="34" charset="0"/>
            </a:endParaRPr>
          </a:p>
        </p:txBody>
      </p:sp>
      <p:sp>
        <p:nvSpPr>
          <p:cNvPr id="16"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7"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pic>
        <p:nvPicPr>
          <p:cNvPr id="18"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16063168"/>
      </p:ext>
    </p:extLst>
  </p:cSld>
  <p:clrMapOvr>
    <a:masterClrMapping/>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timing>
    <p:tnLst>
      <p:par>
        <p:cTn id="1" dur="indefinite" restart="never" nodeType="tmRoot"/>
      </p:par>
    </p:tnLst>
  </p:timing>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6"/>
          <p:cNvGraphicFramePr/>
          <p:nvPr>
            <p:extLst>
              <p:ext uri="{D42A27DB-BD31-4B8C-83A1-F6EECF244321}">
                <p14:modId xmlns:p14="http://schemas.microsoft.com/office/powerpoint/2010/main" val="2747508111"/>
              </p:ext>
            </p:extLst>
          </p:nvPr>
        </p:nvGraphicFramePr>
        <p:xfrm>
          <a:off x="0" y="0"/>
          <a:ext cx="9144000" cy="5143500"/>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4"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pic>
        <p:nvPicPr>
          <p:cNvPr id="5"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63676089"/>
      </p:ext>
    </p:extLst>
  </p:cSld>
  <p:clrMapOvr>
    <a:masterClrMapping/>
  </p:clrMapOvr>
  <p:transition>
    <p:fade/>
  </p:transition>
  <p:timing>
    <p:tnLst>
      <p:par>
        <p:cTn id="1" dur="indefinite" restart="never" nodeType="tmRoot"/>
      </p:par>
    </p:tnLst>
  </p:timing>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8778383" y="4857751"/>
            <a:ext cx="365617" cy="183356"/>
          </a:xfrm>
          <a:prstGeom prst="rect">
            <a:avLst/>
          </a:prstGeom>
        </p:spPr>
        <p:txBody>
          <a:bodyPr lIns="68586" tIns="34294" rIns="68586" bIns="34294"/>
          <a:lstStyle/>
          <a:p>
            <a:fld id="{028F6CB6-376B-4822-816C-FE7F9E5510A1}" type="slidenum">
              <a:rPr lang="en-US" smtClean="0"/>
              <a:pPr/>
              <a:t>349</a:t>
            </a:fld>
            <a:endParaRPr lang="en-US" dirty="0"/>
          </a:p>
        </p:txBody>
      </p:sp>
      <p:sp>
        <p:nvSpPr>
          <p:cNvPr id="2" name="Title 1"/>
          <p:cNvSpPr>
            <a:spLocks noGrp="1"/>
          </p:cNvSpPr>
          <p:nvPr>
            <p:ph type="ctrTitle" idx="4294967295"/>
          </p:nvPr>
        </p:nvSpPr>
        <p:spPr>
          <a:xfrm>
            <a:off x="3052615" y="285751"/>
            <a:ext cx="5040038" cy="923925"/>
          </a:xfrm>
        </p:spPr>
        <p:txBody>
          <a:bodyPr>
            <a:normAutofit/>
          </a:bodyPr>
          <a:lstStyle/>
          <a:p>
            <a:r>
              <a:rPr lang="en-US" sz="2100" dirty="0">
                <a:solidFill>
                  <a:schemeClr val="tx1"/>
                </a:solidFill>
              </a:rPr>
              <a:t>Windows XP End of Support (</a:t>
            </a:r>
            <a:r>
              <a:rPr lang="en-US" sz="2100" dirty="0" err="1">
                <a:solidFill>
                  <a:schemeClr val="tx1"/>
                </a:solidFill>
              </a:rPr>
              <a:t>EoS</a:t>
            </a:r>
            <a:r>
              <a:rPr lang="en-US" sz="2100" dirty="0">
                <a:solidFill>
                  <a:schemeClr val="tx1"/>
                </a:solidFill>
              </a:rPr>
              <a:t>) is Coming</a:t>
            </a:r>
          </a:p>
        </p:txBody>
      </p:sp>
      <p:sp>
        <p:nvSpPr>
          <p:cNvPr id="6" name="Rectangle 5"/>
          <p:cNvSpPr/>
          <p:nvPr/>
        </p:nvSpPr>
        <p:spPr>
          <a:xfrm>
            <a:off x="7011162" y="2003328"/>
            <a:ext cx="558517" cy="273884"/>
          </a:xfrm>
          <a:prstGeom prst="rect">
            <a:avLst/>
          </a:prstGeom>
          <a:gradFill>
            <a:gsLst>
              <a:gs pos="42000">
                <a:srgbClr val="0070C0"/>
              </a:gs>
              <a:gs pos="100000">
                <a:srgbClr val="001F36"/>
              </a:gs>
            </a:gsLst>
            <a:lin ang="2700000" scaled="0"/>
          </a:gradFill>
          <a:ln>
            <a:noFill/>
          </a:ln>
          <a:effectLst/>
          <a:scene3d>
            <a:camera prst="perspectiveFront">
              <a:rot lat="660000" lon="20528775" rev="21480000"/>
            </a:camera>
            <a:lightRig rig="brightRoom" dir="t"/>
          </a:scene3d>
          <a:sp3d z="88900" extrusionH="1993900"/>
        </p:spPr>
        <p:style>
          <a:lnRef idx="2">
            <a:schemeClr val="accent1">
              <a:shade val="50000"/>
            </a:schemeClr>
          </a:lnRef>
          <a:fillRef idx="1">
            <a:schemeClr val="accent1"/>
          </a:fillRef>
          <a:effectRef idx="0">
            <a:schemeClr val="accent1"/>
          </a:effectRef>
          <a:fontRef idx="minor">
            <a:schemeClr val="lt1"/>
          </a:fontRef>
        </p:style>
        <p:txBody>
          <a:bodyPr lIns="68515" tIns="34256" rIns="68515" bIns="34256" rtlCol="0" anchor="ctr"/>
          <a:lstStyle/>
          <a:p>
            <a:pPr algn="ctr" defTabSz="513930"/>
            <a:r>
              <a:rPr lang="en-CA" sz="600" dirty="0">
                <a:solidFill>
                  <a:schemeClr val="tx1"/>
                </a:solidFill>
                <a:latin typeface="Segoe UI Semibold" pitchFamily="34" charset="0"/>
                <a:ea typeface="Segoe UI" pitchFamily="34" charset="0"/>
                <a:cs typeface="Segoe UI" pitchFamily="34" charset="0"/>
              </a:rPr>
              <a:t>End-User</a:t>
            </a:r>
          </a:p>
          <a:p>
            <a:pPr algn="ctr" defTabSz="513930"/>
            <a:r>
              <a:rPr lang="en-CA" sz="600" dirty="0">
                <a:solidFill>
                  <a:schemeClr val="tx1"/>
                </a:solidFill>
                <a:latin typeface="Segoe UI Semibold" pitchFamily="34" charset="0"/>
                <a:ea typeface="Segoe UI" pitchFamily="34" charset="0"/>
                <a:cs typeface="Segoe UI" pitchFamily="34" charset="0"/>
              </a:rPr>
              <a:t> Training</a:t>
            </a:r>
          </a:p>
        </p:txBody>
      </p:sp>
      <p:sp>
        <p:nvSpPr>
          <p:cNvPr id="7" name="Rectangle 6"/>
          <p:cNvSpPr/>
          <p:nvPr/>
        </p:nvSpPr>
        <p:spPr>
          <a:xfrm>
            <a:off x="6262932" y="2121220"/>
            <a:ext cx="614369" cy="273884"/>
          </a:xfrm>
          <a:prstGeom prst="rect">
            <a:avLst/>
          </a:prstGeom>
          <a:gradFill>
            <a:gsLst>
              <a:gs pos="42000">
                <a:srgbClr val="FF6600"/>
              </a:gs>
              <a:gs pos="100000">
                <a:srgbClr val="FFC000"/>
              </a:gs>
            </a:gsLst>
            <a:lin ang="2700000" scaled="0"/>
          </a:gradFill>
          <a:ln>
            <a:noFill/>
          </a:ln>
          <a:effectLst/>
          <a:scene3d>
            <a:camera prst="perspectiveFront">
              <a:rot lat="720000" lon="20978651" rev="21558000"/>
            </a:camera>
            <a:lightRig rig="brightRoom" dir="t"/>
          </a:scene3d>
          <a:sp3d z="88900" extrusionH="1993900"/>
        </p:spPr>
        <p:style>
          <a:lnRef idx="2">
            <a:schemeClr val="accent1">
              <a:shade val="50000"/>
            </a:schemeClr>
          </a:lnRef>
          <a:fillRef idx="1">
            <a:schemeClr val="accent1"/>
          </a:fillRef>
          <a:effectRef idx="0">
            <a:schemeClr val="accent1"/>
          </a:effectRef>
          <a:fontRef idx="minor">
            <a:schemeClr val="lt1"/>
          </a:fontRef>
        </p:style>
        <p:txBody>
          <a:bodyPr lIns="68515" tIns="34256" rIns="68515" bIns="34256" rtlCol="0" anchor="ctr"/>
          <a:lstStyle/>
          <a:p>
            <a:pPr algn="ctr" defTabSz="513930"/>
            <a:r>
              <a:rPr lang="en-CA" sz="600" dirty="0">
                <a:solidFill>
                  <a:schemeClr val="tx1"/>
                </a:solidFill>
                <a:latin typeface="Segoe UI Semibold" pitchFamily="34" charset="0"/>
                <a:ea typeface="Segoe UI" pitchFamily="34" charset="0"/>
                <a:cs typeface="Segoe UI" pitchFamily="34" charset="0"/>
              </a:rPr>
              <a:t>Deployment</a:t>
            </a:r>
          </a:p>
        </p:txBody>
      </p:sp>
      <p:sp>
        <p:nvSpPr>
          <p:cNvPr id="8" name="Rectangle 7"/>
          <p:cNvSpPr/>
          <p:nvPr/>
        </p:nvSpPr>
        <p:spPr>
          <a:xfrm>
            <a:off x="5440916" y="2263096"/>
            <a:ext cx="675805" cy="273884"/>
          </a:xfrm>
          <a:prstGeom prst="rect">
            <a:avLst/>
          </a:prstGeom>
          <a:gradFill>
            <a:gsLst>
              <a:gs pos="42000">
                <a:srgbClr val="99CC00"/>
              </a:gs>
              <a:gs pos="100000">
                <a:srgbClr val="99CC00">
                  <a:lumMod val="50000"/>
                </a:srgbClr>
              </a:gs>
            </a:gsLst>
            <a:lin ang="2700000" scaled="0"/>
          </a:gradFill>
          <a:ln>
            <a:noFill/>
          </a:ln>
          <a:effectLst/>
          <a:scene3d>
            <a:camera prst="perspectiveFront">
              <a:rot lat="840000" lon="21289408" rev="30000"/>
            </a:camera>
            <a:lightRig rig="brightRoom" dir="t"/>
          </a:scene3d>
          <a:sp3d z="88900" extrusionH="1993900"/>
        </p:spPr>
        <p:style>
          <a:lnRef idx="2">
            <a:schemeClr val="accent1">
              <a:shade val="50000"/>
            </a:schemeClr>
          </a:lnRef>
          <a:fillRef idx="1">
            <a:schemeClr val="accent1"/>
          </a:fillRef>
          <a:effectRef idx="0">
            <a:schemeClr val="accent1"/>
          </a:effectRef>
          <a:fontRef idx="minor">
            <a:schemeClr val="lt1"/>
          </a:fontRef>
        </p:style>
        <p:txBody>
          <a:bodyPr lIns="68515" tIns="34256" rIns="68515" bIns="34256" rtlCol="0" anchor="ctr"/>
          <a:lstStyle/>
          <a:p>
            <a:pPr algn="ctr" defTabSz="513930"/>
            <a:r>
              <a:rPr lang="en-CA" sz="600" dirty="0">
                <a:solidFill>
                  <a:schemeClr val="tx1"/>
                </a:solidFill>
                <a:latin typeface="Segoe UI Semibold" pitchFamily="34" charset="0"/>
                <a:ea typeface="Segoe UI" pitchFamily="34" charset="0"/>
                <a:cs typeface="Segoe UI" pitchFamily="34" charset="0"/>
              </a:rPr>
              <a:t>Infrastructure</a:t>
            </a:r>
          </a:p>
        </p:txBody>
      </p:sp>
      <p:grpSp>
        <p:nvGrpSpPr>
          <p:cNvPr id="9" name="Group 8"/>
          <p:cNvGrpSpPr/>
          <p:nvPr/>
        </p:nvGrpSpPr>
        <p:grpSpPr>
          <a:xfrm flipV="1">
            <a:off x="1431983" y="3345845"/>
            <a:ext cx="606785" cy="192418"/>
            <a:chOff x="2357422" y="2560576"/>
            <a:chExt cx="1500198" cy="2087451"/>
          </a:xfrm>
        </p:grpSpPr>
        <p:cxnSp>
          <p:nvCxnSpPr>
            <p:cNvPr id="10" name="Straight Connector 93"/>
            <p:cNvCxnSpPr/>
            <p:nvPr/>
          </p:nvCxnSpPr>
          <p:spPr>
            <a:xfrm rot="5400000" flipH="1" flipV="1">
              <a:off x="2063795" y="3601583"/>
              <a:ext cx="2087451" cy="5437"/>
            </a:xfrm>
            <a:prstGeom prst="line">
              <a:avLst/>
            </a:prstGeom>
            <a:ln w="12700">
              <a:solidFill>
                <a:schemeClr val="accent1">
                  <a:lumMod val="75000"/>
                </a:schemeClr>
              </a:solidFill>
              <a:headEnd type="ova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2357422" y="2563118"/>
              <a:ext cx="1500198" cy="0"/>
            </a:xfrm>
            <a:prstGeom prst="line">
              <a:avLst/>
            </a:prstGeom>
            <a:ln w="12700">
              <a:solidFill>
                <a:schemeClr val="accent1">
                  <a:lumMod val="75000"/>
                </a:schemeClr>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12" name="TextBox 11"/>
          <p:cNvSpPr txBox="1"/>
          <p:nvPr/>
        </p:nvSpPr>
        <p:spPr>
          <a:xfrm>
            <a:off x="4690162" y="4085047"/>
            <a:ext cx="630686" cy="415421"/>
          </a:xfrm>
          <a:prstGeom prst="rect">
            <a:avLst/>
          </a:prstGeom>
          <a:noFill/>
        </p:spPr>
        <p:txBody>
          <a:bodyPr wrap="square" lIns="68515" tIns="34256" rIns="68515" bIns="34256" rtlCol="0">
            <a:spAutoFit/>
          </a:bodyPr>
          <a:lstStyle/>
          <a:p>
            <a:pPr defTabSz="513930"/>
            <a:r>
              <a:rPr lang="en-US" sz="1100" dirty="0">
                <a:latin typeface="Segoe UI Light" pitchFamily="34" charset="0"/>
                <a:ea typeface="Segoe UI" pitchFamily="34" charset="0"/>
                <a:cs typeface="Segoe UI" pitchFamily="34" charset="0"/>
              </a:rPr>
              <a:t>April</a:t>
            </a:r>
          </a:p>
          <a:p>
            <a:pPr defTabSz="513930"/>
            <a:r>
              <a:rPr lang="en-US" sz="1100" dirty="0">
                <a:latin typeface="Segoe UI Light" pitchFamily="34" charset="0"/>
                <a:ea typeface="Segoe UI" pitchFamily="34" charset="0"/>
                <a:cs typeface="Segoe UI" pitchFamily="34" charset="0"/>
              </a:rPr>
              <a:t>2013</a:t>
            </a:r>
          </a:p>
        </p:txBody>
      </p:sp>
      <p:sp>
        <p:nvSpPr>
          <p:cNvPr id="13" name="TextBox 12"/>
          <p:cNvSpPr txBox="1"/>
          <p:nvPr/>
        </p:nvSpPr>
        <p:spPr>
          <a:xfrm>
            <a:off x="3808771" y="4085047"/>
            <a:ext cx="756444" cy="415421"/>
          </a:xfrm>
          <a:prstGeom prst="rect">
            <a:avLst/>
          </a:prstGeom>
          <a:noFill/>
        </p:spPr>
        <p:txBody>
          <a:bodyPr wrap="square" lIns="68515" tIns="34256" rIns="68515" bIns="34256" rtlCol="0">
            <a:spAutoFit/>
          </a:bodyPr>
          <a:lstStyle/>
          <a:p>
            <a:pPr defTabSz="513930"/>
            <a:r>
              <a:rPr lang="en-US" sz="1100" dirty="0">
                <a:latin typeface="Segoe UI Light" pitchFamily="34" charset="0"/>
                <a:ea typeface="Segoe UI" pitchFamily="34" charset="0"/>
                <a:cs typeface="Segoe UI" pitchFamily="34" charset="0"/>
              </a:rPr>
              <a:t>Jan</a:t>
            </a:r>
          </a:p>
          <a:p>
            <a:pPr defTabSz="513930"/>
            <a:r>
              <a:rPr lang="en-US" sz="1100" dirty="0">
                <a:latin typeface="Segoe UI Light" pitchFamily="34" charset="0"/>
                <a:ea typeface="Segoe UI" pitchFamily="34" charset="0"/>
                <a:cs typeface="Segoe UI" pitchFamily="34" charset="0"/>
              </a:rPr>
              <a:t>2013</a:t>
            </a:r>
          </a:p>
        </p:txBody>
      </p:sp>
      <p:sp>
        <p:nvSpPr>
          <p:cNvPr id="14" name="TextBox 13"/>
          <p:cNvSpPr txBox="1"/>
          <p:nvPr/>
        </p:nvSpPr>
        <p:spPr>
          <a:xfrm>
            <a:off x="1433614" y="3556807"/>
            <a:ext cx="605155" cy="196133"/>
          </a:xfrm>
          <a:prstGeom prst="rect">
            <a:avLst/>
          </a:prstGeom>
          <a:noFill/>
          <a:effectLst/>
        </p:spPr>
        <p:txBody>
          <a:bodyPr wrap="square" lIns="68515" tIns="34256" rIns="68515" bIns="34256" rtlCol="0">
            <a:spAutoFit/>
          </a:bodyPr>
          <a:lstStyle/>
          <a:p>
            <a:pPr defTabSz="513930"/>
            <a:r>
              <a:rPr lang="en-US" sz="800" dirty="0">
                <a:latin typeface="Segoe" pitchFamily="34" charset="0"/>
                <a:ea typeface="Segoe UI" pitchFamily="34" charset="0"/>
                <a:cs typeface="Segoe UI" pitchFamily="34" charset="0"/>
              </a:rPr>
              <a:t>1 mo.</a:t>
            </a:r>
          </a:p>
        </p:txBody>
      </p:sp>
      <p:sp>
        <p:nvSpPr>
          <p:cNvPr id="15" name="TextBox 14"/>
          <p:cNvSpPr txBox="1"/>
          <p:nvPr/>
        </p:nvSpPr>
        <p:spPr>
          <a:xfrm>
            <a:off x="2970799" y="3555110"/>
            <a:ext cx="539402" cy="196133"/>
          </a:xfrm>
          <a:prstGeom prst="rect">
            <a:avLst/>
          </a:prstGeom>
          <a:noFill/>
          <a:effectLst/>
        </p:spPr>
        <p:txBody>
          <a:bodyPr wrap="square" lIns="68515" tIns="34256" rIns="68515" bIns="34256" rtlCol="0">
            <a:spAutoFit/>
          </a:bodyPr>
          <a:lstStyle/>
          <a:p>
            <a:pPr defTabSz="513930"/>
            <a:r>
              <a:rPr lang="en-US" sz="800" dirty="0">
                <a:latin typeface="Segoe" pitchFamily="34" charset="0"/>
                <a:ea typeface="Segoe UI" pitchFamily="34" charset="0"/>
                <a:cs typeface="Segoe UI" pitchFamily="34" charset="0"/>
              </a:rPr>
              <a:t>3 mos.</a:t>
            </a:r>
          </a:p>
        </p:txBody>
      </p:sp>
      <p:sp>
        <p:nvSpPr>
          <p:cNvPr id="16" name="TextBox 15"/>
          <p:cNvSpPr txBox="1"/>
          <p:nvPr/>
        </p:nvSpPr>
        <p:spPr>
          <a:xfrm>
            <a:off x="3814532" y="3554498"/>
            <a:ext cx="636351" cy="196133"/>
          </a:xfrm>
          <a:prstGeom prst="rect">
            <a:avLst/>
          </a:prstGeom>
          <a:noFill/>
          <a:effectLst/>
        </p:spPr>
        <p:txBody>
          <a:bodyPr wrap="square" lIns="68515" tIns="34256" rIns="68515" bIns="34256" rtlCol="0">
            <a:spAutoFit/>
          </a:bodyPr>
          <a:lstStyle/>
          <a:p>
            <a:pPr defTabSz="513930"/>
            <a:r>
              <a:rPr lang="en-US" sz="800" dirty="0">
                <a:latin typeface="Segoe" pitchFamily="34" charset="0"/>
                <a:ea typeface="Segoe UI" pitchFamily="34" charset="0"/>
                <a:cs typeface="Segoe UI" pitchFamily="34" charset="0"/>
              </a:rPr>
              <a:t>6-8 mos.</a:t>
            </a:r>
          </a:p>
        </p:txBody>
      </p:sp>
      <p:sp>
        <p:nvSpPr>
          <p:cNvPr id="17" name="TextBox 16"/>
          <p:cNvSpPr txBox="1"/>
          <p:nvPr/>
        </p:nvSpPr>
        <p:spPr>
          <a:xfrm>
            <a:off x="4709159" y="3561356"/>
            <a:ext cx="535526" cy="196133"/>
          </a:xfrm>
          <a:prstGeom prst="rect">
            <a:avLst/>
          </a:prstGeom>
          <a:noFill/>
          <a:effectLst/>
        </p:spPr>
        <p:txBody>
          <a:bodyPr wrap="square" lIns="68515" tIns="34256" rIns="68515" bIns="34256" rtlCol="0">
            <a:spAutoFit/>
          </a:bodyPr>
          <a:lstStyle/>
          <a:p>
            <a:pPr defTabSz="513930"/>
            <a:r>
              <a:rPr lang="en-US" sz="800" dirty="0">
                <a:latin typeface="Segoe" pitchFamily="34" charset="0"/>
                <a:ea typeface="Segoe UI" pitchFamily="34" charset="0"/>
                <a:cs typeface="Segoe UI" pitchFamily="34" charset="0"/>
              </a:rPr>
              <a:t>3 mos.</a:t>
            </a:r>
          </a:p>
        </p:txBody>
      </p:sp>
      <p:sp>
        <p:nvSpPr>
          <p:cNvPr id="18" name="TextBox 17"/>
          <p:cNvSpPr txBox="1"/>
          <p:nvPr/>
        </p:nvSpPr>
        <p:spPr>
          <a:xfrm>
            <a:off x="5511343" y="3563969"/>
            <a:ext cx="540157" cy="196133"/>
          </a:xfrm>
          <a:prstGeom prst="rect">
            <a:avLst/>
          </a:prstGeom>
          <a:noFill/>
          <a:effectLst/>
        </p:spPr>
        <p:txBody>
          <a:bodyPr wrap="square" lIns="68515" tIns="34256" rIns="68515" bIns="34256" rtlCol="0">
            <a:spAutoFit/>
          </a:bodyPr>
          <a:lstStyle/>
          <a:p>
            <a:pPr defTabSz="513930"/>
            <a:r>
              <a:rPr lang="en-US" sz="800" dirty="0">
                <a:latin typeface="Segoe" pitchFamily="34" charset="0"/>
                <a:ea typeface="Segoe UI" pitchFamily="34" charset="0"/>
                <a:cs typeface="Segoe UI" pitchFamily="34" charset="0"/>
              </a:rPr>
              <a:t>3 mos.</a:t>
            </a:r>
          </a:p>
        </p:txBody>
      </p:sp>
      <p:sp>
        <p:nvSpPr>
          <p:cNvPr id="19" name="TextBox 18"/>
          <p:cNvSpPr txBox="1"/>
          <p:nvPr/>
        </p:nvSpPr>
        <p:spPr>
          <a:xfrm>
            <a:off x="6271726" y="3565295"/>
            <a:ext cx="581064" cy="196133"/>
          </a:xfrm>
          <a:prstGeom prst="rect">
            <a:avLst/>
          </a:prstGeom>
          <a:noFill/>
          <a:effectLst/>
        </p:spPr>
        <p:txBody>
          <a:bodyPr wrap="square" lIns="68515" tIns="34256" rIns="68515" bIns="34256" rtlCol="0">
            <a:spAutoFit/>
          </a:bodyPr>
          <a:lstStyle/>
          <a:p>
            <a:pPr defTabSz="513930"/>
            <a:r>
              <a:rPr lang="en-US" sz="800" dirty="0">
                <a:latin typeface="Segoe" pitchFamily="34" charset="0"/>
                <a:ea typeface="Segoe UI" pitchFamily="34" charset="0"/>
                <a:cs typeface="Segoe UI" pitchFamily="34" charset="0"/>
              </a:rPr>
              <a:t>6-8 mos.</a:t>
            </a:r>
          </a:p>
        </p:txBody>
      </p:sp>
      <p:sp>
        <p:nvSpPr>
          <p:cNvPr id="20" name="TextBox 19"/>
          <p:cNvSpPr txBox="1"/>
          <p:nvPr/>
        </p:nvSpPr>
        <p:spPr>
          <a:xfrm>
            <a:off x="7016318" y="3561356"/>
            <a:ext cx="553361" cy="196133"/>
          </a:xfrm>
          <a:prstGeom prst="rect">
            <a:avLst/>
          </a:prstGeom>
          <a:noFill/>
          <a:effectLst/>
        </p:spPr>
        <p:txBody>
          <a:bodyPr wrap="square" lIns="68515" tIns="34256" rIns="68515" bIns="34256" rtlCol="0">
            <a:spAutoFit/>
          </a:bodyPr>
          <a:lstStyle/>
          <a:p>
            <a:pPr defTabSz="513930"/>
            <a:r>
              <a:rPr lang="en-US" sz="800" dirty="0">
                <a:latin typeface="Segoe" pitchFamily="34" charset="0"/>
                <a:ea typeface="Segoe UI" pitchFamily="34" charset="0"/>
                <a:cs typeface="Segoe UI" pitchFamily="34" charset="0"/>
              </a:rPr>
              <a:t>3 mos.</a:t>
            </a:r>
          </a:p>
        </p:txBody>
      </p:sp>
      <p:sp>
        <p:nvSpPr>
          <p:cNvPr id="21" name="TextBox 20"/>
          <p:cNvSpPr txBox="1"/>
          <p:nvPr/>
        </p:nvSpPr>
        <p:spPr>
          <a:xfrm>
            <a:off x="3028548" y="4085047"/>
            <a:ext cx="628814" cy="415421"/>
          </a:xfrm>
          <a:prstGeom prst="rect">
            <a:avLst/>
          </a:prstGeom>
          <a:noFill/>
        </p:spPr>
        <p:txBody>
          <a:bodyPr wrap="square" lIns="68515" tIns="34256" rIns="68515" bIns="34256" rtlCol="0">
            <a:spAutoFit/>
          </a:bodyPr>
          <a:lstStyle/>
          <a:p>
            <a:pPr defTabSz="513930"/>
            <a:r>
              <a:rPr lang="en-US" sz="1100" dirty="0">
                <a:latin typeface="Segoe UI Light" pitchFamily="34" charset="0"/>
                <a:ea typeface="Segoe UI" pitchFamily="34" charset="0"/>
                <a:cs typeface="Segoe UI" pitchFamily="34" charset="0"/>
              </a:rPr>
              <a:t>July</a:t>
            </a:r>
          </a:p>
          <a:p>
            <a:pPr defTabSz="513930"/>
            <a:r>
              <a:rPr lang="en-US" sz="1100" dirty="0">
                <a:latin typeface="Segoe UI Light" pitchFamily="34" charset="0"/>
                <a:ea typeface="Segoe UI" pitchFamily="34" charset="0"/>
                <a:cs typeface="Segoe UI" pitchFamily="34" charset="0"/>
              </a:rPr>
              <a:t>2012</a:t>
            </a:r>
          </a:p>
        </p:txBody>
      </p:sp>
      <p:sp>
        <p:nvSpPr>
          <p:cNvPr id="22" name="TextBox 21"/>
          <p:cNvSpPr txBox="1"/>
          <p:nvPr/>
        </p:nvSpPr>
        <p:spPr>
          <a:xfrm>
            <a:off x="1420484" y="4085047"/>
            <a:ext cx="858133" cy="415421"/>
          </a:xfrm>
          <a:prstGeom prst="rect">
            <a:avLst/>
          </a:prstGeom>
          <a:noFill/>
        </p:spPr>
        <p:txBody>
          <a:bodyPr wrap="square" lIns="68515" tIns="34256" rIns="68515" bIns="34256" rtlCol="0">
            <a:spAutoFit/>
          </a:bodyPr>
          <a:lstStyle/>
          <a:p>
            <a:pPr defTabSz="513930"/>
            <a:r>
              <a:rPr lang="en-US" sz="1100" dirty="0">
                <a:latin typeface="Segoe UI Light" pitchFamily="34" charset="0"/>
                <a:ea typeface="Segoe UI" pitchFamily="34" charset="0"/>
                <a:cs typeface="Segoe UI" pitchFamily="34" charset="0"/>
              </a:rPr>
              <a:t>Feb</a:t>
            </a:r>
          </a:p>
          <a:p>
            <a:pPr defTabSz="513930"/>
            <a:r>
              <a:rPr lang="en-US" sz="1100" dirty="0">
                <a:latin typeface="Segoe UI Light" pitchFamily="34" charset="0"/>
                <a:ea typeface="Segoe UI" pitchFamily="34" charset="0"/>
                <a:cs typeface="Segoe UI" pitchFamily="34" charset="0"/>
              </a:rPr>
              <a:t>2012</a:t>
            </a:r>
          </a:p>
        </p:txBody>
      </p:sp>
      <p:sp>
        <p:nvSpPr>
          <p:cNvPr id="23" name="TextBox 22"/>
          <p:cNvSpPr txBox="1"/>
          <p:nvPr/>
        </p:nvSpPr>
        <p:spPr>
          <a:xfrm>
            <a:off x="2204786" y="4085047"/>
            <a:ext cx="746898" cy="415421"/>
          </a:xfrm>
          <a:prstGeom prst="rect">
            <a:avLst/>
          </a:prstGeom>
          <a:noFill/>
        </p:spPr>
        <p:txBody>
          <a:bodyPr wrap="square" lIns="68515" tIns="34256" rIns="68515" bIns="34256" rtlCol="0">
            <a:spAutoFit/>
          </a:bodyPr>
          <a:lstStyle/>
          <a:p>
            <a:pPr defTabSz="513930"/>
            <a:r>
              <a:rPr lang="en-US" sz="1100" dirty="0">
                <a:latin typeface="Segoe UI Light" pitchFamily="34" charset="0"/>
                <a:ea typeface="Segoe UI" pitchFamily="34" charset="0"/>
                <a:cs typeface="Segoe UI" pitchFamily="34" charset="0"/>
              </a:rPr>
              <a:t>May</a:t>
            </a:r>
          </a:p>
          <a:p>
            <a:pPr defTabSz="513930"/>
            <a:r>
              <a:rPr lang="en-US" sz="1100" dirty="0">
                <a:latin typeface="Segoe UI Light" pitchFamily="34" charset="0"/>
                <a:ea typeface="Segoe UI" pitchFamily="34" charset="0"/>
                <a:cs typeface="Segoe UI" pitchFamily="34" charset="0"/>
              </a:rPr>
              <a:t>2012</a:t>
            </a:r>
          </a:p>
        </p:txBody>
      </p:sp>
      <p:sp>
        <p:nvSpPr>
          <p:cNvPr id="24" name="TextBox 23"/>
          <p:cNvSpPr txBox="1"/>
          <p:nvPr/>
        </p:nvSpPr>
        <p:spPr>
          <a:xfrm>
            <a:off x="5511342" y="4085047"/>
            <a:ext cx="711652" cy="415421"/>
          </a:xfrm>
          <a:prstGeom prst="rect">
            <a:avLst/>
          </a:prstGeom>
          <a:noFill/>
        </p:spPr>
        <p:txBody>
          <a:bodyPr wrap="square" lIns="68515" tIns="34256" rIns="68515" bIns="34256" rtlCol="0">
            <a:spAutoFit/>
          </a:bodyPr>
          <a:lstStyle/>
          <a:p>
            <a:pPr defTabSz="513930"/>
            <a:r>
              <a:rPr lang="en-US" sz="1100" dirty="0">
                <a:latin typeface="Segoe UI Light" pitchFamily="34" charset="0"/>
                <a:ea typeface="Segoe UI" pitchFamily="34" charset="0"/>
                <a:cs typeface="Segoe UI" pitchFamily="34" charset="0"/>
              </a:rPr>
              <a:t>July</a:t>
            </a:r>
          </a:p>
          <a:p>
            <a:pPr defTabSz="513930"/>
            <a:r>
              <a:rPr lang="en-US" sz="1100" dirty="0">
                <a:latin typeface="Segoe UI Light" pitchFamily="34" charset="0"/>
                <a:ea typeface="Segoe UI" pitchFamily="34" charset="0"/>
                <a:cs typeface="Segoe UI" pitchFamily="34" charset="0"/>
              </a:rPr>
              <a:t>2013</a:t>
            </a:r>
          </a:p>
        </p:txBody>
      </p:sp>
      <p:sp>
        <p:nvSpPr>
          <p:cNvPr id="25" name="TextBox 24"/>
          <p:cNvSpPr txBox="1"/>
          <p:nvPr/>
        </p:nvSpPr>
        <p:spPr>
          <a:xfrm>
            <a:off x="6357471" y="4085047"/>
            <a:ext cx="495320" cy="415421"/>
          </a:xfrm>
          <a:prstGeom prst="rect">
            <a:avLst/>
          </a:prstGeom>
          <a:noFill/>
        </p:spPr>
        <p:txBody>
          <a:bodyPr wrap="square" lIns="68515" tIns="34256" rIns="68515" bIns="34256" rtlCol="0">
            <a:spAutoFit/>
          </a:bodyPr>
          <a:lstStyle/>
          <a:p>
            <a:pPr defTabSz="513930"/>
            <a:r>
              <a:rPr lang="en-US" sz="1100" dirty="0">
                <a:latin typeface="Segoe UI Light" pitchFamily="34" charset="0"/>
                <a:ea typeface="Segoe UI" pitchFamily="34" charset="0"/>
                <a:cs typeface="Segoe UI" pitchFamily="34" charset="0"/>
              </a:rPr>
              <a:t>Dec</a:t>
            </a:r>
          </a:p>
          <a:p>
            <a:pPr defTabSz="513930"/>
            <a:r>
              <a:rPr lang="en-US" sz="1100" dirty="0">
                <a:latin typeface="Segoe UI Light" pitchFamily="34" charset="0"/>
                <a:ea typeface="Segoe UI" pitchFamily="34" charset="0"/>
                <a:cs typeface="Segoe UI" pitchFamily="34" charset="0"/>
              </a:rPr>
              <a:t>2013</a:t>
            </a:r>
          </a:p>
        </p:txBody>
      </p:sp>
      <p:sp>
        <p:nvSpPr>
          <p:cNvPr id="26" name="TextBox 25"/>
          <p:cNvSpPr txBox="1"/>
          <p:nvPr/>
        </p:nvSpPr>
        <p:spPr>
          <a:xfrm>
            <a:off x="2195817" y="3551981"/>
            <a:ext cx="526136" cy="196133"/>
          </a:xfrm>
          <a:prstGeom prst="rect">
            <a:avLst/>
          </a:prstGeom>
          <a:noFill/>
          <a:effectLst/>
        </p:spPr>
        <p:txBody>
          <a:bodyPr wrap="square" lIns="68515" tIns="34256" rIns="68515" bIns="34256" rtlCol="0">
            <a:spAutoFit/>
          </a:bodyPr>
          <a:lstStyle/>
          <a:p>
            <a:pPr defTabSz="513930"/>
            <a:r>
              <a:rPr lang="en-US" sz="800" dirty="0">
                <a:latin typeface="Segoe" pitchFamily="34" charset="0"/>
                <a:ea typeface="Segoe UI" pitchFamily="34" charset="0"/>
                <a:cs typeface="Segoe UI" pitchFamily="34" charset="0"/>
              </a:rPr>
              <a:t>3 mos.</a:t>
            </a:r>
          </a:p>
        </p:txBody>
      </p:sp>
      <p:sp>
        <p:nvSpPr>
          <p:cNvPr id="27" name="Rectangle 26"/>
          <p:cNvSpPr/>
          <p:nvPr/>
        </p:nvSpPr>
        <p:spPr>
          <a:xfrm>
            <a:off x="1433495" y="2992177"/>
            <a:ext cx="507742" cy="273884"/>
          </a:xfrm>
          <a:prstGeom prst="rect">
            <a:avLst/>
          </a:prstGeom>
          <a:gradFill>
            <a:gsLst>
              <a:gs pos="42000">
                <a:srgbClr val="99CC00"/>
              </a:gs>
              <a:gs pos="100000">
                <a:srgbClr val="99CC00">
                  <a:lumMod val="50000"/>
                </a:srgbClr>
              </a:gs>
            </a:gsLst>
            <a:lin ang="2700000" scaled="0"/>
          </a:gradFill>
          <a:ln>
            <a:noFill/>
          </a:ln>
          <a:effectLst/>
          <a:scene3d>
            <a:camera prst="perspectiveFront">
              <a:rot lat="899980" lon="603619" rev="120000"/>
            </a:camera>
            <a:lightRig rig="brightRoom" dir="t"/>
          </a:scene3d>
          <a:sp3d z="88900" extrusionH="1993900"/>
        </p:spPr>
        <p:style>
          <a:lnRef idx="2">
            <a:schemeClr val="accent1">
              <a:shade val="50000"/>
            </a:schemeClr>
          </a:lnRef>
          <a:fillRef idx="1">
            <a:schemeClr val="accent1"/>
          </a:fillRef>
          <a:effectRef idx="0">
            <a:schemeClr val="accent1"/>
          </a:effectRef>
          <a:fontRef idx="minor">
            <a:schemeClr val="lt1"/>
          </a:fontRef>
        </p:style>
        <p:txBody>
          <a:bodyPr lIns="68515" tIns="34256" rIns="68515" bIns="34256" rtlCol="0" anchor="ctr"/>
          <a:lstStyle/>
          <a:p>
            <a:pPr algn="ctr" defTabSz="513930"/>
            <a:r>
              <a:rPr lang="en-CA" sz="600" dirty="0">
                <a:solidFill>
                  <a:schemeClr val="tx1"/>
                </a:solidFill>
                <a:latin typeface="Segoe UI Semibold" pitchFamily="34" charset="0"/>
                <a:ea typeface="Segoe UI" pitchFamily="34" charset="0"/>
                <a:cs typeface="Segoe UI" pitchFamily="34" charset="0"/>
              </a:rPr>
              <a:t>Business</a:t>
            </a:r>
            <a:br>
              <a:rPr lang="en-CA" sz="600" dirty="0">
                <a:solidFill>
                  <a:schemeClr val="tx1"/>
                </a:solidFill>
                <a:latin typeface="Segoe UI Semibold" pitchFamily="34" charset="0"/>
                <a:ea typeface="Segoe UI" pitchFamily="34" charset="0"/>
                <a:cs typeface="Segoe UI" pitchFamily="34" charset="0"/>
              </a:rPr>
            </a:br>
            <a:r>
              <a:rPr lang="en-CA" sz="600" dirty="0">
                <a:solidFill>
                  <a:schemeClr val="tx1"/>
                </a:solidFill>
                <a:latin typeface="Segoe UI Semibold" pitchFamily="34" charset="0"/>
                <a:ea typeface="Segoe UI" pitchFamily="34" charset="0"/>
                <a:cs typeface="Segoe UI" pitchFamily="34" charset="0"/>
              </a:rPr>
              <a:t>Case</a:t>
            </a:r>
          </a:p>
        </p:txBody>
      </p:sp>
      <p:sp>
        <p:nvSpPr>
          <p:cNvPr id="28" name="Rectangle 27"/>
          <p:cNvSpPr/>
          <p:nvPr/>
        </p:nvSpPr>
        <p:spPr>
          <a:xfrm>
            <a:off x="2178975" y="2857327"/>
            <a:ext cx="558517" cy="273884"/>
          </a:xfrm>
          <a:prstGeom prst="rect">
            <a:avLst/>
          </a:prstGeom>
          <a:gradFill>
            <a:gsLst>
              <a:gs pos="42000">
                <a:srgbClr val="FF6600"/>
              </a:gs>
              <a:gs pos="100000">
                <a:srgbClr val="FFC000"/>
              </a:gs>
            </a:gsLst>
            <a:lin ang="2700000" scaled="0"/>
          </a:gradFill>
          <a:ln>
            <a:noFill/>
          </a:ln>
          <a:effectLst/>
          <a:scene3d>
            <a:camera prst="perspectiveFront">
              <a:rot lat="899980" lon="480000" rev="120000"/>
            </a:camera>
            <a:lightRig rig="brightRoom" dir="t"/>
          </a:scene3d>
          <a:sp3d z="88900" extrusionH="1993900"/>
        </p:spPr>
        <p:style>
          <a:lnRef idx="2">
            <a:schemeClr val="accent1">
              <a:shade val="50000"/>
            </a:schemeClr>
          </a:lnRef>
          <a:fillRef idx="1">
            <a:schemeClr val="accent1"/>
          </a:fillRef>
          <a:effectRef idx="0">
            <a:schemeClr val="accent1"/>
          </a:effectRef>
          <a:fontRef idx="minor">
            <a:schemeClr val="lt1"/>
          </a:fontRef>
        </p:style>
        <p:txBody>
          <a:bodyPr lIns="68515" tIns="34256" rIns="68515" bIns="34256" rtlCol="0" anchor="ctr"/>
          <a:lstStyle/>
          <a:p>
            <a:pPr algn="ctr" defTabSz="513930"/>
            <a:r>
              <a:rPr lang="en-CA" sz="600" dirty="0">
                <a:solidFill>
                  <a:schemeClr val="tx1"/>
                </a:solidFill>
                <a:latin typeface="Segoe UI Semibold" pitchFamily="34" charset="0"/>
                <a:ea typeface="Segoe UI" pitchFamily="34" charset="0"/>
                <a:cs typeface="Segoe UI" pitchFamily="34" charset="0"/>
              </a:rPr>
              <a:t>Release Planning</a:t>
            </a:r>
          </a:p>
        </p:txBody>
      </p:sp>
      <p:sp>
        <p:nvSpPr>
          <p:cNvPr id="29" name="Rectangle 28"/>
          <p:cNvSpPr/>
          <p:nvPr/>
        </p:nvSpPr>
        <p:spPr>
          <a:xfrm>
            <a:off x="2951687" y="2698955"/>
            <a:ext cx="558517" cy="273884"/>
          </a:xfrm>
          <a:prstGeom prst="rect">
            <a:avLst/>
          </a:prstGeom>
          <a:gradFill>
            <a:gsLst>
              <a:gs pos="42000">
                <a:srgbClr val="0070C0"/>
              </a:gs>
              <a:gs pos="100000">
                <a:srgbClr val="001F36"/>
              </a:gs>
            </a:gsLst>
            <a:lin ang="2700000" scaled="0"/>
          </a:gradFill>
          <a:ln>
            <a:noFill/>
          </a:ln>
          <a:effectLst/>
          <a:scene3d>
            <a:camera prst="perspectiveFront">
              <a:rot lat="899980" lon="420000" rev="120000"/>
            </a:camera>
            <a:lightRig rig="brightRoom" dir="t"/>
          </a:scene3d>
          <a:sp3d z="88900" extrusionH="1993900"/>
        </p:spPr>
        <p:style>
          <a:lnRef idx="2">
            <a:schemeClr val="accent1">
              <a:shade val="50000"/>
            </a:schemeClr>
          </a:lnRef>
          <a:fillRef idx="1">
            <a:schemeClr val="accent1"/>
          </a:fillRef>
          <a:effectRef idx="0">
            <a:schemeClr val="accent1"/>
          </a:effectRef>
          <a:fontRef idx="minor">
            <a:schemeClr val="lt1"/>
          </a:fontRef>
        </p:style>
        <p:txBody>
          <a:bodyPr lIns="68515" tIns="34256" rIns="68515" bIns="34256" rtlCol="0" anchor="ctr"/>
          <a:lstStyle/>
          <a:p>
            <a:pPr algn="ctr" defTabSz="513930"/>
            <a:r>
              <a:rPr lang="en-CA" sz="600" dirty="0">
                <a:solidFill>
                  <a:schemeClr val="tx1"/>
                </a:solidFill>
                <a:latin typeface="Segoe UI Semibold" pitchFamily="34" charset="0"/>
                <a:ea typeface="Segoe UI" pitchFamily="34" charset="0"/>
                <a:cs typeface="Segoe UI" pitchFamily="34" charset="0"/>
              </a:rPr>
              <a:t>User Data Planning</a:t>
            </a:r>
          </a:p>
        </p:txBody>
      </p:sp>
      <p:sp>
        <p:nvSpPr>
          <p:cNvPr id="30" name="Rectangle 29"/>
          <p:cNvSpPr/>
          <p:nvPr/>
        </p:nvSpPr>
        <p:spPr>
          <a:xfrm>
            <a:off x="3778250" y="2530553"/>
            <a:ext cx="743386" cy="273884"/>
          </a:xfrm>
          <a:prstGeom prst="rect">
            <a:avLst/>
          </a:prstGeom>
          <a:gradFill>
            <a:gsLst>
              <a:gs pos="42000">
                <a:srgbClr val="E20000"/>
              </a:gs>
              <a:gs pos="100000">
                <a:srgbClr val="E20000">
                  <a:lumMod val="50000"/>
                </a:srgbClr>
              </a:gs>
            </a:gsLst>
            <a:lin ang="2700000" scaled="0"/>
          </a:gradFill>
          <a:ln>
            <a:noFill/>
          </a:ln>
          <a:effectLst/>
          <a:scene3d>
            <a:camera prst="perspectiveFront">
              <a:rot lat="906933" lon="169411" rev="39260"/>
            </a:camera>
            <a:lightRig rig="brightRoom" dir="t"/>
          </a:scene3d>
          <a:sp3d z="88900" extrusionH="1993900"/>
        </p:spPr>
        <p:style>
          <a:lnRef idx="2">
            <a:schemeClr val="accent1">
              <a:shade val="50000"/>
            </a:schemeClr>
          </a:lnRef>
          <a:fillRef idx="1">
            <a:schemeClr val="accent1"/>
          </a:fillRef>
          <a:effectRef idx="0">
            <a:schemeClr val="accent1"/>
          </a:effectRef>
          <a:fontRef idx="minor">
            <a:schemeClr val="lt1"/>
          </a:fontRef>
        </p:style>
        <p:txBody>
          <a:bodyPr lIns="68515" tIns="34256" rIns="68515" bIns="34256" rtlCol="0" anchor="ctr"/>
          <a:lstStyle/>
          <a:p>
            <a:pPr algn="ctr" defTabSz="513930"/>
            <a:r>
              <a:rPr lang="en-CA" sz="600" dirty="0">
                <a:solidFill>
                  <a:schemeClr val="tx1"/>
                </a:solidFill>
                <a:latin typeface="Segoe UI Semibold" pitchFamily="34" charset="0"/>
                <a:ea typeface="Segoe UI" pitchFamily="34" charset="0"/>
                <a:cs typeface="Segoe UI" pitchFamily="34" charset="0"/>
              </a:rPr>
              <a:t>App </a:t>
            </a:r>
            <a:r>
              <a:rPr lang="en-CA" sz="600" dirty="0" err="1">
                <a:solidFill>
                  <a:schemeClr val="tx1"/>
                </a:solidFill>
                <a:latin typeface="Segoe UI Semibold" pitchFamily="34" charset="0"/>
                <a:ea typeface="Segoe UI" pitchFamily="34" charset="0"/>
                <a:cs typeface="Segoe UI" pitchFamily="34" charset="0"/>
              </a:rPr>
              <a:t>Compat</a:t>
            </a:r>
            <a:r>
              <a:rPr lang="en-CA" sz="600" dirty="0">
                <a:solidFill>
                  <a:schemeClr val="tx1"/>
                </a:solidFill>
                <a:latin typeface="Segoe UI Semibold" pitchFamily="34" charset="0"/>
                <a:ea typeface="Segoe UI" pitchFamily="34" charset="0"/>
                <a:cs typeface="Segoe UI" pitchFamily="34" charset="0"/>
              </a:rPr>
              <a:t> /Remediation</a:t>
            </a:r>
          </a:p>
        </p:txBody>
      </p:sp>
      <p:sp>
        <p:nvSpPr>
          <p:cNvPr id="31" name="Rectangle 30"/>
          <p:cNvSpPr/>
          <p:nvPr/>
        </p:nvSpPr>
        <p:spPr>
          <a:xfrm>
            <a:off x="4686170" y="2384611"/>
            <a:ext cx="558517" cy="273884"/>
          </a:xfrm>
          <a:prstGeom prst="rect">
            <a:avLst/>
          </a:prstGeom>
          <a:gradFill>
            <a:gsLst>
              <a:gs pos="42000">
                <a:srgbClr val="660066">
                  <a:lumMod val="50000"/>
                </a:srgbClr>
              </a:gs>
              <a:gs pos="100000">
                <a:srgbClr val="660066"/>
              </a:gs>
            </a:gsLst>
            <a:lin ang="2700000" scaled="0"/>
          </a:gradFill>
          <a:ln>
            <a:noFill/>
          </a:ln>
          <a:effectLst/>
          <a:scene3d>
            <a:camera prst="perspectiveFront">
              <a:rot lat="906821" lon="21458652" rev="21558174"/>
            </a:camera>
            <a:lightRig rig="brightRoom" dir="t"/>
          </a:scene3d>
          <a:sp3d z="88900" extrusionH="1993900"/>
        </p:spPr>
        <p:style>
          <a:lnRef idx="2">
            <a:schemeClr val="accent1">
              <a:shade val="50000"/>
            </a:schemeClr>
          </a:lnRef>
          <a:fillRef idx="1">
            <a:schemeClr val="accent1"/>
          </a:fillRef>
          <a:effectRef idx="0">
            <a:schemeClr val="accent1"/>
          </a:effectRef>
          <a:fontRef idx="minor">
            <a:schemeClr val="lt1"/>
          </a:fontRef>
        </p:style>
        <p:txBody>
          <a:bodyPr lIns="68515" tIns="34256" rIns="68515" bIns="34256" rtlCol="0" anchor="ctr"/>
          <a:lstStyle/>
          <a:p>
            <a:pPr algn="ctr" defTabSz="513930"/>
            <a:r>
              <a:rPr lang="en-CA" sz="600" dirty="0">
                <a:solidFill>
                  <a:schemeClr val="tx1"/>
                </a:solidFill>
                <a:latin typeface="Segoe UI Semibold" pitchFamily="34" charset="0"/>
                <a:ea typeface="Segoe UI" pitchFamily="34" charset="0"/>
                <a:cs typeface="Segoe UI" pitchFamily="34" charset="0"/>
              </a:rPr>
              <a:t>Core</a:t>
            </a:r>
          </a:p>
          <a:p>
            <a:pPr algn="ctr" defTabSz="513930"/>
            <a:r>
              <a:rPr lang="en-CA" sz="600" dirty="0">
                <a:solidFill>
                  <a:schemeClr val="tx1"/>
                </a:solidFill>
                <a:latin typeface="Segoe UI Semibold" pitchFamily="34" charset="0"/>
                <a:ea typeface="Segoe UI" pitchFamily="34" charset="0"/>
                <a:cs typeface="Segoe UI" pitchFamily="34" charset="0"/>
              </a:rPr>
              <a:t> Image </a:t>
            </a:r>
          </a:p>
        </p:txBody>
      </p:sp>
      <p:grpSp>
        <p:nvGrpSpPr>
          <p:cNvPr id="32" name="Group 31"/>
          <p:cNvGrpSpPr/>
          <p:nvPr/>
        </p:nvGrpSpPr>
        <p:grpSpPr>
          <a:xfrm flipV="1">
            <a:off x="2207422" y="3225547"/>
            <a:ext cx="611236" cy="309890"/>
            <a:chOff x="2357422" y="2560576"/>
            <a:chExt cx="1500198" cy="2087451"/>
          </a:xfrm>
        </p:grpSpPr>
        <p:cxnSp>
          <p:nvCxnSpPr>
            <p:cNvPr id="33" name="Straight Connector 93"/>
            <p:cNvCxnSpPr/>
            <p:nvPr/>
          </p:nvCxnSpPr>
          <p:spPr>
            <a:xfrm rot="5400000" flipH="1" flipV="1">
              <a:off x="2063795" y="3601583"/>
              <a:ext cx="2087451" cy="5437"/>
            </a:xfrm>
            <a:prstGeom prst="line">
              <a:avLst/>
            </a:prstGeom>
            <a:ln w="12700">
              <a:solidFill>
                <a:schemeClr val="accent1">
                  <a:lumMod val="75000"/>
                </a:schemeClr>
              </a:solidFill>
              <a:headEnd type="ova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357422" y="2563118"/>
              <a:ext cx="1500198" cy="0"/>
            </a:xfrm>
            <a:prstGeom prst="line">
              <a:avLst/>
            </a:prstGeom>
            <a:ln w="12700">
              <a:solidFill>
                <a:schemeClr val="accent1">
                  <a:lumMod val="7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35" name="Group 34"/>
          <p:cNvGrpSpPr/>
          <p:nvPr/>
        </p:nvGrpSpPr>
        <p:grpSpPr>
          <a:xfrm flipV="1">
            <a:off x="2981478" y="3098674"/>
            <a:ext cx="596309" cy="437568"/>
            <a:chOff x="2357422" y="2560576"/>
            <a:chExt cx="1500198" cy="2087451"/>
          </a:xfrm>
        </p:grpSpPr>
        <p:cxnSp>
          <p:nvCxnSpPr>
            <p:cNvPr id="36" name="Straight Connector 93"/>
            <p:cNvCxnSpPr/>
            <p:nvPr/>
          </p:nvCxnSpPr>
          <p:spPr>
            <a:xfrm rot="5400000" flipH="1" flipV="1">
              <a:off x="2063795" y="3601583"/>
              <a:ext cx="2087451" cy="5437"/>
            </a:xfrm>
            <a:prstGeom prst="line">
              <a:avLst/>
            </a:prstGeom>
            <a:ln w="12700">
              <a:solidFill>
                <a:schemeClr val="accent1">
                  <a:lumMod val="75000"/>
                </a:schemeClr>
              </a:solidFill>
              <a:headEnd type="ova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2357422" y="2563118"/>
              <a:ext cx="1500198" cy="0"/>
            </a:xfrm>
            <a:prstGeom prst="line">
              <a:avLst/>
            </a:prstGeom>
            <a:ln w="12700">
              <a:solidFill>
                <a:schemeClr val="accent1">
                  <a:lumMod val="7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38" name="Group 37"/>
          <p:cNvGrpSpPr/>
          <p:nvPr/>
        </p:nvGrpSpPr>
        <p:grpSpPr>
          <a:xfrm flipV="1">
            <a:off x="3780617" y="2857320"/>
            <a:ext cx="751856" cy="678926"/>
            <a:chOff x="2357422" y="2560576"/>
            <a:chExt cx="1500198" cy="2087451"/>
          </a:xfrm>
        </p:grpSpPr>
        <p:cxnSp>
          <p:nvCxnSpPr>
            <p:cNvPr id="39" name="Straight Connector 93"/>
            <p:cNvCxnSpPr/>
            <p:nvPr/>
          </p:nvCxnSpPr>
          <p:spPr>
            <a:xfrm rot="5400000" flipH="1" flipV="1">
              <a:off x="2063795" y="3601583"/>
              <a:ext cx="2087451" cy="5437"/>
            </a:xfrm>
            <a:prstGeom prst="line">
              <a:avLst/>
            </a:prstGeom>
            <a:ln w="12700">
              <a:solidFill>
                <a:schemeClr val="accent1">
                  <a:lumMod val="75000"/>
                </a:schemeClr>
              </a:solidFill>
              <a:headEnd type="ova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2357422" y="2563118"/>
              <a:ext cx="1500198" cy="0"/>
            </a:xfrm>
            <a:prstGeom prst="line">
              <a:avLst/>
            </a:prstGeom>
            <a:ln w="12700">
              <a:solidFill>
                <a:schemeClr val="accent1">
                  <a:lumMod val="7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41" name="Group 40"/>
          <p:cNvGrpSpPr/>
          <p:nvPr/>
        </p:nvGrpSpPr>
        <p:grpSpPr>
          <a:xfrm flipV="1">
            <a:off x="4680073" y="2736203"/>
            <a:ext cx="567349" cy="800050"/>
            <a:chOff x="2357422" y="2560576"/>
            <a:chExt cx="1500198" cy="2087451"/>
          </a:xfrm>
        </p:grpSpPr>
        <p:cxnSp>
          <p:nvCxnSpPr>
            <p:cNvPr id="42" name="Straight Connector 93"/>
            <p:cNvCxnSpPr/>
            <p:nvPr/>
          </p:nvCxnSpPr>
          <p:spPr>
            <a:xfrm rot="5400000" flipH="1" flipV="1">
              <a:off x="2063795" y="3601583"/>
              <a:ext cx="2087451" cy="5437"/>
            </a:xfrm>
            <a:prstGeom prst="line">
              <a:avLst/>
            </a:prstGeom>
            <a:ln w="12700">
              <a:solidFill>
                <a:schemeClr val="accent1">
                  <a:lumMod val="75000"/>
                </a:schemeClr>
              </a:solidFill>
              <a:headEnd type="ova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2357422" y="2563118"/>
              <a:ext cx="1500198" cy="0"/>
            </a:xfrm>
            <a:prstGeom prst="line">
              <a:avLst/>
            </a:prstGeom>
            <a:ln w="12700">
              <a:solidFill>
                <a:schemeClr val="accent1">
                  <a:lumMod val="7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44" name="Group 43"/>
          <p:cNvGrpSpPr/>
          <p:nvPr/>
        </p:nvGrpSpPr>
        <p:grpSpPr>
          <a:xfrm flipV="1">
            <a:off x="5423910" y="2617987"/>
            <a:ext cx="667464" cy="918265"/>
            <a:chOff x="2357422" y="2560576"/>
            <a:chExt cx="1500198" cy="2087451"/>
          </a:xfrm>
        </p:grpSpPr>
        <p:cxnSp>
          <p:nvCxnSpPr>
            <p:cNvPr id="45" name="Straight Connector 93"/>
            <p:cNvCxnSpPr/>
            <p:nvPr/>
          </p:nvCxnSpPr>
          <p:spPr>
            <a:xfrm rot="5400000" flipH="1" flipV="1">
              <a:off x="2063795" y="3601583"/>
              <a:ext cx="2087451" cy="5437"/>
            </a:xfrm>
            <a:prstGeom prst="line">
              <a:avLst/>
            </a:prstGeom>
            <a:ln w="12700">
              <a:solidFill>
                <a:schemeClr val="accent1">
                  <a:lumMod val="75000"/>
                </a:schemeClr>
              </a:solidFill>
              <a:headEnd type="ova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2357422" y="2563118"/>
              <a:ext cx="1500198" cy="0"/>
            </a:xfrm>
            <a:prstGeom prst="line">
              <a:avLst/>
            </a:prstGeom>
            <a:ln w="12700">
              <a:solidFill>
                <a:schemeClr val="accent1">
                  <a:lumMod val="7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47" name="Group 46"/>
          <p:cNvGrpSpPr/>
          <p:nvPr/>
        </p:nvGrpSpPr>
        <p:grpSpPr>
          <a:xfrm flipV="1">
            <a:off x="6253856" y="2455971"/>
            <a:ext cx="606785" cy="1080283"/>
            <a:chOff x="2357422" y="2560576"/>
            <a:chExt cx="1500198" cy="2087451"/>
          </a:xfrm>
        </p:grpSpPr>
        <p:cxnSp>
          <p:nvCxnSpPr>
            <p:cNvPr id="48" name="Straight Connector 93"/>
            <p:cNvCxnSpPr/>
            <p:nvPr/>
          </p:nvCxnSpPr>
          <p:spPr>
            <a:xfrm rot="5400000" flipH="1" flipV="1">
              <a:off x="2063795" y="3601583"/>
              <a:ext cx="2087451" cy="5437"/>
            </a:xfrm>
            <a:prstGeom prst="line">
              <a:avLst/>
            </a:prstGeom>
            <a:ln w="12700">
              <a:solidFill>
                <a:schemeClr val="accent1">
                  <a:lumMod val="75000"/>
                </a:schemeClr>
              </a:solidFill>
              <a:headEnd type="ova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2357422" y="2563118"/>
              <a:ext cx="1500198" cy="0"/>
            </a:xfrm>
            <a:prstGeom prst="line">
              <a:avLst/>
            </a:prstGeom>
            <a:ln w="12700">
              <a:solidFill>
                <a:schemeClr val="accent1">
                  <a:lumMod val="7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50" name="Group 49"/>
          <p:cNvGrpSpPr/>
          <p:nvPr/>
        </p:nvGrpSpPr>
        <p:grpSpPr>
          <a:xfrm flipV="1">
            <a:off x="7016814" y="2349716"/>
            <a:ext cx="552864" cy="1186524"/>
            <a:chOff x="2199900" y="2560576"/>
            <a:chExt cx="2650049" cy="2089993"/>
          </a:xfrm>
        </p:grpSpPr>
        <p:cxnSp>
          <p:nvCxnSpPr>
            <p:cNvPr id="51" name="Straight Connector 93"/>
            <p:cNvCxnSpPr/>
            <p:nvPr/>
          </p:nvCxnSpPr>
          <p:spPr>
            <a:xfrm rot="5400000" flipH="1" flipV="1">
              <a:off x="2375135" y="3604125"/>
              <a:ext cx="2087451" cy="5437"/>
            </a:xfrm>
            <a:prstGeom prst="line">
              <a:avLst/>
            </a:prstGeom>
            <a:ln w="12700">
              <a:solidFill>
                <a:schemeClr val="accent1">
                  <a:lumMod val="75000"/>
                </a:schemeClr>
              </a:solidFill>
              <a:headEnd type="ova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V="1">
              <a:off x="2199900" y="2560576"/>
              <a:ext cx="2650049" cy="2542"/>
            </a:xfrm>
            <a:prstGeom prst="line">
              <a:avLst/>
            </a:prstGeom>
            <a:ln w="12700">
              <a:solidFill>
                <a:schemeClr val="accent1">
                  <a:lumMod val="7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cxnSp>
        <p:nvCxnSpPr>
          <p:cNvPr id="56" name="Straight Arrow Connector 55"/>
          <p:cNvCxnSpPr/>
          <p:nvPr/>
        </p:nvCxnSpPr>
        <p:spPr>
          <a:xfrm>
            <a:off x="1433614" y="4032450"/>
            <a:ext cx="6275669" cy="0"/>
          </a:xfrm>
          <a:prstGeom prst="straightConnector1">
            <a:avLst/>
          </a:prstGeom>
          <a:ln w="57150">
            <a:solidFill>
              <a:srgbClr val="0070C0"/>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a:off x="393316" y="1314451"/>
            <a:ext cx="3327218" cy="459699"/>
          </a:xfrm>
          <a:prstGeom prst="roundRect">
            <a:avLst/>
          </a:prstGeom>
        </p:spPr>
        <p:style>
          <a:lnRef idx="2">
            <a:schemeClr val="accent2"/>
          </a:lnRef>
          <a:fillRef idx="1">
            <a:schemeClr val="lt1"/>
          </a:fillRef>
          <a:effectRef idx="0">
            <a:schemeClr val="accent2"/>
          </a:effectRef>
          <a:fontRef idx="minor">
            <a:schemeClr val="dk1"/>
          </a:fontRef>
        </p:style>
        <p:txBody>
          <a:bodyPr wrap="square" lIns="68586" tIns="34294" rIns="68586" bIns="34294" rtlCol="0">
            <a:spAutoFit/>
          </a:bodyPr>
          <a:lstStyle/>
          <a:p>
            <a:r>
              <a:rPr lang="en-US" sz="1100" dirty="0">
                <a:solidFill>
                  <a:schemeClr val="bg1"/>
                </a:solidFill>
              </a:rPr>
              <a:t>If you started planning your migration to Windows 7 today:</a:t>
            </a:r>
          </a:p>
        </p:txBody>
      </p:sp>
      <p:sp>
        <p:nvSpPr>
          <p:cNvPr id="61" name="TextBox 60"/>
          <p:cNvSpPr txBox="1"/>
          <p:nvPr/>
        </p:nvSpPr>
        <p:spPr>
          <a:xfrm>
            <a:off x="7016813" y="4085047"/>
            <a:ext cx="692468" cy="415421"/>
          </a:xfrm>
          <a:prstGeom prst="rect">
            <a:avLst/>
          </a:prstGeom>
          <a:noFill/>
        </p:spPr>
        <p:txBody>
          <a:bodyPr wrap="square" lIns="68515" tIns="34256" rIns="68515" bIns="34256" rtlCol="0">
            <a:spAutoFit/>
          </a:bodyPr>
          <a:lstStyle/>
          <a:p>
            <a:pPr defTabSz="513930"/>
            <a:r>
              <a:rPr lang="en-US" sz="1100" dirty="0">
                <a:latin typeface="Segoe UI Light" pitchFamily="34" charset="0"/>
                <a:ea typeface="Segoe UI" pitchFamily="34" charset="0"/>
                <a:cs typeface="Segoe UI" pitchFamily="34" charset="0"/>
              </a:rPr>
              <a:t>March</a:t>
            </a:r>
          </a:p>
          <a:p>
            <a:pPr defTabSz="513930"/>
            <a:r>
              <a:rPr lang="en-US" sz="1100">
                <a:latin typeface="Segoe UI Light" pitchFamily="34" charset="0"/>
                <a:ea typeface="Segoe UI" pitchFamily="34" charset="0"/>
                <a:cs typeface="Segoe UI" pitchFamily="34" charset="0"/>
              </a:rPr>
              <a:t>2014</a:t>
            </a:r>
            <a:endParaRPr lang="en-US" sz="1100" dirty="0">
              <a:latin typeface="Segoe UI Light" pitchFamily="34" charset="0"/>
              <a:ea typeface="Segoe UI" pitchFamily="34" charset="0"/>
              <a:cs typeface="Segoe UI" pitchFamily="34" charset="0"/>
            </a:endParaRPr>
          </a:p>
        </p:txBody>
      </p:sp>
      <p:sp>
        <p:nvSpPr>
          <p:cNvPr id="54"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55"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pic>
        <p:nvPicPr>
          <p:cNvPr id="57"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485410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10"/>
                                        <p:tgtEl>
                                          <p:spTgt spid="27"/>
                                        </p:tgtEl>
                                      </p:cBhvr>
                                    </p:animEffect>
                                    <p:anim calcmode="lin" valueType="num">
                                      <p:cBhvr>
                                        <p:cTn id="8" dur="10" fill="hold"/>
                                        <p:tgtEl>
                                          <p:spTgt spid="27"/>
                                        </p:tgtEl>
                                        <p:attrNameLst>
                                          <p:attrName>ppt_x</p:attrName>
                                        </p:attrNameLst>
                                      </p:cBhvr>
                                      <p:tavLst>
                                        <p:tav tm="0">
                                          <p:val>
                                            <p:strVal val="#ppt_x"/>
                                          </p:val>
                                        </p:tav>
                                        <p:tav tm="100000">
                                          <p:val>
                                            <p:strVal val="#ppt_x"/>
                                          </p:val>
                                        </p:tav>
                                      </p:tavLst>
                                    </p:anim>
                                    <p:anim calcmode="lin" valueType="num">
                                      <p:cBhvr>
                                        <p:cTn id="9" dur="10" fill="hold"/>
                                        <p:tgtEl>
                                          <p:spTgt spid="27"/>
                                        </p:tgtEl>
                                        <p:attrNameLst>
                                          <p:attrName>ppt_y</p:attrName>
                                        </p:attrNameLst>
                                      </p:cBhvr>
                                      <p:tavLst>
                                        <p:tav tm="0">
                                          <p:val>
                                            <p:strVal val="#ppt_y+.1"/>
                                          </p:val>
                                        </p:tav>
                                        <p:tav tm="100000">
                                          <p:val>
                                            <p:strVal val="#ppt_y"/>
                                          </p:val>
                                        </p:tav>
                                      </p:tavLst>
                                    </p:anim>
                                  </p:childTnLst>
                                </p:cTn>
                              </p:par>
                            </p:childTnLst>
                          </p:cTn>
                        </p:par>
                        <p:par>
                          <p:cTn id="10" fill="hold">
                            <p:stCondLst>
                              <p:cond delay="10"/>
                            </p:stCondLst>
                            <p:childTnLst>
                              <p:par>
                                <p:cTn id="11" presetID="16" presetClass="entr" presetSubtype="37" fill="hold" nodeType="after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barn(outVertical)">
                                      <p:cBhvr>
                                        <p:cTn id="13" dur="500"/>
                                        <p:tgtEl>
                                          <p:spTgt spid="9"/>
                                        </p:tgtEl>
                                      </p:cBhvr>
                                    </p:animEffect>
                                  </p:childTnLst>
                                </p:cTn>
                              </p:par>
                            </p:childTnLst>
                          </p:cTn>
                        </p:par>
                        <p:par>
                          <p:cTn id="14" fill="hold">
                            <p:stCondLst>
                              <p:cond delay="510"/>
                            </p:stCondLst>
                            <p:childTnLst>
                              <p:par>
                                <p:cTn id="15" presetID="10" presetClass="entr" presetSubtype="0" fill="hold" grpId="0" nodeType="after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42" presetClass="entr" presetSubtype="0" fill="hold" grpId="0" nodeType="withEffect">
                                  <p:stCondLst>
                                    <p:cond delay="0"/>
                                  </p:stCondLst>
                                  <p:childTnLst>
                                    <p:set>
                                      <p:cBhvr>
                                        <p:cTn id="19" dur="1" fill="hold">
                                          <p:stCondLst>
                                            <p:cond delay="0"/>
                                          </p:stCondLst>
                                        </p:cTn>
                                        <p:tgtEl>
                                          <p:spTgt spid="28"/>
                                        </p:tgtEl>
                                        <p:attrNameLst>
                                          <p:attrName>style.visibility</p:attrName>
                                        </p:attrNameLst>
                                      </p:cBhvr>
                                      <p:to>
                                        <p:strVal val="visible"/>
                                      </p:to>
                                    </p:set>
                                    <p:animEffect transition="in" filter="fade">
                                      <p:cBhvr>
                                        <p:cTn id="20" dur="1000"/>
                                        <p:tgtEl>
                                          <p:spTgt spid="28"/>
                                        </p:tgtEl>
                                      </p:cBhvr>
                                    </p:animEffect>
                                    <p:anim calcmode="lin" valueType="num">
                                      <p:cBhvr>
                                        <p:cTn id="21" dur="1000" fill="hold"/>
                                        <p:tgtEl>
                                          <p:spTgt spid="28"/>
                                        </p:tgtEl>
                                        <p:attrNameLst>
                                          <p:attrName>ppt_x</p:attrName>
                                        </p:attrNameLst>
                                      </p:cBhvr>
                                      <p:tavLst>
                                        <p:tav tm="0">
                                          <p:val>
                                            <p:strVal val="#ppt_x"/>
                                          </p:val>
                                        </p:tav>
                                        <p:tav tm="100000">
                                          <p:val>
                                            <p:strVal val="#ppt_x"/>
                                          </p:val>
                                        </p:tav>
                                      </p:tavLst>
                                    </p:anim>
                                    <p:anim calcmode="lin" valueType="num">
                                      <p:cBhvr>
                                        <p:cTn id="22" dur="1000" fill="hold"/>
                                        <p:tgtEl>
                                          <p:spTgt spid="28"/>
                                        </p:tgtEl>
                                        <p:attrNameLst>
                                          <p:attrName>ppt_y</p:attrName>
                                        </p:attrNameLst>
                                      </p:cBhvr>
                                      <p:tavLst>
                                        <p:tav tm="0">
                                          <p:val>
                                            <p:strVal val="#ppt_y+.1"/>
                                          </p:val>
                                        </p:tav>
                                        <p:tav tm="100000">
                                          <p:val>
                                            <p:strVal val="#ppt_y"/>
                                          </p:val>
                                        </p:tav>
                                      </p:tavLst>
                                    </p:anim>
                                  </p:childTnLst>
                                </p:cTn>
                              </p:par>
                            </p:childTnLst>
                          </p:cTn>
                        </p:par>
                        <p:par>
                          <p:cTn id="23" fill="hold">
                            <p:stCondLst>
                              <p:cond delay="1510"/>
                            </p:stCondLst>
                            <p:childTnLst>
                              <p:par>
                                <p:cTn id="24" presetID="16" presetClass="entr" presetSubtype="37" fill="hold" nodeType="afterEffect">
                                  <p:stCondLst>
                                    <p:cond delay="0"/>
                                  </p:stCondLst>
                                  <p:childTnLst>
                                    <p:set>
                                      <p:cBhvr>
                                        <p:cTn id="25" dur="1" fill="hold">
                                          <p:stCondLst>
                                            <p:cond delay="0"/>
                                          </p:stCondLst>
                                        </p:cTn>
                                        <p:tgtEl>
                                          <p:spTgt spid="32"/>
                                        </p:tgtEl>
                                        <p:attrNameLst>
                                          <p:attrName>style.visibility</p:attrName>
                                        </p:attrNameLst>
                                      </p:cBhvr>
                                      <p:to>
                                        <p:strVal val="visible"/>
                                      </p:to>
                                    </p:set>
                                    <p:animEffect transition="in" filter="barn(outVertical)">
                                      <p:cBhvr>
                                        <p:cTn id="26" dur="500"/>
                                        <p:tgtEl>
                                          <p:spTgt spid="32"/>
                                        </p:tgtEl>
                                      </p:cBhvr>
                                    </p:animEffect>
                                  </p:childTnLst>
                                </p:cTn>
                              </p:par>
                            </p:childTnLst>
                          </p:cTn>
                        </p:par>
                        <p:par>
                          <p:cTn id="27" fill="hold">
                            <p:stCondLst>
                              <p:cond delay="2010"/>
                            </p:stCondLst>
                            <p:childTnLst>
                              <p:par>
                                <p:cTn id="28" presetID="10" presetClass="entr" presetSubtype="0" fill="hold" grpId="0" nodeType="afterEffect">
                                  <p:stCondLst>
                                    <p:cond delay="0"/>
                                  </p:stCondLst>
                                  <p:childTnLst>
                                    <p:set>
                                      <p:cBhvr>
                                        <p:cTn id="29" dur="1" fill="hold">
                                          <p:stCondLst>
                                            <p:cond delay="0"/>
                                          </p:stCondLst>
                                        </p:cTn>
                                        <p:tgtEl>
                                          <p:spTgt spid="26"/>
                                        </p:tgtEl>
                                        <p:attrNameLst>
                                          <p:attrName>style.visibility</p:attrName>
                                        </p:attrNameLst>
                                      </p:cBhvr>
                                      <p:to>
                                        <p:strVal val="visible"/>
                                      </p:to>
                                    </p:set>
                                    <p:animEffect transition="in" filter="fade">
                                      <p:cBhvr>
                                        <p:cTn id="30" dur="500"/>
                                        <p:tgtEl>
                                          <p:spTgt spid="26"/>
                                        </p:tgtEl>
                                      </p:cBhvr>
                                    </p:animEffect>
                                  </p:childTnLst>
                                </p:cTn>
                              </p:par>
                              <p:par>
                                <p:cTn id="31" presetID="42" presetClass="entr" presetSubtype="0" fill="hold" grpId="0" nodeType="withEffect">
                                  <p:stCondLst>
                                    <p:cond delay="0"/>
                                  </p:stCondLst>
                                  <p:childTnLst>
                                    <p:set>
                                      <p:cBhvr>
                                        <p:cTn id="32" dur="1" fill="hold">
                                          <p:stCondLst>
                                            <p:cond delay="0"/>
                                          </p:stCondLst>
                                        </p:cTn>
                                        <p:tgtEl>
                                          <p:spTgt spid="29"/>
                                        </p:tgtEl>
                                        <p:attrNameLst>
                                          <p:attrName>style.visibility</p:attrName>
                                        </p:attrNameLst>
                                      </p:cBhvr>
                                      <p:to>
                                        <p:strVal val="visible"/>
                                      </p:to>
                                    </p:set>
                                    <p:animEffect transition="in" filter="fade">
                                      <p:cBhvr>
                                        <p:cTn id="33" dur="1000"/>
                                        <p:tgtEl>
                                          <p:spTgt spid="29"/>
                                        </p:tgtEl>
                                      </p:cBhvr>
                                    </p:animEffect>
                                    <p:anim calcmode="lin" valueType="num">
                                      <p:cBhvr>
                                        <p:cTn id="34" dur="1000" fill="hold"/>
                                        <p:tgtEl>
                                          <p:spTgt spid="29"/>
                                        </p:tgtEl>
                                        <p:attrNameLst>
                                          <p:attrName>ppt_x</p:attrName>
                                        </p:attrNameLst>
                                      </p:cBhvr>
                                      <p:tavLst>
                                        <p:tav tm="0">
                                          <p:val>
                                            <p:strVal val="#ppt_x"/>
                                          </p:val>
                                        </p:tav>
                                        <p:tav tm="100000">
                                          <p:val>
                                            <p:strVal val="#ppt_x"/>
                                          </p:val>
                                        </p:tav>
                                      </p:tavLst>
                                    </p:anim>
                                    <p:anim calcmode="lin" valueType="num">
                                      <p:cBhvr>
                                        <p:cTn id="35" dur="1000" fill="hold"/>
                                        <p:tgtEl>
                                          <p:spTgt spid="29"/>
                                        </p:tgtEl>
                                        <p:attrNameLst>
                                          <p:attrName>ppt_y</p:attrName>
                                        </p:attrNameLst>
                                      </p:cBhvr>
                                      <p:tavLst>
                                        <p:tav tm="0">
                                          <p:val>
                                            <p:strVal val="#ppt_y+.1"/>
                                          </p:val>
                                        </p:tav>
                                        <p:tav tm="100000">
                                          <p:val>
                                            <p:strVal val="#ppt_y"/>
                                          </p:val>
                                        </p:tav>
                                      </p:tavLst>
                                    </p:anim>
                                  </p:childTnLst>
                                </p:cTn>
                              </p:par>
                            </p:childTnLst>
                          </p:cTn>
                        </p:par>
                        <p:par>
                          <p:cTn id="36" fill="hold">
                            <p:stCondLst>
                              <p:cond delay="3010"/>
                            </p:stCondLst>
                            <p:childTnLst>
                              <p:par>
                                <p:cTn id="37" presetID="16" presetClass="entr" presetSubtype="37" fill="hold" nodeType="afterEffect">
                                  <p:stCondLst>
                                    <p:cond delay="0"/>
                                  </p:stCondLst>
                                  <p:childTnLst>
                                    <p:set>
                                      <p:cBhvr>
                                        <p:cTn id="38" dur="1" fill="hold">
                                          <p:stCondLst>
                                            <p:cond delay="0"/>
                                          </p:stCondLst>
                                        </p:cTn>
                                        <p:tgtEl>
                                          <p:spTgt spid="35"/>
                                        </p:tgtEl>
                                        <p:attrNameLst>
                                          <p:attrName>style.visibility</p:attrName>
                                        </p:attrNameLst>
                                      </p:cBhvr>
                                      <p:to>
                                        <p:strVal val="visible"/>
                                      </p:to>
                                    </p:set>
                                    <p:animEffect transition="in" filter="barn(outVertical)">
                                      <p:cBhvr>
                                        <p:cTn id="39" dur="500"/>
                                        <p:tgtEl>
                                          <p:spTgt spid="35"/>
                                        </p:tgtEl>
                                      </p:cBhvr>
                                    </p:animEffect>
                                  </p:childTnLst>
                                </p:cTn>
                              </p:par>
                            </p:childTnLst>
                          </p:cTn>
                        </p:par>
                        <p:par>
                          <p:cTn id="40" fill="hold">
                            <p:stCondLst>
                              <p:cond delay="3510"/>
                            </p:stCondLst>
                            <p:childTnLst>
                              <p:par>
                                <p:cTn id="41" presetID="10" presetClass="entr" presetSubtype="0" fill="hold" grpId="0" nodeType="afterEffect">
                                  <p:stCondLst>
                                    <p:cond delay="0"/>
                                  </p:stCondLst>
                                  <p:childTnLst>
                                    <p:set>
                                      <p:cBhvr>
                                        <p:cTn id="42" dur="1" fill="hold">
                                          <p:stCondLst>
                                            <p:cond delay="0"/>
                                          </p:stCondLst>
                                        </p:cTn>
                                        <p:tgtEl>
                                          <p:spTgt spid="15"/>
                                        </p:tgtEl>
                                        <p:attrNameLst>
                                          <p:attrName>style.visibility</p:attrName>
                                        </p:attrNameLst>
                                      </p:cBhvr>
                                      <p:to>
                                        <p:strVal val="visible"/>
                                      </p:to>
                                    </p:set>
                                    <p:animEffect transition="in" filter="fade">
                                      <p:cBhvr>
                                        <p:cTn id="43" dur="500"/>
                                        <p:tgtEl>
                                          <p:spTgt spid="15"/>
                                        </p:tgtEl>
                                      </p:cBhvr>
                                    </p:animEffect>
                                  </p:childTnLst>
                                </p:cTn>
                              </p:par>
                            </p:childTnLst>
                          </p:cTn>
                        </p:par>
                        <p:par>
                          <p:cTn id="44" fill="hold">
                            <p:stCondLst>
                              <p:cond delay="4010"/>
                            </p:stCondLst>
                            <p:childTnLst>
                              <p:par>
                                <p:cTn id="45" presetID="42" presetClass="entr" presetSubtype="0" fill="hold" grpId="0" nodeType="afterEffect">
                                  <p:stCondLst>
                                    <p:cond delay="0"/>
                                  </p:stCondLst>
                                  <p:childTnLst>
                                    <p:set>
                                      <p:cBhvr>
                                        <p:cTn id="46" dur="1" fill="hold">
                                          <p:stCondLst>
                                            <p:cond delay="0"/>
                                          </p:stCondLst>
                                        </p:cTn>
                                        <p:tgtEl>
                                          <p:spTgt spid="30"/>
                                        </p:tgtEl>
                                        <p:attrNameLst>
                                          <p:attrName>style.visibility</p:attrName>
                                        </p:attrNameLst>
                                      </p:cBhvr>
                                      <p:to>
                                        <p:strVal val="visible"/>
                                      </p:to>
                                    </p:set>
                                    <p:animEffect transition="in" filter="fade">
                                      <p:cBhvr>
                                        <p:cTn id="47" dur="1000"/>
                                        <p:tgtEl>
                                          <p:spTgt spid="30"/>
                                        </p:tgtEl>
                                      </p:cBhvr>
                                    </p:animEffect>
                                    <p:anim calcmode="lin" valueType="num">
                                      <p:cBhvr>
                                        <p:cTn id="48" dur="1000" fill="hold"/>
                                        <p:tgtEl>
                                          <p:spTgt spid="30"/>
                                        </p:tgtEl>
                                        <p:attrNameLst>
                                          <p:attrName>ppt_x</p:attrName>
                                        </p:attrNameLst>
                                      </p:cBhvr>
                                      <p:tavLst>
                                        <p:tav tm="0">
                                          <p:val>
                                            <p:strVal val="#ppt_x"/>
                                          </p:val>
                                        </p:tav>
                                        <p:tav tm="100000">
                                          <p:val>
                                            <p:strVal val="#ppt_x"/>
                                          </p:val>
                                        </p:tav>
                                      </p:tavLst>
                                    </p:anim>
                                    <p:anim calcmode="lin" valueType="num">
                                      <p:cBhvr>
                                        <p:cTn id="49" dur="1000" fill="hold"/>
                                        <p:tgtEl>
                                          <p:spTgt spid="30"/>
                                        </p:tgtEl>
                                        <p:attrNameLst>
                                          <p:attrName>ppt_y</p:attrName>
                                        </p:attrNameLst>
                                      </p:cBhvr>
                                      <p:tavLst>
                                        <p:tav tm="0">
                                          <p:val>
                                            <p:strVal val="#ppt_y+.1"/>
                                          </p:val>
                                        </p:tav>
                                        <p:tav tm="100000">
                                          <p:val>
                                            <p:strVal val="#ppt_y"/>
                                          </p:val>
                                        </p:tav>
                                      </p:tavLst>
                                    </p:anim>
                                  </p:childTnLst>
                                </p:cTn>
                              </p:par>
                            </p:childTnLst>
                          </p:cTn>
                        </p:par>
                        <p:par>
                          <p:cTn id="50" fill="hold">
                            <p:stCondLst>
                              <p:cond delay="5010"/>
                            </p:stCondLst>
                            <p:childTnLst>
                              <p:par>
                                <p:cTn id="51" presetID="16" presetClass="entr" presetSubtype="37" fill="hold" nodeType="afterEffect">
                                  <p:stCondLst>
                                    <p:cond delay="0"/>
                                  </p:stCondLst>
                                  <p:childTnLst>
                                    <p:set>
                                      <p:cBhvr>
                                        <p:cTn id="52" dur="1" fill="hold">
                                          <p:stCondLst>
                                            <p:cond delay="0"/>
                                          </p:stCondLst>
                                        </p:cTn>
                                        <p:tgtEl>
                                          <p:spTgt spid="38"/>
                                        </p:tgtEl>
                                        <p:attrNameLst>
                                          <p:attrName>style.visibility</p:attrName>
                                        </p:attrNameLst>
                                      </p:cBhvr>
                                      <p:to>
                                        <p:strVal val="visible"/>
                                      </p:to>
                                    </p:set>
                                    <p:animEffect transition="in" filter="barn(outVertical)">
                                      <p:cBhvr>
                                        <p:cTn id="53" dur="500"/>
                                        <p:tgtEl>
                                          <p:spTgt spid="38"/>
                                        </p:tgtEl>
                                      </p:cBhvr>
                                    </p:animEffect>
                                  </p:childTnLst>
                                </p:cTn>
                              </p:par>
                            </p:childTnLst>
                          </p:cTn>
                        </p:par>
                        <p:par>
                          <p:cTn id="54" fill="hold">
                            <p:stCondLst>
                              <p:cond delay="5510"/>
                            </p:stCondLst>
                            <p:childTnLst>
                              <p:par>
                                <p:cTn id="55" presetID="10" presetClass="entr" presetSubtype="0" fill="hold" grpId="0" nodeType="afterEffect">
                                  <p:stCondLst>
                                    <p:cond delay="0"/>
                                  </p:stCondLst>
                                  <p:childTnLst>
                                    <p:set>
                                      <p:cBhvr>
                                        <p:cTn id="56" dur="1" fill="hold">
                                          <p:stCondLst>
                                            <p:cond delay="0"/>
                                          </p:stCondLst>
                                        </p:cTn>
                                        <p:tgtEl>
                                          <p:spTgt spid="16"/>
                                        </p:tgtEl>
                                        <p:attrNameLst>
                                          <p:attrName>style.visibility</p:attrName>
                                        </p:attrNameLst>
                                      </p:cBhvr>
                                      <p:to>
                                        <p:strVal val="visible"/>
                                      </p:to>
                                    </p:set>
                                    <p:animEffect transition="in" filter="fade">
                                      <p:cBhvr>
                                        <p:cTn id="57" dur="500"/>
                                        <p:tgtEl>
                                          <p:spTgt spid="16"/>
                                        </p:tgtEl>
                                      </p:cBhvr>
                                    </p:animEffect>
                                  </p:childTnLst>
                                </p:cTn>
                              </p:par>
                            </p:childTnLst>
                          </p:cTn>
                        </p:par>
                        <p:par>
                          <p:cTn id="58" fill="hold">
                            <p:stCondLst>
                              <p:cond delay="6010"/>
                            </p:stCondLst>
                            <p:childTnLst>
                              <p:par>
                                <p:cTn id="59" presetID="42" presetClass="entr" presetSubtype="0" fill="hold" grpId="0" nodeType="afterEffect">
                                  <p:stCondLst>
                                    <p:cond delay="0"/>
                                  </p:stCondLst>
                                  <p:childTnLst>
                                    <p:set>
                                      <p:cBhvr>
                                        <p:cTn id="60" dur="1" fill="hold">
                                          <p:stCondLst>
                                            <p:cond delay="0"/>
                                          </p:stCondLst>
                                        </p:cTn>
                                        <p:tgtEl>
                                          <p:spTgt spid="31"/>
                                        </p:tgtEl>
                                        <p:attrNameLst>
                                          <p:attrName>style.visibility</p:attrName>
                                        </p:attrNameLst>
                                      </p:cBhvr>
                                      <p:to>
                                        <p:strVal val="visible"/>
                                      </p:to>
                                    </p:set>
                                    <p:animEffect transition="in" filter="fade">
                                      <p:cBhvr>
                                        <p:cTn id="61" dur="1000"/>
                                        <p:tgtEl>
                                          <p:spTgt spid="31"/>
                                        </p:tgtEl>
                                      </p:cBhvr>
                                    </p:animEffect>
                                    <p:anim calcmode="lin" valueType="num">
                                      <p:cBhvr>
                                        <p:cTn id="62" dur="1000" fill="hold"/>
                                        <p:tgtEl>
                                          <p:spTgt spid="31"/>
                                        </p:tgtEl>
                                        <p:attrNameLst>
                                          <p:attrName>ppt_x</p:attrName>
                                        </p:attrNameLst>
                                      </p:cBhvr>
                                      <p:tavLst>
                                        <p:tav tm="0">
                                          <p:val>
                                            <p:strVal val="#ppt_x"/>
                                          </p:val>
                                        </p:tav>
                                        <p:tav tm="100000">
                                          <p:val>
                                            <p:strVal val="#ppt_x"/>
                                          </p:val>
                                        </p:tav>
                                      </p:tavLst>
                                    </p:anim>
                                    <p:anim calcmode="lin" valueType="num">
                                      <p:cBhvr>
                                        <p:cTn id="63" dur="1000" fill="hold"/>
                                        <p:tgtEl>
                                          <p:spTgt spid="31"/>
                                        </p:tgtEl>
                                        <p:attrNameLst>
                                          <p:attrName>ppt_y</p:attrName>
                                        </p:attrNameLst>
                                      </p:cBhvr>
                                      <p:tavLst>
                                        <p:tav tm="0">
                                          <p:val>
                                            <p:strVal val="#ppt_y+.1"/>
                                          </p:val>
                                        </p:tav>
                                        <p:tav tm="100000">
                                          <p:val>
                                            <p:strVal val="#ppt_y"/>
                                          </p:val>
                                        </p:tav>
                                      </p:tavLst>
                                    </p:anim>
                                  </p:childTnLst>
                                </p:cTn>
                              </p:par>
                            </p:childTnLst>
                          </p:cTn>
                        </p:par>
                        <p:par>
                          <p:cTn id="64" fill="hold">
                            <p:stCondLst>
                              <p:cond delay="7010"/>
                            </p:stCondLst>
                            <p:childTnLst>
                              <p:par>
                                <p:cTn id="65" presetID="16" presetClass="entr" presetSubtype="37" fill="hold" nodeType="afterEffect">
                                  <p:stCondLst>
                                    <p:cond delay="0"/>
                                  </p:stCondLst>
                                  <p:childTnLst>
                                    <p:set>
                                      <p:cBhvr>
                                        <p:cTn id="66" dur="1" fill="hold">
                                          <p:stCondLst>
                                            <p:cond delay="0"/>
                                          </p:stCondLst>
                                        </p:cTn>
                                        <p:tgtEl>
                                          <p:spTgt spid="41"/>
                                        </p:tgtEl>
                                        <p:attrNameLst>
                                          <p:attrName>style.visibility</p:attrName>
                                        </p:attrNameLst>
                                      </p:cBhvr>
                                      <p:to>
                                        <p:strVal val="visible"/>
                                      </p:to>
                                    </p:set>
                                    <p:animEffect transition="in" filter="barn(outVertical)">
                                      <p:cBhvr>
                                        <p:cTn id="67" dur="500"/>
                                        <p:tgtEl>
                                          <p:spTgt spid="41"/>
                                        </p:tgtEl>
                                      </p:cBhvr>
                                    </p:animEffect>
                                  </p:childTnLst>
                                </p:cTn>
                              </p:par>
                            </p:childTnLst>
                          </p:cTn>
                        </p:par>
                        <p:par>
                          <p:cTn id="68" fill="hold">
                            <p:stCondLst>
                              <p:cond delay="7510"/>
                            </p:stCondLst>
                            <p:childTnLst>
                              <p:par>
                                <p:cTn id="69" presetID="10" presetClass="entr" presetSubtype="0" fill="hold" grpId="0" nodeType="afterEffect">
                                  <p:stCondLst>
                                    <p:cond delay="0"/>
                                  </p:stCondLst>
                                  <p:childTnLst>
                                    <p:set>
                                      <p:cBhvr>
                                        <p:cTn id="70" dur="1" fill="hold">
                                          <p:stCondLst>
                                            <p:cond delay="0"/>
                                          </p:stCondLst>
                                        </p:cTn>
                                        <p:tgtEl>
                                          <p:spTgt spid="17"/>
                                        </p:tgtEl>
                                        <p:attrNameLst>
                                          <p:attrName>style.visibility</p:attrName>
                                        </p:attrNameLst>
                                      </p:cBhvr>
                                      <p:to>
                                        <p:strVal val="visible"/>
                                      </p:to>
                                    </p:set>
                                    <p:animEffect transition="in" filter="fade">
                                      <p:cBhvr>
                                        <p:cTn id="71" dur="500"/>
                                        <p:tgtEl>
                                          <p:spTgt spid="17"/>
                                        </p:tgtEl>
                                      </p:cBhvr>
                                    </p:animEffect>
                                  </p:childTnLst>
                                </p:cTn>
                              </p:par>
                            </p:childTnLst>
                          </p:cTn>
                        </p:par>
                        <p:par>
                          <p:cTn id="72" fill="hold">
                            <p:stCondLst>
                              <p:cond delay="8010"/>
                            </p:stCondLst>
                            <p:childTnLst>
                              <p:par>
                                <p:cTn id="73" presetID="42" presetClass="entr" presetSubtype="0" fill="hold" grpId="0" nodeType="afterEffect">
                                  <p:stCondLst>
                                    <p:cond delay="0"/>
                                  </p:stCondLst>
                                  <p:childTnLst>
                                    <p:set>
                                      <p:cBhvr>
                                        <p:cTn id="74" dur="1" fill="hold">
                                          <p:stCondLst>
                                            <p:cond delay="0"/>
                                          </p:stCondLst>
                                        </p:cTn>
                                        <p:tgtEl>
                                          <p:spTgt spid="8"/>
                                        </p:tgtEl>
                                        <p:attrNameLst>
                                          <p:attrName>style.visibility</p:attrName>
                                        </p:attrNameLst>
                                      </p:cBhvr>
                                      <p:to>
                                        <p:strVal val="visible"/>
                                      </p:to>
                                    </p:set>
                                    <p:animEffect transition="in" filter="fade">
                                      <p:cBhvr>
                                        <p:cTn id="75" dur="10"/>
                                        <p:tgtEl>
                                          <p:spTgt spid="8"/>
                                        </p:tgtEl>
                                      </p:cBhvr>
                                    </p:animEffect>
                                    <p:anim calcmode="lin" valueType="num">
                                      <p:cBhvr>
                                        <p:cTn id="76" dur="10" fill="hold"/>
                                        <p:tgtEl>
                                          <p:spTgt spid="8"/>
                                        </p:tgtEl>
                                        <p:attrNameLst>
                                          <p:attrName>ppt_x</p:attrName>
                                        </p:attrNameLst>
                                      </p:cBhvr>
                                      <p:tavLst>
                                        <p:tav tm="0">
                                          <p:val>
                                            <p:strVal val="#ppt_x"/>
                                          </p:val>
                                        </p:tav>
                                        <p:tav tm="100000">
                                          <p:val>
                                            <p:strVal val="#ppt_x"/>
                                          </p:val>
                                        </p:tav>
                                      </p:tavLst>
                                    </p:anim>
                                    <p:anim calcmode="lin" valueType="num">
                                      <p:cBhvr>
                                        <p:cTn id="77" dur="10" fill="hold"/>
                                        <p:tgtEl>
                                          <p:spTgt spid="8"/>
                                        </p:tgtEl>
                                        <p:attrNameLst>
                                          <p:attrName>ppt_y</p:attrName>
                                        </p:attrNameLst>
                                      </p:cBhvr>
                                      <p:tavLst>
                                        <p:tav tm="0">
                                          <p:val>
                                            <p:strVal val="#ppt_y+.1"/>
                                          </p:val>
                                        </p:tav>
                                        <p:tav tm="100000">
                                          <p:val>
                                            <p:strVal val="#ppt_y"/>
                                          </p:val>
                                        </p:tav>
                                      </p:tavLst>
                                    </p:anim>
                                  </p:childTnLst>
                                </p:cTn>
                              </p:par>
                            </p:childTnLst>
                          </p:cTn>
                        </p:par>
                        <p:par>
                          <p:cTn id="78" fill="hold">
                            <p:stCondLst>
                              <p:cond delay="8020"/>
                            </p:stCondLst>
                            <p:childTnLst>
                              <p:par>
                                <p:cTn id="79" presetID="16" presetClass="entr" presetSubtype="37" fill="hold" nodeType="afterEffect">
                                  <p:stCondLst>
                                    <p:cond delay="0"/>
                                  </p:stCondLst>
                                  <p:childTnLst>
                                    <p:set>
                                      <p:cBhvr>
                                        <p:cTn id="80" dur="1" fill="hold">
                                          <p:stCondLst>
                                            <p:cond delay="0"/>
                                          </p:stCondLst>
                                        </p:cTn>
                                        <p:tgtEl>
                                          <p:spTgt spid="44"/>
                                        </p:tgtEl>
                                        <p:attrNameLst>
                                          <p:attrName>style.visibility</p:attrName>
                                        </p:attrNameLst>
                                      </p:cBhvr>
                                      <p:to>
                                        <p:strVal val="visible"/>
                                      </p:to>
                                    </p:set>
                                    <p:animEffect transition="in" filter="barn(outVertical)">
                                      <p:cBhvr>
                                        <p:cTn id="81" dur="500"/>
                                        <p:tgtEl>
                                          <p:spTgt spid="44"/>
                                        </p:tgtEl>
                                      </p:cBhvr>
                                    </p:animEffect>
                                  </p:childTnLst>
                                </p:cTn>
                              </p:par>
                            </p:childTnLst>
                          </p:cTn>
                        </p:par>
                        <p:par>
                          <p:cTn id="82" fill="hold">
                            <p:stCondLst>
                              <p:cond delay="8520"/>
                            </p:stCondLst>
                            <p:childTnLst>
                              <p:par>
                                <p:cTn id="83" presetID="10" presetClass="entr" presetSubtype="0" fill="hold" grpId="0" nodeType="afterEffect">
                                  <p:stCondLst>
                                    <p:cond delay="0"/>
                                  </p:stCondLst>
                                  <p:childTnLst>
                                    <p:set>
                                      <p:cBhvr>
                                        <p:cTn id="84" dur="1" fill="hold">
                                          <p:stCondLst>
                                            <p:cond delay="0"/>
                                          </p:stCondLst>
                                        </p:cTn>
                                        <p:tgtEl>
                                          <p:spTgt spid="18"/>
                                        </p:tgtEl>
                                        <p:attrNameLst>
                                          <p:attrName>style.visibility</p:attrName>
                                        </p:attrNameLst>
                                      </p:cBhvr>
                                      <p:to>
                                        <p:strVal val="visible"/>
                                      </p:to>
                                    </p:set>
                                    <p:animEffect transition="in" filter="fade">
                                      <p:cBhvr>
                                        <p:cTn id="85" dur="500"/>
                                        <p:tgtEl>
                                          <p:spTgt spid="18"/>
                                        </p:tgtEl>
                                      </p:cBhvr>
                                    </p:animEffect>
                                  </p:childTnLst>
                                </p:cTn>
                              </p:par>
                            </p:childTnLst>
                          </p:cTn>
                        </p:par>
                        <p:par>
                          <p:cTn id="86" fill="hold">
                            <p:stCondLst>
                              <p:cond delay="9020"/>
                            </p:stCondLst>
                            <p:childTnLst>
                              <p:par>
                                <p:cTn id="87" presetID="42" presetClass="entr" presetSubtype="0" fill="hold" grpId="0" nodeType="afterEffect">
                                  <p:stCondLst>
                                    <p:cond delay="0"/>
                                  </p:stCondLst>
                                  <p:childTnLst>
                                    <p:set>
                                      <p:cBhvr>
                                        <p:cTn id="88" dur="1" fill="hold">
                                          <p:stCondLst>
                                            <p:cond delay="0"/>
                                          </p:stCondLst>
                                        </p:cTn>
                                        <p:tgtEl>
                                          <p:spTgt spid="7"/>
                                        </p:tgtEl>
                                        <p:attrNameLst>
                                          <p:attrName>style.visibility</p:attrName>
                                        </p:attrNameLst>
                                      </p:cBhvr>
                                      <p:to>
                                        <p:strVal val="visible"/>
                                      </p:to>
                                    </p:set>
                                    <p:animEffect transition="in" filter="fade">
                                      <p:cBhvr>
                                        <p:cTn id="89" dur="1000"/>
                                        <p:tgtEl>
                                          <p:spTgt spid="7"/>
                                        </p:tgtEl>
                                      </p:cBhvr>
                                    </p:animEffect>
                                    <p:anim calcmode="lin" valueType="num">
                                      <p:cBhvr>
                                        <p:cTn id="90" dur="1000" fill="hold"/>
                                        <p:tgtEl>
                                          <p:spTgt spid="7"/>
                                        </p:tgtEl>
                                        <p:attrNameLst>
                                          <p:attrName>ppt_x</p:attrName>
                                        </p:attrNameLst>
                                      </p:cBhvr>
                                      <p:tavLst>
                                        <p:tav tm="0">
                                          <p:val>
                                            <p:strVal val="#ppt_x"/>
                                          </p:val>
                                        </p:tav>
                                        <p:tav tm="100000">
                                          <p:val>
                                            <p:strVal val="#ppt_x"/>
                                          </p:val>
                                        </p:tav>
                                      </p:tavLst>
                                    </p:anim>
                                    <p:anim calcmode="lin" valueType="num">
                                      <p:cBhvr>
                                        <p:cTn id="91" dur="1000" fill="hold"/>
                                        <p:tgtEl>
                                          <p:spTgt spid="7"/>
                                        </p:tgtEl>
                                        <p:attrNameLst>
                                          <p:attrName>ppt_y</p:attrName>
                                        </p:attrNameLst>
                                      </p:cBhvr>
                                      <p:tavLst>
                                        <p:tav tm="0">
                                          <p:val>
                                            <p:strVal val="#ppt_y+.1"/>
                                          </p:val>
                                        </p:tav>
                                        <p:tav tm="100000">
                                          <p:val>
                                            <p:strVal val="#ppt_y"/>
                                          </p:val>
                                        </p:tav>
                                      </p:tavLst>
                                    </p:anim>
                                  </p:childTnLst>
                                </p:cTn>
                              </p:par>
                            </p:childTnLst>
                          </p:cTn>
                        </p:par>
                        <p:par>
                          <p:cTn id="92" fill="hold">
                            <p:stCondLst>
                              <p:cond delay="10020"/>
                            </p:stCondLst>
                            <p:childTnLst>
                              <p:par>
                                <p:cTn id="93" presetID="16" presetClass="entr" presetSubtype="37" fill="hold" nodeType="afterEffect">
                                  <p:stCondLst>
                                    <p:cond delay="0"/>
                                  </p:stCondLst>
                                  <p:childTnLst>
                                    <p:set>
                                      <p:cBhvr>
                                        <p:cTn id="94" dur="1" fill="hold">
                                          <p:stCondLst>
                                            <p:cond delay="0"/>
                                          </p:stCondLst>
                                        </p:cTn>
                                        <p:tgtEl>
                                          <p:spTgt spid="47"/>
                                        </p:tgtEl>
                                        <p:attrNameLst>
                                          <p:attrName>style.visibility</p:attrName>
                                        </p:attrNameLst>
                                      </p:cBhvr>
                                      <p:to>
                                        <p:strVal val="visible"/>
                                      </p:to>
                                    </p:set>
                                    <p:animEffect transition="in" filter="barn(outVertical)">
                                      <p:cBhvr>
                                        <p:cTn id="95" dur="500"/>
                                        <p:tgtEl>
                                          <p:spTgt spid="47"/>
                                        </p:tgtEl>
                                      </p:cBhvr>
                                    </p:animEffect>
                                  </p:childTnLst>
                                </p:cTn>
                              </p:par>
                            </p:childTnLst>
                          </p:cTn>
                        </p:par>
                        <p:par>
                          <p:cTn id="96" fill="hold">
                            <p:stCondLst>
                              <p:cond delay="10520"/>
                            </p:stCondLst>
                            <p:childTnLst>
                              <p:par>
                                <p:cTn id="97" presetID="10" presetClass="entr" presetSubtype="0" fill="hold" grpId="0" nodeType="afterEffect">
                                  <p:stCondLst>
                                    <p:cond delay="0"/>
                                  </p:stCondLst>
                                  <p:childTnLst>
                                    <p:set>
                                      <p:cBhvr>
                                        <p:cTn id="98" dur="1" fill="hold">
                                          <p:stCondLst>
                                            <p:cond delay="0"/>
                                          </p:stCondLst>
                                        </p:cTn>
                                        <p:tgtEl>
                                          <p:spTgt spid="19"/>
                                        </p:tgtEl>
                                        <p:attrNameLst>
                                          <p:attrName>style.visibility</p:attrName>
                                        </p:attrNameLst>
                                      </p:cBhvr>
                                      <p:to>
                                        <p:strVal val="visible"/>
                                      </p:to>
                                    </p:set>
                                    <p:animEffect transition="in" filter="fade">
                                      <p:cBhvr>
                                        <p:cTn id="99" dur="500"/>
                                        <p:tgtEl>
                                          <p:spTgt spid="19"/>
                                        </p:tgtEl>
                                      </p:cBhvr>
                                    </p:animEffect>
                                  </p:childTnLst>
                                </p:cTn>
                              </p:par>
                            </p:childTnLst>
                          </p:cTn>
                        </p:par>
                        <p:par>
                          <p:cTn id="100" fill="hold">
                            <p:stCondLst>
                              <p:cond delay="11020"/>
                            </p:stCondLst>
                            <p:childTnLst>
                              <p:par>
                                <p:cTn id="101" presetID="42" presetClass="entr" presetSubtype="0" fill="hold" grpId="0" nodeType="afterEffect">
                                  <p:stCondLst>
                                    <p:cond delay="0"/>
                                  </p:stCondLst>
                                  <p:childTnLst>
                                    <p:set>
                                      <p:cBhvr>
                                        <p:cTn id="102" dur="1" fill="hold">
                                          <p:stCondLst>
                                            <p:cond delay="0"/>
                                          </p:stCondLst>
                                        </p:cTn>
                                        <p:tgtEl>
                                          <p:spTgt spid="6"/>
                                        </p:tgtEl>
                                        <p:attrNameLst>
                                          <p:attrName>style.visibility</p:attrName>
                                        </p:attrNameLst>
                                      </p:cBhvr>
                                      <p:to>
                                        <p:strVal val="visible"/>
                                      </p:to>
                                    </p:set>
                                    <p:animEffect transition="in" filter="fade">
                                      <p:cBhvr>
                                        <p:cTn id="103" dur="1000"/>
                                        <p:tgtEl>
                                          <p:spTgt spid="6"/>
                                        </p:tgtEl>
                                      </p:cBhvr>
                                    </p:animEffect>
                                    <p:anim calcmode="lin" valueType="num">
                                      <p:cBhvr>
                                        <p:cTn id="104" dur="1000" fill="hold"/>
                                        <p:tgtEl>
                                          <p:spTgt spid="6"/>
                                        </p:tgtEl>
                                        <p:attrNameLst>
                                          <p:attrName>ppt_x</p:attrName>
                                        </p:attrNameLst>
                                      </p:cBhvr>
                                      <p:tavLst>
                                        <p:tav tm="0">
                                          <p:val>
                                            <p:strVal val="#ppt_x"/>
                                          </p:val>
                                        </p:tav>
                                        <p:tav tm="100000">
                                          <p:val>
                                            <p:strVal val="#ppt_x"/>
                                          </p:val>
                                        </p:tav>
                                      </p:tavLst>
                                    </p:anim>
                                    <p:anim calcmode="lin" valueType="num">
                                      <p:cBhvr>
                                        <p:cTn id="105" dur="1000" fill="hold"/>
                                        <p:tgtEl>
                                          <p:spTgt spid="6"/>
                                        </p:tgtEl>
                                        <p:attrNameLst>
                                          <p:attrName>ppt_y</p:attrName>
                                        </p:attrNameLst>
                                      </p:cBhvr>
                                      <p:tavLst>
                                        <p:tav tm="0">
                                          <p:val>
                                            <p:strVal val="#ppt_y+.1"/>
                                          </p:val>
                                        </p:tav>
                                        <p:tav tm="100000">
                                          <p:val>
                                            <p:strVal val="#ppt_y"/>
                                          </p:val>
                                        </p:tav>
                                      </p:tavLst>
                                    </p:anim>
                                  </p:childTnLst>
                                </p:cTn>
                              </p:par>
                            </p:childTnLst>
                          </p:cTn>
                        </p:par>
                        <p:par>
                          <p:cTn id="106" fill="hold">
                            <p:stCondLst>
                              <p:cond delay="12020"/>
                            </p:stCondLst>
                            <p:childTnLst>
                              <p:par>
                                <p:cTn id="107" presetID="16" presetClass="entr" presetSubtype="37" fill="hold" nodeType="afterEffect">
                                  <p:stCondLst>
                                    <p:cond delay="0"/>
                                  </p:stCondLst>
                                  <p:childTnLst>
                                    <p:set>
                                      <p:cBhvr>
                                        <p:cTn id="108" dur="1" fill="hold">
                                          <p:stCondLst>
                                            <p:cond delay="0"/>
                                          </p:stCondLst>
                                        </p:cTn>
                                        <p:tgtEl>
                                          <p:spTgt spid="50"/>
                                        </p:tgtEl>
                                        <p:attrNameLst>
                                          <p:attrName>style.visibility</p:attrName>
                                        </p:attrNameLst>
                                      </p:cBhvr>
                                      <p:to>
                                        <p:strVal val="visible"/>
                                      </p:to>
                                    </p:set>
                                    <p:animEffect transition="in" filter="barn(outVertical)">
                                      <p:cBhvr>
                                        <p:cTn id="109" dur="500"/>
                                        <p:tgtEl>
                                          <p:spTgt spid="50"/>
                                        </p:tgtEl>
                                      </p:cBhvr>
                                    </p:animEffect>
                                  </p:childTnLst>
                                </p:cTn>
                              </p:par>
                            </p:childTnLst>
                          </p:cTn>
                        </p:par>
                        <p:par>
                          <p:cTn id="110" fill="hold">
                            <p:stCondLst>
                              <p:cond delay="12520"/>
                            </p:stCondLst>
                            <p:childTnLst>
                              <p:par>
                                <p:cTn id="111" presetID="10" presetClass="entr" presetSubtype="0" fill="hold" grpId="0" nodeType="afterEffect">
                                  <p:stCondLst>
                                    <p:cond delay="0"/>
                                  </p:stCondLst>
                                  <p:childTnLst>
                                    <p:set>
                                      <p:cBhvr>
                                        <p:cTn id="112" dur="1" fill="hold">
                                          <p:stCondLst>
                                            <p:cond delay="0"/>
                                          </p:stCondLst>
                                        </p:cTn>
                                        <p:tgtEl>
                                          <p:spTgt spid="20"/>
                                        </p:tgtEl>
                                        <p:attrNameLst>
                                          <p:attrName>style.visibility</p:attrName>
                                        </p:attrNameLst>
                                      </p:cBhvr>
                                      <p:to>
                                        <p:strVal val="visible"/>
                                      </p:to>
                                    </p:set>
                                    <p:animEffect transition="in" filter="fade">
                                      <p:cBhvr>
                                        <p:cTn id="113" dur="500"/>
                                        <p:tgtEl>
                                          <p:spTgt spid="20"/>
                                        </p:tgtEl>
                                      </p:cBhvr>
                                    </p:animEffect>
                                  </p:childTnLst>
                                </p:cTn>
                              </p:par>
                            </p:childTnLst>
                          </p:cTn>
                        </p:par>
                        <p:par>
                          <p:cTn id="114" fill="hold">
                            <p:stCondLst>
                              <p:cond delay="13020"/>
                            </p:stCondLst>
                            <p:childTnLst>
                              <p:par>
                                <p:cTn id="115" presetID="22" presetClass="entr" presetSubtype="8" fill="hold" nodeType="afterEffect">
                                  <p:stCondLst>
                                    <p:cond delay="0"/>
                                  </p:stCondLst>
                                  <p:childTnLst>
                                    <p:set>
                                      <p:cBhvr>
                                        <p:cTn id="116" dur="1" fill="hold">
                                          <p:stCondLst>
                                            <p:cond delay="0"/>
                                          </p:stCondLst>
                                        </p:cTn>
                                        <p:tgtEl>
                                          <p:spTgt spid="56"/>
                                        </p:tgtEl>
                                        <p:attrNameLst>
                                          <p:attrName>style.visibility</p:attrName>
                                        </p:attrNameLst>
                                      </p:cBhvr>
                                      <p:to>
                                        <p:strVal val="visible"/>
                                      </p:to>
                                    </p:set>
                                    <p:animEffect transition="in" filter="wipe(left)">
                                      <p:cBhvr>
                                        <p:cTn id="117" dur="500"/>
                                        <p:tgtEl>
                                          <p:spTgt spid="56"/>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22"/>
                                        </p:tgtEl>
                                        <p:attrNameLst>
                                          <p:attrName>style.visibility</p:attrName>
                                        </p:attrNameLst>
                                      </p:cBhvr>
                                      <p:to>
                                        <p:strVal val="visible"/>
                                      </p:to>
                                    </p:set>
                                    <p:animEffect transition="in" filter="fade">
                                      <p:cBhvr>
                                        <p:cTn id="120" dur="500"/>
                                        <p:tgtEl>
                                          <p:spTgt spid="22"/>
                                        </p:tgtEl>
                                      </p:cBhvr>
                                    </p:animEffect>
                                  </p:childTnLst>
                                </p:cTn>
                              </p:par>
                              <p:par>
                                <p:cTn id="121" presetID="10" presetClass="entr" presetSubtype="0" fill="hold" grpId="0" nodeType="withEffect">
                                  <p:stCondLst>
                                    <p:cond delay="0"/>
                                  </p:stCondLst>
                                  <p:childTnLst>
                                    <p:set>
                                      <p:cBhvr>
                                        <p:cTn id="122" dur="1" fill="hold">
                                          <p:stCondLst>
                                            <p:cond delay="0"/>
                                          </p:stCondLst>
                                        </p:cTn>
                                        <p:tgtEl>
                                          <p:spTgt spid="23"/>
                                        </p:tgtEl>
                                        <p:attrNameLst>
                                          <p:attrName>style.visibility</p:attrName>
                                        </p:attrNameLst>
                                      </p:cBhvr>
                                      <p:to>
                                        <p:strVal val="visible"/>
                                      </p:to>
                                    </p:set>
                                    <p:animEffect transition="in" filter="fade">
                                      <p:cBhvr>
                                        <p:cTn id="123" dur="500"/>
                                        <p:tgtEl>
                                          <p:spTgt spid="23"/>
                                        </p:tgtEl>
                                      </p:cBhvr>
                                    </p:animEffect>
                                  </p:childTnLst>
                                </p:cTn>
                              </p:par>
                              <p:par>
                                <p:cTn id="124" presetID="10" presetClass="entr" presetSubtype="0" fill="hold" grpId="0" nodeType="withEffect">
                                  <p:stCondLst>
                                    <p:cond delay="0"/>
                                  </p:stCondLst>
                                  <p:childTnLst>
                                    <p:set>
                                      <p:cBhvr>
                                        <p:cTn id="125" dur="1" fill="hold">
                                          <p:stCondLst>
                                            <p:cond delay="0"/>
                                          </p:stCondLst>
                                        </p:cTn>
                                        <p:tgtEl>
                                          <p:spTgt spid="21"/>
                                        </p:tgtEl>
                                        <p:attrNameLst>
                                          <p:attrName>style.visibility</p:attrName>
                                        </p:attrNameLst>
                                      </p:cBhvr>
                                      <p:to>
                                        <p:strVal val="visible"/>
                                      </p:to>
                                    </p:set>
                                    <p:animEffect transition="in" filter="fade">
                                      <p:cBhvr>
                                        <p:cTn id="126" dur="500"/>
                                        <p:tgtEl>
                                          <p:spTgt spid="21"/>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13"/>
                                        </p:tgtEl>
                                        <p:attrNameLst>
                                          <p:attrName>style.visibility</p:attrName>
                                        </p:attrNameLst>
                                      </p:cBhvr>
                                      <p:to>
                                        <p:strVal val="visible"/>
                                      </p:to>
                                    </p:set>
                                    <p:animEffect transition="in" filter="fade">
                                      <p:cBhvr>
                                        <p:cTn id="129" dur="500"/>
                                        <p:tgtEl>
                                          <p:spTgt spid="13"/>
                                        </p:tgtEl>
                                      </p:cBhvr>
                                    </p:animEffect>
                                  </p:childTnLst>
                                </p:cTn>
                              </p:par>
                              <p:par>
                                <p:cTn id="130" presetID="10" presetClass="entr" presetSubtype="0" fill="hold" grpId="0" nodeType="withEffect">
                                  <p:stCondLst>
                                    <p:cond delay="0"/>
                                  </p:stCondLst>
                                  <p:childTnLst>
                                    <p:set>
                                      <p:cBhvr>
                                        <p:cTn id="131" dur="1" fill="hold">
                                          <p:stCondLst>
                                            <p:cond delay="0"/>
                                          </p:stCondLst>
                                        </p:cTn>
                                        <p:tgtEl>
                                          <p:spTgt spid="12"/>
                                        </p:tgtEl>
                                        <p:attrNameLst>
                                          <p:attrName>style.visibility</p:attrName>
                                        </p:attrNameLst>
                                      </p:cBhvr>
                                      <p:to>
                                        <p:strVal val="visible"/>
                                      </p:to>
                                    </p:set>
                                    <p:animEffect transition="in" filter="fade">
                                      <p:cBhvr>
                                        <p:cTn id="132" dur="500"/>
                                        <p:tgtEl>
                                          <p:spTgt spid="12"/>
                                        </p:tgtEl>
                                      </p:cBhvr>
                                    </p:animEffect>
                                  </p:childTnLst>
                                </p:cTn>
                              </p:par>
                              <p:par>
                                <p:cTn id="133" presetID="10" presetClass="entr" presetSubtype="0" fill="hold" grpId="0" nodeType="withEffect">
                                  <p:stCondLst>
                                    <p:cond delay="0"/>
                                  </p:stCondLst>
                                  <p:childTnLst>
                                    <p:set>
                                      <p:cBhvr>
                                        <p:cTn id="134" dur="1" fill="hold">
                                          <p:stCondLst>
                                            <p:cond delay="0"/>
                                          </p:stCondLst>
                                        </p:cTn>
                                        <p:tgtEl>
                                          <p:spTgt spid="24"/>
                                        </p:tgtEl>
                                        <p:attrNameLst>
                                          <p:attrName>style.visibility</p:attrName>
                                        </p:attrNameLst>
                                      </p:cBhvr>
                                      <p:to>
                                        <p:strVal val="visible"/>
                                      </p:to>
                                    </p:set>
                                    <p:animEffect transition="in" filter="fade">
                                      <p:cBhvr>
                                        <p:cTn id="135" dur="500"/>
                                        <p:tgtEl>
                                          <p:spTgt spid="24"/>
                                        </p:tgtEl>
                                      </p:cBhvr>
                                    </p:animEffect>
                                  </p:childTnLst>
                                </p:cTn>
                              </p:par>
                              <p:par>
                                <p:cTn id="136" presetID="10" presetClass="entr" presetSubtype="0" fill="hold" grpId="0" nodeType="withEffect">
                                  <p:stCondLst>
                                    <p:cond delay="0"/>
                                  </p:stCondLst>
                                  <p:childTnLst>
                                    <p:set>
                                      <p:cBhvr>
                                        <p:cTn id="137" dur="1" fill="hold">
                                          <p:stCondLst>
                                            <p:cond delay="0"/>
                                          </p:stCondLst>
                                        </p:cTn>
                                        <p:tgtEl>
                                          <p:spTgt spid="25"/>
                                        </p:tgtEl>
                                        <p:attrNameLst>
                                          <p:attrName>style.visibility</p:attrName>
                                        </p:attrNameLst>
                                      </p:cBhvr>
                                      <p:to>
                                        <p:strVal val="visible"/>
                                      </p:to>
                                    </p:set>
                                    <p:animEffect transition="in" filter="fade">
                                      <p:cBhvr>
                                        <p:cTn id="138" dur="500"/>
                                        <p:tgtEl>
                                          <p:spTgt spid="25"/>
                                        </p:tgtEl>
                                      </p:cBhvr>
                                    </p:animEffect>
                                  </p:childTnLst>
                                </p:cTn>
                              </p:par>
                              <p:par>
                                <p:cTn id="139" presetID="10" presetClass="entr" presetSubtype="0" fill="hold" grpId="0" nodeType="withEffect">
                                  <p:stCondLst>
                                    <p:cond delay="0"/>
                                  </p:stCondLst>
                                  <p:childTnLst>
                                    <p:set>
                                      <p:cBhvr>
                                        <p:cTn id="140" dur="1" fill="hold">
                                          <p:stCondLst>
                                            <p:cond delay="0"/>
                                          </p:stCondLst>
                                        </p:cTn>
                                        <p:tgtEl>
                                          <p:spTgt spid="61"/>
                                        </p:tgtEl>
                                        <p:attrNameLst>
                                          <p:attrName>style.visibility</p:attrName>
                                        </p:attrNameLst>
                                      </p:cBhvr>
                                      <p:to>
                                        <p:strVal val="visible"/>
                                      </p:to>
                                    </p:set>
                                    <p:animEffect transition="in" filter="fade">
                                      <p:cBhvr>
                                        <p:cTn id="141"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12" grpId="0"/>
      <p:bldP spid="13" grpId="0"/>
      <p:bldP spid="14" grpId="0"/>
      <p:bldP spid="15" grpId="0"/>
      <p:bldP spid="16" grpId="0"/>
      <p:bldP spid="17" grpId="0"/>
      <p:bldP spid="18" grpId="0"/>
      <p:bldP spid="19" grpId="0"/>
      <p:bldP spid="20" grpId="0"/>
      <p:bldP spid="21" grpId="0"/>
      <p:bldP spid="22" grpId="0"/>
      <p:bldP spid="23" grpId="0"/>
      <p:bldP spid="24" grpId="0"/>
      <p:bldP spid="25" grpId="0"/>
      <p:bldP spid="26" grpId="0"/>
      <p:bldP spid="27" grpId="0" animBg="1"/>
      <p:bldP spid="28" grpId="0" animBg="1"/>
      <p:bldP spid="29" grpId="0" animBg="1"/>
      <p:bldP spid="30" grpId="0" animBg="1"/>
      <p:bldP spid="31" grpId="0" animBg="1"/>
      <p:bldP spid="61"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Things To Think About</a:t>
            </a:r>
            <a:endParaRPr lang="en-US" dirty="0"/>
          </a:p>
        </p:txBody>
      </p:sp>
      <p:sp>
        <p:nvSpPr>
          <p:cNvPr id="9" name="Cloud Callout 8"/>
          <p:cNvSpPr/>
          <p:nvPr/>
        </p:nvSpPr>
        <p:spPr bwMode="auto">
          <a:xfrm>
            <a:off x="4886938" y="874482"/>
            <a:ext cx="3005771" cy="1512917"/>
          </a:xfrm>
          <a:prstGeom prst="cloudCallout">
            <a:avLst>
              <a:gd name="adj1" fmla="val -66639"/>
              <a:gd name="adj2" fmla="val 117063"/>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8565" rIns="28565" bIns="57125" numCol="1" spcCol="0" rtlCol="0" fromWordArt="0" anchor="b" anchorCtr="0" forceAA="0" compatLnSpc="1">
            <a:prstTxWarp prst="textNoShape">
              <a:avLst/>
            </a:prstTxWarp>
            <a:noAutofit/>
          </a:bodyPr>
          <a:lstStyle/>
          <a:p>
            <a:r>
              <a:rPr lang="en-US" sz="1700" dirty="0">
                <a:gradFill>
                  <a:gsLst>
                    <a:gs pos="0">
                      <a:srgbClr val="FFFFFF"/>
                    </a:gs>
                    <a:gs pos="100000">
                      <a:srgbClr val="FFFFFF"/>
                    </a:gs>
                  </a:gsLst>
                  <a:lin ang="5400000" scaled="0"/>
                </a:gradFill>
              </a:rPr>
              <a:t>Logic that </a:t>
            </a:r>
            <a:br>
              <a:rPr lang="en-US" sz="1700" dirty="0">
                <a:gradFill>
                  <a:gsLst>
                    <a:gs pos="0">
                      <a:srgbClr val="FFFFFF"/>
                    </a:gs>
                    <a:gs pos="100000">
                      <a:srgbClr val="FFFFFF"/>
                    </a:gs>
                  </a:gsLst>
                  <a:lin ang="5400000" scaled="0"/>
                </a:gradFill>
              </a:rPr>
            </a:br>
            <a:r>
              <a:rPr lang="en-US" sz="1700" dirty="0">
                <a:gradFill>
                  <a:gsLst>
                    <a:gs pos="0">
                      <a:srgbClr val="FFFFFF"/>
                    </a:gs>
                    <a:gs pos="100000">
                      <a:srgbClr val="FFFFFF"/>
                    </a:gs>
                  </a:gsLst>
                  <a:lin ang="5400000" scaled="0"/>
                </a:gradFill>
              </a:rPr>
              <a:t>needs to be </a:t>
            </a:r>
            <a:br>
              <a:rPr lang="en-US" sz="1700" dirty="0">
                <a:gradFill>
                  <a:gsLst>
                    <a:gs pos="0">
                      <a:srgbClr val="FFFFFF"/>
                    </a:gs>
                    <a:gs pos="100000">
                      <a:srgbClr val="FFFFFF"/>
                    </a:gs>
                  </a:gsLst>
                  <a:lin ang="5400000" scaled="0"/>
                </a:gradFill>
              </a:rPr>
            </a:br>
            <a:r>
              <a:rPr lang="en-US" sz="1700" dirty="0">
                <a:gradFill>
                  <a:gsLst>
                    <a:gs pos="0">
                      <a:srgbClr val="FFFFFF"/>
                    </a:gs>
                    <a:gs pos="100000">
                      <a:srgbClr val="FFFFFF"/>
                    </a:gs>
                  </a:gsLst>
                  <a:lin ang="5400000" scaled="0"/>
                </a:gradFill>
              </a:rPr>
              <a:t>site/instance-aware</a:t>
            </a:r>
          </a:p>
        </p:txBody>
      </p:sp>
      <p:sp>
        <p:nvSpPr>
          <p:cNvPr id="10" name="Cloud Callout 9"/>
          <p:cNvSpPr/>
          <p:nvPr/>
        </p:nvSpPr>
        <p:spPr bwMode="auto">
          <a:xfrm>
            <a:off x="391921" y="2571757"/>
            <a:ext cx="3005771" cy="1512917"/>
          </a:xfrm>
          <a:prstGeom prst="cloudCallout">
            <a:avLst>
              <a:gd name="adj1" fmla="val 68799"/>
              <a:gd name="adj2" fmla="val 1719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8565" rIns="28565" bIns="57125" numCol="1" spcCol="0" rtlCol="0" fromWordArt="0" anchor="b" anchorCtr="0" forceAA="0" compatLnSpc="1">
            <a:prstTxWarp prst="textNoShape">
              <a:avLst/>
            </a:prstTxWarp>
            <a:noAutofit/>
          </a:bodyPr>
          <a:lstStyle/>
          <a:p>
            <a:r>
              <a:rPr lang="en-US" sz="1700" dirty="0">
                <a:gradFill>
                  <a:gsLst>
                    <a:gs pos="0">
                      <a:srgbClr val="FFFFFF"/>
                    </a:gs>
                    <a:gs pos="100000">
                      <a:srgbClr val="FFFFFF"/>
                    </a:gs>
                  </a:gsLst>
                  <a:lin ang="5400000" scaled="0"/>
                </a:gradFill>
              </a:rPr>
              <a:t>Availability objectives </a:t>
            </a:r>
            <a:br>
              <a:rPr lang="en-US" sz="1700" dirty="0">
                <a:gradFill>
                  <a:gsLst>
                    <a:gs pos="0">
                      <a:srgbClr val="FFFFFF"/>
                    </a:gs>
                    <a:gs pos="100000">
                      <a:srgbClr val="FFFFFF"/>
                    </a:gs>
                  </a:gsLst>
                  <a:lin ang="5400000" scaled="0"/>
                </a:gradFill>
              </a:rPr>
            </a:br>
            <a:r>
              <a:rPr lang="en-US" sz="1700" dirty="0">
                <a:gradFill>
                  <a:gsLst>
                    <a:gs pos="0">
                      <a:srgbClr val="FFFFFF"/>
                    </a:gs>
                    <a:gs pos="100000">
                      <a:srgbClr val="FFFFFF"/>
                    </a:gs>
                  </a:gsLst>
                  <a:lin ang="5400000" scaled="0"/>
                </a:gradFill>
              </a:rPr>
              <a:t>versus cost</a:t>
            </a:r>
          </a:p>
          <a:p>
            <a:pPr indent="-197352"/>
            <a:r>
              <a:rPr lang="en-US" sz="1300" dirty="0">
                <a:gradFill>
                  <a:gsLst>
                    <a:gs pos="0">
                      <a:srgbClr val="FFFFFF"/>
                    </a:gs>
                    <a:gs pos="100000">
                      <a:srgbClr val="FFFFFF"/>
                    </a:gs>
                  </a:gsLst>
                  <a:lin ang="5400000" scaled="0"/>
                </a:gradFill>
              </a:rPr>
              <a:t>Cold/warm/hot standby</a:t>
            </a:r>
          </a:p>
        </p:txBody>
      </p:sp>
      <p:sp>
        <p:nvSpPr>
          <p:cNvPr id="11" name="Freeform 53"/>
          <p:cNvSpPr>
            <a:spLocks noEditPoints="1"/>
          </p:cNvSpPr>
          <p:nvPr/>
        </p:nvSpPr>
        <p:spPr bwMode="black">
          <a:xfrm>
            <a:off x="3661017" y="3472165"/>
            <a:ext cx="1820902" cy="2054951"/>
          </a:xfrm>
          <a:custGeom>
            <a:avLst/>
            <a:gdLst>
              <a:gd name="T0" fmla="*/ 466 w 1443"/>
              <a:gd name="T1" fmla="*/ 0 h 1627"/>
              <a:gd name="T2" fmla="*/ 466 w 1443"/>
              <a:gd name="T3" fmla="*/ 294 h 1627"/>
              <a:gd name="T4" fmla="*/ 0 w 1443"/>
              <a:gd name="T5" fmla="*/ 1173 h 1627"/>
              <a:gd name="T6" fmla="*/ 48 w 1443"/>
              <a:gd name="T7" fmla="*/ 1230 h 1627"/>
              <a:gd name="T8" fmla="*/ 186 w 1443"/>
              <a:gd name="T9" fmla="*/ 1363 h 1627"/>
              <a:gd name="T10" fmla="*/ 210 w 1443"/>
              <a:gd name="T11" fmla="*/ 1455 h 1627"/>
              <a:gd name="T12" fmla="*/ 31 w 1443"/>
              <a:gd name="T13" fmla="*/ 1545 h 1627"/>
              <a:gd name="T14" fmla="*/ 49 w 1443"/>
              <a:gd name="T15" fmla="*/ 1554 h 1627"/>
              <a:gd name="T16" fmla="*/ 61 w 1443"/>
              <a:gd name="T17" fmla="*/ 1620 h 1627"/>
              <a:gd name="T18" fmla="*/ 73 w 1443"/>
              <a:gd name="T19" fmla="*/ 1553 h 1627"/>
              <a:gd name="T20" fmla="*/ 210 w 1443"/>
              <a:gd name="T21" fmla="*/ 1525 h 1627"/>
              <a:gd name="T22" fmla="*/ 215 w 1443"/>
              <a:gd name="T23" fmla="*/ 1537 h 1627"/>
              <a:gd name="T24" fmla="*/ 228 w 1443"/>
              <a:gd name="T25" fmla="*/ 1594 h 1627"/>
              <a:gd name="T26" fmla="*/ 258 w 1443"/>
              <a:gd name="T27" fmla="*/ 1627 h 1627"/>
              <a:gd name="T28" fmla="*/ 271 w 1443"/>
              <a:gd name="T29" fmla="*/ 1594 h 1627"/>
              <a:gd name="T30" fmla="*/ 276 w 1443"/>
              <a:gd name="T31" fmla="*/ 1537 h 1627"/>
              <a:gd name="T32" fmla="*/ 411 w 1443"/>
              <a:gd name="T33" fmla="*/ 1541 h 1627"/>
              <a:gd name="T34" fmla="*/ 388 w 1443"/>
              <a:gd name="T35" fmla="*/ 1586 h 1627"/>
              <a:gd name="T36" fmla="*/ 457 w 1443"/>
              <a:gd name="T37" fmla="*/ 1586 h 1627"/>
              <a:gd name="T38" fmla="*/ 435 w 1443"/>
              <a:gd name="T39" fmla="*/ 1543 h 1627"/>
              <a:gd name="T40" fmla="*/ 452 w 1443"/>
              <a:gd name="T41" fmla="*/ 1504 h 1627"/>
              <a:gd name="T42" fmla="*/ 276 w 1443"/>
              <a:gd name="T43" fmla="*/ 1363 h 1627"/>
              <a:gd name="T44" fmla="*/ 299 w 1443"/>
              <a:gd name="T45" fmla="*/ 1230 h 1627"/>
              <a:gd name="T46" fmla="*/ 514 w 1443"/>
              <a:gd name="T47" fmla="*/ 1182 h 1627"/>
              <a:gd name="T48" fmla="*/ 494 w 1443"/>
              <a:gd name="T49" fmla="*/ 1134 h 1627"/>
              <a:gd name="T50" fmla="*/ 538 w 1443"/>
              <a:gd name="T51" fmla="*/ 1491 h 1627"/>
              <a:gd name="T52" fmla="*/ 722 w 1443"/>
              <a:gd name="T53" fmla="*/ 1528 h 1627"/>
              <a:gd name="T54" fmla="*/ 816 w 1443"/>
              <a:gd name="T55" fmla="*/ 1053 h 1627"/>
              <a:gd name="T56" fmla="*/ 817 w 1443"/>
              <a:gd name="T57" fmla="*/ 1052 h 1627"/>
              <a:gd name="T58" fmla="*/ 818 w 1443"/>
              <a:gd name="T59" fmla="*/ 1027 h 1627"/>
              <a:gd name="T60" fmla="*/ 439 w 1443"/>
              <a:gd name="T61" fmla="*/ 938 h 1627"/>
              <a:gd name="T62" fmla="*/ 820 w 1443"/>
              <a:gd name="T63" fmla="*/ 772 h 1627"/>
              <a:gd name="T64" fmla="*/ 1231 w 1443"/>
              <a:gd name="T65" fmla="*/ 760 h 1627"/>
              <a:gd name="T66" fmla="*/ 1245 w 1443"/>
              <a:gd name="T67" fmla="*/ 707 h 1627"/>
              <a:gd name="T68" fmla="*/ 1428 w 1443"/>
              <a:gd name="T69" fmla="*/ 267 h 1627"/>
              <a:gd name="T70" fmla="*/ 1235 w 1443"/>
              <a:gd name="T71" fmla="*/ 687 h 1627"/>
              <a:gd name="T72" fmla="*/ 1215 w 1443"/>
              <a:gd name="T73" fmla="*/ 700 h 1627"/>
              <a:gd name="T74" fmla="*/ 898 w 1443"/>
              <a:gd name="T75" fmla="*/ 693 h 1627"/>
              <a:gd name="T76" fmla="*/ 507 w 1443"/>
              <a:gd name="T77" fmla="*/ 615 h 1627"/>
              <a:gd name="T78" fmla="*/ 415 w 1443"/>
              <a:gd name="T79" fmla="*/ 354 h 1627"/>
              <a:gd name="T80" fmla="*/ 196 w 1443"/>
              <a:gd name="T81" fmla="*/ 456 h 1627"/>
              <a:gd name="T82" fmla="*/ 138 w 1443"/>
              <a:gd name="T83" fmla="*/ 730 h 1627"/>
              <a:gd name="T84" fmla="*/ 90 w 1443"/>
              <a:gd name="T85" fmla="*/ 530 h 1627"/>
              <a:gd name="T86" fmla="*/ 6 w 1443"/>
              <a:gd name="T87" fmla="*/ 578 h 1627"/>
              <a:gd name="T88" fmla="*/ 49 w 1443"/>
              <a:gd name="T89" fmla="*/ 966 h 1627"/>
              <a:gd name="T90" fmla="*/ 48 w 1443"/>
              <a:gd name="T91" fmla="*/ 1125 h 1627"/>
              <a:gd name="T92" fmla="*/ 96 w 1443"/>
              <a:gd name="T93" fmla="*/ 1084 h 1627"/>
              <a:gd name="T94" fmla="*/ 96 w 1443"/>
              <a:gd name="T95" fmla="*/ 1125 h 1627"/>
              <a:gd name="T96" fmla="*/ 1084 w 1443"/>
              <a:gd name="T97" fmla="*/ 1519 h 1627"/>
              <a:gd name="T98" fmla="*/ 824 w 1443"/>
              <a:gd name="T99" fmla="*/ 1618 h 1627"/>
              <a:gd name="T100" fmla="*/ 1443 w 1443"/>
              <a:gd name="T101" fmla="*/ 1519 h 1627"/>
              <a:gd name="T102" fmla="*/ 1293 w 1443"/>
              <a:gd name="T103" fmla="*/ 870 h 1627"/>
              <a:gd name="T104" fmla="*/ 1443 w 1443"/>
              <a:gd name="T105" fmla="*/ 772 h 1627"/>
              <a:gd name="T106" fmla="*/ 586 w 1443"/>
              <a:gd name="T107" fmla="*/ 870 h 1627"/>
              <a:gd name="T108" fmla="*/ 1084 w 1443"/>
              <a:gd name="T109" fmla="*/ 1519 h 1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3" h="1627">
                <a:moveTo>
                  <a:pt x="613" y="147"/>
                </a:moveTo>
                <a:cubicBezTo>
                  <a:pt x="613" y="65"/>
                  <a:pt x="547" y="0"/>
                  <a:pt x="466" y="0"/>
                </a:cubicBezTo>
                <a:cubicBezTo>
                  <a:pt x="385" y="0"/>
                  <a:pt x="319" y="65"/>
                  <a:pt x="319" y="147"/>
                </a:cubicBezTo>
                <a:cubicBezTo>
                  <a:pt x="319" y="228"/>
                  <a:pt x="385" y="294"/>
                  <a:pt x="466" y="294"/>
                </a:cubicBezTo>
                <a:cubicBezTo>
                  <a:pt x="547" y="294"/>
                  <a:pt x="613" y="228"/>
                  <a:pt x="613" y="147"/>
                </a:cubicBezTo>
                <a:close/>
                <a:moveTo>
                  <a:pt x="0" y="1173"/>
                </a:moveTo>
                <a:cubicBezTo>
                  <a:pt x="0" y="1182"/>
                  <a:pt x="0" y="1182"/>
                  <a:pt x="0" y="1182"/>
                </a:cubicBezTo>
                <a:cubicBezTo>
                  <a:pt x="0" y="1208"/>
                  <a:pt x="22" y="1230"/>
                  <a:pt x="48" y="1230"/>
                </a:cubicBezTo>
                <a:cubicBezTo>
                  <a:pt x="186" y="1230"/>
                  <a:pt x="186" y="1230"/>
                  <a:pt x="186" y="1230"/>
                </a:cubicBezTo>
                <a:cubicBezTo>
                  <a:pt x="186" y="1363"/>
                  <a:pt x="186" y="1363"/>
                  <a:pt x="186" y="1363"/>
                </a:cubicBezTo>
                <a:cubicBezTo>
                  <a:pt x="210" y="1363"/>
                  <a:pt x="210" y="1363"/>
                  <a:pt x="210" y="1363"/>
                </a:cubicBezTo>
                <a:cubicBezTo>
                  <a:pt x="210" y="1455"/>
                  <a:pt x="210" y="1455"/>
                  <a:pt x="210" y="1455"/>
                </a:cubicBezTo>
                <a:cubicBezTo>
                  <a:pt x="31" y="1504"/>
                  <a:pt x="31" y="1504"/>
                  <a:pt x="31" y="1504"/>
                </a:cubicBezTo>
                <a:cubicBezTo>
                  <a:pt x="31" y="1545"/>
                  <a:pt x="31" y="1545"/>
                  <a:pt x="31" y="1545"/>
                </a:cubicBezTo>
                <a:cubicBezTo>
                  <a:pt x="49" y="1543"/>
                  <a:pt x="49" y="1543"/>
                  <a:pt x="49" y="1543"/>
                </a:cubicBezTo>
                <a:cubicBezTo>
                  <a:pt x="49" y="1554"/>
                  <a:pt x="49" y="1554"/>
                  <a:pt x="49" y="1554"/>
                </a:cubicBezTo>
                <a:cubicBezTo>
                  <a:pt x="36" y="1558"/>
                  <a:pt x="26" y="1571"/>
                  <a:pt x="26" y="1586"/>
                </a:cubicBezTo>
                <a:cubicBezTo>
                  <a:pt x="26" y="1605"/>
                  <a:pt x="42" y="1620"/>
                  <a:pt x="61" y="1620"/>
                </a:cubicBezTo>
                <a:cubicBezTo>
                  <a:pt x="80" y="1620"/>
                  <a:pt x="95" y="1605"/>
                  <a:pt x="95" y="1586"/>
                </a:cubicBezTo>
                <a:cubicBezTo>
                  <a:pt x="95" y="1571"/>
                  <a:pt x="86" y="1558"/>
                  <a:pt x="73" y="1553"/>
                </a:cubicBezTo>
                <a:cubicBezTo>
                  <a:pt x="73" y="1541"/>
                  <a:pt x="73" y="1541"/>
                  <a:pt x="73" y="1541"/>
                </a:cubicBezTo>
                <a:cubicBezTo>
                  <a:pt x="210" y="1525"/>
                  <a:pt x="210" y="1525"/>
                  <a:pt x="210" y="1525"/>
                </a:cubicBezTo>
                <a:cubicBezTo>
                  <a:pt x="210" y="1537"/>
                  <a:pt x="210" y="1537"/>
                  <a:pt x="210" y="1537"/>
                </a:cubicBezTo>
                <a:cubicBezTo>
                  <a:pt x="215" y="1537"/>
                  <a:pt x="215" y="1537"/>
                  <a:pt x="215" y="1537"/>
                </a:cubicBezTo>
                <a:cubicBezTo>
                  <a:pt x="215" y="1594"/>
                  <a:pt x="215" y="1594"/>
                  <a:pt x="215" y="1594"/>
                </a:cubicBezTo>
                <a:cubicBezTo>
                  <a:pt x="228" y="1594"/>
                  <a:pt x="228" y="1594"/>
                  <a:pt x="228" y="1594"/>
                </a:cubicBezTo>
                <a:cubicBezTo>
                  <a:pt x="228" y="1627"/>
                  <a:pt x="228" y="1627"/>
                  <a:pt x="228" y="1627"/>
                </a:cubicBezTo>
                <a:cubicBezTo>
                  <a:pt x="258" y="1627"/>
                  <a:pt x="258" y="1627"/>
                  <a:pt x="258" y="1627"/>
                </a:cubicBezTo>
                <a:cubicBezTo>
                  <a:pt x="258" y="1594"/>
                  <a:pt x="258" y="1594"/>
                  <a:pt x="258" y="1594"/>
                </a:cubicBezTo>
                <a:cubicBezTo>
                  <a:pt x="271" y="1594"/>
                  <a:pt x="271" y="1594"/>
                  <a:pt x="271" y="1594"/>
                </a:cubicBezTo>
                <a:cubicBezTo>
                  <a:pt x="271" y="1537"/>
                  <a:pt x="271" y="1537"/>
                  <a:pt x="271" y="1537"/>
                </a:cubicBezTo>
                <a:cubicBezTo>
                  <a:pt x="276" y="1537"/>
                  <a:pt x="276" y="1537"/>
                  <a:pt x="276" y="1537"/>
                </a:cubicBezTo>
                <a:cubicBezTo>
                  <a:pt x="276" y="1525"/>
                  <a:pt x="276" y="1525"/>
                  <a:pt x="276" y="1525"/>
                </a:cubicBezTo>
                <a:cubicBezTo>
                  <a:pt x="411" y="1541"/>
                  <a:pt x="411" y="1541"/>
                  <a:pt x="411" y="1541"/>
                </a:cubicBezTo>
                <a:cubicBezTo>
                  <a:pt x="411" y="1553"/>
                  <a:pt x="411" y="1553"/>
                  <a:pt x="411" y="1553"/>
                </a:cubicBezTo>
                <a:cubicBezTo>
                  <a:pt x="398" y="1558"/>
                  <a:pt x="388" y="1571"/>
                  <a:pt x="388" y="1586"/>
                </a:cubicBezTo>
                <a:cubicBezTo>
                  <a:pt x="388" y="1605"/>
                  <a:pt x="404" y="1620"/>
                  <a:pt x="423" y="1620"/>
                </a:cubicBezTo>
                <a:cubicBezTo>
                  <a:pt x="442" y="1620"/>
                  <a:pt x="457" y="1605"/>
                  <a:pt x="457" y="1586"/>
                </a:cubicBezTo>
                <a:cubicBezTo>
                  <a:pt x="457" y="1571"/>
                  <a:pt x="448" y="1558"/>
                  <a:pt x="435" y="1554"/>
                </a:cubicBezTo>
                <a:cubicBezTo>
                  <a:pt x="435" y="1543"/>
                  <a:pt x="435" y="1543"/>
                  <a:pt x="435" y="1543"/>
                </a:cubicBezTo>
                <a:cubicBezTo>
                  <a:pt x="452" y="1545"/>
                  <a:pt x="452" y="1545"/>
                  <a:pt x="452" y="1545"/>
                </a:cubicBezTo>
                <a:cubicBezTo>
                  <a:pt x="452" y="1504"/>
                  <a:pt x="452" y="1504"/>
                  <a:pt x="452" y="1504"/>
                </a:cubicBezTo>
                <a:cubicBezTo>
                  <a:pt x="276" y="1456"/>
                  <a:pt x="276" y="1456"/>
                  <a:pt x="276" y="1456"/>
                </a:cubicBezTo>
                <a:cubicBezTo>
                  <a:pt x="276" y="1363"/>
                  <a:pt x="276" y="1363"/>
                  <a:pt x="276" y="1363"/>
                </a:cubicBezTo>
                <a:cubicBezTo>
                  <a:pt x="299" y="1363"/>
                  <a:pt x="299" y="1363"/>
                  <a:pt x="299" y="1363"/>
                </a:cubicBezTo>
                <a:cubicBezTo>
                  <a:pt x="299" y="1230"/>
                  <a:pt x="299" y="1230"/>
                  <a:pt x="299" y="1230"/>
                </a:cubicBezTo>
                <a:cubicBezTo>
                  <a:pt x="466" y="1230"/>
                  <a:pt x="466" y="1230"/>
                  <a:pt x="466" y="1230"/>
                </a:cubicBezTo>
                <a:cubicBezTo>
                  <a:pt x="493" y="1230"/>
                  <a:pt x="514" y="1208"/>
                  <a:pt x="514" y="1182"/>
                </a:cubicBezTo>
                <a:cubicBezTo>
                  <a:pt x="514" y="1173"/>
                  <a:pt x="514" y="1173"/>
                  <a:pt x="514" y="1173"/>
                </a:cubicBezTo>
                <a:cubicBezTo>
                  <a:pt x="514" y="1157"/>
                  <a:pt x="506" y="1143"/>
                  <a:pt x="494" y="1134"/>
                </a:cubicBezTo>
                <a:cubicBezTo>
                  <a:pt x="609" y="1134"/>
                  <a:pt x="609" y="1134"/>
                  <a:pt x="609" y="1134"/>
                </a:cubicBezTo>
                <a:cubicBezTo>
                  <a:pt x="538" y="1491"/>
                  <a:pt x="538" y="1491"/>
                  <a:pt x="538" y="1491"/>
                </a:cubicBezTo>
                <a:cubicBezTo>
                  <a:pt x="528" y="1539"/>
                  <a:pt x="562" y="1586"/>
                  <a:pt x="613" y="1596"/>
                </a:cubicBezTo>
                <a:cubicBezTo>
                  <a:pt x="664" y="1606"/>
                  <a:pt x="713" y="1576"/>
                  <a:pt x="722" y="1528"/>
                </a:cubicBezTo>
                <a:cubicBezTo>
                  <a:pt x="816" y="1057"/>
                  <a:pt x="816" y="1057"/>
                  <a:pt x="816" y="1057"/>
                </a:cubicBezTo>
                <a:cubicBezTo>
                  <a:pt x="816" y="1056"/>
                  <a:pt x="816" y="1054"/>
                  <a:pt x="816" y="1053"/>
                </a:cubicBezTo>
                <a:cubicBezTo>
                  <a:pt x="816" y="1053"/>
                  <a:pt x="816" y="1053"/>
                  <a:pt x="816" y="1053"/>
                </a:cubicBezTo>
                <a:cubicBezTo>
                  <a:pt x="817" y="1053"/>
                  <a:pt x="817" y="1052"/>
                  <a:pt x="817" y="1052"/>
                </a:cubicBezTo>
                <a:cubicBezTo>
                  <a:pt x="817" y="1051"/>
                  <a:pt x="817" y="1051"/>
                  <a:pt x="817" y="1051"/>
                </a:cubicBezTo>
                <a:cubicBezTo>
                  <a:pt x="818" y="1043"/>
                  <a:pt x="818" y="1035"/>
                  <a:pt x="818" y="1027"/>
                </a:cubicBezTo>
                <a:cubicBezTo>
                  <a:pt x="813" y="977"/>
                  <a:pt x="771" y="938"/>
                  <a:pt x="720" y="938"/>
                </a:cubicBezTo>
                <a:cubicBezTo>
                  <a:pt x="439" y="938"/>
                  <a:pt x="439" y="938"/>
                  <a:pt x="439" y="938"/>
                </a:cubicBezTo>
                <a:cubicBezTo>
                  <a:pt x="474" y="772"/>
                  <a:pt x="474" y="772"/>
                  <a:pt x="474" y="772"/>
                </a:cubicBezTo>
                <a:cubicBezTo>
                  <a:pt x="820" y="772"/>
                  <a:pt x="820" y="772"/>
                  <a:pt x="820" y="772"/>
                </a:cubicBezTo>
                <a:cubicBezTo>
                  <a:pt x="835" y="772"/>
                  <a:pt x="849" y="767"/>
                  <a:pt x="861" y="760"/>
                </a:cubicBezTo>
                <a:cubicBezTo>
                  <a:pt x="1231" y="760"/>
                  <a:pt x="1231" y="760"/>
                  <a:pt x="1231" y="760"/>
                </a:cubicBezTo>
                <a:cubicBezTo>
                  <a:pt x="1231" y="717"/>
                  <a:pt x="1231" y="717"/>
                  <a:pt x="1231" y="717"/>
                </a:cubicBezTo>
                <a:cubicBezTo>
                  <a:pt x="1238" y="717"/>
                  <a:pt x="1251" y="709"/>
                  <a:pt x="1245" y="707"/>
                </a:cubicBezTo>
                <a:cubicBezTo>
                  <a:pt x="1258" y="712"/>
                  <a:pt x="1258" y="712"/>
                  <a:pt x="1258" y="712"/>
                </a:cubicBezTo>
                <a:cubicBezTo>
                  <a:pt x="1427" y="272"/>
                  <a:pt x="1255" y="721"/>
                  <a:pt x="1428" y="267"/>
                </a:cubicBezTo>
                <a:cubicBezTo>
                  <a:pt x="1372" y="246"/>
                  <a:pt x="1400" y="256"/>
                  <a:pt x="1400" y="256"/>
                </a:cubicBezTo>
                <a:cubicBezTo>
                  <a:pt x="1235" y="687"/>
                  <a:pt x="1235" y="687"/>
                  <a:pt x="1235" y="687"/>
                </a:cubicBezTo>
                <a:cubicBezTo>
                  <a:pt x="1234" y="686"/>
                  <a:pt x="1232" y="686"/>
                  <a:pt x="1231" y="686"/>
                </a:cubicBezTo>
                <a:cubicBezTo>
                  <a:pt x="1223" y="686"/>
                  <a:pt x="1216" y="692"/>
                  <a:pt x="1215" y="700"/>
                </a:cubicBezTo>
                <a:cubicBezTo>
                  <a:pt x="898" y="700"/>
                  <a:pt x="898" y="700"/>
                  <a:pt x="898" y="700"/>
                </a:cubicBezTo>
                <a:cubicBezTo>
                  <a:pt x="898" y="698"/>
                  <a:pt x="898" y="695"/>
                  <a:pt x="898" y="693"/>
                </a:cubicBezTo>
                <a:cubicBezTo>
                  <a:pt x="898" y="650"/>
                  <a:pt x="863" y="615"/>
                  <a:pt x="820" y="615"/>
                </a:cubicBezTo>
                <a:cubicBezTo>
                  <a:pt x="507" y="615"/>
                  <a:pt x="507" y="615"/>
                  <a:pt x="507" y="615"/>
                </a:cubicBezTo>
                <a:cubicBezTo>
                  <a:pt x="526" y="525"/>
                  <a:pt x="526" y="525"/>
                  <a:pt x="526" y="525"/>
                </a:cubicBezTo>
                <a:cubicBezTo>
                  <a:pt x="542" y="447"/>
                  <a:pt x="492" y="371"/>
                  <a:pt x="415" y="354"/>
                </a:cubicBezTo>
                <a:cubicBezTo>
                  <a:pt x="367" y="344"/>
                  <a:pt x="367" y="344"/>
                  <a:pt x="367" y="344"/>
                </a:cubicBezTo>
                <a:cubicBezTo>
                  <a:pt x="289" y="328"/>
                  <a:pt x="213" y="378"/>
                  <a:pt x="196" y="456"/>
                </a:cubicBezTo>
                <a:cubicBezTo>
                  <a:pt x="151" y="670"/>
                  <a:pt x="151" y="670"/>
                  <a:pt x="151" y="670"/>
                </a:cubicBezTo>
                <a:cubicBezTo>
                  <a:pt x="138" y="730"/>
                  <a:pt x="138" y="730"/>
                  <a:pt x="138" y="730"/>
                </a:cubicBezTo>
                <a:cubicBezTo>
                  <a:pt x="138" y="578"/>
                  <a:pt x="138" y="578"/>
                  <a:pt x="138" y="578"/>
                </a:cubicBezTo>
                <a:cubicBezTo>
                  <a:pt x="138" y="552"/>
                  <a:pt x="117" y="530"/>
                  <a:pt x="90" y="530"/>
                </a:cubicBezTo>
                <a:cubicBezTo>
                  <a:pt x="54" y="530"/>
                  <a:pt x="54" y="530"/>
                  <a:pt x="54" y="530"/>
                </a:cubicBezTo>
                <a:cubicBezTo>
                  <a:pt x="28" y="530"/>
                  <a:pt x="6" y="552"/>
                  <a:pt x="6" y="578"/>
                </a:cubicBezTo>
                <a:cubicBezTo>
                  <a:pt x="6" y="918"/>
                  <a:pt x="6" y="918"/>
                  <a:pt x="6" y="918"/>
                </a:cubicBezTo>
                <a:cubicBezTo>
                  <a:pt x="6" y="943"/>
                  <a:pt x="25" y="964"/>
                  <a:pt x="49" y="966"/>
                </a:cubicBezTo>
                <a:cubicBezTo>
                  <a:pt x="49" y="1125"/>
                  <a:pt x="49" y="1125"/>
                  <a:pt x="49" y="1125"/>
                </a:cubicBezTo>
                <a:cubicBezTo>
                  <a:pt x="48" y="1125"/>
                  <a:pt x="48" y="1125"/>
                  <a:pt x="48" y="1125"/>
                </a:cubicBezTo>
                <a:cubicBezTo>
                  <a:pt x="22" y="1125"/>
                  <a:pt x="0" y="1146"/>
                  <a:pt x="0" y="1173"/>
                </a:cubicBezTo>
                <a:close/>
                <a:moveTo>
                  <a:pt x="96" y="1084"/>
                </a:moveTo>
                <a:cubicBezTo>
                  <a:pt x="106" y="1101"/>
                  <a:pt x="121" y="1116"/>
                  <a:pt x="140" y="1125"/>
                </a:cubicBezTo>
                <a:cubicBezTo>
                  <a:pt x="96" y="1125"/>
                  <a:pt x="96" y="1125"/>
                  <a:pt x="96" y="1125"/>
                </a:cubicBezTo>
                <a:lnTo>
                  <a:pt x="96" y="1084"/>
                </a:lnTo>
                <a:close/>
                <a:moveTo>
                  <a:pt x="1084" y="1519"/>
                </a:moveTo>
                <a:cubicBezTo>
                  <a:pt x="824" y="1519"/>
                  <a:pt x="824" y="1519"/>
                  <a:pt x="824" y="1519"/>
                </a:cubicBezTo>
                <a:cubicBezTo>
                  <a:pt x="824" y="1618"/>
                  <a:pt x="824" y="1618"/>
                  <a:pt x="824" y="1618"/>
                </a:cubicBezTo>
                <a:cubicBezTo>
                  <a:pt x="1443" y="1618"/>
                  <a:pt x="1443" y="1618"/>
                  <a:pt x="1443" y="1618"/>
                </a:cubicBezTo>
                <a:cubicBezTo>
                  <a:pt x="1443" y="1519"/>
                  <a:pt x="1443" y="1519"/>
                  <a:pt x="1443" y="1519"/>
                </a:cubicBezTo>
                <a:cubicBezTo>
                  <a:pt x="1293" y="1519"/>
                  <a:pt x="1293" y="1519"/>
                  <a:pt x="1293" y="1519"/>
                </a:cubicBezTo>
                <a:cubicBezTo>
                  <a:pt x="1293" y="870"/>
                  <a:pt x="1293" y="870"/>
                  <a:pt x="1293" y="870"/>
                </a:cubicBezTo>
                <a:cubicBezTo>
                  <a:pt x="1443" y="870"/>
                  <a:pt x="1443" y="870"/>
                  <a:pt x="1443" y="870"/>
                </a:cubicBezTo>
                <a:cubicBezTo>
                  <a:pt x="1443" y="772"/>
                  <a:pt x="1443" y="772"/>
                  <a:pt x="1443" y="772"/>
                </a:cubicBezTo>
                <a:cubicBezTo>
                  <a:pt x="586" y="772"/>
                  <a:pt x="586" y="772"/>
                  <a:pt x="586" y="772"/>
                </a:cubicBezTo>
                <a:cubicBezTo>
                  <a:pt x="586" y="870"/>
                  <a:pt x="586" y="870"/>
                  <a:pt x="586" y="870"/>
                </a:cubicBezTo>
                <a:cubicBezTo>
                  <a:pt x="1084" y="870"/>
                  <a:pt x="1084" y="870"/>
                  <a:pt x="1084" y="870"/>
                </a:cubicBezTo>
                <a:lnTo>
                  <a:pt x="1084" y="1519"/>
                </a:lnTo>
                <a:close/>
              </a:path>
            </a:pathLst>
          </a:custGeom>
          <a:solidFill>
            <a:schemeClr val="tx1"/>
          </a:solidFill>
          <a:ln>
            <a:noFill/>
          </a:ln>
          <a:extLst/>
        </p:spPr>
        <p:txBody>
          <a:bodyPr vert="horz" wrap="square" lIns="57125" tIns="28565" rIns="57125" bIns="28565" numCol="1" anchor="t" anchorCtr="0" compatLnSpc="1">
            <a:prstTxWarp prst="textNoShape">
              <a:avLst/>
            </a:prstTxWarp>
          </a:bodyPr>
          <a:lstStyle/>
          <a:p>
            <a:endParaRPr lang="en-US" dirty="0"/>
          </a:p>
        </p:txBody>
      </p:sp>
      <p:sp>
        <p:nvSpPr>
          <p:cNvPr id="12" name="Cloud Callout 11"/>
          <p:cNvSpPr/>
          <p:nvPr/>
        </p:nvSpPr>
        <p:spPr bwMode="auto">
          <a:xfrm>
            <a:off x="5747612" y="2571757"/>
            <a:ext cx="3005771" cy="1512917"/>
          </a:xfrm>
          <a:prstGeom prst="cloudCallout">
            <a:avLst>
              <a:gd name="adj1" fmla="val -90339"/>
              <a:gd name="adj2" fmla="val 18228"/>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8565" rIns="28565" bIns="57125" numCol="1" spcCol="0" rtlCol="0" fromWordArt="0" anchor="b" anchorCtr="0" forceAA="0" compatLnSpc="1">
            <a:prstTxWarp prst="textNoShape">
              <a:avLst/>
            </a:prstTxWarp>
            <a:noAutofit/>
          </a:bodyPr>
          <a:lstStyle/>
          <a:p>
            <a:r>
              <a:rPr lang="en-US" sz="1700" dirty="0">
                <a:gradFill>
                  <a:gsLst>
                    <a:gs pos="0">
                      <a:srgbClr val="FFFFFF"/>
                    </a:gs>
                    <a:gs pos="100000">
                      <a:srgbClr val="FFFFFF"/>
                    </a:gs>
                  </a:gsLst>
                  <a:lin ang="5400000" scaled="0"/>
                </a:gradFill>
              </a:rPr>
              <a:t>Synchronous or </a:t>
            </a:r>
            <a:br>
              <a:rPr lang="en-US" sz="1700" dirty="0">
                <a:gradFill>
                  <a:gsLst>
                    <a:gs pos="0">
                      <a:srgbClr val="FFFFFF"/>
                    </a:gs>
                    <a:gs pos="100000">
                      <a:srgbClr val="FFFFFF"/>
                    </a:gs>
                  </a:gsLst>
                  <a:lin ang="5400000" scaled="0"/>
                </a:gradFill>
              </a:rPr>
            </a:br>
            <a:r>
              <a:rPr lang="en-US" sz="1700" dirty="0">
                <a:gradFill>
                  <a:gsLst>
                    <a:gs pos="0">
                      <a:srgbClr val="FFFFFF"/>
                    </a:gs>
                    <a:gs pos="100000">
                      <a:srgbClr val="FFFFFF"/>
                    </a:gs>
                  </a:gsLst>
                  <a:lin ang="5400000" scaled="0"/>
                </a:gradFill>
              </a:rPr>
              <a:t>asynchronous replication, </a:t>
            </a:r>
            <a:br>
              <a:rPr lang="en-US" sz="1700" dirty="0">
                <a:gradFill>
                  <a:gsLst>
                    <a:gs pos="0">
                      <a:srgbClr val="FFFFFF"/>
                    </a:gs>
                    <a:gs pos="100000">
                      <a:srgbClr val="FFFFFF"/>
                    </a:gs>
                  </a:gsLst>
                  <a:lin ang="5400000" scaled="0"/>
                </a:gradFill>
              </a:rPr>
            </a:br>
            <a:r>
              <a:rPr lang="en-US" sz="1700" dirty="0">
                <a:gradFill>
                  <a:gsLst>
                    <a:gs pos="0">
                      <a:srgbClr val="FFFFFF"/>
                    </a:gs>
                    <a:gs pos="100000">
                      <a:srgbClr val="FFFFFF"/>
                    </a:gs>
                  </a:gsLst>
                  <a:lin ang="5400000" scaled="0"/>
                </a:gradFill>
              </a:rPr>
              <a:t>tolerance for loss</a:t>
            </a:r>
          </a:p>
        </p:txBody>
      </p:sp>
      <p:sp>
        <p:nvSpPr>
          <p:cNvPr id="13" name="Cloud Callout 12"/>
          <p:cNvSpPr/>
          <p:nvPr/>
        </p:nvSpPr>
        <p:spPr bwMode="auto">
          <a:xfrm>
            <a:off x="1252551" y="874482"/>
            <a:ext cx="3005771" cy="1512917"/>
          </a:xfrm>
          <a:prstGeom prst="cloudCallout">
            <a:avLst>
              <a:gd name="adj1" fmla="val 44578"/>
              <a:gd name="adj2" fmla="val 117581"/>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28565" rIns="28565" bIns="57125" numCol="1" spcCol="0" rtlCol="0" fromWordArt="0" anchor="b" anchorCtr="0" forceAA="0" compatLnSpc="1">
            <a:prstTxWarp prst="textNoShape">
              <a:avLst/>
            </a:prstTxWarp>
            <a:noAutofit/>
          </a:bodyPr>
          <a:lstStyle/>
          <a:p>
            <a:r>
              <a:rPr lang="en-US" sz="1700" dirty="0">
                <a:gradFill>
                  <a:gsLst>
                    <a:gs pos="0">
                      <a:srgbClr val="FFFFFF"/>
                    </a:gs>
                    <a:gs pos="100000">
                      <a:srgbClr val="FFFFFF"/>
                    </a:gs>
                  </a:gsLst>
                  <a:lin ang="5400000" scaled="0"/>
                </a:gradFill>
              </a:rPr>
              <a:t>What components can be distributed and stateless?</a:t>
            </a:r>
          </a:p>
        </p:txBody>
      </p:sp>
      <p:sp>
        <p:nvSpPr>
          <p:cNvPr id="8"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4"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
              </a:rPr>
              <a:t>www.rapidbbs.cn</a:t>
            </a:r>
            <a:endParaRPr lang="zh-CN" altLang="en-US" sz="1200" b="0">
              <a:latin typeface="Arial" charset="0"/>
              <a:ea typeface="ＭＳ Ｐゴシック" pitchFamily="34" charset="-128"/>
            </a:endParaRPr>
          </a:p>
        </p:txBody>
      </p:sp>
      <p:pic>
        <p:nvPicPr>
          <p:cNvPr id="15" name="Picture 2">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054659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2" grpId="0" animBg="1"/>
      <p:bldP spid="13" grpId="0" animBg="1"/>
    </p:bldLst>
  </p:timing>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 name="MGT outline"/>
          <p:cNvSpPr/>
          <p:nvPr/>
        </p:nvSpPr>
        <p:spPr bwMode="auto">
          <a:xfrm>
            <a:off x="506066" y="724559"/>
            <a:ext cx="8246498" cy="3514383"/>
          </a:xfrm>
          <a:prstGeom prst="roundRect">
            <a:avLst>
              <a:gd name="adj" fmla="val 6092"/>
            </a:avLst>
          </a:prstGeom>
          <a:solidFill>
            <a:schemeClr val="accent4">
              <a:lumMod val="75000"/>
              <a:alpha val="13000"/>
            </a:schemeClr>
          </a:solidFill>
          <a:ln w="25400">
            <a:solidFill>
              <a:schemeClr val="accent4">
                <a:lumMod val="75000"/>
              </a:schemeClr>
            </a:solidFill>
            <a:prstDash val="sysDot"/>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85" fontAlgn="base">
              <a:spcBef>
                <a:spcPct val="0"/>
              </a:spcBef>
              <a:spcAft>
                <a:spcPct val="0"/>
              </a:spcAft>
            </a:pPr>
            <a:endParaRPr lang="en-US" sz="2200" dirty="0">
              <a:solidFill>
                <a:srgbClr val="FFFFFF">
                  <a:alpha val="98824"/>
                </a:srgbClr>
              </a:solidFill>
              <a:ea typeface="Segoe UI" pitchFamily="34" charset="0"/>
              <a:cs typeface="Segoe UI" pitchFamily="34" charset="0"/>
            </a:endParaRPr>
          </a:p>
        </p:txBody>
      </p:sp>
      <p:sp>
        <p:nvSpPr>
          <p:cNvPr id="144" name="device"/>
          <p:cNvSpPr/>
          <p:nvPr/>
        </p:nvSpPr>
        <p:spPr bwMode="black">
          <a:xfrm rot="16200000">
            <a:off x="3479054" y="1385906"/>
            <a:ext cx="2000319" cy="3473958"/>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lIns="82293" tIns="41145" rIns="82293" bIns="41145" anchor="ctr"/>
          <a:lstStyle/>
          <a:p>
            <a:pPr defTabSz="739682" fontAlgn="base">
              <a:spcBef>
                <a:spcPct val="0"/>
              </a:spcBef>
              <a:spcAft>
                <a:spcPct val="0"/>
              </a:spcAft>
            </a:pPr>
            <a:endParaRPr lang="en-US" dirty="0" smtClean="0">
              <a:solidFill>
                <a:srgbClr val="7F7F7F"/>
              </a:solidFill>
              <a:latin typeface="Segoe Light" pitchFamily="-84" charset="0"/>
              <a:ea typeface="ＭＳ Ｐゴシック" pitchFamily="-103" charset="-128"/>
            </a:endParaRPr>
          </a:p>
          <a:p>
            <a:pPr defTabSz="739682" fontAlgn="base">
              <a:spcBef>
                <a:spcPct val="0"/>
              </a:spcBef>
              <a:spcAft>
                <a:spcPct val="0"/>
              </a:spcAft>
            </a:pPr>
            <a:endParaRPr lang="en-US" dirty="0">
              <a:solidFill>
                <a:srgbClr val="7F7F7F"/>
              </a:solidFill>
              <a:latin typeface="Segoe Light" pitchFamily="-84" charset="0"/>
              <a:ea typeface="ＭＳ Ｐゴシック" pitchFamily="-103" charset="-128"/>
            </a:endParaRPr>
          </a:p>
        </p:txBody>
      </p:sp>
      <p:grpSp>
        <p:nvGrpSpPr>
          <p:cNvPr id="2" name="Group 5"/>
          <p:cNvGrpSpPr>
            <a:grpSpLocks/>
          </p:cNvGrpSpPr>
          <p:nvPr/>
        </p:nvGrpSpPr>
        <p:grpSpPr bwMode="auto">
          <a:xfrm>
            <a:off x="3327464" y="2474916"/>
            <a:ext cx="2471736" cy="369887"/>
            <a:chOff x="3434654" y="1845578"/>
            <a:chExt cx="2472229" cy="369587"/>
          </a:xfrm>
        </p:grpSpPr>
        <p:sp>
          <p:nvSpPr>
            <p:cNvPr id="41" name="Rectangle 40"/>
            <p:cNvSpPr/>
            <p:nvPr/>
          </p:nvSpPr>
          <p:spPr bwMode="auto">
            <a:xfrm>
              <a:off x="3857013" y="1850336"/>
              <a:ext cx="1829165" cy="364829"/>
            </a:xfrm>
            <a:prstGeom prst="rect">
              <a:avLst/>
            </a:prstGeom>
            <a:solidFill>
              <a:srgbClr val="7FBA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2699" fontAlgn="base">
                <a:spcBef>
                  <a:spcPct val="0"/>
                </a:spcBef>
                <a:spcAft>
                  <a:spcPct val="0"/>
                </a:spcAft>
              </a:pPr>
              <a:endParaRPr lang="en-US" sz="2200">
                <a:solidFill>
                  <a:srgbClr val="FFFFFF"/>
                </a:solidFill>
                <a:ea typeface="ＭＳ Ｐゴシック" pitchFamily="-103" charset="-128"/>
              </a:endParaRPr>
            </a:p>
          </p:txBody>
        </p:sp>
        <p:sp>
          <p:nvSpPr>
            <p:cNvPr id="42" name="Rectangle 41"/>
            <p:cNvSpPr/>
            <p:nvPr/>
          </p:nvSpPr>
          <p:spPr bwMode="auto">
            <a:xfrm>
              <a:off x="3434654" y="1850336"/>
              <a:ext cx="422359" cy="364829"/>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2699" fontAlgn="base">
                <a:spcBef>
                  <a:spcPct val="0"/>
                </a:spcBef>
                <a:spcAft>
                  <a:spcPct val="0"/>
                </a:spcAft>
              </a:pPr>
              <a:endParaRPr lang="en-US" sz="2200">
                <a:solidFill>
                  <a:srgbClr val="FFFFFF"/>
                </a:solidFill>
                <a:ea typeface="ＭＳ Ｐゴシック" pitchFamily="-103" charset="-128"/>
              </a:endParaRPr>
            </a:p>
          </p:txBody>
        </p:sp>
        <p:pic>
          <p:nvPicPr>
            <p:cNvPr id="47212" name="Picture 42" descr="settings.png"/>
            <p:cNvPicPr>
              <a:picLocks noChangeAspect="1"/>
            </p:cNvPicPr>
            <p:nvPr/>
          </p:nvPicPr>
          <p:blipFill>
            <a:blip r:embed="rId3" cstate="print"/>
            <a:srcRect l="14812" t="4822" b="4822"/>
            <a:stretch>
              <a:fillRect/>
            </a:stretch>
          </p:blipFill>
          <p:spPr bwMode="auto">
            <a:xfrm>
              <a:off x="3513311" y="1845578"/>
              <a:ext cx="343488" cy="364328"/>
            </a:xfrm>
            <a:prstGeom prst="rect">
              <a:avLst/>
            </a:prstGeom>
            <a:noFill/>
            <a:ln w="9525">
              <a:noFill/>
              <a:miter lim="800000"/>
              <a:headEnd/>
              <a:tailEnd/>
            </a:ln>
          </p:spPr>
        </p:pic>
        <p:sp>
          <p:nvSpPr>
            <p:cNvPr id="44" name="TextBox 43"/>
            <p:cNvSpPr txBox="1"/>
            <p:nvPr/>
          </p:nvSpPr>
          <p:spPr>
            <a:xfrm>
              <a:off x="3933889" y="1850837"/>
              <a:ext cx="1972994" cy="359070"/>
            </a:xfrm>
            <a:prstGeom prst="rect">
              <a:avLst/>
            </a:prstGeom>
            <a:noFill/>
          </p:spPr>
          <p:txBody>
            <a:bodyPr lIns="0" tIns="0" rIns="0" bIns="0" anchor="ctr"/>
            <a:lstStyle/>
            <a:p>
              <a:pPr defTabSz="514362">
                <a:lnSpc>
                  <a:spcPct val="88000"/>
                </a:lnSpc>
                <a:defRPr/>
              </a:pPr>
              <a:r>
                <a:rPr lang="en-US" altLang="zh-CN" dirty="0">
                  <a:solidFill>
                    <a:srgbClr val="FFFFFF"/>
                  </a:solidFill>
                  <a:ea typeface="ＭＳ Ｐゴシック" pitchFamily="-103" charset="-128"/>
                  <a:cs typeface="Segoe UI Semibold"/>
                </a:rPr>
                <a:t>User State</a:t>
              </a:r>
              <a:endParaRPr lang="en-US" sz="4400" dirty="0">
                <a:gradFill>
                  <a:gsLst>
                    <a:gs pos="0">
                      <a:srgbClr val="FFFFFF"/>
                    </a:gs>
                    <a:gs pos="86000">
                      <a:srgbClr val="FFFFFF"/>
                    </a:gs>
                  </a:gsLst>
                  <a:lin ang="5400000" scaled="0"/>
                </a:gradFill>
                <a:ea typeface="ＭＳ Ｐゴシック" pitchFamily="-103" charset="-128"/>
                <a:cs typeface="ＭＳ Ｐゴシック" pitchFamily="-84" charset="-128"/>
              </a:endParaRPr>
            </a:p>
          </p:txBody>
        </p:sp>
      </p:grpSp>
      <p:grpSp>
        <p:nvGrpSpPr>
          <p:cNvPr id="3" name="Group 2"/>
          <p:cNvGrpSpPr>
            <a:grpSpLocks/>
          </p:cNvGrpSpPr>
          <p:nvPr/>
        </p:nvGrpSpPr>
        <p:grpSpPr bwMode="auto">
          <a:xfrm>
            <a:off x="3327465" y="2955927"/>
            <a:ext cx="2251075" cy="363538"/>
            <a:chOff x="3434654" y="2335552"/>
            <a:chExt cx="2251524" cy="364328"/>
          </a:xfrm>
        </p:grpSpPr>
        <p:sp>
          <p:nvSpPr>
            <p:cNvPr id="48" name="Rectangle 47"/>
            <p:cNvSpPr/>
            <p:nvPr/>
          </p:nvSpPr>
          <p:spPr bwMode="auto">
            <a:xfrm>
              <a:off x="3857013" y="2335552"/>
              <a:ext cx="1829165" cy="364328"/>
            </a:xfrm>
            <a:prstGeom prst="rect">
              <a:avLst/>
            </a:prstGeom>
            <a:solidFill>
              <a:srgbClr val="DD59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2699" fontAlgn="base">
                <a:spcBef>
                  <a:spcPct val="0"/>
                </a:spcBef>
                <a:spcAft>
                  <a:spcPct val="0"/>
                </a:spcAft>
              </a:pPr>
              <a:endParaRPr lang="en-US" sz="2200">
                <a:solidFill>
                  <a:srgbClr val="FFFFFF"/>
                </a:solidFill>
                <a:ea typeface="ＭＳ Ｐゴシック" pitchFamily="-103" charset="-128"/>
              </a:endParaRPr>
            </a:p>
          </p:txBody>
        </p:sp>
        <p:sp>
          <p:nvSpPr>
            <p:cNvPr id="49" name="Rectangle 48"/>
            <p:cNvSpPr/>
            <p:nvPr/>
          </p:nvSpPr>
          <p:spPr bwMode="auto">
            <a:xfrm>
              <a:off x="3434654" y="2335552"/>
              <a:ext cx="422359" cy="364328"/>
            </a:xfrm>
            <a:prstGeom prst="rect">
              <a:avLst/>
            </a:prstGeom>
            <a:solidFill>
              <a:srgbClr val="DD5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2699" fontAlgn="base">
                <a:spcBef>
                  <a:spcPct val="0"/>
                </a:spcBef>
                <a:spcAft>
                  <a:spcPct val="0"/>
                </a:spcAft>
              </a:pPr>
              <a:endParaRPr lang="en-US" sz="2200">
                <a:solidFill>
                  <a:srgbClr val="FFFFFF"/>
                </a:solidFill>
                <a:ea typeface="ＭＳ Ｐゴシック" pitchFamily="-103" charset="-128"/>
              </a:endParaRPr>
            </a:p>
          </p:txBody>
        </p:sp>
        <p:sp>
          <p:nvSpPr>
            <p:cNvPr id="54" name="TextBox 53"/>
            <p:cNvSpPr txBox="1"/>
            <p:nvPr/>
          </p:nvSpPr>
          <p:spPr>
            <a:xfrm>
              <a:off x="3933890" y="2335552"/>
              <a:ext cx="1578841" cy="364328"/>
            </a:xfrm>
            <a:prstGeom prst="rect">
              <a:avLst/>
            </a:prstGeom>
            <a:noFill/>
          </p:spPr>
          <p:txBody>
            <a:bodyPr lIns="0" tIns="0" rIns="0" bIns="0" anchor="ctr"/>
            <a:lstStyle/>
            <a:p>
              <a:pPr defTabSz="514362">
                <a:lnSpc>
                  <a:spcPct val="88000"/>
                </a:lnSpc>
                <a:defRPr/>
              </a:pPr>
              <a:r>
                <a:rPr lang="en-US" altLang="zh-CN" dirty="0">
                  <a:solidFill>
                    <a:srgbClr val="FFFFFF"/>
                  </a:solidFill>
                  <a:ea typeface="ＭＳ Ｐゴシック" pitchFamily="-103" charset="-128"/>
                  <a:cs typeface="Segoe UI Semibold"/>
                </a:rPr>
                <a:t>Applications</a:t>
              </a:r>
              <a:endParaRPr lang="en-US" sz="4400" dirty="0">
                <a:gradFill>
                  <a:gsLst>
                    <a:gs pos="0">
                      <a:srgbClr val="FFFFFF"/>
                    </a:gs>
                    <a:gs pos="86000">
                      <a:srgbClr val="FFFFFF"/>
                    </a:gs>
                  </a:gsLst>
                  <a:lin ang="5400000" scaled="0"/>
                </a:gradFill>
                <a:ea typeface="ＭＳ Ｐゴシック" pitchFamily="-103" charset="-128"/>
                <a:cs typeface="ＭＳ Ｐゴシック" pitchFamily="-84" charset="-128"/>
              </a:endParaRPr>
            </a:p>
          </p:txBody>
        </p:sp>
        <p:pic>
          <p:nvPicPr>
            <p:cNvPr id="47209" name="Picture 46" descr="v-apps.png"/>
            <p:cNvPicPr>
              <a:picLocks noChangeAspect="1"/>
            </p:cNvPicPr>
            <p:nvPr/>
          </p:nvPicPr>
          <p:blipFill>
            <a:blip r:embed="rId4" cstate="print"/>
            <a:srcRect/>
            <a:stretch>
              <a:fillRect/>
            </a:stretch>
          </p:blipFill>
          <p:spPr bwMode="auto">
            <a:xfrm>
              <a:off x="3494930" y="2377560"/>
              <a:ext cx="287138" cy="287138"/>
            </a:xfrm>
            <a:prstGeom prst="rect">
              <a:avLst/>
            </a:prstGeom>
            <a:noFill/>
            <a:ln w="9525">
              <a:noFill/>
              <a:miter lim="800000"/>
              <a:headEnd/>
              <a:tailEnd/>
            </a:ln>
          </p:spPr>
        </p:pic>
      </p:grpSp>
      <p:grpSp>
        <p:nvGrpSpPr>
          <p:cNvPr id="4" name="Group 1"/>
          <p:cNvGrpSpPr>
            <a:grpSpLocks/>
          </p:cNvGrpSpPr>
          <p:nvPr/>
        </p:nvGrpSpPr>
        <p:grpSpPr bwMode="auto">
          <a:xfrm>
            <a:off x="3327465" y="3430589"/>
            <a:ext cx="2251075" cy="363537"/>
            <a:chOff x="3434654" y="2800474"/>
            <a:chExt cx="2251524" cy="364328"/>
          </a:xfrm>
        </p:grpSpPr>
        <p:sp>
          <p:nvSpPr>
            <p:cNvPr id="56" name="Rectangle 55"/>
            <p:cNvSpPr/>
            <p:nvPr/>
          </p:nvSpPr>
          <p:spPr bwMode="auto">
            <a:xfrm>
              <a:off x="3857013" y="2800474"/>
              <a:ext cx="1829165" cy="364328"/>
            </a:xfrm>
            <a:prstGeom prst="rect">
              <a:avLst/>
            </a:prstGeom>
            <a:solidFill>
              <a:srgbClr val="68217A">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2699" fontAlgn="base">
                <a:spcBef>
                  <a:spcPct val="0"/>
                </a:spcBef>
                <a:spcAft>
                  <a:spcPct val="0"/>
                </a:spcAft>
              </a:pPr>
              <a:endParaRPr lang="en-US" sz="2200">
                <a:solidFill>
                  <a:srgbClr val="FFFFFF"/>
                </a:solidFill>
                <a:ea typeface="ＭＳ Ｐゴシック" pitchFamily="-103" charset="-128"/>
              </a:endParaRPr>
            </a:p>
          </p:txBody>
        </p:sp>
        <p:sp>
          <p:nvSpPr>
            <p:cNvPr id="57" name="Rectangle 56"/>
            <p:cNvSpPr/>
            <p:nvPr/>
          </p:nvSpPr>
          <p:spPr bwMode="auto">
            <a:xfrm>
              <a:off x="3434654" y="2800474"/>
              <a:ext cx="422359" cy="364328"/>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2699" fontAlgn="base">
                <a:spcBef>
                  <a:spcPct val="0"/>
                </a:spcBef>
                <a:spcAft>
                  <a:spcPct val="0"/>
                </a:spcAft>
              </a:pPr>
              <a:endParaRPr lang="en-US" sz="2200">
                <a:solidFill>
                  <a:srgbClr val="FFFFFF"/>
                </a:solidFill>
                <a:ea typeface="ＭＳ Ｐゴシック" pitchFamily="-103" charset="-128"/>
              </a:endParaRPr>
            </a:p>
          </p:txBody>
        </p:sp>
        <p:sp>
          <p:nvSpPr>
            <p:cNvPr id="58" name="TextBox 57"/>
            <p:cNvSpPr txBox="1"/>
            <p:nvPr/>
          </p:nvSpPr>
          <p:spPr>
            <a:xfrm>
              <a:off x="3933890" y="2800474"/>
              <a:ext cx="1578841" cy="364328"/>
            </a:xfrm>
            <a:prstGeom prst="rect">
              <a:avLst/>
            </a:prstGeom>
            <a:noFill/>
          </p:spPr>
          <p:txBody>
            <a:bodyPr lIns="0" tIns="0" rIns="0" bIns="0" anchor="ctr"/>
            <a:lstStyle/>
            <a:p>
              <a:pPr defTabSz="514362">
                <a:lnSpc>
                  <a:spcPct val="88000"/>
                </a:lnSpc>
                <a:defRPr/>
              </a:pPr>
              <a:r>
                <a:rPr lang="en-US" altLang="zh-CN" dirty="0">
                  <a:solidFill>
                    <a:srgbClr val="FFFFFF"/>
                  </a:solidFill>
                  <a:ea typeface="ＭＳ Ｐゴシック" pitchFamily="-103" charset="-128"/>
                  <a:cs typeface="Segoe UI Semibold"/>
                </a:rPr>
                <a:t>Operating System</a:t>
              </a:r>
              <a:endParaRPr lang="en-US" sz="4400" dirty="0">
                <a:gradFill>
                  <a:gsLst>
                    <a:gs pos="0">
                      <a:srgbClr val="FFFFFF"/>
                    </a:gs>
                    <a:gs pos="86000">
                      <a:srgbClr val="FFFFFF"/>
                    </a:gs>
                  </a:gsLst>
                  <a:lin ang="5400000" scaled="0"/>
                </a:gradFill>
                <a:ea typeface="ＭＳ Ｐゴシック" pitchFamily="-103" charset="-128"/>
                <a:cs typeface="ＭＳ Ｐゴシック" pitchFamily="-84" charset="-128"/>
              </a:endParaRPr>
            </a:p>
          </p:txBody>
        </p:sp>
        <p:pic>
          <p:nvPicPr>
            <p:cNvPr id="47205" name="Picture 49" descr="WinEmbed_h_bL_r.png"/>
            <p:cNvPicPr>
              <a:picLocks noChangeAspect="1"/>
            </p:cNvPicPr>
            <p:nvPr/>
          </p:nvPicPr>
          <p:blipFill>
            <a:blip r:embed="rId5" cstate="print"/>
            <a:stretch>
              <a:fillRect/>
            </a:stretch>
          </p:blipFill>
          <p:spPr bwMode="auto">
            <a:xfrm>
              <a:off x="3471383" y="2817162"/>
              <a:ext cx="320104" cy="320736"/>
            </a:xfrm>
            <a:prstGeom prst="rect">
              <a:avLst/>
            </a:prstGeom>
            <a:noFill/>
            <a:ln w="9525">
              <a:noFill/>
              <a:miter lim="800000"/>
              <a:headEnd/>
              <a:tailEnd/>
            </a:ln>
          </p:spPr>
        </p:pic>
      </p:grpSp>
      <p:sp>
        <p:nvSpPr>
          <p:cNvPr id="9" name="Title 8"/>
          <p:cNvSpPr>
            <a:spLocks noGrp="1"/>
          </p:cNvSpPr>
          <p:nvPr>
            <p:ph type="title"/>
          </p:nvPr>
        </p:nvSpPr>
        <p:spPr>
          <a:xfrm>
            <a:off x="379911" y="171450"/>
            <a:ext cx="8363938" cy="387798"/>
          </a:xfrm>
        </p:spPr>
        <p:txBody>
          <a:bodyPr rtlCol="0"/>
          <a:lstStyle/>
          <a:p>
            <a:pPr>
              <a:defRPr/>
            </a:pPr>
            <a:r>
              <a:rPr lang="en-US" sz="2800" dirty="0"/>
              <a:t>Microsoft Desktop Virtualization</a:t>
            </a:r>
          </a:p>
        </p:txBody>
      </p:sp>
      <p:grpSp>
        <p:nvGrpSpPr>
          <p:cNvPr id="5" name="Group 58"/>
          <p:cNvGrpSpPr>
            <a:grpSpLocks/>
          </p:cNvGrpSpPr>
          <p:nvPr/>
        </p:nvGrpSpPr>
        <p:grpSpPr bwMode="auto">
          <a:xfrm>
            <a:off x="602582" y="1648501"/>
            <a:ext cx="2514600" cy="705389"/>
            <a:chOff x="380999" y="1438196"/>
            <a:chExt cx="2513924" cy="705389"/>
          </a:xfrm>
        </p:grpSpPr>
        <p:sp>
          <p:nvSpPr>
            <p:cNvPr id="62" name="Rectangle 61"/>
            <p:cNvSpPr/>
            <p:nvPr/>
          </p:nvSpPr>
          <p:spPr bwMode="auto">
            <a:xfrm>
              <a:off x="380999" y="1438196"/>
              <a:ext cx="2513924" cy="685800"/>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2699" fontAlgn="base">
                <a:spcBef>
                  <a:spcPct val="0"/>
                </a:spcBef>
                <a:spcAft>
                  <a:spcPct val="0"/>
                </a:spcAft>
              </a:pPr>
              <a:endParaRPr lang="en-US" sz="2200">
                <a:solidFill>
                  <a:srgbClr val="FFFFFF"/>
                </a:solidFill>
                <a:ea typeface="ＭＳ Ｐゴシック" pitchFamily="-103" charset="-128"/>
              </a:endParaRPr>
            </a:p>
          </p:txBody>
        </p:sp>
        <p:pic>
          <p:nvPicPr>
            <p:cNvPr id="47200" name="Picture 37" descr="settings.png"/>
            <p:cNvPicPr>
              <a:picLocks noChangeAspect="1"/>
            </p:cNvPicPr>
            <p:nvPr/>
          </p:nvPicPr>
          <p:blipFill>
            <a:blip r:embed="rId3" cstate="print"/>
            <a:srcRect l="14812" t="4822" b="4822"/>
            <a:stretch>
              <a:fillRect/>
            </a:stretch>
          </p:blipFill>
          <p:spPr bwMode="auto">
            <a:xfrm>
              <a:off x="479613" y="1474283"/>
              <a:ext cx="585637" cy="621176"/>
            </a:xfrm>
            <a:prstGeom prst="rect">
              <a:avLst/>
            </a:prstGeom>
            <a:noFill/>
            <a:ln w="9525">
              <a:noFill/>
              <a:miter lim="800000"/>
              <a:headEnd/>
              <a:tailEnd/>
            </a:ln>
          </p:spPr>
        </p:pic>
        <p:sp>
          <p:nvSpPr>
            <p:cNvPr id="47201" name="TextBox 42"/>
            <p:cNvSpPr txBox="1">
              <a:spLocks noChangeArrowheads="1"/>
            </p:cNvSpPr>
            <p:nvPr/>
          </p:nvSpPr>
          <p:spPr bwMode="auto">
            <a:xfrm>
              <a:off x="1011603" y="1438196"/>
              <a:ext cx="1578924" cy="705389"/>
            </a:xfrm>
            <a:prstGeom prst="rect">
              <a:avLst/>
            </a:prstGeom>
            <a:noFill/>
            <a:ln w="9525">
              <a:noFill/>
              <a:miter lim="800000"/>
              <a:headEnd/>
              <a:tailEnd/>
            </a:ln>
          </p:spPr>
          <p:txBody>
            <a:bodyPr lIns="0" tIns="0" rIns="0" bIns="0" anchor="ctr"/>
            <a:lstStyle/>
            <a:p>
              <a:pPr defTabSz="914324" fontAlgn="base">
                <a:lnSpc>
                  <a:spcPct val="88000"/>
                </a:lnSpc>
                <a:spcBef>
                  <a:spcPct val="0"/>
                </a:spcBef>
                <a:spcAft>
                  <a:spcPct val="0"/>
                </a:spcAft>
              </a:pPr>
              <a:r>
                <a:rPr lang="en-US" altLang="zh-CN" dirty="0">
                  <a:solidFill>
                    <a:srgbClr val="FFFFFF"/>
                  </a:solidFill>
                  <a:latin typeface="Segoe UI Light" pitchFamily="-84" charset="0"/>
                  <a:ea typeface="ＭＳ Ｐゴシック" pitchFamily="-103" charset="-128"/>
                </a:rPr>
                <a:t>User State</a:t>
              </a:r>
              <a:endParaRPr lang="en-US" dirty="0">
                <a:solidFill>
                  <a:srgbClr val="FFFFFF"/>
                </a:solidFill>
                <a:latin typeface="Segoe UI Light" pitchFamily="-84" charset="0"/>
                <a:ea typeface="ＭＳ Ｐゴシック" pitchFamily="-103" charset="-128"/>
              </a:endParaRPr>
            </a:p>
          </p:txBody>
        </p:sp>
      </p:grpSp>
      <p:grpSp>
        <p:nvGrpSpPr>
          <p:cNvPr id="6" name="Group 64"/>
          <p:cNvGrpSpPr>
            <a:grpSpLocks/>
          </p:cNvGrpSpPr>
          <p:nvPr/>
        </p:nvGrpSpPr>
        <p:grpSpPr bwMode="auto">
          <a:xfrm>
            <a:off x="3301962" y="1653342"/>
            <a:ext cx="2514600" cy="680959"/>
            <a:chOff x="47080" y="2500625"/>
            <a:chExt cx="2514083" cy="680959"/>
          </a:xfrm>
        </p:grpSpPr>
        <p:sp>
          <p:nvSpPr>
            <p:cNvPr id="68" name="Rectangle 67"/>
            <p:cNvSpPr/>
            <p:nvPr/>
          </p:nvSpPr>
          <p:spPr bwMode="auto">
            <a:xfrm>
              <a:off x="47080" y="2500625"/>
              <a:ext cx="2514083" cy="680959"/>
            </a:xfrm>
            <a:prstGeom prst="rect">
              <a:avLst/>
            </a:prstGeom>
            <a:solidFill>
              <a:srgbClr val="DD5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2699" fontAlgn="base">
                <a:spcBef>
                  <a:spcPct val="0"/>
                </a:spcBef>
                <a:spcAft>
                  <a:spcPct val="0"/>
                </a:spcAft>
              </a:pPr>
              <a:endParaRPr lang="en-US" sz="2200">
                <a:solidFill>
                  <a:srgbClr val="FFFFFF"/>
                </a:solidFill>
                <a:ea typeface="ＭＳ Ｐゴシック" pitchFamily="-103" charset="-128"/>
              </a:endParaRPr>
            </a:p>
          </p:txBody>
        </p:sp>
        <p:sp>
          <p:nvSpPr>
            <p:cNvPr id="47197" name="TextBox 51"/>
            <p:cNvSpPr txBox="1">
              <a:spLocks noChangeArrowheads="1"/>
            </p:cNvSpPr>
            <p:nvPr/>
          </p:nvSpPr>
          <p:spPr bwMode="auto">
            <a:xfrm>
              <a:off x="706501" y="2500625"/>
              <a:ext cx="1217007" cy="680959"/>
            </a:xfrm>
            <a:prstGeom prst="rect">
              <a:avLst/>
            </a:prstGeom>
            <a:noFill/>
            <a:ln w="9525">
              <a:noFill/>
              <a:miter lim="800000"/>
              <a:headEnd/>
              <a:tailEnd/>
            </a:ln>
          </p:spPr>
          <p:txBody>
            <a:bodyPr lIns="0" tIns="0" rIns="0" bIns="0" anchor="ctr"/>
            <a:lstStyle/>
            <a:p>
              <a:pPr defTabSz="914324" fontAlgn="base">
                <a:lnSpc>
                  <a:spcPct val="88000"/>
                </a:lnSpc>
                <a:spcBef>
                  <a:spcPct val="0"/>
                </a:spcBef>
                <a:spcAft>
                  <a:spcPct val="0"/>
                </a:spcAft>
              </a:pPr>
              <a:r>
                <a:rPr lang="en-US" altLang="zh-CN" dirty="0">
                  <a:solidFill>
                    <a:srgbClr val="FFFFFF"/>
                  </a:solidFill>
                  <a:latin typeface="Segoe UI Light" pitchFamily="-84" charset="0"/>
                  <a:ea typeface="ＭＳ Ｐゴシック" pitchFamily="-103" charset="-128"/>
                </a:rPr>
                <a:t>Applications</a:t>
              </a:r>
              <a:endParaRPr lang="en-US" dirty="0">
                <a:solidFill>
                  <a:srgbClr val="FFFFFF"/>
                </a:solidFill>
                <a:latin typeface="Segoe UI Light" pitchFamily="-84" charset="0"/>
                <a:ea typeface="ＭＳ Ｐゴシック" pitchFamily="-103" charset="-128"/>
              </a:endParaRPr>
            </a:p>
          </p:txBody>
        </p:sp>
        <p:pic>
          <p:nvPicPr>
            <p:cNvPr id="47198" name="Picture 52" descr="v-apps.png"/>
            <p:cNvPicPr>
              <a:picLocks noChangeAspect="1"/>
            </p:cNvPicPr>
            <p:nvPr/>
          </p:nvPicPr>
          <p:blipFill>
            <a:blip r:embed="rId6" cstate="print"/>
            <a:srcRect/>
            <a:stretch>
              <a:fillRect/>
            </a:stretch>
          </p:blipFill>
          <p:spPr bwMode="auto">
            <a:xfrm>
              <a:off x="125706" y="2643517"/>
              <a:ext cx="383081" cy="383087"/>
            </a:xfrm>
            <a:prstGeom prst="rect">
              <a:avLst/>
            </a:prstGeom>
            <a:noFill/>
            <a:ln w="9525">
              <a:noFill/>
              <a:miter lim="800000"/>
              <a:headEnd/>
              <a:tailEnd/>
            </a:ln>
          </p:spPr>
        </p:pic>
      </p:grpSp>
      <p:grpSp>
        <p:nvGrpSpPr>
          <p:cNvPr id="7" name="Group 70"/>
          <p:cNvGrpSpPr>
            <a:grpSpLocks/>
          </p:cNvGrpSpPr>
          <p:nvPr/>
        </p:nvGrpSpPr>
        <p:grpSpPr bwMode="auto">
          <a:xfrm>
            <a:off x="6001342" y="1653339"/>
            <a:ext cx="2514600" cy="685800"/>
            <a:chOff x="401017" y="3514502"/>
            <a:chExt cx="2514894" cy="685800"/>
          </a:xfrm>
        </p:grpSpPr>
        <p:sp>
          <p:nvSpPr>
            <p:cNvPr id="75" name="Rectangle 74"/>
            <p:cNvSpPr/>
            <p:nvPr/>
          </p:nvSpPr>
          <p:spPr bwMode="auto">
            <a:xfrm>
              <a:off x="401017" y="3514502"/>
              <a:ext cx="2514894" cy="685800"/>
            </a:xfrm>
            <a:prstGeom prst="rect">
              <a:avLst/>
            </a:prstGeom>
            <a:solidFill>
              <a:srgbClr val="51288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2699" fontAlgn="base">
                <a:spcBef>
                  <a:spcPct val="0"/>
                </a:spcBef>
                <a:spcAft>
                  <a:spcPct val="0"/>
                </a:spcAft>
              </a:pPr>
              <a:endParaRPr lang="en-US" sz="2200">
                <a:solidFill>
                  <a:srgbClr val="FFFFFF"/>
                </a:solidFill>
                <a:ea typeface="ＭＳ Ｐゴシック" pitchFamily="-103" charset="-128"/>
              </a:endParaRPr>
            </a:p>
          </p:txBody>
        </p:sp>
        <p:sp>
          <p:nvSpPr>
            <p:cNvPr id="47194" name="TextBox 65"/>
            <p:cNvSpPr txBox="1">
              <a:spLocks noChangeArrowheads="1"/>
            </p:cNvSpPr>
            <p:nvPr/>
          </p:nvSpPr>
          <p:spPr bwMode="auto">
            <a:xfrm>
              <a:off x="1073548" y="3514502"/>
              <a:ext cx="1704008" cy="680959"/>
            </a:xfrm>
            <a:prstGeom prst="rect">
              <a:avLst/>
            </a:prstGeom>
            <a:noFill/>
            <a:ln w="9525">
              <a:noFill/>
              <a:miter lim="800000"/>
              <a:headEnd/>
              <a:tailEnd/>
            </a:ln>
          </p:spPr>
          <p:txBody>
            <a:bodyPr lIns="0" tIns="0" rIns="0" bIns="0" anchor="ctr"/>
            <a:lstStyle/>
            <a:p>
              <a:pPr defTabSz="914324" fontAlgn="base">
                <a:lnSpc>
                  <a:spcPct val="88000"/>
                </a:lnSpc>
                <a:spcBef>
                  <a:spcPct val="0"/>
                </a:spcBef>
                <a:spcAft>
                  <a:spcPct val="0"/>
                </a:spcAft>
              </a:pPr>
              <a:r>
                <a:rPr lang="en-US" altLang="zh-CN" dirty="0">
                  <a:solidFill>
                    <a:srgbClr val="FFFFFF"/>
                  </a:solidFill>
                  <a:latin typeface="Segoe UI Light" pitchFamily="-84" charset="0"/>
                  <a:ea typeface="ＭＳ Ｐゴシック" pitchFamily="-103" charset="-128"/>
                </a:rPr>
                <a:t>Operating System</a:t>
              </a:r>
              <a:endParaRPr lang="en-US" dirty="0">
                <a:solidFill>
                  <a:srgbClr val="FFFFFF"/>
                </a:solidFill>
                <a:latin typeface="Segoe UI Light" pitchFamily="-84" charset="0"/>
                <a:ea typeface="ＭＳ Ｐゴシック" pitchFamily="-103" charset="-128"/>
              </a:endParaRPr>
            </a:p>
          </p:txBody>
        </p:sp>
        <p:pic>
          <p:nvPicPr>
            <p:cNvPr id="47195" name="Picture 49" descr="WinEmbed_h_bL_r.png"/>
            <p:cNvPicPr>
              <a:picLocks noChangeAspect="1"/>
            </p:cNvPicPr>
            <p:nvPr/>
          </p:nvPicPr>
          <p:blipFill>
            <a:blip r:embed="rId7" cstate="print"/>
            <a:stretch>
              <a:fillRect/>
            </a:stretch>
          </p:blipFill>
          <p:spPr bwMode="auto">
            <a:xfrm>
              <a:off x="416178" y="3592353"/>
              <a:ext cx="502979" cy="502920"/>
            </a:xfrm>
            <a:prstGeom prst="rect">
              <a:avLst/>
            </a:prstGeom>
            <a:noFill/>
            <a:ln w="9525">
              <a:noFill/>
              <a:miter lim="800000"/>
              <a:headEnd/>
              <a:tailEnd/>
            </a:ln>
          </p:spPr>
        </p:pic>
      </p:grpSp>
      <p:grpSp>
        <p:nvGrpSpPr>
          <p:cNvPr id="8" name="Data/users copy"/>
          <p:cNvGrpSpPr>
            <a:grpSpLocks/>
          </p:cNvGrpSpPr>
          <p:nvPr/>
        </p:nvGrpSpPr>
        <p:grpSpPr bwMode="auto">
          <a:xfrm>
            <a:off x="684336" y="2522858"/>
            <a:ext cx="2316329" cy="1624002"/>
            <a:chOff x="2212233" y="2779409"/>
            <a:chExt cx="2316434" cy="1624002"/>
          </a:xfrm>
        </p:grpSpPr>
        <p:grpSp>
          <p:nvGrpSpPr>
            <p:cNvPr id="10" name="Group 83"/>
            <p:cNvGrpSpPr>
              <a:grpSpLocks/>
            </p:cNvGrpSpPr>
            <p:nvPr/>
          </p:nvGrpSpPr>
          <p:grpSpPr bwMode="auto">
            <a:xfrm>
              <a:off x="2212233" y="2779409"/>
              <a:ext cx="2316434" cy="1624002"/>
              <a:chOff x="1911869" y="2512718"/>
              <a:chExt cx="2434817" cy="1624002"/>
            </a:xfrm>
          </p:grpSpPr>
          <p:sp>
            <p:nvSpPr>
              <p:cNvPr id="47187" name="TextBox 85"/>
              <p:cNvSpPr txBox="1">
                <a:spLocks noChangeArrowheads="1"/>
              </p:cNvSpPr>
              <p:nvPr/>
            </p:nvSpPr>
            <p:spPr bwMode="auto">
              <a:xfrm>
                <a:off x="1963705" y="3401904"/>
                <a:ext cx="2155869" cy="734816"/>
              </a:xfrm>
              <a:prstGeom prst="rect">
                <a:avLst/>
              </a:prstGeom>
              <a:noFill/>
              <a:ln w="9525">
                <a:noFill/>
                <a:miter lim="800000"/>
                <a:headEnd/>
                <a:tailEnd/>
              </a:ln>
            </p:spPr>
            <p:txBody>
              <a:bodyPr wrap="square" lIns="0" tIns="0" rIns="0" bIns="0">
                <a:spAutoFit/>
              </a:bodyPr>
              <a:lstStyle/>
              <a:p>
                <a:pPr marL="173017" indent="-173017" algn="ctr" defTabSz="914324" fontAlgn="base">
                  <a:spcBef>
                    <a:spcPct val="0"/>
                  </a:spcBef>
                  <a:spcAft>
                    <a:spcPct val="0"/>
                  </a:spcAft>
                  <a:buClr>
                    <a:srgbClr val="FFFFFF"/>
                  </a:buClr>
                </a:pPr>
                <a:r>
                  <a:rPr lang="en-US" dirty="0">
                    <a:solidFill>
                      <a:srgbClr val="FFFFFF"/>
                    </a:solidFill>
                    <a:latin typeface="Segoe UI Light" pitchFamily="-84" charset="0"/>
                    <a:ea typeface="ＭＳ Ｐゴシック" pitchFamily="-103" charset="-128"/>
                    <a:cs typeface="Segoe UI" pitchFamily="-84" charset="-52"/>
                  </a:rPr>
                  <a:t>User Experience</a:t>
                </a:r>
              </a:p>
              <a:p>
                <a:pPr marL="173017" indent="-173017" algn="ctr" defTabSz="914324" fontAlgn="base">
                  <a:spcBef>
                    <a:spcPct val="0"/>
                  </a:spcBef>
                  <a:spcAft>
                    <a:spcPct val="0"/>
                  </a:spcAft>
                  <a:buClr>
                    <a:srgbClr val="FFFFFF"/>
                  </a:buClr>
                </a:pPr>
                <a:r>
                  <a:rPr lang="en-US" dirty="0">
                    <a:solidFill>
                      <a:srgbClr val="FFFFFF"/>
                    </a:solidFill>
                    <a:latin typeface="Segoe UI Light" pitchFamily="-84" charset="0"/>
                    <a:ea typeface="ＭＳ Ｐゴシック" pitchFamily="-103" charset="-128"/>
                    <a:cs typeface="Segoe UI" pitchFamily="-84" charset="-52"/>
                  </a:rPr>
                  <a:t>Virtualization (UE-V)</a:t>
                </a:r>
              </a:p>
              <a:p>
                <a:pPr marL="173017" indent="-173017" algn="ctr" defTabSz="914324" fontAlgn="base">
                  <a:spcBef>
                    <a:spcPts val="600"/>
                  </a:spcBef>
                  <a:spcAft>
                    <a:spcPct val="0"/>
                  </a:spcAft>
                  <a:buClr>
                    <a:srgbClr val="FFFFFF"/>
                  </a:buClr>
                </a:pPr>
                <a:r>
                  <a:rPr lang="en-US" dirty="0">
                    <a:solidFill>
                      <a:srgbClr val="FFFFFF"/>
                    </a:solidFill>
                    <a:latin typeface="Segoe UI Light" pitchFamily="-84" charset="0"/>
                    <a:ea typeface="ＭＳ Ｐゴシック" pitchFamily="-103" charset="-128"/>
                    <a:cs typeface="Segoe UI" pitchFamily="-84" charset="-52"/>
                  </a:rPr>
                  <a:t>Folder Redirection</a:t>
                </a:r>
              </a:p>
            </p:txBody>
          </p:sp>
          <p:sp>
            <p:nvSpPr>
              <p:cNvPr id="47188" name="TextBox 35"/>
              <p:cNvSpPr txBox="1">
                <a:spLocks noChangeArrowheads="1"/>
              </p:cNvSpPr>
              <p:nvPr/>
            </p:nvSpPr>
            <p:spPr bwMode="auto">
              <a:xfrm>
                <a:off x="1911869" y="2512718"/>
                <a:ext cx="2434817" cy="492443"/>
              </a:xfrm>
              <a:prstGeom prst="rect">
                <a:avLst/>
              </a:prstGeom>
              <a:noFill/>
              <a:ln w="9525">
                <a:noFill/>
                <a:miter lim="800000"/>
                <a:headEnd/>
                <a:tailEnd/>
              </a:ln>
            </p:spPr>
            <p:txBody>
              <a:bodyPr wrap="square" lIns="0" tIns="0" rIns="0" bIns="0">
                <a:spAutoFit/>
              </a:bodyPr>
              <a:lstStyle/>
              <a:p>
                <a:pPr algn="ctr" defTabSz="914324" fontAlgn="base">
                  <a:spcBef>
                    <a:spcPct val="0"/>
                  </a:spcBef>
                  <a:spcAft>
                    <a:spcPct val="0"/>
                  </a:spcAft>
                </a:pPr>
                <a:r>
                  <a:rPr lang="en-US" sz="1600" i="1" dirty="0">
                    <a:solidFill>
                      <a:srgbClr val="FFFFFF">
                        <a:lumMod val="65000"/>
                      </a:srgbClr>
                    </a:solidFill>
                    <a:ea typeface="Segoe UI" pitchFamily="34" charset="0"/>
                    <a:cs typeface="Segoe UI" pitchFamily="34" charset="0"/>
                  </a:rPr>
                  <a:t>Change the Device,</a:t>
                </a:r>
              </a:p>
              <a:p>
                <a:pPr algn="ctr" defTabSz="914324" fontAlgn="base">
                  <a:spcBef>
                    <a:spcPct val="0"/>
                  </a:spcBef>
                  <a:spcAft>
                    <a:spcPct val="0"/>
                  </a:spcAft>
                </a:pPr>
                <a:r>
                  <a:rPr lang="en-US" sz="1600" i="1" dirty="0">
                    <a:solidFill>
                      <a:srgbClr val="FFFFFF">
                        <a:lumMod val="65000"/>
                      </a:srgbClr>
                    </a:solidFill>
                    <a:ea typeface="Segoe UI" pitchFamily="34" charset="0"/>
                    <a:cs typeface="Segoe UI" pitchFamily="34" charset="0"/>
                  </a:rPr>
                  <a:t>Keep your Experience</a:t>
                </a:r>
              </a:p>
            </p:txBody>
          </p:sp>
        </p:grpSp>
        <p:grpSp>
          <p:nvGrpSpPr>
            <p:cNvPr id="11" name="Group 4" hidden="1"/>
            <p:cNvGrpSpPr>
              <a:grpSpLocks/>
            </p:cNvGrpSpPr>
            <p:nvPr/>
          </p:nvGrpSpPr>
          <p:grpSpPr bwMode="auto">
            <a:xfrm>
              <a:off x="2760346" y="3526562"/>
              <a:ext cx="1217854" cy="402878"/>
              <a:chOff x="2760346" y="3526562"/>
              <a:chExt cx="1217854" cy="402878"/>
            </a:xfrm>
          </p:grpSpPr>
          <p:grpSp>
            <p:nvGrpSpPr>
              <p:cNvPr id="12" name="Group 51" hidden="1"/>
              <p:cNvGrpSpPr>
                <a:grpSpLocks/>
              </p:cNvGrpSpPr>
              <p:nvPr/>
            </p:nvGrpSpPr>
            <p:grpSpPr bwMode="auto">
              <a:xfrm>
                <a:off x="2760346" y="3526562"/>
                <a:ext cx="408357" cy="402878"/>
                <a:chOff x="-7676253" y="7408088"/>
                <a:chExt cx="930761" cy="918515"/>
              </a:xfrm>
            </p:grpSpPr>
            <p:pic>
              <p:nvPicPr>
                <p:cNvPr id="47184" name="Picture 52"/>
                <p:cNvPicPr>
                  <a:picLocks noChangeAspect="1"/>
                </p:cNvPicPr>
                <p:nvPr/>
              </p:nvPicPr>
              <p:blipFill>
                <a:blip r:embed="rId8" cstate="print"/>
                <a:srcRect/>
                <a:stretch>
                  <a:fillRect/>
                </a:stretch>
              </p:blipFill>
              <p:spPr bwMode="black">
                <a:xfrm rot="2614426" flipH="1">
                  <a:off x="-7676253" y="7796578"/>
                  <a:ext cx="394552" cy="530025"/>
                </a:xfrm>
                <a:prstGeom prst="rect">
                  <a:avLst/>
                </a:prstGeom>
                <a:noFill/>
                <a:ln w="9525">
                  <a:noFill/>
                  <a:miter lim="800000"/>
                  <a:headEnd/>
                  <a:tailEnd/>
                </a:ln>
              </p:spPr>
            </p:pic>
            <p:sp>
              <p:nvSpPr>
                <p:cNvPr id="47185" name="Freeform 61"/>
                <p:cNvSpPr>
                  <a:spLocks/>
                </p:cNvSpPr>
                <p:nvPr/>
              </p:nvSpPr>
              <p:spPr bwMode="black">
                <a:xfrm rot="10800000">
                  <a:off x="-7312689" y="7408088"/>
                  <a:ext cx="567197" cy="820336"/>
                </a:xfrm>
                <a:custGeom>
                  <a:avLst/>
                  <a:gdLst>
                    <a:gd name="T0" fmla="*/ 251 w 277"/>
                    <a:gd name="T1" fmla="*/ 363 h 399"/>
                    <a:gd name="T2" fmla="*/ 243 w 277"/>
                    <a:gd name="T3" fmla="*/ 372 h 399"/>
                    <a:gd name="T4" fmla="*/ 35 w 277"/>
                    <a:gd name="T5" fmla="*/ 372 h 399"/>
                    <a:gd name="T6" fmla="*/ 27 w 277"/>
                    <a:gd name="T7" fmla="*/ 363 h 399"/>
                    <a:gd name="T8" fmla="*/ 27 w 277"/>
                    <a:gd name="T9" fmla="*/ 36 h 399"/>
                    <a:gd name="T10" fmla="*/ 35 w 277"/>
                    <a:gd name="T11" fmla="*/ 27 h 399"/>
                    <a:gd name="T12" fmla="*/ 243 w 277"/>
                    <a:gd name="T13" fmla="*/ 27 h 399"/>
                    <a:gd name="T14" fmla="*/ 251 w 277"/>
                    <a:gd name="T15" fmla="*/ 36 h 399"/>
                    <a:gd name="T16" fmla="*/ 251 w 277"/>
                    <a:gd name="T17" fmla="*/ 108 h 399"/>
                    <a:gd name="T18" fmla="*/ 277 w 277"/>
                    <a:gd name="T19" fmla="*/ 84 h 399"/>
                    <a:gd name="T20" fmla="*/ 277 w 277"/>
                    <a:gd name="T21" fmla="*/ 10 h 399"/>
                    <a:gd name="T22" fmla="*/ 267 w 277"/>
                    <a:gd name="T23" fmla="*/ 0 h 399"/>
                    <a:gd name="T24" fmla="*/ 11 w 277"/>
                    <a:gd name="T25" fmla="*/ 0 h 399"/>
                    <a:gd name="T26" fmla="*/ 0 w 277"/>
                    <a:gd name="T27" fmla="*/ 10 h 399"/>
                    <a:gd name="T28" fmla="*/ 0 w 277"/>
                    <a:gd name="T29" fmla="*/ 389 h 399"/>
                    <a:gd name="T30" fmla="*/ 11 w 277"/>
                    <a:gd name="T31" fmla="*/ 399 h 399"/>
                    <a:gd name="T32" fmla="*/ 267 w 277"/>
                    <a:gd name="T33" fmla="*/ 399 h 399"/>
                    <a:gd name="T34" fmla="*/ 277 w 277"/>
                    <a:gd name="T35" fmla="*/ 389 h 399"/>
                    <a:gd name="T36" fmla="*/ 277 w 277"/>
                    <a:gd name="T37" fmla="*/ 168 h 399"/>
                    <a:gd name="T38" fmla="*/ 251 w 277"/>
                    <a:gd name="T39" fmla="*/ 191 h 399"/>
                    <a:gd name="T40" fmla="*/ 251 w 277"/>
                    <a:gd name="T41" fmla="*/ 363 h 39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7"/>
                    <a:gd name="T64" fmla="*/ 0 h 399"/>
                    <a:gd name="T65" fmla="*/ 277 w 277"/>
                    <a:gd name="T66" fmla="*/ 399 h 39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ln w="9525">
                  <a:noFill/>
                  <a:miter lim="800000"/>
                  <a:headEnd/>
                  <a:tailEnd/>
                </a:ln>
              </p:spPr>
              <p:txBody>
                <a:bodyPr/>
                <a:lstStyle/>
                <a:p>
                  <a:pPr defTabSz="914324" fontAlgn="base">
                    <a:spcBef>
                      <a:spcPct val="0"/>
                    </a:spcBef>
                    <a:spcAft>
                      <a:spcPct val="0"/>
                    </a:spcAft>
                  </a:pPr>
                  <a:endParaRPr lang="en-US" sz="900">
                    <a:solidFill>
                      <a:srgbClr val="FFFFFF"/>
                    </a:solidFill>
                    <a:latin typeface="Arial" charset="0"/>
                    <a:ea typeface="ＭＳ Ｐゴシック" pitchFamily="-103" charset="-128"/>
                  </a:endParaRPr>
                </a:p>
              </p:txBody>
            </p:sp>
          </p:grpSp>
          <p:sp>
            <p:nvSpPr>
              <p:cNvPr id="47182" name="Freeform 20" hidden="1"/>
              <p:cNvSpPr>
                <a:spLocks noEditPoints="1"/>
              </p:cNvSpPr>
              <p:nvPr/>
            </p:nvSpPr>
            <p:spPr bwMode="black">
              <a:xfrm>
                <a:off x="3226514" y="3533122"/>
                <a:ext cx="508115" cy="353260"/>
              </a:xfrm>
              <a:custGeom>
                <a:avLst/>
                <a:gdLst>
                  <a:gd name="T0" fmla="*/ 774 w 844"/>
                  <a:gd name="T1" fmla="*/ 456 h 588"/>
                  <a:gd name="T2" fmla="*/ 774 w 844"/>
                  <a:gd name="T3" fmla="*/ 36 h 588"/>
                  <a:gd name="T4" fmla="*/ 737 w 844"/>
                  <a:gd name="T5" fmla="*/ 0 h 588"/>
                  <a:gd name="T6" fmla="*/ 107 w 844"/>
                  <a:gd name="T7" fmla="*/ 0 h 588"/>
                  <a:gd name="T8" fmla="*/ 71 w 844"/>
                  <a:gd name="T9" fmla="*/ 36 h 588"/>
                  <a:gd name="T10" fmla="*/ 71 w 844"/>
                  <a:gd name="T11" fmla="*/ 456 h 588"/>
                  <a:gd name="T12" fmla="*/ 0 w 844"/>
                  <a:gd name="T13" fmla="*/ 544 h 588"/>
                  <a:gd name="T14" fmla="*/ 44 w 844"/>
                  <a:gd name="T15" fmla="*/ 588 h 588"/>
                  <a:gd name="T16" fmla="*/ 800 w 844"/>
                  <a:gd name="T17" fmla="*/ 588 h 588"/>
                  <a:gd name="T18" fmla="*/ 844 w 844"/>
                  <a:gd name="T19" fmla="*/ 544 h 588"/>
                  <a:gd name="T20" fmla="*/ 774 w 844"/>
                  <a:gd name="T21" fmla="*/ 456 h 588"/>
                  <a:gd name="T22" fmla="*/ 481 w 844"/>
                  <a:gd name="T23" fmla="*/ 554 h 588"/>
                  <a:gd name="T24" fmla="*/ 350 w 844"/>
                  <a:gd name="T25" fmla="*/ 554 h 588"/>
                  <a:gd name="T26" fmla="*/ 337 w 844"/>
                  <a:gd name="T27" fmla="*/ 547 h 588"/>
                  <a:gd name="T28" fmla="*/ 352 w 844"/>
                  <a:gd name="T29" fmla="*/ 519 h 588"/>
                  <a:gd name="T30" fmla="*/ 363 w 844"/>
                  <a:gd name="T31" fmla="*/ 514 h 588"/>
                  <a:gd name="T32" fmla="*/ 468 w 844"/>
                  <a:gd name="T33" fmla="*/ 514 h 588"/>
                  <a:gd name="T34" fmla="*/ 478 w 844"/>
                  <a:gd name="T35" fmla="*/ 519 h 588"/>
                  <a:gd name="T36" fmla="*/ 494 w 844"/>
                  <a:gd name="T37" fmla="*/ 547 h 588"/>
                  <a:gd name="T38" fmla="*/ 481 w 844"/>
                  <a:gd name="T39" fmla="*/ 554 h 588"/>
                  <a:gd name="T40" fmla="*/ 748 w 844"/>
                  <a:gd name="T41" fmla="*/ 456 h 588"/>
                  <a:gd name="T42" fmla="*/ 99 w 844"/>
                  <a:gd name="T43" fmla="*/ 456 h 588"/>
                  <a:gd name="T44" fmla="*/ 99 w 844"/>
                  <a:gd name="T45" fmla="*/ 42 h 588"/>
                  <a:gd name="T46" fmla="*/ 117 w 844"/>
                  <a:gd name="T47" fmla="*/ 24 h 588"/>
                  <a:gd name="T48" fmla="*/ 730 w 844"/>
                  <a:gd name="T49" fmla="*/ 24 h 588"/>
                  <a:gd name="T50" fmla="*/ 748 w 844"/>
                  <a:gd name="T51" fmla="*/ 42 h 588"/>
                  <a:gd name="T52" fmla="*/ 748 w 844"/>
                  <a:gd name="T53" fmla="*/ 456 h 58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844"/>
                  <a:gd name="T82" fmla="*/ 0 h 588"/>
                  <a:gd name="T83" fmla="*/ 844 w 844"/>
                  <a:gd name="T84" fmla="*/ 588 h 58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ln w="9525">
                <a:noFill/>
                <a:miter lim="800000"/>
                <a:headEnd/>
                <a:tailEnd/>
              </a:ln>
            </p:spPr>
            <p:txBody>
              <a:bodyPr lIns="82305" tIns="41153" rIns="82305" bIns="41153"/>
              <a:lstStyle/>
              <a:p>
                <a:pPr defTabSz="914324" fontAlgn="base">
                  <a:spcBef>
                    <a:spcPct val="0"/>
                  </a:spcBef>
                  <a:spcAft>
                    <a:spcPct val="0"/>
                  </a:spcAft>
                </a:pPr>
                <a:endParaRPr lang="en-US" sz="900">
                  <a:solidFill>
                    <a:srgbClr val="FFFFFF"/>
                  </a:solidFill>
                  <a:latin typeface="Arial" charset="0"/>
                  <a:ea typeface="ＭＳ Ｐゴシック" pitchFamily="-103" charset="-128"/>
                </a:endParaRPr>
              </a:p>
            </p:txBody>
          </p:sp>
          <p:pic>
            <p:nvPicPr>
              <p:cNvPr id="47183" name="Picture 60" hidden="1"/>
              <p:cNvPicPr>
                <a:picLocks noChangeAspect="1"/>
              </p:cNvPicPr>
              <p:nvPr/>
            </p:nvPicPr>
            <p:blipFill>
              <a:blip r:embed="rId9" cstate="print"/>
              <a:srcRect/>
              <a:stretch>
                <a:fillRect/>
              </a:stretch>
            </p:blipFill>
            <p:spPr bwMode="black">
              <a:xfrm>
                <a:off x="3794285" y="3533121"/>
                <a:ext cx="183915" cy="353259"/>
              </a:xfrm>
              <a:prstGeom prst="rect">
                <a:avLst/>
              </a:prstGeom>
              <a:noFill/>
              <a:ln w="9525">
                <a:noFill/>
                <a:miter lim="800000"/>
                <a:headEnd/>
                <a:tailEnd/>
              </a:ln>
            </p:spPr>
          </p:pic>
        </p:grpSp>
      </p:grpSp>
      <p:grpSp>
        <p:nvGrpSpPr>
          <p:cNvPr id="13" name="Apps Copy"/>
          <p:cNvGrpSpPr>
            <a:grpSpLocks/>
          </p:cNvGrpSpPr>
          <p:nvPr/>
        </p:nvGrpSpPr>
        <p:grpSpPr bwMode="auto">
          <a:xfrm>
            <a:off x="3297695" y="2522857"/>
            <a:ext cx="2354074" cy="1956390"/>
            <a:chOff x="2309075" y="1321955"/>
            <a:chExt cx="2353982" cy="1956390"/>
          </a:xfrm>
        </p:grpSpPr>
        <p:grpSp>
          <p:nvGrpSpPr>
            <p:cNvPr id="14" name="Group 88"/>
            <p:cNvGrpSpPr>
              <a:grpSpLocks/>
            </p:cNvGrpSpPr>
            <p:nvPr/>
          </p:nvGrpSpPr>
          <p:grpSpPr bwMode="auto">
            <a:xfrm>
              <a:off x="2309075" y="1321955"/>
              <a:ext cx="2353982" cy="1608728"/>
              <a:chOff x="2032692" y="1055255"/>
              <a:chExt cx="2467323" cy="1608728"/>
            </a:xfrm>
          </p:grpSpPr>
          <p:sp>
            <p:nvSpPr>
              <p:cNvPr id="47177" name="TextBox 90"/>
              <p:cNvSpPr txBox="1">
                <a:spLocks noChangeArrowheads="1"/>
              </p:cNvSpPr>
              <p:nvPr/>
            </p:nvSpPr>
            <p:spPr bwMode="auto">
              <a:xfrm>
                <a:off x="2032692" y="1929167"/>
                <a:ext cx="2290688" cy="734816"/>
              </a:xfrm>
              <a:prstGeom prst="rect">
                <a:avLst/>
              </a:prstGeom>
              <a:noFill/>
              <a:ln w="9525">
                <a:noFill/>
                <a:miter lim="800000"/>
                <a:headEnd/>
                <a:tailEnd/>
              </a:ln>
            </p:spPr>
            <p:txBody>
              <a:bodyPr wrap="square" lIns="0" tIns="0" rIns="0" bIns="0">
                <a:spAutoFit/>
              </a:bodyPr>
              <a:lstStyle/>
              <a:p>
                <a:pPr algn="ctr" defTabSz="914324" fontAlgn="base">
                  <a:spcBef>
                    <a:spcPts val="600"/>
                  </a:spcBef>
                  <a:spcAft>
                    <a:spcPct val="0"/>
                  </a:spcAft>
                  <a:buClr>
                    <a:srgbClr val="FFFFFF"/>
                  </a:buClr>
                </a:pPr>
                <a:r>
                  <a:rPr lang="en-US" dirty="0">
                    <a:solidFill>
                      <a:srgbClr val="FFFFFF"/>
                    </a:solidFill>
                    <a:latin typeface="Segoe UI Light" pitchFamily="-84" charset="0"/>
                    <a:ea typeface="ＭＳ Ｐゴシック" pitchFamily="-103" charset="-128"/>
                    <a:cs typeface="Segoe UI" pitchFamily="-84" charset="-52"/>
                  </a:rPr>
                  <a:t>Application</a:t>
                </a:r>
                <a:br>
                  <a:rPr lang="en-US" dirty="0">
                    <a:solidFill>
                      <a:srgbClr val="FFFFFF"/>
                    </a:solidFill>
                    <a:latin typeface="Segoe UI Light" pitchFamily="-84" charset="0"/>
                    <a:ea typeface="ＭＳ Ｐゴシック" pitchFamily="-103" charset="-128"/>
                    <a:cs typeface="Segoe UI" pitchFamily="-84" charset="-52"/>
                  </a:rPr>
                </a:br>
                <a:r>
                  <a:rPr lang="en-US" dirty="0">
                    <a:solidFill>
                      <a:srgbClr val="FFFFFF"/>
                    </a:solidFill>
                    <a:latin typeface="Segoe UI Light" pitchFamily="-84" charset="0"/>
                    <a:ea typeface="ＭＳ Ｐゴシック" pitchFamily="-103" charset="-128"/>
                    <a:cs typeface="Segoe UI" pitchFamily="-84" charset="-52"/>
                  </a:rPr>
                  <a:t>Virtualization (App-V)</a:t>
                </a:r>
              </a:p>
              <a:p>
                <a:pPr algn="ctr" defTabSz="914324" fontAlgn="base">
                  <a:spcBef>
                    <a:spcPts val="600"/>
                  </a:spcBef>
                  <a:spcAft>
                    <a:spcPct val="0"/>
                  </a:spcAft>
                  <a:buClr>
                    <a:srgbClr val="FFFFFF"/>
                  </a:buClr>
                </a:pPr>
                <a:r>
                  <a:rPr lang="en-US" dirty="0">
                    <a:solidFill>
                      <a:srgbClr val="FFFFFF"/>
                    </a:solidFill>
                    <a:latin typeface="Segoe UI Light" pitchFamily="-84" charset="0"/>
                    <a:ea typeface="ＭＳ Ｐゴシック" pitchFamily="-103" charset="-128"/>
                    <a:cs typeface="Segoe UI" pitchFamily="-84" charset="-52"/>
                  </a:rPr>
                  <a:t>RemoteApp</a:t>
                </a:r>
              </a:p>
            </p:txBody>
          </p:sp>
          <p:sp>
            <p:nvSpPr>
              <p:cNvPr id="47178" name="TextBox 58"/>
              <p:cNvSpPr txBox="1">
                <a:spLocks noChangeArrowheads="1"/>
              </p:cNvSpPr>
              <p:nvPr/>
            </p:nvSpPr>
            <p:spPr bwMode="auto">
              <a:xfrm>
                <a:off x="2042084" y="1055255"/>
                <a:ext cx="2457931" cy="492443"/>
              </a:xfrm>
              <a:prstGeom prst="rect">
                <a:avLst/>
              </a:prstGeom>
              <a:noFill/>
              <a:ln w="9525">
                <a:noFill/>
                <a:miter lim="800000"/>
                <a:headEnd/>
                <a:tailEnd/>
              </a:ln>
            </p:spPr>
            <p:txBody>
              <a:bodyPr wrap="square" lIns="0" tIns="0" rIns="0" bIns="0">
                <a:spAutoFit/>
              </a:bodyPr>
              <a:lstStyle/>
              <a:p>
                <a:pPr algn="ctr" defTabSz="914324" fontAlgn="base">
                  <a:spcBef>
                    <a:spcPct val="0"/>
                  </a:spcBef>
                  <a:spcAft>
                    <a:spcPct val="0"/>
                  </a:spcAft>
                </a:pPr>
                <a:r>
                  <a:rPr lang="en-US" sz="1600" i="1" dirty="0">
                    <a:solidFill>
                      <a:srgbClr val="FFFFFF">
                        <a:lumMod val="65000"/>
                      </a:srgbClr>
                    </a:solidFill>
                    <a:ea typeface="Segoe UI" pitchFamily="34" charset="0"/>
                    <a:cs typeface="Segoe UI" pitchFamily="34" charset="0"/>
                  </a:rPr>
                  <a:t>Virtually Any Application, Anywhere</a:t>
                </a:r>
              </a:p>
            </p:txBody>
          </p:sp>
        </p:grpSp>
        <p:grpSp>
          <p:nvGrpSpPr>
            <p:cNvPr id="15" name="Group 65" hidden="1"/>
            <p:cNvGrpSpPr>
              <a:grpSpLocks/>
            </p:cNvGrpSpPr>
            <p:nvPr/>
          </p:nvGrpSpPr>
          <p:grpSpPr bwMode="auto">
            <a:xfrm>
              <a:off x="3187386" y="2761877"/>
              <a:ext cx="663098" cy="516468"/>
              <a:chOff x="-2359897" y="1686711"/>
              <a:chExt cx="1379347" cy="1074739"/>
            </a:xfrm>
          </p:grpSpPr>
          <p:sp>
            <p:nvSpPr>
              <p:cNvPr id="47129" name="Freeform 161"/>
              <p:cNvSpPr>
                <a:spLocks/>
              </p:cNvSpPr>
              <p:nvPr/>
            </p:nvSpPr>
            <p:spPr bwMode="black">
              <a:xfrm>
                <a:off x="-2180534" y="1978813"/>
                <a:ext cx="57142" cy="49212"/>
              </a:xfrm>
              <a:custGeom>
                <a:avLst/>
                <a:gdLst>
                  <a:gd name="T0" fmla="*/ 57150 w 36"/>
                  <a:gd name="T1" fmla="*/ 23813 h 31"/>
                  <a:gd name="T2" fmla="*/ 44450 w 36"/>
                  <a:gd name="T3" fmla="*/ 0 h 31"/>
                  <a:gd name="T4" fmla="*/ 0 w 36"/>
                  <a:gd name="T5" fmla="*/ 25400 h 31"/>
                  <a:gd name="T6" fmla="*/ 12700 w 36"/>
                  <a:gd name="T7" fmla="*/ 49213 h 31"/>
                  <a:gd name="T8" fmla="*/ 57150 w 36"/>
                  <a:gd name="T9" fmla="*/ 23813 h 31"/>
                  <a:gd name="T10" fmla="*/ 0 60000 65536"/>
                  <a:gd name="T11" fmla="*/ 0 60000 65536"/>
                  <a:gd name="T12" fmla="*/ 0 60000 65536"/>
                  <a:gd name="T13" fmla="*/ 0 60000 65536"/>
                  <a:gd name="T14" fmla="*/ 0 60000 65536"/>
                  <a:gd name="T15" fmla="*/ 0 w 36"/>
                  <a:gd name="T16" fmla="*/ 0 h 31"/>
                  <a:gd name="T17" fmla="*/ 36 w 36"/>
                  <a:gd name="T18" fmla="*/ 31 h 31"/>
                </a:gdLst>
                <a:ahLst/>
                <a:cxnLst>
                  <a:cxn ang="T10">
                    <a:pos x="T0" y="T1"/>
                  </a:cxn>
                  <a:cxn ang="T11">
                    <a:pos x="T2" y="T3"/>
                  </a:cxn>
                  <a:cxn ang="T12">
                    <a:pos x="T4" y="T5"/>
                  </a:cxn>
                  <a:cxn ang="T13">
                    <a:pos x="T6" y="T7"/>
                  </a:cxn>
                  <a:cxn ang="T14">
                    <a:pos x="T8" y="T9"/>
                  </a:cxn>
                </a:cxnLst>
                <a:rect l="T15" t="T16" r="T17" b="T18"/>
                <a:pathLst>
                  <a:path w="36" h="31">
                    <a:moveTo>
                      <a:pt x="36" y="15"/>
                    </a:moveTo>
                    <a:lnTo>
                      <a:pt x="28" y="0"/>
                    </a:lnTo>
                    <a:lnTo>
                      <a:pt x="0" y="16"/>
                    </a:lnTo>
                    <a:lnTo>
                      <a:pt x="8" y="31"/>
                    </a:lnTo>
                    <a:lnTo>
                      <a:pt x="36" y="15"/>
                    </a:lnTo>
                    <a:close/>
                  </a:path>
                </a:pathLst>
              </a:custGeom>
              <a:solidFill>
                <a:srgbClr val="FFFFFF"/>
              </a:solidFill>
              <a:ln w="9525">
                <a:noFill/>
                <a:miter lim="800000"/>
                <a:headEnd/>
                <a:tailEnd/>
              </a:ln>
            </p:spPr>
            <p:txBody>
              <a:bodyPr/>
              <a:lstStyle/>
              <a:p>
                <a:pPr defTabSz="914324" fontAlgn="base">
                  <a:spcBef>
                    <a:spcPct val="0"/>
                  </a:spcBef>
                  <a:spcAft>
                    <a:spcPct val="0"/>
                  </a:spcAft>
                </a:pPr>
                <a:endParaRPr lang="en-US" sz="1600">
                  <a:solidFill>
                    <a:srgbClr val="FFFFFF"/>
                  </a:solidFill>
                  <a:latin typeface="Arial" charset="0"/>
                  <a:ea typeface="ＭＳ Ｐゴシック" pitchFamily="-103" charset="-128"/>
                </a:endParaRPr>
              </a:p>
            </p:txBody>
          </p:sp>
          <p:sp>
            <p:nvSpPr>
              <p:cNvPr id="47130" name="Freeform 162"/>
              <p:cNvSpPr>
                <a:spLocks/>
              </p:cNvSpPr>
              <p:nvPr/>
            </p:nvSpPr>
            <p:spPr bwMode="black">
              <a:xfrm>
                <a:off x="-1831334" y="1788313"/>
                <a:ext cx="57142" cy="47624"/>
              </a:xfrm>
              <a:custGeom>
                <a:avLst/>
                <a:gdLst>
                  <a:gd name="T0" fmla="*/ 57150 w 36"/>
                  <a:gd name="T1" fmla="*/ 22225 h 30"/>
                  <a:gd name="T2" fmla="*/ 44450 w 36"/>
                  <a:gd name="T3" fmla="*/ 0 h 30"/>
                  <a:gd name="T4" fmla="*/ 0 w 36"/>
                  <a:gd name="T5" fmla="*/ 23813 h 30"/>
                  <a:gd name="T6" fmla="*/ 12700 w 36"/>
                  <a:gd name="T7" fmla="*/ 47625 h 30"/>
                  <a:gd name="T8" fmla="*/ 57150 w 36"/>
                  <a:gd name="T9" fmla="*/ 22225 h 30"/>
                  <a:gd name="T10" fmla="*/ 0 60000 65536"/>
                  <a:gd name="T11" fmla="*/ 0 60000 65536"/>
                  <a:gd name="T12" fmla="*/ 0 60000 65536"/>
                  <a:gd name="T13" fmla="*/ 0 60000 65536"/>
                  <a:gd name="T14" fmla="*/ 0 60000 65536"/>
                  <a:gd name="T15" fmla="*/ 0 w 36"/>
                  <a:gd name="T16" fmla="*/ 0 h 30"/>
                  <a:gd name="T17" fmla="*/ 36 w 36"/>
                  <a:gd name="T18" fmla="*/ 30 h 30"/>
                </a:gdLst>
                <a:ahLst/>
                <a:cxnLst>
                  <a:cxn ang="T10">
                    <a:pos x="T0" y="T1"/>
                  </a:cxn>
                  <a:cxn ang="T11">
                    <a:pos x="T2" y="T3"/>
                  </a:cxn>
                  <a:cxn ang="T12">
                    <a:pos x="T4" y="T5"/>
                  </a:cxn>
                  <a:cxn ang="T13">
                    <a:pos x="T6" y="T7"/>
                  </a:cxn>
                  <a:cxn ang="T14">
                    <a:pos x="T8" y="T9"/>
                  </a:cxn>
                </a:cxnLst>
                <a:rect l="T15" t="T16" r="T17" b="T18"/>
                <a:pathLst>
                  <a:path w="36" h="30">
                    <a:moveTo>
                      <a:pt x="36" y="14"/>
                    </a:moveTo>
                    <a:lnTo>
                      <a:pt x="28" y="0"/>
                    </a:lnTo>
                    <a:lnTo>
                      <a:pt x="0" y="15"/>
                    </a:lnTo>
                    <a:lnTo>
                      <a:pt x="8" y="30"/>
                    </a:lnTo>
                    <a:lnTo>
                      <a:pt x="36" y="14"/>
                    </a:lnTo>
                    <a:close/>
                  </a:path>
                </a:pathLst>
              </a:custGeom>
              <a:solidFill>
                <a:srgbClr val="FFFFFF"/>
              </a:solidFill>
              <a:ln w="9525">
                <a:noFill/>
                <a:miter lim="800000"/>
                <a:headEnd/>
                <a:tailEnd/>
              </a:ln>
            </p:spPr>
            <p:txBody>
              <a:bodyPr/>
              <a:lstStyle/>
              <a:p>
                <a:pPr defTabSz="914324" fontAlgn="base">
                  <a:spcBef>
                    <a:spcPct val="0"/>
                  </a:spcBef>
                  <a:spcAft>
                    <a:spcPct val="0"/>
                  </a:spcAft>
                </a:pPr>
                <a:endParaRPr lang="en-US" sz="1600">
                  <a:solidFill>
                    <a:srgbClr val="FFFFFF"/>
                  </a:solidFill>
                  <a:latin typeface="Arial" charset="0"/>
                  <a:ea typeface="ＭＳ Ｐゴシック" pitchFamily="-103" charset="-128"/>
                </a:endParaRPr>
              </a:p>
            </p:txBody>
          </p:sp>
          <p:sp>
            <p:nvSpPr>
              <p:cNvPr id="47131" name="Freeform 163"/>
              <p:cNvSpPr>
                <a:spLocks/>
              </p:cNvSpPr>
              <p:nvPr/>
            </p:nvSpPr>
            <p:spPr bwMode="black">
              <a:xfrm>
                <a:off x="-2040853" y="1902613"/>
                <a:ext cx="57142" cy="47624"/>
              </a:xfrm>
              <a:custGeom>
                <a:avLst/>
                <a:gdLst>
                  <a:gd name="T0" fmla="*/ 57150 w 36"/>
                  <a:gd name="T1" fmla="*/ 23813 h 30"/>
                  <a:gd name="T2" fmla="*/ 44450 w 36"/>
                  <a:gd name="T3" fmla="*/ 0 h 30"/>
                  <a:gd name="T4" fmla="*/ 0 w 36"/>
                  <a:gd name="T5" fmla="*/ 25400 h 30"/>
                  <a:gd name="T6" fmla="*/ 12700 w 36"/>
                  <a:gd name="T7" fmla="*/ 47625 h 30"/>
                  <a:gd name="T8" fmla="*/ 57150 w 36"/>
                  <a:gd name="T9" fmla="*/ 23813 h 30"/>
                  <a:gd name="T10" fmla="*/ 0 60000 65536"/>
                  <a:gd name="T11" fmla="*/ 0 60000 65536"/>
                  <a:gd name="T12" fmla="*/ 0 60000 65536"/>
                  <a:gd name="T13" fmla="*/ 0 60000 65536"/>
                  <a:gd name="T14" fmla="*/ 0 60000 65536"/>
                  <a:gd name="T15" fmla="*/ 0 w 36"/>
                  <a:gd name="T16" fmla="*/ 0 h 30"/>
                  <a:gd name="T17" fmla="*/ 36 w 36"/>
                  <a:gd name="T18" fmla="*/ 30 h 30"/>
                </a:gdLst>
                <a:ahLst/>
                <a:cxnLst>
                  <a:cxn ang="T10">
                    <a:pos x="T0" y="T1"/>
                  </a:cxn>
                  <a:cxn ang="T11">
                    <a:pos x="T2" y="T3"/>
                  </a:cxn>
                  <a:cxn ang="T12">
                    <a:pos x="T4" y="T5"/>
                  </a:cxn>
                  <a:cxn ang="T13">
                    <a:pos x="T6" y="T7"/>
                  </a:cxn>
                  <a:cxn ang="T14">
                    <a:pos x="T8" y="T9"/>
                  </a:cxn>
                </a:cxnLst>
                <a:rect l="T15" t="T16" r="T17" b="T18"/>
                <a:pathLst>
                  <a:path w="36" h="30">
                    <a:moveTo>
                      <a:pt x="36" y="15"/>
                    </a:moveTo>
                    <a:lnTo>
                      <a:pt x="28" y="0"/>
                    </a:lnTo>
                    <a:lnTo>
                      <a:pt x="0" y="16"/>
                    </a:lnTo>
                    <a:lnTo>
                      <a:pt x="8" y="30"/>
                    </a:lnTo>
                    <a:lnTo>
                      <a:pt x="36" y="15"/>
                    </a:lnTo>
                    <a:close/>
                  </a:path>
                </a:pathLst>
              </a:custGeom>
              <a:solidFill>
                <a:srgbClr val="FFFFFF"/>
              </a:solidFill>
              <a:ln w="9525">
                <a:noFill/>
                <a:miter lim="800000"/>
                <a:headEnd/>
                <a:tailEnd/>
              </a:ln>
            </p:spPr>
            <p:txBody>
              <a:bodyPr/>
              <a:lstStyle/>
              <a:p>
                <a:pPr defTabSz="914324" fontAlgn="base">
                  <a:spcBef>
                    <a:spcPct val="0"/>
                  </a:spcBef>
                  <a:spcAft>
                    <a:spcPct val="0"/>
                  </a:spcAft>
                </a:pPr>
                <a:endParaRPr lang="en-US" sz="1600">
                  <a:solidFill>
                    <a:srgbClr val="FFFFFF"/>
                  </a:solidFill>
                  <a:latin typeface="Arial" charset="0"/>
                  <a:ea typeface="ＭＳ Ｐゴシック" pitchFamily="-103" charset="-128"/>
                </a:endParaRPr>
              </a:p>
            </p:txBody>
          </p:sp>
          <p:sp>
            <p:nvSpPr>
              <p:cNvPr id="47132" name="Freeform 164"/>
              <p:cNvSpPr>
                <a:spLocks/>
              </p:cNvSpPr>
              <p:nvPr/>
            </p:nvSpPr>
            <p:spPr bwMode="black">
              <a:xfrm>
                <a:off x="-1971013" y="1864513"/>
                <a:ext cx="57142" cy="47624"/>
              </a:xfrm>
              <a:custGeom>
                <a:avLst/>
                <a:gdLst>
                  <a:gd name="T0" fmla="*/ 57150 w 36"/>
                  <a:gd name="T1" fmla="*/ 23813 h 30"/>
                  <a:gd name="T2" fmla="*/ 44450 w 36"/>
                  <a:gd name="T3" fmla="*/ 0 h 30"/>
                  <a:gd name="T4" fmla="*/ 0 w 36"/>
                  <a:gd name="T5" fmla="*/ 23813 h 30"/>
                  <a:gd name="T6" fmla="*/ 12700 w 36"/>
                  <a:gd name="T7" fmla="*/ 47625 h 30"/>
                  <a:gd name="T8" fmla="*/ 57150 w 36"/>
                  <a:gd name="T9" fmla="*/ 23813 h 30"/>
                  <a:gd name="T10" fmla="*/ 0 60000 65536"/>
                  <a:gd name="T11" fmla="*/ 0 60000 65536"/>
                  <a:gd name="T12" fmla="*/ 0 60000 65536"/>
                  <a:gd name="T13" fmla="*/ 0 60000 65536"/>
                  <a:gd name="T14" fmla="*/ 0 60000 65536"/>
                  <a:gd name="T15" fmla="*/ 0 w 36"/>
                  <a:gd name="T16" fmla="*/ 0 h 30"/>
                  <a:gd name="T17" fmla="*/ 36 w 36"/>
                  <a:gd name="T18" fmla="*/ 30 h 30"/>
                </a:gdLst>
                <a:ahLst/>
                <a:cxnLst>
                  <a:cxn ang="T10">
                    <a:pos x="T0" y="T1"/>
                  </a:cxn>
                  <a:cxn ang="T11">
                    <a:pos x="T2" y="T3"/>
                  </a:cxn>
                  <a:cxn ang="T12">
                    <a:pos x="T4" y="T5"/>
                  </a:cxn>
                  <a:cxn ang="T13">
                    <a:pos x="T6" y="T7"/>
                  </a:cxn>
                  <a:cxn ang="T14">
                    <a:pos x="T8" y="T9"/>
                  </a:cxn>
                </a:cxnLst>
                <a:rect l="T15" t="T16" r="T17" b="T18"/>
                <a:pathLst>
                  <a:path w="36" h="30">
                    <a:moveTo>
                      <a:pt x="36" y="15"/>
                    </a:moveTo>
                    <a:lnTo>
                      <a:pt x="28" y="0"/>
                    </a:lnTo>
                    <a:lnTo>
                      <a:pt x="0" y="15"/>
                    </a:lnTo>
                    <a:lnTo>
                      <a:pt x="8" y="30"/>
                    </a:lnTo>
                    <a:lnTo>
                      <a:pt x="36" y="15"/>
                    </a:lnTo>
                    <a:close/>
                  </a:path>
                </a:pathLst>
              </a:custGeom>
              <a:solidFill>
                <a:srgbClr val="FFFFFF"/>
              </a:solidFill>
              <a:ln w="9525">
                <a:noFill/>
                <a:miter lim="800000"/>
                <a:headEnd/>
                <a:tailEnd/>
              </a:ln>
            </p:spPr>
            <p:txBody>
              <a:bodyPr/>
              <a:lstStyle/>
              <a:p>
                <a:pPr defTabSz="914324" fontAlgn="base">
                  <a:spcBef>
                    <a:spcPct val="0"/>
                  </a:spcBef>
                  <a:spcAft>
                    <a:spcPct val="0"/>
                  </a:spcAft>
                </a:pPr>
                <a:endParaRPr lang="en-US" sz="1600">
                  <a:solidFill>
                    <a:srgbClr val="FFFFFF"/>
                  </a:solidFill>
                  <a:latin typeface="Arial" charset="0"/>
                  <a:ea typeface="ＭＳ Ｐゴシック" pitchFamily="-103" charset="-128"/>
                </a:endParaRPr>
              </a:p>
            </p:txBody>
          </p:sp>
          <p:sp>
            <p:nvSpPr>
              <p:cNvPr id="47133" name="Freeform 165"/>
              <p:cNvSpPr>
                <a:spLocks/>
              </p:cNvSpPr>
              <p:nvPr/>
            </p:nvSpPr>
            <p:spPr bwMode="black">
              <a:xfrm>
                <a:off x="-1901174" y="1826413"/>
                <a:ext cx="58729" cy="47624"/>
              </a:xfrm>
              <a:custGeom>
                <a:avLst/>
                <a:gdLst>
                  <a:gd name="T0" fmla="*/ 58738 w 37"/>
                  <a:gd name="T1" fmla="*/ 22225 h 30"/>
                  <a:gd name="T2" fmla="*/ 46038 w 37"/>
                  <a:gd name="T3" fmla="*/ 0 h 30"/>
                  <a:gd name="T4" fmla="*/ 0 w 37"/>
                  <a:gd name="T5" fmla="*/ 23813 h 30"/>
                  <a:gd name="T6" fmla="*/ 12700 w 37"/>
                  <a:gd name="T7" fmla="*/ 47625 h 30"/>
                  <a:gd name="T8" fmla="*/ 58738 w 37"/>
                  <a:gd name="T9" fmla="*/ 22225 h 30"/>
                  <a:gd name="T10" fmla="*/ 0 60000 65536"/>
                  <a:gd name="T11" fmla="*/ 0 60000 65536"/>
                  <a:gd name="T12" fmla="*/ 0 60000 65536"/>
                  <a:gd name="T13" fmla="*/ 0 60000 65536"/>
                  <a:gd name="T14" fmla="*/ 0 60000 65536"/>
                  <a:gd name="T15" fmla="*/ 0 w 37"/>
                  <a:gd name="T16" fmla="*/ 0 h 30"/>
                  <a:gd name="T17" fmla="*/ 37 w 37"/>
                  <a:gd name="T18" fmla="*/ 30 h 30"/>
                </a:gdLst>
                <a:ahLst/>
                <a:cxnLst>
                  <a:cxn ang="T10">
                    <a:pos x="T0" y="T1"/>
                  </a:cxn>
                  <a:cxn ang="T11">
                    <a:pos x="T2" y="T3"/>
                  </a:cxn>
                  <a:cxn ang="T12">
                    <a:pos x="T4" y="T5"/>
                  </a:cxn>
                  <a:cxn ang="T13">
                    <a:pos x="T6" y="T7"/>
                  </a:cxn>
                  <a:cxn ang="T14">
                    <a:pos x="T8" y="T9"/>
                  </a:cxn>
                </a:cxnLst>
                <a:rect l="T15" t="T16" r="T17" b="T18"/>
                <a:pathLst>
                  <a:path w="37" h="30">
                    <a:moveTo>
                      <a:pt x="37" y="14"/>
                    </a:moveTo>
                    <a:lnTo>
                      <a:pt x="29" y="0"/>
                    </a:lnTo>
                    <a:lnTo>
                      <a:pt x="0" y="15"/>
                    </a:lnTo>
                    <a:lnTo>
                      <a:pt x="8" y="30"/>
                    </a:lnTo>
                    <a:lnTo>
                      <a:pt x="37" y="14"/>
                    </a:lnTo>
                    <a:close/>
                  </a:path>
                </a:pathLst>
              </a:custGeom>
              <a:solidFill>
                <a:srgbClr val="FFFFFF"/>
              </a:solidFill>
              <a:ln w="9525">
                <a:noFill/>
                <a:miter lim="800000"/>
                <a:headEnd/>
                <a:tailEnd/>
              </a:ln>
            </p:spPr>
            <p:txBody>
              <a:bodyPr/>
              <a:lstStyle/>
              <a:p>
                <a:pPr defTabSz="914324" fontAlgn="base">
                  <a:spcBef>
                    <a:spcPct val="0"/>
                  </a:spcBef>
                  <a:spcAft>
                    <a:spcPct val="0"/>
                  </a:spcAft>
                </a:pPr>
                <a:endParaRPr lang="en-US" sz="1600">
                  <a:solidFill>
                    <a:srgbClr val="FFFFFF"/>
                  </a:solidFill>
                  <a:latin typeface="Arial" charset="0"/>
                  <a:ea typeface="ＭＳ Ｐゴシック" pitchFamily="-103" charset="-128"/>
                </a:endParaRPr>
              </a:p>
            </p:txBody>
          </p:sp>
          <p:sp>
            <p:nvSpPr>
              <p:cNvPr id="47134" name="Freeform 166"/>
              <p:cNvSpPr>
                <a:spLocks/>
              </p:cNvSpPr>
              <p:nvPr/>
            </p:nvSpPr>
            <p:spPr bwMode="black">
              <a:xfrm>
                <a:off x="-2358310" y="2288375"/>
                <a:ext cx="31746" cy="52388"/>
              </a:xfrm>
              <a:custGeom>
                <a:avLst/>
                <a:gdLst>
                  <a:gd name="T0" fmla="*/ 30976 w 41"/>
                  <a:gd name="T1" fmla="*/ 44272 h 71"/>
                  <a:gd name="T2" fmla="*/ 27878 w 41"/>
                  <a:gd name="T3" fmla="*/ 5165 h 71"/>
                  <a:gd name="T4" fmla="*/ 27104 w 41"/>
                  <a:gd name="T5" fmla="*/ 0 h 71"/>
                  <a:gd name="T6" fmla="*/ 0 w 41"/>
                  <a:gd name="T7" fmla="*/ 1476 h 71"/>
                  <a:gd name="T8" fmla="*/ 0 w 41"/>
                  <a:gd name="T9" fmla="*/ 7379 h 71"/>
                  <a:gd name="T10" fmla="*/ 3872 w 41"/>
                  <a:gd name="T11" fmla="*/ 47223 h 71"/>
                  <a:gd name="T12" fmla="*/ 4646 w 41"/>
                  <a:gd name="T13" fmla="*/ 52388 h 71"/>
                  <a:gd name="T14" fmla="*/ 31750 w 41"/>
                  <a:gd name="T15" fmla="*/ 49437 h 71"/>
                  <a:gd name="T16" fmla="*/ 30976 w 41"/>
                  <a:gd name="T17" fmla="*/ 44272 h 7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1"/>
                  <a:gd name="T28" fmla="*/ 0 h 71"/>
                  <a:gd name="T29" fmla="*/ 41 w 41"/>
                  <a:gd name="T30" fmla="*/ 71 h 7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solidFill>
                <a:srgbClr val="FFFFFF"/>
              </a:solidFill>
              <a:ln w="9525">
                <a:noFill/>
                <a:miter lim="800000"/>
                <a:headEnd/>
                <a:tailEnd/>
              </a:ln>
            </p:spPr>
            <p:txBody>
              <a:bodyPr/>
              <a:lstStyle/>
              <a:p>
                <a:pPr defTabSz="914324" fontAlgn="base">
                  <a:spcBef>
                    <a:spcPct val="0"/>
                  </a:spcBef>
                  <a:spcAft>
                    <a:spcPct val="0"/>
                  </a:spcAft>
                </a:pPr>
                <a:endParaRPr lang="en-US" sz="1600">
                  <a:solidFill>
                    <a:srgbClr val="FFFFFF"/>
                  </a:solidFill>
                  <a:latin typeface="Arial" charset="0"/>
                  <a:ea typeface="ＭＳ Ｐゴシック" pitchFamily="-103" charset="-128"/>
                </a:endParaRPr>
              </a:p>
            </p:txBody>
          </p:sp>
          <p:sp>
            <p:nvSpPr>
              <p:cNvPr id="47135" name="Freeform 167"/>
              <p:cNvSpPr>
                <a:spLocks/>
              </p:cNvSpPr>
              <p:nvPr/>
            </p:nvSpPr>
            <p:spPr bwMode="black">
              <a:xfrm>
                <a:off x="-2253549" y="2013737"/>
                <a:ext cx="57142" cy="31751"/>
              </a:xfrm>
              <a:custGeom>
                <a:avLst/>
                <a:gdLst>
                  <a:gd name="T0" fmla="*/ 37853 w 77"/>
                  <a:gd name="T1" fmla="*/ 31750 h 44"/>
                  <a:gd name="T2" fmla="*/ 51955 w 77"/>
                  <a:gd name="T3" fmla="*/ 29585 h 44"/>
                  <a:gd name="T4" fmla="*/ 57150 w 77"/>
                  <a:gd name="T5" fmla="*/ 28142 h 44"/>
                  <a:gd name="T6" fmla="*/ 49728 w 77"/>
                  <a:gd name="T7" fmla="*/ 3608 h 44"/>
                  <a:gd name="T8" fmla="*/ 44532 w 77"/>
                  <a:gd name="T9" fmla="*/ 5773 h 44"/>
                  <a:gd name="T10" fmla="*/ 13360 w 77"/>
                  <a:gd name="T11" fmla="*/ 1443 h 44"/>
                  <a:gd name="T12" fmla="*/ 8164 w 77"/>
                  <a:gd name="T13" fmla="*/ 0 h 44"/>
                  <a:gd name="T14" fmla="*/ 0 w 77"/>
                  <a:gd name="T15" fmla="*/ 23813 h 44"/>
                  <a:gd name="T16" fmla="*/ 5195 w 77"/>
                  <a:gd name="T17" fmla="*/ 25977 h 44"/>
                  <a:gd name="T18" fmla="*/ 37853 w 77"/>
                  <a:gd name="T19" fmla="*/ 31750 h 4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7"/>
                  <a:gd name="T31" fmla="*/ 0 h 44"/>
                  <a:gd name="T32" fmla="*/ 77 w 77"/>
                  <a:gd name="T33" fmla="*/ 44 h 4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solidFill>
                <a:srgbClr val="FFFFFF"/>
              </a:solidFill>
              <a:ln w="9525">
                <a:noFill/>
                <a:miter lim="800000"/>
                <a:headEnd/>
                <a:tailEnd/>
              </a:ln>
            </p:spPr>
            <p:txBody>
              <a:bodyPr/>
              <a:lstStyle/>
              <a:p>
                <a:pPr defTabSz="914324" fontAlgn="base">
                  <a:spcBef>
                    <a:spcPct val="0"/>
                  </a:spcBef>
                  <a:spcAft>
                    <a:spcPct val="0"/>
                  </a:spcAft>
                </a:pPr>
                <a:endParaRPr lang="en-US" sz="1600">
                  <a:solidFill>
                    <a:srgbClr val="FFFFFF"/>
                  </a:solidFill>
                  <a:latin typeface="Arial" charset="0"/>
                  <a:ea typeface="ＭＳ Ｐゴシック" pitchFamily="-103" charset="-128"/>
                </a:endParaRPr>
              </a:p>
            </p:txBody>
          </p:sp>
          <p:sp>
            <p:nvSpPr>
              <p:cNvPr id="47136" name="Freeform 168"/>
              <p:cNvSpPr>
                <a:spLocks/>
              </p:cNvSpPr>
              <p:nvPr/>
            </p:nvSpPr>
            <p:spPr bwMode="black">
              <a:xfrm>
                <a:off x="-2359897" y="2209000"/>
                <a:ext cx="26985" cy="52388"/>
              </a:xfrm>
              <a:custGeom>
                <a:avLst/>
                <a:gdLst>
                  <a:gd name="T0" fmla="*/ 26988 w 36"/>
                  <a:gd name="T1" fmla="*/ 45652 h 70"/>
                  <a:gd name="T2" fmla="*/ 26238 w 36"/>
                  <a:gd name="T3" fmla="*/ 16465 h 70"/>
                  <a:gd name="T4" fmla="*/ 26238 w 36"/>
                  <a:gd name="T5" fmla="*/ 5987 h 70"/>
                  <a:gd name="T6" fmla="*/ 26238 w 36"/>
                  <a:gd name="T7" fmla="*/ 748 h 70"/>
                  <a:gd name="T8" fmla="*/ 0 w 36"/>
                  <a:gd name="T9" fmla="*/ 0 h 70"/>
                  <a:gd name="T10" fmla="*/ 0 w 36"/>
                  <a:gd name="T11" fmla="*/ 5987 h 70"/>
                  <a:gd name="T12" fmla="*/ 0 w 36"/>
                  <a:gd name="T13" fmla="*/ 16465 h 70"/>
                  <a:gd name="T14" fmla="*/ 750 w 36"/>
                  <a:gd name="T15" fmla="*/ 46401 h 70"/>
                  <a:gd name="T16" fmla="*/ 750 w 36"/>
                  <a:gd name="T17" fmla="*/ 52388 h 70"/>
                  <a:gd name="T18" fmla="*/ 26988 w 36"/>
                  <a:gd name="T19" fmla="*/ 50891 h 70"/>
                  <a:gd name="T20" fmla="*/ 26988 w 36"/>
                  <a:gd name="T21" fmla="*/ 45652 h 7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6"/>
                  <a:gd name="T34" fmla="*/ 0 h 70"/>
                  <a:gd name="T35" fmla="*/ 36 w 36"/>
                  <a:gd name="T36" fmla="*/ 70 h 7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solidFill>
                <a:srgbClr val="FFFFFF"/>
              </a:solidFill>
              <a:ln w="9525">
                <a:noFill/>
                <a:miter lim="800000"/>
                <a:headEnd/>
                <a:tailEnd/>
              </a:ln>
            </p:spPr>
            <p:txBody>
              <a:bodyPr/>
              <a:lstStyle/>
              <a:p>
                <a:pPr defTabSz="914324" fontAlgn="base">
                  <a:spcBef>
                    <a:spcPct val="0"/>
                  </a:spcBef>
                  <a:spcAft>
                    <a:spcPct val="0"/>
                  </a:spcAft>
                </a:pPr>
                <a:endParaRPr lang="en-US" sz="1600">
                  <a:solidFill>
                    <a:srgbClr val="FFFFFF"/>
                  </a:solidFill>
                  <a:latin typeface="Arial" charset="0"/>
                  <a:ea typeface="ＭＳ Ｐゴシック" pitchFamily="-103" charset="-128"/>
                </a:endParaRPr>
              </a:p>
            </p:txBody>
          </p:sp>
          <p:sp>
            <p:nvSpPr>
              <p:cNvPr id="47137" name="Freeform 169"/>
              <p:cNvSpPr>
                <a:spLocks/>
              </p:cNvSpPr>
              <p:nvPr/>
            </p:nvSpPr>
            <p:spPr bwMode="black">
              <a:xfrm>
                <a:off x="-1761493" y="1750213"/>
                <a:ext cx="58729" cy="47624"/>
              </a:xfrm>
              <a:custGeom>
                <a:avLst/>
                <a:gdLst>
                  <a:gd name="T0" fmla="*/ 58738 w 37"/>
                  <a:gd name="T1" fmla="*/ 22225 h 30"/>
                  <a:gd name="T2" fmla="*/ 46038 w 37"/>
                  <a:gd name="T3" fmla="*/ 0 h 30"/>
                  <a:gd name="T4" fmla="*/ 0 w 37"/>
                  <a:gd name="T5" fmla="*/ 23813 h 30"/>
                  <a:gd name="T6" fmla="*/ 12700 w 37"/>
                  <a:gd name="T7" fmla="*/ 47625 h 30"/>
                  <a:gd name="T8" fmla="*/ 58738 w 37"/>
                  <a:gd name="T9" fmla="*/ 22225 h 30"/>
                  <a:gd name="T10" fmla="*/ 0 60000 65536"/>
                  <a:gd name="T11" fmla="*/ 0 60000 65536"/>
                  <a:gd name="T12" fmla="*/ 0 60000 65536"/>
                  <a:gd name="T13" fmla="*/ 0 60000 65536"/>
                  <a:gd name="T14" fmla="*/ 0 60000 65536"/>
                  <a:gd name="T15" fmla="*/ 0 w 37"/>
                  <a:gd name="T16" fmla="*/ 0 h 30"/>
                  <a:gd name="T17" fmla="*/ 37 w 37"/>
                  <a:gd name="T18" fmla="*/ 30 h 30"/>
                </a:gdLst>
                <a:ahLst/>
                <a:cxnLst>
                  <a:cxn ang="T10">
                    <a:pos x="T0" y="T1"/>
                  </a:cxn>
                  <a:cxn ang="T11">
                    <a:pos x="T2" y="T3"/>
                  </a:cxn>
                  <a:cxn ang="T12">
                    <a:pos x="T4" y="T5"/>
                  </a:cxn>
                  <a:cxn ang="T13">
                    <a:pos x="T6" y="T7"/>
                  </a:cxn>
                  <a:cxn ang="T14">
                    <a:pos x="T8" y="T9"/>
                  </a:cxn>
                </a:cxnLst>
                <a:rect l="T15" t="T16" r="T17" b="T18"/>
                <a:pathLst>
                  <a:path w="37" h="30">
                    <a:moveTo>
                      <a:pt x="37" y="14"/>
                    </a:moveTo>
                    <a:lnTo>
                      <a:pt x="29" y="0"/>
                    </a:lnTo>
                    <a:lnTo>
                      <a:pt x="0" y="15"/>
                    </a:lnTo>
                    <a:lnTo>
                      <a:pt x="8" y="30"/>
                    </a:lnTo>
                    <a:lnTo>
                      <a:pt x="37" y="14"/>
                    </a:lnTo>
                    <a:close/>
                  </a:path>
                </a:pathLst>
              </a:custGeom>
              <a:solidFill>
                <a:srgbClr val="FFFFFF"/>
              </a:solidFill>
              <a:ln w="9525">
                <a:noFill/>
                <a:miter lim="800000"/>
                <a:headEnd/>
                <a:tailEnd/>
              </a:ln>
            </p:spPr>
            <p:txBody>
              <a:bodyPr/>
              <a:lstStyle/>
              <a:p>
                <a:pPr defTabSz="914324" fontAlgn="base">
                  <a:spcBef>
                    <a:spcPct val="0"/>
                  </a:spcBef>
                  <a:spcAft>
                    <a:spcPct val="0"/>
                  </a:spcAft>
                </a:pPr>
                <a:endParaRPr lang="en-US" sz="1600">
                  <a:solidFill>
                    <a:srgbClr val="FFFFFF"/>
                  </a:solidFill>
                  <a:latin typeface="Arial" charset="0"/>
                  <a:ea typeface="ＭＳ Ｐゴシック" pitchFamily="-103" charset="-128"/>
                </a:endParaRPr>
              </a:p>
            </p:txBody>
          </p:sp>
          <p:sp>
            <p:nvSpPr>
              <p:cNvPr id="47138" name="Freeform 170"/>
              <p:cNvSpPr>
                <a:spLocks/>
              </p:cNvSpPr>
              <p:nvPr/>
            </p:nvSpPr>
            <p:spPr bwMode="black">
              <a:xfrm>
                <a:off x="-2358310" y="2129625"/>
                <a:ext cx="34920" cy="53975"/>
              </a:xfrm>
              <a:custGeom>
                <a:avLst/>
                <a:gdLst>
                  <a:gd name="T0" fmla="*/ 27333 w 46"/>
                  <a:gd name="T1" fmla="*/ 47978 h 72"/>
                  <a:gd name="T2" fmla="*/ 28092 w 46"/>
                  <a:gd name="T3" fmla="*/ 45729 h 72"/>
                  <a:gd name="T4" fmla="*/ 34925 w 46"/>
                  <a:gd name="T5" fmla="*/ 15743 h 72"/>
                  <a:gd name="T6" fmla="*/ 34925 w 46"/>
                  <a:gd name="T7" fmla="*/ 5248 h 72"/>
                  <a:gd name="T8" fmla="*/ 34166 w 46"/>
                  <a:gd name="T9" fmla="*/ 0 h 72"/>
                  <a:gd name="T10" fmla="*/ 7592 w 46"/>
                  <a:gd name="T11" fmla="*/ 1499 h 72"/>
                  <a:gd name="T12" fmla="*/ 8352 w 46"/>
                  <a:gd name="T13" fmla="*/ 7497 h 72"/>
                  <a:gd name="T14" fmla="*/ 8352 w 46"/>
                  <a:gd name="T15" fmla="*/ 15743 h 72"/>
                  <a:gd name="T16" fmla="*/ 6074 w 46"/>
                  <a:gd name="T17" fmla="*/ 31485 h 72"/>
                  <a:gd name="T18" fmla="*/ 1518 w 46"/>
                  <a:gd name="T19" fmla="*/ 41981 h 72"/>
                  <a:gd name="T20" fmla="*/ 0 w 46"/>
                  <a:gd name="T21" fmla="*/ 47228 h 72"/>
                  <a:gd name="T22" fmla="*/ 25814 w 46"/>
                  <a:gd name="T23" fmla="*/ 53975 h 72"/>
                  <a:gd name="T24" fmla="*/ 27333 w 46"/>
                  <a:gd name="T25" fmla="*/ 47978 h 7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6"/>
                  <a:gd name="T40" fmla="*/ 0 h 72"/>
                  <a:gd name="T41" fmla="*/ 46 w 46"/>
                  <a:gd name="T42" fmla="*/ 72 h 7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solidFill>
                <a:srgbClr val="FFFFFF"/>
              </a:solidFill>
              <a:ln w="9525">
                <a:noFill/>
                <a:miter lim="800000"/>
                <a:headEnd/>
                <a:tailEnd/>
              </a:ln>
            </p:spPr>
            <p:txBody>
              <a:bodyPr/>
              <a:lstStyle/>
              <a:p>
                <a:pPr defTabSz="914324" fontAlgn="base">
                  <a:spcBef>
                    <a:spcPct val="0"/>
                  </a:spcBef>
                  <a:spcAft>
                    <a:spcPct val="0"/>
                  </a:spcAft>
                </a:pPr>
                <a:endParaRPr lang="en-US" sz="1600">
                  <a:solidFill>
                    <a:srgbClr val="FFFFFF"/>
                  </a:solidFill>
                  <a:latin typeface="Arial" charset="0"/>
                  <a:ea typeface="ＭＳ Ｐゴシック" pitchFamily="-103" charset="-128"/>
                </a:endParaRPr>
              </a:p>
            </p:txBody>
          </p:sp>
          <p:sp>
            <p:nvSpPr>
              <p:cNvPr id="47139" name="Freeform 171"/>
              <p:cNvSpPr>
                <a:spLocks/>
              </p:cNvSpPr>
              <p:nvPr/>
            </p:nvSpPr>
            <p:spPr bwMode="black">
              <a:xfrm>
                <a:off x="-2358310" y="2047076"/>
                <a:ext cx="34920" cy="57151"/>
              </a:xfrm>
              <a:custGeom>
                <a:avLst/>
                <a:gdLst>
                  <a:gd name="T0" fmla="*/ 3796 w 46"/>
                  <a:gd name="T1" fmla="*/ 57150 h 76"/>
                  <a:gd name="T2" fmla="*/ 29610 w 46"/>
                  <a:gd name="T3" fmla="*/ 52638 h 76"/>
                  <a:gd name="T4" fmla="*/ 28851 w 46"/>
                  <a:gd name="T5" fmla="*/ 47374 h 76"/>
                  <a:gd name="T6" fmla="*/ 27333 w 46"/>
                  <a:gd name="T7" fmla="*/ 34591 h 76"/>
                  <a:gd name="T8" fmla="*/ 32647 w 46"/>
                  <a:gd name="T9" fmla="*/ 15791 h 76"/>
                  <a:gd name="T10" fmla="*/ 34925 w 46"/>
                  <a:gd name="T11" fmla="*/ 10528 h 76"/>
                  <a:gd name="T12" fmla="*/ 9870 w 46"/>
                  <a:gd name="T13" fmla="*/ 0 h 76"/>
                  <a:gd name="T14" fmla="*/ 8352 w 46"/>
                  <a:gd name="T15" fmla="*/ 5264 h 76"/>
                  <a:gd name="T16" fmla="*/ 0 w 46"/>
                  <a:gd name="T17" fmla="*/ 34591 h 76"/>
                  <a:gd name="T18" fmla="*/ 2278 w 46"/>
                  <a:gd name="T19" fmla="*/ 51886 h 76"/>
                  <a:gd name="T20" fmla="*/ 3796 w 46"/>
                  <a:gd name="T21" fmla="*/ 57150 h 7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6"/>
                  <a:gd name="T34" fmla="*/ 0 h 76"/>
                  <a:gd name="T35" fmla="*/ 46 w 46"/>
                  <a:gd name="T36" fmla="*/ 76 h 7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solidFill>
                <a:srgbClr val="FFFFFF"/>
              </a:solidFill>
              <a:ln w="9525">
                <a:noFill/>
                <a:miter lim="800000"/>
                <a:headEnd/>
                <a:tailEnd/>
              </a:ln>
            </p:spPr>
            <p:txBody>
              <a:bodyPr/>
              <a:lstStyle/>
              <a:p>
                <a:pPr defTabSz="914324" fontAlgn="base">
                  <a:spcBef>
                    <a:spcPct val="0"/>
                  </a:spcBef>
                  <a:spcAft>
                    <a:spcPct val="0"/>
                  </a:spcAft>
                </a:pPr>
                <a:endParaRPr lang="en-US" sz="1600">
                  <a:solidFill>
                    <a:srgbClr val="FFFFFF"/>
                  </a:solidFill>
                  <a:latin typeface="Arial" charset="0"/>
                  <a:ea typeface="ＭＳ Ｐゴシック" pitchFamily="-103" charset="-128"/>
                </a:endParaRPr>
              </a:p>
            </p:txBody>
          </p:sp>
          <p:sp>
            <p:nvSpPr>
              <p:cNvPr id="47140" name="Freeform 172"/>
              <p:cNvSpPr>
                <a:spLocks/>
              </p:cNvSpPr>
              <p:nvPr/>
            </p:nvSpPr>
            <p:spPr bwMode="black">
              <a:xfrm>
                <a:off x="-1324992" y="1842286"/>
                <a:ext cx="58729" cy="47624"/>
              </a:xfrm>
              <a:custGeom>
                <a:avLst/>
                <a:gdLst>
                  <a:gd name="T0" fmla="*/ 40430 w 77"/>
                  <a:gd name="T1" fmla="*/ 45393 h 64"/>
                  <a:gd name="T2" fmla="*/ 45770 w 77"/>
                  <a:gd name="T3" fmla="*/ 47625 h 64"/>
                  <a:gd name="T4" fmla="*/ 58738 w 77"/>
                  <a:gd name="T5" fmla="*/ 25301 h 64"/>
                  <a:gd name="T6" fmla="*/ 53398 w 77"/>
                  <a:gd name="T7" fmla="*/ 22324 h 64"/>
                  <a:gd name="T8" fmla="*/ 17545 w 77"/>
                  <a:gd name="T9" fmla="*/ 2977 h 64"/>
                  <a:gd name="T10" fmla="*/ 12968 w 77"/>
                  <a:gd name="T11" fmla="*/ 0 h 64"/>
                  <a:gd name="T12" fmla="*/ 0 w 77"/>
                  <a:gd name="T13" fmla="*/ 23068 h 64"/>
                  <a:gd name="T14" fmla="*/ 4577 w 77"/>
                  <a:gd name="T15" fmla="*/ 26045 h 64"/>
                  <a:gd name="T16" fmla="*/ 40430 w 77"/>
                  <a:gd name="T17" fmla="*/ 45393 h 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7"/>
                  <a:gd name="T28" fmla="*/ 0 h 64"/>
                  <a:gd name="T29" fmla="*/ 77 w 77"/>
                  <a:gd name="T30" fmla="*/ 64 h 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solidFill>
                <a:srgbClr val="FFFFFF"/>
              </a:solidFill>
              <a:ln w="9525">
                <a:noFill/>
                <a:miter lim="800000"/>
                <a:headEnd/>
                <a:tailEnd/>
              </a:ln>
            </p:spPr>
            <p:txBody>
              <a:bodyPr/>
              <a:lstStyle/>
              <a:p>
                <a:pPr defTabSz="914324" fontAlgn="base">
                  <a:spcBef>
                    <a:spcPct val="0"/>
                  </a:spcBef>
                  <a:spcAft>
                    <a:spcPct val="0"/>
                  </a:spcAft>
                </a:pPr>
                <a:endParaRPr lang="en-US" sz="1600">
                  <a:solidFill>
                    <a:srgbClr val="FFFFFF"/>
                  </a:solidFill>
                  <a:latin typeface="Arial" charset="0"/>
                  <a:ea typeface="ＭＳ Ｐゴシック" pitchFamily="-103" charset="-128"/>
                </a:endParaRPr>
              </a:p>
            </p:txBody>
          </p:sp>
          <p:sp>
            <p:nvSpPr>
              <p:cNvPr id="47141" name="Freeform 173"/>
              <p:cNvSpPr>
                <a:spLocks/>
              </p:cNvSpPr>
              <p:nvPr/>
            </p:nvSpPr>
            <p:spPr bwMode="black">
              <a:xfrm>
                <a:off x="-1118646" y="1964525"/>
                <a:ext cx="58729" cy="50800"/>
              </a:xfrm>
              <a:custGeom>
                <a:avLst/>
                <a:gdLst>
                  <a:gd name="T0" fmla="*/ 38904 w 77"/>
                  <a:gd name="T1" fmla="*/ 47767 h 67"/>
                  <a:gd name="T2" fmla="*/ 43481 w 77"/>
                  <a:gd name="T3" fmla="*/ 50800 h 67"/>
                  <a:gd name="T4" fmla="*/ 58738 w 77"/>
                  <a:gd name="T5" fmla="*/ 28812 h 67"/>
                  <a:gd name="T6" fmla="*/ 54161 w 77"/>
                  <a:gd name="T7" fmla="*/ 25779 h 67"/>
                  <a:gd name="T8" fmla="*/ 19834 w 77"/>
                  <a:gd name="T9" fmla="*/ 3033 h 67"/>
                  <a:gd name="T10" fmla="*/ 14494 w 77"/>
                  <a:gd name="T11" fmla="*/ 0 h 67"/>
                  <a:gd name="T12" fmla="*/ 0 w 77"/>
                  <a:gd name="T13" fmla="*/ 21988 h 67"/>
                  <a:gd name="T14" fmla="*/ 5340 w 77"/>
                  <a:gd name="T15" fmla="*/ 25021 h 67"/>
                  <a:gd name="T16" fmla="*/ 38904 w 77"/>
                  <a:gd name="T17" fmla="*/ 47767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7"/>
                  <a:gd name="T28" fmla="*/ 0 h 67"/>
                  <a:gd name="T29" fmla="*/ 77 w 77"/>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solidFill>
                <a:srgbClr val="FFFFFF"/>
              </a:solidFill>
              <a:ln w="9525">
                <a:noFill/>
                <a:miter lim="800000"/>
                <a:headEnd/>
                <a:tailEnd/>
              </a:ln>
            </p:spPr>
            <p:txBody>
              <a:bodyPr/>
              <a:lstStyle/>
              <a:p>
                <a:pPr defTabSz="914324" fontAlgn="base">
                  <a:spcBef>
                    <a:spcPct val="0"/>
                  </a:spcBef>
                  <a:spcAft>
                    <a:spcPct val="0"/>
                  </a:spcAft>
                </a:pPr>
                <a:endParaRPr lang="en-US" sz="1600">
                  <a:solidFill>
                    <a:srgbClr val="FFFFFF"/>
                  </a:solidFill>
                  <a:latin typeface="Arial" charset="0"/>
                  <a:ea typeface="ＭＳ Ｐゴシック" pitchFamily="-103" charset="-128"/>
                </a:endParaRPr>
              </a:p>
            </p:txBody>
          </p:sp>
          <p:sp>
            <p:nvSpPr>
              <p:cNvPr id="47142" name="Freeform 174"/>
              <p:cNvSpPr>
                <a:spLocks/>
              </p:cNvSpPr>
              <p:nvPr/>
            </p:nvSpPr>
            <p:spPr bwMode="black">
              <a:xfrm>
                <a:off x="-1185310" y="1921662"/>
                <a:ext cx="57142" cy="49212"/>
              </a:xfrm>
              <a:custGeom>
                <a:avLst/>
                <a:gdLst>
                  <a:gd name="T0" fmla="*/ 38595 w 77"/>
                  <a:gd name="T1" fmla="*/ 46230 h 66"/>
                  <a:gd name="T2" fmla="*/ 43048 w 77"/>
                  <a:gd name="T3" fmla="*/ 49213 h 66"/>
                  <a:gd name="T4" fmla="*/ 57150 w 77"/>
                  <a:gd name="T5" fmla="*/ 26843 h 66"/>
                  <a:gd name="T6" fmla="*/ 51955 w 77"/>
                  <a:gd name="T7" fmla="*/ 23861 h 66"/>
                  <a:gd name="T8" fmla="*/ 17813 w 77"/>
                  <a:gd name="T9" fmla="*/ 2983 h 66"/>
                  <a:gd name="T10" fmla="*/ 13360 w 77"/>
                  <a:gd name="T11" fmla="*/ 0 h 66"/>
                  <a:gd name="T12" fmla="*/ 0 w 77"/>
                  <a:gd name="T13" fmla="*/ 23115 h 66"/>
                  <a:gd name="T14" fmla="*/ 4453 w 77"/>
                  <a:gd name="T15" fmla="*/ 26098 h 66"/>
                  <a:gd name="T16" fmla="*/ 38595 w 77"/>
                  <a:gd name="T17" fmla="*/ 46230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7"/>
                  <a:gd name="T28" fmla="*/ 0 h 66"/>
                  <a:gd name="T29" fmla="*/ 77 w 77"/>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solidFill>
                <a:srgbClr val="FFFFFF"/>
              </a:solidFill>
              <a:ln w="9525">
                <a:noFill/>
                <a:miter lim="800000"/>
                <a:headEnd/>
                <a:tailEnd/>
              </a:ln>
            </p:spPr>
            <p:txBody>
              <a:bodyPr/>
              <a:lstStyle/>
              <a:p>
                <a:pPr defTabSz="914324" fontAlgn="base">
                  <a:spcBef>
                    <a:spcPct val="0"/>
                  </a:spcBef>
                  <a:spcAft>
                    <a:spcPct val="0"/>
                  </a:spcAft>
                </a:pPr>
                <a:endParaRPr lang="en-US" sz="1600">
                  <a:solidFill>
                    <a:srgbClr val="FFFFFF"/>
                  </a:solidFill>
                  <a:latin typeface="Arial" charset="0"/>
                  <a:ea typeface="ＭＳ Ｐゴシック" pitchFamily="-103" charset="-128"/>
                </a:endParaRPr>
              </a:p>
            </p:txBody>
          </p:sp>
          <p:sp>
            <p:nvSpPr>
              <p:cNvPr id="47143" name="Freeform 175"/>
              <p:cNvSpPr>
                <a:spLocks/>
              </p:cNvSpPr>
              <p:nvPr/>
            </p:nvSpPr>
            <p:spPr bwMode="black">
              <a:xfrm>
                <a:off x="-1013885" y="2081998"/>
                <a:ext cx="33333" cy="55563"/>
              </a:xfrm>
              <a:custGeom>
                <a:avLst/>
                <a:gdLst>
                  <a:gd name="T0" fmla="*/ 1515 w 44"/>
                  <a:gd name="T1" fmla="*/ 11417 h 73"/>
                  <a:gd name="T2" fmla="*/ 6819 w 44"/>
                  <a:gd name="T3" fmla="*/ 49474 h 73"/>
                  <a:gd name="T4" fmla="*/ 6819 w 44"/>
                  <a:gd name="T5" fmla="*/ 55563 h 73"/>
                  <a:gd name="T6" fmla="*/ 33338 w 44"/>
                  <a:gd name="T7" fmla="*/ 53280 h 73"/>
                  <a:gd name="T8" fmla="*/ 33338 w 44"/>
                  <a:gd name="T9" fmla="*/ 47190 h 73"/>
                  <a:gd name="T10" fmla="*/ 27277 w 44"/>
                  <a:gd name="T11" fmla="*/ 5328 h 73"/>
                  <a:gd name="T12" fmla="*/ 26519 w 44"/>
                  <a:gd name="T13" fmla="*/ 0 h 73"/>
                  <a:gd name="T14" fmla="*/ 0 w 44"/>
                  <a:gd name="T15" fmla="*/ 5328 h 73"/>
                  <a:gd name="T16" fmla="*/ 1515 w 44"/>
                  <a:gd name="T17" fmla="*/ 11417 h 7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4"/>
                  <a:gd name="T28" fmla="*/ 0 h 73"/>
                  <a:gd name="T29" fmla="*/ 44 w 44"/>
                  <a:gd name="T30" fmla="*/ 73 h 7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solidFill>
                <a:srgbClr val="FFFFFF"/>
              </a:solidFill>
              <a:ln w="9525">
                <a:noFill/>
                <a:miter lim="800000"/>
                <a:headEnd/>
                <a:tailEnd/>
              </a:ln>
            </p:spPr>
            <p:txBody>
              <a:bodyPr/>
              <a:lstStyle/>
              <a:p>
                <a:pPr defTabSz="914324" fontAlgn="base">
                  <a:spcBef>
                    <a:spcPct val="0"/>
                  </a:spcBef>
                  <a:spcAft>
                    <a:spcPct val="0"/>
                  </a:spcAft>
                </a:pPr>
                <a:endParaRPr lang="en-US" sz="1600">
                  <a:solidFill>
                    <a:srgbClr val="FFFFFF"/>
                  </a:solidFill>
                  <a:latin typeface="Arial" charset="0"/>
                  <a:ea typeface="ＭＳ Ｐゴシック" pitchFamily="-103" charset="-128"/>
                </a:endParaRPr>
              </a:p>
            </p:txBody>
          </p:sp>
          <p:sp>
            <p:nvSpPr>
              <p:cNvPr id="47144" name="Freeform 176"/>
              <p:cNvSpPr>
                <a:spLocks/>
              </p:cNvSpPr>
              <p:nvPr/>
            </p:nvSpPr>
            <p:spPr bwMode="black">
              <a:xfrm>
                <a:off x="-1053567" y="2010561"/>
                <a:ext cx="55555" cy="52388"/>
              </a:xfrm>
              <a:custGeom>
                <a:avLst/>
                <a:gdLst>
                  <a:gd name="T0" fmla="*/ 28923 w 73"/>
                  <a:gd name="T1" fmla="*/ 47961 h 71"/>
                  <a:gd name="T2" fmla="*/ 31968 w 73"/>
                  <a:gd name="T3" fmla="*/ 52388 h 71"/>
                  <a:gd name="T4" fmla="*/ 55563 w 73"/>
                  <a:gd name="T5" fmla="*/ 40582 h 71"/>
                  <a:gd name="T6" fmla="*/ 52518 w 73"/>
                  <a:gd name="T7" fmla="*/ 35417 h 71"/>
                  <a:gd name="T8" fmla="*/ 21312 w 73"/>
                  <a:gd name="T9" fmla="*/ 3689 h 71"/>
                  <a:gd name="T10" fmla="*/ 16745 w 73"/>
                  <a:gd name="T11" fmla="*/ 0 h 71"/>
                  <a:gd name="T12" fmla="*/ 0 w 73"/>
                  <a:gd name="T13" fmla="*/ 20660 h 71"/>
                  <a:gd name="T14" fmla="*/ 4567 w 73"/>
                  <a:gd name="T15" fmla="*/ 24349 h 71"/>
                  <a:gd name="T16" fmla="*/ 28923 w 73"/>
                  <a:gd name="T17" fmla="*/ 47961 h 7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3"/>
                  <a:gd name="T28" fmla="*/ 0 h 71"/>
                  <a:gd name="T29" fmla="*/ 73 w 73"/>
                  <a:gd name="T30" fmla="*/ 71 h 7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solidFill>
                <a:srgbClr val="FFFFFF"/>
              </a:solidFill>
              <a:ln w="9525">
                <a:noFill/>
                <a:miter lim="800000"/>
                <a:headEnd/>
                <a:tailEnd/>
              </a:ln>
            </p:spPr>
            <p:txBody>
              <a:bodyPr/>
              <a:lstStyle/>
              <a:p>
                <a:pPr defTabSz="914324" fontAlgn="base">
                  <a:spcBef>
                    <a:spcPct val="0"/>
                  </a:spcBef>
                  <a:spcAft>
                    <a:spcPct val="0"/>
                  </a:spcAft>
                </a:pPr>
                <a:endParaRPr lang="en-US" sz="1600">
                  <a:solidFill>
                    <a:srgbClr val="FFFFFF"/>
                  </a:solidFill>
                  <a:latin typeface="Arial" charset="0"/>
                  <a:ea typeface="ＭＳ Ｐゴシック" pitchFamily="-103" charset="-128"/>
                </a:endParaRPr>
              </a:p>
            </p:txBody>
          </p:sp>
          <p:sp>
            <p:nvSpPr>
              <p:cNvPr id="47145" name="Freeform 177"/>
              <p:cNvSpPr>
                <a:spLocks/>
              </p:cNvSpPr>
              <p:nvPr/>
            </p:nvSpPr>
            <p:spPr bwMode="black">
              <a:xfrm>
                <a:off x="-1255151" y="1881974"/>
                <a:ext cx="58729" cy="47624"/>
              </a:xfrm>
              <a:custGeom>
                <a:avLst/>
                <a:gdLst>
                  <a:gd name="T0" fmla="*/ 39667 w 77"/>
                  <a:gd name="T1" fmla="*/ 44648 h 64"/>
                  <a:gd name="T2" fmla="*/ 45007 w 77"/>
                  <a:gd name="T3" fmla="*/ 47625 h 64"/>
                  <a:gd name="T4" fmla="*/ 58738 w 77"/>
                  <a:gd name="T5" fmla="*/ 25301 h 64"/>
                  <a:gd name="T6" fmla="*/ 53398 w 77"/>
                  <a:gd name="T7" fmla="*/ 22324 h 64"/>
                  <a:gd name="T8" fmla="*/ 18308 w 77"/>
                  <a:gd name="T9" fmla="*/ 2232 h 64"/>
                  <a:gd name="T10" fmla="*/ 12968 w 77"/>
                  <a:gd name="T11" fmla="*/ 0 h 64"/>
                  <a:gd name="T12" fmla="*/ 0 w 77"/>
                  <a:gd name="T13" fmla="*/ 22324 h 64"/>
                  <a:gd name="T14" fmla="*/ 4577 w 77"/>
                  <a:gd name="T15" fmla="*/ 25301 h 64"/>
                  <a:gd name="T16" fmla="*/ 39667 w 77"/>
                  <a:gd name="T17" fmla="*/ 44648 h 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7"/>
                  <a:gd name="T28" fmla="*/ 0 h 64"/>
                  <a:gd name="T29" fmla="*/ 77 w 77"/>
                  <a:gd name="T30" fmla="*/ 64 h 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solidFill>
                <a:srgbClr val="FFFFFF"/>
              </a:solidFill>
              <a:ln w="9525">
                <a:noFill/>
                <a:miter lim="800000"/>
                <a:headEnd/>
                <a:tailEnd/>
              </a:ln>
            </p:spPr>
            <p:txBody>
              <a:bodyPr/>
              <a:lstStyle/>
              <a:p>
                <a:pPr defTabSz="914324" fontAlgn="base">
                  <a:spcBef>
                    <a:spcPct val="0"/>
                  </a:spcBef>
                  <a:spcAft>
                    <a:spcPct val="0"/>
                  </a:spcAft>
                </a:pPr>
                <a:endParaRPr lang="en-US" sz="1600">
                  <a:solidFill>
                    <a:srgbClr val="FFFFFF"/>
                  </a:solidFill>
                  <a:latin typeface="Arial" charset="0"/>
                  <a:ea typeface="ＭＳ Ｐゴシック" pitchFamily="-103" charset="-128"/>
                </a:endParaRPr>
              </a:p>
            </p:txBody>
          </p:sp>
          <p:sp>
            <p:nvSpPr>
              <p:cNvPr id="47146" name="Freeform 178"/>
              <p:cNvSpPr>
                <a:spLocks/>
              </p:cNvSpPr>
              <p:nvPr/>
            </p:nvSpPr>
            <p:spPr bwMode="black">
              <a:xfrm>
                <a:off x="-1548797" y="1715286"/>
                <a:ext cx="58729" cy="49212"/>
              </a:xfrm>
              <a:custGeom>
                <a:avLst/>
                <a:gdLst>
                  <a:gd name="T0" fmla="*/ 39667 w 77"/>
                  <a:gd name="T1" fmla="*/ 46230 h 66"/>
                  <a:gd name="T2" fmla="*/ 45007 w 77"/>
                  <a:gd name="T3" fmla="*/ 49213 h 66"/>
                  <a:gd name="T4" fmla="*/ 58738 w 77"/>
                  <a:gd name="T5" fmla="*/ 26843 h 66"/>
                  <a:gd name="T6" fmla="*/ 54161 w 77"/>
                  <a:gd name="T7" fmla="*/ 23861 h 66"/>
                  <a:gd name="T8" fmla="*/ 18308 w 77"/>
                  <a:gd name="T9" fmla="*/ 2983 h 66"/>
                  <a:gd name="T10" fmla="*/ 13731 w 77"/>
                  <a:gd name="T11" fmla="*/ 0 h 66"/>
                  <a:gd name="T12" fmla="*/ 0 w 77"/>
                  <a:gd name="T13" fmla="*/ 23115 h 66"/>
                  <a:gd name="T14" fmla="*/ 5340 w 77"/>
                  <a:gd name="T15" fmla="*/ 26098 h 66"/>
                  <a:gd name="T16" fmla="*/ 39667 w 77"/>
                  <a:gd name="T17" fmla="*/ 46230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7"/>
                  <a:gd name="T28" fmla="*/ 0 h 66"/>
                  <a:gd name="T29" fmla="*/ 77 w 77"/>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solidFill>
                <a:srgbClr val="FFFFFF"/>
              </a:solidFill>
              <a:ln w="9525">
                <a:noFill/>
                <a:miter lim="800000"/>
                <a:headEnd/>
                <a:tailEnd/>
              </a:ln>
            </p:spPr>
            <p:txBody>
              <a:bodyPr/>
              <a:lstStyle/>
              <a:p>
                <a:pPr defTabSz="914324" fontAlgn="base">
                  <a:spcBef>
                    <a:spcPct val="0"/>
                  </a:spcBef>
                  <a:spcAft>
                    <a:spcPct val="0"/>
                  </a:spcAft>
                </a:pPr>
                <a:endParaRPr lang="en-US" sz="1600">
                  <a:solidFill>
                    <a:srgbClr val="FFFFFF"/>
                  </a:solidFill>
                  <a:latin typeface="Arial" charset="0"/>
                  <a:ea typeface="ＭＳ Ｐゴシック" pitchFamily="-103" charset="-128"/>
                </a:endParaRPr>
              </a:p>
            </p:txBody>
          </p:sp>
          <p:sp>
            <p:nvSpPr>
              <p:cNvPr id="47147" name="Freeform 179"/>
              <p:cNvSpPr>
                <a:spLocks/>
              </p:cNvSpPr>
              <p:nvPr/>
            </p:nvSpPr>
            <p:spPr bwMode="black">
              <a:xfrm>
                <a:off x="-1615463" y="1686711"/>
                <a:ext cx="53968" cy="39688"/>
              </a:xfrm>
              <a:custGeom>
                <a:avLst/>
                <a:gdLst>
                  <a:gd name="T0" fmla="*/ 7394 w 73"/>
                  <a:gd name="T1" fmla="*/ 26713 h 52"/>
                  <a:gd name="T2" fmla="*/ 11091 w 73"/>
                  <a:gd name="T3" fmla="*/ 26713 h 52"/>
                  <a:gd name="T4" fmla="*/ 37709 w 73"/>
                  <a:gd name="T5" fmla="*/ 36635 h 52"/>
                  <a:gd name="T6" fmla="*/ 42884 w 73"/>
                  <a:gd name="T7" fmla="*/ 39688 h 52"/>
                  <a:gd name="T8" fmla="*/ 53975 w 73"/>
                  <a:gd name="T9" fmla="*/ 15265 h 52"/>
                  <a:gd name="T10" fmla="*/ 48799 w 73"/>
                  <a:gd name="T11" fmla="*/ 12975 h 52"/>
                  <a:gd name="T12" fmla="*/ 14048 w 73"/>
                  <a:gd name="T13" fmla="*/ 0 h 52"/>
                  <a:gd name="T14" fmla="*/ 7394 w 73"/>
                  <a:gd name="T15" fmla="*/ 0 h 52"/>
                  <a:gd name="T16" fmla="*/ 7394 w 73"/>
                  <a:gd name="T17" fmla="*/ 0 h 52"/>
                  <a:gd name="T18" fmla="*/ 0 w 73"/>
                  <a:gd name="T19" fmla="*/ 0 h 52"/>
                  <a:gd name="T20" fmla="*/ 739 w 73"/>
                  <a:gd name="T21" fmla="*/ 26713 h 52"/>
                  <a:gd name="T22" fmla="*/ 7394 w 73"/>
                  <a:gd name="T23" fmla="*/ 26713 h 5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3"/>
                  <a:gd name="T37" fmla="*/ 0 h 52"/>
                  <a:gd name="T38" fmla="*/ 73 w 73"/>
                  <a:gd name="T39" fmla="*/ 52 h 5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solidFill>
                <a:srgbClr val="FFFFFF"/>
              </a:solidFill>
              <a:ln w="9525">
                <a:noFill/>
                <a:miter lim="800000"/>
                <a:headEnd/>
                <a:tailEnd/>
              </a:ln>
            </p:spPr>
            <p:txBody>
              <a:bodyPr/>
              <a:lstStyle/>
              <a:p>
                <a:pPr defTabSz="914324" fontAlgn="base">
                  <a:spcBef>
                    <a:spcPct val="0"/>
                  </a:spcBef>
                  <a:spcAft>
                    <a:spcPct val="0"/>
                  </a:spcAft>
                </a:pPr>
                <a:endParaRPr lang="en-US" sz="1600">
                  <a:solidFill>
                    <a:srgbClr val="FFFFFF"/>
                  </a:solidFill>
                  <a:latin typeface="Arial" charset="0"/>
                  <a:ea typeface="ＭＳ Ｐゴシック" pitchFamily="-103" charset="-128"/>
                </a:endParaRPr>
              </a:p>
            </p:txBody>
          </p:sp>
          <p:sp>
            <p:nvSpPr>
              <p:cNvPr id="47148" name="Freeform 180"/>
              <p:cNvSpPr>
                <a:spLocks/>
              </p:cNvSpPr>
              <p:nvPr/>
            </p:nvSpPr>
            <p:spPr bwMode="black">
              <a:xfrm>
                <a:off x="-1693240" y="1707350"/>
                <a:ext cx="57142" cy="49212"/>
              </a:xfrm>
              <a:custGeom>
                <a:avLst/>
                <a:gdLst>
                  <a:gd name="T0" fmla="*/ 20303 w 76"/>
                  <a:gd name="T1" fmla="*/ 45485 h 66"/>
                  <a:gd name="T2" fmla="*/ 51886 w 76"/>
                  <a:gd name="T3" fmla="*/ 26098 h 66"/>
                  <a:gd name="T4" fmla="*/ 57150 w 76"/>
                  <a:gd name="T5" fmla="*/ 23115 h 66"/>
                  <a:gd name="T6" fmla="*/ 45118 w 76"/>
                  <a:gd name="T7" fmla="*/ 0 h 66"/>
                  <a:gd name="T8" fmla="*/ 39855 w 76"/>
                  <a:gd name="T9" fmla="*/ 2237 h 66"/>
                  <a:gd name="T10" fmla="*/ 4512 w 76"/>
                  <a:gd name="T11" fmla="*/ 24607 h 66"/>
                  <a:gd name="T12" fmla="*/ 0 w 76"/>
                  <a:gd name="T13" fmla="*/ 28335 h 66"/>
                  <a:gd name="T14" fmla="*/ 15791 w 76"/>
                  <a:gd name="T15" fmla="*/ 49213 h 66"/>
                  <a:gd name="T16" fmla="*/ 20303 w 76"/>
                  <a:gd name="T17" fmla="*/ 45485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6"/>
                  <a:gd name="T28" fmla="*/ 0 h 66"/>
                  <a:gd name="T29" fmla="*/ 76 w 76"/>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solidFill>
                <a:srgbClr val="FFFFFF"/>
              </a:solidFill>
              <a:ln w="9525">
                <a:noFill/>
                <a:miter lim="800000"/>
                <a:headEnd/>
                <a:tailEnd/>
              </a:ln>
            </p:spPr>
            <p:txBody>
              <a:bodyPr/>
              <a:lstStyle/>
              <a:p>
                <a:pPr defTabSz="914324" fontAlgn="base">
                  <a:spcBef>
                    <a:spcPct val="0"/>
                  </a:spcBef>
                  <a:spcAft>
                    <a:spcPct val="0"/>
                  </a:spcAft>
                </a:pPr>
                <a:endParaRPr lang="en-US" sz="1600">
                  <a:solidFill>
                    <a:srgbClr val="FFFFFF"/>
                  </a:solidFill>
                  <a:latin typeface="Arial" charset="0"/>
                  <a:ea typeface="ＭＳ Ｐゴシック" pitchFamily="-103" charset="-128"/>
                </a:endParaRPr>
              </a:p>
            </p:txBody>
          </p:sp>
          <p:sp>
            <p:nvSpPr>
              <p:cNvPr id="47149" name="Freeform 181"/>
              <p:cNvSpPr>
                <a:spLocks/>
              </p:cNvSpPr>
              <p:nvPr/>
            </p:nvSpPr>
            <p:spPr bwMode="black">
              <a:xfrm>
                <a:off x="-2344024" y="2359812"/>
                <a:ext cx="57142" cy="49212"/>
              </a:xfrm>
              <a:custGeom>
                <a:avLst/>
                <a:gdLst>
                  <a:gd name="T0" fmla="*/ 23311 w 76"/>
                  <a:gd name="T1" fmla="*/ 3673 h 67"/>
                  <a:gd name="T2" fmla="*/ 19551 w 76"/>
                  <a:gd name="T3" fmla="*/ 0 h 67"/>
                  <a:gd name="T4" fmla="*/ 0 w 76"/>
                  <a:gd name="T5" fmla="*/ 16894 h 67"/>
                  <a:gd name="T6" fmla="*/ 3760 w 76"/>
                  <a:gd name="T7" fmla="*/ 21301 h 67"/>
                  <a:gd name="T8" fmla="*/ 39855 w 76"/>
                  <a:gd name="T9" fmla="*/ 47009 h 67"/>
                  <a:gd name="T10" fmla="*/ 44366 w 76"/>
                  <a:gd name="T11" fmla="*/ 49213 h 67"/>
                  <a:gd name="T12" fmla="*/ 57150 w 76"/>
                  <a:gd name="T13" fmla="*/ 26443 h 67"/>
                  <a:gd name="T14" fmla="*/ 51886 w 76"/>
                  <a:gd name="T15" fmla="*/ 24239 h 67"/>
                  <a:gd name="T16" fmla="*/ 23311 w 76"/>
                  <a:gd name="T17" fmla="*/ 3673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6"/>
                  <a:gd name="T28" fmla="*/ 0 h 67"/>
                  <a:gd name="T29" fmla="*/ 76 w 7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solidFill>
                <a:srgbClr val="FFFFFF"/>
              </a:solidFill>
              <a:ln w="9525">
                <a:noFill/>
                <a:miter lim="800000"/>
                <a:headEnd/>
                <a:tailEnd/>
              </a:ln>
            </p:spPr>
            <p:txBody>
              <a:bodyPr/>
              <a:lstStyle/>
              <a:p>
                <a:pPr defTabSz="914324" fontAlgn="base">
                  <a:spcBef>
                    <a:spcPct val="0"/>
                  </a:spcBef>
                  <a:spcAft>
                    <a:spcPct val="0"/>
                  </a:spcAft>
                </a:pPr>
                <a:endParaRPr lang="en-US" sz="1600">
                  <a:solidFill>
                    <a:srgbClr val="FFFFFF"/>
                  </a:solidFill>
                  <a:latin typeface="Arial" charset="0"/>
                  <a:ea typeface="ＭＳ Ｐゴシック" pitchFamily="-103" charset="-128"/>
                </a:endParaRPr>
              </a:p>
            </p:txBody>
          </p:sp>
          <p:sp>
            <p:nvSpPr>
              <p:cNvPr id="47150" name="Freeform 182"/>
              <p:cNvSpPr>
                <a:spLocks/>
              </p:cNvSpPr>
              <p:nvPr/>
            </p:nvSpPr>
            <p:spPr bwMode="black">
              <a:xfrm>
                <a:off x="-1394832" y="1804186"/>
                <a:ext cx="57142" cy="47624"/>
              </a:xfrm>
              <a:custGeom>
                <a:avLst/>
                <a:gdLst>
                  <a:gd name="T0" fmla="*/ 40079 w 77"/>
                  <a:gd name="T1" fmla="*/ 44648 h 64"/>
                  <a:gd name="T2" fmla="*/ 44532 w 77"/>
                  <a:gd name="T3" fmla="*/ 47625 h 64"/>
                  <a:gd name="T4" fmla="*/ 57150 w 77"/>
                  <a:gd name="T5" fmla="*/ 24557 h 64"/>
                  <a:gd name="T6" fmla="*/ 52697 w 77"/>
                  <a:gd name="T7" fmla="*/ 21580 h 64"/>
                  <a:gd name="T8" fmla="*/ 17071 w 77"/>
                  <a:gd name="T9" fmla="*/ 2977 h 64"/>
                  <a:gd name="T10" fmla="*/ 12618 w 77"/>
                  <a:gd name="T11" fmla="*/ 0 h 64"/>
                  <a:gd name="T12" fmla="*/ 0 w 77"/>
                  <a:gd name="T13" fmla="*/ 23068 h 64"/>
                  <a:gd name="T14" fmla="*/ 5195 w 77"/>
                  <a:gd name="T15" fmla="*/ 26045 h 64"/>
                  <a:gd name="T16" fmla="*/ 40079 w 77"/>
                  <a:gd name="T17" fmla="*/ 44648 h 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7"/>
                  <a:gd name="T28" fmla="*/ 0 h 64"/>
                  <a:gd name="T29" fmla="*/ 77 w 77"/>
                  <a:gd name="T30" fmla="*/ 64 h 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solidFill>
                <a:srgbClr val="FFFFFF"/>
              </a:solidFill>
              <a:ln w="9525">
                <a:noFill/>
                <a:miter lim="800000"/>
                <a:headEnd/>
                <a:tailEnd/>
              </a:ln>
            </p:spPr>
            <p:txBody>
              <a:bodyPr/>
              <a:lstStyle/>
              <a:p>
                <a:pPr defTabSz="914324" fontAlgn="base">
                  <a:spcBef>
                    <a:spcPct val="0"/>
                  </a:spcBef>
                  <a:spcAft>
                    <a:spcPct val="0"/>
                  </a:spcAft>
                </a:pPr>
                <a:endParaRPr lang="en-US" sz="1600">
                  <a:solidFill>
                    <a:srgbClr val="FFFFFF"/>
                  </a:solidFill>
                  <a:latin typeface="Arial" charset="0"/>
                  <a:ea typeface="ＭＳ Ｐゴシック" pitchFamily="-103" charset="-128"/>
                </a:endParaRPr>
              </a:p>
            </p:txBody>
          </p:sp>
          <p:sp>
            <p:nvSpPr>
              <p:cNvPr id="47151" name="Freeform 183"/>
              <p:cNvSpPr>
                <a:spLocks/>
              </p:cNvSpPr>
              <p:nvPr/>
            </p:nvSpPr>
            <p:spPr bwMode="black">
              <a:xfrm>
                <a:off x="-1480546" y="1756562"/>
                <a:ext cx="73015" cy="57151"/>
              </a:xfrm>
              <a:custGeom>
                <a:avLst/>
                <a:gdLst>
                  <a:gd name="T0" fmla="*/ 15810 w 97"/>
                  <a:gd name="T1" fmla="*/ 33087 h 76"/>
                  <a:gd name="T2" fmla="*/ 19574 w 97"/>
                  <a:gd name="T3" fmla="*/ 35343 h 76"/>
                  <a:gd name="T4" fmla="*/ 20327 w 97"/>
                  <a:gd name="T5" fmla="*/ 36095 h 76"/>
                  <a:gd name="T6" fmla="*/ 55710 w 97"/>
                  <a:gd name="T7" fmla="*/ 54894 h 76"/>
                  <a:gd name="T8" fmla="*/ 60227 w 97"/>
                  <a:gd name="T9" fmla="*/ 57150 h 76"/>
                  <a:gd name="T10" fmla="*/ 73025 w 97"/>
                  <a:gd name="T11" fmla="*/ 33839 h 76"/>
                  <a:gd name="T12" fmla="*/ 67755 w 97"/>
                  <a:gd name="T13" fmla="*/ 30831 h 76"/>
                  <a:gd name="T14" fmla="*/ 33125 w 97"/>
                  <a:gd name="T15" fmla="*/ 12784 h 76"/>
                  <a:gd name="T16" fmla="*/ 33125 w 97"/>
                  <a:gd name="T17" fmla="*/ 12784 h 76"/>
                  <a:gd name="T18" fmla="*/ 18821 w 97"/>
                  <a:gd name="T19" fmla="*/ 3760 h 76"/>
                  <a:gd name="T20" fmla="*/ 14304 w 97"/>
                  <a:gd name="T21" fmla="*/ 0 h 76"/>
                  <a:gd name="T22" fmla="*/ 0 w 97"/>
                  <a:gd name="T23" fmla="*/ 22559 h 76"/>
                  <a:gd name="T24" fmla="*/ 4517 w 97"/>
                  <a:gd name="T25" fmla="*/ 25567 h 76"/>
                  <a:gd name="T26" fmla="*/ 15810 w 97"/>
                  <a:gd name="T27" fmla="*/ 33087 h 7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7"/>
                  <a:gd name="T43" fmla="*/ 0 h 76"/>
                  <a:gd name="T44" fmla="*/ 97 w 97"/>
                  <a:gd name="T45" fmla="*/ 76 h 7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solidFill>
                <a:srgbClr val="FFFFFF"/>
              </a:solidFill>
              <a:ln w="9525">
                <a:noFill/>
                <a:miter lim="800000"/>
                <a:headEnd/>
                <a:tailEnd/>
              </a:ln>
            </p:spPr>
            <p:txBody>
              <a:bodyPr/>
              <a:lstStyle/>
              <a:p>
                <a:pPr defTabSz="914324" fontAlgn="base">
                  <a:spcBef>
                    <a:spcPct val="0"/>
                  </a:spcBef>
                  <a:spcAft>
                    <a:spcPct val="0"/>
                  </a:spcAft>
                </a:pPr>
                <a:endParaRPr lang="en-US" sz="1600">
                  <a:solidFill>
                    <a:srgbClr val="FFFFFF"/>
                  </a:solidFill>
                  <a:latin typeface="Arial" charset="0"/>
                  <a:ea typeface="ＭＳ Ｐゴシック" pitchFamily="-103" charset="-128"/>
                </a:endParaRPr>
              </a:p>
            </p:txBody>
          </p:sp>
          <p:sp>
            <p:nvSpPr>
              <p:cNvPr id="47152" name="Freeform 184"/>
              <p:cNvSpPr>
                <a:spLocks/>
              </p:cNvSpPr>
              <p:nvPr/>
            </p:nvSpPr>
            <p:spPr bwMode="black">
              <a:xfrm>
                <a:off x="-2110694" y="1940713"/>
                <a:ext cx="57142" cy="47624"/>
              </a:xfrm>
              <a:custGeom>
                <a:avLst/>
                <a:gdLst>
                  <a:gd name="T0" fmla="*/ 57150 w 36"/>
                  <a:gd name="T1" fmla="*/ 23813 h 30"/>
                  <a:gd name="T2" fmla="*/ 44450 w 36"/>
                  <a:gd name="T3" fmla="*/ 0 h 30"/>
                  <a:gd name="T4" fmla="*/ 0 w 36"/>
                  <a:gd name="T5" fmla="*/ 25400 h 30"/>
                  <a:gd name="T6" fmla="*/ 12700 w 36"/>
                  <a:gd name="T7" fmla="*/ 47625 h 30"/>
                  <a:gd name="T8" fmla="*/ 57150 w 36"/>
                  <a:gd name="T9" fmla="*/ 23813 h 30"/>
                  <a:gd name="T10" fmla="*/ 0 60000 65536"/>
                  <a:gd name="T11" fmla="*/ 0 60000 65536"/>
                  <a:gd name="T12" fmla="*/ 0 60000 65536"/>
                  <a:gd name="T13" fmla="*/ 0 60000 65536"/>
                  <a:gd name="T14" fmla="*/ 0 60000 65536"/>
                  <a:gd name="T15" fmla="*/ 0 w 36"/>
                  <a:gd name="T16" fmla="*/ 0 h 30"/>
                  <a:gd name="T17" fmla="*/ 36 w 36"/>
                  <a:gd name="T18" fmla="*/ 30 h 30"/>
                </a:gdLst>
                <a:ahLst/>
                <a:cxnLst>
                  <a:cxn ang="T10">
                    <a:pos x="T0" y="T1"/>
                  </a:cxn>
                  <a:cxn ang="T11">
                    <a:pos x="T2" y="T3"/>
                  </a:cxn>
                  <a:cxn ang="T12">
                    <a:pos x="T4" y="T5"/>
                  </a:cxn>
                  <a:cxn ang="T13">
                    <a:pos x="T6" y="T7"/>
                  </a:cxn>
                  <a:cxn ang="T14">
                    <a:pos x="T8" y="T9"/>
                  </a:cxn>
                </a:cxnLst>
                <a:rect l="T15" t="T16" r="T17" b="T18"/>
                <a:pathLst>
                  <a:path w="36" h="30">
                    <a:moveTo>
                      <a:pt x="36" y="15"/>
                    </a:moveTo>
                    <a:lnTo>
                      <a:pt x="28" y="0"/>
                    </a:lnTo>
                    <a:lnTo>
                      <a:pt x="0" y="16"/>
                    </a:lnTo>
                    <a:lnTo>
                      <a:pt x="8" y="30"/>
                    </a:lnTo>
                    <a:lnTo>
                      <a:pt x="36" y="15"/>
                    </a:lnTo>
                    <a:close/>
                  </a:path>
                </a:pathLst>
              </a:custGeom>
              <a:solidFill>
                <a:srgbClr val="FFFFFF"/>
              </a:solidFill>
              <a:ln w="9525">
                <a:noFill/>
                <a:miter lim="800000"/>
                <a:headEnd/>
                <a:tailEnd/>
              </a:ln>
            </p:spPr>
            <p:txBody>
              <a:bodyPr/>
              <a:lstStyle/>
              <a:p>
                <a:pPr defTabSz="914324" fontAlgn="base">
                  <a:spcBef>
                    <a:spcPct val="0"/>
                  </a:spcBef>
                  <a:spcAft>
                    <a:spcPct val="0"/>
                  </a:spcAft>
                </a:pPr>
                <a:endParaRPr lang="en-US" sz="1600">
                  <a:solidFill>
                    <a:srgbClr val="FFFFFF"/>
                  </a:solidFill>
                  <a:latin typeface="Arial" charset="0"/>
                  <a:ea typeface="ＭＳ Ｐゴシック" pitchFamily="-103" charset="-128"/>
                </a:endParaRPr>
              </a:p>
            </p:txBody>
          </p:sp>
          <p:sp>
            <p:nvSpPr>
              <p:cNvPr id="47153" name="Freeform 185"/>
              <p:cNvSpPr>
                <a:spLocks/>
              </p:cNvSpPr>
              <p:nvPr/>
            </p:nvSpPr>
            <p:spPr bwMode="black">
              <a:xfrm>
                <a:off x="-1278957" y="2432836"/>
                <a:ext cx="57142" cy="47624"/>
              </a:xfrm>
              <a:custGeom>
                <a:avLst/>
                <a:gdLst>
                  <a:gd name="T0" fmla="*/ 0 w 36"/>
                  <a:gd name="T1" fmla="*/ 25400 h 30"/>
                  <a:gd name="T2" fmla="*/ 12700 w 36"/>
                  <a:gd name="T3" fmla="*/ 47625 h 30"/>
                  <a:gd name="T4" fmla="*/ 57150 w 36"/>
                  <a:gd name="T5" fmla="*/ 22225 h 30"/>
                  <a:gd name="T6" fmla="*/ 44450 w 36"/>
                  <a:gd name="T7" fmla="*/ 0 h 30"/>
                  <a:gd name="T8" fmla="*/ 0 w 36"/>
                  <a:gd name="T9" fmla="*/ 25400 h 30"/>
                  <a:gd name="T10" fmla="*/ 0 60000 65536"/>
                  <a:gd name="T11" fmla="*/ 0 60000 65536"/>
                  <a:gd name="T12" fmla="*/ 0 60000 65536"/>
                  <a:gd name="T13" fmla="*/ 0 60000 65536"/>
                  <a:gd name="T14" fmla="*/ 0 60000 65536"/>
                  <a:gd name="T15" fmla="*/ 0 w 36"/>
                  <a:gd name="T16" fmla="*/ 0 h 30"/>
                  <a:gd name="T17" fmla="*/ 36 w 36"/>
                  <a:gd name="T18" fmla="*/ 30 h 30"/>
                </a:gdLst>
                <a:ahLst/>
                <a:cxnLst>
                  <a:cxn ang="T10">
                    <a:pos x="T0" y="T1"/>
                  </a:cxn>
                  <a:cxn ang="T11">
                    <a:pos x="T2" y="T3"/>
                  </a:cxn>
                  <a:cxn ang="T12">
                    <a:pos x="T4" y="T5"/>
                  </a:cxn>
                  <a:cxn ang="T13">
                    <a:pos x="T6" y="T7"/>
                  </a:cxn>
                  <a:cxn ang="T14">
                    <a:pos x="T8" y="T9"/>
                  </a:cxn>
                </a:cxnLst>
                <a:rect l="T15" t="T16" r="T17" b="T18"/>
                <a:pathLst>
                  <a:path w="36" h="30">
                    <a:moveTo>
                      <a:pt x="0" y="16"/>
                    </a:moveTo>
                    <a:lnTo>
                      <a:pt x="8" y="30"/>
                    </a:lnTo>
                    <a:lnTo>
                      <a:pt x="36" y="14"/>
                    </a:lnTo>
                    <a:lnTo>
                      <a:pt x="28" y="0"/>
                    </a:lnTo>
                    <a:lnTo>
                      <a:pt x="0" y="16"/>
                    </a:lnTo>
                    <a:close/>
                  </a:path>
                </a:pathLst>
              </a:custGeom>
              <a:solidFill>
                <a:srgbClr val="FFFFFF"/>
              </a:solidFill>
              <a:ln w="9525">
                <a:noFill/>
                <a:miter lim="800000"/>
                <a:headEnd/>
                <a:tailEnd/>
              </a:ln>
            </p:spPr>
            <p:txBody>
              <a:bodyPr/>
              <a:lstStyle/>
              <a:p>
                <a:pPr defTabSz="914324" fontAlgn="base">
                  <a:spcBef>
                    <a:spcPct val="0"/>
                  </a:spcBef>
                  <a:spcAft>
                    <a:spcPct val="0"/>
                  </a:spcAft>
                </a:pPr>
                <a:endParaRPr lang="en-US" sz="1600">
                  <a:solidFill>
                    <a:srgbClr val="FFFFFF"/>
                  </a:solidFill>
                  <a:latin typeface="Arial" charset="0"/>
                  <a:ea typeface="ＭＳ Ｐゴシック" pitchFamily="-103" charset="-128"/>
                </a:endParaRPr>
              </a:p>
            </p:txBody>
          </p:sp>
          <p:sp>
            <p:nvSpPr>
              <p:cNvPr id="47154" name="Freeform 186"/>
              <p:cNvSpPr>
                <a:spLocks/>
              </p:cNvSpPr>
              <p:nvPr/>
            </p:nvSpPr>
            <p:spPr bwMode="black">
              <a:xfrm>
                <a:off x="-1417051" y="2513799"/>
                <a:ext cx="57142" cy="49212"/>
              </a:xfrm>
              <a:custGeom>
                <a:avLst/>
                <a:gdLst>
                  <a:gd name="T0" fmla="*/ 38595 w 77"/>
                  <a:gd name="T1" fmla="*/ 2983 h 66"/>
                  <a:gd name="T2" fmla="*/ 4453 w 77"/>
                  <a:gd name="T3" fmla="*/ 23861 h 66"/>
                  <a:gd name="T4" fmla="*/ 0 w 77"/>
                  <a:gd name="T5" fmla="*/ 26843 h 66"/>
                  <a:gd name="T6" fmla="*/ 13360 w 77"/>
                  <a:gd name="T7" fmla="*/ 49213 h 66"/>
                  <a:gd name="T8" fmla="*/ 17813 w 77"/>
                  <a:gd name="T9" fmla="*/ 46230 h 66"/>
                  <a:gd name="T10" fmla="*/ 51955 w 77"/>
                  <a:gd name="T11" fmla="*/ 25352 h 66"/>
                  <a:gd name="T12" fmla="*/ 57150 w 77"/>
                  <a:gd name="T13" fmla="*/ 23115 h 66"/>
                  <a:gd name="T14" fmla="*/ 43790 w 77"/>
                  <a:gd name="T15" fmla="*/ 0 h 66"/>
                  <a:gd name="T16" fmla="*/ 38595 w 77"/>
                  <a:gd name="T17" fmla="*/ 2983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7"/>
                  <a:gd name="T28" fmla="*/ 0 h 66"/>
                  <a:gd name="T29" fmla="*/ 77 w 77"/>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solidFill>
                <a:srgbClr val="FFFFFF"/>
              </a:solidFill>
              <a:ln w="9525">
                <a:noFill/>
                <a:miter lim="800000"/>
                <a:headEnd/>
                <a:tailEnd/>
              </a:ln>
            </p:spPr>
            <p:txBody>
              <a:bodyPr/>
              <a:lstStyle/>
              <a:p>
                <a:pPr defTabSz="914324" fontAlgn="base">
                  <a:spcBef>
                    <a:spcPct val="0"/>
                  </a:spcBef>
                  <a:spcAft>
                    <a:spcPct val="0"/>
                  </a:spcAft>
                </a:pPr>
                <a:endParaRPr lang="en-US" sz="1600">
                  <a:solidFill>
                    <a:srgbClr val="FFFFFF"/>
                  </a:solidFill>
                  <a:latin typeface="Arial" charset="0"/>
                  <a:ea typeface="ＭＳ Ｐゴシック" pitchFamily="-103" charset="-128"/>
                </a:endParaRPr>
              </a:p>
            </p:txBody>
          </p:sp>
          <p:sp>
            <p:nvSpPr>
              <p:cNvPr id="47155" name="Freeform 187"/>
              <p:cNvSpPr>
                <a:spLocks/>
              </p:cNvSpPr>
              <p:nvPr/>
            </p:nvSpPr>
            <p:spPr bwMode="black">
              <a:xfrm>
                <a:off x="-1348798" y="2472524"/>
                <a:ext cx="58729" cy="49212"/>
              </a:xfrm>
              <a:custGeom>
                <a:avLst/>
                <a:gdLst>
                  <a:gd name="T0" fmla="*/ 39667 w 77"/>
                  <a:gd name="T1" fmla="*/ 3028 h 65"/>
                  <a:gd name="T2" fmla="*/ 4577 w 77"/>
                  <a:gd name="T3" fmla="*/ 23471 h 65"/>
                  <a:gd name="T4" fmla="*/ 0 w 77"/>
                  <a:gd name="T5" fmla="*/ 26499 h 65"/>
                  <a:gd name="T6" fmla="*/ 12968 w 77"/>
                  <a:gd name="T7" fmla="*/ 49213 h 65"/>
                  <a:gd name="T8" fmla="*/ 18308 w 77"/>
                  <a:gd name="T9" fmla="*/ 46185 h 65"/>
                  <a:gd name="T10" fmla="*/ 53398 w 77"/>
                  <a:gd name="T11" fmla="*/ 25742 h 65"/>
                  <a:gd name="T12" fmla="*/ 58738 w 77"/>
                  <a:gd name="T13" fmla="*/ 23471 h 65"/>
                  <a:gd name="T14" fmla="*/ 45007 w 77"/>
                  <a:gd name="T15" fmla="*/ 0 h 65"/>
                  <a:gd name="T16" fmla="*/ 39667 w 77"/>
                  <a:gd name="T17" fmla="*/ 3028 h 6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7"/>
                  <a:gd name="T28" fmla="*/ 0 h 65"/>
                  <a:gd name="T29" fmla="*/ 77 w 77"/>
                  <a:gd name="T30" fmla="*/ 65 h 6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solidFill>
                <a:srgbClr val="FFFFFF"/>
              </a:solidFill>
              <a:ln w="9525">
                <a:noFill/>
                <a:miter lim="800000"/>
                <a:headEnd/>
                <a:tailEnd/>
              </a:ln>
            </p:spPr>
            <p:txBody>
              <a:bodyPr/>
              <a:lstStyle/>
              <a:p>
                <a:pPr defTabSz="914324" fontAlgn="base">
                  <a:spcBef>
                    <a:spcPct val="0"/>
                  </a:spcBef>
                  <a:spcAft>
                    <a:spcPct val="0"/>
                  </a:spcAft>
                </a:pPr>
                <a:endParaRPr lang="en-US" sz="1600">
                  <a:solidFill>
                    <a:srgbClr val="FFFFFF"/>
                  </a:solidFill>
                  <a:latin typeface="Arial" charset="0"/>
                  <a:ea typeface="ＭＳ Ｐゴシック" pitchFamily="-103" charset="-128"/>
                </a:endParaRPr>
              </a:p>
            </p:txBody>
          </p:sp>
          <p:sp>
            <p:nvSpPr>
              <p:cNvPr id="47156" name="Freeform 188"/>
              <p:cNvSpPr>
                <a:spLocks/>
              </p:cNvSpPr>
              <p:nvPr/>
            </p:nvSpPr>
            <p:spPr bwMode="black">
              <a:xfrm>
                <a:off x="-1548797" y="2609050"/>
                <a:ext cx="53968" cy="53975"/>
              </a:xfrm>
              <a:custGeom>
                <a:avLst/>
                <a:gdLst>
                  <a:gd name="T0" fmla="*/ 33734 w 72"/>
                  <a:gd name="T1" fmla="*/ 3748 h 72"/>
                  <a:gd name="T2" fmla="*/ 7497 w 72"/>
                  <a:gd name="T3" fmla="*/ 28487 h 72"/>
                  <a:gd name="T4" fmla="*/ 2999 w 72"/>
                  <a:gd name="T5" fmla="*/ 35983 h 72"/>
                  <a:gd name="T6" fmla="*/ 0 w 72"/>
                  <a:gd name="T7" fmla="*/ 40481 h 72"/>
                  <a:gd name="T8" fmla="*/ 22490 w 72"/>
                  <a:gd name="T9" fmla="*/ 53975 h 72"/>
                  <a:gd name="T10" fmla="*/ 25488 w 72"/>
                  <a:gd name="T11" fmla="*/ 49477 h 72"/>
                  <a:gd name="T12" fmla="*/ 29236 w 72"/>
                  <a:gd name="T13" fmla="*/ 42730 h 72"/>
                  <a:gd name="T14" fmla="*/ 49477 w 72"/>
                  <a:gd name="T15" fmla="*/ 24739 h 72"/>
                  <a:gd name="T16" fmla="*/ 53975 w 72"/>
                  <a:gd name="T17" fmla="*/ 20990 h 72"/>
                  <a:gd name="T18" fmla="*/ 38232 w 72"/>
                  <a:gd name="T19" fmla="*/ 0 h 72"/>
                  <a:gd name="T20" fmla="*/ 33734 w 72"/>
                  <a:gd name="T21" fmla="*/ 3748 h 7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2"/>
                  <a:gd name="T34" fmla="*/ 0 h 72"/>
                  <a:gd name="T35" fmla="*/ 72 w 72"/>
                  <a:gd name="T36" fmla="*/ 72 h 7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solidFill>
                <a:srgbClr val="FFFFFF"/>
              </a:solidFill>
              <a:ln w="9525">
                <a:noFill/>
                <a:miter lim="800000"/>
                <a:headEnd/>
                <a:tailEnd/>
              </a:ln>
            </p:spPr>
            <p:txBody>
              <a:bodyPr/>
              <a:lstStyle/>
              <a:p>
                <a:pPr defTabSz="914324" fontAlgn="base">
                  <a:spcBef>
                    <a:spcPct val="0"/>
                  </a:spcBef>
                  <a:spcAft>
                    <a:spcPct val="0"/>
                  </a:spcAft>
                </a:pPr>
                <a:endParaRPr lang="en-US" sz="1600">
                  <a:solidFill>
                    <a:srgbClr val="FFFFFF"/>
                  </a:solidFill>
                  <a:latin typeface="Arial" charset="0"/>
                  <a:ea typeface="ＭＳ Ｐゴシック" pitchFamily="-103" charset="-128"/>
                </a:endParaRPr>
              </a:p>
            </p:txBody>
          </p:sp>
          <p:sp>
            <p:nvSpPr>
              <p:cNvPr id="47157" name="Freeform 189"/>
              <p:cNvSpPr>
                <a:spLocks/>
              </p:cNvSpPr>
              <p:nvPr/>
            </p:nvSpPr>
            <p:spPr bwMode="black">
              <a:xfrm>
                <a:off x="-1485307" y="2564599"/>
                <a:ext cx="57142" cy="49212"/>
              </a:xfrm>
              <a:custGeom>
                <a:avLst/>
                <a:gdLst>
                  <a:gd name="T0" fmla="*/ 37853 w 77"/>
                  <a:gd name="T1" fmla="*/ 2983 h 66"/>
                  <a:gd name="T2" fmla="*/ 4453 w 77"/>
                  <a:gd name="T3" fmla="*/ 24607 h 66"/>
                  <a:gd name="T4" fmla="*/ 0 w 77"/>
                  <a:gd name="T5" fmla="*/ 27589 h 66"/>
                  <a:gd name="T6" fmla="*/ 14102 w 77"/>
                  <a:gd name="T7" fmla="*/ 49213 h 66"/>
                  <a:gd name="T8" fmla="*/ 18555 w 77"/>
                  <a:gd name="T9" fmla="*/ 46230 h 66"/>
                  <a:gd name="T10" fmla="*/ 51955 w 77"/>
                  <a:gd name="T11" fmla="*/ 25352 h 66"/>
                  <a:gd name="T12" fmla="*/ 57150 w 77"/>
                  <a:gd name="T13" fmla="*/ 22370 h 66"/>
                  <a:gd name="T14" fmla="*/ 43048 w 77"/>
                  <a:gd name="T15" fmla="*/ 0 h 66"/>
                  <a:gd name="T16" fmla="*/ 37853 w 77"/>
                  <a:gd name="T17" fmla="*/ 2983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7"/>
                  <a:gd name="T28" fmla="*/ 0 h 66"/>
                  <a:gd name="T29" fmla="*/ 77 w 77"/>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solidFill>
                <a:srgbClr val="FFFFFF"/>
              </a:solidFill>
              <a:ln w="9525">
                <a:noFill/>
                <a:miter lim="800000"/>
                <a:headEnd/>
                <a:tailEnd/>
              </a:ln>
            </p:spPr>
            <p:txBody>
              <a:bodyPr/>
              <a:lstStyle/>
              <a:p>
                <a:pPr defTabSz="914324" fontAlgn="base">
                  <a:spcBef>
                    <a:spcPct val="0"/>
                  </a:spcBef>
                  <a:spcAft>
                    <a:spcPct val="0"/>
                  </a:spcAft>
                </a:pPr>
                <a:endParaRPr lang="en-US" sz="1600">
                  <a:solidFill>
                    <a:srgbClr val="FFFFFF"/>
                  </a:solidFill>
                  <a:latin typeface="Arial" charset="0"/>
                  <a:ea typeface="ＭＳ Ｐゴシック" pitchFamily="-103" charset="-128"/>
                </a:endParaRPr>
              </a:p>
            </p:txBody>
          </p:sp>
          <p:sp>
            <p:nvSpPr>
              <p:cNvPr id="47158" name="Freeform 190"/>
              <p:cNvSpPr>
                <a:spLocks/>
              </p:cNvSpPr>
              <p:nvPr/>
            </p:nvSpPr>
            <p:spPr bwMode="black">
              <a:xfrm>
                <a:off x="-1210706" y="2393149"/>
                <a:ext cx="58729" cy="47624"/>
              </a:xfrm>
              <a:custGeom>
                <a:avLst/>
                <a:gdLst>
                  <a:gd name="T0" fmla="*/ 0 w 37"/>
                  <a:gd name="T1" fmla="*/ 25400 h 30"/>
                  <a:gd name="T2" fmla="*/ 14288 w 37"/>
                  <a:gd name="T3" fmla="*/ 47625 h 30"/>
                  <a:gd name="T4" fmla="*/ 58738 w 37"/>
                  <a:gd name="T5" fmla="*/ 22225 h 30"/>
                  <a:gd name="T6" fmla="*/ 44450 w 37"/>
                  <a:gd name="T7" fmla="*/ 0 h 30"/>
                  <a:gd name="T8" fmla="*/ 0 w 37"/>
                  <a:gd name="T9" fmla="*/ 25400 h 30"/>
                  <a:gd name="T10" fmla="*/ 0 60000 65536"/>
                  <a:gd name="T11" fmla="*/ 0 60000 65536"/>
                  <a:gd name="T12" fmla="*/ 0 60000 65536"/>
                  <a:gd name="T13" fmla="*/ 0 60000 65536"/>
                  <a:gd name="T14" fmla="*/ 0 60000 65536"/>
                  <a:gd name="T15" fmla="*/ 0 w 37"/>
                  <a:gd name="T16" fmla="*/ 0 h 30"/>
                  <a:gd name="T17" fmla="*/ 37 w 37"/>
                  <a:gd name="T18" fmla="*/ 30 h 30"/>
                </a:gdLst>
                <a:ahLst/>
                <a:cxnLst>
                  <a:cxn ang="T10">
                    <a:pos x="T0" y="T1"/>
                  </a:cxn>
                  <a:cxn ang="T11">
                    <a:pos x="T2" y="T3"/>
                  </a:cxn>
                  <a:cxn ang="T12">
                    <a:pos x="T4" y="T5"/>
                  </a:cxn>
                  <a:cxn ang="T13">
                    <a:pos x="T6" y="T7"/>
                  </a:cxn>
                  <a:cxn ang="T14">
                    <a:pos x="T8" y="T9"/>
                  </a:cxn>
                </a:cxnLst>
                <a:rect l="T15" t="T16" r="T17" b="T18"/>
                <a:pathLst>
                  <a:path w="37" h="30">
                    <a:moveTo>
                      <a:pt x="0" y="16"/>
                    </a:moveTo>
                    <a:lnTo>
                      <a:pt x="9" y="30"/>
                    </a:lnTo>
                    <a:lnTo>
                      <a:pt x="37" y="14"/>
                    </a:lnTo>
                    <a:lnTo>
                      <a:pt x="28" y="0"/>
                    </a:lnTo>
                    <a:lnTo>
                      <a:pt x="0" y="16"/>
                    </a:lnTo>
                    <a:close/>
                  </a:path>
                </a:pathLst>
              </a:custGeom>
              <a:solidFill>
                <a:srgbClr val="FFFFFF"/>
              </a:solidFill>
              <a:ln w="9525">
                <a:noFill/>
                <a:miter lim="800000"/>
                <a:headEnd/>
                <a:tailEnd/>
              </a:ln>
            </p:spPr>
            <p:txBody>
              <a:bodyPr/>
              <a:lstStyle/>
              <a:p>
                <a:pPr defTabSz="914324" fontAlgn="base">
                  <a:spcBef>
                    <a:spcPct val="0"/>
                  </a:spcBef>
                  <a:spcAft>
                    <a:spcPct val="0"/>
                  </a:spcAft>
                </a:pPr>
                <a:endParaRPr lang="en-US" sz="1600">
                  <a:solidFill>
                    <a:srgbClr val="FFFFFF"/>
                  </a:solidFill>
                  <a:latin typeface="Arial" charset="0"/>
                  <a:ea typeface="ＭＳ Ｐゴシック" pitchFamily="-103" charset="-128"/>
                </a:endParaRPr>
              </a:p>
            </p:txBody>
          </p:sp>
          <p:sp>
            <p:nvSpPr>
              <p:cNvPr id="47159" name="Freeform 191"/>
              <p:cNvSpPr>
                <a:spLocks/>
              </p:cNvSpPr>
              <p:nvPr/>
            </p:nvSpPr>
            <p:spPr bwMode="black">
              <a:xfrm>
                <a:off x="-2331325" y="1997861"/>
                <a:ext cx="58729" cy="39688"/>
              </a:xfrm>
              <a:custGeom>
                <a:avLst/>
                <a:gdLst>
                  <a:gd name="T0" fmla="*/ 20596 w 77"/>
                  <a:gd name="T1" fmla="*/ 3744 h 53"/>
                  <a:gd name="T2" fmla="*/ 3814 w 77"/>
                  <a:gd name="T3" fmla="*/ 17972 h 53"/>
                  <a:gd name="T4" fmla="*/ 0 w 77"/>
                  <a:gd name="T5" fmla="*/ 22465 h 53"/>
                  <a:gd name="T6" fmla="*/ 19834 w 77"/>
                  <a:gd name="T7" fmla="*/ 39688 h 53"/>
                  <a:gd name="T8" fmla="*/ 23648 w 77"/>
                  <a:gd name="T9" fmla="*/ 35195 h 53"/>
                  <a:gd name="T10" fmla="*/ 32802 w 77"/>
                  <a:gd name="T11" fmla="*/ 27707 h 53"/>
                  <a:gd name="T12" fmla="*/ 46533 w 77"/>
                  <a:gd name="T13" fmla="*/ 29204 h 53"/>
                  <a:gd name="T14" fmla="*/ 51873 w 77"/>
                  <a:gd name="T15" fmla="*/ 30702 h 53"/>
                  <a:gd name="T16" fmla="*/ 58738 w 77"/>
                  <a:gd name="T17" fmla="*/ 5991 h 53"/>
                  <a:gd name="T18" fmla="*/ 53398 w 77"/>
                  <a:gd name="T19" fmla="*/ 4493 h 53"/>
                  <a:gd name="T20" fmla="*/ 20596 w 77"/>
                  <a:gd name="T21" fmla="*/ 3744 h 5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7"/>
                  <a:gd name="T34" fmla="*/ 0 h 53"/>
                  <a:gd name="T35" fmla="*/ 77 w 77"/>
                  <a:gd name="T36" fmla="*/ 53 h 5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solidFill>
                <a:srgbClr val="FFFFFF"/>
              </a:solidFill>
              <a:ln w="9525">
                <a:noFill/>
                <a:miter lim="800000"/>
                <a:headEnd/>
                <a:tailEnd/>
              </a:ln>
            </p:spPr>
            <p:txBody>
              <a:bodyPr/>
              <a:lstStyle/>
              <a:p>
                <a:pPr defTabSz="914324" fontAlgn="base">
                  <a:spcBef>
                    <a:spcPct val="0"/>
                  </a:spcBef>
                  <a:spcAft>
                    <a:spcPct val="0"/>
                  </a:spcAft>
                </a:pPr>
                <a:endParaRPr lang="en-US" sz="1600">
                  <a:solidFill>
                    <a:srgbClr val="FFFFFF"/>
                  </a:solidFill>
                  <a:latin typeface="Arial" charset="0"/>
                  <a:ea typeface="ＭＳ Ｐゴシック" pitchFamily="-103" charset="-128"/>
                </a:endParaRPr>
              </a:p>
            </p:txBody>
          </p:sp>
          <p:sp>
            <p:nvSpPr>
              <p:cNvPr id="47160" name="Freeform 192"/>
              <p:cNvSpPr>
                <a:spLocks/>
              </p:cNvSpPr>
              <p:nvPr/>
            </p:nvSpPr>
            <p:spPr bwMode="black">
              <a:xfrm>
                <a:off x="-1021819" y="2242337"/>
                <a:ext cx="36507" cy="55563"/>
              </a:xfrm>
              <a:custGeom>
                <a:avLst/>
                <a:gdLst>
                  <a:gd name="T0" fmla="*/ 9687 w 49"/>
                  <a:gd name="T1" fmla="*/ 5186 h 75"/>
                  <a:gd name="T2" fmla="*/ 1490 w 49"/>
                  <a:gd name="T3" fmla="*/ 42228 h 75"/>
                  <a:gd name="T4" fmla="*/ 0 w 49"/>
                  <a:gd name="T5" fmla="*/ 47414 h 75"/>
                  <a:gd name="T6" fmla="*/ 25336 w 49"/>
                  <a:gd name="T7" fmla="*/ 55563 h 75"/>
                  <a:gd name="T8" fmla="*/ 26826 w 49"/>
                  <a:gd name="T9" fmla="*/ 49636 h 75"/>
                  <a:gd name="T10" fmla="*/ 35768 w 49"/>
                  <a:gd name="T11" fmla="*/ 9631 h 75"/>
                  <a:gd name="T12" fmla="*/ 36513 w 49"/>
                  <a:gd name="T13" fmla="*/ 3704 h 75"/>
                  <a:gd name="T14" fmla="*/ 11177 w 49"/>
                  <a:gd name="T15" fmla="*/ 0 h 75"/>
                  <a:gd name="T16" fmla="*/ 9687 w 49"/>
                  <a:gd name="T17" fmla="*/ 5186 h 7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9"/>
                  <a:gd name="T28" fmla="*/ 0 h 75"/>
                  <a:gd name="T29" fmla="*/ 49 w 49"/>
                  <a:gd name="T30" fmla="*/ 75 h 7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solidFill>
                <a:srgbClr val="FFFFFF"/>
              </a:solidFill>
              <a:ln w="9525">
                <a:noFill/>
                <a:miter lim="800000"/>
                <a:headEnd/>
                <a:tailEnd/>
              </a:ln>
            </p:spPr>
            <p:txBody>
              <a:bodyPr/>
              <a:lstStyle/>
              <a:p>
                <a:pPr defTabSz="914324" fontAlgn="base">
                  <a:spcBef>
                    <a:spcPct val="0"/>
                  </a:spcBef>
                  <a:spcAft>
                    <a:spcPct val="0"/>
                  </a:spcAft>
                </a:pPr>
                <a:endParaRPr lang="en-US" sz="1600">
                  <a:solidFill>
                    <a:srgbClr val="FFFFFF"/>
                  </a:solidFill>
                  <a:latin typeface="Arial" charset="0"/>
                  <a:ea typeface="ＭＳ Ｐゴシック" pitchFamily="-103" charset="-128"/>
                </a:endParaRPr>
              </a:p>
            </p:txBody>
          </p:sp>
          <p:sp>
            <p:nvSpPr>
              <p:cNvPr id="47161" name="Freeform 193"/>
              <p:cNvSpPr>
                <a:spLocks/>
              </p:cNvSpPr>
              <p:nvPr/>
            </p:nvSpPr>
            <p:spPr bwMode="black">
              <a:xfrm>
                <a:off x="-1007535" y="2164549"/>
                <a:ext cx="26985" cy="52388"/>
              </a:xfrm>
              <a:custGeom>
                <a:avLst/>
                <a:gdLst>
                  <a:gd name="T0" fmla="*/ 1420 w 38"/>
                  <a:gd name="T1" fmla="*/ 0 h 70"/>
                  <a:gd name="T2" fmla="*/ 1420 w 38"/>
                  <a:gd name="T3" fmla="*/ 5987 h 70"/>
                  <a:gd name="T4" fmla="*/ 0 w 38"/>
                  <a:gd name="T5" fmla="*/ 44904 h 70"/>
                  <a:gd name="T6" fmla="*/ 0 w 38"/>
                  <a:gd name="T7" fmla="*/ 50143 h 70"/>
                  <a:gd name="T8" fmla="*/ 24857 w 38"/>
                  <a:gd name="T9" fmla="*/ 52388 h 70"/>
                  <a:gd name="T10" fmla="*/ 24857 w 38"/>
                  <a:gd name="T11" fmla="*/ 46401 h 70"/>
                  <a:gd name="T12" fmla="*/ 26988 w 38"/>
                  <a:gd name="T13" fmla="*/ 5987 h 70"/>
                  <a:gd name="T14" fmla="*/ 26988 w 38"/>
                  <a:gd name="T15" fmla="*/ 0 h 70"/>
                  <a:gd name="T16" fmla="*/ 1420 w 38"/>
                  <a:gd name="T17" fmla="*/ 0 h 7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8"/>
                  <a:gd name="T28" fmla="*/ 0 h 70"/>
                  <a:gd name="T29" fmla="*/ 38 w 38"/>
                  <a:gd name="T30" fmla="*/ 70 h 7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solidFill>
                <a:srgbClr val="FFFFFF"/>
              </a:solidFill>
              <a:ln w="9525">
                <a:noFill/>
                <a:miter lim="800000"/>
                <a:headEnd/>
                <a:tailEnd/>
              </a:ln>
            </p:spPr>
            <p:txBody>
              <a:bodyPr/>
              <a:lstStyle/>
              <a:p>
                <a:pPr defTabSz="914324" fontAlgn="base">
                  <a:spcBef>
                    <a:spcPct val="0"/>
                  </a:spcBef>
                  <a:spcAft>
                    <a:spcPct val="0"/>
                  </a:spcAft>
                </a:pPr>
                <a:endParaRPr lang="en-US" sz="1600">
                  <a:solidFill>
                    <a:srgbClr val="FFFFFF"/>
                  </a:solidFill>
                  <a:latin typeface="Arial" charset="0"/>
                  <a:ea typeface="ＭＳ Ｐゴシック" pitchFamily="-103" charset="-128"/>
                </a:endParaRPr>
              </a:p>
            </p:txBody>
          </p:sp>
          <p:sp>
            <p:nvSpPr>
              <p:cNvPr id="47162" name="Freeform 194"/>
              <p:cNvSpPr>
                <a:spLocks/>
              </p:cNvSpPr>
              <p:nvPr/>
            </p:nvSpPr>
            <p:spPr bwMode="black">
              <a:xfrm>
                <a:off x="-1586892" y="2675726"/>
                <a:ext cx="47619" cy="57151"/>
              </a:xfrm>
              <a:custGeom>
                <a:avLst/>
                <a:gdLst>
                  <a:gd name="T0" fmla="*/ 24190 w 63"/>
                  <a:gd name="T1" fmla="*/ 0 h 76"/>
                  <a:gd name="T2" fmla="*/ 21923 w 63"/>
                  <a:gd name="T3" fmla="*/ 5264 h 76"/>
                  <a:gd name="T4" fmla="*/ 3780 w 63"/>
                  <a:gd name="T5" fmla="*/ 37599 h 76"/>
                  <a:gd name="T6" fmla="*/ 0 w 63"/>
                  <a:gd name="T7" fmla="*/ 42863 h 76"/>
                  <a:gd name="T8" fmla="*/ 22679 w 63"/>
                  <a:gd name="T9" fmla="*/ 57150 h 76"/>
                  <a:gd name="T10" fmla="*/ 25702 w 63"/>
                  <a:gd name="T11" fmla="*/ 52638 h 76"/>
                  <a:gd name="T12" fmla="*/ 45357 w 63"/>
                  <a:gd name="T13" fmla="*/ 16543 h 76"/>
                  <a:gd name="T14" fmla="*/ 47625 w 63"/>
                  <a:gd name="T15" fmla="*/ 12032 h 76"/>
                  <a:gd name="T16" fmla="*/ 37042 w 63"/>
                  <a:gd name="T17" fmla="*/ 5264 h 76"/>
                  <a:gd name="T18" fmla="*/ 24190 w 63"/>
                  <a:gd name="T19" fmla="*/ 0 h 7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3"/>
                  <a:gd name="T31" fmla="*/ 0 h 76"/>
                  <a:gd name="T32" fmla="*/ 63 w 63"/>
                  <a:gd name="T33" fmla="*/ 76 h 7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solidFill>
                <a:srgbClr val="FFFFFF"/>
              </a:solidFill>
              <a:ln w="9525">
                <a:noFill/>
                <a:miter lim="800000"/>
                <a:headEnd/>
                <a:tailEnd/>
              </a:ln>
            </p:spPr>
            <p:txBody>
              <a:bodyPr/>
              <a:lstStyle/>
              <a:p>
                <a:pPr defTabSz="914324" fontAlgn="base">
                  <a:spcBef>
                    <a:spcPct val="0"/>
                  </a:spcBef>
                  <a:spcAft>
                    <a:spcPct val="0"/>
                  </a:spcAft>
                </a:pPr>
                <a:endParaRPr lang="en-US" sz="1600">
                  <a:solidFill>
                    <a:srgbClr val="FFFFFF"/>
                  </a:solidFill>
                  <a:latin typeface="Arial" charset="0"/>
                  <a:ea typeface="ＭＳ Ｐゴシック" pitchFamily="-103" charset="-128"/>
                </a:endParaRPr>
              </a:p>
            </p:txBody>
          </p:sp>
          <p:sp>
            <p:nvSpPr>
              <p:cNvPr id="47163" name="Freeform 195"/>
              <p:cNvSpPr>
                <a:spLocks/>
              </p:cNvSpPr>
              <p:nvPr/>
            </p:nvSpPr>
            <p:spPr bwMode="black">
              <a:xfrm>
                <a:off x="-1140865" y="2351873"/>
                <a:ext cx="57142" cy="49212"/>
              </a:xfrm>
              <a:custGeom>
                <a:avLst/>
                <a:gdLst>
                  <a:gd name="T0" fmla="*/ 39103 w 76"/>
                  <a:gd name="T1" fmla="*/ 2271 h 65"/>
                  <a:gd name="T2" fmla="*/ 4512 w 76"/>
                  <a:gd name="T3" fmla="*/ 23471 h 65"/>
                  <a:gd name="T4" fmla="*/ 0 w 76"/>
                  <a:gd name="T5" fmla="*/ 26499 h 65"/>
                  <a:gd name="T6" fmla="*/ 12784 w 76"/>
                  <a:gd name="T7" fmla="*/ 49213 h 65"/>
                  <a:gd name="T8" fmla="*/ 18047 w 76"/>
                  <a:gd name="T9" fmla="*/ 46185 h 65"/>
                  <a:gd name="T10" fmla="*/ 52638 w 76"/>
                  <a:gd name="T11" fmla="*/ 24985 h 65"/>
                  <a:gd name="T12" fmla="*/ 57150 w 76"/>
                  <a:gd name="T13" fmla="*/ 22714 h 65"/>
                  <a:gd name="T14" fmla="*/ 43614 w 76"/>
                  <a:gd name="T15" fmla="*/ 0 h 65"/>
                  <a:gd name="T16" fmla="*/ 39103 w 76"/>
                  <a:gd name="T17" fmla="*/ 2271 h 6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6"/>
                  <a:gd name="T28" fmla="*/ 0 h 65"/>
                  <a:gd name="T29" fmla="*/ 76 w 76"/>
                  <a:gd name="T30" fmla="*/ 65 h 6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solidFill>
                <a:srgbClr val="FFFFFF"/>
              </a:solidFill>
              <a:ln w="9525">
                <a:noFill/>
                <a:miter lim="800000"/>
                <a:headEnd/>
                <a:tailEnd/>
              </a:ln>
            </p:spPr>
            <p:txBody>
              <a:bodyPr/>
              <a:lstStyle/>
              <a:p>
                <a:pPr defTabSz="914324" fontAlgn="base">
                  <a:spcBef>
                    <a:spcPct val="0"/>
                  </a:spcBef>
                  <a:spcAft>
                    <a:spcPct val="0"/>
                  </a:spcAft>
                </a:pPr>
                <a:endParaRPr lang="en-US" sz="1600">
                  <a:solidFill>
                    <a:srgbClr val="FFFFFF"/>
                  </a:solidFill>
                  <a:latin typeface="Arial" charset="0"/>
                  <a:ea typeface="ＭＳ Ｐゴシック" pitchFamily="-103" charset="-128"/>
                </a:endParaRPr>
              </a:p>
            </p:txBody>
          </p:sp>
          <p:sp>
            <p:nvSpPr>
              <p:cNvPr id="47164" name="Freeform 196"/>
              <p:cNvSpPr>
                <a:spLocks/>
              </p:cNvSpPr>
              <p:nvPr/>
            </p:nvSpPr>
            <p:spPr bwMode="black">
              <a:xfrm>
                <a:off x="-1072612" y="2307424"/>
                <a:ext cx="57142" cy="50800"/>
              </a:xfrm>
              <a:custGeom>
                <a:avLst/>
                <a:gdLst>
                  <a:gd name="T0" fmla="*/ 36368 w 77"/>
                  <a:gd name="T1" fmla="*/ 3735 h 68"/>
                  <a:gd name="T2" fmla="*/ 5195 w 77"/>
                  <a:gd name="T3" fmla="*/ 25400 h 68"/>
                  <a:gd name="T4" fmla="*/ 0 w 77"/>
                  <a:gd name="T5" fmla="*/ 29135 h 68"/>
                  <a:gd name="T6" fmla="*/ 14102 w 77"/>
                  <a:gd name="T7" fmla="*/ 50800 h 68"/>
                  <a:gd name="T8" fmla="*/ 19297 w 77"/>
                  <a:gd name="T9" fmla="*/ 47812 h 68"/>
                  <a:gd name="T10" fmla="*/ 52697 w 77"/>
                  <a:gd name="T11" fmla="*/ 24653 h 68"/>
                  <a:gd name="T12" fmla="*/ 57150 w 77"/>
                  <a:gd name="T13" fmla="*/ 20918 h 68"/>
                  <a:gd name="T14" fmla="*/ 40821 w 77"/>
                  <a:gd name="T15" fmla="*/ 0 h 68"/>
                  <a:gd name="T16" fmla="*/ 36368 w 77"/>
                  <a:gd name="T17" fmla="*/ 3735 h 6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7"/>
                  <a:gd name="T28" fmla="*/ 0 h 68"/>
                  <a:gd name="T29" fmla="*/ 77 w 77"/>
                  <a:gd name="T30" fmla="*/ 68 h 6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solidFill>
                <a:srgbClr val="FFFFFF"/>
              </a:solidFill>
              <a:ln w="9525">
                <a:noFill/>
                <a:miter lim="800000"/>
                <a:headEnd/>
                <a:tailEnd/>
              </a:ln>
            </p:spPr>
            <p:txBody>
              <a:bodyPr/>
              <a:lstStyle/>
              <a:p>
                <a:pPr defTabSz="914324" fontAlgn="base">
                  <a:spcBef>
                    <a:spcPct val="0"/>
                  </a:spcBef>
                  <a:spcAft>
                    <a:spcPct val="0"/>
                  </a:spcAft>
                </a:pPr>
                <a:endParaRPr lang="en-US" sz="1600">
                  <a:solidFill>
                    <a:srgbClr val="FFFFFF"/>
                  </a:solidFill>
                  <a:latin typeface="Arial" charset="0"/>
                  <a:ea typeface="ＭＳ Ｐゴシック" pitchFamily="-103" charset="-128"/>
                </a:endParaRPr>
              </a:p>
            </p:txBody>
          </p:sp>
          <p:sp>
            <p:nvSpPr>
              <p:cNvPr id="47165" name="Freeform 197"/>
              <p:cNvSpPr>
                <a:spLocks/>
              </p:cNvSpPr>
              <p:nvPr/>
            </p:nvSpPr>
            <p:spPr bwMode="black">
              <a:xfrm>
                <a:off x="-2056726" y="2497926"/>
                <a:ext cx="57142" cy="49212"/>
              </a:xfrm>
              <a:custGeom>
                <a:avLst/>
                <a:gdLst>
                  <a:gd name="T0" fmla="*/ 17813 w 77"/>
                  <a:gd name="T1" fmla="*/ 3028 h 65"/>
                  <a:gd name="T2" fmla="*/ 13360 w 77"/>
                  <a:gd name="T3" fmla="*/ 0 h 65"/>
                  <a:gd name="T4" fmla="*/ 0 w 77"/>
                  <a:gd name="T5" fmla="*/ 22714 h 65"/>
                  <a:gd name="T6" fmla="*/ 5195 w 77"/>
                  <a:gd name="T7" fmla="*/ 25742 h 65"/>
                  <a:gd name="T8" fmla="*/ 39337 w 77"/>
                  <a:gd name="T9" fmla="*/ 46185 h 65"/>
                  <a:gd name="T10" fmla="*/ 43790 w 77"/>
                  <a:gd name="T11" fmla="*/ 49213 h 65"/>
                  <a:gd name="T12" fmla="*/ 57150 w 77"/>
                  <a:gd name="T13" fmla="*/ 25742 h 65"/>
                  <a:gd name="T14" fmla="*/ 52697 w 77"/>
                  <a:gd name="T15" fmla="*/ 23471 h 65"/>
                  <a:gd name="T16" fmla="*/ 17813 w 77"/>
                  <a:gd name="T17" fmla="*/ 3028 h 6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7"/>
                  <a:gd name="T28" fmla="*/ 0 h 65"/>
                  <a:gd name="T29" fmla="*/ 77 w 77"/>
                  <a:gd name="T30" fmla="*/ 65 h 6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solidFill>
                <a:srgbClr val="FFFFFF"/>
              </a:solidFill>
              <a:ln w="9525">
                <a:noFill/>
                <a:miter lim="800000"/>
                <a:headEnd/>
                <a:tailEnd/>
              </a:ln>
            </p:spPr>
            <p:txBody>
              <a:bodyPr/>
              <a:lstStyle/>
              <a:p>
                <a:pPr defTabSz="914324" fontAlgn="base">
                  <a:spcBef>
                    <a:spcPct val="0"/>
                  </a:spcBef>
                  <a:spcAft>
                    <a:spcPct val="0"/>
                  </a:spcAft>
                </a:pPr>
                <a:endParaRPr lang="en-US" sz="1600">
                  <a:solidFill>
                    <a:srgbClr val="FFFFFF"/>
                  </a:solidFill>
                  <a:latin typeface="Arial" charset="0"/>
                  <a:ea typeface="ＭＳ Ｐゴシック" pitchFamily="-103" charset="-128"/>
                </a:endParaRPr>
              </a:p>
            </p:txBody>
          </p:sp>
          <p:sp>
            <p:nvSpPr>
              <p:cNvPr id="47166" name="Freeform 198"/>
              <p:cNvSpPr>
                <a:spLocks/>
              </p:cNvSpPr>
              <p:nvPr/>
            </p:nvSpPr>
            <p:spPr bwMode="black">
              <a:xfrm>
                <a:off x="-1988475" y="2537612"/>
                <a:ext cx="57142" cy="49212"/>
              </a:xfrm>
              <a:custGeom>
                <a:avLst/>
                <a:gdLst>
                  <a:gd name="T0" fmla="*/ 0 w 36"/>
                  <a:gd name="T1" fmla="*/ 23813 h 31"/>
                  <a:gd name="T2" fmla="*/ 44450 w 36"/>
                  <a:gd name="T3" fmla="*/ 49213 h 31"/>
                  <a:gd name="T4" fmla="*/ 57150 w 36"/>
                  <a:gd name="T5" fmla="*/ 26988 h 31"/>
                  <a:gd name="T6" fmla="*/ 12700 w 36"/>
                  <a:gd name="T7" fmla="*/ 0 h 31"/>
                  <a:gd name="T8" fmla="*/ 0 w 36"/>
                  <a:gd name="T9" fmla="*/ 23813 h 31"/>
                  <a:gd name="T10" fmla="*/ 0 60000 65536"/>
                  <a:gd name="T11" fmla="*/ 0 60000 65536"/>
                  <a:gd name="T12" fmla="*/ 0 60000 65536"/>
                  <a:gd name="T13" fmla="*/ 0 60000 65536"/>
                  <a:gd name="T14" fmla="*/ 0 60000 65536"/>
                  <a:gd name="T15" fmla="*/ 0 w 36"/>
                  <a:gd name="T16" fmla="*/ 0 h 31"/>
                  <a:gd name="T17" fmla="*/ 36 w 36"/>
                  <a:gd name="T18" fmla="*/ 31 h 31"/>
                </a:gdLst>
                <a:ahLst/>
                <a:cxnLst>
                  <a:cxn ang="T10">
                    <a:pos x="T0" y="T1"/>
                  </a:cxn>
                  <a:cxn ang="T11">
                    <a:pos x="T2" y="T3"/>
                  </a:cxn>
                  <a:cxn ang="T12">
                    <a:pos x="T4" y="T5"/>
                  </a:cxn>
                  <a:cxn ang="T13">
                    <a:pos x="T6" y="T7"/>
                  </a:cxn>
                  <a:cxn ang="T14">
                    <a:pos x="T8" y="T9"/>
                  </a:cxn>
                </a:cxnLst>
                <a:rect l="T15" t="T16" r="T17" b="T18"/>
                <a:pathLst>
                  <a:path w="36" h="31">
                    <a:moveTo>
                      <a:pt x="0" y="15"/>
                    </a:moveTo>
                    <a:lnTo>
                      <a:pt x="28" y="31"/>
                    </a:lnTo>
                    <a:lnTo>
                      <a:pt x="36" y="17"/>
                    </a:lnTo>
                    <a:lnTo>
                      <a:pt x="8" y="0"/>
                    </a:lnTo>
                    <a:lnTo>
                      <a:pt x="0" y="15"/>
                    </a:lnTo>
                    <a:close/>
                  </a:path>
                </a:pathLst>
              </a:custGeom>
              <a:solidFill>
                <a:srgbClr val="FFFFFF"/>
              </a:solidFill>
              <a:ln w="9525">
                <a:noFill/>
                <a:miter lim="800000"/>
                <a:headEnd/>
                <a:tailEnd/>
              </a:ln>
            </p:spPr>
            <p:txBody>
              <a:bodyPr/>
              <a:lstStyle/>
              <a:p>
                <a:pPr defTabSz="914324" fontAlgn="base">
                  <a:spcBef>
                    <a:spcPct val="0"/>
                  </a:spcBef>
                  <a:spcAft>
                    <a:spcPct val="0"/>
                  </a:spcAft>
                </a:pPr>
                <a:endParaRPr lang="en-US" sz="1600">
                  <a:solidFill>
                    <a:srgbClr val="FFFFFF"/>
                  </a:solidFill>
                  <a:latin typeface="Arial" charset="0"/>
                  <a:ea typeface="ＭＳ Ｐゴシック" pitchFamily="-103" charset="-128"/>
                </a:endParaRPr>
              </a:p>
            </p:txBody>
          </p:sp>
          <p:sp>
            <p:nvSpPr>
              <p:cNvPr id="47167" name="Freeform 199"/>
              <p:cNvSpPr>
                <a:spLocks/>
              </p:cNvSpPr>
              <p:nvPr/>
            </p:nvSpPr>
            <p:spPr bwMode="black">
              <a:xfrm>
                <a:off x="-2126567" y="2458236"/>
                <a:ext cx="58729" cy="47624"/>
              </a:xfrm>
              <a:custGeom>
                <a:avLst/>
                <a:gdLst>
                  <a:gd name="T0" fmla="*/ 18308 w 77"/>
                  <a:gd name="T1" fmla="*/ 2977 h 64"/>
                  <a:gd name="T2" fmla="*/ 12968 w 77"/>
                  <a:gd name="T3" fmla="*/ 0 h 64"/>
                  <a:gd name="T4" fmla="*/ 0 w 77"/>
                  <a:gd name="T5" fmla="*/ 23068 h 64"/>
                  <a:gd name="T6" fmla="*/ 4577 w 77"/>
                  <a:gd name="T7" fmla="*/ 25301 h 64"/>
                  <a:gd name="T8" fmla="*/ 40430 w 77"/>
                  <a:gd name="T9" fmla="*/ 45393 h 64"/>
                  <a:gd name="T10" fmla="*/ 45007 w 77"/>
                  <a:gd name="T11" fmla="*/ 47625 h 64"/>
                  <a:gd name="T12" fmla="*/ 58738 w 77"/>
                  <a:gd name="T13" fmla="*/ 25301 h 64"/>
                  <a:gd name="T14" fmla="*/ 53398 w 77"/>
                  <a:gd name="T15" fmla="*/ 22324 h 64"/>
                  <a:gd name="T16" fmla="*/ 18308 w 77"/>
                  <a:gd name="T17" fmla="*/ 2977 h 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7"/>
                  <a:gd name="T28" fmla="*/ 0 h 64"/>
                  <a:gd name="T29" fmla="*/ 77 w 77"/>
                  <a:gd name="T30" fmla="*/ 64 h 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solidFill>
                <a:srgbClr val="FFFFFF"/>
              </a:solidFill>
              <a:ln w="9525">
                <a:noFill/>
                <a:miter lim="800000"/>
                <a:headEnd/>
                <a:tailEnd/>
              </a:ln>
            </p:spPr>
            <p:txBody>
              <a:bodyPr/>
              <a:lstStyle/>
              <a:p>
                <a:pPr defTabSz="914324" fontAlgn="base">
                  <a:spcBef>
                    <a:spcPct val="0"/>
                  </a:spcBef>
                  <a:spcAft>
                    <a:spcPct val="0"/>
                  </a:spcAft>
                </a:pPr>
                <a:endParaRPr lang="en-US" sz="1600">
                  <a:solidFill>
                    <a:srgbClr val="FFFFFF"/>
                  </a:solidFill>
                  <a:latin typeface="Arial" charset="0"/>
                  <a:ea typeface="ＭＳ Ｐゴシック" pitchFamily="-103" charset="-128"/>
                </a:endParaRPr>
              </a:p>
            </p:txBody>
          </p:sp>
          <p:sp>
            <p:nvSpPr>
              <p:cNvPr id="47168" name="Freeform 200"/>
              <p:cNvSpPr>
                <a:spLocks/>
              </p:cNvSpPr>
              <p:nvPr/>
            </p:nvSpPr>
            <p:spPr bwMode="black">
              <a:xfrm>
                <a:off x="-2196407" y="2420136"/>
                <a:ext cx="57142" cy="47624"/>
              </a:xfrm>
              <a:custGeom>
                <a:avLst/>
                <a:gdLst>
                  <a:gd name="T0" fmla="*/ 17071 w 77"/>
                  <a:gd name="T1" fmla="*/ 2268 h 63"/>
                  <a:gd name="T2" fmla="*/ 11875 w 77"/>
                  <a:gd name="T3" fmla="*/ 0 h 63"/>
                  <a:gd name="T4" fmla="*/ 0 w 77"/>
                  <a:gd name="T5" fmla="*/ 23435 h 63"/>
                  <a:gd name="T6" fmla="*/ 5195 w 77"/>
                  <a:gd name="T7" fmla="*/ 26458 h 63"/>
                  <a:gd name="T8" fmla="*/ 40079 w 77"/>
                  <a:gd name="T9" fmla="*/ 44601 h 63"/>
                  <a:gd name="T10" fmla="*/ 44532 w 77"/>
                  <a:gd name="T11" fmla="*/ 47625 h 63"/>
                  <a:gd name="T12" fmla="*/ 57150 w 77"/>
                  <a:gd name="T13" fmla="*/ 24190 h 63"/>
                  <a:gd name="T14" fmla="*/ 52697 w 77"/>
                  <a:gd name="T15" fmla="*/ 21923 h 63"/>
                  <a:gd name="T16" fmla="*/ 17071 w 77"/>
                  <a:gd name="T17" fmla="*/ 2268 h 6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7"/>
                  <a:gd name="T28" fmla="*/ 0 h 63"/>
                  <a:gd name="T29" fmla="*/ 77 w 77"/>
                  <a:gd name="T30" fmla="*/ 63 h 6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solidFill>
                <a:srgbClr val="FFFFFF"/>
              </a:solidFill>
              <a:ln w="9525">
                <a:noFill/>
                <a:miter lim="800000"/>
                <a:headEnd/>
                <a:tailEnd/>
              </a:ln>
            </p:spPr>
            <p:txBody>
              <a:bodyPr/>
              <a:lstStyle/>
              <a:p>
                <a:pPr defTabSz="914324" fontAlgn="base">
                  <a:spcBef>
                    <a:spcPct val="0"/>
                  </a:spcBef>
                  <a:spcAft>
                    <a:spcPct val="0"/>
                  </a:spcAft>
                </a:pPr>
                <a:endParaRPr lang="en-US" sz="1600">
                  <a:solidFill>
                    <a:srgbClr val="FFFFFF"/>
                  </a:solidFill>
                  <a:latin typeface="Arial" charset="0"/>
                  <a:ea typeface="ＭＳ Ｐゴシック" pitchFamily="-103" charset="-128"/>
                </a:endParaRPr>
              </a:p>
            </p:txBody>
          </p:sp>
          <p:sp>
            <p:nvSpPr>
              <p:cNvPr id="47169" name="Freeform 201"/>
              <p:cNvSpPr>
                <a:spLocks/>
              </p:cNvSpPr>
              <p:nvPr/>
            </p:nvSpPr>
            <p:spPr bwMode="black">
              <a:xfrm>
                <a:off x="-2271009" y="2397912"/>
                <a:ext cx="57142" cy="34924"/>
              </a:xfrm>
              <a:custGeom>
                <a:avLst/>
                <a:gdLst>
                  <a:gd name="T0" fmla="*/ 45118 w 76"/>
                  <a:gd name="T1" fmla="*/ 7431 h 47"/>
                  <a:gd name="T2" fmla="*/ 43614 w 76"/>
                  <a:gd name="T3" fmla="*/ 7431 h 47"/>
                  <a:gd name="T4" fmla="*/ 13536 w 76"/>
                  <a:gd name="T5" fmla="*/ 1486 h 47"/>
                  <a:gd name="T6" fmla="*/ 8272 w 76"/>
                  <a:gd name="T7" fmla="*/ 0 h 47"/>
                  <a:gd name="T8" fmla="*/ 0 w 76"/>
                  <a:gd name="T9" fmla="*/ 24522 h 47"/>
                  <a:gd name="T10" fmla="*/ 5264 w 76"/>
                  <a:gd name="T11" fmla="*/ 26008 h 47"/>
                  <a:gd name="T12" fmla="*/ 41359 w 76"/>
                  <a:gd name="T13" fmla="*/ 33439 h 47"/>
                  <a:gd name="T14" fmla="*/ 45118 w 76"/>
                  <a:gd name="T15" fmla="*/ 33439 h 47"/>
                  <a:gd name="T16" fmla="*/ 45870 w 76"/>
                  <a:gd name="T17" fmla="*/ 33439 h 47"/>
                  <a:gd name="T18" fmla="*/ 51134 w 76"/>
                  <a:gd name="T19" fmla="*/ 34925 h 47"/>
                  <a:gd name="T20" fmla="*/ 57150 w 76"/>
                  <a:gd name="T21" fmla="*/ 9660 h 47"/>
                  <a:gd name="T22" fmla="*/ 51886 w 76"/>
                  <a:gd name="T23" fmla="*/ 8174 h 47"/>
                  <a:gd name="T24" fmla="*/ 45118 w 76"/>
                  <a:gd name="T25" fmla="*/ 7431 h 4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6"/>
                  <a:gd name="T40" fmla="*/ 0 h 47"/>
                  <a:gd name="T41" fmla="*/ 76 w 76"/>
                  <a:gd name="T42" fmla="*/ 47 h 4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solidFill>
                <a:srgbClr val="FFFFFF"/>
              </a:solidFill>
              <a:ln w="9525">
                <a:noFill/>
                <a:miter lim="800000"/>
                <a:headEnd/>
                <a:tailEnd/>
              </a:ln>
            </p:spPr>
            <p:txBody>
              <a:bodyPr/>
              <a:lstStyle/>
              <a:p>
                <a:pPr defTabSz="914324" fontAlgn="base">
                  <a:spcBef>
                    <a:spcPct val="0"/>
                  </a:spcBef>
                  <a:spcAft>
                    <a:spcPct val="0"/>
                  </a:spcAft>
                </a:pPr>
                <a:endParaRPr lang="en-US" sz="1600">
                  <a:solidFill>
                    <a:srgbClr val="FFFFFF"/>
                  </a:solidFill>
                  <a:latin typeface="Arial" charset="0"/>
                  <a:ea typeface="ＭＳ Ｐゴシック" pitchFamily="-103" charset="-128"/>
                </a:endParaRPr>
              </a:p>
            </p:txBody>
          </p:sp>
          <p:sp>
            <p:nvSpPr>
              <p:cNvPr id="47170" name="Freeform 202"/>
              <p:cNvSpPr>
                <a:spLocks/>
              </p:cNvSpPr>
              <p:nvPr/>
            </p:nvSpPr>
            <p:spPr bwMode="black">
              <a:xfrm>
                <a:off x="-1648797" y="2731287"/>
                <a:ext cx="55555" cy="30163"/>
              </a:xfrm>
              <a:custGeom>
                <a:avLst/>
                <a:gdLst>
                  <a:gd name="T0" fmla="*/ 42799 w 74"/>
                  <a:gd name="T1" fmla="*/ 2262 h 40"/>
                  <a:gd name="T2" fmla="*/ 39795 w 74"/>
                  <a:gd name="T3" fmla="*/ 3016 h 40"/>
                  <a:gd name="T4" fmla="*/ 8259 w 74"/>
                  <a:gd name="T5" fmla="*/ 3016 h 40"/>
                  <a:gd name="T6" fmla="*/ 2253 w 74"/>
                  <a:gd name="T7" fmla="*/ 2262 h 40"/>
                  <a:gd name="T8" fmla="*/ 0 w 74"/>
                  <a:gd name="T9" fmla="*/ 28655 h 40"/>
                  <a:gd name="T10" fmla="*/ 5256 w 74"/>
                  <a:gd name="T11" fmla="*/ 29409 h 40"/>
                  <a:gd name="T12" fmla="*/ 24027 w 74"/>
                  <a:gd name="T13" fmla="*/ 30163 h 40"/>
                  <a:gd name="T14" fmla="*/ 45051 w 74"/>
                  <a:gd name="T15" fmla="*/ 28655 h 40"/>
                  <a:gd name="T16" fmla="*/ 50307 w 74"/>
                  <a:gd name="T17" fmla="*/ 27147 h 40"/>
                  <a:gd name="T18" fmla="*/ 55563 w 74"/>
                  <a:gd name="T19" fmla="*/ 25639 h 40"/>
                  <a:gd name="T20" fmla="*/ 48054 w 74"/>
                  <a:gd name="T21" fmla="*/ 0 h 40"/>
                  <a:gd name="T22" fmla="*/ 42799 w 74"/>
                  <a:gd name="T23" fmla="*/ 2262 h 4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4"/>
                  <a:gd name="T37" fmla="*/ 0 h 40"/>
                  <a:gd name="T38" fmla="*/ 74 w 74"/>
                  <a:gd name="T39" fmla="*/ 40 h 4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solidFill>
                <a:srgbClr val="FFFFFF"/>
              </a:solidFill>
              <a:ln w="9525">
                <a:noFill/>
                <a:miter lim="800000"/>
                <a:headEnd/>
                <a:tailEnd/>
              </a:ln>
            </p:spPr>
            <p:txBody>
              <a:bodyPr/>
              <a:lstStyle/>
              <a:p>
                <a:pPr defTabSz="914324" fontAlgn="base">
                  <a:spcBef>
                    <a:spcPct val="0"/>
                  </a:spcBef>
                  <a:spcAft>
                    <a:spcPct val="0"/>
                  </a:spcAft>
                </a:pPr>
                <a:endParaRPr lang="en-US" sz="1600">
                  <a:solidFill>
                    <a:srgbClr val="FFFFFF"/>
                  </a:solidFill>
                  <a:latin typeface="Arial" charset="0"/>
                  <a:ea typeface="ＭＳ Ｐゴシック" pitchFamily="-103" charset="-128"/>
                </a:endParaRPr>
              </a:p>
            </p:txBody>
          </p:sp>
          <p:sp>
            <p:nvSpPr>
              <p:cNvPr id="47171" name="Freeform 203"/>
              <p:cNvSpPr>
                <a:spLocks/>
              </p:cNvSpPr>
              <p:nvPr/>
            </p:nvSpPr>
            <p:spPr bwMode="black">
              <a:xfrm>
                <a:off x="-1786889" y="2663026"/>
                <a:ext cx="49206" cy="58739"/>
              </a:xfrm>
              <a:custGeom>
                <a:avLst/>
                <a:gdLst>
                  <a:gd name="T0" fmla="*/ 37679 w 64"/>
                  <a:gd name="T1" fmla="*/ 25604 h 78"/>
                  <a:gd name="T2" fmla="*/ 37679 w 64"/>
                  <a:gd name="T3" fmla="*/ 24851 h 78"/>
                  <a:gd name="T4" fmla="*/ 25375 w 64"/>
                  <a:gd name="T5" fmla="*/ 4518 h 78"/>
                  <a:gd name="T6" fmla="*/ 22300 w 64"/>
                  <a:gd name="T7" fmla="*/ 0 h 78"/>
                  <a:gd name="T8" fmla="*/ 0 w 64"/>
                  <a:gd name="T9" fmla="*/ 14308 h 78"/>
                  <a:gd name="T10" fmla="*/ 3076 w 64"/>
                  <a:gd name="T11" fmla="*/ 19579 h 78"/>
                  <a:gd name="T12" fmla="*/ 13841 w 64"/>
                  <a:gd name="T13" fmla="*/ 37653 h 78"/>
                  <a:gd name="T14" fmla="*/ 23838 w 64"/>
                  <a:gd name="T15" fmla="*/ 54220 h 78"/>
                  <a:gd name="T16" fmla="*/ 26913 w 64"/>
                  <a:gd name="T17" fmla="*/ 58738 h 78"/>
                  <a:gd name="T18" fmla="*/ 49213 w 64"/>
                  <a:gd name="T19" fmla="*/ 44430 h 78"/>
                  <a:gd name="T20" fmla="*/ 46137 w 64"/>
                  <a:gd name="T21" fmla="*/ 39159 h 78"/>
                  <a:gd name="T22" fmla="*/ 37679 w 64"/>
                  <a:gd name="T23" fmla="*/ 25604 h 7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4"/>
                  <a:gd name="T37" fmla="*/ 0 h 78"/>
                  <a:gd name="T38" fmla="*/ 64 w 64"/>
                  <a:gd name="T39" fmla="*/ 78 h 7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solidFill>
                <a:srgbClr val="FFFFFF"/>
              </a:solidFill>
              <a:ln w="9525">
                <a:noFill/>
                <a:miter lim="800000"/>
                <a:headEnd/>
                <a:tailEnd/>
              </a:ln>
            </p:spPr>
            <p:txBody>
              <a:bodyPr/>
              <a:lstStyle/>
              <a:p>
                <a:pPr defTabSz="914324" fontAlgn="base">
                  <a:spcBef>
                    <a:spcPct val="0"/>
                  </a:spcBef>
                  <a:spcAft>
                    <a:spcPct val="0"/>
                  </a:spcAft>
                </a:pPr>
                <a:endParaRPr lang="en-US" sz="1600">
                  <a:solidFill>
                    <a:srgbClr val="FFFFFF"/>
                  </a:solidFill>
                  <a:latin typeface="Arial" charset="0"/>
                  <a:ea typeface="ＭＳ Ｐゴシック" pitchFamily="-103" charset="-128"/>
                </a:endParaRPr>
              </a:p>
            </p:txBody>
          </p:sp>
          <p:sp>
            <p:nvSpPr>
              <p:cNvPr id="47172" name="Freeform 204"/>
              <p:cNvSpPr>
                <a:spLocks/>
              </p:cNvSpPr>
              <p:nvPr/>
            </p:nvSpPr>
            <p:spPr bwMode="black">
              <a:xfrm>
                <a:off x="-1848794" y="2616987"/>
                <a:ext cx="55555" cy="47624"/>
              </a:xfrm>
              <a:custGeom>
                <a:avLst/>
                <a:gdLst>
                  <a:gd name="T0" fmla="*/ 17039 w 75"/>
                  <a:gd name="T1" fmla="*/ 3073 h 62"/>
                  <a:gd name="T2" fmla="*/ 12594 w 75"/>
                  <a:gd name="T3" fmla="*/ 0 h 62"/>
                  <a:gd name="T4" fmla="*/ 0 w 75"/>
                  <a:gd name="T5" fmla="*/ 23813 h 62"/>
                  <a:gd name="T6" fmla="*/ 4445 w 75"/>
                  <a:gd name="T7" fmla="*/ 26885 h 62"/>
                  <a:gd name="T8" fmla="*/ 42228 w 75"/>
                  <a:gd name="T9" fmla="*/ 45321 h 62"/>
                  <a:gd name="T10" fmla="*/ 48895 w 75"/>
                  <a:gd name="T11" fmla="*/ 47625 h 62"/>
                  <a:gd name="T12" fmla="*/ 55563 w 75"/>
                  <a:gd name="T13" fmla="*/ 21508 h 62"/>
                  <a:gd name="T14" fmla="*/ 48895 w 75"/>
                  <a:gd name="T15" fmla="*/ 19204 h 62"/>
                  <a:gd name="T16" fmla="*/ 17039 w 75"/>
                  <a:gd name="T17" fmla="*/ 3073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5"/>
                  <a:gd name="T28" fmla="*/ 0 h 62"/>
                  <a:gd name="T29" fmla="*/ 75 w 75"/>
                  <a:gd name="T30" fmla="*/ 62 h 6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solidFill>
                <a:srgbClr val="FFFFFF"/>
              </a:solidFill>
              <a:ln w="9525">
                <a:noFill/>
                <a:miter lim="800000"/>
                <a:headEnd/>
                <a:tailEnd/>
              </a:ln>
            </p:spPr>
            <p:txBody>
              <a:bodyPr/>
              <a:lstStyle/>
              <a:p>
                <a:pPr defTabSz="914324" fontAlgn="base">
                  <a:spcBef>
                    <a:spcPct val="0"/>
                  </a:spcBef>
                  <a:spcAft>
                    <a:spcPct val="0"/>
                  </a:spcAft>
                </a:pPr>
                <a:endParaRPr lang="en-US" sz="1600">
                  <a:solidFill>
                    <a:srgbClr val="FFFFFF"/>
                  </a:solidFill>
                  <a:latin typeface="Arial" charset="0"/>
                  <a:ea typeface="ＭＳ Ｐゴシック" pitchFamily="-103" charset="-128"/>
                </a:endParaRPr>
              </a:p>
            </p:txBody>
          </p:sp>
          <p:sp>
            <p:nvSpPr>
              <p:cNvPr id="47173" name="Freeform 205"/>
              <p:cNvSpPr>
                <a:spLocks/>
              </p:cNvSpPr>
              <p:nvPr/>
            </p:nvSpPr>
            <p:spPr bwMode="black">
              <a:xfrm>
                <a:off x="-1729747" y="2716999"/>
                <a:ext cx="57142" cy="38100"/>
              </a:xfrm>
              <a:custGeom>
                <a:avLst/>
                <a:gdLst>
                  <a:gd name="T0" fmla="*/ 14288 w 76"/>
                  <a:gd name="T1" fmla="*/ 2198 h 52"/>
                  <a:gd name="T2" fmla="*/ 9024 w 76"/>
                  <a:gd name="T3" fmla="*/ 0 h 52"/>
                  <a:gd name="T4" fmla="*/ 0 w 76"/>
                  <a:gd name="T5" fmla="*/ 24179 h 52"/>
                  <a:gd name="T6" fmla="*/ 5264 w 76"/>
                  <a:gd name="T7" fmla="*/ 26377 h 52"/>
                  <a:gd name="T8" fmla="*/ 45870 w 76"/>
                  <a:gd name="T9" fmla="*/ 37367 h 52"/>
                  <a:gd name="T10" fmla="*/ 51134 w 76"/>
                  <a:gd name="T11" fmla="*/ 38100 h 52"/>
                  <a:gd name="T12" fmla="*/ 57150 w 76"/>
                  <a:gd name="T13" fmla="*/ 13188 h 52"/>
                  <a:gd name="T14" fmla="*/ 51134 w 76"/>
                  <a:gd name="T15" fmla="*/ 11723 h 52"/>
                  <a:gd name="T16" fmla="*/ 14288 w 76"/>
                  <a:gd name="T17" fmla="*/ 2198 h 5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6"/>
                  <a:gd name="T28" fmla="*/ 0 h 52"/>
                  <a:gd name="T29" fmla="*/ 76 w 76"/>
                  <a:gd name="T30" fmla="*/ 52 h 5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solidFill>
                <a:srgbClr val="FFFFFF"/>
              </a:solidFill>
              <a:ln w="9525">
                <a:noFill/>
                <a:miter lim="800000"/>
                <a:headEnd/>
                <a:tailEnd/>
              </a:ln>
            </p:spPr>
            <p:txBody>
              <a:bodyPr/>
              <a:lstStyle/>
              <a:p>
                <a:pPr defTabSz="914324" fontAlgn="base">
                  <a:spcBef>
                    <a:spcPct val="0"/>
                  </a:spcBef>
                  <a:spcAft>
                    <a:spcPct val="0"/>
                  </a:spcAft>
                </a:pPr>
                <a:endParaRPr lang="en-US" sz="1600">
                  <a:solidFill>
                    <a:srgbClr val="FFFFFF"/>
                  </a:solidFill>
                  <a:latin typeface="Arial" charset="0"/>
                  <a:ea typeface="ＭＳ Ｐゴシック" pitchFamily="-103" charset="-128"/>
                </a:endParaRPr>
              </a:p>
            </p:txBody>
          </p:sp>
          <p:sp>
            <p:nvSpPr>
              <p:cNvPr id="47174" name="Freeform 206"/>
              <p:cNvSpPr>
                <a:spLocks/>
              </p:cNvSpPr>
              <p:nvPr/>
            </p:nvSpPr>
            <p:spPr bwMode="black">
              <a:xfrm>
                <a:off x="-1918634" y="2578887"/>
                <a:ext cx="57142" cy="47624"/>
              </a:xfrm>
              <a:custGeom>
                <a:avLst/>
                <a:gdLst>
                  <a:gd name="T0" fmla="*/ 17813 w 77"/>
                  <a:gd name="T1" fmla="*/ 2232 h 64"/>
                  <a:gd name="T2" fmla="*/ 12618 w 77"/>
                  <a:gd name="T3" fmla="*/ 0 h 64"/>
                  <a:gd name="T4" fmla="*/ 0 w 77"/>
                  <a:gd name="T5" fmla="*/ 22324 h 64"/>
                  <a:gd name="T6" fmla="*/ 4453 w 77"/>
                  <a:gd name="T7" fmla="*/ 25301 h 64"/>
                  <a:gd name="T8" fmla="*/ 39337 w 77"/>
                  <a:gd name="T9" fmla="*/ 45393 h 64"/>
                  <a:gd name="T10" fmla="*/ 43790 w 77"/>
                  <a:gd name="T11" fmla="*/ 47625 h 64"/>
                  <a:gd name="T12" fmla="*/ 57150 w 77"/>
                  <a:gd name="T13" fmla="*/ 25301 h 64"/>
                  <a:gd name="T14" fmla="*/ 51955 w 77"/>
                  <a:gd name="T15" fmla="*/ 22324 h 64"/>
                  <a:gd name="T16" fmla="*/ 17813 w 77"/>
                  <a:gd name="T17" fmla="*/ 2232 h 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7"/>
                  <a:gd name="T28" fmla="*/ 0 h 64"/>
                  <a:gd name="T29" fmla="*/ 77 w 77"/>
                  <a:gd name="T30" fmla="*/ 64 h 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solidFill>
                <a:srgbClr val="FFFFFF"/>
              </a:solidFill>
              <a:ln w="9525">
                <a:noFill/>
                <a:miter lim="800000"/>
                <a:headEnd/>
                <a:tailEnd/>
              </a:ln>
            </p:spPr>
            <p:txBody>
              <a:bodyPr/>
              <a:lstStyle/>
              <a:p>
                <a:pPr defTabSz="914324" fontAlgn="base">
                  <a:spcBef>
                    <a:spcPct val="0"/>
                  </a:spcBef>
                  <a:spcAft>
                    <a:spcPct val="0"/>
                  </a:spcAft>
                </a:pPr>
                <a:endParaRPr lang="en-US" sz="1600">
                  <a:solidFill>
                    <a:srgbClr val="FFFFFF"/>
                  </a:solidFill>
                  <a:latin typeface="Arial" charset="0"/>
                  <a:ea typeface="ＭＳ Ｐゴシック" pitchFamily="-103" charset="-128"/>
                </a:endParaRPr>
              </a:p>
            </p:txBody>
          </p:sp>
          <p:sp>
            <p:nvSpPr>
              <p:cNvPr id="47175" name="Freeform 207"/>
              <p:cNvSpPr>
                <a:spLocks noEditPoints="1"/>
              </p:cNvSpPr>
              <p:nvPr/>
            </p:nvSpPr>
            <p:spPr bwMode="black">
              <a:xfrm>
                <a:off x="-2261487" y="1761321"/>
                <a:ext cx="1198395" cy="892174"/>
              </a:xfrm>
              <a:custGeom>
                <a:avLst/>
                <a:gdLst>
                  <a:gd name="T0" fmla="*/ 1185088 w 1601"/>
                  <a:gd name="T1" fmla="*/ 306381 h 1191"/>
                  <a:gd name="T2" fmla="*/ 667033 w 1601"/>
                  <a:gd name="T3" fmla="*/ 4495 h 1191"/>
                  <a:gd name="T4" fmla="*/ 629601 w 1601"/>
                  <a:gd name="T5" fmla="*/ 4495 h 1191"/>
                  <a:gd name="T6" fmla="*/ 644574 w 1601"/>
                  <a:gd name="T7" fmla="*/ 624747 h 1191"/>
                  <a:gd name="T8" fmla="*/ 446186 w 1601"/>
                  <a:gd name="T9" fmla="*/ 739359 h 1191"/>
                  <a:gd name="T10" fmla="*/ 110798 w 1601"/>
                  <a:gd name="T11" fmla="*/ 597031 h 1191"/>
                  <a:gd name="T12" fmla="*/ 149727 w 1601"/>
                  <a:gd name="T13" fmla="*/ 570812 h 1191"/>
                  <a:gd name="T14" fmla="*/ 663290 w 1601"/>
                  <a:gd name="T15" fmla="*/ 871200 h 1191"/>
                  <a:gd name="T16" fmla="*/ 638585 w 1601"/>
                  <a:gd name="T17" fmla="*/ 892175 h 1191"/>
                  <a:gd name="T18" fmla="*/ 506825 w 1601"/>
                  <a:gd name="T19" fmla="*/ 821760 h 1191"/>
                  <a:gd name="T20" fmla="*/ 546503 w 1601"/>
                  <a:gd name="T21" fmla="*/ 795541 h 1191"/>
                  <a:gd name="T22" fmla="*/ 622115 w 1601"/>
                  <a:gd name="T23" fmla="*/ 693664 h 1191"/>
                  <a:gd name="T24" fmla="*/ 41924 w 1601"/>
                  <a:gd name="T25" fmla="*/ 508637 h 1191"/>
                  <a:gd name="T26" fmla="*/ 49410 w 1601"/>
                  <a:gd name="T27" fmla="*/ 514630 h 1191"/>
                  <a:gd name="T28" fmla="*/ 20213 w 1601"/>
                  <a:gd name="T29" fmla="*/ 545343 h 1191"/>
                  <a:gd name="T30" fmla="*/ 0 w 1601"/>
                  <a:gd name="T31" fmla="*/ 517626 h 1191"/>
                  <a:gd name="T32" fmla="*/ 12727 w 1601"/>
                  <a:gd name="T33" fmla="*/ 311625 h 1191"/>
                  <a:gd name="T34" fmla="*/ 71869 w 1601"/>
                  <a:gd name="T35" fmla="*/ 331101 h 1191"/>
                  <a:gd name="T36" fmla="*/ 656552 w 1601"/>
                  <a:gd name="T37" fmla="*/ 659955 h 1191"/>
                  <a:gd name="T38" fmla="*/ 1197814 w 1601"/>
                  <a:gd name="T39" fmla="*/ 328105 h 1191"/>
                  <a:gd name="T40" fmla="*/ 1198563 w 1601"/>
                  <a:gd name="T41" fmla="*/ 501146 h 1191"/>
                  <a:gd name="T42" fmla="*/ 687995 w 1601"/>
                  <a:gd name="T43" fmla="*/ 814269 h 1191"/>
                  <a:gd name="T44" fmla="*/ 669279 w 1601"/>
                  <a:gd name="T45" fmla="*/ 638980 h 1191"/>
                  <a:gd name="T46" fmla="*/ 393033 w 1601"/>
                  <a:gd name="T47" fmla="*/ 663700 h 1191"/>
                  <a:gd name="T48" fmla="*/ 236568 w 1601"/>
                  <a:gd name="T49" fmla="*/ 576805 h 1191"/>
                  <a:gd name="T50" fmla="*/ 224590 w 1601"/>
                  <a:gd name="T51" fmla="*/ 540099 h 1191"/>
                  <a:gd name="T52" fmla="*/ 391536 w 1601"/>
                  <a:gd name="T53" fmla="*/ 615758 h 1191"/>
                  <a:gd name="T54" fmla="*/ 403514 w 1601"/>
                  <a:gd name="T55" fmla="*/ 651715 h 1191"/>
                  <a:gd name="T56" fmla="*/ 533027 w 1601"/>
                  <a:gd name="T57" fmla="*/ 773818 h 1191"/>
                  <a:gd name="T58" fmla="*/ 485115 w 1601"/>
                  <a:gd name="T59" fmla="*/ 817265 h 1191"/>
                  <a:gd name="T60" fmla="*/ 461907 w 1601"/>
                  <a:gd name="T61" fmla="*/ 801534 h 1191"/>
                  <a:gd name="T62" fmla="*/ 467896 w 1601"/>
                  <a:gd name="T63" fmla="*/ 684675 h 1191"/>
                  <a:gd name="T64" fmla="*/ 533027 w 1601"/>
                  <a:gd name="T65" fmla="*/ 662951 h 1191"/>
                  <a:gd name="T66" fmla="*/ 530033 w 1601"/>
                  <a:gd name="T67" fmla="*/ 680930 h 1191"/>
                  <a:gd name="T68" fmla="*/ 493350 w 1601"/>
                  <a:gd name="T69" fmla="*/ 782058 h 1191"/>
                  <a:gd name="T70" fmla="*/ 533027 w 1601"/>
                  <a:gd name="T71" fmla="*/ 773818 h 1191"/>
                  <a:gd name="T72" fmla="*/ 132508 w 1601"/>
                  <a:gd name="T73" fmla="*/ 566318 h 1191"/>
                  <a:gd name="T74" fmla="*/ 68874 w 1601"/>
                  <a:gd name="T75" fmla="*/ 588791 h 1191"/>
                  <a:gd name="T76" fmla="*/ 64383 w 1601"/>
                  <a:gd name="T77" fmla="*/ 473430 h 1191"/>
                  <a:gd name="T78" fmla="*/ 115290 w 1601"/>
                  <a:gd name="T79" fmla="*/ 434476 h 1191"/>
                  <a:gd name="T80" fmla="*/ 135503 w 1601"/>
                  <a:gd name="T81" fmla="*/ 438222 h 1191"/>
                  <a:gd name="T82" fmla="*/ 96574 w 1601"/>
                  <a:gd name="T83" fmla="*/ 477175 h 1191"/>
                  <a:gd name="T84" fmla="*/ 115290 w 1601"/>
                  <a:gd name="T85" fmla="*/ 546092 h 119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601"/>
                  <a:gd name="T130" fmla="*/ 0 h 1191"/>
                  <a:gd name="T131" fmla="*/ 1601 w 1601"/>
                  <a:gd name="T132" fmla="*/ 1191 h 119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rgbClr val="FFFFFF"/>
              </a:solidFill>
              <a:ln w="9525">
                <a:noFill/>
                <a:miter lim="800000"/>
                <a:headEnd/>
                <a:tailEnd/>
              </a:ln>
            </p:spPr>
            <p:txBody>
              <a:bodyPr/>
              <a:lstStyle/>
              <a:p>
                <a:pPr defTabSz="914324" fontAlgn="base">
                  <a:spcBef>
                    <a:spcPct val="0"/>
                  </a:spcBef>
                  <a:spcAft>
                    <a:spcPct val="0"/>
                  </a:spcAft>
                </a:pPr>
                <a:endParaRPr lang="en-US" sz="1600" dirty="0">
                  <a:solidFill>
                    <a:srgbClr val="FFFFFF"/>
                  </a:solidFill>
                  <a:latin typeface="Arial" charset="0"/>
                  <a:ea typeface="ＭＳ Ｐゴシック" pitchFamily="-103" charset="-128"/>
                </a:endParaRPr>
              </a:p>
            </p:txBody>
          </p:sp>
        </p:grpSp>
      </p:grpSp>
      <p:grpSp>
        <p:nvGrpSpPr>
          <p:cNvPr id="17" name="OS copy"/>
          <p:cNvGrpSpPr>
            <a:grpSpLocks/>
          </p:cNvGrpSpPr>
          <p:nvPr/>
        </p:nvGrpSpPr>
        <p:grpSpPr bwMode="auto">
          <a:xfrm>
            <a:off x="6298629" y="2522858"/>
            <a:ext cx="1919653" cy="1622481"/>
            <a:chOff x="2352613" y="3578456"/>
            <a:chExt cx="2012057" cy="1622481"/>
          </a:xfrm>
        </p:grpSpPr>
        <p:sp>
          <p:nvSpPr>
            <p:cNvPr id="47125" name="TextBox 94"/>
            <p:cNvSpPr txBox="1">
              <a:spLocks noChangeArrowheads="1"/>
            </p:cNvSpPr>
            <p:nvPr/>
          </p:nvSpPr>
          <p:spPr bwMode="auto">
            <a:xfrm>
              <a:off x="2521891" y="4466121"/>
              <a:ext cx="1819747" cy="734816"/>
            </a:xfrm>
            <a:prstGeom prst="rect">
              <a:avLst/>
            </a:prstGeom>
            <a:noFill/>
            <a:ln w="9525">
              <a:noFill/>
              <a:miter lim="800000"/>
              <a:headEnd/>
              <a:tailEnd/>
            </a:ln>
          </p:spPr>
          <p:txBody>
            <a:bodyPr wrap="square" lIns="0" tIns="0" rIns="0" bIns="0">
              <a:spAutoFit/>
            </a:bodyPr>
            <a:lstStyle/>
            <a:p>
              <a:pPr marL="173017" indent="-173017" algn="ctr" defTabSz="914324" fontAlgn="base">
                <a:spcBef>
                  <a:spcPts val="300"/>
                </a:spcBef>
                <a:spcAft>
                  <a:spcPct val="0"/>
                </a:spcAft>
                <a:buClr>
                  <a:srgbClr val="FFFFFF"/>
                </a:buClr>
              </a:pPr>
              <a:r>
                <a:rPr lang="en-US" dirty="0">
                  <a:solidFill>
                    <a:srgbClr val="FFFFFF"/>
                  </a:solidFill>
                  <a:latin typeface="Segoe UI Light" pitchFamily="-84" charset="0"/>
                  <a:ea typeface="ＭＳ Ｐゴシック" pitchFamily="-103" charset="-128"/>
                  <a:cs typeface="Segoe UI" pitchFamily="-84" charset="-52"/>
                </a:rPr>
                <a:t>Microsoft VDI </a:t>
              </a:r>
            </a:p>
            <a:p>
              <a:pPr marL="173017" indent="-173017" algn="ctr" defTabSz="914324" fontAlgn="base">
                <a:spcBef>
                  <a:spcPts val="300"/>
                </a:spcBef>
                <a:spcAft>
                  <a:spcPct val="0"/>
                </a:spcAft>
                <a:buClr>
                  <a:srgbClr val="FFFFFF"/>
                </a:buClr>
              </a:pPr>
              <a:r>
                <a:rPr lang="en-US" dirty="0">
                  <a:solidFill>
                    <a:srgbClr val="FFFFFF"/>
                  </a:solidFill>
                  <a:latin typeface="Segoe UI Light" pitchFamily="-84" charset="0"/>
                  <a:ea typeface="ＭＳ Ｐゴシック" pitchFamily="-103" charset="-128"/>
                  <a:cs typeface="Segoe UI" pitchFamily="-84" charset="-52"/>
                </a:rPr>
                <a:t>Client Hyper-V </a:t>
              </a:r>
            </a:p>
            <a:p>
              <a:pPr marL="173017" indent="-173017" algn="ctr" defTabSz="914324" fontAlgn="base">
                <a:spcBef>
                  <a:spcPts val="300"/>
                </a:spcBef>
                <a:spcAft>
                  <a:spcPct val="0"/>
                </a:spcAft>
                <a:buClr>
                  <a:srgbClr val="FFFFFF"/>
                </a:buClr>
              </a:pPr>
              <a:r>
                <a:rPr lang="en-US" dirty="0">
                  <a:solidFill>
                    <a:srgbClr val="FFFFFF"/>
                  </a:solidFill>
                  <a:latin typeface="Segoe UI Light" pitchFamily="-84" charset="0"/>
                  <a:ea typeface="ＭＳ Ｐゴシック" pitchFamily="-103" charset="-128"/>
                  <a:cs typeface="Segoe UI" pitchFamily="-84" charset="-52"/>
                </a:rPr>
                <a:t>MED-V</a:t>
              </a:r>
            </a:p>
          </p:txBody>
        </p:sp>
        <p:sp>
          <p:nvSpPr>
            <p:cNvPr id="47126" name="TextBox 95"/>
            <p:cNvSpPr txBox="1">
              <a:spLocks noChangeArrowheads="1"/>
            </p:cNvSpPr>
            <p:nvPr/>
          </p:nvSpPr>
          <p:spPr bwMode="auto">
            <a:xfrm>
              <a:off x="2352613" y="3578456"/>
              <a:ext cx="2012057" cy="492443"/>
            </a:xfrm>
            <a:prstGeom prst="rect">
              <a:avLst/>
            </a:prstGeom>
            <a:noFill/>
            <a:ln w="9525">
              <a:noFill/>
              <a:miter lim="800000"/>
              <a:headEnd/>
              <a:tailEnd/>
            </a:ln>
          </p:spPr>
          <p:txBody>
            <a:bodyPr wrap="square" lIns="0" tIns="0" rIns="0" bIns="0">
              <a:spAutoFit/>
            </a:bodyPr>
            <a:lstStyle/>
            <a:p>
              <a:pPr algn="ctr" defTabSz="914324" fontAlgn="base">
                <a:spcBef>
                  <a:spcPct val="0"/>
                </a:spcBef>
                <a:spcAft>
                  <a:spcPct val="0"/>
                </a:spcAft>
              </a:pPr>
              <a:r>
                <a:rPr lang="en-US" sz="1600" i="1" dirty="0">
                  <a:solidFill>
                    <a:srgbClr val="FFFFFF">
                      <a:lumMod val="65000"/>
                    </a:srgbClr>
                  </a:solidFill>
                  <a:ea typeface="Segoe UI" pitchFamily="34" charset="0"/>
                  <a:cs typeface="Segoe UI" pitchFamily="34" charset="0"/>
                </a:rPr>
                <a:t>Windows </a:t>
              </a:r>
            </a:p>
            <a:p>
              <a:pPr algn="ctr" defTabSz="914324" fontAlgn="base">
                <a:spcBef>
                  <a:spcPct val="0"/>
                </a:spcBef>
                <a:spcAft>
                  <a:spcPct val="0"/>
                </a:spcAft>
              </a:pPr>
              <a:r>
                <a:rPr lang="en-US" sz="1600" i="1" dirty="0">
                  <a:solidFill>
                    <a:srgbClr val="FFFFFF">
                      <a:lumMod val="65000"/>
                    </a:srgbClr>
                  </a:solidFill>
                  <a:ea typeface="Segoe UI" pitchFamily="34" charset="0"/>
                  <a:cs typeface="Segoe UI" pitchFamily="34" charset="0"/>
                </a:rPr>
                <a:t>Everywhere</a:t>
              </a:r>
            </a:p>
          </p:txBody>
        </p:sp>
      </p:grpSp>
      <p:sp>
        <p:nvSpPr>
          <p:cNvPr id="103" name="TextBox 102"/>
          <p:cNvSpPr txBox="1"/>
          <p:nvPr/>
        </p:nvSpPr>
        <p:spPr bwMode="auto">
          <a:xfrm rot="16200000">
            <a:off x="4314031" y="-471186"/>
            <a:ext cx="215444" cy="3740767"/>
          </a:xfrm>
          <a:prstGeom prst="rect">
            <a:avLst/>
          </a:prstGeom>
          <a:noFill/>
          <a:ln>
            <a:noFill/>
          </a:ln>
          <a:effectLst>
            <a:outerShdw sx="1000" sy="1000" algn="ctr" rotWithShape="0">
              <a:srgbClr val="000000"/>
            </a:outerShdw>
            <a:reflection endPos="0" dist="50800" dir="5400000" sy="-100000" algn="bl" rotWithShape="0"/>
          </a:effectLst>
        </p:spPr>
        <p:txBody>
          <a:bodyPr vert="vert" wrap="square" lIns="0" tIns="0" rIns="0" bIns="0">
            <a:spAutoFit/>
          </a:bodyPr>
          <a:lstStyle>
            <a:lvl1pPr>
              <a:defRPr>
                <a:solidFill>
                  <a:schemeClr val="tx1"/>
                </a:solidFill>
                <a:latin typeface="Segoe UI Light" pitchFamily="-103" charset="0"/>
                <a:ea typeface="ＭＳ Ｐゴシック" pitchFamily="-103" charset="-128"/>
              </a:defRPr>
            </a:lvl1pPr>
            <a:lvl2pPr marL="37931725" indent="-37474525">
              <a:defRPr>
                <a:solidFill>
                  <a:schemeClr val="tx1"/>
                </a:solidFill>
                <a:latin typeface="Segoe UI Light" pitchFamily="-103" charset="0"/>
                <a:ea typeface="ＭＳ Ｐゴシック" pitchFamily="-103" charset="-128"/>
              </a:defRPr>
            </a:lvl2pPr>
            <a:lvl3pPr>
              <a:defRPr>
                <a:solidFill>
                  <a:schemeClr val="tx1"/>
                </a:solidFill>
                <a:latin typeface="Segoe UI Light" pitchFamily="-103" charset="0"/>
                <a:ea typeface="ＭＳ Ｐゴシック" pitchFamily="-103" charset="-128"/>
              </a:defRPr>
            </a:lvl3pPr>
            <a:lvl4pPr>
              <a:defRPr>
                <a:solidFill>
                  <a:schemeClr val="tx1"/>
                </a:solidFill>
                <a:latin typeface="Segoe UI Light" pitchFamily="-103" charset="0"/>
                <a:ea typeface="ＭＳ Ｐゴシック" pitchFamily="-103" charset="-128"/>
              </a:defRPr>
            </a:lvl4pPr>
            <a:lvl5pPr>
              <a:defRPr>
                <a:solidFill>
                  <a:schemeClr val="tx1"/>
                </a:solidFill>
                <a:latin typeface="Segoe UI Light" pitchFamily="-103" charset="0"/>
                <a:ea typeface="ＭＳ Ｐゴシック" pitchFamily="-103" charset="-128"/>
              </a:defRPr>
            </a:lvl5pPr>
            <a:lvl6pPr marL="457200" fontAlgn="base">
              <a:spcBef>
                <a:spcPct val="0"/>
              </a:spcBef>
              <a:spcAft>
                <a:spcPct val="0"/>
              </a:spcAft>
              <a:defRPr>
                <a:solidFill>
                  <a:schemeClr val="tx1"/>
                </a:solidFill>
                <a:latin typeface="Segoe UI Light" pitchFamily="-103" charset="0"/>
                <a:ea typeface="ＭＳ Ｐゴシック" pitchFamily="-103" charset="-128"/>
              </a:defRPr>
            </a:lvl6pPr>
            <a:lvl7pPr marL="914400" fontAlgn="base">
              <a:spcBef>
                <a:spcPct val="0"/>
              </a:spcBef>
              <a:spcAft>
                <a:spcPct val="0"/>
              </a:spcAft>
              <a:defRPr>
                <a:solidFill>
                  <a:schemeClr val="tx1"/>
                </a:solidFill>
                <a:latin typeface="Segoe UI Light" pitchFamily="-103" charset="0"/>
                <a:ea typeface="ＭＳ Ｐゴシック" pitchFamily="-103" charset="-128"/>
              </a:defRPr>
            </a:lvl7pPr>
            <a:lvl8pPr marL="1371600" fontAlgn="base">
              <a:spcBef>
                <a:spcPct val="0"/>
              </a:spcBef>
              <a:spcAft>
                <a:spcPct val="0"/>
              </a:spcAft>
              <a:defRPr>
                <a:solidFill>
                  <a:schemeClr val="tx1"/>
                </a:solidFill>
                <a:latin typeface="Segoe UI Light" pitchFamily="-103" charset="0"/>
                <a:ea typeface="ＭＳ Ｐゴシック" pitchFamily="-103" charset="-128"/>
              </a:defRPr>
            </a:lvl8pPr>
            <a:lvl9pPr marL="1828800" fontAlgn="base">
              <a:spcBef>
                <a:spcPct val="0"/>
              </a:spcBef>
              <a:spcAft>
                <a:spcPct val="0"/>
              </a:spcAft>
              <a:defRPr>
                <a:solidFill>
                  <a:schemeClr val="tx1"/>
                </a:solidFill>
                <a:latin typeface="Segoe UI Light" pitchFamily="-103" charset="0"/>
                <a:ea typeface="ＭＳ Ｐゴシック" pitchFamily="-103" charset="-128"/>
              </a:defRPr>
            </a:lvl9pPr>
          </a:lstStyle>
          <a:p>
            <a:pPr algn="ctr" defTabSz="914324" fontAlgn="base">
              <a:spcBef>
                <a:spcPts val="600"/>
              </a:spcBef>
              <a:spcAft>
                <a:spcPct val="0"/>
              </a:spcAft>
              <a:buClr>
                <a:srgbClr val="FFFFFF"/>
              </a:buClr>
              <a:defRPr/>
            </a:pPr>
            <a:r>
              <a:rPr lang="en-US" dirty="0">
                <a:solidFill>
                  <a:srgbClr val="FFFFFF"/>
                </a:solidFill>
                <a:latin typeface="Segoe UI Light" pitchFamily="-84" charset="0"/>
                <a:cs typeface="Segoe UI" pitchFamily="-84" charset="-52"/>
              </a:rPr>
              <a:t>Centralized </a:t>
            </a:r>
            <a:r>
              <a:rPr lang="en-US">
                <a:solidFill>
                  <a:srgbClr val="FFFFFF"/>
                </a:solidFill>
                <a:latin typeface="Segoe UI Light" pitchFamily="-84" charset="0"/>
                <a:cs typeface="Segoe UI" pitchFamily="-84" charset="-52"/>
              </a:rPr>
              <a:t>and Unified </a:t>
            </a:r>
            <a:r>
              <a:rPr lang="en-US" dirty="0">
                <a:solidFill>
                  <a:srgbClr val="FFFFFF"/>
                </a:solidFill>
                <a:latin typeface="Segoe UI Light" pitchFamily="-84" charset="0"/>
                <a:cs typeface="Segoe UI" pitchFamily="-84" charset="-52"/>
              </a:rPr>
              <a:t>Management</a:t>
            </a:r>
          </a:p>
        </p:txBody>
      </p:sp>
      <p:sp>
        <p:nvSpPr>
          <p:cNvPr id="145" name="deliver copy"/>
          <p:cNvSpPr/>
          <p:nvPr/>
        </p:nvSpPr>
        <p:spPr bwMode="auto">
          <a:xfrm>
            <a:off x="1" y="4388893"/>
            <a:ext cx="9144000" cy="473467"/>
          </a:xfrm>
          <a:prstGeom prst="rect">
            <a:avLst/>
          </a:prstGeom>
          <a:noFill/>
          <a:ln w="12700">
            <a:noFill/>
            <a:prstDash val="solid"/>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lIns="91424" tIns="45712" rIns="91424" bIns="45712"/>
          <a:lstStyle/>
          <a:p>
            <a:pPr algn="ctr" defTabSz="912699" fontAlgn="base">
              <a:lnSpc>
                <a:spcPct val="90000"/>
              </a:lnSpc>
              <a:spcBef>
                <a:spcPct val="0"/>
              </a:spcBef>
              <a:spcAft>
                <a:spcPct val="0"/>
              </a:spcAft>
            </a:pPr>
            <a:r>
              <a:rPr lang="en-US" sz="1900" dirty="0">
                <a:solidFill>
                  <a:srgbClr val="FFFFFF"/>
                </a:solidFill>
                <a:ea typeface="ＭＳ Ｐゴシック" pitchFamily="-103" charset="-128"/>
              </a:rPr>
              <a:t>Deliver virtualization to the user through a more comprehensive platform!</a:t>
            </a:r>
          </a:p>
        </p:txBody>
      </p:sp>
      <p:pic>
        <p:nvPicPr>
          <p:cNvPr id="16" name="Picture 1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242244" y="892144"/>
            <a:ext cx="2283066" cy="406524"/>
          </a:xfrm>
          <a:prstGeom prst="rect">
            <a:avLst/>
          </a:prstGeom>
        </p:spPr>
      </p:pic>
      <p:sp>
        <p:nvSpPr>
          <p:cNvPr id="100"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01"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1"/>
              </a:rPr>
              <a:t>www.rapidbbs.cn</a:t>
            </a:r>
            <a:endParaRPr lang="zh-CN" altLang="en-US" sz="1200" b="0">
              <a:latin typeface="Arial" charset="0"/>
              <a:ea typeface="ＭＳ Ｐゴシック" pitchFamily="34" charset="-128"/>
            </a:endParaRPr>
          </a:p>
        </p:txBody>
      </p:sp>
      <p:pic>
        <p:nvPicPr>
          <p:cNvPr id="102" name="Picture 2">
            <a:hlinkClick r:id="rId11"/>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77290653"/>
      </p:ext>
    </p:extLst>
  </p:cSld>
  <p:clrMapOvr>
    <a:masterClrMapping/>
  </p:clrMapOvr>
  <p:transition spd="slow" advClick="0">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xit" presetSubtype="0" fill="hold" grpId="0" nodeType="clickEffect">
                                  <p:stCondLst>
                                    <p:cond delay="0"/>
                                  </p:stCondLst>
                                  <p:childTnLst>
                                    <p:set>
                                      <p:cBhvr>
                                        <p:cTn id="6" dur="1" fill="hold">
                                          <p:stCondLst>
                                            <p:cond delay="0"/>
                                          </p:stCondLst>
                                        </p:cTn>
                                        <p:tgtEl>
                                          <p:spTgt spid="144"/>
                                        </p:tgtEl>
                                        <p:attrNameLst>
                                          <p:attrName>style.visibility</p:attrName>
                                        </p:attrNameLst>
                                      </p:cBhvr>
                                      <p:to>
                                        <p:strVal val="hidden"/>
                                      </p:to>
                                    </p:set>
                                  </p:childTnLst>
                                </p:cTn>
                              </p:par>
                              <p:par>
                                <p:cTn id="7" presetID="42" presetClass="path" presetSubtype="0" accel="50000" decel="50000" fill="hold" nodeType="withEffect">
                                  <p:stCondLst>
                                    <p:cond delay="0"/>
                                  </p:stCondLst>
                                  <p:childTnLst>
                                    <p:animMotion origin="layout" path="M 1.66667E-6 4.20241E-6 L -0.29757 -0.137 " pathEditMode="relative" rAng="0" ptsTypes="AA">
                                      <p:cBhvr>
                                        <p:cTn id="8" dur="2000" fill="hold"/>
                                        <p:tgtEl>
                                          <p:spTgt spid="2"/>
                                        </p:tgtEl>
                                        <p:attrNameLst>
                                          <p:attrName>ppt_x</p:attrName>
                                          <p:attrName>ppt_y</p:attrName>
                                        </p:attrNameLst>
                                      </p:cBhvr>
                                      <p:rCtr x="-149" y="-68"/>
                                    </p:animMotion>
                                  </p:childTnLst>
                                </p:cTn>
                              </p:par>
                              <p:par>
                                <p:cTn id="9" presetID="42" presetClass="path" presetSubtype="0" accel="50000" decel="50000" fill="hold" nodeType="withEffect">
                                  <p:stCondLst>
                                    <p:cond delay="0"/>
                                  </p:stCondLst>
                                  <p:childTnLst>
                                    <p:animMotion origin="layout" path="M 1.66667E-6 1.63221E-6 L 1.66667E-6 -0.22987 " pathEditMode="relative" rAng="0" ptsTypes="AA">
                                      <p:cBhvr>
                                        <p:cTn id="10" dur="2000" fill="hold"/>
                                        <p:tgtEl>
                                          <p:spTgt spid="3"/>
                                        </p:tgtEl>
                                        <p:attrNameLst>
                                          <p:attrName>ppt_x</p:attrName>
                                          <p:attrName>ppt_y</p:attrName>
                                        </p:attrNameLst>
                                      </p:cBhvr>
                                      <p:rCtr x="0" y="-115"/>
                                    </p:animMotion>
                                  </p:childTnLst>
                                </p:cTn>
                              </p:par>
                              <p:par>
                                <p:cTn id="11" presetID="42" presetClass="path" presetSubtype="0" accel="50000" decel="50000" fill="hold" nodeType="withEffect">
                                  <p:stCondLst>
                                    <p:cond delay="0"/>
                                  </p:stCondLst>
                                  <p:childTnLst>
                                    <p:animMotion origin="layout" path="M 1.66667E-6 -3.84449E-6 L 0.30364 -0.32212 " pathEditMode="relative" rAng="0" ptsTypes="AA">
                                      <p:cBhvr>
                                        <p:cTn id="12" dur="2000" fill="hold"/>
                                        <p:tgtEl>
                                          <p:spTgt spid="4"/>
                                        </p:tgtEl>
                                        <p:attrNameLst>
                                          <p:attrName>ppt_x</p:attrName>
                                          <p:attrName>ppt_y</p:attrName>
                                        </p:attrNameLst>
                                      </p:cBhvr>
                                      <p:rCtr x="152" y="-161"/>
                                    </p:animMotion>
                                  </p:childTnLst>
                                </p:cTn>
                              </p:par>
                              <p:par>
                                <p:cTn id="13" presetID="1" presetClass="exit" presetSubtype="0" fill="hold" nodeType="withEffect">
                                  <p:stCondLst>
                                    <p:cond delay="3000"/>
                                  </p:stCondLst>
                                  <p:childTnLst>
                                    <p:set>
                                      <p:cBhvr>
                                        <p:cTn id="14" dur="1" fill="hold">
                                          <p:stCondLst>
                                            <p:cond delay="0"/>
                                          </p:stCondLst>
                                        </p:cTn>
                                        <p:tgtEl>
                                          <p:spTgt spid="2"/>
                                        </p:tgtEl>
                                        <p:attrNameLst>
                                          <p:attrName>style.visibility</p:attrName>
                                        </p:attrNameLst>
                                      </p:cBhvr>
                                      <p:to>
                                        <p:strVal val="hidden"/>
                                      </p:to>
                                    </p:set>
                                  </p:childTnLst>
                                </p:cTn>
                              </p:par>
                              <p:par>
                                <p:cTn id="15" presetID="1" presetClass="exit" presetSubtype="0" fill="hold" nodeType="withEffect">
                                  <p:stCondLst>
                                    <p:cond delay="3000"/>
                                  </p:stCondLst>
                                  <p:childTnLst>
                                    <p:set>
                                      <p:cBhvr>
                                        <p:cTn id="16" dur="1" fill="hold">
                                          <p:stCondLst>
                                            <p:cond delay="0"/>
                                          </p:stCondLst>
                                        </p:cTn>
                                        <p:tgtEl>
                                          <p:spTgt spid="3"/>
                                        </p:tgtEl>
                                        <p:attrNameLst>
                                          <p:attrName>style.visibility</p:attrName>
                                        </p:attrNameLst>
                                      </p:cBhvr>
                                      <p:to>
                                        <p:strVal val="hidden"/>
                                      </p:to>
                                    </p:set>
                                  </p:childTnLst>
                                </p:cTn>
                              </p:par>
                              <p:par>
                                <p:cTn id="17" presetID="1" presetClass="exit" presetSubtype="0" fill="hold" nodeType="withEffect">
                                  <p:stCondLst>
                                    <p:cond delay="3000"/>
                                  </p:stCondLst>
                                  <p:childTnLst>
                                    <p:set>
                                      <p:cBhvr>
                                        <p:cTn id="18" dur="1" fill="hold">
                                          <p:stCondLst>
                                            <p:cond delay="0"/>
                                          </p:stCondLst>
                                        </p:cTn>
                                        <p:tgtEl>
                                          <p:spTgt spid="4"/>
                                        </p:tgtEl>
                                        <p:attrNameLst>
                                          <p:attrName>style.visibility</p:attrName>
                                        </p:attrNameLst>
                                      </p:cBhvr>
                                      <p:to>
                                        <p:strVal val="hidden"/>
                                      </p:to>
                                    </p:set>
                                  </p:childTnLst>
                                </p:cTn>
                              </p:par>
                              <p:par>
                                <p:cTn id="19" presetID="22" presetClass="entr" presetSubtype="1" fill="hold" nodeType="withEffect">
                                  <p:stCondLst>
                                    <p:cond delay="2000"/>
                                  </p:stCondLst>
                                  <p:childTnLst>
                                    <p:set>
                                      <p:cBhvr>
                                        <p:cTn id="20" dur="1" fill="hold">
                                          <p:stCondLst>
                                            <p:cond delay="0"/>
                                          </p:stCondLst>
                                        </p:cTn>
                                        <p:tgtEl>
                                          <p:spTgt spid="5"/>
                                        </p:tgtEl>
                                        <p:attrNameLst>
                                          <p:attrName>style.visibility</p:attrName>
                                        </p:attrNameLst>
                                      </p:cBhvr>
                                      <p:to>
                                        <p:strVal val="visible"/>
                                      </p:to>
                                    </p:set>
                                    <p:animEffect transition="in" filter="wipe(up)">
                                      <p:cBhvr>
                                        <p:cTn id="21" dur="500"/>
                                        <p:tgtEl>
                                          <p:spTgt spid="5"/>
                                        </p:tgtEl>
                                      </p:cBhvr>
                                    </p:animEffect>
                                  </p:childTnLst>
                                </p:cTn>
                              </p:par>
                              <p:par>
                                <p:cTn id="22" presetID="22" presetClass="entr" presetSubtype="1" fill="hold" nodeType="withEffect">
                                  <p:stCondLst>
                                    <p:cond delay="2000"/>
                                  </p:stCondLst>
                                  <p:childTnLst>
                                    <p:set>
                                      <p:cBhvr>
                                        <p:cTn id="23" dur="1" fill="hold">
                                          <p:stCondLst>
                                            <p:cond delay="0"/>
                                          </p:stCondLst>
                                        </p:cTn>
                                        <p:tgtEl>
                                          <p:spTgt spid="6"/>
                                        </p:tgtEl>
                                        <p:attrNameLst>
                                          <p:attrName>style.visibility</p:attrName>
                                        </p:attrNameLst>
                                      </p:cBhvr>
                                      <p:to>
                                        <p:strVal val="visible"/>
                                      </p:to>
                                    </p:set>
                                    <p:animEffect transition="in" filter="wipe(up)">
                                      <p:cBhvr>
                                        <p:cTn id="24" dur="500"/>
                                        <p:tgtEl>
                                          <p:spTgt spid="6"/>
                                        </p:tgtEl>
                                      </p:cBhvr>
                                    </p:animEffect>
                                  </p:childTnLst>
                                </p:cTn>
                              </p:par>
                              <p:par>
                                <p:cTn id="25" presetID="22" presetClass="entr" presetSubtype="1" fill="hold" nodeType="withEffect">
                                  <p:stCondLst>
                                    <p:cond delay="2000"/>
                                  </p:stCondLst>
                                  <p:childTnLst>
                                    <p:set>
                                      <p:cBhvr>
                                        <p:cTn id="26" dur="1" fill="hold">
                                          <p:stCondLst>
                                            <p:cond delay="0"/>
                                          </p:stCondLst>
                                        </p:cTn>
                                        <p:tgtEl>
                                          <p:spTgt spid="7"/>
                                        </p:tgtEl>
                                        <p:attrNameLst>
                                          <p:attrName>style.visibility</p:attrName>
                                        </p:attrNameLst>
                                      </p:cBhvr>
                                      <p:to>
                                        <p:strVal val="visible"/>
                                      </p:to>
                                    </p:set>
                                    <p:animEffect transition="in" filter="wipe(up)">
                                      <p:cBhvr>
                                        <p:cTn id="27" dur="500"/>
                                        <p:tgtEl>
                                          <p:spTgt spid="7"/>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1" fill="hold" nodeType="clickEffect">
                                  <p:stCondLst>
                                    <p:cond delay="0"/>
                                  </p:stCondLst>
                                  <p:childTnLst>
                                    <p:set>
                                      <p:cBhvr>
                                        <p:cTn id="31" dur="1" fill="hold">
                                          <p:stCondLst>
                                            <p:cond delay="0"/>
                                          </p:stCondLst>
                                        </p:cTn>
                                        <p:tgtEl>
                                          <p:spTgt spid="8"/>
                                        </p:tgtEl>
                                        <p:attrNameLst>
                                          <p:attrName>style.visibility</p:attrName>
                                        </p:attrNameLst>
                                      </p:cBhvr>
                                      <p:to>
                                        <p:strVal val="visible"/>
                                      </p:to>
                                    </p:set>
                                    <p:animEffect transition="in" filter="wipe(up)">
                                      <p:cBhvr>
                                        <p:cTn id="32" dur="1000"/>
                                        <p:tgtEl>
                                          <p:spTgt spid="8"/>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1" fill="hold" nodeType="clickEffect">
                                  <p:stCondLst>
                                    <p:cond delay="0"/>
                                  </p:stCondLst>
                                  <p:childTnLst>
                                    <p:set>
                                      <p:cBhvr>
                                        <p:cTn id="36" dur="1" fill="hold">
                                          <p:stCondLst>
                                            <p:cond delay="0"/>
                                          </p:stCondLst>
                                        </p:cTn>
                                        <p:tgtEl>
                                          <p:spTgt spid="13"/>
                                        </p:tgtEl>
                                        <p:attrNameLst>
                                          <p:attrName>style.visibility</p:attrName>
                                        </p:attrNameLst>
                                      </p:cBhvr>
                                      <p:to>
                                        <p:strVal val="visible"/>
                                      </p:to>
                                    </p:set>
                                    <p:animEffect transition="in" filter="wipe(up)">
                                      <p:cBhvr>
                                        <p:cTn id="37" dur="1000"/>
                                        <p:tgtEl>
                                          <p:spTgt spid="13"/>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1" fill="hold" nodeType="clickEffect">
                                  <p:stCondLst>
                                    <p:cond delay="0"/>
                                  </p:stCondLst>
                                  <p:childTnLst>
                                    <p:set>
                                      <p:cBhvr>
                                        <p:cTn id="41" dur="1" fill="hold">
                                          <p:stCondLst>
                                            <p:cond delay="0"/>
                                          </p:stCondLst>
                                        </p:cTn>
                                        <p:tgtEl>
                                          <p:spTgt spid="17"/>
                                        </p:tgtEl>
                                        <p:attrNameLst>
                                          <p:attrName>style.visibility</p:attrName>
                                        </p:attrNameLst>
                                      </p:cBhvr>
                                      <p:to>
                                        <p:strVal val="visible"/>
                                      </p:to>
                                    </p:set>
                                    <p:animEffect transition="in" filter="wipe(up)">
                                      <p:cBhvr>
                                        <p:cTn id="42" dur="1000"/>
                                        <p:tgtEl>
                                          <p:spTgt spid="17"/>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8" fill="hold" grpId="0" nodeType="clickEffect">
                                  <p:stCondLst>
                                    <p:cond delay="0"/>
                                  </p:stCondLst>
                                  <p:childTnLst>
                                    <p:set>
                                      <p:cBhvr>
                                        <p:cTn id="46" dur="1" fill="hold">
                                          <p:stCondLst>
                                            <p:cond delay="0"/>
                                          </p:stCondLst>
                                        </p:cTn>
                                        <p:tgtEl>
                                          <p:spTgt spid="103"/>
                                        </p:tgtEl>
                                        <p:attrNameLst>
                                          <p:attrName>style.visibility</p:attrName>
                                        </p:attrNameLst>
                                      </p:cBhvr>
                                      <p:to>
                                        <p:strVal val="visible"/>
                                      </p:to>
                                    </p:set>
                                    <p:animEffect transition="in" filter="wipe(left)">
                                      <p:cBhvr>
                                        <p:cTn id="47" dur="500"/>
                                        <p:tgtEl>
                                          <p:spTgt spid="103"/>
                                        </p:tgtEl>
                                      </p:cBhvr>
                                    </p:animEffect>
                                  </p:childTnLst>
                                </p:cTn>
                              </p:par>
                              <p:par>
                                <p:cTn id="48" presetID="22" presetClass="entr" presetSubtype="8" fill="hold" nodeType="withEffect">
                                  <p:stCondLst>
                                    <p:cond delay="0"/>
                                  </p:stCondLst>
                                  <p:childTnLst>
                                    <p:set>
                                      <p:cBhvr>
                                        <p:cTn id="49" dur="1" fill="hold">
                                          <p:stCondLst>
                                            <p:cond delay="0"/>
                                          </p:stCondLst>
                                        </p:cTn>
                                        <p:tgtEl>
                                          <p:spTgt spid="16"/>
                                        </p:tgtEl>
                                        <p:attrNameLst>
                                          <p:attrName>style.visibility</p:attrName>
                                        </p:attrNameLst>
                                      </p:cBhvr>
                                      <p:to>
                                        <p:strVal val="visible"/>
                                      </p:to>
                                    </p:set>
                                    <p:animEffect transition="in" filter="wipe(left)">
                                      <p:cBhvr>
                                        <p:cTn id="50" dur="500"/>
                                        <p:tgtEl>
                                          <p:spTgt spid="16"/>
                                        </p:tgtEl>
                                      </p:cBhvr>
                                    </p:animEffect>
                                  </p:childTnLst>
                                </p:cTn>
                              </p:par>
                            </p:childTnLst>
                          </p:cTn>
                        </p:par>
                        <p:par>
                          <p:cTn id="51" fill="hold">
                            <p:stCondLst>
                              <p:cond delay="500"/>
                            </p:stCondLst>
                            <p:childTnLst>
                              <p:par>
                                <p:cTn id="52" presetID="22" presetClass="entr" presetSubtype="1" fill="hold" grpId="0" nodeType="afterEffect">
                                  <p:stCondLst>
                                    <p:cond delay="0"/>
                                  </p:stCondLst>
                                  <p:childTnLst>
                                    <p:set>
                                      <p:cBhvr>
                                        <p:cTn id="53" dur="1" fill="hold">
                                          <p:stCondLst>
                                            <p:cond delay="0"/>
                                          </p:stCondLst>
                                        </p:cTn>
                                        <p:tgtEl>
                                          <p:spTgt spid="112"/>
                                        </p:tgtEl>
                                        <p:attrNameLst>
                                          <p:attrName>style.visibility</p:attrName>
                                        </p:attrNameLst>
                                      </p:cBhvr>
                                      <p:to>
                                        <p:strVal val="visible"/>
                                      </p:to>
                                    </p:set>
                                    <p:animEffect transition="in" filter="wipe(up)">
                                      <p:cBhvr>
                                        <p:cTn id="54" dur="1250"/>
                                        <p:tgtEl>
                                          <p:spTgt spid="112"/>
                                        </p:tgtEl>
                                      </p:cBhvr>
                                    </p:animEffect>
                                  </p:childTnLst>
                                </p:cTn>
                              </p:par>
                            </p:childTnLst>
                          </p:cTn>
                        </p:par>
                        <p:par>
                          <p:cTn id="55" fill="hold">
                            <p:stCondLst>
                              <p:cond delay="1750"/>
                            </p:stCondLst>
                            <p:childTnLst>
                              <p:par>
                                <p:cTn id="56" presetID="2" presetClass="entr" presetSubtype="8" fill="hold" grpId="0" nodeType="afterEffect">
                                  <p:stCondLst>
                                    <p:cond delay="500"/>
                                  </p:stCondLst>
                                  <p:iterate type="lt">
                                    <p:tmPct val="0"/>
                                  </p:iterate>
                                  <p:childTnLst>
                                    <p:set>
                                      <p:cBhvr>
                                        <p:cTn id="57" dur="1" fill="hold">
                                          <p:stCondLst>
                                            <p:cond delay="0"/>
                                          </p:stCondLst>
                                        </p:cTn>
                                        <p:tgtEl>
                                          <p:spTgt spid="145"/>
                                        </p:tgtEl>
                                        <p:attrNameLst>
                                          <p:attrName>style.visibility</p:attrName>
                                        </p:attrNameLst>
                                      </p:cBhvr>
                                      <p:to>
                                        <p:strVal val="visible"/>
                                      </p:to>
                                    </p:set>
                                    <p:anim calcmode="lin" valueType="num">
                                      <p:cBhvr additive="base">
                                        <p:cTn id="58" dur="750" fill="hold"/>
                                        <p:tgtEl>
                                          <p:spTgt spid="145"/>
                                        </p:tgtEl>
                                        <p:attrNameLst>
                                          <p:attrName>ppt_x</p:attrName>
                                        </p:attrNameLst>
                                      </p:cBhvr>
                                      <p:tavLst>
                                        <p:tav tm="0">
                                          <p:val>
                                            <p:strVal val="0-#ppt_w/2"/>
                                          </p:val>
                                        </p:tav>
                                        <p:tav tm="100000">
                                          <p:val>
                                            <p:strVal val="#ppt_x"/>
                                          </p:val>
                                        </p:tav>
                                      </p:tavLst>
                                    </p:anim>
                                    <p:anim calcmode="lin" valueType="num">
                                      <p:cBhvr additive="base">
                                        <p:cTn id="59" dur="750" fill="hold"/>
                                        <p:tgtEl>
                                          <p:spTgt spid="14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2" grpId="0" animBg="1"/>
      <p:bldP spid="144" grpId="0" animBg="1"/>
      <p:bldP spid="103" grpId="0"/>
      <p:bldP spid="145" grpId="0"/>
    </p:bldLst>
  </p:timing>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dernize legacy assets</a:t>
            </a:r>
            <a:endParaRPr lang="en-US" dirty="0">
              <a:gradFill flip="none" rotWithShape="1">
                <a:gsLst>
                  <a:gs pos="0">
                    <a:schemeClr val="accent1"/>
                  </a:gs>
                  <a:gs pos="100000">
                    <a:schemeClr val="accent1"/>
                  </a:gs>
                </a:gsLst>
                <a:lin ang="5400000" scaled="0"/>
                <a:tileRect/>
              </a:gradFill>
            </a:endParaRPr>
          </a:p>
        </p:txBody>
      </p:sp>
      <p:sp>
        <p:nvSpPr>
          <p:cNvPr id="20" name="Rectangle 19"/>
          <p:cNvSpPr/>
          <p:nvPr/>
        </p:nvSpPr>
        <p:spPr bwMode="auto">
          <a:xfrm>
            <a:off x="6647944" y="1335017"/>
            <a:ext cx="1409147" cy="2895275"/>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b" anchorCtr="0" forceAA="0" compatLnSpc="1">
            <a:prstTxWarp prst="textNoShape">
              <a:avLst/>
            </a:prstTxWarp>
            <a:noAutofit/>
          </a:bodyPr>
          <a:lstStyle/>
          <a:p>
            <a:pPr defTabSz="685637" fontAlgn="base">
              <a:lnSpc>
                <a:spcPct val="80000"/>
              </a:lnSpc>
              <a:spcBef>
                <a:spcPct val="0"/>
              </a:spcBef>
              <a:spcAft>
                <a:spcPct val="0"/>
              </a:spcAft>
            </a:pPr>
            <a:r>
              <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rPr>
              <a:t>Quirks</a:t>
            </a:r>
          </a:p>
        </p:txBody>
      </p:sp>
      <p:sp>
        <p:nvSpPr>
          <p:cNvPr id="69" name="Rectangle 68"/>
          <p:cNvSpPr/>
          <p:nvPr/>
        </p:nvSpPr>
        <p:spPr bwMode="auto">
          <a:xfrm>
            <a:off x="5157715" y="1335017"/>
            <a:ext cx="1409147" cy="1408781"/>
          </a:xfrm>
          <a:prstGeom prst="rect">
            <a:avLst/>
          </a:prstGeom>
          <a:solidFill>
            <a:srgbClr val="FF82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b" anchorCtr="0" forceAA="0" compatLnSpc="1">
            <a:prstTxWarp prst="textNoShape">
              <a:avLst/>
            </a:prstTxWarp>
            <a:noAutofit/>
          </a:bodyPr>
          <a:lstStyle/>
          <a:p>
            <a:pPr defTabSz="685637" fontAlgn="base">
              <a:lnSpc>
                <a:spcPct val="80000"/>
              </a:lnSpc>
              <a:spcBef>
                <a:spcPct val="0"/>
              </a:spcBef>
              <a:spcAft>
                <a:spcPct val="0"/>
              </a:spcAft>
            </a:pPr>
            <a:r>
              <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rPr>
              <a:t>VB6</a:t>
            </a:r>
          </a:p>
        </p:txBody>
      </p:sp>
      <p:sp>
        <p:nvSpPr>
          <p:cNvPr id="70" name="Rectangle 69"/>
          <p:cNvSpPr/>
          <p:nvPr/>
        </p:nvSpPr>
        <p:spPr bwMode="auto">
          <a:xfrm>
            <a:off x="5157715" y="2824961"/>
            <a:ext cx="1409147" cy="14087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b" anchorCtr="0" forceAA="0" compatLnSpc="1">
            <a:prstTxWarp prst="textNoShape">
              <a:avLst/>
            </a:prstTxWarp>
            <a:noAutofit/>
          </a:bodyPr>
          <a:lstStyle/>
          <a:p>
            <a:pPr defTabSz="685637" fontAlgn="base">
              <a:lnSpc>
                <a:spcPct val="80000"/>
              </a:lnSpc>
              <a:spcBef>
                <a:spcPct val="0"/>
              </a:spcBef>
              <a:spcAft>
                <a:spcPct val="0"/>
              </a:spcAft>
            </a:pPr>
            <a:r>
              <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rPr>
              <a:t>HTML5</a:t>
            </a:r>
          </a:p>
        </p:txBody>
      </p:sp>
      <p:sp>
        <p:nvSpPr>
          <p:cNvPr id="75" name="Right Arrow 74"/>
          <p:cNvSpPr/>
          <p:nvPr/>
        </p:nvSpPr>
        <p:spPr bwMode="auto">
          <a:xfrm rot="5400000" flipV="1">
            <a:off x="6408564" y="2374954"/>
            <a:ext cx="2676308" cy="610405"/>
          </a:xfrm>
          <a:prstGeom prst="rightArrow">
            <a:avLst/>
          </a:prstGeom>
          <a:solidFill>
            <a:srgbClr val="FBFBF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76" name="TextBox 75"/>
          <p:cNvSpPr txBox="1"/>
          <p:nvPr/>
        </p:nvSpPr>
        <p:spPr>
          <a:xfrm>
            <a:off x="6671635" y="2444678"/>
            <a:ext cx="1041301" cy="507831"/>
          </a:xfrm>
          <a:prstGeom prst="rect">
            <a:avLst/>
          </a:prstGeom>
          <a:noFill/>
        </p:spPr>
        <p:txBody>
          <a:bodyPr wrap="square" lIns="0" tIns="0" rIns="0" bIns="0" rtlCol="0">
            <a:spAutoFit/>
          </a:bodyPr>
          <a:lstStyle/>
          <a:p>
            <a:r>
              <a:rPr lang="en-US" sz="3300" spc="-225" dirty="0">
                <a:gradFill>
                  <a:gsLst>
                    <a:gs pos="0">
                      <a:srgbClr val="FFFFFF"/>
                    </a:gs>
                    <a:gs pos="86000">
                      <a:srgbClr val="FFFFFF"/>
                    </a:gs>
                  </a:gsLst>
                  <a:lin ang="5400000" scaled="0"/>
                </a:gradFill>
                <a:latin typeface="+mj-lt"/>
              </a:rPr>
              <a:t>-80%</a:t>
            </a:r>
          </a:p>
        </p:txBody>
      </p:sp>
      <p:sp>
        <p:nvSpPr>
          <p:cNvPr id="77" name="Right Arrow 76"/>
          <p:cNvSpPr/>
          <p:nvPr/>
        </p:nvSpPr>
        <p:spPr bwMode="auto">
          <a:xfrm rot="5400000" flipV="1">
            <a:off x="5830796" y="1451776"/>
            <a:ext cx="851384" cy="610405"/>
          </a:xfrm>
          <a:prstGeom prst="rightArrow">
            <a:avLst/>
          </a:prstGeom>
          <a:solidFill>
            <a:srgbClr val="FBFBF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78" name="TextBox 77"/>
          <p:cNvSpPr txBox="1"/>
          <p:nvPr/>
        </p:nvSpPr>
        <p:spPr>
          <a:xfrm>
            <a:off x="5176460" y="2827451"/>
            <a:ext cx="1385230" cy="507831"/>
          </a:xfrm>
          <a:prstGeom prst="rect">
            <a:avLst/>
          </a:prstGeom>
          <a:noFill/>
        </p:spPr>
        <p:txBody>
          <a:bodyPr wrap="square" lIns="0" tIns="0" rIns="0" bIns="0" rtlCol="0">
            <a:spAutoFit/>
          </a:bodyPr>
          <a:lstStyle/>
          <a:p>
            <a:r>
              <a:rPr lang="en-US" sz="3300" spc="-225" dirty="0">
                <a:gradFill>
                  <a:gsLst>
                    <a:gs pos="0">
                      <a:srgbClr val="FFFFFF"/>
                    </a:gs>
                    <a:gs pos="86000">
                      <a:srgbClr val="FFFFFF"/>
                    </a:gs>
                  </a:gsLst>
                  <a:lin ang="5400000" scaled="0"/>
                </a:gradFill>
                <a:latin typeface="+mj-lt"/>
              </a:rPr>
              <a:t>+50%</a:t>
            </a:r>
          </a:p>
        </p:txBody>
      </p:sp>
      <p:sp>
        <p:nvSpPr>
          <p:cNvPr id="79" name="Right Arrow 78"/>
          <p:cNvSpPr/>
          <p:nvPr/>
        </p:nvSpPr>
        <p:spPr bwMode="auto">
          <a:xfrm rot="16200000">
            <a:off x="5743620" y="3415670"/>
            <a:ext cx="1025739" cy="610405"/>
          </a:xfrm>
          <a:prstGeom prst="rightArrow">
            <a:avLst/>
          </a:prstGeom>
          <a:solidFill>
            <a:srgbClr val="FBFBF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93" name="TextBox 92"/>
          <p:cNvSpPr txBox="1"/>
          <p:nvPr/>
        </p:nvSpPr>
        <p:spPr>
          <a:xfrm>
            <a:off x="5176462" y="1337507"/>
            <a:ext cx="1390401" cy="507831"/>
          </a:xfrm>
          <a:prstGeom prst="rect">
            <a:avLst/>
          </a:prstGeom>
          <a:noFill/>
        </p:spPr>
        <p:txBody>
          <a:bodyPr wrap="square" lIns="0" tIns="0" rIns="0" bIns="0" rtlCol="0">
            <a:spAutoFit/>
          </a:bodyPr>
          <a:lstStyle/>
          <a:p>
            <a:r>
              <a:rPr lang="en-US" sz="3300" spc="-225" dirty="0">
                <a:gradFill>
                  <a:gsLst>
                    <a:gs pos="0">
                      <a:srgbClr val="FFFFFF"/>
                    </a:gs>
                    <a:gs pos="86000">
                      <a:srgbClr val="FFFFFF"/>
                    </a:gs>
                  </a:gsLst>
                  <a:lin ang="5400000" scaled="0"/>
                </a:gradFill>
                <a:latin typeface="+mj-lt"/>
              </a:rPr>
              <a:t>-30%</a:t>
            </a:r>
          </a:p>
        </p:txBody>
      </p:sp>
      <p:graphicFrame>
        <p:nvGraphicFramePr>
          <p:cNvPr id="3" name="Chart 2"/>
          <p:cNvGraphicFramePr/>
          <p:nvPr>
            <p:extLst>
              <p:ext uri="{D42A27DB-BD31-4B8C-83A1-F6EECF244321}">
                <p14:modId xmlns:p14="http://schemas.microsoft.com/office/powerpoint/2010/main" val="3955355781"/>
              </p:ext>
            </p:extLst>
          </p:nvPr>
        </p:nvGraphicFramePr>
        <p:xfrm>
          <a:off x="661669" y="810492"/>
          <a:ext cx="4419225" cy="3470702"/>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4"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pic>
        <p:nvPicPr>
          <p:cNvPr id="15"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47306106"/>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lication portfolio management</a:t>
            </a:r>
            <a:endParaRPr lang="en-US" dirty="0">
              <a:gradFill flip="none" rotWithShape="1">
                <a:gsLst>
                  <a:gs pos="0">
                    <a:schemeClr val="accent1"/>
                  </a:gs>
                  <a:gs pos="100000">
                    <a:schemeClr val="accent1"/>
                  </a:gs>
                </a:gsLst>
                <a:lin ang="5400000" scaled="0"/>
                <a:tileRect/>
              </a:gradFill>
            </a:endParaRPr>
          </a:p>
        </p:txBody>
      </p:sp>
      <p:sp>
        <p:nvSpPr>
          <p:cNvPr id="20" name="Rectangle 19"/>
          <p:cNvSpPr/>
          <p:nvPr/>
        </p:nvSpPr>
        <p:spPr bwMode="auto">
          <a:xfrm>
            <a:off x="6840661" y="1334693"/>
            <a:ext cx="1409147" cy="1408781"/>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b" anchorCtr="0" forceAA="0" compatLnSpc="1">
            <a:prstTxWarp prst="textNoShape">
              <a:avLst/>
            </a:prstTxWarp>
            <a:noAutofit/>
          </a:bodyPr>
          <a:lstStyle/>
          <a:p>
            <a:pPr defTabSz="685637" fontAlgn="base">
              <a:lnSpc>
                <a:spcPct val="80000"/>
              </a:lnSpc>
              <a:spcBef>
                <a:spcPct val="0"/>
              </a:spcBef>
              <a:spcAft>
                <a:spcPct val="0"/>
              </a:spcAft>
            </a:pPr>
            <a:r>
              <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rPr>
              <a:t>defined</a:t>
            </a:r>
          </a:p>
        </p:txBody>
      </p:sp>
      <p:sp>
        <p:nvSpPr>
          <p:cNvPr id="21" name="Rectangle 20"/>
          <p:cNvSpPr/>
          <p:nvPr/>
        </p:nvSpPr>
        <p:spPr bwMode="auto">
          <a:xfrm>
            <a:off x="6840661" y="2824637"/>
            <a:ext cx="1409147" cy="1408781"/>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b" anchorCtr="0" forceAA="0" compatLnSpc="1">
            <a:prstTxWarp prst="textNoShape">
              <a:avLst/>
            </a:prstTxWarp>
            <a:noAutofit/>
          </a:bodyPr>
          <a:lstStyle/>
          <a:p>
            <a:pPr defTabSz="685637" fontAlgn="base">
              <a:lnSpc>
                <a:spcPct val="80000"/>
              </a:lnSpc>
              <a:spcBef>
                <a:spcPct val="0"/>
              </a:spcBef>
              <a:spcAft>
                <a:spcPct val="0"/>
              </a:spcAft>
            </a:pPr>
            <a:r>
              <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rPr>
              <a:t>competitive</a:t>
            </a:r>
            <a:br>
              <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rPr>
            </a:br>
            <a:r>
              <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rPr>
              <a:t>  advantage</a:t>
            </a:r>
          </a:p>
          <a:p>
            <a:pPr defTabSz="685637" fontAlgn="base">
              <a:lnSpc>
                <a:spcPct val="80000"/>
              </a:lnSpc>
              <a:spcBef>
                <a:spcPct val="0"/>
              </a:spcBef>
              <a:spcAft>
                <a:spcPct val="0"/>
              </a:spcAft>
            </a:pPr>
            <a:r>
              <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rPr>
              <a:t>innovation</a:t>
            </a:r>
          </a:p>
        </p:txBody>
      </p:sp>
      <p:sp>
        <p:nvSpPr>
          <p:cNvPr id="40" name="Rectangle 39"/>
          <p:cNvSpPr/>
          <p:nvPr/>
        </p:nvSpPr>
        <p:spPr bwMode="auto">
          <a:xfrm>
            <a:off x="5354776" y="1334693"/>
            <a:ext cx="1409147" cy="1408781"/>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b" anchorCtr="0" forceAA="0" compatLnSpc="1">
            <a:prstTxWarp prst="textNoShape">
              <a:avLst/>
            </a:prstTxWarp>
            <a:noAutofit/>
          </a:bodyPr>
          <a:lstStyle/>
          <a:p>
            <a:pPr defTabSz="685637" fontAlgn="base">
              <a:lnSpc>
                <a:spcPct val="80000"/>
              </a:lnSpc>
              <a:spcBef>
                <a:spcPct val="0"/>
              </a:spcBef>
              <a:spcAft>
                <a:spcPct val="0"/>
              </a:spcAft>
            </a:pPr>
            <a:r>
              <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rPr>
              <a:t>managed</a:t>
            </a:r>
          </a:p>
        </p:txBody>
      </p:sp>
      <p:sp>
        <p:nvSpPr>
          <p:cNvPr id="66" name="Rectangle 65"/>
          <p:cNvSpPr/>
          <p:nvPr/>
        </p:nvSpPr>
        <p:spPr bwMode="auto">
          <a:xfrm>
            <a:off x="3870558" y="1331457"/>
            <a:ext cx="1409147" cy="1408781"/>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b" anchorCtr="0" forceAA="0" compatLnSpc="1">
            <a:prstTxWarp prst="textNoShape">
              <a:avLst/>
            </a:prstTxWarp>
            <a:noAutofit/>
          </a:bodyPr>
          <a:lstStyle/>
          <a:p>
            <a:pPr defTabSz="685637" fontAlgn="base">
              <a:lnSpc>
                <a:spcPct val="80000"/>
              </a:lnSpc>
              <a:spcBef>
                <a:spcPct val="0"/>
              </a:spcBef>
              <a:spcAft>
                <a:spcPct val="0"/>
              </a:spcAft>
            </a:pPr>
            <a:r>
              <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rPr>
              <a:t>performed</a:t>
            </a:r>
          </a:p>
        </p:txBody>
      </p:sp>
      <p:sp>
        <p:nvSpPr>
          <p:cNvPr id="67" name="Rectangle 66"/>
          <p:cNvSpPr/>
          <p:nvPr/>
        </p:nvSpPr>
        <p:spPr bwMode="auto">
          <a:xfrm>
            <a:off x="2397664" y="1330379"/>
            <a:ext cx="1409147" cy="1408781"/>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b" anchorCtr="0" forceAA="0" compatLnSpc="1">
            <a:prstTxWarp prst="textNoShape">
              <a:avLst/>
            </a:prstTxWarp>
            <a:noAutofit/>
          </a:bodyPr>
          <a:lstStyle/>
          <a:p>
            <a:pPr defTabSz="685637" fontAlgn="base">
              <a:lnSpc>
                <a:spcPct val="80000"/>
              </a:lnSpc>
              <a:spcBef>
                <a:spcPct val="0"/>
              </a:spcBef>
              <a:spcAft>
                <a:spcPct val="0"/>
              </a:spcAft>
            </a:pPr>
            <a:r>
              <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rPr>
              <a:t>incomplete</a:t>
            </a:r>
          </a:p>
        </p:txBody>
      </p:sp>
      <p:sp>
        <p:nvSpPr>
          <p:cNvPr id="69" name="Rectangle 68"/>
          <p:cNvSpPr/>
          <p:nvPr/>
        </p:nvSpPr>
        <p:spPr bwMode="auto">
          <a:xfrm>
            <a:off x="894193" y="2824637"/>
            <a:ext cx="1409147" cy="1408781"/>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b" anchorCtr="0" forceAA="0" compatLnSpc="1">
            <a:prstTxWarp prst="textNoShape">
              <a:avLst/>
            </a:prstTxWarp>
            <a:noAutofit/>
          </a:bodyPr>
          <a:lstStyle/>
          <a:p>
            <a:pPr defTabSz="685637" fontAlgn="base">
              <a:lnSpc>
                <a:spcPct val="80000"/>
              </a:lnSpc>
              <a:spcBef>
                <a:spcPct val="0"/>
              </a:spcBef>
              <a:spcAft>
                <a:spcPct val="0"/>
              </a:spcAft>
            </a:pPr>
            <a:r>
              <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rPr>
              <a:t>business drivers</a:t>
            </a:r>
          </a:p>
        </p:txBody>
      </p:sp>
      <p:sp>
        <p:nvSpPr>
          <p:cNvPr id="70" name="Rectangle 69"/>
          <p:cNvSpPr/>
          <p:nvPr/>
        </p:nvSpPr>
        <p:spPr bwMode="auto">
          <a:xfrm>
            <a:off x="2397664" y="2824637"/>
            <a:ext cx="1409147" cy="1408781"/>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b" anchorCtr="0" forceAA="0" compatLnSpc="1">
            <a:prstTxWarp prst="textNoShape">
              <a:avLst/>
            </a:prstTxWarp>
            <a:noAutofit/>
          </a:bodyPr>
          <a:lstStyle/>
          <a:p>
            <a:pPr defTabSz="685637" fontAlgn="base">
              <a:lnSpc>
                <a:spcPct val="80000"/>
              </a:lnSpc>
              <a:spcBef>
                <a:spcPct val="0"/>
              </a:spcBef>
              <a:spcAft>
                <a:spcPct val="0"/>
              </a:spcAft>
            </a:pPr>
            <a:r>
              <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rPr>
              <a:t>cost</a:t>
            </a:r>
          </a:p>
          <a:p>
            <a:pPr defTabSz="685637" fontAlgn="base">
              <a:lnSpc>
                <a:spcPct val="80000"/>
              </a:lnSpc>
              <a:spcBef>
                <a:spcPct val="0"/>
              </a:spcBef>
              <a:spcAft>
                <a:spcPct val="0"/>
              </a:spcAft>
            </a:pPr>
            <a:r>
              <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rPr>
              <a:t>risk</a:t>
            </a:r>
          </a:p>
        </p:txBody>
      </p:sp>
      <p:sp>
        <p:nvSpPr>
          <p:cNvPr id="71" name="Rectangle 70"/>
          <p:cNvSpPr/>
          <p:nvPr/>
        </p:nvSpPr>
        <p:spPr bwMode="auto">
          <a:xfrm>
            <a:off x="3870558" y="2824637"/>
            <a:ext cx="1409147" cy="1408781"/>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b" anchorCtr="0" forceAA="0" compatLnSpc="1">
            <a:prstTxWarp prst="textNoShape">
              <a:avLst/>
            </a:prstTxWarp>
            <a:noAutofit/>
          </a:bodyPr>
          <a:lstStyle/>
          <a:p>
            <a:pPr defTabSz="685637" fontAlgn="base">
              <a:lnSpc>
                <a:spcPct val="80000"/>
              </a:lnSpc>
              <a:spcBef>
                <a:spcPct val="0"/>
              </a:spcBef>
              <a:spcAft>
                <a:spcPct val="0"/>
              </a:spcAft>
            </a:pPr>
            <a:r>
              <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rPr>
              <a:t>cost</a:t>
            </a:r>
          </a:p>
          <a:p>
            <a:pPr defTabSz="685637" fontAlgn="base">
              <a:lnSpc>
                <a:spcPct val="80000"/>
              </a:lnSpc>
              <a:spcBef>
                <a:spcPct val="0"/>
              </a:spcBef>
              <a:spcAft>
                <a:spcPct val="0"/>
              </a:spcAft>
            </a:pPr>
            <a:r>
              <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rPr>
              <a:t>risk</a:t>
            </a:r>
          </a:p>
        </p:txBody>
      </p:sp>
      <p:sp>
        <p:nvSpPr>
          <p:cNvPr id="72" name="Rectangle 71"/>
          <p:cNvSpPr/>
          <p:nvPr/>
        </p:nvSpPr>
        <p:spPr bwMode="auto">
          <a:xfrm>
            <a:off x="5354776" y="2824637"/>
            <a:ext cx="1409147" cy="1408781"/>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b" anchorCtr="0" forceAA="0" compatLnSpc="1">
            <a:prstTxWarp prst="textNoShape">
              <a:avLst/>
            </a:prstTxWarp>
            <a:noAutofit/>
          </a:bodyPr>
          <a:lstStyle/>
          <a:p>
            <a:pPr defTabSz="685637" fontAlgn="base">
              <a:lnSpc>
                <a:spcPct val="80000"/>
              </a:lnSpc>
              <a:spcBef>
                <a:spcPct val="0"/>
              </a:spcBef>
              <a:spcAft>
                <a:spcPct val="0"/>
              </a:spcAft>
            </a:pPr>
            <a:r>
              <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rPr>
              <a:t>efficiency</a:t>
            </a:r>
          </a:p>
          <a:p>
            <a:pPr defTabSz="685637" fontAlgn="base">
              <a:lnSpc>
                <a:spcPct val="80000"/>
              </a:lnSpc>
              <a:spcBef>
                <a:spcPct val="0"/>
              </a:spcBef>
              <a:spcAft>
                <a:spcPct val="0"/>
              </a:spcAft>
            </a:pPr>
            <a:r>
              <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rPr>
              <a:t>business</a:t>
            </a:r>
            <a:br>
              <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rPr>
            </a:br>
            <a:r>
              <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rPr>
              <a:t>  value</a:t>
            </a:r>
          </a:p>
        </p:txBody>
      </p:sp>
      <p:sp>
        <p:nvSpPr>
          <p:cNvPr id="39" name="Right Arrow 38"/>
          <p:cNvSpPr/>
          <p:nvPr/>
        </p:nvSpPr>
        <p:spPr bwMode="auto">
          <a:xfrm rot="16200000">
            <a:off x="2910280" y="3336886"/>
            <a:ext cx="1182659" cy="610405"/>
          </a:xfrm>
          <a:prstGeom prst="rightArrow">
            <a:avLst/>
          </a:prstGeom>
          <a:solidFill>
            <a:srgbClr val="FBFBF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73" name="Right Arrow 72"/>
          <p:cNvSpPr/>
          <p:nvPr/>
        </p:nvSpPr>
        <p:spPr bwMode="auto">
          <a:xfrm rot="5400000" flipV="1">
            <a:off x="4383173" y="3112357"/>
            <a:ext cx="1182659" cy="610405"/>
          </a:xfrm>
          <a:prstGeom prst="rightArrow">
            <a:avLst/>
          </a:prstGeom>
          <a:solidFill>
            <a:srgbClr val="FBFBF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74" name="Right Arrow 73"/>
          <p:cNvSpPr/>
          <p:nvPr/>
        </p:nvSpPr>
        <p:spPr bwMode="auto">
          <a:xfrm rot="16200000">
            <a:off x="5868719" y="3336886"/>
            <a:ext cx="1182659" cy="610405"/>
          </a:xfrm>
          <a:prstGeom prst="rightArrow">
            <a:avLst/>
          </a:prstGeom>
          <a:solidFill>
            <a:srgbClr val="FBFBF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75" name="Right Arrow 74"/>
          <p:cNvSpPr/>
          <p:nvPr/>
        </p:nvSpPr>
        <p:spPr bwMode="auto">
          <a:xfrm rot="16200000">
            <a:off x="7353277" y="3336886"/>
            <a:ext cx="1182659" cy="610405"/>
          </a:xfrm>
          <a:prstGeom prst="rightArrow">
            <a:avLst/>
          </a:prstGeom>
          <a:solidFill>
            <a:srgbClr val="FBFBF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6"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7"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
              </a:rPr>
              <a:t>www.rapidbbs.cn</a:t>
            </a:r>
            <a:endParaRPr lang="zh-CN" altLang="en-US" sz="1200" b="0">
              <a:latin typeface="Arial" charset="0"/>
              <a:ea typeface="ＭＳ Ｐゴシック" pitchFamily="34" charset="-128"/>
            </a:endParaRPr>
          </a:p>
        </p:txBody>
      </p:sp>
      <p:pic>
        <p:nvPicPr>
          <p:cNvPr id="18" name="Picture 2">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66793566"/>
      </p:ext>
    </p:extLst>
  </p:cSld>
  <p:clrMapOvr>
    <a:masterClrMapping/>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timing>
    <p:tnLst>
      <p:par>
        <p:cTn id="1" dur="indefinite" restart="never" nodeType="tmRoot"/>
      </p:par>
    </p:tnLst>
  </p:timing>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1" name="Object 210" hidden="1"/>
          <p:cNvGraphicFramePr>
            <a:graphicFrameLocks noChangeAspect="1"/>
          </p:cNvGraphicFramePr>
          <p:nvPr>
            <p:custDataLst>
              <p:tags r:id="rId2"/>
            </p:custDataLst>
            <p:extLst>
              <p:ext uri="{D42A27DB-BD31-4B8C-83A1-F6EECF244321}">
                <p14:modId xmlns:p14="http://schemas.microsoft.com/office/powerpoint/2010/main" val="3474721663"/>
              </p:ext>
            </p:extLst>
          </p:nvPr>
        </p:nvGraphicFramePr>
        <p:xfrm>
          <a:off x="0" y="1"/>
          <a:ext cx="158750" cy="158750"/>
        </p:xfrm>
        <a:graphic>
          <a:graphicData uri="http://schemas.openxmlformats.org/presentationml/2006/ole">
            <mc:AlternateContent xmlns:mc="http://schemas.openxmlformats.org/markup-compatibility/2006">
              <mc:Choice xmlns:v="urn:schemas-microsoft-com:vml" Requires="v">
                <p:oleObj spid="_x0000_s10248"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0" y="1"/>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smtClean="0"/>
              <a:t>the </a:t>
            </a:r>
            <a:r>
              <a:rPr lang="en-US" dirty="0" err="1" smtClean="0"/>
              <a:t>microsoft</a:t>
            </a:r>
            <a:r>
              <a:rPr lang="en-US" dirty="0" smtClean="0"/>
              <a:t> lightweight method</a:t>
            </a:r>
            <a:endParaRPr lang="en-US" dirty="0"/>
          </a:p>
        </p:txBody>
      </p:sp>
      <p:sp>
        <p:nvSpPr>
          <p:cNvPr id="23" name="Rectangle 22"/>
          <p:cNvSpPr/>
          <p:nvPr>
            <p:custDataLst>
              <p:tags r:id="rId4"/>
            </p:custDataLst>
          </p:nvPr>
        </p:nvSpPr>
        <p:spPr bwMode="auto">
          <a:xfrm>
            <a:off x="3853182" y="1085850"/>
            <a:ext cx="1737360" cy="1709928"/>
          </a:xfrm>
          <a:prstGeom prst="rect">
            <a:avLst/>
          </a:prstGeom>
          <a:solidFill>
            <a:schemeClr val="tx2"/>
          </a:solidFill>
          <a:ln w="9525" cap="flat" cmpd="sng" algn="ctr">
            <a:noFill/>
            <a:prstDash val="solid"/>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34294" tIns="34294" rIns="34294" bIns="34294" numCol="1" rtlCol="0" anchor="b" anchorCtr="0" compatLnSpc="1">
            <a:prstTxWarp prst="textNoShape">
              <a:avLst/>
            </a:prstTxWarp>
          </a:bodyPr>
          <a:lstStyle/>
          <a:p>
            <a:pPr algn="ctr" defTabSz="914023" fontAlgn="base">
              <a:spcBef>
                <a:spcPct val="0"/>
              </a:spcBef>
              <a:spcAft>
                <a:spcPct val="0"/>
              </a:spcAft>
            </a:pPr>
            <a:r>
              <a:rPr lang="en-US" dirty="0" smtClean="0">
                <a:solidFill>
                  <a:schemeClr val="tx1"/>
                </a:solidFill>
                <a:sym typeface="Segoe UI"/>
              </a:rPr>
              <a:t>address </a:t>
            </a:r>
            <a:r>
              <a:rPr lang="en-US" dirty="0">
                <a:solidFill>
                  <a:schemeClr val="tx1"/>
                </a:solidFill>
                <a:sym typeface="Segoe UI"/>
              </a:rPr>
              <a:t>the </a:t>
            </a:r>
            <a:r>
              <a:rPr lang="en-US" dirty="0" smtClean="0">
                <a:solidFill>
                  <a:schemeClr val="tx1"/>
                </a:solidFill>
                <a:sym typeface="Segoe UI"/>
              </a:rPr>
              <a:t>urgent</a:t>
            </a:r>
            <a:endParaRPr lang="en-US" dirty="0">
              <a:solidFill>
                <a:schemeClr val="tx1"/>
              </a:solidFill>
              <a:sym typeface="Segoe UI"/>
            </a:endParaRPr>
          </a:p>
        </p:txBody>
      </p:sp>
      <p:pic>
        <p:nvPicPr>
          <p:cNvPr id="24" name="Picture 3" descr="\\MAGNUM\Projects\Microsoft\Cloud Power FY12\Design\ICONS_PNG\Iaas.png"/>
          <p:cNvPicPr>
            <a:picLocks noChangeAspect="1" noChangeArrowheads="1"/>
          </p:cNvPicPr>
          <p:nvPr>
            <p:custDataLst>
              <p:tags r:id="rId5"/>
            </p:custDataLst>
          </p:nvPr>
        </p:nvPicPr>
        <p:blipFill rotWithShape="1">
          <a:blip r:embed="rId15" cstate="print">
            <a:extLst>
              <a:ext uri="{BEBA8EAE-BF5A-486C-A8C5-ECC9F3942E4B}">
                <a14:imgProps xmlns:a14="http://schemas.microsoft.com/office/drawing/2010/main">
                  <a14:imgLayer r:embed="rId16">
                    <a14:imgEffect>
                      <a14:brightnessContrast bright="100000" contrast="100000"/>
                    </a14:imgEffect>
                  </a14:imgLayer>
                </a14:imgProps>
              </a:ext>
            </a:extLst>
          </a:blip>
          <a:srcRect l="9481" t="8246" r="9302" b="9442"/>
          <a:stretch/>
        </p:blipFill>
        <p:spPr bwMode="auto">
          <a:xfrm>
            <a:off x="4209572" y="1311640"/>
            <a:ext cx="1024580" cy="1038386"/>
          </a:xfrm>
          <a:prstGeom prst="rect">
            <a:avLst/>
          </a:prstGeom>
          <a:solidFill>
            <a:schemeClr val="tx2"/>
          </a:solidFill>
          <a:ln>
            <a:noFill/>
          </a:ln>
        </p:spPr>
      </p:pic>
      <p:sp>
        <p:nvSpPr>
          <p:cNvPr id="32" name="Rectangle 31"/>
          <p:cNvSpPr/>
          <p:nvPr>
            <p:custDataLst>
              <p:tags r:id="rId6"/>
            </p:custDataLst>
          </p:nvPr>
        </p:nvSpPr>
        <p:spPr bwMode="auto">
          <a:xfrm>
            <a:off x="2030449" y="2881122"/>
            <a:ext cx="1737360" cy="1709928"/>
          </a:xfrm>
          <a:prstGeom prst="rect">
            <a:avLst/>
          </a:prstGeom>
          <a:solidFill>
            <a:schemeClr val="tx2"/>
          </a:solidFill>
          <a:ln w="9525" cap="flat" cmpd="sng" algn="ctr">
            <a:noFill/>
            <a:prstDash val="solid"/>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34294" tIns="34294" rIns="34294" bIns="34294" numCol="1" rtlCol="0" anchor="b" anchorCtr="0" compatLnSpc="1">
            <a:prstTxWarp prst="textNoShape">
              <a:avLst/>
            </a:prstTxWarp>
          </a:bodyPr>
          <a:lstStyle/>
          <a:p>
            <a:pPr algn="ctr" defTabSz="914023" fontAlgn="base">
              <a:spcBef>
                <a:spcPct val="0"/>
              </a:spcBef>
              <a:spcAft>
                <a:spcPct val="0"/>
              </a:spcAft>
            </a:pPr>
            <a:r>
              <a:rPr lang="en-US" dirty="0" smtClean="0">
                <a:solidFill>
                  <a:schemeClr val="tx1"/>
                </a:solidFill>
                <a:sym typeface="Segoe UI"/>
              </a:rPr>
              <a:t>manage the important</a:t>
            </a:r>
            <a:endParaRPr lang="en-US" dirty="0">
              <a:solidFill>
                <a:schemeClr val="tx1"/>
              </a:solidFill>
              <a:sym typeface="Segoe UI"/>
            </a:endParaRPr>
          </a:p>
        </p:txBody>
      </p:sp>
      <p:sp>
        <p:nvSpPr>
          <p:cNvPr id="33" name="Freeform 35"/>
          <p:cNvSpPr>
            <a:spLocks noEditPoints="1"/>
          </p:cNvSpPr>
          <p:nvPr>
            <p:custDataLst>
              <p:tags r:id="rId7"/>
            </p:custDataLst>
          </p:nvPr>
        </p:nvSpPr>
        <p:spPr bwMode="auto">
          <a:xfrm>
            <a:off x="2440019" y="3140281"/>
            <a:ext cx="918221" cy="881078"/>
          </a:xfrm>
          <a:custGeom>
            <a:avLst/>
            <a:gdLst>
              <a:gd name="T0" fmla="*/ 189 w 296"/>
              <a:gd name="T1" fmla="*/ 136 h 300"/>
              <a:gd name="T2" fmla="*/ 202 w 296"/>
              <a:gd name="T3" fmla="*/ 132 h 300"/>
              <a:gd name="T4" fmla="*/ 206 w 296"/>
              <a:gd name="T5" fmla="*/ 128 h 300"/>
              <a:gd name="T6" fmla="*/ 210 w 296"/>
              <a:gd name="T7" fmla="*/ 116 h 300"/>
              <a:gd name="T8" fmla="*/ 214 w 296"/>
              <a:gd name="T9" fmla="*/ 120 h 300"/>
              <a:gd name="T10" fmla="*/ 227 w 296"/>
              <a:gd name="T11" fmla="*/ 99 h 300"/>
              <a:gd name="T12" fmla="*/ 185 w 296"/>
              <a:gd name="T13" fmla="*/ 205 h 300"/>
              <a:gd name="T14" fmla="*/ 189 w 296"/>
              <a:gd name="T15" fmla="*/ 210 h 300"/>
              <a:gd name="T16" fmla="*/ 202 w 296"/>
              <a:gd name="T17" fmla="*/ 214 h 300"/>
              <a:gd name="T18" fmla="*/ 197 w 296"/>
              <a:gd name="T19" fmla="*/ 218 h 300"/>
              <a:gd name="T20" fmla="*/ 218 w 296"/>
              <a:gd name="T21" fmla="*/ 230 h 300"/>
              <a:gd name="T22" fmla="*/ 222 w 296"/>
              <a:gd name="T23" fmla="*/ 243 h 300"/>
              <a:gd name="T24" fmla="*/ 227 w 296"/>
              <a:gd name="T25" fmla="*/ 247 h 300"/>
              <a:gd name="T26" fmla="*/ 111 w 296"/>
              <a:gd name="T27" fmla="*/ 205 h 300"/>
              <a:gd name="T28" fmla="*/ 107 w 296"/>
              <a:gd name="T29" fmla="*/ 201 h 300"/>
              <a:gd name="T30" fmla="*/ 94 w 296"/>
              <a:gd name="T31" fmla="*/ 222 h 300"/>
              <a:gd name="T32" fmla="*/ 82 w 296"/>
              <a:gd name="T33" fmla="*/ 226 h 300"/>
              <a:gd name="T34" fmla="*/ 77 w 296"/>
              <a:gd name="T35" fmla="*/ 230 h 300"/>
              <a:gd name="T36" fmla="*/ 73 w 296"/>
              <a:gd name="T37" fmla="*/ 243 h 300"/>
              <a:gd name="T38" fmla="*/ 69 w 296"/>
              <a:gd name="T39" fmla="*/ 239 h 300"/>
              <a:gd name="T40" fmla="*/ 102 w 296"/>
              <a:gd name="T41" fmla="*/ 141 h 300"/>
              <a:gd name="T42" fmla="*/ 98 w 296"/>
              <a:gd name="T43" fmla="*/ 128 h 300"/>
              <a:gd name="T44" fmla="*/ 94 w 296"/>
              <a:gd name="T45" fmla="*/ 124 h 300"/>
              <a:gd name="T46" fmla="*/ 82 w 296"/>
              <a:gd name="T47" fmla="*/ 120 h 300"/>
              <a:gd name="T48" fmla="*/ 86 w 296"/>
              <a:gd name="T49" fmla="*/ 116 h 300"/>
              <a:gd name="T50" fmla="*/ 65 w 296"/>
              <a:gd name="T51" fmla="*/ 103 h 300"/>
              <a:gd name="T52" fmla="*/ 72 w 296"/>
              <a:gd name="T53" fmla="*/ 64 h 300"/>
              <a:gd name="T54" fmla="*/ 5 w 296"/>
              <a:gd name="T55" fmla="*/ 89 h 300"/>
              <a:gd name="T56" fmla="*/ 23 w 296"/>
              <a:gd name="T57" fmla="*/ 48 h 300"/>
              <a:gd name="T58" fmla="*/ 72 w 296"/>
              <a:gd name="T59" fmla="*/ 64 h 300"/>
              <a:gd name="T60" fmla="*/ 36 w 296"/>
              <a:gd name="T61" fmla="*/ 0 h 300"/>
              <a:gd name="T62" fmla="*/ 296 w 296"/>
              <a:gd name="T63" fmla="*/ 64 h 300"/>
              <a:gd name="T64" fmla="*/ 229 w 296"/>
              <a:gd name="T65" fmla="*/ 89 h 300"/>
              <a:gd name="T66" fmla="*/ 247 w 296"/>
              <a:gd name="T67" fmla="*/ 48 h 300"/>
              <a:gd name="T68" fmla="*/ 296 w 296"/>
              <a:gd name="T69" fmla="*/ 64 h 300"/>
              <a:gd name="T70" fmla="*/ 260 w 296"/>
              <a:gd name="T71" fmla="*/ 0 h 300"/>
              <a:gd name="T72" fmla="*/ 296 w 296"/>
              <a:gd name="T73" fmla="*/ 275 h 300"/>
              <a:gd name="T74" fmla="*/ 229 w 296"/>
              <a:gd name="T75" fmla="*/ 300 h 300"/>
              <a:gd name="T76" fmla="*/ 247 w 296"/>
              <a:gd name="T77" fmla="*/ 259 h 300"/>
              <a:gd name="T78" fmla="*/ 296 w 296"/>
              <a:gd name="T79" fmla="*/ 275 h 300"/>
              <a:gd name="T80" fmla="*/ 260 w 296"/>
              <a:gd name="T81" fmla="*/ 211 h 300"/>
              <a:gd name="T82" fmla="*/ 72 w 296"/>
              <a:gd name="T83" fmla="*/ 275 h 300"/>
              <a:gd name="T84" fmla="*/ 5 w 296"/>
              <a:gd name="T85" fmla="*/ 300 h 300"/>
              <a:gd name="T86" fmla="*/ 23 w 296"/>
              <a:gd name="T87" fmla="*/ 259 h 300"/>
              <a:gd name="T88" fmla="*/ 72 w 296"/>
              <a:gd name="T89" fmla="*/ 275 h 300"/>
              <a:gd name="T90" fmla="*/ 36 w 296"/>
              <a:gd name="T91" fmla="*/ 211 h 300"/>
              <a:gd name="T92" fmla="*/ 125 w 296"/>
              <a:gd name="T93" fmla="*/ 116 h 300"/>
              <a:gd name="T94" fmla="*/ 147 w 296"/>
              <a:gd name="T95" fmla="*/ 145 h 300"/>
              <a:gd name="T96" fmla="*/ 150 w 296"/>
              <a:gd name="T97" fmla="*/ 176 h 300"/>
              <a:gd name="T98" fmla="*/ 190 w 296"/>
              <a:gd name="T99" fmla="*/ 164 h 300"/>
              <a:gd name="T100" fmla="*/ 110 w 296"/>
              <a:gd name="T101" fmla="*/ 194 h 300"/>
              <a:gd name="T102" fmla="*/ 131 w 296"/>
              <a:gd name="T103" fmla="*/ 145 h 300"/>
              <a:gd name="T104" fmla="*/ 145 w 296"/>
              <a:gd name="T105" fmla="*/ 156 h 300"/>
              <a:gd name="T106" fmla="*/ 144 w 296"/>
              <a:gd name="T107" fmla="*/ 150 h 300"/>
              <a:gd name="T108" fmla="*/ 147 w 296"/>
              <a:gd name="T109" fmla="*/ 150 h 300"/>
              <a:gd name="T110" fmla="*/ 149 w 296"/>
              <a:gd name="T111" fmla="*/ 15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6" h="300">
                <a:moveTo>
                  <a:pt x="189" y="145"/>
                </a:moveTo>
                <a:cubicBezTo>
                  <a:pt x="185" y="141"/>
                  <a:pt x="185" y="141"/>
                  <a:pt x="185" y="141"/>
                </a:cubicBezTo>
                <a:cubicBezTo>
                  <a:pt x="189" y="136"/>
                  <a:pt x="189" y="136"/>
                  <a:pt x="189" y="136"/>
                </a:cubicBezTo>
                <a:cubicBezTo>
                  <a:pt x="193" y="141"/>
                  <a:pt x="193" y="141"/>
                  <a:pt x="193" y="141"/>
                </a:cubicBezTo>
                <a:cubicBezTo>
                  <a:pt x="189" y="145"/>
                  <a:pt x="189" y="145"/>
                  <a:pt x="189" y="145"/>
                </a:cubicBezTo>
                <a:close/>
                <a:moveTo>
                  <a:pt x="202" y="132"/>
                </a:moveTo>
                <a:cubicBezTo>
                  <a:pt x="197" y="128"/>
                  <a:pt x="197" y="128"/>
                  <a:pt x="197" y="128"/>
                </a:cubicBezTo>
                <a:cubicBezTo>
                  <a:pt x="202" y="124"/>
                  <a:pt x="202" y="124"/>
                  <a:pt x="202" y="124"/>
                </a:cubicBezTo>
                <a:cubicBezTo>
                  <a:pt x="206" y="128"/>
                  <a:pt x="206" y="128"/>
                  <a:pt x="206" y="128"/>
                </a:cubicBezTo>
                <a:cubicBezTo>
                  <a:pt x="202" y="132"/>
                  <a:pt x="202" y="132"/>
                  <a:pt x="202" y="132"/>
                </a:cubicBezTo>
                <a:close/>
                <a:moveTo>
                  <a:pt x="214" y="120"/>
                </a:moveTo>
                <a:cubicBezTo>
                  <a:pt x="210" y="116"/>
                  <a:pt x="210" y="116"/>
                  <a:pt x="210" y="116"/>
                </a:cubicBezTo>
                <a:cubicBezTo>
                  <a:pt x="214" y="111"/>
                  <a:pt x="214" y="111"/>
                  <a:pt x="214" y="111"/>
                </a:cubicBezTo>
                <a:cubicBezTo>
                  <a:pt x="218" y="116"/>
                  <a:pt x="218" y="116"/>
                  <a:pt x="218" y="116"/>
                </a:cubicBezTo>
                <a:cubicBezTo>
                  <a:pt x="214" y="120"/>
                  <a:pt x="214" y="120"/>
                  <a:pt x="214" y="120"/>
                </a:cubicBezTo>
                <a:close/>
                <a:moveTo>
                  <a:pt x="227" y="107"/>
                </a:moveTo>
                <a:cubicBezTo>
                  <a:pt x="222" y="103"/>
                  <a:pt x="222" y="103"/>
                  <a:pt x="222" y="103"/>
                </a:cubicBezTo>
                <a:cubicBezTo>
                  <a:pt x="227" y="99"/>
                  <a:pt x="227" y="99"/>
                  <a:pt x="227" y="99"/>
                </a:cubicBezTo>
                <a:cubicBezTo>
                  <a:pt x="231" y="103"/>
                  <a:pt x="231" y="103"/>
                  <a:pt x="231" y="103"/>
                </a:cubicBezTo>
                <a:cubicBezTo>
                  <a:pt x="227" y="107"/>
                  <a:pt x="227" y="107"/>
                  <a:pt x="227" y="107"/>
                </a:cubicBezTo>
                <a:close/>
                <a:moveTo>
                  <a:pt x="185" y="205"/>
                </a:moveTo>
                <a:cubicBezTo>
                  <a:pt x="189" y="201"/>
                  <a:pt x="189" y="201"/>
                  <a:pt x="189" y="201"/>
                </a:cubicBezTo>
                <a:cubicBezTo>
                  <a:pt x="193" y="205"/>
                  <a:pt x="193" y="205"/>
                  <a:pt x="193" y="205"/>
                </a:cubicBezTo>
                <a:cubicBezTo>
                  <a:pt x="189" y="210"/>
                  <a:pt x="189" y="210"/>
                  <a:pt x="189" y="210"/>
                </a:cubicBezTo>
                <a:cubicBezTo>
                  <a:pt x="185" y="205"/>
                  <a:pt x="185" y="205"/>
                  <a:pt x="185" y="205"/>
                </a:cubicBezTo>
                <a:close/>
                <a:moveTo>
                  <a:pt x="197" y="218"/>
                </a:moveTo>
                <a:cubicBezTo>
                  <a:pt x="202" y="214"/>
                  <a:pt x="202" y="214"/>
                  <a:pt x="202" y="214"/>
                </a:cubicBezTo>
                <a:cubicBezTo>
                  <a:pt x="206" y="218"/>
                  <a:pt x="206" y="218"/>
                  <a:pt x="206" y="218"/>
                </a:cubicBezTo>
                <a:cubicBezTo>
                  <a:pt x="202" y="222"/>
                  <a:pt x="202" y="222"/>
                  <a:pt x="202" y="222"/>
                </a:cubicBezTo>
                <a:cubicBezTo>
                  <a:pt x="197" y="218"/>
                  <a:pt x="197" y="218"/>
                  <a:pt x="197" y="218"/>
                </a:cubicBezTo>
                <a:close/>
                <a:moveTo>
                  <a:pt x="210" y="230"/>
                </a:moveTo>
                <a:cubicBezTo>
                  <a:pt x="214" y="226"/>
                  <a:pt x="214" y="226"/>
                  <a:pt x="214" y="226"/>
                </a:cubicBezTo>
                <a:cubicBezTo>
                  <a:pt x="218" y="230"/>
                  <a:pt x="218" y="230"/>
                  <a:pt x="218" y="230"/>
                </a:cubicBezTo>
                <a:cubicBezTo>
                  <a:pt x="214" y="235"/>
                  <a:pt x="214" y="235"/>
                  <a:pt x="214" y="235"/>
                </a:cubicBezTo>
                <a:cubicBezTo>
                  <a:pt x="210" y="230"/>
                  <a:pt x="210" y="230"/>
                  <a:pt x="210" y="230"/>
                </a:cubicBezTo>
                <a:close/>
                <a:moveTo>
                  <a:pt x="222" y="243"/>
                </a:moveTo>
                <a:cubicBezTo>
                  <a:pt x="227" y="239"/>
                  <a:pt x="227" y="239"/>
                  <a:pt x="227" y="239"/>
                </a:cubicBezTo>
                <a:cubicBezTo>
                  <a:pt x="231" y="243"/>
                  <a:pt x="231" y="243"/>
                  <a:pt x="231" y="243"/>
                </a:cubicBezTo>
                <a:cubicBezTo>
                  <a:pt x="227" y="247"/>
                  <a:pt x="227" y="247"/>
                  <a:pt x="227" y="247"/>
                </a:cubicBezTo>
                <a:cubicBezTo>
                  <a:pt x="222" y="243"/>
                  <a:pt x="222" y="243"/>
                  <a:pt x="222" y="243"/>
                </a:cubicBezTo>
                <a:close/>
                <a:moveTo>
                  <a:pt x="107" y="201"/>
                </a:moveTo>
                <a:cubicBezTo>
                  <a:pt x="111" y="205"/>
                  <a:pt x="111" y="205"/>
                  <a:pt x="111" y="205"/>
                </a:cubicBezTo>
                <a:cubicBezTo>
                  <a:pt x="107" y="210"/>
                  <a:pt x="107" y="210"/>
                  <a:pt x="107" y="210"/>
                </a:cubicBezTo>
                <a:cubicBezTo>
                  <a:pt x="102" y="205"/>
                  <a:pt x="102" y="205"/>
                  <a:pt x="102" y="205"/>
                </a:cubicBezTo>
                <a:cubicBezTo>
                  <a:pt x="107" y="201"/>
                  <a:pt x="107" y="201"/>
                  <a:pt x="107" y="201"/>
                </a:cubicBezTo>
                <a:close/>
                <a:moveTo>
                  <a:pt x="94" y="214"/>
                </a:moveTo>
                <a:cubicBezTo>
                  <a:pt x="98" y="218"/>
                  <a:pt x="98" y="218"/>
                  <a:pt x="98" y="218"/>
                </a:cubicBezTo>
                <a:cubicBezTo>
                  <a:pt x="94" y="222"/>
                  <a:pt x="94" y="222"/>
                  <a:pt x="94" y="222"/>
                </a:cubicBezTo>
                <a:cubicBezTo>
                  <a:pt x="90" y="218"/>
                  <a:pt x="90" y="218"/>
                  <a:pt x="90" y="218"/>
                </a:cubicBezTo>
                <a:cubicBezTo>
                  <a:pt x="94" y="214"/>
                  <a:pt x="94" y="214"/>
                  <a:pt x="94" y="214"/>
                </a:cubicBezTo>
                <a:close/>
                <a:moveTo>
                  <a:pt x="82" y="226"/>
                </a:moveTo>
                <a:cubicBezTo>
                  <a:pt x="86" y="230"/>
                  <a:pt x="86" y="230"/>
                  <a:pt x="86" y="230"/>
                </a:cubicBezTo>
                <a:cubicBezTo>
                  <a:pt x="82" y="235"/>
                  <a:pt x="82" y="235"/>
                  <a:pt x="82" y="235"/>
                </a:cubicBezTo>
                <a:cubicBezTo>
                  <a:pt x="77" y="230"/>
                  <a:pt x="77" y="230"/>
                  <a:pt x="77" y="230"/>
                </a:cubicBezTo>
                <a:cubicBezTo>
                  <a:pt x="82" y="226"/>
                  <a:pt x="82" y="226"/>
                  <a:pt x="82" y="226"/>
                </a:cubicBezTo>
                <a:close/>
                <a:moveTo>
                  <a:pt x="69" y="239"/>
                </a:moveTo>
                <a:cubicBezTo>
                  <a:pt x="73" y="243"/>
                  <a:pt x="73" y="243"/>
                  <a:pt x="73" y="243"/>
                </a:cubicBezTo>
                <a:cubicBezTo>
                  <a:pt x="69" y="247"/>
                  <a:pt x="69" y="247"/>
                  <a:pt x="69" y="247"/>
                </a:cubicBezTo>
                <a:cubicBezTo>
                  <a:pt x="65" y="243"/>
                  <a:pt x="65" y="243"/>
                  <a:pt x="65" y="243"/>
                </a:cubicBezTo>
                <a:cubicBezTo>
                  <a:pt x="69" y="239"/>
                  <a:pt x="69" y="239"/>
                  <a:pt x="69" y="239"/>
                </a:cubicBezTo>
                <a:close/>
                <a:moveTo>
                  <a:pt x="111" y="141"/>
                </a:moveTo>
                <a:cubicBezTo>
                  <a:pt x="107" y="145"/>
                  <a:pt x="107" y="145"/>
                  <a:pt x="107" y="145"/>
                </a:cubicBezTo>
                <a:cubicBezTo>
                  <a:pt x="102" y="141"/>
                  <a:pt x="102" y="141"/>
                  <a:pt x="102" y="141"/>
                </a:cubicBezTo>
                <a:cubicBezTo>
                  <a:pt x="107" y="136"/>
                  <a:pt x="107" y="136"/>
                  <a:pt x="107" y="136"/>
                </a:cubicBezTo>
                <a:cubicBezTo>
                  <a:pt x="111" y="141"/>
                  <a:pt x="111" y="141"/>
                  <a:pt x="111" y="141"/>
                </a:cubicBezTo>
                <a:close/>
                <a:moveTo>
                  <a:pt x="98" y="128"/>
                </a:moveTo>
                <a:cubicBezTo>
                  <a:pt x="94" y="132"/>
                  <a:pt x="94" y="132"/>
                  <a:pt x="94" y="132"/>
                </a:cubicBezTo>
                <a:cubicBezTo>
                  <a:pt x="90" y="128"/>
                  <a:pt x="90" y="128"/>
                  <a:pt x="90" y="128"/>
                </a:cubicBezTo>
                <a:cubicBezTo>
                  <a:pt x="94" y="124"/>
                  <a:pt x="94" y="124"/>
                  <a:pt x="94" y="124"/>
                </a:cubicBezTo>
                <a:cubicBezTo>
                  <a:pt x="98" y="128"/>
                  <a:pt x="98" y="128"/>
                  <a:pt x="98" y="128"/>
                </a:cubicBezTo>
                <a:close/>
                <a:moveTo>
                  <a:pt x="86" y="116"/>
                </a:moveTo>
                <a:cubicBezTo>
                  <a:pt x="82" y="120"/>
                  <a:pt x="82" y="120"/>
                  <a:pt x="82" y="120"/>
                </a:cubicBezTo>
                <a:cubicBezTo>
                  <a:pt x="77" y="116"/>
                  <a:pt x="77" y="116"/>
                  <a:pt x="77" y="116"/>
                </a:cubicBezTo>
                <a:cubicBezTo>
                  <a:pt x="82" y="111"/>
                  <a:pt x="82" y="111"/>
                  <a:pt x="82" y="111"/>
                </a:cubicBezTo>
                <a:cubicBezTo>
                  <a:pt x="86" y="116"/>
                  <a:pt x="86" y="116"/>
                  <a:pt x="86" y="116"/>
                </a:cubicBezTo>
                <a:close/>
                <a:moveTo>
                  <a:pt x="73" y="103"/>
                </a:moveTo>
                <a:cubicBezTo>
                  <a:pt x="69" y="107"/>
                  <a:pt x="69" y="107"/>
                  <a:pt x="69" y="107"/>
                </a:cubicBezTo>
                <a:cubicBezTo>
                  <a:pt x="65" y="103"/>
                  <a:pt x="65" y="103"/>
                  <a:pt x="65" y="103"/>
                </a:cubicBezTo>
                <a:cubicBezTo>
                  <a:pt x="69" y="99"/>
                  <a:pt x="69" y="99"/>
                  <a:pt x="69" y="99"/>
                </a:cubicBezTo>
                <a:cubicBezTo>
                  <a:pt x="73" y="103"/>
                  <a:pt x="73" y="103"/>
                  <a:pt x="73" y="103"/>
                </a:cubicBezTo>
                <a:close/>
                <a:moveTo>
                  <a:pt x="72" y="64"/>
                </a:moveTo>
                <a:cubicBezTo>
                  <a:pt x="72" y="74"/>
                  <a:pt x="72" y="74"/>
                  <a:pt x="72" y="74"/>
                </a:cubicBezTo>
                <a:cubicBezTo>
                  <a:pt x="72" y="89"/>
                  <a:pt x="72" y="89"/>
                  <a:pt x="67" y="89"/>
                </a:cubicBezTo>
                <a:cubicBezTo>
                  <a:pt x="5" y="89"/>
                  <a:pt x="5" y="89"/>
                  <a:pt x="5" y="89"/>
                </a:cubicBezTo>
                <a:cubicBezTo>
                  <a:pt x="0" y="89"/>
                  <a:pt x="0" y="89"/>
                  <a:pt x="0" y="74"/>
                </a:cubicBezTo>
                <a:cubicBezTo>
                  <a:pt x="0" y="64"/>
                  <a:pt x="0" y="64"/>
                  <a:pt x="0" y="64"/>
                </a:cubicBezTo>
                <a:cubicBezTo>
                  <a:pt x="0" y="53"/>
                  <a:pt x="12" y="51"/>
                  <a:pt x="23" y="48"/>
                </a:cubicBezTo>
                <a:cubicBezTo>
                  <a:pt x="27" y="52"/>
                  <a:pt x="32" y="54"/>
                  <a:pt x="36" y="54"/>
                </a:cubicBezTo>
                <a:cubicBezTo>
                  <a:pt x="40" y="54"/>
                  <a:pt x="45" y="52"/>
                  <a:pt x="49" y="48"/>
                </a:cubicBezTo>
                <a:cubicBezTo>
                  <a:pt x="59" y="51"/>
                  <a:pt x="72" y="53"/>
                  <a:pt x="72" y="64"/>
                </a:cubicBezTo>
                <a:close/>
                <a:moveTo>
                  <a:pt x="36" y="48"/>
                </a:moveTo>
                <a:cubicBezTo>
                  <a:pt x="42" y="48"/>
                  <a:pt x="54" y="37"/>
                  <a:pt x="54" y="24"/>
                </a:cubicBezTo>
                <a:cubicBezTo>
                  <a:pt x="54" y="11"/>
                  <a:pt x="49" y="0"/>
                  <a:pt x="36" y="0"/>
                </a:cubicBezTo>
                <a:cubicBezTo>
                  <a:pt x="23" y="0"/>
                  <a:pt x="18" y="11"/>
                  <a:pt x="18" y="24"/>
                </a:cubicBezTo>
                <a:cubicBezTo>
                  <a:pt x="18" y="37"/>
                  <a:pt x="30" y="48"/>
                  <a:pt x="36" y="48"/>
                </a:cubicBezTo>
                <a:close/>
                <a:moveTo>
                  <a:pt x="296" y="64"/>
                </a:moveTo>
                <a:cubicBezTo>
                  <a:pt x="296" y="74"/>
                  <a:pt x="296" y="74"/>
                  <a:pt x="296" y="74"/>
                </a:cubicBezTo>
                <a:cubicBezTo>
                  <a:pt x="296" y="89"/>
                  <a:pt x="296" y="89"/>
                  <a:pt x="290" y="89"/>
                </a:cubicBezTo>
                <a:cubicBezTo>
                  <a:pt x="229" y="89"/>
                  <a:pt x="229" y="89"/>
                  <a:pt x="229" y="89"/>
                </a:cubicBezTo>
                <a:cubicBezTo>
                  <a:pt x="224" y="89"/>
                  <a:pt x="224" y="89"/>
                  <a:pt x="224" y="74"/>
                </a:cubicBezTo>
                <a:cubicBezTo>
                  <a:pt x="224" y="64"/>
                  <a:pt x="224" y="64"/>
                  <a:pt x="224" y="64"/>
                </a:cubicBezTo>
                <a:cubicBezTo>
                  <a:pt x="224" y="53"/>
                  <a:pt x="236" y="51"/>
                  <a:pt x="247" y="48"/>
                </a:cubicBezTo>
                <a:cubicBezTo>
                  <a:pt x="251" y="52"/>
                  <a:pt x="256" y="54"/>
                  <a:pt x="260" y="54"/>
                </a:cubicBezTo>
                <a:cubicBezTo>
                  <a:pt x="263" y="54"/>
                  <a:pt x="268" y="52"/>
                  <a:pt x="273" y="48"/>
                </a:cubicBezTo>
                <a:cubicBezTo>
                  <a:pt x="283" y="51"/>
                  <a:pt x="296" y="53"/>
                  <a:pt x="296" y="64"/>
                </a:cubicBezTo>
                <a:close/>
                <a:moveTo>
                  <a:pt x="260" y="48"/>
                </a:moveTo>
                <a:cubicBezTo>
                  <a:pt x="266" y="48"/>
                  <a:pt x="278" y="37"/>
                  <a:pt x="278" y="24"/>
                </a:cubicBezTo>
                <a:cubicBezTo>
                  <a:pt x="278" y="11"/>
                  <a:pt x="273" y="0"/>
                  <a:pt x="260" y="0"/>
                </a:cubicBezTo>
                <a:cubicBezTo>
                  <a:pt x="246" y="0"/>
                  <a:pt x="241" y="11"/>
                  <a:pt x="241" y="24"/>
                </a:cubicBezTo>
                <a:cubicBezTo>
                  <a:pt x="241" y="37"/>
                  <a:pt x="254" y="48"/>
                  <a:pt x="260" y="48"/>
                </a:cubicBezTo>
                <a:close/>
                <a:moveTo>
                  <a:pt x="296" y="275"/>
                </a:moveTo>
                <a:cubicBezTo>
                  <a:pt x="296" y="285"/>
                  <a:pt x="296" y="285"/>
                  <a:pt x="296" y="285"/>
                </a:cubicBezTo>
                <a:cubicBezTo>
                  <a:pt x="296" y="300"/>
                  <a:pt x="296" y="300"/>
                  <a:pt x="290" y="300"/>
                </a:cubicBezTo>
                <a:cubicBezTo>
                  <a:pt x="229" y="300"/>
                  <a:pt x="229" y="300"/>
                  <a:pt x="229" y="300"/>
                </a:cubicBezTo>
                <a:cubicBezTo>
                  <a:pt x="224" y="300"/>
                  <a:pt x="224" y="300"/>
                  <a:pt x="224" y="285"/>
                </a:cubicBezTo>
                <a:cubicBezTo>
                  <a:pt x="224" y="275"/>
                  <a:pt x="224" y="275"/>
                  <a:pt x="224" y="275"/>
                </a:cubicBezTo>
                <a:cubicBezTo>
                  <a:pt x="224" y="264"/>
                  <a:pt x="236" y="263"/>
                  <a:pt x="247" y="259"/>
                </a:cubicBezTo>
                <a:cubicBezTo>
                  <a:pt x="251" y="263"/>
                  <a:pt x="256" y="265"/>
                  <a:pt x="260" y="265"/>
                </a:cubicBezTo>
                <a:cubicBezTo>
                  <a:pt x="264" y="265"/>
                  <a:pt x="268" y="263"/>
                  <a:pt x="273" y="259"/>
                </a:cubicBezTo>
                <a:cubicBezTo>
                  <a:pt x="283" y="263"/>
                  <a:pt x="296" y="264"/>
                  <a:pt x="296" y="275"/>
                </a:cubicBezTo>
                <a:close/>
                <a:moveTo>
                  <a:pt x="260" y="259"/>
                </a:moveTo>
                <a:cubicBezTo>
                  <a:pt x="266" y="259"/>
                  <a:pt x="278" y="248"/>
                  <a:pt x="278" y="235"/>
                </a:cubicBezTo>
                <a:cubicBezTo>
                  <a:pt x="278" y="222"/>
                  <a:pt x="273" y="211"/>
                  <a:pt x="260" y="211"/>
                </a:cubicBezTo>
                <a:cubicBezTo>
                  <a:pt x="246" y="211"/>
                  <a:pt x="241" y="222"/>
                  <a:pt x="241" y="235"/>
                </a:cubicBezTo>
                <a:cubicBezTo>
                  <a:pt x="241" y="248"/>
                  <a:pt x="254" y="259"/>
                  <a:pt x="260" y="259"/>
                </a:cubicBezTo>
                <a:close/>
                <a:moveTo>
                  <a:pt x="72" y="275"/>
                </a:moveTo>
                <a:cubicBezTo>
                  <a:pt x="72" y="285"/>
                  <a:pt x="72" y="285"/>
                  <a:pt x="72" y="285"/>
                </a:cubicBezTo>
                <a:cubicBezTo>
                  <a:pt x="72" y="300"/>
                  <a:pt x="72" y="300"/>
                  <a:pt x="67" y="300"/>
                </a:cubicBezTo>
                <a:cubicBezTo>
                  <a:pt x="5" y="300"/>
                  <a:pt x="5" y="300"/>
                  <a:pt x="5" y="300"/>
                </a:cubicBezTo>
                <a:cubicBezTo>
                  <a:pt x="0" y="300"/>
                  <a:pt x="0" y="300"/>
                  <a:pt x="0" y="285"/>
                </a:cubicBezTo>
                <a:cubicBezTo>
                  <a:pt x="0" y="275"/>
                  <a:pt x="0" y="275"/>
                  <a:pt x="0" y="275"/>
                </a:cubicBezTo>
                <a:cubicBezTo>
                  <a:pt x="0" y="264"/>
                  <a:pt x="12" y="263"/>
                  <a:pt x="23" y="259"/>
                </a:cubicBezTo>
                <a:cubicBezTo>
                  <a:pt x="27" y="263"/>
                  <a:pt x="32" y="265"/>
                  <a:pt x="36" y="265"/>
                </a:cubicBezTo>
                <a:cubicBezTo>
                  <a:pt x="40" y="265"/>
                  <a:pt x="45" y="263"/>
                  <a:pt x="49" y="259"/>
                </a:cubicBezTo>
                <a:cubicBezTo>
                  <a:pt x="59" y="263"/>
                  <a:pt x="72" y="264"/>
                  <a:pt x="72" y="275"/>
                </a:cubicBezTo>
                <a:close/>
                <a:moveTo>
                  <a:pt x="36" y="259"/>
                </a:moveTo>
                <a:cubicBezTo>
                  <a:pt x="42" y="259"/>
                  <a:pt x="54" y="248"/>
                  <a:pt x="54" y="235"/>
                </a:cubicBezTo>
                <a:cubicBezTo>
                  <a:pt x="54" y="222"/>
                  <a:pt x="49" y="211"/>
                  <a:pt x="36" y="211"/>
                </a:cubicBezTo>
                <a:cubicBezTo>
                  <a:pt x="23" y="211"/>
                  <a:pt x="18" y="222"/>
                  <a:pt x="18" y="235"/>
                </a:cubicBezTo>
                <a:cubicBezTo>
                  <a:pt x="18" y="248"/>
                  <a:pt x="30" y="259"/>
                  <a:pt x="36" y="259"/>
                </a:cubicBezTo>
                <a:close/>
                <a:moveTo>
                  <a:pt x="125" y="116"/>
                </a:moveTo>
                <a:cubicBezTo>
                  <a:pt x="125" y="100"/>
                  <a:pt x="131" y="87"/>
                  <a:pt x="147" y="87"/>
                </a:cubicBezTo>
                <a:cubicBezTo>
                  <a:pt x="163" y="87"/>
                  <a:pt x="169" y="100"/>
                  <a:pt x="169" y="116"/>
                </a:cubicBezTo>
                <a:cubicBezTo>
                  <a:pt x="169" y="132"/>
                  <a:pt x="154" y="145"/>
                  <a:pt x="147" y="145"/>
                </a:cubicBezTo>
                <a:cubicBezTo>
                  <a:pt x="140" y="145"/>
                  <a:pt x="125" y="132"/>
                  <a:pt x="125" y="116"/>
                </a:cubicBezTo>
                <a:close/>
                <a:moveTo>
                  <a:pt x="148" y="156"/>
                </a:moveTo>
                <a:cubicBezTo>
                  <a:pt x="150" y="176"/>
                  <a:pt x="150" y="176"/>
                  <a:pt x="150" y="176"/>
                </a:cubicBezTo>
                <a:cubicBezTo>
                  <a:pt x="153" y="168"/>
                  <a:pt x="155" y="159"/>
                  <a:pt x="159" y="151"/>
                </a:cubicBezTo>
                <a:cubicBezTo>
                  <a:pt x="159" y="150"/>
                  <a:pt x="159" y="150"/>
                  <a:pt x="162" y="145"/>
                </a:cubicBezTo>
                <a:cubicBezTo>
                  <a:pt x="174" y="149"/>
                  <a:pt x="190" y="151"/>
                  <a:pt x="190" y="164"/>
                </a:cubicBezTo>
                <a:cubicBezTo>
                  <a:pt x="190" y="176"/>
                  <a:pt x="190" y="176"/>
                  <a:pt x="190" y="176"/>
                </a:cubicBezTo>
                <a:cubicBezTo>
                  <a:pt x="190" y="194"/>
                  <a:pt x="190" y="194"/>
                  <a:pt x="183" y="194"/>
                </a:cubicBezTo>
                <a:cubicBezTo>
                  <a:pt x="110" y="194"/>
                  <a:pt x="110" y="194"/>
                  <a:pt x="110" y="194"/>
                </a:cubicBezTo>
                <a:cubicBezTo>
                  <a:pt x="104" y="194"/>
                  <a:pt x="104" y="194"/>
                  <a:pt x="104" y="176"/>
                </a:cubicBezTo>
                <a:cubicBezTo>
                  <a:pt x="104" y="164"/>
                  <a:pt x="104" y="164"/>
                  <a:pt x="104" y="164"/>
                </a:cubicBezTo>
                <a:cubicBezTo>
                  <a:pt x="104" y="151"/>
                  <a:pt x="118" y="149"/>
                  <a:pt x="131" y="145"/>
                </a:cubicBezTo>
                <a:cubicBezTo>
                  <a:pt x="134" y="150"/>
                  <a:pt x="134" y="150"/>
                  <a:pt x="135" y="151"/>
                </a:cubicBezTo>
                <a:cubicBezTo>
                  <a:pt x="138" y="159"/>
                  <a:pt x="141" y="168"/>
                  <a:pt x="143" y="176"/>
                </a:cubicBezTo>
                <a:cubicBezTo>
                  <a:pt x="145" y="156"/>
                  <a:pt x="145" y="156"/>
                  <a:pt x="145" y="156"/>
                </a:cubicBezTo>
                <a:cubicBezTo>
                  <a:pt x="145" y="155"/>
                  <a:pt x="145" y="155"/>
                  <a:pt x="145" y="155"/>
                </a:cubicBezTo>
                <a:cubicBezTo>
                  <a:pt x="141" y="149"/>
                  <a:pt x="141" y="149"/>
                  <a:pt x="141" y="149"/>
                </a:cubicBezTo>
                <a:cubicBezTo>
                  <a:pt x="144" y="150"/>
                  <a:pt x="144" y="150"/>
                  <a:pt x="144" y="150"/>
                </a:cubicBezTo>
                <a:cubicBezTo>
                  <a:pt x="145" y="150"/>
                  <a:pt x="145" y="150"/>
                  <a:pt x="146" y="150"/>
                </a:cubicBezTo>
                <a:cubicBezTo>
                  <a:pt x="146" y="150"/>
                  <a:pt x="146" y="150"/>
                  <a:pt x="147" y="150"/>
                </a:cubicBezTo>
                <a:cubicBezTo>
                  <a:pt x="147" y="150"/>
                  <a:pt x="147" y="150"/>
                  <a:pt x="147" y="150"/>
                </a:cubicBezTo>
                <a:cubicBezTo>
                  <a:pt x="149" y="150"/>
                  <a:pt x="149" y="150"/>
                  <a:pt x="149" y="150"/>
                </a:cubicBezTo>
                <a:cubicBezTo>
                  <a:pt x="152" y="149"/>
                  <a:pt x="152" y="149"/>
                  <a:pt x="152" y="149"/>
                </a:cubicBezTo>
                <a:cubicBezTo>
                  <a:pt x="149" y="155"/>
                  <a:pt x="149" y="155"/>
                  <a:pt x="149" y="155"/>
                </a:cubicBezTo>
                <a:lnTo>
                  <a:pt x="148" y="156"/>
                </a:lnTo>
                <a:close/>
              </a:path>
            </a:pathLst>
          </a:custGeom>
          <a:solidFill>
            <a:schemeClr val="tx1"/>
          </a:solidFill>
          <a:ln>
            <a:noFill/>
          </a:ln>
        </p:spPr>
        <p:txBody>
          <a:bodyPr vert="horz" wrap="square" lIns="34294" tIns="34294" rIns="34294" bIns="34294" numCol="1" anchor="b" anchorCtr="0" compatLnSpc="1">
            <a:prstTxWarp prst="textNoShape">
              <a:avLst/>
            </a:prstTxWarp>
          </a:bodyPr>
          <a:lstStyle/>
          <a:p>
            <a:pPr algn="ctr"/>
            <a:endParaRPr lang="en-US">
              <a:solidFill>
                <a:schemeClr val="bg1"/>
              </a:solidFill>
              <a:sym typeface="Segoe UI"/>
            </a:endParaRPr>
          </a:p>
        </p:txBody>
      </p:sp>
      <p:grpSp>
        <p:nvGrpSpPr>
          <p:cNvPr id="7" name="Group 6"/>
          <p:cNvGrpSpPr/>
          <p:nvPr/>
        </p:nvGrpSpPr>
        <p:grpSpPr>
          <a:xfrm>
            <a:off x="6053414" y="1558951"/>
            <a:ext cx="2794839" cy="2644345"/>
            <a:chOff x="6053413" y="1558949"/>
            <a:chExt cx="2794839" cy="2644345"/>
          </a:xfrm>
        </p:grpSpPr>
        <p:sp>
          <p:nvSpPr>
            <p:cNvPr id="35" name="Circular Arrow 34"/>
            <p:cNvSpPr/>
            <p:nvPr/>
          </p:nvSpPr>
          <p:spPr>
            <a:xfrm rot="8459188">
              <a:off x="6134637" y="1571482"/>
              <a:ext cx="2631811" cy="2631812"/>
            </a:xfrm>
            <a:prstGeom prst="circularArrow">
              <a:avLst>
                <a:gd name="adj1" fmla="val 24401"/>
                <a:gd name="adj2" fmla="val 1142319"/>
                <a:gd name="adj3" fmla="val 20457687"/>
                <a:gd name="adj4" fmla="val 12180209"/>
                <a:gd name="adj5" fmla="val 12500"/>
              </a:avLst>
            </a:prstGeom>
            <a:solidFill>
              <a:schemeClr val="tx2"/>
            </a:solidFill>
            <a:ln>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985" tIns="89985" rIns="89985" bIns="89985" numCol="1" spcCol="1270" anchor="ctr" anchorCtr="0">
              <a:noAutofit/>
            </a:bodyPr>
            <a:lstStyle/>
            <a:p>
              <a:pPr algn="ctr" defTabSz="666694">
                <a:lnSpc>
                  <a:spcPct val="90000"/>
                </a:lnSpc>
                <a:spcBef>
                  <a:spcPct val="0"/>
                </a:spcBef>
                <a:spcAft>
                  <a:spcPct val="35000"/>
                </a:spcAft>
              </a:pPr>
              <a:endParaRPr lang="en-US" sz="1500">
                <a:solidFill>
                  <a:schemeClr val="bg1"/>
                </a:solidFill>
                <a:sym typeface="Segoe UI"/>
              </a:endParaRPr>
            </a:p>
          </p:txBody>
        </p:sp>
        <p:sp>
          <p:nvSpPr>
            <p:cNvPr id="36" name="Freeform 35"/>
            <p:cNvSpPr/>
            <p:nvPr/>
          </p:nvSpPr>
          <p:spPr>
            <a:xfrm rot="670301">
              <a:off x="6657507" y="1558949"/>
              <a:ext cx="2190745" cy="1374874"/>
            </a:xfrm>
            <a:custGeom>
              <a:avLst/>
              <a:gdLst>
                <a:gd name="connsiteX0" fmla="*/ 245090 w 4038600"/>
                <a:gd name="connsiteY0" fmla="*/ 2957942 h 4038600"/>
                <a:gd name="connsiteX1" fmla="*/ 409203 w 4038600"/>
                <a:gd name="connsiteY1" fmla="*/ 820777 h 4038600"/>
                <a:gd name="connsiteX2" fmla="*/ 2409424 w 4038600"/>
                <a:gd name="connsiteY2" fmla="*/ 50373 h 4038600"/>
                <a:gd name="connsiteX3" fmla="*/ 3964758 w 4038600"/>
                <a:gd name="connsiteY3" fmla="*/ 1525277 h 4038600"/>
                <a:gd name="connsiteX4" fmla="*/ 3964757 w 4038600"/>
                <a:gd name="connsiteY4" fmla="*/ 1525274 h 4038600"/>
                <a:gd name="connsiteX5" fmla="*/ 3533775 w 4038600"/>
                <a:gd name="connsiteY5" fmla="*/ 2019303 h 4038600"/>
                <a:gd name="connsiteX6" fmla="*/ 2913670 w 4038600"/>
                <a:gd name="connsiteY6" fmla="*/ 1525271 h 4038600"/>
                <a:gd name="connsiteX7" fmla="*/ 2913670 w 4038600"/>
                <a:gd name="connsiteY7" fmla="*/ 1525271 h 4038600"/>
                <a:gd name="connsiteX8" fmla="*/ 1533361 w 4038600"/>
                <a:gd name="connsiteY8" fmla="*/ 1120504 h 4038600"/>
                <a:gd name="connsiteX9" fmla="*/ 1116155 w 4038600"/>
                <a:gd name="connsiteY9" fmla="*/ 2497104 h 4038600"/>
                <a:gd name="connsiteX10" fmla="*/ 245090 w 4038600"/>
                <a:gd name="connsiteY10" fmla="*/ 2957942 h 4038600"/>
                <a:gd name="connsiteX0" fmla="*/ 362087 w 4081755"/>
                <a:gd name="connsiteY0" fmla="*/ 3058062 h 3058062"/>
                <a:gd name="connsiteX1" fmla="*/ 526200 w 4081755"/>
                <a:gd name="connsiteY1" fmla="*/ 920897 h 3058062"/>
                <a:gd name="connsiteX2" fmla="*/ 2526421 w 4081755"/>
                <a:gd name="connsiteY2" fmla="*/ 150493 h 3058062"/>
                <a:gd name="connsiteX3" fmla="*/ 4081755 w 4081755"/>
                <a:gd name="connsiteY3" fmla="*/ 1625397 h 3058062"/>
                <a:gd name="connsiteX4" fmla="*/ 4081754 w 4081755"/>
                <a:gd name="connsiteY4" fmla="*/ 1625394 h 3058062"/>
                <a:gd name="connsiteX5" fmla="*/ 3650772 w 4081755"/>
                <a:gd name="connsiteY5" fmla="*/ 2119423 h 3058062"/>
                <a:gd name="connsiteX6" fmla="*/ 3030667 w 4081755"/>
                <a:gd name="connsiteY6" fmla="*/ 1625391 h 3058062"/>
                <a:gd name="connsiteX7" fmla="*/ 3030667 w 4081755"/>
                <a:gd name="connsiteY7" fmla="*/ 1625391 h 3058062"/>
                <a:gd name="connsiteX8" fmla="*/ 1650358 w 4081755"/>
                <a:gd name="connsiteY8" fmla="*/ 1220624 h 3058062"/>
                <a:gd name="connsiteX9" fmla="*/ 1233152 w 4081755"/>
                <a:gd name="connsiteY9" fmla="*/ 2597224 h 3058062"/>
                <a:gd name="connsiteX10" fmla="*/ 615332 w 4081755"/>
                <a:gd name="connsiteY10" fmla="*/ 2122589 h 3058062"/>
                <a:gd name="connsiteX11" fmla="*/ 362087 w 4081755"/>
                <a:gd name="connsiteY11" fmla="*/ 3058062 h 3058062"/>
                <a:gd name="connsiteX0" fmla="*/ 224798 w 3944466"/>
                <a:gd name="connsiteY0" fmla="*/ 3058062 h 3094100"/>
                <a:gd name="connsiteX1" fmla="*/ 55665 w 3944466"/>
                <a:gd name="connsiteY1" fmla="*/ 2618995 h 3094100"/>
                <a:gd name="connsiteX2" fmla="*/ 388911 w 3944466"/>
                <a:gd name="connsiteY2" fmla="*/ 920897 h 3094100"/>
                <a:gd name="connsiteX3" fmla="*/ 2389132 w 3944466"/>
                <a:gd name="connsiteY3" fmla="*/ 150493 h 3094100"/>
                <a:gd name="connsiteX4" fmla="*/ 3944466 w 3944466"/>
                <a:gd name="connsiteY4" fmla="*/ 1625397 h 3094100"/>
                <a:gd name="connsiteX5" fmla="*/ 3944465 w 3944466"/>
                <a:gd name="connsiteY5" fmla="*/ 1625394 h 3094100"/>
                <a:gd name="connsiteX6" fmla="*/ 3513483 w 3944466"/>
                <a:gd name="connsiteY6" fmla="*/ 2119423 h 3094100"/>
                <a:gd name="connsiteX7" fmla="*/ 2893378 w 3944466"/>
                <a:gd name="connsiteY7" fmla="*/ 1625391 h 3094100"/>
                <a:gd name="connsiteX8" fmla="*/ 2893378 w 3944466"/>
                <a:gd name="connsiteY8" fmla="*/ 1625391 h 3094100"/>
                <a:gd name="connsiteX9" fmla="*/ 1513069 w 3944466"/>
                <a:gd name="connsiteY9" fmla="*/ 1220624 h 3094100"/>
                <a:gd name="connsiteX10" fmla="*/ 1095863 w 3944466"/>
                <a:gd name="connsiteY10" fmla="*/ 2597224 h 3094100"/>
                <a:gd name="connsiteX11" fmla="*/ 478043 w 3944466"/>
                <a:gd name="connsiteY11" fmla="*/ 2122589 h 3094100"/>
                <a:gd name="connsiteX12" fmla="*/ 224798 w 3944466"/>
                <a:gd name="connsiteY12" fmla="*/ 3058062 h 3094100"/>
                <a:gd name="connsiteX0" fmla="*/ 478043 w 3944466"/>
                <a:gd name="connsiteY0" fmla="*/ 2122589 h 2618995"/>
                <a:gd name="connsiteX1" fmla="*/ 55665 w 3944466"/>
                <a:gd name="connsiteY1" fmla="*/ 2618995 h 2618995"/>
                <a:gd name="connsiteX2" fmla="*/ 388911 w 3944466"/>
                <a:gd name="connsiteY2" fmla="*/ 920897 h 2618995"/>
                <a:gd name="connsiteX3" fmla="*/ 2389132 w 3944466"/>
                <a:gd name="connsiteY3" fmla="*/ 150493 h 2618995"/>
                <a:gd name="connsiteX4" fmla="*/ 3944466 w 3944466"/>
                <a:gd name="connsiteY4" fmla="*/ 1625397 h 2618995"/>
                <a:gd name="connsiteX5" fmla="*/ 3944465 w 3944466"/>
                <a:gd name="connsiteY5" fmla="*/ 1625394 h 2618995"/>
                <a:gd name="connsiteX6" fmla="*/ 3513483 w 3944466"/>
                <a:gd name="connsiteY6" fmla="*/ 2119423 h 2618995"/>
                <a:gd name="connsiteX7" fmla="*/ 2893378 w 3944466"/>
                <a:gd name="connsiteY7" fmla="*/ 1625391 h 2618995"/>
                <a:gd name="connsiteX8" fmla="*/ 2893378 w 3944466"/>
                <a:gd name="connsiteY8" fmla="*/ 1625391 h 2618995"/>
                <a:gd name="connsiteX9" fmla="*/ 1513069 w 3944466"/>
                <a:gd name="connsiteY9" fmla="*/ 1220624 h 2618995"/>
                <a:gd name="connsiteX10" fmla="*/ 1095863 w 3944466"/>
                <a:gd name="connsiteY10" fmla="*/ 2597224 h 2618995"/>
                <a:gd name="connsiteX11" fmla="*/ 478043 w 3944466"/>
                <a:gd name="connsiteY11" fmla="*/ 2122589 h 2618995"/>
                <a:gd name="connsiteX0" fmla="*/ 555165 w 4021588"/>
                <a:gd name="connsiteY0" fmla="*/ 2122589 h 2618995"/>
                <a:gd name="connsiteX1" fmla="*/ 132787 w 4021588"/>
                <a:gd name="connsiteY1" fmla="*/ 2618995 h 2618995"/>
                <a:gd name="connsiteX2" fmla="*/ 466033 w 4021588"/>
                <a:gd name="connsiteY2" fmla="*/ 920897 h 2618995"/>
                <a:gd name="connsiteX3" fmla="*/ 2466254 w 4021588"/>
                <a:gd name="connsiteY3" fmla="*/ 150493 h 2618995"/>
                <a:gd name="connsiteX4" fmla="*/ 4021588 w 4021588"/>
                <a:gd name="connsiteY4" fmla="*/ 1625397 h 2618995"/>
                <a:gd name="connsiteX5" fmla="*/ 4021587 w 4021588"/>
                <a:gd name="connsiteY5" fmla="*/ 1625394 h 2618995"/>
                <a:gd name="connsiteX6" fmla="*/ 3590605 w 4021588"/>
                <a:gd name="connsiteY6" fmla="*/ 2119423 h 2618995"/>
                <a:gd name="connsiteX7" fmla="*/ 2970500 w 4021588"/>
                <a:gd name="connsiteY7" fmla="*/ 1625391 h 2618995"/>
                <a:gd name="connsiteX8" fmla="*/ 2970500 w 4021588"/>
                <a:gd name="connsiteY8" fmla="*/ 1625391 h 2618995"/>
                <a:gd name="connsiteX9" fmla="*/ 1590191 w 4021588"/>
                <a:gd name="connsiteY9" fmla="*/ 1220624 h 2618995"/>
                <a:gd name="connsiteX10" fmla="*/ 1172985 w 4021588"/>
                <a:gd name="connsiteY10" fmla="*/ 2597224 h 2618995"/>
                <a:gd name="connsiteX11" fmla="*/ 555165 w 4021588"/>
                <a:gd name="connsiteY11" fmla="*/ 2122589 h 2618995"/>
                <a:gd name="connsiteX0" fmla="*/ 555165 w 4021588"/>
                <a:gd name="connsiteY0" fmla="*/ 2122589 h 2618995"/>
                <a:gd name="connsiteX1" fmla="*/ 132787 w 4021588"/>
                <a:gd name="connsiteY1" fmla="*/ 2618995 h 2618995"/>
                <a:gd name="connsiteX2" fmla="*/ 466033 w 4021588"/>
                <a:gd name="connsiteY2" fmla="*/ 920897 h 2618995"/>
                <a:gd name="connsiteX3" fmla="*/ 2466254 w 4021588"/>
                <a:gd name="connsiteY3" fmla="*/ 150493 h 2618995"/>
                <a:gd name="connsiteX4" fmla="*/ 4021588 w 4021588"/>
                <a:gd name="connsiteY4" fmla="*/ 1625397 h 2618995"/>
                <a:gd name="connsiteX5" fmla="*/ 4021587 w 4021588"/>
                <a:gd name="connsiteY5" fmla="*/ 1625394 h 2618995"/>
                <a:gd name="connsiteX6" fmla="*/ 3590605 w 4021588"/>
                <a:gd name="connsiteY6" fmla="*/ 2119423 h 2618995"/>
                <a:gd name="connsiteX7" fmla="*/ 2970500 w 4021588"/>
                <a:gd name="connsiteY7" fmla="*/ 1625391 h 2618995"/>
                <a:gd name="connsiteX8" fmla="*/ 2970500 w 4021588"/>
                <a:gd name="connsiteY8" fmla="*/ 1625391 h 2618995"/>
                <a:gd name="connsiteX9" fmla="*/ 1590191 w 4021588"/>
                <a:gd name="connsiteY9" fmla="*/ 1220624 h 2618995"/>
                <a:gd name="connsiteX10" fmla="*/ 1172985 w 4021588"/>
                <a:gd name="connsiteY10" fmla="*/ 2597224 h 2618995"/>
                <a:gd name="connsiteX11" fmla="*/ 555165 w 4021588"/>
                <a:gd name="connsiteY11" fmla="*/ 2122589 h 2618995"/>
                <a:gd name="connsiteX0" fmla="*/ 555165 w 4021588"/>
                <a:gd name="connsiteY0" fmla="*/ 2122589 h 2618995"/>
                <a:gd name="connsiteX1" fmla="*/ 132787 w 4021588"/>
                <a:gd name="connsiteY1" fmla="*/ 2618995 h 2618995"/>
                <a:gd name="connsiteX2" fmla="*/ 466033 w 4021588"/>
                <a:gd name="connsiteY2" fmla="*/ 920897 h 2618995"/>
                <a:gd name="connsiteX3" fmla="*/ 2466254 w 4021588"/>
                <a:gd name="connsiteY3" fmla="*/ 150493 h 2618995"/>
                <a:gd name="connsiteX4" fmla="*/ 4021588 w 4021588"/>
                <a:gd name="connsiteY4" fmla="*/ 1625397 h 2618995"/>
                <a:gd name="connsiteX5" fmla="*/ 4021587 w 4021588"/>
                <a:gd name="connsiteY5" fmla="*/ 1625394 h 2618995"/>
                <a:gd name="connsiteX6" fmla="*/ 3590605 w 4021588"/>
                <a:gd name="connsiteY6" fmla="*/ 2119423 h 2618995"/>
                <a:gd name="connsiteX7" fmla="*/ 2970500 w 4021588"/>
                <a:gd name="connsiteY7" fmla="*/ 1625391 h 2618995"/>
                <a:gd name="connsiteX8" fmla="*/ 2970500 w 4021588"/>
                <a:gd name="connsiteY8" fmla="*/ 1625391 h 2618995"/>
                <a:gd name="connsiteX9" fmla="*/ 1590191 w 4021588"/>
                <a:gd name="connsiteY9" fmla="*/ 1220624 h 2618995"/>
                <a:gd name="connsiteX10" fmla="*/ 1172985 w 4021588"/>
                <a:gd name="connsiteY10" fmla="*/ 2597224 h 2618995"/>
                <a:gd name="connsiteX11" fmla="*/ 555165 w 4021588"/>
                <a:gd name="connsiteY11" fmla="*/ 2122589 h 2618995"/>
                <a:gd name="connsiteX0" fmla="*/ 535167 w 4001590"/>
                <a:gd name="connsiteY0" fmla="*/ 2122589 h 2618995"/>
                <a:gd name="connsiteX1" fmla="*/ 112789 w 4001590"/>
                <a:gd name="connsiteY1" fmla="*/ 2618995 h 2618995"/>
                <a:gd name="connsiteX2" fmla="*/ 446035 w 4001590"/>
                <a:gd name="connsiteY2" fmla="*/ 920897 h 2618995"/>
                <a:gd name="connsiteX3" fmla="*/ 2446256 w 4001590"/>
                <a:gd name="connsiteY3" fmla="*/ 150493 h 2618995"/>
                <a:gd name="connsiteX4" fmla="*/ 4001590 w 4001590"/>
                <a:gd name="connsiteY4" fmla="*/ 1625397 h 2618995"/>
                <a:gd name="connsiteX5" fmla="*/ 4001589 w 4001590"/>
                <a:gd name="connsiteY5" fmla="*/ 1625394 h 2618995"/>
                <a:gd name="connsiteX6" fmla="*/ 3570607 w 4001590"/>
                <a:gd name="connsiteY6" fmla="*/ 2119423 h 2618995"/>
                <a:gd name="connsiteX7" fmla="*/ 2950502 w 4001590"/>
                <a:gd name="connsiteY7" fmla="*/ 1625391 h 2618995"/>
                <a:gd name="connsiteX8" fmla="*/ 2950502 w 4001590"/>
                <a:gd name="connsiteY8" fmla="*/ 1625391 h 2618995"/>
                <a:gd name="connsiteX9" fmla="*/ 1570193 w 4001590"/>
                <a:gd name="connsiteY9" fmla="*/ 1220624 h 2618995"/>
                <a:gd name="connsiteX10" fmla="*/ 1152987 w 4001590"/>
                <a:gd name="connsiteY10" fmla="*/ 2597224 h 2618995"/>
                <a:gd name="connsiteX11" fmla="*/ 535167 w 4001590"/>
                <a:gd name="connsiteY11" fmla="*/ 2122589 h 2618995"/>
                <a:gd name="connsiteX0" fmla="*/ 535167 w 4001590"/>
                <a:gd name="connsiteY0" fmla="*/ 2122589 h 2618995"/>
                <a:gd name="connsiteX1" fmla="*/ 112789 w 4001590"/>
                <a:gd name="connsiteY1" fmla="*/ 2618995 h 2618995"/>
                <a:gd name="connsiteX2" fmla="*/ 446035 w 4001590"/>
                <a:gd name="connsiteY2" fmla="*/ 920897 h 2618995"/>
                <a:gd name="connsiteX3" fmla="*/ 2446256 w 4001590"/>
                <a:gd name="connsiteY3" fmla="*/ 150493 h 2618995"/>
                <a:gd name="connsiteX4" fmla="*/ 4001590 w 4001590"/>
                <a:gd name="connsiteY4" fmla="*/ 1625397 h 2618995"/>
                <a:gd name="connsiteX5" fmla="*/ 4001589 w 4001590"/>
                <a:gd name="connsiteY5" fmla="*/ 1625394 h 2618995"/>
                <a:gd name="connsiteX6" fmla="*/ 3570607 w 4001590"/>
                <a:gd name="connsiteY6" fmla="*/ 2119423 h 2618995"/>
                <a:gd name="connsiteX7" fmla="*/ 2950502 w 4001590"/>
                <a:gd name="connsiteY7" fmla="*/ 1625391 h 2618995"/>
                <a:gd name="connsiteX8" fmla="*/ 2950502 w 4001590"/>
                <a:gd name="connsiteY8" fmla="*/ 1625391 h 2618995"/>
                <a:gd name="connsiteX9" fmla="*/ 1570193 w 4001590"/>
                <a:gd name="connsiteY9" fmla="*/ 1220624 h 2618995"/>
                <a:gd name="connsiteX10" fmla="*/ 1152987 w 4001590"/>
                <a:gd name="connsiteY10" fmla="*/ 2597224 h 2618995"/>
                <a:gd name="connsiteX11" fmla="*/ 535167 w 4001590"/>
                <a:gd name="connsiteY11" fmla="*/ 2122589 h 2618995"/>
                <a:gd name="connsiteX0" fmla="*/ 535167 w 4001590"/>
                <a:gd name="connsiteY0" fmla="*/ 2122589 h 2618995"/>
                <a:gd name="connsiteX1" fmla="*/ 112789 w 4001590"/>
                <a:gd name="connsiteY1" fmla="*/ 2618995 h 2618995"/>
                <a:gd name="connsiteX2" fmla="*/ 446035 w 4001590"/>
                <a:gd name="connsiteY2" fmla="*/ 920897 h 2618995"/>
                <a:gd name="connsiteX3" fmla="*/ 2446256 w 4001590"/>
                <a:gd name="connsiteY3" fmla="*/ 150493 h 2618995"/>
                <a:gd name="connsiteX4" fmla="*/ 4001590 w 4001590"/>
                <a:gd name="connsiteY4" fmla="*/ 1625397 h 2618995"/>
                <a:gd name="connsiteX5" fmla="*/ 4001589 w 4001590"/>
                <a:gd name="connsiteY5" fmla="*/ 1625394 h 2618995"/>
                <a:gd name="connsiteX6" fmla="*/ 3570607 w 4001590"/>
                <a:gd name="connsiteY6" fmla="*/ 2119423 h 2618995"/>
                <a:gd name="connsiteX7" fmla="*/ 2950502 w 4001590"/>
                <a:gd name="connsiteY7" fmla="*/ 1625391 h 2618995"/>
                <a:gd name="connsiteX8" fmla="*/ 2950502 w 4001590"/>
                <a:gd name="connsiteY8" fmla="*/ 1625391 h 2618995"/>
                <a:gd name="connsiteX9" fmla="*/ 1570193 w 4001590"/>
                <a:gd name="connsiteY9" fmla="*/ 1220624 h 2618995"/>
                <a:gd name="connsiteX10" fmla="*/ 1152987 w 4001590"/>
                <a:gd name="connsiteY10" fmla="*/ 2597224 h 2618995"/>
                <a:gd name="connsiteX11" fmla="*/ 535167 w 4001590"/>
                <a:gd name="connsiteY11" fmla="*/ 2122589 h 2618995"/>
                <a:gd name="connsiteX0" fmla="*/ 535167 w 4001590"/>
                <a:gd name="connsiteY0" fmla="*/ 2122589 h 2618995"/>
                <a:gd name="connsiteX1" fmla="*/ 112789 w 4001590"/>
                <a:gd name="connsiteY1" fmla="*/ 2618995 h 2618995"/>
                <a:gd name="connsiteX2" fmla="*/ 446035 w 4001590"/>
                <a:gd name="connsiteY2" fmla="*/ 920897 h 2618995"/>
                <a:gd name="connsiteX3" fmla="*/ 2446256 w 4001590"/>
                <a:gd name="connsiteY3" fmla="*/ 150493 h 2618995"/>
                <a:gd name="connsiteX4" fmla="*/ 4001590 w 4001590"/>
                <a:gd name="connsiteY4" fmla="*/ 1625397 h 2618995"/>
                <a:gd name="connsiteX5" fmla="*/ 4001589 w 4001590"/>
                <a:gd name="connsiteY5" fmla="*/ 1625394 h 2618995"/>
                <a:gd name="connsiteX6" fmla="*/ 3570607 w 4001590"/>
                <a:gd name="connsiteY6" fmla="*/ 2119423 h 2618995"/>
                <a:gd name="connsiteX7" fmla="*/ 2950502 w 4001590"/>
                <a:gd name="connsiteY7" fmla="*/ 1625391 h 2618995"/>
                <a:gd name="connsiteX8" fmla="*/ 2950502 w 4001590"/>
                <a:gd name="connsiteY8" fmla="*/ 1625391 h 2618995"/>
                <a:gd name="connsiteX9" fmla="*/ 1570193 w 4001590"/>
                <a:gd name="connsiteY9" fmla="*/ 1220624 h 2618995"/>
                <a:gd name="connsiteX10" fmla="*/ 1152987 w 4001590"/>
                <a:gd name="connsiteY10" fmla="*/ 2597224 h 2618995"/>
                <a:gd name="connsiteX11" fmla="*/ 535167 w 4001590"/>
                <a:gd name="connsiteY11" fmla="*/ 2122589 h 2618995"/>
                <a:gd name="connsiteX0" fmla="*/ 89132 w 3555555"/>
                <a:gd name="connsiteY0" fmla="*/ 2122589 h 2597224"/>
                <a:gd name="connsiteX1" fmla="*/ 0 w 3555555"/>
                <a:gd name="connsiteY1" fmla="*/ 920897 h 2597224"/>
                <a:gd name="connsiteX2" fmla="*/ 2000221 w 3555555"/>
                <a:gd name="connsiteY2" fmla="*/ 150493 h 2597224"/>
                <a:gd name="connsiteX3" fmla="*/ 3555555 w 3555555"/>
                <a:gd name="connsiteY3" fmla="*/ 1625397 h 2597224"/>
                <a:gd name="connsiteX4" fmla="*/ 3555554 w 3555555"/>
                <a:gd name="connsiteY4" fmla="*/ 1625394 h 2597224"/>
                <a:gd name="connsiteX5" fmla="*/ 3124572 w 3555555"/>
                <a:gd name="connsiteY5" fmla="*/ 2119423 h 2597224"/>
                <a:gd name="connsiteX6" fmla="*/ 2504467 w 3555555"/>
                <a:gd name="connsiteY6" fmla="*/ 1625391 h 2597224"/>
                <a:gd name="connsiteX7" fmla="*/ 2504467 w 3555555"/>
                <a:gd name="connsiteY7" fmla="*/ 1625391 h 2597224"/>
                <a:gd name="connsiteX8" fmla="*/ 1124158 w 3555555"/>
                <a:gd name="connsiteY8" fmla="*/ 1220624 h 2597224"/>
                <a:gd name="connsiteX9" fmla="*/ 706952 w 3555555"/>
                <a:gd name="connsiteY9" fmla="*/ 2597224 h 2597224"/>
                <a:gd name="connsiteX10" fmla="*/ 89132 w 3555555"/>
                <a:gd name="connsiteY10" fmla="*/ 2122589 h 2597224"/>
                <a:gd name="connsiteX0" fmla="*/ 706952 w 3555555"/>
                <a:gd name="connsiteY0" fmla="*/ 2597224 h 2597224"/>
                <a:gd name="connsiteX1" fmla="*/ 0 w 3555555"/>
                <a:gd name="connsiteY1" fmla="*/ 920897 h 2597224"/>
                <a:gd name="connsiteX2" fmla="*/ 2000221 w 3555555"/>
                <a:gd name="connsiteY2" fmla="*/ 150493 h 2597224"/>
                <a:gd name="connsiteX3" fmla="*/ 3555555 w 3555555"/>
                <a:gd name="connsiteY3" fmla="*/ 1625397 h 2597224"/>
                <a:gd name="connsiteX4" fmla="*/ 3555554 w 3555555"/>
                <a:gd name="connsiteY4" fmla="*/ 1625394 h 2597224"/>
                <a:gd name="connsiteX5" fmla="*/ 3124572 w 3555555"/>
                <a:gd name="connsiteY5" fmla="*/ 2119423 h 2597224"/>
                <a:gd name="connsiteX6" fmla="*/ 2504467 w 3555555"/>
                <a:gd name="connsiteY6" fmla="*/ 1625391 h 2597224"/>
                <a:gd name="connsiteX7" fmla="*/ 2504467 w 3555555"/>
                <a:gd name="connsiteY7" fmla="*/ 1625391 h 2597224"/>
                <a:gd name="connsiteX8" fmla="*/ 1124158 w 3555555"/>
                <a:gd name="connsiteY8" fmla="*/ 1220624 h 2597224"/>
                <a:gd name="connsiteX9" fmla="*/ 706952 w 3555555"/>
                <a:gd name="connsiteY9" fmla="*/ 2597224 h 2597224"/>
                <a:gd name="connsiteX0" fmla="*/ 1270168 w 3701565"/>
                <a:gd name="connsiteY0" fmla="*/ 1220624 h 2119423"/>
                <a:gd name="connsiteX1" fmla="*/ 146010 w 3701565"/>
                <a:gd name="connsiteY1" fmla="*/ 920897 h 2119423"/>
                <a:gd name="connsiteX2" fmla="*/ 2146231 w 3701565"/>
                <a:gd name="connsiteY2" fmla="*/ 150493 h 2119423"/>
                <a:gd name="connsiteX3" fmla="*/ 3701565 w 3701565"/>
                <a:gd name="connsiteY3" fmla="*/ 1625397 h 2119423"/>
                <a:gd name="connsiteX4" fmla="*/ 3701564 w 3701565"/>
                <a:gd name="connsiteY4" fmla="*/ 1625394 h 2119423"/>
                <a:gd name="connsiteX5" fmla="*/ 3270582 w 3701565"/>
                <a:gd name="connsiteY5" fmla="*/ 2119423 h 2119423"/>
                <a:gd name="connsiteX6" fmla="*/ 2650477 w 3701565"/>
                <a:gd name="connsiteY6" fmla="*/ 1625391 h 2119423"/>
                <a:gd name="connsiteX7" fmla="*/ 2650477 w 3701565"/>
                <a:gd name="connsiteY7" fmla="*/ 1625391 h 2119423"/>
                <a:gd name="connsiteX8" fmla="*/ 1270168 w 3701565"/>
                <a:gd name="connsiteY8" fmla="*/ 1220624 h 2119423"/>
                <a:gd name="connsiteX0" fmla="*/ 1014361 w 3752727"/>
                <a:gd name="connsiteY0" fmla="*/ 1475427 h 2119423"/>
                <a:gd name="connsiteX1" fmla="*/ 197172 w 3752727"/>
                <a:gd name="connsiteY1" fmla="*/ 920897 h 2119423"/>
                <a:gd name="connsiteX2" fmla="*/ 2197393 w 3752727"/>
                <a:gd name="connsiteY2" fmla="*/ 150493 h 2119423"/>
                <a:gd name="connsiteX3" fmla="*/ 3752727 w 3752727"/>
                <a:gd name="connsiteY3" fmla="*/ 1625397 h 2119423"/>
                <a:gd name="connsiteX4" fmla="*/ 3752726 w 3752727"/>
                <a:gd name="connsiteY4" fmla="*/ 1625394 h 2119423"/>
                <a:gd name="connsiteX5" fmla="*/ 3321744 w 3752727"/>
                <a:gd name="connsiteY5" fmla="*/ 2119423 h 2119423"/>
                <a:gd name="connsiteX6" fmla="*/ 2701639 w 3752727"/>
                <a:gd name="connsiteY6" fmla="*/ 1625391 h 2119423"/>
                <a:gd name="connsiteX7" fmla="*/ 2701639 w 3752727"/>
                <a:gd name="connsiteY7" fmla="*/ 1625391 h 2119423"/>
                <a:gd name="connsiteX8" fmla="*/ 1014361 w 3752727"/>
                <a:gd name="connsiteY8" fmla="*/ 1475427 h 2119423"/>
                <a:gd name="connsiteX0" fmla="*/ 1014361 w 3752727"/>
                <a:gd name="connsiteY0" fmla="*/ 1475427 h 2119423"/>
                <a:gd name="connsiteX1" fmla="*/ 197172 w 3752727"/>
                <a:gd name="connsiteY1" fmla="*/ 920897 h 2119423"/>
                <a:gd name="connsiteX2" fmla="*/ 2197393 w 3752727"/>
                <a:gd name="connsiteY2" fmla="*/ 150493 h 2119423"/>
                <a:gd name="connsiteX3" fmla="*/ 3752727 w 3752727"/>
                <a:gd name="connsiteY3" fmla="*/ 1625397 h 2119423"/>
                <a:gd name="connsiteX4" fmla="*/ 3752726 w 3752727"/>
                <a:gd name="connsiteY4" fmla="*/ 1625394 h 2119423"/>
                <a:gd name="connsiteX5" fmla="*/ 3321744 w 3752727"/>
                <a:gd name="connsiteY5" fmla="*/ 2119423 h 2119423"/>
                <a:gd name="connsiteX6" fmla="*/ 2701639 w 3752727"/>
                <a:gd name="connsiteY6" fmla="*/ 1625391 h 2119423"/>
                <a:gd name="connsiteX7" fmla="*/ 2701639 w 3752727"/>
                <a:gd name="connsiteY7" fmla="*/ 1625391 h 2119423"/>
                <a:gd name="connsiteX8" fmla="*/ 1014361 w 3752727"/>
                <a:gd name="connsiteY8" fmla="*/ 1475427 h 2119423"/>
                <a:gd name="connsiteX0" fmla="*/ 587314 w 3325680"/>
                <a:gd name="connsiteY0" fmla="*/ 1521133 h 2165129"/>
                <a:gd name="connsiteX1" fmla="*/ 197172 w 3325680"/>
                <a:gd name="connsiteY1" fmla="*/ 493906 h 2165129"/>
                <a:gd name="connsiteX2" fmla="*/ 1770346 w 3325680"/>
                <a:gd name="connsiteY2" fmla="*/ 196199 h 2165129"/>
                <a:gd name="connsiteX3" fmla="*/ 3325680 w 3325680"/>
                <a:gd name="connsiteY3" fmla="*/ 1671103 h 2165129"/>
                <a:gd name="connsiteX4" fmla="*/ 3325679 w 3325680"/>
                <a:gd name="connsiteY4" fmla="*/ 1671100 h 2165129"/>
                <a:gd name="connsiteX5" fmla="*/ 2894697 w 3325680"/>
                <a:gd name="connsiteY5" fmla="*/ 2165129 h 2165129"/>
                <a:gd name="connsiteX6" fmla="*/ 2274592 w 3325680"/>
                <a:gd name="connsiteY6" fmla="*/ 1671097 h 2165129"/>
                <a:gd name="connsiteX7" fmla="*/ 2274592 w 3325680"/>
                <a:gd name="connsiteY7" fmla="*/ 1671097 h 2165129"/>
                <a:gd name="connsiteX8" fmla="*/ 587314 w 3325680"/>
                <a:gd name="connsiteY8" fmla="*/ 1521133 h 2165129"/>
                <a:gd name="connsiteX0" fmla="*/ 587314 w 3325680"/>
                <a:gd name="connsiteY0" fmla="*/ 1521133 h 2165129"/>
                <a:gd name="connsiteX1" fmla="*/ 197172 w 3325680"/>
                <a:gd name="connsiteY1" fmla="*/ 493906 h 2165129"/>
                <a:gd name="connsiteX2" fmla="*/ 1770346 w 3325680"/>
                <a:gd name="connsiteY2" fmla="*/ 196199 h 2165129"/>
                <a:gd name="connsiteX3" fmla="*/ 3325680 w 3325680"/>
                <a:gd name="connsiteY3" fmla="*/ 1671103 h 2165129"/>
                <a:gd name="connsiteX4" fmla="*/ 3325679 w 3325680"/>
                <a:gd name="connsiteY4" fmla="*/ 1671100 h 2165129"/>
                <a:gd name="connsiteX5" fmla="*/ 2894697 w 3325680"/>
                <a:gd name="connsiteY5" fmla="*/ 2165129 h 2165129"/>
                <a:gd name="connsiteX6" fmla="*/ 2274592 w 3325680"/>
                <a:gd name="connsiteY6" fmla="*/ 1671097 h 2165129"/>
                <a:gd name="connsiteX7" fmla="*/ 2274592 w 3325680"/>
                <a:gd name="connsiteY7" fmla="*/ 1671097 h 2165129"/>
                <a:gd name="connsiteX8" fmla="*/ 587314 w 3325680"/>
                <a:gd name="connsiteY8" fmla="*/ 1521133 h 2165129"/>
                <a:gd name="connsiteX0" fmla="*/ 623403 w 3361769"/>
                <a:gd name="connsiteY0" fmla="*/ 1505706 h 2149702"/>
                <a:gd name="connsiteX1" fmla="*/ 197172 w 3361769"/>
                <a:gd name="connsiteY1" fmla="*/ 571046 h 2149702"/>
                <a:gd name="connsiteX2" fmla="*/ 1806435 w 3361769"/>
                <a:gd name="connsiteY2" fmla="*/ 180772 h 2149702"/>
                <a:gd name="connsiteX3" fmla="*/ 3361769 w 3361769"/>
                <a:gd name="connsiteY3" fmla="*/ 1655676 h 2149702"/>
                <a:gd name="connsiteX4" fmla="*/ 3361768 w 3361769"/>
                <a:gd name="connsiteY4" fmla="*/ 1655673 h 2149702"/>
                <a:gd name="connsiteX5" fmla="*/ 2930786 w 3361769"/>
                <a:gd name="connsiteY5" fmla="*/ 2149702 h 2149702"/>
                <a:gd name="connsiteX6" fmla="*/ 2310681 w 3361769"/>
                <a:gd name="connsiteY6" fmla="*/ 1655670 h 2149702"/>
                <a:gd name="connsiteX7" fmla="*/ 2310681 w 3361769"/>
                <a:gd name="connsiteY7" fmla="*/ 1655670 h 2149702"/>
                <a:gd name="connsiteX8" fmla="*/ 623403 w 3361769"/>
                <a:gd name="connsiteY8" fmla="*/ 1505706 h 2149702"/>
                <a:gd name="connsiteX0" fmla="*/ 623403 w 3361769"/>
                <a:gd name="connsiteY0" fmla="*/ 1505706 h 2149702"/>
                <a:gd name="connsiteX1" fmla="*/ 197172 w 3361769"/>
                <a:gd name="connsiteY1" fmla="*/ 571046 h 2149702"/>
                <a:gd name="connsiteX2" fmla="*/ 1806435 w 3361769"/>
                <a:gd name="connsiteY2" fmla="*/ 180772 h 2149702"/>
                <a:gd name="connsiteX3" fmla="*/ 3361769 w 3361769"/>
                <a:gd name="connsiteY3" fmla="*/ 1655676 h 2149702"/>
                <a:gd name="connsiteX4" fmla="*/ 3361768 w 3361769"/>
                <a:gd name="connsiteY4" fmla="*/ 1655673 h 2149702"/>
                <a:gd name="connsiteX5" fmla="*/ 2930786 w 3361769"/>
                <a:gd name="connsiteY5" fmla="*/ 2149702 h 2149702"/>
                <a:gd name="connsiteX6" fmla="*/ 2310681 w 3361769"/>
                <a:gd name="connsiteY6" fmla="*/ 1655670 h 2149702"/>
                <a:gd name="connsiteX7" fmla="*/ 2310681 w 3361769"/>
                <a:gd name="connsiteY7" fmla="*/ 1655670 h 2149702"/>
                <a:gd name="connsiteX8" fmla="*/ 623403 w 3361769"/>
                <a:gd name="connsiteY8" fmla="*/ 1505706 h 2149702"/>
                <a:gd name="connsiteX0" fmla="*/ 623403 w 3361769"/>
                <a:gd name="connsiteY0" fmla="*/ 1505706 h 2149702"/>
                <a:gd name="connsiteX1" fmla="*/ 197172 w 3361769"/>
                <a:gd name="connsiteY1" fmla="*/ 571046 h 2149702"/>
                <a:gd name="connsiteX2" fmla="*/ 1806435 w 3361769"/>
                <a:gd name="connsiteY2" fmla="*/ 180772 h 2149702"/>
                <a:gd name="connsiteX3" fmla="*/ 3361769 w 3361769"/>
                <a:gd name="connsiteY3" fmla="*/ 1655676 h 2149702"/>
                <a:gd name="connsiteX4" fmla="*/ 3361768 w 3361769"/>
                <a:gd name="connsiteY4" fmla="*/ 1655673 h 2149702"/>
                <a:gd name="connsiteX5" fmla="*/ 2930786 w 3361769"/>
                <a:gd name="connsiteY5" fmla="*/ 2149702 h 2149702"/>
                <a:gd name="connsiteX6" fmla="*/ 2310681 w 3361769"/>
                <a:gd name="connsiteY6" fmla="*/ 1655670 h 2149702"/>
                <a:gd name="connsiteX7" fmla="*/ 2310681 w 3361769"/>
                <a:gd name="connsiteY7" fmla="*/ 1655670 h 2149702"/>
                <a:gd name="connsiteX8" fmla="*/ 623403 w 3361769"/>
                <a:gd name="connsiteY8" fmla="*/ 1505706 h 2149702"/>
                <a:gd name="connsiteX0" fmla="*/ 623403 w 3361769"/>
                <a:gd name="connsiteY0" fmla="*/ 1505706 h 2149702"/>
                <a:gd name="connsiteX1" fmla="*/ 197172 w 3361769"/>
                <a:gd name="connsiteY1" fmla="*/ 571046 h 2149702"/>
                <a:gd name="connsiteX2" fmla="*/ 1806435 w 3361769"/>
                <a:gd name="connsiteY2" fmla="*/ 180772 h 2149702"/>
                <a:gd name="connsiteX3" fmla="*/ 3361769 w 3361769"/>
                <a:gd name="connsiteY3" fmla="*/ 1655676 h 2149702"/>
                <a:gd name="connsiteX4" fmla="*/ 3361768 w 3361769"/>
                <a:gd name="connsiteY4" fmla="*/ 1655673 h 2149702"/>
                <a:gd name="connsiteX5" fmla="*/ 2930786 w 3361769"/>
                <a:gd name="connsiteY5" fmla="*/ 2149702 h 2149702"/>
                <a:gd name="connsiteX6" fmla="*/ 2310681 w 3361769"/>
                <a:gd name="connsiteY6" fmla="*/ 1655670 h 2149702"/>
                <a:gd name="connsiteX7" fmla="*/ 2310681 w 3361769"/>
                <a:gd name="connsiteY7" fmla="*/ 1655670 h 2149702"/>
                <a:gd name="connsiteX8" fmla="*/ 623403 w 3361769"/>
                <a:gd name="connsiteY8" fmla="*/ 1505706 h 2149702"/>
                <a:gd name="connsiteX0" fmla="*/ 623403 w 3361769"/>
                <a:gd name="connsiteY0" fmla="*/ 1505706 h 2149702"/>
                <a:gd name="connsiteX1" fmla="*/ 197172 w 3361769"/>
                <a:gd name="connsiteY1" fmla="*/ 571046 h 2149702"/>
                <a:gd name="connsiteX2" fmla="*/ 1806435 w 3361769"/>
                <a:gd name="connsiteY2" fmla="*/ 180772 h 2149702"/>
                <a:gd name="connsiteX3" fmla="*/ 3361769 w 3361769"/>
                <a:gd name="connsiteY3" fmla="*/ 1655676 h 2149702"/>
                <a:gd name="connsiteX4" fmla="*/ 3361768 w 3361769"/>
                <a:gd name="connsiteY4" fmla="*/ 1655673 h 2149702"/>
                <a:gd name="connsiteX5" fmla="*/ 2930786 w 3361769"/>
                <a:gd name="connsiteY5" fmla="*/ 2149702 h 2149702"/>
                <a:gd name="connsiteX6" fmla="*/ 2310681 w 3361769"/>
                <a:gd name="connsiteY6" fmla="*/ 1655670 h 2149702"/>
                <a:gd name="connsiteX7" fmla="*/ 2310681 w 3361769"/>
                <a:gd name="connsiteY7" fmla="*/ 1655670 h 2149702"/>
                <a:gd name="connsiteX8" fmla="*/ 623403 w 3361769"/>
                <a:gd name="connsiteY8" fmla="*/ 1505706 h 2149702"/>
                <a:gd name="connsiteX0" fmla="*/ 623403 w 3361769"/>
                <a:gd name="connsiteY0" fmla="*/ 1505706 h 2149702"/>
                <a:gd name="connsiteX1" fmla="*/ 197172 w 3361769"/>
                <a:gd name="connsiteY1" fmla="*/ 571046 h 2149702"/>
                <a:gd name="connsiteX2" fmla="*/ 1806435 w 3361769"/>
                <a:gd name="connsiteY2" fmla="*/ 180772 h 2149702"/>
                <a:gd name="connsiteX3" fmla="*/ 3361769 w 3361769"/>
                <a:gd name="connsiteY3" fmla="*/ 1655676 h 2149702"/>
                <a:gd name="connsiteX4" fmla="*/ 3361768 w 3361769"/>
                <a:gd name="connsiteY4" fmla="*/ 1655673 h 2149702"/>
                <a:gd name="connsiteX5" fmla="*/ 2930786 w 3361769"/>
                <a:gd name="connsiteY5" fmla="*/ 2149702 h 2149702"/>
                <a:gd name="connsiteX6" fmla="*/ 2310681 w 3361769"/>
                <a:gd name="connsiteY6" fmla="*/ 1655670 h 2149702"/>
                <a:gd name="connsiteX7" fmla="*/ 2310681 w 3361769"/>
                <a:gd name="connsiteY7" fmla="*/ 1655670 h 2149702"/>
                <a:gd name="connsiteX8" fmla="*/ 623403 w 3361769"/>
                <a:gd name="connsiteY8" fmla="*/ 1505706 h 2149702"/>
                <a:gd name="connsiteX0" fmla="*/ 623403 w 3361769"/>
                <a:gd name="connsiteY0" fmla="*/ 1459101 h 2103097"/>
                <a:gd name="connsiteX1" fmla="*/ 197172 w 3361769"/>
                <a:gd name="connsiteY1" fmla="*/ 524441 h 2103097"/>
                <a:gd name="connsiteX2" fmla="*/ 1806435 w 3361769"/>
                <a:gd name="connsiteY2" fmla="*/ 134167 h 2103097"/>
                <a:gd name="connsiteX3" fmla="*/ 3361769 w 3361769"/>
                <a:gd name="connsiteY3" fmla="*/ 1609071 h 2103097"/>
                <a:gd name="connsiteX4" fmla="*/ 3361768 w 3361769"/>
                <a:gd name="connsiteY4" fmla="*/ 1609068 h 2103097"/>
                <a:gd name="connsiteX5" fmla="*/ 2930786 w 3361769"/>
                <a:gd name="connsiteY5" fmla="*/ 2103097 h 2103097"/>
                <a:gd name="connsiteX6" fmla="*/ 2310681 w 3361769"/>
                <a:gd name="connsiteY6" fmla="*/ 1609065 h 2103097"/>
                <a:gd name="connsiteX7" fmla="*/ 2310681 w 3361769"/>
                <a:gd name="connsiteY7" fmla="*/ 1609065 h 2103097"/>
                <a:gd name="connsiteX8" fmla="*/ 623403 w 3361769"/>
                <a:gd name="connsiteY8" fmla="*/ 1459101 h 2103097"/>
                <a:gd name="connsiteX0" fmla="*/ 623403 w 3361769"/>
                <a:gd name="connsiteY0" fmla="*/ 1459101 h 2103097"/>
                <a:gd name="connsiteX1" fmla="*/ 197172 w 3361769"/>
                <a:gd name="connsiteY1" fmla="*/ 524441 h 2103097"/>
                <a:gd name="connsiteX2" fmla="*/ 1806435 w 3361769"/>
                <a:gd name="connsiteY2" fmla="*/ 134167 h 2103097"/>
                <a:gd name="connsiteX3" fmla="*/ 3361769 w 3361769"/>
                <a:gd name="connsiteY3" fmla="*/ 1609071 h 2103097"/>
                <a:gd name="connsiteX4" fmla="*/ 3361768 w 3361769"/>
                <a:gd name="connsiteY4" fmla="*/ 1609068 h 2103097"/>
                <a:gd name="connsiteX5" fmla="*/ 2930786 w 3361769"/>
                <a:gd name="connsiteY5" fmla="*/ 2103097 h 2103097"/>
                <a:gd name="connsiteX6" fmla="*/ 2310681 w 3361769"/>
                <a:gd name="connsiteY6" fmla="*/ 1609065 h 2103097"/>
                <a:gd name="connsiteX7" fmla="*/ 2310681 w 3361769"/>
                <a:gd name="connsiteY7" fmla="*/ 1609065 h 2103097"/>
                <a:gd name="connsiteX8" fmla="*/ 623403 w 3361769"/>
                <a:gd name="connsiteY8" fmla="*/ 1459101 h 2103097"/>
                <a:gd name="connsiteX0" fmla="*/ 623403 w 3361769"/>
                <a:gd name="connsiteY0" fmla="*/ 1434993 h 2078989"/>
                <a:gd name="connsiteX1" fmla="*/ 197172 w 3361769"/>
                <a:gd name="connsiteY1" fmla="*/ 500333 h 2078989"/>
                <a:gd name="connsiteX2" fmla="*/ 1806435 w 3361769"/>
                <a:gd name="connsiteY2" fmla="*/ 110059 h 2078989"/>
                <a:gd name="connsiteX3" fmla="*/ 3361769 w 3361769"/>
                <a:gd name="connsiteY3" fmla="*/ 1584963 h 2078989"/>
                <a:gd name="connsiteX4" fmla="*/ 3361768 w 3361769"/>
                <a:gd name="connsiteY4" fmla="*/ 1584960 h 2078989"/>
                <a:gd name="connsiteX5" fmla="*/ 2930786 w 3361769"/>
                <a:gd name="connsiteY5" fmla="*/ 2078989 h 2078989"/>
                <a:gd name="connsiteX6" fmla="*/ 2310681 w 3361769"/>
                <a:gd name="connsiteY6" fmla="*/ 1584957 h 2078989"/>
                <a:gd name="connsiteX7" fmla="*/ 2310681 w 3361769"/>
                <a:gd name="connsiteY7" fmla="*/ 1584957 h 2078989"/>
                <a:gd name="connsiteX8" fmla="*/ 623403 w 3361769"/>
                <a:gd name="connsiteY8" fmla="*/ 1434993 h 2078989"/>
                <a:gd name="connsiteX0" fmla="*/ 623403 w 3361769"/>
                <a:gd name="connsiteY0" fmla="*/ 1466483 h 2110479"/>
                <a:gd name="connsiteX1" fmla="*/ 197172 w 3361769"/>
                <a:gd name="connsiteY1" fmla="*/ 531823 h 2110479"/>
                <a:gd name="connsiteX2" fmla="*/ 1806435 w 3361769"/>
                <a:gd name="connsiteY2" fmla="*/ 141549 h 2110479"/>
                <a:gd name="connsiteX3" fmla="*/ 3361769 w 3361769"/>
                <a:gd name="connsiteY3" fmla="*/ 1616453 h 2110479"/>
                <a:gd name="connsiteX4" fmla="*/ 3361768 w 3361769"/>
                <a:gd name="connsiteY4" fmla="*/ 1616450 h 2110479"/>
                <a:gd name="connsiteX5" fmla="*/ 2930786 w 3361769"/>
                <a:gd name="connsiteY5" fmla="*/ 2110479 h 2110479"/>
                <a:gd name="connsiteX6" fmla="*/ 2310681 w 3361769"/>
                <a:gd name="connsiteY6" fmla="*/ 1616447 h 2110479"/>
                <a:gd name="connsiteX7" fmla="*/ 2310681 w 3361769"/>
                <a:gd name="connsiteY7" fmla="*/ 1616447 h 2110479"/>
                <a:gd name="connsiteX8" fmla="*/ 623403 w 3361769"/>
                <a:gd name="connsiteY8" fmla="*/ 1466483 h 2110479"/>
                <a:gd name="connsiteX0" fmla="*/ 623403 w 3361769"/>
                <a:gd name="connsiteY0" fmla="*/ 1473923 h 2117919"/>
                <a:gd name="connsiteX1" fmla="*/ 197172 w 3361769"/>
                <a:gd name="connsiteY1" fmla="*/ 539263 h 2117919"/>
                <a:gd name="connsiteX2" fmla="*/ 1819529 w 3361769"/>
                <a:gd name="connsiteY2" fmla="*/ 141549 h 2117919"/>
                <a:gd name="connsiteX3" fmla="*/ 3361769 w 3361769"/>
                <a:gd name="connsiteY3" fmla="*/ 1623893 h 2117919"/>
                <a:gd name="connsiteX4" fmla="*/ 3361768 w 3361769"/>
                <a:gd name="connsiteY4" fmla="*/ 1623890 h 2117919"/>
                <a:gd name="connsiteX5" fmla="*/ 2930786 w 3361769"/>
                <a:gd name="connsiteY5" fmla="*/ 2117919 h 2117919"/>
                <a:gd name="connsiteX6" fmla="*/ 2310681 w 3361769"/>
                <a:gd name="connsiteY6" fmla="*/ 1623887 h 2117919"/>
                <a:gd name="connsiteX7" fmla="*/ 2310681 w 3361769"/>
                <a:gd name="connsiteY7" fmla="*/ 1623887 h 2117919"/>
                <a:gd name="connsiteX8" fmla="*/ 623403 w 3361769"/>
                <a:gd name="connsiteY8" fmla="*/ 1473923 h 2117919"/>
                <a:gd name="connsiteX0" fmla="*/ 623403 w 3361769"/>
                <a:gd name="connsiteY0" fmla="*/ 1473923 h 2117919"/>
                <a:gd name="connsiteX1" fmla="*/ 197172 w 3361769"/>
                <a:gd name="connsiteY1" fmla="*/ 539263 h 2117919"/>
                <a:gd name="connsiteX2" fmla="*/ 1819529 w 3361769"/>
                <a:gd name="connsiteY2" fmla="*/ 141549 h 2117919"/>
                <a:gd name="connsiteX3" fmla="*/ 3361769 w 3361769"/>
                <a:gd name="connsiteY3" fmla="*/ 1623893 h 2117919"/>
                <a:gd name="connsiteX4" fmla="*/ 3361768 w 3361769"/>
                <a:gd name="connsiteY4" fmla="*/ 1623890 h 2117919"/>
                <a:gd name="connsiteX5" fmla="*/ 2930786 w 3361769"/>
                <a:gd name="connsiteY5" fmla="*/ 2117919 h 2117919"/>
                <a:gd name="connsiteX6" fmla="*/ 2310681 w 3361769"/>
                <a:gd name="connsiteY6" fmla="*/ 1623887 h 2117919"/>
                <a:gd name="connsiteX7" fmla="*/ 2310681 w 3361769"/>
                <a:gd name="connsiteY7" fmla="*/ 1623887 h 2117919"/>
                <a:gd name="connsiteX8" fmla="*/ 623403 w 3361769"/>
                <a:gd name="connsiteY8" fmla="*/ 1473923 h 2117919"/>
                <a:gd name="connsiteX0" fmla="*/ 623403 w 3361769"/>
                <a:gd name="connsiteY0" fmla="*/ 1471389 h 2115385"/>
                <a:gd name="connsiteX1" fmla="*/ 197172 w 3361769"/>
                <a:gd name="connsiteY1" fmla="*/ 536729 h 2115385"/>
                <a:gd name="connsiteX2" fmla="*/ 1819529 w 3361769"/>
                <a:gd name="connsiteY2" fmla="*/ 139015 h 2115385"/>
                <a:gd name="connsiteX3" fmla="*/ 3361769 w 3361769"/>
                <a:gd name="connsiteY3" fmla="*/ 1621359 h 2115385"/>
                <a:gd name="connsiteX4" fmla="*/ 3361768 w 3361769"/>
                <a:gd name="connsiteY4" fmla="*/ 1621356 h 2115385"/>
                <a:gd name="connsiteX5" fmla="*/ 2930786 w 3361769"/>
                <a:gd name="connsiteY5" fmla="*/ 2115385 h 2115385"/>
                <a:gd name="connsiteX6" fmla="*/ 2310681 w 3361769"/>
                <a:gd name="connsiteY6" fmla="*/ 1621353 h 2115385"/>
                <a:gd name="connsiteX7" fmla="*/ 2310681 w 3361769"/>
                <a:gd name="connsiteY7" fmla="*/ 1621353 h 2115385"/>
                <a:gd name="connsiteX8" fmla="*/ 623403 w 3361769"/>
                <a:gd name="connsiteY8" fmla="*/ 1471389 h 2115385"/>
                <a:gd name="connsiteX0" fmla="*/ 623403 w 3361769"/>
                <a:gd name="connsiteY0" fmla="*/ 1457313 h 2101309"/>
                <a:gd name="connsiteX1" fmla="*/ 197172 w 3361769"/>
                <a:gd name="connsiteY1" fmla="*/ 522653 h 2101309"/>
                <a:gd name="connsiteX2" fmla="*/ 1819529 w 3361769"/>
                <a:gd name="connsiteY2" fmla="*/ 124939 h 2101309"/>
                <a:gd name="connsiteX3" fmla="*/ 3361769 w 3361769"/>
                <a:gd name="connsiteY3" fmla="*/ 1607283 h 2101309"/>
                <a:gd name="connsiteX4" fmla="*/ 3361768 w 3361769"/>
                <a:gd name="connsiteY4" fmla="*/ 1607280 h 2101309"/>
                <a:gd name="connsiteX5" fmla="*/ 2930786 w 3361769"/>
                <a:gd name="connsiteY5" fmla="*/ 2101309 h 2101309"/>
                <a:gd name="connsiteX6" fmla="*/ 2310681 w 3361769"/>
                <a:gd name="connsiteY6" fmla="*/ 1607277 h 2101309"/>
                <a:gd name="connsiteX7" fmla="*/ 2310681 w 3361769"/>
                <a:gd name="connsiteY7" fmla="*/ 1607277 h 2101309"/>
                <a:gd name="connsiteX8" fmla="*/ 623403 w 3361769"/>
                <a:gd name="connsiteY8" fmla="*/ 1457313 h 2101309"/>
                <a:gd name="connsiteX0" fmla="*/ 623403 w 3361769"/>
                <a:gd name="connsiteY0" fmla="*/ 1447045 h 2091041"/>
                <a:gd name="connsiteX1" fmla="*/ 197172 w 3361769"/>
                <a:gd name="connsiteY1" fmla="*/ 512385 h 2091041"/>
                <a:gd name="connsiteX2" fmla="*/ 1816702 w 3361769"/>
                <a:gd name="connsiteY2" fmla="*/ 124939 h 2091041"/>
                <a:gd name="connsiteX3" fmla="*/ 3361769 w 3361769"/>
                <a:gd name="connsiteY3" fmla="*/ 1597015 h 2091041"/>
                <a:gd name="connsiteX4" fmla="*/ 3361768 w 3361769"/>
                <a:gd name="connsiteY4" fmla="*/ 1597012 h 2091041"/>
                <a:gd name="connsiteX5" fmla="*/ 2930786 w 3361769"/>
                <a:gd name="connsiteY5" fmla="*/ 2091041 h 2091041"/>
                <a:gd name="connsiteX6" fmla="*/ 2310681 w 3361769"/>
                <a:gd name="connsiteY6" fmla="*/ 1597009 h 2091041"/>
                <a:gd name="connsiteX7" fmla="*/ 2310681 w 3361769"/>
                <a:gd name="connsiteY7" fmla="*/ 1597009 h 2091041"/>
                <a:gd name="connsiteX8" fmla="*/ 623403 w 3361769"/>
                <a:gd name="connsiteY8" fmla="*/ 1447045 h 2091041"/>
                <a:gd name="connsiteX0" fmla="*/ 623403 w 3361769"/>
                <a:gd name="connsiteY0" fmla="*/ 1486327 h 2130323"/>
                <a:gd name="connsiteX1" fmla="*/ 197172 w 3361769"/>
                <a:gd name="connsiteY1" fmla="*/ 551667 h 2130323"/>
                <a:gd name="connsiteX2" fmla="*/ 1816702 w 3361769"/>
                <a:gd name="connsiteY2" fmla="*/ 164221 h 2130323"/>
                <a:gd name="connsiteX3" fmla="*/ 3361769 w 3361769"/>
                <a:gd name="connsiteY3" fmla="*/ 1636297 h 2130323"/>
                <a:gd name="connsiteX4" fmla="*/ 3361768 w 3361769"/>
                <a:gd name="connsiteY4" fmla="*/ 1636294 h 2130323"/>
                <a:gd name="connsiteX5" fmla="*/ 2930786 w 3361769"/>
                <a:gd name="connsiteY5" fmla="*/ 2130323 h 2130323"/>
                <a:gd name="connsiteX6" fmla="*/ 2310681 w 3361769"/>
                <a:gd name="connsiteY6" fmla="*/ 1636291 h 2130323"/>
                <a:gd name="connsiteX7" fmla="*/ 2310681 w 3361769"/>
                <a:gd name="connsiteY7" fmla="*/ 1636291 h 2130323"/>
                <a:gd name="connsiteX8" fmla="*/ 623403 w 3361769"/>
                <a:gd name="connsiteY8" fmla="*/ 1486327 h 2130323"/>
                <a:gd name="connsiteX0" fmla="*/ 623403 w 3361769"/>
                <a:gd name="connsiteY0" fmla="*/ 1486327 h 2130323"/>
                <a:gd name="connsiteX1" fmla="*/ 197172 w 3361769"/>
                <a:gd name="connsiteY1" fmla="*/ 551667 h 2130323"/>
                <a:gd name="connsiteX2" fmla="*/ 1816702 w 3361769"/>
                <a:gd name="connsiteY2" fmla="*/ 164221 h 2130323"/>
                <a:gd name="connsiteX3" fmla="*/ 3361769 w 3361769"/>
                <a:gd name="connsiteY3" fmla="*/ 1636297 h 2130323"/>
                <a:gd name="connsiteX4" fmla="*/ 3361768 w 3361769"/>
                <a:gd name="connsiteY4" fmla="*/ 1636294 h 2130323"/>
                <a:gd name="connsiteX5" fmla="*/ 2930786 w 3361769"/>
                <a:gd name="connsiteY5" fmla="*/ 2130323 h 2130323"/>
                <a:gd name="connsiteX6" fmla="*/ 2310681 w 3361769"/>
                <a:gd name="connsiteY6" fmla="*/ 1636291 h 2130323"/>
                <a:gd name="connsiteX7" fmla="*/ 2310681 w 3361769"/>
                <a:gd name="connsiteY7" fmla="*/ 1636291 h 2130323"/>
                <a:gd name="connsiteX8" fmla="*/ 623403 w 3361769"/>
                <a:gd name="connsiteY8" fmla="*/ 1486327 h 2130323"/>
                <a:gd name="connsiteX0" fmla="*/ 623403 w 3361769"/>
                <a:gd name="connsiteY0" fmla="*/ 1447045 h 2091041"/>
                <a:gd name="connsiteX1" fmla="*/ 197172 w 3361769"/>
                <a:gd name="connsiteY1" fmla="*/ 512385 h 2091041"/>
                <a:gd name="connsiteX2" fmla="*/ 1816702 w 3361769"/>
                <a:gd name="connsiteY2" fmla="*/ 124939 h 2091041"/>
                <a:gd name="connsiteX3" fmla="*/ 3361769 w 3361769"/>
                <a:gd name="connsiteY3" fmla="*/ 1597015 h 2091041"/>
                <a:gd name="connsiteX4" fmla="*/ 3361768 w 3361769"/>
                <a:gd name="connsiteY4" fmla="*/ 1597012 h 2091041"/>
                <a:gd name="connsiteX5" fmla="*/ 2930786 w 3361769"/>
                <a:gd name="connsiteY5" fmla="*/ 2091041 h 2091041"/>
                <a:gd name="connsiteX6" fmla="*/ 2310681 w 3361769"/>
                <a:gd name="connsiteY6" fmla="*/ 1597009 h 2091041"/>
                <a:gd name="connsiteX7" fmla="*/ 2310681 w 3361769"/>
                <a:gd name="connsiteY7" fmla="*/ 1597009 h 2091041"/>
                <a:gd name="connsiteX8" fmla="*/ 623403 w 3361769"/>
                <a:gd name="connsiteY8" fmla="*/ 1447045 h 2091041"/>
                <a:gd name="connsiteX0" fmla="*/ 623403 w 3361769"/>
                <a:gd name="connsiteY0" fmla="*/ 1465792 h 2109788"/>
                <a:gd name="connsiteX1" fmla="*/ 197172 w 3361769"/>
                <a:gd name="connsiteY1" fmla="*/ 531132 h 2109788"/>
                <a:gd name="connsiteX2" fmla="*/ 1816702 w 3361769"/>
                <a:gd name="connsiteY2" fmla="*/ 143686 h 2109788"/>
                <a:gd name="connsiteX3" fmla="*/ 3361769 w 3361769"/>
                <a:gd name="connsiteY3" fmla="*/ 1615762 h 2109788"/>
                <a:gd name="connsiteX4" fmla="*/ 3361768 w 3361769"/>
                <a:gd name="connsiteY4" fmla="*/ 1615759 h 2109788"/>
                <a:gd name="connsiteX5" fmla="*/ 2930786 w 3361769"/>
                <a:gd name="connsiteY5" fmla="*/ 2109788 h 2109788"/>
                <a:gd name="connsiteX6" fmla="*/ 2310681 w 3361769"/>
                <a:gd name="connsiteY6" fmla="*/ 1615756 h 2109788"/>
                <a:gd name="connsiteX7" fmla="*/ 2310681 w 3361769"/>
                <a:gd name="connsiteY7" fmla="*/ 1615756 h 2109788"/>
                <a:gd name="connsiteX8" fmla="*/ 623403 w 3361769"/>
                <a:gd name="connsiteY8" fmla="*/ 1465792 h 2109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61769" h="2109788">
                  <a:moveTo>
                    <a:pt x="623403" y="1465792"/>
                  </a:moveTo>
                  <a:cubicBezTo>
                    <a:pt x="205992" y="1348376"/>
                    <a:pt x="0" y="751954"/>
                    <a:pt x="197172" y="531132"/>
                  </a:cubicBezTo>
                  <a:cubicBezTo>
                    <a:pt x="513286" y="253809"/>
                    <a:pt x="1175227" y="0"/>
                    <a:pt x="1816702" y="143686"/>
                  </a:cubicBezTo>
                  <a:cubicBezTo>
                    <a:pt x="2552113" y="296005"/>
                    <a:pt x="3171197" y="865290"/>
                    <a:pt x="3361769" y="1615762"/>
                  </a:cubicBezTo>
                  <a:cubicBezTo>
                    <a:pt x="3361769" y="1615761"/>
                    <a:pt x="3361768" y="1615760"/>
                    <a:pt x="3361768" y="1615759"/>
                  </a:cubicBezTo>
                  <a:lnTo>
                    <a:pt x="2930786" y="2109788"/>
                  </a:lnTo>
                  <a:lnTo>
                    <a:pt x="2310681" y="1615756"/>
                  </a:lnTo>
                  <a:lnTo>
                    <a:pt x="2310681" y="1615756"/>
                  </a:lnTo>
                  <a:cubicBezTo>
                    <a:pt x="2039577" y="1124957"/>
                    <a:pt x="1201679" y="873752"/>
                    <a:pt x="623403" y="1465792"/>
                  </a:cubicBezTo>
                  <a:close/>
                </a:path>
              </a:pathLst>
            </a:custGeom>
            <a:solidFill>
              <a:schemeClr val="tx2"/>
            </a:solidFill>
            <a:ln>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985" tIns="89985" rIns="89985" bIns="89985" numCol="1" spcCol="1270" anchor="ctr" anchorCtr="0">
              <a:noAutofit/>
            </a:bodyPr>
            <a:lstStyle/>
            <a:p>
              <a:pPr algn="ctr" defTabSz="666694">
                <a:lnSpc>
                  <a:spcPct val="90000"/>
                </a:lnSpc>
                <a:spcBef>
                  <a:spcPct val="0"/>
                </a:spcBef>
                <a:spcAft>
                  <a:spcPct val="35000"/>
                </a:spcAft>
              </a:pPr>
              <a:endParaRPr lang="en-US" sz="1500">
                <a:solidFill>
                  <a:schemeClr val="bg1"/>
                </a:solidFill>
                <a:sym typeface="Segoe UI"/>
              </a:endParaRPr>
            </a:p>
          </p:txBody>
        </p:sp>
        <p:sp>
          <p:nvSpPr>
            <p:cNvPr id="37" name="Freeform 36"/>
            <p:cNvSpPr/>
            <p:nvPr/>
          </p:nvSpPr>
          <p:spPr>
            <a:xfrm rot="15527030">
              <a:off x="5670710" y="2145701"/>
              <a:ext cx="2136857" cy="1371451"/>
            </a:xfrm>
            <a:custGeom>
              <a:avLst/>
              <a:gdLst>
                <a:gd name="connsiteX0" fmla="*/ 348547 w 4038600"/>
                <a:gd name="connsiteY0" fmla="*/ 906891 h 4038600"/>
                <a:gd name="connsiteX1" fmla="*/ 2357628 w 4038600"/>
                <a:gd name="connsiteY1" fmla="*/ 40815 h 4038600"/>
                <a:gd name="connsiteX2" fmla="*/ 3964758 w 4038600"/>
                <a:gd name="connsiteY2" fmla="*/ 1525277 h 4038600"/>
                <a:gd name="connsiteX3" fmla="*/ 3964757 w 4038600"/>
                <a:gd name="connsiteY3" fmla="*/ 1525274 h 4038600"/>
                <a:gd name="connsiteX4" fmla="*/ 3533775 w 4038600"/>
                <a:gd name="connsiteY4" fmla="*/ 2019303 h 4038600"/>
                <a:gd name="connsiteX5" fmla="*/ 2913670 w 4038600"/>
                <a:gd name="connsiteY5" fmla="*/ 1525271 h 4038600"/>
                <a:gd name="connsiteX6" fmla="*/ 2913670 w 4038600"/>
                <a:gd name="connsiteY6" fmla="*/ 1525271 h 4038600"/>
                <a:gd name="connsiteX7" fmla="*/ 2061559 w 4038600"/>
                <a:gd name="connsiteY7" fmla="*/ 998426 h 4038600"/>
                <a:gd name="connsiteX8" fmla="*/ 1168818 w 4038600"/>
                <a:gd name="connsiteY8" fmla="*/ 1453038 h 4038600"/>
                <a:gd name="connsiteX9" fmla="*/ 348547 w 4038600"/>
                <a:gd name="connsiteY9" fmla="*/ 906891 h 4038600"/>
                <a:gd name="connsiteX0" fmla="*/ 0 w 3616211"/>
                <a:gd name="connsiteY0" fmla="*/ 999801 h 2112213"/>
                <a:gd name="connsiteX1" fmla="*/ 2009081 w 3616211"/>
                <a:gd name="connsiteY1" fmla="*/ 133725 h 2112213"/>
                <a:gd name="connsiteX2" fmla="*/ 3616211 w 3616211"/>
                <a:gd name="connsiteY2" fmla="*/ 1618187 h 2112213"/>
                <a:gd name="connsiteX3" fmla="*/ 3616210 w 3616211"/>
                <a:gd name="connsiteY3" fmla="*/ 1618184 h 2112213"/>
                <a:gd name="connsiteX4" fmla="*/ 3185228 w 3616211"/>
                <a:gd name="connsiteY4" fmla="*/ 2112213 h 2112213"/>
                <a:gd name="connsiteX5" fmla="*/ 2565123 w 3616211"/>
                <a:gd name="connsiteY5" fmla="*/ 1618181 h 2112213"/>
                <a:gd name="connsiteX6" fmla="*/ 2565123 w 3616211"/>
                <a:gd name="connsiteY6" fmla="*/ 1618181 h 2112213"/>
                <a:gd name="connsiteX7" fmla="*/ 1713012 w 3616211"/>
                <a:gd name="connsiteY7" fmla="*/ 1091336 h 2112213"/>
                <a:gd name="connsiteX8" fmla="*/ 820271 w 3616211"/>
                <a:gd name="connsiteY8" fmla="*/ 1545948 h 2112213"/>
                <a:gd name="connsiteX9" fmla="*/ 842336 w 3616211"/>
                <a:gd name="connsiteY9" fmla="*/ 883669 h 2112213"/>
                <a:gd name="connsiteX10" fmla="*/ 0 w 3616211"/>
                <a:gd name="connsiteY10" fmla="*/ 999801 h 2112213"/>
                <a:gd name="connsiteX0" fmla="*/ 0 w 3153747"/>
                <a:gd name="connsiteY0" fmla="*/ 660371 h 2263706"/>
                <a:gd name="connsiteX1" fmla="*/ 1546617 w 3153747"/>
                <a:gd name="connsiteY1" fmla="*/ 285218 h 2263706"/>
                <a:gd name="connsiteX2" fmla="*/ 3153747 w 3153747"/>
                <a:gd name="connsiteY2" fmla="*/ 1769680 h 2263706"/>
                <a:gd name="connsiteX3" fmla="*/ 3153746 w 3153747"/>
                <a:gd name="connsiteY3" fmla="*/ 1769677 h 2263706"/>
                <a:gd name="connsiteX4" fmla="*/ 2722764 w 3153747"/>
                <a:gd name="connsiteY4" fmla="*/ 2263706 h 2263706"/>
                <a:gd name="connsiteX5" fmla="*/ 2102659 w 3153747"/>
                <a:gd name="connsiteY5" fmla="*/ 1769674 h 2263706"/>
                <a:gd name="connsiteX6" fmla="*/ 2102659 w 3153747"/>
                <a:gd name="connsiteY6" fmla="*/ 1769674 h 2263706"/>
                <a:gd name="connsiteX7" fmla="*/ 1250548 w 3153747"/>
                <a:gd name="connsiteY7" fmla="*/ 1242829 h 2263706"/>
                <a:gd name="connsiteX8" fmla="*/ 357807 w 3153747"/>
                <a:gd name="connsiteY8" fmla="*/ 1697441 h 2263706"/>
                <a:gd name="connsiteX9" fmla="*/ 379872 w 3153747"/>
                <a:gd name="connsiteY9" fmla="*/ 1035162 h 2263706"/>
                <a:gd name="connsiteX10" fmla="*/ 0 w 3153747"/>
                <a:gd name="connsiteY10" fmla="*/ 660371 h 2263706"/>
                <a:gd name="connsiteX0" fmla="*/ 0 w 3279076"/>
                <a:gd name="connsiteY0" fmla="*/ 662326 h 2142915"/>
                <a:gd name="connsiteX1" fmla="*/ 1671946 w 3279076"/>
                <a:gd name="connsiteY1" fmla="*/ 164427 h 2142915"/>
                <a:gd name="connsiteX2" fmla="*/ 3279076 w 3279076"/>
                <a:gd name="connsiteY2" fmla="*/ 1648889 h 2142915"/>
                <a:gd name="connsiteX3" fmla="*/ 3279075 w 3279076"/>
                <a:gd name="connsiteY3" fmla="*/ 1648886 h 2142915"/>
                <a:gd name="connsiteX4" fmla="*/ 2848093 w 3279076"/>
                <a:gd name="connsiteY4" fmla="*/ 2142915 h 2142915"/>
                <a:gd name="connsiteX5" fmla="*/ 2227988 w 3279076"/>
                <a:gd name="connsiteY5" fmla="*/ 1648883 h 2142915"/>
                <a:gd name="connsiteX6" fmla="*/ 2227988 w 3279076"/>
                <a:gd name="connsiteY6" fmla="*/ 1648883 h 2142915"/>
                <a:gd name="connsiteX7" fmla="*/ 1375877 w 3279076"/>
                <a:gd name="connsiteY7" fmla="*/ 1122038 h 2142915"/>
                <a:gd name="connsiteX8" fmla="*/ 483136 w 3279076"/>
                <a:gd name="connsiteY8" fmla="*/ 1576650 h 2142915"/>
                <a:gd name="connsiteX9" fmla="*/ 505201 w 3279076"/>
                <a:gd name="connsiteY9" fmla="*/ 914371 h 2142915"/>
                <a:gd name="connsiteX10" fmla="*/ 0 w 3279076"/>
                <a:gd name="connsiteY10" fmla="*/ 662326 h 2142915"/>
                <a:gd name="connsiteX0" fmla="*/ 0 w 3279076"/>
                <a:gd name="connsiteY0" fmla="*/ 662326 h 2142915"/>
                <a:gd name="connsiteX1" fmla="*/ 1671946 w 3279076"/>
                <a:gd name="connsiteY1" fmla="*/ 164427 h 2142915"/>
                <a:gd name="connsiteX2" fmla="*/ 3279076 w 3279076"/>
                <a:gd name="connsiteY2" fmla="*/ 1648889 h 2142915"/>
                <a:gd name="connsiteX3" fmla="*/ 3279075 w 3279076"/>
                <a:gd name="connsiteY3" fmla="*/ 1648886 h 2142915"/>
                <a:gd name="connsiteX4" fmla="*/ 2848093 w 3279076"/>
                <a:gd name="connsiteY4" fmla="*/ 2142915 h 2142915"/>
                <a:gd name="connsiteX5" fmla="*/ 2227988 w 3279076"/>
                <a:gd name="connsiteY5" fmla="*/ 1648883 h 2142915"/>
                <a:gd name="connsiteX6" fmla="*/ 2227988 w 3279076"/>
                <a:gd name="connsiteY6" fmla="*/ 1648883 h 2142915"/>
                <a:gd name="connsiteX7" fmla="*/ 1375877 w 3279076"/>
                <a:gd name="connsiteY7" fmla="*/ 1122038 h 2142915"/>
                <a:gd name="connsiteX8" fmla="*/ 483136 w 3279076"/>
                <a:gd name="connsiteY8" fmla="*/ 1576650 h 2142915"/>
                <a:gd name="connsiteX9" fmla="*/ 505201 w 3279076"/>
                <a:gd name="connsiteY9" fmla="*/ 914371 h 2142915"/>
                <a:gd name="connsiteX10" fmla="*/ 0 w 3279076"/>
                <a:gd name="connsiteY10" fmla="*/ 662326 h 2142915"/>
                <a:gd name="connsiteX0" fmla="*/ 0 w 3279076"/>
                <a:gd name="connsiteY0" fmla="*/ 662326 h 2142915"/>
                <a:gd name="connsiteX1" fmla="*/ 1671946 w 3279076"/>
                <a:gd name="connsiteY1" fmla="*/ 164427 h 2142915"/>
                <a:gd name="connsiteX2" fmla="*/ 3279076 w 3279076"/>
                <a:gd name="connsiteY2" fmla="*/ 1648889 h 2142915"/>
                <a:gd name="connsiteX3" fmla="*/ 3279075 w 3279076"/>
                <a:gd name="connsiteY3" fmla="*/ 1648886 h 2142915"/>
                <a:gd name="connsiteX4" fmla="*/ 2848093 w 3279076"/>
                <a:gd name="connsiteY4" fmla="*/ 2142915 h 2142915"/>
                <a:gd name="connsiteX5" fmla="*/ 2227988 w 3279076"/>
                <a:gd name="connsiteY5" fmla="*/ 1648883 h 2142915"/>
                <a:gd name="connsiteX6" fmla="*/ 2227988 w 3279076"/>
                <a:gd name="connsiteY6" fmla="*/ 1648883 h 2142915"/>
                <a:gd name="connsiteX7" fmla="*/ 1375877 w 3279076"/>
                <a:gd name="connsiteY7" fmla="*/ 1122038 h 2142915"/>
                <a:gd name="connsiteX8" fmla="*/ 483136 w 3279076"/>
                <a:gd name="connsiteY8" fmla="*/ 1576650 h 2142915"/>
                <a:gd name="connsiteX9" fmla="*/ 505201 w 3279076"/>
                <a:gd name="connsiteY9" fmla="*/ 914371 h 2142915"/>
                <a:gd name="connsiteX10" fmla="*/ 0 w 3279076"/>
                <a:gd name="connsiteY10" fmla="*/ 662326 h 2142915"/>
                <a:gd name="connsiteX0" fmla="*/ 0 w 3279076"/>
                <a:gd name="connsiteY0" fmla="*/ 662326 h 2142915"/>
                <a:gd name="connsiteX1" fmla="*/ 1671946 w 3279076"/>
                <a:gd name="connsiteY1" fmla="*/ 164427 h 2142915"/>
                <a:gd name="connsiteX2" fmla="*/ 3279076 w 3279076"/>
                <a:gd name="connsiteY2" fmla="*/ 1648889 h 2142915"/>
                <a:gd name="connsiteX3" fmla="*/ 3279075 w 3279076"/>
                <a:gd name="connsiteY3" fmla="*/ 1648886 h 2142915"/>
                <a:gd name="connsiteX4" fmla="*/ 2848093 w 3279076"/>
                <a:gd name="connsiteY4" fmla="*/ 2142915 h 2142915"/>
                <a:gd name="connsiteX5" fmla="*/ 2227988 w 3279076"/>
                <a:gd name="connsiteY5" fmla="*/ 1648883 h 2142915"/>
                <a:gd name="connsiteX6" fmla="*/ 2227988 w 3279076"/>
                <a:gd name="connsiteY6" fmla="*/ 1648883 h 2142915"/>
                <a:gd name="connsiteX7" fmla="*/ 1375877 w 3279076"/>
                <a:gd name="connsiteY7" fmla="*/ 1122038 h 2142915"/>
                <a:gd name="connsiteX8" fmla="*/ 483136 w 3279076"/>
                <a:gd name="connsiteY8" fmla="*/ 1576650 h 2142915"/>
                <a:gd name="connsiteX9" fmla="*/ 505201 w 3279076"/>
                <a:gd name="connsiteY9" fmla="*/ 914371 h 2142915"/>
                <a:gd name="connsiteX10" fmla="*/ 0 w 3279076"/>
                <a:gd name="connsiteY10" fmla="*/ 662326 h 2142915"/>
                <a:gd name="connsiteX0" fmla="*/ 0 w 3279076"/>
                <a:gd name="connsiteY0" fmla="*/ 662326 h 2142915"/>
                <a:gd name="connsiteX1" fmla="*/ 1671946 w 3279076"/>
                <a:gd name="connsiteY1" fmla="*/ 164427 h 2142915"/>
                <a:gd name="connsiteX2" fmla="*/ 3279076 w 3279076"/>
                <a:gd name="connsiteY2" fmla="*/ 1648889 h 2142915"/>
                <a:gd name="connsiteX3" fmla="*/ 3279075 w 3279076"/>
                <a:gd name="connsiteY3" fmla="*/ 1648886 h 2142915"/>
                <a:gd name="connsiteX4" fmla="*/ 2848093 w 3279076"/>
                <a:gd name="connsiteY4" fmla="*/ 2142915 h 2142915"/>
                <a:gd name="connsiteX5" fmla="*/ 2227988 w 3279076"/>
                <a:gd name="connsiteY5" fmla="*/ 1648883 h 2142915"/>
                <a:gd name="connsiteX6" fmla="*/ 2227988 w 3279076"/>
                <a:gd name="connsiteY6" fmla="*/ 1648883 h 2142915"/>
                <a:gd name="connsiteX7" fmla="*/ 1375877 w 3279076"/>
                <a:gd name="connsiteY7" fmla="*/ 1122038 h 2142915"/>
                <a:gd name="connsiteX8" fmla="*/ 483136 w 3279076"/>
                <a:gd name="connsiteY8" fmla="*/ 1576650 h 2142915"/>
                <a:gd name="connsiteX9" fmla="*/ 505201 w 3279076"/>
                <a:gd name="connsiteY9" fmla="*/ 914371 h 2142915"/>
                <a:gd name="connsiteX10" fmla="*/ 0 w 3279076"/>
                <a:gd name="connsiteY10" fmla="*/ 662326 h 2142915"/>
                <a:gd name="connsiteX0" fmla="*/ 0 w 3279076"/>
                <a:gd name="connsiteY0" fmla="*/ 662326 h 2142915"/>
                <a:gd name="connsiteX1" fmla="*/ 1671946 w 3279076"/>
                <a:gd name="connsiteY1" fmla="*/ 164427 h 2142915"/>
                <a:gd name="connsiteX2" fmla="*/ 3279076 w 3279076"/>
                <a:gd name="connsiteY2" fmla="*/ 1648889 h 2142915"/>
                <a:gd name="connsiteX3" fmla="*/ 3279075 w 3279076"/>
                <a:gd name="connsiteY3" fmla="*/ 1648886 h 2142915"/>
                <a:gd name="connsiteX4" fmla="*/ 2848093 w 3279076"/>
                <a:gd name="connsiteY4" fmla="*/ 2142915 h 2142915"/>
                <a:gd name="connsiteX5" fmla="*/ 2227988 w 3279076"/>
                <a:gd name="connsiteY5" fmla="*/ 1648883 h 2142915"/>
                <a:gd name="connsiteX6" fmla="*/ 2227988 w 3279076"/>
                <a:gd name="connsiteY6" fmla="*/ 1648883 h 2142915"/>
                <a:gd name="connsiteX7" fmla="*/ 1375877 w 3279076"/>
                <a:gd name="connsiteY7" fmla="*/ 1122038 h 2142915"/>
                <a:gd name="connsiteX8" fmla="*/ 483136 w 3279076"/>
                <a:gd name="connsiteY8" fmla="*/ 1576650 h 2142915"/>
                <a:gd name="connsiteX9" fmla="*/ 505201 w 3279076"/>
                <a:gd name="connsiteY9" fmla="*/ 914371 h 2142915"/>
                <a:gd name="connsiteX10" fmla="*/ 0 w 3279076"/>
                <a:gd name="connsiteY10" fmla="*/ 662326 h 2142915"/>
                <a:gd name="connsiteX0" fmla="*/ 0 w 3279076"/>
                <a:gd name="connsiteY0" fmla="*/ 623947 h 2104536"/>
                <a:gd name="connsiteX1" fmla="*/ 1671946 w 3279076"/>
                <a:gd name="connsiteY1" fmla="*/ 126048 h 2104536"/>
                <a:gd name="connsiteX2" fmla="*/ 3279076 w 3279076"/>
                <a:gd name="connsiteY2" fmla="*/ 1610510 h 2104536"/>
                <a:gd name="connsiteX3" fmla="*/ 3279075 w 3279076"/>
                <a:gd name="connsiteY3" fmla="*/ 1610507 h 2104536"/>
                <a:gd name="connsiteX4" fmla="*/ 2848093 w 3279076"/>
                <a:gd name="connsiteY4" fmla="*/ 2104536 h 2104536"/>
                <a:gd name="connsiteX5" fmla="*/ 2227988 w 3279076"/>
                <a:gd name="connsiteY5" fmla="*/ 1610504 h 2104536"/>
                <a:gd name="connsiteX6" fmla="*/ 2227988 w 3279076"/>
                <a:gd name="connsiteY6" fmla="*/ 1610504 h 2104536"/>
                <a:gd name="connsiteX7" fmla="*/ 1375877 w 3279076"/>
                <a:gd name="connsiteY7" fmla="*/ 1083659 h 2104536"/>
                <a:gd name="connsiteX8" fmla="*/ 483136 w 3279076"/>
                <a:gd name="connsiteY8" fmla="*/ 1538271 h 2104536"/>
                <a:gd name="connsiteX9" fmla="*/ 505201 w 3279076"/>
                <a:gd name="connsiteY9" fmla="*/ 875992 h 2104536"/>
                <a:gd name="connsiteX10" fmla="*/ 0 w 3279076"/>
                <a:gd name="connsiteY10" fmla="*/ 623947 h 2104536"/>
                <a:gd name="connsiteX0" fmla="*/ 0 w 3279076"/>
                <a:gd name="connsiteY0" fmla="*/ 623947 h 2104536"/>
                <a:gd name="connsiteX1" fmla="*/ 1671946 w 3279076"/>
                <a:gd name="connsiteY1" fmla="*/ 126048 h 2104536"/>
                <a:gd name="connsiteX2" fmla="*/ 3279076 w 3279076"/>
                <a:gd name="connsiteY2" fmla="*/ 1610510 h 2104536"/>
                <a:gd name="connsiteX3" fmla="*/ 3279075 w 3279076"/>
                <a:gd name="connsiteY3" fmla="*/ 1610507 h 2104536"/>
                <a:gd name="connsiteX4" fmla="*/ 2848093 w 3279076"/>
                <a:gd name="connsiteY4" fmla="*/ 2104536 h 2104536"/>
                <a:gd name="connsiteX5" fmla="*/ 2227988 w 3279076"/>
                <a:gd name="connsiteY5" fmla="*/ 1610504 h 2104536"/>
                <a:gd name="connsiteX6" fmla="*/ 2227988 w 3279076"/>
                <a:gd name="connsiteY6" fmla="*/ 1610504 h 2104536"/>
                <a:gd name="connsiteX7" fmla="*/ 1375877 w 3279076"/>
                <a:gd name="connsiteY7" fmla="*/ 1083659 h 2104536"/>
                <a:gd name="connsiteX8" fmla="*/ 483136 w 3279076"/>
                <a:gd name="connsiteY8" fmla="*/ 1538271 h 2104536"/>
                <a:gd name="connsiteX9" fmla="*/ 505201 w 3279076"/>
                <a:gd name="connsiteY9" fmla="*/ 875992 h 2104536"/>
                <a:gd name="connsiteX10" fmla="*/ 0 w 3279076"/>
                <a:gd name="connsiteY10" fmla="*/ 623947 h 2104536"/>
                <a:gd name="connsiteX0" fmla="*/ 0 w 3279076"/>
                <a:gd name="connsiteY0" fmla="*/ 623947 h 2104536"/>
                <a:gd name="connsiteX1" fmla="*/ 1671946 w 3279076"/>
                <a:gd name="connsiteY1" fmla="*/ 126048 h 2104536"/>
                <a:gd name="connsiteX2" fmla="*/ 3279076 w 3279076"/>
                <a:gd name="connsiteY2" fmla="*/ 1610510 h 2104536"/>
                <a:gd name="connsiteX3" fmla="*/ 3279075 w 3279076"/>
                <a:gd name="connsiteY3" fmla="*/ 1610507 h 2104536"/>
                <a:gd name="connsiteX4" fmla="*/ 2848093 w 3279076"/>
                <a:gd name="connsiteY4" fmla="*/ 2104536 h 2104536"/>
                <a:gd name="connsiteX5" fmla="*/ 2227988 w 3279076"/>
                <a:gd name="connsiteY5" fmla="*/ 1610504 h 2104536"/>
                <a:gd name="connsiteX6" fmla="*/ 2227988 w 3279076"/>
                <a:gd name="connsiteY6" fmla="*/ 1610504 h 2104536"/>
                <a:gd name="connsiteX7" fmla="*/ 1375877 w 3279076"/>
                <a:gd name="connsiteY7" fmla="*/ 1083659 h 2104536"/>
                <a:gd name="connsiteX8" fmla="*/ 483136 w 3279076"/>
                <a:gd name="connsiteY8" fmla="*/ 1538271 h 2104536"/>
                <a:gd name="connsiteX9" fmla="*/ 505201 w 3279076"/>
                <a:gd name="connsiteY9" fmla="*/ 875992 h 2104536"/>
                <a:gd name="connsiteX10" fmla="*/ 0 w 3279076"/>
                <a:gd name="connsiteY10" fmla="*/ 623947 h 2104536"/>
                <a:gd name="connsiteX0" fmla="*/ 0 w 3279076"/>
                <a:gd name="connsiteY0" fmla="*/ 623947 h 2104536"/>
                <a:gd name="connsiteX1" fmla="*/ 1671946 w 3279076"/>
                <a:gd name="connsiteY1" fmla="*/ 126048 h 2104536"/>
                <a:gd name="connsiteX2" fmla="*/ 3279076 w 3279076"/>
                <a:gd name="connsiteY2" fmla="*/ 1610510 h 2104536"/>
                <a:gd name="connsiteX3" fmla="*/ 3279075 w 3279076"/>
                <a:gd name="connsiteY3" fmla="*/ 1610507 h 2104536"/>
                <a:gd name="connsiteX4" fmla="*/ 2848093 w 3279076"/>
                <a:gd name="connsiteY4" fmla="*/ 2104536 h 2104536"/>
                <a:gd name="connsiteX5" fmla="*/ 2227988 w 3279076"/>
                <a:gd name="connsiteY5" fmla="*/ 1610504 h 2104536"/>
                <a:gd name="connsiteX6" fmla="*/ 2227988 w 3279076"/>
                <a:gd name="connsiteY6" fmla="*/ 1610504 h 2104536"/>
                <a:gd name="connsiteX7" fmla="*/ 1375877 w 3279076"/>
                <a:gd name="connsiteY7" fmla="*/ 1083659 h 2104536"/>
                <a:gd name="connsiteX8" fmla="*/ 483136 w 3279076"/>
                <a:gd name="connsiteY8" fmla="*/ 1538271 h 2104536"/>
                <a:gd name="connsiteX9" fmla="*/ 505201 w 3279076"/>
                <a:gd name="connsiteY9" fmla="*/ 875992 h 2104536"/>
                <a:gd name="connsiteX10" fmla="*/ 0 w 3279076"/>
                <a:gd name="connsiteY10" fmla="*/ 623947 h 2104536"/>
                <a:gd name="connsiteX0" fmla="*/ 0 w 3279076"/>
                <a:gd name="connsiteY0" fmla="*/ 623947 h 2104536"/>
                <a:gd name="connsiteX1" fmla="*/ 1671946 w 3279076"/>
                <a:gd name="connsiteY1" fmla="*/ 126048 h 2104536"/>
                <a:gd name="connsiteX2" fmla="*/ 3279076 w 3279076"/>
                <a:gd name="connsiteY2" fmla="*/ 1610510 h 2104536"/>
                <a:gd name="connsiteX3" fmla="*/ 3279075 w 3279076"/>
                <a:gd name="connsiteY3" fmla="*/ 1610507 h 2104536"/>
                <a:gd name="connsiteX4" fmla="*/ 2848093 w 3279076"/>
                <a:gd name="connsiteY4" fmla="*/ 2104536 h 2104536"/>
                <a:gd name="connsiteX5" fmla="*/ 2227988 w 3279076"/>
                <a:gd name="connsiteY5" fmla="*/ 1610504 h 2104536"/>
                <a:gd name="connsiteX6" fmla="*/ 2227988 w 3279076"/>
                <a:gd name="connsiteY6" fmla="*/ 1610504 h 2104536"/>
                <a:gd name="connsiteX7" fmla="*/ 1375877 w 3279076"/>
                <a:gd name="connsiteY7" fmla="*/ 1083659 h 2104536"/>
                <a:gd name="connsiteX8" fmla="*/ 483136 w 3279076"/>
                <a:gd name="connsiteY8" fmla="*/ 1538271 h 2104536"/>
                <a:gd name="connsiteX9" fmla="*/ 505201 w 3279076"/>
                <a:gd name="connsiteY9" fmla="*/ 875992 h 2104536"/>
                <a:gd name="connsiteX10" fmla="*/ 0 w 3279076"/>
                <a:gd name="connsiteY10" fmla="*/ 623947 h 2104536"/>
                <a:gd name="connsiteX0" fmla="*/ 0 w 3279076"/>
                <a:gd name="connsiteY0" fmla="*/ 623947 h 2104536"/>
                <a:gd name="connsiteX1" fmla="*/ 1671946 w 3279076"/>
                <a:gd name="connsiteY1" fmla="*/ 126048 h 2104536"/>
                <a:gd name="connsiteX2" fmla="*/ 3279076 w 3279076"/>
                <a:gd name="connsiteY2" fmla="*/ 1610510 h 2104536"/>
                <a:gd name="connsiteX3" fmla="*/ 3279075 w 3279076"/>
                <a:gd name="connsiteY3" fmla="*/ 1610507 h 2104536"/>
                <a:gd name="connsiteX4" fmla="*/ 2848093 w 3279076"/>
                <a:gd name="connsiteY4" fmla="*/ 2104536 h 2104536"/>
                <a:gd name="connsiteX5" fmla="*/ 2227988 w 3279076"/>
                <a:gd name="connsiteY5" fmla="*/ 1610504 h 2104536"/>
                <a:gd name="connsiteX6" fmla="*/ 2227988 w 3279076"/>
                <a:gd name="connsiteY6" fmla="*/ 1610504 h 2104536"/>
                <a:gd name="connsiteX7" fmla="*/ 1375877 w 3279076"/>
                <a:gd name="connsiteY7" fmla="*/ 1083659 h 2104536"/>
                <a:gd name="connsiteX8" fmla="*/ 483136 w 3279076"/>
                <a:gd name="connsiteY8" fmla="*/ 1538271 h 2104536"/>
                <a:gd name="connsiteX9" fmla="*/ 505201 w 3279076"/>
                <a:gd name="connsiteY9" fmla="*/ 875992 h 2104536"/>
                <a:gd name="connsiteX10" fmla="*/ 0 w 3279076"/>
                <a:gd name="connsiteY10" fmla="*/ 623947 h 2104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79076" h="2104536">
                  <a:moveTo>
                    <a:pt x="0" y="623947"/>
                  </a:moveTo>
                  <a:cubicBezTo>
                    <a:pt x="386672" y="216217"/>
                    <a:pt x="1074126" y="0"/>
                    <a:pt x="1671946" y="126048"/>
                  </a:cubicBezTo>
                  <a:cubicBezTo>
                    <a:pt x="2438867" y="280774"/>
                    <a:pt x="3083812" y="841561"/>
                    <a:pt x="3279076" y="1610510"/>
                  </a:cubicBezTo>
                  <a:cubicBezTo>
                    <a:pt x="3279076" y="1610509"/>
                    <a:pt x="3279075" y="1610508"/>
                    <a:pt x="3279075" y="1610507"/>
                  </a:cubicBezTo>
                  <a:lnTo>
                    <a:pt x="2848093" y="2104536"/>
                  </a:lnTo>
                  <a:lnTo>
                    <a:pt x="2227988" y="1610504"/>
                  </a:lnTo>
                  <a:lnTo>
                    <a:pt x="2227988" y="1610504"/>
                  </a:lnTo>
                  <a:cubicBezTo>
                    <a:pt x="2055444" y="1298135"/>
                    <a:pt x="1732428" y="1098420"/>
                    <a:pt x="1375877" y="1083659"/>
                  </a:cubicBezTo>
                  <a:cubicBezTo>
                    <a:pt x="1028023" y="1057676"/>
                    <a:pt x="722335" y="1230632"/>
                    <a:pt x="483136" y="1538271"/>
                  </a:cubicBezTo>
                  <a:lnTo>
                    <a:pt x="505201" y="875992"/>
                  </a:lnTo>
                  <a:lnTo>
                    <a:pt x="0" y="623947"/>
                  </a:lnTo>
                  <a:close/>
                </a:path>
              </a:pathLst>
            </a:custGeom>
            <a:solidFill>
              <a:schemeClr val="tx2"/>
            </a:solidFill>
            <a:ln>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985" tIns="89985" rIns="89985" bIns="89985" numCol="1" spcCol="1270" anchor="ctr" anchorCtr="0">
              <a:noAutofit/>
            </a:bodyPr>
            <a:lstStyle/>
            <a:p>
              <a:pPr algn="ctr" defTabSz="666694">
                <a:lnSpc>
                  <a:spcPct val="90000"/>
                </a:lnSpc>
                <a:spcBef>
                  <a:spcPct val="0"/>
                </a:spcBef>
                <a:spcAft>
                  <a:spcPct val="35000"/>
                </a:spcAft>
              </a:pPr>
              <a:endParaRPr lang="en-US" sz="1500">
                <a:solidFill>
                  <a:schemeClr val="tx1"/>
                </a:solidFill>
                <a:sym typeface="Segoe UI"/>
              </a:endParaRPr>
            </a:p>
          </p:txBody>
        </p:sp>
        <p:sp>
          <p:nvSpPr>
            <p:cNvPr id="38" name="Rectangle 37"/>
            <p:cNvSpPr/>
            <p:nvPr/>
          </p:nvSpPr>
          <p:spPr>
            <a:xfrm rot="2162626">
              <a:off x="7187797" y="2096550"/>
              <a:ext cx="1117854" cy="729812"/>
            </a:xfrm>
            <a:prstGeom prst="rect">
              <a:avLst/>
            </a:prstGeom>
          </p:spPr>
          <p:txBody>
            <a:bodyPr wrap="none">
              <a:prstTxWarp prst="textArchUp">
                <a:avLst/>
              </a:prstTxWarp>
              <a:spAutoFit/>
            </a:bodyPr>
            <a:lstStyle/>
            <a:p>
              <a:pPr algn="ctr" defTabSz="666694">
                <a:lnSpc>
                  <a:spcPct val="90000"/>
                </a:lnSpc>
                <a:spcBef>
                  <a:spcPct val="0"/>
                </a:spcBef>
                <a:spcAft>
                  <a:spcPct val="35000"/>
                </a:spcAft>
              </a:pPr>
              <a:r>
                <a:rPr lang="en-US" dirty="0" smtClean="0">
                  <a:sym typeface="Segoe UI"/>
                </a:rPr>
                <a:t>assess</a:t>
              </a:r>
              <a:endParaRPr lang="en-US" dirty="0">
                <a:sym typeface="Segoe UI"/>
              </a:endParaRPr>
            </a:p>
          </p:txBody>
        </p:sp>
        <p:sp>
          <p:nvSpPr>
            <p:cNvPr id="39" name="Rectangle 38"/>
            <p:cNvSpPr/>
            <p:nvPr/>
          </p:nvSpPr>
          <p:spPr>
            <a:xfrm rot="9194893">
              <a:off x="7094349" y="2947799"/>
              <a:ext cx="1117854" cy="729812"/>
            </a:xfrm>
            <a:prstGeom prst="rect">
              <a:avLst/>
            </a:prstGeom>
          </p:spPr>
          <p:txBody>
            <a:bodyPr wrap="none">
              <a:prstTxWarp prst="textArchUp">
                <a:avLst/>
              </a:prstTxWarp>
              <a:spAutoFit/>
            </a:bodyPr>
            <a:lstStyle/>
            <a:p>
              <a:pPr algn="ctr" defTabSz="666694">
                <a:lnSpc>
                  <a:spcPct val="90000"/>
                </a:lnSpc>
                <a:spcBef>
                  <a:spcPct val="0"/>
                </a:spcBef>
                <a:spcAft>
                  <a:spcPct val="35000"/>
                </a:spcAft>
              </a:pPr>
              <a:r>
                <a:rPr lang="en-US" dirty="0" smtClean="0">
                  <a:sym typeface="Segoe UI"/>
                </a:rPr>
                <a:t>plan</a:t>
              </a:r>
              <a:endParaRPr lang="en-US" dirty="0">
                <a:sym typeface="Segoe UI"/>
              </a:endParaRPr>
            </a:p>
          </p:txBody>
        </p:sp>
        <p:sp>
          <p:nvSpPr>
            <p:cNvPr id="40" name="Rectangle 39"/>
            <p:cNvSpPr/>
            <p:nvPr/>
          </p:nvSpPr>
          <p:spPr>
            <a:xfrm rot="5809634">
              <a:off x="6080312" y="2245638"/>
              <a:ext cx="1790699" cy="1171577"/>
            </a:xfrm>
            <a:prstGeom prst="rect">
              <a:avLst/>
            </a:prstGeom>
          </p:spPr>
          <p:txBody>
            <a:bodyPr wrap="none">
              <a:prstTxWarp prst="textArchDown">
                <a:avLst/>
              </a:prstTxWarp>
              <a:spAutoFit/>
            </a:bodyPr>
            <a:lstStyle/>
            <a:p>
              <a:pPr algn="ctr" defTabSz="666694">
                <a:lnSpc>
                  <a:spcPct val="90000"/>
                </a:lnSpc>
                <a:spcBef>
                  <a:spcPct val="0"/>
                </a:spcBef>
                <a:spcAft>
                  <a:spcPct val="35000"/>
                </a:spcAft>
              </a:pPr>
              <a:r>
                <a:rPr lang="en-US" dirty="0" smtClean="0">
                  <a:sym typeface="Segoe UI"/>
                </a:rPr>
                <a:t>realize value</a:t>
              </a:r>
              <a:endParaRPr lang="en-US" dirty="0">
                <a:sym typeface="Segoe UI"/>
              </a:endParaRPr>
            </a:p>
          </p:txBody>
        </p:sp>
      </p:grpSp>
      <p:sp>
        <p:nvSpPr>
          <p:cNvPr id="26" name="Rectangle 25"/>
          <p:cNvSpPr/>
          <p:nvPr>
            <p:custDataLst>
              <p:tags r:id="rId8"/>
            </p:custDataLst>
          </p:nvPr>
        </p:nvSpPr>
        <p:spPr bwMode="auto">
          <a:xfrm>
            <a:off x="3853182" y="2881122"/>
            <a:ext cx="1737360" cy="1709928"/>
          </a:xfrm>
          <a:prstGeom prst="rect">
            <a:avLst/>
          </a:prstGeom>
          <a:solidFill>
            <a:schemeClr val="tx2"/>
          </a:solidFill>
          <a:ln w="9525" cap="flat" cmpd="sng" algn="ctr">
            <a:noFill/>
            <a:prstDash val="solid"/>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34294" tIns="34294" rIns="34294" bIns="34294" numCol="1" rtlCol="0" anchor="b" anchorCtr="0" compatLnSpc="1">
            <a:prstTxWarp prst="textNoShape">
              <a:avLst/>
            </a:prstTxWarp>
          </a:bodyPr>
          <a:lstStyle/>
          <a:p>
            <a:pPr algn="ctr" defTabSz="914023" fontAlgn="base">
              <a:spcBef>
                <a:spcPct val="0"/>
              </a:spcBef>
              <a:spcAft>
                <a:spcPct val="0"/>
              </a:spcAft>
            </a:pPr>
            <a:r>
              <a:rPr lang="en-US" dirty="0" smtClean="0">
                <a:solidFill>
                  <a:schemeClr val="tx1"/>
                </a:solidFill>
                <a:sym typeface="Segoe UI"/>
              </a:rPr>
              <a:t>increase value</a:t>
            </a:r>
            <a:endParaRPr lang="en-US" dirty="0">
              <a:solidFill>
                <a:schemeClr val="tx1"/>
              </a:solidFill>
              <a:sym typeface="Segoe UI"/>
            </a:endParaRPr>
          </a:p>
        </p:txBody>
      </p:sp>
      <p:pic>
        <p:nvPicPr>
          <p:cNvPr id="41" name="Picture 3" descr="\\MAGNUM\Projects\Microsoft\Cloud Power FY12\Design\Icons\PNGs\Scalable_Elastic_4.png"/>
          <p:cNvPicPr>
            <a:picLocks noChangeAspect="1" noChangeArrowheads="1"/>
          </p:cNvPicPr>
          <p:nvPr>
            <p:custDataLst>
              <p:tags r:id="rId9"/>
            </p:custDataLst>
          </p:nvPr>
        </p:nvPicPr>
        <p:blipFill rotWithShape="1">
          <a:blip r:embed="rId17" cstate="print">
            <a:extLst>
              <a:ext uri="{BEBA8EAE-BF5A-486C-A8C5-ECC9F3942E4B}">
                <a14:imgProps xmlns:a14="http://schemas.microsoft.com/office/drawing/2010/main">
                  <a14:imgLayer r:embed="rId18">
                    <a14:imgEffect>
                      <a14:brightnessContrast bright="100000" contrast="100000"/>
                    </a14:imgEffect>
                  </a14:imgLayer>
                </a14:imgProps>
              </a:ext>
            </a:extLst>
          </a:blip>
          <a:srcRect l="11945" t="14213" r="14645" b="17001"/>
          <a:stretch/>
        </p:blipFill>
        <p:spPr bwMode="auto">
          <a:xfrm>
            <a:off x="4141536" y="3024795"/>
            <a:ext cx="1160652" cy="1087540"/>
          </a:xfrm>
          <a:prstGeom prst="rect">
            <a:avLst/>
          </a:prstGeom>
          <a:noFill/>
          <a:ln>
            <a:noFill/>
          </a:ln>
        </p:spPr>
      </p:pic>
      <p:sp>
        <p:nvSpPr>
          <p:cNvPr id="20" name="Rectangle 19"/>
          <p:cNvSpPr/>
          <p:nvPr>
            <p:custDataLst>
              <p:tags r:id="rId10"/>
            </p:custDataLst>
          </p:nvPr>
        </p:nvSpPr>
        <p:spPr bwMode="auto">
          <a:xfrm>
            <a:off x="2030449" y="1085850"/>
            <a:ext cx="1737360" cy="1709928"/>
          </a:xfrm>
          <a:prstGeom prst="rect">
            <a:avLst/>
          </a:prstGeom>
          <a:solidFill>
            <a:schemeClr val="tx2"/>
          </a:solidFill>
          <a:ln w="9525" cap="flat" cmpd="sng" algn="ctr">
            <a:noFill/>
            <a:prstDash val="solid"/>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34294" tIns="34294" rIns="34294" bIns="34294" numCol="1" rtlCol="0" anchor="b" anchorCtr="0" compatLnSpc="1">
            <a:prstTxWarp prst="textNoShape">
              <a:avLst/>
            </a:prstTxWarp>
          </a:bodyPr>
          <a:lstStyle/>
          <a:p>
            <a:pPr algn="ctr" defTabSz="914023" fontAlgn="base">
              <a:spcBef>
                <a:spcPct val="0"/>
              </a:spcBef>
              <a:spcAft>
                <a:spcPct val="0"/>
              </a:spcAft>
            </a:pPr>
            <a:r>
              <a:rPr lang="en-US" dirty="0" smtClean="0">
                <a:solidFill>
                  <a:schemeClr val="tx1"/>
                </a:solidFill>
                <a:sym typeface="Segoe UI"/>
              </a:rPr>
              <a:t>assess quickly</a:t>
            </a:r>
          </a:p>
        </p:txBody>
      </p:sp>
      <p:pic>
        <p:nvPicPr>
          <p:cNvPr id="21" name="Picture 8" descr="\\MAGNUM\Projects\Microsoft\Cloud Power FY12\Design\Icons\PNGs\Cross Platform.png"/>
          <p:cNvPicPr>
            <a:picLocks noChangeAspect="1" noChangeArrowheads="1"/>
          </p:cNvPicPr>
          <p:nvPr>
            <p:custDataLst>
              <p:tags r:id="rId11"/>
            </p:custDataLst>
          </p:nvPr>
        </p:nvPicPr>
        <p:blipFill rotWithShape="1">
          <a:blip r:embed="rId19" cstate="print">
            <a:extLst>
              <a:ext uri="{BEBA8EAE-BF5A-486C-A8C5-ECC9F3942E4B}">
                <a14:imgProps xmlns:a14="http://schemas.microsoft.com/office/drawing/2010/main">
                  <a14:imgLayer r:embed="rId20">
                    <a14:imgEffect>
                      <a14:brightnessContrast bright="100000" contrast="100000"/>
                    </a14:imgEffect>
                  </a14:imgLayer>
                </a14:imgProps>
              </a:ext>
            </a:extLst>
          </a:blip>
          <a:srcRect l="9857" t="11029" r="9855" b="11640"/>
          <a:stretch/>
        </p:blipFill>
        <p:spPr bwMode="auto">
          <a:xfrm>
            <a:off x="2342690" y="1319845"/>
            <a:ext cx="1112876" cy="1071872"/>
          </a:xfrm>
          <a:prstGeom prst="rect">
            <a:avLst/>
          </a:prstGeom>
          <a:solidFill>
            <a:schemeClr val="tx2"/>
          </a:solidFill>
          <a:ln>
            <a:noFill/>
          </a:ln>
        </p:spPr>
      </p:pic>
      <p:sp>
        <p:nvSpPr>
          <p:cNvPr id="19"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2"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1"/>
              </a:rPr>
              <a:t>www.rapidbbs.cn</a:t>
            </a:r>
            <a:endParaRPr lang="zh-CN" altLang="en-US" sz="1200" b="0">
              <a:latin typeface="Arial" charset="0"/>
              <a:ea typeface="ＭＳ Ｐゴシック" pitchFamily="34" charset="-128"/>
            </a:endParaRPr>
          </a:p>
        </p:txBody>
      </p:sp>
      <p:pic>
        <p:nvPicPr>
          <p:cNvPr id="25" name="Picture 2">
            <a:hlinkClick r:id="rId21"/>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20152681"/>
      </p:ext>
    </p:extLst>
  </p:cSld>
  <p:clrMapOvr>
    <a:masterClrMapping/>
  </p:clrMapOvr>
  <p:transition>
    <p:fade/>
  </p:transition>
  <p:timing>
    <p:tnLst>
      <p:par>
        <p:cTn id="1" dur="indefinite" restart="never" nodeType="tmRoot"/>
      </p:par>
    </p:tnLst>
  </p:timing>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1" name="Object 210" hidden="1"/>
          <p:cNvGraphicFramePr>
            <a:graphicFrameLocks noChangeAspect="1"/>
          </p:cNvGraphicFramePr>
          <p:nvPr>
            <p:custDataLst>
              <p:tags r:id="rId2"/>
            </p:custDataLst>
            <p:extLst>
              <p:ext uri="{D42A27DB-BD31-4B8C-83A1-F6EECF244321}">
                <p14:modId xmlns:p14="http://schemas.microsoft.com/office/powerpoint/2010/main" val="30890682"/>
              </p:ext>
            </p:extLst>
          </p:nvPr>
        </p:nvGraphicFramePr>
        <p:xfrm>
          <a:off x="0" y="1"/>
          <a:ext cx="158750" cy="158750"/>
        </p:xfrm>
        <a:graphic>
          <a:graphicData uri="http://schemas.openxmlformats.org/presentationml/2006/ole">
            <mc:AlternateContent xmlns:mc="http://schemas.openxmlformats.org/markup-compatibility/2006">
              <mc:Choice xmlns:v="urn:schemas-microsoft-com:vml" Requires="v">
                <p:oleObj spid="_x0000_s11272"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0" y="1"/>
                        <a:ext cx="158750" cy="158750"/>
                      </a:xfrm>
                      <a:prstGeom prst="rect">
                        <a:avLst/>
                      </a:prstGeom>
                    </p:spPr>
                  </p:pic>
                </p:oleObj>
              </mc:Fallback>
            </mc:AlternateContent>
          </a:graphicData>
        </a:graphic>
      </p:graphicFrame>
      <p:grpSp>
        <p:nvGrpSpPr>
          <p:cNvPr id="13" name="Group 12"/>
          <p:cNvGrpSpPr/>
          <p:nvPr>
            <p:custDataLst>
              <p:tags r:id="rId3"/>
            </p:custDataLst>
          </p:nvPr>
        </p:nvGrpSpPr>
        <p:grpSpPr>
          <a:xfrm>
            <a:off x="4664531" y="1078824"/>
            <a:ext cx="1426464" cy="3505200"/>
            <a:chOff x="4664531" y="1078824"/>
            <a:chExt cx="1426464" cy="3505200"/>
          </a:xfrm>
          <a:solidFill>
            <a:schemeClr val="tx2"/>
          </a:solidFill>
        </p:grpSpPr>
        <p:sp>
          <p:nvSpPr>
            <p:cNvPr id="29" name="Rectangle 28"/>
            <p:cNvSpPr/>
            <p:nvPr>
              <p:custDataLst>
                <p:tags r:id="rId16"/>
              </p:custDataLst>
            </p:nvPr>
          </p:nvSpPr>
          <p:spPr bwMode="auto">
            <a:xfrm>
              <a:off x="4664531" y="1078824"/>
              <a:ext cx="1426464" cy="3505200"/>
            </a:xfrm>
            <a:prstGeom prst="rect">
              <a:avLst/>
            </a:prstGeom>
            <a:grpFill/>
            <a:ln w="9525" cap="flat" cmpd="sng" algn="ctr">
              <a:noFill/>
              <a:prstDash val="solid"/>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45720" tIns="45720" rIns="45720" bIns="45720" numCol="1" rtlCol="0" anchor="b" anchorCtr="0" compatLnSpc="1">
              <a:prstTxWarp prst="textNoShape">
                <a:avLst/>
              </a:prstTxWarp>
            </a:bodyPr>
            <a:lstStyle/>
            <a:p>
              <a:pPr algn="ctr" defTabSz="914023" fontAlgn="base">
                <a:spcBef>
                  <a:spcPct val="0"/>
                </a:spcBef>
                <a:spcAft>
                  <a:spcPct val="0"/>
                </a:spcAft>
              </a:pPr>
              <a:r>
                <a:rPr lang="en-US" dirty="0" smtClean="0">
                  <a:solidFill>
                    <a:schemeClr val="tx1"/>
                  </a:solidFill>
                  <a:sym typeface="Segoe UI"/>
                </a:rPr>
                <a:t>business goals</a:t>
              </a:r>
              <a:endParaRPr lang="en-US" dirty="0">
                <a:solidFill>
                  <a:schemeClr val="tx1"/>
                </a:solidFill>
                <a:sym typeface="Segoe UI"/>
              </a:endParaRPr>
            </a:p>
          </p:txBody>
        </p:sp>
        <p:sp>
          <p:nvSpPr>
            <p:cNvPr id="27" name="Freeform 22"/>
            <p:cNvSpPr>
              <a:spLocks noEditPoints="1"/>
            </p:cNvSpPr>
            <p:nvPr/>
          </p:nvSpPr>
          <p:spPr bwMode="auto">
            <a:xfrm>
              <a:off x="4874322" y="2350239"/>
              <a:ext cx="997738" cy="962370"/>
            </a:xfrm>
            <a:custGeom>
              <a:avLst/>
              <a:gdLst>
                <a:gd name="T0" fmla="*/ 300 w 300"/>
                <a:gd name="T1" fmla="*/ 141 h 300"/>
                <a:gd name="T2" fmla="*/ 285 w 300"/>
                <a:gd name="T3" fmla="*/ 141 h 300"/>
                <a:gd name="T4" fmla="*/ 159 w 300"/>
                <a:gd name="T5" fmla="*/ 15 h 300"/>
                <a:gd name="T6" fmla="*/ 159 w 300"/>
                <a:gd name="T7" fmla="*/ 0 h 300"/>
                <a:gd name="T8" fmla="*/ 141 w 300"/>
                <a:gd name="T9" fmla="*/ 0 h 300"/>
                <a:gd name="T10" fmla="*/ 141 w 300"/>
                <a:gd name="T11" fmla="*/ 15 h 300"/>
                <a:gd name="T12" fmla="*/ 15 w 300"/>
                <a:gd name="T13" fmla="*/ 141 h 300"/>
                <a:gd name="T14" fmla="*/ 0 w 300"/>
                <a:gd name="T15" fmla="*/ 141 h 300"/>
                <a:gd name="T16" fmla="*/ 0 w 300"/>
                <a:gd name="T17" fmla="*/ 159 h 300"/>
                <a:gd name="T18" fmla="*/ 15 w 300"/>
                <a:gd name="T19" fmla="*/ 159 h 300"/>
                <a:gd name="T20" fmla="*/ 141 w 300"/>
                <a:gd name="T21" fmla="*/ 285 h 300"/>
                <a:gd name="T22" fmla="*/ 141 w 300"/>
                <a:gd name="T23" fmla="*/ 300 h 300"/>
                <a:gd name="T24" fmla="*/ 159 w 300"/>
                <a:gd name="T25" fmla="*/ 300 h 300"/>
                <a:gd name="T26" fmla="*/ 159 w 300"/>
                <a:gd name="T27" fmla="*/ 285 h 300"/>
                <a:gd name="T28" fmla="*/ 285 w 300"/>
                <a:gd name="T29" fmla="*/ 159 h 300"/>
                <a:gd name="T30" fmla="*/ 300 w 300"/>
                <a:gd name="T31" fmla="*/ 159 h 300"/>
                <a:gd name="T32" fmla="*/ 300 w 300"/>
                <a:gd name="T33" fmla="*/ 141 h 300"/>
                <a:gd name="T34" fmla="*/ 258 w 300"/>
                <a:gd name="T35" fmla="*/ 141 h 300"/>
                <a:gd name="T36" fmla="*/ 230 w 300"/>
                <a:gd name="T37" fmla="*/ 141 h 300"/>
                <a:gd name="T38" fmla="*/ 159 w 300"/>
                <a:gd name="T39" fmla="*/ 70 h 300"/>
                <a:gd name="T40" fmla="*/ 159 w 300"/>
                <a:gd name="T41" fmla="*/ 42 h 300"/>
                <a:gd name="T42" fmla="*/ 258 w 300"/>
                <a:gd name="T43" fmla="*/ 141 h 300"/>
                <a:gd name="T44" fmla="*/ 141 w 300"/>
                <a:gd name="T45" fmla="*/ 125 h 300"/>
                <a:gd name="T46" fmla="*/ 125 w 300"/>
                <a:gd name="T47" fmla="*/ 141 h 300"/>
                <a:gd name="T48" fmla="*/ 97 w 300"/>
                <a:gd name="T49" fmla="*/ 141 h 300"/>
                <a:gd name="T50" fmla="*/ 141 w 300"/>
                <a:gd name="T51" fmla="*/ 97 h 300"/>
                <a:gd name="T52" fmla="*/ 141 w 300"/>
                <a:gd name="T53" fmla="*/ 125 h 300"/>
                <a:gd name="T54" fmla="*/ 125 w 300"/>
                <a:gd name="T55" fmla="*/ 159 h 300"/>
                <a:gd name="T56" fmla="*/ 141 w 300"/>
                <a:gd name="T57" fmla="*/ 175 h 300"/>
                <a:gd name="T58" fmla="*/ 141 w 300"/>
                <a:gd name="T59" fmla="*/ 203 h 300"/>
                <a:gd name="T60" fmla="*/ 97 w 300"/>
                <a:gd name="T61" fmla="*/ 159 h 300"/>
                <a:gd name="T62" fmla="*/ 125 w 300"/>
                <a:gd name="T63" fmla="*/ 159 h 300"/>
                <a:gd name="T64" fmla="*/ 159 w 300"/>
                <a:gd name="T65" fmla="*/ 175 h 300"/>
                <a:gd name="T66" fmla="*/ 175 w 300"/>
                <a:gd name="T67" fmla="*/ 159 h 300"/>
                <a:gd name="T68" fmla="*/ 203 w 300"/>
                <a:gd name="T69" fmla="*/ 159 h 300"/>
                <a:gd name="T70" fmla="*/ 159 w 300"/>
                <a:gd name="T71" fmla="*/ 203 h 300"/>
                <a:gd name="T72" fmla="*/ 159 w 300"/>
                <a:gd name="T73" fmla="*/ 175 h 300"/>
                <a:gd name="T74" fmla="*/ 175 w 300"/>
                <a:gd name="T75" fmla="*/ 141 h 300"/>
                <a:gd name="T76" fmla="*/ 159 w 300"/>
                <a:gd name="T77" fmla="*/ 125 h 300"/>
                <a:gd name="T78" fmla="*/ 159 w 300"/>
                <a:gd name="T79" fmla="*/ 97 h 300"/>
                <a:gd name="T80" fmla="*/ 203 w 300"/>
                <a:gd name="T81" fmla="*/ 141 h 300"/>
                <a:gd name="T82" fmla="*/ 175 w 300"/>
                <a:gd name="T83" fmla="*/ 141 h 300"/>
                <a:gd name="T84" fmla="*/ 141 w 300"/>
                <a:gd name="T85" fmla="*/ 42 h 300"/>
                <a:gd name="T86" fmla="*/ 141 w 300"/>
                <a:gd name="T87" fmla="*/ 70 h 300"/>
                <a:gd name="T88" fmla="*/ 70 w 300"/>
                <a:gd name="T89" fmla="*/ 141 h 300"/>
                <a:gd name="T90" fmla="*/ 42 w 300"/>
                <a:gd name="T91" fmla="*/ 141 h 300"/>
                <a:gd name="T92" fmla="*/ 141 w 300"/>
                <a:gd name="T93" fmla="*/ 42 h 300"/>
                <a:gd name="T94" fmla="*/ 42 w 300"/>
                <a:gd name="T95" fmla="*/ 159 h 300"/>
                <a:gd name="T96" fmla="*/ 70 w 300"/>
                <a:gd name="T97" fmla="*/ 159 h 300"/>
                <a:gd name="T98" fmla="*/ 141 w 300"/>
                <a:gd name="T99" fmla="*/ 230 h 300"/>
                <a:gd name="T100" fmla="*/ 141 w 300"/>
                <a:gd name="T101" fmla="*/ 258 h 300"/>
                <a:gd name="T102" fmla="*/ 42 w 300"/>
                <a:gd name="T103" fmla="*/ 159 h 300"/>
                <a:gd name="T104" fmla="*/ 159 w 300"/>
                <a:gd name="T105" fmla="*/ 258 h 300"/>
                <a:gd name="T106" fmla="*/ 159 w 300"/>
                <a:gd name="T107" fmla="*/ 230 h 300"/>
                <a:gd name="T108" fmla="*/ 230 w 300"/>
                <a:gd name="T109" fmla="*/ 159 h 300"/>
                <a:gd name="T110" fmla="*/ 258 w 300"/>
                <a:gd name="T111" fmla="*/ 159 h 300"/>
                <a:gd name="T112" fmla="*/ 159 w 300"/>
                <a:gd name="T113" fmla="*/ 25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0" h="300">
                  <a:moveTo>
                    <a:pt x="300" y="141"/>
                  </a:moveTo>
                  <a:cubicBezTo>
                    <a:pt x="285" y="141"/>
                    <a:pt x="285" y="141"/>
                    <a:pt x="285" y="141"/>
                  </a:cubicBezTo>
                  <a:cubicBezTo>
                    <a:pt x="280" y="74"/>
                    <a:pt x="226" y="20"/>
                    <a:pt x="159" y="15"/>
                  </a:cubicBezTo>
                  <a:cubicBezTo>
                    <a:pt x="159" y="0"/>
                    <a:pt x="159" y="0"/>
                    <a:pt x="159" y="0"/>
                  </a:cubicBezTo>
                  <a:cubicBezTo>
                    <a:pt x="141" y="0"/>
                    <a:pt x="141" y="0"/>
                    <a:pt x="141" y="0"/>
                  </a:cubicBezTo>
                  <a:cubicBezTo>
                    <a:pt x="141" y="15"/>
                    <a:pt x="141" y="15"/>
                    <a:pt x="141" y="15"/>
                  </a:cubicBezTo>
                  <a:cubicBezTo>
                    <a:pt x="74" y="20"/>
                    <a:pt x="20" y="74"/>
                    <a:pt x="15" y="141"/>
                  </a:cubicBezTo>
                  <a:cubicBezTo>
                    <a:pt x="0" y="141"/>
                    <a:pt x="0" y="141"/>
                    <a:pt x="0" y="141"/>
                  </a:cubicBezTo>
                  <a:cubicBezTo>
                    <a:pt x="0" y="159"/>
                    <a:pt x="0" y="159"/>
                    <a:pt x="0" y="159"/>
                  </a:cubicBezTo>
                  <a:cubicBezTo>
                    <a:pt x="15" y="159"/>
                    <a:pt x="15" y="159"/>
                    <a:pt x="15" y="159"/>
                  </a:cubicBezTo>
                  <a:cubicBezTo>
                    <a:pt x="20" y="226"/>
                    <a:pt x="74" y="280"/>
                    <a:pt x="141" y="285"/>
                  </a:cubicBezTo>
                  <a:cubicBezTo>
                    <a:pt x="141" y="300"/>
                    <a:pt x="141" y="300"/>
                    <a:pt x="141" y="300"/>
                  </a:cubicBezTo>
                  <a:cubicBezTo>
                    <a:pt x="159" y="300"/>
                    <a:pt x="159" y="300"/>
                    <a:pt x="159" y="300"/>
                  </a:cubicBezTo>
                  <a:cubicBezTo>
                    <a:pt x="159" y="285"/>
                    <a:pt x="159" y="285"/>
                    <a:pt x="159" y="285"/>
                  </a:cubicBezTo>
                  <a:cubicBezTo>
                    <a:pt x="226" y="280"/>
                    <a:pt x="280" y="226"/>
                    <a:pt x="285" y="159"/>
                  </a:cubicBezTo>
                  <a:cubicBezTo>
                    <a:pt x="300" y="159"/>
                    <a:pt x="300" y="159"/>
                    <a:pt x="300" y="159"/>
                  </a:cubicBezTo>
                  <a:lnTo>
                    <a:pt x="300" y="141"/>
                  </a:lnTo>
                  <a:close/>
                  <a:moveTo>
                    <a:pt x="258" y="141"/>
                  </a:moveTo>
                  <a:cubicBezTo>
                    <a:pt x="230" y="141"/>
                    <a:pt x="230" y="141"/>
                    <a:pt x="230" y="141"/>
                  </a:cubicBezTo>
                  <a:cubicBezTo>
                    <a:pt x="226" y="103"/>
                    <a:pt x="197" y="74"/>
                    <a:pt x="159" y="70"/>
                  </a:cubicBezTo>
                  <a:cubicBezTo>
                    <a:pt x="159" y="42"/>
                    <a:pt x="159" y="42"/>
                    <a:pt x="159" y="42"/>
                  </a:cubicBezTo>
                  <a:cubicBezTo>
                    <a:pt x="211" y="47"/>
                    <a:pt x="253" y="89"/>
                    <a:pt x="258" y="141"/>
                  </a:cubicBezTo>
                  <a:close/>
                  <a:moveTo>
                    <a:pt x="141" y="125"/>
                  </a:moveTo>
                  <a:cubicBezTo>
                    <a:pt x="133" y="127"/>
                    <a:pt x="127" y="133"/>
                    <a:pt x="125" y="141"/>
                  </a:cubicBezTo>
                  <a:cubicBezTo>
                    <a:pt x="97" y="141"/>
                    <a:pt x="97" y="141"/>
                    <a:pt x="97" y="141"/>
                  </a:cubicBezTo>
                  <a:cubicBezTo>
                    <a:pt x="101" y="118"/>
                    <a:pt x="118" y="101"/>
                    <a:pt x="141" y="97"/>
                  </a:cubicBezTo>
                  <a:lnTo>
                    <a:pt x="141" y="125"/>
                  </a:lnTo>
                  <a:close/>
                  <a:moveTo>
                    <a:pt x="125" y="159"/>
                  </a:moveTo>
                  <a:cubicBezTo>
                    <a:pt x="127" y="167"/>
                    <a:pt x="133" y="173"/>
                    <a:pt x="141" y="175"/>
                  </a:cubicBezTo>
                  <a:cubicBezTo>
                    <a:pt x="141" y="203"/>
                    <a:pt x="141" y="203"/>
                    <a:pt x="141" y="203"/>
                  </a:cubicBezTo>
                  <a:cubicBezTo>
                    <a:pt x="118" y="199"/>
                    <a:pt x="101" y="182"/>
                    <a:pt x="97" y="159"/>
                  </a:cubicBezTo>
                  <a:lnTo>
                    <a:pt x="125" y="159"/>
                  </a:lnTo>
                  <a:close/>
                  <a:moveTo>
                    <a:pt x="159" y="175"/>
                  </a:moveTo>
                  <a:cubicBezTo>
                    <a:pt x="167" y="173"/>
                    <a:pt x="173" y="167"/>
                    <a:pt x="175" y="159"/>
                  </a:cubicBezTo>
                  <a:cubicBezTo>
                    <a:pt x="203" y="159"/>
                    <a:pt x="203" y="159"/>
                    <a:pt x="203" y="159"/>
                  </a:cubicBezTo>
                  <a:cubicBezTo>
                    <a:pt x="199" y="182"/>
                    <a:pt x="182" y="199"/>
                    <a:pt x="159" y="203"/>
                  </a:cubicBezTo>
                  <a:lnTo>
                    <a:pt x="159" y="175"/>
                  </a:lnTo>
                  <a:close/>
                  <a:moveTo>
                    <a:pt x="175" y="141"/>
                  </a:moveTo>
                  <a:cubicBezTo>
                    <a:pt x="173" y="133"/>
                    <a:pt x="167" y="127"/>
                    <a:pt x="159" y="125"/>
                  </a:cubicBezTo>
                  <a:cubicBezTo>
                    <a:pt x="159" y="97"/>
                    <a:pt x="159" y="97"/>
                    <a:pt x="159" y="97"/>
                  </a:cubicBezTo>
                  <a:cubicBezTo>
                    <a:pt x="182" y="101"/>
                    <a:pt x="199" y="118"/>
                    <a:pt x="203" y="141"/>
                  </a:cubicBezTo>
                  <a:lnTo>
                    <a:pt x="175" y="141"/>
                  </a:lnTo>
                  <a:close/>
                  <a:moveTo>
                    <a:pt x="141" y="42"/>
                  </a:moveTo>
                  <a:cubicBezTo>
                    <a:pt x="141" y="70"/>
                    <a:pt x="141" y="70"/>
                    <a:pt x="141" y="70"/>
                  </a:cubicBezTo>
                  <a:cubicBezTo>
                    <a:pt x="103" y="74"/>
                    <a:pt x="74" y="103"/>
                    <a:pt x="70" y="141"/>
                  </a:cubicBezTo>
                  <a:cubicBezTo>
                    <a:pt x="42" y="141"/>
                    <a:pt x="42" y="141"/>
                    <a:pt x="42" y="141"/>
                  </a:cubicBezTo>
                  <a:cubicBezTo>
                    <a:pt x="47" y="89"/>
                    <a:pt x="89" y="47"/>
                    <a:pt x="141" y="42"/>
                  </a:cubicBezTo>
                  <a:close/>
                  <a:moveTo>
                    <a:pt x="42" y="159"/>
                  </a:moveTo>
                  <a:cubicBezTo>
                    <a:pt x="70" y="159"/>
                    <a:pt x="70" y="159"/>
                    <a:pt x="70" y="159"/>
                  </a:cubicBezTo>
                  <a:cubicBezTo>
                    <a:pt x="74" y="197"/>
                    <a:pt x="103" y="226"/>
                    <a:pt x="141" y="230"/>
                  </a:cubicBezTo>
                  <a:cubicBezTo>
                    <a:pt x="141" y="258"/>
                    <a:pt x="141" y="258"/>
                    <a:pt x="141" y="258"/>
                  </a:cubicBezTo>
                  <a:cubicBezTo>
                    <a:pt x="89" y="253"/>
                    <a:pt x="47" y="211"/>
                    <a:pt x="42" y="159"/>
                  </a:cubicBezTo>
                  <a:close/>
                  <a:moveTo>
                    <a:pt x="159" y="258"/>
                  </a:moveTo>
                  <a:cubicBezTo>
                    <a:pt x="159" y="230"/>
                    <a:pt x="159" y="230"/>
                    <a:pt x="159" y="230"/>
                  </a:cubicBezTo>
                  <a:cubicBezTo>
                    <a:pt x="197" y="226"/>
                    <a:pt x="226" y="197"/>
                    <a:pt x="230" y="159"/>
                  </a:cubicBezTo>
                  <a:cubicBezTo>
                    <a:pt x="258" y="159"/>
                    <a:pt x="258" y="159"/>
                    <a:pt x="258" y="159"/>
                  </a:cubicBezTo>
                  <a:cubicBezTo>
                    <a:pt x="253" y="211"/>
                    <a:pt x="211" y="253"/>
                    <a:pt x="159" y="2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ym typeface="Segoe UI"/>
              </a:endParaRPr>
            </a:p>
          </p:txBody>
        </p:sp>
      </p:grpSp>
      <p:grpSp>
        <p:nvGrpSpPr>
          <p:cNvPr id="2" name="Group 1"/>
          <p:cNvGrpSpPr/>
          <p:nvPr>
            <p:custDataLst>
              <p:tags r:id="rId4"/>
            </p:custDataLst>
          </p:nvPr>
        </p:nvGrpSpPr>
        <p:grpSpPr>
          <a:xfrm>
            <a:off x="6053414" y="1558951"/>
            <a:ext cx="2794839" cy="2644345"/>
            <a:chOff x="6053413" y="1558949"/>
            <a:chExt cx="2794839" cy="2644345"/>
          </a:xfrm>
        </p:grpSpPr>
        <p:sp>
          <p:nvSpPr>
            <p:cNvPr id="35" name="Circular Arrow 34"/>
            <p:cNvSpPr/>
            <p:nvPr>
              <p:custDataLst>
                <p:tags r:id="rId10"/>
              </p:custDataLst>
            </p:nvPr>
          </p:nvSpPr>
          <p:spPr>
            <a:xfrm rot="8459188">
              <a:off x="6134637" y="1571482"/>
              <a:ext cx="2631811" cy="2631812"/>
            </a:xfrm>
            <a:prstGeom prst="circularArrow">
              <a:avLst>
                <a:gd name="adj1" fmla="val 24401"/>
                <a:gd name="adj2" fmla="val 1142319"/>
                <a:gd name="adj3" fmla="val 20457687"/>
                <a:gd name="adj4" fmla="val 12180209"/>
                <a:gd name="adj5" fmla="val 12500"/>
              </a:avLst>
            </a:prstGeom>
            <a:solidFill>
              <a:schemeClr val="bg2"/>
            </a:solidFill>
            <a:ln>
              <a:solidFill>
                <a:schemeClr val="tx2"/>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985" tIns="89985" rIns="89985" bIns="89985" numCol="1" spcCol="1270" anchor="ctr" anchorCtr="0">
              <a:noAutofit/>
            </a:bodyPr>
            <a:lstStyle/>
            <a:p>
              <a:pPr algn="ctr" defTabSz="666694">
                <a:lnSpc>
                  <a:spcPct val="90000"/>
                </a:lnSpc>
                <a:spcBef>
                  <a:spcPct val="0"/>
                </a:spcBef>
                <a:spcAft>
                  <a:spcPct val="35000"/>
                </a:spcAft>
              </a:pPr>
              <a:endParaRPr lang="en-US" sz="1500">
                <a:solidFill>
                  <a:schemeClr val="tx1"/>
                </a:solidFill>
                <a:sym typeface="Segoe UI"/>
              </a:endParaRPr>
            </a:p>
          </p:txBody>
        </p:sp>
        <p:sp>
          <p:nvSpPr>
            <p:cNvPr id="36" name="Freeform 35"/>
            <p:cNvSpPr/>
            <p:nvPr>
              <p:custDataLst>
                <p:tags r:id="rId11"/>
              </p:custDataLst>
            </p:nvPr>
          </p:nvSpPr>
          <p:spPr>
            <a:xfrm rot="670301">
              <a:off x="6657507" y="1558949"/>
              <a:ext cx="2190745" cy="1374874"/>
            </a:xfrm>
            <a:custGeom>
              <a:avLst/>
              <a:gdLst>
                <a:gd name="connsiteX0" fmla="*/ 245090 w 4038600"/>
                <a:gd name="connsiteY0" fmla="*/ 2957942 h 4038600"/>
                <a:gd name="connsiteX1" fmla="*/ 409203 w 4038600"/>
                <a:gd name="connsiteY1" fmla="*/ 820777 h 4038600"/>
                <a:gd name="connsiteX2" fmla="*/ 2409424 w 4038600"/>
                <a:gd name="connsiteY2" fmla="*/ 50373 h 4038600"/>
                <a:gd name="connsiteX3" fmla="*/ 3964758 w 4038600"/>
                <a:gd name="connsiteY3" fmla="*/ 1525277 h 4038600"/>
                <a:gd name="connsiteX4" fmla="*/ 3964757 w 4038600"/>
                <a:gd name="connsiteY4" fmla="*/ 1525274 h 4038600"/>
                <a:gd name="connsiteX5" fmla="*/ 3533775 w 4038600"/>
                <a:gd name="connsiteY5" fmla="*/ 2019303 h 4038600"/>
                <a:gd name="connsiteX6" fmla="*/ 2913670 w 4038600"/>
                <a:gd name="connsiteY6" fmla="*/ 1525271 h 4038600"/>
                <a:gd name="connsiteX7" fmla="*/ 2913670 w 4038600"/>
                <a:gd name="connsiteY7" fmla="*/ 1525271 h 4038600"/>
                <a:gd name="connsiteX8" fmla="*/ 1533361 w 4038600"/>
                <a:gd name="connsiteY8" fmla="*/ 1120504 h 4038600"/>
                <a:gd name="connsiteX9" fmla="*/ 1116155 w 4038600"/>
                <a:gd name="connsiteY9" fmla="*/ 2497104 h 4038600"/>
                <a:gd name="connsiteX10" fmla="*/ 245090 w 4038600"/>
                <a:gd name="connsiteY10" fmla="*/ 2957942 h 4038600"/>
                <a:gd name="connsiteX0" fmla="*/ 362087 w 4081755"/>
                <a:gd name="connsiteY0" fmla="*/ 3058062 h 3058062"/>
                <a:gd name="connsiteX1" fmla="*/ 526200 w 4081755"/>
                <a:gd name="connsiteY1" fmla="*/ 920897 h 3058062"/>
                <a:gd name="connsiteX2" fmla="*/ 2526421 w 4081755"/>
                <a:gd name="connsiteY2" fmla="*/ 150493 h 3058062"/>
                <a:gd name="connsiteX3" fmla="*/ 4081755 w 4081755"/>
                <a:gd name="connsiteY3" fmla="*/ 1625397 h 3058062"/>
                <a:gd name="connsiteX4" fmla="*/ 4081754 w 4081755"/>
                <a:gd name="connsiteY4" fmla="*/ 1625394 h 3058062"/>
                <a:gd name="connsiteX5" fmla="*/ 3650772 w 4081755"/>
                <a:gd name="connsiteY5" fmla="*/ 2119423 h 3058062"/>
                <a:gd name="connsiteX6" fmla="*/ 3030667 w 4081755"/>
                <a:gd name="connsiteY6" fmla="*/ 1625391 h 3058062"/>
                <a:gd name="connsiteX7" fmla="*/ 3030667 w 4081755"/>
                <a:gd name="connsiteY7" fmla="*/ 1625391 h 3058062"/>
                <a:gd name="connsiteX8" fmla="*/ 1650358 w 4081755"/>
                <a:gd name="connsiteY8" fmla="*/ 1220624 h 3058062"/>
                <a:gd name="connsiteX9" fmla="*/ 1233152 w 4081755"/>
                <a:gd name="connsiteY9" fmla="*/ 2597224 h 3058062"/>
                <a:gd name="connsiteX10" fmla="*/ 615332 w 4081755"/>
                <a:gd name="connsiteY10" fmla="*/ 2122589 h 3058062"/>
                <a:gd name="connsiteX11" fmla="*/ 362087 w 4081755"/>
                <a:gd name="connsiteY11" fmla="*/ 3058062 h 3058062"/>
                <a:gd name="connsiteX0" fmla="*/ 224798 w 3944466"/>
                <a:gd name="connsiteY0" fmla="*/ 3058062 h 3094100"/>
                <a:gd name="connsiteX1" fmla="*/ 55665 w 3944466"/>
                <a:gd name="connsiteY1" fmla="*/ 2618995 h 3094100"/>
                <a:gd name="connsiteX2" fmla="*/ 388911 w 3944466"/>
                <a:gd name="connsiteY2" fmla="*/ 920897 h 3094100"/>
                <a:gd name="connsiteX3" fmla="*/ 2389132 w 3944466"/>
                <a:gd name="connsiteY3" fmla="*/ 150493 h 3094100"/>
                <a:gd name="connsiteX4" fmla="*/ 3944466 w 3944466"/>
                <a:gd name="connsiteY4" fmla="*/ 1625397 h 3094100"/>
                <a:gd name="connsiteX5" fmla="*/ 3944465 w 3944466"/>
                <a:gd name="connsiteY5" fmla="*/ 1625394 h 3094100"/>
                <a:gd name="connsiteX6" fmla="*/ 3513483 w 3944466"/>
                <a:gd name="connsiteY6" fmla="*/ 2119423 h 3094100"/>
                <a:gd name="connsiteX7" fmla="*/ 2893378 w 3944466"/>
                <a:gd name="connsiteY7" fmla="*/ 1625391 h 3094100"/>
                <a:gd name="connsiteX8" fmla="*/ 2893378 w 3944466"/>
                <a:gd name="connsiteY8" fmla="*/ 1625391 h 3094100"/>
                <a:gd name="connsiteX9" fmla="*/ 1513069 w 3944466"/>
                <a:gd name="connsiteY9" fmla="*/ 1220624 h 3094100"/>
                <a:gd name="connsiteX10" fmla="*/ 1095863 w 3944466"/>
                <a:gd name="connsiteY10" fmla="*/ 2597224 h 3094100"/>
                <a:gd name="connsiteX11" fmla="*/ 478043 w 3944466"/>
                <a:gd name="connsiteY11" fmla="*/ 2122589 h 3094100"/>
                <a:gd name="connsiteX12" fmla="*/ 224798 w 3944466"/>
                <a:gd name="connsiteY12" fmla="*/ 3058062 h 3094100"/>
                <a:gd name="connsiteX0" fmla="*/ 478043 w 3944466"/>
                <a:gd name="connsiteY0" fmla="*/ 2122589 h 2618995"/>
                <a:gd name="connsiteX1" fmla="*/ 55665 w 3944466"/>
                <a:gd name="connsiteY1" fmla="*/ 2618995 h 2618995"/>
                <a:gd name="connsiteX2" fmla="*/ 388911 w 3944466"/>
                <a:gd name="connsiteY2" fmla="*/ 920897 h 2618995"/>
                <a:gd name="connsiteX3" fmla="*/ 2389132 w 3944466"/>
                <a:gd name="connsiteY3" fmla="*/ 150493 h 2618995"/>
                <a:gd name="connsiteX4" fmla="*/ 3944466 w 3944466"/>
                <a:gd name="connsiteY4" fmla="*/ 1625397 h 2618995"/>
                <a:gd name="connsiteX5" fmla="*/ 3944465 w 3944466"/>
                <a:gd name="connsiteY5" fmla="*/ 1625394 h 2618995"/>
                <a:gd name="connsiteX6" fmla="*/ 3513483 w 3944466"/>
                <a:gd name="connsiteY6" fmla="*/ 2119423 h 2618995"/>
                <a:gd name="connsiteX7" fmla="*/ 2893378 w 3944466"/>
                <a:gd name="connsiteY7" fmla="*/ 1625391 h 2618995"/>
                <a:gd name="connsiteX8" fmla="*/ 2893378 w 3944466"/>
                <a:gd name="connsiteY8" fmla="*/ 1625391 h 2618995"/>
                <a:gd name="connsiteX9" fmla="*/ 1513069 w 3944466"/>
                <a:gd name="connsiteY9" fmla="*/ 1220624 h 2618995"/>
                <a:gd name="connsiteX10" fmla="*/ 1095863 w 3944466"/>
                <a:gd name="connsiteY10" fmla="*/ 2597224 h 2618995"/>
                <a:gd name="connsiteX11" fmla="*/ 478043 w 3944466"/>
                <a:gd name="connsiteY11" fmla="*/ 2122589 h 2618995"/>
                <a:gd name="connsiteX0" fmla="*/ 555165 w 4021588"/>
                <a:gd name="connsiteY0" fmla="*/ 2122589 h 2618995"/>
                <a:gd name="connsiteX1" fmla="*/ 132787 w 4021588"/>
                <a:gd name="connsiteY1" fmla="*/ 2618995 h 2618995"/>
                <a:gd name="connsiteX2" fmla="*/ 466033 w 4021588"/>
                <a:gd name="connsiteY2" fmla="*/ 920897 h 2618995"/>
                <a:gd name="connsiteX3" fmla="*/ 2466254 w 4021588"/>
                <a:gd name="connsiteY3" fmla="*/ 150493 h 2618995"/>
                <a:gd name="connsiteX4" fmla="*/ 4021588 w 4021588"/>
                <a:gd name="connsiteY4" fmla="*/ 1625397 h 2618995"/>
                <a:gd name="connsiteX5" fmla="*/ 4021587 w 4021588"/>
                <a:gd name="connsiteY5" fmla="*/ 1625394 h 2618995"/>
                <a:gd name="connsiteX6" fmla="*/ 3590605 w 4021588"/>
                <a:gd name="connsiteY6" fmla="*/ 2119423 h 2618995"/>
                <a:gd name="connsiteX7" fmla="*/ 2970500 w 4021588"/>
                <a:gd name="connsiteY7" fmla="*/ 1625391 h 2618995"/>
                <a:gd name="connsiteX8" fmla="*/ 2970500 w 4021588"/>
                <a:gd name="connsiteY8" fmla="*/ 1625391 h 2618995"/>
                <a:gd name="connsiteX9" fmla="*/ 1590191 w 4021588"/>
                <a:gd name="connsiteY9" fmla="*/ 1220624 h 2618995"/>
                <a:gd name="connsiteX10" fmla="*/ 1172985 w 4021588"/>
                <a:gd name="connsiteY10" fmla="*/ 2597224 h 2618995"/>
                <a:gd name="connsiteX11" fmla="*/ 555165 w 4021588"/>
                <a:gd name="connsiteY11" fmla="*/ 2122589 h 2618995"/>
                <a:gd name="connsiteX0" fmla="*/ 555165 w 4021588"/>
                <a:gd name="connsiteY0" fmla="*/ 2122589 h 2618995"/>
                <a:gd name="connsiteX1" fmla="*/ 132787 w 4021588"/>
                <a:gd name="connsiteY1" fmla="*/ 2618995 h 2618995"/>
                <a:gd name="connsiteX2" fmla="*/ 466033 w 4021588"/>
                <a:gd name="connsiteY2" fmla="*/ 920897 h 2618995"/>
                <a:gd name="connsiteX3" fmla="*/ 2466254 w 4021588"/>
                <a:gd name="connsiteY3" fmla="*/ 150493 h 2618995"/>
                <a:gd name="connsiteX4" fmla="*/ 4021588 w 4021588"/>
                <a:gd name="connsiteY4" fmla="*/ 1625397 h 2618995"/>
                <a:gd name="connsiteX5" fmla="*/ 4021587 w 4021588"/>
                <a:gd name="connsiteY5" fmla="*/ 1625394 h 2618995"/>
                <a:gd name="connsiteX6" fmla="*/ 3590605 w 4021588"/>
                <a:gd name="connsiteY6" fmla="*/ 2119423 h 2618995"/>
                <a:gd name="connsiteX7" fmla="*/ 2970500 w 4021588"/>
                <a:gd name="connsiteY7" fmla="*/ 1625391 h 2618995"/>
                <a:gd name="connsiteX8" fmla="*/ 2970500 w 4021588"/>
                <a:gd name="connsiteY8" fmla="*/ 1625391 h 2618995"/>
                <a:gd name="connsiteX9" fmla="*/ 1590191 w 4021588"/>
                <a:gd name="connsiteY9" fmla="*/ 1220624 h 2618995"/>
                <a:gd name="connsiteX10" fmla="*/ 1172985 w 4021588"/>
                <a:gd name="connsiteY10" fmla="*/ 2597224 h 2618995"/>
                <a:gd name="connsiteX11" fmla="*/ 555165 w 4021588"/>
                <a:gd name="connsiteY11" fmla="*/ 2122589 h 2618995"/>
                <a:gd name="connsiteX0" fmla="*/ 555165 w 4021588"/>
                <a:gd name="connsiteY0" fmla="*/ 2122589 h 2618995"/>
                <a:gd name="connsiteX1" fmla="*/ 132787 w 4021588"/>
                <a:gd name="connsiteY1" fmla="*/ 2618995 h 2618995"/>
                <a:gd name="connsiteX2" fmla="*/ 466033 w 4021588"/>
                <a:gd name="connsiteY2" fmla="*/ 920897 h 2618995"/>
                <a:gd name="connsiteX3" fmla="*/ 2466254 w 4021588"/>
                <a:gd name="connsiteY3" fmla="*/ 150493 h 2618995"/>
                <a:gd name="connsiteX4" fmla="*/ 4021588 w 4021588"/>
                <a:gd name="connsiteY4" fmla="*/ 1625397 h 2618995"/>
                <a:gd name="connsiteX5" fmla="*/ 4021587 w 4021588"/>
                <a:gd name="connsiteY5" fmla="*/ 1625394 h 2618995"/>
                <a:gd name="connsiteX6" fmla="*/ 3590605 w 4021588"/>
                <a:gd name="connsiteY6" fmla="*/ 2119423 h 2618995"/>
                <a:gd name="connsiteX7" fmla="*/ 2970500 w 4021588"/>
                <a:gd name="connsiteY7" fmla="*/ 1625391 h 2618995"/>
                <a:gd name="connsiteX8" fmla="*/ 2970500 w 4021588"/>
                <a:gd name="connsiteY8" fmla="*/ 1625391 h 2618995"/>
                <a:gd name="connsiteX9" fmla="*/ 1590191 w 4021588"/>
                <a:gd name="connsiteY9" fmla="*/ 1220624 h 2618995"/>
                <a:gd name="connsiteX10" fmla="*/ 1172985 w 4021588"/>
                <a:gd name="connsiteY10" fmla="*/ 2597224 h 2618995"/>
                <a:gd name="connsiteX11" fmla="*/ 555165 w 4021588"/>
                <a:gd name="connsiteY11" fmla="*/ 2122589 h 2618995"/>
                <a:gd name="connsiteX0" fmla="*/ 535167 w 4001590"/>
                <a:gd name="connsiteY0" fmla="*/ 2122589 h 2618995"/>
                <a:gd name="connsiteX1" fmla="*/ 112789 w 4001590"/>
                <a:gd name="connsiteY1" fmla="*/ 2618995 h 2618995"/>
                <a:gd name="connsiteX2" fmla="*/ 446035 w 4001590"/>
                <a:gd name="connsiteY2" fmla="*/ 920897 h 2618995"/>
                <a:gd name="connsiteX3" fmla="*/ 2446256 w 4001590"/>
                <a:gd name="connsiteY3" fmla="*/ 150493 h 2618995"/>
                <a:gd name="connsiteX4" fmla="*/ 4001590 w 4001590"/>
                <a:gd name="connsiteY4" fmla="*/ 1625397 h 2618995"/>
                <a:gd name="connsiteX5" fmla="*/ 4001589 w 4001590"/>
                <a:gd name="connsiteY5" fmla="*/ 1625394 h 2618995"/>
                <a:gd name="connsiteX6" fmla="*/ 3570607 w 4001590"/>
                <a:gd name="connsiteY6" fmla="*/ 2119423 h 2618995"/>
                <a:gd name="connsiteX7" fmla="*/ 2950502 w 4001590"/>
                <a:gd name="connsiteY7" fmla="*/ 1625391 h 2618995"/>
                <a:gd name="connsiteX8" fmla="*/ 2950502 w 4001590"/>
                <a:gd name="connsiteY8" fmla="*/ 1625391 h 2618995"/>
                <a:gd name="connsiteX9" fmla="*/ 1570193 w 4001590"/>
                <a:gd name="connsiteY9" fmla="*/ 1220624 h 2618995"/>
                <a:gd name="connsiteX10" fmla="*/ 1152987 w 4001590"/>
                <a:gd name="connsiteY10" fmla="*/ 2597224 h 2618995"/>
                <a:gd name="connsiteX11" fmla="*/ 535167 w 4001590"/>
                <a:gd name="connsiteY11" fmla="*/ 2122589 h 2618995"/>
                <a:gd name="connsiteX0" fmla="*/ 535167 w 4001590"/>
                <a:gd name="connsiteY0" fmla="*/ 2122589 h 2618995"/>
                <a:gd name="connsiteX1" fmla="*/ 112789 w 4001590"/>
                <a:gd name="connsiteY1" fmla="*/ 2618995 h 2618995"/>
                <a:gd name="connsiteX2" fmla="*/ 446035 w 4001590"/>
                <a:gd name="connsiteY2" fmla="*/ 920897 h 2618995"/>
                <a:gd name="connsiteX3" fmla="*/ 2446256 w 4001590"/>
                <a:gd name="connsiteY3" fmla="*/ 150493 h 2618995"/>
                <a:gd name="connsiteX4" fmla="*/ 4001590 w 4001590"/>
                <a:gd name="connsiteY4" fmla="*/ 1625397 h 2618995"/>
                <a:gd name="connsiteX5" fmla="*/ 4001589 w 4001590"/>
                <a:gd name="connsiteY5" fmla="*/ 1625394 h 2618995"/>
                <a:gd name="connsiteX6" fmla="*/ 3570607 w 4001590"/>
                <a:gd name="connsiteY6" fmla="*/ 2119423 h 2618995"/>
                <a:gd name="connsiteX7" fmla="*/ 2950502 w 4001590"/>
                <a:gd name="connsiteY7" fmla="*/ 1625391 h 2618995"/>
                <a:gd name="connsiteX8" fmla="*/ 2950502 w 4001590"/>
                <a:gd name="connsiteY8" fmla="*/ 1625391 h 2618995"/>
                <a:gd name="connsiteX9" fmla="*/ 1570193 w 4001590"/>
                <a:gd name="connsiteY9" fmla="*/ 1220624 h 2618995"/>
                <a:gd name="connsiteX10" fmla="*/ 1152987 w 4001590"/>
                <a:gd name="connsiteY10" fmla="*/ 2597224 h 2618995"/>
                <a:gd name="connsiteX11" fmla="*/ 535167 w 4001590"/>
                <a:gd name="connsiteY11" fmla="*/ 2122589 h 2618995"/>
                <a:gd name="connsiteX0" fmla="*/ 535167 w 4001590"/>
                <a:gd name="connsiteY0" fmla="*/ 2122589 h 2618995"/>
                <a:gd name="connsiteX1" fmla="*/ 112789 w 4001590"/>
                <a:gd name="connsiteY1" fmla="*/ 2618995 h 2618995"/>
                <a:gd name="connsiteX2" fmla="*/ 446035 w 4001590"/>
                <a:gd name="connsiteY2" fmla="*/ 920897 h 2618995"/>
                <a:gd name="connsiteX3" fmla="*/ 2446256 w 4001590"/>
                <a:gd name="connsiteY3" fmla="*/ 150493 h 2618995"/>
                <a:gd name="connsiteX4" fmla="*/ 4001590 w 4001590"/>
                <a:gd name="connsiteY4" fmla="*/ 1625397 h 2618995"/>
                <a:gd name="connsiteX5" fmla="*/ 4001589 w 4001590"/>
                <a:gd name="connsiteY5" fmla="*/ 1625394 h 2618995"/>
                <a:gd name="connsiteX6" fmla="*/ 3570607 w 4001590"/>
                <a:gd name="connsiteY6" fmla="*/ 2119423 h 2618995"/>
                <a:gd name="connsiteX7" fmla="*/ 2950502 w 4001590"/>
                <a:gd name="connsiteY7" fmla="*/ 1625391 h 2618995"/>
                <a:gd name="connsiteX8" fmla="*/ 2950502 w 4001590"/>
                <a:gd name="connsiteY8" fmla="*/ 1625391 h 2618995"/>
                <a:gd name="connsiteX9" fmla="*/ 1570193 w 4001590"/>
                <a:gd name="connsiteY9" fmla="*/ 1220624 h 2618995"/>
                <a:gd name="connsiteX10" fmla="*/ 1152987 w 4001590"/>
                <a:gd name="connsiteY10" fmla="*/ 2597224 h 2618995"/>
                <a:gd name="connsiteX11" fmla="*/ 535167 w 4001590"/>
                <a:gd name="connsiteY11" fmla="*/ 2122589 h 2618995"/>
                <a:gd name="connsiteX0" fmla="*/ 535167 w 4001590"/>
                <a:gd name="connsiteY0" fmla="*/ 2122589 h 2618995"/>
                <a:gd name="connsiteX1" fmla="*/ 112789 w 4001590"/>
                <a:gd name="connsiteY1" fmla="*/ 2618995 h 2618995"/>
                <a:gd name="connsiteX2" fmla="*/ 446035 w 4001590"/>
                <a:gd name="connsiteY2" fmla="*/ 920897 h 2618995"/>
                <a:gd name="connsiteX3" fmla="*/ 2446256 w 4001590"/>
                <a:gd name="connsiteY3" fmla="*/ 150493 h 2618995"/>
                <a:gd name="connsiteX4" fmla="*/ 4001590 w 4001590"/>
                <a:gd name="connsiteY4" fmla="*/ 1625397 h 2618995"/>
                <a:gd name="connsiteX5" fmla="*/ 4001589 w 4001590"/>
                <a:gd name="connsiteY5" fmla="*/ 1625394 h 2618995"/>
                <a:gd name="connsiteX6" fmla="*/ 3570607 w 4001590"/>
                <a:gd name="connsiteY6" fmla="*/ 2119423 h 2618995"/>
                <a:gd name="connsiteX7" fmla="*/ 2950502 w 4001590"/>
                <a:gd name="connsiteY7" fmla="*/ 1625391 h 2618995"/>
                <a:gd name="connsiteX8" fmla="*/ 2950502 w 4001590"/>
                <a:gd name="connsiteY8" fmla="*/ 1625391 h 2618995"/>
                <a:gd name="connsiteX9" fmla="*/ 1570193 w 4001590"/>
                <a:gd name="connsiteY9" fmla="*/ 1220624 h 2618995"/>
                <a:gd name="connsiteX10" fmla="*/ 1152987 w 4001590"/>
                <a:gd name="connsiteY10" fmla="*/ 2597224 h 2618995"/>
                <a:gd name="connsiteX11" fmla="*/ 535167 w 4001590"/>
                <a:gd name="connsiteY11" fmla="*/ 2122589 h 2618995"/>
                <a:gd name="connsiteX0" fmla="*/ 89132 w 3555555"/>
                <a:gd name="connsiteY0" fmla="*/ 2122589 h 2597224"/>
                <a:gd name="connsiteX1" fmla="*/ 0 w 3555555"/>
                <a:gd name="connsiteY1" fmla="*/ 920897 h 2597224"/>
                <a:gd name="connsiteX2" fmla="*/ 2000221 w 3555555"/>
                <a:gd name="connsiteY2" fmla="*/ 150493 h 2597224"/>
                <a:gd name="connsiteX3" fmla="*/ 3555555 w 3555555"/>
                <a:gd name="connsiteY3" fmla="*/ 1625397 h 2597224"/>
                <a:gd name="connsiteX4" fmla="*/ 3555554 w 3555555"/>
                <a:gd name="connsiteY4" fmla="*/ 1625394 h 2597224"/>
                <a:gd name="connsiteX5" fmla="*/ 3124572 w 3555555"/>
                <a:gd name="connsiteY5" fmla="*/ 2119423 h 2597224"/>
                <a:gd name="connsiteX6" fmla="*/ 2504467 w 3555555"/>
                <a:gd name="connsiteY6" fmla="*/ 1625391 h 2597224"/>
                <a:gd name="connsiteX7" fmla="*/ 2504467 w 3555555"/>
                <a:gd name="connsiteY7" fmla="*/ 1625391 h 2597224"/>
                <a:gd name="connsiteX8" fmla="*/ 1124158 w 3555555"/>
                <a:gd name="connsiteY8" fmla="*/ 1220624 h 2597224"/>
                <a:gd name="connsiteX9" fmla="*/ 706952 w 3555555"/>
                <a:gd name="connsiteY9" fmla="*/ 2597224 h 2597224"/>
                <a:gd name="connsiteX10" fmla="*/ 89132 w 3555555"/>
                <a:gd name="connsiteY10" fmla="*/ 2122589 h 2597224"/>
                <a:gd name="connsiteX0" fmla="*/ 706952 w 3555555"/>
                <a:gd name="connsiteY0" fmla="*/ 2597224 h 2597224"/>
                <a:gd name="connsiteX1" fmla="*/ 0 w 3555555"/>
                <a:gd name="connsiteY1" fmla="*/ 920897 h 2597224"/>
                <a:gd name="connsiteX2" fmla="*/ 2000221 w 3555555"/>
                <a:gd name="connsiteY2" fmla="*/ 150493 h 2597224"/>
                <a:gd name="connsiteX3" fmla="*/ 3555555 w 3555555"/>
                <a:gd name="connsiteY3" fmla="*/ 1625397 h 2597224"/>
                <a:gd name="connsiteX4" fmla="*/ 3555554 w 3555555"/>
                <a:gd name="connsiteY4" fmla="*/ 1625394 h 2597224"/>
                <a:gd name="connsiteX5" fmla="*/ 3124572 w 3555555"/>
                <a:gd name="connsiteY5" fmla="*/ 2119423 h 2597224"/>
                <a:gd name="connsiteX6" fmla="*/ 2504467 w 3555555"/>
                <a:gd name="connsiteY6" fmla="*/ 1625391 h 2597224"/>
                <a:gd name="connsiteX7" fmla="*/ 2504467 w 3555555"/>
                <a:gd name="connsiteY7" fmla="*/ 1625391 h 2597224"/>
                <a:gd name="connsiteX8" fmla="*/ 1124158 w 3555555"/>
                <a:gd name="connsiteY8" fmla="*/ 1220624 h 2597224"/>
                <a:gd name="connsiteX9" fmla="*/ 706952 w 3555555"/>
                <a:gd name="connsiteY9" fmla="*/ 2597224 h 2597224"/>
                <a:gd name="connsiteX0" fmla="*/ 1270168 w 3701565"/>
                <a:gd name="connsiteY0" fmla="*/ 1220624 h 2119423"/>
                <a:gd name="connsiteX1" fmla="*/ 146010 w 3701565"/>
                <a:gd name="connsiteY1" fmla="*/ 920897 h 2119423"/>
                <a:gd name="connsiteX2" fmla="*/ 2146231 w 3701565"/>
                <a:gd name="connsiteY2" fmla="*/ 150493 h 2119423"/>
                <a:gd name="connsiteX3" fmla="*/ 3701565 w 3701565"/>
                <a:gd name="connsiteY3" fmla="*/ 1625397 h 2119423"/>
                <a:gd name="connsiteX4" fmla="*/ 3701564 w 3701565"/>
                <a:gd name="connsiteY4" fmla="*/ 1625394 h 2119423"/>
                <a:gd name="connsiteX5" fmla="*/ 3270582 w 3701565"/>
                <a:gd name="connsiteY5" fmla="*/ 2119423 h 2119423"/>
                <a:gd name="connsiteX6" fmla="*/ 2650477 w 3701565"/>
                <a:gd name="connsiteY6" fmla="*/ 1625391 h 2119423"/>
                <a:gd name="connsiteX7" fmla="*/ 2650477 w 3701565"/>
                <a:gd name="connsiteY7" fmla="*/ 1625391 h 2119423"/>
                <a:gd name="connsiteX8" fmla="*/ 1270168 w 3701565"/>
                <a:gd name="connsiteY8" fmla="*/ 1220624 h 2119423"/>
                <a:gd name="connsiteX0" fmla="*/ 1014361 w 3752727"/>
                <a:gd name="connsiteY0" fmla="*/ 1475427 h 2119423"/>
                <a:gd name="connsiteX1" fmla="*/ 197172 w 3752727"/>
                <a:gd name="connsiteY1" fmla="*/ 920897 h 2119423"/>
                <a:gd name="connsiteX2" fmla="*/ 2197393 w 3752727"/>
                <a:gd name="connsiteY2" fmla="*/ 150493 h 2119423"/>
                <a:gd name="connsiteX3" fmla="*/ 3752727 w 3752727"/>
                <a:gd name="connsiteY3" fmla="*/ 1625397 h 2119423"/>
                <a:gd name="connsiteX4" fmla="*/ 3752726 w 3752727"/>
                <a:gd name="connsiteY4" fmla="*/ 1625394 h 2119423"/>
                <a:gd name="connsiteX5" fmla="*/ 3321744 w 3752727"/>
                <a:gd name="connsiteY5" fmla="*/ 2119423 h 2119423"/>
                <a:gd name="connsiteX6" fmla="*/ 2701639 w 3752727"/>
                <a:gd name="connsiteY6" fmla="*/ 1625391 h 2119423"/>
                <a:gd name="connsiteX7" fmla="*/ 2701639 w 3752727"/>
                <a:gd name="connsiteY7" fmla="*/ 1625391 h 2119423"/>
                <a:gd name="connsiteX8" fmla="*/ 1014361 w 3752727"/>
                <a:gd name="connsiteY8" fmla="*/ 1475427 h 2119423"/>
                <a:gd name="connsiteX0" fmla="*/ 1014361 w 3752727"/>
                <a:gd name="connsiteY0" fmla="*/ 1475427 h 2119423"/>
                <a:gd name="connsiteX1" fmla="*/ 197172 w 3752727"/>
                <a:gd name="connsiteY1" fmla="*/ 920897 h 2119423"/>
                <a:gd name="connsiteX2" fmla="*/ 2197393 w 3752727"/>
                <a:gd name="connsiteY2" fmla="*/ 150493 h 2119423"/>
                <a:gd name="connsiteX3" fmla="*/ 3752727 w 3752727"/>
                <a:gd name="connsiteY3" fmla="*/ 1625397 h 2119423"/>
                <a:gd name="connsiteX4" fmla="*/ 3752726 w 3752727"/>
                <a:gd name="connsiteY4" fmla="*/ 1625394 h 2119423"/>
                <a:gd name="connsiteX5" fmla="*/ 3321744 w 3752727"/>
                <a:gd name="connsiteY5" fmla="*/ 2119423 h 2119423"/>
                <a:gd name="connsiteX6" fmla="*/ 2701639 w 3752727"/>
                <a:gd name="connsiteY6" fmla="*/ 1625391 h 2119423"/>
                <a:gd name="connsiteX7" fmla="*/ 2701639 w 3752727"/>
                <a:gd name="connsiteY7" fmla="*/ 1625391 h 2119423"/>
                <a:gd name="connsiteX8" fmla="*/ 1014361 w 3752727"/>
                <a:gd name="connsiteY8" fmla="*/ 1475427 h 2119423"/>
                <a:gd name="connsiteX0" fmla="*/ 587314 w 3325680"/>
                <a:gd name="connsiteY0" fmla="*/ 1521133 h 2165129"/>
                <a:gd name="connsiteX1" fmla="*/ 197172 w 3325680"/>
                <a:gd name="connsiteY1" fmla="*/ 493906 h 2165129"/>
                <a:gd name="connsiteX2" fmla="*/ 1770346 w 3325680"/>
                <a:gd name="connsiteY2" fmla="*/ 196199 h 2165129"/>
                <a:gd name="connsiteX3" fmla="*/ 3325680 w 3325680"/>
                <a:gd name="connsiteY3" fmla="*/ 1671103 h 2165129"/>
                <a:gd name="connsiteX4" fmla="*/ 3325679 w 3325680"/>
                <a:gd name="connsiteY4" fmla="*/ 1671100 h 2165129"/>
                <a:gd name="connsiteX5" fmla="*/ 2894697 w 3325680"/>
                <a:gd name="connsiteY5" fmla="*/ 2165129 h 2165129"/>
                <a:gd name="connsiteX6" fmla="*/ 2274592 w 3325680"/>
                <a:gd name="connsiteY6" fmla="*/ 1671097 h 2165129"/>
                <a:gd name="connsiteX7" fmla="*/ 2274592 w 3325680"/>
                <a:gd name="connsiteY7" fmla="*/ 1671097 h 2165129"/>
                <a:gd name="connsiteX8" fmla="*/ 587314 w 3325680"/>
                <a:gd name="connsiteY8" fmla="*/ 1521133 h 2165129"/>
                <a:gd name="connsiteX0" fmla="*/ 587314 w 3325680"/>
                <a:gd name="connsiteY0" fmla="*/ 1521133 h 2165129"/>
                <a:gd name="connsiteX1" fmla="*/ 197172 w 3325680"/>
                <a:gd name="connsiteY1" fmla="*/ 493906 h 2165129"/>
                <a:gd name="connsiteX2" fmla="*/ 1770346 w 3325680"/>
                <a:gd name="connsiteY2" fmla="*/ 196199 h 2165129"/>
                <a:gd name="connsiteX3" fmla="*/ 3325680 w 3325680"/>
                <a:gd name="connsiteY3" fmla="*/ 1671103 h 2165129"/>
                <a:gd name="connsiteX4" fmla="*/ 3325679 w 3325680"/>
                <a:gd name="connsiteY4" fmla="*/ 1671100 h 2165129"/>
                <a:gd name="connsiteX5" fmla="*/ 2894697 w 3325680"/>
                <a:gd name="connsiteY5" fmla="*/ 2165129 h 2165129"/>
                <a:gd name="connsiteX6" fmla="*/ 2274592 w 3325680"/>
                <a:gd name="connsiteY6" fmla="*/ 1671097 h 2165129"/>
                <a:gd name="connsiteX7" fmla="*/ 2274592 w 3325680"/>
                <a:gd name="connsiteY7" fmla="*/ 1671097 h 2165129"/>
                <a:gd name="connsiteX8" fmla="*/ 587314 w 3325680"/>
                <a:gd name="connsiteY8" fmla="*/ 1521133 h 2165129"/>
                <a:gd name="connsiteX0" fmla="*/ 623403 w 3361769"/>
                <a:gd name="connsiteY0" fmla="*/ 1505706 h 2149702"/>
                <a:gd name="connsiteX1" fmla="*/ 197172 w 3361769"/>
                <a:gd name="connsiteY1" fmla="*/ 571046 h 2149702"/>
                <a:gd name="connsiteX2" fmla="*/ 1806435 w 3361769"/>
                <a:gd name="connsiteY2" fmla="*/ 180772 h 2149702"/>
                <a:gd name="connsiteX3" fmla="*/ 3361769 w 3361769"/>
                <a:gd name="connsiteY3" fmla="*/ 1655676 h 2149702"/>
                <a:gd name="connsiteX4" fmla="*/ 3361768 w 3361769"/>
                <a:gd name="connsiteY4" fmla="*/ 1655673 h 2149702"/>
                <a:gd name="connsiteX5" fmla="*/ 2930786 w 3361769"/>
                <a:gd name="connsiteY5" fmla="*/ 2149702 h 2149702"/>
                <a:gd name="connsiteX6" fmla="*/ 2310681 w 3361769"/>
                <a:gd name="connsiteY6" fmla="*/ 1655670 h 2149702"/>
                <a:gd name="connsiteX7" fmla="*/ 2310681 w 3361769"/>
                <a:gd name="connsiteY7" fmla="*/ 1655670 h 2149702"/>
                <a:gd name="connsiteX8" fmla="*/ 623403 w 3361769"/>
                <a:gd name="connsiteY8" fmla="*/ 1505706 h 2149702"/>
                <a:gd name="connsiteX0" fmla="*/ 623403 w 3361769"/>
                <a:gd name="connsiteY0" fmla="*/ 1505706 h 2149702"/>
                <a:gd name="connsiteX1" fmla="*/ 197172 w 3361769"/>
                <a:gd name="connsiteY1" fmla="*/ 571046 h 2149702"/>
                <a:gd name="connsiteX2" fmla="*/ 1806435 w 3361769"/>
                <a:gd name="connsiteY2" fmla="*/ 180772 h 2149702"/>
                <a:gd name="connsiteX3" fmla="*/ 3361769 w 3361769"/>
                <a:gd name="connsiteY3" fmla="*/ 1655676 h 2149702"/>
                <a:gd name="connsiteX4" fmla="*/ 3361768 w 3361769"/>
                <a:gd name="connsiteY4" fmla="*/ 1655673 h 2149702"/>
                <a:gd name="connsiteX5" fmla="*/ 2930786 w 3361769"/>
                <a:gd name="connsiteY5" fmla="*/ 2149702 h 2149702"/>
                <a:gd name="connsiteX6" fmla="*/ 2310681 w 3361769"/>
                <a:gd name="connsiteY6" fmla="*/ 1655670 h 2149702"/>
                <a:gd name="connsiteX7" fmla="*/ 2310681 w 3361769"/>
                <a:gd name="connsiteY7" fmla="*/ 1655670 h 2149702"/>
                <a:gd name="connsiteX8" fmla="*/ 623403 w 3361769"/>
                <a:gd name="connsiteY8" fmla="*/ 1505706 h 2149702"/>
                <a:gd name="connsiteX0" fmla="*/ 623403 w 3361769"/>
                <a:gd name="connsiteY0" fmla="*/ 1505706 h 2149702"/>
                <a:gd name="connsiteX1" fmla="*/ 197172 w 3361769"/>
                <a:gd name="connsiteY1" fmla="*/ 571046 h 2149702"/>
                <a:gd name="connsiteX2" fmla="*/ 1806435 w 3361769"/>
                <a:gd name="connsiteY2" fmla="*/ 180772 h 2149702"/>
                <a:gd name="connsiteX3" fmla="*/ 3361769 w 3361769"/>
                <a:gd name="connsiteY3" fmla="*/ 1655676 h 2149702"/>
                <a:gd name="connsiteX4" fmla="*/ 3361768 w 3361769"/>
                <a:gd name="connsiteY4" fmla="*/ 1655673 h 2149702"/>
                <a:gd name="connsiteX5" fmla="*/ 2930786 w 3361769"/>
                <a:gd name="connsiteY5" fmla="*/ 2149702 h 2149702"/>
                <a:gd name="connsiteX6" fmla="*/ 2310681 w 3361769"/>
                <a:gd name="connsiteY6" fmla="*/ 1655670 h 2149702"/>
                <a:gd name="connsiteX7" fmla="*/ 2310681 w 3361769"/>
                <a:gd name="connsiteY7" fmla="*/ 1655670 h 2149702"/>
                <a:gd name="connsiteX8" fmla="*/ 623403 w 3361769"/>
                <a:gd name="connsiteY8" fmla="*/ 1505706 h 2149702"/>
                <a:gd name="connsiteX0" fmla="*/ 623403 w 3361769"/>
                <a:gd name="connsiteY0" fmla="*/ 1505706 h 2149702"/>
                <a:gd name="connsiteX1" fmla="*/ 197172 w 3361769"/>
                <a:gd name="connsiteY1" fmla="*/ 571046 h 2149702"/>
                <a:gd name="connsiteX2" fmla="*/ 1806435 w 3361769"/>
                <a:gd name="connsiteY2" fmla="*/ 180772 h 2149702"/>
                <a:gd name="connsiteX3" fmla="*/ 3361769 w 3361769"/>
                <a:gd name="connsiteY3" fmla="*/ 1655676 h 2149702"/>
                <a:gd name="connsiteX4" fmla="*/ 3361768 w 3361769"/>
                <a:gd name="connsiteY4" fmla="*/ 1655673 h 2149702"/>
                <a:gd name="connsiteX5" fmla="*/ 2930786 w 3361769"/>
                <a:gd name="connsiteY5" fmla="*/ 2149702 h 2149702"/>
                <a:gd name="connsiteX6" fmla="*/ 2310681 w 3361769"/>
                <a:gd name="connsiteY6" fmla="*/ 1655670 h 2149702"/>
                <a:gd name="connsiteX7" fmla="*/ 2310681 w 3361769"/>
                <a:gd name="connsiteY7" fmla="*/ 1655670 h 2149702"/>
                <a:gd name="connsiteX8" fmla="*/ 623403 w 3361769"/>
                <a:gd name="connsiteY8" fmla="*/ 1505706 h 2149702"/>
                <a:gd name="connsiteX0" fmla="*/ 623403 w 3361769"/>
                <a:gd name="connsiteY0" fmla="*/ 1505706 h 2149702"/>
                <a:gd name="connsiteX1" fmla="*/ 197172 w 3361769"/>
                <a:gd name="connsiteY1" fmla="*/ 571046 h 2149702"/>
                <a:gd name="connsiteX2" fmla="*/ 1806435 w 3361769"/>
                <a:gd name="connsiteY2" fmla="*/ 180772 h 2149702"/>
                <a:gd name="connsiteX3" fmla="*/ 3361769 w 3361769"/>
                <a:gd name="connsiteY3" fmla="*/ 1655676 h 2149702"/>
                <a:gd name="connsiteX4" fmla="*/ 3361768 w 3361769"/>
                <a:gd name="connsiteY4" fmla="*/ 1655673 h 2149702"/>
                <a:gd name="connsiteX5" fmla="*/ 2930786 w 3361769"/>
                <a:gd name="connsiteY5" fmla="*/ 2149702 h 2149702"/>
                <a:gd name="connsiteX6" fmla="*/ 2310681 w 3361769"/>
                <a:gd name="connsiteY6" fmla="*/ 1655670 h 2149702"/>
                <a:gd name="connsiteX7" fmla="*/ 2310681 w 3361769"/>
                <a:gd name="connsiteY7" fmla="*/ 1655670 h 2149702"/>
                <a:gd name="connsiteX8" fmla="*/ 623403 w 3361769"/>
                <a:gd name="connsiteY8" fmla="*/ 1505706 h 2149702"/>
                <a:gd name="connsiteX0" fmla="*/ 623403 w 3361769"/>
                <a:gd name="connsiteY0" fmla="*/ 1505706 h 2149702"/>
                <a:gd name="connsiteX1" fmla="*/ 197172 w 3361769"/>
                <a:gd name="connsiteY1" fmla="*/ 571046 h 2149702"/>
                <a:gd name="connsiteX2" fmla="*/ 1806435 w 3361769"/>
                <a:gd name="connsiteY2" fmla="*/ 180772 h 2149702"/>
                <a:gd name="connsiteX3" fmla="*/ 3361769 w 3361769"/>
                <a:gd name="connsiteY3" fmla="*/ 1655676 h 2149702"/>
                <a:gd name="connsiteX4" fmla="*/ 3361768 w 3361769"/>
                <a:gd name="connsiteY4" fmla="*/ 1655673 h 2149702"/>
                <a:gd name="connsiteX5" fmla="*/ 2930786 w 3361769"/>
                <a:gd name="connsiteY5" fmla="*/ 2149702 h 2149702"/>
                <a:gd name="connsiteX6" fmla="*/ 2310681 w 3361769"/>
                <a:gd name="connsiteY6" fmla="*/ 1655670 h 2149702"/>
                <a:gd name="connsiteX7" fmla="*/ 2310681 w 3361769"/>
                <a:gd name="connsiteY7" fmla="*/ 1655670 h 2149702"/>
                <a:gd name="connsiteX8" fmla="*/ 623403 w 3361769"/>
                <a:gd name="connsiteY8" fmla="*/ 1505706 h 2149702"/>
                <a:gd name="connsiteX0" fmla="*/ 623403 w 3361769"/>
                <a:gd name="connsiteY0" fmla="*/ 1459101 h 2103097"/>
                <a:gd name="connsiteX1" fmla="*/ 197172 w 3361769"/>
                <a:gd name="connsiteY1" fmla="*/ 524441 h 2103097"/>
                <a:gd name="connsiteX2" fmla="*/ 1806435 w 3361769"/>
                <a:gd name="connsiteY2" fmla="*/ 134167 h 2103097"/>
                <a:gd name="connsiteX3" fmla="*/ 3361769 w 3361769"/>
                <a:gd name="connsiteY3" fmla="*/ 1609071 h 2103097"/>
                <a:gd name="connsiteX4" fmla="*/ 3361768 w 3361769"/>
                <a:gd name="connsiteY4" fmla="*/ 1609068 h 2103097"/>
                <a:gd name="connsiteX5" fmla="*/ 2930786 w 3361769"/>
                <a:gd name="connsiteY5" fmla="*/ 2103097 h 2103097"/>
                <a:gd name="connsiteX6" fmla="*/ 2310681 w 3361769"/>
                <a:gd name="connsiteY6" fmla="*/ 1609065 h 2103097"/>
                <a:gd name="connsiteX7" fmla="*/ 2310681 w 3361769"/>
                <a:gd name="connsiteY7" fmla="*/ 1609065 h 2103097"/>
                <a:gd name="connsiteX8" fmla="*/ 623403 w 3361769"/>
                <a:gd name="connsiteY8" fmla="*/ 1459101 h 2103097"/>
                <a:gd name="connsiteX0" fmla="*/ 623403 w 3361769"/>
                <a:gd name="connsiteY0" fmla="*/ 1459101 h 2103097"/>
                <a:gd name="connsiteX1" fmla="*/ 197172 w 3361769"/>
                <a:gd name="connsiteY1" fmla="*/ 524441 h 2103097"/>
                <a:gd name="connsiteX2" fmla="*/ 1806435 w 3361769"/>
                <a:gd name="connsiteY2" fmla="*/ 134167 h 2103097"/>
                <a:gd name="connsiteX3" fmla="*/ 3361769 w 3361769"/>
                <a:gd name="connsiteY3" fmla="*/ 1609071 h 2103097"/>
                <a:gd name="connsiteX4" fmla="*/ 3361768 w 3361769"/>
                <a:gd name="connsiteY4" fmla="*/ 1609068 h 2103097"/>
                <a:gd name="connsiteX5" fmla="*/ 2930786 w 3361769"/>
                <a:gd name="connsiteY5" fmla="*/ 2103097 h 2103097"/>
                <a:gd name="connsiteX6" fmla="*/ 2310681 w 3361769"/>
                <a:gd name="connsiteY6" fmla="*/ 1609065 h 2103097"/>
                <a:gd name="connsiteX7" fmla="*/ 2310681 w 3361769"/>
                <a:gd name="connsiteY7" fmla="*/ 1609065 h 2103097"/>
                <a:gd name="connsiteX8" fmla="*/ 623403 w 3361769"/>
                <a:gd name="connsiteY8" fmla="*/ 1459101 h 2103097"/>
                <a:gd name="connsiteX0" fmla="*/ 623403 w 3361769"/>
                <a:gd name="connsiteY0" fmla="*/ 1434993 h 2078989"/>
                <a:gd name="connsiteX1" fmla="*/ 197172 w 3361769"/>
                <a:gd name="connsiteY1" fmla="*/ 500333 h 2078989"/>
                <a:gd name="connsiteX2" fmla="*/ 1806435 w 3361769"/>
                <a:gd name="connsiteY2" fmla="*/ 110059 h 2078989"/>
                <a:gd name="connsiteX3" fmla="*/ 3361769 w 3361769"/>
                <a:gd name="connsiteY3" fmla="*/ 1584963 h 2078989"/>
                <a:gd name="connsiteX4" fmla="*/ 3361768 w 3361769"/>
                <a:gd name="connsiteY4" fmla="*/ 1584960 h 2078989"/>
                <a:gd name="connsiteX5" fmla="*/ 2930786 w 3361769"/>
                <a:gd name="connsiteY5" fmla="*/ 2078989 h 2078989"/>
                <a:gd name="connsiteX6" fmla="*/ 2310681 w 3361769"/>
                <a:gd name="connsiteY6" fmla="*/ 1584957 h 2078989"/>
                <a:gd name="connsiteX7" fmla="*/ 2310681 w 3361769"/>
                <a:gd name="connsiteY7" fmla="*/ 1584957 h 2078989"/>
                <a:gd name="connsiteX8" fmla="*/ 623403 w 3361769"/>
                <a:gd name="connsiteY8" fmla="*/ 1434993 h 2078989"/>
                <a:gd name="connsiteX0" fmla="*/ 623403 w 3361769"/>
                <a:gd name="connsiteY0" fmla="*/ 1466483 h 2110479"/>
                <a:gd name="connsiteX1" fmla="*/ 197172 w 3361769"/>
                <a:gd name="connsiteY1" fmla="*/ 531823 h 2110479"/>
                <a:gd name="connsiteX2" fmla="*/ 1806435 w 3361769"/>
                <a:gd name="connsiteY2" fmla="*/ 141549 h 2110479"/>
                <a:gd name="connsiteX3" fmla="*/ 3361769 w 3361769"/>
                <a:gd name="connsiteY3" fmla="*/ 1616453 h 2110479"/>
                <a:gd name="connsiteX4" fmla="*/ 3361768 w 3361769"/>
                <a:gd name="connsiteY4" fmla="*/ 1616450 h 2110479"/>
                <a:gd name="connsiteX5" fmla="*/ 2930786 w 3361769"/>
                <a:gd name="connsiteY5" fmla="*/ 2110479 h 2110479"/>
                <a:gd name="connsiteX6" fmla="*/ 2310681 w 3361769"/>
                <a:gd name="connsiteY6" fmla="*/ 1616447 h 2110479"/>
                <a:gd name="connsiteX7" fmla="*/ 2310681 w 3361769"/>
                <a:gd name="connsiteY7" fmla="*/ 1616447 h 2110479"/>
                <a:gd name="connsiteX8" fmla="*/ 623403 w 3361769"/>
                <a:gd name="connsiteY8" fmla="*/ 1466483 h 2110479"/>
                <a:gd name="connsiteX0" fmla="*/ 623403 w 3361769"/>
                <a:gd name="connsiteY0" fmla="*/ 1473923 h 2117919"/>
                <a:gd name="connsiteX1" fmla="*/ 197172 w 3361769"/>
                <a:gd name="connsiteY1" fmla="*/ 539263 h 2117919"/>
                <a:gd name="connsiteX2" fmla="*/ 1819529 w 3361769"/>
                <a:gd name="connsiteY2" fmla="*/ 141549 h 2117919"/>
                <a:gd name="connsiteX3" fmla="*/ 3361769 w 3361769"/>
                <a:gd name="connsiteY3" fmla="*/ 1623893 h 2117919"/>
                <a:gd name="connsiteX4" fmla="*/ 3361768 w 3361769"/>
                <a:gd name="connsiteY4" fmla="*/ 1623890 h 2117919"/>
                <a:gd name="connsiteX5" fmla="*/ 2930786 w 3361769"/>
                <a:gd name="connsiteY5" fmla="*/ 2117919 h 2117919"/>
                <a:gd name="connsiteX6" fmla="*/ 2310681 w 3361769"/>
                <a:gd name="connsiteY6" fmla="*/ 1623887 h 2117919"/>
                <a:gd name="connsiteX7" fmla="*/ 2310681 w 3361769"/>
                <a:gd name="connsiteY7" fmla="*/ 1623887 h 2117919"/>
                <a:gd name="connsiteX8" fmla="*/ 623403 w 3361769"/>
                <a:gd name="connsiteY8" fmla="*/ 1473923 h 2117919"/>
                <a:gd name="connsiteX0" fmla="*/ 623403 w 3361769"/>
                <a:gd name="connsiteY0" fmla="*/ 1473923 h 2117919"/>
                <a:gd name="connsiteX1" fmla="*/ 197172 w 3361769"/>
                <a:gd name="connsiteY1" fmla="*/ 539263 h 2117919"/>
                <a:gd name="connsiteX2" fmla="*/ 1819529 w 3361769"/>
                <a:gd name="connsiteY2" fmla="*/ 141549 h 2117919"/>
                <a:gd name="connsiteX3" fmla="*/ 3361769 w 3361769"/>
                <a:gd name="connsiteY3" fmla="*/ 1623893 h 2117919"/>
                <a:gd name="connsiteX4" fmla="*/ 3361768 w 3361769"/>
                <a:gd name="connsiteY4" fmla="*/ 1623890 h 2117919"/>
                <a:gd name="connsiteX5" fmla="*/ 2930786 w 3361769"/>
                <a:gd name="connsiteY5" fmla="*/ 2117919 h 2117919"/>
                <a:gd name="connsiteX6" fmla="*/ 2310681 w 3361769"/>
                <a:gd name="connsiteY6" fmla="*/ 1623887 h 2117919"/>
                <a:gd name="connsiteX7" fmla="*/ 2310681 w 3361769"/>
                <a:gd name="connsiteY7" fmla="*/ 1623887 h 2117919"/>
                <a:gd name="connsiteX8" fmla="*/ 623403 w 3361769"/>
                <a:gd name="connsiteY8" fmla="*/ 1473923 h 2117919"/>
                <a:gd name="connsiteX0" fmla="*/ 623403 w 3361769"/>
                <a:gd name="connsiteY0" fmla="*/ 1471389 h 2115385"/>
                <a:gd name="connsiteX1" fmla="*/ 197172 w 3361769"/>
                <a:gd name="connsiteY1" fmla="*/ 536729 h 2115385"/>
                <a:gd name="connsiteX2" fmla="*/ 1819529 w 3361769"/>
                <a:gd name="connsiteY2" fmla="*/ 139015 h 2115385"/>
                <a:gd name="connsiteX3" fmla="*/ 3361769 w 3361769"/>
                <a:gd name="connsiteY3" fmla="*/ 1621359 h 2115385"/>
                <a:gd name="connsiteX4" fmla="*/ 3361768 w 3361769"/>
                <a:gd name="connsiteY4" fmla="*/ 1621356 h 2115385"/>
                <a:gd name="connsiteX5" fmla="*/ 2930786 w 3361769"/>
                <a:gd name="connsiteY5" fmla="*/ 2115385 h 2115385"/>
                <a:gd name="connsiteX6" fmla="*/ 2310681 w 3361769"/>
                <a:gd name="connsiteY6" fmla="*/ 1621353 h 2115385"/>
                <a:gd name="connsiteX7" fmla="*/ 2310681 w 3361769"/>
                <a:gd name="connsiteY7" fmla="*/ 1621353 h 2115385"/>
                <a:gd name="connsiteX8" fmla="*/ 623403 w 3361769"/>
                <a:gd name="connsiteY8" fmla="*/ 1471389 h 2115385"/>
                <a:gd name="connsiteX0" fmla="*/ 623403 w 3361769"/>
                <a:gd name="connsiteY0" fmla="*/ 1457313 h 2101309"/>
                <a:gd name="connsiteX1" fmla="*/ 197172 w 3361769"/>
                <a:gd name="connsiteY1" fmla="*/ 522653 h 2101309"/>
                <a:gd name="connsiteX2" fmla="*/ 1819529 w 3361769"/>
                <a:gd name="connsiteY2" fmla="*/ 124939 h 2101309"/>
                <a:gd name="connsiteX3" fmla="*/ 3361769 w 3361769"/>
                <a:gd name="connsiteY3" fmla="*/ 1607283 h 2101309"/>
                <a:gd name="connsiteX4" fmla="*/ 3361768 w 3361769"/>
                <a:gd name="connsiteY4" fmla="*/ 1607280 h 2101309"/>
                <a:gd name="connsiteX5" fmla="*/ 2930786 w 3361769"/>
                <a:gd name="connsiteY5" fmla="*/ 2101309 h 2101309"/>
                <a:gd name="connsiteX6" fmla="*/ 2310681 w 3361769"/>
                <a:gd name="connsiteY6" fmla="*/ 1607277 h 2101309"/>
                <a:gd name="connsiteX7" fmla="*/ 2310681 w 3361769"/>
                <a:gd name="connsiteY7" fmla="*/ 1607277 h 2101309"/>
                <a:gd name="connsiteX8" fmla="*/ 623403 w 3361769"/>
                <a:gd name="connsiteY8" fmla="*/ 1457313 h 2101309"/>
                <a:gd name="connsiteX0" fmla="*/ 623403 w 3361769"/>
                <a:gd name="connsiteY0" fmla="*/ 1447045 h 2091041"/>
                <a:gd name="connsiteX1" fmla="*/ 197172 w 3361769"/>
                <a:gd name="connsiteY1" fmla="*/ 512385 h 2091041"/>
                <a:gd name="connsiteX2" fmla="*/ 1816702 w 3361769"/>
                <a:gd name="connsiteY2" fmla="*/ 124939 h 2091041"/>
                <a:gd name="connsiteX3" fmla="*/ 3361769 w 3361769"/>
                <a:gd name="connsiteY3" fmla="*/ 1597015 h 2091041"/>
                <a:gd name="connsiteX4" fmla="*/ 3361768 w 3361769"/>
                <a:gd name="connsiteY4" fmla="*/ 1597012 h 2091041"/>
                <a:gd name="connsiteX5" fmla="*/ 2930786 w 3361769"/>
                <a:gd name="connsiteY5" fmla="*/ 2091041 h 2091041"/>
                <a:gd name="connsiteX6" fmla="*/ 2310681 w 3361769"/>
                <a:gd name="connsiteY6" fmla="*/ 1597009 h 2091041"/>
                <a:gd name="connsiteX7" fmla="*/ 2310681 w 3361769"/>
                <a:gd name="connsiteY7" fmla="*/ 1597009 h 2091041"/>
                <a:gd name="connsiteX8" fmla="*/ 623403 w 3361769"/>
                <a:gd name="connsiteY8" fmla="*/ 1447045 h 2091041"/>
                <a:gd name="connsiteX0" fmla="*/ 623403 w 3361769"/>
                <a:gd name="connsiteY0" fmla="*/ 1486327 h 2130323"/>
                <a:gd name="connsiteX1" fmla="*/ 197172 w 3361769"/>
                <a:gd name="connsiteY1" fmla="*/ 551667 h 2130323"/>
                <a:gd name="connsiteX2" fmla="*/ 1816702 w 3361769"/>
                <a:gd name="connsiteY2" fmla="*/ 164221 h 2130323"/>
                <a:gd name="connsiteX3" fmla="*/ 3361769 w 3361769"/>
                <a:gd name="connsiteY3" fmla="*/ 1636297 h 2130323"/>
                <a:gd name="connsiteX4" fmla="*/ 3361768 w 3361769"/>
                <a:gd name="connsiteY4" fmla="*/ 1636294 h 2130323"/>
                <a:gd name="connsiteX5" fmla="*/ 2930786 w 3361769"/>
                <a:gd name="connsiteY5" fmla="*/ 2130323 h 2130323"/>
                <a:gd name="connsiteX6" fmla="*/ 2310681 w 3361769"/>
                <a:gd name="connsiteY6" fmla="*/ 1636291 h 2130323"/>
                <a:gd name="connsiteX7" fmla="*/ 2310681 w 3361769"/>
                <a:gd name="connsiteY7" fmla="*/ 1636291 h 2130323"/>
                <a:gd name="connsiteX8" fmla="*/ 623403 w 3361769"/>
                <a:gd name="connsiteY8" fmla="*/ 1486327 h 2130323"/>
                <a:gd name="connsiteX0" fmla="*/ 623403 w 3361769"/>
                <a:gd name="connsiteY0" fmla="*/ 1486327 h 2130323"/>
                <a:gd name="connsiteX1" fmla="*/ 197172 w 3361769"/>
                <a:gd name="connsiteY1" fmla="*/ 551667 h 2130323"/>
                <a:gd name="connsiteX2" fmla="*/ 1816702 w 3361769"/>
                <a:gd name="connsiteY2" fmla="*/ 164221 h 2130323"/>
                <a:gd name="connsiteX3" fmla="*/ 3361769 w 3361769"/>
                <a:gd name="connsiteY3" fmla="*/ 1636297 h 2130323"/>
                <a:gd name="connsiteX4" fmla="*/ 3361768 w 3361769"/>
                <a:gd name="connsiteY4" fmla="*/ 1636294 h 2130323"/>
                <a:gd name="connsiteX5" fmla="*/ 2930786 w 3361769"/>
                <a:gd name="connsiteY5" fmla="*/ 2130323 h 2130323"/>
                <a:gd name="connsiteX6" fmla="*/ 2310681 w 3361769"/>
                <a:gd name="connsiteY6" fmla="*/ 1636291 h 2130323"/>
                <a:gd name="connsiteX7" fmla="*/ 2310681 w 3361769"/>
                <a:gd name="connsiteY7" fmla="*/ 1636291 h 2130323"/>
                <a:gd name="connsiteX8" fmla="*/ 623403 w 3361769"/>
                <a:gd name="connsiteY8" fmla="*/ 1486327 h 2130323"/>
                <a:gd name="connsiteX0" fmla="*/ 623403 w 3361769"/>
                <a:gd name="connsiteY0" fmla="*/ 1447045 h 2091041"/>
                <a:gd name="connsiteX1" fmla="*/ 197172 w 3361769"/>
                <a:gd name="connsiteY1" fmla="*/ 512385 h 2091041"/>
                <a:gd name="connsiteX2" fmla="*/ 1816702 w 3361769"/>
                <a:gd name="connsiteY2" fmla="*/ 124939 h 2091041"/>
                <a:gd name="connsiteX3" fmla="*/ 3361769 w 3361769"/>
                <a:gd name="connsiteY3" fmla="*/ 1597015 h 2091041"/>
                <a:gd name="connsiteX4" fmla="*/ 3361768 w 3361769"/>
                <a:gd name="connsiteY4" fmla="*/ 1597012 h 2091041"/>
                <a:gd name="connsiteX5" fmla="*/ 2930786 w 3361769"/>
                <a:gd name="connsiteY5" fmla="*/ 2091041 h 2091041"/>
                <a:gd name="connsiteX6" fmla="*/ 2310681 w 3361769"/>
                <a:gd name="connsiteY6" fmla="*/ 1597009 h 2091041"/>
                <a:gd name="connsiteX7" fmla="*/ 2310681 w 3361769"/>
                <a:gd name="connsiteY7" fmla="*/ 1597009 h 2091041"/>
                <a:gd name="connsiteX8" fmla="*/ 623403 w 3361769"/>
                <a:gd name="connsiteY8" fmla="*/ 1447045 h 2091041"/>
                <a:gd name="connsiteX0" fmla="*/ 623403 w 3361769"/>
                <a:gd name="connsiteY0" fmla="*/ 1465792 h 2109788"/>
                <a:gd name="connsiteX1" fmla="*/ 197172 w 3361769"/>
                <a:gd name="connsiteY1" fmla="*/ 531132 h 2109788"/>
                <a:gd name="connsiteX2" fmla="*/ 1816702 w 3361769"/>
                <a:gd name="connsiteY2" fmla="*/ 143686 h 2109788"/>
                <a:gd name="connsiteX3" fmla="*/ 3361769 w 3361769"/>
                <a:gd name="connsiteY3" fmla="*/ 1615762 h 2109788"/>
                <a:gd name="connsiteX4" fmla="*/ 3361768 w 3361769"/>
                <a:gd name="connsiteY4" fmla="*/ 1615759 h 2109788"/>
                <a:gd name="connsiteX5" fmla="*/ 2930786 w 3361769"/>
                <a:gd name="connsiteY5" fmla="*/ 2109788 h 2109788"/>
                <a:gd name="connsiteX6" fmla="*/ 2310681 w 3361769"/>
                <a:gd name="connsiteY6" fmla="*/ 1615756 h 2109788"/>
                <a:gd name="connsiteX7" fmla="*/ 2310681 w 3361769"/>
                <a:gd name="connsiteY7" fmla="*/ 1615756 h 2109788"/>
                <a:gd name="connsiteX8" fmla="*/ 623403 w 3361769"/>
                <a:gd name="connsiteY8" fmla="*/ 1465792 h 2109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61769" h="2109788">
                  <a:moveTo>
                    <a:pt x="623403" y="1465792"/>
                  </a:moveTo>
                  <a:cubicBezTo>
                    <a:pt x="205992" y="1348376"/>
                    <a:pt x="0" y="751954"/>
                    <a:pt x="197172" y="531132"/>
                  </a:cubicBezTo>
                  <a:cubicBezTo>
                    <a:pt x="513286" y="253809"/>
                    <a:pt x="1175227" y="0"/>
                    <a:pt x="1816702" y="143686"/>
                  </a:cubicBezTo>
                  <a:cubicBezTo>
                    <a:pt x="2552113" y="296005"/>
                    <a:pt x="3171197" y="865290"/>
                    <a:pt x="3361769" y="1615762"/>
                  </a:cubicBezTo>
                  <a:cubicBezTo>
                    <a:pt x="3361769" y="1615761"/>
                    <a:pt x="3361768" y="1615760"/>
                    <a:pt x="3361768" y="1615759"/>
                  </a:cubicBezTo>
                  <a:lnTo>
                    <a:pt x="2930786" y="2109788"/>
                  </a:lnTo>
                  <a:lnTo>
                    <a:pt x="2310681" y="1615756"/>
                  </a:lnTo>
                  <a:lnTo>
                    <a:pt x="2310681" y="1615756"/>
                  </a:lnTo>
                  <a:cubicBezTo>
                    <a:pt x="2039577" y="1124957"/>
                    <a:pt x="1201679" y="873752"/>
                    <a:pt x="623403" y="1465792"/>
                  </a:cubicBezTo>
                  <a:close/>
                </a:path>
              </a:pathLst>
            </a:custGeom>
            <a:solidFill>
              <a:schemeClr val="tx2"/>
            </a:solidFill>
            <a:ln>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985" tIns="89985" rIns="89985" bIns="89985" numCol="1" spcCol="1270" anchor="ctr" anchorCtr="0">
              <a:noAutofit/>
            </a:bodyPr>
            <a:lstStyle/>
            <a:p>
              <a:pPr algn="ctr" defTabSz="666694">
                <a:lnSpc>
                  <a:spcPct val="90000"/>
                </a:lnSpc>
                <a:spcBef>
                  <a:spcPct val="0"/>
                </a:spcBef>
                <a:spcAft>
                  <a:spcPct val="35000"/>
                </a:spcAft>
              </a:pPr>
              <a:endParaRPr lang="en-US" sz="1500">
                <a:gradFill>
                  <a:gsLst>
                    <a:gs pos="0">
                      <a:schemeClr val="bg1"/>
                    </a:gs>
                    <a:gs pos="100000">
                      <a:schemeClr val="bg1"/>
                    </a:gs>
                  </a:gsLst>
                  <a:lin ang="5400000" scaled="0"/>
                </a:gradFill>
                <a:sym typeface="Segoe UI"/>
              </a:endParaRPr>
            </a:p>
          </p:txBody>
        </p:sp>
        <p:sp>
          <p:nvSpPr>
            <p:cNvPr id="37" name="Freeform 36"/>
            <p:cNvSpPr/>
            <p:nvPr>
              <p:custDataLst>
                <p:tags r:id="rId12"/>
              </p:custDataLst>
            </p:nvPr>
          </p:nvSpPr>
          <p:spPr>
            <a:xfrm rot="15527030">
              <a:off x="5670710" y="2145701"/>
              <a:ext cx="2136857" cy="1371451"/>
            </a:xfrm>
            <a:custGeom>
              <a:avLst/>
              <a:gdLst>
                <a:gd name="connsiteX0" fmla="*/ 348547 w 4038600"/>
                <a:gd name="connsiteY0" fmla="*/ 906891 h 4038600"/>
                <a:gd name="connsiteX1" fmla="*/ 2357628 w 4038600"/>
                <a:gd name="connsiteY1" fmla="*/ 40815 h 4038600"/>
                <a:gd name="connsiteX2" fmla="*/ 3964758 w 4038600"/>
                <a:gd name="connsiteY2" fmla="*/ 1525277 h 4038600"/>
                <a:gd name="connsiteX3" fmla="*/ 3964757 w 4038600"/>
                <a:gd name="connsiteY3" fmla="*/ 1525274 h 4038600"/>
                <a:gd name="connsiteX4" fmla="*/ 3533775 w 4038600"/>
                <a:gd name="connsiteY4" fmla="*/ 2019303 h 4038600"/>
                <a:gd name="connsiteX5" fmla="*/ 2913670 w 4038600"/>
                <a:gd name="connsiteY5" fmla="*/ 1525271 h 4038600"/>
                <a:gd name="connsiteX6" fmla="*/ 2913670 w 4038600"/>
                <a:gd name="connsiteY6" fmla="*/ 1525271 h 4038600"/>
                <a:gd name="connsiteX7" fmla="*/ 2061559 w 4038600"/>
                <a:gd name="connsiteY7" fmla="*/ 998426 h 4038600"/>
                <a:gd name="connsiteX8" fmla="*/ 1168818 w 4038600"/>
                <a:gd name="connsiteY8" fmla="*/ 1453038 h 4038600"/>
                <a:gd name="connsiteX9" fmla="*/ 348547 w 4038600"/>
                <a:gd name="connsiteY9" fmla="*/ 906891 h 4038600"/>
                <a:gd name="connsiteX0" fmla="*/ 0 w 3616211"/>
                <a:gd name="connsiteY0" fmla="*/ 999801 h 2112213"/>
                <a:gd name="connsiteX1" fmla="*/ 2009081 w 3616211"/>
                <a:gd name="connsiteY1" fmla="*/ 133725 h 2112213"/>
                <a:gd name="connsiteX2" fmla="*/ 3616211 w 3616211"/>
                <a:gd name="connsiteY2" fmla="*/ 1618187 h 2112213"/>
                <a:gd name="connsiteX3" fmla="*/ 3616210 w 3616211"/>
                <a:gd name="connsiteY3" fmla="*/ 1618184 h 2112213"/>
                <a:gd name="connsiteX4" fmla="*/ 3185228 w 3616211"/>
                <a:gd name="connsiteY4" fmla="*/ 2112213 h 2112213"/>
                <a:gd name="connsiteX5" fmla="*/ 2565123 w 3616211"/>
                <a:gd name="connsiteY5" fmla="*/ 1618181 h 2112213"/>
                <a:gd name="connsiteX6" fmla="*/ 2565123 w 3616211"/>
                <a:gd name="connsiteY6" fmla="*/ 1618181 h 2112213"/>
                <a:gd name="connsiteX7" fmla="*/ 1713012 w 3616211"/>
                <a:gd name="connsiteY7" fmla="*/ 1091336 h 2112213"/>
                <a:gd name="connsiteX8" fmla="*/ 820271 w 3616211"/>
                <a:gd name="connsiteY8" fmla="*/ 1545948 h 2112213"/>
                <a:gd name="connsiteX9" fmla="*/ 842336 w 3616211"/>
                <a:gd name="connsiteY9" fmla="*/ 883669 h 2112213"/>
                <a:gd name="connsiteX10" fmla="*/ 0 w 3616211"/>
                <a:gd name="connsiteY10" fmla="*/ 999801 h 2112213"/>
                <a:gd name="connsiteX0" fmla="*/ 0 w 3153747"/>
                <a:gd name="connsiteY0" fmla="*/ 660371 h 2263706"/>
                <a:gd name="connsiteX1" fmla="*/ 1546617 w 3153747"/>
                <a:gd name="connsiteY1" fmla="*/ 285218 h 2263706"/>
                <a:gd name="connsiteX2" fmla="*/ 3153747 w 3153747"/>
                <a:gd name="connsiteY2" fmla="*/ 1769680 h 2263706"/>
                <a:gd name="connsiteX3" fmla="*/ 3153746 w 3153747"/>
                <a:gd name="connsiteY3" fmla="*/ 1769677 h 2263706"/>
                <a:gd name="connsiteX4" fmla="*/ 2722764 w 3153747"/>
                <a:gd name="connsiteY4" fmla="*/ 2263706 h 2263706"/>
                <a:gd name="connsiteX5" fmla="*/ 2102659 w 3153747"/>
                <a:gd name="connsiteY5" fmla="*/ 1769674 h 2263706"/>
                <a:gd name="connsiteX6" fmla="*/ 2102659 w 3153747"/>
                <a:gd name="connsiteY6" fmla="*/ 1769674 h 2263706"/>
                <a:gd name="connsiteX7" fmla="*/ 1250548 w 3153747"/>
                <a:gd name="connsiteY7" fmla="*/ 1242829 h 2263706"/>
                <a:gd name="connsiteX8" fmla="*/ 357807 w 3153747"/>
                <a:gd name="connsiteY8" fmla="*/ 1697441 h 2263706"/>
                <a:gd name="connsiteX9" fmla="*/ 379872 w 3153747"/>
                <a:gd name="connsiteY9" fmla="*/ 1035162 h 2263706"/>
                <a:gd name="connsiteX10" fmla="*/ 0 w 3153747"/>
                <a:gd name="connsiteY10" fmla="*/ 660371 h 2263706"/>
                <a:gd name="connsiteX0" fmla="*/ 0 w 3279076"/>
                <a:gd name="connsiteY0" fmla="*/ 662326 h 2142915"/>
                <a:gd name="connsiteX1" fmla="*/ 1671946 w 3279076"/>
                <a:gd name="connsiteY1" fmla="*/ 164427 h 2142915"/>
                <a:gd name="connsiteX2" fmla="*/ 3279076 w 3279076"/>
                <a:gd name="connsiteY2" fmla="*/ 1648889 h 2142915"/>
                <a:gd name="connsiteX3" fmla="*/ 3279075 w 3279076"/>
                <a:gd name="connsiteY3" fmla="*/ 1648886 h 2142915"/>
                <a:gd name="connsiteX4" fmla="*/ 2848093 w 3279076"/>
                <a:gd name="connsiteY4" fmla="*/ 2142915 h 2142915"/>
                <a:gd name="connsiteX5" fmla="*/ 2227988 w 3279076"/>
                <a:gd name="connsiteY5" fmla="*/ 1648883 h 2142915"/>
                <a:gd name="connsiteX6" fmla="*/ 2227988 w 3279076"/>
                <a:gd name="connsiteY6" fmla="*/ 1648883 h 2142915"/>
                <a:gd name="connsiteX7" fmla="*/ 1375877 w 3279076"/>
                <a:gd name="connsiteY7" fmla="*/ 1122038 h 2142915"/>
                <a:gd name="connsiteX8" fmla="*/ 483136 w 3279076"/>
                <a:gd name="connsiteY8" fmla="*/ 1576650 h 2142915"/>
                <a:gd name="connsiteX9" fmla="*/ 505201 w 3279076"/>
                <a:gd name="connsiteY9" fmla="*/ 914371 h 2142915"/>
                <a:gd name="connsiteX10" fmla="*/ 0 w 3279076"/>
                <a:gd name="connsiteY10" fmla="*/ 662326 h 2142915"/>
                <a:gd name="connsiteX0" fmla="*/ 0 w 3279076"/>
                <a:gd name="connsiteY0" fmla="*/ 662326 h 2142915"/>
                <a:gd name="connsiteX1" fmla="*/ 1671946 w 3279076"/>
                <a:gd name="connsiteY1" fmla="*/ 164427 h 2142915"/>
                <a:gd name="connsiteX2" fmla="*/ 3279076 w 3279076"/>
                <a:gd name="connsiteY2" fmla="*/ 1648889 h 2142915"/>
                <a:gd name="connsiteX3" fmla="*/ 3279075 w 3279076"/>
                <a:gd name="connsiteY3" fmla="*/ 1648886 h 2142915"/>
                <a:gd name="connsiteX4" fmla="*/ 2848093 w 3279076"/>
                <a:gd name="connsiteY4" fmla="*/ 2142915 h 2142915"/>
                <a:gd name="connsiteX5" fmla="*/ 2227988 w 3279076"/>
                <a:gd name="connsiteY5" fmla="*/ 1648883 h 2142915"/>
                <a:gd name="connsiteX6" fmla="*/ 2227988 w 3279076"/>
                <a:gd name="connsiteY6" fmla="*/ 1648883 h 2142915"/>
                <a:gd name="connsiteX7" fmla="*/ 1375877 w 3279076"/>
                <a:gd name="connsiteY7" fmla="*/ 1122038 h 2142915"/>
                <a:gd name="connsiteX8" fmla="*/ 483136 w 3279076"/>
                <a:gd name="connsiteY8" fmla="*/ 1576650 h 2142915"/>
                <a:gd name="connsiteX9" fmla="*/ 505201 w 3279076"/>
                <a:gd name="connsiteY9" fmla="*/ 914371 h 2142915"/>
                <a:gd name="connsiteX10" fmla="*/ 0 w 3279076"/>
                <a:gd name="connsiteY10" fmla="*/ 662326 h 2142915"/>
                <a:gd name="connsiteX0" fmla="*/ 0 w 3279076"/>
                <a:gd name="connsiteY0" fmla="*/ 662326 h 2142915"/>
                <a:gd name="connsiteX1" fmla="*/ 1671946 w 3279076"/>
                <a:gd name="connsiteY1" fmla="*/ 164427 h 2142915"/>
                <a:gd name="connsiteX2" fmla="*/ 3279076 w 3279076"/>
                <a:gd name="connsiteY2" fmla="*/ 1648889 h 2142915"/>
                <a:gd name="connsiteX3" fmla="*/ 3279075 w 3279076"/>
                <a:gd name="connsiteY3" fmla="*/ 1648886 h 2142915"/>
                <a:gd name="connsiteX4" fmla="*/ 2848093 w 3279076"/>
                <a:gd name="connsiteY4" fmla="*/ 2142915 h 2142915"/>
                <a:gd name="connsiteX5" fmla="*/ 2227988 w 3279076"/>
                <a:gd name="connsiteY5" fmla="*/ 1648883 h 2142915"/>
                <a:gd name="connsiteX6" fmla="*/ 2227988 w 3279076"/>
                <a:gd name="connsiteY6" fmla="*/ 1648883 h 2142915"/>
                <a:gd name="connsiteX7" fmla="*/ 1375877 w 3279076"/>
                <a:gd name="connsiteY7" fmla="*/ 1122038 h 2142915"/>
                <a:gd name="connsiteX8" fmla="*/ 483136 w 3279076"/>
                <a:gd name="connsiteY8" fmla="*/ 1576650 h 2142915"/>
                <a:gd name="connsiteX9" fmla="*/ 505201 w 3279076"/>
                <a:gd name="connsiteY9" fmla="*/ 914371 h 2142915"/>
                <a:gd name="connsiteX10" fmla="*/ 0 w 3279076"/>
                <a:gd name="connsiteY10" fmla="*/ 662326 h 2142915"/>
                <a:gd name="connsiteX0" fmla="*/ 0 w 3279076"/>
                <a:gd name="connsiteY0" fmla="*/ 662326 h 2142915"/>
                <a:gd name="connsiteX1" fmla="*/ 1671946 w 3279076"/>
                <a:gd name="connsiteY1" fmla="*/ 164427 h 2142915"/>
                <a:gd name="connsiteX2" fmla="*/ 3279076 w 3279076"/>
                <a:gd name="connsiteY2" fmla="*/ 1648889 h 2142915"/>
                <a:gd name="connsiteX3" fmla="*/ 3279075 w 3279076"/>
                <a:gd name="connsiteY3" fmla="*/ 1648886 h 2142915"/>
                <a:gd name="connsiteX4" fmla="*/ 2848093 w 3279076"/>
                <a:gd name="connsiteY4" fmla="*/ 2142915 h 2142915"/>
                <a:gd name="connsiteX5" fmla="*/ 2227988 w 3279076"/>
                <a:gd name="connsiteY5" fmla="*/ 1648883 h 2142915"/>
                <a:gd name="connsiteX6" fmla="*/ 2227988 w 3279076"/>
                <a:gd name="connsiteY6" fmla="*/ 1648883 h 2142915"/>
                <a:gd name="connsiteX7" fmla="*/ 1375877 w 3279076"/>
                <a:gd name="connsiteY7" fmla="*/ 1122038 h 2142915"/>
                <a:gd name="connsiteX8" fmla="*/ 483136 w 3279076"/>
                <a:gd name="connsiteY8" fmla="*/ 1576650 h 2142915"/>
                <a:gd name="connsiteX9" fmla="*/ 505201 w 3279076"/>
                <a:gd name="connsiteY9" fmla="*/ 914371 h 2142915"/>
                <a:gd name="connsiteX10" fmla="*/ 0 w 3279076"/>
                <a:gd name="connsiteY10" fmla="*/ 662326 h 2142915"/>
                <a:gd name="connsiteX0" fmla="*/ 0 w 3279076"/>
                <a:gd name="connsiteY0" fmla="*/ 662326 h 2142915"/>
                <a:gd name="connsiteX1" fmla="*/ 1671946 w 3279076"/>
                <a:gd name="connsiteY1" fmla="*/ 164427 h 2142915"/>
                <a:gd name="connsiteX2" fmla="*/ 3279076 w 3279076"/>
                <a:gd name="connsiteY2" fmla="*/ 1648889 h 2142915"/>
                <a:gd name="connsiteX3" fmla="*/ 3279075 w 3279076"/>
                <a:gd name="connsiteY3" fmla="*/ 1648886 h 2142915"/>
                <a:gd name="connsiteX4" fmla="*/ 2848093 w 3279076"/>
                <a:gd name="connsiteY4" fmla="*/ 2142915 h 2142915"/>
                <a:gd name="connsiteX5" fmla="*/ 2227988 w 3279076"/>
                <a:gd name="connsiteY5" fmla="*/ 1648883 h 2142915"/>
                <a:gd name="connsiteX6" fmla="*/ 2227988 w 3279076"/>
                <a:gd name="connsiteY6" fmla="*/ 1648883 h 2142915"/>
                <a:gd name="connsiteX7" fmla="*/ 1375877 w 3279076"/>
                <a:gd name="connsiteY7" fmla="*/ 1122038 h 2142915"/>
                <a:gd name="connsiteX8" fmla="*/ 483136 w 3279076"/>
                <a:gd name="connsiteY8" fmla="*/ 1576650 h 2142915"/>
                <a:gd name="connsiteX9" fmla="*/ 505201 w 3279076"/>
                <a:gd name="connsiteY9" fmla="*/ 914371 h 2142915"/>
                <a:gd name="connsiteX10" fmla="*/ 0 w 3279076"/>
                <a:gd name="connsiteY10" fmla="*/ 662326 h 2142915"/>
                <a:gd name="connsiteX0" fmla="*/ 0 w 3279076"/>
                <a:gd name="connsiteY0" fmla="*/ 662326 h 2142915"/>
                <a:gd name="connsiteX1" fmla="*/ 1671946 w 3279076"/>
                <a:gd name="connsiteY1" fmla="*/ 164427 h 2142915"/>
                <a:gd name="connsiteX2" fmla="*/ 3279076 w 3279076"/>
                <a:gd name="connsiteY2" fmla="*/ 1648889 h 2142915"/>
                <a:gd name="connsiteX3" fmla="*/ 3279075 w 3279076"/>
                <a:gd name="connsiteY3" fmla="*/ 1648886 h 2142915"/>
                <a:gd name="connsiteX4" fmla="*/ 2848093 w 3279076"/>
                <a:gd name="connsiteY4" fmla="*/ 2142915 h 2142915"/>
                <a:gd name="connsiteX5" fmla="*/ 2227988 w 3279076"/>
                <a:gd name="connsiteY5" fmla="*/ 1648883 h 2142915"/>
                <a:gd name="connsiteX6" fmla="*/ 2227988 w 3279076"/>
                <a:gd name="connsiteY6" fmla="*/ 1648883 h 2142915"/>
                <a:gd name="connsiteX7" fmla="*/ 1375877 w 3279076"/>
                <a:gd name="connsiteY7" fmla="*/ 1122038 h 2142915"/>
                <a:gd name="connsiteX8" fmla="*/ 483136 w 3279076"/>
                <a:gd name="connsiteY8" fmla="*/ 1576650 h 2142915"/>
                <a:gd name="connsiteX9" fmla="*/ 505201 w 3279076"/>
                <a:gd name="connsiteY9" fmla="*/ 914371 h 2142915"/>
                <a:gd name="connsiteX10" fmla="*/ 0 w 3279076"/>
                <a:gd name="connsiteY10" fmla="*/ 662326 h 2142915"/>
                <a:gd name="connsiteX0" fmla="*/ 0 w 3279076"/>
                <a:gd name="connsiteY0" fmla="*/ 623947 h 2104536"/>
                <a:gd name="connsiteX1" fmla="*/ 1671946 w 3279076"/>
                <a:gd name="connsiteY1" fmla="*/ 126048 h 2104536"/>
                <a:gd name="connsiteX2" fmla="*/ 3279076 w 3279076"/>
                <a:gd name="connsiteY2" fmla="*/ 1610510 h 2104536"/>
                <a:gd name="connsiteX3" fmla="*/ 3279075 w 3279076"/>
                <a:gd name="connsiteY3" fmla="*/ 1610507 h 2104536"/>
                <a:gd name="connsiteX4" fmla="*/ 2848093 w 3279076"/>
                <a:gd name="connsiteY4" fmla="*/ 2104536 h 2104536"/>
                <a:gd name="connsiteX5" fmla="*/ 2227988 w 3279076"/>
                <a:gd name="connsiteY5" fmla="*/ 1610504 h 2104536"/>
                <a:gd name="connsiteX6" fmla="*/ 2227988 w 3279076"/>
                <a:gd name="connsiteY6" fmla="*/ 1610504 h 2104536"/>
                <a:gd name="connsiteX7" fmla="*/ 1375877 w 3279076"/>
                <a:gd name="connsiteY7" fmla="*/ 1083659 h 2104536"/>
                <a:gd name="connsiteX8" fmla="*/ 483136 w 3279076"/>
                <a:gd name="connsiteY8" fmla="*/ 1538271 h 2104536"/>
                <a:gd name="connsiteX9" fmla="*/ 505201 w 3279076"/>
                <a:gd name="connsiteY9" fmla="*/ 875992 h 2104536"/>
                <a:gd name="connsiteX10" fmla="*/ 0 w 3279076"/>
                <a:gd name="connsiteY10" fmla="*/ 623947 h 2104536"/>
                <a:gd name="connsiteX0" fmla="*/ 0 w 3279076"/>
                <a:gd name="connsiteY0" fmla="*/ 623947 h 2104536"/>
                <a:gd name="connsiteX1" fmla="*/ 1671946 w 3279076"/>
                <a:gd name="connsiteY1" fmla="*/ 126048 h 2104536"/>
                <a:gd name="connsiteX2" fmla="*/ 3279076 w 3279076"/>
                <a:gd name="connsiteY2" fmla="*/ 1610510 h 2104536"/>
                <a:gd name="connsiteX3" fmla="*/ 3279075 w 3279076"/>
                <a:gd name="connsiteY3" fmla="*/ 1610507 h 2104536"/>
                <a:gd name="connsiteX4" fmla="*/ 2848093 w 3279076"/>
                <a:gd name="connsiteY4" fmla="*/ 2104536 h 2104536"/>
                <a:gd name="connsiteX5" fmla="*/ 2227988 w 3279076"/>
                <a:gd name="connsiteY5" fmla="*/ 1610504 h 2104536"/>
                <a:gd name="connsiteX6" fmla="*/ 2227988 w 3279076"/>
                <a:gd name="connsiteY6" fmla="*/ 1610504 h 2104536"/>
                <a:gd name="connsiteX7" fmla="*/ 1375877 w 3279076"/>
                <a:gd name="connsiteY7" fmla="*/ 1083659 h 2104536"/>
                <a:gd name="connsiteX8" fmla="*/ 483136 w 3279076"/>
                <a:gd name="connsiteY8" fmla="*/ 1538271 h 2104536"/>
                <a:gd name="connsiteX9" fmla="*/ 505201 w 3279076"/>
                <a:gd name="connsiteY9" fmla="*/ 875992 h 2104536"/>
                <a:gd name="connsiteX10" fmla="*/ 0 w 3279076"/>
                <a:gd name="connsiteY10" fmla="*/ 623947 h 2104536"/>
                <a:gd name="connsiteX0" fmla="*/ 0 w 3279076"/>
                <a:gd name="connsiteY0" fmla="*/ 623947 h 2104536"/>
                <a:gd name="connsiteX1" fmla="*/ 1671946 w 3279076"/>
                <a:gd name="connsiteY1" fmla="*/ 126048 h 2104536"/>
                <a:gd name="connsiteX2" fmla="*/ 3279076 w 3279076"/>
                <a:gd name="connsiteY2" fmla="*/ 1610510 h 2104536"/>
                <a:gd name="connsiteX3" fmla="*/ 3279075 w 3279076"/>
                <a:gd name="connsiteY3" fmla="*/ 1610507 h 2104536"/>
                <a:gd name="connsiteX4" fmla="*/ 2848093 w 3279076"/>
                <a:gd name="connsiteY4" fmla="*/ 2104536 h 2104536"/>
                <a:gd name="connsiteX5" fmla="*/ 2227988 w 3279076"/>
                <a:gd name="connsiteY5" fmla="*/ 1610504 h 2104536"/>
                <a:gd name="connsiteX6" fmla="*/ 2227988 w 3279076"/>
                <a:gd name="connsiteY6" fmla="*/ 1610504 h 2104536"/>
                <a:gd name="connsiteX7" fmla="*/ 1375877 w 3279076"/>
                <a:gd name="connsiteY7" fmla="*/ 1083659 h 2104536"/>
                <a:gd name="connsiteX8" fmla="*/ 483136 w 3279076"/>
                <a:gd name="connsiteY8" fmla="*/ 1538271 h 2104536"/>
                <a:gd name="connsiteX9" fmla="*/ 505201 w 3279076"/>
                <a:gd name="connsiteY9" fmla="*/ 875992 h 2104536"/>
                <a:gd name="connsiteX10" fmla="*/ 0 w 3279076"/>
                <a:gd name="connsiteY10" fmla="*/ 623947 h 2104536"/>
                <a:gd name="connsiteX0" fmla="*/ 0 w 3279076"/>
                <a:gd name="connsiteY0" fmla="*/ 623947 h 2104536"/>
                <a:gd name="connsiteX1" fmla="*/ 1671946 w 3279076"/>
                <a:gd name="connsiteY1" fmla="*/ 126048 h 2104536"/>
                <a:gd name="connsiteX2" fmla="*/ 3279076 w 3279076"/>
                <a:gd name="connsiteY2" fmla="*/ 1610510 h 2104536"/>
                <a:gd name="connsiteX3" fmla="*/ 3279075 w 3279076"/>
                <a:gd name="connsiteY3" fmla="*/ 1610507 h 2104536"/>
                <a:gd name="connsiteX4" fmla="*/ 2848093 w 3279076"/>
                <a:gd name="connsiteY4" fmla="*/ 2104536 h 2104536"/>
                <a:gd name="connsiteX5" fmla="*/ 2227988 w 3279076"/>
                <a:gd name="connsiteY5" fmla="*/ 1610504 h 2104536"/>
                <a:gd name="connsiteX6" fmla="*/ 2227988 w 3279076"/>
                <a:gd name="connsiteY6" fmla="*/ 1610504 h 2104536"/>
                <a:gd name="connsiteX7" fmla="*/ 1375877 w 3279076"/>
                <a:gd name="connsiteY7" fmla="*/ 1083659 h 2104536"/>
                <a:gd name="connsiteX8" fmla="*/ 483136 w 3279076"/>
                <a:gd name="connsiteY8" fmla="*/ 1538271 h 2104536"/>
                <a:gd name="connsiteX9" fmla="*/ 505201 w 3279076"/>
                <a:gd name="connsiteY9" fmla="*/ 875992 h 2104536"/>
                <a:gd name="connsiteX10" fmla="*/ 0 w 3279076"/>
                <a:gd name="connsiteY10" fmla="*/ 623947 h 2104536"/>
                <a:gd name="connsiteX0" fmla="*/ 0 w 3279076"/>
                <a:gd name="connsiteY0" fmla="*/ 623947 h 2104536"/>
                <a:gd name="connsiteX1" fmla="*/ 1671946 w 3279076"/>
                <a:gd name="connsiteY1" fmla="*/ 126048 h 2104536"/>
                <a:gd name="connsiteX2" fmla="*/ 3279076 w 3279076"/>
                <a:gd name="connsiteY2" fmla="*/ 1610510 h 2104536"/>
                <a:gd name="connsiteX3" fmla="*/ 3279075 w 3279076"/>
                <a:gd name="connsiteY3" fmla="*/ 1610507 h 2104536"/>
                <a:gd name="connsiteX4" fmla="*/ 2848093 w 3279076"/>
                <a:gd name="connsiteY4" fmla="*/ 2104536 h 2104536"/>
                <a:gd name="connsiteX5" fmla="*/ 2227988 w 3279076"/>
                <a:gd name="connsiteY5" fmla="*/ 1610504 h 2104536"/>
                <a:gd name="connsiteX6" fmla="*/ 2227988 w 3279076"/>
                <a:gd name="connsiteY6" fmla="*/ 1610504 h 2104536"/>
                <a:gd name="connsiteX7" fmla="*/ 1375877 w 3279076"/>
                <a:gd name="connsiteY7" fmla="*/ 1083659 h 2104536"/>
                <a:gd name="connsiteX8" fmla="*/ 483136 w 3279076"/>
                <a:gd name="connsiteY8" fmla="*/ 1538271 h 2104536"/>
                <a:gd name="connsiteX9" fmla="*/ 505201 w 3279076"/>
                <a:gd name="connsiteY9" fmla="*/ 875992 h 2104536"/>
                <a:gd name="connsiteX10" fmla="*/ 0 w 3279076"/>
                <a:gd name="connsiteY10" fmla="*/ 623947 h 2104536"/>
                <a:gd name="connsiteX0" fmla="*/ 0 w 3279076"/>
                <a:gd name="connsiteY0" fmla="*/ 623947 h 2104536"/>
                <a:gd name="connsiteX1" fmla="*/ 1671946 w 3279076"/>
                <a:gd name="connsiteY1" fmla="*/ 126048 h 2104536"/>
                <a:gd name="connsiteX2" fmla="*/ 3279076 w 3279076"/>
                <a:gd name="connsiteY2" fmla="*/ 1610510 h 2104536"/>
                <a:gd name="connsiteX3" fmla="*/ 3279075 w 3279076"/>
                <a:gd name="connsiteY3" fmla="*/ 1610507 h 2104536"/>
                <a:gd name="connsiteX4" fmla="*/ 2848093 w 3279076"/>
                <a:gd name="connsiteY4" fmla="*/ 2104536 h 2104536"/>
                <a:gd name="connsiteX5" fmla="*/ 2227988 w 3279076"/>
                <a:gd name="connsiteY5" fmla="*/ 1610504 h 2104536"/>
                <a:gd name="connsiteX6" fmla="*/ 2227988 w 3279076"/>
                <a:gd name="connsiteY6" fmla="*/ 1610504 h 2104536"/>
                <a:gd name="connsiteX7" fmla="*/ 1375877 w 3279076"/>
                <a:gd name="connsiteY7" fmla="*/ 1083659 h 2104536"/>
                <a:gd name="connsiteX8" fmla="*/ 483136 w 3279076"/>
                <a:gd name="connsiteY8" fmla="*/ 1538271 h 2104536"/>
                <a:gd name="connsiteX9" fmla="*/ 505201 w 3279076"/>
                <a:gd name="connsiteY9" fmla="*/ 875992 h 2104536"/>
                <a:gd name="connsiteX10" fmla="*/ 0 w 3279076"/>
                <a:gd name="connsiteY10" fmla="*/ 623947 h 2104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79076" h="2104536">
                  <a:moveTo>
                    <a:pt x="0" y="623947"/>
                  </a:moveTo>
                  <a:cubicBezTo>
                    <a:pt x="386672" y="216217"/>
                    <a:pt x="1074126" y="0"/>
                    <a:pt x="1671946" y="126048"/>
                  </a:cubicBezTo>
                  <a:cubicBezTo>
                    <a:pt x="2438867" y="280774"/>
                    <a:pt x="3083812" y="841561"/>
                    <a:pt x="3279076" y="1610510"/>
                  </a:cubicBezTo>
                  <a:cubicBezTo>
                    <a:pt x="3279076" y="1610509"/>
                    <a:pt x="3279075" y="1610508"/>
                    <a:pt x="3279075" y="1610507"/>
                  </a:cubicBezTo>
                  <a:lnTo>
                    <a:pt x="2848093" y="2104536"/>
                  </a:lnTo>
                  <a:lnTo>
                    <a:pt x="2227988" y="1610504"/>
                  </a:lnTo>
                  <a:lnTo>
                    <a:pt x="2227988" y="1610504"/>
                  </a:lnTo>
                  <a:cubicBezTo>
                    <a:pt x="2055444" y="1298135"/>
                    <a:pt x="1732428" y="1098420"/>
                    <a:pt x="1375877" y="1083659"/>
                  </a:cubicBezTo>
                  <a:cubicBezTo>
                    <a:pt x="1028023" y="1057676"/>
                    <a:pt x="722335" y="1230632"/>
                    <a:pt x="483136" y="1538271"/>
                  </a:cubicBezTo>
                  <a:lnTo>
                    <a:pt x="505201" y="875992"/>
                  </a:lnTo>
                  <a:lnTo>
                    <a:pt x="0" y="623947"/>
                  </a:lnTo>
                  <a:close/>
                </a:path>
              </a:pathLst>
            </a:custGeom>
            <a:solidFill>
              <a:schemeClr val="bg2"/>
            </a:solidFill>
            <a:ln>
              <a:solidFill>
                <a:schemeClr val="tx2"/>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985" tIns="89985" rIns="89985" bIns="89985" numCol="1" spcCol="1270" anchor="ctr" anchorCtr="0">
              <a:noAutofit/>
            </a:bodyPr>
            <a:lstStyle/>
            <a:p>
              <a:pPr algn="ctr" defTabSz="666694">
                <a:lnSpc>
                  <a:spcPct val="90000"/>
                </a:lnSpc>
                <a:spcBef>
                  <a:spcPct val="0"/>
                </a:spcBef>
                <a:spcAft>
                  <a:spcPct val="35000"/>
                </a:spcAft>
              </a:pPr>
              <a:endParaRPr lang="en-US" sz="1500">
                <a:gradFill>
                  <a:gsLst>
                    <a:gs pos="0">
                      <a:schemeClr val="bg1"/>
                    </a:gs>
                    <a:gs pos="100000">
                      <a:schemeClr val="bg1"/>
                    </a:gs>
                  </a:gsLst>
                  <a:lin ang="5400000" scaled="0"/>
                </a:gradFill>
                <a:sym typeface="Segoe UI"/>
              </a:endParaRPr>
            </a:p>
          </p:txBody>
        </p:sp>
        <p:sp>
          <p:nvSpPr>
            <p:cNvPr id="38" name="Rectangle 37"/>
            <p:cNvSpPr/>
            <p:nvPr>
              <p:custDataLst>
                <p:tags r:id="rId13"/>
              </p:custDataLst>
            </p:nvPr>
          </p:nvSpPr>
          <p:spPr>
            <a:xfrm rot="2162626">
              <a:off x="7187797" y="2096550"/>
              <a:ext cx="1117854" cy="729812"/>
            </a:xfrm>
            <a:prstGeom prst="rect">
              <a:avLst/>
            </a:prstGeom>
          </p:spPr>
          <p:txBody>
            <a:bodyPr wrap="none">
              <a:prstTxWarp prst="textArchUp">
                <a:avLst/>
              </a:prstTxWarp>
              <a:spAutoFit/>
            </a:bodyPr>
            <a:lstStyle/>
            <a:p>
              <a:pPr algn="ctr" defTabSz="666694">
                <a:lnSpc>
                  <a:spcPct val="90000"/>
                </a:lnSpc>
                <a:spcBef>
                  <a:spcPct val="0"/>
                </a:spcBef>
                <a:spcAft>
                  <a:spcPct val="35000"/>
                </a:spcAft>
              </a:pPr>
              <a:r>
                <a:rPr lang="en-US" dirty="0">
                  <a:gradFill>
                    <a:gsLst>
                      <a:gs pos="0">
                        <a:srgbClr val="FFFFFF"/>
                      </a:gs>
                      <a:gs pos="100000">
                        <a:srgbClr val="FFFFFF"/>
                      </a:gs>
                    </a:gsLst>
                    <a:lin ang="5400000" scaled="0"/>
                  </a:gradFill>
                  <a:sym typeface="Segoe UI"/>
                </a:rPr>
                <a:t>Assess</a:t>
              </a:r>
            </a:p>
          </p:txBody>
        </p:sp>
        <p:sp>
          <p:nvSpPr>
            <p:cNvPr id="39" name="Rectangle 38"/>
            <p:cNvSpPr/>
            <p:nvPr>
              <p:custDataLst>
                <p:tags r:id="rId14"/>
              </p:custDataLst>
            </p:nvPr>
          </p:nvSpPr>
          <p:spPr>
            <a:xfrm rot="9194893">
              <a:off x="7094349" y="2947799"/>
              <a:ext cx="1117854" cy="729812"/>
            </a:xfrm>
            <a:prstGeom prst="rect">
              <a:avLst/>
            </a:prstGeom>
          </p:spPr>
          <p:txBody>
            <a:bodyPr wrap="none">
              <a:prstTxWarp prst="textArchUp">
                <a:avLst/>
              </a:prstTxWarp>
              <a:spAutoFit/>
            </a:bodyPr>
            <a:lstStyle/>
            <a:p>
              <a:pPr algn="ctr" defTabSz="666694">
                <a:lnSpc>
                  <a:spcPct val="90000"/>
                </a:lnSpc>
                <a:spcBef>
                  <a:spcPct val="0"/>
                </a:spcBef>
                <a:spcAft>
                  <a:spcPct val="35000"/>
                </a:spcAft>
              </a:pPr>
              <a:r>
                <a:rPr lang="en-US" dirty="0">
                  <a:solidFill>
                    <a:schemeClr val="tx2"/>
                  </a:solidFill>
                  <a:sym typeface="Segoe UI"/>
                </a:rPr>
                <a:t>P</a:t>
              </a:r>
              <a:r>
                <a:rPr lang="en-US" dirty="0" smtClean="0">
                  <a:solidFill>
                    <a:schemeClr val="tx2"/>
                  </a:solidFill>
                  <a:sym typeface="Segoe UI"/>
                </a:rPr>
                <a:t>lan</a:t>
              </a:r>
              <a:endParaRPr lang="en-US" dirty="0">
                <a:solidFill>
                  <a:schemeClr val="tx2"/>
                </a:solidFill>
                <a:sym typeface="Segoe UI"/>
              </a:endParaRPr>
            </a:p>
          </p:txBody>
        </p:sp>
        <p:sp>
          <p:nvSpPr>
            <p:cNvPr id="40" name="Rectangle 39"/>
            <p:cNvSpPr/>
            <p:nvPr>
              <p:custDataLst>
                <p:tags r:id="rId15"/>
              </p:custDataLst>
            </p:nvPr>
          </p:nvSpPr>
          <p:spPr>
            <a:xfrm rot="5809634">
              <a:off x="6080312" y="2245638"/>
              <a:ext cx="1790699" cy="1171577"/>
            </a:xfrm>
            <a:prstGeom prst="rect">
              <a:avLst/>
            </a:prstGeom>
          </p:spPr>
          <p:txBody>
            <a:bodyPr wrap="none">
              <a:prstTxWarp prst="textArchDown">
                <a:avLst/>
              </a:prstTxWarp>
              <a:spAutoFit/>
            </a:bodyPr>
            <a:lstStyle/>
            <a:p>
              <a:pPr algn="ctr" defTabSz="666694">
                <a:lnSpc>
                  <a:spcPct val="90000"/>
                </a:lnSpc>
                <a:spcBef>
                  <a:spcPct val="0"/>
                </a:spcBef>
                <a:spcAft>
                  <a:spcPct val="35000"/>
                </a:spcAft>
              </a:pPr>
              <a:r>
                <a:rPr lang="en-US" dirty="0" smtClean="0">
                  <a:solidFill>
                    <a:schemeClr val="tx2"/>
                  </a:solidFill>
                  <a:sym typeface="Segoe UI"/>
                </a:rPr>
                <a:t>Realize Value</a:t>
              </a:r>
              <a:endParaRPr lang="en-US" dirty="0">
                <a:solidFill>
                  <a:schemeClr val="tx2"/>
                </a:solidFill>
                <a:sym typeface="Segoe UI"/>
              </a:endParaRPr>
            </a:p>
          </p:txBody>
        </p:sp>
      </p:grpSp>
      <p:sp>
        <p:nvSpPr>
          <p:cNvPr id="26" name="Rectangle 25"/>
          <p:cNvSpPr/>
          <p:nvPr>
            <p:custDataLst>
              <p:tags r:id="rId5"/>
            </p:custDataLst>
          </p:nvPr>
        </p:nvSpPr>
        <p:spPr bwMode="auto">
          <a:xfrm>
            <a:off x="388939" y="3286400"/>
            <a:ext cx="4218316" cy="1297977"/>
          </a:xfrm>
          <a:prstGeom prst="rect">
            <a:avLst/>
          </a:prstGeom>
          <a:solidFill>
            <a:schemeClr val="accent5"/>
          </a:solidFill>
          <a:ln w="9525" cap="flat" cmpd="sng" algn="ctr">
            <a:noFill/>
            <a:prstDash val="solid"/>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45716" tIns="45716" rIns="45716" bIns="45716" numCol="1" rtlCol="0" anchor="b" anchorCtr="0" compatLnSpc="1">
            <a:prstTxWarp prst="textNoShape">
              <a:avLst/>
            </a:prstTxWarp>
          </a:bodyPr>
          <a:lstStyle/>
          <a:p>
            <a:pPr algn="ctr" defTabSz="914023" fontAlgn="base">
              <a:spcBef>
                <a:spcPct val="0"/>
              </a:spcBef>
              <a:spcAft>
                <a:spcPct val="0"/>
              </a:spcAft>
            </a:pPr>
            <a:r>
              <a:rPr lang="en-US" dirty="0" smtClean="0">
                <a:solidFill>
                  <a:schemeClr val="tx1"/>
                </a:solidFill>
                <a:sym typeface="Segoe UI"/>
              </a:rPr>
              <a:t>assess quickly</a:t>
            </a:r>
            <a:endParaRPr lang="en-US" dirty="0">
              <a:solidFill>
                <a:schemeClr val="tx1"/>
              </a:solidFill>
              <a:sym typeface="Segoe UI"/>
            </a:endParaRPr>
          </a:p>
        </p:txBody>
      </p:sp>
      <p:pic>
        <p:nvPicPr>
          <p:cNvPr id="21" name="Picture 8" descr="\\MAGNUM\Projects\Microsoft\Cloud Power FY12\Design\Icons\PNGs\Cross Platform.png"/>
          <p:cNvPicPr>
            <a:picLocks noChangeAspect="1" noChangeArrowheads="1"/>
          </p:cNvPicPr>
          <p:nvPr>
            <p:custDataLst>
              <p:tags r:id="rId6"/>
            </p:custDataLst>
          </p:nvPr>
        </p:nvPicPr>
        <p:blipFill rotWithShape="1">
          <a:blip r:embed="rId21" cstate="print">
            <a:extLst>
              <a:ext uri="{BEBA8EAE-BF5A-486C-A8C5-ECC9F3942E4B}">
                <a14:imgProps xmlns:a14="http://schemas.microsoft.com/office/drawing/2010/main">
                  <a14:imgLayer r:embed="rId22">
                    <a14:imgEffect>
                      <a14:brightnessContrast bright="100000" contrast="100000"/>
                    </a14:imgEffect>
                  </a14:imgLayer>
                </a14:imgProps>
              </a:ext>
            </a:extLst>
          </a:blip>
          <a:srcRect l="9857" t="11029" r="9855" b="11640"/>
          <a:stretch/>
        </p:blipFill>
        <p:spPr bwMode="auto">
          <a:xfrm>
            <a:off x="3373734" y="3399451"/>
            <a:ext cx="1112876" cy="1071872"/>
          </a:xfrm>
          <a:prstGeom prst="rect">
            <a:avLst/>
          </a:prstGeom>
          <a:noFill/>
          <a:ln>
            <a:noFill/>
          </a:ln>
        </p:spPr>
      </p:pic>
      <p:sp>
        <p:nvSpPr>
          <p:cNvPr id="20" name="Rectangle 19"/>
          <p:cNvSpPr/>
          <p:nvPr>
            <p:custDataLst>
              <p:tags r:id="rId7"/>
            </p:custDataLst>
          </p:nvPr>
        </p:nvSpPr>
        <p:spPr bwMode="auto">
          <a:xfrm>
            <a:off x="377898" y="1078824"/>
            <a:ext cx="1371600" cy="2103120"/>
          </a:xfrm>
          <a:prstGeom prst="rect">
            <a:avLst/>
          </a:prstGeom>
          <a:solidFill>
            <a:schemeClr val="tx2"/>
          </a:solidFill>
          <a:ln w="9525" cap="flat" cmpd="sng" algn="ctr">
            <a:noFill/>
            <a:prstDash val="solid"/>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34294" tIns="34294" rIns="34294" bIns="34294" numCol="1" rtlCol="0" anchor="b" anchorCtr="0" compatLnSpc="1">
            <a:prstTxWarp prst="textNoShape">
              <a:avLst/>
            </a:prstTxWarp>
          </a:bodyPr>
          <a:lstStyle/>
          <a:p>
            <a:pPr algn="ctr" defTabSz="914023" fontAlgn="base">
              <a:spcBef>
                <a:spcPct val="0"/>
              </a:spcBef>
              <a:spcAft>
                <a:spcPct val="0"/>
              </a:spcAft>
            </a:pPr>
            <a:r>
              <a:rPr lang="en-US" dirty="0" err="1" smtClean="0">
                <a:solidFill>
                  <a:schemeClr val="tx1"/>
                </a:solidFill>
                <a:sym typeface="Segoe UI"/>
              </a:rPr>
              <a:t>apm</a:t>
            </a:r>
            <a:r>
              <a:rPr lang="en-US" dirty="0" smtClean="0">
                <a:solidFill>
                  <a:schemeClr val="tx1"/>
                </a:solidFill>
                <a:sym typeface="Segoe UI"/>
              </a:rPr>
              <a:t> capabilities</a:t>
            </a:r>
            <a:endParaRPr lang="en-US" dirty="0">
              <a:solidFill>
                <a:schemeClr val="tx1"/>
              </a:solidFill>
              <a:sym typeface="Segoe UI"/>
            </a:endParaRPr>
          </a:p>
        </p:txBody>
      </p:sp>
      <p:grpSp>
        <p:nvGrpSpPr>
          <p:cNvPr id="28" name="Group 27"/>
          <p:cNvGrpSpPr/>
          <p:nvPr/>
        </p:nvGrpSpPr>
        <p:grpSpPr>
          <a:xfrm>
            <a:off x="509220" y="1941124"/>
            <a:ext cx="1108956" cy="520332"/>
            <a:chOff x="3403866" y="2844463"/>
            <a:chExt cx="1624013" cy="762001"/>
          </a:xfrm>
        </p:grpSpPr>
        <p:sp>
          <p:nvSpPr>
            <p:cNvPr id="31" name="Freeform 11"/>
            <p:cNvSpPr>
              <a:spLocks/>
            </p:cNvSpPr>
            <p:nvPr/>
          </p:nvSpPr>
          <p:spPr bwMode="auto">
            <a:xfrm>
              <a:off x="4556391" y="2844463"/>
              <a:ext cx="471488" cy="762000"/>
            </a:xfrm>
            <a:custGeom>
              <a:avLst/>
              <a:gdLst>
                <a:gd name="T0" fmla="*/ 16 w 126"/>
                <a:gd name="T1" fmla="*/ 112 h 203"/>
                <a:gd name="T2" fmla="*/ 2 w 126"/>
                <a:gd name="T3" fmla="*/ 105 h 203"/>
                <a:gd name="T4" fmla="*/ 2 w 126"/>
                <a:gd name="T5" fmla="*/ 90 h 203"/>
                <a:gd name="T6" fmla="*/ 50 w 126"/>
                <a:gd name="T7" fmla="*/ 7 h 203"/>
                <a:gd name="T8" fmla="*/ 63 w 126"/>
                <a:gd name="T9" fmla="*/ 0 h 203"/>
                <a:gd name="T10" fmla="*/ 76 w 126"/>
                <a:gd name="T11" fmla="*/ 7 h 203"/>
                <a:gd name="T12" fmla="*/ 124 w 126"/>
                <a:gd name="T13" fmla="*/ 90 h 203"/>
                <a:gd name="T14" fmla="*/ 124 w 126"/>
                <a:gd name="T15" fmla="*/ 105 h 203"/>
                <a:gd name="T16" fmla="*/ 111 w 126"/>
                <a:gd name="T17" fmla="*/ 112 h 203"/>
                <a:gd name="T18" fmla="*/ 102 w 126"/>
                <a:gd name="T19" fmla="*/ 112 h 203"/>
                <a:gd name="T20" fmla="*/ 102 w 126"/>
                <a:gd name="T21" fmla="*/ 188 h 203"/>
                <a:gd name="T22" fmla="*/ 98 w 126"/>
                <a:gd name="T23" fmla="*/ 199 h 203"/>
                <a:gd name="T24" fmla="*/ 87 w 126"/>
                <a:gd name="T25" fmla="*/ 203 h 203"/>
                <a:gd name="T26" fmla="*/ 39 w 126"/>
                <a:gd name="T27" fmla="*/ 203 h 203"/>
                <a:gd name="T28" fmla="*/ 28 w 126"/>
                <a:gd name="T29" fmla="*/ 199 h 203"/>
                <a:gd name="T30" fmla="*/ 24 w 126"/>
                <a:gd name="T31" fmla="*/ 188 h 203"/>
                <a:gd name="T32" fmla="*/ 24 w 126"/>
                <a:gd name="T33" fmla="*/ 112 h 203"/>
                <a:gd name="T34" fmla="*/ 16 w 126"/>
                <a:gd name="T35" fmla="*/ 11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6" h="203">
                  <a:moveTo>
                    <a:pt x="16" y="112"/>
                  </a:moveTo>
                  <a:cubicBezTo>
                    <a:pt x="10" y="112"/>
                    <a:pt x="5" y="109"/>
                    <a:pt x="2" y="105"/>
                  </a:cubicBezTo>
                  <a:cubicBezTo>
                    <a:pt x="0" y="100"/>
                    <a:pt x="0" y="94"/>
                    <a:pt x="2" y="90"/>
                  </a:cubicBezTo>
                  <a:cubicBezTo>
                    <a:pt x="50" y="7"/>
                    <a:pt x="50" y="7"/>
                    <a:pt x="50" y="7"/>
                  </a:cubicBezTo>
                  <a:cubicBezTo>
                    <a:pt x="53" y="3"/>
                    <a:pt x="57" y="0"/>
                    <a:pt x="63" y="0"/>
                  </a:cubicBezTo>
                  <a:cubicBezTo>
                    <a:pt x="69" y="0"/>
                    <a:pt x="73" y="3"/>
                    <a:pt x="76" y="7"/>
                  </a:cubicBezTo>
                  <a:cubicBezTo>
                    <a:pt x="124" y="90"/>
                    <a:pt x="124" y="90"/>
                    <a:pt x="124" y="90"/>
                  </a:cubicBezTo>
                  <a:cubicBezTo>
                    <a:pt x="126" y="94"/>
                    <a:pt x="126" y="100"/>
                    <a:pt x="124" y="105"/>
                  </a:cubicBezTo>
                  <a:cubicBezTo>
                    <a:pt x="121" y="109"/>
                    <a:pt x="116" y="112"/>
                    <a:pt x="111" y="112"/>
                  </a:cubicBezTo>
                  <a:cubicBezTo>
                    <a:pt x="102" y="112"/>
                    <a:pt x="102" y="112"/>
                    <a:pt x="102" y="112"/>
                  </a:cubicBezTo>
                  <a:cubicBezTo>
                    <a:pt x="102" y="188"/>
                    <a:pt x="102" y="188"/>
                    <a:pt x="102" y="188"/>
                  </a:cubicBezTo>
                  <a:cubicBezTo>
                    <a:pt x="102" y="192"/>
                    <a:pt x="100" y="196"/>
                    <a:pt x="98" y="199"/>
                  </a:cubicBezTo>
                  <a:cubicBezTo>
                    <a:pt x="95" y="201"/>
                    <a:pt x="91" y="203"/>
                    <a:pt x="87" y="203"/>
                  </a:cubicBezTo>
                  <a:cubicBezTo>
                    <a:pt x="39" y="203"/>
                    <a:pt x="39" y="203"/>
                    <a:pt x="39" y="203"/>
                  </a:cubicBezTo>
                  <a:cubicBezTo>
                    <a:pt x="35" y="203"/>
                    <a:pt x="31" y="201"/>
                    <a:pt x="28" y="199"/>
                  </a:cubicBezTo>
                  <a:cubicBezTo>
                    <a:pt x="26" y="196"/>
                    <a:pt x="24" y="192"/>
                    <a:pt x="24" y="188"/>
                  </a:cubicBezTo>
                  <a:cubicBezTo>
                    <a:pt x="24" y="112"/>
                    <a:pt x="24" y="112"/>
                    <a:pt x="24" y="112"/>
                  </a:cubicBezTo>
                  <a:cubicBezTo>
                    <a:pt x="16" y="112"/>
                    <a:pt x="16" y="112"/>
                    <a:pt x="16" y="1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sym typeface="Segoe UI"/>
              </a:endParaRPr>
            </a:p>
          </p:txBody>
        </p:sp>
        <p:sp>
          <p:nvSpPr>
            <p:cNvPr id="34" name="Freeform 12"/>
            <p:cNvSpPr>
              <a:spLocks/>
            </p:cNvSpPr>
            <p:nvPr/>
          </p:nvSpPr>
          <p:spPr bwMode="auto">
            <a:xfrm>
              <a:off x="3978541" y="2961938"/>
              <a:ext cx="476250" cy="644525"/>
            </a:xfrm>
            <a:custGeom>
              <a:avLst/>
              <a:gdLst>
                <a:gd name="T0" fmla="*/ 16 w 127"/>
                <a:gd name="T1" fmla="*/ 113 h 172"/>
                <a:gd name="T2" fmla="*/ 3 w 127"/>
                <a:gd name="T3" fmla="*/ 105 h 172"/>
                <a:gd name="T4" fmla="*/ 3 w 127"/>
                <a:gd name="T5" fmla="*/ 90 h 172"/>
                <a:gd name="T6" fmla="*/ 51 w 127"/>
                <a:gd name="T7" fmla="*/ 8 h 172"/>
                <a:gd name="T8" fmla="*/ 64 w 127"/>
                <a:gd name="T9" fmla="*/ 0 h 172"/>
                <a:gd name="T10" fmla="*/ 77 w 127"/>
                <a:gd name="T11" fmla="*/ 8 h 172"/>
                <a:gd name="T12" fmla="*/ 124 w 127"/>
                <a:gd name="T13" fmla="*/ 90 h 172"/>
                <a:gd name="T14" fmla="*/ 124 w 127"/>
                <a:gd name="T15" fmla="*/ 105 h 172"/>
                <a:gd name="T16" fmla="*/ 111 w 127"/>
                <a:gd name="T17" fmla="*/ 113 h 172"/>
                <a:gd name="T18" fmla="*/ 103 w 127"/>
                <a:gd name="T19" fmla="*/ 113 h 172"/>
                <a:gd name="T20" fmla="*/ 103 w 127"/>
                <a:gd name="T21" fmla="*/ 157 h 172"/>
                <a:gd name="T22" fmla="*/ 98 w 127"/>
                <a:gd name="T23" fmla="*/ 168 h 172"/>
                <a:gd name="T24" fmla="*/ 88 w 127"/>
                <a:gd name="T25" fmla="*/ 172 h 172"/>
                <a:gd name="T26" fmla="*/ 40 w 127"/>
                <a:gd name="T27" fmla="*/ 172 h 172"/>
                <a:gd name="T28" fmla="*/ 29 w 127"/>
                <a:gd name="T29" fmla="*/ 168 h 172"/>
                <a:gd name="T30" fmla="*/ 25 w 127"/>
                <a:gd name="T31" fmla="*/ 157 h 172"/>
                <a:gd name="T32" fmla="*/ 25 w 127"/>
                <a:gd name="T33" fmla="*/ 113 h 172"/>
                <a:gd name="T34" fmla="*/ 16 w 127"/>
                <a:gd name="T35" fmla="*/ 11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7" h="172">
                  <a:moveTo>
                    <a:pt x="16" y="113"/>
                  </a:moveTo>
                  <a:cubicBezTo>
                    <a:pt x="11" y="113"/>
                    <a:pt x="6" y="110"/>
                    <a:pt x="3" y="105"/>
                  </a:cubicBezTo>
                  <a:cubicBezTo>
                    <a:pt x="0" y="101"/>
                    <a:pt x="1" y="95"/>
                    <a:pt x="3" y="90"/>
                  </a:cubicBezTo>
                  <a:cubicBezTo>
                    <a:pt x="51" y="8"/>
                    <a:pt x="51" y="8"/>
                    <a:pt x="51" y="8"/>
                  </a:cubicBezTo>
                  <a:cubicBezTo>
                    <a:pt x="53" y="4"/>
                    <a:pt x="58" y="0"/>
                    <a:pt x="64" y="0"/>
                  </a:cubicBezTo>
                  <a:cubicBezTo>
                    <a:pt x="69" y="0"/>
                    <a:pt x="74" y="4"/>
                    <a:pt x="77" y="8"/>
                  </a:cubicBezTo>
                  <a:cubicBezTo>
                    <a:pt x="124" y="90"/>
                    <a:pt x="124" y="90"/>
                    <a:pt x="124" y="90"/>
                  </a:cubicBezTo>
                  <a:cubicBezTo>
                    <a:pt x="127" y="95"/>
                    <a:pt x="127" y="101"/>
                    <a:pt x="124" y="105"/>
                  </a:cubicBezTo>
                  <a:cubicBezTo>
                    <a:pt x="122" y="110"/>
                    <a:pt x="116" y="113"/>
                    <a:pt x="111" y="113"/>
                  </a:cubicBezTo>
                  <a:cubicBezTo>
                    <a:pt x="103" y="113"/>
                    <a:pt x="103" y="113"/>
                    <a:pt x="103" y="113"/>
                  </a:cubicBezTo>
                  <a:cubicBezTo>
                    <a:pt x="103" y="157"/>
                    <a:pt x="103" y="157"/>
                    <a:pt x="103" y="157"/>
                  </a:cubicBezTo>
                  <a:cubicBezTo>
                    <a:pt x="103" y="161"/>
                    <a:pt x="101" y="165"/>
                    <a:pt x="98" y="168"/>
                  </a:cubicBezTo>
                  <a:cubicBezTo>
                    <a:pt x="95" y="170"/>
                    <a:pt x="91" y="172"/>
                    <a:pt x="88" y="172"/>
                  </a:cubicBezTo>
                  <a:cubicBezTo>
                    <a:pt x="40" y="172"/>
                    <a:pt x="40" y="172"/>
                    <a:pt x="40" y="172"/>
                  </a:cubicBezTo>
                  <a:cubicBezTo>
                    <a:pt x="36" y="172"/>
                    <a:pt x="32" y="170"/>
                    <a:pt x="29" y="168"/>
                  </a:cubicBezTo>
                  <a:cubicBezTo>
                    <a:pt x="26" y="165"/>
                    <a:pt x="25" y="161"/>
                    <a:pt x="25" y="157"/>
                  </a:cubicBezTo>
                  <a:cubicBezTo>
                    <a:pt x="25" y="113"/>
                    <a:pt x="25" y="113"/>
                    <a:pt x="25" y="113"/>
                  </a:cubicBezTo>
                  <a:cubicBezTo>
                    <a:pt x="16" y="113"/>
                    <a:pt x="16" y="113"/>
                    <a:pt x="16" y="1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sym typeface="Segoe UI"/>
              </a:endParaRPr>
            </a:p>
          </p:txBody>
        </p:sp>
        <p:sp>
          <p:nvSpPr>
            <p:cNvPr id="42" name="Freeform 13"/>
            <p:cNvSpPr>
              <a:spLocks/>
            </p:cNvSpPr>
            <p:nvPr/>
          </p:nvSpPr>
          <p:spPr bwMode="auto">
            <a:xfrm>
              <a:off x="3403866" y="3077826"/>
              <a:ext cx="473075" cy="528638"/>
            </a:xfrm>
            <a:custGeom>
              <a:avLst/>
              <a:gdLst>
                <a:gd name="T0" fmla="*/ 15 w 126"/>
                <a:gd name="T1" fmla="*/ 112 h 141"/>
                <a:gd name="T2" fmla="*/ 2 w 126"/>
                <a:gd name="T3" fmla="*/ 105 h 141"/>
                <a:gd name="T4" fmla="*/ 2 w 126"/>
                <a:gd name="T5" fmla="*/ 89 h 141"/>
                <a:gd name="T6" fmla="*/ 50 w 126"/>
                <a:gd name="T7" fmla="*/ 7 h 141"/>
                <a:gd name="T8" fmla="*/ 63 w 126"/>
                <a:gd name="T9" fmla="*/ 0 h 141"/>
                <a:gd name="T10" fmla="*/ 76 w 126"/>
                <a:gd name="T11" fmla="*/ 7 h 141"/>
                <a:gd name="T12" fmla="*/ 123 w 126"/>
                <a:gd name="T13" fmla="*/ 89 h 141"/>
                <a:gd name="T14" fmla="*/ 123 w 126"/>
                <a:gd name="T15" fmla="*/ 105 h 141"/>
                <a:gd name="T16" fmla="*/ 110 w 126"/>
                <a:gd name="T17" fmla="*/ 112 h 141"/>
                <a:gd name="T18" fmla="*/ 102 w 126"/>
                <a:gd name="T19" fmla="*/ 112 h 141"/>
                <a:gd name="T20" fmla="*/ 102 w 126"/>
                <a:gd name="T21" fmla="*/ 126 h 141"/>
                <a:gd name="T22" fmla="*/ 97 w 126"/>
                <a:gd name="T23" fmla="*/ 137 h 141"/>
                <a:gd name="T24" fmla="*/ 87 w 126"/>
                <a:gd name="T25" fmla="*/ 141 h 141"/>
                <a:gd name="T26" fmla="*/ 39 w 126"/>
                <a:gd name="T27" fmla="*/ 141 h 141"/>
                <a:gd name="T28" fmla="*/ 28 w 126"/>
                <a:gd name="T29" fmla="*/ 137 h 141"/>
                <a:gd name="T30" fmla="*/ 24 w 126"/>
                <a:gd name="T31" fmla="*/ 126 h 141"/>
                <a:gd name="T32" fmla="*/ 24 w 126"/>
                <a:gd name="T33" fmla="*/ 112 h 141"/>
                <a:gd name="T34" fmla="*/ 15 w 126"/>
                <a:gd name="T35" fmla="*/ 112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6" h="141">
                  <a:moveTo>
                    <a:pt x="15" y="112"/>
                  </a:moveTo>
                  <a:cubicBezTo>
                    <a:pt x="10" y="112"/>
                    <a:pt x="5" y="109"/>
                    <a:pt x="2" y="105"/>
                  </a:cubicBezTo>
                  <a:cubicBezTo>
                    <a:pt x="0" y="100"/>
                    <a:pt x="0" y="94"/>
                    <a:pt x="2" y="89"/>
                  </a:cubicBezTo>
                  <a:cubicBezTo>
                    <a:pt x="50" y="7"/>
                    <a:pt x="50" y="7"/>
                    <a:pt x="50" y="7"/>
                  </a:cubicBezTo>
                  <a:cubicBezTo>
                    <a:pt x="52" y="3"/>
                    <a:pt x="57" y="0"/>
                    <a:pt x="63" y="0"/>
                  </a:cubicBezTo>
                  <a:cubicBezTo>
                    <a:pt x="68" y="0"/>
                    <a:pt x="73" y="3"/>
                    <a:pt x="76" y="7"/>
                  </a:cubicBezTo>
                  <a:cubicBezTo>
                    <a:pt x="123" y="89"/>
                    <a:pt x="123" y="89"/>
                    <a:pt x="123" y="89"/>
                  </a:cubicBezTo>
                  <a:cubicBezTo>
                    <a:pt x="126" y="94"/>
                    <a:pt x="126" y="100"/>
                    <a:pt x="123" y="105"/>
                  </a:cubicBezTo>
                  <a:cubicBezTo>
                    <a:pt x="121" y="109"/>
                    <a:pt x="116" y="112"/>
                    <a:pt x="110" y="112"/>
                  </a:cubicBezTo>
                  <a:cubicBezTo>
                    <a:pt x="102" y="112"/>
                    <a:pt x="102" y="112"/>
                    <a:pt x="102" y="112"/>
                  </a:cubicBezTo>
                  <a:cubicBezTo>
                    <a:pt x="102" y="126"/>
                    <a:pt x="102" y="126"/>
                    <a:pt x="102" y="126"/>
                  </a:cubicBezTo>
                  <a:cubicBezTo>
                    <a:pt x="102" y="130"/>
                    <a:pt x="100" y="134"/>
                    <a:pt x="97" y="137"/>
                  </a:cubicBezTo>
                  <a:cubicBezTo>
                    <a:pt x="94" y="139"/>
                    <a:pt x="91" y="141"/>
                    <a:pt x="87" y="141"/>
                  </a:cubicBezTo>
                  <a:cubicBezTo>
                    <a:pt x="39" y="141"/>
                    <a:pt x="39" y="141"/>
                    <a:pt x="39" y="141"/>
                  </a:cubicBezTo>
                  <a:cubicBezTo>
                    <a:pt x="35" y="141"/>
                    <a:pt x="31" y="139"/>
                    <a:pt x="28" y="137"/>
                  </a:cubicBezTo>
                  <a:cubicBezTo>
                    <a:pt x="25" y="134"/>
                    <a:pt x="24" y="130"/>
                    <a:pt x="24" y="126"/>
                  </a:cubicBezTo>
                  <a:cubicBezTo>
                    <a:pt x="24" y="112"/>
                    <a:pt x="24" y="112"/>
                    <a:pt x="24" y="112"/>
                  </a:cubicBezTo>
                  <a:cubicBezTo>
                    <a:pt x="15" y="112"/>
                    <a:pt x="15" y="112"/>
                    <a:pt x="15" y="1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sym typeface="Segoe UI"/>
              </a:endParaRPr>
            </a:p>
          </p:txBody>
        </p:sp>
      </p:grpSp>
      <p:sp>
        <p:nvSpPr>
          <p:cNvPr id="23" name="Rectangle 22"/>
          <p:cNvSpPr/>
          <p:nvPr>
            <p:custDataLst>
              <p:tags r:id="rId8"/>
            </p:custDataLst>
          </p:nvPr>
        </p:nvSpPr>
        <p:spPr bwMode="auto">
          <a:xfrm>
            <a:off x="1806776" y="1078824"/>
            <a:ext cx="1371600" cy="2103120"/>
          </a:xfrm>
          <a:prstGeom prst="rect">
            <a:avLst/>
          </a:prstGeom>
          <a:solidFill>
            <a:schemeClr val="tx2"/>
          </a:solidFill>
          <a:ln w="9525" cap="flat" cmpd="sng" algn="ctr">
            <a:noFill/>
            <a:prstDash val="solid"/>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34294" tIns="34294" rIns="34294" bIns="34294" numCol="1" rtlCol="0" anchor="b" anchorCtr="0" compatLnSpc="1">
            <a:prstTxWarp prst="textNoShape">
              <a:avLst/>
            </a:prstTxWarp>
          </a:bodyPr>
          <a:lstStyle/>
          <a:p>
            <a:pPr algn="ctr" defTabSz="914023" fontAlgn="base">
              <a:spcBef>
                <a:spcPct val="0"/>
              </a:spcBef>
              <a:spcAft>
                <a:spcPct val="0"/>
              </a:spcAft>
            </a:pPr>
            <a:r>
              <a:rPr lang="en-US" dirty="0" err="1" smtClean="0">
                <a:solidFill>
                  <a:schemeClr val="tx1"/>
                </a:solidFill>
                <a:sym typeface="Segoe UI"/>
              </a:rPr>
              <a:t>apm</a:t>
            </a:r>
            <a:r>
              <a:rPr lang="en-US" dirty="0" smtClean="0">
                <a:solidFill>
                  <a:schemeClr val="tx1"/>
                </a:solidFill>
                <a:sym typeface="Segoe UI"/>
              </a:rPr>
              <a:t> strategy</a:t>
            </a:r>
            <a:endParaRPr lang="en-US" dirty="0">
              <a:solidFill>
                <a:schemeClr val="tx1"/>
              </a:solidFill>
              <a:sym typeface="Segoe UI"/>
            </a:endParaRPr>
          </a:p>
        </p:txBody>
      </p:sp>
      <p:sp>
        <p:nvSpPr>
          <p:cNvPr id="43" name="Freeform 19"/>
          <p:cNvSpPr>
            <a:spLocks/>
          </p:cNvSpPr>
          <p:nvPr/>
        </p:nvSpPr>
        <p:spPr bwMode="auto">
          <a:xfrm>
            <a:off x="2130591" y="1297522"/>
            <a:ext cx="723970" cy="1163936"/>
          </a:xfrm>
          <a:custGeom>
            <a:avLst/>
            <a:gdLst>
              <a:gd name="T0" fmla="*/ 1691 w 1694"/>
              <a:gd name="T1" fmla="*/ 1046 h 2719"/>
              <a:gd name="T2" fmla="*/ 1681 w 1694"/>
              <a:gd name="T3" fmla="*/ 869 h 2719"/>
              <a:gd name="T4" fmla="*/ 1679 w 1694"/>
              <a:gd name="T5" fmla="*/ 836 h 2719"/>
              <a:gd name="T6" fmla="*/ 1653 w 1694"/>
              <a:gd name="T7" fmla="*/ 815 h 2719"/>
              <a:gd name="T8" fmla="*/ 1050 w 1694"/>
              <a:gd name="T9" fmla="*/ 332 h 2719"/>
              <a:gd name="T10" fmla="*/ 1027 w 1694"/>
              <a:gd name="T11" fmla="*/ 48 h 2719"/>
              <a:gd name="T12" fmla="*/ 898 w 1694"/>
              <a:gd name="T13" fmla="*/ 0 h 2719"/>
              <a:gd name="T14" fmla="*/ 647 w 1694"/>
              <a:gd name="T15" fmla="*/ 224 h 2719"/>
              <a:gd name="T16" fmla="*/ 37 w 1694"/>
              <a:gd name="T17" fmla="*/ 1034 h 2719"/>
              <a:gd name="T18" fmla="*/ 1 w 1694"/>
              <a:gd name="T19" fmla="*/ 1735 h 2719"/>
              <a:gd name="T20" fmla="*/ 2 w 1694"/>
              <a:gd name="T21" fmla="*/ 1760 h 2719"/>
              <a:gd name="T22" fmla="*/ 3 w 1694"/>
              <a:gd name="T23" fmla="*/ 1947 h 2719"/>
              <a:gd name="T24" fmla="*/ 3 w 1694"/>
              <a:gd name="T25" fmla="*/ 2022 h 2719"/>
              <a:gd name="T26" fmla="*/ 78 w 1694"/>
              <a:gd name="T27" fmla="*/ 2022 h 2719"/>
              <a:gd name="T28" fmla="*/ 284 w 1694"/>
              <a:gd name="T29" fmla="*/ 2149 h 2719"/>
              <a:gd name="T30" fmla="*/ 78 w 1694"/>
              <a:gd name="T31" fmla="*/ 2276 h 2719"/>
              <a:gd name="T32" fmla="*/ 3 w 1694"/>
              <a:gd name="T33" fmla="*/ 2276 h 2719"/>
              <a:gd name="T34" fmla="*/ 3 w 1694"/>
              <a:gd name="T35" fmla="*/ 2351 h 2719"/>
              <a:gd name="T36" fmla="*/ 4 w 1694"/>
              <a:gd name="T37" fmla="*/ 2643 h 2719"/>
              <a:gd name="T38" fmla="*/ 4 w 1694"/>
              <a:gd name="T39" fmla="*/ 2719 h 2719"/>
              <a:gd name="T40" fmla="*/ 1318 w 1694"/>
              <a:gd name="T41" fmla="*/ 2719 h 2719"/>
              <a:gd name="T42" fmla="*/ 1318 w 1694"/>
              <a:gd name="T43" fmla="*/ 2643 h 2719"/>
              <a:gd name="T44" fmla="*/ 1318 w 1694"/>
              <a:gd name="T45" fmla="*/ 2351 h 2719"/>
              <a:gd name="T46" fmla="*/ 1318 w 1694"/>
              <a:gd name="T47" fmla="*/ 2275 h 2719"/>
              <a:gd name="T48" fmla="*/ 1243 w 1694"/>
              <a:gd name="T49" fmla="*/ 2276 h 2719"/>
              <a:gd name="T50" fmla="*/ 1241 w 1694"/>
              <a:gd name="T51" fmla="*/ 2276 h 2719"/>
              <a:gd name="T52" fmla="*/ 1239 w 1694"/>
              <a:gd name="T53" fmla="*/ 2276 h 2719"/>
              <a:gd name="T54" fmla="*/ 1032 w 1694"/>
              <a:gd name="T55" fmla="*/ 2149 h 2719"/>
              <a:gd name="T56" fmla="*/ 1239 w 1694"/>
              <a:gd name="T57" fmla="*/ 2022 h 2719"/>
              <a:gd name="T58" fmla="*/ 1242 w 1694"/>
              <a:gd name="T59" fmla="*/ 2022 h 2719"/>
              <a:gd name="T60" fmla="*/ 1318 w 1694"/>
              <a:gd name="T61" fmla="*/ 2022 h 2719"/>
              <a:gd name="T62" fmla="*/ 1318 w 1694"/>
              <a:gd name="T63" fmla="*/ 1947 h 2719"/>
              <a:gd name="T64" fmla="*/ 1127 w 1694"/>
              <a:gd name="T65" fmla="*/ 1362 h 2719"/>
              <a:gd name="T66" fmla="*/ 1056 w 1694"/>
              <a:gd name="T67" fmla="*/ 1282 h 2719"/>
              <a:gd name="T68" fmla="*/ 880 w 1694"/>
              <a:gd name="T69" fmla="*/ 1056 h 2719"/>
              <a:gd name="T70" fmla="*/ 1050 w 1694"/>
              <a:gd name="T71" fmla="*/ 1114 h 2719"/>
              <a:gd name="T72" fmla="*/ 1290 w 1694"/>
              <a:gd name="T73" fmla="*/ 1121 h 2719"/>
              <a:gd name="T74" fmla="*/ 1346 w 1694"/>
              <a:gd name="T75" fmla="*/ 1202 h 2719"/>
              <a:gd name="T76" fmla="*/ 1384 w 1694"/>
              <a:gd name="T77" fmla="*/ 1257 h 2719"/>
              <a:gd name="T78" fmla="*/ 1443 w 1694"/>
              <a:gd name="T79" fmla="*/ 1226 h 2719"/>
              <a:gd name="T80" fmla="*/ 1651 w 1694"/>
              <a:gd name="T81" fmla="*/ 1117 h 2719"/>
              <a:gd name="T82" fmla="*/ 1694 w 1694"/>
              <a:gd name="T83" fmla="*/ 1094 h 2719"/>
              <a:gd name="T84" fmla="*/ 1691 w 1694"/>
              <a:gd name="T85" fmla="*/ 1046 h 2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94" h="2719">
                <a:moveTo>
                  <a:pt x="1691" y="1046"/>
                </a:moveTo>
                <a:cubicBezTo>
                  <a:pt x="1681" y="869"/>
                  <a:pt x="1681" y="869"/>
                  <a:pt x="1681" y="869"/>
                </a:cubicBezTo>
                <a:cubicBezTo>
                  <a:pt x="1679" y="836"/>
                  <a:pt x="1679" y="836"/>
                  <a:pt x="1679" y="836"/>
                </a:cubicBezTo>
                <a:cubicBezTo>
                  <a:pt x="1653" y="815"/>
                  <a:pt x="1653" y="815"/>
                  <a:pt x="1653" y="815"/>
                </a:cubicBezTo>
                <a:cubicBezTo>
                  <a:pt x="1050" y="332"/>
                  <a:pt x="1050" y="332"/>
                  <a:pt x="1050" y="332"/>
                </a:cubicBezTo>
                <a:cubicBezTo>
                  <a:pt x="1027" y="48"/>
                  <a:pt x="1027" y="48"/>
                  <a:pt x="1027" y="48"/>
                </a:cubicBezTo>
                <a:cubicBezTo>
                  <a:pt x="898" y="0"/>
                  <a:pt x="898" y="0"/>
                  <a:pt x="898" y="0"/>
                </a:cubicBezTo>
                <a:cubicBezTo>
                  <a:pt x="897" y="2"/>
                  <a:pt x="772" y="126"/>
                  <a:pt x="647" y="224"/>
                </a:cubicBezTo>
                <a:cubicBezTo>
                  <a:pt x="195" y="352"/>
                  <a:pt x="71" y="785"/>
                  <a:pt x="37" y="1034"/>
                </a:cubicBezTo>
                <a:cubicBezTo>
                  <a:pt x="0" y="1315"/>
                  <a:pt x="0" y="1487"/>
                  <a:pt x="1" y="1735"/>
                </a:cubicBezTo>
                <a:cubicBezTo>
                  <a:pt x="1" y="1743"/>
                  <a:pt x="2" y="1752"/>
                  <a:pt x="2" y="1760"/>
                </a:cubicBezTo>
                <a:cubicBezTo>
                  <a:pt x="3" y="1947"/>
                  <a:pt x="3" y="1947"/>
                  <a:pt x="3" y="1947"/>
                </a:cubicBezTo>
                <a:cubicBezTo>
                  <a:pt x="3" y="2022"/>
                  <a:pt x="3" y="2022"/>
                  <a:pt x="3" y="2022"/>
                </a:cubicBezTo>
                <a:cubicBezTo>
                  <a:pt x="3" y="2022"/>
                  <a:pt x="78" y="2022"/>
                  <a:pt x="78" y="2022"/>
                </a:cubicBezTo>
                <a:cubicBezTo>
                  <a:pt x="189" y="2023"/>
                  <a:pt x="284" y="2092"/>
                  <a:pt x="284" y="2149"/>
                </a:cubicBezTo>
                <a:cubicBezTo>
                  <a:pt x="284" y="2205"/>
                  <a:pt x="189" y="2275"/>
                  <a:pt x="78" y="2276"/>
                </a:cubicBezTo>
                <a:cubicBezTo>
                  <a:pt x="3" y="2276"/>
                  <a:pt x="3" y="2276"/>
                  <a:pt x="3" y="2276"/>
                </a:cubicBezTo>
                <a:cubicBezTo>
                  <a:pt x="3" y="2351"/>
                  <a:pt x="3" y="2351"/>
                  <a:pt x="3" y="2351"/>
                </a:cubicBezTo>
                <a:cubicBezTo>
                  <a:pt x="4" y="2643"/>
                  <a:pt x="4" y="2643"/>
                  <a:pt x="4" y="2643"/>
                </a:cubicBezTo>
                <a:cubicBezTo>
                  <a:pt x="4" y="2719"/>
                  <a:pt x="4" y="2719"/>
                  <a:pt x="4" y="2719"/>
                </a:cubicBezTo>
                <a:cubicBezTo>
                  <a:pt x="1318" y="2719"/>
                  <a:pt x="1318" y="2719"/>
                  <a:pt x="1318" y="2719"/>
                </a:cubicBezTo>
                <a:cubicBezTo>
                  <a:pt x="1318" y="2719"/>
                  <a:pt x="1318" y="2643"/>
                  <a:pt x="1318" y="2643"/>
                </a:cubicBezTo>
                <a:cubicBezTo>
                  <a:pt x="1318" y="2351"/>
                  <a:pt x="1318" y="2351"/>
                  <a:pt x="1318" y="2351"/>
                </a:cubicBezTo>
                <a:cubicBezTo>
                  <a:pt x="1318" y="2275"/>
                  <a:pt x="1318" y="2275"/>
                  <a:pt x="1318" y="2275"/>
                </a:cubicBezTo>
                <a:cubicBezTo>
                  <a:pt x="1318" y="2276"/>
                  <a:pt x="1243" y="2276"/>
                  <a:pt x="1243" y="2276"/>
                </a:cubicBezTo>
                <a:cubicBezTo>
                  <a:pt x="1241" y="2276"/>
                  <a:pt x="1241" y="2276"/>
                  <a:pt x="1241" y="2276"/>
                </a:cubicBezTo>
                <a:cubicBezTo>
                  <a:pt x="1240" y="2276"/>
                  <a:pt x="1239" y="2276"/>
                  <a:pt x="1239" y="2276"/>
                </a:cubicBezTo>
                <a:cubicBezTo>
                  <a:pt x="1127" y="2275"/>
                  <a:pt x="1032" y="2206"/>
                  <a:pt x="1032" y="2149"/>
                </a:cubicBezTo>
                <a:cubicBezTo>
                  <a:pt x="1032" y="2092"/>
                  <a:pt x="1128" y="2022"/>
                  <a:pt x="1239" y="2022"/>
                </a:cubicBezTo>
                <a:cubicBezTo>
                  <a:pt x="1240" y="2022"/>
                  <a:pt x="1241" y="2022"/>
                  <a:pt x="1242" y="2022"/>
                </a:cubicBezTo>
                <a:cubicBezTo>
                  <a:pt x="1318" y="2022"/>
                  <a:pt x="1318" y="2022"/>
                  <a:pt x="1318" y="2022"/>
                </a:cubicBezTo>
                <a:cubicBezTo>
                  <a:pt x="1318" y="1947"/>
                  <a:pt x="1318" y="1947"/>
                  <a:pt x="1318" y="1947"/>
                </a:cubicBezTo>
                <a:cubicBezTo>
                  <a:pt x="1317" y="1726"/>
                  <a:pt x="1249" y="1519"/>
                  <a:pt x="1127" y="1362"/>
                </a:cubicBezTo>
                <a:cubicBezTo>
                  <a:pt x="1105" y="1333"/>
                  <a:pt x="1082" y="1306"/>
                  <a:pt x="1056" y="1282"/>
                </a:cubicBezTo>
                <a:cubicBezTo>
                  <a:pt x="982" y="1209"/>
                  <a:pt x="924" y="1135"/>
                  <a:pt x="880" y="1056"/>
                </a:cubicBezTo>
                <a:cubicBezTo>
                  <a:pt x="948" y="1086"/>
                  <a:pt x="1014" y="1106"/>
                  <a:pt x="1050" y="1114"/>
                </a:cubicBezTo>
                <a:cubicBezTo>
                  <a:pt x="1141" y="1133"/>
                  <a:pt x="1234" y="1127"/>
                  <a:pt x="1290" y="1121"/>
                </a:cubicBezTo>
                <a:cubicBezTo>
                  <a:pt x="1346" y="1202"/>
                  <a:pt x="1346" y="1202"/>
                  <a:pt x="1346" y="1202"/>
                </a:cubicBezTo>
                <a:cubicBezTo>
                  <a:pt x="1384" y="1257"/>
                  <a:pt x="1384" y="1257"/>
                  <a:pt x="1384" y="1257"/>
                </a:cubicBezTo>
                <a:cubicBezTo>
                  <a:pt x="1443" y="1226"/>
                  <a:pt x="1443" y="1226"/>
                  <a:pt x="1443" y="1226"/>
                </a:cubicBezTo>
                <a:cubicBezTo>
                  <a:pt x="1651" y="1117"/>
                  <a:pt x="1651" y="1117"/>
                  <a:pt x="1651" y="1117"/>
                </a:cubicBezTo>
                <a:cubicBezTo>
                  <a:pt x="1694" y="1094"/>
                  <a:pt x="1694" y="1094"/>
                  <a:pt x="1694" y="1094"/>
                </a:cubicBezTo>
                <a:lnTo>
                  <a:pt x="1691" y="1046"/>
                </a:lnTo>
                <a:close/>
              </a:path>
            </a:pathLst>
          </a:custGeom>
          <a:solidFill>
            <a:schemeClr val="tx1"/>
          </a:solidFill>
          <a:ln>
            <a:noFill/>
          </a:ln>
        </p:spPr>
        <p:txBody>
          <a:bodyPr vert="horz" wrap="square" lIns="68586" tIns="34294" rIns="68586" bIns="34294" numCol="1" anchor="t" anchorCtr="0" compatLnSpc="1">
            <a:prstTxWarp prst="textNoShape">
              <a:avLst/>
            </a:prstTxWarp>
          </a:bodyPr>
          <a:lstStyle/>
          <a:p>
            <a:endParaRPr lang="en-US">
              <a:solidFill>
                <a:schemeClr val="bg1"/>
              </a:solidFill>
              <a:sym typeface="Segoe UI"/>
            </a:endParaRPr>
          </a:p>
        </p:txBody>
      </p:sp>
      <p:sp>
        <p:nvSpPr>
          <p:cNvPr id="32" name="Rectangle 31"/>
          <p:cNvSpPr/>
          <p:nvPr>
            <p:custDataLst>
              <p:tags r:id="rId9"/>
            </p:custDataLst>
          </p:nvPr>
        </p:nvSpPr>
        <p:spPr bwMode="auto">
          <a:xfrm>
            <a:off x="3235654" y="1078824"/>
            <a:ext cx="1371600" cy="2103120"/>
          </a:xfrm>
          <a:prstGeom prst="rect">
            <a:avLst/>
          </a:prstGeom>
          <a:solidFill>
            <a:schemeClr val="tx2"/>
          </a:solidFill>
          <a:ln w="9525" cap="flat" cmpd="sng" algn="ctr">
            <a:noFill/>
            <a:prstDash val="solid"/>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34294" tIns="34294" rIns="34294" bIns="34294" numCol="1" rtlCol="0" anchor="b" anchorCtr="0" compatLnSpc="1">
            <a:prstTxWarp prst="textNoShape">
              <a:avLst/>
            </a:prstTxWarp>
          </a:bodyPr>
          <a:lstStyle/>
          <a:p>
            <a:pPr algn="ctr" defTabSz="914023" fontAlgn="base">
              <a:spcBef>
                <a:spcPct val="0"/>
              </a:spcBef>
              <a:spcAft>
                <a:spcPct val="0"/>
              </a:spcAft>
            </a:pPr>
            <a:r>
              <a:rPr lang="en-US" dirty="0">
                <a:solidFill>
                  <a:schemeClr val="tx1"/>
                </a:solidFill>
                <a:sym typeface="Segoe UI"/>
              </a:rPr>
              <a:t>p</a:t>
            </a:r>
            <a:r>
              <a:rPr lang="en-US" dirty="0" smtClean="0">
                <a:solidFill>
                  <a:schemeClr val="tx1"/>
                </a:solidFill>
                <a:sym typeface="Segoe UI"/>
              </a:rPr>
              <a:t>ortfolio health</a:t>
            </a:r>
            <a:endParaRPr lang="en-US" dirty="0">
              <a:solidFill>
                <a:schemeClr val="tx1"/>
              </a:solidFill>
              <a:sym typeface="Segoe UI"/>
            </a:endParaRPr>
          </a:p>
        </p:txBody>
      </p:sp>
      <p:sp>
        <p:nvSpPr>
          <p:cNvPr id="30" name="Freeform 22"/>
          <p:cNvSpPr>
            <a:spLocks noEditPoints="1"/>
          </p:cNvSpPr>
          <p:nvPr/>
        </p:nvSpPr>
        <p:spPr bwMode="auto">
          <a:xfrm>
            <a:off x="4892359" y="2363226"/>
            <a:ext cx="970808" cy="936396"/>
          </a:xfrm>
          <a:custGeom>
            <a:avLst/>
            <a:gdLst>
              <a:gd name="T0" fmla="*/ 300 w 300"/>
              <a:gd name="T1" fmla="*/ 141 h 300"/>
              <a:gd name="T2" fmla="*/ 285 w 300"/>
              <a:gd name="T3" fmla="*/ 141 h 300"/>
              <a:gd name="T4" fmla="*/ 159 w 300"/>
              <a:gd name="T5" fmla="*/ 15 h 300"/>
              <a:gd name="T6" fmla="*/ 159 w 300"/>
              <a:gd name="T7" fmla="*/ 0 h 300"/>
              <a:gd name="T8" fmla="*/ 141 w 300"/>
              <a:gd name="T9" fmla="*/ 0 h 300"/>
              <a:gd name="T10" fmla="*/ 141 w 300"/>
              <a:gd name="T11" fmla="*/ 15 h 300"/>
              <a:gd name="T12" fmla="*/ 15 w 300"/>
              <a:gd name="T13" fmla="*/ 141 h 300"/>
              <a:gd name="T14" fmla="*/ 0 w 300"/>
              <a:gd name="T15" fmla="*/ 141 h 300"/>
              <a:gd name="T16" fmla="*/ 0 w 300"/>
              <a:gd name="T17" fmla="*/ 159 h 300"/>
              <a:gd name="T18" fmla="*/ 15 w 300"/>
              <a:gd name="T19" fmla="*/ 159 h 300"/>
              <a:gd name="T20" fmla="*/ 141 w 300"/>
              <a:gd name="T21" fmla="*/ 285 h 300"/>
              <a:gd name="T22" fmla="*/ 141 w 300"/>
              <a:gd name="T23" fmla="*/ 300 h 300"/>
              <a:gd name="T24" fmla="*/ 159 w 300"/>
              <a:gd name="T25" fmla="*/ 300 h 300"/>
              <a:gd name="T26" fmla="*/ 159 w 300"/>
              <a:gd name="T27" fmla="*/ 285 h 300"/>
              <a:gd name="T28" fmla="*/ 285 w 300"/>
              <a:gd name="T29" fmla="*/ 159 h 300"/>
              <a:gd name="T30" fmla="*/ 300 w 300"/>
              <a:gd name="T31" fmla="*/ 159 h 300"/>
              <a:gd name="T32" fmla="*/ 300 w 300"/>
              <a:gd name="T33" fmla="*/ 141 h 300"/>
              <a:gd name="T34" fmla="*/ 258 w 300"/>
              <a:gd name="T35" fmla="*/ 141 h 300"/>
              <a:gd name="T36" fmla="*/ 230 w 300"/>
              <a:gd name="T37" fmla="*/ 141 h 300"/>
              <a:gd name="T38" fmla="*/ 159 w 300"/>
              <a:gd name="T39" fmla="*/ 70 h 300"/>
              <a:gd name="T40" fmla="*/ 159 w 300"/>
              <a:gd name="T41" fmla="*/ 42 h 300"/>
              <a:gd name="T42" fmla="*/ 258 w 300"/>
              <a:gd name="T43" fmla="*/ 141 h 300"/>
              <a:gd name="T44" fmla="*/ 141 w 300"/>
              <a:gd name="T45" fmla="*/ 125 h 300"/>
              <a:gd name="T46" fmla="*/ 125 w 300"/>
              <a:gd name="T47" fmla="*/ 141 h 300"/>
              <a:gd name="T48" fmla="*/ 97 w 300"/>
              <a:gd name="T49" fmla="*/ 141 h 300"/>
              <a:gd name="T50" fmla="*/ 141 w 300"/>
              <a:gd name="T51" fmla="*/ 97 h 300"/>
              <a:gd name="T52" fmla="*/ 141 w 300"/>
              <a:gd name="T53" fmla="*/ 125 h 300"/>
              <a:gd name="T54" fmla="*/ 125 w 300"/>
              <a:gd name="T55" fmla="*/ 159 h 300"/>
              <a:gd name="T56" fmla="*/ 141 w 300"/>
              <a:gd name="T57" fmla="*/ 175 h 300"/>
              <a:gd name="T58" fmla="*/ 141 w 300"/>
              <a:gd name="T59" fmla="*/ 203 h 300"/>
              <a:gd name="T60" fmla="*/ 97 w 300"/>
              <a:gd name="T61" fmla="*/ 159 h 300"/>
              <a:gd name="T62" fmla="*/ 125 w 300"/>
              <a:gd name="T63" fmla="*/ 159 h 300"/>
              <a:gd name="T64" fmla="*/ 159 w 300"/>
              <a:gd name="T65" fmla="*/ 175 h 300"/>
              <a:gd name="T66" fmla="*/ 175 w 300"/>
              <a:gd name="T67" fmla="*/ 159 h 300"/>
              <a:gd name="T68" fmla="*/ 203 w 300"/>
              <a:gd name="T69" fmla="*/ 159 h 300"/>
              <a:gd name="T70" fmla="*/ 159 w 300"/>
              <a:gd name="T71" fmla="*/ 203 h 300"/>
              <a:gd name="T72" fmla="*/ 159 w 300"/>
              <a:gd name="T73" fmla="*/ 175 h 300"/>
              <a:gd name="T74" fmla="*/ 175 w 300"/>
              <a:gd name="T75" fmla="*/ 141 h 300"/>
              <a:gd name="T76" fmla="*/ 159 w 300"/>
              <a:gd name="T77" fmla="*/ 125 h 300"/>
              <a:gd name="T78" fmla="*/ 159 w 300"/>
              <a:gd name="T79" fmla="*/ 97 h 300"/>
              <a:gd name="T80" fmla="*/ 203 w 300"/>
              <a:gd name="T81" fmla="*/ 141 h 300"/>
              <a:gd name="T82" fmla="*/ 175 w 300"/>
              <a:gd name="T83" fmla="*/ 141 h 300"/>
              <a:gd name="T84" fmla="*/ 141 w 300"/>
              <a:gd name="T85" fmla="*/ 42 h 300"/>
              <a:gd name="T86" fmla="*/ 141 w 300"/>
              <a:gd name="T87" fmla="*/ 70 h 300"/>
              <a:gd name="T88" fmla="*/ 70 w 300"/>
              <a:gd name="T89" fmla="*/ 141 h 300"/>
              <a:gd name="T90" fmla="*/ 42 w 300"/>
              <a:gd name="T91" fmla="*/ 141 h 300"/>
              <a:gd name="T92" fmla="*/ 141 w 300"/>
              <a:gd name="T93" fmla="*/ 42 h 300"/>
              <a:gd name="T94" fmla="*/ 42 w 300"/>
              <a:gd name="T95" fmla="*/ 159 h 300"/>
              <a:gd name="T96" fmla="*/ 70 w 300"/>
              <a:gd name="T97" fmla="*/ 159 h 300"/>
              <a:gd name="T98" fmla="*/ 141 w 300"/>
              <a:gd name="T99" fmla="*/ 230 h 300"/>
              <a:gd name="T100" fmla="*/ 141 w 300"/>
              <a:gd name="T101" fmla="*/ 258 h 300"/>
              <a:gd name="T102" fmla="*/ 42 w 300"/>
              <a:gd name="T103" fmla="*/ 159 h 300"/>
              <a:gd name="T104" fmla="*/ 159 w 300"/>
              <a:gd name="T105" fmla="*/ 258 h 300"/>
              <a:gd name="T106" fmla="*/ 159 w 300"/>
              <a:gd name="T107" fmla="*/ 230 h 300"/>
              <a:gd name="T108" fmla="*/ 230 w 300"/>
              <a:gd name="T109" fmla="*/ 159 h 300"/>
              <a:gd name="T110" fmla="*/ 258 w 300"/>
              <a:gd name="T111" fmla="*/ 159 h 300"/>
              <a:gd name="T112" fmla="*/ 159 w 300"/>
              <a:gd name="T113" fmla="*/ 25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0" h="300">
                <a:moveTo>
                  <a:pt x="300" y="141"/>
                </a:moveTo>
                <a:cubicBezTo>
                  <a:pt x="285" y="141"/>
                  <a:pt x="285" y="141"/>
                  <a:pt x="285" y="141"/>
                </a:cubicBezTo>
                <a:cubicBezTo>
                  <a:pt x="280" y="74"/>
                  <a:pt x="226" y="20"/>
                  <a:pt x="159" y="15"/>
                </a:cubicBezTo>
                <a:cubicBezTo>
                  <a:pt x="159" y="0"/>
                  <a:pt x="159" y="0"/>
                  <a:pt x="159" y="0"/>
                </a:cubicBezTo>
                <a:cubicBezTo>
                  <a:pt x="141" y="0"/>
                  <a:pt x="141" y="0"/>
                  <a:pt x="141" y="0"/>
                </a:cubicBezTo>
                <a:cubicBezTo>
                  <a:pt x="141" y="15"/>
                  <a:pt x="141" y="15"/>
                  <a:pt x="141" y="15"/>
                </a:cubicBezTo>
                <a:cubicBezTo>
                  <a:pt x="74" y="20"/>
                  <a:pt x="20" y="74"/>
                  <a:pt x="15" y="141"/>
                </a:cubicBezTo>
                <a:cubicBezTo>
                  <a:pt x="0" y="141"/>
                  <a:pt x="0" y="141"/>
                  <a:pt x="0" y="141"/>
                </a:cubicBezTo>
                <a:cubicBezTo>
                  <a:pt x="0" y="159"/>
                  <a:pt x="0" y="159"/>
                  <a:pt x="0" y="159"/>
                </a:cubicBezTo>
                <a:cubicBezTo>
                  <a:pt x="15" y="159"/>
                  <a:pt x="15" y="159"/>
                  <a:pt x="15" y="159"/>
                </a:cubicBezTo>
                <a:cubicBezTo>
                  <a:pt x="20" y="226"/>
                  <a:pt x="74" y="280"/>
                  <a:pt x="141" y="285"/>
                </a:cubicBezTo>
                <a:cubicBezTo>
                  <a:pt x="141" y="300"/>
                  <a:pt x="141" y="300"/>
                  <a:pt x="141" y="300"/>
                </a:cubicBezTo>
                <a:cubicBezTo>
                  <a:pt x="159" y="300"/>
                  <a:pt x="159" y="300"/>
                  <a:pt x="159" y="300"/>
                </a:cubicBezTo>
                <a:cubicBezTo>
                  <a:pt x="159" y="285"/>
                  <a:pt x="159" y="285"/>
                  <a:pt x="159" y="285"/>
                </a:cubicBezTo>
                <a:cubicBezTo>
                  <a:pt x="226" y="280"/>
                  <a:pt x="280" y="226"/>
                  <a:pt x="285" y="159"/>
                </a:cubicBezTo>
                <a:cubicBezTo>
                  <a:pt x="300" y="159"/>
                  <a:pt x="300" y="159"/>
                  <a:pt x="300" y="159"/>
                </a:cubicBezTo>
                <a:lnTo>
                  <a:pt x="300" y="141"/>
                </a:lnTo>
                <a:close/>
                <a:moveTo>
                  <a:pt x="258" y="141"/>
                </a:moveTo>
                <a:cubicBezTo>
                  <a:pt x="230" y="141"/>
                  <a:pt x="230" y="141"/>
                  <a:pt x="230" y="141"/>
                </a:cubicBezTo>
                <a:cubicBezTo>
                  <a:pt x="226" y="103"/>
                  <a:pt x="197" y="74"/>
                  <a:pt x="159" y="70"/>
                </a:cubicBezTo>
                <a:cubicBezTo>
                  <a:pt x="159" y="42"/>
                  <a:pt x="159" y="42"/>
                  <a:pt x="159" y="42"/>
                </a:cubicBezTo>
                <a:cubicBezTo>
                  <a:pt x="211" y="47"/>
                  <a:pt x="253" y="89"/>
                  <a:pt x="258" y="141"/>
                </a:cubicBezTo>
                <a:close/>
                <a:moveTo>
                  <a:pt x="141" y="125"/>
                </a:moveTo>
                <a:cubicBezTo>
                  <a:pt x="133" y="127"/>
                  <a:pt x="127" y="133"/>
                  <a:pt x="125" y="141"/>
                </a:cubicBezTo>
                <a:cubicBezTo>
                  <a:pt x="97" y="141"/>
                  <a:pt x="97" y="141"/>
                  <a:pt x="97" y="141"/>
                </a:cubicBezTo>
                <a:cubicBezTo>
                  <a:pt x="101" y="118"/>
                  <a:pt x="118" y="101"/>
                  <a:pt x="141" y="97"/>
                </a:cubicBezTo>
                <a:lnTo>
                  <a:pt x="141" y="125"/>
                </a:lnTo>
                <a:close/>
                <a:moveTo>
                  <a:pt x="125" y="159"/>
                </a:moveTo>
                <a:cubicBezTo>
                  <a:pt x="127" y="167"/>
                  <a:pt x="133" y="173"/>
                  <a:pt x="141" y="175"/>
                </a:cubicBezTo>
                <a:cubicBezTo>
                  <a:pt x="141" y="203"/>
                  <a:pt x="141" y="203"/>
                  <a:pt x="141" y="203"/>
                </a:cubicBezTo>
                <a:cubicBezTo>
                  <a:pt x="118" y="199"/>
                  <a:pt x="101" y="182"/>
                  <a:pt x="97" y="159"/>
                </a:cubicBezTo>
                <a:lnTo>
                  <a:pt x="125" y="159"/>
                </a:lnTo>
                <a:close/>
                <a:moveTo>
                  <a:pt x="159" y="175"/>
                </a:moveTo>
                <a:cubicBezTo>
                  <a:pt x="167" y="173"/>
                  <a:pt x="173" y="167"/>
                  <a:pt x="175" y="159"/>
                </a:cubicBezTo>
                <a:cubicBezTo>
                  <a:pt x="203" y="159"/>
                  <a:pt x="203" y="159"/>
                  <a:pt x="203" y="159"/>
                </a:cubicBezTo>
                <a:cubicBezTo>
                  <a:pt x="199" y="182"/>
                  <a:pt x="182" y="199"/>
                  <a:pt x="159" y="203"/>
                </a:cubicBezTo>
                <a:lnTo>
                  <a:pt x="159" y="175"/>
                </a:lnTo>
                <a:close/>
                <a:moveTo>
                  <a:pt x="175" y="141"/>
                </a:moveTo>
                <a:cubicBezTo>
                  <a:pt x="173" y="133"/>
                  <a:pt x="167" y="127"/>
                  <a:pt x="159" y="125"/>
                </a:cubicBezTo>
                <a:cubicBezTo>
                  <a:pt x="159" y="97"/>
                  <a:pt x="159" y="97"/>
                  <a:pt x="159" y="97"/>
                </a:cubicBezTo>
                <a:cubicBezTo>
                  <a:pt x="182" y="101"/>
                  <a:pt x="199" y="118"/>
                  <a:pt x="203" y="141"/>
                </a:cubicBezTo>
                <a:lnTo>
                  <a:pt x="175" y="141"/>
                </a:lnTo>
                <a:close/>
                <a:moveTo>
                  <a:pt x="141" y="42"/>
                </a:moveTo>
                <a:cubicBezTo>
                  <a:pt x="141" y="70"/>
                  <a:pt x="141" y="70"/>
                  <a:pt x="141" y="70"/>
                </a:cubicBezTo>
                <a:cubicBezTo>
                  <a:pt x="103" y="74"/>
                  <a:pt x="74" y="103"/>
                  <a:pt x="70" y="141"/>
                </a:cubicBezTo>
                <a:cubicBezTo>
                  <a:pt x="42" y="141"/>
                  <a:pt x="42" y="141"/>
                  <a:pt x="42" y="141"/>
                </a:cubicBezTo>
                <a:cubicBezTo>
                  <a:pt x="47" y="89"/>
                  <a:pt x="89" y="47"/>
                  <a:pt x="141" y="42"/>
                </a:cubicBezTo>
                <a:close/>
                <a:moveTo>
                  <a:pt x="42" y="159"/>
                </a:moveTo>
                <a:cubicBezTo>
                  <a:pt x="70" y="159"/>
                  <a:pt x="70" y="159"/>
                  <a:pt x="70" y="159"/>
                </a:cubicBezTo>
                <a:cubicBezTo>
                  <a:pt x="74" y="197"/>
                  <a:pt x="103" y="226"/>
                  <a:pt x="141" y="230"/>
                </a:cubicBezTo>
                <a:cubicBezTo>
                  <a:pt x="141" y="258"/>
                  <a:pt x="141" y="258"/>
                  <a:pt x="141" y="258"/>
                </a:cubicBezTo>
                <a:cubicBezTo>
                  <a:pt x="89" y="253"/>
                  <a:pt x="47" y="211"/>
                  <a:pt x="42" y="159"/>
                </a:cubicBezTo>
                <a:close/>
                <a:moveTo>
                  <a:pt x="159" y="258"/>
                </a:moveTo>
                <a:cubicBezTo>
                  <a:pt x="159" y="230"/>
                  <a:pt x="159" y="230"/>
                  <a:pt x="159" y="230"/>
                </a:cubicBezTo>
                <a:cubicBezTo>
                  <a:pt x="197" y="226"/>
                  <a:pt x="226" y="197"/>
                  <a:pt x="230" y="159"/>
                </a:cubicBezTo>
                <a:cubicBezTo>
                  <a:pt x="258" y="159"/>
                  <a:pt x="258" y="159"/>
                  <a:pt x="258" y="159"/>
                </a:cubicBezTo>
                <a:cubicBezTo>
                  <a:pt x="253" y="211"/>
                  <a:pt x="211" y="253"/>
                  <a:pt x="159" y="2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2" tIns="45716" rIns="91432" bIns="45716" numCol="1" anchor="t" anchorCtr="0" compatLnSpc="1">
            <a:prstTxWarp prst="textNoShape">
              <a:avLst/>
            </a:prstTxWarp>
          </a:bodyPr>
          <a:lstStyle/>
          <a:p>
            <a:endParaRPr lang="en-US">
              <a:latin typeface="Segoe UI"/>
              <a:sym typeface="Segoe UI"/>
            </a:endParaRPr>
          </a:p>
        </p:txBody>
      </p:sp>
      <p:grpSp>
        <p:nvGrpSpPr>
          <p:cNvPr id="33" name="Group 32"/>
          <p:cNvGrpSpPr/>
          <p:nvPr/>
        </p:nvGrpSpPr>
        <p:grpSpPr bwMode="black">
          <a:xfrm>
            <a:off x="3685028" y="1314451"/>
            <a:ext cx="594677" cy="1147005"/>
            <a:chOff x="3360738" y="989012"/>
            <a:chExt cx="746125" cy="1439864"/>
          </a:xfrm>
        </p:grpSpPr>
        <p:sp>
          <p:nvSpPr>
            <p:cNvPr id="41" name="Freeform 36"/>
            <p:cNvSpPr>
              <a:spLocks/>
            </p:cNvSpPr>
            <p:nvPr/>
          </p:nvSpPr>
          <p:spPr bwMode="black">
            <a:xfrm>
              <a:off x="3360738" y="1255713"/>
              <a:ext cx="525463" cy="1173163"/>
            </a:xfrm>
            <a:custGeom>
              <a:avLst/>
              <a:gdLst>
                <a:gd name="T0" fmla="*/ 252 w 562"/>
                <a:gd name="T1" fmla="*/ 272 h 1256"/>
                <a:gd name="T2" fmla="*/ 234 w 562"/>
                <a:gd name="T3" fmla="*/ 192 h 1256"/>
                <a:gd name="T4" fmla="*/ 407 w 562"/>
                <a:gd name="T5" fmla="*/ 20 h 1256"/>
                <a:gd name="T6" fmla="*/ 534 w 562"/>
                <a:gd name="T7" fmla="*/ 76 h 1256"/>
                <a:gd name="T8" fmla="*/ 562 w 562"/>
                <a:gd name="T9" fmla="*/ 51 h 1256"/>
                <a:gd name="T10" fmla="*/ 443 w 562"/>
                <a:gd name="T11" fmla="*/ 0 h 1256"/>
                <a:gd name="T12" fmla="*/ 164 w 562"/>
                <a:gd name="T13" fmla="*/ 0 h 1256"/>
                <a:gd name="T14" fmla="*/ 0 w 562"/>
                <a:gd name="T15" fmla="*/ 163 h 1256"/>
                <a:gd name="T16" fmla="*/ 0 w 562"/>
                <a:gd name="T17" fmla="*/ 556 h 1256"/>
                <a:gd name="T18" fmla="*/ 55 w 562"/>
                <a:gd name="T19" fmla="*/ 612 h 1256"/>
                <a:gd name="T20" fmla="*/ 110 w 562"/>
                <a:gd name="T21" fmla="*/ 556 h 1256"/>
                <a:gd name="T22" fmla="*/ 110 w 562"/>
                <a:gd name="T23" fmla="*/ 201 h 1256"/>
                <a:gd name="T24" fmla="*/ 139 w 562"/>
                <a:gd name="T25" fmla="*/ 201 h 1256"/>
                <a:gd name="T26" fmla="*/ 139 w 562"/>
                <a:gd name="T27" fmla="*/ 1182 h 1256"/>
                <a:gd name="T28" fmla="*/ 214 w 562"/>
                <a:gd name="T29" fmla="*/ 1256 h 1256"/>
                <a:gd name="T30" fmla="*/ 288 w 562"/>
                <a:gd name="T31" fmla="*/ 1182 h 1256"/>
                <a:gd name="T32" fmla="*/ 288 w 562"/>
                <a:gd name="T33" fmla="*/ 615 h 1256"/>
                <a:gd name="T34" fmla="*/ 317 w 562"/>
                <a:gd name="T35" fmla="*/ 615 h 1256"/>
                <a:gd name="T36" fmla="*/ 317 w 562"/>
                <a:gd name="T37" fmla="*/ 1182 h 1256"/>
                <a:gd name="T38" fmla="*/ 392 w 562"/>
                <a:gd name="T39" fmla="*/ 1256 h 1256"/>
                <a:gd name="T40" fmla="*/ 467 w 562"/>
                <a:gd name="T41" fmla="*/ 1182 h 1256"/>
                <a:gd name="T42" fmla="*/ 467 w 562"/>
                <a:gd name="T43" fmla="*/ 516 h 1256"/>
                <a:gd name="T44" fmla="*/ 252 w 562"/>
                <a:gd name="T45" fmla="*/ 272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2" h="1256">
                  <a:moveTo>
                    <a:pt x="252" y="272"/>
                  </a:moveTo>
                  <a:cubicBezTo>
                    <a:pt x="248" y="262"/>
                    <a:pt x="234" y="225"/>
                    <a:pt x="234" y="192"/>
                  </a:cubicBezTo>
                  <a:cubicBezTo>
                    <a:pt x="234" y="97"/>
                    <a:pt x="312" y="20"/>
                    <a:pt x="407" y="20"/>
                  </a:cubicBezTo>
                  <a:cubicBezTo>
                    <a:pt x="456" y="20"/>
                    <a:pt x="501" y="41"/>
                    <a:pt x="534" y="76"/>
                  </a:cubicBezTo>
                  <a:cubicBezTo>
                    <a:pt x="542" y="66"/>
                    <a:pt x="551" y="58"/>
                    <a:pt x="562" y="51"/>
                  </a:cubicBezTo>
                  <a:cubicBezTo>
                    <a:pt x="532" y="20"/>
                    <a:pt x="490" y="0"/>
                    <a:pt x="443" y="0"/>
                  </a:cubicBezTo>
                  <a:cubicBezTo>
                    <a:pt x="164" y="0"/>
                    <a:pt x="164" y="0"/>
                    <a:pt x="164" y="0"/>
                  </a:cubicBezTo>
                  <a:cubicBezTo>
                    <a:pt x="73" y="0"/>
                    <a:pt x="0" y="73"/>
                    <a:pt x="0" y="163"/>
                  </a:cubicBezTo>
                  <a:cubicBezTo>
                    <a:pt x="0" y="556"/>
                    <a:pt x="0" y="556"/>
                    <a:pt x="0" y="556"/>
                  </a:cubicBezTo>
                  <a:cubicBezTo>
                    <a:pt x="0" y="587"/>
                    <a:pt x="25" y="612"/>
                    <a:pt x="55" y="612"/>
                  </a:cubicBezTo>
                  <a:cubicBezTo>
                    <a:pt x="86" y="612"/>
                    <a:pt x="110" y="587"/>
                    <a:pt x="110" y="556"/>
                  </a:cubicBezTo>
                  <a:cubicBezTo>
                    <a:pt x="110" y="201"/>
                    <a:pt x="110" y="201"/>
                    <a:pt x="110" y="201"/>
                  </a:cubicBezTo>
                  <a:cubicBezTo>
                    <a:pt x="139" y="201"/>
                    <a:pt x="139" y="201"/>
                    <a:pt x="139" y="201"/>
                  </a:cubicBezTo>
                  <a:cubicBezTo>
                    <a:pt x="139" y="1182"/>
                    <a:pt x="139" y="1182"/>
                    <a:pt x="139" y="1182"/>
                  </a:cubicBezTo>
                  <a:cubicBezTo>
                    <a:pt x="139" y="1223"/>
                    <a:pt x="173" y="1256"/>
                    <a:pt x="214" y="1256"/>
                  </a:cubicBezTo>
                  <a:cubicBezTo>
                    <a:pt x="255" y="1256"/>
                    <a:pt x="288" y="1223"/>
                    <a:pt x="288" y="1182"/>
                  </a:cubicBezTo>
                  <a:cubicBezTo>
                    <a:pt x="288" y="615"/>
                    <a:pt x="288" y="615"/>
                    <a:pt x="288" y="615"/>
                  </a:cubicBezTo>
                  <a:cubicBezTo>
                    <a:pt x="317" y="615"/>
                    <a:pt x="317" y="615"/>
                    <a:pt x="317" y="615"/>
                  </a:cubicBezTo>
                  <a:cubicBezTo>
                    <a:pt x="317" y="1182"/>
                    <a:pt x="317" y="1182"/>
                    <a:pt x="317" y="1182"/>
                  </a:cubicBezTo>
                  <a:cubicBezTo>
                    <a:pt x="317" y="1223"/>
                    <a:pt x="351" y="1256"/>
                    <a:pt x="392" y="1256"/>
                  </a:cubicBezTo>
                  <a:cubicBezTo>
                    <a:pt x="433" y="1256"/>
                    <a:pt x="467" y="1223"/>
                    <a:pt x="467" y="1182"/>
                  </a:cubicBezTo>
                  <a:cubicBezTo>
                    <a:pt x="467" y="516"/>
                    <a:pt x="467" y="516"/>
                    <a:pt x="467" y="516"/>
                  </a:cubicBezTo>
                  <a:cubicBezTo>
                    <a:pt x="398" y="459"/>
                    <a:pt x="284" y="354"/>
                    <a:pt x="252" y="2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5" name="Freeform 37"/>
            <p:cNvSpPr>
              <a:spLocks/>
            </p:cNvSpPr>
            <p:nvPr/>
          </p:nvSpPr>
          <p:spPr bwMode="black">
            <a:xfrm>
              <a:off x="3824288" y="1733550"/>
              <a:ext cx="103188" cy="93663"/>
            </a:xfrm>
            <a:custGeom>
              <a:avLst/>
              <a:gdLst>
                <a:gd name="T0" fmla="*/ 58 w 110"/>
                <a:gd name="T1" fmla="*/ 43 h 101"/>
                <a:gd name="T2" fmla="*/ 38 w 110"/>
                <a:gd name="T3" fmla="*/ 59 h 101"/>
                <a:gd name="T4" fmla="*/ 17 w 110"/>
                <a:gd name="T5" fmla="*/ 43 h 101"/>
                <a:gd name="T6" fmla="*/ 0 w 110"/>
                <a:gd name="T7" fmla="*/ 29 h 101"/>
                <a:gd name="T8" fmla="*/ 0 w 110"/>
                <a:gd name="T9" fmla="*/ 45 h 101"/>
                <a:gd name="T10" fmla="*/ 56 w 110"/>
                <a:gd name="T11" fmla="*/ 101 h 101"/>
                <a:gd name="T12" fmla="*/ 110 w 110"/>
                <a:gd name="T13" fmla="*/ 45 h 101"/>
                <a:gd name="T14" fmla="*/ 110 w 110"/>
                <a:gd name="T15" fmla="*/ 0 h 101"/>
                <a:gd name="T16" fmla="*/ 58 w 110"/>
                <a:gd name="T17" fmla="*/ 4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01">
                  <a:moveTo>
                    <a:pt x="58" y="43"/>
                  </a:moveTo>
                  <a:cubicBezTo>
                    <a:pt x="38" y="59"/>
                    <a:pt x="38" y="59"/>
                    <a:pt x="38" y="59"/>
                  </a:cubicBezTo>
                  <a:cubicBezTo>
                    <a:pt x="17" y="43"/>
                    <a:pt x="17" y="43"/>
                    <a:pt x="17" y="43"/>
                  </a:cubicBezTo>
                  <a:cubicBezTo>
                    <a:pt x="13" y="40"/>
                    <a:pt x="7" y="35"/>
                    <a:pt x="0" y="29"/>
                  </a:cubicBezTo>
                  <a:cubicBezTo>
                    <a:pt x="0" y="45"/>
                    <a:pt x="0" y="45"/>
                    <a:pt x="0" y="45"/>
                  </a:cubicBezTo>
                  <a:cubicBezTo>
                    <a:pt x="0" y="76"/>
                    <a:pt x="25" y="101"/>
                    <a:pt x="56" y="101"/>
                  </a:cubicBezTo>
                  <a:cubicBezTo>
                    <a:pt x="85" y="101"/>
                    <a:pt x="110" y="76"/>
                    <a:pt x="110" y="45"/>
                  </a:cubicBezTo>
                  <a:cubicBezTo>
                    <a:pt x="110" y="0"/>
                    <a:pt x="110" y="0"/>
                    <a:pt x="110" y="0"/>
                  </a:cubicBezTo>
                  <a:cubicBezTo>
                    <a:pt x="86" y="20"/>
                    <a:pt x="67" y="35"/>
                    <a:pt x="58"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6" name="Oval 38"/>
            <p:cNvSpPr>
              <a:spLocks noChangeArrowheads="1"/>
            </p:cNvSpPr>
            <p:nvPr/>
          </p:nvSpPr>
          <p:spPr bwMode="black">
            <a:xfrm>
              <a:off x="3525838" y="989012"/>
              <a:ext cx="234950" cy="2381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7" name="Freeform 39"/>
            <p:cNvSpPr>
              <a:spLocks/>
            </p:cNvSpPr>
            <p:nvPr/>
          </p:nvSpPr>
          <p:spPr bwMode="black">
            <a:xfrm>
              <a:off x="3606800" y="1304925"/>
              <a:ext cx="500063" cy="444500"/>
            </a:xfrm>
            <a:custGeom>
              <a:avLst/>
              <a:gdLst>
                <a:gd name="T0" fmla="*/ 267 w 535"/>
                <a:gd name="T1" fmla="*/ 476 h 477"/>
                <a:gd name="T2" fmla="*/ 15 w 535"/>
                <a:gd name="T3" fmla="*/ 208 h 477"/>
                <a:gd name="T4" fmla="*/ 0 w 535"/>
                <a:gd name="T5" fmla="*/ 140 h 477"/>
                <a:gd name="T6" fmla="*/ 141 w 535"/>
                <a:gd name="T7" fmla="*/ 0 h 477"/>
                <a:gd name="T8" fmla="*/ 268 w 535"/>
                <a:gd name="T9" fmla="*/ 80 h 477"/>
                <a:gd name="T10" fmla="*/ 394 w 535"/>
                <a:gd name="T11" fmla="*/ 0 h 477"/>
                <a:gd name="T12" fmla="*/ 535 w 535"/>
                <a:gd name="T13" fmla="*/ 140 h 477"/>
                <a:gd name="T14" fmla="*/ 520 w 535"/>
                <a:gd name="T15" fmla="*/ 208 h 477"/>
                <a:gd name="T16" fmla="*/ 269 w 535"/>
                <a:gd name="T17" fmla="*/ 476 h 477"/>
                <a:gd name="T18" fmla="*/ 268 w 535"/>
                <a:gd name="T19" fmla="*/ 477 h 477"/>
                <a:gd name="T20" fmla="*/ 267 w 535"/>
                <a:gd name="T21" fmla="*/ 476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5" h="477">
                  <a:moveTo>
                    <a:pt x="267" y="476"/>
                  </a:moveTo>
                  <a:cubicBezTo>
                    <a:pt x="247" y="461"/>
                    <a:pt x="55" y="310"/>
                    <a:pt x="15" y="208"/>
                  </a:cubicBezTo>
                  <a:cubicBezTo>
                    <a:pt x="8" y="189"/>
                    <a:pt x="0" y="162"/>
                    <a:pt x="0" y="140"/>
                  </a:cubicBezTo>
                  <a:cubicBezTo>
                    <a:pt x="0" y="63"/>
                    <a:pt x="63" y="0"/>
                    <a:pt x="141" y="0"/>
                  </a:cubicBezTo>
                  <a:cubicBezTo>
                    <a:pt x="197" y="0"/>
                    <a:pt x="245" y="33"/>
                    <a:pt x="268" y="80"/>
                  </a:cubicBezTo>
                  <a:cubicBezTo>
                    <a:pt x="290" y="33"/>
                    <a:pt x="339" y="0"/>
                    <a:pt x="394" y="0"/>
                  </a:cubicBezTo>
                  <a:cubicBezTo>
                    <a:pt x="472" y="0"/>
                    <a:pt x="535" y="63"/>
                    <a:pt x="535" y="140"/>
                  </a:cubicBezTo>
                  <a:cubicBezTo>
                    <a:pt x="535" y="162"/>
                    <a:pt x="527" y="189"/>
                    <a:pt x="520" y="208"/>
                  </a:cubicBezTo>
                  <a:cubicBezTo>
                    <a:pt x="480" y="310"/>
                    <a:pt x="288" y="461"/>
                    <a:pt x="269" y="476"/>
                  </a:cubicBezTo>
                  <a:cubicBezTo>
                    <a:pt x="268" y="477"/>
                    <a:pt x="268" y="477"/>
                    <a:pt x="268" y="477"/>
                  </a:cubicBezTo>
                  <a:lnTo>
                    <a:pt x="267" y="4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
        <p:nvSpPr>
          <p:cNvPr id="44"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48"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3"/>
              </a:rPr>
              <a:t>www.rapidbbs.cn</a:t>
            </a:r>
            <a:endParaRPr lang="zh-CN" altLang="en-US" sz="1200" b="0">
              <a:latin typeface="Arial" charset="0"/>
              <a:ea typeface="ＭＳ Ｐゴシック" pitchFamily="34" charset="-128"/>
            </a:endParaRPr>
          </a:p>
        </p:txBody>
      </p:sp>
      <p:pic>
        <p:nvPicPr>
          <p:cNvPr id="49" name="Picture 2">
            <a:hlinkClick r:id="rId23"/>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82258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1" name="Object 210" hidden="1"/>
          <p:cNvGraphicFramePr>
            <a:graphicFrameLocks noChangeAspect="1"/>
          </p:cNvGraphicFramePr>
          <p:nvPr>
            <p:custDataLst>
              <p:tags r:id="rId2"/>
            </p:custDataLst>
            <p:extLst>
              <p:ext uri="{D42A27DB-BD31-4B8C-83A1-F6EECF244321}">
                <p14:modId xmlns:p14="http://schemas.microsoft.com/office/powerpoint/2010/main" val="1351185484"/>
              </p:ext>
            </p:extLst>
          </p:nvPr>
        </p:nvGraphicFramePr>
        <p:xfrm>
          <a:off x="0" y="1"/>
          <a:ext cx="158750" cy="158750"/>
        </p:xfrm>
        <a:graphic>
          <a:graphicData uri="http://schemas.openxmlformats.org/presentationml/2006/ole">
            <mc:AlternateContent xmlns:mc="http://schemas.openxmlformats.org/markup-compatibility/2006">
              <mc:Choice xmlns:v="urn:schemas-microsoft-com:vml" Requires="v">
                <p:oleObj spid="_x0000_s12296"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0" y="1"/>
                        <a:ext cx="158750" cy="158750"/>
                      </a:xfrm>
                      <a:prstGeom prst="rect">
                        <a:avLst/>
                      </a:prstGeom>
                    </p:spPr>
                  </p:pic>
                </p:oleObj>
              </mc:Fallback>
            </mc:AlternateContent>
          </a:graphicData>
        </a:graphic>
      </p:graphicFrame>
      <p:grpSp>
        <p:nvGrpSpPr>
          <p:cNvPr id="8" name="Group 7"/>
          <p:cNvGrpSpPr/>
          <p:nvPr/>
        </p:nvGrpSpPr>
        <p:grpSpPr>
          <a:xfrm>
            <a:off x="6053414" y="1558951"/>
            <a:ext cx="2794839" cy="2644345"/>
            <a:chOff x="6053413" y="1558949"/>
            <a:chExt cx="2794839" cy="2644345"/>
          </a:xfrm>
        </p:grpSpPr>
        <p:sp>
          <p:nvSpPr>
            <p:cNvPr id="35" name="Circular Arrow 34"/>
            <p:cNvSpPr/>
            <p:nvPr>
              <p:custDataLst>
                <p:tags r:id="rId10"/>
              </p:custDataLst>
            </p:nvPr>
          </p:nvSpPr>
          <p:spPr>
            <a:xfrm rot="8459188">
              <a:off x="6134637" y="1571482"/>
              <a:ext cx="2631811" cy="2631812"/>
            </a:xfrm>
            <a:prstGeom prst="circularArrow">
              <a:avLst>
                <a:gd name="adj1" fmla="val 24401"/>
                <a:gd name="adj2" fmla="val 1142319"/>
                <a:gd name="adj3" fmla="val 20457687"/>
                <a:gd name="adj4" fmla="val 12180209"/>
                <a:gd name="adj5" fmla="val 12500"/>
              </a:avLst>
            </a:prstGeom>
            <a:solidFill>
              <a:schemeClr val="bg2"/>
            </a:solidFill>
            <a:ln>
              <a:solidFill>
                <a:schemeClr val="tx2"/>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985" tIns="89985" rIns="89985" bIns="89985" numCol="1" spcCol="1270" anchor="ctr" anchorCtr="0">
              <a:noAutofit/>
            </a:bodyPr>
            <a:lstStyle/>
            <a:p>
              <a:pPr algn="ctr" defTabSz="666694">
                <a:lnSpc>
                  <a:spcPct val="90000"/>
                </a:lnSpc>
                <a:spcBef>
                  <a:spcPct val="0"/>
                </a:spcBef>
                <a:spcAft>
                  <a:spcPct val="35000"/>
                </a:spcAft>
              </a:pPr>
              <a:endParaRPr lang="en-US" sz="1500">
                <a:solidFill>
                  <a:schemeClr val="tx1"/>
                </a:solidFill>
                <a:sym typeface="Segoe UI"/>
              </a:endParaRPr>
            </a:p>
          </p:txBody>
        </p:sp>
        <p:sp>
          <p:nvSpPr>
            <p:cNvPr id="36" name="Freeform 35"/>
            <p:cNvSpPr/>
            <p:nvPr>
              <p:custDataLst>
                <p:tags r:id="rId11"/>
              </p:custDataLst>
            </p:nvPr>
          </p:nvSpPr>
          <p:spPr>
            <a:xfrm rot="670301">
              <a:off x="6657507" y="1558949"/>
              <a:ext cx="2190745" cy="1374874"/>
            </a:xfrm>
            <a:custGeom>
              <a:avLst/>
              <a:gdLst>
                <a:gd name="connsiteX0" fmla="*/ 245090 w 4038600"/>
                <a:gd name="connsiteY0" fmla="*/ 2957942 h 4038600"/>
                <a:gd name="connsiteX1" fmla="*/ 409203 w 4038600"/>
                <a:gd name="connsiteY1" fmla="*/ 820777 h 4038600"/>
                <a:gd name="connsiteX2" fmla="*/ 2409424 w 4038600"/>
                <a:gd name="connsiteY2" fmla="*/ 50373 h 4038600"/>
                <a:gd name="connsiteX3" fmla="*/ 3964758 w 4038600"/>
                <a:gd name="connsiteY3" fmla="*/ 1525277 h 4038600"/>
                <a:gd name="connsiteX4" fmla="*/ 3964757 w 4038600"/>
                <a:gd name="connsiteY4" fmla="*/ 1525274 h 4038600"/>
                <a:gd name="connsiteX5" fmla="*/ 3533775 w 4038600"/>
                <a:gd name="connsiteY5" fmla="*/ 2019303 h 4038600"/>
                <a:gd name="connsiteX6" fmla="*/ 2913670 w 4038600"/>
                <a:gd name="connsiteY6" fmla="*/ 1525271 h 4038600"/>
                <a:gd name="connsiteX7" fmla="*/ 2913670 w 4038600"/>
                <a:gd name="connsiteY7" fmla="*/ 1525271 h 4038600"/>
                <a:gd name="connsiteX8" fmla="*/ 1533361 w 4038600"/>
                <a:gd name="connsiteY8" fmla="*/ 1120504 h 4038600"/>
                <a:gd name="connsiteX9" fmla="*/ 1116155 w 4038600"/>
                <a:gd name="connsiteY9" fmla="*/ 2497104 h 4038600"/>
                <a:gd name="connsiteX10" fmla="*/ 245090 w 4038600"/>
                <a:gd name="connsiteY10" fmla="*/ 2957942 h 4038600"/>
                <a:gd name="connsiteX0" fmla="*/ 362087 w 4081755"/>
                <a:gd name="connsiteY0" fmla="*/ 3058062 h 3058062"/>
                <a:gd name="connsiteX1" fmla="*/ 526200 w 4081755"/>
                <a:gd name="connsiteY1" fmla="*/ 920897 h 3058062"/>
                <a:gd name="connsiteX2" fmla="*/ 2526421 w 4081755"/>
                <a:gd name="connsiteY2" fmla="*/ 150493 h 3058062"/>
                <a:gd name="connsiteX3" fmla="*/ 4081755 w 4081755"/>
                <a:gd name="connsiteY3" fmla="*/ 1625397 h 3058062"/>
                <a:gd name="connsiteX4" fmla="*/ 4081754 w 4081755"/>
                <a:gd name="connsiteY4" fmla="*/ 1625394 h 3058062"/>
                <a:gd name="connsiteX5" fmla="*/ 3650772 w 4081755"/>
                <a:gd name="connsiteY5" fmla="*/ 2119423 h 3058062"/>
                <a:gd name="connsiteX6" fmla="*/ 3030667 w 4081755"/>
                <a:gd name="connsiteY6" fmla="*/ 1625391 h 3058062"/>
                <a:gd name="connsiteX7" fmla="*/ 3030667 w 4081755"/>
                <a:gd name="connsiteY7" fmla="*/ 1625391 h 3058062"/>
                <a:gd name="connsiteX8" fmla="*/ 1650358 w 4081755"/>
                <a:gd name="connsiteY8" fmla="*/ 1220624 h 3058062"/>
                <a:gd name="connsiteX9" fmla="*/ 1233152 w 4081755"/>
                <a:gd name="connsiteY9" fmla="*/ 2597224 h 3058062"/>
                <a:gd name="connsiteX10" fmla="*/ 615332 w 4081755"/>
                <a:gd name="connsiteY10" fmla="*/ 2122589 h 3058062"/>
                <a:gd name="connsiteX11" fmla="*/ 362087 w 4081755"/>
                <a:gd name="connsiteY11" fmla="*/ 3058062 h 3058062"/>
                <a:gd name="connsiteX0" fmla="*/ 224798 w 3944466"/>
                <a:gd name="connsiteY0" fmla="*/ 3058062 h 3094100"/>
                <a:gd name="connsiteX1" fmla="*/ 55665 w 3944466"/>
                <a:gd name="connsiteY1" fmla="*/ 2618995 h 3094100"/>
                <a:gd name="connsiteX2" fmla="*/ 388911 w 3944466"/>
                <a:gd name="connsiteY2" fmla="*/ 920897 h 3094100"/>
                <a:gd name="connsiteX3" fmla="*/ 2389132 w 3944466"/>
                <a:gd name="connsiteY3" fmla="*/ 150493 h 3094100"/>
                <a:gd name="connsiteX4" fmla="*/ 3944466 w 3944466"/>
                <a:gd name="connsiteY4" fmla="*/ 1625397 h 3094100"/>
                <a:gd name="connsiteX5" fmla="*/ 3944465 w 3944466"/>
                <a:gd name="connsiteY5" fmla="*/ 1625394 h 3094100"/>
                <a:gd name="connsiteX6" fmla="*/ 3513483 w 3944466"/>
                <a:gd name="connsiteY6" fmla="*/ 2119423 h 3094100"/>
                <a:gd name="connsiteX7" fmla="*/ 2893378 w 3944466"/>
                <a:gd name="connsiteY7" fmla="*/ 1625391 h 3094100"/>
                <a:gd name="connsiteX8" fmla="*/ 2893378 w 3944466"/>
                <a:gd name="connsiteY8" fmla="*/ 1625391 h 3094100"/>
                <a:gd name="connsiteX9" fmla="*/ 1513069 w 3944466"/>
                <a:gd name="connsiteY9" fmla="*/ 1220624 h 3094100"/>
                <a:gd name="connsiteX10" fmla="*/ 1095863 w 3944466"/>
                <a:gd name="connsiteY10" fmla="*/ 2597224 h 3094100"/>
                <a:gd name="connsiteX11" fmla="*/ 478043 w 3944466"/>
                <a:gd name="connsiteY11" fmla="*/ 2122589 h 3094100"/>
                <a:gd name="connsiteX12" fmla="*/ 224798 w 3944466"/>
                <a:gd name="connsiteY12" fmla="*/ 3058062 h 3094100"/>
                <a:gd name="connsiteX0" fmla="*/ 478043 w 3944466"/>
                <a:gd name="connsiteY0" fmla="*/ 2122589 h 2618995"/>
                <a:gd name="connsiteX1" fmla="*/ 55665 w 3944466"/>
                <a:gd name="connsiteY1" fmla="*/ 2618995 h 2618995"/>
                <a:gd name="connsiteX2" fmla="*/ 388911 w 3944466"/>
                <a:gd name="connsiteY2" fmla="*/ 920897 h 2618995"/>
                <a:gd name="connsiteX3" fmla="*/ 2389132 w 3944466"/>
                <a:gd name="connsiteY3" fmla="*/ 150493 h 2618995"/>
                <a:gd name="connsiteX4" fmla="*/ 3944466 w 3944466"/>
                <a:gd name="connsiteY4" fmla="*/ 1625397 h 2618995"/>
                <a:gd name="connsiteX5" fmla="*/ 3944465 w 3944466"/>
                <a:gd name="connsiteY5" fmla="*/ 1625394 h 2618995"/>
                <a:gd name="connsiteX6" fmla="*/ 3513483 w 3944466"/>
                <a:gd name="connsiteY6" fmla="*/ 2119423 h 2618995"/>
                <a:gd name="connsiteX7" fmla="*/ 2893378 w 3944466"/>
                <a:gd name="connsiteY7" fmla="*/ 1625391 h 2618995"/>
                <a:gd name="connsiteX8" fmla="*/ 2893378 w 3944466"/>
                <a:gd name="connsiteY8" fmla="*/ 1625391 h 2618995"/>
                <a:gd name="connsiteX9" fmla="*/ 1513069 w 3944466"/>
                <a:gd name="connsiteY9" fmla="*/ 1220624 h 2618995"/>
                <a:gd name="connsiteX10" fmla="*/ 1095863 w 3944466"/>
                <a:gd name="connsiteY10" fmla="*/ 2597224 h 2618995"/>
                <a:gd name="connsiteX11" fmla="*/ 478043 w 3944466"/>
                <a:gd name="connsiteY11" fmla="*/ 2122589 h 2618995"/>
                <a:gd name="connsiteX0" fmla="*/ 555165 w 4021588"/>
                <a:gd name="connsiteY0" fmla="*/ 2122589 h 2618995"/>
                <a:gd name="connsiteX1" fmla="*/ 132787 w 4021588"/>
                <a:gd name="connsiteY1" fmla="*/ 2618995 h 2618995"/>
                <a:gd name="connsiteX2" fmla="*/ 466033 w 4021588"/>
                <a:gd name="connsiteY2" fmla="*/ 920897 h 2618995"/>
                <a:gd name="connsiteX3" fmla="*/ 2466254 w 4021588"/>
                <a:gd name="connsiteY3" fmla="*/ 150493 h 2618995"/>
                <a:gd name="connsiteX4" fmla="*/ 4021588 w 4021588"/>
                <a:gd name="connsiteY4" fmla="*/ 1625397 h 2618995"/>
                <a:gd name="connsiteX5" fmla="*/ 4021587 w 4021588"/>
                <a:gd name="connsiteY5" fmla="*/ 1625394 h 2618995"/>
                <a:gd name="connsiteX6" fmla="*/ 3590605 w 4021588"/>
                <a:gd name="connsiteY6" fmla="*/ 2119423 h 2618995"/>
                <a:gd name="connsiteX7" fmla="*/ 2970500 w 4021588"/>
                <a:gd name="connsiteY7" fmla="*/ 1625391 h 2618995"/>
                <a:gd name="connsiteX8" fmla="*/ 2970500 w 4021588"/>
                <a:gd name="connsiteY8" fmla="*/ 1625391 h 2618995"/>
                <a:gd name="connsiteX9" fmla="*/ 1590191 w 4021588"/>
                <a:gd name="connsiteY9" fmla="*/ 1220624 h 2618995"/>
                <a:gd name="connsiteX10" fmla="*/ 1172985 w 4021588"/>
                <a:gd name="connsiteY10" fmla="*/ 2597224 h 2618995"/>
                <a:gd name="connsiteX11" fmla="*/ 555165 w 4021588"/>
                <a:gd name="connsiteY11" fmla="*/ 2122589 h 2618995"/>
                <a:gd name="connsiteX0" fmla="*/ 555165 w 4021588"/>
                <a:gd name="connsiteY0" fmla="*/ 2122589 h 2618995"/>
                <a:gd name="connsiteX1" fmla="*/ 132787 w 4021588"/>
                <a:gd name="connsiteY1" fmla="*/ 2618995 h 2618995"/>
                <a:gd name="connsiteX2" fmla="*/ 466033 w 4021588"/>
                <a:gd name="connsiteY2" fmla="*/ 920897 h 2618995"/>
                <a:gd name="connsiteX3" fmla="*/ 2466254 w 4021588"/>
                <a:gd name="connsiteY3" fmla="*/ 150493 h 2618995"/>
                <a:gd name="connsiteX4" fmla="*/ 4021588 w 4021588"/>
                <a:gd name="connsiteY4" fmla="*/ 1625397 h 2618995"/>
                <a:gd name="connsiteX5" fmla="*/ 4021587 w 4021588"/>
                <a:gd name="connsiteY5" fmla="*/ 1625394 h 2618995"/>
                <a:gd name="connsiteX6" fmla="*/ 3590605 w 4021588"/>
                <a:gd name="connsiteY6" fmla="*/ 2119423 h 2618995"/>
                <a:gd name="connsiteX7" fmla="*/ 2970500 w 4021588"/>
                <a:gd name="connsiteY7" fmla="*/ 1625391 h 2618995"/>
                <a:gd name="connsiteX8" fmla="*/ 2970500 w 4021588"/>
                <a:gd name="connsiteY8" fmla="*/ 1625391 h 2618995"/>
                <a:gd name="connsiteX9" fmla="*/ 1590191 w 4021588"/>
                <a:gd name="connsiteY9" fmla="*/ 1220624 h 2618995"/>
                <a:gd name="connsiteX10" fmla="*/ 1172985 w 4021588"/>
                <a:gd name="connsiteY10" fmla="*/ 2597224 h 2618995"/>
                <a:gd name="connsiteX11" fmla="*/ 555165 w 4021588"/>
                <a:gd name="connsiteY11" fmla="*/ 2122589 h 2618995"/>
                <a:gd name="connsiteX0" fmla="*/ 555165 w 4021588"/>
                <a:gd name="connsiteY0" fmla="*/ 2122589 h 2618995"/>
                <a:gd name="connsiteX1" fmla="*/ 132787 w 4021588"/>
                <a:gd name="connsiteY1" fmla="*/ 2618995 h 2618995"/>
                <a:gd name="connsiteX2" fmla="*/ 466033 w 4021588"/>
                <a:gd name="connsiteY2" fmla="*/ 920897 h 2618995"/>
                <a:gd name="connsiteX3" fmla="*/ 2466254 w 4021588"/>
                <a:gd name="connsiteY3" fmla="*/ 150493 h 2618995"/>
                <a:gd name="connsiteX4" fmla="*/ 4021588 w 4021588"/>
                <a:gd name="connsiteY4" fmla="*/ 1625397 h 2618995"/>
                <a:gd name="connsiteX5" fmla="*/ 4021587 w 4021588"/>
                <a:gd name="connsiteY5" fmla="*/ 1625394 h 2618995"/>
                <a:gd name="connsiteX6" fmla="*/ 3590605 w 4021588"/>
                <a:gd name="connsiteY6" fmla="*/ 2119423 h 2618995"/>
                <a:gd name="connsiteX7" fmla="*/ 2970500 w 4021588"/>
                <a:gd name="connsiteY7" fmla="*/ 1625391 h 2618995"/>
                <a:gd name="connsiteX8" fmla="*/ 2970500 w 4021588"/>
                <a:gd name="connsiteY8" fmla="*/ 1625391 h 2618995"/>
                <a:gd name="connsiteX9" fmla="*/ 1590191 w 4021588"/>
                <a:gd name="connsiteY9" fmla="*/ 1220624 h 2618995"/>
                <a:gd name="connsiteX10" fmla="*/ 1172985 w 4021588"/>
                <a:gd name="connsiteY10" fmla="*/ 2597224 h 2618995"/>
                <a:gd name="connsiteX11" fmla="*/ 555165 w 4021588"/>
                <a:gd name="connsiteY11" fmla="*/ 2122589 h 2618995"/>
                <a:gd name="connsiteX0" fmla="*/ 535167 w 4001590"/>
                <a:gd name="connsiteY0" fmla="*/ 2122589 h 2618995"/>
                <a:gd name="connsiteX1" fmla="*/ 112789 w 4001590"/>
                <a:gd name="connsiteY1" fmla="*/ 2618995 h 2618995"/>
                <a:gd name="connsiteX2" fmla="*/ 446035 w 4001590"/>
                <a:gd name="connsiteY2" fmla="*/ 920897 h 2618995"/>
                <a:gd name="connsiteX3" fmla="*/ 2446256 w 4001590"/>
                <a:gd name="connsiteY3" fmla="*/ 150493 h 2618995"/>
                <a:gd name="connsiteX4" fmla="*/ 4001590 w 4001590"/>
                <a:gd name="connsiteY4" fmla="*/ 1625397 h 2618995"/>
                <a:gd name="connsiteX5" fmla="*/ 4001589 w 4001590"/>
                <a:gd name="connsiteY5" fmla="*/ 1625394 h 2618995"/>
                <a:gd name="connsiteX6" fmla="*/ 3570607 w 4001590"/>
                <a:gd name="connsiteY6" fmla="*/ 2119423 h 2618995"/>
                <a:gd name="connsiteX7" fmla="*/ 2950502 w 4001590"/>
                <a:gd name="connsiteY7" fmla="*/ 1625391 h 2618995"/>
                <a:gd name="connsiteX8" fmla="*/ 2950502 w 4001590"/>
                <a:gd name="connsiteY8" fmla="*/ 1625391 h 2618995"/>
                <a:gd name="connsiteX9" fmla="*/ 1570193 w 4001590"/>
                <a:gd name="connsiteY9" fmla="*/ 1220624 h 2618995"/>
                <a:gd name="connsiteX10" fmla="*/ 1152987 w 4001590"/>
                <a:gd name="connsiteY10" fmla="*/ 2597224 h 2618995"/>
                <a:gd name="connsiteX11" fmla="*/ 535167 w 4001590"/>
                <a:gd name="connsiteY11" fmla="*/ 2122589 h 2618995"/>
                <a:gd name="connsiteX0" fmla="*/ 535167 w 4001590"/>
                <a:gd name="connsiteY0" fmla="*/ 2122589 h 2618995"/>
                <a:gd name="connsiteX1" fmla="*/ 112789 w 4001590"/>
                <a:gd name="connsiteY1" fmla="*/ 2618995 h 2618995"/>
                <a:gd name="connsiteX2" fmla="*/ 446035 w 4001590"/>
                <a:gd name="connsiteY2" fmla="*/ 920897 h 2618995"/>
                <a:gd name="connsiteX3" fmla="*/ 2446256 w 4001590"/>
                <a:gd name="connsiteY3" fmla="*/ 150493 h 2618995"/>
                <a:gd name="connsiteX4" fmla="*/ 4001590 w 4001590"/>
                <a:gd name="connsiteY4" fmla="*/ 1625397 h 2618995"/>
                <a:gd name="connsiteX5" fmla="*/ 4001589 w 4001590"/>
                <a:gd name="connsiteY5" fmla="*/ 1625394 h 2618995"/>
                <a:gd name="connsiteX6" fmla="*/ 3570607 w 4001590"/>
                <a:gd name="connsiteY6" fmla="*/ 2119423 h 2618995"/>
                <a:gd name="connsiteX7" fmla="*/ 2950502 w 4001590"/>
                <a:gd name="connsiteY7" fmla="*/ 1625391 h 2618995"/>
                <a:gd name="connsiteX8" fmla="*/ 2950502 w 4001590"/>
                <a:gd name="connsiteY8" fmla="*/ 1625391 h 2618995"/>
                <a:gd name="connsiteX9" fmla="*/ 1570193 w 4001590"/>
                <a:gd name="connsiteY9" fmla="*/ 1220624 h 2618995"/>
                <a:gd name="connsiteX10" fmla="*/ 1152987 w 4001590"/>
                <a:gd name="connsiteY10" fmla="*/ 2597224 h 2618995"/>
                <a:gd name="connsiteX11" fmla="*/ 535167 w 4001590"/>
                <a:gd name="connsiteY11" fmla="*/ 2122589 h 2618995"/>
                <a:gd name="connsiteX0" fmla="*/ 535167 w 4001590"/>
                <a:gd name="connsiteY0" fmla="*/ 2122589 h 2618995"/>
                <a:gd name="connsiteX1" fmla="*/ 112789 w 4001590"/>
                <a:gd name="connsiteY1" fmla="*/ 2618995 h 2618995"/>
                <a:gd name="connsiteX2" fmla="*/ 446035 w 4001590"/>
                <a:gd name="connsiteY2" fmla="*/ 920897 h 2618995"/>
                <a:gd name="connsiteX3" fmla="*/ 2446256 w 4001590"/>
                <a:gd name="connsiteY3" fmla="*/ 150493 h 2618995"/>
                <a:gd name="connsiteX4" fmla="*/ 4001590 w 4001590"/>
                <a:gd name="connsiteY4" fmla="*/ 1625397 h 2618995"/>
                <a:gd name="connsiteX5" fmla="*/ 4001589 w 4001590"/>
                <a:gd name="connsiteY5" fmla="*/ 1625394 h 2618995"/>
                <a:gd name="connsiteX6" fmla="*/ 3570607 w 4001590"/>
                <a:gd name="connsiteY6" fmla="*/ 2119423 h 2618995"/>
                <a:gd name="connsiteX7" fmla="*/ 2950502 w 4001590"/>
                <a:gd name="connsiteY7" fmla="*/ 1625391 h 2618995"/>
                <a:gd name="connsiteX8" fmla="*/ 2950502 w 4001590"/>
                <a:gd name="connsiteY8" fmla="*/ 1625391 h 2618995"/>
                <a:gd name="connsiteX9" fmla="*/ 1570193 w 4001590"/>
                <a:gd name="connsiteY9" fmla="*/ 1220624 h 2618995"/>
                <a:gd name="connsiteX10" fmla="*/ 1152987 w 4001590"/>
                <a:gd name="connsiteY10" fmla="*/ 2597224 h 2618995"/>
                <a:gd name="connsiteX11" fmla="*/ 535167 w 4001590"/>
                <a:gd name="connsiteY11" fmla="*/ 2122589 h 2618995"/>
                <a:gd name="connsiteX0" fmla="*/ 535167 w 4001590"/>
                <a:gd name="connsiteY0" fmla="*/ 2122589 h 2618995"/>
                <a:gd name="connsiteX1" fmla="*/ 112789 w 4001590"/>
                <a:gd name="connsiteY1" fmla="*/ 2618995 h 2618995"/>
                <a:gd name="connsiteX2" fmla="*/ 446035 w 4001590"/>
                <a:gd name="connsiteY2" fmla="*/ 920897 h 2618995"/>
                <a:gd name="connsiteX3" fmla="*/ 2446256 w 4001590"/>
                <a:gd name="connsiteY3" fmla="*/ 150493 h 2618995"/>
                <a:gd name="connsiteX4" fmla="*/ 4001590 w 4001590"/>
                <a:gd name="connsiteY4" fmla="*/ 1625397 h 2618995"/>
                <a:gd name="connsiteX5" fmla="*/ 4001589 w 4001590"/>
                <a:gd name="connsiteY5" fmla="*/ 1625394 h 2618995"/>
                <a:gd name="connsiteX6" fmla="*/ 3570607 w 4001590"/>
                <a:gd name="connsiteY6" fmla="*/ 2119423 h 2618995"/>
                <a:gd name="connsiteX7" fmla="*/ 2950502 w 4001590"/>
                <a:gd name="connsiteY7" fmla="*/ 1625391 h 2618995"/>
                <a:gd name="connsiteX8" fmla="*/ 2950502 w 4001590"/>
                <a:gd name="connsiteY8" fmla="*/ 1625391 h 2618995"/>
                <a:gd name="connsiteX9" fmla="*/ 1570193 w 4001590"/>
                <a:gd name="connsiteY9" fmla="*/ 1220624 h 2618995"/>
                <a:gd name="connsiteX10" fmla="*/ 1152987 w 4001590"/>
                <a:gd name="connsiteY10" fmla="*/ 2597224 h 2618995"/>
                <a:gd name="connsiteX11" fmla="*/ 535167 w 4001590"/>
                <a:gd name="connsiteY11" fmla="*/ 2122589 h 2618995"/>
                <a:gd name="connsiteX0" fmla="*/ 89132 w 3555555"/>
                <a:gd name="connsiteY0" fmla="*/ 2122589 h 2597224"/>
                <a:gd name="connsiteX1" fmla="*/ 0 w 3555555"/>
                <a:gd name="connsiteY1" fmla="*/ 920897 h 2597224"/>
                <a:gd name="connsiteX2" fmla="*/ 2000221 w 3555555"/>
                <a:gd name="connsiteY2" fmla="*/ 150493 h 2597224"/>
                <a:gd name="connsiteX3" fmla="*/ 3555555 w 3555555"/>
                <a:gd name="connsiteY3" fmla="*/ 1625397 h 2597224"/>
                <a:gd name="connsiteX4" fmla="*/ 3555554 w 3555555"/>
                <a:gd name="connsiteY4" fmla="*/ 1625394 h 2597224"/>
                <a:gd name="connsiteX5" fmla="*/ 3124572 w 3555555"/>
                <a:gd name="connsiteY5" fmla="*/ 2119423 h 2597224"/>
                <a:gd name="connsiteX6" fmla="*/ 2504467 w 3555555"/>
                <a:gd name="connsiteY6" fmla="*/ 1625391 h 2597224"/>
                <a:gd name="connsiteX7" fmla="*/ 2504467 w 3555555"/>
                <a:gd name="connsiteY7" fmla="*/ 1625391 h 2597224"/>
                <a:gd name="connsiteX8" fmla="*/ 1124158 w 3555555"/>
                <a:gd name="connsiteY8" fmla="*/ 1220624 h 2597224"/>
                <a:gd name="connsiteX9" fmla="*/ 706952 w 3555555"/>
                <a:gd name="connsiteY9" fmla="*/ 2597224 h 2597224"/>
                <a:gd name="connsiteX10" fmla="*/ 89132 w 3555555"/>
                <a:gd name="connsiteY10" fmla="*/ 2122589 h 2597224"/>
                <a:gd name="connsiteX0" fmla="*/ 706952 w 3555555"/>
                <a:gd name="connsiteY0" fmla="*/ 2597224 h 2597224"/>
                <a:gd name="connsiteX1" fmla="*/ 0 w 3555555"/>
                <a:gd name="connsiteY1" fmla="*/ 920897 h 2597224"/>
                <a:gd name="connsiteX2" fmla="*/ 2000221 w 3555555"/>
                <a:gd name="connsiteY2" fmla="*/ 150493 h 2597224"/>
                <a:gd name="connsiteX3" fmla="*/ 3555555 w 3555555"/>
                <a:gd name="connsiteY3" fmla="*/ 1625397 h 2597224"/>
                <a:gd name="connsiteX4" fmla="*/ 3555554 w 3555555"/>
                <a:gd name="connsiteY4" fmla="*/ 1625394 h 2597224"/>
                <a:gd name="connsiteX5" fmla="*/ 3124572 w 3555555"/>
                <a:gd name="connsiteY5" fmla="*/ 2119423 h 2597224"/>
                <a:gd name="connsiteX6" fmla="*/ 2504467 w 3555555"/>
                <a:gd name="connsiteY6" fmla="*/ 1625391 h 2597224"/>
                <a:gd name="connsiteX7" fmla="*/ 2504467 w 3555555"/>
                <a:gd name="connsiteY7" fmla="*/ 1625391 h 2597224"/>
                <a:gd name="connsiteX8" fmla="*/ 1124158 w 3555555"/>
                <a:gd name="connsiteY8" fmla="*/ 1220624 h 2597224"/>
                <a:gd name="connsiteX9" fmla="*/ 706952 w 3555555"/>
                <a:gd name="connsiteY9" fmla="*/ 2597224 h 2597224"/>
                <a:gd name="connsiteX0" fmla="*/ 1270168 w 3701565"/>
                <a:gd name="connsiteY0" fmla="*/ 1220624 h 2119423"/>
                <a:gd name="connsiteX1" fmla="*/ 146010 w 3701565"/>
                <a:gd name="connsiteY1" fmla="*/ 920897 h 2119423"/>
                <a:gd name="connsiteX2" fmla="*/ 2146231 w 3701565"/>
                <a:gd name="connsiteY2" fmla="*/ 150493 h 2119423"/>
                <a:gd name="connsiteX3" fmla="*/ 3701565 w 3701565"/>
                <a:gd name="connsiteY3" fmla="*/ 1625397 h 2119423"/>
                <a:gd name="connsiteX4" fmla="*/ 3701564 w 3701565"/>
                <a:gd name="connsiteY4" fmla="*/ 1625394 h 2119423"/>
                <a:gd name="connsiteX5" fmla="*/ 3270582 w 3701565"/>
                <a:gd name="connsiteY5" fmla="*/ 2119423 h 2119423"/>
                <a:gd name="connsiteX6" fmla="*/ 2650477 w 3701565"/>
                <a:gd name="connsiteY6" fmla="*/ 1625391 h 2119423"/>
                <a:gd name="connsiteX7" fmla="*/ 2650477 w 3701565"/>
                <a:gd name="connsiteY7" fmla="*/ 1625391 h 2119423"/>
                <a:gd name="connsiteX8" fmla="*/ 1270168 w 3701565"/>
                <a:gd name="connsiteY8" fmla="*/ 1220624 h 2119423"/>
                <a:gd name="connsiteX0" fmla="*/ 1014361 w 3752727"/>
                <a:gd name="connsiteY0" fmla="*/ 1475427 h 2119423"/>
                <a:gd name="connsiteX1" fmla="*/ 197172 w 3752727"/>
                <a:gd name="connsiteY1" fmla="*/ 920897 h 2119423"/>
                <a:gd name="connsiteX2" fmla="*/ 2197393 w 3752727"/>
                <a:gd name="connsiteY2" fmla="*/ 150493 h 2119423"/>
                <a:gd name="connsiteX3" fmla="*/ 3752727 w 3752727"/>
                <a:gd name="connsiteY3" fmla="*/ 1625397 h 2119423"/>
                <a:gd name="connsiteX4" fmla="*/ 3752726 w 3752727"/>
                <a:gd name="connsiteY4" fmla="*/ 1625394 h 2119423"/>
                <a:gd name="connsiteX5" fmla="*/ 3321744 w 3752727"/>
                <a:gd name="connsiteY5" fmla="*/ 2119423 h 2119423"/>
                <a:gd name="connsiteX6" fmla="*/ 2701639 w 3752727"/>
                <a:gd name="connsiteY6" fmla="*/ 1625391 h 2119423"/>
                <a:gd name="connsiteX7" fmla="*/ 2701639 w 3752727"/>
                <a:gd name="connsiteY7" fmla="*/ 1625391 h 2119423"/>
                <a:gd name="connsiteX8" fmla="*/ 1014361 w 3752727"/>
                <a:gd name="connsiteY8" fmla="*/ 1475427 h 2119423"/>
                <a:gd name="connsiteX0" fmla="*/ 1014361 w 3752727"/>
                <a:gd name="connsiteY0" fmla="*/ 1475427 h 2119423"/>
                <a:gd name="connsiteX1" fmla="*/ 197172 w 3752727"/>
                <a:gd name="connsiteY1" fmla="*/ 920897 h 2119423"/>
                <a:gd name="connsiteX2" fmla="*/ 2197393 w 3752727"/>
                <a:gd name="connsiteY2" fmla="*/ 150493 h 2119423"/>
                <a:gd name="connsiteX3" fmla="*/ 3752727 w 3752727"/>
                <a:gd name="connsiteY3" fmla="*/ 1625397 h 2119423"/>
                <a:gd name="connsiteX4" fmla="*/ 3752726 w 3752727"/>
                <a:gd name="connsiteY4" fmla="*/ 1625394 h 2119423"/>
                <a:gd name="connsiteX5" fmla="*/ 3321744 w 3752727"/>
                <a:gd name="connsiteY5" fmla="*/ 2119423 h 2119423"/>
                <a:gd name="connsiteX6" fmla="*/ 2701639 w 3752727"/>
                <a:gd name="connsiteY6" fmla="*/ 1625391 h 2119423"/>
                <a:gd name="connsiteX7" fmla="*/ 2701639 w 3752727"/>
                <a:gd name="connsiteY7" fmla="*/ 1625391 h 2119423"/>
                <a:gd name="connsiteX8" fmla="*/ 1014361 w 3752727"/>
                <a:gd name="connsiteY8" fmla="*/ 1475427 h 2119423"/>
                <a:gd name="connsiteX0" fmla="*/ 587314 w 3325680"/>
                <a:gd name="connsiteY0" fmla="*/ 1521133 h 2165129"/>
                <a:gd name="connsiteX1" fmla="*/ 197172 w 3325680"/>
                <a:gd name="connsiteY1" fmla="*/ 493906 h 2165129"/>
                <a:gd name="connsiteX2" fmla="*/ 1770346 w 3325680"/>
                <a:gd name="connsiteY2" fmla="*/ 196199 h 2165129"/>
                <a:gd name="connsiteX3" fmla="*/ 3325680 w 3325680"/>
                <a:gd name="connsiteY3" fmla="*/ 1671103 h 2165129"/>
                <a:gd name="connsiteX4" fmla="*/ 3325679 w 3325680"/>
                <a:gd name="connsiteY4" fmla="*/ 1671100 h 2165129"/>
                <a:gd name="connsiteX5" fmla="*/ 2894697 w 3325680"/>
                <a:gd name="connsiteY5" fmla="*/ 2165129 h 2165129"/>
                <a:gd name="connsiteX6" fmla="*/ 2274592 w 3325680"/>
                <a:gd name="connsiteY6" fmla="*/ 1671097 h 2165129"/>
                <a:gd name="connsiteX7" fmla="*/ 2274592 w 3325680"/>
                <a:gd name="connsiteY7" fmla="*/ 1671097 h 2165129"/>
                <a:gd name="connsiteX8" fmla="*/ 587314 w 3325680"/>
                <a:gd name="connsiteY8" fmla="*/ 1521133 h 2165129"/>
                <a:gd name="connsiteX0" fmla="*/ 587314 w 3325680"/>
                <a:gd name="connsiteY0" fmla="*/ 1521133 h 2165129"/>
                <a:gd name="connsiteX1" fmla="*/ 197172 w 3325680"/>
                <a:gd name="connsiteY1" fmla="*/ 493906 h 2165129"/>
                <a:gd name="connsiteX2" fmla="*/ 1770346 w 3325680"/>
                <a:gd name="connsiteY2" fmla="*/ 196199 h 2165129"/>
                <a:gd name="connsiteX3" fmla="*/ 3325680 w 3325680"/>
                <a:gd name="connsiteY3" fmla="*/ 1671103 h 2165129"/>
                <a:gd name="connsiteX4" fmla="*/ 3325679 w 3325680"/>
                <a:gd name="connsiteY4" fmla="*/ 1671100 h 2165129"/>
                <a:gd name="connsiteX5" fmla="*/ 2894697 w 3325680"/>
                <a:gd name="connsiteY5" fmla="*/ 2165129 h 2165129"/>
                <a:gd name="connsiteX6" fmla="*/ 2274592 w 3325680"/>
                <a:gd name="connsiteY6" fmla="*/ 1671097 h 2165129"/>
                <a:gd name="connsiteX7" fmla="*/ 2274592 w 3325680"/>
                <a:gd name="connsiteY7" fmla="*/ 1671097 h 2165129"/>
                <a:gd name="connsiteX8" fmla="*/ 587314 w 3325680"/>
                <a:gd name="connsiteY8" fmla="*/ 1521133 h 2165129"/>
                <a:gd name="connsiteX0" fmla="*/ 623403 w 3361769"/>
                <a:gd name="connsiteY0" fmla="*/ 1505706 h 2149702"/>
                <a:gd name="connsiteX1" fmla="*/ 197172 w 3361769"/>
                <a:gd name="connsiteY1" fmla="*/ 571046 h 2149702"/>
                <a:gd name="connsiteX2" fmla="*/ 1806435 w 3361769"/>
                <a:gd name="connsiteY2" fmla="*/ 180772 h 2149702"/>
                <a:gd name="connsiteX3" fmla="*/ 3361769 w 3361769"/>
                <a:gd name="connsiteY3" fmla="*/ 1655676 h 2149702"/>
                <a:gd name="connsiteX4" fmla="*/ 3361768 w 3361769"/>
                <a:gd name="connsiteY4" fmla="*/ 1655673 h 2149702"/>
                <a:gd name="connsiteX5" fmla="*/ 2930786 w 3361769"/>
                <a:gd name="connsiteY5" fmla="*/ 2149702 h 2149702"/>
                <a:gd name="connsiteX6" fmla="*/ 2310681 w 3361769"/>
                <a:gd name="connsiteY6" fmla="*/ 1655670 h 2149702"/>
                <a:gd name="connsiteX7" fmla="*/ 2310681 w 3361769"/>
                <a:gd name="connsiteY7" fmla="*/ 1655670 h 2149702"/>
                <a:gd name="connsiteX8" fmla="*/ 623403 w 3361769"/>
                <a:gd name="connsiteY8" fmla="*/ 1505706 h 2149702"/>
                <a:gd name="connsiteX0" fmla="*/ 623403 w 3361769"/>
                <a:gd name="connsiteY0" fmla="*/ 1505706 h 2149702"/>
                <a:gd name="connsiteX1" fmla="*/ 197172 w 3361769"/>
                <a:gd name="connsiteY1" fmla="*/ 571046 h 2149702"/>
                <a:gd name="connsiteX2" fmla="*/ 1806435 w 3361769"/>
                <a:gd name="connsiteY2" fmla="*/ 180772 h 2149702"/>
                <a:gd name="connsiteX3" fmla="*/ 3361769 w 3361769"/>
                <a:gd name="connsiteY3" fmla="*/ 1655676 h 2149702"/>
                <a:gd name="connsiteX4" fmla="*/ 3361768 w 3361769"/>
                <a:gd name="connsiteY4" fmla="*/ 1655673 h 2149702"/>
                <a:gd name="connsiteX5" fmla="*/ 2930786 w 3361769"/>
                <a:gd name="connsiteY5" fmla="*/ 2149702 h 2149702"/>
                <a:gd name="connsiteX6" fmla="*/ 2310681 w 3361769"/>
                <a:gd name="connsiteY6" fmla="*/ 1655670 h 2149702"/>
                <a:gd name="connsiteX7" fmla="*/ 2310681 w 3361769"/>
                <a:gd name="connsiteY7" fmla="*/ 1655670 h 2149702"/>
                <a:gd name="connsiteX8" fmla="*/ 623403 w 3361769"/>
                <a:gd name="connsiteY8" fmla="*/ 1505706 h 2149702"/>
                <a:gd name="connsiteX0" fmla="*/ 623403 w 3361769"/>
                <a:gd name="connsiteY0" fmla="*/ 1505706 h 2149702"/>
                <a:gd name="connsiteX1" fmla="*/ 197172 w 3361769"/>
                <a:gd name="connsiteY1" fmla="*/ 571046 h 2149702"/>
                <a:gd name="connsiteX2" fmla="*/ 1806435 w 3361769"/>
                <a:gd name="connsiteY2" fmla="*/ 180772 h 2149702"/>
                <a:gd name="connsiteX3" fmla="*/ 3361769 w 3361769"/>
                <a:gd name="connsiteY3" fmla="*/ 1655676 h 2149702"/>
                <a:gd name="connsiteX4" fmla="*/ 3361768 w 3361769"/>
                <a:gd name="connsiteY4" fmla="*/ 1655673 h 2149702"/>
                <a:gd name="connsiteX5" fmla="*/ 2930786 w 3361769"/>
                <a:gd name="connsiteY5" fmla="*/ 2149702 h 2149702"/>
                <a:gd name="connsiteX6" fmla="*/ 2310681 w 3361769"/>
                <a:gd name="connsiteY6" fmla="*/ 1655670 h 2149702"/>
                <a:gd name="connsiteX7" fmla="*/ 2310681 w 3361769"/>
                <a:gd name="connsiteY7" fmla="*/ 1655670 h 2149702"/>
                <a:gd name="connsiteX8" fmla="*/ 623403 w 3361769"/>
                <a:gd name="connsiteY8" fmla="*/ 1505706 h 2149702"/>
                <a:gd name="connsiteX0" fmla="*/ 623403 w 3361769"/>
                <a:gd name="connsiteY0" fmla="*/ 1505706 h 2149702"/>
                <a:gd name="connsiteX1" fmla="*/ 197172 w 3361769"/>
                <a:gd name="connsiteY1" fmla="*/ 571046 h 2149702"/>
                <a:gd name="connsiteX2" fmla="*/ 1806435 w 3361769"/>
                <a:gd name="connsiteY2" fmla="*/ 180772 h 2149702"/>
                <a:gd name="connsiteX3" fmla="*/ 3361769 w 3361769"/>
                <a:gd name="connsiteY3" fmla="*/ 1655676 h 2149702"/>
                <a:gd name="connsiteX4" fmla="*/ 3361768 w 3361769"/>
                <a:gd name="connsiteY4" fmla="*/ 1655673 h 2149702"/>
                <a:gd name="connsiteX5" fmla="*/ 2930786 w 3361769"/>
                <a:gd name="connsiteY5" fmla="*/ 2149702 h 2149702"/>
                <a:gd name="connsiteX6" fmla="*/ 2310681 w 3361769"/>
                <a:gd name="connsiteY6" fmla="*/ 1655670 h 2149702"/>
                <a:gd name="connsiteX7" fmla="*/ 2310681 w 3361769"/>
                <a:gd name="connsiteY7" fmla="*/ 1655670 h 2149702"/>
                <a:gd name="connsiteX8" fmla="*/ 623403 w 3361769"/>
                <a:gd name="connsiteY8" fmla="*/ 1505706 h 2149702"/>
                <a:gd name="connsiteX0" fmla="*/ 623403 w 3361769"/>
                <a:gd name="connsiteY0" fmla="*/ 1505706 h 2149702"/>
                <a:gd name="connsiteX1" fmla="*/ 197172 w 3361769"/>
                <a:gd name="connsiteY1" fmla="*/ 571046 h 2149702"/>
                <a:gd name="connsiteX2" fmla="*/ 1806435 w 3361769"/>
                <a:gd name="connsiteY2" fmla="*/ 180772 h 2149702"/>
                <a:gd name="connsiteX3" fmla="*/ 3361769 w 3361769"/>
                <a:gd name="connsiteY3" fmla="*/ 1655676 h 2149702"/>
                <a:gd name="connsiteX4" fmla="*/ 3361768 w 3361769"/>
                <a:gd name="connsiteY4" fmla="*/ 1655673 h 2149702"/>
                <a:gd name="connsiteX5" fmla="*/ 2930786 w 3361769"/>
                <a:gd name="connsiteY5" fmla="*/ 2149702 h 2149702"/>
                <a:gd name="connsiteX6" fmla="*/ 2310681 w 3361769"/>
                <a:gd name="connsiteY6" fmla="*/ 1655670 h 2149702"/>
                <a:gd name="connsiteX7" fmla="*/ 2310681 w 3361769"/>
                <a:gd name="connsiteY7" fmla="*/ 1655670 h 2149702"/>
                <a:gd name="connsiteX8" fmla="*/ 623403 w 3361769"/>
                <a:gd name="connsiteY8" fmla="*/ 1505706 h 2149702"/>
                <a:gd name="connsiteX0" fmla="*/ 623403 w 3361769"/>
                <a:gd name="connsiteY0" fmla="*/ 1505706 h 2149702"/>
                <a:gd name="connsiteX1" fmla="*/ 197172 w 3361769"/>
                <a:gd name="connsiteY1" fmla="*/ 571046 h 2149702"/>
                <a:gd name="connsiteX2" fmla="*/ 1806435 w 3361769"/>
                <a:gd name="connsiteY2" fmla="*/ 180772 h 2149702"/>
                <a:gd name="connsiteX3" fmla="*/ 3361769 w 3361769"/>
                <a:gd name="connsiteY3" fmla="*/ 1655676 h 2149702"/>
                <a:gd name="connsiteX4" fmla="*/ 3361768 w 3361769"/>
                <a:gd name="connsiteY4" fmla="*/ 1655673 h 2149702"/>
                <a:gd name="connsiteX5" fmla="*/ 2930786 w 3361769"/>
                <a:gd name="connsiteY5" fmla="*/ 2149702 h 2149702"/>
                <a:gd name="connsiteX6" fmla="*/ 2310681 w 3361769"/>
                <a:gd name="connsiteY6" fmla="*/ 1655670 h 2149702"/>
                <a:gd name="connsiteX7" fmla="*/ 2310681 w 3361769"/>
                <a:gd name="connsiteY7" fmla="*/ 1655670 h 2149702"/>
                <a:gd name="connsiteX8" fmla="*/ 623403 w 3361769"/>
                <a:gd name="connsiteY8" fmla="*/ 1505706 h 2149702"/>
                <a:gd name="connsiteX0" fmla="*/ 623403 w 3361769"/>
                <a:gd name="connsiteY0" fmla="*/ 1459101 h 2103097"/>
                <a:gd name="connsiteX1" fmla="*/ 197172 w 3361769"/>
                <a:gd name="connsiteY1" fmla="*/ 524441 h 2103097"/>
                <a:gd name="connsiteX2" fmla="*/ 1806435 w 3361769"/>
                <a:gd name="connsiteY2" fmla="*/ 134167 h 2103097"/>
                <a:gd name="connsiteX3" fmla="*/ 3361769 w 3361769"/>
                <a:gd name="connsiteY3" fmla="*/ 1609071 h 2103097"/>
                <a:gd name="connsiteX4" fmla="*/ 3361768 w 3361769"/>
                <a:gd name="connsiteY4" fmla="*/ 1609068 h 2103097"/>
                <a:gd name="connsiteX5" fmla="*/ 2930786 w 3361769"/>
                <a:gd name="connsiteY5" fmla="*/ 2103097 h 2103097"/>
                <a:gd name="connsiteX6" fmla="*/ 2310681 w 3361769"/>
                <a:gd name="connsiteY6" fmla="*/ 1609065 h 2103097"/>
                <a:gd name="connsiteX7" fmla="*/ 2310681 w 3361769"/>
                <a:gd name="connsiteY7" fmla="*/ 1609065 h 2103097"/>
                <a:gd name="connsiteX8" fmla="*/ 623403 w 3361769"/>
                <a:gd name="connsiteY8" fmla="*/ 1459101 h 2103097"/>
                <a:gd name="connsiteX0" fmla="*/ 623403 w 3361769"/>
                <a:gd name="connsiteY0" fmla="*/ 1459101 h 2103097"/>
                <a:gd name="connsiteX1" fmla="*/ 197172 w 3361769"/>
                <a:gd name="connsiteY1" fmla="*/ 524441 h 2103097"/>
                <a:gd name="connsiteX2" fmla="*/ 1806435 w 3361769"/>
                <a:gd name="connsiteY2" fmla="*/ 134167 h 2103097"/>
                <a:gd name="connsiteX3" fmla="*/ 3361769 w 3361769"/>
                <a:gd name="connsiteY3" fmla="*/ 1609071 h 2103097"/>
                <a:gd name="connsiteX4" fmla="*/ 3361768 w 3361769"/>
                <a:gd name="connsiteY4" fmla="*/ 1609068 h 2103097"/>
                <a:gd name="connsiteX5" fmla="*/ 2930786 w 3361769"/>
                <a:gd name="connsiteY5" fmla="*/ 2103097 h 2103097"/>
                <a:gd name="connsiteX6" fmla="*/ 2310681 w 3361769"/>
                <a:gd name="connsiteY6" fmla="*/ 1609065 h 2103097"/>
                <a:gd name="connsiteX7" fmla="*/ 2310681 w 3361769"/>
                <a:gd name="connsiteY7" fmla="*/ 1609065 h 2103097"/>
                <a:gd name="connsiteX8" fmla="*/ 623403 w 3361769"/>
                <a:gd name="connsiteY8" fmla="*/ 1459101 h 2103097"/>
                <a:gd name="connsiteX0" fmla="*/ 623403 w 3361769"/>
                <a:gd name="connsiteY0" fmla="*/ 1434993 h 2078989"/>
                <a:gd name="connsiteX1" fmla="*/ 197172 w 3361769"/>
                <a:gd name="connsiteY1" fmla="*/ 500333 h 2078989"/>
                <a:gd name="connsiteX2" fmla="*/ 1806435 w 3361769"/>
                <a:gd name="connsiteY2" fmla="*/ 110059 h 2078989"/>
                <a:gd name="connsiteX3" fmla="*/ 3361769 w 3361769"/>
                <a:gd name="connsiteY3" fmla="*/ 1584963 h 2078989"/>
                <a:gd name="connsiteX4" fmla="*/ 3361768 w 3361769"/>
                <a:gd name="connsiteY4" fmla="*/ 1584960 h 2078989"/>
                <a:gd name="connsiteX5" fmla="*/ 2930786 w 3361769"/>
                <a:gd name="connsiteY5" fmla="*/ 2078989 h 2078989"/>
                <a:gd name="connsiteX6" fmla="*/ 2310681 w 3361769"/>
                <a:gd name="connsiteY6" fmla="*/ 1584957 h 2078989"/>
                <a:gd name="connsiteX7" fmla="*/ 2310681 w 3361769"/>
                <a:gd name="connsiteY7" fmla="*/ 1584957 h 2078989"/>
                <a:gd name="connsiteX8" fmla="*/ 623403 w 3361769"/>
                <a:gd name="connsiteY8" fmla="*/ 1434993 h 2078989"/>
                <a:gd name="connsiteX0" fmla="*/ 623403 w 3361769"/>
                <a:gd name="connsiteY0" fmla="*/ 1466483 h 2110479"/>
                <a:gd name="connsiteX1" fmla="*/ 197172 w 3361769"/>
                <a:gd name="connsiteY1" fmla="*/ 531823 h 2110479"/>
                <a:gd name="connsiteX2" fmla="*/ 1806435 w 3361769"/>
                <a:gd name="connsiteY2" fmla="*/ 141549 h 2110479"/>
                <a:gd name="connsiteX3" fmla="*/ 3361769 w 3361769"/>
                <a:gd name="connsiteY3" fmla="*/ 1616453 h 2110479"/>
                <a:gd name="connsiteX4" fmla="*/ 3361768 w 3361769"/>
                <a:gd name="connsiteY4" fmla="*/ 1616450 h 2110479"/>
                <a:gd name="connsiteX5" fmla="*/ 2930786 w 3361769"/>
                <a:gd name="connsiteY5" fmla="*/ 2110479 h 2110479"/>
                <a:gd name="connsiteX6" fmla="*/ 2310681 w 3361769"/>
                <a:gd name="connsiteY6" fmla="*/ 1616447 h 2110479"/>
                <a:gd name="connsiteX7" fmla="*/ 2310681 w 3361769"/>
                <a:gd name="connsiteY7" fmla="*/ 1616447 h 2110479"/>
                <a:gd name="connsiteX8" fmla="*/ 623403 w 3361769"/>
                <a:gd name="connsiteY8" fmla="*/ 1466483 h 2110479"/>
                <a:gd name="connsiteX0" fmla="*/ 623403 w 3361769"/>
                <a:gd name="connsiteY0" fmla="*/ 1473923 h 2117919"/>
                <a:gd name="connsiteX1" fmla="*/ 197172 w 3361769"/>
                <a:gd name="connsiteY1" fmla="*/ 539263 h 2117919"/>
                <a:gd name="connsiteX2" fmla="*/ 1819529 w 3361769"/>
                <a:gd name="connsiteY2" fmla="*/ 141549 h 2117919"/>
                <a:gd name="connsiteX3" fmla="*/ 3361769 w 3361769"/>
                <a:gd name="connsiteY3" fmla="*/ 1623893 h 2117919"/>
                <a:gd name="connsiteX4" fmla="*/ 3361768 w 3361769"/>
                <a:gd name="connsiteY4" fmla="*/ 1623890 h 2117919"/>
                <a:gd name="connsiteX5" fmla="*/ 2930786 w 3361769"/>
                <a:gd name="connsiteY5" fmla="*/ 2117919 h 2117919"/>
                <a:gd name="connsiteX6" fmla="*/ 2310681 w 3361769"/>
                <a:gd name="connsiteY6" fmla="*/ 1623887 h 2117919"/>
                <a:gd name="connsiteX7" fmla="*/ 2310681 w 3361769"/>
                <a:gd name="connsiteY7" fmla="*/ 1623887 h 2117919"/>
                <a:gd name="connsiteX8" fmla="*/ 623403 w 3361769"/>
                <a:gd name="connsiteY8" fmla="*/ 1473923 h 2117919"/>
                <a:gd name="connsiteX0" fmla="*/ 623403 w 3361769"/>
                <a:gd name="connsiteY0" fmla="*/ 1473923 h 2117919"/>
                <a:gd name="connsiteX1" fmla="*/ 197172 w 3361769"/>
                <a:gd name="connsiteY1" fmla="*/ 539263 h 2117919"/>
                <a:gd name="connsiteX2" fmla="*/ 1819529 w 3361769"/>
                <a:gd name="connsiteY2" fmla="*/ 141549 h 2117919"/>
                <a:gd name="connsiteX3" fmla="*/ 3361769 w 3361769"/>
                <a:gd name="connsiteY3" fmla="*/ 1623893 h 2117919"/>
                <a:gd name="connsiteX4" fmla="*/ 3361768 w 3361769"/>
                <a:gd name="connsiteY4" fmla="*/ 1623890 h 2117919"/>
                <a:gd name="connsiteX5" fmla="*/ 2930786 w 3361769"/>
                <a:gd name="connsiteY5" fmla="*/ 2117919 h 2117919"/>
                <a:gd name="connsiteX6" fmla="*/ 2310681 w 3361769"/>
                <a:gd name="connsiteY6" fmla="*/ 1623887 h 2117919"/>
                <a:gd name="connsiteX7" fmla="*/ 2310681 w 3361769"/>
                <a:gd name="connsiteY7" fmla="*/ 1623887 h 2117919"/>
                <a:gd name="connsiteX8" fmla="*/ 623403 w 3361769"/>
                <a:gd name="connsiteY8" fmla="*/ 1473923 h 2117919"/>
                <a:gd name="connsiteX0" fmla="*/ 623403 w 3361769"/>
                <a:gd name="connsiteY0" fmla="*/ 1471389 h 2115385"/>
                <a:gd name="connsiteX1" fmla="*/ 197172 w 3361769"/>
                <a:gd name="connsiteY1" fmla="*/ 536729 h 2115385"/>
                <a:gd name="connsiteX2" fmla="*/ 1819529 w 3361769"/>
                <a:gd name="connsiteY2" fmla="*/ 139015 h 2115385"/>
                <a:gd name="connsiteX3" fmla="*/ 3361769 w 3361769"/>
                <a:gd name="connsiteY3" fmla="*/ 1621359 h 2115385"/>
                <a:gd name="connsiteX4" fmla="*/ 3361768 w 3361769"/>
                <a:gd name="connsiteY4" fmla="*/ 1621356 h 2115385"/>
                <a:gd name="connsiteX5" fmla="*/ 2930786 w 3361769"/>
                <a:gd name="connsiteY5" fmla="*/ 2115385 h 2115385"/>
                <a:gd name="connsiteX6" fmla="*/ 2310681 w 3361769"/>
                <a:gd name="connsiteY6" fmla="*/ 1621353 h 2115385"/>
                <a:gd name="connsiteX7" fmla="*/ 2310681 w 3361769"/>
                <a:gd name="connsiteY7" fmla="*/ 1621353 h 2115385"/>
                <a:gd name="connsiteX8" fmla="*/ 623403 w 3361769"/>
                <a:gd name="connsiteY8" fmla="*/ 1471389 h 2115385"/>
                <a:gd name="connsiteX0" fmla="*/ 623403 w 3361769"/>
                <a:gd name="connsiteY0" fmla="*/ 1457313 h 2101309"/>
                <a:gd name="connsiteX1" fmla="*/ 197172 w 3361769"/>
                <a:gd name="connsiteY1" fmla="*/ 522653 h 2101309"/>
                <a:gd name="connsiteX2" fmla="*/ 1819529 w 3361769"/>
                <a:gd name="connsiteY2" fmla="*/ 124939 h 2101309"/>
                <a:gd name="connsiteX3" fmla="*/ 3361769 w 3361769"/>
                <a:gd name="connsiteY3" fmla="*/ 1607283 h 2101309"/>
                <a:gd name="connsiteX4" fmla="*/ 3361768 w 3361769"/>
                <a:gd name="connsiteY4" fmla="*/ 1607280 h 2101309"/>
                <a:gd name="connsiteX5" fmla="*/ 2930786 w 3361769"/>
                <a:gd name="connsiteY5" fmla="*/ 2101309 h 2101309"/>
                <a:gd name="connsiteX6" fmla="*/ 2310681 w 3361769"/>
                <a:gd name="connsiteY6" fmla="*/ 1607277 h 2101309"/>
                <a:gd name="connsiteX7" fmla="*/ 2310681 w 3361769"/>
                <a:gd name="connsiteY7" fmla="*/ 1607277 h 2101309"/>
                <a:gd name="connsiteX8" fmla="*/ 623403 w 3361769"/>
                <a:gd name="connsiteY8" fmla="*/ 1457313 h 2101309"/>
                <a:gd name="connsiteX0" fmla="*/ 623403 w 3361769"/>
                <a:gd name="connsiteY0" fmla="*/ 1447045 h 2091041"/>
                <a:gd name="connsiteX1" fmla="*/ 197172 w 3361769"/>
                <a:gd name="connsiteY1" fmla="*/ 512385 h 2091041"/>
                <a:gd name="connsiteX2" fmla="*/ 1816702 w 3361769"/>
                <a:gd name="connsiteY2" fmla="*/ 124939 h 2091041"/>
                <a:gd name="connsiteX3" fmla="*/ 3361769 w 3361769"/>
                <a:gd name="connsiteY3" fmla="*/ 1597015 h 2091041"/>
                <a:gd name="connsiteX4" fmla="*/ 3361768 w 3361769"/>
                <a:gd name="connsiteY4" fmla="*/ 1597012 h 2091041"/>
                <a:gd name="connsiteX5" fmla="*/ 2930786 w 3361769"/>
                <a:gd name="connsiteY5" fmla="*/ 2091041 h 2091041"/>
                <a:gd name="connsiteX6" fmla="*/ 2310681 w 3361769"/>
                <a:gd name="connsiteY6" fmla="*/ 1597009 h 2091041"/>
                <a:gd name="connsiteX7" fmla="*/ 2310681 w 3361769"/>
                <a:gd name="connsiteY7" fmla="*/ 1597009 h 2091041"/>
                <a:gd name="connsiteX8" fmla="*/ 623403 w 3361769"/>
                <a:gd name="connsiteY8" fmla="*/ 1447045 h 2091041"/>
                <a:gd name="connsiteX0" fmla="*/ 623403 w 3361769"/>
                <a:gd name="connsiteY0" fmla="*/ 1486327 h 2130323"/>
                <a:gd name="connsiteX1" fmla="*/ 197172 w 3361769"/>
                <a:gd name="connsiteY1" fmla="*/ 551667 h 2130323"/>
                <a:gd name="connsiteX2" fmla="*/ 1816702 w 3361769"/>
                <a:gd name="connsiteY2" fmla="*/ 164221 h 2130323"/>
                <a:gd name="connsiteX3" fmla="*/ 3361769 w 3361769"/>
                <a:gd name="connsiteY3" fmla="*/ 1636297 h 2130323"/>
                <a:gd name="connsiteX4" fmla="*/ 3361768 w 3361769"/>
                <a:gd name="connsiteY4" fmla="*/ 1636294 h 2130323"/>
                <a:gd name="connsiteX5" fmla="*/ 2930786 w 3361769"/>
                <a:gd name="connsiteY5" fmla="*/ 2130323 h 2130323"/>
                <a:gd name="connsiteX6" fmla="*/ 2310681 w 3361769"/>
                <a:gd name="connsiteY6" fmla="*/ 1636291 h 2130323"/>
                <a:gd name="connsiteX7" fmla="*/ 2310681 w 3361769"/>
                <a:gd name="connsiteY7" fmla="*/ 1636291 h 2130323"/>
                <a:gd name="connsiteX8" fmla="*/ 623403 w 3361769"/>
                <a:gd name="connsiteY8" fmla="*/ 1486327 h 2130323"/>
                <a:gd name="connsiteX0" fmla="*/ 623403 w 3361769"/>
                <a:gd name="connsiteY0" fmla="*/ 1486327 h 2130323"/>
                <a:gd name="connsiteX1" fmla="*/ 197172 w 3361769"/>
                <a:gd name="connsiteY1" fmla="*/ 551667 h 2130323"/>
                <a:gd name="connsiteX2" fmla="*/ 1816702 w 3361769"/>
                <a:gd name="connsiteY2" fmla="*/ 164221 h 2130323"/>
                <a:gd name="connsiteX3" fmla="*/ 3361769 w 3361769"/>
                <a:gd name="connsiteY3" fmla="*/ 1636297 h 2130323"/>
                <a:gd name="connsiteX4" fmla="*/ 3361768 w 3361769"/>
                <a:gd name="connsiteY4" fmla="*/ 1636294 h 2130323"/>
                <a:gd name="connsiteX5" fmla="*/ 2930786 w 3361769"/>
                <a:gd name="connsiteY5" fmla="*/ 2130323 h 2130323"/>
                <a:gd name="connsiteX6" fmla="*/ 2310681 w 3361769"/>
                <a:gd name="connsiteY6" fmla="*/ 1636291 h 2130323"/>
                <a:gd name="connsiteX7" fmla="*/ 2310681 w 3361769"/>
                <a:gd name="connsiteY7" fmla="*/ 1636291 h 2130323"/>
                <a:gd name="connsiteX8" fmla="*/ 623403 w 3361769"/>
                <a:gd name="connsiteY8" fmla="*/ 1486327 h 2130323"/>
                <a:gd name="connsiteX0" fmla="*/ 623403 w 3361769"/>
                <a:gd name="connsiteY0" fmla="*/ 1447045 h 2091041"/>
                <a:gd name="connsiteX1" fmla="*/ 197172 w 3361769"/>
                <a:gd name="connsiteY1" fmla="*/ 512385 h 2091041"/>
                <a:gd name="connsiteX2" fmla="*/ 1816702 w 3361769"/>
                <a:gd name="connsiteY2" fmla="*/ 124939 h 2091041"/>
                <a:gd name="connsiteX3" fmla="*/ 3361769 w 3361769"/>
                <a:gd name="connsiteY3" fmla="*/ 1597015 h 2091041"/>
                <a:gd name="connsiteX4" fmla="*/ 3361768 w 3361769"/>
                <a:gd name="connsiteY4" fmla="*/ 1597012 h 2091041"/>
                <a:gd name="connsiteX5" fmla="*/ 2930786 w 3361769"/>
                <a:gd name="connsiteY5" fmla="*/ 2091041 h 2091041"/>
                <a:gd name="connsiteX6" fmla="*/ 2310681 w 3361769"/>
                <a:gd name="connsiteY6" fmla="*/ 1597009 h 2091041"/>
                <a:gd name="connsiteX7" fmla="*/ 2310681 w 3361769"/>
                <a:gd name="connsiteY7" fmla="*/ 1597009 h 2091041"/>
                <a:gd name="connsiteX8" fmla="*/ 623403 w 3361769"/>
                <a:gd name="connsiteY8" fmla="*/ 1447045 h 2091041"/>
                <a:gd name="connsiteX0" fmla="*/ 623403 w 3361769"/>
                <a:gd name="connsiteY0" fmla="*/ 1465792 h 2109788"/>
                <a:gd name="connsiteX1" fmla="*/ 197172 w 3361769"/>
                <a:gd name="connsiteY1" fmla="*/ 531132 h 2109788"/>
                <a:gd name="connsiteX2" fmla="*/ 1816702 w 3361769"/>
                <a:gd name="connsiteY2" fmla="*/ 143686 h 2109788"/>
                <a:gd name="connsiteX3" fmla="*/ 3361769 w 3361769"/>
                <a:gd name="connsiteY3" fmla="*/ 1615762 h 2109788"/>
                <a:gd name="connsiteX4" fmla="*/ 3361768 w 3361769"/>
                <a:gd name="connsiteY4" fmla="*/ 1615759 h 2109788"/>
                <a:gd name="connsiteX5" fmla="*/ 2930786 w 3361769"/>
                <a:gd name="connsiteY5" fmla="*/ 2109788 h 2109788"/>
                <a:gd name="connsiteX6" fmla="*/ 2310681 w 3361769"/>
                <a:gd name="connsiteY6" fmla="*/ 1615756 h 2109788"/>
                <a:gd name="connsiteX7" fmla="*/ 2310681 w 3361769"/>
                <a:gd name="connsiteY7" fmla="*/ 1615756 h 2109788"/>
                <a:gd name="connsiteX8" fmla="*/ 623403 w 3361769"/>
                <a:gd name="connsiteY8" fmla="*/ 1465792 h 2109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61769" h="2109788">
                  <a:moveTo>
                    <a:pt x="623403" y="1465792"/>
                  </a:moveTo>
                  <a:cubicBezTo>
                    <a:pt x="205992" y="1348376"/>
                    <a:pt x="0" y="751954"/>
                    <a:pt x="197172" y="531132"/>
                  </a:cubicBezTo>
                  <a:cubicBezTo>
                    <a:pt x="513286" y="253809"/>
                    <a:pt x="1175227" y="0"/>
                    <a:pt x="1816702" y="143686"/>
                  </a:cubicBezTo>
                  <a:cubicBezTo>
                    <a:pt x="2552113" y="296005"/>
                    <a:pt x="3171197" y="865290"/>
                    <a:pt x="3361769" y="1615762"/>
                  </a:cubicBezTo>
                  <a:cubicBezTo>
                    <a:pt x="3361769" y="1615761"/>
                    <a:pt x="3361768" y="1615760"/>
                    <a:pt x="3361768" y="1615759"/>
                  </a:cubicBezTo>
                  <a:lnTo>
                    <a:pt x="2930786" y="2109788"/>
                  </a:lnTo>
                  <a:lnTo>
                    <a:pt x="2310681" y="1615756"/>
                  </a:lnTo>
                  <a:lnTo>
                    <a:pt x="2310681" y="1615756"/>
                  </a:lnTo>
                  <a:cubicBezTo>
                    <a:pt x="2039577" y="1124957"/>
                    <a:pt x="1201679" y="873752"/>
                    <a:pt x="623403" y="1465792"/>
                  </a:cubicBezTo>
                  <a:close/>
                </a:path>
              </a:pathLst>
            </a:custGeom>
            <a:solidFill>
              <a:schemeClr val="bg2"/>
            </a:solidFill>
            <a:ln>
              <a:solidFill>
                <a:schemeClr val="tx2"/>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985" tIns="89985" rIns="89985" bIns="89985" numCol="1" spcCol="1270" anchor="ctr" anchorCtr="0">
              <a:noAutofit/>
            </a:bodyPr>
            <a:lstStyle/>
            <a:p>
              <a:pPr algn="ctr" defTabSz="666694">
                <a:lnSpc>
                  <a:spcPct val="90000"/>
                </a:lnSpc>
                <a:spcBef>
                  <a:spcPct val="0"/>
                </a:spcBef>
                <a:spcAft>
                  <a:spcPct val="35000"/>
                </a:spcAft>
              </a:pPr>
              <a:endParaRPr lang="en-US" sz="1500">
                <a:solidFill>
                  <a:schemeClr val="tx1"/>
                </a:solidFill>
                <a:sym typeface="Segoe UI"/>
              </a:endParaRPr>
            </a:p>
          </p:txBody>
        </p:sp>
        <p:sp>
          <p:nvSpPr>
            <p:cNvPr id="37" name="Freeform 36"/>
            <p:cNvSpPr/>
            <p:nvPr>
              <p:custDataLst>
                <p:tags r:id="rId12"/>
              </p:custDataLst>
            </p:nvPr>
          </p:nvSpPr>
          <p:spPr>
            <a:xfrm rot="15527030">
              <a:off x="5670710" y="2145701"/>
              <a:ext cx="2136857" cy="1371451"/>
            </a:xfrm>
            <a:custGeom>
              <a:avLst/>
              <a:gdLst>
                <a:gd name="connsiteX0" fmla="*/ 348547 w 4038600"/>
                <a:gd name="connsiteY0" fmla="*/ 906891 h 4038600"/>
                <a:gd name="connsiteX1" fmla="*/ 2357628 w 4038600"/>
                <a:gd name="connsiteY1" fmla="*/ 40815 h 4038600"/>
                <a:gd name="connsiteX2" fmla="*/ 3964758 w 4038600"/>
                <a:gd name="connsiteY2" fmla="*/ 1525277 h 4038600"/>
                <a:gd name="connsiteX3" fmla="*/ 3964757 w 4038600"/>
                <a:gd name="connsiteY3" fmla="*/ 1525274 h 4038600"/>
                <a:gd name="connsiteX4" fmla="*/ 3533775 w 4038600"/>
                <a:gd name="connsiteY4" fmla="*/ 2019303 h 4038600"/>
                <a:gd name="connsiteX5" fmla="*/ 2913670 w 4038600"/>
                <a:gd name="connsiteY5" fmla="*/ 1525271 h 4038600"/>
                <a:gd name="connsiteX6" fmla="*/ 2913670 w 4038600"/>
                <a:gd name="connsiteY6" fmla="*/ 1525271 h 4038600"/>
                <a:gd name="connsiteX7" fmla="*/ 2061559 w 4038600"/>
                <a:gd name="connsiteY7" fmla="*/ 998426 h 4038600"/>
                <a:gd name="connsiteX8" fmla="*/ 1168818 w 4038600"/>
                <a:gd name="connsiteY8" fmla="*/ 1453038 h 4038600"/>
                <a:gd name="connsiteX9" fmla="*/ 348547 w 4038600"/>
                <a:gd name="connsiteY9" fmla="*/ 906891 h 4038600"/>
                <a:gd name="connsiteX0" fmla="*/ 0 w 3616211"/>
                <a:gd name="connsiteY0" fmla="*/ 999801 h 2112213"/>
                <a:gd name="connsiteX1" fmla="*/ 2009081 w 3616211"/>
                <a:gd name="connsiteY1" fmla="*/ 133725 h 2112213"/>
                <a:gd name="connsiteX2" fmla="*/ 3616211 w 3616211"/>
                <a:gd name="connsiteY2" fmla="*/ 1618187 h 2112213"/>
                <a:gd name="connsiteX3" fmla="*/ 3616210 w 3616211"/>
                <a:gd name="connsiteY3" fmla="*/ 1618184 h 2112213"/>
                <a:gd name="connsiteX4" fmla="*/ 3185228 w 3616211"/>
                <a:gd name="connsiteY4" fmla="*/ 2112213 h 2112213"/>
                <a:gd name="connsiteX5" fmla="*/ 2565123 w 3616211"/>
                <a:gd name="connsiteY5" fmla="*/ 1618181 h 2112213"/>
                <a:gd name="connsiteX6" fmla="*/ 2565123 w 3616211"/>
                <a:gd name="connsiteY6" fmla="*/ 1618181 h 2112213"/>
                <a:gd name="connsiteX7" fmla="*/ 1713012 w 3616211"/>
                <a:gd name="connsiteY7" fmla="*/ 1091336 h 2112213"/>
                <a:gd name="connsiteX8" fmla="*/ 820271 w 3616211"/>
                <a:gd name="connsiteY8" fmla="*/ 1545948 h 2112213"/>
                <a:gd name="connsiteX9" fmla="*/ 842336 w 3616211"/>
                <a:gd name="connsiteY9" fmla="*/ 883669 h 2112213"/>
                <a:gd name="connsiteX10" fmla="*/ 0 w 3616211"/>
                <a:gd name="connsiteY10" fmla="*/ 999801 h 2112213"/>
                <a:gd name="connsiteX0" fmla="*/ 0 w 3153747"/>
                <a:gd name="connsiteY0" fmla="*/ 660371 h 2263706"/>
                <a:gd name="connsiteX1" fmla="*/ 1546617 w 3153747"/>
                <a:gd name="connsiteY1" fmla="*/ 285218 h 2263706"/>
                <a:gd name="connsiteX2" fmla="*/ 3153747 w 3153747"/>
                <a:gd name="connsiteY2" fmla="*/ 1769680 h 2263706"/>
                <a:gd name="connsiteX3" fmla="*/ 3153746 w 3153747"/>
                <a:gd name="connsiteY3" fmla="*/ 1769677 h 2263706"/>
                <a:gd name="connsiteX4" fmla="*/ 2722764 w 3153747"/>
                <a:gd name="connsiteY4" fmla="*/ 2263706 h 2263706"/>
                <a:gd name="connsiteX5" fmla="*/ 2102659 w 3153747"/>
                <a:gd name="connsiteY5" fmla="*/ 1769674 h 2263706"/>
                <a:gd name="connsiteX6" fmla="*/ 2102659 w 3153747"/>
                <a:gd name="connsiteY6" fmla="*/ 1769674 h 2263706"/>
                <a:gd name="connsiteX7" fmla="*/ 1250548 w 3153747"/>
                <a:gd name="connsiteY7" fmla="*/ 1242829 h 2263706"/>
                <a:gd name="connsiteX8" fmla="*/ 357807 w 3153747"/>
                <a:gd name="connsiteY8" fmla="*/ 1697441 h 2263706"/>
                <a:gd name="connsiteX9" fmla="*/ 379872 w 3153747"/>
                <a:gd name="connsiteY9" fmla="*/ 1035162 h 2263706"/>
                <a:gd name="connsiteX10" fmla="*/ 0 w 3153747"/>
                <a:gd name="connsiteY10" fmla="*/ 660371 h 2263706"/>
                <a:gd name="connsiteX0" fmla="*/ 0 w 3279076"/>
                <a:gd name="connsiteY0" fmla="*/ 662326 h 2142915"/>
                <a:gd name="connsiteX1" fmla="*/ 1671946 w 3279076"/>
                <a:gd name="connsiteY1" fmla="*/ 164427 h 2142915"/>
                <a:gd name="connsiteX2" fmla="*/ 3279076 w 3279076"/>
                <a:gd name="connsiteY2" fmla="*/ 1648889 h 2142915"/>
                <a:gd name="connsiteX3" fmla="*/ 3279075 w 3279076"/>
                <a:gd name="connsiteY3" fmla="*/ 1648886 h 2142915"/>
                <a:gd name="connsiteX4" fmla="*/ 2848093 w 3279076"/>
                <a:gd name="connsiteY4" fmla="*/ 2142915 h 2142915"/>
                <a:gd name="connsiteX5" fmla="*/ 2227988 w 3279076"/>
                <a:gd name="connsiteY5" fmla="*/ 1648883 h 2142915"/>
                <a:gd name="connsiteX6" fmla="*/ 2227988 w 3279076"/>
                <a:gd name="connsiteY6" fmla="*/ 1648883 h 2142915"/>
                <a:gd name="connsiteX7" fmla="*/ 1375877 w 3279076"/>
                <a:gd name="connsiteY7" fmla="*/ 1122038 h 2142915"/>
                <a:gd name="connsiteX8" fmla="*/ 483136 w 3279076"/>
                <a:gd name="connsiteY8" fmla="*/ 1576650 h 2142915"/>
                <a:gd name="connsiteX9" fmla="*/ 505201 w 3279076"/>
                <a:gd name="connsiteY9" fmla="*/ 914371 h 2142915"/>
                <a:gd name="connsiteX10" fmla="*/ 0 w 3279076"/>
                <a:gd name="connsiteY10" fmla="*/ 662326 h 2142915"/>
                <a:gd name="connsiteX0" fmla="*/ 0 w 3279076"/>
                <a:gd name="connsiteY0" fmla="*/ 662326 h 2142915"/>
                <a:gd name="connsiteX1" fmla="*/ 1671946 w 3279076"/>
                <a:gd name="connsiteY1" fmla="*/ 164427 h 2142915"/>
                <a:gd name="connsiteX2" fmla="*/ 3279076 w 3279076"/>
                <a:gd name="connsiteY2" fmla="*/ 1648889 h 2142915"/>
                <a:gd name="connsiteX3" fmla="*/ 3279075 w 3279076"/>
                <a:gd name="connsiteY3" fmla="*/ 1648886 h 2142915"/>
                <a:gd name="connsiteX4" fmla="*/ 2848093 w 3279076"/>
                <a:gd name="connsiteY4" fmla="*/ 2142915 h 2142915"/>
                <a:gd name="connsiteX5" fmla="*/ 2227988 w 3279076"/>
                <a:gd name="connsiteY5" fmla="*/ 1648883 h 2142915"/>
                <a:gd name="connsiteX6" fmla="*/ 2227988 w 3279076"/>
                <a:gd name="connsiteY6" fmla="*/ 1648883 h 2142915"/>
                <a:gd name="connsiteX7" fmla="*/ 1375877 w 3279076"/>
                <a:gd name="connsiteY7" fmla="*/ 1122038 h 2142915"/>
                <a:gd name="connsiteX8" fmla="*/ 483136 w 3279076"/>
                <a:gd name="connsiteY8" fmla="*/ 1576650 h 2142915"/>
                <a:gd name="connsiteX9" fmla="*/ 505201 w 3279076"/>
                <a:gd name="connsiteY9" fmla="*/ 914371 h 2142915"/>
                <a:gd name="connsiteX10" fmla="*/ 0 w 3279076"/>
                <a:gd name="connsiteY10" fmla="*/ 662326 h 2142915"/>
                <a:gd name="connsiteX0" fmla="*/ 0 w 3279076"/>
                <a:gd name="connsiteY0" fmla="*/ 662326 h 2142915"/>
                <a:gd name="connsiteX1" fmla="*/ 1671946 w 3279076"/>
                <a:gd name="connsiteY1" fmla="*/ 164427 h 2142915"/>
                <a:gd name="connsiteX2" fmla="*/ 3279076 w 3279076"/>
                <a:gd name="connsiteY2" fmla="*/ 1648889 h 2142915"/>
                <a:gd name="connsiteX3" fmla="*/ 3279075 w 3279076"/>
                <a:gd name="connsiteY3" fmla="*/ 1648886 h 2142915"/>
                <a:gd name="connsiteX4" fmla="*/ 2848093 w 3279076"/>
                <a:gd name="connsiteY4" fmla="*/ 2142915 h 2142915"/>
                <a:gd name="connsiteX5" fmla="*/ 2227988 w 3279076"/>
                <a:gd name="connsiteY5" fmla="*/ 1648883 h 2142915"/>
                <a:gd name="connsiteX6" fmla="*/ 2227988 w 3279076"/>
                <a:gd name="connsiteY6" fmla="*/ 1648883 h 2142915"/>
                <a:gd name="connsiteX7" fmla="*/ 1375877 w 3279076"/>
                <a:gd name="connsiteY7" fmla="*/ 1122038 h 2142915"/>
                <a:gd name="connsiteX8" fmla="*/ 483136 w 3279076"/>
                <a:gd name="connsiteY8" fmla="*/ 1576650 h 2142915"/>
                <a:gd name="connsiteX9" fmla="*/ 505201 w 3279076"/>
                <a:gd name="connsiteY9" fmla="*/ 914371 h 2142915"/>
                <a:gd name="connsiteX10" fmla="*/ 0 w 3279076"/>
                <a:gd name="connsiteY10" fmla="*/ 662326 h 2142915"/>
                <a:gd name="connsiteX0" fmla="*/ 0 w 3279076"/>
                <a:gd name="connsiteY0" fmla="*/ 662326 h 2142915"/>
                <a:gd name="connsiteX1" fmla="*/ 1671946 w 3279076"/>
                <a:gd name="connsiteY1" fmla="*/ 164427 h 2142915"/>
                <a:gd name="connsiteX2" fmla="*/ 3279076 w 3279076"/>
                <a:gd name="connsiteY2" fmla="*/ 1648889 h 2142915"/>
                <a:gd name="connsiteX3" fmla="*/ 3279075 w 3279076"/>
                <a:gd name="connsiteY3" fmla="*/ 1648886 h 2142915"/>
                <a:gd name="connsiteX4" fmla="*/ 2848093 w 3279076"/>
                <a:gd name="connsiteY4" fmla="*/ 2142915 h 2142915"/>
                <a:gd name="connsiteX5" fmla="*/ 2227988 w 3279076"/>
                <a:gd name="connsiteY5" fmla="*/ 1648883 h 2142915"/>
                <a:gd name="connsiteX6" fmla="*/ 2227988 w 3279076"/>
                <a:gd name="connsiteY6" fmla="*/ 1648883 h 2142915"/>
                <a:gd name="connsiteX7" fmla="*/ 1375877 w 3279076"/>
                <a:gd name="connsiteY7" fmla="*/ 1122038 h 2142915"/>
                <a:gd name="connsiteX8" fmla="*/ 483136 w 3279076"/>
                <a:gd name="connsiteY8" fmla="*/ 1576650 h 2142915"/>
                <a:gd name="connsiteX9" fmla="*/ 505201 w 3279076"/>
                <a:gd name="connsiteY9" fmla="*/ 914371 h 2142915"/>
                <a:gd name="connsiteX10" fmla="*/ 0 w 3279076"/>
                <a:gd name="connsiteY10" fmla="*/ 662326 h 2142915"/>
                <a:gd name="connsiteX0" fmla="*/ 0 w 3279076"/>
                <a:gd name="connsiteY0" fmla="*/ 662326 h 2142915"/>
                <a:gd name="connsiteX1" fmla="*/ 1671946 w 3279076"/>
                <a:gd name="connsiteY1" fmla="*/ 164427 h 2142915"/>
                <a:gd name="connsiteX2" fmla="*/ 3279076 w 3279076"/>
                <a:gd name="connsiteY2" fmla="*/ 1648889 h 2142915"/>
                <a:gd name="connsiteX3" fmla="*/ 3279075 w 3279076"/>
                <a:gd name="connsiteY3" fmla="*/ 1648886 h 2142915"/>
                <a:gd name="connsiteX4" fmla="*/ 2848093 w 3279076"/>
                <a:gd name="connsiteY4" fmla="*/ 2142915 h 2142915"/>
                <a:gd name="connsiteX5" fmla="*/ 2227988 w 3279076"/>
                <a:gd name="connsiteY5" fmla="*/ 1648883 h 2142915"/>
                <a:gd name="connsiteX6" fmla="*/ 2227988 w 3279076"/>
                <a:gd name="connsiteY6" fmla="*/ 1648883 h 2142915"/>
                <a:gd name="connsiteX7" fmla="*/ 1375877 w 3279076"/>
                <a:gd name="connsiteY7" fmla="*/ 1122038 h 2142915"/>
                <a:gd name="connsiteX8" fmla="*/ 483136 w 3279076"/>
                <a:gd name="connsiteY8" fmla="*/ 1576650 h 2142915"/>
                <a:gd name="connsiteX9" fmla="*/ 505201 w 3279076"/>
                <a:gd name="connsiteY9" fmla="*/ 914371 h 2142915"/>
                <a:gd name="connsiteX10" fmla="*/ 0 w 3279076"/>
                <a:gd name="connsiteY10" fmla="*/ 662326 h 2142915"/>
                <a:gd name="connsiteX0" fmla="*/ 0 w 3279076"/>
                <a:gd name="connsiteY0" fmla="*/ 662326 h 2142915"/>
                <a:gd name="connsiteX1" fmla="*/ 1671946 w 3279076"/>
                <a:gd name="connsiteY1" fmla="*/ 164427 h 2142915"/>
                <a:gd name="connsiteX2" fmla="*/ 3279076 w 3279076"/>
                <a:gd name="connsiteY2" fmla="*/ 1648889 h 2142915"/>
                <a:gd name="connsiteX3" fmla="*/ 3279075 w 3279076"/>
                <a:gd name="connsiteY3" fmla="*/ 1648886 h 2142915"/>
                <a:gd name="connsiteX4" fmla="*/ 2848093 w 3279076"/>
                <a:gd name="connsiteY4" fmla="*/ 2142915 h 2142915"/>
                <a:gd name="connsiteX5" fmla="*/ 2227988 w 3279076"/>
                <a:gd name="connsiteY5" fmla="*/ 1648883 h 2142915"/>
                <a:gd name="connsiteX6" fmla="*/ 2227988 w 3279076"/>
                <a:gd name="connsiteY6" fmla="*/ 1648883 h 2142915"/>
                <a:gd name="connsiteX7" fmla="*/ 1375877 w 3279076"/>
                <a:gd name="connsiteY7" fmla="*/ 1122038 h 2142915"/>
                <a:gd name="connsiteX8" fmla="*/ 483136 w 3279076"/>
                <a:gd name="connsiteY8" fmla="*/ 1576650 h 2142915"/>
                <a:gd name="connsiteX9" fmla="*/ 505201 w 3279076"/>
                <a:gd name="connsiteY9" fmla="*/ 914371 h 2142915"/>
                <a:gd name="connsiteX10" fmla="*/ 0 w 3279076"/>
                <a:gd name="connsiteY10" fmla="*/ 662326 h 2142915"/>
                <a:gd name="connsiteX0" fmla="*/ 0 w 3279076"/>
                <a:gd name="connsiteY0" fmla="*/ 623947 h 2104536"/>
                <a:gd name="connsiteX1" fmla="*/ 1671946 w 3279076"/>
                <a:gd name="connsiteY1" fmla="*/ 126048 h 2104536"/>
                <a:gd name="connsiteX2" fmla="*/ 3279076 w 3279076"/>
                <a:gd name="connsiteY2" fmla="*/ 1610510 h 2104536"/>
                <a:gd name="connsiteX3" fmla="*/ 3279075 w 3279076"/>
                <a:gd name="connsiteY3" fmla="*/ 1610507 h 2104536"/>
                <a:gd name="connsiteX4" fmla="*/ 2848093 w 3279076"/>
                <a:gd name="connsiteY4" fmla="*/ 2104536 h 2104536"/>
                <a:gd name="connsiteX5" fmla="*/ 2227988 w 3279076"/>
                <a:gd name="connsiteY5" fmla="*/ 1610504 h 2104536"/>
                <a:gd name="connsiteX6" fmla="*/ 2227988 w 3279076"/>
                <a:gd name="connsiteY6" fmla="*/ 1610504 h 2104536"/>
                <a:gd name="connsiteX7" fmla="*/ 1375877 w 3279076"/>
                <a:gd name="connsiteY7" fmla="*/ 1083659 h 2104536"/>
                <a:gd name="connsiteX8" fmla="*/ 483136 w 3279076"/>
                <a:gd name="connsiteY8" fmla="*/ 1538271 h 2104536"/>
                <a:gd name="connsiteX9" fmla="*/ 505201 w 3279076"/>
                <a:gd name="connsiteY9" fmla="*/ 875992 h 2104536"/>
                <a:gd name="connsiteX10" fmla="*/ 0 w 3279076"/>
                <a:gd name="connsiteY10" fmla="*/ 623947 h 2104536"/>
                <a:gd name="connsiteX0" fmla="*/ 0 w 3279076"/>
                <a:gd name="connsiteY0" fmla="*/ 623947 h 2104536"/>
                <a:gd name="connsiteX1" fmla="*/ 1671946 w 3279076"/>
                <a:gd name="connsiteY1" fmla="*/ 126048 h 2104536"/>
                <a:gd name="connsiteX2" fmla="*/ 3279076 w 3279076"/>
                <a:gd name="connsiteY2" fmla="*/ 1610510 h 2104536"/>
                <a:gd name="connsiteX3" fmla="*/ 3279075 w 3279076"/>
                <a:gd name="connsiteY3" fmla="*/ 1610507 h 2104536"/>
                <a:gd name="connsiteX4" fmla="*/ 2848093 w 3279076"/>
                <a:gd name="connsiteY4" fmla="*/ 2104536 h 2104536"/>
                <a:gd name="connsiteX5" fmla="*/ 2227988 w 3279076"/>
                <a:gd name="connsiteY5" fmla="*/ 1610504 h 2104536"/>
                <a:gd name="connsiteX6" fmla="*/ 2227988 w 3279076"/>
                <a:gd name="connsiteY6" fmla="*/ 1610504 h 2104536"/>
                <a:gd name="connsiteX7" fmla="*/ 1375877 w 3279076"/>
                <a:gd name="connsiteY7" fmla="*/ 1083659 h 2104536"/>
                <a:gd name="connsiteX8" fmla="*/ 483136 w 3279076"/>
                <a:gd name="connsiteY8" fmla="*/ 1538271 h 2104536"/>
                <a:gd name="connsiteX9" fmla="*/ 505201 w 3279076"/>
                <a:gd name="connsiteY9" fmla="*/ 875992 h 2104536"/>
                <a:gd name="connsiteX10" fmla="*/ 0 w 3279076"/>
                <a:gd name="connsiteY10" fmla="*/ 623947 h 2104536"/>
                <a:gd name="connsiteX0" fmla="*/ 0 w 3279076"/>
                <a:gd name="connsiteY0" fmla="*/ 623947 h 2104536"/>
                <a:gd name="connsiteX1" fmla="*/ 1671946 w 3279076"/>
                <a:gd name="connsiteY1" fmla="*/ 126048 h 2104536"/>
                <a:gd name="connsiteX2" fmla="*/ 3279076 w 3279076"/>
                <a:gd name="connsiteY2" fmla="*/ 1610510 h 2104536"/>
                <a:gd name="connsiteX3" fmla="*/ 3279075 w 3279076"/>
                <a:gd name="connsiteY3" fmla="*/ 1610507 h 2104536"/>
                <a:gd name="connsiteX4" fmla="*/ 2848093 w 3279076"/>
                <a:gd name="connsiteY4" fmla="*/ 2104536 h 2104536"/>
                <a:gd name="connsiteX5" fmla="*/ 2227988 w 3279076"/>
                <a:gd name="connsiteY5" fmla="*/ 1610504 h 2104536"/>
                <a:gd name="connsiteX6" fmla="*/ 2227988 w 3279076"/>
                <a:gd name="connsiteY6" fmla="*/ 1610504 h 2104536"/>
                <a:gd name="connsiteX7" fmla="*/ 1375877 w 3279076"/>
                <a:gd name="connsiteY7" fmla="*/ 1083659 h 2104536"/>
                <a:gd name="connsiteX8" fmla="*/ 483136 w 3279076"/>
                <a:gd name="connsiteY8" fmla="*/ 1538271 h 2104536"/>
                <a:gd name="connsiteX9" fmla="*/ 505201 w 3279076"/>
                <a:gd name="connsiteY9" fmla="*/ 875992 h 2104536"/>
                <a:gd name="connsiteX10" fmla="*/ 0 w 3279076"/>
                <a:gd name="connsiteY10" fmla="*/ 623947 h 2104536"/>
                <a:gd name="connsiteX0" fmla="*/ 0 w 3279076"/>
                <a:gd name="connsiteY0" fmla="*/ 623947 h 2104536"/>
                <a:gd name="connsiteX1" fmla="*/ 1671946 w 3279076"/>
                <a:gd name="connsiteY1" fmla="*/ 126048 h 2104536"/>
                <a:gd name="connsiteX2" fmla="*/ 3279076 w 3279076"/>
                <a:gd name="connsiteY2" fmla="*/ 1610510 h 2104536"/>
                <a:gd name="connsiteX3" fmla="*/ 3279075 w 3279076"/>
                <a:gd name="connsiteY3" fmla="*/ 1610507 h 2104536"/>
                <a:gd name="connsiteX4" fmla="*/ 2848093 w 3279076"/>
                <a:gd name="connsiteY4" fmla="*/ 2104536 h 2104536"/>
                <a:gd name="connsiteX5" fmla="*/ 2227988 w 3279076"/>
                <a:gd name="connsiteY5" fmla="*/ 1610504 h 2104536"/>
                <a:gd name="connsiteX6" fmla="*/ 2227988 w 3279076"/>
                <a:gd name="connsiteY6" fmla="*/ 1610504 h 2104536"/>
                <a:gd name="connsiteX7" fmla="*/ 1375877 w 3279076"/>
                <a:gd name="connsiteY7" fmla="*/ 1083659 h 2104536"/>
                <a:gd name="connsiteX8" fmla="*/ 483136 w 3279076"/>
                <a:gd name="connsiteY8" fmla="*/ 1538271 h 2104536"/>
                <a:gd name="connsiteX9" fmla="*/ 505201 w 3279076"/>
                <a:gd name="connsiteY9" fmla="*/ 875992 h 2104536"/>
                <a:gd name="connsiteX10" fmla="*/ 0 w 3279076"/>
                <a:gd name="connsiteY10" fmla="*/ 623947 h 2104536"/>
                <a:gd name="connsiteX0" fmla="*/ 0 w 3279076"/>
                <a:gd name="connsiteY0" fmla="*/ 623947 h 2104536"/>
                <a:gd name="connsiteX1" fmla="*/ 1671946 w 3279076"/>
                <a:gd name="connsiteY1" fmla="*/ 126048 h 2104536"/>
                <a:gd name="connsiteX2" fmla="*/ 3279076 w 3279076"/>
                <a:gd name="connsiteY2" fmla="*/ 1610510 h 2104536"/>
                <a:gd name="connsiteX3" fmla="*/ 3279075 w 3279076"/>
                <a:gd name="connsiteY3" fmla="*/ 1610507 h 2104536"/>
                <a:gd name="connsiteX4" fmla="*/ 2848093 w 3279076"/>
                <a:gd name="connsiteY4" fmla="*/ 2104536 h 2104536"/>
                <a:gd name="connsiteX5" fmla="*/ 2227988 w 3279076"/>
                <a:gd name="connsiteY5" fmla="*/ 1610504 h 2104536"/>
                <a:gd name="connsiteX6" fmla="*/ 2227988 w 3279076"/>
                <a:gd name="connsiteY6" fmla="*/ 1610504 h 2104536"/>
                <a:gd name="connsiteX7" fmla="*/ 1375877 w 3279076"/>
                <a:gd name="connsiteY7" fmla="*/ 1083659 h 2104536"/>
                <a:gd name="connsiteX8" fmla="*/ 483136 w 3279076"/>
                <a:gd name="connsiteY8" fmla="*/ 1538271 h 2104536"/>
                <a:gd name="connsiteX9" fmla="*/ 505201 w 3279076"/>
                <a:gd name="connsiteY9" fmla="*/ 875992 h 2104536"/>
                <a:gd name="connsiteX10" fmla="*/ 0 w 3279076"/>
                <a:gd name="connsiteY10" fmla="*/ 623947 h 2104536"/>
                <a:gd name="connsiteX0" fmla="*/ 0 w 3279076"/>
                <a:gd name="connsiteY0" fmla="*/ 623947 h 2104536"/>
                <a:gd name="connsiteX1" fmla="*/ 1671946 w 3279076"/>
                <a:gd name="connsiteY1" fmla="*/ 126048 h 2104536"/>
                <a:gd name="connsiteX2" fmla="*/ 3279076 w 3279076"/>
                <a:gd name="connsiteY2" fmla="*/ 1610510 h 2104536"/>
                <a:gd name="connsiteX3" fmla="*/ 3279075 w 3279076"/>
                <a:gd name="connsiteY3" fmla="*/ 1610507 h 2104536"/>
                <a:gd name="connsiteX4" fmla="*/ 2848093 w 3279076"/>
                <a:gd name="connsiteY4" fmla="*/ 2104536 h 2104536"/>
                <a:gd name="connsiteX5" fmla="*/ 2227988 w 3279076"/>
                <a:gd name="connsiteY5" fmla="*/ 1610504 h 2104536"/>
                <a:gd name="connsiteX6" fmla="*/ 2227988 w 3279076"/>
                <a:gd name="connsiteY6" fmla="*/ 1610504 h 2104536"/>
                <a:gd name="connsiteX7" fmla="*/ 1375877 w 3279076"/>
                <a:gd name="connsiteY7" fmla="*/ 1083659 h 2104536"/>
                <a:gd name="connsiteX8" fmla="*/ 483136 w 3279076"/>
                <a:gd name="connsiteY8" fmla="*/ 1538271 h 2104536"/>
                <a:gd name="connsiteX9" fmla="*/ 505201 w 3279076"/>
                <a:gd name="connsiteY9" fmla="*/ 875992 h 2104536"/>
                <a:gd name="connsiteX10" fmla="*/ 0 w 3279076"/>
                <a:gd name="connsiteY10" fmla="*/ 623947 h 2104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79076" h="2104536">
                  <a:moveTo>
                    <a:pt x="0" y="623947"/>
                  </a:moveTo>
                  <a:cubicBezTo>
                    <a:pt x="386672" y="216217"/>
                    <a:pt x="1074126" y="0"/>
                    <a:pt x="1671946" y="126048"/>
                  </a:cubicBezTo>
                  <a:cubicBezTo>
                    <a:pt x="2438867" y="280774"/>
                    <a:pt x="3083812" y="841561"/>
                    <a:pt x="3279076" y="1610510"/>
                  </a:cubicBezTo>
                  <a:cubicBezTo>
                    <a:pt x="3279076" y="1610509"/>
                    <a:pt x="3279075" y="1610508"/>
                    <a:pt x="3279075" y="1610507"/>
                  </a:cubicBezTo>
                  <a:lnTo>
                    <a:pt x="2848093" y="2104536"/>
                  </a:lnTo>
                  <a:lnTo>
                    <a:pt x="2227988" y="1610504"/>
                  </a:lnTo>
                  <a:lnTo>
                    <a:pt x="2227988" y="1610504"/>
                  </a:lnTo>
                  <a:cubicBezTo>
                    <a:pt x="2055444" y="1298135"/>
                    <a:pt x="1732428" y="1098420"/>
                    <a:pt x="1375877" y="1083659"/>
                  </a:cubicBezTo>
                  <a:cubicBezTo>
                    <a:pt x="1028023" y="1057676"/>
                    <a:pt x="722335" y="1230632"/>
                    <a:pt x="483136" y="1538271"/>
                  </a:cubicBezTo>
                  <a:lnTo>
                    <a:pt x="505201" y="875992"/>
                  </a:lnTo>
                  <a:lnTo>
                    <a:pt x="0" y="623947"/>
                  </a:lnTo>
                  <a:close/>
                </a:path>
              </a:pathLst>
            </a:custGeom>
            <a:solidFill>
              <a:schemeClr val="tx2"/>
            </a:solidFill>
            <a:ln>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985" tIns="89985" rIns="89985" bIns="89985" numCol="1" spcCol="1270" anchor="ctr" anchorCtr="0">
              <a:noAutofit/>
            </a:bodyPr>
            <a:lstStyle/>
            <a:p>
              <a:pPr algn="ctr" defTabSz="666694">
                <a:lnSpc>
                  <a:spcPct val="90000"/>
                </a:lnSpc>
                <a:spcBef>
                  <a:spcPct val="0"/>
                </a:spcBef>
                <a:spcAft>
                  <a:spcPct val="35000"/>
                </a:spcAft>
              </a:pPr>
              <a:endParaRPr lang="en-US" sz="1500">
                <a:solidFill>
                  <a:schemeClr val="tx1"/>
                </a:solidFill>
                <a:sym typeface="Segoe UI"/>
              </a:endParaRPr>
            </a:p>
          </p:txBody>
        </p:sp>
        <p:sp>
          <p:nvSpPr>
            <p:cNvPr id="38" name="Rectangle 37"/>
            <p:cNvSpPr/>
            <p:nvPr>
              <p:custDataLst>
                <p:tags r:id="rId13"/>
              </p:custDataLst>
            </p:nvPr>
          </p:nvSpPr>
          <p:spPr>
            <a:xfrm rot="2162626">
              <a:off x="7187797" y="2096550"/>
              <a:ext cx="1117854" cy="729812"/>
            </a:xfrm>
            <a:prstGeom prst="rect">
              <a:avLst/>
            </a:prstGeom>
          </p:spPr>
          <p:txBody>
            <a:bodyPr wrap="none">
              <a:prstTxWarp prst="textArchUp">
                <a:avLst/>
              </a:prstTxWarp>
              <a:spAutoFit/>
            </a:bodyPr>
            <a:lstStyle/>
            <a:p>
              <a:pPr algn="ctr" defTabSz="666694">
                <a:lnSpc>
                  <a:spcPct val="90000"/>
                </a:lnSpc>
                <a:spcBef>
                  <a:spcPct val="0"/>
                </a:spcBef>
                <a:spcAft>
                  <a:spcPct val="35000"/>
                </a:spcAft>
              </a:pPr>
              <a:r>
                <a:rPr lang="en-US" dirty="0">
                  <a:solidFill>
                    <a:schemeClr val="tx2"/>
                  </a:solidFill>
                  <a:sym typeface="Segoe UI"/>
                </a:rPr>
                <a:t>Assess</a:t>
              </a:r>
            </a:p>
          </p:txBody>
        </p:sp>
        <p:sp>
          <p:nvSpPr>
            <p:cNvPr id="39" name="Rectangle 38"/>
            <p:cNvSpPr/>
            <p:nvPr>
              <p:custDataLst>
                <p:tags r:id="rId14"/>
              </p:custDataLst>
            </p:nvPr>
          </p:nvSpPr>
          <p:spPr>
            <a:xfrm rot="9194893">
              <a:off x="7094349" y="2947799"/>
              <a:ext cx="1117854" cy="729812"/>
            </a:xfrm>
            <a:prstGeom prst="rect">
              <a:avLst/>
            </a:prstGeom>
          </p:spPr>
          <p:txBody>
            <a:bodyPr wrap="none">
              <a:prstTxWarp prst="textArchUp">
                <a:avLst/>
              </a:prstTxWarp>
              <a:spAutoFit/>
            </a:bodyPr>
            <a:lstStyle/>
            <a:p>
              <a:pPr algn="ctr" defTabSz="666694">
                <a:lnSpc>
                  <a:spcPct val="90000"/>
                </a:lnSpc>
                <a:spcBef>
                  <a:spcPct val="0"/>
                </a:spcBef>
                <a:spcAft>
                  <a:spcPct val="35000"/>
                </a:spcAft>
              </a:pPr>
              <a:r>
                <a:rPr lang="en-US" dirty="0">
                  <a:solidFill>
                    <a:schemeClr val="tx2"/>
                  </a:solidFill>
                  <a:sym typeface="Segoe UI"/>
                </a:rPr>
                <a:t>P</a:t>
              </a:r>
              <a:r>
                <a:rPr lang="en-US" dirty="0" smtClean="0">
                  <a:solidFill>
                    <a:schemeClr val="tx2"/>
                  </a:solidFill>
                  <a:sym typeface="Segoe UI"/>
                </a:rPr>
                <a:t>lan</a:t>
              </a:r>
              <a:endParaRPr lang="en-US" dirty="0">
                <a:solidFill>
                  <a:schemeClr val="tx2"/>
                </a:solidFill>
                <a:sym typeface="Segoe UI"/>
              </a:endParaRPr>
            </a:p>
          </p:txBody>
        </p:sp>
        <p:sp>
          <p:nvSpPr>
            <p:cNvPr id="40" name="Rectangle 39"/>
            <p:cNvSpPr/>
            <p:nvPr>
              <p:custDataLst>
                <p:tags r:id="rId15"/>
              </p:custDataLst>
            </p:nvPr>
          </p:nvSpPr>
          <p:spPr>
            <a:xfrm rot="5809634">
              <a:off x="6080312" y="2245638"/>
              <a:ext cx="1790699" cy="1171577"/>
            </a:xfrm>
            <a:prstGeom prst="rect">
              <a:avLst/>
            </a:prstGeom>
          </p:spPr>
          <p:txBody>
            <a:bodyPr wrap="none">
              <a:prstTxWarp prst="textArchDown">
                <a:avLst/>
              </a:prstTxWarp>
              <a:spAutoFit/>
            </a:bodyPr>
            <a:lstStyle/>
            <a:p>
              <a:pPr algn="ctr" defTabSz="666694">
                <a:lnSpc>
                  <a:spcPct val="90000"/>
                </a:lnSpc>
                <a:spcBef>
                  <a:spcPct val="0"/>
                </a:spcBef>
                <a:spcAft>
                  <a:spcPct val="35000"/>
                </a:spcAft>
              </a:pPr>
              <a:r>
                <a:rPr lang="en-US" dirty="0">
                  <a:sym typeface="Segoe UI"/>
                </a:rPr>
                <a:t>Realize Value</a:t>
              </a:r>
            </a:p>
          </p:txBody>
        </p:sp>
      </p:grpSp>
      <p:sp>
        <p:nvSpPr>
          <p:cNvPr id="26" name="Rectangle 25"/>
          <p:cNvSpPr/>
          <p:nvPr>
            <p:custDataLst>
              <p:tags r:id="rId3"/>
            </p:custDataLst>
          </p:nvPr>
        </p:nvSpPr>
        <p:spPr bwMode="auto">
          <a:xfrm>
            <a:off x="381022" y="3285887"/>
            <a:ext cx="4218316" cy="1297977"/>
          </a:xfrm>
          <a:prstGeom prst="rect">
            <a:avLst/>
          </a:prstGeom>
          <a:solidFill>
            <a:schemeClr val="accent5"/>
          </a:solidFill>
          <a:ln w="9525" cap="flat" cmpd="sng" algn="ctr">
            <a:noFill/>
            <a:prstDash val="solid"/>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45716" tIns="45716" rIns="45716" bIns="45716" numCol="1" rtlCol="0" anchor="b" anchorCtr="0" compatLnSpc="1">
            <a:prstTxWarp prst="textNoShape">
              <a:avLst/>
            </a:prstTxWarp>
          </a:bodyPr>
          <a:lstStyle/>
          <a:p>
            <a:pPr algn="ctr" defTabSz="914023" fontAlgn="base">
              <a:spcBef>
                <a:spcPct val="0"/>
              </a:spcBef>
              <a:spcAft>
                <a:spcPct val="0"/>
              </a:spcAft>
            </a:pPr>
            <a:r>
              <a:rPr lang="en-US" dirty="0" smtClean="0">
                <a:solidFill>
                  <a:schemeClr val="tx1"/>
                </a:solidFill>
                <a:sym typeface="Segoe UI"/>
              </a:rPr>
              <a:t>address </a:t>
            </a:r>
            <a:r>
              <a:rPr lang="en-US" dirty="0">
                <a:solidFill>
                  <a:schemeClr val="tx1"/>
                </a:solidFill>
                <a:sym typeface="Segoe UI"/>
              </a:rPr>
              <a:t>the </a:t>
            </a:r>
            <a:r>
              <a:rPr lang="en-US" dirty="0" smtClean="0">
                <a:solidFill>
                  <a:schemeClr val="tx1"/>
                </a:solidFill>
                <a:sym typeface="Segoe UI"/>
              </a:rPr>
              <a:t>urgent</a:t>
            </a:r>
            <a:endParaRPr lang="en-US" dirty="0">
              <a:solidFill>
                <a:schemeClr val="tx1"/>
              </a:solidFill>
              <a:sym typeface="Segoe UI"/>
            </a:endParaRPr>
          </a:p>
        </p:txBody>
      </p:sp>
      <p:sp>
        <p:nvSpPr>
          <p:cNvPr id="20" name="Rectangle 19"/>
          <p:cNvSpPr/>
          <p:nvPr>
            <p:custDataLst>
              <p:tags r:id="rId4"/>
            </p:custDataLst>
          </p:nvPr>
        </p:nvSpPr>
        <p:spPr bwMode="auto">
          <a:xfrm>
            <a:off x="377898" y="1078824"/>
            <a:ext cx="1371600" cy="2103120"/>
          </a:xfrm>
          <a:prstGeom prst="rect">
            <a:avLst/>
          </a:prstGeom>
          <a:solidFill>
            <a:schemeClr val="tx2"/>
          </a:solidFill>
          <a:ln w="9525" cap="flat" cmpd="sng" algn="ctr">
            <a:noFill/>
            <a:prstDash val="solid"/>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34294" tIns="34294" rIns="34294" bIns="34294" numCol="1" rtlCol="0" anchor="b" anchorCtr="0" compatLnSpc="1">
            <a:prstTxWarp prst="textNoShape">
              <a:avLst/>
            </a:prstTxWarp>
          </a:bodyPr>
          <a:lstStyle/>
          <a:p>
            <a:pPr algn="ctr" defTabSz="914023" fontAlgn="base">
              <a:spcBef>
                <a:spcPct val="0"/>
              </a:spcBef>
              <a:spcAft>
                <a:spcPct val="0"/>
              </a:spcAft>
            </a:pPr>
            <a:r>
              <a:rPr lang="en-US" dirty="0">
                <a:gradFill>
                  <a:gsLst>
                    <a:gs pos="0">
                      <a:srgbClr val="FFFFFF"/>
                    </a:gs>
                    <a:gs pos="100000">
                      <a:srgbClr val="FFFFFF"/>
                    </a:gs>
                  </a:gsLst>
                  <a:lin ang="5400000" scaled="0"/>
                </a:gradFill>
                <a:sym typeface="Segoe UI"/>
              </a:rPr>
              <a:t>s</a:t>
            </a:r>
            <a:r>
              <a:rPr lang="en-US" dirty="0" smtClean="0">
                <a:gradFill>
                  <a:gsLst>
                    <a:gs pos="0">
                      <a:srgbClr val="FFFFFF"/>
                    </a:gs>
                    <a:gs pos="100000">
                      <a:srgbClr val="FFFFFF"/>
                    </a:gs>
                  </a:gsLst>
                  <a:lin ang="5400000" scaled="0"/>
                </a:gradFill>
                <a:sym typeface="Segoe UI"/>
              </a:rPr>
              <a:t>ecurity</a:t>
            </a:r>
            <a:endParaRPr lang="en-US" dirty="0">
              <a:gradFill>
                <a:gsLst>
                  <a:gs pos="0">
                    <a:srgbClr val="FFFFFF"/>
                  </a:gs>
                  <a:gs pos="100000">
                    <a:srgbClr val="FFFFFF"/>
                  </a:gs>
                </a:gsLst>
                <a:lin ang="5400000" scaled="0"/>
              </a:gradFill>
              <a:sym typeface="Segoe UI"/>
            </a:endParaRPr>
          </a:p>
        </p:txBody>
      </p:sp>
      <p:sp>
        <p:nvSpPr>
          <p:cNvPr id="23" name="Rectangle 22"/>
          <p:cNvSpPr/>
          <p:nvPr>
            <p:custDataLst>
              <p:tags r:id="rId5"/>
            </p:custDataLst>
          </p:nvPr>
        </p:nvSpPr>
        <p:spPr bwMode="auto">
          <a:xfrm>
            <a:off x="1806776" y="1078824"/>
            <a:ext cx="1371600" cy="2103120"/>
          </a:xfrm>
          <a:prstGeom prst="rect">
            <a:avLst/>
          </a:prstGeom>
          <a:solidFill>
            <a:schemeClr val="tx2"/>
          </a:solidFill>
          <a:ln w="9525" cap="flat" cmpd="sng" algn="ctr">
            <a:noFill/>
            <a:prstDash val="solid"/>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34294" tIns="34294" rIns="34294" bIns="34294" numCol="1" rtlCol="0" anchor="b" anchorCtr="0" compatLnSpc="1">
            <a:prstTxWarp prst="textNoShape">
              <a:avLst/>
            </a:prstTxWarp>
          </a:bodyPr>
          <a:lstStyle/>
          <a:p>
            <a:pPr algn="ctr" defTabSz="914023" fontAlgn="base">
              <a:spcBef>
                <a:spcPct val="0"/>
              </a:spcBef>
              <a:spcAft>
                <a:spcPct val="0"/>
              </a:spcAft>
            </a:pPr>
            <a:r>
              <a:rPr lang="en-US" dirty="0">
                <a:gradFill>
                  <a:gsLst>
                    <a:gs pos="0">
                      <a:srgbClr val="FFFFFF"/>
                    </a:gs>
                    <a:gs pos="100000">
                      <a:srgbClr val="FFFFFF"/>
                    </a:gs>
                  </a:gsLst>
                  <a:lin ang="5400000" scaled="0"/>
                </a:gradFill>
                <a:sym typeface="Segoe UI"/>
              </a:rPr>
              <a:t>c</a:t>
            </a:r>
            <a:r>
              <a:rPr lang="en-US" dirty="0" smtClean="0">
                <a:gradFill>
                  <a:gsLst>
                    <a:gs pos="0">
                      <a:srgbClr val="FFFFFF"/>
                    </a:gs>
                    <a:gs pos="100000">
                      <a:srgbClr val="FFFFFF"/>
                    </a:gs>
                  </a:gsLst>
                  <a:lin ang="5400000" scaled="0"/>
                </a:gradFill>
                <a:sym typeface="Segoe UI"/>
              </a:rPr>
              <a:t>ompliance</a:t>
            </a:r>
            <a:endParaRPr lang="en-US" dirty="0">
              <a:gradFill>
                <a:gsLst>
                  <a:gs pos="0">
                    <a:srgbClr val="FFFFFF"/>
                  </a:gs>
                  <a:gs pos="100000">
                    <a:srgbClr val="FFFFFF"/>
                  </a:gs>
                </a:gsLst>
                <a:lin ang="5400000" scaled="0"/>
              </a:gradFill>
              <a:sym typeface="Segoe UI"/>
            </a:endParaRPr>
          </a:p>
        </p:txBody>
      </p:sp>
      <p:sp>
        <p:nvSpPr>
          <p:cNvPr id="29" name="Rectangle 28"/>
          <p:cNvSpPr/>
          <p:nvPr>
            <p:custDataLst>
              <p:tags r:id="rId6"/>
            </p:custDataLst>
          </p:nvPr>
        </p:nvSpPr>
        <p:spPr bwMode="auto">
          <a:xfrm>
            <a:off x="4664531" y="1078824"/>
            <a:ext cx="1426464" cy="3505200"/>
          </a:xfrm>
          <a:prstGeom prst="rect">
            <a:avLst/>
          </a:prstGeom>
          <a:solidFill>
            <a:schemeClr val="tx2"/>
          </a:solidFill>
          <a:ln w="9525" cap="flat" cmpd="sng" algn="ctr">
            <a:noFill/>
            <a:prstDash val="solid"/>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34294" tIns="34294" rIns="34294" bIns="34294" numCol="1" rtlCol="0" anchor="b" anchorCtr="0" compatLnSpc="1">
            <a:prstTxWarp prst="textNoShape">
              <a:avLst/>
            </a:prstTxWarp>
          </a:bodyPr>
          <a:lstStyle/>
          <a:p>
            <a:pPr algn="ctr" defTabSz="914023" fontAlgn="base">
              <a:spcBef>
                <a:spcPct val="0"/>
              </a:spcBef>
              <a:spcAft>
                <a:spcPct val="0"/>
              </a:spcAft>
            </a:pPr>
            <a:r>
              <a:rPr lang="en-US" dirty="0">
                <a:gradFill>
                  <a:gsLst>
                    <a:gs pos="0">
                      <a:srgbClr val="FFFFFF"/>
                    </a:gs>
                    <a:gs pos="100000">
                      <a:srgbClr val="FFFFFF"/>
                    </a:gs>
                  </a:gsLst>
                  <a:lin ang="5400000" scaled="0"/>
                </a:gradFill>
                <a:sym typeface="Segoe UI"/>
              </a:rPr>
              <a:t>u</a:t>
            </a:r>
            <a:r>
              <a:rPr lang="en-US" dirty="0" smtClean="0">
                <a:gradFill>
                  <a:gsLst>
                    <a:gs pos="0">
                      <a:srgbClr val="FFFFFF"/>
                    </a:gs>
                    <a:gs pos="100000">
                      <a:srgbClr val="FFFFFF"/>
                    </a:gs>
                  </a:gsLst>
                  <a:lin ang="5400000" scaled="0"/>
                </a:gradFill>
                <a:sym typeface="Segoe UI"/>
              </a:rPr>
              <a:t>ncontrolled </a:t>
            </a:r>
            <a:r>
              <a:rPr lang="en-US" dirty="0">
                <a:gradFill>
                  <a:gsLst>
                    <a:gs pos="0">
                      <a:srgbClr val="FFFFFF"/>
                    </a:gs>
                    <a:gs pos="100000">
                      <a:srgbClr val="FFFFFF"/>
                    </a:gs>
                  </a:gsLst>
                  <a:lin ang="5400000" scaled="0"/>
                </a:gradFill>
                <a:sym typeface="Segoe UI"/>
              </a:rPr>
              <a:t>c</a:t>
            </a:r>
            <a:r>
              <a:rPr lang="en-US" dirty="0" smtClean="0">
                <a:gradFill>
                  <a:gsLst>
                    <a:gs pos="0">
                      <a:srgbClr val="FFFFFF"/>
                    </a:gs>
                    <a:gs pos="100000">
                      <a:srgbClr val="FFFFFF"/>
                    </a:gs>
                  </a:gsLst>
                  <a:lin ang="5400000" scaled="0"/>
                </a:gradFill>
                <a:sym typeface="Segoe UI"/>
              </a:rPr>
              <a:t>osts</a:t>
            </a:r>
            <a:endParaRPr lang="en-US" dirty="0">
              <a:gradFill>
                <a:gsLst>
                  <a:gs pos="0">
                    <a:srgbClr val="FFFFFF"/>
                  </a:gs>
                  <a:gs pos="100000">
                    <a:srgbClr val="FFFFFF"/>
                  </a:gs>
                </a:gsLst>
                <a:lin ang="5400000" scaled="0"/>
              </a:gradFill>
              <a:sym typeface="Segoe UI"/>
            </a:endParaRPr>
          </a:p>
        </p:txBody>
      </p:sp>
      <p:pic>
        <p:nvPicPr>
          <p:cNvPr id="54" name="Picture 3" descr="\\MAGNUM\Projects\Microsoft\Cloud Power FY12\Design\ICONS_PNG\Iaas.png"/>
          <p:cNvPicPr>
            <a:picLocks noChangeAspect="1" noChangeArrowheads="1"/>
          </p:cNvPicPr>
          <p:nvPr>
            <p:custDataLst>
              <p:tags r:id="rId7"/>
            </p:custDataLst>
          </p:nvPr>
        </p:nvPicPr>
        <p:blipFill rotWithShape="1">
          <a:blip r:embed="rId20" cstate="print">
            <a:extLst>
              <a:ext uri="{BEBA8EAE-BF5A-486C-A8C5-ECC9F3942E4B}">
                <a14:imgProps xmlns:a14="http://schemas.microsoft.com/office/drawing/2010/main">
                  <a14:imgLayer r:embed="rId21">
                    <a14:imgEffect>
                      <a14:brightnessContrast bright="100000" contrast="100000"/>
                    </a14:imgEffect>
                  </a14:imgLayer>
                </a14:imgProps>
              </a:ext>
            </a:extLst>
          </a:blip>
          <a:srcRect l="10007" t="9371" r="8280" b="8668"/>
          <a:stretch/>
        </p:blipFill>
        <p:spPr bwMode="auto">
          <a:xfrm>
            <a:off x="3464692" y="3400695"/>
            <a:ext cx="1065116" cy="1068358"/>
          </a:xfrm>
          <a:prstGeom prst="rect">
            <a:avLst/>
          </a:prstGeom>
          <a:noFill/>
          <a:ln>
            <a:noFill/>
          </a:ln>
        </p:spPr>
      </p:pic>
      <p:sp>
        <p:nvSpPr>
          <p:cNvPr id="32" name="Rectangle 31"/>
          <p:cNvSpPr/>
          <p:nvPr>
            <p:custDataLst>
              <p:tags r:id="rId8"/>
            </p:custDataLst>
          </p:nvPr>
        </p:nvSpPr>
        <p:spPr bwMode="auto">
          <a:xfrm>
            <a:off x="3235654" y="1078824"/>
            <a:ext cx="1371600" cy="2103120"/>
          </a:xfrm>
          <a:prstGeom prst="rect">
            <a:avLst/>
          </a:prstGeom>
          <a:solidFill>
            <a:schemeClr val="tx2"/>
          </a:solidFill>
          <a:ln w="9525" cap="flat" cmpd="sng" algn="ctr">
            <a:noFill/>
            <a:prstDash val="solid"/>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34294" tIns="34294" rIns="34294" bIns="34294" numCol="1" rtlCol="0" anchor="b" anchorCtr="0" compatLnSpc="1">
            <a:prstTxWarp prst="textNoShape">
              <a:avLst/>
            </a:prstTxWarp>
          </a:bodyPr>
          <a:lstStyle/>
          <a:p>
            <a:pPr algn="ctr" defTabSz="914023" fontAlgn="base">
              <a:spcBef>
                <a:spcPct val="0"/>
              </a:spcBef>
              <a:spcAft>
                <a:spcPct val="0"/>
              </a:spcAft>
            </a:pPr>
            <a:r>
              <a:rPr lang="en-US" dirty="0">
                <a:gradFill>
                  <a:gsLst>
                    <a:gs pos="0">
                      <a:srgbClr val="FFFFFF"/>
                    </a:gs>
                    <a:gs pos="100000">
                      <a:srgbClr val="FFFFFF"/>
                    </a:gs>
                  </a:gsLst>
                  <a:lin ang="5400000" scaled="0"/>
                </a:gradFill>
                <a:sym typeface="Segoe UI"/>
              </a:rPr>
              <a:t>e</a:t>
            </a:r>
            <a:r>
              <a:rPr lang="en-US" dirty="0" smtClean="0">
                <a:gradFill>
                  <a:gsLst>
                    <a:gs pos="0">
                      <a:srgbClr val="FFFFFF"/>
                    </a:gs>
                    <a:gs pos="100000">
                      <a:srgbClr val="FFFFFF"/>
                    </a:gs>
                  </a:gsLst>
                  <a:lin ang="5400000" scaled="0"/>
                </a:gradFill>
                <a:sym typeface="Segoe UI"/>
              </a:rPr>
              <a:t>nd </a:t>
            </a:r>
            <a:r>
              <a:rPr lang="en-US" dirty="0">
                <a:gradFill>
                  <a:gsLst>
                    <a:gs pos="0">
                      <a:srgbClr val="FFFFFF"/>
                    </a:gs>
                    <a:gs pos="100000">
                      <a:srgbClr val="FFFFFF"/>
                    </a:gs>
                  </a:gsLst>
                  <a:lin ang="5400000" scaled="0"/>
                </a:gradFill>
                <a:sym typeface="Segoe UI"/>
              </a:rPr>
              <a:t>of </a:t>
            </a:r>
            <a:r>
              <a:rPr lang="en-US" dirty="0" smtClean="0">
                <a:gradFill>
                  <a:gsLst>
                    <a:gs pos="0">
                      <a:srgbClr val="FFFFFF"/>
                    </a:gs>
                    <a:gs pos="100000">
                      <a:srgbClr val="FFFFFF"/>
                    </a:gs>
                  </a:gsLst>
                  <a:lin ang="5400000" scaled="0"/>
                </a:gradFill>
                <a:sym typeface="Segoe UI"/>
              </a:rPr>
              <a:t>life</a:t>
            </a:r>
            <a:endParaRPr lang="en-US" dirty="0">
              <a:gradFill>
                <a:gsLst>
                  <a:gs pos="0">
                    <a:srgbClr val="FFFFFF"/>
                  </a:gs>
                  <a:gs pos="100000">
                    <a:srgbClr val="FFFFFF"/>
                  </a:gs>
                </a:gsLst>
                <a:lin ang="5400000" scaled="0"/>
              </a:gradFill>
              <a:sym typeface="Segoe UI"/>
            </a:endParaRPr>
          </a:p>
        </p:txBody>
      </p:sp>
      <p:grpSp>
        <p:nvGrpSpPr>
          <p:cNvPr id="41" name="Group 40"/>
          <p:cNvGrpSpPr/>
          <p:nvPr>
            <p:custDataLst>
              <p:tags r:id="rId9"/>
            </p:custDataLst>
          </p:nvPr>
        </p:nvGrpSpPr>
        <p:grpSpPr>
          <a:xfrm>
            <a:off x="3386669" y="1825748"/>
            <a:ext cx="1069570" cy="609274"/>
            <a:chOff x="5571397" y="597420"/>
            <a:chExt cx="853737" cy="486326"/>
          </a:xfrm>
          <a:solidFill>
            <a:schemeClr val="tx1"/>
          </a:solidFill>
        </p:grpSpPr>
        <p:sp>
          <p:nvSpPr>
            <p:cNvPr id="45" name="Freeform 25"/>
            <p:cNvSpPr>
              <a:spLocks/>
            </p:cNvSpPr>
            <p:nvPr/>
          </p:nvSpPr>
          <p:spPr bwMode="auto">
            <a:xfrm>
              <a:off x="5616039" y="646408"/>
              <a:ext cx="170668" cy="164347"/>
            </a:xfrm>
            <a:custGeom>
              <a:avLst/>
              <a:gdLst>
                <a:gd name="T0" fmla="*/ 387 w 595"/>
                <a:gd name="T1" fmla="*/ 512 h 573"/>
                <a:gd name="T2" fmla="*/ 588 w 595"/>
                <a:gd name="T3" fmla="*/ 62 h 573"/>
                <a:gd name="T4" fmla="*/ 544 w 595"/>
                <a:gd name="T5" fmla="*/ 0 h 573"/>
                <a:gd name="T6" fmla="*/ 51 w 595"/>
                <a:gd name="T7" fmla="*/ 0 h 573"/>
                <a:gd name="T8" fmla="*/ 7 w 595"/>
                <a:gd name="T9" fmla="*/ 62 h 573"/>
                <a:gd name="T10" fmla="*/ 208 w 595"/>
                <a:gd name="T11" fmla="*/ 512 h 573"/>
                <a:gd name="T12" fmla="*/ 297 w 595"/>
                <a:gd name="T13" fmla="*/ 573 h 573"/>
                <a:gd name="T14" fmla="*/ 387 w 595"/>
                <a:gd name="T15" fmla="*/ 512 h 5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5" h="573">
                  <a:moveTo>
                    <a:pt x="387" y="512"/>
                  </a:moveTo>
                  <a:cubicBezTo>
                    <a:pt x="467" y="419"/>
                    <a:pt x="566" y="298"/>
                    <a:pt x="588" y="62"/>
                  </a:cubicBezTo>
                  <a:cubicBezTo>
                    <a:pt x="589" y="47"/>
                    <a:pt x="595" y="0"/>
                    <a:pt x="544" y="0"/>
                  </a:cubicBezTo>
                  <a:cubicBezTo>
                    <a:pt x="51" y="0"/>
                    <a:pt x="51" y="0"/>
                    <a:pt x="51" y="0"/>
                  </a:cubicBezTo>
                  <a:cubicBezTo>
                    <a:pt x="0" y="0"/>
                    <a:pt x="6" y="47"/>
                    <a:pt x="7" y="62"/>
                  </a:cubicBezTo>
                  <a:cubicBezTo>
                    <a:pt x="29" y="298"/>
                    <a:pt x="128" y="419"/>
                    <a:pt x="208" y="512"/>
                  </a:cubicBezTo>
                  <a:cubicBezTo>
                    <a:pt x="243" y="553"/>
                    <a:pt x="263" y="573"/>
                    <a:pt x="297" y="573"/>
                  </a:cubicBezTo>
                  <a:cubicBezTo>
                    <a:pt x="331" y="573"/>
                    <a:pt x="352" y="553"/>
                    <a:pt x="387" y="512"/>
                  </a:cubicBezTo>
                </a:path>
              </a:pathLst>
            </a:custGeom>
            <a:grpFill/>
            <a:ln>
              <a:noFill/>
            </a:ln>
          </p:spPr>
          <p:txBody>
            <a:bodyPr vert="horz" wrap="square" lIns="91440" tIns="45720" rIns="91440" bIns="45720" numCol="1" anchor="t" anchorCtr="0" compatLnSpc="1">
              <a:prstTxWarp prst="textNoShape">
                <a:avLst/>
              </a:prstTxWarp>
            </a:bodyPr>
            <a:lstStyle/>
            <a:p>
              <a:endParaRPr lang="en-US">
                <a:sym typeface="Segoe UI"/>
              </a:endParaRPr>
            </a:p>
          </p:txBody>
        </p:sp>
        <p:sp>
          <p:nvSpPr>
            <p:cNvPr id="46" name="Freeform 27"/>
            <p:cNvSpPr>
              <a:spLocks/>
            </p:cNvSpPr>
            <p:nvPr/>
          </p:nvSpPr>
          <p:spPr bwMode="auto">
            <a:xfrm>
              <a:off x="5913129" y="958115"/>
              <a:ext cx="167113" cy="82964"/>
            </a:xfrm>
            <a:custGeom>
              <a:avLst/>
              <a:gdLst>
                <a:gd name="T0" fmla="*/ 0 w 583"/>
                <a:gd name="T1" fmla="*/ 239 h 288"/>
                <a:gd name="T2" fmla="*/ 45 w 583"/>
                <a:gd name="T3" fmla="*/ 288 h 288"/>
                <a:gd name="T4" fmla="*/ 538 w 583"/>
                <a:gd name="T5" fmla="*/ 288 h 288"/>
                <a:gd name="T6" fmla="*/ 583 w 583"/>
                <a:gd name="T7" fmla="*/ 239 h 288"/>
                <a:gd name="T8" fmla="*/ 291 w 583"/>
                <a:gd name="T9" fmla="*/ 0 h 288"/>
                <a:gd name="T10" fmla="*/ 0 w 583"/>
                <a:gd name="T11" fmla="*/ 239 h 288"/>
              </a:gdLst>
              <a:ahLst/>
              <a:cxnLst>
                <a:cxn ang="0">
                  <a:pos x="T0" y="T1"/>
                </a:cxn>
                <a:cxn ang="0">
                  <a:pos x="T2" y="T3"/>
                </a:cxn>
                <a:cxn ang="0">
                  <a:pos x="T4" y="T5"/>
                </a:cxn>
                <a:cxn ang="0">
                  <a:pos x="T6" y="T7"/>
                </a:cxn>
                <a:cxn ang="0">
                  <a:pos x="T8" y="T9"/>
                </a:cxn>
                <a:cxn ang="0">
                  <a:pos x="T10" y="T11"/>
                </a:cxn>
              </a:cxnLst>
              <a:rect l="0" t="0" r="r" b="b"/>
              <a:pathLst>
                <a:path w="583" h="288">
                  <a:moveTo>
                    <a:pt x="0" y="239"/>
                  </a:moveTo>
                  <a:cubicBezTo>
                    <a:pt x="0" y="259"/>
                    <a:pt x="5" y="288"/>
                    <a:pt x="45" y="288"/>
                  </a:cubicBezTo>
                  <a:cubicBezTo>
                    <a:pt x="538" y="288"/>
                    <a:pt x="538" y="288"/>
                    <a:pt x="538" y="288"/>
                  </a:cubicBezTo>
                  <a:cubicBezTo>
                    <a:pt x="577" y="288"/>
                    <a:pt x="583" y="259"/>
                    <a:pt x="583" y="239"/>
                  </a:cubicBezTo>
                  <a:cubicBezTo>
                    <a:pt x="582" y="219"/>
                    <a:pt x="554" y="0"/>
                    <a:pt x="291" y="0"/>
                  </a:cubicBezTo>
                  <a:cubicBezTo>
                    <a:pt x="28" y="0"/>
                    <a:pt x="0" y="219"/>
                    <a:pt x="0" y="239"/>
                  </a:cubicBezTo>
                </a:path>
              </a:pathLst>
            </a:custGeom>
            <a:grpFill/>
            <a:ln>
              <a:noFill/>
            </a:ln>
          </p:spPr>
          <p:txBody>
            <a:bodyPr vert="horz" wrap="square" lIns="91440" tIns="45720" rIns="91440" bIns="45720" numCol="1" anchor="t" anchorCtr="0" compatLnSpc="1">
              <a:prstTxWarp prst="textNoShape">
                <a:avLst/>
              </a:prstTxWarp>
            </a:bodyPr>
            <a:lstStyle/>
            <a:p>
              <a:endParaRPr lang="en-US">
                <a:sym typeface="Segoe UI"/>
              </a:endParaRPr>
            </a:p>
          </p:txBody>
        </p:sp>
        <p:sp>
          <p:nvSpPr>
            <p:cNvPr id="47" name="Freeform 28"/>
            <p:cNvSpPr>
              <a:spLocks/>
            </p:cNvSpPr>
            <p:nvPr/>
          </p:nvSpPr>
          <p:spPr bwMode="auto">
            <a:xfrm>
              <a:off x="5916684" y="680779"/>
              <a:ext cx="159606" cy="129977"/>
            </a:xfrm>
            <a:custGeom>
              <a:avLst/>
              <a:gdLst>
                <a:gd name="T0" fmla="*/ 368 w 556"/>
                <a:gd name="T1" fmla="*/ 392 h 453"/>
                <a:gd name="T2" fmla="*/ 546 w 556"/>
                <a:gd name="T3" fmla="*/ 71 h 453"/>
                <a:gd name="T4" fmla="*/ 493 w 556"/>
                <a:gd name="T5" fmla="*/ 0 h 453"/>
                <a:gd name="T6" fmla="*/ 64 w 556"/>
                <a:gd name="T7" fmla="*/ 0 h 453"/>
                <a:gd name="T8" fmla="*/ 11 w 556"/>
                <a:gd name="T9" fmla="*/ 71 h 453"/>
                <a:gd name="T10" fmla="*/ 188 w 556"/>
                <a:gd name="T11" fmla="*/ 392 h 453"/>
                <a:gd name="T12" fmla="*/ 278 w 556"/>
                <a:gd name="T13" fmla="*/ 453 h 453"/>
                <a:gd name="T14" fmla="*/ 368 w 556"/>
                <a:gd name="T15" fmla="*/ 392 h 4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6" h="453">
                  <a:moveTo>
                    <a:pt x="368" y="392"/>
                  </a:moveTo>
                  <a:cubicBezTo>
                    <a:pt x="432" y="318"/>
                    <a:pt x="507" y="224"/>
                    <a:pt x="546" y="71"/>
                  </a:cubicBezTo>
                  <a:cubicBezTo>
                    <a:pt x="556" y="31"/>
                    <a:pt x="544" y="0"/>
                    <a:pt x="493" y="0"/>
                  </a:cubicBezTo>
                  <a:cubicBezTo>
                    <a:pt x="64" y="0"/>
                    <a:pt x="64" y="0"/>
                    <a:pt x="64" y="0"/>
                  </a:cubicBezTo>
                  <a:cubicBezTo>
                    <a:pt x="13" y="0"/>
                    <a:pt x="0" y="31"/>
                    <a:pt x="11" y="71"/>
                  </a:cubicBezTo>
                  <a:cubicBezTo>
                    <a:pt x="50" y="224"/>
                    <a:pt x="125" y="318"/>
                    <a:pt x="188" y="392"/>
                  </a:cubicBezTo>
                  <a:cubicBezTo>
                    <a:pt x="224" y="433"/>
                    <a:pt x="244" y="453"/>
                    <a:pt x="278" y="453"/>
                  </a:cubicBezTo>
                  <a:cubicBezTo>
                    <a:pt x="312" y="453"/>
                    <a:pt x="333" y="433"/>
                    <a:pt x="368" y="392"/>
                  </a:cubicBezTo>
                </a:path>
              </a:pathLst>
            </a:custGeom>
            <a:grpFill/>
            <a:ln>
              <a:noFill/>
            </a:ln>
          </p:spPr>
          <p:txBody>
            <a:bodyPr vert="horz" wrap="square" lIns="91440" tIns="45720" rIns="91440" bIns="45720" numCol="1" anchor="t" anchorCtr="0" compatLnSpc="1">
              <a:prstTxWarp prst="textNoShape">
                <a:avLst/>
              </a:prstTxWarp>
            </a:bodyPr>
            <a:lstStyle/>
            <a:p>
              <a:endParaRPr lang="en-US">
                <a:sym typeface="Segoe UI"/>
              </a:endParaRPr>
            </a:p>
          </p:txBody>
        </p:sp>
        <p:sp>
          <p:nvSpPr>
            <p:cNvPr id="48" name="Freeform 47"/>
            <p:cNvSpPr>
              <a:spLocks/>
            </p:cNvSpPr>
            <p:nvPr/>
          </p:nvSpPr>
          <p:spPr bwMode="auto">
            <a:xfrm>
              <a:off x="6209823" y="879102"/>
              <a:ext cx="170668" cy="161977"/>
            </a:xfrm>
            <a:custGeom>
              <a:avLst/>
              <a:gdLst>
                <a:gd name="T0" fmla="*/ 297 w 594"/>
                <a:gd name="T1" fmla="*/ 0 h 563"/>
                <a:gd name="T2" fmla="*/ 188 w 594"/>
                <a:gd name="T3" fmla="*/ 50 h 563"/>
                <a:gd name="T4" fmla="*/ 7 w 594"/>
                <a:gd name="T5" fmla="*/ 500 h 563"/>
                <a:gd name="T6" fmla="*/ 51 w 594"/>
                <a:gd name="T7" fmla="*/ 563 h 563"/>
                <a:gd name="T8" fmla="*/ 544 w 594"/>
                <a:gd name="T9" fmla="*/ 563 h 563"/>
                <a:gd name="T10" fmla="*/ 588 w 594"/>
                <a:gd name="T11" fmla="*/ 500 h 563"/>
                <a:gd name="T12" fmla="*/ 407 w 594"/>
                <a:gd name="T13" fmla="*/ 50 h 563"/>
                <a:gd name="T14" fmla="*/ 297 w 594"/>
                <a:gd name="T15" fmla="*/ 0 h 5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4" h="563">
                  <a:moveTo>
                    <a:pt x="297" y="0"/>
                  </a:moveTo>
                  <a:cubicBezTo>
                    <a:pt x="254" y="0"/>
                    <a:pt x="214" y="19"/>
                    <a:pt x="188" y="50"/>
                  </a:cubicBezTo>
                  <a:cubicBezTo>
                    <a:pt x="109" y="141"/>
                    <a:pt x="27" y="283"/>
                    <a:pt x="7" y="500"/>
                  </a:cubicBezTo>
                  <a:cubicBezTo>
                    <a:pt x="6" y="516"/>
                    <a:pt x="0" y="563"/>
                    <a:pt x="51" y="563"/>
                  </a:cubicBezTo>
                  <a:cubicBezTo>
                    <a:pt x="544" y="563"/>
                    <a:pt x="544" y="563"/>
                    <a:pt x="544" y="563"/>
                  </a:cubicBezTo>
                  <a:cubicBezTo>
                    <a:pt x="594" y="563"/>
                    <a:pt x="589" y="516"/>
                    <a:pt x="588" y="500"/>
                  </a:cubicBezTo>
                  <a:cubicBezTo>
                    <a:pt x="567" y="283"/>
                    <a:pt x="485" y="141"/>
                    <a:pt x="407" y="50"/>
                  </a:cubicBezTo>
                  <a:cubicBezTo>
                    <a:pt x="380" y="19"/>
                    <a:pt x="341" y="0"/>
                    <a:pt x="297" y="0"/>
                  </a:cubicBezTo>
                </a:path>
              </a:pathLst>
            </a:custGeom>
            <a:grpFill/>
            <a:ln>
              <a:noFill/>
            </a:ln>
          </p:spPr>
          <p:txBody>
            <a:bodyPr vert="horz" wrap="square" lIns="91440" tIns="45720" rIns="91440" bIns="45720" numCol="1" anchor="t" anchorCtr="0" compatLnSpc="1">
              <a:prstTxWarp prst="textNoShape">
                <a:avLst/>
              </a:prstTxWarp>
            </a:bodyPr>
            <a:lstStyle/>
            <a:p>
              <a:endParaRPr lang="en-US">
                <a:sym typeface="Segoe UI"/>
              </a:endParaRPr>
            </a:p>
          </p:txBody>
        </p:sp>
        <p:grpSp>
          <p:nvGrpSpPr>
            <p:cNvPr id="49" name="Group 48"/>
            <p:cNvGrpSpPr/>
            <p:nvPr/>
          </p:nvGrpSpPr>
          <p:grpSpPr>
            <a:xfrm>
              <a:off x="5571397" y="597420"/>
              <a:ext cx="853737" cy="486326"/>
              <a:chOff x="5571397" y="597420"/>
              <a:chExt cx="853737" cy="486326"/>
            </a:xfrm>
            <a:grpFill/>
          </p:grpSpPr>
          <p:sp>
            <p:nvSpPr>
              <p:cNvPr id="50" name="Freeform 26"/>
              <p:cNvSpPr>
                <a:spLocks noEditPoints="1"/>
              </p:cNvSpPr>
              <p:nvPr/>
            </p:nvSpPr>
            <p:spPr bwMode="auto">
              <a:xfrm>
                <a:off x="5571397" y="597420"/>
                <a:ext cx="259953" cy="486326"/>
              </a:xfrm>
              <a:custGeom>
                <a:avLst/>
                <a:gdLst>
                  <a:gd name="T0" fmla="*/ 849 w 905"/>
                  <a:gd name="T1" fmla="*/ 1582 h 1693"/>
                  <a:gd name="T2" fmla="*/ 509 w 905"/>
                  <a:gd name="T3" fmla="*/ 845 h 1693"/>
                  <a:gd name="T4" fmla="*/ 849 w 905"/>
                  <a:gd name="T5" fmla="*/ 112 h 1693"/>
                  <a:gd name="T6" fmla="*/ 905 w 905"/>
                  <a:gd name="T7" fmla="*/ 56 h 1693"/>
                  <a:gd name="T8" fmla="*/ 849 w 905"/>
                  <a:gd name="T9" fmla="*/ 0 h 1693"/>
                  <a:gd name="T10" fmla="*/ 56 w 905"/>
                  <a:gd name="T11" fmla="*/ 0 h 1693"/>
                  <a:gd name="T12" fmla="*/ 0 w 905"/>
                  <a:gd name="T13" fmla="*/ 56 h 1693"/>
                  <a:gd name="T14" fmla="*/ 56 w 905"/>
                  <a:gd name="T15" fmla="*/ 112 h 1693"/>
                  <a:gd name="T16" fmla="*/ 396 w 905"/>
                  <a:gd name="T17" fmla="*/ 845 h 1693"/>
                  <a:gd name="T18" fmla="*/ 56 w 905"/>
                  <a:gd name="T19" fmla="*/ 1582 h 1693"/>
                  <a:gd name="T20" fmla="*/ 0 w 905"/>
                  <a:gd name="T21" fmla="*/ 1638 h 1693"/>
                  <a:gd name="T22" fmla="*/ 56 w 905"/>
                  <a:gd name="T23" fmla="*/ 1693 h 1693"/>
                  <a:gd name="T24" fmla="*/ 849 w 905"/>
                  <a:gd name="T25" fmla="*/ 1693 h 1693"/>
                  <a:gd name="T26" fmla="*/ 905 w 905"/>
                  <a:gd name="T27" fmla="*/ 1638 h 1693"/>
                  <a:gd name="T28" fmla="*/ 849 w 905"/>
                  <a:gd name="T29" fmla="*/ 1582 h 1693"/>
                  <a:gd name="T30" fmla="*/ 777 w 905"/>
                  <a:gd name="T31" fmla="*/ 1565 h 1693"/>
                  <a:gd name="T32" fmla="*/ 736 w 905"/>
                  <a:gd name="T33" fmla="*/ 1582 h 1693"/>
                  <a:gd name="T34" fmla="*/ 169 w 905"/>
                  <a:gd name="T35" fmla="*/ 1582 h 1693"/>
                  <a:gd name="T36" fmla="*/ 128 w 905"/>
                  <a:gd name="T37" fmla="*/ 1565 h 1693"/>
                  <a:gd name="T38" fmla="*/ 114 w 905"/>
                  <a:gd name="T39" fmla="*/ 1522 h 1693"/>
                  <a:gd name="T40" fmla="*/ 329 w 905"/>
                  <a:gd name="T41" fmla="*/ 1019 h 1693"/>
                  <a:gd name="T42" fmla="*/ 428 w 905"/>
                  <a:gd name="T43" fmla="*/ 845 h 1693"/>
                  <a:gd name="T44" fmla="*/ 329 w 905"/>
                  <a:gd name="T45" fmla="*/ 670 h 1693"/>
                  <a:gd name="T46" fmla="*/ 114 w 905"/>
                  <a:gd name="T47" fmla="*/ 171 h 1693"/>
                  <a:gd name="T48" fmla="*/ 128 w 905"/>
                  <a:gd name="T49" fmla="*/ 129 h 1693"/>
                  <a:gd name="T50" fmla="*/ 169 w 905"/>
                  <a:gd name="T51" fmla="*/ 112 h 1693"/>
                  <a:gd name="T52" fmla="*/ 736 w 905"/>
                  <a:gd name="T53" fmla="*/ 112 h 1693"/>
                  <a:gd name="T54" fmla="*/ 777 w 905"/>
                  <a:gd name="T55" fmla="*/ 129 h 1693"/>
                  <a:gd name="T56" fmla="*/ 791 w 905"/>
                  <a:gd name="T57" fmla="*/ 171 h 1693"/>
                  <a:gd name="T58" fmla="*/ 576 w 905"/>
                  <a:gd name="T59" fmla="*/ 670 h 1693"/>
                  <a:gd name="T60" fmla="*/ 477 w 905"/>
                  <a:gd name="T61" fmla="*/ 845 h 1693"/>
                  <a:gd name="T62" fmla="*/ 576 w 905"/>
                  <a:gd name="T63" fmla="*/ 1019 h 1693"/>
                  <a:gd name="T64" fmla="*/ 791 w 905"/>
                  <a:gd name="T65" fmla="*/ 1522 h 1693"/>
                  <a:gd name="T66" fmla="*/ 777 w 905"/>
                  <a:gd name="T67" fmla="*/ 1565 h 1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05" h="1693">
                    <a:moveTo>
                      <a:pt x="849" y="1582"/>
                    </a:moveTo>
                    <a:cubicBezTo>
                      <a:pt x="849" y="1051"/>
                      <a:pt x="509" y="995"/>
                      <a:pt x="509" y="845"/>
                    </a:cubicBezTo>
                    <a:cubicBezTo>
                      <a:pt x="509" y="695"/>
                      <a:pt x="849" y="642"/>
                      <a:pt x="849" y="112"/>
                    </a:cubicBezTo>
                    <a:cubicBezTo>
                      <a:pt x="880" y="112"/>
                      <a:pt x="905" y="87"/>
                      <a:pt x="905" y="56"/>
                    </a:cubicBezTo>
                    <a:cubicBezTo>
                      <a:pt x="905" y="25"/>
                      <a:pt x="880" y="0"/>
                      <a:pt x="849" y="0"/>
                    </a:cubicBezTo>
                    <a:cubicBezTo>
                      <a:pt x="56" y="0"/>
                      <a:pt x="56" y="0"/>
                      <a:pt x="56" y="0"/>
                    </a:cubicBezTo>
                    <a:cubicBezTo>
                      <a:pt x="25" y="0"/>
                      <a:pt x="0" y="25"/>
                      <a:pt x="0" y="56"/>
                    </a:cubicBezTo>
                    <a:cubicBezTo>
                      <a:pt x="0" y="87"/>
                      <a:pt x="25" y="112"/>
                      <a:pt x="56" y="112"/>
                    </a:cubicBezTo>
                    <a:cubicBezTo>
                      <a:pt x="56" y="642"/>
                      <a:pt x="396" y="695"/>
                      <a:pt x="396" y="845"/>
                    </a:cubicBezTo>
                    <a:cubicBezTo>
                      <a:pt x="396" y="995"/>
                      <a:pt x="56" y="1051"/>
                      <a:pt x="56" y="1582"/>
                    </a:cubicBezTo>
                    <a:cubicBezTo>
                      <a:pt x="25" y="1582"/>
                      <a:pt x="0" y="1607"/>
                      <a:pt x="0" y="1638"/>
                    </a:cubicBezTo>
                    <a:cubicBezTo>
                      <a:pt x="0" y="1668"/>
                      <a:pt x="25" y="1693"/>
                      <a:pt x="56" y="1693"/>
                    </a:cubicBezTo>
                    <a:cubicBezTo>
                      <a:pt x="849" y="1693"/>
                      <a:pt x="849" y="1693"/>
                      <a:pt x="849" y="1693"/>
                    </a:cubicBezTo>
                    <a:cubicBezTo>
                      <a:pt x="880" y="1693"/>
                      <a:pt x="905" y="1668"/>
                      <a:pt x="905" y="1638"/>
                    </a:cubicBezTo>
                    <a:cubicBezTo>
                      <a:pt x="905" y="1607"/>
                      <a:pt x="880" y="1582"/>
                      <a:pt x="849" y="1582"/>
                    </a:cubicBezTo>
                    <a:moveTo>
                      <a:pt x="777" y="1565"/>
                    </a:moveTo>
                    <a:cubicBezTo>
                      <a:pt x="761" y="1582"/>
                      <a:pt x="736" y="1582"/>
                      <a:pt x="736" y="1582"/>
                    </a:cubicBezTo>
                    <a:cubicBezTo>
                      <a:pt x="169" y="1582"/>
                      <a:pt x="169" y="1582"/>
                      <a:pt x="169" y="1582"/>
                    </a:cubicBezTo>
                    <a:cubicBezTo>
                      <a:pt x="169" y="1582"/>
                      <a:pt x="144" y="1582"/>
                      <a:pt x="128" y="1565"/>
                    </a:cubicBezTo>
                    <a:cubicBezTo>
                      <a:pt x="120" y="1556"/>
                      <a:pt x="113" y="1541"/>
                      <a:pt x="114" y="1522"/>
                    </a:cubicBezTo>
                    <a:cubicBezTo>
                      <a:pt x="128" y="1235"/>
                      <a:pt x="243" y="1111"/>
                      <a:pt x="329" y="1019"/>
                    </a:cubicBezTo>
                    <a:cubicBezTo>
                      <a:pt x="382" y="963"/>
                      <a:pt x="428" y="914"/>
                      <a:pt x="428" y="845"/>
                    </a:cubicBezTo>
                    <a:cubicBezTo>
                      <a:pt x="428" y="776"/>
                      <a:pt x="382" y="727"/>
                      <a:pt x="329" y="670"/>
                    </a:cubicBezTo>
                    <a:cubicBezTo>
                      <a:pt x="243" y="578"/>
                      <a:pt x="128" y="458"/>
                      <a:pt x="114" y="171"/>
                    </a:cubicBezTo>
                    <a:cubicBezTo>
                      <a:pt x="113" y="152"/>
                      <a:pt x="120" y="138"/>
                      <a:pt x="128" y="129"/>
                    </a:cubicBezTo>
                    <a:cubicBezTo>
                      <a:pt x="144" y="112"/>
                      <a:pt x="169" y="112"/>
                      <a:pt x="169" y="112"/>
                    </a:cubicBezTo>
                    <a:cubicBezTo>
                      <a:pt x="736" y="112"/>
                      <a:pt x="736" y="112"/>
                      <a:pt x="736" y="112"/>
                    </a:cubicBezTo>
                    <a:cubicBezTo>
                      <a:pt x="736" y="112"/>
                      <a:pt x="761" y="112"/>
                      <a:pt x="777" y="129"/>
                    </a:cubicBezTo>
                    <a:cubicBezTo>
                      <a:pt x="785" y="138"/>
                      <a:pt x="792" y="152"/>
                      <a:pt x="791" y="171"/>
                    </a:cubicBezTo>
                    <a:cubicBezTo>
                      <a:pt x="777" y="458"/>
                      <a:pt x="661" y="578"/>
                      <a:pt x="576" y="670"/>
                    </a:cubicBezTo>
                    <a:cubicBezTo>
                      <a:pt x="523" y="727"/>
                      <a:pt x="477" y="776"/>
                      <a:pt x="477" y="845"/>
                    </a:cubicBezTo>
                    <a:cubicBezTo>
                      <a:pt x="477" y="914"/>
                      <a:pt x="523" y="963"/>
                      <a:pt x="576" y="1019"/>
                    </a:cubicBezTo>
                    <a:cubicBezTo>
                      <a:pt x="661" y="1111"/>
                      <a:pt x="777" y="1235"/>
                      <a:pt x="791" y="1522"/>
                    </a:cubicBezTo>
                    <a:cubicBezTo>
                      <a:pt x="792" y="1541"/>
                      <a:pt x="785" y="1556"/>
                      <a:pt x="777" y="1565"/>
                    </a:cubicBezTo>
                  </a:path>
                </a:pathLst>
              </a:custGeom>
              <a:grpFill/>
              <a:ln>
                <a:noFill/>
              </a:ln>
            </p:spPr>
            <p:txBody>
              <a:bodyPr vert="horz" wrap="square" lIns="91440" tIns="45720" rIns="91440" bIns="45720" numCol="1" anchor="t" anchorCtr="0" compatLnSpc="1">
                <a:prstTxWarp prst="textNoShape">
                  <a:avLst/>
                </a:prstTxWarp>
              </a:bodyPr>
              <a:lstStyle/>
              <a:p>
                <a:endParaRPr lang="en-US">
                  <a:sym typeface="Segoe UI"/>
                </a:endParaRPr>
              </a:p>
            </p:txBody>
          </p:sp>
          <p:sp>
            <p:nvSpPr>
              <p:cNvPr id="51" name="Freeform 29"/>
              <p:cNvSpPr>
                <a:spLocks noEditPoints="1"/>
              </p:cNvSpPr>
              <p:nvPr/>
            </p:nvSpPr>
            <p:spPr bwMode="auto">
              <a:xfrm>
                <a:off x="5866511" y="597420"/>
                <a:ext cx="259953" cy="486326"/>
              </a:xfrm>
              <a:custGeom>
                <a:avLst/>
                <a:gdLst>
                  <a:gd name="T0" fmla="*/ 849 w 905"/>
                  <a:gd name="T1" fmla="*/ 1582 h 1693"/>
                  <a:gd name="T2" fmla="*/ 509 w 905"/>
                  <a:gd name="T3" fmla="*/ 845 h 1693"/>
                  <a:gd name="T4" fmla="*/ 849 w 905"/>
                  <a:gd name="T5" fmla="*/ 112 h 1693"/>
                  <a:gd name="T6" fmla="*/ 905 w 905"/>
                  <a:gd name="T7" fmla="*/ 56 h 1693"/>
                  <a:gd name="T8" fmla="*/ 849 w 905"/>
                  <a:gd name="T9" fmla="*/ 0 h 1693"/>
                  <a:gd name="T10" fmla="*/ 56 w 905"/>
                  <a:gd name="T11" fmla="*/ 0 h 1693"/>
                  <a:gd name="T12" fmla="*/ 0 w 905"/>
                  <a:gd name="T13" fmla="*/ 56 h 1693"/>
                  <a:gd name="T14" fmla="*/ 56 w 905"/>
                  <a:gd name="T15" fmla="*/ 112 h 1693"/>
                  <a:gd name="T16" fmla="*/ 396 w 905"/>
                  <a:gd name="T17" fmla="*/ 845 h 1693"/>
                  <a:gd name="T18" fmla="*/ 56 w 905"/>
                  <a:gd name="T19" fmla="*/ 1582 h 1693"/>
                  <a:gd name="T20" fmla="*/ 0 w 905"/>
                  <a:gd name="T21" fmla="*/ 1638 h 1693"/>
                  <a:gd name="T22" fmla="*/ 56 w 905"/>
                  <a:gd name="T23" fmla="*/ 1693 h 1693"/>
                  <a:gd name="T24" fmla="*/ 849 w 905"/>
                  <a:gd name="T25" fmla="*/ 1693 h 1693"/>
                  <a:gd name="T26" fmla="*/ 905 w 905"/>
                  <a:gd name="T27" fmla="*/ 1638 h 1693"/>
                  <a:gd name="T28" fmla="*/ 849 w 905"/>
                  <a:gd name="T29" fmla="*/ 1582 h 1693"/>
                  <a:gd name="T30" fmla="*/ 777 w 905"/>
                  <a:gd name="T31" fmla="*/ 1565 h 1693"/>
                  <a:gd name="T32" fmla="*/ 736 w 905"/>
                  <a:gd name="T33" fmla="*/ 1582 h 1693"/>
                  <a:gd name="T34" fmla="*/ 169 w 905"/>
                  <a:gd name="T35" fmla="*/ 1582 h 1693"/>
                  <a:gd name="T36" fmla="*/ 128 w 905"/>
                  <a:gd name="T37" fmla="*/ 1565 h 1693"/>
                  <a:gd name="T38" fmla="*/ 114 w 905"/>
                  <a:gd name="T39" fmla="*/ 1522 h 1693"/>
                  <a:gd name="T40" fmla="*/ 329 w 905"/>
                  <a:gd name="T41" fmla="*/ 1019 h 1693"/>
                  <a:gd name="T42" fmla="*/ 428 w 905"/>
                  <a:gd name="T43" fmla="*/ 845 h 1693"/>
                  <a:gd name="T44" fmla="*/ 329 w 905"/>
                  <a:gd name="T45" fmla="*/ 670 h 1693"/>
                  <a:gd name="T46" fmla="*/ 114 w 905"/>
                  <a:gd name="T47" fmla="*/ 171 h 1693"/>
                  <a:gd name="T48" fmla="*/ 128 w 905"/>
                  <a:gd name="T49" fmla="*/ 129 h 1693"/>
                  <a:gd name="T50" fmla="*/ 169 w 905"/>
                  <a:gd name="T51" fmla="*/ 112 h 1693"/>
                  <a:gd name="T52" fmla="*/ 736 w 905"/>
                  <a:gd name="T53" fmla="*/ 112 h 1693"/>
                  <a:gd name="T54" fmla="*/ 777 w 905"/>
                  <a:gd name="T55" fmla="*/ 129 h 1693"/>
                  <a:gd name="T56" fmla="*/ 791 w 905"/>
                  <a:gd name="T57" fmla="*/ 171 h 1693"/>
                  <a:gd name="T58" fmla="*/ 576 w 905"/>
                  <a:gd name="T59" fmla="*/ 670 h 1693"/>
                  <a:gd name="T60" fmla="*/ 477 w 905"/>
                  <a:gd name="T61" fmla="*/ 845 h 1693"/>
                  <a:gd name="T62" fmla="*/ 576 w 905"/>
                  <a:gd name="T63" fmla="*/ 1019 h 1693"/>
                  <a:gd name="T64" fmla="*/ 791 w 905"/>
                  <a:gd name="T65" fmla="*/ 1522 h 1693"/>
                  <a:gd name="T66" fmla="*/ 777 w 905"/>
                  <a:gd name="T67" fmla="*/ 1565 h 1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05" h="1693">
                    <a:moveTo>
                      <a:pt x="849" y="1582"/>
                    </a:moveTo>
                    <a:cubicBezTo>
                      <a:pt x="849" y="1051"/>
                      <a:pt x="509" y="995"/>
                      <a:pt x="509" y="845"/>
                    </a:cubicBezTo>
                    <a:cubicBezTo>
                      <a:pt x="509" y="695"/>
                      <a:pt x="849" y="642"/>
                      <a:pt x="849" y="112"/>
                    </a:cubicBezTo>
                    <a:cubicBezTo>
                      <a:pt x="880" y="112"/>
                      <a:pt x="905" y="87"/>
                      <a:pt x="905" y="56"/>
                    </a:cubicBezTo>
                    <a:cubicBezTo>
                      <a:pt x="905" y="25"/>
                      <a:pt x="880" y="0"/>
                      <a:pt x="849" y="0"/>
                    </a:cubicBezTo>
                    <a:cubicBezTo>
                      <a:pt x="56" y="0"/>
                      <a:pt x="56" y="0"/>
                      <a:pt x="56" y="0"/>
                    </a:cubicBezTo>
                    <a:cubicBezTo>
                      <a:pt x="25" y="0"/>
                      <a:pt x="0" y="25"/>
                      <a:pt x="0" y="56"/>
                    </a:cubicBezTo>
                    <a:cubicBezTo>
                      <a:pt x="0" y="87"/>
                      <a:pt x="25" y="112"/>
                      <a:pt x="56" y="112"/>
                    </a:cubicBezTo>
                    <a:cubicBezTo>
                      <a:pt x="56" y="642"/>
                      <a:pt x="396" y="695"/>
                      <a:pt x="396" y="845"/>
                    </a:cubicBezTo>
                    <a:cubicBezTo>
                      <a:pt x="396" y="995"/>
                      <a:pt x="56" y="1051"/>
                      <a:pt x="56" y="1582"/>
                    </a:cubicBezTo>
                    <a:cubicBezTo>
                      <a:pt x="25" y="1582"/>
                      <a:pt x="0" y="1607"/>
                      <a:pt x="0" y="1638"/>
                    </a:cubicBezTo>
                    <a:cubicBezTo>
                      <a:pt x="0" y="1668"/>
                      <a:pt x="25" y="1693"/>
                      <a:pt x="56" y="1693"/>
                    </a:cubicBezTo>
                    <a:cubicBezTo>
                      <a:pt x="849" y="1693"/>
                      <a:pt x="849" y="1693"/>
                      <a:pt x="849" y="1693"/>
                    </a:cubicBezTo>
                    <a:cubicBezTo>
                      <a:pt x="880" y="1693"/>
                      <a:pt x="905" y="1668"/>
                      <a:pt x="905" y="1638"/>
                    </a:cubicBezTo>
                    <a:cubicBezTo>
                      <a:pt x="905" y="1607"/>
                      <a:pt x="880" y="1582"/>
                      <a:pt x="849" y="1582"/>
                    </a:cubicBezTo>
                    <a:moveTo>
                      <a:pt x="777" y="1565"/>
                    </a:moveTo>
                    <a:cubicBezTo>
                      <a:pt x="761" y="1582"/>
                      <a:pt x="736" y="1582"/>
                      <a:pt x="736" y="1582"/>
                    </a:cubicBezTo>
                    <a:cubicBezTo>
                      <a:pt x="169" y="1582"/>
                      <a:pt x="169" y="1582"/>
                      <a:pt x="169" y="1582"/>
                    </a:cubicBezTo>
                    <a:cubicBezTo>
                      <a:pt x="169" y="1582"/>
                      <a:pt x="144" y="1582"/>
                      <a:pt x="128" y="1565"/>
                    </a:cubicBezTo>
                    <a:cubicBezTo>
                      <a:pt x="120" y="1556"/>
                      <a:pt x="113" y="1541"/>
                      <a:pt x="114" y="1522"/>
                    </a:cubicBezTo>
                    <a:cubicBezTo>
                      <a:pt x="128" y="1235"/>
                      <a:pt x="243" y="1111"/>
                      <a:pt x="329" y="1019"/>
                    </a:cubicBezTo>
                    <a:cubicBezTo>
                      <a:pt x="382" y="963"/>
                      <a:pt x="428" y="914"/>
                      <a:pt x="428" y="845"/>
                    </a:cubicBezTo>
                    <a:cubicBezTo>
                      <a:pt x="428" y="776"/>
                      <a:pt x="382" y="727"/>
                      <a:pt x="329" y="670"/>
                    </a:cubicBezTo>
                    <a:cubicBezTo>
                      <a:pt x="243" y="578"/>
                      <a:pt x="128" y="458"/>
                      <a:pt x="114" y="171"/>
                    </a:cubicBezTo>
                    <a:cubicBezTo>
                      <a:pt x="113" y="152"/>
                      <a:pt x="120" y="138"/>
                      <a:pt x="128" y="129"/>
                    </a:cubicBezTo>
                    <a:cubicBezTo>
                      <a:pt x="144" y="112"/>
                      <a:pt x="169" y="112"/>
                      <a:pt x="169" y="112"/>
                    </a:cubicBezTo>
                    <a:cubicBezTo>
                      <a:pt x="736" y="112"/>
                      <a:pt x="736" y="112"/>
                      <a:pt x="736" y="112"/>
                    </a:cubicBezTo>
                    <a:cubicBezTo>
                      <a:pt x="736" y="112"/>
                      <a:pt x="761" y="112"/>
                      <a:pt x="777" y="129"/>
                    </a:cubicBezTo>
                    <a:cubicBezTo>
                      <a:pt x="785" y="138"/>
                      <a:pt x="792" y="152"/>
                      <a:pt x="791" y="171"/>
                    </a:cubicBezTo>
                    <a:cubicBezTo>
                      <a:pt x="777" y="458"/>
                      <a:pt x="661" y="578"/>
                      <a:pt x="576" y="670"/>
                    </a:cubicBezTo>
                    <a:cubicBezTo>
                      <a:pt x="523" y="727"/>
                      <a:pt x="477" y="776"/>
                      <a:pt x="477" y="845"/>
                    </a:cubicBezTo>
                    <a:cubicBezTo>
                      <a:pt x="477" y="914"/>
                      <a:pt x="523" y="963"/>
                      <a:pt x="576" y="1019"/>
                    </a:cubicBezTo>
                    <a:cubicBezTo>
                      <a:pt x="661" y="1111"/>
                      <a:pt x="777" y="1235"/>
                      <a:pt x="791" y="1522"/>
                    </a:cubicBezTo>
                    <a:cubicBezTo>
                      <a:pt x="792" y="1541"/>
                      <a:pt x="785" y="1556"/>
                      <a:pt x="777" y="1565"/>
                    </a:cubicBezTo>
                  </a:path>
                </a:pathLst>
              </a:custGeom>
              <a:grpFill/>
              <a:ln>
                <a:noFill/>
              </a:ln>
            </p:spPr>
            <p:txBody>
              <a:bodyPr vert="horz" wrap="square" lIns="91440" tIns="45720" rIns="91440" bIns="45720" numCol="1" anchor="t" anchorCtr="0" compatLnSpc="1">
                <a:prstTxWarp prst="textNoShape">
                  <a:avLst/>
                </a:prstTxWarp>
              </a:bodyPr>
              <a:lstStyle/>
              <a:p>
                <a:endParaRPr lang="en-US">
                  <a:sym typeface="Segoe UI"/>
                </a:endParaRPr>
              </a:p>
            </p:txBody>
          </p:sp>
          <p:sp>
            <p:nvSpPr>
              <p:cNvPr id="52" name="Freeform 31"/>
              <p:cNvSpPr>
                <a:spLocks noEditPoints="1"/>
              </p:cNvSpPr>
              <p:nvPr/>
            </p:nvSpPr>
            <p:spPr bwMode="auto">
              <a:xfrm>
                <a:off x="6165181" y="597420"/>
                <a:ext cx="259953" cy="486326"/>
              </a:xfrm>
              <a:custGeom>
                <a:avLst/>
                <a:gdLst>
                  <a:gd name="T0" fmla="*/ 849 w 905"/>
                  <a:gd name="T1" fmla="*/ 1582 h 1693"/>
                  <a:gd name="T2" fmla="*/ 509 w 905"/>
                  <a:gd name="T3" fmla="*/ 845 h 1693"/>
                  <a:gd name="T4" fmla="*/ 849 w 905"/>
                  <a:gd name="T5" fmla="*/ 112 h 1693"/>
                  <a:gd name="T6" fmla="*/ 905 w 905"/>
                  <a:gd name="T7" fmla="*/ 56 h 1693"/>
                  <a:gd name="T8" fmla="*/ 849 w 905"/>
                  <a:gd name="T9" fmla="*/ 0 h 1693"/>
                  <a:gd name="T10" fmla="*/ 56 w 905"/>
                  <a:gd name="T11" fmla="*/ 0 h 1693"/>
                  <a:gd name="T12" fmla="*/ 0 w 905"/>
                  <a:gd name="T13" fmla="*/ 56 h 1693"/>
                  <a:gd name="T14" fmla="*/ 56 w 905"/>
                  <a:gd name="T15" fmla="*/ 112 h 1693"/>
                  <a:gd name="T16" fmla="*/ 396 w 905"/>
                  <a:gd name="T17" fmla="*/ 845 h 1693"/>
                  <a:gd name="T18" fmla="*/ 56 w 905"/>
                  <a:gd name="T19" fmla="*/ 1582 h 1693"/>
                  <a:gd name="T20" fmla="*/ 0 w 905"/>
                  <a:gd name="T21" fmla="*/ 1638 h 1693"/>
                  <a:gd name="T22" fmla="*/ 56 w 905"/>
                  <a:gd name="T23" fmla="*/ 1693 h 1693"/>
                  <a:gd name="T24" fmla="*/ 849 w 905"/>
                  <a:gd name="T25" fmla="*/ 1693 h 1693"/>
                  <a:gd name="T26" fmla="*/ 905 w 905"/>
                  <a:gd name="T27" fmla="*/ 1638 h 1693"/>
                  <a:gd name="T28" fmla="*/ 849 w 905"/>
                  <a:gd name="T29" fmla="*/ 1582 h 1693"/>
                  <a:gd name="T30" fmla="*/ 777 w 905"/>
                  <a:gd name="T31" fmla="*/ 1565 h 1693"/>
                  <a:gd name="T32" fmla="*/ 736 w 905"/>
                  <a:gd name="T33" fmla="*/ 1582 h 1693"/>
                  <a:gd name="T34" fmla="*/ 169 w 905"/>
                  <a:gd name="T35" fmla="*/ 1582 h 1693"/>
                  <a:gd name="T36" fmla="*/ 128 w 905"/>
                  <a:gd name="T37" fmla="*/ 1565 h 1693"/>
                  <a:gd name="T38" fmla="*/ 113 w 905"/>
                  <a:gd name="T39" fmla="*/ 1522 h 1693"/>
                  <a:gd name="T40" fmla="*/ 329 w 905"/>
                  <a:gd name="T41" fmla="*/ 1019 h 1693"/>
                  <a:gd name="T42" fmla="*/ 428 w 905"/>
                  <a:gd name="T43" fmla="*/ 845 h 1693"/>
                  <a:gd name="T44" fmla="*/ 329 w 905"/>
                  <a:gd name="T45" fmla="*/ 670 h 1693"/>
                  <a:gd name="T46" fmla="*/ 113 w 905"/>
                  <a:gd name="T47" fmla="*/ 171 h 1693"/>
                  <a:gd name="T48" fmla="*/ 128 w 905"/>
                  <a:gd name="T49" fmla="*/ 129 h 1693"/>
                  <a:gd name="T50" fmla="*/ 169 w 905"/>
                  <a:gd name="T51" fmla="*/ 112 h 1693"/>
                  <a:gd name="T52" fmla="*/ 736 w 905"/>
                  <a:gd name="T53" fmla="*/ 112 h 1693"/>
                  <a:gd name="T54" fmla="*/ 777 w 905"/>
                  <a:gd name="T55" fmla="*/ 129 h 1693"/>
                  <a:gd name="T56" fmla="*/ 791 w 905"/>
                  <a:gd name="T57" fmla="*/ 171 h 1693"/>
                  <a:gd name="T58" fmla="*/ 575 w 905"/>
                  <a:gd name="T59" fmla="*/ 670 h 1693"/>
                  <a:gd name="T60" fmla="*/ 477 w 905"/>
                  <a:gd name="T61" fmla="*/ 845 h 1693"/>
                  <a:gd name="T62" fmla="*/ 575 w 905"/>
                  <a:gd name="T63" fmla="*/ 1019 h 1693"/>
                  <a:gd name="T64" fmla="*/ 791 w 905"/>
                  <a:gd name="T65" fmla="*/ 1522 h 1693"/>
                  <a:gd name="T66" fmla="*/ 777 w 905"/>
                  <a:gd name="T67" fmla="*/ 1565 h 1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05" h="1693">
                    <a:moveTo>
                      <a:pt x="849" y="1582"/>
                    </a:moveTo>
                    <a:cubicBezTo>
                      <a:pt x="849" y="1051"/>
                      <a:pt x="509" y="995"/>
                      <a:pt x="509" y="845"/>
                    </a:cubicBezTo>
                    <a:cubicBezTo>
                      <a:pt x="509" y="695"/>
                      <a:pt x="849" y="642"/>
                      <a:pt x="849" y="112"/>
                    </a:cubicBezTo>
                    <a:cubicBezTo>
                      <a:pt x="880" y="112"/>
                      <a:pt x="905" y="87"/>
                      <a:pt x="905" y="56"/>
                    </a:cubicBezTo>
                    <a:cubicBezTo>
                      <a:pt x="905" y="25"/>
                      <a:pt x="880" y="0"/>
                      <a:pt x="849" y="0"/>
                    </a:cubicBezTo>
                    <a:cubicBezTo>
                      <a:pt x="56" y="0"/>
                      <a:pt x="56" y="0"/>
                      <a:pt x="56" y="0"/>
                    </a:cubicBezTo>
                    <a:cubicBezTo>
                      <a:pt x="25" y="0"/>
                      <a:pt x="0" y="25"/>
                      <a:pt x="0" y="56"/>
                    </a:cubicBezTo>
                    <a:cubicBezTo>
                      <a:pt x="0" y="87"/>
                      <a:pt x="25" y="112"/>
                      <a:pt x="56" y="112"/>
                    </a:cubicBezTo>
                    <a:cubicBezTo>
                      <a:pt x="56" y="642"/>
                      <a:pt x="396" y="695"/>
                      <a:pt x="396" y="845"/>
                    </a:cubicBezTo>
                    <a:cubicBezTo>
                      <a:pt x="396" y="995"/>
                      <a:pt x="56" y="1051"/>
                      <a:pt x="56" y="1582"/>
                    </a:cubicBezTo>
                    <a:cubicBezTo>
                      <a:pt x="25" y="1582"/>
                      <a:pt x="0" y="1607"/>
                      <a:pt x="0" y="1638"/>
                    </a:cubicBezTo>
                    <a:cubicBezTo>
                      <a:pt x="0" y="1668"/>
                      <a:pt x="25" y="1693"/>
                      <a:pt x="56" y="1693"/>
                    </a:cubicBezTo>
                    <a:cubicBezTo>
                      <a:pt x="849" y="1693"/>
                      <a:pt x="849" y="1693"/>
                      <a:pt x="849" y="1693"/>
                    </a:cubicBezTo>
                    <a:cubicBezTo>
                      <a:pt x="880" y="1693"/>
                      <a:pt x="905" y="1668"/>
                      <a:pt x="905" y="1638"/>
                    </a:cubicBezTo>
                    <a:cubicBezTo>
                      <a:pt x="905" y="1607"/>
                      <a:pt x="880" y="1582"/>
                      <a:pt x="849" y="1582"/>
                    </a:cubicBezTo>
                    <a:moveTo>
                      <a:pt x="777" y="1565"/>
                    </a:moveTo>
                    <a:cubicBezTo>
                      <a:pt x="761" y="1582"/>
                      <a:pt x="736" y="1582"/>
                      <a:pt x="736" y="1582"/>
                    </a:cubicBezTo>
                    <a:cubicBezTo>
                      <a:pt x="169" y="1582"/>
                      <a:pt x="169" y="1582"/>
                      <a:pt x="169" y="1582"/>
                    </a:cubicBezTo>
                    <a:cubicBezTo>
                      <a:pt x="169" y="1582"/>
                      <a:pt x="144" y="1582"/>
                      <a:pt x="128" y="1565"/>
                    </a:cubicBezTo>
                    <a:cubicBezTo>
                      <a:pt x="119" y="1556"/>
                      <a:pt x="113" y="1541"/>
                      <a:pt x="113" y="1522"/>
                    </a:cubicBezTo>
                    <a:cubicBezTo>
                      <a:pt x="128" y="1235"/>
                      <a:pt x="243" y="1111"/>
                      <a:pt x="329" y="1019"/>
                    </a:cubicBezTo>
                    <a:cubicBezTo>
                      <a:pt x="382" y="963"/>
                      <a:pt x="428" y="914"/>
                      <a:pt x="428" y="845"/>
                    </a:cubicBezTo>
                    <a:cubicBezTo>
                      <a:pt x="428" y="776"/>
                      <a:pt x="382" y="727"/>
                      <a:pt x="329" y="670"/>
                    </a:cubicBezTo>
                    <a:cubicBezTo>
                      <a:pt x="243" y="578"/>
                      <a:pt x="128" y="458"/>
                      <a:pt x="113" y="171"/>
                    </a:cubicBezTo>
                    <a:cubicBezTo>
                      <a:pt x="113" y="152"/>
                      <a:pt x="119" y="138"/>
                      <a:pt x="128" y="129"/>
                    </a:cubicBezTo>
                    <a:cubicBezTo>
                      <a:pt x="144" y="112"/>
                      <a:pt x="169" y="112"/>
                      <a:pt x="169" y="112"/>
                    </a:cubicBezTo>
                    <a:cubicBezTo>
                      <a:pt x="736" y="112"/>
                      <a:pt x="736" y="112"/>
                      <a:pt x="736" y="112"/>
                    </a:cubicBezTo>
                    <a:cubicBezTo>
                      <a:pt x="736" y="112"/>
                      <a:pt x="761" y="112"/>
                      <a:pt x="777" y="129"/>
                    </a:cubicBezTo>
                    <a:cubicBezTo>
                      <a:pt x="785" y="138"/>
                      <a:pt x="792" y="152"/>
                      <a:pt x="791" y="171"/>
                    </a:cubicBezTo>
                    <a:cubicBezTo>
                      <a:pt x="777" y="458"/>
                      <a:pt x="661" y="578"/>
                      <a:pt x="575" y="670"/>
                    </a:cubicBezTo>
                    <a:cubicBezTo>
                      <a:pt x="522" y="727"/>
                      <a:pt x="477" y="776"/>
                      <a:pt x="477" y="845"/>
                    </a:cubicBezTo>
                    <a:cubicBezTo>
                      <a:pt x="477" y="914"/>
                      <a:pt x="522" y="963"/>
                      <a:pt x="575" y="1019"/>
                    </a:cubicBezTo>
                    <a:cubicBezTo>
                      <a:pt x="661" y="1111"/>
                      <a:pt x="777" y="1235"/>
                      <a:pt x="791" y="1522"/>
                    </a:cubicBezTo>
                    <a:cubicBezTo>
                      <a:pt x="792" y="1541"/>
                      <a:pt x="785" y="1556"/>
                      <a:pt x="777" y="1565"/>
                    </a:cubicBezTo>
                  </a:path>
                </a:pathLst>
              </a:custGeom>
              <a:grpFill/>
              <a:ln>
                <a:noFill/>
              </a:ln>
            </p:spPr>
            <p:txBody>
              <a:bodyPr vert="horz" wrap="square" lIns="91440" tIns="45720" rIns="91440" bIns="45720" numCol="1" anchor="t" anchorCtr="0" compatLnSpc="1">
                <a:prstTxWarp prst="textNoShape">
                  <a:avLst/>
                </a:prstTxWarp>
              </a:bodyPr>
              <a:lstStyle/>
              <a:p>
                <a:endParaRPr lang="en-US">
                  <a:sym typeface="Segoe UI"/>
                </a:endParaRPr>
              </a:p>
            </p:txBody>
          </p:sp>
        </p:grpSp>
      </p:grpSp>
      <p:grpSp>
        <p:nvGrpSpPr>
          <p:cNvPr id="34" name="Group 33"/>
          <p:cNvGrpSpPr/>
          <p:nvPr/>
        </p:nvGrpSpPr>
        <p:grpSpPr bwMode="black">
          <a:xfrm>
            <a:off x="655249" y="1670333"/>
            <a:ext cx="803603" cy="903999"/>
            <a:chOff x="1752600" y="4267200"/>
            <a:chExt cx="1157286" cy="1302545"/>
          </a:xfrm>
        </p:grpSpPr>
        <p:sp>
          <p:nvSpPr>
            <p:cNvPr id="42" name="Freeform 219"/>
            <p:cNvSpPr>
              <a:spLocks/>
            </p:cNvSpPr>
            <p:nvPr/>
          </p:nvSpPr>
          <p:spPr bwMode="black">
            <a:xfrm>
              <a:off x="2573475" y="4995891"/>
              <a:ext cx="330824" cy="573854"/>
            </a:xfrm>
            <a:custGeom>
              <a:avLst/>
              <a:gdLst>
                <a:gd name="T0" fmla="*/ 157 w 351"/>
                <a:gd name="T1" fmla="*/ 2 h 609"/>
                <a:gd name="T2" fmla="*/ 155 w 351"/>
                <a:gd name="T3" fmla="*/ 104 h 609"/>
                <a:gd name="T4" fmla="*/ 180 w 351"/>
                <a:gd name="T5" fmla="*/ 99 h 609"/>
                <a:gd name="T6" fmla="*/ 231 w 351"/>
                <a:gd name="T7" fmla="*/ 121 h 609"/>
                <a:gd name="T8" fmla="*/ 252 w 351"/>
                <a:gd name="T9" fmla="*/ 174 h 609"/>
                <a:gd name="T10" fmla="*/ 251 w 351"/>
                <a:gd name="T11" fmla="*/ 212 h 609"/>
                <a:gd name="T12" fmla="*/ 251 w 351"/>
                <a:gd name="T13" fmla="*/ 212 h 609"/>
                <a:gd name="T14" fmla="*/ 247 w 351"/>
                <a:gd name="T15" fmla="*/ 387 h 609"/>
                <a:gd name="T16" fmla="*/ 247 w 351"/>
                <a:gd name="T17" fmla="*/ 387 h 609"/>
                <a:gd name="T18" fmla="*/ 246 w 351"/>
                <a:gd name="T19" fmla="*/ 438 h 609"/>
                <a:gd name="T20" fmla="*/ 223 w 351"/>
                <a:gd name="T21" fmla="*/ 489 h 609"/>
                <a:gd name="T22" fmla="*/ 171 w 351"/>
                <a:gd name="T23" fmla="*/ 510 h 609"/>
                <a:gd name="T24" fmla="*/ 120 w 351"/>
                <a:gd name="T25" fmla="*/ 487 h 609"/>
                <a:gd name="T26" fmla="*/ 100 w 351"/>
                <a:gd name="T27" fmla="*/ 435 h 609"/>
                <a:gd name="T28" fmla="*/ 101 w 351"/>
                <a:gd name="T29" fmla="*/ 395 h 609"/>
                <a:gd name="T30" fmla="*/ 4 w 351"/>
                <a:gd name="T31" fmla="*/ 311 h 609"/>
                <a:gd name="T32" fmla="*/ 1 w 351"/>
                <a:gd name="T33" fmla="*/ 433 h 609"/>
                <a:gd name="T34" fmla="*/ 49 w 351"/>
                <a:gd name="T35" fmla="*/ 555 h 609"/>
                <a:gd name="T36" fmla="*/ 169 w 351"/>
                <a:gd name="T37" fmla="*/ 608 h 609"/>
                <a:gd name="T38" fmla="*/ 292 w 351"/>
                <a:gd name="T39" fmla="*/ 561 h 609"/>
                <a:gd name="T40" fmla="*/ 292 w 351"/>
                <a:gd name="T41" fmla="*/ 561 h 609"/>
                <a:gd name="T42" fmla="*/ 345 w 351"/>
                <a:gd name="T43" fmla="*/ 441 h 609"/>
                <a:gd name="T44" fmla="*/ 350 w 351"/>
                <a:gd name="T45" fmla="*/ 176 h 609"/>
                <a:gd name="T46" fmla="*/ 303 w 351"/>
                <a:gd name="T47" fmla="*/ 53 h 609"/>
                <a:gd name="T48" fmla="*/ 183 w 351"/>
                <a:gd name="T49" fmla="*/ 0 h 609"/>
                <a:gd name="T50" fmla="*/ 157 w 351"/>
                <a:gd name="T51" fmla="*/ 2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1" h="609">
                  <a:moveTo>
                    <a:pt x="157" y="2"/>
                  </a:moveTo>
                  <a:cubicBezTo>
                    <a:pt x="155" y="104"/>
                    <a:pt x="155" y="104"/>
                    <a:pt x="155" y="104"/>
                  </a:cubicBezTo>
                  <a:cubicBezTo>
                    <a:pt x="163" y="101"/>
                    <a:pt x="171" y="99"/>
                    <a:pt x="180" y="99"/>
                  </a:cubicBezTo>
                  <a:cubicBezTo>
                    <a:pt x="201" y="99"/>
                    <a:pt x="218" y="108"/>
                    <a:pt x="231" y="121"/>
                  </a:cubicBezTo>
                  <a:cubicBezTo>
                    <a:pt x="244" y="135"/>
                    <a:pt x="252" y="153"/>
                    <a:pt x="252" y="174"/>
                  </a:cubicBezTo>
                  <a:cubicBezTo>
                    <a:pt x="251" y="212"/>
                    <a:pt x="251" y="212"/>
                    <a:pt x="251" y="212"/>
                  </a:cubicBezTo>
                  <a:cubicBezTo>
                    <a:pt x="251" y="212"/>
                    <a:pt x="251" y="212"/>
                    <a:pt x="251" y="212"/>
                  </a:cubicBezTo>
                  <a:cubicBezTo>
                    <a:pt x="247" y="387"/>
                    <a:pt x="247" y="387"/>
                    <a:pt x="247" y="387"/>
                  </a:cubicBezTo>
                  <a:cubicBezTo>
                    <a:pt x="247" y="387"/>
                    <a:pt x="247" y="387"/>
                    <a:pt x="247" y="387"/>
                  </a:cubicBezTo>
                  <a:cubicBezTo>
                    <a:pt x="246" y="438"/>
                    <a:pt x="246" y="438"/>
                    <a:pt x="246" y="438"/>
                  </a:cubicBezTo>
                  <a:cubicBezTo>
                    <a:pt x="245" y="459"/>
                    <a:pt x="237" y="476"/>
                    <a:pt x="223" y="489"/>
                  </a:cubicBezTo>
                  <a:cubicBezTo>
                    <a:pt x="210" y="502"/>
                    <a:pt x="191" y="510"/>
                    <a:pt x="171" y="510"/>
                  </a:cubicBezTo>
                  <a:cubicBezTo>
                    <a:pt x="151" y="509"/>
                    <a:pt x="133" y="501"/>
                    <a:pt x="120" y="487"/>
                  </a:cubicBezTo>
                  <a:cubicBezTo>
                    <a:pt x="107" y="474"/>
                    <a:pt x="99" y="455"/>
                    <a:pt x="100" y="435"/>
                  </a:cubicBezTo>
                  <a:cubicBezTo>
                    <a:pt x="101" y="395"/>
                    <a:pt x="101" y="395"/>
                    <a:pt x="101" y="395"/>
                  </a:cubicBezTo>
                  <a:cubicBezTo>
                    <a:pt x="42" y="375"/>
                    <a:pt x="16" y="338"/>
                    <a:pt x="4" y="311"/>
                  </a:cubicBezTo>
                  <a:cubicBezTo>
                    <a:pt x="1" y="433"/>
                    <a:pt x="1" y="433"/>
                    <a:pt x="1" y="433"/>
                  </a:cubicBezTo>
                  <a:cubicBezTo>
                    <a:pt x="0" y="480"/>
                    <a:pt x="18" y="524"/>
                    <a:pt x="49" y="555"/>
                  </a:cubicBezTo>
                  <a:cubicBezTo>
                    <a:pt x="79" y="587"/>
                    <a:pt x="122" y="607"/>
                    <a:pt x="169" y="608"/>
                  </a:cubicBezTo>
                  <a:cubicBezTo>
                    <a:pt x="216" y="609"/>
                    <a:pt x="260" y="591"/>
                    <a:pt x="292" y="561"/>
                  </a:cubicBezTo>
                  <a:cubicBezTo>
                    <a:pt x="292" y="561"/>
                    <a:pt x="292" y="561"/>
                    <a:pt x="292" y="561"/>
                  </a:cubicBezTo>
                  <a:cubicBezTo>
                    <a:pt x="323" y="530"/>
                    <a:pt x="343" y="488"/>
                    <a:pt x="345" y="441"/>
                  </a:cubicBezTo>
                  <a:cubicBezTo>
                    <a:pt x="350" y="176"/>
                    <a:pt x="350" y="176"/>
                    <a:pt x="350" y="176"/>
                  </a:cubicBezTo>
                  <a:cubicBezTo>
                    <a:pt x="351" y="128"/>
                    <a:pt x="333" y="85"/>
                    <a:pt x="303" y="53"/>
                  </a:cubicBezTo>
                  <a:cubicBezTo>
                    <a:pt x="273" y="22"/>
                    <a:pt x="230" y="1"/>
                    <a:pt x="183" y="0"/>
                  </a:cubicBezTo>
                  <a:cubicBezTo>
                    <a:pt x="174" y="0"/>
                    <a:pt x="165" y="1"/>
                    <a:pt x="157"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3" name="Freeform 220"/>
            <p:cNvSpPr>
              <a:spLocks/>
            </p:cNvSpPr>
            <p:nvPr/>
          </p:nvSpPr>
          <p:spPr bwMode="black">
            <a:xfrm>
              <a:off x="2579062" y="4756453"/>
              <a:ext cx="330824" cy="573854"/>
            </a:xfrm>
            <a:custGeom>
              <a:avLst/>
              <a:gdLst>
                <a:gd name="T0" fmla="*/ 182 w 351"/>
                <a:gd name="T1" fmla="*/ 1 h 609"/>
                <a:gd name="T2" fmla="*/ 60 w 351"/>
                <a:gd name="T3" fmla="*/ 48 h 609"/>
                <a:gd name="T4" fmla="*/ 60 w 351"/>
                <a:gd name="T5" fmla="*/ 49 h 609"/>
                <a:gd name="T6" fmla="*/ 7 w 351"/>
                <a:gd name="T7" fmla="*/ 169 h 609"/>
                <a:gd name="T8" fmla="*/ 1 w 351"/>
                <a:gd name="T9" fmla="*/ 433 h 609"/>
                <a:gd name="T10" fmla="*/ 48 w 351"/>
                <a:gd name="T11" fmla="*/ 556 h 609"/>
                <a:gd name="T12" fmla="*/ 169 w 351"/>
                <a:gd name="T13" fmla="*/ 609 h 609"/>
                <a:gd name="T14" fmla="*/ 194 w 351"/>
                <a:gd name="T15" fmla="*/ 607 h 609"/>
                <a:gd name="T16" fmla="*/ 197 w 351"/>
                <a:gd name="T17" fmla="*/ 505 h 609"/>
                <a:gd name="T18" fmla="*/ 171 w 351"/>
                <a:gd name="T19" fmla="*/ 510 h 609"/>
                <a:gd name="T20" fmla="*/ 120 w 351"/>
                <a:gd name="T21" fmla="*/ 488 h 609"/>
                <a:gd name="T22" fmla="*/ 99 w 351"/>
                <a:gd name="T23" fmla="*/ 436 h 609"/>
                <a:gd name="T24" fmla="*/ 104 w 351"/>
                <a:gd name="T25" fmla="*/ 227 h 609"/>
                <a:gd name="T26" fmla="*/ 104 w 351"/>
                <a:gd name="T27" fmla="*/ 220 h 609"/>
                <a:gd name="T28" fmla="*/ 105 w 351"/>
                <a:gd name="T29" fmla="*/ 171 h 609"/>
                <a:gd name="T30" fmla="*/ 128 w 351"/>
                <a:gd name="T31" fmla="*/ 120 h 609"/>
                <a:gd name="T32" fmla="*/ 180 w 351"/>
                <a:gd name="T33" fmla="*/ 99 h 609"/>
                <a:gd name="T34" fmla="*/ 231 w 351"/>
                <a:gd name="T35" fmla="*/ 122 h 609"/>
                <a:gd name="T36" fmla="*/ 251 w 351"/>
                <a:gd name="T37" fmla="*/ 174 h 609"/>
                <a:gd name="T38" fmla="*/ 250 w 351"/>
                <a:gd name="T39" fmla="*/ 214 h 609"/>
                <a:gd name="T40" fmla="*/ 347 w 351"/>
                <a:gd name="T41" fmla="*/ 299 h 609"/>
                <a:gd name="T42" fmla="*/ 350 w 351"/>
                <a:gd name="T43" fmla="*/ 176 h 609"/>
                <a:gd name="T44" fmla="*/ 302 w 351"/>
                <a:gd name="T45" fmla="*/ 54 h 609"/>
                <a:gd name="T46" fmla="*/ 182 w 351"/>
                <a:gd name="T47" fmla="*/ 1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1" h="609">
                  <a:moveTo>
                    <a:pt x="182" y="1"/>
                  </a:moveTo>
                  <a:cubicBezTo>
                    <a:pt x="135" y="0"/>
                    <a:pt x="91" y="18"/>
                    <a:pt x="60" y="48"/>
                  </a:cubicBezTo>
                  <a:cubicBezTo>
                    <a:pt x="60" y="48"/>
                    <a:pt x="60" y="49"/>
                    <a:pt x="60" y="49"/>
                  </a:cubicBezTo>
                  <a:cubicBezTo>
                    <a:pt x="28" y="79"/>
                    <a:pt x="8" y="122"/>
                    <a:pt x="7" y="169"/>
                  </a:cubicBezTo>
                  <a:cubicBezTo>
                    <a:pt x="1" y="433"/>
                    <a:pt x="1" y="433"/>
                    <a:pt x="1" y="433"/>
                  </a:cubicBezTo>
                  <a:cubicBezTo>
                    <a:pt x="0" y="481"/>
                    <a:pt x="18" y="524"/>
                    <a:pt x="48" y="556"/>
                  </a:cubicBezTo>
                  <a:cubicBezTo>
                    <a:pt x="79" y="588"/>
                    <a:pt x="121" y="608"/>
                    <a:pt x="169" y="609"/>
                  </a:cubicBezTo>
                  <a:cubicBezTo>
                    <a:pt x="177" y="609"/>
                    <a:pt x="186" y="608"/>
                    <a:pt x="194" y="607"/>
                  </a:cubicBezTo>
                  <a:cubicBezTo>
                    <a:pt x="197" y="505"/>
                    <a:pt x="197" y="505"/>
                    <a:pt x="197" y="505"/>
                  </a:cubicBezTo>
                  <a:cubicBezTo>
                    <a:pt x="189" y="508"/>
                    <a:pt x="180" y="510"/>
                    <a:pt x="171" y="510"/>
                  </a:cubicBezTo>
                  <a:cubicBezTo>
                    <a:pt x="151" y="510"/>
                    <a:pt x="133" y="501"/>
                    <a:pt x="120" y="488"/>
                  </a:cubicBezTo>
                  <a:cubicBezTo>
                    <a:pt x="107" y="474"/>
                    <a:pt x="99" y="456"/>
                    <a:pt x="99" y="436"/>
                  </a:cubicBezTo>
                  <a:cubicBezTo>
                    <a:pt x="104" y="227"/>
                    <a:pt x="104" y="227"/>
                    <a:pt x="104" y="227"/>
                  </a:cubicBezTo>
                  <a:cubicBezTo>
                    <a:pt x="104" y="220"/>
                    <a:pt x="104" y="220"/>
                    <a:pt x="104" y="220"/>
                  </a:cubicBezTo>
                  <a:cubicBezTo>
                    <a:pt x="105" y="171"/>
                    <a:pt x="105" y="171"/>
                    <a:pt x="105" y="171"/>
                  </a:cubicBezTo>
                  <a:cubicBezTo>
                    <a:pt x="106" y="151"/>
                    <a:pt x="114" y="133"/>
                    <a:pt x="128" y="120"/>
                  </a:cubicBezTo>
                  <a:cubicBezTo>
                    <a:pt x="142" y="107"/>
                    <a:pt x="160" y="99"/>
                    <a:pt x="180" y="99"/>
                  </a:cubicBezTo>
                  <a:cubicBezTo>
                    <a:pt x="200" y="100"/>
                    <a:pt x="218" y="108"/>
                    <a:pt x="231" y="122"/>
                  </a:cubicBezTo>
                  <a:cubicBezTo>
                    <a:pt x="244" y="136"/>
                    <a:pt x="252" y="154"/>
                    <a:pt x="251" y="174"/>
                  </a:cubicBezTo>
                  <a:cubicBezTo>
                    <a:pt x="250" y="214"/>
                    <a:pt x="250" y="214"/>
                    <a:pt x="250" y="214"/>
                  </a:cubicBezTo>
                  <a:cubicBezTo>
                    <a:pt x="309" y="234"/>
                    <a:pt x="335" y="271"/>
                    <a:pt x="347" y="299"/>
                  </a:cubicBezTo>
                  <a:cubicBezTo>
                    <a:pt x="350" y="176"/>
                    <a:pt x="350" y="176"/>
                    <a:pt x="350" y="176"/>
                  </a:cubicBezTo>
                  <a:cubicBezTo>
                    <a:pt x="351" y="129"/>
                    <a:pt x="333" y="85"/>
                    <a:pt x="302" y="54"/>
                  </a:cubicBezTo>
                  <a:cubicBezTo>
                    <a:pt x="272" y="22"/>
                    <a:pt x="229" y="2"/>
                    <a:pt x="182"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4" name="Freeform 221"/>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5" name="Freeform 222"/>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6" name="Freeform 223"/>
            <p:cNvSpPr>
              <a:spLocks/>
            </p:cNvSpPr>
            <p:nvPr/>
          </p:nvSpPr>
          <p:spPr bwMode="black">
            <a:xfrm>
              <a:off x="1977672" y="4663072"/>
              <a:ext cx="606178" cy="195940"/>
            </a:xfrm>
            <a:custGeom>
              <a:avLst/>
              <a:gdLst>
                <a:gd name="T0" fmla="*/ 643 w 643"/>
                <a:gd name="T1" fmla="*/ 132 h 208"/>
                <a:gd name="T2" fmla="*/ 438 w 643"/>
                <a:gd name="T3" fmla="*/ 150 h 208"/>
                <a:gd name="T4" fmla="*/ 0 w 643"/>
                <a:gd name="T5" fmla="*/ 0 h 208"/>
                <a:gd name="T6" fmla="*/ 0 w 643"/>
                <a:gd name="T7" fmla="*/ 103 h 208"/>
                <a:gd name="T8" fmla="*/ 39 w 643"/>
                <a:gd name="T9" fmla="*/ 130 h 208"/>
                <a:gd name="T10" fmla="*/ 438 w 643"/>
                <a:gd name="T11" fmla="*/ 208 h 208"/>
                <a:gd name="T12" fmla="*/ 606 w 643"/>
                <a:gd name="T13" fmla="*/ 197 h 208"/>
                <a:gd name="T14" fmla="*/ 643 w 643"/>
                <a:gd name="T15" fmla="*/ 132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3" h="208">
                  <a:moveTo>
                    <a:pt x="643" y="132"/>
                  </a:moveTo>
                  <a:cubicBezTo>
                    <a:pt x="582" y="143"/>
                    <a:pt x="512" y="150"/>
                    <a:pt x="438" y="150"/>
                  </a:cubicBezTo>
                  <a:cubicBezTo>
                    <a:pt x="196" y="150"/>
                    <a:pt x="0" y="82"/>
                    <a:pt x="0" y="0"/>
                  </a:cubicBezTo>
                  <a:cubicBezTo>
                    <a:pt x="0" y="103"/>
                    <a:pt x="0" y="103"/>
                    <a:pt x="0" y="103"/>
                  </a:cubicBezTo>
                  <a:cubicBezTo>
                    <a:pt x="12" y="113"/>
                    <a:pt x="25" y="121"/>
                    <a:pt x="39" y="130"/>
                  </a:cubicBezTo>
                  <a:cubicBezTo>
                    <a:pt x="130" y="180"/>
                    <a:pt x="273" y="208"/>
                    <a:pt x="438" y="208"/>
                  </a:cubicBezTo>
                  <a:cubicBezTo>
                    <a:pt x="497" y="208"/>
                    <a:pt x="554" y="204"/>
                    <a:pt x="606" y="197"/>
                  </a:cubicBezTo>
                  <a:cubicBezTo>
                    <a:pt x="615" y="174"/>
                    <a:pt x="628" y="152"/>
                    <a:pt x="643" y="1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7" name="Freeform 224"/>
            <p:cNvSpPr>
              <a:spLocks/>
            </p:cNvSpPr>
            <p:nvPr/>
          </p:nvSpPr>
          <p:spPr bwMode="black">
            <a:xfrm>
              <a:off x="1976076" y="4835467"/>
              <a:ext cx="555896" cy="196340"/>
            </a:xfrm>
            <a:custGeom>
              <a:avLst/>
              <a:gdLst>
                <a:gd name="T0" fmla="*/ 590 w 590"/>
                <a:gd name="T1" fmla="*/ 140 h 208"/>
                <a:gd name="T2" fmla="*/ 438 w 590"/>
                <a:gd name="T3" fmla="*/ 150 h 208"/>
                <a:gd name="T4" fmla="*/ 0 w 590"/>
                <a:gd name="T5" fmla="*/ 0 h 208"/>
                <a:gd name="T6" fmla="*/ 0 w 590"/>
                <a:gd name="T7" fmla="*/ 103 h 208"/>
                <a:gd name="T8" fmla="*/ 39 w 590"/>
                <a:gd name="T9" fmla="*/ 129 h 208"/>
                <a:gd name="T10" fmla="*/ 438 w 590"/>
                <a:gd name="T11" fmla="*/ 208 h 208"/>
                <a:gd name="T12" fmla="*/ 589 w 590"/>
                <a:gd name="T13" fmla="*/ 199 h 208"/>
                <a:gd name="T14" fmla="*/ 590 w 590"/>
                <a:gd name="T15" fmla="*/ 14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0" h="208">
                  <a:moveTo>
                    <a:pt x="590" y="140"/>
                  </a:moveTo>
                  <a:cubicBezTo>
                    <a:pt x="543" y="146"/>
                    <a:pt x="491" y="150"/>
                    <a:pt x="438" y="150"/>
                  </a:cubicBezTo>
                  <a:cubicBezTo>
                    <a:pt x="196" y="150"/>
                    <a:pt x="0" y="82"/>
                    <a:pt x="0" y="0"/>
                  </a:cubicBezTo>
                  <a:cubicBezTo>
                    <a:pt x="0" y="103"/>
                    <a:pt x="0" y="103"/>
                    <a:pt x="0" y="103"/>
                  </a:cubicBezTo>
                  <a:cubicBezTo>
                    <a:pt x="12" y="113"/>
                    <a:pt x="25" y="121"/>
                    <a:pt x="39" y="129"/>
                  </a:cubicBezTo>
                  <a:cubicBezTo>
                    <a:pt x="129" y="180"/>
                    <a:pt x="273" y="208"/>
                    <a:pt x="438" y="208"/>
                  </a:cubicBezTo>
                  <a:cubicBezTo>
                    <a:pt x="491" y="208"/>
                    <a:pt x="541" y="205"/>
                    <a:pt x="589" y="199"/>
                  </a:cubicBezTo>
                  <a:lnTo>
                    <a:pt x="590" y="1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8" name="Freeform 225"/>
            <p:cNvSpPr>
              <a:spLocks noEditPoints="1"/>
            </p:cNvSpPr>
            <p:nvPr/>
          </p:nvSpPr>
          <p:spPr bwMode="black">
            <a:xfrm>
              <a:off x="1886286" y="4267200"/>
              <a:ext cx="1011628" cy="995266"/>
            </a:xfrm>
            <a:custGeom>
              <a:avLst/>
              <a:gdLst>
                <a:gd name="T0" fmla="*/ 683 w 1073"/>
                <a:gd name="T1" fmla="*/ 951 h 1056"/>
                <a:gd name="T2" fmla="*/ 683 w 1073"/>
                <a:gd name="T3" fmla="*/ 947 h 1056"/>
                <a:gd name="T4" fmla="*/ 537 w 1073"/>
                <a:gd name="T5" fmla="*/ 957 h 1056"/>
                <a:gd name="T6" fmla="*/ 99 w 1073"/>
                <a:gd name="T7" fmla="*/ 776 h 1056"/>
                <a:gd name="T8" fmla="*/ 99 w 1073"/>
                <a:gd name="T9" fmla="*/ 623 h 1056"/>
                <a:gd name="T10" fmla="*/ 99 w 1073"/>
                <a:gd name="T11" fmla="*/ 520 h 1056"/>
                <a:gd name="T12" fmla="*/ 99 w 1073"/>
                <a:gd name="T13" fmla="*/ 352 h 1056"/>
                <a:gd name="T14" fmla="*/ 137 w 1073"/>
                <a:gd name="T15" fmla="*/ 379 h 1056"/>
                <a:gd name="T16" fmla="*/ 537 w 1073"/>
                <a:gd name="T17" fmla="*/ 458 h 1056"/>
                <a:gd name="T18" fmla="*/ 862 w 1073"/>
                <a:gd name="T19" fmla="*/ 411 h 1056"/>
                <a:gd name="T20" fmla="*/ 972 w 1073"/>
                <a:gd name="T21" fmla="*/ 355 h 1056"/>
                <a:gd name="T22" fmla="*/ 975 w 1073"/>
                <a:gd name="T23" fmla="*/ 352 h 1056"/>
                <a:gd name="T24" fmla="*/ 975 w 1073"/>
                <a:gd name="T25" fmla="*/ 460 h 1056"/>
                <a:gd name="T26" fmla="*/ 1067 w 1073"/>
                <a:gd name="T27" fmla="*/ 493 h 1056"/>
                <a:gd name="T28" fmla="*/ 1073 w 1073"/>
                <a:gd name="T29" fmla="*/ 494 h 1056"/>
                <a:gd name="T30" fmla="*/ 1073 w 1073"/>
                <a:gd name="T31" fmla="*/ 249 h 1056"/>
                <a:gd name="T32" fmla="*/ 1002 w 1073"/>
                <a:gd name="T33" fmla="*/ 114 h 1056"/>
                <a:gd name="T34" fmla="*/ 537 w 1073"/>
                <a:gd name="T35" fmla="*/ 0 h 1056"/>
                <a:gd name="T36" fmla="*/ 195 w 1073"/>
                <a:gd name="T37" fmla="*/ 49 h 1056"/>
                <a:gd name="T38" fmla="*/ 71 w 1073"/>
                <a:gd name="T39" fmla="*/ 114 h 1056"/>
                <a:gd name="T40" fmla="*/ 0 w 1073"/>
                <a:gd name="T41" fmla="*/ 249 h 1056"/>
                <a:gd name="T42" fmla="*/ 0 w 1073"/>
                <a:gd name="T43" fmla="*/ 776 h 1056"/>
                <a:gd name="T44" fmla="*/ 64 w 1073"/>
                <a:gd name="T45" fmla="*/ 917 h 1056"/>
                <a:gd name="T46" fmla="*/ 537 w 1073"/>
                <a:gd name="T47" fmla="*/ 1056 h 1056"/>
                <a:gd name="T48" fmla="*/ 681 w 1073"/>
                <a:gd name="T49" fmla="*/ 1047 h 1056"/>
                <a:gd name="T50" fmla="*/ 683 w 1073"/>
                <a:gd name="T51" fmla="*/ 951 h 1056"/>
                <a:gd name="T52" fmla="*/ 537 w 1073"/>
                <a:gd name="T53" fmla="*/ 99 h 1056"/>
                <a:gd name="T54" fmla="*/ 975 w 1073"/>
                <a:gd name="T55" fmla="*/ 249 h 1056"/>
                <a:gd name="T56" fmla="*/ 537 w 1073"/>
                <a:gd name="T57" fmla="*/ 399 h 1056"/>
                <a:gd name="T58" fmla="*/ 99 w 1073"/>
                <a:gd name="T59" fmla="*/ 249 h 1056"/>
                <a:gd name="T60" fmla="*/ 537 w 1073"/>
                <a:gd name="T61" fmla="*/ 99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73" h="1056">
                  <a:moveTo>
                    <a:pt x="683" y="951"/>
                  </a:moveTo>
                  <a:cubicBezTo>
                    <a:pt x="683" y="947"/>
                    <a:pt x="683" y="947"/>
                    <a:pt x="683" y="947"/>
                  </a:cubicBezTo>
                  <a:cubicBezTo>
                    <a:pt x="638" y="954"/>
                    <a:pt x="587" y="957"/>
                    <a:pt x="537" y="957"/>
                  </a:cubicBezTo>
                  <a:cubicBezTo>
                    <a:pt x="295" y="957"/>
                    <a:pt x="99" y="876"/>
                    <a:pt x="99" y="776"/>
                  </a:cubicBezTo>
                  <a:cubicBezTo>
                    <a:pt x="99" y="623"/>
                    <a:pt x="99" y="623"/>
                    <a:pt x="99" y="623"/>
                  </a:cubicBezTo>
                  <a:cubicBezTo>
                    <a:pt x="99" y="520"/>
                    <a:pt x="99" y="520"/>
                    <a:pt x="99" y="520"/>
                  </a:cubicBezTo>
                  <a:cubicBezTo>
                    <a:pt x="99" y="352"/>
                    <a:pt x="99" y="352"/>
                    <a:pt x="99" y="352"/>
                  </a:cubicBezTo>
                  <a:cubicBezTo>
                    <a:pt x="110" y="362"/>
                    <a:pt x="123" y="371"/>
                    <a:pt x="137" y="379"/>
                  </a:cubicBezTo>
                  <a:cubicBezTo>
                    <a:pt x="228" y="429"/>
                    <a:pt x="371" y="457"/>
                    <a:pt x="537" y="458"/>
                  </a:cubicBezTo>
                  <a:cubicBezTo>
                    <a:pt x="662" y="458"/>
                    <a:pt x="776" y="441"/>
                    <a:pt x="862" y="411"/>
                  </a:cubicBezTo>
                  <a:cubicBezTo>
                    <a:pt x="906" y="396"/>
                    <a:pt x="942" y="378"/>
                    <a:pt x="972" y="355"/>
                  </a:cubicBezTo>
                  <a:cubicBezTo>
                    <a:pt x="973" y="354"/>
                    <a:pt x="974" y="353"/>
                    <a:pt x="975" y="352"/>
                  </a:cubicBezTo>
                  <a:cubicBezTo>
                    <a:pt x="975" y="460"/>
                    <a:pt x="975" y="460"/>
                    <a:pt x="975" y="460"/>
                  </a:cubicBezTo>
                  <a:cubicBezTo>
                    <a:pt x="1008" y="465"/>
                    <a:pt x="1039" y="476"/>
                    <a:pt x="1067" y="493"/>
                  </a:cubicBezTo>
                  <a:cubicBezTo>
                    <a:pt x="1069" y="493"/>
                    <a:pt x="1071" y="493"/>
                    <a:pt x="1073" y="494"/>
                  </a:cubicBezTo>
                  <a:cubicBezTo>
                    <a:pt x="1073" y="249"/>
                    <a:pt x="1073" y="249"/>
                    <a:pt x="1073" y="249"/>
                  </a:cubicBezTo>
                  <a:cubicBezTo>
                    <a:pt x="1073" y="187"/>
                    <a:pt x="1037" y="141"/>
                    <a:pt x="1002" y="114"/>
                  </a:cubicBezTo>
                  <a:cubicBezTo>
                    <a:pt x="896" y="33"/>
                    <a:pt x="733" y="3"/>
                    <a:pt x="537" y="0"/>
                  </a:cubicBezTo>
                  <a:cubicBezTo>
                    <a:pt x="406" y="0"/>
                    <a:pt x="288" y="18"/>
                    <a:pt x="195" y="49"/>
                  </a:cubicBezTo>
                  <a:cubicBezTo>
                    <a:pt x="148" y="66"/>
                    <a:pt x="107" y="85"/>
                    <a:pt x="71" y="114"/>
                  </a:cubicBezTo>
                  <a:cubicBezTo>
                    <a:pt x="36" y="141"/>
                    <a:pt x="0" y="187"/>
                    <a:pt x="0" y="249"/>
                  </a:cubicBezTo>
                  <a:cubicBezTo>
                    <a:pt x="0" y="776"/>
                    <a:pt x="0" y="776"/>
                    <a:pt x="0" y="776"/>
                  </a:cubicBezTo>
                  <a:cubicBezTo>
                    <a:pt x="0" y="835"/>
                    <a:pt x="29" y="884"/>
                    <a:pt x="64" y="917"/>
                  </a:cubicBezTo>
                  <a:cubicBezTo>
                    <a:pt x="169" y="1014"/>
                    <a:pt x="338" y="1053"/>
                    <a:pt x="537" y="1056"/>
                  </a:cubicBezTo>
                  <a:cubicBezTo>
                    <a:pt x="586" y="1056"/>
                    <a:pt x="636" y="1053"/>
                    <a:pt x="681" y="1047"/>
                  </a:cubicBezTo>
                  <a:lnTo>
                    <a:pt x="683" y="951"/>
                  </a:lnTo>
                  <a:close/>
                  <a:moveTo>
                    <a:pt x="537" y="99"/>
                  </a:moveTo>
                  <a:cubicBezTo>
                    <a:pt x="778" y="99"/>
                    <a:pt x="975" y="166"/>
                    <a:pt x="975" y="249"/>
                  </a:cubicBezTo>
                  <a:cubicBezTo>
                    <a:pt x="975" y="332"/>
                    <a:pt x="778" y="399"/>
                    <a:pt x="537" y="399"/>
                  </a:cubicBezTo>
                  <a:cubicBezTo>
                    <a:pt x="295" y="399"/>
                    <a:pt x="99" y="332"/>
                    <a:pt x="99" y="249"/>
                  </a:cubicBezTo>
                  <a:cubicBezTo>
                    <a:pt x="99" y="166"/>
                    <a:pt x="295" y="99"/>
                    <a:pt x="537" y="9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
        <p:nvSpPr>
          <p:cNvPr id="59" name="Freeform 18"/>
          <p:cNvSpPr>
            <a:spLocks noEditPoints="1"/>
          </p:cNvSpPr>
          <p:nvPr/>
        </p:nvSpPr>
        <p:spPr bwMode="black">
          <a:xfrm>
            <a:off x="2130887" y="1630287"/>
            <a:ext cx="726166" cy="885685"/>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FFFFFF"/>
          </a:solidFill>
          <a:ln>
            <a:noFill/>
          </a:ln>
        </p:spPr>
        <p:txBody>
          <a:bodyPr vert="horz" wrap="square" lIns="61735" tIns="30867" rIns="61735" bIns="30867" numCol="1" anchor="t" anchorCtr="0" compatLnSpc="1">
            <a:prstTxWarp prst="textNoShape">
              <a:avLst/>
            </a:prstTxWarp>
          </a:bodyPr>
          <a:lstStyle/>
          <a:p>
            <a:endParaRPr lang="en-US" sz="1200"/>
          </a:p>
        </p:txBody>
      </p:sp>
      <p:sp>
        <p:nvSpPr>
          <p:cNvPr id="60" name="Freeform 133"/>
          <p:cNvSpPr>
            <a:spLocks/>
          </p:cNvSpPr>
          <p:nvPr/>
        </p:nvSpPr>
        <p:spPr bwMode="black">
          <a:xfrm>
            <a:off x="4914989" y="2400301"/>
            <a:ext cx="800348" cy="755684"/>
          </a:xfrm>
          <a:custGeom>
            <a:avLst/>
            <a:gdLst>
              <a:gd name="T0" fmla="*/ 87 w 291"/>
              <a:gd name="T1" fmla="*/ 18 h 275"/>
              <a:gd name="T2" fmla="*/ 96 w 291"/>
              <a:gd name="T3" fmla="*/ 48 h 275"/>
              <a:gd name="T4" fmla="*/ 0 w 291"/>
              <a:gd name="T5" fmla="*/ 140 h 275"/>
              <a:gd name="T6" fmla="*/ 128 w 291"/>
              <a:gd name="T7" fmla="*/ 56 h 275"/>
              <a:gd name="T8" fmla="*/ 201 w 291"/>
              <a:gd name="T9" fmla="*/ 36 h 275"/>
              <a:gd name="T10" fmla="*/ 122 w 291"/>
              <a:gd name="T11" fmla="*/ 198 h 275"/>
              <a:gd name="T12" fmla="*/ 122 w 291"/>
              <a:gd name="T13" fmla="*/ 195 h 275"/>
              <a:gd name="T14" fmla="*/ 122 w 291"/>
              <a:gd name="T15" fmla="*/ 192 h 275"/>
              <a:gd name="T16" fmla="*/ 122 w 291"/>
              <a:gd name="T17" fmla="*/ 189 h 275"/>
              <a:gd name="T18" fmla="*/ 122 w 291"/>
              <a:gd name="T19" fmla="*/ 185 h 275"/>
              <a:gd name="T20" fmla="*/ 122 w 291"/>
              <a:gd name="T21" fmla="*/ 182 h 275"/>
              <a:gd name="T22" fmla="*/ 122 w 291"/>
              <a:gd name="T23" fmla="*/ 179 h 275"/>
              <a:gd name="T24" fmla="*/ 122 w 291"/>
              <a:gd name="T25" fmla="*/ 175 h 275"/>
              <a:gd name="T26" fmla="*/ 122 w 291"/>
              <a:gd name="T27" fmla="*/ 172 h 275"/>
              <a:gd name="T28" fmla="*/ 122 w 291"/>
              <a:gd name="T29" fmla="*/ 169 h 275"/>
              <a:gd name="T30" fmla="*/ 122 w 291"/>
              <a:gd name="T31" fmla="*/ 165 h 275"/>
              <a:gd name="T32" fmla="*/ 122 w 291"/>
              <a:gd name="T33" fmla="*/ 162 h 275"/>
              <a:gd name="T34" fmla="*/ 123 w 291"/>
              <a:gd name="T35" fmla="*/ 157 h 275"/>
              <a:gd name="T36" fmla="*/ 103 w 291"/>
              <a:gd name="T37" fmla="*/ 158 h 275"/>
              <a:gd name="T38" fmla="*/ 103 w 291"/>
              <a:gd name="T39" fmla="*/ 162 h 275"/>
              <a:gd name="T40" fmla="*/ 103 w 291"/>
              <a:gd name="T41" fmla="*/ 166 h 275"/>
              <a:gd name="T42" fmla="*/ 103 w 291"/>
              <a:gd name="T43" fmla="*/ 169 h 275"/>
              <a:gd name="T44" fmla="*/ 103 w 291"/>
              <a:gd name="T45" fmla="*/ 172 h 275"/>
              <a:gd name="T46" fmla="*/ 103 w 291"/>
              <a:gd name="T47" fmla="*/ 176 h 275"/>
              <a:gd name="T48" fmla="*/ 104 w 291"/>
              <a:gd name="T49" fmla="*/ 179 h 275"/>
              <a:gd name="T50" fmla="*/ 104 w 291"/>
              <a:gd name="T51" fmla="*/ 182 h 275"/>
              <a:gd name="T52" fmla="*/ 104 w 291"/>
              <a:gd name="T53" fmla="*/ 185 h 275"/>
              <a:gd name="T54" fmla="*/ 104 w 291"/>
              <a:gd name="T55" fmla="*/ 189 h 275"/>
              <a:gd name="T56" fmla="*/ 104 w 291"/>
              <a:gd name="T57" fmla="*/ 192 h 275"/>
              <a:gd name="T58" fmla="*/ 104 w 291"/>
              <a:gd name="T59" fmla="*/ 195 h 275"/>
              <a:gd name="T60" fmla="*/ 104 w 291"/>
              <a:gd name="T61" fmla="*/ 199 h 275"/>
              <a:gd name="T62" fmla="*/ 104 w 291"/>
              <a:gd name="T63" fmla="*/ 232 h 275"/>
              <a:gd name="T64" fmla="*/ 104 w 291"/>
              <a:gd name="T65" fmla="*/ 235 h 275"/>
              <a:gd name="T66" fmla="*/ 104 w 291"/>
              <a:gd name="T67" fmla="*/ 238 h 275"/>
              <a:gd name="T68" fmla="*/ 104 w 291"/>
              <a:gd name="T69" fmla="*/ 242 h 275"/>
              <a:gd name="T70" fmla="*/ 104 w 291"/>
              <a:gd name="T71" fmla="*/ 245 h 275"/>
              <a:gd name="T72" fmla="*/ 104 w 291"/>
              <a:gd name="T73" fmla="*/ 248 h 275"/>
              <a:gd name="T74" fmla="*/ 104 w 291"/>
              <a:gd name="T75" fmla="*/ 252 h 275"/>
              <a:gd name="T76" fmla="*/ 105 w 291"/>
              <a:gd name="T77" fmla="*/ 255 h 275"/>
              <a:gd name="T78" fmla="*/ 98 w 291"/>
              <a:gd name="T79" fmla="*/ 257 h 275"/>
              <a:gd name="T80" fmla="*/ 61 w 291"/>
              <a:gd name="T81" fmla="*/ 265 h 275"/>
              <a:gd name="T82" fmla="*/ 131 w 291"/>
              <a:gd name="T83" fmla="*/ 266 h 275"/>
              <a:gd name="T84" fmla="*/ 167 w 291"/>
              <a:gd name="T85" fmla="*/ 259 h 275"/>
              <a:gd name="T86" fmla="*/ 123 w 291"/>
              <a:gd name="T87" fmla="*/ 256 h 275"/>
              <a:gd name="T88" fmla="*/ 123 w 291"/>
              <a:gd name="T89" fmla="*/ 253 h 275"/>
              <a:gd name="T90" fmla="*/ 123 w 291"/>
              <a:gd name="T91" fmla="*/ 249 h 275"/>
              <a:gd name="T92" fmla="*/ 123 w 291"/>
              <a:gd name="T93" fmla="*/ 246 h 275"/>
              <a:gd name="T94" fmla="*/ 123 w 291"/>
              <a:gd name="T95" fmla="*/ 243 h 275"/>
              <a:gd name="T96" fmla="*/ 123 w 291"/>
              <a:gd name="T97" fmla="*/ 239 h 275"/>
              <a:gd name="T98" fmla="*/ 123 w 291"/>
              <a:gd name="T99" fmla="*/ 236 h 275"/>
              <a:gd name="T100" fmla="*/ 123 w 291"/>
              <a:gd name="T101" fmla="*/ 233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91" h="275">
                <a:moveTo>
                  <a:pt x="291" y="170"/>
                </a:moveTo>
                <a:cubicBezTo>
                  <a:pt x="291" y="159"/>
                  <a:pt x="291" y="109"/>
                  <a:pt x="290" y="60"/>
                </a:cubicBezTo>
                <a:cubicBezTo>
                  <a:pt x="290" y="29"/>
                  <a:pt x="260" y="0"/>
                  <a:pt x="215" y="1"/>
                </a:cubicBezTo>
                <a:cubicBezTo>
                  <a:pt x="208" y="1"/>
                  <a:pt x="102" y="2"/>
                  <a:pt x="102" y="2"/>
                </a:cubicBezTo>
                <a:cubicBezTo>
                  <a:pt x="89" y="3"/>
                  <a:pt x="87" y="13"/>
                  <a:pt x="87" y="18"/>
                </a:cubicBezTo>
                <a:cubicBezTo>
                  <a:pt x="87" y="23"/>
                  <a:pt x="87" y="19"/>
                  <a:pt x="87" y="26"/>
                </a:cubicBezTo>
                <a:cubicBezTo>
                  <a:pt x="87" y="32"/>
                  <a:pt x="94" y="37"/>
                  <a:pt x="101" y="38"/>
                </a:cubicBezTo>
                <a:cubicBezTo>
                  <a:pt x="101" y="38"/>
                  <a:pt x="101" y="38"/>
                  <a:pt x="101" y="39"/>
                </a:cubicBezTo>
                <a:cubicBezTo>
                  <a:pt x="101" y="40"/>
                  <a:pt x="101" y="40"/>
                  <a:pt x="102" y="41"/>
                </a:cubicBezTo>
                <a:cubicBezTo>
                  <a:pt x="96" y="48"/>
                  <a:pt x="96" y="48"/>
                  <a:pt x="96" y="48"/>
                </a:cubicBezTo>
                <a:cubicBezTo>
                  <a:pt x="96" y="56"/>
                  <a:pt x="96" y="56"/>
                  <a:pt x="96" y="56"/>
                </a:cubicBezTo>
                <a:cubicBezTo>
                  <a:pt x="40" y="56"/>
                  <a:pt x="40" y="56"/>
                  <a:pt x="40" y="56"/>
                </a:cubicBezTo>
                <a:cubicBezTo>
                  <a:pt x="40" y="92"/>
                  <a:pt x="40" y="92"/>
                  <a:pt x="40" y="92"/>
                </a:cubicBezTo>
                <a:cubicBezTo>
                  <a:pt x="0" y="92"/>
                  <a:pt x="0" y="92"/>
                  <a:pt x="0" y="92"/>
                </a:cubicBezTo>
                <a:cubicBezTo>
                  <a:pt x="0" y="140"/>
                  <a:pt x="0" y="140"/>
                  <a:pt x="0" y="140"/>
                </a:cubicBezTo>
                <a:cubicBezTo>
                  <a:pt x="207" y="140"/>
                  <a:pt x="207" y="140"/>
                  <a:pt x="207" y="140"/>
                </a:cubicBezTo>
                <a:cubicBezTo>
                  <a:pt x="207" y="92"/>
                  <a:pt x="207" y="92"/>
                  <a:pt x="207" y="92"/>
                </a:cubicBezTo>
                <a:cubicBezTo>
                  <a:pt x="179" y="92"/>
                  <a:pt x="179" y="92"/>
                  <a:pt x="179" y="92"/>
                </a:cubicBezTo>
                <a:cubicBezTo>
                  <a:pt x="179" y="56"/>
                  <a:pt x="179" y="56"/>
                  <a:pt x="179" y="56"/>
                </a:cubicBezTo>
                <a:cubicBezTo>
                  <a:pt x="128" y="56"/>
                  <a:pt x="128" y="56"/>
                  <a:pt x="128" y="56"/>
                </a:cubicBezTo>
                <a:cubicBezTo>
                  <a:pt x="128" y="49"/>
                  <a:pt x="128" y="49"/>
                  <a:pt x="128" y="49"/>
                </a:cubicBezTo>
                <a:cubicBezTo>
                  <a:pt x="122" y="41"/>
                  <a:pt x="122" y="41"/>
                  <a:pt x="122" y="41"/>
                </a:cubicBezTo>
                <a:cubicBezTo>
                  <a:pt x="122" y="40"/>
                  <a:pt x="123" y="40"/>
                  <a:pt x="123" y="39"/>
                </a:cubicBezTo>
                <a:cubicBezTo>
                  <a:pt x="123" y="38"/>
                  <a:pt x="123" y="38"/>
                  <a:pt x="122" y="37"/>
                </a:cubicBezTo>
                <a:cubicBezTo>
                  <a:pt x="149" y="37"/>
                  <a:pt x="193" y="36"/>
                  <a:pt x="201" y="36"/>
                </a:cubicBezTo>
                <a:cubicBezTo>
                  <a:pt x="246" y="36"/>
                  <a:pt x="250" y="54"/>
                  <a:pt x="250" y="66"/>
                </a:cubicBezTo>
                <a:cubicBezTo>
                  <a:pt x="250" y="77"/>
                  <a:pt x="251" y="145"/>
                  <a:pt x="251" y="172"/>
                </a:cubicBezTo>
                <a:cubicBezTo>
                  <a:pt x="252" y="198"/>
                  <a:pt x="210" y="198"/>
                  <a:pt x="202" y="198"/>
                </a:cubicBezTo>
                <a:cubicBezTo>
                  <a:pt x="197" y="198"/>
                  <a:pt x="147" y="198"/>
                  <a:pt x="123" y="199"/>
                </a:cubicBezTo>
                <a:cubicBezTo>
                  <a:pt x="123" y="199"/>
                  <a:pt x="122" y="198"/>
                  <a:pt x="122" y="198"/>
                </a:cubicBezTo>
                <a:cubicBezTo>
                  <a:pt x="120" y="198"/>
                  <a:pt x="120" y="198"/>
                  <a:pt x="120" y="198"/>
                </a:cubicBezTo>
                <a:cubicBezTo>
                  <a:pt x="120" y="197"/>
                  <a:pt x="120" y="197"/>
                  <a:pt x="120" y="197"/>
                </a:cubicBezTo>
                <a:cubicBezTo>
                  <a:pt x="122" y="196"/>
                  <a:pt x="122" y="196"/>
                  <a:pt x="122" y="196"/>
                </a:cubicBezTo>
                <a:cubicBezTo>
                  <a:pt x="122" y="196"/>
                  <a:pt x="123" y="196"/>
                  <a:pt x="123" y="196"/>
                </a:cubicBezTo>
                <a:cubicBezTo>
                  <a:pt x="123" y="195"/>
                  <a:pt x="122" y="195"/>
                  <a:pt x="122" y="195"/>
                </a:cubicBezTo>
                <a:cubicBezTo>
                  <a:pt x="120" y="195"/>
                  <a:pt x="120" y="195"/>
                  <a:pt x="120" y="195"/>
                </a:cubicBezTo>
                <a:cubicBezTo>
                  <a:pt x="120" y="193"/>
                  <a:pt x="120" y="193"/>
                  <a:pt x="120" y="193"/>
                </a:cubicBezTo>
                <a:cubicBezTo>
                  <a:pt x="122" y="193"/>
                  <a:pt x="122" y="193"/>
                  <a:pt x="122" y="193"/>
                </a:cubicBezTo>
                <a:cubicBezTo>
                  <a:pt x="122" y="193"/>
                  <a:pt x="123" y="193"/>
                  <a:pt x="123" y="192"/>
                </a:cubicBezTo>
                <a:cubicBezTo>
                  <a:pt x="123" y="192"/>
                  <a:pt x="122" y="192"/>
                  <a:pt x="122" y="192"/>
                </a:cubicBezTo>
                <a:cubicBezTo>
                  <a:pt x="120" y="192"/>
                  <a:pt x="120" y="192"/>
                  <a:pt x="120" y="192"/>
                </a:cubicBezTo>
                <a:cubicBezTo>
                  <a:pt x="120" y="190"/>
                  <a:pt x="120" y="190"/>
                  <a:pt x="120" y="190"/>
                </a:cubicBezTo>
                <a:cubicBezTo>
                  <a:pt x="122" y="190"/>
                  <a:pt x="122" y="190"/>
                  <a:pt x="122" y="190"/>
                </a:cubicBezTo>
                <a:cubicBezTo>
                  <a:pt x="122" y="190"/>
                  <a:pt x="123" y="190"/>
                  <a:pt x="123" y="189"/>
                </a:cubicBezTo>
                <a:cubicBezTo>
                  <a:pt x="123" y="189"/>
                  <a:pt x="122" y="189"/>
                  <a:pt x="122" y="189"/>
                </a:cubicBezTo>
                <a:cubicBezTo>
                  <a:pt x="120" y="189"/>
                  <a:pt x="120" y="189"/>
                  <a:pt x="120" y="189"/>
                </a:cubicBezTo>
                <a:cubicBezTo>
                  <a:pt x="120" y="187"/>
                  <a:pt x="120" y="187"/>
                  <a:pt x="120" y="187"/>
                </a:cubicBezTo>
                <a:cubicBezTo>
                  <a:pt x="122" y="187"/>
                  <a:pt x="122" y="187"/>
                  <a:pt x="122" y="187"/>
                </a:cubicBezTo>
                <a:cubicBezTo>
                  <a:pt x="122" y="187"/>
                  <a:pt x="123" y="186"/>
                  <a:pt x="123" y="186"/>
                </a:cubicBezTo>
                <a:cubicBezTo>
                  <a:pt x="123" y="186"/>
                  <a:pt x="122" y="185"/>
                  <a:pt x="122" y="185"/>
                </a:cubicBezTo>
                <a:cubicBezTo>
                  <a:pt x="120" y="185"/>
                  <a:pt x="120" y="185"/>
                  <a:pt x="120" y="185"/>
                </a:cubicBezTo>
                <a:cubicBezTo>
                  <a:pt x="120" y="183"/>
                  <a:pt x="120" y="183"/>
                  <a:pt x="120" y="183"/>
                </a:cubicBezTo>
                <a:cubicBezTo>
                  <a:pt x="122" y="183"/>
                  <a:pt x="122" y="183"/>
                  <a:pt x="122" y="183"/>
                </a:cubicBezTo>
                <a:cubicBezTo>
                  <a:pt x="122" y="183"/>
                  <a:pt x="123" y="183"/>
                  <a:pt x="123" y="183"/>
                </a:cubicBezTo>
                <a:cubicBezTo>
                  <a:pt x="123" y="182"/>
                  <a:pt x="122" y="182"/>
                  <a:pt x="122" y="182"/>
                </a:cubicBezTo>
                <a:cubicBezTo>
                  <a:pt x="120" y="182"/>
                  <a:pt x="120" y="182"/>
                  <a:pt x="120" y="182"/>
                </a:cubicBezTo>
                <a:cubicBezTo>
                  <a:pt x="119" y="180"/>
                  <a:pt x="119" y="180"/>
                  <a:pt x="119" y="180"/>
                </a:cubicBezTo>
                <a:cubicBezTo>
                  <a:pt x="122" y="180"/>
                  <a:pt x="122" y="180"/>
                  <a:pt x="122" y="180"/>
                </a:cubicBezTo>
                <a:cubicBezTo>
                  <a:pt x="122" y="180"/>
                  <a:pt x="123" y="180"/>
                  <a:pt x="123" y="179"/>
                </a:cubicBezTo>
                <a:cubicBezTo>
                  <a:pt x="122" y="179"/>
                  <a:pt x="122" y="179"/>
                  <a:pt x="122" y="179"/>
                </a:cubicBezTo>
                <a:cubicBezTo>
                  <a:pt x="119" y="179"/>
                  <a:pt x="119" y="179"/>
                  <a:pt x="119" y="179"/>
                </a:cubicBezTo>
                <a:cubicBezTo>
                  <a:pt x="119" y="177"/>
                  <a:pt x="119" y="177"/>
                  <a:pt x="119" y="177"/>
                </a:cubicBezTo>
                <a:cubicBezTo>
                  <a:pt x="122" y="177"/>
                  <a:pt x="122" y="177"/>
                  <a:pt x="122" y="177"/>
                </a:cubicBezTo>
                <a:cubicBezTo>
                  <a:pt x="122" y="177"/>
                  <a:pt x="122" y="176"/>
                  <a:pt x="122" y="176"/>
                </a:cubicBezTo>
                <a:cubicBezTo>
                  <a:pt x="122" y="176"/>
                  <a:pt x="122" y="175"/>
                  <a:pt x="122" y="175"/>
                </a:cubicBezTo>
                <a:cubicBezTo>
                  <a:pt x="119" y="175"/>
                  <a:pt x="119" y="175"/>
                  <a:pt x="119" y="175"/>
                </a:cubicBezTo>
                <a:cubicBezTo>
                  <a:pt x="119" y="173"/>
                  <a:pt x="119" y="173"/>
                  <a:pt x="119" y="173"/>
                </a:cubicBezTo>
                <a:cubicBezTo>
                  <a:pt x="122" y="173"/>
                  <a:pt x="122" y="173"/>
                  <a:pt x="122" y="173"/>
                </a:cubicBezTo>
                <a:cubicBezTo>
                  <a:pt x="122" y="173"/>
                  <a:pt x="122" y="173"/>
                  <a:pt x="122" y="173"/>
                </a:cubicBezTo>
                <a:cubicBezTo>
                  <a:pt x="122" y="172"/>
                  <a:pt x="122" y="172"/>
                  <a:pt x="122" y="172"/>
                </a:cubicBezTo>
                <a:cubicBezTo>
                  <a:pt x="119" y="172"/>
                  <a:pt x="119" y="172"/>
                  <a:pt x="119" y="172"/>
                </a:cubicBezTo>
                <a:cubicBezTo>
                  <a:pt x="119" y="170"/>
                  <a:pt x="119" y="170"/>
                  <a:pt x="119" y="170"/>
                </a:cubicBezTo>
                <a:cubicBezTo>
                  <a:pt x="122" y="170"/>
                  <a:pt x="122" y="170"/>
                  <a:pt x="122" y="170"/>
                </a:cubicBezTo>
                <a:cubicBezTo>
                  <a:pt x="122" y="170"/>
                  <a:pt x="122" y="170"/>
                  <a:pt x="122" y="169"/>
                </a:cubicBezTo>
                <a:cubicBezTo>
                  <a:pt x="122" y="169"/>
                  <a:pt x="122" y="169"/>
                  <a:pt x="122" y="169"/>
                </a:cubicBezTo>
                <a:cubicBezTo>
                  <a:pt x="119" y="169"/>
                  <a:pt x="119" y="169"/>
                  <a:pt x="119" y="169"/>
                </a:cubicBezTo>
                <a:cubicBezTo>
                  <a:pt x="119" y="167"/>
                  <a:pt x="119" y="167"/>
                  <a:pt x="119" y="167"/>
                </a:cubicBezTo>
                <a:cubicBezTo>
                  <a:pt x="122" y="167"/>
                  <a:pt x="122" y="167"/>
                  <a:pt x="122" y="167"/>
                </a:cubicBezTo>
                <a:cubicBezTo>
                  <a:pt x="122" y="167"/>
                  <a:pt x="122" y="166"/>
                  <a:pt x="122" y="166"/>
                </a:cubicBezTo>
                <a:cubicBezTo>
                  <a:pt x="122" y="166"/>
                  <a:pt x="122" y="165"/>
                  <a:pt x="122" y="165"/>
                </a:cubicBezTo>
                <a:cubicBezTo>
                  <a:pt x="119" y="165"/>
                  <a:pt x="119" y="165"/>
                  <a:pt x="119" y="165"/>
                </a:cubicBezTo>
                <a:cubicBezTo>
                  <a:pt x="119" y="163"/>
                  <a:pt x="119" y="163"/>
                  <a:pt x="119" y="163"/>
                </a:cubicBezTo>
                <a:cubicBezTo>
                  <a:pt x="122" y="163"/>
                  <a:pt x="122" y="163"/>
                  <a:pt x="122" y="163"/>
                </a:cubicBezTo>
                <a:cubicBezTo>
                  <a:pt x="122" y="163"/>
                  <a:pt x="122" y="163"/>
                  <a:pt x="122" y="163"/>
                </a:cubicBezTo>
                <a:cubicBezTo>
                  <a:pt x="122" y="162"/>
                  <a:pt x="122" y="162"/>
                  <a:pt x="122" y="162"/>
                </a:cubicBezTo>
                <a:cubicBezTo>
                  <a:pt x="119" y="162"/>
                  <a:pt x="119" y="162"/>
                  <a:pt x="119" y="162"/>
                </a:cubicBezTo>
                <a:cubicBezTo>
                  <a:pt x="119" y="161"/>
                  <a:pt x="119" y="161"/>
                  <a:pt x="119" y="161"/>
                </a:cubicBezTo>
                <a:cubicBezTo>
                  <a:pt x="122" y="161"/>
                  <a:pt x="122" y="161"/>
                  <a:pt x="122" y="161"/>
                </a:cubicBezTo>
                <a:cubicBezTo>
                  <a:pt x="123" y="161"/>
                  <a:pt x="124" y="160"/>
                  <a:pt x="124" y="159"/>
                </a:cubicBezTo>
                <a:cubicBezTo>
                  <a:pt x="124" y="158"/>
                  <a:pt x="124" y="158"/>
                  <a:pt x="123" y="157"/>
                </a:cubicBezTo>
                <a:cubicBezTo>
                  <a:pt x="129" y="150"/>
                  <a:pt x="129" y="150"/>
                  <a:pt x="129" y="150"/>
                </a:cubicBezTo>
                <a:cubicBezTo>
                  <a:pt x="129" y="140"/>
                  <a:pt x="129" y="140"/>
                  <a:pt x="129" y="140"/>
                </a:cubicBezTo>
                <a:cubicBezTo>
                  <a:pt x="97" y="140"/>
                  <a:pt x="97" y="140"/>
                  <a:pt x="97" y="140"/>
                </a:cubicBezTo>
                <a:cubicBezTo>
                  <a:pt x="97" y="149"/>
                  <a:pt x="97" y="149"/>
                  <a:pt x="97" y="149"/>
                </a:cubicBezTo>
                <a:cubicBezTo>
                  <a:pt x="103" y="158"/>
                  <a:pt x="103" y="158"/>
                  <a:pt x="103" y="158"/>
                </a:cubicBezTo>
                <a:cubicBezTo>
                  <a:pt x="102" y="158"/>
                  <a:pt x="102" y="159"/>
                  <a:pt x="102" y="159"/>
                </a:cubicBezTo>
                <a:cubicBezTo>
                  <a:pt x="102" y="161"/>
                  <a:pt x="103" y="161"/>
                  <a:pt x="104" y="161"/>
                </a:cubicBezTo>
                <a:cubicBezTo>
                  <a:pt x="105" y="161"/>
                  <a:pt x="105" y="161"/>
                  <a:pt x="105" y="161"/>
                </a:cubicBezTo>
                <a:cubicBezTo>
                  <a:pt x="105" y="162"/>
                  <a:pt x="105" y="162"/>
                  <a:pt x="105" y="162"/>
                </a:cubicBezTo>
                <a:cubicBezTo>
                  <a:pt x="103" y="162"/>
                  <a:pt x="103" y="162"/>
                  <a:pt x="103" y="162"/>
                </a:cubicBezTo>
                <a:cubicBezTo>
                  <a:pt x="103" y="162"/>
                  <a:pt x="103" y="163"/>
                  <a:pt x="103" y="163"/>
                </a:cubicBezTo>
                <a:cubicBezTo>
                  <a:pt x="103" y="163"/>
                  <a:pt x="103" y="164"/>
                  <a:pt x="103" y="164"/>
                </a:cubicBezTo>
                <a:cubicBezTo>
                  <a:pt x="105" y="164"/>
                  <a:pt x="105" y="164"/>
                  <a:pt x="105" y="164"/>
                </a:cubicBezTo>
                <a:cubicBezTo>
                  <a:pt x="105" y="166"/>
                  <a:pt x="105" y="166"/>
                  <a:pt x="105" y="166"/>
                </a:cubicBezTo>
                <a:cubicBezTo>
                  <a:pt x="103" y="166"/>
                  <a:pt x="103" y="166"/>
                  <a:pt x="103" y="166"/>
                </a:cubicBezTo>
                <a:cubicBezTo>
                  <a:pt x="103" y="166"/>
                  <a:pt x="103" y="166"/>
                  <a:pt x="103" y="166"/>
                </a:cubicBezTo>
                <a:cubicBezTo>
                  <a:pt x="103" y="167"/>
                  <a:pt x="103" y="167"/>
                  <a:pt x="103" y="167"/>
                </a:cubicBezTo>
                <a:cubicBezTo>
                  <a:pt x="105" y="167"/>
                  <a:pt x="105" y="167"/>
                  <a:pt x="105" y="167"/>
                </a:cubicBezTo>
                <a:cubicBezTo>
                  <a:pt x="105" y="169"/>
                  <a:pt x="105" y="169"/>
                  <a:pt x="105" y="169"/>
                </a:cubicBezTo>
                <a:cubicBezTo>
                  <a:pt x="103" y="169"/>
                  <a:pt x="103" y="169"/>
                  <a:pt x="103" y="169"/>
                </a:cubicBezTo>
                <a:cubicBezTo>
                  <a:pt x="103" y="169"/>
                  <a:pt x="103" y="169"/>
                  <a:pt x="103" y="170"/>
                </a:cubicBezTo>
                <a:cubicBezTo>
                  <a:pt x="103" y="170"/>
                  <a:pt x="103" y="170"/>
                  <a:pt x="103" y="170"/>
                </a:cubicBezTo>
                <a:cubicBezTo>
                  <a:pt x="105" y="170"/>
                  <a:pt x="105" y="170"/>
                  <a:pt x="105" y="170"/>
                </a:cubicBezTo>
                <a:cubicBezTo>
                  <a:pt x="105" y="172"/>
                  <a:pt x="105" y="172"/>
                  <a:pt x="105" y="172"/>
                </a:cubicBezTo>
                <a:cubicBezTo>
                  <a:pt x="103" y="172"/>
                  <a:pt x="103" y="172"/>
                  <a:pt x="103" y="172"/>
                </a:cubicBezTo>
                <a:cubicBezTo>
                  <a:pt x="103" y="172"/>
                  <a:pt x="103" y="173"/>
                  <a:pt x="103" y="173"/>
                </a:cubicBezTo>
                <a:cubicBezTo>
                  <a:pt x="103" y="173"/>
                  <a:pt x="103" y="174"/>
                  <a:pt x="103" y="174"/>
                </a:cubicBezTo>
                <a:cubicBezTo>
                  <a:pt x="105" y="174"/>
                  <a:pt x="105" y="174"/>
                  <a:pt x="105" y="174"/>
                </a:cubicBezTo>
                <a:cubicBezTo>
                  <a:pt x="105" y="176"/>
                  <a:pt x="105" y="176"/>
                  <a:pt x="105" y="176"/>
                </a:cubicBezTo>
                <a:cubicBezTo>
                  <a:pt x="103" y="176"/>
                  <a:pt x="103" y="176"/>
                  <a:pt x="103" y="176"/>
                </a:cubicBezTo>
                <a:cubicBezTo>
                  <a:pt x="103" y="176"/>
                  <a:pt x="103" y="176"/>
                  <a:pt x="103" y="176"/>
                </a:cubicBezTo>
                <a:cubicBezTo>
                  <a:pt x="103" y="177"/>
                  <a:pt x="103" y="177"/>
                  <a:pt x="104" y="177"/>
                </a:cubicBezTo>
                <a:cubicBezTo>
                  <a:pt x="105" y="177"/>
                  <a:pt x="105" y="177"/>
                  <a:pt x="105" y="177"/>
                </a:cubicBezTo>
                <a:cubicBezTo>
                  <a:pt x="105" y="179"/>
                  <a:pt x="105" y="179"/>
                  <a:pt x="105" y="179"/>
                </a:cubicBezTo>
                <a:cubicBezTo>
                  <a:pt x="104" y="179"/>
                  <a:pt x="104" y="179"/>
                  <a:pt x="104" y="179"/>
                </a:cubicBezTo>
                <a:cubicBezTo>
                  <a:pt x="103" y="179"/>
                  <a:pt x="103" y="179"/>
                  <a:pt x="103" y="180"/>
                </a:cubicBezTo>
                <a:cubicBezTo>
                  <a:pt x="103" y="180"/>
                  <a:pt x="103" y="180"/>
                  <a:pt x="104" y="180"/>
                </a:cubicBezTo>
                <a:cubicBezTo>
                  <a:pt x="105" y="180"/>
                  <a:pt x="105" y="180"/>
                  <a:pt x="105" y="180"/>
                </a:cubicBezTo>
                <a:cubicBezTo>
                  <a:pt x="105" y="182"/>
                  <a:pt x="105" y="182"/>
                  <a:pt x="105" y="182"/>
                </a:cubicBezTo>
                <a:cubicBezTo>
                  <a:pt x="104" y="182"/>
                  <a:pt x="104" y="182"/>
                  <a:pt x="104" y="182"/>
                </a:cubicBezTo>
                <a:cubicBezTo>
                  <a:pt x="103" y="182"/>
                  <a:pt x="103" y="182"/>
                  <a:pt x="103" y="183"/>
                </a:cubicBezTo>
                <a:cubicBezTo>
                  <a:pt x="103" y="183"/>
                  <a:pt x="103" y="183"/>
                  <a:pt x="104" y="183"/>
                </a:cubicBezTo>
                <a:cubicBezTo>
                  <a:pt x="105" y="183"/>
                  <a:pt x="105" y="183"/>
                  <a:pt x="105" y="183"/>
                </a:cubicBezTo>
                <a:cubicBezTo>
                  <a:pt x="105" y="185"/>
                  <a:pt x="105" y="185"/>
                  <a:pt x="105" y="185"/>
                </a:cubicBezTo>
                <a:cubicBezTo>
                  <a:pt x="104" y="185"/>
                  <a:pt x="104" y="185"/>
                  <a:pt x="104" y="185"/>
                </a:cubicBezTo>
                <a:cubicBezTo>
                  <a:pt x="103" y="185"/>
                  <a:pt x="103" y="186"/>
                  <a:pt x="103" y="186"/>
                </a:cubicBezTo>
                <a:cubicBezTo>
                  <a:pt x="103" y="187"/>
                  <a:pt x="103" y="187"/>
                  <a:pt x="104" y="187"/>
                </a:cubicBezTo>
                <a:cubicBezTo>
                  <a:pt x="105" y="187"/>
                  <a:pt x="105" y="187"/>
                  <a:pt x="105" y="187"/>
                </a:cubicBezTo>
                <a:cubicBezTo>
                  <a:pt x="105" y="189"/>
                  <a:pt x="105" y="189"/>
                  <a:pt x="105" y="189"/>
                </a:cubicBezTo>
                <a:cubicBezTo>
                  <a:pt x="104" y="189"/>
                  <a:pt x="104" y="189"/>
                  <a:pt x="104" y="189"/>
                </a:cubicBezTo>
                <a:cubicBezTo>
                  <a:pt x="103" y="189"/>
                  <a:pt x="103" y="189"/>
                  <a:pt x="103" y="189"/>
                </a:cubicBezTo>
                <a:cubicBezTo>
                  <a:pt x="103" y="190"/>
                  <a:pt x="103" y="190"/>
                  <a:pt x="104" y="190"/>
                </a:cubicBezTo>
                <a:cubicBezTo>
                  <a:pt x="105" y="190"/>
                  <a:pt x="105" y="190"/>
                  <a:pt x="105" y="190"/>
                </a:cubicBezTo>
                <a:cubicBezTo>
                  <a:pt x="105" y="192"/>
                  <a:pt x="105" y="192"/>
                  <a:pt x="105" y="192"/>
                </a:cubicBezTo>
                <a:cubicBezTo>
                  <a:pt x="104" y="192"/>
                  <a:pt x="104" y="192"/>
                  <a:pt x="104" y="192"/>
                </a:cubicBezTo>
                <a:cubicBezTo>
                  <a:pt x="103" y="192"/>
                  <a:pt x="103" y="192"/>
                  <a:pt x="103" y="193"/>
                </a:cubicBezTo>
                <a:cubicBezTo>
                  <a:pt x="103" y="193"/>
                  <a:pt x="103" y="193"/>
                  <a:pt x="104" y="193"/>
                </a:cubicBezTo>
                <a:cubicBezTo>
                  <a:pt x="105" y="193"/>
                  <a:pt x="105" y="193"/>
                  <a:pt x="105" y="193"/>
                </a:cubicBezTo>
                <a:cubicBezTo>
                  <a:pt x="105" y="195"/>
                  <a:pt x="105" y="195"/>
                  <a:pt x="105" y="195"/>
                </a:cubicBezTo>
                <a:cubicBezTo>
                  <a:pt x="104" y="195"/>
                  <a:pt x="104" y="195"/>
                  <a:pt x="104" y="195"/>
                </a:cubicBezTo>
                <a:cubicBezTo>
                  <a:pt x="103" y="195"/>
                  <a:pt x="103" y="196"/>
                  <a:pt x="103" y="196"/>
                </a:cubicBezTo>
                <a:cubicBezTo>
                  <a:pt x="103" y="196"/>
                  <a:pt x="103" y="197"/>
                  <a:pt x="104" y="197"/>
                </a:cubicBezTo>
                <a:cubicBezTo>
                  <a:pt x="105" y="197"/>
                  <a:pt x="105" y="197"/>
                  <a:pt x="105" y="197"/>
                </a:cubicBezTo>
                <a:cubicBezTo>
                  <a:pt x="105" y="199"/>
                  <a:pt x="105" y="199"/>
                  <a:pt x="105" y="199"/>
                </a:cubicBezTo>
                <a:cubicBezTo>
                  <a:pt x="104" y="199"/>
                  <a:pt x="104" y="199"/>
                  <a:pt x="104" y="199"/>
                </a:cubicBezTo>
                <a:cubicBezTo>
                  <a:pt x="103" y="199"/>
                  <a:pt x="103" y="199"/>
                  <a:pt x="103" y="199"/>
                </a:cubicBezTo>
                <a:cubicBezTo>
                  <a:pt x="103" y="199"/>
                  <a:pt x="103" y="200"/>
                  <a:pt x="103" y="200"/>
                </a:cubicBezTo>
                <a:cubicBezTo>
                  <a:pt x="98" y="201"/>
                  <a:pt x="94" y="204"/>
                  <a:pt x="94" y="210"/>
                </a:cubicBezTo>
                <a:cubicBezTo>
                  <a:pt x="94" y="214"/>
                  <a:pt x="94" y="215"/>
                  <a:pt x="95" y="221"/>
                </a:cubicBezTo>
                <a:cubicBezTo>
                  <a:pt x="95" y="226"/>
                  <a:pt x="99" y="231"/>
                  <a:pt x="104" y="232"/>
                </a:cubicBezTo>
                <a:cubicBezTo>
                  <a:pt x="104" y="232"/>
                  <a:pt x="104" y="232"/>
                  <a:pt x="104" y="232"/>
                </a:cubicBezTo>
                <a:cubicBezTo>
                  <a:pt x="104" y="233"/>
                  <a:pt x="104" y="233"/>
                  <a:pt x="104" y="233"/>
                </a:cubicBezTo>
                <a:cubicBezTo>
                  <a:pt x="106" y="233"/>
                  <a:pt x="106" y="233"/>
                  <a:pt x="106" y="233"/>
                </a:cubicBezTo>
                <a:cubicBezTo>
                  <a:pt x="106" y="235"/>
                  <a:pt x="106" y="235"/>
                  <a:pt x="106" y="235"/>
                </a:cubicBezTo>
                <a:cubicBezTo>
                  <a:pt x="104" y="235"/>
                  <a:pt x="104" y="235"/>
                  <a:pt x="104" y="235"/>
                </a:cubicBezTo>
                <a:cubicBezTo>
                  <a:pt x="104" y="235"/>
                  <a:pt x="104" y="235"/>
                  <a:pt x="104" y="236"/>
                </a:cubicBezTo>
                <a:cubicBezTo>
                  <a:pt x="104" y="236"/>
                  <a:pt x="104" y="236"/>
                  <a:pt x="104" y="236"/>
                </a:cubicBezTo>
                <a:cubicBezTo>
                  <a:pt x="106" y="236"/>
                  <a:pt x="106" y="236"/>
                  <a:pt x="106" y="236"/>
                </a:cubicBezTo>
                <a:cubicBezTo>
                  <a:pt x="106" y="238"/>
                  <a:pt x="106" y="238"/>
                  <a:pt x="106" y="238"/>
                </a:cubicBezTo>
                <a:cubicBezTo>
                  <a:pt x="104" y="238"/>
                  <a:pt x="104" y="238"/>
                  <a:pt x="104" y="238"/>
                </a:cubicBezTo>
                <a:cubicBezTo>
                  <a:pt x="104" y="238"/>
                  <a:pt x="104" y="239"/>
                  <a:pt x="104" y="239"/>
                </a:cubicBezTo>
                <a:cubicBezTo>
                  <a:pt x="104" y="239"/>
                  <a:pt x="104" y="240"/>
                  <a:pt x="104" y="240"/>
                </a:cubicBezTo>
                <a:cubicBezTo>
                  <a:pt x="106" y="240"/>
                  <a:pt x="106" y="240"/>
                  <a:pt x="106" y="240"/>
                </a:cubicBezTo>
                <a:cubicBezTo>
                  <a:pt x="106" y="242"/>
                  <a:pt x="106" y="242"/>
                  <a:pt x="106" y="242"/>
                </a:cubicBezTo>
                <a:cubicBezTo>
                  <a:pt x="104" y="242"/>
                  <a:pt x="104" y="242"/>
                  <a:pt x="104" y="242"/>
                </a:cubicBezTo>
                <a:cubicBezTo>
                  <a:pt x="104" y="242"/>
                  <a:pt x="104" y="242"/>
                  <a:pt x="104" y="242"/>
                </a:cubicBezTo>
                <a:cubicBezTo>
                  <a:pt x="104" y="243"/>
                  <a:pt x="104" y="243"/>
                  <a:pt x="104" y="243"/>
                </a:cubicBezTo>
                <a:cubicBezTo>
                  <a:pt x="106" y="243"/>
                  <a:pt x="106" y="243"/>
                  <a:pt x="106" y="243"/>
                </a:cubicBezTo>
                <a:cubicBezTo>
                  <a:pt x="106" y="245"/>
                  <a:pt x="106" y="245"/>
                  <a:pt x="106" y="245"/>
                </a:cubicBezTo>
                <a:cubicBezTo>
                  <a:pt x="104" y="245"/>
                  <a:pt x="104" y="245"/>
                  <a:pt x="104" y="245"/>
                </a:cubicBezTo>
                <a:cubicBezTo>
                  <a:pt x="104" y="245"/>
                  <a:pt x="104" y="245"/>
                  <a:pt x="104" y="246"/>
                </a:cubicBezTo>
                <a:cubicBezTo>
                  <a:pt x="104" y="246"/>
                  <a:pt x="104" y="246"/>
                  <a:pt x="104" y="246"/>
                </a:cubicBezTo>
                <a:cubicBezTo>
                  <a:pt x="106" y="246"/>
                  <a:pt x="106" y="246"/>
                  <a:pt x="106" y="246"/>
                </a:cubicBezTo>
                <a:cubicBezTo>
                  <a:pt x="106" y="248"/>
                  <a:pt x="106" y="248"/>
                  <a:pt x="106" y="248"/>
                </a:cubicBezTo>
                <a:cubicBezTo>
                  <a:pt x="104" y="248"/>
                  <a:pt x="104" y="248"/>
                  <a:pt x="104" y="248"/>
                </a:cubicBezTo>
                <a:cubicBezTo>
                  <a:pt x="104" y="248"/>
                  <a:pt x="104" y="249"/>
                  <a:pt x="104" y="249"/>
                </a:cubicBezTo>
                <a:cubicBezTo>
                  <a:pt x="104" y="249"/>
                  <a:pt x="104" y="250"/>
                  <a:pt x="104" y="250"/>
                </a:cubicBezTo>
                <a:cubicBezTo>
                  <a:pt x="106" y="250"/>
                  <a:pt x="106" y="250"/>
                  <a:pt x="106" y="250"/>
                </a:cubicBezTo>
                <a:cubicBezTo>
                  <a:pt x="106" y="252"/>
                  <a:pt x="106" y="252"/>
                  <a:pt x="106" y="252"/>
                </a:cubicBezTo>
                <a:cubicBezTo>
                  <a:pt x="104" y="252"/>
                  <a:pt x="104" y="252"/>
                  <a:pt x="104" y="252"/>
                </a:cubicBezTo>
                <a:cubicBezTo>
                  <a:pt x="104" y="252"/>
                  <a:pt x="104" y="252"/>
                  <a:pt x="104" y="252"/>
                </a:cubicBezTo>
                <a:cubicBezTo>
                  <a:pt x="104" y="253"/>
                  <a:pt x="104" y="253"/>
                  <a:pt x="105" y="253"/>
                </a:cubicBezTo>
                <a:cubicBezTo>
                  <a:pt x="106" y="253"/>
                  <a:pt x="106" y="253"/>
                  <a:pt x="106" y="253"/>
                </a:cubicBezTo>
                <a:cubicBezTo>
                  <a:pt x="106" y="255"/>
                  <a:pt x="106" y="255"/>
                  <a:pt x="106" y="255"/>
                </a:cubicBezTo>
                <a:cubicBezTo>
                  <a:pt x="105" y="255"/>
                  <a:pt x="105" y="255"/>
                  <a:pt x="105" y="255"/>
                </a:cubicBezTo>
                <a:cubicBezTo>
                  <a:pt x="104" y="255"/>
                  <a:pt x="104" y="255"/>
                  <a:pt x="104" y="256"/>
                </a:cubicBezTo>
                <a:cubicBezTo>
                  <a:pt x="104" y="256"/>
                  <a:pt x="104" y="256"/>
                  <a:pt x="105" y="256"/>
                </a:cubicBezTo>
                <a:cubicBezTo>
                  <a:pt x="106" y="256"/>
                  <a:pt x="106" y="256"/>
                  <a:pt x="106" y="256"/>
                </a:cubicBezTo>
                <a:cubicBezTo>
                  <a:pt x="106" y="257"/>
                  <a:pt x="106" y="257"/>
                  <a:pt x="106" y="257"/>
                </a:cubicBezTo>
                <a:cubicBezTo>
                  <a:pt x="98" y="257"/>
                  <a:pt x="98" y="257"/>
                  <a:pt x="98" y="257"/>
                </a:cubicBezTo>
                <a:cubicBezTo>
                  <a:pt x="98" y="260"/>
                  <a:pt x="98" y="260"/>
                  <a:pt x="98" y="260"/>
                </a:cubicBezTo>
                <a:cubicBezTo>
                  <a:pt x="61" y="260"/>
                  <a:pt x="61" y="260"/>
                  <a:pt x="61" y="260"/>
                </a:cubicBezTo>
                <a:cubicBezTo>
                  <a:pt x="58" y="260"/>
                  <a:pt x="56" y="261"/>
                  <a:pt x="56" y="262"/>
                </a:cubicBezTo>
                <a:cubicBezTo>
                  <a:pt x="56" y="263"/>
                  <a:pt x="56" y="263"/>
                  <a:pt x="56" y="263"/>
                </a:cubicBezTo>
                <a:cubicBezTo>
                  <a:pt x="56" y="264"/>
                  <a:pt x="58" y="265"/>
                  <a:pt x="61" y="265"/>
                </a:cubicBezTo>
                <a:cubicBezTo>
                  <a:pt x="98" y="264"/>
                  <a:pt x="98" y="264"/>
                  <a:pt x="98" y="264"/>
                </a:cubicBezTo>
                <a:cubicBezTo>
                  <a:pt x="98" y="266"/>
                  <a:pt x="98" y="266"/>
                  <a:pt x="98" y="266"/>
                </a:cubicBezTo>
                <a:cubicBezTo>
                  <a:pt x="105" y="275"/>
                  <a:pt x="105" y="275"/>
                  <a:pt x="105" y="275"/>
                </a:cubicBezTo>
                <a:cubicBezTo>
                  <a:pt x="124" y="275"/>
                  <a:pt x="124" y="275"/>
                  <a:pt x="124" y="275"/>
                </a:cubicBezTo>
                <a:cubicBezTo>
                  <a:pt x="131" y="266"/>
                  <a:pt x="131" y="266"/>
                  <a:pt x="131" y="266"/>
                </a:cubicBezTo>
                <a:cubicBezTo>
                  <a:pt x="131" y="264"/>
                  <a:pt x="131" y="264"/>
                  <a:pt x="131" y="264"/>
                </a:cubicBezTo>
                <a:cubicBezTo>
                  <a:pt x="167" y="264"/>
                  <a:pt x="167" y="264"/>
                  <a:pt x="167" y="264"/>
                </a:cubicBezTo>
                <a:cubicBezTo>
                  <a:pt x="170" y="263"/>
                  <a:pt x="173" y="263"/>
                  <a:pt x="173" y="262"/>
                </a:cubicBezTo>
                <a:cubicBezTo>
                  <a:pt x="172" y="260"/>
                  <a:pt x="172" y="260"/>
                  <a:pt x="172" y="260"/>
                </a:cubicBezTo>
                <a:cubicBezTo>
                  <a:pt x="172" y="259"/>
                  <a:pt x="170" y="259"/>
                  <a:pt x="167" y="259"/>
                </a:cubicBezTo>
                <a:cubicBezTo>
                  <a:pt x="131" y="259"/>
                  <a:pt x="131" y="259"/>
                  <a:pt x="131" y="259"/>
                </a:cubicBezTo>
                <a:cubicBezTo>
                  <a:pt x="131" y="257"/>
                  <a:pt x="131" y="257"/>
                  <a:pt x="131" y="257"/>
                </a:cubicBezTo>
                <a:cubicBezTo>
                  <a:pt x="121" y="257"/>
                  <a:pt x="121" y="257"/>
                  <a:pt x="121" y="257"/>
                </a:cubicBezTo>
                <a:cubicBezTo>
                  <a:pt x="121" y="256"/>
                  <a:pt x="121" y="256"/>
                  <a:pt x="121" y="256"/>
                </a:cubicBezTo>
                <a:cubicBezTo>
                  <a:pt x="123" y="256"/>
                  <a:pt x="123" y="256"/>
                  <a:pt x="123" y="256"/>
                </a:cubicBezTo>
                <a:cubicBezTo>
                  <a:pt x="123" y="256"/>
                  <a:pt x="124" y="256"/>
                  <a:pt x="124" y="255"/>
                </a:cubicBezTo>
                <a:cubicBezTo>
                  <a:pt x="124" y="255"/>
                  <a:pt x="123" y="255"/>
                  <a:pt x="123" y="255"/>
                </a:cubicBezTo>
                <a:cubicBezTo>
                  <a:pt x="120" y="255"/>
                  <a:pt x="120" y="255"/>
                  <a:pt x="120" y="255"/>
                </a:cubicBezTo>
                <a:cubicBezTo>
                  <a:pt x="120" y="253"/>
                  <a:pt x="120" y="253"/>
                  <a:pt x="120" y="253"/>
                </a:cubicBezTo>
                <a:cubicBezTo>
                  <a:pt x="123" y="253"/>
                  <a:pt x="123" y="253"/>
                  <a:pt x="123" y="253"/>
                </a:cubicBezTo>
                <a:cubicBezTo>
                  <a:pt x="123" y="253"/>
                  <a:pt x="123" y="252"/>
                  <a:pt x="123" y="252"/>
                </a:cubicBezTo>
                <a:cubicBezTo>
                  <a:pt x="123" y="252"/>
                  <a:pt x="123" y="251"/>
                  <a:pt x="123" y="251"/>
                </a:cubicBezTo>
                <a:cubicBezTo>
                  <a:pt x="120" y="251"/>
                  <a:pt x="120" y="251"/>
                  <a:pt x="120" y="251"/>
                </a:cubicBezTo>
                <a:cubicBezTo>
                  <a:pt x="120" y="249"/>
                  <a:pt x="120" y="249"/>
                  <a:pt x="120" y="249"/>
                </a:cubicBezTo>
                <a:cubicBezTo>
                  <a:pt x="123" y="249"/>
                  <a:pt x="123" y="249"/>
                  <a:pt x="123" y="249"/>
                </a:cubicBezTo>
                <a:cubicBezTo>
                  <a:pt x="123" y="249"/>
                  <a:pt x="123" y="249"/>
                  <a:pt x="123" y="249"/>
                </a:cubicBezTo>
                <a:cubicBezTo>
                  <a:pt x="123" y="248"/>
                  <a:pt x="123" y="248"/>
                  <a:pt x="123" y="248"/>
                </a:cubicBezTo>
                <a:cubicBezTo>
                  <a:pt x="120" y="248"/>
                  <a:pt x="120" y="248"/>
                  <a:pt x="120" y="248"/>
                </a:cubicBezTo>
                <a:cubicBezTo>
                  <a:pt x="120" y="246"/>
                  <a:pt x="120" y="246"/>
                  <a:pt x="120" y="246"/>
                </a:cubicBezTo>
                <a:cubicBezTo>
                  <a:pt x="123" y="246"/>
                  <a:pt x="123" y="246"/>
                  <a:pt x="123" y="246"/>
                </a:cubicBezTo>
                <a:cubicBezTo>
                  <a:pt x="123" y="246"/>
                  <a:pt x="123" y="246"/>
                  <a:pt x="123" y="245"/>
                </a:cubicBezTo>
                <a:cubicBezTo>
                  <a:pt x="123" y="245"/>
                  <a:pt x="123" y="245"/>
                  <a:pt x="123" y="245"/>
                </a:cubicBezTo>
                <a:cubicBezTo>
                  <a:pt x="120" y="245"/>
                  <a:pt x="120" y="245"/>
                  <a:pt x="120" y="245"/>
                </a:cubicBezTo>
                <a:cubicBezTo>
                  <a:pt x="120" y="243"/>
                  <a:pt x="120" y="243"/>
                  <a:pt x="120" y="243"/>
                </a:cubicBezTo>
                <a:cubicBezTo>
                  <a:pt x="123" y="243"/>
                  <a:pt x="123" y="243"/>
                  <a:pt x="123" y="243"/>
                </a:cubicBezTo>
                <a:cubicBezTo>
                  <a:pt x="123" y="243"/>
                  <a:pt x="123" y="242"/>
                  <a:pt x="123" y="242"/>
                </a:cubicBezTo>
                <a:cubicBezTo>
                  <a:pt x="123" y="242"/>
                  <a:pt x="123" y="241"/>
                  <a:pt x="123" y="241"/>
                </a:cubicBezTo>
                <a:cubicBezTo>
                  <a:pt x="120" y="241"/>
                  <a:pt x="120" y="241"/>
                  <a:pt x="120" y="241"/>
                </a:cubicBezTo>
                <a:cubicBezTo>
                  <a:pt x="120" y="240"/>
                  <a:pt x="120" y="240"/>
                  <a:pt x="120" y="240"/>
                </a:cubicBezTo>
                <a:cubicBezTo>
                  <a:pt x="123" y="239"/>
                  <a:pt x="123" y="239"/>
                  <a:pt x="123" y="239"/>
                </a:cubicBezTo>
                <a:cubicBezTo>
                  <a:pt x="123" y="239"/>
                  <a:pt x="123" y="239"/>
                  <a:pt x="123" y="239"/>
                </a:cubicBezTo>
                <a:cubicBezTo>
                  <a:pt x="123" y="238"/>
                  <a:pt x="123" y="238"/>
                  <a:pt x="123" y="238"/>
                </a:cubicBezTo>
                <a:cubicBezTo>
                  <a:pt x="120" y="238"/>
                  <a:pt x="120" y="238"/>
                  <a:pt x="120" y="238"/>
                </a:cubicBezTo>
                <a:cubicBezTo>
                  <a:pt x="120" y="236"/>
                  <a:pt x="120" y="236"/>
                  <a:pt x="120" y="236"/>
                </a:cubicBezTo>
                <a:cubicBezTo>
                  <a:pt x="123" y="236"/>
                  <a:pt x="123" y="236"/>
                  <a:pt x="123" y="236"/>
                </a:cubicBezTo>
                <a:cubicBezTo>
                  <a:pt x="123" y="236"/>
                  <a:pt x="123" y="236"/>
                  <a:pt x="123" y="236"/>
                </a:cubicBezTo>
                <a:cubicBezTo>
                  <a:pt x="123" y="235"/>
                  <a:pt x="123" y="235"/>
                  <a:pt x="123" y="235"/>
                </a:cubicBezTo>
                <a:cubicBezTo>
                  <a:pt x="120" y="235"/>
                  <a:pt x="120" y="235"/>
                  <a:pt x="120" y="235"/>
                </a:cubicBezTo>
                <a:cubicBezTo>
                  <a:pt x="120" y="233"/>
                  <a:pt x="120" y="233"/>
                  <a:pt x="120" y="233"/>
                </a:cubicBezTo>
                <a:cubicBezTo>
                  <a:pt x="123" y="233"/>
                  <a:pt x="123" y="233"/>
                  <a:pt x="123" y="233"/>
                </a:cubicBezTo>
                <a:cubicBezTo>
                  <a:pt x="123" y="233"/>
                  <a:pt x="123" y="233"/>
                  <a:pt x="123" y="232"/>
                </a:cubicBezTo>
                <a:cubicBezTo>
                  <a:pt x="123" y="232"/>
                  <a:pt x="123" y="232"/>
                  <a:pt x="123" y="232"/>
                </a:cubicBezTo>
                <a:cubicBezTo>
                  <a:pt x="140" y="232"/>
                  <a:pt x="169" y="231"/>
                  <a:pt x="217" y="231"/>
                </a:cubicBezTo>
                <a:cubicBezTo>
                  <a:pt x="291" y="230"/>
                  <a:pt x="291" y="182"/>
                  <a:pt x="291" y="170"/>
                </a:cubicBezTo>
                <a:close/>
              </a:path>
            </a:pathLst>
          </a:custGeom>
          <a:solidFill>
            <a:srgbClr val="FFFFFF"/>
          </a:solidFill>
          <a:ln>
            <a:noFill/>
          </a:ln>
        </p:spPr>
        <p:txBody>
          <a:bodyPr vert="horz" wrap="square" lIns="61735" tIns="30867" rIns="61735" bIns="30867" numCol="1" anchor="t" anchorCtr="0" compatLnSpc="1">
            <a:prstTxWarp prst="textNoShape">
              <a:avLst/>
            </a:prstTxWarp>
          </a:bodyPr>
          <a:lstStyle/>
          <a:p>
            <a:endParaRPr lang="en-US" sz="1200"/>
          </a:p>
        </p:txBody>
      </p:sp>
      <p:pic>
        <p:nvPicPr>
          <p:cNvPr id="53" name="Picture 2">
            <a:hlinkClick r:id="rId22"/>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86442871"/>
      </p:ext>
    </p:extLst>
  </p:cSld>
  <p:clrMapOvr>
    <a:masterClrMapping/>
  </p:clrMapOvr>
  <p:transition>
    <p:fade/>
  </p:transition>
  <p:timing>
    <p:tnLst>
      <p:par>
        <p:cTn id="1" dur="indefinite" restart="never" nodeType="tmRoot"/>
      </p:par>
    </p:tnLst>
  </p:timing>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1" name="Object 210" hidden="1"/>
          <p:cNvGraphicFramePr>
            <a:graphicFrameLocks noChangeAspect="1"/>
          </p:cNvGraphicFramePr>
          <p:nvPr>
            <p:custDataLst>
              <p:tags r:id="rId2"/>
            </p:custDataLst>
            <p:extLst>
              <p:ext uri="{D42A27DB-BD31-4B8C-83A1-F6EECF244321}">
                <p14:modId xmlns:p14="http://schemas.microsoft.com/office/powerpoint/2010/main" val="1527854153"/>
              </p:ext>
            </p:extLst>
          </p:nvPr>
        </p:nvGraphicFramePr>
        <p:xfrm>
          <a:off x="0" y="1"/>
          <a:ext cx="158750" cy="158750"/>
        </p:xfrm>
        <a:graphic>
          <a:graphicData uri="http://schemas.openxmlformats.org/presentationml/2006/ole">
            <mc:AlternateContent xmlns:mc="http://schemas.openxmlformats.org/markup-compatibility/2006">
              <mc:Choice xmlns:v="urn:schemas-microsoft-com:vml" Requires="v">
                <p:oleObj spid="_x0000_s13320"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0" y="1"/>
                        <a:ext cx="158750" cy="158750"/>
                      </a:xfrm>
                      <a:prstGeom prst="rect">
                        <a:avLst/>
                      </a:prstGeom>
                    </p:spPr>
                  </p:pic>
                </p:oleObj>
              </mc:Fallback>
            </mc:AlternateContent>
          </a:graphicData>
        </a:graphic>
      </p:graphicFrame>
      <p:grpSp>
        <p:nvGrpSpPr>
          <p:cNvPr id="5" name="Group 4"/>
          <p:cNvGrpSpPr/>
          <p:nvPr/>
        </p:nvGrpSpPr>
        <p:grpSpPr>
          <a:xfrm>
            <a:off x="6053414" y="1558951"/>
            <a:ext cx="2794839" cy="2644345"/>
            <a:chOff x="6053413" y="1558949"/>
            <a:chExt cx="2794839" cy="2644345"/>
          </a:xfrm>
        </p:grpSpPr>
        <p:sp>
          <p:nvSpPr>
            <p:cNvPr id="35" name="Circular Arrow 34"/>
            <p:cNvSpPr/>
            <p:nvPr>
              <p:custDataLst>
                <p:tags r:id="rId12"/>
              </p:custDataLst>
            </p:nvPr>
          </p:nvSpPr>
          <p:spPr>
            <a:xfrm rot="8459188">
              <a:off x="6134637" y="1571482"/>
              <a:ext cx="2631811" cy="2631812"/>
            </a:xfrm>
            <a:prstGeom prst="circularArrow">
              <a:avLst>
                <a:gd name="adj1" fmla="val 24401"/>
                <a:gd name="adj2" fmla="val 1142319"/>
                <a:gd name="adj3" fmla="val 20457687"/>
                <a:gd name="adj4" fmla="val 12180209"/>
                <a:gd name="adj5" fmla="val 12500"/>
              </a:avLst>
            </a:prstGeom>
            <a:solidFill>
              <a:schemeClr val="tx2"/>
            </a:solidFill>
            <a:ln>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985" tIns="89985" rIns="89985" bIns="89985" numCol="1" spcCol="1270" anchor="ctr" anchorCtr="0">
              <a:noAutofit/>
            </a:bodyPr>
            <a:lstStyle/>
            <a:p>
              <a:pPr algn="ctr" defTabSz="666694">
                <a:lnSpc>
                  <a:spcPct val="90000"/>
                </a:lnSpc>
                <a:spcBef>
                  <a:spcPct val="0"/>
                </a:spcBef>
                <a:spcAft>
                  <a:spcPct val="35000"/>
                </a:spcAft>
              </a:pPr>
              <a:endParaRPr lang="en-US" sz="1500">
                <a:solidFill>
                  <a:schemeClr val="tx1"/>
                </a:solidFill>
                <a:sym typeface="Segoe UI"/>
              </a:endParaRPr>
            </a:p>
          </p:txBody>
        </p:sp>
        <p:sp>
          <p:nvSpPr>
            <p:cNvPr id="36" name="Freeform 35"/>
            <p:cNvSpPr/>
            <p:nvPr>
              <p:custDataLst>
                <p:tags r:id="rId13"/>
              </p:custDataLst>
            </p:nvPr>
          </p:nvSpPr>
          <p:spPr>
            <a:xfrm rot="670301">
              <a:off x="6657507" y="1558949"/>
              <a:ext cx="2190745" cy="1374874"/>
            </a:xfrm>
            <a:custGeom>
              <a:avLst/>
              <a:gdLst>
                <a:gd name="connsiteX0" fmla="*/ 245090 w 4038600"/>
                <a:gd name="connsiteY0" fmla="*/ 2957942 h 4038600"/>
                <a:gd name="connsiteX1" fmla="*/ 409203 w 4038600"/>
                <a:gd name="connsiteY1" fmla="*/ 820777 h 4038600"/>
                <a:gd name="connsiteX2" fmla="*/ 2409424 w 4038600"/>
                <a:gd name="connsiteY2" fmla="*/ 50373 h 4038600"/>
                <a:gd name="connsiteX3" fmla="*/ 3964758 w 4038600"/>
                <a:gd name="connsiteY3" fmla="*/ 1525277 h 4038600"/>
                <a:gd name="connsiteX4" fmla="*/ 3964757 w 4038600"/>
                <a:gd name="connsiteY4" fmla="*/ 1525274 h 4038600"/>
                <a:gd name="connsiteX5" fmla="*/ 3533775 w 4038600"/>
                <a:gd name="connsiteY5" fmla="*/ 2019303 h 4038600"/>
                <a:gd name="connsiteX6" fmla="*/ 2913670 w 4038600"/>
                <a:gd name="connsiteY6" fmla="*/ 1525271 h 4038600"/>
                <a:gd name="connsiteX7" fmla="*/ 2913670 w 4038600"/>
                <a:gd name="connsiteY7" fmla="*/ 1525271 h 4038600"/>
                <a:gd name="connsiteX8" fmla="*/ 1533361 w 4038600"/>
                <a:gd name="connsiteY8" fmla="*/ 1120504 h 4038600"/>
                <a:gd name="connsiteX9" fmla="*/ 1116155 w 4038600"/>
                <a:gd name="connsiteY9" fmla="*/ 2497104 h 4038600"/>
                <a:gd name="connsiteX10" fmla="*/ 245090 w 4038600"/>
                <a:gd name="connsiteY10" fmla="*/ 2957942 h 4038600"/>
                <a:gd name="connsiteX0" fmla="*/ 362087 w 4081755"/>
                <a:gd name="connsiteY0" fmla="*/ 3058062 h 3058062"/>
                <a:gd name="connsiteX1" fmla="*/ 526200 w 4081755"/>
                <a:gd name="connsiteY1" fmla="*/ 920897 h 3058062"/>
                <a:gd name="connsiteX2" fmla="*/ 2526421 w 4081755"/>
                <a:gd name="connsiteY2" fmla="*/ 150493 h 3058062"/>
                <a:gd name="connsiteX3" fmla="*/ 4081755 w 4081755"/>
                <a:gd name="connsiteY3" fmla="*/ 1625397 h 3058062"/>
                <a:gd name="connsiteX4" fmla="*/ 4081754 w 4081755"/>
                <a:gd name="connsiteY4" fmla="*/ 1625394 h 3058062"/>
                <a:gd name="connsiteX5" fmla="*/ 3650772 w 4081755"/>
                <a:gd name="connsiteY5" fmla="*/ 2119423 h 3058062"/>
                <a:gd name="connsiteX6" fmla="*/ 3030667 w 4081755"/>
                <a:gd name="connsiteY6" fmla="*/ 1625391 h 3058062"/>
                <a:gd name="connsiteX7" fmla="*/ 3030667 w 4081755"/>
                <a:gd name="connsiteY7" fmla="*/ 1625391 h 3058062"/>
                <a:gd name="connsiteX8" fmla="*/ 1650358 w 4081755"/>
                <a:gd name="connsiteY8" fmla="*/ 1220624 h 3058062"/>
                <a:gd name="connsiteX9" fmla="*/ 1233152 w 4081755"/>
                <a:gd name="connsiteY9" fmla="*/ 2597224 h 3058062"/>
                <a:gd name="connsiteX10" fmla="*/ 615332 w 4081755"/>
                <a:gd name="connsiteY10" fmla="*/ 2122589 h 3058062"/>
                <a:gd name="connsiteX11" fmla="*/ 362087 w 4081755"/>
                <a:gd name="connsiteY11" fmla="*/ 3058062 h 3058062"/>
                <a:gd name="connsiteX0" fmla="*/ 224798 w 3944466"/>
                <a:gd name="connsiteY0" fmla="*/ 3058062 h 3094100"/>
                <a:gd name="connsiteX1" fmla="*/ 55665 w 3944466"/>
                <a:gd name="connsiteY1" fmla="*/ 2618995 h 3094100"/>
                <a:gd name="connsiteX2" fmla="*/ 388911 w 3944466"/>
                <a:gd name="connsiteY2" fmla="*/ 920897 h 3094100"/>
                <a:gd name="connsiteX3" fmla="*/ 2389132 w 3944466"/>
                <a:gd name="connsiteY3" fmla="*/ 150493 h 3094100"/>
                <a:gd name="connsiteX4" fmla="*/ 3944466 w 3944466"/>
                <a:gd name="connsiteY4" fmla="*/ 1625397 h 3094100"/>
                <a:gd name="connsiteX5" fmla="*/ 3944465 w 3944466"/>
                <a:gd name="connsiteY5" fmla="*/ 1625394 h 3094100"/>
                <a:gd name="connsiteX6" fmla="*/ 3513483 w 3944466"/>
                <a:gd name="connsiteY6" fmla="*/ 2119423 h 3094100"/>
                <a:gd name="connsiteX7" fmla="*/ 2893378 w 3944466"/>
                <a:gd name="connsiteY7" fmla="*/ 1625391 h 3094100"/>
                <a:gd name="connsiteX8" fmla="*/ 2893378 w 3944466"/>
                <a:gd name="connsiteY8" fmla="*/ 1625391 h 3094100"/>
                <a:gd name="connsiteX9" fmla="*/ 1513069 w 3944466"/>
                <a:gd name="connsiteY9" fmla="*/ 1220624 h 3094100"/>
                <a:gd name="connsiteX10" fmla="*/ 1095863 w 3944466"/>
                <a:gd name="connsiteY10" fmla="*/ 2597224 h 3094100"/>
                <a:gd name="connsiteX11" fmla="*/ 478043 w 3944466"/>
                <a:gd name="connsiteY11" fmla="*/ 2122589 h 3094100"/>
                <a:gd name="connsiteX12" fmla="*/ 224798 w 3944466"/>
                <a:gd name="connsiteY12" fmla="*/ 3058062 h 3094100"/>
                <a:gd name="connsiteX0" fmla="*/ 478043 w 3944466"/>
                <a:gd name="connsiteY0" fmla="*/ 2122589 h 2618995"/>
                <a:gd name="connsiteX1" fmla="*/ 55665 w 3944466"/>
                <a:gd name="connsiteY1" fmla="*/ 2618995 h 2618995"/>
                <a:gd name="connsiteX2" fmla="*/ 388911 w 3944466"/>
                <a:gd name="connsiteY2" fmla="*/ 920897 h 2618995"/>
                <a:gd name="connsiteX3" fmla="*/ 2389132 w 3944466"/>
                <a:gd name="connsiteY3" fmla="*/ 150493 h 2618995"/>
                <a:gd name="connsiteX4" fmla="*/ 3944466 w 3944466"/>
                <a:gd name="connsiteY4" fmla="*/ 1625397 h 2618995"/>
                <a:gd name="connsiteX5" fmla="*/ 3944465 w 3944466"/>
                <a:gd name="connsiteY5" fmla="*/ 1625394 h 2618995"/>
                <a:gd name="connsiteX6" fmla="*/ 3513483 w 3944466"/>
                <a:gd name="connsiteY6" fmla="*/ 2119423 h 2618995"/>
                <a:gd name="connsiteX7" fmla="*/ 2893378 w 3944466"/>
                <a:gd name="connsiteY7" fmla="*/ 1625391 h 2618995"/>
                <a:gd name="connsiteX8" fmla="*/ 2893378 w 3944466"/>
                <a:gd name="connsiteY8" fmla="*/ 1625391 h 2618995"/>
                <a:gd name="connsiteX9" fmla="*/ 1513069 w 3944466"/>
                <a:gd name="connsiteY9" fmla="*/ 1220624 h 2618995"/>
                <a:gd name="connsiteX10" fmla="*/ 1095863 w 3944466"/>
                <a:gd name="connsiteY10" fmla="*/ 2597224 h 2618995"/>
                <a:gd name="connsiteX11" fmla="*/ 478043 w 3944466"/>
                <a:gd name="connsiteY11" fmla="*/ 2122589 h 2618995"/>
                <a:gd name="connsiteX0" fmla="*/ 555165 w 4021588"/>
                <a:gd name="connsiteY0" fmla="*/ 2122589 h 2618995"/>
                <a:gd name="connsiteX1" fmla="*/ 132787 w 4021588"/>
                <a:gd name="connsiteY1" fmla="*/ 2618995 h 2618995"/>
                <a:gd name="connsiteX2" fmla="*/ 466033 w 4021588"/>
                <a:gd name="connsiteY2" fmla="*/ 920897 h 2618995"/>
                <a:gd name="connsiteX3" fmla="*/ 2466254 w 4021588"/>
                <a:gd name="connsiteY3" fmla="*/ 150493 h 2618995"/>
                <a:gd name="connsiteX4" fmla="*/ 4021588 w 4021588"/>
                <a:gd name="connsiteY4" fmla="*/ 1625397 h 2618995"/>
                <a:gd name="connsiteX5" fmla="*/ 4021587 w 4021588"/>
                <a:gd name="connsiteY5" fmla="*/ 1625394 h 2618995"/>
                <a:gd name="connsiteX6" fmla="*/ 3590605 w 4021588"/>
                <a:gd name="connsiteY6" fmla="*/ 2119423 h 2618995"/>
                <a:gd name="connsiteX7" fmla="*/ 2970500 w 4021588"/>
                <a:gd name="connsiteY7" fmla="*/ 1625391 h 2618995"/>
                <a:gd name="connsiteX8" fmla="*/ 2970500 w 4021588"/>
                <a:gd name="connsiteY8" fmla="*/ 1625391 h 2618995"/>
                <a:gd name="connsiteX9" fmla="*/ 1590191 w 4021588"/>
                <a:gd name="connsiteY9" fmla="*/ 1220624 h 2618995"/>
                <a:gd name="connsiteX10" fmla="*/ 1172985 w 4021588"/>
                <a:gd name="connsiteY10" fmla="*/ 2597224 h 2618995"/>
                <a:gd name="connsiteX11" fmla="*/ 555165 w 4021588"/>
                <a:gd name="connsiteY11" fmla="*/ 2122589 h 2618995"/>
                <a:gd name="connsiteX0" fmla="*/ 555165 w 4021588"/>
                <a:gd name="connsiteY0" fmla="*/ 2122589 h 2618995"/>
                <a:gd name="connsiteX1" fmla="*/ 132787 w 4021588"/>
                <a:gd name="connsiteY1" fmla="*/ 2618995 h 2618995"/>
                <a:gd name="connsiteX2" fmla="*/ 466033 w 4021588"/>
                <a:gd name="connsiteY2" fmla="*/ 920897 h 2618995"/>
                <a:gd name="connsiteX3" fmla="*/ 2466254 w 4021588"/>
                <a:gd name="connsiteY3" fmla="*/ 150493 h 2618995"/>
                <a:gd name="connsiteX4" fmla="*/ 4021588 w 4021588"/>
                <a:gd name="connsiteY4" fmla="*/ 1625397 h 2618995"/>
                <a:gd name="connsiteX5" fmla="*/ 4021587 w 4021588"/>
                <a:gd name="connsiteY5" fmla="*/ 1625394 h 2618995"/>
                <a:gd name="connsiteX6" fmla="*/ 3590605 w 4021588"/>
                <a:gd name="connsiteY6" fmla="*/ 2119423 h 2618995"/>
                <a:gd name="connsiteX7" fmla="*/ 2970500 w 4021588"/>
                <a:gd name="connsiteY7" fmla="*/ 1625391 h 2618995"/>
                <a:gd name="connsiteX8" fmla="*/ 2970500 w 4021588"/>
                <a:gd name="connsiteY8" fmla="*/ 1625391 h 2618995"/>
                <a:gd name="connsiteX9" fmla="*/ 1590191 w 4021588"/>
                <a:gd name="connsiteY9" fmla="*/ 1220624 h 2618995"/>
                <a:gd name="connsiteX10" fmla="*/ 1172985 w 4021588"/>
                <a:gd name="connsiteY10" fmla="*/ 2597224 h 2618995"/>
                <a:gd name="connsiteX11" fmla="*/ 555165 w 4021588"/>
                <a:gd name="connsiteY11" fmla="*/ 2122589 h 2618995"/>
                <a:gd name="connsiteX0" fmla="*/ 555165 w 4021588"/>
                <a:gd name="connsiteY0" fmla="*/ 2122589 h 2618995"/>
                <a:gd name="connsiteX1" fmla="*/ 132787 w 4021588"/>
                <a:gd name="connsiteY1" fmla="*/ 2618995 h 2618995"/>
                <a:gd name="connsiteX2" fmla="*/ 466033 w 4021588"/>
                <a:gd name="connsiteY2" fmla="*/ 920897 h 2618995"/>
                <a:gd name="connsiteX3" fmla="*/ 2466254 w 4021588"/>
                <a:gd name="connsiteY3" fmla="*/ 150493 h 2618995"/>
                <a:gd name="connsiteX4" fmla="*/ 4021588 w 4021588"/>
                <a:gd name="connsiteY4" fmla="*/ 1625397 h 2618995"/>
                <a:gd name="connsiteX5" fmla="*/ 4021587 w 4021588"/>
                <a:gd name="connsiteY5" fmla="*/ 1625394 h 2618995"/>
                <a:gd name="connsiteX6" fmla="*/ 3590605 w 4021588"/>
                <a:gd name="connsiteY6" fmla="*/ 2119423 h 2618995"/>
                <a:gd name="connsiteX7" fmla="*/ 2970500 w 4021588"/>
                <a:gd name="connsiteY7" fmla="*/ 1625391 h 2618995"/>
                <a:gd name="connsiteX8" fmla="*/ 2970500 w 4021588"/>
                <a:gd name="connsiteY8" fmla="*/ 1625391 h 2618995"/>
                <a:gd name="connsiteX9" fmla="*/ 1590191 w 4021588"/>
                <a:gd name="connsiteY9" fmla="*/ 1220624 h 2618995"/>
                <a:gd name="connsiteX10" fmla="*/ 1172985 w 4021588"/>
                <a:gd name="connsiteY10" fmla="*/ 2597224 h 2618995"/>
                <a:gd name="connsiteX11" fmla="*/ 555165 w 4021588"/>
                <a:gd name="connsiteY11" fmla="*/ 2122589 h 2618995"/>
                <a:gd name="connsiteX0" fmla="*/ 535167 w 4001590"/>
                <a:gd name="connsiteY0" fmla="*/ 2122589 h 2618995"/>
                <a:gd name="connsiteX1" fmla="*/ 112789 w 4001590"/>
                <a:gd name="connsiteY1" fmla="*/ 2618995 h 2618995"/>
                <a:gd name="connsiteX2" fmla="*/ 446035 w 4001590"/>
                <a:gd name="connsiteY2" fmla="*/ 920897 h 2618995"/>
                <a:gd name="connsiteX3" fmla="*/ 2446256 w 4001590"/>
                <a:gd name="connsiteY3" fmla="*/ 150493 h 2618995"/>
                <a:gd name="connsiteX4" fmla="*/ 4001590 w 4001590"/>
                <a:gd name="connsiteY4" fmla="*/ 1625397 h 2618995"/>
                <a:gd name="connsiteX5" fmla="*/ 4001589 w 4001590"/>
                <a:gd name="connsiteY5" fmla="*/ 1625394 h 2618995"/>
                <a:gd name="connsiteX6" fmla="*/ 3570607 w 4001590"/>
                <a:gd name="connsiteY6" fmla="*/ 2119423 h 2618995"/>
                <a:gd name="connsiteX7" fmla="*/ 2950502 w 4001590"/>
                <a:gd name="connsiteY7" fmla="*/ 1625391 h 2618995"/>
                <a:gd name="connsiteX8" fmla="*/ 2950502 w 4001590"/>
                <a:gd name="connsiteY8" fmla="*/ 1625391 h 2618995"/>
                <a:gd name="connsiteX9" fmla="*/ 1570193 w 4001590"/>
                <a:gd name="connsiteY9" fmla="*/ 1220624 h 2618995"/>
                <a:gd name="connsiteX10" fmla="*/ 1152987 w 4001590"/>
                <a:gd name="connsiteY10" fmla="*/ 2597224 h 2618995"/>
                <a:gd name="connsiteX11" fmla="*/ 535167 w 4001590"/>
                <a:gd name="connsiteY11" fmla="*/ 2122589 h 2618995"/>
                <a:gd name="connsiteX0" fmla="*/ 535167 w 4001590"/>
                <a:gd name="connsiteY0" fmla="*/ 2122589 h 2618995"/>
                <a:gd name="connsiteX1" fmla="*/ 112789 w 4001590"/>
                <a:gd name="connsiteY1" fmla="*/ 2618995 h 2618995"/>
                <a:gd name="connsiteX2" fmla="*/ 446035 w 4001590"/>
                <a:gd name="connsiteY2" fmla="*/ 920897 h 2618995"/>
                <a:gd name="connsiteX3" fmla="*/ 2446256 w 4001590"/>
                <a:gd name="connsiteY3" fmla="*/ 150493 h 2618995"/>
                <a:gd name="connsiteX4" fmla="*/ 4001590 w 4001590"/>
                <a:gd name="connsiteY4" fmla="*/ 1625397 h 2618995"/>
                <a:gd name="connsiteX5" fmla="*/ 4001589 w 4001590"/>
                <a:gd name="connsiteY5" fmla="*/ 1625394 h 2618995"/>
                <a:gd name="connsiteX6" fmla="*/ 3570607 w 4001590"/>
                <a:gd name="connsiteY6" fmla="*/ 2119423 h 2618995"/>
                <a:gd name="connsiteX7" fmla="*/ 2950502 w 4001590"/>
                <a:gd name="connsiteY7" fmla="*/ 1625391 h 2618995"/>
                <a:gd name="connsiteX8" fmla="*/ 2950502 w 4001590"/>
                <a:gd name="connsiteY8" fmla="*/ 1625391 h 2618995"/>
                <a:gd name="connsiteX9" fmla="*/ 1570193 w 4001590"/>
                <a:gd name="connsiteY9" fmla="*/ 1220624 h 2618995"/>
                <a:gd name="connsiteX10" fmla="*/ 1152987 w 4001590"/>
                <a:gd name="connsiteY10" fmla="*/ 2597224 h 2618995"/>
                <a:gd name="connsiteX11" fmla="*/ 535167 w 4001590"/>
                <a:gd name="connsiteY11" fmla="*/ 2122589 h 2618995"/>
                <a:gd name="connsiteX0" fmla="*/ 535167 w 4001590"/>
                <a:gd name="connsiteY0" fmla="*/ 2122589 h 2618995"/>
                <a:gd name="connsiteX1" fmla="*/ 112789 w 4001590"/>
                <a:gd name="connsiteY1" fmla="*/ 2618995 h 2618995"/>
                <a:gd name="connsiteX2" fmla="*/ 446035 w 4001590"/>
                <a:gd name="connsiteY2" fmla="*/ 920897 h 2618995"/>
                <a:gd name="connsiteX3" fmla="*/ 2446256 w 4001590"/>
                <a:gd name="connsiteY3" fmla="*/ 150493 h 2618995"/>
                <a:gd name="connsiteX4" fmla="*/ 4001590 w 4001590"/>
                <a:gd name="connsiteY4" fmla="*/ 1625397 h 2618995"/>
                <a:gd name="connsiteX5" fmla="*/ 4001589 w 4001590"/>
                <a:gd name="connsiteY5" fmla="*/ 1625394 h 2618995"/>
                <a:gd name="connsiteX6" fmla="*/ 3570607 w 4001590"/>
                <a:gd name="connsiteY6" fmla="*/ 2119423 h 2618995"/>
                <a:gd name="connsiteX7" fmla="*/ 2950502 w 4001590"/>
                <a:gd name="connsiteY7" fmla="*/ 1625391 h 2618995"/>
                <a:gd name="connsiteX8" fmla="*/ 2950502 w 4001590"/>
                <a:gd name="connsiteY8" fmla="*/ 1625391 h 2618995"/>
                <a:gd name="connsiteX9" fmla="*/ 1570193 w 4001590"/>
                <a:gd name="connsiteY9" fmla="*/ 1220624 h 2618995"/>
                <a:gd name="connsiteX10" fmla="*/ 1152987 w 4001590"/>
                <a:gd name="connsiteY10" fmla="*/ 2597224 h 2618995"/>
                <a:gd name="connsiteX11" fmla="*/ 535167 w 4001590"/>
                <a:gd name="connsiteY11" fmla="*/ 2122589 h 2618995"/>
                <a:gd name="connsiteX0" fmla="*/ 535167 w 4001590"/>
                <a:gd name="connsiteY0" fmla="*/ 2122589 h 2618995"/>
                <a:gd name="connsiteX1" fmla="*/ 112789 w 4001590"/>
                <a:gd name="connsiteY1" fmla="*/ 2618995 h 2618995"/>
                <a:gd name="connsiteX2" fmla="*/ 446035 w 4001590"/>
                <a:gd name="connsiteY2" fmla="*/ 920897 h 2618995"/>
                <a:gd name="connsiteX3" fmla="*/ 2446256 w 4001590"/>
                <a:gd name="connsiteY3" fmla="*/ 150493 h 2618995"/>
                <a:gd name="connsiteX4" fmla="*/ 4001590 w 4001590"/>
                <a:gd name="connsiteY4" fmla="*/ 1625397 h 2618995"/>
                <a:gd name="connsiteX5" fmla="*/ 4001589 w 4001590"/>
                <a:gd name="connsiteY5" fmla="*/ 1625394 h 2618995"/>
                <a:gd name="connsiteX6" fmla="*/ 3570607 w 4001590"/>
                <a:gd name="connsiteY6" fmla="*/ 2119423 h 2618995"/>
                <a:gd name="connsiteX7" fmla="*/ 2950502 w 4001590"/>
                <a:gd name="connsiteY7" fmla="*/ 1625391 h 2618995"/>
                <a:gd name="connsiteX8" fmla="*/ 2950502 w 4001590"/>
                <a:gd name="connsiteY8" fmla="*/ 1625391 h 2618995"/>
                <a:gd name="connsiteX9" fmla="*/ 1570193 w 4001590"/>
                <a:gd name="connsiteY9" fmla="*/ 1220624 h 2618995"/>
                <a:gd name="connsiteX10" fmla="*/ 1152987 w 4001590"/>
                <a:gd name="connsiteY10" fmla="*/ 2597224 h 2618995"/>
                <a:gd name="connsiteX11" fmla="*/ 535167 w 4001590"/>
                <a:gd name="connsiteY11" fmla="*/ 2122589 h 2618995"/>
                <a:gd name="connsiteX0" fmla="*/ 89132 w 3555555"/>
                <a:gd name="connsiteY0" fmla="*/ 2122589 h 2597224"/>
                <a:gd name="connsiteX1" fmla="*/ 0 w 3555555"/>
                <a:gd name="connsiteY1" fmla="*/ 920897 h 2597224"/>
                <a:gd name="connsiteX2" fmla="*/ 2000221 w 3555555"/>
                <a:gd name="connsiteY2" fmla="*/ 150493 h 2597224"/>
                <a:gd name="connsiteX3" fmla="*/ 3555555 w 3555555"/>
                <a:gd name="connsiteY3" fmla="*/ 1625397 h 2597224"/>
                <a:gd name="connsiteX4" fmla="*/ 3555554 w 3555555"/>
                <a:gd name="connsiteY4" fmla="*/ 1625394 h 2597224"/>
                <a:gd name="connsiteX5" fmla="*/ 3124572 w 3555555"/>
                <a:gd name="connsiteY5" fmla="*/ 2119423 h 2597224"/>
                <a:gd name="connsiteX6" fmla="*/ 2504467 w 3555555"/>
                <a:gd name="connsiteY6" fmla="*/ 1625391 h 2597224"/>
                <a:gd name="connsiteX7" fmla="*/ 2504467 w 3555555"/>
                <a:gd name="connsiteY7" fmla="*/ 1625391 h 2597224"/>
                <a:gd name="connsiteX8" fmla="*/ 1124158 w 3555555"/>
                <a:gd name="connsiteY8" fmla="*/ 1220624 h 2597224"/>
                <a:gd name="connsiteX9" fmla="*/ 706952 w 3555555"/>
                <a:gd name="connsiteY9" fmla="*/ 2597224 h 2597224"/>
                <a:gd name="connsiteX10" fmla="*/ 89132 w 3555555"/>
                <a:gd name="connsiteY10" fmla="*/ 2122589 h 2597224"/>
                <a:gd name="connsiteX0" fmla="*/ 706952 w 3555555"/>
                <a:gd name="connsiteY0" fmla="*/ 2597224 h 2597224"/>
                <a:gd name="connsiteX1" fmla="*/ 0 w 3555555"/>
                <a:gd name="connsiteY1" fmla="*/ 920897 h 2597224"/>
                <a:gd name="connsiteX2" fmla="*/ 2000221 w 3555555"/>
                <a:gd name="connsiteY2" fmla="*/ 150493 h 2597224"/>
                <a:gd name="connsiteX3" fmla="*/ 3555555 w 3555555"/>
                <a:gd name="connsiteY3" fmla="*/ 1625397 h 2597224"/>
                <a:gd name="connsiteX4" fmla="*/ 3555554 w 3555555"/>
                <a:gd name="connsiteY4" fmla="*/ 1625394 h 2597224"/>
                <a:gd name="connsiteX5" fmla="*/ 3124572 w 3555555"/>
                <a:gd name="connsiteY5" fmla="*/ 2119423 h 2597224"/>
                <a:gd name="connsiteX6" fmla="*/ 2504467 w 3555555"/>
                <a:gd name="connsiteY6" fmla="*/ 1625391 h 2597224"/>
                <a:gd name="connsiteX7" fmla="*/ 2504467 w 3555555"/>
                <a:gd name="connsiteY7" fmla="*/ 1625391 h 2597224"/>
                <a:gd name="connsiteX8" fmla="*/ 1124158 w 3555555"/>
                <a:gd name="connsiteY8" fmla="*/ 1220624 h 2597224"/>
                <a:gd name="connsiteX9" fmla="*/ 706952 w 3555555"/>
                <a:gd name="connsiteY9" fmla="*/ 2597224 h 2597224"/>
                <a:gd name="connsiteX0" fmla="*/ 1270168 w 3701565"/>
                <a:gd name="connsiteY0" fmla="*/ 1220624 h 2119423"/>
                <a:gd name="connsiteX1" fmla="*/ 146010 w 3701565"/>
                <a:gd name="connsiteY1" fmla="*/ 920897 h 2119423"/>
                <a:gd name="connsiteX2" fmla="*/ 2146231 w 3701565"/>
                <a:gd name="connsiteY2" fmla="*/ 150493 h 2119423"/>
                <a:gd name="connsiteX3" fmla="*/ 3701565 w 3701565"/>
                <a:gd name="connsiteY3" fmla="*/ 1625397 h 2119423"/>
                <a:gd name="connsiteX4" fmla="*/ 3701564 w 3701565"/>
                <a:gd name="connsiteY4" fmla="*/ 1625394 h 2119423"/>
                <a:gd name="connsiteX5" fmla="*/ 3270582 w 3701565"/>
                <a:gd name="connsiteY5" fmla="*/ 2119423 h 2119423"/>
                <a:gd name="connsiteX6" fmla="*/ 2650477 w 3701565"/>
                <a:gd name="connsiteY6" fmla="*/ 1625391 h 2119423"/>
                <a:gd name="connsiteX7" fmla="*/ 2650477 w 3701565"/>
                <a:gd name="connsiteY7" fmla="*/ 1625391 h 2119423"/>
                <a:gd name="connsiteX8" fmla="*/ 1270168 w 3701565"/>
                <a:gd name="connsiteY8" fmla="*/ 1220624 h 2119423"/>
                <a:gd name="connsiteX0" fmla="*/ 1014361 w 3752727"/>
                <a:gd name="connsiteY0" fmla="*/ 1475427 h 2119423"/>
                <a:gd name="connsiteX1" fmla="*/ 197172 w 3752727"/>
                <a:gd name="connsiteY1" fmla="*/ 920897 h 2119423"/>
                <a:gd name="connsiteX2" fmla="*/ 2197393 w 3752727"/>
                <a:gd name="connsiteY2" fmla="*/ 150493 h 2119423"/>
                <a:gd name="connsiteX3" fmla="*/ 3752727 w 3752727"/>
                <a:gd name="connsiteY3" fmla="*/ 1625397 h 2119423"/>
                <a:gd name="connsiteX4" fmla="*/ 3752726 w 3752727"/>
                <a:gd name="connsiteY4" fmla="*/ 1625394 h 2119423"/>
                <a:gd name="connsiteX5" fmla="*/ 3321744 w 3752727"/>
                <a:gd name="connsiteY5" fmla="*/ 2119423 h 2119423"/>
                <a:gd name="connsiteX6" fmla="*/ 2701639 w 3752727"/>
                <a:gd name="connsiteY6" fmla="*/ 1625391 h 2119423"/>
                <a:gd name="connsiteX7" fmla="*/ 2701639 w 3752727"/>
                <a:gd name="connsiteY7" fmla="*/ 1625391 h 2119423"/>
                <a:gd name="connsiteX8" fmla="*/ 1014361 w 3752727"/>
                <a:gd name="connsiteY8" fmla="*/ 1475427 h 2119423"/>
                <a:gd name="connsiteX0" fmla="*/ 1014361 w 3752727"/>
                <a:gd name="connsiteY0" fmla="*/ 1475427 h 2119423"/>
                <a:gd name="connsiteX1" fmla="*/ 197172 w 3752727"/>
                <a:gd name="connsiteY1" fmla="*/ 920897 h 2119423"/>
                <a:gd name="connsiteX2" fmla="*/ 2197393 w 3752727"/>
                <a:gd name="connsiteY2" fmla="*/ 150493 h 2119423"/>
                <a:gd name="connsiteX3" fmla="*/ 3752727 w 3752727"/>
                <a:gd name="connsiteY3" fmla="*/ 1625397 h 2119423"/>
                <a:gd name="connsiteX4" fmla="*/ 3752726 w 3752727"/>
                <a:gd name="connsiteY4" fmla="*/ 1625394 h 2119423"/>
                <a:gd name="connsiteX5" fmla="*/ 3321744 w 3752727"/>
                <a:gd name="connsiteY5" fmla="*/ 2119423 h 2119423"/>
                <a:gd name="connsiteX6" fmla="*/ 2701639 w 3752727"/>
                <a:gd name="connsiteY6" fmla="*/ 1625391 h 2119423"/>
                <a:gd name="connsiteX7" fmla="*/ 2701639 w 3752727"/>
                <a:gd name="connsiteY7" fmla="*/ 1625391 h 2119423"/>
                <a:gd name="connsiteX8" fmla="*/ 1014361 w 3752727"/>
                <a:gd name="connsiteY8" fmla="*/ 1475427 h 2119423"/>
                <a:gd name="connsiteX0" fmla="*/ 587314 w 3325680"/>
                <a:gd name="connsiteY0" fmla="*/ 1521133 h 2165129"/>
                <a:gd name="connsiteX1" fmla="*/ 197172 w 3325680"/>
                <a:gd name="connsiteY1" fmla="*/ 493906 h 2165129"/>
                <a:gd name="connsiteX2" fmla="*/ 1770346 w 3325680"/>
                <a:gd name="connsiteY2" fmla="*/ 196199 h 2165129"/>
                <a:gd name="connsiteX3" fmla="*/ 3325680 w 3325680"/>
                <a:gd name="connsiteY3" fmla="*/ 1671103 h 2165129"/>
                <a:gd name="connsiteX4" fmla="*/ 3325679 w 3325680"/>
                <a:gd name="connsiteY4" fmla="*/ 1671100 h 2165129"/>
                <a:gd name="connsiteX5" fmla="*/ 2894697 w 3325680"/>
                <a:gd name="connsiteY5" fmla="*/ 2165129 h 2165129"/>
                <a:gd name="connsiteX6" fmla="*/ 2274592 w 3325680"/>
                <a:gd name="connsiteY6" fmla="*/ 1671097 h 2165129"/>
                <a:gd name="connsiteX7" fmla="*/ 2274592 w 3325680"/>
                <a:gd name="connsiteY7" fmla="*/ 1671097 h 2165129"/>
                <a:gd name="connsiteX8" fmla="*/ 587314 w 3325680"/>
                <a:gd name="connsiteY8" fmla="*/ 1521133 h 2165129"/>
                <a:gd name="connsiteX0" fmla="*/ 587314 w 3325680"/>
                <a:gd name="connsiteY0" fmla="*/ 1521133 h 2165129"/>
                <a:gd name="connsiteX1" fmla="*/ 197172 w 3325680"/>
                <a:gd name="connsiteY1" fmla="*/ 493906 h 2165129"/>
                <a:gd name="connsiteX2" fmla="*/ 1770346 w 3325680"/>
                <a:gd name="connsiteY2" fmla="*/ 196199 h 2165129"/>
                <a:gd name="connsiteX3" fmla="*/ 3325680 w 3325680"/>
                <a:gd name="connsiteY3" fmla="*/ 1671103 h 2165129"/>
                <a:gd name="connsiteX4" fmla="*/ 3325679 w 3325680"/>
                <a:gd name="connsiteY4" fmla="*/ 1671100 h 2165129"/>
                <a:gd name="connsiteX5" fmla="*/ 2894697 w 3325680"/>
                <a:gd name="connsiteY5" fmla="*/ 2165129 h 2165129"/>
                <a:gd name="connsiteX6" fmla="*/ 2274592 w 3325680"/>
                <a:gd name="connsiteY6" fmla="*/ 1671097 h 2165129"/>
                <a:gd name="connsiteX7" fmla="*/ 2274592 w 3325680"/>
                <a:gd name="connsiteY7" fmla="*/ 1671097 h 2165129"/>
                <a:gd name="connsiteX8" fmla="*/ 587314 w 3325680"/>
                <a:gd name="connsiteY8" fmla="*/ 1521133 h 2165129"/>
                <a:gd name="connsiteX0" fmla="*/ 623403 w 3361769"/>
                <a:gd name="connsiteY0" fmla="*/ 1505706 h 2149702"/>
                <a:gd name="connsiteX1" fmla="*/ 197172 w 3361769"/>
                <a:gd name="connsiteY1" fmla="*/ 571046 h 2149702"/>
                <a:gd name="connsiteX2" fmla="*/ 1806435 w 3361769"/>
                <a:gd name="connsiteY2" fmla="*/ 180772 h 2149702"/>
                <a:gd name="connsiteX3" fmla="*/ 3361769 w 3361769"/>
                <a:gd name="connsiteY3" fmla="*/ 1655676 h 2149702"/>
                <a:gd name="connsiteX4" fmla="*/ 3361768 w 3361769"/>
                <a:gd name="connsiteY4" fmla="*/ 1655673 h 2149702"/>
                <a:gd name="connsiteX5" fmla="*/ 2930786 w 3361769"/>
                <a:gd name="connsiteY5" fmla="*/ 2149702 h 2149702"/>
                <a:gd name="connsiteX6" fmla="*/ 2310681 w 3361769"/>
                <a:gd name="connsiteY6" fmla="*/ 1655670 h 2149702"/>
                <a:gd name="connsiteX7" fmla="*/ 2310681 w 3361769"/>
                <a:gd name="connsiteY7" fmla="*/ 1655670 h 2149702"/>
                <a:gd name="connsiteX8" fmla="*/ 623403 w 3361769"/>
                <a:gd name="connsiteY8" fmla="*/ 1505706 h 2149702"/>
                <a:gd name="connsiteX0" fmla="*/ 623403 w 3361769"/>
                <a:gd name="connsiteY0" fmla="*/ 1505706 h 2149702"/>
                <a:gd name="connsiteX1" fmla="*/ 197172 w 3361769"/>
                <a:gd name="connsiteY1" fmla="*/ 571046 h 2149702"/>
                <a:gd name="connsiteX2" fmla="*/ 1806435 w 3361769"/>
                <a:gd name="connsiteY2" fmla="*/ 180772 h 2149702"/>
                <a:gd name="connsiteX3" fmla="*/ 3361769 w 3361769"/>
                <a:gd name="connsiteY3" fmla="*/ 1655676 h 2149702"/>
                <a:gd name="connsiteX4" fmla="*/ 3361768 w 3361769"/>
                <a:gd name="connsiteY4" fmla="*/ 1655673 h 2149702"/>
                <a:gd name="connsiteX5" fmla="*/ 2930786 w 3361769"/>
                <a:gd name="connsiteY5" fmla="*/ 2149702 h 2149702"/>
                <a:gd name="connsiteX6" fmla="*/ 2310681 w 3361769"/>
                <a:gd name="connsiteY6" fmla="*/ 1655670 h 2149702"/>
                <a:gd name="connsiteX7" fmla="*/ 2310681 w 3361769"/>
                <a:gd name="connsiteY7" fmla="*/ 1655670 h 2149702"/>
                <a:gd name="connsiteX8" fmla="*/ 623403 w 3361769"/>
                <a:gd name="connsiteY8" fmla="*/ 1505706 h 2149702"/>
                <a:gd name="connsiteX0" fmla="*/ 623403 w 3361769"/>
                <a:gd name="connsiteY0" fmla="*/ 1505706 h 2149702"/>
                <a:gd name="connsiteX1" fmla="*/ 197172 w 3361769"/>
                <a:gd name="connsiteY1" fmla="*/ 571046 h 2149702"/>
                <a:gd name="connsiteX2" fmla="*/ 1806435 w 3361769"/>
                <a:gd name="connsiteY2" fmla="*/ 180772 h 2149702"/>
                <a:gd name="connsiteX3" fmla="*/ 3361769 w 3361769"/>
                <a:gd name="connsiteY3" fmla="*/ 1655676 h 2149702"/>
                <a:gd name="connsiteX4" fmla="*/ 3361768 w 3361769"/>
                <a:gd name="connsiteY4" fmla="*/ 1655673 h 2149702"/>
                <a:gd name="connsiteX5" fmla="*/ 2930786 w 3361769"/>
                <a:gd name="connsiteY5" fmla="*/ 2149702 h 2149702"/>
                <a:gd name="connsiteX6" fmla="*/ 2310681 w 3361769"/>
                <a:gd name="connsiteY6" fmla="*/ 1655670 h 2149702"/>
                <a:gd name="connsiteX7" fmla="*/ 2310681 w 3361769"/>
                <a:gd name="connsiteY7" fmla="*/ 1655670 h 2149702"/>
                <a:gd name="connsiteX8" fmla="*/ 623403 w 3361769"/>
                <a:gd name="connsiteY8" fmla="*/ 1505706 h 2149702"/>
                <a:gd name="connsiteX0" fmla="*/ 623403 w 3361769"/>
                <a:gd name="connsiteY0" fmla="*/ 1505706 h 2149702"/>
                <a:gd name="connsiteX1" fmla="*/ 197172 w 3361769"/>
                <a:gd name="connsiteY1" fmla="*/ 571046 h 2149702"/>
                <a:gd name="connsiteX2" fmla="*/ 1806435 w 3361769"/>
                <a:gd name="connsiteY2" fmla="*/ 180772 h 2149702"/>
                <a:gd name="connsiteX3" fmla="*/ 3361769 w 3361769"/>
                <a:gd name="connsiteY3" fmla="*/ 1655676 h 2149702"/>
                <a:gd name="connsiteX4" fmla="*/ 3361768 w 3361769"/>
                <a:gd name="connsiteY4" fmla="*/ 1655673 h 2149702"/>
                <a:gd name="connsiteX5" fmla="*/ 2930786 w 3361769"/>
                <a:gd name="connsiteY5" fmla="*/ 2149702 h 2149702"/>
                <a:gd name="connsiteX6" fmla="*/ 2310681 w 3361769"/>
                <a:gd name="connsiteY6" fmla="*/ 1655670 h 2149702"/>
                <a:gd name="connsiteX7" fmla="*/ 2310681 w 3361769"/>
                <a:gd name="connsiteY7" fmla="*/ 1655670 h 2149702"/>
                <a:gd name="connsiteX8" fmla="*/ 623403 w 3361769"/>
                <a:gd name="connsiteY8" fmla="*/ 1505706 h 2149702"/>
                <a:gd name="connsiteX0" fmla="*/ 623403 w 3361769"/>
                <a:gd name="connsiteY0" fmla="*/ 1505706 h 2149702"/>
                <a:gd name="connsiteX1" fmla="*/ 197172 w 3361769"/>
                <a:gd name="connsiteY1" fmla="*/ 571046 h 2149702"/>
                <a:gd name="connsiteX2" fmla="*/ 1806435 w 3361769"/>
                <a:gd name="connsiteY2" fmla="*/ 180772 h 2149702"/>
                <a:gd name="connsiteX3" fmla="*/ 3361769 w 3361769"/>
                <a:gd name="connsiteY3" fmla="*/ 1655676 h 2149702"/>
                <a:gd name="connsiteX4" fmla="*/ 3361768 w 3361769"/>
                <a:gd name="connsiteY4" fmla="*/ 1655673 h 2149702"/>
                <a:gd name="connsiteX5" fmla="*/ 2930786 w 3361769"/>
                <a:gd name="connsiteY5" fmla="*/ 2149702 h 2149702"/>
                <a:gd name="connsiteX6" fmla="*/ 2310681 w 3361769"/>
                <a:gd name="connsiteY6" fmla="*/ 1655670 h 2149702"/>
                <a:gd name="connsiteX7" fmla="*/ 2310681 w 3361769"/>
                <a:gd name="connsiteY7" fmla="*/ 1655670 h 2149702"/>
                <a:gd name="connsiteX8" fmla="*/ 623403 w 3361769"/>
                <a:gd name="connsiteY8" fmla="*/ 1505706 h 2149702"/>
                <a:gd name="connsiteX0" fmla="*/ 623403 w 3361769"/>
                <a:gd name="connsiteY0" fmla="*/ 1505706 h 2149702"/>
                <a:gd name="connsiteX1" fmla="*/ 197172 w 3361769"/>
                <a:gd name="connsiteY1" fmla="*/ 571046 h 2149702"/>
                <a:gd name="connsiteX2" fmla="*/ 1806435 w 3361769"/>
                <a:gd name="connsiteY2" fmla="*/ 180772 h 2149702"/>
                <a:gd name="connsiteX3" fmla="*/ 3361769 w 3361769"/>
                <a:gd name="connsiteY3" fmla="*/ 1655676 h 2149702"/>
                <a:gd name="connsiteX4" fmla="*/ 3361768 w 3361769"/>
                <a:gd name="connsiteY4" fmla="*/ 1655673 h 2149702"/>
                <a:gd name="connsiteX5" fmla="*/ 2930786 w 3361769"/>
                <a:gd name="connsiteY5" fmla="*/ 2149702 h 2149702"/>
                <a:gd name="connsiteX6" fmla="*/ 2310681 w 3361769"/>
                <a:gd name="connsiteY6" fmla="*/ 1655670 h 2149702"/>
                <a:gd name="connsiteX7" fmla="*/ 2310681 w 3361769"/>
                <a:gd name="connsiteY7" fmla="*/ 1655670 h 2149702"/>
                <a:gd name="connsiteX8" fmla="*/ 623403 w 3361769"/>
                <a:gd name="connsiteY8" fmla="*/ 1505706 h 2149702"/>
                <a:gd name="connsiteX0" fmla="*/ 623403 w 3361769"/>
                <a:gd name="connsiteY0" fmla="*/ 1459101 h 2103097"/>
                <a:gd name="connsiteX1" fmla="*/ 197172 w 3361769"/>
                <a:gd name="connsiteY1" fmla="*/ 524441 h 2103097"/>
                <a:gd name="connsiteX2" fmla="*/ 1806435 w 3361769"/>
                <a:gd name="connsiteY2" fmla="*/ 134167 h 2103097"/>
                <a:gd name="connsiteX3" fmla="*/ 3361769 w 3361769"/>
                <a:gd name="connsiteY3" fmla="*/ 1609071 h 2103097"/>
                <a:gd name="connsiteX4" fmla="*/ 3361768 w 3361769"/>
                <a:gd name="connsiteY4" fmla="*/ 1609068 h 2103097"/>
                <a:gd name="connsiteX5" fmla="*/ 2930786 w 3361769"/>
                <a:gd name="connsiteY5" fmla="*/ 2103097 h 2103097"/>
                <a:gd name="connsiteX6" fmla="*/ 2310681 w 3361769"/>
                <a:gd name="connsiteY6" fmla="*/ 1609065 h 2103097"/>
                <a:gd name="connsiteX7" fmla="*/ 2310681 w 3361769"/>
                <a:gd name="connsiteY7" fmla="*/ 1609065 h 2103097"/>
                <a:gd name="connsiteX8" fmla="*/ 623403 w 3361769"/>
                <a:gd name="connsiteY8" fmla="*/ 1459101 h 2103097"/>
                <a:gd name="connsiteX0" fmla="*/ 623403 w 3361769"/>
                <a:gd name="connsiteY0" fmla="*/ 1459101 h 2103097"/>
                <a:gd name="connsiteX1" fmla="*/ 197172 w 3361769"/>
                <a:gd name="connsiteY1" fmla="*/ 524441 h 2103097"/>
                <a:gd name="connsiteX2" fmla="*/ 1806435 w 3361769"/>
                <a:gd name="connsiteY2" fmla="*/ 134167 h 2103097"/>
                <a:gd name="connsiteX3" fmla="*/ 3361769 w 3361769"/>
                <a:gd name="connsiteY3" fmla="*/ 1609071 h 2103097"/>
                <a:gd name="connsiteX4" fmla="*/ 3361768 w 3361769"/>
                <a:gd name="connsiteY4" fmla="*/ 1609068 h 2103097"/>
                <a:gd name="connsiteX5" fmla="*/ 2930786 w 3361769"/>
                <a:gd name="connsiteY5" fmla="*/ 2103097 h 2103097"/>
                <a:gd name="connsiteX6" fmla="*/ 2310681 w 3361769"/>
                <a:gd name="connsiteY6" fmla="*/ 1609065 h 2103097"/>
                <a:gd name="connsiteX7" fmla="*/ 2310681 w 3361769"/>
                <a:gd name="connsiteY7" fmla="*/ 1609065 h 2103097"/>
                <a:gd name="connsiteX8" fmla="*/ 623403 w 3361769"/>
                <a:gd name="connsiteY8" fmla="*/ 1459101 h 2103097"/>
                <a:gd name="connsiteX0" fmla="*/ 623403 w 3361769"/>
                <a:gd name="connsiteY0" fmla="*/ 1434993 h 2078989"/>
                <a:gd name="connsiteX1" fmla="*/ 197172 w 3361769"/>
                <a:gd name="connsiteY1" fmla="*/ 500333 h 2078989"/>
                <a:gd name="connsiteX2" fmla="*/ 1806435 w 3361769"/>
                <a:gd name="connsiteY2" fmla="*/ 110059 h 2078989"/>
                <a:gd name="connsiteX3" fmla="*/ 3361769 w 3361769"/>
                <a:gd name="connsiteY3" fmla="*/ 1584963 h 2078989"/>
                <a:gd name="connsiteX4" fmla="*/ 3361768 w 3361769"/>
                <a:gd name="connsiteY4" fmla="*/ 1584960 h 2078989"/>
                <a:gd name="connsiteX5" fmla="*/ 2930786 w 3361769"/>
                <a:gd name="connsiteY5" fmla="*/ 2078989 h 2078989"/>
                <a:gd name="connsiteX6" fmla="*/ 2310681 w 3361769"/>
                <a:gd name="connsiteY6" fmla="*/ 1584957 h 2078989"/>
                <a:gd name="connsiteX7" fmla="*/ 2310681 w 3361769"/>
                <a:gd name="connsiteY7" fmla="*/ 1584957 h 2078989"/>
                <a:gd name="connsiteX8" fmla="*/ 623403 w 3361769"/>
                <a:gd name="connsiteY8" fmla="*/ 1434993 h 2078989"/>
                <a:gd name="connsiteX0" fmla="*/ 623403 w 3361769"/>
                <a:gd name="connsiteY0" fmla="*/ 1466483 h 2110479"/>
                <a:gd name="connsiteX1" fmla="*/ 197172 w 3361769"/>
                <a:gd name="connsiteY1" fmla="*/ 531823 h 2110479"/>
                <a:gd name="connsiteX2" fmla="*/ 1806435 w 3361769"/>
                <a:gd name="connsiteY2" fmla="*/ 141549 h 2110479"/>
                <a:gd name="connsiteX3" fmla="*/ 3361769 w 3361769"/>
                <a:gd name="connsiteY3" fmla="*/ 1616453 h 2110479"/>
                <a:gd name="connsiteX4" fmla="*/ 3361768 w 3361769"/>
                <a:gd name="connsiteY4" fmla="*/ 1616450 h 2110479"/>
                <a:gd name="connsiteX5" fmla="*/ 2930786 w 3361769"/>
                <a:gd name="connsiteY5" fmla="*/ 2110479 h 2110479"/>
                <a:gd name="connsiteX6" fmla="*/ 2310681 w 3361769"/>
                <a:gd name="connsiteY6" fmla="*/ 1616447 h 2110479"/>
                <a:gd name="connsiteX7" fmla="*/ 2310681 w 3361769"/>
                <a:gd name="connsiteY7" fmla="*/ 1616447 h 2110479"/>
                <a:gd name="connsiteX8" fmla="*/ 623403 w 3361769"/>
                <a:gd name="connsiteY8" fmla="*/ 1466483 h 2110479"/>
                <a:gd name="connsiteX0" fmla="*/ 623403 w 3361769"/>
                <a:gd name="connsiteY0" fmla="*/ 1473923 h 2117919"/>
                <a:gd name="connsiteX1" fmla="*/ 197172 w 3361769"/>
                <a:gd name="connsiteY1" fmla="*/ 539263 h 2117919"/>
                <a:gd name="connsiteX2" fmla="*/ 1819529 w 3361769"/>
                <a:gd name="connsiteY2" fmla="*/ 141549 h 2117919"/>
                <a:gd name="connsiteX3" fmla="*/ 3361769 w 3361769"/>
                <a:gd name="connsiteY3" fmla="*/ 1623893 h 2117919"/>
                <a:gd name="connsiteX4" fmla="*/ 3361768 w 3361769"/>
                <a:gd name="connsiteY4" fmla="*/ 1623890 h 2117919"/>
                <a:gd name="connsiteX5" fmla="*/ 2930786 w 3361769"/>
                <a:gd name="connsiteY5" fmla="*/ 2117919 h 2117919"/>
                <a:gd name="connsiteX6" fmla="*/ 2310681 w 3361769"/>
                <a:gd name="connsiteY6" fmla="*/ 1623887 h 2117919"/>
                <a:gd name="connsiteX7" fmla="*/ 2310681 w 3361769"/>
                <a:gd name="connsiteY7" fmla="*/ 1623887 h 2117919"/>
                <a:gd name="connsiteX8" fmla="*/ 623403 w 3361769"/>
                <a:gd name="connsiteY8" fmla="*/ 1473923 h 2117919"/>
                <a:gd name="connsiteX0" fmla="*/ 623403 w 3361769"/>
                <a:gd name="connsiteY0" fmla="*/ 1473923 h 2117919"/>
                <a:gd name="connsiteX1" fmla="*/ 197172 w 3361769"/>
                <a:gd name="connsiteY1" fmla="*/ 539263 h 2117919"/>
                <a:gd name="connsiteX2" fmla="*/ 1819529 w 3361769"/>
                <a:gd name="connsiteY2" fmla="*/ 141549 h 2117919"/>
                <a:gd name="connsiteX3" fmla="*/ 3361769 w 3361769"/>
                <a:gd name="connsiteY3" fmla="*/ 1623893 h 2117919"/>
                <a:gd name="connsiteX4" fmla="*/ 3361768 w 3361769"/>
                <a:gd name="connsiteY4" fmla="*/ 1623890 h 2117919"/>
                <a:gd name="connsiteX5" fmla="*/ 2930786 w 3361769"/>
                <a:gd name="connsiteY5" fmla="*/ 2117919 h 2117919"/>
                <a:gd name="connsiteX6" fmla="*/ 2310681 w 3361769"/>
                <a:gd name="connsiteY6" fmla="*/ 1623887 h 2117919"/>
                <a:gd name="connsiteX7" fmla="*/ 2310681 w 3361769"/>
                <a:gd name="connsiteY7" fmla="*/ 1623887 h 2117919"/>
                <a:gd name="connsiteX8" fmla="*/ 623403 w 3361769"/>
                <a:gd name="connsiteY8" fmla="*/ 1473923 h 2117919"/>
                <a:gd name="connsiteX0" fmla="*/ 623403 w 3361769"/>
                <a:gd name="connsiteY0" fmla="*/ 1471389 h 2115385"/>
                <a:gd name="connsiteX1" fmla="*/ 197172 w 3361769"/>
                <a:gd name="connsiteY1" fmla="*/ 536729 h 2115385"/>
                <a:gd name="connsiteX2" fmla="*/ 1819529 w 3361769"/>
                <a:gd name="connsiteY2" fmla="*/ 139015 h 2115385"/>
                <a:gd name="connsiteX3" fmla="*/ 3361769 w 3361769"/>
                <a:gd name="connsiteY3" fmla="*/ 1621359 h 2115385"/>
                <a:gd name="connsiteX4" fmla="*/ 3361768 w 3361769"/>
                <a:gd name="connsiteY4" fmla="*/ 1621356 h 2115385"/>
                <a:gd name="connsiteX5" fmla="*/ 2930786 w 3361769"/>
                <a:gd name="connsiteY5" fmla="*/ 2115385 h 2115385"/>
                <a:gd name="connsiteX6" fmla="*/ 2310681 w 3361769"/>
                <a:gd name="connsiteY6" fmla="*/ 1621353 h 2115385"/>
                <a:gd name="connsiteX7" fmla="*/ 2310681 w 3361769"/>
                <a:gd name="connsiteY7" fmla="*/ 1621353 h 2115385"/>
                <a:gd name="connsiteX8" fmla="*/ 623403 w 3361769"/>
                <a:gd name="connsiteY8" fmla="*/ 1471389 h 2115385"/>
                <a:gd name="connsiteX0" fmla="*/ 623403 w 3361769"/>
                <a:gd name="connsiteY0" fmla="*/ 1457313 h 2101309"/>
                <a:gd name="connsiteX1" fmla="*/ 197172 w 3361769"/>
                <a:gd name="connsiteY1" fmla="*/ 522653 h 2101309"/>
                <a:gd name="connsiteX2" fmla="*/ 1819529 w 3361769"/>
                <a:gd name="connsiteY2" fmla="*/ 124939 h 2101309"/>
                <a:gd name="connsiteX3" fmla="*/ 3361769 w 3361769"/>
                <a:gd name="connsiteY3" fmla="*/ 1607283 h 2101309"/>
                <a:gd name="connsiteX4" fmla="*/ 3361768 w 3361769"/>
                <a:gd name="connsiteY4" fmla="*/ 1607280 h 2101309"/>
                <a:gd name="connsiteX5" fmla="*/ 2930786 w 3361769"/>
                <a:gd name="connsiteY5" fmla="*/ 2101309 h 2101309"/>
                <a:gd name="connsiteX6" fmla="*/ 2310681 w 3361769"/>
                <a:gd name="connsiteY6" fmla="*/ 1607277 h 2101309"/>
                <a:gd name="connsiteX7" fmla="*/ 2310681 w 3361769"/>
                <a:gd name="connsiteY7" fmla="*/ 1607277 h 2101309"/>
                <a:gd name="connsiteX8" fmla="*/ 623403 w 3361769"/>
                <a:gd name="connsiteY8" fmla="*/ 1457313 h 2101309"/>
                <a:gd name="connsiteX0" fmla="*/ 623403 w 3361769"/>
                <a:gd name="connsiteY0" fmla="*/ 1447045 h 2091041"/>
                <a:gd name="connsiteX1" fmla="*/ 197172 w 3361769"/>
                <a:gd name="connsiteY1" fmla="*/ 512385 h 2091041"/>
                <a:gd name="connsiteX2" fmla="*/ 1816702 w 3361769"/>
                <a:gd name="connsiteY2" fmla="*/ 124939 h 2091041"/>
                <a:gd name="connsiteX3" fmla="*/ 3361769 w 3361769"/>
                <a:gd name="connsiteY3" fmla="*/ 1597015 h 2091041"/>
                <a:gd name="connsiteX4" fmla="*/ 3361768 w 3361769"/>
                <a:gd name="connsiteY4" fmla="*/ 1597012 h 2091041"/>
                <a:gd name="connsiteX5" fmla="*/ 2930786 w 3361769"/>
                <a:gd name="connsiteY5" fmla="*/ 2091041 h 2091041"/>
                <a:gd name="connsiteX6" fmla="*/ 2310681 w 3361769"/>
                <a:gd name="connsiteY6" fmla="*/ 1597009 h 2091041"/>
                <a:gd name="connsiteX7" fmla="*/ 2310681 w 3361769"/>
                <a:gd name="connsiteY7" fmla="*/ 1597009 h 2091041"/>
                <a:gd name="connsiteX8" fmla="*/ 623403 w 3361769"/>
                <a:gd name="connsiteY8" fmla="*/ 1447045 h 2091041"/>
                <a:gd name="connsiteX0" fmla="*/ 623403 w 3361769"/>
                <a:gd name="connsiteY0" fmla="*/ 1486327 h 2130323"/>
                <a:gd name="connsiteX1" fmla="*/ 197172 w 3361769"/>
                <a:gd name="connsiteY1" fmla="*/ 551667 h 2130323"/>
                <a:gd name="connsiteX2" fmla="*/ 1816702 w 3361769"/>
                <a:gd name="connsiteY2" fmla="*/ 164221 h 2130323"/>
                <a:gd name="connsiteX3" fmla="*/ 3361769 w 3361769"/>
                <a:gd name="connsiteY3" fmla="*/ 1636297 h 2130323"/>
                <a:gd name="connsiteX4" fmla="*/ 3361768 w 3361769"/>
                <a:gd name="connsiteY4" fmla="*/ 1636294 h 2130323"/>
                <a:gd name="connsiteX5" fmla="*/ 2930786 w 3361769"/>
                <a:gd name="connsiteY5" fmla="*/ 2130323 h 2130323"/>
                <a:gd name="connsiteX6" fmla="*/ 2310681 w 3361769"/>
                <a:gd name="connsiteY6" fmla="*/ 1636291 h 2130323"/>
                <a:gd name="connsiteX7" fmla="*/ 2310681 w 3361769"/>
                <a:gd name="connsiteY7" fmla="*/ 1636291 h 2130323"/>
                <a:gd name="connsiteX8" fmla="*/ 623403 w 3361769"/>
                <a:gd name="connsiteY8" fmla="*/ 1486327 h 2130323"/>
                <a:gd name="connsiteX0" fmla="*/ 623403 w 3361769"/>
                <a:gd name="connsiteY0" fmla="*/ 1486327 h 2130323"/>
                <a:gd name="connsiteX1" fmla="*/ 197172 w 3361769"/>
                <a:gd name="connsiteY1" fmla="*/ 551667 h 2130323"/>
                <a:gd name="connsiteX2" fmla="*/ 1816702 w 3361769"/>
                <a:gd name="connsiteY2" fmla="*/ 164221 h 2130323"/>
                <a:gd name="connsiteX3" fmla="*/ 3361769 w 3361769"/>
                <a:gd name="connsiteY3" fmla="*/ 1636297 h 2130323"/>
                <a:gd name="connsiteX4" fmla="*/ 3361768 w 3361769"/>
                <a:gd name="connsiteY4" fmla="*/ 1636294 h 2130323"/>
                <a:gd name="connsiteX5" fmla="*/ 2930786 w 3361769"/>
                <a:gd name="connsiteY5" fmla="*/ 2130323 h 2130323"/>
                <a:gd name="connsiteX6" fmla="*/ 2310681 w 3361769"/>
                <a:gd name="connsiteY6" fmla="*/ 1636291 h 2130323"/>
                <a:gd name="connsiteX7" fmla="*/ 2310681 w 3361769"/>
                <a:gd name="connsiteY7" fmla="*/ 1636291 h 2130323"/>
                <a:gd name="connsiteX8" fmla="*/ 623403 w 3361769"/>
                <a:gd name="connsiteY8" fmla="*/ 1486327 h 2130323"/>
                <a:gd name="connsiteX0" fmla="*/ 623403 w 3361769"/>
                <a:gd name="connsiteY0" fmla="*/ 1447045 h 2091041"/>
                <a:gd name="connsiteX1" fmla="*/ 197172 w 3361769"/>
                <a:gd name="connsiteY1" fmla="*/ 512385 h 2091041"/>
                <a:gd name="connsiteX2" fmla="*/ 1816702 w 3361769"/>
                <a:gd name="connsiteY2" fmla="*/ 124939 h 2091041"/>
                <a:gd name="connsiteX3" fmla="*/ 3361769 w 3361769"/>
                <a:gd name="connsiteY3" fmla="*/ 1597015 h 2091041"/>
                <a:gd name="connsiteX4" fmla="*/ 3361768 w 3361769"/>
                <a:gd name="connsiteY4" fmla="*/ 1597012 h 2091041"/>
                <a:gd name="connsiteX5" fmla="*/ 2930786 w 3361769"/>
                <a:gd name="connsiteY5" fmla="*/ 2091041 h 2091041"/>
                <a:gd name="connsiteX6" fmla="*/ 2310681 w 3361769"/>
                <a:gd name="connsiteY6" fmla="*/ 1597009 h 2091041"/>
                <a:gd name="connsiteX7" fmla="*/ 2310681 w 3361769"/>
                <a:gd name="connsiteY7" fmla="*/ 1597009 h 2091041"/>
                <a:gd name="connsiteX8" fmla="*/ 623403 w 3361769"/>
                <a:gd name="connsiteY8" fmla="*/ 1447045 h 2091041"/>
                <a:gd name="connsiteX0" fmla="*/ 623403 w 3361769"/>
                <a:gd name="connsiteY0" fmla="*/ 1465792 h 2109788"/>
                <a:gd name="connsiteX1" fmla="*/ 197172 w 3361769"/>
                <a:gd name="connsiteY1" fmla="*/ 531132 h 2109788"/>
                <a:gd name="connsiteX2" fmla="*/ 1816702 w 3361769"/>
                <a:gd name="connsiteY2" fmla="*/ 143686 h 2109788"/>
                <a:gd name="connsiteX3" fmla="*/ 3361769 w 3361769"/>
                <a:gd name="connsiteY3" fmla="*/ 1615762 h 2109788"/>
                <a:gd name="connsiteX4" fmla="*/ 3361768 w 3361769"/>
                <a:gd name="connsiteY4" fmla="*/ 1615759 h 2109788"/>
                <a:gd name="connsiteX5" fmla="*/ 2930786 w 3361769"/>
                <a:gd name="connsiteY5" fmla="*/ 2109788 h 2109788"/>
                <a:gd name="connsiteX6" fmla="*/ 2310681 w 3361769"/>
                <a:gd name="connsiteY6" fmla="*/ 1615756 h 2109788"/>
                <a:gd name="connsiteX7" fmla="*/ 2310681 w 3361769"/>
                <a:gd name="connsiteY7" fmla="*/ 1615756 h 2109788"/>
                <a:gd name="connsiteX8" fmla="*/ 623403 w 3361769"/>
                <a:gd name="connsiteY8" fmla="*/ 1465792 h 2109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61769" h="2109788">
                  <a:moveTo>
                    <a:pt x="623403" y="1465792"/>
                  </a:moveTo>
                  <a:cubicBezTo>
                    <a:pt x="205992" y="1348376"/>
                    <a:pt x="0" y="751954"/>
                    <a:pt x="197172" y="531132"/>
                  </a:cubicBezTo>
                  <a:cubicBezTo>
                    <a:pt x="513286" y="253809"/>
                    <a:pt x="1175227" y="0"/>
                    <a:pt x="1816702" y="143686"/>
                  </a:cubicBezTo>
                  <a:cubicBezTo>
                    <a:pt x="2552113" y="296005"/>
                    <a:pt x="3171197" y="865290"/>
                    <a:pt x="3361769" y="1615762"/>
                  </a:cubicBezTo>
                  <a:cubicBezTo>
                    <a:pt x="3361769" y="1615761"/>
                    <a:pt x="3361768" y="1615760"/>
                    <a:pt x="3361768" y="1615759"/>
                  </a:cubicBezTo>
                  <a:lnTo>
                    <a:pt x="2930786" y="2109788"/>
                  </a:lnTo>
                  <a:lnTo>
                    <a:pt x="2310681" y="1615756"/>
                  </a:lnTo>
                  <a:lnTo>
                    <a:pt x="2310681" y="1615756"/>
                  </a:lnTo>
                  <a:cubicBezTo>
                    <a:pt x="2039577" y="1124957"/>
                    <a:pt x="1201679" y="873752"/>
                    <a:pt x="623403" y="1465792"/>
                  </a:cubicBezTo>
                  <a:close/>
                </a:path>
              </a:pathLst>
            </a:custGeom>
            <a:solidFill>
              <a:schemeClr val="bg2"/>
            </a:solidFill>
            <a:ln>
              <a:solidFill>
                <a:schemeClr val="tx2"/>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985" tIns="89985" rIns="89985" bIns="89985" numCol="1" spcCol="1270" anchor="ctr" anchorCtr="0">
              <a:noAutofit/>
            </a:bodyPr>
            <a:lstStyle/>
            <a:p>
              <a:pPr algn="ctr" defTabSz="666694">
                <a:lnSpc>
                  <a:spcPct val="90000"/>
                </a:lnSpc>
                <a:spcBef>
                  <a:spcPct val="0"/>
                </a:spcBef>
                <a:spcAft>
                  <a:spcPct val="35000"/>
                </a:spcAft>
              </a:pPr>
              <a:endParaRPr lang="en-US" sz="1500">
                <a:solidFill>
                  <a:schemeClr val="tx1"/>
                </a:solidFill>
                <a:sym typeface="Segoe UI"/>
              </a:endParaRPr>
            </a:p>
          </p:txBody>
        </p:sp>
        <p:sp>
          <p:nvSpPr>
            <p:cNvPr id="37" name="Freeform 36"/>
            <p:cNvSpPr/>
            <p:nvPr>
              <p:custDataLst>
                <p:tags r:id="rId14"/>
              </p:custDataLst>
            </p:nvPr>
          </p:nvSpPr>
          <p:spPr>
            <a:xfrm rot="15527030">
              <a:off x="5670710" y="2145701"/>
              <a:ext cx="2136857" cy="1371451"/>
            </a:xfrm>
            <a:custGeom>
              <a:avLst/>
              <a:gdLst>
                <a:gd name="connsiteX0" fmla="*/ 348547 w 4038600"/>
                <a:gd name="connsiteY0" fmla="*/ 906891 h 4038600"/>
                <a:gd name="connsiteX1" fmla="*/ 2357628 w 4038600"/>
                <a:gd name="connsiteY1" fmla="*/ 40815 h 4038600"/>
                <a:gd name="connsiteX2" fmla="*/ 3964758 w 4038600"/>
                <a:gd name="connsiteY2" fmla="*/ 1525277 h 4038600"/>
                <a:gd name="connsiteX3" fmla="*/ 3964757 w 4038600"/>
                <a:gd name="connsiteY3" fmla="*/ 1525274 h 4038600"/>
                <a:gd name="connsiteX4" fmla="*/ 3533775 w 4038600"/>
                <a:gd name="connsiteY4" fmla="*/ 2019303 h 4038600"/>
                <a:gd name="connsiteX5" fmla="*/ 2913670 w 4038600"/>
                <a:gd name="connsiteY5" fmla="*/ 1525271 h 4038600"/>
                <a:gd name="connsiteX6" fmla="*/ 2913670 w 4038600"/>
                <a:gd name="connsiteY6" fmla="*/ 1525271 h 4038600"/>
                <a:gd name="connsiteX7" fmla="*/ 2061559 w 4038600"/>
                <a:gd name="connsiteY7" fmla="*/ 998426 h 4038600"/>
                <a:gd name="connsiteX8" fmla="*/ 1168818 w 4038600"/>
                <a:gd name="connsiteY8" fmla="*/ 1453038 h 4038600"/>
                <a:gd name="connsiteX9" fmla="*/ 348547 w 4038600"/>
                <a:gd name="connsiteY9" fmla="*/ 906891 h 4038600"/>
                <a:gd name="connsiteX0" fmla="*/ 0 w 3616211"/>
                <a:gd name="connsiteY0" fmla="*/ 999801 h 2112213"/>
                <a:gd name="connsiteX1" fmla="*/ 2009081 w 3616211"/>
                <a:gd name="connsiteY1" fmla="*/ 133725 h 2112213"/>
                <a:gd name="connsiteX2" fmla="*/ 3616211 w 3616211"/>
                <a:gd name="connsiteY2" fmla="*/ 1618187 h 2112213"/>
                <a:gd name="connsiteX3" fmla="*/ 3616210 w 3616211"/>
                <a:gd name="connsiteY3" fmla="*/ 1618184 h 2112213"/>
                <a:gd name="connsiteX4" fmla="*/ 3185228 w 3616211"/>
                <a:gd name="connsiteY4" fmla="*/ 2112213 h 2112213"/>
                <a:gd name="connsiteX5" fmla="*/ 2565123 w 3616211"/>
                <a:gd name="connsiteY5" fmla="*/ 1618181 h 2112213"/>
                <a:gd name="connsiteX6" fmla="*/ 2565123 w 3616211"/>
                <a:gd name="connsiteY6" fmla="*/ 1618181 h 2112213"/>
                <a:gd name="connsiteX7" fmla="*/ 1713012 w 3616211"/>
                <a:gd name="connsiteY7" fmla="*/ 1091336 h 2112213"/>
                <a:gd name="connsiteX8" fmla="*/ 820271 w 3616211"/>
                <a:gd name="connsiteY8" fmla="*/ 1545948 h 2112213"/>
                <a:gd name="connsiteX9" fmla="*/ 842336 w 3616211"/>
                <a:gd name="connsiteY9" fmla="*/ 883669 h 2112213"/>
                <a:gd name="connsiteX10" fmla="*/ 0 w 3616211"/>
                <a:gd name="connsiteY10" fmla="*/ 999801 h 2112213"/>
                <a:gd name="connsiteX0" fmla="*/ 0 w 3153747"/>
                <a:gd name="connsiteY0" fmla="*/ 660371 h 2263706"/>
                <a:gd name="connsiteX1" fmla="*/ 1546617 w 3153747"/>
                <a:gd name="connsiteY1" fmla="*/ 285218 h 2263706"/>
                <a:gd name="connsiteX2" fmla="*/ 3153747 w 3153747"/>
                <a:gd name="connsiteY2" fmla="*/ 1769680 h 2263706"/>
                <a:gd name="connsiteX3" fmla="*/ 3153746 w 3153747"/>
                <a:gd name="connsiteY3" fmla="*/ 1769677 h 2263706"/>
                <a:gd name="connsiteX4" fmla="*/ 2722764 w 3153747"/>
                <a:gd name="connsiteY4" fmla="*/ 2263706 h 2263706"/>
                <a:gd name="connsiteX5" fmla="*/ 2102659 w 3153747"/>
                <a:gd name="connsiteY5" fmla="*/ 1769674 h 2263706"/>
                <a:gd name="connsiteX6" fmla="*/ 2102659 w 3153747"/>
                <a:gd name="connsiteY6" fmla="*/ 1769674 h 2263706"/>
                <a:gd name="connsiteX7" fmla="*/ 1250548 w 3153747"/>
                <a:gd name="connsiteY7" fmla="*/ 1242829 h 2263706"/>
                <a:gd name="connsiteX8" fmla="*/ 357807 w 3153747"/>
                <a:gd name="connsiteY8" fmla="*/ 1697441 h 2263706"/>
                <a:gd name="connsiteX9" fmla="*/ 379872 w 3153747"/>
                <a:gd name="connsiteY9" fmla="*/ 1035162 h 2263706"/>
                <a:gd name="connsiteX10" fmla="*/ 0 w 3153747"/>
                <a:gd name="connsiteY10" fmla="*/ 660371 h 2263706"/>
                <a:gd name="connsiteX0" fmla="*/ 0 w 3279076"/>
                <a:gd name="connsiteY0" fmla="*/ 662326 h 2142915"/>
                <a:gd name="connsiteX1" fmla="*/ 1671946 w 3279076"/>
                <a:gd name="connsiteY1" fmla="*/ 164427 h 2142915"/>
                <a:gd name="connsiteX2" fmla="*/ 3279076 w 3279076"/>
                <a:gd name="connsiteY2" fmla="*/ 1648889 h 2142915"/>
                <a:gd name="connsiteX3" fmla="*/ 3279075 w 3279076"/>
                <a:gd name="connsiteY3" fmla="*/ 1648886 h 2142915"/>
                <a:gd name="connsiteX4" fmla="*/ 2848093 w 3279076"/>
                <a:gd name="connsiteY4" fmla="*/ 2142915 h 2142915"/>
                <a:gd name="connsiteX5" fmla="*/ 2227988 w 3279076"/>
                <a:gd name="connsiteY5" fmla="*/ 1648883 h 2142915"/>
                <a:gd name="connsiteX6" fmla="*/ 2227988 w 3279076"/>
                <a:gd name="connsiteY6" fmla="*/ 1648883 h 2142915"/>
                <a:gd name="connsiteX7" fmla="*/ 1375877 w 3279076"/>
                <a:gd name="connsiteY7" fmla="*/ 1122038 h 2142915"/>
                <a:gd name="connsiteX8" fmla="*/ 483136 w 3279076"/>
                <a:gd name="connsiteY8" fmla="*/ 1576650 h 2142915"/>
                <a:gd name="connsiteX9" fmla="*/ 505201 w 3279076"/>
                <a:gd name="connsiteY9" fmla="*/ 914371 h 2142915"/>
                <a:gd name="connsiteX10" fmla="*/ 0 w 3279076"/>
                <a:gd name="connsiteY10" fmla="*/ 662326 h 2142915"/>
                <a:gd name="connsiteX0" fmla="*/ 0 w 3279076"/>
                <a:gd name="connsiteY0" fmla="*/ 662326 h 2142915"/>
                <a:gd name="connsiteX1" fmla="*/ 1671946 w 3279076"/>
                <a:gd name="connsiteY1" fmla="*/ 164427 h 2142915"/>
                <a:gd name="connsiteX2" fmla="*/ 3279076 w 3279076"/>
                <a:gd name="connsiteY2" fmla="*/ 1648889 h 2142915"/>
                <a:gd name="connsiteX3" fmla="*/ 3279075 w 3279076"/>
                <a:gd name="connsiteY3" fmla="*/ 1648886 h 2142915"/>
                <a:gd name="connsiteX4" fmla="*/ 2848093 w 3279076"/>
                <a:gd name="connsiteY4" fmla="*/ 2142915 h 2142915"/>
                <a:gd name="connsiteX5" fmla="*/ 2227988 w 3279076"/>
                <a:gd name="connsiteY5" fmla="*/ 1648883 h 2142915"/>
                <a:gd name="connsiteX6" fmla="*/ 2227988 w 3279076"/>
                <a:gd name="connsiteY6" fmla="*/ 1648883 h 2142915"/>
                <a:gd name="connsiteX7" fmla="*/ 1375877 w 3279076"/>
                <a:gd name="connsiteY7" fmla="*/ 1122038 h 2142915"/>
                <a:gd name="connsiteX8" fmla="*/ 483136 w 3279076"/>
                <a:gd name="connsiteY8" fmla="*/ 1576650 h 2142915"/>
                <a:gd name="connsiteX9" fmla="*/ 505201 w 3279076"/>
                <a:gd name="connsiteY9" fmla="*/ 914371 h 2142915"/>
                <a:gd name="connsiteX10" fmla="*/ 0 w 3279076"/>
                <a:gd name="connsiteY10" fmla="*/ 662326 h 2142915"/>
                <a:gd name="connsiteX0" fmla="*/ 0 w 3279076"/>
                <a:gd name="connsiteY0" fmla="*/ 662326 h 2142915"/>
                <a:gd name="connsiteX1" fmla="*/ 1671946 w 3279076"/>
                <a:gd name="connsiteY1" fmla="*/ 164427 h 2142915"/>
                <a:gd name="connsiteX2" fmla="*/ 3279076 w 3279076"/>
                <a:gd name="connsiteY2" fmla="*/ 1648889 h 2142915"/>
                <a:gd name="connsiteX3" fmla="*/ 3279075 w 3279076"/>
                <a:gd name="connsiteY3" fmla="*/ 1648886 h 2142915"/>
                <a:gd name="connsiteX4" fmla="*/ 2848093 w 3279076"/>
                <a:gd name="connsiteY4" fmla="*/ 2142915 h 2142915"/>
                <a:gd name="connsiteX5" fmla="*/ 2227988 w 3279076"/>
                <a:gd name="connsiteY5" fmla="*/ 1648883 h 2142915"/>
                <a:gd name="connsiteX6" fmla="*/ 2227988 w 3279076"/>
                <a:gd name="connsiteY6" fmla="*/ 1648883 h 2142915"/>
                <a:gd name="connsiteX7" fmla="*/ 1375877 w 3279076"/>
                <a:gd name="connsiteY7" fmla="*/ 1122038 h 2142915"/>
                <a:gd name="connsiteX8" fmla="*/ 483136 w 3279076"/>
                <a:gd name="connsiteY8" fmla="*/ 1576650 h 2142915"/>
                <a:gd name="connsiteX9" fmla="*/ 505201 w 3279076"/>
                <a:gd name="connsiteY9" fmla="*/ 914371 h 2142915"/>
                <a:gd name="connsiteX10" fmla="*/ 0 w 3279076"/>
                <a:gd name="connsiteY10" fmla="*/ 662326 h 2142915"/>
                <a:gd name="connsiteX0" fmla="*/ 0 w 3279076"/>
                <a:gd name="connsiteY0" fmla="*/ 662326 h 2142915"/>
                <a:gd name="connsiteX1" fmla="*/ 1671946 w 3279076"/>
                <a:gd name="connsiteY1" fmla="*/ 164427 h 2142915"/>
                <a:gd name="connsiteX2" fmla="*/ 3279076 w 3279076"/>
                <a:gd name="connsiteY2" fmla="*/ 1648889 h 2142915"/>
                <a:gd name="connsiteX3" fmla="*/ 3279075 w 3279076"/>
                <a:gd name="connsiteY3" fmla="*/ 1648886 h 2142915"/>
                <a:gd name="connsiteX4" fmla="*/ 2848093 w 3279076"/>
                <a:gd name="connsiteY4" fmla="*/ 2142915 h 2142915"/>
                <a:gd name="connsiteX5" fmla="*/ 2227988 w 3279076"/>
                <a:gd name="connsiteY5" fmla="*/ 1648883 h 2142915"/>
                <a:gd name="connsiteX6" fmla="*/ 2227988 w 3279076"/>
                <a:gd name="connsiteY6" fmla="*/ 1648883 h 2142915"/>
                <a:gd name="connsiteX7" fmla="*/ 1375877 w 3279076"/>
                <a:gd name="connsiteY7" fmla="*/ 1122038 h 2142915"/>
                <a:gd name="connsiteX8" fmla="*/ 483136 w 3279076"/>
                <a:gd name="connsiteY8" fmla="*/ 1576650 h 2142915"/>
                <a:gd name="connsiteX9" fmla="*/ 505201 w 3279076"/>
                <a:gd name="connsiteY9" fmla="*/ 914371 h 2142915"/>
                <a:gd name="connsiteX10" fmla="*/ 0 w 3279076"/>
                <a:gd name="connsiteY10" fmla="*/ 662326 h 2142915"/>
                <a:gd name="connsiteX0" fmla="*/ 0 w 3279076"/>
                <a:gd name="connsiteY0" fmla="*/ 662326 h 2142915"/>
                <a:gd name="connsiteX1" fmla="*/ 1671946 w 3279076"/>
                <a:gd name="connsiteY1" fmla="*/ 164427 h 2142915"/>
                <a:gd name="connsiteX2" fmla="*/ 3279076 w 3279076"/>
                <a:gd name="connsiteY2" fmla="*/ 1648889 h 2142915"/>
                <a:gd name="connsiteX3" fmla="*/ 3279075 w 3279076"/>
                <a:gd name="connsiteY3" fmla="*/ 1648886 h 2142915"/>
                <a:gd name="connsiteX4" fmla="*/ 2848093 w 3279076"/>
                <a:gd name="connsiteY4" fmla="*/ 2142915 h 2142915"/>
                <a:gd name="connsiteX5" fmla="*/ 2227988 w 3279076"/>
                <a:gd name="connsiteY5" fmla="*/ 1648883 h 2142915"/>
                <a:gd name="connsiteX6" fmla="*/ 2227988 w 3279076"/>
                <a:gd name="connsiteY6" fmla="*/ 1648883 h 2142915"/>
                <a:gd name="connsiteX7" fmla="*/ 1375877 w 3279076"/>
                <a:gd name="connsiteY7" fmla="*/ 1122038 h 2142915"/>
                <a:gd name="connsiteX8" fmla="*/ 483136 w 3279076"/>
                <a:gd name="connsiteY8" fmla="*/ 1576650 h 2142915"/>
                <a:gd name="connsiteX9" fmla="*/ 505201 w 3279076"/>
                <a:gd name="connsiteY9" fmla="*/ 914371 h 2142915"/>
                <a:gd name="connsiteX10" fmla="*/ 0 w 3279076"/>
                <a:gd name="connsiteY10" fmla="*/ 662326 h 2142915"/>
                <a:gd name="connsiteX0" fmla="*/ 0 w 3279076"/>
                <a:gd name="connsiteY0" fmla="*/ 662326 h 2142915"/>
                <a:gd name="connsiteX1" fmla="*/ 1671946 w 3279076"/>
                <a:gd name="connsiteY1" fmla="*/ 164427 h 2142915"/>
                <a:gd name="connsiteX2" fmla="*/ 3279076 w 3279076"/>
                <a:gd name="connsiteY2" fmla="*/ 1648889 h 2142915"/>
                <a:gd name="connsiteX3" fmla="*/ 3279075 w 3279076"/>
                <a:gd name="connsiteY3" fmla="*/ 1648886 h 2142915"/>
                <a:gd name="connsiteX4" fmla="*/ 2848093 w 3279076"/>
                <a:gd name="connsiteY4" fmla="*/ 2142915 h 2142915"/>
                <a:gd name="connsiteX5" fmla="*/ 2227988 w 3279076"/>
                <a:gd name="connsiteY5" fmla="*/ 1648883 h 2142915"/>
                <a:gd name="connsiteX6" fmla="*/ 2227988 w 3279076"/>
                <a:gd name="connsiteY6" fmla="*/ 1648883 h 2142915"/>
                <a:gd name="connsiteX7" fmla="*/ 1375877 w 3279076"/>
                <a:gd name="connsiteY7" fmla="*/ 1122038 h 2142915"/>
                <a:gd name="connsiteX8" fmla="*/ 483136 w 3279076"/>
                <a:gd name="connsiteY8" fmla="*/ 1576650 h 2142915"/>
                <a:gd name="connsiteX9" fmla="*/ 505201 w 3279076"/>
                <a:gd name="connsiteY9" fmla="*/ 914371 h 2142915"/>
                <a:gd name="connsiteX10" fmla="*/ 0 w 3279076"/>
                <a:gd name="connsiteY10" fmla="*/ 662326 h 2142915"/>
                <a:gd name="connsiteX0" fmla="*/ 0 w 3279076"/>
                <a:gd name="connsiteY0" fmla="*/ 623947 h 2104536"/>
                <a:gd name="connsiteX1" fmla="*/ 1671946 w 3279076"/>
                <a:gd name="connsiteY1" fmla="*/ 126048 h 2104536"/>
                <a:gd name="connsiteX2" fmla="*/ 3279076 w 3279076"/>
                <a:gd name="connsiteY2" fmla="*/ 1610510 h 2104536"/>
                <a:gd name="connsiteX3" fmla="*/ 3279075 w 3279076"/>
                <a:gd name="connsiteY3" fmla="*/ 1610507 h 2104536"/>
                <a:gd name="connsiteX4" fmla="*/ 2848093 w 3279076"/>
                <a:gd name="connsiteY4" fmla="*/ 2104536 h 2104536"/>
                <a:gd name="connsiteX5" fmla="*/ 2227988 w 3279076"/>
                <a:gd name="connsiteY5" fmla="*/ 1610504 h 2104536"/>
                <a:gd name="connsiteX6" fmla="*/ 2227988 w 3279076"/>
                <a:gd name="connsiteY6" fmla="*/ 1610504 h 2104536"/>
                <a:gd name="connsiteX7" fmla="*/ 1375877 w 3279076"/>
                <a:gd name="connsiteY7" fmla="*/ 1083659 h 2104536"/>
                <a:gd name="connsiteX8" fmla="*/ 483136 w 3279076"/>
                <a:gd name="connsiteY8" fmla="*/ 1538271 h 2104536"/>
                <a:gd name="connsiteX9" fmla="*/ 505201 w 3279076"/>
                <a:gd name="connsiteY9" fmla="*/ 875992 h 2104536"/>
                <a:gd name="connsiteX10" fmla="*/ 0 w 3279076"/>
                <a:gd name="connsiteY10" fmla="*/ 623947 h 2104536"/>
                <a:gd name="connsiteX0" fmla="*/ 0 w 3279076"/>
                <a:gd name="connsiteY0" fmla="*/ 623947 h 2104536"/>
                <a:gd name="connsiteX1" fmla="*/ 1671946 w 3279076"/>
                <a:gd name="connsiteY1" fmla="*/ 126048 h 2104536"/>
                <a:gd name="connsiteX2" fmla="*/ 3279076 w 3279076"/>
                <a:gd name="connsiteY2" fmla="*/ 1610510 h 2104536"/>
                <a:gd name="connsiteX3" fmla="*/ 3279075 w 3279076"/>
                <a:gd name="connsiteY3" fmla="*/ 1610507 h 2104536"/>
                <a:gd name="connsiteX4" fmla="*/ 2848093 w 3279076"/>
                <a:gd name="connsiteY4" fmla="*/ 2104536 h 2104536"/>
                <a:gd name="connsiteX5" fmla="*/ 2227988 w 3279076"/>
                <a:gd name="connsiteY5" fmla="*/ 1610504 h 2104536"/>
                <a:gd name="connsiteX6" fmla="*/ 2227988 w 3279076"/>
                <a:gd name="connsiteY6" fmla="*/ 1610504 h 2104536"/>
                <a:gd name="connsiteX7" fmla="*/ 1375877 w 3279076"/>
                <a:gd name="connsiteY7" fmla="*/ 1083659 h 2104536"/>
                <a:gd name="connsiteX8" fmla="*/ 483136 w 3279076"/>
                <a:gd name="connsiteY8" fmla="*/ 1538271 h 2104536"/>
                <a:gd name="connsiteX9" fmla="*/ 505201 w 3279076"/>
                <a:gd name="connsiteY9" fmla="*/ 875992 h 2104536"/>
                <a:gd name="connsiteX10" fmla="*/ 0 w 3279076"/>
                <a:gd name="connsiteY10" fmla="*/ 623947 h 2104536"/>
                <a:gd name="connsiteX0" fmla="*/ 0 w 3279076"/>
                <a:gd name="connsiteY0" fmla="*/ 623947 h 2104536"/>
                <a:gd name="connsiteX1" fmla="*/ 1671946 w 3279076"/>
                <a:gd name="connsiteY1" fmla="*/ 126048 h 2104536"/>
                <a:gd name="connsiteX2" fmla="*/ 3279076 w 3279076"/>
                <a:gd name="connsiteY2" fmla="*/ 1610510 h 2104536"/>
                <a:gd name="connsiteX3" fmla="*/ 3279075 w 3279076"/>
                <a:gd name="connsiteY3" fmla="*/ 1610507 h 2104536"/>
                <a:gd name="connsiteX4" fmla="*/ 2848093 w 3279076"/>
                <a:gd name="connsiteY4" fmla="*/ 2104536 h 2104536"/>
                <a:gd name="connsiteX5" fmla="*/ 2227988 w 3279076"/>
                <a:gd name="connsiteY5" fmla="*/ 1610504 h 2104536"/>
                <a:gd name="connsiteX6" fmla="*/ 2227988 w 3279076"/>
                <a:gd name="connsiteY6" fmla="*/ 1610504 h 2104536"/>
                <a:gd name="connsiteX7" fmla="*/ 1375877 w 3279076"/>
                <a:gd name="connsiteY7" fmla="*/ 1083659 h 2104536"/>
                <a:gd name="connsiteX8" fmla="*/ 483136 w 3279076"/>
                <a:gd name="connsiteY8" fmla="*/ 1538271 h 2104536"/>
                <a:gd name="connsiteX9" fmla="*/ 505201 w 3279076"/>
                <a:gd name="connsiteY9" fmla="*/ 875992 h 2104536"/>
                <a:gd name="connsiteX10" fmla="*/ 0 w 3279076"/>
                <a:gd name="connsiteY10" fmla="*/ 623947 h 2104536"/>
                <a:gd name="connsiteX0" fmla="*/ 0 w 3279076"/>
                <a:gd name="connsiteY0" fmla="*/ 623947 h 2104536"/>
                <a:gd name="connsiteX1" fmla="*/ 1671946 w 3279076"/>
                <a:gd name="connsiteY1" fmla="*/ 126048 h 2104536"/>
                <a:gd name="connsiteX2" fmla="*/ 3279076 w 3279076"/>
                <a:gd name="connsiteY2" fmla="*/ 1610510 h 2104536"/>
                <a:gd name="connsiteX3" fmla="*/ 3279075 w 3279076"/>
                <a:gd name="connsiteY3" fmla="*/ 1610507 h 2104536"/>
                <a:gd name="connsiteX4" fmla="*/ 2848093 w 3279076"/>
                <a:gd name="connsiteY4" fmla="*/ 2104536 h 2104536"/>
                <a:gd name="connsiteX5" fmla="*/ 2227988 w 3279076"/>
                <a:gd name="connsiteY5" fmla="*/ 1610504 h 2104536"/>
                <a:gd name="connsiteX6" fmla="*/ 2227988 w 3279076"/>
                <a:gd name="connsiteY6" fmla="*/ 1610504 h 2104536"/>
                <a:gd name="connsiteX7" fmla="*/ 1375877 w 3279076"/>
                <a:gd name="connsiteY7" fmla="*/ 1083659 h 2104536"/>
                <a:gd name="connsiteX8" fmla="*/ 483136 w 3279076"/>
                <a:gd name="connsiteY8" fmla="*/ 1538271 h 2104536"/>
                <a:gd name="connsiteX9" fmla="*/ 505201 w 3279076"/>
                <a:gd name="connsiteY9" fmla="*/ 875992 h 2104536"/>
                <a:gd name="connsiteX10" fmla="*/ 0 w 3279076"/>
                <a:gd name="connsiteY10" fmla="*/ 623947 h 2104536"/>
                <a:gd name="connsiteX0" fmla="*/ 0 w 3279076"/>
                <a:gd name="connsiteY0" fmla="*/ 623947 h 2104536"/>
                <a:gd name="connsiteX1" fmla="*/ 1671946 w 3279076"/>
                <a:gd name="connsiteY1" fmla="*/ 126048 h 2104536"/>
                <a:gd name="connsiteX2" fmla="*/ 3279076 w 3279076"/>
                <a:gd name="connsiteY2" fmla="*/ 1610510 h 2104536"/>
                <a:gd name="connsiteX3" fmla="*/ 3279075 w 3279076"/>
                <a:gd name="connsiteY3" fmla="*/ 1610507 h 2104536"/>
                <a:gd name="connsiteX4" fmla="*/ 2848093 w 3279076"/>
                <a:gd name="connsiteY4" fmla="*/ 2104536 h 2104536"/>
                <a:gd name="connsiteX5" fmla="*/ 2227988 w 3279076"/>
                <a:gd name="connsiteY5" fmla="*/ 1610504 h 2104536"/>
                <a:gd name="connsiteX6" fmla="*/ 2227988 w 3279076"/>
                <a:gd name="connsiteY6" fmla="*/ 1610504 h 2104536"/>
                <a:gd name="connsiteX7" fmla="*/ 1375877 w 3279076"/>
                <a:gd name="connsiteY7" fmla="*/ 1083659 h 2104536"/>
                <a:gd name="connsiteX8" fmla="*/ 483136 w 3279076"/>
                <a:gd name="connsiteY8" fmla="*/ 1538271 h 2104536"/>
                <a:gd name="connsiteX9" fmla="*/ 505201 w 3279076"/>
                <a:gd name="connsiteY9" fmla="*/ 875992 h 2104536"/>
                <a:gd name="connsiteX10" fmla="*/ 0 w 3279076"/>
                <a:gd name="connsiteY10" fmla="*/ 623947 h 2104536"/>
                <a:gd name="connsiteX0" fmla="*/ 0 w 3279076"/>
                <a:gd name="connsiteY0" fmla="*/ 623947 h 2104536"/>
                <a:gd name="connsiteX1" fmla="*/ 1671946 w 3279076"/>
                <a:gd name="connsiteY1" fmla="*/ 126048 h 2104536"/>
                <a:gd name="connsiteX2" fmla="*/ 3279076 w 3279076"/>
                <a:gd name="connsiteY2" fmla="*/ 1610510 h 2104536"/>
                <a:gd name="connsiteX3" fmla="*/ 3279075 w 3279076"/>
                <a:gd name="connsiteY3" fmla="*/ 1610507 h 2104536"/>
                <a:gd name="connsiteX4" fmla="*/ 2848093 w 3279076"/>
                <a:gd name="connsiteY4" fmla="*/ 2104536 h 2104536"/>
                <a:gd name="connsiteX5" fmla="*/ 2227988 w 3279076"/>
                <a:gd name="connsiteY5" fmla="*/ 1610504 h 2104536"/>
                <a:gd name="connsiteX6" fmla="*/ 2227988 w 3279076"/>
                <a:gd name="connsiteY6" fmla="*/ 1610504 h 2104536"/>
                <a:gd name="connsiteX7" fmla="*/ 1375877 w 3279076"/>
                <a:gd name="connsiteY7" fmla="*/ 1083659 h 2104536"/>
                <a:gd name="connsiteX8" fmla="*/ 483136 w 3279076"/>
                <a:gd name="connsiteY8" fmla="*/ 1538271 h 2104536"/>
                <a:gd name="connsiteX9" fmla="*/ 505201 w 3279076"/>
                <a:gd name="connsiteY9" fmla="*/ 875992 h 2104536"/>
                <a:gd name="connsiteX10" fmla="*/ 0 w 3279076"/>
                <a:gd name="connsiteY10" fmla="*/ 623947 h 2104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79076" h="2104536">
                  <a:moveTo>
                    <a:pt x="0" y="623947"/>
                  </a:moveTo>
                  <a:cubicBezTo>
                    <a:pt x="386672" y="216217"/>
                    <a:pt x="1074126" y="0"/>
                    <a:pt x="1671946" y="126048"/>
                  </a:cubicBezTo>
                  <a:cubicBezTo>
                    <a:pt x="2438867" y="280774"/>
                    <a:pt x="3083812" y="841561"/>
                    <a:pt x="3279076" y="1610510"/>
                  </a:cubicBezTo>
                  <a:cubicBezTo>
                    <a:pt x="3279076" y="1610509"/>
                    <a:pt x="3279075" y="1610508"/>
                    <a:pt x="3279075" y="1610507"/>
                  </a:cubicBezTo>
                  <a:lnTo>
                    <a:pt x="2848093" y="2104536"/>
                  </a:lnTo>
                  <a:lnTo>
                    <a:pt x="2227988" y="1610504"/>
                  </a:lnTo>
                  <a:lnTo>
                    <a:pt x="2227988" y="1610504"/>
                  </a:lnTo>
                  <a:cubicBezTo>
                    <a:pt x="2055444" y="1298135"/>
                    <a:pt x="1732428" y="1098420"/>
                    <a:pt x="1375877" y="1083659"/>
                  </a:cubicBezTo>
                  <a:cubicBezTo>
                    <a:pt x="1028023" y="1057676"/>
                    <a:pt x="722335" y="1230632"/>
                    <a:pt x="483136" y="1538271"/>
                  </a:cubicBezTo>
                  <a:lnTo>
                    <a:pt x="505201" y="875992"/>
                  </a:lnTo>
                  <a:lnTo>
                    <a:pt x="0" y="623947"/>
                  </a:lnTo>
                  <a:close/>
                </a:path>
              </a:pathLst>
            </a:custGeom>
            <a:solidFill>
              <a:schemeClr val="tx2"/>
            </a:solidFill>
            <a:ln>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985" tIns="89985" rIns="89985" bIns="89985" numCol="1" spcCol="1270" anchor="ctr" anchorCtr="0">
              <a:noAutofit/>
            </a:bodyPr>
            <a:lstStyle/>
            <a:p>
              <a:pPr algn="ctr" defTabSz="666694">
                <a:lnSpc>
                  <a:spcPct val="90000"/>
                </a:lnSpc>
                <a:spcBef>
                  <a:spcPct val="0"/>
                </a:spcBef>
                <a:spcAft>
                  <a:spcPct val="35000"/>
                </a:spcAft>
              </a:pPr>
              <a:endParaRPr lang="en-US" sz="1500">
                <a:solidFill>
                  <a:schemeClr val="tx1"/>
                </a:solidFill>
                <a:sym typeface="Segoe UI"/>
              </a:endParaRPr>
            </a:p>
          </p:txBody>
        </p:sp>
        <p:sp>
          <p:nvSpPr>
            <p:cNvPr id="38" name="Rectangle 37"/>
            <p:cNvSpPr/>
            <p:nvPr>
              <p:custDataLst>
                <p:tags r:id="rId15"/>
              </p:custDataLst>
            </p:nvPr>
          </p:nvSpPr>
          <p:spPr>
            <a:xfrm rot="2162626">
              <a:off x="7187797" y="2096550"/>
              <a:ext cx="1117854" cy="729812"/>
            </a:xfrm>
            <a:prstGeom prst="rect">
              <a:avLst/>
            </a:prstGeom>
          </p:spPr>
          <p:txBody>
            <a:bodyPr wrap="none">
              <a:prstTxWarp prst="textArchUp">
                <a:avLst/>
              </a:prstTxWarp>
              <a:spAutoFit/>
            </a:bodyPr>
            <a:lstStyle/>
            <a:p>
              <a:pPr algn="ctr" defTabSz="666694">
                <a:lnSpc>
                  <a:spcPct val="90000"/>
                </a:lnSpc>
                <a:spcBef>
                  <a:spcPct val="0"/>
                </a:spcBef>
                <a:spcAft>
                  <a:spcPct val="35000"/>
                </a:spcAft>
              </a:pPr>
              <a:r>
                <a:rPr lang="en-US" dirty="0">
                  <a:solidFill>
                    <a:schemeClr val="tx2"/>
                  </a:solidFill>
                  <a:sym typeface="Segoe UI"/>
                </a:rPr>
                <a:t>Assess</a:t>
              </a:r>
            </a:p>
          </p:txBody>
        </p:sp>
        <p:sp>
          <p:nvSpPr>
            <p:cNvPr id="39" name="Rectangle 38"/>
            <p:cNvSpPr/>
            <p:nvPr>
              <p:custDataLst>
                <p:tags r:id="rId16"/>
              </p:custDataLst>
            </p:nvPr>
          </p:nvSpPr>
          <p:spPr>
            <a:xfrm rot="9194893">
              <a:off x="7094349" y="2947799"/>
              <a:ext cx="1117854" cy="729812"/>
            </a:xfrm>
            <a:prstGeom prst="rect">
              <a:avLst/>
            </a:prstGeom>
          </p:spPr>
          <p:txBody>
            <a:bodyPr wrap="none">
              <a:prstTxWarp prst="textArchUp">
                <a:avLst/>
              </a:prstTxWarp>
              <a:spAutoFit/>
            </a:bodyPr>
            <a:lstStyle/>
            <a:p>
              <a:pPr algn="ctr" defTabSz="666694">
                <a:lnSpc>
                  <a:spcPct val="90000"/>
                </a:lnSpc>
                <a:spcBef>
                  <a:spcPct val="0"/>
                </a:spcBef>
                <a:spcAft>
                  <a:spcPct val="35000"/>
                </a:spcAft>
              </a:pPr>
              <a:r>
                <a:rPr lang="en-US" dirty="0">
                  <a:sym typeface="Segoe UI"/>
                </a:rPr>
                <a:t>Plan</a:t>
              </a:r>
            </a:p>
          </p:txBody>
        </p:sp>
        <p:sp>
          <p:nvSpPr>
            <p:cNvPr id="40" name="Rectangle 39"/>
            <p:cNvSpPr/>
            <p:nvPr>
              <p:custDataLst>
                <p:tags r:id="rId17"/>
              </p:custDataLst>
            </p:nvPr>
          </p:nvSpPr>
          <p:spPr>
            <a:xfrm rot="5809634">
              <a:off x="6080312" y="2245638"/>
              <a:ext cx="1790699" cy="1171577"/>
            </a:xfrm>
            <a:prstGeom prst="rect">
              <a:avLst/>
            </a:prstGeom>
          </p:spPr>
          <p:txBody>
            <a:bodyPr wrap="none">
              <a:prstTxWarp prst="textArchDown">
                <a:avLst/>
              </a:prstTxWarp>
              <a:spAutoFit/>
            </a:bodyPr>
            <a:lstStyle/>
            <a:p>
              <a:pPr algn="ctr" defTabSz="666694">
                <a:lnSpc>
                  <a:spcPct val="90000"/>
                </a:lnSpc>
                <a:spcBef>
                  <a:spcPct val="0"/>
                </a:spcBef>
                <a:spcAft>
                  <a:spcPct val="35000"/>
                </a:spcAft>
              </a:pPr>
              <a:r>
                <a:rPr lang="en-US" dirty="0">
                  <a:sym typeface="Segoe UI"/>
                </a:rPr>
                <a:t>Realize Value</a:t>
              </a:r>
            </a:p>
          </p:txBody>
        </p:sp>
      </p:grpSp>
      <p:sp>
        <p:nvSpPr>
          <p:cNvPr id="26" name="Rectangle 25"/>
          <p:cNvSpPr/>
          <p:nvPr>
            <p:custDataLst>
              <p:tags r:id="rId3"/>
            </p:custDataLst>
          </p:nvPr>
        </p:nvSpPr>
        <p:spPr bwMode="auto">
          <a:xfrm>
            <a:off x="388939" y="3286400"/>
            <a:ext cx="4218316" cy="1297977"/>
          </a:xfrm>
          <a:prstGeom prst="rect">
            <a:avLst/>
          </a:prstGeom>
          <a:solidFill>
            <a:schemeClr val="accent5"/>
          </a:solidFill>
          <a:ln w="9525" cap="flat" cmpd="sng" algn="ctr">
            <a:noFill/>
            <a:prstDash val="solid"/>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45716" tIns="45716" rIns="45716" bIns="45716" numCol="1" rtlCol="0" anchor="b" anchorCtr="0" compatLnSpc="1">
            <a:prstTxWarp prst="textNoShape">
              <a:avLst/>
            </a:prstTxWarp>
          </a:bodyPr>
          <a:lstStyle/>
          <a:p>
            <a:pPr algn="ctr" defTabSz="914023" fontAlgn="base">
              <a:spcBef>
                <a:spcPct val="0"/>
              </a:spcBef>
              <a:spcAft>
                <a:spcPct val="0"/>
              </a:spcAft>
            </a:pPr>
            <a:r>
              <a:rPr lang="en-US" dirty="0">
                <a:solidFill>
                  <a:schemeClr val="tx1"/>
                </a:solidFill>
                <a:sym typeface="Segoe UI"/>
              </a:rPr>
              <a:t>Manage the Important</a:t>
            </a:r>
          </a:p>
        </p:txBody>
      </p:sp>
      <p:sp>
        <p:nvSpPr>
          <p:cNvPr id="20" name="Rectangle 19"/>
          <p:cNvSpPr/>
          <p:nvPr>
            <p:custDataLst>
              <p:tags r:id="rId4"/>
            </p:custDataLst>
          </p:nvPr>
        </p:nvSpPr>
        <p:spPr bwMode="auto">
          <a:xfrm>
            <a:off x="377898" y="1078824"/>
            <a:ext cx="1371600" cy="2103120"/>
          </a:xfrm>
          <a:prstGeom prst="rect">
            <a:avLst/>
          </a:prstGeom>
          <a:solidFill>
            <a:schemeClr val="tx2"/>
          </a:solidFill>
          <a:ln w="9525" cap="flat" cmpd="sng" algn="ctr">
            <a:noFill/>
            <a:prstDash val="solid"/>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34294" tIns="34294" rIns="34294" bIns="34294" numCol="1" rtlCol="0" anchor="b" anchorCtr="0" compatLnSpc="1">
            <a:prstTxWarp prst="textNoShape">
              <a:avLst/>
            </a:prstTxWarp>
          </a:bodyPr>
          <a:lstStyle/>
          <a:p>
            <a:pPr algn="ctr" defTabSz="914023" fontAlgn="base">
              <a:spcBef>
                <a:spcPct val="0"/>
              </a:spcBef>
              <a:spcAft>
                <a:spcPct val="0"/>
              </a:spcAft>
            </a:pPr>
            <a:r>
              <a:rPr lang="en-US" dirty="0">
                <a:solidFill>
                  <a:schemeClr val="tx1"/>
                </a:solidFill>
                <a:sym typeface="Segoe UI"/>
              </a:rPr>
              <a:t>Govern</a:t>
            </a:r>
          </a:p>
        </p:txBody>
      </p:sp>
      <p:sp>
        <p:nvSpPr>
          <p:cNvPr id="32" name="Rectangle 31"/>
          <p:cNvSpPr/>
          <p:nvPr>
            <p:custDataLst>
              <p:tags r:id="rId5"/>
            </p:custDataLst>
          </p:nvPr>
        </p:nvSpPr>
        <p:spPr bwMode="auto">
          <a:xfrm>
            <a:off x="3235654" y="1078824"/>
            <a:ext cx="1371600" cy="2103120"/>
          </a:xfrm>
          <a:prstGeom prst="rect">
            <a:avLst/>
          </a:prstGeom>
          <a:solidFill>
            <a:schemeClr val="tx2"/>
          </a:solidFill>
          <a:ln w="9525" cap="flat" cmpd="sng" algn="ctr">
            <a:noFill/>
            <a:prstDash val="solid"/>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34294" tIns="34294" rIns="34294" bIns="34294" numCol="1" rtlCol="0" anchor="b" anchorCtr="0" compatLnSpc="1">
            <a:prstTxWarp prst="textNoShape">
              <a:avLst/>
            </a:prstTxWarp>
          </a:bodyPr>
          <a:lstStyle/>
          <a:p>
            <a:pPr algn="ctr" defTabSz="914023" fontAlgn="base">
              <a:spcBef>
                <a:spcPct val="0"/>
              </a:spcBef>
              <a:spcAft>
                <a:spcPct val="0"/>
              </a:spcAft>
            </a:pPr>
            <a:r>
              <a:rPr lang="en-US" dirty="0">
                <a:solidFill>
                  <a:schemeClr val="tx1"/>
                </a:solidFill>
                <a:sym typeface="Segoe UI"/>
              </a:rPr>
              <a:t>Innovation</a:t>
            </a:r>
          </a:p>
        </p:txBody>
      </p:sp>
      <p:grpSp>
        <p:nvGrpSpPr>
          <p:cNvPr id="7" name="Group 6"/>
          <p:cNvGrpSpPr/>
          <p:nvPr/>
        </p:nvGrpSpPr>
        <p:grpSpPr>
          <a:xfrm>
            <a:off x="3611976" y="1129206"/>
            <a:ext cx="618956" cy="1675110"/>
            <a:chOff x="4814714" y="1505608"/>
            <a:chExt cx="825060" cy="2233480"/>
          </a:xfrm>
          <a:solidFill>
            <a:schemeClr val="tx1"/>
          </a:solidFill>
        </p:grpSpPr>
        <p:sp>
          <p:nvSpPr>
            <p:cNvPr id="44" name="Freeform 17"/>
            <p:cNvSpPr>
              <a:spLocks noEditPoints="1"/>
            </p:cNvSpPr>
            <p:nvPr>
              <p:custDataLst>
                <p:tags r:id="rId10"/>
              </p:custDataLst>
            </p:nvPr>
          </p:nvSpPr>
          <p:spPr bwMode="auto">
            <a:xfrm>
              <a:off x="4814714" y="2186304"/>
              <a:ext cx="825060" cy="1552784"/>
            </a:xfrm>
            <a:custGeom>
              <a:avLst/>
              <a:gdLst>
                <a:gd name="T0" fmla="*/ 580 w 1160"/>
                <a:gd name="T1" fmla="*/ 540 h 2287"/>
                <a:gd name="T2" fmla="*/ 731 w 1160"/>
                <a:gd name="T3" fmla="*/ 389 h 2287"/>
                <a:gd name="T4" fmla="*/ 580 w 1160"/>
                <a:gd name="T5" fmla="*/ 237 h 2287"/>
                <a:gd name="T6" fmla="*/ 428 w 1160"/>
                <a:gd name="T7" fmla="*/ 389 h 2287"/>
                <a:gd name="T8" fmla="*/ 580 w 1160"/>
                <a:gd name="T9" fmla="*/ 540 h 2287"/>
                <a:gd name="T10" fmla="*/ 1109 w 1160"/>
                <a:gd name="T11" fmla="*/ 22 h 2287"/>
                <a:gd name="T12" fmla="*/ 1000 w 1160"/>
                <a:gd name="T13" fmla="*/ 51 h 2287"/>
                <a:gd name="T14" fmla="*/ 691 w 1160"/>
                <a:gd name="T15" fmla="*/ 587 h 2287"/>
                <a:gd name="T16" fmla="*/ 469 w 1160"/>
                <a:gd name="T17" fmla="*/ 587 h 2287"/>
                <a:gd name="T18" fmla="*/ 159 w 1160"/>
                <a:gd name="T19" fmla="*/ 51 h 2287"/>
                <a:gd name="T20" fmla="*/ 51 w 1160"/>
                <a:gd name="T21" fmla="*/ 22 h 2287"/>
                <a:gd name="T22" fmla="*/ 22 w 1160"/>
                <a:gd name="T23" fmla="*/ 131 h 2287"/>
                <a:gd name="T24" fmla="*/ 377 w 1160"/>
                <a:gd name="T25" fmla="*/ 745 h 2287"/>
                <a:gd name="T26" fmla="*/ 377 w 1160"/>
                <a:gd name="T27" fmla="*/ 2194 h 2287"/>
                <a:gd name="T28" fmla="*/ 470 w 1160"/>
                <a:gd name="T29" fmla="*/ 2287 h 2287"/>
                <a:gd name="T30" fmla="*/ 562 w 1160"/>
                <a:gd name="T31" fmla="*/ 2194 h 2287"/>
                <a:gd name="T32" fmla="*/ 562 w 1160"/>
                <a:gd name="T33" fmla="*/ 1423 h 2287"/>
                <a:gd name="T34" fmla="*/ 598 w 1160"/>
                <a:gd name="T35" fmla="*/ 1423 h 2287"/>
                <a:gd name="T36" fmla="*/ 598 w 1160"/>
                <a:gd name="T37" fmla="*/ 2194 h 2287"/>
                <a:gd name="T38" fmla="*/ 690 w 1160"/>
                <a:gd name="T39" fmla="*/ 2287 h 2287"/>
                <a:gd name="T40" fmla="*/ 783 w 1160"/>
                <a:gd name="T41" fmla="*/ 2194 h 2287"/>
                <a:gd name="T42" fmla="*/ 783 w 1160"/>
                <a:gd name="T43" fmla="*/ 745 h 2287"/>
                <a:gd name="T44" fmla="*/ 1138 w 1160"/>
                <a:gd name="T45" fmla="*/ 131 h 2287"/>
                <a:gd name="T46" fmla="*/ 1109 w 1160"/>
                <a:gd name="T47" fmla="*/ 22 h 2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60" h="2287">
                  <a:moveTo>
                    <a:pt x="580" y="540"/>
                  </a:moveTo>
                  <a:cubicBezTo>
                    <a:pt x="664" y="540"/>
                    <a:pt x="731" y="473"/>
                    <a:pt x="731" y="389"/>
                  </a:cubicBezTo>
                  <a:cubicBezTo>
                    <a:pt x="731" y="305"/>
                    <a:pt x="664" y="237"/>
                    <a:pt x="580" y="237"/>
                  </a:cubicBezTo>
                  <a:cubicBezTo>
                    <a:pt x="496" y="237"/>
                    <a:pt x="428" y="305"/>
                    <a:pt x="428" y="389"/>
                  </a:cubicBezTo>
                  <a:cubicBezTo>
                    <a:pt x="428" y="473"/>
                    <a:pt x="496" y="540"/>
                    <a:pt x="580" y="540"/>
                  </a:cubicBezTo>
                  <a:close/>
                  <a:moveTo>
                    <a:pt x="1109" y="22"/>
                  </a:moveTo>
                  <a:cubicBezTo>
                    <a:pt x="1071" y="0"/>
                    <a:pt x="1022" y="13"/>
                    <a:pt x="1000" y="51"/>
                  </a:cubicBezTo>
                  <a:cubicBezTo>
                    <a:pt x="691" y="587"/>
                    <a:pt x="691" y="587"/>
                    <a:pt x="691" y="587"/>
                  </a:cubicBezTo>
                  <a:cubicBezTo>
                    <a:pt x="469" y="587"/>
                    <a:pt x="469" y="587"/>
                    <a:pt x="469" y="587"/>
                  </a:cubicBezTo>
                  <a:cubicBezTo>
                    <a:pt x="159" y="51"/>
                    <a:pt x="159" y="51"/>
                    <a:pt x="159" y="51"/>
                  </a:cubicBezTo>
                  <a:cubicBezTo>
                    <a:pt x="137" y="13"/>
                    <a:pt x="89" y="0"/>
                    <a:pt x="51" y="22"/>
                  </a:cubicBezTo>
                  <a:cubicBezTo>
                    <a:pt x="13" y="44"/>
                    <a:pt x="0" y="93"/>
                    <a:pt x="22" y="131"/>
                  </a:cubicBezTo>
                  <a:cubicBezTo>
                    <a:pt x="377" y="745"/>
                    <a:pt x="377" y="745"/>
                    <a:pt x="377" y="745"/>
                  </a:cubicBezTo>
                  <a:cubicBezTo>
                    <a:pt x="377" y="2194"/>
                    <a:pt x="377" y="2194"/>
                    <a:pt x="377" y="2194"/>
                  </a:cubicBezTo>
                  <a:cubicBezTo>
                    <a:pt x="377" y="2246"/>
                    <a:pt x="418" y="2287"/>
                    <a:pt x="470" y="2287"/>
                  </a:cubicBezTo>
                  <a:cubicBezTo>
                    <a:pt x="521" y="2287"/>
                    <a:pt x="562" y="2246"/>
                    <a:pt x="562" y="2194"/>
                  </a:cubicBezTo>
                  <a:cubicBezTo>
                    <a:pt x="562" y="1423"/>
                    <a:pt x="562" y="1423"/>
                    <a:pt x="562" y="1423"/>
                  </a:cubicBezTo>
                  <a:cubicBezTo>
                    <a:pt x="598" y="1423"/>
                    <a:pt x="598" y="1423"/>
                    <a:pt x="598" y="1423"/>
                  </a:cubicBezTo>
                  <a:cubicBezTo>
                    <a:pt x="598" y="2194"/>
                    <a:pt x="598" y="2194"/>
                    <a:pt x="598" y="2194"/>
                  </a:cubicBezTo>
                  <a:cubicBezTo>
                    <a:pt x="598" y="2246"/>
                    <a:pt x="639" y="2287"/>
                    <a:pt x="690" y="2287"/>
                  </a:cubicBezTo>
                  <a:cubicBezTo>
                    <a:pt x="742" y="2287"/>
                    <a:pt x="783" y="2246"/>
                    <a:pt x="783" y="2194"/>
                  </a:cubicBezTo>
                  <a:cubicBezTo>
                    <a:pt x="783" y="745"/>
                    <a:pt x="783" y="745"/>
                    <a:pt x="783" y="745"/>
                  </a:cubicBezTo>
                  <a:cubicBezTo>
                    <a:pt x="1138" y="131"/>
                    <a:pt x="1138" y="131"/>
                    <a:pt x="1138" y="131"/>
                  </a:cubicBezTo>
                  <a:cubicBezTo>
                    <a:pt x="1160" y="93"/>
                    <a:pt x="1147" y="44"/>
                    <a:pt x="1109" y="22"/>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solidFill>
                  <a:schemeClr val="bg1"/>
                </a:solidFill>
                <a:sym typeface="Segoe UI"/>
              </a:endParaRPr>
            </a:p>
          </p:txBody>
        </p:sp>
        <p:sp>
          <p:nvSpPr>
            <p:cNvPr id="55" name="Freeform 18"/>
            <p:cNvSpPr>
              <a:spLocks noEditPoints="1"/>
            </p:cNvSpPr>
            <p:nvPr>
              <p:custDataLst>
                <p:tags r:id="rId11"/>
              </p:custDataLst>
            </p:nvPr>
          </p:nvSpPr>
          <p:spPr bwMode="auto">
            <a:xfrm>
              <a:off x="4878796" y="1505608"/>
              <a:ext cx="696896" cy="522443"/>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solidFill>
                  <a:schemeClr val="bg1"/>
                </a:solidFill>
                <a:sym typeface="Segoe UI"/>
              </a:endParaRPr>
            </a:p>
          </p:txBody>
        </p:sp>
      </p:grpSp>
      <p:sp>
        <p:nvSpPr>
          <p:cNvPr id="23" name="Rectangle 22"/>
          <p:cNvSpPr/>
          <p:nvPr>
            <p:custDataLst>
              <p:tags r:id="rId6"/>
            </p:custDataLst>
          </p:nvPr>
        </p:nvSpPr>
        <p:spPr bwMode="auto">
          <a:xfrm>
            <a:off x="1806776" y="1078824"/>
            <a:ext cx="1371600" cy="2103120"/>
          </a:xfrm>
          <a:prstGeom prst="rect">
            <a:avLst/>
          </a:prstGeom>
          <a:solidFill>
            <a:schemeClr val="tx2"/>
          </a:solidFill>
          <a:ln w="9525" cap="flat" cmpd="sng" algn="ctr">
            <a:noFill/>
            <a:prstDash val="solid"/>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34294" tIns="34294" rIns="34294" bIns="34294" numCol="1" rtlCol="0" anchor="b" anchorCtr="0" compatLnSpc="1">
            <a:prstTxWarp prst="textNoShape">
              <a:avLst/>
            </a:prstTxWarp>
          </a:bodyPr>
          <a:lstStyle/>
          <a:p>
            <a:pPr algn="ctr" defTabSz="914023" fontAlgn="base">
              <a:spcBef>
                <a:spcPct val="0"/>
              </a:spcBef>
              <a:spcAft>
                <a:spcPct val="0"/>
              </a:spcAft>
            </a:pPr>
            <a:r>
              <a:rPr lang="en-US" dirty="0">
                <a:solidFill>
                  <a:schemeClr val="tx1"/>
                </a:solidFill>
                <a:sym typeface="Segoe UI"/>
              </a:rPr>
              <a:t>Manage Costs</a:t>
            </a:r>
          </a:p>
        </p:txBody>
      </p:sp>
      <p:sp>
        <p:nvSpPr>
          <p:cNvPr id="42" name="Freeform 7"/>
          <p:cNvSpPr>
            <a:spLocks noEditPoints="1"/>
          </p:cNvSpPr>
          <p:nvPr>
            <p:custDataLst>
              <p:tags r:id="rId7"/>
            </p:custDataLst>
          </p:nvPr>
        </p:nvSpPr>
        <p:spPr bwMode="auto">
          <a:xfrm>
            <a:off x="2097943" y="1598084"/>
            <a:ext cx="800308" cy="964943"/>
          </a:xfrm>
          <a:custGeom>
            <a:avLst/>
            <a:gdLst>
              <a:gd name="T0" fmla="*/ 545 w 576"/>
              <a:gd name="T1" fmla="*/ 404 h 694"/>
              <a:gd name="T2" fmla="*/ 430 w 576"/>
              <a:gd name="T3" fmla="*/ 33 h 694"/>
              <a:gd name="T4" fmla="*/ 401 w 576"/>
              <a:gd name="T5" fmla="*/ 2 h 694"/>
              <a:gd name="T6" fmla="*/ 295 w 576"/>
              <a:gd name="T7" fmla="*/ 3 h 694"/>
              <a:gd name="T8" fmla="*/ 235 w 576"/>
              <a:gd name="T9" fmla="*/ 20 h 694"/>
              <a:gd name="T10" fmla="*/ 148 w 576"/>
              <a:gd name="T11" fmla="*/ 9 h 694"/>
              <a:gd name="T12" fmla="*/ 187 w 576"/>
              <a:gd name="T13" fmla="*/ 175 h 694"/>
              <a:gd name="T14" fmla="*/ 30 w 576"/>
              <a:gd name="T15" fmla="*/ 411 h 694"/>
              <a:gd name="T16" fmla="*/ 288 w 576"/>
              <a:gd name="T17" fmla="*/ 694 h 694"/>
              <a:gd name="T18" fmla="*/ 547 w 576"/>
              <a:gd name="T19" fmla="*/ 411 h 694"/>
              <a:gd name="T20" fmla="*/ 245 w 576"/>
              <a:gd name="T21" fmla="*/ 68 h 694"/>
              <a:gd name="T22" fmla="*/ 328 w 576"/>
              <a:gd name="T23" fmla="*/ 68 h 694"/>
              <a:gd name="T24" fmla="*/ 371 w 576"/>
              <a:gd name="T25" fmla="*/ 61 h 694"/>
              <a:gd name="T26" fmla="*/ 288 w 576"/>
              <a:gd name="T27" fmla="*/ 169 h 694"/>
              <a:gd name="T28" fmla="*/ 202 w 576"/>
              <a:gd name="T29" fmla="*/ 61 h 694"/>
              <a:gd name="T30" fmla="*/ 496 w 576"/>
              <a:gd name="T31" fmla="*/ 599 h 694"/>
              <a:gd name="T32" fmla="*/ 80 w 576"/>
              <a:gd name="T33" fmla="*/ 599 h 694"/>
              <a:gd name="T34" fmla="*/ 79 w 576"/>
              <a:gd name="T35" fmla="*/ 412 h 694"/>
              <a:gd name="T36" fmla="*/ 288 w 576"/>
              <a:gd name="T37" fmla="*/ 201 h 694"/>
              <a:gd name="T38" fmla="*/ 498 w 576"/>
              <a:gd name="T39" fmla="*/ 412 h 694"/>
              <a:gd name="T40" fmla="*/ 496 w 576"/>
              <a:gd name="T41" fmla="*/ 599 h 694"/>
              <a:gd name="T42" fmla="*/ 311 w 576"/>
              <a:gd name="T43" fmla="*/ 401 h 694"/>
              <a:gd name="T44" fmla="*/ 302 w 576"/>
              <a:gd name="T45" fmla="*/ 339 h 694"/>
              <a:gd name="T46" fmla="*/ 333 w 576"/>
              <a:gd name="T47" fmla="*/ 350 h 694"/>
              <a:gd name="T48" fmla="*/ 362 w 576"/>
              <a:gd name="T49" fmla="*/ 358 h 694"/>
              <a:gd name="T50" fmla="*/ 310 w 576"/>
              <a:gd name="T51" fmla="*/ 297 h 694"/>
              <a:gd name="T52" fmla="*/ 302 w 576"/>
              <a:gd name="T53" fmla="*/ 281 h 694"/>
              <a:gd name="T54" fmla="*/ 276 w 576"/>
              <a:gd name="T55" fmla="*/ 281 h 694"/>
              <a:gd name="T56" fmla="*/ 267 w 576"/>
              <a:gd name="T57" fmla="*/ 297 h 694"/>
              <a:gd name="T58" fmla="*/ 210 w 576"/>
              <a:gd name="T59" fmla="*/ 413 h 694"/>
              <a:gd name="T60" fmla="*/ 276 w 576"/>
              <a:gd name="T61" fmla="*/ 451 h 694"/>
              <a:gd name="T62" fmla="*/ 269 w 576"/>
              <a:gd name="T63" fmla="*/ 518 h 694"/>
              <a:gd name="T64" fmla="*/ 210 w 576"/>
              <a:gd name="T65" fmla="*/ 479 h 694"/>
              <a:gd name="T66" fmla="*/ 190 w 576"/>
              <a:gd name="T67" fmla="*/ 499 h 694"/>
              <a:gd name="T68" fmla="*/ 276 w 576"/>
              <a:gd name="T69" fmla="*/ 563 h 694"/>
              <a:gd name="T70" fmla="*/ 289 w 576"/>
              <a:gd name="T71" fmla="*/ 590 h 694"/>
              <a:gd name="T72" fmla="*/ 302 w 576"/>
              <a:gd name="T73" fmla="*/ 563 h 694"/>
              <a:gd name="T74" fmla="*/ 366 w 576"/>
              <a:gd name="T75" fmla="*/ 529 h 694"/>
              <a:gd name="T76" fmla="*/ 377 w 576"/>
              <a:gd name="T77" fmla="*/ 437 h 694"/>
              <a:gd name="T78" fmla="*/ 276 w 576"/>
              <a:gd name="T79" fmla="*/ 387 h 694"/>
              <a:gd name="T80" fmla="*/ 237 w 576"/>
              <a:gd name="T81" fmla="*/ 363 h 694"/>
              <a:gd name="T82" fmla="*/ 268 w 576"/>
              <a:gd name="T83" fmla="*/ 331 h 694"/>
              <a:gd name="T84" fmla="*/ 276 w 576"/>
              <a:gd name="T85" fmla="*/ 387 h 694"/>
              <a:gd name="T86" fmla="*/ 311 w 576"/>
              <a:gd name="T87" fmla="*/ 518 h 694"/>
              <a:gd name="T88" fmla="*/ 302 w 576"/>
              <a:gd name="T89" fmla="*/ 454 h 694"/>
              <a:gd name="T90" fmla="*/ 345 w 576"/>
              <a:gd name="T91" fmla="*/ 481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76" h="694">
                <a:moveTo>
                  <a:pt x="547" y="411"/>
                </a:moveTo>
                <a:cubicBezTo>
                  <a:pt x="545" y="404"/>
                  <a:pt x="545" y="404"/>
                  <a:pt x="545" y="404"/>
                </a:cubicBezTo>
                <a:cubicBezTo>
                  <a:pt x="526" y="295"/>
                  <a:pt x="467" y="211"/>
                  <a:pt x="386" y="174"/>
                </a:cubicBezTo>
                <a:cubicBezTo>
                  <a:pt x="430" y="33"/>
                  <a:pt x="430" y="33"/>
                  <a:pt x="430" y="33"/>
                </a:cubicBezTo>
                <a:cubicBezTo>
                  <a:pt x="433" y="24"/>
                  <a:pt x="431" y="15"/>
                  <a:pt x="425" y="9"/>
                </a:cubicBezTo>
                <a:cubicBezTo>
                  <a:pt x="418" y="2"/>
                  <a:pt x="409" y="0"/>
                  <a:pt x="401" y="2"/>
                </a:cubicBezTo>
                <a:cubicBezTo>
                  <a:pt x="401" y="2"/>
                  <a:pt x="351" y="17"/>
                  <a:pt x="338" y="20"/>
                </a:cubicBezTo>
                <a:cubicBezTo>
                  <a:pt x="327" y="16"/>
                  <a:pt x="295" y="3"/>
                  <a:pt x="295" y="3"/>
                </a:cubicBezTo>
                <a:cubicBezTo>
                  <a:pt x="290" y="1"/>
                  <a:pt x="283" y="1"/>
                  <a:pt x="277" y="3"/>
                </a:cubicBezTo>
                <a:cubicBezTo>
                  <a:pt x="277" y="3"/>
                  <a:pt x="246" y="16"/>
                  <a:pt x="235" y="20"/>
                </a:cubicBezTo>
                <a:cubicBezTo>
                  <a:pt x="222" y="17"/>
                  <a:pt x="172" y="2"/>
                  <a:pt x="172" y="2"/>
                </a:cubicBezTo>
                <a:cubicBezTo>
                  <a:pt x="164" y="0"/>
                  <a:pt x="155" y="2"/>
                  <a:pt x="148" y="9"/>
                </a:cubicBezTo>
                <a:cubicBezTo>
                  <a:pt x="142" y="15"/>
                  <a:pt x="140" y="24"/>
                  <a:pt x="143" y="33"/>
                </a:cubicBezTo>
                <a:cubicBezTo>
                  <a:pt x="187" y="175"/>
                  <a:pt x="187" y="175"/>
                  <a:pt x="187" y="175"/>
                </a:cubicBezTo>
                <a:cubicBezTo>
                  <a:pt x="108" y="213"/>
                  <a:pt x="50" y="297"/>
                  <a:pt x="31" y="404"/>
                </a:cubicBezTo>
                <a:cubicBezTo>
                  <a:pt x="30" y="411"/>
                  <a:pt x="30" y="411"/>
                  <a:pt x="30" y="411"/>
                </a:cubicBezTo>
                <a:cubicBezTo>
                  <a:pt x="13" y="505"/>
                  <a:pt x="0" y="579"/>
                  <a:pt x="43" y="630"/>
                </a:cubicBezTo>
                <a:cubicBezTo>
                  <a:pt x="81" y="675"/>
                  <a:pt x="154" y="694"/>
                  <a:pt x="288" y="694"/>
                </a:cubicBezTo>
                <a:cubicBezTo>
                  <a:pt x="422" y="694"/>
                  <a:pt x="495" y="675"/>
                  <a:pt x="533" y="630"/>
                </a:cubicBezTo>
                <a:cubicBezTo>
                  <a:pt x="576" y="579"/>
                  <a:pt x="563" y="505"/>
                  <a:pt x="547" y="411"/>
                </a:cubicBezTo>
                <a:close/>
                <a:moveTo>
                  <a:pt x="229" y="69"/>
                </a:moveTo>
                <a:cubicBezTo>
                  <a:pt x="235" y="70"/>
                  <a:pt x="240" y="70"/>
                  <a:pt x="245" y="68"/>
                </a:cubicBezTo>
                <a:cubicBezTo>
                  <a:pt x="245" y="68"/>
                  <a:pt x="274" y="56"/>
                  <a:pt x="286" y="52"/>
                </a:cubicBezTo>
                <a:cubicBezTo>
                  <a:pt x="299" y="56"/>
                  <a:pt x="328" y="68"/>
                  <a:pt x="328" y="68"/>
                </a:cubicBezTo>
                <a:cubicBezTo>
                  <a:pt x="333" y="70"/>
                  <a:pt x="338" y="70"/>
                  <a:pt x="343" y="69"/>
                </a:cubicBezTo>
                <a:cubicBezTo>
                  <a:pt x="343" y="69"/>
                  <a:pt x="358" y="65"/>
                  <a:pt x="371" y="61"/>
                </a:cubicBezTo>
                <a:cubicBezTo>
                  <a:pt x="359" y="99"/>
                  <a:pt x="341" y="156"/>
                  <a:pt x="336" y="174"/>
                </a:cubicBezTo>
                <a:cubicBezTo>
                  <a:pt x="320" y="170"/>
                  <a:pt x="304" y="169"/>
                  <a:pt x="288" y="169"/>
                </a:cubicBezTo>
                <a:cubicBezTo>
                  <a:pt x="271" y="169"/>
                  <a:pt x="254" y="171"/>
                  <a:pt x="237" y="174"/>
                </a:cubicBezTo>
                <a:cubicBezTo>
                  <a:pt x="232" y="157"/>
                  <a:pt x="214" y="100"/>
                  <a:pt x="202" y="61"/>
                </a:cubicBezTo>
                <a:cubicBezTo>
                  <a:pt x="215" y="65"/>
                  <a:pt x="229" y="69"/>
                  <a:pt x="229" y="69"/>
                </a:cubicBezTo>
                <a:close/>
                <a:moveTo>
                  <a:pt x="496" y="599"/>
                </a:moveTo>
                <a:cubicBezTo>
                  <a:pt x="469" y="631"/>
                  <a:pt x="403" y="646"/>
                  <a:pt x="288" y="646"/>
                </a:cubicBezTo>
                <a:cubicBezTo>
                  <a:pt x="173" y="646"/>
                  <a:pt x="107" y="631"/>
                  <a:pt x="80" y="599"/>
                </a:cubicBezTo>
                <a:cubicBezTo>
                  <a:pt x="52" y="565"/>
                  <a:pt x="62" y="504"/>
                  <a:pt x="77" y="420"/>
                </a:cubicBezTo>
                <a:cubicBezTo>
                  <a:pt x="79" y="412"/>
                  <a:pt x="79" y="412"/>
                  <a:pt x="79" y="412"/>
                </a:cubicBezTo>
                <a:cubicBezTo>
                  <a:pt x="96" y="314"/>
                  <a:pt x="150" y="239"/>
                  <a:pt x="224" y="212"/>
                </a:cubicBezTo>
                <a:cubicBezTo>
                  <a:pt x="225" y="212"/>
                  <a:pt x="254" y="201"/>
                  <a:pt x="288" y="201"/>
                </a:cubicBezTo>
                <a:cubicBezTo>
                  <a:pt x="322" y="201"/>
                  <a:pt x="348" y="210"/>
                  <a:pt x="349" y="211"/>
                </a:cubicBezTo>
                <a:cubicBezTo>
                  <a:pt x="424" y="236"/>
                  <a:pt x="480" y="312"/>
                  <a:pt x="498" y="412"/>
                </a:cubicBezTo>
                <a:cubicBezTo>
                  <a:pt x="499" y="420"/>
                  <a:pt x="499" y="420"/>
                  <a:pt x="499" y="420"/>
                </a:cubicBezTo>
                <a:cubicBezTo>
                  <a:pt x="514" y="504"/>
                  <a:pt x="525" y="565"/>
                  <a:pt x="496" y="599"/>
                </a:cubicBezTo>
                <a:close/>
                <a:moveTo>
                  <a:pt x="353" y="415"/>
                </a:moveTo>
                <a:cubicBezTo>
                  <a:pt x="346" y="411"/>
                  <a:pt x="332" y="407"/>
                  <a:pt x="311" y="401"/>
                </a:cubicBezTo>
                <a:cubicBezTo>
                  <a:pt x="306" y="399"/>
                  <a:pt x="302" y="395"/>
                  <a:pt x="302" y="390"/>
                </a:cubicBezTo>
                <a:cubicBezTo>
                  <a:pt x="302" y="339"/>
                  <a:pt x="302" y="339"/>
                  <a:pt x="302" y="339"/>
                </a:cubicBezTo>
                <a:cubicBezTo>
                  <a:pt x="302" y="334"/>
                  <a:pt x="307" y="331"/>
                  <a:pt x="312" y="333"/>
                </a:cubicBezTo>
                <a:cubicBezTo>
                  <a:pt x="321" y="335"/>
                  <a:pt x="328" y="341"/>
                  <a:pt x="333" y="350"/>
                </a:cubicBezTo>
                <a:cubicBezTo>
                  <a:pt x="338" y="357"/>
                  <a:pt x="346" y="361"/>
                  <a:pt x="355" y="359"/>
                </a:cubicBezTo>
                <a:cubicBezTo>
                  <a:pt x="362" y="358"/>
                  <a:pt x="362" y="358"/>
                  <a:pt x="362" y="358"/>
                </a:cubicBezTo>
                <a:cubicBezTo>
                  <a:pt x="371" y="356"/>
                  <a:pt x="376" y="346"/>
                  <a:pt x="371" y="338"/>
                </a:cubicBezTo>
                <a:cubicBezTo>
                  <a:pt x="359" y="316"/>
                  <a:pt x="339" y="302"/>
                  <a:pt x="310" y="297"/>
                </a:cubicBezTo>
                <a:cubicBezTo>
                  <a:pt x="305" y="296"/>
                  <a:pt x="302" y="292"/>
                  <a:pt x="302" y="287"/>
                </a:cubicBezTo>
                <a:cubicBezTo>
                  <a:pt x="302" y="281"/>
                  <a:pt x="302" y="281"/>
                  <a:pt x="302" y="281"/>
                </a:cubicBezTo>
                <a:cubicBezTo>
                  <a:pt x="302" y="274"/>
                  <a:pt x="297" y="268"/>
                  <a:pt x="289" y="268"/>
                </a:cubicBezTo>
                <a:cubicBezTo>
                  <a:pt x="282" y="268"/>
                  <a:pt x="276" y="274"/>
                  <a:pt x="276" y="281"/>
                </a:cubicBezTo>
                <a:cubicBezTo>
                  <a:pt x="276" y="287"/>
                  <a:pt x="276" y="287"/>
                  <a:pt x="276" y="287"/>
                </a:cubicBezTo>
                <a:cubicBezTo>
                  <a:pt x="276" y="292"/>
                  <a:pt x="272" y="296"/>
                  <a:pt x="267" y="297"/>
                </a:cubicBezTo>
                <a:cubicBezTo>
                  <a:pt x="219" y="305"/>
                  <a:pt x="195" y="330"/>
                  <a:pt x="195" y="370"/>
                </a:cubicBezTo>
                <a:cubicBezTo>
                  <a:pt x="195" y="387"/>
                  <a:pt x="200" y="401"/>
                  <a:pt x="210" y="413"/>
                </a:cubicBezTo>
                <a:cubicBezTo>
                  <a:pt x="220" y="425"/>
                  <a:pt x="240" y="434"/>
                  <a:pt x="270" y="442"/>
                </a:cubicBezTo>
                <a:cubicBezTo>
                  <a:pt x="274" y="443"/>
                  <a:pt x="276" y="447"/>
                  <a:pt x="276" y="451"/>
                </a:cubicBezTo>
                <a:cubicBezTo>
                  <a:pt x="276" y="511"/>
                  <a:pt x="276" y="511"/>
                  <a:pt x="276" y="511"/>
                </a:cubicBezTo>
                <a:cubicBezTo>
                  <a:pt x="276" y="515"/>
                  <a:pt x="273" y="519"/>
                  <a:pt x="269" y="518"/>
                </a:cubicBezTo>
                <a:cubicBezTo>
                  <a:pt x="253" y="515"/>
                  <a:pt x="241" y="507"/>
                  <a:pt x="234" y="493"/>
                </a:cubicBezTo>
                <a:cubicBezTo>
                  <a:pt x="228" y="485"/>
                  <a:pt x="220" y="477"/>
                  <a:pt x="210" y="479"/>
                </a:cubicBezTo>
                <a:cubicBezTo>
                  <a:pt x="201" y="481"/>
                  <a:pt x="201" y="481"/>
                  <a:pt x="201" y="481"/>
                </a:cubicBezTo>
                <a:cubicBezTo>
                  <a:pt x="193" y="483"/>
                  <a:pt x="187" y="491"/>
                  <a:pt x="190" y="499"/>
                </a:cubicBezTo>
                <a:cubicBezTo>
                  <a:pt x="204" y="530"/>
                  <a:pt x="230" y="548"/>
                  <a:pt x="268" y="553"/>
                </a:cubicBezTo>
                <a:cubicBezTo>
                  <a:pt x="272" y="554"/>
                  <a:pt x="276" y="558"/>
                  <a:pt x="276" y="563"/>
                </a:cubicBezTo>
                <a:cubicBezTo>
                  <a:pt x="276" y="577"/>
                  <a:pt x="276" y="577"/>
                  <a:pt x="276" y="577"/>
                </a:cubicBezTo>
                <a:cubicBezTo>
                  <a:pt x="276" y="584"/>
                  <a:pt x="282" y="590"/>
                  <a:pt x="289" y="590"/>
                </a:cubicBezTo>
                <a:cubicBezTo>
                  <a:pt x="297" y="590"/>
                  <a:pt x="302" y="584"/>
                  <a:pt x="302" y="577"/>
                </a:cubicBezTo>
                <a:cubicBezTo>
                  <a:pt x="302" y="563"/>
                  <a:pt x="302" y="563"/>
                  <a:pt x="302" y="563"/>
                </a:cubicBezTo>
                <a:cubicBezTo>
                  <a:pt x="302" y="557"/>
                  <a:pt x="307" y="554"/>
                  <a:pt x="312" y="553"/>
                </a:cubicBezTo>
                <a:cubicBezTo>
                  <a:pt x="335" y="550"/>
                  <a:pt x="353" y="542"/>
                  <a:pt x="366" y="529"/>
                </a:cubicBezTo>
                <a:cubicBezTo>
                  <a:pt x="380" y="515"/>
                  <a:pt x="387" y="498"/>
                  <a:pt x="387" y="476"/>
                </a:cubicBezTo>
                <a:cubicBezTo>
                  <a:pt x="387" y="461"/>
                  <a:pt x="384" y="448"/>
                  <a:pt x="377" y="437"/>
                </a:cubicBezTo>
                <a:cubicBezTo>
                  <a:pt x="370" y="426"/>
                  <a:pt x="362" y="418"/>
                  <a:pt x="353" y="415"/>
                </a:cubicBezTo>
                <a:close/>
                <a:moveTo>
                  <a:pt x="276" y="387"/>
                </a:moveTo>
                <a:cubicBezTo>
                  <a:pt x="276" y="392"/>
                  <a:pt x="272" y="395"/>
                  <a:pt x="267" y="394"/>
                </a:cubicBezTo>
                <a:cubicBezTo>
                  <a:pt x="247" y="389"/>
                  <a:pt x="237" y="379"/>
                  <a:pt x="237" y="363"/>
                </a:cubicBezTo>
                <a:cubicBezTo>
                  <a:pt x="237" y="353"/>
                  <a:pt x="241" y="345"/>
                  <a:pt x="248" y="339"/>
                </a:cubicBezTo>
                <a:cubicBezTo>
                  <a:pt x="254" y="335"/>
                  <a:pt x="261" y="333"/>
                  <a:pt x="268" y="331"/>
                </a:cubicBezTo>
                <a:cubicBezTo>
                  <a:pt x="273" y="331"/>
                  <a:pt x="276" y="335"/>
                  <a:pt x="276" y="339"/>
                </a:cubicBezTo>
                <a:lnTo>
                  <a:pt x="276" y="387"/>
                </a:lnTo>
                <a:close/>
                <a:moveTo>
                  <a:pt x="333" y="509"/>
                </a:moveTo>
                <a:cubicBezTo>
                  <a:pt x="327" y="514"/>
                  <a:pt x="319" y="517"/>
                  <a:pt x="311" y="518"/>
                </a:cubicBezTo>
                <a:cubicBezTo>
                  <a:pt x="307" y="519"/>
                  <a:pt x="302" y="516"/>
                  <a:pt x="302" y="511"/>
                </a:cubicBezTo>
                <a:cubicBezTo>
                  <a:pt x="302" y="454"/>
                  <a:pt x="302" y="454"/>
                  <a:pt x="302" y="454"/>
                </a:cubicBezTo>
                <a:cubicBezTo>
                  <a:pt x="302" y="449"/>
                  <a:pt x="308" y="446"/>
                  <a:pt x="312" y="448"/>
                </a:cubicBezTo>
                <a:cubicBezTo>
                  <a:pt x="334" y="454"/>
                  <a:pt x="345" y="465"/>
                  <a:pt x="345" y="481"/>
                </a:cubicBezTo>
                <a:cubicBezTo>
                  <a:pt x="345" y="493"/>
                  <a:pt x="341" y="502"/>
                  <a:pt x="333" y="509"/>
                </a:cubicBezTo>
                <a:close/>
              </a:path>
            </a:pathLst>
          </a:custGeom>
          <a:solidFill>
            <a:schemeClr val="tx1"/>
          </a:solidFill>
          <a:ln>
            <a:noFill/>
          </a:ln>
          <a:extLst/>
        </p:spPr>
        <p:txBody>
          <a:bodyPr vert="horz" wrap="square" lIns="68586" tIns="34294" rIns="68586" bIns="34294" numCol="1" anchor="t" anchorCtr="0" compatLnSpc="1">
            <a:prstTxWarp prst="textNoShape">
              <a:avLst/>
            </a:prstTxWarp>
          </a:bodyPr>
          <a:lstStyle/>
          <a:p>
            <a:endParaRPr lang="en-US">
              <a:solidFill>
                <a:schemeClr val="bg1"/>
              </a:solidFill>
              <a:sym typeface="Segoe UI"/>
            </a:endParaRPr>
          </a:p>
        </p:txBody>
      </p:sp>
      <p:sp>
        <p:nvSpPr>
          <p:cNvPr id="57" name="Freeform 35"/>
          <p:cNvSpPr>
            <a:spLocks noEditPoints="1"/>
          </p:cNvSpPr>
          <p:nvPr>
            <p:custDataLst>
              <p:tags r:id="rId8"/>
            </p:custDataLst>
          </p:nvPr>
        </p:nvSpPr>
        <p:spPr bwMode="auto">
          <a:xfrm>
            <a:off x="3679565" y="3392452"/>
            <a:ext cx="809736" cy="820146"/>
          </a:xfrm>
          <a:custGeom>
            <a:avLst/>
            <a:gdLst>
              <a:gd name="T0" fmla="*/ 189 w 296"/>
              <a:gd name="T1" fmla="*/ 136 h 300"/>
              <a:gd name="T2" fmla="*/ 202 w 296"/>
              <a:gd name="T3" fmla="*/ 132 h 300"/>
              <a:gd name="T4" fmla="*/ 206 w 296"/>
              <a:gd name="T5" fmla="*/ 128 h 300"/>
              <a:gd name="T6" fmla="*/ 210 w 296"/>
              <a:gd name="T7" fmla="*/ 116 h 300"/>
              <a:gd name="T8" fmla="*/ 214 w 296"/>
              <a:gd name="T9" fmla="*/ 120 h 300"/>
              <a:gd name="T10" fmla="*/ 227 w 296"/>
              <a:gd name="T11" fmla="*/ 99 h 300"/>
              <a:gd name="T12" fmla="*/ 185 w 296"/>
              <a:gd name="T13" fmla="*/ 205 h 300"/>
              <a:gd name="T14" fmla="*/ 189 w 296"/>
              <a:gd name="T15" fmla="*/ 210 h 300"/>
              <a:gd name="T16" fmla="*/ 202 w 296"/>
              <a:gd name="T17" fmla="*/ 214 h 300"/>
              <a:gd name="T18" fmla="*/ 197 w 296"/>
              <a:gd name="T19" fmla="*/ 218 h 300"/>
              <a:gd name="T20" fmla="*/ 218 w 296"/>
              <a:gd name="T21" fmla="*/ 230 h 300"/>
              <a:gd name="T22" fmla="*/ 222 w 296"/>
              <a:gd name="T23" fmla="*/ 243 h 300"/>
              <a:gd name="T24" fmla="*/ 227 w 296"/>
              <a:gd name="T25" fmla="*/ 247 h 300"/>
              <a:gd name="T26" fmla="*/ 111 w 296"/>
              <a:gd name="T27" fmla="*/ 205 h 300"/>
              <a:gd name="T28" fmla="*/ 107 w 296"/>
              <a:gd name="T29" fmla="*/ 201 h 300"/>
              <a:gd name="T30" fmla="*/ 94 w 296"/>
              <a:gd name="T31" fmla="*/ 222 h 300"/>
              <a:gd name="T32" fmla="*/ 82 w 296"/>
              <a:gd name="T33" fmla="*/ 226 h 300"/>
              <a:gd name="T34" fmla="*/ 77 w 296"/>
              <a:gd name="T35" fmla="*/ 230 h 300"/>
              <a:gd name="T36" fmla="*/ 73 w 296"/>
              <a:gd name="T37" fmla="*/ 243 h 300"/>
              <a:gd name="T38" fmla="*/ 69 w 296"/>
              <a:gd name="T39" fmla="*/ 239 h 300"/>
              <a:gd name="T40" fmla="*/ 102 w 296"/>
              <a:gd name="T41" fmla="*/ 141 h 300"/>
              <a:gd name="T42" fmla="*/ 98 w 296"/>
              <a:gd name="T43" fmla="*/ 128 h 300"/>
              <a:gd name="T44" fmla="*/ 94 w 296"/>
              <a:gd name="T45" fmla="*/ 124 h 300"/>
              <a:gd name="T46" fmla="*/ 82 w 296"/>
              <a:gd name="T47" fmla="*/ 120 h 300"/>
              <a:gd name="T48" fmla="*/ 86 w 296"/>
              <a:gd name="T49" fmla="*/ 116 h 300"/>
              <a:gd name="T50" fmla="*/ 65 w 296"/>
              <a:gd name="T51" fmla="*/ 103 h 300"/>
              <a:gd name="T52" fmla="*/ 72 w 296"/>
              <a:gd name="T53" fmla="*/ 64 h 300"/>
              <a:gd name="T54" fmla="*/ 5 w 296"/>
              <a:gd name="T55" fmla="*/ 89 h 300"/>
              <a:gd name="T56" fmla="*/ 23 w 296"/>
              <a:gd name="T57" fmla="*/ 48 h 300"/>
              <a:gd name="T58" fmla="*/ 72 w 296"/>
              <a:gd name="T59" fmla="*/ 64 h 300"/>
              <a:gd name="T60" fmla="*/ 36 w 296"/>
              <a:gd name="T61" fmla="*/ 0 h 300"/>
              <a:gd name="T62" fmla="*/ 296 w 296"/>
              <a:gd name="T63" fmla="*/ 64 h 300"/>
              <a:gd name="T64" fmla="*/ 229 w 296"/>
              <a:gd name="T65" fmla="*/ 89 h 300"/>
              <a:gd name="T66" fmla="*/ 247 w 296"/>
              <a:gd name="T67" fmla="*/ 48 h 300"/>
              <a:gd name="T68" fmla="*/ 296 w 296"/>
              <a:gd name="T69" fmla="*/ 64 h 300"/>
              <a:gd name="T70" fmla="*/ 260 w 296"/>
              <a:gd name="T71" fmla="*/ 0 h 300"/>
              <a:gd name="T72" fmla="*/ 296 w 296"/>
              <a:gd name="T73" fmla="*/ 275 h 300"/>
              <a:gd name="T74" fmla="*/ 229 w 296"/>
              <a:gd name="T75" fmla="*/ 300 h 300"/>
              <a:gd name="T76" fmla="*/ 247 w 296"/>
              <a:gd name="T77" fmla="*/ 259 h 300"/>
              <a:gd name="T78" fmla="*/ 296 w 296"/>
              <a:gd name="T79" fmla="*/ 275 h 300"/>
              <a:gd name="T80" fmla="*/ 260 w 296"/>
              <a:gd name="T81" fmla="*/ 211 h 300"/>
              <a:gd name="T82" fmla="*/ 72 w 296"/>
              <a:gd name="T83" fmla="*/ 275 h 300"/>
              <a:gd name="T84" fmla="*/ 5 w 296"/>
              <a:gd name="T85" fmla="*/ 300 h 300"/>
              <a:gd name="T86" fmla="*/ 23 w 296"/>
              <a:gd name="T87" fmla="*/ 259 h 300"/>
              <a:gd name="T88" fmla="*/ 72 w 296"/>
              <a:gd name="T89" fmla="*/ 275 h 300"/>
              <a:gd name="T90" fmla="*/ 36 w 296"/>
              <a:gd name="T91" fmla="*/ 211 h 300"/>
              <a:gd name="T92" fmla="*/ 125 w 296"/>
              <a:gd name="T93" fmla="*/ 116 h 300"/>
              <a:gd name="T94" fmla="*/ 147 w 296"/>
              <a:gd name="T95" fmla="*/ 145 h 300"/>
              <a:gd name="T96" fmla="*/ 150 w 296"/>
              <a:gd name="T97" fmla="*/ 176 h 300"/>
              <a:gd name="T98" fmla="*/ 190 w 296"/>
              <a:gd name="T99" fmla="*/ 164 h 300"/>
              <a:gd name="T100" fmla="*/ 110 w 296"/>
              <a:gd name="T101" fmla="*/ 194 h 300"/>
              <a:gd name="T102" fmla="*/ 131 w 296"/>
              <a:gd name="T103" fmla="*/ 145 h 300"/>
              <a:gd name="T104" fmla="*/ 145 w 296"/>
              <a:gd name="T105" fmla="*/ 156 h 300"/>
              <a:gd name="T106" fmla="*/ 144 w 296"/>
              <a:gd name="T107" fmla="*/ 150 h 300"/>
              <a:gd name="T108" fmla="*/ 147 w 296"/>
              <a:gd name="T109" fmla="*/ 150 h 300"/>
              <a:gd name="T110" fmla="*/ 149 w 296"/>
              <a:gd name="T111" fmla="*/ 15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6" h="300">
                <a:moveTo>
                  <a:pt x="189" y="145"/>
                </a:moveTo>
                <a:cubicBezTo>
                  <a:pt x="185" y="141"/>
                  <a:pt x="185" y="141"/>
                  <a:pt x="185" y="141"/>
                </a:cubicBezTo>
                <a:cubicBezTo>
                  <a:pt x="189" y="136"/>
                  <a:pt x="189" y="136"/>
                  <a:pt x="189" y="136"/>
                </a:cubicBezTo>
                <a:cubicBezTo>
                  <a:pt x="193" y="141"/>
                  <a:pt x="193" y="141"/>
                  <a:pt x="193" y="141"/>
                </a:cubicBezTo>
                <a:cubicBezTo>
                  <a:pt x="189" y="145"/>
                  <a:pt x="189" y="145"/>
                  <a:pt x="189" y="145"/>
                </a:cubicBezTo>
                <a:close/>
                <a:moveTo>
                  <a:pt x="202" y="132"/>
                </a:moveTo>
                <a:cubicBezTo>
                  <a:pt x="197" y="128"/>
                  <a:pt x="197" y="128"/>
                  <a:pt x="197" y="128"/>
                </a:cubicBezTo>
                <a:cubicBezTo>
                  <a:pt x="202" y="124"/>
                  <a:pt x="202" y="124"/>
                  <a:pt x="202" y="124"/>
                </a:cubicBezTo>
                <a:cubicBezTo>
                  <a:pt x="206" y="128"/>
                  <a:pt x="206" y="128"/>
                  <a:pt x="206" y="128"/>
                </a:cubicBezTo>
                <a:cubicBezTo>
                  <a:pt x="202" y="132"/>
                  <a:pt x="202" y="132"/>
                  <a:pt x="202" y="132"/>
                </a:cubicBezTo>
                <a:close/>
                <a:moveTo>
                  <a:pt x="214" y="120"/>
                </a:moveTo>
                <a:cubicBezTo>
                  <a:pt x="210" y="116"/>
                  <a:pt x="210" y="116"/>
                  <a:pt x="210" y="116"/>
                </a:cubicBezTo>
                <a:cubicBezTo>
                  <a:pt x="214" y="111"/>
                  <a:pt x="214" y="111"/>
                  <a:pt x="214" y="111"/>
                </a:cubicBezTo>
                <a:cubicBezTo>
                  <a:pt x="218" y="116"/>
                  <a:pt x="218" y="116"/>
                  <a:pt x="218" y="116"/>
                </a:cubicBezTo>
                <a:cubicBezTo>
                  <a:pt x="214" y="120"/>
                  <a:pt x="214" y="120"/>
                  <a:pt x="214" y="120"/>
                </a:cubicBezTo>
                <a:close/>
                <a:moveTo>
                  <a:pt x="227" y="107"/>
                </a:moveTo>
                <a:cubicBezTo>
                  <a:pt x="222" y="103"/>
                  <a:pt x="222" y="103"/>
                  <a:pt x="222" y="103"/>
                </a:cubicBezTo>
                <a:cubicBezTo>
                  <a:pt x="227" y="99"/>
                  <a:pt x="227" y="99"/>
                  <a:pt x="227" y="99"/>
                </a:cubicBezTo>
                <a:cubicBezTo>
                  <a:pt x="231" y="103"/>
                  <a:pt x="231" y="103"/>
                  <a:pt x="231" y="103"/>
                </a:cubicBezTo>
                <a:cubicBezTo>
                  <a:pt x="227" y="107"/>
                  <a:pt x="227" y="107"/>
                  <a:pt x="227" y="107"/>
                </a:cubicBezTo>
                <a:close/>
                <a:moveTo>
                  <a:pt x="185" y="205"/>
                </a:moveTo>
                <a:cubicBezTo>
                  <a:pt x="189" y="201"/>
                  <a:pt x="189" y="201"/>
                  <a:pt x="189" y="201"/>
                </a:cubicBezTo>
                <a:cubicBezTo>
                  <a:pt x="193" y="205"/>
                  <a:pt x="193" y="205"/>
                  <a:pt x="193" y="205"/>
                </a:cubicBezTo>
                <a:cubicBezTo>
                  <a:pt x="189" y="210"/>
                  <a:pt x="189" y="210"/>
                  <a:pt x="189" y="210"/>
                </a:cubicBezTo>
                <a:cubicBezTo>
                  <a:pt x="185" y="205"/>
                  <a:pt x="185" y="205"/>
                  <a:pt x="185" y="205"/>
                </a:cubicBezTo>
                <a:close/>
                <a:moveTo>
                  <a:pt x="197" y="218"/>
                </a:moveTo>
                <a:cubicBezTo>
                  <a:pt x="202" y="214"/>
                  <a:pt x="202" y="214"/>
                  <a:pt x="202" y="214"/>
                </a:cubicBezTo>
                <a:cubicBezTo>
                  <a:pt x="206" y="218"/>
                  <a:pt x="206" y="218"/>
                  <a:pt x="206" y="218"/>
                </a:cubicBezTo>
                <a:cubicBezTo>
                  <a:pt x="202" y="222"/>
                  <a:pt x="202" y="222"/>
                  <a:pt x="202" y="222"/>
                </a:cubicBezTo>
                <a:cubicBezTo>
                  <a:pt x="197" y="218"/>
                  <a:pt x="197" y="218"/>
                  <a:pt x="197" y="218"/>
                </a:cubicBezTo>
                <a:close/>
                <a:moveTo>
                  <a:pt x="210" y="230"/>
                </a:moveTo>
                <a:cubicBezTo>
                  <a:pt x="214" y="226"/>
                  <a:pt x="214" y="226"/>
                  <a:pt x="214" y="226"/>
                </a:cubicBezTo>
                <a:cubicBezTo>
                  <a:pt x="218" y="230"/>
                  <a:pt x="218" y="230"/>
                  <a:pt x="218" y="230"/>
                </a:cubicBezTo>
                <a:cubicBezTo>
                  <a:pt x="214" y="235"/>
                  <a:pt x="214" y="235"/>
                  <a:pt x="214" y="235"/>
                </a:cubicBezTo>
                <a:cubicBezTo>
                  <a:pt x="210" y="230"/>
                  <a:pt x="210" y="230"/>
                  <a:pt x="210" y="230"/>
                </a:cubicBezTo>
                <a:close/>
                <a:moveTo>
                  <a:pt x="222" y="243"/>
                </a:moveTo>
                <a:cubicBezTo>
                  <a:pt x="227" y="239"/>
                  <a:pt x="227" y="239"/>
                  <a:pt x="227" y="239"/>
                </a:cubicBezTo>
                <a:cubicBezTo>
                  <a:pt x="231" y="243"/>
                  <a:pt x="231" y="243"/>
                  <a:pt x="231" y="243"/>
                </a:cubicBezTo>
                <a:cubicBezTo>
                  <a:pt x="227" y="247"/>
                  <a:pt x="227" y="247"/>
                  <a:pt x="227" y="247"/>
                </a:cubicBezTo>
                <a:cubicBezTo>
                  <a:pt x="222" y="243"/>
                  <a:pt x="222" y="243"/>
                  <a:pt x="222" y="243"/>
                </a:cubicBezTo>
                <a:close/>
                <a:moveTo>
                  <a:pt x="107" y="201"/>
                </a:moveTo>
                <a:cubicBezTo>
                  <a:pt x="111" y="205"/>
                  <a:pt x="111" y="205"/>
                  <a:pt x="111" y="205"/>
                </a:cubicBezTo>
                <a:cubicBezTo>
                  <a:pt x="107" y="210"/>
                  <a:pt x="107" y="210"/>
                  <a:pt x="107" y="210"/>
                </a:cubicBezTo>
                <a:cubicBezTo>
                  <a:pt x="102" y="205"/>
                  <a:pt x="102" y="205"/>
                  <a:pt x="102" y="205"/>
                </a:cubicBezTo>
                <a:cubicBezTo>
                  <a:pt x="107" y="201"/>
                  <a:pt x="107" y="201"/>
                  <a:pt x="107" y="201"/>
                </a:cubicBezTo>
                <a:close/>
                <a:moveTo>
                  <a:pt x="94" y="214"/>
                </a:moveTo>
                <a:cubicBezTo>
                  <a:pt x="98" y="218"/>
                  <a:pt x="98" y="218"/>
                  <a:pt x="98" y="218"/>
                </a:cubicBezTo>
                <a:cubicBezTo>
                  <a:pt x="94" y="222"/>
                  <a:pt x="94" y="222"/>
                  <a:pt x="94" y="222"/>
                </a:cubicBezTo>
                <a:cubicBezTo>
                  <a:pt x="90" y="218"/>
                  <a:pt x="90" y="218"/>
                  <a:pt x="90" y="218"/>
                </a:cubicBezTo>
                <a:cubicBezTo>
                  <a:pt x="94" y="214"/>
                  <a:pt x="94" y="214"/>
                  <a:pt x="94" y="214"/>
                </a:cubicBezTo>
                <a:close/>
                <a:moveTo>
                  <a:pt x="82" y="226"/>
                </a:moveTo>
                <a:cubicBezTo>
                  <a:pt x="86" y="230"/>
                  <a:pt x="86" y="230"/>
                  <a:pt x="86" y="230"/>
                </a:cubicBezTo>
                <a:cubicBezTo>
                  <a:pt x="82" y="235"/>
                  <a:pt x="82" y="235"/>
                  <a:pt x="82" y="235"/>
                </a:cubicBezTo>
                <a:cubicBezTo>
                  <a:pt x="77" y="230"/>
                  <a:pt x="77" y="230"/>
                  <a:pt x="77" y="230"/>
                </a:cubicBezTo>
                <a:cubicBezTo>
                  <a:pt x="82" y="226"/>
                  <a:pt x="82" y="226"/>
                  <a:pt x="82" y="226"/>
                </a:cubicBezTo>
                <a:close/>
                <a:moveTo>
                  <a:pt x="69" y="239"/>
                </a:moveTo>
                <a:cubicBezTo>
                  <a:pt x="73" y="243"/>
                  <a:pt x="73" y="243"/>
                  <a:pt x="73" y="243"/>
                </a:cubicBezTo>
                <a:cubicBezTo>
                  <a:pt x="69" y="247"/>
                  <a:pt x="69" y="247"/>
                  <a:pt x="69" y="247"/>
                </a:cubicBezTo>
                <a:cubicBezTo>
                  <a:pt x="65" y="243"/>
                  <a:pt x="65" y="243"/>
                  <a:pt x="65" y="243"/>
                </a:cubicBezTo>
                <a:cubicBezTo>
                  <a:pt x="69" y="239"/>
                  <a:pt x="69" y="239"/>
                  <a:pt x="69" y="239"/>
                </a:cubicBezTo>
                <a:close/>
                <a:moveTo>
                  <a:pt x="111" y="141"/>
                </a:moveTo>
                <a:cubicBezTo>
                  <a:pt x="107" y="145"/>
                  <a:pt x="107" y="145"/>
                  <a:pt x="107" y="145"/>
                </a:cubicBezTo>
                <a:cubicBezTo>
                  <a:pt x="102" y="141"/>
                  <a:pt x="102" y="141"/>
                  <a:pt x="102" y="141"/>
                </a:cubicBezTo>
                <a:cubicBezTo>
                  <a:pt x="107" y="136"/>
                  <a:pt x="107" y="136"/>
                  <a:pt x="107" y="136"/>
                </a:cubicBezTo>
                <a:cubicBezTo>
                  <a:pt x="111" y="141"/>
                  <a:pt x="111" y="141"/>
                  <a:pt x="111" y="141"/>
                </a:cubicBezTo>
                <a:close/>
                <a:moveTo>
                  <a:pt x="98" y="128"/>
                </a:moveTo>
                <a:cubicBezTo>
                  <a:pt x="94" y="132"/>
                  <a:pt x="94" y="132"/>
                  <a:pt x="94" y="132"/>
                </a:cubicBezTo>
                <a:cubicBezTo>
                  <a:pt x="90" y="128"/>
                  <a:pt x="90" y="128"/>
                  <a:pt x="90" y="128"/>
                </a:cubicBezTo>
                <a:cubicBezTo>
                  <a:pt x="94" y="124"/>
                  <a:pt x="94" y="124"/>
                  <a:pt x="94" y="124"/>
                </a:cubicBezTo>
                <a:cubicBezTo>
                  <a:pt x="98" y="128"/>
                  <a:pt x="98" y="128"/>
                  <a:pt x="98" y="128"/>
                </a:cubicBezTo>
                <a:close/>
                <a:moveTo>
                  <a:pt x="86" y="116"/>
                </a:moveTo>
                <a:cubicBezTo>
                  <a:pt x="82" y="120"/>
                  <a:pt x="82" y="120"/>
                  <a:pt x="82" y="120"/>
                </a:cubicBezTo>
                <a:cubicBezTo>
                  <a:pt x="77" y="116"/>
                  <a:pt x="77" y="116"/>
                  <a:pt x="77" y="116"/>
                </a:cubicBezTo>
                <a:cubicBezTo>
                  <a:pt x="82" y="111"/>
                  <a:pt x="82" y="111"/>
                  <a:pt x="82" y="111"/>
                </a:cubicBezTo>
                <a:cubicBezTo>
                  <a:pt x="86" y="116"/>
                  <a:pt x="86" y="116"/>
                  <a:pt x="86" y="116"/>
                </a:cubicBezTo>
                <a:close/>
                <a:moveTo>
                  <a:pt x="73" y="103"/>
                </a:moveTo>
                <a:cubicBezTo>
                  <a:pt x="69" y="107"/>
                  <a:pt x="69" y="107"/>
                  <a:pt x="69" y="107"/>
                </a:cubicBezTo>
                <a:cubicBezTo>
                  <a:pt x="65" y="103"/>
                  <a:pt x="65" y="103"/>
                  <a:pt x="65" y="103"/>
                </a:cubicBezTo>
                <a:cubicBezTo>
                  <a:pt x="69" y="99"/>
                  <a:pt x="69" y="99"/>
                  <a:pt x="69" y="99"/>
                </a:cubicBezTo>
                <a:cubicBezTo>
                  <a:pt x="73" y="103"/>
                  <a:pt x="73" y="103"/>
                  <a:pt x="73" y="103"/>
                </a:cubicBezTo>
                <a:close/>
                <a:moveTo>
                  <a:pt x="72" y="64"/>
                </a:moveTo>
                <a:cubicBezTo>
                  <a:pt x="72" y="74"/>
                  <a:pt x="72" y="74"/>
                  <a:pt x="72" y="74"/>
                </a:cubicBezTo>
                <a:cubicBezTo>
                  <a:pt x="72" y="89"/>
                  <a:pt x="72" y="89"/>
                  <a:pt x="67" y="89"/>
                </a:cubicBezTo>
                <a:cubicBezTo>
                  <a:pt x="5" y="89"/>
                  <a:pt x="5" y="89"/>
                  <a:pt x="5" y="89"/>
                </a:cubicBezTo>
                <a:cubicBezTo>
                  <a:pt x="0" y="89"/>
                  <a:pt x="0" y="89"/>
                  <a:pt x="0" y="74"/>
                </a:cubicBezTo>
                <a:cubicBezTo>
                  <a:pt x="0" y="64"/>
                  <a:pt x="0" y="64"/>
                  <a:pt x="0" y="64"/>
                </a:cubicBezTo>
                <a:cubicBezTo>
                  <a:pt x="0" y="53"/>
                  <a:pt x="12" y="51"/>
                  <a:pt x="23" y="48"/>
                </a:cubicBezTo>
                <a:cubicBezTo>
                  <a:pt x="27" y="52"/>
                  <a:pt x="32" y="54"/>
                  <a:pt x="36" y="54"/>
                </a:cubicBezTo>
                <a:cubicBezTo>
                  <a:pt x="40" y="54"/>
                  <a:pt x="45" y="52"/>
                  <a:pt x="49" y="48"/>
                </a:cubicBezTo>
                <a:cubicBezTo>
                  <a:pt x="59" y="51"/>
                  <a:pt x="72" y="53"/>
                  <a:pt x="72" y="64"/>
                </a:cubicBezTo>
                <a:close/>
                <a:moveTo>
                  <a:pt x="36" y="48"/>
                </a:moveTo>
                <a:cubicBezTo>
                  <a:pt x="42" y="48"/>
                  <a:pt x="54" y="37"/>
                  <a:pt x="54" y="24"/>
                </a:cubicBezTo>
                <a:cubicBezTo>
                  <a:pt x="54" y="11"/>
                  <a:pt x="49" y="0"/>
                  <a:pt x="36" y="0"/>
                </a:cubicBezTo>
                <a:cubicBezTo>
                  <a:pt x="23" y="0"/>
                  <a:pt x="18" y="11"/>
                  <a:pt x="18" y="24"/>
                </a:cubicBezTo>
                <a:cubicBezTo>
                  <a:pt x="18" y="37"/>
                  <a:pt x="30" y="48"/>
                  <a:pt x="36" y="48"/>
                </a:cubicBezTo>
                <a:close/>
                <a:moveTo>
                  <a:pt x="296" y="64"/>
                </a:moveTo>
                <a:cubicBezTo>
                  <a:pt x="296" y="74"/>
                  <a:pt x="296" y="74"/>
                  <a:pt x="296" y="74"/>
                </a:cubicBezTo>
                <a:cubicBezTo>
                  <a:pt x="296" y="89"/>
                  <a:pt x="296" y="89"/>
                  <a:pt x="290" y="89"/>
                </a:cubicBezTo>
                <a:cubicBezTo>
                  <a:pt x="229" y="89"/>
                  <a:pt x="229" y="89"/>
                  <a:pt x="229" y="89"/>
                </a:cubicBezTo>
                <a:cubicBezTo>
                  <a:pt x="224" y="89"/>
                  <a:pt x="224" y="89"/>
                  <a:pt x="224" y="74"/>
                </a:cubicBezTo>
                <a:cubicBezTo>
                  <a:pt x="224" y="64"/>
                  <a:pt x="224" y="64"/>
                  <a:pt x="224" y="64"/>
                </a:cubicBezTo>
                <a:cubicBezTo>
                  <a:pt x="224" y="53"/>
                  <a:pt x="236" y="51"/>
                  <a:pt x="247" y="48"/>
                </a:cubicBezTo>
                <a:cubicBezTo>
                  <a:pt x="251" y="52"/>
                  <a:pt x="256" y="54"/>
                  <a:pt x="260" y="54"/>
                </a:cubicBezTo>
                <a:cubicBezTo>
                  <a:pt x="263" y="54"/>
                  <a:pt x="268" y="52"/>
                  <a:pt x="273" y="48"/>
                </a:cubicBezTo>
                <a:cubicBezTo>
                  <a:pt x="283" y="51"/>
                  <a:pt x="296" y="53"/>
                  <a:pt x="296" y="64"/>
                </a:cubicBezTo>
                <a:close/>
                <a:moveTo>
                  <a:pt x="260" y="48"/>
                </a:moveTo>
                <a:cubicBezTo>
                  <a:pt x="266" y="48"/>
                  <a:pt x="278" y="37"/>
                  <a:pt x="278" y="24"/>
                </a:cubicBezTo>
                <a:cubicBezTo>
                  <a:pt x="278" y="11"/>
                  <a:pt x="273" y="0"/>
                  <a:pt x="260" y="0"/>
                </a:cubicBezTo>
                <a:cubicBezTo>
                  <a:pt x="246" y="0"/>
                  <a:pt x="241" y="11"/>
                  <a:pt x="241" y="24"/>
                </a:cubicBezTo>
                <a:cubicBezTo>
                  <a:pt x="241" y="37"/>
                  <a:pt x="254" y="48"/>
                  <a:pt x="260" y="48"/>
                </a:cubicBezTo>
                <a:close/>
                <a:moveTo>
                  <a:pt x="296" y="275"/>
                </a:moveTo>
                <a:cubicBezTo>
                  <a:pt x="296" y="285"/>
                  <a:pt x="296" y="285"/>
                  <a:pt x="296" y="285"/>
                </a:cubicBezTo>
                <a:cubicBezTo>
                  <a:pt x="296" y="300"/>
                  <a:pt x="296" y="300"/>
                  <a:pt x="290" y="300"/>
                </a:cubicBezTo>
                <a:cubicBezTo>
                  <a:pt x="229" y="300"/>
                  <a:pt x="229" y="300"/>
                  <a:pt x="229" y="300"/>
                </a:cubicBezTo>
                <a:cubicBezTo>
                  <a:pt x="224" y="300"/>
                  <a:pt x="224" y="300"/>
                  <a:pt x="224" y="285"/>
                </a:cubicBezTo>
                <a:cubicBezTo>
                  <a:pt x="224" y="275"/>
                  <a:pt x="224" y="275"/>
                  <a:pt x="224" y="275"/>
                </a:cubicBezTo>
                <a:cubicBezTo>
                  <a:pt x="224" y="264"/>
                  <a:pt x="236" y="263"/>
                  <a:pt x="247" y="259"/>
                </a:cubicBezTo>
                <a:cubicBezTo>
                  <a:pt x="251" y="263"/>
                  <a:pt x="256" y="265"/>
                  <a:pt x="260" y="265"/>
                </a:cubicBezTo>
                <a:cubicBezTo>
                  <a:pt x="264" y="265"/>
                  <a:pt x="268" y="263"/>
                  <a:pt x="273" y="259"/>
                </a:cubicBezTo>
                <a:cubicBezTo>
                  <a:pt x="283" y="263"/>
                  <a:pt x="296" y="264"/>
                  <a:pt x="296" y="275"/>
                </a:cubicBezTo>
                <a:close/>
                <a:moveTo>
                  <a:pt x="260" y="259"/>
                </a:moveTo>
                <a:cubicBezTo>
                  <a:pt x="266" y="259"/>
                  <a:pt x="278" y="248"/>
                  <a:pt x="278" y="235"/>
                </a:cubicBezTo>
                <a:cubicBezTo>
                  <a:pt x="278" y="222"/>
                  <a:pt x="273" y="211"/>
                  <a:pt x="260" y="211"/>
                </a:cubicBezTo>
                <a:cubicBezTo>
                  <a:pt x="246" y="211"/>
                  <a:pt x="241" y="222"/>
                  <a:pt x="241" y="235"/>
                </a:cubicBezTo>
                <a:cubicBezTo>
                  <a:pt x="241" y="248"/>
                  <a:pt x="254" y="259"/>
                  <a:pt x="260" y="259"/>
                </a:cubicBezTo>
                <a:close/>
                <a:moveTo>
                  <a:pt x="72" y="275"/>
                </a:moveTo>
                <a:cubicBezTo>
                  <a:pt x="72" y="285"/>
                  <a:pt x="72" y="285"/>
                  <a:pt x="72" y="285"/>
                </a:cubicBezTo>
                <a:cubicBezTo>
                  <a:pt x="72" y="300"/>
                  <a:pt x="72" y="300"/>
                  <a:pt x="67" y="300"/>
                </a:cubicBezTo>
                <a:cubicBezTo>
                  <a:pt x="5" y="300"/>
                  <a:pt x="5" y="300"/>
                  <a:pt x="5" y="300"/>
                </a:cubicBezTo>
                <a:cubicBezTo>
                  <a:pt x="0" y="300"/>
                  <a:pt x="0" y="300"/>
                  <a:pt x="0" y="285"/>
                </a:cubicBezTo>
                <a:cubicBezTo>
                  <a:pt x="0" y="275"/>
                  <a:pt x="0" y="275"/>
                  <a:pt x="0" y="275"/>
                </a:cubicBezTo>
                <a:cubicBezTo>
                  <a:pt x="0" y="264"/>
                  <a:pt x="12" y="263"/>
                  <a:pt x="23" y="259"/>
                </a:cubicBezTo>
                <a:cubicBezTo>
                  <a:pt x="27" y="263"/>
                  <a:pt x="32" y="265"/>
                  <a:pt x="36" y="265"/>
                </a:cubicBezTo>
                <a:cubicBezTo>
                  <a:pt x="40" y="265"/>
                  <a:pt x="45" y="263"/>
                  <a:pt x="49" y="259"/>
                </a:cubicBezTo>
                <a:cubicBezTo>
                  <a:pt x="59" y="263"/>
                  <a:pt x="72" y="264"/>
                  <a:pt x="72" y="275"/>
                </a:cubicBezTo>
                <a:close/>
                <a:moveTo>
                  <a:pt x="36" y="259"/>
                </a:moveTo>
                <a:cubicBezTo>
                  <a:pt x="42" y="259"/>
                  <a:pt x="54" y="248"/>
                  <a:pt x="54" y="235"/>
                </a:cubicBezTo>
                <a:cubicBezTo>
                  <a:pt x="54" y="222"/>
                  <a:pt x="49" y="211"/>
                  <a:pt x="36" y="211"/>
                </a:cubicBezTo>
                <a:cubicBezTo>
                  <a:pt x="23" y="211"/>
                  <a:pt x="18" y="222"/>
                  <a:pt x="18" y="235"/>
                </a:cubicBezTo>
                <a:cubicBezTo>
                  <a:pt x="18" y="248"/>
                  <a:pt x="30" y="259"/>
                  <a:pt x="36" y="259"/>
                </a:cubicBezTo>
                <a:close/>
                <a:moveTo>
                  <a:pt x="125" y="116"/>
                </a:moveTo>
                <a:cubicBezTo>
                  <a:pt x="125" y="100"/>
                  <a:pt x="131" y="87"/>
                  <a:pt x="147" y="87"/>
                </a:cubicBezTo>
                <a:cubicBezTo>
                  <a:pt x="163" y="87"/>
                  <a:pt x="169" y="100"/>
                  <a:pt x="169" y="116"/>
                </a:cubicBezTo>
                <a:cubicBezTo>
                  <a:pt x="169" y="132"/>
                  <a:pt x="154" y="145"/>
                  <a:pt x="147" y="145"/>
                </a:cubicBezTo>
                <a:cubicBezTo>
                  <a:pt x="140" y="145"/>
                  <a:pt x="125" y="132"/>
                  <a:pt x="125" y="116"/>
                </a:cubicBezTo>
                <a:close/>
                <a:moveTo>
                  <a:pt x="148" y="156"/>
                </a:moveTo>
                <a:cubicBezTo>
                  <a:pt x="150" y="176"/>
                  <a:pt x="150" y="176"/>
                  <a:pt x="150" y="176"/>
                </a:cubicBezTo>
                <a:cubicBezTo>
                  <a:pt x="153" y="168"/>
                  <a:pt x="155" y="159"/>
                  <a:pt x="159" y="151"/>
                </a:cubicBezTo>
                <a:cubicBezTo>
                  <a:pt x="159" y="150"/>
                  <a:pt x="159" y="150"/>
                  <a:pt x="162" y="145"/>
                </a:cubicBezTo>
                <a:cubicBezTo>
                  <a:pt x="174" y="149"/>
                  <a:pt x="190" y="151"/>
                  <a:pt x="190" y="164"/>
                </a:cubicBezTo>
                <a:cubicBezTo>
                  <a:pt x="190" y="176"/>
                  <a:pt x="190" y="176"/>
                  <a:pt x="190" y="176"/>
                </a:cubicBezTo>
                <a:cubicBezTo>
                  <a:pt x="190" y="194"/>
                  <a:pt x="190" y="194"/>
                  <a:pt x="183" y="194"/>
                </a:cubicBezTo>
                <a:cubicBezTo>
                  <a:pt x="110" y="194"/>
                  <a:pt x="110" y="194"/>
                  <a:pt x="110" y="194"/>
                </a:cubicBezTo>
                <a:cubicBezTo>
                  <a:pt x="104" y="194"/>
                  <a:pt x="104" y="194"/>
                  <a:pt x="104" y="176"/>
                </a:cubicBezTo>
                <a:cubicBezTo>
                  <a:pt x="104" y="164"/>
                  <a:pt x="104" y="164"/>
                  <a:pt x="104" y="164"/>
                </a:cubicBezTo>
                <a:cubicBezTo>
                  <a:pt x="104" y="151"/>
                  <a:pt x="118" y="149"/>
                  <a:pt x="131" y="145"/>
                </a:cubicBezTo>
                <a:cubicBezTo>
                  <a:pt x="134" y="150"/>
                  <a:pt x="134" y="150"/>
                  <a:pt x="135" y="151"/>
                </a:cubicBezTo>
                <a:cubicBezTo>
                  <a:pt x="138" y="159"/>
                  <a:pt x="141" y="168"/>
                  <a:pt x="143" y="176"/>
                </a:cubicBezTo>
                <a:cubicBezTo>
                  <a:pt x="145" y="156"/>
                  <a:pt x="145" y="156"/>
                  <a:pt x="145" y="156"/>
                </a:cubicBezTo>
                <a:cubicBezTo>
                  <a:pt x="145" y="155"/>
                  <a:pt x="145" y="155"/>
                  <a:pt x="145" y="155"/>
                </a:cubicBezTo>
                <a:cubicBezTo>
                  <a:pt x="141" y="149"/>
                  <a:pt x="141" y="149"/>
                  <a:pt x="141" y="149"/>
                </a:cubicBezTo>
                <a:cubicBezTo>
                  <a:pt x="144" y="150"/>
                  <a:pt x="144" y="150"/>
                  <a:pt x="144" y="150"/>
                </a:cubicBezTo>
                <a:cubicBezTo>
                  <a:pt x="145" y="150"/>
                  <a:pt x="145" y="150"/>
                  <a:pt x="146" y="150"/>
                </a:cubicBezTo>
                <a:cubicBezTo>
                  <a:pt x="146" y="150"/>
                  <a:pt x="146" y="150"/>
                  <a:pt x="147" y="150"/>
                </a:cubicBezTo>
                <a:cubicBezTo>
                  <a:pt x="147" y="150"/>
                  <a:pt x="147" y="150"/>
                  <a:pt x="147" y="150"/>
                </a:cubicBezTo>
                <a:cubicBezTo>
                  <a:pt x="149" y="150"/>
                  <a:pt x="149" y="150"/>
                  <a:pt x="149" y="150"/>
                </a:cubicBezTo>
                <a:cubicBezTo>
                  <a:pt x="152" y="149"/>
                  <a:pt x="152" y="149"/>
                  <a:pt x="152" y="149"/>
                </a:cubicBezTo>
                <a:cubicBezTo>
                  <a:pt x="149" y="155"/>
                  <a:pt x="149" y="155"/>
                  <a:pt x="149" y="155"/>
                </a:cubicBezTo>
                <a:lnTo>
                  <a:pt x="148" y="156"/>
                </a:lnTo>
                <a:close/>
              </a:path>
            </a:pathLst>
          </a:custGeom>
          <a:solidFill>
            <a:schemeClr val="tx1"/>
          </a:solidFill>
          <a:ln>
            <a:noFill/>
          </a:ln>
        </p:spPr>
        <p:txBody>
          <a:bodyPr vert="horz" wrap="square" lIns="91432" tIns="45716" rIns="91432" bIns="45716" numCol="1" anchor="t" anchorCtr="0" compatLnSpc="1">
            <a:prstTxWarp prst="textNoShape">
              <a:avLst/>
            </a:prstTxWarp>
          </a:bodyPr>
          <a:lstStyle/>
          <a:p>
            <a:endParaRPr lang="en-US">
              <a:solidFill>
                <a:schemeClr val="bg1"/>
              </a:solidFill>
              <a:sym typeface="Segoe UI"/>
            </a:endParaRPr>
          </a:p>
        </p:txBody>
      </p:sp>
      <p:sp>
        <p:nvSpPr>
          <p:cNvPr id="29" name="Rectangle 28"/>
          <p:cNvSpPr/>
          <p:nvPr>
            <p:custDataLst>
              <p:tags r:id="rId9"/>
            </p:custDataLst>
          </p:nvPr>
        </p:nvSpPr>
        <p:spPr bwMode="auto">
          <a:xfrm>
            <a:off x="4664531" y="1078824"/>
            <a:ext cx="1426464" cy="3505200"/>
          </a:xfrm>
          <a:prstGeom prst="rect">
            <a:avLst/>
          </a:prstGeom>
          <a:solidFill>
            <a:schemeClr val="tx2"/>
          </a:solidFill>
          <a:ln w="9525" cap="flat" cmpd="sng" algn="ctr">
            <a:noFill/>
            <a:prstDash val="solid"/>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34294" tIns="34294" rIns="34294" bIns="34294" numCol="1" rtlCol="0" anchor="b" anchorCtr="0" compatLnSpc="1">
            <a:prstTxWarp prst="textNoShape">
              <a:avLst/>
            </a:prstTxWarp>
          </a:bodyPr>
          <a:lstStyle/>
          <a:p>
            <a:pPr algn="ctr" defTabSz="914023" fontAlgn="base">
              <a:spcBef>
                <a:spcPct val="0"/>
              </a:spcBef>
              <a:spcAft>
                <a:spcPct val="0"/>
              </a:spcAft>
            </a:pPr>
            <a:r>
              <a:rPr lang="en-US" dirty="0">
                <a:solidFill>
                  <a:schemeClr val="tx1"/>
                </a:solidFill>
                <a:sym typeface="Segoe UI"/>
              </a:rPr>
              <a:t>Align to Business</a:t>
            </a:r>
          </a:p>
        </p:txBody>
      </p:sp>
      <p:grpSp>
        <p:nvGrpSpPr>
          <p:cNvPr id="59" name="Group 58"/>
          <p:cNvGrpSpPr/>
          <p:nvPr/>
        </p:nvGrpSpPr>
        <p:grpSpPr>
          <a:xfrm>
            <a:off x="4836299" y="2419472"/>
            <a:ext cx="1082928" cy="1082928"/>
            <a:chOff x="446088" y="2665413"/>
            <a:chExt cx="920750" cy="920750"/>
          </a:xfrm>
          <a:solidFill>
            <a:schemeClr val="tx1"/>
          </a:solidFill>
        </p:grpSpPr>
        <p:sp>
          <p:nvSpPr>
            <p:cNvPr id="60" name="Freeform 27"/>
            <p:cNvSpPr>
              <a:spLocks noEditPoints="1"/>
            </p:cNvSpPr>
            <p:nvPr/>
          </p:nvSpPr>
          <p:spPr bwMode="auto">
            <a:xfrm>
              <a:off x="446088" y="2665413"/>
              <a:ext cx="920750" cy="920750"/>
            </a:xfrm>
            <a:custGeom>
              <a:avLst/>
              <a:gdLst>
                <a:gd name="T0" fmla="*/ 494 w 518"/>
                <a:gd name="T1" fmla="*/ 216 h 518"/>
                <a:gd name="T2" fmla="*/ 302 w 518"/>
                <a:gd name="T3" fmla="*/ 24 h 518"/>
                <a:gd name="T4" fmla="*/ 216 w 518"/>
                <a:gd name="T5" fmla="*/ 24 h 518"/>
                <a:gd name="T6" fmla="*/ 24 w 518"/>
                <a:gd name="T7" fmla="*/ 216 h 518"/>
                <a:gd name="T8" fmla="*/ 24 w 518"/>
                <a:gd name="T9" fmla="*/ 302 h 518"/>
                <a:gd name="T10" fmla="*/ 216 w 518"/>
                <a:gd name="T11" fmla="*/ 494 h 518"/>
                <a:gd name="T12" fmla="*/ 302 w 518"/>
                <a:gd name="T13" fmla="*/ 494 h 518"/>
                <a:gd name="T14" fmla="*/ 494 w 518"/>
                <a:gd name="T15" fmla="*/ 302 h 518"/>
                <a:gd name="T16" fmla="*/ 494 w 518"/>
                <a:gd name="T17" fmla="*/ 216 h 518"/>
                <a:gd name="T18" fmla="*/ 482 w 518"/>
                <a:gd name="T19" fmla="*/ 290 h 518"/>
                <a:gd name="T20" fmla="*/ 289 w 518"/>
                <a:gd name="T21" fmla="*/ 482 h 518"/>
                <a:gd name="T22" fmla="*/ 228 w 518"/>
                <a:gd name="T23" fmla="*/ 482 h 518"/>
                <a:gd name="T24" fmla="*/ 36 w 518"/>
                <a:gd name="T25" fmla="*/ 290 h 518"/>
                <a:gd name="T26" fmla="*/ 36 w 518"/>
                <a:gd name="T27" fmla="*/ 228 h 518"/>
                <a:gd name="T28" fmla="*/ 228 w 518"/>
                <a:gd name="T29" fmla="*/ 36 h 518"/>
                <a:gd name="T30" fmla="*/ 290 w 518"/>
                <a:gd name="T31" fmla="*/ 36 h 518"/>
                <a:gd name="T32" fmla="*/ 482 w 518"/>
                <a:gd name="T33" fmla="*/ 228 h 518"/>
                <a:gd name="T34" fmla="*/ 482 w 518"/>
                <a:gd name="T35" fmla="*/ 29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8" h="518">
                  <a:moveTo>
                    <a:pt x="494" y="216"/>
                  </a:moveTo>
                  <a:cubicBezTo>
                    <a:pt x="302" y="24"/>
                    <a:pt x="302" y="24"/>
                    <a:pt x="302" y="24"/>
                  </a:cubicBezTo>
                  <a:cubicBezTo>
                    <a:pt x="278" y="0"/>
                    <a:pt x="240" y="0"/>
                    <a:pt x="216" y="24"/>
                  </a:cubicBezTo>
                  <a:cubicBezTo>
                    <a:pt x="24" y="216"/>
                    <a:pt x="24" y="216"/>
                    <a:pt x="24" y="216"/>
                  </a:cubicBezTo>
                  <a:cubicBezTo>
                    <a:pt x="0" y="240"/>
                    <a:pt x="0" y="278"/>
                    <a:pt x="24" y="302"/>
                  </a:cubicBezTo>
                  <a:cubicBezTo>
                    <a:pt x="216" y="494"/>
                    <a:pt x="216" y="494"/>
                    <a:pt x="216" y="494"/>
                  </a:cubicBezTo>
                  <a:cubicBezTo>
                    <a:pt x="240" y="518"/>
                    <a:pt x="278" y="518"/>
                    <a:pt x="302" y="494"/>
                  </a:cubicBezTo>
                  <a:cubicBezTo>
                    <a:pt x="494" y="302"/>
                    <a:pt x="494" y="302"/>
                    <a:pt x="494" y="302"/>
                  </a:cubicBezTo>
                  <a:cubicBezTo>
                    <a:pt x="518" y="278"/>
                    <a:pt x="518" y="240"/>
                    <a:pt x="494" y="216"/>
                  </a:cubicBezTo>
                  <a:close/>
                  <a:moveTo>
                    <a:pt x="482" y="290"/>
                  </a:moveTo>
                  <a:cubicBezTo>
                    <a:pt x="289" y="482"/>
                    <a:pt x="289" y="482"/>
                    <a:pt x="289" y="482"/>
                  </a:cubicBezTo>
                  <a:cubicBezTo>
                    <a:pt x="273" y="499"/>
                    <a:pt x="245" y="499"/>
                    <a:pt x="228" y="482"/>
                  </a:cubicBezTo>
                  <a:cubicBezTo>
                    <a:pt x="36" y="290"/>
                    <a:pt x="36" y="290"/>
                    <a:pt x="36" y="290"/>
                  </a:cubicBezTo>
                  <a:cubicBezTo>
                    <a:pt x="19" y="273"/>
                    <a:pt x="19" y="245"/>
                    <a:pt x="36" y="228"/>
                  </a:cubicBezTo>
                  <a:cubicBezTo>
                    <a:pt x="228" y="36"/>
                    <a:pt x="228" y="36"/>
                    <a:pt x="228" y="36"/>
                  </a:cubicBezTo>
                  <a:cubicBezTo>
                    <a:pt x="245" y="19"/>
                    <a:pt x="273" y="19"/>
                    <a:pt x="290" y="36"/>
                  </a:cubicBezTo>
                  <a:cubicBezTo>
                    <a:pt x="482" y="228"/>
                    <a:pt x="482" y="228"/>
                    <a:pt x="482" y="228"/>
                  </a:cubicBezTo>
                  <a:cubicBezTo>
                    <a:pt x="499" y="245"/>
                    <a:pt x="499" y="273"/>
                    <a:pt x="482" y="2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61" name="Freeform 28"/>
            <p:cNvSpPr>
              <a:spLocks noEditPoints="1"/>
            </p:cNvSpPr>
            <p:nvPr/>
          </p:nvSpPr>
          <p:spPr bwMode="auto">
            <a:xfrm>
              <a:off x="514350" y="2732088"/>
              <a:ext cx="785813" cy="785813"/>
            </a:xfrm>
            <a:custGeom>
              <a:avLst/>
              <a:gdLst>
                <a:gd name="T0" fmla="*/ 432 w 442"/>
                <a:gd name="T1" fmla="*/ 203 h 442"/>
                <a:gd name="T2" fmla="*/ 239 w 442"/>
                <a:gd name="T3" fmla="*/ 10 h 442"/>
                <a:gd name="T4" fmla="*/ 203 w 442"/>
                <a:gd name="T5" fmla="*/ 10 h 442"/>
                <a:gd name="T6" fmla="*/ 10 w 442"/>
                <a:gd name="T7" fmla="*/ 203 h 442"/>
                <a:gd name="T8" fmla="*/ 10 w 442"/>
                <a:gd name="T9" fmla="*/ 239 h 442"/>
                <a:gd name="T10" fmla="*/ 203 w 442"/>
                <a:gd name="T11" fmla="*/ 432 h 442"/>
                <a:gd name="T12" fmla="*/ 239 w 442"/>
                <a:gd name="T13" fmla="*/ 432 h 442"/>
                <a:gd name="T14" fmla="*/ 432 w 442"/>
                <a:gd name="T15" fmla="*/ 239 h 442"/>
                <a:gd name="T16" fmla="*/ 432 w 442"/>
                <a:gd name="T17" fmla="*/ 203 h 442"/>
                <a:gd name="T18" fmla="*/ 292 w 442"/>
                <a:gd name="T19" fmla="*/ 331 h 442"/>
                <a:gd name="T20" fmla="*/ 270 w 442"/>
                <a:gd name="T21" fmla="*/ 310 h 442"/>
                <a:gd name="T22" fmla="*/ 245 w 442"/>
                <a:gd name="T23" fmla="*/ 273 h 442"/>
                <a:gd name="T24" fmla="*/ 245 w 442"/>
                <a:gd name="T25" fmla="*/ 352 h 442"/>
                <a:gd name="T26" fmla="*/ 189 w 442"/>
                <a:gd name="T27" fmla="*/ 352 h 442"/>
                <a:gd name="T28" fmla="*/ 189 w 442"/>
                <a:gd name="T29" fmla="*/ 157 h 442"/>
                <a:gd name="T30" fmla="*/ 154 w 442"/>
                <a:gd name="T31" fmla="*/ 157 h 442"/>
                <a:gd name="T32" fmla="*/ 154 w 442"/>
                <a:gd name="T33" fmla="*/ 157 h 442"/>
                <a:gd name="T34" fmla="*/ 146 w 442"/>
                <a:gd name="T35" fmla="*/ 150 h 442"/>
                <a:gd name="T36" fmla="*/ 147 w 442"/>
                <a:gd name="T37" fmla="*/ 146 h 442"/>
                <a:gd name="T38" fmla="*/ 215 w 442"/>
                <a:gd name="T39" fmla="*/ 54 h 442"/>
                <a:gd name="T40" fmla="*/ 286 w 442"/>
                <a:gd name="T41" fmla="*/ 145 h 442"/>
                <a:gd name="T42" fmla="*/ 286 w 442"/>
                <a:gd name="T43" fmla="*/ 145 h 442"/>
                <a:gd name="T44" fmla="*/ 288 w 442"/>
                <a:gd name="T45" fmla="*/ 150 h 442"/>
                <a:gd name="T46" fmla="*/ 280 w 442"/>
                <a:gd name="T47" fmla="*/ 157 h 442"/>
                <a:gd name="T48" fmla="*/ 280 w 442"/>
                <a:gd name="T49" fmla="*/ 157 h 442"/>
                <a:gd name="T50" fmla="*/ 245 w 442"/>
                <a:gd name="T51" fmla="*/ 157 h 442"/>
                <a:gd name="T52" fmla="*/ 245 w 442"/>
                <a:gd name="T53" fmla="*/ 165 h 442"/>
                <a:gd name="T54" fmla="*/ 246 w 442"/>
                <a:gd name="T55" fmla="*/ 170 h 442"/>
                <a:gd name="T56" fmla="*/ 257 w 442"/>
                <a:gd name="T57" fmla="*/ 204 h 442"/>
                <a:gd name="T58" fmla="*/ 300 w 442"/>
                <a:gd name="T59" fmla="*/ 285 h 442"/>
                <a:gd name="T60" fmla="*/ 320 w 442"/>
                <a:gd name="T61" fmla="*/ 303 h 442"/>
                <a:gd name="T62" fmla="*/ 292 w 442"/>
                <a:gd name="T63" fmla="*/ 331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2" h="442">
                  <a:moveTo>
                    <a:pt x="432" y="203"/>
                  </a:moveTo>
                  <a:cubicBezTo>
                    <a:pt x="239" y="10"/>
                    <a:pt x="239" y="10"/>
                    <a:pt x="239" y="10"/>
                  </a:cubicBezTo>
                  <a:cubicBezTo>
                    <a:pt x="229" y="0"/>
                    <a:pt x="213" y="0"/>
                    <a:pt x="203" y="10"/>
                  </a:cubicBezTo>
                  <a:cubicBezTo>
                    <a:pt x="10" y="203"/>
                    <a:pt x="10" y="203"/>
                    <a:pt x="10" y="203"/>
                  </a:cubicBezTo>
                  <a:cubicBezTo>
                    <a:pt x="0" y="213"/>
                    <a:pt x="0" y="229"/>
                    <a:pt x="10" y="239"/>
                  </a:cubicBezTo>
                  <a:cubicBezTo>
                    <a:pt x="203" y="432"/>
                    <a:pt x="203" y="432"/>
                    <a:pt x="203" y="432"/>
                  </a:cubicBezTo>
                  <a:cubicBezTo>
                    <a:pt x="213" y="442"/>
                    <a:pt x="229" y="442"/>
                    <a:pt x="239" y="432"/>
                  </a:cubicBezTo>
                  <a:cubicBezTo>
                    <a:pt x="432" y="239"/>
                    <a:pt x="432" y="239"/>
                    <a:pt x="432" y="239"/>
                  </a:cubicBezTo>
                  <a:cubicBezTo>
                    <a:pt x="442" y="229"/>
                    <a:pt x="442" y="213"/>
                    <a:pt x="432" y="203"/>
                  </a:cubicBezTo>
                  <a:close/>
                  <a:moveTo>
                    <a:pt x="292" y="331"/>
                  </a:moveTo>
                  <a:cubicBezTo>
                    <a:pt x="284" y="325"/>
                    <a:pt x="277" y="318"/>
                    <a:pt x="270" y="310"/>
                  </a:cubicBezTo>
                  <a:cubicBezTo>
                    <a:pt x="260" y="299"/>
                    <a:pt x="252" y="286"/>
                    <a:pt x="245" y="273"/>
                  </a:cubicBezTo>
                  <a:cubicBezTo>
                    <a:pt x="245" y="352"/>
                    <a:pt x="245" y="352"/>
                    <a:pt x="245" y="352"/>
                  </a:cubicBezTo>
                  <a:cubicBezTo>
                    <a:pt x="189" y="352"/>
                    <a:pt x="189" y="352"/>
                    <a:pt x="189" y="352"/>
                  </a:cubicBezTo>
                  <a:cubicBezTo>
                    <a:pt x="189" y="157"/>
                    <a:pt x="189" y="157"/>
                    <a:pt x="189" y="157"/>
                  </a:cubicBezTo>
                  <a:cubicBezTo>
                    <a:pt x="154" y="157"/>
                    <a:pt x="154" y="157"/>
                    <a:pt x="154" y="157"/>
                  </a:cubicBezTo>
                  <a:cubicBezTo>
                    <a:pt x="154" y="157"/>
                    <a:pt x="154" y="157"/>
                    <a:pt x="154" y="157"/>
                  </a:cubicBezTo>
                  <a:cubicBezTo>
                    <a:pt x="150" y="157"/>
                    <a:pt x="146" y="154"/>
                    <a:pt x="146" y="150"/>
                  </a:cubicBezTo>
                  <a:cubicBezTo>
                    <a:pt x="146" y="148"/>
                    <a:pt x="147" y="147"/>
                    <a:pt x="147" y="146"/>
                  </a:cubicBezTo>
                  <a:cubicBezTo>
                    <a:pt x="215" y="54"/>
                    <a:pt x="215" y="54"/>
                    <a:pt x="215" y="54"/>
                  </a:cubicBezTo>
                  <a:cubicBezTo>
                    <a:pt x="286" y="145"/>
                    <a:pt x="286" y="145"/>
                    <a:pt x="286" y="145"/>
                  </a:cubicBezTo>
                  <a:cubicBezTo>
                    <a:pt x="286" y="145"/>
                    <a:pt x="286" y="145"/>
                    <a:pt x="286" y="145"/>
                  </a:cubicBezTo>
                  <a:cubicBezTo>
                    <a:pt x="287" y="146"/>
                    <a:pt x="288" y="148"/>
                    <a:pt x="288" y="150"/>
                  </a:cubicBezTo>
                  <a:cubicBezTo>
                    <a:pt x="288" y="154"/>
                    <a:pt x="284" y="157"/>
                    <a:pt x="280" y="157"/>
                  </a:cubicBezTo>
                  <a:cubicBezTo>
                    <a:pt x="280" y="157"/>
                    <a:pt x="280" y="157"/>
                    <a:pt x="280" y="157"/>
                  </a:cubicBezTo>
                  <a:cubicBezTo>
                    <a:pt x="245" y="157"/>
                    <a:pt x="245" y="157"/>
                    <a:pt x="245" y="157"/>
                  </a:cubicBezTo>
                  <a:cubicBezTo>
                    <a:pt x="245" y="165"/>
                    <a:pt x="245" y="165"/>
                    <a:pt x="245" y="165"/>
                  </a:cubicBezTo>
                  <a:cubicBezTo>
                    <a:pt x="245" y="166"/>
                    <a:pt x="246" y="168"/>
                    <a:pt x="246" y="170"/>
                  </a:cubicBezTo>
                  <a:cubicBezTo>
                    <a:pt x="249" y="179"/>
                    <a:pt x="252" y="191"/>
                    <a:pt x="257" y="204"/>
                  </a:cubicBezTo>
                  <a:cubicBezTo>
                    <a:pt x="266" y="230"/>
                    <a:pt x="281" y="263"/>
                    <a:pt x="300" y="285"/>
                  </a:cubicBezTo>
                  <a:cubicBezTo>
                    <a:pt x="307" y="292"/>
                    <a:pt x="313" y="298"/>
                    <a:pt x="320" y="303"/>
                  </a:cubicBezTo>
                  <a:lnTo>
                    <a:pt x="292" y="3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nvGrpSpPr>
          <p:cNvPr id="31" name="Group 30"/>
          <p:cNvGrpSpPr/>
          <p:nvPr/>
        </p:nvGrpSpPr>
        <p:grpSpPr bwMode="black">
          <a:xfrm>
            <a:off x="706512" y="1620826"/>
            <a:ext cx="778584" cy="836625"/>
            <a:chOff x="1435100" y="3879850"/>
            <a:chExt cx="739775" cy="795338"/>
          </a:xfrm>
          <a:solidFill>
            <a:schemeClr val="tx1"/>
          </a:solidFill>
        </p:grpSpPr>
        <p:sp>
          <p:nvSpPr>
            <p:cNvPr id="33" name="Freeform 6"/>
            <p:cNvSpPr>
              <a:spLocks/>
            </p:cNvSpPr>
            <p:nvPr/>
          </p:nvSpPr>
          <p:spPr bwMode="black">
            <a:xfrm>
              <a:off x="1435100" y="4191000"/>
              <a:ext cx="106363" cy="10636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1" name="Freeform 7"/>
            <p:cNvSpPr>
              <a:spLocks/>
            </p:cNvSpPr>
            <p:nvPr/>
          </p:nvSpPr>
          <p:spPr bwMode="black">
            <a:xfrm>
              <a:off x="1620838" y="4208463"/>
              <a:ext cx="106363" cy="104775"/>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3" name="Freeform 8"/>
            <p:cNvSpPr>
              <a:spLocks/>
            </p:cNvSpPr>
            <p:nvPr/>
          </p:nvSpPr>
          <p:spPr bwMode="black">
            <a:xfrm>
              <a:off x="1876425" y="4184650"/>
              <a:ext cx="104775" cy="104775"/>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5" name="Freeform 9"/>
            <p:cNvSpPr>
              <a:spLocks/>
            </p:cNvSpPr>
            <p:nvPr/>
          </p:nvSpPr>
          <p:spPr bwMode="black">
            <a:xfrm>
              <a:off x="1498600" y="3879850"/>
              <a:ext cx="336550" cy="795338"/>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6" name="Oval 10"/>
            <p:cNvSpPr>
              <a:spLocks noChangeArrowheads="1"/>
            </p:cNvSpPr>
            <p:nvPr/>
          </p:nvSpPr>
          <p:spPr bwMode="black">
            <a:xfrm>
              <a:off x="1744663" y="4589463"/>
              <a:ext cx="53975" cy="539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7" name="Freeform 11"/>
            <p:cNvSpPr>
              <a:spLocks/>
            </p:cNvSpPr>
            <p:nvPr/>
          </p:nvSpPr>
          <p:spPr bwMode="black">
            <a:xfrm>
              <a:off x="1860550" y="4225925"/>
              <a:ext cx="314325" cy="350838"/>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8" name="Oval 12"/>
            <p:cNvSpPr>
              <a:spLocks noChangeArrowheads="1"/>
            </p:cNvSpPr>
            <p:nvPr/>
          </p:nvSpPr>
          <p:spPr bwMode="black">
            <a:xfrm>
              <a:off x="1892300" y="4491038"/>
              <a:ext cx="53975" cy="539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9" name="Freeform 13"/>
            <p:cNvSpPr>
              <a:spLocks/>
            </p:cNvSpPr>
            <p:nvPr/>
          </p:nvSpPr>
          <p:spPr bwMode="black">
            <a:xfrm>
              <a:off x="1447800" y="4306888"/>
              <a:ext cx="215900" cy="322263"/>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0" name="Oval 14"/>
            <p:cNvSpPr>
              <a:spLocks noChangeArrowheads="1"/>
            </p:cNvSpPr>
            <p:nvPr/>
          </p:nvSpPr>
          <p:spPr bwMode="black">
            <a:xfrm>
              <a:off x="1577975" y="4543425"/>
              <a:ext cx="53975" cy="539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
        <p:nvSpPr>
          <p:cNvPr id="34"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51"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2"/>
              </a:rPr>
              <a:t>www.rapidbbs.cn</a:t>
            </a:r>
            <a:endParaRPr lang="zh-CN" altLang="en-US" sz="1200" b="0">
              <a:latin typeface="Arial" charset="0"/>
              <a:ea typeface="ＭＳ Ｐゴシック" pitchFamily="34" charset="-128"/>
            </a:endParaRPr>
          </a:p>
        </p:txBody>
      </p:sp>
      <p:pic>
        <p:nvPicPr>
          <p:cNvPr id="52" name="Picture 2">
            <a:hlinkClick r:id="rId22"/>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3216257"/>
      </p:ext>
    </p:extLst>
  </p:cSld>
  <p:clrMapOvr>
    <a:masterClrMapping/>
  </p:clrMapOvr>
  <p:transition>
    <p:fade/>
  </p:transition>
  <p:timing>
    <p:tnLst>
      <p:par>
        <p:cTn id="1" dur="indefinite" restart="never" nodeType="tmRoot"/>
      </p:par>
    </p:tnLst>
  </p:timing>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1" name="Object 210" hidden="1"/>
          <p:cNvGraphicFramePr>
            <a:graphicFrameLocks noChangeAspect="1"/>
          </p:cNvGraphicFramePr>
          <p:nvPr>
            <p:custDataLst>
              <p:tags r:id="rId2"/>
            </p:custDataLst>
            <p:extLst>
              <p:ext uri="{D42A27DB-BD31-4B8C-83A1-F6EECF244321}">
                <p14:modId xmlns:p14="http://schemas.microsoft.com/office/powerpoint/2010/main" val="1500157986"/>
              </p:ext>
            </p:extLst>
          </p:nvPr>
        </p:nvGraphicFramePr>
        <p:xfrm>
          <a:off x="0" y="1"/>
          <a:ext cx="158750" cy="158750"/>
        </p:xfrm>
        <a:graphic>
          <a:graphicData uri="http://schemas.openxmlformats.org/presentationml/2006/ole">
            <mc:AlternateContent xmlns:mc="http://schemas.openxmlformats.org/markup-compatibility/2006">
              <mc:Choice xmlns:v="urn:schemas-microsoft-com:vml" Requires="v">
                <p:oleObj spid="_x0000_s14344"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0" y="1"/>
                        <a:ext cx="158750" cy="158750"/>
                      </a:xfrm>
                      <a:prstGeom prst="rect">
                        <a:avLst/>
                      </a:prstGeom>
                    </p:spPr>
                  </p:pic>
                </p:oleObj>
              </mc:Fallback>
            </mc:AlternateContent>
          </a:graphicData>
        </a:graphic>
      </p:graphicFrame>
      <p:grpSp>
        <p:nvGrpSpPr>
          <p:cNvPr id="6" name="Group 5"/>
          <p:cNvGrpSpPr/>
          <p:nvPr/>
        </p:nvGrpSpPr>
        <p:grpSpPr>
          <a:xfrm>
            <a:off x="6053414" y="1558951"/>
            <a:ext cx="2794839" cy="2644345"/>
            <a:chOff x="6053413" y="1558949"/>
            <a:chExt cx="2794839" cy="2644345"/>
          </a:xfrm>
        </p:grpSpPr>
        <p:sp>
          <p:nvSpPr>
            <p:cNvPr id="35" name="Circular Arrow 34"/>
            <p:cNvSpPr/>
            <p:nvPr>
              <p:custDataLst>
                <p:tags r:id="rId11"/>
              </p:custDataLst>
            </p:nvPr>
          </p:nvSpPr>
          <p:spPr>
            <a:xfrm rot="8459188">
              <a:off x="6134637" y="1571482"/>
              <a:ext cx="2631811" cy="2631812"/>
            </a:xfrm>
            <a:prstGeom prst="circularArrow">
              <a:avLst>
                <a:gd name="adj1" fmla="val 24401"/>
                <a:gd name="adj2" fmla="val 1142319"/>
                <a:gd name="adj3" fmla="val 20457687"/>
                <a:gd name="adj4" fmla="val 12180209"/>
                <a:gd name="adj5" fmla="val 12500"/>
              </a:avLst>
            </a:prstGeom>
            <a:solidFill>
              <a:schemeClr val="bg2"/>
            </a:solidFill>
            <a:ln>
              <a:solidFill>
                <a:schemeClr val="tx2"/>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985" tIns="89985" rIns="89985" bIns="89985" numCol="1" spcCol="1270" anchor="ctr" anchorCtr="0">
              <a:noAutofit/>
            </a:bodyPr>
            <a:lstStyle/>
            <a:p>
              <a:pPr algn="ctr" defTabSz="666694">
                <a:lnSpc>
                  <a:spcPct val="90000"/>
                </a:lnSpc>
                <a:spcBef>
                  <a:spcPct val="0"/>
                </a:spcBef>
                <a:spcAft>
                  <a:spcPct val="35000"/>
                </a:spcAft>
              </a:pPr>
              <a:endParaRPr lang="en-US" sz="1500">
                <a:solidFill>
                  <a:schemeClr val="tx1"/>
                </a:solidFill>
                <a:sym typeface="Segoe UI"/>
              </a:endParaRPr>
            </a:p>
          </p:txBody>
        </p:sp>
        <p:sp>
          <p:nvSpPr>
            <p:cNvPr id="36" name="Freeform 35"/>
            <p:cNvSpPr/>
            <p:nvPr>
              <p:custDataLst>
                <p:tags r:id="rId12"/>
              </p:custDataLst>
            </p:nvPr>
          </p:nvSpPr>
          <p:spPr>
            <a:xfrm rot="670301">
              <a:off x="6657507" y="1558949"/>
              <a:ext cx="2190745" cy="1374874"/>
            </a:xfrm>
            <a:custGeom>
              <a:avLst/>
              <a:gdLst>
                <a:gd name="connsiteX0" fmla="*/ 245090 w 4038600"/>
                <a:gd name="connsiteY0" fmla="*/ 2957942 h 4038600"/>
                <a:gd name="connsiteX1" fmla="*/ 409203 w 4038600"/>
                <a:gd name="connsiteY1" fmla="*/ 820777 h 4038600"/>
                <a:gd name="connsiteX2" fmla="*/ 2409424 w 4038600"/>
                <a:gd name="connsiteY2" fmla="*/ 50373 h 4038600"/>
                <a:gd name="connsiteX3" fmla="*/ 3964758 w 4038600"/>
                <a:gd name="connsiteY3" fmla="*/ 1525277 h 4038600"/>
                <a:gd name="connsiteX4" fmla="*/ 3964757 w 4038600"/>
                <a:gd name="connsiteY4" fmla="*/ 1525274 h 4038600"/>
                <a:gd name="connsiteX5" fmla="*/ 3533775 w 4038600"/>
                <a:gd name="connsiteY5" fmla="*/ 2019303 h 4038600"/>
                <a:gd name="connsiteX6" fmla="*/ 2913670 w 4038600"/>
                <a:gd name="connsiteY6" fmla="*/ 1525271 h 4038600"/>
                <a:gd name="connsiteX7" fmla="*/ 2913670 w 4038600"/>
                <a:gd name="connsiteY7" fmla="*/ 1525271 h 4038600"/>
                <a:gd name="connsiteX8" fmla="*/ 1533361 w 4038600"/>
                <a:gd name="connsiteY8" fmla="*/ 1120504 h 4038600"/>
                <a:gd name="connsiteX9" fmla="*/ 1116155 w 4038600"/>
                <a:gd name="connsiteY9" fmla="*/ 2497104 h 4038600"/>
                <a:gd name="connsiteX10" fmla="*/ 245090 w 4038600"/>
                <a:gd name="connsiteY10" fmla="*/ 2957942 h 4038600"/>
                <a:gd name="connsiteX0" fmla="*/ 362087 w 4081755"/>
                <a:gd name="connsiteY0" fmla="*/ 3058062 h 3058062"/>
                <a:gd name="connsiteX1" fmla="*/ 526200 w 4081755"/>
                <a:gd name="connsiteY1" fmla="*/ 920897 h 3058062"/>
                <a:gd name="connsiteX2" fmla="*/ 2526421 w 4081755"/>
                <a:gd name="connsiteY2" fmla="*/ 150493 h 3058062"/>
                <a:gd name="connsiteX3" fmla="*/ 4081755 w 4081755"/>
                <a:gd name="connsiteY3" fmla="*/ 1625397 h 3058062"/>
                <a:gd name="connsiteX4" fmla="*/ 4081754 w 4081755"/>
                <a:gd name="connsiteY4" fmla="*/ 1625394 h 3058062"/>
                <a:gd name="connsiteX5" fmla="*/ 3650772 w 4081755"/>
                <a:gd name="connsiteY5" fmla="*/ 2119423 h 3058062"/>
                <a:gd name="connsiteX6" fmla="*/ 3030667 w 4081755"/>
                <a:gd name="connsiteY6" fmla="*/ 1625391 h 3058062"/>
                <a:gd name="connsiteX7" fmla="*/ 3030667 w 4081755"/>
                <a:gd name="connsiteY7" fmla="*/ 1625391 h 3058062"/>
                <a:gd name="connsiteX8" fmla="*/ 1650358 w 4081755"/>
                <a:gd name="connsiteY8" fmla="*/ 1220624 h 3058062"/>
                <a:gd name="connsiteX9" fmla="*/ 1233152 w 4081755"/>
                <a:gd name="connsiteY9" fmla="*/ 2597224 h 3058062"/>
                <a:gd name="connsiteX10" fmla="*/ 615332 w 4081755"/>
                <a:gd name="connsiteY10" fmla="*/ 2122589 h 3058062"/>
                <a:gd name="connsiteX11" fmla="*/ 362087 w 4081755"/>
                <a:gd name="connsiteY11" fmla="*/ 3058062 h 3058062"/>
                <a:gd name="connsiteX0" fmla="*/ 224798 w 3944466"/>
                <a:gd name="connsiteY0" fmla="*/ 3058062 h 3094100"/>
                <a:gd name="connsiteX1" fmla="*/ 55665 w 3944466"/>
                <a:gd name="connsiteY1" fmla="*/ 2618995 h 3094100"/>
                <a:gd name="connsiteX2" fmla="*/ 388911 w 3944466"/>
                <a:gd name="connsiteY2" fmla="*/ 920897 h 3094100"/>
                <a:gd name="connsiteX3" fmla="*/ 2389132 w 3944466"/>
                <a:gd name="connsiteY3" fmla="*/ 150493 h 3094100"/>
                <a:gd name="connsiteX4" fmla="*/ 3944466 w 3944466"/>
                <a:gd name="connsiteY4" fmla="*/ 1625397 h 3094100"/>
                <a:gd name="connsiteX5" fmla="*/ 3944465 w 3944466"/>
                <a:gd name="connsiteY5" fmla="*/ 1625394 h 3094100"/>
                <a:gd name="connsiteX6" fmla="*/ 3513483 w 3944466"/>
                <a:gd name="connsiteY6" fmla="*/ 2119423 h 3094100"/>
                <a:gd name="connsiteX7" fmla="*/ 2893378 w 3944466"/>
                <a:gd name="connsiteY7" fmla="*/ 1625391 h 3094100"/>
                <a:gd name="connsiteX8" fmla="*/ 2893378 w 3944466"/>
                <a:gd name="connsiteY8" fmla="*/ 1625391 h 3094100"/>
                <a:gd name="connsiteX9" fmla="*/ 1513069 w 3944466"/>
                <a:gd name="connsiteY9" fmla="*/ 1220624 h 3094100"/>
                <a:gd name="connsiteX10" fmla="*/ 1095863 w 3944466"/>
                <a:gd name="connsiteY10" fmla="*/ 2597224 h 3094100"/>
                <a:gd name="connsiteX11" fmla="*/ 478043 w 3944466"/>
                <a:gd name="connsiteY11" fmla="*/ 2122589 h 3094100"/>
                <a:gd name="connsiteX12" fmla="*/ 224798 w 3944466"/>
                <a:gd name="connsiteY12" fmla="*/ 3058062 h 3094100"/>
                <a:gd name="connsiteX0" fmla="*/ 478043 w 3944466"/>
                <a:gd name="connsiteY0" fmla="*/ 2122589 h 2618995"/>
                <a:gd name="connsiteX1" fmla="*/ 55665 w 3944466"/>
                <a:gd name="connsiteY1" fmla="*/ 2618995 h 2618995"/>
                <a:gd name="connsiteX2" fmla="*/ 388911 w 3944466"/>
                <a:gd name="connsiteY2" fmla="*/ 920897 h 2618995"/>
                <a:gd name="connsiteX3" fmla="*/ 2389132 w 3944466"/>
                <a:gd name="connsiteY3" fmla="*/ 150493 h 2618995"/>
                <a:gd name="connsiteX4" fmla="*/ 3944466 w 3944466"/>
                <a:gd name="connsiteY4" fmla="*/ 1625397 h 2618995"/>
                <a:gd name="connsiteX5" fmla="*/ 3944465 w 3944466"/>
                <a:gd name="connsiteY5" fmla="*/ 1625394 h 2618995"/>
                <a:gd name="connsiteX6" fmla="*/ 3513483 w 3944466"/>
                <a:gd name="connsiteY6" fmla="*/ 2119423 h 2618995"/>
                <a:gd name="connsiteX7" fmla="*/ 2893378 w 3944466"/>
                <a:gd name="connsiteY7" fmla="*/ 1625391 h 2618995"/>
                <a:gd name="connsiteX8" fmla="*/ 2893378 w 3944466"/>
                <a:gd name="connsiteY8" fmla="*/ 1625391 h 2618995"/>
                <a:gd name="connsiteX9" fmla="*/ 1513069 w 3944466"/>
                <a:gd name="connsiteY9" fmla="*/ 1220624 h 2618995"/>
                <a:gd name="connsiteX10" fmla="*/ 1095863 w 3944466"/>
                <a:gd name="connsiteY10" fmla="*/ 2597224 h 2618995"/>
                <a:gd name="connsiteX11" fmla="*/ 478043 w 3944466"/>
                <a:gd name="connsiteY11" fmla="*/ 2122589 h 2618995"/>
                <a:gd name="connsiteX0" fmla="*/ 555165 w 4021588"/>
                <a:gd name="connsiteY0" fmla="*/ 2122589 h 2618995"/>
                <a:gd name="connsiteX1" fmla="*/ 132787 w 4021588"/>
                <a:gd name="connsiteY1" fmla="*/ 2618995 h 2618995"/>
                <a:gd name="connsiteX2" fmla="*/ 466033 w 4021588"/>
                <a:gd name="connsiteY2" fmla="*/ 920897 h 2618995"/>
                <a:gd name="connsiteX3" fmla="*/ 2466254 w 4021588"/>
                <a:gd name="connsiteY3" fmla="*/ 150493 h 2618995"/>
                <a:gd name="connsiteX4" fmla="*/ 4021588 w 4021588"/>
                <a:gd name="connsiteY4" fmla="*/ 1625397 h 2618995"/>
                <a:gd name="connsiteX5" fmla="*/ 4021587 w 4021588"/>
                <a:gd name="connsiteY5" fmla="*/ 1625394 h 2618995"/>
                <a:gd name="connsiteX6" fmla="*/ 3590605 w 4021588"/>
                <a:gd name="connsiteY6" fmla="*/ 2119423 h 2618995"/>
                <a:gd name="connsiteX7" fmla="*/ 2970500 w 4021588"/>
                <a:gd name="connsiteY7" fmla="*/ 1625391 h 2618995"/>
                <a:gd name="connsiteX8" fmla="*/ 2970500 w 4021588"/>
                <a:gd name="connsiteY8" fmla="*/ 1625391 h 2618995"/>
                <a:gd name="connsiteX9" fmla="*/ 1590191 w 4021588"/>
                <a:gd name="connsiteY9" fmla="*/ 1220624 h 2618995"/>
                <a:gd name="connsiteX10" fmla="*/ 1172985 w 4021588"/>
                <a:gd name="connsiteY10" fmla="*/ 2597224 h 2618995"/>
                <a:gd name="connsiteX11" fmla="*/ 555165 w 4021588"/>
                <a:gd name="connsiteY11" fmla="*/ 2122589 h 2618995"/>
                <a:gd name="connsiteX0" fmla="*/ 555165 w 4021588"/>
                <a:gd name="connsiteY0" fmla="*/ 2122589 h 2618995"/>
                <a:gd name="connsiteX1" fmla="*/ 132787 w 4021588"/>
                <a:gd name="connsiteY1" fmla="*/ 2618995 h 2618995"/>
                <a:gd name="connsiteX2" fmla="*/ 466033 w 4021588"/>
                <a:gd name="connsiteY2" fmla="*/ 920897 h 2618995"/>
                <a:gd name="connsiteX3" fmla="*/ 2466254 w 4021588"/>
                <a:gd name="connsiteY3" fmla="*/ 150493 h 2618995"/>
                <a:gd name="connsiteX4" fmla="*/ 4021588 w 4021588"/>
                <a:gd name="connsiteY4" fmla="*/ 1625397 h 2618995"/>
                <a:gd name="connsiteX5" fmla="*/ 4021587 w 4021588"/>
                <a:gd name="connsiteY5" fmla="*/ 1625394 h 2618995"/>
                <a:gd name="connsiteX6" fmla="*/ 3590605 w 4021588"/>
                <a:gd name="connsiteY6" fmla="*/ 2119423 h 2618995"/>
                <a:gd name="connsiteX7" fmla="*/ 2970500 w 4021588"/>
                <a:gd name="connsiteY7" fmla="*/ 1625391 h 2618995"/>
                <a:gd name="connsiteX8" fmla="*/ 2970500 w 4021588"/>
                <a:gd name="connsiteY8" fmla="*/ 1625391 h 2618995"/>
                <a:gd name="connsiteX9" fmla="*/ 1590191 w 4021588"/>
                <a:gd name="connsiteY9" fmla="*/ 1220624 h 2618995"/>
                <a:gd name="connsiteX10" fmla="*/ 1172985 w 4021588"/>
                <a:gd name="connsiteY10" fmla="*/ 2597224 h 2618995"/>
                <a:gd name="connsiteX11" fmla="*/ 555165 w 4021588"/>
                <a:gd name="connsiteY11" fmla="*/ 2122589 h 2618995"/>
                <a:gd name="connsiteX0" fmla="*/ 555165 w 4021588"/>
                <a:gd name="connsiteY0" fmla="*/ 2122589 h 2618995"/>
                <a:gd name="connsiteX1" fmla="*/ 132787 w 4021588"/>
                <a:gd name="connsiteY1" fmla="*/ 2618995 h 2618995"/>
                <a:gd name="connsiteX2" fmla="*/ 466033 w 4021588"/>
                <a:gd name="connsiteY2" fmla="*/ 920897 h 2618995"/>
                <a:gd name="connsiteX3" fmla="*/ 2466254 w 4021588"/>
                <a:gd name="connsiteY3" fmla="*/ 150493 h 2618995"/>
                <a:gd name="connsiteX4" fmla="*/ 4021588 w 4021588"/>
                <a:gd name="connsiteY4" fmla="*/ 1625397 h 2618995"/>
                <a:gd name="connsiteX5" fmla="*/ 4021587 w 4021588"/>
                <a:gd name="connsiteY5" fmla="*/ 1625394 h 2618995"/>
                <a:gd name="connsiteX6" fmla="*/ 3590605 w 4021588"/>
                <a:gd name="connsiteY6" fmla="*/ 2119423 h 2618995"/>
                <a:gd name="connsiteX7" fmla="*/ 2970500 w 4021588"/>
                <a:gd name="connsiteY7" fmla="*/ 1625391 h 2618995"/>
                <a:gd name="connsiteX8" fmla="*/ 2970500 w 4021588"/>
                <a:gd name="connsiteY8" fmla="*/ 1625391 h 2618995"/>
                <a:gd name="connsiteX9" fmla="*/ 1590191 w 4021588"/>
                <a:gd name="connsiteY9" fmla="*/ 1220624 h 2618995"/>
                <a:gd name="connsiteX10" fmla="*/ 1172985 w 4021588"/>
                <a:gd name="connsiteY10" fmla="*/ 2597224 h 2618995"/>
                <a:gd name="connsiteX11" fmla="*/ 555165 w 4021588"/>
                <a:gd name="connsiteY11" fmla="*/ 2122589 h 2618995"/>
                <a:gd name="connsiteX0" fmla="*/ 535167 w 4001590"/>
                <a:gd name="connsiteY0" fmla="*/ 2122589 h 2618995"/>
                <a:gd name="connsiteX1" fmla="*/ 112789 w 4001590"/>
                <a:gd name="connsiteY1" fmla="*/ 2618995 h 2618995"/>
                <a:gd name="connsiteX2" fmla="*/ 446035 w 4001590"/>
                <a:gd name="connsiteY2" fmla="*/ 920897 h 2618995"/>
                <a:gd name="connsiteX3" fmla="*/ 2446256 w 4001590"/>
                <a:gd name="connsiteY3" fmla="*/ 150493 h 2618995"/>
                <a:gd name="connsiteX4" fmla="*/ 4001590 w 4001590"/>
                <a:gd name="connsiteY4" fmla="*/ 1625397 h 2618995"/>
                <a:gd name="connsiteX5" fmla="*/ 4001589 w 4001590"/>
                <a:gd name="connsiteY5" fmla="*/ 1625394 h 2618995"/>
                <a:gd name="connsiteX6" fmla="*/ 3570607 w 4001590"/>
                <a:gd name="connsiteY6" fmla="*/ 2119423 h 2618995"/>
                <a:gd name="connsiteX7" fmla="*/ 2950502 w 4001590"/>
                <a:gd name="connsiteY7" fmla="*/ 1625391 h 2618995"/>
                <a:gd name="connsiteX8" fmla="*/ 2950502 w 4001590"/>
                <a:gd name="connsiteY8" fmla="*/ 1625391 h 2618995"/>
                <a:gd name="connsiteX9" fmla="*/ 1570193 w 4001590"/>
                <a:gd name="connsiteY9" fmla="*/ 1220624 h 2618995"/>
                <a:gd name="connsiteX10" fmla="*/ 1152987 w 4001590"/>
                <a:gd name="connsiteY10" fmla="*/ 2597224 h 2618995"/>
                <a:gd name="connsiteX11" fmla="*/ 535167 w 4001590"/>
                <a:gd name="connsiteY11" fmla="*/ 2122589 h 2618995"/>
                <a:gd name="connsiteX0" fmla="*/ 535167 w 4001590"/>
                <a:gd name="connsiteY0" fmla="*/ 2122589 h 2618995"/>
                <a:gd name="connsiteX1" fmla="*/ 112789 w 4001590"/>
                <a:gd name="connsiteY1" fmla="*/ 2618995 h 2618995"/>
                <a:gd name="connsiteX2" fmla="*/ 446035 w 4001590"/>
                <a:gd name="connsiteY2" fmla="*/ 920897 h 2618995"/>
                <a:gd name="connsiteX3" fmla="*/ 2446256 w 4001590"/>
                <a:gd name="connsiteY3" fmla="*/ 150493 h 2618995"/>
                <a:gd name="connsiteX4" fmla="*/ 4001590 w 4001590"/>
                <a:gd name="connsiteY4" fmla="*/ 1625397 h 2618995"/>
                <a:gd name="connsiteX5" fmla="*/ 4001589 w 4001590"/>
                <a:gd name="connsiteY5" fmla="*/ 1625394 h 2618995"/>
                <a:gd name="connsiteX6" fmla="*/ 3570607 w 4001590"/>
                <a:gd name="connsiteY6" fmla="*/ 2119423 h 2618995"/>
                <a:gd name="connsiteX7" fmla="*/ 2950502 w 4001590"/>
                <a:gd name="connsiteY7" fmla="*/ 1625391 h 2618995"/>
                <a:gd name="connsiteX8" fmla="*/ 2950502 w 4001590"/>
                <a:gd name="connsiteY8" fmla="*/ 1625391 h 2618995"/>
                <a:gd name="connsiteX9" fmla="*/ 1570193 w 4001590"/>
                <a:gd name="connsiteY9" fmla="*/ 1220624 h 2618995"/>
                <a:gd name="connsiteX10" fmla="*/ 1152987 w 4001590"/>
                <a:gd name="connsiteY10" fmla="*/ 2597224 h 2618995"/>
                <a:gd name="connsiteX11" fmla="*/ 535167 w 4001590"/>
                <a:gd name="connsiteY11" fmla="*/ 2122589 h 2618995"/>
                <a:gd name="connsiteX0" fmla="*/ 535167 w 4001590"/>
                <a:gd name="connsiteY0" fmla="*/ 2122589 h 2618995"/>
                <a:gd name="connsiteX1" fmla="*/ 112789 w 4001590"/>
                <a:gd name="connsiteY1" fmla="*/ 2618995 h 2618995"/>
                <a:gd name="connsiteX2" fmla="*/ 446035 w 4001590"/>
                <a:gd name="connsiteY2" fmla="*/ 920897 h 2618995"/>
                <a:gd name="connsiteX3" fmla="*/ 2446256 w 4001590"/>
                <a:gd name="connsiteY3" fmla="*/ 150493 h 2618995"/>
                <a:gd name="connsiteX4" fmla="*/ 4001590 w 4001590"/>
                <a:gd name="connsiteY4" fmla="*/ 1625397 h 2618995"/>
                <a:gd name="connsiteX5" fmla="*/ 4001589 w 4001590"/>
                <a:gd name="connsiteY5" fmla="*/ 1625394 h 2618995"/>
                <a:gd name="connsiteX6" fmla="*/ 3570607 w 4001590"/>
                <a:gd name="connsiteY6" fmla="*/ 2119423 h 2618995"/>
                <a:gd name="connsiteX7" fmla="*/ 2950502 w 4001590"/>
                <a:gd name="connsiteY7" fmla="*/ 1625391 h 2618995"/>
                <a:gd name="connsiteX8" fmla="*/ 2950502 w 4001590"/>
                <a:gd name="connsiteY8" fmla="*/ 1625391 h 2618995"/>
                <a:gd name="connsiteX9" fmla="*/ 1570193 w 4001590"/>
                <a:gd name="connsiteY9" fmla="*/ 1220624 h 2618995"/>
                <a:gd name="connsiteX10" fmla="*/ 1152987 w 4001590"/>
                <a:gd name="connsiteY10" fmla="*/ 2597224 h 2618995"/>
                <a:gd name="connsiteX11" fmla="*/ 535167 w 4001590"/>
                <a:gd name="connsiteY11" fmla="*/ 2122589 h 2618995"/>
                <a:gd name="connsiteX0" fmla="*/ 535167 w 4001590"/>
                <a:gd name="connsiteY0" fmla="*/ 2122589 h 2618995"/>
                <a:gd name="connsiteX1" fmla="*/ 112789 w 4001590"/>
                <a:gd name="connsiteY1" fmla="*/ 2618995 h 2618995"/>
                <a:gd name="connsiteX2" fmla="*/ 446035 w 4001590"/>
                <a:gd name="connsiteY2" fmla="*/ 920897 h 2618995"/>
                <a:gd name="connsiteX3" fmla="*/ 2446256 w 4001590"/>
                <a:gd name="connsiteY3" fmla="*/ 150493 h 2618995"/>
                <a:gd name="connsiteX4" fmla="*/ 4001590 w 4001590"/>
                <a:gd name="connsiteY4" fmla="*/ 1625397 h 2618995"/>
                <a:gd name="connsiteX5" fmla="*/ 4001589 w 4001590"/>
                <a:gd name="connsiteY5" fmla="*/ 1625394 h 2618995"/>
                <a:gd name="connsiteX6" fmla="*/ 3570607 w 4001590"/>
                <a:gd name="connsiteY6" fmla="*/ 2119423 h 2618995"/>
                <a:gd name="connsiteX7" fmla="*/ 2950502 w 4001590"/>
                <a:gd name="connsiteY7" fmla="*/ 1625391 h 2618995"/>
                <a:gd name="connsiteX8" fmla="*/ 2950502 w 4001590"/>
                <a:gd name="connsiteY8" fmla="*/ 1625391 h 2618995"/>
                <a:gd name="connsiteX9" fmla="*/ 1570193 w 4001590"/>
                <a:gd name="connsiteY9" fmla="*/ 1220624 h 2618995"/>
                <a:gd name="connsiteX10" fmla="*/ 1152987 w 4001590"/>
                <a:gd name="connsiteY10" fmla="*/ 2597224 h 2618995"/>
                <a:gd name="connsiteX11" fmla="*/ 535167 w 4001590"/>
                <a:gd name="connsiteY11" fmla="*/ 2122589 h 2618995"/>
                <a:gd name="connsiteX0" fmla="*/ 89132 w 3555555"/>
                <a:gd name="connsiteY0" fmla="*/ 2122589 h 2597224"/>
                <a:gd name="connsiteX1" fmla="*/ 0 w 3555555"/>
                <a:gd name="connsiteY1" fmla="*/ 920897 h 2597224"/>
                <a:gd name="connsiteX2" fmla="*/ 2000221 w 3555555"/>
                <a:gd name="connsiteY2" fmla="*/ 150493 h 2597224"/>
                <a:gd name="connsiteX3" fmla="*/ 3555555 w 3555555"/>
                <a:gd name="connsiteY3" fmla="*/ 1625397 h 2597224"/>
                <a:gd name="connsiteX4" fmla="*/ 3555554 w 3555555"/>
                <a:gd name="connsiteY4" fmla="*/ 1625394 h 2597224"/>
                <a:gd name="connsiteX5" fmla="*/ 3124572 w 3555555"/>
                <a:gd name="connsiteY5" fmla="*/ 2119423 h 2597224"/>
                <a:gd name="connsiteX6" fmla="*/ 2504467 w 3555555"/>
                <a:gd name="connsiteY6" fmla="*/ 1625391 h 2597224"/>
                <a:gd name="connsiteX7" fmla="*/ 2504467 w 3555555"/>
                <a:gd name="connsiteY7" fmla="*/ 1625391 h 2597224"/>
                <a:gd name="connsiteX8" fmla="*/ 1124158 w 3555555"/>
                <a:gd name="connsiteY8" fmla="*/ 1220624 h 2597224"/>
                <a:gd name="connsiteX9" fmla="*/ 706952 w 3555555"/>
                <a:gd name="connsiteY9" fmla="*/ 2597224 h 2597224"/>
                <a:gd name="connsiteX10" fmla="*/ 89132 w 3555555"/>
                <a:gd name="connsiteY10" fmla="*/ 2122589 h 2597224"/>
                <a:gd name="connsiteX0" fmla="*/ 706952 w 3555555"/>
                <a:gd name="connsiteY0" fmla="*/ 2597224 h 2597224"/>
                <a:gd name="connsiteX1" fmla="*/ 0 w 3555555"/>
                <a:gd name="connsiteY1" fmla="*/ 920897 h 2597224"/>
                <a:gd name="connsiteX2" fmla="*/ 2000221 w 3555555"/>
                <a:gd name="connsiteY2" fmla="*/ 150493 h 2597224"/>
                <a:gd name="connsiteX3" fmla="*/ 3555555 w 3555555"/>
                <a:gd name="connsiteY3" fmla="*/ 1625397 h 2597224"/>
                <a:gd name="connsiteX4" fmla="*/ 3555554 w 3555555"/>
                <a:gd name="connsiteY4" fmla="*/ 1625394 h 2597224"/>
                <a:gd name="connsiteX5" fmla="*/ 3124572 w 3555555"/>
                <a:gd name="connsiteY5" fmla="*/ 2119423 h 2597224"/>
                <a:gd name="connsiteX6" fmla="*/ 2504467 w 3555555"/>
                <a:gd name="connsiteY6" fmla="*/ 1625391 h 2597224"/>
                <a:gd name="connsiteX7" fmla="*/ 2504467 w 3555555"/>
                <a:gd name="connsiteY7" fmla="*/ 1625391 h 2597224"/>
                <a:gd name="connsiteX8" fmla="*/ 1124158 w 3555555"/>
                <a:gd name="connsiteY8" fmla="*/ 1220624 h 2597224"/>
                <a:gd name="connsiteX9" fmla="*/ 706952 w 3555555"/>
                <a:gd name="connsiteY9" fmla="*/ 2597224 h 2597224"/>
                <a:gd name="connsiteX0" fmla="*/ 1270168 w 3701565"/>
                <a:gd name="connsiteY0" fmla="*/ 1220624 h 2119423"/>
                <a:gd name="connsiteX1" fmla="*/ 146010 w 3701565"/>
                <a:gd name="connsiteY1" fmla="*/ 920897 h 2119423"/>
                <a:gd name="connsiteX2" fmla="*/ 2146231 w 3701565"/>
                <a:gd name="connsiteY2" fmla="*/ 150493 h 2119423"/>
                <a:gd name="connsiteX3" fmla="*/ 3701565 w 3701565"/>
                <a:gd name="connsiteY3" fmla="*/ 1625397 h 2119423"/>
                <a:gd name="connsiteX4" fmla="*/ 3701564 w 3701565"/>
                <a:gd name="connsiteY4" fmla="*/ 1625394 h 2119423"/>
                <a:gd name="connsiteX5" fmla="*/ 3270582 w 3701565"/>
                <a:gd name="connsiteY5" fmla="*/ 2119423 h 2119423"/>
                <a:gd name="connsiteX6" fmla="*/ 2650477 w 3701565"/>
                <a:gd name="connsiteY6" fmla="*/ 1625391 h 2119423"/>
                <a:gd name="connsiteX7" fmla="*/ 2650477 w 3701565"/>
                <a:gd name="connsiteY7" fmla="*/ 1625391 h 2119423"/>
                <a:gd name="connsiteX8" fmla="*/ 1270168 w 3701565"/>
                <a:gd name="connsiteY8" fmla="*/ 1220624 h 2119423"/>
                <a:gd name="connsiteX0" fmla="*/ 1014361 w 3752727"/>
                <a:gd name="connsiteY0" fmla="*/ 1475427 h 2119423"/>
                <a:gd name="connsiteX1" fmla="*/ 197172 w 3752727"/>
                <a:gd name="connsiteY1" fmla="*/ 920897 h 2119423"/>
                <a:gd name="connsiteX2" fmla="*/ 2197393 w 3752727"/>
                <a:gd name="connsiteY2" fmla="*/ 150493 h 2119423"/>
                <a:gd name="connsiteX3" fmla="*/ 3752727 w 3752727"/>
                <a:gd name="connsiteY3" fmla="*/ 1625397 h 2119423"/>
                <a:gd name="connsiteX4" fmla="*/ 3752726 w 3752727"/>
                <a:gd name="connsiteY4" fmla="*/ 1625394 h 2119423"/>
                <a:gd name="connsiteX5" fmla="*/ 3321744 w 3752727"/>
                <a:gd name="connsiteY5" fmla="*/ 2119423 h 2119423"/>
                <a:gd name="connsiteX6" fmla="*/ 2701639 w 3752727"/>
                <a:gd name="connsiteY6" fmla="*/ 1625391 h 2119423"/>
                <a:gd name="connsiteX7" fmla="*/ 2701639 w 3752727"/>
                <a:gd name="connsiteY7" fmla="*/ 1625391 h 2119423"/>
                <a:gd name="connsiteX8" fmla="*/ 1014361 w 3752727"/>
                <a:gd name="connsiteY8" fmla="*/ 1475427 h 2119423"/>
                <a:gd name="connsiteX0" fmla="*/ 1014361 w 3752727"/>
                <a:gd name="connsiteY0" fmla="*/ 1475427 h 2119423"/>
                <a:gd name="connsiteX1" fmla="*/ 197172 w 3752727"/>
                <a:gd name="connsiteY1" fmla="*/ 920897 h 2119423"/>
                <a:gd name="connsiteX2" fmla="*/ 2197393 w 3752727"/>
                <a:gd name="connsiteY2" fmla="*/ 150493 h 2119423"/>
                <a:gd name="connsiteX3" fmla="*/ 3752727 w 3752727"/>
                <a:gd name="connsiteY3" fmla="*/ 1625397 h 2119423"/>
                <a:gd name="connsiteX4" fmla="*/ 3752726 w 3752727"/>
                <a:gd name="connsiteY4" fmla="*/ 1625394 h 2119423"/>
                <a:gd name="connsiteX5" fmla="*/ 3321744 w 3752727"/>
                <a:gd name="connsiteY5" fmla="*/ 2119423 h 2119423"/>
                <a:gd name="connsiteX6" fmla="*/ 2701639 w 3752727"/>
                <a:gd name="connsiteY6" fmla="*/ 1625391 h 2119423"/>
                <a:gd name="connsiteX7" fmla="*/ 2701639 w 3752727"/>
                <a:gd name="connsiteY7" fmla="*/ 1625391 h 2119423"/>
                <a:gd name="connsiteX8" fmla="*/ 1014361 w 3752727"/>
                <a:gd name="connsiteY8" fmla="*/ 1475427 h 2119423"/>
                <a:gd name="connsiteX0" fmla="*/ 587314 w 3325680"/>
                <a:gd name="connsiteY0" fmla="*/ 1521133 h 2165129"/>
                <a:gd name="connsiteX1" fmla="*/ 197172 w 3325680"/>
                <a:gd name="connsiteY1" fmla="*/ 493906 h 2165129"/>
                <a:gd name="connsiteX2" fmla="*/ 1770346 w 3325680"/>
                <a:gd name="connsiteY2" fmla="*/ 196199 h 2165129"/>
                <a:gd name="connsiteX3" fmla="*/ 3325680 w 3325680"/>
                <a:gd name="connsiteY3" fmla="*/ 1671103 h 2165129"/>
                <a:gd name="connsiteX4" fmla="*/ 3325679 w 3325680"/>
                <a:gd name="connsiteY4" fmla="*/ 1671100 h 2165129"/>
                <a:gd name="connsiteX5" fmla="*/ 2894697 w 3325680"/>
                <a:gd name="connsiteY5" fmla="*/ 2165129 h 2165129"/>
                <a:gd name="connsiteX6" fmla="*/ 2274592 w 3325680"/>
                <a:gd name="connsiteY6" fmla="*/ 1671097 h 2165129"/>
                <a:gd name="connsiteX7" fmla="*/ 2274592 w 3325680"/>
                <a:gd name="connsiteY7" fmla="*/ 1671097 h 2165129"/>
                <a:gd name="connsiteX8" fmla="*/ 587314 w 3325680"/>
                <a:gd name="connsiteY8" fmla="*/ 1521133 h 2165129"/>
                <a:gd name="connsiteX0" fmla="*/ 587314 w 3325680"/>
                <a:gd name="connsiteY0" fmla="*/ 1521133 h 2165129"/>
                <a:gd name="connsiteX1" fmla="*/ 197172 w 3325680"/>
                <a:gd name="connsiteY1" fmla="*/ 493906 h 2165129"/>
                <a:gd name="connsiteX2" fmla="*/ 1770346 w 3325680"/>
                <a:gd name="connsiteY2" fmla="*/ 196199 h 2165129"/>
                <a:gd name="connsiteX3" fmla="*/ 3325680 w 3325680"/>
                <a:gd name="connsiteY3" fmla="*/ 1671103 h 2165129"/>
                <a:gd name="connsiteX4" fmla="*/ 3325679 w 3325680"/>
                <a:gd name="connsiteY4" fmla="*/ 1671100 h 2165129"/>
                <a:gd name="connsiteX5" fmla="*/ 2894697 w 3325680"/>
                <a:gd name="connsiteY5" fmla="*/ 2165129 h 2165129"/>
                <a:gd name="connsiteX6" fmla="*/ 2274592 w 3325680"/>
                <a:gd name="connsiteY6" fmla="*/ 1671097 h 2165129"/>
                <a:gd name="connsiteX7" fmla="*/ 2274592 w 3325680"/>
                <a:gd name="connsiteY7" fmla="*/ 1671097 h 2165129"/>
                <a:gd name="connsiteX8" fmla="*/ 587314 w 3325680"/>
                <a:gd name="connsiteY8" fmla="*/ 1521133 h 2165129"/>
                <a:gd name="connsiteX0" fmla="*/ 623403 w 3361769"/>
                <a:gd name="connsiteY0" fmla="*/ 1505706 h 2149702"/>
                <a:gd name="connsiteX1" fmla="*/ 197172 w 3361769"/>
                <a:gd name="connsiteY1" fmla="*/ 571046 h 2149702"/>
                <a:gd name="connsiteX2" fmla="*/ 1806435 w 3361769"/>
                <a:gd name="connsiteY2" fmla="*/ 180772 h 2149702"/>
                <a:gd name="connsiteX3" fmla="*/ 3361769 w 3361769"/>
                <a:gd name="connsiteY3" fmla="*/ 1655676 h 2149702"/>
                <a:gd name="connsiteX4" fmla="*/ 3361768 w 3361769"/>
                <a:gd name="connsiteY4" fmla="*/ 1655673 h 2149702"/>
                <a:gd name="connsiteX5" fmla="*/ 2930786 w 3361769"/>
                <a:gd name="connsiteY5" fmla="*/ 2149702 h 2149702"/>
                <a:gd name="connsiteX6" fmla="*/ 2310681 w 3361769"/>
                <a:gd name="connsiteY6" fmla="*/ 1655670 h 2149702"/>
                <a:gd name="connsiteX7" fmla="*/ 2310681 w 3361769"/>
                <a:gd name="connsiteY7" fmla="*/ 1655670 h 2149702"/>
                <a:gd name="connsiteX8" fmla="*/ 623403 w 3361769"/>
                <a:gd name="connsiteY8" fmla="*/ 1505706 h 2149702"/>
                <a:gd name="connsiteX0" fmla="*/ 623403 w 3361769"/>
                <a:gd name="connsiteY0" fmla="*/ 1505706 h 2149702"/>
                <a:gd name="connsiteX1" fmla="*/ 197172 w 3361769"/>
                <a:gd name="connsiteY1" fmla="*/ 571046 h 2149702"/>
                <a:gd name="connsiteX2" fmla="*/ 1806435 w 3361769"/>
                <a:gd name="connsiteY2" fmla="*/ 180772 h 2149702"/>
                <a:gd name="connsiteX3" fmla="*/ 3361769 w 3361769"/>
                <a:gd name="connsiteY3" fmla="*/ 1655676 h 2149702"/>
                <a:gd name="connsiteX4" fmla="*/ 3361768 w 3361769"/>
                <a:gd name="connsiteY4" fmla="*/ 1655673 h 2149702"/>
                <a:gd name="connsiteX5" fmla="*/ 2930786 w 3361769"/>
                <a:gd name="connsiteY5" fmla="*/ 2149702 h 2149702"/>
                <a:gd name="connsiteX6" fmla="*/ 2310681 w 3361769"/>
                <a:gd name="connsiteY6" fmla="*/ 1655670 h 2149702"/>
                <a:gd name="connsiteX7" fmla="*/ 2310681 w 3361769"/>
                <a:gd name="connsiteY7" fmla="*/ 1655670 h 2149702"/>
                <a:gd name="connsiteX8" fmla="*/ 623403 w 3361769"/>
                <a:gd name="connsiteY8" fmla="*/ 1505706 h 2149702"/>
                <a:gd name="connsiteX0" fmla="*/ 623403 w 3361769"/>
                <a:gd name="connsiteY0" fmla="*/ 1505706 h 2149702"/>
                <a:gd name="connsiteX1" fmla="*/ 197172 w 3361769"/>
                <a:gd name="connsiteY1" fmla="*/ 571046 h 2149702"/>
                <a:gd name="connsiteX2" fmla="*/ 1806435 w 3361769"/>
                <a:gd name="connsiteY2" fmla="*/ 180772 h 2149702"/>
                <a:gd name="connsiteX3" fmla="*/ 3361769 w 3361769"/>
                <a:gd name="connsiteY3" fmla="*/ 1655676 h 2149702"/>
                <a:gd name="connsiteX4" fmla="*/ 3361768 w 3361769"/>
                <a:gd name="connsiteY4" fmla="*/ 1655673 h 2149702"/>
                <a:gd name="connsiteX5" fmla="*/ 2930786 w 3361769"/>
                <a:gd name="connsiteY5" fmla="*/ 2149702 h 2149702"/>
                <a:gd name="connsiteX6" fmla="*/ 2310681 w 3361769"/>
                <a:gd name="connsiteY6" fmla="*/ 1655670 h 2149702"/>
                <a:gd name="connsiteX7" fmla="*/ 2310681 w 3361769"/>
                <a:gd name="connsiteY7" fmla="*/ 1655670 h 2149702"/>
                <a:gd name="connsiteX8" fmla="*/ 623403 w 3361769"/>
                <a:gd name="connsiteY8" fmla="*/ 1505706 h 2149702"/>
                <a:gd name="connsiteX0" fmla="*/ 623403 w 3361769"/>
                <a:gd name="connsiteY0" fmla="*/ 1505706 h 2149702"/>
                <a:gd name="connsiteX1" fmla="*/ 197172 w 3361769"/>
                <a:gd name="connsiteY1" fmla="*/ 571046 h 2149702"/>
                <a:gd name="connsiteX2" fmla="*/ 1806435 w 3361769"/>
                <a:gd name="connsiteY2" fmla="*/ 180772 h 2149702"/>
                <a:gd name="connsiteX3" fmla="*/ 3361769 w 3361769"/>
                <a:gd name="connsiteY3" fmla="*/ 1655676 h 2149702"/>
                <a:gd name="connsiteX4" fmla="*/ 3361768 w 3361769"/>
                <a:gd name="connsiteY4" fmla="*/ 1655673 h 2149702"/>
                <a:gd name="connsiteX5" fmla="*/ 2930786 w 3361769"/>
                <a:gd name="connsiteY5" fmla="*/ 2149702 h 2149702"/>
                <a:gd name="connsiteX6" fmla="*/ 2310681 w 3361769"/>
                <a:gd name="connsiteY6" fmla="*/ 1655670 h 2149702"/>
                <a:gd name="connsiteX7" fmla="*/ 2310681 w 3361769"/>
                <a:gd name="connsiteY7" fmla="*/ 1655670 h 2149702"/>
                <a:gd name="connsiteX8" fmla="*/ 623403 w 3361769"/>
                <a:gd name="connsiteY8" fmla="*/ 1505706 h 2149702"/>
                <a:gd name="connsiteX0" fmla="*/ 623403 w 3361769"/>
                <a:gd name="connsiteY0" fmla="*/ 1505706 h 2149702"/>
                <a:gd name="connsiteX1" fmla="*/ 197172 w 3361769"/>
                <a:gd name="connsiteY1" fmla="*/ 571046 h 2149702"/>
                <a:gd name="connsiteX2" fmla="*/ 1806435 w 3361769"/>
                <a:gd name="connsiteY2" fmla="*/ 180772 h 2149702"/>
                <a:gd name="connsiteX3" fmla="*/ 3361769 w 3361769"/>
                <a:gd name="connsiteY3" fmla="*/ 1655676 h 2149702"/>
                <a:gd name="connsiteX4" fmla="*/ 3361768 w 3361769"/>
                <a:gd name="connsiteY4" fmla="*/ 1655673 h 2149702"/>
                <a:gd name="connsiteX5" fmla="*/ 2930786 w 3361769"/>
                <a:gd name="connsiteY5" fmla="*/ 2149702 h 2149702"/>
                <a:gd name="connsiteX6" fmla="*/ 2310681 w 3361769"/>
                <a:gd name="connsiteY6" fmla="*/ 1655670 h 2149702"/>
                <a:gd name="connsiteX7" fmla="*/ 2310681 w 3361769"/>
                <a:gd name="connsiteY7" fmla="*/ 1655670 h 2149702"/>
                <a:gd name="connsiteX8" fmla="*/ 623403 w 3361769"/>
                <a:gd name="connsiteY8" fmla="*/ 1505706 h 2149702"/>
                <a:gd name="connsiteX0" fmla="*/ 623403 w 3361769"/>
                <a:gd name="connsiteY0" fmla="*/ 1505706 h 2149702"/>
                <a:gd name="connsiteX1" fmla="*/ 197172 w 3361769"/>
                <a:gd name="connsiteY1" fmla="*/ 571046 h 2149702"/>
                <a:gd name="connsiteX2" fmla="*/ 1806435 w 3361769"/>
                <a:gd name="connsiteY2" fmla="*/ 180772 h 2149702"/>
                <a:gd name="connsiteX3" fmla="*/ 3361769 w 3361769"/>
                <a:gd name="connsiteY3" fmla="*/ 1655676 h 2149702"/>
                <a:gd name="connsiteX4" fmla="*/ 3361768 w 3361769"/>
                <a:gd name="connsiteY4" fmla="*/ 1655673 h 2149702"/>
                <a:gd name="connsiteX5" fmla="*/ 2930786 w 3361769"/>
                <a:gd name="connsiteY5" fmla="*/ 2149702 h 2149702"/>
                <a:gd name="connsiteX6" fmla="*/ 2310681 w 3361769"/>
                <a:gd name="connsiteY6" fmla="*/ 1655670 h 2149702"/>
                <a:gd name="connsiteX7" fmla="*/ 2310681 w 3361769"/>
                <a:gd name="connsiteY7" fmla="*/ 1655670 h 2149702"/>
                <a:gd name="connsiteX8" fmla="*/ 623403 w 3361769"/>
                <a:gd name="connsiteY8" fmla="*/ 1505706 h 2149702"/>
                <a:gd name="connsiteX0" fmla="*/ 623403 w 3361769"/>
                <a:gd name="connsiteY0" fmla="*/ 1459101 h 2103097"/>
                <a:gd name="connsiteX1" fmla="*/ 197172 w 3361769"/>
                <a:gd name="connsiteY1" fmla="*/ 524441 h 2103097"/>
                <a:gd name="connsiteX2" fmla="*/ 1806435 w 3361769"/>
                <a:gd name="connsiteY2" fmla="*/ 134167 h 2103097"/>
                <a:gd name="connsiteX3" fmla="*/ 3361769 w 3361769"/>
                <a:gd name="connsiteY3" fmla="*/ 1609071 h 2103097"/>
                <a:gd name="connsiteX4" fmla="*/ 3361768 w 3361769"/>
                <a:gd name="connsiteY4" fmla="*/ 1609068 h 2103097"/>
                <a:gd name="connsiteX5" fmla="*/ 2930786 w 3361769"/>
                <a:gd name="connsiteY5" fmla="*/ 2103097 h 2103097"/>
                <a:gd name="connsiteX6" fmla="*/ 2310681 w 3361769"/>
                <a:gd name="connsiteY6" fmla="*/ 1609065 h 2103097"/>
                <a:gd name="connsiteX7" fmla="*/ 2310681 w 3361769"/>
                <a:gd name="connsiteY7" fmla="*/ 1609065 h 2103097"/>
                <a:gd name="connsiteX8" fmla="*/ 623403 w 3361769"/>
                <a:gd name="connsiteY8" fmla="*/ 1459101 h 2103097"/>
                <a:gd name="connsiteX0" fmla="*/ 623403 w 3361769"/>
                <a:gd name="connsiteY0" fmla="*/ 1459101 h 2103097"/>
                <a:gd name="connsiteX1" fmla="*/ 197172 w 3361769"/>
                <a:gd name="connsiteY1" fmla="*/ 524441 h 2103097"/>
                <a:gd name="connsiteX2" fmla="*/ 1806435 w 3361769"/>
                <a:gd name="connsiteY2" fmla="*/ 134167 h 2103097"/>
                <a:gd name="connsiteX3" fmla="*/ 3361769 w 3361769"/>
                <a:gd name="connsiteY3" fmla="*/ 1609071 h 2103097"/>
                <a:gd name="connsiteX4" fmla="*/ 3361768 w 3361769"/>
                <a:gd name="connsiteY4" fmla="*/ 1609068 h 2103097"/>
                <a:gd name="connsiteX5" fmla="*/ 2930786 w 3361769"/>
                <a:gd name="connsiteY5" fmla="*/ 2103097 h 2103097"/>
                <a:gd name="connsiteX6" fmla="*/ 2310681 w 3361769"/>
                <a:gd name="connsiteY6" fmla="*/ 1609065 h 2103097"/>
                <a:gd name="connsiteX7" fmla="*/ 2310681 w 3361769"/>
                <a:gd name="connsiteY7" fmla="*/ 1609065 h 2103097"/>
                <a:gd name="connsiteX8" fmla="*/ 623403 w 3361769"/>
                <a:gd name="connsiteY8" fmla="*/ 1459101 h 2103097"/>
                <a:gd name="connsiteX0" fmla="*/ 623403 w 3361769"/>
                <a:gd name="connsiteY0" fmla="*/ 1434993 h 2078989"/>
                <a:gd name="connsiteX1" fmla="*/ 197172 w 3361769"/>
                <a:gd name="connsiteY1" fmla="*/ 500333 h 2078989"/>
                <a:gd name="connsiteX2" fmla="*/ 1806435 w 3361769"/>
                <a:gd name="connsiteY2" fmla="*/ 110059 h 2078989"/>
                <a:gd name="connsiteX3" fmla="*/ 3361769 w 3361769"/>
                <a:gd name="connsiteY3" fmla="*/ 1584963 h 2078989"/>
                <a:gd name="connsiteX4" fmla="*/ 3361768 w 3361769"/>
                <a:gd name="connsiteY4" fmla="*/ 1584960 h 2078989"/>
                <a:gd name="connsiteX5" fmla="*/ 2930786 w 3361769"/>
                <a:gd name="connsiteY5" fmla="*/ 2078989 h 2078989"/>
                <a:gd name="connsiteX6" fmla="*/ 2310681 w 3361769"/>
                <a:gd name="connsiteY6" fmla="*/ 1584957 h 2078989"/>
                <a:gd name="connsiteX7" fmla="*/ 2310681 w 3361769"/>
                <a:gd name="connsiteY7" fmla="*/ 1584957 h 2078989"/>
                <a:gd name="connsiteX8" fmla="*/ 623403 w 3361769"/>
                <a:gd name="connsiteY8" fmla="*/ 1434993 h 2078989"/>
                <a:gd name="connsiteX0" fmla="*/ 623403 w 3361769"/>
                <a:gd name="connsiteY0" fmla="*/ 1466483 h 2110479"/>
                <a:gd name="connsiteX1" fmla="*/ 197172 w 3361769"/>
                <a:gd name="connsiteY1" fmla="*/ 531823 h 2110479"/>
                <a:gd name="connsiteX2" fmla="*/ 1806435 w 3361769"/>
                <a:gd name="connsiteY2" fmla="*/ 141549 h 2110479"/>
                <a:gd name="connsiteX3" fmla="*/ 3361769 w 3361769"/>
                <a:gd name="connsiteY3" fmla="*/ 1616453 h 2110479"/>
                <a:gd name="connsiteX4" fmla="*/ 3361768 w 3361769"/>
                <a:gd name="connsiteY4" fmla="*/ 1616450 h 2110479"/>
                <a:gd name="connsiteX5" fmla="*/ 2930786 w 3361769"/>
                <a:gd name="connsiteY5" fmla="*/ 2110479 h 2110479"/>
                <a:gd name="connsiteX6" fmla="*/ 2310681 w 3361769"/>
                <a:gd name="connsiteY6" fmla="*/ 1616447 h 2110479"/>
                <a:gd name="connsiteX7" fmla="*/ 2310681 w 3361769"/>
                <a:gd name="connsiteY7" fmla="*/ 1616447 h 2110479"/>
                <a:gd name="connsiteX8" fmla="*/ 623403 w 3361769"/>
                <a:gd name="connsiteY8" fmla="*/ 1466483 h 2110479"/>
                <a:gd name="connsiteX0" fmla="*/ 623403 w 3361769"/>
                <a:gd name="connsiteY0" fmla="*/ 1473923 h 2117919"/>
                <a:gd name="connsiteX1" fmla="*/ 197172 w 3361769"/>
                <a:gd name="connsiteY1" fmla="*/ 539263 h 2117919"/>
                <a:gd name="connsiteX2" fmla="*/ 1819529 w 3361769"/>
                <a:gd name="connsiteY2" fmla="*/ 141549 h 2117919"/>
                <a:gd name="connsiteX3" fmla="*/ 3361769 w 3361769"/>
                <a:gd name="connsiteY3" fmla="*/ 1623893 h 2117919"/>
                <a:gd name="connsiteX4" fmla="*/ 3361768 w 3361769"/>
                <a:gd name="connsiteY4" fmla="*/ 1623890 h 2117919"/>
                <a:gd name="connsiteX5" fmla="*/ 2930786 w 3361769"/>
                <a:gd name="connsiteY5" fmla="*/ 2117919 h 2117919"/>
                <a:gd name="connsiteX6" fmla="*/ 2310681 w 3361769"/>
                <a:gd name="connsiteY6" fmla="*/ 1623887 h 2117919"/>
                <a:gd name="connsiteX7" fmla="*/ 2310681 w 3361769"/>
                <a:gd name="connsiteY7" fmla="*/ 1623887 h 2117919"/>
                <a:gd name="connsiteX8" fmla="*/ 623403 w 3361769"/>
                <a:gd name="connsiteY8" fmla="*/ 1473923 h 2117919"/>
                <a:gd name="connsiteX0" fmla="*/ 623403 w 3361769"/>
                <a:gd name="connsiteY0" fmla="*/ 1473923 h 2117919"/>
                <a:gd name="connsiteX1" fmla="*/ 197172 w 3361769"/>
                <a:gd name="connsiteY1" fmla="*/ 539263 h 2117919"/>
                <a:gd name="connsiteX2" fmla="*/ 1819529 w 3361769"/>
                <a:gd name="connsiteY2" fmla="*/ 141549 h 2117919"/>
                <a:gd name="connsiteX3" fmla="*/ 3361769 w 3361769"/>
                <a:gd name="connsiteY3" fmla="*/ 1623893 h 2117919"/>
                <a:gd name="connsiteX4" fmla="*/ 3361768 w 3361769"/>
                <a:gd name="connsiteY4" fmla="*/ 1623890 h 2117919"/>
                <a:gd name="connsiteX5" fmla="*/ 2930786 w 3361769"/>
                <a:gd name="connsiteY5" fmla="*/ 2117919 h 2117919"/>
                <a:gd name="connsiteX6" fmla="*/ 2310681 w 3361769"/>
                <a:gd name="connsiteY6" fmla="*/ 1623887 h 2117919"/>
                <a:gd name="connsiteX7" fmla="*/ 2310681 w 3361769"/>
                <a:gd name="connsiteY7" fmla="*/ 1623887 h 2117919"/>
                <a:gd name="connsiteX8" fmla="*/ 623403 w 3361769"/>
                <a:gd name="connsiteY8" fmla="*/ 1473923 h 2117919"/>
                <a:gd name="connsiteX0" fmla="*/ 623403 w 3361769"/>
                <a:gd name="connsiteY0" fmla="*/ 1471389 h 2115385"/>
                <a:gd name="connsiteX1" fmla="*/ 197172 w 3361769"/>
                <a:gd name="connsiteY1" fmla="*/ 536729 h 2115385"/>
                <a:gd name="connsiteX2" fmla="*/ 1819529 w 3361769"/>
                <a:gd name="connsiteY2" fmla="*/ 139015 h 2115385"/>
                <a:gd name="connsiteX3" fmla="*/ 3361769 w 3361769"/>
                <a:gd name="connsiteY3" fmla="*/ 1621359 h 2115385"/>
                <a:gd name="connsiteX4" fmla="*/ 3361768 w 3361769"/>
                <a:gd name="connsiteY4" fmla="*/ 1621356 h 2115385"/>
                <a:gd name="connsiteX5" fmla="*/ 2930786 w 3361769"/>
                <a:gd name="connsiteY5" fmla="*/ 2115385 h 2115385"/>
                <a:gd name="connsiteX6" fmla="*/ 2310681 w 3361769"/>
                <a:gd name="connsiteY6" fmla="*/ 1621353 h 2115385"/>
                <a:gd name="connsiteX7" fmla="*/ 2310681 w 3361769"/>
                <a:gd name="connsiteY7" fmla="*/ 1621353 h 2115385"/>
                <a:gd name="connsiteX8" fmla="*/ 623403 w 3361769"/>
                <a:gd name="connsiteY8" fmla="*/ 1471389 h 2115385"/>
                <a:gd name="connsiteX0" fmla="*/ 623403 w 3361769"/>
                <a:gd name="connsiteY0" fmla="*/ 1457313 h 2101309"/>
                <a:gd name="connsiteX1" fmla="*/ 197172 w 3361769"/>
                <a:gd name="connsiteY1" fmla="*/ 522653 h 2101309"/>
                <a:gd name="connsiteX2" fmla="*/ 1819529 w 3361769"/>
                <a:gd name="connsiteY2" fmla="*/ 124939 h 2101309"/>
                <a:gd name="connsiteX3" fmla="*/ 3361769 w 3361769"/>
                <a:gd name="connsiteY3" fmla="*/ 1607283 h 2101309"/>
                <a:gd name="connsiteX4" fmla="*/ 3361768 w 3361769"/>
                <a:gd name="connsiteY4" fmla="*/ 1607280 h 2101309"/>
                <a:gd name="connsiteX5" fmla="*/ 2930786 w 3361769"/>
                <a:gd name="connsiteY5" fmla="*/ 2101309 h 2101309"/>
                <a:gd name="connsiteX6" fmla="*/ 2310681 w 3361769"/>
                <a:gd name="connsiteY6" fmla="*/ 1607277 h 2101309"/>
                <a:gd name="connsiteX7" fmla="*/ 2310681 w 3361769"/>
                <a:gd name="connsiteY7" fmla="*/ 1607277 h 2101309"/>
                <a:gd name="connsiteX8" fmla="*/ 623403 w 3361769"/>
                <a:gd name="connsiteY8" fmla="*/ 1457313 h 2101309"/>
                <a:gd name="connsiteX0" fmla="*/ 623403 w 3361769"/>
                <a:gd name="connsiteY0" fmla="*/ 1447045 h 2091041"/>
                <a:gd name="connsiteX1" fmla="*/ 197172 w 3361769"/>
                <a:gd name="connsiteY1" fmla="*/ 512385 h 2091041"/>
                <a:gd name="connsiteX2" fmla="*/ 1816702 w 3361769"/>
                <a:gd name="connsiteY2" fmla="*/ 124939 h 2091041"/>
                <a:gd name="connsiteX3" fmla="*/ 3361769 w 3361769"/>
                <a:gd name="connsiteY3" fmla="*/ 1597015 h 2091041"/>
                <a:gd name="connsiteX4" fmla="*/ 3361768 w 3361769"/>
                <a:gd name="connsiteY4" fmla="*/ 1597012 h 2091041"/>
                <a:gd name="connsiteX5" fmla="*/ 2930786 w 3361769"/>
                <a:gd name="connsiteY5" fmla="*/ 2091041 h 2091041"/>
                <a:gd name="connsiteX6" fmla="*/ 2310681 w 3361769"/>
                <a:gd name="connsiteY6" fmla="*/ 1597009 h 2091041"/>
                <a:gd name="connsiteX7" fmla="*/ 2310681 w 3361769"/>
                <a:gd name="connsiteY7" fmla="*/ 1597009 h 2091041"/>
                <a:gd name="connsiteX8" fmla="*/ 623403 w 3361769"/>
                <a:gd name="connsiteY8" fmla="*/ 1447045 h 2091041"/>
                <a:gd name="connsiteX0" fmla="*/ 623403 w 3361769"/>
                <a:gd name="connsiteY0" fmla="*/ 1486327 h 2130323"/>
                <a:gd name="connsiteX1" fmla="*/ 197172 w 3361769"/>
                <a:gd name="connsiteY1" fmla="*/ 551667 h 2130323"/>
                <a:gd name="connsiteX2" fmla="*/ 1816702 w 3361769"/>
                <a:gd name="connsiteY2" fmla="*/ 164221 h 2130323"/>
                <a:gd name="connsiteX3" fmla="*/ 3361769 w 3361769"/>
                <a:gd name="connsiteY3" fmla="*/ 1636297 h 2130323"/>
                <a:gd name="connsiteX4" fmla="*/ 3361768 w 3361769"/>
                <a:gd name="connsiteY4" fmla="*/ 1636294 h 2130323"/>
                <a:gd name="connsiteX5" fmla="*/ 2930786 w 3361769"/>
                <a:gd name="connsiteY5" fmla="*/ 2130323 h 2130323"/>
                <a:gd name="connsiteX6" fmla="*/ 2310681 w 3361769"/>
                <a:gd name="connsiteY6" fmla="*/ 1636291 h 2130323"/>
                <a:gd name="connsiteX7" fmla="*/ 2310681 w 3361769"/>
                <a:gd name="connsiteY7" fmla="*/ 1636291 h 2130323"/>
                <a:gd name="connsiteX8" fmla="*/ 623403 w 3361769"/>
                <a:gd name="connsiteY8" fmla="*/ 1486327 h 2130323"/>
                <a:gd name="connsiteX0" fmla="*/ 623403 w 3361769"/>
                <a:gd name="connsiteY0" fmla="*/ 1486327 h 2130323"/>
                <a:gd name="connsiteX1" fmla="*/ 197172 w 3361769"/>
                <a:gd name="connsiteY1" fmla="*/ 551667 h 2130323"/>
                <a:gd name="connsiteX2" fmla="*/ 1816702 w 3361769"/>
                <a:gd name="connsiteY2" fmla="*/ 164221 h 2130323"/>
                <a:gd name="connsiteX3" fmla="*/ 3361769 w 3361769"/>
                <a:gd name="connsiteY3" fmla="*/ 1636297 h 2130323"/>
                <a:gd name="connsiteX4" fmla="*/ 3361768 w 3361769"/>
                <a:gd name="connsiteY4" fmla="*/ 1636294 h 2130323"/>
                <a:gd name="connsiteX5" fmla="*/ 2930786 w 3361769"/>
                <a:gd name="connsiteY5" fmla="*/ 2130323 h 2130323"/>
                <a:gd name="connsiteX6" fmla="*/ 2310681 w 3361769"/>
                <a:gd name="connsiteY6" fmla="*/ 1636291 h 2130323"/>
                <a:gd name="connsiteX7" fmla="*/ 2310681 w 3361769"/>
                <a:gd name="connsiteY7" fmla="*/ 1636291 h 2130323"/>
                <a:gd name="connsiteX8" fmla="*/ 623403 w 3361769"/>
                <a:gd name="connsiteY8" fmla="*/ 1486327 h 2130323"/>
                <a:gd name="connsiteX0" fmla="*/ 623403 w 3361769"/>
                <a:gd name="connsiteY0" fmla="*/ 1447045 h 2091041"/>
                <a:gd name="connsiteX1" fmla="*/ 197172 w 3361769"/>
                <a:gd name="connsiteY1" fmla="*/ 512385 h 2091041"/>
                <a:gd name="connsiteX2" fmla="*/ 1816702 w 3361769"/>
                <a:gd name="connsiteY2" fmla="*/ 124939 h 2091041"/>
                <a:gd name="connsiteX3" fmla="*/ 3361769 w 3361769"/>
                <a:gd name="connsiteY3" fmla="*/ 1597015 h 2091041"/>
                <a:gd name="connsiteX4" fmla="*/ 3361768 w 3361769"/>
                <a:gd name="connsiteY4" fmla="*/ 1597012 h 2091041"/>
                <a:gd name="connsiteX5" fmla="*/ 2930786 w 3361769"/>
                <a:gd name="connsiteY5" fmla="*/ 2091041 h 2091041"/>
                <a:gd name="connsiteX6" fmla="*/ 2310681 w 3361769"/>
                <a:gd name="connsiteY6" fmla="*/ 1597009 h 2091041"/>
                <a:gd name="connsiteX7" fmla="*/ 2310681 w 3361769"/>
                <a:gd name="connsiteY7" fmla="*/ 1597009 h 2091041"/>
                <a:gd name="connsiteX8" fmla="*/ 623403 w 3361769"/>
                <a:gd name="connsiteY8" fmla="*/ 1447045 h 2091041"/>
                <a:gd name="connsiteX0" fmla="*/ 623403 w 3361769"/>
                <a:gd name="connsiteY0" fmla="*/ 1465792 h 2109788"/>
                <a:gd name="connsiteX1" fmla="*/ 197172 w 3361769"/>
                <a:gd name="connsiteY1" fmla="*/ 531132 h 2109788"/>
                <a:gd name="connsiteX2" fmla="*/ 1816702 w 3361769"/>
                <a:gd name="connsiteY2" fmla="*/ 143686 h 2109788"/>
                <a:gd name="connsiteX3" fmla="*/ 3361769 w 3361769"/>
                <a:gd name="connsiteY3" fmla="*/ 1615762 h 2109788"/>
                <a:gd name="connsiteX4" fmla="*/ 3361768 w 3361769"/>
                <a:gd name="connsiteY4" fmla="*/ 1615759 h 2109788"/>
                <a:gd name="connsiteX5" fmla="*/ 2930786 w 3361769"/>
                <a:gd name="connsiteY5" fmla="*/ 2109788 h 2109788"/>
                <a:gd name="connsiteX6" fmla="*/ 2310681 w 3361769"/>
                <a:gd name="connsiteY6" fmla="*/ 1615756 h 2109788"/>
                <a:gd name="connsiteX7" fmla="*/ 2310681 w 3361769"/>
                <a:gd name="connsiteY7" fmla="*/ 1615756 h 2109788"/>
                <a:gd name="connsiteX8" fmla="*/ 623403 w 3361769"/>
                <a:gd name="connsiteY8" fmla="*/ 1465792 h 2109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61769" h="2109788">
                  <a:moveTo>
                    <a:pt x="623403" y="1465792"/>
                  </a:moveTo>
                  <a:cubicBezTo>
                    <a:pt x="205992" y="1348376"/>
                    <a:pt x="0" y="751954"/>
                    <a:pt x="197172" y="531132"/>
                  </a:cubicBezTo>
                  <a:cubicBezTo>
                    <a:pt x="513286" y="253809"/>
                    <a:pt x="1175227" y="0"/>
                    <a:pt x="1816702" y="143686"/>
                  </a:cubicBezTo>
                  <a:cubicBezTo>
                    <a:pt x="2552113" y="296005"/>
                    <a:pt x="3171197" y="865290"/>
                    <a:pt x="3361769" y="1615762"/>
                  </a:cubicBezTo>
                  <a:cubicBezTo>
                    <a:pt x="3361769" y="1615761"/>
                    <a:pt x="3361768" y="1615760"/>
                    <a:pt x="3361768" y="1615759"/>
                  </a:cubicBezTo>
                  <a:lnTo>
                    <a:pt x="2930786" y="2109788"/>
                  </a:lnTo>
                  <a:lnTo>
                    <a:pt x="2310681" y="1615756"/>
                  </a:lnTo>
                  <a:lnTo>
                    <a:pt x="2310681" y="1615756"/>
                  </a:lnTo>
                  <a:cubicBezTo>
                    <a:pt x="2039577" y="1124957"/>
                    <a:pt x="1201679" y="873752"/>
                    <a:pt x="623403" y="1465792"/>
                  </a:cubicBezTo>
                  <a:close/>
                </a:path>
              </a:pathLst>
            </a:custGeom>
            <a:solidFill>
              <a:schemeClr val="bg2"/>
            </a:solidFill>
            <a:ln>
              <a:solidFill>
                <a:schemeClr val="tx2"/>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985" tIns="89985" rIns="89985" bIns="89985" numCol="1" spcCol="1270" anchor="ctr" anchorCtr="0">
              <a:noAutofit/>
            </a:bodyPr>
            <a:lstStyle/>
            <a:p>
              <a:pPr algn="ctr" defTabSz="666694">
                <a:lnSpc>
                  <a:spcPct val="90000"/>
                </a:lnSpc>
                <a:spcBef>
                  <a:spcPct val="0"/>
                </a:spcBef>
                <a:spcAft>
                  <a:spcPct val="35000"/>
                </a:spcAft>
              </a:pPr>
              <a:endParaRPr lang="en-US" sz="1500">
                <a:solidFill>
                  <a:schemeClr val="tx1"/>
                </a:solidFill>
                <a:sym typeface="Segoe UI"/>
              </a:endParaRPr>
            </a:p>
          </p:txBody>
        </p:sp>
        <p:sp>
          <p:nvSpPr>
            <p:cNvPr id="37" name="Freeform 36"/>
            <p:cNvSpPr/>
            <p:nvPr>
              <p:custDataLst>
                <p:tags r:id="rId13"/>
              </p:custDataLst>
            </p:nvPr>
          </p:nvSpPr>
          <p:spPr>
            <a:xfrm rot="15527030">
              <a:off x="5670710" y="2145701"/>
              <a:ext cx="2136857" cy="1371451"/>
            </a:xfrm>
            <a:custGeom>
              <a:avLst/>
              <a:gdLst>
                <a:gd name="connsiteX0" fmla="*/ 348547 w 4038600"/>
                <a:gd name="connsiteY0" fmla="*/ 906891 h 4038600"/>
                <a:gd name="connsiteX1" fmla="*/ 2357628 w 4038600"/>
                <a:gd name="connsiteY1" fmla="*/ 40815 h 4038600"/>
                <a:gd name="connsiteX2" fmla="*/ 3964758 w 4038600"/>
                <a:gd name="connsiteY2" fmla="*/ 1525277 h 4038600"/>
                <a:gd name="connsiteX3" fmla="*/ 3964757 w 4038600"/>
                <a:gd name="connsiteY3" fmla="*/ 1525274 h 4038600"/>
                <a:gd name="connsiteX4" fmla="*/ 3533775 w 4038600"/>
                <a:gd name="connsiteY4" fmla="*/ 2019303 h 4038600"/>
                <a:gd name="connsiteX5" fmla="*/ 2913670 w 4038600"/>
                <a:gd name="connsiteY5" fmla="*/ 1525271 h 4038600"/>
                <a:gd name="connsiteX6" fmla="*/ 2913670 w 4038600"/>
                <a:gd name="connsiteY6" fmla="*/ 1525271 h 4038600"/>
                <a:gd name="connsiteX7" fmla="*/ 2061559 w 4038600"/>
                <a:gd name="connsiteY7" fmla="*/ 998426 h 4038600"/>
                <a:gd name="connsiteX8" fmla="*/ 1168818 w 4038600"/>
                <a:gd name="connsiteY8" fmla="*/ 1453038 h 4038600"/>
                <a:gd name="connsiteX9" fmla="*/ 348547 w 4038600"/>
                <a:gd name="connsiteY9" fmla="*/ 906891 h 4038600"/>
                <a:gd name="connsiteX0" fmla="*/ 0 w 3616211"/>
                <a:gd name="connsiteY0" fmla="*/ 999801 h 2112213"/>
                <a:gd name="connsiteX1" fmla="*/ 2009081 w 3616211"/>
                <a:gd name="connsiteY1" fmla="*/ 133725 h 2112213"/>
                <a:gd name="connsiteX2" fmla="*/ 3616211 w 3616211"/>
                <a:gd name="connsiteY2" fmla="*/ 1618187 h 2112213"/>
                <a:gd name="connsiteX3" fmla="*/ 3616210 w 3616211"/>
                <a:gd name="connsiteY3" fmla="*/ 1618184 h 2112213"/>
                <a:gd name="connsiteX4" fmla="*/ 3185228 w 3616211"/>
                <a:gd name="connsiteY4" fmla="*/ 2112213 h 2112213"/>
                <a:gd name="connsiteX5" fmla="*/ 2565123 w 3616211"/>
                <a:gd name="connsiteY5" fmla="*/ 1618181 h 2112213"/>
                <a:gd name="connsiteX6" fmla="*/ 2565123 w 3616211"/>
                <a:gd name="connsiteY6" fmla="*/ 1618181 h 2112213"/>
                <a:gd name="connsiteX7" fmla="*/ 1713012 w 3616211"/>
                <a:gd name="connsiteY7" fmla="*/ 1091336 h 2112213"/>
                <a:gd name="connsiteX8" fmla="*/ 820271 w 3616211"/>
                <a:gd name="connsiteY8" fmla="*/ 1545948 h 2112213"/>
                <a:gd name="connsiteX9" fmla="*/ 842336 w 3616211"/>
                <a:gd name="connsiteY9" fmla="*/ 883669 h 2112213"/>
                <a:gd name="connsiteX10" fmla="*/ 0 w 3616211"/>
                <a:gd name="connsiteY10" fmla="*/ 999801 h 2112213"/>
                <a:gd name="connsiteX0" fmla="*/ 0 w 3153747"/>
                <a:gd name="connsiteY0" fmla="*/ 660371 h 2263706"/>
                <a:gd name="connsiteX1" fmla="*/ 1546617 w 3153747"/>
                <a:gd name="connsiteY1" fmla="*/ 285218 h 2263706"/>
                <a:gd name="connsiteX2" fmla="*/ 3153747 w 3153747"/>
                <a:gd name="connsiteY2" fmla="*/ 1769680 h 2263706"/>
                <a:gd name="connsiteX3" fmla="*/ 3153746 w 3153747"/>
                <a:gd name="connsiteY3" fmla="*/ 1769677 h 2263706"/>
                <a:gd name="connsiteX4" fmla="*/ 2722764 w 3153747"/>
                <a:gd name="connsiteY4" fmla="*/ 2263706 h 2263706"/>
                <a:gd name="connsiteX5" fmla="*/ 2102659 w 3153747"/>
                <a:gd name="connsiteY5" fmla="*/ 1769674 h 2263706"/>
                <a:gd name="connsiteX6" fmla="*/ 2102659 w 3153747"/>
                <a:gd name="connsiteY6" fmla="*/ 1769674 h 2263706"/>
                <a:gd name="connsiteX7" fmla="*/ 1250548 w 3153747"/>
                <a:gd name="connsiteY7" fmla="*/ 1242829 h 2263706"/>
                <a:gd name="connsiteX8" fmla="*/ 357807 w 3153747"/>
                <a:gd name="connsiteY8" fmla="*/ 1697441 h 2263706"/>
                <a:gd name="connsiteX9" fmla="*/ 379872 w 3153747"/>
                <a:gd name="connsiteY9" fmla="*/ 1035162 h 2263706"/>
                <a:gd name="connsiteX10" fmla="*/ 0 w 3153747"/>
                <a:gd name="connsiteY10" fmla="*/ 660371 h 2263706"/>
                <a:gd name="connsiteX0" fmla="*/ 0 w 3279076"/>
                <a:gd name="connsiteY0" fmla="*/ 662326 h 2142915"/>
                <a:gd name="connsiteX1" fmla="*/ 1671946 w 3279076"/>
                <a:gd name="connsiteY1" fmla="*/ 164427 h 2142915"/>
                <a:gd name="connsiteX2" fmla="*/ 3279076 w 3279076"/>
                <a:gd name="connsiteY2" fmla="*/ 1648889 h 2142915"/>
                <a:gd name="connsiteX3" fmla="*/ 3279075 w 3279076"/>
                <a:gd name="connsiteY3" fmla="*/ 1648886 h 2142915"/>
                <a:gd name="connsiteX4" fmla="*/ 2848093 w 3279076"/>
                <a:gd name="connsiteY4" fmla="*/ 2142915 h 2142915"/>
                <a:gd name="connsiteX5" fmla="*/ 2227988 w 3279076"/>
                <a:gd name="connsiteY5" fmla="*/ 1648883 h 2142915"/>
                <a:gd name="connsiteX6" fmla="*/ 2227988 w 3279076"/>
                <a:gd name="connsiteY6" fmla="*/ 1648883 h 2142915"/>
                <a:gd name="connsiteX7" fmla="*/ 1375877 w 3279076"/>
                <a:gd name="connsiteY7" fmla="*/ 1122038 h 2142915"/>
                <a:gd name="connsiteX8" fmla="*/ 483136 w 3279076"/>
                <a:gd name="connsiteY8" fmla="*/ 1576650 h 2142915"/>
                <a:gd name="connsiteX9" fmla="*/ 505201 w 3279076"/>
                <a:gd name="connsiteY9" fmla="*/ 914371 h 2142915"/>
                <a:gd name="connsiteX10" fmla="*/ 0 w 3279076"/>
                <a:gd name="connsiteY10" fmla="*/ 662326 h 2142915"/>
                <a:gd name="connsiteX0" fmla="*/ 0 w 3279076"/>
                <a:gd name="connsiteY0" fmla="*/ 662326 h 2142915"/>
                <a:gd name="connsiteX1" fmla="*/ 1671946 w 3279076"/>
                <a:gd name="connsiteY1" fmla="*/ 164427 h 2142915"/>
                <a:gd name="connsiteX2" fmla="*/ 3279076 w 3279076"/>
                <a:gd name="connsiteY2" fmla="*/ 1648889 h 2142915"/>
                <a:gd name="connsiteX3" fmla="*/ 3279075 w 3279076"/>
                <a:gd name="connsiteY3" fmla="*/ 1648886 h 2142915"/>
                <a:gd name="connsiteX4" fmla="*/ 2848093 w 3279076"/>
                <a:gd name="connsiteY4" fmla="*/ 2142915 h 2142915"/>
                <a:gd name="connsiteX5" fmla="*/ 2227988 w 3279076"/>
                <a:gd name="connsiteY5" fmla="*/ 1648883 h 2142915"/>
                <a:gd name="connsiteX6" fmla="*/ 2227988 w 3279076"/>
                <a:gd name="connsiteY6" fmla="*/ 1648883 h 2142915"/>
                <a:gd name="connsiteX7" fmla="*/ 1375877 w 3279076"/>
                <a:gd name="connsiteY7" fmla="*/ 1122038 h 2142915"/>
                <a:gd name="connsiteX8" fmla="*/ 483136 w 3279076"/>
                <a:gd name="connsiteY8" fmla="*/ 1576650 h 2142915"/>
                <a:gd name="connsiteX9" fmla="*/ 505201 w 3279076"/>
                <a:gd name="connsiteY9" fmla="*/ 914371 h 2142915"/>
                <a:gd name="connsiteX10" fmla="*/ 0 w 3279076"/>
                <a:gd name="connsiteY10" fmla="*/ 662326 h 2142915"/>
                <a:gd name="connsiteX0" fmla="*/ 0 w 3279076"/>
                <a:gd name="connsiteY0" fmla="*/ 662326 h 2142915"/>
                <a:gd name="connsiteX1" fmla="*/ 1671946 w 3279076"/>
                <a:gd name="connsiteY1" fmla="*/ 164427 h 2142915"/>
                <a:gd name="connsiteX2" fmla="*/ 3279076 w 3279076"/>
                <a:gd name="connsiteY2" fmla="*/ 1648889 h 2142915"/>
                <a:gd name="connsiteX3" fmla="*/ 3279075 w 3279076"/>
                <a:gd name="connsiteY3" fmla="*/ 1648886 h 2142915"/>
                <a:gd name="connsiteX4" fmla="*/ 2848093 w 3279076"/>
                <a:gd name="connsiteY4" fmla="*/ 2142915 h 2142915"/>
                <a:gd name="connsiteX5" fmla="*/ 2227988 w 3279076"/>
                <a:gd name="connsiteY5" fmla="*/ 1648883 h 2142915"/>
                <a:gd name="connsiteX6" fmla="*/ 2227988 w 3279076"/>
                <a:gd name="connsiteY6" fmla="*/ 1648883 h 2142915"/>
                <a:gd name="connsiteX7" fmla="*/ 1375877 w 3279076"/>
                <a:gd name="connsiteY7" fmla="*/ 1122038 h 2142915"/>
                <a:gd name="connsiteX8" fmla="*/ 483136 w 3279076"/>
                <a:gd name="connsiteY8" fmla="*/ 1576650 h 2142915"/>
                <a:gd name="connsiteX9" fmla="*/ 505201 w 3279076"/>
                <a:gd name="connsiteY9" fmla="*/ 914371 h 2142915"/>
                <a:gd name="connsiteX10" fmla="*/ 0 w 3279076"/>
                <a:gd name="connsiteY10" fmla="*/ 662326 h 2142915"/>
                <a:gd name="connsiteX0" fmla="*/ 0 w 3279076"/>
                <a:gd name="connsiteY0" fmla="*/ 662326 h 2142915"/>
                <a:gd name="connsiteX1" fmla="*/ 1671946 w 3279076"/>
                <a:gd name="connsiteY1" fmla="*/ 164427 h 2142915"/>
                <a:gd name="connsiteX2" fmla="*/ 3279076 w 3279076"/>
                <a:gd name="connsiteY2" fmla="*/ 1648889 h 2142915"/>
                <a:gd name="connsiteX3" fmla="*/ 3279075 w 3279076"/>
                <a:gd name="connsiteY3" fmla="*/ 1648886 h 2142915"/>
                <a:gd name="connsiteX4" fmla="*/ 2848093 w 3279076"/>
                <a:gd name="connsiteY4" fmla="*/ 2142915 h 2142915"/>
                <a:gd name="connsiteX5" fmla="*/ 2227988 w 3279076"/>
                <a:gd name="connsiteY5" fmla="*/ 1648883 h 2142915"/>
                <a:gd name="connsiteX6" fmla="*/ 2227988 w 3279076"/>
                <a:gd name="connsiteY6" fmla="*/ 1648883 h 2142915"/>
                <a:gd name="connsiteX7" fmla="*/ 1375877 w 3279076"/>
                <a:gd name="connsiteY7" fmla="*/ 1122038 h 2142915"/>
                <a:gd name="connsiteX8" fmla="*/ 483136 w 3279076"/>
                <a:gd name="connsiteY8" fmla="*/ 1576650 h 2142915"/>
                <a:gd name="connsiteX9" fmla="*/ 505201 w 3279076"/>
                <a:gd name="connsiteY9" fmla="*/ 914371 h 2142915"/>
                <a:gd name="connsiteX10" fmla="*/ 0 w 3279076"/>
                <a:gd name="connsiteY10" fmla="*/ 662326 h 2142915"/>
                <a:gd name="connsiteX0" fmla="*/ 0 w 3279076"/>
                <a:gd name="connsiteY0" fmla="*/ 662326 h 2142915"/>
                <a:gd name="connsiteX1" fmla="*/ 1671946 w 3279076"/>
                <a:gd name="connsiteY1" fmla="*/ 164427 h 2142915"/>
                <a:gd name="connsiteX2" fmla="*/ 3279076 w 3279076"/>
                <a:gd name="connsiteY2" fmla="*/ 1648889 h 2142915"/>
                <a:gd name="connsiteX3" fmla="*/ 3279075 w 3279076"/>
                <a:gd name="connsiteY3" fmla="*/ 1648886 h 2142915"/>
                <a:gd name="connsiteX4" fmla="*/ 2848093 w 3279076"/>
                <a:gd name="connsiteY4" fmla="*/ 2142915 h 2142915"/>
                <a:gd name="connsiteX5" fmla="*/ 2227988 w 3279076"/>
                <a:gd name="connsiteY5" fmla="*/ 1648883 h 2142915"/>
                <a:gd name="connsiteX6" fmla="*/ 2227988 w 3279076"/>
                <a:gd name="connsiteY6" fmla="*/ 1648883 h 2142915"/>
                <a:gd name="connsiteX7" fmla="*/ 1375877 w 3279076"/>
                <a:gd name="connsiteY7" fmla="*/ 1122038 h 2142915"/>
                <a:gd name="connsiteX8" fmla="*/ 483136 w 3279076"/>
                <a:gd name="connsiteY8" fmla="*/ 1576650 h 2142915"/>
                <a:gd name="connsiteX9" fmla="*/ 505201 w 3279076"/>
                <a:gd name="connsiteY9" fmla="*/ 914371 h 2142915"/>
                <a:gd name="connsiteX10" fmla="*/ 0 w 3279076"/>
                <a:gd name="connsiteY10" fmla="*/ 662326 h 2142915"/>
                <a:gd name="connsiteX0" fmla="*/ 0 w 3279076"/>
                <a:gd name="connsiteY0" fmla="*/ 662326 h 2142915"/>
                <a:gd name="connsiteX1" fmla="*/ 1671946 w 3279076"/>
                <a:gd name="connsiteY1" fmla="*/ 164427 h 2142915"/>
                <a:gd name="connsiteX2" fmla="*/ 3279076 w 3279076"/>
                <a:gd name="connsiteY2" fmla="*/ 1648889 h 2142915"/>
                <a:gd name="connsiteX3" fmla="*/ 3279075 w 3279076"/>
                <a:gd name="connsiteY3" fmla="*/ 1648886 h 2142915"/>
                <a:gd name="connsiteX4" fmla="*/ 2848093 w 3279076"/>
                <a:gd name="connsiteY4" fmla="*/ 2142915 h 2142915"/>
                <a:gd name="connsiteX5" fmla="*/ 2227988 w 3279076"/>
                <a:gd name="connsiteY5" fmla="*/ 1648883 h 2142915"/>
                <a:gd name="connsiteX6" fmla="*/ 2227988 w 3279076"/>
                <a:gd name="connsiteY6" fmla="*/ 1648883 h 2142915"/>
                <a:gd name="connsiteX7" fmla="*/ 1375877 w 3279076"/>
                <a:gd name="connsiteY7" fmla="*/ 1122038 h 2142915"/>
                <a:gd name="connsiteX8" fmla="*/ 483136 w 3279076"/>
                <a:gd name="connsiteY8" fmla="*/ 1576650 h 2142915"/>
                <a:gd name="connsiteX9" fmla="*/ 505201 w 3279076"/>
                <a:gd name="connsiteY9" fmla="*/ 914371 h 2142915"/>
                <a:gd name="connsiteX10" fmla="*/ 0 w 3279076"/>
                <a:gd name="connsiteY10" fmla="*/ 662326 h 2142915"/>
                <a:gd name="connsiteX0" fmla="*/ 0 w 3279076"/>
                <a:gd name="connsiteY0" fmla="*/ 623947 h 2104536"/>
                <a:gd name="connsiteX1" fmla="*/ 1671946 w 3279076"/>
                <a:gd name="connsiteY1" fmla="*/ 126048 h 2104536"/>
                <a:gd name="connsiteX2" fmla="*/ 3279076 w 3279076"/>
                <a:gd name="connsiteY2" fmla="*/ 1610510 h 2104536"/>
                <a:gd name="connsiteX3" fmla="*/ 3279075 w 3279076"/>
                <a:gd name="connsiteY3" fmla="*/ 1610507 h 2104536"/>
                <a:gd name="connsiteX4" fmla="*/ 2848093 w 3279076"/>
                <a:gd name="connsiteY4" fmla="*/ 2104536 h 2104536"/>
                <a:gd name="connsiteX5" fmla="*/ 2227988 w 3279076"/>
                <a:gd name="connsiteY5" fmla="*/ 1610504 h 2104536"/>
                <a:gd name="connsiteX6" fmla="*/ 2227988 w 3279076"/>
                <a:gd name="connsiteY6" fmla="*/ 1610504 h 2104536"/>
                <a:gd name="connsiteX7" fmla="*/ 1375877 w 3279076"/>
                <a:gd name="connsiteY7" fmla="*/ 1083659 h 2104536"/>
                <a:gd name="connsiteX8" fmla="*/ 483136 w 3279076"/>
                <a:gd name="connsiteY8" fmla="*/ 1538271 h 2104536"/>
                <a:gd name="connsiteX9" fmla="*/ 505201 w 3279076"/>
                <a:gd name="connsiteY9" fmla="*/ 875992 h 2104536"/>
                <a:gd name="connsiteX10" fmla="*/ 0 w 3279076"/>
                <a:gd name="connsiteY10" fmla="*/ 623947 h 2104536"/>
                <a:gd name="connsiteX0" fmla="*/ 0 w 3279076"/>
                <a:gd name="connsiteY0" fmla="*/ 623947 h 2104536"/>
                <a:gd name="connsiteX1" fmla="*/ 1671946 w 3279076"/>
                <a:gd name="connsiteY1" fmla="*/ 126048 h 2104536"/>
                <a:gd name="connsiteX2" fmla="*/ 3279076 w 3279076"/>
                <a:gd name="connsiteY2" fmla="*/ 1610510 h 2104536"/>
                <a:gd name="connsiteX3" fmla="*/ 3279075 w 3279076"/>
                <a:gd name="connsiteY3" fmla="*/ 1610507 h 2104536"/>
                <a:gd name="connsiteX4" fmla="*/ 2848093 w 3279076"/>
                <a:gd name="connsiteY4" fmla="*/ 2104536 h 2104536"/>
                <a:gd name="connsiteX5" fmla="*/ 2227988 w 3279076"/>
                <a:gd name="connsiteY5" fmla="*/ 1610504 h 2104536"/>
                <a:gd name="connsiteX6" fmla="*/ 2227988 w 3279076"/>
                <a:gd name="connsiteY6" fmla="*/ 1610504 h 2104536"/>
                <a:gd name="connsiteX7" fmla="*/ 1375877 w 3279076"/>
                <a:gd name="connsiteY7" fmla="*/ 1083659 h 2104536"/>
                <a:gd name="connsiteX8" fmla="*/ 483136 w 3279076"/>
                <a:gd name="connsiteY8" fmla="*/ 1538271 h 2104536"/>
                <a:gd name="connsiteX9" fmla="*/ 505201 w 3279076"/>
                <a:gd name="connsiteY9" fmla="*/ 875992 h 2104536"/>
                <a:gd name="connsiteX10" fmla="*/ 0 w 3279076"/>
                <a:gd name="connsiteY10" fmla="*/ 623947 h 2104536"/>
                <a:gd name="connsiteX0" fmla="*/ 0 w 3279076"/>
                <a:gd name="connsiteY0" fmla="*/ 623947 h 2104536"/>
                <a:gd name="connsiteX1" fmla="*/ 1671946 w 3279076"/>
                <a:gd name="connsiteY1" fmla="*/ 126048 h 2104536"/>
                <a:gd name="connsiteX2" fmla="*/ 3279076 w 3279076"/>
                <a:gd name="connsiteY2" fmla="*/ 1610510 h 2104536"/>
                <a:gd name="connsiteX3" fmla="*/ 3279075 w 3279076"/>
                <a:gd name="connsiteY3" fmla="*/ 1610507 h 2104536"/>
                <a:gd name="connsiteX4" fmla="*/ 2848093 w 3279076"/>
                <a:gd name="connsiteY4" fmla="*/ 2104536 h 2104536"/>
                <a:gd name="connsiteX5" fmla="*/ 2227988 w 3279076"/>
                <a:gd name="connsiteY5" fmla="*/ 1610504 h 2104536"/>
                <a:gd name="connsiteX6" fmla="*/ 2227988 w 3279076"/>
                <a:gd name="connsiteY6" fmla="*/ 1610504 h 2104536"/>
                <a:gd name="connsiteX7" fmla="*/ 1375877 w 3279076"/>
                <a:gd name="connsiteY7" fmla="*/ 1083659 h 2104536"/>
                <a:gd name="connsiteX8" fmla="*/ 483136 w 3279076"/>
                <a:gd name="connsiteY8" fmla="*/ 1538271 h 2104536"/>
                <a:gd name="connsiteX9" fmla="*/ 505201 w 3279076"/>
                <a:gd name="connsiteY9" fmla="*/ 875992 h 2104536"/>
                <a:gd name="connsiteX10" fmla="*/ 0 w 3279076"/>
                <a:gd name="connsiteY10" fmla="*/ 623947 h 2104536"/>
                <a:gd name="connsiteX0" fmla="*/ 0 w 3279076"/>
                <a:gd name="connsiteY0" fmla="*/ 623947 h 2104536"/>
                <a:gd name="connsiteX1" fmla="*/ 1671946 w 3279076"/>
                <a:gd name="connsiteY1" fmla="*/ 126048 h 2104536"/>
                <a:gd name="connsiteX2" fmla="*/ 3279076 w 3279076"/>
                <a:gd name="connsiteY2" fmla="*/ 1610510 h 2104536"/>
                <a:gd name="connsiteX3" fmla="*/ 3279075 w 3279076"/>
                <a:gd name="connsiteY3" fmla="*/ 1610507 h 2104536"/>
                <a:gd name="connsiteX4" fmla="*/ 2848093 w 3279076"/>
                <a:gd name="connsiteY4" fmla="*/ 2104536 h 2104536"/>
                <a:gd name="connsiteX5" fmla="*/ 2227988 w 3279076"/>
                <a:gd name="connsiteY5" fmla="*/ 1610504 h 2104536"/>
                <a:gd name="connsiteX6" fmla="*/ 2227988 w 3279076"/>
                <a:gd name="connsiteY6" fmla="*/ 1610504 h 2104536"/>
                <a:gd name="connsiteX7" fmla="*/ 1375877 w 3279076"/>
                <a:gd name="connsiteY7" fmla="*/ 1083659 h 2104536"/>
                <a:gd name="connsiteX8" fmla="*/ 483136 w 3279076"/>
                <a:gd name="connsiteY8" fmla="*/ 1538271 h 2104536"/>
                <a:gd name="connsiteX9" fmla="*/ 505201 w 3279076"/>
                <a:gd name="connsiteY9" fmla="*/ 875992 h 2104536"/>
                <a:gd name="connsiteX10" fmla="*/ 0 w 3279076"/>
                <a:gd name="connsiteY10" fmla="*/ 623947 h 2104536"/>
                <a:gd name="connsiteX0" fmla="*/ 0 w 3279076"/>
                <a:gd name="connsiteY0" fmla="*/ 623947 h 2104536"/>
                <a:gd name="connsiteX1" fmla="*/ 1671946 w 3279076"/>
                <a:gd name="connsiteY1" fmla="*/ 126048 h 2104536"/>
                <a:gd name="connsiteX2" fmla="*/ 3279076 w 3279076"/>
                <a:gd name="connsiteY2" fmla="*/ 1610510 h 2104536"/>
                <a:gd name="connsiteX3" fmla="*/ 3279075 w 3279076"/>
                <a:gd name="connsiteY3" fmla="*/ 1610507 h 2104536"/>
                <a:gd name="connsiteX4" fmla="*/ 2848093 w 3279076"/>
                <a:gd name="connsiteY4" fmla="*/ 2104536 h 2104536"/>
                <a:gd name="connsiteX5" fmla="*/ 2227988 w 3279076"/>
                <a:gd name="connsiteY5" fmla="*/ 1610504 h 2104536"/>
                <a:gd name="connsiteX6" fmla="*/ 2227988 w 3279076"/>
                <a:gd name="connsiteY6" fmla="*/ 1610504 h 2104536"/>
                <a:gd name="connsiteX7" fmla="*/ 1375877 w 3279076"/>
                <a:gd name="connsiteY7" fmla="*/ 1083659 h 2104536"/>
                <a:gd name="connsiteX8" fmla="*/ 483136 w 3279076"/>
                <a:gd name="connsiteY8" fmla="*/ 1538271 h 2104536"/>
                <a:gd name="connsiteX9" fmla="*/ 505201 w 3279076"/>
                <a:gd name="connsiteY9" fmla="*/ 875992 h 2104536"/>
                <a:gd name="connsiteX10" fmla="*/ 0 w 3279076"/>
                <a:gd name="connsiteY10" fmla="*/ 623947 h 2104536"/>
                <a:gd name="connsiteX0" fmla="*/ 0 w 3279076"/>
                <a:gd name="connsiteY0" fmla="*/ 623947 h 2104536"/>
                <a:gd name="connsiteX1" fmla="*/ 1671946 w 3279076"/>
                <a:gd name="connsiteY1" fmla="*/ 126048 h 2104536"/>
                <a:gd name="connsiteX2" fmla="*/ 3279076 w 3279076"/>
                <a:gd name="connsiteY2" fmla="*/ 1610510 h 2104536"/>
                <a:gd name="connsiteX3" fmla="*/ 3279075 w 3279076"/>
                <a:gd name="connsiteY3" fmla="*/ 1610507 h 2104536"/>
                <a:gd name="connsiteX4" fmla="*/ 2848093 w 3279076"/>
                <a:gd name="connsiteY4" fmla="*/ 2104536 h 2104536"/>
                <a:gd name="connsiteX5" fmla="*/ 2227988 w 3279076"/>
                <a:gd name="connsiteY5" fmla="*/ 1610504 h 2104536"/>
                <a:gd name="connsiteX6" fmla="*/ 2227988 w 3279076"/>
                <a:gd name="connsiteY6" fmla="*/ 1610504 h 2104536"/>
                <a:gd name="connsiteX7" fmla="*/ 1375877 w 3279076"/>
                <a:gd name="connsiteY7" fmla="*/ 1083659 h 2104536"/>
                <a:gd name="connsiteX8" fmla="*/ 483136 w 3279076"/>
                <a:gd name="connsiteY8" fmla="*/ 1538271 h 2104536"/>
                <a:gd name="connsiteX9" fmla="*/ 505201 w 3279076"/>
                <a:gd name="connsiteY9" fmla="*/ 875992 h 2104536"/>
                <a:gd name="connsiteX10" fmla="*/ 0 w 3279076"/>
                <a:gd name="connsiteY10" fmla="*/ 623947 h 2104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79076" h="2104536">
                  <a:moveTo>
                    <a:pt x="0" y="623947"/>
                  </a:moveTo>
                  <a:cubicBezTo>
                    <a:pt x="386672" y="216217"/>
                    <a:pt x="1074126" y="0"/>
                    <a:pt x="1671946" y="126048"/>
                  </a:cubicBezTo>
                  <a:cubicBezTo>
                    <a:pt x="2438867" y="280774"/>
                    <a:pt x="3083812" y="841561"/>
                    <a:pt x="3279076" y="1610510"/>
                  </a:cubicBezTo>
                  <a:cubicBezTo>
                    <a:pt x="3279076" y="1610509"/>
                    <a:pt x="3279075" y="1610508"/>
                    <a:pt x="3279075" y="1610507"/>
                  </a:cubicBezTo>
                  <a:lnTo>
                    <a:pt x="2848093" y="2104536"/>
                  </a:lnTo>
                  <a:lnTo>
                    <a:pt x="2227988" y="1610504"/>
                  </a:lnTo>
                  <a:lnTo>
                    <a:pt x="2227988" y="1610504"/>
                  </a:lnTo>
                  <a:cubicBezTo>
                    <a:pt x="2055444" y="1298135"/>
                    <a:pt x="1732428" y="1098420"/>
                    <a:pt x="1375877" y="1083659"/>
                  </a:cubicBezTo>
                  <a:cubicBezTo>
                    <a:pt x="1028023" y="1057676"/>
                    <a:pt x="722335" y="1230632"/>
                    <a:pt x="483136" y="1538271"/>
                  </a:cubicBezTo>
                  <a:lnTo>
                    <a:pt x="505201" y="875992"/>
                  </a:lnTo>
                  <a:lnTo>
                    <a:pt x="0" y="623947"/>
                  </a:lnTo>
                  <a:close/>
                </a:path>
              </a:pathLst>
            </a:custGeom>
            <a:solidFill>
              <a:schemeClr val="tx2"/>
            </a:solidFill>
            <a:ln>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985" tIns="89985" rIns="89985" bIns="89985" numCol="1" spcCol="1270" anchor="ctr" anchorCtr="0">
              <a:noAutofit/>
            </a:bodyPr>
            <a:lstStyle/>
            <a:p>
              <a:pPr algn="ctr" defTabSz="666694">
                <a:lnSpc>
                  <a:spcPct val="90000"/>
                </a:lnSpc>
                <a:spcBef>
                  <a:spcPct val="0"/>
                </a:spcBef>
                <a:spcAft>
                  <a:spcPct val="35000"/>
                </a:spcAft>
              </a:pPr>
              <a:endParaRPr lang="en-US" sz="1500">
                <a:solidFill>
                  <a:schemeClr val="tx1"/>
                </a:solidFill>
                <a:sym typeface="Segoe UI"/>
              </a:endParaRPr>
            </a:p>
          </p:txBody>
        </p:sp>
        <p:sp>
          <p:nvSpPr>
            <p:cNvPr id="38" name="Rectangle 37"/>
            <p:cNvSpPr/>
            <p:nvPr>
              <p:custDataLst>
                <p:tags r:id="rId14"/>
              </p:custDataLst>
            </p:nvPr>
          </p:nvSpPr>
          <p:spPr>
            <a:xfrm rot="2162626">
              <a:off x="7187797" y="2096550"/>
              <a:ext cx="1117854" cy="729812"/>
            </a:xfrm>
            <a:prstGeom prst="rect">
              <a:avLst/>
            </a:prstGeom>
          </p:spPr>
          <p:txBody>
            <a:bodyPr wrap="none">
              <a:prstTxWarp prst="textArchUp">
                <a:avLst/>
              </a:prstTxWarp>
              <a:spAutoFit/>
            </a:bodyPr>
            <a:lstStyle/>
            <a:p>
              <a:pPr algn="ctr" defTabSz="666694">
                <a:lnSpc>
                  <a:spcPct val="90000"/>
                </a:lnSpc>
                <a:spcBef>
                  <a:spcPct val="0"/>
                </a:spcBef>
                <a:spcAft>
                  <a:spcPct val="35000"/>
                </a:spcAft>
              </a:pPr>
              <a:r>
                <a:rPr lang="en-US" dirty="0">
                  <a:solidFill>
                    <a:schemeClr val="tx2"/>
                  </a:solidFill>
                  <a:sym typeface="Segoe UI"/>
                </a:rPr>
                <a:t>Assess</a:t>
              </a:r>
            </a:p>
          </p:txBody>
        </p:sp>
        <p:sp>
          <p:nvSpPr>
            <p:cNvPr id="39" name="Rectangle 38"/>
            <p:cNvSpPr/>
            <p:nvPr>
              <p:custDataLst>
                <p:tags r:id="rId15"/>
              </p:custDataLst>
            </p:nvPr>
          </p:nvSpPr>
          <p:spPr>
            <a:xfrm rot="9194893">
              <a:off x="7094349" y="2947799"/>
              <a:ext cx="1117854" cy="729812"/>
            </a:xfrm>
            <a:prstGeom prst="rect">
              <a:avLst/>
            </a:prstGeom>
          </p:spPr>
          <p:txBody>
            <a:bodyPr wrap="none">
              <a:prstTxWarp prst="textArchUp">
                <a:avLst/>
              </a:prstTxWarp>
              <a:spAutoFit/>
            </a:bodyPr>
            <a:lstStyle/>
            <a:p>
              <a:pPr algn="ctr" defTabSz="666694">
                <a:lnSpc>
                  <a:spcPct val="90000"/>
                </a:lnSpc>
                <a:spcBef>
                  <a:spcPct val="0"/>
                </a:spcBef>
                <a:spcAft>
                  <a:spcPct val="35000"/>
                </a:spcAft>
              </a:pPr>
              <a:r>
                <a:rPr lang="en-US" dirty="0">
                  <a:solidFill>
                    <a:schemeClr val="tx2"/>
                  </a:solidFill>
                  <a:sym typeface="Segoe UI"/>
                </a:rPr>
                <a:t>Plan</a:t>
              </a:r>
            </a:p>
          </p:txBody>
        </p:sp>
        <p:sp>
          <p:nvSpPr>
            <p:cNvPr id="40" name="Rectangle 39"/>
            <p:cNvSpPr/>
            <p:nvPr>
              <p:custDataLst>
                <p:tags r:id="rId16"/>
              </p:custDataLst>
            </p:nvPr>
          </p:nvSpPr>
          <p:spPr>
            <a:xfrm rot="5809634">
              <a:off x="6080312" y="2245638"/>
              <a:ext cx="1790699" cy="1171577"/>
            </a:xfrm>
            <a:prstGeom prst="rect">
              <a:avLst/>
            </a:prstGeom>
          </p:spPr>
          <p:txBody>
            <a:bodyPr wrap="none">
              <a:prstTxWarp prst="textArchDown">
                <a:avLst/>
              </a:prstTxWarp>
              <a:spAutoFit/>
            </a:bodyPr>
            <a:lstStyle/>
            <a:p>
              <a:pPr algn="ctr" defTabSz="666694">
                <a:lnSpc>
                  <a:spcPct val="90000"/>
                </a:lnSpc>
                <a:spcBef>
                  <a:spcPct val="0"/>
                </a:spcBef>
                <a:spcAft>
                  <a:spcPct val="35000"/>
                </a:spcAft>
              </a:pPr>
              <a:r>
                <a:rPr lang="en-US" dirty="0">
                  <a:sym typeface="Segoe UI"/>
                </a:rPr>
                <a:t>Realize Value</a:t>
              </a:r>
            </a:p>
          </p:txBody>
        </p:sp>
      </p:grpSp>
      <p:sp>
        <p:nvSpPr>
          <p:cNvPr id="26" name="Rectangle 25"/>
          <p:cNvSpPr/>
          <p:nvPr>
            <p:custDataLst>
              <p:tags r:id="rId3"/>
            </p:custDataLst>
          </p:nvPr>
        </p:nvSpPr>
        <p:spPr bwMode="auto">
          <a:xfrm>
            <a:off x="388939" y="3286400"/>
            <a:ext cx="4218316" cy="1297977"/>
          </a:xfrm>
          <a:prstGeom prst="rect">
            <a:avLst/>
          </a:prstGeom>
          <a:solidFill>
            <a:schemeClr val="accent5"/>
          </a:solidFill>
          <a:ln w="9525" cap="flat" cmpd="sng" algn="ctr">
            <a:noFill/>
            <a:prstDash val="solid"/>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45716" tIns="45716" rIns="45716" bIns="45716" numCol="1" rtlCol="0" anchor="b" anchorCtr="0" compatLnSpc="1">
            <a:prstTxWarp prst="textNoShape">
              <a:avLst/>
            </a:prstTxWarp>
          </a:bodyPr>
          <a:lstStyle/>
          <a:p>
            <a:pPr algn="ctr" defTabSz="914023" fontAlgn="base">
              <a:spcBef>
                <a:spcPct val="0"/>
              </a:spcBef>
              <a:spcAft>
                <a:spcPct val="0"/>
              </a:spcAft>
            </a:pPr>
            <a:r>
              <a:rPr lang="en-US" dirty="0">
                <a:solidFill>
                  <a:schemeClr val="tx1"/>
                </a:solidFill>
                <a:sym typeface="Segoe UI"/>
              </a:rPr>
              <a:t>Increase Value</a:t>
            </a:r>
          </a:p>
        </p:txBody>
      </p:sp>
      <p:sp>
        <p:nvSpPr>
          <p:cNvPr id="32" name="Rectangle 31"/>
          <p:cNvSpPr/>
          <p:nvPr>
            <p:custDataLst>
              <p:tags r:id="rId4"/>
            </p:custDataLst>
          </p:nvPr>
        </p:nvSpPr>
        <p:spPr bwMode="auto">
          <a:xfrm>
            <a:off x="3235654" y="1078824"/>
            <a:ext cx="1371600" cy="2103120"/>
          </a:xfrm>
          <a:prstGeom prst="rect">
            <a:avLst/>
          </a:prstGeom>
          <a:solidFill>
            <a:schemeClr val="tx2"/>
          </a:solidFill>
          <a:ln w="9525" cap="flat" cmpd="sng" algn="ctr">
            <a:noFill/>
            <a:prstDash val="solid"/>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34294" tIns="34294" rIns="34294" bIns="34294" numCol="1" rtlCol="0" anchor="b" anchorCtr="0" compatLnSpc="1">
            <a:prstTxWarp prst="textNoShape">
              <a:avLst/>
            </a:prstTxWarp>
          </a:bodyPr>
          <a:lstStyle/>
          <a:p>
            <a:pPr algn="ctr" defTabSz="914023" fontAlgn="base">
              <a:spcBef>
                <a:spcPct val="0"/>
              </a:spcBef>
              <a:spcAft>
                <a:spcPct val="0"/>
              </a:spcAft>
            </a:pPr>
            <a:r>
              <a:rPr lang="en-US" dirty="0">
                <a:solidFill>
                  <a:schemeClr val="tx1"/>
                </a:solidFill>
                <a:sym typeface="Segoe UI"/>
              </a:rPr>
              <a:t>Innovation</a:t>
            </a:r>
          </a:p>
        </p:txBody>
      </p:sp>
      <p:grpSp>
        <p:nvGrpSpPr>
          <p:cNvPr id="8" name="Group 7"/>
          <p:cNvGrpSpPr/>
          <p:nvPr/>
        </p:nvGrpSpPr>
        <p:grpSpPr>
          <a:xfrm>
            <a:off x="3611976" y="1201776"/>
            <a:ext cx="618956" cy="1675110"/>
            <a:chOff x="3611976" y="1129206"/>
            <a:chExt cx="618956" cy="1675110"/>
          </a:xfrm>
          <a:solidFill>
            <a:schemeClr val="tx1"/>
          </a:solidFill>
        </p:grpSpPr>
        <p:sp>
          <p:nvSpPr>
            <p:cNvPr id="44" name="Freeform 17"/>
            <p:cNvSpPr>
              <a:spLocks noEditPoints="1"/>
            </p:cNvSpPr>
            <p:nvPr>
              <p:custDataLst>
                <p:tags r:id="rId9"/>
              </p:custDataLst>
            </p:nvPr>
          </p:nvSpPr>
          <p:spPr bwMode="auto">
            <a:xfrm>
              <a:off x="3611976" y="1639728"/>
              <a:ext cx="618956" cy="1164588"/>
            </a:xfrm>
            <a:custGeom>
              <a:avLst/>
              <a:gdLst>
                <a:gd name="T0" fmla="*/ 580 w 1160"/>
                <a:gd name="T1" fmla="*/ 540 h 2287"/>
                <a:gd name="T2" fmla="*/ 731 w 1160"/>
                <a:gd name="T3" fmla="*/ 389 h 2287"/>
                <a:gd name="T4" fmla="*/ 580 w 1160"/>
                <a:gd name="T5" fmla="*/ 237 h 2287"/>
                <a:gd name="T6" fmla="*/ 428 w 1160"/>
                <a:gd name="T7" fmla="*/ 389 h 2287"/>
                <a:gd name="T8" fmla="*/ 580 w 1160"/>
                <a:gd name="T9" fmla="*/ 540 h 2287"/>
                <a:gd name="T10" fmla="*/ 1109 w 1160"/>
                <a:gd name="T11" fmla="*/ 22 h 2287"/>
                <a:gd name="T12" fmla="*/ 1000 w 1160"/>
                <a:gd name="T13" fmla="*/ 51 h 2287"/>
                <a:gd name="T14" fmla="*/ 691 w 1160"/>
                <a:gd name="T15" fmla="*/ 587 h 2287"/>
                <a:gd name="T16" fmla="*/ 469 w 1160"/>
                <a:gd name="T17" fmla="*/ 587 h 2287"/>
                <a:gd name="T18" fmla="*/ 159 w 1160"/>
                <a:gd name="T19" fmla="*/ 51 h 2287"/>
                <a:gd name="T20" fmla="*/ 51 w 1160"/>
                <a:gd name="T21" fmla="*/ 22 h 2287"/>
                <a:gd name="T22" fmla="*/ 22 w 1160"/>
                <a:gd name="T23" fmla="*/ 131 h 2287"/>
                <a:gd name="T24" fmla="*/ 377 w 1160"/>
                <a:gd name="T25" fmla="*/ 745 h 2287"/>
                <a:gd name="T26" fmla="*/ 377 w 1160"/>
                <a:gd name="T27" fmla="*/ 2194 h 2287"/>
                <a:gd name="T28" fmla="*/ 470 w 1160"/>
                <a:gd name="T29" fmla="*/ 2287 h 2287"/>
                <a:gd name="T30" fmla="*/ 562 w 1160"/>
                <a:gd name="T31" fmla="*/ 2194 h 2287"/>
                <a:gd name="T32" fmla="*/ 562 w 1160"/>
                <a:gd name="T33" fmla="*/ 1423 h 2287"/>
                <a:gd name="T34" fmla="*/ 598 w 1160"/>
                <a:gd name="T35" fmla="*/ 1423 h 2287"/>
                <a:gd name="T36" fmla="*/ 598 w 1160"/>
                <a:gd name="T37" fmla="*/ 2194 h 2287"/>
                <a:gd name="T38" fmla="*/ 690 w 1160"/>
                <a:gd name="T39" fmla="*/ 2287 h 2287"/>
                <a:gd name="T40" fmla="*/ 783 w 1160"/>
                <a:gd name="T41" fmla="*/ 2194 h 2287"/>
                <a:gd name="T42" fmla="*/ 783 w 1160"/>
                <a:gd name="T43" fmla="*/ 745 h 2287"/>
                <a:gd name="T44" fmla="*/ 1138 w 1160"/>
                <a:gd name="T45" fmla="*/ 131 h 2287"/>
                <a:gd name="T46" fmla="*/ 1109 w 1160"/>
                <a:gd name="T47" fmla="*/ 22 h 2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60" h="2287">
                  <a:moveTo>
                    <a:pt x="580" y="540"/>
                  </a:moveTo>
                  <a:cubicBezTo>
                    <a:pt x="664" y="540"/>
                    <a:pt x="731" y="473"/>
                    <a:pt x="731" y="389"/>
                  </a:cubicBezTo>
                  <a:cubicBezTo>
                    <a:pt x="731" y="305"/>
                    <a:pt x="664" y="237"/>
                    <a:pt x="580" y="237"/>
                  </a:cubicBezTo>
                  <a:cubicBezTo>
                    <a:pt x="496" y="237"/>
                    <a:pt x="428" y="305"/>
                    <a:pt x="428" y="389"/>
                  </a:cubicBezTo>
                  <a:cubicBezTo>
                    <a:pt x="428" y="473"/>
                    <a:pt x="496" y="540"/>
                    <a:pt x="580" y="540"/>
                  </a:cubicBezTo>
                  <a:close/>
                  <a:moveTo>
                    <a:pt x="1109" y="22"/>
                  </a:moveTo>
                  <a:cubicBezTo>
                    <a:pt x="1071" y="0"/>
                    <a:pt x="1022" y="13"/>
                    <a:pt x="1000" y="51"/>
                  </a:cubicBezTo>
                  <a:cubicBezTo>
                    <a:pt x="691" y="587"/>
                    <a:pt x="691" y="587"/>
                    <a:pt x="691" y="587"/>
                  </a:cubicBezTo>
                  <a:cubicBezTo>
                    <a:pt x="469" y="587"/>
                    <a:pt x="469" y="587"/>
                    <a:pt x="469" y="587"/>
                  </a:cubicBezTo>
                  <a:cubicBezTo>
                    <a:pt x="159" y="51"/>
                    <a:pt x="159" y="51"/>
                    <a:pt x="159" y="51"/>
                  </a:cubicBezTo>
                  <a:cubicBezTo>
                    <a:pt x="137" y="13"/>
                    <a:pt x="89" y="0"/>
                    <a:pt x="51" y="22"/>
                  </a:cubicBezTo>
                  <a:cubicBezTo>
                    <a:pt x="13" y="44"/>
                    <a:pt x="0" y="93"/>
                    <a:pt x="22" y="131"/>
                  </a:cubicBezTo>
                  <a:cubicBezTo>
                    <a:pt x="377" y="745"/>
                    <a:pt x="377" y="745"/>
                    <a:pt x="377" y="745"/>
                  </a:cubicBezTo>
                  <a:cubicBezTo>
                    <a:pt x="377" y="2194"/>
                    <a:pt x="377" y="2194"/>
                    <a:pt x="377" y="2194"/>
                  </a:cubicBezTo>
                  <a:cubicBezTo>
                    <a:pt x="377" y="2246"/>
                    <a:pt x="418" y="2287"/>
                    <a:pt x="470" y="2287"/>
                  </a:cubicBezTo>
                  <a:cubicBezTo>
                    <a:pt x="521" y="2287"/>
                    <a:pt x="562" y="2246"/>
                    <a:pt x="562" y="2194"/>
                  </a:cubicBezTo>
                  <a:cubicBezTo>
                    <a:pt x="562" y="1423"/>
                    <a:pt x="562" y="1423"/>
                    <a:pt x="562" y="1423"/>
                  </a:cubicBezTo>
                  <a:cubicBezTo>
                    <a:pt x="598" y="1423"/>
                    <a:pt x="598" y="1423"/>
                    <a:pt x="598" y="1423"/>
                  </a:cubicBezTo>
                  <a:cubicBezTo>
                    <a:pt x="598" y="2194"/>
                    <a:pt x="598" y="2194"/>
                    <a:pt x="598" y="2194"/>
                  </a:cubicBezTo>
                  <a:cubicBezTo>
                    <a:pt x="598" y="2246"/>
                    <a:pt x="639" y="2287"/>
                    <a:pt x="690" y="2287"/>
                  </a:cubicBezTo>
                  <a:cubicBezTo>
                    <a:pt x="742" y="2287"/>
                    <a:pt x="783" y="2246"/>
                    <a:pt x="783" y="2194"/>
                  </a:cubicBezTo>
                  <a:cubicBezTo>
                    <a:pt x="783" y="745"/>
                    <a:pt x="783" y="745"/>
                    <a:pt x="783" y="745"/>
                  </a:cubicBezTo>
                  <a:cubicBezTo>
                    <a:pt x="1138" y="131"/>
                    <a:pt x="1138" y="131"/>
                    <a:pt x="1138" y="131"/>
                  </a:cubicBezTo>
                  <a:cubicBezTo>
                    <a:pt x="1160" y="93"/>
                    <a:pt x="1147" y="44"/>
                    <a:pt x="1109" y="22"/>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solidFill>
                  <a:schemeClr val="bg1"/>
                </a:solidFill>
                <a:latin typeface="Segoe UI"/>
                <a:sym typeface="Segoe UI"/>
              </a:endParaRPr>
            </a:p>
          </p:txBody>
        </p:sp>
        <p:sp>
          <p:nvSpPr>
            <p:cNvPr id="55" name="Freeform 18"/>
            <p:cNvSpPr>
              <a:spLocks noEditPoints="1"/>
            </p:cNvSpPr>
            <p:nvPr>
              <p:custDataLst>
                <p:tags r:id="rId10"/>
              </p:custDataLst>
            </p:nvPr>
          </p:nvSpPr>
          <p:spPr bwMode="auto">
            <a:xfrm>
              <a:off x="3660050" y="1129206"/>
              <a:ext cx="522808" cy="391832"/>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solidFill>
                  <a:schemeClr val="bg1"/>
                </a:solidFill>
                <a:latin typeface="Segoe UI"/>
                <a:sym typeface="Segoe UI"/>
              </a:endParaRPr>
            </a:p>
          </p:txBody>
        </p:sp>
      </p:grpSp>
      <p:sp>
        <p:nvSpPr>
          <p:cNvPr id="23" name="Rectangle 22"/>
          <p:cNvSpPr/>
          <p:nvPr>
            <p:custDataLst>
              <p:tags r:id="rId5"/>
            </p:custDataLst>
          </p:nvPr>
        </p:nvSpPr>
        <p:spPr bwMode="auto">
          <a:xfrm>
            <a:off x="1806776" y="1078824"/>
            <a:ext cx="1371600" cy="2103120"/>
          </a:xfrm>
          <a:prstGeom prst="rect">
            <a:avLst/>
          </a:prstGeom>
          <a:solidFill>
            <a:schemeClr val="tx2"/>
          </a:solidFill>
          <a:ln w="9525" cap="flat" cmpd="sng" algn="ctr">
            <a:noFill/>
            <a:prstDash val="solid"/>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34294" tIns="34294" rIns="34294" bIns="34294" numCol="1" rtlCol="0" anchor="b" anchorCtr="0" compatLnSpc="1">
            <a:prstTxWarp prst="textNoShape">
              <a:avLst/>
            </a:prstTxWarp>
          </a:bodyPr>
          <a:lstStyle/>
          <a:p>
            <a:pPr algn="ctr" defTabSz="914023" fontAlgn="base">
              <a:spcBef>
                <a:spcPct val="0"/>
              </a:spcBef>
              <a:spcAft>
                <a:spcPct val="0"/>
              </a:spcAft>
            </a:pPr>
            <a:r>
              <a:rPr lang="en-US" dirty="0">
                <a:solidFill>
                  <a:schemeClr val="tx1"/>
                </a:solidFill>
                <a:sym typeface="Segoe UI"/>
              </a:rPr>
              <a:t>Increase Portfolio Value</a:t>
            </a:r>
          </a:p>
        </p:txBody>
      </p:sp>
      <p:sp>
        <p:nvSpPr>
          <p:cNvPr id="30" name="Freeform 29"/>
          <p:cNvSpPr>
            <a:spLocks noEditPoints="1"/>
          </p:cNvSpPr>
          <p:nvPr/>
        </p:nvSpPr>
        <p:spPr bwMode="auto">
          <a:xfrm>
            <a:off x="1985366" y="1206429"/>
            <a:ext cx="1014420" cy="897702"/>
          </a:xfrm>
          <a:custGeom>
            <a:avLst/>
            <a:gdLst>
              <a:gd name="T0" fmla="*/ 10 w 548"/>
              <a:gd name="T1" fmla="*/ 485 h 485"/>
              <a:gd name="T2" fmla="*/ 528 w 548"/>
              <a:gd name="T3" fmla="*/ 338 h 485"/>
              <a:gd name="T4" fmla="*/ 476 w 548"/>
              <a:gd name="T5" fmla="*/ 271 h 485"/>
              <a:gd name="T6" fmla="*/ 410 w 548"/>
              <a:gd name="T7" fmla="*/ 213 h 485"/>
              <a:gd name="T8" fmla="*/ 410 w 548"/>
              <a:gd name="T9" fmla="*/ 279 h 485"/>
              <a:gd name="T10" fmla="*/ 402 w 548"/>
              <a:gd name="T11" fmla="*/ 338 h 485"/>
              <a:gd name="T12" fmla="*/ 336 w 548"/>
              <a:gd name="T13" fmla="*/ 404 h 485"/>
              <a:gd name="T14" fmla="*/ 212 w 548"/>
              <a:gd name="T15" fmla="*/ 404 h 485"/>
              <a:gd name="T16" fmla="*/ 146 w 548"/>
              <a:gd name="T17" fmla="*/ 346 h 485"/>
              <a:gd name="T18" fmla="*/ 146 w 548"/>
              <a:gd name="T19" fmla="*/ 412 h 485"/>
              <a:gd name="T20" fmla="*/ 212 w 548"/>
              <a:gd name="T21" fmla="*/ 412 h 485"/>
              <a:gd name="T22" fmla="*/ 344 w 548"/>
              <a:gd name="T23" fmla="*/ 412 h 485"/>
              <a:gd name="T24" fmla="*/ 468 w 548"/>
              <a:gd name="T25" fmla="*/ 412 h 485"/>
              <a:gd name="T26" fmla="*/ 468 w 548"/>
              <a:gd name="T27" fmla="*/ 346 h 485"/>
              <a:gd name="T28" fmla="*/ 476 w 548"/>
              <a:gd name="T29" fmla="*/ 404 h 485"/>
              <a:gd name="T30" fmla="*/ 270 w 548"/>
              <a:gd name="T31" fmla="*/ 72 h 485"/>
              <a:gd name="T32" fmla="*/ 204 w 548"/>
              <a:gd name="T33" fmla="*/ 72 h 485"/>
              <a:gd name="T34" fmla="*/ 204 w 548"/>
              <a:gd name="T35" fmla="*/ 138 h 485"/>
              <a:gd name="T36" fmla="*/ 80 w 548"/>
              <a:gd name="T37" fmla="*/ 20 h 485"/>
              <a:gd name="T38" fmla="*/ 80 w 548"/>
              <a:gd name="T39" fmla="*/ 80 h 485"/>
              <a:gd name="T40" fmla="*/ 72 w 548"/>
              <a:gd name="T41" fmla="*/ 138 h 485"/>
              <a:gd name="T42" fmla="*/ 20 w 548"/>
              <a:gd name="T43" fmla="*/ 279 h 485"/>
              <a:gd name="T44" fmla="*/ 20 w 548"/>
              <a:gd name="T45" fmla="*/ 213 h 485"/>
              <a:gd name="T46" fmla="*/ 138 w 548"/>
              <a:gd name="T47" fmla="*/ 271 h 485"/>
              <a:gd name="T48" fmla="*/ 138 w 548"/>
              <a:gd name="T49" fmla="*/ 205 h 485"/>
              <a:gd name="T50" fmla="*/ 146 w 548"/>
              <a:gd name="T51" fmla="*/ 146 h 485"/>
              <a:gd name="T52" fmla="*/ 212 w 548"/>
              <a:gd name="T53" fmla="*/ 138 h 485"/>
              <a:gd name="T54" fmla="*/ 336 w 548"/>
              <a:gd name="T55" fmla="*/ 80 h 485"/>
              <a:gd name="T56" fmla="*/ 402 w 548"/>
              <a:gd name="T57" fmla="*/ 138 h 485"/>
              <a:gd name="T58" fmla="*/ 402 w 548"/>
              <a:gd name="T59" fmla="*/ 72 h 485"/>
              <a:gd name="T60" fmla="*/ 72 w 548"/>
              <a:gd name="T61" fmla="*/ 20 h 485"/>
              <a:gd name="T62" fmla="*/ 389 w 548"/>
              <a:gd name="T63" fmla="*/ 209 h 485"/>
              <a:gd name="T64" fmla="*/ 505 w 548"/>
              <a:gd name="T65" fmla="*/ 76 h 485"/>
              <a:gd name="T66" fmla="*/ 504 w 548"/>
              <a:gd name="T67" fmla="*/ 70 h 485"/>
              <a:gd name="T68" fmla="*/ 500 w 548"/>
              <a:gd name="T69" fmla="*/ 66 h 485"/>
              <a:gd name="T70" fmla="*/ 493 w 548"/>
              <a:gd name="T71" fmla="*/ 64 h 485"/>
              <a:gd name="T72" fmla="*/ 429 w 548"/>
              <a:gd name="T73" fmla="*/ 90 h 485"/>
              <a:gd name="T74" fmla="*/ 249 w 548"/>
              <a:gd name="T75" fmla="*/ 278 h 485"/>
              <a:gd name="T76" fmla="*/ 41 w 548"/>
              <a:gd name="T77" fmla="*/ 412 h 485"/>
              <a:gd name="T78" fmla="*/ 80 w 548"/>
              <a:gd name="T79" fmla="*/ 364 h 485"/>
              <a:gd name="T80" fmla="*/ 138 w 548"/>
              <a:gd name="T81" fmla="*/ 279 h 485"/>
              <a:gd name="T82" fmla="*/ 146 w 548"/>
              <a:gd name="T83" fmla="*/ 271 h 485"/>
              <a:gd name="T84" fmla="*/ 270 w 548"/>
              <a:gd name="T85" fmla="*/ 213 h 485"/>
              <a:gd name="T86" fmla="*/ 278 w 548"/>
              <a:gd name="T87" fmla="*/ 205 h 485"/>
              <a:gd name="T88" fmla="*/ 344 w 548"/>
              <a:gd name="T89" fmla="*/ 146 h 485"/>
              <a:gd name="T90" fmla="*/ 418 w 548"/>
              <a:gd name="T91" fmla="*/ 138 h 485"/>
              <a:gd name="T92" fmla="*/ 410 w 548"/>
              <a:gd name="T93" fmla="*/ 20 h 485"/>
              <a:gd name="T94" fmla="*/ 528 w 548"/>
              <a:gd name="T95" fmla="*/ 72 h 485"/>
              <a:gd name="T96" fmla="*/ 528 w 548"/>
              <a:gd name="T97" fmla="*/ 80 h 485"/>
              <a:gd name="T98" fmla="*/ 476 w 548"/>
              <a:gd name="T99" fmla="*/ 205 h 485"/>
              <a:gd name="T100" fmla="*/ 468 w 548"/>
              <a:gd name="T101" fmla="*/ 205 h 485"/>
              <a:gd name="T102" fmla="*/ 344 w 548"/>
              <a:gd name="T103" fmla="*/ 218 h 485"/>
              <a:gd name="T104" fmla="*/ 336 w 548"/>
              <a:gd name="T105" fmla="*/ 338 h 485"/>
              <a:gd name="T106" fmla="*/ 212 w 548"/>
              <a:gd name="T107" fmla="*/ 293 h 485"/>
              <a:gd name="T108" fmla="*/ 99 w 548"/>
              <a:gd name="T109" fmla="*/ 404 h 485"/>
              <a:gd name="T110" fmla="*/ 72 w 548"/>
              <a:gd name="T111" fmla="*/ 438 h 485"/>
              <a:gd name="T112" fmla="*/ 528 w 548"/>
              <a:gd name="T113" fmla="*/ 412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48" h="485">
                <a:moveTo>
                  <a:pt x="538" y="0"/>
                </a:moveTo>
                <a:cubicBezTo>
                  <a:pt x="10" y="0"/>
                  <a:pt x="10" y="0"/>
                  <a:pt x="10" y="0"/>
                </a:cubicBezTo>
                <a:cubicBezTo>
                  <a:pt x="4" y="0"/>
                  <a:pt x="0" y="4"/>
                  <a:pt x="0" y="10"/>
                </a:cubicBezTo>
                <a:cubicBezTo>
                  <a:pt x="0" y="465"/>
                  <a:pt x="0" y="465"/>
                  <a:pt x="0" y="465"/>
                </a:cubicBezTo>
                <a:cubicBezTo>
                  <a:pt x="0" y="475"/>
                  <a:pt x="0" y="475"/>
                  <a:pt x="0" y="475"/>
                </a:cubicBezTo>
                <a:cubicBezTo>
                  <a:pt x="0" y="480"/>
                  <a:pt x="4" y="485"/>
                  <a:pt x="10" y="485"/>
                </a:cubicBezTo>
                <a:cubicBezTo>
                  <a:pt x="35" y="485"/>
                  <a:pt x="35" y="485"/>
                  <a:pt x="35" y="485"/>
                </a:cubicBezTo>
                <a:cubicBezTo>
                  <a:pt x="538" y="485"/>
                  <a:pt x="538" y="485"/>
                  <a:pt x="538" y="485"/>
                </a:cubicBezTo>
                <a:cubicBezTo>
                  <a:pt x="544" y="485"/>
                  <a:pt x="548" y="480"/>
                  <a:pt x="548" y="475"/>
                </a:cubicBezTo>
                <a:cubicBezTo>
                  <a:pt x="548" y="10"/>
                  <a:pt x="548" y="10"/>
                  <a:pt x="548" y="10"/>
                </a:cubicBezTo>
                <a:cubicBezTo>
                  <a:pt x="548" y="4"/>
                  <a:pt x="544" y="0"/>
                  <a:pt x="538" y="0"/>
                </a:cubicBezTo>
                <a:close/>
                <a:moveTo>
                  <a:pt x="528" y="338"/>
                </a:moveTo>
                <a:cubicBezTo>
                  <a:pt x="476" y="338"/>
                  <a:pt x="476" y="338"/>
                  <a:pt x="476" y="338"/>
                </a:cubicBezTo>
                <a:cubicBezTo>
                  <a:pt x="476" y="279"/>
                  <a:pt x="476" y="279"/>
                  <a:pt x="476" y="279"/>
                </a:cubicBezTo>
                <a:cubicBezTo>
                  <a:pt x="528" y="279"/>
                  <a:pt x="528" y="279"/>
                  <a:pt x="528" y="279"/>
                </a:cubicBezTo>
                <a:cubicBezTo>
                  <a:pt x="528" y="299"/>
                  <a:pt x="528" y="319"/>
                  <a:pt x="528" y="338"/>
                </a:cubicBezTo>
                <a:close/>
                <a:moveTo>
                  <a:pt x="528" y="271"/>
                </a:moveTo>
                <a:cubicBezTo>
                  <a:pt x="476" y="271"/>
                  <a:pt x="476" y="271"/>
                  <a:pt x="476" y="271"/>
                </a:cubicBezTo>
                <a:cubicBezTo>
                  <a:pt x="476" y="213"/>
                  <a:pt x="476" y="213"/>
                  <a:pt x="476" y="213"/>
                </a:cubicBezTo>
                <a:cubicBezTo>
                  <a:pt x="528" y="213"/>
                  <a:pt x="528" y="213"/>
                  <a:pt x="528" y="213"/>
                </a:cubicBezTo>
                <a:cubicBezTo>
                  <a:pt x="528" y="232"/>
                  <a:pt x="528" y="252"/>
                  <a:pt x="528" y="271"/>
                </a:cubicBezTo>
                <a:close/>
                <a:moveTo>
                  <a:pt x="468" y="271"/>
                </a:moveTo>
                <a:cubicBezTo>
                  <a:pt x="410" y="271"/>
                  <a:pt x="410" y="271"/>
                  <a:pt x="410" y="271"/>
                </a:cubicBezTo>
                <a:cubicBezTo>
                  <a:pt x="410" y="213"/>
                  <a:pt x="410" y="213"/>
                  <a:pt x="410" y="213"/>
                </a:cubicBezTo>
                <a:cubicBezTo>
                  <a:pt x="468" y="213"/>
                  <a:pt x="468" y="213"/>
                  <a:pt x="468" y="213"/>
                </a:cubicBezTo>
                <a:lnTo>
                  <a:pt x="468" y="271"/>
                </a:lnTo>
                <a:close/>
                <a:moveTo>
                  <a:pt x="468" y="279"/>
                </a:moveTo>
                <a:cubicBezTo>
                  <a:pt x="468" y="338"/>
                  <a:pt x="468" y="338"/>
                  <a:pt x="468" y="338"/>
                </a:cubicBezTo>
                <a:cubicBezTo>
                  <a:pt x="410" y="338"/>
                  <a:pt x="410" y="338"/>
                  <a:pt x="410" y="338"/>
                </a:cubicBezTo>
                <a:cubicBezTo>
                  <a:pt x="410" y="279"/>
                  <a:pt x="410" y="279"/>
                  <a:pt x="410" y="279"/>
                </a:cubicBezTo>
                <a:lnTo>
                  <a:pt x="468" y="279"/>
                </a:lnTo>
                <a:close/>
                <a:moveTo>
                  <a:pt x="402" y="338"/>
                </a:moveTo>
                <a:cubicBezTo>
                  <a:pt x="344" y="338"/>
                  <a:pt x="344" y="338"/>
                  <a:pt x="344" y="338"/>
                </a:cubicBezTo>
                <a:cubicBezTo>
                  <a:pt x="344" y="279"/>
                  <a:pt x="344" y="279"/>
                  <a:pt x="344" y="279"/>
                </a:cubicBezTo>
                <a:cubicBezTo>
                  <a:pt x="402" y="279"/>
                  <a:pt x="402" y="279"/>
                  <a:pt x="402" y="279"/>
                </a:cubicBezTo>
                <a:lnTo>
                  <a:pt x="402" y="338"/>
                </a:lnTo>
                <a:close/>
                <a:moveTo>
                  <a:pt x="402" y="346"/>
                </a:moveTo>
                <a:cubicBezTo>
                  <a:pt x="402" y="404"/>
                  <a:pt x="402" y="404"/>
                  <a:pt x="402" y="404"/>
                </a:cubicBezTo>
                <a:cubicBezTo>
                  <a:pt x="344" y="404"/>
                  <a:pt x="344" y="404"/>
                  <a:pt x="344" y="404"/>
                </a:cubicBezTo>
                <a:cubicBezTo>
                  <a:pt x="344" y="346"/>
                  <a:pt x="344" y="346"/>
                  <a:pt x="344" y="346"/>
                </a:cubicBezTo>
                <a:lnTo>
                  <a:pt x="402" y="346"/>
                </a:lnTo>
                <a:close/>
                <a:moveTo>
                  <a:pt x="336" y="404"/>
                </a:moveTo>
                <a:cubicBezTo>
                  <a:pt x="278" y="404"/>
                  <a:pt x="278" y="404"/>
                  <a:pt x="278" y="404"/>
                </a:cubicBezTo>
                <a:cubicBezTo>
                  <a:pt x="278" y="346"/>
                  <a:pt x="278" y="346"/>
                  <a:pt x="278" y="346"/>
                </a:cubicBezTo>
                <a:cubicBezTo>
                  <a:pt x="336" y="346"/>
                  <a:pt x="336" y="346"/>
                  <a:pt x="336" y="346"/>
                </a:cubicBezTo>
                <a:lnTo>
                  <a:pt x="336" y="404"/>
                </a:lnTo>
                <a:close/>
                <a:moveTo>
                  <a:pt x="270" y="404"/>
                </a:moveTo>
                <a:cubicBezTo>
                  <a:pt x="212" y="404"/>
                  <a:pt x="212" y="404"/>
                  <a:pt x="212" y="404"/>
                </a:cubicBezTo>
                <a:cubicBezTo>
                  <a:pt x="212" y="346"/>
                  <a:pt x="212" y="346"/>
                  <a:pt x="212" y="346"/>
                </a:cubicBezTo>
                <a:cubicBezTo>
                  <a:pt x="270" y="346"/>
                  <a:pt x="270" y="346"/>
                  <a:pt x="270" y="346"/>
                </a:cubicBezTo>
                <a:lnTo>
                  <a:pt x="270" y="404"/>
                </a:lnTo>
                <a:close/>
                <a:moveTo>
                  <a:pt x="204" y="404"/>
                </a:moveTo>
                <a:cubicBezTo>
                  <a:pt x="146" y="404"/>
                  <a:pt x="146" y="404"/>
                  <a:pt x="146" y="404"/>
                </a:cubicBezTo>
                <a:cubicBezTo>
                  <a:pt x="146" y="346"/>
                  <a:pt x="146" y="346"/>
                  <a:pt x="146" y="346"/>
                </a:cubicBezTo>
                <a:cubicBezTo>
                  <a:pt x="204" y="346"/>
                  <a:pt x="204" y="346"/>
                  <a:pt x="204" y="346"/>
                </a:cubicBezTo>
                <a:lnTo>
                  <a:pt x="204" y="404"/>
                </a:lnTo>
                <a:close/>
                <a:moveTo>
                  <a:pt x="204" y="412"/>
                </a:moveTo>
                <a:cubicBezTo>
                  <a:pt x="204" y="465"/>
                  <a:pt x="204" y="465"/>
                  <a:pt x="204" y="465"/>
                </a:cubicBezTo>
                <a:cubicBezTo>
                  <a:pt x="184" y="465"/>
                  <a:pt x="164" y="465"/>
                  <a:pt x="146" y="465"/>
                </a:cubicBezTo>
                <a:cubicBezTo>
                  <a:pt x="146" y="412"/>
                  <a:pt x="146" y="412"/>
                  <a:pt x="146" y="412"/>
                </a:cubicBezTo>
                <a:lnTo>
                  <a:pt x="204" y="412"/>
                </a:lnTo>
                <a:close/>
                <a:moveTo>
                  <a:pt x="212" y="412"/>
                </a:moveTo>
                <a:cubicBezTo>
                  <a:pt x="270" y="412"/>
                  <a:pt x="270" y="412"/>
                  <a:pt x="270" y="412"/>
                </a:cubicBezTo>
                <a:cubicBezTo>
                  <a:pt x="270" y="465"/>
                  <a:pt x="270" y="465"/>
                  <a:pt x="270" y="465"/>
                </a:cubicBezTo>
                <a:cubicBezTo>
                  <a:pt x="251" y="465"/>
                  <a:pt x="231" y="465"/>
                  <a:pt x="212" y="465"/>
                </a:cubicBezTo>
                <a:lnTo>
                  <a:pt x="212" y="412"/>
                </a:lnTo>
                <a:close/>
                <a:moveTo>
                  <a:pt x="278" y="412"/>
                </a:moveTo>
                <a:cubicBezTo>
                  <a:pt x="336" y="412"/>
                  <a:pt x="336" y="412"/>
                  <a:pt x="336" y="412"/>
                </a:cubicBezTo>
                <a:cubicBezTo>
                  <a:pt x="336" y="465"/>
                  <a:pt x="336" y="465"/>
                  <a:pt x="336" y="465"/>
                </a:cubicBezTo>
                <a:cubicBezTo>
                  <a:pt x="317" y="465"/>
                  <a:pt x="298" y="465"/>
                  <a:pt x="278" y="465"/>
                </a:cubicBezTo>
                <a:lnTo>
                  <a:pt x="278" y="412"/>
                </a:lnTo>
                <a:close/>
                <a:moveTo>
                  <a:pt x="344" y="412"/>
                </a:moveTo>
                <a:cubicBezTo>
                  <a:pt x="402" y="412"/>
                  <a:pt x="402" y="412"/>
                  <a:pt x="402" y="412"/>
                </a:cubicBezTo>
                <a:cubicBezTo>
                  <a:pt x="402" y="465"/>
                  <a:pt x="402" y="465"/>
                  <a:pt x="402" y="465"/>
                </a:cubicBezTo>
                <a:cubicBezTo>
                  <a:pt x="384" y="465"/>
                  <a:pt x="364" y="465"/>
                  <a:pt x="344" y="465"/>
                </a:cubicBezTo>
                <a:lnTo>
                  <a:pt x="344" y="412"/>
                </a:lnTo>
                <a:close/>
                <a:moveTo>
                  <a:pt x="410" y="412"/>
                </a:moveTo>
                <a:cubicBezTo>
                  <a:pt x="468" y="412"/>
                  <a:pt x="468" y="412"/>
                  <a:pt x="468" y="412"/>
                </a:cubicBezTo>
                <a:cubicBezTo>
                  <a:pt x="468" y="465"/>
                  <a:pt x="468" y="465"/>
                  <a:pt x="468" y="465"/>
                </a:cubicBezTo>
                <a:cubicBezTo>
                  <a:pt x="452" y="465"/>
                  <a:pt x="432" y="465"/>
                  <a:pt x="410" y="465"/>
                </a:cubicBezTo>
                <a:lnTo>
                  <a:pt x="410" y="412"/>
                </a:lnTo>
                <a:close/>
                <a:moveTo>
                  <a:pt x="410" y="404"/>
                </a:moveTo>
                <a:cubicBezTo>
                  <a:pt x="410" y="346"/>
                  <a:pt x="410" y="346"/>
                  <a:pt x="410" y="346"/>
                </a:cubicBezTo>
                <a:cubicBezTo>
                  <a:pt x="468" y="346"/>
                  <a:pt x="468" y="346"/>
                  <a:pt x="468" y="346"/>
                </a:cubicBezTo>
                <a:cubicBezTo>
                  <a:pt x="468" y="404"/>
                  <a:pt x="468" y="404"/>
                  <a:pt x="468" y="404"/>
                </a:cubicBezTo>
                <a:lnTo>
                  <a:pt x="410" y="404"/>
                </a:lnTo>
                <a:close/>
                <a:moveTo>
                  <a:pt x="476" y="346"/>
                </a:moveTo>
                <a:cubicBezTo>
                  <a:pt x="528" y="346"/>
                  <a:pt x="528" y="346"/>
                  <a:pt x="528" y="346"/>
                </a:cubicBezTo>
                <a:cubicBezTo>
                  <a:pt x="528" y="367"/>
                  <a:pt x="528" y="387"/>
                  <a:pt x="528" y="404"/>
                </a:cubicBezTo>
                <a:cubicBezTo>
                  <a:pt x="476" y="404"/>
                  <a:pt x="476" y="404"/>
                  <a:pt x="476" y="404"/>
                </a:cubicBezTo>
                <a:lnTo>
                  <a:pt x="476" y="346"/>
                </a:lnTo>
                <a:close/>
                <a:moveTo>
                  <a:pt x="270" y="72"/>
                </a:moveTo>
                <a:cubicBezTo>
                  <a:pt x="212" y="72"/>
                  <a:pt x="212" y="72"/>
                  <a:pt x="212" y="72"/>
                </a:cubicBezTo>
                <a:cubicBezTo>
                  <a:pt x="212" y="20"/>
                  <a:pt x="212" y="20"/>
                  <a:pt x="212" y="20"/>
                </a:cubicBezTo>
                <a:cubicBezTo>
                  <a:pt x="231" y="20"/>
                  <a:pt x="251" y="20"/>
                  <a:pt x="270" y="20"/>
                </a:cubicBezTo>
                <a:lnTo>
                  <a:pt x="270" y="72"/>
                </a:lnTo>
                <a:close/>
                <a:moveTo>
                  <a:pt x="278" y="20"/>
                </a:moveTo>
                <a:cubicBezTo>
                  <a:pt x="298" y="20"/>
                  <a:pt x="317" y="20"/>
                  <a:pt x="336" y="20"/>
                </a:cubicBezTo>
                <a:cubicBezTo>
                  <a:pt x="336" y="72"/>
                  <a:pt x="336" y="72"/>
                  <a:pt x="336" y="72"/>
                </a:cubicBezTo>
                <a:cubicBezTo>
                  <a:pt x="278" y="72"/>
                  <a:pt x="278" y="72"/>
                  <a:pt x="278" y="72"/>
                </a:cubicBezTo>
                <a:lnTo>
                  <a:pt x="278" y="20"/>
                </a:lnTo>
                <a:close/>
                <a:moveTo>
                  <a:pt x="204" y="72"/>
                </a:moveTo>
                <a:cubicBezTo>
                  <a:pt x="146" y="72"/>
                  <a:pt x="146" y="72"/>
                  <a:pt x="146" y="72"/>
                </a:cubicBezTo>
                <a:cubicBezTo>
                  <a:pt x="146" y="20"/>
                  <a:pt x="146" y="20"/>
                  <a:pt x="146" y="20"/>
                </a:cubicBezTo>
                <a:cubicBezTo>
                  <a:pt x="164" y="20"/>
                  <a:pt x="184" y="20"/>
                  <a:pt x="204" y="20"/>
                </a:cubicBezTo>
                <a:lnTo>
                  <a:pt x="204" y="72"/>
                </a:lnTo>
                <a:close/>
                <a:moveTo>
                  <a:pt x="204" y="80"/>
                </a:moveTo>
                <a:cubicBezTo>
                  <a:pt x="204" y="138"/>
                  <a:pt x="204" y="138"/>
                  <a:pt x="204" y="138"/>
                </a:cubicBezTo>
                <a:cubicBezTo>
                  <a:pt x="146" y="138"/>
                  <a:pt x="146" y="138"/>
                  <a:pt x="146" y="138"/>
                </a:cubicBezTo>
                <a:cubicBezTo>
                  <a:pt x="146" y="80"/>
                  <a:pt x="146" y="80"/>
                  <a:pt x="146" y="80"/>
                </a:cubicBezTo>
                <a:lnTo>
                  <a:pt x="204" y="80"/>
                </a:lnTo>
                <a:close/>
                <a:moveTo>
                  <a:pt x="138" y="72"/>
                </a:moveTo>
                <a:cubicBezTo>
                  <a:pt x="80" y="72"/>
                  <a:pt x="80" y="72"/>
                  <a:pt x="80" y="72"/>
                </a:cubicBezTo>
                <a:cubicBezTo>
                  <a:pt x="80" y="20"/>
                  <a:pt x="80" y="20"/>
                  <a:pt x="80" y="20"/>
                </a:cubicBezTo>
                <a:cubicBezTo>
                  <a:pt x="97" y="20"/>
                  <a:pt x="116" y="20"/>
                  <a:pt x="138" y="20"/>
                </a:cubicBezTo>
                <a:lnTo>
                  <a:pt x="138" y="72"/>
                </a:lnTo>
                <a:close/>
                <a:moveTo>
                  <a:pt x="138" y="80"/>
                </a:moveTo>
                <a:cubicBezTo>
                  <a:pt x="138" y="138"/>
                  <a:pt x="138" y="138"/>
                  <a:pt x="138" y="138"/>
                </a:cubicBezTo>
                <a:cubicBezTo>
                  <a:pt x="80" y="138"/>
                  <a:pt x="80" y="138"/>
                  <a:pt x="80" y="138"/>
                </a:cubicBezTo>
                <a:cubicBezTo>
                  <a:pt x="80" y="80"/>
                  <a:pt x="80" y="80"/>
                  <a:pt x="80" y="80"/>
                </a:cubicBezTo>
                <a:lnTo>
                  <a:pt x="138" y="80"/>
                </a:lnTo>
                <a:close/>
                <a:moveTo>
                  <a:pt x="72" y="138"/>
                </a:moveTo>
                <a:cubicBezTo>
                  <a:pt x="20" y="138"/>
                  <a:pt x="20" y="138"/>
                  <a:pt x="20" y="138"/>
                </a:cubicBezTo>
                <a:cubicBezTo>
                  <a:pt x="20" y="117"/>
                  <a:pt x="20" y="97"/>
                  <a:pt x="20" y="80"/>
                </a:cubicBezTo>
                <a:cubicBezTo>
                  <a:pt x="72" y="80"/>
                  <a:pt x="72" y="80"/>
                  <a:pt x="72" y="80"/>
                </a:cubicBezTo>
                <a:lnTo>
                  <a:pt x="72" y="138"/>
                </a:lnTo>
                <a:close/>
                <a:moveTo>
                  <a:pt x="20" y="146"/>
                </a:moveTo>
                <a:cubicBezTo>
                  <a:pt x="72" y="146"/>
                  <a:pt x="72" y="146"/>
                  <a:pt x="72" y="146"/>
                </a:cubicBezTo>
                <a:cubicBezTo>
                  <a:pt x="72" y="205"/>
                  <a:pt x="72" y="205"/>
                  <a:pt x="72" y="205"/>
                </a:cubicBezTo>
                <a:cubicBezTo>
                  <a:pt x="20" y="205"/>
                  <a:pt x="20" y="205"/>
                  <a:pt x="20" y="205"/>
                </a:cubicBezTo>
                <a:cubicBezTo>
                  <a:pt x="20" y="185"/>
                  <a:pt x="20" y="165"/>
                  <a:pt x="20" y="146"/>
                </a:cubicBezTo>
                <a:close/>
                <a:moveTo>
                  <a:pt x="20" y="279"/>
                </a:moveTo>
                <a:cubicBezTo>
                  <a:pt x="72" y="279"/>
                  <a:pt x="72" y="279"/>
                  <a:pt x="72" y="279"/>
                </a:cubicBezTo>
                <a:cubicBezTo>
                  <a:pt x="72" y="338"/>
                  <a:pt x="72" y="338"/>
                  <a:pt x="72" y="338"/>
                </a:cubicBezTo>
                <a:cubicBezTo>
                  <a:pt x="20" y="338"/>
                  <a:pt x="20" y="338"/>
                  <a:pt x="20" y="338"/>
                </a:cubicBezTo>
                <a:cubicBezTo>
                  <a:pt x="20" y="319"/>
                  <a:pt x="20" y="299"/>
                  <a:pt x="20" y="279"/>
                </a:cubicBezTo>
                <a:close/>
                <a:moveTo>
                  <a:pt x="20" y="271"/>
                </a:moveTo>
                <a:cubicBezTo>
                  <a:pt x="20" y="252"/>
                  <a:pt x="20" y="232"/>
                  <a:pt x="20" y="213"/>
                </a:cubicBezTo>
                <a:cubicBezTo>
                  <a:pt x="72" y="213"/>
                  <a:pt x="72" y="213"/>
                  <a:pt x="72" y="213"/>
                </a:cubicBezTo>
                <a:cubicBezTo>
                  <a:pt x="72" y="271"/>
                  <a:pt x="72" y="271"/>
                  <a:pt x="72" y="271"/>
                </a:cubicBezTo>
                <a:lnTo>
                  <a:pt x="20" y="271"/>
                </a:lnTo>
                <a:close/>
                <a:moveTo>
                  <a:pt x="80" y="213"/>
                </a:moveTo>
                <a:cubicBezTo>
                  <a:pt x="138" y="213"/>
                  <a:pt x="138" y="213"/>
                  <a:pt x="138" y="213"/>
                </a:cubicBezTo>
                <a:cubicBezTo>
                  <a:pt x="138" y="271"/>
                  <a:pt x="138" y="271"/>
                  <a:pt x="138" y="271"/>
                </a:cubicBezTo>
                <a:cubicBezTo>
                  <a:pt x="80" y="271"/>
                  <a:pt x="80" y="271"/>
                  <a:pt x="80" y="271"/>
                </a:cubicBezTo>
                <a:lnTo>
                  <a:pt x="80" y="213"/>
                </a:lnTo>
                <a:close/>
                <a:moveTo>
                  <a:pt x="80" y="205"/>
                </a:moveTo>
                <a:cubicBezTo>
                  <a:pt x="80" y="146"/>
                  <a:pt x="80" y="146"/>
                  <a:pt x="80" y="146"/>
                </a:cubicBezTo>
                <a:cubicBezTo>
                  <a:pt x="138" y="146"/>
                  <a:pt x="138" y="146"/>
                  <a:pt x="138" y="146"/>
                </a:cubicBezTo>
                <a:cubicBezTo>
                  <a:pt x="138" y="205"/>
                  <a:pt x="138" y="205"/>
                  <a:pt x="138" y="205"/>
                </a:cubicBezTo>
                <a:lnTo>
                  <a:pt x="80" y="205"/>
                </a:lnTo>
                <a:close/>
                <a:moveTo>
                  <a:pt x="146" y="146"/>
                </a:moveTo>
                <a:cubicBezTo>
                  <a:pt x="204" y="146"/>
                  <a:pt x="204" y="146"/>
                  <a:pt x="204" y="146"/>
                </a:cubicBezTo>
                <a:cubicBezTo>
                  <a:pt x="204" y="205"/>
                  <a:pt x="204" y="205"/>
                  <a:pt x="204" y="205"/>
                </a:cubicBezTo>
                <a:cubicBezTo>
                  <a:pt x="146" y="205"/>
                  <a:pt x="146" y="205"/>
                  <a:pt x="146" y="205"/>
                </a:cubicBezTo>
                <a:lnTo>
                  <a:pt x="146" y="146"/>
                </a:lnTo>
                <a:close/>
                <a:moveTo>
                  <a:pt x="212" y="146"/>
                </a:moveTo>
                <a:cubicBezTo>
                  <a:pt x="270" y="146"/>
                  <a:pt x="270" y="146"/>
                  <a:pt x="270" y="146"/>
                </a:cubicBezTo>
                <a:cubicBezTo>
                  <a:pt x="270" y="205"/>
                  <a:pt x="270" y="205"/>
                  <a:pt x="270" y="205"/>
                </a:cubicBezTo>
                <a:cubicBezTo>
                  <a:pt x="212" y="205"/>
                  <a:pt x="212" y="205"/>
                  <a:pt x="212" y="205"/>
                </a:cubicBezTo>
                <a:lnTo>
                  <a:pt x="212" y="146"/>
                </a:lnTo>
                <a:close/>
                <a:moveTo>
                  <a:pt x="212" y="138"/>
                </a:moveTo>
                <a:cubicBezTo>
                  <a:pt x="212" y="80"/>
                  <a:pt x="212" y="80"/>
                  <a:pt x="212" y="80"/>
                </a:cubicBezTo>
                <a:cubicBezTo>
                  <a:pt x="270" y="80"/>
                  <a:pt x="270" y="80"/>
                  <a:pt x="270" y="80"/>
                </a:cubicBezTo>
                <a:cubicBezTo>
                  <a:pt x="270" y="138"/>
                  <a:pt x="270" y="138"/>
                  <a:pt x="270" y="138"/>
                </a:cubicBezTo>
                <a:lnTo>
                  <a:pt x="212" y="138"/>
                </a:lnTo>
                <a:close/>
                <a:moveTo>
                  <a:pt x="278" y="80"/>
                </a:moveTo>
                <a:cubicBezTo>
                  <a:pt x="336" y="80"/>
                  <a:pt x="336" y="80"/>
                  <a:pt x="336" y="80"/>
                </a:cubicBezTo>
                <a:cubicBezTo>
                  <a:pt x="336" y="138"/>
                  <a:pt x="336" y="138"/>
                  <a:pt x="336" y="138"/>
                </a:cubicBezTo>
                <a:cubicBezTo>
                  <a:pt x="278" y="138"/>
                  <a:pt x="278" y="138"/>
                  <a:pt x="278" y="138"/>
                </a:cubicBezTo>
                <a:lnTo>
                  <a:pt x="278" y="80"/>
                </a:lnTo>
                <a:close/>
                <a:moveTo>
                  <a:pt x="344" y="80"/>
                </a:moveTo>
                <a:cubicBezTo>
                  <a:pt x="402" y="80"/>
                  <a:pt x="402" y="80"/>
                  <a:pt x="402" y="80"/>
                </a:cubicBezTo>
                <a:cubicBezTo>
                  <a:pt x="402" y="138"/>
                  <a:pt x="402" y="138"/>
                  <a:pt x="402" y="138"/>
                </a:cubicBezTo>
                <a:cubicBezTo>
                  <a:pt x="344" y="138"/>
                  <a:pt x="344" y="138"/>
                  <a:pt x="344" y="138"/>
                </a:cubicBezTo>
                <a:lnTo>
                  <a:pt x="344" y="80"/>
                </a:lnTo>
                <a:close/>
                <a:moveTo>
                  <a:pt x="344" y="72"/>
                </a:moveTo>
                <a:cubicBezTo>
                  <a:pt x="344" y="20"/>
                  <a:pt x="344" y="20"/>
                  <a:pt x="344" y="20"/>
                </a:cubicBezTo>
                <a:cubicBezTo>
                  <a:pt x="364" y="20"/>
                  <a:pt x="384" y="20"/>
                  <a:pt x="402" y="20"/>
                </a:cubicBezTo>
                <a:cubicBezTo>
                  <a:pt x="402" y="72"/>
                  <a:pt x="402" y="72"/>
                  <a:pt x="402" y="72"/>
                </a:cubicBezTo>
                <a:lnTo>
                  <a:pt x="344" y="72"/>
                </a:lnTo>
                <a:close/>
                <a:moveTo>
                  <a:pt x="72" y="20"/>
                </a:moveTo>
                <a:cubicBezTo>
                  <a:pt x="72" y="72"/>
                  <a:pt x="72" y="72"/>
                  <a:pt x="72" y="72"/>
                </a:cubicBezTo>
                <a:cubicBezTo>
                  <a:pt x="20" y="72"/>
                  <a:pt x="20" y="72"/>
                  <a:pt x="20" y="72"/>
                </a:cubicBezTo>
                <a:cubicBezTo>
                  <a:pt x="20" y="43"/>
                  <a:pt x="20" y="23"/>
                  <a:pt x="20" y="20"/>
                </a:cubicBezTo>
                <a:cubicBezTo>
                  <a:pt x="23" y="20"/>
                  <a:pt x="43" y="20"/>
                  <a:pt x="72" y="20"/>
                </a:cubicBezTo>
                <a:close/>
                <a:moveTo>
                  <a:pt x="42" y="465"/>
                </a:moveTo>
                <a:cubicBezTo>
                  <a:pt x="74" y="424"/>
                  <a:pt x="183" y="286"/>
                  <a:pt x="193" y="273"/>
                </a:cubicBezTo>
                <a:cubicBezTo>
                  <a:pt x="206" y="281"/>
                  <a:pt x="246" y="304"/>
                  <a:pt x="246" y="304"/>
                </a:cubicBezTo>
                <a:cubicBezTo>
                  <a:pt x="251" y="307"/>
                  <a:pt x="257" y="306"/>
                  <a:pt x="261" y="301"/>
                </a:cubicBezTo>
                <a:cubicBezTo>
                  <a:pt x="261" y="301"/>
                  <a:pt x="347" y="203"/>
                  <a:pt x="359" y="189"/>
                </a:cubicBezTo>
                <a:cubicBezTo>
                  <a:pt x="369" y="196"/>
                  <a:pt x="389" y="209"/>
                  <a:pt x="389" y="209"/>
                </a:cubicBezTo>
                <a:cubicBezTo>
                  <a:pt x="394" y="212"/>
                  <a:pt x="401" y="211"/>
                  <a:pt x="405" y="206"/>
                </a:cubicBezTo>
                <a:cubicBezTo>
                  <a:pt x="481" y="110"/>
                  <a:pt x="481" y="110"/>
                  <a:pt x="481" y="110"/>
                </a:cubicBezTo>
                <a:cubicBezTo>
                  <a:pt x="481" y="133"/>
                  <a:pt x="481" y="133"/>
                  <a:pt x="481" y="133"/>
                </a:cubicBezTo>
                <a:cubicBezTo>
                  <a:pt x="481" y="139"/>
                  <a:pt x="487" y="145"/>
                  <a:pt x="493" y="145"/>
                </a:cubicBezTo>
                <a:cubicBezTo>
                  <a:pt x="500" y="145"/>
                  <a:pt x="505" y="139"/>
                  <a:pt x="505" y="133"/>
                </a:cubicBezTo>
                <a:cubicBezTo>
                  <a:pt x="505" y="76"/>
                  <a:pt x="505" y="76"/>
                  <a:pt x="505" y="76"/>
                </a:cubicBezTo>
                <a:cubicBezTo>
                  <a:pt x="505" y="76"/>
                  <a:pt x="505" y="76"/>
                  <a:pt x="505" y="76"/>
                </a:cubicBezTo>
                <a:cubicBezTo>
                  <a:pt x="505" y="75"/>
                  <a:pt x="505" y="74"/>
                  <a:pt x="505" y="74"/>
                </a:cubicBezTo>
                <a:cubicBezTo>
                  <a:pt x="505" y="74"/>
                  <a:pt x="505" y="74"/>
                  <a:pt x="505" y="73"/>
                </a:cubicBezTo>
                <a:cubicBezTo>
                  <a:pt x="505" y="73"/>
                  <a:pt x="505" y="72"/>
                  <a:pt x="505" y="71"/>
                </a:cubicBezTo>
                <a:cubicBezTo>
                  <a:pt x="504" y="71"/>
                  <a:pt x="504" y="71"/>
                  <a:pt x="504" y="71"/>
                </a:cubicBezTo>
                <a:cubicBezTo>
                  <a:pt x="504" y="71"/>
                  <a:pt x="504" y="70"/>
                  <a:pt x="504" y="70"/>
                </a:cubicBezTo>
                <a:cubicBezTo>
                  <a:pt x="504" y="70"/>
                  <a:pt x="503" y="69"/>
                  <a:pt x="503" y="69"/>
                </a:cubicBezTo>
                <a:cubicBezTo>
                  <a:pt x="503" y="69"/>
                  <a:pt x="503" y="69"/>
                  <a:pt x="503" y="69"/>
                </a:cubicBezTo>
                <a:cubicBezTo>
                  <a:pt x="503" y="68"/>
                  <a:pt x="502" y="68"/>
                  <a:pt x="502" y="68"/>
                </a:cubicBezTo>
                <a:cubicBezTo>
                  <a:pt x="502" y="68"/>
                  <a:pt x="502" y="67"/>
                  <a:pt x="502" y="67"/>
                </a:cubicBezTo>
                <a:cubicBezTo>
                  <a:pt x="501" y="67"/>
                  <a:pt x="501" y="67"/>
                  <a:pt x="500" y="66"/>
                </a:cubicBezTo>
                <a:cubicBezTo>
                  <a:pt x="500" y="66"/>
                  <a:pt x="500" y="66"/>
                  <a:pt x="500" y="66"/>
                </a:cubicBezTo>
                <a:cubicBezTo>
                  <a:pt x="499" y="66"/>
                  <a:pt x="499" y="65"/>
                  <a:pt x="498" y="65"/>
                </a:cubicBezTo>
                <a:cubicBezTo>
                  <a:pt x="498" y="65"/>
                  <a:pt x="498" y="65"/>
                  <a:pt x="498" y="65"/>
                </a:cubicBezTo>
                <a:cubicBezTo>
                  <a:pt x="497" y="65"/>
                  <a:pt x="497" y="64"/>
                  <a:pt x="496" y="64"/>
                </a:cubicBezTo>
                <a:cubicBezTo>
                  <a:pt x="496" y="64"/>
                  <a:pt x="496" y="64"/>
                  <a:pt x="495" y="64"/>
                </a:cubicBezTo>
                <a:cubicBezTo>
                  <a:pt x="495" y="64"/>
                  <a:pt x="494" y="64"/>
                  <a:pt x="494" y="64"/>
                </a:cubicBezTo>
                <a:cubicBezTo>
                  <a:pt x="494" y="64"/>
                  <a:pt x="494" y="64"/>
                  <a:pt x="493" y="64"/>
                </a:cubicBezTo>
                <a:cubicBezTo>
                  <a:pt x="493" y="64"/>
                  <a:pt x="493" y="64"/>
                  <a:pt x="493" y="64"/>
                </a:cubicBezTo>
                <a:cubicBezTo>
                  <a:pt x="493" y="64"/>
                  <a:pt x="492" y="64"/>
                  <a:pt x="491" y="64"/>
                </a:cubicBezTo>
                <a:cubicBezTo>
                  <a:pt x="491" y="64"/>
                  <a:pt x="491" y="64"/>
                  <a:pt x="491" y="64"/>
                </a:cubicBezTo>
                <a:cubicBezTo>
                  <a:pt x="491" y="64"/>
                  <a:pt x="491" y="64"/>
                  <a:pt x="491" y="64"/>
                </a:cubicBezTo>
                <a:cubicBezTo>
                  <a:pt x="438" y="76"/>
                  <a:pt x="438" y="76"/>
                  <a:pt x="438" y="76"/>
                </a:cubicBezTo>
                <a:cubicBezTo>
                  <a:pt x="432" y="77"/>
                  <a:pt x="428" y="84"/>
                  <a:pt x="429" y="90"/>
                </a:cubicBezTo>
                <a:cubicBezTo>
                  <a:pt x="431" y="97"/>
                  <a:pt x="437" y="101"/>
                  <a:pt x="443" y="99"/>
                </a:cubicBezTo>
                <a:cubicBezTo>
                  <a:pt x="443" y="99"/>
                  <a:pt x="454" y="97"/>
                  <a:pt x="463" y="95"/>
                </a:cubicBezTo>
                <a:cubicBezTo>
                  <a:pt x="439" y="125"/>
                  <a:pt x="402" y="171"/>
                  <a:pt x="393" y="183"/>
                </a:cubicBezTo>
                <a:cubicBezTo>
                  <a:pt x="382" y="176"/>
                  <a:pt x="363" y="163"/>
                  <a:pt x="363" y="163"/>
                </a:cubicBezTo>
                <a:cubicBezTo>
                  <a:pt x="358" y="160"/>
                  <a:pt x="352" y="161"/>
                  <a:pt x="348" y="165"/>
                </a:cubicBezTo>
                <a:cubicBezTo>
                  <a:pt x="348" y="165"/>
                  <a:pt x="261" y="265"/>
                  <a:pt x="249" y="278"/>
                </a:cubicBezTo>
                <a:cubicBezTo>
                  <a:pt x="236" y="271"/>
                  <a:pt x="196" y="247"/>
                  <a:pt x="196" y="247"/>
                </a:cubicBezTo>
                <a:cubicBezTo>
                  <a:pt x="191" y="244"/>
                  <a:pt x="184" y="245"/>
                  <a:pt x="181" y="250"/>
                </a:cubicBezTo>
                <a:cubicBezTo>
                  <a:pt x="20" y="454"/>
                  <a:pt x="20" y="454"/>
                  <a:pt x="20" y="454"/>
                </a:cubicBezTo>
                <a:cubicBezTo>
                  <a:pt x="20" y="450"/>
                  <a:pt x="20" y="445"/>
                  <a:pt x="20" y="439"/>
                </a:cubicBezTo>
                <a:cubicBezTo>
                  <a:pt x="20" y="432"/>
                  <a:pt x="20" y="423"/>
                  <a:pt x="20" y="412"/>
                </a:cubicBezTo>
                <a:cubicBezTo>
                  <a:pt x="41" y="412"/>
                  <a:pt x="41" y="412"/>
                  <a:pt x="41" y="412"/>
                </a:cubicBezTo>
                <a:cubicBezTo>
                  <a:pt x="48" y="404"/>
                  <a:pt x="48" y="404"/>
                  <a:pt x="48" y="404"/>
                </a:cubicBezTo>
                <a:cubicBezTo>
                  <a:pt x="20" y="404"/>
                  <a:pt x="20" y="404"/>
                  <a:pt x="20" y="404"/>
                </a:cubicBezTo>
                <a:cubicBezTo>
                  <a:pt x="20" y="387"/>
                  <a:pt x="20" y="367"/>
                  <a:pt x="20" y="346"/>
                </a:cubicBezTo>
                <a:cubicBezTo>
                  <a:pt x="72" y="346"/>
                  <a:pt x="72" y="346"/>
                  <a:pt x="72" y="346"/>
                </a:cubicBezTo>
                <a:cubicBezTo>
                  <a:pt x="72" y="374"/>
                  <a:pt x="72" y="374"/>
                  <a:pt x="72" y="374"/>
                </a:cubicBezTo>
                <a:cubicBezTo>
                  <a:pt x="80" y="364"/>
                  <a:pt x="80" y="364"/>
                  <a:pt x="80" y="364"/>
                </a:cubicBezTo>
                <a:cubicBezTo>
                  <a:pt x="80" y="346"/>
                  <a:pt x="80" y="346"/>
                  <a:pt x="80" y="346"/>
                </a:cubicBezTo>
                <a:cubicBezTo>
                  <a:pt x="94" y="346"/>
                  <a:pt x="94" y="346"/>
                  <a:pt x="94" y="346"/>
                </a:cubicBezTo>
                <a:cubicBezTo>
                  <a:pt x="101" y="338"/>
                  <a:pt x="101" y="338"/>
                  <a:pt x="101" y="338"/>
                </a:cubicBezTo>
                <a:cubicBezTo>
                  <a:pt x="80" y="338"/>
                  <a:pt x="80" y="338"/>
                  <a:pt x="80" y="338"/>
                </a:cubicBezTo>
                <a:cubicBezTo>
                  <a:pt x="80" y="279"/>
                  <a:pt x="80" y="279"/>
                  <a:pt x="80" y="279"/>
                </a:cubicBezTo>
                <a:cubicBezTo>
                  <a:pt x="138" y="279"/>
                  <a:pt x="138" y="279"/>
                  <a:pt x="138" y="279"/>
                </a:cubicBezTo>
                <a:cubicBezTo>
                  <a:pt x="138" y="291"/>
                  <a:pt x="138" y="291"/>
                  <a:pt x="138" y="291"/>
                </a:cubicBezTo>
                <a:cubicBezTo>
                  <a:pt x="146" y="281"/>
                  <a:pt x="146" y="281"/>
                  <a:pt x="146" y="281"/>
                </a:cubicBezTo>
                <a:cubicBezTo>
                  <a:pt x="146" y="279"/>
                  <a:pt x="146" y="279"/>
                  <a:pt x="146" y="279"/>
                </a:cubicBezTo>
                <a:cubicBezTo>
                  <a:pt x="147" y="279"/>
                  <a:pt x="147" y="279"/>
                  <a:pt x="147" y="279"/>
                </a:cubicBezTo>
                <a:cubicBezTo>
                  <a:pt x="153" y="271"/>
                  <a:pt x="153" y="271"/>
                  <a:pt x="153" y="271"/>
                </a:cubicBezTo>
                <a:cubicBezTo>
                  <a:pt x="146" y="271"/>
                  <a:pt x="146" y="271"/>
                  <a:pt x="146" y="271"/>
                </a:cubicBezTo>
                <a:cubicBezTo>
                  <a:pt x="146" y="213"/>
                  <a:pt x="146" y="213"/>
                  <a:pt x="146" y="213"/>
                </a:cubicBezTo>
                <a:cubicBezTo>
                  <a:pt x="204" y="213"/>
                  <a:pt x="204" y="213"/>
                  <a:pt x="204" y="213"/>
                </a:cubicBezTo>
                <a:cubicBezTo>
                  <a:pt x="204" y="242"/>
                  <a:pt x="204" y="242"/>
                  <a:pt x="204" y="242"/>
                </a:cubicBezTo>
                <a:cubicBezTo>
                  <a:pt x="206" y="243"/>
                  <a:pt x="209" y="245"/>
                  <a:pt x="212" y="247"/>
                </a:cubicBezTo>
                <a:cubicBezTo>
                  <a:pt x="212" y="213"/>
                  <a:pt x="212" y="213"/>
                  <a:pt x="212" y="213"/>
                </a:cubicBezTo>
                <a:cubicBezTo>
                  <a:pt x="270" y="213"/>
                  <a:pt x="270" y="213"/>
                  <a:pt x="270" y="213"/>
                </a:cubicBezTo>
                <a:cubicBezTo>
                  <a:pt x="270" y="242"/>
                  <a:pt x="270" y="242"/>
                  <a:pt x="270" y="242"/>
                </a:cubicBezTo>
                <a:cubicBezTo>
                  <a:pt x="273" y="239"/>
                  <a:pt x="275" y="236"/>
                  <a:pt x="278" y="233"/>
                </a:cubicBezTo>
                <a:cubicBezTo>
                  <a:pt x="278" y="213"/>
                  <a:pt x="278" y="213"/>
                  <a:pt x="278" y="213"/>
                </a:cubicBezTo>
                <a:cubicBezTo>
                  <a:pt x="295" y="213"/>
                  <a:pt x="295" y="213"/>
                  <a:pt x="295" y="213"/>
                </a:cubicBezTo>
                <a:cubicBezTo>
                  <a:pt x="298" y="210"/>
                  <a:pt x="300" y="207"/>
                  <a:pt x="302" y="205"/>
                </a:cubicBezTo>
                <a:cubicBezTo>
                  <a:pt x="278" y="205"/>
                  <a:pt x="278" y="205"/>
                  <a:pt x="278" y="205"/>
                </a:cubicBezTo>
                <a:cubicBezTo>
                  <a:pt x="278" y="146"/>
                  <a:pt x="278" y="146"/>
                  <a:pt x="278" y="146"/>
                </a:cubicBezTo>
                <a:cubicBezTo>
                  <a:pt x="336" y="146"/>
                  <a:pt x="336" y="146"/>
                  <a:pt x="336" y="146"/>
                </a:cubicBezTo>
                <a:cubicBezTo>
                  <a:pt x="336" y="166"/>
                  <a:pt x="336" y="166"/>
                  <a:pt x="336" y="166"/>
                </a:cubicBezTo>
                <a:cubicBezTo>
                  <a:pt x="340" y="162"/>
                  <a:pt x="342" y="160"/>
                  <a:pt x="342" y="160"/>
                </a:cubicBezTo>
                <a:cubicBezTo>
                  <a:pt x="342" y="159"/>
                  <a:pt x="343" y="158"/>
                  <a:pt x="344" y="158"/>
                </a:cubicBezTo>
                <a:cubicBezTo>
                  <a:pt x="344" y="146"/>
                  <a:pt x="344" y="146"/>
                  <a:pt x="344" y="146"/>
                </a:cubicBezTo>
                <a:cubicBezTo>
                  <a:pt x="402" y="146"/>
                  <a:pt x="402" y="146"/>
                  <a:pt x="402" y="146"/>
                </a:cubicBezTo>
                <a:cubicBezTo>
                  <a:pt x="402" y="158"/>
                  <a:pt x="402" y="158"/>
                  <a:pt x="402" y="158"/>
                </a:cubicBezTo>
                <a:cubicBezTo>
                  <a:pt x="405" y="155"/>
                  <a:pt x="407" y="152"/>
                  <a:pt x="410" y="148"/>
                </a:cubicBezTo>
                <a:cubicBezTo>
                  <a:pt x="410" y="146"/>
                  <a:pt x="410" y="146"/>
                  <a:pt x="410" y="146"/>
                </a:cubicBezTo>
                <a:cubicBezTo>
                  <a:pt x="412" y="146"/>
                  <a:pt x="412" y="146"/>
                  <a:pt x="412" y="146"/>
                </a:cubicBezTo>
                <a:cubicBezTo>
                  <a:pt x="414" y="144"/>
                  <a:pt x="416" y="141"/>
                  <a:pt x="418" y="138"/>
                </a:cubicBezTo>
                <a:cubicBezTo>
                  <a:pt x="410" y="138"/>
                  <a:pt x="410" y="138"/>
                  <a:pt x="410" y="138"/>
                </a:cubicBezTo>
                <a:cubicBezTo>
                  <a:pt x="410" y="80"/>
                  <a:pt x="410" y="80"/>
                  <a:pt x="410" y="80"/>
                </a:cubicBezTo>
                <a:cubicBezTo>
                  <a:pt x="422" y="80"/>
                  <a:pt x="422" y="80"/>
                  <a:pt x="422" y="80"/>
                </a:cubicBezTo>
                <a:cubicBezTo>
                  <a:pt x="424" y="77"/>
                  <a:pt x="426" y="74"/>
                  <a:pt x="429" y="72"/>
                </a:cubicBezTo>
                <a:cubicBezTo>
                  <a:pt x="410" y="72"/>
                  <a:pt x="410" y="72"/>
                  <a:pt x="410" y="72"/>
                </a:cubicBezTo>
                <a:cubicBezTo>
                  <a:pt x="410" y="20"/>
                  <a:pt x="410" y="20"/>
                  <a:pt x="410" y="20"/>
                </a:cubicBezTo>
                <a:cubicBezTo>
                  <a:pt x="432" y="20"/>
                  <a:pt x="452" y="20"/>
                  <a:pt x="468" y="20"/>
                </a:cubicBezTo>
                <a:cubicBezTo>
                  <a:pt x="468" y="61"/>
                  <a:pt x="468" y="61"/>
                  <a:pt x="468" y="61"/>
                </a:cubicBezTo>
                <a:cubicBezTo>
                  <a:pt x="476" y="59"/>
                  <a:pt x="476" y="59"/>
                  <a:pt x="476" y="59"/>
                </a:cubicBezTo>
                <a:cubicBezTo>
                  <a:pt x="476" y="20"/>
                  <a:pt x="476" y="20"/>
                  <a:pt x="476" y="20"/>
                </a:cubicBezTo>
                <a:cubicBezTo>
                  <a:pt x="506" y="20"/>
                  <a:pt x="525" y="20"/>
                  <a:pt x="528" y="20"/>
                </a:cubicBezTo>
                <a:cubicBezTo>
                  <a:pt x="528" y="23"/>
                  <a:pt x="528" y="43"/>
                  <a:pt x="528" y="72"/>
                </a:cubicBezTo>
                <a:cubicBezTo>
                  <a:pt x="513" y="72"/>
                  <a:pt x="513" y="72"/>
                  <a:pt x="513" y="72"/>
                </a:cubicBezTo>
                <a:cubicBezTo>
                  <a:pt x="513" y="72"/>
                  <a:pt x="513" y="72"/>
                  <a:pt x="513" y="73"/>
                </a:cubicBezTo>
                <a:cubicBezTo>
                  <a:pt x="513" y="74"/>
                  <a:pt x="513" y="74"/>
                  <a:pt x="513" y="75"/>
                </a:cubicBezTo>
                <a:cubicBezTo>
                  <a:pt x="513" y="76"/>
                  <a:pt x="513" y="76"/>
                  <a:pt x="513" y="76"/>
                </a:cubicBezTo>
                <a:cubicBezTo>
                  <a:pt x="513" y="80"/>
                  <a:pt x="513" y="80"/>
                  <a:pt x="513" y="80"/>
                </a:cubicBezTo>
                <a:cubicBezTo>
                  <a:pt x="528" y="80"/>
                  <a:pt x="528" y="80"/>
                  <a:pt x="528" y="80"/>
                </a:cubicBezTo>
                <a:cubicBezTo>
                  <a:pt x="528" y="97"/>
                  <a:pt x="528" y="117"/>
                  <a:pt x="528" y="138"/>
                </a:cubicBezTo>
                <a:cubicBezTo>
                  <a:pt x="512" y="138"/>
                  <a:pt x="512" y="138"/>
                  <a:pt x="512" y="138"/>
                </a:cubicBezTo>
                <a:cubicBezTo>
                  <a:pt x="512" y="141"/>
                  <a:pt x="510" y="144"/>
                  <a:pt x="508" y="146"/>
                </a:cubicBezTo>
                <a:cubicBezTo>
                  <a:pt x="528" y="146"/>
                  <a:pt x="528" y="146"/>
                  <a:pt x="528" y="146"/>
                </a:cubicBezTo>
                <a:cubicBezTo>
                  <a:pt x="528" y="165"/>
                  <a:pt x="528" y="185"/>
                  <a:pt x="528" y="205"/>
                </a:cubicBezTo>
                <a:cubicBezTo>
                  <a:pt x="476" y="205"/>
                  <a:pt x="476" y="205"/>
                  <a:pt x="476" y="205"/>
                </a:cubicBezTo>
                <a:cubicBezTo>
                  <a:pt x="476" y="146"/>
                  <a:pt x="476" y="146"/>
                  <a:pt x="476" y="146"/>
                </a:cubicBezTo>
                <a:cubicBezTo>
                  <a:pt x="479" y="146"/>
                  <a:pt x="479" y="146"/>
                  <a:pt x="479" y="146"/>
                </a:cubicBezTo>
                <a:cubicBezTo>
                  <a:pt x="476" y="143"/>
                  <a:pt x="474" y="138"/>
                  <a:pt x="473" y="133"/>
                </a:cubicBezTo>
                <a:cubicBezTo>
                  <a:pt x="463" y="146"/>
                  <a:pt x="463" y="146"/>
                  <a:pt x="463" y="146"/>
                </a:cubicBezTo>
                <a:cubicBezTo>
                  <a:pt x="468" y="146"/>
                  <a:pt x="468" y="146"/>
                  <a:pt x="468" y="146"/>
                </a:cubicBezTo>
                <a:cubicBezTo>
                  <a:pt x="468" y="205"/>
                  <a:pt x="468" y="205"/>
                  <a:pt x="468" y="205"/>
                </a:cubicBezTo>
                <a:cubicBezTo>
                  <a:pt x="416" y="205"/>
                  <a:pt x="416" y="205"/>
                  <a:pt x="416" y="205"/>
                </a:cubicBezTo>
                <a:cubicBezTo>
                  <a:pt x="411" y="211"/>
                  <a:pt x="411" y="211"/>
                  <a:pt x="411" y="211"/>
                </a:cubicBezTo>
                <a:cubicBezTo>
                  <a:pt x="409" y="214"/>
                  <a:pt x="406" y="216"/>
                  <a:pt x="402" y="218"/>
                </a:cubicBezTo>
                <a:cubicBezTo>
                  <a:pt x="402" y="271"/>
                  <a:pt x="402" y="271"/>
                  <a:pt x="402" y="271"/>
                </a:cubicBezTo>
                <a:cubicBezTo>
                  <a:pt x="344" y="271"/>
                  <a:pt x="344" y="271"/>
                  <a:pt x="344" y="271"/>
                </a:cubicBezTo>
                <a:cubicBezTo>
                  <a:pt x="344" y="218"/>
                  <a:pt x="344" y="218"/>
                  <a:pt x="344" y="218"/>
                </a:cubicBezTo>
                <a:cubicBezTo>
                  <a:pt x="342" y="221"/>
                  <a:pt x="339" y="224"/>
                  <a:pt x="336" y="227"/>
                </a:cubicBezTo>
                <a:cubicBezTo>
                  <a:pt x="336" y="271"/>
                  <a:pt x="336" y="271"/>
                  <a:pt x="336" y="271"/>
                </a:cubicBezTo>
                <a:cubicBezTo>
                  <a:pt x="298" y="271"/>
                  <a:pt x="298" y="271"/>
                  <a:pt x="298" y="271"/>
                </a:cubicBezTo>
                <a:cubicBezTo>
                  <a:pt x="295" y="274"/>
                  <a:pt x="293" y="277"/>
                  <a:pt x="291" y="279"/>
                </a:cubicBezTo>
                <a:cubicBezTo>
                  <a:pt x="336" y="279"/>
                  <a:pt x="336" y="279"/>
                  <a:pt x="336" y="279"/>
                </a:cubicBezTo>
                <a:cubicBezTo>
                  <a:pt x="336" y="338"/>
                  <a:pt x="336" y="338"/>
                  <a:pt x="336" y="338"/>
                </a:cubicBezTo>
                <a:cubicBezTo>
                  <a:pt x="278" y="338"/>
                  <a:pt x="278" y="338"/>
                  <a:pt x="278" y="338"/>
                </a:cubicBezTo>
                <a:cubicBezTo>
                  <a:pt x="278" y="293"/>
                  <a:pt x="278" y="293"/>
                  <a:pt x="278" y="293"/>
                </a:cubicBezTo>
                <a:cubicBezTo>
                  <a:pt x="275" y="297"/>
                  <a:pt x="272" y="300"/>
                  <a:pt x="270" y="303"/>
                </a:cubicBezTo>
                <a:cubicBezTo>
                  <a:pt x="270" y="338"/>
                  <a:pt x="270" y="338"/>
                  <a:pt x="270" y="338"/>
                </a:cubicBezTo>
                <a:cubicBezTo>
                  <a:pt x="212" y="338"/>
                  <a:pt x="212" y="338"/>
                  <a:pt x="212" y="338"/>
                </a:cubicBezTo>
                <a:cubicBezTo>
                  <a:pt x="212" y="293"/>
                  <a:pt x="212" y="293"/>
                  <a:pt x="212" y="293"/>
                </a:cubicBezTo>
                <a:cubicBezTo>
                  <a:pt x="209" y="292"/>
                  <a:pt x="207" y="290"/>
                  <a:pt x="204" y="289"/>
                </a:cubicBezTo>
                <a:cubicBezTo>
                  <a:pt x="204" y="338"/>
                  <a:pt x="204" y="338"/>
                  <a:pt x="204" y="338"/>
                </a:cubicBezTo>
                <a:cubicBezTo>
                  <a:pt x="152" y="338"/>
                  <a:pt x="152" y="338"/>
                  <a:pt x="152" y="338"/>
                </a:cubicBezTo>
                <a:cubicBezTo>
                  <a:pt x="147" y="343"/>
                  <a:pt x="143" y="349"/>
                  <a:pt x="138" y="355"/>
                </a:cubicBezTo>
                <a:cubicBezTo>
                  <a:pt x="138" y="404"/>
                  <a:pt x="138" y="404"/>
                  <a:pt x="138" y="404"/>
                </a:cubicBezTo>
                <a:cubicBezTo>
                  <a:pt x="99" y="404"/>
                  <a:pt x="99" y="404"/>
                  <a:pt x="99" y="404"/>
                </a:cubicBezTo>
                <a:cubicBezTo>
                  <a:pt x="97" y="407"/>
                  <a:pt x="95" y="410"/>
                  <a:pt x="93" y="412"/>
                </a:cubicBezTo>
                <a:cubicBezTo>
                  <a:pt x="138" y="412"/>
                  <a:pt x="138" y="412"/>
                  <a:pt x="138" y="412"/>
                </a:cubicBezTo>
                <a:cubicBezTo>
                  <a:pt x="138" y="465"/>
                  <a:pt x="138" y="465"/>
                  <a:pt x="138" y="465"/>
                </a:cubicBezTo>
                <a:cubicBezTo>
                  <a:pt x="116" y="465"/>
                  <a:pt x="97" y="465"/>
                  <a:pt x="80" y="465"/>
                </a:cubicBezTo>
                <a:cubicBezTo>
                  <a:pt x="80" y="428"/>
                  <a:pt x="80" y="428"/>
                  <a:pt x="80" y="428"/>
                </a:cubicBezTo>
                <a:cubicBezTo>
                  <a:pt x="77" y="432"/>
                  <a:pt x="74" y="435"/>
                  <a:pt x="72" y="438"/>
                </a:cubicBezTo>
                <a:cubicBezTo>
                  <a:pt x="72" y="465"/>
                  <a:pt x="72" y="465"/>
                  <a:pt x="72" y="465"/>
                </a:cubicBezTo>
                <a:cubicBezTo>
                  <a:pt x="64" y="465"/>
                  <a:pt x="57" y="465"/>
                  <a:pt x="51" y="465"/>
                </a:cubicBezTo>
                <a:cubicBezTo>
                  <a:pt x="48" y="465"/>
                  <a:pt x="45" y="465"/>
                  <a:pt x="42" y="465"/>
                </a:cubicBezTo>
                <a:close/>
                <a:moveTo>
                  <a:pt x="476" y="465"/>
                </a:moveTo>
                <a:cubicBezTo>
                  <a:pt x="476" y="412"/>
                  <a:pt x="476" y="412"/>
                  <a:pt x="476" y="412"/>
                </a:cubicBezTo>
                <a:cubicBezTo>
                  <a:pt x="528" y="412"/>
                  <a:pt x="528" y="412"/>
                  <a:pt x="528" y="412"/>
                </a:cubicBezTo>
                <a:cubicBezTo>
                  <a:pt x="528" y="441"/>
                  <a:pt x="528" y="461"/>
                  <a:pt x="528" y="465"/>
                </a:cubicBezTo>
                <a:cubicBezTo>
                  <a:pt x="525" y="465"/>
                  <a:pt x="506" y="465"/>
                  <a:pt x="476" y="465"/>
                </a:cubicBezTo>
                <a:close/>
              </a:path>
            </a:pathLst>
          </a:custGeom>
          <a:solidFill>
            <a:schemeClr val="tx1"/>
          </a:solidFill>
          <a:ln>
            <a:noFill/>
          </a:ln>
          <a:extLst/>
        </p:spPr>
        <p:txBody>
          <a:bodyPr vert="horz" wrap="square" lIns="68586" tIns="34294" rIns="68586" bIns="34294" numCol="1" anchor="t" anchorCtr="0" compatLnSpc="1">
            <a:prstTxWarp prst="textNoShape">
              <a:avLst/>
            </a:prstTxWarp>
          </a:bodyPr>
          <a:lstStyle/>
          <a:p>
            <a:endParaRPr lang="en-US">
              <a:solidFill>
                <a:schemeClr val="bg1"/>
              </a:solidFill>
              <a:latin typeface="Segoe UI"/>
              <a:sym typeface="Segoe UI"/>
            </a:endParaRPr>
          </a:p>
        </p:txBody>
      </p:sp>
      <p:sp>
        <p:nvSpPr>
          <p:cNvPr id="20" name="Rectangle 19"/>
          <p:cNvSpPr/>
          <p:nvPr>
            <p:custDataLst>
              <p:tags r:id="rId6"/>
            </p:custDataLst>
          </p:nvPr>
        </p:nvSpPr>
        <p:spPr bwMode="auto">
          <a:xfrm>
            <a:off x="377898" y="1078824"/>
            <a:ext cx="1371600" cy="2103120"/>
          </a:xfrm>
          <a:prstGeom prst="rect">
            <a:avLst/>
          </a:prstGeom>
          <a:solidFill>
            <a:schemeClr val="tx2"/>
          </a:solidFill>
          <a:ln w="9525" cap="flat" cmpd="sng" algn="ctr">
            <a:noFill/>
            <a:prstDash val="solid"/>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34294" tIns="34294" rIns="34294" bIns="34294" numCol="1" rtlCol="0" anchor="b" anchorCtr="0" compatLnSpc="1">
            <a:prstTxWarp prst="textNoShape">
              <a:avLst/>
            </a:prstTxWarp>
          </a:bodyPr>
          <a:lstStyle/>
          <a:p>
            <a:pPr algn="ctr" defTabSz="914023" fontAlgn="base">
              <a:spcBef>
                <a:spcPct val="0"/>
              </a:spcBef>
              <a:spcAft>
                <a:spcPct val="0"/>
              </a:spcAft>
            </a:pPr>
            <a:r>
              <a:rPr lang="en-US" dirty="0">
                <a:solidFill>
                  <a:schemeClr val="tx1"/>
                </a:solidFill>
                <a:sym typeface="Segoe UI"/>
              </a:rPr>
              <a:t>Measure Business Value</a:t>
            </a:r>
          </a:p>
        </p:txBody>
      </p:sp>
      <p:sp>
        <p:nvSpPr>
          <p:cNvPr id="31" name="Freeform 8"/>
          <p:cNvSpPr>
            <a:spLocks noEditPoints="1"/>
          </p:cNvSpPr>
          <p:nvPr/>
        </p:nvSpPr>
        <p:spPr bwMode="auto">
          <a:xfrm>
            <a:off x="570606" y="1206429"/>
            <a:ext cx="986184" cy="992878"/>
          </a:xfrm>
          <a:custGeom>
            <a:avLst/>
            <a:gdLst>
              <a:gd name="T0" fmla="*/ 87 w 485"/>
              <a:gd name="T1" fmla="*/ 0 h 488"/>
              <a:gd name="T2" fmla="*/ 70 w 485"/>
              <a:gd name="T3" fmla="*/ 258 h 488"/>
              <a:gd name="T4" fmla="*/ 36 w 485"/>
              <a:gd name="T5" fmla="*/ 275 h 488"/>
              <a:gd name="T6" fmla="*/ 40 w 485"/>
              <a:gd name="T7" fmla="*/ 292 h 488"/>
              <a:gd name="T8" fmla="*/ 5 w 485"/>
              <a:gd name="T9" fmla="*/ 372 h 488"/>
              <a:gd name="T10" fmla="*/ 5 w 485"/>
              <a:gd name="T11" fmla="*/ 396 h 488"/>
              <a:gd name="T12" fmla="*/ 114 w 485"/>
              <a:gd name="T13" fmla="*/ 481 h 488"/>
              <a:gd name="T14" fmla="*/ 199 w 485"/>
              <a:gd name="T15" fmla="*/ 451 h 488"/>
              <a:gd name="T16" fmla="*/ 228 w 485"/>
              <a:gd name="T17" fmla="*/ 443 h 488"/>
              <a:gd name="T18" fmla="*/ 331 w 485"/>
              <a:gd name="T19" fmla="*/ 400 h 488"/>
              <a:gd name="T20" fmla="*/ 348 w 485"/>
              <a:gd name="T21" fmla="*/ 477 h 488"/>
              <a:gd name="T22" fmla="*/ 485 w 485"/>
              <a:gd name="T23" fmla="*/ 460 h 488"/>
              <a:gd name="T24" fmla="*/ 468 w 485"/>
              <a:gd name="T25" fmla="*/ 0 h 488"/>
              <a:gd name="T26" fmla="*/ 201 w 485"/>
              <a:gd name="T27" fmla="*/ 405 h 488"/>
              <a:gd name="T28" fmla="*/ 182 w 485"/>
              <a:gd name="T29" fmla="*/ 387 h 488"/>
              <a:gd name="T30" fmla="*/ 163 w 485"/>
              <a:gd name="T31" fmla="*/ 384 h 488"/>
              <a:gd name="T32" fmla="*/ 159 w 485"/>
              <a:gd name="T33" fmla="*/ 387 h 488"/>
              <a:gd name="T34" fmla="*/ 41 w 485"/>
              <a:gd name="T35" fmla="*/ 385 h 488"/>
              <a:gd name="T36" fmla="*/ 106 w 485"/>
              <a:gd name="T37" fmla="*/ 315 h 488"/>
              <a:gd name="T38" fmla="*/ 99 w 485"/>
              <a:gd name="T39" fmla="*/ 304 h 488"/>
              <a:gd name="T40" fmla="*/ 86 w 485"/>
              <a:gd name="T41" fmla="*/ 290 h 488"/>
              <a:gd name="T42" fmla="*/ 207 w 485"/>
              <a:gd name="T43" fmla="*/ 379 h 488"/>
              <a:gd name="T44" fmla="*/ 451 w 485"/>
              <a:gd name="T45" fmla="*/ 444 h 488"/>
              <a:gd name="T46" fmla="*/ 365 w 485"/>
              <a:gd name="T47" fmla="*/ 397 h 488"/>
              <a:gd name="T48" fmla="*/ 451 w 485"/>
              <a:gd name="T49" fmla="*/ 444 h 488"/>
              <a:gd name="T50" fmla="*/ 210 w 485"/>
              <a:gd name="T51" fmla="*/ 106 h 488"/>
              <a:gd name="T52" fmla="*/ 104 w 485"/>
              <a:gd name="T53" fmla="*/ 154 h 488"/>
              <a:gd name="T54" fmla="*/ 233 w 485"/>
              <a:gd name="T55" fmla="*/ 106 h 488"/>
              <a:gd name="T56" fmla="*/ 337 w 485"/>
              <a:gd name="T57" fmla="*/ 154 h 488"/>
              <a:gd name="T58" fmla="*/ 233 w 485"/>
              <a:gd name="T59" fmla="*/ 106 h 488"/>
              <a:gd name="T60" fmla="*/ 451 w 485"/>
              <a:gd name="T61" fmla="*/ 106 h 488"/>
              <a:gd name="T62" fmla="*/ 359 w 485"/>
              <a:gd name="T63" fmla="*/ 154 h 488"/>
              <a:gd name="T64" fmla="*/ 451 w 485"/>
              <a:gd name="T65" fmla="*/ 83 h 488"/>
              <a:gd name="T66" fmla="*/ 104 w 485"/>
              <a:gd name="T67" fmla="*/ 34 h 488"/>
              <a:gd name="T68" fmla="*/ 451 w 485"/>
              <a:gd name="T69" fmla="*/ 83 h 488"/>
              <a:gd name="T70" fmla="*/ 210 w 485"/>
              <a:gd name="T71" fmla="*/ 176 h 488"/>
              <a:gd name="T72" fmla="*/ 104 w 485"/>
              <a:gd name="T73" fmla="*/ 224 h 488"/>
              <a:gd name="T74" fmla="*/ 233 w 485"/>
              <a:gd name="T75" fmla="*/ 224 h 488"/>
              <a:gd name="T76" fmla="*/ 337 w 485"/>
              <a:gd name="T77" fmla="*/ 176 h 488"/>
              <a:gd name="T78" fmla="*/ 233 w 485"/>
              <a:gd name="T79" fmla="*/ 224 h 488"/>
              <a:gd name="T80" fmla="*/ 451 w 485"/>
              <a:gd name="T81" fmla="*/ 176 h 488"/>
              <a:gd name="T82" fmla="*/ 359 w 485"/>
              <a:gd name="T83" fmla="*/ 224 h 488"/>
              <a:gd name="T84" fmla="*/ 451 w 485"/>
              <a:gd name="T85" fmla="*/ 247 h 488"/>
              <a:gd name="T86" fmla="*/ 359 w 485"/>
              <a:gd name="T87" fmla="*/ 292 h 488"/>
              <a:gd name="T88" fmla="*/ 451 w 485"/>
              <a:gd name="T89" fmla="*/ 247 h 488"/>
              <a:gd name="T90" fmla="*/ 178 w 485"/>
              <a:gd name="T91" fmla="*/ 247 h 488"/>
              <a:gd name="T92" fmla="*/ 104 w 485"/>
              <a:gd name="T93" fmla="*/ 247 h 488"/>
              <a:gd name="T94" fmla="*/ 337 w 485"/>
              <a:gd name="T95" fmla="*/ 247 h 488"/>
              <a:gd name="T96" fmla="*/ 250 w 485"/>
              <a:gd name="T97" fmla="*/ 292 h 488"/>
              <a:gd name="T98" fmla="*/ 451 w 485"/>
              <a:gd name="T99" fmla="*/ 320 h 488"/>
              <a:gd name="T100" fmla="*/ 359 w 485"/>
              <a:gd name="T101" fmla="*/ 369 h 488"/>
              <a:gd name="T102" fmla="*/ 451 w 485"/>
              <a:gd name="T103" fmla="*/ 320 h 488"/>
              <a:gd name="T104" fmla="*/ 243 w 485"/>
              <a:gd name="T105" fmla="*/ 320 h 488"/>
              <a:gd name="T106" fmla="*/ 337 w 485"/>
              <a:gd name="T107" fmla="*/ 366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5" h="488">
                <a:moveTo>
                  <a:pt x="468" y="0"/>
                </a:moveTo>
                <a:cubicBezTo>
                  <a:pt x="87" y="0"/>
                  <a:pt x="87" y="0"/>
                  <a:pt x="87" y="0"/>
                </a:cubicBezTo>
                <a:cubicBezTo>
                  <a:pt x="78" y="0"/>
                  <a:pt x="70" y="7"/>
                  <a:pt x="70" y="17"/>
                </a:cubicBezTo>
                <a:cubicBezTo>
                  <a:pt x="70" y="17"/>
                  <a:pt x="70" y="234"/>
                  <a:pt x="70" y="258"/>
                </a:cubicBezTo>
                <a:cubicBezTo>
                  <a:pt x="60" y="261"/>
                  <a:pt x="48" y="263"/>
                  <a:pt x="48" y="263"/>
                </a:cubicBezTo>
                <a:cubicBezTo>
                  <a:pt x="42" y="265"/>
                  <a:pt x="37" y="269"/>
                  <a:pt x="36" y="275"/>
                </a:cubicBezTo>
                <a:cubicBezTo>
                  <a:pt x="35" y="277"/>
                  <a:pt x="35" y="278"/>
                  <a:pt x="35" y="280"/>
                </a:cubicBezTo>
                <a:cubicBezTo>
                  <a:pt x="35" y="284"/>
                  <a:pt x="37" y="288"/>
                  <a:pt x="40" y="292"/>
                </a:cubicBezTo>
                <a:cubicBezTo>
                  <a:pt x="40" y="292"/>
                  <a:pt x="52" y="304"/>
                  <a:pt x="63" y="315"/>
                </a:cubicBezTo>
                <a:cubicBezTo>
                  <a:pt x="46" y="331"/>
                  <a:pt x="5" y="372"/>
                  <a:pt x="5" y="372"/>
                </a:cubicBezTo>
                <a:cubicBezTo>
                  <a:pt x="2" y="376"/>
                  <a:pt x="0" y="380"/>
                  <a:pt x="0" y="384"/>
                </a:cubicBezTo>
                <a:cubicBezTo>
                  <a:pt x="0" y="389"/>
                  <a:pt x="2" y="393"/>
                  <a:pt x="5" y="396"/>
                </a:cubicBezTo>
                <a:cubicBezTo>
                  <a:pt x="90" y="481"/>
                  <a:pt x="90" y="481"/>
                  <a:pt x="90" y="481"/>
                </a:cubicBezTo>
                <a:cubicBezTo>
                  <a:pt x="96" y="488"/>
                  <a:pt x="107" y="488"/>
                  <a:pt x="114" y="481"/>
                </a:cubicBezTo>
                <a:cubicBezTo>
                  <a:pt x="114" y="481"/>
                  <a:pt x="155" y="440"/>
                  <a:pt x="171" y="423"/>
                </a:cubicBezTo>
                <a:cubicBezTo>
                  <a:pt x="183" y="435"/>
                  <a:pt x="199" y="451"/>
                  <a:pt x="199" y="451"/>
                </a:cubicBezTo>
                <a:cubicBezTo>
                  <a:pt x="204" y="456"/>
                  <a:pt x="210" y="457"/>
                  <a:pt x="216" y="455"/>
                </a:cubicBezTo>
                <a:cubicBezTo>
                  <a:pt x="222" y="454"/>
                  <a:pt x="226" y="449"/>
                  <a:pt x="228" y="443"/>
                </a:cubicBezTo>
                <a:cubicBezTo>
                  <a:pt x="228" y="443"/>
                  <a:pt x="234" y="416"/>
                  <a:pt x="237" y="400"/>
                </a:cubicBezTo>
                <a:cubicBezTo>
                  <a:pt x="331" y="400"/>
                  <a:pt x="331" y="400"/>
                  <a:pt x="331" y="400"/>
                </a:cubicBezTo>
                <a:cubicBezTo>
                  <a:pt x="331" y="421"/>
                  <a:pt x="331" y="460"/>
                  <a:pt x="331" y="460"/>
                </a:cubicBezTo>
                <a:cubicBezTo>
                  <a:pt x="331" y="470"/>
                  <a:pt x="339" y="477"/>
                  <a:pt x="348" y="477"/>
                </a:cubicBezTo>
                <a:cubicBezTo>
                  <a:pt x="468" y="477"/>
                  <a:pt x="468" y="477"/>
                  <a:pt x="468" y="477"/>
                </a:cubicBezTo>
                <a:cubicBezTo>
                  <a:pt x="477" y="477"/>
                  <a:pt x="485" y="470"/>
                  <a:pt x="485" y="460"/>
                </a:cubicBezTo>
                <a:cubicBezTo>
                  <a:pt x="485" y="17"/>
                  <a:pt x="485" y="17"/>
                  <a:pt x="485" y="17"/>
                </a:cubicBezTo>
                <a:cubicBezTo>
                  <a:pt x="485" y="7"/>
                  <a:pt x="477" y="0"/>
                  <a:pt x="468" y="0"/>
                </a:cubicBezTo>
                <a:close/>
                <a:moveTo>
                  <a:pt x="207" y="380"/>
                </a:moveTo>
                <a:cubicBezTo>
                  <a:pt x="207" y="380"/>
                  <a:pt x="204" y="393"/>
                  <a:pt x="201" y="405"/>
                </a:cubicBezTo>
                <a:cubicBezTo>
                  <a:pt x="192" y="396"/>
                  <a:pt x="183" y="387"/>
                  <a:pt x="183" y="387"/>
                </a:cubicBezTo>
                <a:cubicBezTo>
                  <a:pt x="183" y="387"/>
                  <a:pt x="182" y="387"/>
                  <a:pt x="182" y="387"/>
                </a:cubicBezTo>
                <a:cubicBezTo>
                  <a:pt x="180" y="385"/>
                  <a:pt x="179" y="384"/>
                  <a:pt x="179" y="384"/>
                </a:cubicBezTo>
                <a:cubicBezTo>
                  <a:pt x="175" y="379"/>
                  <a:pt x="168" y="379"/>
                  <a:pt x="163" y="384"/>
                </a:cubicBezTo>
                <a:cubicBezTo>
                  <a:pt x="163" y="384"/>
                  <a:pt x="162" y="385"/>
                  <a:pt x="161" y="387"/>
                </a:cubicBezTo>
                <a:cubicBezTo>
                  <a:pt x="160" y="387"/>
                  <a:pt x="160" y="387"/>
                  <a:pt x="159" y="387"/>
                </a:cubicBezTo>
                <a:cubicBezTo>
                  <a:pt x="159" y="387"/>
                  <a:pt x="118" y="429"/>
                  <a:pt x="102" y="445"/>
                </a:cubicBezTo>
                <a:cubicBezTo>
                  <a:pt x="87" y="431"/>
                  <a:pt x="56" y="399"/>
                  <a:pt x="41" y="385"/>
                </a:cubicBezTo>
                <a:cubicBezTo>
                  <a:pt x="54" y="372"/>
                  <a:pt x="103" y="323"/>
                  <a:pt x="103" y="323"/>
                </a:cubicBezTo>
                <a:cubicBezTo>
                  <a:pt x="105" y="321"/>
                  <a:pt x="106" y="318"/>
                  <a:pt x="106" y="315"/>
                </a:cubicBezTo>
                <a:cubicBezTo>
                  <a:pt x="106" y="312"/>
                  <a:pt x="105" y="309"/>
                  <a:pt x="103" y="307"/>
                </a:cubicBezTo>
                <a:cubicBezTo>
                  <a:pt x="103" y="307"/>
                  <a:pt x="101" y="306"/>
                  <a:pt x="99" y="304"/>
                </a:cubicBezTo>
                <a:cubicBezTo>
                  <a:pt x="99" y="304"/>
                  <a:pt x="99" y="303"/>
                  <a:pt x="99" y="303"/>
                </a:cubicBezTo>
                <a:cubicBezTo>
                  <a:pt x="99" y="303"/>
                  <a:pt x="92" y="296"/>
                  <a:pt x="86" y="290"/>
                </a:cubicBezTo>
                <a:cubicBezTo>
                  <a:pt x="115" y="283"/>
                  <a:pt x="219" y="261"/>
                  <a:pt x="234" y="257"/>
                </a:cubicBezTo>
                <a:cubicBezTo>
                  <a:pt x="230" y="276"/>
                  <a:pt x="216" y="340"/>
                  <a:pt x="207" y="379"/>
                </a:cubicBezTo>
                <a:cubicBezTo>
                  <a:pt x="207" y="379"/>
                  <a:pt x="207" y="380"/>
                  <a:pt x="207" y="380"/>
                </a:cubicBezTo>
                <a:close/>
                <a:moveTo>
                  <a:pt x="451" y="444"/>
                </a:moveTo>
                <a:cubicBezTo>
                  <a:pt x="365" y="444"/>
                  <a:pt x="365" y="444"/>
                  <a:pt x="365" y="444"/>
                </a:cubicBezTo>
                <a:cubicBezTo>
                  <a:pt x="365" y="397"/>
                  <a:pt x="365" y="397"/>
                  <a:pt x="365" y="397"/>
                </a:cubicBezTo>
                <a:cubicBezTo>
                  <a:pt x="451" y="397"/>
                  <a:pt x="451" y="397"/>
                  <a:pt x="451" y="397"/>
                </a:cubicBezTo>
                <a:lnTo>
                  <a:pt x="451" y="444"/>
                </a:lnTo>
                <a:close/>
                <a:moveTo>
                  <a:pt x="104" y="106"/>
                </a:moveTo>
                <a:cubicBezTo>
                  <a:pt x="210" y="106"/>
                  <a:pt x="210" y="106"/>
                  <a:pt x="210" y="106"/>
                </a:cubicBezTo>
                <a:cubicBezTo>
                  <a:pt x="210" y="154"/>
                  <a:pt x="210" y="154"/>
                  <a:pt x="210" y="154"/>
                </a:cubicBezTo>
                <a:cubicBezTo>
                  <a:pt x="104" y="154"/>
                  <a:pt x="104" y="154"/>
                  <a:pt x="104" y="154"/>
                </a:cubicBezTo>
                <a:lnTo>
                  <a:pt x="104" y="106"/>
                </a:lnTo>
                <a:close/>
                <a:moveTo>
                  <a:pt x="233" y="106"/>
                </a:moveTo>
                <a:cubicBezTo>
                  <a:pt x="337" y="106"/>
                  <a:pt x="337" y="106"/>
                  <a:pt x="337" y="106"/>
                </a:cubicBezTo>
                <a:cubicBezTo>
                  <a:pt x="337" y="154"/>
                  <a:pt x="337" y="154"/>
                  <a:pt x="337" y="154"/>
                </a:cubicBezTo>
                <a:cubicBezTo>
                  <a:pt x="233" y="154"/>
                  <a:pt x="233" y="154"/>
                  <a:pt x="233" y="154"/>
                </a:cubicBezTo>
                <a:lnTo>
                  <a:pt x="233" y="106"/>
                </a:lnTo>
                <a:close/>
                <a:moveTo>
                  <a:pt x="359" y="106"/>
                </a:moveTo>
                <a:cubicBezTo>
                  <a:pt x="451" y="106"/>
                  <a:pt x="451" y="106"/>
                  <a:pt x="451" y="106"/>
                </a:cubicBezTo>
                <a:cubicBezTo>
                  <a:pt x="451" y="154"/>
                  <a:pt x="451" y="154"/>
                  <a:pt x="451" y="154"/>
                </a:cubicBezTo>
                <a:cubicBezTo>
                  <a:pt x="359" y="154"/>
                  <a:pt x="359" y="154"/>
                  <a:pt x="359" y="154"/>
                </a:cubicBezTo>
                <a:lnTo>
                  <a:pt x="359" y="106"/>
                </a:lnTo>
                <a:close/>
                <a:moveTo>
                  <a:pt x="451" y="83"/>
                </a:moveTo>
                <a:cubicBezTo>
                  <a:pt x="104" y="83"/>
                  <a:pt x="104" y="83"/>
                  <a:pt x="104" y="83"/>
                </a:cubicBezTo>
                <a:cubicBezTo>
                  <a:pt x="104" y="34"/>
                  <a:pt x="104" y="34"/>
                  <a:pt x="104" y="34"/>
                </a:cubicBezTo>
                <a:cubicBezTo>
                  <a:pt x="451" y="34"/>
                  <a:pt x="451" y="34"/>
                  <a:pt x="451" y="34"/>
                </a:cubicBezTo>
                <a:lnTo>
                  <a:pt x="451" y="83"/>
                </a:lnTo>
                <a:close/>
                <a:moveTo>
                  <a:pt x="104" y="176"/>
                </a:moveTo>
                <a:cubicBezTo>
                  <a:pt x="210" y="176"/>
                  <a:pt x="210" y="176"/>
                  <a:pt x="210" y="176"/>
                </a:cubicBezTo>
                <a:cubicBezTo>
                  <a:pt x="210" y="224"/>
                  <a:pt x="210" y="224"/>
                  <a:pt x="210" y="224"/>
                </a:cubicBezTo>
                <a:cubicBezTo>
                  <a:pt x="104" y="224"/>
                  <a:pt x="104" y="224"/>
                  <a:pt x="104" y="224"/>
                </a:cubicBezTo>
                <a:lnTo>
                  <a:pt x="104" y="176"/>
                </a:lnTo>
                <a:close/>
                <a:moveTo>
                  <a:pt x="233" y="224"/>
                </a:moveTo>
                <a:cubicBezTo>
                  <a:pt x="233" y="176"/>
                  <a:pt x="233" y="176"/>
                  <a:pt x="233" y="176"/>
                </a:cubicBezTo>
                <a:cubicBezTo>
                  <a:pt x="337" y="176"/>
                  <a:pt x="337" y="176"/>
                  <a:pt x="337" y="176"/>
                </a:cubicBezTo>
                <a:cubicBezTo>
                  <a:pt x="337" y="224"/>
                  <a:pt x="337" y="224"/>
                  <a:pt x="337" y="224"/>
                </a:cubicBezTo>
                <a:lnTo>
                  <a:pt x="233" y="224"/>
                </a:lnTo>
                <a:close/>
                <a:moveTo>
                  <a:pt x="359" y="176"/>
                </a:moveTo>
                <a:cubicBezTo>
                  <a:pt x="451" y="176"/>
                  <a:pt x="451" y="176"/>
                  <a:pt x="451" y="176"/>
                </a:cubicBezTo>
                <a:cubicBezTo>
                  <a:pt x="451" y="224"/>
                  <a:pt x="451" y="224"/>
                  <a:pt x="451" y="224"/>
                </a:cubicBezTo>
                <a:cubicBezTo>
                  <a:pt x="359" y="224"/>
                  <a:pt x="359" y="224"/>
                  <a:pt x="359" y="224"/>
                </a:cubicBezTo>
                <a:lnTo>
                  <a:pt x="359" y="176"/>
                </a:lnTo>
                <a:close/>
                <a:moveTo>
                  <a:pt x="451" y="247"/>
                </a:moveTo>
                <a:cubicBezTo>
                  <a:pt x="451" y="292"/>
                  <a:pt x="451" y="292"/>
                  <a:pt x="451" y="292"/>
                </a:cubicBezTo>
                <a:cubicBezTo>
                  <a:pt x="359" y="292"/>
                  <a:pt x="359" y="292"/>
                  <a:pt x="359" y="292"/>
                </a:cubicBezTo>
                <a:cubicBezTo>
                  <a:pt x="359" y="247"/>
                  <a:pt x="359" y="247"/>
                  <a:pt x="359" y="247"/>
                </a:cubicBezTo>
                <a:lnTo>
                  <a:pt x="451" y="247"/>
                </a:lnTo>
                <a:close/>
                <a:moveTo>
                  <a:pt x="104" y="247"/>
                </a:moveTo>
                <a:cubicBezTo>
                  <a:pt x="178" y="247"/>
                  <a:pt x="178" y="247"/>
                  <a:pt x="178" y="247"/>
                </a:cubicBezTo>
                <a:cubicBezTo>
                  <a:pt x="104" y="263"/>
                  <a:pt x="104" y="263"/>
                  <a:pt x="104" y="263"/>
                </a:cubicBezTo>
                <a:lnTo>
                  <a:pt x="104" y="247"/>
                </a:lnTo>
                <a:close/>
                <a:moveTo>
                  <a:pt x="259" y="247"/>
                </a:moveTo>
                <a:cubicBezTo>
                  <a:pt x="337" y="247"/>
                  <a:pt x="337" y="247"/>
                  <a:pt x="337" y="247"/>
                </a:cubicBezTo>
                <a:cubicBezTo>
                  <a:pt x="337" y="292"/>
                  <a:pt x="337" y="292"/>
                  <a:pt x="337" y="292"/>
                </a:cubicBezTo>
                <a:cubicBezTo>
                  <a:pt x="250" y="292"/>
                  <a:pt x="250" y="292"/>
                  <a:pt x="250" y="292"/>
                </a:cubicBezTo>
                <a:lnTo>
                  <a:pt x="259" y="247"/>
                </a:lnTo>
                <a:close/>
                <a:moveTo>
                  <a:pt x="451" y="320"/>
                </a:moveTo>
                <a:cubicBezTo>
                  <a:pt x="451" y="369"/>
                  <a:pt x="451" y="369"/>
                  <a:pt x="451" y="369"/>
                </a:cubicBezTo>
                <a:cubicBezTo>
                  <a:pt x="359" y="369"/>
                  <a:pt x="359" y="369"/>
                  <a:pt x="359" y="369"/>
                </a:cubicBezTo>
                <a:cubicBezTo>
                  <a:pt x="359" y="320"/>
                  <a:pt x="359" y="320"/>
                  <a:pt x="359" y="320"/>
                </a:cubicBezTo>
                <a:lnTo>
                  <a:pt x="451" y="320"/>
                </a:lnTo>
                <a:close/>
                <a:moveTo>
                  <a:pt x="233" y="366"/>
                </a:moveTo>
                <a:cubicBezTo>
                  <a:pt x="243" y="320"/>
                  <a:pt x="243" y="320"/>
                  <a:pt x="243" y="320"/>
                </a:cubicBezTo>
                <a:cubicBezTo>
                  <a:pt x="337" y="320"/>
                  <a:pt x="337" y="320"/>
                  <a:pt x="337" y="320"/>
                </a:cubicBezTo>
                <a:cubicBezTo>
                  <a:pt x="337" y="366"/>
                  <a:pt x="337" y="366"/>
                  <a:pt x="337" y="366"/>
                </a:cubicBezTo>
                <a:lnTo>
                  <a:pt x="233" y="366"/>
                </a:lnTo>
                <a:close/>
              </a:path>
            </a:pathLst>
          </a:custGeom>
          <a:solidFill>
            <a:srgbClr val="FE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6" tIns="34294" rIns="68586" bIns="34294" numCol="1" anchor="t" anchorCtr="0" compatLnSpc="1">
            <a:prstTxWarp prst="textNoShape">
              <a:avLst/>
            </a:prstTxWarp>
          </a:bodyPr>
          <a:lstStyle/>
          <a:p>
            <a:endParaRPr lang="en-US">
              <a:solidFill>
                <a:schemeClr val="bg1"/>
              </a:solidFill>
              <a:sym typeface="Segoe UI"/>
            </a:endParaRPr>
          </a:p>
        </p:txBody>
      </p:sp>
      <p:pic>
        <p:nvPicPr>
          <p:cNvPr id="33" name="Picture 3" descr="\\MAGNUM\Projects\Microsoft\Cloud Power FY12\Design\Icons\PNGs\Scalable_Elastic_4.png"/>
          <p:cNvPicPr>
            <a:picLocks noChangeAspect="1" noChangeArrowheads="1"/>
          </p:cNvPicPr>
          <p:nvPr>
            <p:custDataLst>
              <p:tags r:id="rId7"/>
            </p:custDataLst>
          </p:nvPr>
        </p:nvPicPr>
        <p:blipFill rotWithShape="1">
          <a:blip r:embed="rId21" cstate="print">
            <a:extLst>
              <a:ext uri="{BEBA8EAE-BF5A-486C-A8C5-ECC9F3942E4B}">
                <a14:imgProps xmlns:a14="http://schemas.microsoft.com/office/drawing/2010/main">
                  <a14:imgLayer r:embed="rId22">
                    <a14:imgEffect>
                      <a14:brightnessContrast bright="100000" contrast="100000"/>
                    </a14:imgEffect>
                  </a14:imgLayer>
                </a14:imgProps>
              </a:ext>
            </a:extLst>
          </a:blip>
          <a:srcRect l="11945" t="14213" r="14645" b="17001"/>
          <a:stretch/>
        </p:blipFill>
        <p:spPr bwMode="auto">
          <a:xfrm>
            <a:off x="3340803" y="3391312"/>
            <a:ext cx="1161302" cy="1088150"/>
          </a:xfrm>
          <a:prstGeom prst="rect">
            <a:avLst/>
          </a:prstGeom>
          <a:noFill/>
          <a:ln>
            <a:noFill/>
          </a:ln>
        </p:spPr>
      </p:pic>
      <p:sp>
        <p:nvSpPr>
          <p:cNvPr id="29" name="Rectangle 28"/>
          <p:cNvSpPr/>
          <p:nvPr>
            <p:custDataLst>
              <p:tags r:id="rId8"/>
            </p:custDataLst>
          </p:nvPr>
        </p:nvSpPr>
        <p:spPr bwMode="auto">
          <a:xfrm>
            <a:off x="4664531" y="1078824"/>
            <a:ext cx="1426464" cy="3505200"/>
          </a:xfrm>
          <a:prstGeom prst="rect">
            <a:avLst/>
          </a:prstGeom>
          <a:solidFill>
            <a:schemeClr val="tx2"/>
          </a:solidFill>
          <a:ln w="9525" cap="flat" cmpd="sng" algn="ctr">
            <a:noFill/>
            <a:prstDash val="solid"/>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34294" tIns="34294" rIns="34294" bIns="34294" numCol="1" rtlCol="0" anchor="b" anchorCtr="0" compatLnSpc="1">
            <a:prstTxWarp prst="textNoShape">
              <a:avLst/>
            </a:prstTxWarp>
          </a:bodyPr>
          <a:lstStyle/>
          <a:p>
            <a:pPr algn="ctr" defTabSz="914023" fontAlgn="base">
              <a:spcBef>
                <a:spcPct val="0"/>
              </a:spcBef>
              <a:spcAft>
                <a:spcPct val="0"/>
              </a:spcAft>
            </a:pPr>
            <a:r>
              <a:rPr lang="en-US" dirty="0">
                <a:solidFill>
                  <a:schemeClr val="tx1"/>
                </a:solidFill>
                <a:sym typeface="Segoe UI"/>
              </a:rPr>
              <a:t>Increase Maturity</a:t>
            </a:r>
          </a:p>
        </p:txBody>
      </p:sp>
      <p:sp>
        <p:nvSpPr>
          <p:cNvPr id="41" name="Freeform 11"/>
          <p:cNvSpPr>
            <a:spLocks noEditPoints="1"/>
          </p:cNvSpPr>
          <p:nvPr/>
        </p:nvSpPr>
        <p:spPr bwMode="auto">
          <a:xfrm>
            <a:off x="4888880" y="2342541"/>
            <a:ext cx="977766" cy="977766"/>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tx1"/>
          </a:solidFill>
          <a:ln>
            <a:noFill/>
          </a:ln>
        </p:spPr>
        <p:txBody>
          <a:bodyPr vert="horz" wrap="square" lIns="68586" tIns="34294" rIns="68586" bIns="34294" numCol="1" anchor="t" anchorCtr="0" compatLnSpc="1">
            <a:prstTxWarp prst="textNoShape">
              <a:avLst/>
            </a:prstTxWarp>
          </a:bodyPr>
          <a:lstStyle/>
          <a:p>
            <a:endParaRPr lang="en-US">
              <a:solidFill>
                <a:schemeClr val="bg1"/>
              </a:solidFill>
            </a:endParaRPr>
          </a:p>
        </p:txBody>
      </p:sp>
      <p:sp>
        <p:nvSpPr>
          <p:cNvPr id="22"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4"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3"/>
              </a:rPr>
              <a:t>www.rapidbbs.cn</a:t>
            </a:r>
            <a:endParaRPr lang="zh-CN" altLang="en-US" sz="1200" b="0">
              <a:latin typeface="Arial" charset="0"/>
              <a:ea typeface="ＭＳ Ｐゴシック" pitchFamily="34" charset="-128"/>
            </a:endParaRPr>
          </a:p>
        </p:txBody>
      </p:sp>
      <p:pic>
        <p:nvPicPr>
          <p:cNvPr id="25" name="Picture 2">
            <a:hlinkClick r:id="rId23"/>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5373136"/>
      </p:ext>
    </p:extLst>
  </p:cSld>
  <p:clrMapOvr>
    <a:masterClrMapping/>
  </p:clrMapOvr>
  <p:transition>
    <p:fade/>
  </p:transition>
  <p:timing>
    <p:tnLst>
      <p:par>
        <p:cTn id="1" dur="indefinite" restart="never" nodeType="tmRoot"/>
      </p:par>
    </p:tnLst>
  </p:timing>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1121846"/>
          </a:xfrm>
        </p:spPr>
        <p:txBody>
          <a:bodyPr/>
          <a:lstStyle/>
          <a:p>
            <a:r>
              <a:rPr lang="en-US" dirty="0" smtClean="0"/>
              <a:t>VISION</a:t>
            </a:r>
            <a:br>
              <a:rPr lang="en-US" dirty="0" smtClean="0"/>
            </a:br>
            <a:r>
              <a:rPr lang="en-US" sz="2400" dirty="0">
                <a:solidFill>
                  <a:schemeClr val="tx1"/>
                </a:solidFill>
                <a:ea typeface="Segoe UI" pitchFamily="34" charset="0"/>
              </a:rPr>
              <a:t>Deliver the best Windows experience, embrace </a:t>
            </a:r>
            <a:r>
              <a:rPr lang="en-US" sz="2400" dirty="0" err="1">
                <a:solidFill>
                  <a:schemeClr val="tx1"/>
                </a:solidFill>
                <a:ea typeface="Segoe UI" pitchFamily="34" charset="0"/>
              </a:rPr>
              <a:t>consumerization</a:t>
            </a:r>
            <a:r>
              <a:rPr lang="en-US" sz="2400" dirty="0">
                <a:solidFill>
                  <a:schemeClr val="tx1"/>
                </a:solidFill>
                <a:ea typeface="Segoe UI" pitchFamily="34" charset="0"/>
              </a:rPr>
              <a:t> trends with  enterprise-class management</a:t>
            </a:r>
            <a:endParaRPr lang="en-US" dirty="0">
              <a:solidFill>
                <a:schemeClr val="tx1"/>
              </a:solidFill>
              <a:ea typeface="Segoe UI" pitchFamily="34" charset="0"/>
            </a:endParaRPr>
          </a:p>
        </p:txBody>
      </p:sp>
      <p:grpSp>
        <p:nvGrpSpPr>
          <p:cNvPr id="49" name="Group 48"/>
          <p:cNvGrpSpPr/>
          <p:nvPr/>
        </p:nvGrpSpPr>
        <p:grpSpPr>
          <a:xfrm>
            <a:off x="2571229" y="1558157"/>
            <a:ext cx="1920740" cy="3118679"/>
            <a:chOff x="3427412" y="2077540"/>
            <a:chExt cx="2560320" cy="4158239"/>
          </a:xfrm>
        </p:grpSpPr>
        <p:grpSp>
          <p:nvGrpSpPr>
            <p:cNvPr id="44" name="Group 43"/>
            <p:cNvGrpSpPr/>
            <p:nvPr/>
          </p:nvGrpSpPr>
          <p:grpSpPr>
            <a:xfrm>
              <a:off x="3427412" y="2077540"/>
              <a:ext cx="2560320" cy="4158239"/>
              <a:chOff x="3275012" y="1828800"/>
              <a:chExt cx="2209800" cy="4158239"/>
            </a:xfrm>
          </p:grpSpPr>
          <p:sp>
            <p:nvSpPr>
              <p:cNvPr id="36" name="Rectangle 35"/>
              <p:cNvSpPr/>
              <p:nvPr/>
            </p:nvSpPr>
            <p:spPr bwMode="auto">
              <a:xfrm>
                <a:off x="3275012" y="1828800"/>
                <a:ext cx="2209800" cy="3124200"/>
              </a:xfrm>
              <a:prstGeom prst="rect">
                <a:avLst/>
              </a:prstGeom>
              <a:solidFill>
                <a:srgbClr val="0070C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defTabSz="685637"/>
                <a:r>
                  <a:rPr lang="en-US" sz="1800" dirty="0">
                    <a:solidFill>
                      <a:srgbClr val="FFFFFF">
                        <a:alpha val="98824"/>
                      </a:srgbClr>
                    </a:solidFill>
                    <a:latin typeface="+mj-lt"/>
                    <a:ea typeface="Segoe UI" pitchFamily="34" charset="0"/>
                    <a:cs typeface="Segoe UI" pitchFamily="34" charset="0"/>
                  </a:rPr>
                  <a:t>COMPLEMENT TO SCCM</a:t>
                </a:r>
              </a:p>
            </p:txBody>
          </p:sp>
          <p:sp>
            <p:nvSpPr>
              <p:cNvPr id="37" name="Rectangle 36"/>
              <p:cNvSpPr/>
              <p:nvPr/>
            </p:nvSpPr>
            <p:spPr bwMode="auto">
              <a:xfrm>
                <a:off x="3275012" y="4475660"/>
                <a:ext cx="2209800" cy="1511379"/>
              </a:xfrm>
              <a:prstGeom prst="rect">
                <a:avLst/>
              </a:prstGeom>
              <a:solidFill>
                <a:schemeClr val="accent1">
                  <a:lumMod val="75000"/>
                  <a:lumOff val="2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b" anchorCtr="0" compatLnSpc="1">
                <a:prstTxWarp prst="textNoShape">
                  <a:avLst/>
                </a:prstTxWarp>
              </a:bodyPr>
              <a:lstStyle/>
              <a:p>
                <a:pPr defTabSz="685637"/>
                <a:r>
                  <a:rPr lang="en-US" dirty="0">
                    <a:solidFill>
                      <a:srgbClr val="FFFFFF">
                        <a:alpha val="98824"/>
                      </a:srgbClr>
                    </a:solidFill>
                    <a:latin typeface="+mj-lt"/>
                    <a:ea typeface="Segoe UI" pitchFamily="34" charset="0"/>
                    <a:cs typeface="Segoe UI" pitchFamily="34" charset="0"/>
                  </a:rPr>
                  <a:t>Deliver simplified, enterprise-class management for IT with less costs and higher productivity</a:t>
                </a:r>
                <a:endParaRPr lang="en-US" dirty="0" smtClean="0">
                  <a:solidFill>
                    <a:srgbClr val="FFFFFF">
                      <a:alpha val="98824"/>
                    </a:srgbClr>
                  </a:solidFill>
                  <a:latin typeface="+mj-lt"/>
                  <a:ea typeface="Segoe UI" pitchFamily="34" charset="0"/>
                  <a:cs typeface="Segoe UI" pitchFamily="34" charset="0"/>
                </a:endParaRPr>
              </a:p>
            </p:txBody>
          </p:sp>
        </p:grpSp>
        <p:grpSp>
          <p:nvGrpSpPr>
            <p:cNvPr id="8" name="Group 7"/>
            <p:cNvGrpSpPr>
              <a:grpSpLocks noChangeAspect="1"/>
            </p:cNvGrpSpPr>
            <p:nvPr/>
          </p:nvGrpSpPr>
          <p:grpSpPr bwMode="black">
            <a:xfrm>
              <a:off x="4109109" y="3120057"/>
              <a:ext cx="1196926" cy="1039165"/>
              <a:chOff x="2462213" y="1598613"/>
              <a:chExt cx="4222750" cy="3667125"/>
            </a:xfrm>
          </p:grpSpPr>
          <p:sp>
            <p:nvSpPr>
              <p:cNvPr id="9" name="Rectangle 6"/>
              <p:cNvSpPr>
                <a:spLocks noChangeArrowheads="1"/>
              </p:cNvSpPr>
              <p:nvPr/>
            </p:nvSpPr>
            <p:spPr bwMode="black">
              <a:xfrm>
                <a:off x="5564188"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 name="Rectangle 7"/>
              <p:cNvSpPr>
                <a:spLocks noChangeArrowheads="1"/>
              </p:cNvSpPr>
              <p:nvPr/>
            </p:nvSpPr>
            <p:spPr bwMode="black">
              <a:xfrm>
                <a:off x="5795963" y="3346451"/>
                <a:ext cx="112713"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 name="Rectangle 8"/>
              <p:cNvSpPr>
                <a:spLocks noChangeArrowheads="1"/>
              </p:cNvSpPr>
              <p:nvPr/>
            </p:nvSpPr>
            <p:spPr bwMode="black">
              <a:xfrm>
                <a:off x="3092451"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 name="Rectangle 9"/>
              <p:cNvSpPr>
                <a:spLocks noChangeArrowheads="1"/>
              </p:cNvSpPr>
              <p:nvPr/>
            </p:nvSpPr>
            <p:spPr bwMode="black">
              <a:xfrm>
                <a:off x="3324226" y="3346451"/>
                <a:ext cx="117475"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 name="Freeform 10"/>
              <p:cNvSpPr>
                <a:spLocks/>
              </p:cNvSpPr>
              <p:nvPr/>
            </p:nvSpPr>
            <p:spPr bwMode="black">
              <a:xfrm>
                <a:off x="3902076" y="2506663"/>
                <a:ext cx="101600" cy="123825"/>
              </a:xfrm>
              <a:custGeom>
                <a:avLst/>
                <a:gdLst>
                  <a:gd name="T0" fmla="*/ 36 w 64"/>
                  <a:gd name="T1" fmla="*/ 78 h 78"/>
                  <a:gd name="T2" fmla="*/ 64 w 64"/>
                  <a:gd name="T3" fmla="*/ 64 h 78"/>
                  <a:gd name="T4" fmla="*/ 26 w 64"/>
                  <a:gd name="T5" fmla="*/ 0 h 78"/>
                  <a:gd name="T6" fmla="*/ 0 w 64"/>
                  <a:gd name="T7" fmla="*/ 17 h 78"/>
                  <a:gd name="T8" fmla="*/ 36 w 64"/>
                  <a:gd name="T9" fmla="*/ 78 h 78"/>
                </a:gdLst>
                <a:ahLst/>
                <a:cxnLst>
                  <a:cxn ang="0">
                    <a:pos x="T0" y="T1"/>
                  </a:cxn>
                  <a:cxn ang="0">
                    <a:pos x="T2" y="T3"/>
                  </a:cxn>
                  <a:cxn ang="0">
                    <a:pos x="T4" y="T5"/>
                  </a:cxn>
                  <a:cxn ang="0">
                    <a:pos x="T6" y="T7"/>
                  </a:cxn>
                  <a:cxn ang="0">
                    <a:pos x="T8" y="T9"/>
                  </a:cxn>
                </a:cxnLst>
                <a:rect l="0" t="0" r="r" b="b"/>
                <a:pathLst>
                  <a:path w="64" h="78">
                    <a:moveTo>
                      <a:pt x="36" y="78"/>
                    </a:moveTo>
                    <a:lnTo>
                      <a:pt x="64" y="64"/>
                    </a:lnTo>
                    <a:lnTo>
                      <a:pt x="26" y="0"/>
                    </a:lnTo>
                    <a:lnTo>
                      <a:pt x="0" y="17"/>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 name="Freeform 11"/>
              <p:cNvSpPr>
                <a:spLocks/>
              </p:cNvSpPr>
              <p:nvPr/>
            </p:nvSpPr>
            <p:spPr bwMode="black">
              <a:xfrm>
                <a:off x="4017963" y="2709863"/>
                <a:ext cx="98425" cy="123825"/>
              </a:xfrm>
              <a:custGeom>
                <a:avLst/>
                <a:gdLst>
                  <a:gd name="T0" fmla="*/ 36 w 62"/>
                  <a:gd name="T1" fmla="*/ 78 h 78"/>
                  <a:gd name="T2" fmla="*/ 62 w 62"/>
                  <a:gd name="T3" fmla="*/ 61 h 78"/>
                  <a:gd name="T4" fmla="*/ 26 w 62"/>
                  <a:gd name="T5" fmla="*/ 0 h 78"/>
                  <a:gd name="T6" fmla="*/ 0 w 62"/>
                  <a:gd name="T7" fmla="*/ 14 h 78"/>
                  <a:gd name="T8" fmla="*/ 36 w 62"/>
                  <a:gd name="T9" fmla="*/ 78 h 78"/>
                </a:gdLst>
                <a:ahLst/>
                <a:cxnLst>
                  <a:cxn ang="0">
                    <a:pos x="T0" y="T1"/>
                  </a:cxn>
                  <a:cxn ang="0">
                    <a:pos x="T2" y="T3"/>
                  </a:cxn>
                  <a:cxn ang="0">
                    <a:pos x="T4" y="T5"/>
                  </a:cxn>
                  <a:cxn ang="0">
                    <a:pos x="T6" y="T7"/>
                  </a:cxn>
                  <a:cxn ang="0">
                    <a:pos x="T8" y="T9"/>
                  </a:cxn>
                </a:cxnLst>
                <a:rect l="0" t="0" r="r" b="b"/>
                <a:pathLst>
                  <a:path w="62" h="78">
                    <a:moveTo>
                      <a:pt x="36" y="78"/>
                    </a:moveTo>
                    <a:lnTo>
                      <a:pt x="62" y="61"/>
                    </a:lnTo>
                    <a:lnTo>
                      <a:pt x="26" y="0"/>
                    </a:lnTo>
                    <a:lnTo>
                      <a:pt x="0" y="14"/>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 name="Freeform 12"/>
              <p:cNvSpPr>
                <a:spLocks/>
              </p:cNvSpPr>
              <p:nvPr/>
            </p:nvSpPr>
            <p:spPr bwMode="black">
              <a:xfrm>
                <a:off x="4873626" y="2709863"/>
                <a:ext cx="98425" cy="123825"/>
              </a:xfrm>
              <a:custGeom>
                <a:avLst/>
                <a:gdLst>
                  <a:gd name="T0" fmla="*/ 26 w 62"/>
                  <a:gd name="T1" fmla="*/ 78 h 78"/>
                  <a:gd name="T2" fmla="*/ 62 w 62"/>
                  <a:gd name="T3" fmla="*/ 14 h 78"/>
                  <a:gd name="T4" fmla="*/ 36 w 62"/>
                  <a:gd name="T5" fmla="*/ 0 h 78"/>
                  <a:gd name="T6" fmla="*/ 0 w 62"/>
                  <a:gd name="T7" fmla="*/ 61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4"/>
                    </a:lnTo>
                    <a:lnTo>
                      <a:pt x="36" y="0"/>
                    </a:lnTo>
                    <a:lnTo>
                      <a:pt x="0" y="61"/>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 name="Freeform 13"/>
              <p:cNvSpPr>
                <a:spLocks/>
              </p:cNvSpPr>
              <p:nvPr/>
            </p:nvSpPr>
            <p:spPr bwMode="black">
              <a:xfrm>
                <a:off x="4989513" y="2506663"/>
                <a:ext cx="98425" cy="123825"/>
              </a:xfrm>
              <a:custGeom>
                <a:avLst/>
                <a:gdLst>
                  <a:gd name="T0" fmla="*/ 26 w 62"/>
                  <a:gd name="T1" fmla="*/ 78 h 78"/>
                  <a:gd name="T2" fmla="*/ 62 w 62"/>
                  <a:gd name="T3" fmla="*/ 17 h 78"/>
                  <a:gd name="T4" fmla="*/ 36 w 62"/>
                  <a:gd name="T5" fmla="*/ 0 h 78"/>
                  <a:gd name="T6" fmla="*/ 0 w 62"/>
                  <a:gd name="T7" fmla="*/ 64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7"/>
                    </a:lnTo>
                    <a:lnTo>
                      <a:pt x="36" y="0"/>
                    </a:lnTo>
                    <a:lnTo>
                      <a:pt x="0" y="64"/>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 name="Freeform 14"/>
              <p:cNvSpPr>
                <a:spLocks/>
              </p:cNvSpPr>
              <p:nvPr/>
            </p:nvSpPr>
            <p:spPr bwMode="black">
              <a:xfrm>
                <a:off x="4017963" y="3990976"/>
                <a:ext cx="98425" cy="123825"/>
              </a:xfrm>
              <a:custGeom>
                <a:avLst/>
                <a:gdLst>
                  <a:gd name="T0" fmla="*/ 0 w 62"/>
                  <a:gd name="T1" fmla="*/ 64 h 78"/>
                  <a:gd name="T2" fmla="*/ 26 w 62"/>
                  <a:gd name="T3" fmla="*/ 78 h 78"/>
                  <a:gd name="T4" fmla="*/ 62 w 62"/>
                  <a:gd name="T5" fmla="*/ 14 h 78"/>
                  <a:gd name="T6" fmla="*/ 36 w 62"/>
                  <a:gd name="T7" fmla="*/ 0 h 78"/>
                  <a:gd name="T8" fmla="*/ 0 w 62"/>
                  <a:gd name="T9" fmla="*/ 64 h 78"/>
                </a:gdLst>
                <a:ahLst/>
                <a:cxnLst>
                  <a:cxn ang="0">
                    <a:pos x="T0" y="T1"/>
                  </a:cxn>
                  <a:cxn ang="0">
                    <a:pos x="T2" y="T3"/>
                  </a:cxn>
                  <a:cxn ang="0">
                    <a:pos x="T4" y="T5"/>
                  </a:cxn>
                  <a:cxn ang="0">
                    <a:pos x="T6" y="T7"/>
                  </a:cxn>
                  <a:cxn ang="0">
                    <a:pos x="T8" y="T9"/>
                  </a:cxn>
                </a:cxnLst>
                <a:rect l="0" t="0" r="r" b="b"/>
                <a:pathLst>
                  <a:path w="62" h="78">
                    <a:moveTo>
                      <a:pt x="0" y="64"/>
                    </a:moveTo>
                    <a:lnTo>
                      <a:pt x="26" y="78"/>
                    </a:lnTo>
                    <a:lnTo>
                      <a:pt x="62" y="14"/>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8" name="Freeform 15"/>
              <p:cNvSpPr>
                <a:spLocks/>
              </p:cNvSpPr>
              <p:nvPr/>
            </p:nvSpPr>
            <p:spPr bwMode="black">
              <a:xfrm>
                <a:off x="3902076" y="4189413"/>
                <a:ext cx="101600" cy="128588"/>
              </a:xfrm>
              <a:custGeom>
                <a:avLst/>
                <a:gdLst>
                  <a:gd name="T0" fmla="*/ 0 w 64"/>
                  <a:gd name="T1" fmla="*/ 64 h 81"/>
                  <a:gd name="T2" fmla="*/ 26 w 64"/>
                  <a:gd name="T3" fmla="*/ 81 h 81"/>
                  <a:gd name="T4" fmla="*/ 64 w 64"/>
                  <a:gd name="T5" fmla="*/ 17 h 81"/>
                  <a:gd name="T6" fmla="*/ 36 w 64"/>
                  <a:gd name="T7" fmla="*/ 0 h 81"/>
                  <a:gd name="T8" fmla="*/ 0 w 64"/>
                  <a:gd name="T9" fmla="*/ 64 h 81"/>
                </a:gdLst>
                <a:ahLst/>
                <a:cxnLst>
                  <a:cxn ang="0">
                    <a:pos x="T0" y="T1"/>
                  </a:cxn>
                  <a:cxn ang="0">
                    <a:pos x="T2" y="T3"/>
                  </a:cxn>
                  <a:cxn ang="0">
                    <a:pos x="T4" y="T5"/>
                  </a:cxn>
                  <a:cxn ang="0">
                    <a:pos x="T6" y="T7"/>
                  </a:cxn>
                  <a:cxn ang="0">
                    <a:pos x="T8" y="T9"/>
                  </a:cxn>
                </a:cxnLst>
                <a:rect l="0" t="0" r="r" b="b"/>
                <a:pathLst>
                  <a:path w="64" h="81">
                    <a:moveTo>
                      <a:pt x="0" y="64"/>
                    </a:moveTo>
                    <a:lnTo>
                      <a:pt x="26" y="81"/>
                    </a:lnTo>
                    <a:lnTo>
                      <a:pt x="64" y="17"/>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9" name="Freeform 16"/>
              <p:cNvSpPr>
                <a:spLocks/>
              </p:cNvSpPr>
              <p:nvPr/>
            </p:nvSpPr>
            <p:spPr bwMode="black">
              <a:xfrm>
                <a:off x="4989513" y="4189413"/>
                <a:ext cx="98425" cy="128588"/>
              </a:xfrm>
              <a:custGeom>
                <a:avLst/>
                <a:gdLst>
                  <a:gd name="T0" fmla="*/ 26 w 62"/>
                  <a:gd name="T1" fmla="*/ 0 h 81"/>
                  <a:gd name="T2" fmla="*/ 0 w 62"/>
                  <a:gd name="T3" fmla="*/ 17 h 81"/>
                  <a:gd name="T4" fmla="*/ 36 w 62"/>
                  <a:gd name="T5" fmla="*/ 81 h 81"/>
                  <a:gd name="T6" fmla="*/ 62 w 62"/>
                  <a:gd name="T7" fmla="*/ 64 h 81"/>
                  <a:gd name="T8" fmla="*/ 26 w 62"/>
                  <a:gd name="T9" fmla="*/ 0 h 81"/>
                </a:gdLst>
                <a:ahLst/>
                <a:cxnLst>
                  <a:cxn ang="0">
                    <a:pos x="T0" y="T1"/>
                  </a:cxn>
                  <a:cxn ang="0">
                    <a:pos x="T2" y="T3"/>
                  </a:cxn>
                  <a:cxn ang="0">
                    <a:pos x="T4" y="T5"/>
                  </a:cxn>
                  <a:cxn ang="0">
                    <a:pos x="T6" y="T7"/>
                  </a:cxn>
                  <a:cxn ang="0">
                    <a:pos x="T8" y="T9"/>
                  </a:cxn>
                </a:cxnLst>
                <a:rect l="0" t="0" r="r" b="b"/>
                <a:pathLst>
                  <a:path w="62" h="81">
                    <a:moveTo>
                      <a:pt x="26" y="0"/>
                    </a:moveTo>
                    <a:lnTo>
                      <a:pt x="0" y="17"/>
                    </a:lnTo>
                    <a:lnTo>
                      <a:pt x="36" y="81"/>
                    </a:lnTo>
                    <a:lnTo>
                      <a:pt x="62" y="64"/>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0" name="Freeform 17"/>
              <p:cNvSpPr>
                <a:spLocks/>
              </p:cNvSpPr>
              <p:nvPr/>
            </p:nvSpPr>
            <p:spPr bwMode="black">
              <a:xfrm>
                <a:off x="4873626" y="3990976"/>
                <a:ext cx="98425" cy="123825"/>
              </a:xfrm>
              <a:custGeom>
                <a:avLst/>
                <a:gdLst>
                  <a:gd name="T0" fmla="*/ 0 w 62"/>
                  <a:gd name="T1" fmla="*/ 14 h 78"/>
                  <a:gd name="T2" fmla="*/ 36 w 62"/>
                  <a:gd name="T3" fmla="*/ 78 h 78"/>
                  <a:gd name="T4" fmla="*/ 62 w 62"/>
                  <a:gd name="T5" fmla="*/ 64 h 78"/>
                  <a:gd name="T6" fmla="*/ 26 w 62"/>
                  <a:gd name="T7" fmla="*/ 0 h 78"/>
                  <a:gd name="T8" fmla="*/ 0 w 62"/>
                  <a:gd name="T9" fmla="*/ 14 h 78"/>
                </a:gdLst>
                <a:ahLst/>
                <a:cxnLst>
                  <a:cxn ang="0">
                    <a:pos x="T0" y="T1"/>
                  </a:cxn>
                  <a:cxn ang="0">
                    <a:pos x="T2" y="T3"/>
                  </a:cxn>
                  <a:cxn ang="0">
                    <a:pos x="T4" y="T5"/>
                  </a:cxn>
                  <a:cxn ang="0">
                    <a:pos x="T6" y="T7"/>
                  </a:cxn>
                  <a:cxn ang="0">
                    <a:pos x="T8" y="T9"/>
                  </a:cxn>
                </a:cxnLst>
                <a:rect l="0" t="0" r="r" b="b"/>
                <a:pathLst>
                  <a:path w="62" h="78">
                    <a:moveTo>
                      <a:pt x="0" y="14"/>
                    </a:moveTo>
                    <a:lnTo>
                      <a:pt x="36" y="78"/>
                    </a:lnTo>
                    <a:lnTo>
                      <a:pt x="62" y="64"/>
                    </a:lnTo>
                    <a:lnTo>
                      <a:pt x="26" y="0"/>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1" name="Freeform 18"/>
              <p:cNvSpPr>
                <a:spLocks/>
              </p:cNvSpPr>
              <p:nvPr/>
            </p:nvSpPr>
            <p:spPr bwMode="black">
              <a:xfrm>
                <a:off x="3579813" y="2892426"/>
                <a:ext cx="1833563" cy="1068388"/>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2" name="Freeform 19"/>
              <p:cNvSpPr>
                <a:spLocks noEditPoints="1"/>
              </p:cNvSpPr>
              <p:nvPr/>
            </p:nvSpPr>
            <p:spPr bwMode="black">
              <a:xfrm>
                <a:off x="3321051" y="1598613"/>
                <a:ext cx="750888" cy="522288"/>
              </a:xfrm>
              <a:custGeom>
                <a:avLst/>
                <a:gdLst>
                  <a:gd name="T0" fmla="*/ 174 w 200"/>
                  <a:gd name="T1" fmla="*/ 0 h 139"/>
                  <a:gd name="T2" fmla="*/ 26 w 200"/>
                  <a:gd name="T3" fmla="*/ 0 h 139"/>
                  <a:gd name="T4" fmla="*/ 0 w 200"/>
                  <a:gd name="T5" fmla="*/ 27 h 139"/>
                  <a:gd name="T6" fmla="*/ 0 w 200"/>
                  <a:gd name="T7" fmla="*/ 113 h 139"/>
                  <a:gd name="T8" fmla="*/ 26 w 200"/>
                  <a:gd name="T9" fmla="*/ 139 h 139"/>
                  <a:gd name="T10" fmla="*/ 174 w 200"/>
                  <a:gd name="T11" fmla="*/ 139 h 139"/>
                  <a:gd name="T12" fmla="*/ 200 w 200"/>
                  <a:gd name="T13" fmla="*/ 113 h 139"/>
                  <a:gd name="T14" fmla="*/ 200 w 200"/>
                  <a:gd name="T15" fmla="*/ 27 h 139"/>
                  <a:gd name="T16" fmla="*/ 174 w 200"/>
                  <a:gd name="T17" fmla="*/ 0 h 139"/>
                  <a:gd name="T18" fmla="*/ 185 w 200"/>
                  <a:gd name="T19" fmla="*/ 113 h 139"/>
                  <a:gd name="T20" fmla="*/ 174 w 200"/>
                  <a:gd name="T21" fmla="*/ 124 h 139"/>
                  <a:gd name="T22" fmla="*/ 26 w 200"/>
                  <a:gd name="T23" fmla="*/ 124 h 139"/>
                  <a:gd name="T24" fmla="*/ 15 w 200"/>
                  <a:gd name="T25" fmla="*/ 113 h 139"/>
                  <a:gd name="T26" fmla="*/ 15 w 200"/>
                  <a:gd name="T27" fmla="*/ 27 h 139"/>
                  <a:gd name="T28" fmla="*/ 26 w 200"/>
                  <a:gd name="T29" fmla="*/ 16 h 139"/>
                  <a:gd name="T30" fmla="*/ 174 w 200"/>
                  <a:gd name="T31" fmla="*/ 16 h 139"/>
                  <a:gd name="T32" fmla="*/ 185 w 200"/>
                  <a:gd name="T33" fmla="*/ 27 h 139"/>
                  <a:gd name="T34" fmla="*/ 185 w 200"/>
                  <a:gd name="T35" fmla="*/ 11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39">
                    <a:moveTo>
                      <a:pt x="174" y="0"/>
                    </a:moveTo>
                    <a:cubicBezTo>
                      <a:pt x="26" y="0"/>
                      <a:pt x="26" y="0"/>
                      <a:pt x="26" y="0"/>
                    </a:cubicBezTo>
                    <a:cubicBezTo>
                      <a:pt x="12" y="0"/>
                      <a:pt x="0" y="12"/>
                      <a:pt x="0" y="27"/>
                    </a:cubicBezTo>
                    <a:cubicBezTo>
                      <a:pt x="0" y="113"/>
                      <a:pt x="0" y="113"/>
                      <a:pt x="0" y="113"/>
                    </a:cubicBezTo>
                    <a:cubicBezTo>
                      <a:pt x="0" y="127"/>
                      <a:pt x="12" y="139"/>
                      <a:pt x="26" y="139"/>
                    </a:cubicBezTo>
                    <a:cubicBezTo>
                      <a:pt x="174" y="139"/>
                      <a:pt x="174" y="139"/>
                      <a:pt x="174" y="139"/>
                    </a:cubicBezTo>
                    <a:cubicBezTo>
                      <a:pt x="188" y="139"/>
                      <a:pt x="200" y="127"/>
                      <a:pt x="200" y="113"/>
                    </a:cubicBezTo>
                    <a:cubicBezTo>
                      <a:pt x="200" y="27"/>
                      <a:pt x="200" y="27"/>
                      <a:pt x="200" y="27"/>
                    </a:cubicBezTo>
                    <a:cubicBezTo>
                      <a:pt x="200" y="12"/>
                      <a:pt x="188" y="0"/>
                      <a:pt x="174" y="0"/>
                    </a:cubicBezTo>
                    <a:moveTo>
                      <a:pt x="185" y="113"/>
                    </a:moveTo>
                    <a:cubicBezTo>
                      <a:pt x="185" y="119"/>
                      <a:pt x="180" y="124"/>
                      <a:pt x="174" y="124"/>
                    </a:cubicBezTo>
                    <a:cubicBezTo>
                      <a:pt x="26" y="124"/>
                      <a:pt x="26" y="124"/>
                      <a:pt x="26" y="124"/>
                    </a:cubicBezTo>
                    <a:cubicBezTo>
                      <a:pt x="20" y="124"/>
                      <a:pt x="15" y="119"/>
                      <a:pt x="15" y="113"/>
                    </a:cubicBezTo>
                    <a:cubicBezTo>
                      <a:pt x="15" y="27"/>
                      <a:pt x="15" y="27"/>
                      <a:pt x="15" y="27"/>
                    </a:cubicBezTo>
                    <a:cubicBezTo>
                      <a:pt x="15" y="21"/>
                      <a:pt x="20" y="16"/>
                      <a:pt x="26" y="16"/>
                    </a:cubicBezTo>
                    <a:cubicBezTo>
                      <a:pt x="174" y="16"/>
                      <a:pt x="174" y="16"/>
                      <a:pt x="174" y="16"/>
                    </a:cubicBezTo>
                    <a:cubicBezTo>
                      <a:pt x="180" y="16"/>
                      <a:pt x="185" y="21"/>
                      <a:pt x="185" y="27"/>
                    </a:cubicBezTo>
                    <a:lnTo>
                      <a:pt x="185" y="1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3" name="Freeform 20"/>
              <p:cNvSpPr>
                <a:spLocks/>
              </p:cNvSpPr>
              <p:nvPr/>
            </p:nvSpPr>
            <p:spPr bwMode="black">
              <a:xfrm>
                <a:off x="3178176" y="2154238"/>
                <a:ext cx="1035050" cy="239713"/>
              </a:xfrm>
              <a:custGeom>
                <a:avLst/>
                <a:gdLst>
                  <a:gd name="T0" fmla="*/ 7 w 276"/>
                  <a:gd name="T1" fmla="*/ 64 h 64"/>
                  <a:gd name="T2" fmla="*/ 269 w 276"/>
                  <a:gd name="T3" fmla="*/ 64 h 64"/>
                  <a:gd name="T4" fmla="*/ 276 w 276"/>
                  <a:gd name="T5" fmla="*/ 57 h 64"/>
                  <a:gd name="T6" fmla="*/ 276 w 276"/>
                  <a:gd name="T7" fmla="*/ 54 h 64"/>
                  <a:gd name="T8" fmla="*/ 272 w 276"/>
                  <a:gd name="T9" fmla="*/ 42 h 64"/>
                  <a:gd name="T10" fmla="*/ 240 w 276"/>
                  <a:gd name="T11" fmla="*/ 5 h 64"/>
                  <a:gd name="T12" fmla="*/ 229 w 276"/>
                  <a:gd name="T13" fmla="*/ 0 h 64"/>
                  <a:gd name="T14" fmla="*/ 47 w 276"/>
                  <a:gd name="T15" fmla="*/ 0 h 64"/>
                  <a:gd name="T16" fmla="*/ 36 w 276"/>
                  <a:gd name="T17" fmla="*/ 5 h 64"/>
                  <a:gd name="T18" fmla="*/ 4 w 276"/>
                  <a:gd name="T19" fmla="*/ 42 h 64"/>
                  <a:gd name="T20" fmla="*/ 0 w 276"/>
                  <a:gd name="T21" fmla="*/ 54 h 64"/>
                  <a:gd name="T22" fmla="*/ 0 w 276"/>
                  <a:gd name="T23" fmla="*/ 57 h 64"/>
                  <a:gd name="T24" fmla="*/ 7 w 27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6" h="64">
                    <a:moveTo>
                      <a:pt x="7" y="64"/>
                    </a:moveTo>
                    <a:cubicBezTo>
                      <a:pt x="269" y="64"/>
                      <a:pt x="269" y="64"/>
                      <a:pt x="269" y="64"/>
                    </a:cubicBezTo>
                    <a:cubicBezTo>
                      <a:pt x="273" y="64"/>
                      <a:pt x="276" y="61"/>
                      <a:pt x="276" y="57"/>
                    </a:cubicBezTo>
                    <a:cubicBezTo>
                      <a:pt x="276" y="54"/>
                      <a:pt x="276" y="54"/>
                      <a:pt x="276" y="54"/>
                    </a:cubicBezTo>
                    <a:cubicBezTo>
                      <a:pt x="276" y="50"/>
                      <a:pt x="274" y="45"/>
                      <a:pt x="272" y="42"/>
                    </a:cubicBezTo>
                    <a:cubicBezTo>
                      <a:pt x="240" y="5"/>
                      <a:pt x="240" y="5"/>
                      <a:pt x="240" y="5"/>
                    </a:cubicBezTo>
                    <a:cubicBezTo>
                      <a:pt x="238" y="2"/>
                      <a:pt x="233" y="0"/>
                      <a:pt x="229" y="0"/>
                    </a:cubicBezTo>
                    <a:cubicBezTo>
                      <a:pt x="47" y="0"/>
                      <a:pt x="47" y="0"/>
                      <a:pt x="47" y="0"/>
                    </a:cubicBezTo>
                    <a:cubicBezTo>
                      <a:pt x="43" y="0"/>
                      <a:pt x="38" y="2"/>
                      <a:pt x="36" y="5"/>
                    </a:cubicBezTo>
                    <a:cubicBezTo>
                      <a:pt x="4" y="42"/>
                      <a:pt x="4" y="42"/>
                      <a:pt x="4" y="42"/>
                    </a:cubicBezTo>
                    <a:cubicBezTo>
                      <a:pt x="2" y="45"/>
                      <a:pt x="0" y="50"/>
                      <a:pt x="0" y="54"/>
                    </a:cubicBezTo>
                    <a:cubicBezTo>
                      <a:pt x="0" y="57"/>
                      <a:pt x="0" y="57"/>
                      <a:pt x="0" y="57"/>
                    </a:cubicBezTo>
                    <a:cubicBezTo>
                      <a:pt x="0" y="61"/>
                      <a:pt x="3" y="64"/>
                      <a:pt x="7"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4" name="Freeform 21"/>
              <p:cNvSpPr>
                <a:spLocks noEditPoints="1"/>
              </p:cNvSpPr>
              <p:nvPr/>
            </p:nvSpPr>
            <p:spPr bwMode="black">
              <a:xfrm>
                <a:off x="4730751" y="1639888"/>
                <a:ext cx="781050" cy="608013"/>
              </a:xfrm>
              <a:custGeom>
                <a:avLst/>
                <a:gdLst>
                  <a:gd name="T0" fmla="*/ 177 w 208"/>
                  <a:gd name="T1" fmla="*/ 0 h 162"/>
                  <a:gd name="T2" fmla="*/ 31 w 208"/>
                  <a:gd name="T3" fmla="*/ 0 h 162"/>
                  <a:gd name="T4" fmla="*/ 0 w 208"/>
                  <a:gd name="T5" fmla="*/ 31 h 162"/>
                  <a:gd name="T6" fmla="*/ 0 w 208"/>
                  <a:gd name="T7" fmla="*/ 131 h 162"/>
                  <a:gd name="T8" fmla="*/ 31 w 208"/>
                  <a:gd name="T9" fmla="*/ 162 h 162"/>
                  <a:gd name="T10" fmla="*/ 177 w 208"/>
                  <a:gd name="T11" fmla="*/ 162 h 162"/>
                  <a:gd name="T12" fmla="*/ 208 w 208"/>
                  <a:gd name="T13" fmla="*/ 131 h 162"/>
                  <a:gd name="T14" fmla="*/ 208 w 208"/>
                  <a:gd name="T15" fmla="*/ 31 h 162"/>
                  <a:gd name="T16" fmla="*/ 177 w 208"/>
                  <a:gd name="T17" fmla="*/ 0 h 162"/>
                  <a:gd name="T18" fmla="*/ 190 w 208"/>
                  <a:gd name="T19" fmla="*/ 131 h 162"/>
                  <a:gd name="T20" fmla="*/ 177 w 208"/>
                  <a:gd name="T21" fmla="*/ 144 h 162"/>
                  <a:gd name="T22" fmla="*/ 31 w 208"/>
                  <a:gd name="T23" fmla="*/ 144 h 162"/>
                  <a:gd name="T24" fmla="*/ 18 w 208"/>
                  <a:gd name="T25" fmla="*/ 131 h 162"/>
                  <a:gd name="T26" fmla="*/ 18 w 208"/>
                  <a:gd name="T27" fmla="*/ 31 h 162"/>
                  <a:gd name="T28" fmla="*/ 31 w 208"/>
                  <a:gd name="T29" fmla="*/ 18 h 162"/>
                  <a:gd name="T30" fmla="*/ 177 w 208"/>
                  <a:gd name="T31" fmla="*/ 18 h 162"/>
                  <a:gd name="T32" fmla="*/ 190 w 208"/>
                  <a:gd name="T33" fmla="*/ 31 h 162"/>
                  <a:gd name="T34" fmla="*/ 190 w 208"/>
                  <a:gd name="T35" fmla="*/ 13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 h="162">
                    <a:moveTo>
                      <a:pt x="177" y="0"/>
                    </a:moveTo>
                    <a:cubicBezTo>
                      <a:pt x="31" y="0"/>
                      <a:pt x="31" y="0"/>
                      <a:pt x="31" y="0"/>
                    </a:cubicBezTo>
                    <a:cubicBezTo>
                      <a:pt x="14" y="0"/>
                      <a:pt x="0" y="14"/>
                      <a:pt x="0" y="31"/>
                    </a:cubicBezTo>
                    <a:cubicBezTo>
                      <a:pt x="0" y="131"/>
                      <a:pt x="0" y="131"/>
                      <a:pt x="0" y="131"/>
                    </a:cubicBezTo>
                    <a:cubicBezTo>
                      <a:pt x="0" y="148"/>
                      <a:pt x="14" y="162"/>
                      <a:pt x="31" y="162"/>
                    </a:cubicBezTo>
                    <a:cubicBezTo>
                      <a:pt x="177" y="162"/>
                      <a:pt x="177" y="162"/>
                      <a:pt x="177" y="162"/>
                    </a:cubicBezTo>
                    <a:cubicBezTo>
                      <a:pt x="194" y="162"/>
                      <a:pt x="208" y="148"/>
                      <a:pt x="208" y="131"/>
                    </a:cubicBezTo>
                    <a:cubicBezTo>
                      <a:pt x="208" y="31"/>
                      <a:pt x="208" y="31"/>
                      <a:pt x="208" y="31"/>
                    </a:cubicBezTo>
                    <a:cubicBezTo>
                      <a:pt x="208" y="14"/>
                      <a:pt x="194" y="0"/>
                      <a:pt x="177" y="0"/>
                    </a:cubicBezTo>
                    <a:moveTo>
                      <a:pt x="190" y="131"/>
                    </a:moveTo>
                    <a:cubicBezTo>
                      <a:pt x="190" y="138"/>
                      <a:pt x="184" y="144"/>
                      <a:pt x="177" y="144"/>
                    </a:cubicBezTo>
                    <a:cubicBezTo>
                      <a:pt x="31" y="144"/>
                      <a:pt x="31" y="144"/>
                      <a:pt x="31" y="144"/>
                    </a:cubicBezTo>
                    <a:cubicBezTo>
                      <a:pt x="24" y="144"/>
                      <a:pt x="18" y="138"/>
                      <a:pt x="18" y="131"/>
                    </a:cubicBezTo>
                    <a:cubicBezTo>
                      <a:pt x="18" y="31"/>
                      <a:pt x="18" y="31"/>
                      <a:pt x="18" y="31"/>
                    </a:cubicBezTo>
                    <a:cubicBezTo>
                      <a:pt x="18" y="24"/>
                      <a:pt x="24" y="18"/>
                      <a:pt x="31" y="18"/>
                    </a:cubicBezTo>
                    <a:cubicBezTo>
                      <a:pt x="177" y="18"/>
                      <a:pt x="177" y="18"/>
                      <a:pt x="177" y="18"/>
                    </a:cubicBezTo>
                    <a:cubicBezTo>
                      <a:pt x="184" y="18"/>
                      <a:pt x="190" y="24"/>
                      <a:pt x="190" y="31"/>
                    </a:cubicBezTo>
                    <a:lnTo>
                      <a:pt x="190" y="1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5" name="Freeform 22"/>
              <p:cNvSpPr>
                <a:spLocks/>
              </p:cNvSpPr>
              <p:nvPr/>
            </p:nvSpPr>
            <p:spPr bwMode="black">
              <a:xfrm>
                <a:off x="4911726" y="2289176"/>
                <a:ext cx="419100" cy="104775"/>
              </a:xfrm>
              <a:custGeom>
                <a:avLst/>
                <a:gdLst>
                  <a:gd name="T0" fmla="*/ 112 w 112"/>
                  <a:gd name="T1" fmla="*/ 25 h 28"/>
                  <a:gd name="T2" fmla="*/ 112 w 112"/>
                  <a:gd name="T3" fmla="*/ 23 h 28"/>
                  <a:gd name="T4" fmla="*/ 110 w 112"/>
                  <a:gd name="T5" fmla="*/ 18 h 28"/>
                  <a:gd name="T6" fmla="*/ 96 w 112"/>
                  <a:gd name="T7" fmla="*/ 2 h 28"/>
                  <a:gd name="T8" fmla="*/ 91 w 112"/>
                  <a:gd name="T9" fmla="*/ 0 h 28"/>
                  <a:gd name="T10" fmla="*/ 21 w 112"/>
                  <a:gd name="T11" fmla="*/ 0 h 28"/>
                  <a:gd name="T12" fmla="*/ 16 w 112"/>
                  <a:gd name="T13" fmla="*/ 2 h 28"/>
                  <a:gd name="T14" fmla="*/ 2 w 112"/>
                  <a:gd name="T15" fmla="*/ 18 h 28"/>
                  <a:gd name="T16" fmla="*/ 0 w 112"/>
                  <a:gd name="T17" fmla="*/ 23 h 28"/>
                  <a:gd name="T18" fmla="*/ 0 w 112"/>
                  <a:gd name="T19" fmla="*/ 25 h 28"/>
                  <a:gd name="T20" fmla="*/ 3 w 112"/>
                  <a:gd name="T21" fmla="*/ 28 h 28"/>
                  <a:gd name="T22" fmla="*/ 109 w 112"/>
                  <a:gd name="T23" fmla="*/ 28 h 28"/>
                  <a:gd name="T24" fmla="*/ 112 w 112"/>
                  <a:gd name="T25"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28">
                    <a:moveTo>
                      <a:pt x="112" y="25"/>
                    </a:moveTo>
                    <a:cubicBezTo>
                      <a:pt x="112" y="23"/>
                      <a:pt x="112" y="23"/>
                      <a:pt x="112" y="23"/>
                    </a:cubicBezTo>
                    <a:cubicBezTo>
                      <a:pt x="112" y="22"/>
                      <a:pt x="111" y="20"/>
                      <a:pt x="110" y="18"/>
                    </a:cubicBezTo>
                    <a:cubicBezTo>
                      <a:pt x="96" y="2"/>
                      <a:pt x="96" y="2"/>
                      <a:pt x="96" y="2"/>
                    </a:cubicBezTo>
                    <a:cubicBezTo>
                      <a:pt x="95" y="1"/>
                      <a:pt x="93" y="0"/>
                      <a:pt x="91" y="0"/>
                    </a:cubicBezTo>
                    <a:cubicBezTo>
                      <a:pt x="21" y="0"/>
                      <a:pt x="21" y="0"/>
                      <a:pt x="21" y="0"/>
                    </a:cubicBezTo>
                    <a:cubicBezTo>
                      <a:pt x="19" y="0"/>
                      <a:pt x="17" y="1"/>
                      <a:pt x="16" y="2"/>
                    </a:cubicBezTo>
                    <a:cubicBezTo>
                      <a:pt x="2" y="18"/>
                      <a:pt x="2" y="18"/>
                      <a:pt x="2" y="18"/>
                    </a:cubicBezTo>
                    <a:cubicBezTo>
                      <a:pt x="1" y="20"/>
                      <a:pt x="0" y="22"/>
                      <a:pt x="0" y="23"/>
                    </a:cubicBezTo>
                    <a:cubicBezTo>
                      <a:pt x="0" y="25"/>
                      <a:pt x="0" y="25"/>
                      <a:pt x="0" y="25"/>
                    </a:cubicBezTo>
                    <a:cubicBezTo>
                      <a:pt x="0" y="26"/>
                      <a:pt x="1" y="28"/>
                      <a:pt x="3" y="28"/>
                    </a:cubicBezTo>
                    <a:cubicBezTo>
                      <a:pt x="109" y="28"/>
                      <a:pt x="109" y="28"/>
                      <a:pt x="109" y="28"/>
                    </a:cubicBezTo>
                    <a:cubicBezTo>
                      <a:pt x="111" y="28"/>
                      <a:pt x="112" y="26"/>
                      <a:pt x="112" y="2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6" name="Freeform 23"/>
              <p:cNvSpPr>
                <a:spLocks noEditPoints="1"/>
              </p:cNvSpPr>
              <p:nvPr/>
            </p:nvSpPr>
            <p:spPr bwMode="black">
              <a:xfrm>
                <a:off x="5586413" y="1639888"/>
                <a:ext cx="385763" cy="754063"/>
              </a:xfrm>
              <a:custGeom>
                <a:avLst/>
                <a:gdLst>
                  <a:gd name="T0" fmla="*/ 89 w 103"/>
                  <a:gd name="T1" fmla="*/ 0 h 201"/>
                  <a:gd name="T2" fmla="*/ 13 w 103"/>
                  <a:gd name="T3" fmla="*/ 0 h 201"/>
                  <a:gd name="T4" fmla="*/ 0 w 103"/>
                  <a:gd name="T5" fmla="*/ 13 h 201"/>
                  <a:gd name="T6" fmla="*/ 0 w 103"/>
                  <a:gd name="T7" fmla="*/ 187 h 201"/>
                  <a:gd name="T8" fmla="*/ 13 w 103"/>
                  <a:gd name="T9" fmla="*/ 201 h 201"/>
                  <a:gd name="T10" fmla="*/ 89 w 103"/>
                  <a:gd name="T11" fmla="*/ 201 h 201"/>
                  <a:gd name="T12" fmla="*/ 103 w 103"/>
                  <a:gd name="T13" fmla="*/ 187 h 201"/>
                  <a:gd name="T14" fmla="*/ 103 w 103"/>
                  <a:gd name="T15" fmla="*/ 13 h 201"/>
                  <a:gd name="T16" fmla="*/ 89 w 103"/>
                  <a:gd name="T17" fmla="*/ 0 h 201"/>
                  <a:gd name="T18" fmla="*/ 52 w 103"/>
                  <a:gd name="T19" fmla="*/ 187 h 201"/>
                  <a:gd name="T20" fmla="*/ 40 w 103"/>
                  <a:gd name="T21" fmla="*/ 175 h 201"/>
                  <a:gd name="T22" fmla="*/ 52 w 103"/>
                  <a:gd name="T23" fmla="*/ 163 h 201"/>
                  <a:gd name="T24" fmla="*/ 63 w 103"/>
                  <a:gd name="T25" fmla="*/ 175 h 201"/>
                  <a:gd name="T26" fmla="*/ 52 w 103"/>
                  <a:gd name="T27" fmla="*/ 18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201">
                    <a:moveTo>
                      <a:pt x="89" y="0"/>
                    </a:moveTo>
                    <a:cubicBezTo>
                      <a:pt x="13" y="0"/>
                      <a:pt x="13" y="0"/>
                      <a:pt x="13" y="0"/>
                    </a:cubicBezTo>
                    <a:cubicBezTo>
                      <a:pt x="6" y="0"/>
                      <a:pt x="0" y="6"/>
                      <a:pt x="0" y="13"/>
                    </a:cubicBezTo>
                    <a:cubicBezTo>
                      <a:pt x="0" y="187"/>
                      <a:pt x="0" y="187"/>
                      <a:pt x="0" y="187"/>
                    </a:cubicBezTo>
                    <a:cubicBezTo>
                      <a:pt x="0" y="195"/>
                      <a:pt x="6" y="201"/>
                      <a:pt x="13" y="201"/>
                    </a:cubicBezTo>
                    <a:cubicBezTo>
                      <a:pt x="89" y="201"/>
                      <a:pt x="89" y="201"/>
                      <a:pt x="89" y="201"/>
                    </a:cubicBezTo>
                    <a:cubicBezTo>
                      <a:pt x="97" y="201"/>
                      <a:pt x="103" y="195"/>
                      <a:pt x="103" y="187"/>
                    </a:cubicBezTo>
                    <a:cubicBezTo>
                      <a:pt x="103" y="13"/>
                      <a:pt x="103" y="13"/>
                      <a:pt x="103" y="13"/>
                    </a:cubicBezTo>
                    <a:cubicBezTo>
                      <a:pt x="103" y="6"/>
                      <a:pt x="97" y="0"/>
                      <a:pt x="89" y="0"/>
                    </a:cubicBezTo>
                    <a:moveTo>
                      <a:pt x="52" y="187"/>
                    </a:moveTo>
                    <a:cubicBezTo>
                      <a:pt x="45" y="187"/>
                      <a:pt x="40" y="181"/>
                      <a:pt x="40" y="175"/>
                    </a:cubicBezTo>
                    <a:cubicBezTo>
                      <a:pt x="40" y="168"/>
                      <a:pt x="45" y="163"/>
                      <a:pt x="52" y="163"/>
                    </a:cubicBezTo>
                    <a:cubicBezTo>
                      <a:pt x="58" y="163"/>
                      <a:pt x="63" y="168"/>
                      <a:pt x="63" y="175"/>
                    </a:cubicBezTo>
                    <a:cubicBezTo>
                      <a:pt x="63" y="181"/>
                      <a:pt x="58" y="187"/>
                      <a:pt x="52" y="18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7" name="Freeform 24"/>
              <p:cNvSpPr>
                <a:spLocks noEditPoints="1"/>
              </p:cNvSpPr>
              <p:nvPr/>
            </p:nvSpPr>
            <p:spPr bwMode="black">
              <a:xfrm>
                <a:off x="2462213" y="3032126"/>
                <a:ext cx="525463" cy="804863"/>
              </a:xfrm>
              <a:custGeom>
                <a:avLst/>
                <a:gdLst>
                  <a:gd name="T0" fmla="*/ 109 w 140"/>
                  <a:gd name="T1" fmla="*/ 0 h 215"/>
                  <a:gd name="T2" fmla="*/ 31 w 140"/>
                  <a:gd name="T3" fmla="*/ 0 h 215"/>
                  <a:gd name="T4" fmla="*/ 0 w 140"/>
                  <a:gd name="T5" fmla="*/ 30 h 215"/>
                  <a:gd name="T6" fmla="*/ 0 w 140"/>
                  <a:gd name="T7" fmla="*/ 184 h 215"/>
                  <a:gd name="T8" fmla="*/ 31 w 140"/>
                  <a:gd name="T9" fmla="*/ 215 h 215"/>
                  <a:gd name="T10" fmla="*/ 109 w 140"/>
                  <a:gd name="T11" fmla="*/ 215 h 215"/>
                  <a:gd name="T12" fmla="*/ 140 w 140"/>
                  <a:gd name="T13" fmla="*/ 184 h 215"/>
                  <a:gd name="T14" fmla="*/ 140 w 140"/>
                  <a:gd name="T15" fmla="*/ 30 h 215"/>
                  <a:gd name="T16" fmla="*/ 109 w 140"/>
                  <a:gd name="T17" fmla="*/ 0 h 215"/>
                  <a:gd name="T18" fmla="*/ 122 w 140"/>
                  <a:gd name="T19" fmla="*/ 177 h 215"/>
                  <a:gd name="T20" fmla="*/ 109 w 140"/>
                  <a:gd name="T21" fmla="*/ 195 h 215"/>
                  <a:gd name="T22" fmla="*/ 31 w 140"/>
                  <a:gd name="T23" fmla="*/ 195 h 215"/>
                  <a:gd name="T24" fmla="*/ 18 w 140"/>
                  <a:gd name="T25" fmla="*/ 177 h 215"/>
                  <a:gd name="T26" fmla="*/ 18 w 140"/>
                  <a:gd name="T27" fmla="*/ 35 h 215"/>
                  <a:gd name="T28" fmla="*/ 31 w 140"/>
                  <a:gd name="T29" fmla="*/ 18 h 215"/>
                  <a:gd name="T30" fmla="*/ 109 w 140"/>
                  <a:gd name="T31" fmla="*/ 18 h 215"/>
                  <a:gd name="T32" fmla="*/ 122 w 140"/>
                  <a:gd name="T33" fmla="*/ 35 h 215"/>
                  <a:gd name="T34" fmla="*/ 122 w 140"/>
                  <a:gd name="T35" fmla="*/ 17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215">
                    <a:moveTo>
                      <a:pt x="109" y="0"/>
                    </a:moveTo>
                    <a:cubicBezTo>
                      <a:pt x="31" y="0"/>
                      <a:pt x="31" y="0"/>
                      <a:pt x="31" y="0"/>
                    </a:cubicBezTo>
                    <a:cubicBezTo>
                      <a:pt x="14" y="0"/>
                      <a:pt x="0" y="13"/>
                      <a:pt x="0" y="30"/>
                    </a:cubicBezTo>
                    <a:cubicBezTo>
                      <a:pt x="0" y="184"/>
                      <a:pt x="0" y="184"/>
                      <a:pt x="0" y="184"/>
                    </a:cubicBezTo>
                    <a:cubicBezTo>
                      <a:pt x="0" y="201"/>
                      <a:pt x="14" y="215"/>
                      <a:pt x="31" y="215"/>
                    </a:cubicBezTo>
                    <a:cubicBezTo>
                      <a:pt x="109" y="215"/>
                      <a:pt x="109" y="215"/>
                      <a:pt x="109" y="215"/>
                    </a:cubicBezTo>
                    <a:cubicBezTo>
                      <a:pt x="126" y="215"/>
                      <a:pt x="140" y="201"/>
                      <a:pt x="140" y="184"/>
                    </a:cubicBezTo>
                    <a:cubicBezTo>
                      <a:pt x="140" y="30"/>
                      <a:pt x="140" y="30"/>
                      <a:pt x="140" y="30"/>
                    </a:cubicBezTo>
                    <a:cubicBezTo>
                      <a:pt x="140" y="13"/>
                      <a:pt x="126" y="0"/>
                      <a:pt x="109" y="0"/>
                    </a:cubicBezTo>
                    <a:moveTo>
                      <a:pt x="122" y="177"/>
                    </a:moveTo>
                    <a:cubicBezTo>
                      <a:pt x="122" y="187"/>
                      <a:pt x="116" y="195"/>
                      <a:pt x="109" y="195"/>
                    </a:cubicBezTo>
                    <a:cubicBezTo>
                      <a:pt x="31" y="195"/>
                      <a:pt x="31" y="195"/>
                      <a:pt x="31" y="195"/>
                    </a:cubicBezTo>
                    <a:cubicBezTo>
                      <a:pt x="24" y="195"/>
                      <a:pt x="18" y="187"/>
                      <a:pt x="18" y="177"/>
                    </a:cubicBezTo>
                    <a:cubicBezTo>
                      <a:pt x="18" y="35"/>
                      <a:pt x="18" y="35"/>
                      <a:pt x="18" y="35"/>
                    </a:cubicBezTo>
                    <a:cubicBezTo>
                      <a:pt x="18" y="26"/>
                      <a:pt x="24" y="18"/>
                      <a:pt x="31" y="18"/>
                    </a:cubicBezTo>
                    <a:cubicBezTo>
                      <a:pt x="109" y="18"/>
                      <a:pt x="109" y="18"/>
                      <a:pt x="109" y="18"/>
                    </a:cubicBezTo>
                    <a:cubicBezTo>
                      <a:pt x="116" y="18"/>
                      <a:pt x="122" y="26"/>
                      <a:pt x="122" y="35"/>
                    </a:cubicBezTo>
                    <a:lnTo>
                      <a:pt x="122" y="1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8" name="Freeform 25"/>
              <p:cNvSpPr>
                <a:spLocks noEditPoints="1"/>
              </p:cNvSpPr>
              <p:nvPr/>
            </p:nvSpPr>
            <p:spPr bwMode="black">
              <a:xfrm>
                <a:off x="5049838" y="4411663"/>
                <a:ext cx="739775" cy="854075"/>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9" name="Freeform 26"/>
              <p:cNvSpPr>
                <a:spLocks noEditPoints="1"/>
              </p:cNvSpPr>
              <p:nvPr/>
            </p:nvSpPr>
            <p:spPr bwMode="black">
              <a:xfrm>
                <a:off x="6043613" y="2960688"/>
                <a:ext cx="641350" cy="876300"/>
              </a:xfrm>
              <a:custGeom>
                <a:avLst/>
                <a:gdLst>
                  <a:gd name="T0" fmla="*/ 146 w 171"/>
                  <a:gd name="T1" fmla="*/ 0 h 234"/>
                  <a:gd name="T2" fmla="*/ 25 w 171"/>
                  <a:gd name="T3" fmla="*/ 0 h 234"/>
                  <a:gd name="T4" fmla="*/ 0 w 171"/>
                  <a:gd name="T5" fmla="*/ 25 h 234"/>
                  <a:gd name="T6" fmla="*/ 0 w 171"/>
                  <a:gd name="T7" fmla="*/ 209 h 234"/>
                  <a:gd name="T8" fmla="*/ 25 w 171"/>
                  <a:gd name="T9" fmla="*/ 234 h 234"/>
                  <a:gd name="T10" fmla="*/ 146 w 171"/>
                  <a:gd name="T11" fmla="*/ 234 h 234"/>
                  <a:gd name="T12" fmla="*/ 171 w 171"/>
                  <a:gd name="T13" fmla="*/ 209 h 234"/>
                  <a:gd name="T14" fmla="*/ 171 w 171"/>
                  <a:gd name="T15" fmla="*/ 25 h 234"/>
                  <a:gd name="T16" fmla="*/ 146 w 171"/>
                  <a:gd name="T17" fmla="*/ 0 h 234"/>
                  <a:gd name="T18" fmla="*/ 157 w 171"/>
                  <a:gd name="T19" fmla="*/ 183 h 234"/>
                  <a:gd name="T20" fmla="*/ 146 w 171"/>
                  <a:gd name="T21" fmla="*/ 193 h 234"/>
                  <a:gd name="T22" fmla="*/ 25 w 171"/>
                  <a:gd name="T23" fmla="*/ 193 h 234"/>
                  <a:gd name="T24" fmla="*/ 15 w 171"/>
                  <a:gd name="T25" fmla="*/ 183 h 234"/>
                  <a:gd name="T26" fmla="*/ 15 w 171"/>
                  <a:gd name="T27" fmla="*/ 25 h 234"/>
                  <a:gd name="T28" fmla="*/ 25 w 171"/>
                  <a:gd name="T29" fmla="*/ 14 h 234"/>
                  <a:gd name="T30" fmla="*/ 146 w 171"/>
                  <a:gd name="T31" fmla="*/ 14 h 234"/>
                  <a:gd name="T32" fmla="*/ 157 w 171"/>
                  <a:gd name="T33" fmla="*/ 25 h 234"/>
                  <a:gd name="T34" fmla="*/ 157 w 171"/>
                  <a:gd name="T35" fmla="*/ 18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234">
                    <a:moveTo>
                      <a:pt x="146" y="0"/>
                    </a:moveTo>
                    <a:cubicBezTo>
                      <a:pt x="25" y="0"/>
                      <a:pt x="25" y="0"/>
                      <a:pt x="25" y="0"/>
                    </a:cubicBezTo>
                    <a:cubicBezTo>
                      <a:pt x="11" y="0"/>
                      <a:pt x="0" y="11"/>
                      <a:pt x="0" y="25"/>
                    </a:cubicBezTo>
                    <a:cubicBezTo>
                      <a:pt x="0" y="209"/>
                      <a:pt x="0" y="209"/>
                      <a:pt x="0" y="209"/>
                    </a:cubicBezTo>
                    <a:cubicBezTo>
                      <a:pt x="0" y="223"/>
                      <a:pt x="11" y="234"/>
                      <a:pt x="25" y="234"/>
                    </a:cubicBezTo>
                    <a:cubicBezTo>
                      <a:pt x="146" y="234"/>
                      <a:pt x="146" y="234"/>
                      <a:pt x="146" y="234"/>
                    </a:cubicBezTo>
                    <a:cubicBezTo>
                      <a:pt x="160" y="234"/>
                      <a:pt x="171" y="223"/>
                      <a:pt x="171" y="209"/>
                    </a:cubicBezTo>
                    <a:cubicBezTo>
                      <a:pt x="171" y="25"/>
                      <a:pt x="171" y="25"/>
                      <a:pt x="171" y="25"/>
                    </a:cubicBezTo>
                    <a:cubicBezTo>
                      <a:pt x="171" y="11"/>
                      <a:pt x="160" y="0"/>
                      <a:pt x="146" y="0"/>
                    </a:cubicBezTo>
                    <a:moveTo>
                      <a:pt x="157" y="183"/>
                    </a:moveTo>
                    <a:cubicBezTo>
                      <a:pt x="157" y="188"/>
                      <a:pt x="152" y="193"/>
                      <a:pt x="146" y="193"/>
                    </a:cubicBezTo>
                    <a:cubicBezTo>
                      <a:pt x="25" y="193"/>
                      <a:pt x="25" y="193"/>
                      <a:pt x="25" y="193"/>
                    </a:cubicBezTo>
                    <a:cubicBezTo>
                      <a:pt x="19" y="193"/>
                      <a:pt x="15" y="188"/>
                      <a:pt x="15" y="183"/>
                    </a:cubicBezTo>
                    <a:cubicBezTo>
                      <a:pt x="15" y="25"/>
                      <a:pt x="15" y="25"/>
                      <a:pt x="15" y="25"/>
                    </a:cubicBezTo>
                    <a:cubicBezTo>
                      <a:pt x="15" y="19"/>
                      <a:pt x="19" y="14"/>
                      <a:pt x="25" y="14"/>
                    </a:cubicBezTo>
                    <a:cubicBezTo>
                      <a:pt x="146" y="14"/>
                      <a:pt x="146" y="14"/>
                      <a:pt x="146" y="14"/>
                    </a:cubicBezTo>
                    <a:cubicBezTo>
                      <a:pt x="152" y="14"/>
                      <a:pt x="157" y="19"/>
                      <a:pt x="157" y="25"/>
                    </a:cubicBezTo>
                    <a:lnTo>
                      <a:pt x="157" y="1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0" name="Oval 27"/>
              <p:cNvSpPr>
                <a:spLocks noChangeArrowheads="1"/>
              </p:cNvSpPr>
              <p:nvPr/>
            </p:nvSpPr>
            <p:spPr bwMode="black">
              <a:xfrm>
                <a:off x="62245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1" name="Oval 28"/>
              <p:cNvSpPr>
                <a:spLocks noChangeArrowheads="1"/>
              </p:cNvSpPr>
              <p:nvPr/>
            </p:nvSpPr>
            <p:spPr bwMode="black">
              <a:xfrm>
                <a:off x="64531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2" name="Oval 29"/>
              <p:cNvSpPr>
                <a:spLocks noChangeArrowheads="1"/>
              </p:cNvSpPr>
              <p:nvPr/>
            </p:nvSpPr>
            <p:spPr bwMode="black">
              <a:xfrm>
                <a:off x="6340476"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3" name="Freeform 30"/>
              <p:cNvSpPr>
                <a:spLocks/>
              </p:cNvSpPr>
              <p:nvPr/>
            </p:nvSpPr>
            <p:spPr bwMode="black">
              <a:xfrm>
                <a:off x="3425826" y="4279901"/>
                <a:ext cx="442913" cy="16192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4" name="Freeform 31"/>
              <p:cNvSpPr>
                <a:spLocks noEditPoints="1"/>
              </p:cNvSpPr>
              <p:nvPr/>
            </p:nvSpPr>
            <p:spPr bwMode="black">
              <a:xfrm>
                <a:off x="3414713" y="4456113"/>
                <a:ext cx="476250" cy="80962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grpSp>
        <p:nvGrpSpPr>
          <p:cNvPr id="48" name="Group 47"/>
          <p:cNvGrpSpPr/>
          <p:nvPr/>
        </p:nvGrpSpPr>
        <p:grpSpPr>
          <a:xfrm>
            <a:off x="341798" y="1558157"/>
            <a:ext cx="1920740" cy="3118679"/>
            <a:chOff x="455612" y="2077540"/>
            <a:chExt cx="2560320" cy="4158239"/>
          </a:xfrm>
        </p:grpSpPr>
        <p:grpSp>
          <p:nvGrpSpPr>
            <p:cNvPr id="45" name="Group 44"/>
            <p:cNvGrpSpPr/>
            <p:nvPr/>
          </p:nvGrpSpPr>
          <p:grpSpPr>
            <a:xfrm>
              <a:off x="455612" y="2077540"/>
              <a:ext cx="2560320" cy="4158239"/>
              <a:chOff x="455612" y="1828800"/>
              <a:chExt cx="2209800" cy="4158239"/>
            </a:xfrm>
          </p:grpSpPr>
          <p:sp>
            <p:nvSpPr>
              <p:cNvPr id="5" name="Rectangle 4"/>
              <p:cNvSpPr/>
              <p:nvPr/>
            </p:nvSpPr>
            <p:spPr bwMode="auto">
              <a:xfrm>
                <a:off x="455612" y="1828800"/>
                <a:ext cx="2209800" cy="3124200"/>
              </a:xfrm>
              <a:prstGeom prst="rect">
                <a:avLst/>
              </a:prstGeom>
              <a:solidFill>
                <a:srgbClr val="0070C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defTabSz="685637"/>
                <a:r>
                  <a:rPr lang="en-US" sz="1800" dirty="0">
                    <a:solidFill>
                      <a:srgbClr val="FFFFFF">
                        <a:alpha val="98824"/>
                      </a:srgbClr>
                    </a:solidFill>
                    <a:latin typeface="+mj-lt"/>
                    <a:ea typeface="Segoe UI" pitchFamily="34" charset="0"/>
                    <a:cs typeface="Segoe UI" pitchFamily="34" charset="0"/>
                  </a:rPr>
                  <a:t>ENABLE FLEXIBLE WORKSTYLES</a:t>
                </a:r>
              </a:p>
            </p:txBody>
          </p:sp>
          <p:sp>
            <p:nvSpPr>
              <p:cNvPr id="35" name="Rectangle 34"/>
              <p:cNvSpPr/>
              <p:nvPr/>
            </p:nvSpPr>
            <p:spPr bwMode="auto">
              <a:xfrm>
                <a:off x="455612" y="4475660"/>
                <a:ext cx="2209800" cy="1511379"/>
              </a:xfrm>
              <a:prstGeom prst="rect">
                <a:avLst/>
              </a:prstGeom>
              <a:solidFill>
                <a:schemeClr val="accent1">
                  <a:lumMod val="75000"/>
                  <a:lumOff val="2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b" anchorCtr="0" compatLnSpc="1">
                <a:prstTxWarp prst="textNoShape">
                  <a:avLst/>
                </a:prstTxWarp>
              </a:bodyPr>
              <a:lstStyle/>
              <a:p>
                <a:pPr defTabSz="685637"/>
                <a:r>
                  <a:rPr lang="en-US" dirty="0">
                    <a:solidFill>
                      <a:srgbClr val="FFFFFF">
                        <a:alpha val="98824"/>
                      </a:srgbClr>
                    </a:solidFill>
                    <a:latin typeface="+mj-lt"/>
                    <a:ea typeface="Segoe UI" pitchFamily="34" charset="0"/>
                    <a:cs typeface="Segoe UI" pitchFamily="34" charset="0"/>
                  </a:rPr>
                  <a:t>Empower users to work from anywhere, anytime with any device using the tools they need. </a:t>
                </a:r>
                <a:endParaRPr lang="en-US" dirty="0" smtClean="0">
                  <a:solidFill>
                    <a:srgbClr val="FFFFFF">
                      <a:alpha val="98824"/>
                    </a:srgbClr>
                  </a:solidFill>
                  <a:latin typeface="+mj-lt"/>
                  <a:ea typeface="Segoe UI" pitchFamily="34" charset="0"/>
                  <a:cs typeface="Segoe UI" pitchFamily="34" charset="0"/>
                </a:endParaRPr>
              </a:p>
            </p:txBody>
          </p:sp>
        </p:grpSp>
        <p:sp>
          <p:nvSpPr>
            <p:cNvPr id="46" name="Freeform 85"/>
            <p:cNvSpPr>
              <a:spLocks noChangeAspect="1" noEditPoints="1"/>
            </p:cNvSpPr>
            <p:nvPr/>
          </p:nvSpPr>
          <p:spPr bwMode="black">
            <a:xfrm>
              <a:off x="1379314" y="3120057"/>
              <a:ext cx="712915" cy="1162875"/>
            </a:xfrm>
            <a:custGeom>
              <a:avLst/>
              <a:gdLst>
                <a:gd name="T0" fmla="*/ 1222 w 1490"/>
                <a:gd name="T1" fmla="*/ 199 h 2432"/>
                <a:gd name="T2" fmla="*/ 1082 w 1490"/>
                <a:gd name="T3" fmla="*/ 239 h 2432"/>
                <a:gd name="T4" fmla="*/ 705 w 1490"/>
                <a:gd name="T5" fmla="*/ 0 h 2432"/>
                <a:gd name="T6" fmla="*/ 298 w 1490"/>
                <a:gd name="T7" fmla="*/ 326 h 2432"/>
                <a:gd name="T8" fmla="*/ 214 w 1490"/>
                <a:gd name="T9" fmla="*/ 309 h 2432"/>
                <a:gd name="T10" fmla="*/ 0 w 1490"/>
                <a:gd name="T11" fmla="*/ 522 h 2432"/>
                <a:gd name="T12" fmla="*/ 214 w 1490"/>
                <a:gd name="T13" fmla="*/ 736 h 2432"/>
                <a:gd name="T14" fmla="*/ 1222 w 1490"/>
                <a:gd name="T15" fmla="*/ 736 h 2432"/>
                <a:gd name="T16" fmla="*/ 1490 w 1490"/>
                <a:gd name="T17" fmla="*/ 467 h 2432"/>
                <a:gd name="T18" fmla="*/ 1222 w 1490"/>
                <a:gd name="T19" fmla="*/ 199 h 2432"/>
                <a:gd name="T20" fmla="*/ 318 w 1490"/>
                <a:gd name="T21" fmla="*/ 2032 h 2432"/>
                <a:gd name="T22" fmla="*/ 318 w 1490"/>
                <a:gd name="T23" fmla="*/ 2398 h 2432"/>
                <a:gd name="T24" fmla="*/ 351 w 1490"/>
                <a:gd name="T25" fmla="*/ 2432 h 2432"/>
                <a:gd name="T26" fmla="*/ 605 w 1490"/>
                <a:gd name="T27" fmla="*/ 2432 h 2432"/>
                <a:gd name="T28" fmla="*/ 605 w 1490"/>
                <a:gd name="T29" fmla="*/ 2091 h 2432"/>
                <a:gd name="T30" fmla="*/ 639 w 1490"/>
                <a:gd name="T31" fmla="*/ 2058 h 2432"/>
                <a:gd name="T32" fmla="*/ 852 w 1490"/>
                <a:gd name="T33" fmla="*/ 2058 h 2432"/>
                <a:gd name="T34" fmla="*/ 886 w 1490"/>
                <a:gd name="T35" fmla="*/ 2091 h 2432"/>
                <a:gd name="T36" fmla="*/ 886 w 1490"/>
                <a:gd name="T37" fmla="*/ 2432 h 2432"/>
                <a:gd name="T38" fmla="*/ 1140 w 1490"/>
                <a:gd name="T39" fmla="*/ 2432 h 2432"/>
                <a:gd name="T40" fmla="*/ 1173 w 1490"/>
                <a:gd name="T41" fmla="*/ 2398 h 2432"/>
                <a:gd name="T42" fmla="*/ 1173 w 1490"/>
                <a:gd name="T43" fmla="*/ 2032 h 2432"/>
                <a:gd name="T44" fmla="*/ 745 w 1490"/>
                <a:gd name="T45" fmla="*/ 1657 h 2432"/>
                <a:gd name="T46" fmla="*/ 318 w 1490"/>
                <a:gd name="T47" fmla="*/ 2032 h 2432"/>
                <a:gd name="T48" fmla="*/ 1086 w 1490"/>
                <a:gd name="T49" fmla="*/ 1483 h 2432"/>
                <a:gd name="T50" fmla="*/ 926 w 1490"/>
                <a:gd name="T51" fmla="*/ 1483 h 2432"/>
                <a:gd name="T52" fmla="*/ 926 w 1490"/>
                <a:gd name="T53" fmla="*/ 1601 h 2432"/>
                <a:gd name="T54" fmla="*/ 745 w 1490"/>
                <a:gd name="T55" fmla="*/ 1443 h 2432"/>
                <a:gd name="T56" fmla="*/ 198 w 1490"/>
                <a:gd name="T57" fmla="*/ 1924 h 2432"/>
                <a:gd name="T58" fmla="*/ 198 w 1490"/>
                <a:gd name="T59" fmla="*/ 2071 h 2432"/>
                <a:gd name="T60" fmla="*/ 745 w 1490"/>
                <a:gd name="T61" fmla="*/ 1590 h 2432"/>
                <a:gd name="T62" fmla="*/ 1293 w 1490"/>
                <a:gd name="T63" fmla="*/ 2071 h 2432"/>
                <a:gd name="T64" fmla="*/ 1293 w 1490"/>
                <a:gd name="T65" fmla="*/ 1924 h 2432"/>
                <a:gd name="T66" fmla="*/ 1086 w 1490"/>
                <a:gd name="T67" fmla="*/ 1742 h 2432"/>
                <a:gd name="T68" fmla="*/ 1086 w 1490"/>
                <a:gd name="T69" fmla="*/ 1483 h 2432"/>
                <a:gd name="T70" fmla="*/ 745 w 1490"/>
                <a:gd name="T71" fmla="*/ 1287 h 2432"/>
                <a:gd name="T72" fmla="*/ 1091 w 1490"/>
                <a:gd name="T73" fmla="*/ 1085 h 2432"/>
                <a:gd name="T74" fmla="*/ 745 w 1490"/>
                <a:gd name="T75" fmla="*/ 1228 h 2432"/>
                <a:gd name="T76" fmla="*/ 400 w 1490"/>
                <a:gd name="T77" fmla="*/ 1085 h 2432"/>
                <a:gd name="T78" fmla="*/ 745 w 1490"/>
                <a:gd name="T79" fmla="*/ 1287 h 2432"/>
                <a:gd name="T80" fmla="*/ 745 w 1490"/>
                <a:gd name="T81" fmla="*/ 1115 h 2432"/>
                <a:gd name="T82" fmla="*/ 982 w 1490"/>
                <a:gd name="T83" fmla="*/ 959 h 2432"/>
                <a:gd name="T84" fmla="*/ 745 w 1490"/>
                <a:gd name="T85" fmla="*/ 1063 h 2432"/>
                <a:gd name="T86" fmla="*/ 509 w 1490"/>
                <a:gd name="T87" fmla="*/ 959 h 2432"/>
                <a:gd name="T88" fmla="*/ 745 w 1490"/>
                <a:gd name="T89" fmla="*/ 1115 h 2432"/>
                <a:gd name="T90" fmla="*/ 883 w 1490"/>
                <a:gd name="T91" fmla="*/ 866 h 2432"/>
                <a:gd name="T92" fmla="*/ 745 w 1490"/>
                <a:gd name="T93" fmla="*/ 923 h 2432"/>
                <a:gd name="T94" fmla="*/ 608 w 1490"/>
                <a:gd name="T95" fmla="*/ 866 h 2432"/>
                <a:gd name="T96" fmla="*/ 745 w 1490"/>
                <a:gd name="T97" fmla="*/ 969 h 2432"/>
                <a:gd name="T98" fmla="*/ 883 w 1490"/>
                <a:gd name="T99" fmla="*/ 866 h 2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90" h="2432">
                  <a:moveTo>
                    <a:pt x="1222" y="199"/>
                  </a:moveTo>
                  <a:cubicBezTo>
                    <a:pt x="1171" y="199"/>
                    <a:pt x="1123" y="214"/>
                    <a:pt x="1082" y="239"/>
                  </a:cubicBezTo>
                  <a:cubicBezTo>
                    <a:pt x="1015" y="98"/>
                    <a:pt x="871" y="0"/>
                    <a:pt x="705" y="0"/>
                  </a:cubicBezTo>
                  <a:cubicBezTo>
                    <a:pt x="506" y="0"/>
                    <a:pt x="340" y="140"/>
                    <a:pt x="298" y="326"/>
                  </a:cubicBezTo>
                  <a:cubicBezTo>
                    <a:pt x="272" y="315"/>
                    <a:pt x="244" y="309"/>
                    <a:pt x="214" y="309"/>
                  </a:cubicBezTo>
                  <a:cubicBezTo>
                    <a:pt x="96" y="309"/>
                    <a:pt x="0" y="404"/>
                    <a:pt x="0" y="522"/>
                  </a:cubicBezTo>
                  <a:cubicBezTo>
                    <a:pt x="0" y="640"/>
                    <a:pt x="96" y="736"/>
                    <a:pt x="214" y="736"/>
                  </a:cubicBezTo>
                  <a:cubicBezTo>
                    <a:pt x="1222" y="736"/>
                    <a:pt x="1222" y="736"/>
                    <a:pt x="1222" y="736"/>
                  </a:cubicBezTo>
                  <a:cubicBezTo>
                    <a:pt x="1370" y="736"/>
                    <a:pt x="1490" y="616"/>
                    <a:pt x="1490" y="467"/>
                  </a:cubicBezTo>
                  <a:cubicBezTo>
                    <a:pt x="1490" y="319"/>
                    <a:pt x="1370" y="199"/>
                    <a:pt x="1222" y="199"/>
                  </a:cubicBezTo>
                  <a:close/>
                  <a:moveTo>
                    <a:pt x="318" y="2032"/>
                  </a:moveTo>
                  <a:cubicBezTo>
                    <a:pt x="318" y="2398"/>
                    <a:pt x="318" y="2398"/>
                    <a:pt x="318" y="2398"/>
                  </a:cubicBezTo>
                  <a:cubicBezTo>
                    <a:pt x="318" y="2417"/>
                    <a:pt x="333" y="2432"/>
                    <a:pt x="351" y="2432"/>
                  </a:cubicBezTo>
                  <a:cubicBezTo>
                    <a:pt x="605" y="2432"/>
                    <a:pt x="605" y="2432"/>
                    <a:pt x="605" y="2432"/>
                  </a:cubicBezTo>
                  <a:cubicBezTo>
                    <a:pt x="605" y="2091"/>
                    <a:pt x="605" y="2091"/>
                    <a:pt x="605" y="2091"/>
                  </a:cubicBezTo>
                  <a:cubicBezTo>
                    <a:pt x="605" y="2073"/>
                    <a:pt x="620" y="2058"/>
                    <a:pt x="639" y="2058"/>
                  </a:cubicBezTo>
                  <a:cubicBezTo>
                    <a:pt x="852" y="2058"/>
                    <a:pt x="852" y="2058"/>
                    <a:pt x="852" y="2058"/>
                  </a:cubicBezTo>
                  <a:cubicBezTo>
                    <a:pt x="871" y="2058"/>
                    <a:pt x="886" y="2073"/>
                    <a:pt x="886" y="2091"/>
                  </a:cubicBezTo>
                  <a:cubicBezTo>
                    <a:pt x="886" y="2432"/>
                    <a:pt x="886" y="2432"/>
                    <a:pt x="886" y="2432"/>
                  </a:cubicBezTo>
                  <a:cubicBezTo>
                    <a:pt x="1140" y="2432"/>
                    <a:pt x="1140" y="2432"/>
                    <a:pt x="1140" y="2432"/>
                  </a:cubicBezTo>
                  <a:cubicBezTo>
                    <a:pt x="1158" y="2432"/>
                    <a:pt x="1173" y="2417"/>
                    <a:pt x="1173" y="2398"/>
                  </a:cubicBezTo>
                  <a:cubicBezTo>
                    <a:pt x="1173" y="2032"/>
                    <a:pt x="1173" y="2032"/>
                    <a:pt x="1173" y="2032"/>
                  </a:cubicBezTo>
                  <a:cubicBezTo>
                    <a:pt x="745" y="1657"/>
                    <a:pt x="745" y="1657"/>
                    <a:pt x="745" y="1657"/>
                  </a:cubicBezTo>
                  <a:lnTo>
                    <a:pt x="318" y="2032"/>
                  </a:lnTo>
                  <a:close/>
                  <a:moveTo>
                    <a:pt x="1086" y="1483"/>
                  </a:moveTo>
                  <a:cubicBezTo>
                    <a:pt x="926" y="1483"/>
                    <a:pt x="926" y="1483"/>
                    <a:pt x="926" y="1483"/>
                  </a:cubicBezTo>
                  <a:cubicBezTo>
                    <a:pt x="926" y="1601"/>
                    <a:pt x="926" y="1601"/>
                    <a:pt x="926" y="1601"/>
                  </a:cubicBezTo>
                  <a:cubicBezTo>
                    <a:pt x="745" y="1443"/>
                    <a:pt x="745" y="1443"/>
                    <a:pt x="745" y="1443"/>
                  </a:cubicBezTo>
                  <a:cubicBezTo>
                    <a:pt x="198" y="1924"/>
                    <a:pt x="198" y="1924"/>
                    <a:pt x="198" y="1924"/>
                  </a:cubicBezTo>
                  <a:cubicBezTo>
                    <a:pt x="198" y="2071"/>
                    <a:pt x="198" y="2071"/>
                    <a:pt x="198" y="2071"/>
                  </a:cubicBezTo>
                  <a:cubicBezTo>
                    <a:pt x="745" y="1590"/>
                    <a:pt x="745" y="1590"/>
                    <a:pt x="745" y="1590"/>
                  </a:cubicBezTo>
                  <a:cubicBezTo>
                    <a:pt x="1293" y="2071"/>
                    <a:pt x="1293" y="2071"/>
                    <a:pt x="1293" y="2071"/>
                  </a:cubicBezTo>
                  <a:cubicBezTo>
                    <a:pt x="1293" y="1924"/>
                    <a:pt x="1293" y="1924"/>
                    <a:pt x="1293" y="1924"/>
                  </a:cubicBezTo>
                  <a:cubicBezTo>
                    <a:pt x="1086" y="1742"/>
                    <a:pt x="1086" y="1742"/>
                    <a:pt x="1086" y="1742"/>
                  </a:cubicBezTo>
                  <a:lnTo>
                    <a:pt x="1086" y="1483"/>
                  </a:lnTo>
                  <a:close/>
                  <a:moveTo>
                    <a:pt x="745" y="1287"/>
                  </a:moveTo>
                  <a:cubicBezTo>
                    <a:pt x="906" y="1289"/>
                    <a:pt x="1041" y="1191"/>
                    <a:pt x="1091" y="1085"/>
                  </a:cubicBezTo>
                  <a:cubicBezTo>
                    <a:pt x="1001" y="1176"/>
                    <a:pt x="874" y="1228"/>
                    <a:pt x="745" y="1228"/>
                  </a:cubicBezTo>
                  <a:cubicBezTo>
                    <a:pt x="617" y="1228"/>
                    <a:pt x="490" y="1176"/>
                    <a:pt x="400" y="1085"/>
                  </a:cubicBezTo>
                  <a:cubicBezTo>
                    <a:pt x="449" y="1191"/>
                    <a:pt x="585" y="1289"/>
                    <a:pt x="745" y="1287"/>
                  </a:cubicBezTo>
                  <a:close/>
                  <a:moveTo>
                    <a:pt x="745" y="1115"/>
                  </a:moveTo>
                  <a:cubicBezTo>
                    <a:pt x="862" y="1116"/>
                    <a:pt x="952" y="1037"/>
                    <a:pt x="982" y="959"/>
                  </a:cubicBezTo>
                  <a:cubicBezTo>
                    <a:pt x="919" y="1022"/>
                    <a:pt x="834" y="1064"/>
                    <a:pt x="745" y="1063"/>
                  </a:cubicBezTo>
                  <a:cubicBezTo>
                    <a:pt x="657" y="1064"/>
                    <a:pt x="572" y="1022"/>
                    <a:pt x="509" y="959"/>
                  </a:cubicBezTo>
                  <a:cubicBezTo>
                    <a:pt x="539" y="1037"/>
                    <a:pt x="629" y="1116"/>
                    <a:pt x="745" y="1115"/>
                  </a:cubicBezTo>
                  <a:close/>
                  <a:moveTo>
                    <a:pt x="883" y="866"/>
                  </a:moveTo>
                  <a:cubicBezTo>
                    <a:pt x="847" y="903"/>
                    <a:pt x="796" y="923"/>
                    <a:pt x="745" y="923"/>
                  </a:cubicBezTo>
                  <a:cubicBezTo>
                    <a:pt x="694" y="923"/>
                    <a:pt x="644" y="903"/>
                    <a:pt x="608" y="866"/>
                  </a:cubicBezTo>
                  <a:cubicBezTo>
                    <a:pt x="618" y="918"/>
                    <a:pt x="675" y="969"/>
                    <a:pt x="745" y="969"/>
                  </a:cubicBezTo>
                  <a:cubicBezTo>
                    <a:pt x="816" y="969"/>
                    <a:pt x="873" y="918"/>
                    <a:pt x="883" y="866"/>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grpSp>
        <p:nvGrpSpPr>
          <p:cNvPr id="50" name="Group 49"/>
          <p:cNvGrpSpPr/>
          <p:nvPr/>
        </p:nvGrpSpPr>
        <p:grpSpPr>
          <a:xfrm>
            <a:off x="6972925" y="1567621"/>
            <a:ext cx="1920740" cy="3118680"/>
            <a:chOff x="9294812" y="2090161"/>
            <a:chExt cx="2560320" cy="4158240"/>
          </a:xfrm>
        </p:grpSpPr>
        <p:grpSp>
          <p:nvGrpSpPr>
            <p:cNvPr id="42" name="Group 41"/>
            <p:cNvGrpSpPr/>
            <p:nvPr/>
          </p:nvGrpSpPr>
          <p:grpSpPr>
            <a:xfrm>
              <a:off x="9294812" y="2090161"/>
              <a:ext cx="2560320" cy="4158240"/>
              <a:chOff x="9066212" y="1841421"/>
              <a:chExt cx="2209800" cy="4158240"/>
            </a:xfrm>
          </p:grpSpPr>
          <p:sp>
            <p:nvSpPr>
              <p:cNvPr id="40" name="Rectangle 39"/>
              <p:cNvSpPr/>
              <p:nvPr/>
            </p:nvSpPr>
            <p:spPr bwMode="auto">
              <a:xfrm>
                <a:off x="9066212" y="1841421"/>
                <a:ext cx="2209800" cy="3124200"/>
              </a:xfrm>
              <a:prstGeom prst="rect">
                <a:avLst/>
              </a:prstGeom>
              <a:solidFill>
                <a:srgbClr val="0070C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defTabSz="685637"/>
                <a:r>
                  <a:rPr lang="en-US" sz="1800" dirty="0">
                    <a:solidFill>
                      <a:srgbClr val="FFFFFF">
                        <a:alpha val="98824"/>
                      </a:srgbClr>
                    </a:solidFill>
                    <a:latin typeface="+mj-lt"/>
                    <a:ea typeface="Segoe UI" pitchFamily="34" charset="0"/>
                    <a:cs typeface="Segoe UI" pitchFamily="34" charset="0"/>
                  </a:rPr>
                  <a:t>RAPID RELEASE CYCLES</a:t>
                </a:r>
              </a:p>
            </p:txBody>
          </p:sp>
          <p:sp>
            <p:nvSpPr>
              <p:cNvPr id="41" name="Rectangle 40"/>
              <p:cNvSpPr/>
              <p:nvPr/>
            </p:nvSpPr>
            <p:spPr bwMode="auto">
              <a:xfrm>
                <a:off x="9066212" y="4475661"/>
                <a:ext cx="2209800" cy="1524000"/>
              </a:xfrm>
              <a:prstGeom prst="rect">
                <a:avLst/>
              </a:prstGeom>
              <a:solidFill>
                <a:schemeClr val="accent1">
                  <a:lumMod val="75000"/>
                  <a:lumOff val="2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b" anchorCtr="0" compatLnSpc="1">
                <a:prstTxWarp prst="textNoShape">
                  <a:avLst/>
                </a:prstTxWarp>
              </a:bodyPr>
              <a:lstStyle/>
              <a:p>
                <a:pPr defTabSz="685637"/>
                <a:r>
                  <a:rPr lang="en-US" dirty="0">
                    <a:solidFill>
                      <a:srgbClr val="FFFFFF">
                        <a:alpha val="98824"/>
                      </a:srgbClr>
                    </a:solidFill>
                    <a:latin typeface="+mj-lt"/>
                    <a:ea typeface="Segoe UI" pitchFamily="34" charset="0"/>
                    <a:cs typeface="Segoe UI" pitchFamily="34" charset="0"/>
                  </a:rPr>
                  <a:t>Provide customers continuous improvements &amp; new features without costly deployments.</a:t>
                </a:r>
                <a:endParaRPr lang="en-US" dirty="0" smtClean="0">
                  <a:solidFill>
                    <a:srgbClr val="FFFFFF">
                      <a:alpha val="98824"/>
                    </a:srgbClr>
                  </a:solidFill>
                  <a:latin typeface="+mj-lt"/>
                  <a:ea typeface="Segoe UI" pitchFamily="34" charset="0"/>
                  <a:cs typeface="Segoe UI" pitchFamily="34" charset="0"/>
                </a:endParaRPr>
              </a:p>
            </p:txBody>
          </p:sp>
        </p:grpSp>
        <p:sp>
          <p:nvSpPr>
            <p:cNvPr id="47" name="Freeform 122"/>
            <p:cNvSpPr>
              <a:spLocks noChangeAspect="1"/>
            </p:cNvSpPr>
            <p:nvPr/>
          </p:nvSpPr>
          <p:spPr bwMode="black">
            <a:xfrm>
              <a:off x="10117772" y="3115926"/>
              <a:ext cx="914400" cy="922285"/>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grpSp>
      <p:grpSp>
        <p:nvGrpSpPr>
          <p:cNvPr id="52" name="Group 51"/>
          <p:cNvGrpSpPr/>
          <p:nvPr/>
        </p:nvGrpSpPr>
        <p:grpSpPr>
          <a:xfrm>
            <a:off x="4766360" y="1558157"/>
            <a:ext cx="1920740" cy="3118679"/>
            <a:chOff x="6323012" y="2077540"/>
            <a:chExt cx="2560320" cy="4158239"/>
          </a:xfrm>
        </p:grpSpPr>
        <p:grpSp>
          <p:nvGrpSpPr>
            <p:cNvPr id="43" name="Group 42"/>
            <p:cNvGrpSpPr/>
            <p:nvPr/>
          </p:nvGrpSpPr>
          <p:grpSpPr>
            <a:xfrm>
              <a:off x="6323012" y="2077540"/>
              <a:ext cx="2560320" cy="4158239"/>
              <a:chOff x="5942012" y="1828800"/>
              <a:chExt cx="2209800" cy="4158239"/>
            </a:xfrm>
          </p:grpSpPr>
          <p:sp>
            <p:nvSpPr>
              <p:cNvPr id="38" name="Rectangle 37"/>
              <p:cNvSpPr/>
              <p:nvPr/>
            </p:nvSpPr>
            <p:spPr bwMode="auto">
              <a:xfrm>
                <a:off x="5942012" y="1828800"/>
                <a:ext cx="2209800" cy="3124200"/>
              </a:xfrm>
              <a:prstGeom prst="rect">
                <a:avLst/>
              </a:prstGeom>
              <a:solidFill>
                <a:srgbClr val="0070C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defTabSz="685637"/>
                <a:r>
                  <a:rPr lang="en-US" sz="1800" dirty="0">
                    <a:solidFill>
                      <a:srgbClr val="FFFFFF">
                        <a:alpha val="98824"/>
                      </a:srgbClr>
                    </a:solidFill>
                    <a:latin typeface="+mj-lt"/>
                    <a:ea typeface="Segoe UI" pitchFamily="34" charset="0"/>
                    <a:cs typeface="Segoe UI" pitchFamily="34" charset="0"/>
                  </a:rPr>
                  <a:t>LATEST IN</a:t>
                </a:r>
              </a:p>
              <a:p>
                <a:pPr defTabSz="685637"/>
                <a:r>
                  <a:rPr lang="en-US" sz="1800" dirty="0">
                    <a:solidFill>
                      <a:srgbClr val="FFFFFF">
                        <a:alpha val="98824"/>
                      </a:srgbClr>
                    </a:solidFill>
                    <a:latin typeface="+mj-lt"/>
                    <a:ea typeface="Segoe UI" pitchFamily="34" charset="0"/>
                    <a:cs typeface="Segoe UI" pitchFamily="34" charset="0"/>
                  </a:rPr>
                  <a:t>WINDOWS</a:t>
                </a:r>
              </a:p>
            </p:txBody>
          </p:sp>
          <p:sp>
            <p:nvSpPr>
              <p:cNvPr id="39" name="Rectangle 38"/>
              <p:cNvSpPr/>
              <p:nvPr/>
            </p:nvSpPr>
            <p:spPr bwMode="auto">
              <a:xfrm>
                <a:off x="5942012" y="4475660"/>
                <a:ext cx="2209800" cy="1511379"/>
              </a:xfrm>
              <a:prstGeom prst="rect">
                <a:avLst/>
              </a:prstGeom>
              <a:solidFill>
                <a:schemeClr val="accent1">
                  <a:lumMod val="75000"/>
                  <a:lumOff val="2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b" anchorCtr="0" compatLnSpc="1">
                <a:prstTxWarp prst="textNoShape">
                  <a:avLst/>
                </a:prstTxWarp>
              </a:bodyPr>
              <a:lstStyle/>
              <a:p>
                <a:pPr defTabSz="685637"/>
                <a:r>
                  <a:rPr lang="en-US" dirty="0">
                    <a:solidFill>
                      <a:srgbClr val="FFFFFF">
                        <a:alpha val="98824"/>
                      </a:srgbClr>
                    </a:solidFill>
                    <a:latin typeface="+mj-lt"/>
                    <a:ea typeface="Segoe UI" pitchFamily="34" charset="0"/>
                    <a:cs typeface="Segoe UI" pitchFamily="34" charset="0"/>
                  </a:rPr>
                  <a:t>Give users a modern OS experience for greater productivity, security, and mobility benefits.</a:t>
                </a:r>
              </a:p>
            </p:txBody>
          </p:sp>
        </p:grpSp>
        <p:pic>
          <p:nvPicPr>
            <p:cNvPr id="51" name="Picture 50"/>
            <p:cNvPicPr>
              <a:picLocks noChangeAspect="1"/>
            </p:cNvPicPr>
            <p:nvPr/>
          </p:nvPicPr>
          <p:blipFill>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7067480" y="3124234"/>
              <a:ext cx="1071384" cy="913977"/>
            </a:xfrm>
            <a:prstGeom prst="rect">
              <a:avLst/>
            </a:prstGeom>
          </p:spPr>
        </p:pic>
      </p:grpSp>
      <p:sp>
        <p:nvSpPr>
          <p:cNvPr id="53"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54"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4"/>
              </a:rPr>
              <a:t>www.rapidbbs.cn</a:t>
            </a:r>
            <a:endParaRPr lang="zh-CN" altLang="en-US" sz="1200" b="0">
              <a:latin typeface="Arial" charset="0"/>
              <a:ea typeface="ＭＳ Ｐゴシック" pitchFamily="34" charset="-128"/>
            </a:endParaRPr>
          </a:p>
        </p:txBody>
      </p:sp>
      <p:pic>
        <p:nvPicPr>
          <p:cNvPr id="55" name="Picture 2">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09374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500"/>
                                        <p:tgtEl>
                                          <p:spTgt spid="4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9"/>
                                        </p:tgtEl>
                                        <p:attrNameLst>
                                          <p:attrName>style.visibility</p:attrName>
                                        </p:attrNameLst>
                                      </p:cBhvr>
                                      <p:to>
                                        <p:strVal val="visible"/>
                                      </p:to>
                                    </p:set>
                                    <p:animEffect transition="in" filter="fade">
                                      <p:cBhvr>
                                        <p:cTn id="12" dur="500"/>
                                        <p:tgtEl>
                                          <p:spTgt spid="4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2"/>
                                        </p:tgtEl>
                                        <p:attrNameLst>
                                          <p:attrName>style.visibility</p:attrName>
                                        </p:attrNameLst>
                                      </p:cBhvr>
                                      <p:to>
                                        <p:strVal val="visible"/>
                                      </p:to>
                                    </p:set>
                                    <p:animEffect transition="in" filter="fade">
                                      <p:cBhvr>
                                        <p:cTn id="17" dur="500"/>
                                        <p:tgtEl>
                                          <p:spTgt spid="5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0"/>
                                        </p:tgtEl>
                                        <p:attrNameLst>
                                          <p:attrName>style.visibility</p:attrName>
                                        </p:attrNameLst>
                                      </p:cBhvr>
                                      <p:to>
                                        <p:strVal val="visible"/>
                                      </p:to>
                                    </p:set>
                                    <p:animEffect transition="in" filter="fade">
                                      <p:cBhvr>
                                        <p:cTn id="22"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85830" y="4502944"/>
            <a:ext cx="8363938" cy="457200"/>
          </a:xfrm>
        </p:spPr>
        <p:txBody>
          <a:bodyPr/>
          <a:lstStyle/>
          <a:p>
            <a:r>
              <a:rPr lang="en-US" dirty="0"/>
              <a:t>A World of Connected Devices</a:t>
            </a:r>
          </a:p>
        </p:txBody>
      </p:sp>
      <p:pic>
        <p:nvPicPr>
          <p:cNvPr id="1028" name="Picture 4"/>
          <p:cNvPicPr>
            <a:picLocks noChangeAspect="1" noChangeArrowheads="1"/>
          </p:cNvPicPr>
          <p:nvPr/>
        </p:nvPicPr>
        <p:blipFill rotWithShape="1">
          <a:blip r:embed="rId3">
            <a:lum bright="-10000" contrast="10000"/>
            <a:extLst>
              <a:ext uri="{28A0092B-C50C-407E-A947-70E740481C1C}">
                <a14:useLocalDpi xmlns:a14="http://schemas.microsoft.com/office/drawing/2010/main" val="0"/>
              </a:ext>
            </a:extLst>
          </a:blip>
          <a:srcRect l="5046" t="12811"/>
          <a:stretch/>
        </p:blipFill>
        <p:spPr bwMode="auto">
          <a:xfrm>
            <a:off x="5855172" y="230221"/>
            <a:ext cx="2971535" cy="40856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9" name="Picture 5"/>
          <p:cNvPicPr>
            <a:picLocks noChangeAspect="1" noChangeArrowheads="1"/>
          </p:cNvPicPr>
          <p:nvPr/>
        </p:nvPicPr>
        <p:blipFill rotWithShape="1">
          <a:blip r:embed="rId4">
            <a:lum bright="-10000" contrast="10000"/>
            <a:extLst>
              <a:ext uri="{28A0092B-C50C-407E-A947-70E740481C1C}">
                <a14:useLocalDpi xmlns:a14="http://schemas.microsoft.com/office/drawing/2010/main" val="0"/>
              </a:ext>
            </a:extLst>
          </a:blip>
          <a:srcRect t="18058" b="8967"/>
          <a:stretch/>
        </p:blipFill>
        <p:spPr bwMode="auto">
          <a:xfrm flipH="1">
            <a:off x="296841" y="2067929"/>
            <a:ext cx="3081186" cy="22478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useBgFill="1">
        <p:nvSpPr>
          <p:cNvPr id="27" name="Rectangle 26"/>
          <p:cNvSpPr/>
          <p:nvPr/>
        </p:nvSpPr>
        <p:spPr bwMode="auto">
          <a:xfrm>
            <a:off x="-4762" y="1"/>
            <a:ext cx="301605" cy="4482791"/>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alpha val="98824"/>
                </a:srgbClr>
              </a:solidFill>
              <a:ea typeface="Segoe UI" pitchFamily="34" charset="0"/>
              <a:cs typeface="Segoe UI" pitchFamily="34" charset="0"/>
            </a:endParaRPr>
          </a:p>
        </p:txBody>
      </p:sp>
      <p:sp useBgFill="1">
        <p:nvSpPr>
          <p:cNvPr id="28" name="Rectangle 27"/>
          <p:cNvSpPr/>
          <p:nvPr/>
        </p:nvSpPr>
        <p:spPr bwMode="auto">
          <a:xfrm>
            <a:off x="8842396" y="1"/>
            <a:ext cx="301605" cy="4482791"/>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alpha val="98824"/>
                </a:srgbClr>
              </a:solidFill>
              <a:ea typeface="Segoe UI" pitchFamily="34" charset="0"/>
              <a:cs typeface="Segoe UI" pitchFamily="34" charset="0"/>
            </a:endParaRPr>
          </a:p>
        </p:txBody>
      </p:sp>
      <p:sp>
        <p:nvSpPr>
          <p:cNvPr id="12" name="Rectangle 11"/>
          <p:cNvSpPr/>
          <p:nvPr/>
        </p:nvSpPr>
        <p:spPr bwMode="auto">
          <a:xfrm>
            <a:off x="296840" y="230220"/>
            <a:ext cx="1761967" cy="1761508"/>
          </a:xfrm>
          <a:prstGeom prst="rect">
            <a:avLst/>
          </a:prstGeom>
          <a:gradFill>
            <a:gsLst>
              <a:gs pos="0">
                <a:srgbClr val="C00000"/>
              </a:gs>
              <a:gs pos="30000">
                <a:srgbClr val="C00000">
                  <a:lumMod val="71000"/>
                </a:srgbClr>
              </a:gs>
              <a:gs pos="45000">
                <a:srgbClr val="C00000">
                  <a:lumMod val="76000"/>
                </a:srgbClr>
              </a:gs>
              <a:gs pos="55000">
                <a:srgbClr val="C00000">
                  <a:lumMod val="75000"/>
                </a:srgbClr>
              </a:gs>
              <a:gs pos="73000">
                <a:srgbClr val="C00000">
                  <a:lumMod val="79000"/>
                </a:srgbClr>
              </a:gs>
              <a:gs pos="100000">
                <a:schemeClr val="accent5">
                  <a:shade val="63000"/>
                  <a:satMod val="110000"/>
                </a:schemeClr>
              </a:gs>
            </a:gsLst>
          </a:gra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68583" tIns="34292" rIns="68583" bIns="34292" numCol="1" rtlCol="0" anchor="t" anchorCtr="0" compatLnSpc="1">
            <a:prstTxWarp prst="textNoShape">
              <a:avLst/>
            </a:prstTxWarp>
          </a:bodyPr>
          <a:lstStyle/>
          <a:p>
            <a:pPr defTabSz="685637" fontAlgn="base">
              <a:lnSpc>
                <a:spcPts val="1650"/>
              </a:lnSpc>
              <a:spcBef>
                <a:spcPct val="0"/>
              </a:spcBef>
              <a:spcAft>
                <a:spcPct val="0"/>
              </a:spcAft>
            </a:pPr>
            <a:endParaRPr lang="en-US" sz="2100" kern="0" spc="-75" dirty="0">
              <a:gradFill>
                <a:gsLst>
                  <a:gs pos="0">
                    <a:srgbClr val="FFFFFF"/>
                  </a:gs>
                  <a:gs pos="100000">
                    <a:srgbClr val="FFFFFF"/>
                  </a:gs>
                </a:gsLst>
                <a:lin ang="16200000" scaled="1"/>
              </a:gradFill>
            </a:endParaRPr>
          </a:p>
          <a:p>
            <a:pPr marL="83352" defTabSz="685637" fontAlgn="base">
              <a:lnSpc>
                <a:spcPct val="80000"/>
              </a:lnSpc>
              <a:spcBef>
                <a:spcPct val="0"/>
              </a:spcBef>
              <a:spcAft>
                <a:spcPct val="0"/>
              </a:spcAft>
              <a:buClr>
                <a:srgbClr val="FFFFFF">
                  <a:lumMod val="50000"/>
                  <a:lumOff val="50000"/>
                </a:srgbClr>
              </a:buClr>
              <a:buSzPct val="90000"/>
            </a:pPr>
            <a:r>
              <a:rPr lang="en-US" spc="-30" dirty="0">
                <a:solidFill>
                  <a:srgbClr val="FFFFFF">
                    <a:alpha val="98824"/>
                  </a:srgbClr>
                </a:solidFill>
                <a:ea typeface="Segoe UI" pitchFamily="34" charset="0"/>
                <a:cs typeface="Segoe UI" pitchFamily="34" charset="0"/>
              </a:rPr>
              <a:t>One User =</a:t>
            </a:r>
            <a:br>
              <a:rPr lang="en-US" spc="-30" dirty="0">
                <a:solidFill>
                  <a:srgbClr val="FFFFFF">
                    <a:alpha val="98824"/>
                  </a:srgbClr>
                </a:solidFill>
                <a:ea typeface="Segoe UI" pitchFamily="34" charset="0"/>
                <a:cs typeface="Segoe UI" pitchFamily="34" charset="0"/>
              </a:rPr>
            </a:br>
            <a:r>
              <a:rPr lang="en-US" spc="-30" dirty="0">
                <a:solidFill>
                  <a:srgbClr val="FFFFFF">
                    <a:alpha val="98824"/>
                  </a:srgbClr>
                </a:solidFill>
                <a:ea typeface="Segoe UI" pitchFamily="34" charset="0"/>
                <a:cs typeface="Segoe UI" pitchFamily="34" charset="0"/>
              </a:rPr>
              <a:t>One Desktop</a:t>
            </a:r>
          </a:p>
        </p:txBody>
      </p:sp>
      <p:grpSp>
        <p:nvGrpSpPr>
          <p:cNvPr id="15" name="Group 14"/>
          <p:cNvGrpSpPr/>
          <p:nvPr/>
        </p:nvGrpSpPr>
        <p:grpSpPr>
          <a:xfrm>
            <a:off x="2062060" y="230221"/>
            <a:ext cx="1831838" cy="1772807"/>
            <a:chOff x="2748696" y="306960"/>
            <a:chExt cx="2441814" cy="2363741"/>
          </a:xfrm>
        </p:grpSpPr>
        <p:sp>
          <p:nvSpPr>
            <p:cNvPr id="18" name="Rectangle 17"/>
            <p:cNvSpPr/>
            <p:nvPr/>
          </p:nvSpPr>
          <p:spPr bwMode="auto">
            <a:xfrm>
              <a:off x="2841833" y="306960"/>
              <a:ext cx="2348677" cy="2348677"/>
            </a:xfrm>
            <a:prstGeom prst="rect">
              <a:avLst/>
            </a:prstGeom>
            <a:gradFill rotWithShape="1">
              <a:gsLst>
                <a:gs pos="0">
                  <a:srgbClr val="0060B0">
                    <a:shade val="63000"/>
                    <a:satMod val="110000"/>
                    <a:lumMod val="53000"/>
                  </a:srgbClr>
                </a:gs>
                <a:gs pos="30000">
                  <a:srgbClr val="0060B0">
                    <a:shade val="90000"/>
                    <a:satMod val="120000"/>
                    <a:lumMod val="60000"/>
                  </a:srgbClr>
                </a:gs>
                <a:gs pos="45000">
                  <a:srgbClr val="0060B0">
                    <a:shade val="100000"/>
                    <a:satMod val="128000"/>
                    <a:lumMod val="67000"/>
                  </a:srgbClr>
                </a:gs>
                <a:gs pos="55000">
                  <a:srgbClr val="0060B0">
                    <a:shade val="100000"/>
                    <a:satMod val="128000"/>
                    <a:lumMod val="69000"/>
                  </a:srgbClr>
                </a:gs>
                <a:gs pos="73000">
                  <a:srgbClr val="0060B0">
                    <a:shade val="90000"/>
                    <a:satMod val="120000"/>
                    <a:lumMod val="66000"/>
                  </a:srgbClr>
                </a:gs>
                <a:gs pos="100000">
                  <a:srgbClr val="0060B0">
                    <a:shade val="63000"/>
                    <a:satMod val="110000"/>
                    <a:lumMod val="80000"/>
                  </a:srgbClr>
                </a:gs>
              </a:gsLst>
              <a:lin ang="950000" scaled="1"/>
            </a:gradFill>
            <a:ln w="9525" cap="flat" cmpd="sng" algn="ctr">
              <a:noFill/>
              <a:prstDash val="solid"/>
              <a:headEnd type="none" w="med" len="med"/>
              <a:tailEnd type="none" w="med" len="med"/>
            </a:ln>
            <a:effectLst/>
          </p:spPr>
          <p:txBody>
            <a:bodyPr vert="horz" wrap="square" lIns="91436" tIns="45718" rIns="91436" bIns="45718" numCol="1" rtlCol="0" anchor="t" anchorCtr="0" compatLnSpc="1">
              <a:prstTxWarp prst="textNoShape">
                <a:avLst/>
              </a:prstTxWarp>
            </a:bodyPr>
            <a:lstStyle/>
            <a:p>
              <a:pPr defTabSz="685637" fontAlgn="base">
                <a:lnSpc>
                  <a:spcPts val="1650"/>
                </a:lnSpc>
                <a:spcBef>
                  <a:spcPct val="0"/>
                </a:spcBef>
                <a:spcAft>
                  <a:spcPct val="0"/>
                </a:spcAft>
              </a:pPr>
              <a:endParaRPr lang="en-US" sz="1700" kern="0" spc="-75" dirty="0">
                <a:gradFill>
                  <a:gsLst>
                    <a:gs pos="0">
                      <a:srgbClr val="FFFFFF"/>
                    </a:gs>
                    <a:gs pos="100000">
                      <a:srgbClr val="FFFFFF"/>
                    </a:gs>
                  </a:gsLst>
                  <a:lin ang="16200000" scaled="1"/>
                </a:gradFill>
              </a:endParaRPr>
            </a:p>
            <a:p>
              <a:pPr marL="83352" defTabSz="685637" fontAlgn="base">
                <a:lnSpc>
                  <a:spcPct val="80000"/>
                </a:lnSpc>
                <a:spcBef>
                  <a:spcPct val="0"/>
                </a:spcBef>
                <a:spcAft>
                  <a:spcPct val="0"/>
                </a:spcAft>
                <a:buClr>
                  <a:srgbClr val="FFFFFF">
                    <a:lumMod val="50000"/>
                    <a:lumOff val="50000"/>
                  </a:srgbClr>
                </a:buClr>
                <a:buSzPct val="90000"/>
              </a:pPr>
              <a:r>
                <a:rPr lang="en-US" spc="-30" dirty="0">
                  <a:solidFill>
                    <a:srgbClr val="FFFFFF">
                      <a:alpha val="98824"/>
                    </a:srgbClr>
                  </a:solidFill>
                  <a:ea typeface="Segoe UI" pitchFamily="34" charset="0"/>
                  <a:cs typeface="Segoe UI" pitchFamily="34" charset="0"/>
                </a:rPr>
                <a:t>In 2011 power users owned between 5 and 7 internet connected devices</a:t>
              </a:r>
            </a:p>
          </p:txBody>
        </p:sp>
        <p:sp>
          <p:nvSpPr>
            <p:cNvPr id="31" name="Rectangle 30"/>
            <p:cNvSpPr/>
            <p:nvPr/>
          </p:nvSpPr>
          <p:spPr>
            <a:xfrm>
              <a:off x="2748696" y="2137221"/>
              <a:ext cx="2030369" cy="533480"/>
            </a:xfrm>
            <a:prstGeom prst="rect">
              <a:avLst/>
            </a:prstGeom>
          </p:spPr>
          <p:txBody>
            <a:bodyPr wrap="none">
              <a:spAutoFit/>
            </a:bodyPr>
            <a:lstStyle/>
            <a:p>
              <a:pPr marL="83352" defTabSz="685637" fontAlgn="base">
                <a:lnSpc>
                  <a:spcPts val="750"/>
                </a:lnSpc>
                <a:spcBef>
                  <a:spcPct val="0"/>
                </a:spcBef>
                <a:spcAft>
                  <a:spcPct val="0"/>
                </a:spcAft>
                <a:buClr>
                  <a:srgbClr val="FFFFFF">
                    <a:lumMod val="50000"/>
                    <a:lumOff val="50000"/>
                  </a:srgbClr>
                </a:buClr>
                <a:buSzPct val="90000"/>
              </a:pPr>
              <a:r>
                <a:rPr lang="en-US" sz="500" spc="-30" dirty="0">
                  <a:solidFill>
                    <a:srgbClr val="FFFFFF">
                      <a:alpha val="98824"/>
                    </a:srgbClr>
                  </a:solidFill>
                  <a:ea typeface="Segoe UI" pitchFamily="34" charset="0"/>
                  <a:cs typeface="Segoe UI" pitchFamily="34" charset="0"/>
                </a:rPr>
                <a:t>Source: IDC, 2010-2011</a:t>
              </a:r>
              <a:br>
                <a:rPr lang="en-US" sz="500" spc="-30" dirty="0">
                  <a:solidFill>
                    <a:srgbClr val="FFFFFF">
                      <a:alpha val="98824"/>
                    </a:srgbClr>
                  </a:solidFill>
                  <a:ea typeface="Segoe UI" pitchFamily="34" charset="0"/>
                  <a:cs typeface="Segoe UI" pitchFamily="34" charset="0"/>
                </a:rPr>
              </a:br>
              <a:r>
                <a:rPr lang="en-US" sz="500" spc="-30" dirty="0">
                  <a:solidFill>
                    <a:srgbClr val="FFFFFF">
                      <a:alpha val="98824"/>
                    </a:srgbClr>
                  </a:solidFill>
                  <a:ea typeface="Segoe UI" pitchFamily="34" charset="0"/>
                  <a:cs typeface="Segoe UI" pitchFamily="34" charset="0"/>
                </a:rPr>
                <a:t>Media Tablet Multi-Client Study, February 2011.  </a:t>
              </a:r>
            </a:p>
            <a:p>
              <a:pPr marL="83352" defTabSz="685637" fontAlgn="base">
                <a:lnSpc>
                  <a:spcPts val="750"/>
                </a:lnSpc>
                <a:spcBef>
                  <a:spcPct val="0"/>
                </a:spcBef>
                <a:spcAft>
                  <a:spcPct val="0"/>
                </a:spcAft>
                <a:buClr>
                  <a:srgbClr val="FFFFFF">
                    <a:lumMod val="50000"/>
                    <a:lumOff val="50000"/>
                  </a:srgbClr>
                </a:buClr>
                <a:buSzPct val="90000"/>
              </a:pPr>
              <a:r>
                <a:rPr lang="en-US" sz="500" spc="-30" dirty="0">
                  <a:solidFill>
                    <a:srgbClr val="FFFFFF">
                      <a:alpha val="98824"/>
                    </a:srgbClr>
                  </a:solidFill>
                  <a:ea typeface="Segoe UI" pitchFamily="34" charset="0"/>
                  <a:cs typeface="Segoe UI" pitchFamily="34" charset="0"/>
                </a:rPr>
                <a:t>Note: IDC only surveyed </a:t>
              </a:r>
              <a:r>
                <a:rPr lang="en-US" sz="500" spc="-30" dirty="0" err="1">
                  <a:solidFill>
                    <a:srgbClr val="FFFFFF">
                      <a:alpha val="98824"/>
                    </a:srgbClr>
                  </a:solidFill>
                  <a:ea typeface="Segoe UI" pitchFamily="34" charset="0"/>
                  <a:cs typeface="Segoe UI" pitchFamily="34" charset="0"/>
                </a:rPr>
                <a:t>iPad</a:t>
              </a:r>
              <a:r>
                <a:rPr lang="en-US" sz="500" spc="-30" dirty="0">
                  <a:solidFill>
                    <a:srgbClr val="FFFFFF">
                      <a:alpha val="98824"/>
                    </a:srgbClr>
                  </a:solidFill>
                  <a:ea typeface="Segoe UI" pitchFamily="34" charset="0"/>
                  <a:cs typeface="Segoe UI" pitchFamily="34" charset="0"/>
                </a:rPr>
                <a:t> owners for this study.</a:t>
              </a:r>
            </a:p>
          </p:txBody>
        </p:sp>
      </p:grpSp>
      <p:grpSp>
        <p:nvGrpSpPr>
          <p:cNvPr id="4" name="Group 3"/>
          <p:cNvGrpSpPr/>
          <p:nvPr/>
        </p:nvGrpSpPr>
        <p:grpSpPr>
          <a:xfrm>
            <a:off x="3908903" y="230221"/>
            <a:ext cx="1826475" cy="1770429"/>
            <a:chOff x="5210512" y="306960"/>
            <a:chExt cx="2434665" cy="2360572"/>
          </a:xfrm>
        </p:grpSpPr>
        <p:sp>
          <p:nvSpPr>
            <p:cNvPr id="19" name="Rectangle 18"/>
            <p:cNvSpPr/>
            <p:nvPr/>
          </p:nvSpPr>
          <p:spPr bwMode="auto">
            <a:xfrm>
              <a:off x="5296500" y="306960"/>
              <a:ext cx="2348677" cy="2348677"/>
            </a:xfrm>
            <a:prstGeom prst="rect">
              <a:avLst/>
            </a:prstGeom>
            <a:ln>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t" anchorCtr="0" compatLnSpc="1">
              <a:prstTxWarp prst="textNoShape">
                <a:avLst/>
              </a:prstTxWarp>
            </a:bodyPr>
            <a:lstStyle/>
            <a:p>
              <a:pPr marL="83352" defTabSz="685637" fontAlgn="base">
                <a:lnSpc>
                  <a:spcPct val="80000"/>
                </a:lnSpc>
                <a:spcBef>
                  <a:spcPct val="0"/>
                </a:spcBef>
                <a:spcAft>
                  <a:spcPct val="0"/>
                </a:spcAft>
                <a:buClr>
                  <a:srgbClr val="FFFFFF">
                    <a:lumMod val="50000"/>
                    <a:lumOff val="50000"/>
                  </a:srgbClr>
                </a:buClr>
                <a:buSzPct val="90000"/>
                <a:defRPr/>
              </a:pPr>
              <a:endParaRPr lang="en-US" sz="1500" spc="-30" dirty="0">
                <a:solidFill>
                  <a:srgbClr val="FFFFFF">
                    <a:alpha val="98824"/>
                  </a:srgbClr>
                </a:solidFill>
                <a:ea typeface="Segoe UI" pitchFamily="34" charset="0"/>
                <a:cs typeface="Segoe UI" pitchFamily="34" charset="0"/>
              </a:endParaRPr>
            </a:p>
            <a:p>
              <a:pPr marL="83352" defTabSz="685637" fontAlgn="base">
                <a:lnSpc>
                  <a:spcPct val="80000"/>
                </a:lnSpc>
                <a:spcBef>
                  <a:spcPct val="0"/>
                </a:spcBef>
                <a:spcAft>
                  <a:spcPct val="0"/>
                </a:spcAft>
                <a:buClr>
                  <a:srgbClr val="FFFFFF">
                    <a:lumMod val="50000"/>
                    <a:lumOff val="50000"/>
                  </a:srgbClr>
                </a:buClr>
                <a:buSzPct val="90000"/>
                <a:defRPr/>
              </a:pPr>
              <a:r>
                <a:rPr lang="en-US" spc="-30" dirty="0">
                  <a:solidFill>
                    <a:srgbClr val="FFFFFF">
                      <a:alpha val="98824"/>
                    </a:srgbClr>
                  </a:solidFill>
                  <a:ea typeface="Segoe UI" pitchFamily="34" charset="0"/>
                  <a:cs typeface="Segoe UI" pitchFamily="34" charset="0"/>
                </a:rPr>
                <a:t>916M smart connected devices were shipped in 2011</a:t>
              </a:r>
            </a:p>
            <a:p>
              <a:pPr marL="83352" defTabSz="685637" fontAlgn="base">
                <a:lnSpc>
                  <a:spcPct val="80000"/>
                </a:lnSpc>
                <a:spcBef>
                  <a:spcPct val="0"/>
                </a:spcBef>
                <a:spcAft>
                  <a:spcPct val="0"/>
                </a:spcAft>
                <a:buClr>
                  <a:srgbClr val="FFFFFF">
                    <a:lumMod val="50000"/>
                    <a:lumOff val="50000"/>
                  </a:srgbClr>
                </a:buClr>
                <a:buSzPct val="90000"/>
                <a:defRPr/>
              </a:pPr>
              <a:endParaRPr lang="en-US" sz="800" spc="-30" dirty="0">
                <a:solidFill>
                  <a:srgbClr val="FFFFFF">
                    <a:alpha val="98824"/>
                  </a:srgbClr>
                </a:solidFill>
                <a:ea typeface="Segoe UI" pitchFamily="34" charset="0"/>
                <a:cs typeface="Segoe UI" pitchFamily="34" charset="0"/>
              </a:endParaRPr>
            </a:p>
            <a:p>
              <a:pPr marL="83352" defTabSz="685637" fontAlgn="base">
                <a:lnSpc>
                  <a:spcPct val="80000"/>
                </a:lnSpc>
                <a:spcBef>
                  <a:spcPct val="0"/>
                </a:spcBef>
                <a:spcAft>
                  <a:spcPct val="0"/>
                </a:spcAft>
                <a:buClr>
                  <a:srgbClr val="FFFFFF">
                    <a:lumMod val="50000"/>
                    <a:lumOff val="50000"/>
                  </a:srgbClr>
                </a:buClr>
                <a:buSzPct val="90000"/>
                <a:defRPr/>
              </a:pPr>
              <a:r>
                <a:rPr lang="en-US" spc="-30" dirty="0">
                  <a:solidFill>
                    <a:srgbClr val="FFFFFF">
                      <a:alpha val="98824"/>
                    </a:srgbClr>
                  </a:solidFill>
                  <a:ea typeface="Segoe UI" pitchFamily="34" charset="0"/>
                  <a:cs typeface="Segoe UI" pitchFamily="34" charset="0"/>
                </a:rPr>
                <a:t>This is forecasted</a:t>
              </a:r>
              <a:br>
                <a:rPr lang="en-US" spc="-30" dirty="0">
                  <a:solidFill>
                    <a:srgbClr val="FFFFFF">
                      <a:alpha val="98824"/>
                    </a:srgbClr>
                  </a:solidFill>
                  <a:ea typeface="Segoe UI" pitchFamily="34" charset="0"/>
                  <a:cs typeface="Segoe UI" pitchFamily="34" charset="0"/>
                </a:rPr>
              </a:br>
              <a:r>
                <a:rPr lang="en-US" spc="-30" dirty="0">
                  <a:solidFill>
                    <a:srgbClr val="FFFFFF">
                      <a:alpha val="98824"/>
                    </a:srgbClr>
                  </a:solidFill>
                  <a:ea typeface="Segoe UI" pitchFamily="34" charset="0"/>
                  <a:cs typeface="Segoe UI" pitchFamily="34" charset="0"/>
                </a:rPr>
                <a:t>to double to 1.84B</a:t>
              </a:r>
              <a:br>
                <a:rPr lang="en-US" spc="-30" dirty="0">
                  <a:solidFill>
                    <a:srgbClr val="FFFFFF">
                      <a:alpha val="98824"/>
                    </a:srgbClr>
                  </a:solidFill>
                  <a:ea typeface="Segoe UI" pitchFamily="34" charset="0"/>
                  <a:cs typeface="Segoe UI" pitchFamily="34" charset="0"/>
                </a:rPr>
              </a:br>
              <a:r>
                <a:rPr lang="en-US" spc="-30" dirty="0">
                  <a:solidFill>
                    <a:srgbClr val="FFFFFF">
                      <a:alpha val="98824"/>
                    </a:srgbClr>
                  </a:solidFill>
                  <a:ea typeface="Segoe UI" pitchFamily="34" charset="0"/>
                  <a:cs typeface="Segoe UI" pitchFamily="34" charset="0"/>
                </a:rPr>
                <a:t>in 2016</a:t>
              </a:r>
            </a:p>
          </p:txBody>
        </p:sp>
        <p:sp>
          <p:nvSpPr>
            <p:cNvPr id="20" name="Rectangle 19"/>
            <p:cNvSpPr/>
            <p:nvPr/>
          </p:nvSpPr>
          <p:spPr>
            <a:xfrm>
              <a:off x="5210512" y="2134052"/>
              <a:ext cx="2420972" cy="533480"/>
            </a:xfrm>
            <a:prstGeom prst="rect">
              <a:avLst/>
            </a:prstGeom>
          </p:spPr>
          <p:txBody>
            <a:bodyPr wrap="none">
              <a:spAutoFit/>
            </a:bodyPr>
            <a:lstStyle/>
            <a:p>
              <a:pPr marL="83352" defTabSz="685637" fontAlgn="base">
                <a:lnSpc>
                  <a:spcPts val="750"/>
                </a:lnSpc>
                <a:spcBef>
                  <a:spcPct val="0"/>
                </a:spcBef>
                <a:spcAft>
                  <a:spcPct val="0"/>
                </a:spcAft>
                <a:buClr>
                  <a:srgbClr val="FFFFFF">
                    <a:lumMod val="50000"/>
                    <a:lumOff val="50000"/>
                  </a:srgbClr>
                </a:buClr>
                <a:buSzPct val="90000"/>
              </a:pPr>
              <a:r>
                <a:rPr lang="en-US" sz="500" spc="-30" dirty="0">
                  <a:solidFill>
                    <a:srgbClr val="FFFFFF">
                      <a:alpha val="98824"/>
                    </a:srgbClr>
                  </a:solidFill>
                  <a:ea typeface="Segoe UI" pitchFamily="34" charset="0"/>
                  <a:cs typeface="Segoe UI" pitchFamily="34" charset="0"/>
                </a:rPr>
                <a:t>Source:  IDC, "Nearly 1 Billion Smart Connected Devices </a:t>
              </a:r>
              <a:br>
                <a:rPr lang="en-US" sz="500" spc="-30" dirty="0">
                  <a:solidFill>
                    <a:srgbClr val="FFFFFF">
                      <a:alpha val="98824"/>
                    </a:srgbClr>
                  </a:solidFill>
                  <a:ea typeface="Segoe UI" pitchFamily="34" charset="0"/>
                  <a:cs typeface="Segoe UI" pitchFamily="34" charset="0"/>
                </a:rPr>
              </a:br>
              <a:r>
                <a:rPr lang="en-US" sz="500" spc="-30" dirty="0">
                  <a:solidFill>
                    <a:srgbClr val="FFFFFF">
                      <a:alpha val="98824"/>
                    </a:srgbClr>
                  </a:solidFill>
                  <a:ea typeface="Segoe UI" pitchFamily="34" charset="0"/>
                  <a:cs typeface="Segoe UI" pitchFamily="34" charset="0"/>
                </a:rPr>
                <a:t>Shipped in 2011 with Shipments Expected to Double by 2016, </a:t>
              </a:r>
              <a:br>
                <a:rPr lang="en-US" sz="500" spc="-30" dirty="0">
                  <a:solidFill>
                    <a:srgbClr val="FFFFFF">
                      <a:alpha val="98824"/>
                    </a:srgbClr>
                  </a:solidFill>
                  <a:ea typeface="Segoe UI" pitchFamily="34" charset="0"/>
                  <a:cs typeface="Segoe UI" pitchFamily="34" charset="0"/>
                </a:rPr>
              </a:br>
              <a:r>
                <a:rPr lang="en-US" sz="500" spc="-30" dirty="0">
                  <a:solidFill>
                    <a:srgbClr val="FFFFFF">
                      <a:alpha val="98824"/>
                    </a:srgbClr>
                  </a:solidFill>
                  <a:ea typeface="Segoe UI" pitchFamily="34" charset="0"/>
                  <a:cs typeface="Segoe UI" pitchFamily="34" charset="0"/>
                </a:rPr>
                <a:t>According to IDC," Doc #prUS23398412, March 28, 2012. </a:t>
              </a:r>
            </a:p>
          </p:txBody>
        </p:sp>
      </p:grpSp>
      <p:grpSp>
        <p:nvGrpSpPr>
          <p:cNvPr id="5" name="Group 4"/>
          <p:cNvGrpSpPr/>
          <p:nvPr/>
        </p:nvGrpSpPr>
        <p:grpSpPr>
          <a:xfrm>
            <a:off x="3417020" y="2067928"/>
            <a:ext cx="2318356" cy="2257196"/>
            <a:chOff x="4554840" y="2757237"/>
            <a:chExt cx="3090336" cy="3009595"/>
          </a:xfrm>
        </p:grpSpPr>
        <p:sp>
          <p:nvSpPr>
            <p:cNvPr id="21" name="Rectangle 20"/>
            <p:cNvSpPr/>
            <p:nvPr/>
          </p:nvSpPr>
          <p:spPr bwMode="auto">
            <a:xfrm>
              <a:off x="4647977" y="2757237"/>
              <a:ext cx="2997199" cy="2997199"/>
            </a:xfrm>
            <a:prstGeom prst="rect">
              <a:avLst/>
            </a:prstGeom>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t" anchorCtr="0" forceAA="0" compatLnSpc="1">
              <a:prstTxWarp prst="textNoShape">
                <a:avLst/>
              </a:prstTxWarp>
              <a:noAutofit/>
            </a:bodyPr>
            <a:lstStyle/>
            <a:p>
              <a:pPr marL="83352" defTabSz="685637" fontAlgn="base">
                <a:lnSpc>
                  <a:spcPct val="80000"/>
                </a:lnSpc>
                <a:spcBef>
                  <a:spcPct val="0"/>
                </a:spcBef>
                <a:spcAft>
                  <a:spcPct val="0"/>
                </a:spcAft>
                <a:buClr>
                  <a:srgbClr val="FFFFFF">
                    <a:lumMod val="50000"/>
                    <a:lumOff val="50000"/>
                  </a:srgbClr>
                </a:buClr>
                <a:buSzPct val="90000"/>
              </a:pPr>
              <a:endParaRPr lang="en-US" sz="1500" spc="-30" dirty="0">
                <a:solidFill>
                  <a:srgbClr val="FFFFFF">
                    <a:alpha val="98824"/>
                  </a:srgbClr>
                </a:solidFill>
                <a:ea typeface="Segoe UI" pitchFamily="34" charset="0"/>
                <a:cs typeface="Segoe UI" pitchFamily="34" charset="0"/>
              </a:endParaRPr>
            </a:p>
            <a:p>
              <a:pPr marL="83352" defTabSz="685637" fontAlgn="base">
                <a:lnSpc>
                  <a:spcPct val="80000"/>
                </a:lnSpc>
                <a:spcBef>
                  <a:spcPct val="0"/>
                </a:spcBef>
                <a:spcAft>
                  <a:spcPct val="0"/>
                </a:spcAft>
                <a:buClr>
                  <a:srgbClr val="FFFFFF">
                    <a:lumMod val="50000"/>
                    <a:lumOff val="50000"/>
                  </a:srgbClr>
                </a:buClr>
                <a:buSzPct val="90000"/>
                <a:defRPr/>
              </a:pPr>
              <a:r>
                <a:rPr lang="en-US" spc="-30" dirty="0">
                  <a:solidFill>
                    <a:srgbClr val="FFFFFF">
                      <a:alpha val="98824"/>
                    </a:srgbClr>
                  </a:solidFill>
                  <a:ea typeface="Segoe UI" pitchFamily="34" charset="0"/>
                  <a:cs typeface="Segoe UI" pitchFamily="34" charset="0"/>
                </a:rPr>
                <a:t>Organizations say 34%</a:t>
              </a:r>
              <a:br>
                <a:rPr lang="en-US" spc="-30" dirty="0">
                  <a:solidFill>
                    <a:srgbClr val="FFFFFF">
                      <a:alpha val="98824"/>
                    </a:srgbClr>
                  </a:solidFill>
                  <a:ea typeface="Segoe UI" pitchFamily="34" charset="0"/>
                  <a:cs typeface="Segoe UI" pitchFamily="34" charset="0"/>
                </a:rPr>
              </a:br>
              <a:r>
                <a:rPr lang="en-US" spc="-30" dirty="0">
                  <a:solidFill>
                    <a:srgbClr val="FFFFFF">
                      <a:alpha val="98824"/>
                    </a:srgbClr>
                  </a:solidFill>
                  <a:ea typeface="Segoe UI" pitchFamily="34" charset="0"/>
                  <a:cs typeface="Segoe UI" pitchFamily="34" charset="0"/>
                </a:rPr>
                <a:t>of their employees are accessing business apps</a:t>
              </a:r>
              <a:br>
                <a:rPr lang="en-US" spc="-30" dirty="0">
                  <a:solidFill>
                    <a:srgbClr val="FFFFFF">
                      <a:alpha val="98824"/>
                    </a:srgbClr>
                  </a:solidFill>
                  <a:ea typeface="Segoe UI" pitchFamily="34" charset="0"/>
                  <a:cs typeface="Segoe UI" pitchFamily="34" charset="0"/>
                </a:rPr>
              </a:br>
              <a:r>
                <a:rPr lang="en-US" spc="-30" dirty="0">
                  <a:solidFill>
                    <a:srgbClr val="FFFFFF">
                      <a:alpha val="98824"/>
                    </a:srgbClr>
                  </a:solidFill>
                  <a:ea typeface="Segoe UI" pitchFamily="34" charset="0"/>
                  <a:cs typeface="Segoe UI" pitchFamily="34" charset="0"/>
                </a:rPr>
                <a:t>on personal devices</a:t>
              </a:r>
            </a:p>
            <a:p>
              <a:pPr marL="83352" defTabSz="685637" fontAlgn="base">
                <a:lnSpc>
                  <a:spcPct val="80000"/>
                </a:lnSpc>
                <a:spcBef>
                  <a:spcPct val="0"/>
                </a:spcBef>
                <a:spcAft>
                  <a:spcPct val="0"/>
                </a:spcAft>
                <a:buClr>
                  <a:srgbClr val="FFFFFF">
                    <a:lumMod val="50000"/>
                    <a:lumOff val="50000"/>
                  </a:srgbClr>
                </a:buClr>
                <a:buSzPct val="90000"/>
                <a:defRPr/>
              </a:pPr>
              <a:endParaRPr lang="en-US" spc="-30" dirty="0">
                <a:solidFill>
                  <a:srgbClr val="FFFFFF">
                    <a:alpha val="98824"/>
                  </a:srgbClr>
                </a:solidFill>
                <a:ea typeface="Segoe UI" pitchFamily="34" charset="0"/>
                <a:cs typeface="Segoe UI" pitchFamily="34" charset="0"/>
              </a:endParaRPr>
            </a:p>
            <a:p>
              <a:pPr marL="83352" defTabSz="685637" fontAlgn="base">
                <a:lnSpc>
                  <a:spcPct val="80000"/>
                </a:lnSpc>
                <a:spcBef>
                  <a:spcPct val="0"/>
                </a:spcBef>
                <a:spcAft>
                  <a:spcPct val="0"/>
                </a:spcAft>
                <a:buClr>
                  <a:srgbClr val="FFFFFF">
                    <a:lumMod val="50000"/>
                    <a:lumOff val="50000"/>
                  </a:srgbClr>
                </a:buClr>
                <a:buSzPct val="90000"/>
                <a:defRPr/>
              </a:pPr>
              <a:r>
                <a:rPr lang="en-US" spc="-30" dirty="0">
                  <a:solidFill>
                    <a:srgbClr val="FFFFFF">
                      <a:alpha val="98824"/>
                    </a:srgbClr>
                  </a:solidFill>
                  <a:ea typeface="Segoe UI" pitchFamily="34" charset="0"/>
                  <a:cs typeface="Segoe UI" pitchFamily="34" charset="0"/>
                </a:rPr>
                <a:t>69% of employees say</a:t>
              </a:r>
              <a:br>
                <a:rPr lang="en-US" spc="-30" dirty="0">
                  <a:solidFill>
                    <a:srgbClr val="FFFFFF">
                      <a:alpha val="98824"/>
                    </a:srgbClr>
                  </a:solidFill>
                  <a:ea typeface="Segoe UI" pitchFamily="34" charset="0"/>
                  <a:cs typeface="Segoe UI" pitchFamily="34" charset="0"/>
                </a:rPr>
              </a:br>
              <a:r>
                <a:rPr lang="en-US" spc="-30" dirty="0">
                  <a:solidFill>
                    <a:srgbClr val="FFFFFF">
                      <a:alpha val="98824"/>
                    </a:srgbClr>
                  </a:solidFill>
                  <a:ea typeface="Segoe UI" pitchFamily="34" charset="0"/>
                  <a:cs typeface="Segoe UI" pitchFamily="34" charset="0"/>
                </a:rPr>
                <a:t>they are accessing business apps on personal devices</a:t>
              </a:r>
            </a:p>
          </p:txBody>
        </p:sp>
        <p:sp>
          <p:nvSpPr>
            <p:cNvPr id="23" name="Rectangle 22"/>
            <p:cNvSpPr/>
            <p:nvPr/>
          </p:nvSpPr>
          <p:spPr>
            <a:xfrm>
              <a:off x="4554840" y="5370143"/>
              <a:ext cx="2616669" cy="396689"/>
            </a:xfrm>
            <a:prstGeom prst="rect">
              <a:avLst/>
            </a:prstGeom>
          </p:spPr>
          <p:txBody>
            <a:bodyPr wrap="square">
              <a:spAutoFit/>
            </a:bodyPr>
            <a:lstStyle/>
            <a:p>
              <a:pPr marL="83352" defTabSz="685637" fontAlgn="base">
                <a:lnSpc>
                  <a:spcPts val="750"/>
                </a:lnSpc>
                <a:spcBef>
                  <a:spcPct val="0"/>
                </a:spcBef>
                <a:spcAft>
                  <a:spcPct val="0"/>
                </a:spcAft>
                <a:buClr>
                  <a:srgbClr val="FFFFFF">
                    <a:lumMod val="50000"/>
                    <a:lumOff val="50000"/>
                  </a:srgbClr>
                </a:buClr>
                <a:buSzPct val="90000"/>
              </a:pPr>
              <a:r>
                <a:rPr lang="en-US" sz="500" spc="-30" dirty="0">
                  <a:solidFill>
                    <a:srgbClr val="FFFFFF">
                      <a:alpha val="98824"/>
                    </a:srgbClr>
                  </a:solidFill>
                  <a:ea typeface="Segoe UI" pitchFamily="34" charset="0"/>
                  <a:cs typeface="Segoe UI" pitchFamily="34" charset="0"/>
                </a:rPr>
                <a:t>Source for both: IDC, “2011 </a:t>
              </a:r>
              <a:r>
                <a:rPr lang="en-US" sz="500" spc="-30" dirty="0" err="1">
                  <a:solidFill>
                    <a:srgbClr val="FFFFFF">
                      <a:alpha val="98824"/>
                    </a:srgbClr>
                  </a:solidFill>
                  <a:ea typeface="Segoe UI" pitchFamily="34" charset="0"/>
                  <a:cs typeface="Segoe UI" pitchFamily="34" charset="0"/>
                </a:rPr>
                <a:t>Consumerization</a:t>
              </a:r>
              <a:r>
                <a:rPr lang="en-US" sz="500" spc="-30" dirty="0">
                  <a:solidFill>
                    <a:srgbClr val="FFFFFF">
                      <a:alpha val="98824"/>
                    </a:srgbClr>
                  </a:solidFill>
                  <a:ea typeface="Segoe UI" pitchFamily="34" charset="0"/>
                  <a:cs typeface="Segoe UI" pitchFamily="34" charset="0"/>
                </a:rPr>
                <a:t> of IT Study : </a:t>
              </a:r>
              <a:br>
                <a:rPr lang="en-US" sz="500" spc="-30" dirty="0">
                  <a:solidFill>
                    <a:srgbClr val="FFFFFF">
                      <a:alpha val="98824"/>
                    </a:srgbClr>
                  </a:solidFill>
                  <a:ea typeface="Segoe UI" pitchFamily="34" charset="0"/>
                  <a:cs typeface="Segoe UI" pitchFamily="34" charset="0"/>
                </a:rPr>
              </a:br>
              <a:r>
                <a:rPr lang="en-US" sz="500" spc="-30" dirty="0">
                  <a:solidFill>
                    <a:srgbClr val="FFFFFF">
                      <a:alpha val="98824"/>
                    </a:srgbClr>
                  </a:solidFill>
                  <a:ea typeface="Segoe UI" pitchFamily="34" charset="0"/>
                  <a:cs typeface="Segoe UI" pitchFamily="34" charset="0"/>
                </a:rPr>
                <a:t>Closing the ‘</a:t>
              </a:r>
              <a:r>
                <a:rPr lang="en-US" sz="500" spc="-30" dirty="0" err="1">
                  <a:solidFill>
                    <a:srgbClr val="FFFFFF">
                      <a:alpha val="98824"/>
                    </a:srgbClr>
                  </a:solidFill>
                  <a:ea typeface="Segoe UI" pitchFamily="34" charset="0"/>
                  <a:cs typeface="Segoe UI" pitchFamily="34" charset="0"/>
                </a:rPr>
                <a:t>Consumerization</a:t>
              </a:r>
              <a:r>
                <a:rPr lang="en-US" sz="500" spc="-30" dirty="0">
                  <a:solidFill>
                    <a:srgbClr val="FFFFFF">
                      <a:alpha val="98824"/>
                    </a:srgbClr>
                  </a:solidFill>
                  <a:ea typeface="Segoe UI" pitchFamily="34" charset="0"/>
                  <a:cs typeface="Segoe UI" pitchFamily="34" charset="0"/>
                </a:rPr>
                <a:t> Gap’”, July 2011</a:t>
              </a:r>
            </a:p>
          </p:txBody>
        </p:sp>
      </p:grpSp>
      <p:sp>
        <p:nvSpPr>
          <p:cNvPr id="17"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2"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5"/>
              </a:rPr>
              <a:t>www.rapidbbs.cn</a:t>
            </a:r>
            <a:endParaRPr lang="zh-CN" altLang="en-US" sz="1200" b="0">
              <a:latin typeface="Arial" charset="0"/>
              <a:ea typeface="ＭＳ Ｐゴシック" pitchFamily="34" charset="-128"/>
            </a:endParaRPr>
          </a:p>
        </p:txBody>
      </p:sp>
      <p:pic>
        <p:nvPicPr>
          <p:cNvPr id="24" name="Picture 2">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34707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1500" fill="hold"/>
                                        <p:tgtEl>
                                          <p:spTgt spid="12"/>
                                        </p:tgtEl>
                                        <p:attrNameLst>
                                          <p:attrName>ppt_x</p:attrName>
                                        </p:attrNameLst>
                                      </p:cBhvr>
                                      <p:tavLst>
                                        <p:tav tm="0">
                                          <p:val>
                                            <p:strVal val="1+#ppt_w/2"/>
                                          </p:val>
                                        </p:tav>
                                        <p:tav tm="100000">
                                          <p:val>
                                            <p:strVal val="#ppt_x"/>
                                          </p:val>
                                        </p:tav>
                                      </p:tavLst>
                                    </p:anim>
                                    <p:anim calcmode="lin" valueType="num">
                                      <p:cBhvr additive="base">
                                        <p:cTn id="8" dur="1500" fill="hold"/>
                                        <p:tgtEl>
                                          <p:spTgt spid="12"/>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0"/>
                                  </p:stCondLst>
                                  <p:childTnLst>
                                    <p:set>
                                      <p:cBhvr>
                                        <p:cTn id="10" dur="1" fill="hold">
                                          <p:stCondLst>
                                            <p:cond delay="0"/>
                                          </p:stCondLst>
                                        </p:cTn>
                                        <p:tgtEl>
                                          <p:spTgt spid="1029"/>
                                        </p:tgtEl>
                                        <p:attrNameLst>
                                          <p:attrName>style.visibility</p:attrName>
                                        </p:attrNameLst>
                                      </p:cBhvr>
                                      <p:to>
                                        <p:strVal val="visible"/>
                                      </p:to>
                                    </p:set>
                                    <p:animEffect transition="in" filter="fade">
                                      <p:cBhvr>
                                        <p:cTn id="11" dur="1750"/>
                                        <p:tgtEl>
                                          <p:spTgt spid="1029"/>
                                        </p:tgtEl>
                                      </p:cBhvr>
                                    </p:animEffect>
                                  </p:childTnLst>
                                </p:cTn>
                              </p:par>
                              <p:par>
                                <p:cTn id="12" presetID="10" presetClass="entr" presetSubtype="0" fill="hold" nodeType="withEffect">
                                  <p:stCondLst>
                                    <p:cond delay="0"/>
                                  </p:stCondLst>
                                  <p:childTnLst>
                                    <p:set>
                                      <p:cBhvr>
                                        <p:cTn id="13" dur="1" fill="hold">
                                          <p:stCondLst>
                                            <p:cond delay="0"/>
                                          </p:stCondLst>
                                        </p:cTn>
                                        <p:tgtEl>
                                          <p:spTgt spid="1028"/>
                                        </p:tgtEl>
                                        <p:attrNameLst>
                                          <p:attrName>style.visibility</p:attrName>
                                        </p:attrNameLst>
                                      </p:cBhvr>
                                      <p:to>
                                        <p:strVal val="visible"/>
                                      </p:to>
                                    </p:set>
                                    <p:animEffect transition="in" filter="fade">
                                      <p:cBhvr>
                                        <p:cTn id="14" dur="1750"/>
                                        <p:tgtEl>
                                          <p:spTgt spid="1028"/>
                                        </p:tgtEl>
                                      </p:cBhvr>
                                    </p:animEffect>
                                  </p:childTnLst>
                                </p:cTn>
                              </p:par>
                            </p:childTnLst>
                          </p:cTn>
                        </p:par>
                      </p:childTnLst>
                    </p:cTn>
                  </p:par>
                  <p:par>
                    <p:cTn id="15" fill="hold">
                      <p:stCondLst>
                        <p:cond delay="indefinite"/>
                      </p:stCondLst>
                      <p:childTnLst>
                        <p:par>
                          <p:cTn id="16" fill="hold">
                            <p:stCondLst>
                              <p:cond delay="0"/>
                            </p:stCondLst>
                            <p:childTnLst>
                              <p:par>
                                <p:cTn id="17" presetID="2" presetClass="entr" presetSubtype="2" decel="100000" fill="hold" nodeType="clickEffect">
                                  <p:stCondLst>
                                    <p:cond delay="0"/>
                                  </p:stCondLst>
                                  <p:childTnLst>
                                    <p:set>
                                      <p:cBhvr>
                                        <p:cTn id="18" dur="1" fill="hold">
                                          <p:stCondLst>
                                            <p:cond delay="0"/>
                                          </p:stCondLst>
                                        </p:cTn>
                                        <p:tgtEl>
                                          <p:spTgt spid="15"/>
                                        </p:tgtEl>
                                        <p:attrNameLst>
                                          <p:attrName>style.visibility</p:attrName>
                                        </p:attrNameLst>
                                      </p:cBhvr>
                                      <p:to>
                                        <p:strVal val="visible"/>
                                      </p:to>
                                    </p:set>
                                    <p:anim calcmode="lin" valueType="num">
                                      <p:cBhvr additive="base">
                                        <p:cTn id="19" dur="1500" fill="hold"/>
                                        <p:tgtEl>
                                          <p:spTgt spid="15"/>
                                        </p:tgtEl>
                                        <p:attrNameLst>
                                          <p:attrName>ppt_x</p:attrName>
                                        </p:attrNameLst>
                                      </p:cBhvr>
                                      <p:tavLst>
                                        <p:tav tm="0">
                                          <p:val>
                                            <p:strVal val="1+#ppt_w/2"/>
                                          </p:val>
                                        </p:tav>
                                        <p:tav tm="100000">
                                          <p:val>
                                            <p:strVal val="#ppt_x"/>
                                          </p:val>
                                        </p:tav>
                                      </p:tavLst>
                                    </p:anim>
                                    <p:anim calcmode="lin" valueType="num">
                                      <p:cBhvr additive="base">
                                        <p:cTn id="20" dur="1500" fill="hold"/>
                                        <p:tgtEl>
                                          <p:spTgt spid="15"/>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2" decel="100000" fill="hold" nodeType="clickEffect">
                                  <p:stCondLst>
                                    <p:cond delay="0"/>
                                  </p:stCondLst>
                                  <p:childTnLst>
                                    <p:set>
                                      <p:cBhvr>
                                        <p:cTn id="24" dur="1" fill="hold">
                                          <p:stCondLst>
                                            <p:cond delay="0"/>
                                          </p:stCondLst>
                                        </p:cTn>
                                        <p:tgtEl>
                                          <p:spTgt spid="4"/>
                                        </p:tgtEl>
                                        <p:attrNameLst>
                                          <p:attrName>style.visibility</p:attrName>
                                        </p:attrNameLst>
                                      </p:cBhvr>
                                      <p:to>
                                        <p:strVal val="visible"/>
                                      </p:to>
                                    </p:set>
                                    <p:anim calcmode="lin" valueType="num">
                                      <p:cBhvr additive="base">
                                        <p:cTn id="25" dur="1500" fill="hold"/>
                                        <p:tgtEl>
                                          <p:spTgt spid="4"/>
                                        </p:tgtEl>
                                        <p:attrNameLst>
                                          <p:attrName>ppt_x</p:attrName>
                                        </p:attrNameLst>
                                      </p:cBhvr>
                                      <p:tavLst>
                                        <p:tav tm="0">
                                          <p:val>
                                            <p:strVal val="1+#ppt_w/2"/>
                                          </p:val>
                                        </p:tav>
                                        <p:tav tm="100000">
                                          <p:val>
                                            <p:strVal val="#ppt_x"/>
                                          </p:val>
                                        </p:tav>
                                      </p:tavLst>
                                    </p:anim>
                                    <p:anim calcmode="lin" valueType="num">
                                      <p:cBhvr additive="base">
                                        <p:cTn id="26" dur="1500" fill="hold"/>
                                        <p:tgtEl>
                                          <p:spTgt spid="4"/>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decel="100000" fill="hold" nodeType="clickEffect">
                                  <p:stCondLst>
                                    <p:cond delay="0"/>
                                  </p:stCondLst>
                                  <p:childTnLst>
                                    <p:set>
                                      <p:cBhvr>
                                        <p:cTn id="30" dur="1" fill="hold">
                                          <p:stCondLst>
                                            <p:cond delay="0"/>
                                          </p:stCondLst>
                                        </p:cTn>
                                        <p:tgtEl>
                                          <p:spTgt spid="5"/>
                                        </p:tgtEl>
                                        <p:attrNameLst>
                                          <p:attrName>style.visibility</p:attrName>
                                        </p:attrNameLst>
                                      </p:cBhvr>
                                      <p:to>
                                        <p:strVal val="visible"/>
                                      </p:to>
                                    </p:set>
                                    <p:anim calcmode="lin" valueType="num">
                                      <p:cBhvr additive="base">
                                        <p:cTn id="31" dur="1500" fill="hold"/>
                                        <p:tgtEl>
                                          <p:spTgt spid="5"/>
                                        </p:tgtEl>
                                        <p:attrNameLst>
                                          <p:attrName>ppt_x</p:attrName>
                                        </p:attrNameLst>
                                      </p:cBhvr>
                                      <p:tavLst>
                                        <p:tav tm="0">
                                          <p:val>
                                            <p:strVal val="0-#ppt_w/2"/>
                                          </p:val>
                                        </p:tav>
                                        <p:tav tm="100000">
                                          <p:val>
                                            <p:strVal val="#ppt_x"/>
                                          </p:val>
                                        </p:tav>
                                      </p:tavLst>
                                    </p:anim>
                                    <p:anim calcmode="lin" valueType="num">
                                      <p:cBhvr additive="base">
                                        <p:cTn id="32" dur="1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48" y="171454"/>
            <a:ext cx="8363938" cy="914096"/>
          </a:xfrm>
        </p:spPr>
        <p:txBody>
          <a:bodyPr/>
          <a:lstStyle/>
          <a:p>
            <a:r>
              <a:rPr lang="en-US" dirty="0" smtClean="0"/>
              <a:t>Using Windows Azure as Online Backup </a:t>
            </a:r>
            <a:br>
              <a:rPr lang="en-US" dirty="0" smtClean="0"/>
            </a:br>
            <a:r>
              <a:rPr lang="en-US" dirty="0" smtClean="0"/>
              <a:t>with Windows Server 2012</a:t>
            </a:r>
            <a:endParaRPr lang="en-US" dirty="0"/>
          </a:p>
        </p:txBody>
      </p:sp>
      <p:grpSp>
        <p:nvGrpSpPr>
          <p:cNvPr id="5" name="Group 4"/>
          <p:cNvGrpSpPr/>
          <p:nvPr/>
        </p:nvGrpSpPr>
        <p:grpSpPr>
          <a:xfrm>
            <a:off x="894078" y="1390484"/>
            <a:ext cx="7375933" cy="3675511"/>
            <a:chOff x="728260" y="1853970"/>
            <a:chExt cx="9832016" cy="4900681"/>
          </a:xfrm>
        </p:grpSpPr>
        <p:grpSp>
          <p:nvGrpSpPr>
            <p:cNvPr id="66" name="Group 65"/>
            <p:cNvGrpSpPr/>
            <p:nvPr/>
          </p:nvGrpSpPr>
          <p:grpSpPr>
            <a:xfrm>
              <a:off x="7053268" y="2124301"/>
              <a:ext cx="3013927" cy="1832120"/>
              <a:chOff x="214313" y="2174875"/>
              <a:chExt cx="990600" cy="598488"/>
            </a:xfrm>
            <a:solidFill>
              <a:schemeClr val="accent1"/>
            </a:solidFill>
          </p:grpSpPr>
          <p:sp>
            <p:nvSpPr>
              <p:cNvPr id="67"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68"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grpSp>
          <p:nvGrpSpPr>
            <p:cNvPr id="63" name="Group 62"/>
            <p:cNvGrpSpPr/>
            <p:nvPr/>
          </p:nvGrpSpPr>
          <p:grpSpPr>
            <a:xfrm>
              <a:off x="1706586" y="1853970"/>
              <a:ext cx="3828629" cy="2129906"/>
              <a:chOff x="214313" y="2174875"/>
              <a:chExt cx="990600" cy="598488"/>
            </a:xfrm>
            <a:solidFill>
              <a:schemeClr val="accent1"/>
            </a:solidFill>
          </p:grpSpPr>
          <p:sp>
            <p:nvSpPr>
              <p:cNvPr id="64"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65"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
          <p:nvSpPr>
            <p:cNvPr id="11" name="Rectangle 10"/>
            <p:cNvSpPr/>
            <p:nvPr/>
          </p:nvSpPr>
          <p:spPr bwMode="auto">
            <a:xfrm>
              <a:off x="4049322" y="5222430"/>
              <a:ext cx="2391680" cy="747458"/>
            </a:xfrm>
            <a:prstGeom prst="rect">
              <a:avLst/>
            </a:prstGeom>
            <a:solidFill>
              <a:schemeClr val="accent2"/>
            </a:solidFill>
            <a:ln w="9525" cap="flat" cmpd="sng" algn="ctr">
              <a:noFill/>
              <a:prstDash val="solid"/>
              <a:round/>
              <a:headEnd type="none" w="med" len="med"/>
              <a:tailEnd type="none" w="med" len="med"/>
            </a:ln>
            <a:effectLst/>
          </p:spPr>
          <p:txBody>
            <a:bodyPr vert="horz" wrap="square" lIns="76109" tIns="38049" rIns="76109" bIns="38049" numCol="1" rtlCol="0" anchor="b" anchorCtr="0" compatLnSpc="1">
              <a:prstTxWarp prst="textNoShape">
                <a:avLst/>
              </a:prstTxWarp>
            </a:bodyPr>
            <a:lstStyle/>
            <a:p>
              <a:pPr defTabSz="912374"/>
              <a:r>
                <a:rPr lang="en-US" dirty="0">
                  <a:gradFill>
                    <a:gsLst>
                      <a:gs pos="0">
                        <a:schemeClr val="tx1"/>
                      </a:gs>
                      <a:gs pos="100000">
                        <a:schemeClr val="tx1"/>
                      </a:gs>
                    </a:gsLst>
                    <a:lin ang="5400000" scaled="0"/>
                  </a:gradFill>
                </a:rPr>
                <a:t>Inbox Engine</a:t>
              </a:r>
            </a:p>
            <a:p>
              <a:pPr defTabSz="912374"/>
              <a:r>
                <a:rPr lang="en-US" dirty="0">
                  <a:gradFill>
                    <a:gsLst>
                      <a:gs pos="0">
                        <a:schemeClr val="tx1"/>
                      </a:gs>
                      <a:gs pos="100000">
                        <a:schemeClr val="tx1"/>
                      </a:gs>
                    </a:gsLst>
                    <a:lin ang="5400000" scaled="0"/>
                  </a:gradFill>
                </a:rPr>
                <a:t>Inbox UI</a:t>
              </a:r>
            </a:p>
          </p:txBody>
        </p:sp>
        <p:sp>
          <p:nvSpPr>
            <p:cNvPr id="14" name="TextBox 13"/>
            <p:cNvSpPr txBox="1"/>
            <p:nvPr/>
          </p:nvSpPr>
          <p:spPr>
            <a:xfrm>
              <a:off x="4016268" y="5985017"/>
              <a:ext cx="3146290" cy="718008"/>
            </a:xfrm>
            <a:prstGeom prst="rect">
              <a:avLst/>
            </a:prstGeom>
            <a:noFill/>
          </p:spPr>
          <p:txBody>
            <a:bodyPr wrap="square" lIns="76109" tIns="38049" rIns="76109" bIns="38049" rtlCol="0">
              <a:spAutoFit/>
            </a:bodyPr>
            <a:lstStyle/>
            <a:p>
              <a:pPr defTabSz="912374"/>
              <a:r>
                <a:rPr lang="en-US" sz="1500" dirty="0">
                  <a:gradFill>
                    <a:gsLst>
                      <a:gs pos="0">
                        <a:schemeClr val="tx1"/>
                      </a:gs>
                      <a:gs pos="100000">
                        <a:schemeClr val="tx1"/>
                      </a:gs>
                    </a:gsLst>
                    <a:lin ang="5400000" scaled="0"/>
                  </a:gradFill>
                </a:rPr>
                <a:t>Windows Server 2012 Backup (Extensible)</a:t>
              </a:r>
            </a:p>
          </p:txBody>
        </p:sp>
        <p:sp>
          <p:nvSpPr>
            <p:cNvPr id="16" name="TextBox 15"/>
            <p:cNvSpPr txBox="1"/>
            <p:nvPr/>
          </p:nvSpPr>
          <p:spPr>
            <a:xfrm>
              <a:off x="1953667" y="5728867"/>
              <a:ext cx="2702325" cy="1025784"/>
            </a:xfrm>
            <a:prstGeom prst="rect">
              <a:avLst/>
            </a:prstGeom>
            <a:noFill/>
          </p:spPr>
          <p:txBody>
            <a:bodyPr wrap="square" lIns="76109" tIns="38049" rIns="76109" bIns="38049" rtlCol="0">
              <a:spAutoFit/>
            </a:bodyPr>
            <a:lstStyle/>
            <a:p>
              <a:pPr defTabSz="912374"/>
              <a:r>
                <a:rPr lang="en-US" sz="1500" dirty="0">
                  <a:gradFill>
                    <a:gsLst>
                      <a:gs pos="0">
                        <a:schemeClr val="tx1"/>
                      </a:gs>
                      <a:gs pos="100000">
                        <a:schemeClr val="tx1"/>
                      </a:gs>
                    </a:gsLst>
                    <a:lin ang="5400000" scaled="0"/>
                  </a:gradFill>
                  <a:latin typeface="+mj-lt"/>
                </a:rPr>
                <a:t>Windows </a:t>
              </a:r>
              <a:br>
                <a:rPr lang="en-US" sz="1500" dirty="0">
                  <a:gradFill>
                    <a:gsLst>
                      <a:gs pos="0">
                        <a:schemeClr val="tx1"/>
                      </a:gs>
                      <a:gs pos="100000">
                        <a:schemeClr val="tx1"/>
                      </a:gs>
                    </a:gsLst>
                    <a:lin ang="5400000" scaled="0"/>
                  </a:gradFill>
                  <a:latin typeface="+mj-lt"/>
                </a:rPr>
              </a:br>
              <a:r>
                <a:rPr lang="en-US" sz="1500" dirty="0">
                  <a:gradFill>
                    <a:gsLst>
                      <a:gs pos="0">
                        <a:schemeClr val="tx1"/>
                      </a:gs>
                      <a:gs pos="100000">
                        <a:schemeClr val="tx1"/>
                      </a:gs>
                    </a:gsLst>
                    <a:lin ang="5400000" scaled="0"/>
                  </a:gradFill>
                  <a:latin typeface="+mj-lt"/>
                </a:rPr>
                <a:t>Server </a:t>
              </a:r>
              <a:br>
                <a:rPr lang="en-US" sz="1500" dirty="0">
                  <a:gradFill>
                    <a:gsLst>
                      <a:gs pos="0">
                        <a:schemeClr val="tx1"/>
                      </a:gs>
                      <a:gs pos="100000">
                        <a:schemeClr val="tx1"/>
                      </a:gs>
                    </a:gsLst>
                    <a:lin ang="5400000" scaled="0"/>
                  </a:gradFill>
                  <a:latin typeface="+mj-lt"/>
                </a:rPr>
              </a:br>
              <a:r>
                <a:rPr lang="en-US" sz="1500" dirty="0">
                  <a:gradFill>
                    <a:gsLst>
                      <a:gs pos="0">
                        <a:schemeClr val="tx1"/>
                      </a:gs>
                      <a:gs pos="100000">
                        <a:schemeClr val="tx1"/>
                      </a:gs>
                    </a:gsLst>
                    <a:lin ang="5400000" scaled="0"/>
                  </a:gradFill>
                  <a:latin typeface="+mj-lt"/>
                </a:rPr>
                <a:t>2012</a:t>
              </a:r>
            </a:p>
          </p:txBody>
        </p:sp>
        <p:sp>
          <p:nvSpPr>
            <p:cNvPr id="18" name="TextBox 17"/>
            <p:cNvSpPr txBox="1"/>
            <p:nvPr/>
          </p:nvSpPr>
          <p:spPr>
            <a:xfrm>
              <a:off x="7518742" y="3199162"/>
              <a:ext cx="1551458" cy="328157"/>
            </a:xfrm>
            <a:prstGeom prst="rect">
              <a:avLst/>
            </a:prstGeom>
            <a:noFill/>
          </p:spPr>
          <p:txBody>
            <a:bodyPr wrap="square" lIns="76109" tIns="38049" rIns="76109" bIns="38049" rtlCol="0">
              <a:spAutoFit/>
            </a:bodyPr>
            <a:lstStyle/>
            <a:p>
              <a:pPr defTabSz="912374"/>
              <a:r>
                <a:rPr lang="en-US" sz="1100" dirty="0">
                  <a:gradFill>
                    <a:gsLst>
                      <a:gs pos="0">
                        <a:schemeClr val="tx1"/>
                      </a:gs>
                      <a:gs pos="100000">
                        <a:schemeClr val="tx1"/>
                      </a:gs>
                    </a:gsLst>
                    <a:lin ang="5400000" scaled="0"/>
                  </a:gradFill>
                </a:rPr>
                <a:t>3</a:t>
              </a:r>
              <a:r>
                <a:rPr lang="en-US" sz="1100" baseline="30000" dirty="0">
                  <a:gradFill>
                    <a:gsLst>
                      <a:gs pos="0">
                        <a:schemeClr val="tx1"/>
                      </a:gs>
                      <a:gs pos="100000">
                        <a:schemeClr val="tx1"/>
                      </a:gs>
                    </a:gsLst>
                    <a:lin ang="5400000" scaled="0"/>
                  </a:gradFill>
                </a:rPr>
                <a:t>rd</a:t>
              </a:r>
              <a:r>
                <a:rPr lang="en-US" sz="1100" dirty="0">
                  <a:gradFill>
                    <a:gsLst>
                      <a:gs pos="0">
                        <a:schemeClr val="tx1"/>
                      </a:gs>
                      <a:gs pos="100000">
                        <a:schemeClr val="tx1"/>
                      </a:gs>
                    </a:gsLst>
                    <a:lin ang="5400000" scaled="0"/>
                  </a:gradFill>
                </a:rPr>
                <a:t> Party Cloud</a:t>
              </a:r>
            </a:p>
          </p:txBody>
        </p:sp>
        <p:sp>
          <p:nvSpPr>
            <p:cNvPr id="21" name="Rectangle 20"/>
            <p:cNvSpPr/>
            <p:nvPr/>
          </p:nvSpPr>
          <p:spPr bwMode="auto">
            <a:xfrm>
              <a:off x="2797923" y="3626593"/>
              <a:ext cx="1766622" cy="659658"/>
            </a:xfrm>
            <a:prstGeom prst="rect">
              <a:avLst/>
            </a:prstGeom>
            <a:solidFill>
              <a:schemeClr val="accent4"/>
            </a:solidFill>
            <a:ln w="9525" cap="flat" cmpd="sng" algn="ctr">
              <a:noFill/>
              <a:prstDash val="solid"/>
              <a:round/>
              <a:headEnd type="none" w="med" len="med"/>
              <a:tailEnd type="none" w="med" len="med"/>
            </a:ln>
            <a:effectLst/>
          </p:spPr>
          <p:txBody>
            <a:bodyPr vert="horz" wrap="square" lIns="76109" tIns="38049" rIns="76109" bIns="38049" numCol="1" rtlCol="0" anchor="t" anchorCtr="0" compatLnSpc="1">
              <a:prstTxWarp prst="textNoShape">
                <a:avLst/>
              </a:prstTxWarp>
            </a:bodyPr>
            <a:lstStyle/>
            <a:p>
              <a:pPr defTabSz="814766" fontAlgn="base">
                <a:spcBef>
                  <a:spcPct val="0"/>
                </a:spcBef>
                <a:spcAft>
                  <a:spcPct val="0"/>
                </a:spcAft>
              </a:pPr>
              <a:endParaRPr lang="en-US" sz="1600" dirty="0">
                <a:solidFill>
                  <a:srgbClr val="FFFFFF"/>
                </a:solidFill>
                <a:cs typeface="Arial" charset="0"/>
              </a:endParaRPr>
            </a:p>
          </p:txBody>
        </p:sp>
        <p:sp>
          <p:nvSpPr>
            <p:cNvPr id="24" name="Rectangle 23"/>
            <p:cNvSpPr/>
            <p:nvPr/>
          </p:nvSpPr>
          <p:spPr bwMode="auto">
            <a:xfrm>
              <a:off x="6122857" y="3636416"/>
              <a:ext cx="1767380" cy="659658"/>
            </a:xfrm>
            <a:prstGeom prst="rect">
              <a:avLst/>
            </a:prstGeom>
            <a:solidFill>
              <a:schemeClr val="accent4"/>
            </a:solidFill>
            <a:ln w="9525" cap="flat" cmpd="sng" algn="ctr">
              <a:noFill/>
              <a:prstDash val="solid"/>
              <a:round/>
              <a:headEnd type="none" w="med" len="med"/>
              <a:tailEnd type="none" w="med" len="med"/>
            </a:ln>
            <a:effectLst/>
          </p:spPr>
          <p:txBody>
            <a:bodyPr vert="horz" wrap="square" lIns="76109" tIns="38049" rIns="76109" bIns="38049" numCol="1" rtlCol="0" anchor="t" anchorCtr="0" compatLnSpc="1">
              <a:prstTxWarp prst="textNoShape">
                <a:avLst/>
              </a:prstTxWarp>
            </a:bodyPr>
            <a:lstStyle/>
            <a:p>
              <a:pPr defTabSz="814766" fontAlgn="base">
                <a:spcBef>
                  <a:spcPct val="0"/>
                </a:spcBef>
                <a:spcAft>
                  <a:spcPct val="0"/>
                </a:spcAft>
              </a:pPr>
              <a:endParaRPr lang="en-US" sz="1600" dirty="0">
                <a:solidFill>
                  <a:prstClr val="black"/>
                </a:solidFill>
                <a:cs typeface="Arial" charset="0"/>
              </a:endParaRPr>
            </a:p>
          </p:txBody>
        </p:sp>
        <p:sp>
          <p:nvSpPr>
            <p:cNvPr id="26" name="TextBox 25"/>
            <p:cNvSpPr txBox="1"/>
            <p:nvPr/>
          </p:nvSpPr>
          <p:spPr>
            <a:xfrm>
              <a:off x="2756741" y="3850233"/>
              <a:ext cx="1337380" cy="471787"/>
            </a:xfrm>
            <a:prstGeom prst="rect">
              <a:avLst/>
            </a:prstGeom>
            <a:noFill/>
          </p:spPr>
          <p:txBody>
            <a:bodyPr wrap="none" lIns="76109" tIns="38049" rIns="76109" bIns="38049" rtlCol="0">
              <a:spAutoFit/>
            </a:bodyPr>
            <a:lstStyle/>
            <a:p>
              <a:pPr algn="ctr" defTabSz="912374"/>
              <a:r>
                <a:rPr lang="en-US" sz="900" dirty="0">
                  <a:gradFill>
                    <a:gsLst>
                      <a:gs pos="0">
                        <a:schemeClr val="tx1"/>
                      </a:gs>
                      <a:gs pos="100000">
                        <a:schemeClr val="tx1"/>
                      </a:gs>
                    </a:gsLst>
                    <a:lin ang="5400000" scaled="0"/>
                  </a:gradFill>
                </a:rPr>
                <a:t>Microsoft Online</a:t>
              </a:r>
            </a:p>
            <a:p>
              <a:pPr defTabSz="912374"/>
              <a:r>
                <a:rPr lang="en-US" sz="900" dirty="0">
                  <a:gradFill>
                    <a:gsLst>
                      <a:gs pos="0">
                        <a:schemeClr val="tx1"/>
                      </a:gs>
                      <a:gs pos="100000">
                        <a:schemeClr val="tx1"/>
                      </a:gs>
                    </a:gsLst>
                    <a:lin ang="5400000" scaled="0"/>
                  </a:gradFill>
                </a:rPr>
                <a:t>Backup Service</a:t>
              </a:r>
            </a:p>
          </p:txBody>
        </p:sp>
        <p:sp>
          <p:nvSpPr>
            <p:cNvPr id="28" name="TextBox 27"/>
            <p:cNvSpPr txBox="1"/>
            <p:nvPr/>
          </p:nvSpPr>
          <p:spPr>
            <a:xfrm>
              <a:off x="6080635" y="3850233"/>
              <a:ext cx="1258319" cy="471787"/>
            </a:xfrm>
            <a:prstGeom prst="rect">
              <a:avLst/>
            </a:prstGeom>
            <a:noFill/>
          </p:spPr>
          <p:txBody>
            <a:bodyPr wrap="none" lIns="76109" tIns="38049" rIns="76109" bIns="38049" rtlCol="0">
              <a:spAutoFit/>
            </a:bodyPr>
            <a:lstStyle/>
            <a:p>
              <a:pPr defTabSz="912374"/>
              <a:r>
                <a:rPr lang="en-US" sz="900" dirty="0">
                  <a:gradFill>
                    <a:gsLst>
                      <a:gs pos="0">
                        <a:schemeClr val="tx1"/>
                      </a:gs>
                      <a:gs pos="100000">
                        <a:schemeClr val="tx1"/>
                      </a:gs>
                    </a:gsLst>
                    <a:lin ang="5400000" scaled="0"/>
                  </a:gradFill>
                </a:rPr>
                <a:t>3</a:t>
              </a:r>
              <a:r>
                <a:rPr lang="en-US" sz="900" baseline="30000" dirty="0">
                  <a:gradFill>
                    <a:gsLst>
                      <a:gs pos="0">
                        <a:schemeClr val="tx1"/>
                      </a:gs>
                      <a:gs pos="100000">
                        <a:schemeClr val="tx1"/>
                      </a:gs>
                    </a:gsLst>
                    <a:lin ang="5400000" scaled="0"/>
                  </a:gradFill>
                </a:rPr>
                <a:t>rd</a:t>
              </a:r>
              <a:r>
                <a:rPr lang="en-US" sz="900" dirty="0">
                  <a:gradFill>
                    <a:gsLst>
                      <a:gs pos="0">
                        <a:schemeClr val="tx1"/>
                      </a:gs>
                      <a:gs pos="100000">
                        <a:schemeClr val="tx1"/>
                      </a:gs>
                    </a:gsLst>
                    <a:lin ang="5400000" scaled="0"/>
                  </a:gradFill>
                </a:rPr>
                <a:t> Party Online</a:t>
              </a:r>
            </a:p>
            <a:p>
              <a:pPr defTabSz="912374"/>
              <a:r>
                <a:rPr lang="en-US" sz="900" dirty="0">
                  <a:gradFill>
                    <a:gsLst>
                      <a:gs pos="0">
                        <a:schemeClr val="tx1"/>
                      </a:gs>
                      <a:gs pos="100000">
                        <a:schemeClr val="tx1"/>
                      </a:gs>
                    </a:gsLst>
                    <a:lin ang="5400000" scaled="0"/>
                  </a:gradFill>
                </a:rPr>
                <a:t>Backup Service</a:t>
              </a:r>
            </a:p>
          </p:txBody>
        </p:sp>
        <p:pic>
          <p:nvPicPr>
            <p:cNvPr id="27" name="Picture 2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152848" y="2940284"/>
              <a:ext cx="1126192" cy="689933"/>
            </a:xfrm>
            <a:prstGeom prst="rect">
              <a:avLst/>
            </a:prstGeom>
          </p:spPr>
        </p:pic>
        <p:pic>
          <p:nvPicPr>
            <p:cNvPr id="30" name="Picture 2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87567" y="3046511"/>
              <a:ext cx="1235878" cy="757130"/>
            </a:xfrm>
            <a:prstGeom prst="rect">
              <a:avLst/>
            </a:prstGeom>
          </p:spPr>
        </p:pic>
        <p:sp>
          <p:nvSpPr>
            <p:cNvPr id="31" name="TextBox 30"/>
            <p:cNvSpPr txBox="1"/>
            <p:nvPr/>
          </p:nvSpPr>
          <p:spPr>
            <a:xfrm>
              <a:off x="1178015" y="2576677"/>
              <a:ext cx="1337380" cy="471787"/>
            </a:xfrm>
            <a:prstGeom prst="rect">
              <a:avLst/>
            </a:prstGeom>
            <a:noFill/>
          </p:spPr>
          <p:txBody>
            <a:bodyPr wrap="none" lIns="76109" tIns="38049" rIns="76109" bIns="38049" rtlCol="0">
              <a:spAutoFit/>
            </a:bodyPr>
            <a:lstStyle/>
            <a:p>
              <a:pPr defTabSz="912374"/>
              <a:r>
                <a:rPr lang="en-US" sz="900" dirty="0">
                  <a:gradFill>
                    <a:gsLst>
                      <a:gs pos="0">
                        <a:schemeClr val="tx1"/>
                      </a:gs>
                      <a:gs pos="100000">
                        <a:schemeClr val="tx1"/>
                      </a:gs>
                    </a:gsLst>
                    <a:lin ang="5400000" scaled="0"/>
                  </a:gradFill>
                </a:rPr>
                <a:t>Microsoft Online</a:t>
              </a:r>
            </a:p>
            <a:p>
              <a:pPr defTabSz="912374"/>
              <a:r>
                <a:rPr lang="en-US" sz="900" dirty="0">
                  <a:gradFill>
                    <a:gsLst>
                      <a:gs pos="0">
                        <a:schemeClr val="tx1"/>
                      </a:gs>
                      <a:gs pos="100000">
                        <a:schemeClr val="tx1"/>
                      </a:gs>
                    </a:gsLst>
                    <a:lin ang="5400000" scaled="0"/>
                  </a:gradFill>
                </a:rPr>
                <a:t>Backup Portal</a:t>
              </a:r>
            </a:p>
          </p:txBody>
        </p:sp>
        <p:sp>
          <p:nvSpPr>
            <p:cNvPr id="29" name="TextBox 28"/>
            <p:cNvSpPr txBox="1"/>
            <p:nvPr/>
          </p:nvSpPr>
          <p:spPr>
            <a:xfrm>
              <a:off x="1187567" y="3046511"/>
              <a:ext cx="1235877" cy="757130"/>
            </a:xfrm>
            <a:prstGeom prst="rect">
              <a:avLst/>
            </a:prstGeom>
            <a:solidFill>
              <a:schemeClr val="tx1">
                <a:alpha val="45000"/>
              </a:schemeClr>
            </a:solidFill>
          </p:spPr>
          <p:txBody>
            <a:bodyPr wrap="square" lIns="76109" tIns="38049" rIns="76109" bIns="38049" rtlCol="0">
              <a:noAutofit/>
            </a:bodyPr>
            <a:lstStyle/>
            <a:p>
              <a:pPr defTabSz="912374"/>
              <a:r>
                <a:rPr lang="en-US" dirty="0">
                  <a:gradFill>
                    <a:gsLst>
                      <a:gs pos="0">
                        <a:schemeClr val="bg1"/>
                      </a:gs>
                      <a:gs pos="100000">
                        <a:schemeClr val="bg1"/>
                      </a:gs>
                    </a:gsLst>
                    <a:lin ang="5400000" scaled="0"/>
                  </a:gradFill>
                </a:rPr>
                <a:t>Sign </a:t>
              </a:r>
              <a:r>
                <a:rPr lang="en-US" dirty="0" smtClean="0">
                  <a:gradFill>
                    <a:gsLst>
                      <a:gs pos="0">
                        <a:schemeClr val="bg1"/>
                      </a:gs>
                      <a:gs pos="100000">
                        <a:schemeClr val="bg1"/>
                      </a:gs>
                    </a:gsLst>
                    <a:lin ang="5400000" scaled="0"/>
                  </a:gradFill>
                </a:rPr>
                <a:t>up </a:t>
              </a:r>
              <a:br>
                <a:rPr lang="en-US" dirty="0" smtClean="0">
                  <a:gradFill>
                    <a:gsLst>
                      <a:gs pos="0">
                        <a:schemeClr val="bg1"/>
                      </a:gs>
                      <a:gs pos="100000">
                        <a:schemeClr val="bg1"/>
                      </a:gs>
                    </a:gsLst>
                    <a:lin ang="5400000" scaled="0"/>
                  </a:gradFill>
                </a:rPr>
              </a:br>
              <a:r>
                <a:rPr lang="en-US" dirty="0" smtClean="0">
                  <a:gradFill>
                    <a:gsLst>
                      <a:gs pos="0">
                        <a:schemeClr val="bg1"/>
                      </a:gs>
                      <a:gs pos="100000">
                        <a:schemeClr val="bg1"/>
                      </a:gs>
                    </a:gsLst>
                    <a:lin ang="5400000" scaled="0"/>
                  </a:gradFill>
                </a:rPr>
                <a:t>&amp;</a:t>
              </a:r>
              <a:r>
                <a:rPr lang="en-US" dirty="0">
                  <a:gradFill>
                    <a:gsLst>
                      <a:gs pos="0">
                        <a:schemeClr val="bg1"/>
                      </a:gs>
                      <a:gs pos="100000">
                        <a:schemeClr val="bg1"/>
                      </a:gs>
                    </a:gsLst>
                    <a:lin ang="5400000" scaled="0"/>
                  </a:gradFill>
                </a:rPr>
                <a:t> </a:t>
              </a:r>
              <a:r>
                <a:rPr lang="en-US" dirty="0" smtClean="0">
                  <a:gradFill>
                    <a:gsLst>
                      <a:gs pos="0">
                        <a:schemeClr val="bg1"/>
                      </a:gs>
                      <a:gs pos="100000">
                        <a:schemeClr val="bg1"/>
                      </a:gs>
                    </a:gsLst>
                    <a:lin ang="5400000" scaled="0"/>
                  </a:gradFill>
                </a:rPr>
                <a:t>Billing</a:t>
              </a:r>
              <a:endParaRPr lang="en-US" dirty="0">
                <a:gradFill>
                  <a:gsLst>
                    <a:gs pos="0">
                      <a:schemeClr val="bg1"/>
                    </a:gs>
                    <a:gs pos="100000">
                      <a:schemeClr val="bg1"/>
                    </a:gs>
                  </a:gsLst>
                  <a:lin ang="5400000" scaled="0"/>
                </a:gradFill>
              </a:endParaRPr>
            </a:p>
          </p:txBody>
        </p:sp>
        <p:sp>
          <p:nvSpPr>
            <p:cNvPr id="41" name="TextBox 40"/>
            <p:cNvSpPr txBox="1"/>
            <p:nvPr/>
          </p:nvSpPr>
          <p:spPr>
            <a:xfrm>
              <a:off x="749240" y="4248094"/>
              <a:ext cx="950623" cy="553860"/>
            </a:xfrm>
            <a:prstGeom prst="rect">
              <a:avLst/>
            </a:prstGeom>
            <a:noFill/>
          </p:spPr>
          <p:txBody>
            <a:bodyPr wrap="none" lIns="76109" tIns="38049" rIns="76109" bIns="38049" rtlCol="0">
              <a:spAutoFit/>
            </a:bodyPr>
            <a:lstStyle/>
            <a:p>
              <a:pPr defTabSz="912374"/>
              <a:r>
                <a:rPr lang="en-US" sz="1100" dirty="0">
                  <a:gradFill>
                    <a:gsLst>
                      <a:gs pos="0">
                        <a:schemeClr val="tx1"/>
                      </a:gs>
                      <a:gs pos="100000">
                        <a:schemeClr val="tx1"/>
                      </a:gs>
                    </a:gsLst>
                    <a:lin ang="5400000" scaled="0"/>
                  </a:gradFill>
                </a:rPr>
                <a:t>IT Admin</a:t>
              </a:r>
            </a:p>
            <a:p>
              <a:pPr defTabSz="912374"/>
              <a:r>
                <a:rPr lang="en-US" sz="900" dirty="0">
                  <a:gradFill>
                    <a:gsLst>
                      <a:gs pos="0">
                        <a:schemeClr val="tx1"/>
                      </a:gs>
                      <a:gs pos="100000">
                        <a:schemeClr val="tx1"/>
                      </a:gs>
                    </a:gsLst>
                    <a:lin ang="5400000" scaled="0"/>
                  </a:gradFill>
                </a:rPr>
                <a:t>or </a:t>
              </a:r>
              <a:r>
                <a:rPr lang="en-US" sz="1100" dirty="0">
                  <a:gradFill>
                    <a:gsLst>
                      <a:gs pos="0">
                        <a:schemeClr val="tx1"/>
                      </a:gs>
                      <a:gs pos="100000">
                        <a:schemeClr val="tx1"/>
                      </a:gs>
                    </a:gsLst>
                    <a:lin ang="5400000" scaled="0"/>
                  </a:gradFill>
                </a:rPr>
                <a:t>VAP</a:t>
              </a:r>
            </a:p>
          </p:txBody>
        </p:sp>
        <p:sp>
          <p:nvSpPr>
            <p:cNvPr id="42" name="TextBox 41"/>
            <p:cNvSpPr txBox="1"/>
            <p:nvPr/>
          </p:nvSpPr>
          <p:spPr>
            <a:xfrm>
              <a:off x="9609653" y="3891585"/>
              <a:ext cx="950623" cy="553860"/>
            </a:xfrm>
            <a:prstGeom prst="rect">
              <a:avLst/>
            </a:prstGeom>
            <a:noFill/>
          </p:spPr>
          <p:txBody>
            <a:bodyPr wrap="none" lIns="76109" tIns="38049" rIns="76109" bIns="38049" rtlCol="0">
              <a:spAutoFit/>
            </a:bodyPr>
            <a:lstStyle/>
            <a:p>
              <a:pPr defTabSz="912374"/>
              <a:r>
                <a:rPr lang="en-US" sz="1100" dirty="0">
                  <a:gradFill>
                    <a:gsLst>
                      <a:gs pos="0">
                        <a:schemeClr val="tx1"/>
                      </a:gs>
                      <a:gs pos="100000">
                        <a:schemeClr val="tx1"/>
                      </a:gs>
                    </a:gsLst>
                    <a:lin ang="5400000" scaled="0"/>
                  </a:gradFill>
                </a:rPr>
                <a:t>IT Admin</a:t>
              </a:r>
            </a:p>
            <a:p>
              <a:pPr defTabSz="912374"/>
              <a:r>
                <a:rPr lang="en-US" sz="900" dirty="0">
                  <a:gradFill>
                    <a:gsLst>
                      <a:gs pos="0">
                        <a:schemeClr val="tx1"/>
                      </a:gs>
                      <a:gs pos="100000">
                        <a:schemeClr val="tx1"/>
                      </a:gs>
                    </a:gsLst>
                    <a:lin ang="5400000" scaled="0"/>
                  </a:gradFill>
                </a:rPr>
                <a:t>or </a:t>
              </a:r>
              <a:r>
                <a:rPr lang="en-US" sz="1100" dirty="0">
                  <a:gradFill>
                    <a:gsLst>
                      <a:gs pos="0">
                        <a:schemeClr val="tx1"/>
                      </a:gs>
                      <a:gs pos="100000">
                        <a:schemeClr val="tx1"/>
                      </a:gs>
                    </a:gsLst>
                    <a:lin ang="5400000" scaled="0"/>
                  </a:gradFill>
                </a:rPr>
                <a:t>VAP</a:t>
              </a:r>
            </a:p>
          </p:txBody>
        </p:sp>
        <p:sp>
          <p:nvSpPr>
            <p:cNvPr id="43" name="TextBox 42"/>
            <p:cNvSpPr txBox="1"/>
            <p:nvPr/>
          </p:nvSpPr>
          <p:spPr>
            <a:xfrm>
              <a:off x="6449793" y="5221435"/>
              <a:ext cx="1019000" cy="287121"/>
            </a:xfrm>
            <a:prstGeom prst="rect">
              <a:avLst/>
            </a:prstGeom>
            <a:noFill/>
          </p:spPr>
          <p:txBody>
            <a:bodyPr wrap="none" lIns="76109" tIns="38049" rIns="76109" bIns="38049" rtlCol="0">
              <a:spAutoFit/>
            </a:bodyPr>
            <a:lstStyle/>
            <a:p>
              <a:pPr defTabSz="912374"/>
              <a:r>
                <a:rPr lang="en-US" sz="900" dirty="0">
                  <a:gradFill>
                    <a:gsLst>
                      <a:gs pos="0">
                        <a:schemeClr val="tx1"/>
                      </a:gs>
                      <a:gs pos="100000">
                        <a:schemeClr val="tx1"/>
                      </a:gs>
                    </a:gsLst>
                    <a:lin ang="5400000" scaled="0"/>
                  </a:gradFill>
                </a:rPr>
                <a:t>Registration</a:t>
              </a:r>
            </a:p>
          </p:txBody>
        </p:sp>
        <p:sp>
          <p:nvSpPr>
            <p:cNvPr id="46" name="TextBox 45"/>
            <p:cNvSpPr txBox="1"/>
            <p:nvPr/>
          </p:nvSpPr>
          <p:spPr>
            <a:xfrm>
              <a:off x="2141421" y="5276500"/>
              <a:ext cx="1019000" cy="287121"/>
            </a:xfrm>
            <a:prstGeom prst="rect">
              <a:avLst/>
            </a:prstGeom>
            <a:noFill/>
          </p:spPr>
          <p:txBody>
            <a:bodyPr wrap="none" lIns="76109" tIns="38049" rIns="76109" bIns="38049" rtlCol="0">
              <a:spAutoFit/>
            </a:bodyPr>
            <a:lstStyle/>
            <a:p>
              <a:pPr defTabSz="912374"/>
              <a:r>
                <a:rPr lang="en-US" sz="900" dirty="0">
                  <a:gradFill>
                    <a:gsLst>
                      <a:gs pos="0">
                        <a:schemeClr val="tx1"/>
                      </a:gs>
                      <a:gs pos="100000">
                        <a:schemeClr val="tx1"/>
                      </a:gs>
                    </a:gsLst>
                    <a:lin ang="5400000" scaled="0"/>
                  </a:gradFill>
                </a:rPr>
                <a:t>Registration</a:t>
              </a:r>
            </a:p>
          </p:txBody>
        </p:sp>
        <p:sp>
          <p:nvSpPr>
            <p:cNvPr id="47" name="TextBox 46"/>
            <p:cNvSpPr txBox="1"/>
            <p:nvPr/>
          </p:nvSpPr>
          <p:spPr>
            <a:xfrm rot="16200000">
              <a:off x="3376902" y="4614254"/>
              <a:ext cx="1153917" cy="266533"/>
            </a:xfrm>
            <a:prstGeom prst="rect">
              <a:avLst/>
            </a:prstGeom>
            <a:noFill/>
          </p:spPr>
          <p:txBody>
            <a:bodyPr wrap="none" lIns="76109" tIns="38049" rIns="76109" bIns="38049" rtlCol="0">
              <a:spAutoFit/>
            </a:bodyPr>
            <a:lstStyle/>
            <a:p>
              <a:pPr defTabSz="912374"/>
              <a:r>
                <a:rPr lang="en-US" sz="800" dirty="0">
                  <a:gradFill>
                    <a:gsLst>
                      <a:gs pos="0">
                        <a:schemeClr val="tx1"/>
                      </a:gs>
                      <a:gs pos="100000">
                        <a:schemeClr val="tx1"/>
                      </a:gs>
                    </a:gsLst>
                    <a:lin ang="5400000" scaled="0"/>
                  </a:gradFill>
                </a:rPr>
                <a:t>Backup/Restore</a:t>
              </a:r>
            </a:p>
          </p:txBody>
        </p:sp>
        <p:sp>
          <p:nvSpPr>
            <p:cNvPr id="48" name="TextBox 47"/>
            <p:cNvSpPr txBox="1"/>
            <p:nvPr/>
          </p:nvSpPr>
          <p:spPr>
            <a:xfrm rot="16200000">
              <a:off x="5377696" y="4614254"/>
              <a:ext cx="1153917" cy="266533"/>
            </a:xfrm>
            <a:prstGeom prst="rect">
              <a:avLst/>
            </a:prstGeom>
            <a:noFill/>
          </p:spPr>
          <p:txBody>
            <a:bodyPr wrap="none" lIns="76109" tIns="38049" rIns="76109" bIns="38049" rtlCol="0">
              <a:spAutoFit/>
            </a:bodyPr>
            <a:lstStyle/>
            <a:p>
              <a:pPr defTabSz="912374"/>
              <a:r>
                <a:rPr lang="en-US" sz="800" dirty="0">
                  <a:gradFill>
                    <a:gsLst>
                      <a:gs pos="0">
                        <a:schemeClr val="tx1"/>
                      </a:gs>
                      <a:gs pos="100000">
                        <a:schemeClr val="tx1"/>
                      </a:gs>
                    </a:gsLst>
                    <a:lin ang="5400000" scaled="0"/>
                  </a:gradFill>
                </a:rPr>
                <a:t>Backup/Restore</a:t>
              </a:r>
            </a:p>
          </p:txBody>
        </p:sp>
        <p:pic>
          <p:nvPicPr>
            <p:cNvPr id="49" name="Picture 2"/>
            <p:cNvPicPr>
              <a:picLocks noChangeAspect="1" noChangeArrowheads="1"/>
            </p:cNvPicPr>
            <p:nvPr/>
          </p:nvPicPr>
          <p:blipFill>
            <a:blip r:embed="rId5" cstate="print">
              <a:grayscl/>
              <a:extLst/>
            </a:blip>
            <a:stretch>
              <a:fillRect/>
            </a:stretch>
          </p:blipFill>
          <p:spPr bwMode="auto">
            <a:xfrm>
              <a:off x="728260" y="3382736"/>
              <a:ext cx="957055" cy="957304"/>
            </a:xfrm>
            <a:prstGeom prst="rect">
              <a:avLst/>
            </a:prstGeom>
            <a:noFill/>
            <a:ln>
              <a:noFill/>
            </a:ln>
          </p:spPr>
        </p:pic>
        <p:grpSp>
          <p:nvGrpSpPr>
            <p:cNvPr id="55" name="Group 54"/>
            <p:cNvGrpSpPr/>
            <p:nvPr/>
          </p:nvGrpSpPr>
          <p:grpSpPr bwMode="black">
            <a:xfrm>
              <a:off x="4016267" y="3861394"/>
              <a:ext cx="454078" cy="369509"/>
              <a:chOff x="5184775" y="225425"/>
              <a:chExt cx="1500188" cy="1220788"/>
            </a:xfrm>
            <a:solidFill>
              <a:srgbClr val="FFFFFF"/>
            </a:solidFill>
          </p:grpSpPr>
          <p:sp>
            <p:nvSpPr>
              <p:cNvPr id="56"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rgbClr val="FFFFFF"/>
                  </a:solidFill>
                </a:endParaRPr>
              </a:p>
            </p:txBody>
          </p:sp>
          <p:sp>
            <p:nvSpPr>
              <p:cNvPr id="57"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rgbClr val="FFFFFF"/>
                  </a:solidFill>
                </a:endParaRPr>
              </a:p>
            </p:txBody>
          </p:sp>
          <p:sp>
            <p:nvSpPr>
              <p:cNvPr id="58"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rgbClr val="FFFFFF"/>
                  </a:solidFill>
                </a:endParaRPr>
              </a:p>
            </p:txBody>
          </p:sp>
        </p:grpSp>
        <p:grpSp>
          <p:nvGrpSpPr>
            <p:cNvPr id="59" name="Group 58"/>
            <p:cNvGrpSpPr/>
            <p:nvPr/>
          </p:nvGrpSpPr>
          <p:grpSpPr bwMode="black">
            <a:xfrm>
              <a:off x="5832072" y="5468594"/>
              <a:ext cx="542266" cy="441273"/>
              <a:chOff x="5184775" y="225425"/>
              <a:chExt cx="1500188" cy="1220788"/>
            </a:xfrm>
            <a:solidFill>
              <a:srgbClr val="FFFFFF"/>
            </a:solidFill>
          </p:grpSpPr>
          <p:sp>
            <p:nvSpPr>
              <p:cNvPr id="60"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rgbClr val="FFFFFF"/>
                  </a:solidFill>
                </a:endParaRPr>
              </a:p>
            </p:txBody>
          </p:sp>
          <p:sp>
            <p:nvSpPr>
              <p:cNvPr id="61"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rgbClr val="FFFFFF"/>
                  </a:solidFill>
                </a:endParaRPr>
              </a:p>
            </p:txBody>
          </p:sp>
          <p:sp>
            <p:nvSpPr>
              <p:cNvPr id="62"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rgbClr val="FFFFFF"/>
                  </a:solidFill>
                </a:endParaRPr>
              </a:p>
            </p:txBody>
          </p:sp>
        </p:grpSp>
        <p:pic>
          <p:nvPicPr>
            <p:cNvPr id="69" name="Picture 68"/>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582496" y="3199162"/>
              <a:ext cx="1765818" cy="205252"/>
            </a:xfrm>
            <a:prstGeom prst="rect">
              <a:avLst/>
            </a:prstGeom>
          </p:spPr>
        </p:pic>
        <p:sp>
          <p:nvSpPr>
            <p:cNvPr id="19" name="Up Arrow 18"/>
            <p:cNvSpPr/>
            <p:nvPr/>
          </p:nvSpPr>
          <p:spPr bwMode="auto">
            <a:xfrm>
              <a:off x="4030784" y="4340039"/>
              <a:ext cx="283147" cy="897518"/>
            </a:xfrm>
            <a:prstGeom prst="up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6109" tIns="38049" rIns="38049" bIns="76109" numCol="1" spcCol="0" rtlCol="0" fromWordArt="0" anchor="b" anchorCtr="0" forceAA="0" compatLnSpc="1">
              <a:prstTxWarp prst="textNoShape">
                <a:avLst/>
              </a:prstTxWarp>
              <a:noAutofit/>
            </a:bodyPr>
            <a:lstStyle/>
            <a:p>
              <a:pPr algn="ctr" defTabSz="570567" fontAlgn="base">
                <a:spcBef>
                  <a:spcPct val="0"/>
                </a:spcBef>
                <a:spcAft>
                  <a:spcPct val="0"/>
                </a:spcAft>
              </a:pPr>
              <a:endParaRPr lang="en-US" spc="-32" dirty="0">
                <a:gradFill>
                  <a:gsLst>
                    <a:gs pos="0">
                      <a:srgbClr val="FFFFFF"/>
                    </a:gs>
                    <a:gs pos="100000">
                      <a:srgbClr val="FFFFFF"/>
                    </a:gs>
                  </a:gsLst>
                  <a:lin ang="5400000" scaled="0"/>
                </a:gradFill>
                <a:ea typeface="Segoe UI" pitchFamily="34" charset="0"/>
                <a:cs typeface="Segoe UI" pitchFamily="34" charset="0"/>
              </a:endParaRPr>
            </a:p>
          </p:txBody>
        </p:sp>
        <p:sp>
          <p:nvSpPr>
            <p:cNvPr id="71" name="Up Arrow 70"/>
            <p:cNvSpPr/>
            <p:nvPr/>
          </p:nvSpPr>
          <p:spPr bwMode="auto">
            <a:xfrm>
              <a:off x="6139991" y="4350989"/>
              <a:ext cx="283147" cy="897518"/>
            </a:xfrm>
            <a:prstGeom prst="up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6109" tIns="38049" rIns="38049" bIns="76109" numCol="1" spcCol="0" rtlCol="0" fromWordArt="0" anchor="b" anchorCtr="0" forceAA="0" compatLnSpc="1">
              <a:prstTxWarp prst="textNoShape">
                <a:avLst/>
              </a:prstTxWarp>
              <a:noAutofit/>
            </a:bodyPr>
            <a:lstStyle/>
            <a:p>
              <a:pPr algn="ctr" defTabSz="570567" fontAlgn="base">
                <a:spcBef>
                  <a:spcPct val="0"/>
                </a:spcBef>
                <a:spcAft>
                  <a:spcPct val="0"/>
                </a:spcAft>
              </a:pPr>
              <a:endParaRPr lang="en-US" spc="-32" dirty="0">
                <a:gradFill>
                  <a:gsLst>
                    <a:gs pos="0">
                      <a:srgbClr val="FFFFFF"/>
                    </a:gs>
                    <a:gs pos="100000">
                      <a:srgbClr val="FFFFFF"/>
                    </a:gs>
                  </a:gsLst>
                  <a:lin ang="5400000" scaled="0"/>
                </a:gradFill>
                <a:ea typeface="Segoe UI" pitchFamily="34" charset="0"/>
                <a:cs typeface="Segoe UI" pitchFamily="34" charset="0"/>
              </a:endParaRPr>
            </a:p>
          </p:txBody>
        </p:sp>
        <p:sp>
          <p:nvSpPr>
            <p:cNvPr id="35" name="Bent-Up Arrow 34"/>
            <p:cNvSpPr/>
            <p:nvPr/>
          </p:nvSpPr>
          <p:spPr bwMode="auto">
            <a:xfrm flipH="1">
              <a:off x="1848939" y="3927864"/>
              <a:ext cx="2200391" cy="1807645"/>
            </a:xfrm>
            <a:prstGeom prst="bentUpArrow">
              <a:avLst>
                <a:gd name="adj1" fmla="val 10246"/>
                <a:gd name="adj2" fmla="val 10949"/>
                <a:gd name="adj3" fmla="val 17448"/>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6109" tIns="38049" rIns="38049" bIns="76109" numCol="1" spcCol="0" rtlCol="0" fromWordArt="0" anchor="b" anchorCtr="0" forceAA="0" compatLnSpc="1">
              <a:prstTxWarp prst="textNoShape">
                <a:avLst/>
              </a:prstTxWarp>
              <a:noAutofit/>
            </a:bodyPr>
            <a:lstStyle/>
            <a:p>
              <a:pPr algn="ctr" defTabSz="570567" fontAlgn="base">
                <a:spcBef>
                  <a:spcPct val="0"/>
                </a:spcBef>
                <a:spcAft>
                  <a:spcPct val="0"/>
                </a:spcAft>
              </a:pPr>
              <a:endParaRPr lang="en-US" spc="-32" dirty="0">
                <a:gradFill>
                  <a:gsLst>
                    <a:gs pos="0">
                      <a:srgbClr val="FFFFFF"/>
                    </a:gs>
                    <a:gs pos="100000">
                      <a:srgbClr val="FFFFFF"/>
                    </a:gs>
                  </a:gsLst>
                  <a:lin ang="5400000" scaled="0"/>
                </a:gradFill>
                <a:ea typeface="Segoe UI" pitchFamily="34" charset="0"/>
                <a:cs typeface="Segoe UI" pitchFamily="34" charset="0"/>
              </a:endParaRPr>
            </a:p>
          </p:txBody>
        </p:sp>
        <p:sp>
          <p:nvSpPr>
            <p:cNvPr id="73" name="Bent-Up Arrow 72"/>
            <p:cNvSpPr/>
            <p:nvPr/>
          </p:nvSpPr>
          <p:spPr bwMode="auto">
            <a:xfrm>
              <a:off x="6434163" y="3908521"/>
              <a:ext cx="2718693" cy="1772386"/>
            </a:xfrm>
            <a:prstGeom prst="bentUpArrow">
              <a:avLst>
                <a:gd name="adj1" fmla="val 10246"/>
                <a:gd name="adj2" fmla="val 10949"/>
                <a:gd name="adj3" fmla="val 17448"/>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6109" tIns="38049" rIns="38049" bIns="76109" numCol="1" spcCol="0" rtlCol="0" fromWordArt="0" anchor="b" anchorCtr="0" forceAA="0" compatLnSpc="1">
              <a:prstTxWarp prst="textNoShape">
                <a:avLst/>
              </a:prstTxWarp>
              <a:noAutofit/>
            </a:bodyPr>
            <a:lstStyle/>
            <a:p>
              <a:pPr algn="ctr" defTabSz="570567" fontAlgn="base">
                <a:spcBef>
                  <a:spcPct val="0"/>
                </a:spcBef>
                <a:spcAft>
                  <a:spcPct val="0"/>
                </a:spcAft>
              </a:pPr>
              <a:endParaRPr lang="en-US" spc="-32" dirty="0">
                <a:gradFill>
                  <a:gsLst>
                    <a:gs pos="0">
                      <a:srgbClr val="FFFFFF"/>
                    </a:gs>
                    <a:gs pos="100000">
                      <a:srgbClr val="FFFFFF"/>
                    </a:gs>
                  </a:gsLst>
                  <a:lin ang="5400000" scaled="0"/>
                </a:gradFill>
                <a:ea typeface="Segoe UI" pitchFamily="34" charset="0"/>
                <a:cs typeface="Segoe UI" pitchFamily="34" charset="0"/>
              </a:endParaRPr>
            </a:p>
          </p:txBody>
        </p:sp>
        <p:grpSp>
          <p:nvGrpSpPr>
            <p:cNvPr id="37" name="Group 36"/>
            <p:cNvGrpSpPr/>
            <p:nvPr/>
          </p:nvGrpSpPr>
          <p:grpSpPr>
            <a:xfrm>
              <a:off x="3127865" y="5101360"/>
              <a:ext cx="779112" cy="1617869"/>
              <a:chOff x="1413986" y="6580204"/>
              <a:chExt cx="488910" cy="1014984"/>
            </a:xfrm>
          </p:grpSpPr>
          <p:sp>
            <p:nvSpPr>
              <p:cNvPr id="75" name="Rectangle 18"/>
              <p:cNvSpPr/>
              <p:nvPr/>
            </p:nvSpPr>
            <p:spPr bwMode="auto">
              <a:xfrm>
                <a:off x="1423190" y="6675286"/>
                <a:ext cx="452611" cy="826300"/>
              </a:xfrm>
              <a:custGeom>
                <a:avLst/>
                <a:gdLst/>
                <a:ahLst/>
                <a:cxnLst/>
                <a:rect l="l" t="t" r="r" b="b"/>
                <a:pathLst>
                  <a:path w="460787" h="841225">
                    <a:moveTo>
                      <a:pt x="295330" y="0"/>
                    </a:moveTo>
                    <a:lnTo>
                      <a:pt x="460787" y="70191"/>
                    </a:lnTo>
                    <a:lnTo>
                      <a:pt x="460787" y="763884"/>
                    </a:lnTo>
                    <a:lnTo>
                      <a:pt x="301267" y="841225"/>
                    </a:lnTo>
                    <a:lnTo>
                      <a:pt x="0" y="780330"/>
                    </a:lnTo>
                    <a:lnTo>
                      <a:pt x="0" y="683108"/>
                    </a:lnTo>
                    <a:lnTo>
                      <a:pt x="0" y="51455"/>
                    </a:lnTo>
                    <a:close/>
                  </a:path>
                </a:pathLst>
              </a:custGeom>
              <a:solidFill>
                <a:schemeClr val="bg1">
                  <a:lumMod val="50000"/>
                  <a:lumOff val="50000"/>
                </a:schemeClr>
              </a:solidFill>
              <a:ln>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70567" fontAlgn="base">
                  <a:spcBef>
                    <a:spcPct val="0"/>
                  </a:spcBef>
                  <a:spcAft>
                    <a:spcPct val="0"/>
                  </a:spcAft>
                </a:pPr>
                <a:endParaRPr lang="en-US" dirty="0">
                  <a:solidFill>
                    <a:srgbClr val="F2F2F2"/>
                  </a:solidFill>
                </a:endParaRPr>
              </a:p>
            </p:txBody>
          </p:sp>
          <p:pic>
            <p:nvPicPr>
              <p:cNvPr id="76" name="Picture 6" descr="\\magnum\Projects\Microsoft\Cloud Power FY12\Design\Icons\PNGs\Server_2.png"/>
              <p:cNvPicPr>
                <a:picLocks noChangeAspect="1" noChangeArrowheads="1"/>
              </p:cNvPicPr>
              <p:nvPr/>
            </p:nvPicPr>
            <p:blipFill rotWithShape="1">
              <a:blip r:embed="rId8" cstate="print">
                <a:biLevel thresh="25000"/>
              </a:blip>
              <a:srcRect l="27509" r="25796"/>
              <a:stretch/>
            </p:blipFill>
            <p:spPr bwMode="auto">
              <a:xfrm>
                <a:off x="1413986" y="6580204"/>
                <a:ext cx="488910" cy="1014984"/>
              </a:xfrm>
              <a:prstGeom prst="rect">
                <a:avLst/>
              </a:prstGeom>
              <a:noFill/>
            </p:spPr>
          </p:pic>
        </p:grpSp>
        <p:sp>
          <p:nvSpPr>
            <p:cNvPr id="77" name="TextBox 76"/>
            <p:cNvSpPr txBox="1"/>
            <p:nvPr/>
          </p:nvSpPr>
          <p:spPr>
            <a:xfrm>
              <a:off x="9152856" y="2940284"/>
              <a:ext cx="1126184" cy="696131"/>
            </a:xfrm>
            <a:prstGeom prst="rect">
              <a:avLst/>
            </a:prstGeom>
            <a:solidFill>
              <a:schemeClr val="tx1">
                <a:alpha val="45000"/>
              </a:schemeClr>
            </a:solidFill>
          </p:spPr>
          <p:txBody>
            <a:bodyPr wrap="square" lIns="76109" tIns="38049" rIns="76109" bIns="38049" rtlCol="0">
              <a:noAutofit/>
            </a:bodyPr>
            <a:lstStyle>
              <a:defPPr>
                <a:defRPr lang="en-US"/>
              </a:defPPr>
              <a:lvl1pPr defTabSz="1216641">
                <a:defRPr>
                  <a:gradFill>
                    <a:gsLst>
                      <a:gs pos="0">
                        <a:schemeClr val="bg1"/>
                      </a:gs>
                      <a:gs pos="100000">
                        <a:schemeClr val="bg1"/>
                      </a:gs>
                    </a:gsLst>
                    <a:lin ang="5400000" scaled="0"/>
                  </a:gradFill>
                </a:defRPr>
              </a:lvl1pPr>
            </a:lstStyle>
            <a:p>
              <a:r>
                <a:rPr lang="en-US" dirty="0"/>
                <a:t>Sign up </a:t>
              </a:r>
              <a:br>
                <a:rPr lang="en-US" dirty="0"/>
              </a:br>
              <a:r>
                <a:rPr lang="en-US" dirty="0"/>
                <a:t>&amp; Billing</a:t>
              </a:r>
            </a:p>
          </p:txBody>
        </p:sp>
        <p:grpSp>
          <p:nvGrpSpPr>
            <p:cNvPr id="78" name="Group 77"/>
            <p:cNvGrpSpPr/>
            <p:nvPr/>
          </p:nvGrpSpPr>
          <p:grpSpPr bwMode="black">
            <a:xfrm>
              <a:off x="7339423" y="3743118"/>
              <a:ext cx="454078" cy="369509"/>
              <a:chOff x="5184775" y="225425"/>
              <a:chExt cx="1500188" cy="1220788"/>
            </a:xfrm>
            <a:solidFill>
              <a:srgbClr val="FFFFFF"/>
            </a:solidFill>
          </p:grpSpPr>
          <p:sp>
            <p:nvSpPr>
              <p:cNvPr id="7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rgbClr val="FFFFFF"/>
                  </a:solidFill>
                </a:endParaRPr>
              </a:p>
            </p:txBody>
          </p:sp>
          <p:sp>
            <p:nvSpPr>
              <p:cNvPr id="8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rgbClr val="FFFFFF"/>
                  </a:solidFill>
                </a:endParaRPr>
              </a:p>
            </p:txBody>
          </p:sp>
          <p:sp>
            <p:nvSpPr>
              <p:cNvPr id="8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rgbClr val="FFFFFF"/>
                  </a:solidFill>
                </a:endParaRPr>
              </a:p>
            </p:txBody>
          </p:sp>
        </p:grpSp>
        <p:pic>
          <p:nvPicPr>
            <p:cNvPr id="70" name="Picture 2"/>
            <p:cNvPicPr>
              <a:picLocks noChangeAspect="1" noChangeArrowheads="1"/>
            </p:cNvPicPr>
            <p:nvPr/>
          </p:nvPicPr>
          <p:blipFill>
            <a:blip r:embed="rId5" cstate="print">
              <a:grayscl/>
              <a:extLst/>
            </a:blip>
            <a:stretch>
              <a:fillRect/>
            </a:stretch>
          </p:blipFill>
          <p:spPr bwMode="auto">
            <a:xfrm>
              <a:off x="8846631" y="3393686"/>
              <a:ext cx="957055" cy="957304"/>
            </a:xfrm>
            <a:prstGeom prst="rect">
              <a:avLst/>
            </a:prstGeom>
            <a:noFill/>
            <a:ln>
              <a:noFill/>
            </a:ln>
          </p:spPr>
        </p:pic>
      </p:grpSp>
      <p:sp>
        <p:nvSpPr>
          <p:cNvPr id="51"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52"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9"/>
              </a:rPr>
              <a:t>www.rapidbbs.cn</a:t>
            </a:r>
            <a:endParaRPr lang="zh-CN" altLang="en-US" sz="1200" b="0">
              <a:latin typeface="Arial" charset="0"/>
              <a:ea typeface="ＭＳ Ｐゴシック" pitchFamily="34" charset="-128"/>
            </a:endParaRPr>
          </a:p>
        </p:txBody>
      </p:sp>
      <p:pic>
        <p:nvPicPr>
          <p:cNvPr id="53" name="Picture 2">
            <a:hlinkClick r:id="rId9"/>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96732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427197" y="2591072"/>
            <a:ext cx="1953768" cy="1920240"/>
            <a:chOff x="519111" y="2155271"/>
            <a:chExt cx="2604346" cy="2560320"/>
          </a:xfrm>
        </p:grpSpPr>
        <p:pic>
          <p:nvPicPr>
            <p:cNvPr id="80" name="Picture 2" descr="http://cache1.asset-cache.net/xr/134429246.jpg?v=1&amp;c=IWSAsset&amp;k=3&amp;d=91F5CCEF208281FD5C343D12E4E10FFA5F73AEC31E90807E3C404E3F4AA9C0FD">
              <a:hlinkClick r:id="rId3"/>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9074" r="11218"/>
            <a:stretch/>
          </p:blipFill>
          <p:spPr bwMode="auto">
            <a:xfrm>
              <a:off x="519111" y="2155271"/>
              <a:ext cx="2604345" cy="2560320"/>
            </a:xfrm>
            <a:prstGeom prst="rect">
              <a:avLst/>
            </a:prstGeom>
            <a:noFill/>
            <a:extLst>
              <a:ext uri="{909E8E84-426E-40DD-AFC4-6F175D3DCCD1}">
                <a14:hiddenFill xmlns:a14="http://schemas.microsoft.com/office/drawing/2010/main">
                  <a:solidFill>
                    <a:srgbClr val="FFFFFF"/>
                  </a:solidFill>
                </a14:hiddenFill>
              </a:ext>
            </a:extLst>
          </p:spPr>
        </p:pic>
        <p:sp>
          <p:nvSpPr>
            <p:cNvPr id="79" name="Rectangle 78"/>
            <p:cNvSpPr/>
            <p:nvPr/>
          </p:nvSpPr>
          <p:spPr bwMode="auto">
            <a:xfrm>
              <a:off x="519112" y="3895841"/>
              <a:ext cx="2604345" cy="819750"/>
            </a:xfrm>
            <a:prstGeom prst="rect">
              <a:avLst/>
            </a:prstGeom>
            <a:gradFill flip="none" rotWithShape="1">
              <a:gsLst>
                <a:gs pos="0">
                  <a:schemeClr val="tx1"/>
                </a:gs>
                <a:gs pos="76000">
                  <a:schemeClr val="tx1">
                    <a:alpha val="54000"/>
                  </a:schemeClr>
                </a:gs>
                <a:gs pos="100000">
                  <a:schemeClr val="tx1">
                    <a:tint val="23500"/>
                    <a:satMod val="160000"/>
                    <a:alpha val="0"/>
                  </a:scheme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b" anchorCtr="0" compatLnSpc="1">
              <a:prstTxWarp prst="textNoShape">
                <a:avLst/>
              </a:prstTxWarp>
            </a:bodyPr>
            <a:lstStyle/>
            <a:p>
              <a:pPr defTabSz="685637" fontAlgn="base">
                <a:spcBef>
                  <a:spcPct val="0"/>
                </a:spcBef>
                <a:spcAft>
                  <a:spcPct val="0"/>
                </a:spcAft>
              </a:pPr>
              <a:r>
                <a:rPr lang="en-US" sz="1700" dirty="0">
                  <a:solidFill>
                    <a:srgbClr val="363535"/>
                  </a:solidFill>
                </a:rPr>
                <a:t>No Compromise Business Tablet</a:t>
              </a:r>
            </a:p>
          </p:txBody>
        </p:sp>
      </p:grpSp>
      <p:grpSp>
        <p:nvGrpSpPr>
          <p:cNvPr id="3" name="Group 2"/>
          <p:cNvGrpSpPr/>
          <p:nvPr/>
        </p:nvGrpSpPr>
        <p:grpSpPr>
          <a:xfrm>
            <a:off x="2571823" y="2591072"/>
            <a:ext cx="1953767" cy="1920240"/>
            <a:chOff x="3377869" y="2155271"/>
            <a:chExt cx="2604344" cy="2560320"/>
          </a:xfrm>
        </p:grpSpPr>
        <p:pic>
          <p:nvPicPr>
            <p:cNvPr id="77" name="Picture 5" descr="Royalty-free Image: Two women working on a laptop in an"/>
            <p:cNvPicPr>
              <a:picLocks noChangeAspect="1" noChangeArrowheads="1"/>
            </p:cNvPicPr>
            <p:nvPr/>
          </p:nvPicPr>
          <p:blipFill rotWithShape="1">
            <a:blip r:embed="rId5">
              <a:extLst>
                <a:ext uri="{28A0092B-C50C-407E-A947-70E740481C1C}">
                  <a14:useLocalDpi xmlns:a14="http://schemas.microsoft.com/office/drawing/2010/main" val="0"/>
                </a:ext>
              </a:extLst>
            </a:blip>
            <a:srcRect l="19368" t="1404" r="10158" b="1798"/>
            <a:stretch/>
          </p:blipFill>
          <p:spPr bwMode="auto">
            <a:xfrm>
              <a:off x="3377869" y="2155271"/>
              <a:ext cx="2604344" cy="2560320"/>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p:cNvSpPr/>
            <p:nvPr/>
          </p:nvSpPr>
          <p:spPr bwMode="auto">
            <a:xfrm>
              <a:off x="3377869" y="3895841"/>
              <a:ext cx="2584019" cy="819750"/>
            </a:xfrm>
            <a:prstGeom prst="rect">
              <a:avLst/>
            </a:prstGeom>
            <a:gradFill flip="none" rotWithShape="1">
              <a:gsLst>
                <a:gs pos="0">
                  <a:schemeClr val="tx1"/>
                </a:gs>
                <a:gs pos="76000">
                  <a:schemeClr val="tx1">
                    <a:alpha val="25000"/>
                  </a:schemeClr>
                </a:gs>
                <a:gs pos="100000">
                  <a:schemeClr val="tx1">
                    <a:tint val="23500"/>
                    <a:satMod val="160000"/>
                    <a:alpha val="0"/>
                  </a:scheme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b" anchorCtr="0" compatLnSpc="1">
              <a:prstTxWarp prst="textNoShape">
                <a:avLst/>
              </a:prstTxWarp>
            </a:bodyPr>
            <a:lstStyle/>
            <a:p>
              <a:pPr defTabSz="685637" fontAlgn="base">
                <a:spcBef>
                  <a:spcPct val="0"/>
                </a:spcBef>
                <a:spcAft>
                  <a:spcPct val="0"/>
                </a:spcAft>
              </a:pPr>
              <a:r>
                <a:rPr lang="en-US" sz="1700" dirty="0">
                  <a:solidFill>
                    <a:srgbClr val="363535"/>
                  </a:solidFill>
                </a:rPr>
                <a:t>New Possibilities in Mobile Productivity</a:t>
              </a:r>
            </a:p>
          </p:txBody>
        </p:sp>
      </p:grpSp>
      <p:grpSp>
        <p:nvGrpSpPr>
          <p:cNvPr id="4" name="Group 5"/>
          <p:cNvGrpSpPr/>
          <p:nvPr/>
        </p:nvGrpSpPr>
        <p:grpSpPr>
          <a:xfrm>
            <a:off x="4716449" y="2591072"/>
            <a:ext cx="1953768" cy="1920240"/>
            <a:chOff x="6236625" y="2155271"/>
            <a:chExt cx="2604346" cy="2560320"/>
          </a:xfrm>
        </p:grpSpPr>
        <p:pic>
          <p:nvPicPr>
            <p:cNvPr id="73" name="Picture 7" descr="C:\Users\v-junyo\Documents\Jun_Mesh\Microsoft Files\DesignTools\Brand Photos\Unified Communications\Brand Library - no exp\UC10_Group_001.jpg"/>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6236626" y="2155271"/>
              <a:ext cx="2604345" cy="2560320"/>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p:cNvSpPr/>
            <p:nvPr/>
          </p:nvSpPr>
          <p:spPr bwMode="auto">
            <a:xfrm>
              <a:off x="6236625" y="3895841"/>
              <a:ext cx="2604345" cy="819750"/>
            </a:xfrm>
            <a:prstGeom prst="rect">
              <a:avLst/>
            </a:prstGeom>
            <a:gradFill flip="none" rotWithShape="1">
              <a:gsLst>
                <a:gs pos="0">
                  <a:schemeClr val="tx1"/>
                </a:gs>
                <a:gs pos="76000">
                  <a:schemeClr val="tx1">
                    <a:alpha val="25000"/>
                  </a:schemeClr>
                </a:gs>
                <a:gs pos="100000">
                  <a:schemeClr val="tx1">
                    <a:tint val="23500"/>
                    <a:satMod val="160000"/>
                    <a:alpha val="0"/>
                  </a:scheme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b" anchorCtr="0" compatLnSpc="1">
              <a:prstTxWarp prst="textNoShape">
                <a:avLst/>
              </a:prstTxWarp>
            </a:bodyPr>
            <a:lstStyle/>
            <a:p>
              <a:pPr defTabSz="685637" fontAlgn="base">
                <a:spcBef>
                  <a:spcPct val="0"/>
                </a:spcBef>
                <a:spcAft>
                  <a:spcPct val="0"/>
                </a:spcAft>
              </a:pPr>
              <a:r>
                <a:rPr lang="en-US" sz="1700" dirty="0">
                  <a:solidFill>
                    <a:srgbClr val="363535"/>
                  </a:solidFill>
                </a:rPr>
                <a:t>Enhanced End-to-End Security</a:t>
              </a:r>
            </a:p>
          </p:txBody>
        </p:sp>
      </p:grpSp>
      <p:grpSp>
        <p:nvGrpSpPr>
          <p:cNvPr id="6" name="Group 6"/>
          <p:cNvGrpSpPr/>
          <p:nvPr/>
        </p:nvGrpSpPr>
        <p:grpSpPr>
          <a:xfrm>
            <a:off x="6857761" y="2591073"/>
            <a:ext cx="1961224" cy="1920241"/>
            <a:chOff x="9090964" y="2155270"/>
            <a:chExt cx="2614284" cy="2560321"/>
          </a:xfrm>
        </p:grpSpPr>
        <p:pic>
          <p:nvPicPr>
            <p:cNvPr id="70" name="Picture 2" descr="C:\Users\v-junyo\Documents\Jun_Mesh\Microsoft Files\DesignTools\Brand Photos\FY10 Business Identity\Server IT - no exp\server female thinking IT problem solving laptop machine room fix technology stand.jpg"/>
            <p:cNvPicPr>
              <a:picLocks noChangeAspect="1" noChangeArrowheads="1"/>
            </p:cNvPicPr>
            <p:nvPr/>
          </p:nvPicPr>
          <p:blipFill rotWithShape="1">
            <a:blip r:embed="rId7">
              <a:extLst>
                <a:ext uri="{28A0092B-C50C-407E-A947-70E740481C1C}">
                  <a14:useLocalDpi xmlns:a14="http://schemas.microsoft.com/office/drawing/2010/main" val="0"/>
                </a:ext>
              </a:extLst>
            </a:blip>
            <a:srcRect l="34684" t="13633" r="7163" b="769"/>
            <a:stretch/>
          </p:blipFill>
          <p:spPr bwMode="auto">
            <a:xfrm>
              <a:off x="9095383" y="2155270"/>
              <a:ext cx="2609865" cy="2560321"/>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p:cNvSpPr/>
            <p:nvPr/>
          </p:nvSpPr>
          <p:spPr bwMode="auto">
            <a:xfrm>
              <a:off x="9090964" y="3895841"/>
              <a:ext cx="2614284" cy="819750"/>
            </a:xfrm>
            <a:prstGeom prst="rect">
              <a:avLst/>
            </a:prstGeom>
            <a:gradFill flip="none" rotWithShape="1">
              <a:gsLst>
                <a:gs pos="0">
                  <a:schemeClr val="tx1"/>
                </a:gs>
                <a:gs pos="76000">
                  <a:schemeClr val="tx1">
                    <a:alpha val="25000"/>
                  </a:schemeClr>
                </a:gs>
                <a:gs pos="100000">
                  <a:schemeClr val="tx1">
                    <a:tint val="23500"/>
                    <a:satMod val="160000"/>
                    <a:alpha val="0"/>
                  </a:scheme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b" anchorCtr="0" compatLnSpc="1">
              <a:prstTxWarp prst="textNoShape">
                <a:avLst/>
              </a:prstTxWarp>
            </a:bodyPr>
            <a:lstStyle/>
            <a:p>
              <a:pPr defTabSz="685637" fontAlgn="base">
                <a:spcBef>
                  <a:spcPct val="0"/>
                </a:spcBef>
                <a:spcAft>
                  <a:spcPct val="0"/>
                </a:spcAft>
              </a:pPr>
              <a:r>
                <a:rPr lang="en-US" sz="1700" dirty="0">
                  <a:solidFill>
                    <a:srgbClr val="363535"/>
                  </a:solidFill>
                </a:rPr>
                <a:t>Management and Virtualization</a:t>
              </a:r>
            </a:p>
          </p:txBody>
        </p:sp>
      </p:grpSp>
      <p:sp>
        <p:nvSpPr>
          <p:cNvPr id="8" name="Title 7"/>
          <p:cNvSpPr>
            <a:spLocks noGrp="1"/>
          </p:cNvSpPr>
          <p:nvPr>
            <p:ph type="title"/>
          </p:nvPr>
        </p:nvSpPr>
        <p:spPr/>
        <p:txBody>
          <a:bodyPr/>
          <a:lstStyle/>
          <a:p>
            <a:r>
              <a:rPr lang="en-US" dirty="0" smtClean="0"/>
              <a:t>Windows 8 for Enterprise</a:t>
            </a:r>
            <a:endParaRPr lang="en-US" dirty="0"/>
          </a:p>
        </p:txBody>
      </p:sp>
      <p:grpSp>
        <p:nvGrpSpPr>
          <p:cNvPr id="39" name="Group 14"/>
          <p:cNvGrpSpPr/>
          <p:nvPr/>
        </p:nvGrpSpPr>
        <p:grpSpPr>
          <a:xfrm>
            <a:off x="362772" y="1175698"/>
            <a:ext cx="8516657" cy="1137599"/>
            <a:chOff x="468777" y="1227804"/>
            <a:chExt cx="11352586" cy="1516799"/>
          </a:xfrm>
        </p:grpSpPr>
        <p:grpSp>
          <p:nvGrpSpPr>
            <p:cNvPr id="40" name="Group 39"/>
            <p:cNvGrpSpPr/>
            <p:nvPr/>
          </p:nvGrpSpPr>
          <p:grpSpPr>
            <a:xfrm>
              <a:off x="468777" y="1227804"/>
              <a:ext cx="11352586" cy="1516799"/>
              <a:chOff x="468777" y="1227804"/>
              <a:chExt cx="11352586" cy="1516799"/>
            </a:xfrm>
          </p:grpSpPr>
          <p:sp>
            <p:nvSpPr>
              <p:cNvPr id="51" name="Text Placeholder 12"/>
              <p:cNvSpPr txBox="1">
                <a:spLocks/>
              </p:cNvSpPr>
              <p:nvPr/>
            </p:nvSpPr>
            <p:spPr>
              <a:xfrm>
                <a:off x="620711" y="1374699"/>
                <a:ext cx="2953652" cy="664797"/>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dirty="0">
                    <a:solidFill>
                      <a:srgbClr val="363535"/>
                    </a:solidFill>
                    <a:latin typeface="Segoe UI"/>
                  </a:rPr>
                  <a:t>Devices &amp; Experiences Users Want </a:t>
                </a:r>
              </a:p>
            </p:txBody>
          </p:sp>
          <p:sp>
            <p:nvSpPr>
              <p:cNvPr id="52" name="Text Placeholder 12"/>
              <p:cNvSpPr txBox="1">
                <a:spLocks/>
              </p:cNvSpPr>
              <p:nvPr/>
            </p:nvSpPr>
            <p:spPr>
              <a:xfrm>
                <a:off x="6500969" y="1374699"/>
                <a:ext cx="5320394" cy="664797"/>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1800" dirty="0">
                    <a:solidFill>
                      <a:srgbClr val="363535"/>
                    </a:solidFill>
                    <a:latin typeface="Segoe UI"/>
                  </a:rPr>
                  <a:t>Enterprise-Grade</a:t>
                </a:r>
                <a:br>
                  <a:rPr lang="en-US" sz="1800" dirty="0">
                    <a:solidFill>
                      <a:srgbClr val="363535"/>
                    </a:solidFill>
                    <a:latin typeface="Segoe UI"/>
                  </a:rPr>
                </a:br>
                <a:r>
                  <a:rPr lang="en-US" sz="1800" dirty="0">
                    <a:solidFill>
                      <a:srgbClr val="363535"/>
                    </a:solidFill>
                    <a:latin typeface="Segoe UI"/>
                  </a:rPr>
                  <a:t>Solutions</a:t>
                </a:r>
                <a:endParaRPr lang="en-US" sz="2100" spc="-38" dirty="0">
                  <a:solidFill>
                    <a:srgbClr val="363535"/>
                  </a:solidFill>
                  <a:latin typeface="Segoe UI"/>
                </a:endParaRPr>
              </a:p>
            </p:txBody>
          </p:sp>
          <p:sp>
            <p:nvSpPr>
              <p:cNvPr id="53" name="Right Triangle 52"/>
              <p:cNvSpPr/>
              <p:nvPr/>
            </p:nvSpPr>
            <p:spPr bwMode="auto">
              <a:xfrm rot="18900000" flipH="1">
                <a:off x="5978364" y="1616785"/>
                <a:ext cx="312832" cy="319891"/>
              </a:xfrm>
              <a:prstGeom prst="rtTriangl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637" fontAlgn="base">
                  <a:spcBef>
                    <a:spcPct val="0"/>
                  </a:spcBef>
                  <a:spcAft>
                    <a:spcPct val="0"/>
                  </a:spcAft>
                  <a:defRPr/>
                </a:pPr>
                <a:endParaRPr lang="en-US" kern="0" spc="-3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54" name="Group 42"/>
              <p:cNvGrpSpPr/>
              <p:nvPr/>
            </p:nvGrpSpPr>
            <p:grpSpPr>
              <a:xfrm>
                <a:off x="5978364" y="1227804"/>
                <a:ext cx="5842999" cy="1516799"/>
                <a:chOff x="5978364" y="1227804"/>
                <a:chExt cx="5842999" cy="1516799"/>
              </a:xfrm>
            </p:grpSpPr>
            <p:sp>
              <p:nvSpPr>
                <p:cNvPr id="58" name="Rectangle 57"/>
                <p:cNvSpPr/>
                <p:nvPr/>
              </p:nvSpPr>
              <p:spPr bwMode="auto">
                <a:xfrm>
                  <a:off x="6150077" y="1227804"/>
                  <a:ext cx="5583850" cy="1516799"/>
                </a:xfrm>
                <a:prstGeom prst="rect">
                  <a:avLst/>
                </a:prstGeom>
                <a:solidFill>
                  <a:srgbClr val="00BCF2"/>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8CC600">
                      <a:satMod val="300000"/>
                    </a:srgbClr>
                  </a:contourClr>
                </a:sp3d>
              </p:spPr>
              <p:txBody>
                <a:bodyPr vert="horz" wrap="square" lIns="274320" tIns="45718" rIns="91436" bIns="45718" numCol="1" rtlCol="0" anchor="ctr" anchorCtr="0" compatLnSpc="1">
                  <a:prstTxWarp prst="textNoShape">
                    <a:avLst/>
                  </a:prstTxWarp>
                  <a:noAutofit/>
                </a:bodyPr>
                <a:lstStyle/>
                <a:p>
                  <a:pPr defTabSz="685637" fontAlgn="base">
                    <a:lnSpc>
                      <a:spcPct val="80000"/>
                    </a:lnSpc>
                    <a:defRPr/>
                  </a:pPr>
                  <a:endParaRPr lang="en-US" sz="3600" kern="0" spc="-53" dirty="0">
                    <a:solidFill>
                      <a:srgbClr val="000000">
                        <a:alpha val="99000"/>
                      </a:srgbClr>
                    </a:solidFill>
                    <a:latin typeface="Segoe UI Light" pitchFamily="34" charset="0"/>
                    <a:ea typeface="Segoe UI" pitchFamily="34" charset="0"/>
                    <a:cs typeface="Segoe UI" pitchFamily="34" charset="0"/>
                  </a:endParaRPr>
                </a:p>
              </p:txBody>
            </p:sp>
            <p:sp>
              <p:nvSpPr>
                <p:cNvPr id="59" name="Text Placeholder 12"/>
                <p:cNvSpPr txBox="1">
                  <a:spLocks/>
                </p:cNvSpPr>
                <p:nvPr/>
              </p:nvSpPr>
              <p:spPr>
                <a:xfrm>
                  <a:off x="6500969" y="1374699"/>
                  <a:ext cx="5320394" cy="664797"/>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1800" dirty="0">
                      <a:solidFill>
                        <a:srgbClr val="363535"/>
                      </a:solidFill>
                      <a:latin typeface="Segoe UI"/>
                    </a:rPr>
                    <a:t>Enterprise-Grade</a:t>
                  </a:r>
                  <a:br>
                    <a:rPr lang="en-US" sz="1800" dirty="0">
                      <a:solidFill>
                        <a:srgbClr val="363535"/>
                      </a:solidFill>
                      <a:latin typeface="Segoe UI"/>
                    </a:rPr>
                  </a:br>
                  <a:r>
                    <a:rPr lang="en-US" sz="1800" dirty="0">
                      <a:solidFill>
                        <a:srgbClr val="363535"/>
                      </a:solidFill>
                      <a:latin typeface="Segoe UI"/>
                    </a:rPr>
                    <a:t>Solutions</a:t>
                  </a:r>
                </a:p>
              </p:txBody>
            </p:sp>
            <p:grpSp>
              <p:nvGrpSpPr>
                <p:cNvPr id="60" name="Group 86"/>
                <p:cNvGrpSpPr/>
                <p:nvPr/>
              </p:nvGrpSpPr>
              <p:grpSpPr>
                <a:xfrm>
                  <a:off x="9161674" y="1540292"/>
                  <a:ext cx="2212085" cy="586458"/>
                  <a:chOff x="7151916" y="3443487"/>
                  <a:chExt cx="4310726" cy="1142838"/>
                </a:xfrm>
              </p:grpSpPr>
              <p:sp>
                <p:nvSpPr>
                  <p:cNvPr id="62" name="Rounded Rectangle 2058"/>
                  <p:cNvSpPr/>
                  <p:nvPr/>
                </p:nvSpPr>
                <p:spPr bwMode="auto">
                  <a:xfrm>
                    <a:off x="10959723" y="3443487"/>
                    <a:ext cx="502919" cy="1036308"/>
                  </a:xfrm>
                  <a:custGeom>
                    <a:avLst/>
                    <a:gdLst/>
                    <a:ahLst/>
                    <a:cxnLst/>
                    <a:rect l="l" t="t" r="r" b="b"/>
                    <a:pathLst>
                      <a:path w="235932" h="524825">
                        <a:moveTo>
                          <a:pt x="26526" y="453142"/>
                        </a:moveTo>
                        <a:lnTo>
                          <a:pt x="26526" y="471430"/>
                        </a:lnTo>
                        <a:lnTo>
                          <a:pt x="209406" y="471430"/>
                        </a:lnTo>
                        <a:lnTo>
                          <a:pt x="209406" y="453142"/>
                        </a:lnTo>
                        <a:close/>
                        <a:moveTo>
                          <a:pt x="26526" y="412660"/>
                        </a:moveTo>
                        <a:lnTo>
                          <a:pt x="26526" y="430948"/>
                        </a:lnTo>
                        <a:lnTo>
                          <a:pt x="63102" y="430948"/>
                        </a:lnTo>
                        <a:lnTo>
                          <a:pt x="63102" y="412660"/>
                        </a:lnTo>
                        <a:close/>
                        <a:moveTo>
                          <a:pt x="26526" y="372178"/>
                        </a:moveTo>
                        <a:lnTo>
                          <a:pt x="26526" y="390466"/>
                        </a:lnTo>
                        <a:lnTo>
                          <a:pt x="63102" y="390466"/>
                        </a:lnTo>
                        <a:lnTo>
                          <a:pt x="63102" y="372178"/>
                        </a:lnTo>
                        <a:close/>
                        <a:moveTo>
                          <a:pt x="26526" y="97526"/>
                        </a:moveTo>
                        <a:lnTo>
                          <a:pt x="26526" y="124958"/>
                        </a:lnTo>
                        <a:lnTo>
                          <a:pt x="209406" y="124958"/>
                        </a:lnTo>
                        <a:lnTo>
                          <a:pt x="209406" y="97526"/>
                        </a:lnTo>
                        <a:close/>
                        <a:moveTo>
                          <a:pt x="26526" y="53758"/>
                        </a:moveTo>
                        <a:lnTo>
                          <a:pt x="26526" y="72046"/>
                        </a:lnTo>
                        <a:lnTo>
                          <a:pt x="209406" y="72046"/>
                        </a:lnTo>
                        <a:lnTo>
                          <a:pt x="209406" y="53758"/>
                        </a:lnTo>
                        <a:close/>
                        <a:moveTo>
                          <a:pt x="31386" y="0"/>
                        </a:moveTo>
                        <a:lnTo>
                          <a:pt x="204546" y="0"/>
                        </a:lnTo>
                        <a:cubicBezTo>
                          <a:pt x="221880" y="0"/>
                          <a:pt x="235932" y="14052"/>
                          <a:pt x="235932" y="31386"/>
                        </a:cubicBezTo>
                        <a:lnTo>
                          <a:pt x="235932" y="493439"/>
                        </a:lnTo>
                        <a:cubicBezTo>
                          <a:pt x="235932" y="510773"/>
                          <a:pt x="221880" y="524825"/>
                          <a:pt x="204546" y="524825"/>
                        </a:cubicBezTo>
                        <a:lnTo>
                          <a:pt x="31386" y="524825"/>
                        </a:lnTo>
                        <a:cubicBezTo>
                          <a:pt x="14052" y="524825"/>
                          <a:pt x="0" y="510773"/>
                          <a:pt x="0" y="493439"/>
                        </a:cubicBezTo>
                        <a:lnTo>
                          <a:pt x="0" y="31386"/>
                        </a:lnTo>
                        <a:cubicBezTo>
                          <a:pt x="0" y="14052"/>
                          <a:pt x="14052" y="0"/>
                          <a:pt x="3138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637" fontAlgn="base">
                      <a:spcBef>
                        <a:spcPct val="0"/>
                      </a:spcBef>
                      <a:spcAft>
                        <a:spcPct val="0"/>
                      </a:spcAft>
                      <a:defRPr/>
                    </a:pPr>
                    <a:endParaRPr lang="en-US" kern="0" spc="-38" dirty="0" err="1">
                      <a:solidFill>
                        <a:srgbClr val="FFFFFF"/>
                      </a:solidFill>
                      <a:ea typeface="Segoe UI" pitchFamily="34" charset="0"/>
                      <a:cs typeface="Segoe UI" pitchFamily="34" charset="0"/>
                    </a:endParaRPr>
                  </a:p>
                </p:txBody>
              </p:sp>
              <p:sp>
                <p:nvSpPr>
                  <p:cNvPr id="63" name="Rounded Rectangle 2060"/>
                  <p:cNvSpPr/>
                  <p:nvPr/>
                </p:nvSpPr>
                <p:spPr bwMode="auto">
                  <a:xfrm>
                    <a:off x="9803966" y="3443489"/>
                    <a:ext cx="1071122" cy="1040115"/>
                  </a:xfrm>
                  <a:custGeom>
                    <a:avLst/>
                    <a:gdLst/>
                    <a:ahLst/>
                    <a:cxnLst/>
                    <a:rect l="l" t="t" r="r" b="b"/>
                    <a:pathLst>
                      <a:path w="542456" h="526753">
                        <a:moveTo>
                          <a:pt x="45804" y="47263"/>
                        </a:moveTo>
                        <a:lnTo>
                          <a:pt x="45804" y="392812"/>
                        </a:lnTo>
                        <a:lnTo>
                          <a:pt x="496653" y="392812"/>
                        </a:lnTo>
                        <a:lnTo>
                          <a:pt x="496653" y="47263"/>
                        </a:lnTo>
                        <a:close/>
                        <a:moveTo>
                          <a:pt x="35310" y="0"/>
                        </a:moveTo>
                        <a:lnTo>
                          <a:pt x="507146" y="0"/>
                        </a:lnTo>
                        <a:cubicBezTo>
                          <a:pt x="526647" y="0"/>
                          <a:pt x="542456" y="15809"/>
                          <a:pt x="542456" y="35310"/>
                        </a:cubicBezTo>
                        <a:lnTo>
                          <a:pt x="542456" y="405128"/>
                        </a:lnTo>
                        <a:cubicBezTo>
                          <a:pt x="542456" y="424629"/>
                          <a:pt x="526647" y="440438"/>
                          <a:pt x="507146" y="440438"/>
                        </a:cubicBezTo>
                        <a:lnTo>
                          <a:pt x="325203" y="440438"/>
                        </a:lnTo>
                        <a:lnTo>
                          <a:pt x="325203" y="485340"/>
                        </a:lnTo>
                        <a:cubicBezTo>
                          <a:pt x="383488" y="490959"/>
                          <a:pt x="432800" y="506124"/>
                          <a:pt x="463161" y="526753"/>
                        </a:cubicBezTo>
                        <a:lnTo>
                          <a:pt x="79298" y="526753"/>
                        </a:lnTo>
                        <a:cubicBezTo>
                          <a:pt x="109659" y="506125"/>
                          <a:pt x="158970" y="490959"/>
                          <a:pt x="217253" y="485341"/>
                        </a:cubicBezTo>
                        <a:lnTo>
                          <a:pt x="217253" y="440438"/>
                        </a:lnTo>
                        <a:lnTo>
                          <a:pt x="35310" y="440438"/>
                        </a:lnTo>
                        <a:cubicBezTo>
                          <a:pt x="15809" y="440438"/>
                          <a:pt x="0" y="424629"/>
                          <a:pt x="0" y="405128"/>
                        </a:cubicBezTo>
                        <a:lnTo>
                          <a:pt x="0" y="35310"/>
                        </a:lnTo>
                        <a:cubicBezTo>
                          <a:pt x="0" y="15809"/>
                          <a:pt x="15809" y="0"/>
                          <a:pt x="35310"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637" fontAlgn="base">
                      <a:spcBef>
                        <a:spcPct val="0"/>
                      </a:spcBef>
                      <a:spcAft>
                        <a:spcPct val="0"/>
                      </a:spcAft>
                      <a:defRPr/>
                    </a:pPr>
                    <a:endParaRPr lang="en-US" kern="0" spc="-38" dirty="0" err="1">
                      <a:solidFill>
                        <a:srgbClr val="FFFFFF"/>
                      </a:solidFill>
                      <a:ea typeface="Segoe UI" pitchFamily="34" charset="0"/>
                      <a:cs typeface="Segoe UI" pitchFamily="34" charset="0"/>
                    </a:endParaRPr>
                  </a:p>
                </p:txBody>
              </p:sp>
              <p:sp>
                <p:nvSpPr>
                  <p:cNvPr id="64" name="Rounded Rectangle 2058"/>
                  <p:cNvSpPr/>
                  <p:nvPr/>
                </p:nvSpPr>
                <p:spPr bwMode="auto">
                  <a:xfrm>
                    <a:off x="7725480" y="3447296"/>
                    <a:ext cx="502920" cy="1036308"/>
                  </a:xfrm>
                  <a:custGeom>
                    <a:avLst/>
                    <a:gdLst/>
                    <a:ahLst/>
                    <a:cxnLst/>
                    <a:rect l="l" t="t" r="r" b="b"/>
                    <a:pathLst>
                      <a:path w="235932" h="524825">
                        <a:moveTo>
                          <a:pt x="26526" y="453142"/>
                        </a:moveTo>
                        <a:lnTo>
                          <a:pt x="26526" y="471430"/>
                        </a:lnTo>
                        <a:lnTo>
                          <a:pt x="209406" y="471430"/>
                        </a:lnTo>
                        <a:lnTo>
                          <a:pt x="209406" y="453142"/>
                        </a:lnTo>
                        <a:close/>
                        <a:moveTo>
                          <a:pt x="26526" y="412660"/>
                        </a:moveTo>
                        <a:lnTo>
                          <a:pt x="26526" y="430948"/>
                        </a:lnTo>
                        <a:lnTo>
                          <a:pt x="63102" y="430948"/>
                        </a:lnTo>
                        <a:lnTo>
                          <a:pt x="63102" y="412660"/>
                        </a:lnTo>
                        <a:close/>
                        <a:moveTo>
                          <a:pt x="26526" y="372178"/>
                        </a:moveTo>
                        <a:lnTo>
                          <a:pt x="26526" y="390466"/>
                        </a:lnTo>
                        <a:lnTo>
                          <a:pt x="63102" y="390466"/>
                        </a:lnTo>
                        <a:lnTo>
                          <a:pt x="63102" y="372178"/>
                        </a:lnTo>
                        <a:close/>
                        <a:moveTo>
                          <a:pt x="26526" y="97526"/>
                        </a:moveTo>
                        <a:lnTo>
                          <a:pt x="26526" y="124958"/>
                        </a:lnTo>
                        <a:lnTo>
                          <a:pt x="209406" y="124958"/>
                        </a:lnTo>
                        <a:lnTo>
                          <a:pt x="209406" y="97526"/>
                        </a:lnTo>
                        <a:close/>
                        <a:moveTo>
                          <a:pt x="26526" y="53758"/>
                        </a:moveTo>
                        <a:lnTo>
                          <a:pt x="26526" y="72046"/>
                        </a:lnTo>
                        <a:lnTo>
                          <a:pt x="209406" y="72046"/>
                        </a:lnTo>
                        <a:lnTo>
                          <a:pt x="209406" y="53758"/>
                        </a:lnTo>
                        <a:close/>
                        <a:moveTo>
                          <a:pt x="31386" y="0"/>
                        </a:moveTo>
                        <a:lnTo>
                          <a:pt x="204546" y="0"/>
                        </a:lnTo>
                        <a:cubicBezTo>
                          <a:pt x="221880" y="0"/>
                          <a:pt x="235932" y="14052"/>
                          <a:pt x="235932" y="31386"/>
                        </a:cubicBezTo>
                        <a:lnTo>
                          <a:pt x="235932" y="493439"/>
                        </a:lnTo>
                        <a:cubicBezTo>
                          <a:pt x="235932" y="510773"/>
                          <a:pt x="221880" y="524825"/>
                          <a:pt x="204546" y="524825"/>
                        </a:cubicBezTo>
                        <a:lnTo>
                          <a:pt x="31386" y="524825"/>
                        </a:lnTo>
                        <a:cubicBezTo>
                          <a:pt x="14052" y="524825"/>
                          <a:pt x="0" y="510773"/>
                          <a:pt x="0" y="493439"/>
                        </a:cubicBezTo>
                        <a:lnTo>
                          <a:pt x="0" y="31386"/>
                        </a:lnTo>
                        <a:cubicBezTo>
                          <a:pt x="0" y="14052"/>
                          <a:pt x="14052" y="0"/>
                          <a:pt x="3138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637" fontAlgn="base">
                      <a:spcBef>
                        <a:spcPct val="0"/>
                      </a:spcBef>
                      <a:spcAft>
                        <a:spcPct val="0"/>
                      </a:spcAft>
                      <a:defRPr/>
                    </a:pPr>
                    <a:endParaRPr lang="en-US" kern="0" spc="-38" dirty="0" err="1">
                      <a:solidFill>
                        <a:srgbClr val="FFFFFF"/>
                      </a:solidFill>
                      <a:ea typeface="Segoe UI" pitchFamily="34" charset="0"/>
                      <a:cs typeface="Segoe UI" pitchFamily="34" charset="0"/>
                    </a:endParaRPr>
                  </a:p>
                </p:txBody>
              </p:sp>
              <p:sp>
                <p:nvSpPr>
                  <p:cNvPr id="65" name="Rounded Rectangle 2058"/>
                  <p:cNvSpPr/>
                  <p:nvPr/>
                </p:nvSpPr>
                <p:spPr bwMode="auto">
                  <a:xfrm>
                    <a:off x="7151916" y="3447296"/>
                    <a:ext cx="502920" cy="1036308"/>
                  </a:xfrm>
                  <a:custGeom>
                    <a:avLst/>
                    <a:gdLst/>
                    <a:ahLst/>
                    <a:cxnLst/>
                    <a:rect l="l" t="t" r="r" b="b"/>
                    <a:pathLst>
                      <a:path w="235932" h="524825">
                        <a:moveTo>
                          <a:pt x="26526" y="453142"/>
                        </a:moveTo>
                        <a:lnTo>
                          <a:pt x="26526" y="471430"/>
                        </a:lnTo>
                        <a:lnTo>
                          <a:pt x="209406" y="471430"/>
                        </a:lnTo>
                        <a:lnTo>
                          <a:pt x="209406" y="453142"/>
                        </a:lnTo>
                        <a:close/>
                        <a:moveTo>
                          <a:pt x="26526" y="412660"/>
                        </a:moveTo>
                        <a:lnTo>
                          <a:pt x="26526" y="430948"/>
                        </a:lnTo>
                        <a:lnTo>
                          <a:pt x="63102" y="430948"/>
                        </a:lnTo>
                        <a:lnTo>
                          <a:pt x="63102" y="412660"/>
                        </a:lnTo>
                        <a:close/>
                        <a:moveTo>
                          <a:pt x="26526" y="372178"/>
                        </a:moveTo>
                        <a:lnTo>
                          <a:pt x="26526" y="390466"/>
                        </a:lnTo>
                        <a:lnTo>
                          <a:pt x="63102" y="390466"/>
                        </a:lnTo>
                        <a:lnTo>
                          <a:pt x="63102" y="372178"/>
                        </a:lnTo>
                        <a:close/>
                        <a:moveTo>
                          <a:pt x="26526" y="97526"/>
                        </a:moveTo>
                        <a:lnTo>
                          <a:pt x="26526" y="124958"/>
                        </a:lnTo>
                        <a:lnTo>
                          <a:pt x="209406" y="124958"/>
                        </a:lnTo>
                        <a:lnTo>
                          <a:pt x="209406" y="97526"/>
                        </a:lnTo>
                        <a:close/>
                        <a:moveTo>
                          <a:pt x="26526" y="53758"/>
                        </a:moveTo>
                        <a:lnTo>
                          <a:pt x="26526" y="72046"/>
                        </a:lnTo>
                        <a:lnTo>
                          <a:pt x="209406" y="72046"/>
                        </a:lnTo>
                        <a:lnTo>
                          <a:pt x="209406" y="53758"/>
                        </a:lnTo>
                        <a:close/>
                        <a:moveTo>
                          <a:pt x="31386" y="0"/>
                        </a:moveTo>
                        <a:lnTo>
                          <a:pt x="204546" y="0"/>
                        </a:lnTo>
                        <a:cubicBezTo>
                          <a:pt x="221880" y="0"/>
                          <a:pt x="235932" y="14052"/>
                          <a:pt x="235932" y="31386"/>
                        </a:cubicBezTo>
                        <a:lnTo>
                          <a:pt x="235932" y="493439"/>
                        </a:lnTo>
                        <a:cubicBezTo>
                          <a:pt x="235932" y="510773"/>
                          <a:pt x="221880" y="524825"/>
                          <a:pt x="204546" y="524825"/>
                        </a:cubicBezTo>
                        <a:lnTo>
                          <a:pt x="31386" y="524825"/>
                        </a:lnTo>
                        <a:cubicBezTo>
                          <a:pt x="14052" y="524825"/>
                          <a:pt x="0" y="510773"/>
                          <a:pt x="0" y="493439"/>
                        </a:cubicBezTo>
                        <a:lnTo>
                          <a:pt x="0" y="31386"/>
                        </a:lnTo>
                        <a:cubicBezTo>
                          <a:pt x="0" y="14052"/>
                          <a:pt x="14052" y="0"/>
                          <a:pt x="3138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637" fontAlgn="base">
                      <a:spcBef>
                        <a:spcPct val="0"/>
                      </a:spcBef>
                      <a:spcAft>
                        <a:spcPct val="0"/>
                      </a:spcAft>
                      <a:defRPr/>
                    </a:pPr>
                    <a:endParaRPr lang="en-US" kern="0" spc="-38" dirty="0" err="1">
                      <a:solidFill>
                        <a:srgbClr val="FFFFFF"/>
                      </a:solidFill>
                      <a:ea typeface="Segoe UI" pitchFamily="34" charset="0"/>
                      <a:cs typeface="Segoe UI" pitchFamily="34" charset="0"/>
                    </a:endParaRPr>
                  </a:p>
                </p:txBody>
              </p:sp>
              <p:sp>
                <p:nvSpPr>
                  <p:cNvPr id="66" name="Rounded Rectangle 2058"/>
                  <p:cNvSpPr/>
                  <p:nvPr/>
                </p:nvSpPr>
                <p:spPr bwMode="auto">
                  <a:xfrm>
                    <a:off x="8299044" y="3447296"/>
                    <a:ext cx="502920" cy="1036308"/>
                  </a:xfrm>
                  <a:custGeom>
                    <a:avLst/>
                    <a:gdLst/>
                    <a:ahLst/>
                    <a:cxnLst/>
                    <a:rect l="l" t="t" r="r" b="b"/>
                    <a:pathLst>
                      <a:path w="235932" h="524825">
                        <a:moveTo>
                          <a:pt x="26526" y="453142"/>
                        </a:moveTo>
                        <a:lnTo>
                          <a:pt x="26526" y="471430"/>
                        </a:lnTo>
                        <a:lnTo>
                          <a:pt x="209406" y="471430"/>
                        </a:lnTo>
                        <a:lnTo>
                          <a:pt x="209406" y="453142"/>
                        </a:lnTo>
                        <a:close/>
                        <a:moveTo>
                          <a:pt x="26526" y="412660"/>
                        </a:moveTo>
                        <a:lnTo>
                          <a:pt x="26526" y="430948"/>
                        </a:lnTo>
                        <a:lnTo>
                          <a:pt x="63102" y="430948"/>
                        </a:lnTo>
                        <a:lnTo>
                          <a:pt x="63102" y="412660"/>
                        </a:lnTo>
                        <a:close/>
                        <a:moveTo>
                          <a:pt x="26526" y="372178"/>
                        </a:moveTo>
                        <a:lnTo>
                          <a:pt x="26526" y="390466"/>
                        </a:lnTo>
                        <a:lnTo>
                          <a:pt x="63102" y="390466"/>
                        </a:lnTo>
                        <a:lnTo>
                          <a:pt x="63102" y="372178"/>
                        </a:lnTo>
                        <a:close/>
                        <a:moveTo>
                          <a:pt x="26526" y="97526"/>
                        </a:moveTo>
                        <a:lnTo>
                          <a:pt x="26526" y="124958"/>
                        </a:lnTo>
                        <a:lnTo>
                          <a:pt x="209406" y="124958"/>
                        </a:lnTo>
                        <a:lnTo>
                          <a:pt x="209406" y="97526"/>
                        </a:lnTo>
                        <a:close/>
                        <a:moveTo>
                          <a:pt x="26526" y="53758"/>
                        </a:moveTo>
                        <a:lnTo>
                          <a:pt x="26526" y="72046"/>
                        </a:lnTo>
                        <a:lnTo>
                          <a:pt x="209406" y="72046"/>
                        </a:lnTo>
                        <a:lnTo>
                          <a:pt x="209406" y="53758"/>
                        </a:lnTo>
                        <a:close/>
                        <a:moveTo>
                          <a:pt x="31386" y="0"/>
                        </a:moveTo>
                        <a:lnTo>
                          <a:pt x="204546" y="0"/>
                        </a:lnTo>
                        <a:cubicBezTo>
                          <a:pt x="221880" y="0"/>
                          <a:pt x="235932" y="14052"/>
                          <a:pt x="235932" y="31386"/>
                        </a:cubicBezTo>
                        <a:lnTo>
                          <a:pt x="235932" y="493439"/>
                        </a:lnTo>
                        <a:cubicBezTo>
                          <a:pt x="235932" y="510773"/>
                          <a:pt x="221880" y="524825"/>
                          <a:pt x="204546" y="524825"/>
                        </a:cubicBezTo>
                        <a:lnTo>
                          <a:pt x="31386" y="524825"/>
                        </a:lnTo>
                        <a:cubicBezTo>
                          <a:pt x="14052" y="524825"/>
                          <a:pt x="0" y="510773"/>
                          <a:pt x="0" y="493439"/>
                        </a:cubicBezTo>
                        <a:lnTo>
                          <a:pt x="0" y="31386"/>
                        </a:lnTo>
                        <a:cubicBezTo>
                          <a:pt x="0" y="14052"/>
                          <a:pt x="14052" y="0"/>
                          <a:pt x="3138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637" fontAlgn="base">
                      <a:spcBef>
                        <a:spcPct val="0"/>
                      </a:spcBef>
                      <a:spcAft>
                        <a:spcPct val="0"/>
                      </a:spcAft>
                      <a:defRPr/>
                    </a:pPr>
                    <a:endParaRPr lang="en-US" kern="0" spc="-38" dirty="0" err="1">
                      <a:solidFill>
                        <a:srgbClr val="FFFFFF"/>
                      </a:solidFill>
                      <a:ea typeface="Segoe UI" pitchFamily="34" charset="0"/>
                      <a:cs typeface="Segoe UI" pitchFamily="34" charset="0"/>
                    </a:endParaRPr>
                  </a:p>
                </p:txBody>
              </p:sp>
              <p:sp>
                <p:nvSpPr>
                  <p:cNvPr id="67" name="Oval 24"/>
                  <p:cNvSpPr/>
                  <p:nvPr/>
                </p:nvSpPr>
                <p:spPr bwMode="auto">
                  <a:xfrm>
                    <a:off x="8205756" y="3761585"/>
                    <a:ext cx="1476540" cy="824740"/>
                  </a:xfrm>
                  <a:custGeom>
                    <a:avLst/>
                    <a:gdLst/>
                    <a:ahLst/>
                    <a:cxnLst/>
                    <a:rect l="l" t="t" r="r" b="b"/>
                    <a:pathLst>
                      <a:path w="1476540" h="824740">
                        <a:moveTo>
                          <a:pt x="829013" y="0"/>
                        </a:moveTo>
                        <a:cubicBezTo>
                          <a:pt x="969838" y="0"/>
                          <a:pt x="1089334" y="91316"/>
                          <a:pt x="1130108" y="218436"/>
                        </a:cubicBezTo>
                        <a:cubicBezTo>
                          <a:pt x="1143457" y="215230"/>
                          <a:pt x="1157273" y="214282"/>
                          <a:pt x="1171311" y="214282"/>
                        </a:cubicBezTo>
                        <a:cubicBezTo>
                          <a:pt x="1339884" y="214282"/>
                          <a:pt x="1476540" y="350938"/>
                          <a:pt x="1476540" y="519511"/>
                        </a:cubicBezTo>
                        <a:cubicBezTo>
                          <a:pt x="1476540" y="686597"/>
                          <a:pt x="1342285" y="822327"/>
                          <a:pt x="1175759" y="824292"/>
                        </a:cubicBezTo>
                        <a:lnTo>
                          <a:pt x="1175759" y="824740"/>
                        </a:lnTo>
                        <a:lnTo>
                          <a:pt x="1171311" y="824740"/>
                        </a:lnTo>
                        <a:lnTo>
                          <a:pt x="209606" y="824740"/>
                        </a:lnTo>
                        <a:lnTo>
                          <a:pt x="209606" y="824521"/>
                        </a:lnTo>
                        <a:cubicBezTo>
                          <a:pt x="208884" y="824737"/>
                          <a:pt x="208159" y="824740"/>
                          <a:pt x="207433" y="824740"/>
                        </a:cubicBezTo>
                        <a:cubicBezTo>
                          <a:pt x="92871" y="824740"/>
                          <a:pt x="0" y="731869"/>
                          <a:pt x="0" y="617307"/>
                        </a:cubicBezTo>
                        <a:cubicBezTo>
                          <a:pt x="0" y="502745"/>
                          <a:pt x="92871" y="409874"/>
                          <a:pt x="207433" y="409874"/>
                        </a:cubicBezTo>
                        <a:cubicBezTo>
                          <a:pt x="224921" y="409874"/>
                          <a:pt x="241905" y="412039"/>
                          <a:pt x="257958" y="416795"/>
                        </a:cubicBezTo>
                        <a:cubicBezTo>
                          <a:pt x="284139" y="333500"/>
                          <a:pt x="362183" y="273546"/>
                          <a:pt x="454230" y="273546"/>
                        </a:cubicBezTo>
                        <a:cubicBezTo>
                          <a:pt x="475047" y="273546"/>
                          <a:pt x="495147" y="276613"/>
                          <a:pt x="513815" y="283280"/>
                        </a:cubicBezTo>
                        <a:cubicBezTo>
                          <a:pt x="529946" y="123838"/>
                          <a:pt x="665018" y="0"/>
                          <a:pt x="829013" y="0"/>
                        </a:cubicBezTo>
                        <a:close/>
                      </a:path>
                    </a:pathLst>
                  </a:custGeom>
                  <a:solidFill>
                    <a:srgbClr val="00BCF2"/>
                  </a:solidFill>
                  <a:ln w="38100" cap="flat" cmpd="sng" algn="ctr">
                    <a:solidFill>
                      <a:srgbClr val="FFFFFF"/>
                    </a:solidFill>
                    <a:prstDash val="solid"/>
                    <a:miter lim="800000"/>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637" fontAlgn="base">
                      <a:spcBef>
                        <a:spcPct val="0"/>
                      </a:spcBef>
                      <a:spcAft>
                        <a:spcPct val="0"/>
                      </a:spcAft>
                      <a:defRPr/>
                    </a:pPr>
                    <a:endParaRPr lang="en-US" kern="0" spc="-38" dirty="0" err="1">
                      <a:solidFill>
                        <a:srgbClr val="FFFFFF"/>
                      </a:solidFill>
                      <a:ea typeface="Segoe UI" pitchFamily="34" charset="0"/>
                      <a:cs typeface="Segoe UI" pitchFamily="34" charset="0"/>
                    </a:endParaRPr>
                  </a:p>
                </p:txBody>
              </p:sp>
            </p:grpSp>
            <p:sp>
              <p:nvSpPr>
                <p:cNvPr id="61" name="Right Triangle 60"/>
                <p:cNvSpPr/>
                <p:nvPr/>
              </p:nvSpPr>
              <p:spPr bwMode="auto">
                <a:xfrm rot="18900000" flipH="1">
                  <a:off x="5978364" y="1616785"/>
                  <a:ext cx="312832" cy="319891"/>
                </a:xfrm>
                <a:prstGeom prst="rtTriangle">
                  <a:avLst/>
                </a:prstGeom>
                <a:solidFill>
                  <a:schemeClr val="bg2"/>
                </a:solidFill>
                <a:ln w="9525" cap="flat" cmpd="sng" algn="ctr">
                  <a:solidFill>
                    <a:schemeClr val="bg2"/>
                  </a:solid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637" fontAlgn="base">
                    <a:spcBef>
                      <a:spcPct val="0"/>
                    </a:spcBef>
                    <a:spcAft>
                      <a:spcPct val="0"/>
                    </a:spcAft>
                    <a:defRPr/>
                  </a:pPr>
                  <a:endParaRPr lang="en-US" kern="0" spc="-38"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55" name="Rectangle 54"/>
              <p:cNvSpPr/>
              <p:nvPr/>
            </p:nvSpPr>
            <p:spPr bwMode="auto">
              <a:xfrm>
                <a:off x="468777" y="1227804"/>
                <a:ext cx="5583849" cy="1516799"/>
              </a:xfrm>
              <a:prstGeom prst="rect">
                <a:avLst/>
              </a:prstGeom>
              <a:solidFill>
                <a:schemeClr val="bg1">
                  <a:lumMod val="20000"/>
                  <a:lumOff val="80000"/>
                </a:schemeClr>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8CC600">
                    <a:satMod val="300000"/>
                  </a:srgbClr>
                </a:contourClr>
              </a:sp3d>
            </p:spPr>
            <p:txBody>
              <a:bodyPr vert="horz" wrap="square" lIns="274320" tIns="45718" rIns="91436" bIns="45718" numCol="1" rtlCol="0" anchor="ctr" anchorCtr="0" compatLnSpc="1">
                <a:prstTxWarp prst="textNoShape">
                  <a:avLst/>
                </a:prstTxWarp>
                <a:noAutofit/>
              </a:bodyPr>
              <a:lstStyle/>
              <a:p>
                <a:pPr defTabSz="685637" fontAlgn="base">
                  <a:lnSpc>
                    <a:spcPct val="80000"/>
                  </a:lnSpc>
                  <a:defRPr/>
                </a:pPr>
                <a:endParaRPr lang="en-US" sz="3600" kern="0" spc="-53" dirty="0">
                  <a:solidFill>
                    <a:srgbClr val="000000">
                      <a:alpha val="99000"/>
                    </a:srgbClr>
                  </a:solidFill>
                  <a:latin typeface="Segoe UI Light" pitchFamily="34" charset="0"/>
                  <a:ea typeface="Segoe UI" pitchFamily="34" charset="0"/>
                  <a:cs typeface="Segoe UI" pitchFamily="34" charset="0"/>
                </a:endParaRPr>
              </a:p>
            </p:txBody>
          </p:sp>
          <p:sp>
            <p:nvSpPr>
              <p:cNvPr id="56" name="Text Placeholder 12"/>
              <p:cNvSpPr txBox="1">
                <a:spLocks/>
              </p:cNvSpPr>
              <p:nvPr/>
            </p:nvSpPr>
            <p:spPr>
              <a:xfrm>
                <a:off x="620711" y="1374699"/>
                <a:ext cx="2953652" cy="664797"/>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dirty="0">
                    <a:solidFill>
                      <a:srgbClr val="363535"/>
                    </a:solidFill>
                    <a:latin typeface="Segoe UI"/>
                  </a:rPr>
                  <a:t>Devices &amp; Experiences Users Love </a:t>
                </a:r>
              </a:p>
            </p:txBody>
          </p:sp>
          <p:sp>
            <p:nvSpPr>
              <p:cNvPr id="57" name="Right Triangle 56"/>
              <p:cNvSpPr/>
              <p:nvPr/>
            </p:nvSpPr>
            <p:spPr bwMode="auto">
              <a:xfrm rot="18900000" flipH="1">
                <a:off x="5862318" y="1617506"/>
                <a:ext cx="321697" cy="336354"/>
              </a:xfrm>
              <a:prstGeom prst="rtTriangle">
                <a:avLst/>
              </a:prstGeom>
              <a:solidFill>
                <a:schemeClr val="bg1">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637" fontAlgn="base">
                  <a:spcBef>
                    <a:spcPct val="0"/>
                  </a:spcBef>
                  <a:spcAft>
                    <a:spcPct val="0"/>
                  </a:spcAft>
                  <a:defRPr/>
                </a:pPr>
                <a:endParaRPr lang="en-US" kern="0" spc="-38"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1" name="Group 118"/>
            <p:cNvGrpSpPr/>
            <p:nvPr/>
          </p:nvGrpSpPr>
          <p:grpSpPr>
            <a:xfrm>
              <a:off x="3724841" y="1453042"/>
              <a:ext cx="1910399" cy="547390"/>
              <a:chOff x="2227994" y="8063418"/>
              <a:chExt cx="3888546" cy="1114191"/>
            </a:xfrm>
          </p:grpSpPr>
          <p:pic>
            <p:nvPicPr>
              <p:cNvPr id="42" name="Picture 41"/>
              <p:cNvPicPr>
                <a:picLocks noChangeAspect="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tretch>
                <a:fillRect/>
              </a:stretch>
            </p:blipFill>
            <p:spPr>
              <a:xfrm>
                <a:off x="5837588" y="8641669"/>
                <a:ext cx="278952" cy="535940"/>
              </a:xfrm>
              <a:prstGeom prst="rect">
                <a:avLst/>
              </a:prstGeom>
            </p:spPr>
          </p:pic>
          <p:sp>
            <p:nvSpPr>
              <p:cNvPr id="43" name="Freeform 107"/>
              <p:cNvSpPr>
                <a:spLocks noEditPoints="1"/>
              </p:cNvSpPr>
              <p:nvPr/>
            </p:nvSpPr>
            <p:spPr bwMode="auto">
              <a:xfrm rot="5400000">
                <a:off x="2133628" y="8593597"/>
                <a:ext cx="678378" cy="489645"/>
              </a:xfrm>
              <a:custGeom>
                <a:avLst/>
                <a:gdLst/>
                <a:ahLst/>
                <a:cxnLst>
                  <a:cxn ang="0">
                    <a:pos x="514" y="0"/>
                  </a:cxn>
                  <a:cxn ang="0">
                    <a:pos x="17" y="0"/>
                  </a:cxn>
                  <a:cxn ang="0">
                    <a:pos x="0" y="17"/>
                  </a:cxn>
                  <a:cxn ang="0">
                    <a:pos x="0" y="356"/>
                  </a:cxn>
                  <a:cxn ang="0">
                    <a:pos x="17" y="373"/>
                  </a:cxn>
                  <a:cxn ang="0">
                    <a:pos x="514" y="373"/>
                  </a:cxn>
                  <a:cxn ang="0">
                    <a:pos x="531" y="356"/>
                  </a:cxn>
                  <a:cxn ang="0">
                    <a:pos x="531" y="17"/>
                  </a:cxn>
                  <a:cxn ang="0">
                    <a:pos x="514" y="0"/>
                  </a:cxn>
                  <a:cxn ang="0">
                    <a:pos x="501" y="329"/>
                  </a:cxn>
                  <a:cxn ang="0">
                    <a:pos x="486" y="343"/>
                  </a:cxn>
                  <a:cxn ang="0">
                    <a:pos x="45" y="343"/>
                  </a:cxn>
                  <a:cxn ang="0">
                    <a:pos x="30" y="329"/>
                  </a:cxn>
                  <a:cxn ang="0">
                    <a:pos x="30" y="45"/>
                  </a:cxn>
                  <a:cxn ang="0">
                    <a:pos x="45" y="30"/>
                  </a:cxn>
                  <a:cxn ang="0">
                    <a:pos x="486" y="30"/>
                  </a:cxn>
                  <a:cxn ang="0">
                    <a:pos x="501" y="45"/>
                  </a:cxn>
                  <a:cxn ang="0">
                    <a:pos x="501" y="329"/>
                  </a:cxn>
                </a:cxnLst>
                <a:rect l="0" t="0" r="r" b="b"/>
                <a:pathLst>
                  <a:path w="531" h="373">
                    <a:moveTo>
                      <a:pt x="514" y="0"/>
                    </a:moveTo>
                    <a:cubicBezTo>
                      <a:pt x="17" y="0"/>
                      <a:pt x="17" y="0"/>
                      <a:pt x="17" y="0"/>
                    </a:cubicBezTo>
                    <a:cubicBezTo>
                      <a:pt x="7" y="0"/>
                      <a:pt x="0" y="8"/>
                      <a:pt x="0" y="17"/>
                    </a:cubicBezTo>
                    <a:cubicBezTo>
                      <a:pt x="0" y="356"/>
                      <a:pt x="0" y="356"/>
                      <a:pt x="0" y="356"/>
                    </a:cubicBezTo>
                    <a:cubicBezTo>
                      <a:pt x="0" y="366"/>
                      <a:pt x="7" y="373"/>
                      <a:pt x="17" y="373"/>
                    </a:cubicBezTo>
                    <a:cubicBezTo>
                      <a:pt x="514" y="373"/>
                      <a:pt x="514" y="373"/>
                      <a:pt x="514" y="373"/>
                    </a:cubicBezTo>
                    <a:cubicBezTo>
                      <a:pt x="524" y="373"/>
                      <a:pt x="531" y="366"/>
                      <a:pt x="531" y="356"/>
                    </a:cubicBezTo>
                    <a:cubicBezTo>
                      <a:pt x="531" y="17"/>
                      <a:pt x="531" y="17"/>
                      <a:pt x="531" y="17"/>
                    </a:cubicBezTo>
                    <a:cubicBezTo>
                      <a:pt x="531" y="8"/>
                      <a:pt x="524" y="0"/>
                      <a:pt x="514" y="0"/>
                    </a:cubicBezTo>
                    <a:close/>
                    <a:moveTo>
                      <a:pt x="501" y="329"/>
                    </a:moveTo>
                    <a:cubicBezTo>
                      <a:pt x="501" y="337"/>
                      <a:pt x="494" y="343"/>
                      <a:pt x="486" y="343"/>
                    </a:cubicBezTo>
                    <a:cubicBezTo>
                      <a:pt x="45" y="343"/>
                      <a:pt x="45" y="343"/>
                      <a:pt x="45" y="343"/>
                    </a:cubicBezTo>
                    <a:cubicBezTo>
                      <a:pt x="37" y="343"/>
                      <a:pt x="30" y="337"/>
                      <a:pt x="30" y="329"/>
                    </a:cubicBezTo>
                    <a:cubicBezTo>
                      <a:pt x="30" y="45"/>
                      <a:pt x="30" y="45"/>
                      <a:pt x="30" y="45"/>
                    </a:cubicBezTo>
                    <a:cubicBezTo>
                      <a:pt x="30" y="37"/>
                      <a:pt x="37" y="30"/>
                      <a:pt x="45" y="30"/>
                    </a:cubicBezTo>
                    <a:cubicBezTo>
                      <a:pt x="486" y="30"/>
                      <a:pt x="486" y="30"/>
                      <a:pt x="486" y="30"/>
                    </a:cubicBezTo>
                    <a:cubicBezTo>
                      <a:pt x="494" y="30"/>
                      <a:pt x="501" y="37"/>
                      <a:pt x="501" y="45"/>
                    </a:cubicBezTo>
                    <a:lnTo>
                      <a:pt x="501" y="329"/>
                    </a:lnTo>
                    <a:close/>
                  </a:path>
                </a:pathLst>
              </a:custGeom>
              <a:solidFill>
                <a:srgbClr val="FFFFFF"/>
              </a:solidFill>
              <a:extLst/>
            </p:spPr>
            <p:txBody>
              <a:bodyPr vert="horz" wrap="square" lIns="116047" tIns="58023" rIns="116047" bIns="58023" numCol="1" anchor="t" anchorCtr="0" compatLnSpc="1">
                <a:prstTxWarp prst="textNoShape">
                  <a:avLst/>
                </a:prstTxWarp>
              </a:bodyPr>
              <a:lstStyle/>
              <a:p>
                <a:pPr defTabSz="685862">
                  <a:defRPr/>
                </a:pPr>
                <a:endParaRPr lang="en-US" kern="0" dirty="0">
                  <a:solidFill>
                    <a:srgbClr val="1D4C7C"/>
                  </a:solidFill>
                </a:endParaRPr>
              </a:p>
            </p:txBody>
          </p:sp>
          <p:sp>
            <p:nvSpPr>
              <p:cNvPr id="44" name="Round Same Side Corner Rectangle 11"/>
              <p:cNvSpPr/>
              <p:nvPr/>
            </p:nvSpPr>
            <p:spPr>
              <a:xfrm>
                <a:off x="3072998" y="8366231"/>
                <a:ext cx="891455" cy="617789"/>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algn="ctr" defTabSz="685862">
                  <a:defRPr/>
                </a:pPr>
                <a:endParaRPr lang="en-US" kern="0">
                  <a:solidFill>
                    <a:srgbClr val="1D4C7C"/>
                  </a:solidFill>
                </a:endParaRPr>
              </a:p>
            </p:txBody>
          </p:sp>
          <p:sp>
            <p:nvSpPr>
              <p:cNvPr id="45" name="Trapezoid 12"/>
              <p:cNvSpPr/>
              <p:nvPr/>
            </p:nvSpPr>
            <p:spPr>
              <a:xfrm>
                <a:off x="2992565" y="8987104"/>
                <a:ext cx="1052323" cy="143660"/>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p>
                <a:pPr algn="ctr" defTabSz="685862">
                  <a:defRPr/>
                </a:pPr>
                <a:endParaRPr lang="en-US" kern="0">
                  <a:solidFill>
                    <a:srgbClr val="1D4C7C"/>
                  </a:solidFill>
                </a:endParaRPr>
              </a:p>
            </p:txBody>
          </p:sp>
          <p:sp>
            <p:nvSpPr>
              <p:cNvPr id="46" name="Rectangle 45"/>
              <p:cNvSpPr/>
              <p:nvPr/>
            </p:nvSpPr>
            <p:spPr>
              <a:xfrm>
                <a:off x="2993032" y="9130765"/>
                <a:ext cx="1051387" cy="46844"/>
              </a:xfrm>
              <a:prstGeom prst="rect">
                <a:avLst/>
              </a:prstGeom>
              <a:solidFill>
                <a:srgbClr val="FFFFFF"/>
              </a:solidFill>
              <a:ln w="25400" cap="flat" cmpd="sng" algn="ctr">
                <a:noFill/>
                <a:prstDash val="solid"/>
              </a:ln>
              <a:effectLst/>
            </p:spPr>
            <p:txBody>
              <a:bodyPr rtlCol="0" anchor="ctr"/>
              <a:lstStyle/>
              <a:p>
                <a:pPr algn="ctr" defTabSz="685862">
                  <a:defRPr/>
                </a:pPr>
                <a:endParaRPr lang="en-US" kern="0">
                  <a:solidFill>
                    <a:srgbClr val="1D4C7C"/>
                  </a:solidFill>
                </a:endParaRPr>
              </a:p>
            </p:txBody>
          </p:sp>
          <p:sp>
            <p:nvSpPr>
              <p:cNvPr id="50" name="Freeform 7"/>
              <p:cNvSpPr>
                <a:spLocks noChangeAspect="1" noEditPoints="1"/>
              </p:cNvSpPr>
              <p:nvPr/>
            </p:nvSpPr>
            <p:spPr bwMode="auto">
              <a:xfrm>
                <a:off x="4284340" y="8063418"/>
                <a:ext cx="1403086" cy="1114191"/>
              </a:xfrm>
              <a:custGeom>
                <a:avLst/>
                <a:gdLst>
                  <a:gd name="T0" fmla="*/ 16 w 1389"/>
                  <a:gd name="T1" fmla="*/ 0 h 878"/>
                  <a:gd name="T2" fmla="*/ 0 w 1389"/>
                  <a:gd name="T3" fmla="*/ 332 h 878"/>
                  <a:gd name="T4" fmla="*/ 0 w 1389"/>
                  <a:gd name="T5" fmla="*/ 788 h 878"/>
                  <a:gd name="T6" fmla="*/ 198 w 1389"/>
                  <a:gd name="T7" fmla="*/ 802 h 878"/>
                  <a:gd name="T8" fmla="*/ 647 w 1389"/>
                  <a:gd name="T9" fmla="*/ 803 h 878"/>
                  <a:gd name="T10" fmla="*/ 647 w 1389"/>
                  <a:gd name="T11" fmla="*/ 826 h 878"/>
                  <a:gd name="T12" fmla="*/ 355 w 1389"/>
                  <a:gd name="T13" fmla="*/ 840 h 878"/>
                  <a:gd name="T14" fmla="*/ 345 w 1389"/>
                  <a:gd name="T15" fmla="*/ 878 h 878"/>
                  <a:gd name="T16" fmla="*/ 1039 w 1389"/>
                  <a:gd name="T17" fmla="*/ 864 h 878"/>
                  <a:gd name="T18" fmla="*/ 1000 w 1389"/>
                  <a:gd name="T19" fmla="*/ 826 h 878"/>
                  <a:gd name="T20" fmla="*/ 721 w 1389"/>
                  <a:gd name="T21" fmla="*/ 804 h 878"/>
                  <a:gd name="T22" fmla="*/ 1374 w 1389"/>
                  <a:gd name="T23" fmla="*/ 803 h 878"/>
                  <a:gd name="T24" fmla="*/ 1389 w 1389"/>
                  <a:gd name="T25" fmla="*/ 14 h 878"/>
                  <a:gd name="T26" fmla="*/ 1126 w 1389"/>
                  <a:gd name="T27" fmla="*/ 781 h 878"/>
                  <a:gd name="T28" fmla="*/ 1107 w 1389"/>
                  <a:gd name="T29" fmla="*/ 778 h 878"/>
                  <a:gd name="T30" fmla="*/ 1126 w 1389"/>
                  <a:gd name="T31" fmla="*/ 774 h 878"/>
                  <a:gd name="T32" fmla="*/ 1126 w 1389"/>
                  <a:gd name="T33" fmla="*/ 781 h 878"/>
                  <a:gd name="T34" fmla="*/ 1144 w 1389"/>
                  <a:gd name="T35" fmla="*/ 781 h 878"/>
                  <a:gd name="T36" fmla="*/ 1144 w 1389"/>
                  <a:gd name="T37" fmla="*/ 774 h 878"/>
                  <a:gd name="T38" fmla="*/ 1164 w 1389"/>
                  <a:gd name="T39" fmla="*/ 778 h 878"/>
                  <a:gd name="T40" fmla="*/ 1194 w 1389"/>
                  <a:gd name="T41" fmla="*/ 781 h 878"/>
                  <a:gd name="T42" fmla="*/ 1174 w 1389"/>
                  <a:gd name="T43" fmla="*/ 778 h 878"/>
                  <a:gd name="T44" fmla="*/ 1194 w 1389"/>
                  <a:gd name="T45" fmla="*/ 774 h 878"/>
                  <a:gd name="T46" fmla="*/ 1194 w 1389"/>
                  <a:gd name="T47" fmla="*/ 781 h 878"/>
                  <a:gd name="T48" fmla="*/ 1211 w 1389"/>
                  <a:gd name="T49" fmla="*/ 781 h 878"/>
                  <a:gd name="T50" fmla="*/ 1211 w 1389"/>
                  <a:gd name="T51" fmla="*/ 774 h 878"/>
                  <a:gd name="T52" fmla="*/ 1231 w 1389"/>
                  <a:gd name="T53" fmla="*/ 778 h 878"/>
                  <a:gd name="T54" fmla="*/ 1261 w 1389"/>
                  <a:gd name="T55" fmla="*/ 781 h 878"/>
                  <a:gd name="T56" fmla="*/ 1241 w 1389"/>
                  <a:gd name="T57" fmla="*/ 778 h 878"/>
                  <a:gd name="T58" fmla="*/ 1261 w 1389"/>
                  <a:gd name="T59" fmla="*/ 774 h 878"/>
                  <a:gd name="T60" fmla="*/ 1261 w 1389"/>
                  <a:gd name="T61" fmla="*/ 781 h 878"/>
                  <a:gd name="T62" fmla="*/ 1278 w 1389"/>
                  <a:gd name="T63" fmla="*/ 781 h 878"/>
                  <a:gd name="T64" fmla="*/ 1278 w 1389"/>
                  <a:gd name="T65" fmla="*/ 774 h 878"/>
                  <a:gd name="T66" fmla="*/ 1298 w 1389"/>
                  <a:gd name="T67" fmla="*/ 778 h 878"/>
                  <a:gd name="T68" fmla="*/ 1316 w 1389"/>
                  <a:gd name="T69" fmla="*/ 787 h 878"/>
                  <a:gd name="T70" fmla="*/ 1316 w 1389"/>
                  <a:gd name="T71" fmla="*/ 768 h 878"/>
                  <a:gd name="T72" fmla="*/ 1316 w 1389"/>
                  <a:gd name="T73" fmla="*/ 787 h 878"/>
                  <a:gd name="T74" fmla="*/ 1326 w 1389"/>
                  <a:gd name="T75" fmla="*/ 754 h 878"/>
                  <a:gd name="T76" fmla="*/ 455 w 1389"/>
                  <a:gd name="T77" fmla="*/ 754 h 878"/>
                  <a:gd name="T78" fmla="*/ 49 w 1389"/>
                  <a:gd name="T79" fmla="*/ 739 h 878"/>
                  <a:gd name="T80" fmla="*/ 49 w 1389"/>
                  <a:gd name="T81" fmla="*/ 332 h 878"/>
                  <a:gd name="T82" fmla="*/ 64 w 1389"/>
                  <a:gd name="T83" fmla="*/ 48 h 878"/>
                  <a:gd name="T84" fmla="*/ 1340 w 1389"/>
                  <a:gd name="T85" fmla="*/ 63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9" h="878">
                    <a:moveTo>
                      <a:pt x="1374" y="0"/>
                    </a:moveTo>
                    <a:cubicBezTo>
                      <a:pt x="16" y="0"/>
                      <a:pt x="16" y="0"/>
                      <a:pt x="16" y="0"/>
                    </a:cubicBezTo>
                    <a:cubicBezTo>
                      <a:pt x="7" y="0"/>
                      <a:pt x="0" y="6"/>
                      <a:pt x="0" y="14"/>
                    </a:cubicBezTo>
                    <a:cubicBezTo>
                      <a:pt x="0" y="139"/>
                      <a:pt x="0" y="244"/>
                      <a:pt x="0" y="332"/>
                    </a:cubicBezTo>
                    <a:cubicBezTo>
                      <a:pt x="0" y="384"/>
                      <a:pt x="0" y="430"/>
                      <a:pt x="0" y="470"/>
                    </a:cubicBezTo>
                    <a:cubicBezTo>
                      <a:pt x="0" y="788"/>
                      <a:pt x="0" y="788"/>
                      <a:pt x="0" y="788"/>
                    </a:cubicBezTo>
                    <a:cubicBezTo>
                      <a:pt x="0" y="796"/>
                      <a:pt x="7" y="802"/>
                      <a:pt x="16" y="802"/>
                    </a:cubicBezTo>
                    <a:cubicBezTo>
                      <a:pt x="16" y="802"/>
                      <a:pt x="16" y="802"/>
                      <a:pt x="198" y="802"/>
                    </a:cubicBezTo>
                    <a:cubicBezTo>
                      <a:pt x="198" y="802"/>
                      <a:pt x="198" y="803"/>
                      <a:pt x="198" y="803"/>
                    </a:cubicBezTo>
                    <a:cubicBezTo>
                      <a:pt x="647" y="803"/>
                      <a:pt x="647" y="803"/>
                      <a:pt x="647" y="803"/>
                    </a:cubicBezTo>
                    <a:cubicBezTo>
                      <a:pt x="647" y="803"/>
                      <a:pt x="647" y="803"/>
                      <a:pt x="647" y="804"/>
                    </a:cubicBezTo>
                    <a:cubicBezTo>
                      <a:pt x="647" y="826"/>
                      <a:pt x="647" y="826"/>
                      <a:pt x="647" y="826"/>
                    </a:cubicBezTo>
                    <a:cubicBezTo>
                      <a:pt x="369" y="826"/>
                      <a:pt x="369" y="826"/>
                      <a:pt x="369" y="826"/>
                    </a:cubicBezTo>
                    <a:cubicBezTo>
                      <a:pt x="362" y="826"/>
                      <a:pt x="355" y="832"/>
                      <a:pt x="355" y="840"/>
                    </a:cubicBezTo>
                    <a:cubicBezTo>
                      <a:pt x="331" y="864"/>
                      <a:pt x="331" y="864"/>
                      <a:pt x="331" y="864"/>
                    </a:cubicBezTo>
                    <a:cubicBezTo>
                      <a:pt x="331" y="872"/>
                      <a:pt x="337" y="878"/>
                      <a:pt x="345" y="878"/>
                    </a:cubicBezTo>
                    <a:cubicBezTo>
                      <a:pt x="1024" y="878"/>
                      <a:pt x="1024" y="878"/>
                      <a:pt x="1024" y="878"/>
                    </a:cubicBezTo>
                    <a:cubicBezTo>
                      <a:pt x="1033" y="878"/>
                      <a:pt x="1039" y="872"/>
                      <a:pt x="1039" y="864"/>
                    </a:cubicBezTo>
                    <a:cubicBezTo>
                      <a:pt x="1015" y="840"/>
                      <a:pt x="1015" y="840"/>
                      <a:pt x="1015" y="840"/>
                    </a:cubicBezTo>
                    <a:cubicBezTo>
                      <a:pt x="1015" y="832"/>
                      <a:pt x="1009" y="826"/>
                      <a:pt x="1000" y="826"/>
                    </a:cubicBezTo>
                    <a:cubicBezTo>
                      <a:pt x="721" y="826"/>
                      <a:pt x="721" y="826"/>
                      <a:pt x="721" y="826"/>
                    </a:cubicBezTo>
                    <a:cubicBezTo>
                      <a:pt x="721" y="804"/>
                      <a:pt x="721" y="804"/>
                      <a:pt x="721" y="804"/>
                    </a:cubicBezTo>
                    <a:cubicBezTo>
                      <a:pt x="721" y="803"/>
                      <a:pt x="721" y="803"/>
                      <a:pt x="721" y="803"/>
                    </a:cubicBezTo>
                    <a:cubicBezTo>
                      <a:pt x="1374" y="803"/>
                      <a:pt x="1374" y="803"/>
                      <a:pt x="1374" y="803"/>
                    </a:cubicBezTo>
                    <a:cubicBezTo>
                      <a:pt x="1383" y="803"/>
                      <a:pt x="1389" y="797"/>
                      <a:pt x="1389" y="789"/>
                    </a:cubicBezTo>
                    <a:cubicBezTo>
                      <a:pt x="1389" y="14"/>
                      <a:pt x="1389" y="14"/>
                      <a:pt x="1389" y="14"/>
                    </a:cubicBezTo>
                    <a:cubicBezTo>
                      <a:pt x="1389" y="6"/>
                      <a:pt x="1383" y="0"/>
                      <a:pt x="1374" y="0"/>
                    </a:cubicBezTo>
                    <a:close/>
                    <a:moveTo>
                      <a:pt x="1126" y="781"/>
                    </a:moveTo>
                    <a:cubicBezTo>
                      <a:pt x="1110" y="781"/>
                      <a:pt x="1110" y="781"/>
                      <a:pt x="1110" y="781"/>
                    </a:cubicBezTo>
                    <a:cubicBezTo>
                      <a:pt x="1108" y="781"/>
                      <a:pt x="1107" y="780"/>
                      <a:pt x="1107" y="778"/>
                    </a:cubicBezTo>
                    <a:cubicBezTo>
                      <a:pt x="1107" y="776"/>
                      <a:pt x="1108" y="774"/>
                      <a:pt x="1110" y="774"/>
                    </a:cubicBezTo>
                    <a:cubicBezTo>
                      <a:pt x="1126" y="774"/>
                      <a:pt x="1126" y="774"/>
                      <a:pt x="1126" y="774"/>
                    </a:cubicBezTo>
                    <a:cubicBezTo>
                      <a:pt x="1129" y="774"/>
                      <a:pt x="1130" y="776"/>
                      <a:pt x="1130" y="778"/>
                    </a:cubicBezTo>
                    <a:cubicBezTo>
                      <a:pt x="1130" y="780"/>
                      <a:pt x="1129" y="781"/>
                      <a:pt x="1126" y="781"/>
                    </a:cubicBezTo>
                    <a:close/>
                    <a:moveTo>
                      <a:pt x="1160" y="781"/>
                    </a:moveTo>
                    <a:cubicBezTo>
                      <a:pt x="1144" y="781"/>
                      <a:pt x="1144" y="781"/>
                      <a:pt x="1144" y="781"/>
                    </a:cubicBezTo>
                    <a:cubicBezTo>
                      <a:pt x="1142" y="781"/>
                      <a:pt x="1140" y="780"/>
                      <a:pt x="1140" y="778"/>
                    </a:cubicBezTo>
                    <a:cubicBezTo>
                      <a:pt x="1140" y="776"/>
                      <a:pt x="1142" y="774"/>
                      <a:pt x="1144" y="774"/>
                    </a:cubicBezTo>
                    <a:cubicBezTo>
                      <a:pt x="1160" y="774"/>
                      <a:pt x="1160" y="774"/>
                      <a:pt x="1160" y="774"/>
                    </a:cubicBezTo>
                    <a:cubicBezTo>
                      <a:pt x="1162" y="774"/>
                      <a:pt x="1164" y="776"/>
                      <a:pt x="1164" y="778"/>
                    </a:cubicBezTo>
                    <a:cubicBezTo>
                      <a:pt x="1164" y="780"/>
                      <a:pt x="1162" y="781"/>
                      <a:pt x="1160" y="781"/>
                    </a:cubicBezTo>
                    <a:close/>
                    <a:moveTo>
                      <a:pt x="1194" y="781"/>
                    </a:moveTo>
                    <a:cubicBezTo>
                      <a:pt x="1177" y="781"/>
                      <a:pt x="1177" y="781"/>
                      <a:pt x="1177" y="781"/>
                    </a:cubicBezTo>
                    <a:cubicBezTo>
                      <a:pt x="1175" y="781"/>
                      <a:pt x="1174" y="780"/>
                      <a:pt x="1174" y="778"/>
                    </a:cubicBezTo>
                    <a:cubicBezTo>
                      <a:pt x="1174" y="776"/>
                      <a:pt x="1175" y="774"/>
                      <a:pt x="1177" y="774"/>
                    </a:cubicBezTo>
                    <a:cubicBezTo>
                      <a:pt x="1194" y="774"/>
                      <a:pt x="1194" y="774"/>
                      <a:pt x="1194" y="774"/>
                    </a:cubicBezTo>
                    <a:cubicBezTo>
                      <a:pt x="1196" y="774"/>
                      <a:pt x="1198" y="776"/>
                      <a:pt x="1198" y="778"/>
                    </a:cubicBezTo>
                    <a:cubicBezTo>
                      <a:pt x="1198" y="780"/>
                      <a:pt x="1196" y="781"/>
                      <a:pt x="1194" y="781"/>
                    </a:cubicBezTo>
                    <a:close/>
                    <a:moveTo>
                      <a:pt x="1228" y="781"/>
                    </a:moveTo>
                    <a:cubicBezTo>
                      <a:pt x="1211" y="781"/>
                      <a:pt x="1211" y="781"/>
                      <a:pt x="1211" y="781"/>
                    </a:cubicBezTo>
                    <a:cubicBezTo>
                      <a:pt x="1209" y="781"/>
                      <a:pt x="1207" y="780"/>
                      <a:pt x="1207" y="778"/>
                    </a:cubicBezTo>
                    <a:cubicBezTo>
                      <a:pt x="1207" y="776"/>
                      <a:pt x="1209" y="774"/>
                      <a:pt x="1211" y="774"/>
                    </a:cubicBezTo>
                    <a:cubicBezTo>
                      <a:pt x="1228" y="774"/>
                      <a:pt x="1228" y="774"/>
                      <a:pt x="1228" y="774"/>
                    </a:cubicBezTo>
                    <a:cubicBezTo>
                      <a:pt x="1230" y="774"/>
                      <a:pt x="1231" y="776"/>
                      <a:pt x="1231" y="778"/>
                    </a:cubicBezTo>
                    <a:cubicBezTo>
                      <a:pt x="1231" y="780"/>
                      <a:pt x="1230" y="781"/>
                      <a:pt x="1228" y="781"/>
                    </a:cubicBezTo>
                    <a:close/>
                    <a:moveTo>
                      <a:pt x="1261" y="781"/>
                    </a:moveTo>
                    <a:cubicBezTo>
                      <a:pt x="1244" y="781"/>
                      <a:pt x="1244" y="781"/>
                      <a:pt x="1244" y="781"/>
                    </a:cubicBezTo>
                    <a:cubicBezTo>
                      <a:pt x="1242" y="781"/>
                      <a:pt x="1241" y="780"/>
                      <a:pt x="1241" y="778"/>
                    </a:cubicBezTo>
                    <a:cubicBezTo>
                      <a:pt x="1241" y="776"/>
                      <a:pt x="1242" y="774"/>
                      <a:pt x="1244" y="774"/>
                    </a:cubicBezTo>
                    <a:cubicBezTo>
                      <a:pt x="1261" y="774"/>
                      <a:pt x="1261" y="774"/>
                      <a:pt x="1261" y="774"/>
                    </a:cubicBezTo>
                    <a:cubicBezTo>
                      <a:pt x="1263" y="774"/>
                      <a:pt x="1265" y="776"/>
                      <a:pt x="1265" y="778"/>
                    </a:cubicBezTo>
                    <a:cubicBezTo>
                      <a:pt x="1265" y="780"/>
                      <a:pt x="1263" y="781"/>
                      <a:pt x="1261" y="781"/>
                    </a:cubicBezTo>
                    <a:close/>
                    <a:moveTo>
                      <a:pt x="1295" y="781"/>
                    </a:moveTo>
                    <a:cubicBezTo>
                      <a:pt x="1278" y="781"/>
                      <a:pt x="1278" y="781"/>
                      <a:pt x="1278" y="781"/>
                    </a:cubicBezTo>
                    <a:cubicBezTo>
                      <a:pt x="1276" y="781"/>
                      <a:pt x="1274" y="780"/>
                      <a:pt x="1274" y="778"/>
                    </a:cubicBezTo>
                    <a:cubicBezTo>
                      <a:pt x="1274" y="776"/>
                      <a:pt x="1276" y="774"/>
                      <a:pt x="1278" y="774"/>
                    </a:cubicBezTo>
                    <a:cubicBezTo>
                      <a:pt x="1295" y="774"/>
                      <a:pt x="1295" y="774"/>
                      <a:pt x="1295" y="774"/>
                    </a:cubicBezTo>
                    <a:cubicBezTo>
                      <a:pt x="1297" y="774"/>
                      <a:pt x="1298" y="776"/>
                      <a:pt x="1298" y="778"/>
                    </a:cubicBezTo>
                    <a:cubicBezTo>
                      <a:pt x="1298" y="780"/>
                      <a:pt x="1297" y="781"/>
                      <a:pt x="1295" y="781"/>
                    </a:cubicBezTo>
                    <a:close/>
                    <a:moveTo>
                      <a:pt x="1316" y="787"/>
                    </a:moveTo>
                    <a:cubicBezTo>
                      <a:pt x="1311" y="787"/>
                      <a:pt x="1307" y="783"/>
                      <a:pt x="1307" y="778"/>
                    </a:cubicBezTo>
                    <a:cubicBezTo>
                      <a:pt x="1307" y="773"/>
                      <a:pt x="1311" y="768"/>
                      <a:pt x="1316" y="768"/>
                    </a:cubicBezTo>
                    <a:cubicBezTo>
                      <a:pt x="1321" y="768"/>
                      <a:pt x="1325" y="773"/>
                      <a:pt x="1325" y="778"/>
                    </a:cubicBezTo>
                    <a:cubicBezTo>
                      <a:pt x="1325" y="783"/>
                      <a:pt x="1321" y="787"/>
                      <a:pt x="1316" y="787"/>
                    </a:cubicBezTo>
                    <a:close/>
                    <a:moveTo>
                      <a:pt x="1340" y="740"/>
                    </a:moveTo>
                    <a:cubicBezTo>
                      <a:pt x="1340" y="748"/>
                      <a:pt x="1334" y="754"/>
                      <a:pt x="1326" y="754"/>
                    </a:cubicBezTo>
                    <a:cubicBezTo>
                      <a:pt x="918" y="754"/>
                      <a:pt x="642" y="754"/>
                      <a:pt x="455" y="754"/>
                    </a:cubicBezTo>
                    <a:cubicBezTo>
                      <a:pt x="455" y="754"/>
                      <a:pt x="455" y="754"/>
                      <a:pt x="455" y="754"/>
                    </a:cubicBezTo>
                    <a:cubicBezTo>
                      <a:pt x="64" y="754"/>
                      <a:pt x="64" y="754"/>
                      <a:pt x="64" y="754"/>
                    </a:cubicBezTo>
                    <a:cubicBezTo>
                      <a:pt x="56" y="754"/>
                      <a:pt x="49" y="747"/>
                      <a:pt x="49" y="739"/>
                    </a:cubicBezTo>
                    <a:cubicBezTo>
                      <a:pt x="49" y="739"/>
                      <a:pt x="49" y="739"/>
                      <a:pt x="49" y="470"/>
                    </a:cubicBezTo>
                    <a:cubicBezTo>
                      <a:pt x="49" y="417"/>
                      <a:pt x="49" y="372"/>
                      <a:pt x="49" y="332"/>
                    </a:cubicBezTo>
                    <a:cubicBezTo>
                      <a:pt x="49" y="63"/>
                      <a:pt x="49" y="63"/>
                      <a:pt x="49" y="63"/>
                    </a:cubicBezTo>
                    <a:cubicBezTo>
                      <a:pt x="49" y="55"/>
                      <a:pt x="56" y="48"/>
                      <a:pt x="64" y="48"/>
                    </a:cubicBezTo>
                    <a:cubicBezTo>
                      <a:pt x="1326" y="48"/>
                      <a:pt x="1326" y="48"/>
                      <a:pt x="1326" y="48"/>
                    </a:cubicBezTo>
                    <a:cubicBezTo>
                      <a:pt x="1334" y="48"/>
                      <a:pt x="1340" y="55"/>
                      <a:pt x="1340" y="63"/>
                    </a:cubicBezTo>
                    <a:cubicBezTo>
                      <a:pt x="1340" y="740"/>
                      <a:pt x="1340" y="740"/>
                      <a:pt x="1340" y="740"/>
                    </a:cubicBezTo>
                    <a:close/>
                  </a:path>
                </a:pathLst>
              </a:custGeom>
              <a:solidFill>
                <a:srgbClr val="FFFFFF"/>
              </a:solidFill>
              <a:ln w="25400" cap="flat" cmpd="sng" algn="ctr">
                <a:noFill/>
                <a:prstDash val="solid"/>
                <a:headEnd type="none" w="med" len="med"/>
                <a:tailEnd type="none" w="med" len="med"/>
              </a:ln>
              <a:effectLst/>
            </p:spPr>
            <p:txBody>
              <a:bodyPr vert="horz" wrap="square" lIns="116041" tIns="58021" rIns="116041" bIns="58021" numCol="1" rtlCol="0" anchor="ctr" anchorCtr="0" compatLnSpc="1">
                <a:prstTxWarp prst="textNoShape">
                  <a:avLst/>
                </a:prstTxWarp>
              </a:bodyPr>
              <a:lstStyle/>
              <a:p>
                <a:pPr defTabSz="783380">
                  <a:defRPr/>
                </a:pPr>
                <a:endParaRPr lang="en-US" sz="2100" kern="0" spc="-128">
                  <a:solidFill>
                    <a:srgbClr val="1D4C7C"/>
                  </a:solidFill>
                  <a:latin typeface="Segoe Light" pitchFamily="34" charset="0"/>
                </a:endParaRPr>
              </a:p>
            </p:txBody>
          </p:sp>
        </p:grpSp>
      </p:grpSp>
      <p:sp>
        <p:nvSpPr>
          <p:cNvPr id="47"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48"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0"/>
              </a:rPr>
              <a:t>www.rapidbbs.cn</a:t>
            </a:r>
            <a:endParaRPr lang="zh-CN" altLang="en-US" sz="1200" b="0">
              <a:latin typeface="Arial" charset="0"/>
              <a:ea typeface="ＭＳ Ｐゴシック" pitchFamily="34" charset="-128"/>
            </a:endParaRPr>
          </a:p>
        </p:txBody>
      </p:sp>
      <p:pic>
        <p:nvPicPr>
          <p:cNvPr id="49" name="Picture 2">
            <a:hlinkClick r:id="rId10"/>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82016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0-#ppt_w/2"/>
                                          </p:val>
                                        </p:tav>
                                        <p:tav tm="100000">
                                          <p:val>
                                            <p:strVal val="#ppt_x"/>
                                          </p:val>
                                        </p:tav>
                                      </p:tavLst>
                                    </p:anim>
                                    <p:anim calcmode="lin" valueType="num">
                                      <p:cBhvr additive="base">
                                        <p:cTn id="12" dur="500" fill="hold"/>
                                        <p:tgtEl>
                                          <p:spTgt spid="3"/>
                                        </p:tgtEl>
                                        <p:attrNameLst>
                                          <p:attrName>ppt_y</p:attrName>
                                        </p:attrNameLst>
                                      </p:cBhvr>
                                      <p:tavLst>
                                        <p:tav tm="0">
                                          <p:val>
                                            <p:strVal val="#ppt_y"/>
                                          </p:val>
                                        </p:tav>
                                        <p:tav tm="100000">
                                          <p:val>
                                            <p:strVal val="#ppt_y"/>
                                          </p:val>
                                        </p:tav>
                                      </p:tavLst>
                                    </p:anim>
                                  </p:childTnLst>
                                </p:cTn>
                              </p:par>
                              <p:par>
                                <p:cTn id="13" presetID="2" presetClass="entr" presetSubtype="8" fill="hold" nodeType="withEffect">
                                  <p:stCondLst>
                                    <p:cond delay="0"/>
                                  </p:stCondLst>
                                  <p:childTnLst>
                                    <p:set>
                                      <p:cBhvr>
                                        <p:cTn id="14" dur="1" fill="hold">
                                          <p:stCondLst>
                                            <p:cond delay="0"/>
                                          </p:stCondLst>
                                        </p:cTn>
                                        <p:tgtEl>
                                          <p:spTgt spid="4"/>
                                        </p:tgtEl>
                                        <p:attrNameLst>
                                          <p:attrName>style.visibility</p:attrName>
                                        </p:attrNameLst>
                                      </p:cBhvr>
                                      <p:to>
                                        <p:strVal val="visible"/>
                                      </p:to>
                                    </p:set>
                                    <p:anim calcmode="lin" valueType="num">
                                      <p:cBhvr additive="base">
                                        <p:cTn id="15" dur="500" fill="hold"/>
                                        <p:tgtEl>
                                          <p:spTgt spid="4"/>
                                        </p:tgtEl>
                                        <p:attrNameLst>
                                          <p:attrName>ppt_x</p:attrName>
                                        </p:attrNameLst>
                                      </p:cBhvr>
                                      <p:tavLst>
                                        <p:tav tm="0">
                                          <p:val>
                                            <p:strVal val="0-#ppt_w/2"/>
                                          </p:val>
                                        </p:tav>
                                        <p:tav tm="100000">
                                          <p:val>
                                            <p:strVal val="#ppt_x"/>
                                          </p:val>
                                        </p:tav>
                                      </p:tavLst>
                                    </p:anim>
                                    <p:anim calcmode="lin" valueType="num">
                                      <p:cBhvr additive="base">
                                        <p:cTn id="16" dur="500" fill="hold"/>
                                        <p:tgtEl>
                                          <p:spTgt spid="4"/>
                                        </p:tgtEl>
                                        <p:attrNameLst>
                                          <p:attrName>ppt_y</p:attrName>
                                        </p:attrNameLst>
                                      </p:cBhvr>
                                      <p:tavLst>
                                        <p:tav tm="0">
                                          <p:val>
                                            <p:strVal val="#ppt_y"/>
                                          </p:val>
                                        </p:tav>
                                        <p:tav tm="100000">
                                          <p:val>
                                            <p:strVal val="#ppt_y"/>
                                          </p:val>
                                        </p:tav>
                                      </p:tavLst>
                                    </p:anim>
                                  </p:childTnLst>
                                </p:cTn>
                              </p:par>
                              <p:par>
                                <p:cTn id="17" presetID="2" presetClass="entr" presetSubtype="8" fill="hold" nodeType="with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500" fill="hold"/>
                                        <p:tgtEl>
                                          <p:spTgt spid="6"/>
                                        </p:tgtEl>
                                        <p:attrNameLst>
                                          <p:attrName>ppt_x</p:attrName>
                                        </p:attrNameLst>
                                      </p:cBhvr>
                                      <p:tavLst>
                                        <p:tav tm="0">
                                          <p:val>
                                            <p:strVal val="0-#ppt_w/2"/>
                                          </p:val>
                                        </p:tav>
                                        <p:tav tm="100000">
                                          <p:val>
                                            <p:strVal val="#ppt_x"/>
                                          </p:val>
                                        </p:tav>
                                      </p:tavLst>
                                    </p:anim>
                                    <p:anim calcmode="lin" valueType="num">
                                      <p:cBhvr additive="base">
                                        <p:cTn id="20"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0" name="Group 49"/>
          <p:cNvGrpSpPr/>
          <p:nvPr/>
        </p:nvGrpSpPr>
        <p:grpSpPr>
          <a:xfrm>
            <a:off x="1170582" y="2386066"/>
            <a:ext cx="1635371" cy="1634947"/>
            <a:chOff x="1560368" y="3181419"/>
            <a:chExt cx="2179927" cy="2179929"/>
          </a:xfrm>
        </p:grpSpPr>
        <p:sp>
          <p:nvSpPr>
            <p:cNvPr id="10" name="Rectangle 9"/>
            <p:cNvSpPr/>
            <p:nvPr/>
          </p:nvSpPr>
          <p:spPr bwMode="auto">
            <a:xfrm>
              <a:off x="1560368" y="3181419"/>
              <a:ext cx="2179927" cy="2179929"/>
            </a:xfrm>
            <a:prstGeom prst="rect">
              <a:avLst/>
            </a:prstGeom>
            <a:solidFill>
              <a:schemeClr val="accent1">
                <a:alpha val="73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ea typeface="Segoe UI" pitchFamily="34" charset="0"/>
                <a:cs typeface="Segoe UI" pitchFamily="34" charset="0"/>
              </a:endParaRPr>
            </a:p>
          </p:txBody>
        </p:sp>
        <p:pic>
          <p:nvPicPr>
            <p:cNvPr id="24" name="Picture 2"/>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bwMode="auto">
            <a:xfrm>
              <a:off x="1955591" y="3576643"/>
              <a:ext cx="1389480" cy="13894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47" name="Group 46"/>
          <p:cNvGrpSpPr/>
          <p:nvPr/>
        </p:nvGrpSpPr>
        <p:grpSpPr>
          <a:xfrm>
            <a:off x="2895440" y="656925"/>
            <a:ext cx="1635371" cy="1634947"/>
            <a:chOff x="3859580" y="875898"/>
            <a:chExt cx="2179927" cy="2179929"/>
          </a:xfrm>
        </p:grpSpPr>
        <p:sp>
          <p:nvSpPr>
            <p:cNvPr id="9" name="Rectangle 8"/>
            <p:cNvSpPr/>
            <p:nvPr/>
          </p:nvSpPr>
          <p:spPr bwMode="auto">
            <a:xfrm>
              <a:off x="3859580" y="875898"/>
              <a:ext cx="2179927" cy="2179929"/>
            </a:xfrm>
            <a:prstGeom prst="rect">
              <a:avLst/>
            </a:prstGeom>
            <a:solidFill>
              <a:schemeClr val="accent1">
                <a:alpha val="73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ea typeface="Segoe UI" pitchFamily="34" charset="0"/>
                <a:cs typeface="Segoe UI" pitchFamily="34" charset="0"/>
              </a:endParaRPr>
            </a:p>
          </p:txBody>
        </p:sp>
        <p:pic>
          <p:nvPicPr>
            <p:cNvPr id="27" name="Picture 4" descr="http://upload.wikimedia.org/wikipedia/commons/thumb/4/48/Dell_Logo.svg/501px-Dell_Logo.svg.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183777" y="1209070"/>
              <a:ext cx="1531532" cy="151358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6" name="Group 45"/>
          <p:cNvGrpSpPr/>
          <p:nvPr/>
        </p:nvGrpSpPr>
        <p:grpSpPr>
          <a:xfrm>
            <a:off x="1167028" y="656925"/>
            <a:ext cx="1635371" cy="1634947"/>
            <a:chOff x="1555630" y="875898"/>
            <a:chExt cx="2179927" cy="2179929"/>
          </a:xfrm>
        </p:grpSpPr>
        <p:sp>
          <p:nvSpPr>
            <p:cNvPr id="19" name="Rectangle 18"/>
            <p:cNvSpPr/>
            <p:nvPr/>
          </p:nvSpPr>
          <p:spPr bwMode="auto">
            <a:xfrm>
              <a:off x="1555630" y="875898"/>
              <a:ext cx="2179927" cy="2179929"/>
            </a:xfrm>
            <a:prstGeom prst="rect">
              <a:avLst/>
            </a:prstGeom>
            <a:solidFill>
              <a:schemeClr val="accent1">
                <a:alpha val="73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ea typeface="Segoe UI" pitchFamily="34" charset="0"/>
                <a:cs typeface="Segoe UI" pitchFamily="34" charset="0"/>
              </a:endParaRPr>
            </a:p>
          </p:txBody>
        </p:sp>
        <p:pic>
          <p:nvPicPr>
            <p:cNvPr id="30" name="Picture 2" descr="http://1.bp.blogspot.com/_jmtg0nuuaMY/S7nxoVfYBqI/AAAAAAAAAe8/eaVbo9L9ZiQ/s1600/cisco_logo_2color.png"/>
            <p:cNvPicPr>
              <a:picLocks noChangeAspect="1" noChangeArrowheads="1"/>
            </p:cNvPicPr>
            <p:nvPr/>
          </p:nvPicPr>
          <p:blipFill rotWithShape="1">
            <a:blip r:embed="rId7" cstate="print">
              <a:biLevel thresh="25000"/>
              <a:extLst>
                <a:ext uri="{BEBA8EAE-BF5A-486C-A8C5-ECC9F3942E4B}">
                  <a14:imgProps xmlns:a14="http://schemas.microsoft.com/office/drawing/2010/main">
                    <a14:imgLayer r:embed="rId8">
                      <a14:imgEffect>
                        <a14:brightnessContrast bright="40000" contrast="-20000"/>
                      </a14:imgEffect>
                    </a14:imgLayer>
                  </a14:imgProps>
                </a:ext>
                <a:ext uri="{28A0092B-C50C-407E-A947-70E740481C1C}">
                  <a14:useLocalDpi xmlns:a14="http://schemas.microsoft.com/office/drawing/2010/main" val="0"/>
                </a:ext>
              </a:extLst>
            </a:blip>
            <a:srcRect l="15480" t="21263" r="14412" b="19297"/>
            <a:stretch/>
          </p:blipFill>
          <p:spPr bwMode="auto">
            <a:xfrm>
              <a:off x="1752576" y="1439112"/>
              <a:ext cx="1786034" cy="1053500"/>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52" name="Group 51"/>
          <p:cNvGrpSpPr/>
          <p:nvPr/>
        </p:nvGrpSpPr>
        <p:grpSpPr>
          <a:xfrm>
            <a:off x="6341604" y="2386066"/>
            <a:ext cx="1635371" cy="1634947"/>
            <a:chOff x="6158793" y="3181419"/>
            <a:chExt cx="2179927" cy="2179929"/>
          </a:xfrm>
        </p:grpSpPr>
        <p:sp>
          <p:nvSpPr>
            <p:cNvPr id="8" name="Rectangle 7"/>
            <p:cNvSpPr/>
            <p:nvPr/>
          </p:nvSpPr>
          <p:spPr bwMode="auto">
            <a:xfrm>
              <a:off x="6158793" y="3181419"/>
              <a:ext cx="2179927" cy="2179929"/>
            </a:xfrm>
            <a:prstGeom prst="rect">
              <a:avLst/>
            </a:prstGeom>
            <a:solidFill>
              <a:schemeClr val="accent1">
                <a:alpha val="73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ea typeface="Segoe UI" pitchFamily="34" charset="0"/>
                <a:cs typeface="Segoe UI" pitchFamily="34" charset="0"/>
              </a:endParaRPr>
            </a:p>
          </p:txBody>
        </p:sp>
        <p:grpSp>
          <p:nvGrpSpPr>
            <p:cNvPr id="42" name="Group 41"/>
            <p:cNvGrpSpPr/>
            <p:nvPr/>
          </p:nvGrpSpPr>
          <p:grpSpPr>
            <a:xfrm>
              <a:off x="6623461" y="3551273"/>
              <a:ext cx="1250590" cy="1440220"/>
              <a:chOff x="7895376" y="3546598"/>
              <a:chExt cx="1704612" cy="1963085"/>
            </a:xfrm>
          </p:grpSpPr>
          <p:pic>
            <p:nvPicPr>
              <p:cNvPr id="33" name="Picture 5" descr="\\sfp\work\White_Whale\6-30016_Brad_Anderson\Day1\Working\521px-NetApp_logo_svg.png"/>
              <p:cNvPicPr>
                <a:picLocks noChangeAspect="1" noChangeArrowheads="1"/>
              </p:cNvPicPr>
              <p:nvPr/>
            </p:nvPicPr>
            <p:blipFill rotWithShape="1">
              <a:blip r:embed="rId9" cstate="print">
                <a:extLst>
                  <a:ext uri="{BEBA8EAE-BF5A-486C-A8C5-ECC9F3942E4B}">
                    <a14:imgProps xmlns:a14="http://schemas.microsoft.com/office/drawing/2010/main">
                      <a14:imgLayer r:embed="rId10">
                        <a14:imgEffect>
                          <a14:sharpenSoften amount="50000"/>
                        </a14:imgEffect>
                        <a14:imgEffect>
                          <a14:saturation sat="0"/>
                        </a14:imgEffect>
                        <a14:imgEffect>
                          <a14:brightnessContrast bright="100000" contrast="100000"/>
                        </a14:imgEffect>
                      </a14:imgLayer>
                    </a14:imgProps>
                  </a:ext>
                  <a:ext uri="{28A0092B-C50C-407E-A947-70E740481C1C}">
                    <a14:useLocalDpi xmlns:a14="http://schemas.microsoft.com/office/drawing/2010/main" val="0"/>
                  </a:ext>
                </a:extLst>
              </a:blip>
              <a:srcRect t="69956"/>
              <a:stretch/>
            </p:blipFill>
            <p:spPr bwMode="auto">
              <a:xfrm>
                <a:off x="7895376" y="4919891"/>
                <a:ext cx="1704612" cy="589792"/>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5" descr="\\sfp\work\White_Whale\6-30016_Brad_Anderson\Day1\Working\521px-NetApp_logo_svg.png"/>
              <p:cNvPicPr>
                <a:picLocks noChangeAspect="1" noChangeArrowheads="1"/>
              </p:cNvPicPr>
              <p:nvPr/>
            </p:nvPicPr>
            <p:blipFill rotWithShape="1">
              <a:blip r:embed="rId11" cstate="print">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rcRect b="30044"/>
              <a:stretch/>
            </p:blipFill>
            <p:spPr bwMode="auto">
              <a:xfrm>
                <a:off x="7895376" y="3546598"/>
                <a:ext cx="1704612" cy="1373293"/>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48" name="Group 47"/>
          <p:cNvGrpSpPr/>
          <p:nvPr/>
        </p:nvGrpSpPr>
        <p:grpSpPr>
          <a:xfrm>
            <a:off x="4620299" y="656925"/>
            <a:ext cx="1635371" cy="1634947"/>
            <a:chOff x="6158793" y="875898"/>
            <a:chExt cx="2179927" cy="2179929"/>
          </a:xfrm>
        </p:grpSpPr>
        <p:sp>
          <p:nvSpPr>
            <p:cNvPr id="20" name="Rectangle 19"/>
            <p:cNvSpPr/>
            <p:nvPr/>
          </p:nvSpPr>
          <p:spPr bwMode="auto">
            <a:xfrm>
              <a:off x="6158793" y="875898"/>
              <a:ext cx="2179927" cy="2179929"/>
            </a:xfrm>
            <a:prstGeom prst="rect">
              <a:avLst/>
            </a:prstGeom>
            <a:solidFill>
              <a:schemeClr val="accent1">
                <a:alpha val="73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ea typeface="Segoe UI" pitchFamily="34" charset="0"/>
                <a:cs typeface="Segoe UI" pitchFamily="34" charset="0"/>
              </a:endParaRPr>
            </a:p>
          </p:txBody>
        </p:sp>
        <p:pic>
          <p:nvPicPr>
            <p:cNvPr id="37" name="Picture 4" descr="\\sfp\work\White_Whale\6-30016_Brad_Anderson\Day1\Working\EMC-Corporation.png"/>
            <p:cNvPicPr>
              <a:picLocks noChangeAspect="1" noChangeArrowheads="1"/>
            </p:cNvPicPr>
            <p:nvPr/>
          </p:nvPicPr>
          <p:blipFill>
            <a:blip r:embed="rId13">
              <a:biLevel thresh="25000"/>
              <a:extLst>
                <a:ext uri="{BEBA8EAE-BF5A-486C-A8C5-ECC9F3942E4B}">
                  <a14:imgProps xmlns:a14="http://schemas.microsoft.com/office/drawing/2010/main">
                    <a14:imgLayer r:embed="rId14">
                      <a14:imgEffect>
                        <a14:colorTemperature colorTemp="470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6388612" y="1663438"/>
              <a:ext cx="1720288" cy="604848"/>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51" name="Group 50"/>
          <p:cNvGrpSpPr/>
          <p:nvPr/>
        </p:nvGrpSpPr>
        <p:grpSpPr>
          <a:xfrm>
            <a:off x="2894256" y="2389617"/>
            <a:ext cx="1635371" cy="1634947"/>
            <a:chOff x="3859580" y="3186155"/>
            <a:chExt cx="2179927" cy="2179929"/>
          </a:xfrm>
        </p:grpSpPr>
        <p:sp>
          <p:nvSpPr>
            <p:cNvPr id="18" name="Rectangle 17"/>
            <p:cNvSpPr/>
            <p:nvPr/>
          </p:nvSpPr>
          <p:spPr bwMode="auto">
            <a:xfrm>
              <a:off x="3859580" y="3186155"/>
              <a:ext cx="2179927" cy="2179929"/>
            </a:xfrm>
            <a:prstGeom prst="rect">
              <a:avLst/>
            </a:prstGeom>
            <a:solidFill>
              <a:schemeClr val="accent1">
                <a:alpha val="73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ea typeface="Segoe UI" pitchFamily="34" charset="0"/>
                <a:cs typeface="Segoe UI" pitchFamily="34" charset="0"/>
              </a:endParaRPr>
            </a:p>
          </p:txBody>
        </p:sp>
        <p:sp>
          <p:nvSpPr>
            <p:cNvPr id="40" name="Freeform 17"/>
            <p:cNvSpPr>
              <a:spLocks noEditPoints="1"/>
            </p:cNvSpPr>
            <p:nvPr/>
          </p:nvSpPr>
          <p:spPr bwMode="auto">
            <a:xfrm>
              <a:off x="4146338" y="4145652"/>
              <a:ext cx="1606410" cy="260934"/>
            </a:xfrm>
            <a:custGeom>
              <a:avLst/>
              <a:gdLst>
                <a:gd name="T0" fmla="*/ 0 w 1267"/>
                <a:gd name="T1" fmla="*/ 6 h 206"/>
                <a:gd name="T2" fmla="*/ 49 w 1267"/>
                <a:gd name="T3" fmla="*/ 83 h 206"/>
                <a:gd name="T4" fmla="*/ 154 w 1267"/>
                <a:gd name="T5" fmla="*/ 6 h 206"/>
                <a:gd name="T6" fmla="*/ 207 w 1267"/>
                <a:gd name="T7" fmla="*/ 201 h 206"/>
                <a:gd name="T8" fmla="*/ 155 w 1267"/>
                <a:gd name="T9" fmla="*/ 115 h 206"/>
                <a:gd name="T10" fmla="*/ 49 w 1267"/>
                <a:gd name="T11" fmla="*/ 201 h 206"/>
                <a:gd name="T12" fmla="*/ 298 w 1267"/>
                <a:gd name="T13" fmla="*/ 201 h 206"/>
                <a:gd name="T14" fmla="*/ 249 w 1267"/>
                <a:gd name="T15" fmla="*/ 6 h 206"/>
                <a:gd name="T16" fmla="*/ 298 w 1267"/>
                <a:gd name="T17" fmla="*/ 201 h 206"/>
                <a:gd name="T18" fmla="*/ 528 w 1267"/>
                <a:gd name="T19" fmla="*/ 6 h 206"/>
                <a:gd name="T20" fmla="*/ 450 w 1267"/>
                <a:gd name="T21" fmla="*/ 38 h 206"/>
                <a:gd name="T22" fmla="*/ 398 w 1267"/>
                <a:gd name="T23" fmla="*/ 201 h 206"/>
                <a:gd name="T24" fmla="*/ 317 w 1267"/>
                <a:gd name="T25" fmla="*/ 38 h 206"/>
                <a:gd name="T26" fmla="*/ 485 w 1267"/>
                <a:gd name="T27" fmla="*/ 201 h 206"/>
                <a:gd name="T28" fmla="*/ 639 w 1267"/>
                <a:gd name="T29" fmla="*/ 6 h 206"/>
                <a:gd name="T30" fmla="*/ 674 w 1267"/>
                <a:gd name="T31" fmla="*/ 201 h 206"/>
                <a:gd name="T32" fmla="*/ 559 w 1267"/>
                <a:gd name="T33" fmla="*/ 160 h 206"/>
                <a:gd name="T34" fmla="*/ 485 w 1267"/>
                <a:gd name="T35" fmla="*/ 201 h 206"/>
                <a:gd name="T36" fmla="*/ 608 w 1267"/>
                <a:gd name="T37" fmla="*/ 40 h 206"/>
                <a:gd name="T38" fmla="*/ 644 w 1267"/>
                <a:gd name="T39" fmla="*/ 127 h 206"/>
                <a:gd name="T40" fmla="*/ 969 w 1267"/>
                <a:gd name="T41" fmla="*/ 6 h 206"/>
                <a:gd name="T42" fmla="*/ 1020 w 1267"/>
                <a:gd name="T43" fmla="*/ 83 h 206"/>
                <a:gd name="T44" fmla="*/ 1126 w 1267"/>
                <a:gd name="T45" fmla="*/ 6 h 206"/>
                <a:gd name="T46" fmla="*/ 1176 w 1267"/>
                <a:gd name="T47" fmla="*/ 201 h 206"/>
                <a:gd name="T48" fmla="*/ 1126 w 1267"/>
                <a:gd name="T49" fmla="*/ 115 h 206"/>
                <a:gd name="T50" fmla="*/ 1020 w 1267"/>
                <a:gd name="T51" fmla="*/ 201 h 206"/>
                <a:gd name="T52" fmla="*/ 1267 w 1267"/>
                <a:gd name="T53" fmla="*/ 201 h 206"/>
                <a:gd name="T54" fmla="*/ 1218 w 1267"/>
                <a:gd name="T55" fmla="*/ 6 h 206"/>
                <a:gd name="T56" fmla="*/ 1267 w 1267"/>
                <a:gd name="T57" fmla="*/ 201 h 206"/>
                <a:gd name="T58" fmla="*/ 835 w 1267"/>
                <a:gd name="T59" fmla="*/ 32 h 206"/>
                <a:gd name="T60" fmla="*/ 838 w 1267"/>
                <a:gd name="T61" fmla="*/ 175 h 206"/>
                <a:gd name="T62" fmla="*/ 942 w 1267"/>
                <a:gd name="T63" fmla="*/ 131 h 206"/>
                <a:gd name="T64" fmla="*/ 720 w 1267"/>
                <a:gd name="T65" fmla="*/ 104 h 206"/>
                <a:gd name="T66" fmla="*/ 940 w 1267"/>
                <a:gd name="T67" fmla="*/ 71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67" h="206">
                  <a:moveTo>
                    <a:pt x="0" y="201"/>
                  </a:moveTo>
                  <a:cubicBezTo>
                    <a:pt x="0" y="6"/>
                    <a:pt x="0" y="6"/>
                    <a:pt x="0" y="6"/>
                  </a:cubicBezTo>
                  <a:cubicBezTo>
                    <a:pt x="49" y="6"/>
                    <a:pt x="49" y="6"/>
                    <a:pt x="49" y="6"/>
                  </a:cubicBezTo>
                  <a:cubicBezTo>
                    <a:pt x="49" y="83"/>
                    <a:pt x="49" y="83"/>
                    <a:pt x="49" y="83"/>
                  </a:cubicBezTo>
                  <a:cubicBezTo>
                    <a:pt x="154" y="83"/>
                    <a:pt x="154" y="83"/>
                    <a:pt x="154" y="83"/>
                  </a:cubicBezTo>
                  <a:cubicBezTo>
                    <a:pt x="154" y="6"/>
                    <a:pt x="154" y="6"/>
                    <a:pt x="154" y="6"/>
                  </a:cubicBezTo>
                  <a:cubicBezTo>
                    <a:pt x="207" y="6"/>
                    <a:pt x="207" y="6"/>
                    <a:pt x="207" y="6"/>
                  </a:cubicBezTo>
                  <a:cubicBezTo>
                    <a:pt x="207" y="201"/>
                    <a:pt x="207" y="201"/>
                    <a:pt x="207" y="201"/>
                  </a:cubicBezTo>
                  <a:cubicBezTo>
                    <a:pt x="155" y="201"/>
                    <a:pt x="155" y="201"/>
                    <a:pt x="155" y="201"/>
                  </a:cubicBezTo>
                  <a:cubicBezTo>
                    <a:pt x="155" y="115"/>
                    <a:pt x="155" y="115"/>
                    <a:pt x="155" y="115"/>
                  </a:cubicBezTo>
                  <a:cubicBezTo>
                    <a:pt x="49" y="115"/>
                    <a:pt x="49" y="115"/>
                    <a:pt x="49" y="115"/>
                  </a:cubicBezTo>
                  <a:cubicBezTo>
                    <a:pt x="49" y="201"/>
                    <a:pt x="49" y="201"/>
                    <a:pt x="49" y="201"/>
                  </a:cubicBezTo>
                  <a:lnTo>
                    <a:pt x="0" y="201"/>
                  </a:lnTo>
                  <a:close/>
                  <a:moveTo>
                    <a:pt x="298" y="201"/>
                  </a:moveTo>
                  <a:cubicBezTo>
                    <a:pt x="249" y="201"/>
                    <a:pt x="249" y="201"/>
                    <a:pt x="249" y="201"/>
                  </a:cubicBezTo>
                  <a:cubicBezTo>
                    <a:pt x="249" y="6"/>
                    <a:pt x="249" y="6"/>
                    <a:pt x="249" y="6"/>
                  </a:cubicBezTo>
                  <a:cubicBezTo>
                    <a:pt x="298" y="6"/>
                    <a:pt x="298" y="6"/>
                    <a:pt x="298" y="6"/>
                  </a:cubicBezTo>
                  <a:lnTo>
                    <a:pt x="298" y="201"/>
                  </a:lnTo>
                  <a:close/>
                  <a:moveTo>
                    <a:pt x="317" y="6"/>
                  </a:moveTo>
                  <a:cubicBezTo>
                    <a:pt x="528" y="6"/>
                    <a:pt x="528" y="6"/>
                    <a:pt x="528" y="6"/>
                  </a:cubicBezTo>
                  <a:cubicBezTo>
                    <a:pt x="528" y="38"/>
                    <a:pt x="528" y="38"/>
                    <a:pt x="528" y="38"/>
                  </a:cubicBezTo>
                  <a:cubicBezTo>
                    <a:pt x="450" y="38"/>
                    <a:pt x="450" y="38"/>
                    <a:pt x="450" y="38"/>
                  </a:cubicBezTo>
                  <a:cubicBezTo>
                    <a:pt x="450" y="201"/>
                    <a:pt x="450" y="201"/>
                    <a:pt x="450" y="201"/>
                  </a:cubicBezTo>
                  <a:cubicBezTo>
                    <a:pt x="398" y="201"/>
                    <a:pt x="398" y="201"/>
                    <a:pt x="398" y="201"/>
                  </a:cubicBezTo>
                  <a:cubicBezTo>
                    <a:pt x="398" y="38"/>
                    <a:pt x="398" y="38"/>
                    <a:pt x="398" y="38"/>
                  </a:cubicBezTo>
                  <a:cubicBezTo>
                    <a:pt x="317" y="38"/>
                    <a:pt x="317" y="38"/>
                    <a:pt x="317" y="38"/>
                  </a:cubicBezTo>
                  <a:lnTo>
                    <a:pt x="317" y="6"/>
                  </a:lnTo>
                  <a:close/>
                  <a:moveTo>
                    <a:pt x="485" y="201"/>
                  </a:moveTo>
                  <a:cubicBezTo>
                    <a:pt x="575" y="6"/>
                    <a:pt x="575" y="6"/>
                    <a:pt x="575" y="6"/>
                  </a:cubicBezTo>
                  <a:cubicBezTo>
                    <a:pt x="639" y="6"/>
                    <a:pt x="639" y="6"/>
                    <a:pt x="639" y="6"/>
                  </a:cubicBezTo>
                  <a:cubicBezTo>
                    <a:pt x="730" y="201"/>
                    <a:pt x="730" y="201"/>
                    <a:pt x="730" y="201"/>
                  </a:cubicBezTo>
                  <a:cubicBezTo>
                    <a:pt x="674" y="201"/>
                    <a:pt x="674" y="201"/>
                    <a:pt x="674" y="201"/>
                  </a:cubicBezTo>
                  <a:cubicBezTo>
                    <a:pt x="656" y="160"/>
                    <a:pt x="656" y="160"/>
                    <a:pt x="656" y="160"/>
                  </a:cubicBezTo>
                  <a:cubicBezTo>
                    <a:pt x="559" y="160"/>
                    <a:pt x="559" y="160"/>
                    <a:pt x="559" y="160"/>
                  </a:cubicBezTo>
                  <a:cubicBezTo>
                    <a:pt x="542" y="201"/>
                    <a:pt x="542" y="201"/>
                    <a:pt x="542" y="201"/>
                  </a:cubicBezTo>
                  <a:lnTo>
                    <a:pt x="485" y="201"/>
                  </a:lnTo>
                  <a:close/>
                  <a:moveTo>
                    <a:pt x="644" y="127"/>
                  </a:moveTo>
                  <a:cubicBezTo>
                    <a:pt x="608" y="40"/>
                    <a:pt x="608" y="40"/>
                    <a:pt x="608" y="40"/>
                  </a:cubicBezTo>
                  <a:cubicBezTo>
                    <a:pt x="571" y="127"/>
                    <a:pt x="571" y="127"/>
                    <a:pt x="571" y="127"/>
                  </a:cubicBezTo>
                  <a:lnTo>
                    <a:pt x="644" y="127"/>
                  </a:lnTo>
                  <a:close/>
                  <a:moveTo>
                    <a:pt x="969" y="201"/>
                  </a:moveTo>
                  <a:cubicBezTo>
                    <a:pt x="969" y="6"/>
                    <a:pt x="969" y="6"/>
                    <a:pt x="969" y="6"/>
                  </a:cubicBezTo>
                  <a:cubicBezTo>
                    <a:pt x="1020" y="6"/>
                    <a:pt x="1020" y="6"/>
                    <a:pt x="1020" y="6"/>
                  </a:cubicBezTo>
                  <a:cubicBezTo>
                    <a:pt x="1020" y="83"/>
                    <a:pt x="1020" y="83"/>
                    <a:pt x="1020" y="83"/>
                  </a:cubicBezTo>
                  <a:cubicBezTo>
                    <a:pt x="1126" y="83"/>
                    <a:pt x="1126" y="83"/>
                    <a:pt x="1126" y="83"/>
                  </a:cubicBezTo>
                  <a:cubicBezTo>
                    <a:pt x="1126" y="6"/>
                    <a:pt x="1126" y="6"/>
                    <a:pt x="1126" y="6"/>
                  </a:cubicBezTo>
                  <a:cubicBezTo>
                    <a:pt x="1176" y="6"/>
                    <a:pt x="1176" y="6"/>
                    <a:pt x="1176" y="6"/>
                  </a:cubicBezTo>
                  <a:cubicBezTo>
                    <a:pt x="1176" y="201"/>
                    <a:pt x="1176" y="201"/>
                    <a:pt x="1176" y="201"/>
                  </a:cubicBezTo>
                  <a:cubicBezTo>
                    <a:pt x="1126" y="201"/>
                    <a:pt x="1126" y="201"/>
                    <a:pt x="1126" y="201"/>
                  </a:cubicBezTo>
                  <a:cubicBezTo>
                    <a:pt x="1126" y="115"/>
                    <a:pt x="1126" y="115"/>
                    <a:pt x="1126" y="115"/>
                  </a:cubicBezTo>
                  <a:cubicBezTo>
                    <a:pt x="1020" y="115"/>
                    <a:pt x="1020" y="115"/>
                    <a:pt x="1020" y="115"/>
                  </a:cubicBezTo>
                  <a:cubicBezTo>
                    <a:pt x="1020" y="201"/>
                    <a:pt x="1020" y="201"/>
                    <a:pt x="1020" y="201"/>
                  </a:cubicBezTo>
                  <a:lnTo>
                    <a:pt x="969" y="201"/>
                  </a:lnTo>
                  <a:close/>
                  <a:moveTo>
                    <a:pt x="1267" y="201"/>
                  </a:moveTo>
                  <a:cubicBezTo>
                    <a:pt x="1218" y="201"/>
                    <a:pt x="1218" y="201"/>
                    <a:pt x="1218" y="201"/>
                  </a:cubicBezTo>
                  <a:cubicBezTo>
                    <a:pt x="1218" y="6"/>
                    <a:pt x="1218" y="6"/>
                    <a:pt x="1218" y="6"/>
                  </a:cubicBezTo>
                  <a:cubicBezTo>
                    <a:pt x="1267" y="6"/>
                    <a:pt x="1267" y="6"/>
                    <a:pt x="1267" y="6"/>
                  </a:cubicBezTo>
                  <a:lnTo>
                    <a:pt x="1267" y="201"/>
                  </a:lnTo>
                  <a:close/>
                  <a:moveTo>
                    <a:pt x="887" y="71"/>
                  </a:moveTo>
                  <a:cubicBezTo>
                    <a:pt x="888" y="51"/>
                    <a:pt x="876" y="32"/>
                    <a:pt x="835" y="32"/>
                  </a:cubicBezTo>
                  <a:cubicBezTo>
                    <a:pt x="782" y="31"/>
                    <a:pt x="777" y="78"/>
                    <a:pt x="777" y="104"/>
                  </a:cubicBezTo>
                  <a:cubicBezTo>
                    <a:pt x="776" y="158"/>
                    <a:pt x="799" y="174"/>
                    <a:pt x="838" y="175"/>
                  </a:cubicBezTo>
                  <a:cubicBezTo>
                    <a:pt x="875" y="176"/>
                    <a:pt x="888" y="152"/>
                    <a:pt x="887" y="131"/>
                  </a:cubicBezTo>
                  <a:cubicBezTo>
                    <a:pt x="942" y="131"/>
                    <a:pt x="942" y="131"/>
                    <a:pt x="942" y="131"/>
                  </a:cubicBezTo>
                  <a:cubicBezTo>
                    <a:pt x="940" y="180"/>
                    <a:pt x="907" y="204"/>
                    <a:pt x="838" y="205"/>
                  </a:cubicBezTo>
                  <a:cubicBezTo>
                    <a:pt x="755" y="206"/>
                    <a:pt x="720" y="160"/>
                    <a:pt x="720" y="104"/>
                  </a:cubicBezTo>
                  <a:cubicBezTo>
                    <a:pt x="720" y="47"/>
                    <a:pt x="754" y="0"/>
                    <a:pt x="835" y="0"/>
                  </a:cubicBezTo>
                  <a:cubicBezTo>
                    <a:pt x="893" y="0"/>
                    <a:pt x="938" y="23"/>
                    <a:pt x="940" y="71"/>
                  </a:cubicBezTo>
                  <a:lnTo>
                    <a:pt x="887" y="7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49" name="Group 48"/>
          <p:cNvGrpSpPr/>
          <p:nvPr/>
        </p:nvGrpSpPr>
        <p:grpSpPr>
          <a:xfrm>
            <a:off x="6341604" y="658701"/>
            <a:ext cx="1635371" cy="1634947"/>
            <a:chOff x="8453268" y="878266"/>
            <a:chExt cx="2179927" cy="2179929"/>
          </a:xfrm>
        </p:grpSpPr>
        <p:sp>
          <p:nvSpPr>
            <p:cNvPr id="21" name="Rectangle 20"/>
            <p:cNvSpPr/>
            <p:nvPr/>
          </p:nvSpPr>
          <p:spPr bwMode="auto">
            <a:xfrm>
              <a:off x="8453268" y="878266"/>
              <a:ext cx="2179927" cy="2179929"/>
            </a:xfrm>
            <a:prstGeom prst="rect">
              <a:avLst/>
            </a:prstGeom>
            <a:solidFill>
              <a:schemeClr val="accent1">
                <a:alpha val="73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ea typeface="Segoe UI" pitchFamily="34" charset="0"/>
                <a:cs typeface="Segoe UI" pitchFamily="34" charset="0"/>
              </a:endParaRPr>
            </a:p>
          </p:txBody>
        </p:sp>
        <p:sp>
          <p:nvSpPr>
            <p:cNvPr id="41" name="Freeform 7"/>
            <p:cNvSpPr>
              <a:spLocks noEditPoints="1"/>
            </p:cNvSpPr>
            <p:nvPr/>
          </p:nvSpPr>
          <p:spPr bwMode="auto">
            <a:xfrm>
              <a:off x="8660993" y="1543125"/>
              <a:ext cx="1764476" cy="850210"/>
            </a:xfrm>
            <a:custGeom>
              <a:avLst/>
              <a:gdLst>
                <a:gd name="T0" fmla="*/ 8 w 641"/>
                <a:gd name="T1" fmla="*/ 123 h 309"/>
                <a:gd name="T2" fmla="*/ 87 w 641"/>
                <a:gd name="T3" fmla="*/ 110 h 309"/>
                <a:gd name="T4" fmla="*/ 76 w 641"/>
                <a:gd name="T5" fmla="*/ 125 h 309"/>
                <a:gd name="T6" fmla="*/ 33 w 641"/>
                <a:gd name="T7" fmla="*/ 166 h 309"/>
                <a:gd name="T8" fmla="*/ 77 w 641"/>
                <a:gd name="T9" fmla="*/ 187 h 309"/>
                <a:gd name="T10" fmla="*/ 33 w 641"/>
                <a:gd name="T11" fmla="*/ 181 h 309"/>
                <a:gd name="T12" fmla="*/ 42 w 641"/>
                <a:gd name="T13" fmla="*/ 252 h 309"/>
                <a:gd name="T14" fmla="*/ 8 w 641"/>
                <a:gd name="T15" fmla="*/ 239 h 309"/>
                <a:gd name="T16" fmla="*/ 235 w 641"/>
                <a:gd name="T17" fmla="*/ 123 h 309"/>
                <a:gd name="T18" fmla="*/ 212 w 641"/>
                <a:gd name="T19" fmla="*/ 308 h 309"/>
                <a:gd name="T20" fmla="*/ 259 w 641"/>
                <a:gd name="T21" fmla="*/ 252 h 309"/>
                <a:gd name="T22" fmla="*/ 268 w 641"/>
                <a:gd name="T23" fmla="*/ 110 h 309"/>
                <a:gd name="T24" fmla="*/ 104 w 641"/>
                <a:gd name="T25" fmla="*/ 123 h 309"/>
                <a:gd name="T26" fmla="*/ 114 w 641"/>
                <a:gd name="T27" fmla="*/ 237 h 309"/>
                <a:gd name="T28" fmla="*/ 197 w 641"/>
                <a:gd name="T29" fmla="*/ 237 h 309"/>
                <a:gd name="T30" fmla="*/ 206 w 641"/>
                <a:gd name="T31" fmla="*/ 122 h 309"/>
                <a:gd name="T32" fmla="*/ 172 w 641"/>
                <a:gd name="T33" fmla="*/ 110 h 309"/>
                <a:gd name="T34" fmla="*/ 181 w 641"/>
                <a:gd name="T35" fmla="*/ 210 h 309"/>
                <a:gd name="T36" fmla="*/ 129 w 641"/>
                <a:gd name="T37" fmla="*/ 210 h 309"/>
                <a:gd name="T38" fmla="*/ 138 w 641"/>
                <a:gd name="T39" fmla="*/ 110 h 309"/>
                <a:gd name="T40" fmla="*/ 104 w 641"/>
                <a:gd name="T41" fmla="*/ 123 h 309"/>
                <a:gd name="T42" fmla="*/ 530 w 641"/>
                <a:gd name="T43" fmla="*/ 209 h 309"/>
                <a:gd name="T44" fmla="*/ 584 w 641"/>
                <a:gd name="T45" fmla="*/ 254 h 309"/>
                <a:gd name="T46" fmla="*/ 632 w 641"/>
                <a:gd name="T47" fmla="*/ 211 h 309"/>
                <a:gd name="T48" fmla="*/ 641 w 641"/>
                <a:gd name="T49" fmla="*/ 110 h 309"/>
                <a:gd name="T50" fmla="*/ 607 w 641"/>
                <a:gd name="T51" fmla="*/ 123 h 309"/>
                <a:gd name="T52" fmla="*/ 583 w 641"/>
                <a:gd name="T53" fmla="*/ 239 h 309"/>
                <a:gd name="T54" fmla="*/ 555 w 641"/>
                <a:gd name="T55" fmla="*/ 123 h 309"/>
                <a:gd name="T56" fmla="*/ 522 w 641"/>
                <a:gd name="T57" fmla="*/ 110 h 309"/>
                <a:gd name="T58" fmla="*/ 311 w 641"/>
                <a:gd name="T59" fmla="*/ 239 h 309"/>
                <a:gd name="T60" fmla="*/ 320 w 641"/>
                <a:gd name="T61" fmla="*/ 110 h 309"/>
                <a:gd name="T62" fmla="*/ 287 w 641"/>
                <a:gd name="T63" fmla="*/ 123 h 309"/>
                <a:gd name="T64" fmla="*/ 278 w 641"/>
                <a:gd name="T65" fmla="*/ 252 h 309"/>
                <a:gd name="T66" fmla="*/ 311 w 641"/>
                <a:gd name="T67" fmla="*/ 239 h 309"/>
                <a:gd name="T68" fmla="*/ 363 w 641"/>
                <a:gd name="T69" fmla="*/ 240 h 309"/>
                <a:gd name="T70" fmla="*/ 396 w 641"/>
                <a:gd name="T71" fmla="*/ 252 h 309"/>
                <a:gd name="T72" fmla="*/ 388 w 641"/>
                <a:gd name="T73" fmla="*/ 126 h 309"/>
                <a:gd name="T74" fmla="*/ 420 w 641"/>
                <a:gd name="T75" fmla="*/ 135 h 309"/>
                <a:gd name="T76" fmla="*/ 329 w 641"/>
                <a:gd name="T77" fmla="*/ 110 h 309"/>
                <a:gd name="T78" fmla="*/ 336 w 641"/>
                <a:gd name="T79" fmla="*/ 125 h 309"/>
                <a:gd name="T80" fmla="*/ 434 w 641"/>
                <a:gd name="T81" fmla="*/ 252 h 309"/>
                <a:gd name="T82" fmla="*/ 509 w 641"/>
                <a:gd name="T83" fmla="*/ 239 h 309"/>
                <a:gd name="T84" fmla="*/ 464 w 641"/>
                <a:gd name="T85" fmla="*/ 163 h 309"/>
                <a:gd name="T86" fmla="*/ 479 w 641"/>
                <a:gd name="T87" fmla="*/ 122 h 309"/>
                <a:gd name="T88" fmla="*/ 505 w 641"/>
                <a:gd name="T89" fmla="*/ 111 h 309"/>
                <a:gd name="T90" fmla="*/ 429 w 641"/>
                <a:gd name="T91" fmla="*/ 138 h 309"/>
                <a:gd name="T92" fmla="*/ 485 w 641"/>
                <a:gd name="T93" fmla="*/ 202 h 309"/>
                <a:gd name="T94" fmla="*/ 459 w 641"/>
                <a:gd name="T95" fmla="*/ 240 h 309"/>
                <a:gd name="T96" fmla="*/ 434 w 641"/>
                <a:gd name="T97" fmla="*/ 252 h 309"/>
                <a:gd name="T98" fmla="*/ 297 w 641"/>
                <a:gd name="T99" fmla="*/ 1 h 309"/>
                <a:gd name="T100" fmla="*/ 267 w 641"/>
                <a:gd name="T101" fmla="*/ 40 h 309"/>
                <a:gd name="T102" fmla="*/ 298 w 641"/>
                <a:gd name="T103" fmla="*/ 13 h 309"/>
                <a:gd name="T104" fmla="*/ 304 w 641"/>
                <a:gd name="T105" fmla="*/ 68 h 309"/>
                <a:gd name="T106" fmla="*/ 244 w 641"/>
                <a:gd name="T107" fmla="*/ 36 h 309"/>
                <a:gd name="T108" fmla="*/ 243 w 641"/>
                <a:gd name="T109" fmla="*/ 100 h 309"/>
                <a:gd name="T110" fmla="*/ 267 w 641"/>
                <a:gd name="T111" fmla="*/ 71 h 309"/>
                <a:gd name="T112" fmla="*/ 223 w 641"/>
                <a:gd name="T113" fmla="*/ 66 h 309"/>
                <a:gd name="T114" fmla="*/ 264 w 641"/>
                <a:gd name="T115" fmla="*/ 61 h 309"/>
                <a:gd name="T116" fmla="*/ 338 w 641"/>
                <a:gd name="T117" fmla="*/ 4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1" h="309">
                  <a:moveTo>
                    <a:pt x="8" y="239"/>
                  </a:moveTo>
                  <a:cubicBezTo>
                    <a:pt x="8" y="231"/>
                    <a:pt x="9" y="131"/>
                    <a:pt x="8" y="123"/>
                  </a:cubicBezTo>
                  <a:cubicBezTo>
                    <a:pt x="8" y="115"/>
                    <a:pt x="0" y="110"/>
                    <a:pt x="0" y="110"/>
                  </a:cubicBezTo>
                  <a:cubicBezTo>
                    <a:pt x="87" y="110"/>
                    <a:pt x="87" y="110"/>
                    <a:pt x="87" y="110"/>
                  </a:cubicBezTo>
                  <a:cubicBezTo>
                    <a:pt x="87" y="110"/>
                    <a:pt x="88" y="139"/>
                    <a:pt x="87" y="134"/>
                  </a:cubicBezTo>
                  <a:cubicBezTo>
                    <a:pt x="87" y="129"/>
                    <a:pt x="78" y="125"/>
                    <a:pt x="76" y="125"/>
                  </a:cubicBezTo>
                  <a:cubicBezTo>
                    <a:pt x="73" y="125"/>
                    <a:pt x="33" y="125"/>
                    <a:pt x="33" y="125"/>
                  </a:cubicBezTo>
                  <a:cubicBezTo>
                    <a:pt x="33" y="166"/>
                    <a:pt x="33" y="166"/>
                    <a:pt x="33" y="166"/>
                  </a:cubicBezTo>
                  <a:cubicBezTo>
                    <a:pt x="77" y="166"/>
                    <a:pt x="77" y="166"/>
                    <a:pt x="77" y="166"/>
                  </a:cubicBezTo>
                  <a:cubicBezTo>
                    <a:pt x="77" y="166"/>
                    <a:pt x="77" y="192"/>
                    <a:pt x="77" y="187"/>
                  </a:cubicBezTo>
                  <a:cubicBezTo>
                    <a:pt x="77" y="183"/>
                    <a:pt x="66" y="181"/>
                    <a:pt x="66" y="181"/>
                  </a:cubicBezTo>
                  <a:cubicBezTo>
                    <a:pt x="33" y="181"/>
                    <a:pt x="33" y="181"/>
                    <a:pt x="33" y="181"/>
                  </a:cubicBezTo>
                  <a:cubicBezTo>
                    <a:pt x="33" y="181"/>
                    <a:pt x="33" y="235"/>
                    <a:pt x="33" y="239"/>
                  </a:cubicBezTo>
                  <a:cubicBezTo>
                    <a:pt x="33" y="245"/>
                    <a:pt x="40" y="252"/>
                    <a:pt x="42" y="252"/>
                  </a:cubicBezTo>
                  <a:cubicBezTo>
                    <a:pt x="1" y="252"/>
                    <a:pt x="1" y="252"/>
                    <a:pt x="1" y="252"/>
                  </a:cubicBezTo>
                  <a:cubicBezTo>
                    <a:pt x="1" y="252"/>
                    <a:pt x="8" y="248"/>
                    <a:pt x="8" y="239"/>
                  </a:cubicBezTo>
                  <a:close/>
                  <a:moveTo>
                    <a:pt x="226" y="110"/>
                  </a:moveTo>
                  <a:cubicBezTo>
                    <a:pt x="227" y="110"/>
                    <a:pt x="235" y="115"/>
                    <a:pt x="235" y="123"/>
                  </a:cubicBezTo>
                  <a:cubicBezTo>
                    <a:pt x="235" y="128"/>
                    <a:pt x="235" y="258"/>
                    <a:pt x="235" y="261"/>
                  </a:cubicBezTo>
                  <a:cubicBezTo>
                    <a:pt x="235" y="265"/>
                    <a:pt x="230" y="296"/>
                    <a:pt x="212" y="308"/>
                  </a:cubicBezTo>
                  <a:cubicBezTo>
                    <a:pt x="212" y="309"/>
                    <a:pt x="231" y="305"/>
                    <a:pt x="245" y="292"/>
                  </a:cubicBezTo>
                  <a:cubicBezTo>
                    <a:pt x="247" y="290"/>
                    <a:pt x="259" y="281"/>
                    <a:pt x="259" y="252"/>
                  </a:cubicBezTo>
                  <a:cubicBezTo>
                    <a:pt x="259" y="220"/>
                    <a:pt x="259" y="131"/>
                    <a:pt x="259" y="123"/>
                  </a:cubicBezTo>
                  <a:cubicBezTo>
                    <a:pt x="259" y="113"/>
                    <a:pt x="268" y="110"/>
                    <a:pt x="268" y="110"/>
                  </a:cubicBezTo>
                  <a:cubicBezTo>
                    <a:pt x="226" y="110"/>
                    <a:pt x="226" y="110"/>
                    <a:pt x="226" y="110"/>
                  </a:cubicBezTo>
                  <a:close/>
                  <a:moveTo>
                    <a:pt x="104" y="123"/>
                  </a:moveTo>
                  <a:cubicBezTo>
                    <a:pt x="104" y="127"/>
                    <a:pt x="104" y="198"/>
                    <a:pt x="104" y="209"/>
                  </a:cubicBezTo>
                  <a:cubicBezTo>
                    <a:pt x="104" y="215"/>
                    <a:pt x="106" y="230"/>
                    <a:pt x="114" y="237"/>
                  </a:cubicBezTo>
                  <a:cubicBezTo>
                    <a:pt x="124" y="247"/>
                    <a:pt x="134" y="255"/>
                    <a:pt x="158" y="254"/>
                  </a:cubicBezTo>
                  <a:cubicBezTo>
                    <a:pt x="178" y="254"/>
                    <a:pt x="189" y="245"/>
                    <a:pt x="197" y="237"/>
                  </a:cubicBezTo>
                  <a:cubicBezTo>
                    <a:pt x="206" y="227"/>
                    <a:pt x="206" y="211"/>
                    <a:pt x="206" y="211"/>
                  </a:cubicBezTo>
                  <a:cubicBezTo>
                    <a:pt x="206" y="211"/>
                    <a:pt x="206" y="127"/>
                    <a:pt x="206" y="122"/>
                  </a:cubicBezTo>
                  <a:cubicBezTo>
                    <a:pt x="206" y="115"/>
                    <a:pt x="215" y="110"/>
                    <a:pt x="215" y="110"/>
                  </a:cubicBezTo>
                  <a:cubicBezTo>
                    <a:pt x="215" y="110"/>
                    <a:pt x="165" y="110"/>
                    <a:pt x="172" y="110"/>
                  </a:cubicBezTo>
                  <a:cubicBezTo>
                    <a:pt x="174" y="110"/>
                    <a:pt x="181" y="116"/>
                    <a:pt x="180" y="123"/>
                  </a:cubicBezTo>
                  <a:cubicBezTo>
                    <a:pt x="180" y="131"/>
                    <a:pt x="181" y="199"/>
                    <a:pt x="181" y="210"/>
                  </a:cubicBezTo>
                  <a:cubicBezTo>
                    <a:pt x="181" y="222"/>
                    <a:pt x="173" y="239"/>
                    <a:pt x="157" y="239"/>
                  </a:cubicBezTo>
                  <a:cubicBezTo>
                    <a:pt x="136" y="239"/>
                    <a:pt x="129" y="222"/>
                    <a:pt x="129" y="210"/>
                  </a:cubicBezTo>
                  <a:cubicBezTo>
                    <a:pt x="129" y="197"/>
                    <a:pt x="129" y="127"/>
                    <a:pt x="129" y="123"/>
                  </a:cubicBezTo>
                  <a:cubicBezTo>
                    <a:pt x="129" y="115"/>
                    <a:pt x="138" y="110"/>
                    <a:pt x="138" y="110"/>
                  </a:cubicBezTo>
                  <a:cubicBezTo>
                    <a:pt x="138" y="110"/>
                    <a:pt x="88" y="110"/>
                    <a:pt x="96" y="110"/>
                  </a:cubicBezTo>
                  <a:cubicBezTo>
                    <a:pt x="97" y="110"/>
                    <a:pt x="104" y="115"/>
                    <a:pt x="104" y="123"/>
                  </a:cubicBezTo>
                  <a:close/>
                  <a:moveTo>
                    <a:pt x="530" y="123"/>
                  </a:moveTo>
                  <a:cubicBezTo>
                    <a:pt x="530" y="127"/>
                    <a:pt x="530" y="198"/>
                    <a:pt x="530" y="209"/>
                  </a:cubicBezTo>
                  <a:cubicBezTo>
                    <a:pt x="530" y="215"/>
                    <a:pt x="532" y="230"/>
                    <a:pt x="540" y="237"/>
                  </a:cubicBezTo>
                  <a:cubicBezTo>
                    <a:pt x="550" y="247"/>
                    <a:pt x="561" y="255"/>
                    <a:pt x="584" y="254"/>
                  </a:cubicBezTo>
                  <a:cubicBezTo>
                    <a:pt x="604" y="254"/>
                    <a:pt x="616" y="245"/>
                    <a:pt x="623" y="237"/>
                  </a:cubicBezTo>
                  <a:cubicBezTo>
                    <a:pt x="632" y="227"/>
                    <a:pt x="632" y="211"/>
                    <a:pt x="632" y="211"/>
                  </a:cubicBezTo>
                  <a:cubicBezTo>
                    <a:pt x="632" y="211"/>
                    <a:pt x="632" y="127"/>
                    <a:pt x="632" y="122"/>
                  </a:cubicBezTo>
                  <a:cubicBezTo>
                    <a:pt x="632" y="115"/>
                    <a:pt x="641" y="110"/>
                    <a:pt x="641" y="110"/>
                  </a:cubicBezTo>
                  <a:cubicBezTo>
                    <a:pt x="641" y="110"/>
                    <a:pt x="591" y="110"/>
                    <a:pt x="598" y="110"/>
                  </a:cubicBezTo>
                  <a:cubicBezTo>
                    <a:pt x="600" y="110"/>
                    <a:pt x="607" y="116"/>
                    <a:pt x="607" y="123"/>
                  </a:cubicBezTo>
                  <a:cubicBezTo>
                    <a:pt x="607" y="131"/>
                    <a:pt x="607" y="199"/>
                    <a:pt x="607" y="210"/>
                  </a:cubicBezTo>
                  <a:cubicBezTo>
                    <a:pt x="607" y="222"/>
                    <a:pt x="600" y="239"/>
                    <a:pt x="583" y="239"/>
                  </a:cubicBezTo>
                  <a:cubicBezTo>
                    <a:pt x="563" y="239"/>
                    <a:pt x="556" y="222"/>
                    <a:pt x="556" y="210"/>
                  </a:cubicBezTo>
                  <a:cubicBezTo>
                    <a:pt x="556" y="197"/>
                    <a:pt x="555" y="127"/>
                    <a:pt x="555" y="123"/>
                  </a:cubicBezTo>
                  <a:cubicBezTo>
                    <a:pt x="555" y="115"/>
                    <a:pt x="564" y="110"/>
                    <a:pt x="564" y="110"/>
                  </a:cubicBezTo>
                  <a:cubicBezTo>
                    <a:pt x="564" y="110"/>
                    <a:pt x="514" y="110"/>
                    <a:pt x="522" y="110"/>
                  </a:cubicBezTo>
                  <a:cubicBezTo>
                    <a:pt x="523" y="110"/>
                    <a:pt x="530" y="115"/>
                    <a:pt x="530" y="123"/>
                  </a:cubicBezTo>
                  <a:close/>
                  <a:moveTo>
                    <a:pt x="311" y="239"/>
                  </a:moveTo>
                  <a:cubicBezTo>
                    <a:pt x="311" y="235"/>
                    <a:pt x="311" y="127"/>
                    <a:pt x="311" y="123"/>
                  </a:cubicBezTo>
                  <a:cubicBezTo>
                    <a:pt x="311" y="115"/>
                    <a:pt x="320" y="110"/>
                    <a:pt x="320" y="110"/>
                  </a:cubicBezTo>
                  <a:cubicBezTo>
                    <a:pt x="320" y="110"/>
                    <a:pt x="270" y="110"/>
                    <a:pt x="278" y="110"/>
                  </a:cubicBezTo>
                  <a:cubicBezTo>
                    <a:pt x="279" y="110"/>
                    <a:pt x="287" y="115"/>
                    <a:pt x="287" y="123"/>
                  </a:cubicBezTo>
                  <a:cubicBezTo>
                    <a:pt x="287" y="127"/>
                    <a:pt x="286" y="235"/>
                    <a:pt x="286" y="239"/>
                  </a:cubicBezTo>
                  <a:cubicBezTo>
                    <a:pt x="286" y="247"/>
                    <a:pt x="278" y="252"/>
                    <a:pt x="278" y="252"/>
                  </a:cubicBezTo>
                  <a:cubicBezTo>
                    <a:pt x="278" y="252"/>
                    <a:pt x="328" y="252"/>
                    <a:pt x="320" y="252"/>
                  </a:cubicBezTo>
                  <a:cubicBezTo>
                    <a:pt x="320" y="252"/>
                    <a:pt x="311" y="247"/>
                    <a:pt x="311" y="239"/>
                  </a:cubicBezTo>
                  <a:close/>
                  <a:moveTo>
                    <a:pt x="362" y="125"/>
                  </a:moveTo>
                  <a:cubicBezTo>
                    <a:pt x="362" y="130"/>
                    <a:pt x="363" y="235"/>
                    <a:pt x="363" y="240"/>
                  </a:cubicBezTo>
                  <a:cubicBezTo>
                    <a:pt x="363" y="247"/>
                    <a:pt x="354" y="252"/>
                    <a:pt x="354" y="252"/>
                  </a:cubicBezTo>
                  <a:cubicBezTo>
                    <a:pt x="354" y="252"/>
                    <a:pt x="403" y="252"/>
                    <a:pt x="396" y="252"/>
                  </a:cubicBezTo>
                  <a:cubicBezTo>
                    <a:pt x="396" y="252"/>
                    <a:pt x="387" y="247"/>
                    <a:pt x="387" y="239"/>
                  </a:cubicBezTo>
                  <a:cubicBezTo>
                    <a:pt x="387" y="234"/>
                    <a:pt x="388" y="126"/>
                    <a:pt x="388" y="126"/>
                  </a:cubicBezTo>
                  <a:cubicBezTo>
                    <a:pt x="388" y="125"/>
                    <a:pt x="404" y="125"/>
                    <a:pt x="409" y="125"/>
                  </a:cubicBezTo>
                  <a:cubicBezTo>
                    <a:pt x="412" y="125"/>
                    <a:pt x="418" y="127"/>
                    <a:pt x="420" y="135"/>
                  </a:cubicBezTo>
                  <a:cubicBezTo>
                    <a:pt x="420" y="138"/>
                    <a:pt x="428" y="110"/>
                    <a:pt x="428" y="110"/>
                  </a:cubicBezTo>
                  <a:cubicBezTo>
                    <a:pt x="329" y="110"/>
                    <a:pt x="329" y="110"/>
                    <a:pt x="329" y="110"/>
                  </a:cubicBezTo>
                  <a:cubicBezTo>
                    <a:pt x="321" y="138"/>
                    <a:pt x="321" y="138"/>
                    <a:pt x="321" y="138"/>
                  </a:cubicBezTo>
                  <a:cubicBezTo>
                    <a:pt x="321" y="138"/>
                    <a:pt x="331" y="125"/>
                    <a:pt x="336" y="125"/>
                  </a:cubicBezTo>
                  <a:cubicBezTo>
                    <a:pt x="342" y="125"/>
                    <a:pt x="362" y="125"/>
                    <a:pt x="362" y="125"/>
                  </a:cubicBezTo>
                  <a:close/>
                  <a:moveTo>
                    <a:pt x="434" y="252"/>
                  </a:moveTo>
                  <a:cubicBezTo>
                    <a:pt x="434" y="252"/>
                    <a:pt x="442" y="256"/>
                    <a:pt x="467" y="256"/>
                  </a:cubicBezTo>
                  <a:cubicBezTo>
                    <a:pt x="486" y="256"/>
                    <a:pt x="503" y="245"/>
                    <a:pt x="509" y="239"/>
                  </a:cubicBezTo>
                  <a:cubicBezTo>
                    <a:pt x="513" y="234"/>
                    <a:pt x="526" y="211"/>
                    <a:pt x="511" y="193"/>
                  </a:cubicBezTo>
                  <a:cubicBezTo>
                    <a:pt x="499" y="177"/>
                    <a:pt x="482" y="172"/>
                    <a:pt x="464" y="163"/>
                  </a:cubicBezTo>
                  <a:cubicBezTo>
                    <a:pt x="447" y="154"/>
                    <a:pt x="453" y="139"/>
                    <a:pt x="454" y="138"/>
                  </a:cubicBezTo>
                  <a:cubicBezTo>
                    <a:pt x="454" y="137"/>
                    <a:pt x="457" y="122"/>
                    <a:pt x="479" y="122"/>
                  </a:cubicBezTo>
                  <a:cubicBezTo>
                    <a:pt x="501" y="123"/>
                    <a:pt x="504" y="134"/>
                    <a:pt x="505" y="133"/>
                  </a:cubicBezTo>
                  <a:cubicBezTo>
                    <a:pt x="505" y="133"/>
                    <a:pt x="505" y="112"/>
                    <a:pt x="505" y="111"/>
                  </a:cubicBezTo>
                  <a:cubicBezTo>
                    <a:pt x="496" y="108"/>
                    <a:pt x="472" y="107"/>
                    <a:pt x="463" y="109"/>
                  </a:cubicBezTo>
                  <a:cubicBezTo>
                    <a:pt x="454" y="110"/>
                    <a:pt x="433" y="119"/>
                    <a:pt x="429" y="138"/>
                  </a:cubicBezTo>
                  <a:cubicBezTo>
                    <a:pt x="424" y="158"/>
                    <a:pt x="435" y="172"/>
                    <a:pt x="442" y="178"/>
                  </a:cubicBezTo>
                  <a:cubicBezTo>
                    <a:pt x="450" y="184"/>
                    <a:pt x="466" y="191"/>
                    <a:pt x="485" y="202"/>
                  </a:cubicBezTo>
                  <a:cubicBezTo>
                    <a:pt x="502" y="212"/>
                    <a:pt x="491" y="227"/>
                    <a:pt x="488" y="229"/>
                  </a:cubicBezTo>
                  <a:cubicBezTo>
                    <a:pt x="486" y="231"/>
                    <a:pt x="480" y="241"/>
                    <a:pt x="459" y="240"/>
                  </a:cubicBezTo>
                  <a:cubicBezTo>
                    <a:pt x="438" y="239"/>
                    <a:pt x="426" y="225"/>
                    <a:pt x="426" y="225"/>
                  </a:cubicBezTo>
                  <a:cubicBezTo>
                    <a:pt x="434" y="252"/>
                    <a:pt x="434" y="252"/>
                    <a:pt x="434" y="252"/>
                  </a:cubicBezTo>
                  <a:close/>
                  <a:moveTo>
                    <a:pt x="338" y="40"/>
                  </a:moveTo>
                  <a:cubicBezTo>
                    <a:pt x="337" y="15"/>
                    <a:pt x="315" y="0"/>
                    <a:pt x="297" y="1"/>
                  </a:cubicBezTo>
                  <a:cubicBezTo>
                    <a:pt x="279" y="1"/>
                    <a:pt x="267" y="17"/>
                    <a:pt x="267" y="17"/>
                  </a:cubicBezTo>
                  <a:cubicBezTo>
                    <a:pt x="267" y="40"/>
                    <a:pt x="267" y="40"/>
                    <a:pt x="267" y="40"/>
                  </a:cubicBezTo>
                  <a:cubicBezTo>
                    <a:pt x="267" y="40"/>
                    <a:pt x="271" y="29"/>
                    <a:pt x="278" y="22"/>
                  </a:cubicBezTo>
                  <a:cubicBezTo>
                    <a:pt x="286" y="14"/>
                    <a:pt x="293" y="13"/>
                    <a:pt x="298" y="13"/>
                  </a:cubicBezTo>
                  <a:cubicBezTo>
                    <a:pt x="306" y="13"/>
                    <a:pt x="326" y="20"/>
                    <a:pt x="326" y="39"/>
                  </a:cubicBezTo>
                  <a:cubicBezTo>
                    <a:pt x="326" y="59"/>
                    <a:pt x="313" y="66"/>
                    <a:pt x="304" y="68"/>
                  </a:cubicBezTo>
                  <a:cubicBezTo>
                    <a:pt x="289" y="70"/>
                    <a:pt x="278" y="62"/>
                    <a:pt x="271" y="51"/>
                  </a:cubicBezTo>
                  <a:cubicBezTo>
                    <a:pt x="263" y="41"/>
                    <a:pt x="254" y="36"/>
                    <a:pt x="244" y="36"/>
                  </a:cubicBezTo>
                  <a:cubicBezTo>
                    <a:pt x="234" y="35"/>
                    <a:pt x="212" y="43"/>
                    <a:pt x="211" y="65"/>
                  </a:cubicBezTo>
                  <a:cubicBezTo>
                    <a:pt x="210" y="87"/>
                    <a:pt x="228" y="100"/>
                    <a:pt x="243" y="100"/>
                  </a:cubicBezTo>
                  <a:cubicBezTo>
                    <a:pt x="258" y="99"/>
                    <a:pt x="267" y="89"/>
                    <a:pt x="267" y="89"/>
                  </a:cubicBezTo>
                  <a:cubicBezTo>
                    <a:pt x="267" y="71"/>
                    <a:pt x="267" y="71"/>
                    <a:pt x="267" y="71"/>
                  </a:cubicBezTo>
                  <a:cubicBezTo>
                    <a:pt x="267" y="71"/>
                    <a:pt x="259" y="88"/>
                    <a:pt x="243" y="88"/>
                  </a:cubicBezTo>
                  <a:cubicBezTo>
                    <a:pt x="225" y="88"/>
                    <a:pt x="223" y="72"/>
                    <a:pt x="223" y="66"/>
                  </a:cubicBezTo>
                  <a:cubicBezTo>
                    <a:pt x="223" y="59"/>
                    <a:pt x="229" y="47"/>
                    <a:pt x="243" y="48"/>
                  </a:cubicBezTo>
                  <a:cubicBezTo>
                    <a:pt x="256" y="48"/>
                    <a:pt x="261" y="58"/>
                    <a:pt x="264" y="61"/>
                  </a:cubicBezTo>
                  <a:cubicBezTo>
                    <a:pt x="266" y="64"/>
                    <a:pt x="277" y="81"/>
                    <a:pt x="299" y="81"/>
                  </a:cubicBezTo>
                  <a:cubicBezTo>
                    <a:pt x="328" y="80"/>
                    <a:pt x="339" y="57"/>
                    <a:pt x="338" y="4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useBgFill="1">
        <p:nvSpPr>
          <p:cNvPr id="53" name="Rectangle 52"/>
          <p:cNvSpPr/>
          <p:nvPr/>
        </p:nvSpPr>
        <p:spPr bwMode="auto">
          <a:xfrm flipH="1">
            <a:off x="1" y="0"/>
            <a:ext cx="1170581" cy="5143500"/>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alpha val="98824"/>
                </a:srgbClr>
              </a:solidFill>
              <a:ea typeface="Segoe UI" pitchFamily="34" charset="0"/>
              <a:cs typeface="Segoe UI" pitchFamily="34" charset="0"/>
            </a:endParaRPr>
          </a:p>
        </p:txBody>
      </p:sp>
      <p:sp useBgFill="1">
        <p:nvSpPr>
          <p:cNvPr id="54" name="Rectangle 53"/>
          <p:cNvSpPr/>
          <p:nvPr/>
        </p:nvSpPr>
        <p:spPr bwMode="auto">
          <a:xfrm flipH="1">
            <a:off x="7973420" y="0"/>
            <a:ext cx="1170581" cy="5143500"/>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alpha val="98824"/>
                </a:srgbClr>
              </a:solidFill>
              <a:ea typeface="Segoe UI" pitchFamily="34" charset="0"/>
              <a:cs typeface="Segoe UI" pitchFamily="34" charset="0"/>
            </a:endParaRPr>
          </a:p>
        </p:txBody>
      </p:sp>
      <p:sp>
        <p:nvSpPr>
          <p:cNvPr id="55" name="Title 2"/>
          <p:cNvSpPr txBox="1">
            <a:spLocks/>
          </p:cNvSpPr>
          <p:nvPr/>
        </p:nvSpPr>
        <p:spPr>
          <a:xfrm>
            <a:off x="389436" y="4515002"/>
            <a:ext cx="8363938" cy="457049"/>
          </a:xfrm>
          <a:prstGeom prst="rect">
            <a:avLst/>
          </a:prstGeom>
        </p:spPr>
        <p:txBody>
          <a:bodyPr lIns="68586" tIns="34294" rIns="68586" bIns="34294"/>
          <a:lstStyle>
            <a:lvl1pPr algn="l" defTabSz="914325"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Segoe UI Light" pitchFamily="34" charset="0"/>
                <a:ea typeface="+mn-ea"/>
                <a:cs typeface="Arial" charset="0"/>
              </a:defRPr>
            </a:lvl1pPr>
          </a:lstStyle>
          <a:p>
            <a:r>
              <a:rPr dirty="0">
                <a:gradFill flip="none" rotWithShape="1">
                  <a:gsLst>
                    <a:gs pos="0">
                      <a:srgbClr val="FFFFFF"/>
                    </a:gs>
                    <a:gs pos="86000">
                      <a:srgbClr val="FFFFFF"/>
                    </a:gs>
                  </a:gsLst>
                  <a:lin ang="5400000" scaled="0"/>
                  <a:tileRect/>
                </a:gradFill>
              </a:rPr>
              <a:t>Microsoft Private Cloud Fast Track</a:t>
            </a:r>
          </a:p>
        </p:txBody>
      </p:sp>
      <p:grpSp>
        <p:nvGrpSpPr>
          <p:cNvPr id="7" name="Group 6"/>
          <p:cNvGrpSpPr/>
          <p:nvPr/>
        </p:nvGrpSpPr>
        <p:grpSpPr>
          <a:xfrm>
            <a:off x="4617930" y="2386066"/>
            <a:ext cx="1635371" cy="1634947"/>
            <a:chOff x="6093619" y="3181419"/>
            <a:chExt cx="2179927" cy="2179929"/>
          </a:xfrm>
        </p:grpSpPr>
        <p:sp>
          <p:nvSpPr>
            <p:cNvPr id="36" name="Rectangle 35"/>
            <p:cNvSpPr/>
            <p:nvPr/>
          </p:nvSpPr>
          <p:spPr bwMode="auto">
            <a:xfrm>
              <a:off x="6093619" y="3181419"/>
              <a:ext cx="2179927" cy="2179929"/>
            </a:xfrm>
            <a:prstGeom prst="rect">
              <a:avLst/>
            </a:prstGeom>
            <a:solidFill>
              <a:schemeClr val="accent1">
                <a:alpha val="73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ea typeface="Segoe UI" pitchFamily="34" charset="0"/>
                <a:cs typeface="Segoe UI" pitchFamily="34" charset="0"/>
              </a:endParaRPr>
            </a:p>
          </p:txBody>
        </p:sp>
        <p:sp>
          <p:nvSpPr>
            <p:cNvPr id="5" name="Freeform 6"/>
            <p:cNvSpPr>
              <a:spLocks noEditPoints="1"/>
            </p:cNvSpPr>
            <p:nvPr/>
          </p:nvSpPr>
          <p:spPr bwMode="auto">
            <a:xfrm>
              <a:off x="6324600" y="4035883"/>
              <a:ext cx="1717964" cy="471000"/>
            </a:xfrm>
            <a:custGeom>
              <a:avLst/>
              <a:gdLst>
                <a:gd name="T0" fmla="*/ 677 w 2094"/>
                <a:gd name="T1" fmla="*/ 21 h 574"/>
                <a:gd name="T2" fmla="*/ 677 w 2094"/>
                <a:gd name="T3" fmla="*/ 553 h 574"/>
                <a:gd name="T4" fmla="*/ 575 w 2094"/>
                <a:gd name="T5" fmla="*/ 553 h 574"/>
                <a:gd name="T6" fmla="*/ 440 w 2094"/>
                <a:gd name="T7" fmla="*/ 535 h 574"/>
                <a:gd name="T8" fmla="*/ 104 w 2094"/>
                <a:gd name="T9" fmla="*/ 170 h 574"/>
                <a:gd name="T10" fmla="*/ 104 w 2094"/>
                <a:gd name="T11" fmla="*/ 553 h 574"/>
                <a:gd name="T12" fmla="*/ 0 w 2094"/>
                <a:gd name="T13" fmla="*/ 553 h 574"/>
                <a:gd name="T14" fmla="*/ 0 w 2094"/>
                <a:gd name="T15" fmla="*/ 21 h 574"/>
                <a:gd name="T16" fmla="*/ 128 w 2094"/>
                <a:gd name="T17" fmla="*/ 21 h 574"/>
                <a:gd name="T18" fmla="*/ 223 w 2094"/>
                <a:gd name="T19" fmla="*/ 35 h 574"/>
                <a:gd name="T20" fmla="*/ 573 w 2094"/>
                <a:gd name="T21" fmla="*/ 416 h 574"/>
                <a:gd name="T22" fmla="*/ 573 w 2094"/>
                <a:gd name="T23" fmla="*/ 21 h 574"/>
                <a:gd name="T24" fmla="*/ 677 w 2094"/>
                <a:gd name="T25" fmla="*/ 21 h 574"/>
                <a:gd name="T26" fmla="*/ 760 w 2094"/>
                <a:gd name="T27" fmla="*/ 21 h 574"/>
                <a:gd name="T28" fmla="*/ 760 w 2094"/>
                <a:gd name="T29" fmla="*/ 386 h 574"/>
                <a:gd name="T30" fmla="*/ 801 w 2094"/>
                <a:gd name="T31" fmla="*/ 508 h 574"/>
                <a:gd name="T32" fmla="*/ 1001 w 2094"/>
                <a:gd name="T33" fmla="*/ 553 h 574"/>
                <a:gd name="T34" fmla="*/ 1385 w 2094"/>
                <a:gd name="T35" fmla="*/ 553 h 574"/>
                <a:gd name="T36" fmla="*/ 1385 w 2094"/>
                <a:gd name="T37" fmla="*/ 470 h 574"/>
                <a:gd name="T38" fmla="*/ 1052 w 2094"/>
                <a:gd name="T39" fmla="*/ 470 h 574"/>
                <a:gd name="T40" fmla="*/ 1000 w 2094"/>
                <a:gd name="T41" fmla="*/ 455 h 574"/>
                <a:gd name="T42" fmla="*/ 979 w 2094"/>
                <a:gd name="T43" fmla="*/ 386 h 574"/>
                <a:gd name="T44" fmla="*/ 979 w 2094"/>
                <a:gd name="T45" fmla="*/ 313 h 574"/>
                <a:gd name="T46" fmla="*/ 1344 w 2094"/>
                <a:gd name="T47" fmla="*/ 313 h 574"/>
                <a:gd name="T48" fmla="*/ 1344 w 2094"/>
                <a:gd name="T49" fmla="*/ 230 h 574"/>
                <a:gd name="T50" fmla="*/ 979 w 2094"/>
                <a:gd name="T51" fmla="*/ 230 h 574"/>
                <a:gd name="T52" fmla="*/ 979 w 2094"/>
                <a:gd name="T53" fmla="*/ 105 h 574"/>
                <a:gd name="T54" fmla="*/ 1375 w 2094"/>
                <a:gd name="T55" fmla="*/ 105 h 574"/>
                <a:gd name="T56" fmla="*/ 1375 w 2094"/>
                <a:gd name="T57" fmla="*/ 21 h 574"/>
                <a:gd name="T58" fmla="*/ 760 w 2094"/>
                <a:gd name="T59" fmla="*/ 21 h 574"/>
                <a:gd name="T60" fmla="*/ 1417 w 2094"/>
                <a:gd name="T61" fmla="*/ 287 h 574"/>
                <a:gd name="T62" fmla="*/ 1896 w 2094"/>
                <a:gd name="T63" fmla="*/ 574 h 574"/>
                <a:gd name="T64" fmla="*/ 2094 w 2094"/>
                <a:gd name="T65" fmla="*/ 548 h 574"/>
                <a:gd name="T66" fmla="*/ 2094 w 2094"/>
                <a:gd name="T67" fmla="*/ 462 h 574"/>
                <a:gd name="T68" fmla="*/ 1911 w 2094"/>
                <a:gd name="T69" fmla="*/ 480 h 574"/>
                <a:gd name="T70" fmla="*/ 1646 w 2094"/>
                <a:gd name="T71" fmla="*/ 282 h 574"/>
                <a:gd name="T72" fmla="*/ 1911 w 2094"/>
                <a:gd name="T73" fmla="*/ 84 h 574"/>
                <a:gd name="T74" fmla="*/ 2083 w 2094"/>
                <a:gd name="T75" fmla="*/ 98 h 574"/>
                <a:gd name="T76" fmla="*/ 2083 w 2094"/>
                <a:gd name="T77" fmla="*/ 23 h 574"/>
                <a:gd name="T78" fmla="*/ 1896 w 2094"/>
                <a:gd name="T79" fmla="*/ 0 h 574"/>
                <a:gd name="T80" fmla="*/ 1417 w 2094"/>
                <a:gd name="T81" fmla="*/ 287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94" h="574">
                  <a:moveTo>
                    <a:pt x="677" y="21"/>
                  </a:moveTo>
                  <a:cubicBezTo>
                    <a:pt x="677" y="553"/>
                    <a:pt x="677" y="553"/>
                    <a:pt x="677" y="553"/>
                  </a:cubicBezTo>
                  <a:cubicBezTo>
                    <a:pt x="575" y="553"/>
                    <a:pt x="575" y="553"/>
                    <a:pt x="575" y="553"/>
                  </a:cubicBezTo>
                  <a:cubicBezTo>
                    <a:pt x="554" y="551"/>
                    <a:pt x="480" y="544"/>
                    <a:pt x="440" y="535"/>
                  </a:cubicBezTo>
                  <a:cubicBezTo>
                    <a:pt x="407" y="527"/>
                    <a:pt x="179" y="259"/>
                    <a:pt x="104" y="170"/>
                  </a:cubicBezTo>
                  <a:cubicBezTo>
                    <a:pt x="104" y="553"/>
                    <a:pt x="104" y="553"/>
                    <a:pt x="104" y="553"/>
                  </a:cubicBezTo>
                  <a:cubicBezTo>
                    <a:pt x="0" y="553"/>
                    <a:pt x="0" y="553"/>
                    <a:pt x="0" y="553"/>
                  </a:cubicBezTo>
                  <a:cubicBezTo>
                    <a:pt x="0" y="21"/>
                    <a:pt x="0" y="21"/>
                    <a:pt x="0" y="21"/>
                  </a:cubicBezTo>
                  <a:cubicBezTo>
                    <a:pt x="128" y="21"/>
                    <a:pt x="128" y="21"/>
                    <a:pt x="128" y="21"/>
                  </a:cubicBezTo>
                  <a:cubicBezTo>
                    <a:pt x="128" y="21"/>
                    <a:pt x="176" y="23"/>
                    <a:pt x="223" y="35"/>
                  </a:cubicBezTo>
                  <a:cubicBezTo>
                    <a:pt x="258" y="43"/>
                    <a:pt x="517" y="350"/>
                    <a:pt x="573" y="416"/>
                  </a:cubicBezTo>
                  <a:cubicBezTo>
                    <a:pt x="573" y="21"/>
                    <a:pt x="573" y="21"/>
                    <a:pt x="573" y="21"/>
                  </a:cubicBezTo>
                  <a:lnTo>
                    <a:pt x="677" y="21"/>
                  </a:lnTo>
                  <a:close/>
                  <a:moveTo>
                    <a:pt x="760" y="21"/>
                  </a:moveTo>
                  <a:cubicBezTo>
                    <a:pt x="760" y="386"/>
                    <a:pt x="760" y="386"/>
                    <a:pt x="760" y="386"/>
                  </a:cubicBezTo>
                  <a:cubicBezTo>
                    <a:pt x="761" y="395"/>
                    <a:pt x="753" y="458"/>
                    <a:pt x="801" y="508"/>
                  </a:cubicBezTo>
                  <a:cubicBezTo>
                    <a:pt x="841" y="549"/>
                    <a:pt x="1001" y="553"/>
                    <a:pt x="1001" y="553"/>
                  </a:cubicBezTo>
                  <a:cubicBezTo>
                    <a:pt x="1385" y="553"/>
                    <a:pt x="1385" y="553"/>
                    <a:pt x="1385" y="553"/>
                  </a:cubicBezTo>
                  <a:cubicBezTo>
                    <a:pt x="1385" y="470"/>
                    <a:pt x="1385" y="470"/>
                    <a:pt x="1385" y="470"/>
                  </a:cubicBezTo>
                  <a:cubicBezTo>
                    <a:pt x="1052" y="470"/>
                    <a:pt x="1052" y="470"/>
                    <a:pt x="1052" y="470"/>
                  </a:cubicBezTo>
                  <a:cubicBezTo>
                    <a:pt x="1035" y="468"/>
                    <a:pt x="1007" y="464"/>
                    <a:pt x="1000" y="455"/>
                  </a:cubicBezTo>
                  <a:cubicBezTo>
                    <a:pt x="975" y="427"/>
                    <a:pt x="979" y="386"/>
                    <a:pt x="979" y="386"/>
                  </a:cubicBezTo>
                  <a:cubicBezTo>
                    <a:pt x="979" y="313"/>
                    <a:pt x="979" y="313"/>
                    <a:pt x="979" y="313"/>
                  </a:cubicBezTo>
                  <a:cubicBezTo>
                    <a:pt x="1344" y="313"/>
                    <a:pt x="1344" y="313"/>
                    <a:pt x="1344" y="313"/>
                  </a:cubicBezTo>
                  <a:cubicBezTo>
                    <a:pt x="1344" y="230"/>
                    <a:pt x="1344" y="230"/>
                    <a:pt x="1344" y="230"/>
                  </a:cubicBezTo>
                  <a:cubicBezTo>
                    <a:pt x="979" y="230"/>
                    <a:pt x="979" y="230"/>
                    <a:pt x="979" y="230"/>
                  </a:cubicBezTo>
                  <a:cubicBezTo>
                    <a:pt x="979" y="105"/>
                    <a:pt x="979" y="105"/>
                    <a:pt x="979" y="105"/>
                  </a:cubicBezTo>
                  <a:cubicBezTo>
                    <a:pt x="1375" y="105"/>
                    <a:pt x="1375" y="105"/>
                    <a:pt x="1375" y="105"/>
                  </a:cubicBezTo>
                  <a:cubicBezTo>
                    <a:pt x="1375" y="21"/>
                    <a:pt x="1375" y="21"/>
                    <a:pt x="1375" y="21"/>
                  </a:cubicBezTo>
                  <a:lnTo>
                    <a:pt x="760" y="21"/>
                  </a:lnTo>
                  <a:close/>
                  <a:moveTo>
                    <a:pt x="1417" y="287"/>
                  </a:moveTo>
                  <a:cubicBezTo>
                    <a:pt x="1417" y="540"/>
                    <a:pt x="1631" y="574"/>
                    <a:pt x="1896" y="574"/>
                  </a:cubicBezTo>
                  <a:cubicBezTo>
                    <a:pt x="1966" y="574"/>
                    <a:pt x="2033" y="565"/>
                    <a:pt x="2094" y="548"/>
                  </a:cubicBezTo>
                  <a:cubicBezTo>
                    <a:pt x="2094" y="462"/>
                    <a:pt x="2094" y="462"/>
                    <a:pt x="2094" y="462"/>
                  </a:cubicBezTo>
                  <a:cubicBezTo>
                    <a:pt x="2060" y="474"/>
                    <a:pt x="1950" y="480"/>
                    <a:pt x="1911" y="480"/>
                  </a:cubicBezTo>
                  <a:cubicBezTo>
                    <a:pt x="1764" y="480"/>
                    <a:pt x="1646" y="457"/>
                    <a:pt x="1646" y="282"/>
                  </a:cubicBezTo>
                  <a:cubicBezTo>
                    <a:pt x="1646" y="107"/>
                    <a:pt x="1764" y="84"/>
                    <a:pt x="1911" y="84"/>
                  </a:cubicBezTo>
                  <a:cubicBezTo>
                    <a:pt x="1946" y="84"/>
                    <a:pt x="2047" y="89"/>
                    <a:pt x="2083" y="98"/>
                  </a:cubicBezTo>
                  <a:cubicBezTo>
                    <a:pt x="2083" y="23"/>
                    <a:pt x="2083" y="23"/>
                    <a:pt x="2083" y="23"/>
                  </a:cubicBezTo>
                  <a:cubicBezTo>
                    <a:pt x="2026" y="8"/>
                    <a:pt x="1962" y="0"/>
                    <a:pt x="1896" y="0"/>
                  </a:cubicBezTo>
                  <a:cubicBezTo>
                    <a:pt x="1631" y="0"/>
                    <a:pt x="1417" y="34"/>
                    <a:pt x="1417" y="28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31"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2"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5"/>
              </a:rPr>
              <a:t>www.rapidbbs.cn</a:t>
            </a:r>
            <a:endParaRPr lang="zh-CN" altLang="en-US" sz="1200" b="0">
              <a:latin typeface="Arial" charset="0"/>
              <a:ea typeface="ＭＳ Ｐゴシック" pitchFamily="34" charset="-128"/>
            </a:endParaRPr>
          </a:p>
        </p:txBody>
      </p:sp>
      <p:pic>
        <p:nvPicPr>
          <p:cNvPr id="35" name="Picture 2">
            <a:hlinkClick r:id="rId15"/>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298765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46"/>
                                        </p:tgtEl>
                                        <p:attrNameLst>
                                          <p:attrName>style.visibility</p:attrName>
                                        </p:attrNameLst>
                                      </p:cBhvr>
                                      <p:to>
                                        <p:strVal val="visible"/>
                                      </p:to>
                                    </p:set>
                                    <p:anim calcmode="lin" valueType="num">
                                      <p:cBhvr additive="base">
                                        <p:cTn id="7" dur="1000" fill="hold"/>
                                        <p:tgtEl>
                                          <p:spTgt spid="46"/>
                                        </p:tgtEl>
                                        <p:attrNameLst>
                                          <p:attrName>ppt_x</p:attrName>
                                        </p:attrNameLst>
                                      </p:cBhvr>
                                      <p:tavLst>
                                        <p:tav tm="0">
                                          <p:val>
                                            <p:strVal val="1+#ppt_w/2"/>
                                          </p:val>
                                        </p:tav>
                                        <p:tav tm="100000">
                                          <p:val>
                                            <p:strVal val="#ppt_x"/>
                                          </p:val>
                                        </p:tav>
                                      </p:tavLst>
                                    </p:anim>
                                    <p:anim calcmode="lin" valueType="num">
                                      <p:cBhvr additive="base">
                                        <p:cTn id="8" dur="1000" fill="hold"/>
                                        <p:tgtEl>
                                          <p:spTgt spid="46"/>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0"/>
                                  </p:stCondLst>
                                  <p:childTnLst>
                                    <p:set>
                                      <p:cBhvr>
                                        <p:cTn id="10" dur="1" fill="hold">
                                          <p:stCondLst>
                                            <p:cond delay="0"/>
                                          </p:stCondLst>
                                        </p:cTn>
                                        <p:tgtEl>
                                          <p:spTgt spid="52"/>
                                        </p:tgtEl>
                                        <p:attrNameLst>
                                          <p:attrName>style.visibility</p:attrName>
                                        </p:attrNameLst>
                                      </p:cBhvr>
                                      <p:to>
                                        <p:strVal val="visible"/>
                                      </p:to>
                                    </p:set>
                                    <p:anim calcmode="lin" valueType="num">
                                      <p:cBhvr additive="base">
                                        <p:cTn id="11" dur="1000" fill="hold"/>
                                        <p:tgtEl>
                                          <p:spTgt spid="52"/>
                                        </p:tgtEl>
                                        <p:attrNameLst>
                                          <p:attrName>ppt_x</p:attrName>
                                        </p:attrNameLst>
                                      </p:cBhvr>
                                      <p:tavLst>
                                        <p:tav tm="0">
                                          <p:val>
                                            <p:strVal val="0-#ppt_w/2"/>
                                          </p:val>
                                        </p:tav>
                                        <p:tav tm="100000">
                                          <p:val>
                                            <p:strVal val="#ppt_x"/>
                                          </p:val>
                                        </p:tav>
                                      </p:tavLst>
                                    </p:anim>
                                    <p:anim calcmode="lin" valueType="num">
                                      <p:cBhvr additive="base">
                                        <p:cTn id="12" dur="1000" fill="hold"/>
                                        <p:tgtEl>
                                          <p:spTgt spid="52"/>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250"/>
                                  </p:stCondLst>
                                  <p:childTnLst>
                                    <p:set>
                                      <p:cBhvr>
                                        <p:cTn id="14" dur="1" fill="hold">
                                          <p:stCondLst>
                                            <p:cond delay="0"/>
                                          </p:stCondLst>
                                        </p:cTn>
                                        <p:tgtEl>
                                          <p:spTgt spid="47"/>
                                        </p:tgtEl>
                                        <p:attrNameLst>
                                          <p:attrName>style.visibility</p:attrName>
                                        </p:attrNameLst>
                                      </p:cBhvr>
                                      <p:to>
                                        <p:strVal val="visible"/>
                                      </p:to>
                                    </p:set>
                                    <p:anim calcmode="lin" valueType="num">
                                      <p:cBhvr additive="base">
                                        <p:cTn id="15" dur="1000" fill="hold"/>
                                        <p:tgtEl>
                                          <p:spTgt spid="47"/>
                                        </p:tgtEl>
                                        <p:attrNameLst>
                                          <p:attrName>ppt_x</p:attrName>
                                        </p:attrNameLst>
                                      </p:cBhvr>
                                      <p:tavLst>
                                        <p:tav tm="0">
                                          <p:val>
                                            <p:strVal val="1+#ppt_w/2"/>
                                          </p:val>
                                        </p:tav>
                                        <p:tav tm="100000">
                                          <p:val>
                                            <p:strVal val="#ppt_x"/>
                                          </p:val>
                                        </p:tav>
                                      </p:tavLst>
                                    </p:anim>
                                    <p:anim calcmode="lin" valueType="num">
                                      <p:cBhvr additive="base">
                                        <p:cTn id="16" dur="1000" fill="hold"/>
                                        <p:tgtEl>
                                          <p:spTgt spid="47"/>
                                        </p:tgtEl>
                                        <p:attrNameLst>
                                          <p:attrName>ppt_y</p:attrName>
                                        </p:attrNameLst>
                                      </p:cBhvr>
                                      <p:tavLst>
                                        <p:tav tm="0">
                                          <p:val>
                                            <p:strVal val="#ppt_y"/>
                                          </p:val>
                                        </p:tav>
                                        <p:tav tm="100000">
                                          <p:val>
                                            <p:strVal val="#ppt_y"/>
                                          </p:val>
                                        </p:tav>
                                      </p:tavLst>
                                    </p:anim>
                                  </p:childTnLst>
                                </p:cTn>
                              </p:par>
                              <p:par>
                                <p:cTn id="17" presetID="2" presetClass="entr" presetSubtype="8" decel="100000" fill="hold" nodeType="withEffect">
                                  <p:stCondLst>
                                    <p:cond delay="25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1000" fill="hold"/>
                                        <p:tgtEl>
                                          <p:spTgt spid="7"/>
                                        </p:tgtEl>
                                        <p:attrNameLst>
                                          <p:attrName>ppt_x</p:attrName>
                                        </p:attrNameLst>
                                      </p:cBhvr>
                                      <p:tavLst>
                                        <p:tav tm="0">
                                          <p:val>
                                            <p:strVal val="0-#ppt_w/2"/>
                                          </p:val>
                                        </p:tav>
                                        <p:tav tm="100000">
                                          <p:val>
                                            <p:strVal val="#ppt_x"/>
                                          </p:val>
                                        </p:tav>
                                      </p:tavLst>
                                    </p:anim>
                                    <p:anim calcmode="lin" valueType="num">
                                      <p:cBhvr additive="base">
                                        <p:cTn id="20" dur="1000" fill="hold"/>
                                        <p:tgtEl>
                                          <p:spTgt spid="7"/>
                                        </p:tgtEl>
                                        <p:attrNameLst>
                                          <p:attrName>ppt_y</p:attrName>
                                        </p:attrNameLst>
                                      </p:cBhvr>
                                      <p:tavLst>
                                        <p:tav tm="0">
                                          <p:val>
                                            <p:strVal val="#ppt_y"/>
                                          </p:val>
                                        </p:tav>
                                        <p:tav tm="100000">
                                          <p:val>
                                            <p:strVal val="#ppt_y"/>
                                          </p:val>
                                        </p:tav>
                                      </p:tavLst>
                                    </p:anim>
                                  </p:childTnLst>
                                </p:cTn>
                              </p:par>
                              <p:par>
                                <p:cTn id="21" presetID="2" presetClass="entr" presetSubtype="2" decel="100000" fill="hold" nodeType="withEffect">
                                  <p:stCondLst>
                                    <p:cond delay="500"/>
                                  </p:stCondLst>
                                  <p:childTnLst>
                                    <p:set>
                                      <p:cBhvr>
                                        <p:cTn id="22" dur="1" fill="hold">
                                          <p:stCondLst>
                                            <p:cond delay="0"/>
                                          </p:stCondLst>
                                        </p:cTn>
                                        <p:tgtEl>
                                          <p:spTgt spid="48"/>
                                        </p:tgtEl>
                                        <p:attrNameLst>
                                          <p:attrName>style.visibility</p:attrName>
                                        </p:attrNameLst>
                                      </p:cBhvr>
                                      <p:to>
                                        <p:strVal val="visible"/>
                                      </p:to>
                                    </p:set>
                                    <p:anim calcmode="lin" valueType="num">
                                      <p:cBhvr additive="base">
                                        <p:cTn id="23" dur="1000" fill="hold"/>
                                        <p:tgtEl>
                                          <p:spTgt spid="48"/>
                                        </p:tgtEl>
                                        <p:attrNameLst>
                                          <p:attrName>ppt_x</p:attrName>
                                        </p:attrNameLst>
                                      </p:cBhvr>
                                      <p:tavLst>
                                        <p:tav tm="0">
                                          <p:val>
                                            <p:strVal val="1+#ppt_w/2"/>
                                          </p:val>
                                        </p:tav>
                                        <p:tav tm="100000">
                                          <p:val>
                                            <p:strVal val="#ppt_x"/>
                                          </p:val>
                                        </p:tav>
                                      </p:tavLst>
                                    </p:anim>
                                    <p:anim calcmode="lin" valueType="num">
                                      <p:cBhvr additive="base">
                                        <p:cTn id="24" dur="1000" fill="hold"/>
                                        <p:tgtEl>
                                          <p:spTgt spid="48"/>
                                        </p:tgtEl>
                                        <p:attrNameLst>
                                          <p:attrName>ppt_y</p:attrName>
                                        </p:attrNameLst>
                                      </p:cBhvr>
                                      <p:tavLst>
                                        <p:tav tm="0">
                                          <p:val>
                                            <p:strVal val="#ppt_y"/>
                                          </p:val>
                                        </p:tav>
                                        <p:tav tm="100000">
                                          <p:val>
                                            <p:strVal val="#ppt_y"/>
                                          </p:val>
                                        </p:tav>
                                      </p:tavLst>
                                    </p:anim>
                                  </p:childTnLst>
                                </p:cTn>
                              </p:par>
                              <p:par>
                                <p:cTn id="25" presetID="2" presetClass="entr" presetSubtype="8" decel="100000" fill="hold" nodeType="withEffect">
                                  <p:stCondLst>
                                    <p:cond delay="500"/>
                                  </p:stCondLst>
                                  <p:childTnLst>
                                    <p:set>
                                      <p:cBhvr>
                                        <p:cTn id="26" dur="1" fill="hold">
                                          <p:stCondLst>
                                            <p:cond delay="0"/>
                                          </p:stCondLst>
                                        </p:cTn>
                                        <p:tgtEl>
                                          <p:spTgt spid="51"/>
                                        </p:tgtEl>
                                        <p:attrNameLst>
                                          <p:attrName>style.visibility</p:attrName>
                                        </p:attrNameLst>
                                      </p:cBhvr>
                                      <p:to>
                                        <p:strVal val="visible"/>
                                      </p:to>
                                    </p:set>
                                    <p:anim calcmode="lin" valueType="num">
                                      <p:cBhvr additive="base">
                                        <p:cTn id="27" dur="1000" fill="hold"/>
                                        <p:tgtEl>
                                          <p:spTgt spid="51"/>
                                        </p:tgtEl>
                                        <p:attrNameLst>
                                          <p:attrName>ppt_x</p:attrName>
                                        </p:attrNameLst>
                                      </p:cBhvr>
                                      <p:tavLst>
                                        <p:tav tm="0">
                                          <p:val>
                                            <p:strVal val="0-#ppt_w/2"/>
                                          </p:val>
                                        </p:tav>
                                        <p:tav tm="100000">
                                          <p:val>
                                            <p:strVal val="#ppt_x"/>
                                          </p:val>
                                        </p:tav>
                                      </p:tavLst>
                                    </p:anim>
                                    <p:anim calcmode="lin" valueType="num">
                                      <p:cBhvr additive="base">
                                        <p:cTn id="28" dur="1000" fill="hold"/>
                                        <p:tgtEl>
                                          <p:spTgt spid="51"/>
                                        </p:tgtEl>
                                        <p:attrNameLst>
                                          <p:attrName>ppt_y</p:attrName>
                                        </p:attrNameLst>
                                      </p:cBhvr>
                                      <p:tavLst>
                                        <p:tav tm="0">
                                          <p:val>
                                            <p:strVal val="#ppt_y"/>
                                          </p:val>
                                        </p:tav>
                                        <p:tav tm="100000">
                                          <p:val>
                                            <p:strVal val="#ppt_y"/>
                                          </p:val>
                                        </p:tav>
                                      </p:tavLst>
                                    </p:anim>
                                  </p:childTnLst>
                                </p:cTn>
                              </p:par>
                              <p:par>
                                <p:cTn id="29" presetID="2" presetClass="entr" presetSubtype="2" decel="100000" fill="hold" nodeType="withEffect">
                                  <p:stCondLst>
                                    <p:cond delay="750"/>
                                  </p:stCondLst>
                                  <p:childTnLst>
                                    <p:set>
                                      <p:cBhvr>
                                        <p:cTn id="30" dur="1" fill="hold">
                                          <p:stCondLst>
                                            <p:cond delay="0"/>
                                          </p:stCondLst>
                                        </p:cTn>
                                        <p:tgtEl>
                                          <p:spTgt spid="49"/>
                                        </p:tgtEl>
                                        <p:attrNameLst>
                                          <p:attrName>style.visibility</p:attrName>
                                        </p:attrNameLst>
                                      </p:cBhvr>
                                      <p:to>
                                        <p:strVal val="visible"/>
                                      </p:to>
                                    </p:set>
                                    <p:anim calcmode="lin" valueType="num">
                                      <p:cBhvr additive="base">
                                        <p:cTn id="31" dur="1000" fill="hold"/>
                                        <p:tgtEl>
                                          <p:spTgt spid="49"/>
                                        </p:tgtEl>
                                        <p:attrNameLst>
                                          <p:attrName>ppt_x</p:attrName>
                                        </p:attrNameLst>
                                      </p:cBhvr>
                                      <p:tavLst>
                                        <p:tav tm="0">
                                          <p:val>
                                            <p:strVal val="1+#ppt_w/2"/>
                                          </p:val>
                                        </p:tav>
                                        <p:tav tm="100000">
                                          <p:val>
                                            <p:strVal val="#ppt_x"/>
                                          </p:val>
                                        </p:tav>
                                      </p:tavLst>
                                    </p:anim>
                                    <p:anim calcmode="lin" valueType="num">
                                      <p:cBhvr additive="base">
                                        <p:cTn id="32" dur="1000" fill="hold"/>
                                        <p:tgtEl>
                                          <p:spTgt spid="49"/>
                                        </p:tgtEl>
                                        <p:attrNameLst>
                                          <p:attrName>ppt_y</p:attrName>
                                        </p:attrNameLst>
                                      </p:cBhvr>
                                      <p:tavLst>
                                        <p:tav tm="0">
                                          <p:val>
                                            <p:strVal val="#ppt_y"/>
                                          </p:val>
                                        </p:tav>
                                        <p:tav tm="100000">
                                          <p:val>
                                            <p:strVal val="#ppt_y"/>
                                          </p:val>
                                        </p:tav>
                                      </p:tavLst>
                                    </p:anim>
                                  </p:childTnLst>
                                </p:cTn>
                              </p:par>
                              <p:par>
                                <p:cTn id="33" presetID="2" presetClass="entr" presetSubtype="8" decel="100000" fill="hold" nodeType="withEffect">
                                  <p:stCondLst>
                                    <p:cond delay="750"/>
                                  </p:stCondLst>
                                  <p:childTnLst>
                                    <p:set>
                                      <p:cBhvr>
                                        <p:cTn id="34" dur="1" fill="hold">
                                          <p:stCondLst>
                                            <p:cond delay="0"/>
                                          </p:stCondLst>
                                        </p:cTn>
                                        <p:tgtEl>
                                          <p:spTgt spid="50"/>
                                        </p:tgtEl>
                                        <p:attrNameLst>
                                          <p:attrName>style.visibility</p:attrName>
                                        </p:attrNameLst>
                                      </p:cBhvr>
                                      <p:to>
                                        <p:strVal val="visible"/>
                                      </p:to>
                                    </p:set>
                                    <p:anim calcmode="lin" valueType="num">
                                      <p:cBhvr additive="base">
                                        <p:cTn id="35" dur="1000" fill="hold"/>
                                        <p:tgtEl>
                                          <p:spTgt spid="50"/>
                                        </p:tgtEl>
                                        <p:attrNameLst>
                                          <p:attrName>ppt_x</p:attrName>
                                        </p:attrNameLst>
                                      </p:cBhvr>
                                      <p:tavLst>
                                        <p:tav tm="0">
                                          <p:val>
                                            <p:strVal val="0-#ppt_w/2"/>
                                          </p:val>
                                        </p:tav>
                                        <p:tav tm="100000">
                                          <p:val>
                                            <p:strVal val="#ppt_x"/>
                                          </p:val>
                                        </p:tav>
                                      </p:tavLst>
                                    </p:anim>
                                    <p:anim calcmode="lin" valueType="num">
                                      <p:cBhvr additive="base">
                                        <p:cTn id="36" dur="1000" fill="hold"/>
                                        <p:tgtEl>
                                          <p:spTgt spid="5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conomics and Evidence*</a:t>
            </a:r>
            <a:endParaRPr lang="en-US" dirty="0"/>
          </a:p>
        </p:txBody>
      </p:sp>
      <p:sp>
        <p:nvSpPr>
          <p:cNvPr id="5" name="Slide Number Placeholder 4"/>
          <p:cNvSpPr>
            <a:spLocks noGrp="1"/>
          </p:cNvSpPr>
          <p:nvPr>
            <p:ph type="sldNum" sz="quarter" idx="4294967295"/>
          </p:nvPr>
        </p:nvSpPr>
        <p:spPr>
          <a:xfrm>
            <a:off x="0" y="4767264"/>
            <a:ext cx="615714" cy="273844"/>
          </a:xfrm>
          <a:prstGeom prst="rect">
            <a:avLst/>
          </a:prstGeom>
        </p:spPr>
        <p:txBody>
          <a:bodyPr lIns="68586" tIns="34294" rIns="68586" bIns="34294"/>
          <a:lstStyle/>
          <a:p>
            <a:fld id="{0590FCCE-F429-4CA2-926D-5449EA971780}" type="slidenum">
              <a:rPr lang="en-US" smtClean="0">
                <a:solidFill>
                  <a:srgbClr val="FFFFFF"/>
                </a:solidFill>
              </a:rPr>
              <a:pPr/>
              <a:t>362</a:t>
            </a:fld>
            <a:endParaRPr lang="en-US">
              <a:solidFill>
                <a:srgbClr val="FFFFFF"/>
              </a:solidFill>
            </a:endParaRPr>
          </a:p>
        </p:txBody>
      </p:sp>
      <p:sp>
        <p:nvSpPr>
          <p:cNvPr id="3" name="Right Brace 2"/>
          <p:cNvSpPr/>
          <p:nvPr/>
        </p:nvSpPr>
        <p:spPr>
          <a:xfrm>
            <a:off x="3954619" y="1500809"/>
            <a:ext cx="447078" cy="1945337"/>
          </a:xfrm>
          <a:prstGeom prst="rightBrace">
            <a:avLst/>
          </a:prstGeom>
          <a:ln w="6350">
            <a:solidFill>
              <a:srgbClr val="92D050"/>
            </a:solidFill>
          </a:ln>
        </p:spPr>
        <p:style>
          <a:lnRef idx="1">
            <a:schemeClr val="accent1"/>
          </a:lnRef>
          <a:fillRef idx="0">
            <a:schemeClr val="accent1"/>
          </a:fillRef>
          <a:effectRef idx="0">
            <a:schemeClr val="accent1"/>
          </a:effectRef>
          <a:fontRef idx="minor">
            <a:schemeClr val="tx1"/>
          </a:fontRef>
        </p:style>
        <p:txBody>
          <a:bodyPr lIns="68586" tIns="34294" rIns="68586" bIns="34294" rtlCol="0" anchor="ctr"/>
          <a:lstStyle/>
          <a:p>
            <a:pPr algn="ctr"/>
            <a:endParaRPr lang="en-US">
              <a:solidFill>
                <a:srgbClr val="FFFFFF"/>
              </a:solidFill>
            </a:endParaRPr>
          </a:p>
        </p:txBody>
      </p:sp>
      <p:sp>
        <p:nvSpPr>
          <p:cNvPr id="40" name="TextBox 39"/>
          <p:cNvSpPr txBox="1"/>
          <p:nvPr/>
        </p:nvSpPr>
        <p:spPr>
          <a:xfrm>
            <a:off x="4294625" y="1566818"/>
            <a:ext cx="3037121" cy="1615827"/>
          </a:xfrm>
          <a:prstGeom prst="rect">
            <a:avLst/>
          </a:prstGeom>
          <a:noFill/>
        </p:spPr>
        <p:txBody>
          <a:bodyPr wrap="square" lIns="0" tIns="0" rIns="0" bIns="0" rtlCol="0">
            <a:spAutoFit/>
          </a:bodyPr>
          <a:lstStyle/>
          <a:p>
            <a:pPr algn="r"/>
            <a:r>
              <a:rPr lang="en-US" sz="10500" dirty="0">
                <a:solidFill>
                  <a:srgbClr val="FFFF00"/>
                </a:solidFill>
              </a:rPr>
              <a:t>66%</a:t>
            </a:r>
          </a:p>
        </p:txBody>
      </p:sp>
      <p:sp>
        <p:nvSpPr>
          <p:cNvPr id="4" name="Rectangle 3"/>
          <p:cNvSpPr/>
          <p:nvPr/>
        </p:nvSpPr>
        <p:spPr>
          <a:xfrm>
            <a:off x="4715731" y="3003250"/>
            <a:ext cx="3196517" cy="438581"/>
          </a:xfrm>
          <a:prstGeom prst="rect">
            <a:avLst/>
          </a:prstGeom>
        </p:spPr>
        <p:txBody>
          <a:bodyPr wrap="square" lIns="68586" tIns="34294" rIns="68586" bIns="34294">
            <a:spAutoFit/>
          </a:bodyPr>
          <a:lstStyle/>
          <a:p>
            <a:r>
              <a:rPr lang="en-US" sz="1200" dirty="0">
                <a:solidFill>
                  <a:srgbClr val="FFFFFF"/>
                </a:solidFill>
              </a:rPr>
              <a:t>You save two out of every three dollars when you deploy computing seats with WMS</a:t>
            </a:r>
          </a:p>
        </p:txBody>
      </p:sp>
      <p:sp>
        <p:nvSpPr>
          <p:cNvPr id="15" name="TextBox 14"/>
          <p:cNvSpPr txBox="1"/>
          <p:nvPr/>
        </p:nvSpPr>
        <p:spPr>
          <a:xfrm>
            <a:off x="1981086" y="1284688"/>
            <a:ext cx="1514587" cy="438581"/>
          </a:xfrm>
          <a:prstGeom prst="rect">
            <a:avLst/>
          </a:prstGeom>
          <a:noFill/>
        </p:spPr>
        <p:txBody>
          <a:bodyPr wrap="square" lIns="0" tIns="0" rIns="0" bIns="0" rtlCol="0">
            <a:spAutoFit/>
          </a:bodyPr>
          <a:lstStyle/>
          <a:p>
            <a:r>
              <a:rPr lang="en-US" dirty="0" smtClean="0">
                <a:gradFill>
                  <a:gsLst>
                    <a:gs pos="0">
                      <a:srgbClr val="FFFFFF"/>
                    </a:gs>
                    <a:gs pos="86000">
                      <a:srgbClr val="FFFFFF"/>
                    </a:gs>
                  </a:gsLst>
                  <a:lin ang="5400000" scaled="0"/>
                </a:gradFill>
              </a:rPr>
              <a:t>Hardware Savings</a:t>
            </a:r>
          </a:p>
          <a:p>
            <a:r>
              <a:rPr lang="en-US" dirty="0" smtClean="0">
                <a:gradFill>
                  <a:gsLst>
                    <a:gs pos="0">
                      <a:srgbClr val="FFFFFF"/>
                    </a:gs>
                    <a:gs pos="86000">
                      <a:srgbClr val="FFFFFF"/>
                    </a:gs>
                  </a:gsLst>
                  <a:lin ang="5400000" scaled="0"/>
                </a:gradFill>
              </a:rPr>
              <a:t>66%</a:t>
            </a:r>
          </a:p>
        </p:txBody>
      </p:sp>
      <p:sp>
        <p:nvSpPr>
          <p:cNvPr id="16" name="Rounded Rectangle 15"/>
          <p:cNvSpPr/>
          <p:nvPr/>
        </p:nvSpPr>
        <p:spPr bwMode="auto">
          <a:xfrm>
            <a:off x="1308825" y="1242308"/>
            <a:ext cx="514484" cy="459486"/>
          </a:xfrm>
          <a:prstGeom prst="roundRect">
            <a:avLst/>
          </a:prstGeom>
          <a:solidFill>
            <a:schemeClr val="bg1"/>
          </a:solidFill>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alpha val="99000"/>
                </a:srgbClr>
              </a:solidFill>
            </a:endParaRPr>
          </a:p>
        </p:txBody>
      </p:sp>
      <p:pic>
        <p:nvPicPr>
          <p:cNvPr id="17" name="Picture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29673" y="1263585"/>
            <a:ext cx="469727" cy="482471"/>
          </a:xfrm>
          <a:prstGeom prst="rect">
            <a:avLst/>
          </a:prstGeom>
        </p:spPr>
      </p:pic>
      <p:sp>
        <p:nvSpPr>
          <p:cNvPr id="18" name="TextBox 17"/>
          <p:cNvSpPr txBox="1"/>
          <p:nvPr/>
        </p:nvSpPr>
        <p:spPr>
          <a:xfrm>
            <a:off x="1978798" y="1884411"/>
            <a:ext cx="1516874" cy="438581"/>
          </a:xfrm>
          <a:prstGeom prst="rect">
            <a:avLst/>
          </a:prstGeom>
          <a:noFill/>
        </p:spPr>
        <p:txBody>
          <a:bodyPr wrap="square" lIns="0" tIns="0" rIns="0" bIns="0" rtlCol="0">
            <a:spAutoFit/>
          </a:bodyPr>
          <a:lstStyle/>
          <a:p>
            <a:r>
              <a:rPr lang="en-US" dirty="0" smtClean="0">
                <a:gradFill>
                  <a:gsLst>
                    <a:gs pos="0">
                      <a:srgbClr val="FFFFFF"/>
                    </a:gs>
                    <a:gs pos="86000">
                      <a:srgbClr val="FFFFFF"/>
                    </a:gs>
                  </a:gsLst>
                  <a:lin ang="5400000" scaled="0"/>
                </a:gradFill>
              </a:rPr>
              <a:t>Energy Savings</a:t>
            </a:r>
          </a:p>
          <a:p>
            <a:r>
              <a:rPr lang="en-US" dirty="0" smtClean="0">
                <a:gradFill>
                  <a:gsLst>
                    <a:gs pos="0">
                      <a:srgbClr val="FFFFFF"/>
                    </a:gs>
                    <a:gs pos="86000">
                      <a:srgbClr val="FFFFFF"/>
                    </a:gs>
                  </a:gsLst>
                  <a:lin ang="5400000" scaled="0"/>
                </a:gradFill>
              </a:rPr>
              <a:t>67%</a:t>
            </a:r>
          </a:p>
        </p:txBody>
      </p:sp>
      <p:sp>
        <p:nvSpPr>
          <p:cNvPr id="19" name="TextBox 18"/>
          <p:cNvSpPr txBox="1"/>
          <p:nvPr/>
        </p:nvSpPr>
        <p:spPr>
          <a:xfrm>
            <a:off x="1976511" y="2526338"/>
            <a:ext cx="1866849" cy="438581"/>
          </a:xfrm>
          <a:prstGeom prst="rect">
            <a:avLst/>
          </a:prstGeom>
          <a:noFill/>
        </p:spPr>
        <p:txBody>
          <a:bodyPr wrap="square" lIns="0" tIns="0" rIns="0" bIns="0" rtlCol="0">
            <a:spAutoFit/>
          </a:bodyPr>
          <a:lstStyle/>
          <a:p>
            <a:r>
              <a:rPr lang="en-US" dirty="0" smtClean="0">
                <a:gradFill>
                  <a:gsLst>
                    <a:gs pos="0">
                      <a:srgbClr val="FFFFFF"/>
                    </a:gs>
                    <a:gs pos="86000">
                      <a:srgbClr val="FFFFFF"/>
                    </a:gs>
                  </a:gsLst>
                  <a:lin ang="5400000" scaled="0"/>
                </a:gradFill>
              </a:rPr>
              <a:t>Ongoing Maintenance</a:t>
            </a:r>
          </a:p>
          <a:p>
            <a:r>
              <a:rPr lang="en-US" dirty="0" smtClean="0">
                <a:gradFill>
                  <a:gsLst>
                    <a:gs pos="0">
                      <a:srgbClr val="FFFFFF"/>
                    </a:gs>
                    <a:gs pos="86000">
                      <a:srgbClr val="FFFFFF"/>
                    </a:gs>
                  </a:gsLst>
                  <a:lin ang="5400000" scaled="0"/>
                </a:gradFill>
              </a:rPr>
              <a:t>99%</a:t>
            </a:r>
          </a:p>
        </p:txBody>
      </p:sp>
      <p:sp>
        <p:nvSpPr>
          <p:cNvPr id="20" name="Rounded Rectangle 19"/>
          <p:cNvSpPr/>
          <p:nvPr/>
        </p:nvSpPr>
        <p:spPr bwMode="auto">
          <a:xfrm>
            <a:off x="1311112" y="2492750"/>
            <a:ext cx="514484" cy="459486"/>
          </a:xfrm>
          <a:prstGeom prst="roundRect">
            <a:avLst/>
          </a:prstGeom>
          <a:solidFill>
            <a:schemeClr val="bg1"/>
          </a:solidFill>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alpha val="99000"/>
                </a:srgbClr>
              </a:solidFill>
            </a:endParaRPr>
          </a:p>
        </p:txBody>
      </p:sp>
      <p:sp>
        <p:nvSpPr>
          <p:cNvPr id="21" name="Rounded Rectangle 20"/>
          <p:cNvSpPr/>
          <p:nvPr/>
        </p:nvSpPr>
        <p:spPr bwMode="auto">
          <a:xfrm>
            <a:off x="1297744" y="1853813"/>
            <a:ext cx="514484" cy="459486"/>
          </a:xfrm>
          <a:prstGeom prst="roundRect">
            <a:avLst/>
          </a:prstGeom>
          <a:solidFill>
            <a:schemeClr val="bg1"/>
          </a:solidFill>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alpha val="99000"/>
                </a:srgbClr>
              </a:solidFill>
            </a:endParaRPr>
          </a:p>
        </p:txBody>
      </p:sp>
      <p:pic>
        <p:nvPicPr>
          <p:cNvPr id="22" name="Picture 2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43683" y="1931012"/>
            <a:ext cx="429332" cy="338327"/>
          </a:xfrm>
          <a:prstGeom prst="rect">
            <a:avLst/>
          </a:prstGeom>
        </p:spPr>
      </p:pic>
      <p:pic>
        <p:nvPicPr>
          <p:cNvPr id="23" name="Picture 2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81568" y="2519939"/>
            <a:ext cx="356269" cy="430187"/>
          </a:xfrm>
          <a:prstGeom prst="rect">
            <a:avLst/>
          </a:prstGeom>
        </p:spPr>
      </p:pic>
      <p:sp>
        <p:nvSpPr>
          <p:cNvPr id="24" name="TextBox 23"/>
          <p:cNvSpPr txBox="1"/>
          <p:nvPr/>
        </p:nvSpPr>
        <p:spPr>
          <a:xfrm>
            <a:off x="1970796" y="3154988"/>
            <a:ext cx="1787583" cy="438581"/>
          </a:xfrm>
          <a:prstGeom prst="rect">
            <a:avLst/>
          </a:prstGeom>
          <a:noFill/>
        </p:spPr>
        <p:txBody>
          <a:bodyPr wrap="square" lIns="0" tIns="0" rIns="0" bIns="0" rtlCol="0">
            <a:spAutoFit/>
          </a:bodyPr>
          <a:lstStyle/>
          <a:p>
            <a:r>
              <a:rPr lang="en-US" dirty="0" smtClean="0">
                <a:gradFill>
                  <a:gsLst>
                    <a:gs pos="0">
                      <a:srgbClr val="FFFFFF"/>
                    </a:gs>
                    <a:gs pos="86000">
                      <a:srgbClr val="FFFFFF"/>
                    </a:gs>
                  </a:gsLst>
                  <a:lin ang="5400000" scaled="0"/>
                </a:gradFill>
              </a:rPr>
              <a:t>Software Savings</a:t>
            </a:r>
          </a:p>
          <a:p>
            <a:r>
              <a:rPr lang="en-US" dirty="0" smtClean="0">
                <a:gradFill>
                  <a:gsLst>
                    <a:gs pos="0">
                      <a:srgbClr val="FFFFFF"/>
                    </a:gs>
                    <a:gs pos="86000">
                      <a:srgbClr val="FFFFFF"/>
                    </a:gs>
                  </a:gsLst>
                  <a:lin ang="5400000" scaled="0"/>
                </a:gradFill>
              </a:rPr>
              <a:t>-64%</a:t>
            </a:r>
          </a:p>
        </p:txBody>
      </p:sp>
      <p:sp>
        <p:nvSpPr>
          <p:cNvPr id="25" name="Rounded Rectangle 24"/>
          <p:cNvSpPr/>
          <p:nvPr/>
        </p:nvSpPr>
        <p:spPr bwMode="auto">
          <a:xfrm>
            <a:off x="1313970" y="3121400"/>
            <a:ext cx="514484" cy="459486"/>
          </a:xfrm>
          <a:prstGeom prst="roundRect">
            <a:avLst/>
          </a:prstGeom>
          <a:solidFill>
            <a:schemeClr val="bg1"/>
          </a:solidFill>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alpha val="99000"/>
                </a:srgbClr>
              </a:solidFill>
            </a:endParaRPr>
          </a:p>
        </p:txBody>
      </p:sp>
      <p:pic>
        <p:nvPicPr>
          <p:cNvPr id="26" name="Picture 2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322546" y="3120697"/>
            <a:ext cx="486269" cy="512564"/>
          </a:xfrm>
          <a:prstGeom prst="rect">
            <a:avLst/>
          </a:prstGeom>
        </p:spPr>
      </p:pic>
      <p:sp>
        <p:nvSpPr>
          <p:cNvPr id="6" name="TextBox 5"/>
          <p:cNvSpPr txBox="1"/>
          <p:nvPr/>
        </p:nvSpPr>
        <p:spPr>
          <a:xfrm>
            <a:off x="624730" y="4454662"/>
            <a:ext cx="7845881" cy="484742"/>
          </a:xfrm>
          <a:prstGeom prst="rect">
            <a:avLst/>
          </a:prstGeom>
          <a:noFill/>
        </p:spPr>
        <p:txBody>
          <a:bodyPr wrap="square" lIns="68586" tIns="68586" rIns="68586" bIns="68586" rtlCol="0">
            <a:spAutoFit/>
          </a:bodyPr>
          <a:lstStyle/>
          <a:p>
            <a:r>
              <a:rPr lang="en-US" sz="1100" dirty="0">
                <a:solidFill>
                  <a:srgbClr val="FFFFFF">
                    <a:alpha val="99000"/>
                  </a:srgbClr>
                </a:solidFill>
              </a:rPr>
              <a:t>* Based on “</a:t>
            </a:r>
            <a:r>
              <a:rPr lang="en-US" sz="1100" dirty="0">
                <a:solidFill>
                  <a:srgbClr val="FFFFFF"/>
                </a:solidFill>
              </a:rPr>
              <a:t>The Total Economic Impact Of Microsoft Windows </a:t>
            </a:r>
            <a:r>
              <a:rPr lang="en-US" sz="1100" dirty="0" err="1">
                <a:solidFill>
                  <a:srgbClr val="FFFFFF"/>
                </a:solidFill>
              </a:rPr>
              <a:t>MultiPoint</a:t>
            </a:r>
            <a:r>
              <a:rPr lang="en-US" sz="1100" dirty="0">
                <a:solidFill>
                  <a:srgbClr val="FFFFFF"/>
                </a:solidFill>
              </a:rPr>
              <a:t> Server 2011,” A Forrester Study Prepared for Microsoft.</a:t>
            </a:r>
            <a:endParaRPr lang="en-US" sz="1100" dirty="0">
              <a:solidFill>
                <a:srgbClr val="FFFFFF">
                  <a:alpha val="99000"/>
                </a:srgbClr>
              </a:solidFill>
            </a:endParaRPr>
          </a:p>
        </p:txBody>
      </p:sp>
      <p:sp>
        <p:nvSpPr>
          <p:cNvPr id="27"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8"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7"/>
              </a:rPr>
              <a:t>www.rapidbbs.cn</a:t>
            </a:r>
            <a:endParaRPr lang="zh-CN" altLang="en-US" sz="1200" b="0">
              <a:latin typeface="Arial" charset="0"/>
              <a:ea typeface="ＭＳ Ｐゴシック" pitchFamily="34" charset="-128"/>
            </a:endParaRPr>
          </a:p>
        </p:txBody>
      </p:sp>
      <p:pic>
        <p:nvPicPr>
          <p:cNvPr id="29" name="Picture 2">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52041223"/>
      </p:ext>
    </p:extLst>
  </p:cSld>
  <p:clrMapOvr>
    <a:masterClrMapping/>
  </p:clrMapOvr>
  <p:transition>
    <p:fade/>
  </p:transition>
  <p:timing>
    <p:tnLst>
      <p:par>
        <p:cTn id="1" dur="indefinite" restart="never" nodeType="tmRoot"/>
      </p:par>
    </p:tnLst>
  </p:timing>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Windows MultiPoint Server 2012</a:t>
            </a:r>
            <a:endParaRPr lang="en-US" dirty="0"/>
          </a:p>
        </p:txBody>
      </p:sp>
      <p:sp>
        <p:nvSpPr>
          <p:cNvPr id="4" name="Slide Number Placeholder 3"/>
          <p:cNvSpPr>
            <a:spLocks noGrp="1"/>
          </p:cNvSpPr>
          <p:nvPr>
            <p:ph type="sldNum" sz="quarter" idx="4294967295"/>
          </p:nvPr>
        </p:nvSpPr>
        <p:spPr>
          <a:xfrm>
            <a:off x="0" y="4767264"/>
            <a:ext cx="615714" cy="273844"/>
          </a:xfrm>
          <a:prstGeom prst="rect">
            <a:avLst/>
          </a:prstGeom>
        </p:spPr>
        <p:txBody>
          <a:bodyPr lIns="68586" tIns="34294" rIns="68586" bIns="34294"/>
          <a:lstStyle/>
          <a:p>
            <a:fld id="{0590FCCE-F429-4CA2-926D-5449EA971780}" type="slidenum">
              <a:rPr lang="en-US" smtClean="0">
                <a:solidFill>
                  <a:srgbClr val="FFFFFF"/>
                </a:solidFill>
              </a:rPr>
              <a:pPr/>
              <a:t>363</a:t>
            </a:fld>
            <a:endParaRPr lang="en-US">
              <a:solidFill>
                <a:srgbClr val="FFFFFF"/>
              </a:solidFill>
            </a:endParaRPr>
          </a:p>
        </p:txBody>
      </p:sp>
      <p:grpSp>
        <p:nvGrpSpPr>
          <p:cNvPr id="3" name="Group 2"/>
          <p:cNvGrpSpPr/>
          <p:nvPr/>
        </p:nvGrpSpPr>
        <p:grpSpPr>
          <a:xfrm>
            <a:off x="2024778" y="2998598"/>
            <a:ext cx="873062" cy="740387"/>
            <a:chOff x="1004242" y="4326370"/>
            <a:chExt cx="1163780" cy="987183"/>
          </a:xfrm>
        </p:grpSpPr>
        <p:sp>
          <p:nvSpPr>
            <p:cNvPr id="2" name="Rectangle 1"/>
            <p:cNvSpPr/>
            <p:nvPr/>
          </p:nvSpPr>
          <p:spPr bwMode="auto">
            <a:xfrm>
              <a:off x="1074580" y="4326370"/>
              <a:ext cx="984307" cy="609045"/>
            </a:xfrm>
            <a:prstGeom prst="rect">
              <a:avLst/>
            </a:prstGeom>
            <a:gradFill>
              <a:gsLst>
                <a:gs pos="0">
                  <a:schemeClr val="tx2">
                    <a:lumMod val="50000"/>
                  </a:schemeClr>
                </a:gs>
                <a:gs pos="80000">
                  <a:schemeClr val="tx2"/>
                </a:gs>
                <a:gs pos="100000">
                  <a:schemeClr val="tx2"/>
                </a:gs>
              </a:gsLst>
            </a:gra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9000"/>
                  </a:srgbClr>
                </a:solidFill>
              </a:endParaRPr>
            </a:p>
          </p:txBody>
        </p:sp>
        <p:pic>
          <p:nvPicPr>
            <p:cNvPr id="34" name="Picture 33" descr="Keyboard.png"/>
            <p:cNvPicPr>
              <a:picLocks/>
            </p:cNvPicPr>
            <p:nvPr/>
          </p:nvPicPr>
          <p:blipFill>
            <a:blip r:embed="rId2" cstate="screen">
              <a:extLst>
                <a:ext uri="{28A0092B-C50C-407E-A947-70E740481C1C}">
                  <a14:useLocalDpi xmlns:a14="http://schemas.microsoft.com/office/drawing/2010/main"/>
                </a:ext>
              </a:extLst>
            </a:blip>
            <a:stretch>
              <a:fillRect/>
            </a:stretch>
          </p:blipFill>
          <p:spPr>
            <a:xfrm>
              <a:off x="1109718" y="5179057"/>
              <a:ext cx="958959" cy="134496"/>
            </a:xfrm>
            <a:prstGeom prst="rect">
              <a:avLst/>
            </a:prstGeom>
          </p:spPr>
        </p:pic>
        <p:pic>
          <p:nvPicPr>
            <p:cNvPr id="35" name="Picture 34" descr="Mouse.png"/>
            <p:cNvPicPr>
              <a:picLocks/>
            </p:cNvPicPr>
            <p:nvPr/>
          </p:nvPicPr>
          <p:blipFill>
            <a:blip r:embed="rId3" cstate="screen">
              <a:extLst>
                <a:ext uri="{28A0092B-C50C-407E-A947-70E740481C1C}">
                  <a14:useLocalDpi xmlns:a14="http://schemas.microsoft.com/office/drawing/2010/main"/>
                </a:ext>
              </a:extLst>
            </a:blip>
            <a:stretch>
              <a:fillRect/>
            </a:stretch>
          </p:blipFill>
          <p:spPr>
            <a:xfrm>
              <a:off x="2058886" y="5159270"/>
              <a:ext cx="109136" cy="107137"/>
            </a:xfrm>
            <a:prstGeom prst="rect">
              <a:avLst/>
            </a:prstGeom>
          </p:spPr>
        </p:pic>
        <p:pic>
          <p:nvPicPr>
            <p:cNvPr id="36" name="Picture 35" descr="HP_Monitor.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41093" y="4326370"/>
              <a:ext cx="1038738" cy="796101"/>
            </a:xfrm>
            <a:prstGeom prst="rect">
              <a:avLst/>
            </a:prstGeom>
          </p:spPr>
        </p:pic>
        <p:sp>
          <p:nvSpPr>
            <p:cNvPr id="37" name="TextBox 36"/>
            <p:cNvSpPr txBox="1"/>
            <p:nvPr/>
          </p:nvSpPr>
          <p:spPr>
            <a:xfrm>
              <a:off x="1004242" y="4365909"/>
              <a:ext cx="1093442" cy="566991"/>
            </a:xfrm>
            <a:prstGeom prst="rect">
              <a:avLst/>
            </a:prstGeom>
            <a:noFill/>
          </p:spPr>
          <p:txBody>
            <a:bodyPr wrap="square" lIns="0" tIns="0" rIns="0" bIns="0" rtlCol="0" anchor="ctr" anchorCtr="0">
              <a:noAutofit/>
            </a:bodyPr>
            <a:lstStyle/>
            <a:p>
              <a:pPr algn="ctr"/>
              <a:r>
                <a:rPr lang="en-US" sz="900" dirty="0">
                  <a:solidFill>
                    <a:srgbClr val="FFFFFF"/>
                  </a:solidFill>
                  <a:cs typeface="Segoe UI" pitchFamily="34" charset="0"/>
                </a:rPr>
                <a:t>Windows 8</a:t>
              </a:r>
            </a:p>
            <a:p>
              <a:pPr algn="ctr"/>
              <a:r>
                <a:rPr lang="en-US" sz="900" dirty="0">
                  <a:solidFill>
                    <a:srgbClr val="FFFFFF"/>
                  </a:solidFill>
                  <a:cs typeface="Segoe UI" pitchFamily="34" charset="0"/>
                </a:rPr>
                <a:t>Desktop</a:t>
              </a:r>
            </a:p>
          </p:txBody>
        </p:sp>
      </p:grpSp>
      <p:grpSp>
        <p:nvGrpSpPr>
          <p:cNvPr id="39" name="Group 38"/>
          <p:cNvGrpSpPr/>
          <p:nvPr/>
        </p:nvGrpSpPr>
        <p:grpSpPr>
          <a:xfrm>
            <a:off x="3431905" y="2998598"/>
            <a:ext cx="873062" cy="740387"/>
            <a:chOff x="1004242" y="4326370"/>
            <a:chExt cx="1163780" cy="987183"/>
          </a:xfrm>
        </p:grpSpPr>
        <p:sp>
          <p:nvSpPr>
            <p:cNvPr id="40" name="Rectangle 39"/>
            <p:cNvSpPr/>
            <p:nvPr/>
          </p:nvSpPr>
          <p:spPr bwMode="auto">
            <a:xfrm>
              <a:off x="1074580" y="4326370"/>
              <a:ext cx="984307" cy="609045"/>
            </a:xfrm>
            <a:prstGeom prst="rect">
              <a:avLst/>
            </a:prstGeom>
            <a:gradFill>
              <a:gsLst>
                <a:gs pos="0">
                  <a:schemeClr val="tx2">
                    <a:lumMod val="50000"/>
                  </a:schemeClr>
                </a:gs>
                <a:gs pos="80000">
                  <a:schemeClr val="tx2"/>
                </a:gs>
                <a:gs pos="100000">
                  <a:schemeClr val="tx2"/>
                </a:gs>
              </a:gsLst>
            </a:gra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9000"/>
                  </a:srgbClr>
                </a:solidFill>
              </a:endParaRPr>
            </a:p>
          </p:txBody>
        </p:sp>
        <p:pic>
          <p:nvPicPr>
            <p:cNvPr id="41" name="Picture 40" descr="Keyboard.png"/>
            <p:cNvPicPr>
              <a:picLocks/>
            </p:cNvPicPr>
            <p:nvPr/>
          </p:nvPicPr>
          <p:blipFill>
            <a:blip r:embed="rId2" cstate="screen">
              <a:extLst>
                <a:ext uri="{28A0092B-C50C-407E-A947-70E740481C1C}">
                  <a14:useLocalDpi xmlns:a14="http://schemas.microsoft.com/office/drawing/2010/main"/>
                </a:ext>
              </a:extLst>
            </a:blip>
            <a:stretch>
              <a:fillRect/>
            </a:stretch>
          </p:blipFill>
          <p:spPr>
            <a:xfrm>
              <a:off x="1109718" y="5179057"/>
              <a:ext cx="958959" cy="134496"/>
            </a:xfrm>
            <a:prstGeom prst="rect">
              <a:avLst/>
            </a:prstGeom>
          </p:spPr>
        </p:pic>
        <p:pic>
          <p:nvPicPr>
            <p:cNvPr id="42" name="Picture 41" descr="Mouse.png"/>
            <p:cNvPicPr>
              <a:picLocks/>
            </p:cNvPicPr>
            <p:nvPr/>
          </p:nvPicPr>
          <p:blipFill>
            <a:blip r:embed="rId3" cstate="screen">
              <a:extLst>
                <a:ext uri="{28A0092B-C50C-407E-A947-70E740481C1C}">
                  <a14:useLocalDpi xmlns:a14="http://schemas.microsoft.com/office/drawing/2010/main"/>
                </a:ext>
              </a:extLst>
            </a:blip>
            <a:stretch>
              <a:fillRect/>
            </a:stretch>
          </p:blipFill>
          <p:spPr>
            <a:xfrm>
              <a:off x="2058886" y="5159270"/>
              <a:ext cx="109136" cy="107137"/>
            </a:xfrm>
            <a:prstGeom prst="rect">
              <a:avLst/>
            </a:prstGeom>
          </p:spPr>
        </p:pic>
        <p:pic>
          <p:nvPicPr>
            <p:cNvPr id="43" name="Picture 42" descr="HP_Monitor.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41093" y="4326370"/>
              <a:ext cx="1038738" cy="796101"/>
            </a:xfrm>
            <a:prstGeom prst="rect">
              <a:avLst/>
            </a:prstGeom>
          </p:spPr>
        </p:pic>
        <p:sp>
          <p:nvSpPr>
            <p:cNvPr id="44" name="TextBox 43"/>
            <p:cNvSpPr txBox="1"/>
            <p:nvPr/>
          </p:nvSpPr>
          <p:spPr>
            <a:xfrm>
              <a:off x="1004242" y="4365909"/>
              <a:ext cx="1093442" cy="566991"/>
            </a:xfrm>
            <a:prstGeom prst="rect">
              <a:avLst/>
            </a:prstGeom>
            <a:noFill/>
          </p:spPr>
          <p:txBody>
            <a:bodyPr wrap="square" lIns="0" tIns="0" rIns="0" bIns="0" rtlCol="0" anchor="ctr" anchorCtr="0">
              <a:noAutofit/>
            </a:bodyPr>
            <a:lstStyle/>
            <a:p>
              <a:pPr algn="ctr"/>
              <a:r>
                <a:rPr lang="en-US" sz="900" dirty="0">
                  <a:solidFill>
                    <a:srgbClr val="FFFFFF"/>
                  </a:solidFill>
                  <a:cs typeface="Segoe UI" pitchFamily="34" charset="0"/>
                </a:rPr>
                <a:t>Windows 8</a:t>
              </a:r>
            </a:p>
            <a:p>
              <a:pPr algn="ctr"/>
              <a:r>
                <a:rPr lang="en-US" sz="900" dirty="0">
                  <a:solidFill>
                    <a:srgbClr val="FFFFFF"/>
                  </a:solidFill>
                  <a:cs typeface="Segoe UI" pitchFamily="34" charset="0"/>
                </a:rPr>
                <a:t>Desktop</a:t>
              </a:r>
            </a:p>
          </p:txBody>
        </p:sp>
      </p:grpSp>
      <p:grpSp>
        <p:nvGrpSpPr>
          <p:cNvPr id="45" name="Group 44"/>
          <p:cNvGrpSpPr/>
          <p:nvPr/>
        </p:nvGrpSpPr>
        <p:grpSpPr>
          <a:xfrm>
            <a:off x="4839033" y="2998598"/>
            <a:ext cx="873062" cy="740387"/>
            <a:chOff x="1004242" y="4326370"/>
            <a:chExt cx="1163780" cy="987183"/>
          </a:xfrm>
        </p:grpSpPr>
        <p:sp>
          <p:nvSpPr>
            <p:cNvPr id="46" name="Rectangle 45"/>
            <p:cNvSpPr/>
            <p:nvPr/>
          </p:nvSpPr>
          <p:spPr bwMode="auto">
            <a:xfrm>
              <a:off x="1074580" y="4326370"/>
              <a:ext cx="984307" cy="609045"/>
            </a:xfrm>
            <a:prstGeom prst="rect">
              <a:avLst/>
            </a:prstGeom>
            <a:gradFill>
              <a:gsLst>
                <a:gs pos="0">
                  <a:schemeClr val="tx2">
                    <a:lumMod val="50000"/>
                  </a:schemeClr>
                </a:gs>
                <a:gs pos="80000">
                  <a:schemeClr val="tx2"/>
                </a:gs>
                <a:gs pos="100000">
                  <a:schemeClr val="tx2"/>
                </a:gs>
              </a:gsLst>
            </a:gra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9000"/>
                  </a:srgbClr>
                </a:solidFill>
              </a:endParaRPr>
            </a:p>
          </p:txBody>
        </p:sp>
        <p:pic>
          <p:nvPicPr>
            <p:cNvPr id="47" name="Picture 46" descr="Keyboard.png"/>
            <p:cNvPicPr>
              <a:picLocks/>
            </p:cNvPicPr>
            <p:nvPr/>
          </p:nvPicPr>
          <p:blipFill>
            <a:blip r:embed="rId2" cstate="screen">
              <a:extLst>
                <a:ext uri="{28A0092B-C50C-407E-A947-70E740481C1C}">
                  <a14:useLocalDpi xmlns:a14="http://schemas.microsoft.com/office/drawing/2010/main"/>
                </a:ext>
              </a:extLst>
            </a:blip>
            <a:stretch>
              <a:fillRect/>
            </a:stretch>
          </p:blipFill>
          <p:spPr>
            <a:xfrm>
              <a:off x="1109718" y="5179057"/>
              <a:ext cx="958959" cy="134496"/>
            </a:xfrm>
            <a:prstGeom prst="rect">
              <a:avLst/>
            </a:prstGeom>
          </p:spPr>
        </p:pic>
        <p:pic>
          <p:nvPicPr>
            <p:cNvPr id="48" name="Picture 47" descr="Mouse.png"/>
            <p:cNvPicPr>
              <a:picLocks/>
            </p:cNvPicPr>
            <p:nvPr/>
          </p:nvPicPr>
          <p:blipFill>
            <a:blip r:embed="rId3" cstate="screen">
              <a:extLst>
                <a:ext uri="{28A0092B-C50C-407E-A947-70E740481C1C}">
                  <a14:useLocalDpi xmlns:a14="http://schemas.microsoft.com/office/drawing/2010/main"/>
                </a:ext>
              </a:extLst>
            </a:blip>
            <a:stretch>
              <a:fillRect/>
            </a:stretch>
          </p:blipFill>
          <p:spPr>
            <a:xfrm>
              <a:off x="2058886" y="5159270"/>
              <a:ext cx="109136" cy="107137"/>
            </a:xfrm>
            <a:prstGeom prst="rect">
              <a:avLst/>
            </a:prstGeom>
          </p:spPr>
        </p:pic>
        <p:pic>
          <p:nvPicPr>
            <p:cNvPr id="49" name="Picture 48" descr="HP_Monitor.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41093" y="4326370"/>
              <a:ext cx="1038738" cy="796101"/>
            </a:xfrm>
            <a:prstGeom prst="rect">
              <a:avLst/>
            </a:prstGeom>
          </p:spPr>
        </p:pic>
        <p:sp>
          <p:nvSpPr>
            <p:cNvPr id="52" name="TextBox 51"/>
            <p:cNvSpPr txBox="1"/>
            <p:nvPr/>
          </p:nvSpPr>
          <p:spPr>
            <a:xfrm>
              <a:off x="1004242" y="4365909"/>
              <a:ext cx="1093442" cy="566991"/>
            </a:xfrm>
            <a:prstGeom prst="rect">
              <a:avLst/>
            </a:prstGeom>
            <a:noFill/>
          </p:spPr>
          <p:txBody>
            <a:bodyPr wrap="square" lIns="0" tIns="0" rIns="0" bIns="0" rtlCol="0" anchor="ctr" anchorCtr="0">
              <a:noAutofit/>
            </a:bodyPr>
            <a:lstStyle/>
            <a:p>
              <a:pPr algn="ctr"/>
              <a:r>
                <a:rPr lang="en-US" sz="900" dirty="0">
                  <a:solidFill>
                    <a:srgbClr val="FFFFFF"/>
                  </a:solidFill>
                  <a:cs typeface="Segoe UI" pitchFamily="34" charset="0"/>
                </a:rPr>
                <a:t>Windows 8</a:t>
              </a:r>
            </a:p>
            <a:p>
              <a:pPr algn="ctr"/>
              <a:r>
                <a:rPr lang="en-US" sz="900" dirty="0">
                  <a:solidFill>
                    <a:srgbClr val="FFFFFF"/>
                  </a:solidFill>
                  <a:cs typeface="Segoe UI" pitchFamily="34" charset="0"/>
                </a:rPr>
                <a:t>Desktop</a:t>
              </a:r>
            </a:p>
          </p:txBody>
        </p:sp>
      </p:grpSp>
      <p:grpSp>
        <p:nvGrpSpPr>
          <p:cNvPr id="63" name="Group 62"/>
          <p:cNvGrpSpPr/>
          <p:nvPr/>
        </p:nvGrpSpPr>
        <p:grpSpPr>
          <a:xfrm>
            <a:off x="6246160" y="2998598"/>
            <a:ext cx="873062" cy="740387"/>
            <a:chOff x="1004242" y="4326370"/>
            <a:chExt cx="1163780" cy="987183"/>
          </a:xfrm>
        </p:grpSpPr>
        <p:sp>
          <p:nvSpPr>
            <p:cNvPr id="64" name="Rectangle 63"/>
            <p:cNvSpPr/>
            <p:nvPr/>
          </p:nvSpPr>
          <p:spPr bwMode="auto">
            <a:xfrm>
              <a:off x="1074580" y="4326370"/>
              <a:ext cx="984307" cy="609045"/>
            </a:xfrm>
            <a:prstGeom prst="rect">
              <a:avLst/>
            </a:prstGeom>
            <a:gradFill>
              <a:gsLst>
                <a:gs pos="0">
                  <a:schemeClr val="tx2">
                    <a:lumMod val="50000"/>
                  </a:schemeClr>
                </a:gs>
                <a:gs pos="80000">
                  <a:schemeClr val="tx2"/>
                </a:gs>
                <a:gs pos="100000">
                  <a:schemeClr val="tx2"/>
                </a:gs>
              </a:gsLst>
            </a:gra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9000"/>
                  </a:srgbClr>
                </a:solidFill>
              </a:endParaRPr>
            </a:p>
          </p:txBody>
        </p:sp>
        <p:pic>
          <p:nvPicPr>
            <p:cNvPr id="65" name="Picture 64" descr="Keyboard.png"/>
            <p:cNvPicPr>
              <a:picLocks/>
            </p:cNvPicPr>
            <p:nvPr/>
          </p:nvPicPr>
          <p:blipFill>
            <a:blip r:embed="rId2" cstate="screen">
              <a:extLst>
                <a:ext uri="{28A0092B-C50C-407E-A947-70E740481C1C}">
                  <a14:useLocalDpi xmlns:a14="http://schemas.microsoft.com/office/drawing/2010/main"/>
                </a:ext>
              </a:extLst>
            </a:blip>
            <a:stretch>
              <a:fillRect/>
            </a:stretch>
          </p:blipFill>
          <p:spPr>
            <a:xfrm>
              <a:off x="1109718" y="5179057"/>
              <a:ext cx="958959" cy="134496"/>
            </a:xfrm>
            <a:prstGeom prst="rect">
              <a:avLst/>
            </a:prstGeom>
          </p:spPr>
        </p:pic>
        <p:pic>
          <p:nvPicPr>
            <p:cNvPr id="66" name="Picture 65" descr="Mouse.png"/>
            <p:cNvPicPr>
              <a:picLocks/>
            </p:cNvPicPr>
            <p:nvPr/>
          </p:nvPicPr>
          <p:blipFill>
            <a:blip r:embed="rId3" cstate="screen">
              <a:extLst>
                <a:ext uri="{28A0092B-C50C-407E-A947-70E740481C1C}">
                  <a14:useLocalDpi xmlns:a14="http://schemas.microsoft.com/office/drawing/2010/main"/>
                </a:ext>
              </a:extLst>
            </a:blip>
            <a:stretch>
              <a:fillRect/>
            </a:stretch>
          </p:blipFill>
          <p:spPr>
            <a:xfrm>
              <a:off x="2058886" y="5159270"/>
              <a:ext cx="109136" cy="107137"/>
            </a:xfrm>
            <a:prstGeom prst="rect">
              <a:avLst/>
            </a:prstGeom>
          </p:spPr>
        </p:pic>
        <p:pic>
          <p:nvPicPr>
            <p:cNvPr id="70" name="Picture 69" descr="HP_Monitor.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41093" y="4326370"/>
              <a:ext cx="1038738" cy="796101"/>
            </a:xfrm>
            <a:prstGeom prst="rect">
              <a:avLst/>
            </a:prstGeom>
          </p:spPr>
        </p:pic>
        <p:sp>
          <p:nvSpPr>
            <p:cNvPr id="71" name="TextBox 70"/>
            <p:cNvSpPr txBox="1"/>
            <p:nvPr/>
          </p:nvSpPr>
          <p:spPr>
            <a:xfrm>
              <a:off x="1004242" y="4365909"/>
              <a:ext cx="1093442" cy="566991"/>
            </a:xfrm>
            <a:prstGeom prst="rect">
              <a:avLst/>
            </a:prstGeom>
            <a:noFill/>
          </p:spPr>
          <p:txBody>
            <a:bodyPr wrap="square" lIns="0" tIns="0" rIns="0" bIns="0" rtlCol="0" anchor="ctr" anchorCtr="0">
              <a:noAutofit/>
            </a:bodyPr>
            <a:lstStyle/>
            <a:p>
              <a:pPr algn="ctr"/>
              <a:r>
                <a:rPr lang="en-US" sz="900" dirty="0">
                  <a:solidFill>
                    <a:srgbClr val="FFFFFF"/>
                  </a:solidFill>
                  <a:cs typeface="Segoe UI" pitchFamily="34" charset="0"/>
                </a:rPr>
                <a:t>Windows 8</a:t>
              </a:r>
            </a:p>
            <a:p>
              <a:pPr algn="ctr"/>
              <a:r>
                <a:rPr lang="en-US" sz="900" dirty="0">
                  <a:solidFill>
                    <a:srgbClr val="FFFFFF"/>
                  </a:solidFill>
                  <a:cs typeface="Segoe UI" pitchFamily="34" charset="0"/>
                </a:rPr>
                <a:t>Desktop</a:t>
              </a:r>
            </a:p>
          </p:txBody>
        </p:sp>
      </p:grpSp>
      <p:cxnSp>
        <p:nvCxnSpPr>
          <p:cNvPr id="22" name="Straight Connector 21"/>
          <p:cNvCxnSpPr/>
          <p:nvPr/>
        </p:nvCxnSpPr>
        <p:spPr>
          <a:xfrm flipV="1">
            <a:off x="2463609" y="2400302"/>
            <a:ext cx="0" cy="536331"/>
          </a:xfrm>
          <a:prstGeom prst="line">
            <a:avLst/>
          </a:prstGeom>
          <a:ln w="28575" cmpd="dbl">
            <a:solidFill>
              <a:schemeClr val="tx1"/>
            </a:solidFill>
            <a:prstDash val="dash"/>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flipV="1">
            <a:off x="2463611" y="2338759"/>
            <a:ext cx="1683631" cy="2"/>
          </a:xfrm>
          <a:prstGeom prst="line">
            <a:avLst/>
          </a:prstGeom>
          <a:ln w="28575" cmpd="dbl">
            <a:solidFill>
              <a:schemeClr val="tx1"/>
            </a:solidFill>
            <a:prstDash val="dash"/>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flipV="1">
            <a:off x="4143367" y="2164257"/>
            <a:ext cx="0" cy="148126"/>
          </a:xfrm>
          <a:prstGeom prst="line">
            <a:avLst/>
          </a:prstGeom>
          <a:ln w="28575" cmpd="dbl">
            <a:solidFill>
              <a:schemeClr val="tx1"/>
            </a:solidFill>
            <a:prstDash val="dash"/>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flipV="1">
            <a:off x="3870736" y="2470640"/>
            <a:ext cx="0" cy="465993"/>
          </a:xfrm>
          <a:prstGeom prst="line">
            <a:avLst/>
          </a:prstGeom>
          <a:ln w="28575" cmpd="dbl">
            <a:solidFill>
              <a:schemeClr val="tx1"/>
            </a:solidFill>
            <a:prstDash val="dash"/>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flipV="1">
            <a:off x="3870737" y="2488228"/>
            <a:ext cx="403211" cy="2"/>
          </a:xfrm>
          <a:prstGeom prst="line">
            <a:avLst/>
          </a:prstGeom>
          <a:ln w="28575" cmpd="dbl">
            <a:solidFill>
              <a:schemeClr val="tx1"/>
            </a:solidFill>
            <a:prstDash val="dash"/>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flipV="1">
            <a:off x="4310464" y="2101369"/>
            <a:ext cx="0" cy="369277"/>
          </a:xfrm>
          <a:prstGeom prst="line">
            <a:avLst/>
          </a:prstGeom>
          <a:ln w="28575" cmpd="dbl">
            <a:solidFill>
              <a:schemeClr val="tx1"/>
            </a:solidFill>
            <a:prstDash val="dash"/>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flipV="1">
            <a:off x="5260274" y="2488226"/>
            <a:ext cx="0" cy="465993"/>
          </a:xfrm>
          <a:prstGeom prst="line">
            <a:avLst/>
          </a:prstGeom>
          <a:ln w="28575" cmpd="dbl">
            <a:solidFill>
              <a:schemeClr val="tx1"/>
            </a:solidFill>
            <a:prstDash val="dash"/>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flipV="1">
            <a:off x="4864521" y="2488228"/>
            <a:ext cx="403211" cy="2"/>
          </a:xfrm>
          <a:prstGeom prst="line">
            <a:avLst/>
          </a:prstGeom>
          <a:ln w="28575" cmpd="dbl">
            <a:solidFill>
              <a:schemeClr val="tx1"/>
            </a:solidFill>
            <a:prstDash val="dash"/>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flipV="1">
            <a:off x="4829342" y="2127747"/>
            <a:ext cx="0" cy="369277"/>
          </a:xfrm>
          <a:prstGeom prst="line">
            <a:avLst/>
          </a:prstGeom>
          <a:ln w="28575" cmpd="dbl">
            <a:solidFill>
              <a:schemeClr val="tx1"/>
            </a:solidFill>
            <a:prstDash val="dash"/>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flipV="1">
            <a:off x="6667400" y="2391509"/>
            <a:ext cx="0" cy="536331"/>
          </a:xfrm>
          <a:prstGeom prst="line">
            <a:avLst/>
          </a:prstGeom>
          <a:ln w="28575" cmpd="dbl">
            <a:solidFill>
              <a:schemeClr val="tx1"/>
            </a:solidFill>
            <a:prstDash val="dash"/>
            <a:miter lim="800000"/>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flipV="1">
            <a:off x="4996439" y="2338759"/>
            <a:ext cx="1683631" cy="2"/>
          </a:xfrm>
          <a:prstGeom prst="line">
            <a:avLst/>
          </a:prstGeom>
          <a:ln w="28575" cmpd="dbl">
            <a:solidFill>
              <a:schemeClr val="tx1"/>
            </a:solidFill>
            <a:prstDash val="dash"/>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flipV="1">
            <a:off x="4987643" y="2164257"/>
            <a:ext cx="0" cy="148126"/>
          </a:xfrm>
          <a:prstGeom prst="line">
            <a:avLst/>
          </a:prstGeom>
          <a:ln w="28575" cmpd="dbl">
            <a:solidFill>
              <a:schemeClr val="tx1"/>
            </a:solidFill>
            <a:prstDash val="dash"/>
            <a:miter lim="800000"/>
          </a:ln>
        </p:spPr>
        <p:style>
          <a:lnRef idx="1">
            <a:schemeClr val="accent1"/>
          </a:lnRef>
          <a:fillRef idx="0">
            <a:schemeClr val="accent1"/>
          </a:fillRef>
          <a:effectRef idx="0">
            <a:schemeClr val="accent1"/>
          </a:effectRef>
          <a:fontRef idx="minor">
            <a:schemeClr val="tx1"/>
          </a:fontRef>
        </p:style>
      </p:cxnSp>
      <p:sp>
        <p:nvSpPr>
          <p:cNvPr id="108" name="Rounded Rectangle 107"/>
          <p:cNvSpPr/>
          <p:nvPr/>
        </p:nvSpPr>
        <p:spPr bwMode="auto">
          <a:xfrm>
            <a:off x="3663538" y="958364"/>
            <a:ext cx="1966684" cy="1179517"/>
          </a:xfrm>
          <a:prstGeom prst="roundRect">
            <a:avLst/>
          </a:prstGeom>
          <a:solidFill>
            <a:schemeClr val="tx2">
              <a:alpha val="49020"/>
            </a:schemeClr>
          </a:solidFill>
          <a:ln>
            <a:solidFill>
              <a:schemeClr val="tx2"/>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alpha val="99000"/>
                </a:srgbClr>
              </a:solidFill>
            </a:endParaRPr>
          </a:p>
        </p:txBody>
      </p:sp>
      <p:sp>
        <p:nvSpPr>
          <p:cNvPr id="112" name="TextBox 111"/>
          <p:cNvSpPr txBox="1"/>
          <p:nvPr/>
        </p:nvSpPr>
        <p:spPr>
          <a:xfrm>
            <a:off x="3579178" y="1753964"/>
            <a:ext cx="2223918" cy="392709"/>
          </a:xfrm>
          <a:prstGeom prst="rect">
            <a:avLst/>
          </a:prstGeom>
          <a:noFill/>
        </p:spPr>
        <p:txBody>
          <a:bodyPr wrap="square" lIns="0" tIns="0" rIns="0" bIns="0" rtlCol="0" anchor="ctr" anchorCtr="0">
            <a:noAutofit/>
          </a:bodyPr>
          <a:lstStyle/>
          <a:p>
            <a:pPr algn="ctr"/>
            <a:r>
              <a:rPr lang="en-US" sz="1100" dirty="0">
                <a:solidFill>
                  <a:srgbClr val="FFFFFF"/>
                </a:solidFill>
                <a:cs typeface="Segoe UI" pitchFamily="34" charset="0"/>
              </a:rPr>
              <a:t>Windows MultiPoint Server</a:t>
            </a:r>
          </a:p>
        </p:txBody>
      </p:sp>
      <p:sp>
        <p:nvSpPr>
          <p:cNvPr id="114" name="Rectangle 113"/>
          <p:cNvSpPr/>
          <p:nvPr/>
        </p:nvSpPr>
        <p:spPr bwMode="auto">
          <a:xfrm>
            <a:off x="4072343" y="1134211"/>
            <a:ext cx="718185" cy="459947"/>
          </a:xfrm>
          <a:prstGeom prst="rect">
            <a:avLst/>
          </a:prstGeom>
          <a:gradFill>
            <a:gsLst>
              <a:gs pos="0">
                <a:schemeClr val="tx2">
                  <a:lumMod val="50000"/>
                </a:schemeClr>
              </a:gs>
              <a:gs pos="80000">
                <a:schemeClr val="tx2"/>
              </a:gs>
              <a:gs pos="100000">
                <a:schemeClr val="tx2"/>
              </a:gs>
            </a:gsLst>
          </a:gradFill>
          <a:ln>
            <a:solidFill>
              <a:schemeClr val="tx2"/>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alpha val="99000"/>
                </a:srgbClr>
              </a:solidFill>
            </a:endParaRPr>
          </a:p>
        </p:txBody>
      </p:sp>
      <p:pic>
        <p:nvPicPr>
          <p:cNvPr id="115" name="Picture 114" descr="HP_CPU.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996232" y="1114559"/>
            <a:ext cx="289095" cy="736119"/>
          </a:xfrm>
          <a:prstGeom prst="rect">
            <a:avLst/>
          </a:prstGeom>
        </p:spPr>
      </p:pic>
      <p:pic>
        <p:nvPicPr>
          <p:cNvPr id="116" name="Picture 115" descr="Keyboard.png"/>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067144" y="1738949"/>
            <a:ext cx="702144" cy="89971"/>
          </a:xfrm>
          <a:prstGeom prst="rect">
            <a:avLst/>
          </a:prstGeom>
        </p:spPr>
      </p:pic>
      <p:pic>
        <p:nvPicPr>
          <p:cNvPr id="117" name="Picture 116" descr="Mouse.png"/>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790526" y="1748943"/>
            <a:ext cx="79909" cy="72850"/>
          </a:xfrm>
          <a:prstGeom prst="rect">
            <a:avLst/>
          </a:prstGeom>
        </p:spPr>
      </p:pic>
      <p:pic>
        <p:nvPicPr>
          <p:cNvPr id="118" name="Picture 117" descr="HP_Monitor.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046175" y="1114560"/>
            <a:ext cx="779256" cy="597076"/>
          </a:xfrm>
          <a:prstGeom prst="rect">
            <a:avLst/>
          </a:prstGeom>
        </p:spPr>
      </p:pic>
      <p:sp>
        <p:nvSpPr>
          <p:cNvPr id="119" name="Rectangle 118"/>
          <p:cNvSpPr/>
          <p:nvPr/>
        </p:nvSpPr>
        <p:spPr>
          <a:xfrm>
            <a:off x="363787" y="4226253"/>
            <a:ext cx="8416429" cy="288539"/>
          </a:xfrm>
          <a:prstGeom prst="rect">
            <a:avLst/>
          </a:prstGeom>
        </p:spPr>
        <p:txBody>
          <a:bodyPr wrap="square" lIns="68586" tIns="34294" rIns="68586" bIns="34294">
            <a:spAutoFit/>
          </a:bodyPr>
          <a:lstStyle/>
          <a:p>
            <a:pPr algn="ctr" defTabSz="685637"/>
            <a:r>
              <a:rPr lang="en-US" dirty="0">
                <a:solidFill>
                  <a:srgbClr val="FFFFFF">
                    <a:alpha val="99000"/>
                  </a:srgbClr>
                </a:solidFill>
              </a:rPr>
              <a:t>Windows MultiPoint Server </a:t>
            </a:r>
            <a:r>
              <a:rPr lang="en-US" dirty="0" smtClean="0">
                <a:solidFill>
                  <a:srgbClr val="FFFFFF">
                    <a:alpha val="99000"/>
                  </a:srgbClr>
                </a:solidFill>
              </a:rPr>
              <a:t>2012 enables multiple </a:t>
            </a:r>
            <a:r>
              <a:rPr lang="en-US" dirty="0">
                <a:solidFill>
                  <a:srgbClr val="FFFFFF">
                    <a:alpha val="99000"/>
                  </a:srgbClr>
                </a:solidFill>
              </a:rPr>
              <a:t>users to simultaneously share one computer. </a:t>
            </a:r>
          </a:p>
        </p:txBody>
      </p:sp>
      <p:sp>
        <p:nvSpPr>
          <p:cNvPr id="50"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51"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8"/>
              </a:rPr>
              <a:t>www.rapidbbs.cn</a:t>
            </a:r>
            <a:endParaRPr lang="zh-CN" altLang="en-US" sz="1200" b="0">
              <a:latin typeface="Arial" charset="0"/>
              <a:ea typeface="ＭＳ Ｐゴシック" pitchFamily="34" charset="-128"/>
            </a:endParaRPr>
          </a:p>
        </p:txBody>
      </p:sp>
      <p:pic>
        <p:nvPicPr>
          <p:cNvPr id="53" name="Picture 2">
            <a:hlinkClick r:id="rId8"/>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23833263"/>
      </p:ext>
    </p:extLst>
  </p:cSld>
  <p:clrMapOvr>
    <a:masterClrMapping/>
  </p:clrMapOvr>
  <p:transition>
    <p:fade/>
  </p:transition>
  <p:timing>
    <p:tnLst>
      <p:par>
        <p:cTn id="1" dur="indefinite" restart="never" nodeType="tmRoot"/>
      </p:par>
    </p:tnLst>
  </p:timing>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89436" y="171451"/>
            <a:ext cx="8363938" cy="457049"/>
          </a:xfrm>
        </p:spPr>
        <p:txBody>
          <a:bodyPr/>
          <a:lstStyle/>
          <a:p>
            <a:r>
              <a:rPr lang="en-US" dirty="0" smtClean="0"/>
              <a:t>Windows MultiPoint Server 2012</a:t>
            </a:r>
            <a:endParaRPr lang="en-US" dirty="0"/>
          </a:p>
        </p:txBody>
      </p:sp>
      <p:sp>
        <p:nvSpPr>
          <p:cNvPr id="2" name="Slide Number Placeholder 1"/>
          <p:cNvSpPr>
            <a:spLocks noGrp="1"/>
          </p:cNvSpPr>
          <p:nvPr>
            <p:ph type="sldNum" sz="quarter" idx="4294967295"/>
          </p:nvPr>
        </p:nvSpPr>
        <p:spPr>
          <a:xfrm>
            <a:off x="0" y="4767264"/>
            <a:ext cx="615714" cy="273844"/>
          </a:xfrm>
          <a:prstGeom prst="rect">
            <a:avLst/>
          </a:prstGeom>
        </p:spPr>
        <p:txBody>
          <a:bodyPr lIns="68586" tIns="34294" rIns="68586" bIns="34294"/>
          <a:lstStyle/>
          <a:p>
            <a:fld id="{0590FCCE-F429-4CA2-926D-5449EA971780}" type="slidenum">
              <a:rPr lang="en-US" smtClean="0">
                <a:solidFill>
                  <a:srgbClr val="FFFFFF"/>
                </a:solidFill>
              </a:rPr>
              <a:pPr/>
              <a:t>364</a:t>
            </a:fld>
            <a:endParaRPr lang="en-US">
              <a:solidFill>
                <a:srgbClr val="FFFFFF"/>
              </a:solidFill>
            </a:endParaRPr>
          </a:p>
        </p:txBody>
      </p:sp>
      <p:sp>
        <p:nvSpPr>
          <p:cNvPr id="108" name="Rounded Rectangle 107"/>
          <p:cNvSpPr/>
          <p:nvPr/>
        </p:nvSpPr>
        <p:spPr bwMode="auto">
          <a:xfrm>
            <a:off x="3663538" y="958364"/>
            <a:ext cx="1966684" cy="1179517"/>
          </a:xfrm>
          <a:prstGeom prst="roundRect">
            <a:avLst/>
          </a:prstGeom>
          <a:solidFill>
            <a:schemeClr val="tx2">
              <a:alpha val="49020"/>
            </a:schemeClr>
          </a:solidFill>
          <a:ln>
            <a:solidFill>
              <a:schemeClr val="tx2"/>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alpha val="99000"/>
                </a:srgbClr>
              </a:solidFill>
            </a:endParaRPr>
          </a:p>
        </p:txBody>
      </p:sp>
      <p:sp>
        <p:nvSpPr>
          <p:cNvPr id="112" name="TextBox 111"/>
          <p:cNvSpPr txBox="1"/>
          <p:nvPr/>
        </p:nvSpPr>
        <p:spPr>
          <a:xfrm>
            <a:off x="3579178" y="1753964"/>
            <a:ext cx="2223918" cy="392709"/>
          </a:xfrm>
          <a:prstGeom prst="rect">
            <a:avLst/>
          </a:prstGeom>
          <a:noFill/>
        </p:spPr>
        <p:txBody>
          <a:bodyPr wrap="square" lIns="0" tIns="0" rIns="0" bIns="0" rtlCol="0" anchor="ctr" anchorCtr="0">
            <a:noAutofit/>
          </a:bodyPr>
          <a:lstStyle/>
          <a:p>
            <a:pPr algn="ctr"/>
            <a:r>
              <a:rPr lang="en-US" sz="1100" dirty="0">
                <a:solidFill>
                  <a:srgbClr val="FFFFFF"/>
                </a:solidFill>
                <a:cs typeface="Segoe UI" pitchFamily="34" charset="0"/>
              </a:rPr>
              <a:t>Windows MultiPoint Server</a:t>
            </a:r>
          </a:p>
        </p:txBody>
      </p:sp>
      <p:sp>
        <p:nvSpPr>
          <p:cNvPr id="114" name="Rectangle 113"/>
          <p:cNvSpPr/>
          <p:nvPr/>
        </p:nvSpPr>
        <p:spPr bwMode="auto">
          <a:xfrm>
            <a:off x="4072343" y="1134211"/>
            <a:ext cx="718185" cy="459947"/>
          </a:xfrm>
          <a:prstGeom prst="rect">
            <a:avLst/>
          </a:prstGeom>
          <a:gradFill>
            <a:gsLst>
              <a:gs pos="0">
                <a:schemeClr val="tx2">
                  <a:lumMod val="50000"/>
                </a:schemeClr>
              </a:gs>
              <a:gs pos="80000">
                <a:schemeClr val="tx2"/>
              </a:gs>
              <a:gs pos="100000">
                <a:schemeClr val="tx2"/>
              </a:gs>
            </a:gsLst>
          </a:gradFill>
          <a:ln>
            <a:solidFill>
              <a:schemeClr val="tx2"/>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alpha val="99000"/>
                </a:srgbClr>
              </a:solidFill>
            </a:endParaRPr>
          </a:p>
        </p:txBody>
      </p:sp>
      <p:pic>
        <p:nvPicPr>
          <p:cNvPr id="115" name="Picture 114" descr="HP_CPU.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96232" y="1114559"/>
            <a:ext cx="289095" cy="736119"/>
          </a:xfrm>
          <a:prstGeom prst="rect">
            <a:avLst/>
          </a:prstGeom>
        </p:spPr>
      </p:pic>
      <p:pic>
        <p:nvPicPr>
          <p:cNvPr id="116" name="Picture 115" descr="Keyboard.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067144" y="1738949"/>
            <a:ext cx="702144" cy="89971"/>
          </a:xfrm>
          <a:prstGeom prst="rect">
            <a:avLst/>
          </a:prstGeom>
        </p:spPr>
      </p:pic>
      <p:pic>
        <p:nvPicPr>
          <p:cNvPr id="117" name="Picture 116" descr="Mouse.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790526" y="1748943"/>
            <a:ext cx="79909" cy="72850"/>
          </a:xfrm>
          <a:prstGeom prst="rect">
            <a:avLst/>
          </a:prstGeom>
        </p:spPr>
      </p:pic>
      <p:pic>
        <p:nvPicPr>
          <p:cNvPr id="118" name="Picture 117" descr="HP_Monitor.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046175" y="1114560"/>
            <a:ext cx="779256" cy="597076"/>
          </a:xfrm>
          <a:prstGeom prst="rect">
            <a:avLst/>
          </a:prstGeom>
        </p:spPr>
      </p:pic>
      <p:pic>
        <p:nvPicPr>
          <p:cNvPr id="50" name="Picture 49" descr="graphicsAdapter.png"/>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709102" y="1528429"/>
            <a:ext cx="133987" cy="441026"/>
          </a:xfrm>
          <a:prstGeom prst="rect">
            <a:avLst/>
          </a:prstGeom>
        </p:spPr>
      </p:pic>
      <p:sp>
        <p:nvSpPr>
          <p:cNvPr id="53" name="Rectangle 52"/>
          <p:cNvSpPr/>
          <p:nvPr/>
        </p:nvSpPr>
        <p:spPr bwMode="auto">
          <a:xfrm>
            <a:off x="5905188" y="4092594"/>
            <a:ext cx="2296731" cy="623248"/>
          </a:xfrm>
          <a:prstGeom prst="rect">
            <a:avLst/>
          </a:prstGeom>
          <a:no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3" tIns="102880" rIns="68583" bIns="102880" numCol="1" rtlCol="0" anchor="t" anchorCtr="0" compatLnSpc="1">
            <a:prstTxWarp prst="textNoShape">
              <a:avLst/>
            </a:prstTxWarp>
            <a:spAutoFit/>
          </a:bodyPr>
          <a:lstStyle/>
          <a:p>
            <a:pPr marL="214332" indent="-214332">
              <a:lnSpc>
                <a:spcPct val="90000"/>
              </a:lnSpc>
              <a:spcBef>
                <a:spcPct val="20000"/>
              </a:spcBef>
              <a:buSzPct val="90000"/>
              <a:buFont typeface="Wingdings" pitchFamily="2" charset="2"/>
              <a:buChar char="Ø"/>
            </a:pPr>
            <a:r>
              <a:rPr lang="en-US" sz="1500" dirty="0">
                <a:gradFill>
                  <a:gsLst>
                    <a:gs pos="0">
                      <a:srgbClr val="FFFFFF"/>
                    </a:gs>
                    <a:gs pos="100000">
                      <a:srgbClr val="FFFFFF"/>
                    </a:gs>
                  </a:gsLst>
                  <a:lin ang="5400000" scaled="0"/>
                </a:gradFill>
              </a:rPr>
              <a:t>Monitor and interact with student desktops</a:t>
            </a:r>
          </a:p>
        </p:txBody>
      </p:sp>
      <p:sp>
        <p:nvSpPr>
          <p:cNvPr id="54" name="Rectangle 53"/>
          <p:cNvSpPr/>
          <p:nvPr/>
        </p:nvSpPr>
        <p:spPr bwMode="auto">
          <a:xfrm>
            <a:off x="1409545" y="1144331"/>
            <a:ext cx="2169634" cy="983346"/>
          </a:xfrm>
          <a:prstGeom prst="rect">
            <a:avLst/>
          </a:prstGeom>
          <a:no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3" tIns="102880" rIns="68583" bIns="102880" numCol="1" rtlCol="0" anchor="t" anchorCtr="0" compatLnSpc="1">
            <a:prstTxWarp prst="textNoShape">
              <a:avLst/>
            </a:prstTxWarp>
            <a:spAutoFit/>
          </a:bodyPr>
          <a:lstStyle/>
          <a:p>
            <a:pPr>
              <a:lnSpc>
                <a:spcPct val="90000"/>
              </a:lnSpc>
              <a:spcBef>
                <a:spcPct val="20000"/>
              </a:spcBef>
              <a:buSzPct val="90000"/>
            </a:pPr>
            <a:r>
              <a:rPr lang="en-US" sz="1200" dirty="0">
                <a:gradFill>
                  <a:gsLst>
                    <a:gs pos="0">
                      <a:srgbClr val="FFFFFF"/>
                    </a:gs>
                    <a:gs pos="100000">
                      <a:srgbClr val="FFFFFF"/>
                    </a:gs>
                  </a:gsLst>
                  <a:lin ang="5400000" scaled="0"/>
                </a:gradFill>
              </a:rPr>
              <a:t>Built on: </a:t>
            </a:r>
          </a:p>
          <a:p>
            <a:pPr>
              <a:lnSpc>
                <a:spcPct val="90000"/>
              </a:lnSpc>
              <a:spcBef>
                <a:spcPct val="20000"/>
              </a:spcBef>
              <a:buSzPct val="90000"/>
            </a:pPr>
            <a:r>
              <a:rPr lang="en-US" sz="1200" dirty="0">
                <a:gradFill>
                  <a:gsLst>
                    <a:gs pos="0">
                      <a:srgbClr val="FFFFFF"/>
                    </a:gs>
                    <a:gs pos="100000">
                      <a:srgbClr val="FFFFFF"/>
                    </a:gs>
                  </a:gsLst>
                  <a:lin ang="5400000" scaled="0"/>
                </a:gradFill>
              </a:rPr>
              <a:t>Windows Server 2012</a:t>
            </a:r>
          </a:p>
          <a:p>
            <a:pPr>
              <a:lnSpc>
                <a:spcPct val="90000"/>
              </a:lnSpc>
              <a:spcBef>
                <a:spcPct val="20000"/>
              </a:spcBef>
              <a:buSzPct val="90000"/>
            </a:pPr>
            <a:r>
              <a:rPr lang="en-US" sz="1200" dirty="0">
                <a:gradFill>
                  <a:gsLst>
                    <a:gs pos="0">
                      <a:srgbClr val="FFFFFF"/>
                    </a:gs>
                    <a:gs pos="100000">
                      <a:srgbClr val="FFFFFF"/>
                    </a:gs>
                  </a:gsLst>
                  <a:lin ang="5400000" scaled="0"/>
                </a:gradFill>
              </a:rPr>
              <a:t>Remote Desktop Services </a:t>
            </a:r>
          </a:p>
          <a:p>
            <a:pPr>
              <a:lnSpc>
                <a:spcPct val="90000"/>
              </a:lnSpc>
              <a:spcBef>
                <a:spcPct val="20000"/>
              </a:spcBef>
              <a:buSzPct val="90000"/>
            </a:pPr>
            <a:r>
              <a:rPr lang="en-US" sz="1200" dirty="0">
                <a:gradFill>
                  <a:gsLst>
                    <a:gs pos="0">
                      <a:srgbClr val="FFFFFF"/>
                    </a:gs>
                    <a:gs pos="100000">
                      <a:srgbClr val="FFFFFF"/>
                    </a:gs>
                  </a:gsLst>
                  <a:lin ang="5400000" scaled="0"/>
                </a:gradFill>
              </a:rPr>
              <a:t>and Hyper-V Roles</a:t>
            </a:r>
          </a:p>
        </p:txBody>
      </p:sp>
      <p:sp>
        <p:nvSpPr>
          <p:cNvPr id="55" name="Rectangle 54"/>
          <p:cNvSpPr/>
          <p:nvPr/>
        </p:nvSpPr>
        <p:spPr bwMode="auto">
          <a:xfrm>
            <a:off x="390075" y="4092594"/>
            <a:ext cx="2507765" cy="623248"/>
          </a:xfrm>
          <a:prstGeom prst="rect">
            <a:avLst/>
          </a:prstGeom>
          <a:no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3" tIns="102880" rIns="68583" bIns="102880" numCol="1" rtlCol="0" anchor="t" anchorCtr="0" compatLnSpc="1">
            <a:prstTxWarp prst="textNoShape">
              <a:avLst/>
            </a:prstTxWarp>
            <a:spAutoFit/>
          </a:bodyPr>
          <a:lstStyle/>
          <a:p>
            <a:pPr marL="214332" indent="-214332">
              <a:lnSpc>
                <a:spcPct val="90000"/>
              </a:lnSpc>
              <a:spcBef>
                <a:spcPct val="20000"/>
              </a:spcBef>
              <a:buSzPct val="90000"/>
              <a:buFont typeface="Wingdings" pitchFamily="2" charset="2"/>
              <a:buChar char="Ø"/>
            </a:pPr>
            <a:r>
              <a:rPr lang="en-US" sz="1500" dirty="0">
                <a:gradFill>
                  <a:gsLst>
                    <a:gs pos="0">
                      <a:srgbClr val="FFFFFF"/>
                    </a:gs>
                    <a:gs pos="100000">
                      <a:srgbClr val="FFFFFF"/>
                    </a:gs>
                  </a:gsLst>
                  <a:lin ang="5400000" scaled="0"/>
                </a:gradFill>
              </a:rPr>
              <a:t>Connect local stations and LAN thin clients</a:t>
            </a:r>
          </a:p>
        </p:txBody>
      </p:sp>
      <p:sp>
        <p:nvSpPr>
          <p:cNvPr id="56" name="Rectangle 55"/>
          <p:cNvSpPr/>
          <p:nvPr/>
        </p:nvSpPr>
        <p:spPr bwMode="auto">
          <a:xfrm>
            <a:off x="2982517" y="4097100"/>
            <a:ext cx="2647706" cy="623248"/>
          </a:xfrm>
          <a:prstGeom prst="rect">
            <a:avLst/>
          </a:prstGeom>
          <a:no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3" tIns="102880" rIns="68583" bIns="102880" numCol="1" rtlCol="0" anchor="t" anchorCtr="0" compatLnSpc="1">
            <a:prstTxWarp prst="textNoShape">
              <a:avLst/>
            </a:prstTxWarp>
            <a:spAutoFit/>
          </a:bodyPr>
          <a:lstStyle/>
          <a:p>
            <a:pPr marL="214332" indent="-214332">
              <a:lnSpc>
                <a:spcPct val="90000"/>
              </a:lnSpc>
              <a:spcBef>
                <a:spcPct val="20000"/>
              </a:spcBef>
              <a:buSzPct val="90000"/>
              <a:buFont typeface="Wingdings" pitchFamily="2" charset="2"/>
              <a:buChar char="Ø"/>
            </a:pPr>
            <a:r>
              <a:rPr lang="en-US" sz="1500" dirty="0">
                <a:gradFill>
                  <a:gsLst>
                    <a:gs pos="0">
                      <a:srgbClr val="FFFFFF"/>
                    </a:gs>
                    <a:gs pos="100000">
                      <a:srgbClr val="FFFFFF"/>
                    </a:gs>
                  </a:gsLst>
                  <a:lin ang="5400000" scaled="0"/>
                </a:gradFill>
              </a:rPr>
              <a:t>Simplified setup and admin for the non-IT Pro</a:t>
            </a:r>
          </a:p>
        </p:txBody>
      </p:sp>
      <p:grpSp>
        <p:nvGrpSpPr>
          <p:cNvPr id="57" name="Group 56"/>
          <p:cNvGrpSpPr/>
          <p:nvPr/>
        </p:nvGrpSpPr>
        <p:grpSpPr>
          <a:xfrm>
            <a:off x="2024778" y="2998598"/>
            <a:ext cx="873062" cy="740387"/>
            <a:chOff x="1004242" y="4326370"/>
            <a:chExt cx="1163780" cy="987183"/>
          </a:xfrm>
        </p:grpSpPr>
        <p:sp>
          <p:nvSpPr>
            <p:cNvPr id="58" name="Rectangle 57"/>
            <p:cNvSpPr/>
            <p:nvPr/>
          </p:nvSpPr>
          <p:spPr bwMode="auto">
            <a:xfrm>
              <a:off x="1074580" y="4326370"/>
              <a:ext cx="984307" cy="609045"/>
            </a:xfrm>
            <a:prstGeom prst="rect">
              <a:avLst/>
            </a:prstGeom>
            <a:gradFill>
              <a:gsLst>
                <a:gs pos="0">
                  <a:schemeClr val="tx2">
                    <a:lumMod val="50000"/>
                  </a:schemeClr>
                </a:gs>
                <a:gs pos="80000">
                  <a:schemeClr val="tx2"/>
                </a:gs>
                <a:gs pos="100000">
                  <a:schemeClr val="tx2"/>
                </a:gs>
              </a:gsLst>
            </a:gra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9000"/>
                  </a:srgbClr>
                </a:solidFill>
              </a:endParaRPr>
            </a:p>
          </p:txBody>
        </p:sp>
        <p:pic>
          <p:nvPicPr>
            <p:cNvPr id="59" name="Picture 58" descr="Keyboard.png"/>
            <p:cNvPicPr>
              <a:picLocks/>
            </p:cNvPicPr>
            <p:nvPr/>
          </p:nvPicPr>
          <p:blipFill>
            <a:blip r:embed="rId7" cstate="screen">
              <a:extLst>
                <a:ext uri="{28A0092B-C50C-407E-A947-70E740481C1C}">
                  <a14:useLocalDpi xmlns:a14="http://schemas.microsoft.com/office/drawing/2010/main"/>
                </a:ext>
              </a:extLst>
            </a:blip>
            <a:stretch>
              <a:fillRect/>
            </a:stretch>
          </p:blipFill>
          <p:spPr>
            <a:xfrm>
              <a:off x="1109718" y="5179057"/>
              <a:ext cx="958959" cy="134496"/>
            </a:xfrm>
            <a:prstGeom prst="rect">
              <a:avLst/>
            </a:prstGeom>
          </p:spPr>
        </p:pic>
        <p:pic>
          <p:nvPicPr>
            <p:cNvPr id="60" name="Picture 59" descr="Mouse.png"/>
            <p:cNvPicPr>
              <a:picLocks/>
            </p:cNvPicPr>
            <p:nvPr/>
          </p:nvPicPr>
          <p:blipFill>
            <a:blip r:embed="rId8" cstate="screen">
              <a:extLst>
                <a:ext uri="{28A0092B-C50C-407E-A947-70E740481C1C}">
                  <a14:useLocalDpi xmlns:a14="http://schemas.microsoft.com/office/drawing/2010/main"/>
                </a:ext>
              </a:extLst>
            </a:blip>
            <a:stretch>
              <a:fillRect/>
            </a:stretch>
          </p:blipFill>
          <p:spPr>
            <a:xfrm>
              <a:off x="2058886" y="5159270"/>
              <a:ext cx="109136" cy="107137"/>
            </a:xfrm>
            <a:prstGeom prst="rect">
              <a:avLst/>
            </a:prstGeom>
          </p:spPr>
        </p:pic>
        <p:pic>
          <p:nvPicPr>
            <p:cNvPr id="61" name="Picture 60" descr="HP_Monitor.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41093" y="4326370"/>
              <a:ext cx="1038738" cy="796101"/>
            </a:xfrm>
            <a:prstGeom prst="rect">
              <a:avLst/>
            </a:prstGeom>
          </p:spPr>
        </p:pic>
        <p:sp>
          <p:nvSpPr>
            <p:cNvPr id="62" name="TextBox 61"/>
            <p:cNvSpPr txBox="1"/>
            <p:nvPr/>
          </p:nvSpPr>
          <p:spPr>
            <a:xfrm>
              <a:off x="1004242" y="4365909"/>
              <a:ext cx="1093442" cy="566991"/>
            </a:xfrm>
            <a:prstGeom prst="rect">
              <a:avLst/>
            </a:prstGeom>
            <a:noFill/>
          </p:spPr>
          <p:txBody>
            <a:bodyPr wrap="square" lIns="0" tIns="0" rIns="0" bIns="0" rtlCol="0" anchor="ctr" anchorCtr="0">
              <a:noAutofit/>
            </a:bodyPr>
            <a:lstStyle/>
            <a:p>
              <a:pPr algn="ctr"/>
              <a:r>
                <a:rPr lang="en-US" sz="900" dirty="0">
                  <a:solidFill>
                    <a:srgbClr val="FFFFFF"/>
                  </a:solidFill>
                  <a:cs typeface="Segoe UI" pitchFamily="34" charset="0"/>
                </a:rPr>
                <a:t>USB Video</a:t>
              </a:r>
            </a:p>
            <a:p>
              <a:pPr algn="ctr"/>
              <a:r>
                <a:rPr lang="en-US" sz="900" dirty="0">
                  <a:solidFill>
                    <a:srgbClr val="FFFFFF"/>
                  </a:solidFill>
                  <a:cs typeface="Segoe UI" pitchFamily="34" charset="0"/>
                </a:rPr>
                <a:t>Connect</a:t>
              </a:r>
            </a:p>
          </p:txBody>
        </p:sp>
      </p:grpSp>
      <p:sp>
        <p:nvSpPr>
          <p:cNvPr id="63" name="Rectangle 62"/>
          <p:cNvSpPr/>
          <p:nvPr/>
        </p:nvSpPr>
        <p:spPr bwMode="auto">
          <a:xfrm>
            <a:off x="3484673" y="2998596"/>
            <a:ext cx="738423" cy="456784"/>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alpha val="99000"/>
                </a:srgbClr>
              </a:solidFill>
            </a:endParaRPr>
          </a:p>
        </p:txBody>
      </p:sp>
      <p:pic>
        <p:nvPicPr>
          <p:cNvPr id="67" name="Picture 66" descr="Keyboard.png"/>
          <p:cNvPicPr>
            <a:picLocks/>
          </p:cNvPicPr>
          <p:nvPr/>
        </p:nvPicPr>
        <p:blipFill>
          <a:blip r:embed="rId7" cstate="screen">
            <a:extLst>
              <a:ext uri="{28A0092B-C50C-407E-A947-70E740481C1C}">
                <a14:useLocalDpi xmlns:a14="http://schemas.microsoft.com/office/drawing/2010/main"/>
              </a:ext>
            </a:extLst>
          </a:blip>
          <a:stretch>
            <a:fillRect/>
          </a:stretch>
        </p:blipFill>
        <p:spPr>
          <a:xfrm>
            <a:off x="3511034" y="3638111"/>
            <a:ext cx="719407" cy="100872"/>
          </a:xfrm>
          <a:prstGeom prst="rect">
            <a:avLst/>
          </a:prstGeom>
        </p:spPr>
      </p:pic>
      <p:pic>
        <p:nvPicPr>
          <p:cNvPr id="68" name="Picture 67" descr="Mouse.png"/>
          <p:cNvPicPr>
            <a:picLocks/>
          </p:cNvPicPr>
          <p:nvPr/>
        </p:nvPicPr>
        <p:blipFill>
          <a:blip r:embed="rId8" cstate="screen">
            <a:extLst>
              <a:ext uri="{28A0092B-C50C-407E-A947-70E740481C1C}">
                <a14:useLocalDpi xmlns:a14="http://schemas.microsoft.com/office/drawing/2010/main"/>
              </a:ext>
            </a:extLst>
          </a:blip>
          <a:stretch>
            <a:fillRect/>
          </a:stretch>
        </p:blipFill>
        <p:spPr>
          <a:xfrm>
            <a:off x="4223094" y="3623272"/>
            <a:ext cx="81873" cy="80353"/>
          </a:xfrm>
          <a:prstGeom prst="rect">
            <a:avLst/>
          </a:prstGeom>
        </p:spPr>
      </p:pic>
      <p:pic>
        <p:nvPicPr>
          <p:cNvPr id="69" name="Picture 68" descr="HP_Monitor.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459552" y="2998596"/>
            <a:ext cx="779256" cy="597076"/>
          </a:xfrm>
          <a:prstGeom prst="rect">
            <a:avLst/>
          </a:prstGeom>
        </p:spPr>
      </p:pic>
      <p:sp>
        <p:nvSpPr>
          <p:cNvPr id="72" name="TextBox 71"/>
          <p:cNvSpPr txBox="1"/>
          <p:nvPr/>
        </p:nvSpPr>
        <p:spPr>
          <a:xfrm>
            <a:off x="3432346" y="3028252"/>
            <a:ext cx="820295" cy="425243"/>
          </a:xfrm>
          <a:prstGeom prst="rect">
            <a:avLst/>
          </a:prstGeom>
          <a:noFill/>
        </p:spPr>
        <p:txBody>
          <a:bodyPr wrap="square" lIns="0" tIns="0" rIns="0" bIns="0" rtlCol="0" anchor="ctr" anchorCtr="0">
            <a:noAutofit/>
          </a:bodyPr>
          <a:lstStyle/>
          <a:p>
            <a:pPr algn="ctr"/>
            <a:r>
              <a:rPr lang="en-US" sz="900" dirty="0">
                <a:solidFill>
                  <a:srgbClr val="FFFFFF"/>
                </a:solidFill>
                <a:cs typeface="Segoe UI" pitchFamily="34" charset="0"/>
              </a:rPr>
              <a:t>Direct Video</a:t>
            </a:r>
          </a:p>
          <a:p>
            <a:pPr algn="ctr"/>
            <a:r>
              <a:rPr lang="en-US" sz="900" dirty="0">
                <a:solidFill>
                  <a:srgbClr val="FFFFFF"/>
                </a:solidFill>
                <a:cs typeface="Segoe UI" pitchFamily="34" charset="0"/>
              </a:rPr>
              <a:t>Connect</a:t>
            </a:r>
          </a:p>
        </p:txBody>
      </p:sp>
      <p:sp>
        <p:nvSpPr>
          <p:cNvPr id="73" name="Rectangle 72"/>
          <p:cNvSpPr/>
          <p:nvPr/>
        </p:nvSpPr>
        <p:spPr bwMode="auto">
          <a:xfrm>
            <a:off x="4891801" y="2998596"/>
            <a:ext cx="738423" cy="456784"/>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alpha val="99000"/>
                </a:srgbClr>
              </a:solidFill>
            </a:endParaRPr>
          </a:p>
        </p:txBody>
      </p:sp>
      <p:pic>
        <p:nvPicPr>
          <p:cNvPr id="74" name="Picture 73" descr="Keyboard.png"/>
          <p:cNvPicPr>
            <a:picLocks/>
          </p:cNvPicPr>
          <p:nvPr/>
        </p:nvPicPr>
        <p:blipFill>
          <a:blip r:embed="rId7" cstate="screen">
            <a:extLst>
              <a:ext uri="{28A0092B-C50C-407E-A947-70E740481C1C}">
                <a14:useLocalDpi xmlns:a14="http://schemas.microsoft.com/office/drawing/2010/main"/>
              </a:ext>
            </a:extLst>
          </a:blip>
          <a:stretch>
            <a:fillRect/>
          </a:stretch>
        </p:blipFill>
        <p:spPr>
          <a:xfrm>
            <a:off x="4918160" y="3638111"/>
            <a:ext cx="719407" cy="100872"/>
          </a:xfrm>
          <a:prstGeom prst="rect">
            <a:avLst/>
          </a:prstGeom>
        </p:spPr>
      </p:pic>
      <p:pic>
        <p:nvPicPr>
          <p:cNvPr id="75" name="Picture 74" descr="Mouse.png"/>
          <p:cNvPicPr>
            <a:picLocks/>
          </p:cNvPicPr>
          <p:nvPr/>
        </p:nvPicPr>
        <p:blipFill>
          <a:blip r:embed="rId8" cstate="screen">
            <a:extLst>
              <a:ext uri="{28A0092B-C50C-407E-A947-70E740481C1C}">
                <a14:useLocalDpi xmlns:a14="http://schemas.microsoft.com/office/drawing/2010/main"/>
              </a:ext>
            </a:extLst>
          </a:blip>
          <a:stretch>
            <a:fillRect/>
          </a:stretch>
        </p:blipFill>
        <p:spPr>
          <a:xfrm>
            <a:off x="5630222" y="3623272"/>
            <a:ext cx="81873" cy="80353"/>
          </a:xfrm>
          <a:prstGeom prst="rect">
            <a:avLst/>
          </a:prstGeom>
        </p:spPr>
      </p:pic>
      <p:pic>
        <p:nvPicPr>
          <p:cNvPr id="76" name="Picture 75" descr="HP_Monitor.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866678" y="2998596"/>
            <a:ext cx="779256" cy="597076"/>
          </a:xfrm>
          <a:prstGeom prst="rect">
            <a:avLst/>
          </a:prstGeom>
        </p:spPr>
      </p:pic>
      <p:sp>
        <p:nvSpPr>
          <p:cNvPr id="77" name="TextBox 76"/>
          <p:cNvSpPr txBox="1"/>
          <p:nvPr/>
        </p:nvSpPr>
        <p:spPr>
          <a:xfrm>
            <a:off x="4839032" y="3028252"/>
            <a:ext cx="820295" cy="425243"/>
          </a:xfrm>
          <a:prstGeom prst="rect">
            <a:avLst/>
          </a:prstGeom>
          <a:noFill/>
        </p:spPr>
        <p:txBody>
          <a:bodyPr wrap="square" lIns="0" tIns="0" rIns="0" bIns="0" rtlCol="0" anchor="ctr" anchorCtr="0">
            <a:noAutofit/>
          </a:bodyPr>
          <a:lstStyle/>
          <a:p>
            <a:pPr algn="ctr"/>
            <a:r>
              <a:rPr lang="en-US" sz="900" dirty="0">
                <a:solidFill>
                  <a:srgbClr val="FFFFFF"/>
                </a:solidFill>
                <a:cs typeface="Segoe UI" pitchFamily="34" charset="0"/>
              </a:rPr>
              <a:t>Repurposed</a:t>
            </a:r>
          </a:p>
          <a:p>
            <a:pPr algn="ctr"/>
            <a:r>
              <a:rPr lang="en-US" sz="900" dirty="0">
                <a:solidFill>
                  <a:srgbClr val="FFFFFF"/>
                </a:solidFill>
                <a:cs typeface="Segoe UI" pitchFamily="34" charset="0"/>
              </a:rPr>
              <a:t>PC/Laptop</a:t>
            </a:r>
          </a:p>
        </p:txBody>
      </p:sp>
      <p:sp>
        <p:nvSpPr>
          <p:cNvPr id="78" name="Rectangle 77"/>
          <p:cNvSpPr/>
          <p:nvPr/>
        </p:nvSpPr>
        <p:spPr bwMode="auto">
          <a:xfrm>
            <a:off x="6298928" y="2998596"/>
            <a:ext cx="738423" cy="456784"/>
          </a:xfrm>
          <a:prstGeom prst="rect">
            <a:avLst/>
          </a:prstGeom>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alpha val="99000"/>
                </a:srgbClr>
              </a:solidFill>
            </a:endParaRPr>
          </a:p>
        </p:txBody>
      </p:sp>
      <p:pic>
        <p:nvPicPr>
          <p:cNvPr id="79" name="Picture 78" descr="Keyboard.png"/>
          <p:cNvPicPr>
            <a:picLocks/>
          </p:cNvPicPr>
          <p:nvPr/>
        </p:nvPicPr>
        <p:blipFill>
          <a:blip r:embed="rId7" cstate="screen">
            <a:extLst>
              <a:ext uri="{28A0092B-C50C-407E-A947-70E740481C1C}">
                <a14:useLocalDpi xmlns:a14="http://schemas.microsoft.com/office/drawing/2010/main"/>
              </a:ext>
            </a:extLst>
          </a:blip>
          <a:stretch>
            <a:fillRect/>
          </a:stretch>
        </p:blipFill>
        <p:spPr>
          <a:xfrm>
            <a:off x="6325287" y="3638111"/>
            <a:ext cx="719407" cy="100872"/>
          </a:xfrm>
          <a:prstGeom prst="rect">
            <a:avLst/>
          </a:prstGeom>
        </p:spPr>
      </p:pic>
      <p:pic>
        <p:nvPicPr>
          <p:cNvPr id="81" name="Picture 80" descr="Mouse.png"/>
          <p:cNvPicPr>
            <a:picLocks/>
          </p:cNvPicPr>
          <p:nvPr/>
        </p:nvPicPr>
        <p:blipFill>
          <a:blip r:embed="rId8" cstate="screen">
            <a:extLst>
              <a:ext uri="{28A0092B-C50C-407E-A947-70E740481C1C}">
                <a14:useLocalDpi xmlns:a14="http://schemas.microsoft.com/office/drawing/2010/main"/>
              </a:ext>
            </a:extLst>
          </a:blip>
          <a:stretch>
            <a:fillRect/>
          </a:stretch>
        </p:blipFill>
        <p:spPr>
          <a:xfrm>
            <a:off x="7037350" y="3623272"/>
            <a:ext cx="81873" cy="80353"/>
          </a:xfrm>
          <a:prstGeom prst="rect">
            <a:avLst/>
          </a:prstGeom>
        </p:spPr>
      </p:pic>
      <p:pic>
        <p:nvPicPr>
          <p:cNvPr id="82" name="Picture 81" descr="HP_Monitor.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273805" y="2998596"/>
            <a:ext cx="779256" cy="597076"/>
          </a:xfrm>
          <a:prstGeom prst="rect">
            <a:avLst/>
          </a:prstGeom>
        </p:spPr>
      </p:pic>
      <p:sp>
        <p:nvSpPr>
          <p:cNvPr id="83" name="TextBox 82"/>
          <p:cNvSpPr txBox="1"/>
          <p:nvPr/>
        </p:nvSpPr>
        <p:spPr>
          <a:xfrm>
            <a:off x="6246160" y="3028252"/>
            <a:ext cx="820295" cy="425243"/>
          </a:xfrm>
          <a:prstGeom prst="rect">
            <a:avLst/>
          </a:prstGeom>
          <a:noFill/>
        </p:spPr>
        <p:txBody>
          <a:bodyPr wrap="square" lIns="0" tIns="0" rIns="0" bIns="0" rtlCol="0" anchor="ctr" anchorCtr="0">
            <a:noAutofit/>
          </a:bodyPr>
          <a:lstStyle/>
          <a:p>
            <a:pPr algn="ctr"/>
            <a:r>
              <a:rPr lang="en-US" sz="900" dirty="0">
                <a:solidFill>
                  <a:srgbClr val="FFFFFF"/>
                </a:solidFill>
                <a:cs typeface="Segoe UI" pitchFamily="34" charset="0"/>
              </a:rPr>
              <a:t>LAN Thin</a:t>
            </a:r>
          </a:p>
          <a:p>
            <a:pPr algn="ctr"/>
            <a:r>
              <a:rPr lang="en-US" sz="900" dirty="0">
                <a:solidFill>
                  <a:srgbClr val="FFFFFF"/>
                </a:solidFill>
                <a:cs typeface="Segoe UI" pitchFamily="34" charset="0"/>
              </a:rPr>
              <a:t>Client</a:t>
            </a:r>
          </a:p>
        </p:txBody>
      </p:sp>
      <p:cxnSp>
        <p:nvCxnSpPr>
          <p:cNvPr id="84" name="Straight Connector 83"/>
          <p:cNvCxnSpPr/>
          <p:nvPr/>
        </p:nvCxnSpPr>
        <p:spPr>
          <a:xfrm flipV="1">
            <a:off x="2463609" y="2400302"/>
            <a:ext cx="0" cy="536331"/>
          </a:xfrm>
          <a:prstGeom prst="line">
            <a:avLst/>
          </a:prstGeom>
          <a:ln w="28575" cmpd="dbl">
            <a:solidFill>
              <a:schemeClr val="tx1"/>
            </a:solidFill>
            <a:prstDash val="dash"/>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flipV="1">
            <a:off x="2463611" y="2338759"/>
            <a:ext cx="1683631" cy="2"/>
          </a:xfrm>
          <a:prstGeom prst="line">
            <a:avLst/>
          </a:prstGeom>
          <a:ln w="28575" cmpd="dbl">
            <a:solidFill>
              <a:schemeClr val="tx1"/>
            </a:solidFill>
            <a:prstDash val="dash"/>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flipV="1">
            <a:off x="4143367" y="2164257"/>
            <a:ext cx="0" cy="148126"/>
          </a:xfrm>
          <a:prstGeom prst="line">
            <a:avLst/>
          </a:prstGeom>
          <a:ln w="28575" cmpd="dbl">
            <a:solidFill>
              <a:schemeClr val="tx1"/>
            </a:solidFill>
            <a:prstDash val="dash"/>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V="1">
            <a:off x="3870736" y="2470640"/>
            <a:ext cx="0" cy="465993"/>
          </a:xfrm>
          <a:prstGeom prst="line">
            <a:avLst/>
          </a:prstGeom>
          <a:ln w="28575" cmpd="dbl">
            <a:solidFill>
              <a:schemeClr val="tx1"/>
            </a:solidFill>
            <a:prstDash val="dash"/>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flipV="1">
            <a:off x="3870737" y="2488228"/>
            <a:ext cx="403211" cy="2"/>
          </a:xfrm>
          <a:prstGeom prst="line">
            <a:avLst/>
          </a:prstGeom>
          <a:ln w="28575" cmpd="dbl">
            <a:solidFill>
              <a:schemeClr val="tx1"/>
            </a:solidFill>
            <a:prstDash val="dash"/>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flipV="1">
            <a:off x="4310464" y="2164258"/>
            <a:ext cx="0" cy="306389"/>
          </a:xfrm>
          <a:prstGeom prst="line">
            <a:avLst/>
          </a:prstGeom>
          <a:ln w="28575" cmpd="dbl">
            <a:solidFill>
              <a:schemeClr val="tx1"/>
            </a:solidFill>
            <a:prstDash val="dash"/>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flipV="1">
            <a:off x="5260274" y="2488226"/>
            <a:ext cx="0" cy="465993"/>
          </a:xfrm>
          <a:prstGeom prst="line">
            <a:avLst/>
          </a:prstGeom>
          <a:ln w="28575" cmpd="dbl">
            <a:solidFill>
              <a:schemeClr val="tx1"/>
            </a:solidFill>
            <a:prstDash val="dash"/>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flipV="1">
            <a:off x="6667400" y="2484491"/>
            <a:ext cx="738" cy="460494"/>
          </a:xfrm>
          <a:prstGeom prst="line">
            <a:avLst/>
          </a:prstGeom>
          <a:ln w="28575" cmpd="dbl">
            <a:solidFill>
              <a:schemeClr val="tx1"/>
            </a:solidFill>
            <a:prstDash val="dash"/>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5843089" y="2484493"/>
            <a:ext cx="836981" cy="1"/>
          </a:xfrm>
          <a:prstGeom prst="line">
            <a:avLst/>
          </a:prstGeom>
          <a:ln w="28575" cmpd="dbl">
            <a:solidFill>
              <a:schemeClr val="tx1"/>
            </a:solidFill>
            <a:prstDash val="dash"/>
            <a:miter lim="800000"/>
          </a:ln>
        </p:spPr>
        <p:style>
          <a:lnRef idx="1">
            <a:schemeClr val="accent1"/>
          </a:lnRef>
          <a:fillRef idx="0">
            <a:schemeClr val="accent1"/>
          </a:fillRef>
          <a:effectRef idx="0">
            <a:schemeClr val="accent1"/>
          </a:effectRef>
          <a:fontRef idx="minor">
            <a:schemeClr val="tx1"/>
          </a:fontRef>
        </p:style>
      </p:cxnSp>
      <p:pic>
        <p:nvPicPr>
          <p:cNvPr id="97" name="Picture 96"/>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120318" y="3131161"/>
            <a:ext cx="96089" cy="396871"/>
          </a:xfrm>
          <a:prstGeom prst="rect">
            <a:avLst/>
          </a:prstGeom>
          <a:effectLst>
            <a:reflection blurRad="6350" stA="52000" endA="300" endPos="35000" dir="5400000" sy="-100000" algn="bl" rotWithShape="0"/>
          </a:effectLst>
        </p:spPr>
      </p:pic>
      <p:cxnSp>
        <p:nvCxnSpPr>
          <p:cNvPr id="98" name="Straight Connector 97"/>
          <p:cNvCxnSpPr/>
          <p:nvPr/>
        </p:nvCxnSpPr>
        <p:spPr>
          <a:xfrm flipV="1">
            <a:off x="5254128" y="2482513"/>
            <a:ext cx="403211" cy="2"/>
          </a:xfrm>
          <a:prstGeom prst="line">
            <a:avLst/>
          </a:prstGeom>
          <a:ln w="28575" cmpd="dbl">
            <a:solidFill>
              <a:schemeClr val="tx1"/>
            </a:solidFill>
            <a:prstDash val="dash"/>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flipV="1">
            <a:off x="5693854" y="1993949"/>
            <a:ext cx="7080" cy="470982"/>
          </a:xfrm>
          <a:prstGeom prst="line">
            <a:avLst/>
          </a:prstGeom>
          <a:ln w="28575" cmpd="dbl">
            <a:solidFill>
              <a:schemeClr val="tx1"/>
            </a:solidFill>
            <a:prstDash val="dash"/>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flipV="1">
            <a:off x="5808184" y="1996806"/>
            <a:ext cx="7080" cy="470982"/>
          </a:xfrm>
          <a:prstGeom prst="line">
            <a:avLst/>
          </a:prstGeom>
          <a:ln w="28575" cmpd="dbl">
            <a:solidFill>
              <a:schemeClr val="tx1"/>
            </a:solidFill>
            <a:prstDash val="dash"/>
            <a:miter lim="800000"/>
          </a:ln>
        </p:spPr>
        <p:style>
          <a:lnRef idx="1">
            <a:schemeClr val="accent1"/>
          </a:lnRef>
          <a:fillRef idx="0">
            <a:schemeClr val="accent1"/>
          </a:fillRef>
          <a:effectRef idx="0">
            <a:schemeClr val="accent1"/>
          </a:effectRef>
          <a:fontRef idx="minor">
            <a:schemeClr val="tx1"/>
          </a:fontRef>
        </p:style>
      </p:cxnSp>
      <p:sp>
        <p:nvSpPr>
          <p:cNvPr id="51"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52"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0"/>
              </a:rPr>
              <a:t>www.rapidbbs.cn</a:t>
            </a:r>
            <a:endParaRPr lang="zh-CN" altLang="en-US" sz="1200" b="0">
              <a:latin typeface="Arial" charset="0"/>
              <a:ea typeface="ＭＳ Ｐゴシック" pitchFamily="34" charset="-128"/>
            </a:endParaRPr>
          </a:p>
        </p:txBody>
      </p:sp>
      <p:pic>
        <p:nvPicPr>
          <p:cNvPr id="64" name="Picture 2">
            <a:hlinkClick r:id="rId10"/>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122262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fade">
                                      <p:cBhvr>
                                        <p:cTn id="7" dur="500"/>
                                        <p:tgtEl>
                                          <p:spTgt spid="5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6"/>
                                        </p:tgtEl>
                                        <p:attrNameLst>
                                          <p:attrName>style.visibility</p:attrName>
                                        </p:attrNameLst>
                                      </p:cBhvr>
                                      <p:to>
                                        <p:strVal val="visible"/>
                                      </p:to>
                                    </p:set>
                                    <p:animEffect transition="in" filter="fade">
                                      <p:cBhvr>
                                        <p:cTn id="12" dur="500"/>
                                        <p:tgtEl>
                                          <p:spTgt spid="5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3"/>
                                        </p:tgtEl>
                                        <p:attrNameLst>
                                          <p:attrName>style.visibility</p:attrName>
                                        </p:attrNameLst>
                                      </p:cBhvr>
                                      <p:to>
                                        <p:strVal val="visible"/>
                                      </p:to>
                                    </p:set>
                                    <p:animEffect transition="in" filter="fade">
                                      <p:cBhvr>
                                        <p:cTn id="17"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p:bldP spid="55" grpId="0"/>
      <p:bldP spid="56" grpId="0"/>
    </p:bldLst>
  </p:timing>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Key Feature Summary</a:t>
            </a:r>
            <a:endParaRPr lang="en-US" dirty="0"/>
          </a:p>
        </p:txBody>
      </p:sp>
      <p:sp>
        <p:nvSpPr>
          <p:cNvPr id="2" name="Slide Number Placeholder 1"/>
          <p:cNvSpPr>
            <a:spLocks noGrp="1"/>
          </p:cNvSpPr>
          <p:nvPr>
            <p:ph type="sldNum" sz="quarter" idx="4294967295"/>
          </p:nvPr>
        </p:nvSpPr>
        <p:spPr>
          <a:xfrm>
            <a:off x="0" y="4767264"/>
            <a:ext cx="615714" cy="273844"/>
          </a:xfrm>
          <a:prstGeom prst="rect">
            <a:avLst/>
          </a:prstGeom>
        </p:spPr>
        <p:txBody>
          <a:bodyPr lIns="68586" tIns="34294" rIns="68586" bIns="34294"/>
          <a:lstStyle/>
          <a:p>
            <a:fld id="{0590FCCE-F429-4CA2-926D-5449EA971780}" type="slidenum">
              <a:rPr lang="en-US" smtClean="0">
                <a:solidFill>
                  <a:srgbClr val="FFFFFF"/>
                </a:solidFill>
              </a:rPr>
              <a:pPr/>
              <a:t>365</a:t>
            </a:fld>
            <a:endParaRPr lang="en-US">
              <a:solidFill>
                <a:srgbClr val="FFFFFF"/>
              </a:solidFill>
            </a:endParaRPr>
          </a:p>
        </p:txBody>
      </p:sp>
      <p:grpSp>
        <p:nvGrpSpPr>
          <p:cNvPr id="92" name="Group 91"/>
          <p:cNvGrpSpPr/>
          <p:nvPr/>
        </p:nvGrpSpPr>
        <p:grpSpPr>
          <a:xfrm>
            <a:off x="953123" y="2032001"/>
            <a:ext cx="6688890" cy="2840423"/>
            <a:chOff x="98996" y="1592799"/>
            <a:chExt cx="8511615" cy="3615383"/>
          </a:xfrm>
        </p:grpSpPr>
        <p:grpSp>
          <p:nvGrpSpPr>
            <p:cNvPr id="52" name="Group 51"/>
            <p:cNvGrpSpPr/>
            <p:nvPr/>
          </p:nvGrpSpPr>
          <p:grpSpPr>
            <a:xfrm>
              <a:off x="4366201" y="1592799"/>
              <a:ext cx="4244409" cy="1268624"/>
              <a:chOff x="4343400" y="1779378"/>
              <a:chExt cx="4244404" cy="1268622"/>
            </a:xfrm>
          </p:grpSpPr>
          <p:sp>
            <p:nvSpPr>
              <p:cNvPr id="55" name="Snip and Round Single Corner Rectangle 54"/>
              <p:cNvSpPr/>
              <p:nvPr/>
            </p:nvSpPr>
            <p:spPr>
              <a:xfrm>
                <a:off x="4714578" y="2008235"/>
                <a:ext cx="3873226" cy="1039765"/>
              </a:xfrm>
              <a:prstGeom prst="snipRoundRect">
                <a:avLst>
                  <a:gd name="adj1" fmla="val 4901"/>
                  <a:gd name="adj2" fmla="val 5685"/>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path path="circle">
                  <a:fillToRect l="100000" t="100000"/>
                </a:path>
                <a:tileRect r="-100000" b="-100000"/>
              </a:gradFill>
              <a:effectLst>
                <a:outerShdw blurRad="50800" dist="38100" dir="8100000" algn="tr" rotWithShape="0">
                  <a:prstClr val="black">
                    <a:alpha val="40000"/>
                  </a:prstClr>
                </a:outerShdw>
              </a:effectLst>
            </p:spPr>
            <p:txBody>
              <a:bodyPr lIns="731520" rtlCol="0" anchor="ctr">
                <a:noAutofit/>
              </a:bodyPr>
              <a:lstStyle/>
              <a:p>
                <a:pPr defTabSz="685862"/>
                <a:r>
                  <a:rPr lang="en-US" sz="1200" b="1" kern="0" dirty="0">
                    <a:solidFill>
                      <a:srgbClr val="FFFFFF"/>
                    </a:solidFill>
                    <a:ea typeface="Segoe UI" pitchFamily="34" charset="0"/>
                    <a:cs typeface="Segoe UI" pitchFamily="34" charset="0"/>
                  </a:rPr>
                  <a:t>Desktop Orchestration</a:t>
                </a:r>
              </a:p>
              <a:p>
                <a:pPr defTabSz="685862"/>
                <a:r>
                  <a:rPr lang="en-US" sz="1200" kern="0" dirty="0">
                    <a:solidFill>
                      <a:srgbClr val="FFFFFF"/>
                    </a:solidFill>
                    <a:ea typeface="Segoe UI" pitchFamily="34" charset="0"/>
                    <a:cs typeface="Segoe UI" pitchFamily="34" charset="0"/>
                  </a:rPr>
                  <a:t>  monitor, control, collaborate</a:t>
                </a:r>
              </a:p>
            </p:txBody>
          </p:sp>
          <p:sp>
            <p:nvSpPr>
              <p:cNvPr id="56" name="Oval 55"/>
              <p:cNvSpPr/>
              <p:nvPr/>
            </p:nvSpPr>
            <p:spPr>
              <a:xfrm>
                <a:off x="4343400" y="1779378"/>
                <a:ext cx="914400" cy="914400"/>
              </a:xfrm>
              <a:prstGeom prst="ellipse">
                <a:avLst/>
              </a:prstGeom>
              <a:gradFill flip="none" rotWithShape="1">
                <a:gsLst>
                  <a:gs pos="0">
                    <a:srgbClr val="A3C4FF"/>
                  </a:gs>
                  <a:gs pos="35000">
                    <a:srgbClr val="BFD5FF"/>
                  </a:gs>
                  <a:gs pos="100000">
                    <a:srgbClr val="E5EEFF"/>
                  </a:gs>
                </a:gsLst>
                <a:lin ang="16200000" scaled="1"/>
                <a:tileRect/>
              </a:gradFill>
              <a:ln w="9525" cap="flat" cmpd="sng" algn="ctr">
                <a:noFill/>
                <a:prstDash val="solid"/>
              </a:ln>
              <a:effectLst>
                <a:outerShdw blurRad="40000" dist="20000" dir="5400000" rotWithShape="0">
                  <a:srgbClr val="000000">
                    <a:alpha val="38000"/>
                  </a:srgbClr>
                </a:outerShdw>
              </a:effectLst>
            </p:spPr>
            <p:txBody>
              <a:bodyPr rtlCol="0" anchor="ctr"/>
              <a:lstStyle/>
              <a:p>
                <a:pPr algn="ctr" defTabSz="685862">
                  <a:defRPr/>
                </a:pPr>
                <a:endParaRPr lang="en-US" sz="1100" kern="0" dirty="0">
                  <a:solidFill>
                    <a:srgbClr val="363535"/>
                  </a:solidFill>
                </a:endParaRPr>
              </a:p>
            </p:txBody>
          </p:sp>
        </p:grpSp>
        <p:grpSp>
          <p:nvGrpSpPr>
            <p:cNvPr id="57" name="Group 56"/>
            <p:cNvGrpSpPr/>
            <p:nvPr/>
          </p:nvGrpSpPr>
          <p:grpSpPr>
            <a:xfrm>
              <a:off x="98996" y="1592799"/>
              <a:ext cx="4175880" cy="1268624"/>
              <a:chOff x="76200" y="1524000"/>
              <a:chExt cx="4175878" cy="1268622"/>
            </a:xfrm>
          </p:grpSpPr>
          <p:grpSp>
            <p:nvGrpSpPr>
              <p:cNvPr id="58" name="Group 57"/>
              <p:cNvGrpSpPr/>
              <p:nvPr/>
            </p:nvGrpSpPr>
            <p:grpSpPr>
              <a:xfrm>
                <a:off x="76200" y="1524000"/>
                <a:ext cx="4175878" cy="1268622"/>
                <a:chOff x="76200" y="1779378"/>
                <a:chExt cx="4175876" cy="1268621"/>
              </a:xfrm>
            </p:grpSpPr>
            <p:sp>
              <p:nvSpPr>
                <p:cNvPr id="64" name="Snip and Round Single Corner Rectangle 63"/>
                <p:cNvSpPr/>
                <p:nvPr/>
              </p:nvSpPr>
              <p:spPr>
                <a:xfrm>
                  <a:off x="378850" y="2008235"/>
                  <a:ext cx="3873226" cy="1039764"/>
                </a:xfrm>
                <a:prstGeom prst="snipRoundRect">
                  <a:avLst>
                    <a:gd name="adj1" fmla="val 4901"/>
                    <a:gd name="adj2" fmla="val 5685"/>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path path="circle">
                    <a:fillToRect l="100000" t="100000"/>
                  </a:path>
                  <a:tileRect r="-100000" b="-100000"/>
                </a:gradFill>
                <a:effectLst>
                  <a:outerShdw blurRad="50800" dist="38100" dir="8100000" algn="tr" rotWithShape="0">
                    <a:prstClr val="black">
                      <a:alpha val="40000"/>
                    </a:prstClr>
                  </a:outerShdw>
                </a:effectLst>
              </p:spPr>
              <p:txBody>
                <a:bodyPr lIns="731520" rtlCol="0" anchor="ctr">
                  <a:noAutofit/>
                </a:bodyPr>
                <a:lstStyle/>
                <a:p>
                  <a:pPr defTabSz="685862">
                    <a:defRPr/>
                  </a:pPr>
                  <a:r>
                    <a:rPr lang="en-US" sz="1200" b="1" kern="0" dirty="0">
                      <a:solidFill>
                        <a:srgbClr val="FFFFFF"/>
                      </a:solidFill>
                      <a:ea typeface="Segoe UI" pitchFamily="34" charset="0"/>
                      <a:cs typeface="Segoe UI" pitchFamily="34" charset="0"/>
                    </a:rPr>
                    <a:t>Broad client support</a:t>
                  </a:r>
                </a:p>
                <a:p>
                  <a:pPr defTabSz="685862">
                    <a:spcBef>
                      <a:spcPts val="225"/>
                    </a:spcBef>
                    <a:defRPr/>
                  </a:pPr>
                  <a:r>
                    <a:rPr lang="en-US" sz="1200" kern="0" dirty="0">
                      <a:solidFill>
                        <a:srgbClr val="FFFFFF"/>
                      </a:solidFill>
                      <a:ea typeface="Segoe UI" pitchFamily="34" charset="0"/>
                      <a:cs typeface="Segoe UI" pitchFamily="34" charset="0"/>
                    </a:rPr>
                    <a:t>  local stations and thin clients</a:t>
                  </a:r>
                </a:p>
              </p:txBody>
            </p:sp>
            <p:sp>
              <p:nvSpPr>
                <p:cNvPr id="65" name="Oval 64"/>
                <p:cNvSpPr/>
                <p:nvPr/>
              </p:nvSpPr>
              <p:spPr>
                <a:xfrm>
                  <a:off x="76200" y="1779378"/>
                  <a:ext cx="914400" cy="914400"/>
                </a:xfrm>
                <a:prstGeom prst="ellipse">
                  <a:avLst/>
                </a:prstGeom>
                <a:gradFill flip="none" rotWithShape="1">
                  <a:gsLst>
                    <a:gs pos="0">
                      <a:srgbClr val="A3C4FF"/>
                    </a:gs>
                    <a:gs pos="35000">
                      <a:srgbClr val="BFD5FF"/>
                    </a:gs>
                    <a:gs pos="100000">
                      <a:srgbClr val="E5EEFF"/>
                    </a:gs>
                  </a:gsLst>
                  <a:lin ang="16200000" scaled="1"/>
                  <a:tileRect/>
                </a:gradFill>
                <a:ln w="9525" cap="flat" cmpd="sng" algn="ctr">
                  <a:noFill/>
                  <a:prstDash val="solid"/>
                </a:ln>
                <a:effectLst>
                  <a:outerShdw blurRad="40000" dist="20000" dir="5400000" rotWithShape="0">
                    <a:srgbClr val="000000">
                      <a:alpha val="38000"/>
                    </a:srgbClr>
                  </a:outerShdw>
                </a:effectLst>
              </p:spPr>
              <p:txBody>
                <a:bodyPr rtlCol="0" anchor="ctr"/>
                <a:lstStyle/>
                <a:p>
                  <a:pPr algn="ctr" defTabSz="685862">
                    <a:defRPr/>
                  </a:pPr>
                  <a:endParaRPr lang="en-US" sz="1100" kern="0" dirty="0">
                    <a:solidFill>
                      <a:srgbClr val="363535"/>
                    </a:solidFill>
                  </a:endParaRPr>
                </a:p>
              </p:txBody>
            </p:sp>
          </p:grpSp>
          <p:grpSp>
            <p:nvGrpSpPr>
              <p:cNvPr id="59" name="Group 58"/>
              <p:cNvGrpSpPr/>
              <p:nvPr/>
            </p:nvGrpSpPr>
            <p:grpSpPr>
              <a:xfrm>
                <a:off x="147372" y="1659767"/>
                <a:ext cx="809355" cy="675540"/>
                <a:chOff x="1241584" y="2547051"/>
                <a:chExt cx="1232233" cy="1028501"/>
              </a:xfrm>
            </p:grpSpPr>
            <p:pic>
              <p:nvPicPr>
                <p:cNvPr id="60" name="Picture 3" descr="\\SERVER3\InternalBin\Resource DVD\DVD_ART36\Artwork_Imagery\Shapes\Arrows\Curved\seamless computing arrows blue.png"/>
                <p:cNvPicPr>
                  <a:picLocks noChangeAspect="1" noChangeArrowheads="1"/>
                </p:cNvPicPr>
                <p:nvPr/>
              </p:nvPicPr>
              <p:blipFill>
                <a:blip r:embed="rId2" cstate="email"/>
                <a:srcRect/>
                <a:stretch>
                  <a:fillRect/>
                </a:stretch>
              </p:blipFill>
              <p:spPr bwMode="auto">
                <a:xfrm>
                  <a:off x="1295400" y="2712742"/>
                  <a:ext cx="1178417" cy="767311"/>
                </a:xfrm>
                <a:prstGeom prst="rect">
                  <a:avLst/>
                </a:prstGeom>
                <a:ln>
                  <a:noFill/>
                </a:ln>
                <a:effectLst>
                  <a:outerShdw blurRad="292100" dist="139700" dir="2700000" algn="tl" rotWithShape="0">
                    <a:srgbClr val="333333">
                      <a:alpha val="65000"/>
                    </a:srgbClr>
                  </a:outerShdw>
                </a:effectLst>
              </p:spPr>
            </p:pic>
            <p:pic>
              <p:nvPicPr>
                <p:cNvPr id="61" name="Picture 4" descr="\\eventsql\dvd\Online_ART\DVD_ART36\Artwork_Imagery\Icons - Illustrations\_ XML ICONS\older desktop computer.png"/>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rot="21402216" flipH="1">
                  <a:off x="1241584" y="2587804"/>
                  <a:ext cx="570246" cy="624417"/>
                </a:xfrm>
                <a:prstGeom prst="rect">
                  <a:avLst/>
                </a:prstGeom>
                <a:ln>
                  <a:noFill/>
                </a:ln>
                <a:effectLst>
                  <a:outerShdw blurRad="292100" dist="139700" dir="2700000" algn="tl" rotWithShape="0">
                    <a:srgbClr val="333333">
                      <a:alpha val="65000"/>
                    </a:srgbClr>
                  </a:outerShdw>
                </a:effectLst>
              </p:spPr>
            </p:pic>
            <p:pic>
              <p:nvPicPr>
                <p:cNvPr id="62" name="Picture 3" descr="C:\Program Files\Microsoft Resource DVD Artwork\DVD_ART\Artwork_Imagery\HARDWARE_IMAGERY\Photos - OEM Hardware\Computer\Vista Laptop\Gateway M680 laptop Vista Business.png"/>
                <p:cNvPicPr>
                  <a:picLocks noChangeAspect="1" noChangeArrowheads="1"/>
                </p:cNvPicPr>
                <p:nvPr/>
              </p:nvPicPr>
              <p:blipFill>
                <a:blip r:embed="rId4" cstate="print">
                  <a:extLst>
                    <a:ext uri="{28A0092B-C50C-407E-A947-70E740481C1C}">
                      <a14:useLocalDpi xmlns:a14="http://schemas.microsoft.com/office/drawing/2010/main"/>
                    </a:ext>
                  </a:extLst>
                </a:blip>
                <a:stretch>
                  <a:fillRect/>
                </a:stretch>
              </p:blipFill>
              <p:spPr bwMode="auto">
                <a:xfrm>
                  <a:off x="1371600" y="3124200"/>
                  <a:ext cx="565662" cy="451352"/>
                </a:xfrm>
                <a:prstGeom prst="rect">
                  <a:avLst/>
                </a:prstGeom>
                <a:ln>
                  <a:noFill/>
                </a:ln>
                <a:effectLst>
                  <a:outerShdw blurRad="292100" dist="139700" dir="2700000" algn="tl" rotWithShape="0">
                    <a:srgbClr val="333333">
                      <a:alpha val="65000"/>
                    </a:srgbClr>
                  </a:outerShdw>
                </a:effectLst>
              </p:spPr>
            </p:pic>
            <p:pic>
              <p:nvPicPr>
                <p:cNvPr id="63" name="Picture 3" descr="\\eventsql\dvd\Online_ART\DVD_ART36\Artwork_Imagery\Icons - Illustrations\_ REAL VISTA STYLE\desktop computer.png"/>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884608" y="2547051"/>
                  <a:ext cx="491142" cy="491142"/>
                </a:xfrm>
                <a:prstGeom prst="rect">
                  <a:avLst/>
                </a:prstGeom>
                <a:ln>
                  <a:noFill/>
                </a:ln>
                <a:effectLst>
                  <a:outerShdw blurRad="292100" dist="139700" dir="2700000" algn="tl" rotWithShape="0">
                    <a:srgbClr val="333333">
                      <a:alpha val="65000"/>
                    </a:srgbClr>
                  </a:outerShdw>
                </a:effectLst>
              </p:spPr>
            </p:pic>
          </p:grpSp>
        </p:grpSp>
        <p:grpSp>
          <p:nvGrpSpPr>
            <p:cNvPr id="66" name="Group 65"/>
            <p:cNvGrpSpPr/>
            <p:nvPr/>
          </p:nvGrpSpPr>
          <p:grpSpPr>
            <a:xfrm>
              <a:off x="4366201" y="2749984"/>
              <a:ext cx="4244409" cy="1292340"/>
              <a:chOff x="4343400" y="3278231"/>
              <a:chExt cx="4244404" cy="1292338"/>
            </a:xfrm>
          </p:grpSpPr>
          <p:sp>
            <p:nvSpPr>
              <p:cNvPr id="67" name="Snip and Round Single Corner Rectangle 66"/>
              <p:cNvSpPr/>
              <p:nvPr/>
            </p:nvSpPr>
            <p:spPr>
              <a:xfrm>
                <a:off x="4714578" y="3530804"/>
                <a:ext cx="3873226" cy="1039765"/>
              </a:xfrm>
              <a:prstGeom prst="snipRoundRect">
                <a:avLst>
                  <a:gd name="adj1" fmla="val 4901"/>
                  <a:gd name="adj2" fmla="val 5685"/>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path path="circle">
                  <a:fillToRect l="100000" t="100000"/>
                </a:path>
                <a:tileRect r="-100000" b="-100000"/>
              </a:gradFill>
              <a:effectLst>
                <a:outerShdw blurRad="50800" dist="38100" dir="8100000" algn="tr" rotWithShape="0">
                  <a:prstClr val="black">
                    <a:alpha val="40000"/>
                  </a:prstClr>
                </a:outerShdw>
              </a:effectLst>
            </p:spPr>
            <p:txBody>
              <a:bodyPr lIns="731520" rtlCol="0" anchor="ctr">
                <a:noAutofit/>
              </a:bodyPr>
              <a:lstStyle/>
              <a:p>
                <a:pPr defTabSz="685862"/>
                <a:r>
                  <a:rPr lang="en-US" sz="1200" b="1" kern="0" dirty="0">
                    <a:solidFill>
                      <a:srgbClr val="FFFFFF"/>
                    </a:solidFill>
                    <a:ea typeface="Segoe UI" pitchFamily="34" charset="0"/>
                    <a:cs typeface="Segoe UI" pitchFamily="34" charset="0"/>
                  </a:rPr>
                  <a:t>Familiar Windows Experience</a:t>
                </a:r>
              </a:p>
              <a:p>
                <a:pPr defTabSz="685862"/>
                <a:r>
                  <a:rPr lang="en-US" sz="1200" kern="0" dirty="0">
                    <a:solidFill>
                      <a:srgbClr val="FFFFFF"/>
                    </a:solidFill>
                    <a:ea typeface="Segoe UI" pitchFamily="34" charset="0"/>
                    <a:cs typeface="Segoe UI" pitchFamily="34" charset="0"/>
                  </a:rPr>
                  <a:t>  Windows 8 user experience</a:t>
                </a:r>
              </a:p>
            </p:txBody>
          </p:sp>
          <p:grpSp>
            <p:nvGrpSpPr>
              <p:cNvPr id="68" name="Group 67"/>
              <p:cNvGrpSpPr/>
              <p:nvPr/>
            </p:nvGrpSpPr>
            <p:grpSpPr>
              <a:xfrm>
                <a:off x="4343400" y="3278231"/>
                <a:ext cx="914400" cy="914400"/>
                <a:chOff x="4343400" y="3278231"/>
                <a:chExt cx="914400" cy="914400"/>
              </a:xfrm>
            </p:grpSpPr>
            <p:sp>
              <p:nvSpPr>
                <p:cNvPr id="69" name="Oval 68"/>
                <p:cNvSpPr/>
                <p:nvPr/>
              </p:nvSpPr>
              <p:spPr>
                <a:xfrm>
                  <a:off x="4343400" y="3278231"/>
                  <a:ext cx="914400" cy="914400"/>
                </a:xfrm>
                <a:prstGeom prst="ellipse">
                  <a:avLst/>
                </a:prstGeom>
                <a:gradFill flip="none" rotWithShape="1">
                  <a:gsLst>
                    <a:gs pos="0">
                      <a:srgbClr val="A3C4FF"/>
                    </a:gs>
                    <a:gs pos="35000">
                      <a:srgbClr val="BFD5FF"/>
                    </a:gs>
                    <a:gs pos="100000">
                      <a:srgbClr val="E5EEFF"/>
                    </a:gs>
                  </a:gsLst>
                  <a:lin ang="16200000" scaled="1"/>
                  <a:tileRect/>
                </a:gradFill>
                <a:ln w="9525" cap="flat" cmpd="sng" algn="ctr">
                  <a:noFill/>
                  <a:prstDash val="solid"/>
                </a:ln>
                <a:effectLst>
                  <a:outerShdw blurRad="40000" dist="20000" dir="5400000" rotWithShape="0">
                    <a:srgbClr val="000000">
                      <a:alpha val="38000"/>
                    </a:srgbClr>
                  </a:outerShdw>
                </a:effectLst>
              </p:spPr>
              <p:txBody>
                <a:bodyPr rtlCol="0" anchor="ctr"/>
                <a:lstStyle/>
                <a:p>
                  <a:pPr algn="ctr" defTabSz="685862">
                    <a:defRPr/>
                  </a:pPr>
                  <a:endParaRPr lang="en-US" sz="1100" kern="0" dirty="0">
                    <a:solidFill>
                      <a:srgbClr val="363535"/>
                    </a:solidFill>
                  </a:endParaRPr>
                </a:p>
              </p:txBody>
            </p:sp>
            <p:pic>
              <p:nvPicPr>
                <p:cNvPr id="70" name="Picture 69"/>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4599068" y="3464427"/>
                  <a:ext cx="403062" cy="552512"/>
                </a:xfrm>
                <a:prstGeom prst="rect">
                  <a:avLst/>
                </a:prstGeom>
                <a:ln>
                  <a:noFill/>
                </a:ln>
                <a:effectLst>
                  <a:outerShdw blurRad="292100" dist="139700" dir="2700000" algn="tl" rotWithShape="0">
                    <a:srgbClr val="333333">
                      <a:alpha val="65000"/>
                    </a:srgbClr>
                  </a:outerShdw>
                </a:effectLst>
              </p:spPr>
            </p:pic>
          </p:grpSp>
        </p:grpSp>
        <p:grpSp>
          <p:nvGrpSpPr>
            <p:cNvPr id="71" name="Group 70"/>
            <p:cNvGrpSpPr/>
            <p:nvPr/>
          </p:nvGrpSpPr>
          <p:grpSpPr>
            <a:xfrm>
              <a:off x="98996" y="2749984"/>
              <a:ext cx="4175881" cy="1292340"/>
              <a:chOff x="76200" y="3022853"/>
              <a:chExt cx="4175877" cy="1292338"/>
            </a:xfrm>
          </p:grpSpPr>
          <p:grpSp>
            <p:nvGrpSpPr>
              <p:cNvPr id="72" name="Group 71"/>
              <p:cNvGrpSpPr/>
              <p:nvPr/>
            </p:nvGrpSpPr>
            <p:grpSpPr>
              <a:xfrm>
                <a:off x="76200" y="3022853"/>
                <a:ext cx="4175877" cy="1292338"/>
                <a:chOff x="76200" y="3278231"/>
                <a:chExt cx="4175877" cy="1292338"/>
              </a:xfrm>
            </p:grpSpPr>
            <p:sp>
              <p:nvSpPr>
                <p:cNvPr id="74" name="Snip and Round Single Corner Rectangle 73"/>
                <p:cNvSpPr/>
                <p:nvPr/>
              </p:nvSpPr>
              <p:spPr>
                <a:xfrm>
                  <a:off x="378850" y="3530804"/>
                  <a:ext cx="3873227" cy="1039765"/>
                </a:xfrm>
                <a:prstGeom prst="snipRoundRect">
                  <a:avLst>
                    <a:gd name="adj1" fmla="val 4901"/>
                    <a:gd name="adj2" fmla="val 5685"/>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path path="circle">
                    <a:fillToRect l="100000" t="100000"/>
                  </a:path>
                  <a:tileRect r="-100000" b="-100000"/>
                </a:gradFill>
                <a:effectLst>
                  <a:outerShdw blurRad="50800" dist="38100" dir="8100000" algn="tr" rotWithShape="0">
                    <a:prstClr val="black">
                      <a:alpha val="40000"/>
                    </a:prstClr>
                  </a:outerShdw>
                </a:effectLst>
              </p:spPr>
              <p:txBody>
                <a:bodyPr lIns="731520" rtlCol="0" anchor="ctr">
                  <a:noAutofit/>
                </a:bodyPr>
                <a:lstStyle/>
                <a:p>
                  <a:pPr defTabSz="685862"/>
                  <a:r>
                    <a:rPr lang="en-US" sz="1200" b="1" kern="0" dirty="0">
                      <a:solidFill>
                        <a:srgbClr val="FFFFFF"/>
                      </a:solidFill>
                      <a:ea typeface="Segoe UI" pitchFamily="34" charset="0"/>
                      <a:cs typeface="Segoe UI" pitchFamily="34" charset="0"/>
                    </a:rPr>
                    <a:t>Simplified Administration</a:t>
                  </a:r>
                </a:p>
                <a:p>
                  <a:pPr defTabSz="685862"/>
                  <a:r>
                    <a:rPr lang="en-US" sz="1200" kern="0" dirty="0">
                      <a:solidFill>
                        <a:srgbClr val="FFFFFF"/>
                      </a:solidFill>
                      <a:ea typeface="Segoe UI" pitchFamily="34" charset="0"/>
                      <a:cs typeface="Segoe UI" pitchFamily="34" charset="0"/>
                    </a:rPr>
                    <a:t>  non-IT Pro  </a:t>
                  </a:r>
                </a:p>
              </p:txBody>
            </p:sp>
            <p:sp>
              <p:nvSpPr>
                <p:cNvPr id="75" name="Oval 74"/>
                <p:cNvSpPr/>
                <p:nvPr/>
              </p:nvSpPr>
              <p:spPr>
                <a:xfrm>
                  <a:off x="76200" y="3278231"/>
                  <a:ext cx="914400" cy="914400"/>
                </a:xfrm>
                <a:prstGeom prst="ellipse">
                  <a:avLst/>
                </a:prstGeom>
                <a:gradFill flip="none" rotWithShape="1">
                  <a:gsLst>
                    <a:gs pos="0">
                      <a:srgbClr val="A3C4FF"/>
                    </a:gs>
                    <a:gs pos="35000">
                      <a:srgbClr val="BFD5FF"/>
                    </a:gs>
                    <a:gs pos="100000">
                      <a:srgbClr val="E5EEFF"/>
                    </a:gs>
                  </a:gsLst>
                  <a:lin ang="16200000" scaled="1"/>
                  <a:tileRect/>
                </a:gradFill>
                <a:ln w="9525" cap="flat" cmpd="sng" algn="ctr">
                  <a:noFill/>
                  <a:prstDash val="solid"/>
                </a:ln>
                <a:effectLst>
                  <a:outerShdw blurRad="40000" dist="20000" dir="5400000" rotWithShape="0">
                    <a:srgbClr val="000000">
                      <a:alpha val="38000"/>
                    </a:srgbClr>
                  </a:outerShdw>
                </a:effectLst>
              </p:spPr>
              <p:txBody>
                <a:bodyPr rtlCol="0" anchor="ctr"/>
                <a:lstStyle/>
                <a:p>
                  <a:pPr algn="ctr" defTabSz="685862">
                    <a:defRPr/>
                  </a:pPr>
                  <a:endParaRPr lang="en-US" sz="1100" kern="0" dirty="0">
                    <a:solidFill>
                      <a:srgbClr val="363535"/>
                    </a:solidFill>
                  </a:endParaRPr>
                </a:p>
              </p:txBody>
            </p:sp>
          </p:grpSp>
          <p:pic>
            <p:nvPicPr>
              <p:cNvPr id="73" name="Picture 3" descr="\\server3\restrict\FTP_Root\Clients\White_Whale\8-20224_ChanelChambers\Working\Icons-01-07-10\PNGs\Image Management_v03.png"/>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275804" y="3219015"/>
                <a:ext cx="562396" cy="553411"/>
              </a:xfrm>
              <a:prstGeom prst="rect">
                <a:avLst/>
              </a:prstGeom>
              <a:ln>
                <a:noFill/>
              </a:ln>
              <a:effectLst>
                <a:outerShdw blurRad="292100" dist="139700" dir="2700000" algn="tl" rotWithShape="0">
                  <a:srgbClr val="333333">
                    <a:alpha val="65000"/>
                  </a:srgbClr>
                </a:outerShdw>
              </a:effectLst>
            </p:spPr>
          </p:pic>
        </p:grpSp>
        <p:grpSp>
          <p:nvGrpSpPr>
            <p:cNvPr id="76" name="Group 75"/>
            <p:cNvGrpSpPr/>
            <p:nvPr/>
          </p:nvGrpSpPr>
          <p:grpSpPr>
            <a:xfrm>
              <a:off x="98996" y="1666776"/>
              <a:ext cx="5162273" cy="3541406"/>
              <a:chOff x="76200" y="2551739"/>
              <a:chExt cx="5162266" cy="3541400"/>
            </a:xfrm>
          </p:grpSpPr>
          <p:sp>
            <p:nvSpPr>
              <p:cNvPr id="77" name="Snip and Round Single Corner Rectangle 76"/>
              <p:cNvSpPr/>
              <p:nvPr/>
            </p:nvSpPr>
            <p:spPr>
              <a:xfrm>
                <a:off x="378850" y="5053374"/>
                <a:ext cx="3873226" cy="1039765"/>
              </a:xfrm>
              <a:prstGeom prst="snipRoundRect">
                <a:avLst>
                  <a:gd name="adj1" fmla="val 4901"/>
                  <a:gd name="adj2" fmla="val 5685"/>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path path="circle">
                  <a:fillToRect l="100000" t="100000"/>
                </a:path>
                <a:tileRect r="-100000" b="-100000"/>
              </a:gradFill>
              <a:effectLst>
                <a:outerShdw blurRad="50800" dist="38100" dir="8100000" algn="tr" rotWithShape="0">
                  <a:prstClr val="black">
                    <a:alpha val="40000"/>
                  </a:prstClr>
                </a:outerShdw>
              </a:effectLst>
            </p:spPr>
            <p:txBody>
              <a:bodyPr lIns="731520" rtlCol="0" anchor="ctr">
                <a:noAutofit/>
              </a:bodyPr>
              <a:lstStyle/>
              <a:p>
                <a:pPr defTabSz="685862"/>
                <a:r>
                  <a:rPr lang="en-US" sz="1200" b="1" kern="0" dirty="0">
                    <a:solidFill>
                      <a:srgbClr val="FFFFFF"/>
                    </a:solidFill>
                    <a:ea typeface="Segoe UI" pitchFamily="34" charset="0"/>
                    <a:cs typeface="Segoe UI" pitchFamily="34" charset="0"/>
                  </a:rPr>
                  <a:t>Disk Protection</a:t>
                </a:r>
                <a:br>
                  <a:rPr lang="en-US" sz="1200" b="1" kern="0" dirty="0">
                    <a:solidFill>
                      <a:srgbClr val="FFFFFF"/>
                    </a:solidFill>
                    <a:ea typeface="Segoe UI" pitchFamily="34" charset="0"/>
                    <a:cs typeface="Segoe UI" pitchFamily="34" charset="0"/>
                  </a:rPr>
                </a:br>
                <a:r>
                  <a:rPr lang="en-US" sz="1200" kern="0" dirty="0">
                    <a:solidFill>
                      <a:srgbClr val="FFFFFF"/>
                    </a:solidFill>
                    <a:ea typeface="Segoe UI" pitchFamily="34" charset="0"/>
                    <a:cs typeface="Segoe UI" pitchFamily="34" charset="0"/>
                  </a:rPr>
                  <a:t>  reboot to known-good-state</a:t>
                </a:r>
              </a:p>
            </p:txBody>
          </p:sp>
          <p:grpSp>
            <p:nvGrpSpPr>
              <p:cNvPr id="78" name="Group 77"/>
              <p:cNvGrpSpPr/>
              <p:nvPr/>
            </p:nvGrpSpPr>
            <p:grpSpPr>
              <a:xfrm>
                <a:off x="76200" y="2551739"/>
                <a:ext cx="5162266" cy="3139745"/>
                <a:chOff x="76200" y="2551739"/>
                <a:chExt cx="5162266" cy="3139746"/>
              </a:xfrm>
            </p:grpSpPr>
            <p:sp>
              <p:nvSpPr>
                <p:cNvPr id="79" name="Oval 78"/>
                <p:cNvSpPr/>
                <p:nvPr/>
              </p:nvSpPr>
              <p:spPr>
                <a:xfrm>
                  <a:off x="76200" y="4777085"/>
                  <a:ext cx="914400" cy="914400"/>
                </a:xfrm>
                <a:prstGeom prst="ellipse">
                  <a:avLst/>
                </a:prstGeom>
                <a:gradFill flip="none" rotWithShape="1">
                  <a:gsLst>
                    <a:gs pos="0">
                      <a:srgbClr val="A3C4FF"/>
                    </a:gs>
                    <a:gs pos="35000">
                      <a:srgbClr val="BFD5FF"/>
                    </a:gs>
                    <a:gs pos="100000">
                      <a:srgbClr val="E5EEFF"/>
                    </a:gs>
                  </a:gsLst>
                  <a:lin ang="16200000" scaled="1"/>
                  <a:tileRect/>
                </a:gradFill>
                <a:ln w="9525" cap="flat" cmpd="sng" algn="ctr">
                  <a:noFill/>
                  <a:prstDash val="solid"/>
                </a:ln>
                <a:effectLst>
                  <a:outerShdw blurRad="40000" dist="20000" dir="5400000" rotWithShape="0">
                    <a:srgbClr val="000000">
                      <a:alpha val="38000"/>
                    </a:srgbClr>
                  </a:outerShdw>
                </a:effectLst>
              </p:spPr>
              <p:txBody>
                <a:bodyPr rtlCol="0" anchor="ctr"/>
                <a:lstStyle/>
                <a:p>
                  <a:pPr algn="ctr" defTabSz="685862">
                    <a:defRPr/>
                  </a:pPr>
                  <a:endParaRPr lang="en-US" sz="1100" kern="0" dirty="0">
                    <a:solidFill>
                      <a:srgbClr val="363535"/>
                    </a:solidFill>
                  </a:endParaRPr>
                </a:p>
              </p:txBody>
            </p:sp>
            <p:grpSp>
              <p:nvGrpSpPr>
                <p:cNvPr id="80" name="Group 79"/>
                <p:cNvGrpSpPr/>
                <p:nvPr/>
              </p:nvGrpSpPr>
              <p:grpSpPr>
                <a:xfrm>
                  <a:off x="4464629" y="2551739"/>
                  <a:ext cx="773837" cy="642722"/>
                  <a:chOff x="17701701" y="-1214011"/>
                  <a:chExt cx="1352522" cy="1123358"/>
                </a:xfrm>
              </p:grpSpPr>
              <p:pic>
                <p:nvPicPr>
                  <p:cNvPr id="81" name="Picture 80" descr="C:\Users\mitchelld\Desktop\Icons\For DVD\_Real Vista Style\computer_256.png"/>
                  <p:cNvPicPr>
                    <a:picLocks noChangeAspect="1" noChangeArrowheads="1"/>
                  </p:cNvPicPr>
                  <p:nvPr/>
                </p:nvPicPr>
                <p:blipFill>
                  <a:blip r:embed="rId8" cstate="email"/>
                  <a:srcRect/>
                  <a:stretch>
                    <a:fillRect/>
                  </a:stretch>
                </p:blipFill>
                <p:spPr bwMode="auto">
                  <a:xfrm>
                    <a:off x="17701701" y="-1214011"/>
                    <a:ext cx="724185" cy="786614"/>
                  </a:xfrm>
                  <a:prstGeom prst="rect">
                    <a:avLst/>
                  </a:prstGeom>
                  <a:ln>
                    <a:noFill/>
                  </a:ln>
                  <a:effectLst>
                    <a:outerShdw blurRad="292100" dist="139700" dir="2700000" algn="tl" rotWithShape="0">
                      <a:srgbClr val="333333">
                        <a:alpha val="65000"/>
                      </a:srgbClr>
                    </a:outerShdw>
                  </a:effectLst>
                </p:spPr>
              </p:pic>
              <p:pic>
                <p:nvPicPr>
                  <p:cNvPr id="82" name="Picture 6" descr="C:\Users\mitchelld\Desktop\Icons\For DVD\_Real Vista Style\monitor_256.png"/>
                  <p:cNvPicPr>
                    <a:picLocks noChangeAspect="1" noChangeArrowheads="1"/>
                  </p:cNvPicPr>
                  <p:nvPr/>
                </p:nvPicPr>
                <p:blipFill>
                  <a:blip r:embed="rId9" cstate="email"/>
                  <a:srcRect/>
                  <a:stretch>
                    <a:fillRect/>
                  </a:stretch>
                </p:blipFill>
                <p:spPr bwMode="auto">
                  <a:xfrm flipH="1">
                    <a:off x="18075483" y="-1167554"/>
                    <a:ext cx="978740" cy="1076901"/>
                  </a:xfrm>
                  <a:prstGeom prst="rect">
                    <a:avLst/>
                  </a:prstGeom>
                  <a:ln>
                    <a:noFill/>
                  </a:ln>
                  <a:effectLst>
                    <a:outerShdw blurRad="292100" dist="139700" dir="2700000" algn="tl" rotWithShape="0">
                      <a:srgbClr val="333333">
                        <a:alpha val="65000"/>
                      </a:srgbClr>
                    </a:outerShdw>
                  </a:effectLst>
                </p:spPr>
              </p:pic>
            </p:grpSp>
          </p:grpSp>
        </p:grpSp>
        <p:grpSp>
          <p:nvGrpSpPr>
            <p:cNvPr id="83" name="Group 82"/>
            <p:cNvGrpSpPr/>
            <p:nvPr/>
          </p:nvGrpSpPr>
          <p:grpSpPr>
            <a:xfrm>
              <a:off x="4366201" y="3892122"/>
              <a:ext cx="4244410" cy="1316057"/>
              <a:chOff x="4343400" y="4777084"/>
              <a:chExt cx="4244404" cy="1316055"/>
            </a:xfrm>
          </p:grpSpPr>
          <p:sp>
            <p:nvSpPr>
              <p:cNvPr id="84" name="Snip and Round Single Corner Rectangle 83"/>
              <p:cNvSpPr/>
              <p:nvPr/>
            </p:nvSpPr>
            <p:spPr>
              <a:xfrm>
                <a:off x="4714578" y="5053374"/>
                <a:ext cx="3873226" cy="1039765"/>
              </a:xfrm>
              <a:prstGeom prst="snipRoundRect">
                <a:avLst>
                  <a:gd name="adj1" fmla="val 4901"/>
                  <a:gd name="adj2" fmla="val 5685"/>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path path="circle">
                  <a:fillToRect l="100000" t="100000"/>
                </a:path>
                <a:tileRect r="-100000" b="-100000"/>
              </a:gradFill>
              <a:effectLst>
                <a:outerShdw blurRad="50800" dist="38100" dir="8100000" algn="tr" rotWithShape="0">
                  <a:prstClr val="black">
                    <a:alpha val="40000"/>
                  </a:prstClr>
                </a:outerShdw>
              </a:effectLst>
            </p:spPr>
            <p:txBody>
              <a:bodyPr lIns="731520" rtlCol="0" anchor="ctr">
                <a:noAutofit/>
              </a:bodyPr>
              <a:lstStyle/>
              <a:p>
                <a:pPr defTabSz="685862"/>
                <a:r>
                  <a:rPr lang="en-US" sz="1200" b="1" kern="0" dirty="0">
                    <a:solidFill>
                      <a:srgbClr val="FFFFFF"/>
                    </a:solidFill>
                    <a:ea typeface="Segoe UI" pitchFamily="34" charset="0"/>
                    <a:cs typeface="Segoe UI" pitchFamily="34" charset="0"/>
                  </a:rPr>
                  <a:t>Application Compatibility</a:t>
                </a:r>
              </a:p>
              <a:p>
                <a:pPr defTabSz="685862"/>
                <a:r>
                  <a:rPr lang="en-US" sz="1200" kern="0" dirty="0">
                    <a:solidFill>
                      <a:srgbClr val="FFFFFF"/>
                    </a:solidFill>
                    <a:ea typeface="Segoe UI" pitchFamily="34" charset="0"/>
                    <a:cs typeface="Segoe UI" pitchFamily="34" charset="0"/>
                  </a:rPr>
                  <a:t>  simple, single box VDI </a:t>
                </a:r>
              </a:p>
            </p:txBody>
          </p:sp>
          <p:grpSp>
            <p:nvGrpSpPr>
              <p:cNvPr id="85" name="Group 84"/>
              <p:cNvGrpSpPr/>
              <p:nvPr/>
            </p:nvGrpSpPr>
            <p:grpSpPr>
              <a:xfrm>
                <a:off x="4343400" y="4777084"/>
                <a:ext cx="914400" cy="914400"/>
                <a:chOff x="4343400" y="4777084"/>
                <a:chExt cx="914400" cy="914400"/>
              </a:xfrm>
            </p:grpSpPr>
            <p:sp>
              <p:nvSpPr>
                <p:cNvPr id="86" name="Oval 85"/>
                <p:cNvSpPr/>
                <p:nvPr/>
              </p:nvSpPr>
              <p:spPr>
                <a:xfrm>
                  <a:off x="4343400" y="4777084"/>
                  <a:ext cx="914400" cy="914400"/>
                </a:xfrm>
                <a:prstGeom prst="ellipse">
                  <a:avLst/>
                </a:prstGeom>
                <a:gradFill flip="none" rotWithShape="1">
                  <a:gsLst>
                    <a:gs pos="0">
                      <a:srgbClr val="A3C4FF"/>
                    </a:gs>
                    <a:gs pos="35000">
                      <a:srgbClr val="BFD5FF"/>
                    </a:gs>
                    <a:gs pos="100000">
                      <a:srgbClr val="E5EEFF"/>
                    </a:gs>
                  </a:gsLst>
                  <a:lin ang="16200000" scaled="1"/>
                  <a:tileRect/>
                </a:gradFill>
                <a:ln w="9525" cap="flat" cmpd="sng" algn="ctr">
                  <a:noFill/>
                  <a:prstDash val="solid"/>
                </a:ln>
                <a:effectLst>
                  <a:outerShdw blurRad="40000" dist="20000" dir="5400000" rotWithShape="0">
                    <a:srgbClr val="000000">
                      <a:alpha val="38000"/>
                    </a:srgbClr>
                  </a:outerShdw>
                </a:effectLst>
              </p:spPr>
              <p:txBody>
                <a:bodyPr rtlCol="0" anchor="ctr"/>
                <a:lstStyle/>
                <a:p>
                  <a:pPr algn="ctr" defTabSz="685862">
                    <a:defRPr/>
                  </a:pPr>
                  <a:endParaRPr lang="en-US" sz="1100" kern="0" dirty="0">
                    <a:solidFill>
                      <a:srgbClr val="363535"/>
                    </a:solidFill>
                  </a:endParaRPr>
                </a:p>
              </p:txBody>
            </p:sp>
            <p:grpSp>
              <p:nvGrpSpPr>
                <p:cNvPr id="87" name="Group 86"/>
                <p:cNvGrpSpPr/>
                <p:nvPr/>
              </p:nvGrpSpPr>
              <p:grpSpPr>
                <a:xfrm>
                  <a:off x="4457348" y="4949809"/>
                  <a:ext cx="706848" cy="568949"/>
                  <a:chOff x="4166222" y="4647152"/>
                  <a:chExt cx="1467593" cy="1181280"/>
                </a:xfrm>
              </p:grpSpPr>
              <p:pic>
                <p:nvPicPr>
                  <p:cNvPr id="88" name="Picture 9" descr="\\SERVER3\InternalBin\Resource DVD\DVD_ART36\Artwork_Imagery\Icons - Illustrations\Software Boxes\software CD product package.png"/>
                  <p:cNvPicPr>
                    <a:picLocks noChangeAspect="1" noChangeArrowheads="1"/>
                  </p:cNvPicPr>
                  <p:nvPr/>
                </p:nvPicPr>
                <p:blipFill>
                  <a:blip r:embed="rId10" cstate="email"/>
                  <a:srcRect/>
                  <a:stretch>
                    <a:fillRect/>
                  </a:stretch>
                </p:blipFill>
                <p:spPr bwMode="auto">
                  <a:xfrm>
                    <a:off x="4166222" y="4647152"/>
                    <a:ext cx="1039515" cy="954242"/>
                  </a:xfrm>
                  <a:prstGeom prst="rect">
                    <a:avLst/>
                  </a:prstGeom>
                  <a:ln>
                    <a:noFill/>
                  </a:ln>
                  <a:effectLst>
                    <a:outerShdw blurRad="292100" dist="139700" dir="2700000" algn="tl" rotWithShape="0">
                      <a:srgbClr val="333333">
                        <a:alpha val="65000"/>
                      </a:srgbClr>
                    </a:outerShdw>
                  </a:effectLst>
                </p:spPr>
              </p:pic>
              <p:pic>
                <p:nvPicPr>
                  <p:cNvPr id="89" name="Picture 9" descr="\\SERVER3\InternalBin\Resource DVD\DVD_ART36\Artwork_Imagery\Icons - Illustrations\Software Boxes\software CD product package.png"/>
                  <p:cNvPicPr>
                    <a:picLocks noChangeAspect="1" noChangeArrowheads="1"/>
                  </p:cNvPicPr>
                  <p:nvPr/>
                </p:nvPicPr>
                <p:blipFill>
                  <a:blip r:embed="rId10" cstate="email"/>
                  <a:srcRect/>
                  <a:stretch>
                    <a:fillRect/>
                  </a:stretch>
                </p:blipFill>
                <p:spPr bwMode="auto">
                  <a:xfrm>
                    <a:off x="4380261" y="4760671"/>
                    <a:ext cx="1039515" cy="954242"/>
                  </a:xfrm>
                  <a:prstGeom prst="rect">
                    <a:avLst/>
                  </a:prstGeom>
                  <a:ln>
                    <a:noFill/>
                  </a:ln>
                  <a:effectLst>
                    <a:outerShdw blurRad="292100" dist="139700" dir="2700000" algn="tl" rotWithShape="0">
                      <a:srgbClr val="333333">
                        <a:alpha val="65000"/>
                      </a:srgbClr>
                    </a:outerShdw>
                  </a:effectLst>
                </p:spPr>
              </p:pic>
              <p:pic>
                <p:nvPicPr>
                  <p:cNvPr id="90" name="Picture 9" descr="\\SERVER3\InternalBin\Resource DVD\DVD_ART36\Artwork_Imagery\Icons - Illustrations\Software Boxes\software CD product package.png"/>
                  <p:cNvPicPr>
                    <a:picLocks noChangeAspect="1" noChangeArrowheads="1"/>
                  </p:cNvPicPr>
                  <p:nvPr/>
                </p:nvPicPr>
                <p:blipFill>
                  <a:blip r:embed="rId10" cstate="email"/>
                  <a:srcRect/>
                  <a:stretch>
                    <a:fillRect/>
                  </a:stretch>
                </p:blipFill>
                <p:spPr bwMode="auto">
                  <a:xfrm>
                    <a:off x="4594300" y="4874190"/>
                    <a:ext cx="1039515" cy="954242"/>
                  </a:xfrm>
                  <a:prstGeom prst="rect">
                    <a:avLst/>
                  </a:prstGeom>
                  <a:ln>
                    <a:noFill/>
                  </a:ln>
                  <a:effectLst>
                    <a:outerShdw blurRad="292100" dist="139700" dir="2700000" algn="tl" rotWithShape="0">
                      <a:srgbClr val="333333">
                        <a:alpha val="65000"/>
                      </a:srgbClr>
                    </a:outerShdw>
                  </a:effectLst>
                </p:spPr>
              </p:pic>
            </p:grpSp>
          </p:grpSp>
        </p:grpSp>
        <p:pic>
          <p:nvPicPr>
            <p:cNvPr id="91" name="Picture 3" descr="\\eventsql\dvd\Online_ART\DVD_ART36\Artwork_Imagery\Icons - Illustrations\_ REAL VISTA STYLE\people three icon users.png"/>
            <p:cNvPicPr>
              <a:picLocks noChangeAspect="1" noChangeArrowheads="1"/>
            </p:cNvPicPr>
            <p:nvPr/>
          </p:nvPicPr>
          <p:blipFill>
            <a:blip r:embed="rId11" cstate="email"/>
            <a:stretch>
              <a:fillRect/>
            </a:stretch>
          </p:blipFill>
          <p:spPr bwMode="auto">
            <a:xfrm>
              <a:off x="304800" y="4057623"/>
              <a:ext cx="592930" cy="52149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grpSp>
      <p:sp>
        <p:nvSpPr>
          <p:cNvPr id="196" name="TextBox 195"/>
          <p:cNvSpPr txBox="1"/>
          <p:nvPr/>
        </p:nvSpPr>
        <p:spPr>
          <a:xfrm>
            <a:off x="4425198" y="1709585"/>
            <a:ext cx="724320" cy="231377"/>
          </a:xfrm>
          <a:prstGeom prst="rect">
            <a:avLst/>
          </a:prstGeom>
          <a:noFill/>
        </p:spPr>
        <p:txBody>
          <a:bodyPr wrap="square" lIns="0" tIns="0" rIns="0" bIns="0" rtlCol="0" anchor="ctr" anchorCtr="0">
            <a:noAutofit/>
          </a:bodyPr>
          <a:lstStyle/>
          <a:p>
            <a:pPr algn="ctr"/>
            <a:r>
              <a:rPr lang="en-US" sz="1100" dirty="0">
                <a:solidFill>
                  <a:srgbClr val="FFFFFF"/>
                </a:solidFill>
                <a:cs typeface="Segoe UI" pitchFamily="34" charset="0"/>
              </a:rPr>
              <a:t>Repurposed PC</a:t>
            </a:r>
          </a:p>
        </p:txBody>
      </p:sp>
      <p:grpSp>
        <p:nvGrpSpPr>
          <p:cNvPr id="197" name="Group 196"/>
          <p:cNvGrpSpPr/>
          <p:nvPr/>
        </p:nvGrpSpPr>
        <p:grpSpPr>
          <a:xfrm>
            <a:off x="4433648" y="1021990"/>
            <a:ext cx="715870" cy="630704"/>
            <a:chOff x="7025505" y="4613900"/>
            <a:chExt cx="1146121" cy="974249"/>
          </a:xfrm>
        </p:grpSpPr>
        <p:pic>
          <p:nvPicPr>
            <p:cNvPr id="198" name="Picture 197" descr="HP_Monitor.png"/>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7025505" y="4613900"/>
              <a:ext cx="1023487" cy="756622"/>
            </a:xfrm>
            <a:prstGeom prst="rect">
              <a:avLst/>
            </a:prstGeom>
          </p:spPr>
        </p:pic>
        <p:pic>
          <p:nvPicPr>
            <p:cNvPr id="199" name="Picture 198" descr="Keyboard.png"/>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7076145" y="5405133"/>
              <a:ext cx="922207" cy="114012"/>
            </a:xfrm>
            <a:prstGeom prst="rect">
              <a:avLst/>
            </a:prstGeom>
          </p:spPr>
        </p:pic>
        <p:pic>
          <p:nvPicPr>
            <p:cNvPr id="200" name="Picture 199" descr="Mouse.png"/>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8066674" y="5495834"/>
              <a:ext cx="104952" cy="92315"/>
            </a:xfrm>
            <a:prstGeom prst="rect">
              <a:avLst/>
            </a:prstGeom>
          </p:spPr>
        </p:pic>
        <p:pic>
          <p:nvPicPr>
            <p:cNvPr id="201" name="Picture 200" descr="OutLook.png"/>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7080474" y="4655199"/>
              <a:ext cx="917872" cy="524710"/>
            </a:xfrm>
            <a:prstGeom prst="rect">
              <a:avLst/>
            </a:prstGeom>
          </p:spPr>
        </p:pic>
      </p:grpSp>
      <p:sp>
        <p:nvSpPr>
          <p:cNvPr id="202" name="TextBox 201"/>
          <p:cNvSpPr txBox="1"/>
          <p:nvPr/>
        </p:nvSpPr>
        <p:spPr>
          <a:xfrm>
            <a:off x="6333970" y="1715333"/>
            <a:ext cx="598330" cy="255120"/>
          </a:xfrm>
          <a:prstGeom prst="rect">
            <a:avLst/>
          </a:prstGeom>
          <a:noFill/>
        </p:spPr>
        <p:txBody>
          <a:bodyPr wrap="square" lIns="0" tIns="0" rIns="0" bIns="0" rtlCol="0" anchor="ctr" anchorCtr="0">
            <a:noAutofit/>
          </a:bodyPr>
          <a:lstStyle/>
          <a:p>
            <a:pPr algn="ctr"/>
            <a:r>
              <a:rPr lang="en-US" sz="1100" dirty="0">
                <a:solidFill>
                  <a:srgbClr val="FFFFFF"/>
                </a:solidFill>
                <a:cs typeface="Segoe UI" pitchFamily="34" charset="0"/>
              </a:rPr>
              <a:t>USB Video Connect</a:t>
            </a:r>
          </a:p>
        </p:txBody>
      </p:sp>
      <p:sp>
        <p:nvSpPr>
          <p:cNvPr id="203" name="Oval 202"/>
          <p:cNvSpPr/>
          <p:nvPr/>
        </p:nvSpPr>
        <p:spPr>
          <a:xfrm>
            <a:off x="6819928" y="1278980"/>
            <a:ext cx="224744" cy="226457"/>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endParaRPr lang="en-US" sz="600" dirty="0">
              <a:solidFill>
                <a:srgbClr val="FFFFFF"/>
              </a:solidFill>
            </a:endParaRPr>
          </a:p>
        </p:txBody>
      </p:sp>
      <p:grpSp>
        <p:nvGrpSpPr>
          <p:cNvPr id="204" name="Group 203"/>
          <p:cNvGrpSpPr/>
          <p:nvPr/>
        </p:nvGrpSpPr>
        <p:grpSpPr>
          <a:xfrm>
            <a:off x="6258068" y="1021991"/>
            <a:ext cx="852157" cy="586033"/>
            <a:chOff x="9946434" y="3962228"/>
            <a:chExt cx="1364320" cy="905244"/>
          </a:xfrm>
        </p:grpSpPr>
        <p:pic>
          <p:nvPicPr>
            <p:cNvPr id="205" name="Picture 204" descr="HP_Monitor.png"/>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9946434" y="3962228"/>
              <a:ext cx="1023487" cy="756622"/>
            </a:xfrm>
            <a:prstGeom prst="rect">
              <a:avLst/>
            </a:prstGeom>
          </p:spPr>
        </p:pic>
        <p:pic>
          <p:nvPicPr>
            <p:cNvPr id="206" name="Picture 205" descr="Keyboard.png"/>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9997075" y="4753460"/>
              <a:ext cx="922207" cy="114012"/>
            </a:xfrm>
            <a:prstGeom prst="rect">
              <a:avLst/>
            </a:prstGeom>
          </p:spPr>
        </p:pic>
        <p:pic>
          <p:nvPicPr>
            <p:cNvPr id="207" name="Picture 206" descr="Mouse.png"/>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11205802" y="4758117"/>
              <a:ext cx="104952" cy="92315"/>
            </a:xfrm>
            <a:prstGeom prst="rect">
              <a:avLst/>
            </a:prstGeom>
          </p:spPr>
        </p:pic>
        <p:pic>
          <p:nvPicPr>
            <p:cNvPr id="208" name="Picture 207" descr="InternetExplorer.png"/>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10001405" y="4013240"/>
              <a:ext cx="917872" cy="524710"/>
            </a:xfrm>
            <a:prstGeom prst="rect">
              <a:avLst/>
            </a:prstGeom>
          </p:spPr>
        </p:pic>
        <p:pic>
          <p:nvPicPr>
            <p:cNvPr id="209" name="Picture 2" descr="HP USB Graphics Adapter - Adapters"/>
            <p:cNvPicPr>
              <a:picLocks noChangeAspect="1" noChangeArrowheads="1"/>
            </p:cNvPicPr>
            <p:nvPr/>
          </p:nvPicPr>
          <p:blipFill>
            <a:blip r:embed="rId17" cstate="screen">
              <a:extLst>
                <a:ext uri="{28A0092B-C50C-407E-A947-70E740481C1C}">
                  <a14:useLocalDpi xmlns:a14="http://schemas.microsoft.com/office/drawing/2010/main"/>
                </a:ext>
              </a:extLst>
            </a:blip>
            <a:stretch>
              <a:fillRect/>
            </a:stretch>
          </p:blipFill>
          <p:spPr bwMode="auto">
            <a:xfrm>
              <a:off x="10912798" y="4472364"/>
              <a:ext cx="226188" cy="145754"/>
            </a:xfrm>
            <a:prstGeom prst="rect">
              <a:avLst/>
            </a:prstGeom>
            <a:noFill/>
            <a:ln w="9525">
              <a:noFill/>
              <a:miter lim="800000"/>
              <a:headEnd/>
              <a:tailEnd/>
            </a:ln>
          </p:spPr>
        </p:pic>
      </p:grpSp>
      <p:pic>
        <p:nvPicPr>
          <p:cNvPr id="210" name="Picture 209" descr="HP_CPU.png"/>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2729903" y="989155"/>
            <a:ext cx="237163" cy="603884"/>
          </a:xfrm>
          <a:prstGeom prst="rect">
            <a:avLst/>
          </a:prstGeom>
        </p:spPr>
      </p:pic>
      <p:pic>
        <p:nvPicPr>
          <p:cNvPr id="211" name="Picture 210" descr="graphicsAdapter.png"/>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2997155" y="1180330"/>
            <a:ext cx="109918" cy="361802"/>
          </a:xfrm>
          <a:prstGeom prst="rect">
            <a:avLst/>
          </a:prstGeom>
        </p:spPr>
      </p:pic>
      <p:pic>
        <p:nvPicPr>
          <p:cNvPr id="212" name="Picture 211" descr="Keyboard.png"/>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1974928" y="1501381"/>
            <a:ext cx="576012" cy="73808"/>
          </a:xfrm>
          <a:prstGeom prst="rect">
            <a:avLst/>
          </a:prstGeom>
        </p:spPr>
      </p:pic>
      <p:pic>
        <p:nvPicPr>
          <p:cNvPr id="213" name="Picture 212" descr="Mouse.png"/>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2568364" y="1509580"/>
            <a:ext cx="65554" cy="59763"/>
          </a:xfrm>
          <a:prstGeom prst="rect">
            <a:avLst/>
          </a:prstGeom>
        </p:spPr>
      </p:pic>
      <p:sp>
        <p:nvSpPr>
          <p:cNvPr id="214" name="TextBox 213"/>
          <p:cNvSpPr txBox="1"/>
          <p:nvPr/>
        </p:nvSpPr>
        <p:spPr>
          <a:xfrm>
            <a:off x="2470353" y="1683776"/>
            <a:ext cx="705822" cy="213048"/>
          </a:xfrm>
          <a:prstGeom prst="rect">
            <a:avLst/>
          </a:prstGeom>
          <a:noFill/>
        </p:spPr>
        <p:txBody>
          <a:bodyPr wrap="square" lIns="0" tIns="0" rIns="0" bIns="0" rtlCol="0" anchor="ctr" anchorCtr="0">
            <a:noAutofit/>
          </a:bodyPr>
          <a:lstStyle/>
          <a:p>
            <a:pPr algn="ctr"/>
            <a:r>
              <a:rPr lang="en-US" sz="1100" dirty="0" err="1">
                <a:solidFill>
                  <a:srgbClr val="FFFFFF"/>
                </a:solidFill>
                <a:cs typeface="Segoe UI" pitchFamily="34" charset="0"/>
              </a:rPr>
              <a:t>MultiPoint</a:t>
            </a:r>
            <a:r>
              <a:rPr lang="en-US" sz="1100" dirty="0">
                <a:solidFill>
                  <a:srgbClr val="FFFFFF"/>
                </a:solidFill>
                <a:cs typeface="Segoe UI" pitchFamily="34" charset="0"/>
              </a:rPr>
              <a:t> Server</a:t>
            </a:r>
          </a:p>
        </p:txBody>
      </p:sp>
      <p:pic>
        <p:nvPicPr>
          <p:cNvPr id="215" name="Picture 214" descr="HP_Monitor.png"/>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943296" y="989155"/>
            <a:ext cx="639273" cy="489818"/>
          </a:xfrm>
          <a:prstGeom prst="rect">
            <a:avLst/>
          </a:prstGeom>
        </p:spPr>
      </p:pic>
      <p:pic>
        <p:nvPicPr>
          <p:cNvPr id="216" name="Picture 2"/>
          <p:cNvPicPr>
            <a:picLocks noChangeAspect="1" noChangeArrowheads="1"/>
          </p:cNvPicPr>
          <p:nvPr/>
        </p:nvPicPr>
        <p:blipFill>
          <a:blip r:embed="rId20" cstate="print"/>
          <a:srcRect/>
          <a:stretch>
            <a:fillRect/>
          </a:stretch>
        </p:blipFill>
        <p:spPr bwMode="auto">
          <a:xfrm>
            <a:off x="1974046" y="1006117"/>
            <a:ext cx="585434" cy="345019"/>
          </a:xfrm>
          <a:prstGeom prst="rect">
            <a:avLst/>
          </a:prstGeom>
          <a:noFill/>
          <a:ln w="9525">
            <a:noFill/>
            <a:miter lim="800000"/>
            <a:headEnd/>
            <a:tailEnd/>
          </a:ln>
        </p:spPr>
      </p:pic>
      <p:cxnSp>
        <p:nvCxnSpPr>
          <p:cNvPr id="217" name="Elbow Connector 137"/>
          <p:cNvCxnSpPr>
            <a:endCxn id="198" idx="0"/>
          </p:cNvCxnSpPr>
          <p:nvPr/>
        </p:nvCxnSpPr>
        <p:spPr>
          <a:xfrm flipV="1">
            <a:off x="3107073" y="1021991"/>
            <a:ext cx="1646213" cy="366899"/>
          </a:xfrm>
          <a:prstGeom prst="bentConnector4">
            <a:avLst>
              <a:gd name="adj1" fmla="val 8956"/>
              <a:gd name="adj2" fmla="val 138335"/>
            </a:avLst>
          </a:prstGeom>
          <a:ln w="12700">
            <a:solidFill>
              <a:schemeClr val="tx1"/>
            </a:solidFill>
            <a:prstDash val="sysDash"/>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18" name="TextBox 217"/>
          <p:cNvSpPr txBox="1"/>
          <p:nvPr/>
        </p:nvSpPr>
        <p:spPr>
          <a:xfrm>
            <a:off x="5433979" y="1683777"/>
            <a:ext cx="659965" cy="261869"/>
          </a:xfrm>
          <a:prstGeom prst="rect">
            <a:avLst/>
          </a:prstGeom>
          <a:noFill/>
        </p:spPr>
        <p:txBody>
          <a:bodyPr wrap="square" lIns="0" tIns="0" rIns="0" bIns="0" rtlCol="0" anchor="ctr" anchorCtr="0">
            <a:noAutofit/>
          </a:bodyPr>
          <a:lstStyle/>
          <a:p>
            <a:pPr algn="ctr"/>
            <a:r>
              <a:rPr lang="en-US" sz="1100" dirty="0">
                <a:solidFill>
                  <a:srgbClr val="FFFFFF"/>
                </a:solidFill>
                <a:cs typeface="Segoe UI" pitchFamily="34" charset="0"/>
              </a:rPr>
              <a:t>Direct Video Connect</a:t>
            </a:r>
          </a:p>
        </p:txBody>
      </p:sp>
      <p:grpSp>
        <p:nvGrpSpPr>
          <p:cNvPr id="219" name="Group 218"/>
          <p:cNvGrpSpPr/>
          <p:nvPr/>
        </p:nvGrpSpPr>
        <p:grpSpPr>
          <a:xfrm>
            <a:off x="5433979" y="1021991"/>
            <a:ext cx="693548" cy="585153"/>
            <a:chOff x="8627055" y="4645284"/>
            <a:chExt cx="1110384" cy="903885"/>
          </a:xfrm>
        </p:grpSpPr>
        <p:pic>
          <p:nvPicPr>
            <p:cNvPr id="220" name="Picture 219"/>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8675442" y="4645284"/>
              <a:ext cx="857725" cy="696296"/>
            </a:xfrm>
            <a:prstGeom prst="rect">
              <a:avLst/>
            </a:prstGeom>
            <a:effectLst>
              <a:outerShdw blurRad="63500" sx="102000" sy="102000" algn="ctr" rotWithShape="0">
                <a:prstClr val="black">
                  <a:alpha val="40000"/>
                </a:prstClr>
              </a:outerShdw>
            </a:effectLst>
          </p:spPr>
        </p:pic>
        <p:pic>
          <p:nvPicPr>
            <p:cNvPr id="221" name="Picture 220" descr="Keyboard.png"/>
            <p:cNvPicPr>
              <a:picLocks/>
            </p:cNvPicPr>
            <p:nvPr/>
          </p:nvPicPr>
          <p:blipFill>
            <a:blip r:embed="rId22" cstate="screen">
              <a:extLst>
                <a:ext uri="{28A0092B-C50C-407E-A947-70E740481C1C}">
                  <a14:useLocalDpi xmlns:a14="http://schemas.microsoft.com/office/drawing/2010/main"/>
                </a:ext>
              </a:extLst>
            </a:blip>
            <a:stretch>
              <a:fillRect/>
            </a:stretch>
          </p:blipFill>
          <p:spPr>
            <a:xfrm>
              <a:off x="8627055" y="5405119"/>
              <a:ext cx="944880" cy="127828"/>
            </a:xfrm>
            <a:prstGeom prst="rect">
              <a:avLst/>
            </a:prstGeom>
          </p:spPr>
        </p:pic>
        <p:pic>
          <p:nvPicPr>
            <p:cNvPr id="222" name="Picture 221" descr="Mouse.png"/>
            <p:cNvPicPr>
              <a:picLocks/>
            </p:cNvPicPr>
            <p:nvPr/>
          </p:nvPicPr>
          <p:blipFill>
            <a:blip r:embed="rId23" cstate="screen">
              <a:extLst>
                <a:ext uri="{28A0092B-C50C-407E-A947-70E740481C1C}">
                  <a14:useLocalDpi xmlns:a14="http://schemas.microsoft.com/office/drawing/2010/main"/>
                </a:ext>
              </a:extLst>
            </a:blip>
            <a:stretch>
              <a:fillRect/>
            </a:stretch>
          </p:blipFill>
          <p:spPr>
            <a:xfrm>
              <a:off x="9629905" y="5447344"/>
              <a:ext cx="107534" cy="101825"/>
            </a:xfrm>
            <a:prstGeom prst="rect">
              <a:avLst/>
            </a:prstGeom>
          </p:spPr>
        </p:pic>
        <p:pic>
          <p:nvPicPr>
            <p:cNvPr id="223" name="Picture 222" descr="Word.png"/>
            <p:cNvPicPr>
              <a:picLocks/>
            </p:cNvPicPr>
            <p:nvPr/>
          </p:nvPicPr>
          <p:blipFill rotWithShape="1">
            <a:blip r:embed="rId24" cstate="screen">
              <a:extLst>
                <a:ext uri="{28A0092B-C50C-407E-A947-70E740481C1C}">
                  <a14:useLocalDpi xmlns:a14="http://schemas.microsoft.com/office/drawing/2010/main"/>
                </a:ext>
              </a:extLst>
            </a:blip>
            <a:srcRect/>
            <a:stretch/>
          </p:blipFill>
          <p:spPr>
            <a:xfrm>
              <a:off x="8709129" y="4691054"/>
              <a:ext cx="780730" cy="520977"/>
            </a:xfrm>
            <a:prstGeom prst="rect">
              <a:avLst/>
            </a:prstGeom>
          </p:spPr>
        </p:pic>
      </p:grpSp>
      <p:grpSp>
        <p:nvGrpSpPr>
          <p:cNvPr id="224" name="Group 223"/>
          <p:cNvGrpSpPr/>
          <p:nvPr/>
        </p:nvGrpSpPr>
        <p:grpSpPr>
          <a:xfrm>
            <a:off x="3406420" y="1021991"/>
            <a:ext cx="693547" cy="585153"/>
            <a:chOff x="3193703" y="4553809"/>
            <a:chExt cx="1293142" cy="1063384"/>
          </a:xfrm>
        </p:grpSpPr>
        <p:pic>
          <p:nvPicPr>
            <p:cNvPr id="225" name="Picture 224" descr="Word.png"/>
            <p:cNvPicPr>
              <a:picLocks/>
            </p:cNvPicPr>
            <p:nvPr/>
          </p:nvPicPr>
          <p:blipFill rotWithShape="1">
            <a:blip r:embed="rId24" cstate="screen">
              <a:extLst>
                <a:ext uri="{28A0092B-C50C-407E-A947-70E740481C1C}">
                  <a14:useLocalDpi xmlns:a14="http://schemas.microsoft.com/office/drawing/2010/main"/>
                </a:ext>
              </a:extLst>
            </a:blip>
            <a:srcRect/>
            <a:stretch/>
          </p:blipFill>
          <p:spPr>
            <a:xfrm>
              <a:off x="3319870" y="4622005"/>
              <a:ext cx="909230" cy="612907"/>
            </a:xfrm>
            <a:prstGeom prst="rect">
              <a:avLst/>
            </a:prstGeom>
          </p:spPr>
        </p:pic>
        <p:pic>
          <p:nvPicPr>
            <p:cNvPr id="226" name="Picture 225"/>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3323498" y="4553809"/>
              <a:ext cx="998896" cy="819165"/>
            </a:xfrm>
            <a:prstGeom prst="rect">
              <a:avLst/>
            </a:prstGeom>
            <a:effectLst>
              <a:outerShdw blurRad="63500" sx="102000" sy="102000" algn="ctr" rotWithShape="0">
                <a:prstClr val="black">
                  <a:alpha val="40000"/>
                </a:prstClr>
              </a:outerShdw>
            </a:effectLst>
          </p:spPr>
        </p:pic>
        <p:pic>
          <p:nvPicPr>
            <p:cNvPr id="227" name="Picture 226" descr="Keyboard.png"/>
            <p:cNvPicPr>
              <a:picLocks/>
            </p:cNvPicPr>
            <p:nvPr/>
          </p:nvPicPr>
          <p:blipFill>
            <a:blip r:embed="rId22" cstate="screen">
              <a:extLst>
                <a:ext uri="{28A0092B-C50C-407E-A947-70E740481C1C}">
                  <a14:useLocalDpi xmlns:a14="http://schemas.microsoft.com/office/drawing/2010/main"/>
                </a:ext>
              </a:extLst>
            </a:blip>
            <a:stretch>
              <a:fillRect/>
            </a:stretch>
          </p:blipFill>
          <p:spPr>
            <a:xfrm>
              <a:off x="3193703" y="5447724"/>
              <a:ext cx="1100398" cy="150384"/>
            </a:xfrm>
            <a:prstGeom prst="rect">
              <a:avLst/>
            </a:prstGeom>
          </p:spPr>
        </p:pic>
        <p:pic>
          <p:nvPicPr>
            <p:cNvPr id="228" name="Picture 227" descr="Mouse.png"/>
            <p:cNvPicPr>
              <a:picLocks/>
            </p:cNvPicPr>
            <p:nvPr/>
          </p:nvPicPr>
          <p:blipFill>
            <a:blip r:embed="rId23" cstate="screen">
              <a:extLst>
                <a:ext uri="{28A0092B-C50C-407E-A947-70E740481C1C}">
                  <a14:useLocalDpi xmlns:a14="http://schemas.microsoft.com/office/drawing/2010/main"/>
                </a:ext>
              </a:extLst>
            </a:blip>
            <a:stretch>
              <a:fillRect/>
            </a:stretch>
          </p:blipFill>
          <p:spPr>
            <a:xfrm>
              <a:off x="4361612" y="5497401"/>
              <a:ext cx="125233" cy="119792"/>
            </a:xfrm>
            <a:prstGeom prst="rect">
              <a:avLst/>
            </a:prstGeom>
          </p:spPr>
        </p:pic>
      </p:grpSp>
      <p:sp>
        <p:nvSpPr>
          <p:cNvPr id="229" name="TextBox 228"/>
          <p:cNvSpPr txBox="1"/>
          <p:nvPr/>
        </p:nvSpPr>
        <p:spPr>
          <a:xfrm>
            <a:off x="3484625" y="1688461"/>
            <a:ext cx="581758" cy="252501"/>
          </a:xfrm>
          <a:prstGeom prst="rect">
            <a:avLst/>
          </a:prstGeom>
          <a:noFill/>
        </p:spPr>
        <p:txBody>
          <a:bodyPr wrap="square" lIns="0" tIns="0" rIns="0" bIns="0" rtlCol="0" anchor="ctr" anchorCtr="0">
            <a:noAutofit/>
          </a:bodyPr>
          <a:lstStyle/>
          <a:p>
            <a:pPr algn="ctr"/>
            <a:r>
              <a:rPr lang="en-US" sz="1100" dirty="0">
                <a:solidFill>
                  <a:srgbClr val="FFFFFF"/>
                </a:solidFill>
                <a:cs typeface="Segoe UI" pitchFamily="34" charset="0"/>
              </a:rPr>
              <a:t>LAN Thin Client</a:t>
            </a:r>
          </a:p>
        </p:txBody>
      </p:sp>
      <p:pic>
        <p:nvPicPr>
          <p:cNvPr id="230" name="Picture 229"/>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4070903" y="1177343"/>
            <a:ext cx="78828" cy="325578"/>
          </a:xfrm>
          <a:prstGeom prst="rect">
            <a:avLst/>
          </a:prstGeom>
          <a:effectLst>
            <a:reflection blurRad="6350" stA="52000" endA="300" endPos="35000" dir="5400000" sy="-100000" algn="bl" rotWithShape="0"/>
          </a:effectLst>
        </p:spPr>
      </p:pic>
      <p:cxnSp>
        <p:nvCxnSpPr>
          <p:cNvPr id="231" name="Elbow Connector 137"/>
          <p:cNvCxnSpPr>
            <a:stCxn id="210" idx="0"/>
            <a:endCxn id="220" idx="0"/>
          </p:cNvCxnSpPr>
          <p:nvPr/>
        </p:nvCxnSpPr>
        <p:spPr>
          <a:xfrm rot="16200000" flipH="1">
            <a:off x="4273860" y="-436222"/>
            <a:ext cx="32835" cy="2883588"/>
          </a:xfrm>
          <a:prstGeom prst="bentConnector3">
            <a:avLst>
              <a:gd name="adj1" fmla="val -428355"/>
            </a:avLst>
          </a:prstGeom>
          <a:ln w="12700">
            <a:solidFill>
              <a:schemeClr val="tx1"/>
            </a:solidFill>
            <a:prstDash val="sysDash"/>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32" name="Elbow Connector 137"/>
          <p:cNvCxnSpPr>
            <a:stCxn id="210" idx="0"/>
            <a:endCxn id="203" idx="0"/>
          </p:cNvCxnSpPr>
          <p:nvPr/>
        </p:nvCxnSpPr>
        <p:spPr>
          <a:xfrm rot="16200000" flipH="1">
            <a:off x="4745480" y="-907840"/>
            <a:ext cx="289825" cy="4083817"/>
          </a:xfrm>
          <a:prstGeom prst="bentConnector3">
            <a:avLst>
              <a:gd name="adj1" fmla="val -48530"/>
            </a:avLst>
          </a:prstGeom>
          <a:ln w="12700">
            <a:solidFill>
              <a:schemeClr val="tx1"/>
            </a:solidFill>
            <a:prstDash val="sysDash"/>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33" name="Elbow Connector 137"/>
          <p:cNvCxnSpPr>
            <a:stCxn id="211" idx="3"/>
            <a:endCxn id="230" idx="0"/>
          </p:cNvCxnSpPr>
          <p:nvPr/>
        </p:nvCxnSpPr>
        <p:spPr>
          <a:xfrm flipV="1">
            <a:off x="3107073" y="1177343"/>
            <a:ext cx="1003246" cy="183888"/>
          </a:xfrm>
          <a:prstGeom prst="bentConnector4">
            <a:avLst>
              <a:gd name="adj1" fmla="val 19989"/>
              <a:gd name="adj2" fmla="val 227479"/>
            </a:avLst>
          </a:prstGeom>
          <a:ln w="12700">
            <a:solidFill>
              <a:schemeClr val="tx1"/>
            </a:solidFill>
            <a:prstDash val="sysDash"/>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93"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94"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6"/>
              </a:rPr>
              <a:t>www.rapidbbs.cn</a:t>
            </a:r>
            <a:endParaRPr lang="zh-CN" altLang="en-US" sz="1200" b="0">
              <a:latin typeface="Arial" charset="0"/>
              <a:ea typeface="ＭＳ Ｐゴシック" pitchFamily="34" charset="-128"/>
            </a:endParaRPr>
          </a:p>
        </p:txBody>
      </p:sp>
      <p:pic>
        <p:nvPicPr>
          <p:cNvPr id="95" name="Picture 2">
            <a:hlinkClick r:id="rId26"/>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82516504"/>
      </p:ext>
    </p:extLst>
  </p:cSld>
  <p:clrMapOvr>
    <a:masterClrMapping/>
  </p:clrMapOvr>
  <p:transition>
    <p:fade/>
  </p:transition>
  <p:timing>
    <p:tnLst>
      <p:par>
        <p:cTn id="1" dur="indefinite" restart="never" nodeType="tmRoot"/>
      </p:par>
    </p:tnLst>
  </p:timing>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p:cNvSpPr/>
          <p:nvPr/>
        </p:nvSpPr>
        <p:spPr bwMode="auto">
          <a:xfrm>
            <a:off x="377800" y="1773118"/>
            <a:ext cx="2649128" cy="1091711"/>
          </a:xfrm>
          <a:prstGeom prst="rect">
            <a:avLst/>
          </a:prstGeom>
          <a:solidFill>
            <a:schemeClr val="accent6"/>
          </a:soli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700" dirty="0">
                <a:solidFill>
                  <a:schemeClr val="tx1">
                    <a:alpha val="99000"/>
                  </a:schemeClr>
                </a:solidFill>
                <a:latin typeface="Segoe UI" pitchFamily="34" charset="0"/>
                <a:ea typeface="Segoe UI" pitchFamily="34" charset="0"/>
                <a:cs typeface="Segoe UI" pitchFamily="34" charset="0"/>
              </a:rPr>
              <a:t>Scenario capabilities </a:t>
            </a:r>
          </a:p>
        </p:txBody>
      </p:sp>
      <p:sp>
        <p:nvSpPr>
          <p:cNvPr id="2" name="Title 1"/>
          <p:cNvSpPr>
            <a:spLocks noGrp="1"/>
          </p:cNvSpPr>
          <p:nvPr>
            <p:ph type="title"/>
          </p:nvPr>
        </p:nvSpPr>
        <p:spPr>
          <a:xfrm>
            <a:off x="389436" y="171452"/>
            <a:ext cx="8363938" cy="457048"/>
          </a:xfrm>
        </p:spPr>
        <p:txBody>
          <a:bodyPr/>
          <a:lstStyle/>
          <a:p>
            <a:r>
              <a:rPr lang="en-US" dirty="0"/>
              <a:t>Windows Server capabilities </a:t>
            </a:r>
          </a:p>
        </p:txBody>
      </p:sp>
      <p:sp>
        <p:nvSpPr>
          <p:cNvPr id="6" name="Rectangle 5"/>
          <p:cNvSpPr/>
          <p:nvPr/>
        </p:nvSpPr>
        <p:spPr bwMode="auto">
          <a:xfrm>
            <a:off x="3067591" y="1153078"/>
            <a:ext cx="1862091" cy="1717177"/>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51444" tIns="25722" rIns="51444" bIns="96021" numCol="1" rtlCol="0" anchor="b" anchorCtr="0" compatLnSpc="1">
            <a:prstTxWarp prst="textNoShape">
              <a:avLst/>
            </a:prstTxWarp>
          </a:bodyPr>
          <a:lstStyle/>
          <a:p>
            <a:pPr algn="ctr" defTabSz="681992" fontAlgn="base">
              <a:spcBef>
                <a:spcPct val="0"/>
              </a:spcBef>
              <a:spcAft>
                <a:spcPct val="0"/>
              </a:spcAft>
            </a:pPr>
            <a:r>
              <a:rPr lang="en-US" sz="1200" dirty="0">
                <a:gradFill>
                  <a:gsLst>
                    <a:gs pos="0">
                      <a:srgbClr val="FFFFFF"/>
                    </a:gs>
                    <a:gs pos="100000">
                      <a:srgbClr val="FFFFFF"/>
                    </a:gs>
                  </a:gsLst>
                  <a:lin ang="5400000" scaled="0"/>
                </a:gradFill>
                <a:latin typeface="Segoe UI" pitchFamily="34" charset="0"/>
                <a:ea typeface="Segoe UI" pitchFamily="34" charset="0"/>
                <a:cs typeface="Segoe UI" pitchFamily="34" charset="0"/>
              </a:rPr>
              <a:t>Infrastructure</a:t>
            </a:r>
          </a:p>
        </p:txBody>
      </p:sp>
      <p:sp>
        <p:nvSpPr>
          <p:cNvPr id="7" name="Rectangle 6"/>
          <p:cNvSpPr/>
          <p:nvPr/>
        </p:nvSpPr>
        <p:spPr bwMode="auto">
          <a:xfrm>
            <a:off x="4980493" y="1153078"/>
            <a:ext cx="1862091" cy="1717177"/>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51444" tIns="25722" rIns="51444" bIns="96021" numCol="1" rtlCol="0" anchor="b" anchorCtr="0" compatLnSpc="1">
            <a:prstTxWarp prst="textNoShape">
              <a:avLst/>
            </a:prstTxWarp>
          </a:bodyPr>
          <a:lstStyle/>
          <a:p>
            <a:pPr algn="ctr" defTabSz="681992" fontAlgn="base">
              <a:spcBef>
                <a:spcPct val="0"/>
              </a:spcBef>
              <a:spcAft>
                <a:spcPct val="0"/>
              </a:spcAft>
            </a:pPr>
            <a:r>
              <a:rPr lang="en-US" sz="1200" dirty="0">
                <a:gradFill>
                  <a:gsLst>
                    <a:gs pos="0">
                      <a:srgbClr val="FFFFFF"/>
                    </a:gs>
                    <a:gs pos="100000">
                      <a:srgbClr val="FFFFFF"/>
                    </a:gs>
                  </a:gsLst>
                  <a:lin ang="5400000" scaled="0"/>
                </a:gradFill>
                <a:latin typeface="Segoe UI" pitchFamily="34" charset="0"/>
                <a:ea typeface="Segoe UI" pitchFamily="34" charset="0"/>
                <a:cs typeface="Segoe UI" pitchFamily="34" charset="0"/>
              </a:rPr>
              <a:t>Application </a:t>
            </a:r>
          </a:p>
        </p:txBody>
      </p:sp>
      <p:sp>
        <p:nvSpPr>
          <p:cNvPr id="9" name="Rectangle 8"/>
          <p:cNvSpPr/>
          <p:nvPr/>
        </p:nvSpPr>
        <p:spPr bwMode="auto">
          <a:xfrm>
            <a:off x="6886065" y="1153078"/>
            <a:ext cx="1862091" cy="1717177"/>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51444" tIns="25722" rIns="51444" bIns="96021" numCol="1" rtlCol="0" anchor="b" anchorCtr="0" compatLnSpc="1">
            <a:prstTxWarp prst="textNoShape">
              <a:avLst/>
            </a:prstTxWarp>
          </a:bodyPr>
          <a:lstStyle/>
          <a:p>
            <a:pPr algn="ctr" defTabSz="681992" fontAlgn="base">
              <a:spcBef>
                <a:spcPct val="0"/>
              </a:spcBef>
              <a:spcAft>
                <a:spcPct val="0"/>
              </a:spcAft>
            </a:pPr>
            <a:r>
              <a:rPr lang="en-US" sz="1200" dirty="0">
                <a:gradFill>
                  <a:gsLst>
                    <a:gs pos="0">
                      <a:srgbClr val="FFFFFF"/>
                    </a:gs>
                    <a:gs pos="100000">
                      <a:srgbClr val="FFFFFF"/>
                    </a:gs>
                  </a:gsLst>
                  <a:lin ang="5400000" scaled="0"/>
                </a:gradFill>
                <a:latin typeface="Segoe UI" pitchFamily="34" charset="0"/>
                <a:ea typeface="Segoe UI" pitchFamily="34" charset="0"/>
                <a:cs typeface="Segoe UI" pitchFamily="34" charset="0"/>
              </a:rPr>
              <a:t>Client </a:t>
            </a:r>
          </a:p>
        </p:txBody>
      </p:sp>
      <p:sp>
        <p:nvSpPr>
          <p:cNvPr id="14" name="Freeform 82"/>
          <p:cNvSpPr>
            <a:spLocks noEditPoints="1"/>
          </p:cNvSpPr>
          <p:nvPr/>
        </p:nvSpPr>
        <p:spPr bwMode="black">
          <a:xfrm>
            <a:off x="3517701" y="1434004"/>
            <a:ext cx="991185" cy="837635"/>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sz="1200" dirty="0"/>
          </a:p>
        </p:txBody>
      </p:sp>
      <p:pic>
        <p:nvPicPr>
          <p:cNvPr id="15" name="Picture 8" descr="\\MAGNUM\Projects\Microsoft\Cloud Power FY12\Design\Icons\PNGs\Cross Platform.png"/>
          <p:cNvPicPr>
            <a:picLocks noChangeAspect="1" noChangeArrowheads="1"/>
          </p:cNvPicPr>
          <p:nvPr/>
        </p:nvPicPr>
        <p:blipFill>
          <a:blip r:embed="rId2" cstate="print">
            <a:lum bright="100000"/>
          </a:blip>
          <a:stretch>
            <a:fillRect/>
          </a:stretch>
        </p:blipFill>
        <p:spPr bwMode="auto">
          <a:xfrm>
            <a:off x="5241863" y="1136440"/>
            <a:ext cx="1371957" cy="1371600"/>
          </a:xfrm>
          <a:prstGeom prst="rect">
            <a:avLst/>
          </a:prstGeom>
          <a:noFill/>
        </p:spPr>
      </p:pic>
      <p:pic>
        <p:nvPicPr>
          <p:cNvPr id="16" name="Picture 6" descr="\\MAGNUM\Projects\Microsoft\Cloud Power FY12\Design\ICONS_PNG\Professionals.png"/>
          <p:cNvPicPr>
            <a:picLocks noChangeAspect="1" noChangeArrowheads="1"/>
          </p:cNvPicPr>
          <p:nvPr/>
        </p:nvPicPr>
        <p:blipFill>
          <a:blip r:embed="rId3" cstate="print">
            <a:lum bright="100000"/>
          </a:blip>
          <a:srcRect/>
          <a:stretch>
            <a:fillRect/>
          </a:stretch>
        </p:blipFill>
        <p:spPr bwMode="auto">
          <a:xfrm>
            <a:off x="7343513" y="1349466"/>
            <a:ext cx="975045" cy="974792"/>
          </a:xfrm>
          <a:prstGeom prst="rect">
            <a:avLst/>
          </a:prstGeom>
          <a:noFill/>
        </p:spPr>
      </p:pic>
      <p:sp>
        <p:nvSpPr>
          <p:cNvPr id="17" name="Rectangle 16"/>
          <p:cNvSpPr/>
          <p:nvPr/>
        </p:nvSpPr>
        <p:spPr bwMode="auto">
          <a:xfrm>
            <a:off x="3067591" y="2918866"/>
            <a:ext cx="1862091" cy="693308"/>
          </a:xfrm>
          <a:prstGeom prst="rect">
            <a:avLst/>
          </a:prstGeom>
          <a:solidFill>
            <a:schemeClr val="accent1"/>
          </a:solidFill>
          <a:ln w="9525">
            <a:noFill/>
            <a:miter lim="800000"/>
            <a:headEnd/>
            <a:tailEnd/>
          </a:ln>
        </p:spPr>
        <p:txBody>
          <a:bodyPr wrap="square" lIns="137172" tIns="34294" rIns="68586" bIns="68586" anchor="b" anchorCtr="0"/>
          <a:lstStyle/>
          <a:p>
            <a:pPr defTabSz="685637" fontAlgn="base">
              <a:spcBef>
                <a:spcPct val="0"/>
              </a:spcBef>
              <a:spcAft>
                <a:spcPct val="0"/>
              </a:spcAft>
            </a:pPr>
            <a:r>
              <a:rPr lang="en-US" sz="1200" spc="-38" dirty="0">
                <a:gradFill>
                  <a:gsLst>
                    <a:gs pos="0">
                      <a:srgbClr val="FFFFFF"/>
                    </a:gs>
                    <a:gs pos="100000">
                      <a:srgbClr val="FFFFFF"/>
                    </a:gs>
                  </a:gsLst>
                  <a:lin ang="5400000" scaled="0"/>
                </a:gradFill>
                <a:latin typeface="Segoe UI" pitchFamily="34" charset="0"/>
                <a:ea typeface="Segoe UI" pitchFamily="34" charset="0"/>
                <a:cs typeface="Segoe UI" pitchFamily="34" charset="0"/>
              </a:rPr>
              <a:t>Virtualization </a:t>
            </a:r>
          </a:p>
        </p:txBody>
      </p:sp>
      <p:sp>
        <p:nvSpPr>
          <p:cNvPr id="18" name="Rectangle 17"/>
          <p:cNvSpPr/>
          <p:nvPr/>
        </p:nvSpPr>
        <p:spPr bwMode="auto">
          <a:xfrm>
            <a:off x="4980493" y="2918866"/>
            <a:ext cx="1862091" cy="693308"/>
          </a:xfrm>
          <a:prstGeom prst="rect">
            <a:avLst/>
          </a:prstGeom>
          <a:solidFill>
            <a:schemeClr val="accent2"/>
          </a:solidFill>
          <a:ln w="9525">
            <a:noFill/>
            <a:miter lim="800000"/>
            <a:headEnd/>
            <a:tailEnd/>
          </a:ln>
        </p:spPr>
        <p:txBody>
          <a:bodyPr wrap="square" lIns="137172" tIns="34294" rIns="68586" bIns="68586" anchor="b" anchorCtr="0"/>
          <a:lstStyle/>
          <a:p>
            <a:pPr defTabSz="685637" fontAlgn="base">
              <a:spcBef>
                <a:spcPct val="0"/>
              </a:spcBef>
              <a:spcAft>
                <a:spcPct val="0"/>
              </a:spcAft>
            </a:pPr>
            <a:r>
              <a:rPr lang="en-US" sz="1200" spc="-38" dirty="0">
                <a:gradFill>
                  <a:gsLst>
                    <a:gs pos="0">
                      <a:srgbClr val="FFFFFF"/>
                    </a:gs>
                    <a:gs pos="100000">
                      <a:srgbClr val="FFFFFF"/>
                    </a:gs>
                  </a:gsLst>
                  <a:lin ang="5400000" scaled="0"/>
                </a:gradFill>
                <a:latin typeface="Segoe UI" pitchFamily="34" charset="0"/>
                <a:ea typeface="Segoe UI" pitchFamily="34" charset="0"/>
                <a:cs typeface="Segoe UI" pitchFamily="34" charset="0"/>
              </a:rPr>
              <a:t>Storage </a:t>
            </a:r>
          </a:p>
        </p:txBody>
      </p:sp>
      <p:sp>
        <p:nvSpPr>
          <p:cNvPr id="19" name="Rectangle 18"/>
          <p:cNvSpPr/>
          <p:nvPr/>
        </p:nvSpPr>
        <p:spPr bwMode="auto">
          <a:xfrm>
            <a:off x="6886065" y="2918866"/>
            <a:ext cx="1862091" cy="693308"/>
          </a:xfrm>
          <a:prstGeom prst="rect">
            <a:avLst/>
          </a:prstGeom>
          <a:solidFill>
            <a:schemeClr val="accent3"/>
          </a:solidFill>
          <a:ln w="9525">
            <a:noFill/>
            <a:miter lim="800000"/>
            <a:headEnd/>
            <a:tailEnd/>
          </a:ln>
        </p:spPr>
        <p:txBody>
          <a:bodyPr wrap="square" lIns="137172" tIns="34294" rIns="68586" bIns="68586" anchor="b" anchorCtr="0"/>
          <a:lstStyle/>
          <a:p>
            <a:pPr defTabSz="685637" fontAlgn="base">
              <a:spcBef>
                <a:spcPct val="0"/>
              </a:spcBef>
              <a:spcAft>
                <a:spcPct val="0"/>
              </a:spcAft>
            </a:pPr>
            <a:r>
              <a:rPr lang="en-US" sz="1200" spc="-38" dirty="0">
                <a:gradFill>
                  <a:gsLst>
                    <a:gs pos="0">
                      <a:srgbClr val="FFFFFF"/>
                    </a:gs>
                    <a:gs pos="100000">
                      <a:srgbClr val="FFFFFF"/>
                    </a:gs>
                  </a:gsLst>
                  <a:lin ang="5400000" scaled="0"/>
                </a:gradFill>
                <a:latin typeface="Segoe UI" pitchFamily="34" charset="0"/>
                <a:ea typeface="Segoe UI" pitchFamily="34" charset="0"/>
                <a:cs typeface="Segoe UI" pitchFamily="34" charset="0"/>
              </a:rPr>
              <a:t>Web and application platform</a:t>
            </a:r>
          </a:p>
        </p:txBody>
      </p:sp>
      <p:sp>
        <p:nvSpPr>
          <p:cNvPr id="20" name="Rectangle 19"/>
          <p:cNvSpPr/>
          <p:nvPr/>
        </p:nvSpPr>
        <p:spPr bwMode="auto">
          <a:xfrm>
            <a:off x="4508696" y="3666214"/>
            <a:ext cx="1363875" cy="693308"/>
          </a:xfrm>
          <a:prstGeom prst="rect">
            <a:avLst/>
          </a:prstGeom>
          <a:solidFill>
            <a:schemeClr val="accent2"/>
          </a:solidFill>
          <a:ln w="9525">
            <a:noFill/>
            <a:miter lim="800000"/>
            <a:headEnd/>
            <a:tailEnd/>
          </a:ln>
        </p:spPr>
        <p:txBody>
          <a:bodyPr wrap="square" lIns="137172" tIns="34294" rIns="68586" bIns="68586" anchor="b" anchorCtr="0"/>
          <a:lstStyle/>
          <a:p>
            <a:pPr defTabSz="685637" fontAlgn="base">
              <a:spcBef>
                <a:spcPct val="0"/>
              </a:spcBef>
              <a:spcAft>
                <a:spcPct val="0"/>
              </a:spcAft>
            </a:pPr>
            <a:r>
              <a:rPr lang="en-US" sz="1200" spc="-38" dirty="0">
                <a:gradFill>
                  <a:gsLst>
                    <a:gs pos="0">
                      <a:srgbClr val="FFFFFF"/>
                    </a:gs>
                    <a:gs pos="100000">
                      <a:srgbClr val="FFFFFF"/>
                    </a:gs>
                  </a:gsLst>
                  <a:lin ang="5400000" scaled="0"/>
                </a:gradFill>
                <a:latin typeface="Segoe UI" pitchFamily="34" charset="0"/>
                <a:ea typeface="Segoe UI" pitchFamily="34" charset="0"/>
                <a:cs typeface="Segoe UI" pitchFamily="34" charset="0"/>
              </a:rPr>
              <a:t>Management </a:t>
            </a:r>
            <a:br>
              <a:rPr lang="en-US" sz="1200" spc="-38" dirty="0">
                <a:gradFill>
                  <a:gsLst>
                    <a:gs pos="0">
                      <a:srgbClr val="FFFFFF"/>
                    </a:gs>
                    <a:gs pos="100000">
                      <a:srgbClr val="FFFFFF"/>
                    </a:gs>
                  </a:gsLst>
                  <a:lin ang="5400000" scaled="0"/>
                </a:gradFill>
                <a:latin typeface="Segoe UI" pitchFamily="34" charset="0"/>
                <a:ea typeface="Segoe UI" pitchFamily="34" charset="0"/>
                <a:cs typeface="Segoe UI" pitchFamily="34" charset="0"/>
              </a:rPr>
            </a:br>
            <a:r>
              <a:rPr lang="en-US" sz="1200" spc="-38" dirty="0">
                <a:gradFill>
                  <a:gsLst>
                    <a:gs pos="0">
                      <a:srgbClr val="FFFFFF"/>
                    </a:gs>
                    <a:gs pos="100000">
                      <a:srgbClr val="FFFFFF"/>
                    </a:gs>
                  </a:gsLst>
                  <a:lin ang="5400000" scaled="0"/>
                </a:gradFill>
                <a:latin typeface="Segoe UI" pitchFamily="34" charset="0"/>
                <a:ea typeface="Segoe UI" pitchFamily="34" charset="0"/>
                <a:cs typeface="Segoe UI" pitchFamily="34" charset="0"/>
              </a:rPr>
              <a:t>and automation </a:t>
            </a:r>
          </a:p>
        </p:txBody>
      </p:sp>
      <p:sp>
        <p:nvSpPr>
          <p:cNvPr id="21" name="Rectangle 20"/>
          <p:cNvSpPr/>
          <p:nvPr/>
        </p:nvSpPr>
        <p:spPr bwMode="auto">
          <a:xfrm>
            <a:off x="5918170" y="3666214"/>
            <a:ext cx="1392192" cy="693308"/>
          </a:xfrm>
          <a:prstGeom prst="rect">
            <a:avLst/>
          </a:prstGeom>
          <a:solidFill>
            <a:schemeClr val="accent5"/>
          </a:solidFill>
          <a:ln w="9525">
            <a:noFill/>
            <a:miter lim="800000"/>
            <a:headEnd/>
            <a:tailEnd/>
          </a:ln>
        </p:spPr>
        <p:txBody>
          <a:bodyPr wrap="square" lIns="137172" tIns="34294" rIns="68586" bIns="68586" anchor="b" anchorCtr="0"/>
          <a:lstStyle/>
          <a:p>
            <a:pPr defTabSz="685637" fontAlgn="base">
              <a:spcBef>
                <a:spcPct val="0"/>
              </a:spcBef>
              <a:spcAft>
                <a:spcPct val="0"/>
              </a:spcAft>
            </a:pPr>
            <a:r>
              <a:rPr lang="en-US" sz="1200" spc="-38" dirty="0">
                <a:gradFill>
                  <a:gsLst>
                    <a:gs pos="0">
                      <a:srgbClr val="FFFFFF"/>
                    </a:gs>
                    <a:gs pos="100000">
                      <a:srgbClr val="FFFFFF"/>
                    </a:gs>
                  </a:gsLst>
                  <a:lin ang="5400000" scaled="0"/>
                </a:gradFill>
                <a:latin typeface="Segoe UI" pitchFamily="34" charset="0"/>
                <a:ea typeface="Segoe UI" pitchFamily="34" charset="0"/>
                <a:cs typeface="Segoe UI" pitchFamily="34" charset="0"/>
              </a:rPr>
              <a:t>VDI </a:t>
            </a:r>
          </a:p>
        </p:txBody>
      </p:sp>
      <p:sp>
        <p:nvSpPr>
          <p:cNvPr id="22" name="Rectangle 21"/>
          <p:cNvSpPr/>
          <p:nvPr/>
        </p:nvSpPr>
        <p:spPr bwMode="auto">
          <a:xfrm>
            <a:off x="7355962" y="3666214"/>
            <a:ext cx="1392192" cy="693308"/>
          </a:xfrm>
          <a:prstGeom prst="rect">
            <a:avLst/>
          </a:prstGeom>
          <a:solidFill>
            <a:schemeClr val="accent5"/>
          </a:solidFill>
          <a:ln w="9525">
            <a:noFill/>
            <a:miter lim="800000"/>
            <a:headEnd/>
            <a:tailEnd/>
          </a:ln>
        </p:spPr>
        <p:txBody>
          <a:bodyPr wrap="square" lIns="137172" tIns="34294" rIns="68586" bIns="68586" anchor="b" anchorCtr="0"/>
          <a:lstStyle/>
          <a:p>
            <a:pPr defTabSz="685637" fontAlgn="base">
              <a:spcBef>
                <a:spcPct val="0"/>
              </a:spcBef>
              <a:spcAft>
                <a:spcPct val="0"/>
              </a:spcAft>
            </a:pPr>
            <a:r>
              <a:rPr lang="en-US" sz="1200" spc="-38" dirty="0">
                <a:gradFill>
                  <a:gsLst>
                    <a:gs pos="0">
                      <a:srgbClr val="FFFFFF"/>
                    </a:gs>
                    <a:gs pos="100000">
                      <a:srgbClr val="FFFFFF"/>
                    </a:gs>
                  </a:gsLst>
                  <a:lin ang="5400000" scaled="0"/>
                </a:gradFill>
                <a:latin typeface="Segoe UI" pitchFamily="34" charset="0"/>
                <a:ea typeface="Segoe UI" pitchFamily="34" charset="0"/>
                <a:cs typeface="Segoe UI" pitchFamily="34" charset="0"/>
              </a:rPr>
              <a:t>Identity and access</a:t>
            </a:r>
          </a:p>
        </p:txBody>
      </p:sp>
      <p:sp>
        <p:nvSpPr>
          <p:cNvPr id="23" name="Rectangle 22"/>
          <p:cNvSpPr/>
          <p:nvPr/>
        </p:nvSpPr>
        <p:spPr bwMode="auto">
          <a:xfrm>
            <a:off x="3070903" y="3666214"/>
            <a:ext cx="1392192" cy="693308"/>
          </a:xfrm>
          <a:prstGeom prst="rect">
            <a:avLst/>
          </a:prstGeom>
          <a:solidFill>
            <a:schemeClr val="accent2"/>
          </a:solidFill>
          <a:ln w="9525">
            <a:noFill/>
            <a:miter lim="800000"/>
            <a:headEnd/>
            <a:tailEnd/>
          </a:ln>
        </p:spPr>
        <p:txBody>
          <a:bodyPr wrap="square" lIns="137172" tIns="34294" rIns="68586" bIns="68586" anchor="b" anchorCtr="0"/>
          <a:lstStyle/>
          <a:p>
            <a:pPr defTabSz="685637" fontAlgn="base">
              <a:spcBef>
                <a:spcPct val="0"/>
              </a:spcBef>
              <a:spcAft>
                <a:spcPct val="0"/>
              </a:spcAft>
            </a:pPr>
            <a:r>
              <a:rPr lang="en-US" sz="1200" spc="-38" dirty="0">
                <a:gradFill>
                  <a:gsLst>
                    <a:gs pos="0">
                      <a:srgbClr val="FFFFFF"/>
                    </a:gs>
                    <a:gs pos="100000">
                      <a:srgbClr val="FFFFFF"/>
                    </a:gs>
                  </a:gsLst>
                  <a:lin ang="5400000" scaled="0"/>
                </a:gradFill>
                <a:latin typeface="Segoe UI" pitchFamily="34" charset="0"/>
                <a:ea typeface="Segoe UI" pitchFamily="34" charset="0"/>
                <a:cs typeface="Segoe UI" pitchFamily="34" charset="0"/>
              </a:rPr>
              <a:t>Networking </a:t>
            </a:r>
          </a:p>
        </p:txBody>
      </p:sp>
      <p:sp>
        <p:nvSpPr>
          <p:cNvPr id="25" name="Rectangle 24"/>
          <p:cNvSpPr/>
          <p:nvPr/>
        </p:nvSpPr>
        <p:spPr bwMode="auto">
          <a:xfrm>
            <a:off x="377800" y="2916118"/>
            <a:ext cx="2649128" cy="1091711"/>
          </a:xfrm>
          <a:prstGeom prst="rect">
            <a:avLst/>
          </a:prstGeom>
          <a:solidFill>
            <a:schemeClr val="accent6"/>
          </a:soli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700" dirty="0">
                <a:solidFill>
                  <a:schemeClr val="tx1">
                    <a:alpha val="99000"/>
                  </a:schemeClr>
                </a:solidFill>
                <a:latin typeface="Segoe UI" pitchFamily="34" charset="0"/>
                <a:ea typeface="Segoe UI" pitchFamily="34" charset="0"/>
                <a:cs typeface="Segoe UI" pitchFamily="34" charset="0"/>
              </a:rPr>
              <a:t>Technical capabilities </a:t>
            </a:r>
          </a:p>
        </p:txBody>
      </p:sp>
      <p:sp>
        <p:nvSpPr>
          <p:cNvPr id="31" name="Freeform 9"/>
          <p:cNvSpPr>
            <a:spLocks noEditPoints="1"/>
          </p:cNvSpPr>
          <p:nvPr/>
        </p:nvSpPr>
        <p:spPr bwMode="black">
          <a:xfrm>
            <a:off x="2547451" y="1901964"/>
            <a:ext cx="369540" cy="370946"/>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6" tIns="34294" rIns="68586" bIns="34294" numCol="1" anchor="t" anchorCtr="0" compatLnSpc="1">
            <a:prstTxWarp prst="textNoShape">
              <a:avLst/>
            </a:prstTxWarp>
          </a:bodyPr>
          <a:lstStyle/>
          <a:p>
            <a:endParaRPr lang="en-US" dirty="0"/>
          </a:p>
        </p:txBody>
      </p:sp>
      <p:sp>
        <p:nvSpPr>
          <p:cNvPr id="32" name="Freeform 9"/>
          <p:cNvSpPr>
            <a:spLocks noEditPoints="1"/>
          </p:cNvSpPr>
          <p:nvPr/>
        </p:nvSpPr>
        <p:spPr bwMode="black">
          <a:xfrm>
            <a:off x="2547451" y="3052291"/>
            <a:ext cx="369540" cy="370946"/>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6" tIns="34294" rIns="68586" bIns="34294" numCol="1" anchor="t" anchorCtr="0" compatLnSpc="1">
            <a:prstTxWarp prst="textNoShape">
              <a:avLst/>
            </a:prstTxWarp>
          </a:bodyPr>
          <a:lstStyle/>
          <a:p>
            <a:endParaRPr lang="en-US" dirty="0"/>
          </a:p>
        </p:txBody>
      </p:sp>
      <p:sp>
        <p:nvSpPr>
          <p:cNvPr id="24"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7"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4"/>
              </a:rPr>
              <a:t>www.rapidbbs.cn</a:t>
            </a:r>
            <a:endParaRPr lang="zh-CN" altLang="en-US" sz="1200" b="0">
              <a:latin typeface="Arial" charset="0"/>
              <a:ea typeface="ＭＳ Ｐゴシック" pitchFamily="34" charset="-128"/>
            </a:endParaRPr>
          </a:p>
        </p:txBody>
      </p:sp>
      <p:pic>
        <p:nvPicPr>
          <p:cNvPr id="28" name="Picture 2">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65694463"/>
      </p:ext>
    </p:extLst>
  </p:cSld>
  <p:clrMapOvr>
    <a:masterClrMapping/>
  </p:clrMapOvr>
  <p:transition>
    <p:fade/>
  </p:transition>
  <p:timing>
    <p:tnLst>
      <p:par>
        <p:cTn id="1" dur="indefinite" restart="never" nodeType="tmRoot"/>
      </p:par>
    </p:tnLst>
  </p:timing>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37"/>
          <p:cNvSpPr>
            <a:spLocks noChangeArrowheads="1"/>
          </p:cNvSpPr>
          <p:nvPr/>
        </p:nvSpPr>
        <p:spPr bwMode="auto">
          <a:xfrm>
            <a:off x="385837" y="839098"/>
            <a:ext cx="961679" cy="966978"/>
          </a:xfrm>
          <a:prstGeom prst="rect">
            <a:avLst/>
          </a:prstGeom>
          <a:solidFill>
            <a:srgbClr val="7FBA00"/>
          </a:solidFill>
          <a:ln w="9525">
            <a:noFill/>
            <a:miter lim="800000"/>
            <a:headEnd/>
            <a:tailEnd/>
          </a:ln>
        </p:spPr>
        <p:txBody>
          <a:bodyPr wrap="none" lIns="57113" tIns="28555" rIns="57113" bIns="28555" anchor="ctr"/>
          <a:lstStyle/>
          <a:p>
            <a:endParaRPr lang="en-US" dirty="0"/>
          </a:p>
        </p:txBody>
      </p:sp>
      <p:sp>
        <p:nvSpPr>
          <p:cNvPr id="69" name="Rectangle 37"/>
          <p:cNvSpPr>
            <a:spLocks noChangeArrowheads="1"/>
          </p:cNvSpPr>
          <p:nvPr/>
        </p:nvSpPr>
        <p:spPr bwMode="auto">
          <a:xfrm>
            <a:off x="1416177" y="841840"/>
            <a:ext cx="7342128" cy="960583"/>
          </a:xfrm>
          <a:prstGeom prst="rect">
            <a:avLst/>
          </a:prstGeom>
          <a:solidFill>
            <a:schemeClr val="bg1"/>
          </a:solidFill>
        </p:spPr>
        <p:txBody>
          <a:bodyPr wrap="square" lIns="137172" tIns="0" rIns="137172" bIns="68586" anchor="b">
            <a:noAutofit/>
          </a:bodyPr>
          <a:lstStyle/>
          <a:p>
            <a:pPr>
              <a:lnSpc>
                <a:spcPct val="90000"/>
              </a:lnSpc>
            </a:pPr>
            <a:endParaRPr lang="en-US" spc="-38" dirty="0">
              <a:gradFill>
                <a:gsLst>
                  <a:gs pos="2917">
                    <a:schemeClr val="tx1"/>
                  </a:gs>
                  <a:gs pos="30000">
                    <a:schemeClr val="tx1"/>
                  </a:gs>
                </a:gsLst>
                <a:lin ang="5400000" scaled="0"/>
              </a:gradFill>
            </a:endParaRPr>
          </a:p>
        </p:txBody>
      </p:sp>
      <p:sp>
        <p:nvSpPr>
          <p:cNvPr id="70" name="Rectangle 69"/>
          <p:cNvSpPr/>
          <p:nvPr/>
        </p:nvSpPr>
        <p:spPr bwMode="auto">
          <a:xfrm>
            <a:off x="379754" y="1885804"/>
            <a:ext cx="8375080" cy="268250"/>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defTabSz="685637" fontAlgn="base">
              <a:lnSpc>
                <a:spcPct val="90000"/>
              </a:lnSpc>
              <a:spcBef>
                <a:spcPct val="0"/>
              </a:spcBef>
              <a:spcAft>
                <a:spcPct val="0"/>
              </a:spcAft>
            </a:pPr>
            <a:r>
              <a:rPr lang="en-US" spc="-38" dirty="0">
                <a:gradFill>
                  <a:gsLst>
                    <a:gs pos="0">
                      <a:schemeClr val="bg1"/>
                    </a:gs>
                    <a:gs pos="100000">
                      <a:schemeClr val="bg1"/>
                    </a:gs>
                  </a:gsLst>
                  <a:lin ang="5400000" scaled="0"/>
                </a:gradFill>
                <a:latin typeface="+mj-lt"/>
              </a:rPr>
              <a:t>TOP FEATURES OF NETWORKING TO MEET CUSTOMER CHALLENGES</a:t>
            </a:r>
          </a:p>
        </p:txBody>
      </p:sp>
      <p:sp>
        <p:nvSpPr>
          <p:cNvPr id="2" name="Title 1"/>
          <p:cNvSpPr>
            <a:spLocks noGrp="1"/>
          </p:cNvSpPr>
          <p:nvPr>
            <p:ph type="title"/>
          </p:nvPr>
        </p:nvSpPr>
        <p:spPr>
          <a:xfrm>
            <a:off x="389436" y="171452"/>
            <a:ext cx="8363938" cy="457048"/>
          </a:xfrm>
        </p:spPr>
        <p:txBody>
          <a:bodyPr/>
          <a:lstStyle/>
          <a:p>
            <a:r>
              <a:rPr lang="en-US" dirty="0"/>
              <a:t>Networking</a:t>
            </a:r>
          </a:p>
        </p:txBody>
      </p:sp>
      <p:sp>
        <p:nvSpPr>
          <p:cNvPr id="11" name="TextBox 10"/>
          <p:cNvSpPr txBox="1"/>
          <p:nvPr/>
        </p:nvSpPr>
        <p:spPr>
          <a:xfrm>
            <a:off x="1619736" y="1084382"/>
            <a:ext cx="1561104" cy="335477"/>
          </a:xfrm>
          <a:prstGeom prst="rect">
            <a:avLst/>
          </a:prstGeom>
          <a:noFill/>
        </p:spPr>
        <p:txBody>
          <a:bodyPr wrap="square" lIns="0" tIns="0" rIns="0" bIns="0" rtlCol="0">
            <a:spAutoFit/>
          </a:bodyPr>
          <a:lstStyle/>
          <a:p>
            <a:pPr>
              <a:lnSpc>
                <a:spcPct val="90000"/>
              </a:lnSpc>
            </a:pPr>
            <a:r>
              <a:rPr lang="en-US" sz="1200" spc="-38" dirty="0">
                <a:gradFill>
                  <a:gsLst>
                    <a:gs pos="2917">
                      <a:schemeClr val="tx1"/>
                    </a:gs>
                    <a:gs pos="30000">
                      <a:schemeClr val="tx1"/>
                    </a:gs>
                  </a:gsLst>
                  <a:lin ang="5400000" scaled="0"/>
                </a:gradFill>
              </a:rPr>
              <a:t>Easy to connect users to IT resources</a:t>
            </a:r>
          </a:p>
        </p:txBody>
      </p:sp>
      <p:sp>
        <p:nvSpPr>
          <p:cNvPr id="71" name="TextBox 70"/>
          <p:cNvSpPr txBox="1"/>
          <p:nvPr/>
        </p:nvSpPr>
        <p:spPr>
          <a:xfrm>
            <a:off x="3583944" y="1091709"/>
            <a:ext cx="1465825" cy="886397"/>
          </a:xfrm>
          <a:prstGeom prst="rect">
            <a:avLst/>
          </a:prstGeom>
          <a:noFill/>
        </p:spPr>
        <p:txBody>
          <a:bodyPr wrap="square" lIns="0" tIns="0" rIns="0" bIns="0" rtlCol="0">
            <a:spAutoFit/>
          </a:bodyPr>
          <a:lstStyle>
            <a:defPPr>
              <a:defRPr lang="en-US"/>
            </a:defPPr>
            <a:lvl1pPr>
              <a:lnSpc>
                <a:spcPct val="90000"/>
              </a:lnSpc>
              <a:defRPr sz="1600" spc="-50">
                <a:gradFill>
                  <a:gsLst>
                    <a:gs pos="2917">
                      <a:schemeClr val="tx1"/>
                    </a:gs>
                    <a:gs pos="30000">
                      <a:schemeClr val="tx1"/>
                    </a:gs>
                  </a:gsLst>
                  <a:lin ang="5400000" scaled="0"/>
                </a:gradFill>
              </a:defRPr>
            </a:lvl1pPr>
          </a:lstStyle>
          <a:p>
            <a:r>
              <a:rPr lang="en-US" dirty="0"/>
              <a:t>Efficient management of datacenters and private clouds</a:t>
            </a:r>
          </a:p>
        </p:txBody>
      </p:sp>
      <p:sp>
        <p:nvSpPr>
          <p:cNvPr id="72" name="TextBox 71"/>
          <p:cNvSpPr txBox="1"/>
          <p:nvPr/>
        </p:nvSpPr>
        <p:spPr>
          <a:xfrm>
            <a:off x="5518833" y="1084382"/>
            <a:ext cx="1524458" cy="886397"/>
          </a:xfrm>
          <a:prstGeom prst="rect">
            <a:avLst/>
          </a:prstGeom>
          <a:noFill/>
        </p:spPr>
        <p:txBody>
          <a:bodyPr wrap="square" lIns="0" tIns="0" rIns="0" bIns="0" rtlCol="0">
            <a:spAutoFit/>
          </a:bodyPr>
          <a:lstStyle>
            <a:defPPr>
              <a:defRPr lang="en-US"/>
            </a:defPPr>
            <a:lvl1pPr>
              <a:lnSpc>
                <a:spcPct val="90000"/>
              </a:lnSpc>
              <a:defRPr sz="1600" spc="-50">
                <a:gradFill>
                  <a:gsLst>
                    <a:gs pos="2917">
                      <a:schemeClr val="tx1"/>
                    </a:gs>
                    <a:gs pos="30000">
                      <a:schemeClr val="tx1"/>
                    </a:gs>
                  </a:gsLst>
                  <a:lin ang="5400000" scaled="0"/>
                </a:gradFill>
              </a:defRPr>
            </a:lvl1pPr>
          </a:lstStyle>
          <a:p>
            <a:r>
              <a:rPr lang="en-US" dirty="0"/>
              <a:t>Ability to link your infrastructure </a:t>
            </a:r>
            <a:r>
              <a:rPr lang="en-US" dirty="0" smtClean="0"/>
              <a:t>with </a:t>
            </a:r>
            <a:r>
              <a:rPr lang="en-US" dirty="0"/>
              <a:t>Public Cloud Services</a:t>
            </a:r>
          </a:p>
        </p:txBody>
      </p:sp>
      <p:grpSp>
        <p:nvGrpSpPr>
          <p:cNvPr id="9" name="Group 8"/>
          <p:cNvGrpSpPr/>
          <p:nvPr/>
        </p:nvGrpSpPr>
        <p:grpSpPr>
          <a:xfrm>
            <a:off x="379754" y="3447887"/>
            <a:ext cx="1601002" cy="1116784"/>
            <a:chOff x="506205" y="4479953"/>
            <a:chExt cx="2134114" cy="1489045"/>
          </a:xfrm>
        </p:grpSpPr>
        <p:sp>
          <p:nvSpPr>
            <p:cNvPr id="100" name="Rectangle 99"/>
            <p:cNvSpPr>
              <a:spLocks noChangeAspect="1" noChangeArrowheads="1"/>
            </p:cNvSpPr>
            <p:nvPr/>
          </p:nvSpPr>
          <p:spPr bwMode="auto">
            <a:xfrm>
              <a:off x="506205" y="4479953"/>
              <a:ext cx="2134114" cy="1489045"/>
            </a:xfrm>
            <a:prstGeom prst="rect">
              <a:avLst/>
            </a:prstGeom>
            <a:solidFill>
              <a:schemeClr val="accent2"/>
            </a:solidFill>
            <a:ln w="9525">
              <a:noFill/>
              <a:miter lim="800000"/>
              <a:headEnd/>
              <a:tailEnd/>
            </a:ln>
          </p:spPr>
          <p:txBody>
            <a:bodyPr wrap="square" rIns="457200" bIns="91440" anchor="b" anchorCtr="0"/>
            <a:lstStyle/>
            <a:p>
              <a:pPr>
                <a:spcAft>
                  <a:spcPts val="225"/>
                </a:spcAft>
              </a:pPr>
              <a:r>
                <a:rPr lang="en-US" sz="1100" dirty="0">
                  <a:solidFill>
                    <a:srgbClr val="FFFFFF"/>
                  </a:solidFill>
                </a:rPr>
                <a:t>Dynamic Virtual Machine Queue</a:t>
              </a:r>
            </a:p>
          </p:txBody>
        </p:sp>
        <p:sp>
          <p:nvSpPr>
            <p:cNvPr id="105" name="Oval 104"/>
            <p:cNvSpPr/>
            <p:nvPr/>
          </p:nvSpPr>
          <p:spPr bwMode="auto">
            <a:xfrm>
              <a:off x="2111813" y="4639505"/>
              <a:ext cx="359998" cy="359998"/>
            </a:xfrm>
            <a:prstGeom prst="ellipse">
              <a:avLst/>
            </a:prstGeom>
            <a:noFill/>
            <a:ln w="19050" cmpd="sng">
              <a:solidFill>
                <a:schemeClr val="accent2">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lnSpc>
                  <a:spcPct val="90000"/>
                </a:lnSpc>
                <a:spcBef>
                  <a:spcPct val="0"/>
                </a:spcBef>
                <a:spcAft>
                  <a:spcPct val="0"/>
                </a:spcAft>
              </a:pPr>
              <a:r>
                <a:rPr lang="en-US" sz="1200" spc="-38" dirty="0">
                  <a:solidFill>
                    <a:srgbClr val="FFFFFF"/>
                  </a:solidFill>
                </a:rPr>
                <a:t>6</a:t>
              </a:r>
            </a:p>
          </p:txBody>
        </p:sp>
      </p:grpSp>
      <p:grpSp>
        <p:nvGrpSpPr>
          <p:cNvPr id="10" name="Group 9"/>
          <p:cNvGrpSpPr/>
          <p:nvPr/>
        </p:nvGrpSpPr>
        <p:grpSpPr>
          <a:xfrm>
            <a:off x="2074140" y="3447887"/>
            <a:ext cx="1601002" cy="1116784"/>
            <a:chOff x="2764800" y="4479953"/>
            <a:chExt cx="2134114" cy="1489045"/>
          </a:xfrm>
        </p:grpSpPr>
        <p:sp>
          <p:nvSpPr>
            <p:cNvPr id="101" name="Rectangle 100"/>
            <p:cNvSpPr>
              <a:spLocks noChangeAspect="1" noChangeArrowheads="1"/>
            </p:cNvSpPr>
            <p:nvPr/>
          </p:nvSpPr>
          <p:spPr bwMode="auto">
            <a:xfrm>
              <a:off x="2764800" y="4479953"/>
              <a:ext cx="2134114" cy="1489045"/>
            </a:xfrm>
            <a:prstGeom prst="rect">
              <a:avLst/>
            </a:prstGeom>
            <a:solidFill>
              <a:schemeClr val="accent2"/>
            </a:solidFill>
            <a:ln w="9525">
              <a:noFill/>
              <a:miter lim="800000"/>
              <a:headEnd/>
              <a:tailEnd/>
            </a:ln>
          </p:spPr>
          <p:txBody>
            <a:bodyPr wrap="square" rIns="457200" bIns="91440" anchor="b" anchorCtr="0"/>
            <a:lstStyle/>
            <a:p>
              <a:pPr>
                <a:spcAft>
                  <a:spcPts val="225"/>
                </a:spcAft>
              </a:pPr>
              <a:r>
                <a:rPr lang="en-US" sz="1100" dirty="0">
                  <a:solidFill>
                    <a:srgbClr val="FFFFFF"/>
                  </a:solidFill>
                </a:rPr>
                <a:t>IP Address Management (IPAM)</a:t>
              </a:r>
            </a:p>
          </p:txBody>
        </p:sp>
        <p:sp>
          <p:nvSpPr>
            <p:cNvPr id="106" name="Oval 105"/>
            <p:cNvSpPr/>
            <p:nvPr/>
          </p:nvSpPr>
          <p:spPr bwMode="auto">
            <a:xfrm>
              <a:off x="4378365" y="4639505"/>
              <a:ext cx="359998" cy="359998"/>
            </a:xfrm>
            <a:prstGeom prst="ellipse">
              <a:avLst/>
            </a:prstGeom>
            <a:noFill/>
            <a:ln w="19050" cmpd="sng">
              <a:solidFill>
                <a:schemeClr val="accent2">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lnSpc>
                  <a:spcPct val="90000"/>
                </a:lnSpc>
                <a:spcBef>
                  <a:spcPct val="0"/>
                </a:spcBef>
                <a:spcAft>
                  <a:spcPct val="0"/>
                </a:spcAft>
              </a:pPr>
              <a:r>
                <a:rPr lang="en-US" sz="1200" spc="-38" dirty="0">
                  <a:solidFill>
                    <a:srgbClr val="FFFFFF"/>
                  </a:solidFill>
                </a:rPr>
                <a:t>7</a:t>
              </a:r>
            </a:p>
          </p:txBody>
        </p:sp>
      </p:grpSp>
      <p:grpSp>
        <p:nvGrpSpPr>
          <p:cNvPr id="12" name="Group 11"/>
          <p:cNvGrpSpPr/>
          <p:nvPr/>
        </p:nvGrpSpPr>
        <p:grpSpPr>
          <a:xfrm>
            <a:off x="3768529" y="3447887"/>
            <a:ext cx="1601002" cy="1116784"/>
            <a:chOff x="5023395" y="4479953"/>
            <a:chExt cx="2134114" cy="1489045"/>
          </a:xfrm>
        </p:grpSpPr>
        <p:sp>
          <p:nvSpPr>
            <p:cNvPr id="102" name="Rectangle 101"/>
            <p:cNvSpPr>
              <a:spLocks noChangeAspect="1" noChangeArrowheads="1"/>
            </p:cNvSpPr>
            <p:nvPr/>
          </p:nvSpPr>
          <p:spPr bwMode="auto">
            <a:xfrm>
              <a:off x="5023395" y="4479953"/>
              <a:ext cx="2134114" cy="1489045"/>
            </a:xfrm>
            <a:prstGeom prst="rect">
              <a:avLst/>
            </a:prstGeom>
            <a:solidFill>
              <a:schemeClr val="accent2"/>
            </a:solidFill>
            <a:ln w="9525">
              <a:noFill/>
              <a:miter lim="800000"/>
              <a:headEnd/>
              <a:tailEnd/>
            </a:ln>
          </p:spPr>
          <p:txBody>
            <a:bodyPr wrap="square" rIns="457200" bIns="91440" anchor="b" anchorCtr="0"/>
            <a:lstStyle/>
            <a:p>
              <a:pPr>
                <a:spcAft>
                  <a:spcPts val="225"/>
                </a:spcAft>
              </a:pPr>
              <a:r>
                <a:rPr lang="en-US" sz="1100" dirty="0">
                  <a:solidFill>
                    <a:srgbClr val="FFFFFF"/>
                  </a:solidFill>
                </a:rPr>
                <a:t>Quality of Service (QoS)</a:t>
              </a:r>
            </a:p>
          </p:txBody>
        </p:sp>
        <p:sp>
          <p:nvSpPr>
            <p:cNvPr id="107" name="Oval 106"/>
            <p:cNvSpPr/>
            <p:nvPr/>
          </p:nvSpPr>
          <p:spPr bwMode="auto">
            <a:xfrm>
              <a:off x="6644917" y="4639505"/>
              <a:ext cx="359998" cy="359998"/>
            </a:xfrm>
            <a:prstGeom prst="ellipse">
              <a:avLst/>
            </a:prstGeom>
            <a:noFill/>
            <a:ln w="19050" cmpd="sng">
              <a:solidFill>
                <a:schemeClr val="accent2">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lnSpc>
                  <a:spcPct val="90000"/>
                </a:lnSpc>
                <a:spcBef>
                  <a:spcPct val="0"/>
                </a:spcBef>
                <a:spcAft>
                  <a:spcPct val="0"/>
                </a:spcAft>
              </a:pPr>
              <a:r>
                <a:rPr lang="en-US" sz="1200" spc="-38" dirty="0">
                  <a:solidFill>
                    <a:srgbClr val="FFFFFF"/>
                  </a:solidFill>
                </a:rPr>
                <a:t>8</a:t>
              </a:r>
            </a:p>
          </p:txBody>
        </p:sp>
      </p:grpSp>
      <p:grpSp>
        <p:nvGrpSpPr>
          <p:cNvPr id="13" name="Group 12"/>
          <p:cNvGrpSpPr/>
          <p:nvPr/>
        </p:nvGrpSpPr>
        <p:grpSpPr>
          <a:xfrm>
            <a:off x="5462915" y="3447887"/>
            <a:ext cx="1601002" cy="1116784"/>
            <a:chOff x="7281990" y="4479953"/>
            <a:chExt cx="2134114" cy="1489045"/>
          </a:xfrm>
        </p:grpSpPr>
        <p:sp>
          <p:nvSpPr>
            <p:cNvPr id="103" name="Rectangle 102"/>
            <p:cNvSpPr>
              <a:spLocks noChangeAspect="1" noChangeArrowheads="1"/>
            </p:cNvSpPr>
            <p:nvPr/>
          </p:nvSpPr>
          <p:spPr bwMode="auto">
            <a:xfrm>
              <a:off x="7281990" y="4479953"/>
              <a:ext cx="2134114" cy="1489045"/>
            </a:xfrm>
            <a:prstGeom prst="rect">
              <a:avLst/>
            </a:prstGeom>
            <a:solidFill>
              <a:schemeClr val="accent2"/>
            </a:solidFill>
            <a:ln w="9525">
              <a:noFill/>
              <a:miter lim="800000"/>
              <a:headEnd/>
              <a:tailEnd/>
            </a:ln>
          </p:spPr>
          <p:txBody>
            <a:bodyPr wrap="square" rIns="457200" bIns="91440" anchor="b" anchorCtr="0"/>
            <a:lstStyle/>
            <a:p>
              <a:pPr>
                <a:spcAft>
                  <a:spcPts val="225"/>
                </a:spcAft>
              </a:pPr>
              <a:r>
                <a:rPr lang="en-US" sz="1100" dirty="0">
                  <a:solidFill>
                    <a:srgbClr val="FFFFFF"/>
                  </a:solidFill>
                </a:rPr>
                <a:t>BranchCache</a:t>
              </a:r>
            </a:p>
          </p:txBody>
        </p:sp>
        <p:sp>
          <p:nvSpPr>
            <p:cNvPr id="108" name="Oval 107"/>
            <p:cNvSpPr/>
            <p:nvPr/>
          </p:nvSpPr>
          <p:spPr bwMode="auto">
            <a:xfrm>
              <a:off x="8911469" y="4639505"/>
              <a:ext cx="359998" cy="359998"/>
            </a:xfrm>
            <a:prstGeom prst="ellipse">
              <a:avLst/>
            </a:prstGeom>
            <a:noFill/>
            <a:ln w="19050" cmpd="sng">
              <a:solidFill>
                <a:schemeClr val="accent2">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lnSpc>
                  <a:spcPct val="90000"/>
                </a:lnSpc>
                <a:spcBef>
                  <a:spcPct val="0"/>
                </a:spcBef>
                <a:spcAft>
                  <a:spcPct val="0"/>
                </a:spcAft>
              </a:pPr>
              <a:r>
                <a:rPr lang="en-US" sz="1200" spc="-38" dirty="0">
                  <a:solidFill>
                    <a:srgbClr val="FFFFFF"/>
                  </a:solidFill>
                </a:rPr>
                <a:t>9</a:t>
              </a:r>
            </a:p>
          </p:txBody>
        </p:sp>
      </p:grpSp>
      <p:grpSp>
        <p:nvGrpSpPr>
          <p:cNvPr id="14" name="Group 13"/>
          <p:cNvGrpSpPr/>
          <p:nvPr/>
        </p:nvGrpSpPr>
        <p:grpSpPr>
          <a:xfrm>
            <a:off x="7157302" y="3447887"/>
            <a:ext cx="1601002" cy="1116784"/>
            <a:chOff x="9540584" y="4479953"/>
            <a:chExt cx="2134114" cy="1489045"/>
          </a:xfrm>
        </p:grpSpPr>
        <p:sp>
          <p:nvSpPr>
            <p:cNvPr id="104" name="Rectangle 103"/>
            <p:cNvSpPr>
              <a:spLocks noChangeAspect="1" noChangeArrowheads="1"/>
            </p:cNvSpPr>
            <p:nvPr/>
          </p:nvSpPr>
          <p:spPr bwMode="auto">
            <a:xfrm>
              <a:off x="9540584" y="4479953"/>
              <a:ext cx="2134114" cy="1489045"/>
            </a:xfrm>
            <a:prstGeom prst="rect">
              <a:avLst/>
            </a:prstGeom>
            <a:solidFill>
              <a:schemeClr val="accent2"/>
            </a:solidFill>
            <a:ln w="9525">
              <a:noFill/>
              <a:miter lim="800000"/>
              <a:headEnd/>
              <a:tailEnd/>
            </a:ln>
          </p:spPr>
          <p:txBody>
            <a:bodyPr wrap="square" rIns="457200" bIns="91440" anchor="b" anchorCtr="0"/>
            <a:lstStyle/>
            <a:p>
              <a:pPr>
                <a:spcAft>
                  <a:spcPts val="225"/>
                </a:spcAft>
              </a:pPr>
              <a:r>
                <a:rPr lang="en-US" sz="1100" dirty="0">
                  <a:solidFill>
                    <a:srgbClr val="FFFFFF"/>
                  </a:solidFill>
                </a:rPr>
                <a:t>SMB Direct and Multichannel</a:t>
              </a:r>
            </a:p>
          </p:txBody>
        </p:sp>
        <p:sp>
          <p:nvSpPr>
            <p:cNvPr id="109" name="Oval 108"/>
            <p:cNvSpPr/>
            <p:nvPr/>
          </p:nvSpPr>
          <p:spPr bwMode="auto">
            <a:xfrm>
              <a:off x="11178022" y="4639505"/>
              <a:ext cx="359998" cy="359998"/>
            </a:xfrm>
            <a:prstGeom prst="ellipse">
              <a:avLst/>
            </a:prstGeom>
            <a:noFill/>
            <a:ln w="19050" cmpd="sng">
              <a:solidFill>
                <a:schemeClr val="accent2">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91436" tIns="45718" rIns="91436" bIns="45718" numCol="1" rtlCol="0" anchor="ctr" anchorCtr="0" compatLnSpc="1">
              <a:prstTxWarp prst="textNoShape">
                <a:avLst/>
              </a:prstTxWarp>
            </a:bodyPr>
            <a:lstStyle/>
            <a:p>
              <a:pPr algn="ctr" defTabSz="685637" fontAlgn="base">
                <a:lnSpc>
                  <a:spcPct val="90000"/>
                </a:lnSpc>
                <a:spcBef>
                  <a:spcPct val="0"/>
                </a:spcBef>
                <a:spcAft>
                  <a:spcPct val="0"/>
                </a:spcAft>
              </a:pPr>
              <a:r>
                <a:rPr lang="en-US" sz="1200" spc="-38" dirty="0">
                  <a:solidFill>
                    <a:srgbClr val="FFFFFF"/>
                  </a:solidFill>
                </a:rPr>
                <a:t>10</a:t>
              </a:r>
            </a:p>
          </p:txBody>
        </p:sp>
      </p:grpSp>
      <p:grpSp>
        <p:nvGrpSpPr>
          <p:cNvPr id="3" name="Group 2"/>
          <p:cNvGrpSpPr/>
          <p:nvPr/>
        </p:nvGrpSpPr>
        <p:grpSpPr>
          <a:xfrm>
            <a:off x="379754" y="2246271"/>
            <a:ext cx="1601002" cy="1116784"/>
            <a:chOff x="506205" y="2877800"/>
            <a:chExt cx="2134114" cy="1489045"/>
          </a:xfrm>
        </p:grpSpPr>
        <p:sp>
          <p:nvSpPr>
            <p:cNvPr id="73" name="Rectangle 72"/>
            <p:cNvSpPr>
              <a:spLocks noChangeAspect="1" noChangeArrowheads="1"/>
            </p:cNvSpPr>
            <p:nvPr/>
          </p:nvSpPr>
          <p:spPr bwMode="auto">
            <a:xfrm>
              <a:off x="506205" y="2877800"/>
              <a:ext cx="2134114" cy="1489045"/>
            </a:xfrm>
            <a:prstGeom prst="rect">
              <a:avLst/>
            </a:prstGeom>
            <a:solidFill>
              <a:schemeClr val="accent2"/>
            </a:solidFill>
            <a:ln w="9525">
              <a:noFill/>
              <a:miter lim="800000"/>
              <a:headEnd/>
              <a:tailEnd/>
            </a:ln>
          </p:spPr>
          <p:txBody>
            <a:bodyPr wrap="square" rIns="457200" bIns="91440" anchor="b" anchorCtr="0"/>
            <a:lstStyle/>
            <a:p>
              <a:pPr>
                <a:spcAft>
                  <a:spcPts val="225"/>
                </a:spcAft>
              </a:pPr>
              <a:r>
                <a:rPr lang="en-US" sz="1100" dirty="0">
                  <a:solidFill>
                    <a:srgbClr val="FFFFFF"/>
                  </a:solidFill>
                </a:rPr>
                <a:t>NIC Teaming</a:t>
              </a:r>
            </a:p>
          </p:txBody>
        </p:sp>
        <p:sp>
          <p:nvSpPr>
            <p:cNvPr id="77" name="Oval 76"/>
            <p:cNvSpPr/>
            <p:nvPr/>
          </p:nvSpPr>
          <p:spPr bwMode="auto">
            <a:xfrm>
              <a:off x="2111813" y="3037352"/>
              <a:ext cx="359998" cy="359998"/>
            </a:xfrm>
            <a:prstGeom prst="ellipse">
              <a:avLst/>
            </a:prstGeom>
            <a:noFill/>
            <a:ln w="19050" cmpd="sng">
              <a:solidFill>
                <a:schemeClr val="accent2">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lnSpc>
                  <a:spcPct val="90000"/>
                </a:lnSpc>
                <a:spcBef>
                  <a:spcPct val="0"/>
                </a:spcBef>
                <a:spcAft>
                  <a:spcPct val="0"/>
                </a:spcAft>
              </a:pPr>
              <a:r>
                <a:rPr lang="en-US" sz="1200" spc="-38" dirty="0">
                  <a:solidFill>
                    <a:srgbClr val="FFFFFF"/>
                  </a:solidFill>
                </a:rPr>
                <a:t>1</a:t>
              </a:r>
            </a:p>
          </p:txBody>
        </p:sp>
      </p:grpSp>
      <p:grpSp>
        <p:nvGrpSpPr>
          <p:cNvPr id="4" name="Group 3"/>
          <p:cNvGrpSpPr/>
          <p:nvPr/>
        </p:nvGrpSpPr>
        <p:grpSpPr>
          <a:xfrm>
            <a:off x="2074140" y="2246271"/>
            <a:ext cx="1601002" cy="1116784"/>
            <a:chOff x="2764800" y="2877800"/>
            <a:chExt cx="2134114" cy="1489045"/>
          </a:xfrm>
        </p:grpSpPr>
        <p:sp>
          <p:nvSpPr>
            <p:cNvPr id="74" name="Rectangle 73"/>
            <p:cNvSpPr>
              <a:spLocks noChangeAspect="1" noChangeArrowheads="1"/>
            </p:cNvSpPr>
            <p:nvPr/>
          </p:nvSpPr>
          <p:spPr bwMode="auto">
            <a:xfrm>
              <a:off x="2764800" y="2877800"/>
              <a:ext cx="2134114" cy="1489045"/>
            </a:xfrm>
            <a:prstGeom prst="rect">
              <a:avLst/>
            </a:prstGeom>
            <a:solidFill>
              <a:schemeClr val="accent2"/>
            </a:solidFill>
            <a:ln w="9525">
              <a:noFill/>
              <a:miter lim="800000"/>
              <a:headEnd/>
              <a:tailEnd/>
            </a:ln>
          </p:spPr>
          <p:txBody>
            <a:bodyPr wrap="square" rIns="457200" bIns="91440" anchor="b" anchorCtr="0"/>
            <a:lstStyle/>
            <a:p>
              <a:pPr>
                <a:spcAft>
                  <a:spcPts val="225"/>
                </a:spcAft>
              </a:pPr>
              <a:r>
                <a:rPr lang="en-US" sz="1100" dirty="0">
                  <a:solidFill>
                    <a:srgbClr val="FFFFFF"/>
                  </a:solidFill>
                </a:rPr>
                <a:t>Network virtualization</a:t>
              </a:r>
            </a:p>
          </p:txBody>
        </p:sp>
        <p:sp>
          <p:nvSpPr>
            <p:cNvPr id="95" name="Oval 94"/>
            <p:cNvSpPr/>
            <p:nvPr/>
          </p:nvSpPr>
          <p:spPr bwMode="auto">
            <a:xfrm>
              <a:off x="4378365" y="3037352"/>
              <a:ext cx="359998" cy="359998"/>
            </a:xfrm>
            <a:prstGeom prst="ellipse">
              <a:avLst/>
            </a:prstGeom>
            <a:noFill/>
            <a:ln w="19050" cmpd="sng">
              <a:solidFill>
                <a:schemeClr val="accent2">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lnSpc>
                  <a:spcPct val="90000"/>
                </a:lnSpc>
                <a:spcBef>
                  <a:spcPct val="0"/>
                </a:spcBef>
                <a:spcAft>
                  <a:spcPct val="0"/>
                </a:spcAft>
              </a:pPr>
              <a:r>
                <a:rPr lang="en-US" sz="1200" spc="-38" dirty="0">
                  <a:solidFill>
                    <a:srgbClr val="FFFFFF"/>
                  </a:solidFill>
                </a:rPr>
                <a:t>2</a:t>
              </a:r>
            </a:p>
          </p:txBody>
        </p:sp>
      </p:grpSp>
      <p:grpSp>
        <p:nvGrpSpPr>
          <p:cNvPr id="5" name="Group 4"/>
          <p:cNvGrpSpPr/>
          <p:nvPr/>
        </p:nvGrpSpPr>
        <p:grpSpPr>
          <a:xfrm>
            <a:off x="3768529" y="2246271"/>
            <a:ext cx="1601002" cy="1116784"/>
            <a:chOff x="5023395" y="2877800"/>
            <a:chExt cx="2134114" cy="1489045"/>
          </a:xfrm>
        </p:grpSpPr>
        <p:sp>
          <p:nvSpPr>
            <p:cNvPr id="82" name="Rectangle 81"/>
            <p:cNvSpPr>
              <a:spLocks noChangeAspect="1" noChangeArrowheads="1"/>
            </p:cNvSpPr>
            <p:nvPr/>
          </p:nvSpPr>
          <p:spPr bwMode="auto">
            <a:xfrm>
              <a:off x="5023395" y="2877800"/>
              <a:ext cx="2134114" cy="1489045"/>
            </a:xfrm>
            <a:prstGeom prst="rect">
              <a:avLst/>
            </a:prstGeom>
            <a:solidFill>
              <a:schemeClr val="accent2"/>
            </a:solidFill>
            <a:ln w="9525">
              <a:noFill/>
              <a:miter lim="800000"/>
              <a:headEnd/>
              <a:tailEnd/>
            </a:ln>
          </p:spPr>
          <p:txBody>
            <a:bodyPr wrap="square" rIns="457200" bIns="91440" anchor="b" anchorCtr="0"/>
            <a:lstStyle/>
            <a:p>
              <a:pPr>
                <a:spcAft>
                  <a:spcPts val="225"/>
                </a:spcAft>
              </a:pPr>
              <a:r>
                <a:rPr lang="en-US" sz="1100" dirty="0">
                  <a:solidFill>
                    <a:srgbClr val="FFFFFF"/>
                  </a:solidFill>
                </a:rPr>
                <a:t>DHCP server failover</a:t>
              </a:r>
            </a:p>
          </p:txBody>
        </p:sp>
        <p:sp>
          <p:nvSpPr>
            <p:cNvPr id="97" name="Oval 96"/>
            <p:cNvSpPr/>
            <p:nvPr/>
          </p:nvSpPr>
          <p:spPr bwMode="auto">
            <a:xfrm>
              <a:off x="6644917" y="3037352"/>
              <a:ext cx="359998" cy="359998"/>
            </a:xfrm>
            <a:prstGeom prst="ellipse">
              <a:avLst/>
            </a:prstGeom>
            <a:noFill/>
            <a:ln w="19050" cmpd="sng">
              <a:solidFill>
                <a:schemeClr val="accent2">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lnSpc>
                  <a:spcPct val="90000"/>
                </a:lnSpc>
                <a:spcBef>
                  <a:spcPct val="0"/>
                </a:spcBef>
                <a:spcAft>
                  <a:spcPct val="0"/>
                </a:spcAft>
              </a:pPr>
              <a:r>
                <a:rPr lang="en-US" sz="1200" spc="-38" dirty="0">
                  <a:solidFill>
                    <a:srgbClr val="FFFFFF"/>
                  </a:solidFill>
                </a:rPr>
                <a:t>3</a:t>
              </a:r>
            </a:p>
          </p:txBody>
        </p:sp>
      </p:grpSp>
      <p:grpSp>
        <p:nvGrpSpPr>
          <p:cNvPr id="7" name="Group 6"/>
          <p:cNvGrpSpPr/>
          <p:nvPr/>
        </p:nvGrpSpPr>
        <p:grpSpPr>
          <a:xfrm>
            <a:off x="5462915" y="2246271"/>
            <a:ext cx="1601002" cy="1116784"/>
            <a:chOff x="7281990" y="2877800"/>
            <a:chExt cx="2134114" cy="1489045"/>
          </a:xfrm>
        </p:grpSpPr>
        <p:sp>
          <p:nvSpPr>
            <p:cNvPr id="84" name="Rectangle 83"/>
            <p:cNvSpPr>
              <a:spLocks noChangeAspect="1" noChangeArrowheads="1"/>
            </p:cNvSpPr>
            <p:nvPr/>
          </p:nvSpPr>
          <p:spPr bwMode="auto">
            <a:xfrm>
              <a:off x="7281990" y="2877800"/>
              <a:ext cx="2134114" cy="1489045"/>
            </a:xfrm>
            <a:prstGeom prst="rect">
              <a:avLst/>
            </a:prstGeom>
            <a:solidFill>
              <a:schemeClr val="accent2"/>
            </a:solidFill>
            <a:ln w="9525">
              <a:noFill/>
              <a:miter lim="800000"/>
              <a:headEnd/>
              <a:tailEnd/>
            </a:ln>
          </p:spPr>
          <p:txBody>
            <a:bodyPr wrap="square" rIns="457200" bIns="91440" anchor="b" anchorCtr="0"/>
            <a:lstStyle/>
            <a:p>
              <a:pPr>
                <a:spcAft>
                  <a:spcPts val="225"/>
                </a:spcAft>
              </a:pPr>
              <a:r>
                <a:rPr lang="en-US" sz="1100" dirty="0">
                  <a:solidFill>
                    <a:srgbClr val="FFFFFF"/>
                  </a:solidFill>
                </a:rPr>
                <a:t>Single Root I/O Virtualization </a:t>
              </a:r>
              <a:br>
                <a:rPr lang="en-US" sz="1100" dirty="0">
                  <a:solidFill>
                    <a:srgbClr val="FFFFFF"/>
                  </a:solidFill>
                </a:rPr>
              </a:br>
              <a:r>
                <a:rPr lang="en-US" sz="1100" dirty="0">
                  <a:solidFill>
                    <a:srgbClr val="FFFFFF"/>
                  </a:solidFill>
                </a:rPr>
                <a:t>(SR-IOV)</a:t>
              </a:r>
            </a:p>
          </p:txBody>
        </p:sp>
        <p:sp>
          <p:nvSpPr>
            <p:cNvPr id="98" name="Oval 97"/>
            <p:cNvSpPr/>
            <p:nvPr/>
          </p:nvSpPr>
          <p:spPr bwMode="auto">
            <a:xfrm>
              <a:off x="8911469" y="3037352"/>
              <a:ext cx="359998" cy="359998"/>
            </a:xfrm>
            <a:prstGeom prst="ellipse">
              <a:avLst/>
            </a:prstGeom>
            <a:noFill/>
            <a:ln w="19050" cmpd="sng">
              <a:solidFill>
                <a:schemeClr val="accent2">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lnSpc>
                  <a:spcPct val="90000"/>
                </a:lnSpc>
                <a:spcBef>
                  <a:spcPct val="0"/>
                </a:spcBef>
                <a:spcAft>
                  <a:spcPct val="0"/>
                </a:spcAft>
              </a:pPr>
              <a:r>
                <a:rPr lang="en-US" sz="1200" spc="-38" dirty="0">
                  <a:solidFill>
                    <a:srgbClr val="FFFFFF"/>
                  </a:solidFill>
                </a:rPr>
                <a:t>4</a:t>
              </a:r>
            </a:p>
          </p:txBody>
        </p:sp>
      </p:grpSp>
      <p:grpSp>
        <p:nvGrpSpPr>
          <p:cNvPr id="8" name="Group 7"/>
          <p:cNvGrpSpPr/>
          <p:nvPr/>
        </p:nvGrpSpPr>
        <p:grpSpPr>
          <a:xfrm>
            <a:off x="7157302" y="2246271"/>
            <a:ext cx="1601002" cy="1116784"/>
            <a:chOff x="9540584" y="2877800"/>
            <a:chExt cx="2134114" cy="1489045"/>
          </a:xfrm>
        </p:grpSpPr>
        <p:sp>
          <p:nvSpPr>
            <p:cNvPr id="87" name="Rectangle 86"/>
            <p:cNvSpPr>
              <a:spLocks noChangeAspect="1" noChangeArrowheads="1"/>
            </p:cNvSpPr>
            <p:nvPr/>
          </p:nvSpPr>
          <p:spPr bwMode="auto">
            <a:xfrm>
              <a:off x="9540584" y="2877800"/>
              <a:ext cx="2134114" cy="1489045"/>
            </a:xfrm>
            <a:prstGeom prst="rect">
              <a:avLst/>
            </a:prstGeom>
            <a:solidFill>
              <a:schemeClr val="accent2"/>
            </a:solidFill>
            <a:ln w="9525">
              <a:noFill/>
              <a:miter lim="800000"/>
              <a:headEnd/>
              <a:tailEnd/>
            </a:ln>
          </p:spPr>
          <p:txBody>
            <a:bodyPr wrap="square" rIns="457200" bIns="91440" anchor="b" anchorCtr="0"/>
            <a:lstStyle/>
            <a:p>
              <a:pPr>
                <a:spcAft>
                  <a:spcPts val="225"/>
                </a:spcAft>
              </a:pPr>
              <a:r>
                <a:rPr lang="en-US" sz="1100" dirty="0">
                  <a:solidFill>
                    <a:srgbClr val="FFFFFF"/>
                  </a:solidFill>
                </a:rPr>
                <a:t>Resource Metering</a:t>
              </a:r>
            </a:p>
          </p:txBody>
        </p:sp>
        <p:sp>
          <p:nvSpPr>
            <p:cNvPr id="99" name="Oval 98"/>
            <p:cNvSpPr/>
            <p:nvPr/>
          </p:nvSpPr>
          <p:spPr bwMode="auto">
            <a:xfrm>
              <a:off x="11178022" y="3037352"/>
              <a:ext cx="359998" cy="359998"/>
            </a:xfrm>
            <a:prstGeom prst="ellipse">
              <a:avLst/>
            </a:prstGeom>
            <a:noFill/>
            <a:ln w="19050" cmpd="sng">
              <a:solidFill>
                <a:schemeClr val="accent2">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lnSpc>
                  <a:spcPct val="90000"/>
                </a:lnSpc>
                <a:spcBef>
                  <a:spcPct val="0"/>
                </a:spcBef>
                <a:spcAft>
                  <a:spcPct val="0"/>
                </a:spcAft>
              </a:pPr>
              <a:r>
                <a:rPr lang="en-US" sz="1200" spc="-38" dirty="0">
                  <a:solidFill>
                    <a:srgbClr val="FFFFFF"/>
                  </a:solidFill>
                </a:rPr>
                <a:t>5</a:t>
              </a:r>
            </a:p>
          </p:txBody>
        </p:sp>
      </p:grpSp>
      <p:pic>
        <p:nvPicPr>
          <p:cNvPr id="33" name="Picture 34" descr="Efficiency.png"/>
          <p:cNvPicPr>
            <a:picLocks noChangeAspect="1"/>
          </p:cNvPicPr>
          <p:nvPr/>
        </p:nvPicPr>
        <p:blipFill>
          <a:blip r:embed="rId3"/>
          <a:srcRect/>
          <a:stretch>
            <a:fillRect/>
          </a:stretch>
        </p:blipFill>
        <p:spPr bwMode="auto">
          <a:xfrm>
            <a:off x="494263" y="954967"/>
            <a:ext cx="766348" cy="766881"/>
          </a:xfrm>
          <a:prstGeom prst="rect">
            <a:avLst/>
          </a:prstGeom>
          <a:noFill/>
          <a:ln w="9525">
            <a:noFill/>
            <a:miter lim="800000"/>
            <a:headEnd/>
            <a:tailEnd/>
          </a:ln>
        </p:spPr>
      </p:pic>
      <p:sp>
        <p:nvSpPr>
          <p:cNvPr id="40"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41"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4"/>
              </a:rPr>
              <a:t>www.rapidbbs.cn</a:t>
            </a:r>
            <a:endParaRPr lang="zh-CN" altLang="en-US" sz="1200" b="0">
              <a:latin typeface="Arial" charset="0"/>
              <a:ea typeface="ＭＳ Ｐゴシック" pitchFamily="34" charset="-128"/>
            </a:endParaRPr>
          </a:p>
        </p:txBody>
      </p:sp>
      <p:pic>
        <p:nvPicPr>
          <p:cNvPr id="42" name="Picture 2">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3" name="Picture 2">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43000" y="2804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42292163"/>
      </p:ext>
    </p:extLst>
  </p:cSld>
  <p:clrMapOvr>
    <a:masterClrMapping/>
  </p:clrMapOvr>
  <p:transition>
    <p:fade/>
  </p:transition>
  <p:timing>
    <p:tnLst>
      <p:par>
        <p:cTn id="1" dur="indefinite" restart="never" nodeType="tmRoot"/>
      </p:par>
    </p:tnLst>
  </p:timing>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379753" y="3359965"/>
            <a:ext cx="1601002" cy="1116784"/>
            <a:chOff x="506205" y="4479953"/>
            <a:chExt cx="2134114" cy="1489045"/>
          </a:xfrm>
        </p:grpSpPr>
        <p:sp>
          <p:nvSpPr>
            <p:cNvPr id="100" name="Rectangle 99"/>
            <p:cNvSpPr>
              <a:spLocks noChangeAspect="1" noChangeArrowheads="1"/>
            </p:cNvSpPr>
            <p:nvPr/>
          </p:nvSpPr>
          <p:spPr bwMode="auto">
            <a:xfrm>
              <a:off x="506205" y="4479953"/>
              <a:ext cx="2134114" cy="1489045"/>
            </a:xfrm>
            <a:prstGeom prst="rect">
              <a:avLst/>
            </a:prstGeom>
            <a:solidFill>
              <a:schemeClr val="accent1"/>
            </a:solidFill>
            <a:ln w="9525">
              <a:noFill/>
              <a:miter lim="800000"/>
              <a:headEnd/>
              <a:tailEnd/>
            </a:ln>
          </p:spPr>
          <p:txBody>
            <a:bodyPr wrap="square" rIns="457200" bIns="91440" anchor="b" anchorCtr="0"/>
            <a:lstStyle/>
            <a:p>
              <a:pPr>
                <a:spcAft>
                  <a:spcPts val="225"/>
                </a:spcAft>
              </a:pPr>
              <a:r>
                <a:rPr lang="en-US" sz="1100" dirty="0"/>
                <a:t>Hardware offloading</a:t>
              </a:r>
            </a:p>
          </p:txBody>
        </p:sp>
        <p:sp>
          <p:nvSpPr>
            <p:cNvPr id="105" name="Oval 104"/>
            <p:cNvSpPr/>
            <p:nvPr/>
          </p:nvSpPr>
          <p:spPr bwMode="auto">
            <a:xfrm>
              <a:off x="2111813" y="4639505"/>
              <a:ext cx="359998" cy="359998"/>
            </a:xfrm>
            <a:prstGeom prst="ellipse">
              <a:avLst/>
            </a:prstGeom>
            <a:noFill/>
            <a:ln w="19050" cmpd="sng">
              <a:solidFill>
                <a:schemeClr val="accent1">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lnSpc>
                  <a:spcPct val="90000"/>
                </a:lnSpc>
                <a:spcBef>
                  <a:spcPct val="0"/>
                </a:spcBef>
                <a:spcAft>
                  <a:spcPct val="0"/>
                </a:spcAft>
              </a:pPr>
              <a:r>
                <a:rPr lang="en-US" sz="1200" spc="-38" dirty="0">
                  <a:solidFill>
                    <a:schemeClr val="tx1"/>
                  </a:solidFill>
                </a:rPr>
                <a:t>6</a:t>
              </a:r>
            </a:p>
          </p:txBody>
        </p:sp>
      </p:grpSp>
      <p:grpSp>
        <p:nvGrpSpPr>
          <p:cNvPr id="10" name="Group 9"/>
          <p:cNvGrpSpPr/>
          <p:nvPr/>
        </p:nvGrpSpPr>
        <p:grpSpPr>
          <a:xfrm>
            <a:off x="2074140" y="3359965"/>
            <a:ext cx="1601002" cy="1116784"/>
            <a:chOff x="2764800" y="4479953"/>
            <a:chExt cx="2134114" cy="1489045"/>
          </a:xfrm>
        </p:grpSpPr>
        <p:sp>
          <p:nvSpPr>
            <p:cNvPr id="101" name="Rectangle 100"/>
            <p:cNvSpPr>
              <a:spLocks noChangeAspect="1" noChangeArrowheads="1"/>
            </p:cNvSpPr>
            <p:nvPr/>
          </p:nvSpPr>
          <p:spPr bwMode="auto">
            <a:xfrm>
              <a:off x="2764800" y="4479953"/>
              <a:ext cx="2134114" cy="1489045"/>
            </a:xfrm>
            <a:prstGeom prst="rect">
              <a:avLst/>
            </a:prstGeom>
            <a:solidFill>
              <a:schemeClr val="accent1"/>
            </a:solidFill>
            <a:ln w="9525">
              <a:noFill/>
              <a:miter lim="800000"/>
              <a:headEnd/>
              <a:tailEnd/>
            </a:ln>
          </p:spPr>
          <p:txBody>
            <a:bodyPr wrap="square" rIns="457200" bIns="91440" anchor="b" anchorCtr="0"/>
            <a:lstStyle/>
            <a:p>
              <a:pPr>
                <a:spcAft>
                  <a:spcPts val="225"/>
                </a:spcAft>
              </a:pPr>
              <a:r>
                <a:rPr lang="en-US" sz="1100" dirty="0"/>
                <a:t>Virtual Fibre Channel</a:t>
              </a:r>
            </a:p>
          </p:txBody>
        </p:sp>
        <p:sp>
          <p:nvSpPr>
            <p:cNvPr id="106" name="Oval 105"/>
            <p:cNvSpPr/>
            <p:nvPr/>
          </p:nvSpPr>
          <p:spPr bwMode="auto">
            <a:xfrm>
              <a:off x="4378365" y="4639505"/>
              <a:ext cx="359998" cy="359998"/>
            </a:xfrm>
            <a:prstGeom prst="ellipse">
              <a:avLst/>
            </a:prstGeom>
            <a:noFill/>
            <a:ln w="19050" cmpd="sng">
              <a:solidFill>
                <a:schemeClr val="accent1">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lnSpc>
                  <a:spcPct val="90000"/>
                </a:lnSpc>
                <a:spcBef>
                  <a:spcPct val="0"/>
                </a:spcBef>
                <a:spcAft>
                  <a:spcPct val="0"/>
                </a:spcAft>
              </a:pPr>
              <a:r>
                <a:rPr lang="en-US" sz="1200" spc="-38" dirty="0">
                  <a:solidFill>
                    <a:schemeClr val="tx1"/>
                  </a:solidFill>
                </a:rPr>
                <a:t>7</a:t>
              </a:r>
            </a:p>
          </p:txBody>
        </p:sp>
      </p:grpSp>
      <p:grpSp>
        <p:nvGrpSpPr>
          <p:cNvPr id="12" name="Group 11"/>
          <p:cNvGrpSpPr/>
          <p:nvPr/>
        </p:nvGrpSpPr>
        <p:grpSpPr>
          <a:xfrm>
            <a:off x="3768528" y="3359965"/>
            <a:ext cx="1601002" cy="1116784"/>
            <a:chOff x="5023395" y="4479953"/>
            <a:chExt cx="2134114" cy="1489045"/>
          </a:xfrm>
        </p:grpSpPr>
        <p:sp>
          <p:nvSpPr>
            <p:cNvPr id="102" name="Rectangle 101"/>
            <p:cNvSpPr>
              <a:spLocks noChangeAspect="1" noChangeArrowheads="1"/>
            </p:cNvSpPr>
            <p:nvPr/>
          </p:nvSpPr>
          <p:spPr bwMode="auto">
            <a:xfrm>
              <a:off x="5023395" y="4479953"/>
              <a:ext cx="2134114" cy="1489045"/>
            </a:xfrm>
            <a:prstGeom prst="rect">
              <a:avLst/>
            </a:prstGeom>
            <a:solidFill>
              <a:schemeClr val="accent1"/>
            </a:solidFill>
            <a:ln w="9525">
              <a:noFill/>
              <a:miter lim="800000"/>
              <a:headEnd/>
              <a:tailEnd/>
            </a:ln>
          </p:spPr>
          <p:txBody>
            <a:bodyPr wrap="square" rIns="457200" bIns="91440" anchor="b" anchorCtr="0"/>
            <a:lstStyle/>
            <a:p>
              <a:pPr>
                <a:spcAft>
                  <a:spcPts val="225"/>
                </a:spcAft>
              </a:pPr>
              <a:r>
                <a:rPr lang="en-US" sz="1100" dirty="0"/>
                <a:t>Guest NUMA support</a:t>
              </a:r>
            </a:p>
          </p:txBody>
        </p:sp>
        <p:sp>
          <p:nvSpPr>
            <p:cNvPr id="107" name="Oval 106"/>
            <p:cNvSpPr/>
            <p:nvPr/>
          </p:nvSpPr>
          <p:spPr bwMode="auto">
            <a:xfrm>
              <a:off x="6644917" y="4639505"/>
              <a:ext cx="359998" cy="359998"/>
            </a:xfrm>
            <a:prstGeom prst="ellipse">
              <a:avLst/>
            </a:prstGeom>
            <a:noFill/>
            <a:ln w="19050" cmpd="sng">
              <a:solidFill>
                <a:schemeClr val="accent1">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lnSpc>
                  <a:spcPct val="90000"/>
                </a:lnSpc>
                <a:spcBef>
                  <a:spcPct val="0"/>
                </a:spcBef>
                <a:spcAft>
                  <a:spcPct val="0"/>
                </a:spcAft>
              </a:pPr>
              <a:r>
                <a:rPr lang="en-US" sz="1200" spc="-38" dirty="0">
                  <a:solidFill>
                    <a:schemeClr val="tx1"/>
                  </a:solidFill>
                </a:rPr>
                <a:t>8</a:t>
              </a:r>
            </a:p>
          </p:txBody>
        </p:sp>
      </p:grpSp>
      <p:grpSp>
        <p:nvGrpSpPr>
          <p:cNvPr id="13" name="Group 12"/>
          <p:cNvGrpSpPr/>
          <p:nvPr/>
        </p:nvGrpSpPr>
        <p:grpSpPr>
          <a:xfrm>
            <a:off x="5462915" y="3359965"/>
            <a:ext cx="1601002" cy="1116784"/>
            <a:chOff x="7281990" y="4479953"/>
            <a:chExt cx="2134114" cy="1489045"/>
          </a:xfrm>
        </p:grpSpPr>
        <p:sp>
          <p:nvSpPr>
            <p:cNvPr id="103" name="Rectangle 102"/>
            <p:cNvSpPr>
              <a:spLocks noChangeAspect="1" noChangeArrowheads="1"/>
            </p:cNvSpPr>
            <p:nvPr/>
          </p:nvSpPr>
          <p:spPr bwMode="auto">
            <a:xfrm>
              <a:off x="7281990" y="4479953"/>
              <a:ext cx="2134114" cy="1489045"/>
            </a:xfrm>
            <a:prstGeom prst="rect">
              <a:avLst/>
            </a:prstGeom>
            <a:solidFill>
              <a:schemeClr val="accent1"/>
            </a:solidFill>
            <a:ln w="9525">
              <a:noFill/>
              <a:miter lim="800000"/>
              <a:headEnd/>
              <a:tailEnd/>
            </a:ln>
          </p:spPr>
          <p:txBody>
            <a:bodyPr wrap="square" rIns="457200" bIns="91440" anchor="b" anchorCtr="0"/>
            <a:lstStyle/>
            <a:p>
              <a:pPr>
                <a:spcAft>
                  <a:spcPts val="225"/>
                </a:spcAft>
              </a:pPr>
              <a:r>
                <a:rPr lang="en-US" sz="1100" dirty="0"/>
                <a:t>Runtime memory configuration</a:t>
              </a:r>
            </a:p>
          </p:txBody>
        </p:sp>
        <p:sp>
          <p:nvSpPr>
            <p:cNvPr id="108" name="Oval 107"/>
            <p:cNvSpPr/>
            <p:nvPr/>
          </p:nvSpPr>
          <p:spPr bwMode="auto">
            <a:xfrm>
              <a:off x="8911469" y="4639505"/>
              <a:ext cx="359998" cy="359998"/>
            </a:xfrm>
            <a:prstGeom prst="ellipse">
              <a:avLst/>
            </a:prstGeom>
            <a:noFill/>
            <a:ln w="19050" cmpd="sng">
              <a:solidFill>
                <a:schemeClr val="accent1">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lnSpc>
                  <a:spcPct val="90000"/>
                </a:lnSpc>
                <a:spcBef>
                  <a:spcPct val="0"/>
                </a:spcBef>
                <a:spcAft>
                  <a:spcPct val="0"/>
                </a:spcAft>
              </a:pPr>
              <a:r>
                <a:rPr lang="en-US" sz="1200" spc="-38" dirty="0">
                  <a:solidFill>
                    <a:schemeClr val="tx1"/>
                  </a:solidFill>
                </a:rPr>
                <a:t>9</a:t>
              </a:r>
            </a:p>
          </p:txBody>
        </p:sp>
      </p:grpSp>
      <p:grpSp>
        <p:nvGrpSpPr>
          <p:cNvPr id="14" name="Group 13"/>
          <p:cNvGrpSpPr/>
          <p:nvPr/>
        </p:nvGrpSpPr>
        <p:grpSpPr>
          <a:xfrm>
            <a:off x="7157302" y="3359965"/>
            <a:ext cx="1601002" cy="1116784"/>
            <a:chOff x="9540584" y="4479953"/>
            <a:chExt cx="2134114" cy="1489045"/>
          </a:xfrm>
        </p:grpSpPr>
        <p:sp>
          <p:nvSpPr>
            <p:cNvPr id="104" name="Rectangle 103"/>
            <p:cNvSpPr>
              <a:spLocks noChangeAspect="1" noChangeArrowheads="1"/>
            </p:cNvSpPr>
            <p:nvPr/>
          </p:nvSpPr>
          <p:spPr bwMode="auto">
            <a:xfrm>
              <a:off x="9540584" y="4479953"/>
              <a:ext cx="2134114" cy="1489045"/>
            </a:xfrm>
            <a:prstGeom prst="rect">
              <a:avLst/>
            </a:prstGeom>
            <a:solidFill>
              <a:schemeClr val="accent1"/>
            </a:solidFill>
            <a:ln w="9525">
              <a:noFill/>
              <a:miter lim="800000"/>
              <a:headEnd/>
              <a:tailEnd/>
            </a:ln>
          </p:spPr>
          <p:txBody>
            <a:bodyPr wrap="square" rIns="457200" bIns="91440" anchor="b" anchorCtr="0"/>
            <a:lstStyle/>
            <a:p>
              <a:pPr>
                <a:spcAft>
                  <a:spcPts val="225"/>
                </a:spcAft>
              </a:pPr>
              <a:r>
                <a:rPr lang="en-US" sz="1100" dirty="0"/>
                <a:t>Hyper-V network switch</a:t>
              </a:r>
            </a:p>
          </p:txBody>
        </p:sp>
        <p:sp>
          <p:nvSpPr>
            <p:cNvPr id="109" name="Oval 108"/>
            <p:cNvSpPr/>
            <p:nvPr/>
          </p:nvSpPr>
          <p:spPr bwMode="auto">
            <a:xfrm>
              <a:off x="11178022" y="4639505"/>
              <a:ext cx="359998" cy="359998"/>
            </a:xfrm>
            <a:prstGeom prst="ellipse">
              <a:avLst/>
            </a:prstGeom>
            <a:noFill/>
            <a:ln w="19050" cmpd="sng">
              <a:solidFill>
                <a:schemeClr val="accent1">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91436" tIns="45718" rIns="91436" bIns="45718" numCol="1" rtlCol="0" anchor="ctr" anchorCtr="0" compatLnSpc="1">
              <a:prstTxWarp prst="textNoShape">
                <a:avLst/>
              </a:prstTxWarp>
            </a:bodyPr>
            <a:lstStyle/>
            <a:p>
              <a:pPr algn="ctr" defTabSz="685666" fontAlgn="base">
                <a:lnSpc>
                  <a:spcPct val="90000"/>
                </a:lnSpc>
                <a:spcBef>
                  <a:spcPct val="0"/>
                </a:spcBef>
                <a:spcAft>
                  <a:spcPct val="0"/>
                </a:spcAft>
              </a:pPr>
              <a:r>
                <a:rPr lang="en-US" sz="1200" spc="-38" dirty="0">
                  <a:solidFill>
                    <a:schemeClr val="tx1"/>
                  </a:solidFill>
                </a:rPr>
                <a:t>10</a:t>
              </a:r>
            </a:p>
          </p:txBody>
        </p:sp>
      </p:grpSp>
      <p:grpSp>
        <p:nvGrpSpPr>
          <p:cNvPr id="3" name="Group 2"/>
          <p:cNvGrpSpPr/>
          <p:nvPr/>
        </p:nvGrpSpPr>
        <p:grpSpPr>
          <a:xfrm>
            <a:off x="379753" y="2158350"/>
            <a:ext cx="1601002" cy="1116784"/>
            <a:chOff x="506205" y="2877800"/>
            <a:chExt cx="2134114" cy="1489045"/>
          </a:xfrm>
        </p:grpSpPr>
        <p:sp>
          <p:nvSpPr>
            <p:cNvPr id="73" name="Rectangle 72"/>
            <p:cNvSpPr>
              <a:spLocks noChangeAspect="1" noChangeArrowheads="1"/>
            </p:cNvSpPr>
            <p:nvPr/>
          </p:nvSpPr>
          <p:spPr bwMode="auto">
            <a:xfrm>
              <a:off x="506205" y="2877800"/>
              <a:ext cx="2134114" cy="1489045"/>
            </a:xfrm>
            <a:prstGeom prst="rect">
              <a:avLst/>
            </a:prstGeom>
            <a:solidFill>
              <a:schemeClr val="accent1"/>
            </a:solidFill>
            <a:ln w="9525">
              <a:noFill/>
              <a:miter lim="800000"/>
              <a:headEnd/>
              <a:tailEnd/>
            </a:ln>
          </p:spPr>
          <p:txBody>
            <a:bodyPr wrap="square" rIns="457200" bIns="91440" anchor="b" anchorCtr="0"/>
            <a:lstStyle/>
            <a:p>
              <a:pPr>
                <a:spcAft>
                  <a:spcPts val="225"/>
                </a:spcAft>
              </a:pPr>
              <a:r>
                <a:rPr lang="en-US" sz="1100" dirty="0"/>
                <a:t>Hyper-V Network Virtualization</a:t>
              </a:r>
            </a:p>
          </p:txBody>
        </p:sp>
        <p:sp>
          <p:nvSpPr>
            <p:cNvPr id="77" name="Oval 76"/>
            <p:cNvSpPr/>
            <p:nvPr/>
          </p:nvSpPr>
          <p:spPr bwMode="auto">
            <a:xfrm>
              <a:off x="2111813" y="3037352"/>
              <a:ext cx="359998" cy="359998"/>
            </a:xfrm>
            <a:prstGeom prst="ellipse">
              <a:avLst/>
            </a:prstGeom>
            <a:noFill/>
            <a:ln w="19050" cmpd="sng">
              <a:solidFill>
                <a:schemeClr val="accent1">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lnSpc>
                  <a:spcPct val="90000"/>
                </a:lnSpc>
                <a:spcBef>
                  <a:spcPct val="0"/>
                </a:spcBef>
                <a:spcAft>
                  <a:spcPct val="0"/>
                </a:spcAft>
              </a:pPr>
              <a:r>
                <a:rPr lang="en-US" sz="1200" spc="-38" dirty="0">
                  <a:solidFill>
                    <a:schemeClr val="tx1"/>
                  </a:solidFill>
                </a:rPr>
                <a:t>1</a:t>
              </a:r>
            </a:p>
          </p:txBody>
        </p:sp>
      </p:grpSp>
      <p:sp>
        <p:nvSpPr>
          <p:cNvPr id="63" name="Rectangle 37"/>
          <p:cNvSpPr>
            <a:spLocks noChangeArrowheads="1"/>
          </p:cNvSpPr>
          <p:nvPr/>
        </p:nvSpPr>
        <p:spPr bwMode="auto">
          <a:xfrm>
            <a:off x="385836" y="751177"/>
            <a:ext cx="961679" cy="966978"/>
          </a:xfrm>
          <a:prstGeom prst="rect">
            <a:avLst/>
          </a:prstGeom>
          <a:solidFill>
            <a:schemeClr val="accent1"/>
          </a:solidFill>
          <a:ln w="9525">
            <a:noFill/>
            <a:miter lim="800000"/>
            <a:headEnd/>
            <a:tailEnd/>
          </a:ln>
        </p:spPr>
        <p:txBody>
          <a:bodyPr wrap="none" lIns="57116" tIns="28556" rIns="57116" bIns="28556" anchor="ctr"/>
          <a:lstStyle/>
          <a:p>
            <a:endParaRPr lang="en-US" dirty="0"/>
          </a:p>
        </p:txBody>
      </p:sp>
      <p:sp>
        <p:nvSpPr>
          <p:cNvPr id="69" name="Rectangle 37"/>
          <p:cNvSpPr>
            <a:spLocks noChangeArrowheads="1"/>
          </p:cNvSpPr>
          <p:nvPr/>
        </p:nvSpPr>
        <p:spPr bwMode="auto">
          <a:xfrm>
            <a:off x="1416177" y="753918"/>
            <a:ext cx="7342128" cy="960583"/>
          </a:xfrm>
          <a:prstGeom prst="rect">
            <a:avLst/>
          </a:prstGeom>
          <a:solidFill>
            <a:schemeClr val="bg1"/>
          </a:solidFill>
        </p:spPr>
        <p:txBody>
          <a:bodyPr wrap="square" lIns="137178" tIns="0" rIns="137178" bIns="68589" anchor="b">
            <a:noAutofit/>
          </a:bodyPr>
          <a:lstStyle/>
          <a:p>
            <a:pPr>
              <a:lnSpc>
                <a:spcPct val="90000"/>
              </a:lnSpc>
            </a:pPr>
            <a:endParaRPr lang="en-US" spc="-38" dirty="0">
              <a:gradFill>
                <a:gsLst>
                  <a:gs pos="2917">
                    <a:schemeClr val="tx1"/>
                  </a:gs>
                  <a:gs pos="30000">
                    <a:schemeClr val="tx1"/>
                  </a:gs>
                </a:gsLst>
                <a:lin ang="5400000" scaled="0"/>
              </a:gradFill>
            </a:endParaRPr>
          </a:p>
        </p:txBody>
      </p:sp>
      <p:pic>
        <p:nvPicPr>
          <p:cNvPr id="66" name="Picture 25" descr="cloud-and-building"/>
          <p:cNvPicPr>
            <a:picLocks noChangeAspect="1" noChangeArrowheads="1"/>
          </p:cNvPicPr>
          <p:nvPr/>
        </p:nvPicPr>
        <p:blipFill>
          <a:blip r:embed="rId3" cstate="email"/>
          <a:srcRect/>
          <a:stretch>
            <a:fillRect/>
          </a:stretch>
        </p:blipFill>
        <p:spPr bwMode="auto">
          <a:xfrm>
            <a:off x="391670" y="910525"/>
            <a:ext cx="895508" cy="591495"/>
          </a:xfrm>
          <a:prstGeom prst="rect">
            <a:avLst/>
          </a:prstGeom>
          <a:noFill/>
          <a:ln w="9525">
            <a:noFill/>
            <a:miter lim="800000"/>
            <a:headEnd/>
            <a:tailEnd/>
          </a:ln>
        </p:spPr>
      </p:pic>
      <p:sp>
        <p:nvSpPr>
          <p:cNvPr id="70" name="Rectangle 69"/>
          <p:cNvSpPr/>
          <p:nvPr/>
        </p:nvSpPr>
        <p:spPr bwMode="auto">
          <a:xfrm>
            <a:off x="379754" y="1797883"/>
            <a:ext cx="8375080" cy="268250"/>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6" tIns="34293" rIns="68586" bIns="34293" numCol="1" rtlCol="0" anchor="ctr" anchorCtr="0" compatLnSpc="1">
            <a:prstTxWarp prst="textNoShape">
              <a:avLst/>
            </a:prstTxWarp>
          </a:bodyPr>
          <a:lstStyle/>
          <a:p>
            <a:pPr defTabSz="685666" fontAlgn="base">
              <a:lnSpc>
                <a:spcPct val="90000"/>
              </a:lnSpc>
              <a:spcBef>
                <a:spcPct val="0"/>
              </a:spcBef>
              <a:spcAft>
                <a:spcPct val="0"/>
              </a:spcAft>
            </a:pPr>
            <a:r>
              <a:rPr lang="en-US" spc="-38" dirty="0">
                <a:gradFill>
                  <a:gsLst>
                    <a:gs pos="0">
                      <a:schemeClr val="bg1"/>
                    </a:gs>
                    <a:gs pos="100000">
                      <a:schemeClr val="bg1"/>
                    </a:gs>
                  </a:gsLst>
                  <a:lin ang="5400000" scaled="0"/>
                </a:gradFill>
                <a:latin typeface="+mj-lt"/>
              </a:rPr>
              <a:t>TOP FEATURES OF SERVER </a:t>
            </a:r>
            <a:r>
              <a:rPr lang="en-US" spc="-38" dirty="0">
                <a:gradFill>
                  <a:gsLst>
                    <a:gs pos="0">
                      <a:schemeClr val="bg1"/>
                    </a:gs>
                    <a:gs pos="100000">
                      <a:schemeClr val="bg1"/>
                    </a:gs>
                  </a:gsLst>
                  <a:lin ang="5400000" scaled="0"/>
                </a:gradFill>
                <a:latin typeface="+mj-lt"/>
              </a:rPr>
              <a:t>VIRTUALIZATION TO MEET CUSTOMER CHALLENGES</a:t>
            </a:r>
            <a:endParaRPr lang="en-US" spc="-38" dirty="0">
              <a:gradFill>
                <a:gsLst>
                  <a:gs pos="0">
                    <a:schemeClr val="bg1"/>
                  </a:gs>
                  <a:gs pos="100000">
                    <a:schemeClr val="bg1"/>
                  </a:gs>
                </a:gsLst>
                <a:lin ang="5400000" scaled="0"/>
              </a:gradFill>
              <a:latin typeface="+mj-lt"/>
            </a:endParaRPr>
          </a:p>
        </p:txBody>
      </p:sp>
      <p:sp>
        <p:nvSpPr>
          <p:cNvPr id="2" name="Title 1"/>
          <p:cNvSpPr>
            <a:spLocks noGrp="1"/>
          </p:cNvSpPr>
          <p:nvPr>
            <p:ph type="title"/>
          </p:nvPr>
        </p:nvSpPr>
        <p:spPr/>
        <p:txBody>
          <a:bodyPr/>
          <a:lstStyle/>
          <a:p>
            <a:r>
              <a:rPr lang="en-US" dirty="0" smtClean="0"/>
              <a:t>Server virtualization</a:t>
            </a:r>
            <a:endParaRPr lang="en-US" dirty="0"/>
          </a:p>
        </p:txBody>
      </p:sp>
      <p:sp>
        <p:nvSpPr>
          <p:cNvPr id="11" name="TextBox 10"/>
          <p:cNvSpPr txBox="1"/>
          <p:nvPr/>
        </p:nvSpPr>
        <p:spPr>
          <a:xfrm>
            <a:off x="1619736" y="996460"/>
            <a:ext cx="1561104" cy="335477"/>
          </a:xfrm>
          <a:prstGeom prst="rect">
            <a:avLst/>
          </a:prstGeom>
          <a:noFill/>
        </p:spPr>
        <p:txBody>
          <a:bodyPr wrap="square" lIns="0" tIns="0" rIns="0" bIns="0" rtlCol="0">
            <a:spAutoFit/>
          </a:bodyPr>
          <a:lstStyle/>
          <a:p>
            <a:pPr>
              <a:lnSpc>
                <a:spcPct val="90000"/>
              </a:lnSpc>
            </a:pPr>
            <a:r>
              <a:rPr lang="en-US" sz="1200" spc="-38" dirty="0">
                <a:gradFill>
                  <a:gsLst>
                    <a:gs pos="2917">
                      <a:schemeClr val="tx1"/>
                    </a:gs>
                    <a:gs pos="30000">
                      <a:schemeClr val="tx1"/>
                    </a:gs>
                  </a:gsLst>
                  <a:lin ang="5400000" scaled="0"/>
                </a:gradFill>
              </a:rPr>
              <a:t>Complete virtualization </a:t>
            </a:r>
            <a:r>
              <a:rPr lang="en-US" sz="1200" spc="-38" dirty="0">
                <a:gradFill>
                  <a:gsLst>
                    <a:gs pos="2917">
                      <a:schemeClr val="tx1"/>
                    </a:gs>
                    <a:gs pos="30000">
                      <a:schemeClr val="tx1"/>
                    </a:gs>
                  </a:gsLst>
                  <a:lin ang="5400000" scaled="0"/>
                </a:gradFill>
              </a:rPr>
              <a:t>platform</a:t>
            </a:r>
            <a:endParaRPr lang="en-US" sz="1200" spc="-38" dirty="0">
              <a:gradFill>
                <a:gsLst>
                  <a:gs pos="2917">
                    <a:schemeClr val="tx1"/>
                  </a:gs>
                  <a:gs pos="30000">
                    <a:schemeClr val="tx1"/>
                  </a:gs>
                </a:gsLst>
                <a:lin ang="5400000" scaled="0"/>
              </a:gradFill>
            </a:endParaRPr>
          </a:p>
        </p:txBody>
      </p:sp>
      <p:sp>
        <p:nvSpPr>
          <p:cNvPr id="71" name="TextBox 70"/>
          <p:cNvSpPr txBox="1"/>
          <p:nvPr/>
        </p:nvSpPr>
        <p:spPr>
          <a:xfrm>
            <a:off x="3408045" y="1003786"/>
            <a:ext cx="1465825" cy="664797"/>
          </a:xfrm>
          <a:prstGeom prst="rect">
            <a:avLst/>
          </a:prstGeom>
          <a:noFill/>
        </p:spPr>
        <p:txBody>
          <a:bodyPr wrap="square" lIns="0" tIns="0" rIns="0" bIns="0" rtlCol="0">
            <a:spAutoFit/>
          </a:bodyPr>
          <a:lstStyle>
            <a:defPPr>
              <a:defRPr lang="en-US"/>
            </a:defPPr>
            <a:lvl1pPr>
              <a:lnSpc>
                <a:spcPct val="90000"/>
              </a:lnSpc>
              <a:defRPr sz="1600" spc="-50">
                <a:gradFill>
                  <a:gsLst>
                    <a:gs pos="2917">
                      <a:schemeClr val="tx1"/>
                    </a:gs>
                    <a:gs pos="30000">
                      <a:schemeClr val="tx1"/>
                    </a:gs>
                  </a:gsLst>
                  <a:lin ang="5400000" scaled="0"/>
                </a:gradFill>
              </a:defRPr>
            </a:lvl1pPr>
          </a:lstStyle>
          <a:p>
            <a:r>
              <a:rPr lang="en-US" dirty="0"/>
              <a:t>Increased scalability and </a:t>
            </a:r>
            <a:r>
              <a:rPr lang="en-US" dirty="0" smtClean="0"/>
              <a:t>performance</a:t>
            </a:r>
            <a:endParaRPr lang="en-US" dirty="0"/>
          </a:p>
        </p:txBody>
      </p:sp>
      <p:sp>
        <p:nvSpPr>
          <p:cNvPr id="72" name="TextBox 71"/>
          <p:cNvSpPr txBox="1"/>
          <p:nvPr/>
        </p:nvSpPr>
        <p:spPr>
          <a:xfrm>
            <a:off x="5167034" y="996460"/>
            <a:ext cx="1524458" cy="886397"/>
          </a:xfrm>
          <a:prstGeom prst="rect">
            <a:avLst/>
          </a:prstGeom>
          <a:noFill/>
        </p:spPr>
        <p:txBody>
          <a:bodyPr wrap="square" lIns="0" tIns="0" rIns="0" bIns="0" rtlCol="0">
            <a:spAutoFit/>
          </a:bodyPr>
          <a:lstStyle>
            <a:defPPr>
              <a:defRPr lang="en-US"/>
            </a:defPPr>
            <a:lvl1pPr>
              <a:lnSpc>
                <a:spcPct val="90000"/>
              </a:lnSpc>
              <a:defRPr sz="1600" spc="-50">
                <a:gradFill>
                  <a:gsLst>
                    <a:gs pos="2917">
                      <a:schemeClr val="tx1"/>
                    </a:gs>
                    <a:gs pos="30000">
                      <a:schemeClr val="tx1"/>
                    </a:gs>
                  </a:gsLst>
                  <a:lin ang="5400000" scaled="0"/>
                </a:gradFill>
              </a:defRPr>
            </a:lvl1pPr>
          </a:lstStyle>
          <a:p>
            <a:r>
              <a:rPr lang="en-US" dirty="0"/>
              <a:t>Elastic and flexible—from the datacenter to the cloud</a:t>
            </a:r>
          </a:p>
        </p:txBody>
      </p:sp>
      <p:grpSp>
        <p:nvGrpSpPr>
          <p:cNvPr id="4" name="Group 3"/>
          <p:cNvGrpSpPr/>
          <p:nvPr/>
        </p:nvGrpSpPr>
        <p:grpSpPr>
          <a:xfrm>
            <a:off x="2066345" y="2158350"/>
            <a:ext cx="1601002" cy="1116784"/>
            <a:chOff x="2764800" y="2877800"/>
            <a:chExt cx="2134114" cy="1489045"/>
          </a:xfrm>
        </p:grpSpPr>
        <p:sp>
          <p:nvSpPr>
            <p:cNvPr id="74" name="Rectangle 73"/>
            <p:cNvSpPr>
              <a:spLocks noChangeAspect="1" noChangeArrowheads="1"/>
            </p:cNvSpPr>
            <p:nvPr/>
          </p:nvSpPr>
          <p:spPr bwMode="auto">
            <a:xfrm>
              <a:off x="2764800" y="2877800"/>
              <a:ext cx="2134114" cy="1489045"/>
            </a:xfrm>
            <a:prstGeom prst="rect">
              <a:avLst/>
            </a:prstGeom>
            <a:solidFill>
              <a:schemeClr val="accent1"/>
            </a:solidFill>
            <a:ln w="9525">
              <a:noFill/>
              <a:miter lim="800000"/>
              <a:headEnd/>
              <a:tailEnd/>
            </a:ln>
          </p:spPr>
          <p:txBody>
            <a:bodyPr wrap="square" rIns="457200" bIns="91440" anchor="b" anchorCtr="0"/>
            <a:lstStyle/>
            <a:p>
              <a:pPr>
                <a:spcAft>
                  <a:spcPts val="225"/>
                </a:spcAft>
              </a:pPr>
              <a:r>
                <a:rPr lang="en-US" sz="1100" dirty="0"/>
                <a:t>Shared-nothing live migration</a:t>
              </a:r>
            </a:p>
          </p:txBody>
        </p:sp>
        <p:sp>
          <p:nvSpPr>
            <p:cNvPr id="95" name="Oval 94"/>
            <p:cNvSpPr/>
            <p:nvPr/>
          </p:nvSpPr>
          <p:spPr bwMode="auto">
            <a:xfrm>
              <a:off x="4378365" y="3037352"/>
              <a:ext cx="359998" cy="359998"/>
            </a:xfrm>
            <a:prstGeom prst="ellipse">
              <a:avLst/>
            </a:prstGeom>
            <a:noFill/>
            <a:ln w="19050" cmpd="sng">
              <a:solidFill>
                <a:schemeClr val="accent1">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lnSpc>
                  <a:spcPct val="90000"/>
                </a:lnSpc>
                <a:spcBef>
                  <a:spcPct val="0"/>
                </a:spcBef>
                <a:spcAft>
                  <a:spcPct val="0"/>
                </a:spcAft>
              </a:pPr>
              <a:r>
                <a:rPr lang="en-US" sz="1200" spc="-38" dirty="0">
                  <a:solidFill>
                    <a:schemeClr val="tx1"/>
                  </a:solidFill>
                </a:rPr>
                <a:t>2</a:t>
              </a:r>
            </a:p>
          </p:txBody>
        </p:sp>
      </p:grpSp>
      <p:grpSp>
        <p:nvGrpSpPr>
          <p:cNvPr id="5" name="Group 4"/>
          <p:cNvGrpSpPr/>
          <p:nvPr/>
        </p:nvGrpSpPr>
        <p:grpSpPr>
          <a:xfrm>
            <a:off x="3768528" y="2158350"/>
            <a:ext cx="1601002" cy="1116784"/>
            <a:chOff x="5023395" y="2877800"/>
            <a:chExt cx="2134114" cy="1489045"/>
          </a:xfrm>
        </p:grpSpPr>
        <p:sp>
          <p:nvSpPr>
            <p:cNvPr id="82" name="Rectangle 81"/>
            <p:cNvSpPr>
              <a:spLocks noChangeAspect="1" noChangeArrowheads="1"/>
            </p:cNvSpPr>
            <p:nvPr/>
          </p:nvSpPr>
          <p:spPr bwMode="auto">
            <a:xfrm>
              <a:off x="5023395" y="2877800"/>
              <a:ext cx="2134114" cy="1489045"/>
            </a:xfrm>
            <a:prstGeom prst="rect">
              <a:avLst/>
            </a:prstGeom>
            <a:solidFill>
              <a:schemeClr val="accent1"/>
            </a:solidFill>
            <a:ln w="9525">
              <a:noFill/>
              <a:miter lim="800000"/>
              <a:headEnd/>
              <a:tailEnd/>
            </a:ln>
          </p:spPr>
          <p:txBody>
            <a:bodyPr wrap="square" rIns="457200" bIns="91440" anchor="b" anchorCtr="0"/>
            <a:lstStyle/>
            <a:p>
              <a:pPr>
                <a:spcAft>
                  <a:spcPts val="225"/>
                </a:spcAft>
              </a:pPr>
              <a:r>
                <a:rPr lang="en-US" sz="1100" dirty="0"/>
                <a:t>Massive scale</a:t>
              </a:r>
            </a:p>
          </p:txBody>
        </p:sp>
        <p:sp>
          <p:nvSpPr>
            <p:cNvPr id="97" name="Oval 96"/>
            <p:cNvSpPr/>
            <p:nvPr/>
          </p:nvSpPr>
          <p:spPr bwMode="auto">
            <a:xfrm>
              <a:off x="6644917" y="3037352"/>
              <a:ext cx="359998" cy="359998"/>
            </a:xfrm>
            <a:prstGeom prst="ellipse">
              <a:avLst/>
            </a:prstGeom>
            <a:noFill/>
            <a:ln w="19050" cmpd="sng">
              <a:solidFill>
                <a:schemeClr val="accent1">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lnSpc>
                  <a:spcPct val="90000"/>
                </a:lnSpc>
                <a:spcBef>
                  <a:spcPct val="0"/>
                </a:spcBef>
                <a:spcAft>
                  <a:spcPct val="0"/>
                </a:spcAft>
              </a:pPr>
              <a:r>
                <a:rPr lang="en-US" sz="1200" spc="-38" dirty="0">
                  <a:solidFill>
                    <a:schemeClr val="tx1"/>
                  </a:solidFill>
                </a:rPr>
                <a:t>3</a:t>
              </a:r>
            </a:p>
          </p:txBody>
        </p:sp>
      </p:grpSp>
      <p:grpSp>
        <p:nvGrpSpPr>
          <p:cNvPr id="7" name="Group 6"/>
          <p:cNvGrpSpPr/>
          <p:nvPr/>
        </p:nvGrpSpPr>
        <p:grpSpPr>
          <a:xfrm>
            <a:off x="5462915" y="2158350"/>
            <a:ext cx="1601002" cy="1116784"/>
            <a:chOff x="7281990" y="2877800"/>
            <a:chExt cx="2134114" cy="1489045"/>
          </a:xfrm>
        </p:grpSpPr>
        <p:sp>
          <p:nvSpPr>
            <p:cNvPr id="84" name="Rectangle 83"/>
            <p:cNvSpPr>
              <a:spLocks noChangeAspect="1" noChangeArrowheads="1"/>
            </p:cNvSpPr>
            <p:nvPr/>
          </p:nvSpPr>
          <p:spPr bwMode="auto">
            <a:xfrm>
              <a:off x="7281990" y="2877800"/>
              <a:ext cx="2134114" cy="1489045"/>
            </a:xfrm>
            <a:prstGeom prst="rect">
              <a:avLst/>
            </a:prstGeom>
            <a:solidFill>
              <a:schemeClr val="accent1"/>
            </a:solidFill>
            <a:ln w="9525">
              <a:noFill/>
              <a:miter lim="800000"/>
              <a:headEnd/>
              <a:tailEnd/>
            </a:ln>
          </p:spPr>
          <p:txBody>
            <a:bodyPr wrap="square" rIns="457200" bIns="91440" anchor="b" anchorCtr="0"/>
            <a:lstStyle/>
            <a:p>
              <a:pPr>
                <a:spcAft>
                  <a:spcPts val="225"/>
                </a:spcAft>
              </a:pPr>
              <a:r>
                <a:rPr lang="en-US" sz="1100" dirty="0"/>
                <a:t>Cluster enhancements</a:t>
              </a:r>
            </a:p>
          </p:txBody>
        </p:sp>
        <p:sp>
          <p:nvSpPr>
            <p:cNvPr id="98" name="Oval 97"/>
            <p:cNvSpPr/>
            <p:nvPr/>
          </p:nvSpPr>
          <p:spPr bwMode="auto">
            <a:xfrm>
              <a:off x="8911469" y="3037352"/>
              <a:ext cx="359998" cy="359998"/>
            </a:xfrm>
            <a:prstGeom prst="ellipse">
              <a:avLst/>
            </a:prstGeom>
            <a:noFill/>
            <a:ln w="19050" cmpd="sng">
              <a:solidFill>
                <a:schemeClr val="accent1">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lnSpc>
                  <a:spcPct val="90000"/>
                </a:lnSpc>
                <a:spcBef>
                  <a:spcPct val="0"/>
                </a:spcBef>
                <a:spcAft>
                  <a:spcPct val="0"/>
                </a:spcAft>
              </a:pPr>
              <a:r>
                <a:rPr lang="en-US" sz="1200" spc="-38" dirty="0">
                  <a:solidFill>
                    <a:schemeClr val="tx1"/>
                  </a:solidFill>
                </a:rPr>
                <a:t>4</a:t>
              </a:r>
            </a:p>
          </p:txBody>
        </p:sp>
      </p:grpSp>
      <p:grpSp>
        <p:nvGrpSpPr>
          <p:cNvPr id="8" name="Group 7"/>
          <p:cNvGrpSpPr/>
          <p:nvPr/>
        </p:nvGrpSpPr>
        <p:grpSpPr>
          <a:xfrm>
            <a:off x="7157302" y="2158350"/>
            <a:ext cx="1601002" cy="1116784"/>
            <a:chOff x="9540584" y="2877800"/>
            <a:chExt cx="2134114" cy="1489045"/>
          </a:xfrm>
        </p:grpSpPr>
        <p:sp>
          <p:nvSpPr>
            <p:cNvPr id="87" name="Rectangle 86"/>
            <p:cNvSpPr>
              <a:spLocks noChangeAspect="1" noChangeArrowheads="1"/>
            </p:cNvSpPr>
            <p:nvPr/>
          </p:nvSpPr>
          <p:spPr bwMode="auto">
            <a:xfrm>
              <a:off x="9540584" y="2877800"/>
              <a:ext cx="2134114" cy="1489045"/>
            </a:xfrm>
            <a:prstGeom prst="rect">
              <a:avLst/>
            </a:prstGeom>
            <a:solidFill>
              <a:schemeClr val="accent1"/>
            </a:solidFill>
            <a:ln w="9525">
              <a:noFill/>
              <a:miter lim="800000"/>
              <a:headEnd/>
              <a:tailEnd/>
            </a:ln>
          </p:spPr>
          <p:txBody>
            <a:bodyPr wrap="square" rIns="457200" bIns="91440" anchor="b" anchorCtr="0"/>
            <a:lstStyle/>
            <a:p>
              <a:pPr>
                <a:spcAft>
                  <a:spcPts val="225"/>
                </a:spcAft>
              </a:pPr>
              <a:r>
                <a:rPr lang="en-US" sz="1100" dirty="0"/>
                <a:t>Hyper-V Replica</a:t>
              </a:r>
            </a:p>
          </p:txBody>
        </p:sp>
        <p:sp>
          <p:nvSpPr>
            <p:cNvPr id="99" name="Oval 98"/>
            <p:cNvSpPr/>
            <p:nvPr/>
          </p:nvSpPr>
          <p:spPr bwMode="auto">
            <a:xfrm>
              <a:off x="11178022" y="3037352"/>
              <a:ext cx="359998" cy="359998"/>
            </a:xfrm>
            <a:prstGeom prst="ellipse">
              <a:avLst/>
            </a:prstGeom>
            <a:noFill/>
            <a:ln w="19050" cmpd="sng">
              <a:solidFill>
                <a:schemeClr val="accent1">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lnSpc>
                  <a:spcPct val="90000"/>
                </a:lnSpc>
                <a:spcBef>
                  <a:spcPct val="0"/>
                </a:spcBef>
                <a:spcAft>
                  <a:spcPct val="0"/>
                </a:spcAft>
              </a:pPr>
              <a:r>
                <a:rPr lang="en-US" sz="1200" spc="-38" dirty="0">
                  <a:solidFill>
                    <a:schemeClr val="tx1"/>
                  </a:solidFill>
                </a:rPr>
                <a:t>5</a:t>
              </a:r>
            </a:p>
          </p:txBody>
        </p:sp>
      </p:grpSp>
      <p:sp>
        <p:nvSpPr>
          <p:cNvPr id="40"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41"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4"/>
              </a:rPr>
              <a:t>www.rapidbbs.cn</a:t>
            </a:r>
            <a:endParaRPr lang="zh-CN" altLang="en-US" sz="1200" b="0">
              <a:latin typeface="Arial" charset="0"/>
              <a:ea typeface="ＭＳ Ｐゴシック" pitchFamily="34" charset="-128"/>
            </a:endParaRPr>
          </a:p>
        </p:txBody>
      </p:sp>
      <p:pic>
        <p:nvPicPr>
          <p:cNvPr id="42" name="Picture 2">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83360011"/>
      </p:ext>
    </p:extLst>
  </p:cSld>
  <p:clrMapOvr>
    <a:masterClrMapping/>
  </p:clrMapOvr>
  <p:transition>
    <p:fade/>
  </p:transition>
  <p:timing>
    <p:tnLst>
      <p:par>
        <p:cTn id="1" dur="indefinite" restart="never" nodeType="tmRoot"/>
      </p:par>
    </p:tnLst>
  </p:timing>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37"/>
          <p:cNvSpPr>
            <a:spLocks noChangeArrowheads="1"/>
          </p:cNvSpPr>
          <p:nvPr/>
        </p:nvSpPr>
        <p:spPr bwMode="auto">
          <a:xfrm>
            <a:off x="385836" y="839098"/>
            <a:ext cx="961679" cy="966978"/>
          </a:xfrm>
          <a:prstGeom prst="rect">
            <a:avLst/>
          </a:prstGeom>
          <a:solidFill>
            <a:schemeClr val="accent3"/>
          </a:solidFill>
          <a:ln w="9525">
            <a:noFill/>
            <a:miter lim="800000"/>
            <a:headEnd/>
            <a:tailEnd/>
          </a:ln>
        </p:spPr>
        <p:txBody>
          <a:bodyPr wrap="none" lIns="57116" tIns="28556" rIns="57116" bIns="28556" anchor="ctr"/>
          <a:lstStyle/>
          <a:p>
            <a:endParaRPr lang="en-US" dirty="0"/>
          </a:p>
        </p:txBody>
      </p:sp>
      <p:sp>
        <p:nvSpPr>
          <p:cNvPr id="69" name="Rectangle 37"/>
          <p:cNvSpPr>
            <a:spLocks noChangeArrowheads="1"/>
          </p:cNvSpPr>
          <p:nvPr/>
        </p:nvSpPr>
        <p:spPr bwMode="auto">
          <a:xfrm>
            <a:off x="1416177" y="841839"/>
            <a:ext cx="7342128" cy="960583"/>
          </a:xfrm>
          <a:prstGeom prst="rect">
            <a:avLst/>
          </a:prstGeom>
          <a:solidFill>
            <a:schemeClr val="bg1"/>
          </a:solidFill>
        </p:spPr>
        <p:txBody>
          <a:bodyPr wrap="square" lIns="137178" tIns="0" rIns="137178" bIns="68589" anchor="b">
            <a:noAutofit/>
          </a:bodyPr>
          <a:lstStyle/>
          <a:p>
            <a:pPr>
              <a:lnSpc>
                <a:spcPct val="90000"/>
              </a:lnSpc>
            </a:pPr>
            <a:endParaRPr lang="en-US" spc="-38" dirty="0">
              <a:gradFill>
                <a:gsLst>
                  <a:gs pos="2917">
                    <a:schemeClr val="tx1"/>
                  </a:gs>
                  <a:gs pos="30000">
                    <a:schemeClr val="tx1"/>
                  </a:gs>
                </a:gsLst>
                <a:lin ang="5400000" scaled="0"/>
              </a:gradFill>
            </a:endParaRPr>
          </a:p>
        </p:txBody>
      </p:sp>
      <p:sp>
        <p:nvSpPr>
          <p:cNvPr id="70" name="Rectangle 69"/>
          <p:cNvSpPr/>
          <p:nvPr/>
        </p:nvSpPr>
        <p:spPr bwMode="auto">
          <a:xfrm>
            <a:off x="379754" y="1885804"/>
            <a:ext cx="8375080" cy="268250"/>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6" tIns="34293" rIns="68586" bIns="34293" numCol="1" rtlCol="0" anchor="ctr" anchorCtr="0" compatLnSpc="1">
            <a:prstTxWarp prst="textNoShape">
              <a:avLst/>
            </a:prstTxWarp>
          </a:bodyPr>
          <a:lstStyle/>
          <a:p>
            <a:pPr defTabSz="685666" fontAlgn="base">
              <a:lnSpc>
                <a:spcPct val="90000"/>
              </a:lnSpc>
              <a:spcBef>
                <a:spcPct val="0"/>
              </a:spcBef>
              <a:spcAft>
                <a:spcPct val="0"/>
              </a:spcAft>
            </a:pPr>
            <a:r>
              <a:rPr lang="en-US" spc="-38" dirty="0">
                <a:gradFill>
                  <a:gsLst>
                    <a:gs pos="0">
                      <a:schemeClr val="bg1"/>
                    </a:gs>
                    <a:gs pos="100000">
                      <a:schemeClr val="bg1"/>
                    </a:gs>
                  </a:gsLst>
                  <a:lin ang="5400000" scaled="0"/>
                </a:gradFill>
                <a:latin typeface="+mj-lt"/>
              </a:rPr>
              <a:t>TOP FEATURES OF WEB AND APPLICATION </a:t>
            </a:r>
            <a:r>
              <a:rPr lang="en-US" spc="-38" dirty="0">
                <a:gradFill>
                  <a:gsLst>
                    <a:gs pos="0">
                      <a:schemeClr val="bg1"/>
                    </a:gs>
                    <a:gs pos="100000">
                      <a:schemeClr val="bg1"/>
                    </a:gs>
                  </a:gsLst>
                  <a:lin ang="5400000" scaled="0"/>
                </a:gradFill>
                <a:latin typeface="+mj-lt"/>
              </a:rPr>
              <a:t>PLATFORM TO MEET CUSTOMER CHALLENGES</a:t>
            </a:r>
          </a:p>
        </p:txBody>
      </p:sp>
      <p:sp>
        <p:nvSpPr>
          <p:cNvPr id="2" name="Title 1"/>
          <p:cNvSpPr>
            <a:spLocks noGrp="1"/>
          </p:cNvSpPr>
          <p:nvPr>
            <p:ph type="title"/>
          </p:nvPr>
        </p:nvSpPr>
        <p:spPr>
          <a:xfrm>
            <a:off x="389436" y="171450"/>
            <a:ext cx="8363938" cy="457048"/>
          </a:xfrm>
        </p:spPr>
        <p:txBody>
          <a:bodyPr/>
          <a:lstStyle/>
          <a:p>
            <a:r>
              <a:rPr lang="en-US" dirty="0"/>
              <a:t>Web and application platform</a:t>
            </a:r>
          </a:p>
        </p:txBody>
      </p:sp>
      <p:sp>
        <p:nvSpPr>
          <p:cNvPr id="11" name="TextBox 10"/>
          <p:cNvSpPr txBox="1"/>
          <p:nvPr/>
        </p:nvSpPr>
        <p:spPr>
          <a:xfrm>
            <a:off x="1619736" y="1084381"/>
            <a:ext cx="1561104" cy="501676"/>
          </a:xfrm>
          <a:prstGeom prst="rect">
            <a:avLst/>
          </a:prstGeom>
          <a:noFill/>
        </p:spPr>
        <p:txBody>
          <a:bodyPr wrap="square" lIns="0" tIns="0" rIns="0" bIns="0" rtlCol="0">
            <a:spAutoFit/>
          </a:bodyPr>
          <a:lstStyle/>
          <a:p>
            <a:pPr>
              <a:lnSpc>
                <a:spcPct val="90000"/>
              </a:lnSpc>
            </a:pPr>
            <a:r>
              <a:rPr lang="en-US" sz="1200" spc="-38" dirty="0">
                <a:gradFill>
                  <a:gsLst>
                    <a:gs pos="2917">
                      <a:schemeClr val="tx1"/>
                    </a:gs>
                    <a:gs pos="30000">
                      <a:schemeClr val="tx1"/>
                    </a:gs>
                  </a:gsLst>
                  <a:lin ang="5400000" scaled="0"/>
                </a:gradFill>
              </a:rPr>
              <a:t>Flexibility through hybrid and symmetrical applications </a:t>
            </a:r>
          </a:p>
        </p:txBody>
      </p:sp>
      <p:sp>
        <p:nvSpPr>
          <p:cNvPr id="71" name="TextBox 70"/>
          <p:cNvSpPr txBox="1"/>
          <p:nvPr/>
        </p:nvSpPr>
        <p:spPr>
          <a:xfrm>
            <a:off x="3583944" y="1091708"/>
            <a:ext cx="1465825" cy="886397"/>
          </a:xfrm>
          <a:prstGeom prst="rect">
            <a:avLst/>
          </a:prstGeom>
          <a:noFill/>
        </p:spPr>
        <p:txBody>
          <a:bodyPr wrap="square" lIns="0" tIns="0" rIns="0" bIns="0" rtlCol="0">
            <a:spAutoFit/>
          </a:bodyPr>
          <a:lstStyle>
            <a:defPPr>
              <a:defRPr lang="en-US"/>
            </a:defPPr>
            <a:lvl1pPr>
              <a:lnSpc>
                <a:spcPct val="90000"/>
              </a:lnSpc>
              <a:defRPr sz="1600" spc="-50">
                <a:gradFill>
                  <a:gsLst>
                    <a:gs pos="2917">
                      <a:schemeClr val="tx1"/>
                    </a:gs>
                    <a:gs pos="30000">
                      <a:schemeClr val="tx1"/>
                    </a:gs>
                  </a:gsLst>
                  <a:lin ang="5400000" scaled="0"/>
                </a:gradFill>
              </a:defRPr>
            </a:lvl1pPr>
          </a:lstStyle>
          <a:p>
            <a:r>
              <a:rPr lang="en-US" dirty="0"/>
              <a:t>Increased scalability and elasticity for applications </a:t>
            </a:r>
          </a:p>
        </p:txBody>
      </p:sp>
      <p:sp>
        <p:nvSpPr>
          <p:cNvPr id="72" name="TextBox 71"/>
          <p:cNvSpPr txBox="1"/>
          <p:nvPr/>
        </p:nvSpPr>
        <p:spPr>
          <a:xfrm>
            <a:off x="5518832" y="1084381"/>
            <a:ext cx="1524458" cy="886397"/>
          </a:xfrm>
          <a:prstGeom prst="rect">
            <a:avLst/>
          </a:prstGeom>
          <a:noFill/>
        </p:spPr>
        <p:txBody>
          <a:bodyPr wrap="square" lIns="0" tIns="0" rIns="0" bIns="0" rtlCol="0">
            <a:spAutoFit/>
          </a:bodyPr>
          <a:lstStyle>
            <a:defPPr>
              <a:defRPr lang="en-US"/>
            </a:defPPr>
            <a:lvl1pPr>
              <a:lnSpc>
                <a:spcPct val="90000"/>
              </a:lnSpc>
              <a:defRPr sz="1600" spc="-50">
                <a:gradFill>
                  <a:gsLst>
                    <a:gs pos="2917">
                      <a:schemeClr val="tx1"/>
                    </a:gs>
                    <a:gs pos="30000">
                      <a:schemeClr val="tx1"/>
                    </a:gs>
                  </a:gsLst>
                  <a:lin ang="5400000" scaled="0"/>
                </a:gradFill>
              </a:defRPr>
            </a:lvl1pPr>
          </a:lstStyle>
          <a:p>
            <a:r>
              <a:rPr lang="en-US" dirty="0"/>
              <a:t>Enhanced support for open frameworks and open source </a:t>
            </a:r>
          </a:p>
        </p:txBody>
      </p:sp>
      <p:grpSp>
        <p:nvGrpSpPr>
          <p:cNvPr id="10" name="Group 9"/>
          <p:cNvGrpSpPr/>
          <p:nvPr/>
        </p:nvGrpSpPr>
        <p:grpSpPr>
          <a:xfrm>
            <a:off x="379753" y="3447886"/>
            <a:ext cx="1601002" cy="1116784"/>
            <a:chOff x="506205" y="4479953"/>
            <a:chExt cx="2134114" cy="1489045"/>
          </a:xfrm>
        </p:grpSpPr>
        <p:sp>
          <p:nvSpPr>
            <p:cNvPr id="100" name="Rectangle 99"/>
            <p:cNvSpPr>
              <a:spLocks noChangeAspect="1" noChangeArrowheads="1"/>
            </p:cNvSpPr>
            <p:nvPr/>
          </p:nvSpPr>
          <p:spPr bwMode="auto">
            <a:xfrm>
              <a:off x="506205" y="4479953"/>
              <a:ext cx="2134114" cy="1489045"/>
            </a:xfrm>
            <a:prstGeom prst="rect">
              <a:avLst/>
            </a:prstGeom>
            <a:solidFill>
              <a:srgbClr val="FF8C00"/>
            </a:solidFill>
            <a:ln w="9525">
              <a:noFill/>
              <a:miter lim="800000"/>
              <a:headEnd/>
              <a:tailEnd/>
            </a:ln>
          </p:spPr>
          <p:txBody>
            <a:bodyPr wrap="square" rIns="457200" bIns="91440" anchor="b" anchorCtr="0"/>
            <a:lstStyle/>
            <a:p>
              <a:pPr>
                <a:spcAft>
                  <a:spcPts val="225"/>
                </a:spcAft>
              </a:pPr>
              <a:r>
                <a:rPr lang="en-US" sz="1100" dirty="0">
                  <a:solidFill>
                    <a:srgbClr val="FFFFFF"/>
                  </a:solidFill>
                </a:rPr>
                <a:t>Centralized SSL management</a:t>
              </a:r>
            </a:p>
          </p:txBody>
        </p:sp>
        <p:sp>
          <p:nvSpPr>
            <p:cNvPr id="105" name="Oval 104"/>
            <p:cNvSpPr/>
            <p:nvPr/>
          </p:nvSpPr>
          <p:spPr bwMode="auto">
            <a:xfrm>
              <a:off x="2111813" y="4639505"/>
              <a:ext cx="359998" cy="359998"/>
            </a:xfrm>
            <a:prstGeom prst="ellipse">
              <a:avLst/>
            </a:prstGeom>
            <a:noFill/>
            <a:ln w="19050" cmpd="sng">
              <a:solidFill>
                <a:schemeClr val="accent6">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lnSpc>
                  <a:spcPct val="90000"/>
                </a:lnSpc>
                <a:spcBef>
                  <a:spcPct val="0"/>
                </a:spcBef>
                <a:spcAft>
                  <a:spcPct val="0"/>
                </a:spcAft>
              </a:pPr>
              <a:r>
                <a:rPr lang="en-US" sz="1200" spc="-38" dirty="0">
                  <a:solidFill>
                    <a:srgbClr val="FFFFFF"/>
                  </a:solidFill>
                </a:rPr>
                <a:t>6</a:t>
              </a:r>
            </a:p>
          </p:txBody>
        </p:sp>
      </p:grpSp>
      <p:grpSp>
        <p:nvGrpSpPr>
          <p:cNvPr id="12" name="Group 11"/>
          <p:cNvGrpSpPr/>
          <p:nvPr/>
        </p:nvGrpSpPr>
        <p:grpSpPr>
          <a:xfrm>
            <a:off x="2074140" y="3447886"/>
            <a:ext cx="1601002" cy="1116784"/>
            <a:chOff x="2764800" y="4479953"/>
            <a:chExt cx="2134114" cy="1489045"/>
          </a:xfrm>
        </p:grpSpPr>
        <p:sp>
          <p:nvSpPr>
            <p:cNvPr id="101" name="Rectangle 100"/>
            <p:cNvSpPr>
              <a:spLocks noChangeAspect="1" noChangeArrowheads="1"/>
            </p:cNvSpPr>
            <p:nvPr/>
          </p:nvSpPr>
          <p:spPr bwMode="auto">
            <a:xfrm>
              <a:off x="2764800" y="4479953"/>
              <a:ext cx="2134114" cy="1489045"/>
            </a:xfrm>
            <a:prstGeom prst="rect">
              <a:avLst/>
            </a:prstGeom>
            <a:solidFill>
              <a:srgbClr val="FF8C00"/>
            </a:solidFill>
            <a:ln w="9525">
              <a:noFill/>
              <a:miter lim="800000"/>
              <a:headEnd/>
              <a:tailEnd/>
            </a:ln>
          </p:spPr>
          <p:txBody>
            <a:bodyPr wrap="square" rIns="457200" bIns="91440" anchor="b" anchorCtr="0"/>
            <a:lstStyle/>
            <a:p>
              <a:pPr>
                <a:spcAft>
                  <a:spcPts val="225"/>
                </a:spcAft>
              </a:pPr>
              <a:r>
                <a:rPr lang="en-US" sz="1100" dirty="0">
                  <a:solidFill>
                    <a:srgbClr val="FFFFFF"/>
                  </a:solidFill>
                </a:rPr>
                <a:t>“Just works” with PHP and node.js</a:t>
              </a:r>
            </a:p>
          </p:txBody>
        </p:sp>
        <p:sp>
          <p:nvSpPr>
            <p:cNvPr id="106" name="Oval 105"/>
            <p:cNvSpPr/>
            <p:nvPr/>
          </p:nvSpPr>
          <p:spPr bwMode="auto">
            <a:xfrm>
              <a:off x="4378365" y="4639505"/>
              <a:ext cx="359998" cy="359998"/>
            </a:xfrm>
            <a:prstGeom prst="ellipse">
              <a:avLst/>
            </a:prstGeom>
            <a:noFill/>
            <a:ln w="19050" cmpd="sng">
              <a:solidFill>
                <a:schemeClr val="accent6">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lnSpc>
                  <a:spcPct val="90000"/>
                </a:lnSpc>
                <a:spcBef>
                  <a:spcPct val="0"/>
                </a:spcBef>
                <a:spcAft>
                  <a:spcPct val="0"/>
                </a:spcAft>
              </a:pPr>
              <a:r>
                <a:rPr lang="en-US" sz="1200" spc="-38" dirty="0">
                  <a:solidFill>
                    <a:srgbClr val="FFFFFF"/>
                  </a:solidFill>
                </a:rPr>
                <a:t>7</a:t>
              </a:r>
            </a:p>
          </p:txBody>
        </p:sp>
      </p:grpSp>
      <p:grpSp>
        <p:nvGrpSpPr>
          <p:cNvPr id="13" name="Group 12"/>
          <p:cNvGrpSpPr/>
          <p:nvPr/>
        </p:nvGrpSpPr>
        <p:grpSpPr>
          <a:xfrm>
            <a:off x="3768528" y="3447886"/>
            <a:ext cx="1601002" cy="1116784"/>
            <a:chOff x="5023395" y="4479953"/>
            <a:chExt cx="2134114" cy="1489045"/>
          </a:xfrm>
        </p:grpSpPr>
        <p:sp>
          <p:nvSpPr>
            <p:cNvPr id="102" name="Rectangle 101"/>
            <p:cNvSpPr>
              <a:spLocks noChangeAspect="1" noChangeArrowheads="1"/>
            </p:cNvSpPr>
            <p:nvPr/>
          </p:nvSpPr>
          <p:spPr bwMode="auto">
            <a:xfrm>
              <a:off x="5023395" y="4479953"/>
              <a:ext cx="2134114" cy="1489045"/>
            </a:xfrm>
            <a:prstGeom prst="rect">
              <a:avLst/>
            </a:prstGeom>
            <a:solidFill>
              <a:srgbClr val="FF8C00"/>
            </a:solidFill>
            <a:ln w="9525">
              <a:noFill/>
              <a:miter lim="800000"/>
              <a:headEnd/>
              <a:tailEnd/>
            </a:ln>
          </p:spPr>
          <p:txBody>
            <a:bodyPr wrap="square" rIns="457200" bIns="91440" anchor="b" anchorCtr="0"/>
            <a:lstStyle/>
            <a:p>
              <a:pPr>
                <a:spcAft>
                  <a:spcPts val="225"/>
                </a:spcAft>
              </a:pPr>
              <a:r>
                <a:rPr lang="en-US" sz="1100" dirty="0">
                  <a:solidFill>
                    <a:srgbClr val="FFFFFF"/>
                  </a:solidFill>
                </a:rPr>
                <a:t>Embracing web standards</a:t>
              </a:r>
            </a:p>
          </p:txBody>
        </p:sp>
        <p:sp>
          <p:nvSpPr>
            <p:cNvPr id="107" name="Oval 106"/>
            <p:cNvSpPr/>
            <p:nvPr/>
          </p:nvSpPr>
          <p:spPr bwMode="auto">
            <a:xfrm>
              <a:off x="6644917" y="4639505"/>
              <a:ext cx="359998" cy="359998"/>
            </a:xfrm>
            <a:prstGeom prst="ellipse">
              <a:avLst/>
            </a:prstGeom>
            <a:noFill/>
            <a:ln w="19050" cmpd="sng">
              <a:solidFill>
                <a:schemeClr val="accent6">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lnSpc>
                  <a:spcPct val="90000"/>
                </a:lnSpc>
                <a:spcBef>
                  <a:spcPct val="0"/>
                </a:spcBef>
                <a:spcAft>
                  <a:spcPct val="0"/>
                </a:spcAft>
              </a:pPr>
              <a:r>
                <a:rPr lang="en-US" sz="1200" spc="-38" dirty="0">
                  <a:solidFill>
                    <a:srgbClr val="FFFFFF"/>
                  </a:solidFill>
                </a:rPr>
                <a:t>8</a:t>
              </a:r>
            </a:p>
          </p:txBody>
        </p:sp>
      </p:grpSp>
      <p:grpSp>
        <p:nvGrpSpPr>
          <p:cNvPr id="14" name="Group 13"/>
          <p:cNvGrpSpPr/>
          <p:nvPr/>
        </p:nvGrpSpPr>
        <p:grpSpPr>
          <a:xfrm>
            <a:off x="5462915" y="3447886"/>
            <a:ext cx="1601002" cy="1116784"/>
            <a:chOff x="7281990" y="4479953"/>
            <a:chExt cx="2134114" cy="1489045"/>
          </a:xfrm>
        </p:grpSpPr>
        <p:sp>
          <p:nvSpPr>
            <p:cNvPr id="103" name="Rectangle 102"/>
            <p:cNvSpPr>
              <a:spLocks noChangeAspect="1" noChangeArrowheads="1"/>
            </p:cNvSpPr>
            <p:nvPr/>
          </p:nvSpPr>
          <p:spPr bwMode="auto">
            <a:xfrm>
              <a:off x="7281990" y="4479953"/>
              <a:ext cx="2134114" cy="1489045"/>
            </a:xfrm>
            <a:prstGeom prst="rect">
              <a:avLst/>
            </a:prstGeom>
            <a:solidFill>
              <a:srgbClr val="FF8C00"/>
            </a:solidFill>
            <a:ln w="9525">
              <a:noFill/>
              <a:miter lim="800000"/>
              <a:headEnd/>
              <a:tailEnd/>
            </a:ln>
          </p:spPr>
          <p:txBody>
            <a:bodyPr wrap="square" rIns="457200" bIns="91440" anchor="b" anchorCtr="0"/>
            <a:lstStyle/>
            <a:p>
              <a:pPr>
                <a:spcAft>
                  <a:spcPts val="225"/>
                </a:spcAft>
              </a:pPr>
              <a:r>
                <a:rPr lang="en-US" sz="1100" dirty="0">
                  <a:solidFill>
                    <a:srgbClr val="FFFFFF"/>
                  </a:solidFill>
                </a:rPr>
                <a:t>Application symmetry</a:t>
              </a:r>
            </a:p>
          </p:txBody>
        </p:sp>
        <p:sp>
          <p:nvSpPr>
            <p:cNvPr id="108" name="Oval 107"/>
            <p:cNvSpPr/>
            <p:nvPr/>
          </p:nvSpPr>
          <p:spPr bwMode="auto">
            <a:xfrm>
              <a:off x="8911469" y="4639505"/>
              <a:ext cx="359998" cy="359998"/>
            </a:xfrm>
            <a:prstGeom prst="ellipse">
              <a:avLst/>
            </a:prstGeom>
            <a:noFill/>
            <a:ln w="19050" cmpd="sng">
              <a:solidFill>
                <a:schemeClr val="accent6">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lnSpc>
                  <a:spcPct val="90000"/>
                </a:lnSpc>
                <a:spcBef>
                  <a:spcPct val="0"/>
                </a:spcBef>
                <a:spcAft>
                  <a:spcPct val="0"/>
                </a:spcAft>
              </a:pPr>
              <a:r>
                <a:rPr lang="en-US" sz="1200" spc="-38" dirty="0">
                  <a:solidFill>
                    <a:srgbClr val="FFFFFF"/>
                  </a:solidFill>
                </a:rPr>
                <a:t>9</a:t>
              </a:r>
            </a:p>
          </p:txBody>
        </p:sp>
      </p:grpSp>
      <p:grpSp>
        <p:nvGrpSpPr>
          <p:cNvPr id="15" name="Group 14"/>
          <p:cNvGrpSpPr/>
          <p:nvPr/>
        </p:nvGrpSpPr>
        <p:grpSpPr>
          <a:xfrm>
            <a:off x="7157302" y="3447886"/>
            <a:ext cx="1601002" cy="1116784"/>
            <a:chOff x="9540584" y="4479953"/>
            <a:chExt cx="2134114" cy="1489045"/>
          </a:xfrm>
        </p:grpSpPr>
        <p:sp>
          <p:nvSpPr>
            <p:cNvPr id="104" name="Rectangle 103"/>
            <p:cNvSpPr>
              <a:spLocks noChangeAspect="1" noChangeArrowheads="1"/>
            </p:cNvSpPr>
            <p:nvPr/>
          </p:nvSpPr>
          <p:spPr bwMode="auto">
            <a:xfrm>
              <a:off x="9540584" y="4479953"/>
              <a:ext cx="2134114" cy="1489045"/>
            </a:xfrm>
            <a:prstGeom prst="rect">
              <a:avLst/>
            </a:prstGeom>
            <a:solidFill>
              <a:srgbClr val="FF8C00"/>
            </a:solidFill>
            <a:ln w="9525">
              <a:noFill/>
              <a:miter lim="800000"/>
              <a:headEnd/>
              <a:tailEnd/>
            </a:ln>
          </p:spPr>
          <p:txBody>
            <a:bodyPr wrap="square" rIns="457200" bIns="91440" anchor="b" anchorCtr="0"/>
            <a:lstStyle/>
            <a:p>
              <a:pPr>
                <a:spcAft>
                  <a:spcPts val="225"/>
                </a:spcAft>
              </a:pPr>
              <a:r>
                <a:rPr lang="en-US" sz="1100" dirty="0">
                  <a:solidFill>
                    <a:srgbClr val="FFFFFF"/>
                  </a:solidFill>
                </a:rPr>
                <a:t>Comming Development Platform</a:t>
              </a:r>
            </a:p>
          </p:txBody>
        </p:sp>
        <p:sp>
          <p:nvSpPr>
            <p:cNvPr id="109" name="Oval 108"/>
            <p:cNvSpPr/>
            <p:nvPr/>
          </p:nvSpPr>
          <p:spPr bwMode="auto">
            <a:xfrm>
              <a:off x="11178022" y="4639505"/>
              <a:ext cx="359998" cy="359998"/>
            </a:xfrm>
            <a:prstGeom prst="ellipse">
              <a:avLst/>
            </a:prstGeom>
            <a:noFill/>
            <a:ln w="19050" cmpd="sng">
              <a:solidFill>
                <a:schemeClr val="accent6">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91436" tIns="45718" rIns="91436" bIns="45718" numCol="1" rtlCol="0" anchor="ctr" anchorCtr="0" compatLnSpc="1">
              <a:prstTxWarp prst="textNoShape">
                <a:avLst/>
              </a:prstTxWarp>
            </a:bodyPr>
            <a:lstStyle/>
            <a:p>
              <a:pPr algn="ctr" defTabSz="685666" fontAlgn="base">
                <a:lnSpc>
                  <a:spcPct val="90000"/>
                </a:lnSpc>
                <a:spcBef>
                  <a:spcPct val="0"/>
                </a:spcBef>
                <a:spcAft>
                  <a:spcPct val="0"/>
                </a:spcAft>
              </a:pPr>
              <a:r>
                <a:rPr lang="en-US" sz="1200" spc="-38" dirty="0">
                  <a:solidFill>
                    <a:srgbClr val="FFFFFF"/>
                  </a:solidFill>
                </a:rPr>
                <a:t>10</a:t>
              </a:r>
            </a:p>
          </p:txBody>
        </p:sp>
      </p:grpSp>
      <p:grpSp>
        <p:nvGrpSpPr>
          <p:cNvPr id="4" name="Group 3"/>
          <p:cNvGrpSpPr/>
          <p:nvPr/>
        </p:nvGrpSpPr>
        <p:grpSpPr>
          <a:xfrm>
            <a:off x="379753" y="2246271"/>
            <a:ext cx="1601002" cy="1116784"/>
            <a:chOff x="506205" y="2877800"/>
            <a:chExt cx="2134114" cy="1489045"/>
          </a:xfrm>
        </p:grpSpPr>
        <p:sp>
          <p:nvSpPr>
            <p:cNvPr id="73" name="Rectangle 72"/>
            <p:cNvSpPr>
              <a:spLocks noChangeAspect="1" noChangeArrowheads="1"/>
            </p:cNvSpPr>
            <p:nvPr/>
          </p:nvSpPr>
          <p:spPr bwMode="auto">
            <a:xfrm>
              <a:off x="506205" y="2877800"/>
              <a:ext cx="2134114" cy="1489045"/>
            </a:xfrm>
            <a:prstGeom prst="rect">
              <a:avLst/>
            </a:prstGeom>
            <a:solidFill>
              <a:srgbClr val="FF8C00"/>
            </a:solidFill>
            <a:ln w="9525">
              <a:noFill/>
              <a:miter lim="800000"/>
              <a:headEnd/>
              <a:tailEnd/>
            </a:ln>
          </p:spPr>
          <p:txBody>
            <a:bodyPr wrap="square" rIns="457200" bIns="91440" anchor="b" anchorCtr="0"/>
            <a:lstStyle/>
            <a:p>
              <a:pPr>
                <a:spcAft>
                  <a:spcPts val="225"/>
                </a:spcAft>
              </a:pPr>
              <a:r>
                <a:rPr lang="en-US" sz="1100" dirty="0">
                  <a:solidFill>
                    <a:srgbClr val="FFFFFF"/>
                  </a:solidFill>
                </a:rPr>
                <a:t>Website density and mutlitenancy</a:t>
              </a:r>
            </a:p>
          </p:txBody>
        </p:sp>
        <p:sp>
          <p:nvSpPr>
            <p:cNvPr id="77" name="Oval 76"/>
            <p:cNvSpPr/>
            <p:nvPr/>
          </p:nvSpPr>
          <p:spPr bwMode="auto">
            <a:xfrm>
              <a:off x="2111813" y="3037352"/>
              <a:ext cx="359998" cy="359998"/>
            </a:xfrm>
            <a:prstGeom prst="ellipse">
              <a:avLst/>
            </a:prstGeom>
            <a:noFill/>
            <a:ln w="19050" cmpd="sng">
              <a:solidFill>
                <a:schemeClr val="accent6">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lnSpc>
                  <a:spcPct val="90000"/>
                </a:lnSpc>
                <a:spcBef>
                  <a:spcPct val="0"/>
                </a:spcBef>
                <a:spcAft>
                  <a:spcPct val="0"/>
                </a:spcAft>
              </a:pPr>
              <a:r>
                <a:rPr lang="en-US" sz="1200" spc="-38" dirty="0">
                  <a:solidFill>
                    <a:srgbClr val="FFFFFF"/>
                  </a:solidFill>
                </a:rPr>
                <a:t>1</a:t>
              </a:r>
            </a:p>
          </p:txBody>
        </p:sp>
      </p:grpSp>
      <p:grpSp>
        <p:nvGrpSpPr>
          <p:cNvPr id="5" name="Group 4"/>
          <p:cNvGrpSpPr/>
          <p:nvPr/>
        </p:nvGrpSpPr>
        <p:grpSpPr>
          <a:xfrm>
            <a:off x="2074140" y="2246271"/>
            <a:ext cx="1601002" cy="1116784"/>
            <a:chOff x="2764800" y="2877800"/>
            <a:chExt cx="2134114" cy="1489045"/>
          </a:xfrm>
        </p:grpSpPr>
        <p:sp>
          <p:nvSpPr>
            <p:cNvPr id="74" name="Rectangle 73"/>
            <p:cNvSpPr>
              <a:spLocks noChangeAspect="1" noChangeArrowheads="1"/>
            </p:cNvSpPr>
            <p:nvPr/>
          </p:nvSpPr>
          <p:spPr bwMode="auto">
            <a:xfrm>
              <a:off x="2764800" y="2877800"/>
              <a:ext cx="2134114" cy="1489045"/>
            </a:xfrm>
            <a:prstGeom prst="rect">
              <a:avLst/>
            </a:prstGeom>
            <a:solidFill>
              <a:srgbClr val="FF8C00"/>
            </a:solidFill>
            <a:ln w="9525">
              <a:noFill/>
              <a:miter lim="800000"/>
              <a:headEnd/>
              <a:tailEnd/>
            </a:ln>
          </p:spPr>
          <p:txBody>
            <a:bodyPr wrap="square" rIns="457200" bIns="91440" anchor="b" anchorCtr="0"/>
            <a:lstStyle/>
            <a:p>
              <a:pPr>
                <a:spcAft>
                  <a:spcPts val="225"/>
                </a:spcAft>
              </a:pPr>
              <a:r>
                <a:rPr lang="en-US" sz="1100" dirty="0">
                  <a:solidFill>
                    <a:srgbClr val="FFFFFF"/>
                  </a:solidFill>
                </a:rPr>
                <a:t>Application </a:t>
              </a:r>
              <a:r>
                <a:rPr lang="en-US" sz="1100" dirty="0">
                  <a:solidFill>
                    <a:srgbClr val="FFFFFF"/>
                  </a:solidFill>
                </a:rPr>
                <a:t>Initialization</a:t>
              </a:r>
              <a:endParaRPr lang="en-US" sz="1100" dirty="0">
                <a:solidFill>
                  <a:srgbClr val="FFFFFF"/>
                </a:solidFill>
              </a:endParaRPr>
            </a:p>
          </p:txBody>
        </p:sp>
        <p:sp>
          <p:nvSpPr>
            <p:cNvPr id="95" name="Oval 94"/>
            <p:cNvSpPr/>
            <p:nvPr/>
          </p:nvSpPr>
          <p:spPr bwMode="auto">
            <a:xfrm>
              <a:off x="4378365" y="3037352"/>
              <a:ext cx="359998" cy="359998"/>
            </a:xfrm>
            <a:prstGeom prst="ellipse">
              <a:avLst/>
            </a:prstGeom>
            <a:noFill/>
            <a:ln w="19050" cmpd="sng">
              <a:solidFill>
                <a:schemeClr val="accent6">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lnSpc>
                  <a:spcPct val="90000"/>
                </a:lnSpc>
                <a:spcBef>
                  <a:spcPct val="0"/>
                </a:spcBef>
                <a:spcAft>
                  <a:spcPct val="0"/>
                </a:spcAft>
              </a:pPr>
              <a:r>
                <a:rPr lang="en-US" sz="1200" spc="-38" dirty="0">
                  <a:solidFill>
                    <a:srgbClr val="FFFFFF"/>
                  </a:solidFill>
                </a:rPr>
                <a:t>2</a:t>
              </a:r>
            </a:p>
          </p:txBody>
        </p:sp>
      </p:grpSp>
      <p:grpSp>
        <p:nvGrpSpPr>
          <p:cNvPr id="7" name="Group 6"/>
          <p:cNvGrpSpPr/>
          <p:nvPr/>
        </p:nvGrpSpPr>
        <p:grpSpPr>
          <a:xfrm>
            <a:off x="3768528" y="2246271"/>
            <a:ext cx="1601002" cy="1116784"/>
            <a:chOff x="5023395" y="2877800"/>
            <a:chExt cx="2134114" cy="1489045"/>
          </a:xfrm>
        </p:grpSpPr>
        <p:sp>
          <p:nvSpPr>
            <p:cNvPr id="82" name="Rectangle 81"/>
            <p:cNvSpPr>
              <a:spLocks noChangeAspect="1" noChangeArrowheads="1"/>
            </p:cNvSpPr>
            <p:nvPr/>
          </p:nvSpPr>
          <p:spPr bwMode="auto">
            <a:xfrm>
              <a:off x="5023395" y="2877800"/>
              <a:ext cx="2134114" cy="1489045"/>
            </a:xfrm>
            <a:prstGeom prst="rect">
              <a:avLst/>
            </a:prstGeom>
            <a:solidFill>
              <a:srgbClr val="FF8C00"/>
            </a:solidFill>
            <a:ln w="9525">
              <a:noFill/>
              <a:miter lim="800000"/>
              <a:headEnd/>
              <a:tailEnd/>
            </a:ln>
          </p:spPr>
          <p:txBody>
            <a:bodyPr wrap="square" rIns="457200" bIns="91440" anchor="b" anchorCtr="0"/>
            <a:lstStyle/>
            <a:p>
              <a:pPr>
                <a:spcAft>
                  <a:spcPts val="225"/>
                </a:spcAft>
              </a:pPr>
              <a:r>
                <a:rPr lang="en-US" sz="1100" dirty="0">
                  <a:solidFill>
                    <a:srgbClr val="FFFFFF"/>
                  </a:solidFill>
                </a:rPr>
                <a:t>Dynamic IP </a:t>
              </a:r>
              <a:r>
                <a:rPr lang="en-US" sz="1100" dirty="0">
                  <a:solidFill>
                    <a:srgbClr val="FFFFFF"/>
                  </a:solidFill>
                </a:rPr>
                <a:t>Restrictions</a:t>
              </a:r>
              <a:endParaRPr lang="en-US" sz="1100" dirty="0">
                <a:solidFill>
                  <a:srgbClr val="FFFFFF"/>
                </a:solidFill>
              </a:endParaRPr>
            </a:p>
          </p:txBody>
        </p:sp>
        <p:sp>
          <p:nvSpPr>
            <p:cNvPr id="97" name="Oval 96"/>
            <p:cNvSpPr/>
            <p:nvPr/>
          </p:nvSpPr>
          <p:spPr bwMode="auto">
            <a:xfrm>
              <a:off x="6644917" y="3037352"/>
              <a:ext cx="359998" cy="359998"/>
            </a:xfrm>
            <a:prstGeom prst="ellipse">
              <a:avLst/>
            </a:prstGeom>
            <a:noFill/>
            <a:ln w="19050" cmpd="sng">
              <a:solidFill>
                <a:schemeClr val="accent6">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lnSpc>
                  <a:spcPct val="90000"/>
                </a:lnSpc>
                <a:spcBef>
                  <a:spcPct val="0"/>
                </a:spcBef>
                <a:spcAft>
                  <a:spcPct val="0"/>
                </a:spcAft>
              </a:pPr>
              <a:r>
                <a:rPr lang="en-US" sz="1200" spc="-38" dirty="0">
                  <a:solidFill>
                    <a:srgbClr val="FFFFFF"/>
                  </a:solidFill>
                </a:rPr>
                <a:t>3</a:t>
              </a:r>
            </a:p>
          </p:txBody>
        </p:sp>
      </p:grpSp>
      <p:grpSp>
        <p:nvGrpSpPr>
          <p:cNvPr id="8" name="Group 7"/>
          <p:cNvGrpSpPr/>
          <p:nvPr/>
        </p:nvGrpSpPr>
        <p:grpSpPr>
          <a:xfrm>
            <a:off x="5462915" y="2246271"/>
            <a:ext cx="1601002" cy="1116784"/>
            <a:chOff x="7281990" y="2877800"/>
            <a:chExt cx="2134114" cy="1489045"/>
          </a:xfrm>
        </p:grpSpPr>
        <p:sp>
          <p:nvSpPr>
            <p:cNvPr id="84" name="Rectangle 83"/>
            <p:cNvSpPr>
              <a:spLocks noChangeAspect="1" noChangeArrowheads="1"/>
            </p:cNvSpPr>
            <p:nvPr/>
          </p:nvSpPr>
          <p:spPr bwMode="auto">
            <a:xfrm>
              <a:off x="7281990" y="2877800"/>
              <a:ext cx="2134114" cy="1489045"/>
            </a:xfrm>
            <a:prstGeom prst="rect">
              <a:avLst/>
            </a:prstGeom>
            <a:solidFill>
              <a:srgbClr val="FF8C00"/>
            </a:solidFill>
            <a:ln w="9525">
              <a:noFill/>
              <a:miter lim="800000"/>
              <a:headEnd/>
              <a:tailEnd/>
            </a:ln>
          </p:spPr>
          <p:txBody>
            <a:bodyPr wrap="square" rIns="457200" bIns="91440" anchor="b" anchorCtr="0"/>
            <a:lstStyle/>
            <a:p>
              <a:pPr>
                <a:spcAft>
                  <a:spcPts val="225"/>
                </a:spcAft>
              </a:pPr>
              <a:r>
                <a:rPr lang="en-US" sz="1100" dirty="0">
                  <a:solidFill>
                    <a:srgbClr val="FFFFFF"/>
                  </a:solidFill>
                </a:rPr>
                <a:t>CPU </a:t>
              </a:r>
              <a:r>
                <a:rPr lang="en-US" sz="1100" dirty="0">
                  <a:solidFill>
                    <a:srgbClr val="FFFFFF"/>
                  </a:solidFill>
                </a:rPr>
                <a:t>Throttling</a:t>
              </a:r>
              <a:endParaRPr lang="en-US" sz="1100" dirty="0">
                <a:solidFill>
                  <a:srgbClr val="FFFFFF"/>
                </a:solidFill>
              </a:endParaRPr>
            </a:p>
          </p:txBody>
        </p:sp>
        <p:sp>
          <p:nvSpPr>
            <p:cNvPr id="98" name="Oval 97"/>
            <p:cNvSpPr/>
            <p:nvPr/>
          </p:nvSpPr>
          <p:spPr bwMode="auto">
            <a:xfrm>
              <a:off x="8911469" y="3037352"/>
              <a:ext cx="359998" cy="359998"/>
            </a:xfrm>
            <a:prstGeom prst="ellipse">
              <a:avLst/>
            </a:prstGeom>
            <a:noFill/>
            <a:ln w="19050" cmpd="sng">
              <a:solidFill>
                <a:schemeClr val="accent6">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lnSpc>
                  <a:spcPct val="90000"/>
                </a:lnSpc>
                <a:spcBef>
                  <a:spcPct val="0"/>
                </a:spcBef>
                <a:spcAft>
                  <a:spcPct val="0"/>
                </a:spcAft>
              </a:pPr>
              <a:r>
                <a:rPr lang="en-US" sz="1200" spc="-38" dirty="0">
                  <a:solidFill>
                    <a:srgbClr val="FFFFFF"/>
                  </a:solidFill>
                </a:rPr>
                <a:t>4</a:t>
              </a:r>
            </a:p>
          </p:txBody>
        </p:sp>
      </p:grpSp>
      <p:grpSp>
        <p:nvGrpSpPr>
          <p:cNvPr id="9" name="Group 8"/>
          <p:cNvGrpSpPr/>
          <p:nvPr/>
        </p:nvGrpSpPr>
        <p:grpSpPr>
          <a:xfrm>
            <a:off x="7157302" y="2246271"/>
            <a:ext cx="1601002" cy="1116784"/>
            <a:chOff x="9540584" y="2877800"/>
            <a:chExt cx="2134114" cy="1489045"/>
          </a:xfrm>
        </p:grpSpPr>
        <p:sp>
          <p:nvSpPr>
            <p:cNvPr id="87" name="Rectangle 86"/>
            <p:cNvSpPr>
              <a:spLocks noChangeAspect="1" noChangeArrowheads="1"/>
            </p:cNvSpPr>
            <p:nvPr/>
          </p:nvSpPr>
          <p:spPr bwMode="auto">
            <a:xfrm>
              <a:off x="9540584" y="2877800"/>
              <a:ext cx="2134114" cy="1489045"/>
            </a:xfrm>
            <a:prstGeom prst="rect">
              <a:avLst/>
            </a:prstGeom>
            <a:solidFill>
              <a:srgbClr val="FF8C00"/>
            </a:solidFill>
            <a:ln w="9525">
              <a:noFill/>
              <a:miter lim="800000"/>
              <a:headEnd/>
              <a:tailEnd/>
            </a:ln>
          </p:spPr>
          <p:txBody>
            <a:bodyPr wrap="square" rIns="457200" bIns="91440" anchor="b" anchorCtr="0"/>
            <a:lstStyle/>
            <a:p>
              <a:pPr>
                <a:spcAft>
                  <a:spcPts val="225"/>
                </a:spcAft>
              </a:pPr>
              <a:r>
                <a:rPr lang="en-US" sz="1100" dirty="0">
                  <a:solidFill>
                    <a:srgbClr val="FFFFFF"/>
                  </a:solidFill>
                </a:rPr>
                <a:t>NUMA-Aware Scalability</a:t>
              </a:r>
              <a:endParaRPr lang="en-US" sz="1100" dirty="0">
                <a:solidFill>
                  <a:srgbClr val="FFFFFF"/>
                </a:solidFill>
              </a:endParaRPr>
            </a:p>
          </p:txBody>
        </p:sp>
        <p:sp>
          <p:nvSpPr>
            <p:cNvPr id="99" name="Oval 98"/>
            <p:cNvSpPr/>
            <p:nvPr/>
          </p:nvSpPr>
          <p:spPr bwMode="auto">
            <a:xfrm>
              <a:off x="11178022" y="3037352"/>
              <a:ext cx="359998" cy="359998"/>
            </a:xfrm>
            <a:prstGeom prst="ellipse">
              <a:avLst/>
            </a:prstGeom>
            <a:noFill/>
            <a:ln w="19050" cmpd="sng">
              <a:solidFill>
                <a:schemeClr val="accent6">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lnSpc>
                  <a:spcPct val="90000"/>
                </a:lnSpc>
                <a:spcBef>
                  <a:spcPct val="0"/>
                </a:spcBef>
                <a:spcAft>
                  <a:spcPct val="0"/>
                </a:spcAft>
              </a:pPr>
              <a:r>
                <a:rPr lang="en-US" sz="1200" spc="-38" dirty="0">
                  <a:solidFill>
                    <a:srgbClr val="FFFFFF"/>
                  </a:solidFill>
                </a:rPr>
                <a:t>5</a:t>
              </a:r>
            </a:p>
          </p:txBody>
        </p:sp>
      </p:grpSp>
      <p:pic>
        <p:nvPicPr>
          <p:cNvPr id="34" name="Picture 23" descr="window"/>
          <p:cNvPicPr>
            <a:picLocks noChangeAspect="1" noChangeArrowheads="1"/>
          </p:cNvPicPr>
          <p:nvPr/>
        </p:nvPicPr>
        <p:blipFill>
          <a:blip r:embed="rId3" cstate="email"/>
          <a:srcRect/>
          <a:stretch>
            <a:fillRect/>
          </a:stretch>
        </p:blipFill>
        <p:spPr bwMode="auto">
          <a:xfrm>
            <a:off x="543440" y="1078585"/>
            <a:ext cx="627515" cy="482085"/>
          </a:xfrm>
          <a:prstGeom prst="rect">
            <a:avLst/>
          </a:prstGeom>
          <a:noFill/>
          <a:ln w="9525">
            <a:noFill/>
            <a:miter lim="800000"/>
            <a:headEnd/>
            <a:tailEnd/>
          </a:ln>
        </p:spPr>
      </p:pic>
      <p:sp>
        <p:nvSpPr>
          <p:cNvPr id="40"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41"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4"/>
              </a:rPr>
              <a:t>www.rapidbbs.cn</a:t>
            </a:r>
            <a:endParaRPr lang="zh-CN" altLang="en-US" sz="1200" b="0">
              <a:latin typeface="Arial" charset="0"/>
              <a:ea typeface="ＭＳ Ｐゴシック" pitchFamily="34" charset="-128"/>
            </a:endParaRPr>
          </a:p>
        </p:txBody>
      </p:sp>
      <p:pic>
        <p:nvPicPr>
          <p:cNvPr id="42" name="Picture 2">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81807255"/>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48" y="171460"/>
            <a:ext cx="8363938" cy="457049"/>
          </a:xfrm>
        </p:spPr>
        <p:txBody>
          <a:bodyPr/>
          <a:lstStyle/>
          <a:p>
            <a:r>
              <a:rPr lang="en-US" dirty="0" smtClean="0"/>
              <a:t>Comprehensive Compliance Framework</a:t>
            </a:r>
            <a:endParaRPr lang="en-US" dirty="0"/>
          </a:p>
        </p:txBody>
      </p:sp>
      <p:grpSp>
        <p:nvGrpSpPr>
          <p:cNvPr id="9" name="Group 8"/>
          <p:cNvGrpSpPr/>
          <p:nvPr/>
        </p:nvGrpSpPr>
        <p:grpSpPr>
          <a:xfrm>
            <a:off x="727333" y="3898140"/>
            <a:ext cx="7692239" cy="736590"/>
            <a:chOff x="1150938" y="6880150"/>
            <a:chExt cx="12307583" cy="1178544"/>
          </a:xfrm>
        </p:grpSpPr>
        <p:sp>
          <p:nvSpPr>
            <p:cNvPr id="45" name="Rectangle 44"/>
            <p:cNvSpPr/>
            <p:nvPr/>
          </p:nvSpPr>
          <p:spPr bwMode="auto">
            <a:xfrm>
              <a:off x="1150938" y="6880150"/>
              <a:ext cx="12307583" cy="1144009"/>
            </a:xfrm>
            <a:prstGeom prst="rect">
              <a:avLst/>
            </a:prstGeom>
            <a:solidFill>
              <a:schemeClr val="accent4"/>
            </a:solidFill>
          </p:spPr>
          <p:txBody>
            <a:bodyPr wrap="square" lIns="130622" tIns="65311" rIns="130622" bIns="65311" numCol="2" anchor="b">
              <a:noAutofit/>
            </a:bodyPr>
            <a:lstStyle/>
            <a:p>
              <a:pPr defTabSz="815230">
                <a:lnSpc>
                  <a:spcPct val="90000"/>
                </a:lnSpc>
              </a:pPr>
              <a:r>
                <a:rPr lang="en-US" kern="0" dirty="0">
                  <a:solidFill>
                    <a:srgbClr val="FFFFFF">
                      <a:alpha val="99000"/>
                    </a:srgbClr>
                  </a:solidFill>
                </a:rPr>
                <a:t>ISO/IEC 27001:2005 certification</a:t>
              </a:r>
            </a:p>
          </p:txBody>
        </p:sp>
        <p:sp>
          <p:nvSpPr>
            <p:cNvPr id="46" name="TextBox 45"/>
            <p:cNvSpPr txBox="1"/>
            <p:nvPr/>
          </p:nvSpPr>
          <p:spPr>
            <a:xfrm>
              <a:off x="5145047" y="7003396"/>
              <a:ext cx="4340323" cy="487547"/>
            </a:xfrm>
            <a:prstGeom prst="rect">
              <a:avLst/>
            </a:prstGeom>
            <a:noFill/>
          </p:spPr>
          <p:txBody>
            <a:bodyPr wrap="none" lIns="109746" tIns="54873" rIns="109746" bIns="54873" rtlCol="0">
              <a:spAutoFit/>
            </a:bodyPr>
            <a:lstStyle/>
            <a:p>
              <a:pPr algn="ctr" defTabSz="821693">
                <a:lnSpc>
                  <a:spcPct val="90000"/>
                </a:lnSpc>
                <a:defRPr/>
              </a:pPr>
              <a:r>
                <a:rPr lang="en-US" b="1" kern="0" dirty="0" smtClean="0">
                  <a:gradFill>
                    <a:gsLst>
                      <a:gs pos="0">
                        <a:srgbClr val="FFFFFF"/>
                      </a:gs>
                      <a:gs pos="100000">
                        <a:srgbClr val="FFFFFF"/>
                      </a:gs>
                    </a:gsLst>
                    <a:lin ang="5400000" scaled="0"/>
                  </a:gradFill>
                  <a:cs typeface="Arial" pitchFamily="34" charset="0"/>
                </a:rPr>
                <a:t>Certification and Attestations</a:t>
              </a:r>
              <a:endParaRPr lang="en-US" b="1" kern="0" dirty="0">
                <a:gradFill>
                  <a:gsLst>
                    <a:gs pos="0">
                      <a:srgbClr val="FFFFFF"/>
                    </a:gs>
                    <a:gs pos="100000">
                      <a:srgbClr val="FFFFFF"/>
                    </a:gs>
                  </a:gsLst>
                  <a:lin ang="5400000" scaled="0"/>
                </a:gradFill>
                <a:cs typeface="Arial" pitchFamily="34" charset="0"/>
              </a:endParaRPr>
            </a:p>
          </p:txBody>
        </p:sp>
        <p:sp>
          <p:nvSpPr>
            <p:cNvPr id="5" name="Rectangle 4"/>
            <p:cNvSpPr/>
            <p:nvPr/>
          </p:nvSpPr>
          <p:spPr>
            <a:xfrm>
              <a:off x="8530046" y="7600723"/>
              <a:ext cx="2880789" cy="457971"/>
            </a:xfrm>
            <a:prstGeom prst="rect">
              <a:avLst/>
            </a:prstGeom>
          </p:spPr>
          <p:txBody>
            <a:bodyPr wrap="none">
              <a:spAutoFit/>
            </a:bodyPr>
            <a:lstStyle/>
            <a:p>
              <a:pPr defTabSz="815230">
                <a:lnSpc>
                  <a:spcPct val="90000"/>
                </a:lnSpc>
              </a:pPr>
              <a:r>
                <a:rPr lang="en-US" kern="0" dirty="0">
                  <a:solidFill>
                    <a:srgbClr val="FFFFFF">
                      <a:alpha val="99000"/>
                    </a:srgbClr>
                  </a:solidFill>
                </a:rPr>
                <a:t>SSAE 16 attestations</a:t>
              </a:r>
            </a:p>
          </p:txBody>
        </p:sp>
      </p:grpSp>
      <p:cxnSp>
        <p:nvCxnSpPr>
          <p:cNvPr id="47" name="Straight Connector 46"/>
          <p:cNvCxnSpPr/>
          <p:nvPr/>
        </p:nvCxnSpPr>
        <p:spPr>
          <a:xfrm>
            <a:off x="750777" y="4286038"/>
            <a:ext cx="7655736" cy="0"/>
          </a:xfrm>
          <a:prstGeom prst="line">
            <a:avLst/>
          </a:prstGeom>
          <a:ln>
            <a:gradFill flip="none" rotWithShape="1">
              <a:gsLst>
                <a:gs pos="0">
                  <a:schemeClr val="tx1">
                    <a:alpha val="0"/>
                  </a:schemeClr>
                </a:gs>
                <a:gs pos="50000">
                  <a:schemeClr val="tx1"/>
                </a:gs>
                <a:gs pos="100000">
                  <a:schemeClr val="tx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49" name="Right Arrow 48"/>
          <p:cNvSpPr/>
          <p:nvPr/>
        </p:nvSpPr>
        <p:spPr bwMode="auto">
          <a:xfrm rot="5400000">
            <a:off x="4461368" y="3477353"/>
            <a:ext cx="224179" cy="754577"/>
          </a:xfrm>
          <a:prstGeom prst="rightArrow">
            <a:avLst>
              <a:gd name="adj1" fmla="val 72298"/>
              <a:gd name="adj2" fmla="val 68212"/>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492" tIns="34247" rIns="68492" bIns="34247" numCol="1" rtlCol="0" anchor="ctr" anchorCtr="0" compatLnSpc="1">
            <a:prstTxWarp prst="textNoShape">
              <a:avLst/>
            </a:prstTxWarp>
          </a:bodyPr>
          <a:lstStyle/>
          <a:p>
            <a:pPr algn="ctr" defTabSz="684717" fontAlgn="base">
              <a:spcBef>
                <a:spcPct val="0"/>
              </a:spcBef>
              <a:spcAft>
                <a:spcPct val="0"/>
              </a:spcAft>
            </a:pPr>
            <a:endParaRPr lang="en-US" sz="1800" dirty="0">
              <a:gradFill>
                <a:gsLst>
                  <a:gs pos="0">
                    <a:srgbClr val="FFFFFF"/>
                  </a:gs>
                  <a:gs pos="100000">
                    <a:srgbClr val="FFFFFF"/>
                  </a:gs>
                </a:gsLst>
                <a:lin ang="5400000" scaled="0"/>
              </a:gradFill>
            </a:endParaRPr>
          </a:p>
        </p:txBody>
      </p:sp>
      <p:sp>
        <p:nvSpPr>
          <p:cNvPr id="33" name="Rectangle 32"/>
          <p:cNvSpPr/>
          <p:nvPr/>
        </p:nvSpPr>
        <p:spPr bwMode="auto">
          <a:xfrm>
            <a:off x="727331" y="2215923"/>
            <a:ext cx="7683908" cy="1565412"/>
          </a:xfrm>
          <a:prstGeom prst="rect">
            <a:avLst/>
          </a:prstGeom>
          <a:solidFill>
            <a:schemeClr val="accent2"/>
          </a:solidFill>
        </p:spPr>
        <p:txBody>
          <a:bodyPr wrap="square" lIns="81525" tIns="40760" rIns="81525" bIns="40760" anchor="ctr">
            <a:noAutofit/>
          </a:bodyPr>
          <a:lstStyle/>
          <a:p>
            <a:pPr algn="ctr" defTabSz="913030">
              <a:lnSpc>
                <a:spcPct val="90000"/>
              </a:lnSpc>
            </a:pPr>
            <a:endParaRPr lang="en-US" sz="1800" dirty="0">
              <a:solidFill>
                <a:srgbClr val="FFFFFF">
                  <a:alpha val="99000"/>
                </a:srgbClr>
              </a:solidFill>
            </a:endParaRPr>
          </a:p>
        </p:txBody>
      </p:sp>
      <p:sp>
        <p:nvSpPr>
          <p:cNvPr id="41" name="Rectangle 40"/>
          <p:cNvSpPr/>
          <p:nvPr/>
        </p:nvSpPr>
        <p:spPr>
          <a:xfrm>
            <a:off x="5023232" y="2308410"/>
            <a:ext cx="3278978" cy="1380443"/>
          </a:xfrm>
          <a:prstGeom prst="rect">
            <a:avLst/>
          </a:prstGeom>
          <a:solidFill>
            <a:schemeClr val="accent2">
              <a:lumMod val="75000"/>
            </a:schemeClr>
          </a:solidFill>
        </p:spPr>
        <p:txBody>
          <a:bodyPr wrap="square" lIns="81525" tIns="40760" rIns="81525" bIns="40760" anchor="t">
            <a:noAutofit/>
          </a:bodyPr>
          <a:lstStyle/>
          <a:p>
            <a:pPr algn="ctr" defTabSz="913030">
              <a:lnSpc>
                <a:spcPct val="90000"/>
              </a:lnSpc>
            </a:pPr>
            <a:r>
              <a:rPr lang="en-US" sz="1800" dirty="0">
                <a:solidFill>
                  <a:srgbClr val="FFFFFF">
                    <a:alpha val="99000"/>
                  </a:srgbClr>
                </a:solidFill>
              </a:rPr>
              <a:t>Predictable Audit Schedule</a:t>
            </a:r>
          </a:p>
        </p:txBody>
      </p:sp>
      <p:sp>
        <p:nvSpPr>
          <p:cNvPr id="39" name="Rectangle 38"/>
          <p:cNvSpPr/>
          <p:nvPr/>
        </p:nvSpPr>
        <p:spPr>
          <a:xfrm>
            <a:off x="855167" y="2308410"/>
            <a:ext cx="3278978" cy="1380443"/>
          </a:xfrm>
          <a:prstGeom prst="rect">
            <a:avLst/>
          </a:prstGeom>
          <a:solidFill>
            <a:schemeClr val="accent2">
              <a:lumMod val="75000"/>
            </a:schemeClr>
          </a:solidFill>
        </p:spPr>
        <p:txBody>
          <a:bodyPr wrap="square" lIns="81525" tIns="40760" rIns="81525" bIns="40760" anchor="t">
            <a:noAutofit/>
          </a:bodyPr>
          <a:lstStyle/>
          <a:p>
            <a:pPr algn="ctr" defTabSz="913030">
              <a:lnSpc>
                <a:spcPct val="90000"/>
              </a:lnSpc>
            </a:pPr>
            <a:r>
              <a:rPr lang="en-US" sz="1800" dirty="0">
                <a:solidFill>
                  <a:srgbClr val="FFFFFF">
                    <a:alpha val="99000"/>
                  </a:srgbClr>
                </a:solidFill>
              </a:rPr>
              <a:t>Controls Framework</a:t>
            </a:r>
          </a:p>
        </p:txBody>
      </p:sp>
      <p:cxnSp>
        <p:nvCxnSpPr>
          <p:cNvPr id="38" name="Straight Connector 37"/>
          <p:cNvCxnSpPr/>
          <p:nvPr/>
        </p:nvCxnSpPr>
        <p:spPr>
          <a:xfrm>
            <a:off x="855167" y="2643594"/>
            <a:ext cx="3278978" cy="0"/>
          </a:xfrm>
          <a:prstGeom prst="line">
            <a:avLst/>
          </a:prstGeom>
          <a:ln>
            <a:gradFill flip="none" rotWithShape="1">
              <a:gsLst>
                <a:gs pos="0">
                  <a:schemeClr val="tx1">
                    <a:alpha val="0"/>
                  </a:schemeClr>
                </a:gs>
                <a:gs pos="50000">
                  <a:schemeClr val="tx1"/>
                </a:gs>
                <a:gs pos="100000">
                  <a:schemeClr val="tx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5023232" y="2643594"/>
            <a:ext cx="3278978" cy="0"/>
          </a:xfrm>
          <a:prstGeom prst="line">
            <a:avLst/>
          </a:prstGeom>
          <a:ln>
            <a:gradFill flip="none" rotWithShape="1">
              <a:gsLst>
                <a:gs pos="0">
                  <a:schemeClr val="tx1">
                    <a:alpha val="0"/>
                  </a:schemeClr>
                </a:gs>
                <a:gs pos="50000">
                  <a:schemeClr val="tx1"/>
                </a:gs>
                <a:gs pos="100000">
                  <a:schemeClr val="tx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48" name="Right Arrow 47"/>
          <p:cNvSpPr/>
          <p:nvPr/>
        </p:nvSpPr>
        <p:spPr bwMode="auto">
          <a:xfrm rot="5400000">
            <a:off x="4461368" y="1787701"/>
            <a:ext cx="224179" cy="754577"/>
          </a:xfrm>
          <a:prstGeom prst="rightArrow">
            <a:avLst>
              <a:gd name="adj1" fmla="val 72298"/>
              <a:gd name="adj2" fmla="val 68212"/>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492" tIns="34247" rIns="68492" bIns="34247" numCol="1" rtlCol="0" anchor="ctr" anchorCtr="0" compatLnSpc="1">
            <a:prstTxWarp prst="textNoShape">
              <a:avLst/>
            </a:prstTxWarp>
          </a:bodyPr>
          <a:lstStyle/>
          <a:p>
            <a:pPr algn="ctr" defTabSz="684717" fontAlgn="base">
              <a:spcBef>
                <a:spcPct val="0"/>
              </a:spcBef>
              <a:spcAft>
                <a:spcPct val="0"/>
              </a:spcAft>
            </a:pPr>
            <a:endParaRPr lang="en-US" sz="1800" dirty="0">
              <a:gradFill>
                <a:gsLst>
                  <a:gs pos="0">
                    <a:srgbClr val="FFFFFF"/>
                  </a:gs>
                  <a:gs pos="100000">
                    <a:srgbClr val="FFFFFF"/>
                  </a:gs>
                </a:gsLst>
                <a:lin ang="5400000" scaled="0"/>
              </a:gradFill>
            </a:endParaRPr>
          </a:p>
        </p:txBody>
      </p:sp>
      <p:grpSp>
        <p:nvGrpSpPr>
          <p:cNvPr id="8" name="Group 7"/>
          <p:cNvGrpSpPr/>
          <p:nvPr/>
        </p:nvGrpSpPr>
        <p:grpSpPr>
          <a:xfrm>
            <a:off x="727331" y="1055528"/>
            <a:ext cx="7683908" cy="1028700"/>
            <a:chOff x="1164268" y="2332003"/>
            <a:chExt cx="12294253" cy="1645920"/>
          </a:xfrm>
        </p:grpSpPr>
        <p:sp>
          <p:nvSpPr>
            <p:cNvPr id="34" name="Rectangle 33"/>
            <p:cNvSpPr/>
            <p:nvPr/>
          </p:nvSpPr>
          <p:spPr bwMode="auto">
            <a:xfrm>
              <a:off x="1164268" y="2332003"/>
              <a:ext cx="12294253" cy="1645920"/>
            </a:xfrm>
            <a:prstGeom prst="rect">
              <a:avLst/>
            </a:prstGeom>
            <a:solidFill>
              <a:schemeClr val="tx2"/>
            </a:solidFill>
          </p:spPr>
          <p:txBody>
            <a:bodyPr wrap="square" lIns="130622" tIns="65311" rIns="130622" bIns="65311" anchor="b">
              <a:noAutofit/>
            </a:bodyPr>
            <a:lstStyle/>
            <a:p>
              <a:pPr defTabSz="815230"/>
              <a:r>
                <a:rPr lang="en-US" kern="0" dirty="0">
                  <a:solidFill>
                    <a:srgbClr val="FFFFFF">
                      <a:alpha val="99000"/>
                    </a:srgbClr>
                  </a:solidFill>
                </a:rPr>
                <a:t>Payment Card Industry Data Security Standard </a:t>
              </a:r>
            </a:p>
            <a:p>
              <a:pPr defTabSz="815230"/>
              <a:r>
                <a:rPr lang="en-US" kern="0" dirty="0">
                  <a:solidFill>
                    <a:srgbClr val="FFFFFF">
                      <a:alpha val="99000"/>
                    </a:srgbClr>
                  </a:solidFill>
                </a:rPr>
                <a:t>Health Insurance Portability and Accountability Act</a:t>
              </a:r>
            </a:p>
          </p:txBody>
        </p:sp>
        <p:sp>
          <p:nvSpPr>
            <p:cNvPr id="3" name="TextBox 2"/>
            <p:cNvSpPr txBox="1"/>
            <p:nvPr/>
          </p:nvSpPr>
          <p:spPr>
            <a:xfrm>
              <a:off x="4731116" y="2443321"/>
              <a:ext cx="5173883" cy="487547"/>
            </a:xfrm>
            <a:prstGeom prst="rect">
              <a:avLst/>
            </a:prstGeom>
            <a:noFill/>
          </p:spPr>
          <p:txBody>
            <a:bodyPr wrap="none" lIns="109746" tIns="54873" rIns="109746" bIns="54873" rtlCol="0">
              <a:spAutoFit/>
            </a:bodyPr>
            <a:lstStyle/>
            <a:p>
              <a:pPr algn="ctr" defTabSz="821693">
                <a:lnSpc>
                  <a:spcPct val="90000"/>
                </a:lnSpc>
                <a:defRPr/>
              </a:pPr>
              <a:r>
                <a:rPr lang="en-US" b="1" kern="0" dirty="0">
                  <a:gradFill>
                    <a:gsLst>
                      <a:gs pos="0">
                        <a:srgbClr val="FFFFFF"/>
                      </a:gs>
                      <a:gs pos="100000">
                        <a:srgbClr val="FFFFFF"/>
                      </a:gs>
                    </a:gsLst>
                    <a:lin ang="5400000" scaled="0"/>
                  </a:gradFill>
                  <a:cs typeface="Arial" pitchFamily="34" charset="0"/>
                </a:rPr>
                <a:t>Industry </a:t>
              </a:r>
              <a:r>
                <a:rPr lang="en-US" b="1" kern="0" dirty="0" smtClean="0">
                  <a:gradFill>
                    <a:gsLst>
                      <a:gs pos="0">
                        <a:srgbClr val="FFFFFF"/>
                      </a:gs>
                      <a:gs pos="100000">
                        <a:srgbClr val="FFFFFF"/>
                      </a:gs>
                    </a:gsLst>
                    <a:lin ang="5400000" scaled="0"/>
                  </a:gradFill>
                  <a:cs typeface="Arial" pitchFamily="34" charset="0"/>
                </a:rPr>
                <a:t>Standards and Regulations</a:t>
              </a:r>
              <a:endParaRPr lang="en-US" b="1" kern="0" dirty="0">
                <a:gradFill>
                  <a:gsLst>
                    <a:gs pos="0">
                      <a:srgbClr val="FFFFFF"/>
                    </a:gs>
                    <a:gs pos="100000">
                      <a:srgbClr val="FFFFFF"/>
                    </a:gs>
                  </a:gsLst>
                  <a:lin ang="5400000" scaled="0"/>
                </a:gradFill>
                <a:cs typeface="Arial" pitchFamily="34" charset="0"/>
              </a:endParaRPr>
            </a:p>
          </p:txBody>
        </p:sp>
        <p:sp>
          <p:nvSpPr>
            <p:cNvPr id="4" name="Rectangle 3"/>
            <p:cNvSpPr/>
            <p:nvPr/>
          </p:nvSpPr>
          <p:spPr>
            <a:xfrm>
              <a:off x="8530045" y="3249165"/>
              <a:ext cx="4928475" cy="701218"/>
            </a:xfrm>
            <a:prstGeom prst="rect">
              <a:avLst/>
            </a:prstGeom>
          </p:spPr>
          <p:txBody>
            <a:bodyPr wrap="square" lIns="0" tIns="0" rIns="0" bIns="0">
              <a:spAutoFit/>
            </a:bodyPr>
            <a:lstStyle/>
            <a:p>
              <a:pPr defTabSz="815230" fontAlgn="base">
                <a:lnSpc>
                  <a:spcPct val="90000"/>
                </a:lnSpc>
                <a:spcBef>
                  <a:spcPts val="300"/>
                </a:spcBef>
                <a:buSzPct val="90000"/>
                <a:defRPr/>
              </a:pPr>
              <a:r>
                <a:rPr lang="en-US" kern="0" dirty="0">
                  <a:solidFill>
                    <a:srgbClr val="FFFFFF">
                      <a:alpha val="99000"/>
                    </a:srgbClr>
                  </a:solidFill>
                </a:rPr>
                <a:t>Media Ratings Council </a:t>
              </a:r>
            </a:p>
            <a:p>
              <a:pPr defTabSz="815230" fontAlgn="base">
                <a:lnSpc>
                  <a:spcPct val="90000"/>
                </a:lnSpc>
                <a:spcBef>
                  <a:spcPts val="300"/>
                </a:spcBef>
                <a:buSzPct val="90000"/>
                <a:defRPr/>
              </a:pPr>
              <a:r>
                <a:rPr lang="en-US" kern="0" dirty="0">
                  <a:solidFill>
                    <a:srgbClr val="FFFFFF">
                      <a:alpha val="99000"/>
                    </a:srgbClr>
                  </a:solidFill>
                </a:rPr>
                <a:t>Sarbanes-Oxley, GLBA, etc.</a:t>
              </a:r>
            </a:p>
          </p:txBody>
        </p:sp>
      </p:grpSp>
      <p:cxnSp>
        <p:nvCxnSpPr>
          <p:cNvPr id="35" name="Straight Connector 34"/>
          <p:cNvCxnSpPr/>
          <p:nvPr/>
        </p:nvCxnSpPr>
        <p:spPr>
          <a:xfrm>
            <a:off x="750777" y="1443446"/>
            <a:ext cx="7655736" cy="0"/>
          </a:xfrm>
          <a:prstGeom prst="line">
            <a:avLst/>
          </a:prstGeom>
          <a:ln>
            <a:gradFill flip="none" rotWithShape="1">
              <a:gsLst>
                <a:gs pos="0">
                  <a:schemeClr val="tx1">
                    <a:alpha val="0"/>
                  </a:schemeClr>
                </a:gs>
                <a:gs pos="50000">
                  <a:schemeClr val="tx1"/>
                </a:gs>
                <a:gs pos="100000">
                  <a:schemeClr val="tx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8" name="Freeform 7"/>
          <p:cNvSpPr>
            <a:spLocks noEditPoints="1"/>
          </p:cNvSpPr>
          <p:nvPr/>
        </p:nvSpPr>
        <p:spPr bwMode="black">
          <a:xfrm>
            <a:off x="4299879" y="2767882"/>
            <a:ext cx="547144" cy="483854"/>
          </a:xfrm>
          <a:custGeom>
            <a:avLst/>
            <a:gdLst>
              <a:gd name="T0" fmla="*/ 87 w 162"/>
              <a:gd name="T1" fmla="*/ 109 h 143"/>
              <a:gd name="T2" fmla="*/ 74 w 162"/>
              <a:gd name="T3" fmla="*/ 109 h 143"/>
              <a:gd name="T4" fmla="*/ 74 w 162"/>
              <a:gd name="T5" fmla="*/ 79 h 143"/>
              <a:gd name="T6" fmla="*/ 45 w 162"/>
              <a:gd name="T7" fmla="*/ 79 h 143"/>
              <a:gd name="T8" fmla="*/ 45 w 162"/>
              <a:gd name="T9" fmla="*/ 66 h 143"/>
              <a:gd name="T10" fmla="*/ 74 w 162"/>
              <a:gd name="T11" fmla="*/ 66 h 143"/>
              <a:gd name="T12" fmla="*/ 74 w 162"/>
              <a:gd name="T13" fmla="*/ 36 h 143"/>
              <a:gd name="T14" fmla="*/ 87 w 162"/>
              <a:gd name="T15" fmla="*/ 36 h 143"/>
              <a:gd name="T16" fmla="*/ 87 w 162"/>
              <a:gd name="T17" fmla="*/ 66 h 143"/>
              <a:gd name="T18" fmla="*/ 117 w 162"/>
              <a:gd name="T19" fmla="*/ 66 h 143"/>
              <a:gd name="T20" fmla="*/ 117 w 162"/>
              <a:gd name="T21" fmla="*/ 79 h 143"/>
              <a:gd name="T22" fmla="*/ 87 w 162"/>
              <a:gd name="T23" fmla="*/ 79 h 143"/>
              <a:gd name="T24" fmla="*/ 87 w 162"/>
              <a:gd name="T25" fmla="*/ 109 h 143"/>
              <a:gd name="T26" fmla="*/ 124 w 162"/>
              <a:gd name="T27" fmla="*/ 129 h 143"/>
              <a:gd name="T28" fmla="*/ 81 w 162"/>
              <a:gd name="T29" fmla="*/ 143 h 143"/>
              <a:gd name="T30" fmla="*/ 24 w 162"/>
              <a:gd name="T31" fmla="*/ 115 h 143"/>
              <a:gd name="T32" fmla="*/ 37 w 162"/>
              <a:gd name="T33" fmla="*/ 14 h 143"/>
              <a:gd name="T34" fmla="*/ 81 w 162"/>
              <a:gd name="T35" fmla="*/ 0 h 143"/>
              <a:gd name="T36" fmla="*/ 138 w 162"/>
              <a:gd name="T37" fmla="*/ 28 h 143"/>
              <a:gd name="T38" fmla="*/ 124 w 162"/>
              <a:gd name="T39" fmla="*/ 129 h 143"/>
              <a:gd name="T40" fmla="*/ 130 w 162"/>
              <a:gd name="T41" fmla="*/ 34 h 143"/>
              <a:gd name="T42" fmla="*/ 81 w 162"/>
              <a:gd name="T43" fmla="*/ 9 h 143"/>
              <a:gd name="T44" fmla="*/ 43 w 162"/>
              <a:gd name="T45" fmla="*/ 22 h 143"/>
              <a:gd name="T46" fmla="*/ 31 w 162"/>
              <a:gd name="T47" fmla="*/ 109 h 143"/>
              <a:gd name="T48" fmla="*/ 81 w 162"/>
              <a:gd name="T49" fmla="*/ 134 h 143"/>
              <a:gd name="T50" fmla="*/ 119 w 162"/>
              <a:gd name="T51" fmla="*/ 121 h 143"/>
              <a:gd name="T52" fmla="*/ 130 w 162"/>
              <a:gd name="T53"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2" h="143">
                <a:moveTo>
                  <a:pt x="87" y="109"/>
                </a:moveTo>
                <a:cubicBezTo>
                  <a:pt x="74" y="109"/>
                  <a:pt x="74" y="109"/>
                  <a:pt x="74" y="109"/>
                </a:cubicBezTo>
                <a:cubicBezTo>
                  <a:pt x="74" y="79"/>
                  <a:pt x="74" y="79"/>
                  <a:pt x="74" y="79"/>
                </a:cubicBezTo>
                <a:cubicBezTo>
                  <a:pt x="45" y="79"/>
                  <a:pt x="45" y="79"/>
                  <a:pt x="45" y="79"/>
                </a:cubicBezTo>
                <a:cubicBezTo>
                  <a:pt x="45" y="66"/>
                  <a:pt x="45" y="66"/>
                  <a:pt x="45" y="66"/>
                </a:cubicBezTo>
                <a:cubicBezTo>
                  <a:pt x="74" y="66"/>
                  <a:pt x="74" y="66"/>
                  <a:pt x="74" y="66"/>
                </a:cubicBezTo>
                <a:cubicBezTo>
                  <a:pt x="74" y="36"/>
                  <a:pt x="74" y="36"/>
                  <a:pt x="74" y="36"/>
                </a:cubicBezTo>
                <a:cubicBezTo>
                  <a:pt x="87" y="36"/>
                  <a:pt x="87" y="36"/>
                  <a:pt x="87" y="36"/>
                </a:cubicBezTo>
                <a:cubicBezTo>
                  <a:pt x="87" y="66"/>
                  <a:pt x="87" y="66"/>
                  <a:pt x="87" y="66"/>
                </a:cubicBezTo>
                <a:cubicBezTo>
                  <a:pt x="117" y="66"/>
                  <a:pt x="117" y="66"/>
                  <a:pt x="117" y="66"/>
                </a:cubicBezTo>
                <a:cubicBezTo>
                  <a:pt x="117" y="79"/>
                  <a:pt x="117" y="79"/>
                  <a:pt x="117" y="79"/>
                </a:cubicBezTo>
                <a:cubicBezTo>
                  <a:pt x="87" y="79"/>
                  <a:pt x="87" y="79"/>
                  <a:pt x="87" y="79"/>
                </a:cubicBezTo>
                <a:lnTo>
                  <a:pt x="87" y="109"/>
                </a:lnTo>
                <a:close/>
                <a:moveTo>
                  <a:pt x="124" y="129"/>
                </a:moveTo>
                <a:cubicBezTo>
                  <a:pt x="111" y="139"/>
                  <a:pt x="96" y="143"/>
                  <a:pt x="81" y="143"/>
                </a:cubicBezTo>
                <a:cubicBezTo>
                  <a:pt x="59" y="143"/>
                  <a:pt x="38" y="134"/>
                  <a:pt x="24" y="115"/>
                </a:cubicBezTo>
                <a:cubicBezTo>
                  <a:pt x="0" y="84"/>
                  <a:pt x="6" y="38"/>
                  <a:pt x="37" y="14"/>
                </a:cubicBezTo>
                <a:cubicBezTo>
                  <a:pt x="50" y="4"/>
                  <a:pt x="66" y="0"/>
                  <a:pt x="81" y="0"/>
                </a:cubicBezTo>
                <a:cubicBezTo>
                  <a:pt x="102" y="0"/>
                  <a:pt x="124" y="9"/>
                  <a:pt x="138" y="28"/>
                </a:cubicBezTo>
                <a:cubicBezTo>
                  <a:pt x="162" y="60"/>
                  <a:pt x="156" y="105"/>
                  <a:pt x="124" y="129"/>
                </a:cubicBezTo>
                <a:close/>
                <a:moveTo>
                  <a:pt x="130" y="34"/>
                </a:moveTo>
                <a:cubicBezTo>
                  <a:pt x="119" y="18"/>
                  <a:pt x="100" y="9"/>
                  <a:pt x="81" y="9"/>
                </a:cubicBezTo>
                <a:cubicBezTo>
                  <a:pt x="67" y="9"/>
                  <a:pt x="54" y="14"/>
                  <a:pt x="43" y="22"/>
                </a:cubicBezTo>
                <a:cubicBezTo>
                  <a:pt x="16" y="43"/>
                  <a:pt x="10" y="82"/>
                  <a:pt x="31" y="109"/>
                </a:cubicBezTo>
                <a:cubicBezTo>
                  <a:pt x="43" y="125"/>
                  <a:pt x="61" y="134"/>
                  <a:pt x="81" y="134"/>
                </a:cubicBezTo>
                <a:cubicBezTo>
                  <a:pt x="95" y="134"/>
                  <a:pt x="108" y="130"/>
                  <a:pt x="119" y="121"/>
                </a:cubicBezTo>
                <a:cubicBezTo>
                  <a:pt x="146" y="100"/>
                  <a:pt x="151" y="61"/>
                  <a:pt x="130"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065" tIns="28531" rIns="57065" bIns="28531" numCol="1" anchor="t" anchorCtr="0" compatLnSpc="1">
            <a:prstTxWarp prst="textNoShape">
              <a:avLst/>
            </a:prstTxWarp>
          </a:bodyPr>
          <a:lstStyle/>
          <a:p>
            <a:endParaRPr lang="en-US" dirty="0">
              <a:solidFill>
                <a:srgbClr val="FFFFFF"/>
              </a:solidFill>
            </a:endParaRPr>
          </a:p>
        </p:txBody>
      </p:sp>
      <p:sp>
        <p:nvSpPr>
          <p:cNvPr id="6" name="Rectangle 5"/>
          <p:cNvSpPr/>
          <p:nvPr/>
        </p:nvSpPr>
        <p:spPr>
          <a:xfrm>
            <a:off x="5023232" y="2700122"/>
            <a:ext cx="3278978" cy="988733"/>
          </a:xfrm>
          <a:prstGeom prst="rect">
            <a:avLst/>
          </a:prstGeom>
        </p:spPr>
        <p:txBody>
          <a:bodyPr wrap="square" lIns="57065" tIns="28531" rIns="57065" bIns="28531">
            <a:spAutoFit/>
          </a:bodyPr>
          <a:lstStyle/>
          <a:p>
            <a:pPr defTabSz="913030">
              <a:lnSpc>
                <a:spcPct val="90000"/>
              </a:lnSpc>
            </a:pPr>
            <a:r>
              <a:rPr lang="en-US" sz="1500" dirty="0">
                <a:solidFill>
                  <a:srgbClr val="FFFFFF">
                    <a:alpha val="99000"/>
                  </a:srgbClr>
                </a:solidFill>
              </a:rPr>
              <a:t>Test effectiveness and assess risk</a:t>
            </a:r>
          </a:p>
          <a:p>
            <a:pPr defTabSz="913030">
              <a:lnSpc>
                <a:spcPct val="90000"/>
              </a:lnSpc>
            </a:pPr>
            <a:r>
              <a:rPr lang="en-US" sz="1500" dirty="0">
                <a:solidFill>
                  <a:srgbClr val="FFFFFF">
                    <a:alpha val="99000"/>
                  </a:srgbClr>
                </a:solidFill>
              </a:rPr>
              <a:t>Attain certifications and attestations</a:t>
            </a:r>
          </a:p>
          <a:p>
            <a:pPr defTabSz="913030">
              <a:lnSpc>
                <a:spcPct val="90000"/>
              </a:lnSpc>
            </a:pPr>
            <a:r>
              <a:rPr lang="en-US" sz="1500" dirty="0">
                <a:solidFill>
                  <a:srgbClr val="FFFFFF">
                    <a:alpha val="99000"/>
                  </a:srgbClr>
                </a:solidFill>
              </a:rPr>
              <a:t>Improve and optimize</a:t>
            </a:r>
          </a:p>
          <a:p>
            <a:pPr lvl="1"/>
            <a:r>
              <a:rPr lang="en-US" sz="1000" dirty="0">
                <a:solidFill>
                  <a:srgbClr val="FFFFFF">
                    <a:alpha val="99000"/>
                  </a:srgbClr>
                </a:solidFill>
              </a:rPr>
              <a:t>Examine root cause of non-compliance</a:t>
            </a:r>
          </a:p>
          <a:p>
            <a:pPr lvl="1"/>
            <a:r>
              <a:rPr lang="en-US" sz="1000" dirty="0">
                <a:solidFill>
                  <a:srgbClr val="FFFFFF">
                    <a:alpha val="99000"/>
                  </a:srgbClr>
                </a:solidFill>
              </a:rPr>
              <a:t>Track until fully remediated</a:t>
            </a:r>
          </a:p>
        </p:txBody>
      </p:sp>
      <p:sp>
        <p:nvSpPr>
          <p:cNvPr id="7" name="Rectangle 6"/>
          <p:cNvSpPr/>
          <p:nvPr/>
        </p:nvSpPr>
        <p:spPr>
          <a:xfrm>
            <a:off x="855167" y="2700123"/>
            <a:ext cx="3278978" cy="934871"/>
          </a:xfrm>
          <a:prstGeom prst="rect">
            <a:avLst/>
          </a:prstGeom>
        </p:spPr>
        <p:txBody>
          <a:bodyPr wrap="square" lIns="57065" tIns="28531" rIns="57065" bIns="28531">
            <a:spAutoFit/>
          </a:bodyPr>
          <a:lstStyle/>
          <a:p>
            <a:pPr defTabSz="913030">
              <a:lnSpc>
                <a:spcPct val="90000"/>
              </a:lnSpc>
            </a:pPr>
            <a:r>
              <a:rPr lang="en-US" sz="1500" dirty="0">
                <a:solidFill>
                  <a:srgbClr val="FFFFFF">
                    <a:alpha val="99000"/>
                  </a:srgbClr>
                </a:solidFill>
              </a:rPr>
              <a:t>Identify and integrate</a:t>
            </a:r>
          </a:p>
          <a:p>
            <a:pPr lvl="1"/>
            <a:r>
              <a:rPr lang="en-US" sz="1000" dirty="0">
                <a:solidFill>
                  <a:srgbClr val="FFFFFF">
                    <a:alpha val="99000"/>
                  </a:srgbClr>
                </a:solidFill>
              </a:rPr>
              <a:t>Regulatory requirements</a:t>
            </a:r>
          </a:p>
          <a:p>
            <a:pPr lvl="1"/>
            <a:r>
              <a:rPr lang="en-US" sz="1000" dirty="0">
                <a:solidFill>
                  <a:srgbClr val="FFFFFF">
                    <a:alpha val="99000"/>
                  </a:srgbClr>
                </a:solidFill>
              </a:rPr>
              <a:t>Customer requirements</a:t>
            </a:r>
          </a:p>
          <a:p>
            <a:pPr defTabSz="913030">
              <a:lnSpc>
                <a:spcPct val="90000"/>
              </a:lnSpc>
            </a:pPr>
            <a:r>
              <a:rPr lang="en-US" sz="1500" dirty="0">
                <a:solidFill>
                  <a:srgbClr val="FFFFFF">
                    <a:alpha val="99000"/>
                  </a:srgbClr>
                </a:solidFill>
              </a:rPr>
              <a:t>Assess and remediate </a:t>
            </a:r>
          </a:p>
          <a:p>
            <a:pPr lvl="1"/>
            <a:r>
              <a:rPr lang="en-US" sz="1000" dirty="0">
                <a:solidFill>
                  <a:srgbClr val="FFFFFF">
                    <a:alpha val="99000"/>
                  </a:srgbClr>
                </a:solidFill>
              </a:rPr>
              <a:t>Eliminate or mitigate gaps in control design</a:t>
            </a:r>
          </a:p>
        </p:txBody>
      </p:sp>
      <p:sp>
        <p:nvSpPr>
          <p:cNvPr id="23"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4"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pic>
        <p:nvPicPr>
          <p:cNvPr id="25"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712176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37"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barn(outVertical)">
                                      <p:cBhvr>
                                        <p:cTn id="7" dur="500"/>
                                        <p:tgtEl>
                                          <p:spTgt spid="3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000"/>
                            </p:stCondLst>
                            <p:childTnLst>
                              <p:par>
                                <p:cTn id="13" presetID="47" presetClass="entr" presetSubtype="0" fill="hold" grpId="0" nodeType="afterEffect">
                                  <p:stCondLst>
                                    <p:cond delay="0"/>
                                  </p:stCondLst>
                                  <p:childTnLst>
                                    <p:set>
                                      <p:cBhvr>
                                        <p:cTn id="14" dur="1" fill="hold">
                                          <p:stCondLst>
                                            <p:cond delay="0"/>
                                          </p:stCondLst>
                                        </p:cTn>
                                        <p:tgtEl>
                                          <p:spTgt spid="48"/>
                                        </p:tgtEl>
                                        <p:attrNameLst>
                                          <p:attrName>style.visibility</p:attrName>
                                        </p:attrNameLst>
                                      </p:cBhvr>
                                      <p:to>
                                        <p:strVal val="visible"/>
                                      </p:to>
                                    </p:set>
                                    <p:animEffect transition="in" filter="fade">
                                      <p:cBhvr>
                                        <p:cTn id="15" dur="500"/>
                                        <p:tgtEl>
                                          <p:spTgt spid="48"/>
                                        </p:tgtEl>
                                      </p:cBhvr>
                                    </p:animEffect>
                                    <p:anim calcmode="lin" valueType="num">
                                      <p:cBhvr>
                                        <p:cTn id="16" dur="500" fill="hold"/>
                                        <p:tgtEl>
                                          <p:spTgt spid="48"/>
                                        </p:tgtEl>
                                        <p:attrNameLst>
                                          <p:attrName>ppt_x</p:attrName>
                                        </p:attrNameLst>
                                      </p:cBhvr>
                                      <p:tavLst>
                                        <p:tav tm="0">
                                          <p:val>
                                            <p:strVal val="#ppt_x"/>
                                          </p:val>
                                        </p:tav>
                                        <p:tav tm="100000">
                                          <p:val>
                                            <p:strVal val="#ppt_x"/>
                                          </p:val>
                                        </p:tav>
                                      </p:tavLst>
                                    </p:anim>
                                    <p:anim calcmode="lin" valueType="num">
                                      <p:cBhvr>
                                        <p:cTn id="17" dur="500" fill="hold"/>
                                        <p:tgtEl>
                                          <p:spTgt spid="48"/>
                                        </p:tgtEl>
                                        <p:attrNameLst>
                                          <p:attrName>ppt_y</p:attrName>
                                        </p:attrNameLst>
                                      </p:cBhvr>
                                      <p:tavLst>
                                        <p:tav tm="0">
                                          <p:val>
                                            <p:strVal val="#ppt_y-.1"/>
                                          </p:val>
                                        </p:tav>
                                        <p:tav tm="100000">
                                          <p:val>
                                            <p:strVal val="#ppt_y"/>
                                          </p:val>
                                        </p:tav>
                                      </p:tavLst>
                                    </p:anim>
                                  </p:childTnLst>
                                </p:cTn>
                              </p:par>
                              <p:par>
                                <p:cTn id="18" presetID="21" presetClass="entr" presetSubtype="1" fill="hold" grpId="0" nodeType="withEffect">
                                  <p:stCondLst>
                                    <p:cond delay="0"/>
                                  </p:stCondLst>
                                  <p:childTnLst>
                                    <p:set>
                                      <p:cBhvr>
                                        <p:cTn id="19" dur="1" fill="hold">
                                          <p:stCondLst>
                                            <p:cond delay="0"/>
                                          </p:stCondLst>
                                        </p:cTn>
                                        <p:tgtEl>
                                          <p:spTgt spid="18"/>
                                        </p:tgtEl>
                                        <p:attrNameLst>
                                          <p:attrName>style.visibility</p:attrName>
                                        </p:attrNameLst>
                                      </p:cBhvr>
                                      <p:to>
                                        <p:strVal val="visible"/>
                                      </p:to>
                                    </p:set>
                                    <p:animEffect transition="in" filter="wheel(1)">
                                      <p:cBhvr>
                                        <p:cTn id="20" dur="500"/>
                                        <p:tgtEl>
                                          <p:spTgt spid="18"/>
                                        </p:tgtEl>
                                      </p:cBhvr>
                                    </p:animEffect>
                                  </p:childTnLst>
                                </p:cTn>
                              </p:par>
                            </p:childTnLst>
                          </p:cTn>
                        </p:par>
                        <p:par>
                          <p:cTn id="21" fill="hold">
                            <p:stCondLst>
                              <p:cond delay="1500"/>
                            </p:stCondLst>
                            <p:childTnLst>
                              <p:par>
                                <p:cTn id="22" presetID="16" presetClass="entr" presetSubtype="37" fill="hold" nodeType="afterEffect">
                                  <p:stCondLst>
                                    <p:cond delay="0"/>
                                  </p:stCondLst>
                                  <p:childTnLst>
                                    <p:set>
                                      <p:cBhvr>
                                        <p:cTn id="23" dur="1" fill="hold">
                                          <p:stCondLst>
                                            <p:cond delay="0"/>
                                          </p:stCondLst>
                                        </p:cTn>
                                        <p:tgtEl>
                                          <p:spTgt spid="38"/>
                                        </p:tgtEl>
                                        <p:attrNameLst>
                                          <p:attrName>style.visibility</p:attrName>
                                        </p:attrNameLst>
                                      </p:cBhvr>
                                      <p:to>
                                        <p:strVal val="visible"/>
                                      </p:to>
                                    </p:set>
                                    <p:animEffect transition="in" filter="barn(outVertical)">
                                      <p:cBhvr>
                                        <p:cTn id="24" dur="500"/>
                                        <p:tgtEl>
                                          <p:spTgt spid="38"/>
                                        </p:tgtEl>
                                      </p:cBhvr>
                                    </p:animEffect>
                                  </p:childTnLst>
                                </p:cTn>
                              </p:par>
                              <p:par>
                                <p:cTn id="25" presetID="16" presetClass="entr" presetSubtype="37" fill="hold" nodeType="withEffect">
                                  <p:stCondLst>
                                    <p:cond delay="0"/>
                                  </p:stCondLst>
                                  <p:childTnLst>
                                    <p:set>
                                      <p:cBhvr>
                                        <p:cTn id="26" dur="1" fill="hold">
                                          <p:stCondLst>
                                            <p:cond delay="0"/>
                                          </p:stCondLst>
                                        </p:cTn>
                                        <p:tgtEl>
                                          <p:spTgt spid="42"/>
                                        </p:tgtEl>
                                        <p:attrNameLst>
                                          <p:attrName>style.visibility</p:attrName>
                                        </p:attrNameLst>
                                      </p:cBhvr>
                                      <p:to>
                                        <p:strVal val="visible"/>
                                      </p:to>
                                    </p:set>
                                    <p:animEffect transition="in" filter="barn(outVertical)">
                                      <p:cBhvr>
                                        <p:cTn id="27" dur="500"/>
                                        <p:tgtEl>
                                          <p:spTgt spid="42"/>
                                        </p:tgtEl>
                                      </p:cBhvr>
                                    </p:animEffect>
                                  </p:childTnLst>
                                </p:cTn>
                              </p:par>
                            </p:childTnLst>
                          </p:cTn>
                        </p:par>
                        <p:par>
                          <p:cTn id="28" fill="hold">
                            <p:stCondLst>
                              <p:cond delay="2000"/>
                            </p:stCondLst>
                            <p:childTnLst>
                              <p:par>
                                <p:cTn id="29" presetID="10" presetClass="entr" presetSubtype="0" fill="hold" grpId="0" nodeType="afterEffect">
                                  <p:stCondLst>
                                    <p:cond delay="0"/>
                                  </p:stCondLst>
                                  <p:childTnLst>
                                    <p:set>
                                      <p:cBhvr>
                                        <p:cTn id="30" dur="1" fill="hold">
                                          <p:stCondLst>
                                            <p:cond delay="0"/>
                                          </p:stCondLst>
                                        </p:cTn>
                                        <p:tgtEl>
                                          <p:spTgt spid="33"/>
                                        </p:tgtEl>
                                        <p:attrNameLst>
                                          <p:attrName>style.visibility</p:attrName>
                                        </p:attrNameLst>
                                      </p:cBhvr>
                                      <p:to>
                                        <p:strVal val="visible"/>
                                      </p:to>
                                    </p:set>
                                    <p:animEffect transition="in" filter="fade">
                                      <p:cBhvr>
                                        <p:cTn id="31" dur="500"/>
                                        <p:tgtEl>
                                          <p:spTgt spid="33"/>
                                        </p:tgtEl>
                                      </p:cBhvr>
                                    </p:animEffect>
                                  </p:childTnLst>
                                </p:cTn>
                              </p:par>
                            </p:childTnLst>
                          </p:cTn>
                        </p:par>
                        <p:par>
                          <p:cTn id="32" fill="hold">
                            <p:stCondLst>
                              <p:cond delay="2500"/>
                            </p:stCondLst>
                            <p:childTnLst>
                              <p:par>
                                <p:cTn id="33" presetID="10" presetClass="entr" presetSubtype="0" fill="hold" grpId="0" nodeType="afterEffect">
                                  <p:stCondLst>
                                    <p:cond delay="0"/>
                                  </p:stCondLst>
                                  <p:childTnLst>
                                    <p:set>
                                      <p:cBhvr>
                                        <p:cTn id="34" dur="1" fill="hold">
                                          <p:stCondLst>
                                            <p:cond delay="0"/>
                                          </p:stCondLst>
                                        </p:cTn>
                                        <p:tgtEl>
                                          <p:spTgt spid="39"/>
                                        </p:tgtEl>
                                        <p:attrNameLst>
                                          <p:attrName>style.visibility</p:attrName>
                                        </p:attrNameLst>
                                      </p:cBhvr>
                                      <p:to>
                                        <p:strVal val="visible"/>
                                      </p:to>
                                    </p:set>
                                    <p:animEffect transition="in" filter="fade">
                                      <p:cBhvr>
                                        <p:cTn id="35" dur="500"/>
                                        <p:tgtEl>
                                          <p:spTgt spid="39"/>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41"/>
                                        </p:tgtEl>
                                        <p:attrNameLst>
                                          <p:attrName>style.visibility</p:attrName>
                                        </p:attrNameLst>
                                      </p:cBhvr>
                                      <p:to>
                                        <p:strVal val="visible"/>
                                      </p:to>
                                    </p:set>
                                    <p:animEffect transition="in" filter="fade">
                                      <p:cBhvr>
                                        <p:cTn id="38" dur="500"/>
                                        <p:tgtEl>
                                          <p:spTgt spid="41"/>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7"/>
                                        </p:tgtEl>
                                        <p:attrNameLst>
                                          <p:attrName>style.visibility</p:attrName>
                                        </p:attrNameLst>
                                      </p:cBhvr>
                                      <p:to>
                                        <p:strVal val="visible"/>
                                      </p:to>
                                    </p:set>
                                    <p:animEffect transition="in" filter="fade">
                                      <p:cBhvr>
                                        <p:cTn id="41" dur="500"/>
                                        <p:tgtEl>
                                          <p:spTgt spid="7"/>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6"/>
                                        </p:tgtEl>
                                        <p:attrNameLst>
                                          <p:attrName>style.visibility</p:attrName>
                                        </p:attrNameLst>
                                      </p:cBhvr>
                                      <p:to>
                                        <p:strVal val="visible"/>
                                      </p:to>
                                    </p:set>
                                    <p:animEffect transition="in" filter="fade">
                                      <p:cBhvr>
                                        <p:cTn id="44" dur="500"/>
                                        <p:tgtEl>
                                          <p:spTgt spid="6"/>
                                        </p:tgtEl>
                                      </p:cBhvr>
                                    </p:animEffect>
                                  </p:childTnLst>
                                </p:cTn>
                              </p:par>
                            </p:childTnLst>
                          </p:cTn>
                        </p:par>
                        <p:par>
                          <p:cTn id="45" fill="hold">
                            <p:stCondLst>
                              <p:cond delay="3000"/>
                            </p:stCondLst>
                            <p:childTnLst>
                              <p:par>
                                <p:cTn id="46" presetID="47" presetClass="entr" presetSubtype="0" fill="hold" grpId="0" nodeType="afterEffect">
                                  <p:stCondLst>
                                    <p:cond delay="0"/>
                                  </p:stCondLst>
                                  <p:childTnLst>
                                    <p:set>
                                      <p:cBhvr>
                                        <p:cTn id="47" dur="1" fill="hold">
                                          <p:stCondLst>
                                            <p:cond delay="0"/>
                                          </p:stCondLst>
                                        </p:cTn>
                                        <p:tgtEl>
                                          <p:spTgt spid="49"/>
                                        </p:tgtEl>
                                        <p:attrNameLst>
                                          <p:attrName>style.visibility</p:attrName>
                                        </p:attrNameLst>
                                      </p:cBhvr>
                                      <p:to>
                                        <p:strVal val="visible"/>
                                      </p:to>
                                    </p:set>
                                    <p:animEffect transition="in" filter="fade">
                                      <p:cBhvr>
                                        <p:cTn id="48" dur="500"/>
                                        <p:tgtEl>
                                          <p:spTgt spid="49"/>
                                        </p:tgtEl>
                                      </p:cBhvr>
                                    </p:animEffect>
                                    <p:anim calcmode="lin" valueType="num">
                                      <p:cBhvr>
                                        <p:cTn id="49" dur="500" fill="hold"/>
                                        <p:tgtEl>
                                          <p:spTgt spid="49"/>
                                        </p:tgtEl>
                                        <p:attrNameLst>
                                          <p:attrName>ppt_x</p:attrName>
                                        </p:attrNameLst>
                                      </p:cBhvr>
                                      <p:tavLst>
                                        <p:tav tm="0">
                                          <p:val>
                                            <p:strVal val="#ppt_x"/>
                                          </p:val>
                                        </p:tav>
                                        <p:tav tm="100000">
                                          <p:val>
                                            <p:strVal val="#ppt_x"/>
                                          </p:val>
                                        </p:tav>
                                      </p:tavLst>
                                    </p:anim>
                                    <p:anim calcmode="lin" valueType="num">
                                      <p:cBhvr>
                                        <p:cTn id="50" dur="500" fill="hold"/>
                                        <p:tgtEl>
                                          <p:spTgt spid="49"/>
                                        </p:tgtEl>
                                        <p:attrNameLst>
                                          <p:attrName>ppt_y</p:attrName>
                                        </p:attrNameLst>
                                      </p:cBhvr>
                                      <p:tavLst>
                                        <p:tav tm="0">
                                          <p:val>
                                            <p:strVal val="#ppt_y-.1"/>
                                          </p:val>
                                        </p:tav>
                                        <p:tav tm="100000">
                                          <p:val>
                                            <p:strVal val="#ppt_y"/>
                                          </p:val>
                                        </p:tav>
                                      </p:tavLst>
                                    </p:anim>
                                  </p:childTnLst>
                                </p:cTn>
                              </p:par>
                            </p:childTnLst>
                          </p:cTn>
                        </p:par>
                        <p:par>
                          <p:cTn id="51" fill="hold">
                            <p:stCondLst>
                              <p:cond delay="3500"/>
                            </p:stCondLst>
                            <p:childTnLst>
                              <p:par>
                                <p:cTn id="52" presetID="16" presetClass="entr" presetSubtype="37" fill="hold" nodeType="afterEffect">
                                  <p:stCondLst>
                                    <p:cond delay="0"/>
                                  </p:stCondLst>
                                  <p:childTnLst>
                                    <p:set>
                                      <p:cBhvr>
                                        <p:cTn id="53" dur="1" fill="hold">
                                          <p:stCondLst>
                                            <p:cond delay="0"/>
                                          </p:stCondLst>
                                        </p:cTn>
                                        <p:tgtEl>
                                          <p:spTgt spid="47"/>
                                        </p:tgtEl>
                                        <p:attrNameLst>
                                          <p:attrName>style.visibility</p:attrName>
                                        </p:attrNameLst>
                                      </p:cBhvr>
                                      <p:to>
                                        <p:strVal val="visible"/>
                                      </p:to>
                                    </p:set>
                                    <p:animEffect transition="in" filter="barn(outVertical)">
                                      <p:cBhvr>
                                        <p:cTn id="54" dur="500"/>
                                        <p:tgtEl>
                                          <p:spTgt spid="47"/>
                                        </p:tgtEl>
                                      </p:cBhvr>
                                    </p:animEffect>
                                  </p:childTnLst>
                                </p:cTn>
                              </p:par>
                            </p:childTnLst>
                          </p:cTn>
                        </p:par>
                        <p:par>
                          <p:cTn id="55" fill="hold">
                            <p:stCondLst>
                              <p:cond delay="4000"/>
                            </p:stCondLst>
                            <p:childTnLst>
                              <p:par>
                                <p:cTn id="56" presetID="10" presetClass="entr" presetSubtype="0" fill="hold" nodeType="afterEffect">
                                  <p:stCondLst>
                                    <p:cond delay="0"/>
                                  </p:stCondLst>
                                  <p:childTnLst>
                                    <p:set>
                                      <p:cBhvr>
                                        <p:cTn id="57" dur="1" fill="hold">
                                          <p:stCondLst>
                                            <p:cond delay="0"/>
                                          </p:stCondLst>
                                        </p:cTn>
                                        <p:tgtEl>
                                          <p:spTgt spid="9"/>
                                        </p:tgtEl>
                                        <p:attrNameLst>
                                          <p:attrName>style.visibility</p:attrName>
                                        </p:attrNameLst>
                                      </p:cBhvr>
                                      <p:to>
                                        <p:strVal val="visible"/>
                                      </p:to>
                                    </p:set>
                                    <p:animEffect transition="in" filter="fade">
                                      <p:cBhvr>
                                        <p:cTn id="5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33" grpId="0" animBg="1"/>
      <p:bldP spid="41" grpId="0" animBg="1"/>
      <p:bldP spid="39" grpId="0" animBg="1"/>
      <p:bldP spid="48" grpId="0" animBg="1"/>
      <p:bldP spid="18" grpId="0" animBg="1"/>
      <p:bldP spid="6" grpId="0"/>
      <p:bldP spid="7" grpId="0"/>
    </p:bldLst>
  </p:timing>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37"/>
          <p:cNvSpPr>
            <a:spLocks noChangeArrowheads="1"/>
          </p:cNvSpPr>
          <p:nvPr/>
        </p:nvSpPr>
        <p:spPr bwMode="auto">
          <a:xfrm>
            <a:off x="385836" y="839098"/>
            <a:ext cx="961679" cy="966978"/>
          </a:xfrm>
          <a:prstGeom prst="rect">
            <a:avLst/>
          </a:prstGeom>
          <a:solidFill>
            <a:schemeClr val="accent5"/>
          </a:solidFill>
          <a:ln w="9525">
            <a:noFill/>
            <a:miter lim="800000"/>
            <a:headEnd/>
            <a:tailEnd/>
          </a:ln>
        </p:spPr>
        <p:txBody>
          <a:bodyPr wrap="none" lIns="57116" tIns="28556" rIns="57116" bIns="28556" anchor="ctr"/>
          <a:lstStyle/>
          <a:p>
            <a:endParaRPr lang="en-US" dirty="0"/>
          </a:p>
        </p:txBody>
      </p:sp>
      <p:sp>
        <p:nvSpPr>
          <p:cNvPr id="69" name="Rectangle 37"/>
          <p:cNvSpPr>
            <a:spLocks noChangeArrowheads="1"/>
          </p:cNvSpPr>
          <p:nvPr/>
        </p:nvSpPr>
        <p:spPr bwMode="auto">
          <a:xfrm>
            <a:off x="1416177" y="841839"/>
            <a:ext cx="7342128" cy="960583"/>
          </a:xfrm>
          <a:prstGeom prst="rect">
            <a:avLst/>
          </a:prstGeom>
          <a:solidFill>
            <a:schemeClr val="bg1"/>
          </a:solidFill>
        </p:spPr>
        <p:txBody>
          <a:bodyPr wrap="square" lIns="137178" tIns="0" rIns="137178" bIns="68589" anchor="b">
            <a:noAutofit/>
          </a:bodyPr>
          <a:lstStyle/>
          <a:p>
            <a:pPr>
              <a:lnSpc>
                <a:spcPct val="90000"/>
              </a:lnSpc>
            </a:pPr>
            <a:endParaRPr lang="en-US" spc="-38" dirty="0">
              <a:gradFill>
                <a:gsLst>
                  <a:gs pos="2917">
                    <a:schemeClr val="tx1"/>
                  </a:gs>
                  <a:gs pos="30000">
                    <a:schemeClr val="tx1"/>
                  </a:gs>
                </a:gsLst>
                <a:lin ang="5400000" scaled="0"/>
              </a:gradFill>
            </a:endParaRPr>
          </a:p>
        </p:txBody>
      </p:sp>
      <p:sp>
        <p:nvSpPr>
          <p:cNvPr id="70" name="Rectangle 69"/>
          <p:cNvSpPr/>
          <p:nvPr/>
        </p:nvSpPr>
        <p:spPr bwMode="auto">
          <a:xfrm>
            <a:off x="379754" y="1885804"/>
            <a:ext cx="8375080" cy="268250"/>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6" tIns="34293" rIns="68586" bIns="34293" numCol="1" rtlCol="0" anchor="ctr" anchorCtr="0" compatLnSpc="1">
            <a:prstTxWarp prst="textNoShape">
              <a:avLst/>
            </a:prstTxWarp>
          </a:bodyPr>
          <a:lstStyle/>
          <a:p>
            <a:pPr defTabSz="681986" fontAlgn="base">
              <a:spcBef>
                <a:spcPct val="0"/>
              </a:spcBef>
              <a:spcAft>
                <a:spcPct val="0"/>
              </a:spcAft>
            </a:pPr>
            <a:r>
              <a:rPr lang="en-US" b="1" spc="-38" dirty="0">
                <a:solidFill>
                  <a:schemeClr val="bg1">
                    <a:lumMod val="50000"/>
                  </a:schemeClr>
                </a:solidFill>
                <a:latin typeface="Segoe UI Light"/>
                <a:ea typeface="Segoe UI" pitchFamily="34" charset="0"/>
                <a:cs typeface="Segoe UI" pitchFamily="34" charset="0"/>
              </a:rPr>
              <a:t>TOP FEATURES FOR SECURITY &amp; ACCESS</a:t>
            </a:r>
          </a:p>
        </p:txBody>
      </p:sp>
      <p:sp>
        <p:nvSpPr>
          <p:cNvPr id="2" name="Title 1"/>
          <p:cNvSpPr>
            <a:spLocks noGrp="1"/>
          </p:cNvSpPr>
          <p:nvPr>
            <p:ph type="title"/>
          </p:nvPr>
        </p:nvSpPr>
        <p:spPr>
          <a:xfrm>
            <a:off x="389436" y="171450"/>
            <a:ext cx="8363938" cy="457048"/>
          </a:xfrm>
        </p:spPr>
        <p:txBody>
          <a:bodyPr/>
          <a:lstStyle/>
          <a:p>
            <a:r>
              <a:rPr lang="en-US" dirty="0"/>
              <a:t>Security and access</a:t>
            </a:r>
          </a:p>
        </p:txBody>
      </p:sp>
      <p:sp>
        <p:nvSpPr>
          <p:cNvPr id="11" name="TextBox 10"/>
          <p:cNvSpPr txBox="1"/>
          <p:nvPr/>
        </p:nvSpPr>
        <p:spPr>
          <a:xfrm>
            <a:off x="1619736" y="1084381"/>
            <a:ext cx="1531788" cy="335477"/>
          </a:xfrm>
          <a:prstGeom prst="rect">
            <a:avLst/>
          </a:prstGeom>
          <a:noFill/>
        </p:spPr>
        <p:txBody>
          <a:bodyPr wrap="square" lIns="0" tIns="0" rIns="0" bIns="0" rtlCol="0">
            <a:spAutoFit/>
          </a:bodyPr>
          <a:lstStyle/>
          <a:p>
            <a:pPr>
              <a:lnSpc>
                <a:spcPct val="90000"/>
              </a:lnSpc>
            </a:pPr>
            <a:r>
              <a:rPr lang="en-US" sz="1200" spc="-38" dirty="0">
                <a:gradFill>
                  <a:gsLst>
                    <a:gs pos="2917">
                      <a:schemeClr val="tx1"/>
                    </a:gs>
                    <a:gs pos="30000">
                      <a:schemeClr val="tx1"/>
                    </a:gs>
                  </a:gsLst>
                  <a:lin ang="5400000" scaled="0"/>
                </a:gradFill>
              </a:rPr>
              <a:t>Protection of corporate resources</a:t>
            </a:r>
          </a:p>
        </p:txBody>
      </p:sp>
      <p:sp>
        <p:nvSpPr>
          <p:cNvPr id="71" name="TextBox 70"/>
          <p:cNvSpPr txBox="1"/>
          <p:nvPr/>
        </p:nvSpPr>
        <p:spPr>
          <a:xfrm>
            <a:off x="3583944" y="1091708"/>
            <a:ext cx="1465825" cy="664797"/>
          </a:xfrm>
          <a:prstGeom prst="rect">
            <a:avLst/>
          </a:prstGeom>
          <a:noFill/>
        </p:spPr>
        <p:txBody>
          <a:bodyPr wrap="square" lIns="0" tIns="0" rIns="0" bIns="0" rtlCol="0">
            <a:spAutoFit/>
          </a:bodyPr>
          <a:lstStyle>
            <a:defPPr>
              <a:defRPr lang="en-US"/>
            </a:defPPr>
            <a:lvl1pPr>
              <a:lnSpc>
                <a:spcPct val="90000"/>
              </a:lnSpc>
              <a:defRPr sz="1600" spc="-50">
                <a:gradFill>
                  <a:gsLst>
                    <a:gs pos="2917">
                      <a:schemeClr val="tx1"/>
                    </a:gs>
                    <a:gs pos="30000">
                      <a:schemeClr val="tx1"/>
                    </a:gs>
                  </a:gsLst>
                  <a:lin ang="5400000" scaled="0"/>
                </a:gradFill>
              </a:defRPr>
            </a:lvl1pPr>
          </a:lstStyle>
          <a:p>
            <a:r>
              <a:rPr lang="en-US" dirty="0"/>
              <a:t>Data access management and protection</a:t>
            </a:r>
          </a:p>
        </p:txBody>
      </p:sp>
      <p:sp>
        <p:nvSpPr>
          <p:cNvPr id="72" name="TextBox 71"/>
          <p:cNvSpPr txBox="1"/>
          <p:nvPr/>
        </p:nvSpPr>
        <p:spPr>
          <a:xfrm>
            <a:off x="5518832" y="1084381"/>
            <a:ext cx="1524458" cy="1107996"/>
          </a:xfrm>
          <a:prstGeom prst="rect">
            <a:avLst/>
          </a:prstGeom>
          <a:noFill/>
        </p:spPr>
        <p:txBody>
          <a:bodyPr wrap="square" lIns="0" tIns="0" rIns="0" bIns="0" rtlCol="0">
            <a:spAutoFit/>
          </a:bodyPr>
          <a:lstStyle>
            <a:defPPr>
              <a:defRPr lang="en-US"/>
            </a:defPPr>
            <a:lvl1pPr>
              <a:lnSpc>
                <a:spcPct val="90000"/>
              </a:lnSpc>
              <a:defRPr sz="1600" spc="-50">
                <a:gradFill>
                  <a:gsLst>
                    <a:gs pos="2917">
                      <a:schemeClr val="tx1"/>
                    </a:gs>
                    <a:gs pos="30000">
                      <a:schemeClr val="tx1"/>
                    </a:gs>
                  </a:gsLst>
                  <a:lin ang="5400000" scaled="0"/>
                </a:gradFill>
              </a:defRPr>
            </a:lvl1pPr>
          </a:lstStyle>
          <a:p>
            <a:r>
              <a:rPr lang="en-US" dirty="0"/>
              <a:t>Simplified deployment and management of identity infrastructure </a:t>
            </a:r>
          </a:p>
        </p:txBody>
      </p:sp>
      <p:grpSp>
        <p:nvGrpSpPr>
          <p:cNvPr id="3" name="Group 2"/>
          <p:cNvGrpSpPr/>
          <p:nvPr/>
        </p:nvGrpSpPr>
        <p:grpSpPr>
          <a:xfrm>
            <a:off x="379753" y="2246271"/>
            <a:ext cx="1601002" cy="1116784"/>
            <a:chOff x="506205" y="2877800"/>
            <a:chExt cx="2134114" cy="1489045"/>
          </a:xfrm>
        </p:grpSpPr>
        <p:sp>
          <p:nvSpPr>
            <p:cNvPr id="73" name="Rectangle 72"/>
            <p:cNvSpPr>
              <a:spLocks noChangeAspect="1" noChangeArrowheads="1"/>
            </p:cNvSpPr>
            <p:nvPr/>
          </p:nvSpPr>
          <p:spPr bwMode="auto">
            <a:xfrm>
              <a:off x="506205" y="2877800"/>
              <a:ext cx="2134114" cy="1489045"/>
            </a:xfrm>
            <a:prstGeom prst="rect">
              <a:avLst/>
            </a:prstGeom>
            <a:solidFill>
              <a:srgbClr val="007233"/>
            </a:solidFill>
            <a:ln w="9525">
              <a:noFill/>
              <a:miter lim="800000"/>
              <a:headEnd/>
              <a:tailEnd/>
            </a:ln>
          </p:spPr>
          <p:txBody>
            <a:bodyPr wrap="square" rIns="457200" bIns="91440" anchor="b" anchorCtr="0"/>
            <a:lstStyle/>
            <a:p>
              <a:pPr>
                <a:spcAft>
                  <a:spcPts val="225"/>
                </a:spcAft>
              </a:pPr>
              <a:r>
                <a:rPr lang="en-US" sz="1100" dirty="0">
                  <a:solidFill>
                    <a:srgbClr val="FFFFFF"/>
                  </a:solidFill>
                </a:rPr>
                <a:t>Dynamic Access Control</a:t>
              </a:r>
            </a:p>
          </p:txBody>
        </p:sp>
        <p:sp>
          <p:nvSpPr>
            <p:cNvPr id="77" name="Oval 76"/>
            <p:cNvSpPr/>
            <p:nvPr/>
          </p:nvSpPr>
          <p:spPr bwMode="auto">
            <a:xfrm>
              <a:off x="2111813" y="3037352"/>
              <a:ext cx="359998" cy="359998"/>
            </a:xfrm>
            <a:prstGeom prst="ellipse">
              <a:avLst/>
            </a:prstGeom>
            <a:noFill/>
            <a:ln w="19050" cmpd="sng">
              <a:solidFill>
                <a:schemeClr val="accent5">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91436" tIns="45718" rIns="91436" bIns="45718" numCol="1" rtlCol="0" anchor="ctr" anchorCtr="0" compatLnSpc="1">
              <a:prstTxWarp prst="textNoShape">
                <a:avLst/>
              </a:prstTxWarp>
            </a:bodyPr>
            <a:lstStyle/>
            <a:p>
              <a:pPr algn="ctr" defTabSz="685666" fontAlgn="base">
                <a:lnSpc>
                  <a:spcPct val="90000"/>
                </a:lnSpc>
                <a:spcBef>
                  <a:spcPct val="0"/>
                </a:spcBef>
                <a:spcAft>
                  <a:spcPct val="0"/>
                </a:spcAft>
              </a:pPr>
              <a:r>
                <a:rPr lang="en-US" sz="1200" spc="-38" dirty="0">
                  <a:solidFill>
                    <a:srgbClr val="FFFFFF"/>
                  </a:solidFill>
                </a:rPr>
                <a:t>1</a:t>
              </a:r>
            </a:p>
          </p:txBody>
        </p:sp>
      </p:grpSp>
      <p:grpSp>
        <p:nvGrpSpPr>
          <p:cNvPr id="10" name="Group 9"/>
          <p:cNvGrpSpPr/>
          <p:nvPr/>
        </p:nvGrpSpPr>
        <p:grpSpPr>
          <a:xfrm>
            <a:off x="379753" y="3447886"/>
            <a:ext cx="1601002" cy="1116784"/>
            <a:chOff x="506205" y="4479953"/>
            <a:chExt cx="2134114" cy="1489045"/>
          </a:xfrm>
        </p:grpSpPr>
        <p:sp>
          <p:nvSpPr>
            <p:cNvPr id="100" name="Rectangle 99"/>
            <p:cNvSpPr>
              <a:spLocks noChangeAspect="1" noChangeArrowheads="1"/>
            </p:cNvSpPr>
            <p:nvPr/>
          </p:nvSpPr>
          <p:spPr bwMode="auto">
            <a:xfrm>
              <a:off x="506205" y="4479953"/>
              <a:ext cx="2134114" cy="1489045"/>
            </a:xfrm>
            <a:prstGeom prst="rect">
              <a:avLst/>
            </a:prstGeom>
            <a:solidFill>
              <a:srgbClr val="007233"/>
            </a:solidFill>
            <a:ln w="9525">
              <a:noFill/>
              <a:miter lim="800000"/>
              <a:headEnd/>
              <a:tailEnd/>
            </a:ln>
          </p:spPr>
          <p:txBody>
            <a:bodyPr wrap="square" rIns="457200" bIns="91440" anchor="b" anchorCtr="0"/>
            <a:lstStyle/>
            <a:p>
              <a:pPr>
                <a:spcAft>
                  <a:spcPts val="225"/>
                </a:spcAft>
              </a:pPr>
              <a:r>
                <a:rPr lang="en-US" sz="1100" dirty="0">
                  <a:solidFill>
                    <a:srgbClr val="FFFFFF"/>
                  </a:solidFill>
                </a:rPr>
                <a:t>Active Directory virtualization</a:t>
              </a:r>
            </a:p>
          </p:txBody>
        </p:sp>
        <p:sp>
          <p:nvSpPr>
            <p:cNvPr id="105" name="Oval 104"/>
            <p:cNvSpPr/>
            <p:nvPr/>
          </p:nvSpPr>
          <p:spPr bwMode="auto">
            <a:xfrm>
              <a:off x="2111813" y="4639505"/>
              <a:ext cx="359998" cy="359998"/>
            </a:xfrm>
            <a:prstGeom prst="ellipse">
              <a:avLst/>
            </a:prstGeom>
            <a:noFill/>
            <a:ln w="19050" cmpd="sng">
              <a:solidFill>
                <a:schemeClr val="accent5">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91436" tIns="45718" rIns="91436" bIns="45718" numCol="1" rtlCol="0" anchor="ctr" anchorCtr="0" compatLnSpc="1">
              <a:prstTxWarp prst="textNoShape">
                <a:avLst/>
              </a:prstTxWarp>
            </a:bodyPr>
            <a:lstStyle/>
            <a:p>
              <a:pPr algn="ctr" defTabSz="685666" fontAlgn="base">
                <a:lnSpc>
                  <a:spcPct val="90000"/>
                </a:lnSpc>
                <a:spcBef>
                  <a:spcPct val="0"/>
                </a:spcBef>
                <a:spcAft>
                  <a:spcPct val="0"/>
                </a:spcAft>
              </a:pPr>
              <a:r>
                <a:rPr lang="en-US" sz="1200" spc="-38" dirty="0">
                  <a:solidFill>
                    <a:srgbClr val="FFFFFF"/>
                  </a:solidFill>
                </a:rPr>
                <a:t>6</a:t>
              </a:r>
            </a:p>
          </p:txBody>
        </p:sp>
      </p:grpSp>
      <p:grpSp>
        <p:nvGrpSpPr>
          <p:cNvPr id="12" name="Group 11"/>
          <p:cNvGrpSpPr/>
          <p:nvPr/>
        </p:nvGrpSpPr>
        <p:grpSpPr>
          <a:xfrm>
            <a:off x="2074140" y="3447886"/>
            <a:ext cx="1601002" cy="1116784"/>
            <a:chOff x="2764800" y="4479953"/>
            <a:chExt cx="2134114" cy="1489045"/>
          </a:xfrm>
        </p:grpSpPr>
        <p:sp>
          <p:nvSpPr>
            <p:cNvPr id="101" name="Rectangle 100"/>
            <p:cNvSpPr>
              <a:spLocks noChangeAspect="1" noChangeArrowheads="1"/>
            </p:cNvSpPr>
            <p:nvPr/>
          </p:nvSpPr>
          <p:spPr bwMode="auto">
            <a:xfrm>
              <a:off x="2764800" y="4479953"/>
              <a:ext cx="2134114" cy="1489045"/>
            </a:xfrm>
            <a:prstGeom prst="rect">
              <a:avLst/>
            </a:prstGeom>
            <a:solidFill>
              <a:srgbClr val="007233"/>
            </a:solidFill>
            <a:ln w="9525">
              <a:noFill/>
              <a:miter lim="800000"/>
              <a:headEnd/>
              <a:tailEnd/>
            </a:ln>
          </p:spPr>
          <p:txBody>
            <a:bodyPr wrap="square" rIns="457200" bIns="91440" anchor="b" anchorCtr="0"/>
            <a:lstStyle/>
            <a:p>
              <a:pPr>
                <a:spcAft>
                  <a:spcPts val="225"/>
                </a:spcAft>
              </a:pPr>
              <a:r>
                <a:rPr lang="en-US" sz="1100" dirty="0">
                  <a:solidFill>
                    <a:srgbClr val="FFFFFF"/>
                  </a:solidFill>
                </a:rPr>
                <a:t>Active Directory cloning</a:t>
              </a:r>
            </a:p>
          </p:txBody>
        </p:sp>
        <p:sp>
          <p:nvSpPr>
            <p:cNvPr id="106" name="Oval 105"/>
            <p:cNvSpPr/>
            <p:nvPr/>
          </p:nvSpPr>
          <p:spPr bwMode="auto">
            <a:xfrm>
              <a:off x="4378365" y="4639505"/>
              <a:ext cx="359998" cy="359998"/>
            </a:xfrm>
            <a:prstGeom prst="ellipse">
              <a:avLst/>
            </a:prstGeom>
            <a:noFill/>
            <a:ln w="19050" cmpd="sng">
              <a:solidFill>
                <a:schemeClr val="accent5">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91436" tIns="45718" rIns="91436" bIns="45718" numCol="1" rtlCol="0" anchor="ctr" anchorCtr="0" compatLnSpc="1">
              <a:prstTxWarp prst="textNoShape">
                <a:avLst/>
              </a:prstTxWarp>
            </a:bodyPr>
            <a:lstStyle/>
            <a:p>
              <a:pPr algn="ctr" defTabSz="685666" fontAlgn="base">
                <a:lnSpc>
                  <a:spcPct val="90000"/>
                </a:lnSpc>
                <a:spcBef>
                  <a:spcPct val="0"/>
                </a:spcBef>
                <a:spcAft>
                  <a:spcPct val="0"/>
                </a:spcAft>
              </a:pPr>
              <a:r>
                <a:rPr lang="en-US" sz="1200" spc="-38" dirty="0">
                  <a:solidFill>
                    <a:srgbClr val="FFFFFF"/>
                  </a:solidFill>
                </a:rPr>
                <a:t>7</a:t>
              </a:r>
            </a:p>
          </p:txBody>
        </p:sp>
      </p:grpSp>
      <p:grpSp>
        <p:nvGrpSpPr>
          <p:cNvPr id="13" name="Group 12"/>
          <p:cNvGrpSpPr/>
          <p:nvPr/>
        </p:nvGrpSpPr>
        <p:grpSpPr>
          <a:xfrm>
            <a:off x="3768528" y="3447886"/>
            <a:ext cx="1601002" cy="1116784"/>
            <a:chOff x="5023395" y="4479953"/>
            <a:chExt cx="2134114" cy="1489045"/>
          </a:xfrm>
        </p:grpSpPr>
        <p:sp>
          <p:nvSpPr>
            <p:cNvPr id="102" name="Rectangle 101"/>
            <p:cNvSpPr>
              <a:spLocks noChangeAspect="1" noChangeArrowheads="1"/>
            </p:cNvSpPr>
            <p:nvPr/>
          </p:nvSpPr>
          <p:spPr bwMode="auto">
            <a:xfrm>
              <a:off x="5023395" y="4479953"/>
              <a:ext cx="2134114" cy="1489045"/>
            </a:xfrm>
            <a:prstGeom prst="rect">
              <a:avLst/>
            </a:prstGeom>
            <a:solidFill>
              <a:srgbClr val="007233"/>
            </a:solidFill>
            <a:ln w="9525">
              <a:noFill/>
              <a:miter lim="800000"/>
              <a:headEnd/>
              <a:tailEnd/>
            </a:ln>
          </p:spPr>
          <p:txBody>
            <a:bodyPr wrap="square" rIns="457200" bIns="91440" anchor="b" anchorCtr="0"/>
            <a:lstStyle/>
            <a:p>
              <a:pPr>
                <a:spcAft>
                  <a:spcPts val="225"/>
                </a:spcAft>
              </a:pPr>
              <a:r>
                <a:rPr lang="en-US" sz="1100" dirty="0">
                  <a:solidFill>
                    <a:srgbClr val="FFFFFF"/>
                  </a:solidFill>
                </a:rPr>
                <a:t>Kerberos constrained delegation</a:t>
              </a:r>
            </a:p>
          </p:txBody>
        </p:sp>
        <p:sp>
          <p:nvSpPr>
            <p:cNvPr id="107" name="Oval 106"/>
            <p:cNvSpPr/>
            <p:nvPr/>
          </p:nvSpPr>
          <p:spPr bwMode="auto">
            <a:xfrm>
              <a:off x="6644917" y="4639505"/>
              <a:ext cx="359998" cy="359998"/>
            </a:xfrm>
            <a:prstGeom prst="ellipse">
              <a:avLst/>
            </a:prstGeom>
            <a:noFill/>
            <a:ln w="19050" cmpd="sng">
              <a:solidFill>
                <a:schemeClr val="accent5">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91436" tIns="45718" rIns="91436" bIns="45718" numCol="1" rtlCol="0" anchor="ctr" anchorCtr="0" compatLnSpc="1">
              <a:prstTxWarp prst="textNoShape">
                <a:avLst/>
              </a:prstTxWarp>
            </a:bodyPr>
            <a:lstStyle/>
            <a:p>
              <a:pPr algn="ctr" defTabSz="685666" fontAlgn="base">
                <a:lnSpc>
                  <a:spcPct val="90000"/>
                </a:lnSpc>
                <a:spcBef>
                  <a:spcPct val="0"/>
                </a:spcBef>
                <a:spcAft>
                  <a:spcPct val="0"/>
                </a:spcAft>
              </a:pPr>
              <a:r>
                <a:rPr lang="en-US" sz="1200" spc="-38" dirty="0">
                  <a:solidFill>
                    <a:srgbClr val="FFFFFF"/>
                  </a:solidFill>
                </a:rPr>
                <a:t>8</a:t>
              </a:r>
            </a:p>
          </p:txBody>
        </p:sp>
      </p:grpSp>
      <p:grpSp>
        <p:nvGrpSpPr>
          <p:cNvPr id="14" name="Group 13"/>
          <p:cNvGrpSpPr/>
          <p:nvPr/>
        </p:nvGrpSpPr>
        <p:grpSpPr>
          <a:xfrm>
            <a:off x="5462915" y="3447886"/>
            <a:ext cx="1601002" cy="1116784"/>
            <a:chOff x="7281990" y="4479953"/>
            <a:chExt cx="2134114" cy="1489045"/>
          </a:xfrm>
        </p:grpSpPr>
        <p:sp>
          <p:nvSpPr>
            <p:cNvPr id="103" name="Rectangle 102"/>
            <p:cNvSpPr>
              <a:spLocks noChangeAspect="1" noChangeArrowheads="1"/>
            </p:cNvSpPr>
            <p:nvPr/>
          </p:nvSpPr>
          <p:spPr bwMode="auto">
            <a:xfrm>
              <a:off x="7281990" y="4479953"/>
              <a:ext cx="2134114" cy="1489045"/>
            </a:xfrm>
            <a:prstGeom prst="rect">
              <a:avLst/>
            </a:prstGeom>
            <a:solidFill>
              <a:srgbClr val="007233"/>
            </a:solidFill>
            <a:ln w="9525">
              <a:noFill/>
              <a:miter lim="800000"/>
              <a:headEnd/>
              <a:tailEnd/>
            </a:ln>
          </p:spPr>
          <p:txBody>
            <a:bodyPr wrap="square" rIns="457200" bIns="91440" anchor="b" anchorCtr="0"/>
            <a:lstStyle/>
            <a:p>
              <a:pPr>
                <a:spcAft>
                  <a:spcPts val="225"/>
                </a:spcAft>
              </a:pPr>
              <a:r>
                <a:rPr lang="en-US" sz="1100" dirty="0">
                  <a:solidFill>
                    <a:srgbClr val="FFFFFF"/>
                  </a:solidFill>
                </a:rPr>
                <a:t>Private virtual LAN (PVLAN)</a:t>
              </a:r>
              <a:endParaRPr lang="en-US" sz="1100" dirty="0">
                <a:solidFill>
                  <a:srgbClr val="FFFFFF"/>
                </a:solidFill>
              </a:endParaRPr>
            </a:p>
          </p:txBody>
        </p:sp>
        <p:sp>
          <p:nvSpPr>
            <p:cNvPr id="108" name="Oval 107"/>
            <p:cNvSpPr/>
            <p:nvPr/>
          </p:nvSpPr>
          <p:spPr bwMode="auto">
            <a:xfrm>
              <a:off x="8911469" y="4639505"/>
              <a:ext cx="359998" cy="359998"/>
            </a:xfrm>
            <a:prstGeom prst="ellipse">
              <a:avLst/>
            </a:prstGeom>
            <a:noFill/>
            <a:ln w="19050" cmpd="sng">
              <a:solidFill>
                <a:schemeClr val="accent5">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91436" tIns="45718" rIns="91436" bIns="45718" numCol="1" rtlCol="0" anchor="ctr" anchorCtr="0" compatLnSpc="1">
              <a:prstTxWarp prst="textNoShape">
                <a:avLst/>
              </a:prstTxWarp>
            </a:bodyPr>
            <a:lstStyle/>
            <a:p>
              <a:pPr algn="ctr" defTabSz="685666" fontAlgn="base">
                <a:lnSpc>
                  <a:spcPct val="90000"/>
                </a:lnSpc>
                <a:spcBef>
                  <a:spcPct val="0"/>
                </a:spcBef>
                <a:spcAft>
                  <a:spcPct val="0"/>
                </a:spcAft>
              </a:pPr>
              <a:r>
                <a:rPr lang="en-US" sz="1200" spc="-38" dirty="0">
                  <a:solidFill>
                    <a:srgbClr val="FFFFFF"/>
                  </a:solidFill>
                </a:rPr>
                <a:t>9</a:t>
              </a:r>
            </a:p>
          </p:txBody>
        </p:sp>
      </p:grpSp>
      <p:grpSp>
        <p:nvGrpSpPr>
          <p:cNvPr id="15" name="Group 14"/>
          <p:cNvGrpSpPr/>
          <p:nvPr/>
        </p:nvGrpSpPr>
        <p:grpSpPr>
          <a:xfrm>
            <a:off x="7157302" y="3447886"/>
            <a:ext cx="1601002" cy="1116784"/>
            <a:chOff x="9540584" y="4479953"/>
            <a:chExt cx="2134114" cy="1489045"/>
          </a:xfrm>
        </p:grpSpPr>
        <p:sp>
          <p:nvSpPr>
            <p:cNvPr id="104" name="Rectangle 103"/>
            <p:cNvSpPr>
              <a:spLocks noChangeAspect="1" noChangeArrowheads="1"/>
            </p:cNvSpPr>
            <p:nvPr/>
          </p:nvSpPr>
          <p:spPr bwMode="auto">
            <a:xfrm>
              <a:off x="9540584" y="4479953"/>
              <a:ext cx="2134114" cy="1489045"/>
            </a:xfrm>
            <a:prstGeom prst="rect">
              <a:avLst/>
            </a:prstGeom>
            <a:solidFill>
              <a:srgbClr val="007233"/>
            </a:solidFill>
            <a:ln w="9525">
              <a:noFill/>
              <a:miter lim="800000"/>
              <a:headEnd/>
              <a:tailEnd/>
            </a:ln>
          </p:spPr>
          <p:txBody>
            <a:bodyPr wrap="square" rIns="457200" bIns="91440" anchor="b" anchorCtr="0"/>
            <a:lstStyle/>
            <a:p>
              <a:pPr>
                <a:spcAft>
                  <a:spcPts val="225"/>
                </a:spcAft>
              </a:pPr>
              <a:r>
                <a:rPr lang="en-US" sz="1100" dirty="0">
                  <a:solidFill>
                    <a:srgbClr val="FFFFFF"/>
                  </a:solidFill>
                </a:rPr>
                <a:t>Multitenant security and isolation</a:t>
              </a:r>
            </a:p>
          </p:txBody>
        </p:sp>
        <p:sp>
          <p:nvSpPr>
            <p:cNvPr id="109" name="Oval 108"/>
            <p:cNvSpPr/>
            <p:nvPr/>
          </p:nvSpPr>
          <p:spPr bwMode="auto">
            <a:xfrm>
              <a:off x="11178022" y="4639505"/>
              <a:ext cx="359998" cy="359998"/>
            </a:xfrm>
            <a:prstGeom prst="ellipse">
              <a:avLst/>
            </a:prstGeom>
            <a:noFill/>
            <a:ln w="19050" cmpd="sng">
              <a:solidFill>
                <a:schemeClr val="accent5">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91436" tIns="45718" rIns="91436" bIns="45718" numCol="1" rtlCol="0" anchor="ctr" anchorCtr="0" compatLnSpc="1">
              <a:prstTxWarp prst="textNoShape">
                <a:avLst/>
              </a:prstTxWarp>
            </a:bodyPr>
            <a:lstStyle/>
            <a:p>
              <a:pPr algn="ctr" defTabSz="685666" fontAlgn="base">
                <a:lnSpc>
                  <a:spcPct val="90000"/>
                </a:lnSpc>
                <a:spcBef>
                  <a:spcPct val="0"/>
                </a:spcBef>
                <a:spcAft>
                  <a:spcPct val="0"/>
                </a:spcAft>
              </a:pPr>
              <a:r>
                <a:rPr lang="en-US" sz="1200" spc="-38" dirty="0">
                  <a:solidFill>
                    <a:srgbClr val="FFFFFF"/>
                  </a:solidFill>
                </a:rPr>
                <a:t>10</a:t>
              </a:r>
            </a:p>
          </p:txBody>
        </p:sp>
      </p:grpSp>
      <p:grpSp>
        <p:nvGrpSpPr>
          <p:cNvPr id="5" name="Group 4"/>
          <p:cNvGrpSpPr/>
          <p:nvPr/>
        </p:nvGrpSpPr>
        <p:grpSpPr>
          <a:xfrm>
            <a:off x="2074140" y="2246271"/>
            <a:ext cx="1601002" cy="1116784"/>
            <a:chOff x="2764800" y="2877800"/>
            <a:chExt cx="2134114" cy="1489045"/>
          </a:xfrm>
        </p:grpSpPr>
        <p:sp>
          <p:nvSpPr>
            <p:cNvPr id="74" name="Rectangle 73"/>
            <p:cNvSpPr>
              <a:spLocks noChangeAspect="1" noChangeArrowheads="1"/>
            </p:cNvSpPr>
            <p:nvPr/>
          </p:nvSpPr>
          <p:spPr bwMode="auto">
            <a:xfrm>
              <a:off x="2764800" y="2877800"/>
              <a:ext cx="2134114" cy="1489045"/>
            </a:xfrm>
            <a:prstGeom prst="rect">
              <a:avLst/>
            </a:prstGeom>
            <a:solidFill>
              <a:srgbClr val="007233"/>
            </a:solidFill>
            <a:ln w="9525">
              <a:noFill/>
              <a:miter lim="800000"/>
              <a:headEnd/>
              <a:tailEnd/>
            </a:ln>
          </p:spPr>
          <p:txBody>
            <a:bodyPr wrap="square" rIns="457200" bIns="91440" anchor="b" anchorCtr="0"/>
            <a:lstStyle/>
            <a:p>
              <a:pPr>
                <a:spcAft>
                  <a:spcPts val="225"/>
                </a:spcAft>
              </a:pPr>
              <a:r>
                <a:rPr lang="en-US" sz="1100" dirty="0">
                  <a:solidFill>
                    <a:srgbClr val="FFFFFF"/>
                  </a:solidFill>
                </a:rPr>
                <a:t>Classification</a:t>
              </a:r>
            </a:p>
          </p:txBody>
        </p:sp>
        <p:sp>
          <p:nvSpPr>
            <p:cNvPr id="95" name="Oval 94"/>
            <p:cNvSpPr/>
            <p:nvPr/>
          </p:nvSpPr>
          <p:spPr bwMode="auto">
            <a:xfrm>
              <a:off x="4378365" y="3037352"/>
              <a:ext cx="359998" cy="359998"/>
            </a:xfrm>
            <a:prstGeom prst="ellipse">
              <a:avLst/>
            </a:prstGeom>
            <a:noFill/>
            <a:ln w="19050" cmpd="sng">
              <a:solidFill>
                <a:schemeClr val="accent5">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91436" tIns="45718" rIns="91436" bIns="45718" numCol="1" rtlCol="0" anchor="ctr" anchorCtr="0" compatLnSpc="1">
              <a:prstTxWarp prst="textNoShape">
                <a:avLst/>
              </a:prstTxWarp>
            </a:bodyPr>
            <a:lstStyle/>
            <a:p>
              <a:pPr algn="ctr" defTabSz="685666" fontAlgn="base">
                <a:lnSpc>
                  <a:spcPct val="90000"/>
                </a:lnSpc>
                <a:spcBef>
                  <a:spcPct val="0"/>
                </a:spcBef>
                <a:spcAft>
                  <a:spcPct val="0"/>
                </a:spcAft>
              </a:pPr>
              <a:r>
                <a:rPr lang="en-US" sz="1200" spc="-38" dirty="0">
                  <a:solidFill>
                    <a:srgbClr val="FFFFFF"/>
                  </a:solidFill>
                </a:rPr>
                <a:t>2</a:t>
              </a:r>
            </a:p>
          </p:txBody>
        </p:sp>
      </p:grpSp>
      <p:grpSp>
        <p:nvGrpSpPr>
          <p:cNvPr id="7" name="Group 6"/>
          <p:cNvGrpSpPr/>
          <p:nvPr/>
        </p:nvGrpSpPr>
        <p:grpSpPr>
          <a:xfrm>
            <a:off x="3768528" y="2246271"/>
            <a:ext cx="1601002" cy="1116784"/>
            <a:chOff x="5023395" y="2877800"/>
            <a:chExt cx="2134114" cy="1489045"/>
          </a:xfrm>
        </p:grpSpPr>
        <p:sp>
          <p:nvSpPr>
            <p:cNvPr id="82" name="Rectangle 81"/>
            <p:cNvSpPr>
              <a:spLocks noChangeAspect="1" noChangeArrowheads="1"/>
            </p:cNvSpPr>
            <p:nvPr/>
          </p:nvSpPr>
          <p:spPr bwMode="auto">
            <a:xfrm>
              <a:off x="5023395" y="2877800"/>
              <a:ext cx="2134114" cy="1489045"/>
            </a:xfrm>
            <a:prstGeom prst="rect">
              <a:avLst/>
            </a:prstGeom>
            <a:solidFill>
              <a:srgbClr val="007233"/>
            </a:solidFill>
            <a:ln w="9525">
              <a:noFill/>
              <a:miter lim="800000"/>
              <a:headEnd/>
              <a:tailEnd/>
            </a:ln>
          </p:spPr>
          <p:txBody>
            <a:bodyPr wrap="square" rIns="457200" bIns="91440" anchor="b" anchorCtr="0"/>
            <a:lstStyle/>
            <a:p>
              <a:pPr>
                <a:spcAft>
                  <a:spcPts val="225"/>
                </a:spcAft>
              </a:pPr>
              <a:r>
                <a:rPr lang="en-US" sz="1100" dirty="0">
                  <a:solidFill>
                    <a:srgbClr val="FFFFFF"/>
                  </a:solidFill>
                </a:rPr>
                <a:t>DirectAccess</a:t>
              </a:r>
              <a:endParaRPr lang="en-US" sz="1100" dirty="0">
                <a:solidFill>
                  <a:srgbClr val="FFFFFF"/>
                </a:solidFill>
              </a:endParaRPr>
            </a:p>
          </p:txBody>
        </p:sp>
        <p:sp>
          <p:nvSpPr>
            <p:cNvPr id="97" name="Oval 96"/>
            <p:cNvSpPr/>
            <p:nvPr/>
          </p:nvSpPr>
          <p:spPr bwMode="auto">
            <a:xfrm>
              <a:off x="6644917" y="3037352"/>
              <a:ext cx="359998" cy="359998"/>
            </a:xfrm>
            <a:prstGeom prst="ellipse">
              <a:avLst/>
            </a:prstGeom>
            <a:noFill/>
            <a:ln w="19050" cmpd="sng">
              <a:solidFill>
                <a:schemeClr val="accent5">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91436" tIns="45718" rIns="91436" bIns="45718" numCol="1" rtlCol="0" anchor="ctr" anchorCtr="0" compatLnSpc="1">
              <a:prstTxWarp prst="textNoShape">
                <a:avLst/>
              </a:prstTxWarp>
            </a:bodyPr>
            <a:lstStyle/>
            <a:p>
              <a:pPr algn="ctr" defTabSz="685666" fontAlgn="base">
                <a:lnSpc>
                  <a:spcPct val="90000"/>
                </a:lnSpc>
                <a:spcBef>
                  <a:spcPct val="0"/>
                </a:spcBef>
                <a:spcAft>
                  <a:spcPct val="0"/>
                </a:spcAft>
              </a:pPr>
              <a:r>
                <a:rPr lang="en-US" sz="1200" spc="-38" dirty="0">
                  <a:solidFill>
                    <a:srgbClr val="FFFFFF"/>
                  </a:solidFill>
                </a:rPr>
                <a:t>3</a:t>
              </a:r>
            </a:p>
          </p:txBody>
        </p:sp>
      </p:grpSp>
      <p:grpSp>
        <p:nvGrpSpPr>
          <p:cNvPr id="8" name="Group 7"/>
          <p:cNvGrpSpPr/>
          <p:nvPr/>
        </p:nvGrpSpPr>
        <p:grpSpPr>
          <a:xfrm>
            <a:off x="5462915" y="2246271"/>
            <a:ext cx="1601002" cy="1116784"/>
            <a:chOff x="7281990" y="2877800"/>
            <a:chExt cx="2134114" cy="1489045"/>
          </a:xfrm>
        </p:grpSpPr>
        <p:sp>
          <p:nvSpPr>
            <p:cNvPr id="84" name="Rectangle 83"/>
            <p:cNvSpPr>
              <a:spLocks noChangeAspect="1" noChangeArrowheads="1"/>
            </p:cNvSpPr>
            <p:nvPr/>
          </p:nvSpPr>
          <p:spPr bwMode="auto">
            <a:xfrm>
              <a:off x="7281990" y="2877800"/>
              <a:ext cx="2134114" cy="1489045"/>
            </a:xfrm>
            <a:prstGeom prst="rect">
              <a:avLst/>
            </a:prstGeom>
            <a:solidFill>
              <a:srgbClr val="007233"/>
            </a:solidFill>
            <a:ln w="9525">
              <a:noFill/>
              <a:miter lim="800000"/>
              <a:headEnd/>
              <a:tailEnd/>
            </a:ln>
          </p:spPr>
          <p:txBody>
            <a:bodyPr wrap="square" rIns="457200" bIns="91440" anchor="b" anchorCtr="0"/>
            <a:lstStyle/>
            <a:p>
              <a:pPr>
                <a:spcAft>
                  <a:spcPts val="225"/>
                </a:spcAft>
              </a:pPr>
              <a:r>
                <a:rPr lang="en-US" sz="1100" dirty="0">
                  <a:solidFill>
                    <a:srgbClr val="FFFFFF"/>
                  </a:solidFill>
                </a:rPr>
                <a:t>Simpler deployment of Active Directory</a:t>
              </a:r>
            </a:p>
          </p:txBody>
        </p:sp>
        <p:sp>
          <p:nvSpPr>
            <p:cNvPr id="98" name="Oval 97"/>
            <p:cNvSpPr/>
            <p:nvPr/>
          </p:nvSpPr>
          <p:spPr bwMode="auto">
            <a:xfrm>
              <a:off x="8911469" y="3037352"/>
              <a:ext cx="359998" cy="359998"/>
            </a:xfrm>
            <a:prstGeom prst="ellipse">
              <a:avLst/>
            </a:prstGeom>
            <a:noFill/>
            <a:ln w="19050" cmpd="sng">
              <a:solidFill>
                <a:schemeClr val="accent5">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91436" tIns="45718" rIns="91436" bIns="45718" numCol="1" rtlCol="0" anchor="ctr" anchorCtr="0" compatLnSpc="1">
              <a:prstTxWarp prst="textNoShape">
                <a:avLst/>
              </a:prstTxWarp>
            </a:bodyPr>
            <a:lstStyle/>
            <a:p>
              <a:pPr algn="ctr" defTabSz="685666" fontAlgn="base">
                <a:lnSpc>
                  <a:spcPct val="90000"/>
                </a:lnSpc>
                <a:spcBef>
                  <a:spcPct val="0"/>
                </a:spcBef>
                <a:spcAft>
                  <a:spcPct val="0"/>
                </a:spcAft>
              </a:pPr>
              <a:r>
                <a:rPr lang="en-US" sz="1200" spc="-38" dirty="0">
                  <a:solidFill>
                    <a:srgbClr val="FFFFFF"/>
                  </a:solidFill>
                </a:rPr>
                <a:t>4</a:t>
              </a:r>
            </a:p>
          </p:txBody>
        </p:sp>
      </p:grpSp>
      <p:grpSp>
        <p:nvGrpSpPr>
          <p:cNvPr id="9" name="Group 8"/>
          <p:cNvGrpSpPr/>
          <p:nvPr/>
        </p:nvGrpSpPr>
        <p:grpSpPr>
          <a:xfrm>
            <a:off x="7157302" y="2246271"/>
            <a:ext cx="1601002" cy="1116784"/>
            <a:chOff x="9540584" y="2877800"/>
            <a:chExt cx="2134114" cy="1489045"/>
          </a:xfrm>
        </p:grpSpPr>
        <p:sp>
          <p:nvSpPr>
            <p:cNvPr id="87" name="Rectangle 86"/>
            <p:cNvSpPr>
              <a:spLocks noChangeAspect="1" noChangeArrowheads="1"/>
            </p:cNvSpPr>
            <p:nvPr/>
          </p:nvSpPr>
          <p:spPr bwMode="auto">
            <a:xfrm>
              <a:off x="9540584" y="2877800"/>
              <a:ext cx="2134114" cy="1489045"/>
            </a:xfrm>
            <a:prstGeom prst="rect">
              <a:avLst/>
            </a:prstGeom>
            <a:solidFill>
              <a:srgbClr val="007233"/>
            </a:solidFill>
            <a:ln w="9525">
              <a:noFill/>
              <a:miter lim="800000"/>
              <a:headEnd/>
              <a:tailEnd/>
            </a:ln>
          </p:spPr>
          <p:txBody>
            <a:bodyPr wrap="square" rIns="457200" bIns="91440" anchor="b" anchorCtr="0"/>
            <a:lstStyle/>
            <a:p>
              <a:pPr>
                <a:spcAft>
                  <a:spcPts val="225"/>
                </a:spcAft>
              </a:pPr>
              <a:r>
                <a:rPr lang="en-US" sz="1100" dirty="0">
                  <a:solidFill>
                    <a:srgbClr val="FFFFFF"/>
                  </a:solidFill>
                </a:rPr>
                <a:t>Domain Name System Security Extensions</a:t>
              </a:r>
            </a:p>
          </p:txBody>
        </p:sp>
        <p:sp>
          <p:nvSpPr>
            <p:cNvPr id="99" name="Oval 98"/>
            <p:cNvSpPr/>
            <p:nvPr/>
          </p:nvSpPr>
          <p:spPr bwMode="auto">
            <a:xfrm>
              <a:off x="11178022" y="3037352"/>
              <a:ext cx="359998" cy="359998"/>
            </a:xfrm>
            <a:prstGeom prst="ellipse">
              <a:avLst/>
            </a:prstGeom>
            <a:noFill/>
            <a:ln w="19050" cmpd="sng">
              <a:solidFill>
                <a:schemeClr val="accent5">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91436" tIns="45718" rIns="91436" bIns="45718" numCol="1" rtlCol="0" anchor="ctr" anchorCtr="0" compatLnSpc="1">
              <a:prstTxWarp prst="textNoShape">
                <a:avLst/>
              </a:prstTxWarp>
            </a:bodyPr>
            <a:lstStyle/>
            <a:p>
              <a:pPr algn="ctr" defTabSz="685666" fontAlgn="base">
                <a:lnSpc>
                  <a:spcPct val="90000"/>
                </a:lnSpc>
                <a:spcBef>
                  <a:spcPct val="0"/>
                </a:spcBef>
                <a:spcAft>
                  <a:spcPct val="0"/>
                </a:spcAft>
              </a:pPr>
              <a:r>
                <a:rPr lang="en-US" sz="1200" spc="-38" dirty="0">
                  <a:solidFill>
                    <a:srgbClr val="FFFFFF"/>
                  </a:solidFill>
                </a:rPr>
                <a:t>5</a:t>
              </a:r>
            </a:p>
          </p:txBody>
        </p:sp>
      </p:grpSp>
      <p:grpSp>
        <p:nvGrpSpPr>
          <p:cNvPr id="34" name="Group 33"/>
          <p:cNvGrpSpPr/>
          <p:nvPr/>
        </p:nvGrpSpPr>
        <p:grpSpPr>
          <a:xfrm>
            <a:off x="517486" y="947172"/>
            <a:ext cx="699149" cy="741794"/>
            <a:chOff x="10559028" y="3838222"/>
            <a:chExt cx="1338506" cy="1420519"/>
          </a:xfrm>
        </p:grpSpPr>
        <p:pic>
          <p:nvPicPr>
            <p:cNvPr id="35" name="Picture 30" descr="building"/>
            <p:cNvPicPr>
              <a:picLocks noChangeAspect="1" noChangeArrowheads="1"/>
            </p:cNvPicPr>
            <p:nvPr/>
          </p:nvPicPr>
          <p:blipFill>
            <a:blip r:embed="rId3" cstate="email"/>
            <a:srcRect/>
            <a:stretch>
              <a:fillRect/>
            </a:stretch>
          </p:blipFill>
          <p:spPr bwMode="auto">
            <a:xfrm>
              <a:off x="11146528" y="3838222"/>
              <a:ext cx="751006" cy="795490"/>
            </a:xfrm>
            <a:prstGeom prst="rect">
              <a:avLst/>
            </a:prstGeom>
            <a:noFill/>
            <a:ln w="9525">
              <a:noFill/>
              <a:miter lim="800000"/>
              <a:headEnd/>
              <a:tailEnd/>
            </a:ln>
          </p:spPr>
        </p:pic>
        <p:pic>
          <p:nvPicPr>
            <p:cNvPr id="36" name="Picture 31" descr="person"/>
            <p:cNvPicPr>
              <a:picLocks noChangeAspect="1" noChangeArrowheads="1"/>
            </p:cNvPicPr>
            <p:nvPr/>
          </p:nvPicPr>
          <p:blipFill>
            <a:blip r:embed="rId4" cstate="email"/>
            <a:srcRect/>
            <a:stretch>
              <a:fillRect/>
            </a:stretch>
          </p:blipFill>
          <p:spPr bwMode="auto">
            <a:xfrm>
              <a:off x="10559028" y="4019088"/>
              <a:ext cx="487312" cy="1198838"/>
            </a:xfrm>
            <a:prstGeom prst="rect">
              <a:avLst/>
            </a:prstGeom>
            <a:noFill/>
            <a:ln w="9525">
              <a:noFill/>
              <a:miter lim="800000"/>
              <a:headEnd/>
              <a:tailEnd/>
            </a:ln>
          </p:spPr>
        </p:pic>
        <p:pic>
          <p:nvPicPr>
            <p:cNvPr id="37" name="Picture 2" descr="\\MAGNUM\Projects\Microsoft\Journey to the Cloud Campaign\Design\Assets\Flexible.png"/>
            <p:cNvPicPr>
              <a:picLocks noChangeAspect="1" noChangeArrowheads="1"/>
            </p:cNvPicPr>
            <p:nvPr/>
          </p:nvPicPr>
          <p:blipFill>
            <a:blip r:embed="rId5" cstate="email">
              <a:lum bright="100000"/>
            </a:blip>
            <a:srcRect/>
            <a:stretch>
              <a:fillRect/>
            </a:stretch>
          </p:blipFill>
          <p:spPr bwMode="auto">
            <a:xfrm>
              <a:off x="11185000" y="4675328"/>
              <a:ext cx="653223" cy="583413"/>
            </a:xfrm>
            <a:prstGeom prst="rect">
              <a:avLst/>
            </a:prstGeom>
            <a:noFill/>
            <a:ln w="9525">
              <a:noFill/>
              <a:miter lim="800000"/>
              <a:headEnd/>
              <a:tailEnd/>
            </a:ln>
          </p:spPr>
        </p:pic>
      </p:grpSp>
      <p:sp>
        <p:nvSpPr>
          <p:cNvPr id="43"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44"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6"/>
              </a:rPr>
              <a:t>www.rapidbbs.cn</a:t>
            </a:r>
            <a:endParaRPr lang="zh-CN" altLang="en-US" sz="1200" b="0">
              <a:latin typeface="Arial" charset="0"/>
              <a:ea typeface="ＭＳ Ｐゴシック" pitchFamily="34" charset="-128"/>
            </a:endParaRPr>
          </a:p>
        </p:txBody>
      </p:sp>
      <p:pic>
        <p:nvPicPr>
          <p:cNvPr id="45" name="Picture 2">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57012296"/>
      </p:ext>
    </p:extLst>
  </p:cSld>
  <p:clrMapOvr>
    <a:masterClrMapping/>
  </p:clrMapOvr>
  <p:transition>
    <p:fade/>
  </p:transition>
  <p:timing>
    <p:tnLst>
      <p:par>
        <p:cTn id="1" dur="indefinite" restart="never" nodeType="tmRoot"/>
      </p:par>
    </p:tnLst>
  </p:timing>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6544" y="40341"/>
            <a:ext cx="8363938" cy="457048"/>
          </a:xfrm>
        </p:spPr>
        <p:txBody>
          <a:bodyPr/>
          <a:lstStyle/>
          <a:p>
            <a:r>
              <a:rPr lang="en-US" dirty="0" smtClean="0"/>
              <a:t>Virtual Desktop Infrastructure</a:t>
            </a:r>
            <a:endParaRPr lang="en-US" dirty="0"/>
          </a:p>
        </p:txBody>
      </p:sp>
      <p:grpSp>
        <p:nvGrpSpPr>
          <p:cNvPr id="12" name="Group 11"/>
          <p:cNvGrpSpPr/>
          <p:nvPr/>
        </p:nvGrpSpPr>
        <p:grpSpPr>
          <a:xfrm>
            <a:off x="667333" y="2725824"/>
            <a:ext cx="1359879" cy="1019908"/>
            <a:chOff x="667331" y="3634429"/>
            <a:chExt cx="1359879" cy="1359877"/>
          </a:xfrm>
        </p:grpSpPr>
        <p:sp>
          <p:nvSpPr>
            <p:cNvPr id="7" name="Rectangle 6"/>
            <p:cNvSpPr/>
            <p:nvPr/>
          </p:nvSpPr>
          <p:spPr bwMode="auto">
            <a:xfrm>
              <a:off x="667331" y="3634429"/>
              <a:ext cx="1359877" cy="135987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1992" fontAlgn="base">
                <a:spcBef>
                  <a:spcPct val="0"/>
                </a:spcBef>
                <a:spcAft>
                  <a:spcPct val="0"/>
                </a:spcAft>
              </a:pPr>
              <a:endParaRPr lang="en-US" spc="-38"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a:xfrm>
              <a:off x="667334" y="4278900"/>
              <a:ext cx="1359876" cy="615553"/>
            </a:xfrm>
            <a:prstGeom prst="rect">
              <a:avLst/>
            </a:prstGeom>
          </p:spPr>
          <p:txBody>
            <a:bodyPr wrap="square">
              <a:spAutoFit/>
            </a:bodyPr>
            <a:lstStyle/>
            <a:p>
              <a:pPr algn="ctr"/>
              <a:r>
                <a:rPr lang="en-US" sz="1200" dirty="0">
                  <a:solidFill>
                    <a:srgbClr val="FFFFFF"/>
                  </a:solidFill>
                </a:rPr>
                <a:t>SIMPLIFIED USER CONNECTION</a:t>
              </a:r>
            </a:p>
          </p:txBody>
        </p:sp>
        <p:sp>
          <p:nvSpPr>
            <p:cNvPr id="34" name="Right Triangle 33"/>
            <p:cNvSpPr/>
            <p:nvPr/>
          </p:nvSpPr>
          <p:spPr bwMode="auto">
            <a:xfrm rot="10800000">
              <a:off x="1550550" y="3634429"/>
              <a:ext cx="476658" cy="476658"/>
            </a:xfrm>
            <a:prstGeom prst="rtTriangl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1992" fontAlgn="base">
                <a:spcBef>
                  <a:spcPct val="0"/>
                </a:spcBef>
                <a:spcAft>
                  <a:spcPct val="0"/>
                </a:spcAft>
              </a:pPr>
              <a:endParaRPr lang="en-US" sz="1500" spc="-38" dirty="0">
                <a:gradFill>
                  <a:gsLst>
                    <a:gs pos="0">
                      <a:srgbClr val="FFFFFF"/>
                    </a:gs>
                    <a:gs pos="100000">
                      <a:srgbClr val="FFFFFF"/>
                    </a:gs>
                  </a:gsLst>
                  <a:lin ang="5400000" scaled="0"/>
                </a:gradFill>
                <a:ea typeface="Segoe UI" pitchFamily="34" charset="0"/>
                <a:cs typeface="Segoe UI" pitchFamily="34" charset="0"/>
              </a:endParaRPr>
            </a:p>
          </p:txBody>
        </p:sp>
        <p:sp>
          <p:nvSpPr>
            <p:cNvPr id="35" name="TextBox 34"/>
            <p:cNvSpPr txBox="1"/>
            <p:nvPr/>
          </p:nvSpPr>
          <p:spPr>
            <a:xfrm>
              <a:off x="1874374" y="3634429"/>
              <a:ext cx="93800" cy="292388"/>
            </a:xfrm>
            <a:prstGeom prst="rect">
              <a:avLst/>
            </a:prstGeom>
            <a:noFill/>
          </p:spPr>
          <p:txBody>
            <a:bodyPr wrap="none" lIns="0" tIns="0" rIns="0" bIns="0" rtlCol="0">
              <a:spAutoFit/>
            </a:bodyPr>
            <a:lstStyle/>
            <a:p>
              <a:pPr algn="ctr"/>
              <a:r>
                <a:rPr lang="en-US"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1</a:t>
              </a:r>
            </a:p>
          </p:txBody>
        </p:sp>
      </p:grpSp>
      <p:grpSp>
        <p:nvGrpSpPr>
          <p:cNvPr id="13" name="Group 12"/>
          <p:cNvGrpSpPr/>
          <p:nvPr/>
        </p:nvGrpSpPr>
        <p:grpSpPr>
          <a:xfrm>
            <a:off x="2257240" y="2725826"/>
            <a:ext cx="1359878" cy="1042993"/>
            <a:chOff x="2257240" y="3634429"/>
            <a:chExt cx="1359878" cy="1390655"/>
          </a:xfrm>
        </p:grpSpPr>
        <p:sp>
          <p:nvSpPr>
            <p:cNvPr id="21" name="Rectangle 20"/>
            <p:cNvSpPr/>
            <p:nvPr/>
          </p:nvSpPr>
          <p:spPr bwMode="auto">
            <a:xfrm>
              <a:off x="2257241" y="3634429"/>
              <a:ext cx="1359877" cy="135987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1992" fontAlgn="base">
                <a:spcBef>
                  <a:spcPct val="0"/>
                </a:spcBef>
                <a:spcAft>
                  <a:spcPct val="0"/>
                </a:spcAft>
              </a:pPr>
              <a:endParaRPr lang="en-US" spc="-38"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a:xfrm>
              <a:off x="2257240" y="4409531"/>
              <a:ext cx="1359878" cy="615553"/>
            </a:xfrm>
            <a:prstGeom prst="rect">
              <a:avLst/>
            </a:prstGeom>
          </p:spPr>
          <p:txBody>
            <a:bodyPr wrap="square">
              <a:spAutoFit/>
            </a:bodyPr>
            <a:lstStyle/>
            <a:p>
              <a:pPr algn="ctr" defTabSz="682069">
                <a:spcAft>
                  <a:spcPts val="225"/>
                </a:spcAft>
                <a:buClr>
                  <a:srgbClr val="00AEEF"/>
                </a:buClr>
                <a:buSzPct val="120000"/>
              </a:pPr>
              <a:r>
                <a:rPr lang="en-US" sz="1200" dirty="0">
                  <a:solidFill>
                    <a:srgbClr val="FFFFFF"/>
                  </a:solidFill>
                </a:rPr>
                <a:t>USER PROFILE DISKS</a:t>
              </a:r>
            </a:p>
          </p:txBody>
        </p:sp>
        <p:sp>
          <p:nvSpPr>
            <p:cNvPr id="36" name="Right Triangle 35"/>
            <p:cNvSpPr/>
            <p:nvPr/>
          </p:nvSpPr>
          <p:spPr bwMode="auto">
            <a:xfrm rot="10800000">
              <a:off x="3141630" y="3634429"/>
              <a:ext cx="475488" cy="475488"/>
            </a:xfrm>
            <a:prstGeom prst="rtTriangl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1992" fontAlgn="base">
                <a:spcBef>
                  <a:spcPct val="0"/>
                </a:spcBef>
                <a:spcAft>
                  <a:spcPct val="0"/>
                </a:spcAft>
              </a:pPr>
              <a:endParaRPr lang="en-US" sz="1500" spc="-38" dirty="0">
                <a:gradFill>
                  <a:gsLst>
                    <a:gs pos="0">
                      <a:srgbClr val="FFFFFF"/>
                    </a:gs>
                    <a:gs pos="100000">
                      <a:srgbClr val="FFFFFF"/>
                    </a:gs>
                  </a:gsLst>
                  <a:lin ang="5400000" scaled="0"/>
                </a:gradFill>
                <a:ea typeface="Segoe UI" pitchFamily="34" charset="0"/>
                <a:cs typeface="Segoe UI" pitchFamily="34" charset="0"/>
              </a:endParaRPr>
            </a:p>
          </p:txBody>
        </p:sp>
        <p:sp>
          <p:nvSpPr>
            <p:cNvPr id="37" name="TextBox 36"/>
            <p:cNvSpPr txBox="1"/>
            <p:nvPr/>
          </p:nvSpPr>
          <p:spPr>
            <a:xfrm>
              <a:off x="3459915" y="3634429"/>
              <a:ext cx="93800" cy="292388"/>
            </a:xfrm>
            <a:prstGeom prst="rect">
              <a:avLst/>
            </a:prstGeom>
            <a:noFill/>
          </p:spPr>
          <p:txBody>
            <a:bodyPr wrap="none" lIns="0" tIns="0" rIns="0" bIns="0" rtlCol="0">
              <a:spAutoFit/>
            </a:bodyPr>
            <a:lstStyle/>
            <a:p>
              <a:pPr algn="ctr"/>
              <a:r>
                <a:rPr lang="en-US"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2</a:t>
              </a:r>
            </a:p>
          </p:txBody>
        </p:sp>
      </p:grpSp>
      <p:grpSp>
        <p:nvGrpSpPr>
          <p:cNvPr id="14" name="Group 13"/>
          <p:cNvGrpSpPr/>
          <p:nvPr/>
        </p:nvGrpSpPr>
        <p:grpSpPr>
          <a:xfrm>
            <a:off x="3856223" y="2725824"/>
            <a:ext cx="1384008" cy="1019908"/>
            <a:chOff x="3856220" y="3634429"/>
            <a:chExt cx="1384008" cy="1359877"/>
          </a:xfrm>
        </p:grpSpPr>
        <p:sp>
          <p:nvSpPr>
            <p:cNvPr id="23" name="Rectangle 22"/>
            <p:cNvSpPr/>
            <p:nvPr/>
          </p:nvSpPr>
          <p:spPr bwMode="auto">
            <a:xfrm>
              <a:off x="3856220" y="3634429"/>
              <a:ext cx="1359877" cy="135987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1992" fontAlgn="base">
                <a:spcBef>
                  <a:spcPct val="0"/>
                </a:spcBef>
                <a:spcAft>
                  <a:spcPct val="0"/>
                </a:spcAft>
              </a:pPr>
              <a:endParaRPr lang="en-US" sz="1500" spc="-38" dirty="0">
                <a:gradFill>
                  <a:gsLst>
                    <a:gs pos="0">
                      <a:srgbClr val="FFFFFF"/>
                    </a:gs>
                    <a:gs pos="100000">
                      <a:srgbClr val="FFFFFF"/>
                    </a:gs>
                  </a:gsLst>
                  <a:lin ang="5400000" scaled="0"/>
                </a:gradFill>
                <a:ea typeface="Segoe UI" pitchFamily="34" charset="0"/>
                <a:cs typeface="Segoe UI" pitchFamily="34" charset="0"/>
              </a:endParaRPr>
            </a:p>
          </p:txBody>
        </p:sp>
        <p:sp>
          <p:nvSpPr>
            <p:cNvPr id="33" name="Rectangle 32"/>
            <p:cNvSpPr/>
            <p:nvPr/>
          </p:nvSpPr>
          <p:spPr>
            <a:xfrm>
              <a:off x="3880352" y="4129612"/>
              <a:ext cx="1359876" cy="861774"/>
            </a:xfrm>
            <a:prstGeom prst="rect">
              <a:avLst/>
            </a:prstGeom>
          </p:spPr>
          <p:txBody>
            <a:bodyPr wrap="square">
              <a:spAutoFit/>
            </a:bodyPr>
            <a:lstStyle/>
            <a:p>
              <a:pPr algn="ctr" defTabSz="682069">
                <a:spcAft>
                  <a:spcPts val="225"/>
                </a:spcAft>
                <a:buClr>
                  <a:srgbClr val="00AEEF"/>
                </a:buClr>
                <a:buSzPct val="120000"/>
              </a:pPr>
              <a:r>
                <a:rPr lang="en-US" sz="1200" dirty="0">
                  <a:solidFill>
                    <a:srgbClr val="FFFFFF"/>
                  </a:solidFill>
                </a:rPr>
                <a:t>FAIR SHARE SESSION VIRTUALIZATION</a:t>
              </a:r>
            </a:p>
          </p:txBody>
        </p:sp>
        <p:sp>
          <p:nvSpPr>
            <p:cNvPr id="38" name="Right Triangle 37"/>
            <p:cNvSpPr/>
            <p:nvPr/>
          </p:nvSpPr>
          <p:spPr bwMode="auto">
            <a:xfrm rot="10800000">
              <a:off x="4745245" y="3634429"/>
              <a:ext cx="475488" cy="475488"/>
            </a:xfrm>
            <a:prstGeom prst="rtTriangl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1992" fontAlgn="base">
                <a:spcBef>
                  <a:spcPct val="0"/>
                </a:spcBef>
                <a:spcAft>
                  <a:spcPct val="0"/>
                </a:spcAft>
              </a:pPr>
              <a:endParaRPr lang="en-US" sz="1500" spc="-38" dirty="0">
                <a:gradFill>
                  <a:gsLst>
                    <a:gs pos="0">
                      <a:srgbClr val="FFFFFF"/>
                    </a:gs>
                    <a:gs pos="100000">
                      <a:srgbClr val="FFFFFF"/>
                    </a:gs>
                  </a:gsLst>
                  <a:lin ang="5400000" scaled="0"/>
                </a:gradFill>
                <a:ea typeface="Segoe UI" pitchFamily="34" charset="0"/>
                <a:cs typeface="Segoe UI" pitchFamily="34" charset="0"/>
              </a:endParaRPr>
            </a:p>
          </p:txBody>
        </p:sp>
        <p:sp>
          <p:nvSpPr>
            <p:cNvPr id="39" name="TextBox 38"/>
            <p:cNvSpPr txBox="1"/>
            <p:nvPr/>
          </p:nvSpPr>
          <p:spPr>
            <a:xfrm>
              <a:off x="5063531" y="3634429"/>
              <a:ext cx="93800" cy="292388"/>
            </a:xfrm>
            <a:prstGeom prst="rect">
              <a:avLst/>
            </a:prstGeom>
            <a:noFill/>
          </p:spPr>
          <p:txBody>
            <a:bodyPr wrap="none" lIns="0" tIns="0" rIns="0" bIns="0" rtlCol="0">
              <a:spAutoFit/>
            </a:bodyPr>
            <a:lstStyle/>
            <a:p>
              <a:pPr algn="ctr"/>
              <a:r>
                <a:rPr lang="en-US"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3</a:t>
              </a:r>
            </a:p>
          </p:txBody>
        </p:sp>
      </p:grpSp>
      <p:grpSp>
        <p:nvGrpSpPr>
          <p:cNvPr id="16" name="Group 15"/>
          <p:cNvGrpSpPr/>
          <p:nvPr/>
        </p:nvGrpSpPr>
        <p:grpSpPr>
          <a:xfrm>
            <a:off x="5442141" y="2725824"/>
            <a:ext cx="1359878" cy="1019908"/>
            <a:chOff x="5442142" y="3634429"/>
            <a:chExt cx="1359878" cy="1359877"/>
          </a:xfrm>
        </p:grpSpPr>
        <p:sp>
          <p:nvSpPr>
            <p:cNvPr id="24" name="Rectangle 23"/>
            <p:cNvSpPr/>
            <p:nvPr/>
          </p:nvSpPr>
          <p:spPr bwMode="auto">
            <a:xfrm>
              <a:off x="5442142" y="3634429"/>
              <a:ext cx="1359877" cy="135987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1992" fontAlgn="base">
                <a:spcBef>
                  <a:spcPct val="0"/>
                </a:spcBef>
                <a:spcAft>
                  <a:spcPct val="0"/>
                </a:spcAft>
              </a:pPr>
              <a:endParaRPr lang="en-US" sz="1500" spc="-38" dirty="0">
                <a:gradFill>
                  <a:gsLst>
                    <a:gs pos="0">
                      <a:srgbClr val="FFFFFF"/>
                    </a:gs>
                    <a:gs pos="100000">
                      <a:srgbClr val="FFFFFF"/>
                    </a:gs>
                  </a:gsLst>
                  <a:lin ang="5400000" scaled="0"/>
                </a:gradFill>
                <a:ea typeface="Segoe UI" pitchFamily="34" charset="0"/>
                <a:cs typeface="Segoe UI" pitchFamily="34" charset="0"/>
              </a:endParaRPr>
            </a:p>
          </p:txBody>
        </p:sp>
        <p:sp>
          <p:nvSpPr>
            <p:cNvPr id="40" name="Right Triangle 39"/>
            <p:cNvSpPr/>
            <p:nvPr/>
          </p:nvSpPr>
          <p:spPr bwMode="auto">
            <a:xfrm rot="10800000">
              <a:off x="6326531" y="3634429"/>
              <a:ext cx="475488" cy="475488"/>
            </a:xfrm>
            <a:prstGeom prst="rtTriangl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1992" fontAlgn="base">
                <a:spcBef>
                  <a:spcPct val="0"/>
                </a:spcBef>
                <a:spcAft>
                  <a:spcPct val="0"/>
                </a:spcAft>
              </a:pPr>
              <a:endParaRPr lang="en-US" sz="1500" spc="-38" dirty="0">
                <a:gradFill>
                  <a:gsLst>
                    <a:gs pos="0">
                      <a:srgbClr val="FFFFFF"/>
                    </a:gs>
                    <a:gs pos="100000">
                      <a:srgbClr val="FFFFFF"/>
                    </a:gs>
                  </a:gsLst>
                  <a:lin ang="5400000" scaled="0"/>
                </a:gradFill>
                <a:ea typeface="Segoe UI" pitchFamily="34" charset="0"/>
                <a:cs typeface="Segoe UI" pitchFamily="34" charset="0"/>
              </a:endParaRPr>
            </a:p>
          </p:txBody>
        </p:sp>
        <p:sp>
          <p:nvSpPr>
            <p:cNvPr id="41" name="TextBox 40"/>
            <p:cNvSpPr txBox="1"/>
            <p:nvPr/>
          </p:nvSpPr>
          <p:spPr>
            <a:xfrm>
              <a:off x="6653442" y="3634429"/>
              <a:ext cx="93800" cy="292388"/>
            </a:xfrm>
            <a:prstGeom prst="rect">
              <a:avLst/>
            </a:prstGeom>
            <a:noFill/>
          </p:spPr>
          <p:txBody>
            <a:bodyPr wrap="none" lIns="0" tIns="0" rIns="0" bIns="0" rtlCol="0">
              <a:spAutoFit/>
            </a:bodyPr>
            <a:lstStyle/>
            <a:p>
              <a:pPr algn="ctr"/>
              <a:r>
                <a:rPr lang="en-US"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4</a:t>
              </a:r>
            </a:p>
          </p:txBody>
        </p:sp>
        <p:sp>
          <p:nvSpPr>
            <p:cNvPr id="54" name="Rectangle 53"/>
            <p:cNvSpPr/>
            <p:nvPr/>
          </p:nvSpPr>
          <p:spPr>
            <a:xfrm>
              <a:off x="5442145" y="4278898"/>
              <a:ext cx="1359875" cy="615553"/>
            </a:xfrm>
            <a:prstGeom prst="rect">
              <a:avLst/>
            </a:prstGeom>
          </p:spPr>
          <p:txBody>
            <a:bodyPr wrap="square">
              <a:spAutoFit/>
            </a:bodyPr>
            <a:lstStyle/>
            <a:p>
              <a:pPr algn="ctr"/>
              <a:r>
                <a:rPr lang="en-US" sz="1200" dirty="0">
                  <a:solidFill>
                    <a:srgbClr val="FFFFFF"/>
                  </a:solidFill>
                </a:rPr>
                <a:t>INTELLIGENT PATCHING</a:t>
              </a:r>
            </a:p>
          </p:txBody>
        </p:sp>
      </p:grpSp>
      <p:grpSp>
        <p:nvGrpSpPr>
          <p:cNvPr id="19" name="Group 18"/>
          <p:cNvGrpSpPr/>
          <p:nvPr/>
        </p:nvGrpSpPr>
        <p:grpSpPr>
          <a:xfrm>
            <a:off x="7043150" y="2725824"/>
            <a:ext cx="1359883" cy="1019908"/>
            <a:chOff x="7043115" y="3634429"/>
            <a:chExt cx="1359883" cy="1359877"/>
          </a:xfrm>
        </p:grpSpPr>
        <p:sp>
          <p:nvSpPr>
            <p:cNvPr id="25" name="Rectangle 24"/>
            <p:cNvSpPr/>
            <p:nvPr/>
          </p:nvSpPr>
          <p:spPr bwMode="auto">
            <a:xfrm>
              <a:off x="7043115" y="3634429"/>
              <a:ext cx="1359877" cy="135987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1992" fontAlgn="base">
                <a:spcBef>
                  <a:spcPct val="0"/>
                </a:spcBef>
                <a:spcAft>
                  <a:spcPct val="0"/>
                </a:spcAft>
              </a:pPr>
              <a:endParaRPr lang="en-US" sz="1500" spc="-38" dirty="0">
                <a:gradFill>
                  <a:gsLst>
                    <a:gs pos="0">
                      <a:srgbClr val="FFFFFF"/>
                    </a:gs>
                    <a:gs pos="100000">
                      <a:srgbClr val="FFFFFF"/>
                    </a:gs>
                  </a:gsLst>
                  <a:lin ang="5400000" scaled="0"/>
                </a:gradFill>
                <a:ea typeface="Segoe UI" pitchFamily="34" charset="0"/>
                <a:cs typeface="Segoe UI" pitchFamily="34" charset="0"/>
              </a:endParaRPr>
            </a:p>
          </p:txBody>
        </p:sp>
        <p:sp>
          <p:nvSpPr>
            <p:cNvPr id="50" name="Right Triangle 49"/>
            <p:cNvSpPr/>
            <p:nvPr/>
          </p:nvSpPr>
          <p:spPr bwMode="auto">
            <a:xfrm rot="10800000">
              <a:off x="7927504" y="3634429"/>
              <a:ext cx="475488" cy="475488"/>
            </a:xfrm>
            <a:prstGeom prst="rtTriangl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1992" fontAlgn="base">
                <a:spcBef>
                  <a:spcPct val="0"/>
                </a:spcBef>
                <a:spcAft>
                  <a:spcPct val="0"/>
                </a:spcAft>
              </a:pPr>
              <a:endParaRPr lang="en-US" sz="1500" spc="-38" dirty="0">
                <a:gradFill>
                  <a:gsLst>
                    <a:gs pos="0">
                      <a:srgbClr val="FFFFFF"/>
                    </a:gs>
                    <a:gs pos="100000">
                      <a:srgbClr val="FFFFFF"/>
                    </a:gs>
                  </a:gsLst>
                  <a:lin ang="5400000" scaled="0"/>
                </a:gradFill>
                <a:ea typeface="Segoe UI" pitchFamily="34" charset="0"/>
                <a:cs typeface="Segoe UI" pitchFamily="34" charset="0"/>
              </a:endParaRPr>
            </a:p>
          </p:txBody>
        </p:sp>
        <p:sp>
          <p:nvSpPr>
            <p:cNvPr id="51" name="TextBox 50"/>
            <p:cNvSpPr txBox="1"/>
            <p:nvPr/>
          </p:nvSpPr>
          <p:spPr>
            <a:xfrm>
              <a:off x="8254158" y="3634429"/>
              <a:ext cx="93800" cy="292388"/>
            </a:xfrm>
            <a:prstGeom prst="rect">
              <a:avLst/>
            </a:prstGeom>
            <a:noFill/>
          </p:spPr>
          <p:txBody>
            <a:bodyPr wrap="none" lIns="0" tIns="0" rIns="0" bIns="0" rtlCol="0">
              <a:spAutoFit/>
            </a:bodyPr>
            <a:lstStyle/>
            <a:p>
              <a:pPr algn="ctr"/>
              <a:r>
                <a:rPr lang="en-US"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5</a:t>
              </a:r>
            </a:p>
          </p:txBody>
        </p:sp>
        <p:sp>
          <p:nvSpPr>
            <p:cNvPr id="55" name="Rectangle 54"/>
            <p:cNvSpPr/>
            <p:nvPr/>
          </p:nvSpPr>
          <p:spPr>
            <a:xfrm>
              <a:off x="7043119" y="4302825"/>
              <a:ext cx="1359879" cy="615553"/>
            </a:xfrm>
            <a:prstGeom prst="rect">
              <a:avLst/>
            </a:prstGeom>
          </p:spPr>
          <p:txBody>
            <a:bodyPr wrap="square">
              <a:spAutoFit/>
            </a:bodyPr>
            <a:lstStyle/>
            <a:p>
              <a:pPr algn="ctr"/>
              <a:r>
                <a:rPr lang="en-US" sz="1200" dirty="0">
                  <a:solidFill>
                    <a:srgbClr val="FFFFFF"/>
                  </a:solidFill>
                </a:rPr>
                <a:t>RDS SMART CACHE</a:t>
              </a:r>
            </a:p>
          </p:txBody>
        </p:sp>
      </p:grpSp>
      <p:grpSp>
        <p:nvGrpSpPr>
          <p:cNvPr id="26" name="Group 25"/>
          <p:cNvGrpSpPr/>
          <p:nvPr/>
        </p:nvGrpSpPr>
        <p:grpSpPr>
          <a:xfrm>
            <a:off x="2257279" y="3878934"/>
            <a:ext cx="1359877" cy="1019908"/>
            <a:chOff x="2257242" y="5171911"/>
            <a:chExt cx="1359877" cy="1359877"/>
          </a:xfrm>
        </p:grpSpPr>
        <p:sp>
          <p:nvSpPr>
            <p:cNvPr id="29" name="Rectangle 28"/>
            <p:cNvSpPr/>
            <p:nvPr/>
          </p:nvSpPr>
          <p:spPr bwMode="auto">
            <a:xfrm>
              <a:off x="2257242" y="5171911"/>
              <a:ext cx="1359877" cy="135987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1992" fontAlgn="base">
                <a:spcBef>
                  <a:spcPct val="0"/>
                </a:spcBef>
                <a:spcAft>
                  <a:spcPct val="0"/>
                </a:spcAft>
              </a:pPr>
              <a:endParaRPr lang="en-US" spc="-38" dirty="0">
                <a:gradFill>
                  <a:gsLst>
                    <a:gs pos="0">
                      <a:srgbClr val="FFFFFF"/>
                    </a:gs>
                    <a:gs pos="100000">
                      <a:srgbClr val="FFFFFF"/>
                    </a:gs>
                  </a:gsLst>
                  <a:lin ang="5400000" scaled="0"/>
                </a:gradFill>
                <a:ea typeface="Segoe UI" pitchFamily="34" charset="0"/>
                <a:cs typeface="Segoe UI" pitchFamily="34" charset="0"/>
              </a:endParaRPr>
            </a:p>
          </p:txBody>
        </p:sp>
        <p:sp>
          <p:nvSpPr>
            <p:cNvPr id="44" name="Right Triangle 43"/>
            <p:cNvSpPr/>
            <p:nvPr/>
          </p:nvSpPr>
          <p:spPr bwMode="auto">
            <a:xfrm rot="10800000">
              <a:off x="3141630" y="5171911"/>
              <a:ext cx="475488" cy="475488"/>
            </a:xfrm>
            <a:prstGeom prst="rtTriangl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1992" fontAlgn="base">
                <a:spcBef>
                  <a:spcPct val="0"/>
                </a:spcBef>
                <a:spcAft>
                  <a:spcPct val="0"/>
                </a:spcAft>
              </a:pPr>
              <a:endParaRPr lang="en-US" sz="1500" spc="-38" dirty="0">
                <a:gradFill>
                  <a:gsLst>
                    <a:gs pos="0">
                      <a:srgbClr val="FFFFFF"/>
                    </a:gs>
                    <a:gs pos="100000">
                      <a:srgbClr val="FFFFFF"/>
                    </a:gs>
                  </a:gsLst>
                  <a:lin ang="5400000" scaled="0"/>
                </a:gradFill>
                <a:ea typeface="Segoe UI" pitchFamily="34" charset="0"/>
                <a:cs typeface="Segoe UI" pitchFamily="34" charset="0"/>
              </a:endParaRPr>
            </a:p>
          </p:txBody>
        </p:sp>
        <p:sp>
          <p:nvSpPr>
            <p:cNvPr id="57" name="Rectangle 56"/>
            <p:cNvSpPr/>
            <p:nvPr/>
          </p:nvSpPr>
          <p:spPr>
            <a:xfrm>
              <a:off x="2257242" y="5788070"/>
              <a:ext cx="1359877" cy="615553"/>
            </a:xfrm>
            <a:prstGeom prst="rect">
              <a:avLst/>
            </a:prstGeom>
          </p:spPr>
          <p:txBody>
            <a:bodyPr wrap="square">
              <a:spAutoFit/>
            </a:bodyPr>
            <a:lstStyle/>
            <a:p>
              <a:pPr algn="ctr"/>
              <a:r>
                <a:rPr lang="en-US" sz="1200" dirty="0">
                  <a:solidFill>
                    <a:srgbClr val="FFFFFF"/>
                  </a:solidFill>
                </a:rPr>
                <a:t>CONCURRENT REDIRECT</a:t>
              </a:r>
            </a:p>
          </p:txBody>
        </p:sp>
        <p:sp>
          <p:nvSpPr>
            <p:cNvPr id="45" name="TextBox 44"/>
            <p:cNvSpPr txBox="1"/>
            <p:nvPr/>
          </p:nvSpPr>
          <p:spPr>
            <a:xfrm>
              <a:off x="3459916" y="5171911"/>
              <a:ext cx="93800" cy="292388"/>
            </a:xfrm>
            <a:prstGeom prst="rect">
              <a:avLst/>
            </a:prstGeom>
            <a:noFill/>
          </p:spPr>
          <p:txBody>
            <a:bodyPr wrap="none" lIns="0" tIns="0" rIns="0" bIns="0" rtlCol="0">
              <a:spAutoFit/>
            </a:bodyPr>
            <a:lstStyle/>
            <a:p>
              <a:pPr algn="ctr"/>
              <a:r>
                <a:rPr lang="en-US"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7</a:t>
              </a:r>
            </a:p>
          </p:txBody>
        </p:sp>
      </p:grpSp>
      <p:grpSp>
        <p:nvGrpSpPr>
          <p:cNvPr id="27" name="Group 26"/>
          <p:cNvGrpSpPr/>
          <p:nvPr/>
        </p:nvGrpSpPr>
        <p:grpSpPr>
          <a:xfrm>
            <a:off x="3856221" y="3878936"/>
            <a:ext cx="1364514" cy="1042991"/>
            <a:chOff x="3856221" y="5171911"/>
            <a:chExt cx="1364514" cy="1390654"/>
          </a:xfrm>
        </p:grpSpPr>
        <p:sp>
          <p:nvSpPr>
            <p:cNvPr id="30" name="Rectangle 29"/>
            <p:cNvSpPr/>
            <p:nvPr/>
          </p:nvSpPr>
          <p:spPr bwMode="auto">
            <a:xfrm>
              <a:off x="3856221" y="5171911"/>
              <a:ext cx="1359877" cy="135987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1992" fontAlgn="base">
                <a:spcBef>
                  <a:spcPct val="0"/>
                </a:spcBef>
                <a:spcAft>
                  <a:spcPct val="0"/>
                </a:spcAft>
              </a:pPr>
              <a:endParaRPr lang="en-US" spc="-38" dirty="0">
                <a:gradFill>
                  <a:gsLst>
                    <a:gs pos="0">
                      <a:srgbClr val="FFFFFF"/>
                    </a:gs>
                    <a:gs pos="100000">
                      <a:srgbClr val="FFFFFF"/>
                    </a:gs>
                  </a:gsLst>
                  <a:lin ang="5400000" scaled="0"/>
                </a:gradFill>
                <a:ea typeface="Segoe UI" pitchFamily="34" charset="0"/>
                <a:cs typeface="Segoe UI" pitchFamily="34" charset="0"/>
              </a:endParaRPr>
            </a:p>
          </p:txBody>
        </p:sp>
        <p:sp>
          <p:nvSpPr>
            <p:cNvPr id="46" name="Right Triangle 45"/>
            <p:cNvSpPr/>
            <p:nvPr/>
          </p:nvSpPr>
          <p:spPr bwMode="auto">
            <a:xfrm rot="10800000">
              <a:off x="4745245" y="5171911"/>
              <a:ext cx="475488" cy="475488"/>
            </a:xfrm>
            <a:prstGeom prst="rtTriangl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1992" fontAlgn="base">
                <a:spcBef>
                  <a:spcPct val="0"/>
                </a:spcBef>
                <a:spcAft>
                  <a:spcPct val="0"/>
                </a:spcAft>
              </a:pPr>
              <a:endParaRPr lang="en-US" sz="1500" spc="-38" dirty="0">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57"/>
            <p:cNvSpPr/>
            <p:nvPr/>
          </p:nvSpPr>
          <p:spPr>
            <a:xfrm>
              <a:off x="3856222" y="5700791"/>
              <a:ext cx="1364513" cy="861774"/>
            </a:xfrm>
            <a:prstGeom prst="rect">
              <a:avLst/>
            </a:prstGeom>
          </p:spPr>
          <p:txBody>
            <a:bodyPr wrap="square">
              <a:spAutoFit/>
            </a:bodyPr>
            <a:lstStyle/>
            <a:p>
              <a:pPr algn="ctr"/>
              <a:r>
                <a:rPr lang="en-US" sz="1200" dirty="0">
                  <a:solidFill>
                    <a:srgbClr val="FFFFFF"/>
                  </a:solidFill>
                </a:rPr>
                <a:t>REMOTE FX ADAPTIVE GRPHICS</a:t>
              </a:r>
            </a:p>
          </p:txBody>
        </p:sp>
        <p:sp>
          <p:nvSpPr>
            <p:cNvPr id="47" name="TextBox 46"/>
            <p:cNvSpPr txBox="1"/>
            <p:nvPr/>
          </p:nvSpPr>
          <p:spPr>
            <a:xfrm>
              <a:off x="5063530" y="5171911"/>
              <a:ext cx="93800" cy="292388"/>
            </a:xfrm>
            <a:prstGeom prst="rect">
              <a:avLst/>
            </a:prstGeom>
            <a:noFill/>
          </p:spPr>
          <p:txBody>
            <a:bodyPr wrap="none" lIns="0" tIns="0" rIns="0" bIns="0" rtlCol="0">
              <a:spAutoFit/>
            </a:bodyPr>
            <a:lstStyle/>
            <a:p>
              <a:pPr algn="ctr"/>
              <a:r>
                <a:rPr lang="en-US"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8</a:t>
              </a:r>
            </a:p>
          </p:txBody>
        </p:sp>
      </p:grpSp>
      <p:grpSp>
        <p:nvGrpSpPr>
          <p:cNvPr id="61" name="Group 60"/>
          <p:cNvGrpSpPr/>
          <p:nvPr/>
        </p:nvGrpSpPr>
        <p:grpSpPr>
          <a:xfrm>
            <a:off x="5442143" y="3878934"/>
            <a:ext cx="1367611" cy="1019908"/>
            <a:chOff x="5442143" y="5171911"/>
            <a:chExt cx="1367612" cy="1359877"/>
          </a:xfrm>
        </p:grpSpPr>
        <p:sp>
          <p:nvSpPr>
            <p:cNvPr id="31" name="Rectangle 30"/>
            <p:cNvSpPr/>
            <p:nvPr/>
          </p:nvSpPr>
          <p:spPr bwMode="auto">
            <a:xfrm>
              <a:off x="5442143" y="5171911"/>
              <a:ext cx="1359877" cy="135987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1992" fontAlgn="base">
                <a:spcBef>
                  <a:spcPct val="0"/>
                </a:spcBef>
                <a:spcAft>
                  <a:spcPct val="0"/>
                </a:spcAft>
              </a:pPr>
              <a:endParaRPr lang="en-US" spc="-38" dirty="0">
                <a:gradFill>
                  <a:gsLst>
                    <a:gs pos="0">
                      <a:srgbClr val="FFFFFF"/>
                    </a:gs>
                    <a:gs pos="100000">
                      <a:srgbClr val="FFFFFF"/>
                    </a:gs>
                  </a:gsLst>
                  <a:lin ang="5400000" scaled="0"/>
                </a:gradFill>
                <a:ea typeface="Segoe UI" pitchFamily="34" charset="0"/>
                <a:cs typeface="Segoe UI" pitchFamily="34" charset="0"/>
              </a:endParaRPr>
            </a:p>
          </p:txBody>
        </p:sp>
        <p:sp>
          <p:nvSpPr>
            <p:cNvPr id="48" name="Right Triangle 47"/>
            <p:cNvSpPr/>
            <p:nvPr/>
          </p:nvSpPr>
          <p:spPr bwMode="auto">
            <a:xfrm rot="10800000">
              <a:off x="6326531" y="5171911"/>
              <a:ext cx="475488" cy="475488"/>
            </a:xfrm>
            <a:prstGeom prst="rtTriangl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1992" fontAlgn="base">
                <a:spcBef>
                  <a:spcPct val="0"/>
                </a:spcBef>
                <a:spcAft>
                  <a:spcPct val="0"/>
                </a:spcAft>
              </a:pPr>
              <a:endParaRPr lang="en-US" sz="1500" spc="-38" dirty="0">
                <a:gradFill>
                  <a:gsLst>
                    <a:gs pos="0">
                      <a:srgbClr val="FFFFFF"/>
                    </a:gs>
                    <a:gs pos="100000">
                      <a:srgbClr val="FFFFFF"/>
                    </a:gs>
                  </a:gsLst>
                  <a:lin ang="5400000" scaled="0"/>
                </a:gradFill>
                <a:ea typeface="Segoe UI" pitchFamily="34" charset="0"/>
                <a:cs typeface="Segoe UI" pitchFamily="34" charset="0"/>
              </a:endParaRPr>
            </a:p>
          </p:txBody>
        </p:sp>
        <p:sp>
          <p:nvSpPr>
            <p:cNvPr id="59" name="Rectangle 58"/>
            <p:cNvSpPr/>
            <p:nvPr/>
          </p:nvSpPr>
          <p:spPr>
            <a:xfrm>
              <a:off x="5449357" y="5721756"/>
              <a:ext cx="1360398" cy="615553"/>
            </a:xfrm>
            <a:prstGeom prst="rect">
              <a:avLst/>
            </a:prstGeom>
          </p:spPr>
          <p:txBody>
            <a:bodyPr wrap="square">
              <a:spAutoFit/>
            </a:bodyPr>
            <a:lstStyle/>
            <a:p>
              <a:pPr algn="ctr">
                <a:spcAft>
                  <a:spcPts val="225"/>
                </a:spcAft>
              </a:pPr>
              <a:r>
                <a:rPr lang="en-US" sz="1200" dirty="0">
                  <a:solidFill>
                    <a:srgbClr val="FFFFFF"/>
                  </a:solidFill>
                </a:rPr>
                <a:t>REMOTE FX OVER WAN</a:t>
              </a:r>
            </a:p>
          </p:txBody>
        </p:sp>
        <p:sp>
          <p:nvSpPr>
            <p:cNvPr id="49" name="TextBox 48"/>
            <p:cNvSpPr txBox="1"/>
            <p:nvPr/>
          </p:nvSpPr>
          <p:spPr>
            <a:xfrm>
              <a:off x="6653443" y="5171911"/>
              <a:ext cx="93800" cy="292388"/>
            </a:xfrm>
            <a:prstGeom prst="rect">
              <a:avLst/>
            </a:prstGeom>
            <a:noFill/>
          </p:spPr>
          <p:txBody>
            <a:bodyPr wrap="none" lIns="0" tIns="0" rIns="0" bIns="0" rtlCol="0">
              <a:spAutoFit/>
            </a:bodyPr>
            <a:lstStyle/>
            <a:p>
              <a:pPr algn="ctr"/>
              <a:r>
                <a:rPr lang="en-US"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9</a:t>
              </a:r>
            </a:p>
          </p:txBody>
        </p:sp>
      </p:grpSp>
      <p:grpSp>
        <p:nvGrpSpPr>
          <p:cNvPr id="64" name="Group 63"/>
          <p:cNvGrpSpPr/>
          <p:nvPr/>
        </p:nvGrpSpPr>
        <p:grpSpPr>
          <a:xfrm>
            <a:off x="7043118" y="3878936"/>
            <a:ext cx="1359879" cy="1028729"/>
            <a:chOff x="7043115" y="5171911"/>
            <a:chExt cx="1359879" cy="1371638"/>
          </a:xfrm>
        </p:grpSpPr>
        <p:sp>
          <p:nvSpPr>
            <p:cNvPr id="32" name="Rectangle 31"/>
            <p:cNvSpPr/>
            <p:nvPr/>
          </p:nvSpPr>
          <p:spPr bwMode="auto">
            <a:xfrm>
              <a:off x="7043115" y="5171911"/>
              <a:ext cx="1359877" cy="135987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1992" fontAlgn="base">
                <a:spcBef>
                  <a:spcPct val="0"/>
                </a:spcBef>
                <a:spcAft>
                  <a:spcPct val="0"/>
                </a:spcAft>
              </a:pPr>
              <a:endParaRPr lang="en-US" spc="-38" dirty="0">
                <a:gradFill>
                  <a:gsLst>
                    <a:gs pos="0">
                      <a:srgbClr val="FFFFFF"/>
                    </a:gs>
                    <a:gs pos="100000">
                      <a:srgbClr val="FFFFFF"/>
                    </a:gs>
                  </a:gsLst>
                  <a:lin ang="5400000" scaled="0"/>
                </a:gradFill>
                <a:ea typeface="Segoe UI" pitchFamily="34" charset="0"/>
                <a:cs typeface="Segoe UI" pitchFamily="34" charset="0"/>
              </a:endParaRPr>
            </a:p>
          </p:txBody>
        </p:sp>
        <p:sp>
          <p:nvSpPr>
            <p:cNvPr id="52" name="Right Triangle 51"/>
            <p:cNvSpPr/>
            <p:nvPr/>
          </p:nvSpPr>
          <p:spPr bwMode="auto">
            <a:xfrm rot="10800000">
              <a:off x="7927504" y="5171911"/>
              <a:ext cx="475488" cy="475488"/>
            </a:xfrm>
            <a:prstGeom prst="rtTriangl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1992" fontAlgn="base">
                <a:spcBef>
                  <a:spcPct val="0"/>
                </a:spcBef>
                <a:spcAft>
                  <a:spcPct val="0"/>
                </a:spcAft>
              </a:pPr>
              <a:endParaRPr lang="en-US" sz="1500" spc="-38" dirty="0">
                <a:gradFill>
                  <a:gsLst>
                    <a:gs pos="0">
                      <a:srgbClr val="FFFFFF"/>
                    </a:gs>
                    <a:gs pos="100000">
                      <a:srgbClr val="FFFFFF"/>
                    </a:gs>
                  </a:gsLst>
                  <a:lin ang="5400000" scaled="0"/>
                </a:gradFill>
                <a:ea typeface="Segoe UI" pitchFamily="34" charset="0"/>
                <a:cs typeface="Segoe UI" pitchFamily="34" charset="0"/>
              </a:endParaRPr>
            </a:p>
          </p:txBody>
        </p:sp>
        <p:sp>
          <p:nvSpPr>
            <p:cNvPr id="60" name="Rectangle 59"/>
            <p:cNvSpPr/>
            <p:nvPr/>
          </p:nvSpPr>
          <p:spPr>
            <a:xfrm>
              <a:off x="7043117" y="5681775"/>
              <a:ext cx="1359877" cy="861774"/>
            </a:xfrm>
            <a:prstGeom prst="rect">
              <a:avLst/>
            </a:prstGeom>
          </p:spPr>
          <p:txBody>
            <a:bodyPr wrap="square">
              <a:spAutoFit/>
            </a:bodyPr>
            <a:lstStyle/>
            <a:p>
              <a:pPr algn="ctr"/>
              <a:r>
                <a:rPr lang="en-US" sz="1200" dirty="0">
                  <a:solidFill>
                    <a:srgbClr val="FFFFFF"/>
                  </a:solidFill>
                </a:rPr>
                <a:t>REMOTE FX USB REDIRECTION &amp; TOUCH</a:t>
              </a:r>
            </a:p>
          </p:txBody>
        </p:sp>
        <p:sp>
          <p:nvSpPr>
            <p:cNvPr id="53" name="TextBox 52"/>
            <p:cNvSpPr txBox="1"/>
            <p:nvPr/>
          </p:nvSpPr>
          <p:spPr>
            <a:xfrm>
              <a:off x="8158810" y="5171911"/>
              <a:ext cx="187600" cy="292388"/>
            </a:xfrm>
            <a:prstGeom prst="rect">
              <a:avLst/>
            </a:prstGeom>
            <a:noFill/>
          </p:spPr>
          <p:txBody>
            <a:bodyPr wrap="none" lIns="0" tIns="0" rIns="0" bIns="0" rtlCol="0">
              <a:spAutoFit/>
            </a:bodyPr>
            <a:lstStyle/>
            <a:p>
              <a:pPr algn="ctr"/>
              <a:r>
                <a:rPr lang="en-US"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10</a:t>
              </a:r>
            </a:p>
          </p:txBody>
        </p:sp>
      </p:grpSp>
      <p:sp>
        <p:nvSpPr>
          <p:cNvPr id="74" name="Rectangle 73"/>
          <p:cNvSpPr/>
          <p:nvPr/>
        </p:nvSpPr>
        <p:spPr bwMode="auto">
          <a:xfrm>
            <a:off x="591881" y="730144"/>
            <a:ext cx="1197584" cy="96058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233" tIns="34117" rIns="34117" bIns="68233" numCol="1" spcCol="0" rtlCol="0" fromWordArt="0" anchor="b" anchorCtr="0" forceAA="0" compatLnSpc="1">
            <a:prstTxWarp prst="textNoShape">
              <a:avLst/>
            </a:prstTxWarp>
            <a:noAutofit/>
          </a:bodyPr>
          <a:lstStyle/>
          <a:p>
            <a:pPr defTabSz="811986" fontAlgn="base">
              <a:spcBef>
                <a:spcPct val="50000"/>
              </a:spcBef>
              <a:spcAft>
                <a:spcPct val="0"/>
              </a:spcAft>
            </a:pPr>
            <a:endParaRPr lang="en-US" dirty="0">
              <a:solidFill>
                <a:srgbClr val="FFFFFF"/>
              </a:solidFill>
            </a:endParaRPr>
          </a:p>
        </p:txBody>
      </p:sp>
      <p:pic>
        <p:nvPicPr>
          <p:cNvPr id="75" name="Picture 30" descr="building"/>
          <p:cNvPicPr>
            <a:picLocks noChangeAspect="1" noChangeArrowheads="1"/>
          </p:cNvPicPr>
          <p:nvPr/>
        </p:nvPicPr>
        <p:blipFill>
          <a:blip r:embed="rId3" cstate="email"/>
          <a:srcRect/>
          <a:stretch>
            <a:fillRect/>
          </a:stretch>
        </p:blipFill>
        <p:spPr bwMode="auto">
          <a:xfrm>
            <a:off x="1258456" y="780950"/>
            <a:ext cx="471263" cy="498575"/>
          </a:xfrm>
          <a:prstGeom prst="rect">
            <a:avLst/>
          </a:prstGeom>
          <a:noFill/>
          <a:ln w="9525">
            <a:noFill/>
            <a:miter lim="800000"/>
            <a:headEnd/>
            <a:tailEnd/>
          </a:ln>
        </p:spPr>
      </p:pic>
      <p:pic>
        <p:nvPicPr>
          <p:cNvPr id="76" name="Picture 31" descr="person"/>
          <p:cNvPicPr>
            <a:picLocks noChangeAspect="1" noChangeArrowheads="1"/>
          </p:cNvPicPr>
          <p:nvPr/>
        </p:nvPicPr>
        <p:blipFill>
          <a:blip r:embed="rId4" cstate="email"/>
          <a:srcRect/>
          <a:stretch>
            <a:fillRect/>
          </a:stretch>
        </p:blipFill>
        <p:spPr bwMode="auto">
          <a:xfrm>
            <a:off x="806717" y="801860"/>
            <a:ext cx="338419" cy="831327"/>
          </a:xfrm>
          <a:prstGeom prst="rect">
            <a:avLst/>
          </a:prstGeom>
          <a:noFill/>
          <a:ln w="9525">
            <a:noFill/>
            <a:miter lim="800000"/>
            <a:headEnd/>
            <a:tailEnd/>
          </a:ln>
        </p:spPr>
      </p:pic>
      <p:pic>
        <p:nvPicPr>
          <p:cNvPr id="77" name="Picture 2" descr="\\MAGNUM\Projects\Microsoft\Journey to the Cloud Campaign\Design\Assets\Flexible.png"/>
          <p:cNvPicPr>
            <a:picLocks noChangeAspect="1" noChangeArrowheads="1"/>
          </p:cNvPicPr>
          <p:nvPr/>
        </p:nvPicPr>
        <p:blipFill>
          <a:blip r:embed="rId5" cstate="email">
            <a:lum bright="100000"/>
          </a:blip>
          <a:srcRect/>
          <a:stretch>
            <a:fillRect/>
          </a:stretch>
        </p:blipFill>
        <p:spPr bwMode="auto">
          <a:xfrm>
            <a:off x="1279921" y="1308218"/>
            <a:ext cx="453452" cy="404560"/>
          </a:xfrm>
          <a:prstGeom prst="rect">
            <a:avLst/>
          </a:prstGeom>
          <a:noFill/>
          <a:ln w="9525">
            <a:noFill/>
            <a:miter lim="800000"/>
            <a:headEnd/>
            <a:tailEnd/>
          </a:ln>
        </p:spPr>
      </p:pic>
      <p:grpSp>
        <p:nvGrpSpPr>
          <p:cNvPr id="4" name="Group 3"/>
          <p:cNvGrpSpPr/>
          <p:nvPr/>
        </p:nvGrpSpPr>
        <p:grpSpPr>
          <a:xfrm>
            <a:off x="667332" y="3878934"/>
            <a:ext cx="1359880" cy="1019908"/>
            <a:chOff x="889544" y="5171912"/>
            <a:chExt cx="1812701" cy="1359877"/>
          </a:xfrm>
        </p:grpSpPr>
        <p:grpSp>
          <p:nvGrpSpPr>
            <p:cNvPr id="20" name="Group 19"/>
            <p:cNvGrpSpPr/>
            <p:nvPr/>
          </p:nvGrpSpPr>
          <p:grpSpPr>
            <a:xfrm>
              <a:off x="889544" y="5171912"/>
              <a:ext cx="1812700" cy="1359877"/>
              <a:chOff x="667331" y="5171911"/>
              <a:chExt cx="1359879" cy="1359877"/>
            </a:xfrm>
          </p:grpSpPr>
          <p:sp>
            <p:nvSpPr>
              <p:cNvPr id="28" name="Rectangle 27"/>
              <p:cNvSpPr/>
              <p:nvPr/>
            </p:nvSpPr>
            <p:spPr bwMode="auto">
              <a:xfrm>
                <a:off x="667331" y="5171911"/>
                <a:ext cx="1359877" cy="135987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1992" fontAlgn="base">
                  <a:spcBef>
                    <a:spcPct val="0"/>
                  </a:spcBef>
                  <a:spcAft>
                    <a:spcPct val="0"/>
                  </a:spcAft>
                </a:pPr>
                <a:endParaRPr lang="en-US" spc="-38" dirty="0">
                  <a:gradFill>
                    <a:gsLst>
                      <a:gs pos="0">
                        <a:srgbClr val="FFFFFF"/>
                      </a:gs>
                      <a:gs pos="100000">
                        <a:srgbClr val="FFFFFF"/>
                      </a:gs>
                    </a:gsLst>
                    <a:lin ang="5400000" scaled="0"/>
                  </a:gradFill>
                  <a:ea typeface="Segoe UI" pitchFamily="34" charset="0"/>
                  <a:cs typeface="Segoe UI" pitchFamily="34" charset="0"/>
                </a:endParaRPr>
              </a:p>
            </p:txBody>
          </p:sp>
          <p:sp>
            <p:nvSpPr>
              <p:cNvPr id="42" name="Right Triangle 41"/>
              <p:cNvSpPr/>
              <p:nvPr/>
            </p:nvSpPr>
            <p:spPr bwMode="auto">
              <a:xfrm rot="10800000">
                <a:off x="1551719" y="5171911"/>
                <a:ext cx="475488" cy="475488"/>
              </a:xfrm>
              <a:prstGeom prst="rtTriangl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1992" fontAlgn="base">
                  <a:spcBef>
                    <a:spcPct val="0"/>
                  </a:spcBef>
                  <a:spcAft>
                    <a:spcPct val="0"/>
                  </a:spcAft>
                </a:pPr>
                <a:endParaRPr lang="en-US" sz="1500" spc="-38" dirty="0">
                  <a:gradFill>
                    <a:gsLst>
                      <a:gs pos="0">
                        <a:srgbClr val="FFFFFF"/>
                      </a:gs>
                      <a:gs pos="100000">
                        <a:srgbClr val="FFFFFF"/>
                      </a:gs>
                    </a:gsLst>
                    <a:lin ang="5400000" scaled="0"/>
                  </a:gradFill>
                  <a:ea typeface="Segoe UI" pitchFamily="34" charset="0"/>
                  <a:cs typeface="Segoe UI" pitchFamily="34" charset="0"/>
                </a:endParaRPr>
              </a:p>
            </p:txBody>
          </p:sp>
          <p:sp>
            <p:nvSpPr>
              <p:cNvPr id="56" name="Rectangle 55"/>
              <p:cNvSpPr/>
              <p:nvPr/>
            </p:nvSpPr>
            <p:spPr>
              <a:xfrm>
                <a:off x="667331" y="5675590"/>
                <a:ext cx="1359879" cy="369332"/>
              </a:xfrm>
              <a:prstGeom prst="rect">
                <a:avLst/>
              </a:prstGeom>
            </p:spPr>
            <p:txBody>
              <a:bodyPr wrap="square">
                <a:spAutoFit/>
              </a:bodyPr>
              <a:lstStyle/>
              <a:p>
                <a:pPr algn="ctr"/>
                <a:endParaRPr lang="en-US" sz="1200" dirty="0">
                  <a:solidFill>
                    <a:srgbClr val="FFFFFF"/>
                  </a:solidFill>
                </a:endParaRPr>
              </a:p>
            </p:txBody>
          </p:sp>
          <p:sp>
            <p:nvSpPr>
              <p:cNvPr id="43" name="TextBox 42"/>
              <p:cNvSpPr txBox="1"/>
              <p:nvPr/>
            </p:nvSpPr>
            <p:spPr>
              <a:xfrm>
                <a:off x="1874374" y="5171911"/>
                <a:ext cx="93800" cy="292388"/>
              </a:xfrm>
              <a:prstGeom prst="rect">
                <a:avLst/>
              </a:prstGeom>
              <a:noFill/>
            </p:spPr>
            <p:txBody>
              <a:bodyPr wrap="none" lIns="0" tIns="0" rIns="0" bIns="0" rtlCol="0">
                <a:spAutoFit/>
              </a:bodyPr>
              <a:lstStyle/>
              <a:p>
                <a:pPr algn="ctr"/>
                <a:r>
                  <a:rPr lang="en-US" dirty="0" smtClean="0">
                    <a:gradFill>
                      <a:gsLst>
                        <a:gs pos="0">
                          <a:srgbClr val="FFFFFF">
                            <a:lumMod val="75000"/>
                            <a:lumOff val="25000"/>
                          </a:srgbClr>
                        </a:gs>
                        <a:gs pos="80000">
                          <a:srgbClr val="FFFFFF">
                            <a:lumMod val="65000"/>
                            <a:lumOff val="35000"/>
                          </a:srgbClr>
                        </a:gs>
                      </a:gsLst>
                      <a:lin ang="16200000" scaled="0"/>
                    </a:gradFill>
                    <a:latin typeface="Segoe UI Light" pitchFamily="34" charset="0"/>
                  </a:rPr>
                  <a:t>6</a:t>
                </a:r>
              </a:p>
            </p:txBody>
          </p:sp>
        </p:grpSp>
        <p:sp>
          <p:nvSpPr>
            <p:cNvPr id="78" name="Rectangle 77"/>
            <p:cNvSpPr/>
            <p:nvPr/>
          </p:nvSpPr>
          <p:spPr>
            <a:xfrm>
              <a:off x="889548" y="5788071"/>
              <a:ext cx="1812697" cy="615553"/>
            </a:xfrm>
            <a:prstGeom prst="rect">
              <a:avLst/>
            </a:prstGeom>
          </p:spPr>
          <p:txBody>
            <a:bodyPr wrap="square">
              <a:spAutoFit/>
            </a:bodyPr>
            <a:lstStyle/>
            <a:p>
              <a:pPr algn="ctr"/>
              <a:r>
                <a:rPr lang="en-US" sz="1200" dirty="0">
                  <a:solidFill>
                    <a:srgbClr val="FFFFFF"/>
                  </a:solidFill>
                </a:rPr>
                <a:t>QUICK VDI WIZARD</a:t>
              </a:r>
            </a:p>
          </p:txBody>
        </p:sp>
      </p:grpSp>
      <p:sp>
        <p:nvSpPr>
          <p:cNvPr id="62" name="Rectangle 37"/>
          <p:cNvSpPr>
            <a:spLocks noChangeArrowheads="1"/>
          </p:cNvSpPr>
          <p:nvPr/>
        </p:nvSpPr>
        <p:spPr bwMode="auto">
          <a:xfrm>
            <a:off x="1976899" y="730143"/>
            <a:ext cx="6426134" cy="960583"/>
          </a:xfrm>
          <a:prstGeom prst="rect">
            <a:avLst/>
          </a:prstGeom>
          <a:solidFill>
            <a:schemeClr val="bg1"/>
          </a:solidFill>
        </p:spPr>
        <p:txBody>
          <a:bodyPr wrap="square" lIns="137172" tIns="0" rIns="137172" bIns="68586" anchor="b">
            <a:noAutofit/>
          </a:bodyPr>
          <a:lstStyle/>
          <a:p>
            <a:pPr marL="257198" indent="-257198">
              <a:lnSpc>
                <a:spcPct val="90000"/>
              </a:lnSpc>
              <a:buFont typeface="Arial" pitchFamily="34" charset="0"/>
              <a:buChar char="•"/>
            </a:pPr>
            <a:r>
              <a:rPr lang="en-US" spc="-38" dirty="0">
                <a:gradFill>
                  <a:gsLst>
                    <a:gs pos="2917">
                      <a:schemeClr val="tx1"/>
                    </a:gs>
                    <a:gs pos="30000">
                      <a:schemeClr val="tx1"/>
                    </a:gs>
                  </a:gsLst>
                  <a:lin ang="5400000" scaled="0"/>
                </a:gradFill>
              </a:rPr>
              <a:t>Access virtually anywhere, on any device</a:t>
            </a:r>
          </a:p>
          <a:p>
            <a:pPr marL="257198" indent="-257198">
              <a:lnSpc>
                <a:spcPct val="90000"/>
              </a:lnSpc>
              <a:buFont typeface="Arial" pitchFamily="34" charset="0"/>
              <a:buChar char="•"/>
            </a:pPr>
            <a:r>
              <a:rPr lang="en-US" spc="-38" dirty="0">
                <a:gradFill>
                  <a:gsLst>
                    <a:gs pos="2917">
                      <a:schemeClr val="tx1"/>
                    </a:gs>
                    <a:gs pos="30000">
                      <a:schemeClr val="tx1"/>
                    </a:gs>
                  </a:gsLst>
                  <a:lin ang="5400000" scaled="0"/>
                </a:gradFill>
              </a:rPr>
              <a:t>Full Windows experience anywhere</a:t>
            </a:r>
          </a:p>
          <a:p>
            <a:pPr marL="257198" indent="-257198">
              <a:lnSpc>
                <a:spcPct val="90000"/>
              </a:lnSpc>
              <a:buFont typeface="Arial" pitchFamily="34" charset="0"/>
              <a:buChar char="•"/>
            </a:pPr>
            <a:r>
              <a:rPr lang="en-US" spc="-38" dirty="0">
                <a:gradFill>
                  <a:gsLst>
                    <a:gs pos="2917">
                      <a:schemeClr val="tx1"/>
                    </a:gs>
                    <a:gs pos="30000">
                      <a:schemeClr val="tx1"/>
                    </a:gs>
                  </a:gsLst>
                  <a:lin ang="5400000" scaled="0"/>
                </a:gradFill>
              </a:rPr>
              <a:t>Enhanced data security and compliance</a:t>
            </a:r>
          </a:p>
          <a:p>
            <a:pPr>
              <a:lnSpc>
                <a:spcPct val="90000"/>
              </a:lnSpc>
            </a:pPr>
            <a:endParaRPr lang="en-US" spc="-38" dirty="0">
              <a:gradFill>
                <a:gsLst>
                  <a:gs pos="2917">
                    <a:schemeClr val="tx1"/>
                  </a:gs>
                  <a:gs pos="30000">
                    <a:schemeClr val="tx1"/>
                  </a:gs>
                </a:gsLst>
                <a:lin ang="5400000" scaled="0"/>
              </a:gradFill>
            </a:endParaRPr>
          </a:p>
        </p:txBody>
      </p:sp>
      <p:sp>
        <p:nvSpPr>
          <p:cNvPr id="63" name="Rectangle 62"/>
          <p:cNvSpPr/>
          <p:nvPr/>
        </p:nvSpPr>
        <p:spPr bwMode="auto">
          <a:xfrm>
            <a:off x="591879" y="1885804"/>
            <a:ext cx="7811115" cy="268250"/>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defTabSz="681958" fontAlgn="base">
              <a:spcBef>
                <a:spcPct val="0"/>
              </a:spcBef>
              <a:spcAft>
                <a:spcPct val="0"/>
              </a:spcAft>
            </a:pPr>
            <a:r>
              <a:rPr lang="en-US" b="1" spc="-38" dirty="0">
                <a:solidFill>
                  <a:schemeClr val="bg1">
                    <a:lumMod val="50000"/>
                  </a:schemeClr>
                </a:solidFill>
                <a:latin typeface="Segoe UI Light"/>
                <a:ea typeface="Segoe UI" pitchFamily="34" charset="0"/>
                <a:cs typeface="Segoe UI" pitchFamily="34" charset="0"/>
              </a:rPr>
              <a:t>TOP FEATURES FOR VDI</a:t>
            </a:r>
          </a:p>
        </p:txBody>
      </p:sp>
      <p:sp>
        <p:nvSpPr>
          <p:cNvPr id="65"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66"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6"/>
              </a:rPr>
              <a:t>www.rapidbbs.cn</a:t>
            </a:r>
            <a:endParaRPr lang="zh-CN" altLang="en-US" sz="1200" b="0">
              <a:latin typeface="Arial" charset="0"/>
              <a:ea typeface="ＭＳ Ｐゴシック" pitchFamily="34" charset="-128"/>
            </a:endParaRPr>
          </a:p>
        </p:txBody>
      </p:sp>
      <p:pic>
        <p:nvPicPr>
          <p:cNvPr id="67" name="Picture 2">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7373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6"/>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7"/>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76"/>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75"/>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74"/>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77"/>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61"/>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6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 grpId="0" animBg="1"/>
    </p:bldLst>
  </p:timing>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89436" y="171452"/>
            <a:ext cx="8363938" cy="457048"/>
          </a:xfrm>
        </p:spPr>
        <p:txBody>
          <a:bodyPr/>
          <a:lstStyle/>
          <a:p>
            <a:r>
              <a:rPr lang="en-US" dirty="0" smtClean="0"/>
              <a:t>Windows Server 2012: </a:t>
            </a:r>
            <a:r>
              <a:rPr lang="en-US" sz="3000" dirty="0"/>
              <a:t>Cloud optimize your IT</a:t>
            </a:r>
          </a:p>
        </p:txBody>
      </p:sp>
      <p:grpSp>
        <p:nvGrpSpPr>
          <p:cNvPr id="14" name="Group 13"/>
          <p:cNvGrpSpPr/>
          <p:nvPr/>
        </p:nvGrpSpPr>
        <p:grpSpPr>
          <a:xfrm>
            <a:off x="388445" y="950609"/>
            <a:ext cx="8472469" cy="1051533"/>
            <a:chOff x="517790" y="1267479"/>
            <a:chExt cx="11293683" cy="1402044"/>
          </a:xfrm>
        </p:grpSpPr>
        <p:sp>
          <p:nvSpPr>
            <p:cNvPr id="37" name="Rectangle 36"/>
            <p:cNvSpPr/>
            <p:nvPr/>
          </p:nvSpPr>
          <p:spPr bwMode="auto">
            <a:xfrm>
              <a:off x="517790" y="1377462"/>
              <a:ext cx="4083702" cy="1162540"/>
            </a:xfrm>
            <a:prstGeom prst="rect">
              <a:avLst/>
            </a:prstGeom>
            <a:solidFill>
              <a:srgbClr val="00188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0" rIns="1280160" bIns="0" numCol="1" rtlCol="0" anchor="ctr" anchorCtr="0" compatLnSpc="1">
              <a:prstTxWarp prst="textNoShape">
                <a:avLst/>
              </a:prstTxWarp>
            </a:bodyPr>
            <a:lstStyle/>
            <a:p>
              <a:pPr defTabSz="816417">
                <a:spcBef>
                  <a:spcPct val="50000"/>
                </a:spcBef>
              </a:pPr>
              <a:r>
                <a:rPr lang="en-US" dirty="0">
                  <a:solidFill>
                    <a:srgbClr val="FFFFFF"/>
                  </a:solidFill>
                </a:rPr>
                <a:t>Beyond </a:t>
              </a:r>
              <a:r>
                <a:rPr lang="en-US" dirty="0" smtClean="0">
                  <a:solidFill>
                    <a:srgbClr val="FFFFFF"/>
                  </a:solidFill>
                </a:rPr>
                <a:t>virtualization</a:t>
              </a:r>
              <a:endParaRPr lang="en-US" dirty="0">
                <a:solidFill>
                  <a:srgbClr val="FFFFFF"/>
                </a:solidFill>
              </a:endParaRPr>
            </a:p>
          </p:txBody>
        </p:sp>
        <p:sp>
          <p:nvSpPr>
            <p:cNvPr id="38" name="Rectangle 37"/>
            <p:cNvSpPr/>
            <p:nvPr/>
          </p:nvSpPr>
          <p:spPr bwMode="auto">
            <a:xfrm>
              <a:off x="4669879" y="1377462"/>
              <a:ext cx="7141594" cy="1162540"/>
            </a:xfrm>
            <a:prstGeom prst="rect">
              <a:avLst/>
            </a:prstGeom>
            <a:solidFill>
              <a:schemeClr val="bg1">
                <a:alpha val="8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274320" bIns="45718" numCol="1" rtlCol="0" anchor="ctr" anchorCtr="0" compatLnSpc="1">
              <a:prstTxWarp prst="textNoShape">
                <a:avLst/>
              </a:prstTxWarp>
            </a:bodyPr>
            <a:lstStyle/>
            <a:p>
              <a:pPr defTabSz="816417">
                <a:spcBef>
                  <a:spcPts val="1874"/>
                </a:spcBef>
              </a:pPr>
              <a:r>
                <a:rPr lang="en-US" dirty="0">
                  <a:solidFill>
                    <a:srgbClr val="FFFFFF"/>
                  </a:solidFill>
                </a:rPr>
                <a:t>Scale and secure workloads, cost-effectively build a private cloud, and securely connect to cloud services</a:t>
              </a:r>
            </a:p>
          </p:txBody>
        </p:sp>
        <p:pic>
          <p:nvPicPr>
            <p:cNvPr id="46" name="Picture 25"/>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218986" y="1267479"/>
              <a:ext cx="1402044" cy="1402044"/>
            </a:xfrm>
            <a:prstGeom prst="rect">
              <a:avLst/>
            </a:prstGeom>
            <a:noFill/>
            <a:ln w="9525">
              <a:noFill/>
              <a:miter lim="800000"/>
              <a:headEnd/>
              <a:tailEnd/>
            </a:ln>
          </p:spPr>
        </p:pic>
      </p:grpSp>
      <p:grpSp>
        <p:nvGrpSpPr>
          <p:cNvPr id="16" name="Group 15"/>
          <p:cNvGrpSpPr/>
          <p:nvPr/>
        </p:nvGrpSpPr>
        <p:grpSpPr>
          <a:xfrm>
            <a:off x="388445" y="2879482"/>
            <a:ext cx="8472469" cy="871905"/>
            <a:chOff x="517790" y="3839308"/>
            <a:chExt cx="11293683" cy="1162540"/>
          </a:xfrm>
        </p:grpSpPr>
        <p:sp>
          <p:nvSpPr>
            <p:cNvPr id="41" name="Rectangle 40"/>
            <p:cNvSpPr/>
            <p:nvPr/>
          </p:nvSpPr>
          <p:spPr bwMode="auto">
            <a:xfrm>
              <a:off x="517790" y="3839308"/>
              <a:ext cx="4083702" cy="116254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0" rIns="1280160" bIns="0" numCol="1" rtlCol="0" anchor="ctr" anchorCtr="0" compatLnSpc="1">
              <a:prstTxWarp prst="textNoShape">
                <a:avLst/>
              </a:prstTxWarp>
            </a:bodyPr>
            <a:lstStyle/>
            <a:p>
              <a:pPr defTabSz="816417">
                <a:spcBef>
                  <a:spcPct val="50000"/>
                </a:spcBef>
              </a:pPr>
              <a:r>
                <a:rPr lang="en-US" dirty="0">
                  <a:solidFill>
                    <a:srgbClr val="FFFFFF"/>
                  </a:solidFill>
                </a:rPr>
                <a:t>Every app, </a:t>
              </a:r>
              <a:r>
                <a:rPr lang="en-US" dirty="0" smtClean="0">
                  <a:solidFill>
                    <a:srgbClr val="FFFFFF"/>
                  </a:solidFill>
                </a:rPr>
                <a:t>any </a:t>
              </a:r>
              <a:r>
                <a:rPr lang="en-US" dirty="0">
                  <a:solidFill>
                    <a:srgbClr val="FFFFFF"/>
                  </a:solidFill>
                </a:rPr>
                <a:t>cloud</a:t>
              </a:r>
            </a:p>
          </p:txBody>
        </p:sp>
        <p:pic>
          <p:nvPicPr>
            <p:cNvPr id="49" name="Picture 23" descr="window"/>
            <p:cNvPicPr>
              <a:picLocks noChangeAspect="1" noChangeArrowheads="1"/>
            </p:cNvPicPr>
            <p:nvPr/>
          </p:nvPicPr>
          <p:blipFill>
            <a:blip r:embed="rId4" cstate="email"/>
            <a:srcRect/>
            <a:stretch>
              <a:fillRect/>
            </a:stretch>
          </p:blipFill>
          <p:spPr bwMode="auto">
            <a:xfrm>
              <a:off x="3601224" y="4107965"/>
              <a:ext cx="832963" cy="639882"/>
            </a:xfrm>
            <a:prstGeom prst="rect">
              <a:avLst/>
            </a:prstGeom>
            <a:noFill/>
            <a:ln w="9525">
              <a:noFill/>
              <a:miter lim="800000"/>
              <a:headEnd/>
              <a:tailEnd/>
            </a:ln>
          </p:spPr>
        </p:pic>
        <p:sp>
          <p:nvSpPr>
            <p:cNvPr id="51" name="Rectangle 50"/>
            <p:cNvSpPr/>
            <p:nvPr/>
          </p:nvSpPr>
          <p:spPr bwMode="auto">
            <a:xfrm>
              <a:off x="4669879" y="3839308"/>
              <a:ext cx="7141594" cy="1162540"/>
            </a:xfrm>
            <a:prstGeom prst="rect">
              <a:avLst/>
            </a:prstGeom>
            <a:solidFill>
              <a:schemeClr val="bg1">
                <a:alpha val="8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274320" bIns="45718" numCol="1" rtlCol="0" anchor="ctr" anchorCtr="0" compatLnSpc="1">
              <a:prstTxWarp prst="textNoShape">
                <a:avLst/>
              </a:prstTxWarp>
            </a:bodyPr>
            <a:lstStyle/>
            <a:p>
              <a:pPr defTabSz="816417">
                <a:spcBef>
                  <a:spcPts val="1874"/>
                </a:spcBef>
              </a:pPr>
              <a:r>
                <a:rPr lang="en-US" dirty="0">
                  <a:solidFill>
                    <a:srgbClr val="FFFFFF"/>
                  </a:solidFill>
                </a:rPr>
                <a:t>Build on an open and scalable web platform that supports applications across premises</a:t>
              </a:r>
            </a:p>
          </p:txBody>
        </p:sp>
      </p:grpSp>
      <p:grpSp>
        <p:nvGrpSpPr>
          <p:cNvPr id="17" name="Group 16"/>
          <p:cNvGrpSpPr/>
          <p:nvPr/>
        </p:nvGrpSpPr>
        <p:grpSpPr>
          <a:xfrm>
            <a:off x="388445" y="3802674"/>
            <a:ext cx="8472469" cy="871906"/>
            <a:chOff x="517790" y="5070231"/>
            <a:chExt cx="11293683" cy="1162541"/>
          </a:xfrm>
        </p:grpSpPr>
        <p:sp>
          <p:nvSpPr>
            <p:cNvPr id="43" name="Rectangle 42"/>
            <p:cNvSpPr/>
            <p:nvPr/>
          </p:nvSpPr>
          <p:spPr bwMode="auto">
            <a:xfrm>
              <a:off x="517790" y="5070232"/>
              <a:ext cx="4083702" cy="116254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0" rIns="1280160" bIns="0" numCol="1" rtlCol="0" anchor="ctr" anchorCtr="0" compatLnSpc="1">
              <a:prstTxWarp prst="textNoShape">
                <a:avLst/>
              </a:prstTxWarp>
            </a:bodyPr>
            <a:lstStyle/>
            <a:p>
              <a:pPr defTabSz="816417">
                <a:spcBef>
                  <a:spcPct val="50000"/>
                </a:spcBef>
              </a:pPr>
              <a:r>
                <a:rPr lang="en-US" dirty="0">
                  <a:solidFill>
                    <a:srgbClr val="FFFFFF"/>
                  </a:solidFill>
                </a:rPr>
                <a:t>Modern workstyle, enabled</a:t>
              </a:r>
            </a:p>
          </p:txBody>
        </p:sp>
        <p:sp>
          <p:nvSpPr>
            <p:cNvPr id="52" name="Rectangle 51"/>
            <p:cNvSpPr/>
            <p:nvPr/>
          </p:nvSpPr>
          <p:spPr bwMode="auto">
            <a:xfrm>
              <a:off x="4669879" y="5070231"/>
              <a:ext cx="7141594" cy="1162540"/>
            </a:xfrm>
            <a:prstGeom prst="rect">
              <a:avLst/>
            </a:prstGeom>
            <a:solidFill>
              <a:schemeClr val="bg1">
                <a:alpha val="8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274320" bIns="45718" numCol="1" rtlCol="0" anchor="ctr" anchorCtr="0" compatLnSpc="1">
              <a:prstTxWarp prst="textNoShape">
                <a:avLst/>
              </a:prstTxWarp>
            </a:bodyPr>
            <a:lstStyle/>
            <a:p>
              <a:pPr defTabSz="816417">
                <a:spcBef>
                  <a:spcPts val="1874"/>
                </a:spcBef>
              </a:pPr>
              <a:r>
                <a:rPr lang="en-US" dirty="0">
                  <a:solidFill>
                    <a:srgbClr val="FFFFFF"/>
                  </a:solidFill>
                </a:rPr>
                <a:t>Support a mobile and flexible work style</a:t>
              </a:r>
            </a:p>
          </p:txBody>
        </p:sp>
        <p:grpSp>
          <p:nvGrpSpPr>
            <p:cNvPr id="5" name="Group 4"/>
            <p:cNvGrpSpPr/>
            <p:nvPr/>
          </p:nvGrpSpPr>
          <p:grpSpPr>
            <a:xfrm>
              <a:off x="3546595" y="5240073"/>
              <a:ext cx="805446" cy="822854"/>
              <a:chOff x="3689426" y="5240073"/>
              <a:chExt cx="805446" cy="822854"/>
            </a:xfrm>
          </p:grpSpPr>
          <p:pic>
            <p:nvPicPr>
              <p:cNvPr id="55" name="Picture 30" descr="building"/>
              <p:cNvPicPr>
                <a:picLocks noChangeAspect="1" noChangeArrowheads="1"/>
              </p:cNvPicPr>
              <p:nvPr/>
            </p:nvPicPr>
            <p:blipFill>
              <a:blip r:embed="rId5" cstate="email"/>
              <a:srcRect/>
              <a:stretch>
                <a:fillRect/>
              </a:stretch>
            </p:blipFill>
            <p:spPr bwMode="auto">
              <a:xfrm>
                <a:off x="4034477" y="5240073"/>
                <a:ext cx="460395" cy="460798"/>
              </a:xfrm>
              <a:prstGeom prst="rect">
                <a:avLst/>
              </a:prstGeom>
              <a:noFill/>
              <a:ln w="9525">
                <a:noFill/>
                <a:miter lim="800000"/>
                <a:headEnd/>
                <a:tailEnd/>
              </a:ln>
            </p:spPr>
          </p:pic>
          <p:pic>
            <p:nvPicPr>
              <p:cNvPr id="56" name="Picture 31" descr="person"/>
              <p:cNvPicPr>
                <a:picLocks noChangeAspect="1" noChangeArrowheads="1"/>
              </p:cNvPicPr>
              <p:nvPr/>
            </p:nvPicPr>
            <p:blipFill>
              <a:blip r:embed="rId6" cstate="email"/>
              <a:srcRect/>
              <a:stretch>
                <a:fillRect/>
              </a:stretch>
            </p:blipFill>
            <p:spPr bwMode="auto">
              <a:xfrm>
                <a:off x="3689426" y="5344842"/>
                <a:ext cx="298913" cy="694442"/>
              </a:xfrm>
              <a:prstGeom prst="rect">
                <a:avLst/>
              </a:prstGeom>
              <a:noFill/>
              <a:ln w="9525">
                <a:noFill/>
                <a:miter lim="800000"/>
                <a:headEnd/>
                <a:tailEnd/>
              </a:ln>
            </p:spPr>
          </p:pic>
          <p:pic>
            <p:nvPicPr>
              <p:cNvPr id="57" name="Picture 2" descr="\\MAGNUM\Projects\Microsoft\Journey to the Cloud Campaign\Design\Assets\Flexible.png"/>
              <p:cNvPicPr>
                <a:picLocks noChangeAspect="1" noChangeArrowheads="1"/>
              </p:cNvPicPr>
              <p:nvPr/>
            </p:nvPicPr>
            <p:blipFill>
              <a:blip r:embed="rId7" cstate="email">
                <a:lum bright="100000"/>
              </a:blip>
              <a:srcRect/>
              <a:stretch>
                <a:fillRect/>
              </a:stretch>
            </p:blipFill>
            <p:spPr bwMode="auto">
              <a:xfrm>
                <a:off x="3969197" y="5724977"/>
                <a:ext cx="400023" cy="337950"/>
              </a:xfrm>
              <a:prstGeom prst="rect">
                <a:avLst/>
              </a:prstGeom>
              <a:noFill/>
              <a:ln w="9525">
                <a:noFill/>
                <a:miter lim="800000"/>
                <a:headEnd/>
                <a:tailEnd/>
              </a:ln>
            </p:spPr>
          </p:pic>
        </p:grpSp>
      </p:grpSp>
      <p:grpSp>
        <p:nvGrpSpPr>
          <p:cNvPr id="15" name="Group 14"/>
          <p:cNvGrpSpPr/>
          <p:nvPr/>
        </p:nvGrpSpPr>
        <p:grpSpPr>
          <a:xfrm>
            <a:off x="388445" y="1956290"/>
            <a:ext cx="8472469" cy="871905"/>
            <a:chOff x="517790" y="2608385"/>
            <a:chExt cx="11293683" cy="1162540"/>
          </a:xfrm>
        </p:grpSpPr>
        <p:sp>
          <p:nvSpPr>
            <p:cNvPr id="39" name="Rectangle 38"/>
            <p:cNvSpPr/>
            <p:nvPr/>
          </p:nvSpPr>
          <p:spPr bwMode="auto">
            <a:xfrm>
              <a:off x="517790" y="2608385"/>
              <a:ext cx="4083702" cy="116254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0" rIns="1280160" bIns="0" numCol="1" rtlCol="0" anchor="ctr" anchorCtr="0" compatLnSpc="1">
              <a:prstTxWarp prst="textNoShape">
                <a:avLst/>
              </a:prstTxWarp>
            </a:bodyPr>
            <a:lstStyle/>
            <a:p>
              <a:pPr defTabSz="816417">
                <a:spcBef>
                  <a:spcPct val="50000"/>
                </a:spcBef>
              </a:pPr>
              <a:r>
                <a:rPr lang="en-US" dirty="0">
                  <a:solidFill>
                    <a:srgbClr val="FFFFFF"/>
                  </a:solidFill>
                </a:rPr>
                <a:t>The power of many servers, the simplicity </a:t>
              </a:r>
              <a:r>
                <a:rPr lang="en-US" dirty="0" smtClean="0">
                  <a:solidFill>
                    <a:srgbClr val="FFFFFF"/>
                  </a:solidFill>
                </a:rPr>
                <a:t/>
              </a:r>
              <a:br>
                <a:rPr lang="en-US" dirty="0" smtClean="0">
                  <a:solidFill>
                    <a:srgbClr val="FFFFFF"/>
                  </a:solidFill>
                </a:rPr>
              </a:br>
              <a:r>
                <a:rPr lang="en-US" dirty="0" smtClean="0">
                  <a:solidFill>
                    <a:srgbClr val="FFFFFF"/>
                  </a:solidFill>
                </a:rPr>
                <a:t>of </a:t>
              </a:r>
              <a:r>
                <a:rPr lang="en-US" dirty="0">
                  <a:solidFill>
                    <a:srgbClr val="FFFFFF"/>
                  </a:solidFill>
                </a:rPr>
                <a:t>one</a:t>
              </a:r>
            </a:p>
          </p:txBody>
        </p:sp>
        <p:sp>
          <p:nvSpPr>
            <p:cNvPr id="50" name="Rectangle 49"/>
            <p:cNvSpPr/>
            <p:nvPr/>
          </p:nvSpPr>
          <p:spPr bwMode="auto">
            <a:xfrm>
              <a:off x="4669879" y="2608385"/>
              <a:ext cx="7141594" cy="1162540"/>
            </a:xfrm>
            <a:prstGeom prst="rect">
              <a:avLst/>
            </a:prstGeom>
            <a:solidFill>
              <a:schemeClr val="bg1">
                <a:alpha val="8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274320" bIns="45718" numCol="1" rtlCol="0" anchor="ctr" anchorCtr="0" compatLnSpc="1">
              <a:prstTxWarp prst="textNoShape">
                <a:avLst/>
              </a:prstTxWarp>
            </a:bodyPr>
            <a:lstStyle/>
            <a:p>
              <a:pPr defTabSz="816417">
                <a:spcBef>
                  <a:spcPts val="1874"/>
                </a:spcBef>
              </a:pPr>
              <a:r>
                <a:rPr lang="en-US" dirty="0">
                  <a:solidFill>
                    <a:srgbClr val="FFFFFF"/>
                  </a:solidFill>
                </a:rPr>
                <a:t>Efficiently manage infrastructure while maximizing uptime and minimizing failures and downtime</a:t>
              </a:r>
            </a:p>
          </p:txBody>
        </p:sp>
        <p:pic>
          <p:nvPicPr>
            <p:cNvPr id="58" name="Picture 34" descr="Efficiency.png"/>
            <p:cNvPicPr>
              <a:picLocks noChangeAspect="1"/>
            </p:cNvPicPr>
            <p:nvPr/>
          </p:nvPicPr>
          <p:blipFill>
            <a:blip r:embed="rId8" cstate="email"/>
            <a:srcRect/>
            <a:stretch>
              <a:fillRect/>
            </a:stretch>
          </p:blipFill>
          <p:spPr bwMode="auto">
            <a:xfrm>
              <a:off x="3553329" y="2686538"/>
              <a:ext cx="928752" cy="928994"/>
            </a:xfrm>
            <a:prstGeom prst="rect">
              <a:avLst/>
            </a:prstGeom>
            <a:noFill/>
            <a:ln w="9525">
              <a:noFill/>
              <a:miter lim="800000"/>
              <a:headEnd/>
              <a:tailEnd/>
            </a:ln>
          </p:spPr>
        </p:pic>
      </p:grpSp>
      <p:sp>
        <p:nvSpPr>
          <p:cNvPr id="22"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3"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9"/>
              </a:rPr>
              <a:t>www.rapidbbs.cn</a:t>
            </a:r>
            <a:endParaRPr lang="zh-CN" altLang="en-US" sz="1200" b="0">
              <a:latin typeface="Arial" charset="0"/>
              <a:ea typeface="ＭＳ Ｐゴシック" pitchFamily="34" charset="-128"/>
            </a:endParaRPr>
          </a:p>
        </p:txBody>
      </p:sp>
      <p:pic>
        <p:nvPicPr>
          <p:cNvPr id="24" name="Picture 2">
            <a:hlinkClick r:id="rId9"/>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01650318"/>
      </p:ext>
    </p:extLst>
  </p:cSld>
  <p:clrMapOvr>
    <a:masterClrMapping/>
  </p:clrMapOvr>
  <p:transition>
    <p:fade/>
  </p:transition>
  <p:timing>
    <p:tnLst>
      <p:par>
        <p:cTn id="1" dur="indefinite" restart="never" nodeType="tmRoot"/>
      </p:par>
    </p:tnLst>
  </p:timing>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Self Service Management and Automation</a:t>
            </a:r>
            <a:endParaRPr lang="en-US" dirty="0"/>
          </a:p>
        </p:txBody>
      </p:sp>
      <p:grpSp>
        <p:nvGrpSpPr>
          <p:cNvPr id="62" name="Group 61"/>
          <p:cNvGrpSpPr/>
          <p:nvPr/>
        </p:nvGrpSpPr>
        <p:grpSpPr>
          <a:xfrm>
            <a:off x="1084941" y="847004"/>
            <a:ext cx="7239834" cy="3782147"/>
            <a:chOff x="128472" y="1051586"/>
            <a:chExt cx="8889396" cy="5693923"/>
          </a:xfrm>
        </p:grpSpPr>
        <p:grpSp>
          <p:nvGrpSpPr>
            <p:cNvPr id="63" name="Group 62"/>
            <p:cNvGrpSpPr/>
            <p:nvPr/>
          </p:nvGrpSpPr>
          <p:grpSpPr>
            <a:xfrm>
              <a:off x="128472" y="1051586"/>
              <a:ext cx="8889396" cy="5684468"/>
              <a:chOff x="128472" y="1051586"/>
              <a:chExt cx="8889396" cy="5684468"/>
            </a:xfrm>
          </p:grpSpPr>
          <p:sp>
            <p:nvSpPr>
              <p:cNvPr id="111" name="Rounded Rectangle 7"/>
              <p:cNvSpPr/>
              <p:nvPr/>
            </p:nvSpPr>
            <p:spPr bwMode="auto">
              <a:xfrm>
                <a:off x="128472" y="1051586"/>
                <a:ext cx="8889396" cy="859536"/>
              </a:xfrm>
              <a:prstGeom prst="rect">
                <a:avLst/>
              </a:prstGeom>
              <a:solidFill>
                <a:srgbClr val="EAEAEA"/>
              </a:solidFill>
              <a:ln w="9525" cap="flat" cmpd="sng" algn="ctr">
                <a:solidFill>
                  <a:srgbClr val="FFFFFF">
                    <a:lumMod val="65000"/>
                  </a:srgbClr>
                </a:solidFill>
                <a:prstDash val="solid"/>
                <a:round/>
                <a:headEnd type="none" w="med" len="med"/>
                <a:tailEnd type="none" w="med" len="med"/>
              </a:ln>
              <a:effectLst>
                <a:outerShdw blurRad="25400" dist="12700" dir="5400000" algn="t" rotWithShape="0">
                  <a:prstClr val="black">
                    <a:alpha val="40000"/>
                  </a:prstClr>
                </a:outerShdw>
              </a:effectLst>
            </p:spPr>
            <p:txBody>
              <a:bodyPr vert="horz" wrap="none" lIns="91440" tIns="45720" rIns="91440" bIns="45720" numCol="1" rtlCol="0" anchor="ctr" anchorCtr="0" compatLnSpc="1">
                <a:prstTxWarp prst="textNoShape">
                  <a:avLst/>
                </a:prstTxWarp>
              </a:bodyPr>
              <a:lstStyle/>
              <a:p>
                <a:pPr algn="ctr" defTabSz="685637">
                  <a:lnSpc>
                    <a:spcPct val="90000"/>
                  </a:lnSpc>
                  <a:buClr>
                    <a:srgbClr val="58A618"/>
                  </a:buClr>
                  <a:defRPr/>
                </a:pPr>
                <a:endParaRPr lang="en-US" kern="0" dirty="0">
                  <a:solidFill>
                    <a:srgbClr val="000000"/>
                  </a:solidFill>
                </a:endParaRPr>
              </a:p>
            </p:txBody>
          </p:sp>
          <p:sp>
            <p:nvSpPr>
              <p:cNvPr id="112" name="Rectangle 111"/>
              <p:cNvSpPr/>
              <p:nvPr/>
            </p:nvSpPr>
            <p:spPr bwMode="auto">
              <a:xfrm>
                <a:off x="128472" y="2016572"/>
                <a:ext cx="8889396" cy="859536"/>
              </a:xfrm>
              <a:prstGeom prst="rect">
                <a:avLst/>
              </a:prstGeom>
              <a:solidFill>
                <a:srgbClr val="EAEAEA"/>
              </a:solidFill>
              <a:ln w="9525" cap="flat" cmpd="sng" algn="ctr">
                <a:solidFill>
                  <a:srgbClr val="FFFFFF">
                    <a:lumMod val="65000"/>
                  </a:srgbClr>
                </a:solidFill>
                <a:prstDash val="solid"/>
                <a:round/>
                <a:headEnd type="none" w="med" len="med"/>
                <a:tailEnd type="none" w="med" len="med"/>
              </a:ln>
              <a:effectLst>
                <a:outerShdw blurRad="25400" dist="12700" dir="5400000" algn="t" rotWithShape="0">
                  <a:prstClr val="black">
                    <a:alpha val="40000"/>
                  </a:prstClr>
                </a:outerShdw>
              </a:effectLst>
            </p:spPr>
            <p:txBody>
              <a:bodyPr vert="horz" wrap="none" lIns="91440" tIns="45720" rIns="91440" bIns="45720" numCol="1" rtlCol="0" anchor="ctr" anchorCtr="0" compatLnSpc="1">
                <a:prstTxWarp prst="textNoShape">
                  <a:avLst/>
                </a:prstTxWarp>
              </a:bodyPr>
              <a:lstStyle/>
              <a:p>
                <a:pPr algn="ctr" defTabSz="685637">
                  <a:lnSpc>
                    <a:spcPct val="90000"/>
                  </a:lnSpc>
                  <a:buClr>
                    <a:srgbClr val="58A618"/>
                  </a:buClr>
                  <a:defRPr/>
                </a:pPr>
                <a:endParaRPr lang="en-US" kern="0" dirty="0">
                  <a:solidFill>
                    <a:srgbClr val="000000"/>
                  </a:solidFill>
                </a:endParaRPr>
              </a:p>
            </p:txBody>
          </p:sp>
          <p:sp>
            <p:nvSpPr>
              <p:cNvPr id="113" name="Rectangle 112"/>
              <p:cNvSpPr/>
              <p:nvPr/>
            </p:nvSpPr>
            <p:spPr bwMode="auto">
              <a:xfrm>
                <a:off x="128472" y="2981558"/>
                <a:ext cx="8889396" cy="859536"/>
              </a:xfrm>
              <a:prstGeom prst="rect">
                <a:avLst/>
              </a:prstGeom>
              <a:solidFill>
                <a:srgbClr val="EAEAEA"/>
              </a:solidFill>
              <a:ln w="9525" cap="flat" cmpd="sng" algn="ctr">
                <a:solidFill>
                  <a:srgbClr val="FFFFFF">
                    <a:lumMod val="65000"/>
                  </a:srgbClr>
                </a:solidFill>
                <a:prstDash val="solid"/>
                <a:round/>
                <a:headEnd type="none" w="med" len="med"/>
                <a:tailEnd type="none" w="med" len="med"/>
              </a:ln>
              <a:effectLst>
                <a:outerShdw blurRad="25400" dist="12700" dir="5400000" algn="t" rotWithShape="0">
                  <a:prstClr val="black">
                    <a:alpha val="40000"/>
                  </a:prstClr>
                </a:outerShdw>
              </a:effectLst>
            </p:spPr>
            <p:txBody>
              <a:bodyPr vert="horz" wrap="none" lIns="91440" tIns="45720" rIns="91440" bIns="45720" numCol="1" rtlCol="0" anchor="ctr" anchorCtr="0" compatLnSpc="1">
                <a:prstTxWarp prst="textNoShape">
                  <a:avLst/>
                </a:prstTxWarp>
              </a:bodyPr>
              <a:lstStyle/>
              <a:p>
                <a:pPr algn="ctr" defTabSz="685637">
                  <a:lnSpc>
                    <a:spcPct val="90000"/>
                  </a:lnSpc>
                  <a:buClr>
                    <a:srgbClr val="58A618"/>
                  </a:buClr>
                  <a:defRPr/>
                </a:pPr>
                <a:endParaRPr lang="en-US" kern="0" dirty="0">
                  <a:solidFill>
                    <a:srgbClr val="000000"/>
                  </a:solidFill>
                </a:endParaRPr>
              </a:p>
            </p:txBody>
          </p:sp>
          <p:sp>
            <p:nvSpPr>
              <p:cNvPr id="114" name="Rectangle 113"/>
              <p:cNvSpPr/>
              <p:nvPr/>
            </p:nvSpPr>
            <p:spPr bwMode="auto">
              <a:xfrm>
                <a:off x="128472" y="3946544"/>
                <a:ext cx="8889396" cy="859536"/>
              </a:xfrm>
              <a:prstGeom prst="rect">
                <a:avLst/>
              </a:prstGeom>
              <a:solidFill>
                <a:srgbClr val="EAEAEA"/>
              </a:solidFill>
              <a:ln w="9525" cap="flat" cmpd="sng" algn="ctr">
                <a:solidFill>
                  <a:srgbClr val="FFFFFF">
                    <a:lumMod val="65000"/>
                  </a:srgbClr>
                </a:solidFill>
                <a:prstDash val="solid"/>
                <a:round/>
                <a:headEnd type="none" w="med" len="med"/>
                <a:tailEnd type="none" w="med" len="med"/>
              </a:ln>
              <a:effectLst>
                <a:outerShdw blurRad="25400" dist="12700" dir="5400000" algn="t" rotWithShape="0">
                  <a:prstClr val="black">
                    <a:alpha val="40000"/>
                  </a:prstClr>
                </a:outerShdw>
              </a:effectLst>
            </p:spPr>
            <p:txBody>
              <a:bodyPr vert="horz" wrap="none" lIns="91440" tIns="45720" rIns="91440" bIns="45720" numCol="1" rtlCol="0" anchor="ctr" anchorCtr="0" compatLnSpc="1">
                <a:prstTxWarp prst="textNoShape">
                  <a:avLst/>
                </a:prstTxWarp>
              </a:bodyPr>
              <a:lstStyle/>
              <a:p>
                <a:pPr algn="ctr" defTabSz="685637">
                  <a:lnSpc>
                    <a:spcPct val="90000"/>
                  </a:lnSpc>
                  <a:buClr>
                    <a:srgbClr val="58A618"/>
                  </a:buClr>
                  <a:defRPr/>
                </a:pPr>
                <a:endParaRPr lang="en-US" kern="0" dirty="0">
                  <a:solidFill>
                    <a:srgbClr val="000000"/>
                  </a:solidFill>
                </a:endParaRPr>
              </a:p>
            </p:txBody>
          </p:sp>
          <p:sp>
            <p:nvSpPr>
              <p:cNvPr id="115" name="Rectangle 114"/>
              <p:cNvSpPr/>
              <p:nvPr/>
            </p:nvSpPr>
            <p:spPr bwMode="auto">
              <a:xfrm>
                <a:off x="128472" y="4911530"/>
                <a:ext cx="8889396" cy="859536"/>
              </a:xfrm>
              <a:prstGeom prst="rect">
                <a:avLst/>
              </a:prstGeom>
              <a:solidFill>
                <a:srgbClr val="EAEAEA"/>
              </a:solidFill>
              <a:ln w="9525" cap="flat" cmpd="sng" algn="ctr">
                <a:solidFill>
                  <a:srgbClr val="FFFFFF">
                    <a:lumMod val="65000"/>
                  </a:srgbClr>
                </a:solidFill>
                <a:prstDash val="solid"/>
                <a:round/>
                <a:headEnd type="none" w="med" len="med"/>
                <a:tailEnd type="none" w="med" len="med"/>
              </a:ln>
              <a:effectLst>
                <a:outerShdw blurRad="25400" dist="12700" dir="5400000" algn="t" rotWithShape="0">
                  <a:prstClr val="black">
                    <a:alpha val="40000"/>
                  </a:prstClr>
                </a:outerShdw>
              </a:effectLst>
            </p:spPr>
            <p:txBody>
              <a:bodyPr vert="horz" wrap="none" lIns="91440" tIns="45720" rIns="91440" bIns="45720" numCol="1" rtlCol="0" anchor="ctr" anchorCtr="0" compatLnSpc="1">
                <a:prstTxWarp prst="textNoShape">
                  <a:avLst/>
                </a:prstTxWarp>
              </a:bodyPr>
              <a:lstStyle/>
              <a:p>
                <a:pPr algn="ctr" defTabSz="685637">
                  <a:lnSpc>
                    <a:spcPct val="90000"/>
                  </a:lnSpc>
                  <a:buClr>
                    <a:srgbClr val="58A618"/>
                  </a:buClr>
                  <a:defRPr/>
                </a:pPr>
                <a:endParaRPr lang="en-US" kern="0" dirty="0">
                  <a:solidFill>
                    <a:srgbClr val="000000"/>
                  </a:solidFill>
                </a:endParaRPr>
              </a:p>
            </p:txBody>
          </p:sp>
          <p:sp>
            <p:nvSpPr>
              <p:cNvPr id="116" name="Rectangle 115"/>
              <p:cNvSpPr/>
              <p:nvPr/>
            </p:nvSpPr>
            <p:spPr bwMode="auto">
              <a:xfrm>
                <a:off x="128472" y="5876518"/>
                <a:ext cx="8889396" cy="859536"/>
              </a:xfrm>
              <a:prstGeom prst="rect">
                <a:avLst/>
              </a:prstGeom>
              <a:solidFill>
                <a:srgbClr val="EAEAEA"/>
              </a:solidFill>
              <a:ln w="9525" cap="flat" cmpd="sng" algn="ctr">
                <a:solidFill>
                  <a:srgbClr val="FFFFFF">
                    <a:lumMod val="65000"/>
                  </a:srgbClr>
                </a:solidFill>
                <a:prstDash val="solid"/>
                <a:round/>
                <a:headEnd type="none" w="med" len="med"/>
                <a:tailEnd type="none" w="med" len="med"/>
              </a:ln>
              <a:effectLst>
                <a:outerShdw blurRad="25400" dist="12700" dir="5400000" algn="t" rotWithShape="0">
                  <a:prstClr val="black">
                    <a:alpha val="40000"/>
                  </a:prstClr>
                </a:outerShdw>
              </a:effectLst>
            </p:spPr>
            <p:txBody>
              <a:bodyPr vert="horz" wrap="none" lIns="91440" tIns="45720" rIns="91440" bIns="45720" numCol="1" rtlCol="0" anchor="ctr" anchorCtr="0" compatLnSpc="1">
                <a:prstTxWarp prst="textNoShape">
                  <a:avLst/>
                </a:prstTxWarp>
              </a:bodyPr>
              <a:lstStyle/>
              <a:p>
                <a:pPr algn="ctr" defTabSz="685637">
                  <a:lnSpc>
                    <a:spcPct val="90000"/>
                  </a:lnSpc>
                  <a:buClr>
                    <a:srgbClr val="58A618"/>
                  </a:buClr>
                  <a:defRPr/>
                </a:pPr>
                <a:endParaRPr lang="en-US" kern="0" dirty="0">
                  <a:solidFill>
                    <a:srgbClr val="000000"/>
                  </a:solidFill>
                </a:endParaRPr>
              </a:p>
            </p:txBody>
          </p:sp>
        </p:grpSp>
        <p:grpSp>
          <p:nvGrpSpPr>
            <p:cNvPr id="64" name="Group 63"/>
            <p:cNvGrpSpPr/>
            <p:nvPr/>
          </p:nvGrpSpPr>
          <p:grpSpPr>
            <a:xfrm>
              <a:off x="3890738" y="1051586"/>
              <a:ext cx="3922396" cy="5693923"/>
              <a:chOff x="3890738" y="1051586"/>
              <a:chExt cx="3922396" cy="5693923"/>
            </a:xfrm>
          </p:grpSpPr>
          <p:sp>
            <p:nvSpPr>
              <p:cNvPr id="105" name="Freeform 104"/>
              <p:cNvSpPr/>
              <p:nvPr/>
            </p:nvSpPr>
            <p:spPr bwMode="auto">
              <a:xfrm flipH="1">
                <a:off x="3890738" y="5885973"/>
                <a:ext cx="3922396" cy="859536"/>
              </a:xfrm>
              <a:custGeom>
                <a:avLst/>
                <a:gdLst>
                  <a:gd name="connsiteX0" fmla="*/ 0 w 2388870"/>
                  <a:gd name="connsiteY0" fmla="*/ 0 h 693420"/>
                  <a:gd name="connsiteX1" fmla="*/ 2377440 w 2388870"/>
                  <a:gd name="connsiteY1" fmla="*/ 0 h 693420"/>
                  <a:gd name="connsiteX2" fmla="*/ 2377440 w 2388870"/>
                  <a:gd name="connsiteY2" fmla="*/ 243840 h 693420"/>
                  <a:gd name="connsiteX3" fmla="*/ 2156460 w 2388870"/>
                  <a:gd name="connsiteY3" fmla="*/ 240030 h 693420"/>
                  <a:gd name="connsiteX4" fmla="*/ 2164080 w 2388870"/>
                  <a:gd name="connsiteY4" fmla="*/ 453390 h 693420"/>
                  <a:gd name="connsiteX5" fmla="*/ 2388870 w 2388870"/>
                  <a:gd name="connsiteY5" fmla="*/ 453390 h 693420"/>
                  <a:gd name="connsiteX6" fmla="*/ 2373630 w 2388870"/>
                  <a:gd name="connsiteY6" fmla="*/ 689610 h 693420"/>
                  <a:gd name="connsiteX7" fmla="*/ 7620 w 2388870"/>
                  <a:gd name="connsiteY7" fmla="*/ 693420 h 693420"/>
                  <a:gd name="connsiteX8" fmla="*/ 0 w 2388870"/>
                  <a:gd name="connsiteY8" fmla="*/ 0 h 693420"/>
                  <a:gd name="connsiteX0" fmla="*/ 0 w 2385060"/>
                  <a:gd name="connsiteY0" fmla="*/ 0 h 693420"/>
                  <a:gd name="connsiteX1" fmla="*/ 2373630 w 2385060"/>
                  <a:gd name="connsiteY1" fmla="*/ 0 h 693420"/>
                  <a:gd name="connsiteX2" fmla="*/ 2373630 w 2385060"/>
                  <a:gd name="connsiteY2" fmla="*/ 243840 h 693420"/>
                  <a:gd name="connsiteX3" fmla="*/ 2152650 w 2385060"/>
                  <a:gd name="connsiteY3" fmla="*/ 240030 h 693420"/>
                  <a:gd name="connsiteX4" fmla="*/ 2160270 w 2385060"/>
                  <a:gd name="connsiteY4" fmla="*/ 453390 h 693420"/>
                  <a:gd name="connsiteX5" fmla="*/ 2385060 w 2385060"/>
                  <a:gd name="connsiteY5" fmla="*/ 453390 h 693420"/>
                  <a:gd name="connsiteX6" fmla="*/ 2369820 w 2385060"/>
                  <a:gd name="connsiteY6" fmla="*/ 689610 h 693420"/>
                  <a:gd name="connsiteX7" fmla="*/ 3810 w 2385060"/>
                  <a:gd name="connsiteY7" fmla="*/ 693420 h 693420"/>
                  <a:gd name="connsiteX8" fmla="*/ 0 w 2385060"/>
                  <a:gd name="connsiteY8" fmla="*/ 0 h 693420"/>
                  <a:gd name="connsiteX0" fmla="*/ 0 w 2385060"/>
                  <a:gd name="connsiteY0" fmla="*/ 0 h 690563"/>
                  <a:gd name="connsiteX1" fmla="*/ 2373630 w 2385060"/>
                  <a:gd name="connsiteY1" fmla="*/ 0 h 690563"/>
                  <a:gd name="connsiteX2" fmla="*/ 2373630 w 2385060"/>
                  <a:gd name="connsiteY2" fmla="*/ 243840 h 690563"/>
                  <a:gd name="connsiteX3" fmla="*/ 2152650 w 2385060"/>
                  <a:gd name="connsiteY3" fmla="*/ 240030 h 690563"/>
                  <a:gd name="connsiteX4" fmla="*/ 2160270 w 2385060"/>
                  <a:gd name="connsiteY4" fmla="*/ 453390 h 690563"/>
                  <a:gd name="connsiteX5" fmla="*/ 2385060 w 2385060"/>
                  <a:gd name="connsiteY5" fmla="*/ 453390 h 690563"/>
                  <a:gd name="connsiteX6" fmla="*/ 2369820 w 2385060"/>
                  <a:gd name="connsiteY6" fmla="*/ 689610 h 690563"/>
                  <a:gd name="connsiteX7" fmla="*/ 0 w 2385060"/>
                  <a:gd name="connsiteY7" fmla="*/ 690563 h 690563"/>
                  <a:gd name="connsiteX8" fmla="*/ 0 w 2385060"/>
                  <a:gd name="connsiteY8" fmla="*/ 0 h 690563"/>
                  <a:gd name="connsiteX0" fmla="*/ 0 w 2385060"/>
                  <a:gd name="connsiteY0" fmla="*/ 0 h 690564"/>
                  <a:gd name="connsiteX1" fmla="*/ 2373630 w 2385060"/>
                  <a:gd name="connsiteY1" fmla="*/ 0 h 690564"/>
                  <a:gd name="connsiteX2" fmla="*/ 2373630 w 2385060"/>
                  <a:gd name="connsiteY2" fmla="*/ 243840 h 690564"/>
                  <a:gd name="connsiteX3" fmla="*/ 2152650 w 2385060"/>
                  <a:gd name="connsiteY3" fmla="*/ 240030 h 690564"/>
                  <a:gd name="connsiteX4" fmla="*/ 2160270 w 2385060"/>
                  <a:gd name="connsiteY4" fmla="*/ 453390 h 690564"/>
                  <a:gd name="connsiteX5" fmla="*/ 2385060 w 2385060"/>
                  <a:gd name="connsiteY5" fmla="*/ 453390 h 690564"/>
                  <a:gd name="connsiteX6" fmla="*/ 2371725 w 2385060"/>
                  <a:gd name="connsiteY6" fmla="*/ 690564 h 690564"/>
                  <a:gd name="connsiteX7" fmla="*/ 0 w 2385060"/>
                  <a:gd name="connsiteY7" fmla="*/ 690563 h 690564"/>
                  <a:gd name="connsiteX8" fmla="*/ 0 w 2385060"/>
                  <a:gd name="connsiteY8" fmla="*/ 0 h 690564"/>
                  <a:gd name="connsiteX0" fmla="*/ 0 w 2373630"/>
                  <a:gd name="connsiteY0" fmla="*/ 0 h 690564"/>
                  <a:gd name="connsiteX1" fmla="*/ 2373630 w 2373630"/>
                  <a:gd name="connsiteY1" fmla="*/ 0 h 690564"/>
                  <a:gd name="connsiteX2" fmla="*/ 2373630 w 2373630"/>
                  <a:gd name="connsiteY2" fmla="*/ 243840 h 690564"/>
                  <a:gd name="connsiteX3" fmla="*/ 2152650 w 2373630"/>
                  <a:gd name="connsiteY3" fmla="*/ 240030 h 690564"/>
                  <a:gd name="connsiteX4" fmla="*/ 2160270 w 2373630"/>
                  <a:gd name="connsiteY4" fmla="*/ 453390 h 690564"/>
                  <a:gd name="connsiteX5" fmla="*/ 2371725 w 2373630"/>
                  <a:gd name="connsiteY5" fmla="*/ 454025 h 690564"/>
                  <a:gd name="connsiteX6" fmla="*/ 2371725 w 2373630"/>
                  <a:gd name="connsiteY6" fmla="*/ 690564 h 690564"/>
                  <a:gd name="connsiteX7" fmla="*/ 0 w 2373630"/>
                  <a:gd name="connsiteY7" fmla="*/ 690563 h 690564"/>
                  <a:gd name="connsiteX8" fmla="*/ 0 w 2373630"/>
                  <a:gd name="connsiteY8" fmla="*/ 0 h 690564"/>
                  <a:gd name="connsiteX0" fmla="*/ 0 w 2373630"/>
                  <a:gd name="connsiteY0" fmla="*/ 0 h 690564"/>
                  <a:gd name="connsiteX1" fmla="*/ 2373630 w 2373630"/>
                  <a:gd name="connsiteY1" fmla="*/ 0 h 690564"/>
                  <a:gd name="connsiteX2" fmla="*/ 2373630 w 2373630"/>
                  <a:gd name="connsiteY2" fmla="*/ 243840 h 690564"/>
                  <a:gd name="connsiteX3" fmla="*/ 2162175 w 2373630"/>
                  <a:gd name="connsiteY3" fmla="*/ 239713 h 690564"/>
                  <a:gd name="connsiteX4" fmla="*/ 2160270 w 2373630"/>
                  <a:gd name="connsiteY4" fmla="*/ 453390 h 690564"/>
                  <a:gd name="connsiteX5" fmla="*/ 2371725 w 2373630"/>
                  <a:gd name="connsiteY5" fmla="*/ 454025 h 690564"/>
                  <a:gd name="connsiteX6" fmla="*/ 2371725 w 2373630"/>
                  <a:gd name="connsiteY6" fmla="*/ 690564 h 690564"/>
                  <a:gd name="connsiteX7" fmla="*/ 0 w 2373630"/>
                  <a:gd name="connsiteY7" fmla="*/ 690563 h 690564"/>
                  <a:gd name="connsiteX8" fmla="*/ 0 w 2373630"/>
                  <a:gd name="connsiteY8" fmla="*/ 0 h 690564"/>
                  <a:gd name="connsiteX0" fmla="*/ 0 w 2373630"/>
                  <a:gd name="connsiteY0" fmla="*/ 0 h 690564"/>
                  <a:gd name="connsiteX1" fmla="*/ 2373630 w 2373630"/>
                  <a:gd name="connsiteY1" fmla="*/ 0 h 690564"/>
                  <a:gd name="connsiteX2" fmla="*/ 2371725 w 2373630"/>
                  <a:gd name="connsiteY2" fmla="*/ 239713 h 690564"/>
                  <a:gd name="connsiteX3" fmla="*/ 2162175 w 2373630"/>
                  <a:gd name="connsiteY3" fmla="*/ 239713 h 690564"/>
                  <a:gd name="connsiteX4" fmla="*/ 2160270 w 2373630"/>
                  <a:gd name="connsiteY4" fmla="*/ 453390 h 690564"/>
                  <a:gd name="connsiteX5" fmla="*/ 2371725 w 2373630"/>
                  <a:gd name="connsiteY5" fmla="*/ 454025 h 690564"/>
                  <a:gd name="connsiteX6" fmla="*/ 2371725 w 2373630"/>
                  <a:gd name="connsiteY6" fmla="*/ 690564 h 690564"/>
                  <a:gd name="connsiteX7" fmla="*/ 0 w 2373630"/>
                  <a:gd name="connsiteY7" fmla="*/ 690563 h 690564"/>
                  <a:gd name="connsiteX8" fmla="*/ 0 w 2373630"/>
                  <a:gd name="connsiteY8" fmla="*/ 0 h 690564"/>
                  <a:gd name="connsiteX0" fmla="*/ 0 w 2373630"/>
                  <a:gd name="connsiteY0" fmla="*/ 0 h 690564"/>
                  <a:gd name="connsiteX1" fmla="*/ 2373630 w 2373630"/>
                  <a:gd name="connsiteY1" fmla="*/ 0 h 690564"/>
                  <a:gd name="connsiteX2" fmla="*/ 2371725 w 2373630"/>
                  <a:gd name="connsiteY2" fmla="*/ 239713 h 690564"/>
                  <a:gd name="connsiteX3" fmla="*/ 2162175 w 2373630"/>
                  <a:gd name="connsiteY3" fmla="*/ 239713 h 690564"/>
                  <a:gd name="connsiteX4" fmla="*/ 2160270 w 2373630"/>
                  <a:gd name="connsiteY4" fmla="*/ 453390 h 690564"/>
                  <a:gd name="connsiteX5" fmla="*/ 2371725 w 2373630"/>
                  <a:gd name="connsiteY5" fmla="*/ 454025 h 690564"/>
                  <a:gd name="connsiteX6" fmla="*/ 2371725 w 2373630"/>
                  <a:gd name="connsiteY6" fmla="*/ 690564 h 690564"/>
                  <a:gd name="connsiteX7" fmla="*/ 0 w 2373630"/>
                  <a:gd name="connsiteY7" fmla="*/ 690563 h 690564"/>
                  <a:gd name="connsiteX8" fmla="*/ 0 w 2373630"/>
                  <a:gd name="connsiteY8" fmla="*/ 0 h 690564"/>
                  <a:gd name="connsiteX0" fmla="*/ 0 w 2373630"/>
                  <a:gd name="connsiteY0" fmla="*/ 0 h 690563"/>
                  <a:gd name="connsiteX1" fmla="*/ 2373630 w 2373630"/>
                  <a:gd name="connsiteY1" fmla="*/ 0 h 690563"/>
                  <a:gd name="connsiteX2" fmla="*/ 2371725 w 2373630"/>
                  <a:gd name="connsiteY2" fmla="*/ 239713 h 690563"/>
                  <a:gd name="connsiteX3" fmla="*/ 2162175 w 2373630"/>
                  <a:gd name="connsiteY3" fmla="*/ 239713 h 690563"/>
                  <a:gd name="connsiteX4" fmla="*/ 2160270 w 2373630"/>
                  <a:gd name="connsiteY4" fmla="*/ 453390 h 690563"/>
                  <a:gd name="connsiteX5" fmla="*/ 2371725 w 2373630"/>
                  <a:gd name="connsiteY5" fmla="*/ 454025 h 690563"/>
                  <a:gd name="connsiteX6" fmla="*/ 2371725 w 2373630"/>
                  <a:gd name="connsiteY6" fmla="*/ 690563 h 690563"/>
                  <a:gd name="connsiteX7" fmla="*/ 0 w 2373630"/>
                  <a:gd name="connsiteY7" fmla="*/ 690563 h 690563"/>
                  <a:gd name="connsiteX8" fmla="*/ 0 w 2373630"/>
                  <a:gd name="connsiteY8" fmla="*/ 0 h 690563"/>
                  <a:gd name="connsiteX0" fmla="*/ 0 w 2371725"/>
                  <a:gd name="connsiteY0" fmla="*/ 0 h 690563"/>
                  <a:gd name="connsiteX1" fmla="*/ 2371725 w 2371725"/>
                  <a:gd name="connsiteY1" fmla="*/ 1 h 690563"/>
                  <a:gd name="connsiteX2" fmla="*/ 2371725 w 2371725"/>
                  <a:gd name="connsiteY2" fmla="*/ 239713 h 690563"/>
                  <a:gd name="connsiteX3" fmla="*/ 2162175 w 2371725"/>
                  <a:gd name="connsiteY3" fmla="*/ 239713 h 690563"/>
                  <a:gd name="connsiteX4" fmla="*/ 2160270 w 2371725"/>
                  <a:gd name="connsiteY4" fmla="*/ 453390 h 690563"/>
                  <a:gd name="connsiteX5" fmla="*/ 2371725 w 2371725"/>
                  <a:gd name="connsiteY5" fmla="*/ 454025 h 690563"/>
                  <a:gd name="connsiteX6" fmla="*/ 2371725 w 2371725"/>
                  <a:gd name="connsiteY6" fmla="*/ 690563 h 690563"/>
                  <a:gd name="connsiteX7" fmla="*/ 0 w 2371725"/>
                  <a:gd name="connsiteY7" fmla="*/ 690563 h 690563"/>
                  <a:gd name="connsiteX8" fmla="*/ 0 w 2371725"/>
                  <a:gd name="connsiteY8" fmla="*/ 0 h 690563"/>
                  <a:gd name="connsiteX0" fmla="*/ 0 w 2371726"/>
                  <a:gd name="connsiteY0" fmla="*/ 0 h 690563"/>
                  <a:gd name="connsiteX1" fmla="*/ 2371725 w 2371726"/>
                  <a:gd name="connsiteY1" fmla="*/ 1 h 690563"/>
                  <a:gd name="connsiteX2" fmla="*/ 2371726 w 2371726"/>
                  <a:gd name="connsiteY2" fmla="*/ 239714 h 690563"/>
                  <a:gd name="connsiteX3" fmla="*/ 2162175 w 2371726"/>
                  <a:gd name="connsiteY3" fmla="*/ 239713 h 690563"/>
                  <a:gd name="connsiteX4" fmla="*/ 2160270 w 2371726"/>
                  <a:gd name="connsiteY4" fmla="*/ 453390 h 690563"/>
                  <a:gd name="connsiteX5" fmla="*/ 2371725 w 2371726"/>
                  <a:gd name="connsiteY5" fmla="*/ 454025 h 690563"/>
                  <a:gd name="connsiteX6" fmla="*/ 2371725 w 2371726"/>
                  <a:gd name="connsiteY6" fmla="*/ 690563 h 690563"/>
                  <a:gd name="connsiteX7" fmla="*/ 0 w 2371726"/>
                  <a:gd name="connsiteY7" fmla="*/ 690563 h 690563"/>
                  <a:gd name="connsiteX8" fmla="*/ 0 w 2371726"/>
                  <a:gd name="connsiteY8" fmla="*/ 0 h 690563"/>
                  <a:gd name="connsiteX0" fmla="*/ 0 w 2371725"/>
                  <a:gd name="connsiteY0" fmla="*/ 0 h 690563"/>
                  <a:gd name="connsiteX1" fmla="*/ 2371725 w 2371725"/>
                  <a:gd name="connsiteY1" fmla="*/ 1 h 690563"/>
                  <a:gd name="connsiteX2" fmla="*/ 2371725 w 2371725"/>
                  <a:gd name="connsiteY2" fmla="*/ 239714 h 690563"/>
                  <a:gd name="connsiteX3" fmla="*/ 2162175 w 2371725"/>
                  <a:gd name="connsiteY3" fmla="*/ 239713 h 690563"/>
                  <a:gd name="connsiteX4" fmla="*/ 2160270 w 2371725"/>
                  <a:gd name="connsiteY4" fmla="*/ 453390 h 690563"/>
                  <a:gd name="connsiteX5" fmla="*/ 2371725 w 2371725"/>
                  <a:gd name="connsiteY5" fmla="*/ 454025 h 690563"/>
                  <a:gd name="connsiteX6" fmla="*/ 2371725 w 2371725"/>
                  <a:gd name="connsiteY6" fmla="*/ 690563 h 690563"/>
                  <a:gd name="connsiteX7" fmla="*/ 0 w 2371725"/>
                  <a:gd name="connsiteY7" fmla="*/ 690563 h 690563"/>
                  <a:gd name="connsiteX8" fmla="*/ 0 w 2371725"/>
                  <a:gd name="connsiteY8" fmla="*/ 0 h 690563"/>
                  <a:gd name="connsiteX0" fmla="*/ 0 w 2371725"/>
                  <a:gd name="connsiteY0" fmla="*/ 0 h 690563"/>
                  <a:gd name="connsiteX1" fmla="*/ 2371725 w 2371725"/>
                  <a:gd name="connsiteY1" fmla="*/ 1 h 690563"/>
                  <a:gd name="connsiteX2" fmla="*/ 2371725 w 2371725"/>
                  <a:gd name="connsiteY2" fmla="*/ 239714 h 690563"/>
                  <a:gd name="connsiteX3" fmla="*/ 2162175 w 2371725"/>
                  <a:gd name="connsiteY3" fmla="*/ 239713 h 690563"/>
                  <a:gd name="connsiteX4" fmla="*/ 2162176 w 2371725"/>
                  <a:gd name="connsiteY4" fmla="*/ 454026 h 690563"/>
                  <a:gd name="connsiteX5" fmla="*/ 2371725 w 2371725"/>
                  <a:gd name="connsiteY5" fmla="*/ 454025 h 690563"/>
                  <a:gd name="connsiteX6" fmla="*/ 2371725 w 2371725"/>
                  <a:gd name="connsiteY6" fmla="*/ 690563 h 690563"/>
                  <a:gd name="connsiteX7" fmla="*/ 0 w 2371725"/>
                  <a:gd name="connsiteY7" fmla="*/ 690563 h 690563"/>
                  <a:gd name="connsiteX8" fmla="*/ 0 w 2371725"/>
                  <a:gd name="connsiteY8" fmla="*/ 0 h 690563"/>
                  <a:gd name="connsiteX0" fmla="*/ 0 w 2371726"/>
                  <a:gd name="connsiteY0" fmla="*/ 0 h 690563"/>
                  <a:gd name="connsiteX1" fmla="*/ 2371725 w 2371726"/>
                  <a:gd name="connsiteY1" fmla="*/ 1 h 690563"/>
                  <a:gd name="connsiteX2" fmla="*/ 2371725 w 2371726"/>
                  <a:gd name="connsiteY2" fmla="*/ 239714 h 690563"/>
                  <a:gd name="connsiteX3" fmla="*/ 2162175 w 2371726"/>
                  <a:gd name="connsiteY3" fmla="*/ 239713 h 690563"/>
                  <a:gd name="connsiteX4" fmla="*/ 2162176 w 2371726"/>
                  <a:gd name="connsiteY4" fmla="*/ 454026 h 690563"/>
                  <a:gd name="connsiteX5" fmla="*/ 2371726 w 2371726"/>
                  <a:gd name="connsiteY5" fmla="*/ 454026 h 690563"/>
                  <a:gd name="connsiteX6" fmla="*/ 2371725 w 2371726"/>
                  <a:gd name="connsiteY6" fmla="*/ 690563 h 690563"/>
                  <a:gd name="connsiteX7" fmla="*/ 0 w 2371726"/>
                  <a:gd name="connsiteY7" fmla="*/ 690563 h 690563"/>
                  <a:gd name="connsiteX8" fmla="*/ 0 w 2371726"/>
                  <a:gd name="connsiteY8" fmla="*/ 0 h 690563"/>
                  <a:gd name="connsiteX0" fmla="*/ 0 w 2371726"/>
                  <a:gd name="connsiteY0" fmla="*/ 0 h 690563"/>
                  <a:gd name="connsiteX1" fmla="*/ 2162176 w 2371726"/>
                  <a:gd name="connsiteY1" fmla="*/ 1 h 690563"/>
                  <a:gd name="connsiteX2" fmla="*/ 2371725 w 2371726"/>
                  <a:gd name="connsiteY2" fmla="*/ 239714 h 690563"/>
                  <a:gd name="connsiteX3" fmla="*/ 2162175 w 2371726"/>
                  <a:gd name="connsiteY3" fmla="*/ 239713 h 690563"/>
                  <a:gd name="connsiteX4" fmla="*/ 2162176 w 2371726"/>
                  <a:gd name="connsiteY4" fmla="*/ 454026 h 690563"/>
                  <a:gd name="connsiteX5" fmla="*/ 2371726 w 2371726"/>
                  <a:gd name="connsiteY5" fmla="*/ 454026 h 690563"/>
                  <a:gd name="connsiteX6" fmla="*/ 2371725 w 2371726"/>
                  <a:gd name="connsiteY6" fmla="*/ 690563 h 690563"/>
                  <a:gd name="connsiteX7" fmla="*/ 0 w 2371726"/>
                  <a:gd name="connsiteY7" fmla="*/ 690563 h 690563"/>
                  <a:gd name="connsiteX8" fmla="*/ 0 w 2371726"/>
                  <a:gd name="connsiteY8" fmla="*/ 0 h 690563"/>
                  <a:gd name="connsiteX0" fmla="*/ 0 w 2371726"/>
                  <a:gd name="connsiteY0" fmla="*/ 0 h 690563"/>
                  <a:gd name="connsiteX1" fmla="*/ 2162176 w 2371726"/>
                  <a:gd name="connsiteY1" fmla="*/ 1 h 690563"/>
                  <a:gd name="connsiteX2" fmla="*/ 2371725 w 2371726"/>
                  <a:gd name="connsiteY2" fmla="*/ 239714 h 690563"/>
                  <a:gd name="connsiteX3" fmla="*/ 2162176 w 2371726"/>
                  <a:gd name="connsiteY3" fmla="*/ 454026 h 690563"/>
                  <a:gd name="connsiteX4" fmla="*/ 2371726 w 2371726"/>
                  <a:gd name="connsiteY4" fmla="*/ 454026 h 690563"/>
                  <a:gd name="connsiteX5" fmla="*/ 2371725 w 2371726"/>
                  <a:gd name="connsiteY5" fmla="*/ 690563 h 690563"/>
                  <a:gd name="connsiteX6" fmla="*/ 0 w 2371726"/>
                  <a:gd name="connsiteY6" fmla="*/ 690563 h 690563"/>
                  <a:gd name="connsiteX7" fmla="*/ 0 w 2371726"/>
                  <a:gd name="connsiteY7" fmla="*/ 0 h 690563"/>
                  <a:gd name="connsiteX0" fmla="*/ 0 w 2371726"/>
                  <a:gd name="connsiteY0" fmla="*/ 0 h 690563"/>
                  <a:gd name="connsiteX1" fmla="*/ 2162176 w 2371726"/>
                  <a:gd name="connsiteY1" fmla="*/ 1 h 690563"/>
                  <a:gd name="connsiteX2" fmla="*/ 2162176 w 2371726"/>
                  <a:gd name="connsiteY2" fmla="*/ 239714 h 690563"/>
                  <a:gd name="connsiteX3" fmla="*/ 2371725 w 2371726"/>
                  <a:gd name="connsiteY3" fmla="*/ 239714 h 690563"/>
                  <a:gd name="connsiteX4" fmla="*/ 2162176 w 2371726"/>
                  <a:gd name="connsiteY4" fmla="*/ 454026 h 690563"/>
                  <a:gd name="connsiteX5" fmla="*/ 2371726 w 2371726"/>
                  <a:gd name="connsiteY5" fmla="*/ 454026 h 690563"/>
                  <a:gd name="connsiteX6" fmla="*/ 2371725 w 2371726"/>
                  <a:gd name="connsiteY6" fmla="*/ 690563 h 690563"/>
                  <a:gd name="connsiteX7" fmla="*/ 0 w 2371726"/>
                  <a:gd name="connsiteY7" fmla="*/ 690563 h 690563"/>
                  <a:gd name="connsiteX8" fmla="*/ 0 w 2371726"/>
                  <a:gd name="connsiteY8" fmla="*/ 0 h 690563"/>
                  <a:gd name="connsiteX0" fmla="*/ 0 w 2371726"/>
                  <a:gd name="connsiteY0" fmla="*/ 0 h 690563"/>
                  <a:gd name="connsiteX1" fmla="*/ 2162176 w 2371726"/>
                  <a:gd name="connsiteY1" fmla="*/ 1 h 690563"/>
                  <a:gd name="connsiteX2" fmla="*/ 2162176 w 2371726"/>
                  <a:gd name="connsiteY2" fmla="*/ 239714 h 690563"/>
                  <a:gd name="connsiteX3" fmla="*/ 2371725 w 2371726"/>
                  <a:gd name="connsiteY3" fmla="*/ 239714 h 690563"/>
                  <a:gd name="connsiteX4" fmla="*/ 2371726 w 2371726"/>
                  <a:gd name="connsiteY4" fmla="*/ 454026 h 690563"/>
                  <a:gd name="connsiteX5" fmla="*/ 2371725 w 2371726"/>
                  <a:gd name="connsiteY5" fmla="*/ 690563 h 690563"/>
                  <a:gd name="connsiteX6" fmla="*/ 0 w 2371726"/>
                  <a:gd name="connsiteY6" fmla="*/ 690563 h 690563"/>
                  <a:gd name="connsiteX7" fmla="*/ 0 w 2371726"/>
                  <a:gd name="connsiteY7" fmla="*/ 0 h 690563"/>
                  <a:gd name="connsiteX0" fmla="*/ 0 w 2767330"/>
                  <a:gd name="connsiteY0" fmla="*/ 0 h 690563"/>
                  <a:gd name="connsiteX1" fmla="*/ 2162176 w 2767330"/>
                  <a:gd name="connsiteY1" fmla="*/ 1 h 690563"/>
                  <a:gd name="connsiteX2" fmla="*/ 2162176 w 2767330"/>
                  <a:gd name="connsiteY2" fmla="*/ 239714 h 690563"/>
                  <a:gd name="connsiteX3" fmla="*/ 2371725 w 2767330"/>
                  <a:gd name="connsiteY3" fmla="*/ 239714 h 690563"/>
                  <a:gd name="connsiteX4" fmla="*/ 2371726 w 2767330"/>
                  <a:gd name="connsiteY4" fmla="*/ 454026 h 690563"/>
                  <a:gd name="connsiteX5" fmla="*/ 2162176 w 2767330"/>
                  <a:gd name="connsiteY5" fmla="*/ 454026 h 690563"/>
                  <a:gd name="connsiteX6" fmla="*/ 2371725 w 2767330"/>
                  <a:gd name="connsiteY6" fmla="*/ 690563 h 690563"/>
                  <a:gd name="connsiteX7" fmla="*/ 0 w 2767330"/>
                  <a:gd name="connsiteY7" fmla="*/ 690563 h 690563"/>
                  <a:gd name="connsiteX8" fmla="*/ 0 w 2767330"/>
                  <a:gd name="connsiteY8" fmla="*/ 0 h 690563"/>
                  <a:gd name="connsiteX0" fmla="*/ 0 w 2767330"/>
                  <a:gd name="connsiteY0" fmla="*/ 0 h 690563"/>
                  <a:gd name="connsiteX1" fmla="*/ 2162176 w 2767330"/>
                  <a:gd name="connsiteY1" fmla="*/ 1 h 690563"/>
                  <a:gd name="connsiteX2" fmla="*/ 2162176 w 2767330"/>
                  <a:gd name="connsiteY2" fmla="*/ 239714 h 690563"/>
                  <a:gd name="connsiteX3" fmla="*/ 2371725 w 2767330"/>
                  <a:gd name="connsiteY3" fmla="*/ 239714 h 690563"/>
                  <a:gd name="connsiteX4" fmla="*/ 2371726 w 2767330"/>
                  <a:gd name="connsiteY4" fmla="*/ 454026 h 690563"/>
                  <a:gd name="connsiteX5" fmla="*/ 2162176 w 2767330"/>
                  <a:gd name="connsiteY5" fmla="*/ 454026 h 690563"/>
                  <a:gd name="connsiteX6" fmla="*/ 2371725 w 2767330"/>
                  <a:gd name="connsiteY6" fmla="*/ 690563 h 690563"/>
                  <a:gd name="connsiteX7" fmla="*/ 0 w 2767330"/>
                  <a:gd name="connsiteY7" fmla="*/ 690563 h 690563"/>
                  <a:gd name="connsiteX8" fmla="*/ 0 w 2767330"/>
                  <a:gd name="connsiteY8" fmla="*/ 0 h 690563"/>
                  <a:gd name="connsiteX0" fmla="*/ 0 w 2371726"/>
                  <a:gd name="connsiteY0" fmla="*/ 0 h 690563"/>
                  <a:gd name="connsiteX1" fmla="*/ 2162176 w 2371726"/>
                  <a:gd name="connsiteY1" fmla="*/ 1 h 690563"/>
                  <a:gd name="connsiteX2" fmla="*/ 2162176 w 2371726"/>
                  <a:gd name="connsiteY2" fmla="*/ 239714 h 690563"/>
                  <a:gd name="connsiteX3" fmla="*/ 2371725 w 2371726"/>
                  <a:gd name="connsiteY3" fmla="*/ 239714 h 690563"/>
                  <a:gd name="connsiteX4" fmla="*/ 2371726 w 2371726"/>
                  <a:gd name="connsiteY4" fmla="*/ 454026 h 690563"/>
                  <a:gd name="connsiteX5" fmla="*/ 2162176 w 2371726"/>
                  <a:gd name="connsiteY5" fmla="*/ 454026 h 690563"/>
                  <a:gd name="connsiteX6" fmla="*/ 2371725 w 2371726"/>
                  <a:gd name="connsiteY6" fmla="*/ 690563 h 690563"/>
                  <a:gd name="connsiteX7" fmla="*/ 0 w 2371726"/>
                  <a:gd name="connsiteY7" fmla="*/ 690563 h 690563"/>
                  <a:gd name="connsiteX8" fmla="*/ 0 w 2371726"/>
                  <a:gd name="connsiteY8" fmla="*/ 0 h 690563"/>
                  <a:gd name="connsiteX0" fmla="*/ 0 w 2371726"/>
                  <a:gd name="connsiteY0" fmla="*/ 0 h 690564"/>
                  <a:gd name="connsiteX1" fmla="*/ 2162176 w 2371726"/>
                  <a:gd name="connsiteY1" fmla="*/ 1 h 690564"/>
                  <a:gd name="connsiteX2" fmla="*/ 2162176 w 2371726"/>
                  <a:gd name="connsiteY2" fmla="*/ 239714 h 690564"/>
                  <a:gd name="connsiteX3" fmla="*/ 2371725 w 2371726"/>
                  <a:gd name="connsiteY3" fmla="*/ 239714 h 690564"/>
                  <a:gd name="connsiteX4" fmla="*/ 2371726 w 2371726"/>
                  <a:gd name="connsiteY4" fmla="*/ 454026 h 690564"/>
                  <a:gd name="connsiteX5" fmla="*/ 2162176 w 2371726"/>
                  <a:gd name="connsiteY5" fmla="*/ 454026 h 690564"/>
                  <a:gd name="connsiteX6" fmla="*/ 2162176 w 2371726"/>
                  <a:gd name="connsiteY6" fmla="*/ 690564 h 690564"/>
                  <a:gd name="connsiteX7" fmla="*/ 0 w 2371726"/>
                  <a:gd name="connsiteY7" fmla="*/ 690563 h 690564"/>
                  <a:gd name="connsiteX8" fmla="*/ 0 w 2371726"/>
                  <a:gd name="connsiteY8" fmla="*/ 0 h 690564"/>
                  <a:gd name="connsiteX0" fmla="*/ 0 w 2371726"/>
                  <a:gd name="connsiteY0" fmla="*/ 0 h 690564"/>
                  <a:gd name="connsiteX1" fmla="*/ 2257390 w 2371726"/>
                  <a:gd name="connsiteY1" fmla="*/ 1 h 690564"/>
                  <a:gd name="connsiteX2" fmla="*/ 2162176 w 2371726"/>
                  <a:gd name="connsiteY2" fmla="*/ 239714 h 690564"/>
                  <a:gd name="connsiteX3" fmla="*/ 2371725 w 2371726"/>
                  <a:gd name="connsiteY3" fmla="*/ 239714 h 690564"/>
                  <a:gd name="connsiteX4" fmla="*/ 2371726 w 2371726"/>
                  <a:gd name="connsiteY4" fmla="*/ 454026 h 690564"/>
                  <a:gd name="connsiteX5" fmla="*/ 2162176 w 2371726"/>
                  <a:gd name="connsiteY5" fmla="*/ 454026 h 690564"/>
                  <a:gd name="connsiteX6" fmla="*/ 2162176 w 2371726"/>
                  <a:gd name="connsiteY6" fmla="*/ 690564 h 690564"/>
                  <a:gd name="connsiteX7" fmla="*/ 0 w 2371726"/>
                  <a:gd name="connsiteY7" fmla="*/ 690563 h 690564"/>
                  <a:gd name="connsiteX8" fmla="*/ 0 w 2371726"/>
                  <a:gd name="connsiteY8" fmla="*/ 0 h 690564"/>
                  <a:gd name="connsiteX0" fmla="*/ 0 w 2371726"/>
                  <a:gd name="connsiteY0" fmla="*/ 0 h 690563"/>
                  <a:gd name="connsiteX1" fmla="*/ 2257390 w 2371726"/>
                  <a:gd name="connsiteY1" fmla="*/ 1 h 690563"/>
                  <a:gd name="connsiteX2" fmla="*/ 2162176 w 2371726"/>
                  <a:gd name="connsiteY2" fmla="*/ 239714 h 690563"/>
                  <a:gd name="connsiteX3" fmla="*/ 2371725 w 2371726"/>
                  <a:gd name="connsiteY3" fmla="*/ 239714 h 690563"/>
                  <a:gd name="connsiteX4" fmla="*/ 2371726 w 2371726"/>
                  <a:gd name="connsiteY4" fmla="*/ 454026 h 690563"/>
                  <a:gd name="connsiteX5" fmla="*/ 2162176 w 2371726"/>
                  <a:gd name="connsiteY5" fmla="*/ 454026 h 690563"/>
                  <a:gd name="connsiteX6" fmla="*/ 2257390 w 2371726"/>
                  <a:gd name="connsiteY6" fmla="*/ 690563 h 690563"/>
                  <a:gd name="connsiteX7" fmla="*/ 0 w 2371726"/>
                  <a:gd name="connsiteY7" fmla="*/ 690563 h 690563"/>
                  <a:gd name="connsiteX8" fmla="*/ 0 w 2371726"/>
                  <a:gd name="connsiteY8" fmla="*/ 0 h 690563"/>
                  <a:gd name="connsiteX0" fmla="*/ 0 w 2371726"/>
                  <a:gd name="connsiteY0" fmla="*/ 0 h 690563"/>
                  <a:gd name="connsiteX1" fmla="*/ 2257390 w 2371726"/>
                  <a:gd name="connsiteY1" fmla="*/ 1 h 690563"/>
                  <a:gd name="connsiteX2" fmla="*/ 2162176 w 2371726"/>
                  <a:gd name="connsiteY2" fmla="*/ 239714 h 690563"/>
                  <a:gd name="connsiteX3" fmla="*/ 2371725 w 2371726"/>
                  <a:gd name="connsiteY3" fmla="*/ 239714 h 690563"/>
                  <a:gd name="connsiteX4" fmla="*/ 2371726 w 2371726"/>
                  <a:gd name="connsiteY4" fmla="*/ 454026 h 690563"/>
                  <a:gd name="connsiteX5" fmla="*/ 2257390 w 2371726"/>
                  <a:gd name="connsiteY5" fmla="*/ 455739 h 690563"/>
                  <a:gd name="connsiteX6" fmla="*/ 2257390 w 2371726"/>
                  <a:gd name="connsiteY6" fmla="*/ 690563 h 690563"/>
                  <a:gd name="connsiteX7" fmla="*/ 0 w 2371726"/>
                  <a:gd name="connsiteY7" fmla="*/ 690563 h 690563"/>
                  <a:gd name="connsiteX8" fmla="*/ 0 w 2371726"/>
                  <a:gd name="connsiteY8" fmla="*/ 0 h 690563"/>
                  <a:gd name="connsiteX0" fmla="*/ 0 w 2371726"/>
                  <a:gd name="connsiteY0" fmla="*/ 0 h 690563"/>
                  <a:gd name="connsiteX1" fmla="*/ 2257390 w 2371726"/>
                  <a:gd name="connsiteY1" fmla="*/ 1 h 690563"/>
                  <a:gd name="connsiteX2" fmla="*/ 2257390 w 2371726"/>
                  <a:gd name="connsiteY2" fmla="*/ 240878 h 690563"/>
                  <a:gd name="connsiteX3" fmla="*/ 2371725 w 2371726"/>
                  <a:gd name="connsiteY3" fmla="*/ 239714 h 690563"/>
                  <a:gd name="connsiteX4" fmla="*/ 2371726 w 2371726"/>
                  <a:gd name="connsiteY4" fmla="*/ 454026 h 690563"/>
                  <a:gd name="connsiteX5" fmla="*/ 2257390 w 2371726"/>
                  <a:gd name="connsiteY5" fmla="*/ 455739 h 690563"/>
                  <a:gd name="connsiteX6" fmla="*/ 2257390 w 2371726"/>
                  <a:gd name="connsiteY6" fmla="*/ 690563 h 690563"/>
                  <a:gd name="connsiteX7" fmla="*/ 0 w 2371726"/>
                  <a:gd name="connsiteY7" fmla="*/ 690563 h 690563"/>
                  <a:gd name="connsiteX8" fmla="*/ 0 w 2371726"/>
                  <a:gd name="connsiteY8" fmla="*/ 0 h 690563"/>
                  <a:gd name="connsiteX0" fmla="*/ 0 w 2371726"/>
                  <a:gd name="connsiteY0" fmla="*/ 0 h 690563"/>
                  <a:gd name="connsiteX1" fmla="*/ 2216896 w 2371726"/>
                  <a:gd name="connsiteY1" fmla="*/ 0 h 690563"/>
                  <a:gd name="connsiteX2" fmla="*/ 2257390 w 2371726"/>
                  <a:gd name="connsiteY2" fmla="*/ 240878 h 690563"/>
                  <a:gd name="connsiteX3" fmla="*/ 2371725 w 2371726"/>
                  <a:gd name="connsiteY3" fmla="*/ 239714 h 690563"/>
                  <a:gd name="connsiteX4" fmla="*/ 2371726 w 2371726"/>
                  <a:gd name="connsiteY4" fmla="*/ 454026 h 690563"/>
                  <a:gd name="connsiteX5" fmla="*/ 2257390 w 2371726"/>
                  <a:gd name="connsiteY5" fmla="*/ 455739 h 690563"/>
                  <a:gd name="connsiteX6" fmla="*/ 2257390 w 2371726"/>
                  <a:gd name="connsiteY6" fmla="*/ 690563 h 690563"/>
                  <a:gd name="connsiteX7" fmla="*/ 0 w 2371726"/>
                  <a:gd name="connsiteY7" fmla="*/ 690563 h 690563"/>
                  <a:gd name="connsiteX8" fmla="*/ 0 w 2371726"/>
                  <a:gd name="connsiteY8" fmla="*/ 0 h 690563"/>
                  <a:gd name="connsiteX0" fmla="*/ 0 w 2371726"/>
                  <a:gd name="connsiteY0" fmla="*/ 0 h 690563"/>
                  <a:gd name="connsiteX1" fmla="*/ 2216896 w 2371726"/>
                  <a:gd name="connsiteY1" fmla="*/ 0 h 690563"/>
                  <a:gd name="connsiteX2" fmla="*/ 2216896 w 2371726"/>
                  <a:gd name="connsiteY2" fmla="*/ 242886 h 690563"/>
                  <a:gd name="connsiteX3" fmla="*/ 2371725 w 2371726"/>
                  <a:gd name="connsiteY3" fmla="*/ 239714 h 690563"/>
                  <a:gd name="connsiteX4" fmla="*/ 2371726 w 2371726"/>
                  <a:gd name="connsiteY4" fmla="*/ 454026 h 690563"/>
                  <a:gd name="connsiteX5" fmla="*/ 2257390 w 2371726"/>
                  <a:gd name="connsiteY5" fmla="*/ 455739 h 690563"/>
                  <a:gd name="connsiteX6" fmla="*/ 2257390 w 2371726"/>
                  <a:gd name="connsiteY6" fmla="*/ 690563 h 690563"/>
                  <a:gd name="connsiteX7" fmla="*/ 0 w 2371726"/>
                  <a:gd name="connsiteY7" fmla="*/ 690563 h 690563"/>
                  <a:gd name="connsiteX8" fmla="*/ 0 w 2371726"/>
                  <a:gd name="connsiteY8" fmla="*/ 0 h 690563"/>
                  <a:gd name="connsiteX0" fmla="*/ 0 w 2389349"/>
                  <a:gd name="connsiteY0" fmla="*/ 0 h 690563"/>
                  <a:gd name="connsiteX1" fmla="*/ 2216896 w 2389349"/>
                  <a:gd name="connsiteY1" fmla="*/ 0 h 690563"/>
                  <a:gd name="connsiteX2" fmla="*/ 2216896 w 2389349"/>
                  <a:gd name="connsiteY2" fmla="*/ 242886 h 690563"/>
                  <a:gd name="connsiteX3" fmla="*/ 2389349 w 2389349"/>
                  <a:gd name="connsiteY3" fmla="*/ 242886 h 690563"/>
                  <a:gd name="connsiteX4" fmla="*/ 2371726 w 2389349"/>
                  <a:gd name="connsiteY4" fmla="*/ 454026 h 690563"/>
                  <a:gd name="connsiteX5" fmla="*/ 2257390 w 2389349"/>
                  <a:gd name="connsiteY5" fmla="*/ 455739 h 690563"/>
                  <a:gd name="connsiteX6" fmla="*/ 2257390 w 2389349"/>
                  <a:gd name="connsiteY6" fmla="*/ 690563 h 690563"/>
                  <a:gd name="connsiteX7" fmla="*/ 0 w 2389349"/>
                  <a:gd name="connsiteY7" fmla="*/ 690563 h 690563"/>
                  <a:gd name="connsiteX8" fmla="*/ 0 w 2389349"/>
                  <a:gd name="connsiteY8" fmla="*/ 0 h 690563"/>
                  <a:gd name="connsiteX0" fmla="*/ 0 w 2389349"/>
                  <a:gd name="connsiteY0" fmla="*/ 0 h 690563"/>
                  <a:gd name="connsiteX1" fmla="*/ 2216896 w 2389349"/>
                  <a:gd name="connsiteY1" fmla="*/ 0 h 690563"/>
                  <a:gd name="connsiteX2" fmla="*/ 2216896 w 2389349"/>
                  <a:gd name="connsiteY2" fmla="*/ 242886 h 690563"/>
                  <a:gd name="connsiteX3" fmla="*/ 2389349 w 2389349"/>
                  <a:gd name="connsiteY3" fmla="*/ 242886 h 690563"/>
                  <a:gd name="connsiteX4" fmla="*/ 2389349 w 2389349"/>
                  <a:gd name="connsiteY4" fmla="*/ 457029 h 690563"/>
                  <a:gd name="connsiteX5" fmla="*/ 2257390 w 2389349"/>
                  <a:gd name="connsiteY5" fmla="*/ 455739 h 690563"/>
                  <a:gd name="connsiteX6" fmla="*/ 2257390 w 2389349"/>
                  <a:gd name="connsiteY6" fmla="*/ 690563 h 690563"/>
                  <a:gd name="connsiteX7" fmla="*/ 0 w 2389349"/>
                  <a:gd name="connsiteY7" fmla="*/ 690563 h 690563"/>
                  <a:gd name="connsiteX8" fmla="*/ 0 w 2389349"/>
                  <a:gd name="connsiteY8" fmla="*/ 0 h 690563"/>
                  <a:gd name="connsiteX0" fmla="*/ 0 w 2389349"/>
                  <a:gd name="connsiteY0" fmla="*/ 0 h 690563"/>
                  <a:gd name="connsiteX1" fmla="*/ 2216896 w 2389349"/>
                  <a:gd name="connsiteY1" fmla="*/ 0 h 690563"/>
                  <a:gd name="connsiteX2" fmla="*/ 2216896 w 2389349"/>
                  <a:gd name="connsiteY2" fmla="*/ 242886 h 690563"/>
                  <a:gd name="connsiteX3" fmla="*/ 2389349 w 2389349"/>
                  <a:gd name="connsiteY3" fmla="*/ 242886 h 690563"/>
                  <a:gd name="connsiteX4" fmla="*/ 2389349 w 2389349"/>
                  <a:gd name="connsiteY4" fmla="*/ 457029 h 690563"/>
                  <a:gd name="connsiteX5" fmla="*/ 2216895 w 2389349"/>
                  <a:gd name="connsiteY5" fmla="*/ 457029 h 690563"/>
                  <a:gd name="connsiteX6" fmla="*/ 2257390 w 2389349"/>
                  <a:gd name="connsiteY6" fmla="*/ 690563 h 690563"/>
                  <a:gd name="connsiteX7" fmla="*/ 0 w 2389349"/>
                  <a:gd name="connsiteY7" fmla="*/ 690563 h 690563"/>
                  <a:gd name="connsiteX8" fmla="*/ 0 w 2389349"/>
                  <a:gd name="connsiteY8" fmla="*/ 0 h 690563"/>
                  <a:gd name="connsiteX0" fmla="*/ 0 w 2389349"/>
                  <a:gd name="connsiteY0" fmla="*/ 0 h 691158"/>
                  <a:gd name="connsiteX1" fmla="*/ 2216896 w 2389349"/>
                  <a:gd name="connsiteY1" fmla="*/ 0 h 691158"/>
                  <a:gd name="connsiteX2" fmla="*/ 2216896 w 2389349"/>
                  <a:gd name="connsiteY2" fmla="*/ 242886 h 691158"/>
                  <a:gd name="connsiteX3" fmla="*/ 2389349 w 2389349"/>
                  <a:gd name="connsiteY3" fmla="*/ 242886 h 691158"/>
                  <a:gd name="connsiteX4" fmla="*/ 2389349 w 2389349"/>
                  <a:gd name="connsiteY4" fmla="*/ 457029 h 691158"/>
                  <a:gd name="connsiteX5" fmla="*/ 2216895 w 2389349"/>
                  <a:gd name="connsiteY5" fmla="*/ 457029 h 691158"/>
                  <a:gd name="connsiteX6" fmla="*/ 2216895 w 2389349"/>
                  <a:gd name="connsiteY6" fmla="*/ 691158 h 691158"/>
                  <a:gd name="connsiteX7" fmla="*/ 0 w 2389349"/>
                  <a:gd name="connsiteY7" fmla="*/ 690563 h 691158"/>
                  <a:gd name="connsiteX8" fmla="*/ 0 w 2389349"/>
                  <a:gd name="connsiteY8" fmla="*/ 0 h 691158"/>
                  <a:gd name="connsiteX0" fmla="*/ 0 w 2389349"/>
                  <a:gd name="connsiteY0" fmla="*/ 0 h 691158"/>
                  <a:gd name="connsiteX1" fmla="*/ 2216896 w 2389349"/>
                  <a:gd name="connsiteY1" fmla="*/ 0 h 691158"/>
                  <a:gd name="connsiteX2" fmla="*/ 2216896 w 2389349"/>
                  <a:gd name="connsiteY2" fmla="*/ 242886 h 691158"/>
                  <a:gd name="connsiteX3" fmla="*/ 2326452 w 2389349"/>
                  <a:gd name="connsiteY3" fmla="*/ 247692 h 691158"/>
                  <a:gd name="connsiteX4" fmla="*/ 2389349 w 2389349"/>
                  <a:gd name="connsiteY4" fmla="*/ 457029 h 691158"/>
                  <a:gd name="connsiteX5" fmla="*/ 2216895 w 2389349"/>
                  <a:gd name="connsiteY5" fmla="*/ 457029 h 691158"/>
                  <a:gd name="connsiteX6" fmla="*/ 2216895 w 2389349"/>
                  <a:gd name="connsiteY6" fmla="*/ 691158 h 691158"/>
                  <a:gd name="connsiteX7" fmla="*/ 0 w 2389349"/>
                  <a:gd name="connsiteY7" fmla="*/ 690563 h 691158"/>
                  <a:gd name="connsiteX8" fmla="*/ 0 w 2389349"/>
                  <a:gd name="connsiteY8" fmla="*/ 0 h 691158"/>
                  <a:gd name="connsiteX0" fmla="*/ 0 w 2326452"/>
                  <a:gd name="connsiteY0" fmla="*/ 0 h 691158"/>
                  <a:gd name="connsiteX1" fmla="*/ 2216896 w 2326452"/>
                  <a:gd name="connsiteY1" fmla="*/ 0 h 691158"/>
                  <a:gd name="connsiteX2" fmla="*/ 2216896 w 2326452"/>
                  <a:gd name="connsiteY2" fmla="*/ 242886 h 691158"/>
                  <a:gd name="connsiteX3" fmla="*/ 2326452 w 2326452"/>
                  <a:gd name="connsiteY3" fmla="*/ 247692 h 691158"/>
                  <a:gd name="connsiteX4" fmla="*/ 2326452 w 2326452"/>
                  <a:gd name="connsiteY4" fmla="*/ 460408 h 691158"/>
                  <a:gd name="connsiteX5" fmla="*/ 2216895 w 2326452"/>
                  <a:gd name="connsiteY5" fmla="*/ 457029 h 691158"/>
                  <a:gd name="connsiteX6" fmla="*/ 2216895 w 2326452"/>
                  <a:gd name="connsiteY6" fmla="*/ 691158 h 691158"/>
                  <a:gd name="connsiteX7" fmla="*/ 0 w 2326452"/>
                  <a:gd name="connsiteY7" fmla="*/ 690563 h 691158"/>
                  <a:gd name="connsiteX8" fmla="*/ 0 w 2326452"/>
                  <a:gd name="connsiteY8" fmla="*/ 0 h 691158"/>
                  <a:gd name="connsiteX0" fmla="*/ 0 w 2326452"/>
                  <a:gd name="connsiteY0" fmla="*/ 0 h 691158"/>
                  <a:gd name="connsiteX1" fmla="*/ 2216896 w 2326452"/>
                  <a:gd name="connsiteY1" fmla="*/ 0 h 691158"/>
                  <a:gd name="connsiteX2" fmla="*/ 2218026 w 2326452"/>
                  <a:gd name="connsiteY2" fmla="*/ 247692 h 691158"/>
                  <a:gd name="connsiteX3" fmla="*/ 2326452 w 2326452"/>
                  <a:gd name="connsiteY3" fmla="*/ 247692 h 691158"/>
                  <a:gd name="connsiteX4" fmla="*/ 2326452 w 2326452"/>
                  <a:gd name="connsiteY4" fmla="*/ 460408 h 691158"/>
                  <a:gd name="connsiteX5" fmla="*/ 2216895 w 2326452"/>
                  <a:gd name="connsiteY5" fmla="*/ 457029 h 691158"/>
                  <a:gd name="connsiteX6" fmla="*/ 2216895 w 2326452"/>
                  <a:gd name="connsiteY6" fmla="*/ 691158 h 691158"/>
                  <a:gd name="connsiteX7" fmla="*/ 0 w 2326452"/>
                  <a:gd name="connsiteY7" fmla="*/ 690563 h 691158"/>
                  <a:gd name="connsiteX8" fmla="*/ 0 w 2326452"/>
                  <a:gd name="connsiteY8" fmla="*/ 0 h 691158"/>
                  <a:gd name="connsiteX0" fmla="*/ 0 w 2326452"/>
                  <a:gd name="connsiteY0" fmla="*/ 0 h 691158"/>
                  <a:gd name="connsiteX1" fmla="*/ 2216896 w 2326452"/>
                  <a:gd name="connsiteY1" fmla="*/ 0 h 691158"/>
                  <a:gd name="connsiteX2" fmla="*/ 2218026 w 2326452"/>
                  <a:gd name="connsiteY2" fmla="*/ 247692 h 691158"/>
                  <a:gd name="connsiteX3" fmla="*/ 2326452 w 2326452"/>
                  <a:gd name="connsiteY3" fmla="*/ 247692 h 691158"/>
                  <a:gd name="connsiteX4" fmla="*/ 2326452 w 2326452"/>
                  <a:gd name="connsiteY4" fmla="*/ 460408 h 691158"/>
                  <a:gd name="connsiteX5" fmla="*/ 2216895 w 2326452"/>
                  <a:gd name="connsiteY5" fmla="*/ 457029 h 691158"/>
                  <a:gd name="connsiteX6" fmla="*/ 2216895 w 2326452"/>
                  <a:gd name="connsiteY6" fmla="*/ 691158 h 691158"/>
                  <a:gd name="connsiteX7" fmla="*/ 0 w 2326452"/>
                  <a:gd name="connsiteY7" fmla="*/ 690563 h 691158"/>
                  <a:gd name="connsiteX8" fmla="*/ 0 w 2326452"/>
                  <a:gd name="connsiteY8" fmla="*/ 0 h 691158"/>
                  <a:gd name="connsiteX0" fmla="*/ 0 w 2326452"/>
                  <a:gd name="connsiteY0" fmla="*/ 0 h 691158"/>
                  <a:gd name="connsiteX1" fmla="*/ 2216896 w 2326452"/>
                  <a:gd name="connsiteY1" fmla="*/ 0 h 691158"/>
                  <a:gd name="connsiteX2" fmla="*/ 2218026 w 2326452"/>
                  <a:gd name="connsiteY2" fmla="*/ 247692 h 691158"/>
                  <a:gd name="connsiteX3" fmla="*/ 2326452 w 2326452"/>
                  <a:gd name="connsiteY3" fmla="*/ 247692 h 691158"/>
                  <a:gd name="connsiteX4" fmla="*/ 2326452 w 2326452"/>
                  <a:gd name="connsiteY4" fmla="*/ 460408 h 691158"/>
                  <a:gd name="connsiteX5" fmla="*/ 2216895 w 2326452"/>
                  <a:gd name="connsiteY5" fmla="*/ 457029 h 691158"/>
                  <a:gd name="connsiteX6" fmla="*/ 2216895 w 2326452"/>
                  <a:gd name="connsiteY6" fmla="*/ 691158 h 691158"/>
                  <a:gd name="connsiteX7" fmla="*/ 0 w 2326452"/>
                  <a:gd name="connsiteY7" fmla="*/ 690563 h 691158"/>
                  <a:gd name="connsiteX8" fmla="*/ 0 w 2326452"/>
                  <a:gd name="connsiteY8" fmla="*/ 0 h 691158"/>
                  <a:gd name="connsiteX0" fmla="*/ 0 w 2326452"/>
                  <a:gd name="connsiteY0" fmla="*/ 0 h 691158"/>
                  <a:gd name="connsiteX1" fmla="*/ 2216896 w 2326452"/>
                  <a:gd name="connsiteY1" fmla="*/ 0 h 691158"/>
                  <a:gd name="connsiteX2" fmla="*/ 2218026 w 2326452"/>
                  <a:gd name="connsiteY2" fmla="*/ 247692 h 691158"/>
                  <a:gd name="connsiteX3" fmla="*/ 2326452 w 2326452"/>
                  <a:gd name="connsiteY3" fmla="*/ 247692 h 691158"/>
                  <a:gd name="connsiteX4" fmla="*/ 2326452 w 2326452"/>
                  <a:gd name="connsiteY4" fmla="*/ 460408 h 691158"/>
                  <a:gd name="connsiteX5" fmla="*/ 2216895 w 2326452"/>
                  <a:gd name="connsiteY5" fmla="*/ 460408 h 691158"/>
                  <a:gd name="connsiteX6" fmla="*/ 2216895 w 2326452"/>
                  <a:gd name="connsiteY6" fmla="*/ 691158 h 691158"/>
                  <a:gd name="connsiteX7" fmla="*/ 0 w 2326452"/>
                  <a:gd name="connsiteY7" fmla="*/ 690563 h 691158"/>
                  <a:gd name="connsiteX8" fmla="*/ 0 w 2326452"/>
                  <a:gd name="connsiteY8" fmla="*/ 0 h 691158"/>
                  <a:gd name="connsiteX0" fmla="*/ 0 w 2326452"/>
                  <a:gd name="connsiteY0" fmla="*/ 0 h 691158"/>
                  <a:gd name="connsiteX1" fmla="*/ 2216896 w 2326452"/>
                  <a:gd name="connsiteY1" fmla="*/ 0 h 691158"/>
                  <a:gd name="connsiteX2" fmla="*/ 2218026 w 2326452"/>
                  <a:gd name="connsiteY2" fmla="*/ 247692 h 691158"/>
                  <a:gd name="connsiteX3" fmla="*/ 2326452 w 2326452"/>
                  <a:gd name="connsiteY3" fmla="*/ 247692 h 691158"/>
                  <a:gd name="connsiteX4" fmla="*/ 2326452 w 2326452"/>
                  <a:gd name="connsiteY4" fmla="*/ 442059 h 691158"/>
                  <a:gd name="connsiteX5" fmla="*/ 2216895 w 2326452"/>
                  <a:gd name="connsiteY5" fmla="*/ 460408 h 691158"/>
                  <a:gd name="connsiteX6" fmla="*/ 2216895 w 2326452"/>
                  <a:gd name="connsiteY6" fmla="*/ 691158 h 691158"/>
                  <a:gd name="connsiteX7" fmla="*/ 0 w 2326452"/>
                  <a:gd name="connsiteY7" fmla="*/ 690563 h 691158"/>
                  <a:gd name="connsiteX8" fmla="*/ 0 w 2326452"/>
                  <a:gd name="connsiteY8" fmla="*/ 0 h 691158"/>
                  <a:gd name="connsiteX0" fmla="*/ 0 w 2326452"/>
                  <a:gd name="connsiteY0" fmla="*/ 0 h 691158"/>
                  <a:gd name="connsiteX1" fmla="*/ 2216896 w 2326452"/>
                  <a:gd name="connsiteY1" fmla="*/ 0 h 691158"/>
                  <a:gd name="connsiteX2" fmla="*/ 2218026 w 2326452"/>
                  <a:gd name="connsiteY2" fmla="*/ 247692 h 691158"/>
                  <a:gd name="connsiteX3" fmla="*/ 2326452 w 2326452"/>
                  <a:gd name="connsiteY3" fmla="*/ 247692 h 691158"/>
                  <a:gd name="connsiteX4" fmla="*/ 2326452 w 2326452"/>
                  <a:gd name="connsiteY4" fmla="*/ 442059 h 691158"/>
                  <a:gd name="connsiteX5" fmla="*/ 2216895 w 2326452"/>
                  <a:gd name="connsiteY5" fmla="*/ 442059 h 691158"/>
                  <a:gd name="connsiteX6" fmla="*/ 2216895 w 2326452"/>
                  <a:gd name="connsiteY6" fmla="*/ 691158 h 691158"/>
                  <a:gd name="connsiteX7" fmla="*/ 0 w 2326452"/>
                  <a:gd name="connsiteY7" fmla="*/ 690563 h 691158"/>
                  <a:gd name="connsiteX8" fmla="*/ 0 w 2326452"/>
                  <a:gd name="connsiteY8" fmla="*/ 0 h 691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26452" h="691158">
                    <a:moveTo>
                      <a:pt x="0" y="0"/>
                    </a:moveTo>
                    <a:lnTo>
                      <a:pt x="2216896" y="0"/>
                    </a:lnTo>
                    <a:cubicBezTo>
                      <a:pt x="2217273" y="82564"/>
                      <a:pt x="2217649" y="165128"/>
                      <a:pt x="2218026" y="247692"/>
                    </a:cubicBezTo>
                    <a:lnTo>
                      <a:pt x="2326452" y="247692"/>
                    </a:lnTo>
                    <a:lnTo>
                      <a:pt x="2326452" y="442059"/>
                    </a:lnTo>
                    <a:lnTo>
                      <a:pt x="2216895" y="442059"/>
                    </a:lnTo>
                    <a:lnTo>
                      <a:pt x="2216895" y="691158"/>
                    </a:lnTo>
                    <a:lnTo>
                      <a:pt x="0" y="690563"/>
                    </a:lnTo>
                    <a:lnTo>
                      <a:pt x="0" y="0"/>
                    </a:lnTo>
                    <a:close/>
                  </a:path>
                </a:pathLst>
              </a:custGeom>
              <a:solidFill>
                <a:srgbClr val="58A618"/>
              </a:solidFill>
              <a:ln w="12700" cap="flat" cmpd="sng" algn="ctr">
                <a:solidFill>
                  <a:srgbClr val="58A618"/>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685862">
                  <a:buClr>
                    <a:srgbClr val="58A618"/>
                  </a:buClr>
                  <a:defRPr/>
                </a:pPr>
                <a:endParaRPr lang="en-US" kern="0">
                  <a:solidFill>
                    <a:srgbClr val="000000"/>
                  </a:solidFill>
                </a:endParaRPr>
              </a:p>
            </p:txBody>
          </p:sp>
          <p:sp>
            <p:nvSpPr>
              <p:cNvPr id="106" name="Freeform 105"/>
              <p:cNvSpPr/>
              <p:nvPr/>
            </p:nvSpPr>
            <p:spPr bwMode="auto">
              <a:xfrm flipH="1">
                <a:off x="3890738" y="4919094"/>
                <a:ext cx="3922396" cy="859536"/>
              </a:xfrm>
              <a:custGeom>
                <a:avLst/>
                <a:gdLst>
                  <a:gd name="connsiteX0" fmla="*/ 0 w 2388870"/>
                  <a:gd name="connsiteY0" fmla="*/ 0 h 693420"/>
                  <a:gd name="connsiteX1" fmla="*/ 2377440 w 2388870"/>
                  <a:gd name="connsiteY1" fmla="*/ 0 h 693420"/>
                  <a:gd name="connsiteX2" fmla="*/ 2377440 w 2388870"/>
                  <a:gd name="connsiteY2" fmla="*/ 243840 h 693420"/>
                  <a:gd name="connsiteX3" fmla="*/ 2156460 w 2388870"/>
                  <a:gd name="connsiteY3" fmla="*/ 240030 h 693420"/>
                  <a:gd name="connsiteX4" fmla="*/ 2164080 w 2388870"/>
                  <a:gd name="connsiteY4" fmla="*/ 453390 h 693420"/>
                  <a:gd name="connsiteX5" fmla="*/ 2388870 w 2388870"/>
                  <a:gd name="connsiteY5" fmla="*/ 453390 h 693420"/>
                  <a:gd name="connsiteX6" fmla="*/ 2373630 w 2388870"/>
                  <a:gd name="connsiteY6" fmla="*/ 689610 h 693420"/>
                  <a:gd name="connsiteX7" fmla="*/ 7620 w 2388870"/>
                  <a:gd name="connsiteY7" fmla="*/ 693420 h 693420"/>
                  <a:gd name="connsiteX8" fmla="*/ 0 w 2388870"/>
                  <a:gd name="connsiteY8" fmla="*/ 0 h 693420"/>
                  <a:gd name="connsiteX0" fmla="*/ 0 w 2385060"/>
                  <a:gd name="connsiteY0" fmla="*/ 0 h 693420"/>
                  <a:gd name="connsiteX1" fmla="*/ 2373630 w 2385060"/>
                  <a:gd name="connsiteY1" fmla="*/ 0 h 693420"/>
                  <a:gd name="connsiteX2" fmla="*/ 2373630 w 2385060"/>
                  <a:gd name="connsiteY2" fmla="*/ 243840 h 693420"/>
                  <a:gd name="connsiteX3" fmla="*/ 2152650 w 2385060"/>
                  <a:gd name="connsiteY3" fmla="*/ 240030 h 693420"/>
                  <a:gd name="connsiteX4" fmla="*/ 2160270 w 2385060"/>
                  <a:gd name="connsiteY4" fmla="*/ 453390 h 693420"/>
                  <a:gd name="connsiteX5" fmla="*/ 2385060 w 2385060"/>
                  <a:gd name="connsiteY5" fmla="*/ 453390 h 693420"/>
                  <a:gd name="connsiteX6" fmla="*/ 2369820 w 2385060"/>
                  <a:gd name="connsiteY6" fmla="*/ 689610 h 693420"/>
                  <a:gd name="connsiteX7" fmla="*/ 3810 w 2385060"/>
                  <a:gd name="connsiteY7" fmla="*/ 693420 h 693420"/>
                  <a:gd name="connsiteX8" fmla="*/ 0 w 2385060"/>
                  <a:gd name="connsiteY8" fmla="*/ 0 h 693420"/>
                  <a:gd name="connsiteX0" fmla="*/ 0 w 2385060"/>
                  <a:gd name="connsiteY0" fmla="*/ 0 h 690563"/>
                  <a:gd name="connsiteX1" fmla="*/ 2373630 w 2385060"/>
                  <a:gd name="connsiteY1" fmla="*/ 0 h 690563"/>
                  <a:gd name="connsiteX2" fmla="*/ 2373630 w 2385060"/>
                  <a:gd name="connsiteY2" fmla="*/ 243840 h 690563"/>
                  <a:gd name="connsiteX3" fmla="*/ 2152650 w 2385060"/>
                  <a:gd name="connsiteY3" fmla="*/ 240030 h 690563"/>
                  <a:gd name="connsiteX4" fmla="*/ 2160270 w 2385060"/>
                  <a:gd name="connsiteY4" fmla="*/ 453390 h 690563"/>
                  <a:gd name="connsiteX5" fmla="*/ 2385060 w 2385060"/>
                  <a:gd name="connsiteY5" fmla="*/ 453390 h 690563"/>
                  <a:gd name="connsiteX6" fmla="*/ 2369820 w 2385060"/>
                  <a:gd name="connsiteY6" fmla="*/ 689610 h 690563"/>
                  <a:gd name="connsiteX7" fmla="*/ 0 w 2385060"/>
                  <a:gd name="connsiteY7" fmla="*/ 690563 h 690563"/>
                  <a:gd name="connsiteX8" fmla="*/ 0 w 2385060"/>
                  <a:gd name="connsiteY8" fmla="*/ 0 h 690563"/>
                  <a:gd name="connsiteX0" fmla="*/ 0 w 2385060"/>
                  <a:gd name="connsiteY0" fmla="*/ 0 h 690564"/>
                  <a:gd name="connsiteX1" fmla="*/ 2373630 w 2385060"/>
                  <a:gd name="connsiteY1" fmla="*/ 0 h 690564"/>
                  <a:gd name="connsiteX2" fmla="*/ 2373630 w 2385060"/>
                  <a:gd name="connsiteY2" fmla="*/ 243840 h 690564"/>
                  <a:gd name="connsiteX3" fmla="*/ 2152650 w 2385060"/>
                  <a:gd name="connsiteY3" fmla="*/ 240030 h 690564"/>
                  <a:gd name="connsiteX4" fmla="*/ 2160270 w 2385060"/>
                  <a:gd name="connsiteY4" fmla="*/ 453390 h 690564"/>
                  <a:gd name="connsiteX5" fmla="*/ 2385060 w 2385060"/>
                  <a:gd name="connsiteY5" fmla="*/ 453390 h 690564"/>
                  <a:gd name="connsiteX6" fmla="*/ 2371725 w 2385060"/>
                  <a:gd name="connsiteY6" fmla="*/ 690564 h 690564"/>
                  <a:gd name="connsiteX7" fmla="*/ 0 w 2385060"/>
                  <a:gd name="connsiteY7" fmla="*/ 690563 h 690564"/>
                  <a:gd name="connsiteX8" fmla="*/ 0 w 2385060"/>
                  <a:gd name="connsiteY8" fmla="*/ 0 h 690564"/>
                  <a:gd name="connsiteX0" fmla="*/ 0 w 2373630"/>
                  <a:gd name="connsiteY0" fmla="*/ 0 h 690564"/>
                  <a:gd name="connsiteX1" fmla="*/ 2373630 w 2373630"/>
                  <a:gd name="connsiteY1" fmla="*/ 0 h 690564"/>
                  <a:gd name="connsiteX2" fmla="*/ 2373630 w 2373630"/>
                  <a:gd name="connsiteY2" fmla="*/ 243840 h 690564"/>
                  <a:gd name="connsiteX3" fmla="*/ 2152650 w 2373630"/>
                  <a:gd name="connsiteY3" fmla="*/ 240030 h 690564"/>
                  <a:gd name="connsiteX4" fmla="*/ 2160270 w 2373630"/>
                  <a:gd name="connsiteY4" fmla="*/ 453390 h 690564"/>
                  <a:gd name="connsiteX5" fmla="*/ 2371725 w 2373630"/>
                  <a:gd name="connsiteY5" fmla="*/ 454025 h 690564"/>
                  <a:gd name="connsiteX6" fmla="*/ 2371725 w 2373630"/>
                  <a:gd name="connsiteY6" fmla="*/ 690564 h 690564"/>
                  <a:gd name="connsiteX7" fmla="*/ 0 w 2373630"/>
                  <a:gd name="connsiteY7" fmla="*/ 690563 h 690564"/>
                  <a:gd name="connsiteX8" fmla="*/ 0 w 2373630"/>
                  <a:gd name="connsiteY8" fmla="*/ 0 h 690564"/>
                  <a:gd name="connsiteX0" fmla="*/ 0 w 2373630"/>
                  <a:gd name="connsiteY0" fmla="*/ 0 h 690564"/>
                  <a:gd name="connsiteX1" fmla="*/ 2373630 w 2373630"/>
                  <a:gd name="connsiteY1" fmla="*/ 0 h 690564"/>
                  <a:gd name="connsiteX2" fmla="*/ 2373630 w 2373630"/>
                  <a:gd name="connsiteY2" fmla="*/ 243840 h 690564"/>
                  <a:gd name="connsiteX3" fmla="*/ 2162175 w 2373630"/>
                  <a:gd name="connsiteY3" fmla="*/ 239713 h 690564"/>
                  <a:gd name="connsiteX4" fmla="*/ 2160270 w 2373630"/>
                  <a:gd name="connsiteY4" fmla="*/ 453390 h 690564"/>
                  <a:gd name="connsiteX5" fmla="*/ 2371725 w 2373630"/>
                  <a:gd name="connsiteY5" fmla="*/ 454025 h 690564"/>
                  <a:gd name="connsiteX6" fmla="*/ 2371725 w 2373630"/>
                  <a:gd name="connsiteY6" fmla="*/ 690564 h 690564"/>
                  <a:gd name="connsiteX7" fmla="*/ 0 w 2373630"/>
                  <a:gd name="connsiteY7" fmla="*/ 690563 h 690564"/>
                  <a:gd name="connsiteX8" fmla="*/ 0 w 2373630"/>
                  <a:gd name="connsiteY8" fmla="*/ 0 h 690564"/>
                  <a:gd name="connsiteX0" fmla="*/ 0 w 2373630"/>
                  <a:gd name="connsiteY0" fmla="*/ 0 h 690564"/>
                  <a:gd name="connsiteX1" fmla="*/ 2373630 w 2373630"/>
                  <a:gd name="connsiteY1" fmla="*/ 0 h 690564"/>
                  <a:gd name="connsiteX2" fmla="*/ 2371725 w 2373630"/>
                  <a:gd name="connsiteY2" fmla="*/ 239713 h 690564"/>
                  <a:gd name="connsiteX3" fmla="*/ 2162175 w 2373630"/>
                  <a:gd name="connsiteY3" fmla="*/ 239713 h 690564"/>
                  <a:gd name="connsiteX4" fmla="*/ 2160270 w 2373630"/>
                  <a:gd name="connsiteY4" fmla="*/ 453390 h 690564"/>
                  <a:gd name="connsiteX5" fmla="*/ 2371725 w 2373630"/>
                  <a:gd name="connsiteY5" fmla="*/ 454025 h 690564"/>
                  <a:gd name="connsiteX6" fmla="*/ 2371725 w 2373630"/>
                  <a:gd name="connsiteY6" fmla="*/ 690564 h 690564"/>
                  <a:gd name="connsiteX7" fmla="*/ 0 w 2373630"/>
                  <a:gd name="connsiteY7" fmla="*/ 690563 h 690564"/>
                  <a:gd name="connsiteX8" fmla="*/ 0 w 2373630"/>
                  <a:gd name="connsiteY8" fmla="*/ 0 h 690564"/>
                  <a:gd name="connsiteX0" fmla="*/ 0 w 2373630"/>
                  <a:gd name="connsiteY0" fmla="*/ 0 h 690564"/>
                  <a:gd name="connsiteX1" fmla="*/ 2373630 w 2373630"/>
                  <a:gd name="connsiteY1" fmla="*/ 0 h 690564"/>
                  <a:gd name="connsiteX2" fmla="*/ 2371725 w 2373630"/>
                  <a:gd name="connsiteY2" fmla="*/ 239713 h 690564"/>
                  <a:gd name="connsiteX3" fmla="*/ 2162175 w 2373630"/>
                  <a:gd name="connsiteY3" fmla="*/ 239713 h 690564"/>
                  <a:gd name="connsiteX4" fmla="*/ 2160270 w 2373630"/>
                  <a:gd name="connsiteY4" fmla="*/ 453390 h 690564"/>
                  <a:gd name="connsiteX5" fmla="*/ 2371725 w 2373630"/>
                  <a:gd name="connsiteY5" fmla="*/ 454025 h 690564"/>
                  <a:gd name="connsiteX6" fmla="*/ 2371725 w 2373630"/>
                  <a:gd name="connsiteY6" fmla="*/ 690564 h 690564"/>
                  <a:gd name="connsiteX7" fmla="*/ 0 w 2373630"/>
                  <a:gd name="connsiteY7" fmla="*/ 690563 h 690564"/>
                  <a:gd name="connsiteX8" fmla="*/ 0 w 2373630"/>
                  <a:gd name="connsiteY8" fmla="*/ 0 h 690564"/>
                  <a:gd name="connsiteX0" fmla="*/ 0 w 2373630"/>
                  <a:gd name="connsiteY0" fmla="*/ 0 h 690563"/>
                  <a:gd name="connsiteX1" fmla="*/ 2373630 w 2373630"/>
                  <a:gd name="connsiteY1" fmla="*/ 0 h 690563"/>
                  <a:gd name="connsiteX2" fmla="*/ 2371725 w 2373630"/>
                  <a:gd name="connsiteY2" fmla="*/ 239713 h 690563"/>
                  <a:gd name="connsiteX3" fmla="*/ 2162175 w 2373630"/>
                  <a:gd name="connsiteY3" fmla="*/ 239713 h 690563"/>
                  <a:gd name="connsiteX4" fmla="*/ 2160270 w 2373630"/>
                  <a:gd name="connsiteY4" fmla="*/ 453390 h 690563"/>
                  <a:gd name="connsiteX5" fmla="*/ 2371725 w 2373630"/>
                  <a:gd name="connsiteY5" fmla="*/ 454025 h 690563"/>
                  <a:gd name="connsiteX6" fmla="*/ 2371725 w 2373630"/>
                  <a:gd name="connsiteY6" fmla="*/ 690563 h 690563"/>
                  <a:gd name="connsiteX7" fmla="*/ 0 w 2373630"/>
                  <a:gd name="connsiteY7" fmla="*/ 690563 h 690563"/>
                  <a:gd name="connsiteX8" fmla="*/ 0 w 2373630"/>
                  <a:gd name="connsiteY8" fmla="*/ 0 h 690563"/>
                  <a:gd name="connsiteX0" fmla="*/ 0 w 2371725"/>
                  <a:gd name="connsiteY0" fmla="*/ 0 h 690563"/>
                  <a:gd name="connsiteX1" fmla="*/ 2371725 w 2371725"/>
                  <a:gd name="connsiteY1" fmla="*/ 1 h 690563"/>
                  <a:gd name="connsiteX2" fmla="*/ 2371725 w 2371725"/>
                  <a:gd name="connsiteY2" fmla="*/ 239713 h 690563"/>
                  <a:gd name="connsiteX3" fmla="*/ 2162175 w 2371725"/>
                  <a:gd name="connsiteY3" fmla="*/ 239713 h 690563"/>
                  <a:gd name="connsiteX4" fmla="*/ 2160270 w 2371725"/>
                  <a:gd name="connsiteY4" fmla="*/ 453390 h 690563"/>
                  <a:gd name="connsiteX5" fmla="*/ 2371725 w 2371725"/>
                  <a:gd name="connsiteY5" fmla="*/ 454025 h 690563"/>
                  <a:gd name="connsiteX6" fmla="*/ 2371725 w 2371725"/>
                  <a:gd name="connsiteY6" fmla="*/ 690563 h 690563"/>
                  <a:gd name="connsiteX7" fmla="*/ 0 w 2371725"/>
                  <a:gd name="connsiteY7" fmla="*/ 690563 h 690563"/>
                  <a:gd name="connsiteX8" fmla="*/ 0 w 2371725"/>
                  <a:gd name="connsiteY8" fmla="*/ 0 h 690563"/>
                  <a:gd name="connsiteX0" fmla="*/ 0 w 2371726"/>
                  <a:gd name="connsiteY0" fmla="*/ 0 h 690563"/>
                  <a:gd name="connsiteX1" fmla="*/ 2371725 w 2371726"/>
                  <a:gd name="connsiteY1" fmla="*/ 1 h 690563"/>
                  <a:gd name="connsiteX2" fmla="*/ 2371726 w 2371726"/>
                  <a:gd name="connsiteY2" fmla="*/ 239714 h 690563"/>
                  <a:gd name="connsiteX3" fmla="*/ 2162175 w 2371726"/>
                  <a:gd name="connsiteY3" fmla="*/ 239713 h 690563"/>
                  <a:gd name="connsiteX4" fmla="*/ 2160270 w 2371726"/>
                  <a:gd name="connsiteY4" fmla="*/ 453390 h 690563"/>
                  <a:gd name="connsiteX5" fmla="*/ 2371725 w 2371726"/>
                  <a:gd name="connsiteY5" fmla="*/ 454025 h 690563"/>
                  <a:gd name="connsiteX6" fmla="*/ 2371725 w 2371726"/>
                  <a:gd name="connsiteY6" fmla="*/ 690563 h 690563"/>
                  <a:gd name="connsiteX7" fmla="*/ 0 w 2371726"/>
                  <a:gd name="connsiteY7" fmla="*/ 690563 h 690563"/>
                  <a:gd name="connsiteX8" fmla="*/ 0 w 2371726"/>
                  <a:gd name="connsiteY8" fmla="*/ 0 h 690563"/>
                  <a:gd name="connsiteX0" fmla="*/ 0 w 2371725"/>
                  <a:gd name="connsiteY0" fmla="*/ 0 h 690563"/>
                  <a:gd name="connsiteX1" fmla="*/ 2371725 w 2371725"/>
                  <a:gd name="connsiteY1" fmla="*/ 1 h 690563"/>
                  <a:gd name="connsiteX2" fmla="*/ 2371725 w 2371725"/>
                  <a:gd name="connsiteY2" fmla="*/ 239714 h 690563"/>
                  <a:gd name="connsiteX3" fmla="*/ 2162175 w 2371725"/>
                  <a:gd name="connsiteY3" fmla="*/ 239713 h 690563"/>
                  <a:gd name="connsiteX4" fmla="*/ 2160270 w 2371725"/>
                  <a:gd name="connsiteY4" fmla="*/ 453390 h 690563"/>
                  <a:gd name="connsiteX5" fmla="*/ 2371725 w 2371725"/>
                  <a:gd name="connsiteY5" fmla="*/ 454025 h 690563"/>
                  <a:gd name="connsiteX6" fmla="*/ 2371725 w 2371725"/>
                  <a:gd name="connsiteY6" fmla="*/ 690563 h 690563"/>
                  <a:gd name="connsiteX7" fmla="*/ 0 w 2371725"/>
                  <a:gd name="connsiteY7" fmla="*/ 690563 h 690563"/>
                  <a:gd name="connsiteX8" fmla="*/ 0 w 2371725"/>
                  <a:gd name="connsiteY8" fmla="*/ 0 h 690563"/>
                  <a:gd name="connsiteX0" fmla="*/ 0 w 2371725"/>
                  <a:gd name="connsiteY0" fmla="*/ 0 h 690563"/>
                  <a:gd name="connsiteX1" fmla="*/ 2371725 w 2371725"/>
                  <a:gd name="connsiteY1" fmla="*/ 1 h 690563"/>
                  <a:gd name="connsiteX2" fmla="*/ 2371725 w 2371725"/>
                  <a:gd name="connsiteY2" fmla="*/ 239714 h 690563"/>
                  <a:gd name="connsiteX3" fmla="*/ 2162175 w 2371725"/>
                  <a:gd name="connsiteY3" fmla="*/ 239713 h 690563"/>
                  <a:gd name="connsiteX4" fmla="*/ 2162176 w 2371725"/>
                  <a:gd name="connsiteY4" fmla="*/ 454026 h 690563"/>
                  <a:gd name="connsiteX5" fmla="*/ 2371725 w 2371725"/>
                  <a:gd name="connsiteY5" fmla="*/ 454025 h 690563"/>
                  <a:gd name="connsiteX6" fmla="*/ 2371725 w 2371725"/>
                  <a:gd name="connsiteY6" fmla="*/ 690563 h 690563"/>
                  <a:gd name="connsiteX7" fmla="*/ 0 w 2371725"/>
                  <a:gd name="connsiteY7" fmla="*/ 690563 h 690563"/>
                  <a:gd name="connsiteX8" fmla="*/ 0 w 2371725"/>
                  <a:gd name="connsiteY8" fmla="*/ 0 h 690563"/>
                  <a:gd name="connsiteX0" fmla="*/ 0 w 2371726"/>
                  <a:gd name="connsiteY0" fmla="*/ 0 h 690563"/>
                  <a:gd name="connsiteX1" fmla="*/ 2371725 w 2371726"/>
                  <a:gd name="connsiteY1" fmla="*/ 1 h 690563"/>
                  <a:gd name="connsiteX2" fmla="*/ 2371725 w 2371726"/>
                  <a:gd name="connsiteY2" fmla="*/ 239714 h 690563"/>
                  <a:gd name="connsiteX3" fmla="*/ 2162175 w 2371726"/>
                  <a:gd name="connsiteY3" fmla="*/ 239713 h 690563"/>
                  <a:gd name="connsiteX4" fmla="*/ 2162176 w 2371726"/>
                  <a:gd name="connsiteY4" fmla="*/ 454026 h 690563"/>
                  <a:gd name="connsiteX5" fmla="*/ 2371726 w 2371726"/>
                  <a:gd name="connsiteY5" fmla="*/ 454026 h 690563"/>
                  <a:gd name="connsiteX6" fmla="*/ 2371725 w 2371726"/>
                  <a:gd name="connsiteY6" fmla="*/ 690563 h 690563"/>
                  <a:gd name="connsiteX7" fmla="*/ 0 w 2371726"/>
                  <a:gd name="connsiteY7" fmla="*/ 690563 h 690563"/>
                  <a:gd name="connsiteX8" fmla="*/ 0 w 2371726"/>
                  <a:gd name="connsiteY8" fmla="*/ 0 h 690563"/>
                  <a:gd name="connsiteX0" fmla="*/ 0 w 2371726"/>
                  <a:gd name="connsiteY0" fmla="*/ 0 h 690563"/>
                  <a:gd name="connsiteX1" fmla="*/ 2162176 w 2371726"/>
                  <a:gd name="connsiteY1" fmla="*/ 1 h 690563"/>
                  <a:gd name="connsiteX2" fmla="*/ 2371725 w 2371726"/>
                  <a:gd name="connsiteY2" fmla="*/ 239714 h 690563"/>
                  <a:gd name="connsiteX3" fmla="*/ 2162175 w 2371726"/>
                  <a:gd name="connsiteY3" fmla="*/ 239713 h 690563"/>
                  <a:gd name="connsiteX4" fmla="*/ 2162176 w 2371726"/>
                  <a:gd name="connsiteY4" fmla="*/ 454026 h 690563"/>
                  <a:gd name="connsiteX5" fmla="*/ 2371726 w 2371726"/>
                  <a:gd name="connsiteY5" fmla="*/ 454026 h 690563"/>
                  <a:gd name="connsiteX6" fmla="*/ 2371725 w 2371726"/>
                  <a:gd name="connsiteY6" fmla="*/ 690563 h 690563"/>
                  <a:gd name="connsiteX7" fmla="*/ 0 w 2371726"/>
                  <a:gd name="connsiteY7" fmla="*/ 690563 h 690563"/>
                  <a:gd name="connsiteX8" fmla="*/ 0 w 2371726"/>
                  <a:gd name="connsiteY8" fmla="*/ 0 h 690563"/>
                  <a:gd name="connsiteX0" fmla="*/ 0 w 2371726"/>
                  <a:gd name="connsiteY0" fmla="*/ 0 h 690563"/>
                  <a:gd name="connsiteX1" fmla="*/ 2162176 w 2371726"/>
                  <a:gd name="connsiteY1" fmla="*/ 1 h 690563"/>
                  <a:gd name="connsiteX2" fmla="*/ 2371725 w 2371726"/>
                  <a:gd name="connsiteY2" fmla="*/ 239714 h 690563"/>
                  <a:gd name="connsiteX3" fmla="*/ 2162176 w 2371726"/>
                  <a:gd name="connsiteY3" fmla="*/ 454026 h 690563"/>
                  <a:gd name="connsiteX4" fmla="*/ 2371726 w 2371726"/>
                  <a:gd name="connsiteY4" fmla="*/ 454026 h 690563"/>
                  <a:gd name="connsiteX5" fmla="*/ 2371725 w 2371726"/>
                  <a:gd name="connsiteY5" fmla="*/ 690563 h 690563"/>
                  <a:gd name="connsiteX6" fmla="*/ 0 w 2371726"/>
                  <a:gd name="connsiteY6" fmla="*/ 690563 h 690563"/>
                  <a:gd name="connsiteX7" fmla="*/ 0 w 2371726"/>
                  <a:gd name="connsiteY7" fmla="*/ 0 h 690563"/>
                  <a:gd name="connsiteX0" fmla="*/ 0 w 2371726"/>
                  <a:gd name="connsiteY0" fmla="*/ 0 h 690563"/>
                  <a:gd name="connsiteX1" fmla="*/ 2162176 w 2371726"/>
                  <a:gd name="connsiteY1" fmla="*/ 1 h 690563"/>
                  <a:gd name="connsiteX2" fmla="*/ 2162176 w 2371726"/>
                  <a:gd name="connsiteY2" fmla="*/ 239714 h 690563"/>
                  <a:gd name="connsiteX3" fmla="*/ 2371725 w 2371726"/>
                  <a:gd name="connsiteY3" fmla="*/ 239714 h 690563"/>
                  <a:gd name="connsiteX4" fmla="*/ 2162176 w 2371726"/>
                  <a:gd name="connsiteY4" fmla="*/ 454026 h 690563"/>
                  <a:gd name="connsiteX5" fmla="*/ 2371726 w 2371726"/>
                  <a:gd name="connsiteY5" fmla="*/ 454026 h 690563"/>
                  <a:gd name="connsiteX6" fmla="*/ 2371725 w 2371726"/>
                  <a:gd name="connsiteY6" fmla="*/ 690563 h 690563"/>
                  <a:gd name="connsiteX7" fmla="*/ 0 w 2371726"/>
                  <a:gd name="connsiteY7" fmla="*/ 690563 h 690563"/>
                  <a:gd name="connsiteX8" fmla="*/ 0 w 2371726"/>
                  <a:gd name="connsiteY8" fmla="*/ 0 h 690563"/>
                  <a:gd name="connsiteX0" fmla="*/ 0 w 2371726"/>
                  <a:gd name="connsiteY0" fmla="*/ 0 h 690563"/>
                  <a:gd name="connsiteX1" fmla="*/ 2162176 w 2371726"/>
                  <a:gd name="connsiteY1" fmla="*/ 1 h 690563"/>
                  <a:gd name="connsiteX2" fmla="*/ 2162176 w 2371726"/>
                  <a:gd name="connsiteY2" fmla="*/ 239714 h 690563"/>
                  <a:gd name="connsiteX3" fmla="*/ 2371725 w 2371726"/>
                  <a:gd name="connsiteY3" fmla="*/ 239714 h 690563"/>
                  <a:gd name="connsiteX4" fmla="*/ 2371726 w 2371726"/>
                  <a:gd name="connsiteY4" fmla="*/ 454026 h 690563"/>
                  <a:gd name="connsiteX5" fmla="*/ 2371725 w 2371726"/>
                  <a:gd name="connsiteY5" fmla="*/ 690563 h 690563"/>
                  <a:gd name="connsiteX6" fmla="*/ 0 w 2371726"/>
                  <a:gd name="connsiteY6" fmla="*/ 690563 h 690563"/>
                  <a:gd name="connsiteX7" fmla="*/ 0 w 2371726"/>
                  <a:gd name="connsiteY7" fmla="*/ 0 h 690563"/>
                  <a:gd name="connsiteX0" fmla="*/ 0 w 2767330"/>
                  <a:gd name="connsiteY0" fmla="*/ 0 h 690563"/>
                  <a:gd name="connsiteX1" fmla="*/ 2162176 w 2767330"/>
                  <a:gd name="connsiteY1" fmla="*/ 1 h 690563"/>
                  <a:gd name="connsiteX2" fmla="*/ 2162176 w 2767330"/>
                  <a:gd name="connsiteY2" fmla="*/ 239714 h 690563"/>
                  <a:gd name="connsiteX3" fmla="*/ 2371725 w 2767330"/>
                  <a:gd name="connsiteY3" fmla="*/ 239714 h 690563"/>
                  <a:gd name="connsiteX4" fmla="*/ 2371726 w 2767330"/>
                  <a:gd name="connsiteY4" fmla="*/ 454026 h 690563"/>
                  <a:gd name="connsiteX5" fmla="*/ 2162176 w 2767330"/>
                  <a:gd name="connsiteY5" fmla="*/ 454026 h 690563"/>
                  <a:gd name="connsiteX6" fmla="*/ 2371725 w 2767330"/>
                  <a:gd name="connsiteY6" fmla="*/ 690563 h 690563"/>
                  <a:gd name="connsiteX7" fmla="*/ 0 w 2767330"/>
                  <a:gd name="connsiteY7" fmla="*/ 690563 h 690563"/>
                  <a:gd name="connsiteX8" fmla="*/ 0 w 2767330"/>
                  <a:gd name="connsiteY8" fmla="*/ 0 h 690563"/>
                  <a:gd name="connsiteX0" fmla="*/ 0 w 2767330"/>
                  <a:gd name="connsiteY0" fmla="*/ 0 h 690563"/>
                  <a:gd name="connsiteX1" fmla="*/ 2162176 w 2767330"/>
                  <a:gd name="connsiteY1" fmla="*/ 1 h 690563"/>
                  <a:gd name="connsiteX2" fmla="*/ 2162176 w 2767330"/>
                  <a:gd name="connsiteY2" fmla="*/ 239714 h 690563"/>
                  <a:gd name="connsiteX3" fmla="*/ 2371725 w 2767330"/>
                  <a:gd name="connsiteY3" fmla="*/ 239714 h 690563"/>
                  <a:gd name="connsiteX4" fmla="*/ 2371726 w 2767330"/>
                  <a:gd name="connsiteY4" fmla="*/ 454026 h 690563"/>
                  <a:gd name="connsiteX5" fmla="*/ 2162176 w 2767330"/>
                  <a:gd name="connsiteY5" fmla="*/ 454026 h 690563"/>
                  <a:gd name="connsiteX6" fmla="*/ 2371725 w 2767330"/>
                  <a:gd name="connsiteY6" fmla="*/ 690563 h 690563"/>
                  <a:gd name="connsiteX7" fmla="*/ 0 w 2767330"/>
                  <a:gd name="connsiteY7" fmla="*/ 690563 h 690563"/>
                  <a:gd name="connsiteX8" fmla="*/ 0 w 2767330"/>
                  <a:gd name="connsiteY8" fmla="*/ 0 h 690563"/>
                  <a:gd name="connsiteX0" fmla="*/ 0 w 2371726"/>
                  <a:gd name="connsiteY0" fmla="*/ 0 h 690563"/>
                  <a:gd name="connsiteX1" fmla="*/ 2162176 w 2371726"/>
                  <a:gd name="connsiteY1" fmla="*/ 1 h 690563"/>
                  <a:gd name="connsiteX2" fmla="*/ 2162176 w 2371726"/>
                  <a:gd name="connsiteY2" fmla="*/ 239714 h 690563"/>
                  <a:gd name="connsiteX3" fmla="*/ 2371725 w 2371726"/>
                  <a:gd name="connsiteY3" fmla="*/ 239714 h 690563"/>
                  <a:gd name="connsiteX4" fmla="*/ 2371726 w 2371726"/>
                  <a:gd name="connsiteY4" fmla="*/ 454026 h 690563"/>
                  <a:gd name="connsiteX5" fmla="*/ 2162176 w 2371726"/>
                  <a:gd name="connsiteY5" fmla="*/ 454026 h 690563"/>
                  <a:gd name="connsiteX6" fmla="*/ 2371725 w 2371726"/>
                  <a:gd name="connsiteY6" fmla="*/ 690563 h 690563"/>
                  <a:gd name="connsiteX7" fmla="*/ 0 w 2371726"/>
                  <a:gd name="connsiteY7" fmla="*/ 690563 h 690563"/>
                  <a:gd name="connsiteX8" fmla="*/ 0 w 2371726"/>
                  <a:gd name="connsiteY8" fmla="*/ 0 h 690563"/>
                  <a:gd name="connsiteX0" fmla="*/ 0 w 2371726"/>
                  <a:gd name="connsiteY0" fmla="*/ 0 h 690564"/>
                  <a:gd name="connsiteX1" fmla="*/ 2162176 w 2371726"/>
                  <a:gd name="connsiteY1" fmla="*/ 1 h 690564"/>
                  <a:gd name="connsiteX2" fmla="*/ 2162176 w 2371726"/>
                  <a:gd name="connsiteY2" fmla="*/ 239714 h 690564"/>
                  <a:gd name="connsiteX3" fmla="*/ 2371725 w 2371726"/>
                  <a:gd name="connsiteY3" fmla="*/ 239714 h 690564"/>
                  <a:gd name="connsiteX4" fmla="*/ 2371726 w 2371726"/>
                  <a:gd name="connsiteY4" fmla="*/ 454026 h 690564"/>
                  <a:gd name="connsiteX5" fmla="*/ 2162176 w 2371726"/>
                  <a:gd name="connsiteY5" fmla="*/ 454026 h 690564"/>
                  <a:gd name="connsiteX6" fmla="*/ 2162176 w 2371726"/>
                  <a:gd name="connsiteY6" fmla="*/ 690564 h 690564"/>
                  <a:gd name="connsiteX7" fmla="*/ 0 w 2371726"/>
                  <a:gd name="connsiteY7" fmla="*/ 690563 h 690564"/>
                  <a:gd name="connsiteX8" fmla="*/ 0 w 2371726"/>
                  <a:gd name="connsiteY8" fmla="*/ 0 h 690564"/>
                  <a:gd name="connsiteX0" fmla="*/ 0 w 2371726"/>
                  <a:gd name="connsiteY0" fmla="*/ 0 h 690564"/>
                  <a:gd name="connsiteX1" fmla="*/ 2257390 w 2371726"/>
                  <a:gd name="connsiteY1" fmla="*/ 1 h 690564"/>
                  <a:gd name="connsiteX2" fmla="*/ 2162176 w 2371726"/>
                  <a:gd name="connsiteY2" fmla="*/ 239714 h 690564"/>
                  <a:gd name="connsiteX3" fmla="*/ 2371725 w 2371726"/>
                  <a:gd name="connsiteY3" fmla="*/ 239714 h 690564"/>
                  <a:gd name="connsiteX4" fmla="*/ 2371726 w 2371726"/>
                  <a:gd name="connsiteY4" fmla="*/ 454026 h 690564"/>
                  <a:gd name="connsiteX5" fmla="*/ 2162176 w 2371726"/>
                  <a:gd name="connsiteY5" fmla="*/ 454026 h 690564"/>
                  <a:gd name="connsiteX6" fmla="*/ 2162176 w 2371726"/>
                  <a:gd name="connsiteY6" fmla="*/ 690564 h 690564"/>
                  <a:gd name="connsiteX7" fmla="*/ 0 w 2371726"/>
                  <a:gd name="connsiteY7" fmla="*/ 690563 h 690564"/>
                  <a:gd name="connsiteX8" fmla="*/ 0 w 2371726"/>
                  <a:gd name="connsiteY8" fmla="*/ 0 h 690564"/>
                  <a:gd name="connsiteX0" fmla="*/ 0 w 2371726"/>
                  <a:gd name="connsiteY0" fmla="*/ 0 h 690563"/>
                  <a:gd name="connsiteX1" fmla="*/ 2257390 w 2371726"/>
                  <a:gd name="connsiteY1" fmla="*/ 1 h 690563"/>
                  <a:gd name="connsiteX2" fmla="*/ 2162176 w 2371726"/>
                  <a:gd name="connsiteY2" fmla="*/ 239714 h 690563"/>
                  <a:gd name="connsiteX3" fmla="*/ 2371725 w 2371726"/>
                  <a:gd name="connsiteY3" fmla="*/ 239714 h 690563"/>
                  <a:gd name="connsiteX4" fmla="*/ 2371726 w 2371726"/>
                  <a:gd name="connsiteY4" fmla="*/ 454026 h 690563"/>
                  <a:gd name="connsiteX5" fmla="*/ 2162176 w 2371726"/>
                  <a:gd name="connsiteY5" fmla="*/ 454026 h 690563"/>
                  <a:gd name="connsiteX6" fmla="*/ 2257390 w 2371726"/>
                  <a:gd name="connsiteY6" fmla="*/ 690563 h 690563"/>
                  <a:gd name="connsiteX7" fmla="*/ 0 w 2371726"/>
                  <a:gd name="connsiteY7" fmla="*/ 690563 h 690563"/>
                  <a:gd name="connsiteX8" fmla="*/ 0 w 2371726"/>
                  <a:gd name="connsiteY8" fmla="*/ 0 h 690563"/>
                  <a:gd name="connsiteX0" fmla="*/ 0 w 2371726"/>
                  <a:gd name="connsiteY0" fmla="*/ 0 h 690563"/>
                  <a:gd name="connsiteX1" fmla="*/ 2257390 w 2371726"/>
                  <a:gd name="connsiteY1" fmla="*/ 1 h 690563"/>
                  <a:gd name="connsiteX2" fmla="*/ 2162176 w 2371726"/>
                  <a:gd name="connsiteY2" fmla="*/ 239714 h 690563"/>
                  <a:gd name="connsiteX3" fmla="*/ 2371725 w 2371726"/>
                  <a:gd name="connsiteY3" fmla="*/ 239714 h 690563"/>
                  <a:gd name="connsiteX4" fmla="*/ 2371726 w 2371726"/>
                  <a:gd name="connsiteY4" fmla="*/ 454026 h 690563"/>
                  <a:gd name="connsiteX5" fmla="*/ 2257390 w 2371726"/>
                  <a:gd name="connsiteY5" fmla="*/ 455739 h 690563"/>
                  <a:gd name="connsiteX6" fmla="*/ 2257390 w 2371726"/>
                  <a:gd name="connsiteY6" fmla="*/ 690563 h 690563"/>
                  <a:gd name="connsiteX7" fmla="*/ 0 w 2371726"/>
                  <a:gd name="connsiteY7" fmla="*/ 690563 h 690563"/>
                  <a:gd name="connsiteX8" fmla="*/ 0 w 2371726"/>
                  <a:gd name="connsiteY8" fmla="*/ 0 h 690563"/>
                  <a:gd name="connsiteX0" fmla="*/ 0 w 2371726"/>
                  <a:gd name="connsiteY0" fmla="*/ 0 h 690563"/>
                  <a:gd name="connsiteX1" fmla="*/ 2257390 w 2371726"/>
                  <a:gd name="connsiteY1" fmla="*/ 1 h 690563"/>
                  <a:gd name="connsiteX2" fmla="*/ 2257390 w 2371726"/>
                  <a:gd name="connsiteY2" fmla="*/ 240878 h 690563"/>
                  <a:gd name="connsiteX3" fmla="*/ 2371725 w 2371726"/>
                  <a:gd name="connsiteY3" fmla="*/ 239714 h 690563"/>
                  <a:gd name="connsiteX4" fmla="*/ 2371726 w 2371726"/>
                  <a:gd name="connsiteY4" fmla="*/ 454026 h 690563"/>
                  <a:gd name="connsiteX5" fmla="*/ 2257390 w 2371726"/>
                  <a:gd name="connsiteY5" fmla="*/ 455739 h 690563"/>
                  <a:gd name="connsiteX6" fmla="*/ 2257390 w 2371726"/>
                  <a:gd name="connsiteY6" fmla="*/ 690563 h 690563"/>
                  <a:gd name="connsiteX7" fmla="*/ 0 w 2371726"/>
                  <a:gd name="connsiteY7" fmla="*/ 690563 h 690563"/>
                  <a:gd name="connsiteX8" fmla="*/ 0 w 2371726"/>
                  <a:gd name="connsiteY8" fmla="*/ 0 h 690563"/>
                  <a:gd name="connsiteX0" fmla="*/ 0 w 2371726"/>
                  <a:gd name="connsiteY0" fmla="*/ 0 h 690563"/>
                  <a:gd name="connsiteX1" fmla="*/ 2216896 w 2371726"/>
                  <a:gd name="connsiteY1" fmla="*/ 0 h 690563"/>
                  <a:gd name="connsiteX2" fmla="*/ 2257390 w 2371726"/>
                  <a:gd name="connsiteY2" fmla="*/ 240878 h 690563"/>
                  <a:gd name="connsiteX3" fmla="*/ 2371725 w 2371726"/>
                  <a:gd name="connsiteY3" fmla="*/ 239714 h 690563"/>
                  <a:gd name="connsiteX4" fmla="*/ 2371726 w 2371726"/>
                  <a:gd name="connsiteY4" fmla="*/ 454026 h 690563"/>
                  <a:gd name="connsiteX5" fmla="*/ 2257390 w 2371726"/>
                  <a:gd name="connsiteY5" fmla="*/ 455739 h 690563"/>
                  <a:gd name="connsiteX6" fmla="*/ 2257390 w 2371726"/>
                  <a:gd name="connsiteY6" fmla="*/ 690563 h 690563"/>
                  <a:gd name="connsiteX7" fmla="*/ 0 w 2371726"/>
                  <a:gd name="connsiteY7" fmla="*/ 690563 h 690563"/>
                  <a:gd name="connsiteX8" fmla="*/ 0 w 2371726"/>
                  <a:gd name="connsiteY8" fmla="*/ 0 h 690563"/>
                  <a:gd name="connsiteX0" fmla="*/ 0 w 2371726"/>
                  <a:gd name="connsiteY0" fmla="*/ 0 h 690563"/>
                  <a:gd name="connsiteX1" fmla="*/ 2216896 w 2371726"/>
                  <a:gd name="connsiteY1" fmla="*/ 0 h 690563"/>
                  <a:gd name="connsiteX2" fmla="*/ 2216896 w 2371726"/>
                  <a:gd name="connsiteY2" fmla="*/ 242886 h 690563"/>
                  <a:gd name="connsiteX3" fmla="*/ 2371725 w 2371726"/>
                  <a:gd name="connsiteY3" fmla="*/ 239714 h 690563"/>
                  <a:gd name="connsiteX4" fmla="*/ 2371726 w 2371726"/>
                  <a:gd name="connsiteY4" fmla="*/ 454026 h 690563"/>
                  <a:gd name="connsiteX5" fmla="*/ 2257390 w 2371726"/>
                  <a:gd name="connsiteY5" fmla="*/ 455739 h 690563"/>
                  <a:gd name="connsiteX6" fmla="*/ 2257390 w 2371726"/>
                  <a:gd name="connsiteY6" fmla="*/ 690563 h 690563"/>
                  <a:gd name="connsiteX7" fmla="*/ 0 w 2371726"/>
                  <a:gd name="connsiteY7" fmla="*/ 690563 h 690563"/>
                  <a:gd name="connsiteX8" fmla="*/ 0 w 2371726"/>
                  <a:gd name="connsiteY8" fmla="*/ 0 h 690563"/>
                  <a:gd name="connsiteX0" fmla="*/ 0 w 2389349"/>
                  <a:gd name="connsiteY0" fmla="*/ 0 h 690563"/>
                  <a:gd name="connsiteX1" fmla="*/ 2216896 w 2389349"/>
                  <a:gd name="connsiteY1" fmla="*/ 0 h 690563"/>
                  <a:gd name="connsiteX2" fmla="*/ 2216896 w 2389349"/>
                  <a:gd name="connsiteY2" fmla="*/ 242886 h 690563"/>
                  <a:gd name="connsiteX3" fmla="*/ 2389349 w 2389349"/>
                  <a:gd name="connsiteY3" fmla="*/ 242886 h 690563"/>
                  <a:gd name="connsiteX4" fmla="*/ 2371726 w 2389349"/>
                  <a:gd name="connsiteY4" fmla="*/ 454026 h 690563"/>
                  <a:gd name="connsiteX5" fmla="*/ 2257390 w 2389349"/>
                  <a:gd name="connsiteY5" fmla="*/ 455739 h 690563"/>
                  <a:gd name="connsiteX6" fmla="*/ 2257390 w 2389349"/>
                  <a:gd name="connsiteY6" fmla="*/ 690563 h 690563"/>
                  <a:gd name="connsiteX7" fmla="*/ 0 w 2389349"/>
                  <a:gd name="connsiteY7" fmla="*/ 690563 h 690563"/>
                  <a:gd name="connsiteX8" fmla="*/ 0 w 2389349"/>
                  <a:gd name="connsiteY8" fmla="*/ 0 h 690563"/>
                  <a:gd name="connsiteX0" fmla="*/ 0 w 2389349"/>
                  <a:gd name="connsiteY0" fmla="*/ 0 h 690563"/>
                  <a:gd name="connsiteX1" fmla="*/ 2216896 w 2389349"/>
                  <a:gd name="connsiteY1" fmla="*/ 0 h 690563"/>
                  <a:gd name="connsiteX2" fmla="*/ 2216896 w 2389349"/>
                  <a:gd name="connsiteY2" fmla="*/ 242886 h 690563"/>
                  <a:gd name="connsiteX3" fmla="*/ 2389349 w 2389349"/>
                  <a:gd name="connsiteY3" fmla="*/ 242886 h 690563"/>
                  <a:gd name="connsiteX4" fmla="*/ 2389349 w 2389349"/>
                  <a:gd name="connsiteY4" fmla="*/ 457029 h 690563"/>
                  <a:gd name="connsiteX5" fmla="*/ 2257390 w 2389349"/>
                  <a:gd name="connsiteY5" fmla="*/ 455739 h 690563"/>
                  <a:gd name="connsiteX6" fmla="*/ 2257390 w 2389349"/>
                  <a:gd name="connsiteY6" fmla="*/ 690563 h 690563"/>
                  <a:gd name="connsiteX7" fmla="*/ 0 w 2389349"/>
                  <a:gd name="connsiteY7" fmla="*/ 690563 h 690563"/>
                  <a:gd name="connsiteX8" fmla="*/ 0 w 2389349"/>
                  <a:gd name="connsiteY8" fmla="*/ 0 h 690563"/>
                  <a:gd name="connsiteX0" fmla="*/ 0 w 2389349"/>
                  <a:gd name="connsiteY0" fmla="*/ 0 h 690563"/>
                  <a:gd name="connsiteX1" fmla="*/ 2216896 w 2389349"/>
                  <a:gd name="connsiteY1" fmla="*/ 0 h 690563"/>
                  <a:gd name="connsiteX2" fmla="*/ 2216896 w 2389349"/>
                  <a:gd name="connsiteY2" fmla="*/ 242886 h 690563"/>
                  <a:gd name="connsiteX3" fmla="*/ 2389349 w 2389349"/>
                  <a:gd name="connsiteY3" fmla="*/ 242886 h 690563"/>
                  <a:gd name="connsiteX4" fmla="*/ 2389349 w 2389349"/>
                  <a:gd name="connsiteY4" fmla="*/ 457029 h 690563"/>
                  <a:gd name="connsiteX5" fmla="*/ 2216895 w 2389349"/>
                  <a:gd name="connsiteY5" fmla="*/ 457029 h 690563"/>
                  <a:gd name="connsiteX6" fmla="*/ 2257390 w 2389349"/>
                  <a:gd name="connsiteY6" fmla="*/ 690563 h 690563"/>
                  <a:gd name="connsiteX7" fmla="*/ 0 w 2389349"/>
                  <a:gd name="connsiteY7" fmla="*/ 690563 h 690563"/>
                  <a:gd name="connsiteX8" fmla="*/ 0 w 2389349"/>
                  <a:gd name="connsiteY8" fmla="*/ 0 h 690563"/>
                  <a:gd name="connsiteX0" fmla="*/ 0 w 2389349"/>
                  <a:gd name="connsiteY0" fmla="*/ 0 h 691158"/>
                  <a:gd name="connsiteX1" fmla="*/ 2216896 w 2389349"/>
                  <a:gd name="connsiteY1" fmla="*/ 0 h 691158"/>
                  <a:gd name="connsiteX2" fmla="*/ 2216896 w 2389349"/>
                  <a:gd name="connsiteY2" fmla="*/ 242886 h 691158"/>
                  <a:gd name="connsiteX3" fmla="*/ 2389349 w 2389349"/>
                  <a:gd name="connsiteY3" fmla="*/ 242886 h 691158"/>
                  <a:gd name="connsiteX4" fmla="*/ 2389349 w 2389349"/>
                  <a:gd name="connsiteY4" fmla="*/ 457029 h 691158"/>
                  <a:gd name="connsiteX5" fmla="*/ 2216895 w 2389349"/>
                  <a:gd name="connsiteY5" fmla="*/ 457029 h 691158"/>
                  <a:gd name="connsiteX6" fmla="*/ 2216895 w 2389349"/>
                  <a:gd name="connsiteY6" fmla="*/ 691158 h 691158"/>
                  <a:gd name="connsiteX7" fmla="*/ 0 w 2389349"/>
                  <a:gd name="connsiteY7" fmla="*/ 690563 h 691158"/>
                  <a:gd name="connsiteX8" fmla="*/ 0 w 2389349"/>
                  <a:gd name="connsiteY8" fmla="*/ 0 h 691158"/>
                  <a:gd name="connsiteX0" fmla="*/ 0 w 2389349"/>
                  <a:gd name="connsiteY0" fmla="*/ 0 h 691158"/>
                  <a:gd name="connsiteX1" fmla="*/ 2216896 w 2389349"/>
                  <a:gd name="connsiteY1" fmla="*/ 0 h 691158"/>
                  <a:gd name="connsiteX2" fmla="*/ 2216896 w 2389349"/>
                  <a:gd name="connsiteY2" fmla="*/ 242886 h 691158"/>
                  <a:gd name="connsiteX3" fmla="*/ 2326452 w 2389349"/>
                  <a:gd name="connsiteY3" fmla="*/ 247692 h 691158"/>
                  <a:gd name="connsiteX4" fmla="*/ 2389349 w 2389349"/>
                  <a:gd name="connsiteY4" fmla="*/ 457029 h 691158"/>
                  <a:gd name="connsiteX5" fmla="*/ 2216895 w 2389349"/>
                  <a:gd name="connsiteY5" fmla="*/ 457029 h 691158"/>
                  <a:gd name="connsiteX6" fmla="*/ 2216895 w 2389349"/>
                  <a:gd name="connsiteY6" fmla="*/ 691158 h 691158"/>
                  <a:gd name="connsiteX7" fmla="*/ 0 w 2389349"/>
                  <a:gd name="connsiteY7" fmla="*/ 690563 h 691158"/>
                  <a:gd name="connsiteX8" fmla="*/ 0 w 2389349"/>
                  <a:gd name="connsiteY8" fmla="*/ 0 h 691158"/>
                  <a:gd name="connsiteX0" fmla="*/ 0 w 2326452"/>
                  <a:gd name="connsiteY0" fmla="*/ 0 h 691158"/>
                  <a:gd name="connsiteX1" fmla="*/ 2216896 w 2326452"/>
                  <a:gd name="connsiteY1" fmla="*/ 0 h 691158"/>
                  <a:gd name="connsiteX2" fmla="*/ 2216896 w 2326452"/>
                  <a:gd name="connsiteY2" fmla="*/ 242886 h 691158"/>
                  <a:gd name="connsiteX3" fmla="*/ 2326452 w 2326452"/>
                  <a:gd name="connsiteY3" fmla="*/ 247692 h 691158"/>
                  <a:gd name="connsiteX4" fmla="*/ 2326452 w 2326452"/>
                  <a:gd name="connsiteY4" fmla="*/ 460408 h 691158"/>
                  <a:gd name="connsiteX5" fmla="*/ 2216895 w 2326452"/>
                  <a:gd name="connsiteY5" fmla="*/ 457029 h 691158"/>
                  <a:gd name="connsiteX6" fmla="*/ 2216895 w 2326452"/>
                  <a:gd name="connsiteY6" fmla="*/ 691158 h 691158"/>
                  <a:gd name="connsiteX7" fmla="*/ 0 w 2326452"/>
                  <a:gd name="connsiteY7" fmla="*/ 690563 h 691158"/>
                  <a:gd name="connsiteX8" fmla="*/ 0 w 2326452"/>
                  <a:gd name="connsiteY8" fmla="*/ 0 h 691158"/>
                  <a:gd name="connsiteX0" fmla="*/ 0 w 2326452"/>
                  <a:gd name="connsiteY0" fmla="*/ 0 h 691158"/>
                  <a:gd name="connsiteX1" fmla="*/ 2216896 w 2326452"/>
                  <a:gd name="connsiteY1" fmla="*/ 0 h 691158"/>
                  <a:gd name="connsiteX2" fmla="*/ 2218026 w 2326452"/>
                  <a:gd name="connsiteY2" fmla="*/ 247692 h 691158"/>
                  <a:gd name="connsiteX3" fmla="*/ 2326452 w 2326452"/>
                  <a:gd name="connsiteY3" fmla="*/ 247692 h 691158"/>
                  <a:gd name="connsiteX4" fmla="*/ 2326452 w 2326452"/>
                  <a:gd name="connsiteY4" fmla="*/ 460408 h 691158"/>
                  <a:gd name="connsiteX5" fmla="*/ 2216895 w 2326452"/>
                  <a:gd name="connsiteY5" fmla="*/ 457029 h 691158"/>
                  <a:gd name="connsiteX6" fmla="*/ 2216895 w 2326452"/>
                  <a:gd name="connsiteY6" fmla="*/ 691158 h 691158"/>
                  <a:gd name="connsiteX7" fmla="*/ 0 w 2326452"/>
                  <a:gd name="connsiteY7" fmla="*/ 690563 h 691158"/>
                  <a:gd name="connsiteX8" fmla="*/ 0 w 2326452"/>
                  <a:gd name="connsiteY8" fmla="*/ 0 h 691158"/>
                  <a:gd name="connsiteX0" fmla="*/ 0 w 2326452"/>
                  <a:gd name="connsiteY0" fmla="*/ 0 h 691158"/>
                  <a:gd name="connsiteX1" fmla="*/ 2216896 w 2326452"/>
                  <a:gd name="connsiteY1" fmla="*/ 0 h 691158"/>
                  <a:gd name="connsiteX2" fmla="*/ 2218026 w 2326452"/>
                  <a:gd name="connsiteY2" fmla="*/ 247692 h 691158"/>
                  <a:gd name="connsiteX3" fmla="*/ 2326452 w 2326452"/>
                  <a:gd name="connsiteY3" fmla="*/ 247692 h 691158"/>
                  <a:gd name="connsiteX4" fmla="*/ 2326452 w 2326452"/>
                  <a:gd name="connsiteY4" fmla="*/ 460408 h 691158"/>
                  <a:gd name="connsiteX5" fmla="*/ 2216895 w 2326452"/>
                  <a:gd name="connsiteY5" fmla="*/ 457029 h 691158"/>
                  <a:gd name="connsiteX6" fmla="*/ 2216895 w 2326452"/>
                  <a:gd name="connsiteY6" fmla="*/ 691158 h 691158"/>
                  <a:gd name="connsiteX7" fmla="*/ 0 w 2326452"/>
                  <a:gd name="connsiteY7" fmla="*/ 690563 h 691158"/>
                  <a:gd name="connsiteX8" fmla="*/ 0 w 2326452"/>
                  <a:gd name="connsiteY8" fmla="*/ 0 h 691158"/>
                  <a:gd name="connsiteX0" fmla="*/ 0 w 2326452"/>
                  <a:gd name="connsiteY0" fmla="*/ 0 h 691158"/>
                  <a:gd name="connsiteX1" fmla="*/ 2216896 w 2326452"/>
                  <a:gd name="connsiteY1" fmla="*/ 0 h 691158"/>
                  <a:gd name="connsiteX2" fmla="*/ 2218026 w 2326452"/>
                  <a:gd name="connsiteY2" fmla="*/ 247692 h 691158"/>
                  <a:gd name="connsiteX3" fmla="*/ 2326452 w 2326452"/>
                  <a:gd name="connsiteY3" fmla="*/ 247692 h 691158"/>
                  <a:gd name="connsiteX4" fmla="*/ 2326452 w 2326452"/>
                  <a:gd name="connsiteY4" fmla="*/ 460408 h 691158"/>
                  <a:gd name="connsiteX5" fmla="*/ 2216895 w 2326452"/>
                  <a:gd name="connsiteY5" fmla="*/ 457029 h 691158"/>
                  <a:gd name="connsiteX6" fmla="*/ 2216895 w 2326452"/>
                  <a:gd name="connsiteY6" fmla="*/ 691158 h 691158"/>
                  <a:gd name="connsiteX7" fmla="*/ 0 w 2326452"/>
                  <a:gd name="connsiteY7" fmla="*/ 690563 h 691158"/>
                  <a:gd name="connsiteX8" fmla="*/ 0 w 2326452"/>
                  <a:gd name="connsiteY8" fmla="*/ 0 h 691158"/>
                  <a:gd name="connsiteX0" fmla="*/ 0 w 2326452"/>
                  <a:gd name="connsiteY0" fmla="*/ 0 h 691158"/>
                  <a:gd name="connsiteX1" fmla="*/ 2216896 w 2326452"/>
                  <a:gd name="connsiteY1" fmla="*/ 0 h 691158"/>
                  <a:gd name="connsiteX2" fmla="*/ 2218026 w 2326452"/>
                  <a:gd name="connsiteY2" fmla="*/ 247692 h 691158"/>
                  <a:gd name="connsiteX3" fmla="*/ 2326452 w 2326452"/>
                  <a:gd name="connsiteY3" fmla="*/ 247692 h 691158"/>
                  <a:gd name="connsiteX4" fmla="*/ 2326452 w 2326452"/>
                  <a:gd name="connsiteY4" fmla="*/ 460408 h 691158"/>
                  <a:gd name="connsiteX5" fmla="*/ 2216895 w 2326452"/>
                  <a:gd name="connsiteY5" fmla="*/ 460408 h 691158"/>
                  <a:gd name="connsiteX6" fmla="*/ 2216895 w 2326452"/>
                  <a:gd name="connsiteY6" fmla="*/ 691158 h 691158"/>
                  <a:gd name="connsiteX7" fmla="*/ 0 w 2326452"/>
                  <a:gd name="connsiteY7" fmla="*/ 690563 h 691158"/>
                  <a:gd name="connsiteX8" fmla="*/ 0 w 2326452"/>
                  <a:gd name="connsiteY8" fmla="*/ 0 h 691158"/>
                  <a:gd name="connsiteX0" fmla="*/ 0 w 2326452"/>
                  <a:gd name="connsiteY0" fmla="*/ 0 h 691158"/>
                  <a:gd name="connsiteX1" fmla="*/ 2216896 w 2326452"/>
                  <a:gd name="connsiteY1" fmla="*/ 0 h 691158"/>
                  <a:gd name="connsiteX2" fmla="*/ 2218026 w 2326452"/>
                  <a:gd name="connsiteY2" fmla="*/ 247692 h 691158"/>
                  <a:gd name="connsiteX3" fmla="*/ 2326452 w 2326452"/>
                  <a:gd name="connsiteY3" fmla="*/ 247692 h 691158"/>
                  <a:gd name="connsiteX4" fmla="*/ 2326452 w 2326452"/>
                  <a:gd name="connsiteY4" fmla="*/ 442059 h 691158"/>
                  <a:gd name="connsiteX5" fmla="*/ 2216895 w 2326452"/>
                  <a:gd name="connsiteY5" fmla="*/ 460408 h 691158"/>
                  <a:gd name="connsiteX6" fmla="*/ 2216895 w 2326452"/>
                  <a:gd name="connsiteY6" fmla="*/ 691158 h 691158"/>
                  <a:gd name="connsiteX7" fmla="*/ 0 w 2326452"/>
                  <a:gd name="connsiteY7" fmla="*/ 690563 h 691158"/>
                  <a:gd name="connsiteX8" fmla="*/ 0 w 2326452"/>
                  <a:gd name="connsiteY8" fmla="*/ 0 h 691158"/>
                  <a:gd name="connsiteX0" fmla="*/ 0 w 2326452"/>
                  <a:gd name="connsiteY0" fmla="*/ 0 h 691158"/>
                  <a:gd name="connsiteX1" fmla="*/ 2216896 w 2326452"/>
                  <a:gd name="connsiteY1" fmla="*/ 0 h 691158"/>
                  <a:gd name="connsiteX2" fmla="*/ 2218026 w 2326452"/>
                  <a:gd name="connsiteY2" fmla="*/ 247692 h 691158"/>
                  <a:gd name="connsiteX3" fmla="*/ 2326452 w 2326452"/>
                  <a:gd name="connsiteY3" fmla="*/ 247692 h 691158"/>
                  <a:gd name="connsiteX4" fmla="*/ 2326452 w 2326452"/>
                  <a:gd name="connsiteY4" fmla="*/ 442059 h 691158"/>
                  <a:gd name="connsiteX5" fmla="*/ 2216895 w 2326452"/>
                  <a:gd name="connsiteY5" fmla="*/ 442059 h 691158"/>
                  <a:gd name="connsiteX6" fmla="*/ 2216895 w 2326452"/>
                  <a:gd name="connsiteY6" fmla="*/ 691158 h 691158"/>
                  <a:gd name="connsiteX7" fmla="*/ 0 w 2326452"/>
                  <a:gd name="connsiteY7" fmla="*/ 690563 h 691158"/>
                  <a:gd name="connsiteX8" fmla="*/ 0 w 2326452"/>
                  <a:gd name="connsiteY8" fmla="*/ 0 h 691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26452" h="691158">
                    <a:moveTo>
                      <a:pt x="0" y="0"/>
                    </a:moveTo>
                    <a:lnTo>
                      <a:pt x="2216896" y="0"/>
                    </a:lnTo>
                    <a:cubicBezTo>
                      <a:pt x="2217273" y="82564"/>
                      <a:pt x="2217649" y="165128"/>
                      <a:pt x="2218026" y="247692"/>
                    </a:cubicBezTo>
                    <a:lnTo>
                      <a:pt x="2326452" y="247692"/>
                    </a:lnTo>
                    <a:lnTo>
                      <a:pt x="2326452" y="442059"/>
                    </a:lnTo>
                    <a:lnTo>
                      <a:pt x="2216895" y="442059"/>
                    </a:lnTo>
                    <a:lnTo>
                      <a:pt x="2216895" y="691158"/>
                    </a:lnTo>
                    <a:lnTo>
                      <a:pt x="0" y="690563"/>
                    </a:lnTo>
                    <a:lnTo>
                      <a:pt x="0" y="0"/>
                    </a:lnTo>
                    <a:close/>
                  </a:path>
                </a:pathLst>
              </a:custGeom>
              <a:solidFill>
                <a:srgbClr val="58A618"/>
              </a:solidFill>
              <a:ln w="12700" cap="flat" cmpd="sng" algn="ctr">
                <a:solidFill>
                  <a:srgbClr val="58A618"/>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685862">
                  <a:buClr>
                    <a:srgbClr val="58A618"/>
                  </a:buClr>
                  <a:defRPr/>
                </a:pPr>
                <a:endParaRPr lang="en-US" kern="0">
                  <a:solidFill>
                    <a:srgbClr val="000000"/>
                  </a:solidFill>
                </a:endParaRPr>
              </a:p>
            </p:txBody>
          </p:sp>
          <p:sp>
            <p:nvSpPr>
              <p:cNvPr id="107" name="Freeform 106"/>
              <p:cNvSpPr/>
              <p:nvPr/>
            </p:nvSpPr>
            <p:spPr bwMode="auto">
              <a:xfrm flipH="1">
                <a:off x="3890738" y="3952217"/>
                <a:ext cx="3922396" cy="859536"/>
              </a:xfrm>
              <a:custGeom>
                <a:avLst/>
                <a:gdLst>
                  <a:gd name="connsiteX0" fmla="*/ 0 w 2388870"/>
                  <a:gd name="connsiteY0" fmla="*/ 0 h 693420"/>
                  <a:gd name="connsiteX1" fmla="*/ 2377440 w 2388870"/>
                  <a:gd name="connsiteY1" fmla="*/ 0 h 693420"/>
                  <a:gd name="connsiteX2" fmla="*/ 2377440 w 2388870"/>
                  <a:gd name="connsiteY2" fmla="*/ 243840 h 693420"/>
                  <a:gd name="connsiteX3" fmla="*/ 2156460 w 2388870"/>
                  <a:gd name="connsiteY3" fmla="*/ 240030 h 693420"/>
                  <a:gd name="connsiteX4" fmla="*/ 2164080 w 2388870"/>
                  <a:gd name="connsiteY4" fmla="*/ 453390 h 693420"/>
                  <a:gd name="connsiteX5" fmla="*/ 2388870 w 2388870"/>
                  <a:gd name="connsiteY5" fmla="*/ 453390 h 693420"/>
                  <a:gd name="connsiteX6" fmla="*/ 2373630 w 2388870"/>
                  <a:gd name="connsiteY6" fmla="*/ 689610 h 693420"/>
                  <a:gd name="connsiteX7" fmla="*/ 7620 w 2388870"/>
                  <a:gd name="connsiteY7" fmla="*/ 693420 h 693420"/>
                  <a:gd name="connsiteX8" fmla="*/ 0 w 2388870"/>
                  <a:gd name="connsiteY8" fmla="*/ 0 h 693420"/>
                  <a:gd name="connsiteX0" fmla="*/ 0 w 2385060"/>
                  <a:gd name="connsiteY0" fmla="*/ 0 h 693420"/>
                  <a:gd name="connsiteX1" fmla="*/ 2373630 w 2385060"/>
                  <a:gd name="connsiteY1" fmla="*/ 0 h 693420"/>
                  <a:gd name="connsiteX2" fmla="*/ 2373630 w 2385060"/>
                  <a:gd name="connsiteY2" fmla="*/ 243840 h 693420"/>
                  <a:gd name="connsiteX3" fmla="*/ 2152650 w 2385060"/>
                  <a:gd name="connsiteY3" fmla="*/ 240030 h 693420"/>
                  <a:gd name="connsiteX4" fmla="*/ 2160270 w 2385060"/>
                  <a:gd name="connsiteY4" fmla="*/ 453390 h 693420"/>
                  <a:gd name="connsiteX5" fmla="*/ 2385060 w 2385060"/>
                  <a:gd name="connsiteY5" fmla="*/ 453390 h 693420"/>
                  <a:gd name="connsiteX6" fmla="*/ 2369820 w 2385060"/>
                  <a:gd name="connsiteY6" fmla="*/ 689610 h 693420"/>
                  <a:gd name="connsiteX7" fmla="*/ 3810 w 2385060"/>
                  <a:gd name="connsiteY7" fmla="*/ 693420 h 693420"/>
                  <a:gd name="connsiteX8" fmla="*/ 0 w 2385060"/>
                  <a:gd name="connsiteY8" fmla="*/ 0 h 693420"/>
                  <a:gd name="connsiteX0" fmla="*/ 0 w 2385060"/>
                  <a:gd name="connsiteY0" fmla="*/ 0 h 690563"/>
                  <a:gd name="connsiteX1" fmla="*/ 2373630 w 2385060"/>
                  <a:gd name="connsiteY1" fmla="*/ 0 h 690563"/>
                  <a:gd name="connsiteX2" fmla="*/ 2373630 w 2385060"/>
                  <a:gd name="connsiteY2" fmla="*/ 243840 h 690563"/>
                  <a:gd name="connsiteX3" fmla="*/ 2152650 w 2385060"/>
                  <a:gd name="connsiteY3" fmla="*/ 240030 h 690563"/>
                  <a:gd name="connsiteX4" fmla="*/ 2160270 w 2385060"/>
                  <a:gd name="connsiteY4" fmla="*/ 453390 h 690563"/>
                  <a:gd name="connsiteX5" fmla="*/ 2385060 w 2385060"/>
                  <a:gd name="connsiteY5" fmla="*/ 453390 h 690563"/>
                  <a:gd name="connsiteX6" fmla="*/ 2369820 w 2385060"/>
                  <a:gd name="connsiteY6" fmla="*/ 689610 h 690563"/>
                  <a:gd name="connsiteX7" fmla="*/ 0 w 2385060"/>
                  <a:gd name="connsiteY7" fmla="*/ 690563 h 690563"/>
                  <a:gd name="connsiteX8" fmla="*/ 0 w 2385060"/>
                  <a:gd name="connsiteY8" fmla="*/ 0 h 690563"/>
                  <a:gd name="connsiteX0" fmla="*/ 0 w 2385060"/>
                  <a:gd name="connsiteY0" fmla="*/ 0 h 690564"/>
                  <a:gd name="connsiteX1" fmla="*/ 2373630 w 2385060"/>
                  <a:gd name="connsiteY1" fmla="*/ 0 h 690564"/>
                  <a:gd name="connsiteX2" fmla="*/ 2373630 w 2385060"/>
                  <a:gd name="connsiteY2" fmla="*/ 243840 h 690564"/>
                  <a:gd name="connsiteX3" fmla="*/ 2152650 w 2385060"/>
                  <a:gd name="connsiteY3" fmla="*/ 240030 h 690564"/>
                  <a:gd name="connsiteX4" fmla="*/ 2160270 w 2385060"/>
                  <a:gd name="connsiteY4" fmla="*/ 453390 h 690564"/>
                  <a:gd name="connsiteX5" fmla="*/ 2385060 w 2385060"/>
                  <a:gd name="connsiteY5" fmla="*/ 453390 h 690564"/>
                  <a:gd name="connsiteX6" fmla="*/ 2371725 w 2385060"/>
                  <a:gd name="connsiteY6" fmla="*/ 690564 h 690564"/>
                  <a:gd name="connsiteX7" fmla="*/ 0 w 2385060"/>
                  <a:gd name="connsiteY7" fmla="*/ 690563 h 690564"/>
                  <a:gd name="connsiteX8" fmla="*/ 0 w 2385060"/>
                  <a:gd name="connsiteY8" fmla="*/ 0 h 690564"/>
                  <a:gd name="connsiteX0" fmla="*/ 0 w 2373630"/>
                  <a:gd name="connsiteY0" fmla="*/ 0 h 690564"/>
                  <a:gd name="connsiteX1" fmla="*/ 2373630 w 2373630"/>
                  <a:gd name="connsiteY1" fmla="*/ 0 h 690564"/>
                  <a:gd name="connsiteX2" fmla="*/ 2373630 w 2373630"/>
                  <a:gd name="connsiteY2" fmla="*/ 243840 h 690564"/>
                  <a:gd name="connsiteX3" fmla="*/ 2152650 w 2373630"/>
                  <a:gd name="connsiteY3" fmla="*/ 240030 h 690564"/>
                  <a:gd name="connsiteX4" fmla="*/ 2160270 w 2373630"/>
                  <a:gd name="connsiteY4" fmla="*/ 453390 h 690564"/>
                  <a:gd name="connsiteX5" fmla="*/ 2371725 w 2373630"/>
                  <a:gd name="connsiteY5" fmla="*/ 454025 h 690564"/>
                  <a:gd name="connsiteX6" fmla="*/ 2371725 w 2373630"/>
                  <a:gd name="connsiteY6" fmla="*/ 690564 h 690564"/>
                  <a:gd name="connsiteX7" fmla="*/ 0 w 2373630"/>
                  <a:gd name="connsiteY7" fmla="*/ 690563 h 690564"/>
                  <a:gd name="connsiteX8" fmla="*/ 0 w 2373630"/>
                  <a:gd name="connsiteY8" fmla="*/ 0 h 690564"/>
                  <a:gd name="connsiteX0" fmla="*/ 0 w 2373630"/>
                  <a:gd name="connsiteY0" fmla="*/ 0 h 690564"/>
                  <a:gd name="connsiteX1" fmla="*/ 2373630 w 2373630"/>
                  <a:gd name="connsiteY1" fmla="*/ 0 h 690564"/>
                  <a:gd name="connsiteX2" fmla="*/ 2373630 w 2373630"/>
                  <a:gd name="connsiteY2" fmla="*/ 243840 h 690564"/>
                  <a:gd name="connsiteX3" fmla="*/ 2162175 w 2373630"/>
                  <a:gd name="connsiteY3" fmla="*/ 239713 h 690564"/>
                  <a:gd name="connsiteX4" fmla="*/ 2160270 w 2373630"/>
                  <a:gd name="connsiteY4" fmla="*/ 453390 h 690564"/>
                  <a:gd name="connsiteX5" fmla="*/ 2371725 w 2373630"/>
                  <a:gd name="connsiteY5" fmla="*/ 454025 h 690564"/>
                  <a:gd name="connsiteX6" fmla="*/ 2371725 w 2373630"/>
                  <a:gd name="connsiteY6" fmla="*/ 690564 h 690564"/>
                  <a:gd name="connsiteX7" fmla="*/ 0 w 2373630"/>
                  <a:gd name="connsiteY7" fmla="*/ 690563 h 690564"/>
                  <a:gd name="connsiteX8" fmla="*/ 0 w 2373630"/>
                  <a:gd name="connsiteY8" fmla="*/ 0 h 690564"/>
                  <a:gd name="connsiteX0" fmla="*/ 0 w 2373630"/>
                  <a:gd name="connsiteY0" fmla="*/ 0 h 690564"/>
                  <a:gd name="connsiteX1" fmla="*/ 2373630 w 2373630"/>
                  <a:gd name="connsiteY1" fmla="*/ 0 h 690564"/>
                  <a:gd name="connsiteX2" fmla="*/ 2371725 w 2373630"/>
                  <a:gd name="connsiteY2" fmla="*/ 239713 h 690564"/>
                  <a:gd name="connsiteX3" fmla="*/ 2162175 w 2373630"/>
                  <a:gd name="connsiteY3" fmla="*/ 239713 h 690564"/>
                  <a:gd name="connsiteX4" fmla="*/ 2160270 w 2373630"/>
                  <a:gd name="connsiteY4" fmla="*/ 453390 h 690564"/>
                  <a:gd name="connsiteX5" fmla="*/ 2371725 w 2373630"/>
                  <a:gd name="connsiteY5" fmla="*/ 454025 h 690564"/>
                  <a:gd name="connsiteX6" fmla="*/ 2371725 w 2373630"/>
                  <a:gd name="connsiteY6" fmla="*/ 690564 h 690564"/>
                  <a:gd name="connsiteX7" fmla="*/ 0 w 2373630"/>
                  <a:gd name="connsiteY7" fmla="*/ 690563 h 690564"/>
                  <a:gd name="connsiteX8" fmla="*/ 0 w 2373630"/>
                  <a:gd name="connsiteY8" fmla="*/ 0 h 690564"/>
                  <a:gd name="connsiteX0" fmla="*/ 0 w 2373630"/>
                  <a:gd name="connsiteY0" fmla="*/ 0 h 690564"/>
                  <a:gd name="connsiteX1" fmla="*/ 2373630 w 2373630"/>
                  <a:gd name="connsiteY1" fmla="*/ 0 h 690564"/>
                  <a:gd name="connsiteX2" fmla="*/ 2371725 w 2373630"/>
                  <a:gd name="connsiteY2" fmla="*/ 239713 h 690564"/>
                  <a:gd name="connsiteX3" fmla="*/ 2162175 w 2373630"/>
                  <a:gd name="connsiteY3" fmla="*/ 239713 h 690564"/>
                  <a:gd name="connsiteX4" fmla="*/ 2160270 w 2373630"/>
                  <a:gd name="connsiteY4" fmla="*/ 453390 h 690564"/>
                  <a:gd name="connsiteX5" fmla="*/ 2371725 w 2373630"/>
                  <a:gd name="connsiteY5" fmla="*/ 454025 h 690564"/>
                  <a:gd name="connsiteX6" fmla="*/ 2371725 w 2373630"/>
                  <a:gd name="connsiteY6" fmla="*/ 690564 h 690564"/>
                  <a:gd name="connsiteX7" fmla="*/ 0 w 2373630"/>
                  <a:gd name="connsiteY7" fmla="*/ 690563 h 690564"/>
                  <a:gd name="connsiteX8" fmla="*/ 0 w 2373630"/>
                  <a:gd name="connsiteY8" fmla="*/ 0 h 690564"/>
                  <a:gd name="connsiteX0" fmla="*/ 0 w 2373630"/>
                  <a:gd name="connsiteY0" fmla="*/ 0 h 690563"/>
                  <a:gd name="connsiteX1" fmla="*/ 2373630 w 2373630"/>
                  <a:gd name="connsiteY1" fmla="*/ 0 h 690563"/>
                  <a:gd name="connsiteX2" fmla="*/ 2371725 w 2373630"/>
                  <a:gd name="connsiteY2" fmla="*/ 239713 h 690563"/>
                  <a:gd name="connsiteX3" fmla="*/ 2162175 w 2373630"/>
                  <a:gd name="connsiteY3" fmla="*/ 239713 h 690563"/>
                  <a:gd name="connsiteX4" fmla="*/ 2160270 w 2373630"/>
                  <a:gd name="connsiteY4" fmla="*/ 453390 h 690563"/>
                  <a:gd name="connsiteX5" fmla="*/ 2371725 w 2373630"/>
                  <a:gd name="connsiteY5" fmla="*/ 454025 h 690563"/>
                  <a:gd name="connsiteX6" fmla="*/ 2371725 w 2373630"/>
                  <a:gd name="connsiteY6" fmla="*/ 690563 h 690563"/>
                  <a:gd name="connsiteX7" fmla="*/ 0 w 2373630"/>
                  <a:gd name="connsiteY7" fmla="*/ 690563 h 690563"/>
                  <a:gd name="connsiteX8" fmla="*/ 0 w 2373630"/>
                  <a:gd name="connsiteY8" fmla="*/ 0 h 690563"/>
                  <a:gd name="connsiteX0" fmla="*/ 0 w 2371725"/>
                  <a:gd name="connsiteY0" fmla="*/ 0 h 690563"/>
                  <a:gd name="connsiteX1" fmla="*/ 2371725 w 2371725"/>
                  <a:gd name="connsiteY1" fmla="*/ 1 h 690563"/>
                  <a:gd name="connsiteX2" fmla="*/ 2371725 w 2371725"/>
                  <a:gd name="connsiteY2" fmla="*/ 239713 h 690563"/>
                  <a:gd name="connsiteX3" fmla="*/ 2162175 w 2371725"/>
                  <a:gd name="connsiteY3" fmla="*/ 239713 h 690563"/>
                  <a:gd name="connsiteX4" fmla="*/ 2160270 w 2371725"/>
                  <a:gd name="connsiteY4" fmla="*/ 453390 h 690563"/>
                  <a:gd name="connsiteX5" fmla="*/ 2371725 w 2371725"/>
                  <a:gd name="connsiteY5" fmla="*/ 454025 h 690563"/>
                  <a:gd name="connsiteX6" fmla="*/ 2371725 w 2371725"/>
                  <a:gd name="connsiteY6" fmla="*/ 690563 h 690563"/>
                  <a:gd name="connsiteX7" fmla="*/ 0 w 2371725"/>
                  <a:gd name="connsiteY7" fmla="*/ 690563 h 690563"/>
                  <a:gd name="connsiteX8" fmla="*/ 0 w 2371725"/>
                  <a:gd name="connsiteY8" fmla="*/ 0 h 690563"/>
                  <a:gd name="connsiteX0" fmla="*/ 0 w 2371726"/>
                  <a:gd name="connsiteY0" fmla="*/ 0 h 690563"/>
                  <a:gd name="connsiteX1" fmla="*/ 2371725 w 2371726"/>
                  <a:gd name="connsiteY1" fmla="*/ 1 h 690563"/>
                  <a:gd name="connsiteX2" fmla="*/ 2371726 w 2371726"/>
                  <a:gd name="connsiteY2" fmla="*/ 239714 h 690563"/>
                  <a:gd name="connsiteX3" fmla="*/ 2162175 w 2371726"/>
                  <a:gd name="connsiteY3" fmla="*/ 239713 h 690563"/>
                  <a:gd name="connsiteX4" fmla="*/ 2160270 w 2371726"/>
                  <a:gd name="connsiteY4" fmla="*/ 453390 h 690563"/>
                  <a:gd name="connsiteX5" fmla="*/ 2371725 w 2371726"/>
                  <a:gd name="connsiteY5" fmla="*/ 454025 h 690563"/>
                  <a:gd name="connsiteX6" fmla="*/ 2371725 w 2371726"/>
                  <a:gd name="connsiteY6" fmla="*/ 690563 h 690563"/>
                  <a:gd name="connsiteX7" fmla="*/ 0 w 2371726"/>
                  <a:gd name="connsiteY7" fmla="*/ 690563 h 690563"/>
                  <a:gd name="connsiteX8" fmla="*/ 0 w 2371726"/>
                  <a:gd name="connsiteY8" fmla="*/ 0 h 690563"/>
                  <a:gd name="connsiteX0" fmla="*/ 0 w 2371725"/>
                  <a:gd name="connsiteY0" fmla="*/ 0 h 690563"/>
                  <a:gd name="connsiteX1" fmla="*/ 2371725 w 2371725"/>
                  <a:gd name="connsiteY1" fmla="*/ 1 h 690563"/>
                  <a:gd name="connsiteX2" fmla="*/ 2371725 w 2371725"/>
                  <a:gd name="connsiteY2" fmla="*/ 239714 h 690563"/>
                  <a:gd name="connsiteX3" fmla="*/ 2162175 w 2371725"/>
                  <a:gd name="connsiteY3" fmla="*/ 239713 h 690563"/>
                  <a:gd name="connsiteX4" fmla="*/ 2160270 w 2371725"/>
                  <a:gd name="connsiteY4" fmla="*/ 453390 h 690563"/>
                  <a:gd name="connsiteX5" fmla="*/ 2371725 w 2371725"/>
                  <a:gd name="connsiteY5" fmla="*/ 454025 h 690563"/>
                  <a:gd name="connsiteX6" fmla="*/ 2371725 w 2371725"/>
                  <a:gd name="connsiteY6" fmla="*/ 690563 h 690563"/>
                  <a:gd name="connsiteX7" fmla="*/ 0 w 2371725"/>
                  <a:gd name="connsiteY7" fmla="*/ 690563 h 690563"/>
                  <a:gd name="connsiteX8" fmla="*/ 0 w 2371725"/>
                  <a:gd name="connsiteY8" fmla="*/ 0 h 690563"/>
                  <a:gd name="connsiteX0" fmla="*/ 0 w 2371725"/>
                  <a:gd name="connsiteY0" fmla="*/ 0 h 690563"/>
                  <a:gd name="connsiteX1" fmla="*/ 2371725 w 2371725"/>
                  <a:gd name="connsiteY1" fmla="*/ 1 h 690563"/>
                  <a:gd name="connsiteX2" fmla="*/ 2371725 w 2371725"/>
                  <a:gd name="connsiteY2" fmla="*/ 239714 h 690563"/>
                  <a:gd name="connsiteX3" fmla="*/ 2162175 w 2371725"/>
                  <a:gd name="connsiteY3" fmla="*/ 239713 h 690563"/>
                  <a:gd name="connsiteX4" fmla="*/ 2162176 w 2371725"/>
                  <a:gd name="connsiteY4" fmla="*/ 454026 h 690563"/>
                  <a:gd name="connsiteX5" fmla="*/ 2371725 w 2371725"/>
                  <a:gd name="connsiteY5" fmla="*/ 454025 h 690563"/>
                  <a:gd name="connsiteX6" fmla="*/ 2371725 w 2371725"/>
                  <a:gd name="connsiteY6" fmla="*/ 690563 h 690563"/>
                  <a:gd name="connsiteX7" fmla="*/ 0 w 2371725"/>
                  <a:gd name="connsiteY7" fmla="*/ 690563 h 690563"/>
                  <a:gd name="connsiteX8" fmla="*/ 0 w 2371725"/>
                  <a:gd name="connsiteY8" fmla="*/ 0 h 690563"/>
                  <a:gd name="connsiteX0" fmla="*/ 0 w 2371726"/>
                  <a:gd name="connsiteY0" fmla="*/ 0 h 690563"/>
                  <a:gd name="connsiteX1" fmla="*/ 2371725 w 2371726"/>
                  <a:gd name="connsiteY1" fmla="*/ 1 h 690563"/>
                  <a:gd name="connsiteX2" fmla="*/ 2371725 w 2371726"/>
                  <a:gd name="connsiteY2" fmla="*/ 239714 h 690563"/>
                  <a:gd name="connsiteX3" fmla="*/ 2162175 w 2371726"/>
                  <a:gd name="connsiteY3" fmla="*/ 239713 h 690563"/>
                  <a:gd name="connsiteX4" fmla="*/ 2162176 w 2371726"/>
                  <a:gd name="connsiteY4" fmla="*/ 454026 h 690563"/>
                  <a:gd name="connsiteX5" fmla="*/ 2371726 w 2371726"/>
                  <a:gd name="connsiteY5" fmla="*/ 454026 h 690563"/>
                  <a:gd name="connsiteX6" fmla="*/ 2371725 w 2371726"/>
                  <a:gd name="connsiteY6" fmla="*/ 690563 h 690563"/>
                  <a:gd name="connsiteX7" fmla="*/ 0 w 2371726"/>
                  <a:gd name="connsiteY7" fmla="*/ 690563 h 690563"/>
                  <a:gd name="connsiteX8" fmla="*/ 0 w 2371726"/>
                  <a:gd name="connsiteY8" fmla="*/ 0 h 690563"/>
                  <a:gd name="connsiteX0" fmla="*/ 0 w 2371726"/>
                  <a:gd name="connsiteY0" fmla="*/ 0 h 690563"/>
                  <a:gd name="connsiteX1" fmla="*/ 2162176 w 2371726"/>
                  <a:gd name="connsiteY1" fmla="*/ 1 h 690563"/>
                  <a:gd name="connsiteX2" fmla="*/ 2371725 w 2371726"/>
                  <a:gd name="connsiteY2" fmla="*/ 239714 h 690563"/>
                  <a:gd name="connsiteX3" fmla="*/ 2162175 w 2371726"/>
                  <a:gd name="connsiteY3" fmla="*/ 239713 h 690563"/>
                  <a:gd name="connsiteX4" fmla="*/ 2162176 w 2371726"/>
                  <a:gd name="connsiteY4" fmla="*/ 454026 h 690563"/>
                  <a:gd name="connsiteX5" fmla="*/ 2371726 w 2371726"/>
                  <a:gd name="connsiteY5" fmla="*/ 454026 h 690563"/>
                  <a:gd name="connsiteX6" fmla="*/ 2371725 w 2371726"/>
                  <a:gd name="connsiteY6" fmla="*/ 690563 h 690563"/>
                  <a:gd name="connsiteX7" fmla="*/ 0 w 2371726"/>
                  <a:gd name="connsiteY7" fmla="*/ 690563 h 690563"/>
                  <a:gd name="connsiteX8" fmla="*/ 0 w 2371726"/>
                  <a:gd name="connsiteY8" fmla="*/ 0 h 690563"/>
                  <a:gd name="connsiteX0" fmla="*/ 0 w 2371726"/>
                  <a:gd name="connsiteY0" fmla="*/ 0 h 690563"/>
                  <a:gd name="connsiteX1" fmla="*/ 2162176 w 2371726"/>
                  <a:gd name="connsiteY1" fmla="*/ 1 h 690563"/>
                  <a:gd name="connsiteX2" fmla="*/ 2371725 w 2371726"/>
                  <a:gd name="connsiteY2" fmla="*/ 239714 h 690563"/>
                  <a:gd name="connsiteX3" fmla="*/ 2162176 w 2371726"/>
                  <a:gd name="connsiteY3" fmla="*/ 454026 h 690563"/>
                  <a:gd name="connsiteX4" fmla="*/ 2371726 w 2371726"/>
                  <a:gd name="connsiteY4" fmla="*/ 454026 h 690563"/>
                  <a:gd name="connsiteX5" fmla="*/ 2371725 w 2371726"/>
                  <a:gd name="connsiteY5" fmla="*/ 690563 h 690563"/>
                  <a:gd name="connsiteX6" fmla="*/ 0 w 2371726"/>
                  <a:gd name="connsiteY6" fmla="*/ 690563 h 690563"/>
                  <a:gd name="connsiteX7" fmla="*/ 0 w 2371726"/>
                  <a:gd name="connsiteY7" fmla="*/ 0 h 690563"/>
                  <a:gd name="connsiteX0" fmla="*/ 0 w 2371726"/>
                  <a:gd name="connsiteY0" fmla="*/ 0 h 690563"/>
                  <a:gd name="connsiteX1" fmla="*/ 2162176 w 2371726"/>
                  <a:gd name="connsiteY1" fmla="*/ 1 h 690563"/>
                  <a:gd name="connsiteX2" fmla="*/ 2162176 w 2371726"/>
                  <a:gd name="connsiteY2" fmla="*/ 239714 h 690563"/>
                  <a:gd name="connsiteX3" fmla="*/ 2371725 w 2371726"/>
                  <a:gd name="connsiteY3" fmla="*/ 239714 h 690563"/>
                  <a:gd name="connsiteX4" fmla="*/ 2162176 w 2371726"/>
                  <a:gd name="connsiteY4" fmla="*/ 454026 h 690563"/>
                  <a:gd name="connsiteX5" fmla="*/ 2371726 w 2371726"/>
                  <a:gd name="connsiteY5" fmla="*/ 454026 h 690563"/>
                  <a:gd name="connsiteX6" fmla="*/ 2371725 w 2371726"/>
                  <a:gd name="connsiteY6" fmla="*/ 690563 h 690563"/>
                  <a:gd name="connsiteX7" fmla="*/ 0 w 2371726"/>
                  <a:gd name="connsiteY7" fmla="*/ 690563 h 690563"/>
                  <a:gd name="connsiteX8" fmla="*/ 0 w 2371726"/>
                  <a:gd name="connsiteY8" fmla="*/ 0 h 690563"/>
                  <a:gd name="connsiteX0" fmla="*/ 0 w 2371726"/>
                  <a:gd name="connsiteY0" fmla="*/ 0 h 690563"/>
                  <a:gd name="connsiteX1" fmla="*/ 2162176 w 2371726"/>
                  <a:gd name="connsiteY1" fmla="*/ 1 h 690563"/>
                  <a:gd name="connsiteX2" fmla="*/ 2162176 w 2371726"/>
                  <a:gd name="connsiteY2" fmla="*/ 239714 h 690563"/>
                  <a:gd name="connsiteX3" fmla="*/ 2371725 w 2371726"/>
                  <a:gd name="connsiteY3" fmla="*/ 239714 h 690563"/>
                  <a:gd name="connsiteX4" fmla="*/ 2371726 w 2371726"/>
                  <a:gd name="connsiteY4" fmla="*/ 454026 h 690563"/>
                  <a:gd name="connsiteX5" fmla="*/ 2371725 w 2371726"/>
                  <a:gd name="connsiteY5" fmla="*/ 690563 h 690563"/>
                  <a:gd name="connsiteX6" fmla="*/ 0 w 2371726"/>
                  <a:gd name="connsiteY6" fmla="*/ 690563 h 690563"/>
                  <a:gd name="connsiteX7" fmla="*/ 0 w 2371726"/>
                  <a:gd name="connsiteY7" fmla="*/ 0 h 690563"/>
                  <a:gd name="connsiteX0" fmla="*/ 0 w 2767330"/>
                  <a:gd name="connsiteY0" fmla="*/ 0 h 690563"/>
                  <a:gd name="connsiteX1" fmla="*/ 2162176 w 2767330"/>
                  <a:gd name="connsiteY1" fmla="*/ 1 h 690563"/>
                  <a:gd name="connsiteX2" fmla="*/ 2162176 w 2767330"/>
                  <a:gd name="connsiteY2" fmla="*/ 239714 h 690563"/>
                  <a:gd name="connsiteX3" fmla="*/ 2371725 w 2767330"/>
                  <a:gd name="connsiteY3" fmla="*/ 239714 h 690563"/>
                  <a:gd name="connsiteX4" fmla="*/ 2371726 w 2767330"/>
                  <a:gd name="connsiteY4" fmla="*/ 454026 h 690563"/>
                  <a:gd name="connsiteX5" fmla="*/ 2162176 w 2767330"/>
                  <a:gd name="connsiteY5" fmla="*/ 454026 h 690563"/>
                  <a:gd name="connsiteX6" fmla="*/ 2371725 w 2767330"/>
                  <a:gd name="connsiteY6" fmla="*/ 690563 h 690563"/>
                  <a:gd name="connsiteX7" fmla="*/ 0 w 2767330"/>
                  <a:gd name="connsiteY7" fmla="*/ 690563 h 690563"/>
                  <a:gd name="connsiteX8" fmla="*/ 0 w 2767330"/>
                  <a:gd name="connsiteY8" fmla="*/ 0 h 690563"/>
                  <a:gd name="connsiteX0" fmla="*/ 0 w 2767330"/>
                  <a:gd name="connsiteY0" fmla="*/ 0 h 690563"/>
                  <a:gd name="connsiteX1" fmla="*/ 2162176 w 2767330"/>
                  <a:gd name="connsiteY1" fmla="*/ 1 h 690563"/>
                  <a:gd name="connsiteX2" fmla="*/ 2162176 w 2767330"/>
                  <a:gd name="connsiteY2" fmla="*/ 239714 h 690563"/>
                  <a:gd name="connsiteX3" fmla="*/ 2371725 w 2767330"/>
                  <a:gd name="connsiteY3" fmla="*/ 239714 h 690563"/>
                  <a:gd name="connsiteX4" fmla="*/ 2371726 w 2767330"/>
                  <a:gd name="connsiteY4" fmla="*/ 454026 h 690563"/>
                  <a:gd name="connsiteX5" fmla="*/ 2162176 w 2767330"/>
                  <a:gd name="connsiteY5" fmla="*/ 454026 h 690563"/>
                  <a:gd name="connsiteX6" fmla="*/ 2371725 w 2767330"/>
                  <a:gd name="connsiteY6" fmla="*/ 690563 h 690563"/>
                  <a:gd name="connsiteX7" fmla="*/ 0 w 2767330"/>
                  <a:gd name="connsiteY7" fmla="*/ 690563 h 690563"/>
                  <a:gd name="connsiteX8" fmla="*/ 0 w 2767330"/>
                  <a:gd name="connsiteY8" fmla="*/ 0 h 690563"/>
                  <a:gd name="connsiteX0" fmla="*/ 0 w 2371726"/>
                  <a:gd name="connsiteY0" fmla="*/ 0 h 690563"/>
                  <a:gd name="connsiteX1" fmla="*/ 2162176 w 2371726"/>
                  <a:gd name="connsiteY1" fmla="*/ 1 h 690563"/>
                  <a:gd name="connsiteX2" fmla="*/ 2162176 w 2371726"/>
                  <a:gd name="connsiteY2" fmla="*/ 239714 h 690563"/>
                  <a:gd name="connsiteX3" fmla="*/ 2371725 w 2371726"/>
                  <a:gd name="connsiteY3" fmla="*/ 239714 h 690563"/>
                  <a:gd name="connsiteX4" fmla="*/ 2371726 w 2371726"/>
                  <a:gd name="connsiteY4" fmla="*/ 454026 h 690563"/>
                  <a:gd name="connsiteX5" fmla="*/ 2162176 w 2371726"/>
                  <a:gd name="connsiteY5" fmla="*/ 454026 h 690563"/>
                  <a:gd name="connsiteX6" fmla="*/ 2371725 w 2371726"/>
                  <a:gd name="connsiteY6" fmla="*/ 690563 h 690563"/>
                  <a:gd name="connsiteX7" fmla="*/ 0 w 2371726"/>
                  <a:gd name="connsiteY7" fmla="*/ 690563 h 690563"/>
                  <a:gd name="connsiteX8" fmla="*/ 0 w 2371726"/>
                  <a:gd name="connsiteY8" fmla="*/ 0 h 690563"/>
                  <a:gd name="connsiteX0" fmla="*/ 0 w 2371726"/>
                  <a:gd name="connsiteY0" fmla="*/ 0 h 690564"/>
                  <a:gd name="connsiteX1" fmla="*/ 2162176 w 2371726"/>
                  <a:gd name="connsiteY1" fmla="*/ 1 h 690564"/>
                  <a:gd name="connsiteX2" fmla="*/ 2162176 w 2371726"/>
                  <a:gd name="connsiteY2" fmla="*/ 239714 h 690564"/>
                  <a:gd name="connsiteX3" fmla="*/ 2371725 w 2371726"/>
                  <a:gd name="connsiteY3" fmla="*/ 239714 h 690564"/>
                  <a:gd name="connsiteX4" fmla="*/ 2371726 w 2371726"/>
                  <a:gd name="connsiteY4" fmla="*/ 454026 h 690564"/>
                  <a:gd name="connsiteX5" fmla="*/ 2162176 w 2371726"/>
                  <a:gd name="connsiteY5" fmla="*/ 454026 h 690564"/>
                  <a:gd name="connsiteX6" fmla="*/ 2162176 w 2371726"/>
                  <a:gd name="connsiteY6" fmla="*/ 690564 h 690564"/>
                  <a:gd name="connsiteX7" fmla="*/ 0 w 2371726"/>
                  <a:gd name="connsiteY7" fmla="*/ 690563 h 690564"/>
                  <a:gd name="connsiteX8" fmla="*/ 0 w 2371726"/>
                  <a:gd name="connsiteY8" fmla="*/ 0 h 690564"/>
                  <a:gd name="connsiteX0" fmla="*/ 0 w 2371726"/>
                  <a:gd name="connsiteY0" fmla="*/ 0 h 690564"/>
                  <a:gd name="connsiteX1" fmla="*/ 2257390 w 2371726"/>
                  <a:gd name="connsiteY1" fmla="*/ 1 h 690564"/>
                  <a:gd name="connsiteX2" fmla="*/ 2162176 w 2371726"/>
                  <a:gd name="connsiteY2" fmla="*/ 239714 h 690564"/>
                  <a:gd name="connsiteX3" fmla="*/ 2371725 w 2371726"/>
                  <a:gd name="connsiteY3" fmla="*/ 239714 h 690564"/>
                  <a:gd name="connsiteX4" fmla="*/ 2371726 w 2371726"/>
                  <a:gd name="connsiteY4" fmla="*/ 454026 h 690564"/>
                  <a:gd name="connsiteX5" fmla="*/ 2162176 w 2371726"/>
                  <a:gd name="connsiteY5" fmla="*/ 454026 h 690564"/>
                  <a:gd name="connsiteX6" fmla="*/ 2162176 w 2371726"/>
                  <a:gd name="connsiteY6" fmla="*/ 690564 h 690564"/>
                  <a:gd name="connsiteX7" fmla="*/ 0 w 2371726"/>
                  <a:gd name="connsiteY7" fmla="*/ 690563 h 690564"/>
                  <a:gd name="connsiteX8" fmla="*/ 0 w 2371726"/>
                  <a:gd name="connsiteY8" fmla="*/ 0 h 690564"/>
                  <a:gd name="connsiteX0" fmla="*/ 0 w 2371726"/>
                  <a:gd name="connsiteY0" fmla="*/ 0 h 690563"/>
                  <a:gd name="connsiteX1" fmla="*/ 2257390 w 2371726"/>
                  <a:gd name="connsiteY1" fmla="*/ 1 h 690563"/>
                  <a:gd name="connsiteX2" fmla="*/ 2162176 w 2371726"/>
                  <a:gd name="connsiteY2" fmla="*/ 239714 h 690563"/>
                  <a:gd name="connsiteX3" fmla="*/ 2371725 w 2371726"/>
                  <a:gd name="connsiteY3" fmla="*/ 239714 h 690563"/>
                  <a:gd name="connsiteX4" fmla="*/ 2371726 w 2371726"/>
                  <a:gd name="connsiteY4" fmla="*/ 454026 h 690563"/>
                  <a:gd name="connsiteX5" fmla="*/ 2162176 w 2371726"/>
                  <a:gd name="connsiteY5" fmla="*/ 454026 h 690563"/>
                  <a:gd name="connsiteX6" fmla="*/ 2257390 w 2371726"/>
                  <a:gd name="connsiteY6" fmla="*/ 690563 h 690563"/>
                  <a:gd name="connsiteX7" fmla="*/ 0 w 2371726"/>
                  <a:gd name="connsiteY7" fmla="*/ 690563 h 690563"/>
                  <a:gd name="connsiteX8" fmla="*/ 0 w 2371726"/>
                  <a:gd name="connsiteY8" fmla="*/ 0 h 690563"/>
                  <a:gd name="connsiteX0" fmla="*/ 0 w 2371726"/>
                  <a:gd name="connsiteY0" fmla="*/ 0 h 690563"/>
                  <a:gd name="connsiteX1" fmla="*/ 2257390 w 2371726"/>
                  <a:gd name="connsiteY1" fmla="*/ 1 h 690563"/>
                  <a:gd name="connsiteX2" fmla="*/ 2162176 w 2371726"/>
                  <a:gd name="connsiteY2" fmla="*/ 239714 h 690563"/>
                  <a:gd name="connsiteX3" fmla="*/ 2371725 w 2371726"/>
                  <a:gd name="connsiteY3" fmla="*/ 239714 h 690563"/>
                  <a:gd name="connsiteX4" fmla="*/ 2371726 w 2371726"/>
                  <a:gd name="connsiteY4" fmla="*/ 454026 h 690563"/>
                  <a:gd name="connsiteX5" fmla="*/ 2257390 w 2371726"/>
                  <a:gd name="connsiteY5" fmla="*/ 455739 h 690563"/>
                  <a:gd name="connsiteX6" fmla="*/ 2257390 w 2371726"/>
                  <a:gd name="connsiteY6" fmla="*/ 690563 h 690563"/>
                  <a:gd name="connsiteX7" fmla="*/ 0 w 2371726"/>
                  <a:gd name="connsiteY7" fmla="*/ 690563 h 690563"/>
                  <a:gd name="connsiteX8" fmla="*/ 0 w 2371726"/>
                  <a:gd name="connsiteY8" fmla="*/ 0 h 690563"/>
                  <a:gd name="connsiteX0" fmla="*/ 0 w 2371726"/>
                  <a:gd name="connsiteY0" fmla="*/ 0 h 690563"/>
                  <a:gd name="connsiteX1" fmla="*/ 2257390 w 2371726"/>
                  <a:gd name="connsiteY1" fmla="*/ 1 h 690563"/>
                  <a:gd name="connsiteX2" fmla="*/ 2257390 w 2371726"/>
                  <a:gd name="connsiteY2" fmla="*/ 240878 h 690563"/>
                  <a:gd name="connsiteX3" fmla="*/ 2371725 w 2371726"/>
                  <a:gd name="connsiteY3" fmla="*/ 239714 h 690563"/>
                  <a:gd name="connsiteX4" fmla="*/ 2371726 w 2371726"/>
                  <a:gd name="connsiteY4" fmla="*/ 454026 h 690563"/>
                  <a:gd name="connsiteX5" fmla="*/ 2257390 w 2371726"/>
                  <a:gd name="connsiteY5" fmla="*/ 455739 h 690563"/>
                  <a:gd name="connsiteX6" fmla="*/ 2257390 w 2371726"/>
                  <a:gd name="connsiteY6" fmla="*/ 690563 h 690563"/>
                  <a:gd name="connsiteX7" fmla="*/ 0 w 2371726"/>
                  <a:gd name="connsiteY7" fmla="*/ 690563 h 690563"/>
                  <a:gd name="connsiteX8" fmla="*/ 0 w 2371726"/>
                  <a:gd name="connsiteY8" fmla="*/ 0 h 690563"/>
                  <a:gd name="connsiteX0" fmla="*/ 0 w 2371726"/>
                  <a:gd name="connsiteY0" fmla="*/ 0 h 690563"/>
                  <a:gd name="connsiteX1" fmla="*/ 2216896 w 2371726"/>
                  <a:gd name="connsiteY1" fmla="*/ 0 h 690563"/>
                  <a:gd name="connsiteX2" fmla="*/ 2257390 w 2371726"/>
                  <a:gd name="connsiteY2" fmla="*/ 240878 h 690563"/>
                  <a:gd name="connsiteX3" fmla="*/ 2371725 w 2371726"/>
                  <a:gd name="connsiteY3" fmla="*/ 239714 h 690563"/>
                  <a:gd name="connsiteX4" fmla="*/ 2371726 w 2371726"/>
                  <a:gd name="connsiteY4" fmla="*/ 454026 h 690563"/>
                  <a:gd name="connsiteX5" fmla="*/ 2257390 w 2371726"/>
                  <a:gd name="connsiteY5" fmla="*/ 455739 h 690563"/>
                  <a:gd name="connsiteX6" fmla="*/ 2257390 w 2371726"/>
                  <a:gd name="connsiteY6" fmla="*/ 690563 h 690563"/>
                  <a:gd name="connsiteX7" fmla="*/ 0 w 2371726"/>
                  <a:gd name="connsiteY7" fmla="*/ 690563 h 690563"/>
                  <a:gd name="connsiteX8" fmla="*/ 0 w 2371726"/>
                  <a:gd name="connsiteY8" fmla="*/ 0 h 690563"/>
                  <a:gd name="connsiteX0" fmla="*/ 0 w 2371726"/>
                  <a:gd name="connsiteY0" fmla="*/ 0 h 690563"/>
                  <a:gd name="connsiteX1" fmla="*/ 2216896 w 2371726"/>
                  <a:gd name="connsiteY1" fmla="*/ 0 h 690563"/>
                  <a:gd name="connsiteX2" fmla="*/ 2216896 w 2371726"/>
                  <a:gd name="connsiteY2" fmla="*/ 242886 h 690563"/>
                  <a:gd name="connsiteX3" fmla="*/ 2371725 w 2371726"/>
                  <a:gd name="connsiteY3" fmla="*/ 239714 h 690563"/>
                  <a:gd name="connsiteX4" fmla="*/ 2371726 w 2371726"/>
                  <a:gd name="connsiteY4" fmla="*/ 454026 h 690563"/>
                  <a:gd name="connsiteX5" fmla="*/ 2257390 w 2371726"/>
                  <a:gd name="connsiteY5" fmla="*/ 455739 h 690563"/>
                  <a:gd name="connsiteX6" fmla="*/ 2257390 w 2371726"/>
                  <a:gd name="connsiteY6" fmla="*/ 690563 h 690563"/>
                  <a:gd name="connsiteX7" fmla="*/ 0 w 2371726"/>
                  <a:gd name="connsiteY7" fmla="*/ 690563 h 690563"/>
                  <a:gd name="connsiteX8" fmla="*/ 0 w 2371726"/>
                  <a:gd name="connsiteY8" fmla="*/ 0 h 690563"/>
                  <a:gd name="connsiteX0" fmla="*/ 0 w 2389349"/>
                  <a:gd name="connsiteY0" fmla="*/ 0 h 690563"/>
                  <a:gd name="connsiteX1" fmla="*/ 2216896 w 2389349"/>
                  <a:gd name="connsiteY1" fmla="*/ 0 h 690563"/>
                  <a:gd name="connsiteX2" fmla="*/ 2216896 w 2389349"/>
                  <a:gd name="connsiteY2" fmla="*/ 242886 h 690563"/>
                  <a:gd name="connsiteX3" fmla="*/ 2389349 w 2389349"/>
                  <a:gd name="connsiteY3" fmla="*/ 242886 h 690563"/>
                  <a:gd name="connsiteX4" fmla="*/ 2371726 w 2389349"/>
                  <a:gd name="connsiteY4" fmla="*/ 454026 h 690563"/>
                  <a:gd name="connsiteX5" fmla="*/ 2257390 w 2389349"/>
                  <a:gd name="connsiteY5" fmla="*/ 455739 h 690563"/>
                  <a:gd name="connsiteX6" fmla="*/ 2257390 w 2389349"/>
                  <a:gd name="connsiteY6" fmla="*/ 690563 h 690563"/>
                  <a:gd name="connsiteX7" fmla="*/ 0 w 2389349"/>
                  <a:gd name="connsiteY7" fmla="*/ 690563 h 690563"/>
                  <a:gd name="connsiteX8" fmla="*/ 0 w 2389349"/>
                  <a:gd name="connsiteY8" fmla="*/ 0 h 690563"/>
                  <a:gd name="connsiteX0" fmla="*/ 0 w 2389349"/>
                  <a:gd name="connsiteY0" fmla="*/ 0 h 690563"/>
                  <a:gd name="connsiteX1" fmla="*/ 2216896 w 2389349"/>
                  <a:gd name="connsiteY1" fmla="*/ 0 h 690563"/>
                  <a:gd name="connsiteX2" fmla="*/ 2216896 w 2389349"/>
                  <a:gd name="connsiteY2" fmla="*/ 242886 h 690563"/>
                  <a:gd name="connsiteX3" fmla="*/ 2389349 w 2389349"/>
                  <a:gd name="connsiteY3" fmla="*/ 242886 h 690563"/>
                  <a:gd name="connsiteX4" fmla="*/ 2389349 w 2389349"/>
                  <a:gd name="connsiteY4" fmla="*/ 457029 h 690563"/>
                  <a:gd name="connsiteX5" fmla="*/ 2257390 w 2389349"/>
                  <a:gd name="connsiteY5" fmla="*/ 455739 h 690563"/>
                  <a:gd name="connsiteX6" fmla="*/ 2257390 w 2389349"/>
                  <a:gd name="connsiteY6" fmla="*/ 690563 h 690563"/>
                  <a:gd name="connsiteX7" fmla="*/ 0 w 2389349"/>
                  <a:gd name="connsiteY7" fmla="*/ 690563 h 690563"/>
                  <a:gd name="connsiteX8" fmla="*/ 0 w 2389349"/>
                  <a:gd name="connsiteY8" fmla="*/ 0 h 690563"/>
                  <a:gd name="connsiteX0" fmla="*/ 0 w 2389349"/>
                  <a:gd name="connsiteY0" fmla="*/ 0 h 690563"/>
                  <a:gd name="connsiteX1" fmla="*/ 2216896 w 2389349"/>
                  <a:gd name="connsiteY1" fmla="*/ 0 h 690563"/>
                  <a:gd name="connsiteX2" fmla="*/ 2216896 w 2389349"/>
                  <a:gd name="connsiteY2" fmla="*/ 242886 h 690563"/>
                  <a:gd name="connsiteX3" fmla="*/ 2389349 w 2389349"/>
                  <a:gd name="connsiteY3" fmla="*/ 242886 h 690563"/>
                  <a:gd name="connsiteX4" fmla="*/ 2389349 w 2389349"/>
                  <a:gd name="connsiteY4" fmla="*/ 457029 h 690563"/>
                  <a:gd name="connsiteX5" fmla="*/ 2216895 w 2389349"/>
                  <a:gd name="connsiteY5" fmla="*/ 457029 h 690563"/>
                  <a:gd name="connsiteX6" fmla="*/ 2257390 w 2389349"/>
                  <a:gd name="connsiteY6" fmla="*/ 690563 h 690563"/>
                  <a:gd name="connsiteX7" fmla="*/ 0 w 2389349"/>
                  <a:gd name="connsiteY7" fmla="*/ 690563 h 690563"/>
                  <a:gd name="connsiteX8" fmla="*/ 0 w 2389349"/>
                  <a:gd name="connsiteY8" fmla="*/ 0 h 690563"/>
                  <a:gd name="connsiteX0" fmla="*/ 0 w 2389349"/>
                  <a:gd name="connsiteY0" fmla="*/ 0 h 691158"/>
                  <a:gd name="connsiteX1" fmla="*/ 2216896 w 2389349"/>
                  <a:gd name="connsiteY1" fmla="*/ 0 h 691158"/>
                  <a:gd name="connsiteX2" fmla="*/ 2216896 w 2389349"/>
                  <a:gd name="connsiteY2" fmla="*/ 242886 h 691158"/>
                  <a:gd name="connsiteX3" fmla="*/ 2389349 w 2389349"/>
                  <a:gd name="connsiteY3" fmla="*/ 242886 h 691158"/>
                  <a:gd name="connsiteX4" fmla="*/ 2389349 w 2389349"/>
                  <a:gd name="connsiteY4" fmla="*/ 457029 h 691158"/>
                  <a:gd name="connsiteX5" fmla="*/ 2216895 w 2389349"/>
                  <a:gd name="connsiteY5" fmla="*/ 457029 h 691158"/>
                  <a:gd name="connsiteX6" fmla="*/ 2216895 w 2389349"/>
                  <a:gd name="connsiteY6" fmla="*/ 691158 h 691158"/>
                  <a:gd name="connsiteX7" fmla="*/ 0 w 2389349"/>
                  <a:gd name="connsiteY7" fmla="*/ 690563 h 691158"/>
                  <a:gd name="connsiteX8" fmla="*/ 0 w 2389349"/>
                  <a:gd name="connsiteY8" fmla="*/ 0 h 691158"/>
                  <a:gd name="connsiteX0" fmla="*/ 0 w 2389349"/>
                  <a:gd name="connsiteY0" fmla="*/ 0 h 691158"/>
                  <a:gd name="connsiteX1" fmla="*/ 2216896 w 2389349"/>
                  <a:gd name="connsiteY1" fmla="*/ 0 h 691158"/>
                  <a:gd name="connsiteX2" fmla="*/ 2216896 w 2389349"/>
                  <a:gd name="connsiteY2" fmla="*/ 242886 h 691158"/>
                  <a:gd name="connsiteX3" fmla="*/ 2326452 w 2389349"/>
                  <a:gd name="connsiteY3" fmla="*/ 247692 h 691158"/>
                  <a:gd name="connsiteX4" fmla="*/ 2389349 w 2389349"/>
                  <a:gd name="connsiteY4" fmla="*/ 457029 h 691158"/>
                  <a:gd name="connsiteX5" fmla="*/ 2216895 w 2389349"/>
                  <a:gd name="connsiteY5" fmla="*/ 457029 h 691158"/>
                  <a:gd name="connsiteX6" fmla="*/ 2216895 w 2389349"/>
                  <a:gd name="connsiteY6" fmla="*/ 691158 h 691158"/>
                  <a:gd name="connsiteX7" fmla="*/ 0 w 2389349"/>
                  <a:gd name="connsiteY7" fmla="*/ 690563 h 691158"/>
                  <a:gd name="connsiteX8" fmla="*/ 0 w 2389349"/>
                  <a:gd name="connsiteY8" fmla="*/ 0 h 691158"/>
                  <a:gd name="connsiteX0" fmla="*/ 0 w 2326452"/>
                  <a:gd name="connsiteY0" fmla="*/ 0 h 691158"/>
                  <a:gd name="connsiteX1" fmla="*/ 2216896 w 2326452"/>
                  <a:gd name="connsiteY1" fmla="*/ 0 h 691158"/>
                  <a:gd name="connsiteX2" fmla="*/ 2216896 w 2326452"/>
                  <a:gd name="connsiteY2" fmla="*/ 242886 h 691158"/>
                  <a:gd name="connsiteX3" fmla="*/ 2326452 w 2326452"/>
                  <a:gd name="connsiteY3" fmla="*/ 247692 h 691158"/>
                  <a:gd name="connsiteX4" fmla="*/ 2326452 w 2326452"/>
                  <a:gd name="connsiteY4" fmla="*/ 460408 h 691158"/>
                  <a:gd name="connsiteX5" fmla="*/ 2216895 w 2326452"/>
                  <a:gd name="connsiteY5" fmla="*/ 457029 h 691158"/>
                  <a:gd name="connsiteX6" fmla="*/ 2216895 w 2326452"/>
                  <a:gd name="connsiteY6" fmla="*/ 691158 h 691158"/>
                  <a:gd name="connsiteX7" fmla="*/ 0 w 2326452"/>
                  <a:gd name="connsiteY7" fmla="*/ 690563 h 691158"/>
                  <a:gd name="connsiteX8" fmla="*/ 0 w 2326452"/>
                  <a:gd name="connsiteY8" fmla="*/ 0 h 691158"/>
                  <a:gd name="connsiteX0" fmla="*/ 0 w 2326452"/>
                  <a:gd name="connsiteY0" fmla="*/ 0 h 691158"/>
                  <a:gd name="connsiteX1" fmla="*/ 2216896 w 2326452"/>
                  <a:gd name="connsiteY1" fmla="*/ 0 h 691158"/>
                  <a:gd name="connsiteX2" fmla="*/ 2218026 w 2326452"/>
                  <a:gd name="connsiteY2" fmla="*/ 247692 h 691158"/>
                  <a:gd name="connsiteX3" fmla="*/ 2326452 w 2326452"/>
                  <a:gd name="connsiteY3" fmla="*/ 247692 h 691158"/>
                  <a:gd name="connsiteX4" fmla="*/ 2326452 w 2326452"/>
                  <a:gd name="connsiteY4" fmla="*/ 460408 h 691158"/>
                  <a:gd name="connsiteX5" fmla="*/ 2216895 w 2326452"/>
                  <a:gd name="connsiteY5" fmla="*/ 457029 h 691158"/>
                  <a:gd name="connsiteX6" fmla="*/ 2216895 w 2326452"/>
                  <a:gd name="connsiteY6" fmla="*/ 691158 h 691158"/>
                  <a:gd name="connsiteX7" fmla="*/ 0 w 2326452"/>
                  <a:gd name="connsiteY7" fmla="*/ 690563 h 691158"/>
                  <a:gd name="connsiteX8" fmla="*/ 0 w 2326452"/>
                  <a:gd name="connsiteY8" fmla="*/ 0 h 691158"/>
                  <a:gd name="connsiteX0" fmla="*/ 0 w 2326452"/>
                  <a:gd name="connsiteY0" fmla="*/ 0 h 691158"/>
                  <a:gd name="connsiteX1" fmla="*/ 2216896 w 2326452"/>
                  <a:gd name="connsiteY1" fmla="*/ 0 h 691158"/>
                  <a:gd name="connsiteX2" fmla="*/ 2218026 w 2326452"/>
                  <a:gd name="connsiteY2" fmla="*/ 247692 h 691158"/>
                  <a:gd name="connsiteX3" fmla="*/ 2326452 w 2326452"/>
                  <a:gd name="connsiteY3" fmla="*/ 247692 h 691158"/>
                  <a:gd name="connsiteX4" fmla="*/ 2326452 w 2326452"/>
                  <a:gd name="connsiteY4" fmla="*/ 460408 h 691158"/>
                  <a:gd name="connsiteX5" fmla="*/ 2216895 w 2326452"/>
                  <a:gd name="connsiteY5" fmla="*/ 457029 h 691158"/>
                  <a:gd name="connsiteX6" fmla="*/ 2216895 w 2326452"/>
                  <a:gd name="connsiteY6" fmla="*/ 691158 h 691158"/>
                  <a:gd name="connsiteX7" fmla="*/ 0 w 2326452"/>
                  <a:gd name="connsiteY7" fmla="*/ 690563 h 691158"/>
                  <a:gd name="connsiteX8" fmla="*/ 0 w 2326452"/>
                  <a:gd name="connsiteY8" fmla="*/ 0 h 691158"/>
                  <a:gd name="connsiteX0" fmla="*/ 0 w 2326452"/>
                  <a:gd name="connsiteY0" fmla="*/ 0 h 691158"/>
                  <a:gd name="connsiteX1" fmla="*/ 2216896 w 2326452"/>
                  <a:gd name="connsiteY1" fmla="*/ 0 h 691158"/>
                  <a:gd name="connsiteX2" fmla="*/ 2218026 w 2326452"/>
                  <a:gd name="connsiteY2" fmla="*/ 247692 h 691158"/>
                  <a:gd name="connsiteX3" fmla="*/ 2326452 w 2326452"/>
                  <a:gd name="connsiteY3" fmla="*/ 247692 h 691158"/>
                  <a:gd name="connsiteX4" fmla="*/ 2326452 w 2326452"/>
                  <a:gd name="connsiteY4" fmla="*/ 460408 h 691158"/>
                  <a:gd name="connsiteX5" fmla="*/ 2216895 w 2326452"/>
                  <a:gd name="connsiteY5" fmla="*/ 457029 h 691158"/>
                  <a:gd name="connsiteX6" fmla="*/ 2216895 w 2326452"/>
                  <a:gd name="connsiteY6" fmla="*/ 691158 h 691158"/>
                  <a:gd name="connsiteX7" fmla="*/ 0 w 2326452"/>
                  <a:gd name="connsiteY7" fmla="*/ 690563 h 691158"/>
                  <a:gd name="connsiteX8" fmla="*/ 0 w 2326452"/>
                  <a:gd name="connsiteY8" fmla="*/ 0 h 691158"/>
                  <a:gd name="connsiteX0" fmla="*/ 0 w 2326452"/>
                  <a:gd name="connsiteY0" fmla="*/ 0 h 691158"/>
                  <a:gd name="connsiteX1" fmla="*/ 2216896 w 2326452"/>
                  <a:gd name="connsiteY1" fmla="*/ 0 h 691158"/>
                  <a:gd name="connsiteX2" fmla="*/ 2218026 w 2326452"/>
                  <a:gd name="connsiteY2" fmla="*/ 247692 h 691158"/>
                  <a:gd name="connsiteX3" fmla="*/ 2326452 w 2326452"/>
                  <a:gd name="connsiteY3" fmla="*/ 247692 h 691158"/>
                  <a:gd name="connsiteX4" fmla="*/ 2326452 w 2326452"/>
                  <a:gd name="connsiteY4" fmla="*/ 460408 h 691158"/>
                  <a:gd name="connsiteX5" fmla="*/ 2216895 w 2326452"/>
                  <a:gd name="connsiteY5" fmla="*/ 460408 h 691158"/>
                  <a:gd name="connsiteX6" fmla="*/ 2216895 w 2326452"/>
                  <a:gd name="connsiteY6" fmla="*/ 691158 h 691158"/>
                  <a:gd name="connsiteX7" fmla="*/ 0 w 2326452"/>
                  <a:gd name="connsiteY7" fmla="*/ 690563 h 691158"/>
                  <a:gd name="connsiteX8" fmla="*/ 0 w 2326452"/>
                  <a:gd name="connsiteY8" fmla="*/ 0 h 691158"/>
                  <a:gd name="connsiteX0" fmla="*/ 0 w 2326452"/>
                  <a:gd name="connsiteY0" fmla="*/ 0 h 691158"/>
                  <a:gd name="connsiteX1" fmla="*/ 2216896 w 2326452"/>
                  <a:gd name="connsiteY1" fmla="*/ 0 h 691158"/>
                  <a:gd name="connsiteX2" fmla="*/ 2218026 w 2326452"/>
                  <a:gd name="connsiteY2" fmla="*/ 247692 h 691158"/>
                  <a:gd name="connsiteX3" fmla="*/ 2326452 w 2326452"/>
                  <a:gd name="connsiteY3" fmla="*/ 247692 h 691158"/>
                  <a:gd name="connsiteX4" fmla="*/ 2326452 w 2326452"/>
                  <a:gd name="connsiteY4" fmla="*/ 442059 h 691158"/>
                  <a:gd name="connsiteX5" fmla="*/ 2216895 w 2326452"/>
                  <a:gd name="connsiteY5" fmla="*/ 460408 h 691158"/>
                  <a:gd name="connsiteX6" fmla="*/ 2216895 w 2326452"/>
                  <a:gd name="connsiteY6" fmla="*/ 691158 h 691158"/>
                  <a:gd name="connsiteX7" fmla="*/ 0 w 2326452"/>
                  <a:gd name="connsiteY7" fmla="*/ 690563 h 691158"/>
                  <a:gd name="connsiteX8" fmla="*/ 0 w 2326452"/>
                  <a:gd name="connsiteY8" fmla="*/ 0 h 691158"/>
                  <a:gd name="connsiteX0" fmla="*/ 0 w 2326452"/>
                  <a:gd name="connsiteY0" fmla="*/ 0 h 691158"/>
                  <a:gd name="connsiteX1" fmla="*/ 2216896 w 2326452"/>
                  <a:gd name="connsiteY1" fmla="*/ 0 h 691158"/>
                  <a:gd name="connsiteX2" fmla="*/ 2218026 w 2326452"/>
                  <a:gd name="connsiteY2" fmla="*/ 247692 h 691158"/>
                  <a:gd name="connsiteX3" fmla="*/ 2326452 w 2326452"/>
                  <a:gd name="connsiteY3" fmla="*/ 247692 h 691158"/>
                  <a:gd name="connsiteX4" fmla="*/ 2326452 w 2326452"/>
                  <a:gd name="connsiteY4" fmla="*/ 442059 h 691158"/>
                  <a:gd name="connsiteX5" fmla="*/ 2216895 w 2326452"/>
                  <a:gd name="connsiteY5" fmla="*/ 442059 h 691158"/>
                  <a:gd name="connsiteX6" fmla="*/ 2216895 w 2326452"/>
                  <a:gd name="connsiteY6" fmla="*/ 691158 h 691158"/>
                  <a:gd name="connsiteX7" fmla="*/ 0 w 2326452"/>
                  <a:gd name="connsiteY7" fmla="*/ 690563 h 691158"/>
                  <a:gd name="connsiteX8" fmla="*/ 0 w 2326452"/>
                  <a:gd name="connsiteY8" fmla="*/ 0 h 691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26452" h="691158">
                    <a:moveTo>
                      <a:pt x="0" y="0"/>
                    </a:moveTo>
                    <a:lnTo>
                      <a:pt x="2216896" y="0"/>
                    </a:lnTo>
                    <a:cubicBezTo>
                      <a:pt x="2217273" y="82564"/>
                      <a:pt x="2217649" y="165128"/>
                      <a:pt x="2218026" y="247692"/>
                    </a:cubicBezTo>
                    <a:lnTo>
                      <a:pt x="2326452" y="247692"/>
                    </a:lnTo>
                    <a:lnTo>
                      <a:pt x="2326452" y="442059"/>
                    </a:lnTo>
                    <a:lnTo>
                      <a:pt x="2216895" y="442059"/>
                    </a:lnTo>
                    <a:lnTo>
                      <a:pt x="2216895" y="691158"/>
                    </a:lnTo>
                    <a:lnTo>
                      <a:pt x="0" y="690563"/>
                    </a:lnTo>
                    <a:lnTo>
                      <a:pt x="0" y="0"/>
                    </a:lnTo>
                    <a:close/>
                  </a:path>
                </a:pathLst>
              </a:custGeom>
              <a:solidFill>
                <a:srgbClr val="58A618"/>
              </a:solidFill>
              <a:ln w="12700" cap="flat" cmpd="sng" algn="ctr">
                <a:solidFill>
                  <a:srgbClr val="58A618"/>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685862">
                  <a:buClr>
                    <a:srgbClr val="58A618"/>
                  </a:buClr>
                  <a:defRPr/>
                </a:pPr>
                <a:endParaRPr lang="en-US" kern="0" dirty="0">
                  <a:solidFill>
                    <a:srgbClr val="000000"/>
                  </a:solidFill>
                </a:endParaRPr>
              </a:p>
            </p:txBody>
          </p:sp>
          <p:sp>
            <p:nvSpPr>
              <p:cNvPr id="108" name="Freeform 107"/>
              <p:cNvSpPr/>
              <p:nvPr/>
            </p:nvSpPr>
            <p:spPr bwMode="auto">
              <a:xfrm flipH="1">
                <a:off x="3890738" y="2985340"/>
                <a:ext cx="3922396" cy="859536"/>
              </a:xfrm>
              <a:custGeom>
                <a:avLst/>
                <a:gdLst>
                  <a:gd name="connsiteX0" fmla="*/ 0 w 2388870"/>
                  <a:gd name="connsiteY0" fmla="*/ 0 h 693420"/>
                  <a:gd name="connsiteX1" fmla="*/ 2377440 w 2388870"/>
                  <a:gd name="connsiteY1" fmla="*/ 0 h 693420"/>
                  <a:gd name="connsiteX2" fmla="*/ 2377440 w 2388870"/>
                  <a:gd name="connsiteY2" fmla="*/ 243840 h 693420"/>
                  <a:gd name="connsiteX3" fmla="*/ 2156460 w 2388870"/>
                  <a:gd name="connsiteY3" fmla="*/ 240030 h 693420"/>
                  <a:gd name="connsiteX4" fmla="*/ 2164080 w 2388870"/>
                  <a:gd name="connsiteY4" fmla="*/ 453390 h 693420"/>
                  <a:gd name="connsiteX5" fmla="*/ 2388870 w 2388870"/>
                  <a:gd name="connsiteY5" fmla="*/ 453390 h 693420"/>
                  <a:gd name="connsiteX6" fmla="*/ 2373630 w 2388870"/>
                  <a:gd name="connsiteY6" fmla="*/ 689610 h 693420"/>
                  <a:gd name="connsiteX7" fmla="*/ 7620 w 2388870"/>
                  <a:gd name="connsiteY7" fmla="*/ 693420 h 693420"/>
                  <a:gd name="connsiteX8" fmla="*/ 0 w 2388870"/>
                  <a:gd name="connsiteY8" fmla="*/ 0 h 693420"/>
                  <a:gd name="connsiteX0" fmla="*/ 0 w 2385060"/>
                  <a:gd name="connsiteY0" fmla="*/ 0 h 693420"/>
                  <a:gd name="connsiteX1" fmla="*/ 2373630 w 2385060"/>
                  <a:gd name="connsiteY1" fmla="*/ 0 h 693420"/>
                  <a:gd name="connsiteX2" fmla="*/ 2373630 w 2385060"/>
                  <a:gd name="connsiteY2" fmla="*/ 243840 h 693420"/>
                  <a:gd name="connsiteX3" fmla="*/ 2152650 w 2385060"/>
                  <a:gd name="connsiteY3" fmla="*/ 240030 h 693420"/>
                  <a:gd name="connsiteX4" fmla="*/ 2160270 w 2385060"/>
                  <a:gd name="connsiteY4" fmla="*/ 453390 h 693420"/>
                  <a:gd name="connsiteX5" fmla="*/ 2385060 w 2385060"/>
                  <a:gd name="connsiteY5" fmla="*/ 453390 h 693420"/>
                  <a:gd name="connsiteX6" fmla="*/ 2369820 w 2385060"/>
                  <a:gd name="connsiteY6" fmla="*/ 689610 h 693420"/>
                  <a:gd name="connsiteX7" fmla="*/ 3810 w 2385060"/>
                  <a:gd name="connsiteY7" fmla="*/ 693420 h 693420"/>
                  <a:gd name="connsiteX8" fmla="*/ 0 w 2385060"/>
                  <a:gd name="connsiteY8" fmla="*/ 0 h 693420"/>
                  <a:gd name="connsiteX0" fmla="*/ 0 w 2385060"/>
                  <a:gd name="connsiteY0" fmla="*/ 0 h 690563"/>
                  <a:gd name="connsiteX1" fmla="*/ 2373630 w 2385060"/>
                  <a:gd name="connsiteY1" fmla="*/ 0 h 690563"/>
                  <a:gd name="connsiteX2" fmla="*/ 2373630 w 2385060"/>
                  <a:gd name="connsiteY2" fmla="*/ 243840 h 690563"/>
                  <a:gd name="connsiteX3" fmla="*/ 2152650 w 2385060"/>
                  <a:gd name="connsiteY3" fmla="*/ 240030 h 690563"/>
                  <a:gd name="connsiteX4" fmla="*/ 2160270 w 2385060"/>
                  <a:gd name="connsiteY4" fmla="*/ 453390 h 690563"/>
                  <a:gd name="connsiteX5" fmla="*/ 2385060 w 2385060"/>
                  <a:gd name="connsiteY5" fmla="*/ 453390 h 690563"/>
                  <a:gd name="connsiteX6" fmla="*/ 2369820 w 2385060"/>
                  <a:gd name="connsiteY6" fmla="*/ 689610 h 690563"/>
                  <a:gd name="connsiteX7" fmla="*/ 0 w 2385060"/>
                  <a:gd name="connsiteY7" fmla="*/ 690563 h 690563"/>
                  <a:gd name="connsiteX8" fmla="*/ 0 w 2385060"/>
                  <a:gd name="connsiteY8" fmla="*/ 0 h 690563"/>
                  <a:gd name="connsiteX0" fmla="*/ 0 w 2385060"/>
                  <a:gd name="connsiteY0" fmla="*/ 0 h 690564"/>
                  <a:gd name="connsiteX1" fmla="*/ 2373630 w 2385060"/>
                  <a:gd name="connsiteY1" fmla="*/ 0 h 690564"/>
                  <a:gd name="connsiteX2" fmla="*/ 2373630 w 2385060"/>
                  <a:gd name="connsiteY2" fmla="*/ 243840 h 690564"/>
                  <a:gd name="connsiteX3" fmla="*/ 2152650 w 2385060"/>
                  <a:gd name="connsiteY3" fmla="*/ 240030 h 690564"/>
                  <a:gd name="connsiteX4" fmla="*/ 2160270 w 2385060"/>
                  <a:gd name="connsiteY4" fmla="*/ 453390 h 690564"/>
                  <a:gd name="connsiteX5" fmla="*/ 2385060 w 2385060"/>
                  <a:gd name="connsiteY5" fmla="*/ 453390 h 690564"/>
                  <a:gd name="connsiteX6" fmla="*/ 2371725 w 2385060"/>
                  <a:gd name="connsiteY6" fmla="*/ 690564 h 690564"/>
                  <a:gd name="connsiteX7" fmla="*/ 0 w 2385060"/>
                  <a:gd name="connsiteY7" fmla="*/ 690563 h 690564"/>
                  <a:gd name="connsiteX8" fmla="*/ 0 w 2385060"/>
                  <a:gd name="connsiteY8" fmla="*/ 0 h 690564"/>
                  <a:gd name="connsiteX0" fmla="*/ 0 w 2373630"/>
                  <a:gd name="connsiteY0" fmla="*/ 0 h 690564"/>
                  <a:gd name="connsiteX1" fmla="*/ 2373630 w 2373630"/>
                  <a:gd name="connsiteY1" fmla="*/ 0 h 690564"/>
                  <a:gd name="connsiteX2" fmla="*/ 2373630 w 2373630"/>
                  <a:gd name="connsiteY2" fmla="*/ 243840 h 690564"/>
                  <a:gd name="connsiteX3" fmla="*/ 2152650 w 2373630"/>
                  <a:gd name="connsiteY3" fmla="*/ 240030 h 690564"/>
                  <a:gd name="connsiteX4" fmla="*/ 2160270 w 2373630"/>
                  <a:gd name="connsiteY4" fmla="*/ 453390 h 690564"/>
                  <a:gd name="connsiteX5" fmla="*/ 2371725 w 2373630"/>
                  <a:gd name="connsiteY5" fmla="*/ 454025 h 690564"/>
                  <a:gd name="connsiteX6" fmla="*/ 2371725 w 2373630"/>
                  <a:gd name="connsiteY6" fmla="*/ 690564 h 690564"/>
                  <a:gd name="connsiteX7" fmla="*/ 0 w 2373630"/>
                  <a:gd name="connsiteY7" fmla="*/ 690563 h 690564"/>
                  <a:gd name="connsiteX8" fmla="*/ 0 w 2373630"/>
                  <a:gd name="connsiteY8" fmla="*/ 0 h 690564"/>
                  <a:gd name="connsiteX0" fmla="*/ 0 w 2373630"/>
                  <a:gd name="connsiteY0" fmla="*/ 0 h 690564"/>
                  <a:gd name="connsiteX1" fmla="*/ 2373630 w 2373630"/>
                  <a:gd name="connsiteY1" fmla="*/ 0 h 690564"/>
                  <a:gd name="connsiteX2" fmla="*/ 2373630 w 2373630"/>
                  <a:gd name="connsiteY2" fmla="*/ 243840 h 690564"/>
                  <a:gd name="connsiteX3" fmla="*/ 2162175 w 2373630"/>
                  <a:gd name="connsiteY3" fmla="*/ 239713 h 690564"/>
                  <a:gd name="connsiteX4" fmla="*/ 2160270 w 2373630"/>
                  <a:gd name="connsiteY4" fmla="*/ 453390 h 690564"/>
                  <a:gd name="connsiteX5" fmla="*/ 2371725 w 2373630"/>
                  <a:gd name="connsiteY5" fmla="*/ 454025 h 690564"/>
                  <a:gd name="connsiteX6" fmla="*/ 2371725 w 2373630"/>
                  <a:gd name="connsiteY6" fmla="*/ 690564 h 690564"/>
                  <a:gd name="connsiteX7" fmla="*/ 0 w 2373630"/>
                  <a:gd name="connsiteY7" fmla="*/ 690563 h 690564"/>
                  <a:gd name="connsiteX8" fmla="*/ 0 w 2373630"/>
                  <a:gd name="connsiteY8" fmla="*/ 0 h 690564"/>
                  <a:gd name="connsiteX0" fmla="*/ 0 w 2373630"/>
                  <a:gd name="connsiteY0" fmla="*/ 0 h 690564"/>
                  <a:gd name="connsiteX1" fmla="*/ 2373630 w 2373630"/>
                  <a:gd name="connsiteY1" fmla="*/ 0 h 690564"/>
                  <a:gd name="connsiteX2" fmla="*/ 2371725 w 2373630"/>
                  <a:gd name="connsiteY2" fmla="*/ 239713 h 690564"/>
                  <a:gd name="connsiteX3" fmla="*/ 2162175 w 2373630"/>
                  <a:gd name="connsiteY3" fmla="*/ 239713 h 690564"/>
                  <a:gd name="connsiteX4" fmla="*/ 2160270 w 2373630"/>
                  <a:gd name="connsiteY4" fmla="*/ 453390 h 690564"/>
                  <a:gd name="connsiteX5" fmla="*/ 2371725 w 2373630"/>
                  <a:gd name="connsiteY5" fmla="*/ 454025 h 690564"/>
                  <a:gd name="connsiteX6" fmla="*/ 2371725 w 2373630"/>
                  <a:gd name="connsiteY6" fmla="*/ 690564 h 690564"/>
                  <a:gd name="connsiteX7" fmla="*/ 0 w 2373630"/>
                  <a:gd name="connsiteY7" fmla="*/ 690563 h 690564"/>
                  <a:gd name="connsiteX8" fmla="*/ 0 w 2373630"/>
                  <a:gd name="connsiteY8" fmla="*/ 0 h 690564"/>
                  <a:gd name="connsiteX0" fmla="*/ 0 w 2373630"/>
                  <a:gd name="connsiteY0" fmla="*/ 0 h 690564"/>
                  <a:gd name="connsiteX1" fmla="*/ 2373630 w 2373630"/>
                  <a:gd name="connsiteY1" fmla="*/ 0 h 690564"/>
                  <a:gd name="connsiteX2" fmla="*/ 2371725 w 2373630"/>
                  <a:gd name="connsiteY2" fmla="*/ 239713 h 690564"/>
                  <a:gd name="connsiteX3" fmla="*/ 2162175 w 2373630"/>
                  <a:gd name="connsiteY3" fmla="*/ 239713 h 690564"/>
                  <a:gd name="connsiteX4" fmla="*/ 2160270 w 2373630"/>
                  <a:gd name="connsiteY4" fmla="*/ 453390 h 690564"/>
                  <a:gd name="connsiteX5" fmla="*/ 2371725 w 2373630"/>
                  <a:gd name="connsiteY5" fmla="*/ 454025 h 690564"/>
                  <a:gd name="connsiteX6" fmla="*/ 2371725 w 2373630"/>
                  <a:gd name="connsiteY6" fmla="*/ 690564 h 690564"/>
                  <a:gd name="connsiteX7" fmla="*/ 0 w 2373630"/>
                  <a:gd name="connsiteY7" fmla="*/ 690563 h 690564"/>
                  <a:gd name="connsiteX8" fmla="*/ 0 w 2373630"/>
                  <a:gd name="connsiteY8" fmla="*/ 0 h 690564"/>
                  <a:gd name="connsiteX0" fmla="*/ 0 w 2373630"/>
                  <a:gd name="connsiteY0" fmla="*/ 0 h 690563"/>
                  <a:gd name="connsiteX1" fmla="*/ 2373630 w 2373630"/>
                  <a:gd name="connsiteY1" fmla="*/ 0 h 690563"/>
                  <a:gd name="connsiteX2" fmla="*/ 2371725 w 2373630"/>
                  <a:gd name="connsiteY2" fmla="*/ 239713 h 690563"/>
                  <a:gd name="connsiteX3" fmla="*/ 2162175 w 2373630"/>
                  <a:gd name="connsiteY3" fmla="*/ 239713 h 690563"/>
                  <a:gd name="connsiteX4" fmla="*/ 2160270 w 2373630"/>
                  <a:gd name="connsiteY4" fmla="*/ 453390 h 690563"/>
                  <a:gd name="connsiteX5" fmla="*/ 2371725 w 2373630"/>
                  <a:gd name="connsiteY5" fmla="*/ 454025 h 690563"/>
                  <a:gd name="connsiteX6" fmla="*/ 2371725 w 2373630"/>
                  <a:gd name="connsiteY6" fmla="*/ 690563 h 690563"/>
                  <a:gd name="connsiteX7" fmla="*/ 0 w 2373630"/>
                  <a:gd name="connsiteY7" fmla="*/ 690563 h 690563"/>
                  <a:gd name="connsiteX8" fmla="*/ 0 w 2373630"/>
                  <a:gd name="connsiteY8" fmla="*/ 0 h 690563"/>
                  <a:gd name="connsiteX0" fmla="*/ 0 w 2371725"/>
                  <a:gd name="connsiteY0" fmla="*/ 0 h 690563"/>
                  <a:gd name="connsiteX1" fmla="*/ 2371725 w 2371725"/>
                  <a:gd name="connsiteY1" fmla="*/ 1 h 690563"/>
                  <a:gd name="connsiteX2" fmla="*/ 2371725 w 2371725"/>
                  <a:gd name="connsiteY2" fmla="*/ 239713 h 690563"/>
                  <a:gd name="connsiteX3" fmla="*/ 2162175 w 2371725"/>
                  <a:gd name="connsiteY3" fmla="*/ 239713 h 690563"/>
                  <a:gd name="connsiteX4" fmla="*/ 2160270 w 2371725"/>
                  <a:gd name="connsiteY4" fmla="*/ 453390 h 690563"/>
                  <a:gd name="connsiteX5" fmla="*/ 2371725 w 2371725"/>
                  <a:gd name="connsiteY5" fmla="*/ 454025 h 690563"/>
                  <a:gd name="connsiteX6" fmla="*/ 2371725 w 2371725"/>
                  <a:gd name="connsiteY6" fmla="*/ 690563 h 690563"/>
                  <a:gd name="connsiteX7" fmla="*/ 0 w 2371725"/>
                  <a:gd name="connsiteY7" fmla="*/ 690563 h 690563"/>
                  <a:gd name="connsiteX8" fmla="*/ 0 w 2371725"/>
                  <a:gd name="connsiteY8" fmla="*/ 0 h 690563"/>
                  <a:gd name="connsiteX0" fmla="*/ 0 w 2371726"/>
                  <a:gd name="connsiteY0" fmla="*/ 0 h 690563"/>
                  <a:gd name="connsiteX1" fmla="*/ 2371725 w 2371726"/>
                  <a:gd name="connsiteY1" fmla="*/ 1 h 690563"/>
                  <a:gd name="connsiteX2" fmla="*/ 2371726 w 2371726"/>
                  <a:gd name="connsiteY2" fmla="*/ 239714 h 690563"/>
                  <a:gd name="connsiteX3" fmla="*/ 2162175 w 2371726"/>
                  <a:gd name="connsiteY3" fmla="*/ 239713 h 690563"/>
                  <a:gd name="connsiteX4" fmla="*/ 2160270 w 2371726"/>
                  <a:gd name="connsiteY4" fmla="*/ 453390 h 690563"/>
                  <a:gd name="connsiteX5" fmla="*/ 2371725 w 2371726"/>
                  <a:gd name="connsiteY5" fmla="*/ 454025 h 690563"/>
                  <a:gd name="connsiteX6" fmla="*/ 2371725 w 2371726"/>
                  <a:gd name="connsiteY6" fmla="*/ 690563 h 690563"/>
                  <a:gd name="connsiteX7" fmla="*/ 0 w 2371726"/>
                  <a:gd name="connsiteY7" fmla="*/ 690563 h 690563"/>
                  <a:gd name="connsiteX8" fmla="*/ 0 w 2371726"/>
                  <a:gd name="connsiteY8" fmla="*/ 0 h 690563"/>
                  <a:gd name="connsiteX0" fmla="*/ 0 w 2371725"/>
                  <a:gd name="connsiteY0" fmla="*/ 0 h 690563"/>
                  <a:gd name="connsiteX1" fmla="*/ 2371725 w 2371725"/>
                  <a:gd name="connsiteY1" fmla="*/ 1 h 690563"/>
                  <a:gd name="connsiteX2" fmla="*/ 2371725 w 2371725"/>
                  <a:gd name="connsiteY2" fmla="*/ 239714 h 690563"/>
                  <a:gd name="connsiteX3" fmla="*/ 2162175 w 2371725"/>
                  <a:gd name="connsiteY3" fmla="*/ 239713 h 690563"/>
                  <a:gd name="connsiteX4" fmla="*/ 2160270 w 2371725"/>
                  <a:gd name="connsiteY4" fmla="*/ 453390 h 690563"/>
                  <a:gd name="connsiteX5" fmla="*/ 2371725 w 2371725"/>
                  <a:gd name="connsiteY5" fmla="*/ 454025 h 690563"/>
                  <a:gd name="connsiteX6" fmla="*/ 2371725 w 2371725"/>
                  <a:gd name="connsiteY6" fmla="*/ 690563 h 690563"/>
                  <a:gd name="connsiteX7" fmla="*/ 0 w 2371725"/>
                  <a:gd name="connsiteY7" fmla="*/ 690563 h 690563"/>
                  <a:gd name="connsiteX8" fmla="*/ 0 w 2371725"/>
                  <a:gd name="connsiteY8" fmla="*/ 0 h 690563"/>
                  <a:gd name="connsiteX0" fmla="*/ 0 w 2371725"/>
                  <a:gd name="connsiteY0" fmla="*/ 0 h 690563"/>
                  <a:gd name="connsiteX1" fmla="*/ 2371725 w 2371725"/>
                  <a:gd name="connsiteY1" fmla="*/ 1 h 690563"/>
                  <a:gd name="connsiteX2" fmla="*/ 2371725 w 2371725"/>
                  <a:gd name="connsiteY2" fmla="*/ 239714 h 690563"/>
                  <a:gd name="connsiteX3" fmla="*/ 2162175 w 2371725"/>
                  <a:gd name="connsiteY3" fmla="*/ 239713 h 690563"/>
                  <a:gd name="connsiteX4" fmla="*/ 2162176 w 2371725"/>
                  <a:gd name="connsiteY4" fmla="*/ 454026 h 690563"/>
                  <a:gd name="connsiteX5" fmla="*/ 2371725 w 2371725"/>
                  <a:gd name="connsiteY5" fmla="*/ 454025 h 690563"/>
                  <a:gd name="connsiteX6" fmla="*/ 2371725 w 2371725"/>
                  <a:gd name="connsiteY6" fmla="*/ 690563 h 690563"/>
                  <a:gd name="connsiteX7" fmla="*/ 0 w 2371725"/>
                  <a:gd name="connsiteY7" fmla="*/ 690563 h 690563"/>
                  <a:gd name="connsiteX8" fmla="*/ 0 w 2371725"/>
                  <a:gd name="connsiteY8" fmla="*/ 0 h 690563"/>
                  <a:gd name="connsiteX0" fmla="*/ 0 w 2371726"/>
                  <a:gd name="connsiteY0" fmla="*/ 0 h 690563"/>
                  <a:gd name="connsiteX1" fmla="*/ 2371725 w 2371726"/>
                  <a:gd name="connsiteY1" fmla="*/ 1 h 690563"/>
                  <a:gd name="connsiteX2" fmla="*/ 2371725 w 2371726"/>
                  <a:gd name="connsiteY2" fmla="*/ 239714 h 690563"/>
                  <a:gd name="connsiteX3" fmla="*/ 2162175 w 2371726"/>
                  <a:gd name="connsiteY3" fmla="*/ 239713 h 690563"/>
                  <a:gd name="connsiteX4" fmla="*/ 2162176 w 2371726"/>
                  <a:gd name="connsiteY4" fmla="*/ 454026 h 690563"/>
                  <a:gd name="connsiteX5" fmla="*/ 2371726 w 2371726"/>
                  <a:gd name="connsiteY5" fmla="*/ 454026 h 690563"/>
                  <a:gd name="connsiteX6" fmla="*/ 2371725 w 2371726"/>
                  <a:gd name="connsiteY6" fmla="*/ 690563 h 690563"/>
                  <a:gd name="connsiteX7" fmla="*/ 0 w 2371726"/>
                  <a:gd name="connsiteY7" fmla="*/ 690563 h 690563"/>
                  <a:gd name="connsiteX8" fmla="*/ 0 w 2371726"/>
                  <a:gd name="connsiteY8" fmla="*/ 0 h 690563"/>
                  <a:gd name="connsiteX0" fmla="*/ 0 w 2371726"/>
                  <a:gd name="connsiteY0" fmla="*/ 0 h 690563"/>
                  <a:gd name="connsiteX1" fmla="*/ 2162176 w 2371726"/>
                  <a:gd name="connsiteY1" fmla="*/ 1 h 690563"/>
                  <a:gd name="connsiteX2" fmla="*/ 2371725 w 2371726"/>
                  <a:gd name="connsiteY2" fmla="*/ 239714 h 690563"/>
                  <a:gd name="connsiteX3" fmla="*/ 2162175 w 2371726"/>
                  <a:gd name="connsiteY3" fmla="*/ 239713 h 690563"/>
                  <a:gd name="connsiteX4" fmla="*/ 2162176 w 2371726"/>
                  <a:gd name="connsiteY4" fmla="*/ 454026 h 690563"/>
                  <a:gd name="connsiteX5" fmla="*/ 2371726 w 2371726"/>
                  <a:gd name="connsiteY5" fmla="*/ 454026 h 690563"/>
                  <a:gd name="connsiteX6" fmla="*/ 2371725 w 2371726"/>
                  <a:gd name="connsiteY6" fmla="*/ 690563 h 690563"/>
                  <a:gd name="connsiteX7" fmla="*/ 0 w 2371726"/>
                  <a:gd name="connsiteY7" fmla="*/ 690563 h 690563"/>
                  <a:gd name="connsiteX8" fmla="*/ 0 w 2371726"/>
                  <a:gd name="connsiteY8" fmla="*/ 0 h 690563"/>
                  <a:gd name="connsiteX0" fmla="*/ 0 w 2371726"/>
                  <a:gd name="connsiteY0" fmla="*/ 0 h 690563"/>
                  <a:gd name="connsiteX1" fmla="*/ 2162176 w 2371726"/>
                  <a:gd name="connsiteY1" fmla="*/ 1 h 690563"/>
                  <a:gd name="connsiteX2" fmla="*/ 2371725 w 2371726"/>
                  <a:gd name="connsiteY2" fmla="*/ 239714 h 690563"/>
                  <a:gd name="connsiteX3" fmla="*/ 2162176 w 2371726"/>
                  <a:gd name="connsiteY3" fmla="*/ 454026 h 690563"/>
                  <a:gd name="connsiteX4" fmla="*/ 2371726 w 2371726"/>
                  <a:gd name="connsiteY4" fmla="*/ 454026 h 690563"/>
                  <a:gd name="connsiteX5" fmla="*/ 2371725 w 2371726"/>
                  <a:gd name="connsiteY5" fmla="*/ 690563 h 690563"/>
                  <a:gd name="connsiteX6" fmla="*/ 0 w 2371726"/>
                  <a:gd name="connsiteY6" fmla="*/ 690563 h 690563"/>
                  <a:gd name="connsiteX7" fmla="*/ 0 w 2371726"/>
                  <a:gd name="connsiteY7" fmla="*/ 0 h 690563"/>
                  <a:gd name="connsiteX0" fmla="*/ 0 w 2371726"/>
                  <a:gd name="connsiteY0" fmla="*/ 0 h 690563"/>
                  <a:gd name="connsiteX1" fmla="*/ 2162176 w 2371726"/>
                  <a:gd name="connsiteY1" fmla="*/ 1 h 690563"/>
                  <a:gd name="connsiteX2" fmla="*/ 2162176 w 2371726"/>
                  <a:gd name="connsiteY2" fmla="*/ 239714 h 690563"/>
                  <a:gd name="connsiteX3" fmla="*/ 2371725 w 2371726"/>
                  <a:gd name="connsiteY3" fmla="*/ 239714 h 690563"/>
                  <a:gd name="connsiteX4" fmla="*/ 2162176 w 2371726"/>
                  <a:gd name="connsiteY4" fmla="*/ 454026 h 690563"/>
                  <a:gd name="connsiteX5" fmla="*/ 2371726 w 2371726"/>
                  <a:gd name="connsiteY5" fmla="*/ 454026 h 690563"/>
                  <a:gd name="connsiteX6" fmla="*/ 2371725 w 2371726"/>
                  <a:gd name="connsiteY6" fmla="*/ 690563 h 690563"/>
                  <a:gd name="connsiteX7" fmla="*/ 0 w 2371726"/>
                  <a:gd name="connsiteY7" fmla="*/ 690563 h 690563"/>
                  <a:gd name="connsiteX8" fmla="*/ 0 w 2371726"/>
                  <a:gd name="connsiteY8" fmla="*/ 0 h 690563"/>
                  <a:gd name="connsiteX0" fmla="*/ 0 w 2371726"/>
                  <a:gd name="connsiteY0" fmla="*/ 0 h 690563"/>
                  <a:gd name="connsiteX1" fmla="*/ 2162176 w 2371726"/>
                  <a:gd name="connsiteY1" fmla="*/ 1 h 690563"/>
                  <a:gd name="connsiteX2" fmla="*/ 2162176 w 2371726"/>
                  <a:gd name="connsiteY2" fmla="*/ 239714 h 690563"/>
                  <a:gd name="connsiteX3" fmla="*/ 2371725 w 2371726"/>
                  <a:gd name="connsiteY3" fmla="*/ 239714 h 690563"/>
                  <a:gd name="connsiteX4" fmla="*/ 2371726 w 2371726"/>
                  <a:gd name="connsiteY4" fmla="*/ 454026 h 690563"/>
                  <a:gd name="connsiteX5" fmla="*/ 2371725 w 2371726"/>
                  <a:gd name="connsiteY5" fmla="*/ 690563 h 690563"/>
                  <a:gd name="connsiteX6" fmla="*/ 0 w 2371726"/>
                  <a:gd name="connsiteY6" fmla="*/ 690563 h 690563"/>
                  <a:gd name="connsiteX7" fmla="*/ 0 w 2371726"/>
                  <a:gd name="connsiteY7" fmla="*/ 0 h 690563"/>
                  <a:gd name="connsiteX0" fmla="*/ 0 w 2767330"/>
                  <a:gd name="connsiteY0" fmla="*/ 0 h 690563"/>
                  <a:gd name="connsiteX1" fmla="*/ 2162176 w 2767330"/>
                  <a:gd name="connsiteY1" fmla="*/ 1 h 690563"/>
                  <a:gd name="connsiteX2" fmla="*/ 2162176 w 2767330"/>
                  <a:gd name="connsiteY2" fmla="*/ 239714 h 690563"/>
                  <a:gd name="connsiteX3" fmla="*/ 2371725 w 2767330"/>
                  <a:gd name="connsiteY3" fmla="*/ 239714 h 690563"/>
                  <a:gd name="connsiteX4" fmla="*/ 2371726 w 2767330"/>
                  <a:gd name="connsiteY4" fmla="*/ 454026 h 690563"/>
                  <a:gd name="connsiteX5" fmla="*/ 2162176 w 2767330"/>
                  <a:gd name="connsiteY5" fmla="*/ 454026 h 690563"/>
                  <a:gd name="connsiteX6" fmla="*/ 2371725 w 2767330"/>
                  <a:gd name="connsiteY6" fmla="*/ 690563 h 690563"/>
                  <a:gd name="connsiteX7" fmla="*/ 0 w 2767330"/>
                  <a:gd name="connsiteY7" fmla="*/ 690563 h 690563"/>
                  <a:gd name="connsiteX8" fmla="*/ 0 w 2767330"/>
                  <a:gd name="connsiteY8" fmla="*/ 0 h 690563"/>
                  <a:gd name="connsiteX0" fmla="*/ 0 w 2767330"/>
                  <a:gd name="connsiteY0" fmla="*/ 0 h 690563"/>
                  <a:gd name="connsiteX1" fmla="*/ 2162176 w 2767330"/>
                  <a:gd name="connsiteY1" fmla="*/ 1 h 690563"/>
                  <a:gd name="connsiteX2" fmla="*/ 2162176 w 2767330"/>
                  <a:gd name="connsiteY2" fmla="*/ 239714 h 690563"/>
                  <a:gd name="connsiteX3" fmla="*/ 2371725 w 2767330"/>
                  <a:gd name="connsiteY3" fmla="*/ 239714 h 690563"/>
                  <a:gd name="connsiteX4" fmla="*/ 2371726 w 2767330"/>
                  <a:gd name="connsiteY4" fmla="*/ 454026 h 690563"/>
                  <a:gd name="connsiteX5" fmla="*/ 2162176 w 2767330"/>
                  <a:gd name="connsiteY5" fmla="*/ 454026 h 690563"/>
                  <a:gd name="connsiteX6" fmla="*/ 2371725 w 2767330"/>
                  <a:gd name="connsiteY6" fmla="*/ 690563 h 690563"/>
                  <a:gd name="connsiteX7" fmla="*/ 0 w 2767330"/>
                  <a:gd name="connsiteY7" fmla="*/ 690563 h 690563"/>
                  <a:gd name="connsiteX8" fmla="*/ 0 w 2767330"/>
                  <a:gd name="connsiteY8" fmla="*/ 0 h 690563"/>
                  <a:gd name="connsiteX0" fmla="*/ 0 w 2371726"/>
                  <a:gd name="connsiteY0" fmla="*/ 0 h 690563"/>
                  <a:gd name="connsiteX1" fmla="*/ 2162176 w 2371726"/>
                  <a:gd name="connsiteY1" fmla="*/ 1 h 690563"/>
                  <a:gd name="connsiteX2" fmla="*/ 2162176 w 2371726"/>
                  <a:gd name="connsiteY2" fmla="*/ 239714 h 690563"/>
                  <a:gd name="connsiteX3" fmla="*/ 2371725 w 2371726"/>
                  <a:gd name="connsiteY3" fmla="*/ 239714 h 690563"/>
                  <a:gd name="connsiteX4" fmla="*/ 2371726 w 2371726"/>
                  <a:gd name="connsiteY4" fmla="*/ 454026 h 690563"/>
                  <a:gd name="connsiteX5" fmla="*/ 2162176 w 2371726"/>
                  <a:gd name="connsiteY5" fmla="*/ 454026 h 690563"/>
                  <a:gd name="connsiteX6" fmla="*/ 2371725 w 2371726"/>
                  <a:gd name="connsiteY6" fmla="*/ 690563 h 690563"/>
                  <a:gd name="connsiteX7" fmla="*/ 0 w 2371726"/>
                  <a:gd name="connsiteY7" fmla="*/ 690563 h 690563"/>
                  <a:gd name="connsiteX8" fmla="*/ 0 w 2371726"/>
                  <a:gd name="connsiteY8" fmla="*/ 0 h 690563"/>
                  <a:gd name="connsiteX0" fmla="*/ 0 w 2371726"/>
                  <a:gd name="connsiteY0" fmla="*/ 0 h 690564"/>
                  <a:gd name="connsiteX1" fmla="*/ 2162176 w 2371726"/>
                  <a:gd name="connsiteY1" fmla="*/ 1 h 690564"/>
                  <a:gd name="connsiteX2" fmla="*/ 2162176 w 2371726"/>
                  <a:gd name="connsiteY2" fmla="*/ 239714 h 690564"/>
                  <a:gd name="connsiteX3" fmla="*/ 2371725 w 2371726"/>
                  <a:gd name="connsiteY3" fmla="*/ 239714 h 690564"/>
                  <a:gd name="connsiteX4" fmla="*/ 2371726 w 2371726"/>
                  <a:gd name="connsiteY4" fmla="*/ 454026 h 690564"/>
                  <a:gd name="connsiteX5" fmla="*/ 2162176 w 2371726"/>
                  <a:gd name="connsiteY5" fmla="*/ 454026 h 690564"/>
                  <a:gd name="connsiteX6" fmla="*/ 2162176 w 2371726"/>
                  <a:gd name="connsiteY6" fmla="*/ 690564 h 690564"/>
                  <a:gd name="connsiteX7" fmla="*/ 0 w 2371726"/>
                  <a:gd name="connsiteY7" fmla="*/ 690563 h 690564"/>
                  <a:gd name="connsiteX8" fmla="*/ 0 w 2371726"/>
                  <a:gd name="connsiteY8" fmla="*/ 0 h 690564"/>
                  <a:gd name="connsiteX0" fmla="*/ 0 w 2371726"/>
                  <a:gd name="connsiteY0" fmla="*/ 0 h 690564"/>
                  <a:gd name="connsiteX1" fmla="*/ 2257390 w 2371726"/>
                  <a:gd name="connsiteY1" fmla="*/ 1 h 690564"/>
                  <a:gd name="connsiteX2" fmla="*/ 2162176 w 2371726"/>
                  <a:gd name="connsiteY2" fmla="*/ 239714 h 690564"/>
                  <a:gd name="connsiteX3" fmla="*/ 2371725 w 2371726"/>
                  <a:gd name="connsiteY3" fmla="*/ 239714 h 690564"/>
                  <a:gd name="connsiteX4" fmla="*/ 2371726 w 2371726"/>
                  <a:gd name="connsiteY4" fmla="*/ 454026 h 690564"/>
                  <a:gd name="connsiteX5" fmla="*/ 2162176 w 2371726"/>
                  <a:gd name="connsiteY5" fmla="*/ 454026 h 690564"/>
                  <a:gd name="connsiteX6" fmla="*/ 2162176 w 2371726"/>
                  <a:gd name="connsiteY6" fmla="*/ 690564 h 690564"/>
                  <a:gd name="connsiteX7" fmla="*/ 0 w 2371726"/>
                  <a:gd name="connsiteY7" fmla="*/ 690563 h 690564"/>
                  <a:gd name="connsiteX8" fmla="*/ 0 w 2371726"/>
                  <a:gd name="connsiteY8" fmla="*/ 0 h 690564"/>
                  <a:gd name="connsiteX0" fmla="*/ 0 w 2371726"/>
                  <a:gd name="connsiteY0" fmla="*/ 0 h 690563"/>
                  <a:gd name="connsiteX1" fmla="*/ 2257390 w 2371726"/>
                  <a:gd name="connsiteY1" fmla="*/ 1 h 690563"/>
                  <a:gd name="connsiteX2" fmla="*/ 2162176 w 2371726"/>
                  <a:gd name="connsiteY2" fmla="*/ 239714 h 690563"/>
                  <a:gd name="connsiteX3" fmla="*/ 2371725 w 2371726"/>
                  <a:gd name="connsiteY3" fmla="*/ 239714 h 690563"/>
                  <a:gd name="connsiteX4" fmla="*/ 2371726 w 2371726"/>
                  <a:gd name="connsiteY4" fmla="*/ 454026 h 690563"/>
                  <a:gd name="connsiteX5" fmla="*/ 2162176 w 2371726"/>
                  <a:gd name="connsiteY5" fmla="*/ 454026 h 690563"/>
                  <a:gd name="connsiteX6" fmla="*/ 2257390 w 2371726"/>
                  <a:gd name="connsiteY6" fmla="*/ 690563 h 690563"/>
                  <a:gd name="connsiteX7" fmla="*/ 0 w 2371726"/>
                  <a:gd name="connsiteY7" fmla="*/ 690563 h 690563"/>
                  <a:gd name="connsiteX8" fmla="*/ 0 w 2371726"/>
                  <a:gd name="connsiteY8" fmla="*/ 0 h 690563"/>
                  <a:gd name="connsiteX0" fmla="*/ 0 w 2371726"/>
                  <a:gd name="connsiteY0" fmla="*/ 0 h 690563"/>
                  <a:gd name="connsiteX1" fmla="*/ 2257390 w 2371726"/>
                  <a:gd name="connsiteY1" fmla="*/ 1 h 690563"/>
                  <a:gd name="connsiteX2" fmla="*/ 2162176 w 2371726"/>
                  <a:gd name="connsiteY2" fmla="*/ 239714 h 690563"/>
                  <a:gd name="connsiteX3" fmla="*/ 2371725 w 2371726"/>
                  <a:gd name="connsiteY3" fmla="*/ 239714 h 690563"/>
                  <a:gd name="connsiteX4" fmla="*/ 2371726 w 2371726"/>
                  <a:gd name="connsiteY4" fmla="*/ 454026 h 690563"/>
                  <a:gd name="connsiteX5" fmla="*/ 2257390 w 2371726"/>
                  <a:gd name="connsiteY5" fmla="*/ 455739 h 690563"/>
                  <a:gd name="connsiteX6" fmla="*/ 2257390 w 2371726"/>
                  <a:gd name="connsiteY6" fmla="*/ 690563 h 690563"/>
                  <a:gd name="connsiteX7" fmla="*/ 0 w 2371726"/>
                  <a:gd name="connsiteY7" fmla="*/ 690563 h 690563"/>
                  <a:gd name="connsiteX8" fmla="*/ 0 w 2371726"/>
                  <a:gd name="connsiteY8" fmla="*/ 0 h 690563"/>
                  <a:gd name="connsiteX0" fmla="*/ 0 w 2371726"/>
                  <a:gd name="connsiteY0" fmla="*/ 0 h 690563"/>
                  <a:gd name="connsiteX1" fmla="*/ 2257390 w 2371726"/>
                  <a:gd name="connsiteY1" fmla="*/ 1 h 690563"/>
                  <a:gd name="connsiteX2" fmla="*/ 2257390 w 2371726"/>
                  <a:gd name="connsiteY2" fmla="*/ 240878 h 690563"/>
                  <a:gd name="connsiteX3" fmla="*/ 2371725 w 2371726"/>
                  <a:gd name="connsiteY3" fmla="*/ 239714 h 690563"/>
                  <a:gd name="connsiteX4" fmla="*/ 2371726 w 2371726"/>
                  <a:gd name="connsiteY4" fmla="*/ 454026 h 690563"/>
                  <a:gd name="connsiteX5" fmla="*/ 2257390 w 2371726"/>
                  <a:gd name="connsiteY5" fmla="*/ 455739 h 690563"/>
                  <a:gd name="connsiteX6" fmla="*/ 2257390 w 2371726"/>
                  <a:gd name="connsiteY6" fmla="*/ 690563 h 690563"/>
                  <a:gd name="connsiteX7" fmla="*/ 0 w 2371726"/>
                  <a:gd name="connsiteY7" fmla="*/ 690563 h 690563"/>
                  <a:gd name="connsiteX8" fmla="*/ 0 w 2371726"/>
                  <a:gd name="connsiteY8" fmla="*/ 0 h 690563"/>
                  <a:gd name="connsiteX0" fmla="*/ 0 w 2371726"/>
                  <a:gd name="connsiteY0" fmla="*/ 0 h 690563"/>
                  <a:gd name="connsiteX1" fmla="*/ 2216896 w 2371726"/>
                  <a:gd name="connsiteY1" fmla="*/ 0 h 690563"/>
                  <a:gd name="connsiteX2" fmla="*/ 2257390 w 2371726"/>
                  <a:gd name="connsiteY2" fmla="*/ 240878 h 690563"/>
                  <a:gd name="connsiteX3" fmla="*/ 2371725 w 2371726"/>
                  <a:gd name="connsiteY3" fmla="*/ 239714 h 690563"/>
                  <a:gd name="connsiteX4" fmla="*/ 2371726 w 2371726"/>
                  <a:gd name="connsiteY4" fmla="*/ 454026 h 690563"/>
                  <a:gd name="connsiteX5" fmla="*/ 2257390 w 2371726"/>
                  <a:gd name="connsiteY5" fmla="*/ 455739 h 690563"/>
                  <a:gd name="connsiteX6" fmla="*/ 2257390 w 2371726"/>
                  <a:gd name="connsiteY6" fmla="*/ 690563 h 690563"/>
                  <a:gd name="connsiteX7" fmla="*/ 0 w 2371726"/>
                  <a:gd name="connsiteY7" fmla="*/ 690563 h 690563"/>
                  <a:gd name="connsiteX8" fmla="*/ 0 w 2371726"/>
                  <a:gd name="connsiteY8" fmla="*/ 0 h 690563"/>
                  <a:gd name="connsiteX0" fmla="*/ 0 w 2371726"/>
                  <a:gd name="connsiteY0" fmla="*/ 0 h 690563"/>
                  <a:gd name="connsiteX1" fmla="*/ 2216896 w 2371726"/>
                  <a:gd name="connsiteY1" fmla="*/ 0 h 690563"/>
                  <a:gd name="connsiteX2" fmla="*/ 2216896 w 2371726"/>
                  <a:gd name="connsiteY2" fmla="*/ 242886 h 690563"/>
                  <a:gd name="connsiteX3" fmla="*/ 2371725 w 2371726"/>
                  <a:gd name="connsiteY3" fmla="*/ 239714 h 690563"/>
                  <a:gd name="connsiteX4" fmla="*/ 2371726 w 2371726"/>
                  <a:gd name="connsiteY4" fmla="*/ 454026 h 690563"/>
                  <a:gd name="connsiteX5" fmla="*/ 2257390 w 2371726"/>
                  <a:gd name="connsiteY5" fmla="*/ 455739 h 690563"/>
                  <a:gd name="connsiteX6" fmla="*/ 2257390 w 2371726"/>
                  <a:gd name="connsiteY6" fmla="*/ 690563 h 690563"/>
                  <a:gd name="connsiteX7" fmla="*/ 0 w 2371726"/>
                  <a:gd name="connsiteY7" fmla="*/ 690563 h 690563"/>
                  <a:gd name="connsiteX8" fmla="*/ 0 w 2371726"/>
                  <a:gd name="connsiteY8" fmla="*/ 0 h 690563"/>
                  <a:gd name="connsiteX0" fmla="*/ 0 w 2389349"/>
                  <a:gd name="connsiteY0" fmla="*/ 0 h 690563"/>
                  <a:gd name="connsiteX1" fmla="*/ 2216896 w 2389349"/>
                  <a:gd name="connsiteY1" fmla="*/ 0 h 690563"/>
                  <a:gd name="connsiteX2" fmla="*/ 2216896 w 2389349"/>
                  <a:gd name="connsiteY2" fmla="*/ 242886 h 690563"/>
                  <a:gd name="connsiteX3" fmla="*/ 2389349 w 2389349"/>
                  <a:gd name="connsiteY3" fmla="*/ 242886 h 690563"/>
                  <a:gd name="connsiteX4" fmla="*/ 2371726 w 2389349"/>
                  <a:gd name="connsiteY4" fmla="*/ 454026 h 690563"/>
                  <a:gd name="connsiteX5" fmla="*/ 2257390 w 2389349"/>
                  <a:gd name="connsiteY5" fmla="*/ 455739 h 690563"/>
                  <a:gd name="connsiteX6" fmla="*/ 2257390 w 2389349"/>
                  <a:gd name="connsiteY6" fmla="*/ 690563 h 690563"/>
                  <a:gd name="connsiteX7" fmla="*/ 0 w 2389349"/>
                  <a:gd name="connsiteY7" fmla="*/ 690563 h 690563"/>
                  <a:gd name="connsiteX8" fmla="*/ 0 w 2389349"/>
                  <a:gd name="connsiteY8" fmla="*/ 0 h 690563"/>
                  <a:gd name="connsiteX0" fmla="*/ 0 w 2389349"/>
                  <a:gd name="connsiteY0" fmla="*/ 0 h 690563"/>
                  <a:gd name="connsiteX1" fmla="*/ 2216896 w 2389349"/>
                  <a:gd name="connsiteY1" fmla="*/ 0 h 690563"/>
                  <a:gd name="connsiteX2" fmla="*/ 2216896 w 2389349"/>
                  <a:gd name="connsiteY2" fmla="*/ 242886 h 690563"/>
                  <a:gd name="connsiteX3" fmla="*/ 2389349 w 2389349"/>
                  <a:gd name="connsiteY3" fmla="*/ 242886 h 690563"/>
                  <a:gd name="connsiteX4" fmla="*/ 2389349 w 2389349"/>
                  <a:gd name="connsiteY4" fmla="*/ 457029 h 690563"/>
                  <a:gd name="connsiteX5" fmla="*/ 2257390 w 2389349"/>
                  <a:gd name="connsiteY5" fmla="*/ 455739 h 690563"/>
                  <a:gd name="connsiteX6" fmla="*/ 2257390 w 2389349"/>
                  <a:gd name="connsiteY6" fmla="*/ 690563 h 690563"/>
                  <a:gd name="connsiteX7" fmla="*/ 0 w 2389349"/>
                  <a:gd name="connsiteY7" fmla="*/ 690563 h 690563"/>
                  <a:gd name="connsiteX8" fmla="*/ 0 w 2389349"/>
                  <a:gd name="connsiteY8" fmla="*/ 0 h 690563"/>
                  <a:gd name="connsiteX0" fmla="*/ 0 w 2389349"/>
                  <a:gd name="connsiteY0" fmla="*/ 0 h 690563"/>
                  <a:gd name="connsiteX1" fmla="*/ 2216896 w 2389349"/>
                  <a:gd name="connsiteY1" fmla="*/ 0 h 690563"/>
                  <a:gd name="connsiteX2" fmla="*/ 2216896 w 2389349"/>
                  <a:gd name="connsiteY2" fmla="*/ 242886 h 690563"/>
                  <a:gd name="connsiteX3" fmla="*/ 2389349 w 2389349"/>
                  <a:gd name="connsiteY3" fmla="*/ 242886 h 690563"/>
                  <a:gd name="connsiteX4" fmla="*/ 2389349 w 2389349"/>
                  <a:gd name="connsiteY4" fmla="*/ 457029 h 690563"/>
                  <a:gd name="connsiteX5" fmla="*/ 2216895 w 2389349"/>
                  <a:gd name="connsiteY5" fmla="*/ 457029 h 690563"/>
                  <a:gd name="connsiteX6" fmla="*/ 2257390 w 2389349"/>
                  <a:gd name="connsiteY6" fmla="*/ 690563 h 690563"/>
                  <a:gd name="connsiteX7" fmla="*/ 0 w 2389349"/>
                  <a:gd name="connsiteY7" fmla="*/ 690563 h 690563"/>
                  <a:gd name="connsiteX8" fmla="*/ 0 w 2389349"/>
                  <a:gd name="connsiteY8" fmla="*/ 0 h 690563"/>
                  <a:gd name="connsiteX0" fmla="*/ 0 w 2389349"/>
                  <a:gd name="connsiteY0" fmla="*/ 0 h 691158"/>
                  <a:gd name="connsiteX1" fmla="*/ 2216896 w 2389349"/>
                  <a:gd name="connsiteY1" fmla="*/ 0 h 691158"/>
                  <a:gd name="connsiteX2" fmla="*/ 2216896 w 2389349"/>
                  <a:gd name="connsiteY2" fmla="*/ 242886 h 691158"/>
                  <a:gd name="connsiteX3" fmla="*/ 2389349 w 2389349"/>
                  <a:gd name="connsiteY3" fmla="*/ 242886 h 691158"/>
                  <a:gd name="connsiteX4" fmla="*/ 2389349 w 2389349"/>
                  <a:gd name="connsiteY4" fmla="*/ 457029 h 691158"/>
                  <a:gd name="connsiteX5" fmla="*/ 2216895 w 2389349"/>
                  <a:gd name="connsiteY5" fmla="*/ 457029 h 691158"/>
                  <a:gd name="connsiteX6" fmla="*/ 2216895 w 2389349"/>
                  <a:gd name="connsiteY6" fmla="*/ 691158 h 691158"/>
                  <a:gd name="connsiteX7" fmla="*/ 0 w 2389349"/>
                  <a:gd name="connsiteY7" fmla="*/ 690563 h 691158"/>
                  <a:gd name="connsiteX8" fmla="*/ 0 w 2389349"/>
                  <a:gd name="connsiteY8" fmla="*/ 0 h 691158"/>
                  <a:gd name="connsiteX0" fmla="*/ 0 w 2389349"/>
                  <a:gd name="connsiteY0" fmla="*/ 0 h 691158"/>
                  <a:gd name="connsiteX1" fmla="*/ 2216896 w 2389349"/>
                  <a:gd name="connsiteY1" fmla="*/ 0 h 691158"/>
                  <a:gd name="connsiteX2" fmla="*/ 2216896 w 2389349"/>
                  <a:gd name="connsiteY2" fmla="*/ 242886 h 691158"/>
                  <a:gd name="connsiteX3" fmla="*/ 2326452 w 2389349"/>
                  <a:gd name="connsiteY3" fmla="*/ 247692 h 691158"/>
                  <a:gd name="connsiteX4" fmla="*/ 2389349 w 2389349"/>
                  <a:gd name="connsiteY4" fmla="*/ 457029 h 691158"/>
                  <a:gd name="connsiteX5" fmla="*/ 2216895 w 2389349"/>
                  <a:gd name="connsiteY5" fmla="*/ 457029 h 691158"/>
                  <a:gd name="connsiteX6" fmla="*/ 2216895 w 2389349"/>
                  <a:gd name="connsiteY6" fmla="*/ 691158 h 691158"/>
                  <a:gd name="connsiteX7" fmla="*/ 0 w 2389349"/>
                  <a:gd name="connsiteY7" fmla="*/ 690563 h 691158"/>
                  <a:gd name="connsiteX8" fmla="*/ 0 w 2389349"/>
                  <a:gd name="connsiteY8" fmla="*/ 0 h 691158"/>
                  <a:gd name="connsiteX0" fmla="*/ 0 w 2326452"/>
                  <a:gd name="connsiteY0" fmla="*/ 0 h 691158"/>
                  <a:gd name="connsiteX1" fmla="*/ 2216896 w 2326452"/>
                  <a:gd name="connsiteY1" fmla="*/ 0 h 691158"/>
                  <a:gd name="connsiteX2" fmla="*/ 2216896 w 2326452"/>
                  <a:gd name="connsiteY2" fmla="*/ 242886 h 691158"/>
                  <a:gd name="connsiteX3" fmla="*/ 2326452 w 2326452"/>
                  <a:gd name="connsiteY3" fmla="*/ 247692 h 691158"/>
                  <a:gd name="connsiteX4" fmla="*/ 2326452 w 2326452"/>
                  <a:gd name="connsiteY4" fmla="*/ 460408 h 691158"/>
                  <a:gd name="connsiteX5" fmla="*/ 2216895 w 2326452"/>
                  <a:gd name="connsiteY5" fmla="*/ 457029 h 691158"/>
                  <a:gd name="connsiteX6" fmla="*/ 2216895 w 2326452"/>
                  <a:gd name="connsiteY6" fmla="*/ 691158 h 691158"/>
                  <a:gd name="connsiteX7" fmla="*/ 0 w 2326452"/>
                  <a:gd name="connsiteY7" fmla="*/ 690563 h 691158"/>
                  <a:gd name="connsiteX8" fmla="*/ 0 w 2326452"/>
                  <a:gd name="connsiteY8" fmla="*/ 0 h 691158"/>
                  <a:gd name="connsiteX0" fmla="*/ 0 w 2326452"/>
                  <a:gd name="connsiteY0" fmla="*/ 0 h 691158"/>
                  <a:gd name="connsiteX1" fmla="*/ 2216896 w 2326452"/>
                  <a:gd name="connsiteY1" fmla="*/ 0 h 691158"/>
                  <a:gd name="connsiteX2" fmla="*/ 2218026 w 2326452"/>
                  <a:gd name="connsiteY2" fmla="*/ 247692 h 691158"/>
                  <a:gd name="connsiteX3" fmla="*/ 2326452 w 2326452"/>
                  <a:gd name="connsiteY3" fmla="*/ 247692 h 691158"/>
                  <a:gd name="connsiteX4" fmla="*/ 2326452 w 2326452"/>
                  <a:gd name="connsiteY4" fmla="*/ 460408 h 691158"/>
                  <a:gd name="connsiteX5" fmla="*/ 2216895 w 2326452"/>
                  <a:gd name="connsiteY5" fmla="*/ 457029 h 691158"/>
                  <a:gd name="connsiteX6" fmla="*/ 2216895 w 2326452"/>
                  <a:gd name="connsiteY6" fmla="*/ 691158 h 691158"/>
                  <a:gd name="connsiteX7" fmla="*/ 0 w 2326452"/>
                  <a:gd name="connsiteY7" fmla="*/ 690563 h 691158"/>
                  <a:gd name="connsiteX8" fmla="*/ 0 w 2326452"/>
                  <a:gd name="connsiteY8" fmla="*/ 0 h 691158"/>
                  <a:gd name="connsiteX0" fmla="*/ 0 w 2326452"/>
                  <a:gd name="connsiteY0" fmla="*/ 0 h 691158"/>
                  <a:gd name="connsiteX1" fmla="*/ 2216896 w 2326452"/>
                  <a:gd name="connsiteY1" fmla="*/ 0 h 691158"/>
                  <a:gd name="connsiteX2" fmla="*/ 2218026 w 2326452"/>
                  <a:gd name="connsiteY2" fmla="*/ 247692 h 691158"/>
                  <a:gd name="connsiteX3" fmla="*/ 2326452 w 2326452"/>
                  <a:gd name="connsiteY3" fmla="*/ 247692 h 691158"/>
                  <a:gd name="connsiteX4" fmla="*/ 2326452 w 2326452"/>
                  <a:gd name="connsiteY4" fmla="*/ 460408 h 691158"/>
                  <a:gd name="connsiteX5" fmla="*/ 2216895 w 2326452"/>
                  <a:gd name="connsiteY5" fmla="*/ 457029 h 691158"/>
                  <a:gd name="connsiteX6" fmla="*/ 2216895 w 2326452"/>
                  <a:gd name="connsiteY6" fmla="*/ 691158 h 691158"/>
                  <a:gd name="connsiteX7" fmla="*/ 0 w 2326452"/>
                  <a:gd name="connsiteY7" fmla="*/ 690563 h 691158"/>
                  <a:gd name="connsiteX8" fmla="*/ 0 w 2326452"/>
                  <a:gd name="connsiteY8" fmla="*/ 0 h 691158"/>
                  <a:gd name="connsiteX0" fmla="*/ 0 w 2326452"/>
                  <a:gd name="connsiteY0" fmla="*/ 0 h 691158"/>
                  <a:gd name="connsiteX1" fmla="*/ 2216896 w 2326452"/>
                  <a:gd name="connsiteY1" fmla="*/ 0 h 691158"/>
                  <a:gd name="connsiteX2" fmla="*/ 2218026 w 2326452"/>
                  <a:gd name="connsiteY2" fmla="*/ 247692 h 691158"/>
                  <a:gd name="connsiteX3" fmla="*/ 2326452 w 2326452"/>
                  <a:gd name="connsiteY3" fmla="*/ 247692 h 691158"/>
                  <a:gd name="connsiteX4" fmla="*/ 2326452 w 2326452"/>
                  <a:gd name="connsiteY4" fmla="*/ 460408 h 691158"/>
                  <a:gd name="connsiteX5" fmla="*/ 2216895 w 2326452"/>
                  <a:gd name="connsiteY5" fmla="*/ 457029 h 691158"/>
                  <a:gd name="connsiteX6" fmla="*/ 2216895 w 2326452"/>
                  <a:gd name="connsiteY6" fmla="*/ 691158 h 691158"/>
                  <a:gd name="connsiteX7" fmla="*/ 0 w 2326452"/>
                  <a:gd name="connsiteY7" fmla="*/ 690563 h 691158"/>
                  <a:gd name="connsiteX8" fmla="*/ 0 w 2326452"/>
                  <a:gd name="connsiteY8" fmla="*/ 0 h 691158"/>
                  <a:gd name="connsiteX0" fmla="*/ 0 w 2326452"/>
                  <a:gd name="connsiteY0" fmla="*/ 0 h 691158"/>
                  <a:gd name="connsiteX1" fmla="*/ 2216896 w 2326452"/>
                  <a:gd name="connsiteY1" fmla="*/ 0 h 691158"/>
                  <a:gd name="connsiteX2" fmla="*/ 2218026 w 2326452"/>
                  <a:gd name="connsiteY2" fmla="*/ 247692 h 691158"/>
                  <a:gd name="connsiteX3" fmla="*/ 2326452 w 2326452"/>
                  <a:gd name="connsiteY3" fmla="*/ 247692 h 691158"/>
                  <a:gd name="connsiteX4" fmla="*/ 2326452 w 2326452"/>
                  <a:gd name="connsiteY4" fmla="*/ 460408 h 691158"/>
                  <a:gd name="connsiteX5" fmla="*/ 2216895 w 2326452"/>
                  <a:gd name="connsiteY5" fmla="*/ 460408 h 691158"/>
                  <a:gd name="connsiteX6" fmla="*/ 2216895 w 2326452"/>
                  <a:gd name="connsiteY6" fmla="*/ 691158 h 691158"/>
                  <a:gd name="connsiteX7" fmla="*/ 0 w 2326452"/>
                  <a:gd name="connsiteY7" fmla="*/ 690563 h 691158"/>
                  <a:gd name="connsiteX8" fmla="*/ 0 w 2326452"/>
                  <a:gd name="connsiteY8" fmla="*/ 0 h 691158"/>
                  <a:gd name="connsiteX0" fmla="*/ 0 w 2326452"/>
                  <a:gd name="connsiteY0" fmla="*/ 0 h 691158"/>
                  <a:gd name="connsiteX1" fmla="*/ 2216896 w 2326452"/>
                  <a:gd name="connsiteY1" fmla="*/ 0 h 691158"/>
                  <a:gd name="connsiteX2" fmla="*/ 2218026 w 2326452"/>
                  <a:gd name="connsiteY2" fmla="*/ 247692 h 691158"/>
                  <a:gd name="connsiteX3" fmla="*/ 2326452 w 2326452"/>
                  <a:gd name="connsiteY3" fmla="*/ 247692 h 691158"/>
                  <a:gd name="connsiteX4" fmla="*/ 2326452 w 2326452"/>
                  <a:gd name="connsiteY4" fmla="*/ 442059 h 691158"/>
                  <a:gd name="connsiteX5" fmla="*/ 2216895 w 2326452"/>
                  <a:gd name="connsiteY5" fmla="*/ 460408 h 691158"/>
                  <a:gd name="connsiteX6" fmla="*/ 2216895 w 2326452"/>
                  <a:gd name="connsiteY6" fmla="*/ 691158 h 691158"/>
                  <a:gd name="connsiteX7" fmla="*/ 0 w 2326452"/>
                  <a:gd name="connsiteY7" fmla="*/ 690563 h 691158"/>
                  <a:gd name="connsiteX8" fmla="*/ 0 w 2326452"/>
                  <a:gd name="connsiteY8" fmla="*/ 0 h 691158"/>
                  <a:gd name="connsiteX0" fmla="*/ 0 w 2326452"/>
                  <a:gd name="connsiteY0" fmla="*/ 0 h 691158"/>
                  <a:gd name="connsiteX1" fmla="*/ 2216896 w 2326452"/>
                  <a:gd name="connsiteY1" fmla="*/ 0 h 691158"/>
                  <a:gd name="connsiteX2" fmla="*/ 2218026 w 2326452"/>
                  <a:gd name="connsiteY2" fmla="*/ 247692 h 691158"/>
                  <a:gd name="connsiteX3" fmla="*/ 2326452 w 2326452"/>
                  <a:gd name="connsiteY3" fmla="*/ 247692 h 691158"/>
                  <a:gd name="connsiteX4" fmla="*/ 2326452 w 2326452"/>
                  <a:gd name="connsiteY4" fmla="*/ 442059 h 691158"/>
                  <a:gd name="connsiteX5" fmla="*/ 2216895 w 2326452"/>
                  <a:gd name="connsiteY5" fmla="*/ 442059 h 691158"/>
                  <a:gd name="connsiteX6" fmla="*/ 2216895 w 2326452"/>
                  <a:gd name="connsiteY6" fmla="*/ 691158 h 691158"/>
                  <a:gd name="connsiteX7" fmla="*/ 0 w 2326452"/>
                  <a:gd name="connsiteY7" fmla="*/ 690563 h 691158"/>
                  <a:gd name="connsiteX8" fmla="*/ 0 w 2326452"/>
                  <a:gd name="connsiteY8" fmla="*/ 0 h 691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26452" h="691158">
                    <a:moveTo>
                      <a:pt x="0" y="0"/>
                    </a:moveTo>
                    <a:lnTo>
                      <a:pt x="2216896" y="0"/>
                    </a:lnTo>
                    <a:cubicBezTo>
                      <a:pt x="2217273" y="82564"/>
                      <a:pt x="2217649" y="165128"/>
                      <a:pt x="2218026" y="247692"/>
                    </a:cubicBezTo>
                    <a:lnTo>
                      <a:pt x="2326452" y="247692"/>
                    </a:lnTo>
                    <a:lnTo>
                      <a:pt x="2326452" y="442059"/>
                    </a:lnTo>
                    <a:lnTo>
                      <a:pt x="2216895" y="442059"/>
                    </a:lnTo>
                    <a:lnTo>
                      <a:pt x="2216895" y="691158"/>
                    </a:lnTo>
                    <a:lnTo>
                      <a:pt x="0" y="690563"/>
                    </a:lnTo>
                    <a:lnTo>
                      <a:pt x="0" y="0"/>
                    </a:lnTo>
                    <a:close/>
                  </a:path>
                </a:pathLst>
              </a:custGeom>
              <a:solidFill>
                <a:srgbClr val="58A618"/>
              </a:solidFill>
              <a:ln w="12700" cap="flat" cmpd="sng" algn="ctr">
                <a:solidFill>
                  <a:srgbClr val="58A618"/>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685862">
                  <a:buClr>
                    <a:srgbClr val="58A618"/>
                  </a:buClr>
                  <a:defRPr/>
                </a:pPr>
                <a:endParaRPr lang="en-US" kern="0">
                  <a:solidFill>
                    <a:srgbClr val="000000"/>
                  </a:solidFill>
                </a:endParaRPr>
              </a:p>
            </p:txBody>
          </p:sp>
          <p:sp>
            <p:nvSpPr>
              <p:cNvPr id="109" name="Freeform 108"/>
              <p:cNvSpPr/>
              <p:nvPr/>
            </p:nvSpPr>
            <p:spPr bwMode="auto">
              <a:xfrm flipH="1">
                <a:off x="3890738" y="2018463"/>
                <a:ext cx="3922396" cy="859536"/>
              </a:xfrm>
              <a:custGeom>
                <a:avLst/>
                <a:gdLst>
                  <a:gd name="connsiteX0" fmla="*/ 0 w 2388870"/>
                  <a:gd name="connsiteY0" fmla="*/ 0 h 693420"/>
                  <a:gd name="connsiteX1" fmla="*/ 2377440 w 2388870"/>
                  <a:gd name="connsiteY1" fmla="*/ 0 h 693420"/>
                  <a:gd name="connsiteX2" fmla="*/ 2377440 w 2388870"/>
                  <a:gd name="connsiteY2" fmla="*/ 243840 h 693420"/>
                  <a:gd name="connsiteX3" fmla="*/ 2156460 w 2388870"/>
                  <a:gd name="connsiteY3" fmla="*/ 240030 h 693420"/>
                  <a:gd name="connsiteX4" fmla="*/ 2164080 w 2388870"/>
                  <a:gd name="connsiteY4" fmla="*/ 453390 h 693420"/>
                  <a:gd name="connsiteX5" fmla="*/ 2388870 w 2388870"/>
                  <a:gd name="connsiteY5" fmla="*/ 453390 h 693420"/>
                  <a:gd name="connsiteX6" fmla="*/ 2373630 w 2388870"/>
                  <a:gd name="connsiteY6" fmla="*/ 689610 h 693420"/>
                  <a:gd name="connsiteX7" fmla="*/ 7620 w 2388870"/>
                  <a:gd name="connsiteY7" fmla="*/ 693420 h 693420"/>
                  <a:gd name="connsiteX8" fmla="*/ 0 w 2388870"/>
                  <a:gd name="connsiteY8" fmla="*/ 0 h 693420"/>
                  <a:gd name="connsiteX0" fmla="*/ 0 w 2385060"/>
                  <a:gd name="connsiteY0" fmla="*/ 0 h 693420"/>
                  <a:gd name="connsiteX1" fmla="*/ 2373630 w 2385060"/>
                  <a:gd name="connsiteY1" fmla="*/ 0 h 693420"/>
                  <a:gd name="connsiteX2" fmla="*/ 2373630 w 2385060"/>
                  <a:gd name="connsiteY2" fmla="*/ 243840 h 693420"/>
                  <a:gd name="connsiteX3" fmla="*/ 2152650 w 2385060"/>
                  <a:gd name="connsiteY3" fmla="*/ 240030 h 693420"/>
                  <a:gd name="connsiteX4" fmla="*/ 2160270 w 2385060"/>
                  <a:gd name="connsiteY4" fmla="*/ 453390 h 693420"/>
                  <a:gd name="connsiteX5" fmla="*/ 2385060 w 2385060"/>
                  <a:gd name="connsiteY5" fmla="*/ 453390 h 693420"/>
                  <a:gd name="connsiteX6" fmla="*/ 2369820 w 2385060"/>
                  <a:gd name="connsiteY6" fmla="*/ 689610 h 693420"/>
                  <a:gd name="connsiteX7" fmla="*/ 3810 w 2385060"/>
                  <a:gd name="connsiteY7" fmla="*/ 693420 h 693420"/>
                  <a:gd name="connsiteX8" fmla="*/ 0 w 2385060"/>
                  <a:gd name="connsiteY8" fmla="*/ 0 h 693420"/>
                  <a:gd name="connsiteX0" fmla="*/ 0 w 2385060"/>
                  <a:gd name="connsiteY0" fmla="*/ 0 h 690563"/>
                  <a:gd name="connsiteX1" fmla="*/ 2373630 w 2385060"/>
                  <a:gd name="connsiteY1" fmla="*/ 0 h 690563"/>
                  <a:gd name="connsiteX2" fmla="*/ 2373630 w 2385060"/>
                  <a:gd name="connsiteY2" fmla="*/ 243840 h 690563"/>
                  <a:gd name="connsiteX3" fmla="*/ 2152650 w 2385060"/>
                  <a:gd name="connsiteY3" fmla="*/ 240030 h 690563"/>
                  <a:gd name="connsiteX4" fmla="*/ 2160270 w 2385060"/>
                  <a:gd name="connsiteY4" fmla="*/ 453390 h 690563"/>
                  <a:gd name="connsiteX5" fmla="*/ 2385060 w 2385060"/>
                  <a:gd name="connsiteY5" fmla="*/ 453390 h 690563"/>
                  <a:gd name="connsiteX6" fmla="*/ 2369820 w 2385060"/>
                  <a:gd name="connsiteY6" fmla="*/ 689610 h 690563"/>
                  <a:gd name="connsiteX7" fmla="*/ 0 w 2385060"/>
                  <a:gd name="connsiteY7" fmla="*/ 690563 h 690563"/>
                  <a:gd name="connsiteX8" fmla="*/ 0 w 2385060"/>
                  <a:gd name="connsiteY8" fmla="*/ 0 h 690563"/>
                  <a:gd name="connsiteX0" fmla="*/ 0 w 2385060"/>
                  <a:gd name="connsiteY0" fmla="*/ 0 h 690564"/>
                  <a:gd name="connsiteX1" fmla="*/ 2373630 w 2385060"/>
                  <a:gd name="connsiteY1" fmla="*/ 0 h 690564"/>
                  <a:gd name="connsiteX2" fmla="*/ 2373630 w 2385060"/>
                  <a:gd name="connsiteY2" fmla="*/ 243840 h 690564"/>
                  <a:gd name="connsiteX3" fmla="*/ 2152650 w 2385060"/>
                  <a:gd name="connsiteY3" fmla="*/ 240030 h 690564"/>
                  <a:gd name="connsiteX4" fmla="*/ 2160270 w 2385060"/>
                  <a:gd name="connsiteY4" fmla="*/ 453390 h 690564"/>
                  <a:gd name="connsiteX5" fmla="*/ 2385060 w 2385060"/>
                  <a:gd name="connsiteY5" fmla="*/ 453390 h 690564"/>
                  <a:gd name="connsiteX6" fmla="*/ 2371725 w 2385060"/>
                  <a:gd name="connsiteY6" fmla="*/ 690564 h 690564"/>
                  <a:gd name="connsiteX7" fmla="*/ 0 w 2385060"/>
                  <a:gd name="connsiteY7" fmla="*/ 690563 h 690564"/>
                  <a:gd name="connsiteX8" fmla="*/ 0 w 2385060"/>
                  <a:gd name="connsiteY8" fmla="*/ 0 h 690564"/>
                  <a:gd name="connsiteX0" fmla="*/ 0 w 2373630"/>
                  <a:gd name="connsiteY0" fmla="*/ 0 h 690564"/>
                  <a:gd name="connsiteX1" fmla="*/ 2373630 w 2373630"/>
                  <a:gd name="connsiteY1" fmla="*/ 0 h 690564"/>
                  <a:gd name="connsiteX2" fmla="*/ 2373630 w 2373630"/>
                  <a:gd name="connsiteY2" fmla="*/ 243840 h 690564"/>
                  <a:gd name="connsiteX3" fmla="*/ 2152650 w 2373630"/>
                  <a:gd name="connsiteY3" fmla="*/ 240030 h 690564"/>
                  <a:gd name="connsiteX4" fmla="*/ 2160270 w 2373630"/>
                  <a:gd name="connsiteY4" fmla="*/ 453390 h 690564"/>
                  <a:gd name="connsiteX5" fmla="*/ 2371725 w 2373630"/>
                  <a:gd name="connsiteY5" fmla="*/ 454025 h 690564"/>
                  <a:gd name="connsiteX6" fmla="*/ 2371725 w 2373630"/>
                  <a:gd name="connsiteY6" fmla="*/ 690564 h 690564"/>
                  <a:gd name="connsiteX7" fmla="*/ 0 w 2373630"/>
                  <a:gd name="connsiteY7" fmla="*/ 690563 h 690564"/>
                  <a:gd name="connsiteX8" fmla="*/ 0 w 2373630"/>
                  <a:gd name="connsiteY8" fmla="*/ 0 h 690564"/>
                  <a:gd name="connsiteX0" fmla="*/ 0 w 2373630"/>
                  <a:gd name="connsiteY0" fmla="*/ 0 h 690564"/>
                  <a:gd name="connsiteX1" fmla="*/ 2373630 w 2373630"/>
                  <a:gd name="connsiteY1" fmla="*/ 0 h 690564"/>
                  <a:gd name="connsiteX2" fmla="*/ 2373630 w 2373630"/>
                  <a:gd name="connsiteY2" fmla="*/ 243840 h 690564"/>
                  <a:gd name="connsiteX3" fmla="*/ 2162175 w 2373630"/>
                  <a:gd name="connsiteY3" fmla="*/ 239713 h 690564"/>
                  <a:gd name="connsiteX4" fmla="*/ 2160270 w 2373630"/>
                  <a:gd name="connsiteY4" fmla="*/ 453390 h 690564"/>
                  <a:gd name="connsiteX5" fmla="*/ 2371725 w 2373630"/>
                  <a:gd name="connsiteY5" fmla="*/ 454025 h 690564"/>
                  <a:gd name="connsiteX6" fmla="*/ 2371725 w 2373630"/>
                  <a:gd name="connsiteY6" fmla="*/ 690564 h 690564"/>
                  <a:gd name="connsiteX7" fmla="*/ 0 w 2373630"/>
                  <a:gd name="connsiteY7" fmla="*/ 690563 h 690564"/>
                  <a:gd name="connsiteX8" fmla="*/ 0 w 2373630"/>
                  <a:gd name="connsiteY8" fmla="*/ 0 h 690564"/>
                  <a:gd name="connsiteX0" fmla="*/ 0 w 2373630"/>
                  <a:gd name="connsiteY0" fmla="*/ 0 h 690564"/>
                  <a:gd name="connsiteX1" fmla="*/ 2373630 w 2373630"/>
                  <a:gd name="connsiteY1" fmla="*/ 0 h 690564"/>
                  <a:gd name="connsiteX2" fmla="*/ 2371725 w 2373630"/>
                  <a:gd name="connsiteY2" fmla="*/ 239713 h 690564"/>
                  <a:gd name="connsiteX3" fmla="*/ 2162175 w 2373630"/>
                  <a:gd name="connsiteY3" fmla="*/ 239713 h 690564"/>
                  <a:gd name="connsiteX4" fmla="*/ 2160270 w 2373630"/>
                  <a:gd name="connsiteY4" fmla="*/ 453390 h 690564"/>
                  <a:gd name="connsiteX5" fmla="*/ 2371725 w 2373630"/>
                  <a:gd name="connsiteY5" fmla="*/ 454025 h 690564"/>
                  <a:gd name="connsiteX6" fmla="*/ 2371725 w 2373630"/>
                  <a:gd name="connsiteY6" fmla="*/ 690564 h 690564"/>
                  <a:gd name="connsiteX7" fmla="*/ 0 w 2373630"/>
                  <a:gd name="connsiteY7" fmla="*/ 690563 h 690564"/>
                  <a:gd name="connsiteX8" fmla="*/ 0 w 2373630"/>
                  <a:gd name="connsiteY8" fmla="*/ 0 h 690564"/>
                  <a:gd name="connsiteX0" fmla="*/ 0 w 2373630"/>
                  <a:gd name="connsiteY0" fmla="*/ 0 h 690564"/>
                  <a:gd name="connsiteX1" fmla="*/ 2373630 w 2373630"/>
                  <a:gd name="connsiteY1" fmla="*/ 0 h 690564"/>
                  <a:gd name="connsiteX2" fmla="*/ 2371725 w 2373630"/>
                  <a:gd name="connsiteY2" fmla="*/ 239713 h 690564"/>
                  <a:gd name="connsiteX3" fmla="*/ 2162175 w 2373630"/>
                  <a:gd name="connsiteY3" fmla="*/ 239713 h 690564"/>
                  <a:gd name="connsiteX4" fmla="*/ 2160270 w 2373630"/>
                  <a:gd name="connsiteY4" fmla="*/ 453390 h 690564"/>
                  <a:gd name="connsiteX5" fmla="*/ 2371725 w 2373630"/>
                  <a:gd name="connsiteY5" fmla="*/ 454025 h 690564"/>
                  <a:gd name="connsiteX6" fmla="*/ 2371725 w 2373630"/>
                  <a:gd name="connsiteY6" fmla="*/ 690564 h 690564"/>
                  <a:gd name="connsiteX7" fmla="*/ 0 w 2373630"/>
                  <a:gd name="connsiteY7" fmla="*/ 690563 h 690564"/>
                  <a:gd name="connsiteX8" fmla="*/ 0 w 2373630"/>
                  <a:gd name="connsiteY8" fmla="*/ 0 h 690564"/>
                  <a:gd name="connsiteX0" fmla="*/ 0 w 2373630"/>
                  <a:gd name="connsiteY0" fmla="*/ 0 h 690563"/>
                  <a:gd name="connsiteX1" fmla="*/ 2373630 w 2373630"/>
                  <a:gd name="connsiteY1" fmla="*/ 0 h 690563"/>
                  <a:gd name="connsiteX2" fmla="*/ 2371725 w 2373630"/>
                  <a:gd name="connsiteY2" fmla="*/ 239713 h 690563"/>
                  <a:gd name="connsiteX3" fmla="*/ 2162175 w 2373630"/>
                  <a:gd name="connsiteY3" fmla="*/ 239713 h 690563"/>
                  <a:gd name="connsiteX4" fmla="*/ 2160270 w 2373630"/>
                  <a:gd name="connsiteY4" fmla="*/ 453390 h 690563"/>
                  <a:gd name="connsiteX5" fmla="*/ 2371725 w 2373630"/>
                  <a:gd name="connsiteY5" fmla="*/ 454025 h 690563"/>
                  <a:gd name="connsiteX6" fmla="*/ 2371725 w 2373630"/>
                  <a:gd name="connsiteY6" fmla="*/ 690563 h 690563"/>
                  <a:gd name="connsiteX7" fmla="*/ 0 w 2373630"/>
                  <a:gd name="connsiteY7" fmla="*/ 690563 h 690563"/>
                  <a:gd name="connsiteX8" fmla="*/ 0 w 2373630"/>
                  <a:gd name="connsiteY8" fmla="*/ 0 h 690563"/>
                  <a:gd name="connsiteX0" fmla="*/ 0 w 2371725"/>
                  <a:gd name="connsiteY0" fmla="*/ 0 h 690563"/>
                  <a:gd name="connsiteX1" fmla="*/ 2371725 w 2371725"/>
                  <a:gd name="connsiteY1" fmla="*/ 1 h 690563"/>
                  <a:gd name="connsiteX2" fmla="*/ 2371725 w 2371725"/>
                  <a:gd name="connsiteY2" fmla="*/ 239713 h 690563"/>
                  <a:gd name="connsiteX3" fmla="*/ 2162175 w 2371725"/>
                  <a:gd name="connsiteY3" fmla="*/ 239713 h 690563"/>
                  <a:gd name="connsiteX4" fmla="*/ 2160270 w 2371725"/>
                  <a:gd name="connsiteY4" fmla="*/ 453390 h 690563"/>
                  <a:gd name="connsiteX5" fmla="*/ 2371725 w 2371725"/>
                  <a:gd name="connsiteY5" fmla="*/ 454025 h 690563"/>
                  <a:gd name="connsiteX6" fmla="*/ 2371725 w 2371725"/>
                  <a:gd name="connsiteY6" fmla="*/ 690563 h 690563"/>
                  <a:gd name="connsiteX7" fmla="*/ 0 w 2371725"/>
                  <a:gd name="connsiteY7" fmla="*/ 690563 h 690563"/>
                  <a:gd name="connsiteX8" fmla="*/ 0 w 2371725"/>
                  <a:gd name="connsiteY8" fmla="*/ 0 h 690563"/>
                  <a:gd name="connsiteX0" fmla="*/ 0 w 2371726"/>
                  <a:gd name="connsiteY0" fmla="*/ 0 h 690563"/>
                  <a:gd name="connsiteX1" fmla="*/ 2371725 w 2371726"/>
                  <a:gd name="connsiteY1" fmla="*/ 1 h 690563"/>
                  <a:gd name="connsiteX2" fmla="*/ 2371726 w 2371726"/>
                  <a:gd name="connsiteY2" fmla="*/ 239714 h 690563"/>
                  <a:gd name="connsiteX3" fmla="*/ 2162175 w 2371726"/>
                  <a:gd name="connsiteY3" fmla="*/ 239713 h 690563"/>
                  <a:gd name="connsiteX4" fmla="*/ 2160270 w 2371726"/>
                  <a:gd name="connsiteY4" fmla="*/ 453390 h 690563"/>
                  <a:gd name="connsiteX5" fmla="*/ 2371725 w 2371726"/>
                  <a:gd name="connsiteY5" fmla="*/ 454025 h 690563"/>
                  <a:gd name="connsiteX6" fmla="*/ 2371725 w 2371726"/>
                  <a:gd name="connsiteY6" fmla="*/ 690563 h 690563"/>
                  <a:gd name="connsiteX7" fmla="*/ 0 w 2371726"/>
                  <a:gd name="connsiteY7" fmla="*/ 690563 h 690563"/>
                  <a:gd name="connsiteX8" fmla="*/ 0 w 2371726"/>
                  <a:gd name="connsiteY8" fmla="*/ 0 h 690563"/>
                  <a:gd name="connsiteX0" fmla="*/ 0 w 2371725"/>
                  <a:gd name="connsiteY0" fmla="*/ 0 h 690563"/>
                  <a:gd name="connsiteX1" fmla="*/ 2371725 w 2371725"/>
                  <a:gd name="connsiteY1" fmla="*/ 1 h 690563"/>
                  <a:gd name="connsiteX2" fmla="*/ 2371725 w 2371725"/>
                  <a:gd name="connsiteY2" fmla="*/ 239714 h 690563"/>
                  <a:gd name="connsiteX3" fmla="*/ 2162175 w 2371725"/>
                  <a:gd name="connsiteY3" fmla="*/ 239713 h 690563"/>
                  <a:gd name="connsiteX4" fmla="*/ 2160270 w 2371725"/>
                  <a:gd name="connsiteY4" fmla="*/ 453390 h 690563"/>
                  <a:gd name="connsiteX5" fmla="*/ 2371725 w 2371725"/>
                  <a:gd name="connsiteY5" fmla="*/ 454025 h 690563"/>
                  <a:gd name="connsiteX6" fmla="*/ 2371725 w 2371725"/>
                  <a:gd name="connsiteY6" fmla="*/ 690563 h 690563"/>
                  <a:gd name="connsiteX7" fmla="*/ 0 w 2371725"/>
                  <a:gd name="connsiteY7" fmla="*/ 690563 h 690563"/>
                  <a:gd name="connsiteX8" fmla="*/ 0 w 2371725"/>
                  <a:gd name="connsiteY8" fmla="*/ 0 h 690563"/>
                  <a:gd name="connsiteX0" fmla="*/ 0 w 2371725"/>
                  <a:gd name="connsiteY0" fmla="*/ 0 h 690563"/>
                  <a:gd name="connsiteX1" fmla="*/ 2371725 w 2371725"/>
                  <a:gd name="connsiteY1" fmla="*/ 1 h 690563"/>
                  <a:gd name="connsiteX2" fmla="*/ 2371725 w 2371725"/>
                  <a:gd name="connsiteY2" fmla="*/ 239714 h 690563"/>
                  <a:gd name="connsiteX3" fmla="*/ 2162175 w 2371725"/>
                  <a:gd name="connsiteY3" fmla="*/ 239713 h 690563"/>
                  <a:gd name="connsiteX4" fmla="*/ 2162176 w 2371725"/>
                  <a:gd name="connsiteY4" fmla="*/ 454026 h 690563"/>
                  <a:gd name="connsiteX5" fmla="*/ 2371725 w 2371725"/>
                  <a:gd name="connsiteY5" fmla="*/ 454025 h 690563"/>
                  <a:gd name="connsiteX6" fmla="*/ 2371725 w 2371725"/>
                  <a:gd name="connsiteY6" fmla="*/ 690563 h 690563"/>
                  <a:gd name="connsiteX7" fmla="*/ 0 w 2371725"/>
                  <a:gd name="connsiteY7" fmla="*/ 690563 h 690563"/>
                  <a:gd name="connsiteX8" fmla="*/ 0 w 2371725"/>
                  <a:gd name="connsiteY8" fmla="*/ 0 h 690563"/>
                  <a:gd name="connsiteX0" fmla="*/ 0 w 2371726"/>
                  <a:gd name="connsiteY0" fmla="*/ 0 h 690563"/>
                  <a:gd name="connsiteX1" fmla="*/ 2371725 w 2371726"/>
                  <a:gd name="connsiteY1" fmla="*/ 1 h 690563"/>
                  <a:gd name="connsiteX2" fmla="*/ 2371725 w 2371726"/>
                  <a:gd name="connsiteY2" fmla="*/ 239714 h 690563"/>
                  <a:gd name="connsiteX3" fmla="*/ 2162175 w 2371726"/>
                  <a:gd name="connsiteY3" fmla="*/ 239713 h 690563"/>
                  <a:gd name="connsiteX4" fmla="*/ 2162176 w 2371726"/>
                  <a:gd name="connsiteY4" fmla="*/ 454026 h 690563"/>
                  <a:gd name="connsiteX5" fmla="*/ 2371726 w 2371726"/>
                  <a:gd name="connsiteY5" fmla="*/ 454026 h 690563"/>
                  <a:gd name="connsiteX6" fmla="*/ 2371725 w 2371726"/>
                  <a:gd name="connsiteY6" fmla="*/ 690563 h 690563"/>
                  <a:gd name="connsiteX7" fmla="*/ 0 w 2371726"/>
                  <a:gd name="connsiteY7" fmla="*/ 690563 h 690563"/>
                  <a:gd name="connsiteX8" fmla="*/ 0 w 2371726"/>
                  <a:gd name="connsiteY8" fmla="*/ 0 h 690563"/>
                  <a:gd name="connsiteX0" fmla="*/ 0 w 2371726"/>
                  <a:gd name="connsiteY0" fmla="*/ 0 h 690563"/>
                  <a:gd name="connsiteX1" fmla="*/ 2162176 w 2371726"/>
                  <a:gd name="connsiteY1" fmla="*/ 1 h 690563"/>
                  <a:gd name="connsiteX2" fmla="*/ 2371725 w 2371726"/>
                  <a:gd name="connsiteY2" fmla="*/ 239714 h 690563"/>
                  <a:gd name="connsiteX3" fmla="*/ 2162175 w 2371726"/>
                  <a:gd name="connsiteY3" fmla="*/ 239713 h 690563"/>
                  <a:gd name="connsiteX4" fmla="*/ 2162176 w 2371726"/>
                  <a:gd name="connsiteY4" fmla="*/ 454026 h 690563"/>
                  <a:gd name="connsiteX5" fmla="*/ 2371726 w 2371726"/>
                  <a:gd name="connsiteY5" fmla="*/ 454026 h 690563"/>
                  <a:gd name="connsiteX6" fmla="*/ 2371725 w 2371726"/>
                  <a:gd name="connsiteY6" fmla="*/ 690563 h 690563"/>
                  <a:gd name="connsiteX7" fmla="*/ 0 w 2371726"/>
                  <a:gd name="connsiteY7" fmla="*/ 690563 h 690563"/>
                  <a:gd name="connsiteX8" fmla="*/ 0 w 2371726"/>
                  <a:gd name="connsiteY8" fmla="*/ 0 h 690563"/>
                  <a:gd name="connsiteX0" fmla="*/ 0 w 2371726"/>
                  <a:gd name="connsiteY0" fmla="*/ 0 h 690563"/>
                  <a:gd name="connsiteX1" fmla="*/ 2162176 w 2371726"/>
                  <a:gd name="connsiteY1" fmla="*/ 1 h 690563"/>
                  <a:gd name="connsiteX2" fmla="*/ 2371725 w 2371726"/>
                  <a:gd name="connsiteY2" fmla="*/ 239714 h 690563"/>
                  <a:gd name="connsiteX3" fmla="*/ 2162176 w 2371726"/>
                  <a:gd name="connsiteY3" fmla="*/ 454026 h 690563"/>
                  <a:gd name="connsiteX4" fmla="*/ 2371726 w 2371726"/>
                  <a:gd name="connsiteY4" fmla="*/ 454026 h 690563"/>
                  <a:gd name="connsiteX5" fmla="*/ 2371725 w 2371726"/>
                  <a:gd name="connsiteY5" fmla="*/ 690563 h 690563"/>
                  <a:gd name="connsiteX6" fmla="*/ 0 w 2371726"/>
                  <a:gd name="connsiteY6" fmla="*/ 690563 h 690563"/>
                  <a:gd name="connsiteX7" fmla="*/ 0 w 2371726"/>
                  <a:gd name="connsiteY7" fmla="*/ 0 h 690563"/>
                  <a:gd name="connsiteX0" fmla="*/ 0 w 2371726"/>
                  <a:gd name="connsiteY0" fmla="*/ 0 h 690563"/>
                  <a:gd name="connsiteX1" fmla="*/ 2162176 w 2371726"/>
                  <a:gd name="connsiteY1" fmla="*/ 1 h 690563"/>
                  <a:gd name="connsiteX2" fmla="*/ 2162176 w 2371726"/>
                  <a:gd name="connsiteY2" fmla="*/ 239714 h 690563"/>
                  <a:gd name="connsiteX3" fmla="*/ 2371725 w 2371726"/>
                  <a:gd name="connsiteY3" fmla="*/ 239714 h 690563"/>
                  <a:gd name="connsiteX4" fmla="*/ 2162176 w 2371726"/>
                  <a:gd name="connsiteY4" fmla="*/ 454026 h 690563"/>
                  <a:gd name="connsiteX5" fmla="*/ 2371726 w 2371726"/>
                  <a:gd name="connsiteY5" fmla="*/ 454026 h 690563"/>
                  <a:gd name="connsiteX6" fmla="*/ 2371725 w 2371726"/>
                  <a:gd name="connsiteY6" fmla="*/ 690563 h 690563"/>
                  <a:gd name="connsiteX7" fmla="*/ 0 w 2371726"/>
                  <a:gd name="connsiteY7" fmla="*/ 690563 h 690563"/>
                  <a:gd name="connsiteX8" fmla="*/ 0 w 2371726"/>
                  <a:gd name="connsiteY8" fmla="*/ 0 h 690563"/>
                  <a:gd name="connsiteX0" fmla="*/ 0 w 2371726"/>
                  <a:gd name="connsiteY0" fmla="*/ 0 h 690563"/>
                  <a:gd name="connsiteX1" fmla="*/ 2162176 w 2371726"/>
                  <a:gd name="connsiteY1" fmla="*/ 1 h 690563"/>
                  <a:gd name="connsiteX2" fmla="*/ 2162176 w 2371726"/>
                  <a:gd name="connsiteY2" fmla="*/ 239714 h 690563"/>
                  <a:gd name="connsiteX3" fmla="*/ 2371725 w 2371726"/>
                  <a:gd name="connsiteY3" fmla="*/ 239714 h 690563"/>
                  <a:gd name="connsiteX4" fmla="*/ 2371726 w 2371726"/>
                  <a:gd name="connsiteY4" fmla="*/ 454026 h 690563"/>
                  <a:gd name="connsiteX5" fmla="*/ 2371725 w 2371726"/>
                  <a:gd name="connsiteY5" fmla="*/ 690563 h 690563"/>
                  <a:gd name="connsiteX6" fmla="*/ 0 w 2371726"/>
                  <a:gd name="connsiteY6" fmla="*/ 690563 h 690563"/>
                  <a:gd name="connsiteX7" fmla="*/ 0 w 2371726"/>
                  <a:gd name="connsiteY7" fmla="*/ 0 h 690563"/>
                  <a:gd name="connsiteX0" fmla="*/ 0 w 2767330"/>
                  <a:gd name="connsiteY0" fmla="*/ 0 h 690563"/>
                  <a:gd name="connsiteX1" fmla="*/ 2162176 w 2767330"/>
                  <a:gd name="connsiteY1" fmla="*/ 1 h 690563"/>
                  <a:gd name="connsiteX2" fmla="*/ 2162176 w 2767330"/>
                  <a:gd name="connsiteY2" fmla="*/ 239714 h 690563"/>
                  <a:gd name="connsiteX3" fmla="*/ 2371725 w 2767330"/>
                  <a:gd name="connsiteY3" fmla="*/ 239714 h 690563"/>
                  <a:gd name="connsiteX4" fmla="*/ 2371726 w 2767330"/>
                  <a:gd name="connsiteY4" fmla="*/ 454026 h 690563"/>
                  <a:gd name="connsiteX5" fmla="*/ 2162176 w 2767330"/>
                  <a:gd name="connsiteY5" fmla="*/ 454026 h 690563"/>
                  <a:gd name="connsiteX6" fmla="*/ 2371725 w 2767330"/>
                  <a:gd name="connsiteY6" fmla="*/ 690563 h 690563"/>
                  <a:gd name="connsiteX7" fmla="*/ 0 w 2767330"/>
                  <a:gd name="connsiteY7" fmla="*/ 690563 h 690563"/>
                  <a:gd name="connsiteX8" fmla="*/ 0 w 2767330"/>
                  <a:gd name="connsiteY8" fmla="*/ 0 h 690563"/>
                  <a:gd name="connsiteX0" fmla="*/ 0 w 2767330"/>
                  <a:gd name="connsiteY0" fmla="*/ 0 h 690563"/>
                  <a:gd name="connsiteX1" fmla="*/ 2162176 w 2767330"/>
                  <a:gd name="connsiteY1" fmla="*/ 1 h 690563"/>
                  <a:gd name="connsiteX2" fmla="*/ 2162176 w 2767330"/>
                  <a:gd name="connsiteY2" fmla="*/ 239714 h 690563"/>
                  <a:gd name="connsiteX3" fmla="*/ 2371725 w 2767330"/>
                  <a:gd name="connsiteY3" fmla="*/ 239714 h 690563"/>
                  <a:gd name="connsiteX4" fmla="*/ 2371726 w 2767330"/>
                  <a:gd name="connsiteY4" fmla="*/ 454026 h 690563"/>
                  <a:gd name="connsiteX5" fmla="*/ 2162176 w 2767330"/>
                  <a:gd name="connsiteY5" fmla="*/ 454026 h 690563"/>
                  <a:gd name="connsiteX6" fmla="*/ 2371725 w 2767330"/>
                  <a:gd name="connsiteY6" fmla="*/ 690563 h 690563"/>
                  <a:gd name="connsiteX7" fmla="*/ 0 w 2767330"/>
                  <a:gd name="connsiteY7" fmla="*/ 690563 h 690563"/>
                  <a:gd name="connsiteX8" fmla="*/ 0 w 2767330"/>
                  <a:gd name="connsiteY8" fmla="*/ 0 h 690563"/>
                  <a:gd name="connsiteX0" fmla="*/ 0 w 2371726"/>
                  <a:gd name="connsiteY0" fmla="*/ 0 h 690563"/>
                  <a:gd name="connsiteX1" fmla="*/ 2162176 w 2371726"/>
                  <a:gd name="connsiteY1" fmla="*/ 1 h 690563"/>
                  <a:gd name="connsiteX2" fmla="*/ 2162176 w 2371726"/>
                  <a:gd name="connsiteY2" fmla="*/ 239714 h 690563"/>
                  <a:gd name="connsiteX3" fmla="*/ 2371725 w 2371726"/>
                  <a:gd name="connsiteY3" fmla="*/ 239714 h 690563"/>
                  <a:gd name="connsiteX4" fmla="*/ 2371726 w 2371726"/>
                  <a:gd name="connsiteY4" fmla="*/ 454026 h 690563"/>
                  <a:gd name="connsiteX5" fmla="*/ 2162176 w 2371726"/>
                  <a:gd name="connsiteY5" fmla="*/ 454026 h 690563"/>
                  <a:gd name="connsiteX6" fmla="*/ 2371725 w 2371726"/>
                  <a:gd name="connsiteY6" fmla="*/ 690563 h 690563"/>
                  <a:gd name="connsiteX7" fmla="*/ 0 w 2371726"/>
                  <a:gd name="connsiteY7" fmla="*/ 690563 h 690563"/>
                  <a:gd name="connsiteX8" fmla="*/ 0 w 2371726"/>
                  <a:gd name="connsiteY8" fmla="*/ 0 h 690563"/>
                  <a:gd name="connsiteX0" fmla="*/ 0 w 2371726"/>
                  <a:gd name="connsiteY0" fmla="*/ 0 h 690564"/>
                  <a:gd name="connsiteX1" fmla="*/ 2162176 w 2371726"/>
                  <a:gd name="connsiteY1" fmla="*/ 1 h 690564"/>
                  <a:gd name="connsiteX2" fmla="*/ 2162176 w 2371726"/>
                  <a:gd name="connsiteY2" fmla="*/ 239714 h 690564"/>
                  <a:gd name="connsiteX3" fmla="*/ 2371725 w 2371726"/>
                  <a:gd name="connsiteY3" fmla="*/ 239714 h 690564"/>
                  <a:gd name="connsiteX4" fmla="*/ 2371726 w 2371726"/>
                  <a:gd name="connsiteY4" fmla="*/ 454026 h 690564"/>
                  <a:gd name="connsiteX5" fmla="*/ 2162176 w 2371726"/>
                  <a:gd name="connsiteY5" fmla="*/ 454026 h 690564"/>
                  <a:gd name="connsiteX6" fmla="*/ 2162176 w 2371726"/>
                  <a:gd name="connsiteY6" fmla="*/ 690564 h 690564"/>
                  <a:gd name="connsiteX7" fmla="*/ 0 w 2371726"/>
                  <a:gd name="connsiteY7" fmla="*/ 690563 h 690564"/>
                  <a:gd name="connsiteX8" fmla="*/ 0 w 2371726"/>
                  <a:gd name="connsiteY8" fmla="*/ 0 h 690564"/>
                  <a:gd name="connsiteX0" fmla="*/ 0 w 2371726"/>
                  <a:gd name="connsiteY0" fmla="*/ 0 h 690564"/>
                  <a:gd name="connsiteX1" fmla="*/ 2257390 w 2371726"/>
                  <a:gd name="connsiteY1" fmla="*/ 1 h 690564"/>
                  <a:gd name="connsiteX2" fmla="*/ 2162176 w 2371726"/>
                  <a:gd name="connsiteY2" fmla="*/ 239714 h 690564"/>
                  <a:gd name="connsiteX3" fmla="*/ 2371725 w 2371726"/>
                  <a:gd name="connsiteY3" fmla="*/ 239714 h 690564"/>
                  <a:gd name="connsiteX4" fmla="*/ 2371726 w 2371726"/>
                  <a:gd name="connsiteY4" fmla="*/ 454026 h 690564"/>
                  <a:gd name="connsiteX5" fmla="*/ 2162176 w 2371726"/>
                  <a:gd name="connsiteY5" fmla="*/ 454026 h 690564"/>
                  <a:gd name="connsiteX6" fmla="*/ 2162176 w 2371726"/>
                  <a:gd name="connsiteY6" fmla="*/ 690564 h 690564"/>
                  <a:gd name="connsiteX7" fmla="*/ 0 w 2371726"/>
                  <a:gd name="connsiteY7" fmla="*/ 690563 h 690564"/>
                  <a:gd name="connsiteX8" fmla="*/ 0 w 2371726"/>
                  <a:gd name="connsiteY8" fmla="*/ 0 h 690564"/>
                  <a:gd name="connsiteX0" fmla="*/ 0 w 2371726"/>
                  <a:gd name="connsiteY0" fmla="*/ 0 h 690563"/>
                  <a:gd name="connsiteX1" fmla="*/ 2257390 w 2371726"/>
                  <a:gd name="connsiteY1" fmla="*/ 1 h 690563"/>
                  <a:gd name="connsiteX2" fmla="*/ 2162176 w 2371726"/>
                  <a:gd name="connsiteY2" fmla="*/ 239714 h 690563"/>
                  <a:gd name="connsiteX3" fmla="*/ 2371725 w 2371726"/>
                  <a:gd name="connsiteY3" fmla="*/ 239714 h 690563"/>
                  <a:gd name="connsiteX4" fmla="*/ 2371726 w 2371726"/>
                  <a:gd name="connsiteY4" fmla="*/ 454026 h 690563"/>
                  <a:gd name="connsiteX5" fmla="*/ 2162176 w 2371726"/>
                  <a:gd name="connsiteY5" fmla="*/ 454026 h 690563"/>
                  <a:gd name="connsiteX6" fmla="*/ 2257390 w 2371726"/>
                  <a:gd name="connsiteY6" fmla="*/ 690563 h 690563"/>
                  <a:gd name="connsiteX7" fmla="*/ 0 w 2371726"/>
                  <a:gd name="connsiteY7" fmla="*/ 690563 h 690563"/>
                  <a:gd name="connsiteX8" fmla="*/ 0 w 2371726"/>
                  <a:gd name="connsiteY8" fmla="*/ 0 h 690563"/>
                  <a:gd name="connsiteX0" fmla="*/ 0 w 2371726"/>
                  <a:gd name="connsiteY0" fmla="*/ 0 h 690563"/>
                  <a:gd name="connsiteX1" fmla="*/ 2257390 w 2371726"/>
                  <a:gd name="connsiteY1" fmla="*/ 1 h 690563"/>
                  <a:gd name="connsiteX2" fmla="*/ 2162176 w 2371726"/>
                  <a:gd name="connsiteY2" fmla="*/ 239714 h 690563"/>
                  <a:gd name="connsiteX3" fmla="*/ 2371725 w 2371726"/>
                  <a:gd name="connsiteY3" fmla="*/ 239714 h 690563"/>
                  <a:gd name="connsiteX4" fmla="*/ 2371726 w 2371726"/>
                  <a:gd name="connsiteY4" fmla="*/ 454026 h 690563"/>
                  <a:gd name="connsiteX5" fmla="*/ 2257390 w 2371726"/>
                  <a:gd name="connsiteY5" fmla="*/ 455739 h 690563"/>
                  <a:gd name="connsiteX6" fmla="*/ 2257390 w 2371726"/>
                  <a:gd name="connsiteY6" fmla="*/ 690563 h 690563"/>
                  <a:gd name="connsiteX7" fmla="*/ 0 w 2371726"/>
                  <a:gd name="connsiteY7" fmla="*/ 690563 h 690563"/>
                  <a:gd name="connsiteX8" fmla="*/ 0 w 2371726"/>
                  <a:gd name="connsiteY8" fmla="*/ 0 h 690563"/>
                  <a:gd name="connsiteX0" fmla="*/ 0 w 2371726"/>
                  <a:gd name="connsiteY0" fmla="*/ 0 h 690563"/>
                  <a:gd name="connsiteX1" fmla="*/ 2257390 w 2371726"/>
                  <a:gd name="connsiteY1" fmla="*/ 1 h 690563"/>
                  <a:gd name="connsiteX2" fmla="*/ 2257390 w 2371726"/>
                  <a:gd name="connsiteY2" fmla="*/ 240878 h 690563"/>
                  <a:gd name="connsiteX3" fmla="*/ 2371725 w 2371726"/>
                  <a:gd name="connsiteY3" fmla="*/ 239714 h 690563"/>
                  <a:gd name="connsiteX4" fmla="*/ 2371726 w 2371726"/>
                  <a:gd name="connsiteY4" fmla="*/ 454026 h 690563"/>
                  <a:gd name="connsiteX5" fmla="*/ 2257390 w 2371726"/>
                  <a:gd name="connsiteY5" fmla="*/ 455739 h 690563"/>
                  <a:gd name="connsiteX6" fmla="*/ 2257390 w 2371726"/>
                  <a:gd name="connsiteY6" fmla="*/ 690563 h 690563"/>
                  <a:gd name="connsiteX7" fmla="*/ 0 w 2371726"/>
                  <a:gd name="connsiteY7" fmla="*/ 690563 h 690563"/>
                  <a:gd name="connsiteX8" fmla="*/ 0 w 2371726"/>
                  <a:gd name="connsiteY8" fmla="*/ 0 h 690563"/>
                  <a:gd name="connsiteX0" fmla="*/ 0 w 2371726"/>
                  <a:gd name="connsiteY0" fmla="*/ 0 h 690563"/>
                  <a:gd name="connsiteX1" fmla="*/ 2216896 w 2371726"/>
                  <a:gd name="connsiteY1" fmla="*/ 0 h 690563"/>
                  <a:gd name="connsiteX2" fmla="*/ 2257390 w 2371726"/>
                  <a:gd name="connsiteY2" fmla="*/ 240878 h 690563"/>
                  <a:gd name="connsiteX3" fmla="*/ 2371725 w 2371726"/>
                  <a:gd name="connsiteY3" fmla="*/ 239714 h 690563"/>
                  <a:gd name="connsiteX4" fmla="*/ 2371726 w 2371726"/>
                  <a:gd name="connsiteY4" fmla="*/ 454026 h 690563"/>
                  <a:gd name="connsiteX5" fmla="*/ 2257390 w 2371726"/>
                  <a:gd name="connsiteY5" fmla="*/ 455739 h 690563"/>
                  <a:gd name="connsiteX6" fmla="*/ 2257390 w 2371726"/>
                  <a:gd name="connsiteY6" fmla="*/ 690563 h 690563"/>
                  <a:gd name="connsiteX7" fmla="*/ 0 w 2371726"/>
                  <a:gd name="connsiteY7" fmla="*/ 690563 h 690563"/>
                  <a:gd name="connsiteX8" fmla="*/ 0 w 2371726"/>
                  <a:gd name="connsiteY8" fmla="*/ 0 h 690563"/>
                  <a:gd name="connsiteX0" fmla="*/ 0 w 2371726"/>
                  <a:gd name="connsiteY0" fmla="*/ 0 h 690563"/>
                  <a:gd name="connsiteX1" fmla="*/ 2216896 w 2371726"/>
                  <a:gd name="connsiteY1" fmla="*/ 0 h 690563"/>
                  <a:gd name="connsiteX2" fmla="*/ 2216896 w 2371726"/>
                  <a:gd name="connsiteY2" fmla="*/ 242886 h 690563"/>
                  <a:gd name="connsiteX3" fmla="*/ 2371725 w 2371726"/>
                  <a:gd name="connsiteY3" fmla="*/ 239714 h 690563"/>
                  <a:gd name="connsiteX4" fmla="*/ 2371726 w 2371726"/>
                  <a:gd name="connsiteY4" fmla="*/ 454026 h 690563"/>
                  <a:gd name="connsiteX5" fmla="*/ 2257390 w 2371726"/>
                  <a:gd name="connsiteY5" fmla="*/ 455739 h 690563"/>
                  <a:gd name="connsiteX6" fmla="*/ 2257390 w 2371726"/>
                  <a:gd name="connsiteY6" fmla="*/ 690563 h 690563"/>
                  <a:gd name="connsiteX7" fmla="*/ 0 w 2371726"/>
                  <a:gd name="connsiteY7" fmla="*/ 690563 h 690563"/>
                  <a:gd name="connsiteX8" fmla="*/ 0 w 2371726"/>
                  <a:gd name="connsiteY8" fmla="*/ 0 h 690563"/>
                  <a:gd name="connsiteX0" fmla="*/ 0 w 2389349"/>
                  <a:gd name="connsiteY0" fmla="*/ 0 h 690563"/>
                  <a:gd name="connsiteX1" fmla="*/ 2216896 w 2389349"/>
                  <a:gd name="connsiteY1" fmla="*/ 0 h 690563"/>
                  <a:gd name="connsiteX2" fmla="*/ 2216896 w 2389349"/>
                  <a:gd name="connsiteY2" fmla="*/ 242886 h 690563"/>
                  <a:gd name="connsiteX3" fmla="*/ 2389349 w 2389349"/>
                  <a:gd name="connsiteY3" fmla="*/ 242886 h 690563"/>
                  <a:gd name="connsiteX4" fmla="*/ 2371726 w 2389349"/>
                  <a:gd name="connsiteY4" fmla="*/ 454026 h 690563"/>
                  <a:gd name="connsiteX5" fmla="*/ 2257390 w 2389349"/>
                  <a:gd name="connsiteY5" fmla="*/ 455739 h 690563"/>
                  <a:gd name="connsiteX6" fmla="*/ 2257390 w 2389349"/>
                  <a:gd name="connsiteY6" fmla="*/ 690563 h 690563"/>
                  <a:gd name="connsiteX7" fmla="*/ 0 w 2389349"/>
                  <a:gd name="connsiteY7" fmla="*/ 690563 h 690563"/>
                  <a:gd name="connsiteX8" fmla="*/ 0 w 2389349"/>
                  <a:gd name="connsiteY8" fmla="*/ 0 h 690563"/>
                  <a:gd name="connsiteX0" fmla="*/ 0 w 2389349"/>
                  <a:gd name="connsiteY0" fmla="*/ 0 h 690563"/>
                  <a:gd name="connsiteX1" fmla="*/ 2216896 w 2389349"/>
                  <a:gd name="connsiteY1" fmla="*/ 0 h 690563"/>
                  <a:gd name="connsiteX2" fmla="*/ 2216896 w 2389349"/>
                  <a:gd name="connsiteY2" fmla="*/ 242886 h 690563"/>
                  <a:gd name="connsiteX3" fmla="*/ 2389349 w 2389349"/>
                  <a:gd name="connsiteY3" fmla="*/ 242886 h 690563"/>
                  <a:gd name="connsiteX4" fmla="*/ 2389349 w 2389349"/>
                  <a:gd name="connsiteY4" fmla="*/ 457029 h 690563"/>
                  <a:gd name="connsiteX5" fmla="*/ 2257390 w 2389349"/>
                  <a:gd name="connsiteY5" fmla="*/ 455739 h 690563"/>
                  <a:gd name="connsiteX6" fmla="*/ 2257390 w 2389349"/>
                  <a:gd name="connsiteY6" fmla="*/ 690563 h 690563"/>
                  <a:gd name="connsiteX7" fmla="*/ 0 w 2389349"/>
                  <a:gd name="connsiteY7" fmla="*/ 690563 h 690563"/>
                  <a:gd name="connsiteX8" fmla="*/ 0 w 2389349"/>
                  <a:gd name="connsiteY8" fmla="*/ 0 h 690563"/>
                  <a:gd name="connsiteX0" fmla="*/ 0 w 2389349"/>
                  <a:gd name="connsiteY0" fmla="*/ 0 h 690563"/>
                  <a:gd name="connsiteX1" fmla="*/ 2216896 w 2389349"/>
                  <a:gd name="connsiteY1" fmla="*/ 0 h 690563"/>
                  <a:gd name="connsiteX2" fmla="*/ 2216896 w 2389349"/>
                  <a:gd name="connsiteY2" fmla="*/ 242886 h 690563"/>
                  <a:gd name="connsiteX3" fmla="*/ 2389349 w 2389349"/>
                  <a:gd name="connsiteY3" fmla="*/ 242886 h 690563"/>
                  <a:gd name="connsiteX4" fmla="*/ 2389349 w 2389349"/>
                  <a:gd name="connsiteY4" fmla="*/ 457029 h 690563"/>
                  <a:gd name="connsiteX5" fmla="*/ 2216895 w 2389349"/>
                  <a:gd name="connsiteY5" fmla="*/ 457029 h 690563"/>
                  <a:gd name="connsiteX6" fmla="*/ 2257390 w 2389349"/>
                  <a:gd name="connsiteY6" fmla="*/ 690563 h 690563"/>
                  <a:gd name="connsiteX7" fmla="*/ 0 w 2389349"/>
                  <a:gd name="connsiteY7" fmla="*/ 690563 h 690563"/>
                  <a:gd name="connsiteX8" fmla="*/ 0 w 2389349"/>
                  <a:gd name="connsiteY8" fmla="*/ 0 h 690563"/>
                  <a:gd name="connsiteX0" fmla="*/ 0 w 2389349"/>
                  <a:gd name="connsiteY0" fmla="*/ 0 h 691158"/>
                  <a:gd name="connsiteX1" fmla="*/ 2216896 w 2389349"/>
                  <a:gd name="connsiteY1" fmla="*/ 0 h 691158"/>
                  <a:gd name="connsiteX2" fmla="*/ 2216896 w 2389349"/>
                  <a:gd name="connsiteY2" fmla="*/ 242886 h 691158"/>
                  <a:gd name="connsiteX3" fmla="*/ 2389349 w 2389349"/>
                  <a:gd name="connsiteY3" fmla="*/ 242886 h 691158"/>
                  <a:gd name="connsiteX4" fmla="*/ 2389349 w 2389349"/>
                  <a:gd name="connsiteY4" fmla="*/ 457029 h 691158"/>
                  <a:gd name="connsiteX5" fmla="*/ 2216895 w 2389349"/>
                  <a:gd name="connsiteY5" fmla="*/ 457029 h 691158"/>
                  <a:gd name="connsiteX6" fmla="*/ 2216895 w 2389349"/>
                  <a:gd name="connsiteY6" fmla="*/ 691158 h 691158"/>
                  <a:gd name="connsiteX7" fmla="*/ 0 w 2389349"/>
                  <a:gd name="connsiteY7" fmla="*/ 690563 h 691158"/>
                  <a:gd name="connsiteX8" fmla="*/ 0 w 2389349"/>
                  <a:gd name="connsiteY8" fmla="*/ 0 h 691158"/>
                  <a:gd name="connsiteX0" fmla="*/ 0 w 2389349"/>
                  <a:gd name="connsiteY0" fmla="*/ 0 h 691158"/>
                  <a:gd name="connsiteX1" fmla="*/ 2216896 w 2389349"/>
                  <a:gd name="connsiteY1" fmla="*/ 0 h 691158"/>
                  <a:gd name="connsiteX2" fmla="*/ 2216896 w 2389349"/>
                  <a:gd name="connsiteY2" fmla="*/ 242886 h 691158"/>
                  <a:gd name="connsiteX3" fmla="*/ 2326452 w 2389349"/>
                  <a:gd name="connsiteY3" fmla="*/ 247692 h 691158"/>
                  <a:gd name="connsiteX4" fmla="*/ 2389349 w 2389349"/>
                  <a:gd name="connsiteY4" fmla="*/ 457029 h 691158"/>
                  <a:gd name="connsiteX5" fmla="*/ 2216895 w 2389349"/>
                  <a:gd name="connsiteY5" fmla="*/ 457029 h 691158"/>
                  <a:gd name="connsiteX6" fmla="*/ 2216895 w 2389349"/>
                  <a:gd name="connsiteY6" fmla="*/ 691158 h 691158"/>
                  <a:gd name="connsiteX7" fmla="*/ 0 w 2389349"/>
                  <a:gd name="connsiteY7" fmla="*/ 690563 h 691158"/>
                  <a:gd name="connsiteX8" fmla="*/ 0 w 2389349"/>
                  <a:gd name="connsiteY8" fmla="*/ 0 h 691158"/>
                  <a:gd name="connsiteX0" fmla="*/ 0 w 2326452"/>
                  <a:gd name="connsiteY0" fmla="*/ 0 h 691158"/>
                  <a:gd name="connsiteX1" fmla="*/ 2216896 w 2326452"/>
                  <a:gd name="connsiteY1" fmla="*/ 0 h 691158"/>
                  <a:gd name="connsiteX2" fmla="*/ 2216896 w 2326452"/>
                  <a:gd name="connsiteY2" fmla="*/ 242886 h 691158"/>
                  <a:gd name="connsiteX3" fmla="*/ 2326452 w 2326452"/>
                  <a:gd name="connsiteY3" fmla="*/ 247692 h 691158"/>
                  <a:gd name="connsiteX4" fmla="*/ 2326452 w 2326452"/>
                  <a:gd name="connsiteY4" fmla="*/ 460408 h 691158"/>
                  <a:gd name="connsiteX5" fmla="*/ 2216895 w 2326452"/>
                  <a:gd name="connsiteY5" fmla="*/ 457029 h 691158"/>
                  <a:gd name="connsiteX6" fmla="*/ 2216895 w 2326452"/>
                  <a:gd name="connsiteY6" fmla="*/ 691158 h 691158"/>
                  <a:gd name="connsiteX7" fmla="*/ 0 w 2326452"/>
                  <a:gd name="connsiteY7" fmla="*/ 690563 h 691158"/>
                  <a:gd name="connsiteX8" fmla="*/ 0 w 2326452"/>
                  <a:gd name="connsiteY8" fmla="*/ 0 h 691158"/>
                  <a:gd name="connsiteX0" fmla="*/ 0 w 2326452"/>
                  <a:gd name="connsiteY0" fmla="*/ 0 h 691158"/>
                  <a:gd name="connsiteX1" fmla="*/ 2216896 w 2326452"/>
                  <a:gd name="connsiteY1" fmla="*/ 0 h 691158"/>
                  <a:gd name="connsiteX2" fmla="*/ 2218026 w 2326452"/>
                  <a:gd name="connsiteY2" fmla="*/ 247692 h 691158"/>
                  <a:gd name="connsiteX3" fmla="*/ 2326452 w 2326452"/>
                  <a:gd name="connsiteY3" fmla="*/ 247692 h 691158"/>
                  <a:gd name="connsiteX4" fmla="*/ 2326452 w 2326452"/>
                  <a:gd name="connsiteY4" fmla="*/ 460408 h 691158"/>
                  <a:gd name="connsiteX5" fmla="*/ 2216895 w 2326452"/>
                  <a:gd name="connsiteY5" fmla="*/ 457029 h 691158"/>
                  <a:gd name="connsiteX6" fmla="*/ 2216895 w 2326452"/>
                  <a:gd name="connsiteY6" fmla="*/ 691158 h 691158"/>
                  <a:gd name="connsiteX7" fmla="*/ 0 w 2326452"/>
                  <a:gd name="connsiteY7" fmla="*/ 690563 h 691158"/>
                  <a:gd name="connsiteX8" fmla="*/ 0 w 2326452"/>
                  <a:gd name="connsiteY8" fmla="*/ 0 h 691158"/>
                  <a:gd name="connsiteX0" fmla="*/ 0 w 2326452"/>
                  <a:gd name="connsiteY0" fmla="*/ 0 h 691158"/>
                  <a:gd name="connsiteX1" fmla="*/ 2216896 w 2326452"/>
                  <a:gd name="connsiteY1" fmla="*/ 0 h 691158"/>
                  <a:gd name="connsiteX2" fmla="*/ 2218026 w 2326452"/>
                  <a:gd name="connsiteY2" fmla="*/ 247692 h 691158"/>
                  <a:gd name="connsiteX3" fmla="*/ 2326452 w 2326452"/>
                  <a:gd name="connsiteY3" fmla="*/ 247692 h 691158"/>
                  <a:gd name="connsiteX4" fmla="*/ 2326452 w 2326452"/>
                  <a:gd name="connsiteY4" fmla="*/ 460408 h 691158"/>
                  <a:gd name="connsiteX5" fmla="*/ 2216895 w 2326452"/>
                  <a:gd name="connsiteY5" fmla="*/ 457029 h 691158"/>
                  <a:gd name="connsiteX6" fmla="*/ 2216895 w 2326452"/>
                  <a:gd name="connsiteY6" fmla="*/ 691158 h 691158"/>
                  <a:gd name="connsiteX7" fmla="*/ 0 w 2326452"/>
                  <a:gd name="connsiteY7" fmla="*/ 690563 h 691158"/>
                  <a:gd name="connsiteX8" fmla="*/ 0 w 2326452"/>
                  <a:gd name="connsiteY8" fmla="*/ 0 h 691158"/>
                  <a:gd name="connsiteX0" fmla="*/ 0 w 2326452"/>
                  <a:gd name="connsiteY0" fmla="*/ 0 h 691158"/>
                  <a:gd name="connsiteX1" fmla="*/ 2216896 w 2326452"/>
                  <a:gd name="connsiteY1" fmla="*/ 0 h 691158"/>
                  <a:gd name="connsiteX2" fmla="*/ 2218026 w 2326452"/>
                  <a:gd name="connsiteY2" fmla="*/ 247692 h 691158"/>
                  <a:gd name="connsiteX3" fmla="*/ 2326452 w 2326452"/>
                  <a:gd name="connsiteY3" fmla="*/ 247692 h 691158"/>
                  <a:gd name="connsiteX4" fmla="*/ 2326452 w 2326452"/>
                  <a:gd name="connsiteY4" fmla="*/ 460408 h 691158"/>
                  <a:gd name="connsiteX5" fmla="*/ 2216895 w 2326452"/>
                  <a:gd name="connsiteY5" fmla="*/ 457029 h 691158"/>
                  <a:gd name="connsiteX6" fmla="*/ 2216895 w 2326452"/>
                  <a:gd name="connsiteY6" fmla="*/ 691158 h 691158"/>
                  <a:gd name="connsiteX7" fmla="*/ 0 w 2326452"/>
                  <a:gd name="connsiteY7" fmla="*/ 690563 h 691158"/>
                  <a:gd name="connsiteX8" fmla="*/ 0 w 2326452"/>
                  <a:gd name="connsiteY8" fmla="*/ 0 h 691158"/>
                  <a:gd name="connsiteX0" fmla="*/ 0 w 2326452"/>
                  <a:gd name="connsiteY0" fmla="*/ 0 h 691158"/>
                  <a:gd name="connsiteX1" fmla="*/ 2216896 w 2326452"/>
                  <a:gd name="connsiteY1" fmla="*/ 0 h 691158"/>
                  <a:gd name="connsiteX2" fmla="*/ 2218026 w 2326452"/>
                  <a:gd name="connsiteY2" fmla="*/ 247692 h 691158"/>
                  <a:gd name="connsiteX3" fmla="*/ 2326452 w 2326452"/>
                  <a:gd name="connsiteY3" fmla="*/ 247692 h 691158"/>
                  <a:gd name="connsiteX4" fmla="*/ 2326452 w 2326452"/>
                  <a:gd name="connsiteY4" fmla="*/ 460408 h 691158"/>
                  <a:gd name="connsiteX5" fmla="*/ 2216895 w 2326452"/>
                  <a:gd name="connsiteY5" fmla="*/ 460408 h 691158"/>
                  <a:gd name="connsiteX6" fmla="*/ 2216895 w 2326452"/>
                  <a:gd name="connsiteY6" fmla="*/ 691158 h 691158"/>
                  <a:gd name="connsiteX7" fmla="*/ 0 w 2326452"/>
                  <a:gd name="connsiteY7" fmla="*/ 690563 h 691158"/>
                  <a:gd name="connsiteX8" fmla="*/ 0 w 2326452"/>
                  <a:gd name="connsiteY8" fmla="*/ 0 h 691158"/>
                  <a:gd name="connsiteX0" fmla="*/ 0 w 2326452"/>
                  <a:gd name="connsiteY0" fmla="*/ 0 h 691158"/>
                  <a:gd name="connsiteX1" fmla="*/ 2216896 w 2326452"/>
                  <a:gd name="connsiteY1" fmla="*/ 0 h 691158"/>
                  <a:gd name="connsiteX2" fmla="*/ 2218026 w 2326452"/>
                  <a:gd name="connsiteY2" fmla="*/ 247692 h 691158"/>
                  <a:gd name="connsiteX3" fmla="*/ 2326452 w 2326452"/>
                  <a:gd name="connsiteY3" fmla="*/ 247692 h 691158"/>
                  <a:gd name="connsiteX4" fmla="*/ 2326452 w 2326452"/>
                  <a:gd name="connsiteY4" fmla="*/ 442059 h 691158"/>
                  <a:gd name="connsiteX5" fmla="*/ 2216895 w 2326452"/>
                  <a:gd name="connsiteY5" fmla="*/ 460408 h 691158"/>
                  <a:gd name="connsiteX6" fmla="*/ 2216895 w 2326452"/>
                  <a:gd name="connsiteY6" fmla="*/ 691158 h 691158"/>
                  <a:gd name="connsiteX7" fmla="*/ 0 w 2326452"/>
                  <a:gd name="connsiteY7" fmla="*/ 690563 h 691158"/>
                  <a:gd name="connsiteX8" fmla="*/ 0 w 2326452"/>
                  <a:gd name="connsiteY8" fmla="*/ 0 h 691158"/>
                  <a:gd name="connsiteX0" fmla="*/ 0 w 2326452"/>
                  <a:gd name="connsiteY0" fmla="*/ 0 h 691158"/>
                  <a:gd name="connsiteX1" fmla="*/ 2216896 w 2326452"/>
                  <a:gd name="connsiteY1" fmla="*/ 0 h 691158"/>
                  <a:gd name="connsiteX2" fmla="*/ 2218026 w 2326452"/>
                  <a:gd name="connsiteY2" fmla="*/ 247692 h 691158"/>
                  <a:gd name="connsiteX3" fmla="*/ 2326452 w 2326452"/>
                  <a:gd name="connsiteY3" fmla="*/ 247692 h 691158"/>
                  <a:gd name="connsiteX4" fmla="*/ 2326452 w 2326452"/>
                  <a:gd name="connsiteY4" fmla="*/ 442059 h 691158"/>
                  <a:gd name="connsiteX5" fmla="*/ 2216895 w 2326452"/>
                  <a:gd name="connsiteY5" fmla="*/ 442059 h 691158"/>
                  <a:gd name="connsiteX6" fmla="*/ 2216895 w 2326452"/>
                  <a:gd name="connsiteY6" fmla="*/ 691158 h 691158"/>
                  <a:gd name="connsiteX7" fmla="*/ 0 w 2326452"/>
                  <a:gd name="connsiteY7" fmla="*/ 690563 h 691158"/>
                  <a:gd name="connsiteX8" fmla="*/ 0 w 2326452"/>
                  <a:gd name="connsiteY8" fmla="*/ 0 h 691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26452" h="691158">
                    <a:moveTo>
                      <a:pt x="0" y="0"/>
                    </a:moveTo>
                    <a:lnTo>
                      <a:pt x="2216896" y="0"/>
                    </a:lnTo>
                    <a:cubicBezTo>
                      <a:pt x="2217273" y="82564"/>
                      <a:pt x="2217649" y="165128"/>
                      <a:pt x="2218026" y="247692"/>
                    </a:cubicBezTo>
                    <a:lnTo>
                      <a:pt x="2326452" y="247692"/>
                    </a:lnTo>
                    <a:lnTo>
                      <a:pt x="2326452" y="442059"/>
                    </a:lnTo>
                    <a:lnTo>
                      <a:pt x="2216895" y="442059"/>
                    </a:lnTo>
                    <a:lnTo>
                      <a:pt x="2216895" y="691158"/>
                    </a:lnTo>
                    <a:lnTo>
                      <a:pt x="0" y="690563"/>
                    </a:lnTo>
                    <a:lnTo>
                      <a:pt x="0" y="0"/>
                    </a:lnTo>
                    <a:close/>
                  </a:path>
                </a:pathLst>
              </a:custGeom>
              <a:solidFill>
                <a:srgbClr val="58A618"/>
              </a:solidFill>
              <a:ln w="12700" cap="flat" cmpd="sng" algn="ctr">
                <a:solidFill>
                  <a:srgbClr val="58A618"/>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685862">
                  <a:buClr>
                    <a:srgbClr val="58A618"/>
                  </a:buClr>
                  <a:defRPr/>
                </a:pPr>
                <a:endParaRPr lang="en-US" kern="0">
                  <a:solidFill>
                    <a:srgbClr val="000000"/>
                  </a:solidFill>
                </a:endParaRPr>
              </a:p>
            </p:txBody>
          </p:sp>
          <p:sp>
            <p:nvSpPr>
              <p:cNvPr id="110" name="Freeform 109"/>
              <p:cNvSpPr/>
              <p:nvPr/>
            </p:nvSpPr>
            <p:spPr bwMode="auto">
              <a:xfrm flipH="1">
                <a:off x="3890738" y="1051586"/>
                <a:ext cx="3922396" cy="859536"/>
              </a:xfrm>
              <a:custGeom>
                <a:avLst/>
                <a:gdLst>
                  <a:gd name="connsiteX0" fmla="*/ 0 w 2388870"/>
                  <a:gd name="connsiteY0" fmla="*/ 0 h 693420"/>
                  <a:gd name="connsiteX1" fmla="*/ 2377440 w 2388870"/>
                  <a:gd name="connsiteY1" fmla="*/ 0 h 693420"/>
                  <a:gd name="connsiteX2" fmla="*/ 2377440 w 2388870"/>
                  <a:gd name="connsiteY2" fmla="*/ 243840 h 693420"/>
                  <a:gd name="connsiteX3" fmla="*/ 2156460 w 2388870"/>
                  <a:gd name="connsiteY3" fmla="*/ 240030 h 693420"/>
                  <a:gd name="connsiteX4" fmla="*/ 2164080 w 2388870"/>
                  <a:gd name="connsiteY4" fmla="*/ 453390 h 693420"/>
                  <a:gd name="connsiteX5" fmla="*/ 2388870 w 2388870"/>
                  <a:gd name="connsiteY5" fmla="*/ 453390 h 693420"/>
                  <a:gd name="connsiteX6" fmla="*/ 2373630 w 2388870"/>
                  <a:gd name="connsiteY6" fmla="*/ 689610 h 693420"/>
                  <a:gd name="connsiteX7" fmla="*/ 7620 w 2388870"/>
                  <a:gd name="connsiteY7" fmla="*/ 693420 h 693420"/>
                  <a:gd name="connsiteX8" fmla="*/ 0 w 2388870"/>
                  <a:gd name="connsiteY8" fmla="*/ 0 h 693420"/>
                  <a:gd name="connsiteX0" fmla="*/ 0 w 2385060"/>
                  <a:gd name="connsiteY0" fmla="*/ 0 h 693420"/>
                  <a:gd name="connsiteX1" fmla="*/ 2373630 w 2385060"/>
                  <a:gd name="connsiteY1" fmla="*/ 0 h 693420"/>
                  <a:gd name="connsiteX2" fmla="*/ 2373630 w 2385060"/>
                  <a:gd name="connsiteY2" fmla="*/ 243840 h 693420"/>
                  <a:gd name="connsiteX3" fmla="*/ 2152650 w 2385060"/>
                  <a:gd name="connsiteY3" fmla="*/ 240030 h 693420"/>
                  <a:gd name="connsiteX4" fmla="*/ 2160270 w 2385060"/>
                  <a:gd name="connsiteY4" fmla="*/ 453390 h 693420"/>
                  <a:gd name="connsiteX5" fmla="*/ 2385060 w 2385060"/>
                  <a:gd name="connsiteY5" fmla="*/ 453390 h 693420"/>
                  <a:gd name="connsiteX6" fmla="*/ 2369820 w 2385060"/>
                  <a:gd name="connsiteY6" fmla="*/ 689610 h 693420"/>
                  <a:gd name="connsiteX7" fmla="*/ 3810 w 2385060"/>
                  <a:gd name="connsiteY7" fmla="*/ 693420 h 693420"/>
                  <a:gd name="connsiteX8" fmla="*/ 0 w 2385060"/>
                  <a:gd name="connsiteY8" fmla="*/ 0 h 693420"/>
                  <a:gd name="connsiteX0" fmla="*/ 0 w 2385060"/>
                  <a:gd name="connsiteY0" fmla="*/ 0 h 690563"/>
                  <a:gd name="connsiteX1" fmla="*/ 2373630 w 2385060"/>
                  <a:gd name="connsiteY1" fmla="*/ 0 h 690563"/>
                  <a:gd name="connsiteX2" fmla="*/ 2373630 w 2385060"/>
                  <a:gd name="connsiteY2" fmla="*/ 243840 h 690563"/>
                  <a:gd name="connsiteX3" fmla="*/ 2152650 w 2385060"/>
                  <a:gd name="connsiteY3" fmla="*/ 240030 h 690563"/>
                  <a:gd name="connsiteX4" fmla="*/ 2160270 w 2385060"/>
                  <a:gd name="connsiteY4" fmla="*/ 453390 h 690563"/>
                  <a:gd name="connsiteX5" fmla="*/ 2385060 w 2385060"/>
                  <a:gd name="connsiteY5" fmla="*/ 453390 h 690563"/>
                  <a:gd name="connsiteX6" fmla="*/ 2369820 w 2385060"/>
                  <a:gd name="connsiteY6" fmla="*/ 689610 h 690563"/>
                  <a:gd name="connsiteX7" fmla="*/ 0 w 2385060"/>
                  <a:gd name="connsiteY7" fmla="*/ 690563 h 690563"/>
                  <a:gd name="connsiteX8" fmla="*/ 0 w 2385060"/>
                  <a:gd name="connsiteY8" fmla="*/ 0 h 690563"/>
                  <a:gd name="connsiteX0" fmla="*/ 0 w 2385060"/>
                  <a:gd name="connsiteY0" fmla="*/ 0 h 690564"/>
                  <a:gd name="connsiteX1" fmla="*/ 2373630 w 2385060"/>
                  <a:gd name="connsiteY1" fmla="*/ 0 h 690564"/>
                  <a:gd name="connsiteX2" fmla="*/ 2373630 w 2385060"/>
                  <a:gd name="connsiteY2" fmla="*/ 243840 h 690564"/>
                  <a:gd name="connsiteX3" fmla="*/ 2152650 w 2385060"/>
                  <a:gd name="connsiteY3" fmla="*/ 240030 h 690564"/>
                  <a:gd name="connsiteX4" fmla="*/ 2160270 w 2385060"/>
                  <a:gd name="connsiteY4" fmla="*/ 453390 h 690564"/>
                  <a:gd name="connsiteX5" fmla="*/ 2385060 w 2385060"/>
                  <a:gd name="connsiteY5" fmla="*/ 453390 h 690564"/>
                  <a:gd name="connsiteX6" fmla="*/ 2371725 w 2385060"/>
                  <a:gd name="connsiteY6" fmla="*/ 690564 h 690564"/>
                  <a:gd name="connsiteX7" fmla="*/ 0 w 2385060"/>
                  <a:gd name="connsiteY7" fmla="*/ 690563 h 690564"/>
                  <a:gd name="connsiteX8" fmla="*/ 0 w 2385060"/>
                  <a:gd name="connsiteY8" fmla="*/ 0 h 690564"/>
                  <a:gd name="connsiteX0" fmla="*/ 0 w 2373630"/>
                  <a:gd name="connsiteY0" fmla="*/ 0 h 690564"/>
                  <a:gd name="connsiteX1" fmla="*/ 2373630 w 2373630"/>
                  <a:gd name="connsiteY1" fmla="*/ 0 h 690564"/>
                  <a:gd name="connsiteX2" fmla="*/ 2373630 w 2373630"/>
                  <a:gd name="connsiteY2" fmla="*/ 243840 h 690564"/>
                  <a:gd name="connsiteX3" fmla="*/ 2152650 w 2373630"/>
                  <a:gd name="connsiteY3" fmla="*/ 240030 h 690564"/>
                  <a:gd name="connsiteX4" fmla="*/ 2160270 w 2373630"/>
                  <a:gd name="connsiteY4" fmla="*/ 453390 h 690564"/>
                  <a:gd name="connsiteX5" fmla="*/ 2371725 w 2373630"/>
                  <a:gd name="connsiteY5" fmla="*/ 454025 h 690564"/>
                  <a:gd name="connsiteX6" fmla="*/ 2371725 w 2373630"/>
                  <a:gd name="connsiteY6" fmla="*/ 690564 h 690564"/>
                  <a:gd name="connsiteX7" fmla="*/ 0 w 2373630"/>
                  <a:gd name="connsiteY7" fmla="*/ 690563 h 690564"/>
                  <a:gd name="connsiteX8" fmla="*/ 0 w 2373630"/>
                  <a:gd name="connsiteY8" fmla="*/ 0 h 690564"/>
                  <a:gd name="connsiteX0" fmla="*/ 0 w 2373630"/>
                  <a:gd name="connsiteY0" fmla="*/ 0 h 690564"/>
                  <a:gd name="connsiteX1" fmla="*/ 2373630 w 2373630"/>
                  <a:gd name="connsiteY1" fmla="*/ 0 h 690564"/>
                  <a:gd name="connsiteX2" fmla="*/ 2373630 w 2373630"/>
                  <a:gd name="connsiteY2" fmla="*/ 243840 h 690564"/>
                  <a:gd name="connsiteX3" fmla="*/ 2162175 w 2373630"/>
                  <a:gd name="connsiteY3" fmla="*/ 239713 h 690564"/>
                  <a:gd name="connsiteX4" fmla="*/ 2160270 w 2373630"/>
                  <a:gd name="connsiteY4" fmla="*/ 453390 h 690564"/>
                  <a:gd name="connsiteX5" fmla="*/ 2371725 w 2373630"/>
                  <a:gd name="connsiteY5" fmla="*/ 454025 h 690564"/>
                  <a:gd name="connsiteX6" fmla="*/ 2371725 w 2373630"/>
                  <a:gd name="connsiteY6" fmla="*/ 690564 h 690564"/>
                  <a:gd name="connsiteX7" fmla="*/ 0 w 2373630"/>
                  <a:gd name="connsiteY7" fmla="*/ 690563 h 690564"/>
                  <a:gd name="connsiteX8" fmla="*/ 0 w 2373630"/>
                  <a:gd name="connsiteY8" fmla="*/ 0 h 690564"/>
                  <a:gd name="connsiteX0" fmla="*/ 0 w 2373630"/>
                  <a:gd name="connsiteY0" fmla="*/ 0 h 690564"/>
                  <a:gd name="connsiteX1" fmla="*/ 2373630 w 2373630"/>
                  <a:gd name="connsiteY1" fmla="*/ 0 h 690564"/>
                  <a:gd name="connsiteX2" fmla="*/ 2371725 w 2373630"/>
                  <a:gd name="connsiteY2" fmla="*/ 239713 h 690564"/>
                  <a:gd name="connsiteX3" fmla="*/ 2162175 w 2373630"/>
                  <a:gd name="connsiteY3" fmla="*/ 239713 h 690564"/>
                  <a:gd name="connsiteX4" fmla="*/ 2160270 w 2373630"/>
                  <a:gd name="connsiteY4" fmla="*/ 453390 h 690564"/>
                  <a:gd name="connsiteX5" fmla="*/ 2371725 w 2373630"/>
                  <a:gd name="connsiteY5" fmla="*/ 454025 h 690564"/>
                  <a:gd name="connsiteX6" fmla="*/ 2371725 w 2373630"/>
                  <a:gd name="connsiteY6" fmla="*/ 690564 h 690564"/>
                  <a:gd name="connsiteX7" fmla="*/ 0 w 2373630"/>
                  <a:gd name="connsiteY7" fmla="*/ 690563 h 690564"/>
                  <a:gd name="connsiteX8" fmla="*/ 0 w 2373630"/>
                  <a:gd name="connsiteY8" fmla="*/ 0 h 690564"/>
                  <a:gd name="connsiteX0" fmla="*/ 0 w 2373630"/>
                  <a:gd name="connsiteY0" fmla="*/ 0 h 690564"/>
                  <a:gd name="connsiteX1" fmla="*/ 2373630 w 2373630"/>
                  <a:gd name="connsiteY1" fmla="*/ 0 h 690564"/>
                  <a:gd name="connsiteX2" fmla="*/ 2371725 w 2373630"/>
                  <a:gd name="connsiteY2" fmla="*/ 239713 h 690564"/>
                  <a:gd name="connsiteX3" fmla="*/ 2162175 w 2373630"/>
                  <a:gd name="connsiteY3" fmla="*/ 239713 h 690564"/>
                  <a:gd name="connsiteX4" fmla="*/ 2160270 w 2373630"/>
                  <a:gd name="connsiteY4" fmla="*/ 453390 h 690564"/>
                  <a:gd name="connsiteX5" fmla="*/ 2371725 w 2373630"/>
                  <a:gd name="connsiteY5" fmla="*/ 454025 h 690564"/>
                  <a:gd name="connsiteX6" fmla="*/ 2371725 w 2373630"/>
                  <a:gd name="connsiteY6" fmla="*/ 690564 h 690564"/>
                  <a:gd name="connsiteX7" fmla="*/ 0 w 2373630"/>
                  <a:gd name="connsiteY7" fmla="*/ 690563 h 690564"/>
                  <a:gd name="connsiteX8" fmla="*/ 0 w 2373630"/>
                  <a:gd name="connsiteY8" fmla="*/ 0 h 690564"/>
                  <a:gd name="connsiteX0" fmla="*/ 0 w 2373630"/>
                  <a:gd name="connsiteY0" fmla="*/ 0 h 690563"/>
                  <a:gd name="connsiteX1" fmla="*/ 2373630 w 2373630"/>
                  <a:gd name="connsiteY1" fmla="*/ 0 h 690563"/>
                  <a:gd name="connsiteX2" fmla="*/ 2371725 w 2373630"/>
                  <a:gd name="connsiteY2" fmla="*/ 239713 h 690563"/>
                  <a:gd name="connsiteX3" fmla="*/ 2162175 w 2373630"/>
                  <a:gd name="connsiteY3" fmla="*/ 239713 h 690563"/>
                  <a:gd name="connsiteX4" fmla="*/ 2160270 w 2373630"/>
                  <a:gd name="connsiteY4" fmla="*/ 453390 h 690563"/>
                  <a:gd name="connsiteX5" fmla="*/ 2371725 w 2373630"/>
                  <a:gd name="connsiteY5" fmla="*/ 454025 h 690563"/>
                  <a:gd name="connsiteX6" fmla="*/ 2371725 w 2373630"/>
                  <a:gd name="connsiteY6" fmla="*/ 690563 h 690563"/>
                  <a:gd name="connsiteX7" fmla="*/ 0 w 2373630"/>
                  <a:gd name="connsiteY7" fmla="*/ 690563 h 690563"/>
                  <a:gd name="connsiteX8" fmla="*/ 0 w 2373630"/>
                  <a:gd name="connsiteY8" fmla="*/ 0 h 690563"/>
                  <a:gd name="connsiteX0" fmla="*/ 0 w 2371725"/>
                  <a:gd name="connsiteY0" fmla="*/ 0 h 690563"/>
                  <a:gd name="connsiteX1" fmla="*/ 2371725 w 2371725"/>
                  <a:gd name="connsiteY1" fmla="*/ 1 h 690563"/>
                  <a:gd name="connsiteX2" fmla="*/ 2371725 w 2371725"/>
                  <a:gd name="connsiteY2" fmla="*/ 239713 h 690563"/>
                  <a:gd name="connsiteX3" fmla="*/ 2162175 w 2371725"/>
                  <a:gd name="connsiteY3" fmla="*/ 239713 h 690563"/>
                  <a:gd name="connsiteX4" fmla="*/ 2160270 w 2371725"/>
                  <a:gd name="connsiteY4" fmla="*/ 453390 h 690563"/>
                  <a:gd name="connsiteX5" fmla="*/ 2371725 w 2371725"/>
                  <a:gd name="connsiteY5" fmla="*/ 454025 h 690563"/>
                  <a:gd name="connsiteX6" fmla="*/ 2371725 w 2371725"/>
                  <a:gd name="connsiteY6" fmla="*/ 690563 h 690563"/>
                  <a:gd name="connsiteX7" fmla="*/ 0 w 2371725"/>
                  <a:gd name="connsiteY7" fmla="*/ 690563 h 690563"/>
                  <a:gd name="connsiteX8" fmla="*/ 0 w 2371725"/>
                  <a:gd name="connsiteY8" fmla="*/ 0 h 690563"/>
                  <a:gd name="connsiteX0" fmla="*/ 0 w 2371726"/>
                  <a:gd name="connsiteY0" fmla="*/ 0 h 690563"/>
                  <a:gd name="connsiteX1" fmla="*/ 2371725 w 2371726"/>
                  <a:gd name="connsiteY1" fmla="*/ 1 h 690563"/>
                  <a:gd name="connsiteX2" fmla="*/ 2371726 w 2371726"/>
                  <a:gd name="connsiteY2" fmla="*/ 239714 h 690563"/>
                  <a:gd name="connsiteX3" fmla="*/ 2162175 w 2371726"/>
                  <a:gd name="connsiteY3" fmla="*/ 239713 h 690563"/>
                  <a:gd name="connsiteX4" fmla="*/ 2160270 w 2371726"/>
                  <a:gd name="connsiteY4" fmla="*/ 453390 h 690563"/>
                  <a:gd name="connsiteX5" fmla="*/ 2371725 w 2371726"/>
                  <a:gd name="connsiteY5" fmla="*/ 454025 h 690563"/>
                  <a:gd name="connsiteX6" fmla="*/ 2371725 w 2371726"/>
                  <a:gd name="connsiteY6" fmla="*/ 690563 h 690563"/>
                  <a:gd name="connsiteX7" fmla="*/ 0 w 2371726"/>
                  <a:gd name="connsiteY7" fmla="*/ 690563 h 690563"/>
                  <a:gd name="connsiteX8" fmla="*/ 0 w 2371726"/>
                  <a:gd name="connsiteY8" fmla="*/ 0 h 690563"/>
                  <a:gd name="connsiteX0" fmla="*/ 0 w 2371725"/>
                  <a:gd name="connsiteY0" fmla="*/ 0 h 690563"/>
                  <a:gd name="connsiteX1" fmla="*/ 2371725 w 2371725"/>
                  <a:gd name="connsiteY1" fmla="*/ 1 h 690563"/>
                  <a:gd name="connsiteX2" fmla="*/ 2371725 w 2371725"/>
                  <a:gd name="connsiteY2" fmla="*/ 239714 h 690563"/>
                  <a:gd name="connsiteX3" fmla="*/ 2162175 w 2371725"/>
                  <a:gd name="connsiteY3" fmla="*/ 239713 h 690563"/>
                  <a:gd name="connsiteX4" fmla="*/ 2160270 w 2371725"/>
                  <a:gd name="connsiteY4" fmla="*/ 453390 h 690563"/>
                  <a:gd name="connsiteX5" fmla="*/ 2371725 w 2371725"/>
                  <a:gd name="connsiteY5" fmla="*/ 454025 h 690563"/>
                  <a:gd name="connsiteX6" fmla="*/ 2371725 w 2371725"/>
                  <a:gd name="connsiteY6" fmla="*/ 690563 h 690563"/>
                  <a:gd name="connsiteX7" fmla="*/ 0 w 2371725"/>
                  <a:gd name="connsiteY7" fmla="*/ 690563 h 690563"/>
                  <a:gd name="connsiteX8" fmla="*/ 0 w 2371725"/>
                  <a:gd name="connsiteY8" fmla="*/ 0 h 690563"/>
                  <a:gd name="connsiteX0" fmla="*/ 0 w 2371725"/>
                  <a:gd name="connsiteY0" fmla="*/ 0 h 690563"/>
                  <a:gd name="connsiteX1" fmla="*/ 2371725 w 2371725"/>
                  <a:gd name="connsiteY1" fmla="*/ 1 h 690563"/>
                  <a:gd name="connsiteX2" fmla="*/ 2371725 w 2371725"/>
                  <a:gd name="connsiteY2" fmla="*/ 239714 h 690563"/>
                  <a:gd name="connsiteX3" fmla="*/ 2162175 w 2371725"/>
                  <a:gd name="connsiteY3" fmla="*/ 239713 h 690563"/>
                  <a:gd name="connsiteX4" fmla="*/ 2162176 w 2371725"/>
                  <a:gd name="connsiteY4" fmla="*/ 454026 h 690563"/>
                  <a:gd name="connsiteX5" fmla="*/ 2371725 w 2371725"/>
                  <a:gd name="connsiteY5" fmla="*/ 454025 h 690563"/>
                  <a:gd name="connsiteX6" fmla="*/ 2371725 w 2371725"/>
                  <a:gd name="connsiteY6" fmla="*/ 690563 h 690563"/>
                  <a:gd name="connsiteX7" fmla="*/ 0 w 2371725"/>
                  <a:gd name="connsiteY7" fmla="*/ 690563 h 690563"/>
                  <a:gd name="connsiteX8" fmla="*/ 0 w 2371725"/>
                  <a:gd name="connsiteY8" fmla="*/ 0 h 690563"/>
                  <a:gd name="connsiteX0" fmla="*/ 0 w 2371726"/>
                  <a:gd name="connsiteY0" fmla="*/ 0 h 690563"/>
                  <a:gd name="connsiteX1" fmla="*/ 2371725 w 2371726"/>
                  <a:gd name="connsiteY1" fmla="*/ 1 h 690563"/>
                  <a:gd name="connsiteX2" fmla="*/ 2371725 w 2371726"/>
                  <a:gd name="connsiteY2" fmla="*/ 239714 h 690563"/>
                  <a:gd name="connsiteX3" fmla="*/ 2162175 w 2371726"/>
                  <a:gd name="connsiteY3" fmla="*/ 239713 h 690563"/>
                  <a:gd name="connsiteX4" fmla="*/ 2162176 w 2371726"/>
                  <a:gd name="connsiteY4" fmla="*/ 454026 h 690563"/>
                  <a:gd name="connsiteX5" fmla="*/ 2371726 w 2371726"/>
                  <a:gd name="connsiteY5" fmla="*/ 454026 h 690563"/>
                  <a:gd name="connsiteX6" fmla="*/ 2371725 w 2371726"/>
                  <a:gd name="connsiteY6" fmla="*/ 690563 h 690563"/>
                  <a:gd name="connsiteX7" fmla="*/ 0 w 2371726"/>
                  <a:gd name="connsiteY7" fmla="*/ 690563 h 690563"/>
                  <a:gd name="connsiteX8" fmla="*/ 0 w 2371726"/>
                  <a:gd name="connsiteY8" fmla="*/ 0 h 690563"/>
                  <a:gd name="connsiteX0" fmla="*/ 0 w 2371726"/>
                  <a:gd name="connsiteY0" fmla="*/ 0 h 690563"/>
                  <a:gd name="connsiteX1" fmla="*/ 2162176 w 2371726"/>
                  <a:gd name="connsiteY1" fmla="*/ 1 h 690563"/>
                  <a:gd name="connsiteX2" fmla="*/ 2371725 w 2371726"/>
                  <a:gd name="connsiteY2" fmla="*/ 239714 h 690563"/>
                  <a:gd name="connsiteX3" fmla="*/ 2162175 w 2371726"/>
                  <a:gd name="connsiteY3" fmla="*/ 239713 h 690563"/>
                  <a:gd name="connsiteX4" fmla="*/ 2162176 w 2371726"/>
                  <a:gd name="connsiteY4" fmla="*/ 454026 h 690563"/>
                  <a:gd name="connsiteX5" fmla="*/ 2371726 w 2371726"/>
                  <a:gd name="connsiteY5" fmla="*/ 454026 h 690563"/>
                  <a:gd name="connsiteX6" fmla="*/ 2371725 w 2371726"/>
                  <a:gd name="connsiteY6" fmla="*/ 690563 h 690563"/>
                  <a:gd name="connsiteX7" fmla="*/ 0 w 2371726"/>
                  <a:gd name="connsiteY7" fmla="*/ 690563 h 690563"/>
                  <a:gd name="connsiteX8" fmla="*/ 0 w 2371726"/>
                  <a:gd name="connsiteY8" fmla="*/ 0 h 690563"/>
                  <a:gd name="connsiteX0" fmla="*/ 0 w 2371726"/>
                  <a:gd name="connsiteY0" fmla="*/ 0 h 690563"/>
                  <a:gd name="connsiteX1" fmla="*/ 2162176 w 2371726"/>
                  <a:gd name="connsiteY1" fmla="*/ 1 h 690563"/>
                  <a:gd name="connsiteX2" fmla="*/ 2371725 w 2371726"/>
                  <a:gd name="connsiteY2" fmla="*/ 239714 h 690563"/>
                  <a:gd name="connsiteX3" fmla="*/ 2162176 w 2371726"/>
                  <a:gd name="connsiteY3" fmla="*/ 454026 h 690563"/>
                  <a:gd name="connsiteX4" fmla="*/ 2371726 w 2371726"/>
                  <a:gd name="connsiteY4" fmla="*/ 454026 h 690563"/>
                  <a:gd name="connsiteX5" fmla="*/ 2371725 w 2371726"/>
                  <a:gd name="connsiteY5" fmla="*/ 690563 h 690563"/>
                  <a:gd name="connsiteX6" fmla="*/ 0 w 2371726"/>
                  <a:gd name="connsiteY6" fmla="*/ 690563 h 690563"/>
                  <a:gd name="connsiteX7" fmla="*/ 0 w 2371726"/>
                  <a:gd name="connsiteY7" fmla="*/ 0 h 690563"/>
                  <a:gd name="connsiteX0" fmla="*/ 0 w 2371726"/>
                  <a:gd name="connsiteY0" fmla="*/ 0 h 690563"/>
                  <a:gd name="connsiteX1" fmla="*/ 2162176 w 2371726"/>
                  <a:gd name="connsiteY1" fmla="*/ 1 h 690563"/>
                  <a:gd name="connsiteX2" fmla="*/ 2162176 w 2371726"/>
                  <a:gd name="connsiteY2" fmla="*/ 239714 h 690563"/>
                  <a:gd name="connsiteX3" fmla="*/ 2371725 w 2371726"/>
                  <a:gd name="connsiteY3" fmla="*/ 239714 h 690563"/>
                  <a:gd name="connsiteX4" fmla="*/ 2162176 w 2371726"/>
                  <a:gd name="connsiteY4" fmla="*/ 454026 h 690563"/>
                  <a:gd name="connsiteX5" fmla="*/ 2371726 w 2371726"/>
                  <a:gd name="connsiteY5" fmla="*/ 454026 h 690563"/>
                  <a:gd name="connsiteX6" fmla="*/ 2371725 w 2371726"/>
                  <a:gd name="connsiteY6" fmla="*/ 690563 h 690563"/>
                  <a:gd name="connsiteX7" fmla="*/ 0 w 2371726"/>
                  <a:gd name="connsiteY7" fmla="*/ 690563 h 690563"/>
                  <a:gd name="connsiteX8" fmla="*/ 0 w 2371726"/>
                  <a:gd name="connsiteY8" fmla="*/ 0 h 690563"/>
                  <a:gd name="connsiteX0" fmla="*/ 0 w 2371726"/>
                  <a:gd name="connsiteY0" fmla="*/ 0 h 690563"/>
                  <a:gd name="connsiteX1" fmla="*/ 2162176 w 2371726"/>
                  <a:gd name="connsiteY1" fmla="*/ 1 h 690563"/>
                  <a:gd name="connsiteX2" fmla="*/ 2162176 w 2371726"/>
                  <a:gd name="connsiteY2" fmla="*/ 239714 h 690563"/>
                  <a:gd name="connsiteX3" fmla="*/ 2371725 w 2371726"/>
                  <a:gd name="connsiteY3" fmla="*/ 239714 h 690563"/>
                  <a:gd name="connsiteX4" fmla="*/ 2371726 w 2371726"/>
                  <a:gd name="connsiteY4" fmla="*/ 454026 h 690563"/>
                  <a:gd name="connsiteX5" fmla="*/ 2371725 w 2371726"/>
                  <a:gd name="connsiteY5" fmla="*/ 690563 h 690563"/>
                  <a:gd name="connsiteX6" fmla="*/ 0 w 2371726"/>
                  <a:gd name="connsiteY6" fmla="*/ 690563 h 690563"/>
                  <a:gd name="connsiteX7" fmla="*/ 0 w 2371726"/>
                  <a:gd name="connsiteY7" fmla="*/ 0 h 690563"/>
                  <a:gd name="connsiteX0" fmla="*/ 0 w 2767330"/>
                  <a:gd name="connsiteY0" fmla="*/ 0 h 690563"/>
                  <a:gd name="connsiteX1" fmla="*/ 2162176 w 2767330"/>
                  <a:gd name="connsiteY1" fmla="*/ 1 h 690563"/>
                  <a:gd name="connsiteX2" fmla="*/ 2162176 w 2767330"/>
                  <a:gd name="connsiteY2" fmla="*/ 239714 h 690563"/>
                  <a:gd name="connsiteX3" fmla="*/ 2371725 w 2767330"/>
                  <a:gd name="connsiteY3" fmla="*/ 239714 h 690563"/>
                  <a:gd name="connsiteX4" fmla="*/ 2371726 w 2767330"/>
                  <a:gd name="connsiteY4" fmla="*/ 454026 h 690563"/>
                  <a:gd name="connsiteX5" fmla="*/ 2162176 w 2767330"/>
                  <a:gd name="connsiteY5" fmla="*/ 454026 h 690563"/>
                  <a:gd name="connsiteX6" fmla="*/ 2371725 w 2767330"/>
                  <a:gd name="connsiteY6" fmla="*/ 690563 h 690563"/>
                  <a:gd name="connsiteX7" fmla="*/ 0 w 2767330"/>
                  <a:gd name="connsiteY7" fmla="*/ 690563 h 690563"/>
                  <a:gd name="connsiteX8" fmla="*/ 0 w 2767330"/>
                  <a:gd name="connsiteY8" fmla="*/ 0 h 690563"/>
                  <a:gd name="connsiteX0" fmla="*/ 0 w 2767330"/>
                  <a:gd name="connsiteY0" fmla="*/ 0 h 690563"/>
                  <a:gd name="connsiteX1" fmla="*/ 2162176 w 2767330"/>
                  <a:gd name="connsiteY1" fmla="*/ 1 h 690563"/>
                  <a:gd name="connsiteX2" fmla="*/ 2162176 w 2767330"/>
                  <a:gd name="connsiteY2" fmla="*/ 239714 h 690563"/>
                  <a:gd name="connsiteX3" fmla="*/ 2371725 w 2767330"/>
                  <a:gd name="connsiteY3" fmla="*/ 239714 h 690563"/>
                  <a:gd name="connsiteX4" fmla="*/ 2371726 w 2767330"/>
                  <a:gd name="connsiteY4" fmla="*/ 454026 h 690563"/>
                  <a:gd name="connsiteX5" fmla="*/ 2162176 w 2767330"/>
                  <a:gd name="connsiteY5" fmla="*/ 454026 h 690563"/>
                  <a:gd name="connsiteX6" fmla="*/ 2371725 w 2767330"/>
                  <a:gd name="connsiteY6" fmla="*/ 690563 h 690563"/>
                  <a:gd name="connsiteX7" fmla="*/ 0 w 2767330"/>
                  <a:gd name="connsiteY7" fmla="*/ 690563 h 690563"/>
                  <a:gd name="connsiteX8" fmla="*/ 0 w 2767330"/>
                  <a:gd name="connsiteY8" fmla="*/ 0 h 690563"/>
                  <a:gd name="connsiteX0" fmla="*/ 0 w 2371726"/>
                  <a:gd name="connsiteY0" fmla="*/ 0 h 690563"/>
                  <a:gd name="connsiteX1" fmla="*/ 2162176 w 2371726"/>
                  <a:gd name="connsiteY1" fmla="*/ 1 h 690563"/>
                  <a:gd name="connsiteX2" fmla="*/ 2162176 w 2371726"/>
                  <a:gd name="connsiteY2" fmla="*/ 239714 h 690563"/>
                  <a:gd name="connsiteX3" fmla="*/ 2371725 w 2371726"/>
                  <a:gd name="connsiteY3" fmla="*/ 239714 h 690563"/>
                  <a:gd name="connsiteX4" fmla="*/ 2371726 w 2371726"/>
                  <a:gd name="connsiteY4" fmla="*/ 454026 h 690563"/>
                  <a:gd name="connsiteX5" fmla="*/ 2162176 w 2371726"/>
                  <a:gd name="connsiteY5" fmla="*/ 454026 h 690563"/>
                  <a:gd name="connsiteX6" fmla="*/ 2371725 w 2371726"/>
                  <a:gd name="connsiteY6" fmla="*/ 690563 h 690563"/>
                  <a:gd name="connsiteX7" fmla="*/ 0 w 2371726"/>
                  <a:gd name="connsiteY7" fmla="*/ 690563 h 690563"/>
                  <a:gd name="connsiteX8" fmla="*/ 0 w 2371726"/>
                  <a:gd name="connsiteY8" fmla="*/ 0 h 690563"/>
                  <a:gd name="connsiteX0" fmla="*/ 0 w 2371726"/>
                  <a:gd name="connsiteY0" fmla="*/ 0 h 690564"/>
                  <a:gd name="connsiteX1" fmla="*/ 2162176 w 2371726"/>
                  <a:gd name="connsiteY1" fmla="*/ 1 h 690564"/>
                  <a:gd name="connsiteX2" fmla="*/ 2162176 w 2371726"/>
                  <a:gd name="connsiteY2" fmla="*/ 239714 h 690564"/>
                  <a:gd name="connsiteX3" fmla="*/ 2371725 w 2371726"/>
                  <a:gd name="connsiteY3" fmla="*/ 239714 h 690564"/>
                  <a:gd name="connsiteX4" fmla="*/ 2371726 w 2371726"/>
                  <a:gd name="connsiteY4" fmla="*/ 454026 h 690564"/>
                  <a:gd name="connsiteX5" fmla="*/ 2162176 w 2371726"/>
                  <a:gd name="connsiteY5" fmla="*/ 454026 h 690564"/>
                  <a:gd name="connsiteX6" fmla="*/ 2162176 w 2371726"/>
                  <a:gd name="connsiteY6" fmla="*/ 690564 h 690564"/>
                  <a:gd name="connsiteX7" fmla="*/ 0 w 2371726"/>
                  <a:gd name="connsiteY7" fmla="*/ 690563 h 690564"/>
                  <a:gd name="connsiteX8" fmla="*/ 0 w 2371726"/>
                  <a:gd name="connsiteY8" fmla="*/ 0 h 690564"/>
                  <a:gd name="connsiteX0" fmla="*/ 0 w 2371726"/>
                  <a:gd name="connsiteY0" fmla="*/ 0 h 690564"/>
                  <a:gd name="connsiteX1" fmla="*/ 2257390 w 2371726"/>
                  <a:gd name="connsiteY1" fmla="*/ 1 h 690564"/>
                  <a:gd name="connsiteX2" fmla="*/ 2162176 w 2371726"/>
                  <a:gd name="connsiteY2" fmla="*/ 239714 h 690564"/>
                  <a:gd name="connsiteX3" fmla="*/ 2371725 w 2371726"/>
                  <a:gd name="connsiteY3" fmla="*/ 239714 h 690564"/>
                  <a:gd name="connsiteX4" fmla="*/ 2371726 w 2371726"/>
                  <a:gd name="connsiteY4" fmla="*/ 454026 h 690564"/>
                  <a:gd name="connsiteX5" fmla="*/ 2162176 w 2371726"/>
                  <a:gd name="connsiteY5" fmla="*/ 454026 h 690564"/>
                  <a:gd name="connsiteX6" fmla="*/ 2162176 w 2371726"/>
                  <a:gd name="connsiteY6" fmla="*/ 690564 h 690564"/>
                  <a:gd name="connsiteX7" fmla="*/ 0 w 2371726"/>
                  <a:gd name="connsiteY7" fmla="*/ 690563 h 690564"/>
                  <a:gd name="connsiteX8" fmla="*/ 0 w 2371726"/>
                  <a:gd name="connsiteY8" fmla="*/ 0 h 690564"/>
                  <a:gd name="connsiteX0" fmla="*/ 0 w 2371726"/>
                  <a:gd name="connsiteY0" fmla="*/ 0 h 690563"/>
                  <a:gd name="connsiteX1" fmla="*/ 2257390 w 2371726"/>
                  <a:gd name="connsiteY1" fmla="*/ 1 h 690563"/>
                  <a:gd name="connsiteX2" fmla="*/ 2162176 w 2371726"/>
                  <a:gd name="connsiteY2" fmla="*/ 239714 h 690563"/>
                  <a:gd name="connsiteX3" fmla="*/ 2371725 w 2371726"/>
                  <a:gd name="connsiteY3" fmla="*/ 239714 h 690563"/>
                  <a:gd name="connsiteX4" fmla="*/ 2371726 w 2371726"/>
                  <a:gd name="connsiteY4" fmla="*/ 454026 h 690563"/>
                  <a:gd name="connsiteX5" fmla="*/ 2162176 w 2371726"/>
                  <a:gd name="connsiteY5" fmla="*/ 454026 h 690563"/>
                  <a:gd name="connsiteX6" fmla="*/ 2257390 w 2371726"/>
                  <a:gd name="connsiteY6" fmla="*/ 690563 h 690563"/>
                  <a:gd name="connsiteX7" fmla="*/ 0 w 2371726"/>
                  <a:gd name="connsiteY7" fmla="*/ 690563 h 690563"/>
                  <a:gd name="connsiteX8" fmla="*/ 0 w 2371726"/>
                  <a:gd name="connsiteY8" fmla="*/ 0 h 690563"/>
                  <a:gd name="connsiteX0" fmla="*/ 0 w 2371726"/>
                  <a:gd name="connsiteY0" fmla="*/ 0 h 690563"/>
                  <a:gd name="connsiteX1" fmla="*/ 2257390 w 2371726"/>
                  <a:gd name="connsiteY1" fmla="*/ 1 h 690563"/>
                  <a:gd name="connsiteX2" fmla="*/ 2162176 w 2371726"/>
                  <a:gd name="connsiteY2" fmla="*/ 239714 h 690563"/>
                  <a:gd name="connsiteX3" fmla="*/ 2371725 w 2371726"/>
                  <a:gd name="connsiteY3" fmla="*/ 239714 h 690563"/>
                  <a:gd name="connsiteX4" fmla="*/ 2371726 w 2371726"/>
                  <a:gd name="connsiteY4" fmla="*/ 454026 h 690563"/>
                  <a:gd name="connsiteX5" fmla="*/ 2257390 w 2371726"/>
                  <a:gd name="connsiteY5" fmla="*/ 455739 h 690563"/>
                  <a:gd name="connsiteX6" fmla="*/ 2257390 w 2371726"/>
                  <a:gd name="connsiteY6" fmla="*/ 690563 h 690563"/>
                  <a:gd name="connsiteX7" fmla="*/ 0 w 2371726"/>
                  <a:gd name="connsiteY7" fmla="*/ 690563 h 690563"/>
                  <a:gd name="connsiteX8" fmla="*/ 0 w 2371726"/>
                  <a:gd name="connsiteY8" fmla="*/ 0 h 690563"/>
                  <a:gd name="connsiteX0" fmla="*/ 0 w 2371726"/>
                  <a:gd name="connsiteY0" fmla="*/ 0 h 690563"/>
                  <a:gd name="connsiteX1" fmla="*/ 2257390 w 2371726"/>
                  <a:gd name="connsiteY1" fmla="*/ 1 h 690563"/>
                  <a:gd name="connsiteX2" fmla="*/ 2257390 w 2371726"/>
                  <a:gd name="connsiteY2" fmla="*/ 240878 h 690563"/>
                  <a:gd name="connsiteX3" fmla="*/ 2371725 w 2371726"/>
                  <a:gd name="connsiteY3" fmla="*/ 239714 h 690563"/>
                  <a:gd name="connsiteX4" fmla="*/ 2371726 w 2371726"/>
                  <a:gd name="connsiteY4" fmla="*/ 454026 h 690563"/>
                  <a:gd name="connsiteX5" fmla="*/ 2257390 w 2371726"/>
                  <a:gd name="connsiteY5" fmla="*/ 455739 h 690563"/>
                  <a:gd name="connsiteX6" fmla="*/ 2257390 w 2371726"/>
                  <a:gd name="connsiteY6" fmla="*/ 690563 h 690563"/>
                  <a:gd name="connsiteX7" fmla="*/ 0 w 2371726"/>
                  <a:gd name="connsiteY7" fmla="*/ 690563 h 690563"/>
                  <a:gd name="connsiteX8" fmla="*/ 0 w 2371726"/>
                  <a:gd name="connsiteY8" fmla="*/ 0 h 690563"/>
                  <a:gd name="connsiteX0" fmla="*/ 0 w 2371726"/>
                  <a:gd name="connsiteY0" fmla="*/ 0 h 690563"/>
                  <a:gd name="connsiteX1" fmla="*/ 2216896 w 2371726"/>
                  <a:gd name="connsiteY1" fmla="*/ 0 h 690563"/>
                  <a:gd name="connsiteX2" fmla="*/ 2257390 w 2371726"/>
                  <a:gd name="connsiteY2" fmla="*/ 240878 h 690563"/>
                  <a:gd name="connsiteX3" fmla="*/ 2371725 w 2371726"/>
                  <a:gd name="connsiteY3" fmla="*/ 239714 h 690563"/>
                  <a:gd name="connsiteX4" fmla="*/ 2371726 w 2371726"/>
                  <a:gd name="connsiteY4" fmla="*/ 454026 h 690563"/>
                  <a:gd name="connsiteX5" fmla="*/ 2257390 w 2371726"/>
                  <a:gd name="connsiteY5" fmla="*/ 455739 h 690563"/>
                  <a:gd name="connsiteX6" fmla="*/ 2257390 w 2371726"/>
                  <a:gd name="connsiteY6" fmla="*/ 690563 h 690563"/>
                  <a:gd name="connsiteX7" fmla="*/ 0 w 2371726"/>
                  <a:gd name="connsiteY7" fmla="*/ 690563 h 690563"/>
                  <a:gd name="connsiteX8" fmla="*/ 0 w 2371726"/>
                  <a:gd name="connsiteY8" fmla="*/ 0 h 690563"/>
                  <a:gd name="connsiteX0" fmla="*/ 0 w 2371726"/>
                  <a:gd name="connsiteY0" fmla="*/ 0 h 690563"/>
                  <a:gd name="connsiteX1" fmla="*/ 2216896 w 2371726"/>
                  <a:gd name="connsiteY1" fmla="*/ 0 h 690563"/>
                  <a:gd name="connsiteX2" fmla="*/ 2216896 w 2371726"/>
                  <a:gd name="connsiteY2" fmla="*/ 242886 h 690563"/>
                  <a:gd name="connsiteX3" fmla="*/ 2371725 w 2371726"/>
                  <a:gd name="connsiteY3" fmla="*/ 239714 h 690563"/>
                  <a:gd name="connsiteX4" fmla="*/ 2371726 w 2371726"/>
                  <a:gd name="connsiteY4" fmla="*/ 454026 h 690563"/>
                  <a:gd name="connsiteX5" fmla="*/ 2257390 w 2371726"/>
                  <a:gd name="connsiteY5" fmla="*/ 455739 h 690563"/>
                  <a:gd name="connsiteX6" fmla="*/ 2257390 w 2371726"/>
                  <a:gd name="connsiteY6" fmla="*/ 690563 h 690563"/>
                  <a:gd name="connsiteX7" fmla="*/ 0 w 2371726"/>
                  <a:gd name="connsiteY7" fmla="*/ 690563 h 690563"/>
                  <a:gd name="connsiteX8" fmla="*/ 0 w 2371726"/>
                  <a:gd name="connsiteY8" fmla="*/ 0 h 690563"/>
                  <a:gd name="connsiteX0" fmla="*/ 0 w 2389349"/>
                  <a:gd name="connsiteY0" fmla="*/ 0 h 690563"/>
                  <a:gd name="connsiteX1" fmla="*/ 2216896 w 2389349"/>
                  <a:gd name="connsiteY1" fmla="*/ 0 h 690563"/>
                  <a:gd name="connsiteX2" fmla="*/ 2216896 w 2389349"/>
                  <a:gd name="connsiteY2" fmla="*/ 242886 h 690563"/>
                  <a:gd name="connsiteX3" fmla="*/ 2389349 w 2389349"/>
                  <a:gd name="connsiteY3" fmla="*/ 242886 h 690563"/>
                  <a:gd name="connsiteX4" fmla="*/ 2371726 w 2389349"/>
                  <a:gd name="connsiteY4" fmla="*/ 454026 h 690563"/>
                  <a:gd name="connsiteX5" fmla="*/ 2257390 w 2389349"/>
                  <a:gd name="connsiteY5" fmla="*/ 455739 h 690563"/>
                  <a:gd name="connsiteX6" fmla="*/ 2257390 w 2389349"/>
                  <a:gd name="connsiteY6" fmla="*/ 690563 h 690563"/>
                  <a:gd name="connsiteX7" fmla="*/ 0 w 2389349"/>
                  <a:gd name="connsiteY7" fmla="*/ 690563 h 690563"/>
                  <a:gd name="connsiteX8" fmla="*/ 0 w 2389349"/>
                  <a:gd name="connsiteY8" fmla="*/ 0 h 690563"/>
                  <a:gd name="connsiteX0" fmla="*/ 0 w 2389349"/>
                  <a:gd name="connsiteY0" fmla="*/ 0 h 690563"/>
                  <a:gd name="connsiteX1" fmla="*/ 2216896 w 2389349"/>
                  <a:gd name="connsiteY1" fmla="*/ 0 h 690563"/>
                  <a:gd name="connsiteX2" fmla="*/ 2216896 w 2389349"/>
                  <a:gd name="connsiteY2" fmla="*/ 242886 h 690563"/>
                  <a:gd name="connsiteX3" fmla="*/ 2389349 w 2389349"/>
                  <a:gd name="connsiteY3" fmla="*/ 242886 h 690563"/>
                  <a:gd name="connsiteX4" fmla="*/ 2389349 w 2389349"/>
                  <a:gd name="connsiteY4" fmla="*/ 457029 h 690563"/>
                  <a:gd name="connsiteX5" fmla="*/ 2257390 w 2389349"/>
                  <a:gd name="connsiteY5" fmla="*/ 455739 h 690563"/>
                  <a:gd name="connsiteX6" fmla="*/ 2257390 w 2389349"/>
                  <a:gd name="connsiteY6" fmla="*/ 690563 h 690563"/>
                  <a:gd name="connsiteX7" fmla="*/ 0 w 2389349"/>
                  <a:gd name="connsiteY7" fmla="*/ 690563 h 690563"/>
                  <a:gd name="connsiteX8" fmla="*/ 0 w 2389349"/>
                  <a:gd name="connsiteY8" fmla="*/ 0 h 690563"/>
                  <a:gd name="connsiteX0" fmla="*/ 0 w 2389349"/>
                  <a:gd name="connsiteY0" fmla="*/ 0 h 690563"/>
                  <a:gd name="connsiteX1" fmla="*/ 2216896 w 2389349"/>
                  <a:gd name="connsiteY1" fmla="*/ 0 h 690563"/>
                  <a:gd name="connsiteX2" fmla="*/ 2216896 w 2389349"/>
                  <a:gd name="connsiteY2" fmla="*/ 242886 h 690563"/>
                  <a:gd name="connsiteX3" fmla="*/ 2389349 w 2389349"/>
                  <a:gd name="connsiteY3" fmla="*/ 242886 h 690563"/>
                  <a:gd name="connsiteX4" fmla="*/ 2389349 w 2389349"/>
                  <a:gd name="connsiteY4" fmla="*/ 457029 h 690563"/>
                  <a:gd name="connsiteX5" fmla="*/ 2216895 w 2389349"/>
                  <a:gd name="connsiteY5" fmla="*/ 457029 h 690563"/>
                  <a:gd name="connsiteX6" fmla="*/ 2257390 w 2389349"/>
                  <a:gd name="connsiteY6" fmla="*/ 690563 h 690563"/>
                  <a:gd name="connsiteX7" fmla="*/ 0 w 2389349"/>
                  <a:gd name="connsiteY7" fmla="*/ 690563 h 690563"/>
                  <a:gd name="connsiteX8" fmla="*/ 0 w 2389349"/>
                  <a:gd name="connsiteY8" fmla="*/ 0 h 690563"/>
                  <a:gd name="connsiteX0" fmla="*/ 0 w 2389349"/>
                  <a:gd name="connsiteY0" fmla="*/ 0 h 691158"/>
                  <a:gd name="connsiteX1" fmla="*/ 2216896 w 2389349"/>
                  <a:gd name="connsiteY1" fmla="*/ 0 h 691158"/>
                  <a:gd name="connsiteX2" fmla="*/ 2216896 w 2389349"/>
                  <a:gd name="connsiteY2" fmla="*/ 242886 h 691158"/>
                  <a:gd name="connsiteX3" fmla="*/ 2389349 w 2389349"/>
                  <a:gd name="connsiteY3" fmla="*/ 242886 h 691158"/>
                  <a:gd name="connsiteX4" fmla="*/ 2389349 w 2389349"/>
                  <a:gd name="connsiteY4" fmla="*/ 457029 h 691158"/>
                  <a:gd name="connsiteX5" fmla="*/ 2216895 w 2389349"/>
                  <a:gd name="connsiteY5" fmla="*/ 457029 h 691158"/>
                  <a:gd name="connsiteX6" fmla="*/ 2216895 w 2389349"/>
                  <a:gd name="connsiteY6" fmla="*/ 691158 h 691158"/>
                  <a:gd name="connsiteX7" fmla="*/ 0 w 2389349"/>
                  <a:gd name="connsiteY7" fmla="*/ 690563 h 691158"/>
                  <a:gd name="connsiteX8" fmla="*/ 0 w 2389349"/>
                  <a:gd name="connsiteY8" fmla="*/ 0 h 691158"/>
                  <a:gd name="connsiteX0" fmla="*/ 0 w 2389349"/>
                  <a:gd name="connsiteY0" fmla="*/ 0 h 691158"/>
                  <a:gd name="connsiteX1" fmla="*/ 2216896 w 2389349"/>
                  <a:gd name="connsiteY1" fmla="*/ 0 h 691158"/>
                  <a:gd name="connsiteX2" fmla="*/ 2216896 w 2389349"/>
                  <a:gd name="connsiteY2" fmla="*/ 242886 h 691158"/>
                  <a:gd name="connsiteX3" fmla="*/ 2326452 w 2389349"/>
                  <a:gd name="connsiteY3" fmla="*/ 247692 h 691158"/>
                  <a:gd name="connsiteX4" fmla="*/ 2389349 w 2389349"/>
                  <a:gd name="connsiteY4" fmla="*/ 457029 h 691158"/>
                  <a:gd name="connsiteX5" fmla="*/ 2216895 w 2389349"/>
                  <a:gd name="connsiteY5" fmla="*/ 457029 h 691158"/>
                  <a:gd name="connsiteX6" fmla="*/ 2216895 w 2389349"/>
                  <a:gd name="connsiteY6" fmla="*/ 691158 h 691158"/>
                  <a:gd name="connsiteX7" fmla="*/ 0 w 2389349"/>
                  <a:gd name="connsiteY7" fmla="*/ 690563 h 691158"/>
                  <a:gd name="connsiteX8" fmla="*/ 0 w 2389349"/>
                  <a:gd name="connsiteY8" fmla="*/ 0 h 691158"/>
                  <a:gd name="connsiteX0" fmla="*/ 0 w 2326452"/>
                  <a:gd name="connsiteY0" fmla="*/ 0 h 691158"/>
                  <a:gd name="connsiteX1" fmla="*/ 2216896 w 2326452"/>
                  <a:gd name="connsiteY1" fmla="*/ 0 h 691158"/>
                  <a:gd name="connsiteX2" fmla="*/ 2216896 w 2326452"/>
                  <a:gd name="connsiteY2" fmla="*/ 242886 h 691158"/>
                  <a:gd name="connsiteX3" fmla="*/ 2326452 w 2326452"/>
                  <a:gd name="connsiteY3" fmla="*/ 247692 h 691158"/>
                  <a:gd name="connsiteX4" fmla="*/ 2326452 w 2326452"/>
                  <a:gd name="connsiteY4" fmla="*/ 460408 h 691158"/>
                  <a:gd name="connsiteX5" fmla="*/ 2216895 w 2326452"/>
                  <a:gd name="connsiteY5" fmla="*/ 457029 h 691158"/>
                  <a:gd name="connsiteX6" fmla="*/ 2216895 w 2326452"/>
                  <a:gd name="connsiteY6" fmla="*/ 691158 h 691158"/>
                  <a:gd name="connsiteX7" fmla="*/ 0 w 2326452"/>
                  <a:gd name="connsiteY7" fmla="*/ 690563 h 691158"/>
                  <a:gd name="connsiteX8" fmla="*/ 0 w 2326452"/>
                  <a:gd name="connsiteY8" fmla="*/ 0 h 691158"/>
                  <a:gd name="connsiteX0" fmla="*/ 0 w 2326452"/>
                  <a:gd name="connsiteY0" fmla="*/ 0 h 691158"/>
                  <a:gd name="connsiteX1" fmla="*/ 2216896 w 2326452"/>
                  <a:gd name="connsiteY1" fmla="*/ 0 h 691158"/>
                  <a:gd name="connsiteX2" fmla="*/ 2218026 w 2326452"/>
                  <a:gd name="connsiteY2" fmla="*/ 247692 h 691158"/>
                  <a:gd name="connsiteX3" fmla="*/ 2326452 w 2326452"/>
                  <a:gd name="connsiteY3" fmla="*/ 247692 h 691158"/>
                  <a:gd name="connsiteX4" fmla="*/ 2326452 w 2326452"/>
                  <a:gd name="connsiteY4" fmla="*/ 460408 h 691158"/>
                  <a:gd name="connsiteX5" fmla="*/ 2216895 w 2326452"/>
                  <a:gd name="connsiteY5" fmla="*/ 457029 h 691158"/>
                  <a:gd name="connsiteX6" fmla="*/ 2216895 w 2326452"/>
                  <a:gd name="connsiteY6" fmla="*/ 691158 h 691158"/>
                  <a:gd name="connsiteX7" fmla="*/ 0 w 2326452"/>
                  <a:gd name="connsiteY7" fmla="*/ 690563 h 691158"/>
                  <a:gd name="connsiteX8" fmla="*/ 0 w 2326452"/>
                  <a:gd name="connsiteY8" fmla="*/ 0 h 691158"/>
                  <a:gd name="connsiteX0" fmla="*/ 0 w 2326452"/>
                  <a:gd name="connsiteY0" fmla="*/ 0 h 691158"/>
                  <a:gd name="connsiteX1" fmla="*/ 2216896 w 2326452"/>
                  <a:gd name="connsiteY1" fmla="*/ 0 h 691158"/>
                  <a:gd name="connsiteX2" fmla="*/ 2218026 w 2326452"/>
                  <a:gd name="connsiteY2" fmla="*/ 247692 h 691158"/>
                  <a:gd name="connsiteX3" fmla="*/ 2326452 w 2326452"/>
                  <a:gd name="connsiteY3" fmla="*/ 247692 h 691158"/>
                  <a:gd name="connsiteX4" fmla="*/ 2326452 w 2326452"/>
                  <a:gd name="connsiteY4" fmla="*/ 460408 h 691158"/>
                  <a:gd name="connsiteX5" fmla="*/ 2216895 w 2326452"/>
                  <a:gd name="connsiteY5" fmla="*/ 457029 h 691158"/>
                  <a:gd name="connsiteX6" fmla="*/ 2216895 w 2326452"/>
                  <a:gd name="connsiteY6" fmla="*/ 691158 h 691158"/>
                  <a:gd name="connsiteX7" fmla="*/ 0 w 2326452"/>
                  <a:gd name="connsiteY7" fmla="*/ 690563 h 691158"/>
                  <a:gd name="connsiteX8" fmla="*/ 0 w 2326452"/>
                  <a:gd name="connsiteY8" fmla="*/ 0 h 691158"/>
                  <a:gd name="connsiteX0" fmla="*/ 0 w 2326452"/>
                  <a:gd name="connsiteY0" fmla="*/ 0 h 691158"/>
                  <a:gd name="connsiteX1" fmla="*/ 2216896 w 2326452"/>
                  <a:gd name="connsiteY1" fmla="*/ 0 h 691158"/>
                  <a:gd name="connsiteX2" fmla="*/ 2218026 w 2326452"/>
                  <a:gd name="connsiteY2" fmla="*/ 247692 h 691158"/>
                  <a:gd name="connsiteX3" fmla="*/ 2326452 w 2326452"/>
                  <a:gd name="connsiteY3" fmla="*/ 247692 h 691158"/>
                  <a:gd name="connsiteX4" fmla="*/ 2326452 w 2326452"/>
                  <a:gd name="connsiteY4" fmla="*/ 460408 h 691158"/>
                  <a:gd name="connsiteX5" fmla="*/ 2216895 w 2326452"/>
                  <a:gd name="connsiteY5" fmla="*/ 457029 h 691158"/>
                  <a:gd name="connsiteX6" fmla="*/ 2216895 w 2326452"/>
                  <a:gd name="connsiteY6" fmla="*/ 691158 h 691158"/>
                  <a:gd name="connsiteX7" fmla="*/ 0 w 2326452"/>
                  <a:gd name="connsiteY7" fmla="*/ 690563 h 691158"/>
                  <a:gd name="connsiteX8" fmla="*/ 0 w 2326452"/>
                  <a:gd name="connsiteY8" fmla="*/ 0 h 691158"/>
                  <a:gd name="connsiteX0" fmla="*/ 0 w 2326452"/>
                  <a:gd name="connsiteY0" fmla="*/ 0 h 691158"/>
                  <a:gd name="connsiteX1" fmla="*/ 2216896 w 2326452"/>
                  <a:gd name="connsiteY1" fmla="*/ 0 h 691158"/>
                  <a:gd name="connsiteX2" fmla="*/ 2218026 w 2326452"/>
                  <a:gd name="connsiteY2" fmla="*/ 247692 h 691158"/>
                  <a:gd name="connsiteX3" fmla="*/ 2326452 w 2326452"/>
                  <a:gd name="connsiteY3" fmla="*/ 247692 h 691158"/>
                  <a:gd name="connsiteX4" fmla="*/ 2326452 w 2326452"/>
                  <a:gd name="connsiteY4" fmla="*/ 460408 h 691158"/>
                  <a:gd name="connsiteX5" fmla="*/ 2216895 w 2326452"/>
                  <a:gd name="connsiteY5" fmla="*/ 460408 h 691158"/>
                  <a:gd name="connsiteX6" fmla="*/ 2216895 w 2326452"/>
                  <a:gd name="connsiteY6" fmla="*/ 691158 h 691158"/>
                  <a:gd name="connsiteX7" fmla="*/ 0 w 2326452"/>
                  <a:gd name="connsiteY7" fmla="*/ 690563 h 691158"/>
                  <a:gd name="connsiteX8" fmla="*/ 0 w 2326452"/>
                  <a:gd name="connsiteY8" fmla="*/ 0 h 691158"/>
                  <a:gd name="connsiteX0" fmla="*/ 0 w 2326452"/>
                  <a:gd name="connsiteY0" fmla="*/ 0 h 691158"/>
                  <a:gd name="connsiteX1" fmla="*/ 2216896 w 2326452"/>
                  <a:gd name="connsiteY1" fmla="*/ 0 h 691158"/>
                  <a:gd name="connsiteX2" fmla="*/ 2218026 w 2326452"/>
                  <a:gd name="connsiteY2" fmla="*/ 247692 h 691158"/>
                  <a:gd name="connsiteX3" fmla="*/ 2326452 w 2326452"/>
                  <a:gd name="connsiteY3" fmla="*/ 247692 h 691158"/>
                  <a:gd name="connsiteX4" fmla="*/ 2326452 w 2326452"/>
                  <a:gd name="connsiteY4" fmla="*/ 442059 h 691158"/>
                  <a:gd name="connsiteX5" fmla="*/ 2216895 w 2326452"/>
                  <a:gd name="connsiteY5" fmla="*/ 460408 h 691158"/>
                  <a:gd name="connsiteX6" fmla="*/ 2216895 w 2326452"/>
                  <a:gd name="connsiteY6" fmla="*/ 691158 h 691158"/>
                  <a:gd name="connsiteX7" fmla="*/ 0 w 2326452"/>
                  <a:gd name="connsiteY7" fmla="*/ 690563 h 691158"/>
                  <a:gd name="connsiteX8" fmla="*/ 0 w 2326452"/>
                  <a:gd name="connsiteY8" fmla="*/ 0 h 691158"/>
                  <a:gd name="connsiteX0" fmla="*/ 0 w 2326452"/>
                  <a:gd name="connsiteY0" fmla="*/ 0 h 691158"/>
                  <a:gd name="connsiteX1" fmla="*/ 2216896 w 2326452"/>
                  <a:gd name="connsiteY1" fmla="*/ 0 h 691158"/>
                  <a:gd name="connsiteX2" fmla="*/ 2218026 w 2326452"/>
                  <a:gd name="connsiteY2" fmla="*/ 247692 h 691158"/>
                  <a:gd name="connsiteX3" fmla="*/ 2326452 w 2326452"/>
                  <a:gd name="connsiteY3" fmla="*/ 247692 h 691158"/>
                  <a:gd name="connsiteX4" fmla="*/ 2326452 w 2326452"/>
                  <a:gd name="connsiteY4" fmla="*/ 442059 h 691158"/>
                  <a:gd name="connsiteX5" fmla="*/ 2216895 w 2326452"/>
                  <a:gd name="connsiteY5" fmla="*/ 442059 h 691158"/>
                  <a:gd name="connsiteX6" fmla="*/ 2216895 w 2326452"/>
                  <a:gd name="connsiteY6" fmla="*/ 691158 h 691158"/>
                  <a:gd name="connsiteX7" fmla="*/ 0 w 2326452"/>
                  <a:gd name="connsiteY7" fmla="*/ 690563 h 691158"/>
                  <a:gd name="connsiteX8" fmla="*/ 0 w 2326452"/>
                  <a:gd name="connsiteY8" fmla="*/ 0 h 691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26452" h="691158">
                    <a:moveTo>
                      <a:pt x="0" y="0"/>
                    </a:moveTo>
                    <a:lnTo>
                      <a:pt x="2216896" y="0"/>
                    </a:lnTo>
                    <a:cubicBezTo>
                      <a:pt x="2217273" y="82564"/>
                      <a:pt x="2217649" y="165128"/>
                      <a:pt x="2218026" y="247692"/>
                    </a:cubicBezTo>
                    <a:lnTo>
                      <a:pt x="2326452" y="247692"/>
                    </a:lnTo>
                    <a:lnTo>
                      <a:pt x="2326452" y="442059"/>
                    </a:lnTo>
                    <a:lnTo>
                      <a:pt x="2216895" y="442059"/>
                    </a:lnTo>
                    <a:lnTo>
                      <a:pt x="2216895" y="691158"/>
                    </a:lnTo>
                    <a:lnTo>
                      <a:pt x="0" y="690563"/>
                    </a:lnTo>
                    <a:lnTo>
                      <a:pt x="0" y="0"/>
                    </a:lnTo>
                    <a:close/>
                  </a:path>
                </a:pathLst>
              </a:custGeom>
              <a:solidFill>
                <a:srgbClr val="58A618"/>
              </a:solidFill>
              <a:ln w="12700" cap="flat" cmpd="sng" algn="ctr">
                <a:solidFill>
                  <a:srgbClr val="58A618"/>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685862">
                  <a:buClr>
                    <a:srgbClr val="58A618"/>
                  </a:buClr>
                  <a:defRPr/>
                </a:pPr>
                <a:endParaRPr lang="en-US" kern="0">
                  <a:solidFill>
                    <a:srgbClr val="000000"/>
                  </a:solidFill>
                </a:endParaRPr>
              </a:p>
            </p:txBody>
          </p:sp>
        </p:grpSp>
        <p:grpSp>
          <p:nvGrpSpPr>
            <p:cNvPr id="65" name="Group 64"/>
            <p:cNvGrpSpPr/>
            <p:nvPr/>
          </p:nvGrpSpPr>
          <p:grpSpPr>
            <a:xfrm>
              <a:off x="128472" y="1051586"/>
              <a:ext cx="1317257" cy="5684468"/>
              <a:chOff x="128472" y="1051586"/>
              <a:chExt cx="1317257" cy="5684468"/>
            </a:xfrm>
          </p:grpSpPr>
          <p:sp>
            <p:nvSpPr>
              <p:cNvPr id="99" name="Rounded Rectangle 7"/>
              <p:cNvSpPr/>
              <p:nvPr/>
            </p:nvSpPr>
            <p:spPr bwMode="auto">
              <a:xfrm>
                <a:off x="128472" y="1051586"/>
                <a:ext cx="1317257" cy="859536"/>
              </a:xfrm>
              <a:prstGeom prst="rect">
                <a:avLst/>
              </a:prstGeom>
              <a:gradFill flip="none" rotWithShape="1">
                <a:gsLst>
                  <a:gs pos="0">
                    <a:srgbClr val="000000">
                      <a:lumMod val="75000"/>
                      <a:lumOff val="25000"/>
                    </a:srgbClr>
                  </a:gs>
                  <a:gs pos="100000">
                    <a:srgbClr val="626262"/>
                  </a:gs>
                </a:gsLst>
                <a:lin ang="16200000" scaled="1"/>
                <a:tileRect/>
              </a:gradFill>
              <a:ln>
                <a:noFill/>
                <a:headEnd type="none" w="med" len="med"/>
                <a:tailEnd type="none" w="med" len="med"/>
              </a:ln>
              <a:effectLst/>
              <a:scene3d>
                <a:camera prst="orthographicFront">
                  <a:rot lat="0" lon="0" rev="0"/>
                </a:camera>
                <a:lightRig rig="threePt" dir="t">
                  <a:rot lat="0" lon="0" rev="1200000"/>
                </a:lightRig>
              </a:scene3d>
              <a:sp3d>
                <a:bevelT w="63500" h="25400"/>
              </a:sp3d>
            </p:spPr>
            <p:txBody>
              <a:bodyPr vert="horz" wrap="square" lIns="0" tIns="0" rIns="0" bIns="45720" numCol="1" rtlCol="0" anchor="ctr" anchorCtr="0" compatLnSpc="1">
                <a:prstTxWarp prst="textNoShape">
                  <a:avLst/>
                </a:prstTxWarp>
              </a:bodyPr>
              <a:lstStyle/>
              <a:p>
                <a:pPr algn="ctr" defTabSz="685637">
                  <a:lnSpc>
                    <a:spcPct val="90000"/>
                  </a:lnSpc>
                  <a:defRPr/>
                </a:pPr>
                <a:r>
                  <a:rPr lang="en-US" sz="900" b="1" kern="0" dirty="0">
                    <a:solidFill>
                      <a:srgbClr val="FFFFFF"/>
                    </a:solidFill>
                    <a:latin typeface="Arial" pitchFamily="34" charset="0"/>
                  </a:rPr>
                  <a:t>Administration</a:t>
                </a:r>
              </a:p>
            </p:txBody>
          </p:sp>
          <p:sp>
            <p:nvSpPr>
              <p:cNvPr id="100" name="Rectangle 99"/>
              <p:cNvSpPr/>
              <p:nvPr/>
            </p:nvSpPr>
            <p:spPr bwMode="auto">
              <a:xfrm>
                <a:off x="128472" y="2016572"/>
                <a:ext cx="1317257" cy="859536"/>
              </a:xfrm>
              <a:prstGeom prst="rect">
                <a:avLst/>
              </a:prstGeom>
              <a:gradFill flip="none" rotWithShape="1">
                <a:gsLst>
                  <a:gs pos="0">
                    <a:srgbClr val="000000">
                      <a:lumMod val="75000"/>
                      <a:lumOff val="25000"/>
                    </a:srgbClr>
                  </a:gs>
                  <a:gs pos="100000">
                    <a:srgbClr val="626262"/>
                  </a:gs>
                </a:gsLst>
                <a:lin ang="16200000" scaled="1"/>
                <a:tileRect/>
              </a:gradFill>
              <a:ln>
                <a:noFill/>
                <a:headEnd type="none" w="med" len="med"/>
                <a:tailEnd type="none" w="med" len="med"/>
              </a:ln>
              <a:effectLst/>
              <a:scene3d>
                <a:camera prst="orthographicFront">
                  <a:rot lat="0" lon="0" rev="0"/>
                </a:camera>
                <a:lightRig rig="threePt" dir="t">
                  <a:rot lat="0" lon="0" rev="1200000"/>
                </a:lightRig>
              </a:scene3d>
              <a:sp3d>
                <a:bevelT w="63500" h="25400"/>
              </a:sp3d>
            </p:spPr>
            <p:txBody>
              <a:bodyPr vert="horz" wrap="square" lIns="0" tIns="0" rIns="0" bIns="45720" numCol="1" rtlCol="0" anchor="ctr" anchorCtr="0" compatLnSpc="1">
                <a:prstTxWarp prst="textNoShape">
                  <a:avLst/>
                </a:prstTxWarp>
              </a:bodyPr>
              <a:lstStyle/>
              <a:p>
                <a:pPr algn="ctr" defTabSz="685637">
                  <a:lnSpc>
                    <a:spcPct val="90000"/>
                  </a:lnSpc>
                  <a:defRPr/>
                </a:pPr>
                <a:r>
                  <a:rPr lang="en-US" sz="900" b="1" kern="0">
                    <a:solidFill>
                      <a:srgbClr val="FFFFFF"/>
                    </a:solidFill>
                    <a:latin typeface="Arial" pitchFamily="34" charset="0"/>
                  </a:rPr>
                  <a:t>Orchestration</a:t>
                </a:r>
                <a:endParaRPr lang="en-US" sz="900" b="1" kern="0" dirty="0">
                  <a:solidFill>
                    <a:srgbClr val="FFFFFF"/>
                  </a:solidFill>
                  <a:latin typeface="Arial" pitchFamily="34" charset="0"/>
                </a:endParaRPr>
              </a:p>
            </p:txBody>
          </p:sp>
          <p:sp>
            <p:nvSpPr>
              <p:cNvPr id="101" name="Rectangle 100"/>
              <p:cNvSpPr/>
              <p:nvPr/>
            </p:nvSpPr>
            <p:spPr bwMode="auto">
              <a:xfrm>
                <a:off x="128472" y="2981558"/>
                <a:ext cx="1317257" cy="859536"/>
              </a:xfrm>
              <a:prstGeom prst="rect">
                <a:avLst/>
              </a:prstGeom>
              <a:gradFill flip="none" rotWithShape="1">
                <a:gsLst>
                  <a:gs pos="0">
                    <a:srgbClr val="000000">
                      <a:lumMod val="75000"/>
                      <a:lumOff val="25000"/>
                    </a:srgbClr>
                  </a:gs>
                  <a:gs pos="100000">
                    <a:srgbClr val="626262"/>
                  </a:gs>
                </a:gsLst>
                <a:lin ang="16200000" scaled="1"/>
                <a:tileRect/>
              </a:gradFill>
              <a:ln>
                <a:noFill/>
                <a:headEnd type="none" w="med" len="med"/>
                <a:tailEnd type="none" w="med" len="med"/>
              </a:ln>
              <a:effectLst/>
              <a:scene3d>
                <a:camera prst="orthographicFront">
                  <a:rot lat="0" lon="0" rev="0"/>
                </a:camera>
                <a:lightRig rig="threePt" dir="t">
                  <a:rot lat="0" lon="0" rev="1200000"/>
                </a:lightRig>
              </a:scene3d>
              <a:sp3d>
                <a:bevelT w="63500" h="25400"/>
              </a:sp3d>
            </p:spPr>
            <p:txBody>
              <a:bodyPr vert="horz" wrap="square" lIns="0" tIns="0" rIns="0" bIns="45720" numCol="1" rtlCol="0" anchor="ctr" anchorCtr="0" compatLnSpc="1">
                <a:prstTxWarp prst="textNoShape">
                  <a:avLst/>
                </a:prstTxWarp>
              </a:bodyPr>
              <a:lstStyle/>
              <a:p>
                <a:pPr algn="ctr" defTabSz="685637">
                  <a:lnSpc>
                    <a:spcPct val="90000"/>
                  </a:lnSpc>
                  <a:defRPr/>
                </a:pPr>
                <a:r>
                  <a:rPr lang="en-US" sz="900" b="1" kern="0">
                    <a:solidFill>
                      <a:srgbClr val="FFFFFF"/>
                    </a:solidFill>
                    <a:latin typeface="Arial" pitchFamily="34" charset="0"/>
                  </a:rPr>
                  <a:t>Management</a:t>
                </a:r>
                <a:endParaRPr lang="en-US" sz="900" b="1" kern="0" dirty="0">
                  <a:solidFill>
                    <a:srgbClr val="FFFFFF"/>
                  </a:solidFill>
                  <a:latin typeface="Arial" pitchFamily="34" charset="0"/>
                </a:endParaRPr>
              </a:p>
            </p:txBody>
          </p:sp>
          <p:sp>
            <p:nvSpPr>
              <p:cNvPr id="102" name="Rectangle 101"/>
              <p:cNvSpPr/>
              <p:nvPr/>
            </p:nvSpPr>
            <p:spPr bwMode="auto">
              <a:xfrm>
                <a:off x="128472" y="3946544"/>
                <a:ext cx="1317257" cy="859536"/>
              </a:xfrm>
              <a:prstGeom prst="rect">
                <a:avLst/>
              </a:prstGeom>
              <a:gradFill flip="none" rotWithShape="1">
                <a:gsLst>
                  <a:gs pos="0">
                    <a:srgbClr val="000000">
                      <a:lumMod val="75000"/>
                      <a:lumOff val="25000"/>
                    </a:srgbClr>
                  </a:gs>
                  <a:gs pos="100000">
                    <a:srgbClr val="626262"/>
                  </a:gs>
                </a:gsLst>
                <a:lin ang="16200000" scaled="1"/>
                <a:tileRect/>
              </a:gradFill>
              <a:ln>
                <a:noFill/>
                <a:headEnd type="none" w="med" len="med"/>
                <a:tailEnd type="none" w="med" len="med"/>
              </a:ln>
              <a:effectLst/>
              <a:scene3d>
                <a:camera prst="orthographicFront">
                  <a:rot lat="0" lon="0" rev="0"/>
                </a:camera>
                <a:lightRig rig="threePt" dir="t">
                  <a:rot lat="0" lon="0" rev="1200000"/>
                </a:lightRig>
              </a:scene3d>
              <a:sp3d>
                <a:bevelT w="63500" h="25400"/>
              </a:sp3d>
            </p:spPr>
            <p:txBody>
              <a:bodyPr vert="horz" wrap="square" lIns="0" tIns="0" rIns="0" bIns="45720" numCol="1" rtlCol="0" anchor="ctr" anchorCtr="0" compatLnSpc="1">
                <a:prstTxWarp prst="textNoShape">
                  <a:avLst/>
                </a:prstTxWarp>
              </a:bodyPr>
              <a:lstStyle/>
              <a:p>
                <a:pPr algn="ctr" defTabSz="685637">
                  <a:lnSpc>
                    <a:spcPct val="90000"/>
                  </a:lnSpc>
                  <a:defRPr/>
                </a:pPr>
                <a:r>
                  <a:rPr lang="en-US" sz="900" b="1" kern="0">
                    <a:solidFill>
                      <a:srgbClr val="FFFFFF"/>
                    </a:solidFill>
                    <a:latin typeface="Arial" pitchFamily="34" charset="0"/>
                  </a:rPr>
                  <a:t>Automation</a:t>
                </a:r>
                <a:endParaRPr lang="en-US" sz="900" b="1" kern="0" dirty="0">
                  <a:solidFill>
                    <a:srgbClr val="FFFFFF"/>
                  </a:solidFill>
                  <a:latin typeface="Arial" pitchFamily="34" charset="0"/>
                </a:endParaRPr>
              </a:p>
            </p:txBody>
          </p:sp>
          <p:sp>
            <p:nvSpPr>
              <p:cNvPr id="103" name="Rectangle 102"/>
              <p:cNvSpPr/>
              <p:nvPr/>
            </p:nvSpPr>
            <p:spPr bwMode="auto">
              <a:xfrm>
                <a:off x="128472" y="4911530"/>
                <a:ext cx="1317257" cy="859536"/>
              </a:xfrm>
              <a:prstGeom prst="rect">
                <a:avLst/>
              </a:prstGeom>
              <a:gradFill flip="none" rotWithShape="1">
                <a:gsLst>
                  <a:gs pos="0">
                    <a:srgbClr val="000000">
                      <a:lumMod val="75000"/>
                      <a:lumOff val="25000"/>
                    </a:srgbClr>
                  </a:gs>
                  <a:gs pos="100000">
                    <a:srgbClr val="626262"/>
                  </a:gs>
                </a:gsLst>
                <a:lin ang="16200000" scaled="1"/>
                <a:tileRect/>
              </a:gradFill>
              <a:ln>
                <a:noFill/>
                <a:headEnd type="none" w="med" len="med"/>
                <a:tailEnd type="none" w="med" len="med"/>
              </a:ln>
              <a:effectLst/>
              <a:scene3d>
                <a:camera prst="orthographicFront">
                  <a:rot lat="0" lon="0" rev="0"/>
                </a:camera>
                <a:lightRig rig="threePt" dir="t">
                  <a:rot lat="0" lon="0" rev="1200000"/>
                </a:lightRig>
              </a:scene3d>
              <a:sp3d>
                <a:bevelT w="63500" h="25400"/>
              </a:sp3d>
            </p:spPr>
            <p:txBody>
              <a:bodyPr vert="horz" wrap="square" lIns="0" tIns="0" rIns="0" bIns="45720" numCol="1" rtlCol="0" anchor="ctr" anchorCtr="0" compatLnSpc="1">
                <a:prstTxWarp prst="textNoShape">
                  <a:avLst/>
                </a:prstTxWarp>
              </a:bodyPr>
              <a:lstStyle/>
              <a:p>
                <a:pPr algn="ctr" defTabSz="685637">
                  <a:lnSpc>
                    <a:spcPct val="90000"/>
                  </a:lnSpc>
                  <a:defRPr/>
                </a:pPr>
                <a:r>
                  <a:rPr lang="en-US" sz="900" b="1" kern="0">
                    <a:solidFill>
                      <a:srgbClr val="FFFFFF"/>
                    </a:solidFill>
                    <a:latin typeface="Arial" pitchFamily="34" charset="0"/>
                  </a:rPr>
                  <a:t>Virtualization</a:t>
                </a:r>
                <a:endParaRPr lang="en-US" sz="900" b="1" kern="0" dirty="0">
                  <a:solidFill>
                    <a:srgbClr val="FFFFFF"/>
                  </a:solidFill>
                  <a:latin typeface="Arial" pitchFamily="34" charset="0"/>
                </a:endParaRPr>
              </a:p>
            </p:txBody>
          </p:sp>
          <p:sp>
            <p:nvSpPr>
              <p:cNvPr id="104" name="Rectangle 103"/>
              <p:cNvSpPr/>
              <p:nvPr/>
            </p:nvSpPr>
            <p:spPr bwMode="auto">
              <a:xfrm>
                <a:off x="128472" y="5876518"/>
                <a:ext cx="1317257" cy="859536"/>
              </a:xfrm>
              <a:prstGeom prst="rect">
                <a:avLst/>
              </a:prstGeom>
              <a:gradFill flip="none" rotWithShape="1">
                <a:gsLst>
                  <a:gs pos="0">
                    <a:srgbClr val="000000">
                      <a:lumMod val="75000"/>
                      <a:lumOff val="25000"/>
                    </a:srgbClr>
                  </a:gs>
                  <a:gs pos="100000">
                    <a:srgbClr val="626262"/>
                  </a:gs>
                </a:gsLst>
                <a:lin ang="16200000" scaled="1"/>
                <a:tileRect/>
              </a:gradFill>
              <a:ln>
                <a:noFill/>
                <a:headEnd type="none" w="med" len="med"/>
                <a:tailEnd type="none" w="med" len="med"/>
              </a:ln>
              <a:effectLst/>
              <a:scene3d>
                <a:camera prst="orthographicFront">
                  <a:rot lat="0" lon="0" rev="0"/>
                </a:camera>
                <a:lightRig rig="threePt" dir="t">
                  <a:rot lat="0" lon="0" rev="1200000"/>
                </a:lightRig>
              </a:scene3d>
              <a:sp3d>
                <a:bevelT w="63500" h="25400"/>
              </a:sp3d>
            </p:spPr>
            <p:txBody>
              <a:bodyPr vert="horz" wrap="square" lIns="0" tIns="0" rIns="0" bIns="45720" numCol="1" rtlCol="0" anchor="ctr" anchorCtr="0" compatLnSpc="1">
                <a:prstTxWarp prst="textNoShape">
                  <a:avLst/>
                </a:prstTxWarp>
              </a:bodyPr>
              <a:lstStyle/>
              <a:p>
                <a:pPr algn="ctr" defTabSz="685637">
                  <a:lnSpc>
                    <a:spcPct val="90000"/>
                  </a:lnSpc>
                  <a:defRPr/>
                </a:pPr>
                <a:r>
                  <a:rPr lang="en-US" sz="900" b="1" kern="0">
                    <a:solidFill>
                      <a:srgbClr val="FFFFFF"/>
                    </a:solidFill>
                    <a:latin typeface="Arial" pitchFamily="34" charset="0"/>
                  </a:rPr>
                  <a:t>Hardware</a:t>
                </a:r>
                <a:endParaRPr lang="en-US" sz="900" b="1" kern="0" dirty="0">
                  <a:solidFill>
                    <a:srgbClr val="FFFFFF"/>
                  </a:solidFill>
                  <a:latin typeface="Arial" pitchFamily="34" charset="0"/>
                </a:endParaRPr>
              </a:p>
            </p:txBody>
          </p:sp>
        </p:grpSp>
        <p:grpSp>
          <p:nvGrpSpPr>
            <p:cNvPr id="66" name="Group 65"/>
            <p:cNvGrpSpPr/>
            <p:nvPr/>
          </p:nvGrpSpPr>
          <p:grpSpPr>
            <a:xfrm>
              <a:off x="7399176" y="1051586"/>
              <a:ext cx="1618692" cy="5693923"/>
              <a:chOff x="7463388" y="1051586"/>
              <a:chExt cx="1554480" cy="5693923"/>
            </a:xfrm>
          </p:grpSpPr>
          <p:sp>
            <p:nvSpPr>
              <p:cNvPr id="93" name="Rounded Rectangle 8"/>
              <p:cNvSpPr/>
              <p:nvPr/>
            </p:nvSpPr>
            <p:spPr bwMode="auto">
              <a:xfrm>
                <a:off x="7463388" y="1051586"/>
                <a:ext cx="1554480" cy="859536"/>
              </a:xfrm>
              <a:prstGeom prst="rect">
                <a:avLst/>
              </a:prstGeom>
              <a:gradFill flip="none" rotWithShape="1">
                <a:gsLst>
                  <a:gs pos="0">
                    <a:srgbClr val="A5A5A5">
                      <a:lumMod val="75000"/>
                    </a:srgbClr>
                  </a:gs>
                  <a:gs pos="100000">
                    <a:srgbClr val="626262"/>
                  </a:gs>
                </a:gsLst>
                <a:lin ang="16200000" scaled="1"/>
                <a:tileRect/>
              </a:gradFill>
              <a:ln>
                <a:noFill/>
                <a:headEnd type="none" w="med" len="med"/>
                <a:tailEnd type="none" w="med" len="med"/>
              </a:ln>
              <a:effectLst/>
              <a:scene3d>
                <a:camera prst="orthographicFront">
                  <a:rot lat="0" lon="0" rev="0"/>
                </a:camera>
                <a:lightRig rig="threePt" dir="t">
                  <a:rot lat="0" lon="0" rev="1200000"/>
                </a:lightRig>
              </a:scene3d>
              <a:sp3d>
                <a:bevelT w="63500" h="25400"/>
              </a:sp3d>
            </p:spPr>
            <p:txBody>
              <a:bodyPr vert="horz" wrap="square" lIns="91440" tIns="0" rIns="0" bIns="45720" numCol="1" rtlCol="0" anchor="ctr" anchorCtr="0" compatLnSpc="1">
                <a:prstTxWarp prst="textNoShape">
                  <a:avLst/>
                </a:prstTxWarp>
              </a:bodyPr>
              <a:lstStyle/>
              <a:p>
                <a:pPr defTabSz="685862">
                  <a:lnSpc>
                    <a:spcPct val="95000"/>
                  </a:lnSpc>
                  <a:spcBef>
                    <a:spcPts val="150"/>
                  </a:spcBef>
                  <a:buClr>
                    <a:srgbClr val="58A618"/>
                  </a:buClr>
                  <a:defRPr/>
                </a:pPr>
                <a:r>
                  <a:rPr lang="en-US" sz="800" b="1" kern="0" dirty="0">
                    <a:solidFill>
                      <a:srgbClr val="FFFFFF"/>
                    </a:solidFill>
                    <a:latin typeface="Arial" pitchFamily="34" charset="0"/>
                  </a:rPr>
                  <a:t>CMDB: Fabric state</a:t>
                </a:r>
              </a:p>
              <a:p>
                <a:pPr marL="176228" indent="-176228" defTabSz="685862">
                  <a:lnSpc>
                    <a:spcPct val="95000"/>
                  </a:lnSpc>
                  <a:spcBef>
                    <a:spcPts val="150"/>
                  </a:spcBef>
                  <a:buClr>
                    <a:srgbClr val="58A618"/>
                  </a:buClr>
                  <a:defRPr/>
                </a:pPr>
                <a:r>
                  <a:rPr lang="en-US" sz="800" b="1" kern="0">
                    <a:solidFill>
                      <a:srgbClr val="FFFFFF"/>
                    </a:solidFill>
                    <a:latin typeface="Arial" pitchFamily="34" charset="0"/>
                  </a:rPr>
                  <a:t>UI:	Initiate workflows</a:t>
                </a:r>
                <a:endParaRPr lang="en-US" sz="800" b="1" kern="0" dirty="0">
                  <a:solidFill>
                    <a:srgbClr val="FFFFFF"/>
                  </a:solidFill>
                  <a:latin typeface="Arial" pitchFamily="34" charset="0"/>
                </a:endParaRPr>
              </a:p>
            </p:txBody>
          </p:sp>
          <p:sp>
            <p:nvSpPr>
              <p:cNvPr id="94" name="Rectangle 93"/>
              <p:cNvSpPr/>
              <p:nvPr/>
            </p:nvSpPr>
            <p:spPr bwMode="auto">
              <a:xfrm>
                <a:off x="7463388" y="2018463"/>
                <a:ext cx="1554480" cy="859536"/>
              </a:xfrm>
              <a:prstGeom prst="rect">
                <a:avLst/>
              </a:prstGeom>
              <a:gradFill flip="none" rotWithShape="1">
                <a:gsLst>
                  <a:gs pos="0">
                    <a:srgbClr val="A5A5A5">
                      <a:lumMod val="75000"/>
                    </a:srgbClr>
                  </a:gs>
                  <a:gs pos="100000">
                    <a:srgbClr val="626262"/>
                  </a:gs>
                </a:gsLst>
                <a:lin ang="16200000" scaled="1"/>
                <a:tileRect/>
              </a:gradFill>
              <a:ln>
                <a:noFill/>
                <a:headEnd type="none" w="med" len="med"/>
                <a:tailEnd type="none" w="med" len="med"/>
              </a:ln>
              <a:effectLst/>
              <a:scene3d>
                <a:camera prst="orthographicFront">
                  <a:rot lat="0" lon="0" rev="0"/>
                </a:camera>
                <a:lightRig rig="threePt" dir="t">
                  <a:rot lat="0" lon="0" rev="1200000"/>
                </a:lightRig>
              </a:scene3d>
              <a:sp3d>
                <a:bevelT w="63500" h="25400"/>
              </a:sp3d>
            </p:spPr>
            <p:txBody>
              <a:bodyPr vert="horz" wrap="square" lIns="91440" tIns="0" rIns="0" bIns="45720" numCol="1" rtlCol="0" anchor="ctr" anchorCtr="0" compatLnSpc="1">
                <a:prstTxWarp prst="textNoShape">
                  <a:avLst/>
                </a:prstTxWarp>
              </a:bodyPr>
              <a:lstStyle/>
              <a:p>
                <a:pPr defTabSz="685862">
                  <a:lnSpc>
                    <a:spcPct val="95000"/>
                  </a:lnSpc>
                  <a:buClr>
                    <a:srgbClr val="58A618"/>
                  </a:buClr>
                  <a:defRPr/>
                </a:pPr>
                <a:r>
                  <a:rPr lang="en-US" sz="800" b="1" kern="0">
                    <a:solidFill>
                      <a:srgbClr val="FFFFFF"/>
                    </a:solidFill>
                    <a:latin typeface="Arial" pitchFamily="34" charset="0"/>
                  </a:rPr>
                  <a:t>End-to-end </a:t>
                </a:r>
                <a:br>
                  <a:rPr lang="en-US" sz="800" b="1" kern="0">
                    <a:solidFill>
                      <a:srgbClr val="FFFFFF"/>
                    </a:solidFill>
                    <a:latin typeface="Arial" pitchFamily="34" charset="0"/>
                  </a:rPr>
                </a:br>
                <a:r>
                  <a:rPr lang="en-US" sz="800" b="1" kern="0">
                    <a:solidFill>
                      <a:srgbClr val="FFFFFF"/>
                    </a:solidFill>
                    <a:latin typeface="Arial" pitchFamily="34" charset="0"/>
                  </a:rPr>
                  <a:t>Workflows</a:t>
                </a:r>
                <a:endParaRPr lang="en-US" sz="800" b="1" kern="0" dirty="0">
                  <a:solidFill>
                    <a:srgbClr val="FFFFFF"/>
                  </a:solidFill>
                  <a:latin typeface="Arial" pitchFamily="34" charset="0"/>
                </a:endParaRPr>
              </a:p>
            </p:txBody>
          </p:sp>
          <p:sp>
            <p:nvSpPr>
              <p:cNvPr id="95" name="Rounded Rectangle 19"/>
              <p:cNvSpPr/>
              <p:nvPr/>
            </p:nvSpPr>
            <p:spPr bwMode="auto">
              <a:xfrm>
                <a:off x="7463388" y="2985340"/>
                <a:ext cx="1554480" cy="859536"/>
              </a:xfrm>
              <a:prstGeom prst="rect">
                <a:avLst/>
              </a:prstGeom>
              <a:gradFill flip="none" rotWithShape="1">
                <a:gsLst>
                  <a:gs pos="0">
                    <a:srgbClr val="A5A5A5">
                      <a:lumMod val="75000"/>
                    </a:srgbClr>
                  </a:gs>
                  <a:gs pos="100000">
                    <a:srgbClr val="626262"/>
                  </a:gs>
                </a:gsLst>
                <a:lin ang="16200000" scaled="1"/>
                <a:tileRect/>
              </a:gradFill>
              <a:ln>
                <a:noFill/>
                <a:headEnd type="none" w="med" len="med"/>
                <a:tailEnd type="none" w="med" len="med"/>
              </a:ln>
              <a:effectLst/>
              <a:scene3d>
                <a:camera prst="orthographicFront">
                  <a:rot lat="0" lon="0" rev="0"/>
                </a:camera>
                <a:lightRig rig="threePt" dir="t">
                  <a:rot lat="0" lon="0" rev="1200000"/>
                </a:lightRig>
              </a:scene3d>
              <a:sp3d>
                <a:bevelT w="63500" h="25400"/>
              </a:sp3d>
            </p:spPr>
            <p:txBody>
              <a:bodyPr vert="horz" wrap="square" lIns="91440" tIns="0" rIns="0" bIns="45720" numCol="1" rtlCol="0" anchor="ctr" anchorCtr="0" compatLnSpc="1">
                <a:prstTxWarp prst="textNoShape">
                  <a:avLst/>
                </a:prstTxWarp>
              </a:bodyPr>
              <a:lstStyle/>
              <a:p>
                <a:pPr defTabSz="685862">
                  <a:lnSpc>
                    <a:spcPct val="95000"/>
                  </a:lnSpc>
                  <a:buClr>
                    <a:srgbClr val="58A618"/>
                  </a:buClr>
                  <a:defRPr/>
                </a:pPr>
                <a:r>
                  <a:rPr lang="en-US" sz="800" b="1" kern="0">
                    <a:solidFill>
                      <a:srgbClr val="FFFFFF"/>
                    </a:solidFill>
                    <a:latin typeface="Arial" pitchFamily="34" charset="0"/>
                  </a:rPr>
                  <a:t>Manage Processes </a:t>
                </a:r>
                <a:r>
                  <a:rPr lang="en-US" sz="800" b="1" kern="0" dirty="0">
                    <a:solidFill>
                      <a:srgbClr val="FFFFFF"/>
                    </a:solidFill>
                    <a:latin typeface="Arial" pitchFamily="34" charset="0"/>
                  </a:rPr>
                  <a:t/>
                </a:r>
                <a:br>
                  <a:rPr lang="en-US" sz="800" b="1" kern="0" dirty="0">
                    <a:solidFill>
                      <a:srgbClr val="FFFFFF"/>
                    </a:solidFill>
                    <a:latin typeface="Arial" pitchFamily="34" charset="0"/>
                  </a:rPr>
                </a:br>
                <a:r>
                  <a:rPr lang="en-US" sz="800" b="1" kern="0">
                    <a:solidFill>
                      <a:srgbClr val="FFFFFF"/>
                    </a:solidFill>
                    <a:latin typeface="Arial" pitchFamily="34" charset="0"/>
                  </a:rPr>
                  <a:t>and Operations</a:t>
                </a:r>
                <a:endParaRPr lang="en-US" sz="800" b="1" kern="0" dirty="0">
                  <a:solidFill>
                    <a:srgbClr val="FFFFFF"/>
                  </a:solidFill>
                  <a:latin typeface="Arial" pitchFamily="34" charset="0"/>
                </a:endParaRPr>
              </a:p>
            </p:txBody>
          </p:sp>
          <p:sp>
            <p:nvSpPr>
              <p:cNvPr id="96" name="Rectangle 95"/>
              <p:cNvSpPr/>
              <p:nvPr/>
            </p:nvSpPr>
            <p:spPr bwMode="auto">
              <a:xfrm>
                <a:off x="7463388" y="3952217"/>
                <a:ext cx="1554480" cy="859536"/>
              </a:xfrm>
              <a:prstGeom prst="rect">
                <a:avLst/>
              </a:prstGeom>
              <a:gradFill flip="none" rotWithShape="1">
                <a:gsLst>
                  <a:gs pos="0">
                    <a:srgbClr val="A5A5A5">
                      <a:lumMod val="75000"/>
                    </a:srgbClr>
                  </a:gs>
                  <a:gs pos="100000">
                    <a:srgbClr val="626262"/>
                  </a:gs>
                </a:gsLst>
                <a:lin ang="16200000" scaled="1"/>
                <a:tileRect/>
              </a:gradFill>
              <a:ln>
                <a:noFill/>
                <a:headEnd type="none" w="med" len="med"/>
                <a:tailEnd type="none" w="med" len="med"/>
              </a:ln>
              <a:effectLst/>
              <a:scene3d>
                <a:camera prst="orthographicFront">
                  <a:rot lat="0" lon="0" rev="0"/>
                </a:camera>
                <a:lightRig rig="threePt" dir="t">
                  <a:rot lat="0" lon="0" rev="1200000"/>
                </a:lightRig>
              </a:scene3d>
              <a:sp3d>
                <a:bevelT w="63500" h="25400"/>
              </a:sp3d>
            </p:spPr>
            <p:txBody>
              <a:bodyPr vert="horz" wrap="square" lIns="91440" tIns="0" rIns="0" bIns="45720" numCol="1" rtlCol="0" anchor="ctr" anchorCtr="0" compatLnSpc="1">
                <a:prstTxWarp prst="textNoShape">
                  <a:avLst/>
                </a:prstTxWarp>
              </a:bodyPr>
              <a:lstStyle/>
              <a:p>
                <a:pPr defTabSz="685862">
                  <a:lnSpc>
                    <a:spcPct val="95000"/>
                  </a:lnSpc>
                  <a:buClr>
                    <a:srgbClr val="58A618"/>
                  </a:buClr>
                  <a:defRPr/>
                </a:pPr>
                <a:r>
                  <a:rPr lang="en-US" sz="800" b="1" kern="0">
                    <a:solidFill>
                      <a:srgbClr val="FFFFFF"/>
                    </a:solidFill>
                    <a:latin typeface="Arial" pitchFamily="34" charset="0"/>
                  </a:rPr>
                  <a:t>Centralized </a:t>
                </a:r>
                <a:br>
                  <a:rPr lang="en-US" sz="800" b="1" kern="0">
                    <a:solidFill>
                      <a:srgbClr val="FFFFFF"/>
                    </a:solidFill>
                    <a:latin typeface="Arial" pitchFamily="34" charset="0"/>
                  </a:rPr>
                </a:br>
                <a:r>
                  <a:rPr lang="en-US" sz="800" b="1" kern="0">
                    <a:solidFill>
                      <a:srgbClr val="FFFFFF"/>
                    </a:solidFill>
                    <a:latin typeface="Arial" pitchFamily="34" charset="0"/>
                  </a:rPr>
                  <a:t>Automation and Configuration</a:t>
                </a:r>
                <a:endParaRPr lang="en-US" sz="800" b="1" kern="0" dirty="0">
                  <a:solidFill>
                    <a:srgbClr val="FFFFFF"/>
                  </a:solidFill>
                  <a:latin typeface="Arial" pitchFamily="34" charset="0"/>
                </a:endParaRPr>
              </a:p>
            </p:txBody>
          </p:sp>
          <p:sp>
            <p:nvSpPr>
              <p:cNvPr id="97" name="Rectangle 96"/>
              <p:cNvSpPr/>
              <p:nvPr/>
            </p:nvSpPr>
            <p:spPr bwMode="auto">
              <a:xfrm>
                <a:off x="7463388" y="4919094"/>
                <a:ext cx="1554480" cy="859536"/>
              </a:xfrm>
              <a:prstGeom prst="rect">
                <a:avLst/>
              </a:prstGeom>
              <a:gradFill flip="none" rotWithShape="1">
                <a:gsLst>
                  <a:gs pos="0">
                    <a:srgbClr val="A5A5A5">
                      <a:lumMod val="75000"/>
                    </a:srgbClr>
                  </a:gs>
                  <a:gs pos="100000">
                    <a:srgbClr val="626262"/>
                  </a:gs>
                </a:gsLst>
                <a:lin ang="16200000" scaled="1"/>
                <a:tileRect/>
              </a:gradFill>
              <a:ln>
                <a:noFill/>
                <a:headEnd type="none" w="med" len="med"/>
                <a:tailEnd type="none" w="med" len="med"/>
              </a:ln>
              <a:effectLst/>
              <a:scene3d>
                <a:camera prst="orthographicFront">
                  <a:rot lat="0" lon="0" rev="0"/>
                </a:camera>
                <a:lightRig rig="threePt" dir="t">
                  <a:rot lat="0" lon="0" rev="1200000"/>
                </a:lightRig>
              </a:scene3d>
              <a:sp3d>
                <a:bevelT w="63500" h="25400"/>
              </a:sp3d>
            </p:spPr>
            <p:txBody>
              <a:bodyPr vert="horz" wrap="square" lIns="91440" tIns="0" rIns="0" bIns="45720" numCol="1" rtlCol="0" anchor="ctr" anchorCtr="0" compatLnSpc="1">
                <a:prstTxWarp prst="textNoShape">
                  <a:avLst/>
                </a:prstTxWarp>
              </a:bodyPr>
              <a:lstStyle/>
              <a:p>
                <a:pPr defTabSz="685862">
                  <a:lnSpc>
                    <a:spcPct val="95000"/>
                  </a:lnSpc>
                  <a:buClr>
                    <a:srgbClr val="58A618"/>
                  </a:buClr>
                  <a:defRPr/>
                </a:pPr>
                <a:r>
                  <a:rPr lang="en-US" sz="800" b="1" kern="0" dirty="0">
                    <a:solidFill>
                      <a:srgbClr val="FFFFFF"/>
                    </a:solidFill>
                    <a:latin typeface="Arial" pitchFamily="34" charset="0"/>
                  </a:rPr>
                  <a:t>Virtualization and Resource Pools</a:t>
                </a:r>
              </a:p>
            </p:txBody>
          </p:sp>
          <p:sp>
            <p:nvSpPr>
              <p:cNvPr id="98" name="Rectangle 97"/>
              <p:cNvSpPr/>
              <p:nvPr/>
            </p:nvSpPr>
            <p:spPr bwMode="auto">
              <a:xfrm>
                <a:off x="7463388" y="5885973"/>
                <a:ext cx="1554480" cy="859536"/>
              </a:xfrm>
              <a:prstGeom prst="rect">
                <a:avLst/>
              </a:prstGeom>
              <a:gradFill flip="none" rotWithShape="1">
                <a:gsLst>
                  <a:gs pos="0">
                    <a:srgbClr val="A5A5A5">
                      <a:lumMod val="75000"/>
                    </a:srgbClr>
                  </a:gs>
                  <a:gs pos="100000">
                    <a:srgbClr val="626262"/>
                  </a:gs>
                </a:gsLst>
                <a:lin ang="16200000" scaled="1"/>
                <a:tileRect/>
              </a:gradFill>
              <a:ln>
                <a:noFill/>
                <a:headEnd type="none" w="med" len="med"/>
                <a:tailEnd type="none" w="med" len="med"/>
              </a:ln>
              <a:effectLst/>
              <a:scene3d>
                <a:camera prst="orthographicFront">
                  <a:rot lat="0" lon="0" rev="0"/>
                </a:camera>
                <a:lightRig rig="threePt" dir="t">
                  <a:rot lat="0" lon="0" rev="1200000"/>
                </a:lightRig>
              </a:scene3d>
              <a:sp3d>
                <a:bevelT w="63500" h="25400"/>
              </a:sp3d>
            </p:spPr>
            <p:txBody>
              <a:bodyPr vert="horz" wrap="square" lIns="91440" tIns="0" rIns="0" bIns="45720" numCol="1" rtlCol="0" anchor="ctr" anchorCtr="0" compatLnSpc="1">
                <a:prstTxWarp prst="textNoShape">
                  <a:avLst/>
                </a:prstTxWarp>
              </a:bodyPr>
              <a:lstStyle/>
              <a:p>
                <a:pPr defTabSz="685862">
                  <a:lnSpc>
                    <a:spcPct val="95000"/>
                  </a:lnSpc>
                  <a:buClr>
                    <a:srgbClr val="58A618"/>
                  </a:buClr>
                  <a:defRPr/>
                </a:pPr>
                <a:r>
                  <a:rPr lang="en-US" sz="800" b="1" kern="0" dirty="0">
                    <a:solidFill>
                      <a:srgbClr val="FFFFFF"/>
                    </a:solidFill>
                    <a:latin typeface="Arial" pitchFamily="34" charset="0"/>
                  </a:rPr>
                  <a:t>Management and Provisioning</a:t>
                </a:r>
              </a:p>
            </p:txBody>
          </p:sp>
        </p:grpSp>
        <p:sp>
          <p:nvSpPr>
            <p:cNvPr id="67" name="TextBox 66"/>
            <p:cNvSpPr txBox="1"/>
            <p:nvPr/>
          </p:nvSpPr>
          <p:spPr>
            <a:xfrm>
              <a:off x="4895915" y="1363699"/>
              <a:ext cx="897751" cy="191132"/>
            </a:xfrm>
            <a:prstGeom prst="rect">
              <a:avLst/>
            </a:prstGeom>
            <a:noFill/>
          </p:spPr>
          <p:txBody>
            <a:bodyPr wrap="none" lIns="0" tIns="0" rIns="0" bIns="0" rtlCol="0" anchor="ctr" anchorCtr="0">
              <a:spAutoFit/>
            </a:bodyPr>
            <a:lstStyle/>
            <a:p>
              <a:pPr defTabSz="685862">
                <a:spcBef>
                  <a:spcPts val="300"/>
                </a:spcBef>
                <a:buClr>
                  <a:srgbClr val="58A618"/>
                </a:buClr>
                <a:defRPr/>
              </a:pPr>
              <a:r>
                <a:rPr lang="en-US" sz="800" b="1" kern="0" dirty="0">
                  <a:solidFill>
                    <a:srgbClr val="FFFFFF"/>
                  </a:solidFill>
                </a:rPr>
                <a:t>Sample Scripts</a:t>
              </a:r>
            </a:p>
          </p:txBody>
        </p:sp>
        <p:pic>
          <p:nvPicPr>
            <p:cNvPr id="68" name="Picture 11" descr="C:\Users\PrestoGeorge\Desktop\Policies.gif"/>
            <p:cNvPicPr>
              <a:picLocks noChangeAspect="1" noChangeArrowheads="1"/>
            </p:cNvPicPr>
            <p:nvPr/>
          </p:nvPicPr>
          <p:blipFill>
            <a:blip r:embed="rId2" cstate="print">
              <a:lum bright="5000" contrast="7000"/>
            </a:blip>
            <a:srcRect/>
            <a:stretch>
              <a:fillRect/>
            </a:stretch>
          </p:blipFill>
          <p:spPr bwMode="auto">
            <a:xfrm rot="21153252">
              <a:off x="4301917" y="1215520"/>
              <a:ext cx="387622" cy="480098"/>
            </a:xfrm>
            <a:prstGeom prst="rect">
              <a:avLst/>
            </a:prstGeom>
            <a:noFill/>
            <a:ln w="9525">
              <a:noFill/>
              <a:miter lim="800000"/>
              <a:headEnd/>
              <a:tailEnd/>
            </a:ln>
          </p:spPr>
        </p:pic>
        <p:pic>
          <p:nvPicPr>
            <p:cNvPr id="69" name="Picture 64" descr="Manageability"/>
            <p:cNvPicPr>
              <a:picLocks noChangeAspect="1" noChangeArrowheads="1"/>
            </p:cNvPicPr>
            <p:nvPr/>
          </p:nvPicPr>
          <p:blipFill>
            <a:blip r:embed="rId3" cstate="print"/>
            <a:srcRect/>
            <a:stretch>
              <a:fillRect/>
            </a:stretch>
          </p:blipFill>
          <p:spPr bwMode="auto">
            <a:xfrm>
              <a:off x="4156163" y="5087758"/>
              <a:ext cx="655980" cy="447074"/>
            </a:xfrm>
            <a:prstGeom prst="rect">
              <a:avLst/>
            </a:prstGeom>
            <a:noFill/>
            <a:ln w="9525">
              <a:noFill/>
              <a:miter lim="800000"/>
              <a:headEnd/>
              <a:tailEnd/>
            </a:ln>
          </p:spPr>
        </p:pic>
        <p:pic>
          <p:nvPicPr>
            <p:cNvPr id="70" name="Picture 69" descr="DataONTAP-8.gif"/>
            <p:cNvPicPr>
              <a:picLocks noChangeAspect="1"/>
            </p:cNvPicPr>
            <p:nvPr/>
          </p:nvPicPr>
          <p:blipFill>
            <a:blip r:embed="rId4" cstate="print"/>
            <a:stretch>
              <a:fillRect/>
            </a:stretch>
          </p:blipFill>
          <p:spPr>
            <a:xfrm>
              <a:off x="4251750" y="6033521"/>
              <a:ext cx="490102" cy="482104"/>
            </a:xfrm>
            <a:prstGeom prst="rect">
              <a:avLst/>
            </a:prstGeom>
          </p:spPr>
        </p:pic>
        <p:pic>
          <p:nvPicPr>
            <p:cNvPr id="71" name="Picture 56" descr="software"/>
            <p:cNvPicPr>
              <a:picLocks noChangeAspect="1" noChangeArrowheads="1"/>
            </p:cNvPicPr>
            <p:nvPr/>
          </p:nvPicPr>
          <p:blipFill>
            <a:blip r:embed="rId5" cstate="print">
              <a:lum bright="5000" contrast="3000"/>
            </a:blip>
            <a:srcRect/>
            <a:stretch>
              <a:fillRect/>
            </a:stretch>
          </p:blipFill>
          <p:spPr bwMode="auto">
            <a:xfrm>
              <a:off x="4237435" y="4145280"/>
              <a:ext cx="493438" cy="448254"/>
            </a:xfrm>
            <a:prstGeom prst="rect">
              <a:avLst/>
            </a:prstGeom>
            <a:noFill/>
            <a:ln w="9525">
              <a:noFill/>
              <a:miter lim="800000"/>
              <a:headEnd/>
              <a:tailEnd/>
            </a:ln>
          </p:spPr>
        </p:pic>
        <p:pic>
          <p:nvPicPr>
            <p:cNvPr id="72" name="Picture 1" descr="health"/>
            <p:cNvPicPr>
              <a:picLocks noChangeAspect="1" noChangeArrowheads="1"/>
            </p:cNvPicPr>
            <p:nvPr/>
          </p:nvPicPr>
          <p:blipFill>
            <a:blip r:embed="rId6" cstate="print"/>
            <a:srcRect/>
            <a:stretch>
              <a:fillRect/>
            </a:stretch>
          </p:blipFill>
          <p:spPr bwMode="auto">
            <a:xfrm>
              <a:off x="4212558" y="3220430"/>
              <a:ext cx="543192" cy="386962"/>
            </a:xfrm>
            <a:prstGeom prst="rect">
              <a:avLst/>
            </a:prstGeom>
            <a:noFill/>
            <a:ln w="9525">
              <a:noFill/>
              <a:miter lim="800000"/>
              <a:headEnd/>
              <a:tailEnd/>
            </a:ln>
          </p:spPr>
        </p:pic>
        <p:grpSp>
          <p:nvGrpSpPr>
            <p:cNvPr id="73" name="Group 82"/>
            <p:cNvGrpSpPr/>
            <p:nvPr/>
          </p:nvGrpSpPr>
          <p:grpSpPr>
            <a:xfrm>
              <a:off x="4337016" y="2209892"/>
              <a:ext cx="294274" cy="512722"/>
              <a:chOff x="4903849" y="2256547"/>
              <a:chExt cx="386053" cy="630791"/>
            </a:xfrm>
          </p:grpSpPr>
          <p:sp>
            <p:nvSpPr>
              <p:cNvPr id="91" name="Freeform 38"/>
              <p:cNvSpPr>
                <a:spLocks/>
              </p:cNvSpPr>
              <p:nvPr/>
            </p:nvSpPr>
            <p:spPr bwMode="auto">
              <a:xfrm>
                <a:off x="4906460" y="2256547"/>
                <a:ext cx="383442" cy="243685"/>
              </a:xfrm>
              <a:custGeom>
                <a:avLst/>
                <a:gdLst>
                  <a:gd name="T0" fmla="*/ 0 w 1120"/>
                  <a:gd name="T1" fmla="*/ 0 h 816"/>
                  <a:gd name="T2" fmla="*/ 0 w 1120"/>
                  <a:gd name="T3" fmla="*/ 816 h 816"/>
                  <a:gd name="T4" fmla="*/ 1120 w 1120"/>
                  <a:gd name="T5" fmla="*/ 816 h 816"/>
                  <a:gd name="T6" fmla="*/ 1120 w 1120"/>
                  <a:gd name="T7" fmla="*/ 0 h 816"/>
                  <a:gd name="T8" fmla="*/ 0 60000 65536"/>
                  <a:gd name="T9" fmla="*/ 0 60000 65536"/>
                  <a:gd name="T10" fmla="*/ 0 60000 65536"/>
                  <a:gd name="T11" fmla="*/ 0 60000 65536"/>
                  <a:gd name="T12" fmla="*/ 0 w 1120"/>
                  <a:gd name="T13" fmla="*/ 0 h 816"/>
                  <a:gd name="T14" fmla="*/ 1120 w 1120"/>
                  <a:gd name="T15" fmla="*/ 816 h 816"/>
                </a:gdLst>
                <a:ahLst/>
                <a:cxnLst>
                  <a:cxn ang="T8">
                    <a:pos x="T0" y="T1"/>
                  </a:cxn>
                  <a:cxn ang="T9">
                    <a:pos x="T2" y="T3"/>
                  </a:cxn>
                  <a:cxn ang="T10">
                    <a:pos x="T4" y="T5"/>
                  </a:cxn>
                  <a:cxn ang="T11">
                    <a:pos x="T6" y="T7"/>
                  </a:cxn>
                </a:cxnLst>
                <a:rect l="T12" t="T13" r="T14" b="T15"/>
                <a:pathLst>
                  <a:path w="1120" h="816">
                    <a:moveTo>
                      <a:pt x="0" y="0"/>
                    </a:moveTo>
                    <a:lnTo>
                      <a:pt x="0" y="816"/>
                    </a:lnTo>
                    <a:lnTo>
                      <a:pt x="1120" y="816"/>
                    </a:lnTo>
                    <a:lnTo>
                      <a:pt x="1120" y="0"/>
                    </a:lnTo>
                  </a:path>
                </a:pathLst>
              </a:custGeom>
              <a:noFill/>
              <a:ln w="28575" cap="flat" cmpd="sng">
                <a:solidFill>
                  <a:srgbClr val="FFFFFF"/>
                </a:solidFill>
                <a:prstDash val="solid"/>
                <a:round/>
                <a:headEnd type="none" w="med" len="med"/>
                <a:tailEnd type="triangle" w="med" len="med"/>
              </a:ln>
            </p:spPr>
            <p:txBody>
              <a:bodyPr wrap="none" anchor="ctr"/>
              <a:lstStyle/>
              <a:p>
                <a:pPr algn="ctr" defTabSz="685862">
                  <a:buClr>
                    <a:srgbClr val="58A618"/>
                  </a:buClr>
                  <a:defRPr/>
                </a:pPr>
                <a:endParaRPr lang="en-US" kern="0">
                  <a:solidFill>
                    <a:srgbClr val="000000"/>
                  </a:solidFill>
                </a:endParaRPr>
              </a:p>
            </p:txBody>
          </p:sp>
          <p:sp>
            <p:nvSpPr>
              <p:cNvPr id="92" name="Freeform 39"/>
              <p:cNvSpPr>
                <a:spLocks/>
              </p:cNvSpPr>
              <p:nvPr/>
            </p:nvSpPr>
            <p:spPr bwMode="auto">
              <a:xfrm flipV="1">
                <a:off x="4903849" y="2643653"/>
                <a:ext cx="383442" cy="243685"/>
              </a:xfrm>
              <a:custGeom>
                <a:avLst/>
                <a:gdLst>
                  <a:gd name="T0" fmla="*/ 0 w 1120"/>
                  <a:gd name="T1" fmla="*/ 0 h 816"/>
                  <a:gd name="T2" fmla="*/ 0 w 1120"/>
                  <a:gd name="T3" fmla="*/ 816 h 816"/>
                  <a:gd name="T4" fmla="*/ 1120 w 1120"/>
                  <a:gd name="T5" fmla="*/ 816 h 816"/>
                  <a:gd name="T6" fmla="*/ 1120 w 1120"/>
                  <a:gd name="T7" fmla="*/ 0 h 816"/>
                  <a:gd name="T8" fmla="*/ 0 60000 65536"/>
                  <a:gd name="T9" fmla="*/ 0 60000 65536"/>
                  <a:gd name="T10" fmla="*/ 0 60000 65536"/>
                  <a:gd name="T11" fmla="*/ 0 60000 65536"/>
                  <a:gd name="T12" fmla="*/ 0 w 1120"/>
                  <a:gd name="T13" fmla="*/ 0 h 816"/>
                  <a:gd name="T14" fmla="*/ 1120 w 1120"/>
                  <a:gd name="T15" fmla="*/ 816 h 816"/>
                </a:gdLst>
                <a:ahLst/>
                <a:cxnLst>
                  <a:cxn ang="T8">
                    <a:pos x="T0" y="T1"/>
                  </a:cxn>
                  <a:cxn ang="T9">
                    <a:pos x="T2" y="T3"/>
                  </a:cxn>
                  <a:cxn ang="T10">
                    <a:pos x="T4" y="T5"/>
                  </a:cxn>
                  <a:cxn ang="T11">
                    <a:pos x="T6" y="T7"/>
                  </a:cxn>
                </a:cxnLst>
                <a:rect l="T12" t="T13" r="T14" b="T15"/>
                <a:pathLst>
                  <a:path w="1120" h="816">
                    <a:moveTo>
                      <a:pt x="0" y="0"/>
                    </a:moveTo>
                    <a:lnTo>
                      <a:pt x="0" y="816"/>
                    </a:lnTo>
                    <a:lnTo>
                      <a:pt x="1120" y="816"/>
                    </a:lnTo>
                    <a:lnTo>
                      <a:pt x="1120" y="0"/>
                    </a:lnTo>
                  </a:path>
                </a:pathLst>
              </a:custGeom>
              <a:noFill/>
              <a:ln w="28575" cap="flat" cmpd="sng">
                <a:solidFill>
                  <a:srgbClr val="FFFFFF"/>
                </a:solidFill>
                <a:prstDash val="solid"/>
                <a:round/>
                <a:headEnd type="none" w="med" len="med"/>
                <a:tailEnd type="triangle" w="med" len="med"/>
              </a:ln>
            </p:spPr>
            <p:txBody>
              <a:bodyPr wrap="none" anchor="ctr"/>
              <a:lstStyle/>
              <a:p>
                <a:pPr algn="ctr" defTabSz="685862">
                  <a:buClr>
                    <a:srgbClr val="58A618"/>
                  </a:buClr>
                  <a:defRPr/>
                </a:pPr>
                <a:endParaRPr lang="en-US" kern="0">
                  <a:solidFill>
                    <a:srgbClr val="000000"/>
                  </a:solidFill>
                </a:endParaRPr>
              </a:p>
            </p:txBody>
          </p:sp>
        </p:grpSp>
        <p:pic>
          <p:nvPicPr>
            <p:cNvPr id="74" name="Picture 13" descr="https://mediabank.partners.extranet.microsoft.com/transfer/rad4A8D4/1/SysCnt-OprtnsMgr_h_rgb_r.png"/>
            <p:cNvPicPr>
              <a:picLocks noChangeAspect="1" noChangeArrowheads="1"/>
            </p:cNvPicPr>
            <p:nvPr/>
          </p:nvPicPr>
          <p:blipFill>
            <a:blip r:embed="rId7" cstate="print">
              <a:clrChange>
                <a:clrFrom>
                  <a:srgbClr val="FFFFFF"/>
                </a:clrFrom>
                <a:clrTo>
                  <a:srgbClr val="FFFFFF">
                    <a:alpha val="0"/>
                  </a:srgbClr>
                </a:clrTo>
              </a:clrChange>
            </a:blip>
            <a:srcRect l="448" t="2320"/>
            <a:stretch>
              <a:fillRect/>
            </a:stretch>
          </p:blipFill>
          <p:spPr bwMode="auto">
            <a:xfrm>
              <a:off x="1524799" y="3074918"/>
              <a:ext cx="1788708" cy="339523"/>
            </a:xfrm>
            <a:prstGeom prst="rect">
              <a:avLst/>
            </a:prstGeom>
            <a:noFill/>
            <a:effectLst/>
          </p:spPr>
        </p:pic>
        <p:pic>
          <p:nvPicPr>
            <p:cNvPr id="75" name="Picture 15" descr="https://mediabank.partners.extranet.microsoft.com/transfer/rad4A8D4/2/SysCnt-VrtlMachine_h_rgb_r.png"/>
            <p:cNvPicPr>
              <a:picLocks noChangeAspect="1" noChangeArrowheads="1"/>
            </p:cNvPicPr>
            <p:nvPr/>
          </p:nvPicPr>
          <p:blipFill>
            <a:blip r:embed="rId8" cstate="print">
              <a:clrChange>
                <a:clrFrom>
                  <a:srgbClr val="FFFFFF"/>
                </a:clrFrom>
                <a:clrTo>
                  <a:srgbClr val="FFFFFF">
                    <a:alpha val="0"/>
                  </a:srgbClr>
                </a:clrTo>
              </a:clrChange>
            </a:blip>
            <a:srcRect l="612" t="1807"/>
            <a:stretch>
              <a:fillRect/>
            </a:stretch>
          </p:blipFill>
          <p:spPr bwMode="auto">
            <a:xfrm>
              <a:off x="1917888" y="3405788"/>
              <a:ext cx="1785760" cy="341306"/>
            </a:xfrm>
            <a:prstGeom prst="rect">
              <a:avLst/>
            </a:prstGeom>
            <a:noFill/>
            <a:effectLst/>
          </p:spPr>
        </p:pic>
        <p:pic>
          <p:nvPicPr>
            <p:cNvPr id="76" name="Picture 75" descr="WS08R2-HyperV_h_rgb.png"/>
            <p:cNvPicPr>
              <a:picLocks noChangeAspect="1"/>
            </p:cNvPicPr>
            <p:nvPr/>
          </p:nvPicPr>
          <p:blipFill>
            <a:blip r:embed="rId9" cstate="print"/>
            <a:stretch>
              <a:fillRect/>
            </a:stretch>
          </p:blipFill>
          <p:spPr>
            <a:xfrm>
              <a:off x="1606466" y="5109089"/>
              <a:ext cx="2112529" cy="446360"/>
            </a:xfrm>
            <a:prstGeom prst="rect">
              <a:avLst/>
            </a:prstGeom>
          </p:spPr>
        </p:pic>
        <p:pic>
          <p:nvPicPr>
            <p:cNvPr id="77" name="Picture 2" descr="C:\Users\pross\Documents\Work\Logos\SysCnt-ServiceMgr_h_rgb_r.png"/>
            <p:cNvPicPr>
              <a:picLocks noChangeAspect="1" noChangeArrowheads="1"/>
            </p:cNvPicPr>
            <p:nvPr/>
          </p:nvPicPr>
          <p:blipFill>
            <a:blip r:embed="rId10" cstate="print">
              <a:clrChange>
                <a:clrFrom>
                  <a:srgbClr val="FFFFFF"/>
                </a:clrFrom>
                <a:clrTo>
                  <a:srgbClr val="FFFFFF">
                    <a:alpha val="0"/>
                  </a:srgbClr>
                </a:clrTo>
              </a:clrChange>
            </a:blip>
            <a:stretch>
              <a:fillRect/>
            </a:stretch>
          </p:blipFill>
          <p:spPr bwMode="auto">
            <a:xfrm>
              <a:off x="1643471" y="1298681"/>
              <a:ext cx="2084352" cy="403966"/>
            </a:xfrm>
            <a:prstGeom prst="rect">
              <a:avLst/>
            </a:prstGeom>
            <a:noFill/>
            <a:effectLst/>
            <a:extLst/>
          </p:spPr>
        </p:pic>
        <p:pic>
          <p:nvPicPr>
            <p:cNvPr id="78" name="Picture 2" descr="C:\Documents and Settings\generosa\Desktop\Powershell.jpg"/>
            <p:cNvPicPr>
              <a:picLocks noChangeAspect="1" noChangeArrowheads="1"/>
            </p:cNvPicPr>
            <p:nvPr/>
          </p:nvPicPr>
          <p:blipFill>
            <a:blip r:embed="rId11" cstate="print"/>
            <a:srcRect l="1622" r="2598"/>
            <a:stretch>
              <a:fillRect/>
            </a:stretch>
          </p:blipFill>
          <p:spPr bwMode="auto">
            <a:xfrm>
              <a:off x="1687038" y="4211705"/>
              <a:ext cx="1985010" cy="298988"/>
            </a:xfrm>
            <a:prstGeom prst="rect">
              <a:avLst/>
            </a:prstGeom>
            <a:noFill/>
            <a:effectLst>
              <a:outerShdw blurRad="38100" dist="12700" dir="5400000" algn="t" rotWithShape="0">
                <a:prstClr val="black">
                  <a:alpha val="40000"/>
                </a:prstClr>
              </a:outerShdw>
            </a:effectLst>
          </p:spPr>
        </p:pic>
        <p:grpSp>
          <p:nvGrpSpPr>
            <p:cNvPr id="79" name="Group 74"/>
            <p:cNvGrpSpPr/>
            <p:nvPr/>
          </p:nvGrpSpPr>
          <p:grpSpPr>
            <a:xfrm>
              <a:off x="1655996" y="6055258"/>
              <a:ext cx="2024788" cy="544725"/>
              <a:chOff x="2340020" y="5865702"/>
              <a:chExt cx="2392756" cy="643719"/>
            </a:xfrm>
          </p:grpSpPr>
          <p:sp>
            <p:nvSpPr>
              <p:cNvPr id="86" name="TextBox 85"/>
              <p:cNvSpPr txBox="1"/>
              <p:nvPr/>
            </p:nvSpPr>
            <p:spPr>
              <a:xfrm>
                <a:off x="2887956" y="5865702"/>
                <a:ext cx="1239170" cy="643719"/>
              </a:xfrm>
              <a:prstGeom prst="rect">
                <a:avLst/>
              </a:prstGeom>
              <a:noFill/>
            </p:spPr>
            <p:txBody>
              <a:bodyPr wrap="square" lIns="0" tIns="0" rIns="0" bIns="0" rtlCol="0" anchor="ctr" anchorCtr="0">
                <a:spAutoFit/>
              </a:bodyPr>
              <a:lstStyle/>
              <a:p>
                <a:pPr algn="ctr" defTabSz="685862">
                  <a:lnSpc>
                    <a:spcPct val="95000"/>
                  </a:lnSpc>
                  <a:buClr>
                    <a:srgbClr val="58A618"/>
                  </a:buClr>
                  <a:defRPr/>
                </a:pPr>
                <a:r>
                  <a:rPr lang="en-US" sz="800" b="1" kern="0">
                    <a:solidFill>
                      <a:srgbClr val="1C1C1C"/>
                    </a:solidFill>
                    <a:latin typeface="Arial" pitchFamily="34" charset="0"/>
                  </a:rPr>
                  <a:t>WS-Man</a:t>
                </a:r>
                <a:br>
                  <a:rPr lang="en-US" sz="800" b="1" kern="0">
                    <a:solidFill>
                      <a:srgbClr val="1C1C1C"/>
                    </a:solidFill>
                    <a:latin typeface="Arial" pitchFamily="34" charset="0"/>
                  </a:rPr>
                </a:br>
                <a:r>
                  <a:rPr lang="en-US" sz="800" b="1" kern="0">
                    <a:solidFill>
                      <a:srgbClr val="1C1C1C"/>
                    </a:solidFill>
                    <a:latin typeface="Arial" pitchFamily="34" charset="0"/>
                  </a:rPr>
                  <a:t>PowerShell </a:t>
                </a:r>
                <a:br>
                  <a:rPr lang="en-US" sz="800" b="1" kern="0">
                    <a:solidFill>
                      <a:srgbClr val="1C1C1C"/>
                    </a:solidFill>
                    <a:latin typeface="Arial" pitchFamily="34" charset="0"/>
                  </a:rPr>
                </a:br>
                <a:r>
                  <a:rPr lang="en-US" sz="800" b="1" kern="0">
                    <a:solidFill>
                      <a:srgbClr val="1C1C1C"/>
                    </a:solidFill>
                    <a:latin typeface="Arial" pitchFamily="34" charset="0"/>
                  </a:rPr>
                  <a:t>SMI-S </a:t>
                </a:r>
                <a:r>
                  <a:rPr lang="en-US" sz="800" b="1" kern="0" dirty="0">
                    <a:solidFill>
                      <a:srgbClr val="1C1C1C"/>
                    </a:solidFill>
                    <a:latin typeface="Arial" pitchFamily="34" charset="0"/>
                  </a:rPr>
                  <a:t>Interfaces</a:t>
                </a:r>
              </a:p>
            </p:txBody>
          </p:sp>
          <p:pic>
            <p:nvPicPr>
              <p:cNvPr id="87" name="Picture 11" descr="gigabit_ethernet_switch"/>
              <p:cNvPicPr>
                <a:picLocks noChangeAspect="1" noChangeArrowheads="1"/>
              </p:cNvPicPr>
              <p:nvPr/>
            </p:nvPicPr>
            <p:blipFill>
              <a:blip r:embed="rId12" cstate="print">
                <a:alphaModFix amt="70000"/>
              </a:blip>
              <a:srcRect/>
              <a:stretch>
                <a:fillRect/>
              </a:stretch>
            </p:blipFill>
            <p:spPr bwMode="auto">
              <a:xfrm>
                <a:off x="2694251" y="5874792"/>
                <a:ext cx="286179" cy="269523"/>
              </a:xfrm>
              <a:prstGeom prst="rect">
                <a:avLst/>
              </a:prstGeom>
              <a:noFill/>
              <a:ln w="9525">
                <a:noFill/>
                <a:miter lim="800000"/>
                <a:headEnd/>
                <a:tailEnd/>
              </a:ln>
            </p:spPr>
          </p:pic>
          <p:pic>
            <p:nvPicPr>
              <p:cNvPr id="88" name="Picture 50" descr="router"/>
              <p:cNvPicPr>
                <a:picLocks noChangeAspect="1" noChangeArrowheads="1"/>
              </p:cNvPicPr>
              <p:nvPr/>
            </p:nvPicPr>
            <p:blipFill>
              <a:blip r:embed="rId13" cstate="print">
                <a:alphaModFix amt="70000"/>
              </a:blip>
              <a:srcRect/>
              <a:stretch>
                <a:fillRect/>
              </a:stretch>
            </p:blipFill>
            <p:spPr bwMode="auto">
              <a:xfrm>
                <a:off x="4022649" y="5871822"/>
                <a:ext cx="344888" cy="253797"/>
              </a:xfrm>
              <a:prstGeom prst="rect">
                <a:avLst/>
              </a:prstGeom>
              <a:noFill/>
              <a:ln w="9525">
                <a:noFill/>
                <a:miter lim="800000"/>
                <a:headEnd/>
                <a:tailEnd/>
              </a:ln>
            </p:spPr>
          </p:pic>
          <p:pic>
            <p:nvPicPr>
              <p:cNvPr id="89" name="Picture 5" descr="cylinder_volume"/>
              <p:cNvPicPr>
                <a:picLocks noChangeAspect="1" noChangeArrowheads="1"/>
              </p:cNvPicPr>
              <p:nvPr/>
            </p:nvPicPr>
            <p:blipFill>
              <a:blip r:embed="rId14" cstate="print">
                <a:alphaModFix amt="70000"/>
              </a:blip>
              <a:srcRect r="56494"/>
              <a:stretch>
                <a:fillRect/>
              </a:stretch>
            </p:blipFill>
            <p:spPr bwMode="auto">
              <a:xfrm>
                <a:off x="4434514" y="5996775"/>
                <a:ext cx="298262" cy="402104"/>
              </a:xfrm>
              <a:prstGeom prst="rect">
                <a:avLst/>
              </a:prstGeom>
              <a:noFill/>
              <a:ln w="9525">
                <a:noFill/>
                <a:miter lim="800000"/>
                <a:headEnd/>
                <a:tailEnd/>
              </a:ln>
            </p:spPr>
          </p:pic>
          <p:pic>
            <p:nvPicPr>
              <p:cNvPr id="90" name="Picture 18" descr="generic_server"/>
              <p:cNvPicPr>
                <a:picLocks noChangeAspect="1" noChangeArrowheads="1"/>
              </p:cNvPicPr>
              <p:nvPr/>
            </p:nvPicPr>
            <p:blipFill>
              <a:blip r:embed="rId15" cstate="print">
                <a:alphaModFix amt="70000"/>
              </a:blip>
              <a:srcRect/>
              <a:stretch>
                <a:fillRect/>
              </a:stretch>
            </p:blipFill>
            <p:spPr bwMode="auto">
              <a:xfrm>
                <a:off x="2340020" y="5992203"/>
                <a:ext cx="289750" cy="406679"/>
              </a:xfrm>
              <a:prstGeom prst="rect">
                <a:avLst/>
              </a:prstGeom>
              <a:noFill/>
              <a:ln w="12700">
                <a:noFill/>
                <a:prstDash val="sysDash"/>
                <a:miter lim="800000"/>
                <a:headEnd/>
                <a:tailEnd/>
              </a:ln>
            </p:spPr>
          </p:pic>
        </p:grpSp>
        <p:pic>
          <p:nvPicPr>
            <p:cNvPr id="80" name="Picture 15" descr="https://mediabank.partners.extranet.microsoft.com/transfer/rad4A8D4/2/SysCnt-VrtlMachine_h_rgb_r.png"/>
            <p:cNvPicPr>
              <a:picLocks noChangeAspect="1" noChangeArrowheads="1"/>
            </p:cNvPicPr>
            <p:nvPr/>
          </p:nvPicPr>
          <p:blipFill>
            <a:blip r:embed="rId16" cstate="print">
              <a:clrChange>
                <a:clrFrom>
                  <a:srgbClr val="FFFFFF"/>
                </a:clrFrom>
                <a:clrTo>
                  <a:srgbClr val="FFFFFF">
                    <a:alpha val="0"/>
                  </a:srgbClr>
                </a:clrTo>
              </a:clrChange>
            </a:blip>
            <a:stretch>
              <a:fillRect/>
            </a:stretch>
          </p:blipFill>
          <p:spPr bwMode="auto">
            <a:xfrm>
              <a:off x="1801118" y="2153277"/>
              <a:ext cx="1753272" cy="503381"/>
            </a:xfrm>
            <a:prstGeom prst="rect">
              <a:avLst/>
            </a:prstGeom>
            <a:noFill/>
            <a:effectLst/>
          </p:spPr>
        </p:pic>
        <p:sp>
          <p:nvSpPr>
            <p:cNvPr id="81" name="TextBox 80"/>
            <p:cNvSpPr txBox="1"/>
            <p:nvPr/>
          </p:nvSpPr>
          <p:spPr>
            <a:xfrm>
              <a:off x="4895915" y="2047121"/>
              <a:ext cx="2145381" cy="781516"/>
            </a:xfrm>
            <a:prstGeom prst="rect">
              <a:avLst/>
            </a:prstGeom>
            <a:noFill/>
          </p:spPr>
          <p:txBody>
            <a:bodyPr wrap="none" lIns="0" tIns="0" rIns="0" bIns="0" rtlCol="0" anchor="ctr" anchorCtr="0">
              <a:spAutoFit/>
            </a:bodyPr>
            <a:lstStyle/>
            <a:p>
              <a:pPr defTabSz="685862">
                <a:lnSpc>
                  <a:spcPct val="95000"/>
                </a:lnSpc>
                <a:spcBef>
                  <a:spcPts val="225"/>
                </a:spcBef>
                <a:buClr>
                  <a:srgbClr val="58A618"/>
                </a:buClr>
                <a:defRPr/>
              </a:pPr>
              <a:r>
                <a:rPr lang="en-US" sz="800" b="1" kern="0" dirty="0">
                  <a:solidFill>
                    <a:srgbClr val="FFFFFF"/>
                  </a:solidFill>
                </a:rPr>
                <a:t>Orchestrator Integration Packs</a:t>
              </a:r>
            </a:p>
            <a:p>
              <a:pPr defTabSz="685862">
                <a:lnSpc>
                  <a:spcPct val="95000"/>
                </a:lnSpc>
                <a:spcBef>
                  <a:spcPts val="225"/>
                </a:spcBef>
                <a:buClr>
                  <a:srgbClr val="58A618"/>
                </a:buClr>
                <a:defRPr/>
              </a:pPr>
              <a:r>
                <a:rPr lang="en-US" sz="800" b="1" kern="0" dirty="0" err="1">
                  <a:solidFill>
                    <a:srgbClr val="FFFFFF"/>
                  </a:solidFill>
                </a:rPr>
                <a:t>OnCommand</a:t>
              </a:r>
              <a:r>
                <a:rPr lang="en-US" sz="800" b="1" kern="0" baseline="30000" dirty="0">
                  <a:solidFill>
                    <a:srgbClr val="FFFFFF"/>
                  </a:solidFill>
                </a:rPr>
                <a:t>®</a:t>
              </a:r>
              <a:r>
                <a:rPr lang="en-US" sz="800" b="1" kern="0" dirty="0">
                  <a:solidFill>
                    <a:srgbClr val="FFFFFF"/>
                  </a:solidFill>
                </a:rPr>
                <a:t> Plug-In for Microsoft</a:t>
              </a:r>
            </a:p>
            <a:p>
              <a:pPr defTabSz="685862">
                <a:lnSpc>
                  <a:spcPct val="95000"/>
                </a:lnSpc>
                <a:spcBef>
                  <a:spcPts val="225"/>
                </a:spcBef>
                <a:buClr>
                  <a:srgbClr val="58A618"/>
                </a:buClr>
                <a:defRPr/>
              </a:pPr>
              <a:r>
                <a:rPr lang="en-US" sz="800" b="1" kern="0" dirty="0">
                  <a:solidFill>
                    <a:srgbClr val="FFFFFF"/>
                  </a:solidFill>
                </a:rPr>
                <a:t>UCS Integration Pack for System</a:t>
              </a:r>
              <a:br>
                <a:rPr lang="en-US" sz="800" b="1" kern="0" dirty="0">
                  <a:solidFill>
                    <a:srgbClr val="FFFFFF"/>
                  </a:solidFill>
                </a:rPr>
              </a:br>
              <a:r>
                <a:rPr lang="en-US" sz="800" b="1" kern="0" dirty="0">
                  <a:solidFill>
                    <a:srgbClr val="FFFFFF"/>
                  </a:solidFill>
                </a:rPr>
                <a:t>Center Orchestrator</a:t>
              </a:r>
            </a:p>
          </p:txBody>
        </p:sp>
        <p:sp>
          <p:nvSpPr>
            <p:cNvPr id="82" name="TextBox 81"/>
            <p:cNvSpPr txBox="1"/>
            <p:nvPr/>
          </p:nvSpPr>
          <p:spPr>
            <a:xfrm>
              <a:off x="4895915" y="4118205"/>
              <a:ext cx="1148767" cy="440182"/>
            </a:xfrm>
            <a:prstGeom prst="rect">
              <a:avLst/>
            </a:prstGeom>
            <a:noFill/>
          </p:spPr>
          <p:txBody>
            <a:bodyPr wrap="none" lIns="0" tIns="0" rIns="0" bIns="0" rtlCol="0" anchor="ctr" anchorCtr="0">
              <a:spAutoFit/>
            </a:bodyPr>
            <a:lstStyle/>
            <a:p>
              <a:pPr defTabSz="685862">
                <a:spcBef>
                  <a:spcPts val="300"/>
                </a:spcBef>
                <a:buClr>
                  <a:srgbClr val="58A618"/>
                </a:buClr>
                <a:defRPr/>
              </a:pPr>
              <a:r>
                <a:rPr lang="en-US" sz="800" b="1" kern="0" dirty="0">
                  <a:solidFill>
                    <a:srgbClr val="FFFFFF"/>
                  </a:solidFill>
                </a:rPr>
                <a:t>Data ONTAP</a:t>
              </a:r>
              <a:r>
                <a:rPr lang="en-US" sz="800" b="1" kern="0" baseline="30000" dirty="0">
                  <a:solidFill>
                    <a:srgbClr val="FFFFFF"/>
                  </a:solidFill>
                </a:rPr>
                <a:t> ®</a:t>
              </a:r>
            </a:p>
            <a:p>
              <a:pPr defTabSz="685862">
                <a:spcBef>
                  <a:spcPts val="300"/>
                </a:spcBef>
                <a:buClr>
                  <a:srgbClr val="58A618"/>
                </a:buClr>
                <a:defRPr/>
              </a:pPr>
              <a:r>
                <a:rPr lang="en-US" sz="800" b="1" kern="0" dirty="0">
                  <a:solidFill>
                    <a:srgbClr val="FFFFFF"/>
                  </a:solidFill>
                </a:rPr>
                <a:t>PowerShell Toolkit</a:t>
              </a:r>
            </a:p>
          </p:txBody>
        </p:sp>
        <p:sp>
          <p:nvSpPr>
            <p:cNvPr id="83" name="TextBox 82"/>
            <p:cNvSpPr txBox="1"/>
            <p:nvPr/>
          </p:nvSpPr>
          <p:spPr>
            <a:xfrm>
              <a:off x="4895915" y="4995561"/>
              <a:ext cx="1708385" cy="660563"/>
            </a:xfrm>
            <a:prstGeom prst="rect">
              <a:avLst/>
            </a:prstGeom>
            <a:noFill/>
          </p:spPr>
          <p:txBody>
            <a:bodyPr wrap="none" lIns="0" tIns="0" rIns="0" bIns="0" rtlCol="0" anchor="ctr" anchorCtr="0">
              <a:spAutoFit/>
            </a:bodyPr>
            <a:lstStyle/>
            <a:p>
              <a:pPr defTabSz="685862">
                <a:lnSpc>
                  <a:spcPct val="95000"/>
                </a:lnSpc>
                <a:spcBef>
                  <a:spcPts val="300"/>
                </a:spcBef>
                <a:buClr>
                  <a:srgbClr val="58A618"/>
                </a:buClr>
                <a:defRPr/>
              </a:pPr>
              <a:r>
                <a:rPr lang="en-US" sz="800" b="1" kern="0" dirty="0">
                  <a:solidFill>
                    <a:srgbClr val="FFFFFF"/>
                  </a:solidFill>
                </a:rPr>
                <a:t>SnapDrive</a:t>
              </a:r>
              <a:r>
                <a:rPr lang="en-US" sz="400" b="1" kern="0" baseline="30000" dirty="0">
                  <a:solidFill>
                    <a:srgbClr val="FFFFFF"/>
                  </a:solidFill>
                </a:rPr>
                <a:t> </a:t>
              </a:r>
              <a:r>
                <a:rPr lang="en-US" sz="800" b="1" kern="0" baseline="30000" dirty="0">
                  <a:solidFill>
                    <a:srgbClr val="FFFFFF"/>
                  </a:solidFill>
                </a:rPr>
                <a:t>®</a:t>
              </a:r>
              <a:r>
                <a:rPr lang="en-US" sz="800" b="1" kern="0" dirty="0">
                  <a:solidFill>
                    <a:srgbClr val="FFFFFF"/>
                  </a:solidFill>
                </a:rPr>
                <a:t> for Windows </a:t>
              </a:r>
            </a:p>
            <a:p>
              <a:pPr defTabSz="685862">
                <a:lnSpc>
                  <a:spcPct val="95000"/>
                </a:lnSpc>
                <a:spcBef>
                  <a:spcPts val="300"/>
                </a:spcBef>
                <a:buClr>
                  <a:srgbClr val="58A618"/>
                </a:buClr>
                <a:defRPr/>
              </a:pPr>
              <a:r>
                <a:rPr lang="en-US" sz="800" b="1" kern="0">
                  <a:solidFill>
                    <a:srgbClr val="FFFFFF"/>
                  </a:solidFill>
                </a:rPr>
                <a:t>SnapManager</a:t>
              </a:r>
              <a:r>
                <a:rPr lang="en-US" sz="800" b="1" kern="0" baseline="30000">
                  <a:solidFill>
                    <a:srgbClr val="FFFFFF"/>
                  </a:solidFill>
                </a:rPr>
                <a:t> ®</a:t>
              </a:r>
              <a:r>
                <a:rPr lang="en-US" sz="800" b="1" kern="0">
                  <a:solidFill>
                    <a:srgbClr val="FFFFFF"/>
                  </a:solidFill>
                </a:rPr>
                <a:t> for Hyper-V</a:t>
              </a:r>
            </a:p>
            <a:p>
              <a:pPr defTabSz="685862">
                <a:lnSpc>
                  <a:spcPct val="95000"/>
                </a:lnSpc>
                <a:spcBef>
                  <a:spcPts val="300"/>
                </a:spcBef>
                <a:buClr>
                  <a:srgbClr val="58A618"/>
                </a:buClr>
                <a:defRPr/>
              </a:pPr>
              <a:r>
                <a:rPr lang="en-US" sz="800" b="1" kern="0">
                  <a:solidFill>
                    <a:srgbClr val="FFFFFF"/>
                  </a:solidFill>
                </a:rPr>
                <a:t>Cisco UCS Service Profiles</a:t>
              </a:r>
              <a:endParaRPr lang="en-US" sz="800" b="1" kern="0" dirty="0">
                <a:solidFill>
                  <a:srgbClr val="FFFFFF"/>
                </a:solidFill>
              </a:endParaRPr>
            </a:p>
          </p:txBody>
        </p:sp>
        <p:sp>
          <p:nvSpPr>
            <p:cNvPr id="84" name="TextBox 83"/>
            <p:cNvSpPr txBox="1"/>
            <p:nvPr/>
          </p:nvSpPr>
          <p:spPr>
            <a:xfrm>
              <a:off x="4895915" y="6077996"/>
              <a:ext cx="891845" cy="440182"/>
            </a:xfrm>
            <a:prstGeom prst="rect">
              <a:avLst/>
            </a:prstGeom>
            <a:noFill/>
          </p:spPr>
          <p:txBody>
            <a:bodyPr wrap="none" lIns="0" tIns="0" rIns="0" bIns="0" rtlCol="0" anchor="ctr" anchorCtr="0">
              <a:spAutoFit/>
            </a:bodyPr>
            <a:lstStyle/>
            <a:p>
              <a:pPr defTabSz="685862">
                <a:spcBef>
                  <a:spcPts val="300"/>
                </a:spcBef>
                <a:buClr>
                  <a:srgbClr val="58A618"/>
                </a:buClr>
                <a:defRPr/>
              </a:pPr>
              <a:r>
                <a:rPr lang="en-US" sz="800" b="1" kern="0" dirty="0">
                  <a:solidFill>
                    <a:srgbClr val="FFFFFF"/>
                  </a:solidFill>
                </a:rPr>
                <a:t>Data ONTAP</a:t>
              </a:r>
              <a:r>
                <a:rPr lang="en-US" sz="400" b="1" kern="0" baseline="30000" dirty="0">
                  <a:solidFill>
                    <a:srgbClr val="FFFFFF"/>
                  </a:solidFill>
                </a:rPr>
                <a:t> </a:t>
              </a:r>
              <a:r>
                <a:rPr lang="en-US" sz="800" b="1" kern="0" baseline="30000" dirty="0">
                  <a:solidFill>
                    <a:srgbClr val="FFFFFF"/>
                  </a:solidFill>
                </a:rPr>
                <a:t>®</a:t>
              </a:r>
              <a:r>
                <a:rPr lang="en-US" sz="800" b="1" kern="0" dirty="0">
                  <a:solidFill>
                    <a:srgbClr val="FFFFFF"/>
                  </a:solidFill>
                </a:rPr>
                <a:t> </a:t>
              </a:r>
            </a:p>
            <a:p>
              <a:pPr defTabSz="685862">
                <a:spcBef>
                  <a:spcPts val="300"/>
                </a:spcBef>
                <a:buClr>
                  <a:srgbClr val="58A618"/>
                </a:buClr>
                <a:defRPr/>
              </a:pPr>
              <a:r>
                <a:rPr lang="en-US" sz="800" b="1" kern="0" dirty="0">
                  <a:solidFill>
                    <a:srgbClr val="FFFFFF"/>
                  </a:solidFill>
                </a:rPr>
                <a:t>Cisco UCS</a:t>
              </a:r>
            </a:p>
          </p:txBody>
        </p:sp>
        <p:sp>
          <p:nvSpPr>
            <p:cNvPr id="85" name="TextBox 84"/>
            <p:cNvSpPr txBox="1"/>
            <p:nvPr/>
          </p:nvSpPr>
          <p:spPr>
            <a:xfrm>
              <a:off x="4880675" y="2936172"/>
              <a:ext cx="2387605" cy="951314"/>
            </a:xfrm>
            <a:prstGeom prst="rect">
              <a:avLst/>
            </a:prstGeom>
            <a:noFill/>
          </p:spPr>
          <p:txBody>
            <a:bodyPr wrap="none" lIns="0" tIns="0" rIns="0" bIns="0" rtlCol="0" anchor="ctr" anchorCtr="0">
              <a:spAutoFit/>
            </a:bodyPr>
            <a:lstStyle/>
            <a:p>
              <a:pPr defTabSz="685862">
                <a:lnSpc>
                  <a:spcPct val="95000"/>
                </a:lnSpc>
                <a:spcBef>
                  <a:spcPts val="75"/>
                </a:spcBef>
                <a:buClr>
                  <a:srgbClr val="58A618"/>
                </a:buClr>
                <a:defRPr/>
              </a:pPr>
              <a:r>
                <a:rPr lang="en-US" sz="800" b="1" kern="0" dirty="0">
                  <a:solidFill>
                    <a:srgbClr val="FFFFFF"/>
                  </a:solidFill>
                </a:rPr>
                <a:t>Management Packs • SCVMM PRO Tips</a:t>
              </a:r>
            </a:p>
            <a:p>
              <a:pPr defTabSz="685862">
                <a:lnSpc>
                  <a:spcPct val="95000"/>
                </a:lnSpc>
                <a:spcBef>
                  <a:spcPts val="75"/>
                </a:spcBef>
                <a:buClr>
                  <a:srgbClr val="58A618"/>
                </a:buClr>
                <a:defRPr/>
              </a:pPr>
              <a:r>
                <a:rPr lang="en-US" sz="800" b="1" kern="0" dirty="0" err="1">
                  <a:solidFill>
                    <a:srgbClr val="FFFFFF"/>
                  </a:solidFill>
                </a:rPr>
                <a:t>OnCommand</a:t>
              </a:r>
              <a:r>
                <a:rPr lang="en-US" sz="800" b="1" kern="0" dirty="0">
                  <a:solidFill>
                    <a:srgbClr val="FFFFFF"/>
                  </a:solidFill>
                </a:rPr>
                <a:t> Plug-In for Microsoft</a:t>
              </a:r>
            </a:p>
            <a:p>
              <a:pPr defTabSz="685862">
                <a:lnSpc>
                  <a:spcPct val="95000"/>
                </a:lnSpc>
                <a:spcBef>
                  <a:spcPts val="75"/>
                </a:spcBef>
                <a:buClr>
                  <a:srgbClr val="58A618"/>
                </a:buClr>
                <a:defRPr/>
              </a:pPr>
              <a:r>
                <a:rPr lang="en-US" sz="800" b="1" kern="0" dirty="0">
                  <a:solidFill>
                    <a:srgbClr val="FFFFFF"/>
                  </a:solidFill>
                </a:rPr>
                <a:t>UCS Management Pack for System </a:t>
              </a:r>
              <a:br>
                <a:rPr lang="en-US" sz="800" b="1" kern="0" dirty="0">
                  <a:solidFill>
                    <a:srgbClr val="FFFFFF"/>
                  </a:solidFill>
                </a:rPr>
              </a:br>
              <a:r>
                <a:rPr lang="en-US" sz="800" b="1" kern="0" dirty="0">
                  <a:solidFill>
                    <a:srgbClr val="FFFFFF"/>
                  </a:solidFill>
                </a:rPr>
                <a:t>Center Operations Manager</a:t>
              </a:r>
            </a:p>
            <a:p>
              <a:pPr defTabSz="685862">
                <a:lnSpc>
                  <a:spcPct val="95000"/>
                </a:lnSpc>
                <a:spcBef>
                  <a:spcPts val="75"/>
                </a:spcBef>
                <a:buClr>
                  <a:srgbClr val="58A618"/>
                </a:buClr>
                <a:defRPr/>
              </a:pPr>
              <a:r>
                <a:rPr lang="en-US" sz="800" b="1" kern="0" dirty="0">
                  <a:solidFill>
                    <a:srgbClr val="FFFFFF"/>
                  </a:solidFill>
                </a:rPr>
                <a:t>PowerShell Tool Kit</a:t>
              </a:r>
            </a:p>
          </p:txBody>
        </p:sp>
      </p:grpSp>
      <p:sp>
        <p:nvSpPr>
          <p:cNvPr id="58"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59"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7"/>
              </a:rPr>
              <a:t>www.rapidbbs.cn</a:t>
            </a:r>
            <a:endParaRPr lang="zh-CN" altLang="en-US" sz="1200" b="0">
              <a:latin typeface="Arial" charset="0"/>
              <a:ea typeface="ＭＳ Ｐゴシック" pitchFamily="34" charset="-128"/>
            </a:endParaRPr>
          </a:p>
        </p:txBody>
      </p:sp>
      <p:pic>
        <p:nvPicPr>
          <p:cNvPr id="60" name="Picture 2">
            <a:hlinkClick r:id="rId17"/>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2322449"/>
      </p:ext>
    </p:extLst>
  </p:cSld>
  <p:clrMapOvr>
    <a:masterClrMapping/>
  </p:clrMapOvr>
  <p:transition>
    <p:fade/>
  </p:transition>
  <p:timing>
    <p:tnLst>
      <p:par>
        <p:cTn id="1" dur="indefinite" restart="never" nodeType="tmRoot"/>
      </p:par>
    </p:tnLst>
  </p:timing>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p:cNvSpPr/>
          <p:nvPr/>
        </p:nvSpPr>
        <p:spPr>
          <a:xfrm>
            <a:off x="2019481" y="1134609"/>
            <a:ext cx="3467156" cy="3158860"/>
          </a:xfrm>
          <a:prstGeom prst="rect">
            <a:avLst/>
          </a:prstGeom>
          <a:solidFill>
            <a:schemeClr val="bg2"/>
          </a:solidFill>
          <a:ln w="25400" cap="flat" cmpd="sng" algn="ctr">
            <a:noFill/>
            <a:prstDash val="solid"/>
            <a:headEnd type="none" w="med" len="med"/>
            <a:tailEnd type="none" w="med" len="med"/>
          </a:ln>
          <a:effectLst/>
        </p:spPr>
        <p:txBody>
          <a:bodyPr vert="horz" wrap="square" lIns="0" tIns="0" rIns="68586" bIns="0" numCol="1" rtlCol="0" anchor="t" anchorCtr="0" compatLnSpc="1">
            <a:prstTxWarp prst="textNoShape">
              <a:avLst/>
            </a:prstTxWarp>
          </a:bodyPr>
          <a:lstStyle/>
          <a:p>
            <a:pPr algn="r"/>
            <a:endParaRPr lang="en-US" sz="1500" dirty="0">
              <a:latin typeface="+mj-lt"/>
            </a:endParaRPr>
          </a:p>
          <a:p>
            <a:pPr algn="r"/>
            <a:endParaRPr lang="en-US" sz="1500" dirty="0">
              <a:latin typeface="+mj-lt"/>
            </a:endParaRPr>
          </a:p>
          <a:p>
            <a:pPr algn="r"/>
            <a:endParaRPr lang="en-US" sz="1500" dirty="0">
              <a:latin typeface="+mj-lt"/>
            </a:endParaRPr>
          </a:p>
          <a:p>
            <a:pPr algn="r"/>
            <a:endParaRPr lang="en-US" sz="1500" dirty="0">
              <a:latin typeface="+mj-lt"/>
            </a:endParaRPr>
          </a:p>
          <a:p>
            <a:pPr algn="r"/>
            <a:endParaRPr lang="en-US" sz="1500" dirty="0">
              <a:latin typeface="+mj-lt"/>
            </a:endParaRPr>
          </a:p>
          <a:p>
            <a:pPr algn="r"/>
            <a:endParaRPr lang="en-US" sz="1500" dirty="0">
              <a:latin typeface="+mj-lt"/>
            </a:endParaRPr>
          </a:p>
          <a:p>
            <a:pPr algn="r"/>
            <a:endParaRPr lang="en-US" sz="1500" dirty="0">
              <a:latin typeface="+mj-lt"/>
            </a:endParaRPr>
          </a:p>
          <a:p>
            <a:pPr algn="r"/>
            <a:endParaRPr lang="en-US" sz="1500" dirty="0">
              <a:latin typeface="+mj-lt"/>
            </a:endParaRPr>
          </a:p>
          <a:p>
            <a:pPr algn="r"/>
            <a:endParaRPr lang="en-US" sz="1500" dirty="0">
              <a:latin typeface="+mj-lt"/>
            </a:endParaRPr>
          </a:p>
          <a:p>
            <a:pPr algn="r"/>
            <a:endParaRPr lang="en-US" sz="1500" dirty="0">
              <a:latin typeface="+mj-lt"/>
            </a:endParaRPr>
          </a:p>
          <a:p>
            <a:pPr algn="r"/>
            <a:endParaRPr lang="en-US" sz="1500" dirty="0">
              <a:latin typeface="+mj-lt"/>
            </a:endParaRPr>
          </a:p>
          <a:p>
            <a:pPr marL="171466"/>
            <a:r>
              <a:rPr lang="en-US" sz="1500" dirty="0">
                <a:latin typeface="+mj-lt"/>
              </a:rPr>
              <a:t>Windows Server Instances Install Base </a:t>
            </a:r>
            <a:br>
              <a:rPr lang="en-US" sz="1500" dirty="0">
                <a:latin typeface="+mj-lt"/>
              </a:rPr>
            </a:br>
            <a:r>
              <a:rPr lang="en-US" sz="1500" dirty="0">
                <a:latin typeface="+mj-lt"/>
              </a:rPr>
              <a:t>(Physical + Virtual)</a:t>
            </a:r>
          </a:p>
        </p:txBody>
      </p:sp>
      <p:pic>
        <p:nvPicPr>
          <p:cNvPr id="4098"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15112" r="18371"/>
          <a:stretch/>
        </p:blipFill>
        <p:spPr bwMode="auto">
          <a:xfrm>
            <a:off x="2559229" y="1219891"/>
            <a:ext cx="2375723" cy="23824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itle 12"/>
          <p:cNvSpPr>
            <a:spLocks noGrp="1"/>
          </p:cNvSpPr>
          <p:nvPr>
            <p:ph type="title"/>
          </p:nvPr>
        </p:nvSpPr>
        <p:spPr>
          <a:xfrm>
            <a:off x="396043" y="164856"/>
            <a:ext cx="8363938" cy="457049"/>
          </a:xfrm>
        </p:spPr>
        <p:txBody>
          <a:bodyPr/>
          <a:lstStyle/>
          <a:p>
            <a:r>
              <a:rPr lang="en-US" dirty="0"/>
              <a:t>Hosting </a:t>
            </a:r>
            <a:r>
              <a:rPr lang="en-US" dirty="0" smtClean="0"/>
              <a:t>Leads The Shift to Cloud</a:t>
            </a:r>
            <a:endParaRPr lang="en-US" sz="4100" dirty="0">
              <a:solidFill>
                <a:schemeClr val="accent3">
                  <a:alpha val="99000"/>
                </a:schemeClr>
              </a:solidFill>
              <a:ea typeface="Segoe UI" pitchFamily="34" charset="0"/>
              <a:cs typeface="Segoe UI" pitchFamily="34" charset="0"/>
            </a:endParaRPr>
          </a:p>
        </p:txBody>
      </p:sp>
      <p:sp>
        <p:nvSpPr>
          <p:cNvPr id="38" name="TextBox 37"/>
          <p:cNvSpPr txBox="1"/>
          <p:nvPr/>
        </p:nvSpPr>
        <p:spPr>
          <a:xfrm>
            <a:off x="93970" y="4843635"/>
            <a:ext cx="4677993" cy="223146"/>
          </a:xfrm>
          <a:prstGeom prst="rect">
            <a:avLst/>
          </a:prstGeom>
          <a:noFill/>
        </p:spPr>
        <p:txBody>
          <a:bodyPr wrap="square" lIns="68586" tIns="34294" rIns="68586" bIns="34294" rtlCol="0">
            <a:spAutoFit/>
          </a:bodyPr>
          <a:lstStyle>
            <a:defPPr>
              <a:defRPr lang="en-US"/>
            </a:defPPr>
            <a:lvl1pPr lvl="0" algn="r" defTabSz="914325">
              <a:defRPr sz="1000" kern="0">
                <a:solidFill>
                  <a:srgbClr val="FFFFFF">
                    <a:lumMod val="65000"/>
                    <a:lumOff val="35000"/>
                  </a:srgbClr>
                </a:solidFill>
              </a:defRPr>
            </a:lvl1pPr>
          </a:lstStyle>
          <a:p>
            <a:pPr algn="l"/>
            <a:r>
              <a:rPr lang="en-US" dirty="0"/>
              <a:t> Source: Microsoft, Spring 2012</a:t>
            </a:r>
          </a:p>
        </p:txBody>
      </p:sp>
      <p:sp>
        <p:nvSpPr>
          <p:cNvPr id="24" name="Rectangle 23"/>
          <p:cNvSpPr/>
          <p:nvPr/>
        </p:nvSpPr>
        <p:spPr>
          <a:xfrm>
            <a:off x="6001599" y="2750419"/>
            <a:ext cx="1828800" cy="1543050"/>
          </a:xfrm>
          <a:prstGeom prst="rect">
            <a:avLst/>
          </a:prstGeom>
          <a:solidFill>
            <a:schemeClr val="accent5"/>
          </a:solidFill>
          <a:ln w="25400" cap="flat" cmpd="sng" algn="ctr">
            <a:noFill/>
            <a:prstDash val="solid"/>
            <a:headEnd type="none" w="med" len="med"/>
            <a:tailEnd type="none" w="med" len="med"/>
          </a:ln>
          <a:effectLst/>
        </p:spPr>
        <p:txBody>
          <a:bodyPr vert="horz" wrap="square" lIns="0" tIns="0" rIns="68586" bIns="0" numCol="1" rtlCol="0" anchor="ctr" anchorCtr="0" compatLnSpc="1">
            <a:prstTxWarp prst="textNoShape">
              <a:avLst/>
            </a:prstTxWarp>
          </a:bodyPr>
          <a:lstStyle/>
          <a:p>
            <a:pPr marL="4534" lvl="1" algn="r"/>
            <a:r>
              <a:rPr lang="en-US" sz="1500" dirty="0">
                <a:latin typeface="+mj-lt"/>
              </a:rPr>
              <a:t>Off-premises instances will grow </a:t>
            </a:r>
            <a:br>
              <a:rPr lang="en-US" sz="1500" dirty="0">
                <a:latin typeface="+mj-lt"/>
              </a:rPr>
            </a:br>
            <a:r>
              <a:rPr lang="en-US" sz="3300" dirty="0"/>
              <a:t>90%</a:t>
            </a:r>
            <a:endParaRPr lang="en-US" sz="1500" dirty="0"/>
          </a:p>
          <a:p>
            <a:pPr marL="4534" lvl="1" algn="r"/>
            <a:r>
              <a:rPr lang="en-US" sz="1500" dirty="0">
                <a:latin typeface="+mj-lt"/>
              </a:rPr>
              <a:t>between </a:t>
            </a:r>
          </a:p>
          <a:p>
            <a:pPr marL="4534" lvl="1" algn="r"/>
            <a:r>
              <a:rPr lang="en-US" sz="1500" dirty="0">
                <a:latin typeface="+mj-lt"/>
              </a:rPr>
              <a:t>now &amp; 2015</a:t>
            </a:r>
          </a:p>
        </p:txBody>
      </p:sp>
      <p:sp>
        <p:nvSpPr>
          <p:cNvPr id="26" name="Rectangle 25"/>
          <p:cNvSpPr/>
          <p:nvPr/>
        </p:nvSpPr>
        <p:spPr>
          <a:xfrm>
            <a:off x="6001599" y="1134609"/>
            <a:ext cx="1828800" cy="1543050"/>
          </a:xfrm>
          <a:prstGeom prst="rect">
            <a:avLst/>
          </a:prstGeom>
          <a:solidFill>
            <a:schemeClr val="accent5"/>
          </a:solidFill>
          <a:ln w="25400" cap="flat" cmpd="sng" algn="ctr">
            <a:noFill/>
            <a:prstDash val="solid"/>
            <a:headEnd type="none" w="med" len="med"/>
            <a:tailEnd type="none" w="med" len="med"/>
          </a:ln>
          <a:effectLst/>
        </p:spPr>
        <p:txBody>
          <a:bodyPr vert="horz" wrap="square" lIns="87043" tIns="32643" rIns="87043" bIns="32643" numCol="1" rtlCol="0" anchor="ctr" anchorCtr="0" compatLnSpc="1">
            <a:prstTxWarp prst="textNoShape">
              <a:avLst/>
            </a:prstTxWarp>
          </a:bodyPr>
          <a:lstStyle/>
          <a:p>
            <a:pPr marL="0" lvl="1" algn="r"/>
            <a:r>
              <a:rPr lang="en-US" sz="1500" dirty="0">
                <a:latin typeface="+mj-lt"/>
              </a:rPr>
              <a:t>Hosting growth </a:t>
            </a:r>
            <a:br>
              <a:rPr lang="en-US" sz="1500" dirty="0">
                <a:latin typeface="+mj-lt"/>
              </a:rPr>
            </a:br>
            <a:r>
              <a:rPr lang="en-US" sz="1500" dirty="0">
                <a:latin typeface="+mj-lt"/>
              </a:rPr>
              <a:t>is </a:t>
            </a:r>
            <a:r>
              <a:rPr lang="en-US" sz="3300" dirty="0"/>
              <a:t>3X</a:t>
            </a:r>
            <a:r>
              <a:rPr lang="en-US" sz="3300" spc="-225" dirty="0">
                <a:latin typeface="+mj-lt"/>
              </a:rPr>
              <a:t> </a:t>
            </a:r>
            <a:r>
              <a:rPr lang="en-US" sz="1500" dirty="0">
                <a:latin typeface="+mj-lt"/>
              </a:rPr>
              <a:t>that of </a:t>
            </a:r>
            <a:br>
              <a:rPr lang="en-US" sz="1500" dirty="0">
                <a:latin typeface="+mj-lt"/>
              </a:rPr>
            </a:br>
            <a:r>
              <a:rPr lang="en-US" sz="1500" dirty="0">
                <a:latin typeface="+mj-lt"/>
              </a:rPr>
              <a:t>on-premises</a:t>
            </a:r>
          </a:p>
        </p:txBody>
      </p:sp>
      <p:sp>
        <p:nvSpPr>
          <p:cNvPr id="28" name="Right Arrow 27"/>
          <p:cNvSpPr/>
          <p:nvPr/>
        </p:nvSpPr>
        <p:spPr bwMode="auto">
          <a:xfrm rot="16200000">
            <a:off x="5709093" y="1894704"/>
            <a:ext cx="1136894" cy="429016"/>
          </a:xfrm>
          <a:prstGeom prst="rightArrow">
            <a:avLst/>
          </a:prstGeom>
          <a:solidFill>
            <a:srgbClr val="FBFBF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pic>
        <p:nvPicPr>
          <p:cNvPr id="29" name="Picture 6" descr="\\MAGNUM\Projects\Microsoft\Cloud Power FY12\Design\ICONS_PNG\Cloud.png"/>
          <p:cNvPicPr>
            <a:picLocks noChangeAspect="1" noChangeArrowheads="1"/>
          </p:cNvPicPr>
          <p:nvPr/>
        </p:nvPicPr>
        <p:blipFill rotWithShape="1">
          <a:blip r:embed="rId4" cstate="print">
            <a:lum bright="100000"/>
          </a:blip>
          <a:srcRect t="18577" b="17361"/>
          <a:stretch/>
        </p:blipFill>
        <p:spPr bwMode="auto">
          <a:xfrm>
            <a:off x="6034848" y="3396493"/>
            <a:ext cx="914400" cy="606206"/>
          </a:xfrm>
          <a:prstGeom prst="rect">
            <a:avLst/>
          </a:prstGeom>
          <a:noFill/>
        </p:spPr>
      </p:pic>
      <p:sp>
        <p:nvSpPr>
          <p:cNvPr id="23" name="TextBox 22"/>
          <p:cNvSpPr txBox="1"/>
          <p:nvPr/>
        </p:nvSpPr>
        <p:spPr>
          <a:xfrm>
            <a:off x="3600198" y="1600201"/>
            <a:ext cx="778531" cy="438581"/>
          </a:xfrm>
          <a:prstGeom prst="rect">
            <a:avLst/>
          </a:prstGeom>
          <a:noFill/>
        </p:spPr>
        <p:txBody>
          <a:bodyPr wrap="square" lIns="0" tIns="0" rIns="0" bIns="0" rtlCol="0">
            <a:spAutoFit/>
          </a:bodyPr>
          <a:lstStyle/>
          <a:p>
            <a:pPr algn="ctr"/>
            <a:r>
              <a:rPr lang="en-US" b="1" dirty="0" smtClean="0"/>
              <a:t>3 Million</a:t>
            </a:r>
            <a:r>
              <a:rPr lang="en-US" dirty="0" smtClean="0"/>
              <a:t> HOSTED</a:t>
            </a:r>
            <a:endParaRPr lang="en-US" dirty="0"/>
          </a:p>
        </p:txBody>
      </p:sp>
      <p:sp>
        <p:nvSpPr>
          <p:cNvPr id="34" name="TextBox 33"/>
          <p:cNvSpPr txBox="1"/>
          <p:nvPr/>
        </p:nvSpPr>
        <p:spPr>
          <a:xfrm>
            <a:off x="2559227" y="2646781"/>
            <a:ext cx="2137088" cy="461665"/>
          </a:xfrm>
          <a:prstGeom prst="rect">
            <a:avLst/>
          </a:prstGeom>
          <a:noFill/>
        </p:spPr>
        <p:txBody>
          <a:bodyPr wrap="square" lIns="0" tIns="0" rIns="0" bIns="0" rtlCol="0">
            <a:spAutoFit/>
          </a:bodyPr>
          <a:lstStyle/>
          <a:p>
            <a:pPr algn="ctr"/>
            <a:r>
              <a:rPr lang="en-US" sz="1500" dirty="0"/>
              <a:t>The Opportunity</a:t>
            </a:r>
          </a:p>
          <a:p>
            <a:pPr algn="ctr"/>
            <a:r>
              <a:rPr lang="en-US" sz="1500" b="1" dirty="0"/>
              <a:t>19 Million</a:t>
            </a:r>
          </a:p>
        </p:txBody>
      </p:sp>
      <p:sp>
        <p:nvSpPr>
          <p:cNvPr id="12"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4"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5"/>
              </a:rPr>
              <a:t>www.rapidbbs.cn</a:t>
            </a:r>
            <a:endParaRPr lang="zh-CN" altLang="en-US" sz="1200" b="0">
              <a:latin typeface="Arial" charset="0"/>
              <a:ea typeface="ＭＳ Ｐゴシック" pitchFamily="34" charset="-128"/>
            </a:endParaRPr>
          </a:p>
        </p:txBody>
      </p:sp>
      <p:pic>
        <p:nvPicPr>
          <p:cNvPr id="15" name="Picture 2">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82071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26"/>
                                        </p:tgtEl>
                                        <p:attrNameLst>
                                          <p:attrName>style.visibility</p:attrName>
                                        </p:attrNameLst>
                                      </p:cBhvr>
                                      <p:to>
                                        <p:strVal val="visible"/>
                                      </p:to>
                                    </p:set>
                                  </p:childTnLst>
                                </p:cTn>
                              </p:par>
                              <p:par>
                                <p:cTn id="12" presetID="1" presetClass="entr" presetSubtype="0" fill="hold" grpId="0" nodeType="withEffect">
                                  <p:stCondLst>
                                    <p:cond delay="0"/>
                                  </p:stCondLst>
                                  <p:childTnLst>
                                    <p:set>
                                      <p:cBhvr>
                                        <p:cTn id="13" dur="1" fill="hold">
                                          <p:stCondLst>
                                            <p:cond delay="0"/>
                                          </p:stCondLst>
                                        </p:cTn>
                                        <p:tgtEl>
                                          <p:spTgt spid="24"/>
                                        </p:tgtEl>
                                        <p:attrNameLst>
                                          <p:attrName>style.visibility</p:attrName>
                                        </p:attrNameLst>
                                      </p:cBhvr>
                                      <p:to>
                                        <p:strVal val="visible"/>
                                      </p:to>
                                    </p:set>
                                  </p:childTnLst>
                                </p:cTn>
                              </p:par>
                              <p:par>
                                <p:cTn id="14" presetID="1" presetClass="entr" presetSubtype="0" fill="hold" grpId="0" nodeType="withEffect">
                                  <p:stCondLst>
                                    <p:cond delay="0"/>
                                  </p:stCondLst>
                                  <p:childTnLst>
                                    <p:set>
                                      <p:cBhvr>
                                        <p:cTn id="15" dur="1" fill="hold">
                                          <p:stCondLst>
                                            <p:cond delay="0"/>
                                          </p:stCondLst>
                                        </p:cTn>
                                        <p:tgtEl>
                                          <p:spTgt spid="28"/>
                                        </p:tgtEl>
                                        <p:attrNameLst>
                                          <p:attrName>style.visibility</p:attrName>
                                        </p:attrNameLst>
                                      </p:cBhvr>
                                      <p:to>
                                        <p:strVal val="visible"/>
                                      </p:to>
                                    </p:set>
                                  </p:childTnLst>
                                </p:cTn>
                              </p:par>
                              <p:par>
                                <p:cTn id="16" presetID="1" presetClass="entr" presetSubtype="0" fill="hold" nodeType="withEffect">
                                  <p:stCondLst>
                                    <p:cond delay="0"/>
                                  </p:stCondLst>
                                  <p:childTnLst>
                                    <p:set>
                                      <p:cBhvr>
                                        <p:cTn id="17"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P spid="24" grpId="0" animBg="1"/>
      <p:bldP spid="26" grpId="0" animBg="1"/>
      <p:bldP spid="28" grpId="0" animBg="1"/>
    </p:bldLst>
  </p:timing>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141789" y="789552"/>
            <a:ext cx="8866112" cy="1217484"/>
            <a:chOff x="141789" y="1052736"/>
            <a:chExt cx="8866112" cy="1623312"/>
          </a:xfrm>
        </p:grpSpPr>
        <p:sp>
          <p:nvSpPr>
            <p:cNvPr id="254" name="Rectangle 253"/>
            <p:cNvSpPr/>
            <p:nvPr/>
          </p:nvSpPr>
          <p:spPr bwMode="auto">
            <a:xfrm>
              <a:off x="5564235" y="1121568"/>
              <a:ext cx="1645920" cy="1554480"/>
            </a:xfrm>
            <a:prstGeom prst="rect">
              <a:avLst/>
            </a:prstGeom>
            <a:solidFill>
              <a:srgbClr val="0071BC"/>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45720" numCol="1" spcCol="0" rtlCol="0" fromWordArt="0" anchor="b" anchorCtr="0" forceAA="0" compatLnSpc="1">
              <a:prstTxWarp prst="textNoShape">
                <a:avLst/>
              </a:prstTxWarp>
              <a:noAutofit/>
            </a:bodyPr>
            <a:lstStyle/>
            <a:p>
              <a:pPr algn="ctr" defTabSz="685637" fontAlgn="base">
                <a:spcBef>
                  <a:spcPct val="0"/>
                </a:spcBef>
                <a:spcAft>
                  <a:spcPct val="0"/>
                </a:spcAft>
                <a:defRPr/>
              </a:pPr>
              <a:r>
                <a:rPr lang="en-US" sz="1100" kern="0" spc="-38" dirty="0">
                  <a:gradFill>
                    <a:gsLst>
                      <a:gs pos="0">
                        <a:srgbClr val="FFFFFF"/>
                      </a:gs>
                      <a:gs pos="100000">
                        <a:srgbClr val="FFFFFF"/>
                      </a:gs>
                    </a:gsLst>
                    <a:lin ang="5400000" scaled="0"/>
                  </a:gradFill>
                  <a:ea typeface="Segoe UI" pitchFamily="34" charset="0"/>
                  <a:cs typeface="Segoe UI" pitchFamily="34" charset="0"/>
                </a:rPr>
                <a:t>Web Hosting</a:t>
              </a:r>
            </a:p>
          </p:txBody>
        </p:sp>
        <p:sp>
          <p:nvSpPr>
            <p:cNvPr id="255" name="Rectangle 254"/>
            <p:cNvSpPr/>
            <p:nvPr/>
          </p:nvSpPr>
          <p:spPr bwMode="auto">
            <a:xfrm>
              <a:off x="3756838" y="1121568"/>
              <a:ext cx="1645920" cy="1554480"/>
            </a:xfrm>
            <a:prstGeom prst="rect">
              <a:avLst/>
            </a:prstGeom>
            <a:solidFill>
              <a:srgbClr val="0071BC"/>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45720" numCol="1" spcCol="0" rtlCol="0" fromWordArt="0" anchor="b" anchorCtr="0" forceAA="0" compatLnSpc="1">
              <a:prstTxWarp prst="textNoShape">
                <a:avLst/>
              </a:prstTxWarp>
              <a:noAutofit/>
            </a:bodyPr>
            <a:lstStyle/>
            <a:p>
              <a:pPr algn="ctr" defTabSz="685637" fontAlgn="base">
                <a:spcBef>
                  <a:spcPct val="0"/>
                </a:spcBef>
                <a:spcAft>
                  <a:spcPct val="0"/>
                </a:spcAft>
                <a:defRPr/>
              </a:pPr>
              <a:r>
                <a:rPr lang="en-US" sz="1100" kern="0" spc="-38" dirty="0">
                  <a:gradFill>
                    <a:gsLst>
                      <a:gs pos="0">
                        <a:srgbClr val="FFFFFF"/>
                      </a:gs>
                      <a:gs pos="100000">
                        <a:srgbClr val="FFFFFF"/>
                      </a:gs>
                    </a:gsLst>
                    <a:lin ang="5400000" scaled="0"/>
                  </a:gradFill>
                  <a:ea typeface="Segoe UI" pitchFamily="34" charset="0"/>
                  <a:cs typeface="Segoe UI" pitchFamily="34" charset="0"/>
                </a:rPr>
                <a:t>Application Hosting</a:t>
              </a:r>
            </a:p>
          </p:txBody>
        </p:sp>
        <p:sp>
          <p:nvSpPr>
            <p:cNvPr id="256" name="Rectangle 255"/>
            <p:cNvSpPr/>
            <p:nvPr/>
          </p:nvSpPr>
          <p:spPr bwMode="auto">
            <a:xfrm>
              <a:off x="141789" y="1121568"/>
              <a:ext cx="1645920" cy="1554480"/>
            </a:xfrm>
            <a:prstGeom prst="rect">
              <a:avLst/>
            </a:prstGeom>
            <a:solidFill>
              <a:srgbClr val="0071BC"/>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45720" numCol="1" spcCol="0" rtlCol="0" fromWordArt="0" anchor="b" anchorCtr="0" forceAA="0" compatLnSpc="1">
              <a:prstTxWarp prst="textNoShape">
                <a:avLst/>
              </a:prstTxWarp>
              <a:noAutofit/>
            </a:bodyPr>
            <a:lstStyle/>
            <a:p>
              <a:pPr algn="ctr" defTabSz="685637" fontAlgn="base">
                <a:spcBef>
                  <a:spcPct val="0"/>
                </a:spcBef>
                <a:spcAft>
                  <a:spcPct val="0"/>
                </a:spcAft>
                <a:defRPr/>
              </a:pPr>
              <a:r>
                <a:rPr lang="en-US" sz="1100" kern="0" spc="-38" dirty="0">
                  <a:gradFill>
                    <a:gsLst>
                      <a:gs pos="0">
                        <a:srgbClr val="FFFFFF"/>
                      </a:gs>
                      <a:gs pos="100000">
                        <a:srgbClr val="FFFFFF"/>
                      </a:gs>
                    </a:gsLst>
                    <a:lin ang="5400000" scaled="0"/>
                  </a:gradFill>
                  <a:ea typeface="Segoe UI" pitchFamily="34" charset="0"/>
                  <a:cs typeface="Segoe UI" pitchFamily="34" charset="0"/>
                </a:rPr>
                <a:t>VM Hosting</a:t>
              </a:r>
            </a:p>
          </p:txBody>
        </p:sp>
        <p:sp>
          <p:nvSpPr>
            <p:cNvPr id="257" name="Rectangle 256"/>
            <p:cNvSpPr/>
            <p:nvPr/>
          </p:nvSpPr>
          <p:spPr bwMode="auto">
            <a:xfrm>
              <a:off x="1949313" y="1121568"/>
              <a:ext cx="1645920" cy="1554480"/>
            </a:xfrm>
            <a:prstGeom prst="rect">
              <a:avLst/>
            </a:prstGeom>
            <a:solidFill>
              <a:srgbClr val="0071BC"/>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45720" numCol="1" spcCol="0" rtlCol="0" fromWordArt="0" anchor="b" anchorCtr="0" forceAA="0" compatLnSpc="1">
              <a:prstTxWarp prst="textNoShape">
                <a:avLst/>
              </a:prstTxWarp>
              <a:noAutofit/>
            </a:bodyPr>
            <a:lstStyle/>
            <a:p>
              <a:pPr algn="ctr" defTabSz="685637" fontAlgn="base">
                <a:spcBef>
                  <a:spcPct val="0"/>
                </a:spcBef>
                <a:spcAft>
                  <a:spcPct val="0"/>
                </a:spcAft>
                <a:defRPr/>
              </a:pPr>
              <a:r>
                <a:rPr lang="en-US" sz="1100" kern="0" spc="-38" dirty="0">
                  <a:gradFill>
                    <a:gsLst>
                      <a:gs pos="0">
                        <a:srgbClr val="FFFFFF"/>
                      </a:gs>
                      <a:gs pos="100000">
                        <a:srgbClr val="FFFFFF"/>
                      </a:gs>
                    </a:gsLst>
                    <a:lin ang="5400000" scaled="0"/>
                  </a:gradFill>
                  <a:ea typeface="Segoe UI" pitchFamily="34" charset="0"/>
                  <a:cs typeface="Segoe UI" pitchFamily="34" charset="0"/>
                </a:rPr>
                <a:t>Database Hosting</a:t>
              </a:r>
            </a:p>
          </p:txBody>
        </p:sp>
        <p:sp>
          <p:nvSpPr>
            <p:cNvPr id="258" name="Rectangle 257"/>
            <p:cNvSpPr/>
            <p:nvPr/>
          </p:nvSpPr>
          <p:spPr bwMode="auto">
            <a:xfrm>
              <a:off x="7361981" y="1121568"/>
              <a:ext cx="1645920" cy="1554480"/>
            </a:xfrm>
            <a:prstGeom prst="rect">
              <a:avLst/>
            </a:prstGeom>
            <a:solidFill>
              <a:srgbClr val="0071BC"/>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45720" numCol="1" spcCol="0" rtlCol="0" fromWordArt="0" anchor="b" anchorCtr="0" forceAA="0" compatLnSpc="1">
              <a:prstTxWarp prst="textNoShape">
                <a:avLst/>
              </a:prstTxWarp>
              <a:noAutofit/>
            </a:bodyPr>
            <a:lstStyle/>
            <a:p>
              <a:pPr algn="ctr" defTabSz="685637" fontAlgn="base">
                <a:spcBef>
                  <a:spcPct val="0"/>
                </a:spcBef>
                <a:spcAft>
                  <a:spcPct val="0"/>
                </a:spcAft>
                <a:defRPr/>
              </a:pPr>
              <a:r>
                <a:rPr lang="en-US" sz="1100" kern="0" spc="-38" dirty="0">
                  <a:gradFill>
                    <a:gsLst>
                      <a:gs pos="0">
                        <a:srgbClr val="FFFFFF"/>
                      </a:gs>
                      <a:gs pos="100000">
                        <a:srgbClr val="FFFFFF"/>
                      </a:gs>
                    </a:gsLst>
                    <a:lin ang="5400000" scaled="0"/>
                  </a:gradFill>
                  <a:ea typeface="Segoe UI" pitchFamily="34" charset="0"/>
                  <a:cs typeface="Segoe UI" pitchFamily="34" charset="0"/>
                </a:rPr>
                <a:t>Desktop Hosting</a:t>
              </a:r>
            </a:p>
          </p:txBody>
        </p:sp>
        <p:grpSp>
          <p:nvGrpSpPr>
            <p:cNvPr id="259" name="Group 258"/>
            <p:cNvGrpSpPr/>
            <p:nvPr/>
          </p:nvGrpSpPr>
          <p:grpSpPr>
            <a:xfrm>
              <a:off x="314159" y="1052736"/>
              <a:ext cx="1256766" cy="1284348"/>
              <a:chOff x="493662" y="1709063"/>
              <a:chExt cx="1275876" cy="1182293"/>
            </a:xfrm>
          </p:grpSpPr>
          <p:pic>
            <p:nvPicPr>
              <p:cNvPr id="306" name="Picture 2"/>
              <p:cNvPicPr>
                <a:picLocks noChangeAspect="1" noChangeArrowheads="1"/>
              </p:cNvPicPr>
              <p:nvPr/>
            </p:nvPicPr>
            <p:blipFill>
              <a:blip r:embed="rId3" cstate="print">
                <a:lum bright="100000" contrast="100000"/>
                <a:extLst>
                  <a:ext uri="{28A0092B-C50C-407E-A947-70E740481C1C}">
                    <a14:useLocalDpi xmlns:a14="http://schemas.microsoft.com/office/drawing/2010/main"/>
                  </a:ext>
                </a:extLst>
              </a:blip>
              <a:srcRect/>
              <a:stretch>
                <a:fillRect/>
              </a:stretch>
            </p:blipFill>
            <p:spPr bwMode="auto">
              <a:xfrm>
                <a:off x="493662" y="1709063"/>
                <a:ext cx="1038203" cy="951520"/>
              </a:xfrm>
              <a:prstGeom prst="rect">
                <a:avLst/>
              </a:prstGeom>
              <a:noFill/>
              <a:ln w="9525">
                <a:noFill/>
                <a:miter lim="800000"/>
                <a:headEnd/>
                <a:tailEnd/>
              </a:ln>
              <a:effectLst/>
            </p:spPr>
          </p:pic>
          <p:sp>
            <p:nvSpPr>
              <p:cNvPr id="307" name="Isosceles Triangle 306"/>
              <p:cNvSpPr/>
              <p:nvPr/>
            </p:nvSpPr>
            <p:spPr bwMode="auto">
              <a:xfrm rot="9180217">
                <a:off x="962279" y="2380057"/>
                <a:ext cx="512908" cy="350475"/>
              </a:xfrm>
              <a:prstGeom prst="triangle">
                <a:avLst>
                  <a:gd name="adj" fmla="val 64317"/>
                </a:avLst>
              </a:prstGeom>
              <a:solidFill>
                <a:schemeClr val="accent5">
                  <a:lumMod val="60000"/>
                  <a:lumOff val="40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71204"/>
                <a:endParaRPr lang="en-US" sz="1200" dirty="0">
                  <a:gradFill>
                    <a:gsLst>
                      <a:gs pos="0">
                        <a:srgbClr val="FFFFFF"/>
                      </a:gs>
                      <a:gs pos="100000">
                        <a:srgbClr val="FFFFFF"/>
                      </a:gs>
                    </a:gsLst>
                    <a:lin ang="5400000" scaled="0"/>
                  </a:gradFill>
                </a:endParaRPr>
              </a:p>
            </p:txBody>
          </p:sp>
          <p:pic>
            <p:nvPicPr>
              <p:cNvPr id="308" name="Picture 307"/>
              <p:cNvPicPr>
                <a:picLocks noChangeAspect="1"/>
              </p:cNvPicPr>
              <p:nvPr/>
            </p:nvPicPr>
            <p:blipFill>
              <a:blip r:embed="rId4" cstate="print">
                <a:lum bright="100000" contrast="100000"/>
                <a:extLst>
                  <a:ext uri="{28A0092B-C50C-407E-A947-70E740481C1C}">
                    <a14:useLocalDpi xmlns:a14="http://schemas.microsoft.com/office/drawing/2010/main"/>
                  </a:ext>
                </a:extLst>
              </a:blip>
              <a:stretch>
                <a:fillRect/>
              </a:stretch>
            </p:blipFill>
            <p:spPr>
              <a:xfrm>
                <a:off x="1082908" y="2482025"/>
                <a:ext cx="686630" cy="409331"/>
              </a:xfrm>
              <a:prstGeom prst="rect">
                <a:avLst/>
              </a:prstGeom>
              <a:noFill/>
              <a:ln>
                <a:noFill/>
              </a:ln>
              <a:effectLst/>
            </p:spPr>
          </p:pic>
        </p:grpSp>
        <p:grpSp>
          <p:nvGrpSpPr>
            <p:cNvPr id="260" name="Group 259"/>
            <p:cNvGrpSpPr/>
            <p:nvPr/>
          </p:nvGrpSpPr>
          <p:grpSpPr bwMode="black">
            <a:xfrm>
              <a:off x="5939784" y="1280070"/>
              <a:ext cx="919141" cy="864568"/>
              <a:chOff x="2462213" y="1598613"/>
              <a:chExt cx="4222750" cy="3667125"/>
            </a:xfrm>
          </p:grpSpPr>
          <p:sp>
            <p:nvSpPr>
              <p:cNvPr id="280" name="Rectangle 6"/>
              <p:cNvSpPr>
                <a:spLocks noChangeArrowheads="1"/>
              </p:cNvSpPr>
              <p:nvPr/>
            </p:nvSpPr>
            <p:spPr bwMode="black">
              <a:xfrm>
                <a:off x="5564188"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81" name="Rectangle 7"/>
              <p:cNvSpPr>
                <a:spLocks noChangeArrowheads="1"/>
              </p:cNvSpPr>
              <p:nvPr/>
            </p:nvSpPr>
            <p:spPr bwMode="black">
              <a:xfrm>
                <a:off x="5795963" y="3346451"/>
                <a:ext cx="112713"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82" name="Rectangle 8"/>
              <p:cNvSpPr>
                <a:spLocks noChangeArrowheads="1"/>
              </p:cNvSpPr>
              <p:nvPr/>
            </p:nvSpPr>
            <p:spPr bwMode="black">
              <a:xfrm>
                <a:off x="3092451"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83" name="Rectangle 9"/>
              <p:cNvSpPr>
                <a:spLocks noChangeArrowheads="1"/>
              </p:cNvSpPr>
              <p:nvPr/>
            </p:nvSpPr>
            <p:spPr bwMode="black">
              <a:xfrm>
                <a:off x="3324226" y="3346451"/>
                <a:ext cx="117475"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84" name="Freeform 10"/>
              <p:cNvSpPr>
                <a:spLocks/>
              </p:cNvSpPr>
              <p:nvPr/>
            </p:nvSpPr>
            <p:spPr bwMode="black">
              <a:xfrm>
                <a:off x="3902076" y="2506663"/>
                <a:ext cx="101600" cy="123825"/>
              </a:xfrm>
              <a:custGeom>
                <a:avLst/>
                <a:gdLst>
                  <a:gd name="T0" fmla="*/ 36 w 64"/>
                  <a:gd name="T1" fmla="*/ 78 h 78"/>
                  <a:gd name="T2" fmla="*/ 64 w 64"/>
                  <a:gd name="T3" fmla="*/ 64 h 78"/>
                  <a:gd name="T4" fmla="*/ 26 w 64"/>
                  <a:gd name="T5" fmla="*/ 0 h 78"/>
                  <a:gd name="T6" fmla="*/ 0 w 64"/>
                  <a:gd name="T7" fmla="*/ 17 h 78"/>
                  <a:gd name="T8" fmla="*/ 36 w 64"/>
                  <a:gd name="T9" fmla="*/ 78 h 78"/>
                </a:gdLst>
                <a:ahLst/>
                <a:cxnLst>
                  <a:cxn ang="0">
                    <a:pos x="T0" y="T1"/>
                  </a:cxn>
                  <a:cxn ang="0">
                    <a:pos x="T2" y="T3"/>
                  </a:cxn>
                  <a:cxn ang="0">
                    <a:pos x="T4" y="T5"/>
                  </a:cxn>
                  <a:cxn ang="0">
                    <a:pos x="T6" y="T7"/>
                  </a:cxn>
                  <a:cxn ang="0">
                    <a:pos x="T8" y="T9"/>
                  </a:cxn>
                </a:cxnLst>
                <a:rect l="0" t="0" r="r" b="b"/>
                <a:pathLst>
                  <a:path w="64" h="78">
                    <a:moveTo>
                      <a:pt x="36" y="78"/>
                    </a:moveTo>
                    <a:lnTo>
                      <a:pt x="64" y="64"/>
                    </a:lnTo>
                    <a:lnTo>
                      <a:pt x="26" y="0"/>
                    </a:lnTo>
                    <a:lnTo>
                      <a:pt x="0" y="17"/>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85" name="Freeform 11"/>
              <p:cNvSpPr>
                <a:spLocks/>
              </p:cNvSpPr>
              <p:nvPr/>
            </p:nvSpPr>
            <p:spPr bwMode="black">
              <a:xfrm>
                <a:off x="4017963" y="2709863"/>
                <a:ext cx="98425" cy="123825"/>
              </a:xfrm>
              <a:custGeom>
                <a:avLst/>
                <a:gdLst>
                  <a:gd name="T0" fmla="*/ 36 w 62"/>
                  <a:gd name="T1" fmla="*/ 78 h 78"/>
                  <a:gd name="T2" fmla="*/ 62 w 62"/>
                  <a:gd name="T3" fmla="*/ 61 h 78"/>
                  <a:gd name="T4" fmla="*/ 26 w 62"/>
                  <a:gd name="T5" fmla="*/ 0 h 78"/>
                  <a:gd name="T6" fmla="*/ 0 w 62"/>
                  <a:gd name="T7" fmla="*/ 14 h 78"/>
                  <a:gd name="T8" fmla="*/ 36 w 62"/>
                  <a:gd name="T9" fmla="*/ 78 h 78"/>
                </a:gdLst>
                <a:ahLst/>
                <a:cxnLst>
                  <a:cxn ang="0">
                    <a:pos x="T0" y="T1"/>
                  </a:cxn>
                  <a:cxn ang="0">
                    <a:pos x="T2" y="T3"/>
                  </a:cxn>
                  <a:cxn ang="0">
                    <a:pos x="T4" y="T5"/>
                  </a:cxn>
                  <a:cxn ang="0">
                    <a:pos x="T6" y="T7"/>
                  </a:cxn>
                  <a:cxn ang="0">
                    <a:pos x="T8" y="T9"/>
                  </a:cxn>
                </a:cxnLst>
                <a:rect l="0" t="0" r="r" b="b"/>
                <a:pathLst>
                  <a:path w="62" h="78">
                    <a:moveTo>
                      <a:pt x="36" y="78"/>
                    </a:moveTo>
                    <a:lnTo>
                      <a:pt x="62" y="61"/>
                    </a:lnTo>
                    <a:lnTo>
                      <a:pt x="26" y="0"/>
                    </a:lnTo>
                    <a:lnTo>
                      <a:pt x="0" y="14"/>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86" name="Freeform 12"/>
              <p:cNvSpPr>
                <a:spLocks/>
              </p:cNvSpPr>
              <p:nvPr/>
            </p:nvSpPr>
            <p:spPr bwMode="black">
              <a:xfrm>
                <a:off x="4873626" y="2709863"/>
                <a:ext cx="98425" cy="123825"/>
              </a:xfrm>
              <a:custGeom>
                <a:avLst/>
                <a:gdLst>
                  <a:gd name="T0" fmla="*/ 26 w 62"/>
                  <a:gd name="T1" fmla="*/ 78 h 78"/>
                  <a:gd name="T2" fmla="*/ 62 w 62"/>
                  <a:gd name="T3" fmla="*/ 14 h 78"/>
                  <a:gd name="T4" fmla="*/ 36 w 62"/>
                  <a:gd name="T5" fmla="*/ 0 h 78"/>
                  <a:gd name="T6" fmla="*/ 0 w 62"/>
                  <a:gd name="T7" fmla="*/ 61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4"/>
                    </a:lnTo>
                    <a:lnTo>
                      <a:pt x="36" y="0"/>
                    </a:lnTo>
                    <a:lnTo>
                      <a:pt x="0" y="61"/>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87" name="Freeform 13"/>
              <p:cNvSpPr>
                <a:spLocks/>
              </p:cNvSpPr>
              <p:nvPr/>
            </p:nvSpPr>
            <p:spPr bwMode="black">
              <a:xfrm>
                <a:off x="4989513" y="2506663"/>
                <a:ext cx="98425" cy="123825"/>
              </a:xfrm>
              <a:custGeom>
                <a:avLst/>
                <a:gdLst>
                  <a:gd name="T0" fmla="*/ 26 w 62"/>
                  <a:gd name="T1" fmla="*/ 78 h 78"/>
                  <a:gd name="T2" fmla="*/ 62 w 62"/>
                  <a:gd name="T3" fmla="*/ 17 h 78"/>
                  <a:gd name="T4" fmla="*/ 36 w 62"/>
                  <a:gd name="T5" fmla="*/ 0 h 78"/>
                  <a:gd name="T6" fmla="*/ 0 w 62"/>
                  <a:gd name="T7" fmla="*/ 64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7"/>
                    </a:lnTo>
                    <a:lnTo>
                      <a:pt x="36" y="0"/>
                    </a:lnTo>
                    <a:lnTo>
                      <a:pt x="0" y="64"/>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88" name="Freeform 14"/>
              <p:cNvSpPr>
                <a:spLocks/>
              </p:cNvSpPr>
              <p:nvPr/>
            </p:nvSpPr>
            <p:spPr bwMode="black">
              <a:xfrm>
                <a:off x="4017963" y="3990976"/>
                <a:ext cx="98425" cy="123825"/>
              </a:xfrm>
              <a:custGeom>
                <a:avLst/>
                <a:gdLst>
                  <a:gd name="T0" fmla="*/ 0 w 62"/>
                  <a:gd name="T1" fmla="*/ 64 h 78"/>
                  <a:gd name="T2" fmla="*/ 26 w 62"/>
                  <a:gd name="T3" fmla="*/ 78 h 78"/>
                  <a:gd name="T4" fmla="*/ 62 w 62"/>
                  <a:gd name="T5" fmla="*/ 14 h 78"/>
                  <a:gd name="T6" fmla="*/ 36 w 62"/>
                  <a:gd name="T7" fmla="*/ 0 h 78"/>
                  <a:gd name="T8" fmla="*/ 0 w 62"/>
                  <a:gd name="T9" fmla="*/ 64 h 78"/>
                </a:gdLst>
                <a:ahLst/>
                <a:cxnLst>
                  <a:cxn ang="0">
                    <a:pos x="T0" y="T1"/>
                  </a:cxn>
                  <a:cxn ang="0">
                    <a:pos x="T2" y="T3"/>
                  </a:cxn>
                  <a:cxn ang="0">
                    <a:pos x="T4" y="T5"/>
                  </a:cxn>
                  <a:cxn ang="0">
                    <a:pos x="T6" y="T7"/>
                  </a:cxn>
                  <a:cxn ang="0">
                    <a:pos x="T8" y="T9"/>
                  </a:cxn>
                </a:cxnLst>
                <a:rect l="0" t="0" r="r" b="b"/>
                <a:pathLst>
                  <a:path w="62" h="78">
                    <a:moveTo>
                      <a:pt x="0" y="64"/>
                    </a:moveTo>
                    <a:lnTo>
                      <a:pt x="26" y="78"/>
                    </a:lnTo>
                    <a:lnTo>
                      <a:pt x="62" y="14"/>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89" name="Freeform 15"/>
              <p:cNvSpPr>
                <a:spLocks/>
              </p:cNvSpPr>
              <p:nvPr/>
            </p:nvSpPr>
            <p:spPr bwMode="black">
              <a:xfrm>
                <a:off x="3902076" y="4189413"/>
                <a:ext cx="101600" cy="128588"/>
              </a:xfrm>
              <a:custGeom>
                <a:avLst/>
                <a:gdLst>
                  <a:gd name="T0" fmla="*/ 0 w 64"/>
                  <a:gd name="T1" fmla="*/ 64 h 81"/>
                  <a:gd name="T2" fmla="*/ 26 w 64"/>
                  <a:gd name="T3" fmla="*/ 81 h 81"/>
                  <a:gd name="T4" fmla="*/ 64 w 64"/>
                  <a:gd name="T5" fmla="*/ 17 h 81"/>
                  <a:gd name="T6" fmla="*/ 36 w 64"/>
                  <a:gd name="T7" fmla="*/ 0 h 81"/>
                  <a:gd name="T8" fmla="*/ 0 w 64"/>
                  <a:gd name="T9" fmla="*/ 64 h 81"/>
                </a:gdLst>
                <a:ahLst/>
                <a:cxnLst>
                  <a:cxn ang="0">
                    <a:pos x="T0" y="T1"/>
                  </a:cxn>
                  <a:cxn ang="0">
                    <a:pos x="T2" y="T3"/>
                  </a:cxn>
                  <a:cxn ang="0">
                    <a:pos x="T4" y="T5"/>
                  </a:cxn>
                  <a:cxn ang="0">
                    <a:pos x="T6" y="T7"/>
                  </a:cxn>
                  <a:cxn ang="0">
                    <a:pos x="T8" y="T9"/>
                  </a:cxn>
                </a:cxnLst>
                <a:rect l="0" t="0" r="r" b="b"/>
                <a:pathLst>
                  <a:path w="64" h="81">
                    <a:moveTo>
                      <a:pt x="0" y="64"/>
                    </a:moveTo>
                    <a:lnTo>
                      <a:pt x="26" y="81"/>
                    </a:lnTo>
                    <a:lnTo>
                      <a:pt x="64" y="17"/>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0" name="Freeform 16"/>
              <p:cNvSpPr>
                <a:spLocks/>
              </p:cNvSpPr>
              <p:nvPr/>
            </p:nvSpPr>
            <p:spPr bwMode="black">
              <a:xfrm>
                <a:off x="4989513" y="4189413"/>
                <a:ext cx="98425" cy="128588"/>
              </a:xfrm>
              <a:custGeom>
                <a:avLst/>
                <a:gdLst>
                  <a:gd name="T0" fmla="*/ 26 w 62"/>
                  <a:gd name="T1" fmla="*/ 0 h 81"/>
                  <a:gd name="T2" fmla="*/ 0 w 62"/>
                  <a:gd name="T3" fmla="*/ 17 h 81"/>
                  <a:gd name="T4" fmla="*/ 36 w 62"/>
                  <a:gd name="T5" fmla="*/ 81 h 81"/>
                  <a:gd name="T6" fmla="*/ 62 w 62"/>
                  <a:gd name="T7" fmla="*/ 64 h 81"/>
                  <a:gd name="T8" fmla="*/ 26 w 62"/>
                  <a:gd name="T9" fmla="*/ 0 h 81"/>
                </a:gdLst>
                <a:ahLst/>
                <a:cxnLst>
                  <a:cxn ang="0">
                    <a:pos x="T0" y="T1"/>
                  </a:cxn>
                  <a:cxn ang="0">
                    <a:pos x="T2" y="T3"/>
                  </a:cxn>
                  <a:cxn ang="0">
                    <a:pos x="T4" y="T5"/>
                  </a:cxn>
                  <a:cxn ang="0">
                    <a:pos x="T6" y="T7"/>
                  </a:cxn>
                  <a:cxn ang="0">
                    <a:pos x="T8" y="T9"/>
                  </a:cxn>
                </a:cxnLst>
                <a:rect l="0" t="0" r="r" b="b"/>
                <a:pathLst>
                  <a:path w="62" h="81">
                    <a:moveTo>
                      <a:pt x="26" y="0"/>
                    </a:moveTo>
                    <a:lnTo>
                      <a:pt x="0" y="17"/>
                    </a:lnTo>
                    <a:lnTo>
                      <a:pt x="36" y="81"/>
                    </a:lnTo>
                    <a:lnTo>
                      <a:pt x="62" y="64"/>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1" name="Freeform 17"/>
              <p:cNvSpPr>
                <a:spLocks/>
              </p:cNvSpPr>
              <p:nvPr/>
            </p:nvSpPr>
            <p:spPr bwMode="black">
              <a:xfrm>
                <a:off x="4873626" y="3990976"/>
                <a:ext cx="98425" cy="123825"/>
              </a:xfrm>
              <a:custGeom>
                <a:avLst/>
                <a:gdLst>
                  <a:gd name="T0" fmla="*/ 0 w 62"/>
                  <a:gd name="T1" fmla="*/ 14 h 78"/>
                  <a:gd name="T2" fmla="*/ 36 w 62"/>
                  <a:gd name="T3" fmla="*/ 78 h 78"/>
                  <a:gd name="T4" fmla="*/ 62 w 62"/>
                  <a:gd name="T5" fmla="*/ 64 h 78"/>
                  <a:gd name="T6" fmla="*/ 26 w 62"/>
                  <a:gd name="T7" fmla="*/ 0 h 78"/>
                  <a:gd name="T8" fmla="*/ 0 w 62"/>
                  <a:gd name="T9" fmla="*/ 14 h 78"/>
                </a:gdLst>
                <a:ahLst/>
                <a:cxnLst>
                  <a:cxn ang="0">
                    <a:pos x="T0" y="T1"/>
                  </a:cxn>
                  <a:cxn ang="0">
                    <a:pos x="T2" y="T3"/>
                  </a:cxn>
                  <a:cxn ang="0">
                    <a:pos x="T4" y="T5"/>
                  </a:cxn>
                  <a:cxn ang="0">
                    <a:pos x="T6" y="T7"/>
                  </a:cxn>
                  <a:cxn ang="0">
                    <a:pos x="T8" y="T9"/>
                  </a:cxn>
                </a:cxnLst>
                <a:rect l="0" t="0" r="r" b="b"/>
                <a:pathLst>
                  <a:path w="62" h="78">
                    <a:moveTo>
                      <a:pt x="0" y="14"/>
                    </a:moveTo>
                    <a:lnTo>
                      <a:pt x="36" y="78"/>
                    </a:lnTo>
                    <a:lnTo>
                      <a:pt x="62" y="64"/>
                    </a:lnTo>
                    <a:lnTo>
                      <a:pt x="26" y="0"/>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2" name="Freeform 18"/>
              <p:cNvSpPr>
                <a:spLocks/>
              </p:cNvSpPr>
              <p:nvPr/>
            </p:nvSpPr>
            <p:spPr bwMode="black">
              <a:xfrm>
                <a:off x="3579813" y="2892426"/>
                <a:ext cx="1833563" cy="1068388"/>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3" name="Freeform 19"/>
              <p:cNvSpPr>
                <a:spLocks noEditPoints="1"/>
              </p:cNvSpPr>
              <p:nvPr/>
            </p:nvSpPr>
            <p:spPr bwMode="black">
              <a:xfrm>
                <a:off x="3321051" y="1598613"/>
                <a:ext cx="750888" cy="522288"/>
              </a:xfrm>
              <a:custGeom>
                <a:avLst/>
                <a:gdLst>
                  <a:gd name="T0" fmla="*/ 174 w 200"/>
                  <a:gd name="T1" fmla="*/ 0 h 139"/>
                  <a:gd name="T2" fmla="*/ 26 w 200"/>
                  <a:gd name="T3" fmla="*/ 0 h 139"/>
                  <a:gd name="T4" fmla="*/ 0 w 200"/>
                  <a:gd name="T5" fmla="*/ 27 h 139"/>
                  <a:gd name="T6" fmla="*/ 0 w 200"/>
                  <a:gd name="T7" fmla="*/ 113 h 139"/>
                  <a:gd name="T8" fmla="*/ 26 w 200"/>
                  <a:gd name="T9" fmla="*/ 139 h 139"/>
                  <a:gd name="T10" fmla="*/ 174 w 200"/>
                  <a:gd name="T11" fmla="*/ 139 h 139"/>
                  <a:gd name="T12" fmla="*/ 200 w 200"/>
                  <a:gd name="T13" fmla="*/ 113 h 139"/>
                  <a:gd name="T14" fmla="*/ 200 w 200"/>
                  <a:gd name="T15" fmla="*/ 27 h 139"/>
                  <a:gd name="T16" fmla="*/ 174 w 200"/>
                  <a:gd name="T17" fmla="*/ 0 h 139"/>
                  <a:gd name="T18" fmla="*/ 185 w 200"/>
                  <a:gd name="T19" fmla="*/ 113 h 139"/>
                  <a:gd name="T20" fmla="*/ 174 w 200"/>
                  <a:gd name="T21" fmla="*/ 124 h 139"/>
                  <a:gd name="T22" fmla="*/ 26 w 200"/>
                  <a:gd name="T23" fmla="*/ 124 h 139"/>
                  <a:gd name="T24" fmla="*/ 15 w 200"/>
                  <a:gd name="T25" fmla="*/ 113 h 139"/>
                  <a:gd name="T26" fmla="*/ 15 w 200"/>
                  <a:gd name="T27" fmla="*/ 27 h 139"/>
                  <a:gd name="T28" fmla="*/ 26 w 200"/>
                  <a:gd name="T29" fmla="*/ 16 h 139"/>
                  <a:gd name="T30" fmla="*/ 174 w 200"/>
                  <a:gd name="T31" fmla="*/ 16 h 139"/>
                  <a:gd name="T32" fmla="*/ 185 w 200"/>
                  <a:gd name="T33" fmla="*/ 27 h 139"/>
                  <a:gd name="T34" fmla="*/ 185 w 200"/>
                  <a:gd name="T35" fmla="*/ 11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39">
                    <a:moveTo>
                      <a:pt x="174" y="0"/>
                    </a:moveTo>
                    <a:cubicBezTo>
                      <a:pt x="26" y="0"/>
                      <a:pt x="26" y="0"/>
                      <a:pt x="26" y="0"/>
                    </a:cubicBezTo>
                    <a:cubicBezTo>
                      <a:pt x="12" y="0"/>
                      <a:pt x="0" y="12"/>
                      <a:pt x="0" y="27"/>
                    </a:cubicBezTo>
                    <a:cubicBezTo>
                      <a:pt x="0" y="113"/>
                      <a:pt x="0" y="113"/>
                      <a:pt x="0" y="113"/>
                    </a:cubicBezTo>
                    <a:cubicBezTo>
                      <a:pt x="0" y="127"/>
                      <a:pt x="12" y="139"/>
                      <a:pt x="26" y="139"/>
                    </a:cubicBezTo>
                    <a:cubicBezTo>
                      <a:pt x="174" y="139"/>
                      <a:pt x="174" y="139"/>
                      <a:pt x="174" y="139"/>
                    </a:cubicBezTo>
                    <a:cubicBezTo>
                      <a:pt x="188" y="139"/>
                      <a:pt x="200" y="127"/>
                      <a:pt x="200" y="113"/>
                    </a:cubicBezTo>
                    <a:cubicBezTo>
                      <a:pt x="200" y="27"/>
                      <a:pt x="200" y="27"/>
                      <a:pt x="200" y="27"/>
                    </a:cubicBezTo>
                    <a:cubicBezTo>
                      <a:pt x="200" y="12"/>
                      <a:pt x="188" y="0"/>
                      <a:pt x="174" y="0"/>
                    </a:cubicBezTo>
                    <a:moveTo>
                      <a:pt x="185" y="113"/>
                    </a:moveTo>
                    <a:cubicBezTo>
                      <a:pt x="185" y="119"/>
                      <a:pt x="180" y="124"/>
                      <a:pt x="174" y="124"/>
                    </a:cubicBezTo>
                    <a:cubicBezTo>
                      <a:pt x="26" y="124"/>
                      <a:pt x="26" y="124"/>
                      <a:pt x="26" y="124"/>
                    </a:cubicBezTo>
                    <a:cubicBezTo>
                      <a:pt x="20" y="124"/>
                      <a:pt x="15" y="119"/>
                      <a:pt x="15" y="113"/>
                    </a:cubicBezTo>
                    <a:cubicBezTo>
                      <a:pt x="15" y="27"/>
                      <a:pt x="15" y="27"/>
                      <a:pt x="15" y="27"/>
                    </a:cubicBezTo>
                    <a:cubicBezTo>
                      <a:pt x="15" y="21"/>
                      <a:pt x="20" y="16"/>
                      <a:pt x="26" y="16"/>
                    </a:cubicBezTo>
                    <a:cubicBezTo>
                      <a:pt x="174" y="16"/>
                      <a:pt x="174" y="16"/>
                      <a:pt x="174" y="16"/>
                    </a:cubicBezTo>
                    <a:cubicBezTo>
                      <a:pt x="180" y="16"/>
                      <a:pt x="185" y="21"/>
                      <a:pt x="185" y="27"/>
                    </a:cubicBezTo>
                    <a:lnTo>
                      <a:pt x="185" y="1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4" name="Freeform 20"/>
              <p:cNvSpPr>
                <a:spLocks/>
              </p:cNvSpPr>
              <p:nvPr/>
            </p:nvSpPr>
            <p:spPr bwMode="black">
              <a:xfrm>
                <a:off x="3178176" y="2154238"/>
                <a:ext cx="1035050" cy="239713"/>
              </a:xfrm>
              <a:custGeom>
                <a:avLst/>
                <a:gdLst>
                  <a:gd name="T0" fmla="*/ 7 w 276"/>
                  <a:gd name="T1" fmla="*/ 64 h 64"/>
                  <a:gd name="T2" fmla="*/ 269 w 276"/>
                  <a:gd name="T3" fmla="*/ 64 h 64"/>
                  <a:gd name="T4" fmla="*/ 276 w 276"/>
                  <a:gd name="T5" fmla="*/ 57 h 64"/>
                  <a:gd name="T6" fmla="*/ 276 w 276"/>
                  <a:gd name="T7" fmla="*/ 54 h 64"/>
                  <a:gd name="T8" fmla="*/ 272 w 276"/>
                  <a:gd name="T9" fmla="*/ 42 h 64"/>
                  <a:gd name="T10" fmla="*/ 240 w 276"/>
                  <a:gd name="T11" fmla="*/ 5 h 64"/>
                  <a:gd name="T12" fmla="*/ 229 w 276"/>
                  <a:gd name="T13" fmla="*/ 0 h 64"/>
                  <a:gd name="T14" fmla="*/ 47 w 276"/>
                  <a:gd name="T15" fmla="*/ 0 h 64"/>
                  <a:gd name="T16" fmla="*/ 36 w 276"/>
                  <a:gd name="T17" fmla="*/ 5 h 64"/>
                  <a:gd name="T18" fmla="*/ 4 w 276"/>
                  <a:gd name="T19" fmla="*/ 42 h 64"/>
                  <a:gd name="T20" fmla="*/ 0 w 276"/>
                  <a:gd name="T21" fmla="*/ 54 h 64"/>
                  <a:gd name="T22" fmla="*/ 0 w 276"/>
                  <a:gd name="T23" fmla="*/ 57 h 64"/>
                  <a:gd name="T24" fmla="*/ 7 w 27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6" h="64">
                    <a:moveTo>
                      <a:pt x="7" y="64"/>
                    </a:moveTo>
                    <a:cubicBezTo>
                      <a:pt x="269" y="64"/>
                      <a:pt x="269" y="64"/>
                      <a:pt x="269" y="64"/>
                    </a:cubicBezTo>
                    <a:cubicBezTo>
                      <a:pt x="273" y="64"/>
                      <a:pt x="276" y="61"/>
                      <a:pt x="276" y="57"/>
                    </a:cubicBezTo>
                    <a:cubicBezTo>
                      <a:pt x="276" y="54"/>
                      <a:pt x="276" y="54"/>
                      <a:pt x="276" y="54"/>
                    </a:cubicBezTo>
                    <a:cubicBezTo>
                      <a:pt x="276" y="50"/>
                      <a:pt x="274" y="45"/>
                      <a:pt x="272" y="42"/>
                    </a:cubicBezTo>
                    <a:cubicBezTo>
                      <a:pt x="240" y="5"/>
                      <a:pt x="240" y="5"/>
                      <a:pt x="240" y="5"/>
                    </a:cubicBezTo>
                    <a:cubicBezTo>
                      <a:pt x="238" y="2"/>
                      <a:pt x="233" y="0"/>
                      <a:pt x="229" y="0"/>
                    </a:cubicBezTo>
                    <a:cubicBezTo>
                      <a:pt x="47" y="0"/>
                      <a:pt x="47" y="0"/>
                      <a:pt x="47" y="0"/>
                    </a:cubicBezTo>
                    <a:cubicBezTo>
                      <a:pt x="43" y="0"/>
                      <a:pt x="38" y="2"/>
                      <a:pt x="36" y="5"/>
                    </a:cubicBezTo>
                    <a:cubicBezTo>
                      <a:pt x="4" y="42"/>
                      <a:pt x="4" y="42"/>
                      <a:pt x="4" y="42"/>
                    </a:cubicBezTo>
                    <a:cubicBezTo>
                      <a:pt x="2" y="45"/>
                      <a:pt x="0" y="50"/>
                      <a:pt x="0" y="54"/>
                    </a:cubicBezTo>
                    <a:cubicBezTo>
                      <a:pt x="0" y="57"/>
                      <a:pt x="0" y="57"/>
                      <a:pt x="0" y="57"/>
                    </a:cubicBezTo>
                    <a:cubicBezTo>
                      <a:pt x="0" y="61"/>
                      <a:pt x="3" y="64"/>
                      <a:pt x="7"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5" name="Freeform 21"/>
              <p:cNvSpPr>
                <a:spLocks noEditPoints="1"/>
              </p:cNvSpPr>
              <p:nvPr/>
            </p:nvSpPr>
            <p:spPr bwMode="black">
              <a:xfrm>
                <a:off x="4730751" y="1639888"/>
                <a:ext cx="781050" cy="608013"/>
              </a:xfrm>
              <a:custGeom>
                <a:avLst/>
                <a:gdLst>
                  <a:gd name="T0" fmla="*/ 177 w 208"/>
                  <a:gd name="T1" fmla="*/ 0 h 162"/>
                  <a:gd name="T2" fmla="*/ 31 w 208"/>
                  <a:gd name="T3" fmla="*/ 0 h 162"/>
                  <a:gd name="T4" fmla="*/ 0 w 208"/>
                  <a:gd name="T5" fmla="*/ 31 h 162"/>
                  <a:gd name="T6" fmla="*/ 0 w 208"/>
                  <a:gd name="T7" fmla="*/ 131 h 162"/>
                  <a:gd name="T8" fmla="*/ 31 w 208"/>
                  <a:gd name="T9" fmla="*/ 162 h 162"/>
                  <a:gd name="T10" fmla="*/ 177 w 208"/>
                  <a:gd name="T11" fmla="*/ 162 h 162"/>
                  <a:gd name="T12" fmla="*/ 208 w 208"/>
                  <a:gd name="T13" fmla="*/ 131 h 162"/>
                  <a:gd name="T14" fmla="*/ 208 w 208"/>
                  <a:gd name="T15" fmla="*/ 31 h 162"/>
                  <a:gd name="T16" fmla="*/ 177 w 208"/>
                  <a:gd name="T17" fmla="*/ 0 h 162"/>
                  <a:gd name="T18" fmla="*/ 190 w 208"/>
                  <a:gd name="T19" fmla="*/ 131 h 162"/>
                  <a:gd name="T20" fmla="*/ 177 w 208"/>
                  <a:gd name="T21" fmla="*/ 144 h 162"/>
                  <a:gd name="T22" fmla="*/ 31 w 208"/>
                  <a:gd name="T23" fmla="*/ 144 h 162"/>
                  <a:gd name="T24" fmla="*/ 18 w 208"/>
                  <a:gd name="T25" fmla="*/ 131 h 162"/>
                  <a:gd name="T26" fmla="*/ 18 w 208"/>
                  <a:gd name="T27" fmla="*/ 31 h 162"/>
                  <a:gd name="T28" fmla="*/ 31 w 208"/>
                  <a:gd name="T29" fmla="*/ 18 h 162"/>
                  <a:gd name="T30" fmla="*/ 177 w 208"/>
                  <a:gd name="T31" fmla="*/ 18 h 162"/>
                  <a:gd name="T32" fmla="*/ 190 w 208"/>
                  <a:gd name="T33" fmla="*/ 31 h 162"/>
                  <a:gd name="T34" fmla="*/ 190 w 208"/>
                  <a:gd name="T35" fmla="*/ 13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 h="162">
                    <a:moveTo>
                      <a:pt x="177" y="0"/>
                    </a:moveTo>
                    <a:cubicBezTo>
                      <a:pt x="31" y="0"/>
                      <a:pt x="31" y="0"/>
                      <a:pt x="31" y="0"/>
                    </a:cubicBezTo>
                    <a:cubicBezTo>
                      <a:pt x="14" y="0"/>
                      <a:pt x="0" y="14"/>
                      <a:pt x="0" y="31"/>
                    </a:cubicBezTo>
                    <a:cubicBezTo>
                      <a:pt x="0" y="131"/>
                      <a:pt x="0" y="131"/>
                      <a:pt x="0" y="131"/>
                    </a:cubicBezTo>
                    <a:cubicBezTo>
                      <a:pt x="0" y="148"/>
                      <a:pt x="14" y="162"/>
                      <a:pt x="31" y="162"/>
                    </a:cubicBezTo>
                    <a:cubicBezTo>
                      <a:pt x="177" y="162"/>
                      <a:pt x="177" y="162"/>
                      <a:pt x="177" y="162"/>
                    </a:cubicBezTo>
                    <a:cubicBezTo>
                      <a:pt x="194" y="162"/>
                      <a:pt x="208" y="148"/>
                      <a:pt x="208" y="131"/>
                    </a:cubicBezTo>
                    <a:cubicBezTo>
                      <a:pt x="208" y="31"/>
                      <a:pt x="208" y="31"/>
                      <a:pt x="208" y="31"/>
                    </a:cubicBezTo>
                    <a:cubicBezTo>
                      <a:pt x="208" y="14"/>
                      <a:pt x="194" y="0"/>
                      <a:pt x="177" y="0"/>
                    </a:cubicBezTo>
                    <a:moveTo>
                      <a:pt x="190" y="131"/>
                    </a:moveTo>
                    <a:cubicBezTo>
                      <a:pt x="190" y="138"/>
                      <a:pt x="184" y="144"/>
                      <a:pt x="177" y="144"/>
                    </a:cubicBezTo>
                    <a:cubicBezTo>
                      <a:pt x="31" y="144"/>
                      <a:pt x="31" y="144"/>
                      <a:pt x="31" y="144"/>
                    </a:cubicBezTo>
                    <a:cubicBezTo>
                      <a:pt x="24" y="144"/>
                      <a:pt x="18" y="138"/>
                      <a:pt x="18" y="131"/>
                    </a:cubicBezTo>
                    <a:cubicBezTo>
                      <a:pt x="18" y="31"/>
                      <a:pt x="18" y="31"/>
                      <a:pt x="18" y="31"/>
                    </a:cubicBezTo>
                    <a:cubicBezTo>
                      <a:pt x="18" y="24"/>
                      <a:pt x="24" y="18"/>
                      <a:pt x="31" y="18"/>
                    </a:cubicBezTo>
                    <a:cubicBezTo>
                      <a:pt x="177" y="18"/>
                      <a:pt x="177" y="18"/>
                      <a:pt x="177" y="18"/>
                    </a:cubicBezTo>
                    <a:cubicBezTo>
                      <a:pt x="184" y="18"/>
                      <a:pt x="190" y="24"/>
                      <a:pt x="190" y="31"/>
                    </a:cubicBezTo>
                    <a:lnTo>
                      <a:pt x="190" y="1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6" name="Freeform 22"/>
              <p:cNvSpPr>
                <a:spLocks/>
              </p:cNvSpPr>
              <p:nvPr/>
            </p:nvSpPr>
            <p:spPr bwMode="black">
              <a:xfrm>
                <a:off x="4911726" y="2289176"/>
                <a:ext cx="419100" cy="104775"/>
              </a:xfrm>
              <a:custGeom>
                <a:avLst/>
                <a:gdLst>
                  <a:gd name="T0" fmla="*/ 112 w 112"/>
                  <a:gd name="T1" fmla="*/ 25 h 28"/>
                  <a:gd name="T2" fmla="*/ 112 w 112"/>
                  <a:gd name="T3" fmla="*/ 23 h 28"/>
                  <a:gd name="T4" fmla="*/ 110 w 112"/>
                  <a:gd name="T5" fmla="*/ 18 h 28"/>
                  <a:gd name="T6" fmla="*/ 96 w 112"/>
                  <a:gd name="T7" fmla="*/ 2 h 28"/>
                  <a:gd name="T8" fmla="*/ 91 w 112"/>
                  <a:gd name="T9" fmla="*/ 0 h 28"/>
                  <a:gd name="T10" fmla="*/ 21 w 112"/>
                  <a:gd name="T11" fmla="*/ 0 h 28"/>
                  <a:gd name="T12" fmla="*/ 16 w 112"/>
                  <a:gd name="T13" fmla="*/ 2 h 28"/>
                  <a:gd name="T14" fmla="*/ 2 w 112"/>
                  <a:gd name="T15" fmla="*/ 18 h 28"/>
                  <a:gd name="T16" fmla="*/ 0 w 112"/>
                  <a:gd name="T17" fmla="*/ 23 h 28"/>
                  <a:gd name="T18" fmla="*/ 0 w 112"/>
                  <a:gd name="T19" fmla="*/ 25 h 28"/>
                  <a:gd name="T20" fmla="*/ 3 w 112"/>
                  <a:gd name="T21" fmla="*/ 28 h 28"/>
                  <a:gd name="T22" fmla="*/ 109 w 112"/>
                  <a:gd name="T23" fmla="*/ 28 h 28"/>
                  <a:gd name="T24" fmla="*/ 112 w 112"/>
                  <a:gd name="T25"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28">
                    <a:moveTo>
                      <a:pt x="112" y="25"/>
                    </a:moveTo>
                    <a:cubicBezTo>
                      <a:pt x="112" y="23"/>
                      <a:pt x="112" y="23"/>
                      <a:pt x="112" y="23"/>
                    </a:cubicBezTo>
                    <a:cubicBezTo>
                      <a:pt x="112" y="22"/>
                      <a:pt x="111" y="20"/>
                      <a:pt x="110" y="18"/>
                    </a:cubicBezTo>
                    <a:cubicBezTo>
                      <a:pt x="96" y="2"/>
                      <a:pt x="96" y="2"/>
                      <a:pt x="96" y="2"/>
                    </a:cubicBezTo>
                    <a:cubicBezTo>
                      <a:pt x="95" y="1"/>
                      <a:pt x="93" y="0"/>
                      <a:pt x="91" y="0"/>
                    </a:cubicBezTo>
                    <a:cubicBezTo>
                      <a:pt x="21" y="0"/>
                      <a:pt x="21" y="0"/>
                      <a:pt x="21" y="0"/>
                    </a:cubicBezTo>
                    <a:cubicBezTo>
                      <a:pt x="19" y="0"/>
                      <a:pt x="17" y="1"/>
                      <a:pt x="16" y="2"/>
                    </a:cubicBezTo>
                    <a:cubicBezTo>
                      <a:pt x="2" y="18"/>
                      <a:pt x="2" y="18"/>
                      <a:pt x="2" y="18"/>
                    </a:cubicBezTo>
                    <a:cubicBezTo>
                      <a:pt x="1" y="20"/>
                      <a:pt x="0" y="22"/>
                      <a:pt x="0" y="23"/>
                    </a:cubicBezTo>
                    <a:cubicBezTo>
                      <a:pt x="0" y="25"/>
                      <a:pt x="0" y="25"/>
                      <a:pt x="0" y="25"/>
                    </a:cubicBezTo>
                    <a:cubicBezTo>
                      <a:pt x="0" y="26"/>
                      <a:pt x="1" y="28"/>
                      <a:pt x="3" y="28"/>
                    </a:cubicBezTo>
                    <a:cubicBezTo>
                      <a:pt x="109" y="28"/>
                      <a:pt x="109" y="28"/>
                      <a:pt x="109" y="28"/>
                    </a:cubicBezTo>
                    <a:cubicBezTo>
                      <a:pt x="111" y="28"/>
                      <a:pt x="112" y="26"/>
                      <a:pt x="112" y="2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7" name="Freeform 23"/>
              <p:cNvSpPr>
                <a:spLocks noEditPoints="1"/>
              </p:cNvSpPr>
              <p:nvPr/>
            </p:nvSpPr>
            <p:spPr bwMode="black">
              <a:xfrm>
                <a:off x="5586413" y="1639888"/>
                <a:ext cx="385763" cy="754063"/>
              </a:xfrm>
              <a:custGeom>
                <a:avLst/>
                <a:gdLst>
                  <a:gd name="T0" fmla="*/ 89 w 103"/>
                  <a:gd name="T1" fmla="*/ 0 h 201"/>
                  <a:gd name="T2" fmla="*/ 13 w 103"/>
                  <a:gd name="T3" fmla="*/ 0 h 201"/>
                  <a:gd name="T4" fmla="*/ 0 w 103"/>
                  <a:gd name="T5" fmla="*/ 13 h 201"/>
                  <a:gd name="T6" fmla="*/ 0 w 103"/>
                  <a:gd name="T7" fmla="*/ 187 h 201"/>
                  <a:gd name="T8" fmla="*/ 13 w 103"/>
                  <a:gd name="T9" fmla="*/ 201 h 201"/>
                  <a:gd name="T10" fmla="*/ 89 w 103"/>
                  <a:gd name="T11" fmla="*/ 201 h 201"/>
                  <a:gd name="T12" fmla="*/ 103 w 103"/>
                  <a:gd name="T13" fmla="*/ 187 h 201"/>
                  <a:gd name="T14" fmla="*/ 103 w 103"/>
                  <a:gd name="T15" fmla="*/ 13 h 201"/>
                  <a:gd name="T16" fmla="*/ 89 w 103"/>
                  <a:gd name="T17" fmla="*/ 0 h 201"/>
                  <a:gd name="T18" fmla="*/ 52 w 103"/>
                  <a:gd name="T19" fmla="*/ 187 h 201"/>
                  <a:gd name="T20" fmla="*/ 40 w 103"/>
                  <a:gd name="T21" fmla="*/ 175 h 201"/>
                  <a:gd name="T22" fmla="*/ 52 w 103"/>
                  <a:gd name="T23" fmla="*/ 163 h 201"/>
                  <a:gd name="T24" fmla="*/ 63 w 103"/>
                  <a:gd name="T25" fmla="*/ 175 h 201"/>
                  <a:gd name="T26" fmla="*/ 52 w 103"/>
                  <a:gd name="T27" fmla="*/ 18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201">
                    <a:moveTo>
                      <a:pt x="89" y="0"/>
                    </a:moveTo>
                    <a:cubicBezTo>
                      <a:pt x="13" y="0"/>
                      <a:pt x="13" y="0"/>
                      <a:pt x="13" y="0"/>
                    </a:cubicBezTo>
                    <a:cubicBezTo>
                      <a:pt x="6" y="0"/>
                      <a:pt x="0" y="6"/>
                      <a:pt x="0" y="13"/>
                    </a:cubicBezTo>
                    <a:cubicBezTo>
                      <a:pt x="0" y="187"/>
                      <a:pt x="0" y="187"/>
                      <a:pt x="0" y="187"/>
                    </a:cubicBezTo>
                    <a:cubicBezTo>
                      <a:pt x="0" y="195"/>
                      <a:pt x="6" y="201"/>
                      <a:pt x="13" y="201"/>
                    </a:cubicBezTo>
                    <a:cubicBezTo>
                      <a:pt x="89" y="201"/>
                      <a:pt x="89" y="201"/>
                      <a:pt x="89" y="201"/>
                    </a:cubicBezTo>
                    <a:cubicBezTo>
                      <a:pt x="97" y="201"/>
                      <a:pt x="103" y="195"/>
                      <a:pt x="103" y="187"/>
                    </a:cubicBezTo>
                    <a:cubicBezTo>
                      <a:pt x="103" y="13"/>
                      <a:pt x="103" y="13"/>
                      <a:pt x="103" y="13"/>
                    </a:cubicBezTo>
                    <a:cubicBezTo>
                      <a:pt x="103" y="6"/>
                      <a:pt x="97" y="0"/>
                      <a:pt x="89" y="0"/>
                    </a:cubicBezTo>
                    <a:moveTo>
                      <a:pt x="52" y="187"/>
                    </a:moveTo>
                    <a:cubicBezTo>
                      <a:pt x="45" y="187"/>
                      <a:pt x="40" y="181"/>
                      <a:pt x="40" y="175"/>
                    </a:cubicBezTo>
                    <a:cubicBezTo>
                      <a:pt x="40" y="168"/>
                      <a:pt x="45" y="163"/>
                      <a:pt x="52" y="163"/>
                    </a:cubicBezTo>
                    <a:cubicBezTo>
                      <a:pt x="58" y="163"/>
                      <a:pt x="63" y="168"/>
                      <a:pt x="63" y="175"/>
                    </a:cubicBezTo>
                    <a:cubicBezTo>
                      <a:pt x="63" y="181"/>
                      <a:pt x="58" y="187"/>
                      <a:pt x="52" y="18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8" name="Freeform 24"/>
              <p:cNvSpPr>
                <a:spLocks noEditPoints="1"/>
              </p:cNvSpPr>
              <p:nvPr/>
            </p:nvSpPr>
            <p:spPr bwMode="black">
              <a:xfrm>
                <a:off x="2462213" y="3032126"/>
                <a:ext cx="525463" cy="804863"/>
              </a:xfrm>
              <a:custGeom>
                <a:avLst/>
                <a:gdLst>
                  <a:gd name="T0" fmla="*/ 109 w 140"/>
                  <a:gd name="T1" fmla="*/ 0 h 215"/>
                  <a:gd name="T2" fmla="*/ 31 w 140"/>
                  <a:gd name="T3" fmla="*/ 0 h 215"/>
                  <a:gd name="T4" fmla="*/ 0 w 140"/>
                  <a:gd name="T5" fmla="*/ 30 h 215"/>
                  <a:gd name="T6" fmla="*/ 0 w 140"/>
                  <a:gd name="T7" fmla="*/ 184 h 215"/>
                  <a:gd name="T8" fmla="*/ 31 w 140"/>
                  <a:gd name="T9" fmla="*/ 215 h 215"/>
                  <a:gd name="T10" fmla="*/ 109 w 140"/>
                  <a:gd name="T11" fmla="*/ 215 h 215"/>
                  <a:gd name="T12" fmla="*/ 140 w 140"/>
                  <a:gd name="T13" fmla="*/ 184 h 215"/>
                  <a:gd name="T14" fmla="*/ 140 w 140"/>
                  <a:gd name="T15" fmla="*/ 30 h 215"/>
                  <a:gd name="T16" fmla="*/ 109 w 140"/>
                  <a:gd name="T17" fmla="*/ 0 h 215"/>
                  <a:gd name="T18" fmla="*/ 122 w 140"/>
                  <a:gd name="T19" fmla="*/ 177 h 215"/>
                  <a:gd name="T20" fmla="*/ 109 w 140"/>
                  <a:gd name="T21" fmla="*/ 195 h 215"/>
                  <a:gd name="T22" fmla="*/ 31 w 140"/>
                  <a:gd name="T23" fmla="*/ 195 h 215"/>
                  <a:gd name="T24" fmla="*/ 18 w 140"/>
                  <a:gd name="T25" fmla="*/ 177 h 215"/>
                  <a:gd name="T26" fmla="*/ 18 w 140"/>
                  <a:gd name="T27" fmla="*/ 35 h 215"/>
                  <a:gd name="T28" fmla="*/ 31 w 140"/>
                  <a:gd name="T29" fmla="*/ 18 h 215"/>
                  <a:gd name="T30" fmla="*/ 109 w 140"/>
                  <a:gd name="T31" fmla="*/ 18 h 215"/>
                  <a:gd name="T32" fmla="*/ 122 w 140"/>
                  <a:gd name="T33" fmla="*/ 35 h 215"/>
                  <a:gd name="T34" fmla="*/ 122 w 140"/>
                  <a:gd name="T35" fmla="*/ 17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215">
                    <a:moveTo>
                      <a:pt x="109" y="0"/>
                    </a:moveTo>
                    <a:cubicBezTo>
                      <a:pt x="31" y="0"/>
                      <a:pt x="31" y="0"/>
                      <a:pt x="31" y="0"/>
                    </a:cubicBezTo>
                    <a:cubicBezTo>
                      <a:pt x="14" y="0"/>
                      <a:pt x="0" y="13"/>
                      <a:pt x="0" y="30"/>
                    </a:cubicBezTo>
                    <a:cubicBezTo>
                      <a:pt x="0" y="184"/>
                      <a:pt x="0" y="184"/>
                      <a:pt x="0" y="184"/>
                    </a:cubicBezTo>
                    <a:cubicBezTo>
                      <a:pt x="0" y="201"/>
                      <a:pt x="14" y="215"/>
                      <a:pt x="31" y="215"/>
                    </a:cubicBezTo>
                    <a:cubicBezTo>
                      <a:pt x="109" y="215"/>
                      <a:pt x="109" y="215"/>
                      <a:pt x="109" y="215"/>
                    </a:cubicBezTo>
                    <a:cubicBezTo>
                      <a:pt x="126" y="215"/>
                      <a:pt x="140" y="201"/>
                      <a:pt x="140" y="184"/>
                    </a:cubicBezTo>
                    <a:cubicBezTo>
                      <a:pt x="140" y="30"/>
                      <a:pt x="140" y="30"/>
                      <a:pt x="140" y="30"/>
                    </a:cubicBezTo>
                    <a:cubicBezTo>
                      <a:pt x="140" y="13"/>
                      <a:pt x="126" y="0"/>
                      <a:pt x="109" y="0"/>
                    </a:cubicBezTo>
                    <a:moveTo>
                      <a:pt x="122" y="177"/>
                    </a:moveTo>
                    <a:cubicBezTo>
                      <a:pt x="122" y="187"/>
                      <a:pt x="116" y="195"/>
                      <a:pt x="109" y="195"/>
                    </a:cubicBezTo>
                    <a:cubicBezTo>
                      <a:pt x="31" y="195"/>
                      <a:pt x="31" y="195"/>
                      <a:pt x="31" y="195"/>
                    </a:cubicBezTo>
                    <a:cubicBezTo>
                      <a:pt x="24" y="195"/>
                      <a:pt x="18" y="187"/>
                      <a:pt x="18" y="177"/>
                    </a:cubicBezTo>
                    <a:cubicBezTo>
                      <a:pt x="18" y="35"/>
                      <a:pt x="18" y="35"/>
                      <a:pt x="18" y="35"/>
                    </a:cubicBezTo>
                    <a:cubicBezTo>
                      <a:pt x="18" y="26"/>
                      <a:pt x="24" y="18"/>
                      <a:pt x="31" y="18"/>
                    </a:cubicBezTo>
                    <a:cubicBezTo>
                      <a:pt x="109" y="18"/>
                      <a:pt x="109" y="18"/>
                      <a:pt x="109" y="18"/>
                    </a:cubicBezTo>
                    <a:cubicBezTo>
                      <a:pt x="116" y="18"/>
                      <a:pt x="122" y="26"/>
                      <a:pt x="122" y="35"/>
                    </a:cubicBezTo>
                    <a:lnTo>
                      <a:pt x="122" y="1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9" name="Freeform 25"/>
              <p:cNvSpPr>
                <a:spLocks noEditPoints="1"/>
              </p:cNvSpPr>
              <p:nvPr/>
            </p:nvSpPr>
            <p:spPr bwMode="black">
              <a:xfrm>
                <a:off x="5049838" y="4411663"/>
                <a:ext cx="739775" cy="854075"/>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00" name="Freeform 26"/>
              <p:cNvSpPr>
                <a:spLocks noEditPoints="1"/>
              </p:cNvSpPr>
              <p:nvPr/>
            </p:nvSpPr>
            <p:spPr bwMode="black">
              <a:xfrm>
                <a:off x="6043613" y="2960688"/>
                <a:ext cx="641350" cy="876300"/>
              </a:xfrm>
              <a:custGeom>
                <a:avLst/>
                <a:gdLst>
                  <a:gd name="T0" fmla="*/ 146 w 171"/>
                  <a:gd name="T1" fmla="*/ 0 h 234"/>
                  <a:gd name="T2" fmla="*/ 25 w 171"/>
                  <a:gd name="T3" fmla="*/ 0 h 234"/>
                  <a:gd name="T4" fmla="*/ 0 w 171"/>
                  <a:gd name="T5" fmla="*/ 25 h 234"/>
                  <a:gd name="T6" fmla="*/ 0 w 171"/>
                  <a:gd name="T7" fmla="*/ 209 h 234"/>
                  <a:gd name="T8" fmla="*/ 25 w 171"/>
                  <a:gd name="T9" fmla="*/ 234 h 234"/>
                  <a:gd name="T10" fmla="*/ 146 w 171"/>
                  <a:gd name="T11" fmla="*/ 234 h 234"/>
                  <a:gd name="T12" fmla="*/ 171 w 171"/>
                  <a:gd name="T13" fmla="*/ 209 h 234"/>
                  <a:gd name="T14" fmla="*/ 171 w 171"/>
                  <a:gd name="T15" fmla="*/ 25 h 234"/>
                  <a:gd name="T16" fmla="*/ 146 w 171"/>
                  <a:gd name="T17" fmla="*/ 0 h 234"/>
                  <a:gd name="T18" fmla="*/ 157 w 171"/>
                  <a:gd name="T19" fmla="*/ 183 h 234"/>
                  <a:gd name="T20" fmla="*/ 146 w 171"/>
                  <a:gd name="T21" fmla="*/ 193 h 234"/>
                  <a:gd name="T22" fmla="*/ 25 w 171"/>
                  <a:gd name="T23" fmla="*/ 193 h 234"/>
                  <a:gd name="T24" fmla="*/ 15 w 171"/>
                  <a:gd name="T25" fmla="*/ 183 h 234"/>
                  <a:gd name="T26" fmla="*/ 15 w 171"/>
                  <a:gd name="T27" fmla="*/ 25 h 234"/>
                  <a:gd name="T28" fmla="*/ 25 w 171"/>
                  <a:gd name="T29" fmla="*/ 14 h 234"/>
                  <a:gd name="T30" fmla="*/ 146 w 171"/>
                  <a:gd name="T31" fmla="*/ 14 h 234"/>
                  <a:gd name="T32" fmla="*/ 157 w 171"/>
                  <a:gd name="T33" fmla="*/ 25 h 234"/>
                  <a:gd name="T34" fmla="*/ 157 w 171"/>
                  <a:gd name="T35" fmla="*/ 18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234">
                    <a:moveTo>
                      <a:pt x="146" y="0"/>
                    </a:moveTo>
                    <a:cubicBezTo>
                      <a:pt x="25" y="0"/>
                      <a:pt x="25" y="0"/>
                      <a:pt x="25" y="0"/>
                    </a:cubicBezTo>
                    <a:cubicBezTo>
                      <a:pt x="11" y="0"/>
                      <a:pt x="0" y="11"/>
                      <a:pt x="0" y="25"/>
                    </a:cubicBezTo>
                    <a:cubicBezTo>
                      <a:pt x="0" y="209"/>
                      <a:pt x="0" y="209"/>
                      <a:pt x="0" y="209"/>
                    </a:cubicBezTo>
                    <a:cubicBezTo>
                      <a:pt x="0" y="223"/>
                      <a:pt x="11" y="234"/>
                      <a:pt x="25" y="234"/>
                    </a:cubicBezTo>
                    <a:cubicBezTo>
                      <a:pt x="146" y="234"/>
                      <a:pt x="146" y="234"/>
                      <a:pt x="146" y="234"/>
                    </a:cubicBezTo>
                    <a:cubicBezTo>
                      <a:pt x="160" y="234"/>
                      <a:pt x="171" y="223"/>
                      <a:pt x="171" y="209"/>
                    </a:cubicBezTo>
                    <a:cubicBezTo>
                      <a:pt x="171" y="25"/>
                      <a:pt x="171" y="25"/>
                      <a:pt x="171" y="25"/>
                    </a:cubicBezTo>
                    <a:cubicBezTo>
                      <a:pt x="171" y="11"/>
                      <a:pt x="160" y="0"/>
                      <a:pt x="146" y="0"/>
                    </a:cubicBezTo>
                    <a:moveTo>
                      <a:pt x="157" y="183"/>
                    </a:moveTo>
                    <a:cubicBezTo>
                      <a:pt x="157" y="188"/>
                      <a:pt x="152" y="193"/>
                      <a:pt x="146" y="193"/>
                    </a:cubicBezTo>
                    <a:cubicBezTo>
                      <a:pt x="25" y="193"/>
                      <a:pt x="25" y="193"/>
                      <a:pt x="25" y="193"/>
                    </a:cubicBezTo>
                    <a:cubicBezTo>
                      <a:pt x="19" y="193"/>
                      <a:pt x="15" y="188"/>
                      <a:pt x="15" y="183"/>
                    </a:cubicBezTo>
                    <a:cubicBezTo>
                      <a:pt x="15" y="25"/>
                      <a:pt x="15" y="25"/>
                      <a:pt x="15" y="25"/>
                    </a:cubicBezTo>
                    <a:cubicBezTo>
                      <a:pt x="15" y="19"/>
                      <a:pt x="19" y="14"/>
                      <a:pt x="25" y="14"/>
                    </a:cubicBezTo>
                    <a:cubicBezTo>
                      <a:pt x="146" y="14"/>
                      <a:pt x="146" y="14"/>
                      <a:pt x="146" y="14"/>
                    </a:cubicBezTo>
                    <a:cubicBezTo>
                      <a:pt x="152" y="14"/>
                      <a:pt x="157" y="19"/>
                      <a:pt x="157" y="25"/>
                    </a:cubicBezTo>
                    <a:lnTo>
                      <a:pt x="157" y="1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01" name="Oval 27"/>
              <p:cNvSpPr>
                <a:spLocks noChangeArrowheads="1"/>
              </p:cNvSpPr>
              <p:nvPr/>
            </p:nvSpPr>
            <p:spPr bwMode="black">
              <a:xfrm>
                <a:off x="62245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02" name="Oval 28"/>
              <p:cNvSpPr>
                <a:spLocks noChangeArrowheads="1"/>
              </p:cNvSpPr>
              <p:nvPr/>
            </p:nvSpPr>
            <p:spPr bwMode="black">
              <a:xfrm>
                <a:off x="64531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03" name="Oval 29"/>
              <p:cNvSpPr>
                <a:spLocks noChangeArrowheads="1"/>
              </p:cNvSpPr>
              <p:nvPr/>
            </p:nvSpPr>
            <p:spPr bwMode="black">
              <a:xfrm>
                <a:off x="6340476"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04" name="Freeform 30"/>
              <p:cNvSpPr>
                <a:spLocks/>
              </p:cNvSpPr>
              <p:nvPr/>
            </p:nvSpPr>
            <p:spPr bwMode="black">
              <a:xfrm>
                <a:off x="3425826" y="4279901"/>
                <a:ext cx="442913" cy="16192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05" name="Freeform 31"/>
              <p:cNvSpPr>
                <a:spLocks noEditPoints="1"/>
              </p:cNvSpPr>
              <p:nvPr/>
            </p:nvSpPr>
            <p:spPr bwMode="black">
              <a:xfrm>
                <a:off x="3414713" y="4456113"/>
                <a:ext cx="476250" cy="80962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261" name="Group 260"/>
            <p:cNvGrpSpPr/>
            <p:nvPr/>
          </p:nvGrpSpPr>
          <p:grpSpPr>
            <a:xfrm>
              <a:off x="4212784" y="1135794"/>
              <a:ext cx="812069" cy="1007838"/>
              <a:chOff x="3855785" y="2085994"/>
              <a:chExt cx="1049213" cy="1210776"/>
            </a:xfrm>
          </p:grpSpPr>
          <p:pic>
            <p:nvPicPr>
              <p:cNvPr id="277" name="Picture 2" descr="\\MAGNUM\Projects\Microsoft\Cloud Power FY12\Design\Icons\PNGs\Web.png"/>
              <p:cNvPicPr>
                <a:picLocks noChangeAspect="1" noChangeArrowheads="1"/>
              </p:cNvPicPr>
              <p:nvPr/>
            </p:nvPicPr>
            <p:blipFill rotWithShape="1">
              <a:blip r:embed="rId5" cstate="print">
                <a:lum bright="100000"/>
                <a:extLst>
                  <a:ext uri="{28A0092B-C50C-407E-A947-70E740481C1C}">
                    <a14:useLocalDpi xmlns:a14="http://schemas.microsoft.com/office/drawing/2010/main"/>
                  </a:ext>
                </a:extLst>
              </a:blip>
              <a:srcRect b="-1316"/>
              <a:stretch/>
            </p:blipFill>
            <p:spPr bwMode="auto">
              <a:xfrm>
                <a:off x="3855785" y="2085994"/>
                <a:ext cx="729034" cy="738814"/>
              </a:xfrm>
              <a:prstGeom prst="rect">
                <a:avLst/>
              </a:prstGeom>
              <a:noFill/>
            </p:spPr>
          </p:pic>
          <p:sp>
            <p:nvSpPr>
              <p:cNvPr id="278" name="Isosceles Triangle 277"/>
              <p:cNvSpPr/>
              <p:nvPr/>
            </p:nvSpPr>
            <p:spPr bwMode="auto">
              <a:xfrm rot="10800000">
                <a:off x="3923503" y="2701439"/>
                <a:ext cx="588306" cy="387866"/>
              </a:xfrm>
              <a:prstGeom prst="triangle">
                <a:avLst>
                  <a:gd name="adj" fmla="val 0"/>
                </a:avLst>
              </a:prstGeom>
              <a:solidFill>
                <a:schemeClr val="accent5">
                  <a:lumMod val="60000"/>
                  <a:lumOff val="40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71204"/>
                <a:endParaRPr lang="en-US" sz="1200" dirty="0">
                  <a:gradFill>
                    <a:gsLst>
                      <a:gs pos="0">
                        <a:srgbClr val="FFFFFF"/>
                      </a:gs>
                      <a:gs pos="100000">
                        <a:srgbClr val="FFFFFF"/>
                      </a:gs>
                    </a:gsLst>
                    <a:lin ang="5400000" scaled="0"/>
                  </a:gradFill>
                </a:endParaRPr>
              </a:p>
            </p:txBody>
          </p:sp>
          <p:pic>
            <p:nvPicPr>
              <p:cNvPr id="279" name="Picture 278"/>
              <p:cNvPicPr>
                <a:picLocks noChangeAspect="1"/>
              </p:cNvPicPr>
              <p:nvPr/>
            </p:nvPicPr>
            <p:blipFill>
              <a:blip r:embed="rId6" cstate="print">
                <a:lum bright="100000" contrast="100000"/>
                <a:extLst>
                  <a:ext uri="{28A0092B-C50C-407E-A947-70E740481C1C}">
                    <a14:useLocalDpi xmlns:a14="http://schemas.microsoft.com/office/drawing/2010/main"/>
                  </a:ext>
                </a:extLst>
              </a:blip>
              <a:stretch>
                <a:fillRect/>
              </a:stretch>
            </p:blipFill>
            <p:spPr>
              <a:xfrm>
                <a:off x="4118620" y="2827974"/>
                <a:ext cx="786378" cy="468796"/>
              </a:xfrm>
              <a:prstGeom prst="rect">
                <a:avLst/>
              </a:prstGeom>
              <a:noFill/>
              <a:ln>
                <a:noFill/>
              </a:ln>
              <a:effectLst/>
            </p:spPr>
          </p:pic>
        </p:grpSp>
        <p:grpSp>
          <p:nvGrpSpPr>
            <p:cNvPr id="262" name="Group 261"/>
            <p:cNvGrpSpPr/>
            <p:nvPr/>
          </p:nvGrpSpPr>
          <p:grpSpPr>
            <a:xfrm>
              <a:off x="2194854" y="1235789"/>
              <a:ext cx="1169720" cy="938915"/>
              <a:chOff x="2472530" y="1870197"/>
              <a:chExt cx="1340839" cy="834183"/>
            </a:xfrm>
          </p:grpSpPr>
          <p:sp>
            <p:nvSpPr>
              <p:cNvPr id="267" name="Isosceles Triangle 108"/>
              <p:cNvSpPr/>
              <p:nvPr/>
            </p:nvSpPr>
            <p:spPr bwMode="auto">
              <a:xfrm rot="7430823">
                <a:off x="2919580" y="2173702"/>
                <a:ext cx="302705" cy="318762"/>
              </a:xfrm>
              <a:custGeom>
                <a:avLst/>
                <a:gdLst/>
                <a:ahLst/>
                <a:cxnLst/>
                <a:rect l="l" t="t" r="r" b="b"/>
                <a:pathLst>
                  <a:path w="346679" h="365070">
                    <a:moveTo>
                      <a:pt x="0" y="335210"/>
                    </a:moveTo>
                    <a:lnTo>
                      <a:pt x="216104" y="0"/>
                    </a:lnTo>
                    <a:lnTo>
                      <a:pt x="346679" y="365070"/>
                    </a:lnTo>
                    <a:cubicBezTo>
                      <a:pt x="301139" y="337702"/>
                      <a:pt x="245429" y="319091"/>
                      <a:pt x="184281" y="312662"/>
                    </a:cubicBezTo>
                    <a:cubicBezTo>
                      <a:pt x="117170" y="305605"/>
                      <a:pt x="53415" y="314262"/>
                      <a:pt x="0" y="335210"/>
                    </a:cubicBezTo>
                    <a:close/>
                  </a:path>
                </a:pathLst>
              </a:custGeom>
              <a:solidFill>
                <a:schemeClr val="accent5">
                  <a:lumMod val="60000"/>
                  <a:lumOff val="40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71204"/>
                <a:endParaRPr lang="en-US" sz="1200" dirty="0">
                  <a:gradFill>
                    <a:gsLst>
                      <a:gs pos="0">
                        <a:srgbClr val="FFFFFF"/>
                      </a:gs>
                      <a:gs pos="100000">
                        <a:srgbClr val="FFFFFF"/>
                      </a:gs>
                    </a:gsLst>
                    <a:lin ang="5400000" scaled="0"/>
                  </a:gradFill>
                </a:endParaRPr>
              </a:p>
            </p:txBody>
          </p:sp>
          <p:pic>
            <p:nvPicPr>
              <p:cNvPr id="268" name="Picture 267"/>
              <p:cNvPicPr>
                <a:picLocks noChangeAspect="1"/>
              </p:cNvPicPr>
              <p:nvPr/>
            </p:nvPicPr>
            <p:blipFill>
              <a:blip r:embed="rId7" cstate="print">
                <a:lum bright="100000" contrast="100000"/>
                <a:extLst>
                  <a:ext uri="{28A0092B-C50C-407E-A947-70E740481C1C}">
                    <a14:useLocalDpi xmlns:a14="http://schemas.microsoft.com/office/drawing/2010/main"/>
                  </a:ext>
                </a:extLst>
              </a:blip>
              <a:stretch>
                <a:fillRect/>
              </a:stretch>
            </p:blipFill>
            <p:spPr>
              <a:xfrm>
                <a:off x="3126739" y="2295049"/>
                <a:ext cx="686630" cy="409331"/>
              </a:xfrm>
              <a:prstGeom prst="rect">
                <a:avLst/>
              </a:prstGeom>
              <a:noFill/>
              <a:ln>
                <a:noFill/>
              </a:ln>
              <a:effectLst/>
            </p:spPr>
          </p:pic>
          <p:grpSp>
            <p:nvGrpSpPr>
              <p:cNvPr id="269" name="Group 268"/>
              <p:cNvGrpSpPr/>
              <p:nvPr/>
            </p:nvGrpSpPr>
            <p:grpSpPr bwMode="black">
              <a:xfrm flipH="1">
                <a:off x="2472530" y="1870197"/>
                <a:ext cx="499161" cy="514691"/>
                <a:chOff x="1752600" y="4267200"/>
                <a:chExt cx="1157286" cy="1302545"/>
              </a:xfrm>
            </p:grpSpPr>
            <p:sp>
              <p:nvSpPr>
                <p:cNvPr id="270" name="Freeform 219"/>
                <p:cNvSpPr>
                  <a:spLocks/>
                </p:cNvSpPr>
                <p:nvPr/>
              </p:nvSpPr>
              <p:spPr bwMode="black">
                <a:xfrm>
                  <a:off x="2573475" y="4995891"/>
                  <a:ext cx="330824" cy="573854"/>
                </a:xfrm>
                <a:custGeom>
                  <a:avLst/>
                  <a:gdLst>
                    <a:gd name="T0" fmla="*/ 157 w 351"/>
                    <a:gd name="T1" fmla="*/ 2 h 609"/>
                    <a:gd name="T2" fmla="*/ 155 w 351"/>
                    <a:gd name="T3" fmla="*/ 104 h 609"/>
                    <a:gd name="T4" fmla="*/ 180 w 351"/>
                    <a:gd name="T5" fmla="*/ 99 h 609"/>
                    <a:gd name="T6" fmla="*/ 231 w 351"/>
                    <a:gd name="T7" fmla="*/ 121 h 609"/>
                    <a:gd name="T8" fmla="*/ 252 w 351"/>
                    <a:gd name="T9" fmla="*/ 174 h 609"/>
                    <a:gd name="T10" fmla="*/ 251 w 351"/>
                    <a:gd name="T11" fmla="*/ 212 h 609"/>
                    <a:gd name="T12" fmla="*/ 251 w 351"/>
                    <a:gd name="T13" fmla="*/ 212 h 609"/>
                    <a:gd name="T14" fmla="*/ 247 w 351"/>
                    <a:gd name="T15" fmla="*/ 387 h 609"/>
                    <a:gd name="T16" fmla="*/ 247 w 351"/>
                    <a:gd name="T17" fmla="*/ 387 h 609"/>
                    <a:gd name="T18" fmla="*/ 246 w 351"/>
                    <a:gd name="T19" fmla="*/ 438 h 609"/>
                    <a:gd name="T20" fmla="*/ 223 w 351"/>
                    <a:gd name="T21" fmla="*/ 489 h 609"/>
                    <a:gd name="T22" fmla="*/ 171 w 351"/>
                    <a:gd name="T23" fmla="*/ 510 h 609"/>
                    <a:gd name="T24" fmla="*/ 120 w 351"/>
                    <a:gd name="T25" fmla="*/ 487 h 609"/>
                    <a:gd name="T26" fmla="*/ 100 w 351"/>
                    <a:gd name="T27" fmla="*/ 435 h 609"/>
                    <a:gd name="T28" fmla="*/ 101 w 351"/>
                    <a:gd name="T29" fmla="*/ 395 h 609"/>
                    <a:gd name="T30" fmla="*/ 4 w 351"/>
                    <a:gd name="T31" fmla="*/ 311 h 609"/>
                    <a:gd name="T32" fmla="*/ 1 w 351"/>
                    <a:gd name="T33" fmla="*/ 433 h 609"/>
                    <a:gd name="T34" fmla="*/ 49 w 351"/>
                    <a:gd name="T35" fmla="*/ 555 h 609"/>
                    <a:gd name="T36" fmla="*/ 169 w 351"/>
                    <a:gd name="T37" fmla="*/ 608 h 609"/>
                    <a:gd name="T38" fmla="*/ 292 w 351"/>
                    <a:gd name="T39" fmla="*/ 561 h 609"/>
                    <a:gd name="T40" fmla="*/ 292 w 351"/>
                    <a:gd name="T41" fmla="*/ 561 h 609"/>
                    <a:gd name="T42" fmla="*/ 345 w 351"/>
                    <a:gd name="T43" fmla="*/ 441 h 609"/>
                    <a:gd name="T44" fmla="*/ 350 w 351"/>
                    <a:gd name="T45" fmla="*/ 176 h 609"/>
                    <a:gd name="T46" fmla="*/ 303 w 351"/>
                    <a:gd name="T47" fmla="*/ 53 h 609"/>
                    <a:gd name="T48" fmla="*/ 183 w 351"/>
                    <a:gd name="T49" fmla="*/ 0 h 609"/>
                    <a:gd name="T50" fmla="*/ 157 w 351"/>
                    <a:gd name="T51" fmla="*/ 2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1" h="609">
                      <a:moveTo>
                        <a:pt x="157" y="2"/>
                      </a:moveTo>
                      <a:cubicBezTo>
                        <a:pt x="155" y="104"/>
                        <a:pt x="155" y="104"/>
                        <a:pt x="155" y="104"/>
                      </a:cubicBezTo>
                      <a:cubicBezTo>
                        <a:pt x="163" y="101"/>
                        <a:pt x="171" y="99"/>
                        <a:pt x="180" y="99"/>
                      </a:cubicBezTo>
                      <a:cubicBezTo>
                        <a:pt x="201" y="99"/>
                        <a:pt x="218" y="108"/>
                        <a:pt x="231" y="121"/>
                      </a:cubicBezTo>
                      <a:cubicBezTo>
                        <a:pt x="244" y="135"/>
                        <a:pt x="252" y="153"/>
                        <a:pt x="252" y="174"/>
                      </a:cubicBezTo>
                      <a:cubicBezTo>
                        <a:pt x="251" y="212"/>
                        <a:pt x="251" y="212"/>
                        <a:pt x="251" y="212"/>
                      </a:cubicBezTo>
                      <a:cubicBezTo>
                        <a:pt x="251" y="212"/>
                        <a:pt x="251" y="212"/>
                        <a:pt x="251" y="212"/>
                      </a:cubicBezTo>
                      <a:cubicBezTo>
                        <a:pt x="247" y="387"/>
                        <a:pt x="247" y="387"/>
                        <a:pt x="247" y="387"/>
                      </a:cubicBezTo>
                      <a:cubicBezTo>
                        <a:pt x="247" y="387"/>
                        <a:pt x="247" y="387"/>
                        <a:pt x="247" y="387"/>
                      </a:cubicBezTo>
                      <a:cubicBezTo>
                        <a:pt x="246" y="438"/>
                        <a:pt x="246" y="438"/>
                        <a:pt x="246" y="438"/>
                      </a:cubicBezTo>
                      <a:cubicBezTo>
                        <a:pt x="245" y="459"/>
                        <a:pt x="237" y="476"/>
                        <a:pt x="223" y="489"/>
                      </a:cubicBezTo>
                      <a:cubicBezTo>
                        <a:pt x="210" y="502"/>
                        <a:pt x="191" y="510"/>
                        <a:pt x="171" y="510"/>
                      </a:cubicBezTo>
                      <a:cubicBezTo>
                        <a:pt x="151" y="509"/>
                        <a:pt x="133" y="501"/>
                        <a:pt x="120" y="487"/>
                      </a:cubicBezTo>
                      <a:cubicBezTo>
                        <a:pt x="107" y="474"/>
                        <a:pt x="99" y="455"/>
                        <a:pt x="100" y="435"/>
                      </a:cubicBezTo>
                      <a:cubicBezTo>
                        <a:pt x="101" y="395"/>
                        <a:pt x="101" y="395"/>
                        <a:pt x="101" y="395"/>
                      </a:cubicBezTo>
                      <a:cubicBezTo>
                        <a:pt x="42" y="375"/>
                        <a:pt x="16" y="338"/>
                        <a:pt x="4" y="311"/>
                      </a:cubicBezTo>
                      <a:cubicBezTo>
                        <a:pt x="1" y="433"/>
                        <a:pt x="1" y="433"/>
                        <a:pt x="1" y="433"/>
                      </a:cubicBezTo>
                      <a:cubicBezTo>
                        <a:pt x="0" y="480"/>
                        <a:pt x="18" y="524"/>
                        <a:pt x="49" y="555"/>
                      </a:cubicBezTo>
                      <a:cubicBezTo>
                        <a:pt x="79" y="587"/>
                        <a:pt x="122" y="607"/>
                        <a:pt x="169" y="608"/>
                      </a:cubicBezTo>
                      <a:cubicBezTo>
                        <a:pt x="216" y="609"/>
                        <a:pt x="260" y="591"/>
                        <a:pt x="292" y="561"/>
                      </a:cubicBezTo>
                      <a:cubicBezTo>
                        <a:pt x="292" y="561"/>
                        <a:pt x="292" y="561"/>
                        <a:pt x="292" y="561"/>
                      </a:cubicBezTo>
                      <a:cubicBezTo>
                        <a:pt x="323" y="530"/>
                        <a:pt x="343" y="488"/>
                        <a:pt x="345" y="441"/>
                      </a:cubicBezTo>
                      <a:cubicBezTo>
                        <a:pt x="350" y="176"/>
                        <a:pt x="350" y="176"/>
                        <a:pt x="350" y="176"/>
                      </a:cubicBezTo>
                      <a:cubicBezTo>
                        <a:pt x="351" y="128"/>
                        <a:pt x="333" y="85"/>
                        <a:pt x="303" y="53"/>
                      </a:cubicBezTo>
                      <a:cubicBezTo>
                        <a:pt x="273" y="22"/>
                        <a:pt x="230" y="1"/>
                        <a:pt x="183" y="0"/>
                      </a:cubicBezTo>
                      <a:cubicBezTo>
                        <a:pt x="174" y="0"/>
                        <a:pt x="165" y="1"/>
                        <a:pt x="157"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71" name="Freeform 220"/>
                <p:cNvSpPr>
                  <a:spLocks/>
                </p:cNvSpPr>
                <p:nvPr/>
              </p:nvSpPr>
              <p:spPr bwMode="black">
                <a:xfrm>
                  <a:off x="2579062" y="4756453"/>
                  <a:ext cx="330824" cy="573854"/>
                </a:xfrm>
                <a:custGeom>
                  <a:avLst/>
                  <a:gdLst>
                    <a:gd name="T0" fmla="*/ 182 w 351"/>
                    <a:gd name="T1" fmla="*/ 1 h 609"/>
                    <a:gd name="T2" fmla="*/ 60 w 351"/>
                    <a:gd name="T3" fmla="*/ 48 h 609"/>
                    <a:gd name="T4" fmla="*/ 60 w 351"/>
                    <a:gd name="T5" fmla="*/ 49 h 609"/>
                    <a:gd name="T6" fmla="*/ 7 w 351"/>
                    <a:gd name="T7" fmla="*/ 169 h 609"/>
                    <a:gd name="T8" fmla="*/ 1 w 351"/>
                    <a:gd name="T9" fmla="*/ 433 h 609"/>
                    <a:gd name="T10" fmla="*/ 48 w 351"/>
                    <a:gd name="T11" fmla="*/ 556 h 609"/>
                    <a:gd name="T12" fmla="*/ 169 w 351"/>
                    <a:gd name="T13" fmla="*/ 609 h 609"/>
                    <a:gd name="T14" fmla="*/ 194 w 351"/>
                    <a:gd name="T15" fmla="*/ 607 h 609"/>
                    <a:gd name="T16" fmla="*/ 197 w 351"/>
                    <a:gd name="T17" fmla="*/ 505 h 609"/>
                    <a:gd name="T18" fmla="*/ 171 w 351"/>
                    <a:gd name="T19" fmla="*/ 510 h 609"/>
                    <a:gd name="T20" fmla="*/ 120 w 351"/>
                    <a:gd name="T21" fmla="*/ 488 h 609"/>
                    <a:gd name="T22" fmla="*/ 99 w 351"/>
                    <a:gd name="T23" fmla="*/ 436 h 609"/>
                    <a:gd name="T24" fmla="*/ 104 w 351"/>
                    <a:gd name="T25" fmla="*/ 227 h 609"/>
                    <a:gd name="T26" fmla="*/ 104 w 351"/>
                    <a:gd name="T27" fmla="*/ 220 h 609"/>
                    <a:gd name="T28" fmla="*/ 105 w 351"/>
                    <a:gd name="T29" fmla="*/ 171 h 609"/>
                    <a:gd name="T30" fmla="*/ 128 w 351"/>
                    <a:gd name="T31" fmla="*/ 120 h 609"/>
                    <a:gd name="T32" fmla="*/ 180 w 351"/>
                    <a:gd name="T33" fmla="*/ 99 h 609"/>
                    <a:gd name="T34" fmla="*/ 231 w 351"/>
                    <a:gd name="T35" fmla="*/ 122 h 609"/>
                    <a:gd name="T36" fmla="*/ 251 w 351"/>
                    <a:gd name="T37" fmla="*/ 174 h 609"/>
                    <a:gd name="T38" fmla="*/ 250 w 351"/>
                    <a:gd name="T39" fmla="*/ 214 h 609"/>
                    <a:gd name="T40" fmla="*/ 347 w 351"/>
                    <a:gd name="T41" fmla="*/ 299 h 609"/>
                    <a:gd name="T42" fmla="*/ 350 w 351"/>
                    <a:gd name="T43" fmla="*/ 176 h 609"/>
                    <a:gd name="T44" fmla="*/ 302 w 351"/>
                    <a:gd name="T45" fmla="*/ 54 h 609"/>
                    <a:gd name="T46" fmla="*/ 182 w 351"/>
                    <a:gd name="T47" fmla="*/ 1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1" h="609">
                      <a:moveTo>
                        <a:pt x="182" y="1"/>
                      </a:moveTo>
                      <a:cubicBezTo>
                        <a:pt x="135" y="0"/>
                        <a:pt x="91" y="18"/>
                        <a:pt x="60" y="48"/>
                      </a:cubicBezTo>
                      <a:cubicBezTo>
                        <a:pt x="60" y="48"/>
                        <a:pt x="60" y="49"/>
                        <a:pt x="60" y="49"/>
                      </a:cubicBezTo>
                      <a:cubicBezTo>
                        <a:pt x="28" y="79"/>
                        <a:pt x="8" y="122"/>
                        <a:pt x="7" y="169"/>
                      </a:cubicBezTo>
                      <a:cubicBezTo>
                        <a:pt x="1" y="433"/>
                        <a:pt x="1" y="433"/>
                        <a:pt x="1" y="433"/>
                      </a:cubicBezTo>
                      <a:cubicBezTo>
                        <a:pt x="0" y="481"/>
                        <a:pt x="18" y="524"/>
                        <a:pt x="48" y="556"/>
                      </a:cubicBezTo>
                      <a:cubicBezTo>
                        <a:pt x="79" y="588"/>
                        <a:pt x="121" y="608"/>
                        <a:pt x="169" y="609"/>
                      </a:cubicBezTo>
                      <a:cubicBezTo>
                        <a:pt x="177" y="609"/>
                        <a:pt x="186" y="608"/>
                        <a:pt x="194" y="607"/>
                      </a:cubicBezTo>
                      <a:cubicBezTo>
                        <a:pt x="197" y="505"/>
                        <a:pt x="197" y="505"/>
                        <a:pt x="197" y="505"/>
                      </a:cubicBezTo>
                      <a:cubicBezTo>
                        <a:pt x="189" y="508"/>
                        <a:pt x="180" y="510"/>
                        <a:pt x="171" y="510"/>
                      </a:cubicBezTo>
                      <a:cubicBezTo>
                        <a:pt x="151" y="510"/>
                        <a:pt x="133" y="501"/>
                        <a:pt x="120" y="488"/>
                      </a:cubicBezTo>
                      <a:cubicBezTo>
                        <a:pt x="107" y="474"/>
                        <a:pt x="99" y="456"/>
                        <a:pt x="99" y="436"/>
                      </a:cubicBezTo>
                      <a:cubicBezTo>
                        <a:pt x="104" y="227"/>
                        <a:pt x="104" y="227"/>
                        <a:pt x="104" y="227"/>
                      </a:cubicBezTo>
                      <a:cubicBezTo>
                        <a:pt x="104" y="220"/>
                        <a:pt x="104" y="220"/>
                        <a:pt x="104" y="220"/>
                      </a:cubicBezTo>
                      <a:cubicBezTo>
                        <a:pt x="105" y="171"/>
                        <a:pt x="105" y="171"/>
                        <a:pt x="105" y="171"/>
                      </a:cubicBezTo>
                      <a:cubicBezTo>
                        <a:pt x="106" y="151"/>
                        <a:pt x="114" y="133"/>
                        <a:pt x="128" y="120"/>
                      </a:cubicBezTo>
                      <a:cubicBezTo>
                        <a:pt x="142" y="107"/>
                        <a:pt x="160" y="99"/>
                        <a:pt x="180" y="99"/>
                      </a:cubicBezTo>
                      <a:cubicBezTo>
                        <a:pt x="200" y="100"/>
                        <a:pt x="218" y="108"/>
                        <a:pt x="231" y="122"/>
                      </a:cubicBezTo>
                      <a:cubicBezTo>
                        <a:pt x="244" y="136"/>
                        <a:pt x="252" y="154"/>
                        <a:pt x="251" y="174"/>
                      </a:cubicBezTo>
                      <a:cubicBezTo>
                        <a:pt x="250" y="214"/>
                        <a:pt x="250" y="214"/>
                        <a:pt x="250" y="214"/>
                      </a:cubicBezTo>
                      <a:cubicBezTo>
                        <a:pt x="309" y="234"/>
                        <a:pt x="335" y="271"/>
                        <a:pt x="347" y="299"/>
                      </a:cubicBezTo>
                      <a:cubicBezTo>
                        <a:pt x="350" y="176"/>
                        <a:pt x="350" y="176"/>
                        <a:pt x="350" y="176"/>
                      </a:cubicBezTo>
                      <a:cubicBezTo>
                        <a:pt x="351" y="129"/>
                        <a:pt x="333" y="85"/>
                        <a:pt x="302" y="54"/>
                      </a:cubicBezTo>
                      <a:cubicBezTo>
                        <a:pt x="272" y="22"/>
                        <a:pt x="229" y="2"/>
                        <a:pt x="182"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72" name="Freeform 221"/>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73" name="Freeform 222"/>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74" name="Freeform 223"/>
                <p:cNvSpPr>
                  <a:spLocks/>
                </p:cNvSpPr>
                <p:nvPr/>
              </p:nvSpPr>
              <p:spPr bwMode="black">
                <a:xfrm>
                  <a:off x="1977672" y="4663072"/>
                  <a:ext cx="606178" cy="195940"/>
                </a:xfrm>
                <a:custGeom>
                  <a:avLst/>
                  <a:gdLst>
                    <a:gd name="T0" fmla="*/ 643 w 643"/>
                    <a:gd name="T1" fmla="*/ 132 h 208"/>
                    <a:gd name="T2" fmla="*/ 438 w 643"/>
                    <a:gd name="T3" fmla="*/ 150 h 208"/>
                    <a:gd name="T4" fmla="*/ 0 w 643"/>
                    <a:gd name="T5" fmla="*/ 0 h 208"/>
                    <a:gd name="T6" fmla="*/ 0 w 643"/>
                    <a:gd name="T7" fmla="*/ 103 h 208"/>
                    <a:gd name="T8" fmla="*/ 39 w 643"/>
                    <a:gd name="T9" fmla="*/ 130 h 208"/>
                    <a:gd name="T10" fmla="*/ 438 w 643"/>
                    <a:gd name="T11" fmla="*/ 208 h 208"/>
                    <a:gd name="T12" fmla="*/ 606 w 643"/>
                    <a:gd name="T13" fmla="*/ 197 h 208"/>
                    <a:gd name="T14" fmla="*/ 643 w 643"/>
                    <a:gd name="T15" fmla="*/ 132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3" h="208">
                      <a:moveTo>
                        <a:pt x="643" y="132"/>
                      </a:moveTo>
                      <a:cubicBezTo>
                        <a:pt x="582" y="143"/>
                        <a:pt x="512" y="150"/>
                        <a:pt x="438" y="150"/>
                      </a:cubicBezTo>
                      <a:cubicBezTo>
                        <a:pt x="196" y="150"/>
                        <a:pt x="0" y="82"/>
                        <a:pt x="0" y="0"/>
                      </a:cubicBezTo>
                      <a:cubicBezTo>
                        <a:pt x="0" y="103"/>
                        <a:pt x="0" y="103"/>
                        <a:pt x="0" y="103"/>
                      </a:cubicBezTo>
                      <a:cubicBezTo>
                        <a:pt x="12" y="113"/>
                        <a:pt x="25" y="121"/>
                        <a:pt x="39" y="130"/>
                      </a:cubicBezTo>
                      <a:cubicBezTo>
                        <a:pt x="130" y="180"/>
                        <a:pt x="273" y="208"/>
                        <a:pt x="438" y="208"/>
                      </a:cubicBezTo>
                      <a:cubicBezTo>
                        <a:pt x="497" y="208"/>
                        <a:pt x="554" y="204"/>
                        <a:pt x="606" y="197"/>
                      </a:cubicBezTo>
                      <a:cubicBezTo>
                        <a:pt x="615" y="174"/>
                        <a:pt x="628" y="152"/>
                        <a:pt x="643" y="1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75" name="Freeform 224"/>
                <p:cNvSpPr>
                  <a:spLocks/>
                </p:cNvSpPr>
                <p:nvPr/>
              </p:nvSpPr>
              <p:spPr bwMode="black">
                <a:xfrm>
                  <a:off x="1976076" y="4835467"/>
                  <a:ext cx="555896" cy="196340"/>
                </a:xfrm>
                <a:custGeom>
                  <a:avLst/>
                  <a:gdLst>
                    <a:gd name="T0" fmla="*/ 590 w 590"/>
                    <a:gd name="T1" fmla="*/ 140 h 208"/>
                    <a:gd name="T2" fmla="*/ 438 w 590"/>
                    <a:gd name="T3" fmla="*/ 150 h 208"/>
                    <a:gd name="T4" fmla="*/ 0 w 590"/>
                    <a:gd name="T5" fmla="*/ 0 h 208"/>
                    <a:gd name="T6" fmla="*/ 0 w 590"/>
                    <a:gd name="T7" fmla="*/ 103 h 208"/>
                    <a:gd name="T8" fmla="*/ 39 w 590"/>
                    <a:gd name="T9" fmla="*/ 129 h 208"/>
                    <a:gd name="T10" fmla="*/ 438 w 590"/>
                    <a:gd name="T11" fmla="*/ 208 h 208"/>
                    <a:gd name="T12" fmla="*/ 589 w 590"/>
                    <a:gd name="T13" fmla="*/ 199 h 208"/>
                    <a:gd name="T14" fmla="*/ 590 w 590"/>
                    <a:gd name="T15" fmla="*/ 14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0" h="208">
                      <a:moveTo>
                        <a:pt x="590" y="140"/>
                      </a:moveTo>
                      <a:cubicBezTo>
                        <a:pt x="543" y="146"/>
                        <a:pt x="491" y="150"/>
                        <a:pt x="438" y="150"/>
                      </a:cubicBezTo>
                      <a:cubicBezTo>
                        <a:pt x="196" y="150"/>
                        <a:pt x="0" y="82"/>
                        <a:pt x="0" y="0"/>
                      </a:cubicBezTo>
                      <a:cubicBezTo>
                        <a:pt x="0" y="103"/>
                        <a:pt x="0" y="103"/>
                        <a:pt x="0" y="103"/>
                      </a:cubicBezTo>
                      <a:cubicBezTo>
                        <a:pt x="12" y="113"/>
                        <a:pt x="25" y="121"/>
                        <a:pt x="39" y="129"/>
                      </a:cubicBezTo>
                      <a:cubicBezTo>
                        <a:pt x="129" y="180"/>
                        <a:pt x="273" y="208"/>
                        <a:pt x="438" y="208"/>
                      </a:cubicBezTo>
                      <a:cubicBezTo>
                        <a:pt x="491" y="208"/>
                        <a:pt x="541" y="205"/>
                        <a:pt x="589" y="199"/>
                      </a:cubicBezTo>
                      <a:lnTo>
                        <a:pt x="590" y="1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76" name="Freeform 225"/>
                <p:cNvSpPr>
                  <a:spLocks noEditPoints="1"/>
                </p:cNvSpPr>
                <p:nvPr/>
              </p:nvSpPr>
              <p:spPr bwMode="black">
                <a:xfrm>
                  <a:off x="1886286" y="4267200"/>
                  <a:ext cx="1011628" cy="995266"/>
                </a:xfrm>
                <a:custGeom>
                  <a:avLst/>
                  <a:gdLst>
                    <a:gd name="T0" fmla="*/ 683 w 1073"/>
                    <a:gd name="T1" fmla="*/ 951 h 1056"/>
                    <a:gd name="T2" fmla="*/ 683 w 1073"/>
                    <a:gd name="T3" fmla="*/ 947 h 1056"/>
                    <a:gd name="T4" fmla="*/ 537 w 1073"/>
                    <a:gd name="T5" fmla="*/ 957 h 1056"/>
                    <a:gd name="T6" fmla="*/ 99 w 1073"/>
                    <a:gd name="T7" fmla="*/ 776 h 1056"/>
                    <a:gd name="T8" fmla="*/ 99 w 1073"/>
                    <a:gd name="T9" fmla="*/ 623 h 1056"/>
                    <a:gd name="T10" fmla="*/ 99 w 1073"/>
                    <a:gd name="T11" fmla="*/ 520 h 1056"/>
                    <a:gd name="T12" fmla="*/ 99 w 1073"/>
                    <a:gd name="T13" fmla="*/ 352 h 1056"/>
                    <a:gd name="T14" fmla="*/ 137 w 1073"/>
                    <a:gd name="T15" fmla="*/ 379 h 1056"/>
                    <a:gd name="T16" fmla="*/ 537 w 1073"/>
                    <a:gd name="T17" fmla="*/ 458 h 1056"/>
                    <a:gd name="T18" fmla="*/ 862 w 1073"/>
                    <a:gd name="T19" fmla="*/ 411 h 1056"/>
                    <a:gd name="T20" fmla="*/ 972 w 1073"/>
                    <a:gd name="T21" fmla="*/ 355 h 1056"/>
                    <a:gd name="T22" fmla="*/ 975 w 1073"/>
                    <a:gd name="T23" fmla="*/ 352 h 1056"/>
                    <a:gd name="T24" fmla="*/ 975 w 1073"/>
                    <a:gd name="T25" fmla="*/ 460 h 1056"/>
                    <a:gd name="T26" fmla="*/ 1067 w 1073"/>
                    <a:gd name="T27" fmla="*/ 493 h 1056"/>
                    <a:gd name="T28" fmla="*/ 1073 w 1073"/>
                    <a:gd name="T29" fmla="*/ 494 h 1056"/>
                    <a:gd name="T30" fmla="*/ 1073 w 1073"/>
                    <a:gd name="T31" fmla="*/ 249 h 1056"/>
                    <a:gd name="T32" fmla="*/ 1002 w 1073"/>
                    <a:gd name="T33" fmla="*/ 114 h 1056"/>
                    <a:gd name="T34" fmla="*/ 537 w 1073"/>
                    <a:gd name="T35" fmla="*/ 0 h 1056"/>
                    <a:gd name="T36" fmla="*/ 195 w 1073"/>
                    <a:gd name="T37" fmla="*/ 49 h 1056"/>
                    <a:gd name="T38" fmla="*/ 71 w 1073"/>
                    <a:gd name="T39" fmla="*/ 114 h 1056"/>
                    <a:gd name="T40" fmla="*/ 0 w 1073"/>
                    <a:gd name="T41" fmla="*/ 249 h 1056"/>
                    <a:gd name="T42" fmla="*/ 0 w 1073"/>
                    <a:gd name="T43" fmla="*/ 776 h 1056"/>
                    <a:gd name="T44" fmla="*/ 64 w 1073"/>
                    <a:gd name="T45" fmla="*/ 917 h 1056"/>
                    <a:gd name="T46" fmla="*/ 537 w 1073"/>
                    <a:gd name="T47" fmla="*/ 1056 h 1056"/>
                    <a:gd name="T48" fmla="*/ 681 w 1073"/>
                    <a:gd name="T49" fmla="*/ 1047 h 1056"/>
                    <a:gd name="T50" fmla="*/ 683 w 1073"/>
                    <a:gd name="T51" fmla="*/ 951 h 1056"/>
                    <a:gd name="T52" fmla="*/ 537 w 1073"/>
                    <a:gd name="T53" fmla="*/ 99 h 1056"/>
                    <a:gd name="T54" fmla="*/ 975 w 1073"/>
                    <a:gd name="T55" fmla="*/ 249 h 1056"/>
                    <a:gd name="T56" fmla="*/ 537 w 1073"/>
                    <a:gd name="T57" fmla="*/ 399 h 1056"/>
                    <a:gd name="T58" fmla="*/ 99 w 1073"/>
                    <a:gd name="T59" fmla="*/ 249 h 1056"/>
                    <a:gd name="T60" fmla="*/ 537 w 1073"/>
                    <a:gd name="T61" fmla="*/ 99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73" h="1056">
                      <a:moveTo>
                        <a:pt x="683" y="951"/>
                      </a:moveTo>
                      <a:cubicBezTo>
                        <a:pt x="683" y="947"/>
                        <a:pt x="683" y="947"/>
                        <a:pt x="683" y="947"/>
                      </a:cubicBezTo>
                      <a:cubicBezTo>
                        <a:pt x="638" y="954"/>
                        <a:pt x="587" y="957"/>
                        <a:pt x="537" y="957"/>
                      </a:cubicBezTo>
                      <a:cubicBezTo>
                        <a:pt x="295" y="957"/>
                        <a:pt x="99" y="876"/>
                        <a:pt x="99" y="776"/>
                      </a:cubicBezTo>
                      <a:cubicBezTo>
                        <a:pt x="99" y="623"/>
                        <a:pt x="99" y="623"/>
                        <a:pt x="99" y="623"/>
                      </a:cubicBezTo>
                      <a:cubicBezTo>
                        <a:pt x="99" y="520"/>
                        <a:pt x="99" y="520"/>
                        <a:pt x="99" y="520"/>
                      </a:cubicBezTo>
                      <a:cubicBezTo>
                        <a:pt x="99" y="352"/>
                        <a:pt x="99" y="352"/>
                        <a:pt x="99" y="352"/>
                      </a:cubicBezTo>
                      <a:cubicBezTo>
                        <a:pt x="110" y="362"/>
                        <a:pt x="123" y="371"/>
                        <a:pt x="137" y="379"/>
                      </a:cubicBezTo>
                      <a:cubicBezTo>
                        <a:pt x="228" y="429"/>
                        <a:pt x="371" y="457"/>
                        <a:pt x="537" y="458"/>
                      </a:cubicBezTo>
                      <a:cubicBezTo>
                        <a:pt x="662" y="458"/>
                        <a:pt x="776" y="441"/>
                        <a:pt x="862" y="411"/>
                      </a:cubicBezTo>
                      <a:cubicBezTo>
                        <a:pt x="906" y="396"/>
                        <a:pt x="942" y="378"/>
                        <a:pt x="972" y="355"/>
                      </a:cubicBezTo>
                      <a:cubicBezTo>
                        <a:pt x="973" y="354"/>
                        <a:pt x="974" y="353"/>
                        <a:pt x="975" y="352"/>
                      </a:cubicBezTo>
                      <a:cubicBezTo>
                        <a:pt x="975" y="460"/>
                        <a:pt x="975" y="460"/>
                        <a:pt x="975" y="460"/>
                      </a:cubicBezTo>
                      <a:cubicBezTo>
                        <a:pt x="1008" y="465"/>
                        <a:pt x="1039" y="476"/>
                        <a:pt x="1067" y="493"/>
                      </a:cubicBezTo>
                      <a:cubicBezTo>
                        <a:pt x="1069" y="493"/>
                        <a:pt x="1071" y="493"/>
                        <a:pt x="1073" y="494"/>
                      </a:cubicBezTo>
                      <a:cubicBezTo>
                        <a:pt x="1073" y="249"/>
                        <a:pt x="1073" y="249"/>
                        <a:pt x="1073" y="249"/>
                      </a:cubicBezTo>
                      <a:cubicBezTo>
                        <a:pt x="1073" y="187"/>
                        <a:pt x="1037" y="141"/>
                        <a:pt x="1002" y="114"/>
                      </a:cubicBezTo>
                      <a:cubicBezTo>
                        <a:pt x="896" y="33"/>
                        <a:pt x="733" y="3"/>
                        <a:pt x="537" y="0"/>
                      </a:cubicBezTo>
                      <a:cubicBezTo>
                        <a:pt x="406" y="0"/>
                        <a:pt x="288" y="18"/>
                        <a:pt x="195" y="49"/>
                      </a:cubicBezTo>
                      <a:cubicBezTo>
                        <a:pt x="148" y="66"/>
                        <a:pt x="107" y="85"/>
                        <a:pt x="71" y="114"/>
                      </a:cubicBezTo>
                      <a:cubicBezTo>
                        <a:pt x="36" y="141"/>
                        <a:pt x="0" y="187"/>
                        <a:pt x="0" y="249"/>
                      </a:cubicBezTo>
                      <a:cubicBezTo>
                        <a:pt x="0" y="776"/>
                        <a:pt x="0" y="776"/>
                        <a:pt x="0" y="776"/>
                      </a:cubicBezTo>
                      <a:cubicBezTo>
                        <a:pt x="0" y="835"/>
                        <a:pt x="29" y="884"/>
                        <a:pt x="64" y="917"/>
                      </a:cubicBezTo>
                      <a:cubicBezTo>
                        <a:pt x="169" y="1014"/>
                        <a:pt x="338" y="1053"/>
                        <a:pt x="537" y="1056"/>
                      </a:cubicBezTo>
                      <a:cubicBezTo>
                        <a:pt x="586" y="1056"/>
                        <a:pt x="636" y="1053"/>
                        <a:pt x="681" y="1047"/>
                      </a:cubicBezTo>
                      <a:lnTo>
                        <a:pt x="683" y="951"/>
                      </a:lnTo>
                      <a:close/>
                      <a:moveTo>
                        <a:pt x="537" y="99"/>
                      </a:moveTo>
                      <a:cubicBezTo>
                        <a:pt x="778" y="99"/>
                        <a:pt x="975" y="166"/>
                        <a:pt x="975" y="249"/>
                      </a:cubicBezTo>
                      <a:cubicBezTo>
                        <a:pt x="975" y="332"/>
                        <a:pt x="778" y="399"/>
                        <a:pt x="537" y="399"/>
                      </a:cubicBezTo>
                      <a:cubicBezTo>
                        <a:pt x="295" y="399"/>
                        <a:pt x="99" y="332"/>
                        <a:pt x="99" y="249"/>
                      </a:cubicBezTo>
                      <a:cubicBezTo>
                        <a:pt x="99" y="166"/>
                        <a:pt x="295" y="99"/>
                        <a:pt x="537" y="9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grpSp>
          <p:nvGrpSpPr>
            <p:cNvPr id="263" name="Group 262"/>
            <p:cNvGrpSpPr/>
            <p:nvPr/>
          </p:nvGrpSpPr>
          <p:grpSpPr>
            <a:xfrm>
              <a:off x="7706965" y="1150208"/>
              <a:ext cx="972533" cy="1028478"/>
              <a:chOff x="7522280" y="1751086"/>
              <a:chExt cx="1071797" cy="1114161"/>
            </a:xfrm>
          </p:grpSpPr>
          <p:pic>
            <p:nvPicPr>
              <p:cNvPr id="264" name="Picture 6" descr="\\MAGNUM\Projects\Microsoft\Cloud Power FY12\Design\ICONS_PNG\Screen.png"/>
              <p:cNvPicPr>
                <a:picLocks noChangeAspect="1" noChangeArrowheads="1"/>
              </p:cNvPicPr>
              <p:nvPr/>
            </p:nvPicPr>
            <p:blipFill>
              <a:blip r:embed="rId8" cstate="print">
                <a:lum bright="100000"/>
                <a:extLst>
                  <a:ext uri="{28A0092B-C50C-407E-A947-70E740481C1C}">
                    <a14:useLocalDpi xmlns:a14="http://schemas.microsoft.com/office/drawing/2010/main"/>
                  </a:ext>
                </a:extLst>
              </a:blip>
              <a:srcRect/>
              <a:stretch>
                <a:fillRect/>
              </a:stretch>
            </p:blipFill>
            <p:spPr bwMode="auto">
              <a:xfrm flipH="1">
                <a:off x="7522280" y="1751086"/>
                <a:ext cx="728481" cy="728481"/>
              </a:xfrm>
              <a:prstGeom prst="rect">
                <a:avLst/>
              </a:prstGeom>
              <a:noFill/>
            </p:spPr>
          </p:pic>
          <p:sp>
            <p:nvSpPr>
              <p:cNvPr id="265" name="Isosceles Triangle 108"/>
              <p:cNvSpPr/>
              <p:nvPr/>
            </p:nvSpPr>
            <p:spPr bwMode="auto">
              <a:xfrm rot="8072574">
                <a:off x="7954929" y="2294135"/>
                <a:ext cx="302705" cy="318763"/>
              </a:xfrm>
              <a:custGeom>
                <a:avLst/>
                <a:gdLst/>
                <a:ahLst/>
                <a:cxnLst/>
                <a:rect l="l" t="t" r="r" b="b"/>
                <a:pathLst>
                  <a:path w="346679" h="365070">
                    <a:moveTo>
                      <a:pt x="0" y="335210"/>
                    </a:moveTo>
                    <a:lnTo>
                      <a:pt x="216104" y="0"/>
                    </a:lnTo>
                    <a:lnTo>
                      <a:pt x="346679" y="365070"/>
                    </a:lnTo>
                    <a:cubicBezTo>
                      <a:pt x="301139" y="337702"/>
                      <a:pt x="245429" y="319091"/>
                      <a:pt x="184281" y="312662"/>
                    </a:cubicBezTo>
                    <a:cubicBezTo>
                      <a:pt x="117170" y="305605"/>
                      <a:pt x="53415" y="314262"/>
                      <a:pt x="0" y="335210"/>
                    </a:cubicBezTo>
                    <a:close/>
                  </a:path>
                </a:pathLst>
              </a:custGeom>
              <a:solidFill>
                <a:schemeClr val="accent5">
                  <a:lumMod val="60000"/>
                  <a:lumOff val="40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71204"/>
                <a:endParaRPr lang="en-US" sz="1200" dirty="0">
                  <a:gradFill>
                    <a:gsLst>
                      <a:gs pos="0">
                        <a:srgbClr val="FFFFFF"/>
                      </a:gs>
                      <a:gs pos="100000">
                        <a:srgbClr val="FFFFFF"/>
                      </a:gs>
                    </a:gsLst>
                    <a:lin ang="5400000" scaled="0"/>
                  </a:gradFill>
                </a:endParaRPr>
              </a:p>
            </p:txBody>
          </p:sp>
          <p:pic>
            <p:nvPicPr>
              <p:cNvPr id="266" name="Picture 265"/>
              <p:cNvPicPr>
                <a:picLocks noChangeAspect="1"/>
              </p:cNvPicPr>
              <p:nvPr/>
            </p:nvPicPr>
            <p:blipFill>
              <a:blip r:embed="rId9" cstate="print">
                <a:lum bright="100000" contrast="100000"/>
                <a:extLst>
                  <a:ext uri="{28A0092B-C50C-407E-A947-70E740481C1C}">
                    <a14:useLocalDpi xmlns:a14="http://schemas.microsoft.com/office/drawing/2010/main"/>
                  </a:ext>
                </a:extLst>
              </a:blip>
              <a:stretch>
                <a:fillRect/>
              </a:stretch>
            </p:blipFill>
            <p:spPr>
              <a:xfrm>
                <a:off x="7907447" y="2455916"/>
                <a:ext cx="686630" cy="409331"/>
              </a:xfrm>
              <a:prstGeom prst="rect">
                <a:avLst/>
              </a:prstGeom>
              <a:noFill/>
              <a:ln>
                <a:noFill/>
              </a:ln>
              <a:effectLst/>
            </p:spPr>
          </p:pic>
        </p:grpSp>
      </p:grpSp>
      <p:sp>
        <p:nvSpPr>
          <p:cNvPr id="4" name="Title 3"/>
          <p:cNvSpPr>
            <a:spLocks noGrp="1"/>
          </p:cNvSpPr>
          <p:nvPr>
            <p:ph type="title"/>
          </p:nvPr>
        </p:nvSpPr>
        <p:spPr>
          <a:xfrm>
            <a:off x="389436" y="115629"/>
            <a:ext cx="8363938" cy="457049"/>
          </a:xfrm>
        </p:spPr>
        <p:txBody>
          <a:bodyPr/>
          <a:lstStyle/>
          <a:p>
            <a:r>
              <a:rPr lang="en-US" dirty="0" smtClean="0"/>
              <a:t>Comprehensive </a:t>
            </a:r>
            <a:r>
              <a:rPr lang="en-US" dirty="0"/>
              <a:t>Cloud </a:t>
            </a:r>
            <a:r>
              <a:rPr lang="en-US" dirty="0" smtClean="0"/>
              <a:t>Platform</a:t>
            </a:r>
            <a:endParaRPr lang="en-US" sz="1500" dirty="0"/>
          </a:p>
        </p:txBody>
      </p:sp>
      <p:grpSp>
        <p:nvGrpSpPr>
          <p:cNvPr id="3" name="Group 2"/>
          <p:cNvGrpSpPr/>
          <p:nvPr/>
        </p:nvGrpSpPr>
        <p:grpSpPr>
          <a:xfrm>
            <a:off x="144809" y="2106438"/>
            <a:ext cx="8865270" cy="2848708"/>
            <a:chOff x="144809" y="2808581"/>
            <a:chExt cx="8865270" cy="3798277"/>
          </a:xfrm>
        </p:grpSpPr>
        <p:sp>
          <p:nvSpPr>
            <p:cNvPr id="152" name="Rectangle 151"/>
            <p:cNvSpPr/>
            <p:nvPr/>
          </p:nvSpPr>
          <p:spPr>
            <a:xfrm rot="16200000">
              <a:off x="2678305" y="275085"/>
              <a:ext cx="3798277" cy="88652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lgn="ctr"/>
              <a:endParaRPr lang="en-US" dirty="0">
                <a:solidFill>
                  <a:schemeClr val="tx1"/>
                </a:solidFill>
              </a:endParaRPr>
            </a:p>
          </p:txBody>
        </p:sp>
        <p:sp>
          <p:nvSpPr>
            <p:cNvPr id="187" name="Rectangle 186"/>
            <p:cNvSpPr/>
            <p:nvPr/>
          </p:nvSpPr>
          <p:spPr>
            <a:xfrm>
              <a:off x="3371011" y="5568234"/>
              <a:ext cx="5479944" cy="944858"/>
            </a:xfrm>
            <a:prstGeom prst="rect">
              <a:avLst/>
            </a:prstGeom>
            <a:noFill/>
            <a:ln w="19050">
              <a:solidFill>
                <a:schemeClr val="tx1">
                  <a:lumMod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88" name="TextBox 187"/>
            <p:cNvSpPr txBox="1"/>
            <p:nvPr/>
          </p:nvSpPr>
          <p:spPr>
            <a:xfrm>
              <a:off x="3479166" y="6245015"/>
              <a:ext cx="795312" cy="230832"/>
            </a:xfrm>
            <a:prstGeom prst="rect">
              <a:avLst/>
            </a:prstGeom>
            <a:noFill/>
          </p:spPr>
          <p:txBody>
            <a:bodyPr wrap="square" lIns="0" tIns="0" rIns="0" bIns="0" rtlCol="0">
              <a:spAutoFit/>
            </a:bodyPr>
            <a:lstStyle/>
            <a:p>
              <a:r>
                <a:rPr lang="en-US" sz="1100" dirty="0">
                  <a:gradFill>
                    <a:gsLst>
                      <a:gs pos="0">
                        <a:schemeClr val="tx1">
                          <a:lumMod val="75000"/>
                          <a:lumOff val="25000"/>
                        </a:schemeClr>
                      </a:gs>
                      <a:gs pos="80000">
                        <a:schemeClr val="tx1">
                          <a:lumMod val="65000"/>
                          <a:lumOff val="35000"/>
                        </a:schemeClr>
                      </a:gs>
                    </a:gsLst>
                    <a:lin ang="16200000" scaled="0"/>
                  </a:gradFill>
                  <a:latin typeface="+mj-lt"/>
                </a:rPr>
                <a:t>Compute</a:t>
              </a:r>
            </a:p>
          </p:txBody>
        </p:sp>
        <p:sp>
          <p:nvSpPr>
            <p:cNvPr id="189" name="TextBox 188"/>
            <p:cNvSpPr txBox="1"/>
            <p:nvPr/>
          </p:nvSpPr>
          <p:spPr>
            <a:xfrm>
              <a:off x="5206009" y="6029571"/>
              <a:ext cx="1108141" cy="461665"/>
            </a:xfrm>
            <a:prstGeom prst="rect">
              <a:avLst/>
            </a:prstGeom>
            <a:noFill/>
          </p:spPr>
          <p:txBody>
            <a:bodyPr wrap="square" lIns="0" tIns="0" rIns="0" bIns="0" rtlCol="0">
              <a:spAutoFit/>
            </a:bodyPr>
            <a:lstStyle/>
            <a:p>
              <a:r>
                <a:rPr lang="en-US" sz="1100" dirty="0">
                  <a:gradFill>
                    <a:gsLst>
                      <a:gs pos="0">
                        <a:schemeClr val="tx1">
                          <a:lumMod val="75000"/>
                          <a:lumOff val="25000"/>
                        </a:schemeClr>
                      </a:gs>
                      <a:gs pos="80000">
                        <a:schemeClr val="tx1">
                          <a:lumMod val="65000"/>
                          <a:lumOff val="35000"/>
                        </a:schemeClr>
                      </a:gs>
                    </a:gsLst>
                    <a:lin ang="16200000" scaled="0"/>
                  </a:gradFill>
                  <a:latin typeface="+mj-lt"/>
                </a:rPr>
                <a:t>Storage (File/Block)</a:t>
              </a:r>
            </a:p>
          </p:txBody>
        </p:sp>
        <p:sp>
          <p:nvSpPr>
            <p:cNvPr id="190" name="TextBox 189"/>
            <p:cNvSpPr txBox="1"/>
            <p:nvPr/>
          </p:nvSpPr>
          <p:spPr>
            <a:xfrm>
              <a:off x="7149163" y="6245015"/>
              <a:ext cx="717236" cy="230832"/>
            </a:xfrm>
            <a:prstGeom prst="rect">
              <a:avLst/>
            </a:prstGeom>
            <a:noFill/>
          </p:spPr>
          <p:txBody>
            <a:bodyPr wrap="square" lIns="0" tIns="0" rIns="0" bIns="0" rtlCol="0">
              <a:spAutoFit/>
            </a:bodyPr>
            <a:lstStyle/>
            <a:p>
              <a:r>
                <a:rPr lang="en-US" sz="1100" dirty="0">
                  <a:gradFill>
                    <a:gsLst>
                      <a:gs pos="0">
                        <a:schemeClr val="tx1">
                          <a:lumMod val="75000"/>
                          <a:lumOff val="25000"/>
                        </a:schemeClr>
                      </a:gs>
                      <a:gs pos="80000">
                        <a:schemeClr val="tx1">
                          <a:lumMod val="65000"/>
                          <a:lumOff val="35000"/>
                        </a:schemeClr>
                      </a:gs>
                    </a:gsLst>
                    <a:lin ang="16200000" scaled="0"/>
                  </a:gradFill>
                  <a:latin typeface="+mj-lt"/>
                </a:rPr>
                <a:t>Network</a:t>
              </a:r>
            </a:p>
          </p:txBody>
        </p:sp>
        <p:pic>
          <p:nvPicPr>
            <p:cNvPr id="191" name="Hyper-V logo"/>
            <p:cNvPicPr>
              <a:picLocks noChangeAspect="1" noChangeArrowheads="1"/>
            </p:cNvPicPr>
            <p:nvPr/>
          </p:nvPicPr>
          <p:blipFill>
            <a:blip r:embed="rId10" cstate="print">
              <a:biLevel thresh="25000"/>
              <a:extLst>
                <a:ext uri="{28A0092B-C50C-407E-A947-70E740481C1C}">
                  <a14:useLocalDpi xmlns:a14="http://schemas.microsoft.com/office/drawing/2010/main"/>
                </a:ext>
              </a:extLst>
            </a:blip>
            <a:stretch>
              <a:fillRect/>
            </a:stretch>
          </p:blipFill>
          <p:spPr bwMode="auto">
            <a:xfrm>
              <a:off x="6178445" y="5731009"/>
              <a:ext cx="697405" cy="619323"/>
            </a:xfrm>
            <a:prstGeom prst="rect">
              <a:avLst/>
            </a:prstGeom>
            <a:noFill/>
            <a:ln w="9525">
              <a:noFill/>
              <a:miter lim="800000"/>
              <a:headEnd/>
              <a:tailEnd/>
            </a:ln>
          </p:spPr>
        </p:pic>
        <p:pic>
          <p:nvPicPr>
            <p:cNvPr id="192" name="Picture 6"/>
            <p:cNvPicPr>
              <a:picLocks noChangeAspect="1" noChangeArrowheads="1"/>
            </p:cNvPicPr>
            <p:nvPr/>
          </p:nvPicPr>
          <p:blipFill>
            <a:blip r:embed="rId11" cstate="print">
              <a:biLevel thresh="25000"/>
              <a:extLst>
                <a:ext uri="{28A0092B-C50C-407E-A947-70E740481C1C}">
                  <a14:useLocalDpi xmlns:a14="http://schemas.microsoft.com/office/drawing/2010/main"/>
                </a:ext>
              </a:extLst>
            </a:blip>
            <a:stretch>
              <a:fillRect/>
            </a:stretch>
          </p:blipFill>
          <p:spPr bwMode="auto">
            <a:xfrm>
              <a:off x="7902743" y="5739592"/>
              <a:ext cx="797110" cy="602157"/>
            </a:xfrm>
            <a:prstGeom prst="rect">
              <a:avLst/>
            </a:prstGeom>
            <a:noFill/>
            <a:ln w="9525">
              <a:noFill/>
              <a:miter lim="800000"/>
              <a:headEnd/>
              <a:tailEnd/>
            </a:ln>
          </p:spPr>
        </p:pic>
        <p:pic>
          <p:nvPicPr>
            <p:cNvPr id="193" name="Picture 2"/>
            <p:cNvPicPr>
              <a:picLocks noChangeAspect="1" noChangeArrowheads="1"/>
            </p:cNvPicPr>
            <p:nvPr/>
          </p:nvPicPr>
          <p:blipFill>
            <a:blip r:embed="rId12" cstate="print">
              <a:duotone>
                <a:schemeClr val="accent2">
                  <a:shade val="45000"/>
                  <a:satMod val="135000"/>
                </a:schemeClr>
                <a:prstClr val="white"/>
              </a:duotone>
            </a:blip>
            <a:srcRect/>
            <a:stretch>
              <a:fillRect/>
            </a:stretch>
          </p:blipFill>
          <p:spPr bwMode="auto">
            <a:xfrm>
              <a:off x="4345719" y="5684882"/>
              <a:ext cx="601131" cy="711577"/>
            </a:xfrm>
            <a:prstGeom prst="rect">
              <a:avLst/>
            </a:prstGeom>
            <a:noFill/>
            <a:ln w="9525">
              <a:noFill/>
              <a:miter lim="800000"/>
              <a:headEnd/>
              <a:tailEnd/>
            </a:ln>
          </p:spPr>
        </p:pic>
        <p:sp>
          <p:nvSpPr>
            <p:cNvPr id="194" name="Rectangle 193"/>
            <p:cNvSpPr/>
            <p:nvPr/>
          </p:nvSpPr>
          <p:spPr bwMode="auto">
            <a:xfrm>
              <a:off x="212909" y="3996776"/>
              <a:ext cx="2023541" cy="743170"/>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637" fontAlgn="base">
                <a:spcBef>
                  <a:spcPct val="0"/>
                </a:spcBef>
                <a:spcAft>
                  <a:spcPct val="0"/>
                </a:spcAft>
              </a:pPr>
              <a:endParaRPr lang="en-US" sz="1200" spc="-38" dirty="0" err="1">
                <a:gradFill>
                  <a:gsLst>
                    <a:gs pos="0">
                      <a:srgbClr val="FFFFFF"/>
                    </a:gs>
                    <a:gs pos="100000">
                      <a:srgbClr val="FFFFFF"/>
                    </a:gs>
                  </a:gsLst>
                  <a:lin ang="5400000" scaled="0"/>
                </a:gradFill>
                <a:ea typeface="Segoe UI" pitchFamily="34" charset="0"/>
                <a:cs typeface="Segoe UI" pitchFamily="34" charset="0"/>
              </a:endParaRPr>
            </a:p>
          </p:txBody>
        </p:sp>
        <p:sp>
          <p:nvSpPr>
            <p:cNvPr id="195" name="Isosceles Triangle 194"/>
            <p:cNvSpPr/>
            <p:nvPr/>
          </p:nvSpPr>
          <p:spPr bwMode="auto">
            <a:xfrm>
              <a:off x="932669" y="4572575"/>
              <a:ext cx="585749" cy="213561"/>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637" fontAlgn="base">
                <a:spcBef>
                  <a:spcPct val="0"/>
                </a:spcBef>
                <a:spcAft>
                  <a:spcPct val="0"/>
                </a:spcAft>
              </a:pPr>
              <a:endParaRPr lang="en-US" sz="1200" spc="-38" dirty="0" err="1">
                <a:gradFill>
                  <a:gsLst>
                    <a:gs pos="0">
                      <a:srgbClr val="FFFFFF"/>
                    </a:gs>
                    <a:gs pos="100000">
                      <a:srgbClr val="FFFFFF"/>
                    </a:gs>
                  </a:gsLst>
                  <a:lin ang="5400000" scaled="0"/>
                </a:gradFill>
                <a:ea typeface="Segoe UI" pitchFamily="34" charset="0"/>
                <a:cs typeface="Segoe UI" pitchFamily="34" charset="0"/>
              </a:endParaRPr>
            </a:p>
          </p:txBody>
        </p:sp>
        <p:sp>
          <p:nvSpPr>
            <p:cNvPr id="203" name="Rectangle 202"/>
            <p:cNvSpPr/>
            <p:nvPr/>
          </p:nvSpPr>
          <p:spPr bwMode="auto">
            <a:xfrm>
              <a:off x="212909" y="4812025"/>
              <a:ext cx="2023541" cy="743170"/>
            </a:xfrm>
            <a:prstGeom prst="rect">
              <a:avLst/>
            </a:prstGeom>
            <a:solidFill>
              <a:schemeClr val="accent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637" fontAlgn="base">
                <a:spcBef>
                  <a:spcPct val="0"/>
                </a:spcBef>
                <a:spcAft>
                  <a:spcPct val="0"/>
                </a:spcAft>
              </a:pPr>
              <a:endParaRPr lang="en-US" sz="1200" spc="-38" dirty="0" err="1">
                <a:gradFill>
                  <a:gsLst>
                    <a:gs pos="0">
                      <a:srgbClr val="FFFFFF"/>
                    </a:gs>
                    <a:gs pos="100000">
                      <a:srgbClr val="FFFFFF"/>
                    </a:gs>
                  </a:gsLst>
                  <a:lin ang="5400000" scaled="0"/>
                </a:gradFill>
                <a:ea typeface="Segoe UI" pitchFamily="34" charset="0"/>
                <a:cs typeface="Segoe UI" pitchFamily="34" charset="0"/>
              </a:endParaRPr>
            </a:p>
          </p:txBody>
        </p:sp>
        <p:sp>
          <p:nvSpPr>
            <p:cNvPr id="206" name="Rectangle 205"/>
            <p:cNvSpPr/>
            <p:nvPr/>
          </p:nvSpPr>
          <p:spPr bwMode="auto">
            <a:xfrm>
              <a:off x="212905" y="3183487"/>
              <a:ext cx="2019207" cy="74317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637" fontAlgn="base">
                <a:spcBef>
                  <a:spcPct val="0"/>
                </a:spcBef>
                <a:spcAft>
                  <a:spcPct val="0"/>
                </a:spcAft>
              </a:pPr>
              <a:endParaRPr lang="en-US" sz="1200" spc="-38" dirty="0" err="1">
                <a:gradFill>
                  <a:gsLst>
                    <a:gs pos="0">
                      <a:srgbClr val="FFFFFF"/>
                    </a:gs>
                    <a:gs pos="100000">
                      <a:srgbClr val="FFFFFF"/>
                    </a:gs>
                  </a:gsLst>
                  <a:lin ang="5400000" scaled="0"/>
                </a:gradFill>
                <a:ea typeface="Segoe UI" pitchFamily="34" charset="0"/>
                <a:cs typeface="Segoe UI" pitchFamily="34" charset="0"/>
              </a:endParaRPr>
            </a:p>
          </p:txBody>
        </p:sp>
        <p:sp>
          <p:nvSpPr>
            <p:cNvPr id="213" name="Rectangle 212"/>
            <p:cNvSpPr/>
            <p:nvPr/>
          </p:nvSpPr>
          <p:spPr>
            <a:xfrm>
              <a:off x="212905" y="3231608"/>
              <a:ext cx="2019207" cy="492443"/>
            </a:xfrm>
            <a:prstGeom prst="rect">
              <a:avLst/>
            </a:prstGeom>
          </p:spPr>
          <p:txBody>
            <a:bodyPr wrap="square">
              <a:spAutoFit/>
            </a:bodyPr>
            <a:lstStyle/>
            <a:p>
              <a:pPr algn="ctr"/>
              <a:r>
                <a:rPr lang="en-US" sz="900" dirty="0"/>
                <a:t>Service</a:t>
              </a:r>
              <a:br>
                <a:rPr lang="en-US" sz="900" dirty="0"/>
              </a:br>
              <a:r>
                <a:rPr lang="en-US" sz="900" dirty="0"/>
                <a:t>Delivery &amp; Automation</a:t>
              </a:r>
            </a:p>
          </p:txBody>
        </p:sp>
        <p:sp>
          <p:nvSpPr>
            <p:cNvPr id="222" name="Rectangle 221"/>
            <p:cNvSpPr/>
            <p:nvPr/>
          </p:nvSpPr>
          <p:spPr>
            <a:xfrm>
              <a:off x="212905" y="4111373"/>
              <a:ext cx="2019207" cy="492443"/>
            </a:xfrm>
            <a:prstGeom prst="rect">
              <a:avLst/>
            </a:prstGeom>
          </p:spPr>
          <p:txBody>
            <a:bodyPr wrap="square">
              <a:spAutoFit/>
            </a:bodyPr>
            <a:lstStyle/>
            <a:p>
              <a:pPr algn="ctr"/>
              <a:r>
                <a:rPr lang="en-US" sz="900" dirty="0"/>
                <a:t>Application</a:t>
              </a:r>
            </a:p>
            <a:p>
              <a:pPr algn="ctr"/>
              <a:r>
                <a:rPr lang="en-US" sz="900" dirty="0"/>
                <a:t>Management</a:t>
              </a:r>
            </a:p>
          </p:txBody>
        </p:sp>
        <p:sp>
          <p:nvSpPr>
            <p:cNvPr id="223" name="Rectangle 222"/>
            <p:cNvSpPr/>
            <p:nvPr/>
          </p:nvSpPr>
          <p:spPr>
            <a:xfrm>
              <a:off x="212904" y="4948067"/>
              <a:ext cx="2019206" cy="492443"/>
            </a:xfrm>
            <a:prstGeom prst="rect">
              <a:avLst/>
            </a:prstGeom>
          </p:spPr>
          <p:txBody>
            <a:bodyPr wrap="square">
              <a:spAutoFit/>
            </a:bodyPr>
            <a:lstStyle/>
            <a:p>
              <a:pPr algn="ctr"/>
              <a:r>
                <a:rPr lang="en-US" sz="900" dirty="0"/>
                <a:t>Infrastructure</a:t>
              </a:r>
            </a:p>
            <a:p>
              <a:pPr algn="ctr"/>
              <a:r>
                <a:rPr lang="en-US" sz="900" dirty="0"/>
                <a:t>Management</a:t>
              </a:r>
            </a:p>
          </p:txBody>
        </p:sp>
        <p:sp>
          <p:nvSpPr>
            <p:cNvPr id="224" name="Isosceles Triangle 223"/>
            <p:cNvSpPr/>
            <p:nvPr/>
          </p:nvSpPr>
          <p:spPr bwMode="auto">
            <a:xfrm>
              <a:off x="932669" y="4657680"/>
              <a:ext cx="585749" cy="213561"/>
            </a:xfrm>
            <a:prstGeom prst="triangle">
              <a:avLst/>
            </a:prstGeom>
            <a:solidFill>
              <a:schemeClr val="accent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637" fontAlgn="base">
                <a:spcBef>
                  <a:spcPct val="0"/>
                </a:spcBef>
                <a:spcAft>
                  <a:spcPct val="0"/>
                </a:spcAft>
              </a:pPr>
              <a:endParaRPr lang="en-US" sz="1200" spc="-38" dirty="0" err="1">
                <a:gradFill>
                  <a:gsLst>
                    <a:gs pos="0">
                      <a:srgbClr val="FFFFFF"/>
                    </a:gs>
                    <a:gs pos="100000">
                      <a:srgbClr val="FFFFFF"/>
                    </a:gs>
                  </a:gsLst>
                  <a:lin ang="5400000" scaled="0"/>
                </a:gradFill>
                <a:ea typeface="Segoe UI" pitchFamily="34" charset="0"/>
                <a:cs typeface="Segoe UI" pitchFamily="34" charset="0"/>
              </a:endParaRPr>
            </a:p>
          </p:txBody>
        </p:sp>
        <p:sp>
          <p:nvSpPr>
            <p:cNvPr id="225" name="Isosceles Triangle 224"/>
            <p:cNvSpPr/>
            <p:nvPr/>
          </p:nvSpPr>
          <p:spPr bwMode="auto">
            <a:xfrm>
              <a:off x="932669" y="3761772"/>
              <a:ext cx="585749" cy="213561"/>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637" fontAlgn="base">
                <a:spcBef>
                  <a:spcPct val="0"/>
                </a:spcBef>
                <a:spcAft>
                  <a:spcPct val="0"/>
                </a:spcAft>
              </a:pPr>
              <a:endParaRPr lang="en-US" sz="1200" spc="-38" dirty="0" err="1">
                <a:gradFill>
                  <a:gsLst>
                    <a:gs pos="0">
                      <a:srgbClr val="FFFFFF"/>
                    </a:gs>
                    <a:gs pos="100000">
                      <a:srgbClr val="FFFFFF"/>
                    </a:gs>
                  </a:gsLst>
                  <a:lin ang="5400000" scaled="0"/>
                </a:gradFill>
                <a:ea typeface="Segoe UI" pitchFamily="34" charset="0"/>
                <a:cs typeface="Segoe UI" pitchFamily="34" charset="0"/>
              </a:endParaRPr>
            </a:p>
          </p:txBody>
        </p:sp>
        <p:sp>
          <p:nvSpPr>
            <p:cNvPr id="228" name="Isosceles Triangle 227"/>
            <p:cNvSpPr/>
            <p:nvPr/>
          </p:nvSpPr>
          <p:spPr bwMode="auto">
            <a:xfrm>
              <a:off x="932669" y="3854076"/>
              <a:ext cx="585749" cy="213561"/>
            </a:xfrm>
            <a:prstGeom prst="triangle">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637" fontAlgn="base">
                <a:spcBef>
                  <a:spcPct val="0"/>
                </a:spcBef>
                <a:spcAft>
                  <a:spcPct val="0"/>
                </a:spcAft>
              </a:pPr>
              <a:endParaRPr lang="en-US" sz="1200" spc="-38" dirty="0" err="1">
                <a:gradFill>
                  <a:gsLst>
                    <a:gs pos="0">
                      <a:srgbClr val="FFFFFF"/>
                    </a:gs>
                    <a:gs pos="100000">
                      <a:srgbClr val="FFFFFF"/>
                    </a:gs>
                  </a:gsLst>
                  <a:lin ang="5400000" scaled="0"/>
                </a:gradFill>
                <a:ea typeface="Segoe UI" pitchFamily="34" charset="0"/>
                <a:cs typeface="Segoe UI" pitchFamily="34" charset="0"/>
              </a:endParaRPr>
            </a:p>
          </p:txBody>
        </p:sp>
        <p:sp>
          <p:nvSpPr>
            <p:cNvPr id="235" name="Isosceles Triangle 234"/>
            <p:cNvSpPr/>
            <p:nvPr/>
          </p:nvSpPr>
          <p:spPr bwMode="auto">
            <a:xfrm>
              <a:off x="932669" y="5390865"/>
              <a:ext cx="585749" cy="213561"/>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637" fontAlgn="base">
                <a:spcBef>
                  <a:spcPct val="0"/>
                </a:spcBef>
                <a:spcAft>
                  <a:spcPct val="0"/>
                </a:spcAft>
              </a:pPr>
              <a:endParaRPr lang="en-US" sz="1200" spc="-38" dirty="0" err="1">
                <a:gradFill>
                  <a:gsLst>
                    <a:gs pos="0">
                      <a:srgbClr val="FFFFFF"/>
                    </a:gs>
                    <a:gs pos="100000">
                      <a:srgbClr val="FFFFFF"/>
                    </a:gs>
                  </a:gsLst>
                  <a:lin ang="5400000" scaled="0"/>
                </a:gradFill>
                <a:ea typeface="Segoe UI" pitchFamily="34" charset="0"/>
                <a:cs typeface="Segoe UI" pitchFamily="34" charset="0"/>
              </a:endParaRPr>
            </a:p>
          </p:txBody>
        </p:sp>
        <p:pic>
          <p:nvPicPr>
            <p:cNvPr id="236" name="Picture 9" descr="C:\Users\mnguyen\Pictures\Logos\system-center 2012.png"/>
            <p:cNvPicPr>
              <a:picLocks noChangeAspect="1" noChangeArrowheads="1"/>
            </p:cNvPicPr>
            <p:nvPr/>
          </p:nvPicPr>
          <p:blipFill>
            <a:blip r:embed="rId13" cstate="print">
              <a:extLst>
                <a:ext uri="{28A0092B-C50C-407E-A947-70E740481C1C}">
                  <a14:useLocalDpi xmlns:a14="http://schemas.microsoft.com/office/drawing/2010/main"/>
                </a:ext>
              </a:extLst>
            </a:blip>
            <a:stretch>
              <a:fillRect/>
            </a:stretch>
          </p:blipFill>
          <p:spPr bwMode="auto">
            <a:xfrm>
              <a:off x="518499" y="5679668"/>
              <a:ext cx="1425945" cy="707225"/>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2" name="Group 1"/>
            <p:cNvGrpSpPr/>
            <p:nvPr/>
          </p:nvGrpSpPr>
          <p:grpSpPr>
            <a:xfrm>
              <a:off x="2338423" y="3132769"/>
              <a:ext cx="6512531" cy="2327351"/>
              <a:chOff x="2338423" y="2821473"/>
              <a:chExt cx="7736024" cy="2327351"/>
            </a:xfrm>
          </p:grpSpPr>
          <p:sp>
            <p:nvSpPr>
              <p:cNvPr id="153" name="Rectangle 152"/>
              <p:cNvSpPr/>
              <p:nvPr/>
            </p:nvSpPr>
            <p:spPr bwMode="auto">
              <a:xfrm>
                <a:off x="2338423" y="2847597"/>
                <a:ext cx="7736024" cy="2301227"/>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41" tIns="45715" rIns="45715" bIns="91428" numCol="2" spcCol="914285" rtlCol="0" fromWordArt="0" anchor="ctr" anchorCtr="0" forceAA="0" compatLnSpc="1">
                <a:prstTxWarp prst="textNoShape">
                  <a:avLst/>
                </a:prstTxWarp>
                <a:noAutofit/>
              </a:bodyPr>
              <a:lstStyle/>
              <a:p>
                <a:pPr>
                  <a:spcAft>
                    <a:spcPts val="225"/>
                  </a:spcAft>
                </a:pPr>
                <a:endParaRPr lang="en-US" dirty="0">
                  <a:solidFill>
                    <a:schemeClr val="bg1"/>
                  </a:solidFill>
                </a:endParaRPr>
              </a:p>
            </p:txBody>
          </p:sp>
          <p:sp>
            <p:nvSpPr>
              <p:cNvPr id="154" name="TextBox 153"/>
              <p:cNvSpPr txBox="1"/>
              <p:nvPr/>
            </p:nvSpPr>
            <p:spPr>
              <a:xfrm>
                <a:off x="4892339" y="2821473"/>
                <a:ext cx="2593358" cy="369332"/>
              </a:xfrm>
              <a:prstGeom prst="rect">
                <a:avLst/>
              </a:prstGeom>
              <a:noFill/>
            </p:spPr>
            <p:txBody>
              <a:bodyPr wrap="square" rtlCol="0">
                <a:spAutoFit/>
              </a:bodyPr>
              <a:lstStyle/>
              <a:p>
                <a:pPr algn="ctr"/>
                <a:r>
                  <a:rPr lang="en-US" sz="1200" dirty="0">
                    <a:latin typeface="+mj-lt"/>
                  </a:rPr>
                  <a:t>Windows Server 2012</a:t>
                </a:r>
              </a:p>
            </p:txBody>
          </p:sp>
          <p:sp>
            <p:nvSpPr>
              <p:cNvPr id="157" name="Rectangle 156"/>
              <p:cNvSpPr/>
              <p:nvPr/>
            </p:nvSpPr>
            <p:spPr>
              <a:xfrm>
                <a:off x="2471208" y="3656608"/>
                <a:ext cx="1823669" cy="433937"/>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Virtualization</a:t>
                </a:r>
              </a:p>
            </p:txBody>
          </p:sp>
          <p:sp>
            <p:nvSpPr>
              <p:cNvPr id="159" name="Rectangle 158"/>
              <p:cNvSpPr/>
              <p:nvPr/>
            </p:nvSpPr>
            <p:spPr>
              <a:xfrm>
                <a:off x="4362523" y="3656608"/>
                <a:ext cx="1823669" cy="431267"/>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Networking</a:t>
                </a:r>
              </a:p>
            </p:txBody>
          </p:sp>
          <p:sp>
            <p:nvSpPr>
              <p:cNvPr id="160" name="Rectangle 159"/>
              <p:cNvSpPr/>
              <p:nvPr/>
            </p:nvSpPr>
            <p:spPr>
              <a:xfrm>
                <a:off x="6251189" y="3656608"/>
                <a:ext cx="1823669" cy="433937"/>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Storage</a:t>
                </a:r>
              </a:p>
            </p:txBody>
          </p:sp>
          <p:sp>
            <p:nvSpPr>
              <p:cNvPr id="161" name="Rectangle 160"/>
              <p:cNvSpPr/>
              <p:nvPr/>
            </p:nvSpPr>
            <p:spPr>
              <a:xfrm>
                <a:off x="8143420" y="3656608"/>
                <a:ext cx="1823669" cy="433937"/>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Management</a:t>
                </a:r>
              </a:p>
            </p:txBody>
          </p:sp>
          <p:sp>
            <p:nvSpPr>
              <p:cNvPr id="162" name="Rectangle 161"/>
              <p:cNvSpPr/>
              <p:nvPr/>
            </p:nvSpPr>
            <p:spPr>
              <a:xfrm>
                <a:off x="7607121" y="3169454"/>
                <a:ext cx="2355810" cy="429513"/>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Remote Desktop Services</a:t>
                </a:r>
              </a:p>
            </p:txBody>
          </p:sp>
          <p:sp>
            <p:nvSpPr>
              <p:cNvPr id="163" name="Rectangle 162"/>
              <p:cNvSpPr/>
              <p:nvPr/>
            </p:nvSpPr>
            <p:spPr>
              <a:xfrm>
                <a:off x="2471208" y="3171354"/>
                <a:ext cx="2301169" cy="427614"/>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Web</a:t>
                </a:r>
              </a:p>
            </p:txBody>
          </p:sp>
          <p:sp>
            <p:nvSpPr>
              <p:cNvPr id="186" name="Rectangle 185"/>
              <p:cNvSpPr/>
              <p:nvPr/>
            </p:nvSpPr>
            <p:spPr>
              <a:xfrm>
                <a:off x="4872807" y="3169454"/>
                <a:ext cx="2630696" cy="429513"/>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Applications</a:t>
                </a:r>
              </a:p>
            </p:txBody>
          </p:sp>
          <p:sp>
            <p:nvSpPr>
              <p:cNvPr id="238" name="Rectangle 237"/>
              <p:cNvSpPr/>
              <p:nvPr/>
            </p:nvSpPr>
            <p:spPr>
              <a:xfrm>
                <a:off x="2471213" y="4148275"/>
                <a:ext cx="7495881" cy="277568"/>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Availability</a:t>
                </a:r>
              </a:p>
            </p:txBody>
          </p:sp>
          <p:sp>
            <p:nvSpPr>
              <p:cNvPr id="239" name="Rectangle 238"/>
              <p:cNvSpPr/>
              <p:nvPr/>
            </p:nvSpPr>
            <p:spPr>
              <a:xfrm>
                <a:off x="2467055" y="4476930"/>
                <a:ext cx="7495881" cy="277568"/>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Scalability</a:t>
                </a:r>
              </a:p>
            </p:txBody>
          </p:sp>
          <p:sp>
            <p:nvSpPr>
              <p:cNvPr id="240" name="Rectangle 239"/>
              <p:cNvSpPr/>
              <p:nvPr/>
            </p:nvSpPr>
            <p:spPr>
              <a:xfrm>
                <a:off x="2467854" y="4809797"/>
                <a:ext cx="7495881" cy="277568"/>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Security</a:t>
                </a:r>
              </a:p>
            </p:txBody>
          </p:sp>
        </p:grpSp>
        <p:sp>
          <p:nvSpPr>
            <p:cNvPr id="241" name="Rectangle 240"/>
            <p:cNvSpPr/>
            <p:nvPr/>
          </p:nvSpPr>
          <p:spPr bwMode="auto">
            <a:xfrm>
              <a:off x="2339860" y="5568235"/>
              <a:ext cx="932688" cy="944858"/>
            </a:xfrm>
            <a:prstGeom prst="rect">
              <a:avLst/>
            </a:prstGeom>
            <a:solidFill>
              <a:schemeClr val="bg2">
                <a:lumMod val="60000"/>
                <a:lumOff val="40000"/>
              </a:schemeClr>
            </a:solidFill>
            <a:ln w="19050">
              <a:solidFill>
                <a:schemeClr val="tx1">
                  <a:lumMod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637" fontAlgn="base">
                <a:spcBef>
                  <a:spcPct val="0"/>
                </a:spcBef>
                <a:spcAft>
                  <a:spcPct val="0"/>
                </a:spcAft>
              </a:pPr>
              <a:endParaRPr lang="en-US" spc="-38"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42" name="TextBox 241"/>
            <p:cNvSpPr txBox="1"/>
            <p:nvPr/>
          </p:nvSpPr>
          <p:spPr>
            <a:xfrm>
              <a:off x="2366236" y="6249295"/>
              <a:ext cx="620380" cy="246221"/>
            </a:xfrm>
            <a:prstGeom prst="rect">
              <a:avLst/>
            </a:prstGeom>
            <a:noFill/>
          </p:spPr>
          <p:txBody>
            <a:bodyPr wrap="none" lIns="0" tIns="0" rIns="0" bIns="0" rtlCol="0">
              <a:spAutoFit/>
            </a:bodyPr>
            <a:lstStyle/>
            <a:p>
              <a:r>
                <a:rPr lang="en-US" sz="1200" dirty="0">
                  <a:gradFill>
                    <a:gsLst>
                      <a:gs pos="0">
                        <a:schemeClr val="tx1">
                          <a:lumMod val="75000"/>
                          <a:lumOff val="25000"/>
                        </a:schemeClr>
                      </a:gs>
                      <a:gs pos="80000">
                        <a:schemeClr val="tx1">
                          <a:lumMod val="65000"/>
                          <a:lumOff val="35000"/>
                        </a:schemeClr>
                      </a:gs>
                    </a:gsLst>
                    <a:lin ang="16200000" scaled="0"/>
                  </a:gradFill>
                  <a:latin typeface="Segoe UI Light" pitchFamily="34" charset="0"/>
                </a:rPr>
                <a:t>Hardware</a:t>
              </a:r>
            </a:p>
          </p:txBody>
        </p:sp>
        <p:cxnSp>
          <p:nvCxnSpPr>
            <p:cNvPr id="251" name="Straight Connector 250"/>
            <p:cNvCxnSpPr/>
            <p:nvPr/>
          </p:nvCxnSpPr>
          <p:spPr>
            <a:xfrm>
              <a:off x="5093172" y="5654694"/>
              <a:ext cx="0" cy="769038"/>
            </a:xfrm>
            <a:prstGeom prst="line">
              <a:avLst/>
            </a:prstGeom>
            <a:ln>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52" name="Straight Connector 251"/>
            <p:cNvCxnSpPr/>
            <p:nvPr/>
          </p:nvCxnSpPr>
          <p:spPr>
            <a:xfrm>
              <a:off x="7009096" y="5654694"/>
              <a:ext cx="0" cy="769038"/>
            </a:xfrm>
            <a:prstGeom prst="line">
              <a:avLst/>
            </a:prstGeom>
            <a:ln>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97"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98"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4"/>
              </a:rPr>
              <a:t>www.rapidbbs.cn</a:t>
            </a:r>
            <a:endParaRPr lang="zh-CN" altLang="en-US" sz="1200" b="0">
              <a:latin typeface="Arial" charset="0"/>
              <a:ea typeface="ＭＳ Ｐゴシック" pitchFamily="34" charset="-128"/>
            </a:endParaRPr>
          </a:p>
        </p:txBody>
      </p:sp>
      <p:pic>
        <p:nvPicPr>
          <p:cNvPr id="99" name="Picture 2">
            <a:hlinkClick r:id="rId14"/>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179157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p:cNvSpPr/>
          <p:nvPr/>
        </p:nvSpPr>
        <p:spPr bwMode="auto">
          <a:xfrm>
            <a:off x="5365642" y="1229714"/>
            <a:ext cx="1410051" cy="1409685"/>
          </a:xfrm>
          <a:prstGeom prst="rect">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6" tIns="34294" rIns="34294" bIns="68586" numCol="1" spcCol="0" rtlCol="0" fromWordArt="0" anchor="b" anchorCtr="0" forceAA="0" compatLnSpc="1">
            <a:prstTxWarp prst="textNoShape">
              <a:avLst/>
            </a:prstTxWarp>
            <a:noAutofit/>
          </a:bodyPr>
          <a:lstStyle/>
          <a:p>
            <a:pPr defTabSz="685637" fontAlgn="base">
              <a:spcBef>
                <a:spcPct val="0"/>
              </a:spcBef>
              <a:spcAft>
                <a:spcPct val="0"/>
              </a:spcAft>
            </a:pPr>
            <a:r>
              <a:rPr lang="en-US" spc="-38" dirty="0">
                <a:gradFill>
                  <a:gsLst>
                    <a:gs pos="0">
                      <a:srgbClr val="FFFFFF"/>
                    </a:gs>
                    <a:gs pos="100000">
                      <a:srgbClr val="FFFFFF"/>
                    </a:gs>
                  </a:gsLst>
                  <a:lin ang="5400000" scaled="0"/>
                </a:gradFill>
                <a:ea typeface="Segoe UI" pitchFamily="34" charset="0"/>
                <a:cs typeface="Segoe UI" pitchFamily="34" charset="0"/>
              </a:rPr>
              <a:t>Web Hosting</a:t>
            </a:r>
          </a:p>
        </p:txBody>
      </p:sp>
      <p:grpSp>
        <p:nvGrpSpPr>
          <p:cNvPr id="63" name="Group 62"/>
          <p:cNvGrpSpPr/>
          <p:nvPr/>
        </p:nvGrpSpPr>
        <p:grpSpPr bwMode="black">
          <a:xfrm>
            <a:off x="5695333" y="1504764"/>
            <a:ext cx="750665" cy="639074"/>
            <a:chOff x="2462213" y="1598613"/>
            <a:chExt cx="4222750" cy="3667125"/>
          </a:xfrm>
        </p:grpSpPr>
        <p:sp>
          <p:nvSpPr>
            <p:cNvPr id="64" name="Rectangle 6"/>
            <p:cNvSpPr>
              <a:spLocks noChangeArrowheads="1"/>
            </p:cNvSpPr>
            <p:nvPr/>
          </p:nvSpPr>
          <p:spPr bwMode="black">
            <a:xfrm>
              <a:off x="5564188"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65" name="Rectangle 7"/>
            <p:cNvSpPr>
              <a:spLocks noChangeArrowheads="1"/>
            </p:cNvSpPr>
            <p:nvPr/>
          </p:nvSpPr>
          <p:spPr bwMode="black">
            <a:xfrm>
              <a:off x="5795963" y="3346451"/>
              <a:ext cx="112713"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66" name="Rectangle 8"/>
            <p:cNvSpPr>
              <a:spLocks noChangeArrowheads="1"/>
            </p:cNvSpPr>
            <p:nvPr/>
          </p:nvSpPr>
          <p:spPr bwMode="black">
            <a:xfrm>
              <a:off x="3092451"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67" name="Rectangle 9"/>
            <p:cNvSpPr>
              <a:spLocks noChangeArrowheads="1"/>
            </p:cNvSpPr>
            <p:nvPr/>
          </p:nvSpPr>
          <p:spPr bwMode="black">
            <a:xfrm>
              <a:off x="3324226" y="3346451"/>
              <a:ext cx="117475"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68" name="Freeform 10"/>
            <p:cNvSpPr>
              <a:spLocks/>
            </p:cNvSpPr>
            <p:nvPr/>
          </p:nvSpPr>
          <p:spPr bwMode="black">
            <a:xfrm>
              <a:off x="3902076" y="2506663"/>
              <a:ext cx="101600" cy="123825"/>
            </a:xfrm>
            <a:custGeom>
              <a:avLst/>
              <a:gdLst>
                <a:gd name="T0" fmla="*/ 36 w 64"/>
                <a:gd name="T1" fmla="*/ 78 h 78"/>
                <a:gd name="T2" fmla="*/ 64 w 64"/>
                <a:gd name="T3" fmla="*/ 64 h 78"/>
                <a:gd name="T4" fmla="*/ 26 w 64"/>
                <a:gd name="T5" fmla="*/ 0 h 78"/>
                <a:gd name="T6" fmla="*/ 0 w 64"/>
                <a:gd name="T7" fmla="*/ 17 h 78"/>
                <a:gd name="T8" fmla="*/ 36 w 64"/>
                <a:gd name="T9" fmla="*/ 78 h 78"/>
              </a:gdLst>
              <a:ahLst/>
              <a:cxnLst>
                <a:cxn ang="0">
                  <a:pos x="T0" y="T1"/>
                </a:cxn>
                <a:cxn ang="0">
                  <a:pos x="T2" y="T3"/>
                </a:cxn>
                <a:cxn ang="0">
                  <a:pos x="T4" y="T5"/>
                </a:cxn>
                <a:cxn ang="0">
                  <a:pos x="T6" y="T7"/>
                </a:cxn>
                <a:cxn ang="0">
                  <a:pos x="T8" y="T9"/>
                </a:cxn>
              </a:cxnLst>
              <a:rect l="0" t="0" r="r" b="b"/>
              <a:pathLst>
                <a:path w="64" h="78">
                  <a:moveTo>
                    <a:pt x="36" y="78"/>
                  </a:moveTo>
                  <a:lnTo>
                    <a:pt x="64" y="64"/>
                  </a:lnTo>
                  <a:lnTo>
                    <a:pt x="26" y="0"/>
                  </a:lnTo>
                  <a:lnTo>
                    <a:pt x="0" y="17"/>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69" name="Freeform 11"/>
            <p:cNvSpPr>
              <a:spLocks/>
            </p:cNvSpPr>
            <p:nvPr/>
          </p:nvSpPr>
          <p:spPr bwMode="black">
            <a:xfrm>
              <a:off x="4017963" y="2709863"/>
              <a:ext cx="98425" cy="123825"/>
            </a:xfrm>
            <a:custGeom>
              <a:avLst/>
              <a:gdLst>
                <a:gd name="T0" fmla="*/ 36 w 62"/>
                <a:gd name="T1" fmla="*/ 78 h 78"/>
                <a:gd name="T2" fmla="*/ 62 w 62"/>
                <a:gd name="T3" fmla="*/ 61 h 78"/>
                <a:gd name="T4" fmla="*/ 26 w 62"/>
                <a:gd name="T5" fmla="*/ 0 h 78"/>
                <a:gd name="T6" fmla="*/ 0 w 62"/>
                <a:gd name="T7" fmla="*/ 14 h 78"/>
                <a:gd name="T8" fmla="*/ 36 w 62"/>
                <a:gd name="T9" fmla="*/ 78 h 78"/>
              </a:gdLst>
              <a:ahLst/>
              <a:cxnLst>
                <a:cxn ang="0">
                  <a:pos x="T0" y="T1"/>
                </a:cxn>
                <a:cxn ang="0">
                  <a:pos x="T2" y="T3"/>
                </a:cxn>
                <a:cxn ang="0">
                  <a:pos x="T4" y="T5"/>
                </a:cxn>
                <a:cxn ang="0">
                  <a:pos x="T6" y="T7"/>
                </a:cxn>
                <a:cxn ang="0">
                  <a:pos x="T8" y="T9"/>
                </a:cxn>
              </a:cxnLst>
              <a:rect l="0" t="0" r="r" b="b"/>
              <a:pathLst>
                <a:path w="62" h="78">
                  <a:moveTo>
                    <a:pt x="36" y="78"/>
                  </a:moveTo>
                  <a:lnTo>
                    <a:pt x="62" y="61"/>
                  </a:lnTo>
                  <a:lnTo>
                    <a:pt x="26" y="0"/>
                  </a:lnTo>
                  <a:lnTo>
                    <a:pt x="0" y="14"/>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70" name="Freeform 12"/>
            <p:cNvSpPr>
              <a:spLocks/>
            </p:cNvSpPr>
            <p:nvPr/>
          </p:nvSpPr>
          <p:spPr bwMode="black">
            <a:xfrm>
              <a:off x="4873626" y="2709863"/>
              <a:ext cx="98425" cy="123825"/>
            </a:xfrm>
            <a:custGeom>
              <a:avLst/>
              <a:gdLst>
                <a:gd name="T0" fmla="*/ 26 w 62"/>
                <a:gd name="T1" fmla="*/ 78 h 78"/>
                <a:gd name="T2" fmla="*/ 62 w 62"/>
                <a:gd name="T3" fmla="*/ 14 h 78"/>
                <a:gd name="T4" fmla="*/ 36 w 62"/>
                <a:gd name="T5" fmla="*/ 0 h 78"/>
                <a:gd name="T6" fmla="*/ 0 w 62"/>
                <a:gd name="T7" fmla="*/ 61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4"/>
                  </a:lnTo>
                  <a:lnTo>
                    <a:pt x="36" y="0"/>
                  </a:lnTo>
                  <a:lnTo>
                    <a:pt x="0" y="61"/>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71" name="Freeform 13"/>
            <p:cNvSpPr>
              <a:spLocks/>
            </p:cNvSpPr>
            <p:nvPr/>
          </p:nvSpPr>
          <p:spPr bwMode="black">
            <a:xfrm>
              <a:off x="4989513" y="2506663"/>
              <a:ext cx="98425" cy="123825"/>
            </a:xfrm>
            <a:custGeom>
              <a:avLst/>
              <a:gdLst>
                <a:gd name="T0" fmla="*/ 26 w 62"/>
                <a:gd name="T1" fmla="*/ 78 h 78"/>
                <a:gd name="T2" fmla="*/ 62 w 62"/>
                <a:gd name="T3" fmla="*/ 17 h 78"/>
                <a:gd name="T4" fmla="*/ 36 w 62"/>
                <a:gd name="T5" fmla="*/ 0 h 78"/>
                <a:gd name="T6" fmla="*/ 0 w 62"/>
                <a:gd name="T7" fmla="*/ 64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7"/>
                  </a:lnTo>
                  <a:lnTo>
                    <a:pt x="36" y="0"/>
                  </a:lnTo>
                  <a:lnTo>
                    <a:pt x="0" y="64"/>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72" name="Freeform 14"/>
            <p:cNvSpPr>
              <a:spLocks/>
            </p:cNvSpPr>
            <p:nvPr/>
          </p:nvSpPr>
          <p:spPr bwMode="black">
            <a:xfrm>
              <a:off x="4017963" y="3990976"/>
              <a:ext cx="98425" cy="123825"/>
            </a:xfrm>
            <a:custGeom>
              <a:avLst/>
              <a:gdLst>
                <a:gd name="T0" fmla="*/ 0 w 62"/>
                <a:gd name="T1" fmla="*/ 64 h 78"/>
                <a:gd name="T2" fmla="*/ 26 w 62"/>
                <a:gd name="T3" fmla="*/ 78 h 78"/>
                <a:gd name="T4" fmla="*/ 62 w 62"/>
                <a:gd name="T5" fmla="*/ 14 h 78"/>
                <a:gd name="T6" fmla="*/ 36 w 62"/>
                <a:gd name="T7" fmla="*/ 0 h 78"/>
                <a:gd name="T8" fmla="*/ 0 w 62"/>
                <a:gd name="T9" fmla="*/ 64 h 78"/>
              </a:gdLst>
              <a:ahLst/>
              <a:cxnLst>
                <a:cxn ang="0">
                  <a:pos x="T0" y="T1"/>
                </a:cxn>
                <a:cxn ang="0">
                  <a:pos x="T2" y="T3"/>
                </a:cxn>
                <a:cxn ang="0">
                  <a:pos x="T4" y="T5"/>
                </a:cxn>
                <a:cxn ang="0">
                  <a:pos x="T6" y="T7"/>
                </a:cxn>
                <a:cxn ang="0">
                  <a:pos x="T8" y="T9"/>
                </a:cxn>
              </a:cxnLst>
              <a:rect l="0" t="0" r="r" b="b"/>
              <a:pathLst>
                <a:path w="62" h="78">
                  <a:moveTo>
                    <a:pt x="0" y="64"/>
                  </a:moveTo>
                  <a:lnTo>
                    <a:pt x="26" y="78"/>
                  </a:lnTo>
                  <a:lnTo>
                    <a:pt x="62" y="14"/>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73" name="Freeform 15"/>
            <p:cNvSpPr>
              <a:spLocks/>
            </p:cNvSpPr>
            <p:nvPr/>
          </p:nvSpPr>
          <p:spPr bwMode="black">
            <a:xfrm>
              <a:off x="3902076" y="4189413"/>
              <a:ext cx="101600" cy="128588"/>
            </a:xfrm>
            <a:custGeom>
              <a:avLst/>
              <a:gdLst>
                <a:gd name="T0" fmla="*/ 0 w 64"/>
                <a:gd name="T1" fmla="*/ 64 h 81"/>
                <a:gd name="T2" fmla="*/ 26 w 64"/>
                <a:gd name="T3" fmla="*/ 81 h 81"/>
                <a:gd name="T4" fmla="*/ 64 w 64"/>
                <a:gd name="T5" fmla="*/ 17 h 81"/>
                <a:gd name="T6" fmla="*/ 36 w 64"/>
                <a:gd name="T7" fmla="*/ 0 h 81"/>
                <a:gd name="T8" fmla="*/ 0 w 64"/>
                <a:gd name="T9" fmla="*/ 64 h 81"/>
              </a:gdLst>
              <a:ahLst/>
              <a:cxnLst>
                <a:cxn ang="0">
                  <a:pos x="T0" y="T1"/>
                </a:cxn>
                <a:cxn ang="0">
                  <a:pos x="T2" y="T3"/>
                </a:cxn>
                <a:cxn ang="0">
                  <a:pos x="T4" y="T5"/>
                </a:cxn>
                <a:cxn ang="0">
                  <a:pos x="T6" y="T7"/>
                </a:cxn>
                <a:cxn ang="0">
                  <a:pos x="T8" y="T9"/>
                </a:cxn>
              </a:cxnLst>
              <a:rect l="0" t="0" r="r" b="b"/>
              <a:pathLst>
                <a:path w="64" h="81">
                  <a:moveTo>
                    <a:pt x="0" y="64"/>
                  </a:moveTo>
                  <a:lnTo>
                    <a:pt x="26" y="81"/>
                  </a:lnTo>
                  <a:lnTo>
                    <a:pt x="64" y="17"/>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74" name="Freeform 16"/>
            <p:cNvSpPr>
              <a:spLocks/>
            </p:cNvSpPr>
            <p:nvPr/>
          </p:nvSpPr>
          <p:spPr bwMode="black">
            <a:xfrm>
              <a:off x="4989513" y="4189413"/>
              <a:ext cx="98425" cy="128588"/>
            </a:xfrm>
            <a:custGeom>
              <a:avLst/>
              <a:gdLst>
                <a:gd name="T0" fmla="*/ 26 w 62"/>
                <a:gd name="T1" fmla="*/ 0 h 81"/>
                <a:gd name="T2" fmla="*/ 0 w 62"/>
                <a:gd name="T3" fmla="*/ 17 h 81"/>
                <a:gd name="T4" fmla="*/ 36 w 62"/>
                <a:gd name="T5" fmla="*/ 81 h 81"/>
                <a:gd name="T6" fmla="*/ 62 w 62"/>
                <a:gd name="T7" fmla="*/ 64 h 81"/>
                <a:gd name="T8" fmla="*/ 26 w 62"/>
                <a:gd name="T9" fmla="*/ 0 h 81"/>
              </a:gdLst>
              <a:ahLst/>
              <a:cxnLst>
                <a:cxn ang="0">
                  <a:pos x="T0" y="T1"/>
                </a:cxn>
                <a:cxn ang="0">
                  <a:pos x="T2" y="T3"/>
                </a:cxn>
                <a:cxn ang="0">
                  <a:pos x="T4" y="T5"/>
                </a:cxn>
                <a:cxn ang="0">
                  <a:pos x="T6" y="T7"/>
                </a:cxn>
                <a:cxn ang="0">
                  <a:pos x="T8" y="T9"/>
                </a:cxn>
              </a:cxnLst>
              <a:rect l="0" t="0" r="r" b="b"/>
              <a:pathLst>
                <a:path w="62" h="81">
                  <a:moveTo>
                    <a:pt x="26" y="0"/>
                  </a:moveTo>
                  <a:lnTo>
                    <a:pt x="0" y="17"/>
                  </a:lnTo>
                  <a:lnTo>
                    <a:pt x="36" y="81"/>
                  </a:lnTo>
                  <a:lnTo>
                    <a:pt x="62" y="64"/>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75" name="Freeform 17"/>
            <p:cNvSpPr>
              <a:spLocks/>
            </p:cNvSpPr>
            <p:nvPr/>
          </p:nvSpPr>
          <p:spPr bwMode="black">
            <a:xfrm>
              <a:off x="4873626" y="3990976"/>
              <a:ext cx="98425" cy="123825"/>
            </a:xfrm>
            <a:custGeom>
              <a:avLst/>
              <a:gdLst>
                <a:gd name="T0" fmla="*/ 0 w 62"/>
                <a:gd name="T1" fmla="*/ 14 h 78"/>
                <a:gd name="T2" fmla="*/ 36 w 62"/>
                <a:gd name="T3" fmla="*/ 78 h 78"/>
                <a:gd name="T4" fmla="*/ 62 w 62"/>
                <a:gd name="T5" fmla="*/ 64 h 78"/>
                <a:gd name="T6" fmla="*/ 26 w 62"/>
                <a:gd name="T7" fmla="*/ 0 h 78"/>
                <a:gd name="T8" fmla="*/ 0 w 62"/>
                <a:gd name="T9" fmla="*/ 14 h 78"/>
              </a:gdLst>
              <a:ahLst/>
              <a:cxnLst>
                <a:cxn ang="0">
                  <a:pos x="T0" y="T1"/>
                </a:cxn>
                <a:cxn ang="0">
                  <a:pos x="T2" y="T3"/>
                </a:cxn>
                <a:cxn ang="0">
                  <a:pos x="T4" y="T5"/>
                </a:cxn>
                <a:cxn ang="0">
                  <a:pos x="T6" y="T7"/>
                </a:cxn>
                <a:cxn ang="0">
                  <a:pos x="T8" y="T9"/>
                </a:cxn>
              </a:cxnLst>
              <a:rect l="0" t="0" r="r" b="b"/>
              <a:pathLst>
                <a:path w="62" h="78">
                  <a:moveTo>
                    <a:pt x="0" y="14"/>
                  </a:moveTo>
                  <a:lnTo>
                    <a:pt x="36" y="78"/>
                  </a:lnTo>
                  <a:lnTo>
                    <a:pt x="62" y="64"/>
                  </a:lnTo>
                  <a:lnTo>
                    <a:pt x="26" y="0"/>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76" name="Freeform 18"/>
            <p:cNvSpPr>
              <a:spLocks/>
            </p:cNvSpPr>
            <p:nvPr/>
          </p:nvSpPr>
          <p:spPr bwMode="black">
            <a:xfrm>
              <a:off x="3579813" y="2892426"/>
              <a:ext cx="1833563" cy="1068388"/>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77" name="Freeform 19"/>
            <p:cNvSpPr>
              <a:spLocks noEditPoints="1"/>
            </p:cNvSpPr>
            <p:nvPr/>
          </p:nvSpPr>
          <p:spPr bwMode="black">
            <a:xfrm>
              <a:off x="3321051" y="1598613"/>
              <a:ext cx="750888" cy="522288"/>
            </a:xfrm>
            <a:custGeom>
              <a:avLst/>
              <a:gdLst>
                <a:gd name="T0" fmla="*/ 174 w 200"/>
                <a:gd name="T1" fmla="*/ 0 h 139"/>
                <a:gd name="T2" fmla="*/ 26 w 200"/>
                <a:gd name="T3" fmla="*/ 0 h 139"/>
                <a:gd name="T4" fmla="*/ 0 w 200"/>
                <a:gd name="T5" fmla="*/ 27 h 139"/>
                <a:gd name="T6" fmla="*/ 0 w 200"/>
                <a:gd name="T7" fmla="*/ 113 h 139"/>
                <a:gd name="T8" fmla="*/ 26 w 200"/>
                <a:gd name="T9" fmla="*/ 139 h 139"/>
                <a:gd name="T10" fmla="*/ 174 w 200"/>
                <a:gd name="T11" fmla="*/ 139 h 139"/>
                <a:gd name="T12" fmla="*/ 200 w 200"/>
                <a:gd name="T13" fmla="*/ 113 h 139"/>
                <a:gd name="T14" fmla="*/ 200 w 200"/>
                <a:gd name="T15" fmla="*/ 27 h 139"/>
                <a:gd name="T16" fmla="*/ 174 w 200"/>
                <a:gd name="T17" fmla="*/ 0 h 139"/>
                <a:gd name="T18" fmla="*/ 185 w 200"/>
                <a:gd name="T19" fmla="*/ 113 h 139"/>
                <a:gd name="T20" fmla="*/ 174 w 200"/>
                <a:gd name="T21" fmla="*/ 124 h 139"/>
                <a:gd name="T22" fmla="*/ 26 w 200"/>
                <a:gd name="T23" fmla="*/ 124 h 139"/>
                <a:gd name="T24" fmla="*/ 15 w 200"/>
                <a:gd name="T25" fmla="*/ 113 h 139"/>
                <a:gd name="T26" fmla="*/ 15 w 200"/>
                <a:gd name="T27" fmla="*/ 27 h 139"/>
                <a:gd name="T28" fmla="*/ 26 w 200"/>
                <a:gd name="T29" fmla="*/ 16 h 139"/>
                <a:gd name="T30" fmla="*/ 174 w 200"/>
                <a:gd name="T31" fmla="*/ 16 h 139"/>
                <a:gd name="T32" fmla="*/ 185 w 200"/>
                <a:gd name="T33" fmla="*/ 27 h 139"/>
                <a:gd name="T34" fmla="*/ 185 w 200"/>
                <a:gd name="T35" fmla="*/ 11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39">
                  <a:moveTo>
                    <a:pt x="174" y="0"/>
                  </a:moveTo>
                  <a:cubicBezTo>
                    <a:pt x="26" y="0"/>
                    <a:pt x="26" y="0"/>
                    <a:pt x="26" y="0"/>
                  </a:cubicBezTo>
                  <a:cubicBezTo>
                    <a:pt x="12" y="0"/>
                    <a:pt x="0" y="12"/>
                    <a:pt x="0" y="27"/>
                  </a:cubicBezTo>
                  <a:cubicBezTo>
                    <a:pt x="0" y="113"/>
                    <a:pt x="0" y="113"/>
                    <a:pt x="0" y="113"/>
                  </a:cubicBezTo>
                  <a:cubicBezTo>
                    <a:pt x="0" y="127"/>
                    <a:pt x="12" y="139"/>
                    <a:pt x="26" y="139"/>
                  </a:cubicBezTo>
                  <a:cubicBezTo>
                    <a:pt x="174" y="139"/>
                    <a:pt x="174" y="139"/>
                    <a:pt x="174" y="139"/>
                  </a:cubicBezTo>
                  <a:cubicBezTo>
                    <a:pt x="188" y="139"/>
                    <a:pt x="200" y="127"/>
                    <a:pt x="200" y="113"/>
                  </a:cubicBezTo>
                  <a:cubicBezTo>
                    <a:pt x="200" y="27"/>
                    <a:pt x="200" y="27"/>
                    <a:pt x="200" y="27"/>
                  </a:cubicBezTo>
                  <a:cubicBezTo>
                    <a:pt x="200" y="12"/>
                    <a:pt x="188" y="0"/>
                    <a:pt x="174" y="0"/>
                  </a:cubicBezTo>
                  <a:moveTo>
                    <a:pt x="185" y="113"/>
                  </a:moveTo>
                  <a:cubicBezTo>
                    <a:pt x="185" y="119"/>
                    <a:pt x="180" y="124"/>
                    <a:pt x="174" y="124"/>
                  </a:cubicBezTo>
                  <a:cubicBezTo>
                    <a:pt x="26" y="124"/>
                    <a:pt x="26" y="124"/>
                    <a:pt x="26" y="124"/>
                  </a:cubicBezTo>
                  <a:cubicBezTo>
                    <a:pt x="20" y="124"/>
                    <a:pt x="15" y="119"/>
                    <a:pt x="15" y="113"/>
                  </a:cubicBezTo>
                  <a:cubicBezTo>
                    <a:pt x="15" y="27"/>
                    <a:pt x="15" y="27"/>
                    <a:pt x="15" y="27"/>
                  </a:cubicBezTo>
                  <a:cubicBezTo>
                    <a:pt x="15" y="21"/>
                    <a:pt x="20" y="16"/>
                    <a:pt x="26" y="16"/>
                  </a:cubicBezTo>
                  <a:cubicBezTo>
                    <a:pt x="174" y="16"/>
                    <a:pt x="174" y="16"/>
                    <a:pt x="174" y="16"/>
                  </a:cubicBezTo>
                  <a:cubicBezTo>
                    <a:pt x="180" y="16"/>
                    <a:pt x="185" y="21"/>
                    <a:pt x="185" y="27"/>
                  </a:cubicBezTo>
                  <a:lnTo>
                    <a:pt x="185" y="1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78" name="Freeform 20"/>
            <p:cNvSpPr>
              <a:spLocks/>
            </p:cNvSpPr>
            <p:nvPr/>
          </p:nvSpPr>
          <p:spPr bwMode="black">
            <a:xfrm>
              <a:off x="3178176" y="2154238"/>
              <a:ext cx="1035050" cy="239713"/>
            </a:xfrm>
            <a:custGeom>
              <a:avLst/>
              <a:gdLst>
                <a:gd name="T0" fmla="*/ 7 w 276"/>
                <a:gd name="T1" fmla="*/ 64 h 64"/>
                <a:gd name="T2" fmla="*/ 269 w 276"/>
                <a:gd name="T3" fmla="*/ 64 h 64"/>
                <a:gd name="T4" fmla="*/ 276 w 276"/>
                <a:gd name="T5" fmla="*/ 57 h 64"/>
                <a:gd name="T6" fmla="*/ 276 w 276"/>
                <a:gd name="T7" fmla="*/ 54 h 64"/>
                <a:gd name="T8" fmla="*/ 272 w 276"/>
                <a:gd name="T9" fmla="*/ 42 h 64"/>
                <a:gd name="T10" fmla="*/ 240 w 276"/>
                <a:gd name="T11" fmla="*/ 5 h 64"/>
                <a:gd name="T12" fmla="*/ 229 w 276"/>
                <a:gd name="T13" fmla="*/ 0 h 64"/>
                <a:gd name="T14" fmla="*/ 47 w 276"/>
                <a:gd name="T15" fmla="*/ 0 h 64"/>
                <a:gd name="T16" fmla="*/ 36 w 276"/>
                <a:gd name="T17" fmla="*/ 5 h 64"/>
                <a:gd name="T18" fmla="*/ 4 w 276"/>
                <a:gd name="T19" fmla="*/ 42 h 64"/>
                <a:gd name="T20" fmla="*/ 0 w 276"/>
                <a:gd name="T21" fmla="*/ 54 h 64"/>
                <a:gd name="T22" fmla="*/ 0 w 276"/>
                <a:gd name="T23" fmla="*/ 57 h 64"/>
                <a:gd name="T24" fmla="*/ 7 w 27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6" h="64">
                  <a:moveTo>
                    <a:pt x="7" y="64"/>
                  </a:moveTo>
                  <a:cubicBezTo>
                    <a:pt x="269" y="64"/>
                    <a:pt x="269" y="64"/>
                    <a:pt x="269" y="64"/>
                  </a:cubicBezTo>
                  <a:cubicBezTo>
                    <a:pt x="273" y="64"/>
                    <a:pt x="276" y="61"/>
                    <a:pt x="276" y="57"/>
                  </a:cubicBezTo>
                  <a:cubicBezTo>
                    <a:pt x="276" y="54"/>
                    <a:pt x="276" y="54"/>
                    <a:pt x="276" y="54"/>
                  </a:cubicBezTo>
                  <a:cubicBezTo>
                    <a:pt x="276" y="50"/>
                    <a:pt x="274" y="45"/>
                    <a:pt x="272" y="42"/>
                  </a:cubicBezTo>
                  <a:cubicBezTo>
                    <a:pt x="240" y="5"/>
                    <a:pt x="240" y="5"/>
                    <a:pt x="240" y="5"/>
                  </a:cubicBezTo>
                  <a:cubicBezTo>
                    <a:pt x="238" y="2"/>
                    <a:pt x="233" y="0"/>
                    <a:pt x="229" y="0"/>
                  </a:cubicBezTo>
                  <a:cubicBezTo>
                    <a:pt x="47" y="0"/>
                    <a:pt x="47" y="0"/>
                    <a:pt x="47" y="0"/>
                  </a:cubicBezTo>
                  <a:cubicBezTo>
                    <a:pt x="43" y="0"/>
                    <a:pt x="38" y="2"/>
                    <a:pt x="36" y="5"/>
                  </a:cubicBezTo>
                  <a:cubicBezTo>
                    <a:pt x="4" y="42"/>
                    <a:pt x="4" y="42"/>
                    <a:pt x="4" y="42"/>
                  </a:cubicBezTo>
                  <a:cubicBezTo>
                    <a:pt x="2" y="45"/>
                    <a:pt x="0" y="50"/>
                    <a:pt x="0" y="54"/>
                  </a:cubicBezTo>
                  <a:cubicBezTo>
                    <a:pt x="0" y="57"/>
                    <a:pt x="0" y="57"/>
                    <a:pt x="0" y="57"/>
                  </a:cubicBezTo>
                  <a:cubicBezTo>
                    <a:pt x="0" y="61"/>
                    <a:pt x="3" y="64"/>
                    <a:pt x="7"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79" name="Freeform 21"/>
            <p:cNvSpPr>
              <a:spLocks noEditPoints="1"/>
            </p:cNvSpPr>
            <p:nvPr/>
          </p:nvSpPr>
          <p:spPr bwMode="black">
            <a:xfrm>
              <a:off x="4730751" y="1639888"/>
              <a:ext cx="781050" cy="608013"/>
            </a:xfrm>
            <a:custGeom>
              <a:avLst/>
              <a:gdLst>
                <a:gd name="T0" fmla="*/ 177 w 208"/>
                <a:gd name="T1" fmla="*/ 0 h 162"/>
                <a:gd name="T2" fmla="*/ 31 w 208"/>
                <a:gd name="T3" fmla="*/ 0 h 162"/>
                <a:gd name="T4" fmla="*/ 0 w 208"/>
                <a:gd name="T5" fmla="*/ 31 h 162"/>
                <a:gd name="T6" fmla="*/ 0 w 208"/>
                <a:gd name="T7" fmla="*/ 131 h 162"/>
                <a:gd name="T8" fmla="*/ 31 w 208"/>
                <a:gd name="T9" fmla="*/ 162 h 162"/>
                <a:gd name="T10" fmla="*/ 177 w 208"/>
                <a:gd name="T11" fmla="*/ 162 h 162"/>
                <a:gd name="T12" fmla="*/ 208 w 208"/>
                <a:gd name="T13" fmla="*/ 131 h 162"/>
                <a:gd name="T14" fmla="*/ 208 w 208"/>
                <a:gd name="T15" fmla="*/ 31 h 162"/>
                <a:gd name="T16" fmla="*/ 177 w 208"/>
                <a:gd name="T17" fmla="*/ 0 h 162"/>
                <a:gd name="T18" fmla="*/ 190 w 208"/>
                <a:gd name="T19" fmla="*/ 131 h 162"/>
                <a:gd name="T20" fmla="*/ 177 w 208"/>
                <a:gd name="T21" fmla="*/ 144 h 162"/>
                <a:gd name="T22" fmla="*/ 31 w 208"/>
                <a:gd name="T23" fmla="*/ 144 h 162"/>
                <a:gd name="T24" fmla="*/ 18 w 208"/>
                <a:gd name="T25" fmla="*/ 131 h 162"/>
                <a:gd name="T26" fmla="*/ 18 w 208"/>
                <a:gd name="T27" fmla="*/ 31 h 162"/>
                <a:gd name="T28" fmla="*/ 31 w 208"/>
                <a:gd name="T29" fmla="*/ 18 h 162"/>
                <a:gd name="T30" fmla="*/ 177 w 208"/>
                <a:gd name="T31" fmla="*/ 18 h 162"/>
                <a:gd name="T32" fmla="*/ 190 w 208"/>
                <a:gd name="T33" fmla="*/ 31 h 162"/>
                <a:gd name="T34" fmla="*/ 190 w 208"/>
                <a:gd name="T35" fmla="*/ 13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 h="162">
                  <a:moveTo>
                    <a:pt x="177" y="0"/>
                  </a:moveTo>
                  <a:cubicBezTo>
                    <a:pt x="31" y="0"/>
                    <a:pt x="31" y="0"/>
                    <a:pt x="31" y="0"/>
                  </a:cubicBezTo>
                  <a:cubicBezTo>
                    <a:pt x="14" y="0"/>
                    <a:pt x="0" y="14"/>
                    <a:pt x="0" y="31"/>
                  </a:cubicBezTo>
                  <a:cubicBezTo>
                    <a:pt x="0" y="131"/>
                    <a:pt x="0" y="131"/>
                    <a:pt x="0" y="131"/>
                  </a:cubicBezTo>
                  <a:cubicBezTo>
                    <a:pt x="0" y="148"/>
                    <a:pt x="14" y="162"/>
                    <a:pt x="31" y="162"/>
                  </a:cubicBezTo>
                  <a:cubicBezTo>
                    <a:pt x="177" y="162"/>
                    <a:pt x="177" y="162"/>
                    <a:pt x="177" y="162"/>
                  </a:cubicBezTo>
                  <a:cubicBezTo>
                    <a:pt x="194" y="162"/>
                    <a:pt x="208" y="148"/>
                    <a:pt x="208" y="131"/>
                  </a:cubicBezTo>
                  <a:cubicBezTo>
                    <a:pt x="208" y="31"/>
                    <a:pt x="208" y="31"/>
                    <a:pt x="208" y="31"/>
                  </a:cubicBezTo>
                  <a:cubicBezTo>
                    <a:pt x="208" y="14"/>
                    <a:pt x="194" y="0"/>
                    <a:pt x="177" y="0"/>
                  </a:cubicBezTo>
                  <a:moveTo>
                    <a:pt x="190" y="131"/>
                  </a:moveTo>
                  <a:cubicBezTo>
                    <a:pt x="190" y="138"/>
                    <a:pt x="184" y="144"/>
                    <a:pt x="177" y="144"/>
                  </a:cubicBezTo>
                  <a:cubicBezTo>
                    <a:pt x="31" y="144"/>
                    <a:pt x="31" y="144"/>
                    <a:pt x="31" y="144"/>
                  </a:cubicBezTo>
                  <a:cubicBezTo>
                    <a:pt x="24" y="144"/>
                    <a:pt x="18" y="138"/>
                    <a:pt x="18" y="131"/>
                  </a:cubicBezTo>
                  <a:cubicBezTo>
                    <a:pt x="18" y="31"/>
                    <a:pt x="18" y="31"/>
                    <a:pt x="18" y="31"/>
                  </a:cubicBezTo>
                  <a:cubicBezTo>
                    <a:pt x="18" y="24"/>
                    <a:pt x="24" y="18"/>
                    <a:pt x="31" y="18"/>
                  </a:cubicBezTo>
                  <a:cubicBezTo>
                    <a:pt x="177" y="18"/>
                    <a:pt x="177" y="18"/>
                    <a:pt x="177" y="18"/>
                  </a:cubicBezTo>
                  <a:cubicBezTo>
                    <a:pt x="184" y="18"/>
                    <a:pt x="190" y="24"/>
                    <a:pt x="190" y="31"/>
                  </a:cubicBezTo>
                  <a:lnTo>
                    <a:pt x="190" y="1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80" name="Freeform 22"/>
            <p:cNvSpPr>
              <a:spLocks/>
            </p:cNvSpPr>
            <p:nvPr/>
          </p:nvSpPr>
          <p:spPr bwMode="black">
            <a:xfrm>
              <a:off x="4911726" y="2289176"/>
              <a:ext cx="419100" cy="104775"/>
            </a:xfrm>
            <a:custGeom>
              <a:avLst/>
              <a:gdLst>
                <a:gd name="T0" fmla="*/ 112 w 112"/>
                <a:gd name="T1" fmla="*/ 25 h 28"/>
                <a:gd name="T2" fmla="*/ 112 w 112"/>
                <a:gd name="T3" fmla="*/ 23 h 28"/>
                <a:gd name="T4" fmla="*/ 110 w 112"/>
                <a:gd name="T5" fmla="*/ 18 h 28"/>
                <a:gd name="T6" fmla="*/ 96 w 112"/>
                <a:gd name="T7" fmla="*/ 2 h 28"/>
                <a:gd name="T8" fmla="*/ 91 w 112"/>
                <a:gd name="T9" fmla="*/ 0 h 28"/>
                <a:gd name="T10" fmla="*/ 21 w 112"/>
                <a:gd name="T11" fmla="*/ 0 h 28"/>
                <a:gd name="T12" fmla="*/ 16 w 112"/>
                <a:gd name="T13" fmla="*/ 2 h 28"/>
                <a:gd name="T14" fmla="*/ 2 w 112"/>
                <a:gd name="T15" fmla="*/ 18 h 28"/>
                <a:gd name="T16" fmla="*/ 0 w 112"/>
                <a:gd name="T17" fmla="*/ 23 h 28"/>
                <a:gd name="T18" fmla="*/ 0 w 112"/>
                <a:gd name="T19" fmla="*/ 25 h 28"/>
                <a:gd name="T20" fmla="*/ 3 w 112"/>
                <a:gd name="T21" fmla="*/ 28 h 28"/>
                <a:gd name="T22" fmla="*/ 109 w 112"/>
                <a:gd name="T23" fmla="*/ 28 h 28"/>
                <a:gd name="T24" fmla="*/ 112 w 112"/>
                <a:gd name="T25"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28">
                  <a:moveTo>
                    <a:pt x="112" y="25"/>
                  </a:moveTo>
                  <a:cubicBezTo>
                    <a:pt x="112" y="23"/>
                    <a:pt x="112" y="23"/>
                    <a:pt x="112" y="23"/>
                  </a:cubicBezTo>
                  <a:cubicBezTo>
                    <a:pt x="112" y="22"/>
                    <a:pt x="111" y="20"/>
                    <a:pt x="110" y="18"/>
                  </a:cubicBezTo>
                  <a:cubicBezTo>
                    <a:pt x="96" y="2"/>
                    <a:pt x="96" y="2"/>
                    <a:pt x="96" y="2"/>
                  </a:cubicBezTo>
                  <a:cubicBezTo>
                    <a:pt x="95" y="1"/>
                    <a:pt x="93" y="0"/>
                    <a:pt x="91" y="0"/>
                  </a:cubicBezTo>
                  <a:cubicBezTo>
                    <a:pt x="21" y="0"/>
                    <a:pt x="21" y="0"/>
                    <a:pt x="21" y="0"/>
                  </a:cubicBezTo>
                  <a:cubicBezTo>
                    <a:pt x="19" y="0"/>
                    <a:pt x="17" y="1"/>
                    <a:pt x="16" y="2"/>
                  </a:cubicBezTo>
                  <a:cubicBezTo>
                    <a:pt x="2" y="18"/>
                    <a:pt x="2" y="18"/>
                    <a:pt x="2" y="18"/>
                  </a:cubicBezTo>
                  <a:cubicBezTo>
                    <a:pt x="1" y="20"/>
                    <a:pt x="0" y="22"/>
                    <a:pt x="0" y="23"/>
                  </a:cubicBezTo>
                  <a:cubicBezTo>
                    <a:pt x="0" y="25"/>
                    <a:pt x="0" y="25"/>
                    <a:pt x="0" y="25"/>
                  </a:cubicBezTo>
                  <a:cubicBezTo>
                    <a:pt x="0" y="26"/>
                    <a:pt x="1" y="28"/>
                    <a:pt x="3" y="28"/>
                  </a:cubicBezTo>
                  <a:cubicBezTo>
                    <a:pt x="109" y="28"/>
                    <a:pt x="109" y="28"/>
                    <a:pt x="109" y="28"/>
                  </a:cubicBezTo>
                  <a:cubicBezTo>
                    <a:pt x="111" y="28"/>
                    <a:pt x="112" y="26"/>
                    <a:pt x="112" y="2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81" name="Freeform 23"/>
            <p:cNvSpPr>
              <a:spLocks noEditPoints="1"/>
            </p:cNvSpPr>
            <p:nvPr/>
          </p:nvSpPr>
          <p:spPr bwMode="black">
            <a:xfrm>
              <a:off x="5586413" y="1639888"/>
              <a:ext cx="385763" cy="754063"/>
            </a:xfrm>
            <a:custGeom>
              <a:avLst/>
              <a:gdLst>
                <a:gd name="T0" fmla="*/ 89 w 103"/>
                <a:gd name="T1" fmla="*/ 0 h 201"/>
                <a:gd name="T2" fmla="*/ 13 w 103"/>
                <a:gd name="T3" fmla="*/ 0 h 201"/>
                <a:gd name="T4" fmla="*/ 0 w 103"/>
                <a:gd name="T5" fmla="*/ 13 h 201"/>
                <a:gd name="T6" fmla="*/ 0 w 103"/>
                <a:gd name="T7" fmla="*/ 187 h 201"/>
                <a:gd name="T8" fmla="*/ 13 w 103"/>
                <a:gd name="T9" fmla="*/ 201 h 201"/>
                <a:gd name="T10" fmla="*/ 89 w 103"/>
                <a:gd name="T11" fmla="*/ 201 h 201"/>
                <a:gd name="T12" fmla="*/ 103 w 103"/>
                <a:gd name="T13" fmla="*/ 187 h 201"/>
                <a:gd name="T14" fmla="*/ 103 w 103"/>
                <a:gd name="T15" fmla="*/ 13 h 201"/>
                <a:gd name="T16" fmla="*/ 89 w 103"/>
                <a:gd name="T17" fmla="*/ 0 h 201"/>
                <a:gd name="T18" fmla="*/ 52 w 103"/>
                <a:gd name="T19" fmla="*/ 187 h 201"/>
                <a:gd name="T20" fmla="*/ 40 w 103"/>
                <a:gd name="T21" fmla="*/ 175 h 201"/>
                <a:gd name="T22" fmla="*/ 52 w 103"/>
                <a:gd name="T23" fmla="*/ 163 h 201"/>
                <a:gd name="T24" fmla="*/ 63 w 103"/>
                <a:gd name="T25" fmla="*/ 175 h 201"/>
                <a:gd name="T26" fmla="*/ 52 w 103"/>
                <a:gd name="T27" fmla="*/ 18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201">
                  <a:moveTo>
                    <a:pt x="89" y="0"/>
                  </a:moveTo>
                  <a:cubicBezTo>
                    <a:pt x="13" y="0"/>
                    <a:pt x="13" y="0"/>
                    <a:pt x="13" y="0"/>
                  </a:cubicBezTo>
                  <a:cubicBezTo>
                    <a:pt x="6" y="0"/>
                    <a:pt x="0" y="6"/>
                    <a:pt x="0" y="13"/>
                  </a:cubicBezTo>
                  <a:cubicBezTo>
                    <a:pt x="0" y="187"/>
                    <a:pt x="0" y="187"/>
                    <a:pt x="0" y="187"/>
                  </a:cubicBezTo>
                  <a:cubicBezTo>
                    <a:pt x="0" y="195"/>
                    <a:pt x="6" y="201"/>
                    <a:pt x="13" y="201"/>
                  </a:cubicBezTo>
                  <a:cubicBezTo>
                    <a:pt x="89" y="201"/>
                    <a:pt x="89" y="201"/>
                    <a:pt x="89" y="201"/>
                  </a:cubicBezTo>
                  <a:cubicBezTo>
                    <a:pt x="97" y="201"/>
                    <a:pt x="103" y="195"/>
                    <a:pt x="103" y="187"/>
                  </a:cubicBezTo>
                  <a:cubicBezTo>
                    <a:pt x="103" y="13"/>
                    <a:pt x="103" y="13"/>
                    <a:pt x="103" y="13"/>
                  </a:cubicBezTo>
                  <a:cubicBezTo>
                    <a:pt x="103" y="6"/>
                    <a:pt x="97" y="0"/>
                    <a:pt x="89" y="0"/>
                  </a:cubicBezTo>
                  <a:moveTo>
                    <a:pt x="52" y="187"/>
                  </a:moveTo>
                  <a:cubicBezTo>
                    <a:pt x="45" y="187"/>
                    <a:pt x="40" y="181"/>
                    <a:pt x="40" y="175"/>
                  </a:cubicBezTo>
                  <a:cubicBezTo>
                    <a:pt x="40" y="168"/>
                    <a:pt x="45" y="163"/>
                    <a:pt x="52" y="163"/>
                  </a:cubicBezTo>
                  <a:cubicBezTo>
                    <a:pt x="58" y="163"/>
                    <a:pt x="63" y="168"/>
                    <a:pt x="63" y="175"/>
                  </a:cubicBezTo>
                  <a:cubicBezTo>
                    <a:pt x="63" y="181"/>
                    <a:pt x="58" y="187"/>
                    <a:pt x="52" y="18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82" name="Freeform 24"/>
            <p:cNvSpPr>
              <a:spLocks noEditPoints="1"/>
            </p:cNvSpPr>
            <p:nvPr/>
          </p:nvSpPr>
          <p:spPr bwMode="black">
            <a:xfrm>
              <a:off x="2462213" y="3032126"/>
              <a:ext cx="525463" cy="804863"/>
            </a:xfrm>
            <a:custGeom>
              <a:avLst/>
              <a:gdLst>
                <a:gd name="T0" fmla="*/ 109 w 140"/>
                <a:gd name="T1" fmla="*/ 0 h 215"/>
                <a:gd name="T2" fmla="*/ 31 w 140"/>
                <a:gd name="T3" fmla="*/ 0 h 215"/>
                <a:gd name="T4" fmla="*/ 0 w 140"/>
                <a:gd name="T5" fmla="*/ 30 h 215"/>
                <a:gd name="T6" fmla="*/ 0 w 140"/>
                <a:gd name="T7" fmla="*/ 184 h 215"/>
                <a:gd name="T8" fmla="*/ 31 w 140"/>
                <a:gd name="T9" fmla="*/ 215 h 215"/>
                <a:gd name="T10" fmla="*/ 109 w 140"/>
                <a:gd name="T11" fmla="*/ 215 h 215"/>
                <a:gd name="T12" fmla="*/ 140 w 140"/>
                <a:gd name="T13" fmla="*/ 184 h 215"/>
                <a:gd name="T14" fmla="*/ 140 w 140"/>
                <a:gd name="T15" fmla="*/ 30 h 215"/>
                <a:gd name="T16" fmla="*/ 109 w 140"/>
                <a:gd name="T17" fmla="*/ 0 h 215"/>
                <a:gd name="T18" fmla="*/ 122 w 140"/>
                <a:gd name="T19" fmla="*/ 177 h 215"/>
                <a:gd name="T20" fmla="*/ 109 w 140"/>
                <a:gd name="T21" fmla="*/ 195 h 215"/>
                <a:gd name="T22" fmla="*/ 31 w 140"/>
                <a:gd name="T23" fmla="*/ 195 h 215"/>
                <a:gd name="T24" fmla="*/ 18 w 140"/>
                <a:gd name="T25" fmla="*/ 177 h 215"/>
                <a:gd name="T26" fmla="*/ 18 w 140"/>
                <a:gd name="T27" fmla="*/ 35 h 215"/>
                <a:gd name="T28" fmla="*/ 31 w 140"/>
                <a:gd name="T29" fmla="*/ 18 h 215"/>
                <a:gd name="T30" fmla="*/ 109 w 140"/>
                <a:gd name="T31" fmla="*/ 18 h 215"/>
                <a:gd name="T32" fmla="*/ 122 w 140"/>
                <a:gd name="T33" fmla="*/ 35 h 215"/>
                <a:gd name="T34" fmla="*/ 122 w 140"/>
                <a:gd name="T35" fmla="*/ 17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215">
                  <a:moveTo>
                    <a:pt x="109" y="0"/>
                  </a:moveTo>
                  <a:cubicBezTo>
                    <a:pt x="31" y="0"/>
                    <a:pt x="31" y="0"/>
                    <a:pt x="31" y="0"/>
                  </a:cubicBezTo>
                  <a:cubicBezTo>
                    <a:pt x="14" y="0"/>
                    <a:pt x="0" y="13"/>
                    <a:pt x="0" y="30"/>
                  </a:cubicBezTo>
                  <a:cubicBezTo>
                    <a:pt x="0" y="184"/>
                    <a:pt x="0" y="184"/>
                    <a:pt x="0" y="184"/>
                  </a:cubicBezTo>
                  <a:cubicBezTo>
                    <a:pt x="0" y="201"/>
                    <a:pt x="14" y="215"/>
                    <a:pt x="31" y="215"/>
                  </a:cubicBezTo>
                  <a:cubicBezTo>
                    <a:pt x="109" y="215"/>
                    <a:pt x="109" y="215"/>
                    <a:pt x="109" y="215"/>
                  </a:cubicBezTo>
                  <a:cubicBezTo>
                    <a:pt x="126" y="215"/>
                    <a:pt x="140" y="201"/>
                    <a:pt x="140" y="184"/>
                  </a:cubicBezTo>
                  <a:cubicBezTo>
                    <a:pt x="140" y="30"/>
                    <a:pt x="140" y="30"/>
                    <a:pt x="140" y="30"/>
                  </a:cubicBezTo>
                  <a:cubicBezTo>
                    <a:pt x="140" y="13"/>
                    <a:pt x="126" y="0"/>
                    <a:pt x="109" y="0"/>
                  </a:cubicBezTo>
                  <a:moveTo>
                    <a:pt x="122" y="177"/>
                  </a:moveTo>
                  <a:cubicBezTo>
                    <a:pt x="122" y="187"/>
                    <a:pt x="116" y="195"/>
                    <a:pt x="109" y="195"/>
                  </a:cubicBezTo>
                  <a:cubicBezTo>
                    <a:pt x="31" y="195"/>
                    <a:pt x="31" y="195"/>
                    <a:pt x="31" y="195"/>
                  </a:cubicBezTo>
                  <a:cubicBezTo>
                    <a:pt x="24" y="195"/>
                    <a:pt x="18" y="187"/>
                    <a:pt x="18" y="177"/>
                  </a:cubicBezTo>
                  <a:cubicBezTo>
                    <a:pt x="18" y="35"/>
                    <a:pt x="18" y="35"/>
                    <a:pt x="18" y="35"/>
                  </a:cubicBezTo>
                  <a:cubicBezTo>
                    <a:pt x="18" y="26"/>
                    <a:pt x="24" y="18"/>
                    <a:pt x="31" y="18"/>
                  </a:cubicBezTo>
                  <a:cubicBezTo>
                    <a:pt x="109" y="18"/>
                    <a:pt x="109" y="18"/>
                    <a:pt x="109" y="18"/>
                  </a:cubicBezTo>
                  <a:cubicBezTo>
                    <a:pt x="116" y="18"/>
                    <a:pt x="122" y="26"/>
                    <a:pt x="122" y="35"/>
                  </a:cubicBezTo>
                  <a:lnTo>
                    <a:pt x="122" y="1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83" name="Freeform 25"/>
            <p:cNvSpPr>
              <a:spLocks noEditPoints="1"/>
            </p:cNvSpPr>
            <p:nvPr/>
          </p:nvSpPr>
          <p:spPr bwMode="black">
            <a:xfrm>
              <a:off x="5049838" y="4411663"/>
              <a:ext cx="739775" cy="854075"/>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84" name="Freeform 26"/>
            <p:cNvSpPr>
              <a:spLocks noEditPoints="1"/>
            </p:cNvSpPr>
            <p:nvPr/>
          </p:nvSpPr>
          <p:spPr bwMode="black">
            <a:xfrm>
              <a:off x="6043613" y="2960688"/>
              <a:ext cx="641350" cy="876300"/>
            </a:xfrm>
            <a:custGeom>
              <a:avLst/>
              <a:gdLst>
                <a:gd name="T0" fmla="*/ 146 w 171"/>
                <a:gd name="T1" fmla="*/ 0 h 234"/>
                <a:gd name="T2" fmla="*/ 25 w 171"/>
                <a:gd name="T3" fmla="*/ 0 h 234"/>
                <a:gd name="T4" fmla="*/ 0 w 171"/>
                <a:gd name="T5" fmla="*/ 25 h 234"/>
                <a:gd name="T6" fmla="*/ 0 w 171"/>
                <a:gd name="T7" fmla="*/ 209 h 234"/>
                <a:gd name="T8" fmla="*/ 25 w 171"/>
                <a:gd name="T9" fmla="*/ 234 h 234"/>
                <a:gd name="T10" fmla="*/ 146 w 171"/>
                <a:gd name="T11" fmla="*/ 234 h 234"/>
                <a:gd name="T12" fmla="*/ 171 w 171"/>
                <a:gd name="T13" fmla="*/ 209 h 234"/>
                <a:gd name="T14" fmla="*/ 171 w 171"/>
                <a:gd name="T15" fmla="*/ 25 h 234"/>
                <a:gd name="T16" fmla="*/ 146 w 171"/>
                <a:gd name="T17" fmla="*/ 0 h 234"/>
                <a:gd name="T18" fmla="*/ 157 w 171"/>
                <a:gd name="T19" fmla="*/ 183 h 234"/>
                <a:gd name="T20" fmla="*/ 146 w 171"/>
                <a:gd name="T21" fmla="*/ 193 h 234"/>
                <a:gd name="T22" fmla="*/ 25 w 171"/>
                <a:gd name="T23" fmla="*/ 193 h 234"/>
                <a:gd name="T24" fmla="*/ 15 w 171"/>
                <a:gd name="T25" fmla="*/ 183 h 234"/>
                <a:gd name="T26" fmla="*/ 15 w 171"/>
                <a:gd name="T27" fmla="*/ 25 h 234"/>
                <a:gd name="T28" fmla="*/ 25 w 171"/>
                <a:gd name="T29" fmla="*/ 14 h 234"/>
                <a:gd name="T30" fmla="*/ 146 w 171"/>
                <a:gd name="T31" fmla="*/ 14 h 234"/>
                <a:gd name="T32" fmla="*/ 157 w 171"/>
                <a:gd name="T33" fmla="*/ 25 h 234"/>
                <a:gd name="T34" fmla="*/ 157 w 171"/>
                <a:gd name="T35" fmla="*/ 18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234">
                  <a:moveTo>
                    <a:pt x="146" y="0"/>
                  </a:moveTo>
                  <a:cubicBezTo>
                    <a:pt x="25" y="0"/>
                    <a:pt x="25" y="0"/>
                    <a:pt x="25" y="0"/>
                  </a:cubicBezTo>
                  <a:cubicBezTo>
                    <a:pt x="11" y="0"/>
                    <a:pt x="0" y="11"/>
                    <a:pt x="0" y="25"/>
                  </a:cubicBezTo>
                  <a:cubicBezTo>
                    <a:pt x="0" y="209"/>
                    <a:pt x="0" y="209"/>
                    <a:pt x="0" y="209"/>
                  </a:cubicBezTo>
                  <a:cubicBezTo>
                    <a:pt x="0" y="223"/>
                    <a:pt x="11" y="234"/>
                    <a:pt x="25" y="234"/>
                  </a:cubicBezTo>
                  <a:cubicBezTo>
                    <a:pt x="146" y="234"/>
                    <a:pt x="146" y="234"/>
                    <a:pt x="146" y="234"/>
                  </a:cubicBezTo>
                  <a:cubicBezTo>
                    <a:pt x="160" y="234"/>
                    <a:pt x="171" y="223"/>
                    <a:pt x="171" y="209"/>
                  </a:cubicBezTo>
                  <a:cubicBezTo>
                    <a:pt x="171" y="25"/>
                    <a:pt x="171" y="25"/>
                    <a:pt x="171" y="25"/>
                  </a:cubicBezTo>
                  <a:cubicBezTo>
                    <a:pt x="171" y="11"/>
                    <a:pt x="160" y="0"/>
                    <a:pt x="146" y="0"/>
                  </a:cubicBezTo>
                  <a:moveTo>
                    <a:pt x="157" y="183"/>
                  </a:moveTo>
                  <a:cubicBezTo>
                    <a:pt x="157" y="188"/>
                    <a:pt x="152" y="193"/>
                    <a:pt x="146" y="193"/>
                  </a:cubicBezTo>
                  <a:cubicBezTo>
                    <a:pt x="25" y="193"/>
                    <a:pt x="25" y="193"/>
                    <a:pt x="25" y="193"/>
                  </a:cubicBezTo>
                  <a:cubicBezTo>
                    <a:pt x="19" y="193"/>
                    <a:pt x="15" y="188"/>
                    <a:pt x="15" y="183"/>
                  </a:cubicBezTo>
                  <a:cubicBezTo>
                    <a:pt x="15" y="25"/>
                    <a:pt x="15" y="25"/>
                    <a:pt x="15" y="25"/>
                  </a:cubicBezTo>
                  <a:cubicBezTo>
                    <a:pt x="15" y="19"/>
                    <a:pt x="19" y="14"/>
                    <a:pt x="25" y="14"/>
                  </a:cubicBezTo>
                  <a:cubicBezTo>
                    <a:pt x="146" y="14"/>
                    <a:pt x="146" y="14"/>
                    <a:pt x="146" y="14"/>
                  </a:cubicBezTo>
                  <a:cubicBezTo>
                    <a:pt x="152" y="14"/>
                    <a:pt x="157" y="19"/>
                    <a:pt x="157" y="25"/>
                  </a:cubicBezTo>
                  <a:lnTo>
                    <a:pt x="157" y="1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85" name="Oval 27"/>
            <p:cNvSpPr>
              <a:spLocks noChangeArrowheads="1"/>
            </p:cNvSpPr>
            <p:nvPr/>
          </p:nvSpPr>
          <p:spPr bwMode="black">
            <a:xfrm>
              <a:off x="62245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86" name="Oval 28"/>
            <p:cNvSpPr>
              <a:spLocks noChangeArrowheads="1"/>
            </p:cNvSpPr>
            <p:nvPr/>
          </p:nvSpPr>
          <p:spPr bwMode="black">
            <a:xfrm>
              <a:off x="64531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87" name="Oval 29"/>
            <p:cNvSpPr>
              <a:spLocks noChangeArrowheads="1"/>
            </p:cNvSpPr>
            <p:nvPr/>
          </p:nvSpPr>
          <p:spPr bwMode="black">
            <a:xfrm>
              <a:off x="6340476"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88" name="Freeform 30"/>
            <p:cNvSpPr>
              <a:spLocks/>
            </p:cNvSpPr>
            <p:nvPr/>
          </p:nvSpPr>
          <p:spPr bwMode="black">
            <a:xfrm>
              <a:off x="3425826" y="4279901"/>
              <a:ext cx="442913" cy="16192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89" name="Freeform 31"/>
            <p:cNvSpPr>
              <a:spLocks noEditPoints="1"/>
            </p:cNvSpPr>
            <p:nvPr/>
          </p:nvSpPr>
          <p:spPr bwMode="black">
            <a:xfrm>
              <a:off x="3414713" y="4456113"/>
              <a:ext cx="476250" cy="80962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grpSp>
      <p:sp>
        <p:nvSpPr>
          <p:cNvPr id="91" name="Rectangle 90"/>
          <p:cNvSpPr/>
          <p:nvPr/>
        </p:nvSpPr>
        <p:spPr bwMode="auto">
          <a:xfrm>
            <a:off x="3866975" y="1229714"/>
            <a:ext cx="1410051" cy="1409685"/>
          </a:xfrm>
          <a:prstGeom prst="rect">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6" tIns="34294" rIns="34294" bIns="68586" numCol="1" spcCol="0" rtlCol="0" fromWordArt="0" anchor="b" anchorCtr="0" forceAA="0" compatLnSpc="1">
            <a:prstTxWarp prst="textNoShape">
              <a:avLst/>
            </a:prstTxWarp>
            <a:noAutofit/>
          </a:bodyPr>
          <a:lstStyle/>
          <a:p>
            <a:pPr defTabSz="685637" fontAlgn="base">
              <a:spcBef>
                <a:spcPct val="0"/>
              </a:spcBef>
              <a:spcAft>
                <a:spcPct val="0"/>
              </a:spcAft>
            </a:pPr>
            <a:r>
              <a:rPr lang="en-US" spc="-38" dirty="0">
                <a:gradFill>
                  <a:gsLst>
                    <a:gs pos="0">
                      <a:srgbClr val="FFFFFF"/>
                    </a:gs>
                    <a:gs pos="100000">
                      <a:srgbClr val="FFFFFF"/>
                    </a:gs>
                  </a:gsLst>
                  <a:lin ang="5400000" scaled="0"/>
                </a:gradFill>
                <a:ea typeface="Segoe UI" pitchFamily="34" charset="0"/>
                <a:cs typeface="Segoe UI" pitchFamily="34" charset="0"/>
              </a:rPr>
              <a:t>App Hosting</a:t>
            </a:r>
          </a:p>
        </p:txBody>
      </p:sp>
      <p:grpSp>
        <p:nvGrpSpPr>
          <p:cNvPr id="92" name="Group 91"/>
          <p:cNvGrpSpPr/>
          <p:nvPr/>
        </p:nvGrpSpPr>
        <p:grpSpPr>
          <a:xfrm>
            <a:off x="4178443" y="1313960"/>
            <a:ext cx="787115" cy="908082"/>
            <a:chOff x="3855785" y="2085994"/>
            <a:chExt cx="1049213" cy="1210776"/>
          </a:xfrm>
        </p:grpSpPr>
        <p:pic>
          <p:nvPicPr>
            <p:cNvPr id="93" name="Picture 2" descr="\\MAGNUM\Projects\Microsoft\Cloud Power FY12\Design\Icons\PNGs\Web.png"/>
            <p:cNvPicPr>
              <a:picLocks noChangeAspect="1" noChangeArrowheads="1"/>
            </p:cNvPicPr>
            <p:nvPr/>
          </p:nvPicPr>
          <p:blipFill rotWithShape="1">
            <a:blip r:embed="rId3" cstate="print">
              <a:lum bright="100000"/>
            </a:blip>
            <a:srcRect t="1" b="-1316"/>
            <a:stretch/>
          </p:blipFill>
          <p:spPr bwMode="auto">
            <a:xfrm>
              <a:off x="3855785" y="2085994"/>
              <a:ext cx="729034" cy="738814"/>
            </a:xfrm>
            <a:prstGeom prst="rect">
              <a:avLst/>
            </a:prstGeom>
            <a:noFill/>
          </p:spPr>
        </p:pic>
        <p:sp>
          <p:nvSpPr>
            <p:cNvPr id="94" name="Isosceles Triangle 93"/>
            <p:cNvSpPr/>
            <p:nvPr/>
          </p:nvSpPr>
          <p:spPr bwMode="auto">
            <a:xfrm rot="10800000">
              <a:off x="3923503" y="2701439"/>
              <a:ext cx="588306" cy="387866"/>
            </a:xfrm>
            <a:prstGeom prst="triangle">
              <a:avLst>
                <a:gd name="adj" fmla="val 0"/>
              </a:avLst>
            </a:prstGeom>
            <a:solidFill>
              <a:schemeClr val="bg2">
                <a:lumMod val="20000"/>
                <a:lumOff val="80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71204"/>
              <a:endParaRPr lang="en-US" sz="1100" dirty="0">
                <a:gradFill>
                  <a:gsLst>
                    <a:gs pos="0">
                      <a:srgbClr val="FFFFFF"/>
                    </a:gs>
                    <a:gs pos="100000">
                      <a:srgbClr val="FFFFFF"/>
                    </a:gs>
                  </a:gsLst>
                  <a:lin ang="5400000" scaled="0"/>
                </a:gradFill>
              </a:endParaRPr>
            </a:p>
          </p:txBody>
        </p:sp>
        <p:pic>
          <p:nvPicPr>
            <p:cNvPr id="95" name="Picture 94"/>
            <p:cNvPicPr>
              <a:picLocks noChangeAspect="1"/>
            </p:cNvPicPr>
            <p:nvPr/>
          </p:nvPicPr>
          <p:blipFill>
            <a:blip r:embed="rId4" cstate="print">
              <a:lum bright="100000" contrast="100000"/>
            </a:blip>
            <a:stretch>
              <a:fillRect/>
            </a:stretch>
          </p:blipFill>
          <p:spPr>
            <a:xfrm>
              <a:off x="4118620" y="2827974"/>
              <a:ext cx="786378" cy="468796"/>
            </a:xfrm>
            <a:prstGeom prst="rect">
              <a:avLst/>
            </a:prstGeom>
            <a:noFill/>
            <a:ln>
              <a:noFill/>
            </a:ln>
            <a:effectLst/>
          </p:spPr>
        </p:pic>
      </p:grpSp>
      <p:grpSp>
        <p:nvGrpSpPr>
          <p:cNvPr id="96" name="Group 95"/>
          <p:cNvGrpSpPr/>
          <p:nvPr/>
        </p:nvGrpSpPr>
        <p:grpSpPr>
          <a:xfrm>
            <a:off x="869641" y="1229714"/>
            <a:ext cx="1410051" cy="1409685"/>
            <a:chOff x="1436033" y="1973665"/>
            <a:chExt cx="1879579" cy="1879580"/>
          </a:xfrm>
          <a:solidFill>
            <a:schemeClr val="bg2">
              <a:lumMod val="60000"/>
              <a:lumOff val="40000"/>
            </a:schemeClr>
          </a:solidFill>
        </p:grpSpPr>
        <p:sp>
          <p:nvSpPr>
            <p:cNvPr id="97" name="Rectangle 96"/>
            <p:cNvSpPr/>
            <p:nvPr/>
          </p:nvSpPr>
          <p:spPr bwMode="auto">
            <a:xfrm>
              <a:off x="1436033" y="1973665"/>
              <a:ext cx="1879579" cy="187958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defTabSz="685637" fontAlgn="base">
                <a:spcBef>
                  <a:spcPct val="0"/>
                </a:spcBef>
                <a:spcAft>
                  <a:spcPct val="0"/>
                </a:spcAft>
              </a:pPr>
              <a:r>
                <a:rPr lang="en-US" spc="-38" dirty="0">
                  <a:gradFill>
                    <a:gsLst>
                      <a:gs pos="0">
                        <a:srgbClr val="FFFFFF"/>
                      </a:gs>
                      <a:gs pos="100000">
                        <a:srgbClr val="FFFFFF"/>
                      </a:gs>
                    </a:gsLst>
                    <a:lin ang="5400000" scaled="0"/>
                  </a:gradFill>
                  <a:ea typeface="Segoe UI" pitchFamily="34" charset="0"/>
                  <a:cs typeface="Segoe UI" pitchFamily="34" charset="0"/>
                </a:rPr>
                <a:t>VM Hosting</a:t>
              </a:r>
            </a:p>
          </p:txBody>
        </p:sp>
        <p:grpSp>
          <p:nvGrpSpPr>
            <p:cNvPr id="98" name="Group 97"/>
            <p:cNvGrpSpPr/>
            <p:nvPr/>
          </p:nvGrpSpPr>
          <p:grpSpPr>
            <a:xfrm>
              <a:off x="1645210" y="1988173"/>
              <a:ext cx="1461225" cy="1354048"/>
              <a:chOff x="1714048" y="1988173"/>
              <a:chExt cx="1461225" cy="1354048"/>
            </a:xfrm>
            <a:grpFill/>
          </p:grpSpPr>
          <p:pic>
            <p:nvPicPr>
              <p:cNvPr id="99" name="Picture 2"/>
              <p:cNvPicPr>
                <a:picLocks noChangeAspect="1" noChangeArrowheads="1"/>
              </p:cNvPicPr>
              <p:nvPr/>
            </p:nvPicPr>
            <p:blipFill>
              <a:blip r:embed="rId5" cstate="print">
                <a:lum bright="100000" contrast="100000"/>
              </a:blip>
              <a:srcRect/>
              <a:stretch>
                <a:fillRect/>
              </a:stretch>
            </p:blipFill>
            <p:spPr bwMode="auto">
              <a:xfrm>
                <a:off x="1714048" y="1988173"/>
                <a:ext cx="1189025" cy="1089750"/>
              </a:xfrm>
              <a:prstGeom prst="rect">
                <a:avLst/>
              </a:prstGeom>
              <a:grpFill/>
              <a:ln w="9525">
                <a:noFill/>
                <a:miter lim="800000"/>
                <a:headEnd/>
                <a:tailEnd/>
              </a:ln>
              <a:effectLst/>
            </p:spPr>
          </p:pic>
          <p:sp>
            <p:nvSpPr>
              <p:cNvPr id="100" name="Isosceles Triangle 99"/>
              <p:cNvSpPr/>
              <p:nvPr/>
            </p:nvSpPr>
            <p:spPr bwMode="auto">
              <a:xfrm rot="9180217">
                <a:off x="2250742" y="2756644"/>
                <a:ext cx="587419" cy="401390"/>
              </a:xfrm>
              <a:prstGeom prst="triangle">
                <a:avLst>
                  <a:gd name="adj" fmla="val 64317"/>
                </a:avLst>
              </a:pr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71204"/>
                <a:endParaRPr lang="en-US" sz="1100" dirty="0">
                  <a:gradFill>
                    <a:gsLst>
                      <a:gs pos="0">
                        <a:srgbClr val="FFFFFF"/>
                      </a:gs>
                      <a:gs pos="100000">
                        <a:srgbClr val="FFFFFF"/>
                      </a:gs>
                    </a:gsLst>
                    <a:lin ang="5400000" scaled="0"/>
                  </a:gradFill>
                </a:endParaRPr>
              </a:p>
            </p:txBody>
          </p:sp>
          <p:pic>
            <p:nvPicPr>
              <p:cNvPr id="101" name="Picture 100"/>
              <p:cNvPicPr>
                <a:picLocks noChangeAspect="1"/>
              </p:cNvPicPr>
              <p:nvPr/>
            </p:nvPicPr>
            <p:blipFill>
              <a:blip r:embed="rId4" cstate="print">
                <a:lum bright="100000" contrast="100000"/>
              </a:blip>
              <a:stretch>
                <a:fillRect/>
              </a:stretch>
            </p:blipFill>
            <p:spPr>
              <a:xfrm>
                <a:off x="2388895" y="2873425"/>
                <a:ext cx="786378" cy="468796"/>
              </a:xfrm>
              <a:prstGeom prst="rect">
                <a:avLst/>
              </a:prstGeom>
              <a:grpFill/>
              <a:ln>
                <a:noFill/>
              </a:ln>
              <a:effectLst/>
            </p:spPr>
          </p:pic>
        </p:grpSp>
      </p:grpSp>
      <p:sp>
        <p:nvSpPr>
          <p:cNvPr id="103" name="Rectangle 102"/>
          <p:cNvSpPr/>
          <p:nvPr/>
        </p:nvSpPr>
        <p:spPr bwMode="auto">
          <a:xfrm>
            <a:off x="2368307" y="1229714"/>
            <a:ext cx="1410051" cy="1409685"/>
          </a:xfrm>
          <a:prstGeom prst="rect">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6" tIns="34294" rIns="34294" bIns="68586" numCol="1" spcCol="0" rtlCol="0" fromWordArt="0" anchor="b" anchorCtr="0" forceAA="0" compatLnSpc="1">
            <a:prstTxWarp prst="textNoShape">
              <a:avLst/>
            </a:prstTxWarp>
            <a:noAutofit/>
          </a:bodyPr>
          <a:lstStyle/>
          <a:p>
            <a:pPr defTabSz="685637" fontAlgn="base">
              <a:spcBef>
                <a:spcPct val="0"/>
              </a:spcBef>
              <a:spcAft>
                <a:spcPct val="0"/>
              </a:spcAft>
            </a:pPr>
            <a:r>
              <a:rPr lang="en-US" spc="-38" dirty="0">
                <a:gradFill>
                  <a:gsLst>
                    <a:gs pos="0">
                      <a:srgbClr val="FFFFFF"/>
                    </a:gs>
                    <a:gs pos="100000">
                      <a:srgbClr val="FFFFFF"/>
                    </a:gs>
                  </a:gsLst>
                  <a:lin ang="5400000" scaled="0"/>
                </a:gradFill>
                <a:ea typeface="Segoe UI" pitchFamily="34" charset="0"/>
                <a:cs typeface="Segoe UI" pitchFamily="34" charset="0"/>
              </a:rPr>
              <a:t>Hosted Database</a:t>
            </a:r>
          </a:p>
        </p:txBody>
      </p:sp>
      <p:sp>
        <p:nvSpPr>
          <p:cNvPr id="104" name="Isosceles Triangle 108"/>
          <p:cNvSpPr/>
          <p:nvPr/>
        </p:nvSpPr>
        <p:spPr bwMode="auto">
          <a:xfrm rot="8802698">
            <a:off x="2911392" y="1744425"/>
            <a:ext cx="260077" cy="273803"/>
          </a:xfrm>
          <a:custGeom>
            <a:avLst/>
            <a:gdLst/>
            <a:ahLst/>
            <a:cxnLst/>
            <a:rect l="l" t="t" r="r" b="b"/>
            <a:pathLst>
              <a:path w="346679" h="365070">
                <a:moveTo>
                  <a:pt x="0" y="335210"/>
                </a:moveTo>
                <a:lnTo>
                  <a:pt x="216104" y="0"/>
                </a:lnTo>
                <a:lnTo>
                  <a:pt x="346679" y="365070"/>
                </a:lnTo>
                <a:cubicBezTo>
                  <a:pt x="301139" y="337702"/>
                  <a:pt x="245429" y="319091"/>
                  <a:pt x="184281" y="312662"/>
                </a:cubicBezTo>
                <a:cubicBezTo>
                  <a:pt x="117170" y="305605"/>
                  <a:pt x="53415" y="314262"/>
                  <a:pt x="0" y="335210"/>
                </a:cubicBezTo>
                <a:close/>
              </a:path>
            </a:pathLst>
          </a:custGeom>
          <a:solidFill>
            <a:schemeClr val="tx2">
              <a:lumMod val="20000"/>
              <a:lumOff val="80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571204"/>
            <a:endParaRPr lang="en-US" sz="1100" dirty="0">
              <a:gradFill>
                <a:gsLst>
                  <a:gs pos="0">
                    <a:srgbClr val="FFFFFF"/>
                  </a:gs>
                  <a:gs pos="100000">
                    <a:srgbClr val="FFFFFF"/>
                  </a:gs>
                </a:gsLst>
                <a:lin ang="5400000" scaled="0"/>
              </a:gradFill>
            </a:endParaRPr>
          </a:p>
        </p:txBody>
      </p:sp>
      <p:pic>
        <p:nvPicPr>
          <p:cNvPr id="105" name="Picture 104"/>
          <p:cNvPicPr>
            <a:picLocks noChangeAspect="1"/>
          </p:cNvPicPr>
          <p:nvPr/>
        </p:nvPicPr>
        <p:blipFill>
          <a:blip r:embed="rId4" cstate="print">
            <a:lum bright="100000" contrast="100000"/>
          </a:blip>
          <a:stretch>
            <a:fillRect/>
          </a:stretch>
        </p:blipFill>
        <p:spPr>
          <a:xfrm>
            <a:off x="2857569" y="1911565"/>
            <a:ext cx="589937" cy="351597"/>
          </a:xfrm>
          <a:prstGeom prst="rect">
            <a:avLst/>
          </a:prstGeom>
          <a:noFill/>
          <a:ln>
            <a:noFill/>
          </a:ln>
          <a:effectLst/>
        </p:spPr>
      </p:pic>
      <p:grpSp>
        <p:nvGrpSpPr>
          <p:cNvPr id="106" name="Group 105"/>
          <p:cNvGrpSpPr/>
          <p:nvPr/>
        </p:nvGrpSpPr>
        <p:grpSpPr bwMode="black">
          <a:xfrm flipH="1">
            <a:off x="2641216" y="1426081"/>
            <a:ext cx="428868" cy="442097"/>
            <a:chOff x="1752600" y="4267200"/>
            <a:chExt cx="1157286" cy="1302545"/>
          </a:xfrm>
        </p:grpSpPr>
        <p:sp>
          <p:nvSpPr>
            <p:cNvPr id="107" name="Freeform 219"/>
            <p:cNvSpPr>
              <a:spLocks/>
            </p:cNvSpPr>
            <p:nvPr/>
          </p:nvSpPr>
          <p:spPr bwMode="black">
            <a:xfrm>
              <a:off x="2573475" y="4995891"/>
              <a:ext cx="330824" cy="573854"/>
            </a:xfrm>
            <a:custGeom>
              <a:avLst/>
              <a:gdLst>
                <a:gd name="T0" fmla="*/ 157 w 351"/>
                <a:gd name="T1" fmla="*/ 2 h 609"/>
                <a:gd name="T2" fmla="*/ 155 w 351"/>
                <a:gd name="T3" fmla="*/ 104 h 609"/>
                <a:gd name="T4" fmla="*/ 180 w 351"/>
                <a:gd name="T5" fmla="*/ 99 h 609"/>
                <a:gd name="T6" fmla="*/ 231 w 351"/>
                <a:gd name="T7" fmla="*/ 121 h 609"/>
                <a:gd name="T8" fmla="*/ 252 w 351"/>
                <a:gd name="T9" fmla="*/ 174 h 609"/>
                <a:gd name="T10" fmla="*/ 251 w 351"/>
                <a:gd name="T11" fmla="*/ 212 h 609"/>
                <a:gd name="T12" fmla="*/ 251 w 351"/>
                <a:gd name="T13" fmla="*/ 212 h 609"/>
                <a:gd name="T14" fmla="*/ 247 w 351"/>
                <a:gd name="T15" fmla="*/ 387 h 609"/>
                <a:gd name="T16" fmla="*/ 247 w 351"/>
                <a:gd name="T17" fmla="*/ 387 h 609"/>
                <a:gd name="T18" fmla="*/ 246 w 351"/>
                <a:gd name="T19" fmla="*/ 438 h 609"/>
                <a:gd name="T20" fmla="*/ 223 w 351"/>
                <a:gd name="T21" fmla="*/ 489 h 609"/>
                <a:gd name="T22" fmla="*/ 171 w 351"/>
                <a:gd name="T23" fmla="*/ 510 h 609"/>
                <a:gd name="T24" fmla="*/ 120 w 351"/>
                <a:gd name="T25" fmla="*/ 487 h 609"/>
                <a:gd name="T26" fmla="*/ 100 w 351"/>
                <a:gd name="T27" fmla="*/ 435 h 609"/>
                <a:gd name="T28" fmla="*/ 101 w 351"/>
                <a:gd name="T29" fmla="*/ 395 h 609"/>
                <a:gd name="T30" fmla="*/ 4 w 351"/>
                <a:gd name="T31" fmla="*/ 311 h 609"/>
                <a:gd name="T32" fmla="*/ 1 w 351"/>
                <a:gd name="T33" fmla="*/ 433 h 609"/>
                <a:gd name="T34" fmla="*/ 49 w 351"/>
                <a:gd name="T35" fmla="*/ 555 h 609"/>
                <a:gd name="T36" fmla="*/ 169 w 351"/>
                <a:gd name="T37" fmla="*/ 608 h 609"/>
                <a:gd name="T38" fmla="*/ 292 w 351"/>
                <a:gd name="T39" fmla="*/ 561 h 609"/>
                <a:gd name="T40" fmla="*/ 292 w 351"/>
                <a:gd name="T41" fmla="*/ 561 h 609"/>
                <a:gd name="T42" fmla="*/ 345 w 351"/>
                <a:gd name="T43" fmla="*/ 441 h 609"/>
                <a:gd name="T44" fmla="*/ 350 w 351"/>
                <a:gd name="T45" fmla="*/ 176 h 609"/>
                <a:gd name="T46" fmla="*/ 303 w 351"/>
                <a:gd name="T47" fmla="*/ 53 h 609"/>
                <a:gd name="T48" fmla="*/ 183 w 351"/>
                <a:gd name="T49" fmla="*/ 0 h 609"/>
                <a:gd name="T50" fmla="*/ 157 w 351"/>
                <a:gd name="T51" fmla="*/ 2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1" h="609">
                  <a:moveTo>
                    <a:pt x="157" y="2"/>
                  </a:moveTo>
                  <a:cubicBezTo>
                    <a:pt x="155" y="104"/>
                    <a:pt x="155" y="104"/>
                    <a:pt x="155" y="104"/>
                  </a:cubicBezTo>
                  <a:cubicBezTo>
                    <a:pt x="163" y="101"/>
                    <a:pt x="171" y="99"/>
                    <a:pt x="180" y="99"/>
                  </a:cubicBezTo>
                  <a:cubicBezTo>
                    <a:pt x="201" y="99"/>
                    <a:pt x="218" y="108"/>
                    <a:pt x="231" y="121"/>
                  </a:cubicBezTo>
                  <a:cubicBezTo>
                    <a:pt x="244" y="135"/>
                    <a:pt x="252" y="153"/>
                    <a:pt x="252" y="174"/>
                  </a:cubicBezTo>
                  <a:cubicBezTo>
                    <a:pt x="251" y="212"/>
                    <a:pt x="251" y="212"/>
                    <a:pt x="251" y="212"/>
                  </a:cubicBezTo>
                  <a:cubicBezTo>
                    <a:pt x="251" y="212"/>
                    <a:pt x="251" y="212"/>
                    <a:pt x="251" y="212"/>
                  </a:cubicBezTo>
                  <a:cubicBezTo>
                    <a:pt x="247" y="387"/>
                    <a:pt x="247" y="387"/>
                    <a:pt x="247" y="387"/>
                  </a:cubicBezTo>
                  <a:cubicBezTo>
                    <a:pt x="247" y="387"/>
                    <a:pt x="247" y="387"/>
                    <a:pt x="247" y="387"/>
                  </a:cubicBezTo>
                  <a:cubicBezTo>
                    <a:pt x="246" y="438"/>
                    <a:pt x="246" y="438"/>
                    <a:pt x="246" y="438"/>
                  </a:cubicBezTo>
                  <a:cubicBezTo>
                    <a:pt x="245" y="459"/>
                    <a:pt x="237" y="476"/>
                    <a:pt x="223" y="489"/>
                  </a:cubicBezTo>
                  <a:cubicBezTo>
                    <a:pt x="210" y="502"/>
                    <a:pt x="191" y="510"/>
                    <a:pt x="171" y="510"/>
                  </a:cubicBezTo>
                  <a:cubicBezTo>
                    <a:pt x="151" y="509"/>
                    <a:pt x="133" y="501"/>
                    <a:pt x="120" y="487"/>
                  </a:cubicBezTo>
                  <a:cubicBezTo>
                    <a:pt x="107" y="474"/>
                    <a:pt x="99" y="455"/>
                    <a:pt x="100" y="435"/>
                  </a:cubicBezTo>
                  <a:cubicBezTo>
                    <a:pt x="101" y="395"/>
                    <a:pt x="101" y="395"/>
                    <a:pt x="101" y="395"/>
                  </a:cubicBezTo>
                  <a:cubicBezTo>
                    <a:pt x="42" y="375"/>
                    <a:pt x="16" y="338"/>
                    <a:pt x="4" y="311"/>
                  </a:cubicBezTo>
                  <a:cubicBezTo>
                    <a:pt x="1" y="433"/>
                    <a:pt x="1" y="433"/>
                    <a:pt x="1" y="433"/>
                  </a:cubicBezTo>
                  <a:cubicBezTo>
                    <a:pt x="0" y="480"/>
                    <a:pt x="18" y="524"/>
                    <a:pt x="49" y="555"/>
                  </a:cubicBezTo>
                  <a:cubicBezTo>
                    <a:pt x="79" y="587"/>
                    <a:pt x="122" y="607"/>
                    <a:pt x="169" y="608"/>
                  </a:cubicBezTo>
                  <a:cubicBezTo>
                    <a:pt x="216" y="609"/>
                    <a:pt x="260" y="591"/>
                    <a:pt x="292" y="561"/>
                  </a:cubicBezTo>
                  <a:cubicBezTo>
                    <a:pt x="292" y="561"/>
                    <a:pt x="292" y="561"/>
                    <a:pt x="292" y="561"/>
                  </a:cubicBezTo>
                  <a:cubicBezTo>
                    <a:pt x="323" y="530"/>
                    <a:pt x="343" y="488"/>
                    <a:pt x="345" y="441"/>
                  </a:cubicBezTo>
                  <a:cubicBezTo>
                    <a:pt x="350" y="176"/>
                    <a:pt x="350" y="176"/>
                    <a:pt x="350" y="176"/>
                  </a:cubicBezTo>
                  <a:cubicBezTo>
                    <a:pt x="351" y="128"/>
                    <a:pt x="333" y="85"/>
                    <a:pt x="303" y="53"/>
                  </a:cubicBezTo>
                  <a:cubicBezTo>
                    <a:pt x="273" y="22"/>
                    <a:pt x="230" y="1"/>
                    <a:pt x="183" y="0"/>
                  </a:cubicBezTo>
                  <a:cubicBezTo>
                    <a:pt x="174" y="0"/>
                    <a:pt x="165" y="1"/>
                    <a:pt x="157"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08" name="Freeform 220"/>
            <p:cNvSpPr>
              <a:spLocks/>
            </p:cNvSpPr>
            <p:nvPr/>
          </p:nvSpPr>
          <p:spPr bwMode="black">
            <a:xfrm>
              <a:off x="2579062" y="4756453"/>
              <a:ext cx="330824" cy="573854"/>
            </a:xfrm>
            <a:custGeom>
              <a:avLst/>
              <a:gdLst>
                <a:gd name="T0" fmla="*/ 182 w 351"/>
                <a:gd name="T1" fmla="*/ 1 h 609"/>
                <a:gd name="T2" fmla="*/ 60 w 351"/>
                <a:gd name="T3" fmla="*/ 48 h 609"/>
                <a:gd name="T4" fmla="*/ 60 w 351"/>
                <a:gd name="T5" fmla="*/ 49 h 609"/>
                <a:gd name="T6" fmla="*/ 7 w 351"/>
                <a:gd name="T7" fmla="*/ 169 h 609"/>
                <a:gd name="T8" fmla="*/ 1 w 351"/>
                <a:gd name="T9" fmla="*/ 433 h 609"/>
                <a:gd name="T10" fmla="*/ 48 w 351"/>
                <a:gd name="T11" fmla="*/ 556 h 609"/>
                <a:gd name="T12" fmla="*/ 169 w 351"/>
                <a:gd name="T13" fmla="*/ 609 h 609"/>
                <a:gd name="T14" fmla="*/ 194 w 351"/>
                <a:gd name="T15" fmla="*/ 607 h 609"/>
                <a:gd name="T16" fmla="*/ 197 w 351"/>
                <a:gd name="T17" fmla="*/ 505 h 609"/>
                <a:gd name="T18" fmla="*/ 171 w 351"/>
                <a:gd name="T19" fmla="*/ 510 h 609"/>
                <a:gd name="T20" fmla="*/ 120 w 351"/>
                <a:gd name="T21" fmla="*/ 488 h 609"/>
                <a:gd name="T22" fmla="*/ 99 w 351"/>
                <a:gd name="T23" fmla="*/ 436 h 609"/>
                <a:gd name="T24" fmla="*/ 104 w 351"/>
                <a:gd name="T25" fmla="*/ 227 h 609"/>
                <a:gd name="T26" fmla="*/ 104 w 351"/>
                <a:gd name="T27" fmla="*/ 220 h 609"/>
                <a:gd name="T28" fmla="*/ 105 w 351"/>
                <a:gd name="T29" fmla="*/ 171 h 609"/>
                <a:gd name="T30" fmla="*/ 128 w 351"/>
                <a:gd name="T31" fmla="*/ 120 h 609"/>
                <a:gd name="T32" fmla="*/ 180 w 351"/>
                <a:gd name="T33" fmla="*/ 99 h 609"/>
                <a:gd name="T34" fmla="*/ 231 w 351"/>
                <a:gd name="T35" fmla="*/ 122 h 609"/>
                <a:gd name="T36" fmla="*/ 251 w 351"/>
                <a:gd name="T37" fmla="*/ 174 h 609"/>
                <a:gd name="T38" fmla="*/ 250 w 351"/>
                <a:gd name="T39" fmla="*/ 214 h 609"/>
                <a:gd name="T40" fmla="*/ 347 w 351"/>
                <a:gd name="T41" fmla="*/ 299 h 609"/>
                <a:gd name="T42" fmla="*/ 350 w 351"/>
                <a:gd name="T43" fmla="*/ 176 h 609"/>
                <a:gd name="T44" fmla="*/ 302 w 351"/>
                <a:gd name="T45" fmla="*/ 54 h 609"/>
                <a:gd name="T46" fmla="*/ 182 w 351"/>
                <a:gd name="T47" fmla="*/ 1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1" h="609">
                  <a:moveTo>
                    <a:pt x="182" y="1"/>
                  </a:moveTo>
                  <a:cubicBezTo>
                    <a:pt x="135" y="0"/>
                    <a:pt x="91" y="18"/>
                    <a:pt x="60" y="48"/>
                  </a:cubicBezTo>
                  <a:cubicBezTo>
                    <a:pt x="60" y="48"/>
                    <a:pt x="60" y="49"/>
                    <a:pt x="60" y="49"/>
                  </a:cubicBezTo>
                  <a:cubicBezTo>
                    <a:pt x="28" y="79"/>
                    <a:pt x="8" y="122"/>
                    <a:pt x="7" y="169"/>
                  </a:cubicBezTo>
                  <a:cubicBezTo>
                    <a:pt x="1" y="433"/>
                    <a:pt x="1" y="433"/>
                    <a:pt x="1" y="433"/>
                  </a:cubicBezTo>
                  <a:cubicBezTo>
                    <a:pt x="0" y="481"/>
                    <a:pt x="18" y="524"/>
                    <a:pt x="48" y="556"/>
                  </a:cubicBezTo>
                  <a:cubicBezTo>
                    <a:pt x="79" y="588"/>
                    <a:pt x="121" y="608"/>
                    <a:pt x="169" y="609"/>
                  </a:cubicBezTo>
                  <a:cubicBezTo>
                    <a:pt x="177" y="609"/>
                    <a:pt x="186" y="608"/>
                    <a:pt x="194" y="607"/>
                  </a:cubicBezTo>
                  <a:cubicBezTo>
                    <a:pt x="197" y="505"/>
                    <a:pt x="197" y="505"/>
                    <a:pt x="197" y="505"/>
                  </a:cubicBezTo>
                  <a:cubicBezTo>
                    <a:pt x="189" y="508"/>
                    <a:pt x="180" y="510"/>
                    <a:pt x="171" y="510"/>
                  </a:cubicBezTo>
                  <a:cubicBezTo>
                    <a:pt x="151" y="510"/>
                    <a:pt x="133" y="501"/>
                    <a:pt x="120" y="488"/>
                  </a:cubicBezTo>
                  <a:cubicBezTo>
                    <a:pt x="107" y="474"/>
                    <a:pt x="99" y="456"/>
                    <a:pt x="99" y="436"/>
                  </a:cubicBezTo>
                  <a:cubicBezTo>
                    <a:pt x="104" y="227"/>
                    <a:pt x="104" y="227"/>
                    <a:pt x="104" y="227"/>
                  </a:cubicBezTo>
                  <a:cubicBezTo>
                    <a:pt x="104" y="220"/>
                    <a:pt x="104" y="220"/>
                    <a:pt x="104" y="220"/>
                  </a:cubicBezTo>
                  <a:cubicBezTo>
                    <a:pt x="105" y="171"/>
                    <a:pt x="105" y="171"/>
                    <a:pt x="105" y="171"/>
                  </a:cubicBezTo>
                  <a:cubicBezTo>
                    <a:pt x="106" y="151"/>
                    <a:pt x="114" y="133"/>
                    <a:pt x="128" y="120"/>
                  </a:cubicBezTo>
                  <a:cubicBezTo>
                    <a:pt x="142" y="107"/>
                    <a:pt x="160" y="99"/>
                    <a:pt x="180" y="99"/>
                  </a:cubicBezTo>
                  <a:cubicBezTo>
                    <a:pt x="200" y="100"/>
                    <a:pt x="218" y="108"/>
                    <a:pt x="231" y="122"/>
                  </a:cubicBezTo>
                  <a:cubicBezTo>
                    <a:pt x="244" y="136"/>
                    <a:pt x="252" y="154"/>
                    <a:pt x="251" y="174"/>
                  </a:cubicBezTo>
                  <a:cubicBezTo>
                    <a:pt x="250" y="214"/>
                    <a:pt x="250" y="214"/>
                    <a:pt x="250" y="214"/>
                  </a:cubicBezTo>
                  <a:cubicBezTo>
                    <a:pt x="309" y="234"/>
                    <a:pt x="335" y="271"/>
                    <a:pt x="347" y="299"/>
                  </a:cubicBezTo>
                  <a:cubicBezTo>
                    <a:pt x="350" y="176"/>
                    <a:pt x="350" y="176"/>
                    <a:pt x="350" y="176"/>
                  </a:cubicBezTo>
                  <a:cubicBezTo>
                    <a:pt x="351" y="129"/>
                    <a:pt x="333" y="85"/>
                    <a:pt x="302" y="54"/>
                  </a:cubicBezTo>
                  <a:cubicBezTo>
                    <a:pt x="272" y="22"/>
                    <a:pt x="229" y="2"/>
                    <a:pt x="182"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09" name="Freeform 221"/>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10" name="Freeform 222"/>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11" name="Freeform 223"/>
            <p:cNvSpPr>
              <a:spLocks/>
            </p:cNvSpPr>
            <p:nvPr/>
          </p:nvSpPr>
          <p:spPr bwMode="black">
            <a:xfrm>
              <a:off x="1977672" y="4663072"/>
              <a:ext cx="606178" cy="195940"/>
            </a:xfrm>
            <a:custGeom>
              <a:avLst/>
              <a:gdLst>
                <a:gd name="T0" fmla="*/ 643 w 643"/>
                <a:gd name="T1" fmla="*/ 132 h 208"/>
                <a:gd name="T2" fmla="*/ 438 w 643"/>
                <a:gd name="T3" fmla="*/ 150 h 208"/>
                <a:gd name="T4" fmla="*/ 0 w 643"/>
                <a:gd name="T5" fmla="*/ 0 h 208"/>
                <a:gd name="T6" fmla="*/ 0 w 643"/>
                <a:gd name="T7" fmla="*/ 103 h 208"/>
                <a:gd name="T8" fmla="*/ 39 w 643"/>
                <a:gd name="T9" fmla="*/ 130 h 208"/>
                <a:gd name="T10" fmla="*/ 438 w 643"/>
                <a:gd name="T11" fmla="*/ 208 h 208"/>
                <a:gd name="T12" fmla="*/ 606 w 643"/>
                <a:gd name="T13" fmla="*/ 197 h 208"/>
                <a:gd name="T14" fmla="*/ 643 w 643"/>
                <a:gd name="T15" fmla="*/ 132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3" h="208">
                  <a:moveTo>
                    <a:pt x="643" y="132"/>
                  </a:moveTo>
                  <a:cubicBezTo>
                    <a:pt x="582" y="143"/>
                    <a:pt x="512" y="150"/>
                    <a:pt x="438" y="150"/>
                  </a:cubicBezTo>
                  <a:cubicBezTo>
                    <a:pt x="196" y="150"/>
                    <a:pt x="0" y="82"/>
                    <a:pt x="0" y="0"/>
                  </a:cubicBezTo>
                  <a:cubicBezTo>
                    <a:pt x="0" y="103"/>
                    <a:pt x="0" y="103"/>
                    <a:pt x="0" y="103"/>
                  </a:cubicBezTo>
                  <a:cubicBezTo>
                    <a:pt x="12" y="113"/>
                    <a:pt x="25" y="121"/>
                    <a:pt x="39" y="130"/>
                  </a:cubicBezTo>
                  <a:cubicBezTo>
                    <a:pt x="130" y="180"/>
                    <a:pt x="273" y="208"/>
                    <a:pt x="438" y="208"/>
                  </a:cubicBezTo>
                  <a:cubicBezTo>
                    <a:pt x="497" y="208"/>
                    <a:pt x="554" y="204"/>
                    <a:pt x="606" y="197"/>
                  </a:cubicBezTo>
                  <a:cubicBezTo>
                    <a:pt x="615" y="174"/>
                    <a:pt x="628" y="152"/>
                    <a:pt x="643" y="1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12" name="Freeform 224"/>
            <p:cNvSpPr>
              <a:spLocks/>
            </p:cNvSpPr>
            <p:nvPr/>
          </p:nvSpPr>
          <p:spPr bwMode="black">
            <a:xfrm>
              <a:off x="1976076" y="4835467"/>
              <a:ext cx="555896" cy="196340"/>
            </a:xfrm>
            <a:custGeom>
              <a:avLst/>
              <a:gdLst>
                <a:gd name="T0" fmla="*/ 590 w 590"/>
                <a:gd name="T1" fmla="*/ 140 h 208"/>
                <a:gd name="T2" fmla="*/ 438 w 590"/>
                <a:gd name="T3" fmla="*/ 150 h 208"/>
                <a:gd name="T4" fmla="*/ 0 w 590"/>
                <a:gd name="T5" fmla="*/ 0 h 208"/>
                <a:gd name="T6" fmla="*/ 0 w 590"/>
                <a:gd name="T7" fmla="*/ 103 h 208"/>
                <a:gd name="T8" fmla="*/ 39 w 590"/>
                <a:gd name="T9" fmla="*/ 129 h 208"/>
                <a:gd name="T10" fmla="*/ 438 w 590"/>
                <a:gd name="T11" fmla="*/ 208 h 208"/>
                <a:gd name="T12" fmla="*/ 589 w 590"/>
                <a:gd name="T13" fmla="*/ 199 h 208"/>
                <a:gd name="T14" fmla="*/ 590 w 590"/>
                <a:gd name="T15" fmla="*/ 14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0" h="208">
                  <a:moveTo>
                    <a:pt x="590" y="140"/>
                  </a:moveTo>
                  <a:cubicBezTo>
                    <a:pt x="543" y="146"/>
                    <a:pt x="491" y="150"/>
                    <a:pt x="438" y="150"/>
                  </a:cubicBezTo>
                  <a:cubicBezTo>
                    <a:pt x="196" y="150"/>
                    <a:pt x="0" y="82"/>
                    <a:pt x="0" y="0"/>
                  </a:cubicBezTo>
                  <a:cubicBezTo>
                    <a:pt x="0" y="103"/>
                    <a:pt x="0" y="103"/>
                    <a:pt x="0" y="103"/>
                  </a:cubicBezTo>
                  <a:cubicBezTo>
                    <a:pt x="12" y="113"/>
                    <a:pt x="25" y="121"/>
                    <a:pt x="39" y="129"/>
                  </a:cubicBezTo>
                  <a:cubicBezTo>
                    <a:pt x="129" y="180"/>
                    <a:pt x="273" y="208"/>
                    <a:pt x="438" y="208"/>
                  </a:cubicBezTo>
                  <a:cubicBezTo>
                    <a:pt x="491" y="208"/>
                    <a:pt x="541" y="205"/>
                    <a:pt x="589" y="199"/>
                  </a:cubicBezTo>
                  <a:lnTo>
                    <a:pt x="590" y="1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13" name="Freeform 225"/>
            <p:cNvSpPr>
              <a:spLocks noEditPoints="1"/>
            </p:cNvSpPr>
            <p:nvPr/>
          </p:nvSpPr>
          <p:spPr bwMode="black">
            <a:xfrm>
              <a:off x="1886286" y="4267200"/>
              <a:ext cx="1011628" cy="995266"/>
            </a:xfrm>
            <a:custGeom>
              <a:avLst/>
              <a:gdLst>
                <a:gd name="T0" fmla="*/ 683 w 1073"/>
                <a:gd name="T1" fmla="*/ 951 h 1056"/>
                <a:gd name="T2" fmla="*/ 683 w 1073"/>
                <a:gd name="T3" fmla="*/ 947 h 1056"/>
                <a:gd name="T4" fmla="*/ 537 w 1073"/>
                <a:gd name="T5" fmla="*/ 957 h 1056"/>
                <a:gd name="T6" fmla="*/ 99 w 1073"/>
                <a:gd name="T7" fmla="*/ 776 h 1056"/>
                <a:gd name="T8" fmla="*/ 99 w 1073"/>
                <a:gd name="T9" fmla="*/ 623 h 1056"/>
                <a:gd name="T10" fmla="*/ 99 w 1073"/>
                <a:gd name="T11" fmla="*/ 520 h 1056"/>
                <a:gd name="T12" fmla="*/ 99 w 1073"/>
                <a:gd name="T13" fmla="*/ 352 h 1056"/>
                <a:gd name="T14" fmla="*/ 137 w 1073"/>
                <a:gd name="T15" fmla="*/ 379 h 1056"/>
                <a:gd name="T16" fmla="*/ 537 w 1073"/>
                <a:gd name="T17" fmla="*/ 458 h 1056"/>
                <a:gd name="T18" fmla="*/ 862 w 1073"/>
                <a:gd name="T19" fmla="*/ 411 h 1056"/>
                <a:gd name="T20" fmla="*/ 972 w 1073"/>
                <a:gd name="T21" fmla="*/ 355 h 1056"/>
                <a:gd name="T22" fmla="*/ 975 w 1073"/>
                <a:gd name="T23" fmla="*/ 352 h 1056"/>
                <a:gd name="T24" fmla="*/ 975 w 1073"/>
                <a:gd name="T25" fmla="*/ 460 h 1056"/>
                <a:gd name="T26" fmla="*/ 1067 w 1073"/>
                <a:gd name="T27" fmla="*/ 493 h 1056"/>
                <a:gd name="T28" fmla="*/ 1073 w 1073"/>
                <a:gd name="T29" fmla="*/ 494 h 1056"/>
                <a:gd name="T30" fmla="*/ 1073 w 1073"/>
                <a:gd name="T31" fmla="*/ 249 h 1056"/>
                <a:gd name="T32" fmla="*/ 1002 w 1073"/>
                <a:gd name="T33" fmla="*/ 114 h 1056"/>
                <a:gd name="T34" fmla="*/ 537 w 1073"/>
                <a:gd name="T35" fmla="*/ 0 h 1056"/>
                <a:gd name="T36" fmla="*/ 195 w 1073"/>
                <a:gd name="T37" fmla="*/ 49 h 1056"/>
                <a:gd name="T38" fmla="*/ 71 w 1073"/>
                <a:gd name="T39" fmla="*/ 114 h 1056"/>
                <a:gd name="T40" fmla="*/ 0 w 1073"/>
                <a:gd name="T41" fmla="*/ 249 h 1056"/>
                <a:gd name="T42" fmla="*/ 0 w 1073"/>
                <a:gd name="T43" fmla="*/ 776 h 1056"/>
                <a:gd name="T44" fmla="*/ 64 w 1073"/>
                <a:gd name="T45" fmla="*/ 917 h 1056"/>
                <a:gd name="T46" fmla="*/ 537 w 1073"/>
                <a:gd name="T47" fmla="*/ 1056 h 1056"/>
                <a:gd name="T48" fmla="*/ 681 w 1073"/>
                <a:gd name="T49" fmla="*/ 1047 h 1056"/>
                <a:gd name="T50" fmla="*/ 683 w 1073"/>
                <a:gd name="T51" fmla="*/ 951 h 1056"/>
                <a:gd name="T52" fmla="*/ 537 w 1073"/>
                <a:gd name="T53" fmla="*/ 99 h 1056"/>
                <a:gd name="T54" fmla="*/ 975 w 1073"/>
                <a:gd name="T55" fmla="*/ 249 h 1056"/>
                <a:gd name="T56" fmla="*/ 537 w 1073"/>
                <a:gd name="T57" fmla="*/ 399 h 1056"/>
                <a:gd name="T58" fmla="*/ 99 w 1073"/>
                <a:gd name="T59" fmla="*/ 249 h 1056"/>
                <a:gd name="T60" fmla="*/ 537 w 1073"/>
                <a:gd name="T61" fmla="*/ 99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73" h="1056">
                  <a:moveTo>
                    <a:pt x="683" y="951"/>
                  </a:moveTo>
                  <a:cubicBezTo>
                    <a:pt x="683" y="947"/>
                    <a:pt x="683" y="947"/>
                    <a:pt x="683" y="947"/>
                  </a:cubicBezTo>
                  <a:cubicBezTo>
                    <a:pt x="638" y="954"/>
                    <a:pt x="587" y="957"/>
                    <a:pt x="537" y="957"/>
                  </a:cubicBezTo>
                  <a:cubicBezTo>
                    <a:pt x="295" y="957"/>
                    <a:pt x="99" y="876"/>
                    <a:pt x="99" y="776"/>
                  </a:cubicBezTo>
                  <a:cubicBezTo>
                    <a:pt x="99" y="623"/>
                    <a:pt x="99" y="623"/>
                    <a:pt x="99" y="623"/>
                  </a:cubicBezTo>
                  <a:cubicBezTo>
                    <a:pt x="99" y="520"/>
                    <a:pt x="99" y="520"/>
                    <a:pt x="99" y="520"/>
                  </a:cubicBezTo>
                  <a:cubicBezTo>
                    <a:pt x="99" y="352"/>
                    <a:pt x="99" y="352"/>
                    <a:pt x="99" y="352"/>
                  </a:cubicBezTo>
                  <a:cubicBezTo>
                    <a:pt x="110" y="362"/>
                    <a:pt x="123" y="371"/>
                    <a:pt x="137" y="379"/>
                  </a:cubicBezTo>
                  <a:cubicBezTo>
                    <a:pt x="228" y="429"/>
                    <a:pt x="371" y="457"/>
                    <a:pt x="537" y="458"/>
                  </a:cubicBezTo>
                  <a:cubicBezTo>
                    <a:pt x="662" y="458"/>
                    <a:pt x="776" y="441"/>
                    <a:pt x="862" y="411"/>
                  </a:cubicBezTo>
                  <a:cubicBezTo>
                    <a:pt x="906" y="396"/>
                    <a:pt x="942" y="378"/>
                    <a:pt x="972" y="355"/>
                  </a:cubicBezTo>
                  <a:cubicBezTo>
                    <a:pt x="973" y="354"/>
                    <a:pt x="974" y="353"/>
                    <a:pt x="975" y="352"/>
                  </a:cubicBezTo>
                  <a:cubicBezTo>
                    <a:pt x="975" y="460"/>
                    <a:pt x="975" y="460"/>
                    <a:pt x="975" y="460"/>
                  </a:cubicBezTo>
                  <a:cubicBezTo>
                    <a:pt x="1008" y="465"/>
                    <a:pt x="1039" y="476"/>
                    <a:pt x="1067" y="493"/>
                  </a:cubicBezTo>
                  <a:cubicBezTo>
                    <a:pt x="1069" y="493"/>
                    <a:pt x="1071" y="493"/>
                    <a:pt x="1073" y="494"/>
                  </a:cubicBezTo>
                  <a:cubicBezTo>
                    <a:pt x="1073" y="249"/>
                    <a:pt x="1073" y="249"/>
                    <a:pt x="1073" y="249"/>
                  </a:cubicBezTo>
                  <a:cubicBezTo>
                    <a:pt x="1073" y="187"/>
                    <a:pt x="1037" y="141"/>
                    <a:pt x="1002" y="114"/>
                  </a:cubicBezTo>
                  <a:cubicBezTo>
                    <a:pt x="896" y="33"/>
                    <a:pt x="733" y="3"/>
                    <a:pt x="537" y="0"/>
                  </a:cubicBezTo>
                  <a:cubicBezTo>
                    <a:pt x="406" y="0"/>
                    <a:pt x="288" y="18"/>
                    <a:pt x="195" y="49"/>
                  </a:cubicBezTo>
                  <a:cubicBezTo>
                    <a:pt x="148" y="66"/>
                    <a:pt x="107" y="85"/>
                    <a:pt x="71" y="114"/>
                  </a:cubicBezTo>
                  <a:cubicBezTo>
                    <a:pt x="36" y="141"/>
                    <a:pt x="0" y="187"/>
                    <a:pt x="0" y="249"/>
                  </a:cubicBezTo>
                  <a:cubicBezTo>
                    <a:pt x="0" y="776"/>
                    <a:pt x="0" y="776"/>
                    <a:pt x="0" y="776"/>
                  </a:cubicBezTo>
                  <a:cubicBezTo>
                    <a:pt x="0" y="835"/>
                    <a:pt x="29" y="884"/>
                    <a:pt x="64" y="917"/>
                  </a:cubicBezTo>
                  <a:cubicBezTo>
                    <a:pt x="169" y="1014"/>
                    <a:pt x="338" y="1053"/>
                    <a:pt x="537" y="1056"/>
                  </a:cubicBezTo>
                  <a:cubicBezTo>
                    <a:pt x="586" y="1056"/>
                    <a:pt x="636" y="1053"/>
                    <a:pt x="681" y="1047"/>
                  </a:cubicBezTo>
                  <a:lnTo>
                    <a:pt x="683" y="951"/>
                  </a:lnTo>
                  <a:close/>
                  <a:moveTo>
                    <a:pt x="537" y="99"/>
                  </a:moveTo>
                  <a:cubicBezTo>
                    <a:pt x="778" y="99"/>
                    <a:pt x="975" y="166"/>
                    <a:pt x="975" y="249"/>
                  </a:cubicBezTo>
                  <a:cubicBezTo>
                    <a:pt x="975" y="332"/>
                    <a:pt x="778" y="399"/>
                    <a:pt x="537" y="399"/>
                  </a:cubicBezTo>
                  <a:cubicBezTo>
                    <a:pt x="295" y="399"/>
                    <a:pt x="99" y="332"/>
                    <a:pt x="99" y="249"/>
                  </a:cubicBezTo>
                  <a:cubicBezTo>
                    <a:pt x="99" y="166"/>
                    <a:pt x="295" y="99"/>
                    <a:pt x="537" y="9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grpSp>
      <p:sp>
        <p:nvSpPr>
          <p:cNvPr id="115" name="Rectangle 114"/>
          <p:cNvSpPr/>
          <p:nvPr/>
        </p:nvSpPr>
        <p:spPr bwMode="auto">
          <a:xfrm>
            <a:off x="6864308" y="1229714"/>
            <a:ext cx="1410051" cy="1409685"/>
          </a:xfrm>
          <a:prstGeom prst="rect">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6" tIns="34294" rIns="34294" bIns="68586" numCol="1" spcCol="0" rtlCol="0" fromWordArt="0" anchor="b" anchorCtr="0" forceAA="0" compatLnSpc="1">
            <a:prstTxWarp prst="textNoShape">
              <a:avLst/>
            </a:prstTxWarp>
            <a:noAutofit/>
          </a:bodyPr>
          <a:lstStyle/>
          <a:p>
            <a:pPr defTabSz="685637" fontAlgn="base">
              <a:spcBef>
                <a:spcPct val="0"/>
              </a:spcBef>
              <a:spcAft>
                <a:spcPct val="0"/>
              </a:spcAft>
            </a:pPr>
            <a:r>
              <a:rPr lang="en-US" spc="-38" dirty="0">
                <a:gradFill>
                  <a:gsLst>
                    <a:gs pos="0">
                      <a:srgbClr val="FFFFFF"/>
                    </a:gs>
                    <a:gs pos="100000">
                      <a:srgbClr val="FFFFFF"/>
                    </a:gs>
                  </a:gsLst>
                  <a:lin ang="5400000" scaled="0"/>
                </a:gradFill>
                <a:ea typeface="Segoe UI" pitchFamily="34" charset="0"/>
                <a:cs typeface="Segoe UI" pitchFamily="34" charset="0"/>
              </a:rPr>
              <a:t>Hosted Desktop</a:t>
            </a:r>
          </a:p>
        </p:txBody>
      </p:sp>
      <p:pic>
        <p:nvPicPr>
          <p:cNvPr id="116" name="Picture 6" descr="\\MAGNUM\Projects\Microsoft\Cloud Power FY12\Design\ICONS_PNG\Screen.png"/>
          <p:cNvPicPr>
            <a:picLocks noChangeAspect="1" noChangeArrowheads="1"/>
          </p:cNvPicPr>
          <p:nvPr/>
        </p:nvPicPr>
        <p:blipFill>
          <a:blip r:embed="rId6" cstate="print">
            <a:lum bright="100000"/>
          </a:blip>
          <a:srcRect/>
          <a:stretch>
            <a:fillRect/>
          </a:stretch>
        </p:blipFill>
        <p:spPr bwMode="auto">
          <a:xfrm flipH="1">
            <a:off x="7081824" y="1276691"/>
            <a:ext cx="625895" cy="625733"/>
          </a:xfrm>
          <a:prstGeom prst="rect">
            <a:avLst/>
          </a:prstGeom>
          <a:noFill/>
        </p:spPr>
      </p:pic>
      <p:sp>
        <p:nvSpPr>
          <p:cNvPr id="117" name="Isosceles Triangle 108"/>
          <p:cNvSpPr/>
          <p:nvPr/>
        </p:nvSpPr>
        <p:spPr bwMode="auto">
          <a:xfrm rot="8072574">
            <a:off x="7453580" y="1743109"/>
            <a:ext cx="260009" cy="273874"/>
          </a:xfrm>
          <a:custGeom>
            <a:avLst/>
            <a:gdLst/>
            <a:ahLst/>
            <a:cxnLst/>
            <a:rect l="l" t="t" r="r" b="b"/>
            <a:pathLst>
              <a:path w="346679" h="365070">
                <a:moveTo>
                  <a:pt x="0" y="335210"/>
                </a:moveTo>
                <a:lnTo>
                  <a:pt x="216104" y="0"/>
                </a:lnTo>
                <a:lnTo>
                  <a:pt x="346679" y="365070"/>
                </a:lnTo>
                <a:cubicBezTo>
                  <a:pt x="301139" y="337702"/>
                  <a:pt x="245429" y="319091"/>
                  <a:pt x="184281" y="312662"/>
                </a:cubicBezTo>
                <a:cubicBezTo>
                  <a:pt x="117170" y="305605"/>
                  <a:pt x="53415" y="314262"/>
                  <a:pt x="0" y="335210"/>
                </a:cubicBezTo>
                <a:close/>
              </a:path>
            </a:pathLst>
          </a:custGeom>
          <a:solidFill>
            <a:schemeClr val="bg2">
              <a:lumMod val="20000"/>
              <a:lumOff val="80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571204"/>
            <a:endParaRPr lang="en-US" sz="1100" dirty="0">
              <a:gradFill>
                <a:gsLst>
                  <a:gs pos="0">
                    <a:srgbClr val="FFFFFF"/>
                  </a:gs>
                  <a:gs pos="100000">
                    <a:srgbClr val="FFFFFF"/>
                  </a:gs>
                </a:gsLst>
                <a:lin ang="5400000" scaled="0"/>
              </a:gradFill>
            </a:endParaRPr>
          </a:p>
        </p:txBody>
      </p:sp>
      <p:pic>
        <p:nvPicPr>
          <p:cNvPr id="118" name="Picture 117"/>
          <p:cNvPicPr>
            <a:picLocks noChangeAspect="1"/>
          </p:cNvPicPr>
          <p:nvPr/>
        </p:nvPicPr>
        <p:blipFill>
          <a:blip r:embed="rId4" cstate="print">
            <a:lum bright="100000" contrast="100000"/>
          </a:blip>
          <a:stretch>
            <a:fillRect/>
          </a:stretch>
        </p:blipFill>
        <p:spPr>
          <a:xfrm>
            <a:off x="7412749" y="1882109"/>
            <a:ext cx="589937" cy="351597"/>
          </a:xfrm>
          <a:prstGeom prst="rect">
            <a:avLst/>
          </a:prstGeom>
          <a:noFill/>
          <a:ln>
            <a:noFill/>
          </a:ln>
          <a:effectLst/>
        </p:spPr>
      </p:pic>
      <p:sp useBgFill="1">
        <p:nvSpPr>
          <p:cNvPr id="4" name="Rectangle 3"/>
          <p:cNvSpPr/>
          <p:nvPr/>
        </p:nvSpPr>
        <p:spPr bwMode="auto">
          <a:xfrm>
            <a:off x="0" y="0"/>
            <a:ext cx="9144000" cy="66909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6" tIns="34294" rIns="34294" bIns="68586" numCol="1" spcCol="0" rtlCol="0" fromWordArt="0" anchor="b" anchorCtr="0" forceAA="0" compatLnSpc="1">
            <a:prstTxWarp prst="textNoShape">
              <a:avLst/>
            </a:prstTxWarp>
            <a:noAutofit/>
          </a:bodyPr>
          <a:lstStyle/>
          <a:p>
            <a:pPr algn="ctr" defTabSz="685637" fontAlgn="base">
              <a:spcBef>
                <a:spcPct val="0"/>
              </a:spcBef>
              <a:spcAft>
                <a:spcPct val="0"/>
              </a:spcAft>
            </a:pPr>
            <a:endParaRPr lang="en-US" spc="-38"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 name="Title 1"/>
          <p:cNvSpPr>
            <a:spLocks noGrp="1"/>
          </p:cNvSpPr>
          <p:nvPr>
            <p:ph type="title"/>
          </p:nvPr>
        </p:nvSpPr>
        <p:spPr>
          <a:xfrm>
            <a:off x="381100" y="171451"/>
            <a:ext cx="8363938" cy="457049"/>
          </a:xfrm>
        </p:spPr>
        <p:txBody>
          <a:bodyPr/>
          <a:lstStyle/>
          <a:p>
            <a:pPr algn="ctr"/>
            <a:r>
              <a:rPr lang="en-US" dirty="0" smtClean="0"/>
              <a:t>Additional Service on same infrastructure</a:t>
            </a:r>
            <a:endParaRPr lang="en-US" dirty="0"/>
          </a:p>
        </p:txBody>
      </p:sp>
      <p:sp>
        <p:nvSpPr>
          <p:cNvPr id="22" name="Rectangle 21"/>
          <p:cNvSpPr/>
          <p:nvPr/>
        </p:nvSpPr>
        <p:spPr bwMode="gray">
          <a:xfrm>
            <a:off x="864436" y="2743200"/>
            <a:ext cx="7409923" cy="1657350"/>
          </a:xfrm>
          <a:prstGeom prst="rect">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6" tIns="34294" rIns="34294" bIns="68586" numCol="1" spcCol="0" rtlCol="0" fromWordArt="0" anchor="b" anchorCtr="0" forceAA="0" compatLnSpc="1">
            <a:prstTxWarp prst="textNoShape">
              <a:avLst/>
            </a:prstTxWarp>
            <a:noAutofit/>
          </a:bodyPr>
          <a:lstStyle/>
          <a:p>
            <a:pPr algn="ctr" defTabSz="685637" fontAlgn="base">
              <a:spcBef>
                <a:spcPct val="0"/>
              </a:spcBef>
              <a:spcAft>
                <a:spcPct val="0"/>
              </a:spcAft>
            </a:pPr>
            <a:r>
              <a:rPr lang="en-US" sz="1800" spc="-38" dirty="0">
                <a:solidFill>
                  <a:schemeClr val="tx1"/>
                </a:solidFill>
                <a:latin typeface="Segoe UI" pitchFamily="34" charset="0"/>
                <a:ea typeface="Segoe UI" pitchFamily="34" charset="0"/>
                <a:cs typeface="Segoe UI" pitchFamily="34" charset="0"/>
              </a:rPr>
              <a:t>Infrastructure</a:t>
            </a:r>
          </a:p>
        </p:txBody>
      </p:sp>
      <p:pic>
        <p:nvPicPr>
          <p:cNvPr id="23" name="Picture 5" descr="\\MAGNUM\Projects\Microsoft\Cloud Power FY12\Design\ICONS_PNG\Layer-79.png"/>
          <p:cNvPicPr>
            <a:picLocks noChangeAspect="1" noChangeArrowheads="1"/>
          </p:cNvPicPr>
          <p:nvPr/>
        </p:nvPicPr>
        <p:blipFill rotWithShape="1">
          <a:blip r:embed="rId7" cstate="print">
            <a:lum bright="100000"/>
          </a:blip>
          <a:srcRect t="6403" b="7302"/>
          <a:stretch/>
        </p:blipFill>
        <p:spPr bwMode="auto">
          <a:xfrm>
            <a:off x="3913199" y="2927432"/>
            <a:ext cx="1328015" cy="1146012"/>
          </a:xfrm>
          <a:prstGeom prst="rect">
            <a:avLst/>
          </a:prstGeom>
          <a:noFill/>
        </p:spPr>
      </p:pic>
      <p:sp>
        <p:nvSpPr>
          <p:cNvPr id="60"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61"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8"/>
              </a:rPr>
              <a:t>www.rapidbbs.cn</a:t>
            </a:r>
            <a:endParaRPr lang="zh-CN" altLang="en-US" sz="1200" b="0">
              <a:latin typeface="Arial" charset="0"/>
              <a:ea typeface="ＭＳ Ｐゴシック" pitchFamily="34" charset="-128"/>
            </a:endParaRPr>
          </a:p>
        </p:txBody>
      </p:sp>
      <p:pic>
        <p:nvPicPr>
          <p:cNvPr id="90" name="Picture 2">
            <a:hlinkClick r:id="rId8"/>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297765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iterate type="wd">
                                    <p:tmAbs val="500"/>
                                  </p:iterate>
                                  <p:childTnLst>
                                    <p:set>
                                      <p:cBhvr>
                                        <p:cTn id="6" dur="1" fill="hold">
                                          <p:stCondLst>
                                            <p:cond delay="0"/>
                                          </p:stCondLst>
                                        </p:cTn>
                                        <p:tgtEl>
                                          <p:spTgt spid="103"/>
                                        </p:tgtEl>
                                        <p:attrNameLst>
                                          <p:attrName>style.visibility</p:attrName>
                                        </p:attrNameLst>
                                      </p:cBhvr>
                                      <p:to>
                                        <p:strVal val="visible"/>
                                      </p:to>
                                    </p:set>
                                  </p:childTnLst>
                                </p:cTn>
                              </p:par>
                              <p:par>
                                <p:cTn id="7" presetID="1" presetClass="entr" presetSubtype="0" fill="hold" grpId="0" nodeType="withEffect">
                                  <p:stCondLst>
                                    <p:cond delay="0"/>
                                  </p:stCondLst>
                                  <p:iterate type="wd">
                                    <p:tmAbs val="500"/>
                                  </p:iterate>
                                  <p:childTnLst>
                                    <p:set>
                                      <p:cBhvr>
                                        <p:cTn id="8" dur="1" fill="hold">
                                          <p:stCondLst>
                                            <p:cond delay="0"/>
                                          </p:stCondLst>
                                        </p:cTn>
                                        <p:tgtEl>
                                          <p:spTgt spid="91"/>
                                        </p:tgtEl>
                                        <p:attrNameLst>
                                          <p:attrName>style.visibility</p:attrName>
                                        </p:attrNameLst>
                                      </p:cBhvr>
                                      <p:to>
                                        <p:strVal val="visible"/>
                                      </p:to>
                                    </p:set>
                                  </p:childTnLst>
                                </p:cTn>
                              </p:par>
                              <p:par>
                                <p:cTn id="9" presetID="1" presetClass="entr" presetSubtype="0" fill="hold" grpId="0" nodeType="withEffect">
                                  <p:stCondLst>
                                    <p:cond delay="0"/>
                                  </p:stCondLst>
                                  <p:iterate type="wd">
                                    <p:tmAbs val="500"/>
                                  </p:iterate>
                                  <p:childTnLst>
                                    <p:set>
                                      <p:cBhvr>
                                        <p:cTn id="10" dur="1" fill="hold">
                                          <p:stCondLst>
                                            <p:cond delay="0"/>
                                          </p:stCondLst>
                                        </p:cTn>
                                        <p:tgtEl>
                                          <p:spTgt spid="62"/>
                                        </p:tgtEl>
                                        <p:attrNameLst>
                                          <p:attrName>style.visibility</p:attrName>
                                        </p:attrNameLst>
                                      </p:cBhvr>
                                      <p:to>
                                        <p:strVal val="visible"/>
                                      </p:to>
                                    </p:set>
                                  </p:childTnLst>
                                </p:cTn>
                              </p:par>
                              <p:par>
                                <p:cTn id="11" presetID="1" presetClass="entr" presetSubtype="0" fill="hold" grpId="0" nodeType="withEffect">
                                  <p:stCondLst>
                                    <p:cond delay="0"/>
                                  </p:stCondLst>
                                  <p:iterate type="wd">
                                    <p:tmAbs val="500"/>
                                  </p:iterate>
                                  <p:childTnLst>
                                    <p:set>
                                      <p:cBhvr>
                                        <p:cTn id="12" dur="1" fill="hold">
                                          <p:stCondLst>
                                            <p:cond delay="0"/>
                                          </p:stCondLst>
                                        </p:cTn>
                                        <p:tgtEl>
                                          <p:spTgt spid="115"/>
                                        </p:tgtEl>
                                        <p:attrNameLst>
                                          <p:attrName>style.visibility</p:attrName>
                                        </p:attrNameLst>
                                      </p:cBhvr>
                                      <p:to>
                                        <p:strVal val="visible"/>
                                      </p:to>
                                    </p:set>
                                  </p:childTnLst>
                                </p:cTn>
                              </p:par>
                              <p:par>
                                <p:cTn id="13" presetID="1" presetClass="entr" presetSubtype="0" fill="hold" nodeType="withEffect">
                                  <p:stCondLst>
                                    <p:cond delay="0"/>
                                  </p:stCondLst>
                                  <p:iterate type="wd">
                                    <p:tmAbs val="500"/>
                                  </p:iterate>
                                  <p:childTnLst>
                                    <p:set>
                                      <p:cBhvr>
                                        <p:cTn id="14" dur="1" fill="hold">
                                          <p:stCondLst>
                                            <p:cond delay="0"/>
                                          </p:stCondLst>
                                        </p:cTn>
                                        <p:tgtEl>
                                          <p:spTgt spid="63"/>
                                        </p:tgtEl>
                                        <p:attrNameLst>
                                          <p:attrName>style.visibility</p:attrName>
                                        </p:attrNameLst>
                                      </p:cBhvr>
                                      <p:to>
                                        <p:strVal val="visible"/>
                                      </p:to>
                                    </p:set>
                                  </p:childTnLst>
                                </p:cTn>
                              </p:par>
                              <p:par>
                                <p:cTn id="15" presetID="1" presetClass="entr" presetSubtype="0" fill="hold" nodeType="withEffect">
                                  <p:stCondLst>
                                    <p:cond delay="0"/>
                                  </p:stCondLst>
                                  <p:iterate type="wd">
                                    <p:tmAbs val="500"/>
                                  </p:iterate>
                                  <p:childTnLst>
                                    <p:set>
                                      <p:cBhvr>
                                        <p:cTn id="16" dur="1" fill="hold">
                                          <p:stCondLst>
                                            <p:cond delay="0"/>
                                          </p:stCondLst>
                                        </p:cTn>
                                        <p:tgtEl>
                                          <p:spTgt spid="92"/>
                                        </p:tgtEl>
                                        <p:attrNameLst>
                                          <p:attrName>style.visibility</p:attrName>
                                        </p:attrNameLst>
                                      </p:cBhvr>
                                      <p:to>
                                        <p:strVal val="visible"/>
                                      </p:to>
                                    </p:set>
                                  </p:childTnLst>
                                </p:cTn>
                              </p:par>
                              <p:par>
                                <p:cTn id="17" presetID="1" presetClass="entr" presetSubtype="0" fill="hold" grpId="0" nodeType="withEffect">
                                  <p:stCondLst>
                                    <p:cond delay="0"/>
                                  </p:stCondLst>
                                  <p:iterate type="wd">
                                    <p:tmAbs val="500"/>
                                  </p:iterate>
                                  <p:childTnLst>
                                    <p:set>
                                      <p:cBhvr>
                                        <p:cTn id="18" dur="1" fill="hold">
                                          <p:stCondLst>
                                            <p:cond delay="0"/>
                                          </p:stCondLst>
                                        </p:cTn>
                                        <p:tgtEl>
                                          <p:spTgt spid="104"/>
                                        </p:tgtEl>
                                        <p:attrNameLst>
                                          <p:attrName>style.visibility</p:attrName>
                                        </p:attrNameLst>
                                      </p:cBhvr>
                                      <p:to>
                                        <p:strVal val="visible"/>
                                      </p:to>
                                    </p:set>
                                  </p:childTnLst>
                                </p:cTn>
                              </p:par>
                              <p:par>
                                <p:cTn id="19" presetID="1" presetClass="entr" presetSubtype="0" fill="hold" nodeType="withEffect">
                                  <p:stCondLst>
                                    <p:cond delay="0"/>
                                  </p:stCondLst>
                                  <p:iterate type="wd">
                                    <p:tmAbs val="500"/>
                                  </p:iterate>
                                  <p:childTnLst>
                                    <p:set>
                                      <p:cBhvr>
                                        <p:cTn id="20" dur="1" fill="hold">
                                          <p:stCondLst>
                                            <p:cond delay="0"/>
                                          </p:stCondLst>
                                        </p:cTn>
                                        <p:tgtEl>
                                          <p:spTgt spid="105"/>
                                        </p:tgtEl>
                                        <p:attrNameLst>
                                          <p:attrName>style.visibility</p:attrName>
                                        </p:attrNameLst>
                                      </p:cBhvr>
                                      <p:to>
                                        <p:strVal val="visible"/>
                                      </p:to>
                                    </p:set>
                                  </p:childTnLst>
                                </p:cTn>
                              </p:par>
                              <p:par>
                                <p:cTn id="21" presetID="1" presetClass="entr" presetSubtype="0" fill="hold" nodeType="withEffect">
                                  <p:stCondLst>
                                    <p:cond delay="0"/>
                                  </p:stCondLst>
                                  <p:iterate type="wd">
                                    <p:tmAbs val="500"/>
                                  </p:iterate>
                                  <p:childTnLst>
                                    <p:set>
                                      <p:cBhvr>
                                        <p:cTn id="22" dur="1" fill="hold">
                                          <p:stCondLst>
                                            <p:cond delay="0"/>
                                          </p:stCondLst>
                                        </p:cTn>
                                        <p:tgtEl>
                                          <p:spTgt spid="106"/>
                                        </p:tgtEl>
                                        <p:attrNameLst>
                                          <p:attrName>style.visibility</p:attrName>
                                        </p:attrNameLst>
                                      </p:cBhvr>
                                      <p:to>
                                        <p:strVal val="visible"/>
                                      </p:to>
                                    </p:set>
                                  </p:childTnLst>
                                </p:cTn>
                              </p:par>
                              <p:par>
                                <p:cTn id="23" presetID="1" presetClass="entr" presetSubtype="0" fill="hold" nodeType="withEffect">
                                  <p:stCondLst>
                                    <p:cond delay="0"/>
                                  </p:stCondLst>
                                  <p:iterate type="wd">
                                    <p:tmAbs val="500"/>
                                  </p:iterate>
                                  <p:childTnLst>
                                    <p:set>
                                      <p:cBhvr>
                                        <p:cTn id="24" dur="1" fill="hold">
                                          <p:stCondLst>
                                            <p:cond delay="0"/>
                                          </p:stCondLst>
                                        </p:cTn>
                                        <p:tgtEl>
                                          <p:spTgt spid="116"/>
                                        </p:tgtEl>
                                        <p:attrNameLst>
                                          <p:attrName>style.visibility</p:attrName>
                                        </p:attrNameLst>
                                      </p:cBhvr>
                                      <p:to>
                                        <p:strVal val="visible"/>
                                      </p:to>
                                    </p:set>
                                  </p:childTnLst>
                                </p:cTn>
                              </p:par>
                              <p:par>
                                <p:cTn id="25" presetID="1" presetClass="entr" presetSubtype="0" fill="hold" grpId="0" nodeType="withEffect">
                                  <p:stCondLst>
                                    <p:cond delay="0"/>
                                  </p:stCondLst>
                                  <p:iterate type="wd">
                                    <p:tmAbs val="500"/>
                                  </p:iterate>
                                  <p:childTnLst>
                                    <p:set>
                                      <p:cBhvr>
                                        <p:cTn id="26" dur="1" fill="hold">
                                          <p:stCondLst>
                                            <p:cond delay="0"/>
                                          </p:stCondLst>
                                        </p:cTn>
                                        <p:tgtEl>
                                          <p:spTgt spid="117"/>
                                        </p:tgtEl>
                                        <p:attrNameLst>
                                          <p:attrName>style.visibility</p:attrName>
                                        </p:attrNameLst>
                                      </p:cBhvr>
                                      <p:to>
                                        <p:strVal val="visible"/>
                                      </p:to>
                                    </p:set>
                                  </p:childTnLst>
                                </p:cTn>
                              </p:par>
                              <p:par>
                                <p:cTn id="27" presetID="1" presetClass="entr" presetSubtype="0" fill="hold" nodeType="withEffect">
                                  <p:stCondLst>
                                    <p:cond delay="0"/>
                                  </p:stCondLst>
                                  <p:iterate type="wd">
                                    <p:tmAbs val="500"/>
                                  </p:iterate>
                                  <p:childTnLst>
                                    <p:set>
                                      <p:cBhvr>
                                        <p:cTn id="28" dur="1" fill="hold">
                                          <p:stCondLst>
                                            <p:cond delay="0"/>
                                          </p:stCondLst>
                                        </p:cTn>
                                        <p:tgtEl>
                                          <p:spTgt spid="1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P spid="91" grpId="0" animBg="1"/>
      <p:bldP spid="103" grpId="0" animBg="1"/>
      <p:bldP spid="104" grpId="0" animBg="1"/>
      <p:bldP spid="115" grpId="0" animBg="1"/>
      <p:bldP spid="117" grpId="0" animBg="1"/>
    </p:bldLst>
  </p:timing>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p:txBody>
          <a:bodyPr/>
          <a:lstStyle/>
          <a:p>
            <a:endParaRPr lang="en-US"/>
          </a:p>
        </p:txBody>
      </p:sp>
      <p:sp>
        <p:nvSpPr>
          <p:cNvPr id="2" name="Title 1"/>
          <p:cNvSpPr>
            <a:spLocks noGrp="1"/>
          </p:cNvSpPr>
          <p:nvPr>
            <p:ph type="ctrTitle"/>
          </p:nvPr>
        </p:nvSpPr>
        <p:spPr/>
        <p:txBody>
          <a:bodyPr/>
          <a:lstStyle/>
          <a:p>
            <a:r>
              <a:rPr lang="en-US" dirty="0"/>
              <a:t>Summary</a:t>
            </a:r>
            <a:br>
              <a:rPr lang="en-US" dirty="0"/>
            </a:br>
            <a:endParaRPr lang="en-US" dirty="0"/>
          </a:p>
        </p:txBody>
      </p:sp>
      <p:sp>
        <p:nvSpPr>
          <p:cNvPr id="4"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5"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pic>
        <p:nvPicPr>
          <p:cNvPr id="6"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33086687"/>
      </p:ext>
    </p:extLst>
  </p:cSld>
  <p:clrMapOvr>
    <a:masterClrMapping/>
  </p:clrMapOvr>
  <p:transition>
    <p:fade/>
  </p:transition>
  <p:timing>
    <p:tnLst>
      <p:par>
        <p:cTn id="1" dur="indefinite" restart="never" nodeType="tmRoot"/>
      </p:par>
    </p:tnLst>
  </p:timing>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a:spLocks noChangeAspect="1"/>
          </p:cNvSpPr>
          <p:nvPr/>
        </p:nvSpPr>
        <p:spPr bwMode="auto">
          <a:xfrm>
            <a:off x="169572" y="3137299"/>
            <a:ext cx="1680666" cy="1546151"/>
          </a:xfrm>
          <a:prstGeom prst="rect">
            <a:avLst/>
          </a:prstGeom>
          <a:solidFill>
            <a:schemeClr val="accent4">
              <a:lumMod val="20000"/>
              <a:lumOff val="80000"/>
              <a:alpha val="50000"/>
            </a:schemeClr>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34294" tIns="34294" rIns="34294" bIns="34294" numCol="1" spcCol="0" rtlCol="0" fromWordArt="0" anchor="ctr" anchorCtr="0" forceAA="0" compatLnSpc="1">
            <a:prstTxWarp prst="textNoShape">
              <a:avLst/>
            </a:prstTxWarp>
            <a:noAutofit/>
          </a:bodyPr>
          <a:lstStyle/>
          <a:p>
            <a:pPr algn="ctr" defTabSz="685637" fontAlgn="base">
              <a:spcBef>
                <a:spcPct val="0"/>
              </a:spcBef>
              <a:spcAft>
                <a:spcPct val="0"/>
              </a:spcAft>
            </a:pPr>
            <a:endParaRPr lang="en-US" dirty="0" err="1" smtClean="0">
              <a:solidFill>
                <a:srgbClr val="363535"/>
              </a:solidFill>
              <a:ea typeface="Segoe UI" pitchFamily="34" charset="0"/>
              <a:cs typeface="Segoe UI" pitchFamily="34" charset="0"/>
            </a:endParaRPr>
          </a:p>
        </p:txBody>
      </p:sp>
      <p:sp>
        <p:nvSpPr>
          <p:cNvPr id="9" name="TextBox 8"/>
          <p:cNvSpPr txBox="1"/>
          <p:nvPr/>
        </p:nvSpPr>
        <p:spPr>
          <a:xfrm>
            <a:off x="139149" y="1891108"/>
            <a:ext cx="1680665" cy="623239"/>
          </a:xfrm>
          <a:prstGeom prst="rect">
            <a:avLst/>
          </a:prstGeom>
          <a:noFill/>
        </p:spPr>
        <p:txBody>
          <a:bodyPr wrap="square" lIns="68577" tIns="34289" rIns="68577" bIns="34289" rtlCol="0">
            <a:spAutoFit/>
          </a:bodyPr>
          <a:lstStyle/>
          <a:p>
            <a:pPr algn="ctr">
              <a:spcBef>
                <a:spcPct val="50000"/>
              </a:spcBef>
              <a:defRPr/>
            </a:pPr>
            <a:r>
              <a:rPr lang="en-US" sz="1800" dirty="0">
                <a:solidFill>
                  <a:srgbClr val="FFFFFF"/>
                </a:solidFill>
              </a:rPr>
              <a:t>Great User Experience</a:t>
            </a:r>
          </a:p>
        </p:txBody>
      </p:sp>
      <p:sp>
        <p:nvSpPr>
          <p:cNvPr id="25" name="TextBox 24"/>
          <p:cNvSpPr txBox="1"/>
          <p:nvPr/>
        </p:nvSpPr>
        <p:spPr>
          <a:xfrm>
            <a:off x="7320981" y="1891108"/>
            <a:ext cx="1629092" cy="623239"/>
          </a:xfrm>
          <a:prstGeom prst="rect">
            <a:avLst/>
          </a:prstGeom>
          <a:noFill/>
        </p:spPr>
        <p:txBody>
          <a:bodyPr wrap="square" lIns="68577" tIns="34289" rIns="68577" bIns="34289" rtlCol="0">
            <a:spAutoFit/>
          </a:bodyPr>
          <a:lstStyle/>
          <a:p>
            <a:pPr algn="ctr">
              <a:spcBef>
                <a:spcPct val="50000"/>
              </a:spcBef>
              <a:defRPr/>
            </a:pPr>
            <a:r>
              <a:rPr lang="en-US" sz="1800" dirty="0">
                <a:solidFill>
                  <a:srgbClr val="FFFFFF"/>
                </a:solidFill>
              </a:rPr>
              <a:t>Scale and Performance</a:t>
            </a:r>
          </a:p>
        </p:txBody>
      </p:sp>
      <p:sp>
        <p:nvSpPr>
          <p:cNvPr id="27" name="TextBox 26"/>
          <p:cNvSpPr txBox="1"/>
          <p:nvPr/>
        </p:nvSpPr>
        <p:spPr>
          <a:xfrm>
            <a:off x="5521715" y="3552421"/>
            <a:ext cx="1680666" cy="623239"/>
          </a:xfrm>
          <a:prstGeom prst="rect">
            <a:avLst/>
          </a:prstGeom>
          <a:noFill/>
        </p:spPr>
        <p:txBody>
          <a:bodyPr wrap="square" lIns="68577" tIns="34289" rIns="68577" bIns="34289" rtlCol="0">
            <a:spAutoFit/>
          </a:bodyPr>
          <a:lstStyle/>
          <a:p>
            <a:pPr algn="ctr">
              <a:spcBef>
                <a:spcPct val="50000"/>
              </a:spcBef>
              <a:defRPr/>
            </a:pPr>
            <a:r>
              <a:rPr lang="en-US" sz="1800" dirty="0">
                <a:solidFill>
                  <a:srgbClr val="FFFFFF"/>
                </a:solidFill>
              </a:rPr>
              <a:t>Enabling New Scenarios</a:t>
            </a:r>
          </a:p>
        </p:txBody>
      </p:sp>
      <p:pic>
        <p:nvPicPr>
          <p:cNvPr id="2" name="Picture 1"/>
          <p:cNvPicPr>
            <a:picLocks noChangeAspect="1"/>
          </p:cNvPicPr>
          <p:nvPr/>
        </p:nvPicPr>
        <p:blipFill rotWithShape="1">
          <a:blip r:embed="rId3" cstate="print">
            <a:extLst>
              <a:ext uri="{28A0092B-C50C-407E-A947-70E740481C1C}">
                <a14:useLocalDpi xmlns:a14="http://schemas.microsoft.com/office/drawing/2010/main" val="0"/>
              </a:ext>
            </a:extLst>
          </a:blip>
          <a:srcRect t="7301" b="29324"/>
          <a:stretch/>
        </p:blipFill>
        <p:spPr>
          <a:xfrm>
            <a:off x="3710619" y="3137298"/>
            <a:ext cx="1680738" cy="1546151"/>
          </a:xfrm>
          <a:prstGeom prst="rect">
            <a:avLst/>
          </a:prstGeom>
        </p:spPr>
      </p:pic>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l="1191" t="8653" r="-1" b="9844"/>
          <a:stretch/>
        </p:blipFill>
        <p:spPr>
          <a:xfrm>
            <a:off x="3710619" y="1482800"/>
            <a:ext cx="1680738" cy="1546151"/>
          </a:xfrm>
          <a:prstGeom prst="rect">
            <a:avLst/>
          </a:prstGeom>
        </p:spPr>
      </p:pic>
      <p:sp>
        <p:nvSpPr>
          <p:cNvPr id="20" name="Rectangle 19"/>
          <p:cNvSpPr/>
          <p:nvPr/>
        </p:nvSpPr>
        <p:spPr>
          <a:xfrm>
            <a:off x="443028" y="270712"/>
            <a:ext cx="8266280" cy="7812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3300" dirty="0">
                <a:solidFill>
                  <a:srgbClr val="FFFFFF"/>
                </a:solidFill>
              </a:rPr>
              <a:t>Enabling the Mobile Workforce:</a:t>
            </a:r>
            <a:br>
              <a:rPr lang="en-US" sz="3300" dirty="0">
                <a:solidFill>
                  <a:srgbClr val="FFFFFF"/>
                </a:solidFill>
              </a:rPr>
            </a:br>
            <a:r>
              <a:rPr lang="en-US" sz="3300" dirty="0">
                <a:solidFill>
                  <a:srgbClr val="FFFFFF"/>
                </a:solidFill>
              </a:rPr>
              <a:t>Unified Remote Access</a:t>
            </a:r>
            <a:endParaRPr lang="en-US" sz="3300" spc="225" dirty="0">
              <a:solidFill>
                <a:prstClr val="white"/>
              </a:solidFill>
            </a:endParaRPr>
          </a:p>
        </p:txBody>
      </p:sp>
      <p:sp>
        <p:nvSpPr>
          <p:cNvPr id="84" name="TextBox 83"/>
          <p:cNvSpPr txBox="1"/>
          <p:nvPr/>
        </p:nvSpPr>
        <p:spPr>
          <a:xfrm>
            <a:off x="139149" y="3653888"/>
            <a:ext cx="1680665" cy="438671"/>
          </a:xfrm>
          <a:prstGeom prst="rect">
            <a:avLst/>
          </a:prstGeom>
          <a:noFill/>
        </p:spPr>
        <p:txBody>
          <a:bodyPr wrap="square" lIns="68675" tIns="34337" rIns="68675" bIns="34337" rtlCol="0">
            <a:spAutoFit/>
          </a:bodyPr>
          <a:lstStyle/>
          <a:p>
            <a:pPr algn="ctr"/>
            <a:r>
              <a:rPr lang="en-US" sz="1200" dirty="0">
                <a:solidFill>
                  <a:srgbClr val="FFFFFF"/>
                </a:solidFill>
                <a:cs typeface="Arial" pitchFamily="34" charset="0"/>
              </a:rPr>
              <a:t>Enhanced authentication</a:t>
            </a:r>
            <a:endParaRPr lang="en-US" sz="1100" dirty="0">
              <a:solidFill>
                <a:srgbClr val="FFFFFF"/>
              </a:solidFill>
            </a:endParaRPr>
          </a:p>
        </p:txBody>
      </p:sp>
      <p:sp>
        <p:nvSpPr>
          <p:cNvPr id="86" name="TextBox 85"/>
          <p:cNvSpPr txBox="1"/>
          <p:nvPr/>
        </p:nvSpPr>
        <p:spPr>
          <a:xfrm>
            <a:off x="290709" y="4203605"/>
            <a:ext cx="1392339" cy="438671"/>
          </a:xfrm>
          <a:prstGeom prst="rect">
            <a:avLst/>
          </a:prstGeom>
          <a:noFill/>
        </p:spPr>
        <p:txBody>
          <a:bodyPr wrap="square" lIns="68675" tIns="34337" rIns="68675" bIns="34337" rtlCol="0">
            <a:spAutoFit/>
          </a:bodyPr>
          <a:lstStyle/>
          <a:p>
            <a:pPr algn="ctr"/>
            <a:r>
              <a:rPr lang="en-US" sz="1200" dirty="0">
                <a:solidFill>
                  <a:srgbClr val="FFFFFF"/>
                </a:solidFill>
                <a:cs typeface="Arial" pitchFamily="34" charset="0"/>
              </a:rPr>
              <a:t>Connect through local server</a:t>
            </a:r>
            <a:endParaRPr lang="en-US" sz="1100" dirty="0">
              <a:solidFill>
                <a:srgbClr val="FFFFFF"/>
              </a:solidFill>
            </a:endParaRPr>
          </a:p>
        </p:txBody>
      </p:sp>
      <p:sp>
        <p:nvSpPr>
          <p:cNvPr id="109" name="Rectangle 108"/>
          <p:cNvSpPr>
            <a:spLocks noChangeAspect="1"/>
          </p:cNvSpPr>
          <p:nvPr/>
        </p:nvSpPr>
        <p:spPr bwMode="auto">
          <a:xfrm>
            <a:off x="5501225" y="1487852"/>
            <a:ext cx="1680666" cy="1546151"/>
          </a:xfrm>
          <a:prstGeom prst="rect">
            <a:avLst/>
          </a:prstGeom>
          <a:solidFill>
            <a:schemeClr val="accent4">
              <a:lumMod val="20000"/>
              <a:lumOff val="80000"/>
              <a:alpha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294" tIns="34294" rIns="34294" bIns="34294" numCol="1" spcCol="0" rtlCol="0" fromWordArt="0" anchor="ctr" anchorCtr="0" forceAA="0" compatLnSpc="1">
            <a:prstTxWarp prst="textNoShape">
              <a:avLst/>
            </a:prstTxWarp>
            <a:noAutofit/>
          </a:bodyPr>
          <a:lstStyle/>
          <a:p>
            <a:pPr algn="ctr" defTabSz="685637" fontAlgn="base">
              <a:spcBef>
                <a:spcPct val="0"/>
              </a:spcBef>
              <a:spcAft>
                <a:spcPct val="0"/>
              </a:spcAft>
            </a:pPr>
            <a:endParaRPr lang="en-US" dirty="0" err="1" smtClean="0">
              <a:solidFill>
                <a:srgbClr val="363535"/>
              </a:solidFill>
              <a:ea typeface="Segoe UI" pitchFamily="34" charset="0"/>
              <a:cs typeface="Segoe UI" pitchFamily="34" charset="0"/>
            </a:endParaRPr>
          </a:p>
        </p:txBody>
      </p:sp>
      <p:sp>
        <p:nvSpPr>
          <p:cNvPr id="112" name="Rectangle 111"/>
          <p:cNvSpPr>
            <a:spLocks noChangeAspect="1"/>
          </p:cNvSpPr>
          <p:nvPr/>
        </p:nvSpPr>
        <p:spPr bwMode="auto">
          <a:xfrm>
            <a:off x="7269866" y="3137299"/>
            <a:ext cx="1680666" cy="1546151"/>
          </a:xfrm>
          <a:prstGeom prst="rect">
            <a:avLst/>
          </a:prstGeom>
          <a:solidFill>
            <a:schemeClr val="accent4">
              <a:lumMod val="20000"/>
              <a:lumOff val="80000"/>
              <a:alpha val="50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34294" tIns="34294" rIns="34294" bIns="34294" numCol="1" spcCol="0" rtlCol="0" fromWordArt="0" anchor="ctr" anchorCtr="0" forceAA="0" compatLnSpc="1">
            <a:prstTxWarp prst="textNoShape">
              <a:avLst/>
            </a:prstTxWarp>
            <a:noAutofit/>
          </a:bodyPr>
          <a:lstStyle/>
          <a:p>
            <a:pPr algn="ctr" defTabSz="685637" fontAlgn="base">
              <a:spcBef>
                <a:spcPct val="0"/>
              </a:spcBef>
              <a:spcAft>
                <a:spcPct val="0"/>
              </a:spcAft>
            </a:pPr>
            <a:endParaRPr lang="en-US" dirty="0" err="1" smtClean="0">
              <a:solidFill>
                <a:srgbClr val="363535"/>
              </a:solidFill>
              <a:ea typeface="Segoe UI" pitchFamily="34" charset="0"/>
              <a:cs typeface="Segoe UI" pitchFamily="34" charset="0"/>
            </a:endParaRPr>
          </a:p>
        </p:txBody>
      </p:sp>
      <p:sp>
        <p:nvSpPr>
          <p:cNvPr id="113" name="TextBox 112"/>
          <p:cNvSpPr txBox="1"/>
          <p:nvPr/>
        </p:nvSpPr>
        <p:spPr>
          <a:xfrm>
            <a:off x="7230437" y="3164483"/>
            <a:ext cx="1759527" cy="438671"/>
          </a:xfrm>
          <a:prstGeom prst="rect">
            <a:avLst/>
          </a:prstGeom>
          <a:noFill/>
        </p:spPr>
        <p:txBody>
          <a:bodyPr wrap="square" lIns="68675" tIns="34337" rIns="68675" bIns="34337" rtlCol="0">
            <a:spAutoFit/>
          </a:bodyPr>
          <a:lstStyle/>
          <a:p>
            <a:pPr algn="ctr"/>
            <a:r>
              <a:rPr lang="en-US" sz="1200" dirty="0">
                <a:solidFill>
                  <a:srgbClr val="FFFFFF"/>
                </a:solidFill>
                <a:cs typeface="Arial" pitchFamily="34" charset="0"/>
              </a:rPr>
              <a:t>High performance in virtual environments</a:t>
            </a:r>
          </a:p>
        </p:txBody>
      </p:sp>
      <p:sp>
        <p:nvSpPr>
          <p:cNvPr id="114" name="TextBox 113"/>
          <p:cNvSpPr txBox="1"/>
          <p:nvPr/>
        </p:nvSpPr>
        <p:spPr>
          <a:xfrm>
            <a:off x="7396271" y="4207670"/>
            <a:ext cx="1504482" cy="438671"/>
          </a:xfrm>
          <a:prstGeom prst="rect">
            <a:avLst/>
          </a:prstGeom>
          <a:noFill/>
        </p:spPr>
        <p:txBody>
          <a:bodyPr wrap="square" lIns="68675" tIns="34337" rIns="68675" bIns="34337" rtlCol="0">
            <a:spAutoFit/>
          </a:bodyPr>
          <a:lstStyle/>
          <a:p>
            <a:pPr algn="ctr"/>
            <a:r>
              <a:rPr lang="en-US" sz="1200" dirty="0">
                <a:solidFill>
                  <a:srgbClr val="FFFFFF"/>
                </a:solidFill>
                <a:cs typeface="Arial" pitchFamily="34" charset="0"/>
              </a:rPr>
              <a:t>Thousands of users per  server</a:t>
            </a:r>
            <a:endParaRPr lang="en-US" sz="1200" dirty="0">
              <a:solidFill>
                <a:srgbClr val="FFFFFF"/>
              </a:solidFill>
            </a:endParaRPr>
          </a:p>
        </p:txBody>
      </p:sp>
      <p:sp>
        <p:nvSpPr>
          <p:cNvPr id="117" name="TextBox 116"/>
          <p:cNvSpPr txBox="1"/>
          <p:nvPr/>
        </p:nvSpPr>
        <p:spPr>
          <a:xfrm>
            <a:off x="7123011" y="3746220"/>
            <a:ext cx="1904999" cy="254005"/>
          </a:xfrm>
          <a:prstGeom prst="rect">
            <a:avLst/>
          </a:prstGeom>
          <a:noFill/>
        </p:spPr>
        <p:txBody>
          <a:bodyPr wrap="square" lIns="68675" tIns="34337" rIns="68675" bIns="34337" rtlCol="0">
            <a:spAutoFit/>
          </a:bodyPr>
          <a:lstStyle/>
          <a:p>
            <a:pPr algn="ctr"/>
            <a:r>
              <a:rPr lang="en-US" sz="1200" dirty="0">
                <a:solidFill>
                  <a:srgbClr val="FFFFFF"/>
                </a:solidFill>
                <a:cs typeface="Arial" pitchFamily="34" charset="0"/>
              </a:rPr>
              <a:t>High availability</a:t>
            </a:r>
            <a:endParaRPr lang="en-US" sz="1200" dirty="0">
              <a:solidFill>
                <a:srgbClr val="FFFFFF"/>
              </a:solidFill>
            </a:endParaRPr>
          </a:p>
        </p:txBody>
      </p:sp>
      <p:sp>
        <p:nvSpPr>
          <p:cNvPr id="39" name="TextBox 38"/>
          <p:cNvSpPr txBox="1"/>
          <p:nvPr/>
        </p:nvSpPr>
        <p:spPr>
          <a:xfrm>
            <a:off x="5394262" y="2112449"/>
            <a:ext cx="1816540" cy="254005"/>
          </a:xfrm>
          <a:prstGeom prst="rect">
            <a:avLst/>
          </a:prstGeom>
          <a:noFill/>
        </p:spPr>
        <p:txBody>
          <a:bodyPr wrap="square" lIns="68675" tIns="34337" rIns="68675" bIns="34337" rtlCol="0">
            <a:spAutoFit/>
          </a:bodyPr>
          <a:lstStyle/>
          <a:p>
            <a:pPr algn="ctr">
              <a:spcAft>
                <a:spcPts val="901"/>
              </a:spcAft>
            </a:pPr>
            <a:r>
              <a:rPr lang="en-US" sz="1200" dirty="0">
                <a:solidFill>
                  <a:srgbClr val="FFFFFF"/>
                </a:solidFill>
                <a:cs typeface="Arial" pitchFamily="34" charset="0"/>
              </a:rPr>
              <a:t>Hybrid Cloud</a:t>
            </a:r>
            <a:endParaRPr lang="en-US" sz="1200" dirty="0">
              <a:solidFill>
                <a:srgbClr val="FFFFFF"/>
              </a:solidFill>
            </a:endParaRPr>
          </a:p>
        </p:txBody>
      </p:sp>
      <p:sp>
        <p:nvSpPr>
          <p:cNvPr id="42" name="TextBox 41"/>
          <p:cNvSpPr txBox="1"/>
          <p:nvPr/>
        </p:nvSpPr>
        <p:spPr>
          <a:xfrm>
            <a:off x="5471400" y="1519528"/>
            <a:ext cx="1651611" cy="438671"/>
          </a:xfrm>
          <a:prstGeom prst="rect">
            <a:avLst/>
          </a:prstGeom>
          <a:noFill/>
        </p:spPr>
        <p:txBody>
          <a:bodyPr wrap="square" lIns="68675" tIns="34337" rIns="68675" bIns="34337" rtlCol="0">
            <a:spAutoFit/>
          </a:bodyPr>
          <a:lstStyle/>
          <a:p>
            <a:pPr algn="ctr">
              <a:spcAft>
                <a:spcPts val="901"/>
              </a:spcAft>
            </a:pPr>
            <a:r>
              <a:rPr lang="en-US" sz="1200" dirty="0">
                <a:solidFill>
                  <a:srgbClr val="FFFFFF"/>
                </a:solidFill>
                <a:cs typeface="Arial" pitchFamily="34" charset="0"/>
              </a:rPr>
              <a:t>Off premise provisioning</a:t>
            </a:r>
            <a:endParaRPr lang="en-US" sz="1200" dirty="0">
              <a:solidFill>
                <a:srgbClr val="FFFFFF"/>
              </a:solidFill>
            </a:endParaRPr>
          </a:p>
        </p:txBody>
      </p:sp>
      <p:sp>
        <p:nvSpPr>
          <p:cNvPr id="44" name="TextBox 43"/>
          <p:cNvSpPr txBox="1"/>
          <p:nvPr/>
        </p:nvSpPr>
        <p:spPr>
          <a:xfrm>
            <a:off x="1912641" y="3603153"/>
            <a:ext cx="1653438" cy="900246"/>
          </a:xfrm>
          <a:prstGeom prst="rect">
            <a:avLst/>
          </a:prstGeom>
          <a:noFill/>
        </p:spPr>
        <p:txBody>
          <a:bodyPr wrap="square" lIns="68577" tIns="34289" rIns="68577" bIns="34289" rtlCol="0">
            <a:spAutoFit/>
          </a:bodyPr>
          <a:lstStyle/>
          <a:p>
            <a:pPr algn="ctr">
              <a:spcBef>
                <a:spcPct val="50000"/>
              </a:spcBef>
              <a:defRPr/>
            </a:pPr>
            <a:r>
              <a:rPr lang="en-US" sz="1800" dirty="0">
                <a:solidFill>
                  <a:srgbClr val="FFFFFF"/>
                </a:solidFill>
              </a:rPr>
              <a:t>Deployment and Monitoring</a:t>
            </a:r>
          </a:p>
        </p:txBody>
      </p:sp>
      <p:sp>
        <p:nvSpPr>
          <p:cNvPr id="45" name="TextBox 44"/>
          <p:cNvSpPr txBox="1"/>
          <p:nvPr/>
        </p:nvSpPr>
        <p:spPr>
          <a:xfrm>
            <a:off x="139148" y="3123846"/>
            <a:ext cx="1715049" cy="438671"/>
          </a:xfrm>
          <a:prstGeom prst="rect">
            <a:avLst/>
          </a:prstGeom>
          <a:noFill/>
        </p:spPr>
        <p:txBody>
          <a:bodyPr wrap="square" lIns="68675" tIns="34337" rIns="68675" bIns="34337" rtlCol="0">
            <a:spAutoFit/>
          </a:bodyPr>
          <a:lstStyle/>
          <a:p>
            <a:pPr algn="ctr"/>
            <a:r>
              <a:rPr lang="en-US" sz="1200" dirty="0">
                <a:solidFill>
                  <a:srgbClr val="FFFFFF"/>
                </a:solidFill>
                <a:cs typeface="Arial" pitchFamily="34" charset="0"/>
              </a:rPr>
              <a:t>Integrated client experience</a:t>
            </a:r>
          </a:p>
        </p:txBody>
      </p:sp>
      <p:sp>
        <p:nvSpPr>
          <p:cNvPr id="91" name="Rectangle 90"/>
          <p:cNvSpPr>
            <a:spLocks noChangeAspect="1"/>
          </p:cNvSpPr>
          <p:nvPr/>
        </p:nvSpPr>
        <p:spPr bwMode="auto">
          <a:xfrm>
            <a:off x="1921694" y="1482800"/>
            <a:ext cx="1680666" cy="1546151"/>
          </a:xfrm>
          <a:prstGeom prst="rect">
            <a:avLst/>
          </a:prstGeom>
          <a:solidFill>
            <a:schemeClr val="accent4">
              <a:lumMod val="20000"/>
              <a:lumOff val="80000"/>
              <a:alpha val="50000"/>
            </a:schemeClr>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34294" tIns="34294" rIns="34294" bIns="34294" numCol="1" spcCol="0" rtlCol="0" fromWordArt="0" anchor="ctr" anchorCtr="0" forceAA="0" compatLnSpc="1">
            <a:prstTxWarp prst="textNoShape">
              <a:avLst/>
            </a:prstTxWarp>
            <a:noAutofit/>
          </a:bodyPr>
          <a:lstStyle/>
          <a:p>
            <a:pPr algn="ctr" defTabSz="685637" fontAlgn="base">
              <a:spcBef>
                <a:spcPct val="0"/>
              </a:spcBef>
              <a:spcAft>
                <a:spcPct val="0"/>
              </a:spcAft>
            </a:pPr>
            <a:endParaRPr lang="en-US" dirty="0" err="1" smtClean="0">
              <a:solidFill>
                <a:srgbClr val="363535"/>
              </a:solidFill>
              <a:ea typeface="Segoe UI" pitchFamily="34" charset="0"/>
              <a:cs typeface="Segoe UI" pitchFamily="34" charset="0"/>
            </a:endParaRPr>
          </a:p>
        </p:txBody>
      </p:sp>
      <p:sp>
        <p:nvSpPr>
          <p:cNvPr id="92" name="TextBox 91"/>
          <p:cNvSpPr txBox="1"/>
          <p:nvPr/>
        </p:nvSpPr>
        <p:spPr>
          <a:xfrm>
            <a:off x="1874336" y="2480002"/>
            <a:ext cx="1781298" cy="438671"/>
          </a:xfrm>
          <a:prstGeom prst="rect">
            <a:avLst/>
          </a:prstGeom>
          <a:noFill/>
        </p:spPr>
        <p:txBody>
          <a:bodyPr wrap="square" lIns="68675" tIns="34337" rIns="68675" bIns="34337" rtlCol="0">
            <a:spAutoFit/>
          </a:bodyPr>
          <a:lstStyle/>
          <a:p>
            <a:pPr algn="ctr" fontAlgn="base">
              <a:spcBef>
                <a:spcPct val="0"/>
              </a:spcBef>
              <a:spcAft>
                <a:spcPct val="0"/>
              </a:spcAft>
            </a:pPr>
            <a:r>
              <a:rPr lang="en-US" sz="1200" dirty="0">
                <a:solidFill>
                  <a:srgbClr val="FFFFFF"/>
                </a:solidFill>
                <a:cs typeface="Arial" pitchFamily="34" charset="0"/>
              </a:rPr>
              <a:t>Reporting and accounting</a:t>
            </a:r>
          </a:p>
        </p:txBody>
      </p:sp>
      <p:sp>
        <p:nvSpPr>
          <p:cNvPr id="93" name="TextBox 92"/>
          <p:cNvSpPr txBox="1"/>
          <p:nvPr/>
        </p:nvSpPr>
        <p:spPr>
          <a:xfrm>
            <a:off x="1882977" y="1519528"/>
            <a:ext cx="1781298" cy="438671"/>
          </a:xfrm>
          <a:prstGeom prst="rect">
            <a:avLst/>
          </a:prstGeom>
          <a:noFill/>
        </p:spPr>
        <p:txBody>
          <a:bodyPr wrap="square" lIns="68675" tIns="34337" rIns="68675" bIns="34337" rtlCol="0">
            <a:spAutoFit/>
          </a:bodyPr>
          <a:lstStyle/>
          <a:p>
            <a:pPr algn="ctr"/>
            <a:r>
              <a:rPr lang="en-US" sz="1200" dirty="0">
                <a:solidFill>
                  <a:srgbClr val="FFFFFF"/>
                </a:solidFill>
                <a:cs typeface="Arial" pitchFamily="34" charset="0"/>
              </a:rPr>
              <a:t>Unified Remote Access management</a:t>
            </a:r>
            <a:endParaRPr lang="en-US" sz="1200" dirty="0">
              <a:solidFill>
                <a:srgbClr val="FFFFFF"/>
              </a:solidFill>
            </a:endParaRPr>
          </a:p>
        </p:txBody>
      </p:sp>
      <p:sp>
        <p:nvSpPr>
          <p:cNvPr id="82" name="TextBox 81"/>
          <p:cNvSpPr txBox="1"/>
          <p:nvPr/>
        </p:nvSpPr>
        <p:spPr>
          <a:xfrm>
            <a:off x="1912642" y="2019954"/>
            <a:ext cx="1666450" cy="438671"/>
          </a:xfrm>
          <a:prstGeom prst="rect">
            <a:avLst/>
          </a:prstGeom>
          <a:noFill/>
        </p:spPr>
        <p:txBody>
          <a:bodyPr wrap="square" lIns="68675" tIns="34337" rIns="68675" bIns="34337" rtlCol="0">
            <a:spAutoFit/>
          </a:bodyPr>
          <a:lstStyle/>
          <a:p>
            <a:pPr algn="ctr"/>
            <a:r>
              <a:rPr lang="en-US" sz="1200" dirty="0">
                <a:solidFill>
                  <a:srgbClr val="FFFFFF"/>
                </a:solidFill>
                <a:cs typeface="Arial" pitchFamily="34" charset="0"/>
              </a:rPr>
              <a:t>Works with existing networks</a:t>
            </a:r>
            <a:endParaRPr lang="en-US" sz="1100" dirty="0">
              <a:solidFill>
                <a:srgbClr val="FFFFFF"/>
              </a:solidFill>
            </a:endParaRPr>
          </a:p>
        </p:txBody>
      </p:sp>
      <p:sp>
        <p:nvSpPr>
          <p:cNvPr id="26" name="TextBox 25"/>
          <p:cNvSpPr txBox="1"/>
          <p:nvPr/>
        </p:nvSpPr>
        <p:spPr>
          <a:xfrm>
            <a:off x="5495955" y="2502383"/>
            <a:ext cx="1686065" cy="438671"/>
          </a:xfrm>
          <a:prstGeom prst="rect">
            <a:avLst/>
          </a:prstGeom>
          <a:noFill/>
        </p:spPr>
        <p:txBody>
          <a:bodyPr wrap="square" lIns="68675" tIns="34337" rIns="68675" bIns="34337" rtlCol="0">
            <a:spAutoFit/>
          </a:bodyPr>
          <a:lstStyle/>
          <a:p>
            <a:pPr algn="ctr">
              <a:spcAft>
                <a:spcPts val="901"/>
              </a:spcAft>
            </a:pPr>
            <a:r>
              <a:rPr lang="en-US" sz="1200" dirty="0">
                <a:solidFill>
                  <a:srgbClr val="FFFFFF"/>
                </a:solidFill>
                <a:cs typeface="Arial" pitchFamily="34" charset="0"/>
              </a:rPr>
              <a:t>VPN interoperability with mobile devices</a:t>
            </a:r>
            <a:endParaRPr lang="en-US" sz="1200" dirty="0">
              <a:solidFill>
                <a:srgbClr val="FFFFFF"/>
              </a:solidFill>
            </a:endParaRPr>
          </a:p>
        </p:txBody>
      </p:sp>
      <p:sp>
        <p:nvSpPr>
          <p:cNvPr id="29"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0"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5"/>
              </a:rPr>
              <a:t>www.rapidbbs.cn</a:t>
            </a:r>
            <a:endParaRPr lang="zh-CN" altLang="en-US" sz="1200" b="0">
              <a:latin typeface="Arial" charset="0"/>
              <a:ea typeface="ＭＳ Ｐゴシック" pitchFamily="34" charset="-128"/>
            </a:endParaRPr>
          </a:p>
        </p:txBody>
      </p:sp>
      <p:pic>
        <p:nvPicPr>
          <p:cNvPr id="31" name="Picture 2">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25746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9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9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9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8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09"/>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9"/>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42"/>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6"/>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5"/>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12"/>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13"/>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14"/>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9" grpId="0"/>
      <p:bldP spid="25" grpId="0"/>
      <p:bldP spid="27" grpId="0"/>
      <p:bldP spid="84" grpId="0"/>
      <p:bldP spid="86" grpId="0"/>
      <p:bldP spid="109" grpId="0" animBg="1"/>
      <p:bldP spid="112" grpId="0" animBg="1"/>
      <p:bldP spid="113" grpId="0"/>
      <p:bldP spid="114" grpId="0"/>
      <p:bldP spid="117" grpId="0"/>
      <p:bldP spid="39" grpId="0"/>
      <p:bldP spid="42" grpId="0"/>
      <p:bldP spid="44" grpId="0"/>
      <p:bldP spid="45" grpId="0"/>
      <p:bldP spid="91" grpId="0" animBg="1"/>
      <p:bldP spid="92" grpId="0"/>
      <p:bldP spid="93" grpId="0"/>
      <p:bldP spid="82" grpId="0"/>
      <p:bldP spid="26" grpId="0"/>
    </p:bldLst>
  </p:timing>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onsistent Customer Feedback</a:t>
            </a:r>
          </a:p>
        </p:txBody>
      </p:sp>
      <p:sp>
        <p:nvSpPr>
          <p:cNvPr id="8" name="Square 1"/>
          <p:cNvSpPr/>
          <p:nvPr/>
        </p:nvSpPr>
        <p:spPr bwMode="auto">
          <a:xfrm>
            <a:off x="720277" y="1085850"/>
            <a:ext cx="1166164" cy="116586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6" tIns="34294" rIns="34294" bIns="68586" numCol="1" spcCol="0" rtlCol="0" fromWordArt="0" anchor="ctr" anchorCtr="0" forceAA="0" compatLnSpc="1">
            <a:prstTxWarp prst="textNoShape">
              <a:avLst/>
            </a:prstTxWarp>
            <a:noAutofit/>
          </a:bodyPr>
          <a:lstStyle/>
          <a:p>
            <a:pPr algn="ctr" defTabSz="685637" fontAlgn="base">
              <a:spcBef>
                <a:spcPct val="0"/>
              </a:spcBef>
              <a:spcAft>
                <a:spcPct val="0"/>
              </a:spcAft>
            </a:pPr>
            <a:endParaRPr lang="en-US" sz="1500" spc="-38" dirty="0">
              <a:gradFill>
                <a:gsLst>
                  <a:gs pos="0">
                    <a:srgbClr val="FFFFFF"/>
                  </a:gs>
                  <a:gs pos="100000">
                    <a:srgbClr val="FFFFFF"/>
                  </a:gs>
                </a:gsLst>
                <a:lin ang="5400000" scaled="0"/>
              </a:gradFill>
              <a:ea typeface="Segoe UI" pitchFamily="34" charset="0"/>
              <a:cs typeface="Segoe UI" pitchFamily="34" charset="0"/>
            </a:endParaRPr>
          </a:p>
        </p:txBody>
      </p:sp>
      <p:pic>
        <p:nvPicPr>
          <p:cNvPr id="50" name="Checkmark 1"/>
          <p:cNvPicPr>
            <a:picLocks noChangeAspect="1" noChangeArrowheads="1"/>
          </p:cNvPicPr>
          <p:nvPr/>
        </p:nvPicPr>
        <p:blipFill>
          <a:blip r:embed="rId2" cstate="email">
            <a:biLevel thresh="50000"/>
            <a:extLst>
              <a:ext uri="{28A0092B-C50C-407E-A947-70E740481C1C}">
                <a14:useLocalDpi xmlns:a14="http://schemas.microsoft.com/office/drawing/2010/main" val="0"/>
              </a:ext>
            </a:extLst>
          </a:blip>
          <a:srcRect/>
          <a:stretch>
            <a:fillRect/>
          </a:stretch>
        </p:blipFill>
        <p:spPr bwMode="auto">
          <a:xfrm>
            <a:off x="914986" y="1316772"/>
            <a:ext cx="776749" cy="7040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5" name="Group 4"/>
          <p:cNvGrpSpPr/>
          <p:nvPr/>
        </p:nvGrpSpPr>
        <p:grpSpPr>
          <a:xfrm>
            <a:off x="1989339" y="1085850"/>
            <a:ext cx="6412709" cy="1165860"/>
            <a:chOff x="2651760" y="1371600"/>
            <a:chExt cx="8548052" cy="1554480"/>
          </a:xfrm>
        </p:grpSpPr>
        <p:sp>
          <p:nvSpPr>
            <p:cNvPr id="9" name="Rectangle 8"/>
            <p:cNvSpPr/>
            <p:nvPr/>
          </p:nvSpPr>
          <p:spPr bwMode="auto">
            <a:xfrm>
              <a:off x="2651760" y="1371600"/>
              <a:ext cx="8548052" cy="15544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r>
                <a:rPr lang="en-US" sz="2400" dirty="0">
                  <a:solidFill>
                    <a:srgbClr val="FFFFFF"/>
                  </a:solidFill>
                </a:rPr>
                <a:t>Less expensive storage solutions</a:t>
              </a:r>
            </a:p>
          </p:txBody>
        </p:sp>
        <p:pic>
          <p:nvPicPr>
            <p:cNvPr id="52" name="Picture 2"/>
            <p:cNvPicPr>
              <a:picLocks noChangeAspect="1" noChangeArrowheads="1"/>
            </p:cNvPicPr>
            <p:nvPr/>
          </p:nvPicPr>
          <p:blipFill>
            <a:blip r:embed="rId3" cstate="email">
              <a:biLevel thresh="50000"/>
              <a:extLst>
                <a:ext uri="{28A0092B-C50C-407E-A947-70E740481C1C}">
                  <a14:useLocalDpi xmlns:a14="http://schemas.microsoft.com/office/drawing/2010/main" val="0"/>
                </a:ext>
              </a:extLst>
            </a:blip>
            <a:srcRect/>
            <a:stretch>
              <a:fillRect/>
            </a:stretch>
          </p:blipFill>
          <p:spPr bwMode="auto">
            <a:xfrm>
              <a:off x="9619572" y="1805232"/>
              <a:ext cx="1199240" cy="6872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54" name="Square 2"/>
          <p:cNvSpPr/>
          <p:nvPr/>
        </p:nvSpPr>
        <p:spPr bwMode="auto">
          <a:xfrm>
            <a:off x="720277" y="2320290"/>
            <a:ext cx="1166164" cy="116586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6" tIns="34294" rIns="34294" bIns="68586" numCol="1" spcCol="0" rtlCol="0" fromWordArt="0" anchor="ctr" anchorCtr="0" forceAA="0" compatLnSpc="1">
            <a:prstTxWarp prst="textNoShape">
              <a:avLst/>
            </a:prstTxWarp>
            <a:noAutofit/>
          </a:bodyPr>
          <a:lstStyle/>
          <a:p>
            <a:pPr algn="ctr" defTabSz="685637" fontAlgn="base">
              <a:spcBef>
                <a:spcPct val="0"/>
              </a:spcBef>
              <a:spcAft>
                <a:spcPct val="0"/>
              </a:spcAft>
            </a:pPr>
            <a:endParaRPr lang="en-US" sz="1500" spc="-38" dirty="0">
              <a:gradFill>
                <a:gsLst>
                  <a:gs pos="0">
                    <a:srgbClr val="FFFFFF"/>
                  </a:gs>
                  <a:gs pos="100000">
                    <a:srgbClr val="FFFFFF"/>
                  </a:gs>
                </a:gsLst>
                <a:lin ang="5400000" scaled="0"/>
              </a:gradFill>
              <a:ea typeface="Segoe UI" pitchFamily="34" charset="0"/>
              <a:cs typeface="Segoe UI" pitchFamily="34" charset="0"/>
            </a:endParaRPr>
          </a:p>
        </p:txBody>
      </p:sp>
      <p:pic>
        <p:nvPicPr>
          <p:cNvPr id="56" name="Checkmark 2"/>
          <p:cNvPicPr>
            <a:picLocks noChangeAspect="1" noChangeArrowheads="1"/>
          </p:cNvPicPr>
          <p:nvPr/>
        </p:nvPicPr>
        <p:blipFill>
          <a:blip r:embed="rId2" cstate="email">
            <a:biLevel thresh="50000"/>
            <a:extLst>
              <a:ext uri="{28A0092B-C50C-407E-A947-70E740481C1C}">
                <a14:useLocalDpi xmlns:a14="http://schemas.microsoft.com/office/drawing/2010/main" val="0"/>
              </a:ext>
            </a:extLst>
          </a:blip>
          <a:srcRect/>
          <a:stretch>
            <a:fillRect/>
          </a:stretch>
        </p:blipFill>
        <p:spPr bwMode="auto">
          <a:xfrm>
            <a:off x="914984" y="2551212"/>
            <a:ext cx="776749" cy="7040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8" name="Square 3"/>
          <p:cNvSpPr/>
          <p:nvPr/>
        </p:nvSpPr>
        <p:spPr bwMode="auto">
          <a:xfrm>
            <a:off x="720277" y="3554730"/>
            <a:ext cx="1166164" cy="116586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6" tIns="34294" rIns="34294" bIns="68586" numCol="1" spcCol="0" rtlCol="0" fromWordArt="0" anchor="ctr" anchorCtr="0" forceAA="0" compatLnSpc="1">
            <a:prstTxWarp prst="textNoShape">
              <a:avLst/>
            </a:prstTxWarp>
            <a:noAutofit/>
          </a:bodyPr>
          <a:lstStyle/>
          <a:p>
            <a:pPr algn="ctr" defTabSz="685637" fontAlgn="base">
              <a:spcBef>
                <a:spcPct val="0"/>
              </a:spcBef>
              <a:spcAft>
                <a:spcPct val="0"/>
              </a:spcAft>
            </a:pPr>
            <a:endParaRPr lang="en-US" sz="1500" spc="-38" dirty="0">
              <a:gradFill>
                <a:gsLst>
                  <a:gs pos="0">
                    <a:srgbClr val="FFFFFF"/>
                  </a:gs>
                  <a:gs pos="100000">
                    <a:srgbClr val="FFFFFF"/>
                  </a:gs>
                </a:gsLst>
                <a:lin ang="5400000" scaled="0"/>
              </a:gradFill>
              <a:ea typeface="Segoe UI" pitchFamily="34" charset="0"/>
              <a:cs typeface="Segoe UI" pitchFamily="34" charset="0"/>
            </a:endParaRPr>
          </a:p>
        </p:txBody>
      </p:sp>
      <p:pic>
        <p:nvPicPr>
          <p:cNvPr id="60" name="Checkmark 3"/>
          <p:cNvPicPr>
            <a:picLocks noChangeAspect="1" noChangeArrowheads="1"/>
          </p:cNvPicPr>
          <p:nvPr/>
        </p:nvPicPr>
        <p:blipFill>
          <a:blip r:embed="rId2" cstate="email">
            <a:biLevel thresh="50000"/>
            <a:extLst>
              <a:ext uri="{28A0092B-C50C-407E-A947-70E740481C1C}">
                <a14:useLocalDpi xmlns:a14="http://schemas.microsoft.com/office/drawing/2010/main" val="0"/>
              </a:ext>
            </a:extLst>
          </a:blip>
          <a:srcRect/>
          <a:stretch>
            <a:fillRect/>
          </a:stretch>
        </p:blipFill>
        <p:spPr bwMode="auto">
          <a:xfrm>
            <a:off x="914986" y="3785652"/>
            <a:ext cx="776749" cy="7040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7" name="Group 6"/>
          <p:cNvGrpSpPr/>
          <p:nvPr/>
        </p:nvGrpSpPr>
        <p:grpSpPr>
          <a:xfrm>
            <a:off x="1989339" y="2320290"/>
            <a:ext cx="6412709" cy="1165860"/>
            <a:chOff x="2651760" y="3017520"/>
            <a:chExt cx="8548052" cy="1554480"/>
          </a:xfrm>
        </p:grpSpPr>
        <p:sp>
          <p:nvSpPr>
            <p:cNvPr id="55" name="Rectangle 54"/>
            <p:cNvSpPr/>
            <p:nvPr/>
          </p:nvSpPr>
          <p:spPr bwMode="auto">
            <a:xfrm>
              <a:off x="2651760" y="3017520"/>
              <a:ext cx="8548052" cy="15544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r>
                <a:rPr lang="en-US" sz="2400" dirty="0">
                  <a:solidFill>
                    <a:srgbClr val="FFFFFF"/>
                  </a:solidFill>
                </a:rPr>
                <a:t>File-based access storage option</a:t>
              </a:r>
            </a:p>
          </p:txBody>
        </p:sp>
        <p:pic>
          <p:nvPicPr>
            <p:cNvPr id="51" name="Picture 4"/>
            <p:cNvPicPr>
              <a:picLocks noChangeAspect="1" noChangeArrowheads="1"/>
            </p:cNvPicPr>
            <p:nvPr/>
          </p:nvPicPr>
          <p:blipFill>
            <a:blip r:embed="rId4" cstate="email">
              <a:biLevel thresh="50000"/>
              <a:extLst>
                <a:ext uri="{28A0092B-C50C-407E-A947-70E740481C1C}">
                  <a14:useLocalDpi xmlns:a14="http://schemas.microsoft.com/office/drawing/2010/main" val="0"/>
                </a:ext>
              </a:extLst>
            </a:blip>
            <a:srcRect/>
            <a:stretch>
              <a:fillRect/>
            </a:stretch>
          </p:blipFill>
          <p:spPr bwMode="auto">
            <a:xfrm>
              <a:off x="9600185" y="3372798"/>
              <a:ext cx="1218627" cy="8439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0" name="Group 9"/>
          <p:cNvGrpSpPr/>
          <p:nvPr/>
        </p:nvGrpSpPr>
        <p:grpSpPr>
          <a:xfrm>
            <a:off x="1989339" y="3554730"/>
            <a:ext cx="6412709" cy="1165860"/>
            <a:chOff x="2651760" y="4663440"/>
            <a:chExt cx="8548052" cy="1554480"/>
          </a:xfrm>
        </p:grpSpPr>
        <p:sp>
          <p:nvSpPr>
            <p:cNvPr id="59" name="Rectangle 58"/>
            <p:cNvSpPr/>
            <p:nvPr/>
          </p:nvSpPr>
          <p:spPr bwMode="auto">
            <a:xfrm>
              <a:off x="2651760" y="4663440"/>
              <a:ext cx="8548052" cy="15544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r>
                <a:rPr lang="en-US" sz="2400" dirty="0">
                  <a:solidFill>
                    <a:srgbClr val="FFFFFF"/>
                  </a:solidFill>
                </a:rPr>
                <a:t>Reliability &amp; continuous availability</a:t>
              </a:r>
            </a:p>
          </p:txBody>
        </p:sp>
        <p:pic>
          <p:nvPicPr>
            <p:cNvPr id="53" name="Picture 2"/>
            <p:cNvPicPr>
              <a:picLocks noChangeAspect="1" noChangeArrowheads="1"/>
            </p:cNvPicPr>
            <p:nvPr/>
          </p:nvPicPr>
          <p:blipFill>
            <a:blip r:embed="rId5" cstate="email">
              <a:biLevel thresh="50000"/>
              <a:extLst>
                <a:ext uri="{28A0092B-C50C-407E-A947-70E740481C1C}">
                  <a14:useLocalDpi xmlns:a14="http://schemas.microsoft.com/office/drawing/2010/main" val="0"/>
                </a:ext>
              </a:extLst>
            </a:blip>
            <a:srcRect/>
            <a:stretch>
              <a:fillRect/>
            </a:stretch>
          </p:blipFill>
          <p:spPr bwMode="auto">
            <a:xfrm>
              <a:off x="9530186" y="4996798"/>
              <a:ext cx="1441026" cy="887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8"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9"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6"/>
              </a:rPr>
              <a:t>www.rapidbbs.cn</a:t>
            </a:r>
            <a:endParaRPr lang="zh-CN" altLang="en-US" sz="1200" b="0">
              <a:latin typeface="Arial" charset="0"/>
              <a:ea typeface="ＭＳ Ｐゴシック" pitchFamily="34" charset="-128"/>
            </a:endParaRPr>
          </a:p>
        </p:txBody>
      </p:sp>
      <p:pic>
        <p:nvPicPr>
          <p:cNvPr id="20" name="Picture 2">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280206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53" presetClass="entr" presetSubtype="16" fill="hold" nodeType="afterEffect">
                                  <p:stCondLst>
                                    <p:cond delay="0"/>
                                  </p:stCondLst>
                                  <p:childTnLst>
                                    <p:set>
                                      <p:cBhvr>
                                        <p:cTn id="10" dur="1" fill="hold">
                                          <p:stCondLst>
                                            <p:cond delay="0"/>
                                          </p:stCondLst>
                                        </p:cTn>
                                        <p:tgtEl>
                                          <p:spTgt spid="50"/>
                                        </p:tgtEl>
                                        <p:attrNameLst>
                                          <p:attrName>style.visibility</p:attrName>
                                        </p:attrNameLst>
                                      </p:cBhvr>
                                      <p:to>
                                        <p:strVal val="visible"/>
                                      </p:to>
                                    </p:set>
                                    <p:anim calcmode="lin" valueType="num">
                                      <p:cBhvr>
                                        <p:cTn id="11" dur="500" fill="hold"/>
                                        <p:tgtEl>
                                          <p:spTgt spid="50"/>
                                        </p:tgtEl>
                                        <p:attrNameLst>
                                          <p:attrName>ppt_w</p:attrName>
                                        </p:attrNameLst>
                                      </p:cBhvr>
                                      <p:tavLst>
                                        <p:tav tm="0">
                                          <p:val>
                                            <p:fltVal val="0"/>
                                          </p:val>
                                        </p:tav>
                                        <p:tav tm="100000">
                                          <p:val>
                                            <p:strVal val="#ppt_w"/>
                                          </p:val>
                                        </p:tav>
                                      </p:tavLst>
                                    </p:anim>
                                    <p:anim calcmode="lin" valueType="num">
                                      <p:cBhvr>
                                        <p:cTn id="12" dur="500" fill="hold"/>
                                        <p:tgtEl>
                                          <p:spTgt spid="50"/>
                                        </p:tgtEl>
                                        <p:attrNameLst>
                                          <p:attrName>ppt_h</p:attrName>
                                        </p:attrNameLst>
                                      </p:cBhvr>
                                      <p:tavLst>
                                        <p:tav tm="0">
                                          <p:val>
                                            <p:fltVal val="0"/>
                                          </p:val>
                                        </p:tav>
                                        <p:tav tm="100000">
                                          <p:val>
                                            <p:strVal val="#ppt_h"/>
                                          </p:val>
                                        </p:tav>
                                      </p:tavLst>
                                    </p:anim>
                                    <p:animEffect transition="in" filter="fade">
                                      <p:cBhvr>
                                        <p:cTn id="13" dur="500"/>
                                        <p:tgtEl>
                                          <p:spTgt spid="5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54"/>
                                        </p:tgtEl>
                                        <p:attrNameLst>
                                          <p:attrName>style.visibility</p:attrName>
                                        </p:attrNameLst>
                                      </p:cBhvr>
                                      <p:to>
                                        <p:strVal val="visible"/>
                                      </p:to>
                                    </p:set>
                                    <p:animEffect transition="in" filter="fade">
                                      <p:cBhvr>
                                        <p:cTn id="16" dur="500"/>
                                        <p:tgtEl>
                                          <p:spTgt spid="54"/>
                                        </p:tgtEl>
                                      </p:cBhvr>
                                    </p:animEffect>
                                  </p:childTnLst>
                                </p:cTn>
                              </p:par>
                            </p:childTnLst>
                          </p:cTn>
                        </p:par>
                        <p:par>
                          <p:cTn id="17" fill="hold">
                            <p:stCondLst>
                              <p:cond delay="1000"/>
                            </p:stCondLst>
                            <p:childTnLst>
                              <p:par>
                                <p:cTn id="18" presetID="10" presetClass="entr" presetSubtype="0" fill="hold" nodeType="afterEffect">
                                  <p:stCondLst>
                                    <p:cond delay="0"/>
                                  </p:stCondLst>
                                  <p:childTnLst>
                                    <p:set>
                                      <p:cBhvr>
                                        <p:cTn id="19" dur="1" fill="hold">
                                          <p:stCondLst>
                                            <p:cond delay="0"/>
                                          </p:stCondLst>
                                        </p:cTn>
                                        <p:tgtEl>
                                          <p:spTgt spid="56"/>
                                        </p:tgtEl>
                                        <p:attrNameLst>
                                          <p:attrName>style.visibility</p:attrName>
                                        </p:attrNameLst>
                                      </p:cBhvr>
                                      <p:to>
                                        <p:strVal val="visible"/>
                                      </p:to>
                                    </p:set>
                                    <p:animEffect transition="in" filter="fade">
                                      <p:cBhvr>
                                        <p:cTn id="20" dur="500"/>
                                        <p:tgtEl>
                                          <p:spTgt spid="56"/>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8"/>
                                        </p:tgtEl>
                                        <p:attrNameLst>
                                          <p:attrName>style.visibility</p:attrName>
                                        </p:attrNameLst>
                                      </p:cBhvr>
                                      <p:to>
                                        <p:strVal val="visible"/>
                                      </p:to>
                                    </p:set>
                                    <p:animEffect transition="in" filter="fade">
                                      <p:cBhvr>
                                        <p:cTn id="23" dur="500"/>
                                        <p:tgtEl>
                                          <p:spTgt spid="58"/>
                                        </p:tgtEl>
                                      </p:cBhvr>
                                    </p:animEffect>
                                  </p:childTnLst>
                                </p:cTn>
                              </p:par>
                            </p:childTnLst>
                          </p:cTn>
                        </p:par>
                        <p:par>
                          <p:cTn id="24" fill="hold">
                            <p:stCondLst>
                              <p:cond delay="1500"/>
                            </p:stCondLst>
                            <p:childTnLst>
                              <p:par>
                                <p:cTn id="25" presetID="53" presetClass="entr" presetSubtype="16" fill="hold" nodeType="afterEffect">
                                  <p:stCondLst>
                                    <p:cond delay="0"/>
                                  </p:stCondLst>
                                  <p:childTnLst>
                                    <p:set>
                                      <p:cBhvr>
                                        <p:cTn id="26" dur="1" fill="hold">
                                          <p:stCondLst>
                                            <p:cond delay="0"/>
                                          </p:stCondLst>
                                        </p:cTn>
                                        <p:tgtEl>
                                          <p:spTgt spid="60"/>
                                        </p:tgtEl>
                                        <p:attrNameLst>
                                          <p:attrName>style.visibility</p:attrName>
                                        </p:attrNameLst>
                                      </p:cBhvr>
                                      <p:to>
                                        <p:strVal val="visible"/>
                                      </p:to>
                                    </p:set>
                                    <p:anim calcmode="lin" valueType="num">
                                      <p:cBhvr>
                                        <p:cTn id="27" dur="500" fill="hold"/>
                                        <p:tgtEl>
                                          <p:spTgt spid="60"/>
                                        </p:tgtEl>
                                        <p:attrNameLst>
                                          <p:attrName>ppt_w</p:attrName>
                                        </p:attrNameLst>
                                      </p:cBhvr>
                                      <p:tavLst>
                                        <p:tav tm="0">
                                          <p:val>
                                            <p:fltVal val="0"/>
                                          </p:val>
                                        </p:tav>
                                        <p:tav tm="100000">
                                          <p:val>
                                            <p:strVal val="#ppt_w"/>
                                          </p:val>
                                        </p:tav>
                                      </p:tavLst>
                                    </p:anim>
                                    <p:anim calcmode="lin" valueType="num">
                                      <p:cBhvr>
                                        <p:cTn id="28" dur="500" fill="hold"/>
                                        <p:tgtEl>
                                          <p:spTgt spid="60"/>
                                        </p:tgtEl>
                                        <p:attrNameLst>
                                          <p:attrName>ppt_h</p:attrName>
                                        </p:attrNameLst>
                                      </p:cBhvr>
                                      <p:tavLst>
                                        <p:tav tm="0">
                                          <p:val>
                                            <p:fltVal val="0"/>
                                          </p:val>
                                        </p:tav>
                                        <p:tav tm="100000">
                                          <p:val>
                                            <p:strVal val="#ppt_h"/>
                                          </p:val>
                                        </p:tav>
                                      </p:tavLst>
                                    </p:anim>
                                    <p:animEffect transition="in" filter="fade">
                                      <p:cBhvr>
                                        <p:cTn id="29" dur="500"/>
                                        <p:tgtEl>
                                          <p:spTgt spid="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54" grpId="0" animBg="1"/>
      <p:bldP spid="58"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48" y="171459"/>
            <a:ext cx="8363938" cy="1371145"/>
          </a:xfrm>
        </p:spPr>
        <p:txBody>
          <a:bodyPr/>
          <a:lstStyle/>
          <a:p>
            <a:r>
              <a:rPr lang="en-US" sz="3600" dirty="0"/>
              <a:t>Public Cloud </a:t>
            </a:r>
            <a:br>
              <a:rPr lang="en-US" sz="3600" dirty="0"/>
            </a:br>
            <a:r>
              <a:rPr lang="en-US" sz="2700" dirty="0">
                <a:gradFill>
                  <a:gsLst>
                    <a:gs pos="0">
                      <a:schemeClr val="accent1"/>
                    </a:gs>
                    <a:gs pos="100000">
                      <a:schemeClr val="accent1"/>
                    </a:gs>
                  </a:gsLst>
                  <a:lin ang="5400000" scaled="0"/>
                </a:gradFill>
                <a:latin typeface="+mn-lt"/>
              </a:rPr>
              <a:t>Common Use Case Scenarios *</a:t>
            </a:r>
            <a:r>
              <a:rPr lang="en-US" sz="3800" dirty="0">
                <a:solidFill>
                  <a:schemeClr val="accent2">
                    <a:lumMod val="60000"/>
                    <a:lumOff val="40000"/>
                    <a:alpha val="99000"/>
                  </a:schemeClr>
                </a:solidFill>
                <a:latin typeface="Segoe UI Light"/>
              </a:rPr>
              <a:t/>
            </a:r>
            <a:br>
              <a:rPr lang="en-US" sz="3800" dirty="0">
                <a:solidFill>
                  <a:schemeClr val="accent2">
                    <a:lumMod val="60000"/>
                    <a:lumOff val="40000"/>
                    <a:alpha val="99000"/>
                  </a:schemeClr>
                </a:solidFill>
                <a:latin typeface="Segoe UI Light"/>
              </a:rPr>
            </a:br>
            <a:endParaRPr lang="en-US" sz="3600" dirty="0"/>
          </a:p>
        </p:txBody>
      </p:sp>
      <p:sp>
        <p:nvSpPr>
          <p:cNvPr id="39" name="Rectangle 38"/>
          <p:cNvSpPr/>
          <p:nvPr/>
        </p:nvSpPr>
        <p:spPr>
          <a:xfrm>
            <a:off x="1805914" y="3813089"/>
            <a:ext cx="1341564" cy="829851"/>
          </a:xfrm>
          <a:prstGeom prst="rect">
            <a:avLst/>
          </a:prstGeom>
          <a:noFill/>
          <a:ln w="25400" cap="flat" cmpd="sng" algn="ctr">
            <a:noFill/>
            <a:prstDash val="solid"/>
          </a:ln>
          <a:effectLst/>
        </p:spPr>
        <p:txBody>
          <a:bodyPr lIns="0" tIns="45656" rIns="91313" bIns="45656" anchor="t"/>
          <a:lstStyle/>
          <a:p>
            <a:pPr algn="ctr" defTabSz="684885"/>
            <a:endParaRPr lang="en-US" sz="1700" kern="0" spc="-38" dirty="0">
              <a:solidFill>
                <a:srgbClr val="FFFFFF">
                  <a:alpha val="99000"/>
                </a:srgbClr>
              </a:solidFill>
              <a:latin typeface="Segoe UI Light" pitchFamily="34" charset="0"/>
            </a:endParaRPr>
          </a:p>
        </p:txBody>
      </p:sp>
      <p:grpSp>
        <p:nvGrpSpPr>
          <p:cNvPr id="7" name="Group 6"/>
          <p:cNvGrpSpPr/>
          <p:nvPr/>
        </p:nvGrpSpPr>
        <p:grpSpPr>
          <a:xfrm>
            <a:off x="302703" y="1167805"/>
            <a:ext cx="8517032" cy="3027581"/>
            <a:chOff x="413436" y="1636577"/>
            <a:chExt cx="11353085" cy="4036775"/>
          </a:xfrm>
        </p:grpSpPr>
        <p:sp>
          <p:nvSpPr>
            <p:cNvPr id="4" name="Rectangle 3"/>
            <p:cNvSpPr/>
            <p:nvPr/>
          </p:nvSpPr>
          <p:spPr bwMode="auto">
            <a:xfrm>
              <a:off x="413436" y="1636577"/>
              <a:ext cx="1790234" cy="1409700"/>
            </a:xfrm>
            <a:prstGeom prst="rect">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t" anchorCtr="0" forceAA="0" compatLnSpc="1">
              <a:prstTxWarp prst="textNoShape">
                <a:avLst/>
              </a:prstTxWarp>
              <a:noAutofit/>
            </a:bodyPr>
            <a:lstStyle/>
            <a:p>
              <a:pPr defTabSz="913210">
                <a:defRPr/>
              </a:pPr>
              <a:r>
                <a:rPr lang="en-US" sz="1500" spc="-40" dirty="0">
                  <a:gradFill>
                    <a:gsLst>
                      <a:gs pos="0">
                        <a:schemeClr val="tx1"/>
                      </a:gs>
                      <a:gs pos="100000">
                        <a:schemeClr val="tx1"/>
                      </a:gs>
                    </a:gsLst>
                    <a:lin ang="5400000" scaled="0"/>
                  </a:gradFill>
                  <a:ea typeface="Segoe UI" pitchFamily="34" charset="0"/>
                  <a:cs typeface="Segoe UI" pitchFamily="34" charset="0"/>
                </a:rPr>
                <a:t>Cloud</a:t>
              </a:r>
            </a:p>
            <a:p>
              <a:pPr defTabSz="913210">
                <a:defRPr/>
              </a:pPr>
              <a:r>
                <a:rPr lang="en-US" sz="1500" spc="-40" dirty="0">
                  <a:gradFill>
                    <a:gsLst>
                      <a:gs pos="0">
                        <a:schemeClr val="tx1"/>
                      </a:gs>
                      <a:gs pos="100000">
                        <a:schemeClr val="tx1"/>
                      </a:gs>
                    </a:gsLst>
                    <a:lin ang="5400000" scaled="0"/>
                  </a:gradFill>
                  <a:ea typeface="Segoe UI" pitchFamily="34" charset="0"/>
                  <a:cs typeface="Segoe UI" pitchFamily="34" charset="0"/>
                </a:rPr>
                <a:t>Native</a:t>
              </a:r>
            </a:p>
            <a:p>
              <a:pPr defTabSz="913210">
                <a:defRPr/>
              </a:pPr>
              <a:r>
                <a:rPr lang="en-US" sz="1500" spc="-40" dirty="0">
                  <a:gradFill>
                    <a:gsLst>
                      <a:gs pos="0">
                        <a:schemeClr val="tx1"/>
                      </a:gs>
                      <a:gs pos="100000">
                        <a:schemeClr val="tx1"/>
                      </a:gs>
                    </a:gsLst>
                    <a:lin ang="5400000" scaled="0"/>
                  </a:gradFill>
                  <a:ea typeface="Segoe UI" pitchFamily="34" charset="0"/>
                  <a:cs typeface="Segoe UI" pitchFamily="34" charset="0"/>
                </a:rPr>
                <a:t>Applications</a:t>
              </a:r>
            </a:p>
          </p:txBody>
        </p:sp>
        <p:sp>
          <p:nvSpPr>
            <p:cNvPr id="5" name="Rectangle 4"/>
            <p:cNvSpPr/>
            <p:nvPr/>
          </p:nvSpPr>
          <p:spPr>
            <a:xfrm>
              <a:off x="413436" y="3166571"/>
              <a:ext cx="1790234" cy="1409700"/>
            </a:xfrm>
            <a:prstGeom prst="rect">
              <a:avLst/>
            </a:prstGeom>
            <a:solidFill>
              <a:schemeClr val="accent5">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t" anchorCtr="0" forceAA="0" compatLnSpc="1">
              <a:prstTxWarp prst="textNoShape">
                <a:avLst/>
              </a:prstTxWarp>
              <a:noAutofit/>
            </a:bodyPr>
            <a:lstStyle/>
            <a:p>
              <a:pPr defTabSz="913210"/>
              <a:r>
                <a:rPr lang="en-US" sz="1500" spc="-40" dirty="0">
                  <a:gradFill>
                    <a:gsLst>
                      <a:gs pos="0">
                        <a:schemeClr val="bg1"/>
                      </a:gs>
                      <a:gs pos="100000">
                        <a:schemeClr val="bg1"/>
                      </a:gs>
                    </a:gsLst>
                    <a:lin ang="5400000" scaled="0"/>
                  </a:gradFill>
                  <a:ea typeface="Segoe UI" pitchFamily="34" charset="0"/>
                  <a:cs typeface="Segoe UI" pitchFamily="34" charset="0"/>
                </a:rPr>
                <a:t>Architected specifically </a:t>
              </a:r>
              <a:br>
                <a:rPr lang="en-US" sz="1500" spc="-40" dirty="0">
                  <a:gradFill>
                    <a:gsLst>
                      <a:gs pos="0">
                        <a:schemeClr val="bg1"/>
                      </a:gs>
                      <a:gs pos="100000">
                        <a:schemeClr val="bg1"/>
                      </a:gs>
                    </a:gsLst>
                    <a:lin ang="5400000" scaled="0"/>
                  </a:gradFill>
                  <a:ea typeface="Segoe UI" pitchFamily="34" charset="0"/>
                  <a:cs typeface="Segoe UI" pitchFamily="34" charset="0"/>
                </a:rPr>
              </a:br>
              <a:r>
                <a:rPr lang="en-US" sz="1500" spc="-40" dirty="0">
                  <a:gradFill>
                    <a:gsLst>
                      <a:gs pos="0">
                        <a:schemeClr val="bg1"/>
                      </a:gs>
                      <a:gs pos="100000">
                        <a:schemeClr val="bg1"/>
                      </a:gs>
                    </a:gsLst>
                    <a:lin ang="5400000" scaled="0"/>
                  </a:gradFill>
                  <a:ea typeface="Segoe UI" pitchFamily="34" charset="0"/>
                  <a:cs typeface="Segoe UI" pitchFamily="34" charset="0"/>
                </a:rPr>
                <a:t>for cloud</a:t>
              </a:r>
            </a:p>
          </p:txBody>
        </p:sp>
        <p:sp>
          <p:nvSpPr>
            <p:cNvPr id="8" name="Rectangle 7"/>
            <p:cNvSpPr/>
            <p:nvPr/>
          </p:nvSpPr>
          <p:spPr bwMode="auto">
            <a:xfrm>
              <a:off x="4238577" y="1636577"/>
              <a:ext cx="1790234" cy="1409700"/>
            </a:xfrm>
            <a:prstGeom prst="rect">
              <a:avLst/>
            </a:prstGeom>
            <a:solidFill>
              <a:schemeClr val="accent3"/>
            </a:solidFill>
            <a:effectLst/>
          </p:spPr>
          <p:txBody>
            <a:bodyPr lIns="114164" tIns="114164" rIns="114164" bIns="152217" anchor="t" anchorCtr="0">
              <a:noAutofit/>
            </a:bodyPr>
            <a:lstStyle/>
            <a:p>
              <a:pPr defTabSz="913210">
                <a:defRPr/>
              </a:pPr>
              <a:r>
                <a:rPr lang="en-US" sz="1500" spc="-40" dirty="0">
                  <a:gradFill>
                    <a:gsLst>
                      <a:gs pos="0">
                        <a:schemeClr val="tx1"/>
                      </a:gs>
                      <a:gs pos="100000">
                        <a:schemeClr val="tx1"/>
                      </a:gs>
                    </a:gsLst>
                    <a:lin ang="5400000" scaled="0"/>
                  </a:gradFill>
                  <a:ea typeface="Segoe UI" pitchFamily="34" charset="0"/>
                  <a:cs typeface="Segoe UI" pitchFamily="34" charset="0"/>
                </a:rPr>
                <a:t>E-business</a:t>
              </a:r>
            </a:p>
            <a:p>
              <a:pPr defTabSz="913210">
                <a:defRPr/>
              </a:pPr>
              <a:r>
                <a:rPr lang="en-US" sz="1500" spc="-40" dirty="0">
                  <a:gradFill>
                    <a:gsLst>
                      <a:gs pos="0">
                        <a:schemeClr val="tx1"/>
                      </a:gs>
                      <a:gs pos="100000">
                        <a:schemeClr val="tx1"/>
                      </a:gs>
                    </a:gsLst>
                    <a:lin ang="5400000" scaled="0"/>
                  </a:gradFill>
                  <a:ea typeface="Segoe UI" pitchFamily="34" charset="0"/>
                  <a:cs typeface="Segoe UI" pitchFamily="34" charset="0"/>
                </a:rPr>
                <a:t>Hosting and Applications</a:t>
              </a:r>
            </a:p>
          </p:txBody>
        </p:sp>
        <p:sp>
          <p:nvSpPr>
            <p:cNvPr id="9" name="Rectangle 8"/>
            <p:cNvSpPr/>
            <p:nvPr/>
          </p:nvSpPr>
          <p:spPr>
            <a:xfrm>
              <a:off x="4238577" y="3166571"/>
              <a:ext cx="1790234" cy="1409700"/>
            </a:xfrm>
            <a:prstGeom prst="rect">
              <a:avLst/>
            </a:prstGeom>
            <a:solidFill>
              <a:schemeClr val="accent3">
                <a:lumMod val="20000"/>
                <a:lumOff val="80000"/>
              </a:schemeClr>
            </a:solidFill>
            <a:effectLst/>
          </p:spPr>
          <p:txBody>
            <a:bodyPr lIns="114164" tIns="114164" rIns="114164" bIns="152217" anchor="t" anchorCtr="0">
              <a:noAutofit/>
            </a:bodyPr>
            <a:lstStyle/>
            <a:p>
              <a:pPr defTabSz="913210"/>
              <a:r>
                <a:rPr lang="en-US" sz="1500" spc="-40" dirty="0">
                  <a:gradFill>
                    <a:gsLst>
                      <a:gs pos="0">
                        <a:schemeClr val="bg1"/>
                      </a:gs>
                      <a:gs pos="100000">
                        <a:schemeClr val="bg1"/>
                      </a:gs>
                    </a:gsLst>
                    <a:lin ang="5400000" scaled="0"/>
                  </a:gradFill>
                  <a:ea typeface="Segoe UI" pitchFamily="34" charset="0"/>
                  <a:cs typeface="Segoe UI" pitchFamily="34" charset="0"/>
                </a:rPr>
                <a:t>SaaS Apps, Commerce Sites</a:t>
              </a:r>
            </a:p>
          </p:txBody>
        </p:sp>
        <p:sp>
          <p:nvSpPr>
            <p:cNvPr id="12" name="Rectangle 11"/>
            <p:cNvSpPr/>
            <p:nvPr/>
          </p:nvSpPr>
          <p:spPr bwMode="auto">
            <a:xfrm>
              <a:off x="6151147" y="1636577"/>
              <a:ext cx="1790234" cy="1409700"/>
            </a:xfrm>
            <a:prstGeom prst="rect">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t" anchorCtr="0" forceAA="0" compatLnSpc="1">
              <a:prstTxWarp prst="textNoShape">
                <a:avLst/>
              </a:prstTxWarp>
              <a:noAutofit/>
            </a:bodyPr>
            <a:lstStyle/>
            <a:p>
              <a:pPr defTabSz="913210">
                <a:defRPr/>
              </a:pPr>
              <a:r>
                <a:rPr lang="en-US" sz="1500" spc="-40" dirty="0">
                  <a:gradFill>
                    <a:gsLst>
                      <a:gs pos="0">
                        <a:schemeClr val="tx1"/>
                      </a:gs>
                      <a:gs pos="100000">
                        <a:schemeClr val="tx1"/>
                      </a:gs>
                    </a:gsLst>
                    <a:lin ang="5400000" scaled="0"/>
                  </a:gradFill>
                  <a:ea typeface="Segoe UI" pitchFamily="34" charset="0"/>
                  <a:cs typeface="Segoe UI" pitchFamily="34" charset="0"/>
                </a:rPr>
                <a:t>Test</a:t>
              </a:r>
            </a:p>
            <a:p>
              <a:pPr defTabSz="913210">
                <a:defRPr/>
              </a:pPr>
              <a:r>
                <a:rPr lang="en-US" sz="1500" spc="-40" dirty="0">
                  <a:gradFill>
                    <a:gsLst>
                      <a:gs pos="0">
                        <a:schemeClr val="tx1"/>
                      </a:gs>
                      <a:gs pos="100000">
                        <a:schemeClr val="tx1"/>
                      </a:gs>
                    </a:gsLst>
                    <a:lin ang="5400000" scaled="0"/>
                  </a:gradFill>
                  <a:ea typeface="Segoe UI" pitchFamily="34" charset="0"/>
                  <a:cs typeface="Segoe UI" pitchFamily="34" charset="0"/>
                </a:rPr>
                <a:t>Development Prototyping</a:t>
              </a:r>
            </a:p>
          </p:txBody>
        </p:sp>
        <p:sp>
          <p:nvSpPr>
            <p:cNvPr id="13" name="Rectangle 12"/>
            <p:cNvSpPr/>
            <p:nvPr/>
          </p:nvSpPr>
          <p:spPr>
            <a:xfrm>
              <a:off x="6151147" y="3166571"/>
              <a:ext cx="1790234" cy="1409700"/>
            </a:xfrm>
            <a:prstGeom prst="rect">
              <a:avLst/>
            </a:prstGeom>
            <a:solidFill>
              <a:schemeClr val="accent5">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t" anchorCtr="0" forceAA="0" compatLnSpc="1">
              <a:prstTxWarp prst="textNoShape">
                <a:avLst/>
              </a:prstTxWarp>
              <a:noAutofit/>
            </a:bodyPr>
            <a:lstStyle/>
            <a:p>
              <a:pPr defTabSz="913210"/>
              <a:r>
                <a:rPr lang="en-US" sz="1500" spc="-40" dirty="0">
                  <a:gradFill>
                    <a:gsLst>
                      <a:gs pos="0">
                        <a:schemeClr val="bg1"/>
                      </a:gs>
                      <a:gs pos="100000">
                        <a:schemeClr val="bg1"/>
                      </a:gs>
                    </a:gsLst>
                    <a:lin ang="5400000" scaled="0"/>
                  </a:gradFill>
                  <a:ea typeface="Segoe UI" pitchFamily="34" charset="0"/>
                  <a:cs typeface="Segoe UI" pitchFamily="34" charset="0"/>
                </a:rPr>
                <a:t>Project oriented resourcing, timing</a:t>
              </a:r>
            </a:p>
          </p:txBody>
        </p:sp>
        <p:sp>
          <p:nvSpPr>
            <p:cNvPr id="16" name="Rectangle 15"/>
            <p:cNvSpPr/>
            <p:nvPr/>
          </p:nvSpPr>
          <p:spPr bwMode="auto">
            <a:xfrm>
              <a:off x="2326006" y="1636577"/>
              <a:ext cx="1790234" cy="1409700"/>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t" anchorCtr="0" forceAA="0" compatLnSpc="1">
              <a:prstTxWarp prst="textNoShape">
                <a:avLst/>
              </a:prstTxWarp>
              <a:noAutofit/>
            </a:bodyPr>
            <a:lstStyle/>
            <a:p>
              <a:pPr defTabSz="913210">
                <a:defRPr/>
              </a:pPr>
              <a:r>
                <a:rPr lang="en-US" sz="1500" spc="-40" dirty="0">
                  <a:gradFill>
                    <a:gsLst>
                      <a:gs pos="0">
                        <a:schemeClr val="tx1"/>
                      </a:gs>
                      <a:gs pos="100000">
                        <a:schemeClr val="tx1"/>
                      </a:gs>
                    </a:gsLst>
                    <a:lin ang="5400000" scaled="0"/>
                  </a:gradFill>
                  <a:ea typeface="Segoe UI" pitchFamily="34" charset="0"/>
                  <a:cs typeface="Segoe UI" pitchFamily="34" charset="0"/>
                </a:rPr>
                <a:t>Web</a:t>
              </a:r>
            </a:p>
            <a:p>
              <a:pPr defTabSz="913210">
                <a:defRPr/>
              </a:pPr>
              <a:r>
                <a:rPr lang="en-US" sz="1500" spc="-40" dirty="0">
                  <a:gradFill>
                    <a:gsLst>
                      <a:gs pos="0">
                        <a:schemeClr val="tx1"/>
                      </a:gs>
                      <a:gs pos="100000">
                        <a:schemeClr val="tx1"/>
                      </a:gs>
                    </a:gsLst>
                    <a:lin ang="5400000" scaled="0"/>
                  </a:gradFill>
                  <a:ea typeface="Segoe UI" pitchFamily="34" charset="0"/>
                  <a:cs typeface="Segoe UI" pitchFamily="34" charset="0"/>
                </a:rPr>
                <a:t>Based Business Applications</a:t>
              </a:r>
            </a:p>
          </p:txBody>
        </p:sp>
        <p:sp>
          <p:nvSpPr>
            <p:cNvPr id="17" name="Rectangle 16"/>
            <p:cNvSpPr/>
            <p:nvPr/>
          </p:nvSpPr>
          <p:spPr>
            <a:xfrm>
              <a:off x="2326006" y="3166571"/>
              <a:ext cx="1790234" cy="1409700"/>
            </a:xfrm>
            <a:prstGeom prst="rect">
              <a:avLst/>
            </a:prstGeom>
            <a:solidFill>
              <a:schemeClr val="accent2">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t" anchorCtr="0" forceAA="0" compatLnSpc="1">
              <a:prstTxWarp prst="textNoShape">
                <a:avLst/>
              </a:prstTxWarp>
              <a:noAutofit/>
            </a:bodyPr>
            <a:lstStyle/>
            <a:p>
              <a:pPr defTabSz="913210"/>
              <a:r>
                <a:rPr lang="en-US" sz="1500" spc="-40" dirty="0">
                  <a:gradFill>
                    <a:gsLst>
                      <a:gs pos="0">
                        <a:schemeClr val="bg1"/>
                      </a:gs>
                      <a:gs pos="100000">
                        <a:schemeClr val="bg1"/>
                      </a:gs>
                    </a:gsLst>
                    <a:lin ang="5400000" scaled="0"/>
                  </a:gradFill>
                  <a:ea typeface="Segoe UI" pitchFamily="34" charset="0"/>
                  <a:cs typeface="Segoe UI" pitchFamily="34" charset="0"/>
                </a:rPr>
                <a:t>Custom and commercial, general purpose</a:t>
              </a:r>
            </a:p>
          </p:txBody>
        </p:sp>
        <p:sp>
          <p:nvSpPr>
            <p:cNvPr id="20" name="Rectangle 19"/>
            <p:cNvSpPr/>
            <p:nvPr/>
          </p:nvSpPr>
          <p:spPr bwMode="auto">
            <a:xfrm>
              <a:off x="8063717" y="1636577"/>
              <a:ext cx="1790234" cy="1409700"/>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t" anchorCtr="0" forceAA="0" compatLnSpc="1">
              <a:prstTxWarp prst="textNoShape">
                <a:avLst/>
              </a:prstTxWarp>
              <a:noAutofit/>
            </a:bodyPr>
            <a:lstStyle/>
            <a:p>
              <a:pPr defTabSz="913210">
                <a:defRPr/>
              </a:pPr>
              <a:r>
                <a:rPr lang="en-US" sz="1500" spc="-40" dirty="0">
                  <a:gradFill>
                    <a:gsLst>
                      <a:gs pos="0">
                        <a:schemeClr val="tx1"/>
                      </a:gs>
                      <a:gs pos="100000">
                        <a:schemeClr val="tx1"/>
                      </a:gs>
                    </a:gsLst>
                    <a:lin ang="5400000" scaled="0"/>
                  </a:gradFill>
                  <a:ea typeface="Segoe UI" pitchFamily="34" charset="0"/>
                  <a:cs typeface="Segoe UI" pitchFamily="34" charset="0"/>
                </a:rPr>
                <a:t>Disaster</a:t>
              </a:r>
            </a:p>
            <a:p>
              <a:pPr defTabSz="913210">
                <a:defRPr/>
              </a:pPr>
              <a:r>
                <a:rPr lang="en-US" sz="1500" spc="-40" dirty="0">
                  <a:gradFill>
                    <a:gsLst>
                      <a:gs pos="0">
                        <a:schemeClr val="tx1"/>
                      </a:gs>
                      <a:gs pos="100000">
                        <a:schemeClr val="tx1"/>
                      </a:gs>
                    </a:gsLst>
                    <a:lin ang="5400000" scaled="0"/>
                  </a:gradFill>
                  <a:ea typeface="Segoe UI" pitchFamily="34" charset="0"/>
                  <a:cs typeface="Segoe UI" pitchFamily="34" charset="0"/>
                </a:rPr>
                <a:t>Recovery /</a:t>
              </a:r>
            </a:p>
            <a:p>
              <a:pPr defTabSz="913210">
                <a:defRPr/>
              </a:pPr>
              <a:r>
                <a:rPr lang="en-US" sz="1500" spc="-40" dirty="0">
                  <a:gradFill>
                    <a:gsLst>
                      <a:gs pos="0">
                        <a:schemeClr val="tx1"/>
                      </a:gs>
                      <a:gs pos="100000">
                        <a:schemeClr val="tx1"/>
                      </a:gs>
                    </a:gsLst>
                    <a:lin ang="5400000" scaled="0"/>
                  </a:gradFill>
                  <a:ea typeface="Segoe UI" pitchFamily="34" charset="0"/>
                  <a:cs typeface="Segoe UI" pitchFamily="34" charset="0"/>
                </a:rPr>
                <a:t>Business Continuity</a:t>
              </a:r>
            </a:p>
          </p:txBody>
        </p:sp>
        <p:sp>
          <p:nvSpPr>
            <p:cNvPr id="21" name="Rectangle 20"/>
            <p:cNvSpPr/>
            <p:nvPr/>
          </p:nvSpPr>
          <p:spPr>
            <a:xfrm>
              <a:off x="8063717" y="3166571"/>
              <a:ext cx="1790234" cy="1409700"/>
            </a:xfrm>
            <a:prstGeom prst="rect">
              <a:avLst/>
            </a:prstGeom>
            <a:solidFill>
              <a:schemeClr val="accent2">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t" anchorCtr="0" forceAA="0" compatLnSpc="1">
              <a:prstTxWarp prst="textNoShape">
                <a:avLst/>
              </a:prstTxWarp>
              <a:noAutofit/>
            </a:bodyPr>
            <a:lstStyle/>
            <a:p>
              <a:pPr defTabSz="913210"/>
              <a:r>
                <a:rPr lang="en-US" sz="1500" spc="-40" dirty="0">
                  <a:gradFill>
                    <a:gsLst>
                      <a:gs pos="0">
                        <a:schemeClr val="bg1"/>
                      </a:gs>
                      <a:gs pos="100000">
                        <a:schemeClr val="bg1"/>
                      </a:gs>
                    </a:gsLst>
                    <a:lin ang="5400000" scaled="0"/>
                  </a:gradFill>
                  <a:ea typeface="Segoe UI" pitchFamily="34" charset="0"/>
                  <a:cs typeface="Segoe UI" pitchFamily="34" charset="0"/>
                </a:rPr>
                <a:t>Storage &amp; DB replication, failover sites</a:t>
              </a:r>
            </a:p>
          </p:txBody>
        </p:sp>
        <p:grpSp>
          <p:nvGrpSpPr>
            <p:cNvPr id="3" name="Group 2"/>
            <p:cNvGrpSpPr/>
            <p:nvPr/>
          </p:nvGrpSpPr>
          <p:grpSpPr>
            <a:xfrm>
              <a:off x="9976287" y="1636577"/>
              <a:ext cx="1790234" cy="4036775"/>
              <a:chOff x="9976287" y="1636577"/>
              <a:chExt cx="1790234" cy="4036775"/>
            </a:xfrm>
          </p:grpSpPr>
          <p:sp>
            <p:nvSpPr>
              <p:cNvPr id="30" name="Rectangle 29"/>
              <p:cNvSpPr/>
              <p:nvPr/>
            </p:nvSpPr>
            <p:spPr bwMode="auto">
              <a:xfrm>
                <a:off x="9976287" y="1636577"/>
                <a:ext cx="1790234" cy="1409700"/>
              </a:xfrm>
              <a:prstGeom prst="rect">
                <a:avLst/>
              </a:prstGeom>
              <a:solidFill>
                <a:schemeClr val="accent3"/>
              </a:solidFill>
              <a:ln w="9525" cap="flat" cmpd="sng" algn="ctr">
                <a:no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t" anchorCtr="0" forceAA="0" compatLnSpc="1">
                <a:prstTxWarp prst="textNoShape">
                  <a:avLst/>
                </a:prstTxWarp>
                <a:noAutofit/>
              </a:bodyPr>
              <a:lstStyle/>
              <a:p>
                <a:pPr defTabSz="913210">
                  <a:defRPr/>
                </a:pPr>
                <a:r>
                  <a:rPr lang="en-US" sz="1500" spc="-40" dirty="0">
                    <a:gradFill>
                      <a:gsLst>
                        <a:gs pos="0">
                          <a:schemeClr val="tx1"/>
                        </a:gs>
                        <a:gs pos="100000">
                          <a:schemeClr val="tx1"/>
                        </a:gs>
                      </a:gsLst>
                      <a:lin ang="5400000" scaled="0"/>
                    </a:gradFill>
                    <a:ea typeface="Segoe UI" pitchFamily="34" charset="0"/>
                    <a:cs typeface="Segoe UI" pitchFamily="34" charset="0"/>
                  </a:rPr>
                  <a:t>Batch Computing</a:t>
                </a:r>
              </a:p>
            </p:txBody>
          </p:sp>
          <p:sp>
            <p:nvSpPr>
              <p:cNvPr id="31" name="Rectangle 30"/>
              <p:cNvSpPr/>
              <p:nvPr/>
            </p:nvSpPr>
            <p:spPr>
              <a:xfrm>
                <a:off x="9976287" y="3166571"/>
                <a:ext cx="1790234" cy="1409700"/>
              </a:xfrm>
              <a:prstGeom prst="rect">
                <a:avLst/>
              </a:prstGeom>
              <a:solidFill>
                <a:schemeClr val="accent3">
                  <a:lumMod val="20000"/>
                  <a:lumOff val="80000"/>
                </a:schemeClr>
              </a:solidFill>
              <a:effectLst/>
            </p:spPr>
            <p:txBody>
              <a:bodyPr lIns="114164" tIns="114164" rIns="114164" bIns="152217" anchor="t" anchorCtr="0">
                <a:noAutofit/>
              </a:bodyPr>
              <a:lstStyle/>
              <a:p>
                <a:pPr defTabSz="913210"/>
                <a:r>
                  <a:rPr lang="en-US" sz="1500" spc="-40" dirty="0">
                    <a:gradFill>
                      <a:gsLst>
                        <a:gs pos="0">
                          <a:schemeClr val="bg1"/>
                        </a:gs>
                        <a:gs pos="100000">
                          <a:schemeClr val="bg1"/>
                        </a:gs>
                      </a:gsLst>
                      <a:lin ang="5400000" scaled="0"/>
                    </a:gradFill>
                    <a:ea typeface="Segoe UI" pitchFamily="34" charset="0"/>
                    <a:cs typeface="Segoe UI" pitchFamily="34" charset="0"/>
                  </a:rPr>
                  <a:t>HPC, data analytics, modeling </a:t>
                </a:r>
              </a:p>
            </p:txBody>
          </p:sp>
          <p:sp>
            <p:nvSpPr>
              <p:cNvPr id="37" name="Rectangle 36"/>
              <p:cNvSpPr/>
              <p:nvPr/>
            </p:nvSpPr>
            <p:spPr>
              <a:xfrm>
                <a:off x="9976287" y="4566884"/>
                <a:ext cx="1788286" cy="1106468"/>
              </a:xfrm>
              <a:prstGeom prst="rect">
                <a:avLst/>
              </a:prstGeom>
              <a:noFill/>
              <a:ln w="25400" cap="flat" cmpd="sng" algn="ctr">
                <a:noFill/>
                <a:prstDash val="solid"/>
              </a:ln>
              <a:effectLst/>
            </p:spPr>
            <p:txBody>
              <a:bodyPr lIns="0" tIns="60883" rIns="121766" bIns="60883" anchor="t"/>
              <a:lstStyle/>
              <a:p>
                <a:pPr defTabSz="684885"/>
                <a:r>
                  <a:rPr lang="en-US" kern="0" spc="-38" dirty="0">
                    <a:gradFill>
                      <a:gsLst>
                        <a:gs pos="0">
                          <a:schemeClr val="tx1"/>
                        </a:gs>
                        <a:gs pos="100000">
                          <a:schemeClr val="tx1"/>
                        </a:gs>
                      </a:gsLst>
                      <a:lin ang="5400000" scaled="0"/>
                    </a:gradFill>
                  </a:rPr>
                  <a:t>Large</a:t>
                </a:r>
              </a:p>
              <a:p>
                <a:pPr defTabSz="684885"/>
                <a:r>
                  <a:rPr lang="en-US" kern="0" spc="-38" dirty="0">
                    <a:gradFill>
                      <a:gsLst>
                        <a:gs pos="0">
                          <a:schemeClr val="tx1"/>
                        </a:gs>
                        <a:gs pos="100000">
                          <a:schemeClr val="tx1"/>
                        </a:gs>
                      </a:gsLst>
                      <a:lin ang="5400000" scaled="0"/>
                    </a:gradFill>
                  </a:rPr>
                  <a:t>on-demand capacity</a:t>
                </a:r>
              </a:p>
            </p:txBody>
          </p:sp>
        </p:grpSp>
        <p:sp>
          <p:nvSpPr>
            <p:cNvPr id="38" name="Rectangle 37"/>
            <p:cNvSpPr/>
            <p:nvPr/>
          </p:nvSpPr>
          <p:spPr>
            <a:xfrm>
              <a:off x="4238577" y="4566884"/>
              <a:ext cx="1788286" cy="1106468"/>
            </a:xfrm>
            <a:prstGeom prst="rect">
              <a:avLst/>
            </a:prstGeom>
            <a:noFill/>
            <a:ln w="25400" cap="flat" cmpd="sng" algn="ctr">
              <a:noFill/>
              <a:prstDash val="solid"/>
            </a:ln>
            <a:effectLst/>
          </p:spPr>
          <p:txBody>
            <a:bodyPr lIns="0" tIns="60883" rIns="121766" bIns="60883" anchor="t"/>
            <a:lstStyle/>
            <a:p>
              <a:pPr defTabSz="684885"/>
              <a:r>
                <a:rPr lang="en-US" kern="0" spc="-38" dirty="0">
                  <a:gradFill>
                    <a:gsLst>
                      <a:gs pos="0">
                        <a:schemeClr val="tx1"/>
                      </a:gs>
                      <a:gs pos="100000">
                        <a:schemeClr val="tx1"/>
                      </a:gs>
                    </a:gsLst>
                    <a:lin ang="5400000" scaled="0"/>
                  </a:gradFill>
                </a:rPr>
                <a:t>Unpredictable bursting, peak intervals</a:t>
              </a:r>
            </a:p>
          </p:txBody>
        </p:sp>
        <p:sp>
          <p:nvSpPr>
            <p:cNvPr id="41" name="Rectangle 40"/>
            <p:cNvSpPr/>
            <p:nvPr/>
          </p:nvSpPr>
          <p:spPr>
            <a:xfrm>
              <a:off x="8063717" y="4566884"/>
              <a:ext cx="1788286" cy="1106468"/>
            </a:xfrm>
            <a:prstGeom prst="rect">
              <a:avLst/>
            </a:prstGeom>
            <a:noFill/>
            <a:ln w="25400" cap="flat" cmpd="sng" algn="ctr">
              <a:noFill/>
              <a:prstDash val="solid"/>
            </a:ln>
            <a:effectLst/>
          </p:spPr>
          <p:txBody>
            <a:bodyPr lIns="0" tIns="60883" rIns="121766" bIns="60883" anchor="t"/>
            <a:lstStyle/>
            <a:p>
              <a:pPr defTabSz="684885"/>
              <a:r>
                <a:rPr lang="en-US" kern="0" spc="-38" dirty="0">
                  <a:gradFill>
                    <a:gsLst>
                      <a:gs pos="0">
                        <a:schemeClr val="tx1"/>
                      </a:gs>
                      <a:gs pos="100000">
                        <a:schemeClr val="tx1"/>
                      </a:gs>
                    </a:gsLst>
                    <a:lin ang="5400000" scaled="0"/>
                  </a:gradFill>
                </a:rPr>
                <a:t>Provisioning for growth/scale</a:t>
              </a:r>
            </a:p>
          </p:txBody>
        </p:sp>
        <p:sp>
          <p:nvSpPr>
            <p:cNvPr id="42" name="Rectangle 41"/>
            <p:cNvSpPr/>
            <p:nvPr/>
          </p:nvSpPr>
          <p:spPr>
            <a:xfrm>
              <a:off x="6151147" y="4566884"/>
              <a:ext cx="1788286" cy="1106468"/>
            </a:xfrm>
            <a:prstGeom prst="rect">
              <a:avLst/>
            </a:prstGeom>
            <a:noFill/>
            <a:ln w="25400" cap="flat" cmpd="sng" algn="ctr">
              <a:noFill/>
              <a:prstDash val="solid"/>
            </a:ln>
            <a:effectLst/>
          </p:spPr>
          <p:txBody>
            <a:bodyPr lIns="0" tIns="60883" rIns="121766" bIns="60883" anchor="t"/>
            <a:lstStyle/>
            <a:p>
              <a:pPr defTabSz="684885"/>
              <a:r>
                <a:rPr lang="en-US" kern="0" spc="-38" dirty="0">
                  <a:gradFill>
                    <a:gsLst>
                      <a:gs pos="0">
                        <a:schemeClr val="tx1"/>
                      </a:gs>
                      <a:gs pos="100000">
                        <a:schemeClr val="tx1"/>
                      </a:gs>
                    </a:gsLst>
                    <a:lin ang="5400000" scaled="0"/>
                  </a:gradFill>
                </a:rPr>
                <a:t>Unpredictable bursting, </a:t>
              </a:r>
            </a:p>
            <a:p>
              <a:pPr defTabSz="684885"/>
              <a:r>
                <a:rPr lang="en-US" kern="0" spc="-38" dirty="0">
                  <a:gradFill>
                    <a:gsLst>
                      <a:gs pos="0">
                        <a:schemeClr val="tx1"/>
                      </a:gs>
                      <a:gs pos="100000">
                        <a:schemeClr val="tx1"/>
                      </a:gs>
                    </a:gsLst>
                    <a:lin ang="5400000" scaled="0"/>
                  </a:gradFill>
                </a:rPr>
                <a:t>demand</a:t>
              </a:r>
            </a:p>
          </p:txBody>
        </p:sp>
        <p:sp>
          <p:nvSpPr>
            <p:cNvPr id="43" name="Rectangle 42"/>
            <p:cNvSpPr/>
            <p:nvPr/>
          </p:nvSpPr>
          <p:spPr>
            <a:xfrm>
              <a:off x="413436" y="4566884"/>
              <a:ext cx="1788286" cy="553233"/>
            </a:xfrm>
            <a:prstGeom prst="rect">
              <a:avLst/>
            </a:prstGeom>
            <a:noFill/>
            <a:ln w="25400" cap="flat" cmpd="sng" algn="ctr">
              <a:noFill/>
              <a:prstDash val="solid"/>
            </a:ln>
            <a:effectLst/>
          </p:spPr>
          <p:txBody>
            <a:bodyPr lIns="0" tIns="60883" rIns="121766" bIns="60883" anchor="t"/>
            <a:lstStyle/>
            <a:p>
              <a:pPr defTabSz="684885"/>
              <a:r>
                <a:rPr lang="en-US" kern="0" spc="-38" dirty="0">
                  <a:gradFill>
                    <a:gsLst>
                      <a:gs pos="0">
                        <a:schemeClr val="tx1"/>
                      </a:gs>
                      <a:gs pos="100000">
                        <a:schemeClr val="tx1"/>
                      </a:gs>
                    </a:gsLst>
                    <a:lin ang="5400000" scaled="0"/>
                  </a:gradFill>
                </a:rPr>
                <a:t>Growing fast</a:t>
              </a:r>
            </a:p>
          </p:txBody>
        </p:sp>
        <p:sp>
          <p:nvSpPr>
            <p:cNvPr id="44" name="Rectangle 43"/>
            <p:cNvSpPr/>
            <p:nvPr/>
          </p:nvSpPr>
          <p:spPr>
            <a:xfrm>
              <a:off x="2326007" y="4566884"/>
              <a:ext cx="1788286" cy="1106468"/>
            </a:xfrm>
            <a:prstGeom prst="rect">
              <a:avLst/>
            </a:prstGeom>
            <a:noFill/>
            <a:ln w="25400" cap="flat" cmpd="sng" algn="ctr">
              <a:noFill/>
              <a:prstDash val="solid"/>
            </a:ln>
            <a:effectLst/>
          </p:spPr>
          <p:txBody>
            <a:bodyPr lIns="0" tIns="60883" rIns="121766" bIns="60883" anchor="t"/>
            <a:lstStyle/>
            <a:p>
              <a:pPr defTabSz="684885"/>
              <a:r>
                <a:rPr lang="en-US" kern="0" spc="-38" dirty="0">
                  <a:gradFill>
                    <a:gsLst>
                      <a:gs pos="0">
                        <a:schemeClr val="tx1"/>
                      </a:gs>
                      <a:gs pos="100000">
                        <a:schemeClr val="tx1"/>
                      </a:gs>
                    </a:gsLst>
                    <a:lin ang="5400000" scaled="0"/>
                  </a:gradFill>
                </a:rPr>
                <a:t>Predictable bursting, usage seasonality</a:t>
              </a:r>
            </a:p>
          </p:txBody>
        </p:sp>
      </p:grpSp>
      <p:sp>
        <p:nvSpPr>
          <p:cNvPr id="45" name="Rectangle 44"/>
          <p:cNvSpPr/>
          <p:nvPr/>
        </p:nvSpPr>
        <p:spPr bwMode="auto">
          <a:xfrm>
            <a:off x="231144" y="4195387"/>
            <a:ext cx="8663151" cy="371147"/>
          </a:xfrm>
          <a:prstGeom prst="rect">
            <a:avLst/>
          </a:prstGeom>
          <a:solidFill>
            <a:schemeClr val="accent1"/>
          </a:solidFill>
          <a:ln w="381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7071" tIns="34246" rIns="57071" bIns="68488" numCol="1" spcCol="0" rtlCol="0" fromWordArt="0" anchor="ctr" anchorCtr="0" forceAA="0" compatLnSpc="1">
            <a:prstTxWarp prst="textNoShape">
              <a:avLst/>
            </a:prstTxWarp>
            <a:noAutofit/>
          </a:bodyPr>
          <a:lstStyle/>
          <a:p>
            <a:pPr algn="ctr" defTabSz="684658" fontAlgn="base">
              <a:spcBef>
                <a:spcPct val="0"/>
              </a:spcBef>
              <a:spcAft>
                <a:spcPct val="0"/>
              </a:spcAft>
            </a:pPr>
            <a:r>
              <a:rPr lang="en-US" dirty="0" smtClean="0">
                <a:gradFill>
                  <a:gsLst>
                    <a:gs pos="0">
                      <a:schemeClr val="tx1"/>
                    </a:gs>
                    <a:gs pos="100000">
                      <a:schemeClr val="tx1"/>
                    </a:gs>
                  </a:gsLst>
                  <a:lin ang="5400000" scaled="0"/>
                </a:gradFill>
              </a:rPr>
              <a:t>Potential for mixed mode PaaS and IaaS optimization of Applications</a:t>
            </a:r>
            <a:endParaRPr lang="en-US" dirty="0">
              <a:gradFill>
                <a:gsLst>
                  <a:gs pos="0">
                    <a:schemeClr val="tx1"/>
                  </a:gs>
                  <a:gs pos="100000">
                    <a:schemeClr val="tx1"/>
                  </a:gs>
                </a:gsLst>
                <a:lin ang="5400000" scaled="0"/>
              </a:gradFill>
            </a:endParaRPr>
          </a:p>
        </p:txBody>
      </p:sp>
      <p:sp>
        <p:nvSpPr>
          <p:cNvPr id="6" name="TextBox 5"/>
          <p:cNvSpPr txBox="1"/>
          <p:nvPr/>
        </p:nvSpPr>
        <p:spPr>
          <a:xfrm>
            <a:off x="6373855" y="4824897"/>
            <a:ext cx="2673014" cy="155812"/>
          </a:xfrm>
          <a:prstGeom prst="rect">
            <a:avLst/>
          </a:prstGeom>
          <a:noFill/>
        </p:spPr>
        <p:txBody>
          <a:bodyPr wrap="none" lIns="0" tIns="0" rIns="0" bIns="0" rtlCol="0">
            <a:spAutoFit/>
          </a:bodyPr>
          <a:lstStyle/>
          <a:p>
            <a:pPr>
              <a:lnSpc>
                <a:spcPct val="90000"/>
              </a:lnSpc>
              <a:spcBef>
                <a:spcPct val="20000"/>
              </a:spcBef>
              <a:buSzPct val="80000"/>
            </a:pPr>
            <a:r>
              <a:rPr lang="en-US" sz="1100" i="1" dirty="0">
                <a:gradFill>
                  <a:gsLst>
                    <a:gs pos="0">
                      <a:schemeClr val="tx1"/>
                    </a:gs>
                    <a:gs pos="100000">
                      <a:schemeClr val="tx1"/>
                    </a:gs>
                  </a:gsLst>
                  <a:lin ang="5400000" scaled="0"/>
                </a:gradFill>
              </a:rPr>
              <a:t>* Source: Gartner, Lydia Leong, March 2012</a:t>
            </a:r>
          </a:p>
        </p:txBody>
      </p:sp>
      <p:sp>
        <p:nvSpPr>
          <p:cNvPr id="46" name="Rectangle 45"/>
          <p:cNvSpPr/>
          <p:nvPr/>
        </p:nvSpPr>
        <p:spPr bwMode="auto">
          <a:xfrm>
            <a:off x="231144" y="1085857"/>
            <a:ext cx="8663151" cy="3480677"/>
          </a:xfrm>
          <a:prstGeom prst="rect">
            <a:avLst/>
          </a:prstGeom>
          <a:noFill/>
          <a:ln w="381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7071" tIns="28535" rIns="28535" bIns="57071" numCol="1" spcCol="0" rtlCol="0" fromWordArt="0" anchor="b" anchorCtr="0" forceAA="0" compatLnSpc="1">
            <a:prstTxWarp prst="textNoShape">
              <a:avLst/>
            </a:prstTxWarp>
            <a:noAutofit/>
          </a:bodyPr>
          <a:lstStyle/>
          <a:p>
            <a:pPr algn="ctr" defTabSz="570567" fontAlgn="base">
              <a:spcBef>
                <a:spcPct val="0"/>
              </a:spcBef>
              <a:spcAft>
                <a:spcPct val="0"/>
              </a:spcAft>
            </a:pPr>
            <a:endParaRPr lang="en-US" spc="-32" dirty="0">
              <a:gradFill>
                <a:gsLst>
                  <a:gs pos="0">
                    <a:srgbClr val="FFFFFF"/>
                  </a:gs>
                  <a:gs pos="100000">
                    <a:srgbClr val="FFFFFF"/>
                  </a:gs>
                </a:gsLst>
                <a:lin ang="5400000" scaled="0"/>
              </a:gradFill>
              <a:ea typeface="Segoe UI" pitchFamily="34" charset="0"/>
              <a:cs typeface="Segoe UI" pitchFamily="34" charset="0"/>
            </a:endParaRPr>
          </a:p>
        </p:txBody>
      </p:sp>
      <p:sp>
        <p:nvSpPr>
          <p:cNvPr id="27"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8"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spTree>
    <p:extLst>
      <p:ext uri="{BB962C8B-B14F-4D97-AF65-F5344CB8AC3E}">
        <p14:creationId xmlns:p14="http://schemas.microsoft.com/office/powerpoint/2010/main" val="3010280493"/>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6"/>
                                        </p:tgtEl>
                                        <p:attrNameLst>
                                          <p:attrName>style.visibility</p:attrName>
                                        </p:attrNameLst>
                                      </p:cBhvr>
                                      <p:to>
                                        <p:strVal val="visible"/>
                                      </p:to>
                                    </p:set>
                                    <p:animEffect transition="in" filter="fade">
                                      <p:cBhvr>
                                        <p:cTn id="11"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46" grpId="0" animBg="1"/>
    </p:bldLst>
  </p:timing>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er Storage in Windows Server </a:t>
            </a:r>
            <a:r>
              <a:rPr lang="en-US" dirty="0" smtClean="0"/>
              <a:t>2012</a:t>
            </a:r>
            <a:endParaRPr lang="en-US" dirty="0"/>
          </a:p>
        </p:txBody>
      </p:sp>
      <p:sp>
        <p:nvSpPr>
          <p:cNvPr id="5" name="Rectangle 4"/>
          <p:cNvSpPr/>
          <p:nvPr/>
        </p:nvSpPr>
        <p:spPr bwMode="auto">
          <a:xfrm>
            <a:off x="7130791" y="2760231"/>
            <a:ext cx="1583582" cy="158317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6" tIns="34294" rIns="34294" bIns="68586" numCol="1" spcCol="0" rtlCol="0" fromWordArt="0" anchor="ctr" anchorCtr="0" forceAA="0" compatLnSpc="1">
            <a:prstTxWarp prst="textNoShape">
              <a:avLst/>
            </a:prstTxWarp>
            <a:noAutofit/>
          </a:bodyPr>
          <a:lstStyle/>
          <a:p>
            <a:pPr algn="ctr" defTabSz="685637" fontAlgn="base">
              <a:spcBef>
                <a:spcPct val="0"/>
              </a:spcBef>
              <a:spcAft>
                <a:spcPct val="0"/>
              </a:spcAft>
            </a:pPr>
            <a:endParaRPr lang="da-DK" sz="1500" spc="-38"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398963" y="1085850"/>
            <a:ext cx="1583582" cy="32575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6" tIns="34294" rIns="34294" bIns="68586" numCol="1" spcCol="0" rtlCol="0" fromWordArt="0" anchor="ctr" anchorCtr="0" forceAA="0" compatLnSpc="1">
            <a:prstTxWarp prst="textNoShape">
              <a:avLst/>
            </a:prstTxWarp>
            <a:noAutofit/>
          </a:bodyPr>
          <a:lstStyle/>
          <a:p>
            <a:pPr algn="ctr" defTabSz="685637" fontAlgn="base">
              <a:spcBef>
                <a:spcPct val="0"/>
              </a:spcBef>
              <a:spcAft>
                <a:spcPct val="0"/>
              </a:spcAft>
            </a:pPr>
            <a:r>
              <a:rPr lang="en-US" sz="1800" b="1" dirty="0">
                <a:solidFill>
                  <a:srgbClr val="FFFFFF"/>
                </a:solidFill>
              </a:rPr>
              <a:t>Enterprise storage </a:t>
            </a:r>
            <a:br>
              <a:rPr lang="en-US" sz="1800" b="1" dirty="0">
                <a:solidFill>
                  <a:srgbClr val="FFFFFF"/>
                </a:solidFill>
              </a:rPr>
            </a:br>
            <a:r>
              <a:rPr lang="en-US" sz="1800" b="1" dirty="0">
                <a:solidFill>
                  <a:srgbClr val="FFFFFF"/>
                </a:solidFill>
              </a:rPr>
              <a:t>on industry-standard server hardware</a:t>
            </a:r>
          </a:p>
          <a:p>
            <a:pPr algn="ctr" defTabSz="685637" fontAlgn="base">
              <a:spcBef>
                <a:spcPct val="0"/>
              </a:spcBef>
              <a:spcAft>
                <a:spcPct val="0"/>
              </a:spcAft>
            </a:pPr>
            <a:endParaRPr lang="en-US" sz="1800" spc="-38" dirty="0">
              <a:gradFill>
                <a:gsLst>
                  <a:gs pos="0">
                    <a:srgbClr val="FFFFFF"/>
                  </a:gs>
                  <a:gs pos="100000">
                    <a:srgbClr val="FFFFFF"/>
                  </a:gs>
                </a:gsLst>
                <a:lin ang="5400000" scaled="0"/>
              </a:gradFill>
              <a:ea typeface="Segoe UI" pitchFamily="34" charset="0"/>
              <a:cs typeface="Segoe UI" pitchFamily="34" charset="0"/>
            </a:endParaRPr>
          </a:p>
        </p:txBody>
      </p:sp>
      <p:sp>
        <p:nvSpPr>
          <p:cNvPr id="7" name="Freeform 473"/>
          <p:cNvSpPr>
            <a:spLocks noEditPoints="1"/>
          </p:cNvSpPr>
          <p:nvPr/>
        </p:nvSpPr>
        <p:spPr bwMode="auto">
          <a:xfrm>
            <a:off x="7458170" y="3111879"/>
            <a:ext cx="931311" cy="879872"/>
          </a:xfrm>
          <a:custGeom>
            <a:avLst/>
            <a:gdLst>
              <a:gd name="T0" fmla="*/ 1002 w 1234"/>
              <a:gd name="T1" fmla="*/ 906 h 1168"/>
              <a:gd name="T2" fmla="*/ 577 w 1234"/>
              <a:gd name="T3" fmla="*/ 777 h 1168"/>
              <a:gd name="T4" fmla="*/ 108 w 1234"/>
              <a:gd name="T5" fmla="*/ 940 h 1168"/>
              <a:gd name="T6" fmla="*/ 572 w 1234"/>
              <a:gd name="T7" fmla="*/ 23 h 1168"/>
              <a:gd name="T8" fmla="*/ 823 w 1234"/>
              <a:gd name="T9" fmla="*/ 193 h 1168"/>
              <a:gd name="T10" fmla="*/ 104 w 1234"/>
              <a:gd name="T11" fmla="*/ 325 h 1168"/>
              <a:gd name="T12" fmla="*/ 1 w 1234"/>
              <a:gd name="T13" fmla="*/ 960 h 1168"/>
              <a:gd name="T14" fmla="*/ 515 w 1234"/>
              <a:gd name="T15" fmla="*/ 1168 h 1168"/>
              <a:gd name="T16" fmla="*/ 1035 w 1234"/>
              <a:gd name="T17" fmla="*/ 943 h 1168"/>
              <a:gd name="T18" fmla="*/ 513 w 1234"/>
              <a:gd name="T19" fmla="*/ 1136 h 1168"/>
              <a:gd name="T20" fmla="*/ 101 w 1234"/>
              <a:gd name="T21" fmla="*/ 948 h 1168"/>
              <a:gd name="T22" fmla="*/ 580 w 1234"/>
              <a:gd name="T23" fmla="*/ 1063 h 1168"/>
              <a:gd name="T24" fmla="*/ 513 w 1234"/>
              <a:gd name="T25" fmla="*/ 1136 h 1168"/>
              <a:gd name="T26" fmla="*/ 136 w 1234"/>
              <a:gd name="T27" fmla="*/ 404 h 1168"/>
              <a:gd name="T28" fmla="*/ 539 w 1234"/>
              <a:gd name="T29" fmla="*/ 94 h 1168"/>
              <a:gd name="T30" fmla="*/ 136 w 1234"/>
              <a:gd name="T31" fmla="*/ 784 h 1168"/>
              <a:gd name="T32" fmla="*/ 545 w 1234"/>
              <a:gd name="T33" fmla="*/ 858 h 1168"/>
              <a:gd name="T34" fmla="*/ 136 w 1234"/>
              <a:gd name="T35" fmla="*/ 784 h 1168"/>
              <a:gd name="T36" fmla="*/ 546 w 1234"/>
              <a:gd name="T37" fmla="*/ 995 h 1168"/>
              <a:gd name="T38" fmla="*/ 136 w 1234"/>
              <a:gd name="T39" fmla="*/ 871 h 1168"/>
              <a:gd name="T40" fmla="*/ 136 w 1234"/>
              <a:gd name="T41" fmla="*/ 489 h 1168"/>
              <a:gd name="T42" fmla="*/ 540 w 1234"/>
              <a:gd name="T43" fmla="*/ 231 h 1168"/>
              <a:gd name="T44" fmla="*/ 136 w 1234"/>
              <a:gd name="T45" fmla="*/ 489 h 1168"/>
              <a:gd name="T46" fmla="*/ 136 w 1234"/>
              <a:gd name="T47" fmla="*/ 748 h 1168"/>
              <a:gd name="T48" fmla="*/ 516 w 1234"/>
              <a:gd name="T49" fmla="*/ 646 h 1168"/>
              <a:gd name="T50" fmla="*/ 136 w 1234"/>
              <a:gd name="T51" fmla="*/ 609 h 1168"/>
              <a:gd name="T52" fmla="*/ 507 w 1234"/>
              <a:gd name="T53" fmla="*/ 593 h 1168"/>
              <a:gd name="T54" fmla="*/ 508 w 1234"/>
              <a:gd name="T55" fmla="*/ 514 h 1168"/>
              <a:gd name="T56" fmla="*/ 541 w 1234"/>
              <a:gd name="T57" fmla="*/ 368 h 1168"/>
              <a:gd name="T58" fmla="*/ 136 w 1234"/>
              <a:gd name="T59" fmla="*/ 575 h 1168"/>
              <a:gd name="T60" fmla="*/ 541 w 1234"/>
              <a:gd name="T61" fmla="*/ 399 h 1168"/>
              <a:gd name="T62" fmla="*/ 996 w 1234"/>
              <a:gd name="T63" fmla="*/ 378 h 1168"/>
              <a:gd name="T64" fmla="*/ 793 w 1234"/>
              <a:gd name="T65" fmla="*/ 443 h 1168"/>
              <a:gd name="T66" fmla="*/ 683 w 1234"/>
              <a:gd name="T67" fmla="*/ 494 h 1168"/>
              <a:gd name="T68" fmla="*/ 690 w 1234"/>
              <a:gd name="T69" fmla="*/ 538 h 1168"/>
              <a:gd name="T70" fmla="*/ 858 w 1234"/>
              <a:gd name="T71" fmla="*/ 720 h 1168"/>
              <a:gd name="T72" fmla="*/ 913 w 1234"/>
              <a:gd name="T73" fmla="*/ 716 h 1168"/>
              <a:gd name="T74" fmla="*/ 1029 w 1234"/>
              <a:gd name="T75" fmla="*/ 562 h 1168"/>
              <a:gd name="T76" fmla="*/ 1178 w 1234"/>
              <a:gd name="T77" fmla="*/ 419 h 1168"/>
              <a:gd name="T78" fmla="*/ 1206 w 1234"/>
              <a:gd name="T79" fmla="*/ 397 h 1168"/>
              <a:gd name="T80" fmla="*/ 1217 w 1234"/>
              <a:gd name="T81" fmla="*/ 347 h 1168"/>
              <a:gd name="T82" fmla="*/ 1117 w 1234"/>
              <a:gd name="T83" fmla="*/ 281 h 1168"/>
              <a:gd name="T84" fmla="*/ 1087 w 1234"/>
              <a:gd name="T85" fmla="*/ 301 h 1168"/>
              <a:gd name="T86" fmla="*/ 864 w 1234"/>
              <a:gd name="T87" fmla="*/ 225 h 1168"/>
              <a:gd name="T88" fmla="*/ 542 w 1234"/>
              <a:gd name="T89" fmla="*/ 521 h 1168"/>
              <a:gd name="T90" fmla="*/ 541 w 1234"/>
              <a:gd name="T91" fmla="*/ 587 h 1168"/>
              <a:gd name="T92" fmla="*/ 875 w 1234"/>
              <a:gd name="T93" fmla="*/ 893 h 1168"/>
              <a:gd name="T94" fmla="*/ 1209 w 1234"/>
              <a:gd name="T95" fmla="*/ 559 h 1168"/>
              <a:gd name="T96" fmla="*/ 1157 w 1234"/>
              <a:gd name="T97" fmla="*/ 483 h 1168"/>
              <a:gd name="T98" fmla="*/ 1001 w 1234"/>
              <a:gd name="T99" fmla="*/ 823 h 1168"/>
              <a:gd name="T100" fmla="*/ 582 w 1234"/>
              <a:gd name="T101" fmla="*/ 559 h 1168"/>
              <a:gd name="T102" fmla="*/ 924 w 1234"/>
              <a:gd name="T103" fmla="*/ 271 h 1168"/>
              <a:gd name="T104" fmla="*/ 998 w 1234"/>
              <a:gd name="T105" fmla="*/ 376 h 1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4" h="1168">
                <a:moveTo>
                  <a:pt x="1002" y="936"/>
                </a:moveTo>
                <a:cubicBezTo>
                  <a:pt x="1002" y="933"/>
                  <a:pt x="1002" y="922"/>
                  <a:pt x="1002" y="906"/>
                </a:cubicBezTo>
                <a:cubicBezTo>
                  <a:pt x="962" y="920"/>
                  <a:pt x="919" y="928"/>
                  <a:pt x="875" y="928"/>
                </a:cubicBezTo>
                <a:cubicBezTo>
                  <a:pt x="752" y="928"/>
                  <a:pt x="644" y="869"/>
                  <a:pt x="577" y="777"/>
                </a:cubicBezTo>
                <a:cubicBezTo>
                  <a:pt x="579" y="1046"/>
                  <a:pt x="579" y="1046"/>
                  <a:pt x="579" y="1046"/>
                </a:cubicBezTo>
                <a:cubicBezTo>
                  <a:pt x="541" y="1043"/>
                  <a:pt x="148" y="951"/>
                  <a:pt x="108" y="940"/>
                </a:cubicBezTo>
                <a:cubicBezTo>
                  <a:pt x="109" y="912"/>
                  <a:pt x="116" y="337"/>
                  <a:pt x="116" y="337"/>
                </a:cubicBezTo>
                <a:cubicBezTo>
                  <a:pt x="572" y="23"/>
                  <a:pt x="572" y="23"/>
                  <a:pt x="572" y="23"/>
                </a:cubicBezTo>
                <a:cubicBezTo>
                  <a:pt x="574" y="344"/>
                  <a:pt x="574" y="344"/>
                  <a:pt x="574" y="344"/>
                </a:cubicBezTo>
                <a:cubicBezTo>
                  <a:pt x="632" y="264"/>
                  <a:pt x="721" y="208"/>
                  <a:pt x="823" y="193"/>
                </a:cubicBezTo>
                <a:cubicBezTo>
                  <a:pt x="571" y="0"/>
                  <a:pt x="571" y="0"/>
                  <a:pt x="571" y="0"/>
                </a:cubicBezTo>
                <a:cubicBezTo>
                  <a:pt x="104" y="325"/>
                  <a:pt x="104" y="325"/>
                  <a:pt x="104" y="325"/>
                </a:cubicBezTo>
                <a:cubicBezTo>
                  <a:pt x="104" y="325"/>
                  <a:pt x="96" y="934"/>
                  <a:pt x="96" y="942"/>
                </a:cubicBezTo>
                <a:cubicBezTo>
                  <a:pt x="64" y="948"/>
                  <a:pt x="33" y="954"/>
                  <a:pt x="1" y="960"/>
                </a:cubicBezTo>
                <a:cubicBezTo>
                  <a:pt x="1" y="967"/>
                  <a:pt x="1" y="973"/>
                  <a:pt x="0" y="980"/>
                </a:cubicBezTo>
                <a:cubicBezTo>
                  <a:pt x="171" y="1044"/>
                  <a:pt x="337" y="1105"/>
                  <a:pt x="515" y="1168"/>
                </a:cubicBezTo>
                <a:cubicBezTo>
                  <a:pt x="695" y="1109"/>
                  <a:pt x="827" y="1062"/>
                  <a:pt x="1041" y="990"/>
                </a:cubicBezTo>
                <a:cubicBezTo>
                  <a:pt x="1039" y="974"/>
                  <a:pt x="1037" y="959"/>
                  <a:pt x="1035" y="943"/>
                </a:cubicBezTo>
                <a:cubicBezTo>
                  <a:pt x="1024" y="940"/>
                  <a:pt x="1013" y="938"/>
                  <a:pt x="1002" y="936"/>
                </a:cubicBezTo>
                <a:close/>
                <a:moveTo>
                  <a:pt x="513" y="1136"/>
                </a:moveTo>
                <a:cubicBezTo>
                  <a:pt x="438" y="1111"/>
                  <a:pt x="56" y="980"/>
                  <a:pt x="16" y="966"/>
                </a:cubicBezTo>
                <a:cubicBezTo>
                  <a:pt x="45" y="960"/>
                  <a:pt x="73" y="954"/>
                  <a:pt x="101" y="948"/>
                </a:cubicBezTo>
                <a:cubicBezTo>
                  <a:pt x="105" y="949"/>
                  <a:pt x="109" y="950"/>
                  <a:pt x="112" y="951"/>
                </a:cubicBezTo>
                <a:cubicBezTo>
                  <a:pt x="159" y="964"/>
                  <a:pt x="580" y="1063"/>
                  <a:pt x="580" y="1063"/>
                </a:cubicBezTo>
                <a:cubicBezTo>
                  <a:pt x="796" y="1053"/>
                  <a:pt x="796" y="1053"/>
                  <a:pt x="796" y="1053"/>
                </a:cubicBezTo>
                <a:cubicBezTo>
                  <a:pt x="696" y="1082"/>
                  <a:pt x="570" y="1119"/>
                  <a:pt x="513" y="1136"/>
                </a:cubicBezTo>
                <a:close/>
                <a:moveTo>
                  <a:pt x="136" y="346"/>
                </a:moveTo>
                <a:cubicBezTo>
                  <a:pt x="136" y="404"/>
                  <a:pt x="136" y="404"/>
                  <a:pt x="136" y="404"/>
                </a:cubicBezTo>
                <a:cubicBezTo>
                  <a:pt x="540" y="183"/>
                  <a:pt x="540" y="183"/>
                  <a:pt x="540" y="183"/>
                </a:cubicBezTo>
                <a:cubicBezTo>
                  <a:pt x="539" y="94"/>
                  <a:pt x="539" y="94"/>
                  <a:pt x="539" y="94"/>
                </a:cubicBezTo>
                <a:lnTo>
                  <a:pt x="136" y="346"/>
                </a:lnTo>
                <a:close/>
                <a:moveTo>
                  <a:pt x="136" y="784"/>
                </a:moveTo>
                <a:cubicBezTo>
                  <a:pt x="136" y="835"/>
                  <a:pt x="136" y="835"/>
                  <a:pt x="136" y="835"/>
                </a:cubicBezTo>
                <a:cubicBezTo>
                  <a:pt x="545" y="858"/>
                  <a:pt x="545" y="858"/>
                  <a:pt x="545" y="858"/>
                </a:cubicBezTo>
                <a:cubicBezTo>
                  <a:pt x="544" y="779"/>
                  <a:pt x="544" y="779"/>
                  <a:pt x="544" y="779"/>
                </a:cubicBezTo>
                <a:lnTo>
                  <a:pt x="136" y="784"/>
                </a:lnTo>
                <a:close/>
                <a:moveTo>
                  <a:pt x="136" y="922"/>
                </a:moveTo>
                <a:cubicBezTo>
                  <a:pt x="546" y="995"/>
                  <a:pt x="546" y="995"/>
                  <a:pt x="546" y="995"/>
                </a:cubicBezTo>
                <a:cubicBezTo>
                  <a:pt x="545" y="916"/>
                  <a:pt x="545" y="916"/>
                  <a:pt x="545" y="916"/>
                </a:cubicBezTo>
                <a:cubicBezTo>
                  <a:pt x="136" y="871"/>
                  <a:pt x="136" y="871"/>
                  <a:pt x="136" y="871"/>
                </a:cubicBezTo>
                <a:lnTo>
                  <a:pt x="136" y="922"/>
                </a:lnTo>
                <a:close/>
                <a:moveTo>
                  <a:pt x="136" y="489"/>
                </a:moveTo>
                <a:cubicBezTo>
                  <a:pt x="541" y="317"/>
                  <a:pt x="541" y="317"/>
                  <a:pt x="541" y="317"/>
                </a:cubicBezTo>
                <a:cubicBezTo>
                  <a:pt x="540" y="231"/>
                  <a:pt x="540" y="231"/>
                  <a:pt x="540" y="231"/>
                </a:cubicBezTo>
                <a:cubicBezTo>
                  <a:pt x="136" y="434"/>
                  <a:pt x="136" y="434"/>
                  <a:pt x="136" y="434"/>
                </a:cubicBezTo>
                <a:lnTo>
                  <a:pt x="136" y="489"/>
                </a:lnTo>
                <a:close/>
                <a:moveTo>
                  <a:pt x="136" y="697"/>
                </a:moveTo>
                <a:cubicBezTo>
                  <a:pt x="136" y="748"/>
                  <a:pt x="136" y="748"/>
                  <a:pt x="136" y="748"/>
                </a:cubicBezTo>
                <a:cubicBezTo>
                  <a:pt x="543" y="722"/>
                  <a:pt x="543" y="722"/>
                  <a:pt x="543" y="722"/>
                </a:cubicBezTo>
                <a:cubicBezTo>
                  <a:pt x="531" y="698"/>
                  <a:pt x="522" y="672"/>
                  <a:pt x="516" y="646"/>
                </a:cubicBezTo>
                <a:lnTo>
                  <a:pt x="136" y="697"/>
                </a:lnTo>
                <a:close/>
                <a:moveTo>
                  <a:pt x="136" y="609"/>
                </a:moveTo>
                <a:cubicBezTo>
                  <a:pt x="136" y="662"/>
                  <a:pt x="136" y="662"/>
                  <a:pt x="136" y="662"/>
                </a:cubicBezTo>
                <a:cubicBezTo>
                  <a:pt x="507" y="593"/>
                  <a:pt x="507" y="593"/>
                  <a:pt x="507" y="593"/>
                </a:cubicBezTo>
                <a:cubicBezTo>
                  <a:pt x="506" y="582"/>
                  <a:pt x="505" y="570"/>
                  <a:pt x="505" y="559"/>
                </a:cubicBezTo>
                <a:cubicBezTo>
                  <a:pt x="505" y="544"/>
                  <a:pt x="506" y="529"/>
                  <a:pt x="508" y="514"/>
                </a:cubicBezTo>
                <a:lnTo>
                  <a:pt x="136" y="609"/>
                </a:lnTo>
                <a:close/>
                <a:moveTo>
                  <a:pt x="541" y="368"/>
                </a:moveTo>
                <a:cubicBezTo>
                  <a:pt x="136" y="521"/>
                  <a:pt x="136" y="521"/>
                  <a:pt x="136" y="521"/>
                </a:cubicBezTo>
                <a:cubicBezTo>
                  <a:pt x="136" y="575"/>
                  <a:pt x="136" y="575"/>
                  <a:pt x="136" y="575"/>
                </a:cubicBezTo>
                <a:cubicBezTo>
                  <a:pt x="519" y="458"/>
                  <a:pt x="519" y="458"/>
                  <a:pt x="519" y="458"/>
                </a:cubicBezTo>
                <a:cubicBezTo>
                  <a:pt x="525" y="438"/>
                  <a:pt x="532" y="418"/>
                  <a:pt x="541" y="399"/>
                </a:cubicBezTo>
                <a:lnTo>
                  <a:pt x="541" y="368"/>
                </a:lnTo>
                <a:close/>
                <a:moveTo>
                  <a:pt x="996" y="378"/>
                </a:moveTo>
                <a:cubicBezTo>
                  <a:pt x="939" y="435"/>
                  <a:pt x="875" y="525"/>
                  <a:pt x="875" y="525"/>
                </a:cubicBezTo>
                <a:cubicBezTo>
                  <a:pt x="793" y="443"/>
                  <a:pt x="793" y="443"/>
                  <a:pt x="793" y="443"/>
                </a:cubicBezTo>
                <a:cubicBezTo>
                  <a:pt x="759" y="407"/>
                  <a:pt x="730" y="436"/>
                  <a:pt x="716" y="452"/>
                </a:cubicBezTo>
                <a:cubicBezTo>
                  <a:pt x="702" y="468"/>
                  <a:pt x="698" y="470"/>
                  <a:pt x="683" y="494"/>
                </a:cubicBezTo>
                <a:cubicBezTo>
                  <a:pt x="672" y="511"/>
                  <a:pt x="681" y="527"/>
                  <a:pt x="687" y="534"/>
                </a:cubicBezTo>
                <a:cubicBezTo>
                  <a:pt x="689" y="537"/>
                  <a:pt x="690" y="538"/>
                  <a:pt x="690" y="538"/>
                </a:cubicBezTo>
                <a:cubicBezTo>
                  <a:pt x="690" y="538"/>
                  <a:pt x="724" y="574"/>
                  <a:pt x="768" y="619"/>
                </a:cubicBezTo>
                <a:cubicBezTo>
                  <a:pt x="812" y="665"/>
                  <a:pt x="858" y="720"/>
                  <a:pt x="858" y="720"/>
                </a:cubicBezTo>
                <a:cubicBezTo>
                  <a:pt x="858" y="720"/>
                  <a:pt x="865" y="731"/>
                  <a:pt x="884" y="731"/>
                </a:cubicBezTo>
                <a:cubicBezTo>
                  <a:pt x="902" y="731"/>
                  <a:pt x="913" y="716"/>
                  <a:pt x="913" y="716"/>
                </a:cubicBezTo>
                <a:cubicBezTo>
                  <a:pt x="913" y="716"/>
                  <a:pt x="955" y="656"/>
                  <a:pt x="998" y="601"/>
                </a:cubicBezTo>
                <a:cubicBezTo>
                  <a:pt x="1009" y="587"/>
                  <a:pt x="1019" y="574"/>
                  <a:pt x="1029" y="562"/>
                </a:cubicBezTo>
                <a:cubicBezTo>
                  <a:pt x="1060" y="526"/>
                  <a:pt x="1106" y="481"/>
                  <a:pt x="1145" y="447"/>
                </a:cubicBezTo>
                <a:cubicBezTo>
                  <a:pt x="1157" y="437"/>
                  <a:pt x="1168" y="427"/>
                  <a:pt x="1178" y="419"/>
                </a:cubicBezTo>
                <a:cubicBezTo>
                  <a:pt x="1190" y="409"/>
                  <a:pt x="1199" y="402"/>
                  <a:pt x="1206" y="397"/>
                </a:cubicBezTo>
                <a:cubicBezTo>
                  <a:pt x="1206" y="397"/>
                  <a:pt x="1206" y="397"/>
                  <a:pt x="1206" y="397"/>
                </a:cubicBezTo>
                <a:cubicBezTo>
                  <a:pt x="1210" y="394"/>
                  <a:pt x="1212" y="392"/>
                  <a:pt x="1215" y="390"/>
                </a:cubicBezTo>
                <a:cubicBezTo>
                  <a:pt x="1234" y="370"/>
                  <a:pt x="1217" y="347"/>
                  <a:pt x="1217" y="347"/>
                </a:cubicBezTo>
                <a:cubicBezTo>
                  <a:pt x="1217" y="347"/>
                  <a:pt x="1190" y="309"/>
                  <a:pt x="1169" y="282"/>
                </a:cubicBezTo>
                <a:cubicBezTo>
                  <a:pt x="1149" y="257"/>
                  <a:pt x="1121" y="278"/>
                  <a:pt x="1117" y="281"/>
                </a:cubicBezTo>
                <a:cubicBezTo>
                  <a:pt x="1117" y="281"/>
                  <a:pt x="1117" y="281"/>
                  <a:pt x="1117" y="281"/>
                </a:cubicBezTo>
                <a:cubicBezTo>
                  <a:pt x="1117" y="281"/>
                  <a:pt x="1105" y="288"/>
                  <a:pt x="1087" y="301"/>
                </a:cubicBezTo>
                <a:cubicBezTo>
                  <a:pt x="1030" y="253"/>
                  <a:pt x="955" y="225"/>
                  <a:pt x="875" y="225"/>
                </a:cubicBezTo>
                <a:cubicBezTo>
                  <a:pt x="871" y="225"/>
                  <a:pt x="868" y="225"/>
                  <a:pt x="864" y="225"/>
                </a:cubicBezTo>
                <a:cubicBezTo>
                  <a:pt x="737" y="229"/>
                  <a:pt x="628" y="304"/>
                  <a:pt x="574" y="411"/>
                </a:cubicBezTo>
                <a:cubicBezTo>
                  <a:pt x="558" y="445"/>
                  <a:pt x="547" y="482"/>
                  <a:pt x="542" y="521"/>
                </a:cubicBezTo>
                <a:cubicBezTo>
                  <a:pt x="541" y="533"/>
                  <a:pt x="540" y="546"/>
                  <a:pt x="540" y="559"/>
                </a:cubicBezTo>
                <a:cubicBezTo>
                  <a:pt x="540" y="568"/>
                  <a:pt x="541" y="577"/>
                  <a:pt x="541" y="587"/>
                </a:cubicBezTo>
                <a:cubicBezTo>
                  <a:pt x="545" y="631"/>
                  <a:pt x="557" y="673"/>
                  <a:pt x="576" y="710"/>
                </a:cubicBezTo>
                <a:cubicBezTo>
                  <a:pt x="632" y="819"/>
                  <a:pt x="744" y="893"/>
                  <a:pt x="875" y="893"/>
                </a:cubicBezTo>
                <a:cubicBezTo>
                  <a:pt x="919" y="893"/>
                  <a:pt x="962" y="884"/>
                  <a:pt x="1001" y="868"/>
                </a:cubicBezTo>
                <a:cubicBezTo>
                  <a:pt x="1123" y="818"/>
                  <a:pt x="1209" y="699"/>
                  <a:pt x="1209" y="559"/>
                </a:cubicBezTo>
                <a:cubicBezTo>
                  <a:pt x="1209" y="522"/>
                  <a:pt x="1203" y="487"/>
                  <a:pt x="1192" y="454"/>
                </a:cubicBezTo>
                <a:cubicBezTo>
                  <a:pt x="1182" y="462"/>
                  <a:pt x="1170" y="471"/>
                  <a:pt x="1157" y="483"/>
                </a:cubicBezTo>
                <a:cubicBezTo>
                  <a:pt x="1164" y="507"/>
                  <a:pt x="1167" y="533"/>
                  <a:pt x="1167" y="559"/>
                </a:cubicBezTo>
                <a:cubicBezTo>
                  <a:pt x="1167" y="675"/>
                  <a:pt x="1099" y="776"/>
                  <a:pt x="1001" y="823"/>
                </a:cubicBezTo>
                <a:cubicBezTo>
                  <a:pt x="962" y="841"/>
                  <a:pt x="920" y="851"/>
                  <a:pt x="875" y="851"/>
                </a:cubicBezTo>
                <a:cubicBezTo>
                  <a:pt x="713" y="851"/>
                  <a:pt x="582" y="720"/>
                  <a:pt x="582" y="559"/>
                </a:cubicBezTo>
                <a:cubicBezTo>
                  <a:pt x="582" y="397"/>
                  <a:pt x="713" y="266"/>
                  <a:pt x="875" y="266"/>
                </a:cubicBezTo>
                <a:cubicBezTo>
                  <a:pt x="891" y="266"/>
                  <a:pt x="908" y="268"/>
                  <a:pt x="924" y="271"/>
                </a:cubicBezTo>
                <a:cubicBezTo>
                  <a:pt x="972" y="279"/>
                  <a:pt x="1016" y="299"/>
                  <a:pt x="1053" y="327"/>
                </a:cubicBezTo>
                <a:cubicBezTo>
                  <a:pt x="1036" y="341"/>
                  <a:pt x="1017" y="358"/>
                  <a:pt x="998" y="376"/>
                </a:cubicBezTo>
                <a:cubicBezTo>
                  <a:pt x="997" y="377"/>
                  <a:pt x="997" y="377"/>
                  <a:pt x="996" y="378"/>
                </a:cubicBezTo>
                <a:close/>
              </a:path>
            </a:pathLst>
          </a:custGeom>
          <a:solidFill>
            <a:schemeClr val="tx1"/>
          </a:solidFill>
          <a:ln>
            <a:noFill/>
          </a:ln>
        </p:spPr>
        <p:txBody>
          <a:bodyPr vert="horz" wrap="square" lIns="68586" tIns="34294" rIns="68586" bIns="34294" numCol="1" anchor="t" anchorCtr="0" compatLnSpc="1">
            <a:prstTxWarp prst="textNoShape">
              <a:avLst/>
            </a:prstTxWarp>
          </a:bodyPr>
          <a:lstStyle/>
          <a:p>
            <a:endParaRPr lang="en-US">
              <a:solidFill>
                <a:srgbClr val="FFFFFF"/>
              </a:solidFill>
            </a:endParaRPr>
          </a:p>
        </p:txBody>
      </p:sp>
      <p:sp>
        <p:nvSpPr>
          <p:cNvPr id="8" name="Upper text"/>
          <p:cNvSpPr/>
          <p:nvPr>
            <p:custDataLst>
              <p:tags r:id="rId1"/>
            </p:custDataLst>
          </p:nvPr>
        </p:nvSpPr>
        <p:spPr bwMode="auto">
          <a:xfrm>
            <a:off x="2061727" y="1094873"/>
            <a:ext cx="6652647" cy="1574146"/>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39078" tIns="93353" rIns="68586" bIns="93353" numCol="1" rtlCol="0" anchor="ctr" anchorCtr="0" compatLnSpc="1">
            <a:prstTxWarp prst="textNoShape">
              <a:avLst/>
            </a:prstTxWarp>
          </a:bodyPr>
          <a:lstStyle/>
          <a:p>
            <a:pPr>
              <a:spcBef>
                <a:spcPts val="1350"/>
              </a:spcBef>
              <a:buSzPct val="90000"/>
            </a:pPr>
            <a:r>
              <a:rPr lang="en-US" sz="1800" spc="-38" dirty="0">
                <a:gradFill>
                  <a:gsLst>
                    <a:gs pos="0">
                      <a:srgbClr val="FFFFFF"/>
                    </a:gs>
                    <a:gs pos="100000">
                      <a:srgbClr val="FFFFFF"/>
                    </a:gs>
                  </a:gsLst>
                  <a:lin ang="5400000" scaled="0"/>
                </a:gradFill>
                <a:ea typeface="Segoe UI" pitchFamily="34" charset="0"/>
                <a:cs typeface="Segoe UI" pitchFamily="34" charset="0"/>
              </a:rPr>
              <a:t>Design target: </a:t>
            </a:r>
            <a:r>
              <a:rPr lang="en-US" sz="1800" i="1" spc="-38" dirty="0">
                <a:gradFill>
                  <a:gsLst>
                    <a:gs pos="0">
                      <a:srgbClr val="FFFFFF"/>
                    </a:gs>
                    <a:gs pos="100000">
                      <a:srgbClr val="FFFFFF"/>
                    </a:gs>
                  </a:gsLst>
                  <a:lin ang="5400000" scaled="0"/>
                </a:gradFill>
                <a:ea typeface="Segoe UI" pitchFamily="34" charset="0"/>
                <a:cs typeface="Segoe UI" pitchFamily="34" charset="0"/>
              </a:rPr>
              <a:t>Parity with key values of best-in-class SAN storage</a:t>
            </a:r>
          </a:p>
          <a:p>
            <a:pPr marL="301257" indent="-301257">
              <a:spcBef>
                <a:spcPts val="450"/>
              </a:spcBef>
              <a:buSzPct val="90000"/>
              <a:buBlip>
                <a:blip r:embed="rId4"/>
              </a:buBlip>
            </a:pPr>
            <a:r>
              <a:rPr lang="en-US" sz="1800" dirty="0">
                <a:gradFill>
                  <a:gsLst>
                    <a:gs pos="0">
                      <a:srgbClr val="FFFFFF"/>
                    </a:gs>
                    <a:gs pos="86000">
                      <a:srgbClr val="FFFFFF"/>
                    </a:gs>
                  </a:gsLst>
                  <a:lin ang="5400000" scaled="0"/>
                </a:gradFill>
              </a:rPr>
              <a:t>Equivalent availability and reliability</a:t>
            </a:r>
          </a:p>
          <a:p>
            <a:pPr marL="301257" indent="-301257">
              <a:spcBef>
                <a:spcPts val="450"/>
              </a:spcBef>
              <a:buSzPct val="90000"/>
              <a:buBlip>
                <a:blip r:embed="rId4"/>
              </a:buBlip>
            </a:pPr>
            <a:r>
              <a:rPr lang="en-US" sz="1800" dirty="0">
                <a:gradFill>
                  <a:gsLst>
                    <a:gs pos="0">
                      <a:srgbClr val="FFFFFF"/>
                    </a:gs>
                    <a:gs pos="86000">
                      <a:srgbClr val="FFFFFF"/>
                    </a:gs>
                  </a:gsLst>
                  <a:lin ang="5400000" scaled="0"/>
                </a:gradFill>
              </a:rPr>
              <a:t>Competitive performance and CPU overhead</a:t>
            </a:r>
          </a:p>
          <a:p>
            <a:pPr marL="301257" indent="-301257">
              <a:spcBef>
                <a:spcPts val="450"/>
              </a:spcBef>
              <a:buSzPct val="90000"/>
              <a:buBlip>
                <a:blip r:embed="rId4"/>
              </a:buBlip>
            </a:pPr>
            <a:r>
              <a:rPr lang="en-US" sz="1800" dirty="0">
                <a:gradFill>
                  <a:gsLst>
                    <a:gs pos="0">
                      <a:srgbClr val="FFFFFF"/>
                    </a:gs>
                    <a:gs pos="86000">
                      <a:srgbClr val="FFFFFF"/>
                    </a:gs>
                  </a:gsLst>
                  <a:lin ang="5400000" scaled="0"/>
                </a:gradFill>
              </a:rPr>
              <a:t>Application-consistent backups</a:t>
            </a:r>
          </a:p>
        </p:txBody>
      </p:sp>
      <p:sp>
        <p:nvSpPr>
          <p:cNvPr id="9" name="Lower text"/>
          <p:cNvSpPr/>
          <p:nvPr>
            <p:custDataLst>
              <p:tags r:id="rId2"/>
            </p:custDataLst>
          </p:nvPr>
        </p:nvSpPr>
        <p:spPr bwMode="auto">
          <a:xfrm>
            <a:off x="2061726" y="2760230"/>
            <a:ext cx="4980272" cy="1583169"/>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39078" tIns="93353" rIns="68586" bIns="93353" numCol="1" rtlCol="0" anchor="ctr" anchorCtr="0" compatLnSpc="1">
            <a:prstTxWarp prst="textNoShape">
              <a:avLst/>
            </a:prstTxWarp>
          </a:bodyPr>
          <a:lstStyle/>
          <a:p>
            <a:pPr marL="301257" indent="-301257">
              <a:lnSpc>
                <a:spcPct val="90000"/>
              </a:lnSpc>
              <a:spcBef>
                <a:spcPts val="450"/>
              </a:spcBef>
              <a:buSzPct val="90000"/>
              <a:buBlip>
                <a:blip r:embed="rId4"/>
              </a:buBlip>
            </a:pPr>
            <a:r>
              <a:rPr lang="en-US" sz="1800" dirty="0">
                <a:gradFill>
                  <a:gsLst>
                    <a:gs pos="0">
                      <a:srgbClr val="FFFFFF"/>
                    </a:gs>
                    <a:gs pos="86000">
                      <a:srgbClr val="FFFFFF"/>
                    </a:gs>
                  </a:gsLst>
                  <a:lin ang="5400000" scaled="0"/>
                </a:gradFill>
              </a:rPr>
              <a:t>Substantially lower cost – acquisition, deployment, and operation</a:t>
            </a:r>
          </a:p>
          <a:p>
            <a:pPr marL="301257" indent="-301257">
              <a:lnSpc>
                <a:spcPct val="90000"/>
              </a:lnSpc>
              <a:spcBef>
                <a:spcPts val="450"/>
              </a:spcBef>
              <a:buSzPct val="90000"/>
              <a:buBlip>
                <a:blip r:embed="rId4"/>
              </a:buBlip>
            </a:pPr>
            <a:r>
              <a:rPr lang="en-US" sz="1800" dirty="0">
                <a:gradFill>
                  <a:gsLst>
                    <a:gs pos="0">
                      <a:srgbClr val="FFFFFF"/>
                    </a:gs>
                    <a:gs pos="86000">
                      <a:srgbClr val="FFFFFF"/>
                    </a:gs>
                  </a:gsLst>
                  <a:lin ang="5400000" scaled="0"/>
                </a:gradFill>
              </a:rPr>
              <a:t>Substantially better serviceability and data management model</a:t>
            </a:r>
          </a:p>
          <a:p>
            <a:pPr marL="301257" indent="-301257">
              <a:lnSpc>
                <a:spcPct val="90000"/>
              </a:lnSpc>
              <a:spcBef>
                <a:spcPts val="450"/>
              </a:spcBef>
              <a:buSzPct val="90000"/>
              <a:buBlip>
                <a:blip r:embed="rId4"/>
              </a:buBlip>
            </a:pPr>
            <a:r>
              <a:rPr lang="en-US" sz="1800" dirty="0">
                <a:gradFill>
                  <a:gsLst>
                    <a:gs pos="0">
                      <a:srgbClr val="FFFFFF"/>
                    </a:gs>
                    <a:gs pos="86000">
                      <a:srgbClr val="FFFFFF"/>
                    </a:gs>
                  </a:gsLst>
                  <a:lin ang="5400000" scaled="0"/>
                </a:gradFill>
              </a:rPr>
              <a:t>Easier to deploy and manage</a:t>
            </a:r>
          </a:p>
        </p:txBody>
      </p:sp>
      <p:sp>
        <p:nvSpPr>
          <p:cNvPr id="10"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1"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5"/>
              </a:rPr>
              <a:t>www.rapidbbs.cn</a:t>
            </a:r>
            <a:endParaRPr lang="zh-CN" altLang="en-US" sz="1200" b="0">
              <a:latin typeface="Arial" charset="0"/>
              <a:ea typeface="ＭＳ Ｐゴシック" pitchFamily="34" charset="-128"/>
            </a:endParaRPr>
          </a:p>
        </p:txBody>
      </p:sp>
      <p:pic>
        <p:nvPicPr>
          <p:cNvPr id="12" name="Picture 2">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731757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grpId="0" nodeType="clickEffect">
                                  <p:stCondLst>
                                    <p:cond delay="500"/>
                                  </p:stCondLst>
                                  <p:childTnLst>
                                    <p:set>
                                      <p:cBhvr>
                                        <p:cTn id="12" dur="1" fill="hold">
                                          <p:stCondLst>
                                            <p:cond delay="0"/>
                                          </p:stCondLst>
                                        </p:cTn>
                                        <p:tgtEl>
                                          <p:spTgt spid="8">
                                            <p:bg/>
                                          </p:spTgt>
                                        </p:tgtEl>
                                        <p:attrNameLst>
                                          <p:attrName>style.visibility</p:attrName>
                                        </p:attrNameLst>
                                      </p:cBhvr>
                                      <p:to>
                                        <p:strVal val="visible"/>
                                      </p:to>
                                    </p:set>
                                    <p:anim calcmode="lin" valueType="num">
                                      <p:cBhvr additive="base">
                                        <p:cTn id="13" dur="500" fill="hold"/>
                                        <p:tgtEl>
                                          <p:spTgt spid="8">
                                            <p:bg/>
                                          </p:spTgt>
                                        </p:tgtEl>
                                        <p:attrNameLst>
                                          <p:attrName>ppt_x</p:attrName>
                                        </p:attrNameLst>
                                      </p:cBhvr>
                                      <p:tavLst>
                                        <p:tav tm="0">
                                          <p:val>
                                            <p:strVal val="1+#ppt_w/2"/>
                                          </p:val>
                                        </p:tav>
                                        <p:tav tm="100000">
                                          <p:val>
                                            <p:strVal val="#ppt_x"/>
                                          </p:val>
                                        </p:tav>
                                      </p:tavLst>
                                    </p:anim>
                                    <p:anim calcmode="lin" valueType="num">
                                      <p:cBhvr additive="base">
                                        <p:cTn id="14" dur="500" fill="hold"/>
                                        <p:tgtEl>
                                          <p:spTgt spid="8">
                                            <p:bg/>
                                          </p:spTgt>
                                        </p:tgtEl>
                                        <p:attrNameLst>
                                          <p:attrName>ppt_y</p:attrName>
                                        </p:attrNameLst>
                                      </p:cBhvr>
                                      <p:tavLst>
                                        <p:tav tm="0">
                                          <p:val>
                                            <p:strVal val="#ppt_y"/>
                                          </p:val>
                                        </p:tav>
                                        <p:tav tm="100000">
                                          <p:val>
                                            <p:strVal val="#ppt_y"/>
                                          </p:val>
                                        </p:tav>
                                      </p:tavLst>
                                    </p:anim>
                                  </p:childTnLst>
                                </p:cTn>
                              </p:par>
                            </p:childTnLst>
                          </p:cTn>
                        </p:par>
                        <p:par>
                          <p:cTn id="15" fill="hold">
                            <p:stCondLst>
                              <p:cond delay="1000"/>
                            </p:stCondLst>
                            <p:childTnLst>
                              <p:par>
                                <p:cTn id="16" presetID="2" presetClass="entr" presetSubtype="4" fill="hold" grpId="0" nodeType="afterEffect">
                                  <p:stCondLst>
                                    <p:cond delay="0"/>
                                  </p:stCondLst>
                                  <p:childTnLst>
                                    <p:set>
                                      <p:cBhvr>
                                        <p:cTn id="17" dur="1" fill="hold">
                                          <p:stCondLst>
                                            <p:cond delay="0"/>
                                          </p:stCondLst>
                                        </p:cTn>
                                        <p:tgtEl>
                                          <p:spTgt spid="9">
                                            <p:bg/>
                                          </p:spTgt>
                                        </p:tgtEl>
                                        <p:attrNameLst>
                                          <p:attrName>style.visibility</p:attrName>
                                        </p:attrNameLst>
                                      </p:cBhvr>
                                      <p:to>
                                        <p:strVal val="visible"/>
                                      </p:to>
                                    </p:set>
                                    <p:anim calcmode="lin" valueType="num">
                                      <p:cBhvr additive="base">
                                        <p:cTn id="18" dur="500" fill="hold"/>
                                        <p:tgtEl>
                                          <p:spTgt spid="9">
                                            <p:bg/>
                                          </p:spTgt>
                                        </p:tgtEl>
                                        <p:attrNameLst>
                                          <p:attrName>ppt_x</p:attrName>
                                        </p:attrNameLst>
                                      </p:cBhvr>
                                      <p:tavLst>
                                        <p:tav tm="0">
                                          <p:val>
                                            <p:strVal val="#ppt_x"/>
                                          </p:val>
                                        </p:tav>
                                        <p:tav tm="100000">
                                          <p:val>
                                            <p:strVal val="#ppt_x"/>
                                          </p:val>
                                        </p:tav>
                                      </p:tavLst>
                                    </p:anim>
                                    <p:anim calcmode="lin" valueType="num">
                                      <p:cBhvr additive="base">
                                        <p:cTn id="19" dur="500" fill="hold"/>
                                        <p:tgtEl>
                                          <p:spTgt spid="9">
                                            <p:bg/>
                                          </p:spTgt>
                                        </p:tgtEl>
                                        <p:attrNameLst>
                                          <p:attrName>ppt_y</p:attrName>
                                        </p:attrNameLst>
                                      </p:cBhvr>
                                      <p:tavLst>
                                        <p:tav tm="0">
                                          <p:val>
                                            <p:strVal val="1+#ppt_h/2"/>
                                          </p:val>
                                        </p:tav>
                                        <p:tav tm="100000">
                                          <p:val>
                                            <p:strVal val="#ppt_y"/>
                                          </p:val>
                                        </p:tav>
                                      </p:tavLst>
                                    </p:anim>
                                  </p:childTnLst>
                                </p:cTn>
                              </p:par>
                            </p:childTnLst>
                          </p:cTn>
                        </p:par>
                        <p:par>
                          <p:cTn id="20" fill="hold">
                            <p:stCondLst>
                              <p:cond delay="1500"/>
                            </p:stCondLst>
                            <p:childTnLst>
                              <p:par>
                                <p:cTn id="21" presetID="2" presetClass="entr" presetSubtype="6" fill="hold" grpId="0" nodeType="afterEffect">
                                  <p:stCondLst>
                                    <p:cond delay="0"/>
                                  </p:stCondLst>
                                  <p:childTnLst>
                                    <p:set>
                                      <p:cBhvr>
                                        <p:cTn id="22" dur="1" fill="hold">
                                          <p:stCondLst>
                                            <p:cond delay="0"/>
                                          </p:stCondLst>
                                        </p:cTn>
                                        <p:tgtEl>
                                          <p:spTgt spid="5"/>
                                        </p:tgtEl>
                                        <p:attrNameLst>
                                          <p:attrName>style.visibility</p:attrName>
                                        </p:attrNameLst>
                                      </p:cBhvr>
                                      <p:to>
                                        <p:strVal val="visible"/>
                                      </p:to>
                                    </p:set>
                                    <p:anim calcmode="lin" valueType="num">
                                      <p:cBhvr additive="base">
                                        <p:cTn id="23" dur="500" fill="hold"/>
                                        <p:tgtEl>
                                          <p:spTgt spid="5"/>
                                        </p:tgtEl>
                                        <p:attrNameLst>
                                          <p:attrName>ppt_x</p:attrName>
                                        </p:attrNameLst>
                                      </p:cBhvr>
                                      <p:tavLst>
                                        <p:tav tm="0">
                                          <p:val>
                                            <p:strVal val="1+#ppt_w/2"/>
                                          </p:val>
                                        </p:tav>
                                        <p:tav tm="100000">
                                          <p:val>
                                            <p:strVal val="#ppt_x"/>
                                          </p:val>
                                        </p:tav>
                                      </p:tavLst>
                                    </p:anim>
                                    <p:anim calcmode="lin" valueType="num">
                                      <p:cBhvr additive="base">
                                        <p:cTn id="24" dur="500" fill="hold"/>
                                        <p:tgtEl>
                                          <p:spTgt spid="5"/>
                                        </p:tgtEl>
                                        <p:attrNameLst>
                                          <p:attrName>ppt_y</p:attrName>
                                        </p:attrNameLst>
                                      </p:cBhvr>
                                      <p:tavLst>
                                        <p:tav tm="0">
                                          <p:val>
                                            <p:strVal val="1+#ppt_h/2"/>
                                          </p:val>
                                        </p:tav>
                                        <p:tav tm="100000">
                                          <p:val>
                                            <p:strVal val="#ppt_y"/>
                                          </p:val>
                                        </p:tav>
                                      </p:tavLst>
                                    </p:anim>
                                  </p:childTnLst>
                                </p:cTn>
                              </p:par>
                            </p:childTnLst>
                          </p:cTn>
                        </p:par>
                        <p:par>
                          <p:cTn id="25" fill="hold">
                            <p:stCondLst>
                              <p:cond delay="2000"/>
                            </p:stCondLst>
                            <p:childTnLst>
                              <p:par>
                                <p:cTn id="26" presetID="10" presetClass="entr" presetSubtype="0" fill="hold" grpId="0" nodeType="afterEffect">
                                  <p:stCondLst>
                                    <p:cond delay="0"/>
                                  </p:stCondLst>
                                  <p:childTnLst>
                                    <p:set>
                                      <p:cBhvr>
                                        <p:cTn id="27" dur="1" fill="hold">
                                          <p:stCondLst>
                                            <p:cond delay="0"/>
                                          </p:stCondLst>
                                        </p:cTn>
                                        <p:tgtEl>
                                          <p:spTgt spid="7"/>
                                        </p:tgtEl>
                                        <p:attrNameLst>
                                          <p:attrName>style.visibility</p:attrName>
                                        </p:attrNameLst>
                                      </p:cBhvr>
                                      <p:to>
                                        <p:strVal val="visible"/>
                                      </p:to>
                                    </p:set>
                                    <p:animEffect transition="in" filter="fade">
                                      <p:cBhvr>
                                        <p:cTn id="28" dur="500"/>
                                        <p:tgtEl>
                                          <p:spTgt spid="7"/>
                                        </p:tgtEl>
                                      </p:cBhvr>
                                    </p:animEffect>
                                  </p:childTnLst>
                                </p:cTn>
                              </p:par>
                            </p:childTnLst>
                          </p:cTn>
                        </p:par>
                        <p:par>
                          <p:cTn id="29" fill="hold">
                            <p:stCondLst>
                              <p:cond delay="2500"/>
                            </p:stCondLst>
                            <p:childTnLst>
                              <p:par>
                                <p:cTn id="30" presetID="2" presetClass="entr" presetSubtype="2" fill="hold" grpId="0" nodeType="afterEffect">
                                  <p:stCondLst>
                                    <p:cond delay="0"/>
                                  </p:stCondLst>
                                  <p:childTnLst>
                                    <p:set>
                                      <p:cBhvr>
                                        <p:cTn id="31" dur="1" fill="hold">
                                          <p:stCondLst>
                                            <p:cond delay="0"/>
                                          </p:stCondLst>
                                        </p:cTn>
                                        <p:tgtEl>
                                          <p:spTgt spid="8">
                                            <p:txEl>
                                              <p:pRg st="0" end="0"/>
                                            </p:txEl>
                                          </p:spTgt>
                                        </p:tgtEl>
                                        <p:attrNameLst>
                                          <p:attrName>style.visibility</p:attrName>
                                        </p:attrNameLst>
                                      </p:cBhvr>
                                      <p:to>
                                        <p:strVal val="visible"/>
                                      </p:to>
                                    </p:set>
                                    <p:anim calcmode="lin" valueType="num">
                                      <p:cBhvr additive="base">
                                        <p:cTn id="32" dur="500" fill="hold"/>
                                        <p:tgtEl>
                                          <p:spTgt spid="8">
                                            <p:txEl>
                                              <p:pRg st="0" end="0"/>
                                            </p:txEl>
                                          </p:spTgt>
                                        </p:tgtEl>
                                        <p:attrNameLst>
                                          <p:attrName>ppt_x</p:attrName>
                                        </p:attrNameLst>
                                      </p:cBhvr>
                                      <p:tavLst>
                                        <p:tav tm="0">
                                          <p:val>
                                            <p:strVal val="1+#ppt_w/2"/>
                                          </p:val>
                                        </p:tav>
                                        <p:tav tm="100000">
                                          <p:val>
                                            <p:strVal val="#ppt_x"/>
                                          </p:val>
                                        </p:tav>
                                      </p:tavLst>
                                    </p:anim>
                                    <p:anim calcmode="lin" valueType="num">
                                      <p:cBhvr additive="base">
                                        <p:cTn id="33" dur="500" fill="hold"/>
                                        <p:tgtEl>
                                          <p:spTgt spid="8">
                                            <p:txEl>
                                              <p:pRg st="0" end="0"/>
                                            </p:txEl>
                                          </p:spTgt>
                                        </p:tgtEl>
                                        <p:attrNameLst>
                                          <p:attrName>ppt_y</p:attrName>
                                        </p:attrNameLst>
                                      </p:cBhvr>
                                      <p:tavLst>
                                        <p:tav tm="0">
                                          <p:val>
                                            <p:strVal val="#ppt_y"/>
                                          </p:val>
                                        </p:tav>
                                        <p:tav tm="100000">
                                          <p:val>
                                            <p:strVal val="#ppt_y"/>
                                          </p:val>
                                        </p:tav>
                                      </p:tavLst>
                                    </p:anim>
                                  </p:childTnLst>
                                </p:cTn>
                              </p:par>
                            </p:childTnLst>
                          </p:cTn>
                        </p:par>
                        <p:par>
                          <p:cTn id="34" fill="hold">
                            <p:stCondLst>
                              <p:cond delay="3000"/>
                            </p:stCondLst>
                            <p:childTnLst>
                              <p:par>
                                <p:cTn id="35" presetID="2" presetClass="entr" presetSubtype="2" fill="hold" grpId="0" nodeType="afterEffect">
                                  <p:stCondLst>
                                    <p:cond delay="0"/>
                                  </p:stCondLst>
                                  <p:childTnLst>
                                    <p:set>
                                      <p:cBhvr>
                                        <p:cTn id="36" dur="1" fill="hold">
                                          <p:stCondLst>
                                            <p:cond delay="0"/>
                                          </p:stCondLst>
                                        </p:cTn>
                                        <p:tgtEl>
                                          <p:spTgt spid="8">
                                            <p:txEl>
                                              <p:pRg st="1" end="1"/>
                                            </p:txEl>
                                          </p:spTgt>
                                        </p:tgtEl>
                                        <p:attrNameLst>
                                          <p:attrName>style.visibility</p:attrName>
                                        </p:attrNameLst>
                                      </p:cBhvr>
                                      <p:to>
                                        <p:strVal val="visible"/>
                                      </p:to>
                                    </p:set>
                                    <p:anim calcmode="lin" valueType="num">
                                      <p:cBhvr additive="base">
                                        <p:cTn id="37" dur="500" fill="hold"/>
                                        <p:tgtEl>
                                          <p:spTgt spid="8">
                                            <p:txEl>
                                              <p:pRg st="1" end="1"/>
                                            </p:txEl>
                                          </p:spTgt>
                                        </p:tgtEl>
                                        <p:attrNameLst>
                                          <p:attrName>ppt_x</p:attrName>
                                        </p:attrNameLst>
                                      </p:cBhvr>
                                      <p:tavLst>
                                        <p:tav tm="0">
                                          <p:val>
                                            <p:strVal val="1+#ppt_w/2"/>
                                          </p:val>
                                        </p:tav>
                                        <p:tav tm="100000">
                                          <p:val>
                                            <p:strVal val="#ppt_x"/>
                                          </p:val>
                                        </p:tav>
                                      </p:tavLst>
                                    </p:anim>
                                    <p:anim calcmode="lin" valueType="num">
                                      <p:cBhvr additive="base">
                                        <p:cTn id="38" dur="500" fill="hold"/>
                                        <p:tgtEl>
                                          <p:spTgt spid="8">
                                            <p:txEl>
                                              <p:pRg st="1" end="1"/>
                                            </p:txEl>
                                          </p:spTgt>
                                        </p:tgtEl>
                                        <p:attrNameLst>
                                          <p:attrName>ppt_y</p:attrName>
                                        </p:attrNameLst>
                                      </p:cBhvr>
                                      <p:tavLst>
                                        <p:tav tm="0">
                                          <p:val>
                                            <p:strVal val="#ppt_y"/>
                                          </p:val>
                                        </p:tav>
                                        <p:tav tm="100000">
                                          <p:val>
                                            <p:strVal val="#ppt_y"/>
                                          </p:val>
                                        </p:tav>
                                      </p:tavLst>
                                    </p:anim>
                                  </p:childTnLst>
                                </p:cTn>
                              </p:par>
                            </p:childTnLst>
                          </p:cTn>
                        </p:par>
                        <p:par>
                          <p:cTn id="39" fill="hold">
                            <p:stCondLst>
                              <p:cond delay="3500"/>
                            </p:stCondLst>
                            <p:childTnLst>
                              <p:par>
                                <p:cTn id="40" presetID="2" presetClass="entr" presetSubtype="2" fill="hold" grpId="0" nodeType="afterEffect">
                                  <p:stCondLst>
                                    <p:cond delay="0"/>
                                  </p:stCondLst>
                                  <p:childTnLst>
                                    <p:set>
                                      <p:cBhvr>
                                        <p:cTn id="41" dur="1" fill="hold">
                                          <p:stCondLst>
                                            <p:cond delay="0"/>
                                          </p:stCondLst>
                                        </p:cTn>
                                        <p:tgtEl>
                                          <p:spTgt spid="8">
                                            <p:txEl>
                                              <p:pRg st="2" end="2"/>
                                            </p:txEl>
                                          </p:spTgt>
                                        </p:tgtEl>
                                        <p:attrNameLst>
                                          <p:attrName>style.visibility</p:attrName>
                                        </p:attrNameLst>
                                      </p:cBhvr>
                                      <p:to>
                                        <p:strVal val="visible"/>
                                      </p:to>
                                    </p:set>
                                    <p:anim calcmode="lin" valueType="num">
                                      <p:cBhvr additive="base">
                                        <p:cTn id="42" dur="500" fill="hold"/>
                                        <p:tgtEl>
                                          <p:spTgt spid="8">
                                            <p:txEl>
                                              <p:pRg st="2" end="2"/>
                                            </p:txEl>
                                          </p:spTgt>
                                        </p:tgtEl>
                                        <p:attrNameLst>
                                          <p:attrName>ppt_x</p:attrName>
                                        </p:attrNameLst>
                                      </p:cBhvr>
                                      <p:tavLst>
                                        <p:tav tm="0">
                                          <p:val>
                                            <p:strVal val="1+#ppt_w/2"/>
                                          </p:val>
                                        </p:tav>
                                        <p:tav tm="100000">
                                          <p:val>
                                            <p:strVal val="#ppt_x"/>
                                          </p:val>
                                        </p:tav>
                                      </p:tavLst>
                                    </p:anim>
                                    <p:anim calcmode="lin" valueType="num">
                                      <p:cBhvr additive="base">
                                        <p:cTn id="43" dur="500" fill="hold"/>
                                        <p:tgtEl>
                                          <p:spTgt spid="8">
                                            <p:txEl>
                                              <p:pRg st="2" end="2"/>
                                            </p:txEl>
                                          </p:spTgt>
                                        </p:tgtEl>
                                        <p:attrNameLst>
                                          <p:attrName>ppt_y</p:attrName>
                                        </p:attrNameLst>
                                      </p:cBhvr>
                                      <p:tavLst>
                                        <p:tav tm="0">
                                          <p:val>
                                            <p:strVal val="#ppt_y"/>
                                          </p:val>
                                        </p:tav>
                                        <p:tav tm="100000">
                                          <p:val>
                                            <p:strVal val="#ppt_y"/>
                                          </p:val>
                                        </p:tav>
                                      </p:tavLst>
                                    </p:anim>
                                  </p:childTnLst>
                                </p:cTn>
                              </p:par>
                            </p:childTnLst>
                          </p:cTn>
                        </p:par>
                        <p:par>
                          <p:cTn id="44" fill="hold">
                            <p:stCondLst>
                              <p:cond delay="4000"/>
                            </p:stCondLst>
                            <p:childTnLst>
                              <p:par>
                                <p:cTn id="45" presetID="2" presetClass="entr" presetSubtype="2" fill="hold" grpId="0" nodeType="afterEffect">
                                  <p:stCondLst>
                                    <p:cond delay="0"/>
                                  </p:stCondLst>
                                  <p:childTnLst>
                                    <p:set>
                                      <p:cBhvr>
                                        <p:cTn id="46" dur="1" fill="hold">
                                          <p:stCondLst>
                                            <p:cond delay="0"/>
                                          </p:stCondLst>
                                        </p:cTn>
                                        <p:tgtEl>
                                          <p:spTgt spid="8">
                                            <p:txEl>
                                              <p:pRg st="3" end="3"/>
                                            </p:txEl>
                                          </p:spTgt>
                                        </p:tgtEl>
                                        <p:attrNameLst>
                                          <p:attrName>style.visibility</p:attrName>
                                        </p:attrNameLst>
                                      </p:cBhvr>
                                      <p:to>
                                        <p:strVal val="visible"/>
                                      </p:to>
                                    </p:set>
                                    <p:anim calcmode="lin" valueType="num">
                                      <p:cBhvr additive="base">
                                        <p:cTn id="47" dur="500" fill="hold"/>
                                        <p:tgtEl>
                                          <p:spTgt spid="8">
                                            <p:txEl>
                                              <p:pRg st="3" end="3"/>
                                            </p:txEl>
                                          </p:spTgt>
                                        </p:tgtEl>
                                        <p:attrNameLst>
                                          <p:attrName>ppt_x</p:attrName>
                                        </p:attrNameLst>
                                      </p:cBhvr>
                                      <p:tavLst>
                                        <p:tav tm="0">
                                          <p:val>
                                            <p:strVal val="1+#ppt_w/2"/>
                                          </p:val>
                                        </p:tav>
                                        <p:tav tm="100000">
                                          <p:val>
                                            <p:strVal val="#ppt_x"/>
                                          </p:val>
                                        </p:tav>
                                      </p:tavLst>
                                    </p:anim>
                                    <p:anim calcmode="lin" valueType="num">
                                      <p:cBhvr additive="base">
                                        <p:cTn id="48" dur="500" fill="hold"/>
                                        <p:tgtEl>
                                          <p:spTgt spid="8">
                                            <p:txEl>
                                              <p:pRg st="3" end="3"/>
                                            </p:txEl>
                                          </p:spTgt>
                                        </p:tgtEl>
                                        <p:attrNameLst>
                                          <p:attrName>ppt_y</p:attrName>
                                        </p:attrNameLst>
                                      </p:cBhvr>
                                      <p:tavLst>
                                        <p:tav tm="0">
                                          <p:val>
                                            <p:strVal val="#ppt_y"/>
                                          </p:val>
                                        </p:tav>
                                        <p:tav tm="100000">
                                          <p:val>
                                            <p:strVal val="#ppt_y"/>
                                          </p:val>
                                        </p:tav>
                                      </p:tavLst>
                                    </p:anim>
                                  </p:childTnLst>
                                </p:cTn>
                              </p:par>
                            </p:childTnLst>
                          </p:cTn>
                        </p:par>
                        <p:par>
                          <p:cTn id="49" fill="hold">
                            <p:stCondLst>
                              <p:cond delay="4500"/>
                            </p:stCondLst>
                            <p:childTnLst>
                              <p:par>
                                <p:cTn id="50" presetID="2" presetClass="entr" presetSubtype="4" fill="hold" grpId="0" nodeType="afterEffect">
                                  <p:stCondLst>
                                    <p:cond delay="1000"/>
                                  </p:stCondLst>
                                  <p:childTnLst>
                                    <p:set>
                                      <p:cBhvr>
                                        <p:cTn id="51" dur="1" fill="hold">
                                          <p:stCondLst>
                                            <p:cond delay="0"/>
                                          </p:stCondLst>
                                        </p:cTn>
                                        <p:tgtEl>
                                          <p:spTgt spid="9">
                                            <p:txEl>
                                              <p:pRg st="0" end="0"/>
                                            </p:txEl>
                                          </p:spTgt>
                                        </p:tgtEl>
                                        <p:attrNameLst>
                                          <p:attrName>style.visibility</p:attrName>
                                        </p:attrNameLst>
                                      </p:cBhvr>
                                      <p:to>
                                        <p:strVal val="visible"/>
                                      </p:to>
                                    </p:set>
                                    <p:anim calcmode="lin" valueType="num">
                                      <p:cBhvr additive="base">
                                        <p:cTn id="52" dur="500" fill="hold"/>
                                        <p:tgtEl>
                                          <p:spTgt spid="9">
                                            <p:txEl>
                                              <p:pRg st="0" end="0"/>
                                            </p:txEl>
                                          </p:spTgt>
                                        </p:tgtEl>
                                        <p:attrNameLst>
                                          <p:attrName>ppt_x</p:attrName>
                                        </p:attrNameLst>
                                      </p:cBhvr>
                                      <p:tavLst>
                                        <p:tav tm="0">
                                          <p:val>
                                            <p:strVal val="#ppt_x"/>
                                          </p:val>
                                        </p:tav>
                                        <p:tav tm="100000">
                                          <p:val>
                                            <p:strVal val="#ppt_x"/>
                                          </p:val>
                                        </p:tav>
                                      </p:tavLst>
                                    </p:anim>
                                    <p:anim calcmode="lin" valueType="num">
                                      <p:cBhvr additive="base">
                                        <p:cTn id="53" dur="500" fill="hold"/>
                                        <p:tgtEl>
                                          <p:spTgt spid="9">
                                            <p:txEl>
                                              <p:pRg st="0" end="0"/>
                                            </p:txEl>
                                          </p:spTgt>
                                        </p:tgtEl>
                                        <p:attrNameLst>
                                          <p:attrName>ppt_y</p:attrName>
                                        </p:attrNameLst>
                                      </p:cBhvr>
                                      <p:tavLst>
                                        <p:tav tm="0">
                                          <p:val>
                                            <p:strVal val="1+#ppt_h/2"/>
                                          </p:val>
                                        </p:tav>
                                        <p:tav tm="100000">
                                          <p:val>
                                            <p:strVal val="#ppt_y"/>
                                          </p:val>
                                        </p:tav>
                                      </p:tavLst>
                                    </p:anim>
                                  </p:childTnLst>
                                </p:cTn>
                              </p:par>
                            </p:childTnLst>
                          </p:cTn>
                        </p:par>
                        <p:par>
                          <p:cTn id="54" fill="hold">
                            <p:stCondLst>
                              <p:cond delay="6000"/>
                            </p:stCondLst>
                            <p:childTnLst>
                              <p:par>
                                <p:cTn id="55" presetID="2" presetClass="entr" presetSubtype="4" fill="hold" grpId="0" nodeType="afterEffect">
                                  <p:stCondLst>
                                    <p:cond delay="0"/>
                                  </p:stCondLst>
                                  <p:childTnLst>
                                    <p:set>
                                      <p:cBhvr>
                                        <p:cTn id="56" dur="1" fill="hold">
                                          <p:stCondLst>
                                            <p:cond delay="0"/>
                                          </p:stCondLst>
                                        </p:cTn>
                                        <p:tgtEl>
                                          <p:spTgt spid="9">
                                            <p:txEl>
                                              <p:pRg st="1" end="1"/>
                                            </p:txEl>
                                          </p:spTgt>
                                        </p:tgtEl>
                                        <p:attrNameLst>
                                          <p:attrName>style.visibility</p:attrName>
                                        </p:attrNameLst>
                                      </p:cBhvr>
                                      <p:to>
                                        <p:strVal val="visible"/>
                                      </p:to>
                                    </p:set>
                                    <p:anim calcmode="lin" valueType="num">
                                      <p:cBhvr additive="base">
                                        <p:cTn id="57" dur="500" fill="hold"/>
                                        <p:tgtEl>
                                          <p:spTgt spid="9">
                                            <p:txEl>
                                              <p:pRg st="1" end="1"/>
                                            </p:txEl>
                                          </p:spTgt>
                                        </p:tgtEl>
                                        <p:attrNameLst>
                                          <p:attrName>ppt_x</p:attrName>
                                        </p:attrNameLst>
                                      </p:cBhvr>
                                      <p:tavLst>
                                        <p:tav tm="0">
                                          <p:val>
                                            <p:strVal val="#ppt_x"/>
                                          </p:val>
                                        </p:tav>
                                        <p:tav tm="100000">
                                          <p:val>
                                            <p:strVal val="#ppt_x"/>
                                          </p:val>
                                        </p:tav>
                                      </p:tavLst>
                                    </p:anim>
                                    <p:anim calcmode="lin" valueType="num">
                                      <p:cBhvr additive="base">
                                        <p:cTn id="58" dur="500" fill="hold"/>
                                        <p:tgtEl>
                                          <p:spTgt spid="9">
                                            <p:txEl>
                                              <p:pRg st="1" end="1"/>
                                            </p:txEl>
                                          </p:spTgt>
                                        </p:tgtEl>
                                        <p:attrNameLst>
                                          <p:attrName>ppt_y</p:attrName>
                                        </p:attrNameLst>
                                      </p:cBhvr>
                                      <p:tavLst>
                                        <p:tav tm="0">
                                          <p:val>
                                            <p:strVal val="1+#ppt_h/2"/>
                                          </p:val>
                                        </p:tav>
                                        <p:tav tm="100000">
                                          <p:val>
                                            <p:strVal val="#ppt_y"/>
                                          </p:val>
                                        </p:tav>
                                      </p:tavLst>
                                    </p:anim>
                                  </p:childTnLst>
                                </p:cTn>
                              </p:par>
                            </p:childTnLst>
                          </p:cTn>
                        </p:par>
                        <p:par>
                          <p:cTn id="59" fill="hold">
                            <p:stCondLst>
                              <p:cond delay="6500"/>
                            </p:stCondLst>
                            <p:childTnLst>
                              <p:par>
                                <p:cTn id="60" presetID="2" presetClass="entr" presetSubtype="4" fill="hold" grpId="0" nodeType="afterEffect">
                                  <p:stCondLst>
                                    <p:cond delay="0"/>
                                  </p:stCondLst>
                                  <p:childTnLst>
                                    <p:set>
                                      <p:cBhvr>
                                        <p:cTn id="61" dur="1" fill="hold">
                                          <p:stCondLst>
                                            <p:cond delay="0"/>
                                          </p:stCondLst>
                                        </p:cTn>
                                        <p:tgtEl>
                                          <p:spTgt spid="9">
                                            <p:txEl>
                                              <p:pRg st="2" end="2"/>
                                            </p:txEl>
                                          </p:spTgt>
                                        </p:tgtEl>
                                        <p:attrNameLst>
                                          <p:attrName>style.visibility</p:attrName>
                                        </p:attrNameLst>
                                      </p:cBhvr>
                                      <p:to>
                                        <p:strVal val="visible"/>
                                      </p:to>
                                    </p:set>
                                    <p:anim calcmode="lin" valueType="num">
                                      <p:cBhvr additive="base">
                                        <p:cTn id="62" dur="500" fill="hold"/>
                                        <p:tgtEl>
                                          <p:spTgt spid="9">
                                            <p:txEl>
                                              <p:pRg st="2" end="2"/>
                                            </p:txEl>
                                          </p:spTgt>
                                        </p:tgtEl>
                                        <p:attrNameLst>
                                          <p:attrName>ppt_x</p:attrName>
                                        </p:attrNameLst>
                                      </p:cBhvr>
                                      <p:tavLst>
                                        <p:tav tm="0">
                                          <p:val>
                                            <p:strVal val="#ppt_x"/>
                                          </p:val>
                                        </p:tav>
                                        <p:tav tm="100000">
                                          <p:val>
                                            <p:strVal val="#ppt_x"/>
                                          </p:val>
                                        </p:tav>
                                      </p:tavLst>
                                    </p:anim>
                                    <p:anim calcmode="lin" valueType="num">
                                      <p:cBhvr additive="base">
                                        <p:cTn id="63" dur="500" fill="hold"/>
                                        <p:tgtEl>
                                          <p:spTgt spid="9">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build="p" animBg="1"/>
      <p:bldP spid="9" grpId="0" build="p" animBg="1"/>
    </p:bldLst>
  </p:timing>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p 10 capabilities to answer challenges</a:t>
            </a:r>
            <a:endParaRPr lang="en-US" dirty="0"/>
          </a:p>
        </p:txBody>
      </p:sp>
      <p:sp>
        <p:nvSpPr>
          <p:cNvPr id="18" name="Rectangle 17"/>
          <p:cNvSpPr/>
          <p:nvPr/>
        </p:nvSpPr>
        <p:spPr bwMode="auto">
          <a:xfrm>
            <a:off x="5600969" y="1044176"/>
            <a:ext cx="1543452" cy="1470425"/>
          </a:xfrm>
          <a:prstGeom prst="rect">
            <a:avLst/>
          </a:prstGeom>
          <a:solidFill>
            <a:srgbClr val="FF8A00"/>
          </a:solidFill>
          <a:ln w="9525" cap="flat" cmpd="sng" algn="ctr">
            <a:noFill/>
            <a:prstDash val="solid"/>
            <a:headEnd type="none" w="med" len="med"/>
            <a:tailEnd type="none" w="med" len="med"/>
          </a:ln>
          <a:effectLst/>
        </p:spPr>
        <p:txBody>
          <a:bodyPr rot="0" spcFirstLastPara="0" vertOverflow="overflow" horzOverflow="overflow" vert="horz" wrap="square" lIns="68586" tIns="34294" rIns="34294" bIns="68586" numCol="1" spcCol="0" rtlCol="0" fromWordArt="0" anchor="ctr" anchorCtr="0" forceAA="0" compatLnSpc="1">
            <a:prstTxWarp prst="textNoShape">
              <a:avLst/>
            </a:prstTxWarp>
            <a:noAutofit/>
          </a:bodyPr>
          <a:lstStyle/>
          <a:p>
            <a:pPr algn="ctr" defTabSz="685637" fontAlgn="base">
              <a:spcBef>
                <a:spcPct val="0"/>
              </a:spcBef>
              <a:spcAft>
                <a:spcPct val="0"/>
              </a:spcAft>
            </a:pPr>
            <a:r>
              <a:rPr lang="en-US" sz="1800" kern="0" spc="-38" dirty="0">
                <a:gradFill>
                  <a:gsLst>
                    <a:gs pos="0">
                      <a:srgbClr val="FFFFFF"/>
                    </a:gs>
                    <a:gs pos="100000">
                      <a:srgbClr val="FFFFFF"/>
                    </a:gs>
                  </a:gsLst>
                  <a:lin ang="5400000" scaled="0"/>
                </a:gradFill>
                <a:ea typeface="Segoe UI" pitchFamily="34" charset="0"/>
                <a:cs typeface="Segoe UI" pitchFamily="34" charset="0"/>
              </a:rPr>
              <a:t>Live Storage Migration</a:t>
            </a:r>
          </a:p>
        </p:txBody>
      </p:sp>
      <p:sp>
        <p:nvSpPr>
          <p:cNvPr id="22" name="Rectangle 21"/>
          <p:cNvSpPr/>
          <p:nvPr/>
        </p:nvSpPr>
        <p:spPr bwMode="auto">
          <a:xfrm>
            <a:off x="170305" y="2923443"/>
            <a:ext cx="1543453" cy="1477108"/>
          </a:xfrm>
          <a:prstGeom prst="rect">
            <a:avLst/>
          </a:prstGeom>
          <a:solidFill>
            <a:srgbClr val="8CC600"/>
          </a:solidFill>
          <a:ln w="9525" cap="flat" cmpd="sng" algn="ctr">
            <a:noFill/>
            <a:prstDash val="solid"/>
            <a:headEnd type="none" w="med" len="med"/>
            <a:tailEnd type="none" w="med" len="med"/>
          </a:ln>
          <a:effectLst/>
        </p:spPr>
        <p:txBody>
          <a:bodyPr rot="0" spcFirstLastPara="0" vertOverflow="overflow" horzOverflow="overflow" vert="horz" wrap="square" lIns="68586" tIns="34294" rIns="34294" bIns="68586" numCol="1" spcCol="0" rtlCol="0" fromWordArt="0" anchor="ctr" anchorCtr="0" forceAA="0" compatLnSpc="1">
            <a:prstTxWarp prst="textNoShape">
              <a:avLst/>
            </a:prstTxWarp>
            <a:noAutofit/>
          </a:bodyPr>
          <a:lstStyle/>
          <a:p>
            <a:pPr algn="ctr" defTabSz="685637" fontAlgn="base">
              <a:spcBef>
                <a:spcPct val="0"/>
              </a:spcBef>
              <a:spcAft>
                <a:spcPct val="0"/>
              </a:spcAft>
            </a:pPr>
            <a:r>
              <a:rPr lang="en-US" sz="1800" kern="0" spc="-38" dirty="0">
                <a:gradFill>
                  <a:gsLst>
                    <a:gs pos="0">
                      <a:srgbClr val="FFFFFF"/>
                    </a:gs>
                    <a:gs pos="100000">
                      <a:srgbClr val="FFFFFF"/>
                    </a:gs>
                  </a:gsLst>
                  <a:lin ang="5400000" scaled="0"/>
                </a:gradFill>
                <a:ea typeface="Segoe UI" pitchFamily="34" charset="0"/>
                <a:cs typeface="Segoe UI" pitchFamily="34" charset="0"/>
              </a:rPr>
              <a:t>SMB for workloads</a:t>
            </a:r>
          </a:p>
        </p:txBody>
      </p:sp>
      <p:sp>
        <p:nvSpPr>
          <p:cNvPr id="25" name="Rectangle 24"/>
          <p:cNvSpPr/>
          <p:nvPr/>
        </p:nvSpPr>
        <p:spPr bwMode="auto">
          <a:xfrm>
            <a:off x="170305" y="1044176"/>
            <a:ext cx="1543453" cy="1470425"/>
          </a:xfrm>
          <a:prstGeom prst="rect">
            <a:avLst/>
          </a:prstGeom>
          <a:solidFill>
            <a:srgbClr val="910091"/>
          </a:solidFill>
          <a:ln w="9525" cap="flat" cmpd="sng" algn="ctr">
            <a:noFill/>
            <a:prstDash val="solid"/>
            <a:headEnd type="none" w="med" len="med"/>
            <a:tailEnd type="none" w="med" len="med"/>
          </a:ln>
          <a:effectLst/>
        </p:spPr>
        <p:txBody>
          <a:bodyPr rot="0" spcFirstLastPara="0" vertOverflow="overflow" horzOverflow="overflow" vert="horz" wrap="square" lIns="68586" tIns="34294" rIns="34294" bIns="68586" numCol="1" spcCol="0" rtlCol="0" fromWordArt="0" anchor="ctr" anchorCtr="0" forceAA="0" compatLnSpc="1">
            <a:prstTxWarp prst="textNoShape">
              <a:avLst/>
            </a:prstTxWarp>
            <a:noAutofit/>
          </a:bodyPr>
          <a:lstStyle/>
          <a:p>
            <a:pPr algn="ctr" defTabSz="685637" fontAlgn="base">
              <a:spcBef>
                <a:spcPct val="0"/>
              </a:spcBef>
              <a:spcAft>
                <a:spcPct val="0"/>
              </a:spcAft>
            </a:pPr>
            <a:r>
              <a:rPr lang="en-US" sz="1800" kern="0" spc="-38" dirty="0">
                <a:gradFill>
                  <a:gsLst>
                    <a:gs pos="0">
                      <a:srgbClr val="FFFFFF"/>
                    </a:gs>
                    <a:gs pos="100000">
                      <a:srgbClr val="FFFFFF"/>
                    </a:gs>
                  </a:gsLst>
                  <a:lin ang="5400000" scaled="0"/>
                </a:gradFill>
                <a:ea typeface="Segoe UI" pitchFamily="34" charset="0"/>
                <a:cs typeface="Segoe UI" pitchFamily="34" charset="0"/>
              </a:rPr>
              <a:t>Storage Spaces</a:t>
            </a:r>
          </a:p>
        </p:txBody>
      </p:sp>
      <p:sp>
        <p:nvSpPr>
          <p:cNvPr id="27" name="Rectangle 26"/>
          <p:cNvSpPr/>
          <p:nvPr/>
        </p:nvSpPr>
        <p:spPr bwMode="auto">
          <a:xfrm>
            <a:off x="1942417" y="1044176"/>
            <a:ext cx="1588536" cy="1470425"/>
          </a:xfrm>
          <a:prstGeom prst="rect">
            <a:avLst/>
          </a:prstGeom>
          <a:solidFill>
            <a:srgbClr val="910091"/>
          </a:solidFill>
          <a:ln w="9525" cap="flat" cmpd="sng" algn="ctr">
            <a:noFill/>
            <a:prstDash val="solid"/>
            <a:headEnd type="none" w="med" len="med"/>
            <a:tailEnd type="none" w="med" len="med"/>
          </a:ln>
          <a:effectLst/>
        </p:spPr>
        <p:txBody>
          <a:bodyPr rot="0" spcFirstLastPara="0" vertOverflow="overflow" horzOverflow="overflow" vert="horz" wrap="square" lIns="68586" tIns="34294" rIns="34294" bIns="68586" numCol="1" spcCol="0" rtlCol="0" fromWordArt="0" anchor="ctr" anchorCtr="0" forceAA="0" compatLnSpc="1">
            <a:prstTxWarp prst="textNoShape">
              <a:avLst/>
            </a:prstTxWarp>
            <a:noAutofit/>
          </a:bodyPr>
          <a:lstStyle/>
          <a:p>
            <a:pPr algn="ctr" defTabSz="685637" fontAlgn="base">
              <a:spcBef>
                <a:spcPct val="0"/>
              </a:spcBef>
              <a:spcAft>
                <a:spcPct val="0"/>
              </a:spcAft>
            </a:pPr>
            <a:r>
              <a:rPr lang="en-US" sz="1800" kern="0" spc="-38" dirty="0">
                <a:gradFill>
                  <a:gsLst>
                    <a:gs pos="0">
                      <a:srgbClr val="FFFFFF"/>
                    </a:gs>
                    <a:gs pos="100000">
                      <a:srgbClr val="FFFFFF"/>
                    </a:gs>
                  </a:gsLst>
                  <a:lin ang="5400000" scaled="0"/>
                </a:gradFill>
                <a:ea typeface="Segoe UI" pitchFamily="34" charset="0"/>
                <a:cs typeface="Segoe UI" pitchFamily="34" charset="0"/>
              </a:rPr>
              <a:t>File System improvements</a:t>
            </a:r>
          </a:p>
        </p:txBody>
      </p:sp>
      <p:sp>
        <p:nvSpPr>
          <p:cNvPr id="28" name="Rectangle 27"/>
          <p:cNvSpPr/>
          <p:nvPr/>
        </p:nvSpPr>
        <p:spPr bwMode="auto">
          <a:xfrm>
            <a:off x="3771693" y="1044176"/>
            <a:ext cx="1541131" cy="1470425"/>
          </a:xfrm>
          <a:prstGeom prst="rect">
            <a:avLst/>
          </a:prstGeom>
          <a:solidFill>
            <a:srgbClr val="910091"/>
          </a:solidFill>
          <a:ln w="9525" cap="flat" cmpd="sng" algn="ctr">
            <a:noFill/>
            <a:prstDash val="solid"/>
            <a:headEnd type="none" w="med" len="med"/>
            <a:tailEnd type="none" w="med" len="med"/>
          </a:ln>
          <a:effectLst/>
        </p:spPr>
        <p:txBody>
          <a:bodyPr rot="0" spcFirstLastPara="0" vertOverflow="overflow" horzOverflow="overflow" vert="horz" wrap="square" lIns="68586" tIns="34294" rIns="34294" bIns="68586" numCol="1" spcCol="0" rtlCol="0" fromWordArt="0" anchor="ctr" anchorCtr="0" forceAA="0" compatLnSpc="1">
            <a:prstTxWarp prst="textNoShape">
              <a:avLst/>
            </a:prstTxWarp>
            <a:noAutofit/>
          </a:bodyPr>
          <a:lstStyle/>
          <a:p>
            <a:pPr algn="ctr" defTabSz="685637" fontAlgn="base">
              <a:spcBef>
                <a:spcPct val="0"/>
              </a:spcBef>
              <a:spcAft>
                <a:spcPct val="0"/>
              </a:spcAft>
            </a:pPr>
            <a:r>
              <a:rPr lang="en-US" sz="1800" kern="0" spc="-38" dirty="0">
                <a:gradFill>
                  <a:gsLst>
                    <a:gs pos="0">
                      <a:srgbClr val="FFFFFF"/>
                    </a:gs>
                    <a:gs pos="100000">
                      <a:srgbClr val="FFFFFF"/>
                    </a:gs>
                  </a:gsLst>
                  <a:lin ang="5400000" scaled="0"/>
                </a:gradFill>
                <a:ea typeface="Segoe UI" pitchFamily="34" charset="0"/>
                <a:cs typeface="Segoe UI" pitchFamily="34" charset="0"/>
              </a:rPr>
              <a:t>Clustered Share Volume v2</a:t>
            </a:r>
          </a:p>
        </p:txBody>
      </p:sp>
      <p:sp>
        <p:nvSpPr>
          <p:cNvPr id="29" name="Rectangle 28"/>
          <p:cNvSpPr/>
          <p:nvPr/>
        </p:nvSpPr>
        <p:spPr bwMode="auto">
          <a:xfrm>
            <a:off x="1942417" y="2923443"/>
            <a:ext cx="1588536" cy="1477108"/>
          </a:xfrm>
          <a:prstGeom prst="rect">
            <a:avLst/>
          </a:prstGeom>
          <a:solidFill>
            <a:srgbClr val="8CC600"/>
          </a:solidFill>
          <a:ln w="9525" cap="flat" cmpd="sng" algn="ctr">
            <a:noFill/>
            <a:prstDash val="solid"/>
            <a:headEnd type="none" w="med" len="med"/>
            <a:tailEnd type="none" w="med" len="med"/>
          </a:ln>
          <a:effectLst/>
        </p:spPr>
        <p:txBody>
          <a:bodyPr rot="0" spcFirstLastPara="0" vertOverflow="overflow" horzOverflow="overflow" vert="horz" wrap="square" lIns="68586" tIns="34294" rIns="34294" bIns="68586" numCol="1" spcCol="0" rtlCol="0" fromWordArt="0" anchor="ctr" anchorCtr="0" forceAA="0" compatLnSpc="1">
            <a:prstTxWarp prst="textNoShape">
              <a:avLst/>
            </a:prstTxWarp>
            <a:noAutofit/>
          </a:bodyPr>
          <a:lstStyle/>
          <a:p>
            <a:pPr algn="ctr" defTabSz="685637" fontAlgn="base">
              <a:spcBef>
                <a:spcPct val="0"/>
              </a:spcBef>
              <a:spcAft>
                <a:spcPct val="0"/>
              </a:spcAft>
            </a:pPr>
            <a:r>
              <a:rPr lang="en-US" sz="1800" kern="0" spc="-38" dirty="0">
                <a:gradFill>
                  <a:gsLst>
                    <a:gs pos="0">
                      <a:srgbClr val="FFFFFF"/>
                    </a:gs>
                    <a:gs pos="100000">
                      <a:srgbClr val="FFFFFF"/>
                    </a:gs>
                  </a:gsLst>
                  <a:lin ang="5400000" scaled="0"/>
                </a:gradFill>
                <a:ea typeface="Segoe UI" pitchFamily="34" charset="0"/>
                <a:cs typeface="Segoe UI" pitchFamily="34" charset="0"/>
              </a:rPr>
              <a:t>SMB Direct and SMB Multichannel</a:t>
            </a:r>
          </a:p>
        </p:txBody>
      </p:sp>
      <p:sp>
        <p:nvSpPr>
          <p:cNvPr id="30" name="Rectangle 29"/>
          <p:cNvSpPr/>
          <p:nvPr/>
        </p:nvSpPr>
        <p:spPr bwMode="auto">
          <a:xfrm>
            <a:off x="3771693" y="2923443"/>
            <a:ext cx="1541131" cy="1477108"/>
          </a:xfrm>
          <a:prstGeom prst="rect">
            <a:avLst/>
          </a:prstGeom>
          <a:solidFill>
            <a:srgbClr val="8CC600"/>
          </a:solidFill>
          <a:ln w="9525" cap="flat" cmpd="sng" algn="ctr">
            <a:noFill/>
            <a:prstDash val="solid"/>
            <a:headEnd type="none" w="med" len="med"/>
            <a:tailEnd type="none" w="med" len="med"/>
          </a:ln>
          <a:effectLst/>
        </p:spPr>
        <p:txBody>
          <a:bodyPr rot="0" spcFirstLastPara="0" vertOverflow="overflow" horzOverflow="overflow" vert="horz" wrap="square" lIns="68586" tIns="34294" rIns="34294" bIns="68586" numCol="1" spcCol="0" rtlCol="0" fromWordArt="0" anchor="ctr" anchorCtr="0" forceAA="0" compatLnSpc="1">
            <a:prstTxWarp prst="textNoShape">
              <a:avLst/>
            </a:prstTxWarp>
            <a:noAutofit/>
          </a:bodyPr>
          <a:lstStyle/>
          <a:p>
            <a:pPr algn="ctr" defTabSz="685637" fontAlgn="base">
              <a:spcBef>
                <a:spcPct val="0"/>
              </a:spcBef>
              <a:spcAft>
                <a:spcPct val="0"/>
              </a:spcAft>
            </a:pPr>
            <a:r>
              <a:rPr lang="en-US" sz="1800" kern="0" spc="-38" dirty="0">
                <a:gradFill>
                  <a:gsLst>
                    <a:gs pos="0">
                      <a:srgbClr val="FFFFFF"/>
                    </a:gs>
                    <a:gs pos="100000">
                      <a:srgbClr val="FFFFFF"/>
                    </a:gs>
                  </a:gsLst>
                  <a:lin ang="5400000" scaled="0"/>
                </a:gradFill>
                <a:ea typeface="Segoe UI" pitchFamily="34" charset="0"/>
                <a:cs typeface="Segoe UI" pitchFamily="34" charset="0"/>
              </a:rPr>
              <a:t>NFS support</a:t>
            </a:r>
          </a:p>
        </p:txBody>
      </p:sp>
      <p:sp>
        <p:nvSpPr>
          <p:cNvPr id="32" name="Rectangle 31"/>
          <p:cNvSpPr/>
          <p:nvPr/>
        </p:nvSpPr>
        <p:spPr bwMode="auto">
          <a:xfrm>
            <a:off x="5600970" y="2923443"/>
            <a:ext cx="1543451" cy="1477108"/>
          </a:xfrm>
          <a:prstGeom prst="rect">
            <a:avLst/>
          </a:prstGeom>
          <a:solidFill>
            <a:srgbClr val="FF8A00"/>
          </a:solidFill>
          <a:ln w="9525" cap="flat" cmpd="sng" algn="ctr">
            <a:noFill/>
            <a:prstDash val="solid"/>
            <a:headEnd type="none" w="med" len="med"/>
            <a:tailEnd type="none" w="med" len="med"/>
          </a:ln>
          <a:effectLst/>
        </p:spPr>
        <p:txBody>
          <a:bodyPr rot="0" spcFirstLastPara="0" vertOverflow="overflow" horzOverflow="overflow" vert="horz" wrap="square" lIns="68586" tIns="34294" rIns="34294" bIns="68586" numCol="1" spcCol="0" rtlCol="0" fromWordArt="0" anchor="ctr" anchorCtr="0" forceAA="0" compatLnSpc="1">
            <a:prstTxWarp prst="textNoShape">
              <a:avLst/>
            </a:prstTxWarp>
            <a:noAutofit/>
          </a:bodyPr>
          <a:lstStyle/>
          <a:p>
            <a:pPr algn="ctr" defTabSz="685637" fontAlgn="base">
              <a:spcBef>
                <a:spcPct val="0"/>
              </a:spcBef>
              <a:spcAft>
                <a:spcPct val="0"/>
              </a:spcAft>
            </a:pPr>
            <a:r>
              <a:rPr lang="en-US" sz="1800" kern="0" spc="-38" dirty="0" err="1">
                <a:gradFill>
                  <a:gsLst>
                    <a:gs pos="0">
                      <a:srgbClr val="FFFFFF"/>
                    </a:gs>
                    <a:gs pos="100000">
                      <a:srgbClr val="FFFFFF"/>
                    </a:gs>
                  </a:gsLst>
                  <a:lin ang="5400000" scaled="0"/>
                </a:gradFill>
                <a:ea typeface="Segoe UI" pitchFamily="34" charset="0"/>
                <a:cs typeface="Segoe UI" pitchFamily="34" charset="0"/>
              </a:rPr>
              <a:t>iSCSI</a:t>
            </a:r>
            <a:r>
              <a:rPr lang="en-US" sz="1800" kern="0" spc="-38" dirty="0">
                <a:gradFill>
                  <a:gsLst>
                    <a:gs pos="0">
                      <a:srgbClr val="FFFFFF"/>
                    </a:gs>
                    <a:gs pos="100000">
                      <a:srgbClr val="FFFFFF"/>
                    </a:gs>
                  </a:gsLst>
                  <a:lin ang="5400000" scaled="0"/>
                </a:gradFill>
                <a:ea typeface="Segoe UI" pitchFamily="34" charset="0"/>
                <a:cs typeface="Segoe UI" pitchFamily="34" charset="0"/>
              </a:rPr>
              <a:t> software target</a:t>
            </a:r>
          </a:p>
        </p:txBody>
      </p:sp>
      <p:sp>
        <p:nvSpPr>
          <p:cNvPr id="38" name="Rectangle 37"/>
          <p:cNvSpPr/>
          <p:nvPr/>
        </p:nvSpPr>
        <p:spPr bwMode="auto">
          <a:xfrm>
            <a:off x="7430246" y="1044176"/>
            <a:ext cx="1531372" cy="147042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68586" tIns="34294" rIns="34294" bIns="68586" numCol="1" spcCol="0" rtlCol="0" fromWordArt="0" anchor="ctr" anchorCtr="0" forceAA="0" compatLnSpc="1">
            <a:prstTxWarp prst="textNoShape">
              <a:avLst/>
            </a:prstTxWarp>
            <a:noAutofit/>
          </a:bodyPr>
          <a:lstStyle/>
          <a:p>
            <a:pPr algn="ctr" defTabSz="685637" fontAlgn="base">
              <a:spcBef>
                <a:spcPct val="0"/>
              </a:spcBef>
              <a:spcAft>
                <a:spcPct val="0"/>
              </a:spcAft>
            </a:pPr>
            <a:r>
              <a:rPr lang="en-US" sz="1800" kern="0" spc="-38" dirty="0">
                <a:gradFill>
                  <a:gsLst>
                    <a:gs pos="0">
                      <a:srgbClr val="FFFFFF"/>
                    </a:gs>
                    <a:gs pos="100000">
                      <a:srgbClr val="FFFFFF"/>
                    </a:gs>
                  </a:gsLst>
                  <a:lin ang="5400000" scaled="0"/>
                </a:gradFill>
                <a:ea typeface="Segoe UI" pitchFamily="34" charset="0"/>
                <a:cs typeface="Segoe UI" pitchFamily="34" charset="0"/>
              </a:rPr>
              <a:t>Offloaded Data Transfer</a:t>
            </a:r>
          </a:p>
          <a:p>
            <a:pPr algn="ctr" defTabSz="685637" fontAlgn="base">
              <a:spcBef>
                <a:spcPct val="0"/>
              </a:spcBef>
              <a:spcAft>
                <a:spcPct val="0"/>
              </a:spcAft>
            </a:pPr>
            <a:endParaRPr lang="en-US" sz="1800" kern="0" spc="-38" dirty="0">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a:off x="7430246" y="2929969"/>
            <a:ext cx="1531372" cy="1470583"/>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68586" tIns="34294" rIns="34294" bIns="68586" numCol="1" spcCol="0" rtlCol="0" fromWordArt="0" anchor="ctr" anchorCtr="0" forceAA="0" compatLnSpc="1">
            <a:prstTxWarp prst="textNoShape">
              <a:avLst/>
            </a:prstTxWarp>
            <a:noAutofit/>
          </a:bodyPr>
          <a:lstStyle/>
          <a:p>
            <a:pPr algn="ctr" defTabSz="685637" fontAlgn="base">
              <a:spcBef>
                <a:spcPct val="0"/>
              </a:spcBef>
              <a:spcAft>
                <a:spcPct val="0"/>
              </a:spcAft>
            </a:pPr>
            <a:r>
              <a:rPr lang="en-US" sz="1800" kern="0" spc="-38" dirty="0">
                <a:gradFill>
                  <a:gsLst>
                    <a:gs pos="0">
                      <a:srgbClr val="FFFFFF"/>
                    </a:gs>
                    <a:gs pos="100000">
                      <a:srgbClr val="FFFFFF"/>
                    </a:gs>
                  </a:gsLst>
                  <a:lin ang="5400000" scaled="0"/>
                </a:gradFill>
                <a:ea typeface="Segoe UI" pitchFamily="34" charset="0"/>
                <a:cs typeface="Segoe UI" pitchFamily="34" charset="0"/>
              </a:rPr>
              <a:t>Enhanced manageability</a:t>
            </a:r>
          </a:p>
          <a:p>
            <a:pPr algn="ctr" defTabSz="685637" fontAlgn="base">
              <a:spcBef>
                <a:spcPct val="0"/>
              </a:spcBef>
              <a:spcAft>
                <a:spcPct val="0"/>
              </a:spcAft>
            </a:pPr>
            <a:endParaRPr lang="en-US" sz="1800" kern="0" spc="-38" dirty="0">
              <a:gradFill>
                <a:gsLst>
                  <a:gs pos="0">
                    <a:srgbClr val="FFFFFF"/>
                  </a:gs>
                  <a:gs pos="100000">
                    <a:srgbClr val="FFFFFF"/>
                  </a:gs>
                </a:gsLst>
                <a:lin ang="5400000" scaled="0"/>
              </a:gradFill>
              <a:ea typeface="Segoe UI" pitchFamily="34" charset="0"/>
              <a:cs typeface="Segoe UI" pitchFamily="34" charset="0"/>
            </a:endParaRPr>
          </a:p>
        </p:txBody>
      </p:sp>
      <p:sp>
        <p:nvSpPr>
          <p:cNvPr id="13"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4"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
              </a:rPr>
              <a:t>www.rapidbbs.cn</a:t>
            </a:r>
            <a:endParaRPr lang="zh-CN" altLang="en-US" sz="1200" b="0">
              <a:latin typeface="Arial" charset="0"/>
              <a:ea typeface="ＭＳ Ｐゴシック" pitchFamily="34" charset="-128"/>
            </a:endParaRPr>
          </a:p>
        </p:txBody>
      </p:sp>
      <p:pic>
        <p:nvPicPr>
          <p:cNvPr id="15" name="Picture 2">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317577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8"/>
                                        </p:tgtEl>
                                        <p:attrNameLst>
                                          <p:attrName>style.visibility</p:attrName>
                                        </p:attrNameLst>
                                      </p:cBhvr>
                                      <p:to>
                                        <p:strVal val="visible"/>
                                      </p:to>
                                    </p:set>
                                    <p:animEffect transition="in" filter="fade">
                                      <p:cBhvr>
                                        <p:cTn id="13" dur="500"/>
                                        <p:tgtEl>
                                          <p:spTgt spid="28"/>
                                        </p:tgtEl>
                                      </p:cBhvr>
                                    </p:animEffect>
                                  </p:childTnLst>
                                </p:cTn>
                              </p:par>
                            </p:childTnLst>
                          </p:cTn>
                        </p:par>
                        <p:par>
                          <p:cTn id="14" fill="hold">
                            <p:stCondLst>
                              <p:cond delay="500"/>
                            </p:stCondLst>
                            <p:childTnLst>
                              <p:par>
                                <p:cTn id="15" presetID="10" presetClass="entr" presetSubtype="0" fill="hold" grpId="0" nodeType="afterEffect">
                                  <p:stCondLst>
                                    <p:cond delay="500"/>
                                  </p:stCondLst>
                                  <p:childTnLst>
                                    <p:set>
                                      <p:cBhvr>
                                        <p:cTn id="16" dur="1" fill="hold">
                                          <p:stCondLst>
                                            <p:cond delay="0"/>
                                          </p:stCondLst>
                                        </p:cTn>
                                        <p:tgtEl>
                                          <p:spTgt spid="22"/>
                                        </p:tgtEl>
                                        <p:attrNameLst>
                                          <p:attrName>style.visibility</p:attrName>
                                        </p:attrNameLst>
                                      </p:cBhvr>
                                      <p:to>
                                        <p:strVal val="visible"/>
                                      </p:to>
                                    </p:set>
                                    <p:animEffect transition="in" filter="fade">
                                      <p:cBhvr>
                                        <p:cTn id="17" dur="500"/>
                                        <p:tgtEl>
                                          <p:spTgt spid="22"/>
                                        </p:tgtEl>
                                      </p:cBhvr>
                                    </p:animEffect>
                                  </p:childTnLst>
                                </p:cTn>
                              </p:par>
                              <p:par>
                                <p:cTn id="18" presetID="10" presetClass="entr" presetSubtype="0" fill="hold" grpId="0" nodeType="withEffect">
                                  <p:stCondLst>
                                    <p:cond delay="500"/>
                                  </p:stCondLst>
                                  <p:childTnLst>
                                    <p:set>
                                      <p:cBhvr>
                                        <p:cTn id="19" dur="1" fill="hold">
                                          <p:stCondLst>
                                            <p:cond delay="0"/>
                                          </p:stCondLst>
                                        </p:cTn>
                                        <p:tgtEl>
                                          <p:spTgt spid="29"/>
                                        </p:tgtEl>
                                        <p:attrNameLst>
                                          <p:attrName>style.visibility</p:attrName>
                                        </p:attrNameLst>
                                      </p:cBhvr>
                                      <p:to>
                                        <p:strVal val="visible"/>
                                      </p:to>
                                    </p:set>
                                    <p:animEffect transition="in" filter="fade">
                                      <p:cBhvr>
                                        <p:cTn id="20" dur="500"/>
                                        <p:tgtEl>
                                          <p:spTgt spid="29"/>
                                        </p:tgtEl>
                                      </p:cBhvr>
                                    </p:animEffect>
                                  </p:childTnLst>
                                </p:cTn>
                              </p:par>
                              <p:par>
                                <p:cTn id="21" presetID="10" presetClass="entr" presetSubtype="0" fill="hold" grpId="0" nodeType="withEffect">
                                  <p:stCondLst>
                                    <p:cond delay="500"/>
                                  </p:stCondLst>
                                  <p:childTnLst>
                                    <p:set>
                                      <p:cBhvr>
                                        <p:cTn id="22" dur="1" fill="hold">
                                          <p:stCondLst>
                                            <p:cond delay="0"/>
                                          </p:stCondLst>
                                        </p:cTn>
                                        <p:tgtEl>
                                          <p:spTgt spid="30"/>
                                        </p:tgtEl>
                                        <p:attrNameLst>
                                          <p:attrName>style.visibility</p:attrName>
                                        </p:attrNameLst>
                                      </p:cBhvr>
                                      <p:to>
                                        <p:strVal val="visible"/>
                                      </p:to>
                                    </p:set>
                                    <p:animEffect transition="in" filter="fade">
                                      <p:cBhvr>
                                        <p:cTn id="23" dur="500"/>
                                        <p:tgtEl>
                                          <p:spTgt spid="30"/>
                                        </p:tgtEl>
                                      </p:cBhvr>
                                    </p:animEffect>
                                  </p:childTnLst>
                                </p:cTn>
                              </p:par>
                            </p:childTnLst>
                          </p:cTn>
                        </p:par>
                        <p:par>
                          <p:cTn id="24" fill="hold">
                            <p:stCondLst>
                              <p:cond delay="1500"/>
                            </p:stCondLst>
                            <p:childTnLst>
                              <p:par>
                                <p:cTn id="25" presetID="10" presetClass="entr" presetSubtype="0" fill="hold" grpId="0" nodeType="afterEffect">
                                  <p:stCondLst>
                                    <p:cond delay="500"/>
                                  </p:stCondLst>
                                  <p:childTnLst>
                                    <p:set>
                                      <p:cBhvr>
                                        <p:cTn id="26" dur="1" fill="hold">
                                          <p:stCondLst>
                                            <p:cond delay="0"/>
                                          </p:stCondLst>
                                        </p:cTn>
                                        <p:tgtEl>
                                          <p:spTgt spid="18"/>
                                        </p:tgtEl>
                                        <p:attrNameLst>
                                          <p:attrName>style.visibility</p:attrName>
                                        </p:attrNameLst>
                                      </p:cBhvr>
                                      <p:to>
                                        <p:strVal val="visible"/>
                                      </p:to>
                                    </p:set>
                                    <p:animEffect transition="in" filter="fade">
                                      <p:cBhvr>
                                        <p:cTn id="27" dur="500"/>
                                        <p:tgtEl>
                                          <p:spTgt spid="18"/>
                                        </p:tgtEl>
                                      </p:cBhvr>
                                    </p:animEffect>
                                  </p:childTnLst>
                                </p:cTn>
                              </p:par>
                              <p:par>
                                <p:cTn id="28" presetID="10" presetClass="entr" presetSubtype="0" fill="hold" grpId="0" nodeType="withEffect">
                                  <p:stCondLst>
                                    <p:cond delay="500"/>
                                  </p:stCondLst>
                                  <p:childTnLst>
                                    <p:set>
                                      <p:cBhvr>
                                        <p:cTn id="29" dur="1" fill="hold">
                                          <p:stCondLst>
                                            <p:cond delay="0"/>
                                          </p:stCondLst>
                                        </p:cTn>
                                        <p:tgtEl>
                                          <p:spTgt spid="32"/>
                                        </p:tgtEl>
                                        <p:attrNameLst>
                                          <p:attrName>style.visibility</p:attrName>
                                        </p:attrNameLst>
                                      </p:cBhvr>
                                      <p:to>
                                        <p:strVal val="visible"/>
                                      </p:to>
                                    </p:set>
                                    <p:animEffect transition="in" filter="fade">
                                      <p:cBhvr>
                                        <p:cTn id="30" dur="500"/>
                                        <p:tgtEl>
                                          <p:spTgt spid="32"/>
                                        </p:tgtEl>
                                      </p:cBhvr>
                                    </p:animEffect>
                                  </p:childTnLst>
                                </p:cTn>
                              </p:par>
                            </p:childTnLst>
                          </p:cTn>
                        </p:par>
                        <p:par>
                          <p:cTn id="31" fill="hold">
                            <p:stCondLst>
                              <p:cond delay="2500"/>
                            </p:stCondLst>
                            <p:childTnLst>
                              <p:par>
                                <p:cTn id="32" presetID="10" presetClass="entr" presetSubtype="0" fill="hold" grpId="0" nodeType="afterEffect">
                                  <p:stCondLst>
                                    <p:cond delay="500"/>
                                  </p:stCondLst>
                                  <p:childTnLst>
                                    <p:set>
                                      <p:cBhvr>
                                        <p:cTn id="33" dur="1" fill="hold">
                                          <p:stCondLst>
                                            <p:cond delay="0"/>
                                          </p:stCondLst>
                                        </p:cTn>
                                        <p:tgtEl>
                                          <p:spTgt spid="38"/>
                                        </p:tgtEl>
                                        <p:attrNameLst>
                                          <p:attrName>style.visibility</p:attrName>
                                        </p:attrNameLst>
                                      </p:cBhvr>
                                      <p:to>
                                        <p:strVal val="visible"/>
                                      </p:to>
                                    </p:set>
                                    <p:animEffect transition="in" filter="fade">
                                      <p:cBhvr>
                                        <p:cTn id="34" dur="500"/>
                                        <p:tgtEl>
                                          <p:spTgt spid="38"/>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40"/>
                                        </p:tgtEl>
                                        <p:attrNameLst>
                                          <p:attrName>style.visibility</p:attrName>
                                        </p:attrNameLst>
                                      </p:cBhvr>
                                      <p:to>
                                        <p:strVal val="visible"/>
                                      </p:to>
                                    </p:set>
                                    <p:animEffect transition="in" filter="fade">
                                      <p:cBhvr>
                                        <p:cTn id="37"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22" grpId="0" animBg="1"/>
      <p:bldP spid="25" grpId="0" animBg="1"/>
      <p:bldP spid="27" grpId="0" animBg="1"/>
      <p:bldP spid="28" grpId="0" animBg="1"/>
      <p:bldP spid="29" grpId="0" animBg="1"/>
      <p:bldP spid="30" grpId="0" animBg="1"/>
      <p:bldP spid="32" grpId="0" animBg="1"/>
      <p:bldP spid="38" grpId="0" animBg="1"/>
      <p:bldP spid="40" grpId="0" animBg="1"/>
    </p:bldLst>
  </p:timing>
</p:sld>
</file>

<file path=ppt/slides/slide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p:cNvGraphicFramePr>
          <p:nvPr>
            <p:custDataLst>
              <p:tags r:id="rId2"/>
            </p:custDataLst>
            <p:extLst>
              <p:ext uri="{D42A27DB-BD31-4B8C-83A1-F6EECF244321}">
                <p14:modId xmlns:p14="http://schemas.microsoft.com/office/powerpoint/2010/main" val="2217964205"/>
              </p:ext>
            </p:extLst>
          </p:nvPr>
        </p:nvGraphicFramePr>
        <p:xfrm>
          <a:off x="1191" y="1192"/>
          <a:ext cx="1191" cy="1190"/>
        </p:xfrm>
        <a:graphic>
          <a:graphicData uri="http://schemas.openxmlformats.org/presentationml/2006/ole">
            <mc:AlternateContent xmlns:mc="http://schemas.openxmlformats.org/markup-compatibility/2006">
              <mc:Choice xmlns:v="urn:schemas-microsoft-com:vml" Requires="v">
                <p:oleObj spid="_x0000_s16391"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191" y="1192"/>
                        <a:ext cx="1191" cy="119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Unified management of </a:t>
            </a:r>
            <a:r>
              <a:rPr lang="en-US" dirty="0" smtClean="0"/>
              <a:t>storage</a:t>
            </a:r>
            <a:endParaRPr lang="en-US" dirty="0">
              <a:gradFill flip="none" rotWithShape="1">
                <a:gsLst>
                  <a:gs pos="5417">
                    <a:schemeClr val="tx2"/>
                  </a:gs>
                  <a:gs pos="98000">
                    <a:schemeClr val="tx2"/>
                  </a:gs>
                </a:gsLst>
                <a:lin ang="5400000" scaled="0"/>
                <a:tileRect/>
              </a:gradFill>
              <a:latin typeface="+mn-lt"/>
            </a:endParaRPr>
          </a:p>
        </p:txBody>
      </p:sp>
      <p:grpSp>
        <p:nvGrpSpPr>
          <p:cNvPr id="5" name="Group 4"/>
          <p:cNvGrpSpPr/>
          <p:nvPr/>
        </p:nvGrpSpPr>
        <p:grpSpPr>
          <a:xfrm>
            <a:off x="738048" y="1085851"/>
            <a:ext cx="7656279" cy="1169156"/>
            <a:chOff x="983807" y="1447800"/>
            <a:chExt cx="10205713" cy="1558874"/>
          </a:xfrm>
        </p:grpSpPr>
        <p:sp>
          <p:nvSpPr>
            <p:cNvPr id="3" name="Rectangle 2"/>
            <p:cNvSpPr/>
            <p:nvPr>
              <p:custDataLst>
                <p:tags r:id="rId16"/>
              </p:custDataLst>
            </p:nvPr>
          </p:nvSpPr>
          <p:spPr bwMode="auto">
            <a:xfrm>
              <a:off x="983807" y="1447800"/>
              <a:ext cx="3184982" cy="1124919"/>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r>
                <a:rPr lang="en-US" sz="1700" dirty="0">
                  <a:solidFill>
                    <a:srgbClr val="FFFFFF">
                      <a:alpha val="98824"/>
                    </a:srgbClr>
                  </a:solidFill>
                  <a:latin typeface="Segoe UI" pitchFamily="34" charset="0"/>
                  <a:ea typeface="Segoe UI" pitchFamily="34" charset="0"/>
                  <a:cs typeface="Segoe UI" pitchFamily="34" charset="0"/>
                </a:rPr>
                <a:t>File &amp; Storage Services</a:t>
              </a:r>
            </a:p>
            <a:p>
              <a:pPr algn="ctr" defTabSz="685637"/>
              <a:r>
                <a:rPr lang="en-US" sz="1700" dirty="0">
                  <a:solidFill>
                    <a:srgbClr val="FFFFFF">
                      <a:alpha val="98824"/>
                    </a:srgbClr>
                  </a:solidFill>
                  <a:latin typeface="Segoe UI" pitchFamily="34" charset="0"/>
                  <a:ea typeface="Segoe UI" pitchFamily="34" charset="0"/>
                  <a:cs typeface="Segoe UI" pitchFamily="34" charset="0"/>
                </a:rPr>
                <a:t>(Server Manager)</a:t>
              </a:r>
            </a:p>
          </p:txBody>
        </p:sp>
        <p:sp>
          <p:nvSpPr>
            <p:cNvPr id="30" name="Isosceles Triangle 29"/>
            <p:cNvSpPr/>
            <p:nvPr>
              <p:custDataLst>
                <p:tags r:id="rId17"/>
              </p:custDataLst>
            </p:nvPr>
          </p:nvSpPr>
          <p:spPr bwMode="auto">
            <a:xfrm rot="10800000">
              <a:off x="2610873" y="2541724"/>
              <a:ext cx="1102475" cy="464949"/>
            </a:xfrm>
            <a:prstGeom prst="triangle">
              <a:avLst>
                <a:gd name="adj" fmla="val 0"/>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27" name="Rectangle 26"/>
            <p:cNvSpPr/>
            <p:nvPr>
              <p:custDataLst>
                <p:tags r:id="rId18"/>
              </p:custDataLst>
            </p:nvPr>
          </p:nvSpPr>
          <p:spPr bwMode="auto">
            <a:xfrm>
              <a:off x="4494173" y="1447800"/>
              <a:ext cx="3184982" cy="1124919"/>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r>
                <a:rPr lang="en-US" sz="1700" dirty="0">
                  <a:solidFill>
                    <a:srgbClr val="FFFFFF">
                      <a:alpha val="98824"/>
                    </a:srgbClr>
                  </a:solidFill>
                  <a:latin typeface="Segoe UI" pitchFamily="34" charset="0"/>
                  <a:ea typeface="Segoe UI" pitchFamily="34" charset="0"/>
                  <a:cs typeface="Segoe UI" pitchFamily="34" charset="0"/>
                </a:rPr>
                <a:t>Microsoft Applications </a:t>
              </a:r>
            </a:p>
          </p:txBody>
        </p:sp>
        <p:sp>
          <p:nvSpPr>
            <p:cNvPr id="31" name="Isosceles Triangle 30"/>
            <p:cNvSpPr/>
            <p:nvPr>
              <p:custDataLst>
                <p:tags r:id="rId19"/>
              </p:custDataLst>
            </p:nvPr>
          </p:nvSpPr>
          <p:spPr bwMode="auto">
            <a:xfrm rot="10800000">
              <a:off x="5535426" y="2541725"/>
              <a:ext cx="1102475" cy="464949"/>
            </a:xfrm>
            <a:prstGeom prst="triangle">
              <a:avLst>
                <a:gd name="adj" fmla="val 52811"/>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28" name="Rectangle 27"/>
            <p:cNvSpPr/>
            <p:nvPr>
              <p:custDataLst>
                <p:tags r:id="rId20"/>
              </p:custDataLst>
            </p:nvPr>
          </p:nvSpPr>
          <p:spPr bwMode="auto">
            <a:xfrm>
              <a:off x="8004538" y="1447800"/>
              <a:ext cx="3184982" cy="1124919"/>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r>
                <a:rPr lang="en-US" sz="1700" dirty="0">
                  <a:solidFill>
                    <a:srgbClr val="FFFFFF">
                      <a:alpha val="98824"/>
                    </a:srgbClr>
                  </a:solidFill>
                  <a:latin typeface="Segoe UI" pitchFamily="34" charset="0"/>
                  <a:ea typeface="Segoe UI" pitchFamily="34" charset="0"/>
                  <a:cs typeface="Segoe UI" pitchFamily="34" charset="0"/>
                </a:rPr>
                <a:t>ISV or Storage Vendor Applications</a:t>
              </a:r>
            </a:p>
          </p:txBody>
        </p:sp>
        <p:sp>
          <p:nvSpPr>
            <p:cNvPr id="32" name="Isosceles Triangle 31"/>
            <p:cNvSpPr/>
            <p:nvPr>
              <p:custDataLst>
                <p:tags r:id="rId21"/>
              </p:custDataLst>
            </p:nvPr>
          </p:nvSpPr>
          <p:spPr bwMode="auto">
            <a:xfrm rot="10800000" flipH="1">
              <a:off x="8410141" y="2510726"/>
              <a:ext cx="1102475" cy="464949"/>
            </a:xfrm>
            <a:prstGeom prst="triangle">
              <a:avLst>
                <a:gd name="adj" fmla="val 0"/>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grpSp>
      <p:grpSp>
        <p:nvGrpSpPr>
          <p:cNvPr id="4" name="Group 3"/>
          <p:cNvGrpSpPr/>
          <p:nvPr/>
        </p:nvGrpSpPr>
        <p:grpSpPr>
          <a:xfrm>
            <a:off x="738048" y="2403207"/>
            <a:ext cx="7673529" cy="1262560"/>
            <a:chOff x="983806" y="3204276"/>
            <a:chExt cx="10228707" cy="1683413"/>
          </a:xfrm>
        </p:grpSpPr>
        <p:sp>
          <p:nvSpPr>
            <p:cNvPr id="35" name="Isosceles Triangle 34"/>
            <p:cNvSpPr/>
            <p:nvPr>
              <p:custDataLst>
                <p:tags r:id="rId12"/>
              </p:custDataLst>
            </p:nvPr>
          </p:nvSpPr>
          <p:spPr bwMode="auto">
            <a:xfrm rot="10800000">
              <a:off x="5327277" y="4360747"/>
              <a:ext cx="1531804" cy="526942"/>
            </a:xfrm>
            <a:prstGeom prst="triangle">
              <a:avLst>
                <a:gd name="adj" fmla="val 48594"/>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7" name="Rectangle 6"/>
            <p:cNvSpPr/>
            <p:nvPr>
              <p:custDataLst>
                <p:tags r:id="rId13"/>
              </p:custDataLst>
            </p:nvPr>
          </p:nvSpPr>
          <p:spPr bwMode="auto">
            <a:xfrm>
              <a:off x="983806" y="3204276"/>
              <a:ext cx="10228707" cy="116237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a:spcBef>
                  <a:spcPts val="450"/>
                </a:spcBef>
              </a:pPr>
              <a:r>
                <a:rPr lang="en-US" sz="1800" dirty="0">
                  <a:solidFill>
                    <a:schemeClr val="tx1">
                      <a:alpha val="99000"/>
                    </a:schemeClr>
                  </a:solidFill>
                </a:rPr>
                <a:t>Windows Storage Management API (PowerShell &amp; WMI)</a:t>
              </a:r>
            </a:p>
            <a:p>
              <a:pPr algn="ctr">
                <a:spcBef>
                  <a:spcPts val="450"/>
                </a:spcBef>
              </a:pPr>
              <a:r>
                <a:rPr lang="en-US" sz="1800" dirty="0">
                  <a:solidFill>
                    <a:schemeClr val="tx1">
                      <a:alpha val="99000"/>
                    </a:schemeClr>
                  </a:solidFill>
                </a:rPr>
                <a:t>(Physical Disks, Storage Pools, Virtual Disks &amp; Volumes)</a:t>
              </a:r>
            </a:p>
          </p:txBody>
        </p:sp>
        <p:sp>
          <p:nvSpPr>
            <p:cNvPr id="62" name="Isosceles Triangle 61"/>
            <p:cNvSpPr/>
            <p:nvPr>
              <p:custDataLst>
                <p:tags r:id="rId14"/>
              </p:custDataLst>
            </p:nvPr>
          </p:nvSpPr>
          <p:spPr bwMode="auto">
            <a:xfrm rot="10800000">
              <a:off x="1562672" y="4360747"/>
              <a:ext cx="1531804" cy="526942"/>
            </a:xfrm>
            <a:prstGeom prst="triangle">
              <a:avLst>
                <a:gd name="adj" fmla="val 48594"/>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68" name="Isosceles Triangle 67"/>
            <p:cNvSpPr/>
            <p:nvPr>
              <p:custDataLst>
                <p:tags r:id="rId15"/>
              </p:custDataLst>
            </p:nvPr>
          </p:nvSpPr>
          <p:spPr bwMode="auto">
            <a:xfrm rot="10800000">
              <a:off x="9091883" y="4360747"/>
              <a:ext cx="1531804" cy="526942"/>
            </a:xfrm>
            <a:prstGeom prst="triangle">
              <a:avLst>
                <a:gd name="adj" fmla="val 48594"/>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grpSp>
      <p:grpSp>
        <p:nvGrpSpPr>
          <p:cNvPr id="6" name="Group 5"/>
          <p:cNvGrpSpPr/>
          <p:nvPr/>
        </p:nvGrpSpPr>
        <p:grpSpPr>
          <a:xfrm>
            <a:off x="727159" y="3754465"/>
            <a:ext cx="7684416" cy="1234441"/>
            <a:chOff x="969293" y="5005952"/>
            <a:chExt cx="10243220" cy="1645921"/>
          </a:xfrm>
        </p:grpSpPr>
        <p:sp>
          <p:nvSpPr>
            <p:cNvPr id="12" name="Rectangle 11"/>
            <p:cNvSpPr/>
            <p:nvPr>
              <p:custDataLst>
                <p:tags r:id="rId4"/>
              </p:custDataLst>
            </p:nvPr>
          </p:nvSpPr>
          <p:spPr bwMode="auto">
            <a:xfrm>
              <a:off x="969293" y="5005952"/>
              <a:ext cx="3200400" cy="1645920"/>
            </a:xfrm>
            <a:prstGeom prst="rect">
              <a:avLst/>
            </a:prstGeom>
            <a:noFill/>
            <a:ln w="3175">
              <a:solidFill>
                <a:schemeClr val="tx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41" name="TextBox 40"/>
            <p:cNvSpPr txBox="1"/>
            <p:nvPr>
              <p:custDataLst>
                <p:tags r:id="rId5"/>
              </p:custDataLst>
            </p:nvPr>
          </p:nvSpPr>
          <p:spPr>
            <a:xfrm>
              <a:off x="1495096" y="6178972"/>
              <a:ext cx="2148795" cy="348813"/>
            </a:xfrm>
            <a:prstGeom prst="rect">
              <a:avLst/>
            </a:prstGeom>
            <a:noFill/>
          </p:spPr>
          <p:txBody>
            <a:bodyPr wrap="square" rtlCol="0">
              <a:spAutoFit/>
            </a:bodyPr>
            <a:lstStyle/>
            <a:p>
              <a:pPr algn="ctr" defTabSz="685637"/>
              <a:r>
                <a:rPr lang="en-US" sz="1100" dirty="0">
                  <a:solidFill>
                    <a:srgbClr val="FFFFFF">
                      <a:alpha val="98824"/>
                    </a:srgbClr>
                  </a:solidFill>
                  <a:latin typeface="Segoe UI" pitchFamily="34" charset="0"/>
                  <a:ea typeface="Segoe UI" pitchFamily="34" charset="0"/>
                  <a:cs typeface="Segoe UI" pitchFamily="34" charset="0"/>
                </a:rPr>
                <a:t>SMP compliant array</a:t>
              </a:r>
            </a:p>
          </p:txBody>
        </p:sp>
        <p:grpSp>
          <p:nvGrpSpPr>
            <p:cNvPr id="18" name="Group 17"/>
            <p:cNvGrpSpPr/>
            <p:nvPr>
              <p:custDataLst>
                <p:tags r:id="rId6"/>
              </p:custDataLst>
            </p:nvPr>
          </p:nvGrpSpPr>
          <p:grpSpPr>
            <a:xfrm>
              <a:off x="9577065" y="5289639"/>
              <a:ext cx="1358054" cy="373270"/>
              <a:chOff x="9244146" y="5508330"/>
              <a:chExt cx="1748978" cy="480718"/>
            </a:xfrm>
          </p:grpSpPr>
          <p:sp>
            <p:nvSpPr>
              <p:cNvPr id="43" name="Flowchart: Magnetic Disk 42"/>
              <p:cNvSpPr/>
              <p:nvPr/>
            </p:nvSpPr>
            <p:spPr bwMode="auto">
              <a:xfrm>
                <a:off x="9244146" y="5508331"/>
                <a:ext cx="521700" cy="480717"/>
              </a:xfrm>
              <a:prstGeom prst="flowChartMagneticDisk">
                <a:avLst/>
              </a:prstGeom>
              <a:solidFill>
                <a:schemeClr val="accent6"/>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44" name="Flowchart: Magnetic Disk 43"/>
              <p:cNvSpPr/>
              <p:nvPr/>
            </p:nvSpPr>
            <p:spPr bwMode="auto">
              <a:xfrm>
                <a:off x="9857785" y="5508331"/>
                <a:ext cx="521700" cy="480717"/>
              </a:xfrm>
              <a:prstGeom prst="flowChartMagneticDisk">
                <a:avLst/>
              </a:prstGeom>
              <a:solidFill>
                <a:schemeClr val="accent6"/>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45" name="Flowchart: Magnetic Disk 44"/>
              <p:cNvSpPr/>
              <p:nvPr/>
            </p:nvSpPr>
            <p:spPr bwMode="auto">
              <a:xfrm>
                <a:off x="10471424" y="5508330"/>
                <a:ext cx="521700" cy="480717"/>
              </a:xfrm>
              <a:prstGeom prst="flowChartMagneticDisk">
                <a:avLst/>
              </a:prstGeom>
              <a:solidFill>
                <a:schemeClr val="accent6"/>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grpSp>
        <p:sp>
          <p:nvSpPr>
            <p:cNvPr id="89" name="TextBox 88"/>
            <p:cNvSpPr txBox="1"/>
            <p:nvPr>
              <p:custDataLst>
                <p:tags r:id="rId7"/>
              </p:custDataLst>
            </p:nvPr>
          </p:nvSpPr>
          <p:spPr>
            <a:xfrm>
              <a:off x="4995172" y="6178972"/>
              <a:ext cx="2191461" cy="348813"/>
            </a:xfrm>
            <a:prstGeom prst="rect">
              <a:avLst/>
            </a:prstGeom>
            <a:noFill/>
          </p:spPr>
          <p:txBody>
            <a:bodyPr wrap="square" rtlCol="0">
              <a:spAutoFit/>
            </a:bodyPr>
            <a:lstStyle/>
            <a:p>
              <a:pPr algn="ctr" defTabSz="685637"/>
              <a:r>
                <a:rPr lang="en-US" sz="1100" dirty="0">
                  <a:solidFill>
                    <a:srgbClr val="FFFFFF">
                      <a:alpha val="98824"/>
                    </a:srgbClr>
                  </a:solidFill>
                  <a:latin typeface="Segoe UI" pitchFamily="34" charset="0"/>
                  <a:ea typeface="Segoe UI" pitchFamily="34" charset="0"/>
                  <a:cs typeface="Segoe UI" pitchFamily="34" charset="0"/>
                </a:rPr>
                <a:t>SMI-S compliant array</a:t>
              </a:r>
            </a:p>
          </p:txBody>
        </p:sp>
        <p:sp>
          <p:nvSpPr>
            <p:cNvPr id="90" name="TextBox 89"/>
            <p:cNvSpPr txBox="1"/>
            <p:nvPr>
              <p:custDataLst>
                <p:tags r:id="rId8"/>
              </p:custDataLst>
            </p:nvPr>
          </p:nvSpPr>
          <p:spPr>
            <a:xfrm>
              <a:off x="8002175" y="5948138"/>
              <a:ext cx="1899950" cy="574516"/>
            </a:xfrm>
            <a:prstGeom prst="rect">
              <a:avLst/>
            </a:prstGeom>
            <a:noFill/>
          </p:spPr>
          <p:txBody>
            <a:bodyPr wrap="square" rtlCol="0">
              <a:spAutoFit/>
            </a:bodyPr>
            <a:lstStyle/>
            <a:p>
              <a:pPr algn="ctr" defTabSz="685637"/>
              <a:r>
                <a:rPr lang="en-US" sz="1100" dirty="0">
                  <a:solidFill>
                    <a:srgbClr val="FFFFFF">
                      <a:alpha val="98824"/>
                    </a:srgbClr>
                  </a:solidFill>
                  <a:latin typeface="Segoe UI" pitchFamily="34" charset="0"/>
                  <a:ea typeface="Segoe UI" pitchFamily="34" charset="0"/>
                  <a:cs typeface="Segoe UI" pitchFamily="34" charset="0"/>
                </a:rPr>
                <a:t>Storage Spaces </a:t>
              </a:r>
              <a:br>
                <a:rPr lang="en-US" sz="1100" dirty="0">
                  <a:solidFill>
                    <a:srgbClr val="FFFFFF">
                      <a:alpha val="98824"/>
                    </a:srgbClr>
                  </a:solidFill>
                  <a:latin typeface="Segoe UI" pitchFamily="34" charset="0"/>
                  <a:ea typeface="Segoe UI" pitchFamily="34" charset="0"/>
                  <a:cs typeface="Segoe UI" pitchFamily="34" charset="0"/>
                </a:rPr>
              </a:br>
              <a:r>
                <a:rPr lang="en-US" sz="1100" dirty="0">
                  <a:solidFill>
                    <a:srgbClr val="FFFFFF">
                      <a:alpha val="98824"/>
                    </a:srgbClr>
                  </a:solidFill>
                  <a:latin typeface="Segoe UI" pitchFamily="34" charset="0"/>
                  <a:ea typeface="Segoe UI" pitchFamily="34" charset="0"/>
                  <a:cs typeface="Segoe UI" pitchFamily="34" charset="0"/>
                </a:rPr>
                <a:t>compatible JBOD</a:t>
              </a:r>
            </a:p>
          </p:txBody>
        </p:sp>
        <p:sp>
          <p:nvSpPr>
            <p:cNvPr id="91" name="TextBox 90"/>
            <p:cNvSpPr txBox="1"/>
            <p:nvPr>
              <p:custDataLst>
                <p:tags r:id="rId9"/>
              </p:custDataLst>
            </p:nvPr>
          </p:nvSpPr>
          <p:spPr>
            <a:xfrm>
              <a:off x="8175983" y="5186252"/>
              <a:ext cx="1393408" cy="574516"/>
            </a:xfrm>
            <a:prstGeom prst="rect">
              <a:avLst/>
            </a:prstGeom>
            <a:noFill/>
          </p:spPr>
          <p:txBody>
            <a:bodyPr wrap="square" rtlCol="0">
              <a:spAutoFit/>
            </a:bodyPr>
            <a:lstStyle/>
            <a:p>
              <a:pPr algn="ctr" defTabSz="685637"/>
              <a:r>
                <a:rPr lang="en-US" sz="1100" dirty="0">
                  <a:solidFill>
                    <a:schemeClr val="accent6">
                      <a:alpha val="98824"/>
                    </a:schemeClr>
                  </a:solidFill>
                  <a:latin typeface="Segoe UI" pitchFamily="34" charset="0"/>
                  <a:ea typeface="Segoe UI" pitchFamily="34" charset="0"/>
                  <a:cs typeface="Segoe UI" pitchFamily="34" charset="0"/>
                </a:rPr>
                <a:t>Storage Spaces</a:t>
              </a:r>
            </a:p>
          </p:txBody>
        </p:sp>
        <p:pic>
          <p:nvPicPr>
            <p:cNvPr id="69" name="Picture 2"/>
            <p:cNvPicPr>
              <a:picLocks noChangeAspect="1" noChangeArrowheads="1"/>
            </p:cNvPicPr>
            <p:nvPr/>
          </p:nvPicPr>
          <p:blipFill>
            <a:blip r:embed="rId26">
              <a:extLst>
                <a:ext uri="{BEBA8EAE-BF5A-486C-A8C5-ECC9F3942E4B}">
                  <a14:imgProps xmlns:a14="http://schemas.microsoft.com/office/drawing/2010/main">
                    <a14:imgLayer r:embed="rId27">
                      <a14:imgEffect>
                        <a14:backgroundRemoval t="637" b="94268" l="0" r="100000"/>
                      </a14:imgEffect>
                    </a14:imgLayer>
                  </a14:imgProps>
                </a:ext>
                <a:ext uri="{28A0092B-C50C-407E-A947-70E740481C1C}">
                  <a14:useLocalDpi xmlns:a14="http://schemas.microsoft.com/office/drawing/2010/main" val="0"/>
                </a:ext>
              </a:extLst>
            </a:blip>
            <a:srcRect/>
            <a:stretch>
              <a:fillRect/>
            </a:stretch>
          </p:blipFill>
          <p:spPr bwMode="auto">
            <a:xfrm>
              <a:off x="1761688" y="5289639"/>
              <a:ext cx="1615610" cy="9012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4" name="Rectangle 73"/>
            <p:cNvSpPr/>
            <p:nvPr>
              <p:custDataLst>
                <p:tags r:id="rId10"/>
              </p:custDataLst>
            </p:nvPr>
          </p:nvSpPr>
          <p:spPr bwMode="auto">
            <a:xfrm>
              <a:off x="4490703" y="5005953"/>
              <a:ext cx="3200400" cy="1645920"/>
            </a:xfrm>
            <a:prstGeom prst="rect">
              <a:avLst/>
            </a:prstGeom>
            <a:noFill/>
            <a:ln w="3175">
              <a:solidFill>
                <a:schemeClr val="tx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pic>
          <p:nvPicPr>
            <p:cNvPr id="75" name="Picture 3"/>
            <p:cNvPicPr>
              <a:picLocks noChangeAspect="1" noChangeArrowheads="1"/>
            </p:cNvPicPr>
            <p:nvPr/>
          </p:nvPicPr>
          <p:blipFill>
            <a:blip r:embed="rId28">
              <a:extLst>
                <a:ext uri="{BEBA8EAE-BF5A-486C-A8C5-ECC9F3942E4B}">
                  <a14:imgProps xmlns:a14="http://schemas.microsoft.com/office/drawing/2010/main">
                    <a14:imgLayer r:embed="rId29">
                      <a14:imgEffect>
                        <a14:backgroundRemoval t="9548" b="89950" l="3333" r="93000"/>
                      </a14:imgEffect>
                    </a14:imgLayer>
                  </a14:imgProps>
                </a:ext>
                <a:ext uri="{28A0092B-C50C-407E-A947-70E740481C1C}">
                  <a14:useLocalDpi xmlns:a14="http://schemas.microsoft.com/office/drawing/2010/main" val="0"/>
                </a:ext>
              </a:extLst>
            </a:blip>
            <a:srcRect/>
            <a:stretch>
              <a:fillRect/>
            </a:stretch>
          </p:blipFill>
          <p:spPr bwMode="auto">
            <a:xfrm>
              <a:off x="5262653" y="5047189"/>
              <a:ext cx="1656500" cy="11712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6" name="Rectangle 75"/>
            <p:cNvSpPr/>
            <p:nvPr>
              <p:custDataLst>
                <p:tags r:id="rId11"/>
              </p:custDataLst>
            </p:nvPr>
          </p:nvSpPr>
          <p:spPr bwMode="auto">
            <a:xfrm>
              <a:off x="8012113" y="5005953"/>
              <a:ext cx="3200400" cy="1645920"/>
            </a:xfrm>
            <a:prstGeom prst="rect">
              <a:avLst/>
            </a:prstGeom>
            <a:noFill/>
            <a:ln w="3175">
              <a:solidFill>
                <a:schemeClr val="tx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pic>
          <p:nvPicPr>
            <p:cNvPr id="77" name="Picture 2"/>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9902125" y="5844514"/>
              <a:ext cx="997131" cy="7486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33"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4"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1"/>
              </a:rPr>
              <a:t>www.rapidbbs.cn</a:t>
            </a:r>
            <a:endParaRPr lang="zh-CN" altLang="en-US" sz="1200" b="0">
              <a:latin typeface="Arial" charset="0"/>
              <a:ea typeface="ＭＳ Ｐゴシック" pitchFamily="34" charset="-128"/>
            </a:endParaRPr>
          </a:p>
        </p:txBody>
      </p:sp>
      <p:pic>
        <p:nvPicPr>
          <p:cNvPr id="36" name="Picture 2">
            <a:hlinkClick r:id="rId31"/>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1839738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115309555"/>
              </p:ext>
            </p:extLst>
          </p:nvPr>
        </p:nvGraphicFramePr>
        <p:xfrm>
          <a:off x="1191" y="1192"/>
          <a:ext cx="1191" cy="1190"/>
        </p:xfrm>
        <a:graphic>
          <a:graphicData uri="http://schemas.openxmlformats.org/presentationml/2006/ole">
            <mc:AlternateContent xmlns:mc="http://schemas.openxmlformats.org/markup-compatibility/2006">
              <mc:Choice xmlns:v="urn:schemas-microsoft-com:vml" Requires="v">
                <p:oleObj spid="_x0000_s17415"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191" y="1192"/>
                        <a:ext cx="1191" cy="1190"/>
                      </a:xfrm>
                      <a:prstGeom prst="rect">
                        <a:avLst/>
                      </a:prstGeom>
                    </p:spPr>
                  </p:pic>
                </p:oleObj>
              </mc:Fallback>
            </mc:AlternateContent>
          </a:graphicData>
        </a:graphic>
      </p:graphicFrame>
      <p:sp>
        <p:nvSpPr>
          <p:cNvPr id="4" name="Rectangle 3"/>
          <p:cNvSpPr/>
          <p:nvPr>
            <p:custDataLst>
              <p:tags r:id="rId3"/>
            </p:custDataLst>
          </p:nvPr>
        </p:nvSpPr>
        <p:spPr bwMode="auto">
          <a:xfrm rot="10800000" flipH="1" flipV="1">
            <a:off x="1" y="1666494"/>
            <a:ext cx="2762127" cy="181051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9" name="Rectangle 8"/>
          <p:cNvSpPr/>
          <p:nvPr>
            <p:custDataLst>
              <p:tags r:id="rId4"/>
            </p:custDataLst>
          </p:nvPr>
        </p:nvSpPr>
        <p:spPr bwMode="auto">
          <a:xfrm rot="10800000" flipH="1" flipV="1">
            <a:off x="4615876" y="1666494"/>
            <a:ext cx="4528124" cy="181051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5" name="Title 2"/>
          <p:cNvSpPr txBox="1">
            <a:spLocks/>
          </p:cNvSpPr>
          <p:nvPr>
            <p:custDataLst>
              <p:tags r:id="rId5"/>
            </p:custDataLst>
          </p:nvPr>
        </p:nvSpPr>
        <p:spPr>
          <a:xfrm>
            <a:off x="4831117" y="1830971"/>
            <a:ext cx="4199744" cy="1481561"/>
          </a:xfrm>
          <a:prstGeom prst="rect">
            <a:avLst/>
          </a:prstGeom>
        </p:spPr>
        <p:txBody>
          <a:bodyPr vert="horz" wrap="square" lIns="137172" tIns="34294" rIns="137172" bIns="34294" rtlCol="0" anchor="ctr" anchorCtr="0">
            <a:noAutofit/>
          </a:bodyPr>
          <a:lst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pPr>
              <a:lnSpc>
                <a:spcPct val="100000"/>
              </a:lnSpc>
            </a:pPr>
            <a:r>
              <a:rPr lang="en-US" sz="2700" dirty="0">
                <a:solidFill>
                  <a:schemeClr val="tx1">
                    <a:alpha val="99000"/>
                  </a:schemeClr>
                </a:solidFill>
                <a:latin typeface="Segoe UI Light" pitchFamily="34" charset="0"/>
                <a:cs typeface="Segoe UI"/>
              </a:rPr>
              <a:t>Windows Server has been a great OS for </a:t>
            </a:r>
            <a:r>
              <a:rPr lang="en-US" sz="2700" b="1" dirty="0">
                <a:solidFill>
                  <a:schemeClr val="tx1">
                    <a:alpha val="99000"/>
                  </a:schemeClr>
                </a:solidFill>
                <a:latin typeface="Segoe UI Light" pitchFamily="34" charset="0"/>
                <a:cs typeface="Segoe UI"/>
              </a:rPr>
              <a:t>a </a:t>
            </a:r>
            <a:r>
              <a:rPr lang="en-US" sz="2700" b="1" dirty="0">
                <a:solidFill>
                  <a:schemeClr val="tx2">
                    <a:alpha val="99000"/>
                  </a:schemeClr>
                </a:solidFill>
                <a:latin typeface="Segoe UI Light" pitchFamily="34" charset="0"/>
                <a:cs typeface="Segoe UI"/>
              </a:rPr>
              <a:t>server</a:t>
            </a:r>
            <a:r>
              <a:rPr lang="en-US" sz="2700" b="1" dirty="0">
                <a:solidFill>
                  <a:schemeClr val="tx1">
                    <a:alpha val="99000"/>
                  </a:schemeClr>
                </a:solidFill>
                <a:latin typeface="Segoe UI Light" pitchFamily="34" charset="0"/>
                <a:cs typeface="Segoe UI"/>
              </a:rPr>
              <a:t> </a:t>
            </a:r>
            <a:r>
              <a:rPr lang="en-US" sz="2700" dirty="0">
                <a:solidFill>
                  <a:schemeClr val="tx1">
                    <a:alpha val="99000"/>
                  </a:schemeClr>
                </a:solidFill>
                <a:latin typeface="Segoe UI Light" pitchFamily="34" charset="0"/>
                <a:cs typeface="Segoe UI"/>
              </a:rPr>
              <a:t>and</a:t>
            </a:r>
            <a:r>
              <a:rPr lang="en-US" sz="2700" b="1" dirty="0">
                <a:solidFill>
                  <a:schemeClr val="tx1">
                    <a:alpha val="99000"/>
                  </a:schemeClr>
                </a:solidFill>
                <a:latin typeface="Segoe UI Light" pitchFamily="34" charset="0"/>
                <a:cs typeface="Segoe UI"/>
              </a:rPr>
              <a:t> </a:t>
            </a:r>
            <a:r>
              <a:rPr lang="en-US" sz="2700" b="1" dirty="0">
                <a:solidFill>
                  <a:schemeClr val="tx2"/>
                </a:solidFill>
                <a:latin typeface="Segoe UI Light" pitchFamily="34" charset="0"/>
                <a:cs typeface="Segoe UI"/>
              </a:rPr>
              <a:t>its </a:t>
            </a:r>
            <a:r>
              <a:rPr lang="en-US" sz="2700" b="1" dirty="0">
                <a:solidFill>
                  <a:schemeClr val="tx1">
                    <a:alpha val="99000"/>
                  </a:schemeClr>
                </a:solidFill>
                <a:latin typeface="Segoe UI Light" pitchFamily="34" charset="0"/>
                <a:cs typeface="Segoe UI"/>
              </a:rPr>
              <a:t>devices </a:t>
            </a:r>
          </a:p>
        </p:txBody>
      </p:sp>
      <p:sp>
        <p:nvSpPr>
          <p:cNvPr id="7" name="Rectangle 6"/>
          <p:cNvSpPr/>
          <p:nvPr/>
        </p:nvSpPr>
        <p:spPr bwMode="auto">
          <a:xfrm rot="10800000" flipH="1" flipV="1">
            <a:off x="2889718" y="1666494"/>
            <a:ext cx="1598568" cy="18105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8" name="Freeform 134"/>
          <p:cNvSpPr>
            <a:spLocks noEditPoints="1"/>
          </p:cNvSpPr>
          <p:nvPr/>
        </p:nvSpPr>
        <p:spPr bwMode="black">
          <a:xfrm>
            <a:off x="3190617" y="2032952"/>
            <a:ext cx="996770" cy="1077599"/>
          </a:xfrm>
          <a:custGeom>
            <a:avLst/>
            <a:gdLst>
              <a:gd name="T0" fmla="*/ 333 w 666"/>
              <a:gd name="T1" fmla="*/ 125 h 720"/>
              <a:gd name="T2" fmla="*/ 126 w 666"/>
              <a:gd name="T3" fmla="*/ 90 h 720"/>
              <a:gd name="T4" fmla="*/ 56 w 666"/>
              <a:gd name="T5" fmla="*/ 502 h 720"/>
              <a:gd name="T6" fmla="*/ 324 w 666"/>
              <a:gd name="T7" fmla="*/ 720 h 720"/>
              <a:gd name="T8" fmla="*/ 402 w 666"/>
              <a:gd name="T9" fmla="*/ 352 h 720"/>
              <a:gd name="T10" fmla="*/ 476 w 666"/>
              <a:gd name="T11" fmla="*/ 315 h 720"/>
              <a:gd name="T12" fmla="*/ 462 w 666"/>
              <a:gd name="T13" fmla="*/ 318 h 720"/>
              <a:gd name="T14" fmla="*/ 548 w 666"/>
              <a:gd name="T15" fmla="*/ 205 h 720"/>
              <a:gd name="T16" fmla="*/ 403 w 666"/>
              <a:gd name="T17" fmla="*/ 241 h 720"/>
              <a:gd name="T18" fmla="*/ 328 w 666"/>
              <a:gd name="T19" fmla="*/ 215 h 720"/>
              <a:gd name="T20" fmla="*/ 314 w 666"/>
              <a:gd name="T21" fmla="*/ 381 h 720"/>
              <a:gd name="T22" fmla="*/ 325 w 666"/>
              <a:gd name="T23" fmla="*/ 377 h 720"/>
              <a:gd name="T24" fmla="*/ 285 w 666"/>
              <a:gd name="T25" fmla="*/ 474 h 720"/>
              <a:gd name="T26" fmla="*/ 285 w 666"/>
              <a:gd name="T27" fmla="*/ 474 h 720"/>
              <a:gd name="T28" fmla="*/ 228 w 666"/>
              <a:gd name="T29" fmla="*/ 414 h 720"/>
              <a:gd name="T30" fmla="*/ 229 w 666"/>
              <a:gd name="T31" fmla="*/ 593 h 720"/>
              <a:gd name="T32" fmla="*/ 221 w 666"/>
              <a:gd name="T33" fmla="*/ 521 h 720"/>
              <a:gd name="T34" fmla="*/ 234 w 666"/>
              <a:gd name="T35" fmla="*/ 278 h 720"/>
              <a:gd name="T36" fmla="*/ 297 w 666"/>
              <a:gd name="T37" fmla="*/ 135 h 720"/>
              <a:gd name="T38" fmla="*/ 268 w 666"/>
              <a:gd name="T39" fmla="*/ 314 h 720"/>
              <a:gd name="T40" fmla="*/ 280 w 666"/>
              <a:gd name="T41" fmla="*/ 377 h 720"/>
              <a:gd name="T42" fmla="*/ 288 w 666"/>
              <a:gd name="T43" fmla="*/ 374 h 720"/>
              <a:gd name="T44" fmla="*/ 289 w 666"/>
              <a:gd name="T45" fmla="*/ 300 h 720"/>
              <a:gd name="T46" fmla="*/ 409 w 666"/>
              <a:gd name="T47" fmla="*/ 156 h 720"/>
              <a:gd name="T48" fmla="*/ 317 w 666"/>
              <a:gd name="T49" fmla="*/ 123 h 720"/>
              <a:gd name="T50" fmla="*/ 275 w 666"/>
              <a:gd name="T51" fmla="*/ 5 h 720"/>
              <a:gd name="T52" fmla="*/ 171 w 666"/>
              <a:gd name="T53" fmla="*/ 54 h 720"/>
              <a:gd name="T54" fmla="*/ 226 w 666"/>
              <a:gd name="T55" fmla="*/ 108 h 720"/>
              <a:gd name="T56" fmla="*/ 166 w 666"/>
              <a:gd name="T57" fmla="*/ 57 h 720"/>
              <a:gd name="T58" fmla="*/ 150 w 666"/>
              <a:gd name="T59" fmla="*/ 102 h 720"/>
              <a:gd name="T60" fmla="*/ 203 w 666"/>
              <a:gd name="T61" fmla="*/ 117 h 720"/>
              <a:gd name="T62" fmla="*/ 227 w 666"/>
              <a:gd name="T63" fmla="*/ 309 h 720"/>
              <a:gd name="T64" fmla="*/ 188 w 666"/>
              <a:gd name="T65" fmla="*/ 383 h 720"/>
              <a:gd name="T66" fmla="*/ 144 w 666"/>
              <a:gd name="T67" fmla="*/ 453 h 720"/>
              <a:gd name="T68" fmla="*/ 144 w 666"/>
              <a:gd name="T69" fmla="*/ 453 h 720"/>
              <a:gd name="T70" fmla="*/ 125 w 666"/>
              <a:gd name="T71" fmla="*/ 463 h 720"/>
              <a:gd name="T72" fmla="*/ 27 w 666"/>
              <a:gd name="T73" fmla="*/ 564 h 720"/>
              <a:gd name="T74" fmla="*/ 71 w 666"/>
              <a:gd name="T75" fmla="*/ 639 h 720"/>
              <a:gd name="T76" fmla="*/ 169 w 666"/>
              <a:gd name="T77" fmla="*/ 571 h 720"/>
              <a:gd name="T78" fmla="*/ 171 w 666"/>
              <a:gd name="T79" fmla="*/ 687 h 720"/>
              <a:gd name="T80" fmla="*/ 171 w 666"/>
              <a:gd name="T81" fmla="*/ 687 h 720"/>
              <a:gd name="T82" fmla="*/ 353 w 666"/>
              <a:gd name="T83" fmla="*/ 644 h 720"/>
              <a:gd name="T84" fmla="*/ 179 w 666"/>
              <a:gd name="T85" fmla="*/ 689 h 720"/>
              <a:gd name="T86" fmla="*/ 381 w 666"/>
              <a:gd name="T87" fmla="*/ 546 h 720"/>
              <a:gd name="T88" fmla="*/ 381 w 666"/>
              <a:gd name="T89" fmla="*/ 546 h 720"/>
              <a:gd name="T90" fmla="*/ 384 w 666"/>
              <a:gd name="T91" fmla="*/ 530 h 720"/>
              <a:gd name="T92" fmla="*/ 393 w 666"/>
              <a:gd name="T93" fmla="*/ 432 h 720"/>
              <a:gd name="T94" fmla="*/ 451 w 666"/>
              <a:gd name="T95" fmla="*/ 321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66" h="720">
                <a:moveTo>
                  <a:pt x="666" y="290"/>
                </a:moveTo>
                <a:cubicBezTo>
                  <a:pt x="663" y="286"/>
                  <a:pt x="663" y="286"/>
                  <a:pt x="663" y="286"/>
                </a:cubicBezTo>
                <a:cubicBezTo>
                  <a:pt x="624" y="224"/>
                  <a:pt x="564" y="167"/>
                  <a:pt x="384" y="134"/>
                </a:cubicBezTo>
                <a:cubicBezTo>
                  <a:pt x="369" y="131"/>
                  <a:pt x="353" y="128"/>
                  <a:pt x="333" y="125"/>
                </a:cubicBezTo>
                <a:cubicBezTo>
                  <a:pt x="306" y="78"/>
                  <a:pt x="286" y="36"/>
                  <a:pt x="278" y="0"/>
                </a:cubicBezTo>
                <a:cubicBezTo>
                  <a:pt x="257" y="6"/>
                  <a:pt x="145" y="45"/>
                  <a:pt x="123" y="74"/>
                </a:cubicBezTo>
                <a:cubicBezTo>
                  <a:pt x="123" y="73"/>
                  <a:pt x="123" y="73"/>
                  <a:pt x="123" y="73"/>
                </a:cubicBezTo>
                <a:cubicBezTo>
                  <a:pt x="118" y="80"/>
                  <a:pt x="122" y="86"/>
                  <a:pt x="126" y="90"/>
                </a:cubicBezTo>
                <a:cubicBezTo>
                  <a:pt x="166" y="137"/>
                  <a:pt x="225" y="164"/>
                  <a:pt x="225" y="259"/>
                </a:cubicBezTo>
                <a:cubicBezTo>
                  <a:pt x="225" y="346"/>
                  <a:pt x="147" y="427"/>
                  <a:pt x="68" y="492"/>
                </a:cubicBezTo>
                <a:cubicBezTo>
                  <a:pt x="64" y="495"/>
                  <a:pt x="60" y="498"/>
                  <a:pt x="56" y="502"/>
                </a:cubicBezTo>
                <a:cubicBezTo>
                  <a:pt x="56" y="502"/>
                  <a:pt x="56" y="502"/>
                  <a:pt x="56" y="502"/>
                </a:cubicBezTo>
                <a:cubicBezTo>
                  <a:pt x="36" y="519"/>
                  <a:pt x="14" y="545"/>
                  <a:pt x="8" y="569"/>
                </a:cubicBezTo>
                <a:cubicBezTo>
                  <a:pt x="0" y="604"/>
                  <a:pt x="27" y="632"/>
                  <a:pt x="55" y="652"/>
                </a:cubicBezTo>
                <a:cubicBezTo>
                  <a:pt x="86" y="674"/>
                  <a:pt x="119" y="685"/>
                  <a:pt x="156" y="696"/>
                </a:cubicBezTo>
                <a:cubicBezTo>
                  <a:pt x="198" y="708"/>
                  <a:pt x="281" y="719"/>
                  <a:pt x="324" y="720"/>
                </a:cubicBezTo>
                <a:cubicBezTo>
                  <a:pt x="327" y="720"/>
                  <a:pt x="331" y="719"/>
                  <a:pt x="331" y="719"/>
                </a:cubicBezTo>
                <a:cubicBezTo>
                  <a:pt x="331" y="719"/>
                  <a:pt x="333" y="716"/>
                  <a:pt x="333" y="715"/>
                </a:cubicBezTo>
                <a:cubicBezTo>
                  <a:pt x="337" y="709"/>
                  <a:pt x="386" y="616"/>
                  <a:pt x="400" y="538"/>
                </a:cubicBezTo>
                <a:cubicBezTo>
                  <a:pt x="408" y="487"/>
                  <a:pt x="415" y="418"/>
                  <a:pt x="402" y="352"/>
                </a:cubicBezTo>
                <a:cubicBezTo>
                  <a:pt x="492" y="325"/>
                  <a:pt x="596" y="300"/>
                  <a:pt x="666" y="290"/>
                </a:cubicBezTo>
                <a:close/>
                <a:moveTo>
                  <a:pt x="650" y="282"/>
                </a:moveTo>
                <a:cubicBezTo>
                  <a:pt x="651" y="283"/>
                  <a:pt x="653" y="284"/>
                  <a:pt x="655" y="285"/>
                </a:cubicBezTo>
                <a:cubicBezTo>
                  <a:pt x="633" y="287"/>
                  <a:pt x="570" y="291"/>
                  <a:pt x="476" y="315"/>
                </a:cubicBezTo>
                <a:cubicBezTo>
                  <a:pt x="515" y="278"/>
                  <a:pt x="535" y="255"/>
                  <a:pt x="556" y="207"/>
                </a:cubicBezTo>
                <a:cubicBezTo>
                  <a:pt x="602" y="232"/>
                  <a:pt x="634" y="263"/>
                  <a:pt x="650" y="282"/>
                </a:cubicBezTo>
                <a:close/>
                <a:moveTo>
                  <a:pt x="462" y="318"/>
                </a:moveTo>
                <a:cubicBezTo>
                  <a:pt x="462" y="318"/>
                  <a:pt x="462" y="318"/>
                  <a:pt x="462" y="318"/>
                </a:cubicBezTo>
                <a:cubicBezTo>
                  <a:pt x="462" y="318"/>
                  <a:pt x="462" y="318"/>
                  <a:pt x="462" y="318"/>
                </a:cubicBezTo>
                <a:cubicBezTo>
                  <a:pt x="462" y="318"/>
                  <a:pt x="462" y="318"/>
                  <a:pt x="462" y="318"/>
                </a:cubicBezTo>
                <a:cubicBezTo>
                  <a:pt x="446" y="293"/>
                  <a:pt x="427" y="273"/>
                  <a:pt x="405" y="257"/>
                </a:cubicBezTo>
                <a:cubicBezTo>
                  <a:pt x="448" y="237"/>
                  <a:pt x="496" y="220"/>
                  <a:pt x="548" y="205"/>
                </a:cubicBezTo>
                <a:cubicBezTo>
                  <a:pt x="531" y="234"/>
                  <a:pt x="504" y="265"/>
                  <a:pt x="462" y="318"/>
                </a:cubicBezTo>
                <a:close/>
                <a:moveTo>
                  <a:pt x="509" y="186"/>
                </a:moveTo>
                <a:cubicBezTo>
                  <a:pt x="520" y="190"/>
                  <a:pt x="530" y="194"/>
                  <a:pt x="540" y="199"/>
                </a:cubicBezTo>
                <a:cubicBezTo>
                  <a:pt x="489" y="210"/>
                  <a:pt x="444" y="225"/>
                  <a:pt x="403" y="241"/>
                </a:cubicBezTo>
                <a:cubicBezTo>
                  <a:pt x="419" y="211"/>
                  <a:pt x="426" y="183"/>
                  <a:pt x="427" y="160"/>
                </a:cubicBezTo>
                <a:cubicBezTo>
                  <a:pt x="455" y="167"/>
                  <a:pt x="482" y="175"/>
                  <a:pt x="509" y="186"/>
                </a:cubicBezTo>
                <a:close/>
                <a:moveTo>
                  <a:pt x="385" y="243"/>
                </a:moveTo>
                <a:cubicBezTo>
                  <a:pt x="367" y="232"/>
                  <a:pt x="347" y="223"/>
                  <a:pt x="328" y="215"/>
                </a:cubicBezTo>
                <a:cubicBezTo>
                  <a:pt x="354" y="196"/>
                  <a:pt x="385" y="177"/>
                  <a:pt x="420" y="159"/>
                </a:cubicBezTo>
                <a:cubicBezTo>
                  <a:pt x="418" y="179"/>
                  <a:pt x="407" y="207"/>
                  <a:pt x="385" y="243"/>
                </a:cubicBezTo>
                <a:close/>
                <a:moveTo>
                  <a:pt x="312" y="382"/>
                </a:moveTo>
                <a:cubicBezTo>
                  <a:pt x="312" y="382"/>
                  <a:pt x="313" y="381"/>
                  <a:pt x="314" y="381"/>
                </a:cubicBezTo>
                <a:cubicBezTo>
                  <a:pt x="333" y="394"/>
                  <a:pt x="376" y="419"/>
                  <a:pt x="392" y="425"/>
                </a:cubicBezTo>
                <a:cubicBezTo>
                  <a:pt x="371" y="440"/>
                  <a:pt x="341" y="457"/>
                  <a:pt x="299" y="475"/>
                </a:cubicBezTo>
                <a:cubicBezTo>
                  <a:pt x="310" y="435"/>
                  <a:pt x="313" y="402"/>
                  <a:pt x="312" y="382"/>
                </a:cubicBezTo>
                <a:close/>
                <a:moveTo>
                  <a:pt x="325" y="377"/>
                </a:moveTo>
                <a:cubicBezTo>
                  <a:pt x="344" y="371"/>
                  <a:pt x="365" y="364"/>
                  <a:pt x="387" y="357"/>
                </a:cubicBezTo>
                <a:cubicBezTo>
                  <a:pt x="390" y="378"/>
                  <a:pt x="392" y="400"/>
                  <a:pt x="392" y="420"/>
                </a:cubicBezTo>
                <a:cubicBezTo>
                  <a:pt x="374" y="410"/>
                  <a:pt x="341" y="389"/>
                  <a:pt x="325" y="377"/>
                </a:cubicBezTo>
                <a:close/>
                <a:moveTo>
                  <a:pt x="285" y="474"/>
                </a:moveTo>
                <a:cubicBezTo>
                  <a:pt x="265" y="457"/>
                  <a:pt x="246" y="433"/>
                  <a:pt x="239" y="410"/>
                </a:cubicBezTo>
                <a:cubicBezTo>
                  <a:pt x="253" y="404"/>
                  <a:pt x="268" y="398"/>
                  <a:pt x="283" y="392"/>
                </a:cubicBezTo>
                <a:cubicBezTo>
                  <a:pt x="288" y="390"/>
                  <a:pt x="293" y="389"/>
                  <a:pt x="298" y="387"/>
                </a:cubicBezTo>
                <a:cubicBezTo>
                  <a:pt x="301" y="414"/>
                  <a:pt x="295" y="444"/>
                  <a:pt x="285" y="474"/>
                </a:cubicBezTo>
                <a:close/>
                <a:moveTo>
                  <a:pt x="209" y="509"/>
                </a:moveTo>
                <a:cubicBezTo>
                  <a:pt x="199" y="512"/>
                  <a:pt x="187" y="516"/>
                  <a:pt x="173" y="521"/>
                </a:cubicBezTo>
                <a:cubicBezTo>
                  <a:pt x="185" y="503"/>
                  <a:pt x="212" y="452"/>
                  <a:pt x="224" y="416"/>
                </a:cubicBezTo>
                <a:cubicBezTo>
                  <a:pt x="225" y="415"/>
                  <a:pt x="227" y="415"/>
                  <a:pt x="228" y="414"/>
                </a:cubicBezTo>
                <a:cubicBezTo>
                  <a:pt x="238" y="445"/>
                  <a:pt x="262" y="470"/>
                  <a:pt x="279" y="484"/>
                </a:cubicBezTo>
                <a:cubicBezTo>
                  <a:pt x="258" y="492"/>
                  <a:pt x="235" y="500"/>
                  <a:pt x="209" y="509"/>
                </a:cubicBezTo>
                <a:close/>
                <a:moveTo>
                  <a:pt x="276" y="499"/>
                </a:moveTo>
                <a:cubicBezTo>
                  <a:pt x="263" y="532"/>
                  <a:pt x="246" y="565"/>
                  <a:pt x="229" y="593"/>
                </a:cubicBezTo>
                <a:cubicBezTo>
                  <a:pt x="229" y="594"/>
                  <a:pt x="229" y="594"/>
                  <a:pt x="229" y="594"/>
                </a:cubicBezTo>
                <a:cubicBezTo>
                  <a:pt x="220" y="589"/>
                  <a:pt x="212" y="584"/>
                  <a:pt x="205" y="578"/>
                </a:cubicBezTo>
                <a:cubicBezTo>
                  <a:pt x="189" y="567"/>
                  <a:pt x="174" y="553"/>
                  <a:pt x="163" y="538"/>
                </a:cubicBezTo>
                <a:cubicBezTo>
                  <a:pt x="183" y="533"/>
                  <a:pt x="202" y="527"/>
                  <a:pt x="221" y="521"/>
                </a:cubicBezTo>
                <a:cubicBezTo>
                  <a:pt x="241" y="514"/>
                  <a:pt x="259" y="507"/>
                  <a:pt x="276" y="499"/>
                </a:cubicBezTo>
                <a:close/>
                <a:moveTo>
                  <a:pt x="231" y="205"/>
                </a:moveTo>
                <a:cubicBezTo>
                  <a:pt x="249" y="208"/>
                  <a:pt x="270" y="215"/>
                  <a:pt x="294" y="224"/>
                </a:cubicBezTo>
                <a:cubicBezTo>
                  <a:pt x="276" y="238"/>
                  <a:pt x="256" y="256"/>
                  <a:pt x="234" y="278"/>
                </a:cubicBezTo>
                <a:cubicBezTo>
                  <a:pt x="237" y="252"/>
                  <a:pt x="235" y="228"/>
                  <a:pt x="231" y="205"/>
                </a:cubicBezTo>
                <a:close/>
                <a:moveTo>
                  <a:pt x="236" y="187"/>
                </a:moveTo>
                <a:cubicBezTo>
                  <a:pt x="251" y="170"/>
                  <a:pt x="272" y="153"/>
                  <a:pt x="297" y="135"/>
                </a:cubicBezTo>
                <a:cubicBezTo>
                  <a:pt x="297" y="135"/>
                  <a:pt x="297" y="135"/>
                  <a:pt x="297" y="135"/>
                </a:cubicBezTo>
                <a:cubicBezTo>
                  <a:pt x="305" y="158"/>
                  <a:pt x="307" y="182"/>
                  <a:pt x="305" y="207"/>
                </a:cubicBezTo>
                <a:cubicBezTo>
                  <a:pt x="282" y="199"/>
                  <a:pt x="258" y="193"/>
                  <a:pt x="236" y="187"/>
                </a:cubicBezTo>
                <a:close/>
                <a:moveTo>
                  <a:pt x="301" y="235"/>
                </a:moveTo>
                <a:cubicBezTo>
                  <a:pt x="295" y="261"/>
                  <a:pt x="284" y="288"/>
                  <a:pt x="268" y="314"/>
                </a:cubicBezTo>
                <a:cubicBezTo>
                  <a:pt x="257" y="301"/>
                  <a:pt x="245" y="294"/>
                  <a:pt x="236" y="290"/>
                </a:cubicBezTo>
                <a:cubicBezTo>
                  <a:pt x="248" y="279"/>
                  <a:pt x="270" y="259"/>
                  <a:pt x="301" y="235"/>
                </a:cubicBezTo>
                <a:close/>
                <a:moveTo>
                  <a:pt x="264" y="338"/>
                </a:moveTo>
                <a:cubicBezTo>
                  <a:pt x="274" y="351"/>
                  <a:pt x="279" y="365"/>
                  <a:pt x="280" y="377"/>
                </a:cubicBezTo>
                <a:cubicBezTo>
                  <a:pt x="237" y="393"/>
                  <a:pt x="203" y="407"/>
                  <a:pt x="170" y="424"/>
                </a:cubicBezTo>
                <a:cubicBezTo>
                  <a:pt x="210" y="396"/>
                  <a:pt x="241" y="367"/>
                  <a:pt x="264" y="338"/>
                </a:cubicBezTo>
                <a:close/>
                <a:moveTo>
                  <a:pt x="288" y="374"/>
                </a:moveTo>
                <a:cubicBezTo>
                  <a:pt x="288" y="374"/>
                  <a:pt x="288" y="374"/>
                  <a:pt x="288" y="374"/>
                </a:cubicBezTo>
                <a:cubicBezTo>
                  <a:pt x="288" y="353"/>
                  <a:pt x="283" y="337"/>
                  <a:pt x="275" y="325"/>
                </a:cubicBezTo>
                <a:cubicBezTo>
                  <a:pt x="301" y="309"/>
                  <a:pt x="331" y="292"/>
                  <a:pt x="365" y="276"/>
                </a:cubicBezTo>
                <a:cubicBezTo>
                  <a:pt x="345" y="305"/>
                  <a:pt x="319" y="338"/>
                  <a:pt x="288" y="374"/>
                </a:cubicBezTo>
                <a:close/>
                <a:moveTo>
                  <a:pt x="289" y="300"/>
                </a:moveTo>
                <a:cubicBezTo>
                  <a:pt x="302" y="277"/>
                  <a:pt x="311" y="254"/>
                  <a:pt x="315" y="232"/>
                </a:cubicBezTo>
                <a:cubicBezTo>
                  <a:pt x="332" y="240"/>
                  <a:pt x="349" y="248"/>
                  <a:pt x="366" y="258"/>
                </a:cubicBezTo>
                <a:cubicBezTo>
                  <a:pt x="338" y="272"/>
                  <a:pt x="312" y="286"/>
                  <a:pt x="289" y="300"/>
                </a:cubicBezTo>
                <a:close/>
                <a:moveTo>
                  <a:pt x="409" y="156"/>
                </a:moveTo>
                <a:cubicBezTo>
                  <a:pt x="376" y="170"/>
                  <a:pt x="348" y="184"/>
                  <a:pt x="318" y="205"/>
                </a:cubicBezTo>
                <a:cubicBezTo>
                  <a:pt x="319" y="180"/>
                  <a:pt x="314" y="156"/>
                  <a:pt x="304" y="136"/>
                </a:cubicBezTo>
                <a:cubicBezTo>
                  <a:pt x="339" y="142"/>
                  <a:pt x="374" y="148"/>
                  <a:pt x="409" y="156"/>
                </a:cubicBezTo>
                <a:close/>
                <a:moveTo>
                  <a:pt x="317" y="123"/>
                </a:moveTo>
                <a:cubicBezTo>
                  <a:pt x="299" y="120"/>
                  <a:pt x="278" y="117"/>
                  <a:pt x="254" y="113"/>
                </a:cubicBezTo>
                <a:cubicBezTo>
                  <a:pt x="271" y="104"/>
                  <a:pt x="283" y="95"/>
                  <a:pt x="296" y="83"/>
                </a:cubicBezTo>
                <a:cubicBezTo>
                  <a:pt x="302" y="96"/>
                  <a:pt x="309" y="109"/>
                  <a:pt x="317" y="123"/>
                </a:cubicBezTo>
                <a:close/>
                <a:moveTo>
                  <a:pt x="275" y="5"/>
                </a:moveTo>
                <a:cubicBezTo>
                  <a:pt x="277" y="27"/>
                  <a:pt x="282" y="48"/>
                  <a:pt x="291" y="69"/>
                </a:cubicBezTo>
                <a:cubicBezTo>
                  <a:pt x="264" y="62"/>
                  <a:pt x="200" y="53"/>
                  <a:pt x="178" y="50"/>
                </a:cubicBezTo>
                <a:cubicBezTo>
                  <a:pt x="216" y="27"/>
                  <a:pt x="269" y="8"/>
                  <a:pt x="275" y="5"/>
                </a:cubicBezTo>
                <a:close/>
                <a:moveTo>
                  <a:pt x="171" y="54"/>
                </a:moveTo>
                <a:cubicBezTo>
                  <a:pt x="191" y="62"/>
                  <a:pt x="259" y="76"/>
                  <a:pt x="294" y="78"/>
                </a:cubicBezTo>
                <a:cubicBezTo>
                  <a:pt x="294" y="78"/>
                  <a:pt x="294" y="78"/>
                  <a:pt x="294" y="78"/>
                </a:cubicBezTo>
                <a:cubicBezTo>
                  <a:pt x="282" y="84"/>
                  <a:pt x="261" y="95"/>
                  <a:pt x="237" y="110"/>
                </a:cubicBezTo>
                <a:cubicBezTo>
                  <a:pt x="234" y="109"/>
                  <a:pt x="230" y="109"/>
                  <a:pt x="226" y="108"/>
                </a:cubicBezTo>
                <a:cubicBezTo>
                  <a:pt x="210" y="93"/>
                  <a:pt x="180" y="63"/>
                  <a:pt x="171" y="55"/>
                </a:cubicBezTo>
                <a:cubicBezTo>
                  <a:pt x="171" y="55"/>
                  <a:pt x="171" y="54"/>
                  <a:pt x="171" y="54"/>
                </a:cubicBezTo>
                <a:close/>
                <a:moveTo>
                  <a:pt x="155" y="66"/>
                </a:moveTo>
                <a:cubicBezTo>
                  <a:pt x="158" y="63"/>
                  <a:pt x="162" y="60"/>
                  <a:pt x="166" y="57"/>
                </a:cubicBezTo>
                <a:cubicBezTo>
                  <a:pt x="174" y="67"/>
                  <a:pt x="191" y="89"/>
                  <a:pt x="204" y="104"/>
                </a:cubicBezTo>
                <a:cubicBezTo>
                  <a:pt x="184" y="101"/>
                  <a:pt x="157" y="96"/>
                  <a:pt x="140" y="89"/>
                </a:cubicBezTo>
                <a:cubicBezTo>
                  <a:pt x="140" y="80"/>
                  <a:pt x="149" y="71"/>
                  <a:pt x="155" y="66"/>
                </a:cubicBezTo>
                <a:close/>
                <a:moveTo>
                  <a:pt x="150" y="102"/>
                </a:moveTo>
                <a:cubicBezTo>
                  <a:pt x="162" y="107"/>
                  <a:pt x="179" y="111"/>
                  <a:pt x="196" y="115"/>
                </a:cubicBezTo>
                <a:cubicBezTo>
                  <a:pt x="203" y="137"/>
                  <a:pt x="209" y="157"/>
                  <a:pt x="214" y="175"/>
                </a:cubicBezTo>
                <a:cubicBezTo>
                  <a:pt x="199" y="147"/>
                  <a:pt x="177" y="123"/>
                  <a:pt x="150" y="102"/>
                </a:cubicBezTo>
                <a:close/>
                <a:moveTo>
                  <a:pt x="203" y="117"/>
                </a:moveTo>
                <a:cubicBezTo>
                  <a:pt x="235" y="124"/>
                  <a:pt x="269" y="130"/>
                  <a:pt x="288" y="133"/>
                </a:cubicBezTo>
                <a:cubicBezTo>
                  <a:pt x="274" y="141"/>
                  <a:pt x="241" y="160"/>
                  <a:pt x="226" y="180"/>
                </a:cubicBezTo>
                <a:cubicBezTo>
                  <a:pt x="218" y="150"/>
                  <a:pt x="208" y="128"/>
                  <a:pt x="203" y="117"/>
                </a:cubicBezTo>
                <a:close/>
                <a:moveTo>
                  <a:pt x="227" y="309"/>
                </a:moveTo>
                <a:cubicBezTo>
                  <a:pt x="237" y="314"/>
                  <a:pt x="245" y="319"/>
                  <a:pt x="252" y="325"/>
                </a:cubicBezTo>
                <a:cubicBezTo>
                  <a:pt x="233" y="339"/>
                  <a:pt x="216" y="352"/>
                  <a:pt x="201" y="364"/>
                </a:cubicBezTo>
                <a:cubicBezTo>
                  <a:pt x="213" y="346"/>
                  <a:pt x="222" y="328"/>
                  <a:pt x="227" y="309"/>
                </a:cubicBezTo>
                <a:close/>
                <a:moveTo>
                  <a:pt x="188" y="383"/>
                </a:moveTo>
                <a:cubicBezTo>
                  <a:pt x="202" y="372"/>
                  <a:pt x="222" y="358"/>
                  <a:pt x="247" y="342"/>
                </a:cubicBezTo>
                <a:cubicBezTo>
                  <a:pt x="223" y="372"/>
                  <a:pt x="191" y="400"/>
                  <a:pt x="152" y="424"/>
                </a:cubicBezTo>
                <a:cubicBezTo>
                  <a:pt x="166" y="410"/>
                  <a:pt x="178" y="397"/>
                  <a:pt x="188" y="383"/>
                </a:cubicBezTo>
                <a:close/>
                <a:moveTo>
                  <a:pt x="144" y="453"/>
                </a:moveTo>
                <a:cubicBezTo>
                  <a:pt x="166" y="442"/>
                  <a:pt x="186" y="432"/>
                  <a:pt x="207" y="423"/>
                </a:cubicBezTo>
                <a:cubicBezTo>
                  <a:pt x="189" y="463"/>
                  <a:pt x="164" y="502"/>
                  <a:pt x="154" y="519"/>
                </a:cubicBezTo>
                <a:cubicBezTo>
                  <a:pt x="153" y="520"/>
                  <a:pt x="152" y="521"/>
                  <a:pt x="152" y="522"/>
                </a:cubicBezTo>
                <a:cubicBezTo>
                  <a:pt x="141" y="501"/>
                  <a:pt x="137" y="478"/>
                  <a:pt x="144" y="453"/>
                </a:cubicBezTo>
                <a:close/>
                <a:moveTo>
                  <a:pt x="27" y="560"/>
                </a:moveTo>
                <a:cubicBezTo>
                  <a:pt x="33" y="533"/>
                  <a:pt x="60" y="500"/>
                  <a:pt x="90" y="482"/>
                </a:cubicBezTo>
                <a:cubicBezTo>
                  <a:pt x="90" y="482"/>
                  <a:pt x="90" y="482"/>
                  <a:pt x="90" y="482"/>
                </a:cubicBezTo>
                <a:cubicBezTo>
                  <a:pt x="102" y="475"/>
                  <a:pt x="114" y="469"/>
                  <a:pt x="125" y="463"/>
                </a:cubicBezTo>
                <a:cubicBezTo>
                  <a:pt x="125" y="464"/>
                  <a:pt x="125" y="465"/>
                  <a:pt x="124" y="467"/>
                </a:cubicBezTo>
                <a:cubicBezTo>
                  <a:pt x="123" y="474"/>
                  <a:pt x="122" y="480"/>
                  <a:pt x="122" y="487"/>
                </a:cubicBezTo>
                <a:cubicBezTo>
                  <a:pt x="123" y="503"/>
                  <a:pt x="128" y="518"/>
                  <a:pt x="137" y="532"/>
                </a:cubicBezTo>
                <a:cubicBezTo>
                  <a:pt x="103" y="543"/>
                  <a:pt x="64" y="554"/>
                  <a:pt x="27" y="564"/>
                </a:cubicBezTo>
                <a:cubicBezTo>
                  <a:pt x="27" y="563"/>
                  <a:pt x="27" y="561"/>
                  <a:pt x="27" y="560"/>
                </a:cubicBezTo>
                <a:close/>
                <a:moveTo>
                  <a:pt x="27" y="571"/>
                </a:moveTo>
                <a:cubicBezTo>
                  <a:pt x="62" y="562"/>
                  <a:pt x="100" y="554"/>
                  <a:pt x="136" y="545"/>
                </a:cubicBezTo>
                <a:cubicBezTo>
                  <a:pt x="109" y="586"/>
                  <a:pt x="85" y="616"/>
                  <a:pt x="71" y="639"/>
                </a:cubicBezTo>
                <a:cubicBezTo>
                  <a:pt x="51" y="623"/>
                  <a:pt x="28" y="597"/>
                  <a:pt x="27" y="571"/>
                </a:cubicBezTo>
                <a:close/>
                <a:moveTo>
                  <a:pt x="76" y="643"/>
                </a:moveTo>
                <a:cubicBezTo>
                  <a:pt x="98" y="610"/>
                  <a:pt x="125" y="580"/>
                  <a:pt x="150" y="550"/>
                </a:cubicBezTo>
                <a:cubicBezTo>
                  <a:pt x="156" y="558"/>
                  <a:pt x="162" y="565"/>
                  <a:pt x="169" y="571"/>
                </a:cubicBezTo>
                <a:cubicBezTo>
                  <a:pt x="182" y="583"/>
                  <a:pt x="196" y="592"/>
                  <a:pt x="211" y="600"/>
                </a:cubicBezTo>
                <a:cubicBezTo>
                  <a:pt x="168" y="616"/>
                  <a:pt x="123" y="632"/>
                  <a:pt x="81" y="646"/>
                </a:cubicBezTo>
                <a:cubicBezTo>
                  <a:pt x="79" y="645"/>
                  <a:pt x="78" y="644"/>
                  <a:pt x="76" y="643"/>
                </a:cubicBezTo>
                <a:close/>
                <a:moveTo>
                  <a:pt x="171" y="687"/>
                </a:moveTo>
                <a:cubicBezTo>
                  <a:pt x="169" y="687"/>
                  <a:pt x="166" y="686"/>
                  <a:pt x="164" y="685"/>
                </a:cubicBezTo>
                <a:cubicBezTo>
                  <a:pt x="126" y="673"/>
                  <a:pt x="109" y="665"/>
                  <a:pt x="86" y="650"/>
                </a:cubicBezTo>
                <a:cubicBezTo>
                  <a:pt x="104" y="645"/>
                  <a:pt x="180" y="625"/>
                  <a:pt x="218" y="613"/>
                </a:cubicBezTo>
                <a:cubicBezTo>
                  <a:pt x="197" y="647"/>
                  <a:pt x="178" y="674"/>
                  <a:pt x="171" y="687"/>
                </a:cubicBezTo>
                <a:cubicBezTo>
                  <a:pt x="171" y="687"/>
                  <a:pt x="171" y="687"/>
                  <a:pt x="171" y="687"/>
                </a:cubicBezTo>
                <a:close/>
                <a:moveTo>
                  <a:pt x="327" y="715"/>
                </a:moveTo>
                <a:cubicBezTo>
                  <a:pt x="297" y="711"/>
                  <a:pt x="236" y="702"/>
                  <a:pt x="196" y="693"/>
                </a:cubicBezTo>
                <a:cubicBezTo>
                  <a:pt x="252" y="680"/>
                  <a:pt x="289" y="674"/>
                  <a:pt x="353" y="644"/>
                </a:cubicBezTo>
                <a:cubicBezTo>
                  <a:pt x="342" y="675"/>
                  <a:pt x="332" y="703"/>
                  <a:pt x="327" y="715"/>
                </a:cubicBezTo>
                <a:close/>
                <a:moveTo>
                  <a:pt x="185" y="690"/>
                </a:moveTo>
                <a:cubicBezTo>
                  <a:pt x="185" y="690"/>
                  <a:pt x="185" y="691"/>
                  <a:pt x="184" y="691"/>
                </a:cubicBezTo>
                <a:cubicBezTo>
                  <a:pt x="182" y="690"/>
                  <a:pt x="181" y="690"/>
                  <a:pt x="179" y="689"/>
                </a:cubicBezTo>
                <a:cubicBezTo>
                  <a:pt x="201" y="663"/>
                  <a:pt x="220" y="637"/>
                  <a:pt x="236" y="612"/>
                </a:cubicBezTo>
                <a:cubicBezTo>
                  <a:pt x="291" y="635"/>
                  <a:pt x="346" y="639"/>
                  <a:pt x="353" y="640"/>
                </a:cubicBezTo>
                <a:cubicBezTo>
                  <a:pt x="327" y="650"/>
                  <a:pt x="192" y="688"/>
                  <a:pt x="185" y="690"/>
                </a:cubicBezTo>
                <a:close/>
                <a:moveTo>
                  <a:pt x="381" y="546"/>
                </a:moveTo>
                <a:cubicBezTo>
                  <a:pt x="376" y="568"/>
                  <a:pt x="366" y="603"/>
                  <a:pt x="355" y="636"/>
                </a:cubicBezTo>
                <a:cubicBezTo>
                  <a:pt x="319" y="630"/>
                  <a:pt x="280" y="619"/>
                  <a:pt x="245" y="602"/>
                </a:cubicBezTo>
                <a:cubicBezTo>
                  <a:pt x="283" y="586"/>
                  <a:pt x="361" y="551"/>
                  <a:pt x="383" y="536"/>
                </a:cubicBezTo>
                <a:cubicBezTo>
                  <a:pt x="383" y="540"/>
                  <a:pt x="382" y="543"/>
                  <a:pt x="381" y="546"/>
                </a:cubicBezTo>
                <a:close/>
                <a:moveTo>
                  <a:pt x="384" y="530"/>
                </a:moveTo>
                <a:cubicBezTo>
                  <a:pt x="362" y="544"/>
                  <a:pt x="287" y="572"/>
                  <a:pt x="252" y="585"/>
                </a:cubicBezTo>
                <a:cubicBezTo>
                  <a:pt x="271" y="552"/>
                  <a:pt x="284" y="521"/>
                  <a:pt x="293" y="494"/>
                </a:cubicBezTo>
                <a:cubicBezTo>
                  <a:pt x="332" y="517"/>
                  <a:pt x="372" y="527"/>
                  <a:pt x="384" y="530"/>
                </a:cubicBezTo>
                <a:cubicBezTo>
                  <a:pt x="384" y="530"/>
                  <a:pt x="384" y="530"/>
                  <a:pt x="384" y="530"/>
                </a:cubicBezTo>
                <a:close/>
                <a:moveTo>
                  <a:pt x="385" y="526"/>
                </a:moveTo>
                <a:cubicBezTo>
                  <a:pt x="355" y="518"/>
                  <a:pt x="327" y="503"/>
                  <a:pt x="302" y="487"/>
                </a:cubicBezTo>
                <a:cubicBezTo>
                  <a:pt x="355" y="461"/>
                  <a:pt x="389" y="436"/>
                  <a:pt x="393" y="432"/>
                </a:cubicBezTo>
                <a:cubicBezTo>
                  <a:pt x="393" y="466"/>
                  <a:pt x="390" y="499"/>
                  <a:pt x="385" y="526"/>
                </a:cubicBezTo>
                <a:close/>
                <a:moveTo>
                  <a:pt x="300" y="369"/>
                </a:moveTo>
                <a:cubicBezTo>
                  <a:pt x="339" y="335"/>
                  <a:pt x="367" y="301"/>
                  <a:pt x="387" y="270"/>
                </a:cubicBezTo>
                <a:cubicBezTo>
                  <a:pt x="410" y="285"/>
                  <a:pt x="432" y="302"/>
                  <a:pt x="451" y="321"/>
                </a:cubicBezTo>
                <a:cubicBezTo>
                  <a:pt x="407" y="333"/>
                  <a:pt x="356" y="348"/>
                  <a:pt x="300" y="3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6" tIns="34294" rIns="68586" bIns="34294" numCol="1" anchor="t" anchorCtr="0" compatLnSpc="1">
            <a:prstTxWarp prst="textNoShape">
              <a:avLst/>
            </a:prstTxWarp>
          </a:bodyPr>
          <a:lstStyle/>
          <a:p>
            <a:endParaRPr lang="en-US"/>
          </a:p>
        </p:txBody>
      </p:sp>
      <p:sp>
        <p:nvSpPr>
          <p:cNvPr id="10" name="Title 2"/>
          <p:cNvSpPr txBox="1">
            <a:spLocks/>
          </p:cNvSpPr>
          <p:nvPr>
            <p:custDataLst>
              <p:tags r:id="rId6"/>
            </p:custDataLst>
          </p:nvPr>
        </p:nvSpPr>
        <p:spPr>
          <a:xfrm>
            <a:off x="170303" y="2244527"/>
            <a:ext cx="2430699" cy="654447"/>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pPr algn="r">
              <a:lnSpc>
                <a:spcPct val="100000"/>
              </a:lnSpc>
            </a:pPr>
            <a:r>
              <a:rPr lang="en-US" sz="2700" dirty="0">
                <a:solidFill>
                  <a:schemeClr val="tx1">
                    <a:alpha val="99000"/>
                  </a:schemeClr>
                </a:solidFill>
                <a:latin typeface="Segoe UI Light" pitchFamily="34" charset="0"/>
                <a:cs typeface="Segoe UI"/>
              </a:rPr>
              <a:t>In the </a:t>
            </a:r>
            <a:r>
              <a:rPr lang="en-US" sz="2700" b="1" dirty="0">
                <a:solidFill>
                  <a:schemeClr val="tx1">
                    <a:alpha val="99000"/>
                  </a:schemeClr>
                </a:solidFill>
                <a:latin typeface="Segoe UI Light" pitchFamily="34" charset="0"/>
                <a:cs typeface="Segoe UI"/>
              </a:rPr>
              <a:t>past,</a:t>
            </a:r>
          </a:p>
        </p:txBody>
      </p:sp>
      <p:sp>
        <p:nvSpPr>
          <p:cNvPr id="11"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2"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1"/>
              </a:rPr>
              <a:t>www.rapidbbs.cn</a:t>
            </a:r>
            <a:endParaRPr lang="zh-CN" altLang="en-US" sz="1200" b="0">
              <a:latin typeface="Arial" charset="0"/>
              <a:ea typeface="ＭＳ Ｐゴシック" pitchFamily="34" charset="-128"/>
            </a:endParaRPr>
          </a:p>
        </p:txBody>
      </p:sp>
      <p:pic>
        <p:nvPicPr>
          <p:cNvPr id="13" name="Picture 2">
            <a:hlinkClick r:id="rId11"/>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760635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193825370"/>
              </p:ext>
            </p:extLst>
          </p:nvPr>
        </p:nvGraphicFramePr>
        <p:xfrm>
          <a:off x="1191" y="1192"/>
          <a:ext cx="1191" cy="1190"/>
        </p:xfrm>
        <a:graphic>
          <a:graphicData uri="http://schemas.openxmlformats.org/presentationml/2006/ole">
            <mc:AlternateContent xmlns:mc="http://schemas.openxmlformats.org/markup-compatibility/2006">
              <mc:Choice xmlns:v="urn:schemas-microsoft-com:vml" Requires="v">
                <p:oleObj spid="_x0000_s18439"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191" y="1192"/>
                        <a:ext cx="1191" cy="1190"/>
                      </a:xfrm>
                      <a:prstGeom prst="rect">
                        <a:avLst/>
                      </a:prstGeom>
                    </p:spPr>
                  </p:pic>
                </p:oleObj>
              </mc:Fallback>
            </mc:AlternateContent>
          </a:graphicData>
        </a:graphic>
      </p:graphicFrame>
      <p:sp>
        <p:nvSpPr>
          <p:cNvPr id="9" name="Rectangle 8"/>
          <p:cNvSpPr/>
          <p:nvPr>
            <p:custDataLst>
              <p:tags r:id="rId3"/>
            </p:custDataLst>
          </p:nvPr>
        </p:nvSpPr>
        <p:spPr bwMode="auto">
          <a:xfrm rot="10800000" flipH="1" flipV="1">
            <a:off x="1" y="1543050"/>
            <a:ext cx="2762127" cy="205740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0" name="Rectangle 9"/>
          <p:cNvSpPr/>
          <p:nvPr>
            <p:custDataLst>
              <p:tags r:id="rId4"/>
            </p:custDataLst>
          </p:nvPr>
        </p:nvSpPr>
        <p:spPr bwMode="auto">
          <a:xfrm rot="10800000" flipH="1" flipV="1">
            <a:off x="4615876" y="1543050"/>
            <a:ext cx="4528124" cy="205740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1" name="Title 2"/>
          <p:cNvSpPr txBox="1">
            <a:spLocks/>
          </p:cNvSpPr>
          <p:nvPr>
            <p:custDataLst>
              <p:tags r:id="rId5"/>
            </p:custDataLst>
          </p:nvPr>
        </p:nvSpPr>
        <p:spPr>
          <a:xfrm>
            <a:off x="4780066" y="1685925"/>
            <a:ext cx="4199744" cy="1771650"/>
          </a:xfrm>
          <a:prstGeom prst="rect">
            <a:avLst/>
          </a:prstGeom>
        </p:spPr>
        <p:txBody>
          <a:bodyPr vert="horz" wrap="square" lIns="137172" tIns="34294" rIns="137172" bIns="34294" rtlCol="0" anchor="ctr" anchorCtr="0">
            <a:noAutofit/>
          </a:bodyPr>
          <a:lst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sz="2400" dirty="0">
                <a:solidFill>
                  <a:schemeClr val="tx1">
                    <a:alpha val="99000"/>
                  </a:schemeClr>
                </a:solidFill>
                <a:latin typeface="Segoe UI Light" pitchFamily="34" charset="0"/>
                <a:cs typeface="Segoe UI"/>
              </a:rPr>
              <a:t>Is a great OS for </a:t>
            </a:r>
            <a:r>
              <a:rPr lang="en-US" sz="2400" b="1" dirty="0">
                <a:solidFill>
                  <a:schemeClr val="accent2">
                    <a:alpha val="99000"/>
                  </a:schemeClr>
                </a:solidFill>
                <a:latin typeface="Segoe UI Light" pitchFamily="34" charset="0"/>
                <a:cs typeface="Segoe UI"/>
              </a:rPr>
              <a:t>lots of servers </a:t>
            </a:r>
            <a:r>
              <a:rPr lang="en-US" sz="2400" dirty="0">
                <a:solidFill>
                  <a:schemeClr val="tx1">
                    <a:alpha val="99000"/>
                  </a:schemeClr>
                </a:solidFill>
                <a:latin typeface="Segoe UI Light" pitchFamily="34" charset="0"/>
                <a:cs typeface="Segoe UI"/>
              </a:rPr>
              <a:t>and the </a:t>
            </a:r>
            <a:r>
              <a:rPr lang="en-US" sz="2400" b="1" dirty="0">
                <a:solidFill>
                  <a:schemeClr val="tx1">
                    <a:alpha val="99000"/>
                  </a:schemeClr>
                </a:solidFill>
                <a:latin typeface="Segoe UI Light" pitchFamily="34" charset="0"/>
                <a:cs typeface="Segoe UI"/>
              </a:rPr>
              <a:t>devices </a:t>
            </a:r>
            <a:r>
              <a:rPr lang="en-US" sz="2400" b="1" dirty="0">
                <a:solidFill>
                  <a:schemeClr val="accent2">
                    <a:alpha val="99000"/>
                  </a:schemeClr>
                </a:solidFill>
                <a:latin typeface="Segoe UI Light" pitchFamily="34" charset="0"/>
                <a:cs typeface="Segoe UI"/>
              </a:rPr>
              <a:t>connecting </a:t>
            </a:r>
            <a:r>
              <a:rPr lang="en-US" sz="2400" dirty="0">
                <a:solidFill>
                  <a:schemeClr val="tx1">
                    <a:alpha val="99000"/>
                  </a:schemeClr>
                </a:solidFill>
                <a:latin typeface="Segoe UI Light" pitchFamily="34" charset="0"/>
                <a:cs typeface="Segoe UI"/>
              </a:rPr>
              <a:t>them whether they are </a:t>
            </a:r>
            <a:r>
              <a:rPr lang="en-US" sz="2400" b="1" dirty="0">
                <a:solidFill>
                  <a:schemeClr val="accent2">
                    <a:alpha val="99000"/>
                  </a:schemeClr>
                </a:solidFill>
                <a:latin typeface="Segoe UI Light" pitchFamily="34" charset="0"/>
                <a:cs typeface="Segoe UI"/>
              </a:rPr>
              <a:t>physical </a:t>
            </a:r>
            <a:r>
              <a:rPr lang="en-US" sz="2400" dirty="0">
                <a:solidFill>
                  <a:schemeClr val="tx1">
                    <a:alpha val="99000"/>
                  </a:schemeClr>
                </a:solidFill>
                <a:latin typeface="Segoe UI Light" pitchFamily="34" charset="0"/>
                <a:cs typeface="Segoe UI"/>
              </a:rPr>
              <a:t>or </a:t>
            </a:r>
            <a:r>
              <a:rPr lang="en-US" sz="2400" b="1" dirty="0">
                <a:solidFill>
                  <a:schemeClr val="accent2">
                    <a:alpha val="99000"/>
                  </a:schemeClr>
                </a:solidFill>
                <a:latin typeface="Segoe UI Light" pitchFamily="34" charset="0"/>
                <a:cs typeface="Segoe UI"/>
              </a:rPr>
              <a:t>virtual</a:t>
            </a:r>
            <a:r>
              <a:rPr lang="en-US" sz="2400" dirty="0">
                <a:solidFill>
                  <a:schemeClr val="tx1">
                    <a:alpha val="99000"/>
                  </a:schemeClr>
                </a:solidFill>
                <a:latin typeface="Segoe UI Light" pitchFamily="34" charset="0"/>
                <a:cs typeface="Segoe UI"/>
              </a:rPr>
              <a:t> whether they are </a:t>
            </a:r>
            <a:r>
              <a:rPr lang="en-US" sz="2400" b="1" dirty="0">
                <a:solidFill>
                  <a:schemeClr val="accent2">
                    <a:alpha val="99000"/>
                  </a:schemeClr>
                </a:solidFill>
                <a:latin typeface="Segoe UI Light" pitchFamily="34" charset="0"/>
                <a:cs typeface="Segoe UI"/>
              </a:rPr>
              <a:t>on-premise</a:t>
            </a:r>
            <a:r>
              <a:rPr lang="en-US" sz="2400" dirty="0">
                <a:solidFill>
                  <a:schemeClr val="tx1">
                    <a:alpha val="99000"/>
                  </a:schemeClr>
                </a:solidFill>
                <a:latin typeface="Segoe UI Light" pitchFamily="34" charset="0"/>
                <a:cs typeface="Segoe UI"/>
              </a:rPr>
              <a:t> or </a:t>
            </a:r>
            <a:r>
              <a:rPr lang="en-US" sz="2400" b="1" dirty="0">
                <a:solidFill>
                  <a:schemeClr val="accent2">
                    <a:alpha val="99000"/>
                  </a:schemeClr>
                </a:solidFill>
                <a:latin typeface="Segoe UI Light" pitchFamily="34" charset="0"/>
                <a:cs typeface="Segoe UI"/>
              </a:rPr>
              <a:t>off</a:t>
            </a:r>
          </a:p>
        </p:txBody>
      </p:sp>
      <p:sp>
        <p:nvSpPr>
          <p:cNvPr id="13" name="Rectangle 12"/>
          <p:cNvSpPr/>
          <p:nvPr/>
        </p:nvSpPr>
        <p:spPr bwMode="auto">
          <a:xfrm rot="10800000" flipH="1" flipV="1">
            <a:off x="2889718" y="1543050"/>
            <a:ext cx="1598568" cy="205740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5" name="Title 2"/>
          <p:cNvSpPr txBox="1">
            <a:spLocks/>
          </p:cNvSpPr>
          <p:nvPr>
            <p:custDataLst>
              <p:tags r:id="rId6"/>
            </p:custDataLst>
          </p:nvPr>
        </p:nvSpPr>
        <p:spPr>
          <a:xfrm>
            <a:off x="277575" y="2000250"/>
            <a:ext cx="2206977" cy="1143000"/>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pPr algn="r">
              <a:lnSpc>
                <a:spcPct val="100000"/>
              </a:lnSpc>
            </a:pPr>
            <a:r>
              <a:rPr lang="en-US" sz="2400" dirty="0">
                <a:solidFill>
                  <a:schemeClr val="tx1">
                    <a:alpha val="99000"/>
                  </a:schemeClr>
                </a:solidFill>
                <a:latin typeface="Segoe UI Light" pitchFamily="34" charset="0"/>
                <a:cs typeface="Segoe UI"/>
              </a:rPr>
              <a:t>Windows </a:t>
            </a:r>
            <a:br>
              <a:rPr lang="en-US" sz="2400" dirty="0">
                <a:solidFill>
                  <a:schemeClr val="tx1">
                    <a:alpha val="99000"/>
                  </a:schemeClr>
                </a:solidFill>
                <a:latin typeface="Segoe UI Light" pitchFamily="34" charset="0"/>
                <a:cs typeface="Segoe UI"/>
              </a:rPr>
            </a:br>
            <a:r>
              <a:rPr lang="en-US" sz="2400" dirty="0">
                <a:solidFill>
                  <a:schemeClr val="tx1">
                    <a:alpha val="99000"/>
                  </a:schemeClr>
                </a:solidFill>
                <a:latin typeface="Segoe UI Light" pitchFamily="34" charset="0"/>
                <a:cs typeface="Segoe UI"/>
              </a:rPr>
              <a:t>Server 8</a:t>
            </a:r>
          </a:p>
        </p:txBody>
      </p:sp>
      <p:sp>
        <p:nvSpPr>
          <p:cNvPr id="12" name="Freeform 134"/>
          <p:cNvSpPr>
            <a:spLocks noEditPoints="1"/>
          </p:cNvSpPr>
          <p:nvPr/>
        </p:nvSpPr>
        <p:spPr bwMode="black">
          <a:xfrm>
            <a:off x="3190617" y="2032952"/>
            <a:ext cx="996770" cy="1077599"/>
          </a:xfrm>
          <a:custGeom>
            <a:avLst/>
            <a:gdLst>
              <a:gd name="T0" fmla="*/ 333 w 666"/>
              <a:gd name="T1" fmla="*/ 125 h 720"/>
              <a:gd name="T2" fmla="*/ 126 w 666"/>
              <a:gd name="T3" fmla="*/ 90 h 720"/>
              <a:gd name="T4" fmla="*/ 56 w 666"/>
              <a:gd name="T5" fmla="*/ 502 h 720"/>
              <a:gd name="T6" fmla="*/ 324 w 666"/>
              <a:gd name="T7" fmla="*/ 720 h 720"/>
              <a:gd name="T8" fmla="*/ 402 w 666"/>
              <a:gd name="T9" fmla="*/ 352 h 720"/>
              <a:gd name="T10" fmla="*/ 476 w 666"/>
              <a:gd name="T11" fmla="*/ 315 h 720"/>
              <a:gd name="T12" fmla="*/ 462 w 666"/>
              <a:gd name="T13" fmla="*/ 318 h 720"/>
              <a:gd name="T14" fmla="*/ 548 w 666"/>
              <a:gd name="T15" fmla="*/ 205 h 720"/>
              <a:gd name="T16" fmla="*/ 403 w 666"/>
              <a:gd name="T17" fmla="*/ 241 h 720"/>
              <a:gd name="T18" fmla="*/ 328 w 666"/>
              <a:gd name="T19" fmla="*/ 215 h 720"/>
              <a:gd name="T20" fmla="*/ 314 w 666"/>
              <a:gd name="T21" fmla="*/ 381 h 720"/>
              <a:gd name="T22" fmla="*/ 325 w 666"/>
              <a:gd name="T23" fmla="*/ 377 h 720"/>
              <a:gd name="T24" fmla="*/ 285 w 666"/>
              <a:gd name="T25" fmla="*/ 474 h 720"/>
              <a:gd name="T26" fmla="*/ 285 w 666"/>
              <a:gd name="T27" fmla="*/ 474 h 720"/>
              <a:gd name="T28" fmla="*/ 228 w 666"/>
              <a:gd name="T29" fmla="*/ 414 h 720"/>
              <a:gd name="T30" fmla="*/ 229 w 666"/>
              <a:gd name="T31" fmla="*/ 593 h 720"/>
              <a:gd name="T32" fmla="*/ 221 w 666"/>
              <a:gd name="T33" fmla="*/ 521 h 720"/>
              <a:gd name="T34" fmla="*/ 234 w 666"/>
              <a:gd name="T35" fmla="*/ 278 h 720"/>
              <a:gd name="T36" fmla="*/ 297 w 666"/>
              <a:gd name="T37" fmla="*/ 135 h 720"/>
              <a:gd name="T38" fmla="*/ 268 w 666"/>
              <a:gd name="T39" fmla="*/ 314 h 720"/>
              <a:gd name="T40" fmla="*/ 280 w 666"/>
              <a:gd name="T41" fmla="*/ 377 h 720"/>
              <a:gd name="T42" fmla="*/ 288 w 666"/>
              <a:gd name="T43" fmla="*/ 374 h 720"/>
              <a:gd name="T44" fmla="*/ 289 w 666"/>
              <a:gd name="T45" fmla="*/ 300 h 720"/>
              <a:gd name="T46" fmla="*/ 409 w 666"/>
              <a:gd name="T47" fmla="*/ 156 h 720"/>
              <a:gd name="T48" fmla="*/ 317 w 666"/>
              <a:gd name="T49" fmla="*/ 123 h 720"/>
              <a:gd name="T50" fmla="*/ 275 w 666"/>
              <a:gd name="T51" fmla="*/ 5 h 720"/>
              <a:gd name="T52" fmla="*/ 171 w 666"/>
              <a:gd name="T53" fmla="*/ 54 h 720"/>
              <a:gd name="T54" fmla="*/ 226 w 666"/>
              <a:gd name="T55" fmla="*/ 108 h 720"/>
              <a:gd name="T56" fmla="*/ 166 w 666"/>
              <a:gd name="T57" fmla="*/ 57 h 720"/>
              <a:gd name="T58" fmla="*/ 150 w 666"/>
              <a:gd name="T59" fmla="*/ 102 h 720"/>
              <a:gd name="T60" fmla="*/ 203 w 666"/>
              <a:gd name="T61" fmla="*/ 117 h 720"/>
              <a:gd name="T62" fmla="*/ 227 w 666"/>
              <a:gd name="T63" fmla="*/ 309 h 720"/>
              <a:gd name="T64" fmla="*/ 188 w 666"/>
              <a:gd name="T65" fmla="*/ 383 h 720"/>
              <a:gd name="T66" fmla="*/ 144 w 666"/>
              <a:gd name="T67" fmla="*/ 453 h 720"/>
              <a:gd name="T68" fmla="*/ 144 w 666"/>
              <a:gd name="T69" fmla="*/ 453 h 720"/>
              <a:gd name="T70" fmla="*/ 125 w 666"/>
              <a:gd name="T71" fmla="*/ 463 h 720"/>
              <a:gd name="T72" fmla="*/ 27 w 666"/>
              <a:gd name="T73" fmla="*/ 564 h 720"/>
              <a:gd name="T74" fmla="*/ 71 w 666"/>
              <a:gd name="T75" fmla="*/ 639 h 720"/>
              <a:gd name="T76" fmla="*/ 169 w 666"/>
              <a:gd name="T77" fmla="*/ 571 h 720"/>
              <a:gd name="T78" fmla="*/ 171 w 666"/>
              <a:gd name="T79" fmla="*/ 687 h 720"/>
              <a:gd name="T80" fmla="*/ 171 w 666"/>
              <a:gd name="T81" fmla="*/ 687 h 720"/>
              <a:gd name="T82" fmla="*/ 353 w 666"/>
              <a:gd name="T83" fmla="*/ 644 h 720"/>
              <a:gd name="T84" fmla="*/ 179 w 666"/>
              <a:gd name="T85" fmla="*/ 689 h 720"/>
              <a:gd name="T86" fmla="*/ 381 w 666"/>
              <a:gd name="T87" fmla="*/ 546 h 720"/>
              <a:gd name="T88" fmla="*/ 381 w 666"/>
              <a:gd name="T89" fmla="*/ 546 h 720"/>
              <a:gd name="T90" fmla="*/ 384 w 666"/>
              <a:gd name="T91" fmla="*/ 530 h 720"/>
              <a:gd name="T92" fmla="*/ 393 w 666"/>
              <a:gd name="T93" fmla="*/ 432 h 720"/>
              <a:gd name="T94" fmla="*/ 451 w 666"/>
              <a:gd name="T95" fmla="*/ 321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66" h="720">
                <a:moveTo>
                  <a:pt x="666" y="290"/>
                </a:moveTo>
                <a:cubicBezTo>
                  <a:pt x="663" y="286"/>
                  <a:pt x="663" y="286"/>
                  <a:pt x="663" y="286"/>
                </a:cubicBezTo>
                <a:cubicBezTo>
                  <a:pt x="624" y="224"/>
                  <a:pt x="564" y="167"/>
                  <a:pt x="384" y="134"/>
                </a:cubicBezTo>
                <a:cubicBezTo>
                  <a:pt x="369" y="131"/>
                  <a:pt x="353" y="128"/>
                  <a:pt x="333" y="125"/>
                </a:cubicBezTo>
                <a:cubicBezTo>
                  <a:pt x="306" y="78"/>
                  <a:pt x="286" y="36"/>
                  <a:pt x="278" y="0"/>
                </a:cubicBezTo>
                <a:cubicBezTo>
                  <a:pt x="257" y="6"/>
                  <a:pt x="145" y="45"/>
                  <a:pt x="123" y="74"/>
                </a:cubicBezTo>
                <a:cubicBezTo>
                  <a:pt x="123" y="73"/>
                  <a:pt x="123" y="73"/>
                  <a:pt x="123" y="73"/>
                </a:cubicBezTo>
                <a:cubicBezTo>
                  <a:pt x="118" y="80"/>
                  <a:pt x="122" y="86"/>
                  <a:pt x="126" y="90"/>
                </a:cubicBezTo>
                <a:cubicBezTo>
                  <a:pt x="166" y="137"/>
                  <a:pt x="225" y="164"/>
                  <a:pt x="225" y="259"/>
                </a:cubicBezTo>
                <a:cubicBezTo>
                  <a:pt x="225" y="346"/>
                  <a:pt x="147" y="427"/>
                  <a:pt x="68" y="492"/>
                </a:cubicBezTo>
                <a:cubicBezTo>
                  <a:pt x="64" y="495"/>
                  <a:pt x="60" y="498"/>
                  <a:pt x="56" y="502"/>
                </a:cubicBezTo>
                <a:cubicBezTo>
                  <a:pt x="56" y="502"/>
                  <a:pt x="56" y="502"/>
                  <a:pt x="56" y="502"/>
                </a:cubicBezTo>
                <a:cubicBezTo>
                  <a:pt x="36" y="519"/>
                  <a:pt x="14" y="545"/>
                  <a:pt x="8" y="569"/>
                </a:cubicBezTo>
                <a:cubicBezTo>
                  <a:pt x="0" y="604"/>
                  <a:pt x="27" y="632"/>
                  <a:pt x="55" y="652"/>
                </a:cubicBezTo>
                <a:cubicBezTo>
                  <a:pt x="86" y="674"/>
                  <a:pt x="119" y="685"/>
                  <a:pt x="156" y="696"/>
                </a:cubicBezTo>
                <a:cubicBezTo>
                  <a:pt x="198" y="708"/>
                  <a:pt x="281" y="719"/>
                  <a:pt x="324" y="720"/>
                </a:cubicBezTo>
                <a:cubicBezTo>
                  <a:pt x="327" y="720"/>
                  <a:pt x="331" y="719"/>
                  <a:pt x="331" y="719"/>
                </a:cubicBezTo>
                <a:cubicBezTo>
                  <a:pt x="331" y="719"/>
                  <a:pt x="333" y="716"/>
                  <a:pt x="333" y="715"/>
                </a:cubicBezTo>
                <a:cubicBezTo>
                  <a:pt x="337" y="709"/>
                  <a:pt x="386" y="616"/>
                  <a:pt x="400" y="538"/>
                </a:cubicBezTo>
                <a:cubicBezTo>
                  <a:pt x="408" y="487"/>
                  <a:pt x="415" y="418"/>
                  <a:pt x="402" y="352"/>
                </a:cubicBezTo>
                <a:cubicBezTo>
                  <a:pt x="492" y="325"/>
                  <a:pt x="596" y="300"/>
                  <a:pt x="666" y="290"/>
                </a:cubicBezTo>
                <a:close/>
                <a:moveTo>
                  <a:pt x="650" y="282"/>
                </a:moveTo>
                <a:cubicBezTo>
                  <a:pt x="651" y="283"/>
                  <a:pt x="653" y="284"/>
                  <a:pt x="655" y="285"/>
                </a:cubicBezTo>
                <a:cubicBezTo>
                  <a:pt x="633" y="287"/>
                  <a:pt x="570" y="291"/>
                  <a:pt x="476" y="315"/>
                </a:cubicBezTo>
                <a:cubicBezTo>
                  <a:pt x="515" y="278"/>
                  <a:pt x="535" y="255"/>
                  <a:pt x="556" y="207"/>
                </a:cubicBezTo>
                <a:cubicBezTo>
                  <a:pt x="602" y="232"/>
                  <a:pt x="634" y="263"/>
                  <a:pt x="650" y="282"/>
                </a:cubicBezTo>
                <a:close/>
                <a:moveTo>
                  <a:pt x="462" y="318"/>
                </a:moveTo>
                <a:cubicBezTo>
                  <a:pt x="462" y="318"/>
                  <a:pt x="462" y="318"/>
                  <a:pt x="462" y="318"/>
                </a:cubicBezTo>
                <a:cubicBezTo>
                  <a:pt x="462" y="318"/>
                  <a:pt x="462" y="318"/>
                  <a:pt x="462" y="318"/>
                </a:cubicBezTo>
                <a:cubicBezTo>
                  <a:pt x="462" y="318"/>
                  <a:pt x="462" y="318"/>
                  <a:pt x="462" y="318"/>
                </a:cubicBezTo>
                <a:cubicBezTo>
                  <a:pt x="446" y="293"/>
                  <a:pt x="427" y="273"/>
                  <a:pt x="405" y="257"/>
                </a:cubicBezTo>
                <a:cubicBezTo>
                  <a:pt x="448" y="237"/>
                  <a:pt x="496" y="220"/>
                  <a:pt x="548" y="205"/>
                </a:cubicBezTo>
                <a:cubicBezTo>
                  <a:pt x="531" y="234"/>
                  <a:pt x="504" y="265"/>
                  <a:pt x="462" y="318"/>
                </a:cubicBezTo>
                <a:close/>
                <a:moveTo>
                  <a:pt x="509" y="186"/>
                </a:moveTo>
                <a:cubicBezTo>
                  <a:pt x="520" y="190"/>
                  <a:pt x="530" y="194"/>
                  <a:pt x="540" y="199"/>
                </a:cubicBezTo>
                <a:cubicBezTo>
                  <a:pt x="489" y="210"/>
                  <a:pt x="444" y="225"/>
                  <a:pt x="403" y="241"/>
                </a:cubicBezTo>
                <a:cubicBezTo>
                  <a:pt x="419" y="211"/>
                  <a:pt x="426" y="183"/>
                  <a:pt x="427" y="160"/>
                </a:cubicBezTo>
                <a:cubicBezTo>
                  <a:pt x="455" y="167"/>
                  <a:pt x="482" y="175"/>
                  <a:pt x="509" y="186"/>
                </a:cubicBezTo>
                <a:close/>
                <a:moveTo>
                  <a:pt x="385" y="243"/>
                </a:moveTo>
                <a:cubicBezTo>
                  <a:pt x="367" y="232"/>
                  <a:pt x="347" y="223"/>
                  <a:pt x="328" y="215"/>
                </a:cubicBezTo>
                <a:cubicBezTo>
                  <a:pt x="354" y="196"/>
                  <a:pt x="385" y="177"/>
                  <a:pt x="420" y="159"/>
                </a:cubicBezTo>
                <a:cubicBezTo>
                  <a:pt x="418" y="179"/>
                  <a:pt x="407" y="207"/>
                  <a:pt x="385" y="243"/>
                </a:cubicBezTo>
                <a:close/>
                <a:moveTo>
                  <a:pt x="312" y="382"/>
                </a:moveTo>
                <a:cubicBezTo>
                  <a:pt x="312" y="382"/>
                  <a:pt x="313" y="381"/>
                  <a:pt x="314" y="381"/>
                </a:cubicBezTo>
                <a:cubicBezTo>
                  <a:pt x="333" y="394"/>
                  <a:pt x="376" y="419"/>
                  <a:pt x="392" y="425"/>
                </a:cubicBezTo>
                <a:cubicBezTo>
                  <a:pt x="371" y="440"/>
                  <a:pt x="341" y="457"/>
                  <a:pt x="299" y="475"/>
                </a:cubicBezTo>
                <a:cubicBezTo>
                  <a:pt x="310" y="435"/>
                  <a:pt x="313" y="402"/>
                  <a:pt x="312" y="382"/>
                </a:cubicBezTo>
                <a:close/>
                <a:moveTo>
                  <a:pt x="325" y="377"/>
                </a:moveTo>
                <a:cubicBezTo>
                  <a:pt x="344" y="371"/>
                  <a:pt x="365" y="364"/>
                  <a:pt x="387" y="357"/>
                </a:cubicBezTo>
                <a:cubicBezTo>
                  <a:pt x="390" y="378"/>
                  <a:pt x="392" y="400"/>
                  <a:pt x="392" y="420"/>
                </a:cubicBezTo>
                <a:cubicBezTo>
                  <a:pt x="374" y="410"/>
                  <a:pt x="341" y="389"/>
                  <a:pt x="325" y="377"/>
                </a:cubicBezTo>
                <a:close/>
                <a:moveTo>
                  <a:pt x="285" y="474"/>
                </a:moveTo>
                <a:cubicBezTo>
                  <a:pt x="265" y="457"/>
                  <a:pt x="246" y="433"/>
                  <a:pt x="239" y="410"/>
                </a:cubicBezTo>
                <a:cubicBezTo>
                  <a:pt x="253" y="404"/>
                  <a:pt x="268" y="398"/>
                  <a:pt x="283" y="392"/>
                </a:cubicBezTo>
                <a:cubicBezTo>
                  <a:pt x="288" y="390"/>
                  <a:pt x="293" y="389"/>
                  <a:pt x="298" y="387"/>
                </a:cubicBezTo>
                <a:cubicBezTo>
                  <a:pt x="301" y="414"/>
                  <a:pt x="295" y="444"/>
                  <a:pt x="285" y="474"/>
                </a:cubicBezTo>
                <a:close/>
                <a:moveTo>
                  <a:pt x="209" y="509"/>
                </a:moveTo>
                <a:cubicBezTo>
                  <a:pt x="199" y="512"/>
                  <a:pt x="187" y="516"/>
                  <a:pt x="173" y="521"/>
                </a:cubicBezTo>
                <a:cubicBezTo>
                  <a:pt x="185" y="503"/>
                  <a:pt x="212" y="452"/>
                  <a:pt x="224" y="416"/>
                </a:cubicBezTo>
                <a:cubicBezTo>
                  <a:pt x="225" y="415"/>
                  <a:pt x="227" y="415"/>
                  <a:pt x="228" y="414"/>
                </a:cubicBezTo>
                <a:cubicBezTo>
                  <a:pt x="238" y="445"/>
                  <a:pt x="262" y="470"/>
                  <a:pt x="279" y="484"/>
                </a:cubicBezTo>
                <a:cubicBezTo>
                  <a:pt x="258" y="492"/>
                  <a:pt x="235" y="500"/>
                  <a:pt x="209" y="509"/>
                </a:cubicBezTo>
                <a:close/>
                <a:moveTo>
                  <a:pt x="276" y="499"/>
                </a:moveTo>
                <a:cubicBezTo>
                  <a:pt x="263" y="532"/>
                  <a:pt x="246" y="565"/>
                  <a:pt x="229" y="593"/>
                </a:cubicBezTo>
                <a:cubicBezTo>
                  <a:pt x="229" y="594"/>
                  <a:pt x="229" y="594"/>
                  <a:pt x="229" y="594"/>
                </a:cubicBezTo>
                <a:cubicBezTo>
                  <a:pt x="220" y="589"/>
                  <a:pt x="212" y="584"/>
                  <a:pt x="205" y="578"/>
                </a:cubicBezTo>
                <a:cubicBezTo>
                  <a:pt x="189" y="567"/>
                  <a:pt x="174" y="553"/>
                  <a:pt x="163" y="538"/>
                </a:cubicBezTo>
                <a:cubicBezTo>
                  <a:pt x="183" y="533"/>
                  <a:pt x="202" y="527"/>
                  <a:pt x="221" y="521"/>
                </a:cubicBezTo>
                <a:cubicBezTo>
                  <a:pt x="241" y="514"/>
                  <a:pt x="259" y="507"/>
                  <a:pt x="276" y="499"/>
                </a:cubicBezTo>
                <a:close/>
                <a:moveTo>
                  <a:pt x="231" y="205"/>
                </a:moveTo>
                <a:cubicBezTo>
                  <a:pt x="249" y="208"/>
                  <a:pt x="270" y="215"/>
                  <a:pt x="294" y="224"/>
                </a:cubicBezTo>
                <a:cubicBezTo>
                  <a:pt x="276" y="238"/>
                  <a:pt x="256" y="256"/>
                  <a:pt x="234" y="278"/>
                </a:cubicBezTo>
                <a:cubicBezTo>
                  <a:pt x="237" y="252"/>
                  <a:pt x="235" y="228"/>
                  <a:pt x="231" y="205"/>
                </a:cubicBezTo>
                <a:close/>
                <a:moveTo>
                  <a:pt x="236" y="187"/>
                </a:moveTo>
                <a:cubicBezTo>
                  <a:pt x="251" y="170"/>
                  <a:pt x="272" y="153"/>
                  <a:pt x="297" y="135"/>
                </a:cubicBezTo>
                <a:cubicBezTo>
                  <a:pt x="297" y="135"/>
                  <a:pt x="297" y="135"/>
                  <a:pt x="297" y="135"/>
                </a:cubicBezTo>
                <a:cubicBezTo>
                  <a:pt x="305" y="158"/>
                  <a:pt x="307" y="182"/>
                  <a:pt x="305" y="207"/>
                </a:cubicBezTo>
                <a:cubicBezTo>
                  <a:pt x="282" y="199"/>
                  <a:pt x="258" y="193"/>
                  <a:pt x="236" y="187"/>
                </a:cubicBezTo>
                <a:close/>
                <a:moveTo>
                  <a:pt x="301" y="235"/>
                </a:moveTo>
                <a:cubicBezTo>
                  <a:pt x="295" y="261"/>
                  <a:pt x="284" y="288"/>
                  <a:pt x="268" y="314"/>
                </a:cubicBezTo>
                <a:cubicBezTo>
                  <a:pt x="257" y="301"/>
                  <a:pt x="245" y="294"/>
                  <a:pt x="236" y="290"/>
                </a:cubicBezTo>
                <a:cubicBezTo>
                  <a:pt x="248" y="279"/>
                  <a:pt x="270" y="259"/>
                  <a:pt x="301" y="235"/>
                </a:cubicBezTo>
                <a:close/>
                <a:moveTo>
                  <a:pt x="264" y="338"/>
                </a:moveTo>
                <a:cubicBezTo>
                  <a:pt x="274" y="351"/>
                  <a:pt x="279" y="365"/>
                  <a:pt x="280" y="377"/>
                </a:cubicBezTo>
                <a:cubicBezTo>
                  <a:pt x="237" y="393"/>
                  <a:pt x="203" y="407"/>
                  <a:pt x="170" y="424"/>
                </a:cubicBezTo>
                <a:cubicBezTo>
                  <a:pt x="210" y="396"/>
                  <a:pt x="241" y="367"/>
                  <a:pt x="264" y="338"/>
                </a:cubicBezTo>
                <a:close/>
                <a:moveTo>
                  <a:pt x="288" y="374"/>
                </a:moveTo>
                <a:cubicBezTo>
                  <a:pt x="288" y="374"/>
                  <a:pt x="288" y="374"/>
                  <a:pt x="288" y="374"/>
                </a:cubicBezTo>
                <a:cubicBezTo>
                  <a:pt x="288" y="353"/>
                  <a:pt x="283" y="337"/>
                  <a:pt x="275" y="325"/>
                </a:cubicBezTo>
                <a:cubicBezTo>
                  <a:pt x="301" y="309"/>
                  <a:pt x="331" y="292"/>
                  <a:pt x="365" y="276"/>
                </a:cubicBezTo>
                <a:cubicBezTo>
                  <a:pt x="345" y="305"/>
                  <a:pt x="319" y="338"/>
                  <a:pt x="288" y="374"/>
                </a:cubicBezTo>
                <a:close/>
                <a:moveTo>
                  <a:pt x="289" y="300"/>
                </a:moveTo>
                <a:cubicBezTo>
                  <a:pt x="302" y="277"/>
                  <a:pt x="311" y="254"/>
                  <a:pt x="315" y="232"/>
                </a:cubicBezTo>
                <a:cubicBezTo>
                  <a:pt x="332" y="240"/>
                  <a:pt x="349" y="248"/>
                  <a:pt x="366" y="258"/>
                </a:cubicBezTo>
                <a:cubicBezTo>
                  <a:pt x="338" y="272"/>
                  <a:pt x="312" y="286"/>
                  <a:pt x="289" y="300"/>
                </a:cubicBezTo>
                <a:close/>
                <a:moveTo>
                  <a:pt x="409" y="156"/>
                </a:moveTo>
                <a:cubicBezTo>
                  <a:pt x="376" y="170"/>
                  <a:pt x="348" y="184"/>
                  <a:pt x="318" y="205"/>
                </a:cubicBezTo>
                <a:cubicBezTo>
                  <a:pt x="319" y="180"/>
                  <a:pt x="314" y="156"/>
                  <a:pt x="304" y="136"/>
                </a:cubicBezTo>
                <a:cubicBezTo>
                  <a:pt x="339" y="142"/>
                  <a:pt x="374" y="148"/>
                  <a:pt x="409" y="156"/>
                </a:cubicBezTo>
                <a:close/>
                <a:moveTo>
                  <a:pt x="317" y="123"/>
                </a:moveTo>
                <a:cubicBezTo>
                  <a:pt x="299" y="120"/>
                  <a:pt x="278" y="117"/>
                  <a:pt x="254" y="113"/>
                </a:cubicBezTo>
                <a:cubicBezTo>
                  <a:pt x="271" y="104"/>
                  <a:pt x="283" y="95"/>
                  <a:pt x="296" y="83"/>
                </a:cubicBezTo>
                <a:cubicBezTo>
                  <a:pt x="302" y="96"/>
                  <a:pt x="309" y="109"/>
                  <a:pt x="317" y="123"/>
                </a:cubicBezTo>
                <a:close/>
                <a:moveTo>
                  <a:pt x="275" y="5"/>
                </a:moveTo>
                <a:cubicBezTo>
                  <a:pt x="277" y="27"/>
                  <a:pt x="282" y="48"/>
                  <a:pt x="291" y="69"/>
                </a:cubicBezTo>
                <a:cubicBezTo>
                  <a:pt x="264" y="62"/>
                  <a:pt x="200" y="53"/>
                  <a:pt x="178" y="50"/>
                </a:cubicBezTo>
                <a:cubicBezTo>
                  <a:pt x="216" y="27"/>
                  <a:pt x="269" y="8"/>
                  <a:pt x="275" y="5"/>
                </a:cubicBezTo>
                <a:close/>
                <a:moveTo>
                  <a:pt x="171" y="54"/>
                </a:moveTo>
                <a:cubicBezTo>
                  <a:pt x="191" y="62"/>
                  <a:pt x="259" y="76"/>
                  <a:pt x="294" y="78"/>
                </a:cubicBezTo>
                <a:cubicBezTo>
                  <a:pt x="294" y="78"/>
                  <a:pt x="294" y="78"/>
                  <a:pt x="294" y="78"/>
                </a:cubicBezTo>
                <a:cubicBezTo>
                  <a:pt x="282" y="84"/>
                  <a:pt x="261" y="95"/>
                  <a:pt x="237" y="110"/>
                </a:cubicBezTo>
                <a:cubicBezTo>
                  <a:pt x="234" y="109"/>
                  <a:pt x="230" y="109"/>
                  <a:pt x="226" y="108"/>
                </a:cubicBezTo>
                <a:cubicBezTo>
                  <a:pt x="210" y="93"/>
                  <a:pt x="180" y="63"/>
                  <a:pt x="171" y="55"/>
                </a:cubicBezTo>
                <a:cubicBezTo>
                  <a:pt x="171" y="55"/>
                  <a:pt x="171" y="54"/>
                  <a:pt x="171" y="54"/>
                </a:cubicBezTo>
                <a:close/>
                <a:moveTo>
                  <a:pt x="155" y="66"/>
                </a:moveTo>
                <a:cubicBezTo>
                  <a:pt x="158" y="63"/>
                  <a:pt x="162" y="60"/>
                  <a:pt x="166" y="57"/>
                </a:cubicBezTo>
                <a:cubicBezTo>
                  <a:pt x="174" y="67"/>
                  <a:pt x="191" y="89"/>
                  <a:pt x="204" y="104"/>
                </a:cubicBezTo>
                <a:cubicBezTo>
                  <a:pt x="184" y="101"/>
                  <a:pt x="157" y="96"/>
                  <a:pt x="140" y="89"/>
                </a:cubicBezTo>
                <a:cubicBezTo>
                  <a:pt x="140" y="80"/>
                  <a:pt x="149" y="71"/>
                  <a:pt x="155" y="66"/>
                </a:cubicBezTo>
                <a:close/>
                <a:moveTo>
                  <a:pt x="150" y="102"/>
                </a:moveTo>
                <a:cubicBezTo>
                  <a:pt x="162" y="107"/>
                  <a:pt x="179" y="111"/>
                  <a:pt x="196" y="115"/>
                </a:cubicBezTo>
                <a:cubicBezTo>
                  <a:pt x="203" y="137"/>
                  <a:pt x="209" y="157"/>
                  <a:pt x="214" y="175"/>
                </a:cubicBezTo>
                <a:cubicBezTo>
                  <a:pt x="199" y="147"/>
                  <a:pt x="177" y="123"/>
                  <a:pt x="150" y="102"/>
                </a:cubicBezTo>
                <a:close/>
                <a:moveTo>
                  <a:pt x="203" y="117"/>
                </a:moveTo>
                <a:cubicBezTo>
                  <a:pt x="235" y="124"/>
                  <a:pt x="269" y="130"/>
                  <a:pt x="288" y="133"/>
                </a:cubicBezTo>
                <a:cubicBezTo>
                  <a:pt x="274" y="141"/>
                  <a:pt x="241" y="160"/>
                  <a:pt x="226" y="180"/>
                </a:cubicBezTo>
                <a:cubicBezTo>
                  <a:pt x="218" y="150"/>
                  <a:pt x="208" y="128"/>
                  <a:pt x="203" y="117"/>
                </a:cubicBezTo>
                <a:close/>
                <a:moveTo>
                  <a:pt x="227" y="309"/>
                </a:moveTo>
                <a:cubicBezTo>
                  <a:pt x="237" y="314"/>
                  <a:pt x="245" y="319"/>
                  <a:pt x="252" y="325"/>
                </a:cubicBezTo>
                <a:cubicBezTo>
                  <a:pt x="233" y="339"/>
                  <a:pt x="216" y="352"/>
                  <a:pt x="201" y="364"/>
                </a:cubicBezTo>
                <a:cubicBezTo>
                  <a:pt x="213" y="346"/>
                  <a:pt x="222" y="328"/>
                  <a:pt x="227" y="309"/>
                </a:cubicBezTo>
                <a:close/>
                <a:moveTo>
                  <a:pt x="188" y="383"/>
                </a:moveTo>
                <a:cubicBezTo>
                  <a:pt x="202" y="372"/>
                  <a:pt x="222" y="358"/>
                  <a:pt x="247" y="342"/>
                </a:cubicBezTo>
                <a:cubicBezTo>
                  <a:pt x="223" y="372"/>
                  <a:pt x="191" y="400"/>
                  <a:pt x="152" y="424"/>
                </a:cubicBezTo>
                <a:cubicBezTo>
                  <a:pt x="166" y="410"/>
                  <a:pt x="178" y="397"/>
                  <a:pt x="188" y="383"/>
                </a:cubicBezTo>
                <a:close/>
                <a:moveTo>
                  <a:pt x="144" y="453"/>
                </a:moveTo>
                <a:cubicBezTo>
                  <a:pt x="166" y="442"/>
                  <a:pt x="186" y="432"/>
                  <a:pt x="207" y="423"/>
                </a:cubicBezTo>
                <a:cubicBezTo>
                  <a:pt x="189" y="463"/>
                  <a:pt x="164" y="502"/>
                  <a:pt x="154" y="519"/>
                </a:cubicBezTo>
                <a:cubicBezTo>
                  <a:pt x="153" y="520"/>
                  <a:pt x="152" y="521"/>
                  <a:pt x="152" y="522"/>
                </a:cubicBezTo>
                <a:cubicBezTo>
                  <a:pt x="141" y="501"/>
                  <a:pt x="137" y="478"/>
                  <a:pt x="144" y="453"/>
                </a:cubicBezTo>
                <a:close/>
                <a:moveTo>
                  <a:pt x="27" y="560"/>
                </a:moveTo>
                <a:cubicBezTo>
                  <a:pt x="33" y="533"/>
                  <a:pt x="60" y="500"/>
                  <a:pt x="90" y="482"/>
                </a:cubicBezTo>
                <a:cubicBezTo>
                  <a:pt x="90" y="482"/>
                  <a:pt x="90" y="482"/>
                  <a:pt x="90" y="482"/>
                </a:cubicBezTo>
                <a:cubicBezTo>
                  <a:pt x="102" y="475"/>
                  <a:pt x="114" y="469"/>
                  <a:pt x="125" y="463"/>
                </a:cubicBezTo>
                <a:cubicBezTo>
                  <a:pt x="125" y="464"/>
                  <a:pt x="125" y="465"/>
                  <a:pt x="124" y="467"/>
                </a:cubicBezTo>
                <a:cubicBezTo>
                  <a:pt x="123" y="474"/>
                  <a:pt x="122" y="480"/>
                  <a:pt x="122" y="487"/>
                </a:cubicBezTo>
                <a:cubicBezTo>
                  <a:pt x="123" y="503"/>
                  <a:pt x="128" y="518"/>
                  <a:pt x="137" y="532"/>
                </a:cubicBezTo>
                <a:cubicBezTo>
                  <a:pt x="103" y="543"/>
                  <a:pt x="64" y="554"/>
                  <a:pt x="27" y="564"/>
                </a:cubicBezTo>
                <a:cubicBezTo>
                  <a:pt x="27" y="563"/>
                  <a:pt x="27" y="561"/>
                  <a:pt x="27" y="560"/>
                </a:cubicBezTo>
                <a:close/>
                <a:moveTo>
                  <a:pt x="27" y="571"/>
                </a:moveTo>
                <a:cubicBezTo>
                  <a:pt x="62" y="562"/>
                  <a:pt x="100" y="554"/>
                  <a:pt x="136" y="545"/>
                </a:cubicBezTo>
                <a:cubicBezTo>
                  <a:pt x="109" y="586"/>
                  <a:pt x="85" y="616"/>
                  <a:pt x="71" y="639"/>
                </a:cubicBezTo>
                <a:cubicBezTo>
                  <a:pt x="51" y="623"/>
                  <a:pt x="28" y="597"/>
                  <a:pt x="27" y="571"/>
                </a:cubicBezTo>
                <a:close/>
                <a:moveTo>
                  <a:pt x="76" y="643"/>
                </a:moveTo>
                <a:cubicBezTo>
                  <a:pt x="98" y="610"/>
                  <a:pt x="125" y="580"/>
                  <a:pt x="150" y="550"/>
                </a:cubicBezTo>
                <a:cubicBezTo>
                  <a:pt x="156" y="558"/>
                  <a:pt x="162" y="565"/>
                  <a:pt x="169" y="571"/>
                </a:cubicBezTo>
                <a:cubicBezTo>
                  <a:pt x="182" y="583"/>
                  <a:pt x="196" y="592"/>
                  <a:pt x="211" y="600"/>
                </a:cubicBezTo>
                <a:cubicBezTo>
                  <a:pt x="168" y="616"/>
                  <a:pt x="123" y="632"/>
                  <a:pt x="81" y="646"/>
                </a:cubicBezTo>
                <a:cubicBezTo>
                  <a:pt x="79" y="645"/>
                  <a:pt x="78" y="644"/>
                  <a:pt x="76" y="643"/>
                </a:cubicBezTo>
                <a:close/>
                <a:moveTo>
                  <a:pt x="171" y="687"/>
                </a:moveTo>
                <a:cubicBezTo>
                  <a:pt x="169" y="687"/>
                  <a:pt x="166" y="686"/>
                  <a:pt x="164" y="685"/>
                </a:cubicBezTo>
                <a:cubicBezTo>
                  <a:pt x="126" y="673"/>
                  <a:pt x="109" y="665"/>
                  <a:pt x="86" y="650"/>
                </a:cubicBezTo>
                <a:cubicBezTo>
                  <a:pt x="104" y="645"/>
                  <a:pt x="180" y="625"/>
                  <a:pt x="218" y="613"/>
                </a:cubicBezTo>
                <a:cubicBezTo>
                  <a:pt x="197" y="647"/>
                  <a:pt x="178" y="674"/>
                  <a:pt x="171" y="687"/>
                </a:cubicBezTo>
                <a:cubicBezTo>
                  <a:pt x="171" y="687"/>
                  <a:pt x="171" y="687"/>
                  <a:pt x="171" y="687"/>
                </a:cubicBezTo>
                <a:close/>
                <a:moveTo>
                  <a:pt x="327" y="715"/>
                </a:moveTo>
                <a:cubicBezTo>
                  <a:pt x="297" y="711"/>
                  <a:pt x="236" y="702"/>
                  <a:pt x="196" y="693"/>
                </a:cubicBezTo>
                <a:cubicBezTo>
                  <a:pt x="252" y="680"/>
                  <a:pt x="289" y="674"/>
                  <a:pt x="353" y="644"/>
                </a:cubicBezTo>
                <a:cubicBezTo>
                  <a:pt x="342" y="675"/>
                  <a:pt x="332" y="703"/>
                  <a:pt x="327" y="715"/>
                </a:cubicBezTo>
                <a:close/>
                <a:moveTo>
                  <a:pt x="185" y="690"/>
                </a:moveTo>
                <a:cubicBezTo>
                  <a:pt x="185" y="690"/>
                  <a:pt x="185" y="691"/>
                  <a:pt x="184" y="691"/>
                </a:cubicBezTo>
                <a:cubicBezTo>
                  <a:pt x="182" y="690"/>
                  <a:pt x="181" y="690"/>
                  <a:pt x="179" y="689"/>
                </a:cubicBezTo>
                <a:cubicBezTo>
                  <a:pt x="201" y="663"/>
                  <a:pt x="220" y="637"/>
                  <a:pt x="236" y="612"/>
                </a:cubicBezTo>
                <a:cubicBezTo>
                  <a:pt x="291" y="635"/>
                  <a:pt x="346" y="639"/>
                  <a:pt x="353" y="640"/>
                </a:cubicBezTo>
                <a:cubicBezTo>
                  <a:pt x="327" y="650"/>
                  <a:pt x="192" y="688"/>
                  <a:pt x="185" y="690"/>
                </a:cubicBezTo>
                <a:close/>
                <a:moveTo>
                  <a:pt x="381" y="546"/>
                </a:moveTo>
                <a:cubicBezTo>
                  <a:pt x="376" y="568"/>
                  <a:pt x="366" y="603"/>
                  <a:pt x="355" y="636"/>
                </a:cubicBezTo>
                <a:cubicBezTo>
                  <a:pt x="319" y="630"/>
                  <a:pt x="280" y="619"/>
                  <a:pt x="245" y="602"/>
                </a:cubicBezTo>
                <a:cubicBezTo>
                  <a:pt x="283" y="586"/>
                  <a:pt x="361" y="551"/>
                  <a:pt x="383" y="536"/>
                </a:cubicBezTo>
                <a:cubicBezTo>
                  <a:pt x="383" y="540"/>
                  <a:pt x="382" y="543"/>
                  <a:pt x="381" y="546"/>
                </a:cubicBezTo>
                <a:close/>
                <a:moveTo>
                  <a:pt x="384" y="530"/>
                </a:moveTo>
                <a:cubicBezTo>
                  <a:pt x="362" y="544"/>
                  <a:pt x="287" y="572"/>
                  <a:pt x="252" y="585"/>
                </a:cubicBezTo>
                <a:cubicBezTo>
                  <a:pt x="271" y="552"/>
                  <a:pt x="284" y="521"/>
                  <a:pt x="293" y="494"/>
                </a:cubicBezTo>
                <a:cubicBezTo>
                  <a:pt x="332" y="517"/>
                  <a:pt x="372" y="527"/>
                  <a:pt x="384" y="530"/>
                </a:cubicBezTo>
                <a:cubicBezTo>
                  <a:pt x="384" y="530"/>
                  <a:pt x="384" y="530"/>
                  <a:pt x="384" y="530"/>
                </a:cubicBezTo>
                <a:close/>
                <a:moveTo>
                  <a:pt x="385" y="526"/>
                </a:moveTo>
                <a:cubicBezTo>
                  <a:pt x="355" y="518"/>
                  <a:pt x="327" y="503"/>
                  <a:pt x="302" y="487"/>
                </a:cubicBezTo>
                <a:cubicBezTo>
                  <a:pt x="355" y="461"/>
                  <a:pt x="389" y="436"/>
                  <a:pt x="393" y="432"/>
                </a:cubicBezTo>
                <a:cubicBezTo>
                  <a:pt x="393" y="466"/>
                  <a:pt x="390" y="499"/>
                  <a:pt x="385" y="526"/>
                </a:cubicBezTo>
                <a:close/>
                <a:moveTo>
                  <a:pt x="300" y="369"/>
                </a:moveTo>
                <a:cubicBezTo>
                  <a:pt x="339" y="335"/>
                  <a:pt x="367" y="301"/>
                  <a:pt x="387" y="270"/>
                </a:cubicBezTo>
                <a:cubicBezTo>
                  <a:pt x="410" y="285"/>
                  <a:pt x="432" y="302"/>
                  <a:pt x="451" y="321"/>
                </a:cubicBezTo>
                <a:cubicBezTo>
                  <a:pt x="407" y="333"/>
                  <a:pt x="356" y="348"/>
                  <a:pt x="300" y="3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6" tIns="34294" rIns="68586" bIns="34294" numCol="1" anchor="t" anchorCtr="0" compatLnSpc="1">
            <a:prstTxWarp prst="textNoShape">
              <a:avLst/>
            </a:prstTxWarp>
          </a:bodyPr>
          <a:lstStyle/>
          <a:p>
            <a:endParaRPr lang="en-US"/>
          </a:p>
        </p:txBody>
      </p:sp>
      <p:sp>
        <p:nvSpPr>
          <p:cNvPr id="14"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6"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1"/>
              </a:rPr>
              <a:t>www.rapidbbs.cn</a:t>
            </a:r>
            <a:endParaRPr lang="zh-CN" altLang="en-US" sz="1200" b="0">
              <a:latin typeface="Arial" charset="0"/>
              <a:ea typeface="ＭＳ Ｐゴシック" pitchFamily="34" charset="-128"/>
            </a:endParaRPr>
          </a:p>
        </p:txBody>
      </p:sp>
      <p:pic>
        <p:nvPicPr>
          <p:cNvPr id="17" name="Picture 2">
            <a:hlinkClick r:id="rId11"/>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347658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3"/>
            </p:custDataLst>
            <p:extLst>
              <p:ext uri="{D42A27DB-BD31-4B8C-83A1-F6EECF244321}">
                <p14:modId xmlns:p14="http://schemas.microsoft.com/office/powerpoint/2010/main" val="1884356205"/>
              </p:ext>
            </p:extLst>
          </p:nvPr>
        </p:nvGraphicFramePr>
        <p:xfrm>
          <a:off x="1191" y="1192"/>
          <a:ext cx="1191" cy="1190"/>
        </p:xfrm>
        <a:graphic>
          <a:graphicData uri="http://schemas.openxmlformats.org/presentationml/2006/ole">
            <mc:AlternateContent xmlns:mc="http://schemas.openxmlformats.org/markup-compatibility/2006">
              <mc:Choice xmlns:v="urn:schemas-microsoft-com:vml" Requires="v">
                <p:oleObj spid="_x0000_s19463"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1191" y="1192"/>
                        <a:ext cx="1191" cy="1190"/>
                      </a:xfrm>
                      <a:prstGeom prst="rect">
                        <a:avLst/>
                      </a:prstGeom>
                    </p:spPr>
                  </p:pic>
                </p:oleObj>
              </mc:Fallback>
            </mc:AlternateContent>
          </a:graphicData>
        </a:graphic>
      </p:graphicFrame>
      <p:sp>
        <p:nvSpPr>
          <p:cNvPr id="3" name="Text Placeholder 2"/>
          <p:cNvSpPr>
            <a:spLocks noGrp="1"/>
          </p:cNvSpPr>
          <p:nvPr>
            <p:ph type="body" sz="quarter" idx="13"/>
            <p:custDataLst>
              <p:tags r:id="rId4"/>
            </p:custDataLst>
          </p:nvPr>
        </p:nvSpPr>
        <p:spPr/>
        <p:txBody>
          <a:bodyPr/>
          <a:lstStyle/>
          <a:p>
            <a:r>
              <a:rPr lang="en-US" sz="1800" b="0" cap="none" spc="-38" dirty="0">
                <a:gradFill>
                  <a:gsLst>
                    <a:gs pos="0">
                      <a:schemeClr val="tx1"/>
                    </a:gs>
                    <a:gs pos="86000">
                      <a:schemeClr val="tx1"/>
                    </a:gs>
                  </a:gsLst>
                  <a:lin ang="5400000" scaled="0"/>
                </a:gradFill>
              </a:rPr>
              <a:t>Maximizing the value of leveraging the windows management framework</a:t>
            </a:r>
          </a:p>
        </p:txBody>
      </p:sp>
      <p:sp>
        <p:nvSpPr>
          <p:cNvPr id="2" name="Title 1"/>
          <p:cNvSpPr>
            <a:spLocks noGrp="1"/>
          </p:cNvSpPr>
          <p:nvPr>
            <p:ph type="title"/>
            <p:custDataLst>
              <p:tags r:id="rId5"/>
            </p:custDataLst>
          </p:nvPr>
        </p:nvSpPr>
        <p:spPr/>
        <p:txBody>
          <a:bodyPr vert="horz" lIns="0" tIns="45651" rIns="91302" bIns="45651" rtlCol="0" anchor="t" anchorCtr="0">
            <a:noAutofit/>
          </a:bodyPr>
          <a:lstStyle/>
          <a:p>
            <a:r>
              <a:rPr lang="en-US" b="0" dirty="0">
                <a:cs typeface="Segoe UI"/>
              </a:rPr>
              <a:t>The Solution</a:t>
            </a:r>
          </a:p>
        </p:txBody>
      </p:sp>
      <p:sp>
        <p:nvSpPr>
          <p:cNvPr id="4" name="Rectangle 3"/>
          <p:cNvSpPr/>
          <p:nvPr>
            <p:custDataLst>
              <p:tags r:id="rId6"/>
            </p:custDataLst>
          </p:nvPr>
        </p:nvSpPr>
        <p:spPr bwMode="auto">
          <a:xfrm>
            <a:off x="389437" y="2530090"/>
            <a:ext cx="8363936" cy="804343"/>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12" name="TextBox 11"/>
          <p:cNvSpPr txBox="1"/>
          <p:nvPr>
            <p:custDataLst>
              <p:tags r:id="rId7"/>
            </p:custDataLst>
          </p:nvPr>
        </p:nvSpPr>
        <p:spPr>
          <a:xfrm>
            <a:off x="3342359" y="2651110"/>
            <a:ext cx="2458090" cy="522836"/>
          </a:xfrm>
          <a:prstGeom prst="rect">
            <a:avLst/>
          </a:prstGeom>
          <a:noFill/>
        </p:spPr>
        <p:txBody>
          <a:bodyPr wrap="square" lIns="68586" tIns="68586" rIns="68586" bIns="68586" rtlCol="0">
            <a:spAutoFit/>
          </a:bodyPr>
          <a:lstStyle/>
          <a:p>
            <a:pPr algn="ctr">
              <a:lnSpc>
                <a:spcPct val="90000"/>
              </a:lnSpc>
              <a:spcBef>
                <a:spcPct val="20000"/>
              </a:spcBef>
              <a:buSzPct val="90000"/>
            </a:pPr>
            <a:r>
              <a:rPr lang="en-US" sz="2800" dirty="0">
                <a:solidFill>
                  <a:schemeClr val="tx1">
                    <a:alpha val="99000"/>
                  </a:schemeClr>
                </a:solidFill>
              </a:rPr>
              <a:t>WMF</a:t>
            </a:r>
          </a:p>
        </p:txBody>
      </p:sp>
      <p:grpSp>
        <p:nvGrpSpPr>
          <p:cNvPr id="5" name="Group 4"/>
          <p:cNvGrpSpPr/>
          <p:nvPr/>
        </p:nvGrpSpPr>
        <p:grpSpPr>
          <a:xfrm>
            <a:off x="389435" y="1745300"/>
            <a:ext cx="8363937" cy="663741"/>
            <a:chOff x="519112" y="2327067"/>
            <a:chExt cx="11149012" cy="884988"/>
          </a:xfrm>
        </p:grpSpPr>
        <p:sp>
          <p:nvSpPr>
            <p:cNvPr id="37" name="TextBox 36"/>
            <p:cNvSpPr txBox="1"/>
            <p:nvPr>
              <p:custDataLst>
                <p:tags r:id="rId9"/>
              </p:custDataLst>
            </p:nvPr>
          </p:nvSpPr>
          <p:spPr>
            <a:xfrm>
              <a:off x="519112" y="2327067"/>
              <a:ext cx="3657600" cy="45720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r>
                <a:rPr lang="en-US" sz="1400" dirty="0"/>
                <a:t>IT Pro</a:t>
              </a:r>
            </a:p>
          </p:txBody>
        </p:sp>
        <p:sp>
          <p:nvSpPr>
            <p:cNvPr id="38" name="Right Triangle 37"/>
            <p:cNvSpPr/>
            <p:nvPr>
              <p:custDataLst>
                <p:tags r:id="rId10"/>
              </p:custDataLst>
            </p:nvPr>
          </p:nvSpPr>
          <p:spPr bwMode="auto">
            <a:xfrm rot="10800000">
              <a:off x="1963188" y="2784267"/>
              <a:ext cx="427787" cy="427787"/>
            </a:xfrm>
            <a:prstGeom prst="rtTriangle">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4" name="TextBox 33"/>
            <p:cNvSpPr txBox="1"/>
            <p:nvPr>
              <p:custDataLst>
                <p:tags r:id="rId11"/>
              </p:custDataLst>
            </p:nvPr>
          </p:nvSpPr>
          <p:spPr>
            <a:xfrm>
              <a:off x="4264818" y="2327067"/>
              <a:ext cx="3657600" cy="45720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r>
                <a:rPr lang="en-US" sz="1400" dirty="0"/>
                <a:t>IT Developer</a:t>
              </a:r>
            </a:p>
          </p:txBody>
        </p:sp>
        <p:sp>
          <p:nvSpPr>
            <p:cNvPr id="35" name="Right Triangle 34"/>
            <p:cNvSpPr/>
            <p:nvPr>
              <p:custDataLst>
                <p:tags r:id="rId12"/>
              </p:custDataLst>
            </p:nvPr>
          </p:nvSpPr>
          <p:spPr bwMode="auto">
            <a:xfrm rot="10800000">
              <a:off x="5696201" y="2784267"/>
              <a:ext cx="427787" cy="427787"/>
            </a:xfrm>
            <a:prstGeom prst="rtTriangle">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2" name="TextBox 31"/>
            <p:cNvSpPr txBox="1"/>
            <p:nvPr>
              <p:custDataLst>
                <p:tags r:id="rId13"/>
              </p:custDataLst>
            </p:nvPr>
          </p:nvSpPr>
          <p:spPr>
            <a:xfrm>
              <a:off x="8010524" y="2327067"/>
              <a:ext cx="3657600" cy="45720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r>
                <a:rPr lang="en-US" sz="1400" dirty="0"/>
                <a:t>Solution Developer</a:t>
              </a:r>
            </a:p>
          </p:txBody>
        </p:sp>
        <p:sp>
          <p:nvSpPr>
            <p:cNvPr id="33" name="Right Triangle 32"/>
            <p:cNvSpPr/>
            <p:nvPr>
              <p:custDataLst>
                <p:tags r:id="rId14"/>
              </p:custDataLst>
            </p:nvPr>
          </p:nvSpPr>
          <p:spPr bwMode="auto">
            <a:xfrm rot="10800000">
              <a:off x="9519284" y="2784268"/>
              <a:ext cx="427787" cy="427787"/>
            </a:xfrm>
            <a:prstGeom prst="rtTriangle">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dirty="0">
                <a:solidFill>
                  <a:schemeClr val="tx1">
                    <a:lumMod val="20000"/>
                    <a:lumOff val="80000"/>
                    <a:alpha val="99000"/>
                  </a:schemeClr>
                </a:solidFill>
                <a:latin typeface="Segoe UI" pitchFamily="34" charset="0"/>
                <a:ea typeface="Segoe UI" pitchFamily="34" charset="0"/>
                <a:cs typeface="Segoe UI" pitchFamily="34" charset="0"/>
              </a:endParaRPr>
            </a:p>
          </p:txBody>
        </p:sp>
      </p:grpSp>
      <p:grpSp>
        <p:nvGrpSpPr>
          <p:cNvPr id="41" name="Group 40"/>
          <p:cNvGrpSpPr/>
          <p:nvPr>
            <p:custDataLst>
              <p:tags r:id="rId8"/>
            </p:custDataLst>
          </p:nvPr>
        </p:nvGrpSpPr>
        <p:grpSpPr>
          <a:xfrm>
            <a:off x="389436" y="3455480"/>
            <a:ext cx="8363938" cy="659321"/>
            <a:chOff x="519111" y="5496300"/>
            <a:chExt cx="11149013" cy="879095"/>
          </a:xfrm>
        </p:grpSpPr>
        <p:sp>
          <p:nvSpPr>
            <p:cNvPr id="42" name="TextBox 41"/>
            <p:cNvSpPr txBox="1"/>
            <p:nvPr/>
          </p:nvSpPr>
          <p:spPr>
            <a:xfrm>
              <a:off x="2769154" y="5918195"/>
              <a:ext cx="2148840" cy="45720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45718" rIns="0" bIns="45718"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r>
                <a:rPr lang="en-US" sz="1400" dirty="0"/>
                <a:t>Storage</a:t>
              </a:r>
            </a:p>
          </p:txBody>
        </p:sp>
        <p:sp>
          <p:nvSpPr>
            <p:cNvPr id="43" name="TextBox 42"/>
            <p:cNvSpPr txBox="1"/>
            <p:nvPr/>
          </p:nvSpPr>
          <p:spPr>
            <a:xfrm>
              <a:off x="5019197" y="5918195"/>
              <a:ext cx="2148840" cy="45720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45718" rIns="0" bIns="45718"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r>
                <a:rPr lang="en-US" sz="1400" dirty="0"/>
                <a:t>Exchange</a:t>
              </a:r>
            </a:p>
          </p:txBody>
        </p:sp>
        <p:sp>
          <p:nvSpPr>
            <p:cNvPr id="44" name="TextBox 43"/>
            <p:cNvSpPr txBox="1"/>
            <p:nvPr/>
          </p:nvSpPr>
          <p:spPr>
            <a:xfrm>
              <a:off x="7269240" y="5918195"/>
              <a:ext cx="2148840" cy="45720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45718" rIns="0" bIns="45718"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r>
                <a:rPr lang="en-US" sz="1400" dirty="0"/>
                <a:t>Devices</a:t>
              </a:r>
            </a:p>
          </p:txBody>
        </p:sp>
        <p:sp>
          <p:nvSpPr>
            <p:cNvPr id="45" name="TextBox 44"/>
            <p:cNvSpPr txBox="1"/>
            <p:nvPr/>
          </p:nvSpPr>
          <p:spPr>
            <a:xfrm>
              <a:off x="519111" y="5918195"/>
              <a:ext cx="2148840" cy="45720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45718" rIns="0" bIns="45718"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r>
                <a:rPr lang="en-US" sz="1400" dirty="0"/>
                <a:t>Disk</a:t>
              </a:r>
            </a:p>
          </p:txBody>
        </p:sp>
        <p:sp>
          <p:nvSpPr>
            <p:cNvPr id="46" name="TextBox 45"/>
            <p:cNvSpPr txBox="1"/>
            <p:nvPr/>
          </p:nvSpPr>
          <p:spPr>
            <a:xfrm>
              <a:off x="9519284" y="5918195"/>
              <a:ext cx="2148840" cy="45720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45718" rIns="0" bIns="45718"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r>
                <a:rPr lang="en-US" sz="1400" dirty="0"/>
                <a:t>Managed Objects…</a:t>
              </a:r>
            </a:p>
          </p:txBody>
        </p:sp>
        <p:sp>
          <p:nvSpPr>
            <p:cNvPr id="47" name="Right Triangle 46"/>
            <p:cNvSpPr/>
            <p:nvPr/>
          </p:nvSpPr>
          <p:spPr bwMode="auto">
            <a:xfrm rot="16200000">
              <a:off x="1379637" y="5509146"/>
              <a:ext cx="427787" cy="427787"/>
            </a:xfrm>
            <a:prstGeom prst="rtTriangle">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45718" rIns="0" bIns="45718" numCol="1" rtlCol="0" anchor="ctr" anchorCtr="0" compatLnSpc="1">
              <a:prstTxWarp prst="textNoShape">
                <a:avLst/>
              </a:prstTxWarp>
            </a:bodyPr>
            <a:lstStyle/>
            <a:p>
              <a:pPr algn="ctr" defTabSz="685637"/>
              <a:endParaRPr lang="en-US"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48" name="Right Triangle 47"/>
            <p:cNvSpPr/>
            <p:nvPr/>
          </p:nvSpPr>
          <p:spPr bwMode="auto">
            <a:xfrm rot="16200000">
              <a:off x="3629680" y="5496300"/>
              <a:ext cx="427787" cy="427787"/>
            </a:xfrm>
            <a:prstGeom prst="rtTriangle">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45718" rIns="0" bIns="45718" numCol="1" rtlCol="0" anchor="ctr" anchorCtr="0" compatLnSpc="1">
              <a:prstTxWarp prst="textNoShape">
                <a:avLst/>
              </a:prstTxWarp>
            </a:bodyPr>
            <a:lstStyle/>
            <a:p>
              <a:pPr algn="ctr" defTabSz="685637"/>
              <a:endParaRPr lang="en-US"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49" name="Right Triangle 48"/>
            <p:cNvSpPr/>
            <p:nvPr/>
          </p:nvSpPr>
          <p:spPr bwMode="auto">
            <a:xfrm rot="16200000">
              <a:off x="5787750" y="5509145"/>
              <a:ext cx="427787" cy="427787"/>
            </a:xfrm>
            <a:prstGeom prst="rtTriangle">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45718" rIns="0" bIns="45718" numCol="1" rtlCol="0" anchor="ctr" anchorCtr="0" compatLnSpc="1">
              <a:prstTxWarp prst="textNoShape">
                <a:avLst/>
              </a:prstTxWarp>
            </a:bodyPr>
            <a:lstStyle/>
            <a:p>
              <a:pPr algn="ctr" defTabSz="685637"/>
              <a:endParaRPr lang="en-US"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50" name="Right Triangle 49"/>
            <p:cNvSpPr/>
            <p:nvPr/>
          </p:nvSpPr>
          <p:spPr bwMode="auto">
            <a:xfrm rot="16200000">
              <a:off x="8129766" y="5496300"/>
              <a:ext cx="427787" cy="427787"/>
            </a:xfrm>
            <a:prstGeom prst="rtTriangle">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45718" rIns="0" bIns="45718" numCol="1" rtlCol="0" anchor="ctr" anchorCtr="0" compatLnSpc="1">
              <a:prstTxWarp prst="textNoShape">
                <a:avLst/>
              </a:prstTxWarp>
            </a:bodyPr>
            <a:lstStyle/>
            <a:p>
              <a:pPr algn="ctr" defTabSz="685637"/>
              <a:endParaRPr lang="en-US"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51" name="Right Triangle 50"/>
            <p:cNvSpPr/>
            <p:nvPr/>
          </p:nvSpPr>
          <p:spPr bwMode="auto">
            <a:xfrm rot="16200000">
              <a:off x="10226240" y="5496300"/>
              <a:ext cx="427787" cy="427787"/>
            </a:xfrm>
            <a:prstGeom prst="rtTriangle">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45718" rIns="0" bIns="45718" numCol="1" rtlCol="0" anchor="ctr" anchorCtr="0" compatLnSpc="1">
              <a:prstTxWarp prst="textNoShape">
                <a:avLst/>
              </a:prstTxWarp>
            </a:bodyPr>
            <a:lstStyle/>
            <a:p>
              <a:pPr algn="ctr" defTabSz="685637"/>
              <a:endParaRPr lang="en-US" dirty="0">
                <a:solidFill>
                  <a:schemeClr val="tx1">
                    <a:lumMod val="20000"/>
                    <a:lumOff val="80000"/>
                    <a:alpha val="99000"/>
                  </a:schemeClr>
                </a:solidFill>
                <a:latin typeface="Segoe UI" pitchFamily="34" charset="0"/>
                <a:ea typeface="Segoe UI" pitchFamily="34" charset="0"/>
                <a:cs typeface="Segoe UI" pitchFamily="34" charset="0"/>
              </a:endParaRPr>
            </a:p>
          </p:txBody>
        </p:sp>
      </p:grpSp>
      <p:sp>
        <p:nvSpPr>
          <p:cNvPr id="25"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6"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9"/>
              </a:rPr>
              <a:t>www.rapidbbs.cn</a:t>
            </a:r>
            <a:endParaRPr lang="zh-CN" altLang="en-US" sz="1200" b="0">
              <a:latin typeface="Arial" charset="0"/>
              <a:ea typeface="ＭＳ Ｐゴシック" pitchFamily="34" charset="-128"/>
            </a:endParaRPr>
          </a:p>
        </p:txBody>
      </p:sp>
      <p:pic>
        <p:nvPicPr>
          <p:cNvPr id="27" name="Picture 2">
            <a:hlinkClick r:id="rId19"/>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2"/>
    </p:custDataLst>
    <p:extLst>
      <p:ext uri="{BB962C8B-B14F-4D97-AF65-F5344CB8AC3E}">
        <p14:creationId xmlns:p14="http://schemas.microsoft.com/office/powerpoint/2010/main" val="3562310141"/>
      </p:ext>
    </p:extLst>
  </p:cSld>
  <p:clrMapOvr>
    <a:masterClrMapping/>
  </p:clrMapOvr>
  <p:transition>
    <p:fade/>
  </p:transition>
  <p:timing>
    <p:tnLst>
      <p:par>
        <p:cTn id="1" dur="indefinite" restart="never" nodeType="tmRoot"/>
      </p:par>
    </p:tnLst>
  </p:timing>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ext uri="{D42A27DB-BD31-4B8C-83A1-F6EECF244321}">
                <p14:modId xmlns:p14="http://schemas.microsoft.com/office/powerpoint/2010/main" val="3222891691"/>
              </p:ext>
            </p:extLst>
          </p:nvPr>
        </p:nvGraphicFramePr>
        <p:xfrm>
          <a:off x="1191" y="1192"/>
          <a:ext cx="1191" cy="1190"/>
        </p:xfrm>
        <a:graphic>
          <a:graphicData uri="http://schemas.openxmlformats.org/presentationml/2006/ole">
            <mc:AlternateContent xmlns:mc="http://schemas.openxmlformats.org/markup-compatibility/2006">
              <mc:Choice xmlns:v="urn:schemas-microsoft-com:vml" Requires="v">
                <p:oleObj spid="_x0000_s20487"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1191" y="1192"/>
                        <a:ext cx="1191" cy="1190"/>
                      </a:xfrm>
                      <a:prstGeom prst="rect">
                        <a:avLst/>
                      </a:prstGeom>
                    </p:spPr>
                  </p:pic>
                </p:oleObj>
              </mc:Fallback>
            </mc:AlternateContent>
          </a:graphicData>
        </a:graphic>
      </p:graphicFrame>
      <p:sp>
        <p:nvSpPr>
          <p:cNvPr id="3" name="Text Placeholder 2"/>
          <p:cNvSpPr>
            <a:spLocks noGrp="1"/>
          </p:cNvSpPr>
          <p:nvPr>
            <p:ph type="body" sz="quarter" idx="13"/>
            <p:custDataLst>
              <p:tags r:id="rId4"/>
            </p:custDataLst>
          </p:nvPr>
        </p:nvSpPr>
        <p:spPr/>
        <p:txBody>
          <a:bodyPr/>
          <a:lstStyle/>
          <a:p>
            <a:r>
              <a:rPr lang="en-US" sz="1800" b="0" cap="none" spc="-38" dirty="0">
                <a:gradFill>
                  <a:gsLst>
                    <a:gs pos="0">
                      <a:schemeClr val="tx1"/>
                    </a:gs>
                    <a:gs pos="86000">
                      <a:schemeClr val="tx1"/>
                    </a:gs>
                  </a:gsLst>
                  <a:lin ang="5400000" scaled="0"/>
                </a:gradFill>
              </a:rPr>
              <a:t>Maximizing the value of leveraging the windows management framework</a:t>
            </a:r>
          </a:p>
        </p:txBody>
      </p:sp>
      <p:sp>
        <p:nvSpPr>
          <p:cNvPr id="2" name="Title 1"/>
          <p:cNvSpPr>
            <a:spLocks noGrp="1"/>
          </p:cNvSpPr>
          <p:nvPr>
            <p:ph type="title"/>
            <p:custDataLst>
              <p:tags r:id="rId5"/>
            </p:custDataLst>
          </p:nvPr>
        </p:nvSpPr>
        <p:spPr/>
        <p:txBody>
          <a:bodyPr vert="horz" lIns="0" tIns="45651" rIns="91302" bIns="45651" rtlCol="0" anchor="t" anchorCtr="0">
            <a:noAutofit/>
          </a:bodyPr>
          <a:lstStyle/>
          <a:p>
            <a:r>
              <a:rPr lang="en-US" b="0" dirty="0">
                <a:cs typeface="Segoe UI"/>
              </a:rPr>
              <a:t>The Solution</a:t>
            </a:r>
          </a:p>
        </p:txBody>
      </p:sp>
      <p:sp>
        <p:nvSpPr>
          <p:cNvPr id="29" name="TextBox 28"/>
          <p:cNvSpPr txBox="1"/>
          <p:nvPr>
            <p:custDataLst>
              <p:tags r:id="rId6"/>
            </p:custDataLst>
          </p:nvPr>
        </p:nvSpPr>
        <p:spPr>
          <a:xfrm>
            <a:off x="389435" y="2895062"/>
            <a:ext cx="3612107" cy="4114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62" tIns="34292" rIns="68583" bIns="34292"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pPr algn="l"/>
            <a:r>
              <a:rPr lang="en-US" dirty="0" smtClean="0"/>
              <a:t>Standard Protocols</a:t>
            </a:r>
            <a:endParaRPr lang="en-US" sz="1400" dirty="0"/>
          </a:p>
        </p:txBody>
      </p:sp>
      <p:sp>
        <p:nvSpPr>
          <p:cNvPr id="30" name="TextBox 29"/>
          <p:cNvSpPr txBox="1"/>
          <p:nvPr>
            <p:custDataLst>
              <p:tags r:id="rId7"/>
            </p:custDataLst>
          </p:nvPr>
        </p:nvSpPr>
        <p:spPr>
          <a:xfrm>
            <a:off x="2972888" y="2895062"/>
            <a:ext cx="5780485" cy="4114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37172" tIns="34292" rIns="68583" bIns="34292"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pPr algn="l"/>
            <a:r>
              <a:rPr lang="en-US" sz="1400" dirty="0"/>
              <a:t>(</a:t>
            </a:r>
            <a:r>
              <a:rPr lang="en-US" sz="1400" b="1" dirty="0"/>
              <a:t>WS-Man, REST, HTTP, </a:t>
            </a:r>
            <a:r>
              <a:rPr lang="en-US" sz="1400" dirty="0"/>
              <a:t>PSRP)</a:t>
            </a:r>
          </a:p>
        </p:txBody>
      </p:sp>
      <p:sp>
        <p:nvSpPr>
          <p:cNvPr id="31" name="Rectangle 30"/>
          <p:cNvSpPr/>
          <p:nvPr>
            <p:custDataLst>
              <p:tags r:id="rId8"/>
            </p:custDataLst>
          </p:nvPr>
        </p:nvSpPr>
        <p:spPr bwMode="auto">
          <a:xfrm>
            <a:off x="389435" y="2483582"/>
            <a:ext cx="3612107" cy="411480"/>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62" tIns="34292" rIns="68583" bIns="34292" numCol="1" rtlCol="0" anchor="ctr" anchorCtr="0" compatLnSpc="1">
            <a:prstTxWarp prst="textNoShape">
              <a:avLst/>
            </a:prstTxWarp>
          </a:bodyPr>
          <a:lstStyle/>
          <a:p>
            <a:pPr defTabSz="685637"/>
            <a:r>
              <a:rPr lang="en-US" sz="1700" dirty="0">
                <a:solidFill>
                  <a:schemeClr val="tx1">
                    <a:lumMod val="20000"/>
                    <a:lumOff val="80000"/>
                    <a:alpha val="99000"/>
                  </a:schemeClr>
                </a:solidFill>
                <a:latin typeface="Segoe UI" pitchFamily="34" charset="0"/>
                <a:ea typeface="Segoe UI" pitchFamily="34" charset="0"/>
                <a:cs typeface="Segoe UI" pitchFamily="34" charset="0"/>
              </a:rPr>
              <a:t>Standard APIs</a:t>
            </a:r>
            <a:endParaRPr lang="en-US"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2" name="Rectangle 31"/>
          <p:cNvSpPr/>
          <p:nvPr>
            <p:custDataLst>
              <p:tags r:id="rId9"/>
            </p:custDataLst>
          </p:nvPr>
        </p:nvSpPr>
        <p:spPr bwMode="auto">
          <a:xfrm>
            <a:off x="2972888" y="2483582"/>
            <a:ext cx="5780485" cy="411480"/>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37172" tIns="34292" rIns="68583" bIns="34292" numCol="1" rtlCol="0" anchor="ctr" anchorCtr="0" compatLnSpc="1">
            <a:prstTxWarp prst="textNoShape">
              <a:avLst/>
            </a:prstTxWarp>
          </a:bodyPr>
          <a:lstStyle/>
          <a:p>
            <a:pPr defTabSz="685637"/>
            <a:r>
              <a:rPr lang="en-US" dirty="0" smtClean="0">
                <a:solidFill>
                  <a:schemeClr val="tx1">
                    <a:lumMod val="20000"/>
                    <a:lumOff val="80000"/>
                    <a:alpha val="99000"/>
                  </a:schemeClr>
                </a:solidFill>
                <a:latin typeface="Segoe UI" pitchFamily="34" charset="0"/>
                <a:ea typeface="Segoe UI" pitchFamily="34" charset="0"/>
                <a:cs typeface="Segoe UI" pitchFamily="34" charset="0"/>
              </a:rPr>
              <a:t>(</a:t>
            </a:r>
            <a:r>
              <a:rPr lang="en-US" b="1" dirty="0" err="1">
                <a:solidFill>
                  <a:schemeClr val="tx1">
                    <a:lumMod val="20000"/>
                    <a:lumOff val="80000"/>
                    <a:alpha val="99000"/>
                  </a:schemeClr>
                </a:solidFill>
                <a:latin typeface="Segoe UI" pitchFamily="34" charset="0"/>
                <a:ea typeface="Segoe UI" pitchFamily="34" charset="0"/>
                <a:cs typeface="Segoe UI" pitchFamily="34" charset="0"/>
              </a:rPr>
              <a:t>MIClient</a:t>
            </a:r>
            <a:r>
              <a:rPr lang="en-US" dirty="0">
                <a:solidFill>
                  <a:schemeClr val="tx1">
                    <a:lumMod val="20000"/>
                    <a:lumOff val="80000"/>
                    <a:alpha val="99000"/>
                  </a:schemeClr>
                </a:solidFill>
                <a:latin typeface="Segoe UI" pitchFamily="34" charset="0"/>
                <a:ea typeface="Segoe UI" pitchFamily="34" charset="0"/>
                <a:cs typeface="Segoe UI" pitchFamily="34" charset="0"/>
              </a:rPr>
              <a:t>, PowerShell, </a:t>
            </a:r>
            <a:r>
              <a:rPr lang="en-US" b="1" dirty="0" err="1">
                <a:solidFill>
                  <a:schemeClr val="tx1">
                    <a:lumMod val="20000"/>
                    <a:lumOff val="80000"/>
                    <a:alpha val="99000"/>
                  </a:schemeClr>
                </a:solidFill>
                <a:latin typeface="Segoe UI" pitchFamily="34" charset="0"/>
                <a:ea typeface="Segoe UI" pitchFamily="34" charset="0"/>
                <a:cs typeface="Segoe UI" pitchFamily="34" charset="0"/>
              </a:rPr>
              <a:t>OData</a:t>
            </a:r>
            <a:r>
              <a:rPr lang="en-US" dirty="0">
                <a:solidFill>
                  <a:schemeClr val="tx1">
                    <a:lumMod val="20000"/>
                    <a:lumOff val="80000"/>
                    <a:alpha val="99000"/>
                  </a:schemeClr>
                </a:solidFill>
                <a:latin typeface="Segoe UI" pitchFamily="34" charset="0"/>
                <a:ea typeface="Segoe UI" pitchFamily="34" charset="0"/>
                <a:cs typeface="Segoe UI" pitchFamily="34" charset="0"/>
              </a:rPr>
              <a:t>)</a:t>
            </a:r>
          </a:p>
        </p:txBody>
      </p:sp>
      <p:sp>
        <p:nvSpPr>
          <p:cNvPr id="33" name="Rectangle 32"/>
          <p:cNvSpPr/>
          <p:nvPr>
            <p:custDataLst>
              <p:tags r:id="rId10"/>
            </p:custDataLst>
          </p:nvPr>
        </p:nvSpPr>
        <p:spPr bwMode="auto">
          <a:xfrm>
            <a:off x="389435" y="3306542"/>
            <a:ext cx="3612107" cy="4114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62" tIns="34292" rIns="68583" bIns="34292" numCol="1" rtlCol="0" anchor="ctr" anchorCtr="0" compatLnSpc="1">
            <a:prstTxWarp prst="textNoShape">
              <a:avLst/>
            </a:prstTxWarp>
          </a:bodyPr>
          <a:lstStyle/>
          <a:p>
            <a:pPr defTabSz="685637"/>
            <a:r>
              <a:rPr lang="en-US" sz="1700" dirty="0">
                <a:solidFill>
                  <a:schemeClr val="tx1">
                    <a:lumMod val="20000"/>
                    <a:lumOff val="80000"/>
                    <a:alpha val="99000"/>
                  </a:schemeClr>
                </a:solidFill>
                <a:latin typeface="Segoe UI" pitchFamily="34" charset="0"/>
                <a:ea typeface="Segoe UI" pitchFamily="34" charset="0"/>
                <a:cs typeface="Segoe UI" pitchFamily="34" charset="0"/>
              </a:rPr>
              <a:t>Standard Models</a:t>
            </a:r>
            <a:endParaRPr lang="en-US"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4" name="Rectangle 33"/>
          <p:cNvSpPr/>
          <p:nvPr>
            <p:custDataLst>
              <p:tags r:id="rId11"/>
            </p:custDataLst>
          </p:nvPr>
        </p:nvSpPr>
        <p:spPr bwMode="auto">
          <a:xfrm>
            <a:off x="2972888" y="3306542"/>
            <a:ext cx="5780484" cy="4114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37172" tIns="34292" rIns="68583" bIns="34292" numCol="1" rtlCol="0" anchor="ctr" anchorCtr="0" compatLnSpc="1">
            <a:prstTxWarp prst="textNoShape">
              <a:avLst/>
            </a:prstTxWarp>
          </a:bodyPr>
          <a:lstStyle/>
          <a:p>
            <a:pPr defTabSz="685637"/>
            <a:r>
              <a:rPr lang="en-US" dirty="0" smtClean="0">
                <a:solidFill>
                  <a:schemeClr val="tx1">
                    <a:lumMod val="20000"/>
                    <a:lumOff val="80000"/>
                    <a:alpha val="99000"/>
                  </a:schemeClr>
                </a:solidFill>
                <a:latin typeface="Segoe UI" pitchFamily="34" charset="0"/>
                <a:ea typeface="Segoe UI" pitchFamily="34" charset="0"/>
                <a:cs typeface="Segoe UI" pitchFamily="34" charset="0"/>
              </a:rPr>
              <a:t>(</a:t>
            </a:r>
            <a:r>
              <a:rPr lang="en-US" b="1" dirty="0">
                <a:solidFill>
                  <a:schemeClr val="tx1">
                    <a:lumMod val="20000"/>
                    <a:lumOff val="80000"/>
                    <a:alpha val="99000"/>
                  </a:schemeClr>
                </a:solidFill>
                <a:latin typeface="Segoe UI" pitchFamily="34" charset="0"/>
                <a:ea typeface="Segoe UI" pitchFamily="34" charset="0"/>
                <a:cs typeface="Segoe UI" pitchFamily="34" charset="0"/>
              </a:rPr>
              <a:t>CIM Schema, SMI-S</a:t>
            </a:r>
            <a:r>
              <a:rPr lang="en-US" dirty="0">
                <a:solidFill>
                  <a:schemeClr val="tx1">
                    <a:lumMod val="20000"/>
                    <a:lumOff val="80000"/>
                    <a:alpha val="99000"/>
                  </a:schemeClr>
                </a:solidFill>
                <a:latin typeface="Segoe UI" pitchFamily="34" charset="0"/>
                <a:ea typeface="Segoe UI" pitchFamily="34" charset="0"/>
                <a:cs typeface="Segoe UI" pitchFamily="34" charset="0"/>
              </a:rPr>
              <a:t>)</a:t>
            </a:r>
          </a:p>
        </p:txBody>
      </p:sp>
      <p:grpSp>
        <p:nvGrpSpPr>
          <p:cNvPr id="35" name="Group 34"/>
          <p:cNvGrpSpPr/>
          <p:nvPr>
            <p:custDataLst>
              <p:tags r:id="rId12"/>
            </p:custDataLst>
          </p:nvPr>
        </p:nvGrpSpPr>
        <p:grpSpPr>
          <a:xfrm>
            <a:off x="389435" y="1745300"/>
            <a:ext cx="8363937" cy="663741"/>
            <a:chOff x="519112" y="2327067"/>
            <a:chExt cx="11149012" cy="884988"/>
          </a:xfrm>
        </p:grpSpPr>
        <p:grpSp>
          <p:nvGrpSpPr>
            <p:cNvPr id="37" name="Group 36"/>
            <p:cNvGrpSpPr/>
            <p:nvPr/>
          </p:nvGrpSpPr>
          <p:grpSpPr>
            <a:xfrm>
              <a:off x="519112" y="2327067"/>
              <a:ext cx="3657600" cy="884987"/>
              <a:chOff x="519112" y="2327067"/>
              <a:chExt cx="3657600" cy="884987"/>
            </a:xfrm>
          </p:grpSpPr>
          <p:sp>
            <p:nvSpPr>
              <p:cNvPr id="48" name="TextBox 47"/>
              <p:cNvSpPr txBox="1"/>
              <p:nvPr/>
            </p:nvSpPr>
            <p:spPr>
              <a:xfrm>
                <a:off x="519112" y="2327067"/>
                <a:ext cx="3657600" cy="45720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r>
                  <a:rPr lang="en-US" sz="1400" dirty="0"/>
                  <a:t>IT Pro</a:t>
                </a:r>
              </a:p>
            </p:txBody>
          </p:sp>
          <p:sp>
            <p:nvSpPr>
              <p:cNvPr id="49" name="Right Triangle 48"/>
              <p:cNvSpPr/>
              <p:nvPr/>
            </p:nvSpPr>
            <p:spPr bwMode="auto">
              <a:xfrm rot="10800000">
                <a:off x="1963188" y="2784267"/>
                <a:ext cx="427787" cy="427787"/>
              </a:xfrm>
              <a:prstGeom prst="rtTriangle">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dirty="0">
                  <a:solidFill>
                    <a:schemeClr val="tx1">
                      <a:lumMod val="20000"/>
                      <a:lumOff val="80000"/>
                      <a:alpha val="99000"/>
                    </a:schemeClr>
                  </a:solidFill>
                  <a:latin typeface="Segoe UI" pitchFamily="34" charset="0"/>
                  <a:ea typeface="Segoe UI" pitchFamily="34" charset="0"/>
                  <a:cs typeface="Segoe UI" pitchFamily="34" charset="0"/>
                </a:endParaRPr>
              </a:p>
            </p:txBody>
          </p:sp>
        </p:grpSp>
        <p:grpSp>
          <p:nvGrpSpPr>
            <p:cNvPr id="39" name="Group 38"/>
            <p:cNvGrpSpPr/>
            <p:nvPr/>
          </p:nvGrpSpPr>
          <p:grpSpPr>
            <a:xfrm>
              <a:off x="4264818" y="2327067"/>
              <a:ext cx="3657600" cy="884987"/>
              <a:chOff x="4264818" y="2327067"/>
              <a:chExt cx="3657600" cy="884987"/>
            </a:xfrm>
          </p:grpSpPr>
          <p:sp>
            <p:nvSpPr>
              <p:cNvPr id="45" name="TextBox 44"/>
              <p:cNvSpPr txBox="1"/>
              <p:nvPr/>
            </p:nvSpPr>
            <p:spPr>
              <a:xfrm>
                <a:off x="4264818" y="2327067"/>
                <a:ext cx="3657600" cy="45720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r>
                  <a:rPr lang="en-US" sz="1400" dirty="0"/>
                  <a:t>IT Developer</a:t>
                </a:r>
              </a:p>
            </p:txBody>
          </p:sp>
          <p:sp>
            <p:nvSpPr>
              <p:cNvPr id="46" name="Right Triangle 45"/>
              <p:cNvSpPr/>
              <p:nvPr/>
            </p:nvSpPr>
            <p:spPr bwMode="auto">
              <a:xfrm rot="10800000">
                <a:off x="5696201" y="2784267"/>
                <a:ext cx="427787" cy="427787"/>
              </a:xfrm>
              <a:prstGeom prst="rtTriangle">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dirty="0">
                  <a:solidFill>
                    <a:schemeClr val="tx1">
                      <a:lumMod val="20000"/>
                      <a:lumOff val="80000"/>
                      <a:alpha val="99000"/>
                    </a:schemeClr>
                  </a:solidFill>
                  <a:latin typeface="Segoe UI" pitchFamily="34" charset="0"/>
                  <a:ea typeface="Segoe UI" pitchFamily="34" charset="0"/>
                  <a:cs typeface="Segoe UI" pitchFamily="34" charset="0"/>
                </a:endParaRPr>
              </a:p>
            </p:txBody>
          </p:sp>
        </p:grpSp>
        <p:grpSp>
          <p:nvGrpSpPr>
            <p:cNvPr id="42" name="Group 41"/>
            <p:cNvGrpSpPr/>
            <p:nvPr/>
          </p:nvGrpSpPr>
          <p:grpSpPr>
            <a:xfrm>
              <a:off x="8010524" y="2327067"/>
              <a:ext cx="3657600" cy="884988"/>
              <a:chOff x="8010524" y="2327067"/>
              <a:chExt cx="3657600" cy="884988"/>
            </a:xfrm>
          </p:grpSpPr>
          <p:sp>
            <p:nvSpPr>
              <p:cNvPr id="43" name="TextBox 42"/>
              <p:cNvSpPr txBox="1"/>
              <p:nvPr/>
            </p:nvSpPr>
            <p:spPr>
              <a:xfrm>
                <a:off x="8010524" y="2327067"/>
                <a:ext cx="3657600" cy="45720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r>
                  <a:rPr lang="en-US" sz="1400" dirty="0"/>
                  <a:t>Solution Developer</a:t>
                </a:r>
              </a:p>
            </p:txBody>
          </p:sp>
          <p:sp>
            <p:nvSpPr>
              <p:cNvPr id="44" name="Right Triangle 43"/>
              <p:cNvSpPr/>
              <p:nvPr/>
            </p:nvSpPr>
            <p:spPr bwMode="auto">
              <a:xfrm rot="10800000">
                <a:off x="9519284" y="2784268"/>
                <a:ext cx="427787" cy="427787"/>
              </a:xfrm>
              <a:prstGeom prst="rtTriangle">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dirty="0">
                  <a:solidFill>
                    <a:schemeClr val="tx1">
                      <a:lumMod val="20000"/>
                      <a:lumOff val="80000"/>
                      <a:alpha val="99000"/>
                    </a:schemeClr>
                  </a:solidFill>
                  <a:latin typeface="Segoe UI" pitchFamily="34" charset="0"/>
                  <a:ea typeface="Segoe UI" pitchFamily="34" charset="0"/>
                  <a:cs typeface="Segoe UI" pitchFamily="34" charset="0"/>
                </a:endParaRPr>
              </a:p>
            </p:txBody>
          </p:sp>
        </p:grpSp>
      </p:grpSp>
      <p:grpSp>
        <p:nvGrpSpPr>
          <p:cNvPr id="50" name="Group 49"/>
          <p:cNvGrpSpPr/>
          <p:nvPr>
            <p:custDataLst>
              <p:tags r:id="rId13"/>
            </p:custDataLst>
          </p:nvPr>
        </p:nvGrpSpPr>
        <p:grpSpPr>
          <a:xfrm>
            <a:off x="389436" y="3792566"/>
            <a:ext cx="8363938" cy="659321"/>
            <a:chOff x="519111" y="5496300"/>
            <a:chExt cx="11149013" cy="879095"/>
          </a:xfrm>
        </p:grpSpPr>
        <p:sp>
          <p:nvSpPr>
            <p:cNvPr id="51" name="TextBox 50"/>
            <p:cNvSpPr txBox="1"/>
            <p:nvPr/>
          </p:nvSpPr>
          <p:spPr>
            <a:xfrm>
              <a:off x="2769154" y="5918195"/>
              <a:ext cx="2148840" cy="45720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45718" rIns="0" bIns="45718"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r>
                <a:rPr lang="en-US" sz="1400" dirty="0"/>
                <a:t>Storage</a:t>
              </a:r>
            </a:p>
          </p:txBody>
        </p:sp>
        <p:sp>
          <p:nvSpPr>
            <p:cNvPr id="53" name="TextBox 52"/>
            <p:cNvSpPr txBox="1"/>
            <p:nvPr/>
          </p:nvSpPr>
          <p:spPr>
            <a:xfrm>
              <a:off x="5019197" y="5918195"/>
              <a:ext cx="2148840" cy="45720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45718" rIns="0" bIns="45718"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r>
                <a:rPr lang="en-US" sz="1400" dirty="0"/>
                <a:t>Exchange</a:t>
              </a:r>
            </a:p>
          </p:txBody>
        </p:sp>
        <p:sp>
          <p:nvSpPr>
            <p:cNvPr id="54" name="TextBox 53"/>
            <p:cNvSpPr txBox="1"/>
            <p:nvPr/>
          </p:nvSpPr>
          <p:spPr>
            <a:xfrm>
              <a:off x="7269240" y="5918195"/>
              <a:ext cx="2148840" cy="45720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45718" rIns="0" bIns="45718"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r>
                <a:rPr lang="en-US" sz="1400" dirty="0"/>
                <a:t>Devices</a:t>
              </a:r>
            </a:p>
          </p:txBody>
        </p:sp>
        <p:sp>
          <p:nvSpPr>
            <p:cNvPr id="55" name="TextBox 54"/>
            <p:cNvSpPr txBox="1"/>
            <p:nvPr/>
          </p:nvSpPr>
          <p:spPr>
            <a:xfrm>
              <a:off x="519111" y="5918195"/>
              <a:ext cx="2148840" cy="45720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45718" rIns="0" bIns="45718"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r>
                <a:rPr lang="en-US" sz="1400" dirty="0"/>
                <a:t>Disk</a:t>
              </a:r>
            </a:p>
          </p:txBody>
        </p:sp>
        <p:sp>
          <p:nvSpPr>
            <p:cNvPr id="56" name="TextBox 55"/>
            <p:cNvSpPr txBox="1"/>
            <p:nvPr/>
          </p:nvSpPr>
          <p:spPr>
            <a:xfrm>
              <a:off x="9519284" y="5918195"/>
              <a:ext cx="2148840" cy="45720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45718" rIns="0" bIns="45718"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r>
                <a:rPr lang="en-US" sz="1400" dirty="0"/>
                <a:t>Managed Objects</a:t>
              </a:r>
            </a:p>
          </p:txBody>
        </p:sp>
        <p:sp>
          <p:nvSpPr>
            <p:cNvPr id="57" name="Right Triangle 56"/>
            <p:cNvSpPr/>
            <p:nvPr/>
          </p:nvSpPr>
          <p:spPr bwMode="auto">
            <a:xfrm rot="16200000">
              <a:off x="1379637" y="5509146"/>
              <a:ext cx="427787" cy="427787"/>
            </a:xfrm>
            <a:prstGeom prst="rtTriangle">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45718" rIns="0" bIns="45718" numCol="1" rtlCol="0" anchor="ctr" anchorCtr="0" compatLnSpc="1">
              <a:prstTxWarp prst="textNoShape">
                <a:avLst/>
              </a:prstTxWarp>
            </a:bodyPr>
            <a:lstStyle/>
            <a:p>
              <a:pPr algn="ctr" defTabSz="685637"/>
              <a:endParaRPr lang="en-US"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58" name="Right Triangle 57"/>
            <p:cNvSpPr/>
            <p:nvPr/>
          </p:nvSpPr>
          <p:spPr bwMode="auto">
            <a:xfrm rot="16200000">
              <a:off x="3629680" y="5496300"/>
              <a:ext cx="427787" cy="427787"/>
            </a:xfrm>
            <a:prstGeom prst="rtTriangle">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45718" rIns="0" bIns="45718" numCol="1" rtlCol="0" anchor="ctr" anchorCtr="0" compatLnSpc="1">
              <a:prstTxWarp prst="textNoShape">
                <a:avLst/>
              </a:prstTxWarp>
            </a:bodyPr>
            <a:lstStyle/>
            <a:p>
              <a:pPr algn="ctr" defTabSz="685637"/>
              <a:endParaRPr lang="en-US"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59" name="Right Triangle 58"/>
            <p:cNvSpPr/>
            <p:nvPr/>
          </p:nvSpPr>
          <p:spPr bwMode="auto">
            <a:xfrm rot="16200000">
              <a:off x="5787750" y="5509145"/>
              <a:ext cx="427787" cy="427787"/>
            </a:xfrm>
            <a:prstGeom prst="rtTriangle">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45718" rIns="0" bIns="45718" numCol="1" rtlCol="0" anchor="ctr" anchorCtr="0" compatLnSpc="1">
              <a:prstTxWarp prst="textNoShape">
                <a:avLst/>
              </a:prstTxWarp>
            </a:bodyPr>
            <a:lstStyle/>
            <a:p>
              <a:pPr algn="ctr" defTabSz="685637"/>
              <a:endParaRPr lang="en-US"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0" name="Right Triangle 59"/>
            <p:cNvSpPr/>
            <p:nvPr/>
          </p:nvSpPr>
          <p:spPr bwMode="auto">
            <a:xfrm rot="16200000">
              <a:off x="8129766" y="5496300"/>
              <a:ext cx="427787" cy="427787"/>
            </a:xfrm>
            <a:prstGeom prst="rtTriangle">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45718" rIns="0" bIns="45718" numCol="1" rtlCol="0" anchor="ctr" anchorCtr="0" compatLnSpc="1">
              <a:prstTxWarp prst="textNoShape">
                <a:avLst/>
              </a:prstTxWarp>
            </a:bodyPr>
            <a:lstStyle/>
            <a:p>
              <a:pPr algn="ctr" defTabSz="685637"/>
              <a:endParaRPr lang="en-US"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1" name="Right Triangle 60"/>
            <p:cNvSpPr/>
            <p:nvPr/>
          </p:nvSpPr>
          <p:spPr bwMode="auto">
            <a:xfrm rot="16200000">
              <a:off x="10226240" y="5496300"/>
              <a:ext cx="427787" cy="427787"/>
            </a:xfrm>
            <a:prstGeom prst="rtTriangle">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45718" rIns="0" bIns="45718" numCol="1" rtlCol="0" anchor="ctr" anchorCtr="0" compatLnSpc="1">
              <a:prstTxWarp prst="textNoShape">
                <a:avLst/>
              </a:prstTxWarp>
            </a:bodyPr>
            <a:lstStyle/>
            <a:p>
              <a:pPr algn="ctr" defTabSz="685637"/>
              <a:endParaRPr lang="en-US" dirty="0">
                <a:solidFill>
                  <a:schemeClr val="tx1">
                    <a:lumMod val="20000"/>
                    <a:lumOff val="80000"/>
                    <a:alpha val="99000"/>
                  </a:schemeClr>
                </a:solidFill>
                <a:latin typeface="Segoe UI" pitchFamily="34" charset="0"/>
                <a:ea typeface="Segoe UI" pitchFamily="34" charset="0"/>
                <a:cs typeface="Segoe UI" pitchFamily="34" charset="0"/>
              </a:endParaRPr>
            </a:p>
          </p:txBody>
        </p:sp>
      </p:grpSp>
      <p:sp>
        <p:nvSpPr>
          <p:cNvPr id="62" name="TextBox 61"/>
          <p:cNvSpPr txBox="1"/>
          <p:nvPr>
            <p:custDataLst>
              <p:tags r:id="rId14"/>
            </p:custDataLst>
          </p:nvPr>
        </p:nvSpPr>
        <p:spPr>
          <a:xfrm rot="16200000">
            <a:off x="14258" y="2858762"/>
            <a:ext cx="1234440" cy="484080"/>
          </a:xfrm>
          <a:prstGeom prst="rect">
            <a:avLst/>
          </a:prstGeom>
          <a:solidFill>
            <a:schemeClr val="bg1">
              <a:alpha val="96000"/>
            </a:schemeClr>
          </a:solidFill>
          <a:effectLst/>
        </p:spPr>
        <p:txBody>
          <a:bodyPr wrap="square" lIns="0" tIns="0" rIns="0" bIns="0" rtlCol="0" anchor="ctr" anchorCtr="0">
            <a:noAutofit/>
          </a:bodyPr>
          <a:lstStyle/>
          <a:p>
            <a:pPr algn="ctr"/>
            <a:r>
              <a:rPr lang="en-US" sz="2400" dirty="0">
                <a:solidFill>
                  <a:schemeClr val="tx1">
                    <a:alpha val="99000"/>
                  </a:schemeClr>
                </a:solidFill>
              </a:rPr>
              <a:t>WMF</a:t>
            </a:r>
          </a:p>
        </p:txBody>
      </p:sp>
      <p:sp>
        <p:nvSpPr>
          <p:cNvPr id="36"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8"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9"/>
              </a:rPr>
              <a:t>www.rapidbbs.cn</a:t>
            </a:r>
            <a:endParaRPr lang="zh-CN" altLang="en-US" sz="1200" b="0">
              <a:latin typeface="Arial" charset="0"/>
              <a:ea typeface="ＭＳ Ｐゴシック" pitchFamily="34" charset="-128"/>
            </a:endParaRPr>
          </a:p>
        </p:txBody>
      </p:sp>
      <p:pic>
        <p:nvPicPr>
          <p:cNvPr id="40" name="Picture 2">
            <a:hlinkClick r:id="rId19"/>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2"/>
    </p:custDataLst>
    <p:extLst>
      <p:ext uri="{BB962C8B-B14F-4D97-AF65-F5344CB8AC3E}">
        <p14:creationId xmlns:p14="http://schemas.microsoft.com/office/powerpoint/2010/main" val="3161450666"/>
      </p:ext>
    </p:extLst>
  </p:cSld>
  <p:clrMapOvr>
    <a:masterClrMapping/>
  </p:clrMapOvr>
  <p:transition>
    <p:fade/>
  </p:transition>
  <p:timing>
    <p:tnLst>
      <p:par>
        <p:cTn id="1" dur="indefinite" restart="never" nodeType="tmRoot"/>
      </p:par>
    </p:tnLst>
  </p:timing>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70128626"/>
              </p:ext>
            </p:extLst>
          </p:nvPr>
        </p:nvGraphicFramePr>
        <p:xfrm>
          <a:off x="1191" y="1192"/>
          <a:ext cx="1191" cy="1190"/>
        </p:xfrm>
        <a:graphic>
          <a:graphicData uri="http://schemas.openxmlformats.org/presentationml/2006/ole">
            <mc:AlternateContent xmlns:mc="http://schemas.openxmlformats.org/markup-compatibility/2006">
              <mc:Choice xmlns:v="urn:schemas-microsoft-com:vml" Requires="v">
                <p:oleObj spid="_x0000_s21511"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191" y="1192"/>
                        <a:ext cx="1191" cy="1190"/>
                      </a:xfrm>
                      <a:prstGeom prst="rect">
                        <a:avLst/>
                      </a:prstGeom>
                    </p:spPr>
                  </p:pic>
                </p:oleObj>
              </mc:Fallback>
            </mc:AlternateContent>
          </a:graphicData>
        </a:graphic>
      </p:graphicFrame>
      <p:sp>
        <p:nvSpPr>
          <p:cNvPr id="6" name="Rectangle 5"/>
          <p:cNvSpPr/>
          <p:nvPr>
            <p:custDataLst>
              <p:tags r:id="rId3"/>
            </p:custDataLst>
          </p:nvPr>
        </p:nvSpPr>
        <p:spPr bwMode="auto">
          <a:xfrm rot="10800000" flipH="1" flipV="1">
            <a:off x="1" y="1667835"/>
            <a:ext cx="2762127" cy="180783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Rectangle 6"/>
          <p:cNvSpPr/>
          <p:nvPr>
            <p:custDataLst>
              <p:tags r:id="rId4"/>
            </p:custDataLst>
          </p:nvPr>
        </p:nvSpPr>
        <p:spPr bwMode="auto">
          <a:xfrm rot="10800000" flipH="1" flipV="1">
            <a:off x="4615876" y="1667835"/>
            <a:ext cx="4528124" cy="180783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8" name="Title 2"/>
          <p:cNvSpPr txBox="1">
            <a:spLocks/>
          </p:cNvSpPr>
          <p:nvPr>
            <p:custDataLst>
              <p:tags r:id="rId5"/>
            </p:custDataLst>
          </p:nvPr>
        </p:nvSpPr>
        <p:spPr>
          <a:xfrm>
            <a:off x="4780066" y="1810711"/>
            <a:ext cx="4199744" cy="1522081"/>
          </a:xfrm>
          <a:prstGeom prst="rect">
            <a:avLst/>
          </a:prstGeom>
        </p:spPr>
        <p:txBody>
          <a:bodyPr vert="horz" wrap="square" lIns="137172" tIns="34294" rIns="137172" bIns="34294" rtlCol="0" anchor="ctr" anchorCtr="0">
            <a:noAutofit/>
          </a:bodyPr>
          <a:lst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sz="2600" dirty="0">
                <a:solidFill>
                  <a:schemeClr val="tx1">
                    <a:alpha val="99000"/>
                  </a:schemeClr>
                </a:solidFill>
                <a:latin typeface="Segoe UI Light" pitchFamily="34" charset="0"/>
                <a:cs typeface="Segoe UI"/>
              </a:rPr>
              <a:t>Need solutions to managing </a:t>
            </a:r>
            <a:r>
              <a:rPr lang="en-US" sz="2600" b="1" dirty="0">
                <a:solidFill>
                  <a:schemeClr val="accent3">
                    <a:alpha val="99000"/>
                  </a:schemeClr>
                </a:solidFill>
                <a:latin typeface="Segoe UI Light" pitchFamily="34" charset="0"/>
                <a:cs typeface="Segoe UI"/>
              </a:rPr>
              <a:t>multiple technologies </a:t>
            </a:r>
            <a:r>
              <a:rPr lang="en-US" sz="2600" dirty="0">
                <a:solidFill>
                  <a:schemeClr val="tx1">
                    <a:alpha val="99000"/>
                  </a:schemeClr>
                </a:solidFill>
                <a:latin typeface="Segoe UI Light" pitchFamily="34" charset="0"/>
                <a:cs typeface="Segoe UI"/>
              </a:rPr>
              <a:t>that span across </a:t>
            </a:r>
            <a:r>
              <a:rPr lang="en-US" sz="2600" b="1" dirty="0">
                <a:solidFill>
                  <a:schemeClr val="accent3">
                    <a:alpha val="99000"/>
                  </a:schemeClr>
                </a:solidFill>
                <a:latin typeface="Segoe UI Light" pitchFamily="34" charset="0"/>
                <a:cs typeface="Segoe UI"/>
              </a:rPr>
              <a:t>multiple servers</a:t>
            </a:r>
          </a:p>
        </p:txBody>
      </p:sp>
      <p:sp>
        <p:nvSpPr>
          <p:cNvPr id="9" name="Rectangle 8"/>
          <p:cNvSpPr/>
          <p:nvPr/>
        </p:nvSpPr>
        <p:spPr bwMode="auto">
          <a:xfrm rot="10800000" flipH="1" flipV="1">
            <a:off x="2889718" y="1659488"/>
            <a:ext cx="1598568" cy="180783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1" name="Title 2"/>
          <p:cNvSpPr txBox="1">
            <a:spLocks/>
          </p:cNvSpPr>
          <p:nvPr>
            <p:custDataLst>
              <p:tags r:id="rId6"/>
            </p:custDataLst>
          </p:nvPr>
        </p:nvSpPr>
        <p:spPr>
          <a:xfrm>
            <a:off x="165714" y="2244527"/>
            <a:ext cx="2430699" cy="654447"/>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pPr algn="r"/>
            <a:r>
              <a:rPr lang="en-US" sz="2600" dirty="0">
                <a:solidFill>
                  <a:schemeClr val="tx1">
                    <a:alpha val="99000"/>
                  </a:schemeClr>
                </a:solidFill>
                <a:latin typeface="Segoe UI Light" pitchFamily="34" charset="0"/>
                <a:cs typeface="Segoe UI"/>
              </a:rPr>
              <a:t>IT Pros</a:t>
            </a:r>
          </a:p>
        </p:txBody>
      </p:sp>
      <p:sp>
        <p:nvSpPr>
          <p:cNvPr id="10" name="Freeform 9"/>
          <p:cNvSpPr>
            <a:spLocks noEditPoints="1"/>
          </p:cNvSpPr>
          <p:nvPr/>
        </p:nvSpPr>
        <p:spPr bwMode="black">
          <a:xfrm>
            <a:off x="3467456" y="2045192"/>
            <a:ext cx="414208" cy="1053119"/>
          </a:xfrm>
          <a:custGeom>
            <a:avLst/>
            <a:gdLst>
              <a:gd name="T0" fmla="*/ 388 w 529"/>
              <a:gd name="T1" fmla="*/ 249 h 1345"/>
              <a:gd name="T2" fmla="*/ 529 w 529"/>
              <a:gd name="T3" fmla="*/ 391 h 1345"/>
              <a:gd name="T4" fmla="*/ 529 w 529"/>
              <a:gd name="T5" fmla="*/ 734 h 1345"/>
              <a:gd name="T6" fmla="*/ 482 w 529"/>
              <a:gd name="T7" fmla="*/ 783 h 1345"/>
              <a:gd name="T8" fmla="*/ 434 w 529"/>
              <a:gd name="T9" fmla="*/ 734 h 1345"/>
              <a:gd name="T10" fmla="*/ 434 w 529"/>
              <a:gd name="T11" fmla="*/ 424 h 1345"/>
              <a:gd name="T12" fmla="*/ 408 w 529"/>
              <a:gd name="T13" fmla="*/ 424 h 1345"/>
              <a:gd name="T14" fmla="*/ 408 w 529"/>
              <a:gd name="T15" fmla="*/ 1281 h 1345"/>
              <a:gd name="T16" fmla="*/ 343 w 529"/>
              <a:gd name="T17" fmla="*/ 1345 h 1345"/>
              <a:gd name="T18" fmla="*/ 278 w 529"/>
              <a:gd name="T19" fmla="*/ 1281 h 1345"/>
              <a:gd name="T20" fmla="*/ 278 w 529"/>
              <a:gd name="T21" fmla="*/ 785 h 1345"/>
              <a:gd name="T22" fmla="*/ 252 w 529"/>
              <a:gd name="T23" fmla="*/ 785 h 1345"/>
              <a:gd name="T24" fmla="*/ 252 w 529"/>
              <a:gd name="T25" fmla="*/ 1281 h 1345"/>
              <a:gd name="T26" fmla="*/ 187 w 529"/>
              <a:gd name="T27" fmla="*/ 1345 h 1345"/>
              <a:gd name="T28" fmla="*/ 122 w 529"/>
              <a:gd name="T29" fmla="*/ 1281 h 1345"/>
              <a:gd name="T30" fmla="*/ 122 w 529"/>
              <a:gd name="T31" fmla="*/ 424 h 1345"/>
              <a:gd name="T32" fmla="*/ 96 w 529"/>
              <a:gd name="T33" fmla="*/ 424 h 1345"/>
              <a:gd name="T34" fmla="*/ 96 w 529"/>
              <a:gd name="T35" fmla="*/ 734 h 1345"/>
              <a:gd name="T36" fmla="*/ 49 w 529"/>
              <a:gd name="T37" fmla="*/ 783 h 1345"/>
              <a:gd name="T38" fmla="*/ 0 w 529"/>
              <a:gd name="T39" fmla="*/ 734 h 1345"/>
              <a:gd name="T40" fmla="*/ 0 w 529"/>
              <a:gd name="T41" fmla="*/ 391 h 1345"/>
              <a:gd name="T42" fmla="*/ 143 w 529"/>
              <a:gd name="T43" fmla="*/ 249 h 1345"/>
              <a:gd name="T44" fmla="*/ 388 w 529"/>
              <a:gd name="T45" fmla="*/ 249 h 1345"/>
              <a:gd name="T46" fmla="*/ 155 w 529"/>
              <a:gd name="T47" fmla="*/ 110 h 1345"/>
              <a:gd name="T48" fmla="*/ 266 w 529"/>
              <a:gd name="T49" fmla="*/ 221 h 1345"/>
              <a:gd name="T50" fmla="*/ 377 w 529"/>
              <a:gd name="T51" fmla="*/ 110 h 1345"/>
              <a:gd name="T52" fmla="*/ 266 w 529"/>
              <a:gd name="T53" fmla="*/ 0 h 1345"/>
              <a:gd name="T54" fmla="*/ 155 w 529"/>
              <a:gd name="T55" fmla="*/ 110 h 1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9" h="1345">
                <a:moveTo>
                  <a:pt x="388" y="249"/>
                </a:moveTo>
                <a:cubicBezTo>
                  <a:pt x="466" y="249"/>
                  <a:pt x="529" y="313"/>
                  <a:pt x="529" y="391"/>
                </a:cubicBezTo>
                <a:cubicBezTo>
                  <a:pt x="529" y="430"/>
                  <a:pt x="529" y="707"/>
                  <a:pt x="529" y="734"/>
                </a:cubicBezTo>
                <a:cubicBezTo>
                  <a:pt x="529" y="761"/>
                  <a:pt x="508" y="783"/>
                  <a:pt x="482" y="783"/>
                </a:cubicBezTo>
                <a:cubicBezTo>
                  <a:pt x="455" y="783"/>
                  <a:pt x="434" y="761"/>
                  <a:pt x="434" y="734"/>
                </a:cubicBezTo>
                <a:cubicBezTo>
                  <a:pt x="434" y="703"/>
                  <a:pt x="434" y="424"/>
                  <a:pt x="434" y="424"/>
                </a:cubicBezTo>
                <a:cubicBezTo>
                  <a:pt x="408" y="424"/>
                  <a:pt x="408" y="424"/>
                  <a:pt x="408" y="424"/>
                </a:cubicBezTo>
                <a:cubicBezTo>
                  <a:pt x="408" y="424"/>
                  <a:pt x="408" y="1227"/>
                  <a:pt x="408" y="1281"/>
                </a:cubicBezTo>
                <a:cubicBezTo>
                  <a:pt x="408" y="1317"/>
                  <a:pt x="379" y="1345"/>
                  <a:pt x="343" y="1345"/>
                </a:cubicBezTo>
                <a:cubicBezTo>
                  <a:pt x="307" y="1345"/>
                  <a:pt x="278" y="1317"/>
                  <a:pt x="278" y="1281"/>
                </a:cubicBezTo>
                <a:cubicBezTo>
                  <a:pt x="278" y="1227"/>
                  <a:pt x="278" y="785"/>
                  <a:pt x="278" y="785"/>
                </a:cubicBezTo>
                <a:cubicBezTo>
                  <a:pt x="252" y="785"/>
                  <a:pt x="252" y="785"/>
                  <a:pt x="252" y="785"/>
                </a:cubicBezTo>
                <a:cubicBezTo>
                  <a:pt x="252" y="785"/>
                  <a:pt x="252" y="1227"/>
                  <a:pt x="252" y="1281"/>
                </a:cubicBezTo>
                <a:cubicBezTo>
                  <a:pt x="252" y="1317"/>
                  <a:pt x="223" y="1345"/>
                  <a:pt x="187" y="1345"/>
                </a:cubicBezTo>
                <a:cubicBezTo>
                  <a:pt x="151" y="1345"/>
                  <a:pt x="122" y="1317"/>
                  <a:pt x="122" y="1281"/>
                </a:cubicBezTo>
                <a:cubicBezTo>
                  <a:pt x="122" y="1227"/>
                  <a:pt x="122" y="424"/>
                  <a:pt x="122" y="424"/>
                </a:cubicBezTo>
                <a:cubicBezTo>
                  <a:pt x="96" y="424"/>
                  <a:pt x="96" y="424"/>
                  <a:pt x="96" y="424"/>
                </a:cubicBezTo>
                <a:cubicBezTo>
                  <a:pt x="96" y="424"/>
                  <a:pt x="96" y="703"/>
                  <a:pt x="96" y="734"/>
                </a:cubicBezTo>
                <a:cubicBezTo>
                  <a:pt x="96" y="761"/>
                  <a:pt x="76" y="783"/>
                  <a:pt x="49" y="783"/>
                </a:cubicBezTo>
                <a:cubicBezTo>
                  <a:pt x="22" y="783"/>
                  <a:pt x="0" y="761"/>
                  <a:pt x="0" y="734"/>
                </a:cubicBezTo>
                <a:cubicBezTo>
                  <a:pt x="0" y="707"/>
                  <a:pt x="0" y="430"/>
                  <a:pt x="0" y="391"/>
                </a:cubicBezTo>
                <a:cubicBezTo>
                  <a:pt x="0" y="313"/>
                  <a:pt x="64" y="249"/>
                  <a:pt x="143" y="249"/>
                </a:cubicBezTo>
                <a:cubicBezTo>
                  <a:pt x="180" y="249"/>
                  <a:pt x="348" y="249"/>
                  <a:pt x="388" y="249"/>
                </a:cubicBezTo>
                <a:close/>
                <a:moveTo>
                  <a:pt x="155" y="110"/>
                </a:moveTo>
                <a:cubicBezTo>
                  <a:pt x="155" y="172"/>
                  <a:pt x="205" y="221"/>
                  <a:pt x="266" y="221"/>
                </a:cubicBezTo>
                <a:cubicBezTo>
                  <a:pt x="327" y="221"/>
                  <a:pt x="377" y="172"/>
                  <a:pt x="377" y="110"/>
                </a:cubicBezTo>
                <a:cubicBezTo>
                  <a:pt x="377" y="49"/>
                  <a:pt x="327" y="0"/>
                  <a:pt x="266" y="0"/>
                </a:cubicBezTo>
                <a:cubicBezTo>
                  <a:pt x="205" y="0"/>
                  <a:pt x="155" y="49"/>
                  <a:pt x="155" y="1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6" tIns="34294" rIns="68586" bIns="34294"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a:p>
        </p:txBody>
      </p:sp>
      <p:sp>
        <p:nvSpPr>
          <p:cNvPr id="12"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3"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1"/>
              </a:rPr>
              <a:t>www.rapidbbs.cn</a:t>
            </a:r>
            <a:endParaRPr lang="zh-CN" altLang="en-US" sz="1200" b="0">
              <a:latin typeface="Arial" charset="0"/>
              <a:ea typeface="ＭＳ Ｐゴシック" pitchFamily="34" charset="-128"/>
            </a:endParaRPr>
          </a:p>
        </p:txBody>
      </p:sp>
      <p:pic>
        <p:nvPicPr>
          <p:cNvPr id="14" name="Picture 2">
            <a:hlinkClick r:id="rId11"/>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17721741"/>
      </p:ext>
    </p:extLst>
  </p:cSld>
  <p:clrMapOvr>
    <a:masterClrMapping/>
  </p:clrMapOvr>
  <p:transition>
    <p:fade/>
  </p:transition>
  <p:timing>
    <p:tnLst>
      <p:par>
        <p:cTn id="1" dur="indefinite" restart="never" nodeType="tmRoot"/>
      </p:par>
    </p:tnLst>
  </p:timing>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230683873"/>
              </p:ext>
            </p:extLst>
          </p:nvPr>
        </p:nvGraphicFramePr>
        <p:xfrm>
          <a:off x="1191" y="1192"/>
          <a:ext cx="1191" cy="1190"/>
        </p:xfrm>
        <a:graphic>
          <a:graphicData uri="http://schemas.openxmlformats.org/presentationml/2006/ole">
            <mc:AlternateContent xmlns:mc="http://schemas.openxmlformats.org/markup-compatibility/2006">
              <mc:Choice xmlns:v="urn:schemas-microsoft-com:vml" Requires="v">
                <p:oleObj spid="_x0000_s22535"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191" y="1192"/>
                        <a:ext cx="1191" cy="1190"/>
                      </a:xfrm>
                      <a:prstGeom prst="rect">
                        <a:avLst/>
                      </a:prstGeom>
                    </p:spPr>
                  </p:pic>
                </p:oleObj>
              </mc:Fallback>
            </mc:AlternateContent>
          </a:graphicData>
        </a:graphic>
      </p:graphicFrame>
      <p:sp>
        <p:nvSpPr>
          <p:cNvPr id="6" name="Rectangle 5"/>
          <p:cNvSpPr/>
          <p:nvPr>
            <p:custDataLst>
              <p:tags r:id="rId3"/>
            </p:custDataLst>
          </p:nvPr>
        </p:nvSpPr>
        <p:spPr bwMode="auto">
          <a:xfrm rot="10800000" flipH="1" flipV="1">
            <a:off x="1" y="1666494"/>
            <a:ext cx="2762127" cy="181051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Rectangle 6"/>
          <p:cNvSpPr/>
          <p:nvPr>
            <p:custDataLst>
              <p:tags r:id="rId4"/>
            </p:custDataLst>
          </p:nvPr>
        </p:nvSpPr>
        <p:spPr bwMode="auto">
          <a:xfrm rot="10800000" flipH="1" flipV="1">
            <a:off x="4615876" y="1666494"/>
            <a:ext cx="4528124" cy="181051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8" name="Title 2"/>
          <p:cNvSpPr txBox="1">
            <a:spLocks/>
          </p:cNvSpPr>
          <p:nvPr>
            <p:custDataLst>
              <p:tags r:id="rId5"/>
            </p:custDataLst>
          </p:nvPr>
        </p:nvSpPr>
        <p:spPr>
          <a:xfrm>
            <a:off x="4780066" y="1759952"/>
            <a:ext cx="4199744" cy="1623599"/>
          </a:xfrm>
          <a:prstGeom prst="rect">
            <a:avLst/>
          </a:prstGeom>
        </p:spPr>
        <p:txBody>
          <a:bodyPr vert="horz" wrap="square" lIns="137172" tIns="34294" rIns="137172" bIns="34294" rtlCol="0" anchor="ctr" anchorCtr="0">
            <a:noAutofit/>
          </a:bodyPr>
          <a:lst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sz="2600" b="1" dirty="0">
                <a:solidFill>
                  <a:schemeClr val="accent2">
                    <a:alpha val="99000"/>
                  </a:schemeClr>
                </a:solidFill>
                <a:latin typeface="Segoe UI Light" pitchFamily="34" charset="0"/>
                <a:cs typeface="Segoe UI"/>
              </a:rPr>
              <a:t>By Technology </a:t>
            </a:r>
            <a:r>
              <a:rPr lang="en-US" sz="2600" dirty="0">
                <a:solidFill>
                  <a:schemeClr val="tx1">
                    <a:alpha val="99000"/>
                  </a:schemeClr>
                </a:solidFill>
                <a:latin typeface="Segoe UI Light" pitchFamily="34" charset="0"/>
                <a:cs typeface="Segoe UI"/>
              </a:rPr>
              <a:t>and </a:t>
            </a:r>
            <a:r>
              <a:rPr lang="en-US" sz="2600" b="1" dirty="0">
                <a:solidFill>
                  <a:schemeClr val="accent2">
                    <a:alpha val="99000"/>
                  </a:schemeClr>
                </a:solidFill>
                <a:latin typeface="Segoe UI Light" pitchFamily="34" charset="0"/>
                <a:cs typeface="Segoe UI"/>
              </a:rPr>
              <a:t>by Server</a:t>
            </a:r>
            <a:r>
              <a:rPr lang="en-US" sz="2600" dirty="0">
                <a:solidFill>
                  <a:schemeClr val="tx1">
                    <a:alpha val="99000"/>
                  </a:schemeClr>
                </a:solidFill>
                <a:latin typeface="Segoe UI Light" pitchFamily="34" charset="0"/>
                <a:cs typeface="Segoe UI"/>
              </a:rPr>
              <a:t>, are each important.</a:t>
            </a:r>
          </a:p>
        </p:txBody>
      </p:sp>
      <p:sp>
        <p:nvSpPr>
          <p:cNvPr id="9" name="Rectangle 8"/>
          <p:cNvSpPr/>
          <p:nvPr/>
        </p:nvSpPr>
        <p:spPr bwMode="auto">
          <a:xfrm rot="10800000" flipH="1" flipV="1">
            <a:off x="2889718" y="1666494"/>
            <a:ext cx="1598568" cy="181051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0" name="Title 2"/>
          <p:cNvSpPr txBox="1">
            <a:spLocks/>
          </p:cNvSpPr>
          <p:nvPr>
            <p:custDataLst>
              <p:tags r:id="rId6"/>
            </p:custDataLst>
          </p:nvPr>
        </p:nvSpPr>
        <p:spPr>
          <a:xfrm>
            <a:off x="165714" y="1885950"/>
            <a:ext cx="2430699" cy="1371600"/>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pPr algn="r"/>
            <a:r>
              <a:rPr lang="en-US" sz="2600" b="1" dirty="0">
                <a:solidFill>
                  <a:schemeClr val="tx1">
                    <a:alpha val="99000"/>
                  </a:schemeClr>
                </a:solidFill>
                <a:latin typeface="Segoe UI Light" pitchFamily="34" charset="0"/>
                <a:cs typeface="Segoe UI"/>
              </a:rPr>
              <a:t>Aggregation</a:t>
            </a:r>
            <a:br>
              <a:rPr lang="en-US" sz="2600" b="1" dirty="0">
                <a:solidFill>
                  <a:schemeClr val="tx1">
                    <a:alpha val="99000"/>
                  </a:schemeClr>
                </a:solidFill>
                <a:latin typeface="Segoe UI Light" pitchFamily="34" charset="0"/>
                <a:cs typeface="Segoe UI"/>
              </a:rPr>
            </a:br>
            <a:r>
              <a:rPr lang="en-US" sz="2600" dirty="0">
                <a:solidFill>
                  <a:schemeClr val="tx1">
                    <a:alpha val="99000"/>
                  </a:schemeClr>
                </a:solidFill>
                <a:latin typeface="Segoe UI Light" pitchFamily="34" charset="0"/>
                <a:cs typeface="Segoe UI"/>
              </a:rPr>
              <a:t>and</a:t>
            </a:r>
            <a:br>
              <a:rPr lang="en-US" sz="2600" dirty="0">
                <a:solidFill>
                  <a:schemeClr val="tx1">
                    <a:alpha val="99000"/>
                  </a:schemeClr>
                </a:solidFill>
                <a:latin typeface="Segoe UI Light" pitchFamily="34" charset="0"/>
                <a:cs typeface="Segoe UI"/>
              </a:rPr>
            </a:br>
            <a:r>
              <a:rPr lang="en-US" sz="2600" b="1" dirty="0">
                <a:solidFill>
                  <a:schemeClr val="tx1">
                    <a:alpha val="99000"/>
                  </a:schemeClr>
                </a:solidFill>
                <a:latin typeface="Segoe UI Light" pitchFamily="34" charset="0"/>
                <a:cs typeface="Segoe UI"/>
              </a:rPr>
              <a:t>Drilldown</a:t>
            </a:r>
          </a:p>
        </p:txBody>
      </p:sp>
      <p:grpSp>
        <p:nvGrpSpPr>
          <p:cNvPr id="15" name="Group 14"/>
          <p:cNvGrpSpPr/>
          <p:nvPr>
            <p:custDataLst>
              <p:tags r:id="rId7"/>
            </p:custDataLst>
          </p:nvPr>
        </p:nvGrpSpPr>
        <p:grpSpPr>
          <a:xfrm>
            <a:off x="3141594" y="2092939"/>
            <a:ext cx="1094816" cy="957626"/>
            <a:chOff x="6954503" y="3760549"/>
            <a:chExt cx="1459374" cy="1276835"/>
          </a:xfrm>
          <a:solidFill>
            <a:schemeClr val="tx1"/>
          </a:solidFill>
        </p:grpSpPr>
        <p:sp>
          <p:nvSpPr>
            <p:cNvPr id="16" name="Rounded Rectangle 27"/>
            <p:cNvSpPr/>
            <p:nvPr/>
          </p:nvSpPr>
          <p:spPr bwMode="auto">
            <a:xfrm>
              <a:off x="6954503" y="4811164"/>
              <a:ext cx="1304926" cy="226220"/>
            </a:xfrm>
            <a:custGeom>
              <a:avLst/>
              <a:gdLst/>
              <a:ahLst/>
              <a:cxnLst/>
              <a:rect l="l" t="t" r="r" b="b"/>
              <a:pathLst>
                <a:path w="1304926" h="226220">
                  <a:moveTo>
                    <a:pt x="1100518" y="40653"/>
                  </a:moveTo>
                  <a:cubicBezTo>
                    <a:pt x="1060117" y="40653"/>
                    <a:pt x="1027366" y="73093"/>
                    <a:pt x="1027366" y="113110"/>
                  </a:cubicBezTo>
                  <a:cubicBezTo>
                    <a:pt x="1027366" y="153127"/>
                    <a:pt x="1060117" y="185567"/>
                    <a:pt x="1100518" y="185567"/>
                  </a:cubicBezTo>
                  <a:cubicBezTo>
                    <a:pt x="1140919" y="185567"/>
                    <a:pt x="1173670" y="153127"/>
                    <a:pt x="1173670" y="113110"/>
                  </a:cubicBezTo>
                  <a:cubicBezTo>
                    <a:pt x="1173670" y="73093"/>
                    <a:pt x="1140919" y="40653"/>
                    <a:pt x="1100518" y="40653"/>
                  </a:cubicBezTo>
                  <a:close/>
                  <a:moveTo>
                    <a:pt x="876603" y="40653"/>
                  </a:moveTo>
                  <a:cubicBezTo>
                    <a:pt x="836202" y="40653"/>
                    <a:pt x="803451" y="73093"/>
                    <a:pt x="803451" y="113110"/>
                  </a:cubicBezTo>
                  <a:cubicBezTo>
                    <a:pt x="803451" y="153127"/>
                    <a:pt x="836202" y="185567"/>
                    <a:pt x="876603" y="185567"/>
                  </a:cubicBezTo>
                  <a:cubicBezTo>
                    <a:pt x="917004" y="185567"/>
                    <a:pt x="949755" y="153127"/>
                    <a:pt x="949755" y="113110"/>
                  </a:cubicBezTo>
                  <a:cubicBezTo>
                    <a:pt x="949755" y="73093"/>
                    <a:pt x="917004" y="40653"/>
                    <a:pt x="876603" y="40653"/>
                  </a:cubicBezTo>
                  <a:close/>
                  <a:moveTo>
                    <a:pt x="652689" y="40653"/>
                  </a:moveTo>
                  <a:cubicBezTo>
                    <a:pt x="612288" y="40653"/>
                    <a:pt x="579537" y="73093"/>
                    <a:pt x="579537" y="113110"/>
                  </a:cubicBezTo>
                  <a:cubicBezTo>
                    <a:pt x="579537" y="153127"/>
                    <a:pt x="612288" y="185567"/>
                    <a:pt x="652689" y="185567"/>
                  </a:cubicBezTo>
                  <a:cubicBezTo>
                    <a:pt x="693090" y="185567"/>
                    <a:pt x="725841" y="153127"/>
                    <a:pt x="725841" y="113110"/>
                  </a:cubicBezTo>
                  <a:cubicBezTo>
                    <a:pt x="725841" y="73093"/>
                    <a:pt x="693090" y="40653"/>
                    <a:pt x="652689" y="40653"/>
                  </a:cubicBezTo>
                  <a:close/>
                  <a:moveTo>
                    <a:pt x="428775" y="40653"/>
                  </a:moveTo>
                  <a:cubicBezTo>
                    <a:pt x="388374" y="40653"/>
                    <a:pt x="355623" y="73093"/>
                    <a:pt x="355623" y="113110"/>
                  </a:cubicBezTo>
                  <a:cubicBezTo>
                    <a:pt x="355623" y="153127"/>
                    <a:pt x="388374" y="185567"/>
                    <a:pt x="428775" y="185567"/>
                  </a:cubicBezTo>
                  <a:cubicBezTo>
                    <a:pt x="469176" y="185567"/>
                    <a:pt x="501927" y="153127"/>
                    <a:pt x="501927" y="113110"/>
                  </a:cubicBezTo>
                  <a:cubicBezTo>
                    <a:pt x="501927" y="73093"/>
                    <a:pt x="469176" y="40653"/>
                    <a:pt x="428775" y="40653"/>
                  </a:cubicBezTo>
                  <a:close/>
                  <a:moveTo>
                    <a:pt x="204861" y="40653"/>
                  </a:moveTo>
                  <a:cubicBezTo>
                    <a:pt x="164460" y="40653"/>
                    <a:pt x="131709" y="73093"/>
                    <a:pt x="131709" y="113110"/>
                  </a:cubicBezTo>
                  <a:cubicBezTo>
                    <a:pt x="131709" y="153127"/>
                    <a:pt x="164460" y="185567"/>
                    <a:pt x="204861" y="185567"/>
                  </a:cubicBezTo>
                  <a:cubicBezTo>
                    <a:pt x="245262" y="185567"/>
                    <a:pt x="278013" y="153127"/>
                    <a:pt x="278013" y="113110"/>
                  </a:cubicBezTo>
                  <a:cubicBezTo>
                    <a:pt x="278013" y="73093"/>
                    <a:pt x="245262" y="40653"/>
                    <a:pt x="204861" y="40653"/>
                  </a:cubicBezTo>
                  <a:close/>
                  <a:moveTo>
                    <a:pt x="113110" y="0"/>
                  </a:moveTo>
                  <a:lnTo>
                    <a:pt x="1191816" y="0"/>
                  </a:lnTo>
                  <a:cubicBezTo>
                    <a:pt x="1254285" y="0"/>
                    <a:pt x="1304926" y="50641"/>
                    <a:pt x="1304926" y="113110"/>
                  </a:cubicBezTo>
                  <a:lnTo>
                    <a:pt x="1304925" y="113110"/>
                  </a:lnTo>
                  <a:cubicBezTo>
                    <a:pt x="1304925" y="175579"/>
                    <a:pt x="1254284" y="226220"/>
                    <a:pt x="1191815" y="226220"/>
                  </a:cubicBezTo>
                  <a:lnTo>
                    <a:pt x="113110" y="226219"/>
                  </a:lnTo>
                  <a:cubicBezTo>
                    <a:pt x="50641" y="226219"/>
                    <a:pt x="1" y="175579"/>
                    <a:pt x="0" y="113110"/>
                  </a:cubicBezTo>
                  <a:cubicBezTo>
                    <a:pt x="1" y="50641"/>
                    <a:pt x="50641" y="0"/>
                    <a:pt x="113110" y="0"/>
                  </a:cubicBezTo>
                  <a:close/>
                </a:path>
              </a:pathLst>
            </a:custGeom>
            <a:grp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dirty="0" err="1">
                <a:gradFill>
                  <a:gsLst>
                    <a:gs pos="0">
                      <a:srgbClr val="FFFFFF"/>
                    </a:gs>
                    <a:gs pos="100000">
                      <a:srgbClr val="FFFFFF"/>
                    </a:gs>
                  </a:gsLst>
                  <a:lin ang="5400000" scaled="0"/>
                </a:gradFill>
              </a:endParaRPr>
            </a:p>
          </p:txBody>
        </p:sp>
        <p:sp>
          <p:nvSpPr>
            <p:cNvPr id="17" name="Rectangle 36"/>
            <p:cNvSpPr/>
            <p:nvPr/>
          </p:nvSpPr>
          <p:spPr bwMode="auto">
            <a:xfrm>
              <a:off x="7877172" y="3874849"/>
              <a:ext cx="536705" cy="768127"/>
            </a:xfrm>
            <a:custGeom>
              <a:avLst/>
              <a:gdLst/>
              <a:ahLst/>
              <a:cxnLst/>
              <a:rect l="l" t="t" r="r" b="b"/>
              <a:pathLst>
                <a:path w="536705" h="768127">
                  <a:moveTo>
                    <a:pt x="453631" y="457193"/>
                  </a:moveTo>
                  <a:cubicBezTo>
                    <a:pt x="438507" y="457193"/>
                    <a:pt x="426246" y="469778"/>
                    <a:pt x="426246" y="485302"/>
                  </a:cubicBezTo>
                  <a:cubicBezTo>
                    <a:pt x="426246" y="500826"/>
                    <a:pt x="438507" y="513411"/>
                    <a:pt x="453631" y="513411"/>
                  </a:cubicBezTo>
                  <a:cubicBezTo>
                    <a:pt x="468755" y="513411"/>
                    <a:pt x="481016" y="500826"/>
                    <a:pt x="481016" y="485302"/>
                  </a:cubicBezTo>
                  <a:cubicBezTo>
                    <a:pt x="481016" y="469778"/>
                    <a:pt x="468755" y="457193"/>
                    <a:pt x="453631" y="457193"/>
                  </a:cubicBezTo>
                  <a:close/>
                  <a:moveTo>
                    <a:pt x="374780" y="0"/>
                  </a:moveTo>
                  <a:lnTo>
                    <a:pt x="536705" y="502444"/>
                  </a:lnTo>
                  <a:lnTo>
                    <a:pt x="284405" y="729048"/>
                  </a:lnTo>
                  <a:lnTo>
                    <a:pt x="284405" y="738172"/>
                  </a:lnTo>
                  <a:cubicBezTo>
                    <a:pt x="284405" y="754716"/>
                    <a:pt x="270994" y="768127"/>
                    <a:pt x="254450" y="768127"/>
                  </a:cubicBezTo>
                  <a:lnTo>
                    <a:pt x="104586" y="768127"/>
                  </a:lnTo>
                  <a:cubicBezTo>
                    <a:pt x="88042" y="768127"/>
                    <a:pt x="74631" y="754716"/>
                    <a:pt x="74631" y="738172"/>
                  </a:cubicBezTo>
                  <a:lnTo>
                    <a:pt x="74631" y="701886"/>
                  </a:lnTo>
                  <a:lnTo>
                    <a:pt x="0" y="701886"/>
                  </a:lnTo>
                  <a:lnTo>
                    <a:pt x="0" y="651083"/>
                  </a:lnTo>
                  <a:lnTo>
                    <a:pt x="74631" y="651083"/>
                  </a:lnTo>
                  <a:lnTo>
                    <a:pt x="74631" y="618357"/>
                  </a:lnTo>
                  <a:cubicBezTo>
                    <a:pt x="74631" y="601813"/>
                    <a:pt x="88042" y="588402"/>
                    <a:pt x="104586" y="588402"/>
                  </a:cubicBezTo>
                  <a:lnTo>
                    <a:pt x="254450" y="588402"/>
                  </a:lnTo>
                  <a:cubicBezTo>
                    <a:pt x="270760" y="588402"/>
                    <a:pt x="284024" y="601435"/>
                    <a:pt x="284117" y="617662"/>
                  </a:cubicBezTo>
                  <a:lnTo>
                    <a:pt x="398593" y="476251"/>
                  </a:lnTo>
                  <a:lnTo>
                    <a:pt x="179518" y="2382"/>
                  </a:lnTo>
                  <a:close/>
                </a:path>
              </a:pathLst>
            </a:custGeom>
            <a:grp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dirty="0" err="1">
                <a:gradFill>
                  <a:gsLst>
                    <a:gs pos="0">
                      <a:srgbClr val="FFFFFF"/>
                    </a:gs>
                    <a:gs pos="100000">
                      <a:srgbClr val="FFFFFF"/>
                    </a:gs>
                  </a:gsLst>
                  <a:lin ang="5400000" scaled="0"/>
                </a:gradFill>
              </a:endParaRPr>
            </a:p>
          </p:txBody>
        </p:sp>
        <p:sp>
          <p:nvSpPr>
            <p:cNvPr id="18" name="Rectangle 17"/>
            <p:cNvSpPr/>
            <p:nvPr/>
          </p:nvSpPr>
          <p:spPr bwMode="auto">
            <a:xfrm>
              <a:off x="7521575" y="4363326"/>
              <a:ext cx="355597" cy="332499"/>
            </a:xfrm>
            <a:prstGeom prst="rect">
              <a:avLst/>
            </a:prstGeom>
            <a:grp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dirty="0" err="1">
                <a:gradFill>
                  <a:gsLst>
                    <a:gs pos="0">
                      <a:srgbClr val="FFFFFF"/>
                    </a:gs>
                    <a:gs pos="100000">
                      <a:srgbClr val="FFFFFF"/>
                    </a:gs>
                  </a:gsLst>
                  <a:lin ang="5400000" scaled="0"/>
                </a:gradFill>
              </a:endParaRPr>
            </a:p>
          </p:txBody>
        </p:sp>
        <p:sp>
          <p:nvSpPr>
            <p:cNvPr id="19" name="Rectangle 36"/>
            <p:cNvSpPr/>
            <p:nvPr/>
          </p:nvSpPr>
          <p:spPr bwMode="auto">
            <a:xfrm flipH="1">
              <a:off x="6965820" y="3760549"/>
              <a:ext cx="536705" cy="768127"/>
            </a:xfrm>
            <a:custGeom>
              <a:avLst/>
              <a:gdLst/>
              <a:ahLst/>
              <a:cxnLst/>
              <a:rect l="l" t="t" r="r" b="b"/>
              <a:pathLst>
                <a:path w="536705" h="768127">
                  <a:moveTo>
                    <a:pt x="453631" y="457193"/>
                  </a:moveTo>
                  <a:cubicBezTo>
                    <a:pt x="438507" y="457193"/>
                    <a:pt x="426246" y="469778"/>
                    <a:pt x="426246" y="485302"/>
                  </a:cubicBezTo>
                  <a:cubicBezTo>
                    <a:pt x="426246" y="500826"/>
                    <a:pt x="438507" y="513411"/>
                    <a:pt x="453631" y="513411"/>
                  </a:cubicBezTo>
                  <a:cubicBezTo>
                    <a:pt x="468755" y="513411"/>
                    <a:pt x="481016" y="500826"/>
                    <a:pt x="481016" y="485302"/>
                  </a:cubicBezTo>
                  <a:cubicBezTo>
                    <a:pt x="481016" y="469778"/>
                    <a:pt x="468755" y="457193"/>
                    <a:pt x="453631" y="457193"/>
                  </a:cubicBezTo>
                  <a:close/>
                  <a:moveTo>
                    <a:pt x="374780" y="0"/>
                  </a:moveTo>
                  <a:lnTo>
                    <a:pt x="536705" y="502444"/>
                  </a:lnTo>
                  <a:lnTo>
                    <a:pt x="284405" y="729048"/>
                  </a:lnTo>
                  <a:lnTo>
                    <a:pt x="284405" y="738172"/>
                  </a:lnTo>
                  <a:cubicBezTo>
                    <a:pt x="284405" y="754716"/>
                    <a:pt x="270994" y="768127"/>
                    <a:pt x="254450" y="768127"/>
                  </a:cubicBezTo>
                  <a:lnTo>
                    <a:pt x="104586" y="768127"/>
                  </a:lnTo>
                  <a:cubicBezTo>
                    <a:pt x="88042" y="768127"/>
                    <a:pt x="74631" y="754716"/>
                    <a:pt x="74631" y="738172"/>
                  </a:cubicBezTo>
                  <a:lnTo>
                    <a:pt x="74631" y="701886"/>
                  </a:lnTo>
                  <a:lnTo>
                    <a:pt x="0" y="701886"/>
                  </a:lnTo>
                  <a:lnTo>
                    <a:pt x="0" y="651083"/>
                  </a:lnTo>
                  <a:lnTo>
                    <a:pt x="74631" y="651083"/>
                  </a:lnTo>
                  <a:lnTo>
                    <a:pt x="74631" y="618357"/>
                  </a:lnTo>
                  <a:cubicBezTo>
                    <a:pt x="74631" y="601813"/>
                    <a:pt x="88042" y="588402"/>
                    <a:pt x="104586" y="588402"/>
                  </a:cubicBezTo>
                  <a:lnTo>
                    <a:pt x="254450" y="588402"/>
                  </a:lnTo>
                  <a:cubicBezTo>
                    <a:pt x="270760" y="588402"/>
                    <a:pt x="284024" y="601435"/>
                    <a:pt x="284117" y="617662"/>
                  </a:cubicBezTo>
                  <a:lnTo>
                    <a:pt x="398593" y="476251"/>
                  </a:lnTo>
                  <a:lnTo>
                    <a:pt x="179518" y="2382"/>
                  </a:lnTo>
                  <a:close/>
                </a:path>
              </a:pathLst>
            </a:custGeom>
            <a:grp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dirty="0" err="1">
                <a:gradFill>
                  <a:gsLst>
                    <a:gs pos="0">
                      <a:srgbClr val="FFFFFF"/>
                    </a:gs>
                    <a:gs pos="100000">
                      <a:srgbClr val="FFFFFF"/>
                    </a:gs>
                  </a:gsLst>
                  <a:lin ang="5400000" scaled="0"/>
                </a:gradFill>
              </a:endParaRPr>
            </a:p>
          </p:txBody>
        </p:sp>
      </p:grpSp>
      <p:sp>
        <p:nvSpPr>
          <p:cNvPr id="13"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4"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2"/>
              </a:rPr>
              <a:t>www.rapidbbs.cn</a:t>
            </a:r>
            <a:endParaRPr lang="zh-CN" altLang="en-US" sz="1200" b="0">
              <a:latin typeface="Arial" charset="0"/>
              <a:ea typeface="ＭＳ Ｐゴシック" pitchFamily="34" charset="-128"/>
            </a:endParaRPr>
          </a:p>
        </p:txBody>
      </p:sp>
      <p:pic>
        <p:nvPicPr>
          <p:cNvPr id="20" name="Picture 2">
            <a:hlinkClick r:id="rId12"/>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35526634"/>
      </p:ext>
    </p:extLst>
  </p:cSld>
  <p:clrMapOvr>
    <a:masterClrMapping/>
  </p:clrMapOvr>
  <p:transition>
    <p:fade/>
  </p:transition>
  <p:timing>
    <p:tnLst>
      <p:par>
        <p:cTn id="1" dur="indefinite" restart="never" nodeType="tmRoot"/>
      </p:par>
    </p:tnLst>
  </p:timing>
</p:sld>
</file>

<file path=ppt/slides/slide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70221424"/>
              </p:ext>
            </p:extLst>
          </p:nvPr>
        </p:nvGraphicFramePr>
        <p:xfrm>
          <a:off x="1191" y="1192"/>
          <a:ext cx="1191" cy="1190"/>
        </p:xfrm>
        <a:graphic>
          <a:graphicData uri="http://schemas.openxmlformats.org/presentationml/2006/ole">
            <mc:AlternateContent xmlns:mc="http://schemas.openxmlformats.org/markup-compatibility/2006">
              <mc:Choice xmlns:v="urn:schemas-microsoft-com:vml" Requires="v">
                <p:oleObj spid="_x0000_s23559"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191" y="1192"/>
                        <a:ext cx="1191" cy="1190"/>
                      </a:xfrm>
                      <a:prstGeom prst="rect">
                        <a:avLst/>
                      </a:prstGeom>
                    </p:spPr>
                  </p:pic>
                </p:oleObj>
              </mc:Fallback>
            </mc:AlternateContent>
          </a:graphicData>
        </a:graphic>
      </p:graphicFrame>
      <p:sp>
        <p:nvSpPr>
          <p:cNvPr id="6" name="Rectangle 5"/>
          <p:cNvSpPr/>
          <p:nvPr>
            <p:custDataLst>
              <p:tags r:id="rId3"/>
            </p:custDataLst>
          </p:nvPr>
        </p:nvSpPr>
        <p:spPr bwMode="auto">
          <a:xfrm rot="10800000" flipH="1" flipV="1">
            <a:off x="1" y="1666494"/>
            <a:ext cx="2762127" cy="181051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Rectangle 6"/>
          <p:cNvSpPr/>
          <p:nvPr>
            <p:custDataLst>
              <p:tags r:id="rId4"/>
            </p:custDataLst>
          </p:nvPr>
        </p:nvSpPr>
        <p:spPr bwMode="auto">
          <a:xfrm rot="10800000" flipH="1" flipV="1">
            <a:off x="4615876" y="1666494"/>
            <a:ext cx="4528124" cy="181051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8" name="Title 2"/>
          <p:cNvSpPr txBox="1">
            <a:spLocks/>
          </p:cNvSpPr>
          <p:nvPr>
            <p:custDataLst>
              <p:tags r:id="rId5"/>
            </p:custDataLst>
          </p:nvPr>
        </p:nvSpPr>
        <p:spPr>
          <a:xfrm>
            <a:off x="4780066" y="1776222"/>
            <a:ext cx="4199744" cy="1591056"/>
          </a:xfrm>
          <a:prstGeom prst="rect">
            <a:avLst/>
          </a:prstGeom>
        </p:spPr>
        <p:txBody>
          <a:bodyPr vert="horz" wrap="square" lIns="137172" tIns="34294" rIns="137172" bIns="34294" rtlCol="0" anchor="ctr" anchorCtr="0">
            <a:noAutofit/>
          </a:bodyPr>
          <a:lst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sz="2700" dirty="0">
                <a:solidFill>
                  <a:schemeClr val="tx1">
                    <a:alpha val="99000"/>
                  </a:schemeClr>
                </a:solidFill>
                <a:latin typeface="Segoe UI Light" pitchFamily="34" charset="0"/>
                <a:cs typeface="Segoe UI"/>
              </a:rPr>
              <a:t>Manage </a:t>
            </a:r>
            <a:r>
              <a:rPr lang="en-US" sz="2700" b="1" dirty="0">
                <a:solidFill>
                  <a:schemeClr val="accent5">
                    <a:alpha val="99000"/>
                  </a:schemeClr>
                </a:solidFill>
                <a:latin typeface="Segoe UI Light" pitchFamily="34" charset="0"/>
                <a:cs typeface="Segoe UI"/>
              </a:rPr>
              <a:t>clients</a:t>
            </a:r>
            <a:r>
              <a:rPr lang="en-US" sz="2700" dirty="0">
                <a:solidFill>
                  <a:schemeClr val="tx1">
                    <a:alpha val="99000"/>
                  </a:schemeClr>
                </a:solidFill>
                <a:latin typeface="Segoe UI Light" pitchFamily="34" charset="0"/>
                <a:cs typeface="Segoe UI"/>
              </a:rPr>
              <a:t> and </a:t>
            </a:r>
            <a:r>
              <a:rPr lang="en-US" sz="2700" b="1" dirty="0">
                <a:solidFill>
                  <a:schemeClr val="accent5">
                    <a:alpha val="99000"/>
                  </a:schemeClr>
                </a:solidFill>
                <a:latin typeface="Segoe UI Light" pitchFamily="34" charset="0"/>
                <a:cs typeface="Segoe UI"/>
              </a:rPr>
              <a:t>servers.</a:t>
            </a:r>
          </a:p>
        </p:txBody>
      </p:sp>
      <p:sp>
        <p:nvSpPr>
          <p:cNvPr id="9" name="Rectangle 8"/>
          <p:cNvSpPr/>
          <p:nvPr/>
        </p:nvSpPr>
        <p:spPr bwMode="auto">
          <a:xfrm rot="10800000" flipH="1" flipV="1">
            <a:off x="2889718" y="1666494"/>
            <a:ext cx="1598568" cy="181051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0" name="Title 2"/>
          <p:cNvSpPr txBox="1">
            <a:spLocks/>
          </p:cNvSpPr>
          <p:nvPr>
            <p:custDataLst>
              <p:tags r:id="rId6"/>
            </p:custDataLst>
          </p:nvPr>
        </p:nvSpPr>
        <p:spPr>
          <a:xfrm>
            <a:off x="165714" y="2244527"/>
            <a:ext cx="2430699" cy="654447"/>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pPr algn="r"/>
            <a:r>
              <a:rPr lang="en-US" sz="2700" dirty="0">
                <a:solidFill>
                  <a:schemeClr val="tx1">
                    <a:alpha val="99000"/>
                  </a:schemeClr>
                </a:solidFill>
                <a:latin typeface="Segoe UI Light" pitchFamily="34" charset="0"/>
                <a:cs typeface="Segoe UI"/>
              </a:rPr>
              <a:t>IT Pros</a:t>
            </a:r>
          </a:p>
        </p:txBody>
      </p:sp>
      <p:sp>
        <p:nvSpPr>
          <p:cNvPr id="11" name="Freeform 10"/>
          <p:cNvSpPr>
            <a:spLocks noEditPoints="1"/>
          </p:cNvSpPr>
          <p:nvPr/>
        </p:nvSpPr>
        <p:spPr bwMode="black">
          <a:xfrm>
            <a:off x="3467456" y="2045192"/>
            <a:ext cx="414208" cy="1053119"/>
          </a:xfrm>
          <a:custGeom>
            <a:avLst/>
            <a:gdLst>
              <a:gd name="T0" fmla="*/ 388 w 529"/>
              <a:gd name="T1" fmla="*/ 249 h 1345"/>
              <a:gd name="T2" fmla="*/ 529 w 529"/>
              <a:gd name="T3" fmla="*/ 391 h 1345"/>
              <a:gd name="T4" fmla="*/ 529 w 529"/>
              <a:gd name="T5" fmla="*/ 734 h 1345"/>
              <a:gd name="T6" fmla="*/ 482 w 529"/>
              <a:gd name="T7" fmla="*/ 783 h 1345"/>
              <a:gd name="T8" fmla="*/ 434 w 529"/>
              <a:gd name="T9" fmla="*/ 734 h 1345"/>
              <a:gd name="T10" fmla="*/ 434 w 529"/>
              <a:gd name="T11" fmla="*/ 424 h 1345"/>
              <a:gd name="T12" fmla="*/ 408 w 529"/>
              <a:gd name="T13" fmla="*/ 424 h 1345"/>
              <a:gd name="T14" fmla="*/ 408 w 529"/>
              <a:gd name="T15" fmla="*/ 1281 h 1345"/>
              <a:gd name="T16" fmla="*/ 343 w 529"/>
              <a:gd name="T17" fmla="*/ 1345 h 1345"/>
              <a:gd name="T18" fmla="*/ 278 w 529"/>
              <a:gd name="T19" fmla="*/ 1281 h 1345"/>
              <a:gd name="T20" fmla="*/ 278 w 529"/>
              <a:gd name="T21" fmla="*/ 785 h 1345"/>
              <a:gd name="T22" fmla="*/ 252 w 529"/>
              <a:gd name="T23" fmla="*/ 785 h 1345"/>
              <a:gd name="T24" fmla="*/ 252 w 529"/>
              <a:gd name="T25" fmla="*/ 1281 h 1345"/>
              <a:gd name="T26" fmla="*/ 187 w 529"/>
              <a:gd name="T27" fmla="*/ 1345 h 1345"/>
              <a:gd name="T28" fmla="*/ 122 w 529"/>
              <a:gd name="T29" fmla="*/ 1281 h 1345"/>
              <a:gd name="T30" fmla="*/ 122 w 529"/>
              <a:gd name="T31" fmla="*/ 424 h 1345"/>
              <a:gd name="T32" fmla="*/ 96 w 529"/>
              <a:gd name="T33" fmla="*/ 424 h 1345"/>
              <a:gd name="T34" fmla="*/ 96 w 529"/>
              <a:gd name="T35" fmla="*/ 734 h 1345"/>
              <a:gd name="T36" fmla="*/ 49 w 529"/>
              <a:gd name="T37" fmla="*/ 783 h 1345"/>
              <a:gd name="T38" fmla="*/ 0 w 529"/>
              <a:gd name="T39" fmla="*/ 734 h 1345"/>
              <a:gd name="T40" fmla="*/ 0 w 529"/>
              <a:gd name="T41" fmla="*/ 391 h 1345"/>
              <a:gd name="T42" fmla="*/ 143 w 529"/>
              <a:gd name="T43" fmla="*/ 249 h 1345"/>
              <a:gd name="T44" fmla="*/ 388 w 529"/>
              <a:gd name="T45" fmla="*/ 249 h 1345"/>
              <a:gd name="T46" fmla="*/ 155 w 529"/>
              <a:gd name="T47" fmla="*/ 110 h 1345"/>
              <a:gd name="T48" fmla="*/ 266 w 529"/>
              <a:gd name="T49" fmla="*/ 221 h 1345"/>
              <a:gd name="T50" fmla="*/ 377 w 529"/>
              <a:gd name="T51" fmla="*/ 110 h 1345"/>
              <a:gd name="T52" fmla="*/ 266 w 529"/>
              <a:gd name="T53" fmla="*/ 0 h 1345"/>
              <a:gd name="T54" fmla="*/ 155 w 529"/>
              <a:gd name="T55" fmla="*/ 110 h 1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9" h="1345">
                <a:moveTo>
                  <a:pt x="388" y="249"/>
                </a:moveTo>
                <a:cubicBezTo>
                  <a:pt x="466" y="249"/>
                  <a:pt x="529" y="313"/>
                  <a:pt x="529" y="391"/>
                </a:cubicBezTo>
                <a:cubicBezTo>
                  <a:pt x="529" y="430"/>
                  <a:pt x="529" y="707"/>
                  <a:pt x="529" y="734"/>
                </a:cubicBezTo>
                <a:cubicBezTo>
                  <a:pt x="529" y="761"/>
                  <a:pt x="508" y="783"/>
                  <a:pt x="482" y="783"/>
                </a:cubicBezTo>
                <a:cubicBezTo>
                  <a:pt x="455" y="783"/>
                  <a:pt x="434" y="761"/>
                  <a:pt x="434" y="734"/>
                </a:cubicBezTo>
                <a:cubicBezTo>
                  <a:pt x="434" y="703"/>
                  <a:pt x="434" y="424"/>
                  <a:pt x="434" y="424"/>
                </a:cubicBezTo>
                <a:cubicBezTo>
                  <a:pt x="408" y="424"/>
                  <a:pt x="408" y="424"/>
                  <a:pt x="408" y="424"/>
                </a:cubicBezTo>
                <a:cubicBezTo>
                  <a:pt x="408" y="424"/>
                  <a:pt x="408" y="1227"/>
                  <a:pt x="408" y="1281"/>
                </a:cubicBezTo>
                <a:cubicBezTo>
                  <a:pt x="408" y="1317"/>
                  <a:pt x="379" y="1345"/>
                  <a:pt x="343" y="1345"/>
                </a:cubicBezTo>
                <a:cubicBezTo>
                  <a:pt x="307" y="1345"/>
                  <a:pt x="278" y="1317"/>
                  <a:pt x="278" y="1281"/>
                </a:cubicBezTo>
                <a:cubicBezTo>
                  <a:pt x="278" y="1227"/>
                  <a:pt x="278" y="785"/>
                  <a:pt x="278" y="785"/>
                </a:cubicBezTo>
                <a:cubicBezTo>
                  <a:pt x="252" y="785"/>
                  <a:pt x="252" y="785"/>
                  <a:pt x="252" y="785"/>
                </a:cubicBezTo>
                <a:cubicBezTo>
                  <a:pt x="252" y="785"/>
                  <a:pt x="252" y="1227"/>
                  <a:pt x="252" y="1281"/>
                </a:cubicBezTo>
                <a:cubicBezTo>
                  <a:pt x="252" y="1317"/>
                  <a:pt x="223" y="1345"/>
                  <a:pt x="187" y="1345"/>
                </a:cubicBezTo>
                <a:cubicBezTo>
                  <a:pt x="151" y="1345"/>
                  <a:pt x="122" y="1317"/>
                  <a:pt x="122" y="1281"/>
                </a:cubicBezTo>
                <a:cubicBezTo>
                  <a:pt x="122" y="1227"/>
                  <a:pt x="122" y="424"/>
                  <a:pt x="122" y="424"/>
                </a:cubicBezTo>
                <a:cubicBezTo>
                  <a:pt x="96" y="424"/>
                  <a:pt x="96" y="424"/>
                  <a:pt x="96" y="424"/>
                </a:cubicBezTo>
                <a:cubicBezTo>
                  <a:pt x="96" y="424"/>
                  <a:pt x="96" y="703"/>
                  <a:pt x="96" y="734"/>
                </a:cubicBezTo>
                <a:cubicBezTo>
                  <a:pt x="96" y="761"/>
                  <a:pt x="76" y="783"/>
                  <a:pt x="49" y="783"/>
                </a:cubicBezTo>
                <a:cubicBezTo>
                  <a:pt x="22" y="783"/>
                  <a:pt x="0" y="761"/>
                  <a:pt x="0" y="734"/>
                </a:cubicBezTo>
                <a:cubicBezTo>
                  <a:pt x="0" y="707"/>
                  <a:pt x="0" y="430"/>
                  <a:pt x="0" y="391"/>
                </a:cubicBezTo>
                <a:cubicBezTo>
                  <a:pt x="0" y="313"/>
                  <a:pt x="64" y="249"/>
                  <a:pt x="143" y="249"/>
                </a:cubicBezTo>
                <a:cubicBezTo>
                  <a:pt x="180" y="249"/>
                  <a:pt x="348" y="249"/>
                  <a:pt x="388" y="249"/>
                </a:cubicBezTo>
                <a:close/>
                <a:moveTo>
                  <a:pt x="155" y="110"/>
                </a:moveTo>
                <a:cubicBezTo>
                  <a:pt x="155" y="172"/>
                  <a:pt x="205" y="221"/>
                  <a:pt x="266" y="221"/>
                </a:cubicBezTo>
                <a:cubicBezTo>
                  <a:pt x="327" y="221"/>
                  <a:pt x="377" y="172"/>
                  <a:pt x="377" y="110"/>
                </a:cubicBezTo>
                <a:cubicBezTo>
                  <a:pt x="377" y="49"/>
                  <a:pt x="327" y="0"/>
                  <a:pt x="266" y="0"/>
                </a:cubicBezTo>
                <a:cubicBezTo>
                  <a:pt x="205" y="0"/>
                  <a:pt x="155" y="49"/>
                  <a:pt x="155" y="1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6" tIns="34294" rIns="68586" bIns="34294"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a:p>
        </p:txBody>
      </p:sp>
      <p:sp>
        <p:nvSpPr>
          <p:cNvPr id="12"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3"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1"/>
              </a:rPr>
              <a:t>www.rapidbbs.cn</a:t>
            </a:r>
            <a:endParaRPr lang="zh-CN" altLang="en-US" sz="1200" b="0">
              <a:latin typeface="Arial" charset="0"/>
              <a:ea typeface="ＭＳ Ｐゴシック" pitchFamily="34" charset="-128"/>
            </a:endParaRPr>
          </a:p>
        </p:txBody>
      </p:sp>
      <p:pic>
        <p:nvPicPr>
          <p:cNvPr id="14" name="Picture 2">
            <a:hlinkClick r:id="rId11"/>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64815040"/>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231145" y="1085852"/>
            <a:ext cx="8663150" cy="3904809"/>
          </a:xfrm>
          <a:prstGeom prst="rect">
            <a:avLst/>
          </a:prstGeom>
          <a:noFill/>
          <a:ln w="381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7071" tIns="28535" rIns="28535" bIns="57071" numCol="1" spcCol="0" rtlCol="0" fromWordArt="0" anchor="b" anchorCtr="0" forceAA="0" compatLnSpc="1">
            <a:prstTxWarp prst="textNoShape">
              <a:avLst/>
            </a:prstTxWarp>
            <a:noAutofit/>
          </a:bodyPr>
          <a:lstStyle/>
          <a:p>
            <a:pPr algn="ctr" defTabSz="570567" fontAlgn="base">
              <a:spcBef>
                <a:spcPct val="0"/>
              </a:spcBef>
              <a:spcAft>
                <a:spcPct val="0"/>
              </a:spcAft>
            </a:pPr>
            <a:endParaRPr lang="en-US" spc="-32" dirty="0">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231145" y="819155"/>
            <a:ext cx="8663150" cy="845820"/>
          </a:xfrm>
          <a:prstGeom prst="rect">
            <a:avLst/>
          </a:prstGeom>
          <a:solidFill>
            <a:schemeClr val="accent1"/>
          </a:solidFill>
          <a:ln w="381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480" tIns="34241" rIns="34241" bIns="68480" numCol="1" spcCol="0" rtlCol="0" fromWordArt="0" anchor="ctr" anchorCtr="0" forceAA="0" compatLnSpc="1">
            <a:prstTxWarp prst="textNoShape">
              <a:avLst/>
            </a:prstTxWarp>
            <a:noAutofit/>
          </a:bodyPr>
          <a:lstStyle/>
          <a:p>
            <a:pPr marL="171204" algn="ctr" defTabSz="684580" fontAlgn="base">
              <a:spcBef>
                <a:spcPct val="0"/>
              </a:spcBef>
              <a:spcAft>
                <a:spcPct val="0"/>
              </a:spcAft>
            </a:pPr>
            <a:r>
              <a:rPr lang="en-US" sz="2500" b="1" dirty="0">
                <a:gradFill>
                  <a:gsLst>
                    <a:gs pos="0">
                      <a:schemeClr val="tx1"/>
                    </a:gs>
                    <a:gs pos="86000">
                      <a:schemeClr val="tx1"/>
                    </a:gs>
                  </a:gsLst>
                  <a:lin ang="5400000" scaled="0"/>
                </a:gradFill>
                <a:latin typeface="Segoe UI Light"/>
              </a:rPr>
              <a:t>Hybrid IT</a:t>
            </a:r>
          </a:p>
        </p:txBody>
      </p:sp>
      <p:sp>
        <p:nvSpPr>
          <p:cNvPr id="2" name="Title 1"/>
          <p:cNvSpPr>
            <a:spLocks noGrp="1"/>
          </p:cNvSpPr>
          <p:nvPr>
            <p:ph type="title"/>
          </p:nvPr>
        </p:nvSpPr>
        <p:spPr/>
        <p:txBody>
          <a:bodyPr>
            <a:normAutofit/>
          </a:bodyPr>
          <a:lstStyle/>
          <a:p>
            <a:r>
              <a:rPr lang="en-US" dirty="0" smtClean="0"/>
              <a:t>Hybrid IT | Definitions</a:t>
            </a:r>
            <a:endParaRPr lang="en-US" dirty="0"/>
          </a:p>
        </p:txBody>
      </p:sp>
      <p:grpSp>
        <p:nvGrpSpPr>
          <p:cNvPr id="5" name="Group 4"/>
          <p:cNvGrpSpPr/>
          <p:nvPr/>
        </p:nvGrpSpPr>
        <p:grpSpPr>
          <a:xfrm>
            <a:off x="3284636" y="1778686"/>
            <a:ext cx="2571751" cy="1115672"/>
            <a:chOff x="5310421" y="3274346"/>
            <a:chExt cx="4114802" cy="1785075"/>
          </a:xfrm>
        </p:grpSpPr>
        <p:sp>
          <p:nvSpPr>
            <p:cNvPr id="23" name="Rectangle 22"/>
            <p:cNvSpPr/>
            <p:nvPr/>
          </p:nvSpPr>
          <p:spPr bwMode="auto">
            <a:xfrm>
              <a:off x="5310421" y="3381153"/>
              <a:ext cx="4114802" cy="143742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03120" tIns="45720" rIns="457200" bIns="182880" numCol="1" spcCol="0" rtlCol="0" fromWordArt="0" anchor="b" anchorCtr="0" forceAA="0" compatLnSpc="1">
              <a:prstTxWarp prst="textNoShape">
                <a:avLst/>
              </a:prstTxWarp>
              <a:noAutofit/>
            </a:bodyPr>
            <a:lstStyle/>
            <a:p>
              <a:pPr>
                <a:lnSpc>
                  <a:spcPct val="90000"/>
                </a:lnSpc>
              </a:pPr>
              <a:r>
                <a:rPr lang="en-US" sz="1700" dirty="0">
                  <a:gradFill>
                    <a:gsLst>
                      <a:gs pos="0">
                        <a:schemeClr val="tx1"/>
                      </a:gs>
                      <a:gs pos="86000">
                        <a:schemeClr val="tx1"/>
                      </a:gs>
                    </a:gsLst>
                    <a:lin ang="5400000" scaled="0"/>
                  </a:gradFill>
                  <a:ea typeface="Segoe UI" pitchFamily="34" charset="0"/>
                  <a:cs typeface="Segoe UI" pitchFamily="34" charset="0"/>
                </a:rPr>
                <a:t>Private</a:t>
              </a:r>
            </a:p>
            <a:p>
              <a:pPr>
                <a:lnSpc>
                  <a:spcPct val="90000"/>
                </a:lnSpc>
              </a:pPr>
              <a:r>
                <a:rPr lang="en-US" sz="900" dirty="0">
                  <a:gradFill>
                    <a:gsLst>
                      <a:gs pos="0">
                        <a:schemeClr val="tx1"/>
                      </a:gs>
                      <a:gs pos="86000">
                        <a:schemeClr val="tx1"/>
                      </a:gs>
                    </a:gsLst>
                    <a:lin ang="5400000" scaled="0"/>
                  </a:gradFill>
                  <a:ea typeface="Segoe UI" pitchFamily="34" charset="0"/>
                  <a:cs typeface="Segoe UI" pitchFamily="34" charset="0"/>
                </a:rPr>
                <a:t>CLOUD: </a:t>
              </a:r>
              <a:br>
                <a:rPr lang="en-US" sz="900" dirty="0">
                  <a:gradFill>
                    <a:gsLst>
                      <a:gs pos="0">
                        <a:schemeClr val="tx1"/>
                      </a:gs>
                      <a:gs pos="86000">
                        <a:schemeClr val="tx1"/>
                      </a:gs>
                    </a:gsLst>
                    <a:lin ang="5400000" scaled="0"/>
                  </a:gradFill>
                  <a:ea typeface="Segoe UI" pitchFamily="34" charset="0"/>
                  <a:cs typeface="Segoe UI" pitchFamily="34" charset="0"/>
                </a:rPr>
              </a:br>
              <a:r>
                <a:rPr lang="en-US" sz="900" dirty="0">
                  <a:gradFill>
                    <a:gsLst>
                      <a:gs pos="0">
                        <a:schemeClr val="tx1"/>
                      </a:gs>
                      <a:gs pos="86000">
                        <a:schemeClr val="tx1"/>
                      </a:gs>
                    </a:gsLst>
                    <a:lin ang="5400000" scaled="0"/>
                  </a:gradFill>
                  <a:ea typeface="Segoe UI" pitchFamily="34" charset="0"/>
                  <a:cs typeface="Segoe UI" pitchFamily="34" charset="0"/>
                </a:rPr>
                <a:t>On-premises Cloud</a:t>
              </a:r>
              <a:endParaRPr lang="fi-FI" sz="900" dirty="0">
                <a:gradFill>
                  <a:gsLst>
                    <a:gs pos="0">
                      <a:schemeClr val="tx1"/>
                    </a:gs>
                    <a:gs pos="86000">
                      <a:schemeClr val="tx1"/>
                    </a:gs>
                  </a:gsLst>
                  <a:lin ang="5400000" scaled="0"/>
                </a:gradFill>
                <a:ea typeface="Segoe UI" pitchFamily="34" charset="0"/>
                <a:cs typeface="Segoe UI" pitchFamily="34" charset="0"/>
              </a:endParaRPr>
            </a:p>
          </p:txBody>
        </p:sp>
        <p:pic>
          <p:nvPicPr>
            <p:cNvPr id="24" name="Picture 2" descr="\\MAGNUM\Projects\Microsoft\Cloud Power FY12\Design\ICONS_PNG\Tower.png"/>
            <p:cNvPicPr>
              <a:picLocks noChangeAspect="1" noChangeArrowheads="1"/>
            </p:cNvPicPr>
            <p:nvPr/>
          </p:nvPicPr>
          <p:blipFill>
            <a:blip r:embed="rId3" cstate="print">
              <a:lum bright="100000" contrast="100000"/>
            </a:blip>
            <a:stretch>
              <a:fillRect/>
            </a:stretch>
          </p:blipFill>
          <p:spPr bwMode="auto">
            <a:xfrm>
              <a:off x="5423298" y="3274346"/>
              <a:ext cx="1785540" cy="1785075"/>
            </a:xfrm>
            <a:prstGeom prst="rect">
              <a:avLst/>
            </a:prstGeom>
            <a:noFill/>
          </p:spPr>
        </p:pic>
      </p:grpSp>
      <p:grpSp>
        <p:nvGrpSpPr>
          <p:cNvPr id="3" name="Group 2"/>
          <p:cNvGrpSpPr/>
          <p:nvPr/>
        </p:nvGrpSpPr>
        <p:grpSpPr>
          <a:xfrm>
            <a:off x="380972" y="1818856"/>
            <a:ext cx="2671371" cy="951554"/>
            <a:chOff x="343844" y="3338621"/>
            <a:chExt cx="4274193" cy="1522485"/>
          </a:xfrm>
        </p:grpSpPr>
        <p:sp>
          <p:nvSpPr>
            <p:cNvPr id="26" name="Rectangle 25"/>
            <p:cNvSpPr/>
            <p:nvPr/>
          </p:nvSpPr>
          <p:spPr bwMode="auto">
            <a:xfrm>
              <a:off x="503238" y="3381152"/>
              <a:ext cx="4114799" cy="143742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0" tIns="45720" rIns="457200" bIns="182880" numCol="1" spcCol="0" rtlCol="0" fromWordArt="0" anchor="ctr" anchorCtr="0" forceAA="0" compatLnSpc="1">
              <a:prstTxWarp prst="textNoShape">
                <a:avLst/>
              </a:prstTxWarp>
              <a:noAutofit/>
            </a:bodyPr>
            <a:lstStyle/>
            <a:p>
              <a:pPr>
                <a:lnSpc>
                  <a:spcPct val="90000"/>
                </a:lnSpc>
              </a:pPr>
              <a:r>
                <a:rPr lang="en-US" sz="1700" dirty="0">
                  <a:gradFill>
                    <a:gsLst>
                      <a:gs pos="0">
                        <a:schemeClr val="tx1"/>
                      </a:gs>
                      <a:gs pos="86000">
                        <a:schemeClr val="tx1"/>
                      </a:gs>
                    </a:gsLst>
                    <a:lin ang="5400000" scaled="0"/>
                  </a:gradFill>
                  <a:ea typeface="Segoe UI" pitchFamily="34" charset="0"/>
                  <a:cs typeface="Segoe UI" pitchFamily="34" charset="0"/>
                </a:rPr>
                <a:t>Traditional</a:t>
              </a:r>
            </a:p>
            <a:p>
              <a:r>
                <a:rPr lang="en-US" sz="900" dirty="0">
                  <a:gradFill>
                    <a:gsLst>
                      <a:gs pos="0">
                        <a:schemeClr val="tx1"/>
                      </a:gs>
                      <a:gs pos="86000">
                        <a:schemeClr val="tx1"/>
                      </a:gs>
                    </a:gsLst>
                    <a:lin ang="5400000" scaled="0"/>
                  </a:gradFill>
                  <a:ea typeface="Segoe UI" pitchFamily="34" charset="0"/>
                  <a:cs typeface="Segoe UI" pitchFamily="34" charset="0"/>
                </a:rPr>
                <a:t>NON-VIRTUALIZED</a:t>
              </a:r>
            </a:p>
          </p:txBody>
        </p:sp>
        <p:grpSp>
          <p:nvGrpSpPr>
            <p:cNvPr id="27" name="Group 26"/>
            <p:cNvGrpSpPr/>
            <p:nvPr/>
          </p:nvGrpSpPr>
          <p:grpSpPr>
            <a:xfrm>
              <a:off x="343844" y="3338621"/>
              <a:ext cx="1988110" cy="1522485"/>
              <a:chOff x="1880557" y="3286217"/>
              <a:chExt cx="2044071" cy="1565746"/>
            </a:xfrm>
          </p:grpSpPr>
          <p:pic>
            <p:nvPicPr>
              <p:cNvPr id="28" name="Picture 2" descr="\\MAGNUM\Projects\Microsoft\Cloud Power FY12\Design\Icons\PNGs\Server_2.png"/>
              <p:cNvPicPr>
                <a:picLocks noChangeAspect="1" noChangeArrowheads="1"/>
              </p:cNvPicPr>
              <p:nvPr/>
            </p:nvPicPr>
            <p:blipFill>
              <a:blip r:embed="rId4" cstate="print">
                <a:lum bright="100000"/>
              </a:blip>
              <a:srcRect/>
              <a:stretch>
                <a:fillRect/>
              </a:stretch>
            </p:blipFill>
            <p:spPr bwMode="auto">
              <a:xfrm>
                <a:off x="1880557" y="3476001"/>
                <a:ext cx="1175083" cy="1175083"/>
              </a:xfrm>
              <a:prstGeom prst="rect">
                <a:avLst/>
              </a:prstGeom>
              <a:noFill/>
            </p:spPr>
          </p:pic>
          <p:pic>
            <p:nvPicPr>
              <p:cNvPr id="29" name="Picture 2" descr="\\MAGNUM\Projects\Microsoft\Cloud Power FY12\Design\Icons\PNGs\Server_2.png"/>
              <p:cNvPicPr>
                <a:picLocks noChangeAspect="1" noChangeArrowheads="1"/>
              </p:cNvPicPr>
              <p:nvPr/>
            </p:nvPicPr>
            <p:blipFill>
              <a:blip r:embed="rId4" cstate="print">
                <a:lum bright="100000"/>
              </a:blip>
              <a:srcRect/>
              <a:stretch>
                <a:fillRect/>
              </a:stretch>
            </p:blipFill>
            <p:spPr bwMode="auto">
              <a:xfrm>
                <a:off x="2749545" y="3476001"/>
                <a:ext cx="1175083" cy="1175083"/>
              </a:xfrm>
              <a:prstGeom prst="rect">
                <a:avLst/>
              </a:prstGeom>
              <a:noFill/>
            </p:spPr>
          </p:pic>
          <p:pic>
            <p:nvPicPr>
              <p:cNvPr id="30" name="Picture 2" descr="\\MAGNUM\Projects\Microsoft\Cloud Power FY12\Design\Icons\PNGs\Server_2.png"/>
              <p:cNvPicPr>
                <a:picLocks noChangeAspect="1" noChangeArrowheads="1"/>
              </p:cNvPicPr>
              <p:nvPr/>
            </p:nvPicPr>
            <p:blipFill>
              <a:blip r:embed="rId4" cstate="print">
                <a:lum bright="100000"/>
              </a:blip>
              <a:srcRect/>
              <a:stretch>
                <a:fillRect/>
              </a:stretch>
            </p:blipFill>
            <p:spPr bwMode="auto">
              <a:xfrm>
                <a:off x="2183919" y="3286217"/>
                <a:ext cx="1565746" cy="1565746"/>
              </a:xfrm>
              <a:prstGeom prst="rect">
                <a:avLst/>
              </a:prstGeom>
              <a:noFill/>
            </p:spPr>
          </p:pic>
        </p:grpSp>
      </p:grpSp>
      <p:grpSp>
        <p:nvGrpSpPr>
          <p:cNvPr id="4" name="Group 3"/>
          <p:cNvGrpSpPr/>
          <p:nvPr/>
        </p:nvGrpSpPr>
        <p:grpSpPr>
          <a:xfrm>
            <a:off x="6090990" y="1845436"/>
            <a:ext cx="2571750" cy="974798"/>
            <a:chOff x="9717678" y="3381153"/>
            <a:chExt cx="4114800" cy="1559676"/>
          </a:xfrm>
        </p:grpSpPr>
        <p:sp>
          <p:nvSpPr>
            <p:cNvPr id="32" name="Rectangle 31"/>
            <p:cNvSpPr/>
            <p:nvPr/>
          </p:nvSpPr>
          <p:spPr bwMode="auto">
            <a:xfrm>
              <a:off x="9717678" y="3381153"/>
              <a:ext cx="4114800" cy="1437421"/>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03120" tIns="45720" rIns="457200" bIns="182880" numCol="1" spcCol="0" rtlCol="0" fromWordArt="0" anchor="b" anchorCtr="0" forceAA="0" compatLnSpc="1">
              <a:prstTxWarp prst="textNoShape">
                <a:avLst/>
              </a:prstTxWarp>
              <a:noAutofit/>
            </a:bodyPr>
            <a:lstStyle/>
            <a:p>
              <a:pPr>
                <a:lnSpc>
                  <a:spcPct val="90000"/>
                </a:lnSpc>
              </a:pPr>
              <a:r>
                <a:rPr lang="en-US" sz="1700" dirty="0">
                  <a:gradFill>
                    <a:gsLst>
                      <a:gs pos="0">
                        <a:schemeClr val="tx1"/>
                      </a:gs>
                      <a:gs pos="86000">
                        <a:schemeClr val="tx1"/>
                      </a:gs>
                    </a:gsLst>
                    <a:lin ang="5400000" scaled="0"/>
                  </a:gradFill>
                  <a:ea typeface="Segoe UI" pitchFamily="34" charset="0"/>
                  <a:cs typeface="Segoe UI" pitchFamily="34" charset="0"/>
                </a:rPr>
                <a:t>Public</a:t>
              </a:r>
            </a:p>
            <a:p>
              <a:pPr>
                <a:lnSpc>
                  <a:spcPct val="90000"/>
                </a:lnSpc>
              </a:pPr>
              <a:r>
                <a:rPr lang="en-US" sz="900" dirty="0">
                  <a:gradFill>
                    <a:gsLst>
                      <a:gs pos="0">
                        <a:schemeClr val="tx1"/>
                      </a:gs>
                      <a:gs pos="86000">
                        <a:schemeClr val="tx1"/>
                      </a:gs>
                    </a:gsLst>
                    <a:lin ang="5400000" scaled="0"/>
                  </a:gradFill>
                  <a:ea typeface="Segoe UI" pitchFamily="34" charset="0"/>
                  <a:cs typeface="Segoe UI" pitchFamily="34" charset="0"/>
                </a:rPr>
                <a:t>CLOUD: </a:t>
              </a:r>
              <a:br>
                <a:rPr lang="en-US" sz="900" dirty="0">
                  <a:gradFill>
                    <a:gsLst>
                      <a:gs pos="0">
                        <a:schemeClr val="tx1"/>
                      </a:gs>
                      <a:gs pos="86000">
                        <a:schemeClr val="tx1"/>
                      </a:gs>
                    </a:gsLst>
                    <a:lin ang="5400000" scaled="0"/>
                  </a:gradFill>
                  <a:ea typeface="Segoe UI" pitchFamily="34" charset="0"/>
                  <a:cs typeface="Segoe UI" pitchFamily="34" charset="0"/>
                </a:rPr>
              </a:br>
              <a:r>
                <a:rPr lang="en-US" sz="900" dirty="0">
                  <a:gradFill>
                    <a:gsLst>
                      <a:gs pos="0">
                        <a:schemeClr val="tx1"/>
                      </a:gs>
                      <a:gs pos="86000">
                        <a:schemeClr val="tx1"/>
                      </a:gs>
                    </a:gsLst>
                    <a:lin ang="5400000" scaled="0"/>
                  </a:gradFill>
                  <a:ea typeface="Segoe UI" pitchFamily="34" charset="0"/>
                  <a:cs typeface="Segoe UI" pitchFamily="34" charset="0"/>
                </a:rPr>
                <a:t>Off-premises Cloud</a:t>
              </a:r>
              <a:endParaRPr lang="fi-FI" sz="900" dirty="0">
                <a:gradFill>
                  <a:gsLst>
                    <a:gs pos="0">
                      <a:schemeClr val="tx1"/>
                    </a:gs>
                    <a:gs pos="86000">
                      <a:schemeClr val="tx1"/>
                    </a:gs>
                  </a:gsLst>
                  <a:lin ang="5400000" scaled="0"/>
                </a:gradFill>
                <a:ea typeface="Segoe UI" pitchFamily="34" charset="0"/>
                <a:cs typeface="Segoe UI" pitchFamily="34" charset="0"/>
              </a:endParaRPr>
            </a:p>
          </p:txBody>
        </p:sp>
        <p:pic>
          <p:nvPicPr>
            <p:cNvPr id="33" name="Picture 2" descr="\\MAGNUM\Projects\Microsoft\Cloud Power FY12\Design\Icons\PNGs\Cloud.png"/>
            <p:cNvPicPr>
              <a:picLocks noChangeAspect="1" noChangeArrowheads="1"/>
            </p:cNvPicPr>
            <p:nvPr/>
          </p:nvPicPr>
          <p:blipFill>
            <a:blip r:embed="rId5" cstate="screen">
              <a:lum bright="100000"/>
            </a:blip>
            <a:srcRect/>
            <a:stretch>
              <a:fillRect/>
            </a:stretch>
          </p:blipFill>
          <p:spPr bwMode="auto">
            <a:xfrm>
              <a:off x="9717678" y="3392936"/>
              <a:ext cx="1548295" cy="1547893"/>
            </a:xfrm>
            <a:prstGeom prst="rect">
              <a:avLst/>
            </a:prstGeom>
            <a:noFill/>
          </p:spPr>
        </p:pic>
      </p:grpSp>
      <p:sp>
        <p:nvSpPr>
          <p:cNvPr id="48" name="Presentation Title Rectangle"/>
          <p:cNvSpPr txBox="1">
            <a:spLocks/>
          </p:cNvSpPr>
          <p:nvPr/>
        </p:nvSpPr>
        <p:spPr>
          <a:xfrm>
            <a:off x="480595" y="2743825"/>
            <a:ext cx="2571750" cy="1252046"/>
          </a:xfrm>
          <a:prstGeom prst="rect">
            <a:avLst/>
          </a:prstGeom>
          <a:solidFill>
            <a:schemeClr val="accent2">
              <a:lumMod val="20000"/>
              <a:lumOff val="80000"/>
            </a:schemeClr>
          </a:solidFill>
          <a:effectLst/>
        </p:spPr>
        <p:txBody>
          <a:bodyPr lIns="136966" tIns="114148" rIns="102727" bIns="136966" anchor="t" anchorCtr="0">
            <a:noAutofit/>
          </a:bodyPr>
          <a:lstStyle>
            <a:lvl1pPr algn="l" defTabSz="914363"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tileRect/>
                </a:gradFill>
                <a:effectLst/>
                <a:latin typeface="+mj-lt"/>
                <a:ea typeface="+mn-ea"/>
                <a:cs typeface="Arial" charset="0"/>
              </a:defRPr>
            </a:lvl1pPr>
          </a:lstStyle>
          <a:p>
            <a:pPr defTabSz="684609" fontAlgn="base">
              <a:spcAft>
                <a:spcPct val="0"/>
              </a:spcAft>
              <a:defRPr/>
            </a:pPr>
            <a:r>
              <a:rPr sz="1200" b="0" kern="0" spc="-38" dirty="0">
                <a:gradFill>
                  <a:gsLst>
                    <a:gs pos="0">
                      <a:schemeClr val="bg1"/>
                    </a:gs>
                    <a:gs pos="100000">
                      <a:schemeClr val="bg1"/>
                    </a:gs>
                  </a:gsLst>
                  <a:lin ang="5400000" scaled="0"/>
                </a:gradFill>
                <a:latin typeface="Segoe UI" pitchFamily="34" charset="0"/>
                <a:ea typeface="Segoe UI" pitchFamily="34" charset="0"/>
                <a:cs typeface="Segoe UI" pitchFamily="34" charset="0"/>
              </a:rPr>
              <a:t>Non-virtualized</a:t>
            </a:r>
          </a:p>
          <a:p>
            <a:pPr defTabSz="684609" fontAlgn="base">
              <a:spcAft>
                <a:spcPct val="0"/>
              </a:spcAft>
              <a:defRPr/>
            </a:pPr>
            <a:r>
              <a:rPr sz="1200" b="0" kern="0" spc="-38" dirty="0">
                <a:gradFill>
                  <a:gsLst>
                    <a:gs pos="0">
                      <a:schemeClr val="bg1"/>
                    </a:gs>
                    <a:gs pos="100000">
                      <a:schemeClr val="bg1"/>
                    </a:gs>
                  </a:gsLst>
                  <a:lin ang="5400000" scaled="0"/>
                </a:gradFill>
                <a:latin typeface="Segoe UI" pitchFamily="34" charset="0"/>
                <a:ea typeface="Segoe UI" pitchFamily="34" charset="0"/>
                <a:cs typeface="Segoe UI" pitchFamily="34" charset="0"/>
              </a:rPr>
              <a:t>applications</a:t>
            </a:r>
          </a:p>
        </p:txBody>
      </p:sp>
      <p:sp>
        <p:nvSpPr>
          <p:cNvPr id="49" name="Presentation Title Rectangle"/>
          <p:cNvSpPr txBox="1">
            <a:spLocks/>
          </p:cNvSpPr>
          <p:nvPr/>
        </p:nvSpPr>
        <p:spPr>
          <a:xfrm>
            <a:off x="3284638" y="2743832"/>
            <a:ext cx="2571750" cy="1252045"/>
          </a:xfrm>
          <a:prstGeom prst="rect">
            <a:avLst/>
          </a:prstGeom>
          <a:solidFill>
            <a:schemeClr val="accent3">
              <a:lumMod val="20000"/>
              <a:lumOff val="80000"/>
            </a:schemeClr>
          </a:solidFill>
          <a:effectLst/>
        </p:spPr>
        <p:txBody>
          <a:bodyPr lIns="136966" tIns="114148" rIns="102727" bIns="136966" anchor="t" anchorCtr="0">
            <a:noAutofit/>
          </a:bodyPr>
          <a:lstStyle>
            <a:defPPr>
              <a:defRPr lang="en-US"/>
            </a:defPPr>
            <a:lvl1pPr>
              <a:lnSpc>
                <a:spcPct val="90000"/>
              </a:lnSpc>
              <a:spcBef>
                <a:spcPct val="0"/>
              </a:spcBef>
              <a:buNone/>
              <a:defRPr sz="1700" b="1" i="0" cap="none" spc="0" baseline="0">
                <a:ln w="3175">
                  <a:noFill/>
                </a:ln>
                <a:gradFill flip="none" rotWithShape="1">
                  <a:gsLst>
                    <a:gs pos="4583">
                      <a:srgbClr val="FFFFFF"/>
                    </a:gs>
                    <a:gs pos="100000">
                      <a:srgbClr val="FFFFFF"/>
                    </a:gs>
                  </a:gsLst>
                  <a:lin ang="5400000" scaled="0"/>
                  <a:tileRect/>
                </a:gradFill>
                <a:effectLst/>
                <a:latin typeface="+mj-lt"/>
                <a:cs typeface="Arial" charset="0"/>
              </a:defRPr>
            </a:lvl1pPr>
          </a:lstStyle>
          <a:p>
            <a:pPr defTabSz="684609" fontAlgn="base">
              <a:spcAft>
                <a:spcPct val="0"/>
              </a:spcAft>
              <a:defRPr/>
            </a:pPr>
            <a:r>
              <a:rPr lang="en-US" sz="1200" b="0" kern="0" spc="-38" dirty="0">
                <a:gradFill>
                  <a:gsLst>
                    <a:gs pos="0">
                      <a:schemeClr val="bg1"/>
                    </a:gs>
                    <a:gs pos="100000">
                      <a:schemeClr val="bg1"/>
                    </a:gs>
                  </a:gsLst>
                  <a:lin ang="5400000" scaled="0"/>
                </a:gradFill>
                <a:latin typeface="Segoe UI" pitchFamily="34" charset="0"/>
                <a:ea typeface="Segoe UI" pitchFamily="34" charset="0"/>
                <a:cs typeface="Segoe UI" pitchFamily="34" charset="0"/>
              </a:rPr>
              <a:t>Pooled (Virtualized)</a:t>
            </a:r>
          </a:p>
          <a:p>
            <a:pPr defTabSz="684609" fontAlgn="base">
              <a:spcAft>
                <a:spcPct val="0"/>
              </a:spcAft>
              <a:defRPr/>
            </a:pPr>
            <a:r>
              <a:rPr lang="en-US" sz="1200" b="0" kern="0" spc="-38" dirty="0">
                <a:gradFill>
                  <a:gsLst>
                    <a:gs pos="0">
                      <a:schemeClr val="bg1"/>
                    </a:gs>
                    <a:gs pos="100000">
                      <a:schemeClr val="bg1"/>
                    </a:gs>
                  </a:gsLst>
                  <a:lin ang="5400000" scaled="0"/>
                </a:gradFill>
                <a:latin typeface="Segoe UI" pitchFamily="34" charset="0"/>
                <a:ea typeface="Segoe UI" pitchFamily="34" charset="0"/>
                <a:cs typeface="Segoe UI" pitchFamily="34" charset="0"/>
              </a:rPr>
              <a:t> </a:t>
            </a:r>
          </a:p>
        </p:txBody>
      </p:sp>
      <p:sp>
        <p:nvSpPr>
          <p:cNvPr id="50" name="Presentation Title Rectangle"/>
          <p:cNvSpPr txBox="1">
            <a:spLocks/>
          </p:cNvSpPr>
          <p:nvPr/>
        </p:nvSpPr>
        <p:spPr>
          <a:xfrm>
            <a:off x="6090990" y="2743826"/>
            <a:ext cx="2571750" cy="1252047"/>
          </a:xfrm>
          <a:prstGeom prst="rect">
            <a:avLst/>
          </a:prstGeom>
          <a:solidFill>
            <a:schemeClr val="accent5">
              <a:lumMod val="20000"/>
              <a:lumOff val="80000"/>
            </a:schemeClr>
          </a:solidFill>
          <a:effectLst/>
        </p:spPr>
        <p:txBody>
          <a:bodyPr lIns="136966" tIns="114148" rIns="102727" bIns="136966" anchor="t" anchorCtr="0">
            <a:noAutofit/>
          </a:bodyPr>
          <a:lstStyle>
            <a:defPPr>
              <a:defRPr lang="en-US"/>
            </a:defPPr>
            <a:lvl1pPr marR="0" lvl="0" indent="0" defTabSz="914400" fontAlgn="auto">
              <a:lnSpc>
                <a:spcPct val="90000"/>
              </a:lnSpc>
              <a:spcBef>
                <a:spcPct val="0"/>
              </a:spcBef>
              <a:spcAft>
                <a:spcPts val="0"/>
              </a:spcAft>
              <a:buClrTx/>
              <a:buSzTx/>
              <a:buFontTx/>
              <a:buNone/>
              <a:tabLst/>
              <a:defRPr kumimoji="0" sz="2000" b="0" i="0" u="none" strike="noStrike" kern="0" cap="none" spc="0" normalizeH="0" baseline="0">
                <a:ln w="3175">
                  <a:noFill/>
                </a:ln>
                <a:gradFill flip="none" rotWithShape="1">
                  <a:gsLst>
                    <a:gs pos="4583">
                      <a:srgbClr val="FFFFFF"/>
                    </a:gs>
                    <a:gs pos="100000">
                      <a:srgbClr val="FFFFFF"/>
                    </a:gs>
                  </a:gsLst>
                  <a:lin ang="5400000" scaled="0"/>
                  <a:tileRect/>
                </a:gradFill>
                <a:effectLst/>
                <a:uLnTx/>
                <a:uFillTx/>
                <a:latin typeface="Segoe"/>
                <a:cs typeface="Arial" charset="0"/>
              </a:defRPr>
            </a:lvl1pPr>
          </a:lstStyle>
          <a:p>
            <a:pPr defTabSz="684609" fontAlgn="base">
              <a:spcAft>
                <a:spcPct val="0"/>
              </a:spcAft>
              <a:defRPr/>
            </a:pPr>
            <a:r>
              <a:rPr lang="en-US" sz="1200" spc="-38" dirty="0">
                <a:gradFill>
                  <a:gsLst>
                    <a:gs pos="0">
                      <a:schemeClr val="bg1"/>
                    </a:gs>
                    <a:gs pos="100000">
                      <a:schemeClr val="bg1"/>
                    </a:gs>
                  </a:gsLst>
                  <a:lin ang="5400000" scaled="0"/>
                </a:gradFill>
                <a:latin typeface="Segoe UI" pitchFamily="34" charset="0"/>
                <a:ea typeface="Segoe UI" pitchFamily="34" charset="0"/>
                <a:cs typeface="Segoe UI" pitchFamily="34" charset="0"/>
              </a:rPr>
              <a:t>IT as a Service</a:t>
            </a:r>
          </a:p>
        </p:txBody>
      </p:sp>
      <p:sp>
        <p:nvSpPr>
          <p:cNvPr id="47" name="MASK"/>
          <p:cNvSpPr/>
          <p:nvPr/>
        </p:nvSpPr>
        <p:spPr>
          <a:xfrm>
            <a:off x="382908" y="3974695"/>
            <a:ext cx="8380109" cy="11688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293" tIns="45646" rIns="91293" bIns="45646" rtlCol="0" anchor="ctr"/>
          <a:lstStyle/>
          <a:p>
            <a:pPr algn="ctr"/>
            <a:endParaRPr lang="en-US" dirty="0">
              <a:solidFill>
                <a:srgbClr val="F2F2F2">
                  <a:lumMod val="50000"/>
                </a:srgbClr>
              </a:solidFill>
            </a:endParaRPr>
          </a:p>
        </p:txBody>
      </p:sp>
      <p:sp>
        <p:nvSpPr>
          <p:cNvPr id="51" name="Rectangle 50"/>
          <p:cNvSpPr/>
          <p:nvPr/>
        </p:nvSpPr>
        <p:spPr bwMode="auto">
          <a:xfrm>
            <a:off x="480594" y="4190297"/>
            <a:ext cx="8182146" cy="600989"/>
          </a:xfrm>
          <a:prstGeom prst="rect">
            <a:avLst/>
          </a:prstGeom>
          <a:solidFill>
            <a:schemeClr val="accent1"/>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484" tIns="34244" rIns="34244" bIns="68484" numCol="1" spcCol="0" rtlCol="0" fromWordArt="0" anchor="ctr" anchorCtr="0" forceAA="0" compatLnSpc="1">
            <a:prstTxWarp prst="textNoShape">
              <a:avLst/>
            </a:prstTxWarp>
            <a:noAutofit/>
          </a:bodyPr>
          <a:lstStyle/>
          <a:p>
            <a:pPr algn="ctr">
              <a:lnSpc>
                <a:spcPct val="95000"/>
              </a:lnSpc>
            </a:pPr>
            <a:r>
              <a:rPr lang="en-US" sz="2500" dirty="0">
                <a:gradFill>
                  <a:gsLst>
                    <a:gs pos="0">
                      <a:schemeClr val="tx1"/>
                    </a:gs>
                    <a:gs pos="100000">
                      <a:schemeClr val="tx1"/>
                    </a:gs>
                  </a:gsLst>
                  <a:lin ang="5400000" scaled="0"/>
                </a:gradFill>
                <a:ea typeface="Segoe UI" pitchFamily="34" charset="0"/>
                <a:cs typeface="Segoe UI" pitchFamily="34" charset="0"/>
              </a:rPr>
              <a:t>Hybrid Application</a:t>
            </a:r>
          </a:p>
          <a:p>
            <a:pPr algn="ctr">
              <a:lnSpc>
                <a:spcPct val="95000"/>
              </a:lnSpc>
            </a:pPr>
            <a:r>
              <a:rPr lang="en-US" sz="1500" dirty="0">
                <a:gradFill>
                  <a:gsLst>
                    <a:gs pos="0">
                      <a:schemeClr val="tx1"/>
                    </a:gs>
                    <a:gs pos="100000">
                      <a:schemeClr val="tx1"/>
                    </a:gs>
                  </a:gsLst>
                  <a:lin ang="5400000" scaled="0"/>
                </a:gradFill>
                <a:ea typeface="Segoe UI" pitchFamily="34" charset="0"/>
                <a:cs typeface="Segoe UI" pitchFamily="34" charset="0"/>
              </a:rPr>
              <a:t>Portions of applications and data on-premises and off-premises</a:t>
            </a:r>
          </a:p>
        </p:txBody>
      </p:sp>
      <p:sp>
        <p:nvSpPr>
          <p:cNvPr id="22"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5"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6"/>
              </a:rPr>
              <a:t>www.rapidbbs.cn</a:t>
            </a:r>
            <a:endParaRPr lang="zh-CN" altLang="en-US" sz="1200" b="0">
              <a:latin typeface="Arial" charset="0"/>
              <a:ea typeface="ＭＳ Ｐゴシック" pitchFamily="34" charset="-128"/>
            </a:endParaRPr>
          </a:p>
        </p:txBody>
      </p:sp>
      <p:pic>
        <p:nvPicPr>
          <p:cNvPr id="31" name="Picture 2">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554370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22" presetClass="entr" presetSubtype="4" fill="hold" grpId="0" nodeType="withEffect">
                                  <p:stCondLst>
                                    <p:cond delay="0"/>
                                  </p:stCondLst>
                                  <p:childTnLst>
                                    <p:set>
                                      <p:cBhvr>
                                        <p:cTn id="14" dur="1" fill="hold">
                                          <p:stCondLst>
                                            <p:cond delay="0"/>
                                          </p:stCondLst>
                                        </p:cTn>
                                        <p:tgtEl>
                                          <p:spTgt spid="48"/>
                                        </p:tgtEl>
                                        <p:attrNameLst>
                                          <p:attrName>style.visibility</p:attrName>
                                        </p:attrNameLst>
                                      </p:cBhvr>
                                      <p:to>
                                        <p:strVal val="visible"/>
                                      </p:to>
                                    </p:set>
                                    <p:animEffect transition="in" filter="wipe(down)">
                                      <p:cBhvr>
                                        <p:cTn id="15" dur="500"/>
                                        <p:tgtEl>
                                          <p:spTgt spid="48"/>
                                        </p:tgtEl>
                                      </p:cBhvr>
                                    </p:animEffect>
                                  </p:childTnLst>
                                </p:cTn>
                              </p:par>
                            </p:childTnLst>
                          </p:cTn>
                        </p:par>
                        <p:par>
                          <p:cTn id="16" fill="hold">
                            <p:stCondLst>
                              <p:cond delay="500"/>
                            </p:stCondLst>
                            <p:childTnLst>
                              <p:par>
                                <p:cTn id="17" presetID="10" presetClass="entr" presetSubtype="0" fill="hold"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22" presetClass="entr" presetSubtype="4" fill="hold" grpId="0" nodeType="with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wipe(down)">
                                      <p:cBhvr>
                                        <p:cTn id="22" dur="500"/>
                                        <p:tgtEl>
                                          <p:spTgt spid="49"/>
                                        </p:tgtEl>
                                      </p:cBhvr>
                                    </p:animEffect>
                                  </p:childTnLst>
                                </p:cTn>
                              </p:par>
                            </p:childTnLst>
                          </p:cTn>
                        </p:par>
                        <p:par>
                          <p:cTn id="23" fill="hold">
                            <p:stCondLst>
                              <p:cond delay="1000"/>
                            </p:stCondLst>
                            <p:childTnLst>
                              <p:par>
                                <p:cTn id="24" presetID="10" presetClass="entr" presetSubtype="0" fill="hold" nodeType="afterEffect">
                                  <p:stCondLst>
                                    <p:cond delay="0"/>
                                  </p:stCondLst>
                                  <p:childTnLst>
                                    <p:set>
                                      <p:cBhvr>
                                        <p:cTn id="25" dur="1" fill="hold">
                                          <p:stCondLst>
                                            <p:cond delay="0"/>
                                          </p:stCondLst>
                                        </p:cTn>
                                        <p:tgtEl>
                                          <p:spTgt spid="4"/>
                                        </p:tgtEl>
                                        <p:attrNameLst>
                                          <p:attrName>style.visibility</p:attrName>
                                        </p:attrNameLst>
                                      </p:cBhvr>
                                      <p:to>
                                        <p:strVal val="visible"/>
                                      </p:to>
                                    </p:set>
                                    <p:animEffect transition="in" filter="fade">
                                      <p:cBhvr>
                                        <p:cTn id="26" dur="500"/>
                                        <p:tgtEl>
                                          <p:spTgt spid="4"/>
                                        </p:tgtEl>
                                      </p:cBhvr>
                                    </p:animEffect>
                                  </p:childTnLst>
                                </p:cTn>
                              </p:par>
                              <p:par>
                                <p:cTn id="27" presetID="22" presetClass="entr" presetSubtype="4" fill="hold" grpId="0" nodeType="withEffect">
                                  <p:stCondLst>
                                    <p:cond delay="0"/>
                                  </p:stCondLst>
                                  <p:childTnLst>
                                    <p:set>
                                      <p:cBhvr>
                                        <p:cTn id="28" dur="1" fill="hold">
                                          <p:stCondLst>
                                            <p:cond delay="0"/>
                                          </p:stCondLst>
                                        </p:cTn>
                                        <p:tgtEl>
                                          <p:spTgt spid="50"/>
                                        </p:tgtEl>
                                        <p:attrNameLst>
                                          <p:attrName>style.visibility</p:attrName>
                                        </p:attrNameLst>
                                      </p:cBhvr>
                                      <p:to>
                                        <p:strVal val="visible"/>
                                      </p:to>
                                    </p:set>
                                    <p:animEffect transition="in" filter="wipe(down)">
                                      <p:cBhvr>
                                        <p:cTn id="29" dur="500"/>
                                        <p:tgtEl>
                                          <p:spTgt spid="50"/>
                                        </p:tgtEl>
                                      </p:cBhvr>
                                    </p:animEffect>
                                  </p:childTnLst>
                                </p:cTn>
                              </p:par>
                            </p:childTnLst>
                          </p:cTn>
                        </p:par>
                        <p:par>
                          <p:cTn id="30" fill="hold">
                            <p:stCondLst>
                              <p:cond delay="1500"/>
                            </p:stCondLst>
                            <p:childTnLst>
                              <p:par>
                                <p:cTn id="31" presetID="16" presetClass="entr" presetSubtype="37" fill="hold" grpId="0" nodeType="afterEffect">
                                  <p:stCondLst>
                                    <p:cond delay="0"/>
                                  </p:stCondLst>
                                  <p:childTnLst>
                                    <p:set>
                                      <p:cBhvr>
                                        <p:cTn id="32" dur="1" fill="hold">
                                          <p:stCondLst>
                                            <p:cond delay="0"/>
                                          </p:stCondLst>
                                        </p:cTn>
                                        <p:tgtEl>
                                          <p:spTgt spid="51"/>
                                        </p:tgtEl>
                                        <p:attrNameLst>
                                          <p:attrName>style.visibility</p:attrName>
                                        </p:attrNameLst>
                                      </p:cBhvr>
                                      <p:to>
                                        <p:strVal val="visible"/>
                                      </p:to>
                                    </p:set>
                                    <p:animEffect transition="in" filter="barn(outVertical)">
                                      <p:cBhvr>
                                        <p:cTn id="33" dur="5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48" grpId="0" animBg="1"/>
      <p:bldP spid="49" grpId="0" animBg="1"/>
      <p:bldP spid="50" grpId="0" animBg="1"/>
      <p:bldP spid="51" grpId="0" animBg="1"/>
    </p:bldLst>
  </p:timing>
</p:sld>
</file>

<file path=ppt/slides/slide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258556752"/>
              </p:ext>
            </p:extLst>
          </p:nvPr>
        </p:nvGraphicFramePr>
        <p:xfrm>
          <a:off x="1191" y="1192"/>
          <a:ext cx="1191" cy="1190"/>
        </p:xfrm>
        <a:graphic>
          <a:graphicData uri="http://schemas.openxmlformats.org/presentationml/2006/ole">
            <mc:AlternateContent xmlns:mc="http://schemas.openxmlformats.org/markup-compatibility/2006">
              <mc:Choice xmlns:v="urn:schemas-microsoft-com:vml" Requires="v">
                <p:oleObj spid="_x0000_s24583"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191" y="1192"/>
                        <a:ext cx="1191" cy="1190"/>
                      </a:xfrm>
                      <a:prstGeom prst="rect">
                        <a:avLst/>
                      </a:prstGeom>
                    </p:spPr>
                  </p:pic>
                </p:oleObj>
              </mc:Fallback>
            </mc:AlternateContent>
          </a:graphicData>
        </a:graphic>
      </p:graphicFrame>
      <p:sp>
        <p:nvSpPr>
          <p:cNvPr id="8" name="Rectangle 7"/>
          <p:cNvSpPr/>
          <p:nvPr>
            <p:custDataLst>
              <p:tags r:id="rId3"/>
            </p:custDataLst>
          </p:nvPr>
        </p:nvSpPr>
        <p:spPr bwMode="auto">
          <a:xfrm rot="10800000" flipH="1" flipV="1">
            <a:off x="1" y="1543049"/>
            <a:ext cx="2762127" cy="2057400"/>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9" name="Rectangle 8"/>
          <p:cNvSpPr/>
          <p:nvPr>
            <p:custDataLst>
              <p:tags r:id="rId4"/>
            </p:custDataLst>
          </p:nvPr>
        </p:nvSpPr>
        <p:spPr bwMode="auto">
          <a:xfrm rot="10800000" flipH="1" flipV="1">
            <a:off x="4615876" y="1543049"/>
            <a:ext cx="4528124" cy="205740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0" name="Title 2"/>
          <p:cNvSpPr txBox="1">
            <a:spLocks/>
          </p:cNvSpPr>
          <p:nvPr>
            <p:custDataLst>
              <p:tags r:id="rId5"/>
            </p:custDataLst>
          </p:nvPr>
        </p:nvSpPr>
        <p:spPr>
          <a:xfrm>
            <a:off x="4780066" y="1771649"/>
            <a:ext cx="4199744" cy="1600200"/>
          </a:xfrm>
          <a:prstGeom prst="rect">
            <a:avLst/>
          </a:prstGeom>
        </p:spPr>
        <p:txBody>
          <a:bodyPr vert="horz" wrap="square" lIns="137172" tIns="34294" rIns="137172" bIns="34294" rtlCol="0" anchor="ctr" anchorCtr="0">
            <a:noAutofit/>
          </a:bodyPr>
          <a:lst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sz="2400" dirty="0">
                <a:solidFill>
                  <a:schemeClr val="tx1">
                    <a:alpha val="99000"/>
                  </a:schemeClr>
                </a:solidFill>
                <a:latin typeface="Segoe UI Light" pitchFamily="34" charset="0"/>
                <a:cs typeface="Segoe UI"/>
              </a:rPr>
              <a:t>Is a great OS for </a:t>
            </a:r>
            <a:r>
              <a:rPr lang="en-US" sz="2400" b="1" dirty="0">
                <a:solidFill>
                  <a:schemeClr val="accent4">
                    <a:alpha val="99000"/>
                  </a:schemeClr>
                </a:solidFill>
                <a:latin typeface="Segoe UI Light" pitchFamily="34" charset="0"/>
                <a:cs typeface="Segoe UI"/>
              </a:rPr>
              <a:t>lots of servers </a:t>
            </a:r>
            <a:r>
              <a:rPr lang="en-US" sz="2400" dirty="0">
                <a:solidFill>
                  <a:schemeClr val="tx1">
                    <a:alpha val="99000"/>
                  </a:schemeClr>
                </a:solidFill>
                <a:latin typeface="Segoe UI Light" pitchFamily="34" charset="0"/>
                <a:cs typeface="Segoe UI"/>
              </a:rPr>
              <a:t>and the </a:t>
            </a:r>
            <a:r>
              <a:rPr lang="en-US" sz="2400" b="1" dirty="0">
                <a:solidFill>
                  <a:schemeClr val="tx1">
                    <a:alpha val="99000"/>
                  </a:schemeClr>
                </a:solidFill>
                <a:latin typeface="Segoe UI Light" pitchFamily="34" charset="0"/>
                <a:cs typeface="Segoe UI"/>
              </a:rPr>
              <a:t>devices </a:t>
            </a:r>
            <a:r>
              <a:rPr lang="en-US" sz="2400" b="1" dirty="0">
                <a:solidFill>
                  <a:schemeClr val="accent4">
                    <a:alpha val="99000"/>
                  </a:schemeClr>
                </a:solidFill>
                <a:latin typeface="Segoe UI Light" pitchFamily="34" charset="0"/>
                <a:cs typeface="Segoe UI"/>
              </a:rPr>
              <a:t>connecting </a:t>
            </a:r>
            <a:r>
              <a:rPr lang="en-US" sz="2400" dirty="0">
                <a:solidFill>
                  <a:schemeClr val="tx1">
                    <a:alpha val="99000"/>
                  </a:schemeClr>
                </a:solidFill>
                <a:latin typeface="Segoe UI Light" pitchFamily="34" charset="0"/>
                <a:cs typeface="Segoe UI"/>
              </a:rPr>
              <a:t>them whether they are </a:t>
            </a:r>
            <a:r>
              <a:rPr lang="en-US" sz="2400" b="1" dirty="0">
                <a:solidFill>
                  <a:schemeClr val="accent4">
                    <a:alpha val="99000"/>
                  </a:schemeClr>
                </a:solidFill>
                <a:latin typeface="Segoe UI Light" pitchFamily="34" charset="0"/>
                <a:cs typeface="Segoe UI"/>
              </a:rPr>
              <a:t>physical </a:t>
            </a:r>
            <a:r>
              <a:rPr lang="en-US" sz="2400" dirty="0">
                <a:solidFill>
                  <a:schemeClr val="tx1">
                    <a:alpha val="99000"/>
                  </a:schemeClr>
                </a:solidFill>
                <a:latin typeface="Segoe UI Light" pitchFamily="34" charset="0"/>
                <a:cs typeface="Segoe UI"/>
              </a:rPr>
              <a:t>or </a:t>
            </a:r>
            <a:r>
              <a:rPr lang="en-US" sz="2400" b="1" dirty="0">
                <a:solidFill>
                  <a:schemeClr val="accent4">
                    <a:alpha val="99000"/>
                  </a:schemeClr>
                </a:solidFill>
                <a:latin typeface="Segoe UI Light" pitchFamily="34" charset="0"/>
                <a:cs typeface="Segoe UI"/>
              </a:rPr>
              <a:t>virtual</a:t>
            </a:r>
            <a:r>
              <a:rPr lang="en-US" sz="2400" dirty="0">
                <a:solidFill>
                  <a:schemeClr val="tx1">
                    <a:alpha val="99000"/>
                  </a:schemeClr>
                </a:solidFill>
                <a:latin typeface="Segoe UI Light" pitchFamily="34" charset="0"/>
                <a:cs typeface="Segoe UI"/>
              </a:rPr>
              <a:t> whether they are </a:t>
            </a:r>
            <a:r>
              <a:rPr lang="en-US" sz="2400" b="1" dirty="0">
                <a:solidFill>
                  <a:schemeClr val="accent4">
                    <a:alpha val="99000"/>
                  </a:schemeClr>
                </a:solidFill>
                <a:latin typeface="Segoe UI Light" pitchFamily="34" charset="0"/>
                <a:cs typeface="Segoe UI"/>
              </a:rPr>
              <a:t>on-premise</a:t>
            </a:r>
            <a:r>
              <a:rPr lang="en-US" sz="2400" dirty="0">
                <a:solidFill>
                  <a:schemeClr val="tx1">
                    <a:alpha val="99000"/>
                  </a:schemeClr>
                </a:solidFill>
                <a:latin typeface="Segoe UI Light" pitchFamily="34" charset="0"/>
                <a:cs typeface="Segoe UI"/>
              </a:rPr>
              <a:t> or </a:t>
            </a:r>
            <a:r>
              <a:rPr lang="en-US" sz="2400" b="1" dirty="0">
                <a:solidFill>
                  <a:schemeClr val="accent4">
                    <a:alpha val="99000"/>
                  </a:schemeClr>
                </a:solidFill>
                <a:latin typeface="Segoe UI Light" pitchFamily="34" charset="0"/>
                <a:cs typeface="Segoe UI"/>
              </a:rPr>
              <a:t>off</a:t>
            </a:r>
          </a:p>
        </p:txBody>
      </p:sp>
      <p:sp>
        <p:nvSpPr>
          <p:cNvPr id="11" name="Rectangle 10"/>
          <p:cNvSpPr/>
          <p:nvPr/>
        </p:nvSpPr>
        <p:spPr bwMode="auto">
          <a:xfrm rot="10800000" flipH="1" flipV="1">
            <a:off x="2889718" y="1543049"/>
            <a:ext cx="1598568" cy="205740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3" name="Title 2"/>
          <p:cNvSpPr txBox="1">
            <a:spLocks/>
          </p:cNvSpPr>
          <p:nvPr>
            <p:custDataLst>
              <p:tags r:id="rId6"/>
            </p:custDataLst>
          </p:nvPr>
        </p:nvSpPr>
        <p:spPr>
          <a:xfrm>
            <a:off x="165714" y="2000249"/>
            <a:ext cx="2430699" cy="1143000"/>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pPr algn="r">
              <a:lnSpc>
                <a:spcPct val="100000"/>
              </a:lnSpc>
            </a:pPr>
            <a:r>
              <a:rPr lang="en-US" sz="2400" dirty="0">
                <a:solidFill>
                  <a:schemeClr val="tx1">
                    <a:alpha val="99000"/>
                  </a:schemeClr>
                </a:solidFill>
                <a:latin typeface="Segoe UI Light" pitchFamily="34" charset="0"/>
                <a:cs typeface="Segoe UI"/>
              </a:rPr>
              <a:t>Windows </a:t>
            </a:r>
            <a:br>
              <a:rPr lang="en-US" sz="2400" dirty="0">
                <a:solidFill>
                  <a:schemeClr val="tx1">
                    <a:alpha val="99000"/>
                  </a:schemeClr>
                </a:solidFill>
                <a:latin typeface="Segoe UI Light" pitchFamily="34" charset="0"/>
                <a:cs typeface="Segoe UI"/>
              </a:rPr>
            </a:br>
            <a:r>
              <a:rPr lang="en-US" sz="2400" dirty="0">
                <a:solidFill>
                  <a:schemeClr val="tx1">
                    <a:alpha val="99000"/>
                  </a:schemeClr>
                </a:solidFill>
                <a:latin typeface="Segoe UI Light" pitchFamily="34" charset="0"/>
                <a:cs typeface="Segoe UI"/>
              </a:rPr>
              <a:t>Server 8</a:t>
            </a:r>
          </a:p>
        </p:txBody>
      </p:sp>
      <p:sp>
        <p:nvSpPr>
          <p:cNvPr id="14" name="Freeform 134"/>
          <p:cNvSpPr>
            <a:spLocks noEditPoints="1"/>
          </p:cNvSpPr>
          <p:nvPr/>
        </p:nvSpPr>
        <p:spPr bwMode="black">
          <a:xfrm>
            <a:off x="3190617" y="2032951"/>
            <a:ext cx="996770" cy="1077599"/>
          </a:xfrm>
          <a:custGeom>
            <a:avLst/>
            <a:gdLst>
              <a:gd name="T0" fmla="*/ 333 w 666"/>
              <a:gd name="T1" fmla="*/ 125 h 720"/>
              <a:gd name="T2" fmla="*/ 126 w 666"/>
              <a:gd name="T3" fmla="*/ 90 h 720"/>
              <a:gd name="T4" fmla="*/ 56 w 666"/>
              <a:gd name="T5" fmla="*/ 502 h 720"/>
              <a:gd name="T6" fmla="*/ 324 w 666"/>
              <a:gd name="T7" fmla="*/ 720 h 720"/>
              <a:gd name="T8" fmla="*/ 402 w 666"/>
              <a:gd name="T9" fmla="*/ 352 h 720"/>
              <a:gd name="T10" fmla="*/ 476 w 666"/>
              <a:gd name="T11" fmla="*/ 315 h 720"/>
              <a:gd name="T12" fmla="*/ 462 w 666"/>
              <a:gd name="T13" fmla="*/ 318 h 720"/>
              <a:gd name="T14" fmla="*/ 548 w 666"/>
              <a:gd name="T15" fmla="*/ 205 h 720"/>
              <a:gd name="T16" fmla="*/ 403 w 666"/>
              <a:gd name="T17" fmla="*/ 241 h 720"/>
              <a:gd name="T18" fmla="*/ 328 w 666"/>
              <a:gd name="T19" fmla="*/ 215 h 720"/>
              <a:gd name="T20" fmla="*/ 314 w 666"/>
              <a:gd name="T21" fmla="*/ 381 h 720"/>
              <a:gd name="T22" fmla="*/ 325 w 666"/>
              <a:gd name="T23" fmla="*/ 377 h 720"/>
              <a:gd name="T24" fmla="*/ 285 w 666"/>
              <a:gd name="T25" fmla="*/ 474 h 720"/>
              <a:gd name="T26" fmla="*/ 285 w 666"/>
              <a:gd name="T27" fmla="*/ 474 h 720"/>
              <a:gd name="T28" fmla="*/ 228 w 666"/>
              <a:gd name="T29" fmla="*/ 414 h 720"/>
              <a:gd name="T30" fmla="*/ 229 w 666"/>
              <a:gd name="T31" fmla="*/ 593 h 720"/>
              <a:gd name="T32" fmla="*/ 221 w 666"/>
              <a:gd name="T33" fmla="*/ 521 h 720"/>
              <a:gd name="T34" fmla="*/ 234 w 666"/>
              <a:gd name="T35" fmla="*/ 278 h 720"/>
              <a:gd name="T36" fmla="*/ 297 w 666"/>
              <a:gd name="T37" fmla="*/ 135 h 720"/>
              <a:gd name="T38" fmla="*/ 268 w 666"/>
              <a:gd name="T39" fmla="*/ 314 h 720"/>
              <a:gd name="T40" fmla="*/ 280 w 666"/>
              <a:gd name="T41" fmla="*/ 377 h 720"/>
              <a:gd name="T42" fmla="*/ 288 w 666"/>
              <a:gd name="T43" fmla="*/ 374 h 720"/>
              <a:gd name="T44" fmla="*/ 289 w 666"/>
              <a:gd name="T45" fmla="*/ 300 h 720"/>
              <a:gd name="T46" fmla="*/ 409 w 666"/>
              <a:gd name="T47" fmla="*/ 156 h 720"/>
              <a:gd name="T48" fmla="*/ 317 w 666"/>
              <a:gd name="T49" fmla="*/ 123 h 720"/>
              <a:gd name="T50" fmla="*/ 275 w 666"/>
              <a:gd name="T51" fmla="*/ 5 h 720"/>
              <a:gd name="T52" fmla="*/ 171 w 666"/>
              <a:gd name="T53" fmla="*/ 54 h 720"/>
              <a:gd name="T54" fmla="*/ 226 w 666"/>
              <a:gd name="T55" fmla="*/ 108 h 720"/>
              <a:gd name="T56" fmla="*/ 166 w 666"/>
              <a:gd name="T57" fmla="*/ 57 h 720"/>
              <a:gd name="T58" fmla="*/ 150 w 666"/>
              <a:gd name="T59" fmla="*/ 102 h 720"/>
              <a:gd name="T60" fmla="*/ 203 w 666"/>
              <a:gd name="T61" fmla="*/ 117 h 720"/>
              <a:gd name="T62" fmla="*/ 227 w 666"/>
              <a:gd name="T63" fmla="*/ 309 h 720"/>
              <a:gd name="T64" fmla="*/ 188 w 666"/>
              <a:gd name="T65" fmla="*/ 383 h 720"/>
              <a:gd name="T66" fmla="*/ 144 w 666"/>
              <a:gd name="T67" fmla="*/ 453 h 720"/>
              <a:gd name="T68" fmla="*/ 144 w 666"/>
              <a:gd name="T69" fmla="*/ 453 h 720"/>
              <a:gd name="T70" fmla="*/ 125 w 666"/>
              <a:gd name="T71" fmla="*/ 463 h 720"/>
              <a:gd name="T72" fmla="*/ 27 w 666"/>
              <a:gd name="T73" fmla="*/ 564 h 720"/>
              <a:gd name="T74" fmla="*/ 71 w 666"/>
              <a:gd name="T75" fmla="*/ 639 h 720"/>
              <a:gd name="T76" fmla="*/ 169 w 666"/>
              <a:gd name="T77" fmla="*/ 571 h 720"/>
              <a:gd name="T78" fmla="*/ 171 w 666"/>
              <a:gd name="T79" fmla="*/ 687 h 720"/>
              <a:gd name="T80" fmla="*/ 171 w 666"/>
              <a:gd name="T81" fmla="*/ 687 h 720"/>
              <a:gd name="T82" fmla="*/ 353 w 666"/>
              <a:gd name="T83" fmla="*/ 644 h 720"/>
              <a:gd name="T84" fmla="*/ 179 w 666"/>
              <a:gd name="T85" fmla="*/ 689 h 720"/>
              <a:gd name="T86" fmla="*/ 381 w 666"/>
              <a:gd name="T87" fmla="*/ 546 h 720"/>
              <a:gd name="T88" fmla="*/ 381 w 666"/>
              <a:gd name="T89" fmla="*/ 546 h 720"/>
              <a:gd name="T90" fmla="*/ 384 w 666"/>
              <a:gd name="T91" fmla="*/ 530 h 720"/>
              <a:gd name="T92" fmla="*/ 393 w 666"/>
              <a:gd name="T93" fmla="*/ 432 h 720"/>
              <a:gd name="T94" fmla="*/ 451 w 666"/>
              <a:gd name="T95" fmla="*/ 321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66" h="720">
                <a:moveTo>
                  <a:pt x="666" y="290"/>
                </a:moveTo>
                <a:cubicBezTo>
                  <a:pt x="663" y="286"/>
                  <a:pt x="663" y="286"/>
                  <a:pt x="663" y="286"/>
                </a:cubicBezTo>
                <a:cubicBezTo>
                  <a:pt x="624" y="224"/>
                  <a:pt x="564" y="167"/>
                  <a:pt x="384" y="134"/>
                </a:cubicBezTo>
                <a:cubicBezTo>
                  <a:pt x="369" y="131"/>
                  <a:pt x="353" y="128"/>
                  <a:pt x="333" y="125"/>
                </a:cubicBezTo>
                <a:cubicBezTo>
                  <a:pt x="306" y="78"/>
                  <a:pt x="286" y="36"/>
                  <a:pt x="278" y="0"/>
                </a:cubicBezTo>
                <a:cubicBezTo>
                  <a:pt x="257" y="6"/>
                  <a:pt x="145" y="45"/>
                  <a:pt x="123" y="74"/>
                </a:cubicBezTo>
                <a:cubicBezTo>
                  <a:pt x="123" y="73"/>
                  <a:pt x="123" y="73"/>
                  <a:pt x="123" y="73"/>
                </a:cubicBezTo>
                <a:cubicBezTo>
                  <a:pt x="118" y="80"/>
                  <a:pt x="122" y="86"/>
                  <a:pt x="126" y="90"/>
                </a:cubicBezTo>
                <a:cubicBezTo>
                  <a:pt x="166" y="137"/>
                  <a:pt x="225" y="164"/>
                  <a:pt x="225" y="259"/>
                </a:cubicBezTo>
                <a:cubicBezTo>
                  <a:pt x="225" y="346"/>
                  <a:pt x="147" y="427"/>
                  <a:pt x="68" y="492"/>
                </a:cubicBezTo>
                <a:cubicBezTo>
                  <a:pt x="64" y="495"/>
                  <a:pt x="60" y="498"/>
                  <a:pt x="56" y="502"/>
                </a:cubicBezTo>
                <a:cubicBezTo>
                  <a:pt x="56" y="502"/>
                  <a:pt x="56" y="502"/>
                  <a:pt x="56" y="502"/>
                </a:cubicBezTo>
                <a:cubicBezTo>
                  <a:pt x="36" y="519"/>
                  <a:pt x="14" y="545"/>
                  <a:pt x="8" y="569"/>
                </a:cubicBezTo>
                <a:cubicBezTo>
                  <a:pt x="0" y="604"/>
                  <a:pt x="27" y="632"/>
                  <a:pt x="55" y="652"/>
                </a:cubicBezTo>
                <a:cubicBezTo>
                  <a:pt x="86" y="674"/>
                  <a:pt x="119" y="685"/>
                  <a:pt x="156" y="696"/>
                </a:cubicBezTo>
                <a:cubicBezTo>
                  <a:pt x="198" y="708"/>
                  <a:pt x="281" y="719"/>
                  <a:pt x="324" y="720"/>
                </a:cubicBezTo>
                <a:cubicBezTo>
                  <a:pt x="327" y="720"/>
                  <a:pt x="331" y="719"/>
                  <a:pt x="331" y="719"/>
                </a:cubicBezTo>
                <a:cubicBezTo>
                  <a:pt x="331" y="719"/>
                  <a:pt x="333" y="716"/>
                  <a:pt x="333" y="715"/>
                </a:cubicBezTo>
                <a:cubicBezTo>
                  <a:pt x="337" y="709"/>
                  <a:pt x="386" y="616"/>
                  <a:pt x="400" y="538"/>
                </a:cubicBezTo>
                <a:cubicBezTo>
                  <a:pt x="408" y="487"/>
                  <a:pt x="415" y="418"/>
                  <a:pt x="402" y="352"/>
                </a:cubicBezTo>
                <a:cubicBezTo>
                  <a:pt x="492" y="325"/>
                  <a:pt x="596" y="300"/>
                  <a:pt x="666" y="290"/>
                </a:cubicBezTo>
                <a:close/>
                <a:moveTo>
                  <a:pt x="650" y="282"/>
                </a:moveTo>
                <a:cubicBezTo>
                  <a:pt x="651" y="283"/>
                  <a:pt x="653" y="284"/>
                  <a:pt x="655" y="285"/>
                </a:cubicBezTo>
                <a:cubicBezTo>
                  <a:pt x="633" y="287"/>
                  <a:pt x="570" y="291"/>
                  <a:pt x="476" y="315"/>
                </a:cubicBezTo>
                <a:cubicBezTo>
                  <a:pt x="515" y="278"/>
                  <a:pt x="535" y="255"/>
                  <a:pt x="556" y="207"/>
                </a:cubicBezTo>
                <a:cubicBezTo>
                  <a:pt x="602" y="232"/>
                  <a:pt x="634" y="263"/>
                  <a:pt x="650" y="282"/>
                </a:cubicBezTo>
                <a:close/>
                <a:moveTo>
                  <a:pt x="462" y="318"/>
                </a:moveTo>
                <a:cubicBezTo>
                  <a:pt x="462" y="318"/>
                  <a:pt x="462" y="318"/>
                  <a:pt x="462" y="318"/>
                </a:cubicBezTo>
                <a:cubicBezTo>
                  <a:pt x="462" y="318"/>
                  <a:pt x="462" y="318"/>
                  <a:pt x="462" y="318"/>
                </a:cubicBezTo>
                <a:cubicBezTo>
                  <a:pt x="462" y="318"/>
                  <a:pt x="462" y="318"/>
                  <a:pt x="462" y="318"/>
                </a:cubicBezTo>
                <a:cubicBezTo>
                  <a:pt x="446" y="293"/>
                  <a:pt x="427" y="273"/>
                  <a:pt x="405" y="257"/>
                </a:cubicBezTo>
                <a:cubicBezTo>
                  <a:pt x="448" y="237"/>
                  <a:pt x="496" y="220"/>
                  <a:pt x="548" y="205"/>
                </a:cubicBezTo>
                <a:cubicBezTo>
                  <a:pt x="531" y="234"/>
                  <a:pt x="504" y="265"/>
                  <a:pt x="462" y="318"/>
                </a:cubicBezTo>
                <a:close/>
                <a:moveTo>
                  <a:pt x="509" y="186"/>
                </a:moveTo>
                <a:cubicBezTo>
                  <a:pt x="520" y="190"/>
                  <a:pt x="530" y="194"/>
                  <a:pt x="540" y="199"/>
                </a:cubicBezTo>
                <a:cubicBezTo>
                  <a:pt x="489" y="210"/>
                  <a:pt x="444" y="225"/>
                  <a:pt x="403" y="241"/>
                </a:cubicBezTo>
                <a:cubicBezTo>
                  <a:pt x="419" y="211"/>
                  <a:pt x="426" y="183"/>
                  <a:pt x="427" y="160"/>
                </a:cubicBezTo>
                <a:cubicBezTo>
                  <a:pt x="455" y="167"/>
                  <a:pt x="482" y="175"/>
                  <a:pt x="509" y="186"/>
                </a:cubicBezTo>
                <a:close/>
                <a:moveTo>
                  <a:pt x="385" y="243"/>
                </a:moveTo>
                <a:cubicBezTo>
                  <a:pt x="367" y="232"/>
                  <a:pt x="347" y="223"/>
                  <a:pt x="328" y="215"/>
                </a:cubicBezTo>
                <a:cubicBezTo>
                  <a:pt x="354" y="196"/>
                  <a:pt x="385" y="177"/>
                  <a:pt x="420" y="159"/>
                </a:cubicBezTo>
                <a:cubicBezTo>
                  <a:pt x="418" y="179"/>
                  <a:pt x="407" y="207"/>
                  <a:pt x="385" y="243"/>
                </a:cubicBezTo>
                <a:close/>
                <a:moveTo>
                  <a:pt x="312" y="382"/>
                </a:moveTo>
                <a:cubicBezTo>
                  <a:pt x="312" y="382"/>
                  <a:pt x="313" y="381"/>
                  <a:pt x="314" y="381"/>
                </a:cubicBezTo>
                <a:cubicBezTo>
                  <a:pt x="333" y="394"/>
                  <a:pt x="376" y="419"/>
                  <a:pt x="392" y="425"/>
                </a:cubicBezTo>
                <a:cubicBezTo>
                  <a:pt x="371" y="440"/>
                  <a:pt x="341" y="457"/>
                  <a:pt x="299" y="475"/>
                </a:cubicBezTo>
                <a:cubicBezTo>
                  <a:pt x="310" y="435"/>
                  <a:pt x="313" y="402"/>
                  <a:pt x="312" y="382"/>
                </a:cubicBezTo>
                <a:close/>
                <a:moveTo>
                  <a:pt x="325" y="377"/>
                </a:moveTo>
                <a:cubicBezTo>
                  <a:pt x="344" y="371"/>
                  <a:pt x="365" y="364"/>
                  <a:pt x="387" y="357"/>
                </a:cubicBezTo>
                <a:cubicBezTo>
                  <a:pt x="390" y="378"/>
                  <a:pt x="392" y="400"/>
                  <a:pt x="392" y="420"/>
                </a:cubicBezTo>
                <a:cubicBezTo>
                  <a:pt x="374" y="410"/>
                  <a:pt x="341" y="389"/>
                  <a:pt x="325" y="377"/>
                </a:cubicBezTo>
                <a:close/>
                <a:moveTo>
                  <a:pt x="285" y="474"/>
                </a:moveTo>
                <a:cubicBezTo>
                  <a:pt x="265" y="457"/>
                  <a:pt x="246" y="433"/>
                  <a:pt x="239" y="410"/>
                </a:cubicBezTo>
                <a:cubicBezTo>
                  <a:pt x="253" y="404"/>
                  <a:pt x="268" y="398"/>
                  <a:pt x="283" y="392"/>
                </a:cubicBezTo>
                <a:cubicBezTo>
                  <a:pt x="288" y="390"/>
                  <a:pt x="293" y="389"/>
                  <a:pt x="298" y="387"/>
                </a:cubicBezTo>
                <a:cubicBezTo>
                  <a:pt x="301" y="414"/>
                  <a:pt x="295" y="444"/>
                  <a:pt x="285" y="474"/>
                </a:cubicBezTo>
                <a:close/>
                <a:moveTo>
                  <a:pt x="209" y="509"/>
                </a:moveTo>
                <a:cubicBezTo>
                  <a:pt x="199" y="512"/>
                  <a:pt x="187" y="516"/>
                  <a:pt x="173" y="521"/>
                </a:cubicBezTo>
                <a:cubicBezTo>
                  <a:pt x="185" y="503"/>
                  <a:pt x="212" y="452"/>
                  <a:pt x="224" y="416"/>
                </a:cubicBezTo>
                <a:cubicBezTo>
                  <a:pt x="225" y="415"/>
                  <a:pt x="227" y="415"/>
                  <a:pt x="228" y="414"/>
                </a:cubicBezTo>
                <a:cubicBezTo>
                  <a:pt x="238" y="445"/>
                  <a:pt x="262" y="470"/>
                  <a:pt x="279" y="484"/>
                </a:cubicBezTo>
                <a:cubicBezTo>
                  <a:pt x="258" y="492"/>
                  <a:pt x="235" y="500"/>
                  <a:pt x="209" y="509"/>
                </a:cubicBezTo>
                <a:close/>
                <a:moveTo>
                  <a:pt x="276" y="499"/>
                </a:moveTo>
                <a:cubicBezTo>
                  <a:pt x="263" y="532"/>
                  <a:pt x="246" y="565"/>
                  <a:pt x="229" y="593"/>
                </a:cubicBezTo>
                <a:cubicBezTo>
                  <a:pt x="229" y="594"/>
                  <a:pt x="229" y="594"/>
                  <a:pt x="229" y="594"/>
                </a:cubicBezTo>
                <a:cubicBezTo>
                  <a:pt x="220" y="589"/>
                  <a:pt x="212" y="584"/>
                  <a:pt x="205" y="578"/>
                </a:cubicBezTo>
                <a:cubicBezTo>
                  <a:pt x="189" y="567"/>
                  <a:pt x="174" y="553"/>
                  <a:pt x="163" y="538"/>
                </a:cubicBezTo>
                <a:cubicBezTo>
                  <a:pt x="183" y="533"/>
                  <a:pt x="202" y="527"/>
                  <a:pt x="221" y="521"/>
                </a:cubicBezTo>
                <a:cubicBezTo>
                  <a:pt x="241" y="514"/>
                  <a:pt x="259" y="507"/>
                  <a:pt x="276" y="499"/>
                </a:cubicBezTo>
                <a:close/>
                <a:moveTo>
                  <a:pt x="231" y="205"/>
                </a:moveTo>
                <a:cubicBezTo>
                  <a:pt x="249" y="208"/>
                  <a:pt x="270" y="215"/>
                  <a:pt x="294" y="224"/>
                </a:cubicBezTo>
                <a:cubicBezTo>
                  <a:pt x="276" y="238"/>
                  <a:pt x="256" y="256"/>
                  <a:pt x="234" y="278"/>
                </a:cubicBezTo>
                <a:cubicBezTo>
                  <a:pt x="237" y="252"/>
                  <a:pt x="235" y="228"/>
                  <a:pt x="231" y="205"/>
                </a:cubicBezTo>
                <a:close/>
                <a:moveTo>
                  <a:pt x="236" y="187"/>
                </a:moveTo>
                <a:cubicBezTo>
                  <a:pt x="251" y="170"/>
                  <a:pt x="272" y="153"/>
                  <a:pt x="297" y="135"/>
                </a:cubicBezTo>
                <a:cubicBezTo>
                  <a:pt x="297" y="135"/>
                  <a:pt x="297" y="135"/>
                  <a:pt x="297" y="135"/>
                </a:cubicBezTo>
                <a:cubicBezTo>
                  <a:pt x="305" y="158"/>
                  <a:pt x="307" y="182"/>
                  <a:pt x="305" y="207"/>
                </a:cubicBezTo>
                <a:cubicBezTo>
                  <a:pt x="282" y="199"/>
                  <a:pt x="258" y="193"/>
                  <a:pt x="236" y="187"/>
                </a:cubicBezTo>
                <a:close/>
                <a:moveTo>
                  <a:pt x="301" y="235"/>
                </a:moveTo>
                <a:cubicBezTo>
                  <a:pt x="295" y="261"/>
                  <a:pt x="284" y="288"/>
                  <a:pt x="268" y="314"/>
                </a:cubicBezTo>
                <a:cubicBezTo>
                  <a:pt x="257" y="301"/>
                  <a:pt x="245" y="294"/>
                  <a:pt x="236" y="290"/>
                </a:cubicBezTo>
                <a:cubicBezTo>
                  <a:pt x="248" y="279"/>
                  <a:pt x="270" y="259"/>
                  <a:pt x="301" y="235"/>
                </a:cubicBezTo>
                <a:close/>
                <a:moveTo>
                  <a:pt x="264" y="338"/>
                </a:moveTo>
                <a:cubicBezTo>
                  <a:pt x="274" y="351"/>
                  <a:pt x="279" y="365"/>
                  <a:pt x="280" y="377"/>
                </a:cubicBezTo>
                <a:cubicBezTo>
                  <a:pt x="237" y="393"/>
                  <a:pt x="203" y="407"/>
                  <a:pt x="170" y="424"/>
                </a:cubicBezTo>
                <a:cubicBezTo>
                  <a:pt x="210" y="396"/>
                  <a:pt x="241" y="367"/>
                  <a:pt x="264" y="338"/>
                </a:cubicBezTo>
                <a:close/>
                <a:moveTo>
                  <a:pt x="288" y="374"/>
                </a:moveTo>
                <a:cubicBezTo>
                  <a:pt x="288" y="374"/>
                  <a:pt x="288" y="374"/>
                  <a:pt x="288" y="374"/>
                </a:cubicBezTo>
                <a:cubicBezTo>
                  <a:pt x="288" y="353"/>
                  <a:pt x="283" y="337"/>
                  <a:pt x="275" y="325"/>
                </a:cubicBezTo>
                <a:cubicBezTo>
                  <a:pt x="301" y="309"/>
                  <a:pt x="331" y="292"/>
                  <a:pt x="365" y="276"/>
                </a:cubicBezTo>
                <a:cubicBezTo>
                  <a:pt x="345" y="305"/>
                  <a:pt x="319" y="338"/>
                  <a:pt x="288" y="374"/>
                </a:cubicBezTo>
                <a:close/>
                <a:moveTo>
                  <a:pt x="289" y="300"/>
                </a:moveTo>
                <a:cubicBezTo>
                  <a:pt x="302" y="277"/>
                  <a:pt x="311" y="254"/>
                  <a:pt x="315" y="232"/>
                </a:cubicBezTo>
                <a:cubicBezTo>
                  <a:pt x="332" y="240"/>
                  <a:pt x="349" y="248"/>
                  <a:pt x="366" y="258"/>
                </a:cubicBezTo>
                <a:cubicBezTo>
                  <a:pt x="338" y="272"/>
                  <a:pt x="312" y="286"/>
                  <a:pt x="289" y="300"/>
                </a:cubicBezTo>
                <a:close/>
                <a:moveTo>
                  <a:pt x="409" y="156"/>
                </a:moveTo>
                <a:cubicBezTo>
                  <a:pt x="376" y="170"/>
                  <a:pt x="348" y="184"/>
                  <a:pt x="318" y="205"/>
                </a:cubicBezTo>
                <a:cubicBezTo>
                  <a:pt x="319" y="180"/>
                  <a:pt x="314" y="156"/>
                  <a:pt x="304" y="136"/>
                </a:cubicBezTo>
                <a:cubicBezTo>
                  <a:pt x="339" y="142"/>
                  <a:pt x="374" y="148"/>
                  <a:pt x="409" y="156"/>
                </a:cubicBezTo>
                <a:close/>
                <a:moveTo>
                  <a:pt x="317" y="123"/>
                </a:moveTo>
                <a:cubicBezTo>
                  <a:pt x="299" y="120"/>
                  <a:pt x="278" y="117"/>
                  <a:pt x="254" y="113"/>
                </a:cubicBezTo>
                <a:cubicBezTo>
                  <a:pt x="271" y="104"/>
                  <a:pt x="283" y="95"/>
                  <a:pt x="296" y="83"/>
                </a:cubicBezTo>
                <a:cubicBezTo>
                  <a:pt x="302" y="96"/>
                  <a:pt x="309" y="109"/>
                  <a:pt x="317" y="123"/>
                </a:cubicBezTo>
                <a:close/>
                <a:moveTo>
                  <a:pt x="275" y="5"/>
                </a:moveTo>
                <a:cubicBezTo>
                  <a:pt x="277" y="27"/>
                  <a:pt x="282" y="48"/>
                  <a:pt x="291" y="69"/>
                </a:cubicBezTo>
                <a:cubicBezTo>
                  <a:pt x="264" y="62"/>
                  <a:pt x="200" y="53"/>
                  <a:pt x="178" y="50"/>
                </a:cubicBezTo>
                <a:cubicBezTo>
                  <a:pt x="216" y="27"/>
                  <a:pt x="269" y="8"/>
                  <a:pt x="275" y="5"/>
                </a:cubicBezTo>
                <a:close/>
                <a:moveTo>
                  <a:pt x="171" y="54"/>
                </a:moveTo>
                <a:cubicBezTo>
                  <a:pt x="191" y="62"/>
                  <a:pt x="259" y="76"/>
                  <a:pt x="294" y="78"/>
                </a:cubicBezTo>
                <a:cubicBezTo>
                  <a:pt x="294" y="78"/>
                  <a:pt x="294" y="78"/>
                  <a:pt x="294" y="78"/>
                </a:cubicBezTo>
                <a:cubicBezTo>
                  <a:pt x="282" y="84"/>
                  <a:pt x="261" y="95"/>
                  <a:pt x="237" y="110"/>
                </a:cubicBezTo>
                <a:cubicBezTo>
                  <a:pt x="234" y="109"/>
                  <a:pt x="230" y="109"/>
                  <a:pt x="226" y="108"/>
                </a:cubicBezTo>
                <a:cubicBezTo>
                  <a:pt x="210" y="93"/>
                  <a:pt x="180" y="63"/>
                  <a:pt x="171" y="55"/>
                </a:cubicBezTo>
                <a:cubicBezTo>
                  <a:pt x="171" y="55"/>
                  <a:pt x="171" y="54"/>
                  <a:pt x="171" y="54"/>
                </a:cubicBezTo>
                <a:close/>
                <a:moveTo>
                  <a:pt x="155" y="66"/>
                </a:moveTo>
                <a:cubicBezTo>
                  <a:pt x="158" y="63"/>
                  <a:pt x="162" y="60"/>
                  <a:pt x="166" y="57"/>
                </a:cubicBezTo>
                <a:cubicBezTo>
                  <a:pt x="174" y="67"/>
                  <a:pt x="191" y="89"/>
                  <a:pt x="204" y="104"/>
                </a:cubicBezTo>
                <a:cubicBezTo>
                  <a:pt x="184" y="101"/>
                  <a:pt x="157" y="96"/>
                  <a:pt x="140" y="89"/>
                </a:cubicBezTo>
                <a:cubicBezTo>
                  <a:pt x="140" y="80"/>
                  <a:pt x="149" y="71"/>
                  <a:pt x="155" y="66"/>
                </a:cubicBezTo>
                <a:close/>
                <a:moveTo>
                  <a:pt x="150" y="102"/>
                </a:moveTo>
                <a:cubicBezTo>
                  <a:pt x="162" y="107"/>
                  <a:pt x="179" y="111"/>
                  <a:pt x="196" y="115"/>
                </a:cubicBezTo>
                <a:cubicBezTo>
                  <a:pt x="203" y="137"/>
                  <a:pt x="209" y="157"/>
                  <a:pt x="214" y="175"/>
                </a:cubicBezTo>
                <a:cubicBezTo>
                  <a:pt x="199" y="147"/>
                  <a:pt x="177" y="123"/>
                  <a:pt x="150" y="102"/>
                </a:cubicBezTo>
                <a:close/>
                <a:moveTo>
                  <a:pt x="203" y="117"/>
                </a:moveTo>
                <a:cubicBezTo>
                  <a:pt x="235" y="124"/>
                  <a:pt x="269" y="130"/>
                  <a:pt x="288" y="133"/>
                </a:cubicBezTo>
                <a:cubicBezTo>
                  <a:pt x="274" y="141"/>
                  <a:pt x="241" y="160"/>
                  <a:pt x="226" y="180"/>
                </a:cubicBezTo>
                <a:cubicBezTo>
                  <a:pt x="218" y="150"/>
                  <a:pt x="208" y="128"/>
                  <a:pt x="203" y="117"/>
                </a:cubicBezTo>
                <a:close/>
                <a:moveTo>
                  <a:pt x="227" y="309"/>
                </a:moveTo>
                <a:cubicBezTo>
                  <a:pt x="237" y="314"/>
                  <a:pt x="245" y="319"/>
                  <a:pt x="252" y="325"/>
                </a:cubicBezTo>
                <a:cubicBezTo>
                  <a:pt x="233" y="339"/>
                  <a:pt x="216" y="352"/>
                  <a:pt x="201" y="364"/>
                </a:cubicBezTo>
                <a:cubicBezTo>
                  <a:pt x="213" y="346"/>
                  <a:pt x="222" y="328"/>
                  <a:pt x="227" y="309"/>
                </a:cubicBezTo>
                <a:close/>
                <a:moveTo>
                  <a:pt x="188" y="383"/>
                </a:moveTo>
                <a:cubicBezTo>
                  <a:pt x="202" y="372"/>
                  <a:pt x="222" y="358"/>
                  <a:pt x="247" y="342"/>
                </a:cubicBezTo>
                <a:cubicBezTo>
                  <a:pt x="223" y="372"/>
                  <a:pt x="191" y="400"/>
                  <a:pt x="152" y="424"/>
                </a:cubicBezTo>
                <a:cubicBezTo>
                  <a:pt x="166" y="410"/>
                  <a:pt x="178" y="397"/>
                  <a:pt x="188" y="383"/>
                </a:cubicBezTo>
                <a:close/>
                <a:moveTo>
                  <a:pt x="144" y="453"/>
                </a:moveTo>
                <a:cubicBezTo>
                  <a:pt x="166" y="442"/>
                  <a:pt x="186" y="432"/>
                  <a:pt x="207" y="423"/>
                </a:cubicBezTo>
                <a:cubicBezTo>
                  <a:pt x="189" y="463"/>
                  <a:pt x="164" y="502"/>
                  <a:pt x="154" y="519"/>
                </a:cubicBezTo>
                <a:cubicBezTo>
                  <a:pt x="153" y="520"/>
                  <a:pt x="152" y="521"/>
                  <a:pt x="152" y="522"/>
                </a:cubicBezTo>
                <a:cubicBezTo>
                  <a:pt x="141" y="501"/>
                  <a:pt x="137" y="478"/>
                  <a:pt x="144" y="453"/>
                </a:cubicBezTo>
                <a:close/>
                <a:moveTo>
                  <a:pt x="27" y="560"/>
                </a:moveTo>
                <a:cubicBezTo>
                  <a:pt x="33" y="533"/>
                  <a:pt x="60" y="500"/>
                  <a:pt x="90" y="482"/>
                </a:cubicBezTo>
                <a:cubicBezTo>
                  <a:pt x="90" y="482"/>
                  <a:pt x="90" y="482"/>
                  <a:pt x="90" y="482"/>
                </a:cubicBezTo>
                <a:cubicBezTo>
                  <a:pt x="102" y="475"/>
                  <a:pt x="114" y="469"/>
                  <a:pt x="125" y="463"/>
                </a:cubicBezTo>
                <a:cubicBezTo>
                  <a:pt x="125" y="464"/>
                  <a:pt x="125" y="465"/>
                  <a:pt x="124" y="467"/>
                </a:cubicBezTo>
                <a:cubicBezTo>
                  <a:pt x="123" y="474"/>
                  <a:pt x="122" y="480"/>
                  <a:pt x="122" y="487"/>
                </a:cubicBezTo>
                <a:cubicBezTo>
                  <a:pt x="123" y="503"/>
                  <a:pt x="128" y="518"/>
                  <a:pt x="137" y="532"/>
                </a:cubicBezTo>
                <a:cubicBezTo>
                  <a:pt x="103" y="543"/>
                  <a:pt x="64" y="554"/>
                  <a:pt x="27" y="564"/>
                </a:cubicBezTo>
                <a:cubicBezTo>
                  <a:pt x="27" y="563"/>
                  <a:pt x="27" y="561"/>
                  <a:pt x="27" y="560"/>
                </a:cubicBezTo>
                <a:close/>
                <a:moveTo>
                  <a:pt x="27" y="571"/>
                </a:moveTo>
                <a:cubicBezTo>
                  <a:pt x="62" y="562"/>
                  <a:pt x="100" y="554"/>
                  <a:pt x="136" y="545"/>
                </a:cubicBezTo>
                <a:cubicBezTo>
                  <a:pt x="109" y="586"/>
                  <a:pt x="85" y="616"/>
                  <a:pt x="71" y="639"/>
                </a:cubicBezTo>
                <a:cubicBezTo>
                  <a:pt x="51" y="623"/>
                  <a:pt x="28" y="597"/>
                  <a:pt x="27" y="571"/>
                </a:cubicBezTo>
                <a:close/>
                <a:moveTo>
                  <a:pt x="76" y="643"/>
                </a:moveTo>
                <a:cubicBezTo>
                  <a:pt x="98" y="610"/>
                  <a:pt x="125" y="580"/>
                  <a:pt x="150" y="550"/>
                </a:cubicBezTo>
                <a:cubicBezTo>
                  <a:pt x="156" y="558"/>
                  <a:pt x="162" y="565"/>
                  <a:pt x="169" y="571"/>
                </a:cubicBezTo>
                <a:cubicBezTo>
                  <a:pt x="182" y="583"/>
                  <a:pt x="196" y="592"/>
                  <a:pt x="211" y="600"/>
                </a:cubicBezTo>
                <a:cubicBezTo>
                  <a:pt x="168" y="616"/>
                  <a:pt x="123" y="632"/>
                  <a:pt x="81" y="646"/>
                </a:cubicBezTo>
                <a:cubicBezTo>
                  <a:pt x="79" y="645"/>
                  <a:pt x="78" y="644"/>
                  <a:pt x="76" y="643"/>
                </a:cubicBezTo>
                <a:close/>
                <a:moveTo>
                  <a:pt x="171" y="687"/>
                </a:moveTo>
                <a:cubicBezTo>
                  <a:pt x="169" y="687"/>
                  <a:pt x="166" y="686"/>
                  <a:pt x="164" y="685"/>
                </a:cubicBezTo>
                <a:cubicBezTo>
                  <a:pt x="126" y="673"/>
                  <a:pt x="109" y="665"/>
                  <a:pt x="86" y="650"/>
                </a:cubicBezTo>
                <a:cubicBezTo>
                  <a:pt x="104" y="645"/>
                  <a:pt x="180" y="625"/>
                  <a:pt x="218" y="613"/>
                </a:cubicBezTo>
                <a:cubicBezTo>
                  <a:pt x="197" y="647"/>
                  <a:pt x="178" y="674"/>
                  <a:pt x="171" y="687"/>
                </a:cubicBezTo>
                <a:cubicBezTo>
                  <a:pt x="171" y="687"/>
                  <a:pt x="171" y="687"/>
                  <a:pt x="171" y="687"/>
                </a:cubicBezTo>
                <a:close/>
                <a:moveTo>
                  <a:pt x="327" y="715"/>
                </a:moveTo>
                <a:cubicBezTo>
                  <a:pt x="297" y="711"/>
                  <a:pt x="236" y="702"/>
                  <a:pt x="196" y="693"/>
                </a:cubicBezTo>
                <a:cubicBezTo>
                  <a:pt x="252" y="680"/>
                  <a:pt x="289" y="674"/>
                  <a:pt x="353" y="644"/>
                </a:cubicBezTo>
                <a:cubicBezTo>
                  <a:pt x="342" y="675"/>
                  <a:pt x="332" y="703"/>
                  <a:pt x="327" y="715"/>
                </a:cubicBezTo>
                <a:close/>
                <a:moveTo>
                  <a:pt x="185" y="690"/>
                </a:moveTo>
                <a:cubicBezTo>
                  <a:pt x="185" y="690"/>
                  <a:pt x="185" y="691"/>
                  <a:pt x="184" y="691"/>
                </a:cubicBezTo>
                <a:cubicBezTo>
                  <a:pt x="182" y="690"/>
                  <a:pt x="181" y="690"/>
                  <a:pt x="179" y="689"/>
                </a:cubicBezTo>
                <a:cubicBezTo>
                  <a:pt x="201" y="663"/>
                  <a:pt x="220" y="637"/>
                  <a:pt x="236" y="612"/>
                </a:cubicBezTo>
                <a:cubicBezTo>
                  <a:pt x="291" y="635"/>
                  <a:pt x="346" y="639"/>
                  <a:pt x="353" y="640"/>
                </a:cubicBezTo>
                <a:cubicBezTo>
                  <a:pt x="327" y="650"/>
                  <a:pt x="192" y="688"/>
                  <a:pt x="185" y="690"/>
                </a:cubicBezTo>
                <a:close/>
                <a:moveTo>
                  <a:pt x="381" y="546"/>
                </a:moveTo>
                <a:cubicBezTo>
                  <a:pt x="376" y="568"/>
                  <a:pt x="366" y="603"/>
                  <a:pt x="355" y="636"/>
                </a:cubicBezTo>
                <a:cubicBezTo>
                  <a:pt x="319" y="630"/>
                  <a:pt x="280" y="619"/>
                  <a:pt x="245" y="602"/>
                </a:cubicBezTo>
                <a:cubicBezTo>
                  <a:pt x="283" y="586"/>
                  <a:pt x="361" y="551"/>
                  <a:pt x="383" y="536"/>
                </a:cubicBezTo>
                <a:cubicBezTo>
                  <a:pt x="383" y="540"/>
                  <a:pt x="382" y="543"/>
                  <a:pt x="381" y="546"/>
                </a:cubicBezTo>
                <a:close/>
                <a:moveTo>
                  <a:pt x="384" y="530"/>
                </a:moveTo>
                <a:cubicBezTo>
                  <a:pt x="362" y="544"/>
                  <a:pt x="287" y="572"/>
                  <a:pt x="252" y="585"/>
                </a:cubicBezTo>
                <a:cubicBezTo>
                  <a:pt x="271" y="552"/>
                  <a:pt x="284" y="521"/>
                  <a:pt x="293" y="494"/>
                </a:cubicBezTo>
                <a:cubicBezTo>
                  <a:pt x="332" y="517"/>
                  <a:pt x="372" y="527"/>
                  <a:pt x="384" y="530"/>
                </a:cubicBezTo>
                <a:cubicBezTo>
                  <a:pt x="384" y="530"/>
                  <a:pt x="384" y="530"/>
                  <a:pt x="384" y="530"/>
                </a:cubicBezTo>
                <a:close/>
                <a:moveTo>
                  <a:pt x="385" y="526"/>
                </a:moveTo>
                <a:cubicBezTo>
                  <a:pt x="355" y="518"/>
                  <a:pt x="327" y="503"/>
                  <a:pt x="302" y="487"/>
                </a:cubicBezTo>
                <a:cubicBezTo>
                  <a:pt x="355" y="461"/>
                  <a:pt x="389" y="436"/>
                  <a:pt x="393" y="432"/>
                </a:cubicBezTo>
                <a:cubicBezTo>
                  <a:pt x="393" y="466"/>
                  <a:pt x="390" y="499"/>
                  <a:pt x="385" y="526"/>
                </a:cubicBezTo>
                <a:close/>
                <a:moveTo>
                  <a:pt x="300" y="369"/>
                </a:moveTo>
                <a:cubicBezTo>
                  <a:pt x="339" y="335"/>
                  <a:pt x="367" y="301"/>
                  <a:pt x="387" y="270"/>
                </a:cubicBezTo>
                <a:cubicBezTo>
                  <a:pt x="410" y="285"/>
                  <a:pt x="432" y="302"/>
                  <a:pt x="451" y="321"/>
                </a:cubicBezTo>
                <a:cubicBezTo>
                  <a:pt x="407" y="333"/>
                  <a:pt x="356" y="348"/>
                  <a:pt x="300" y="3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6" tIns="34294" rIns="68586" bIns="34294" numCol="1" anchor="t" anchorCtr="0" compatLnSpc="1">
            <a:prstTxWarp prst="textNoShape">
              <a:avLst/>
            </a:prstTxWarp>
          </a:bodyPr>
          <a:lstStyle/>
          <a:p>
            <a:endParaRPr lang="en-US"/>
          </a:p>
        </p:txBody>
      </p:sp>
      <p:sp>
        <p:nvSpPr>
          <p:cNvPr id="12"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5"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1"/>
              </a:rPr>
              <a:t>www.rapidbbs.cn</a:t>
            </a:r>
            <a:endParaRPr lang="zh-CN" altLang="en-US" sz="1200" b="0">
              <a:latin typeface="Arial" charset="0"/>
              <a:ea typeface="ＭＳ Ｐゴシック" pitchFamily="34" charset="-128"/>
            </a:endParaRPr>
          </a:p>
        </p:txBody>
      </p:sp>
      <p:pic>
        <p:nvPicPr>
          <p:cNvPr id="16" name="Picture 2">
            <a:hlinkClick r:id="rId11"/>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722370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smtClean="0"/>
              <a:t>Dividing the </a:t>
            </a:r>
            <a:r>
              <a:rPr lang="sv-SE" dirty="0" err="1" smtClean="0"/>
              <a:t>address</a:t>
            </a:r>
            <a:endParaRPr lang="sv-SE" dirty="0"/>
          </a:p>
        </p:txBody>
      </p:sp>
      <p:sp>
        <p:nvSpPr>
          <p:cNvPr id="4" name="Rectangle 3"/>
          <p:cNvSpPr/>
          <p:nvPr/>
        </p:nvSpPr>
        <p:spPr bwMode="auto">
          <a:xfrm>
            <a:off x="453951" y="2463815"/>
            <a:ext cx="540201" cy="457049"/>
          </a:xfrm>
          <a:prstGeom prst="rect">
            <a:avLst/>
          </a:prstGeom>
          <a:solidFill>
            <a:schemeClr val="accent1"/>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3" tIns="102880" rIns="68583" bIns="102880" numCol="1" rtlCol="0" anchor="t" anchorCtr="0" compatLnSpc="1">
            <a:prstTxWarp prst="textNoShape">
              <a:avLst/>
            </a:prstTxWarp>
            <a:spAutoFit/>
          </a:bodyPr>
          <a:lstStyle/>
          <a:p>
            <a:pPr lvl="0">
              <a:lnSpc>
                <a:spcPct val="90000"/>
              </a:lnSpc>
              <a:spcBef>
                <a:spcPct val="20000"/>
              </a:spcBef>
              <a:buSzPct val="90000"/>
            </a:pPr>
            <a:r>
              <a:rPr lang="en-US" sz="1800" dirty="0">
                <a:gradFill>
                  <a:gsLst>
                    <a:gs pos="0">
                      <a:schemeClr val="tx1"/>
                    </a:gs>
                    <a:gs pos="100000">
                      <a:schemeClr val="tx1"/>
                    </a:gs>
                  </a:gsLst>
                  <a:lin ang="5400000" scaled="0"/>
                </a:gradFill>
              </a:rPr>
              <a:t>001</a:t>
            </a:r>
          </a:p>
        </p:txBody>
      </p:sp>
      <p:sp>
        <p:nvSpPr>
          <p:cNvPr id="5" name="Rectangle 4"/>
          <p:cNvSpPr/>
          <p:nvPr/>
        </p:nvSpPr>
        <p:spPr bwMode="auto">
          <a:xfrm>
            <a:off x="994152" y="2463815"/>
            <a:ext cx="2322864" cy="457049"/>
          </a:xfrm>
          <a:prstGeom prst="rect">
            <a:avLst/>
          </a:prstGeom>
          <a:solidFill>
            <a:schemeClr val="accent4"/>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3" tIns="102880" rIns="68583" bIns="102880" numCol="1" rtlCol="0" anchor="t" anchorCtr="0" compatLnSpc="1">
            <a:prstTxWarp prst="textNoShape">
              <a:avLst/>
            </a:prstTxWarp>
            <a:spAutoFit/>
          </a:bodyPr>
          <a:lstStyle/>
          <a:p>
            <a:pPr lvl="0">
              <a:lnSpc>
                <a:spcPct val="90000"/>
              </a:lnSpc>
              <a:spcBef>
                <a:spcPct val="20000"/>
              </a:spcBef>
              <a:buSzPct val="90000"/>
            </a:pPr>
            <a:r>
              <a:rPr lang="en-US" sz="1800" dirty="0">
                <a:gradFill>
                  <a:gsLst>
                    <a:gs pos="0">
                      <a:schemeClr val="tx1"/>
                    </a:gs>
                    <a:gs pos="100000">
                      <a:schemeClr val="tx1"/>
                    </a:gs>
                  </a:gsLst>
                  <a:lin ang="5400000" scaled="0"/>
                </a:gradFill>
              </a:rPr>
              <a:t>routing prefix</a:t>
            </a:r>
          </a:p>
        </p:txBody>
      </p:sp>
      <p:sp>
        <p:nvSpPr>
          <p:cNvPr id="6" name="Rectangle 5"/>
          <p:cNvSpPr/>
          <p:nvPr/>
        </p:nvSpPr>
        <p:spPr bwMode="auto">
          <a:xfrm>
            <a:off x="3317014" y="2463815"/>
            <a:ext cx="1327936" cy="457049"/>
          </a:xfrm>
          <a:prstGeom prst="rect">
            <a:avLst/>
          </a:prstGeom>
          <a:solidFill>
            <a:schemeClr val="accent3"/>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3" tIns="102880" rIns="68583" bIns="102880" numCol="1" rtlCol="0" anchor="t" anchorCtr="0" compatLnSpc="1">
            <a:prstTxWarp prst="textNoShape">
              <a:avLst/>
            </a:prstTxWarp>
            <a:spAutoFit/>
          </a:bodyPr>
          <a:lstStyle/>
          <a:p>
            <a:pPr lvl="0">
              <a:lnSpc>
                <a:spcPct val="90000"/>
              </a:lnSpc>
              <a:spcBef>
                <a:spcPct val="20000"/>
              </a:spcBef>
              <a:buSzPct val="90000"/>
            </a:pPr>
            <a:r>
              <a:rPr lang="en-US" sz="1800" dirty="0">
                <a:gradFill>
                  <a:gsLst>
                    <a:gs pos="0">
                      <a:schemeClr val="tx1"/>
                    </a:gs>
                    <a:gs pos="100000">
                      <a:schemeClr val="tx1"/>
                    </a:gs>
                  </a:gsLst>
                  <a:lin ang="5400000" scaled="0"/>
                </a:gradFill>
              </a:rPr>
              <a:t>subnet id</a:t>
            </a:r>
          </a:p>
        </p:txBody>
      </p:sp>
      <p:sp>
        <p:nvSpPr>
          <p:cNvPr id="7" name="Rectangle 6"/>
          <p:cNvSpPr/>
          <p:nvPr/>
        </p:nvSpPr>
        <p:spPr bwMode="auto">
          <a:xfrm>
            <a:off x="4644951" y="2463815"/>
            <a:ext cx="4191000" cy="457049"/>
          </a:xfrm>
          <a:prstGeom prst="rect">
            <a:avLst/>
          </a:prstGeom>
          <a:solidFill>
            <a:schemeClr val="accent6"/>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3" tIns="102880" rIns="68583" bIns="102880" numCol="1" rtlCol="0" anchor="t" anchorCtr="0" compatLnSpc="1">
            <a:prstTxWarp prst="textNoShape">
              <a:avLst/>
            </a:prstTxWarp>
            <a:spAutoFit/>
          </a:bodyPr>
          <a:lstStyle/>
          <a:p>
            <a:pPr lvl="0">
              <a:lnSpc>
                <a:spcPct val="90000"/>
              </a:lnSpc>
              <a:spcBef>
                <a:spcPct val="20000"/>
              </a:spcBef>
              <a:buSzPct val="90000"/>
            </a:pPr>
            <a:r>
              <a:rPr lang="en-US" sz="1800" dirty="0">
                <a:gradFill>
                  <a:gsLst>
                    <a:gs pos="0">
                      <a:schemeClr val="tx1"/>
                    </a:gs>
                    <a:gs pos="100000">
                      <a:schemeClr val="tx1"/>
                    </a:gs>
                  </a:gsLst>
                  <a:lin ang="5400000" scaled="0"/>
                </a:gradFill>
              </a:rPr>
              <a:t>interface id</a:t>
            </a:r>
          </a:p>
        </p:txBody>
      </p:sp>
      <p:sp>
        <p:nvSpPr>
          <p:cNvPr id="8" name="Left Brace 7"/>
          <p:cNvSpPr/>
          <p:nvPr/>
        </p:nvSpPr>
        <p:spPr>
          <a:xfrm rot="5400000">
            <a:off x="2020567" y="1059281"/>
            <a:ext cx="270030" cy="2322864"/>
          </a:xfrm>
          <a:prstGeom prst="leftBrace">
            <a:avLst/>
          </a:prstGeom>
        </p:spPr>
        <p:style>
          <a:lnRef idx="1">
            <a:schemeClr val="accent1"/>
          </a:lnRef>
          <a:fillRef idx="0">
            <a:schemeClr val="accent1"/>
          </a:fillRef>
          <a:effectRef idx="0">
            <a:schemeClr val="accent1"/>
          </a:effectRef>
          <a:fontRef idx="minor">
            <a:schemeClr val="tx1"/>
          </a:fontRef>
        </p:style>
        <p:txBody>
          <a:bodyPr lIns="68586" tIns="34294" rIns="68586" bIns="34294" rtlCol="0" anchor="ctr"/>
          <a:lstStyle/>
          <a:p>
            <a:pPr algn="ctr"/>
            <a:endParaRPr lang="sv-SE"/>
          </a:p>
        </p:txBody>
      </p:sp>
      <p:sp>
        <p:nvSpPr>
          <p:cNvPr id="9" name="Left Brace 8"/>
          <p:cNvSpPr/>
          <p:nvPr/>
        </p:nvSpPr>
        <p:spPr>
          <a:xfrm rot="5400000">
            <a:off x="3858115" y="1568891"/>
            <a:ext cx="270030" cy="1303640"/>
          </a:xfrm>
          <a:prstGeom prst="leftBrace">
            <a:avLst/>
          </a:prstGeom>
        </p:spPr>
        <p:style>
          <a:lnRef idx="1">
            <a:schemeClr val="accent1"/>
          </a:lnRef>
          <a:fillRef idx="0">
            <a:schemeClr val="accent1"/>
          </a:fillRef>
          <a:effectRef idx="0">
            <a:schemeClr val="accent1"/>
          </a:effectRef>
          <a:fontRef idx="minor">
            <a:schemeClr val="tx1"/>
          </a:fontRef>
        </p:style>
        <p:txBody>
          <a:bodyPr lIns="68586" tIns="34294" rIns="68586" bIns="34294" rtlCol="0" anchor="ctr"/>
          <a:lstStyle/>
          <a:p>
            <a:pPr algn="ctr"/>
            <a:endParaRPr lang="sv-SE"/>
          </a:p>
        </p:txBody>
      </p:sp>
      <p:sp>
        <p:nvSpPr>
          <p:cNvPr id="10" name="Left Brace 9"/>
          <p:cNvSpPr/>
          <p:nvPr/>
        </p:nvSpPr>
        <p:spPr>
          <a:xfrm rot="5400000">
            <a:off x="6612454" y="132232"/>
            <a:ext cx="270030" cy="4176961"/>
          </a:xfrm>
          <a:prstGeom prst="leftBrace">
            <a:avLst/>
          </a:prstGeom>
        </p:spPr>
        <p:style>
          <a:lnRef idx="1">
            <a:schemeClr val="accent1"/>
          </a:lnRef>
          <a:fillRef idx="0">
            <a:schemeClr val="accent1"/>
          </a:fillRef>
          <a:effectRef idx="0">
            <a:schemeClr val="accent1"/>
          </a:effectRef>
          <a:fontRef idx="minor">
            <a:schemeClr val="tx1"/>
          </a:fontRef>
        </p:style>
        <p:txBody>
          <a:bodyPr lIns="68586" tIns="34294" rIns="68586" bIns="34294" rtlCol="0" anchor="ctr"/>
          <a:lstStyle/>
          <a:p>
            <a:pPr algn="ctr"/>
            <a:endParaRPr lang="sv-SE"/>
          </a:p>
        </p:txBody>
      </p:sp>
      <p:sp>
        <p:nvSpPr>
          <p:cNvPr id="11" name="Left Brace 10"/>
          <p:cNvSpPr/>
          <p:nvPr/>
        </p:nvSpPr>
        <p:spPr>
          <a:xfrm rot="16200000">
            <a:off x="5953615" y="391495"/>
            <a:ext cx="270030" cy="5494640"/>
          </a:xfrm>
          <a:prstGeom prst="leftBrace">
            <a:avLst/>
          </a:prstGeom>
        </p:spPr>
        <p:style>
          <a:lnRef idx="1">
            <a:schemeClr val="accent1"/>
          </a:lnRef>
          <a:fillRef idx="0">
            <a:schemeClr val="accent1"/>
          </a:fillRef>
          <a:effectRef idx="0">
            <a:schemeClr val="accent1"/>
          </a:effectRef>
          <a:fontRef idx="minor">
            <a:schemeClr val="tx1"/>
          </a:fontRef>
        </p:style>
        <p:txBody>
          <a:bodyPr lIns="68586" tIns="34294" rIns="68586" bIns="34294" rtlCol="0" anchor="ctr"/>
          <a:lstStyle/>
          <a:p>
            <a:pPr algn="ctr"/>
            <a:endParaRPr lang="sv-SE"/>
          </a:p>
        </p:txBody>
      </p:sp>
      <p:sp>
        <p:nvSpPr>
          <p:cNvPr id="12" name="Left Brace 11"/>
          <p:cNvSpPr/>
          <p:nvPr/>
        </p:nvSpPr>
        <p:spPr>
          <a:xfrm rot="16200000">
            <a:off x="2306395" y="2263210"/>
            <a:ext cx="270030" cy="1751209"/>
          </a:xfrm>
          <a:prstGeom prst="leftBrace">
            <a:avLst/>
          </a:prstGeom>
        </p:spPr>
        <p:style>
          <a:lnRef idx="1">
            <a:schemeClr val="accent1"/>
          </a:lnRef>
          <a:fillRef idx="0">
            <a:schemeClr val="accent1"/>
          </a:fillRef>
          <a:effectRef idx="0">
            <a:schemeClr val="accent1"/>
          </a:effectRef>
          <a:fontRef idx="minor">
            <a:schemeClr val="tx1"/>
          </a:fontRef>
        </p:style>
        <p:txBody>
          <a:bodyPr lIns="68586" tIns="34294" rIns="68586" bIns="34294" rtlCol="0" anchor="ctr"/>
          <a:lstStyle/>
          <a:p>
            <a:pPr algn="ctr"/>
            <a:endParaRPr lang="sv-SE"/>
          </a:p>
        </p:txBody>
      </p:sp>
      <p:sp>
        <p:nvSpPr>
          <p:cNvPr id="13" name="Left Brace 12"/>
          <p:cNvSpPr/>
          <p:nvPr/>
        </p:nvSpPr>
        <p:spPr>
          <a:xfrm rot="16200000">
            <a:off x="1144965" y="2856020"/>
            <a:ext cx="270030" cy="571656"/>
          </a:xfrm>
          <a:prstGeom prst="leftBrace">
            <a:avLst/>
          </a:prstGeom>
        </p:spPr>
        <p:style>
          <a:lnRef idx="1">
            <a:schemeClr val="accent1"/>
          </a:lnRef>
          <a:fillRef idx="0">
            <a:schemeClr val="accent1"/>
          </a:fillRef>
          <a:effectRef idx="0">
            <a:schemeClr val="accent1"/>
          </a:effectRef>
          <a:fontRef idx="minor">
            <a:schemeClr val="tx1"/>
          </a:fontRef>
        </p:style>
        <p:txBody>
          <a:bodyPr lIns="68586" tIns="34294" rIns="68586" bIns="34294" rtlCol="0" anchor="ctr"/>
          <a:lstStyle/>
          <a:p>
            <a:pPr algn="ctr"/>
            <a:endParaRPr lang="sv-SE"/>
          </a:p>
        </p:txBody>
      </p:sp>
      <p:sp>
        <p:nvSpPr>
          <p:cNvPr id="14" name="TextBox 13"/>
          <p:cNvSpPr txBox="1"/>
          <p:nvPr/>
        </p:nvSpPr>
        <p:spPr>
          <a:xfrm>
            <a:off x="1745387" y="1697898"/>
            <a:ext cx="820390" cy="387799"/>
          </a:xfrm>
          <a:prstGeom prst="rect">
            <a:avLst/>
          </a:prstGeom>
          <a:noFill/>
        </p:spPr>
        <p:txBody>
          <a:bodyPr wrap="none" lIns="68586" tIns="68586" rIns="68586" bIns="68586" rtlCol="0">
            <a:spAutoFit/>
          </a:bodyPr>
          <a:lstStyle/>
          <a:p>
            <a:pPr>
              <a:lnSpc>
                <a:spcPct val="90000"/>
              </a:lnSpc>
              <a:spcBef>
                <a:spcPct val="20000"/>
              </a:spcBef>
              <a:buSzPct val="90000"/>
            </a:pPr>
            <a:r>
              <a:rPr lang="sv-SE" sz="1800" dirty="0">
                <a:solidFill>
                  <a:schemeClr val="tx1">
                    <a:alpha val="99000"/>
                  </a:schemeClr>
                </a:solidFill>
              </a:rPr>
              <a:t>45 bits</a:t>
            </a:r>
          </a:p>
        </p:txBody>
      </p:sp>
      <p:sp>
        <p:nvSpPr>
          <p:cNvPr id="15" name="TextBox 14"/>
          <p:cNvSpPr txBox="1"/>
          <p:nvPr/>
        </p:nvSpPr>
        <p:spPr>
          <a:xfrm>
            <a:off x="3582935" y="1708420"/>
            <a:ext cx="820390" cy="387799"/>
          </a:xfrm>
          <a:prstGeom prst="rect">
            <a:avLst/>
          </a:prstGeom>
          <a:noFill/>
        </p:spPr>
        <p:txBody>
          <a:bodyPr wrap="none" lIns="68586" tIns="68586" rIns="68586" bIns="68586" rtlCol="0">
            <a:spAutoFit/>
          </a:bodyPr>
          <a:lstStyle/>
          <a:p>
            <a:pPr>
              <a:lnSpc>
                <a:spcPct val="90000"/>
              </a:lnSpc>
              <a:spcBef>
                <a:spcPct val="20000"/>
              </a:spcBef>
              <a:buSzPct val="90000"/>
            </a:pPr>
            <a:r>
              <a:rPr lang="sv-SE" sz="1800" dirty="0">
                <a:solidFill>
                  <a:schemeClr val="tx1">
                    <a:alpha val="99000"/>
                  </a:schemeClr>
                </a:solidFill>
              </a:rPr>
              <a:t>16 bits</a:t>
            </a:r>
          </a:p>
        </p:txBody>
      </p:sp>
      <p:sp>
        <p:nvSpPr>
          <p:cNvPr id="16" name="TextBox 15"/>
          <p:cNvSpPr txBox="1"/>
          <p:nvPr/>
        </p:nvSpPr>
        <p:spPr>
          <a:xfrm>
            <a:off x="6337274" y="1708420"/>
            <a:ext cx="820390" cy="387799"/>
          </a:xfrm>
          <a:prstGeom prst="rect">
            <a:avLst/>
          </a:prstGeom>
          <a:noFill/>
        </p:spPr>
        <p:txBody>
          <a:bodyPr wrap="none" lIns="68586" tIns="68586" rIns="68586" bIns="68586" rtlCol="0">
            <a:spAutoFit/>
          </a:bodyPr>
          <a:lstStyle/>
          <a:p>
            <a:pPr>
              <a:lnSpc>
                <a:spcPct val="90000"/>
              </a:lnSpc>
              <a:spcBef>
                <a:spcPct val="20000"/>
              </a:spcBef>
              <a:buSzPct val="90000"/>
            </a:pPr>
            <a:r>
              <a:rPr lang="sv-SE" sz="1800" dirty="0">
                <a:solidFill>
                  <a:schemeClr val="tx1">
                    <a:alpha val="99000"/>
                  </a:schemeClr>
                </a:solidFill>
              </a:rPr>
              <a:t>64 bits</a:t>
            </a:r>
          </a:p>
        </p:txBody>
      </p:sp>
      <p:sp>
        <p:nvSpPr>
          <p:cNvPr id="17" name="TextBox 16"/>
          <p:cNvSpPr txBox="1"/>
          <p:nvPr/>
        </p:nvSpPr>
        <p:spPr>
          <a:xfrm>
            <a:off x="4678334" y="3273830"/>
            <a:ext cx="2820594" cy="387799"/>
          </a:xfrm>
          <a:prstGeom prst="rect">
            <a:avLst/>
          </a:prstGeom>
          <a:noFill/>
        </p:spPr>
        <p:txBody>
          <a:bodyPr wrap="none" lIns="68586" tIns="68586" rIns="68586" bIns="68586" rtlCol="0">
            <a:spAutoFit/>
          </a:bodyPr>
          <a:lstStyle/>
          <a:p>
            <a:pPr>
              <a:lnSpc>
                <a:spcPct val="90000"/>
              </a:lnSpc>
              <a:spcBef>
                <a:spcPct val="20000"/>
              </a:spcBef>
              <a:buSzPct val="90000"/>
            </a:pPr>
            <a:r>
              <a:rPr lang="sv-SE" sz="1800" dirty="0">
                <a:solidFill>
                  <a:schemeClr val="tx1">
                    <a:alpha val="99000"/>
                  </a:schemeClr>
                </a:solidFill>
              </a:rPr>
              <a:t>/48 </a:t>
            </a:r>
            <a:r>
              <a:rPr lang="sv-SE" sz="1800" dirty="0" err="1">
                <a:solidFill>
                  <a:schemeClr val="tx1">
                    <a:alpha val="99000"/>
                  </a:schemeClr>
                </a:solidFill>
              </a:rPr>
              <a:t>assigned</a:t>
            </a:r>
            <a:r>
              <a:rPr lang="sv-SE" sz="1800" dirty="0">
                <a:solidFill>
                  <a:schemeClr val="tx1">
                    <a:alpha val="99000"/>
                  </a:schemeClr>
                </a:solidFill>
              </a:rPr>
              <a:t> </a:t>
            </a:r>
            <a:r>
              <a:rPr lang="sv-SE" sz="1800" dirty="0" err="1">
                <a:solidFill>
                  <a:schemeClr val="tx1">
                    <a:alpha val="99000"/>
                  </a:schemeClr>
                </a:solidFill>
              </a:rPr>
              <a:t>to</a:t>
            </a:r>
            <a:r>
              <a:rPr lang="sv-SE" sz="1800" dirty="0">
                <a:solidFill>
                  <a:schemeClr val="tx1">
                    <a:alpha val="99000"/>
                  </a:schemeClr>
                </a:solidFill>
              </a:rPr>
              <a:t> </a:t>
            </a:r>
            <a:r>
              <a:rPr lang="sv-SE" sz="1800" dirty="0" err="1">
                <a:solidFill>
                  <a:schemeClr val="tx1">
                    <a:alpha val="99000"/>
                  </a:schemeClr>
                </a:solidFill>
              </a:rPr>
              <a:t>customer</a:t>
            </a:r>
            <a:endParaRPr lang="sv-SE" sz="1800" dirty="0">
              <a:solidFill>
                <a:schemeClr val="tx1">
                  <a:alpha val="99000"/>
                </a:schemeClr>
              </a:solidFill>
            </a:endParaRPr>
          </a:p>
        </p:txBody>
      </p:sp>
      <p:sp>
        <p:nvSpPr>
          <p:cNvPr id="18" name="TextBox 17"/>
          <p:cNvSpPr txBox="1"/>
          <p:nvPr/>
        </p:nvSpPr>
        <p:spPr>
          <a:xfrm>
            <a:off x="1924188" y="3276865"/>
            <a:ext cx="1034447" cy="387799"/>
          </a:xfrm>
          <a:prstGeom prst="rect">
            <a:avLst/>
          </a:prstGeom>
          <a:noFill/>
        </p:spPr>
        <p:txBody>
          <a:bodyPr wrap="none" lIns="68586" tIns="68586" rIns="68586" bIns="68586" rtlCol="0">
            <a:spAutoFit/>
          </a:bodyPr>
          <a:lstStyle/>
          <a:p>
            <a:pPr>
              <a:lnSpc>
                <a:spcPct val="90000"/>
              </a:lnSpc>
              <a:spcBef>
                <a:spcPct val="20000"/>
              </a:spcBef>
              <a:buSzPct val="90000"/>
            </a:pPr>
            <a:r>
              <a:rPr lang="sv-SE" sz="1800" dirty="0">
                <a:solidFill>
                  <a:schemeClr val="tx1">
                    <a:alpha val="99000"/>
                  </a:schemeClr>
                </a:solidFill>
              </a:rPr>
              <a:t>RIR-&gt;LIR</a:t>
            </a:r>
          </a:p>
        </p:txBody>
      </p:sp>
      <p:sp>
        <p:nvSpPr>
          <p:cNvPr id="19" name="TextBox 18"/>
          <p:cNvSpPr txBox="1"/>
          <p:nvPr/>
        </p:nvSpPr>
        <p:spPr>
          <a:xfrm>
            <a:off x="364032" y="3273829"/>
            <a:ext cx="1259327" cy="387799"/>
          </a:xfrm>
          <a:prstGeom prst="rect">
            <a:avLst/>
          </a:prstGeom>
          <a:noFill/>
        </p:spPr>
        <p:txBody>
          <a:bodyPr wrap="none" lIns="68586" tIns="68586" rIns="68586" bIns="68586" rtlCol="0">
            <a:spAutoFit/>
          </a:bodyPr>
          <a:lstStyle/>
          <a:p>
            <a:pPr>
              <a:lnSpc>
                <a:spcPct val="90000"/>
              </a:lnSpc>
              <a:spcBef>
                <a:spcPct val="20000"/>
              </a:spcBef>
              <a:buSzPct val="90000"/>
            </a:pPr>
            <a:r>
              <a:rPr lang="sv-SE" sz="1800" dirty="0">
                <a:solidFill>
                  <a:schemeClr val="tx1">
                    <a:alpha val="99000"/>
                  </a:schemeClr>
                </a:solidFill>
              </a:rPr>
              <a:t>IANA-&gt;RIR</a:t>
            </a:r>
          </a:p>
        </p:txBody>
      </p:sp>
      <p:sp>
        <p:nvSpPr>
          <p:cNvPr id="20" name="Left Brace 19"/>
          <p:cNvSpPr/>
          <p:nvPr/>
        </p:nvSpPr>
        <p:spPr>
          <a:xfrm rot="5400000">
            <a:off x="589035" y="1929896"/>
            <a:ext cx="270030" cy="540201"/>
          </a:xfrm>
          <a:prstGeom prst="leftBrace">
            <a:avLst/>
          </a:prstGeom>
        </p:spPr>
        <p:style>
          <a:lnRef idx="1">
            <a:schemeClr val="accent1"/>
          </a:lnRef>
          <a:fillRef idx="0">
            <a:schemeClr val="accent1"/>
          </a:fillRef>
          <a:effectRef idx="0">
            <a:schemeClr val="accent1"/>
          </a:effectRef>
          <a:fontRef idx="minor">
            <a:schemeClr val="tx1"/>
          </a:fontRef>
        </p:style>
        <p:txBody>
          <a:bodyPr lIns="68586" tIns="34294" rIns="68586" bIns="34294" rtlCol="0" anchor="ctr"/>
          <a:lstStyle/>
          <a:p>
            <a:pPr algn="ctr"/>
            <a:endParaRPr lang="sv-SE"/>
          </a:p>
        </p:txBody>
      </p:sp>
      <p:sp>
        <p:nvSpPr>
          <p:cNvPr id="21" name="TextBox 20"/>
          <p:cNvSpPr txBox="1"/>
          <p:nvPr/>
        </p:nvSpPr>
        <p:spPr>
          <a:xfrm>
            <a:off x="376388" y="1697899"/>
            <a:ext cx="695324" cy="387799"/>
          </a:xfrm>
          <a:prstGeom prst="rect">
            <a:avLst/>
          </a:prstGeom>
          <a:noFill/>
        </p:spPr>
        <p:txBody>
          <a:bodyPr wrap="none" lIns="68586" tIns="68586" rIns="68586" bIns="68586" rtlCol="0">
            <a:spAutoFit/>
          </a:bodyPr>
          <a:lstStyle/>
          <a:p>
            <a:pPr>
              <a:lnSpc>
                <a:spcPct val="90000"/>
              </a:lnSpc>
              <a:spcBef>
                <a:spcPct val="20000"/>
              </a:spcBef>
              <a:buSzPct val="90000"/>
            </a:pPr>
            <a:r>
              <a:rPr lang="sv-SE" sz="1800" dirty="0">
                <a:solidFill>
                  <a:schemeClr val="tx1">
                    <a:alpha val="99000"/>
                  </a:schemeClr>
                </a:solidFill>
              </a:rPr>
              <a:t>3 bits</a:t>
            </a:r>
          </a:p>
        </p:txBody>
      </p:sp>
      <p:sp>
        <p:nvSpPr>
          <p:cNvPr id="22"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3"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
              </a:rPr>
              <a:t>www.rapidbbs.cn</a:t>
            </a:r>
            <a:endParaRPr lang="zh-CN" altLang="en-US" sz="1200" b="0">
              <a:latin typeface="Arial" charset="0"/>
              <a:ea typeface="ＭＳ Ｐゴシック" pitchFamily="34" charset="-128"/>
            </a:endParaRPr>
          </a:p>
        </p:txBody>
      </p:sp>
      <p:pic>
        <p:nvPicPr>
          <p:cNvPr id="24" name="Picture 2">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242245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000" fill="hold"/>
                                        <p:tgtEl>
                                          <p:spTgt spid="4"/>
                                        </p:tgtEl>
                                        <p:attrNameLst>
                                          <p:attrName>ppt_x</p:attrName>
                                        </p:attrNameLst>
                                      </p:cBhvr>
                                      <p:tavLst>
                                        <p:tav tm="0">
                                          <p:val>
                                            <p:strVal val="0-#ppt_w/2"/>
                                          </p:val>
                                        </p:tav>
                                        <p:tav tm="100000">
                                          <p:val>
                                            <p:strVal val="#ppt_x"/>
                                          </p:val>
                                        </p:tav>
                                      </p:tavLst>
                                    </p:anim>
                                    <p:anim calcmode="lin" valueType="num">
                                      <p:cBhvr additive="base">
                                        <p:cTn id="8" dur="10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 presetClass="entr" presetSubtype="8" decel="100000" fill="hold" grpId="0" nodeType="afterEffect">
                                  <p:stCondLst>
                                    <p:cond delay="0"/>
                                  </p:stCondLst>
                                  <p:childTnLst>
                                    <p:set>
                                      <p:cBhvr>
                                        <p:cTn id="11" dur="1" fill="hold">
                                          <p:stCondLst>
                                            <p:cond delay="0"/>
                                          </p:stCondLst>
                                        </p:cTn>
                                        <p:tgtEl>
                                          <p:spTgt spid="5"/>
                                        </p:tgtEl>
                                        <p:attrNameLst>
                                          <p:attrName>style.visibility</p:attrName>
                                        </p:attrNameLst>
                                      </p:cBhvr>
                                      <p:to>
                                        <p:strVal val="visible"/>
                                      </p:to>
                                    </p:set>
                                    <p:anim calcmode="lin" valueType="num">
                                      <p:cBhvr additive="base">
                                        <p:cTn id="12" dur="1000" fill="hold"/>
                                        <p:tgtEl>
                                          <p:spTgt spid="5"/>
                                        </p:tgtEl>
                                        <p:attrNameLst>
                                          <p:attrName>ppt_x</p:attrName>
                                        </p:attrNameLst>
                                      </p:cBhvr>
                                      <p:tavLst>
                                        <p:tav tm="0">
                                          <p:val>
                                            <p:strVal val="0-#ppt_w/2"/>
                                          </p:val>
                                        </p:tav>
                                        <p:tav tm="100000">
                                          <p:val>
                                            <p:strVal val="#ppt_x"/>
                                          </p:val>
                                        </p:tav>
                                      </p:tavLst>
                                    </p:anim>
                                    <p:anim calcmode="lin" valueType="num">
                                      <p:cBhvr additive="base">
                                        <p:cTn id="13" dur="1000" fill="hold"/>
                                        <p:tgtEl>
                                          <p:spTgt spid="5"/>
                                        </p:tgtEl>
                                        <p:attrNameLst>
                                          <p:attrName>ppt_y</p:attrName>
                                        </p:attrNameLst>
                                      </p:cBhvr>
                                      <p:tavLst>
                                        <p:tav tm="0">
                                          <p:val>
                                            <p:strVal val="#ppt_y"/>
                                          </p:val>
                                        </p:tav>
                                        <p:tav tm="100000">
                                          <p:val>
                                            <p:strVal val="#ppt_y"/>
                                          </p:val>
                                        </p:tav>
                                      </p:tavLst>
                                    </p:anim>
                                  </p:childTnLst>
                                </p:cTn>
                              </p:par>
                            </p:childTnLst>
                          </p:cTn>
                        </p:par>
                        <p:par>
                          <p:cTn id="14" fill="hold">
                            <p:stCondLst>
                              <p:cond delay="2000"/>
                            </p:stCondLst>
                            <p:childTnLst>
                              <p:par>
                                <p:cTn id="15" presetID="2" presetClass="entr" presetSubtype="8" decel="10000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 calcmode="lin" valueType="num">
                                      <p:cBhvr additive="base">
                                        <p:cTn id="17" dur="1000" fill="hold"/>
                                        <p:tgtEl>
                                          <p:spTgt spid="6"/>
                                        </p:tgtEl>
                                        <p:attrNameLst>
                                          <p:attrName>ppt_x</p:attrName>
                                        </p:attrNameLst>
                                      </p:cBhvr>
                                      <p:tavLst>
                                        <p:tav tm="0">
                                          <p:val>
                                            <p:strVal val="0-#ppt_w/2"/>
                                          </p:val>
                                        </p:tav>
                                        <p:tav tm="100000">
                                          <p:val>
                                            <p:strVal val="#ppt_x"/>
                                          </p:val>
                                        </p:tav>
                                      </p:tavLst>
                                    </p:anim>
                                    <p:anim calcmode="lin" valueType="num">
                                      <p:cBhvr additive="base">
                                        <p:cTn id="18" dur="1000" fill="hold"/>
                                        <p:tgtEl>
                                          <p:spTgt spid="6"/>
                                        </p:tgtEl>
                                        <p:attrNameLst>
                                          <p:attrName>ppt_y</p:attrName>
                                        </p:attrNameLst>
                                      </p:cBhvr>
                                      <p:tavLst>
                                        <p:tav tm="0">
                                          <p:val>
                                            <p:strVal val="#ppt_y"/>
                                          </p:val>
                                        </p:tav>
                                        <p:tav tm="100000">
                                          <p:val>
                                            <p:strVal val="#ppt_y"/>
                                          </p:val>
                                        </p:tav>
                                      </p:tavLst>
                                    </p:anim>
                                  </p:childTnLst>
                                </p:cTn>
                              </p:par>
                            </p:childTnLst>
                          </p:cTn>
                        </p:par>
                        <p:par>
                          <p:cTn id="19" fill="hold">
                            <p:stCondLst>
                              <p:cond delay="3000"/>
                            </p:stCondLst>
                            <p:childTnLst>
                              <p:par>
                                <p:cTn id="20" presetID="2" presetClass="entr" presetSubtype="8" decel="100000" fill="hold" grpId="0" nodeType="afterEffect">
                                  <p:stCondLst>
                                    <p:cond delay="0"/>
                                  </p:stCondLst>
                                  <p:childTnLst>
                                    <p:set>
                                      <p:cBhvr>
                                        <p:cTn id="21" dur="1" fill="hold">
                                          <p:stCondLst>
                                            <p:cond delay="0"/>
                                          </p:stCondLst>
                                        </p:cTn>
                                        <p:tgtEl>
                                          <p:spTgt spid="7"/>
                                        </p:tgtEl>
                                        <p:attrNameLst>
                                          <p:attrName>style.visibility</p:attrName>
                                        </p:attrNameLst>
                                      </p:cBhvr>
                                      <p:to>
                                        <p:strVal val="visible"/>
                                      </p:to>
                                    </p:set>
                                    <p:anim calcmode="lin" valueType="num">
                                      <p:cBhvr additive="base">
                                        <p:cTn id="22" dur="1000" fill="hold"/>
                                        <p:tgtEl>
                                          <p:spTgt spid="7"/>
                                        </p:tgtEl>
                                        <p:attrNameLst>
                                          <p:attrName>ppt_x</p:attrName>
                                        </p:attrNameLst>
                                      </p:cBhvr>
                                      <p:tavLst>
                                        <p:tav tm="0">
                                          <p:val>
                                            <p:strVal val="0-#ppt_w/2"/>
                                          </p:val>
                                        </p:tav>
                                        <p:tav tm="100000">
                                          <p:val>
                                            <p:strVal val="#ppt_x"/>
                                          </p:val>
                                        </p:tav>
                                      </p:tavLst>
                                    </p:anim>
                                    <p:anim calcmode="lin" valueType="num">
                                      <p:cBhvr additive="base">
                                        <p:cTn id="23" dur="10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Lst>
  </p:timing>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smtClean="0"/>
              <a:t>IPv6 </a:t>
            </a:r>
            <a:r>
              <a:rPr lang="sv-SE" dirty="0" err="1" smtClean="0"/>
              <a:t>Header</a:t>
            </a:r>
            <a:r>
              <a:rPr lang="sv-SE" dirty="0" smtClean="0"/>
              <a:t> Format</a:t>
            </a:r>
            <a:endParaRPr lang="sv-SE" dirty="0"/>
          </a:p>
        </p:txBody>
      </p:sp>
      <p:sp>
        <p:nvSpPr>
          <p:cNvPr id="4" name="Rectangle 3"/>
          <p:cNvSpPr/>
          <p:nvPr/>
        </p:nvSpPr>
        <p:spPr bwMode="auto">
          <a:xfrm>
            <a:off x="1350589" y="1396119"/>
            <a:ext cx="574212" cy="457049"/>
          </a:xfrm>
          <a:prstGeom prst="rect">
            <a:avLst/>
          </a:prstGeom>
          <a:solidFill>
            <a:schemeClr val="accent1"/>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3" tIns="102880" rIns="68583" bIns="102880" numCol="1" rtlCol="0" anchor="t" anchorCtr="0" compatLnSpc="1">
            <a:prstTxWarp prst="textNoShape">
              <a:avLst/>
            </a:prstTxWarp>
            <a:spAutoFit/>
          </a:bodyPr>
          <a:lstStyle/>
          <a:p>
            <a:pPr lvl="0" algn="ctr">
              <a:lnSpc>
                <a:spcPct val="90000"/>
              </a:lnSpc>
              <a:spcBef>
                <a:spcPct val="20000"/>
              </a:spcBef>
              <a:buSzPct val="90000"/>
            </a:pPr>
            <a:r>
              <a:rPr lang="en-US" sz="1800" dirty="0" err="1">
                <a:gradFill>
                  <a:gsLst>
                    <a:gs pos="0">
                      <a:schemeClr val="tx1"/>
                    </a:gs>
                    <a:gs pos="100000">
                      <a:schemeClr val="tx1"/>
                    </a:gs>
                  </a:gsLst>
                  <a:lin ang="5400000" scaled="0"/>
                </a:gradFill>
              </a:rPr>
              <a:t>Ver</a:t>
            </a:r>
            <a:endParaRPr lang="en-US" sz="1800" dirty="0">
              <a:gradFill>
                <a:gsLst>
                  <a:gs pos="0">
                    <a:schemeClr val="tx1"/>
                  </a:gs>
                  <a:gs pos="100000">
                    <a:schemeClr val="tx1"/>
                  </a:gs>
                </a:gsLst>
                <a:lin ang="5400000" scaled="0"/>
              </a:gradFill>
            </a:endParaRPr>
          </a:p>
        </p:txBody>
      </p:sp>
      <p:sp>
        <p:nvSpPr>
          <p:cNvPr id="5" name="Rectangle 4"/>
          <p:cNvSpPr/>
          <p:nvPr/>
        </p:nvSpPr>
        <p:spPr bwMode="auto">
          <a:xfrm>
            <a:off x="1924801" y="1396119"/>
            <a:ext cx="1722634" cy="457049"/>
          </a:xfrm>
          <a:prstGeom prst="rect">
            <a:avLst/>
          </a:prstGeom>
          <a:solidFill>
            <a:schemeClr val="accent4"/>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3" tIns="102880" rIns="68583" bIns="102880" numCol="1" rtlCol="0" anchor="t" anchorCtr="0" compatLnSpc="1">
            <a:prstTxWarp prst="textNoShape">
              <a:avLst/>
            </a:prstTxWarp>
            <a:spAutoFit/>
          </a:bodyPr>
          <a:lstStyle/>
          <a:p>
            <a:pPr lvl="0" algn="ctr">
              <a:lnSpc>
                <a:spcPct val="90000"/>
              </a:lnSpc>
              <a:spcBef>
                <a:spcPct val="20000"/>
              </a:spcBef>
              <a:buSzPct val="90000"/>
            </a:pPr>
            <a:r>
              <a:rPr lang="en-US" sz="1800" dirty="0">
                <a:gradFill>
                  <a:gsLst>
                    <a:gs pos="0">
                      <a:schemeClr val="tx1"/>
                    </a:gs>
                    <a:gs pos="100000">
                      <a:schemeClr val="tx1"/>
                    </a:gs>
                  </a:gsLst>
                  <a:lin ang="5400000" scaled="0"/>
                </a:gradFill>
              </a:rPr>
              <a:t>Traffic Class</a:t>
            </a:r>
          </a:p>
        </p:txBody>
      </p:sp>
      <p:sp>
        <p:nvSpPr>
          <p:cNvPr id="6" name="Rectangle 5"/>
          <p:cNvSpPr/>
          <p:nvPr/>
        </p:nvSpPr>
        <p:spPr bwMode="auto">
          <a:xfrm>
            <a:off x="3647436" y="1396119"/>
            <a:ext cx="4019479" cy="457049"/>
          </a:xfrm>
          <a:prstGeom prst="rect">
            <a:avLst/>
          </a:prstGeom>
          <a:solidFill>
            <a:schemeClr val="accent3"/>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3" tIns="102880" rIns="68583" bIns="102880" numCol="1" rtlCol="0" anchor="t" anchorCtr="0" compatLnSpc="1">
            <a:prstTxWarp prst="textNoShape">
              <a:avLst/>
            </a:prstTxWarp>
            <a:spAutoFit/>
          </a:bodyPr>
          <a:lstStyle/>
          <a:p>
            <a:pPr lvl="0" algn="ctr">
              <a:lnSpc>
                <a:spcPct val="90000"/>
              </a:lnSpc>
              <a:spcBef>
                <a:spcPct val="20000"/>
              </a:spcBef>
              <a:buSzPct val="90000"/>
            </a:pPr>
            <a:r>
              <a:rPr lang="en-US" sz="1800" dirty="0">
                <a:gradFill>
                  <a:gsLst>
                    <a:gs pos="0">
                      <a:schemeClr val="tx1"/>
                    </a:gs>
                    <a:gs pos="100000">
                      <a:schemeClr val="tx1"/>
                    </a:gs>
                  </a:gsLst>
                  <a:lin ang="5400000" scaled="0"/>
                </a:gradFill>
              </a:rPr>
              <a:t>Flow Label</a:t>
            </a:r>
          </a:p>
        </p:txBody>
      </p:sp>
      <p:sp>
        <p:nvSpPr>
          <p:cNvPr id="7" name="Rectangle 6"/>
          <p:cNvSpPr/>
          <p:nvPr/>
        </p:nvSpPr>
        <p:spPr bwMode="auto">
          <a:xfrm>
            <a:off x="1350590" y="1853168"/>
            <a:ext cx="2871057" cy="457049"/>
          </a:xfrm>
          <a:prstGeom prst="rect">
            <a:avLst/>
          </a:prstGeom>
          <a:solidFill>
            <a:schemeClr val="accent6"/>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3" tIns="102880" rIns="68583" bIns="102880" numCol="1" rtlCol="0" anchor="t" anchorCtr="0" compatLnSpc="1">
            <a:prstTxWarp prst="textNoShape">
              <a:avLst/>
            </a:prstTxWarp>
            <a:spAutoFit/>
          </a:bodyPr>
          <a:lstStyle/>
          <a:p>
            <a:pPr lvl="0" algn="ctr">
              <a:lnSpc>
                <a:spcPct val="90000"/>
              </a:lnSpc>
              <a:spcBef>
                <a:spcPct val="20000"/>
              </a:spcBef>
              <a:buSzPct val="90000"/>
            </a:pPr>
            <a:r>
              <a:rPr lang="en-US" sz="1800" dirty="0">
                <a:gradFill>
                  <a:gsLst>
                    <a:gs pos="0">
                      <a:schemeClr val="tx1"/>
                    </a:gs>
                    <a:gs pos="100000">
                      <a:schemeClr val="tx1"/>
                    </a:gs>
                  </a:gsLst>
                  <a:lin ang="5400000" scaled="0"/>
                </a:gradFill>
              </a:rPr>
              <a:t>Payload Length</a:t>
            </a:r>
          </a:p>
        </p:txBody>
      </p:sp>
      <p:sp>
        <p:nvSpPr>
          <p:cNvPr id="8" name="Rectangle 7"/>
          <p:cNvSpPr/>
          <p:nvPr/>
        </p:nvSpPr>
        <p:spPr bwMode="auto">
          <a:xfrm>
            <a:off x="4221647" y="1853168"/>
            <a:ext cx="1722634" cy="457049"/>
          </a:xfrm>
          <a:prstGeom prst="rect">
            <a:avLst/>
          </a:prstGeom>
          <a:solidFill>
            <a:schemeClr val="accent5"/>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3" tIns="102880" rIns="68583" bIns="102880" numCol="1" rtlCol="0" anchor="t" anchorCtr="0" compatLnSpc="1">
            <a:prstTxWarp prst="textNoShape">
              <a:avLst/>
            </a:prstTxWarp>
            <a:spAutoFit/>
          </a:bodyPr>
          <a:lstStyle/>
          <a:p>
            <a:pPr lvl="0" algn="ctr">
              <a:lnSpc>
                <a:spcPct val="90000"/>
              </a:lnSpc>
              <a:spcBef>
                <a:spcPct val="20000"/>
              </a:spcBef>
              <a:buSzPct val="90000"/>
            </a:pPr>
            <a:r>
              <a:rPr lang="en-US" sz="1800" dirty="0">
                <a:gradFill>
                  <a:gsLst>
                    <a:gs pos="0">
                      <a:schemeClr val="tx1"/>
                    </a:gs>
                    <a:gs pos="100000">
                      <a:schemeClr val="tx1"/>
                    </a:gs>
                  </a:gsLst>
                  <a:lin ang="5400000" scaled="0"/>
                </a:gradFill>
              </a:rPr>
              <a:t>Next Header</a:t>
            </a:r>
          </a:p>
        </p:txBody>
      </p:sp>
      <p:sp>
        <p:nvSpPr>
          <p:cNvPr id="9" name="Rectangle 8"/>
          <p:cNvSpPr/>
          <p:nvPr/>
        </p:nvSpPr>
        <p:spPr bwMode="auto">
          <a:xfrm>
            <a:off x="5944281" y="1853168"/>
            <a:ext cx="1722634" cy="457049"/>
          </a:xfrm>
          <a:prstGeom prst="rect">
            <a:avLst/>
          </a:prstGeom>
          <a:solidFill>
            <a:schemeClr val="accent1"/>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3" tIns="102880" rIns="68583" bIns="102880" numCol="1" rtlCol="0" anchor="t" anchorCtr="0" compatLnSpc="1">
            <a:prstTxWarp prst="textNoShape">
              <a:avLst/>
            </a:prstTxWarp>
            <a:spAutoFit/>
          </a:bodyPr>
          <a:lstStyle/>
          <a:p>
            <a:pPr lvl="0" algn="ctr">
              <a:lnSpc>
                <a:spcPct val="90000"/>
              </a:lnSpc>
              <a:spcBef>
                <a:spcPct val="20000"/>
              </a:spcBef>
              <a:buSzPct val="90000"/>
            </a:pPr>
            <a:r>
              <a:rPr lang="en-US" sz="1800" dirty="0">
                <a:gradFill>
                  <a:gsLst>
                    <a:gs pos="0">
                      <a:schemeClr val="tx1"/>
                    </a:gs>
                    <a:gs pos="100000">
                      <a:schemeClr val="tx1"/>
                    </a:gs>
                  </a:gsLst>
                  <a:lin ang="5400000" scaled="0"/>
                </a:gradFill>
              </a:rPr>
              <a:t>Hop Limit</a:t>
            </a:r>
          </a:p>
        </p:txBody>
      </p:sp>
      <p:sp>
        <p:nvSpPr>
          <p:cNvPr id="11" name="Rectangle 10"/>
          <p:cNvSpPr/>
          <p:nvPr/>
        </p:nvSpPr>
        <p:spPr bwMode="auto">
          <a:xfrm>
            <a:off x="1350590" y="2310215"/>
            <a:ext cx="6316325" cy="1066446"/>
          </a:xfrm>
          <a:prstGeom prst="rect">
            <a:avLst/>
          </a:prstGeom>
          <a:solidFill>
            <a:schemeClr val="accent4"/>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3" tIns="102880" rIns="68583" bIns="102880" numCol="1" rtlCol="0" anchor="t" anchorCtr="0" compatLnSpc="1">
            <a:prstTxWarp prst="textNoShape">
              <a:avLst/>
            </a:prstTxWarp>
            <a:spAutoFit/>
          </a:bodyPr>
          <a:lstStyle/>
          <a:p>
            <a:pPr lvl="0" algn="ctr">
              <a:lnSpc>
                <a:spcPct val="90000"/>
              </a:lnSpc>
              <a:spcBef>
                <a:spcPct val="20000"/>
              </a:spcBef>
              <a:buSzPct val="90000"/>
            </a:pPr>
            <a:endParaRPr lang="en-US" sz="1800" dirty="0">
              <a:gradFill>
                <a:gsLst>
                  <a:gs pos="0">
                    <a:schemeClr val="tx1"/>
                  </a:gs>
                  <a:gs pos="100000">
                    <a:schemeClr val="tx1"/>
                  </a:gs>
                </a:gsLst>
                <a:lin ang="5400000" scaled="0"/>
              </a:gradFill>
            </a:endParaRPr>
          </a:p>
          <a:p>
            <a:pPr lvl="0" algn="ctr">
              <a:lnSpc>
                <a:spcPct val="90000"/>
              </a:lnSpc>
              <a:spcBef>
                <a:spcPct val="20000"/>
              </a:spcBef>
              <a:buSzPct val="90000"/>
            </a:pPr>
            <a:r>
              <a:rPr lang="en-US" sz="1800" dirty="0">
                <a:gradFill>
                  <a:gsLst>
                    <a:gs pos="0">
                      <a:schemeClr val="tx1"/>
                    </a:gs>
                    <a:gs pos="100000">
                      <a:schemeClr val="tx1"/>
                    </a:gs>
                  </a:gsLst>
                  <a:lin ang="5400000" scaled="0"/>
                </a:gradFill>
              </a:rPr>
              <a:t>128-bits source address</a:t>
            </a:r>
          </a:p>
          <a:p>
            <a:pPr lvl="0" algn="ctr">
              <a:lnSpc>
                <a:spcPct val="90000"/>
              </a:lnSpc>
              <a:spcBef>
                <a:spcPct val="20000"/>
              </a:spcBef>
              <a:buSzPct val="90000"/>
            </a:pPr>
            <a:endParaRPr lang="en-US" sz="1800" dirty="0">
              <a:gradFill>
                <a:gsLst>
                  <a:gs pos="0">
                    <a:schemeClr val="tx1"/>
                  </a:gs>
                  <a:gs pos="100000">
                    <a:schemeClr val="tx1"/>
                  </a:gs>
                </a:gsLst>
                <a:lin ang="5400000" scaled="0"/>
              </a:gradFill>
            </a:endParaRPr>
          </a:p>
        </p:txBody>
      </p:sp>
      <p:sp>
        <p:nvSpPr>
          <p:cNvPr id="12" name="Rectangle 11"/>
          <p:cNvSpPr/>
          <p:nvPr/>
        </p:nvSpPr>
        <p:spPr bwMode="auto">
          <a:xfrm>
            <a:off x="1350590" y="3376661"/>
            <a:ext cx="6316325" cy="1066446"/>
          </a:xfrm>
          <a:prstGeom prst="rect">
            <a:avLst/>
          </a:prstGeom>
          <a:solidFill>
            <a:schemeClr val="accent3"/>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3" tIns="102880" rIns="68583" bIns="102880" numCol="1" rtlCol="0" anchor="t" anchorCtr="0" compatLnSpc="1">
            <a:prstTxWarp prst="textNoShape">
              <a:avLst/>
            </a:prstTxWarp>
            <a:spAutoFit/>
          </a:bodyPr>
          <a:lstStyle/>
          <a:p>
            <a:pPr lvl="0" algn="ctr">
              <a:lnSpc>
                <a:spcPct val="90000"/>
              </a:lnSpc>
              <a:spcBef>
                <a:spcPct val="20000"/>
              </a:spcBef>
              <a:buSzPct val="90000"/>
            </a:pPr>
            <a:endParaRPr lang="en-US" sz="1800" dirty="0">
              <a:gradFill>
                <a:gsLst>
                  <a:gs pos="0">
                    <a:schemeClr val="tx1"/>
                  </a:gs>
                  <a:gs pos="100000">
                    <a:schemeClr val="tx1"/>
                  </a:gs>
                </a:gsLst>
                <a:lin ang="5400000" scaled="0"/>
              </a:gradFill>
            </a:endParaRPr>
          </a:p>
          <a:p>
            <a:pPr lvl="0" algn="ctr">
              <a:lnSpc>
                <a:spcPct val="90000"/>
              </a:lnSpc>
              <a:spcBef>
                <a:spcPct val="20000"/>
              </a:spcBef>
              <a:buSzPct val="90000"/>
            </a:pPr>
            <a:r>
              <a:rPr lang="en-US" sz="1800" dirty="0">
                <a:gradFill>
                  <a:gsLst>
                    <a:gs pos="0">
                      <a:schemeClr val="tx1"/>
                    </a:gs>
                    <a:gs pos="100000">
                      <a:schemeClr val="tx1"/>
                    </a:gs>
                  </a:gsLst>
                  <a:lin ang="5400000" scaled="0"/>
                </a:gradFill>
              </a:rPr>
              <a:t>128-bits destination address</a:t>
            </a:r>
          </a:p>
          <a:p>
            <a:pPr lvl="0" algn="ctr">
              <a:lnSpc>
                <a:spcPct val="90000"/>
              </a:lnSpc>
              <a:spcBef>
                <a:spcPct val="20000"/>
              </a:spcBef>
              <a:buSzPct val="90000"/>
            </a:pPr>
            <a:endParaRPr lang="en-US" sz="1800" dirty="0">
              <a:gradFill>
                <a:gsLst>
                  <a:gs pos="0">
                    <a:schemeClr val="tx1"/>
                  </a:gs>
                  <a:gs pos="100000">
                    <a:schemeClr val="tx1"/>
                  </a:gs>
                </a:gsLst>
                <a:lin ang="5400000" scaled="0"/>
              </a:gradFill>
            </a:endParaRPr>
          </a:p>
        </p:txBody>
      </p:sp>
      <p:sp>
        <p:nvSpPr>
          <p:cNvPr id="13" name="TextBox 12"/>
          <p:cNvSpPr txBox="1"/>
          <p:nvPr/>
        </p:nvSpPr>
        <p:spPr>
          <a:xfrm>
            <a:off x="1793000" y="1059583"/>
            <a:ext cx="263602" cy="387799"/>
          </a:xfrm>
          <a:prstGeom prst="rect">
            <a:avLst/>
          </a:prstGeom>
          <a:noFill/>
        </p:spPr>
        <p:txBody>
          <a:bodyPr wrap="none" lIns="68586" tIns="68586" rIns="68586" bIns="68586" rtlCol="0">
            <a:spAutoFit/>
          </a:bodyPr>
          <a:lstStyle/>
          <a:p>
            <a:pPr>
              <a:lnSpc>
                <a:spcPct val="90000"/>
              </a:lnSpc>
              <a:spcBef>
                <a:spcPct val="20000"/>
              </a:spcBef>
              <a:buSzPct val="90000"/>
            </a:pPr>
            <a:r>
              <a:rPr lang="sv-SE" sz="1800" dirty="0">
                <a:solidFill>
                  <a:schemeClr val="tx1">
                    <a:alpha val="99000"/>
                  </a:schemeClr>
                </a:solidFill>
              </a:rPr>
              <a:t>4</a:t>
            </a:r>
          </a:p>
        </p:txBody>
      </p:sp>
      <p:sp>
        <p:nvSpPr>
          <p:cNvPr id="14" name="TextBox 13"/>
          <p:cNvSpPr txBox="1"/>
          <p:nvPr/>
        </p:nvSpPr>
        <p:spPr>
          <a:xfrm>
            <a:off x="3515634" y="1059583"/>
            <a:ext cx="388669" cy="387799"/>
          </a:xfrm>
          <a:prstGeom prst="rect">
            <a:avLst/>
          </a:prstGeom>
          <a:noFill/>
        </p:spPr>
        <p:txBody>
          <a:bodyPr wrap="none" lIns="68586" tIns="68586" rIns="68586" bIns="68586" rtlCol="0">
            <a:spAutoFit/>
          </a:bodyPr>
          <a:lstStyle/>
          <a:p>
            <a:pPr>
              <a:lnSpc>
                <a:spcPct val="90000"/>
              </a:lnSpc>
              <a:spcBef>
                <a:spcPct val="20000"/>
              </a:spcBef>
              <a:buSzPct val="90000"/>
            </a:pPr>
            <a:r>
              <a:rPr lang="sv-SE" sz="1800" dirty="0">
                <a:solidFill>
                  <a:schemeClr val="tx1">
                    <a:alpha val="99000"/>
                  </a:schemeClr>
                </a:solidFill>
              </a:rPr>
              <a:t>12</a:t>
            </a:r>
          </a:p>
        </p:txBody>
      </p:sp>
      <p:sp>
        <p:nvSpPr>
          <p:cNvPr id="15" name="TextBox 14"/>
          <p:cNvSpPr txBox="1"/>
          <p:nvPr/>
        </p:nvSpPr>
        <p:spPr>
          <a:xfrm>
            <a:off x="4071111" y="1059583"/>
            <a:ext cx="388669" cy="387799"/>
          </a:xfrm>
          <a:prstGeom prst="rect">
            <a:avLst/>
          </a:prstGeom>
          <a:noFill/>
        </p:spPr>
        <p:txBody>
          <a:bodyPr wrap="none" lIns="68586" tIns="68586" rIns="68586" bIns="68586" rtlCol="0">
            <a:spAutoFit/>
          </a:bodyPr>
          <a:lstStyle/>
          <a:p>
            <a:pPr>
              <a:lnSpc>
                <a:spcPct val="90000"/>
              </a:lnSpc>
              <a:spcBef>
                <a:spcPct val="20000"/>
              </a:spcBef>
              <a:buSzPct val="90000"/>
            </a:pPr>
            <a:r>
              <a:rPr lang="sv-SE" sz="1800" dirty="0">
                <a:solidFill>
                  <a:schemeClr val="tx1">
                    <a:alpha val="99000"/>
                  </a:schemeClr>
                </a:solidFill>
              </a:rPr>
              <a:t>16</a:t>
            </a:r>
          </a:p>
        </p:txBody>
      </p:sp>
      <p:sp>
        <p:nvSpPr>
          <p:cNvPr id="16" name="TextBox 15"/>
          <p:cNvSpPr txBox="1"/>
          <p:nvPr/>
        </p:nvSpPr>
        <p:spPr>
          <a:xfrm>
            <a:off x="5812481" y="1059583"/>
            <a:ext cx="388669" cy="387799"/>
          </a:xfrm>
          <a:prstGeom prst="rect">
            <a:avLst/>
          </a:prstGeom>
          <a:noFill/>
        </p:spPr>
        <p:txBody>
          <a:bodyPr wrap="none" lIns="68586" tIns="68586" rIns="68586" bIns="68586" rtlCol="0">
            <a:spAutoFit/>
          </a:bodyPr>
          <a:lstStyle/>
          <a:p>
            <a:pPr>
              <a:lnSpc>
                <a:spcPct val="90000"/>
              </a:lnSpc>
              <a:spcBef>
                <a:spcPct val="20000"/>
              </a:spcBef>
              <a:buSzPct val="90000"/>
            </a:pPr>
            <a:r>
              <a:rPr lang="sv-SE" sz="1800" dirty="0">
                <a:solidFill>
                  <a:schemeClr val="tx1">
                    <a:alpha val="99000"/>
                  </a:schemeClr>
                </a:solidFill>
              </a:rPr>
              <a:t>24</a:t>
            </a:r>
          </a:p>
        </p:txBody>
      </p:sp>
      <p:sp>
        <p:nvSpPr>
          <p:cNvPr id="17" name="TextBox 16"/>
          <p:cNvSpPr txBox="1"/>
          <p:nvPr/>
        </p:nvSpPr>
        <p:spPr>
          <a:xfrm>
            <a:off x="7472580" y="1059583"/>
            <a:ext cx="388669" cy="387799"/>
          </a:xfrm>
          <a:prstGeom prst="rect">
            <a:avLst/>
          </a:prstGeom>
          <a:noFill/>
        </p:spPr>
        <p:txBody>
          <a:bodyPr wrap="none" lIns="68586" tIns="68586" rIns="68586" bIns="68586" rtlCol="0">
            <a:spAutoFit/>
          </a:bodyPr>
          <a:lstStyle/>
          <a:p>
            <a:pPr>
              <a:lnSpc>
                <a:spcPct val="90000"/>
              </a:lnSpc>
              <a:spcBef>
                <a:spcPct val="20000"/>
              </a:spcBef>
              <a:buSzPct val="90000"/>
            </a:pPr>
            <a:r>
              <a:rPr lang="sv-SE" sz="1800" dirty="0">
                <a:solidFill>
                  <a:schemeClr val="tx1">
                    <a:alpha val="99000"/>
                  </a:schemeClr>
                </a:solidFill>
              </a:rPr>
              <a:t>32</a:t>
            </a:r>
          </a:p>
        </p:txBody>
      </p:sp>
      <p:sp>
        <p:nvSpPr>
          <p:cNvPr id="18" name="TextBox 17"/>
          <p:cNvSpPr txBox="1"/>
          <p:nvPr/>
        </p:nvSpPr>
        <p:spPr>
          <a:xfrm>
            <a:off x="1218788" y="1059583"/>
            <a:ext cx="263602" cy="387799"/>
          </a:xfrm>
          <a:prstGeom prst="rect">
            <a:avLst/>
          </a:prstGeom>
          <a:noFill/>
        </p:spPr>
        <p:txBody>
          <a:bodyPr wrap="none" lIns="68586" tIns="68586" rIns="68586" bIns="68586" rtlCol="0">
            <a:spAutoFit/>
          </a:bodyPr>
          <a:lstStyle/>
          <a:p>
            <a:pPr>
              <a:lnSpc>
                <a:spcPct val="90000"/>
              </a:lnSpc>
              <a:spcBef>
                <a:spcPct val="20000"/>
              </a:spcBef>
              <a:buSzPct val="90000"/>
            </a:pPr>
            <a:r>
              <a:rPr lang="sv-SE" sz="1800" dirty="0">
                <a:solidFill>
                  <a:schemeClr val="tx1">
                    <a:alpha val="99000"/>
                  </a:schemeClr>
                </a:solidFill>
              </a:rPr>
              <a:t>0</a:t>
            </a:r>
          </a:p>
        </p:txBody>
      </p:sp>
      <p:sp>
        <p:nvSpPr>
          <p:cNvPr id="19" name="TextBox 18"/>
          <p:cNvSpPr txBox="1"/>
          <p:nvPr/>
        </p:nvSpPr>
        <p:spPr>
          <a:xfrm>
            <a:off x="1338792" y="4486348"/>
            <a:ext cx="1544624" cy="387799"/>
          </a:xfrm>
          <a:prstGeom prst="rect">
            <a:avLst/>
          </a:prstGeom>
          <a:noFill/>
        </p:spPr>
        <p:txBody>
          <a:bodyPr wrap="none" lIns="68586" tIns="68586" rIns="68586" bIns="68586" rtlCol="0">
            <a:spAutoFit/>
          </a:bodyPr>
          <a:lstStyle/>
          <a:p>
            <a:pPr>
              <a:lnSpc>
                <a:spcPct val="90000"/>
              </a:lnSpc>
              <a:spcBef>
                <a:spcPct val="20000"/>
              </a:spcBef>
              <a:buSzPct val="90000"/>
            </a:pPr>
            <a:r>
              <a:rPr lang="sv-SE" sz="1800" dirty="0">
                <a:solidFill>
                  <a:schemeClr val="tx1">
                    <a:alpha val="99000"/>
                  </a:schemeClr>
                </a:solidFill>
              </a:rPr>
              <a:t>Total 40 bytes</a:t>
            </a:r>
          </a:p>
        </p:txBody>
      </p:sp>
      <p:sp>
        <p:nvSpPr>
          <p:cNvPr id="20"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1"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
              </a:rPr>
              <a:t>www.rapidbbs.cn</a:t>
            </a:r>
            <a:endParaRPr lang="zh-CN" altLang="en-US" sz="1200" b="0">
              <a:latin typeface="Arial" charset="0"/>
              <a:ea typeface="ＭＳ Ｐゴシック" pitchFamily="34" charset="-128"/>
            </a:endParaRPr>
          </a:p>
        </p:txBody>
      </p:sp>
      <p:pic>
        <p:nvPicPr>
          <p:cNvPr id="22" name="Picture 2">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997346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000" fill="hold"/>
                                        <p:tgtEl>
                                          <p:spTgt spid="4"/>
                                        </p:tgtEl>
                                        <p:attrNameLst>
                                          <p:attrName>ppt_x</p:attrName>
                                        </p:attrNameLst>
                                      </p:cBhvr>
                                      <p:tavLst>
                                        <p:tav tm="0">
                                          <p:val>
                                            <p:strVal val="0-#ppt_w/2"/>
                                          </p:val>
                                        </p:tav>
                                        <p:tav tm="100000">
                                          <p:val>
                                            <p:strVal val="#ppt_x"/>
                                          </p:val>
                                        </p:tav>
                                      </p:tavLst>
                                    </p:anim>
                                    <p:anim calcmode="lin" valueType="num">
                                      <p:cBhvr additive="base">
                                        <p:cTn id="8" dur="10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 presetClass="entr" presetSubtype="8" decel="100000" fill="hold" grpId="0" nodeType="afterEffect">
                                  <p:stCondLst>
                                    <p:cond delay="0"/>
                                  </p:stCondLst>
                                  <p:childTnLst>
                                    <p:set>
                                      <p:cBhvr>
                                        <p:cTn id="11" dur="1" fill="hold">
                                          <p:stCondLst>
                                            <p:cond delay="0"/>
                                          </p:stCondLst>
                                        </p:cTn>
                                        <p:tgtEl>
                                          <p:spTgt spid="5"/>
                                        </p:tgtEl>
                                        <p:attrNameLst>
                                          <p:attrName>style.visibility</p:attrName>
                                        </p:attrNameLst>
                                      </p:cBhvr>
                                      <p:to>
                                        <p:strVal val="visible"/>
                                      </p:to>
                                    </p:set>
                                    <p:anim calcmode="lin" valueType="num">
                                      <p:cBhvr additive="base">
                                        <p:cTn id="12" dur="1000" fill="hold"/>
                                        <p:tgtEl>
                                          <p:spTgt spid="5"/>
                                        </p:tgtEl>
                                        <p:attrNameLst>
                                          <p:attrName>ppt_x</p:attrName>
                                        </p:attrNameLst>
                                      </p:cBhvr>
                                      <p:tavLst>
                                        <p:tav tm="0">
                                          <p:val>
                                            <p:strVal val="0-#ppt_w/2"/>
                                          </p:val>
                                        </p:tav>
                                        <p:tav tm="100000">
                                          <p:val>
                                            <p:strVal val="#ppt_x"/>
                                          </p:val>
                                        </p:tav>
                                      </p:tavLst>
                                    </p:anim>
                                    <p:anim calcmode="lin" valueType="num">
                                      <p:cBhvr additive="base">
                                        <p:cTn id="13" dur="1000" fill="hold"/>
                                        <p:tgtEl>
                                          <p:spTgt spid="5"/>
                                        </p:tgtEl>
                                        <p:attrNameLst>
                                          <p:attrName>ppt_y</p:attrName>
                                        </p:attrNameLst>
                                      </p:cBhvr>
                                      <p:tavLst>
                                        <p:tav tm="0">
                                          <p:val>
                                            <p:strVal val="#ppt_y"/>
                                          </p:val>
                                        </p:tav>
                                        <p:tav tm="100000">
                                          <p:val>
                                            <p:strVal val="#ppt_y"/>
                                          </p:val>
                                        </p:tav>
                                      </p:tavLst>
                                    </p:anim>
                                  </p:childTnLst>
                                </p:cTn>
                              </p:par>
                            </p:childTnLst>
                          </p:cTn>
                        </p:par>
                        <p:par>
                          <p:cTn id="14" fill="hold">
                            <p:stCondLst>
                              <p:cond delay="2000"/>
                            </p:stCondLst>
                            <p:childTnLst>
                              <p:par>
                                <p:cTn id="15" presetID="2" presetClass="entr" presetSubtype="8" decel="10000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 calcmode="lin" valueType="num">
                                      <p:cBhvr additive="base">
                                        <p:cTn id="17" dur="1000" fill="hold"/>
                                        <p:tgtEl>
                                          <p:spTgt spid="6"/>
                                        </p:tgtEl>
                                        <p:attrNameLst>
                                          <p:attrName>ppt_x</p:attrName>
                                        </p:attrNameLst>
                                      </p:cBhvr>
                                      <p:tavLst>
                                        <p:tav tm="0">
                                          <p:val>
                                            <p:strVal val="0-#ppt_w/2"/>
                                          </p:val>
                                        </p:tav>
                                        <p:tav tm="100000">
                                          <p:val>
                                            <p:strVal val="#ppt_x"/>
                                          </p:val>
                                        </p:tav>
                                      </p:tavLst>
                                    </p:anim>
                                    <p:anim calcmode="lin" valueType="num">
                                      <p:cBhvr additive="base">
                                        <p:cTn id="18" dur="1000" fill="hold"/>
                                        <p:tgtEl>
                                          <p:spTgt spid="6"/>
                                        </p:tgtEl>
                                        <p:attrNameLst>
                                          <p:attrName>ppt_y</p:attrName>
                                        </p:attrNameLst>
                                      </p:cBhvr>
                                      <p:tavLst>
                                        <p:tav tm="0">
                                          <p:val>
                                            <p:strVal val="#ppt_y"/>
                                          </p:val>
                                        </p:tav>
                                        <p:tav tm="100000">
                                          <p:val>
                                            <p:strVal val="#ppt_y"/>
                                          </p:val>
                                        </p:tav>
                                      </p:tavLst>
                                    </p:anim>
                                  </p:childTnLst>
                                </p:cTn>
                              </p:par>
                            </p:childTnLst>
                          </p:cTn>
                        </p:par>
                        <p:par>
                          <p:cTn id="19" fill="hold">
                            <p:stCondLst>
                              <p:cond delay="3000"/>
                            </p:stCondLst>
                            <p:childTnLst>
                              <p:par>
                                <p:cTn id="20" presetID="2" presetClass="entr" presetSubtype="8" decel="100000" fill="hold" grpId="0" nodeType="afterEffect">
                                  <p:stCondLst>
                                    <p:cond delay="0"/>
                                  </p:stCondLst>
                                  <p:childTnLst>
                                    <p:set>
                                      <p:cBhvr>
                                        <p:cTn id="21" dur="1" fill="hold">
                                          <p:stCondLst>
                                            <p:cond delay="0"/>
                                          </p:stCondLst>
                                        </p:cTn>
                                        <p:tgtEl>
                                          <p:spTgt spid="7"/>
                                        </p:tgtEl>
                                        <p:attrNameLst>
                                          <p:attrName>style.visibility</p:attrName>
                                        </p:attrNameLst>
                                      </p:cBhvr>
                                      <p:to>
                                        <p:strVal val="visible"/>
                                      </p:to>
                                    </p:set>
                                    <p:anim calcmode="lin" valueType="num">
                                      <p:cBhvr additive="base">
                                        <p:cTn id="22" dur="1000" fill="hold"/>
                                        <p:tgtEl>
                                          <p:spTgt spid="7"/>
                                        </p:tgtEl>
                                        <p:attrNameLst>
                                          <p:attrName>ppt_x</p:attrName>
                                        </p:attrNameLst>
                                      </p:cBhvr>
                                      <p:tavLst>
                                        <p:tav tm="0">
                                          <p:val>
                                            <p:strVal val="0-#ppt_w/2"/>
                                          </p:val>
                                        </p:tav>
                                        <p:tav tm="100000">
                                          <p:val>
                                            <p:strVal val="#ppt_x"/>
                                          </p:val>
                                        </p:tav>
                                      </p:tavLst>
                                    </p:anim>
                                    <p:anim calcmode="lin" valueType="num">
                                      <p:cBhvr additive="base">
                                        <p:cTn id="23" dur="1000" fill="hold"/>
                                        <p:tgtEl>
                                          <p:spTgt spid="7"/>
                                        </p:tgtEl>
                                        <p:attrNameLst>
                                          <p:attrName>ppt_y</p:attrName>
                                        </p:attrNameLst>
                                      </p:cBhvr>
                                      <p:tavLst>
                                        <p:tav tm="0">
                                          <p:val>
                                            <p:strVal val="#ppt_y"/>
                                          </p:val>
                                        </p:tav>
                                        <p:tav tm="100000">
                                          <p:val>
                                            <p:strVal val="#ppt_y"/>
                                          </p:val>
                                        </p:tav>
                                      </p:tavLst>
                                    </p:anim>
                                  </p:childTnLst>
                                </p:cTn>
                              </p:par>
                            </p:childTnLst>
                          </p:cTn>
                        </p:par>
                        <p:par>
                          <p:cTn id="24" fill="hold">
                            <p:stCondLst>
                              <p:cond delay="4000"/>
                            </p:stCondLst>
                            <p:childTnLst>
                              <p:par>
                                <p:cTn id="25" presetID="2" presetClass="entr" presetSubtype="8" decel="100000" fill="hold" grpId="0" nodeType="afterEffect">
                                  <p:stCondLst>
                                    <p:cond delay="0"/>
                                  </p:stCondLst>
                                  <p:childTnLst>
                                    <p:set>
                                      <p:cBhvr>
                                        <p:cTn id="26" dur="1" fill="hold">
                                          <p:stCondLst>
                                            <p:cond delay="0"/>
                                          </p:stCondLst>
                                        </p:cTn>
                                        <p:tgtEl>
                                          <p:spTgt spid="8"/>
                                        </p:tgtEl>
                                        <p:attrNameLst>
                                          <p:attrName>style.visibility</p:attrName>
                                        </p:attrNameLst>
                                      </p:cBhvr>
                                      <p:to>
                                        <p:strVal val="visible"/>
                                      </p:to>
                                    </p:set>
                                    <p:anim calcmode="lin" valueType="num">
                                      <p:cBhvr additive="base">
                                        <p:cTn id="27" dur="1000" fill="hold"/>
                                        <p:tgtEl>
                                          <p:spTgt spid="8"/>
                                        </p:tgtEl>
                                        <p:attrNameLst>
                                          <p:attrName>ppt_x</p:attrName>
                                        </p:attrNameLst>
                                      </p:cBhvr>
                                      <p:tavLst>
                                        <p:tav tm="0">
                                          <p:val>
                                            <p:strVal val="0-#ppt_w/2"/>
                                          </p:val>
                                        </p:tav>
                                        <p:tav tm="100000">
                                          <p:val>
                                            <p:strVal val="#ppt_x"/>
                                          </p:val>
                                        </p:tav>
                                      </p:tavLst>
                                    </p:anim>
                                    <p:anim calcmode="lin" valueType="num">
                                      <p:cBhvr additive="base">
                                        <p:cTn id="28" dur="1000" fill="hold"/>
                                        <p:tgtEl>
                                          <p:spTgt spid="8"/>
                                        </p:tgtEl>
                                        <p:attrNameLst>
                                          <p:attrName>ppt_y</p:attrName>
                                        </p:attrNameLst>
                                      </p:cBhvr>
                                      <p:tavLst>
                                        <p:tav tm="0">
                                          <p:val>
                                            <p:strVal val="#ppt_y"/>
                                          </p:val>
                                        </p:tav>
                                        <p:tav tm="100000">
                                          <p:val>
                                            <p:strVal val="#ppt_y"/>
                                          </p:val>
                                        </p:tav>
                                      </p:tavLst>
                                    </p:anim>
                                  </p:childTnLst>
                                </p:cTn>
                              </p:par>
                              <p:par>
                                <p:cTn id="29" presetID="2" presetClass="entr" presetSubtype="8" decel="100000" fill="hold" grpId="0" nodeType="withEffect">
                                  <p:stCondLst>
                                    <p:cond delay="1000"/>
                                  </p:stCondLst>
                                  <p:childTnLst>
                                    <p:set>
                                      <p:cBhvr>
                                        <p:cTn id="30" dur="1" fill="hold">
                                          <p:stCondLst>
                                            <p:cond delay="0"/>
                                          </p:stCondLst>
                                        </p:cTn>
                                        <p:tgtEl>
                                          <p:spTgt spid="9"/>
                                        </p:tgtEl>
                                        <p:attrNameLst>
                                          <p:attrName>style.visibility</p:attrName>
                                        </p:attrNameLst>
                                      </p:cBhvr>
                                      <p:to>
                                        <p:strVal val="visible"/>
                                      </p:to>
                                    </p:set>
                                    <p:anim calcmode="lin" valueType="num">
                                      <p:cBhvr additive="base">
                                        <p:cTn id="31" dur="900" fill="hold"/>
                                        <p:tgtEl>
                                          <p:spTgt spid="9"/>
                                        </p:tgtEl>
                                        <p:attrNameLst>
                                          <p:attrName>ppt_x</p:attrName>
                                        </p:attrNameLst>
                                      </p:cBhvr>
                                      <p:tavLst>
                                        <p:tav tm="0">
                                          <p:val>
                                            <p:strVal val="0-#ppt_w/2"/>
                                          </p:val>
                                        </p:tav>
                                        <p:tav tm="100000">
                                          <p:val>
                                            <p:strVal val="#ppt_x"/>
                                          </p:val>
                                        </p:tav>
                                      </p:tavLst>
                                    </p:anim>
                                    <p:anim calcmode="lin" valueType="num">
                                      <p:cBhvr additive="base">
                                        <p:cTn id="32" dur="900" fill="hold"/>
                                        <p:tgtEl>
                                          <p:spTgt spid="9"/>
                                        </p:tgtEl>
                                        <p:attrNameLst>
                                          <p:attrName>ppt_y</p:attrName>
                                        </p:attrNameLst>
                                      </p:cBhvr>
                                      <p:tavLst>
                                        <p:tav tm="0">
                                          <p:val>
                                            <p:strVal val="#ppt_y"/>
                                          </p:val>
                                        </p:tav>
                                        <p:tav tm="100000">
                                          <p:val>
                                            <p:strVal val="#ppt_y"/>
                                          </p:val>
                                        </p:tav>
                                      </p:tavLst>
                                    </p:anim>
                                  </p:childTnLst>
                                </p:cTn>
                              </p:par>
                            </p:childTnLst>
                          </p:cTn>
                        </p:par>
                        <p:par>
                          <p:cTn id="33" fill="hold">
                            <p:stCondLst>
                              <p:cond delay="5900"/>
                            </p:stCondLst>
                            <p:childTnLst>
                              <p:par>
                                <p:cTn id="34" presetID="2" presetClass="entr" presetSubtype="8" decel="100000" fill="hold" grpId="0" nodeType="afterEffect">
                                  <p:stCondLst>
                                    <p:cond delay="0"/>
                                  </p:stCondLst>
                                  <p:childTnLst>
                                    <p:set>
                                      <p:cBhvr>
                                        <p:cTn id="35" dur="1" fill="hold">
                                          <p:stCondLst>
                                            <p:cond delay="0"/>
                                          </p:stCondLst>
                                        </p:cTn>
                                        <p:tgtEl>
                                          <p:spTgt spid="11"/>
                                        </p:tgtEl>
                                        <p:attrNameLst>
                                          <p:attrName>style.visibility</p:attrName>
                                        </p:attrNameLst>
                                      </p:cBhvr>
                                      <p:to>
                                        <p:strVal val="visible"/>
                                      </p:to>
                                    </p:set>
                                    <p:anim calcmode="lin" valueType="num">
                                      <p:cBhvr additive="base">
                                        <p:cTn id="36" dur="1000" fill="hold"/>
                                        <p:tgtEl>
                                          <p:spTgt spid="11"/>
                                        </p:tgtEl>
                                        <p:attrNameLst>
                                          <p:attrName>ppt_x</p:attrName>
                                        </p:attrNameLst>
                                      </p:cBhvr>
                                      <p:tavLst>
                                        <p:tav tm="0">
                                          <p:val>
                                            <p:strVal val="0-#ppt_w/2"/>
                                          </p:val>
                                        </p:tav>
                                        <p:tav tm="100000">
                                          <p:val>
                                            <p:strVal val="#ppt_x"/>
                                          </p:val>
                                        </p:tav>
                                      </p:tavLst>
                                    </p:anim>
                                    <p:anim calcmode="lin" valueType="num">
                                      <p:cBhvr additive="base">
                                        <p:cTn id="37" dur="1000" fill="hold"/>
                                        <p:tgtEl>
                                          <p:spTgt spid="11"/>
                                        </p:tgtEl>
                                        <p:attrNameLst>
                                          <p:attrName>ppt_y</p:attrName>
                                        </p:attrNameLst>
                                      </p:cBhvr>
                                      <p:tavLst>
                                        <p:tav tm="0">
                                          <p:val>
                                            <p:strVal val="#ppt_y"/>
                                          </p:val>
                                        </p:tav>
                                        <p:tav tm="100000">
                                          <p:val>
                                            <p:strVal val="#ppt_y"/>
                                          </p:val>
                                        </p:tav>
                                      </p:tavLst>
                                    </p:anim>
                                  </p:childTnLst>
                                </p:cTn>
                              </p:par>
                            </p:childTnLst>
                          </p:cTn>
                        </p:par>
                        <p:par>
                          <p:cTn id="38" fill="hold">
                            <p:stCondLst>
                              <p:cond delay="6900"/>
                            </p:stCondLst>
                            <p:childTnLst>
                              <p:par>
                                <p:cTn id="39" presetID="2" presetClass="entr" presetSubtype="8" decel="100000" fill="hold" grpId="0" nodeType="afterEffect">
                                  <p:stCondLst>
                                    <p:cond delay="0"/>
                                  </p:stCondLst>
                                  <p:childTnLst>
                                    <p:set>
                                      <p:cBhvr>
                                        <p:cTn id="40" dur="1" fill="hold">
                                          <p:stCondLst>
                                            <p:cond delay="0"/>
                                          </p:stCondLst>
                                        </p:cTn>
                                        <p:tgtEl>
                                          <p:spTgt spid="12"/>
                                        </p:tgtEl>
                                        <p:attrNameLst>
                                          <p:attrName>style.visibility</p:attrName>
                                        </p:attrNameLst>
                                      </p:cBhvr>
                                      <p:to>
                                        <p:strVal val="visible"/>
                                      </p:to>
                                    </p:set>
                                    <p:anim calcmode="lin" valueType="num">
                                      <p:cBhvr additive="base">
                                        <p:cTn id="41" dur="1000" fill="hold"/>
                                        <p:tgtEl>
                                          <p:spTgt spid="12"/>
                                        </p:tgtEl>
                                        <p:attrNameLst>
                                          <p:attrName>ppt_x</p:attrName>
                                        </p:attrNameLst>
                                      </p:cBhvr>
                                      <p:tavLst>
                                        <p:tav tm="0">
                                          <p:val>
                                            <p:strVal val="0-#ppt_w/2"/>
                                          </p:val>
                                        </p:tav>
                                        <p:tav tm="100000">
                                          <p:val>
                                            <p:strVal val="#ppt_x"/>
                                          </p:val>
                                        </p:tav>
                                      </p:tavLst>
                                    </p:anim>
                                    <p:anim calcmode="lin" valueType="num">
                                      <p:cBhvr additive="base">
                                        <p:cTn id="42" dur="1000" fill="hold"/>
                                        <p:tgtEl>
                                          <p:spTgt spid="12"/>
                                        </p:tgtEl>
                                        <p:attrNameLst>
                                          <p:attrName>ppt_y</p:attrName>
                                        </p:attrNameLst>
                                      </p:cBhvr>
                                      <p:tavLst>
                                        <p:tav tm="0">
                                          <p:val>
                                            <p:strVal val="#ppt_y"/>
                                          </p:val>
                                        </p:tav>
                                        <p:tav tm="100000">
                                          <p:val>
                                            <p:strVal val="#ppt_y"/>
                                          </p:val>
                                        </p:tav>
                                      </p:tavLst>
                                    </p:anim>
                                  </p:childTnLst>
                                </p:cTn>
                              </p:par>
                            </p:childTnLst>
                          </p:cTn>
                        </p:par>
                        <p:par>
                          <p:cTn id="43" fill="hold">
                            <p:stCondLst>
                              <p:cond delay="7900"/>
                            </p:stCondLst>
                            <p:childTnLst>
                              <p:par>
                                <p:cTn id="44" presetID="10" presetClass="entr" presetSubtype="0" fill="hold" grpId="0" nodeType="afterEffect">
                                  <p:stCondLst>
                                    <p:cond delay="0"/>
                                  </p:stCondLst>
                                  <p:childTnLst>
                                    <p:set>
                                      <p:cBhvr>
                                        <p:cTn id="45" dur="1" fill="hold">
                                          <p:stCondLst>
                                            <p:cond delay="0"/>
                                          </p:stCondLst>
                                        </p:cTn>
                                        <p:tgtEl>
                                          <p:spTgt spid="19"/>
                                        </p:tgtEl>
                                        <p:attrNameLst>
                                          <p:attrName>style.visibility</p:attrName>
                                        </p:attrNameLst>
                                      </p:cBhvr>
                                      <p:to>
                                        <p:strVal val="visible"/>
                                      </p:to>
                                    </p:set>
                                    <p:animEffect transition="in" filter="fade">
                                      <p:cBhvr>
                                        <p:cTn id="46"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P spid="11" grpId="0" animBg="1"/>
      <p:bldP spid="12" grpId="0" animBg="1"/>
      <p:bldP spid="19" grpId="0"/>
    </p:bldLst>
  </p:timing>
</p:sld>
</file>

<file path=ppt/slides/slide3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856283" y="1278155"/>
            <a:ext cx="702523" cy="544491"/>
            <a:chOff x="3673734" y="4672830"/>
            <a:chExt cx="1246682" cy="966494"/>
          </a:xfrm>
        </p:grpSpPr>
        <p:sp>
          <p:nvSpPr>
            <p:cNvPr id="3" name="Freeform 2"/>
            <p:cNvSpPr>
              <a:spLocks noEditPoints="1"/>
            </p:cNvSpPr>
            <p:nvPr/>
          </p:nvSpPr>
          <p:spPr bwMode="auto">
            <a:xfrm>
              <a:off x="3673734" y="4831814"/>
              <a:ext cx="1246682" cy="807510"/>
            </a:xfrm>
            <a:custGeom>
              <a:avLst/>
              <a:gdLst>
                <a:gd name="T0" fmla="*/ 386 w 406"/>
                <a:gd name="T1" fmla="*/ 0 h 263"/>
                <a:gd name="T2" fmla="*/ 20 w 406"/>
                <a:gd name="T3" fmla="*/ 0 h 263"/>
                <a:gd name="T4" fmla="*/ 0 w 406"/>
                <a:gd name="T5" fmla="*/ 20 h 263"/>
                <a:gd name="T6" fmla="*/ 0 w 406"/>
                <a:gd name="T7" fmla="*/ 243 h 263"/>
                <a:gd name="T8" fmla="*/ 20 w 406"/>
                <a:gd name="T9" fmla="*/ 263 h 263"/>
                <a:gd name="T10" fmla="*/ 386 w 406"/>
                <a:gd name="T11" fmla="*/ 263 h 263"/>
                <a:gd name="T12" fmla="*/ 406 w 406"/>
                <a:gd name="T13" fmla="*/ 243 h 263"/>
                <a:gd name="T14" fmla="*/ 406 w 406"/>
                <a:gd name="T15" fmla="*/ 20 h 263"/>
                <a:gd name="T16" fmla="*/ 386 w 406"/>
                <a:gd name="T17" fmla="*/ 0 h 263"/>
                <a:gd name="T18" fmla="*/ 386 w 406"/>
                <a:gd name="T19" fmla="*/ 243 h 263"/>
                <a:gd name="T20" fmla="*/ 386 w 406"/>
                <a:gd name="T21" fmla="*/ 243 h 263"/>
                <a:gd name="T22" fmla="*/ 20 w 406"/>
                <a:gd name="T23" fmla="*/ 243 h 263"/>
                <a:gd name="T24" fmla="*/ 20 w 406"/>
                <a:gd name="T25" fmla="*/ 243 h 263"/>
                <a:gd name="T26" fmla="*/ 20 w 406"/>
                <a:gd name="T27" fmla="*/ 20 h 263"/>
                <a:gd name="T28" fmla="*/ 20 w 406"/>
                <a:gd name="T29" fmla="*/ 20 h 263"/>
                <a:gd name="T30" fmla="*/ 386 w 406"/>
                <a:gd name="T31" fmla="*/ 20 h 263"/>
                <a:gd name="T32" fmla="*/ 386 w 406"/>
                <a:gd name="T33" fmla="*/ 20 h 263"/>
                <a:gd name="T34" fmla="*/ 386 w 406"/>
                <a:gd name="T35" fmla="*/ 243 h 263"/>
                <a:gd name="T36" fmla="*/ 386 w 406"/>
                <a:gd name="T37" fmla="*/ 24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6" h="263">
                  <a:moveTo>
                    <a:pt x="386" y="0"/>
                  </a:moveTo>
                  <a:cubicBezTo>
                    <a:pt x="20" y="0"/>
                    <a:pt x="20" y="0"/>
                    <a:pt x="20" y="0"/>
                  </a:cubicBezTo>
                  <a:cubicBezTo>
                    <a:pt x="9" y="0"/>
                    <a:pt x="0" y="9"/>
                    <a:pt x="0" y="20"/>
                  </a:cubicBezTo>
                  <a:cubicBezTo>
                    <a:pt x="0" y="243"/>
                    <a:pt x="0" y="243"/>
                    <a:pt x="0" y="243"/>
                  </a:cubicBezTo>
                  <a:cubicBezTo>
                    <a:pt x="0" y="254"/>
                    <a:pt x="9" y="263"/>
                    <a:pt x="20" y="263"/>
                  </a:cubicBezTo>
                  <a:cubicBezTo>
                    <a:pt x="386" y="263"/>
                    <a:pt x="386" y="263"/>
                    <a:pt x="386" y="263"/>
                  </a:cubicBezTo>
                  <a:cubicBezTo>
                    <a:pt x="397" y="263"/>
                    <a:pt x="406" y="254"/>
                    <a:pt x="406" y="243"/>
                  </a:cubicBezTo>
                  <a:cubicBezTo>
                    <a:pt x="406" y="20"/>
                    <a:pt x="406" y="20"/>
                    <a:pt x="406" y="20"/>
                  </a:cubicBezTo>
                  <a:cubicBezTo>
                    <a:pt x="406" y="9"/>
                    <a:pt x="397" y="0"/>
                    <a:pt x="386" y="0"/>
                  </a:cubicBezTo>
                  <a:close/>
                  <a:moveTo>
                    <a:pt x="386" y="243"/>
                  </a:moveTo>
                  <a:cubicBezTo>
                    <a:pt x="386" y="243"/>
                    <a:pt x="386" y="243"/>
                    <a:pt x="386" y="243"/>
                  </a:cubicBezTo>
                  <a:cubicBezTo>
                    <a:pt x="20" y="243"/>
                    <a:pt x="20" y="243"/>
                    <a:pt x="20" y="243"/>
                  </a:cubicBezTo>
                  <a:cubicBezTo>
                    <a:pt x="20" y="243"/>
                    <a:pt x="20" y="243"/>
                    <a:pt x="20" y="243"/>
                  </a:cubicBezTo>
                  <a:cubicBezTo>
                    <a:pt x="20" y="20"/>
                    <a:pt x="20" y="20"/>
                    <a:pt x="20" y="20"/>
                  </a:cubicBezTo>
                  <a:cubicBezTo>
                    <a:pt x="20" y="20"/>
                    <a:pt x="20" y="20"/>
                    <a:pt x="20" y="20"/>
                  </a:cubicBezTo>
                  <a:cubicBezTo>
                    <a:pt x="386" y="20"/>
                    <a:pt x="386" y="20"/>
                    <a:pt x="386" y="20"/>
                  </a:cubicBezTo>
                  <a:cubicBezTo>
                    <a:pt x="386" y="20"/>
                    <a:pt x="386" y="20"/>
                    <a:pt x="386" y="20"/>
                  </a:cubicBezTo>
                  <a:cubicBezTo>
                    <a:pt x="386" y="243"/>
                    <a:pt x="386" y="243"/>
                    <a:pt x="386" y="243"/>
                  </a:cubicBezTo>
                  <a:cubicBezTo>
                    <a:pt x="386" y="243"/>
                    <a:pt x="386" y="243"/>
                    <a:pt x="386" y="243"/>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 name="Freeform 3"/>
            <p:cNvSpPr>
              <a:spLocks noEditPoints="1"/>
            </p:cNvSpPr>
            <p:nvPr/>
          </p:nvSpPr>
          <p:spPr bwMode="auto">
            <a:xfrm>
              <a:off x="3673734" y="4672830"/>
              <a:ext cx="1246682" cy="144817"/>
            </a:xfrm>
            <a:custGeom>
              <a:avLst/>
              <a:gdLst>
                <a:gd name="T0" fmla="*/ 386 w 406"/>
                <a:gd name="T1" fmla="*/ 0 h 47"/>
                <a:gd name="T2" fmla="*/ 20 w 406"/>
                <a:gd name="T3" fmla="*/ 0 h 47"/>
                <a:gd name="T4" fmla="*/ 0 w 406"/>
                <a:gd name="T5" fmla="*/ 20 h 47"/>
                <a:gd name="T6" fmla="*/ 0 w 406"/>
                <a:gd name="T7" fmla="*/ 45 h 47"/>
                <a:gd name="T8" fmla="*/ 14 w 406"/>
                <a:gd name="T9" fmla="*/ 40 h 47"/>
                <a:gd name="T10" fmla="*/ 390 w 406"/>
                <a:gd name="T11" fmla="*/ 40 h 47"/>
                <a:gd name="T12" fmla="*/ 406 w 406"/>
                <a:gd name="T13" fmla="*/ 47 h 47"/>
                <a:gd name="T14" fmla="*/ 406 w 406"/>
                <a:gd name="T15" fmla="*/ 20 h 47"/>
                <a:gd name="T16" fmla="*/ 386 w 406"/>
                <a:gd name="T17" fmla="*/ 0 h 47"/>
                <a:gd name="T18" fmla="*/ 324 w 406"/>
                <a:gd name="T19" fmla="*/ 28 h 47"/>
                <a:gd name="T20" fmla="*/ 307 w 406"/>
                <a:gd name="T21" fmla="*/ 28 h 47"/>
                <a:gd name="T22" fmla="*/ 307 w 406"/>
                <a:gd name="T23" fmla="*/ 25 h 47"/>
                <a:gd name="T24" fmla="*/ 324 w 406"/>
                <a:gd name="T25" fmla="*/ 25 h 47"/>
                <a:gd name="T26" fmla="*/ 324 w 406"/>
                <a:gd name="T27" fmla="*/ 28 h 47"/>
                <a:gd name="T28" fmla="*/ 349 w 406"/>
                <a:gd name="T29" fmla="*/ 28 h 47"/>
                <a:gd name="T30" fmla="*/ 335 w 406"/>
                <a:gd name="T31" fmla="*/ 28 h 47"/>
                <a:gd name="T32" fmla="*/ 335 w 406"/>
                <a:gd name="T33" fmla="*/ 13 h 47"/>
                <a:gd name="T34" fmla="*/ 349 w 406"/>
                <a:gd name="T35" fmla="*/ 13 h 47"/>
                <a:gd name="T36" fmla="*/ 349 w 406"/>
                <a:gd name="T37" fmla="*/ 28 h 47"/>
                <a:gd name="T38" fmla="*/ 382 w 406"/>
                <a:gd name="T39" fmla="*/ 28 h 47"/>
                <a:gd name="T40" fmla="*/ 377 w 406"/>
                <a:gd name="T41" fmla="*/ 28 h 47"/>
                <a:gd name="T42" fmla="*/ 374 w 406"/>
                <a:gd name="T43" fmla="*/ 25 h 47"/>
                <a:gd name="T44" fmla="*/ 372 w 406"/>
                <a:gd name="T45" fmla="*/ 23 h 47"/>
                <a:gd name="T46" fmla="*/ 367 w 406"/>
                <a:gd name="T47" fmla="*/ 28 h 47"/>
                <a:gd name="T48" fmla="*/ 367 w 406"/>
                <a:gd name="T49" fmla="*/ 28 h 47"/>
                <a:gd name="T50" fmla="*/ 362 w 406"/>
                <a:gd name="T51" fmla="*/ 28 h 47"/>
                <a:gd name="T52" fmla="*/ 369 w 406"/>
                <a:gd name="T53" fmla="*/ 20 h 47"/>
                <a:gd name="T54" fmla="*/ 362 w 406"/>
                <a:gd name="T55" fmla="*/ 13 h 47"/>
                <a:gd name="T56" fmla="*/ 367 w 406"/>
                <a:gd name="T57" fmla="*/ 13 h 47"/>
                <a:gd name="T58" fmla="*/ 372 w 406"/>
                <a:gd name="T59" fmla="*/ 18 h 47"/>
                <a:gd name="T60" fmla="*/ 377 w 406"/>
                <a:gd name="T61" fmla="*/ 13 h 47"/>
                <a:gd name="T62" fmla="*/ 382 w 406"/>
                <a:gd name="T63" fmla="*/ 13 h 47"/>
                <a:gd name="T64" fmla="*/ 374 w 406"/>
                <a:gd name="T65" fmla="*/ 20 h 47"/>
                <a:gd name="T66" fmla="*/ 382 w 406"/>
                <a:gd name="T67" fmla="*/ 28 h 47"/>
                <a:gd name="T68" fmla="*/ 347 w 406"/>
                <a:gd name="T69" fmla="*/ 16 h 47"/>
                <a:gd name="T70" fmla="*/ 337 w 406"/>
                <a:gd name="T71" fmla="*/ 16 h 47"/>
                <a:gd name="T72" fmla="*/ 337 w 406"/>
                <a:gd name="T73" fmla="*/ 26 h 47"/>
                <a:gd name="T74" fmla="*/ 347 w 406"/>
                <a:gd name="T75" fmla="*/ 26 h 47"/>
                <a:gd name="T76" fmla="*/ 347 w 406"/>
                <a:gd name="T77" fmla="*/ 1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6" h="47">
                  <a:moveTo>
                    <a:pt x="386" y="0"/>
                  </a:moveTo>
                  <a:cubicBezTo>
                    <a:pt x="20" y="0"/>
                    <a:pt x="20" y="0"/>
                    <a:pt x="20" y="0"/>
                  </a:cubicBezTo>
                  <a:cubicBezTo>
                    <a:pt x="9" y="0"/>
                    <a:pt x="0" y="9"/>
                    <a:pt x="0" y="20"/>
                  </a:cubicBezTo>
                  <a:cubicBezTo>
                    <a:pt x="0" y="45"/>
                    <a:pt x="0" y="45"/>
                    <a:pt x="0" y="45"/>
                  </a:cubicBezTo>
                  <a:cubicBezTo>
                    <a:pt x="3" y="42"/>
                    <a:pt x="8" y="40"/>
                    <a:pt x="14" y="40"/>
                  </a:cubicBezTo>
                  <a:cubicBezTo>
                    <a:pt x="390" y="40"/>
                    <a:pt x="390" y="40"/>
                    <a:pt x="390" y="40"/>
                  </a:cubicBezTo>
                  <a:cubicBezTo>
                    <a:pt x="396" y="40"/>
                    <a:pt x="402" y="43"/>
                    <a:pt x="406" y="47"/>
                  </a:cubicBezTo>
                  <a:cubicBezTo>
                    <a:pt x="406" y="20"/>
                    <a:pt x="406" y="20"/>
                    <a:pt x="406" y="20"/>
                  </a:cubicBezTo>
                  <a:cubicBezTo>
                    <a:pt x="406" y="9"/>
                    <a:pt x="397" y="0"/>
                    <a:pt x="386" y="0"/>
                  </a:cubicBezTo>
                  <a:close/>
                  <a:moveTo>
                    <a:pt x="324" y="28"/>
                  </a:moveTo>
                  <a:cubicBezTo>
                    <a:pt x="307" y="28"/>
                    <a:pt x="307" y="28"/>
                    <a:pt x="307" y="28"/>
                  </a:cubicBezTo>
                  <a:cubicBezTo>
                    <a:pt x="307" y="25"/>
                    <a:pt x="307" y="25"/>
                    <a:pt x="307" y="25"/>
                  </a:cubicBezTo>
                  <a:cubicBezTo>
                    <a:pt x="324" y="25"/>
                    <a:pt x="324" y="25"/>
                    <a:pt x="324" y="25"/>
                  </a:cubicBezTo>
                  <a:lnTo>
                    <a:pt x="324" y="28"/>
                  </a:lnTo>
                  <a:close/>
                  <a:moveTo>
                    <a:pt x="349" y="28"/>
                  </a:moveTo>
                  <a:cubicBezTo>
                    <a:pt x="335" y="28"/>
                    <a:pt x="335" y="28"/>
                    <a:pt x="335" y="28"/>
                  </a:cubicBezTo>
                  <a:cubicBezTo>
                    <a:pt x="335" y="13"/>
                    <a:pt x="335" y="13"/>
                    <a:pt x="335" y="13"/>
                  </a:cubicBezTo>
                  <a:cubicBezTo>
                    <a:pt x="349" y="13"/>
                    <a:pt x="349" y="13"/>
                    <a:pt x="349" y="13"/>
                  </a:cubicBezTo>
                  <a:lnTo>
                    <a:pt x="349" y="28"/>
                  </a:lnTo>
                  <a:close/>
                  <a:moveTo>
                    <a:pt x="382" y="28"/>
                  </a:moveTo>
                  <a:cubicBezTo>
                    <a:pt x="377" y="28"/>
                    <a:pt x="377" y="28"/>
                    <a:pt x="377" y="28"/>
                  </a:cubicBezTo>
                  <a:cubicBezTo>
                    <a:pt x="374" y="25"/>
                    <a:pt x="374" y="25"/>
                    <a:pt x="374" y="25"/>
                  </a:cubicBezTo>
                  <a:cubicBezTo>
                    <a:pt x="372" y="23"/>
                    <a:pt x="372" y="23"/>
                    <a:pt x="372" y="23"/>
                  </a:cubicBezTo>
                  <a:cubicBezTo>
                    <a:pt x="367" y="28"/>
                    <a:pt x="367" y="28"/>
                    <a:pt x="367" y="28"/>
                  </a:cubicBezTo>
                  <a:cubicBezTo>
                    <a:pt x="367" y="28"/>
                    <a:pt x="367" y="28"/>
                    <a:pt x="367" y="28"/>
                  </a:cubicBezTo>
                  <a:cubicBezTo>
                    <a:pt x="362" y="28"/>
                    <a:pt x="362" y="28"/>
                    <a:pt x="362" y="28"/>
                  </a:cubicBezTo>
                  <a:cubicBezTo>
                    <a:pt x="369" y="20"/>
                    <a:pt x="369" y="20"/>
                    <a:pt x="369" y="20"/>
                  </a:cubicBezTo>
                  <a:cubicBezTo>
                    <a:pt x="362" y="13"/>
                    <a:pt x="362" y="13"/>
                    <a:pt x="362" y="13"/>
                  </a:cubicBezTo>
                  <a:cubicBezTo>
                    <a:pt x="367" y="13"/>
                    <a:pt x="367" y="13"/>
                    <a:pt x="367" y="13"/>
                  </a:cubicBezTo>
                  <a:cubicBezTo>
                    <a:pt x="372" y="18"/>
                    <a:pt x="372" y="18"/>
                    <a:pt x="372" y="18"/>
                  </a:cubicBezTo>
                  <a:cubicBezTo>
                    <a:pt x="377" y="13"/>
                    <a:pt x="377" y="13"/>
                    <a:pt x="377" y="13"/>
                  </a:cubicBezTo>
                  <a:cubicBezTo>
                    <a:pt x="382" y="13"/>
                    <a:pt x="382" y="13"/>
                    <a:pt x="382" y="13"/>
                  </a:cubicBezTo>
                  <a:cubicBezTo>
                    <a:pt x="374" y="20"/>
                    <a:pt x="374" y="20"/>
                    <a:pt x="374" y="20"/>
                  </a:cubicBezTo>
                  <a:lnTo>
                    <a:pt x="382" y="28"/>
                  </a:lnTo>
                  <a:close/>
                  <a:moveTo>
                    <a:pt x="347" y="16"/>
                  </a:moveTo>
                  <a:cubicBezTo>
                    <a:pt x="337" y="16"/>
                    <a:pt x="337" y="16"/>
                    <a:pt x="337" y="16"/>
                  </a:cubicBezTo>
                  <a:cubicBezTo>
                    <a:pt x="337" y="26"/>
                    <a:pt x="337" y="26"/>
                    <a:pt x="337" y="26"/>
                  </a:cubicBezTo>
                  <a:cubicBezTo>
                    <a:pt x="347" y="26"/>
                    <a:pt x="347" y="26"/>
                    <a:pt x="347" y="26"/>
                  </a:cubicBezTo>
                  <a:lnTo>
                    <a:pt x="347" y="1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Freeform 4"/>
            <p:cNvSpPr>
              <a:spLocks noEditPoints="1"/>
            </p:cNvSpPr>
            <p:nvPr/>
          </p:nvSpPr>
          <p:spPr bwMode="auto">
            <a:xfrm>
              <a:off x="4223093" y="5086817"/>
              <a:ext cx="384079" cy="384079"/>
            </a:xfrm>
            <a:custGeom>
              <a:avLst/>
              <a:gdLst>
                <a:gd name="T0" fmla="*/ 110 w 125"/>
                <a:gd name="T1" fmla="*/ 82 h 125"/>
                <a:gd name="T2" fmla="*/ 124 w 125"/>
                <a:gd name="T3" fmla="*/ 71 h 125"/>
                <a:gd name="T4" fmla="*/ 124 w 125"/>
                <a:gd name="T5" fmla="*/ 54 h 125"/>
                <a:gd name="T6" fmla="*/ 110 w 125"/>
                <a:gd name="T7" fmla="*/ 43 h 125"/>
                <a:gd name="T8" fmla="*/ 113 w 125"/>
                <a:gd name="T9" fmla="*/ 25 h 125"/>
                <a:gd name="T10" fmla="*/ 101 w 125"/>
                <a:gd name="T11" fmla="*/ 13 h 125"/>
                <a:gd name="T12" fmla="*/ 83 w 125"/>
                <a:gd name="T13" fmla="*/ 16 h 125"/>
                <a:gd name="T14" fmla="*/ 72 w 125"/>
                <a:gd name="T15" fmla="*/ 1 h 125"/>
                <a:gd name="T16" fmla="*/ 54 w 125"/>
                <a:gd name="T17" fmla="*/ 1 h 125"/>
                <a:gd name="T18" fmla="*/ 43 w 125"/>
                <a:gd name="T19" fmla="*/ 16 h 125"/>
                <a:gd name="T20" fmla="*/ 25 w 125"/>
                <a:gd name="T21" fmla="*/ 13 h 125"/>
                <a:gd name="T22" fmla="*/ 13 w 125"/>
                <a:gd name="T23" fmla="*/ 25 h 125"/>
                <a:gd name="T24" fmla="*/ 16 w 125"/>
                <a:gd name="T25" fmla="*/ 43 h 125"/>
                <a:gd name="T26" fmla="*/ 1 w 125"/>
                <a:gd name="T27" fmla="*/ 54 h 125"/>
                <a:gd name="T28" fmla="*/ 1 w 125"/>
                <a:gd name="T29" fmla="*/ 71 h 125"/>
                <a:gd name="T30" fmla="*/ 16 w 125"/>
                <a:gd name="T31" fmla="*/ 82 h 125"/>
                <a:gd name="T32" fmla="*/ 13 w 125"/>
                <a:gd name="T33" fmla="*/ 100 h 125"/>
                <a:gd name="T34" fmla="*/ 25 w 125"/>
                <a:gd name="T35" fmla="*/ 112 h 125"/>
                <a:gd name="T36" fmla="*/ 43 w 125"/>
                <a:gd name="T37" fmla="*/ 109 h 125"/>
                <a:gd name="T38" fmla="*/ 54 w 125"/>
                <a:gd name="T39" fmla="*/ 124 h 125"/>
                <a:gd name="T40" fmla="*/ 72 w 125"/>
                <a:gd name="T41" fmla="*/ 124 h 125"/>
                <a:gd name="T42" fmla="*/ 83 w 125"/>
                <a:gd name="T43" fmla="*/ 109 h 125"/>
                <a:gd name="T44" fmla="*/ 101 w 125"/>
                <a:gd name="T45" fmla="*/ 112 h 125"/>
                <a:gd name="T46" fmla="*/ 113 w 125"/>
                <a:gd name="T47" fmla="*/ 100 h 125"/>
                <a:gd name="T48" fmla="*/ 110 w 125"/>
                <a:gd name="T49" fmla="*/ 82 h 125"/>
                <a:gd name="T50" fmla="*/ 48 w 125"/>
                <a:gd name="T51" fmla="*/ 97 h 125"/>
                <a:gd name="T52" fmla="*/ 28 w 125"/>
                <a:gd name="T53" fmla="*/ 47 h 125"/>
                <a:gd name="T54" fmla="*/ 78 w 125"/>
                <a:gd name="T55" fmla="*/ 27 h 125"/>
                <a:gd name="T56" fmla="*/ 98 w 125"/>
                <a:gd name="T57" fmla="*/ 77 h 125"/>
                <a:gd name="T58" fmla="*/ 48 w 125"/>
                <a:gd name="T59" fmla="*/ 9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5" h="125">
                  <a:moveTo>
                    <a:pt x="110" y="82"/>
                  </a:moveTo>
                  <a:cubicBezTo>
                    <a:pt x="112" y="75"/>
                    <a:pt x="118" y="71"/>
                    <a:pt x="124" y="71"/>
                  </a:cubicBezTo>
                  <a:cubicBezTo>
                    <a:pt x="125" y="65"/>
                    <a:pt x="125" y="59"/>
                    <a:pt x="124" y="54"/>
                  </a:cubicBezTo>
                  <a:cubicBezTo>
                    <a:pt x="118" y="53"/>
                    <a:pt x="112" y="49"/>
                    <a:pt x="110" y="43"/>
                  </a:cubicBezTo>
                  <a:cubicBezTo>
                    <a:pt x="107" y="37"/>
                    <a:pt x="108" y="30"/>
                    <a:pt x="113" y="25"/>
                  </a:cubicBezTo>
                  <a:cubicBezTo>
                    <a:pt x="109" y="21"/>
                    <a:pt x="105" y="17"/>
                    <a:pt x="101" y="13"/>
                  </a:cubicBezTo>
                  <a:cubicBezTo>
                    <a:pt x="96" y="17"/>
                    <a:pt x="89" y="18"/>
                    <a:pt x="83" y="16"/>
                  </a:cubicBezTo>
                  <a:cubicBezTo>
                    <a:pt x="76" y="13"/>
                    <a:pt x="72" y="7"/>
                    <a:pt x="72" y="1"/>
                  </a:cubicBezTo>
                  <a:cubicBezTo>
                    <a:pt x="66" y="0"/>
                    <a:pt x="60" y="0"/>
                    <a:pt x="54" y="1"/>
                  </a:cubicBezTo>
                  <a:cubicBezTo>
                    <a:pt x="53" y="7"/>
                    <a:pt x="49" y="13"/>
                    <a:pt x="43" y="16"/>
                  </a:cubicBezTo>
                  <a:cubicBezTo>
                    <a:pt x="37" y="18"/>
                    <a:pt x="30" y="17"/>
                    <a:pt x="25" y="13"/>
                  </a:cubicBezTo>
                  <a:cubicBezTo>
                    <a:pt x="20" y="16"/>
                    <a:pt x="17" y="20"/>
                    <a:pt x="13" y="25"/>
                  </a:cubicBezTo>
                  <a:cubicBezTo>
                    <a:pt x="17" y="30"/>
                    <a:pt x="18" y="37"/>
                    <a:pt x="16" y="43"/>
                  </a:cubicBezTo>
                  <a:cubicBezTo>
                    <a:pt x="13" y="49"/>
                    <a:pt x="7" y="53"/>
                    <a:pt x="1" y="54"/>
                  </a:cubicBezTo>
                  <a:cubicBezTo>
                    <a:pt x="0" y="59"/>
                    <a:pt x="0" y="65"/>
                    <a:pt x="1" y="71"/>
                  </a:cubicBezTo>
                  <a:cubicBezTo>
                    <a:pt x="7" y="71"/>
                    <a:pt x="13" y="75"/>
                    <a:pt x="16" y="82"/>
                  </a:cubicBezTo>
                  <a:cubicBezTo>
                    <a:pt x="18" y="88"/>
                    <a:pt x="17" y="95"/>
                    <a:pt x="13" y="100"/>
                  </a:cubicBezTo>
                  <a:cubicBezTo>
                    <a:pt x="16" y="104"/>
                    <a:pt x="20" y="108"/>
                    <a:pt x="25" y="112"/>
                  </a:cubicBezTo>
                  <a:cubicBezTo>
                    <a:pt x="30" y="108"/>
                    <a:pt x="37" y="106"/>
                    <a:pt x="43" y="109"/>
                  </a:cubicBezTo>
                  <a:cubicBezTo>
                    <a:pt x="49" y="112"/>
                    <a:pt x="53" y="117"/>
                    <a:pt x="54" y="124"/>
                  </a:cubicBezTo>
                  <a:cubicBezTo>
                    <a:pt x="60" y="125"/>
                    <a:pt x="66" y="125"/>
                    <a:pt x="72" y="124"/>
                  </a:cubicBezTo>
                  <a:cubicBezTo>
                    <a:pt x="72" y="117"/>
                    <a:pt x="77" y="112"/>
                    <a:pt x="83" y="109"/>
                  </a:cubicBezTo>
                  <a:cubicBezTo>
                    <a:pt x="89" y="106"/>
                    <a:pt x="96" y="107"/>
                    <a:pt x="101" y="112"/>
                  </a:cubicBezTo>
                  <a:cubicBezTo>
                    <a:pt x="105" y="108"/>
                    <a:pt x="109" y="104"/>
                    <a:pt x="113" y="100"/>
                  </a:cubicBezTo>
                  <a:cubicBezTo>
                    <a:pt x="108" y="95"/>
                    <a:pt x="107" y="88"/>
                    <a:pt x="110" y="82"/>
                  </a:cubicBezTo>
                  <a:close/>
                  <a:moveTo>
                    <a:pt x="48" y="97"/>
                  </a:moveTo>
                  <a:cubicBezTo>
                    <a:pt x="29" y="89"/>
                    <a:pt x="20" y="67"/>
                    <a:pt x="28" y="47"/>
                  </a:cubicBezTo>
                  <a:cubicBezTo>
                    <a:pt x="36" y="28"/>
                    <a:pt x="58" y="19"/>
                    <a:pt x="78" y="27"/>
                  </a:cubicBezTo>
                  <a:cubicBezTo>
                    <a:pt x="97" y="36"/>
                    <a:pt x="106" y="58"/>
                    <a:pt x="98" y="77"/>
                  </a:cubicBezTo>
                  <a:cubicBezTo>
                    <a:pt x="89" y="96"/>
                    <a:pt x="67" y="105"/>
                    <a:pt x="48" y="9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5"/>
            <p:cNvSpPr>
              <a:spLocks noEditPoints="1"/>
            </p:cNvSpPr>
            <p:nvPr/>
          </p:nvSpPr>
          <p:spPr bwMode="auto">
            <a:xfrm>
              <a:off x="4325409" y="5187559"/>
              <a:ext cx="181021" cy="181021"/>
            </a:xfrm>
            <a:custGeom>
              <a:avLst/>
              <a:gdLst>
                <a:gd name="T0" fmla="*/ 40 w 59"/>
                <a:gd name="T1" fmla="*/ 5 h 59"/>
                <a:gd name="T2" fmla="*/ 6 w 59"/>
                <a:gd name="T3" fmla="*/ 19 h 59"/>
                <a:gd name="T4" fmla="*/ 20 w 59"/>
                <a:gd name="T5" fmla="*/ 53 h 59"/>
                <a:gd name="T6" fmla="*/ 54 w 59"/>
                <a:gd name="T7" fmla="*/ 39 h 59"/>
                <a:gd name="T8" fmla="*/ 40 w 59"/>
                <a:gd name="T9" fmla="*/ 5 h 59"/>
                <a:gd name="T10" fmla="*/ 25 w 59"/>
                <a:gd name="T11" fmla="*/ 41 h 59"/>
                <a:gd name="T12" fmla="*/ 17 w 59"/>
                <a:gd name="T13" fmla="*/ 24 h 59"/>
                <a:gd name="T14" fmla="*/ 35 w 59"/>
                <a:gd name="T15" fmla="*/ 17 h 59"/>
                <a:gd name="T16" fmla="*/ 42 w 59"/>
                <a:gd name="T17" fmla="*/ 34 h 59"/>
                <a:gd name="T18" fmla="*/ 25 w 59"/>
                <a:gd name="T19" fmla="*/ 4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59">
                  <a:moveTo>
                    <a:pt x="40" y="5"/>
                  </a:moveTo>
                  <a:cubicBezTo>
                    <a:pt x="27" y="0"/>
                    <a:pt x="11" y="6"/>
                    <a:pt x="6" y="19"/>
                  </a:cubicBezTo>
                  <a:cubicBezTo>
                    <a:pt x="0" y="32"/>
                    <a:pt x="6" y="48"/>
                    <a:pt x="20" y="53"/>
                  </a:cubicBezTo>
                  <a:cubicBezTo>
                    <a:pt x="33" y="59"/>
                    <a:pt x="48" y="53"/>
                    <a:pt x="54" y="39"/>
                  </a:cubicBezTo>
                  <a:cubicBezTo>
                    <a:pt x="59" y="26"/>
                    <a:pt x="53" y="11"/>
                    <a:pt x="40" y="5"/>
                  </a:cubicBezTo>
                  <a:close/>
                  <a:moveTo>
                    <a:pt x="25" y="41"/>
                  </a:moveTo>
                  <a:cubicBezTo>
                    <a:pt x="18" y="39"/>
                    <a:pt x="15" y="31"/>
                    <a:pt x="17" y="24"/>
                  </a:cubicBezTo>
                  <a:cubicBezTo>
                    <a:pt x="20" y="17"/>
                    <a:pt x="28" y="14"/>
                    <a:pt x="35" y="17"/>
                  </a:cubicBezTo>
                  <a:cubicBezTo>
                    <a:pt x="42" y="20"/>
                    <a:pt x="45" y="28"/>
                    <a:pt x="42" y="34"/>
                  </a:cubicBezTo>
                  <a:cubicBezTo>
                    <a:pt x="39" y="41"/>
                    <a:pt x="31" y="44"/>
                    <a:pt x="25" y="4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6"/>
            <p:cNvSpPr>
              <a:spLocks noEditPoints="1"/>
            </p:cNvSpPr>
            <p:nvPr/>
          </p:nvSpPr>
          <p:spPr bwMode="auto">
            <a:xfrm>
              <a:off x="4002720" y="4986075"/>
              <a:ext cx="251855" cy="251855"/>
            </a:xfrm>
            <a:custGeom>
              <a:avLst/>
              <a:gdLst>
                <a:gd name="T0" fmla="*/ 71 w 82"/>
                <a:gd name="T1" fmla="*/ 53 h 82"/>
                <a:gd name="T2" fmla="*/ 81 w 82"/>
                <a:gd name="T3" fmla="*/ 46 h 82"/>
                <a:gd name="T4" fmla="*/ 81 w 82"/>
                <a:gd name="T5" fmla="*/ 35 h 82"/>
                <a:gd name="T6" fmla="*/ 71 w 82"/>
                <a:gd name="T7" fmla="*/ 28 h 82"/>
                <a:gd name="T8" fmla="*/ 73 w 82"/>
                <a:gd name="T9" fmla="*/ 16 h 82"/>
                <a:gd name="T10" fmla="*/ 66 w 82"/>
                <a:gd name="T11" fmla="*/ 8 h 82"/>
                <a:gd name="T12" fmla="*/ 54 w 82"/>
                <a:gd name="T13" fmla="*/ 10 h 82"/>
                <a:gd name="T14" fmla="*/ 47 w 82"/>
                <a:gd name="T15" fmla="*/ 0 h 82"/>
                <a:gd name="T16" fmla="*/ 35 w 82"/>
                <a:gd name="T17" fmla="*/ 0 h 82"/>
                <a:gd name="T18" fmla="*/ 28 w 82"/>
                <a:gd name="T19" fmla="*/ 10 h 82"/>
                <a:gd name="T20" fmla="*/ 16 w 82"/>
                <a:gd name="T21" fmla="*/ 8 h 82"/>
                <a:gd name="T22" fmla="*/ 8 w 82"/>
                <a:gd name="T23" fmla="*/ 16 h 82"/>
                <a:gd name="T24" fmla="*/ 10 w 82"/>
                <a:gd name="T25" fmla="*/ 28 h 82"/>
                <a:gd name="T26" fmla="*/ 0 w 82"/>
                <a:gd name="T27" fmla="*/ 35 h 82"/>
                <a:gd name="T28" fmla="*/ 0 w 82"/>
                <a:gd name="T29" fmla="*/ 46 h 82"/>
                <a:gd name="T30" fmla="*/ 10 w 82"/>
                <a:gd name="T31" fmla="*/ 53 h 82"/>
                <a:gd name="T32" fmla="*/ 8 w 82"/>
                <a:gd name="T33" fmla="*/ 65 h 82"/>
                <a:gd name="T34" fmla="*/ 16 w 82"/>
                <a:gd name="T35" fmla="*/ 73 h 82"/>
                <a:gd name="T36" fmla="*/ 28 w 82"/>
                <a:gd name="T37" fmla="*/ 71 h 82"/>
                <a:gd name="T38" fmla="*/ 35 w 82"/>
                <a:gd name="T39" fmla="*/ 81 h 82"/>
                <a:gd name="T40" fmla="*/ 47 w 82"/>
                <a:gd name="T41" fmla="*/ 81 h 82"/>
                <a:gd name="T42" fmla="*/ 54 w 82"/>
                <a:gd name="T43" fmla="*/ 71 h 82"/>
                <a:gd name="T44" fmla="*/ 66 w 82"/>
                <a:gd name="T45" fmla="*/ 73 h 82"/>
                <a:gd name="T46" fmla="*/ 73 w 82"/>
                <a:gd name="T47" fmla="*/ 65 h 82"/>
                <a:gd name="T48" fmla="*/ 71 w 82"/>
                <a:gd name="T49" fmla="*/ 53 h 82"/>
                <a:gd name="T50" fmla="*/ 31 w 82"/>
                <a:gd name="T51" fmla="*/ 64 h 82"/>
                <a:gd name="T52" fmla="*/ 18 w 82"/>
                <a:gd name="T53" fmla="*/ 31 h 82"/>
                <a:gd name="T54" fmla="*/ 50 w 82"/>
                <a:gd name="T55" fmla="*/ 18 h 82"/>
                <a:gd name="T56" fmla="*/ 64 w 82"/>
                <a:gd name="T57" fmla="*/ 50 h 82"/>
                <a:gd name="T58" fmla="*/ 31 w 82"/>
                <a:gd name="T59" fmla="*/ 6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2" h="82">
                  <a:moveTo>
                    <a:pt x="71" y="53"/>
                  </a:moveTo>
                  <a:cubicBezTo>
                    <a:pt x="73" y="49"/>
                    <a:pt x="77" y="46"/>
                    <a:pt x="81" y="46"/>
                  </a:cubicBezTo>
                  <a:cubicBezTo>
                    <a:pt x="82" y="42"/>
                    <a:pt x="82" y="39"/>
                    <a:pt x="81" y="35"/>
                  </a:cubicBezTo>
                  <a:cubicBezTo>
                    <a:pt x="77" y="35"/>
                    <a:pt x="73" y="32"/>
                    <a:pt x="71" y="28"/>
                  </a:cubicBezTo>
                  <a:cubicBezTo>
                    <a:pt x="70" y="24"/>
                    <a:pt x="71" y="19"/>
                    <a:pt x="73" y="16"/>
                  </a:cubicBezTo>
                  <a:cubicBezTo>
                    <a:pt x="71" y="13"/>
                    <a:pt x="69" y="11"/>
                    <a:pt x="66" y="8"/>
                  </a:cubicBezTo>
                  <a:cubicBezTo>
                    <a:pt x="62" y="11"/>
                    <a:pt x="58" y="12"/>
                    <a:pt x="54" y="10"/>
                  </a:cubicBezTo>
                  <a:cubicBezTo>
                    <a:pt x="50" y="8"/>
                    <a:pt x="47" y="4"/>
                    <a:pt x="47" y="0"/>
                  </a:cubicBezTo>
                  <a:cubicBezTo>
                    <a:pt x="42" y="0"/>
                    <a:pt x="39" y="0"/>
                    <a:pt x="35" y="0"/>
                  </a:cubicBezTo>
                  <a:cubicBezTo>
                    <a:pt x="34" y="4"/>
                    <a:pt x="32" y="8"/>
                    <a:pt x="28" y="10"/>
                  </a:cubicBezTo>
                  <a:cubicBezTo>
                    <a:pt x="24" y="12"/>
                    <a:pt x="19" y="11"/>
                    <a:pt x="16" y="8"/>
                  </a:cubicBezTo>
                  <a:cubicBezTo>
                    <a:pt x="13" y="11"/>
                    <a:pt x="10" y="13"/>
                    <a:pt x="8" y="16"/>
                  </a:cubicBezTo>
                  <a:cubicBezTo>
                    <a:pt x="11" y="19"/>
                    <a:pt x="11" y="24"/>
                    <a:pt x="10" y="28"/>
                  </a:cubicBezTo>
                  <a:cubicBezTo>
                    <a:pt x="8" y="32"/>
                    <a:pt x="4" y="35"/>
                    <a:pt x="0" y="35"/>
                  </a:cubicBezTo>
                  <a:cubicBezTo>
                    <a:pt x="0" y="39"/>
                    <a:pt x="0" y="42"/>
                    <a:pt x="0" y="46"/>
                  </a:cubicBezTo>
                  <a:cubicBezTo>
                    <a:pt x="4" y="46"/>
                    <a:pt x="8" y="49"/>
                    <a:pt x="10" y="53"/>
                  </a:cubicBezTo>
                  <a:cubicBezTo>
                    <a:pt x="11" y="57"/>
                    <a:pt x="11" y="62"/>
                    <a:pt x="8" y="65"/>
                  </a:cubicBezTo>
                  <a:cubicBezTo>
                    <a:pt x="10" y="68"/>
                    <a:pt x="13" y="71"/>
                    <a:pt x="16" y="73"/>
                  </a:cubicBezTo>
                  <a:cubicBezTo>
                    <a:pt x="19" y="70"/>
                    <a:pt x="24" y="70"/>
                    <a:pt x="28" y="71"/>
                  </a:cubicBezTo>
                  <a:cubicBezTo>
                    <a:pt x="32" y="73"/>
                    <a:pt x="34" y="77"/>
                    <a:pt x="35" y="81"/>
                  </a:cubicBezTo>
                  <a:cubicBezTo>
                    <a:pt x="39" y="82"/>
                    <a:pt x="43" y="82"/>
                    <a:pt x="47" y="81"/>
                  </a:cubicBezTo>
                  <a:cubicBezTo>
                    <a:pt x="47" y="77"/>
                    <a:pt x="50" y="73"/>
                    <a:pt x="54" y="71"/>
                  </a:cubicBezTo>
                  <a:cubicBezTo>
                    <a:pt x="58" y="70"/>
                    <a:pt x="62" y="70"/>
                    <a:pt x="66" y="73"/>
                  </a:cubicBezTo>
                  <a:cubicBezTo>
                    <a:pt x="69" y="71"/>
                    <a:pt x="71" y="68"/>
                    <a:pt x="73" y="65"/>
                  </a:cubicBezTo>
                  <a:cubicBezTo>
                    <a:pt x="71" y="62"/>
                    <a:pt x="70" y="57"/>
                    <a:pt x="71" y="53"/>
                  </a:cubicBezTo>
                  <a:close/>
                  <a:moveTo>
                    <a:pt x="31" y="64"/>
                  </a:moveTo>
                  <a:cubicBezTo>
                    <a:pt x="19" y="58"/>
                    <a:pt x="12" y="44"/>
                    <a:pt x="18" y="31"/>
                  </a:cubicBezTo>
                  <a:cubicBezTo>
                    <a:pt x="23" y="18"/>
                    <a:pt x="38" y="12"/>
                    <a:pt x="50" y="18"/>
                  </a:cubicBezTo>
                  <a:cubicBezTo>
                    <a:pt x="63" y="23"/>
                    <a:pt x="69" y="38"/>
                    <a:pt x="64" y="50"/>
                  </a:cubicBezTo>
                  <a:cubicBezTo>
                    <a:pt x="58" y="63"/>
                    <a:pt x="44" y="69"/>
                    <a:pt x="31" y="6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7"/>
            <p:cNvSpPr>
              <a:spLocks noEditPoints="1"/>
            </p:cNvSpPr>
            <p:nvPr/>
          </p:nvSpPr>
          <p:spPr bwMode="auto">
            <a:xfrm>
              <a:off x="4067257" y="5050613"/>
              <a:ext cx="119631" cy="119631"/>
            </a:xfrm>
            <a:custGeom>
              <a:avLst/>
              <a:gdLst>
                <a:gd name="T0" fmla="*/ 26 w 39"/>
                <a:gd name="T1" fmla="*/ 4 h 39"/>
                <a:gd name="T2" fmla="*/ 4 w 39"/>
                <a:gd name="T3" fmla="*/ 13 h 39"/>
                <a:gd name="T4" fmla="*/ 13 w 39"/>
                <a:gd name="T5" fmla="*/ 35 h 39"/>
                <a:gd name="T6" fmla="*/ 35 w 39"/>
                <a:gd name="T7" fmla="*/ 26 h 39"/>
                <a:gd name="T8" fmla="*/ 26 w 39"/>
                <a:gd name="T9" fmla="*/ 4 h 39"/>
                <a:gd name="T10" fmla="*/ 16 w 39"/>
                <a:gd name="T11" fmla="*/ 28 h 39"/>
                <a:gd name="T12" fmla="*/ 12 w 39"/>
                <a:gd name="T13" fmla="*/ 16 h 39"/>
                <a:gd name="T14" fmla="*/ 23 w 39"/>
                <a:gd name="T15" fmla="*/ 11 h 39"/>
                <a:gd name="T16" fmla="*/ 28 w 39"/>
                <a:gd name="T17" fmla="*/ 23 h 39"/>
                <a:gd name="T18" fmla="*/ 16 w 39"/>
                <a:gd name="T19" fmla="*/ 2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26" y="4"/>
                  </a:moveTo>
                  <a:cubicBezTo>
                    <a:pt x="18" y="0"/>
                    <a:pt x="8" y="4"/>
                    <a:pt x="4" y="13"/>
                  </a:cubicBezTo>
                  <a:cubicBezTo>
                    <a:pt x="0" y="21"/>
                    <a:pt x="4" y="31"/>
                    <a:pt x="13" y="35"/>
                  </a:cubicBezTo>
                  <a:cubicBezTo>
                    <a:pt x="22" y="39"/>
                    <a:pt x="31" y="35"/>
                    <a:pt x="35" y="26"/>
                  </a:cubicBezTo>
                  <a:cubicBezTo>
                    <a:pt x="39" y="18"/>
                    <a:pt x="35" y="8"/>
                    <a:pt x="26" y="4"/>
                  </a:cubicBezTo>
                  <a:close/>
                  <a:moveTo>
                    <a:pt x="16" y="28"/>
                  </a:moveTo>
                  <a:cubicBezTo>
                    <a:pt x="12" y="26"/>
                    <a:pt x="10" y="21"/>
                    <a:pt x="12" y="16"/>
                  </a:cubicBezTo>
                  <a:cubicBezTo>
                    <a:pt x="14" y="12"/>
                    <a:pt x="19" y="10"/>
                    <a:pt x="23" y="11"/>
                  </a:cubicBezTo>
                  <a:cubicBezTo>
                    <a:pt x="28" y="14"/>
                    <a:pt x="30" y="19"/>
                    <a:pt x="28" y="23"/>
                  </a:cubicBezTo>
                  <a:cubicBezTo>
                    <a:pt x="26" y="28"/>
                    <a:pt x="21" y="30"/>
                    <a:pt x="16" y="2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 name="Group 8"/>
          <p:cNvGrpSpPr/>
          <p:nvPr/>
        </p:nvGrpSpPr>
        <p:grpSpPr>
          <a:xfrm>
            <a:off x="2520337" y="1168006"/>
            <a:ext cx="422037" cy="717944"/>
            <a:chOff x="6212044" y="3074647"/>
            <a:chExt cx="562570" cy="957259"/>
          </a:xfrm>
        </p:grpSpPr>
        <p:sp useBgFill="1">
          <p:nvSpPr>
            <p:cNvPr id="10" name="Freeform 9"/>
            <p:cNvSpPr>
              <a:spLocks/>
            </p:cNvSpPr>
            <p:nvPr/>
          </p:nvSpPr>
          <p:spPr bwMode="auto">
            <a:xfrm>
              <a:off x="6212044" y="3074647"/>
              <a:ext cx="562570" cy="957259"/>
            </a:xfrm>
            <a:custGeom>
              <a:avLst/>
              <a:gdLst>
                <a:gd name="T0" fmla="*/ 52 w 133"/>
                <a:gd name="T1" fmla="*/ 0 h 227"/>
                <a:gd name="T2" fmla="*/ 9 w 133"/>
                <a:gd name="T3" fmla="*/ 4 h 227"/>
                <a:gd name="T4" fmla="*/ 2 w 133"/>
                <a:gd name="T5" fmla="*/ 12 h 227"/>
                <a:gd name="T6" fmla="*/ 0 w 133"/>
                <a:gd name="T7" fmla="*/ 110 h 227"/>
                <a:gd name="T8" fmla="*/ 2 w 133"/>
                <a:gd name="T9" fmla="*/ 122 h 227"/>
                <a:gd name="T10" fmla="*/ 4 w 133"/>
                <a:gd name="T11" fmla="*/ 142 h 227"/>
                <a:gd name="T12" fmla="*/ 4 w 133"/>
                <a:gd name="T13" fmla="*/ 217 h 227"/>
                <a:gd name="T14" fmla="*/ 10 w 133"/>
                <a:gd name="T15" fmla="*/ 226 h 227"/>
                <a:gd name="T16" fmla="*/ 69 w 133"/>
                <a:gd name="T17" fmla="*/ 227 h 227"/>
                <a:gd name="T18" fmla="*/ 132 w 133"/>
                <a:gd name="T19" fmla="*/ 225 h 227"/>
                <a:gd name="T20" fmla="*/ 132 w 133"/>
                <a:gd name="T21" fmla="*/ 55 h 227"/>
                <a:gd name="T22" fmla="*/ 132 w 133"/>
                <a:gd name="T23" fmla="*/ 55 h 227"/>
                <a:gd name="T24" fmla="*/ 132 w 133"/>
                <a:gd name="T25" fmla="*/ 55 h 227"/>
                <a:gd name="T26" fmla="*/ 129 w 133"/>
                <a:gd name="T27" fmla="*/ 49 h 227"/>
                <a:gd name="T28" fmla="*/ 68 w 133"/>
                <a:gd name="T29" fmla="*/ 1 h 227"/>
                <a:gd name="T30" fmla="*/ 52 w 133"/>
                <a:gd name="T31"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3" h="227">
                  <a:moveTo>
                    <a:pt x="52" y="0"/>
                  </a:moveTo>
                  <a:cubicBezTo>
                    <a:pt x="44" y="1"/>
                    <a:pt x="9" y="4"/>
                    <a:pt x="9" y="4"/>
                  </a:cubicBezTo>
                  <a:cubicBezTo>
                    <a:pt x="9" y="4"/>
                    <a:pt x="2" y="5"/>
                    <a:pt x="2" y="12"/>
                  </a:cubicBezTo>
                  <a:cubicBezTo>
                    <a:pt x="2" y="18"/>
                    <a:pt x="0" y="110"/>
                    <a:pt x="0" y="110"/>
                  </a:cubicBezTo>
                  <a:cubicBezTo>
                    <a:pt x="0" y="110"/>
                    <a:pt x="0" y="118"/>
                    <a:pt x="2" y="122"/>
                  </a:cubicBezTo>
                  <a:cubicBezTo>
                    <a:pt x="5" y="127"/>
                    <a:pt x="4" y="135"/>
                    <a:pt x="4" y="142"/>
                  </a:cubicBezTo>
                  <a:cubicBezTo>
                    <a:pt x="4" y="149"/>
                    <a:pt x="4" y="217"/>
                    <a:pt x="4" y="217"/>
                  </a:cubicBezTo>
                  <a:cubicBezTo>
                    <a:pt x="4" y="217"/>
                    <a:pt x="2" y="226"/>
                    <a:pt x="10" y="226"/>
                  </a:cubicBezTo>
                  <a:cubicBezTo>
                    <a:pt x="18" y="227"/>
                    <a:pt x="69" y="227"/>
                    <a:pt x="69" y="227"/>
                  </a:cubicBezTo>
                  <a:cubicBezTo>
                    <a:pt x="132" y="225"/>
                    <a:pt x="132" y="225"/>
                    <a:pt x="132" y="225"/>
                  </a:cubicBezTo>
                  <a:cubicBezTo>
                    <a:pt x="132" y="55"/>
                    <a:pt x="132" y="55"/>
                    <a:pt x="132" y="55"/>
                  </a:cubicBezTo>
                  <a:cubicBezTo>
                    <a:pt x="132" y="55"/>
                    <a:pt x="132" y="55"/>
                    <a:pt x="132" y="55"/>
                  </a:cubicBezTo>
                  <a:cubicBezTo>
                    <a:pt x="132" y="55"/>
                    <a:pt x="132" y="55"/>
                    <a:pt x="132" y="55"/>
                  </a:cubicBezTo>
                  <a:cubicBezTo>
                    <a:pt x="132" y="55"/>
                    <a:pt x="133" y="52"/>
                    <a:pt x="129" y="49"/>
                  </a:cubicBezTo>
                  <a:cubicBezTo>
                    <a:pt x="126" y="45"/>
                    <a:pt x="68" y="1"/>
                    <a:pt x="68" y="1"/>
                  </a:cubicBezTo>
                  <a:cubicBezTo>
                    <a:pt x="68" y="1"/>
                    <a:pt x="59" y="0"/>
                    <a:pt x="52" y="0"/>
                  </a:cubicBezTo>
                  <a:close/>
                </a:path>
              </a:pathLst>
            </a:custGeom>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10"/>
            <p:cNvSpPr>
              <a:spLocks noEditPoints="1"/>
            </p:cNvSpPr>
            <p:nvPr/>
          </p:nvSpPr>
          <p:spPr bwMode="auto">
            <a:xfrm>
              <a:off x="6255035" y="3144908"/>
              <a:ext cx="476587" cy="816738"/>
            </a:xfrm>
            <a:custGeom>
              <a:avLst/>
              <a:gdLst>
                <a:gd name="T0" fmla="*/ 226 w 227"/>
                <a:gd name="T1" fmla="*/ 95 h 389"/>
                <a:gd name="T2" fmla="*/ 221 w 227"/>
                <a:gd name="T3" fmla="*/ 85 h 389"/>
                <a:gd name="T4" fmla="*/ 117 w 227"/>
                <a:gd name="T5" fmla="*/ 4 h 389"/>
                <a:gd name="T6" fmla="*/ 106 w 227"/>
                <a:gd name="T7" fmla="*/ 20 h 389"/>
                <a:gd name="T8" fmla="*/ 106 w 227"/>
                <a:gd name="T9" fmla="*/ 175 h 389"/>
                <a:gd name="T10" fmla="*/ 112 w 227"/>
                <a:gd name="T11" fmla="*/ 202 h 389"/>
                <a:gd name="T12" fmla="*/ 124 w 227"/>
                <a:gd name="T13" fmla="*/ 253 h 389"/>
                <a:gd name="T14" fmla="*/ 125 w 227"/>
                <a:gd name="T15" fmla="*/ 384 h 389"/>
                <a:gd name="T16" fmla="*/ 101 w 227"/>
                <a:gd name="T17" fmla="*/ 385 h 389"/>
                <a:gd name="T18" fmla="*/ 83 w 227"/>
                <a:gd name="T19" fmla="*/ 365 h 389"/>
                <a:gd name="T20" fmla="*/ 83 w 227"/>
                <a:gd name="T21" fmla="*/ 231 h 389"/>
                <a:gd name="T22" fmla="*/ 87 w 227"/>
                <a:gd name="T23" fmla="*/ 217 h 389"/>
                <a:gd name="T24" fmla="*/ 59 w 227"/>
                <a:gd name="T25" fmla="*/ 214 h 389"/>
                <a:gd name="T26" fmla="*/ 17 w 227"/>
                <a:gd name="T27" fmla="*/ 233 h 389"/>
                <a:gd name="T28" fmla="*/ 12 w 227"/>
                <a:gd name="T29" fmla="*/ 206 h 389"/>
                <a:gd name="T30" fmla="*/ 33 w 227"/>
                <a:gd name="T31" fmla="*/ 207 h 389"/>
                <a:gd name="T32" fmla="*/ 91 w 227"/>
                <a:gd name="T33" fmla="*/ 205 h 389"/>
                <a:gd name="T34" fmla="*/ 97 w 227"/>
                <a:gd name="T35" fmla="*/ 187 h 389"/>
                <a:gd name="T36" fmla="*/ 97 w 227"/>
                <a:gd name="T37" fmla="*/ 20 h 389"/>
                <a:gd name="T38" fmla="*/ 104 w 227"/>
                <a:gd name="T39" fmla="*/ 3 h 389"/>
                <a:gd name="T40" fmla="*/ 89 w 227"/>
                <a:gd name="T41" fmla="*/ 2 h 389"/>
                <a:gd name="T42" fmla="*/ 17 w 227"/>
                <a:gd name="T43" fmla="*/ 9 h 389"/>
                <a:gd name="T44" fmla="*/ 4 w 227"/>
                <a:gd name="T45" fmla="*/ 22 h 389"/>
                <a:gd name="T46" fmla="*/ 1 w 227"/>
                <a:gd name="T47" fmla="*/ 189 h 389"/>
                <a:gd name="T48" fmla="*/ 5 w 227"/>
                <a:gd name="T49" fmla="*/ 210 h 389"/>
                <a:gd name="T50" fmla="*/ 8 w 227"/>
                <a:gd name="T51" fmla="*/ 244 h 389"/>
                <a:gd name="T52" fmla="*/ 7 w 227"/>
                <a:gd name="T53" fmla="*/ 371 h 389"/>
                <a:gd name="T54" fmla="*/ 18 w 227"/>
                <a:gd name="T55" fmla="*/ 387 h 389"/>
                <a:gd name="T56" fmla="*/ 118 w 227"/>
                <a:gd name="T57" fmla="*/ 389 h 389"/>
                <a:gd name="T58" fmla="*/ 226 w 227"/>
                <a:gd name="T59" fmla="*/ 384 h 389"/>
                <a:gd name="T60" fmla="*/ 226 w 227"/>
                <a:gd name="T61" fmla="*/ 95 h 389"/>
                <a:gd name="T62" fmla="*/ 12 w 227"/>
                <a:gd name="T63" fmla="*/ 66 h 389"/>
                <a:gd name="T64" fmla="*/ 87 w 227"/>
                <a:gd name="T65" fmla="*/ 62 h 389"/>
                <a:gd name="T66" fmla="*/ 87 w 227"/>
                <a:gd name="T67" fmla="*/ 68 h 389"/>
                <a:gd name="T68" fmla="*/ 12 w 227"/>
                <a:gd name="T69" fmla="*/ 72 h 389"/>
                <a:gd name="T70" fmla="*/ 12 w 227"/>
                <a:gd name="T71" fmla="*/ 66 h 389"/>
                <a:gd name="T72" fmla="*/ 12 w 227"/>
                <a:gd name="T73" fmla="*/ 81 h 389"/>
                <a:gd name="T74" fmla="*/ 87 w 227"/>
                <a:gd name="T75" fmla="*/ 77 h 389"/>
                <a:gd name="T76" fmla="*/ 87 w 227"/>
                <a:gd name="T77" fmla="*/ 82 h 389"/>
                <a:gd name="T78" fmla="*/ 12 w 227"/>
                <a:gd name="T79" fmla="*/ 87 h 389"/>
                <a:gd name="T80" fmla="*/ 12 w 227"/>
                <a:gd name="T81" fmla="*/ 81 h 389"/>
                <a:gd name="T82" fmla="*/ 12 w 227"/>
                <a:gd name="T83" fmla="*/ 96 h 389"/>
                <a:gd name="T84" fmla="*/ 87 w 227"/>
                <a:gd name="T85" fmla="*/ 92 h 389"/>
                <a:gd name="T86" fmla="*/ 87 w 227"/>
                <a:gd name="T87" fmla="*/ 97 h 389"/>
                <a:gd name="T88" fmla="*/ 12 w 227"/>
                <a:gd name="T89" fmla="*/ 102 h 389"/>
                <a:gd name="T90" fmla="*/ 12 w 227"/>
                <a:gd name="T91" fmla="*/ 96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7" h="389">
                  <a:moveTo>
                    <a:pt x="226" y="95"/>
                  </a:moveTo>
                  <a:cubicBezTo>
                    <a:pt x="226" y="95"/>
                    <a:pt x="227" y="90"/>
                    <a:pt x="221" y="85"/>
                  </a:cubicBezTo>
                  <a:cubicBezTo>
                    <a:pt x="216" y="79"/>
                    <a:pt x="117" y="4"/>
                    <a:pt x="117" y="4"/>
                  </a:cubicBezTo>
                  <a:cubicBezTo>
                    <a:pt x="117" y="4"/>
                    <a:pt x="106" y="0"/>
                    <a:pt x="106" y="20"/>
                  </a:cubicBezTo>
                  <a:cubicBezTo>
                    <a:pt x="106" y="40"/>
                    <a:pt x="106" y="175"/>
                    <a:pt x="106" y="175"/>
                  </a:cubicBezTo>
                  <a:cubicBezTo>
                    <a:pt x="106" y="175"/>
                    <a:pt x="103" y="185"/>
                    <a:pt x="112" y="202"/>
                  </a:cubicBezTo>
                  <a:cubicBezTo>
                    <a:pt x="121" y="219"/>
                    <a:pt x="124" y="222"/>
                    <a:pt x="124" y="253"/>
                  </a:cubicBezTo>
                  <a:cubicBezTo>
                    <a:pt x="124" y="284"/>
                    <a:pt x="125" y="384"/>
                    <a:pt x="125" y="384"/>
                  </a:cubicBezTo>
                  <a:cubicBezTo>
                    <a:pt x="101" y="385"/>
                    <a:pt x="101" y="385"/>
                    <a:pt x="101" y="385"/>
                  </a:cubicBezTo>
                  <a:cubicBezTo>
                    <a:pt x="101" y="385"/>
                    <a:pt x="83" y="387"/>
                    <a:pt x="83" y="365"/>
                  </a:cubicBezTo>
                  <a:cubicBezTo>
                    <a:pt x="83" y="343"/>
                    <a:pt x="83" y="231"/>
                    <a:pt x="83" y="231"/>
                  </a:cubicBezTo>
                  <a:cubicBezTo>
                    <a:pt x="83" y="231"/>
                    <a:pt x="83" y="224"/>
                    <a:pt x="87" y="217"/>
                  </a:cubicBezTo>
                  <a:cubicBezTo>
                    <a:pt x="87" y="217"/>
                    <a:pt x="71" y="214"/>
                    <a:pt x="59" y="214"/>
                  </a:cubicBezTo>
                  <a:cubicBezTo>
                    <a:pt x="47" y="214"/>
                    <a:pt x="33" y="214"/>
                    <a:pt x="17" y="233"/>
                  </a:cubicBezTo>
                  <a:cubicBezTo>
                    <a:pt x="17" y="233"/>
                    <a:pt x="19" y="222"/>
                    <a:pt x="12" y="206"/>
                  </a:cubicBezTo>
                  <a:cubicBezTo>
                    <a:pt x="12" y="206"/>
                    <a:pt x="24" y="208"/>
                    <a:pt x="33" y="207"/>
                  </a:cubicBezTo>
                  <a:cubicBezTo>
                    <a:pt x="41" y="206"/>
                    <a:pt x="91" y="205"/>
                    <a:pt x="91" y="205"/>
                  </a:cubicBezTo>
                  <a:cubicBezTo>
                    <a:pt x="97" y="187"/>
                    <a:pt x="97" y="187"/>
                    <a:pt x="97" y="187"/>
                  </a:cubicBezTo>
                  <a:cubicBezTo>
                    <a:pt x="97" y="20"/>
                    <a:pt x="97" y="20"/>
                    <a:pt x="97" y="20"/>
                  </a:cubicBezTo>
                  <a:cubicBezTo>
                    <a:pt x="97" y="20"/>
                    <a:pt x="96" y="7"/>
                    <a:pt x="104" y="3"/>
                  </a:cubicBezTo>
                  <a:cubicBezTo>
                    <a:pt x="104" y="3"/>
                    <a:pt x="102" y="1"/>
                    <a:pt x="89" y="2"/>
                  </a:cubicBezTo>
                  <a:cubicBezTo>
                    <a:pt x="76" y="3"/>
                    <a:pt x="17" y="9"/>
                    <a:pt x="17" y="9"/>
                  </a:cubicBezTo>
                  <a:cubicBezTo>
                    <a:pt x="17" y="9"/>
                    <a:pt x="4" y="10"/>
                    <a:pt x="4" y="22"/>
                  </a:cubicBezTo>
                  <a:cubicBezTo>
                    <a:pt x="4" y="33"/>
                    <a:pt x="1" y="189"/>
                    <a:pt x="1" y="189"/>
                  </a:cubicBezTo>
                  <a:cubicBezTo>
                    <a:pt x="1" y="189"/>
                    <a:pt x="0" y="202"/>
                    <a:pt x="5" y="210"/>
                  </a:cubicBezTo>
                  <a:cubicBezTo>
                    <a:pt x="9" y="218"/>
                    <a:pt x="8" y="232"/>
                    <a:pt x="8" y="244"/>
                  </a:cubicBezTo>
                  <a:cubicBezTo>
                    <a:pt x="8" y="255"/>
                    <a:pt x="7" y="371"/>
                    <a:pt x="7" y="371"/>
                  </a:cubicBezTo>
                  <a:cubicBezTo>
                    <a:pt x="7" y="371"/>
                    <a:pt x="5" y="386"/>
                    <a:pt x="18" y="387"/>
                  </a:cubicBezTo>
                  <a:cubicBezTo>
                    <a:pt x="32" y="388"/>
                    <a:pt x="118" y="389"/>
                    <a:pt x="118" y="389"/>
                  </a:cubicBezTo>
                  <a:cubicBezTo>
                    <a:pt x="226" y="384"/>
                    <a:pt x="226" y="384"/>
                    <a:pt x="226" y="384"/>
                  </a:cubicBezTo>
                  <a:lnTo>
                    <a:pt x="226" y="95"/>
                  </a:lnTo>
                  <a:close/>
                  <a:moveTo>
                    <a:pt x="12" y="66"/>
                  </a:moveTo>
                  <a:cubicBezTo>
                    <a:pt x="87" y="62"/>
                    <a:pt x="87" y="62"/>
                    <a:pt x="87" y="62"/>
                  </a:cubicBezTo>
                  <a:cubicBezTo>
                    <a:pt x="87" y="68"/>
                    <a:pt x="87" y="68"/>
                    <a:pt x="87" y="68"/>
                  </a:cubicBezTo>
                  <a:cubicBezTo>
                    <a:pt x="12" y="72"/>
                    <a:pt x="12" y="72"/>
                    <a:pt x="12" y="72"/>
                  </a:cubicBezTo>
                  <a:lnTo>
                    <a:pt x="12" y="66"/>
                  </a:lnTo>
                  <a:close/>
                  <a:moveTo>
                    <a:pt x="12" y="81"/>
                  </a:moveTo>
                  <a:cubicBezTo>
                    <a:pt x="87" y="77"/>
                    <a:pt x="87" y="77"/>
                    <a:pt x="87" y="77"/>
                  </a:cubicBezTo>
                  <a:cubicBezTo>
                    <a:pt x="87" y="82"/>
                    <a:pt x="87" y="82"/>
                    <a:pt x="87" y="82"/>
                  </a:cubicBezTo>
                  <a:cubicBezTo>
                    <a:pt x="12" y="87"/>
                    <a:pt x="12" y="87"/>
                    <a:pt x="12" y="87"/>
                  </a:cubicBezTo>
                  <a:lnTo>
                    <a:pt x="12" y="81"/>
                  </a:lnTo>
                  <a:close/>
                  <a:moveTo>
                    <a:pt x="12" y="96"/>
                  </a:moveTo>
                  <a:cubicBezTo>
                    <a:pt x="87" y="92"/>
                    <a:pt x="87" y="92"/>
                    <a:pt x="87" y="92"/>
                  </a:cubicBezTo>
                  <a:cubicBezTo>
                    <a:pt x="87" y="97"/>
                    <a:pt x="87" y="97"/>
                    <a:pt x="87" y="97"/>
                  </a:cubicBezTo>
                  <a:cubicBezTo>
                    <a:pt x="12" y="102"/>
                    <a:pt x="12" y="102"/>
                    <a:pt x="12" y="102"/>
                  </a:cubicBezTo>
                  <a:lnTo>
                    <a:pt x="12" y="9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 name="Title 1"/>
          <p:cNvSpPr txBox="1">
            <a:spLocks/>
          </p:cNvSpPr>
          <p:nvPr/>
        </p:nvSpPr>
        <p:spPr>
          <a:xfrm>
            <a:off x="389436" y="171451"/>
            <a:ext cx="8363938" cy="457049"/>
          </a:xfrm>
          <a:prstGeom prst="rect">
            <a:avLst/>
          </a:prstGeom>
        </p:spPr>
        <p:txBody>
          <a:bodyPr lIns="68586" tIns="34294" rIns="68586" bIns="34294"/>
          <a:lst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dirty="0" smtClean="0"/>
              <a:t>Overview of phases</a:t>
            </a:r>
            <a:endParaRPr lang="en-US" dirty="0"/>
          </a:p>
        </p:txBody>
      </p:sp>
      <p:sp>
        <p:nvSpPr>
          <p:cNvPr id="13" name="TextBox 12"/>
          <p:cNvSpPr txBox="1"/>
          <p:nvPr/>
        </p:nvSpPr>
        <p:spPr>
          <a:xfrm>
            <a:off x="513293" y="1890707"/>
            <a:ext cx="1429122" cy="674031"/>
          </a:xfrm>
          <a:prstGeom prst="rect">
            <a:avLst/>
          </a:prstGeom>
          <a:noFill/>
        </p:spPr>
        <p:txBody>
          <a:bodyPr wrap="square" lIns="68586" tIns="68586" rIns="68586" bIns="68586" rtlCol="0">
            <a:spAutoFit/>
          </a:bodyPr>
          <a:lstStyle/>
          <a:p>
            <a:pPr algn="ctr">
              <a:lnSpc>
                <a:spcPct val="90000"/>
              </a:lnSpc>
              <a:spcBef>
                <a:spcPct val="20000"/>
              </a:spcBef>
              <a:buSzPct val="90000"/>
            </a:pPr>
            <a:r>
              <a:rPr lang="nl-NL" sz="1200" b="1" dirty="0">
                <a:solidFill>
                  <a:srgbClr val="00B0F0">
                    <a:alpha val="99000"/>
                  </a:srgbClr>
                </a:solidFill>
              </a:rPr>
              <a:t>Phase 1:</a:t>
            </a:r>
          </a:p>
          <a:p>
            <a:pPr algn="ctr">
              <a:lnSpc>
                <a:spcPct val="90000"/>
              </a:lnSpc>
              <a:spcBef>
                <a:spcPct val="20000"/>
              </a:spcBef>
              <a:buSzPct val="90000"/>
            </a:pPr>
            <a:r>
              <a:rPr lang="nl-NL" sz="1200" dirty="0">
                <a:solidFill>
                  <a:srgbClr val="00B0F0">
                    <a:alpha val="99000"/>
                  </a:srgbClr>
                </a:solidFill>
              </a:rPr>
              <a:t>Install and configure SCVMM</a:t>
            </a:r>
            <a:endParaRPr lang="en-US" sz="1200" dirty="0" err="1">
              <a:solidFill>
                <a:srgbClr val="00B0F0">
                  <a:alpha val="99000"/>
                </a:srgbClr>
              </a:solidFill>
            </a:endParaRPr>
          </a:p>
        </p:txBody>
      </p:sp>
      <p:grpSp>
        <p:nvGrpSpPr>
          <p:cNvPr id="15" name="Group 14"/>
          <p:cNvGrpSpPr/>
          <p:nvPr/>
        </p:nvGrpSpPr>
        <p:grpSpPr>
          <a:xfrm>
            <a:off x="2835171" y="1168006"/>
            <a:ext cx="422037" cy="717944"/>
            <a:chOff x="6212044" y="3074647"/>
            <a:chExt cx="562570" cy="957259"/>
          </a:xfrm>
        </p:grpSpPr>
        <p:sp useBgFill="1">
          <p:nvSpPr>
            <p:cNvPr id="16" name="Freeform 15"/>
            <p:cNvSpPr>
              <a:spLocks/>
            </p:cNvSpPr>
            <p:nvPr/>
          </p:nvSpPr>
          <p:spPr bwMode="auto">
            <a:xfrm>
              <a:off x="6212044" y="3074647"/>
              <a:ext cx="562570" cy="957259"/>
            </a:xfrm>
            <a:custGeom>
              <a:avLst/>
              <a:gdLst>
                <a:gd name="T0" fmla="*/ 52 w 133"/>
                <a:gd name="T1" fmla="*/ 0 h 227"/>
                <a:gd name="T2" fmla="*/ 9 w 133"/>
                <a:gd name="T3" fmla="*/ 4 h 227"/>
                <a:gd name="T4" fmla="*/ 2 w 133"/>
                <a:gd name="T5" fmla="*/ 12 h 227"/>
                <a:gd name="T6" fmla="*/ 0 w 133"/>
                <a:gd name="T7" fmla="*/ 110 h 227"/>
                <a:gd name="T8" fmla="*/ 2 w 133"/>
                <a:gd name="T9" fmla="*/ 122 h 227"/>
                <a:gd name="T10" fmla="*/ 4 w 133"/>
                <a:gd name="T11" fmla="*/ 142 h 227"/>
                <a:gd name="T12" fmla="*/ 4 w 133"/>
                <a:gd name="T13" fmla="*/ 217 h 227"/>
                <a:gd name="T14" fmla="*/ 10 w 133"/>
                <a:gd name="T15" fmla="*/ 226 h 227"/>
                <a:gd name="T16" fmla="*/ 69 w 133"/>
                <a:gd name="T17" fmla="*/ 227 h 227"/>
                <a:gd name="T18" fmla="*/ 132 w 133"/>
                <a:gd name="T19" fmla="*/ 225 h 227"/>
                <a:gd name="T20" fmla="*/ 132 w 133"/>
                <a:gd name="T21" fmla="*/ 55 h 227"/>
                <a:gd name="T22" fmla="*/ 132 w 133"/>
                <a:gd name="T23" fmla="*/ 55 h 227"/>
                <a:gd name="T24" fmla="*/ 132 w 133"/>
                <a:gd name="T25" fmla="*/ 55 h 227"/>
                <a:gd name="T26" fmla="*/ 129 w 133"/>
                <a:gd name="T27" fmla="*/ 49 h 227"/>
                <a:gd name="T28" fmla="*/ 68 w 133"/>
                <a:gd name="T29" fmla="*/ 1 h 227"/>
                <a:gd name="T30" fmla="*/ 52 w 133"/>
                <a:gd name="T31"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3" h="227">
                  <a:moveTo>
                    <a:pt x="52" y="0"/>
                  </a:moveTo>
                  <a:cubicBezTo>
                    <a:pt x="44" y="1"/>
                    <a:pt x="9" y="4"/>
                    <a:pt x="9" y="4"/>
                  </a:cubicBezTo>
                  <a:cubicBezTo>
                    <a:pt x="9" y="4"/>
                    <a:pt x="2" y="5"/>
                    <a:pt x="2" y="12"/>
                  </a:cubicBezTo>
                  <a:cubicBezTo>
                    <a:pt x="2" y="18"/>
                    <a:pt x="0" y="110"/>
                    <a:pt x="0" y="110"/>
                  </a:cubicBezTo>
                  <a:cubicBezTo>
                    <a:pt x="0" y="110"/>
                    <a:pt x="0" y="118"/>
                    <a:pt x="2" y="122"/>
                  </a:cubicBezTo>
                  <a:cubicBezTo>
                    <a:pt x="5" y="127"/>
                    <a:pt x="4" y="135"/>
                    <a:pt x="4" y="142"/>
                  </a:cubicBezTo>
                  <a:cubicBezTo>
                    <a:pt x="4" y="149"/>
                    <a:pt x="4" y="217"/>
                    <a:pt x="4" y="217"/>
                  </a:cubicBezTo>
                  <a:cubicBezTo>
                    <a:pt x="4" y="217"/>
                    <a:pt x="2" y="226"/>
                    <a:pt x="10" y="226"/>
                  </a:cubicBezTo>
                  <a:cubicBezTo>
                    <a:pt x="18" y="227"/>
                    <a:pt x="69" y="227"/>
                    <a:pt x="69" y="227"/>
                  </a:cubicBezTo>
                  <a:cubicBezTo>
                    <a:pt x="132" y="225"/>
                    <a:pt x="132" y="225"/>
                    <a:pt x="132" y="225"/>
                  </a:cubicBezTo>
                  <a:cubicBezTo>
                    <a:pt x="132" y="55"/>
                    <a:pt x="132" y="55"/>
                    <a:pt x="132" y="55"/>
                  </a:cubicBezTo>
                  <a:cubicBezTo>
                    <a:pt x="132" y="55"/>
                    <a:pt x="132" y="55"/>
                    <a:pt x="132" y="55"/>
                  </a:cubicBezTo>
                  <a:cubicBezTo>
                    <a:pt x="132" y="55"/>
                    <a:pt x="132" y="55"/>
                    <a:pt x="132" y="55"/>
                  </a:cubicBezTo>
                  <a:cubicBezTo>
                    <a:pt x="132" y="55"/>
                    <a:pt x="133" y="52"/>
                    <a:pt x="129" y="49"/>
                  </a:cubicBezTo>
                  <a:cubicBezTo>
                    <a:pt x="126" y="45"/>
                    <a:pt x="68" y="1"/>
                    <a:pt x="68" y="1"/>
                  </a:cubicBezTo>
                  <a:cubicBezTo>
                    <a:pt x="68" y="1"/>
                    <a:pt x="59" y="0"/>
                    <a:pt x="52" y="0"/>
                  </a:cubicBezTo>
                  <a:close/>
                </a:path>
              </a:pathLst>
            </a:custGeom>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6"/>
            <p:cNvSpPr>
              <a:spLocks noEditPoints="1"/>
            </p:cNvSpPr>
            <p:nvPr/>
          </p:nvSpPr>
          <p:spPr bwMode="auto">
            <a:xfrm>
              <a:off x="6255035" y="3144908"/>
              <a:ext cx="476587" cy="816738"/>
            </a:xfrm>
            <a:custGeom>
              <a:avLst/>
              <a:gdLst>
                <a:gd name="T0" fmla="*/ 226 w 227"/>
                <a:gd name="T1" fmla="*/ 95 h 389"/>
                <a:gd name="T2" fmla="*/ 221 w 227"/>
                <a:gd name="T3" fmla="*/ 85 h 389"/>
                <a:gd name="T4" fmla="*/ 117 w 227"/>
                <a:gd name="T5" fmla="*/ 4 h 389"/>
                <a:gd name="T6" fmla="*/ 106 w 227"/>
                <a:gd name="T7" fmla="*/ 20 h 389"/>
                <a:gd name="T8" fmla="*/ 106 w 227"/>
                <a:gd name="T9" fmla="*/ 175 h 389"/>
                <a:gd name="T10" fmla="*/ 112 w 227"/>
                <a:gd name="T11" fmla="*/ 202 h 389"/>
                <a:gd name="T12" fmla="*/ 124 w 227"/>
                <a:gd name="T13" fmla="*/ 253 h 389"/>
                <a:gd name="T14" fmla="*/ 125 w 227"/>
                <a:gd name="T15" fmla="*/ 384 h 389"/>
                <a:gd name="T16" fmla="*/ 101 w 227"/>
                <a:gd name="T17" fmla="*/ 385 h 389"/>
                <a:gd name="T18" fmla="*/ 83 w 227"/>
                <a:gd name="T19" fmla="*/ 365 h 389"/>
                <a:gd name="T20" fmla="*/ 83 w 227"/>
                <a:gd name="T21" fmla="*/ 231 h 389"/>
                <a:gd name="T22" fmla="*/ 87 w 227"/>
                <a:gd name="T23" fmla="*/ 217 h 389"/>
                <a:gd name="T24" fmla="*/ 59 w 227"/>
                <a:gd name="T25" fmla="*/ 214 h 389"/>
                <a:gd name="T26" fmla="*/ 17 w 227"/>
                <a:gd name="T27" fmla="*/ 233 h 389"/>
                <a:gd name="T28" fmla="*/ 12 w 227"/>
                <a:gd name="T29" fmla="*/ 206 h 389"/>
                <a:gd name="T30" fmla="*/ 33 w 227"/>
                <a:gd name="T31" fmla="*/ 207 h 389"/>
                <a:gd name="T32" fmla="*/ 91 w 227"/>
                <a:gd name="T33" fmla="*/ 205 h 389"/>
                <a:gd name="T34" fmla="*/ 97 w 227"/>
                <a:gd name="T35" fmla="*/ 187 h 389"/>
                <a:gd name="T36" fmla="*/ 97 w 227"/>
                <a:gd name="T37" fmla="*/ 20 h 389"/>
                <a:gd name="T38" fmla="*/ 104 w 227"/>
                <a:gd name="T39" fmla="*/ 3 h 389"/>
                <a:gd name="T40" fmla="*/ 89 w 227"/>
                <a:gd name="T41" fmla="*/ 2 h 389"/>
                <a:gd name="T42" fmla="*/ 17 w 227"/>
                <a:gd name="T43" fmla="*/ 9 h 389"/>
                <a:gd name="T44" fmla="*/ 4 w 227"/>
                <a:gd name="T45" fmla="*/ 22 h 389"/>
                <a:gd name="T46" fmla="*/ 1 w 227"/>
                <a:gd name="T47" fmla="*/ 189 h 389"/>
                <a:gd name="T48" fmla="*/ 5 w 227"/>
                <a:gd name="T49" fmla="*/ 210 h 389"/>
                <a:gd name="T50" fmla="*/ 8 w 227"/>
                <a:gd name="T51" fmla="*/ 244 h 389"/>
                <a:gd name="T52" fmla="*/ 7 w 227"/>
                <a:gd name="T53" fmla="*/ 371 h 389"/>
                <a:gd name="T54" fmla="*/ 18 w 227"/>
                <a:gd name="T55" fmla="*/ 387 h 389"/>
                <a:gd name="T56" fmla="*/ 118 w 227"/>
                <a:gd name="T57" fmla="*/ 389 h 389"/>
                <a:gd name="T58" fmla="*/ 226 w 227"/>
                <a:gd name="T59" fmla="*/ 384 h 389"/>
                <a:gd name="T60" fmla="*/ 226 w 227"/>
                <a:gd name="T61" fmla="*/ 95 h 389"/>
                <a:gd name="T62" fmla="*/ 12 w 227"/>
                <a:gd name="T63" fmla="*/ 66 h 389"/>
                <a:gd name="T64" fmla="*/ 87 w 227"/>
                <a:gd name="T65" fmla="*/ 62 h 389"/>
                <a:gd name="T66" fmla="*/ 87 w 227"/>
                <a:gd name="T67" fmla="*/ 68 h 389"/>
                <a:gd name="T68" fmla="*/ 12 w 227"/>
                <a:gd name="T69" fmla="*/ 72 h 389"/>
                <a:gd name="T70" fmla="*/ 12 w 227"/>
                <a:gd name="T71" fmla="*/ 66 h 389"/>
                <a:gd name="T72" fmla="*/ 12 w 227"/>
                <a:gd name="T73" fmla="*/ 81 h 389"/>
                <a:gd name="T74" fmla="*/ 87 w 227"/>
                <a:gd name="T75" fmla="*/ 77 h 389"/>
                <a:gd name="T76" fmla="*/ 87 w 227"/>
                <a:gd name="T77" fmla="*/ 82 h 389"/>
                <a:gd name="T78" fmla="*/ 12 w 227"/>
                <a:gd name="T79" fmla="*/ 87 h 389"/>
                <a:gd name="T80" fmla="*/ 12 w 227"/>
                <a:gd name="T81" fmla="*/ 81 h 389"/>
                <a:gd name="T82" fmla="*/ 12 w 227"/>
                <a:gd name="T83" fmla="*/ 96 h 389"/>
                <a:gd name="T84" fmla="*/ 87 w 227"/>
                <a:gd name="T85" fmla="*/ 92 h 389"/>
                <a:gd name="T86" fmla="*/ 87 w 227"/>
                <a:gd name="T87" fmla="*/ 97 h 389"/>
                <a:gd name="T88" fmla="*/ 12 w 227"/>
                <a:gd name="T89" fmla="*/ 102 h 389"/>
                <a:gd name="T90" fmla="*/ 12 w 227"/>
                <a:gd name="T91" fmla="*/ 96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7" h="389">
                  <a:moveTo>
                    <a:pt x="226" y="95"/>
                  </a:moveTo>
                  <a:cubicBezTo>
                    <a:pt x="226" y="95"/>
                    <a:pt x="227" y="90"/>
                    <a:pt x="221" y="85"/>
                  </a:cubicBezTo>
                  <a:cubicBezTo>
                    <a:pt x="216" y="79"/>
                    <a:pt x="117" y="4"/>
                    <a:pt x="117" y="4"/>
                  </a:cubicBezTo>
                  <a:cubicBezTo>
                    <a:pt x="117" y="4"/>
                    <a:pt x="106" y="0"/>
                    <a:pt x="106" y="20"/>
                  </a:cubicBezTo>
                  <a:cubicBezTo>
                    <a:pt x="106" y="40"/>
                    <a:pt x="106" y="175"/>
                    <a:pt x="106" y="175"/>
                  </a:cubicBezTo>
                  <a:cubicBezTo>
                    <a:pt x="106" y="175"/>
                    <a:pt x="103" y="185"/>
                    <a:pt x="112" y="202"/>
                  </a:cubicBezTo>
                  <a:cubicBezTo>
                    <a:pt x="121" y="219"/>
                    <a:pt x="124" y="222"/>
                    <a:pt x="124" y="253"/>
                  </a:cubicBezTo>
                  <a:cubicBezTo>
                    <a:pt x="124" y="284"/>
                    <a:pt x="125" y="384"/>
                    <a:pt x="125" y="384"/>
                  </a:cubicBezTo>
                  <a:cubicBezTo>
                    <a:pt x="101" y="385"/>
                    <a:pt x="101" y="385"/>
                    <a:pt x="101" y="385"/>
                  </a:cubicBezTo>
                  <a:cubicBezTo>
                    <a:pt x="101" y="385"/>
                    <a:pt x="83" y="387"/>
                    <a:pt x="83" y="365"/>
                  </a:cubicBezTo>
                  <a:cubicBezTo>
                    <a:pt x="83" y="343"/>
                    <a:pt x="83" y="231"/>
                    <a:pt x="83" y="231"/>
                  </a:cubicBezTo>
                  <a:cubicBezTo>
                    <a:pt x="83" y="231"/>
                    <a:pt x="83" y="224"/>
                    <a:pt x="87" y="217"/>
                  </a:cubicBezTo>
                  <a:cubicBezTo>
                    <a:pt x="87" y="217"/>
                    <a:pt x="71" y="214"/>
                    <a:pt x="59" y="214"/>
                  </a:cubicBezTo>
                  <a:cubicBezTo>
                    <a:pt x="47" y="214"/>
                    <a:pt x="33" y="214"/>
                    <a:pt x="17" y="233"/>
                  </a:cubicBezTo>
                  <a:cubicBezTo>
                    <a:pt x="17" y="233"/>
                    <a:pt x="19" y="222"/>
                    <a:pt x="12" y="206"/>
                  </a:cubicBezTo>
                  <a:cubicBezTo>
                    <a:pt x="12" y="206"/>
                    <a:pt x="24" y="208"/>
                    <a:pt x="33" y="207"/>
                  </a:cubicBezTo>
                  <a:cubicBezTo>
                    <a:pt x="41" y="206"/>
                    <a:pt x="91" y="205"/>
                    <a:pt x="91" y="205"/>
                  </a:cubicBezTo>
                  <a:cubicBezTo>
                    <a:pt x="97" y="187"/>
                    <a:pt x="97" y="187"/>
                    <a:pt x="97" y="187"/>
                  </a:cubicBezTo>
                  <a:cubicBezTo>
                    <a:pt x="97" y="20"/>
                    <a:pt x="97" y="20"/>
                    <a:pt x="97" y="20"/>
                  </a:cubicBezTo>
                  <a:cubicBezTo>
                    <a:pt x="97" y="20"/>
                    <a:pt x="96" y="7"/>
                    <a:pt x="104" y="3"/>
                  </a:cubicBezTo>
                  <a:cubicBezTo>
                    <a:pt x="104" y="3"/>
                    <a:pt x="102" y="1"/>
                    <a:pt x="89" y="2"/>
                  </a:cubicBezTo>
                  <a:cubicBezTo>
                    <a:pt x="76" y="3"/>
                    <a:pt x="17" y="9"/>
                    <a:pt x="17" y="9"/>
                  </a:cubicBezTo>
                  <a:cubicBezTo>
                    <a:pt x="17" y="9"/>
                    <a:pt x="4" y="10"/>
                    <a:pt x="4" y="22"/>
                  </a:cubicBezTo>
                  <a:cubicBezTo>
                    <a:pt x="4" y="33"/>
                    <a:pt x="1" y="189"/>
                    <a:pt x="1" y="189"/>
                  </a:cubicBezTo>
                  <a:cubicBezTo>
                    <a:pt x="1" y="189"/>
                    <a:pt x="0" y="202"/>
                    <a:pt x="5" y="210"/>
                  </a:cubicBezTo>
                  <a:cubicBezTo>
                    <a:pt x="9" y="218"/>
                    <a:pt x="8" y="232"/>
                    <a:pt x="8" y="244"/>
                  </a:cubicBezTo>
                  <a:cubicBezTo>
                    <a:pt x="8" y="255"/>
                    <a:pt x="7" y="371"/>
                    <a:pt x="7" y="371"/>
                  </a:cubicBezTo>
                  <a:cubicBezTo>
                    <a:pt x="7" y="371"/>
                    <a:pt x="5" y="386"/>
                    <a:pt x="18" y="387"/>
                  </a:cubicBezTo>
                  <a:cubicBezTo>
                    <a:pt x="32" y="388"/>
                    <a:pt x="118" y="389"/>
                    <a:pt x="118" y="389"/>
                  </a:cubicBezTo>
                  <a:cubicBezTo>
                    <a:pt x="226" y="384"/>
                    <a:pt x="226" y="384"/>
                    <a:pt x="226" y="384"/>
                  </a:cubicBezTo>
                  <a:lnTo>
                    <a:pt x="226" y="95"/>
                  </a:lnTo>
                  <a:close/>
                  <a:moveTo>
                    <a:pt x="12" y="66"/>
                  </a:moveTo>
                  <a:cubicBezTo>
                    <a:pt x="87" y="62"/>
                    <a:pt x="87" y="62"/>
                    <a:pt x="87" y="62"/>
                  </a:cubicBezTo>
                  <a:cubicBezTo>
                    <a:pt x="87" y="68"/>
                    <a:pt x="87" y="68"/>
                    <a:pt x="87" y="68"/>
                  </a:cubicBezTo>
                  <a:cubicBezTo>
                    <a:pt x="12" y="72"/>
                    <a:pt x="12" y="72"/>
                    <a:pt x="12" y="72"/>
                  </a:cubicBezTo>
                  <a:lnTo>
                    <a:pt x="12" y="66"/>
                  </a:lnTo>
                  <a:close/>
                  <a:moveTo>
                    <a:pt x="12" y="81"/>
                  </a:moveTo>
                  <a:cubicBezTo>
                    <a:pt x="87" y="77"/>
                    <a:pt x="87" y="77"/>
                    <a:pt x="87" y="77"/>
                  </a:cubicBezTo>
                  <a:cubicBezTo>
                    <a:pt x="87" y="82"/>
                    <a:pt x="87" y="82"/>
                    <a:pt x="87" y="82"/>
                  </a:cubicBezTo>
                  <a:cubicBezTo>
                    <a:pt x="12" y="87"/>
                    <a:pt x="12" y="87"/>
                    <a:pt x="12" y="87"/>
                  </a:cubicBezTo>
                  <a:lnTo>
                    <a:pt x="12" y="81"/>
                  </a:lnTo>
                  <a:close/>
                  <a:moveTo>
                    <a:pt x="12" y="96"/>
                  </a:moveTo>
                  <a:cubicBezTo>
                    <a:pt x="87" y="92"/>
                    <a:pt x="87" y="92"/>
                    <a:pt x="87" y="92"/>
                  </a:cubicBezTo>
                  <a:cubicBezTo>
                    <a:pt x="87" y="97"/>
                    <a:pt x="87" y="97"/>
                    <a:pt x="87" y="97"/>
                  </a:cubicBezTo>
                  <a:cubicBezTo>
                    <a:pt x="12" y="102"/>
                    <a:pt x="12" y="102"/>
                    <a:pt x="12" y="102"/>
                  </a:cubicBezTo>
                  <a:lnTo>
                    <a:pt x="12" y="9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8" name="TextBox 17"/>
          <p:cNvSpPr txBox="1"/>
          <p:nvPr/>
        </p:nvSpPr>
        <p:spPr>
          <a:xfrm>
            <a:off x="2171074" y="1885951"/>
            <a:ext cx="1429122" cy="674031"/>
          </a:xfrm>
          <a:prstGeom prst="rect">
            <a:avLst/>
          </a:prstGeom>
          <a:noFill/>
        </p:spPr>
        <p:txBody>
          <a:bodyPr wrap="square" lIns="68586" tIns="68586" rIns="68586" bIns="68586" rtlCol="0">
            <a:spAutoFit/>
          </a:bodyPr>
          <a:lstStyle/>
          <a:p>
            <a:pPr algn="ctr">
              <a:lnSpc>
                <a:spcPct val="90000"/>
              </a:lnSpc>
              <a:spcBef>
                <a:spcPct val="20000"/>
              </a:spcBef>
              <a:buSzPct val="90000"/>
            </a:pPr>
            <a:r>
              <a:rPr lang="nl-NL" sz="1200" b="1" dirty="0">
                <a:solidFill>
                  <a:srgbClr val="00B0F0">
                    <a:alpha val="99000"/>
                  </a:srgbClr>
                </a:solidFill>
              </a:rPr>
              <a:t>Phase 2:</a:t>
            </a:r>
          </a:p>
          <a:p>
            <a:pPr algn="ctr">
              <a:lnSpc>
                <a:spcPct val="90000"/>
              </a:lnSpc>
              <a:spcBef>
                <a:spcPct val="20000"/>
              </a:spcBef>
              <a:buSzPct val="90000"/>
            </a:pPr>
            <a:r>
              <a:rPr lang="nl-NL" sz="1200" dirty="0">
                <a:solidFill>
                  <a:srgbClr val="00B0F0">
                    <a:alpha val="99000"/>
                  </a:srgbClr>
                </a:solidFill>
              </a:rPr>
              <a:t>Provision       Fabric</a:t>
            </a:r>
            <a:endParaRPr lang="en-US" sz="1200" dirty="0" err="1">
              <a:solidFill>
                <a:srgbClr val="00B0F0">
                  <a:alpha val="99000"/>
                </a:srgbClr>
              </a:solidFill>
            </a:endParaRPr>
          </a:p>
        </p:txBody>
      </p:sp>
      <p:sp>
        <p:nvSpPr>
          <p:cNvPr id="19" name="Freeform 87"/>
          <p:cNvSpPr>
            <a:spLocks noEditPoints="1"/>
          </p:cNvSpPr>
          <p:nvPr/>
        </p:nvSpPr>
        <p:spPr bwMode="auto">
          <a:xfrm>
            <a:off x="1828085" y="1483547"/>
            <a:ext cx="454136" cy="126365"/>
          </a:xfrm>
          <a:custGeom>
            <a:avLst/>
            <a:gdLst>
              <a:gd name="T0" fmla="*/ 0 w 385"/>
              <a:gd name="T1" fmla="*/ 46 h 107"/>
              <a:gd name="T2" fmla="*/ 37 w 385"/>
              <a:gd name="T3" fmla="*/ 46 h 107"/>
              <a:gd name="T4" fmla="*/ 37 w 385"/>
              <a:gd name="T5" fmla="*/ 61 h 107"/>
              <a:gd name="T6" fmla="*/ 0 w 385"/>
              <a:gd name="T7" fmla="*/ 61 h 107"/>
              <a:gd name="T8" fmla="*/ 0 w 385"/>
              <a:gd name="T9" fmla="*/ 46 h 107"/>
              <a:gd name="T10" fmla="*/ 74 w 385"/>
              <a:gd name="T11" fmla="*/ 61 h 107"/>
              <a:gd name="T12" fmla="*/ 111 w 385"/>
              <a:gd name="T13" fmla="*/ 61 h 107"/>
              <a:gd name="T14" fmla="*/ 111 w 385"/>
              <a:gd name="T15" fmla="*/ 46 h 107"/>
              <a:gd name="T16" fmla="*/ 74 w 385"/>
              <a:gd name="T17" fmla="*/ 46 h 107"/>
              <a:gd name="T18" fmla="*/ 74 w 385"/>
              <a:gd name="T19" fmla="*/ 61 h 107"/>
              <a:gd name="T20" fmla="*/ 222 w 385"/>
              <a:gd name="T21" fmla="*/ 61 h 107"/>
              <a:gd name="T22" fmla="*/ 259 w 385"/>
              <a:gd name="T23" fmla="*/ 61 h 107"/>
              <a:gd name="T24" fmla="*/ 259 w 385"/>
              <a:gd name="T25" fmla="*/ 46 h 107"/>
              <a:gd name="T26" fmla="*/ 222 w 385"/>
              <a:gd name="T27" fmla="*/ 46 h 107"/>
              <a:gd name="T28" fmla="*/ 222 w 385"/>
              <a:gd name="T29" fmla="*/ 61 h 107"/>
              <a:gd name="T30" fmla="*/ 148 w 385"/>
              <a:gd name="T31" fmla="*/ 61 h 107"/>
              <a:gd name="T32" fmla="*/ 185 w 385"/>
              <a:gd name="T33" fmla="*/ 61 h 107"/>
              <a:gd name="T34" fmla="*/ 185 w 385"/>
              <a:gd name="T35" fmla="*/ 46 h 107"/>
              <a:gd name="T36" fmla="*/ 148 w 385"/>
              <a:gd name="T37" fmla="*/ 46 h 107"/>
              <a:gd name="T38" fmla="*/ 148 w 385"/>
              <a:gd name="T39" fmla="*/ 61 h 107"/>
              <a:gd name="T40" fmla="*/ 382 w 385"/>
              <a:gd name="T41" fmla="*/ 48 h 107"/>
              <a:gd name="T42" fmla="*/ 334 w 385"/>
              <a:gd name="T43" fmla="*/ 0 h 107"/>
              <a:gd name="T44" fmla="*/ 324 w 385"/>
              <a:gd name="T45" fmla="*/ 11 h 107"/>
              <a:gd name="T46" fmla="*/ 359 w 385"/>
              <a:gd name="T47" fmla="*/ 46 h 107"/>
              <a:gd name="T48" fmla="*/ 296 w 385"/>
              <a:gd name="T49" fmla="*/ 46 h 107"/>
              <a:gd name="T50" fmla="*/ 296 w 385"/>
              <a:gd name="T51" fmla="*/ 61 h 107"/>
              <a:gd name="T52" fmla="*/ 359 w 385"/>
              <a:gd name="T53" fmla="*/ 61 h 107"/>
              <a:gd name="T54" fmla="*/ 324 w 385"/>
              <a:gd name="T55" fmla="*/ 96 h 107"/>
              <a:gd name="T56" fmla="*/ 334 w 385"/>
              <a:gd name="T57" fmla="*/ 107 h 107"/>
              <a:gd name="T58" fmla="*/ 382 w 385"/>
              <a:gd name="T59" fmla="*/ 59 h 107"/>
              <a:gd name="T60" fmla="*/ 382 w 385"/>
              <a:gd name="T61" fmla="*/ 4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5" h="107">
                <a:moveTo>
                  <a:pt x="0" y="46"/>
                </a:moveTo>
                <a:cubicBezTo>
                  <a:pt x="37" y="46"/>
                  <a:pt x="37" y="46"/>
                  <a:pt x="37" y="46"/>
                </a:cubicBezTo>
                <a:cubicBezTo>
                  <a:pt x="37" y="61"/>
                  <a:pt x="37" y="61"/>
                  <a:pt x="37" y="61"/>
                </a:cubicBezTo>
                <a:cubicBezTo>
                  <a:pt x="0" y="61"/>
                  <a:pt x="0" y="61"/>
                  <a:pt x="0" y="61"/>
                </a:cubicBezTo>
                <a:lnTo>
                  <a:pt x="0" y="46"/>
                </a:lnTo>
                <a:close/>
                <a:moveTo>
                  <a:pt x="74" y="61"/>
                </a:moveTo>
                <a:cubicBezTo>
                  <a:pt x="111" y="61"/>
                  <a:pt x="111" y="61"/>
                  <a:pt x="111" y="61"/>
                </a:cubicBezTo>
                <a:cubicBezTo>
                  <a:pt x="111" y="46"/>
                  <a:pt x="111" y="46"/>
                  <a:pt x="111" y="46"/>
                </a:cubicBezTo>
                <a:cubicBezTo>
                  <a:pt x="74" y="46"/>
                  <a:pt x="74" y="46"/>
                  <a:pt x="74" y="46"/>
                </a:cubicBezTo>
                <a:lnTo>
                  <a:pt x="74" y="61"/>
                </a:lnTo>
                <a:close/>
                <a:moveTo>
                  <a:pt x="222" y="61"/>
                </a:moveTo>
                <a:cubicBezTo>
                  <a:pt x="259" y="61"/>
                  <a:pt x="259" y="61"/>
                  <a:pt x="259" y="61"/>
                </a:cubicBezTo>
                <a:cubicBezTo>
                  <a:pt x="259" y="46"/>
                  <a:pt x="259" y="46"/>
                  <a:pt x="259" y="46"/>
                </a:cubicBezTo>
                <a:cubicBezTo>
                  <a:pt x="222" y="46"/>
                  <a:pt x="222" y="46"/>
                  <a:pt x="222" y="46"/>
                </a:cubicBezTo>
                <a:lnTo>
                  <a:pt x="222" y="61"/>
                </a:lnTo>
                <a:close/>
                <a:moveTo>
                  <a:pt x="148" y="61"/>
                </a:moveTo>
                <a:cubicBezTo>
                  <a:pt x="185" y="61"/>
                  <a:pt x="185" y="61"/>
                  <a:pt x="185" y="61"/>
                </a:cubicBezTo>
                <a:cubicBezTo>
                  <a:pt x="185" y="46"/>
                  <a:pt x="185" y="46"/>
                  <a:pt x="185" y="46"/>
                </a:cubicBezTo>
                <a:cubicBezTo>
                  <a:pt x="148" y="46"/>
                  <a:pt x="148" y="46"/>
                  <a:pt x="148" y="46"/>
                </a:cubicBezTo>
                <a:lnTo>
                  <a:pt x="148" y="61"/>
                </a:lnTo>
                <a:close/>
                <a:moveTo>
                  <a:pt x="382" y="48"/>
                </a:moveTo>
                <a:cubicBezTo>
                  <a:pt x="334" y="0"/>
                  <a:pt x="334" y="0"/>
                  <a:pt x="334" y="0"/>
                </a:cubicBezTo>
                <a:cubicBezTo>
                  <a:pt x="324" y="11"/>
                  <a:pt x="324" y="11"/>
                  <a:pt x="324" y="11"/>
                </a:cubicBezTo>
                <a:cubicBezTo>
                  <a:pt x="359" y="46"/>
                  <a:pt x="359" y="46"/>
                  <a:pt x="359" y="46"/>
                </a:cubicBezTo>
                <a:cubicBezTo>
                  <a:pt x="296" y="46"/>
                  <a:pt x="296" y="46"/>
                  <a:pt x="296" y="46"/>
                </a:cubicBezTo>
                <a:cubicBezTo>
                  <a:pt x="296" y="61"/>
                  <a:pt x="296" y="61"/>
                  <a:pt x="296" y="61"/>
                </a:cubicBezTo>
                <a:cubicBezTo>
                  <a:pt x="359" y="61"/>
                  <a:pt x="359" y="61"/>
                  <a:pt x="359" y="61"/>
                </a:cubicBezTo>
                <a:cubicBezTo>
                  <a:pt x="324" y="96"/>
                  <a:pt x="324" y="96"/>
                  <a:pt x="324" y="96"/>
                </a:cubicBezTo>
                <a:cubicBezTo>
                  <a:pt x="334" y="107"/>
                  <a:pt x="334" y="107"/>
                  <a:pt x="334" y="107"/>
                </a:cubicBezTo>
                <a:cubicBezTo>
                  <a:pt x="382" y="59"/>
                  <a:pt x="382" y="59"/>
                  <a:pt x="382" y="59"/>
                </a:cubicBezTo>
                <a:cubicBezTo>
                  <a:pt x="385" y="56"/>
                  <a:pt x="385" y="51"/>
                  <a:pt x="382" y="48"/>
                </a:cubicBez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26" name="TextBox 25"/>
          <p:cNvSpPr txBox="1"/>
          <p:nvPr/>
        </p:nvSpPr>
        <p:spPr>
          <a:xfrm>
            <a:off x="3828856" y="1897720"/>
            <a:ext cx="1429122" cy="674031"/>
          </a:xfrm>
          <a:prstGeom prst="rect">
            <a:avLst/>
          </a:prstGeom>
          <a:noFill/>
        </p:spPr>
        <p:txBody>
          <a:bodyPr wrap="square" lIns="68586" tIns="68586" rIns="68586" bIns="68586" rtlCol="0">
            <a:spAutoFit/>
          </a:bodyPr>
          <a:lstStyle/>
          <a:p>
            <a:pPr algn="ctr">
              <a:lnSpc>
                <a:spcPct val="90000"/>
              </a:lnSpc>
              <a:spcBef>
                <a:spcPct val="20000"/>
              </a:spcBef>
              <a:buSzPct val="90000"/>
            </a:pPr>
            <a:r>
              <a:rPr lang="nl-NL" sz="1200" b="1" dirty="0">
                <a:solidFill>
                  <a:srgbClr val="00B0F0">
                    <a:alpha val="99000"/>
                  </a:srgbClr>
                </a:solidFill>
              </a:rPr>
              <a:t>Phase 3:</a:t>
            </a:r>
          </a:p>
          <a:p>
            <a:pPr algn="ctr">
              <a:lnSpc>
                <a:spcPct val="90000"/>
              </a:lnSpc>
              <a:spcBef>
                <a:spcPct val="20000"/>
              </a:spcBef>
              <a:buSzPct val="90000"/>
            </a:pPr>
            <a:r>
              <a:rPr lang="nl-NL" sz="1200" dirty="0">
                <a:solidFill>
                  <a:srgbClr val="00B0F0">
                    <a:alpha val="99000"/>
                  </a:srgbClr>
                </a:solidFill>
              </a:rPr>
              <a:t>Install and configure SCOM</a:t>
            </a:r>
            <a:endParaRPr lang="en-US" sz="1200" dirty="0" err="1">
              <a:solidFill>
                <a:srgbClr val="00B0F0">
                  <a:alpha val="99000"/>
                </a:srgbClr>
              </a:solidFill>
            </a:endParaRPr>
          </a:p>
        </p:txBody>
      </p:sp>
      <p:sp>
        <p:nvSpPr>
          <p:cNvPr id="27" name="Freeform 87"/>
          <p:cNvSpPr>
            <a:spLocks noEditPoints="1"/>
          </p:cNvSpPr>
          <p:nvPr/>
        </p:nvSpPr>
        <p:spPr bwMode="auto">
          <a:xfrm>
            <a:off x="3485867" y="1495316"/>
            <a:ext cx="454136" cy="126365"/>
          </a:xfrm>
          <a:custGeom>
            <a:avLst/>
            <a:gdLst>
              <a:gd name="T0" fmla="*/ 0 w 385"/>
              <a:gd name="T1" fmla="*/ 46 h 107"/>
              <a:gd name="T2" fmla="*/ 37 w 385"/>
              <a:gd name="T3" fmla="*/ 46 h 107"/>
              <a:gd name="T4" fmla="*/ 37 w 385"/>
              <a:gd name="T5" fmla="*/ 61 h 107"/>
              <a:gd name="T6" fmla="*/ 0 w 385"/>
              <a:gd name="T7" fmla="*/ 61 h 107"/>
              <a:gd name="T8" fmla="*/ 0 w 385"/>
              <a:gd name="T9" fmla="*/ 46 h 107"/>
              <a:gd name="T10" fmla="*/ 74 w 385"/>
              <a:gd name="T11" fmla="*/ 61 h 107"/>
              <a:gd name="T12" fmla="*/ 111 w 385"/>
              <a:gd name="T13" fmla="*/ 61 h 107"/>
              <a:gd name="T14" fmla="*/ 111 w 385"/>
              <a:gd name="T15" fmla="*/ 46 h 107"/>
              <a:gd name="T16" fmla="*/ 74 w 385"/>
              <a:gd name="T17" fmla="*/ 46 h 107"/>
              <a:gd name="T18" fmla="*/ 74 w 385"/>
              <a:gd name="T19" fmla="*/ 61 h 107"/>
              <a:gd name="T20" fmla="*/ 222 w 385"/>
              <a:gd name="T21" fmla="*/ 61 h 107"/>
              <a:gd name="T22" fmla="*/ 259 w 385"/>
              <a:gd name="T23" fmla="*/ 61 h 107"/>
              <a:gd name="T24" fmla="*/ 259 w 385"/>
              <a:gd name="T25" fmla="*/ 46 h 107"/>
              <a:gd name="T26" fmla="*/ 222 w 385"/>
              <a:gd name="T27" fmla="*/ 46 h 107"/>
              <a:gd name="T28" fmla="*/ 222 w 385"/>
              <a:gd name="T29" fmla="*/ 61 h 107"/>
              <a:gd name="T30" fmla="*/ 148 w 385"/>
              <a:gd name="T31" fmla="*/ 61 h 107"/>
              <a:gd name="T32" fmla="*/ 185 w 385"/>
              <a:gd name="T33" fmla="*/ 61 h 107"/>
              <a:gd name="T34" fmla="*/ 185 w 385"/>
              <a:gd name="T35" fmla="*/ 46 h 107"/>
              <a:gd name="T36" fmla="*/ 148 w 385"/>
              <a:gd name="T37" fmla="*/ 46 h 107"/>
              <a:gd name="T38" fmla="*/ 148 w 385"/>
              <a:gd name="T39" fmla="*/ 61 h 107"/>
              <a:gd name="T40" fmla="*/ 382 w 385"/>
              <a:gd name="T41" fmla="*/ 48 h 107"/>
              <a:gd name="T42" fmla="*/ 334 w 385"/>
              <a:gd name="T43" fmla="*/ 0 h 107"/>
              <a:gd name="T44" fmla="*/ 324 w 385"/>
              <a:gd name="T45" fmla="*/ 11 h 107"/>
              <a:gd name="T46" fmla="*/ 359 w 385"/>
              <a:gd name="T47" fmla="*/ 46 h 107"/>
              <a:gd name="T48" fmla="*/ 296 w 385"/>
              <a:gd name="T49" fmla="*/ 46 h 107"/>
              <a:gd name="T50" fmla="*/ 296 w 385"/>
              <a:gd name="T51" fmla="*/ 61 h 107"/>
              <a:gd name="T52" fmla="*/ 359 w 385"/>
              <a:gd name="T53" fmla="*/ 61 h 107"/>
              <a:gd name="T54" fmla="*/ 324 w 385"/>
              <a:gd name="T55" fmla="*/ 96 h 107"/>
              <a:gd name="T56" fmla="*/ 334 w 385"/>
              <a:gd name="T57" fmla="*/ 107 h 107"/>
              <a:gd name="T58" fmla="*/ 382 w 385"/>
              <a:gd name="T59" fmla="*/ 59 h 107"/>
              <a:gd name="T60" fmla="*/ 382 w 385"/>
              <a:gd name="T61" fmla="*/ 4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5" h="107">
                <a:moveTo>
                  <a:pt x="0" y="46"/>
                </a:moveTo>
                <a:cubicBezTo>
                  <a:pt x="37" y="46"/>
                  <a:pt x="37" y="46"/>
                  <a:pt x="37" y="46"/>
                </a:cubicBezTo>
                <a:cubicBezTo>
                  <a:pt x="37" y="61"/>
                  <a:pt x="37" y="61"/>
                  <a:pt x="37" y="61"/>
                </a:cubicBezTo>
                <a:cubicBezTo>
                  <a:pt x="0" y="61"/>
                  <a:pt x="0" y="61"/>
                  <a:pt x="0" y="61"/>
                </a:cubicBezTo>
                <a:lnTo>
                  <a:pt x="0" y="46"/>
                </a:lnTo>
                <a:close/>
                <a:moveTo>
                  <a:pt x="74" y="61"/>
                </a:moveTo>
                <a:cubicBezTo>
                  <a:pt x="111" y="61"/>
                  <a:pt x="111" y="61"/>
                  <a:pt x="111" y="61"/>
                </a:cubicBezTo>
                <a:cubicBezTo>
                  <a:pt x="111" y="46"/>
                  <a:pt x="111" y="46"/>
                  <a:pt x="111" y="46"/>
                </a:cubicBezTo>
                <a:cubicBezTo>
                  <a:pt x="74" y="46"/>
                  <a:pt x="74" y="46"/>
                  <a:pt x="74" y="46"/>
                </a:cubicBezTo>
                <a:lnTo>
                  <a:pt x="74" y="61"/>
                </a:lnTo>
                <a:close/>
                <a:moveTo>
                  <a:pt x="222" y="61"/>
                </a:moveTo>
                <a:cubicBezTo>
                  <a:pt x="259" y="61"/>
                  <a:pt x="259" y="61"/>
                  <a:pt x="259" y="61"/>
                </a:cubicBezTo>
                <a:cubicBezTo>
                  <a:pt x="259" y="46"/>
                  <a:pt x="259" y="46"/>
                  <a:pt x="259" y="46"/>
                </a:cubicBezTo>
                <a:cubicBezTo>
                  <a:pt x="222" y="46"/>
                  <a:pt x="222" y="46"/>
                  <a:pt x="222" y="46"/>
                </a:cubicBezTo>
                <a:lnTo>
                  <a:pt x="222" y="61"/>
                </a:lnTo>
                <a:close/>
                <a:moveTo>
                  <a:pt x="148" y="61"/>
                </a:moveTo>
                <a:cubicBezTo>
                  <a:pt x="185" y="61"/>
                  <a:pt x="185" y="61"/>
                  <a:pt x="185" y="61"/>
                </a:cubicBezTo>
                <a:cubicBezTo>
                  <a:pt x="185" y="46"/>
                  <a:pt x="185" y="46"/>
                  <a:pt x="185" y="46"/>
                </a:cubicBezTo>
                <a:cubicBezTo>
                  <a:pt x="148" y="46"/>
                  <a:pt x="148" y="46"/>
                  <a:pt x="148" y="46"/>
                </a:cubicBezTo>
                <a:lnTo>
                  <a:pt x="148" y="61"/>
                </a:lnTo>
                <a:close/>
                <a:moveTo>
                  <a:pt x="382" y="48"/>
                </a:moveTo>
                <a:cubicBezTo>
                  <a:pt x="334" y="0"/>
                  <a:pt x="334" y="0"/>
                  <a:pt x="334" y="0"/>
                </a:cubicBezTo>
                <a:cubicBezTo>
                  <a:pt x="324" y="11"/>
                  <a:pt x="324" y="11"/>
                  <a:pt x="324" y="11"/>
                </a:cubicBezTo>
                <a:cubicBezTo>
                  <a:pt x="359" y="46"/>
                  <a:pt x="359" y="46"/>
                  <a:pt x="359" y="46"/>
                </a:cubicBezTo>
                <a:cubicBezTo>
                  <a:pt x="296" y="46"/>
                  <a:pt x="296" y="46"/>
                  <a:pt x="296" y="46"/>
                </a:cubicBezTo>
                <a:cubicBezTo>
                  <a:pt x="296" y="61"/>
                  <a:pt x="296" y="61"/>
                  <a:pt x="296" y="61"/>
                </a:cubicBezTo>
                <a:cubicBezTo>
                  <a:pt x="359" y="61"/>
                  <a:pt x="359" y="61"/>
                  <a:pt x="359" y="61"/>
                </a:cubicBezTo>
                <a:cubicBezTo>
                  <a:pt x="324" y="96"/>
                  <a:pt x="324" y="96"/>
                  <a:pt x="324" y="96"/>
                </a:cubicBezTo>
                <a:cubicBezTo>
                  <a:pt x="334" y="107"/>
                  <a:pt x="334" y="107"/>
                  <a:pt x="334" y="107"/>
                </a:cubicBezTo>
                <a:cubicBezTo>
                  <a:pt x="382" y="59"/>
                  <a:pt x="382" y="59"/>
                  <a:pt x="382" y="59"/>
                </a:cubicBezTo>
                <a:cubicBezTo>
                  <a:pt x="385" y="56"/>
                  <a:pt x="385" y="51"/>
                  <a:pt x="382" y="48"/>
                </a:cubicBez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34" name="TextBox 33"/>
          <p:cNvSpPr txBox="1"/>
          <p:nvPr/>
        </p:nvSpPr>
        <p:spPr>
          <a:xfrm>
            <a:off x="5600968" y="1897720"/>
            <a:ext cx="1429122" cy="674031"/>
          </a:xfrm>
          <a:prstGeom prst="rect">
            <a:avLst/>
          </a:prstGeom>
          <a:noFill/>
        </p:spPr>
        <p:txBody>
          <a:bodyPr wrap="square" lIns="68586" tIns="68586" rIns="68586" bIns="68586" rtlCol="0">
            <a:spAutoFit/>
          </a:bodyPr>
          <a:lstStyle/>
          <a:p>
            <a:pPr algn="ctr">
              <a:lnSpc>
                <a:spcPct val="90000"/>
              </a:lnSpc>
              <a:spcBef>
                <a:spcPct val="20000"/>
              </a:spcBef>
              <a:buSzPct val="90000"/>
            </a:pPr>
            <a:r>
              <a:rPr lang="nl-NL" sz="1200" b="1" dirty="0">
                <a:solidFill>
                  <a:srgbClr val="00B0F0">
                    <a:alpha val="99000"/>
                  </a:srgbClr>
                </a:solidFill>
              </a:rPr>
              <a:t>Phase 4:</a:t>
            </a:r>
          </a:p>
          <a:p>
            <a:pPr algn="ctr">
              <a:lnSpc>
                <a:spcPct val="90000"/>
              </a:lnSpc>
              <a:spcBef>
                <a:spcPct val="20000"/>
              </a:spcBef>
              <a:buSzPct val="90000"/>
            </a:pPr>
            <a:r>
              <a:rPr lang="nl-NL" sz="1200" dirty="0">
                <a:solidFill>
                  <a:srgbClr val="00B0F0">
                    <a:alpha val="99000"/>
                  </a:srgbClr>
                </a:solidFill>
              </a:rPr>
              <a:t>Install and configure SCSM</a:t>
            </a:r>
            <a:endParaRPr lang="en-US" sz="1200" dirty="0" err="1">
              <a:solidFill>
                <a:srgbClr val="00B0F0">
                  <a:alpha val="99000"/>
                </a:srgbClr>
              </a:solidFill>
            </a:endParaRPr>
          </a:p>
        </p:txBody>
      </p:sp>
      <p:sp>
        <p:nvSpPr>
          <p:cNvPr id="35" name="Freeform 87"/>
          <p:cNvSpPr>
            <a:spLocks noEditPoints="1"/>
          </p:cNvSpPr>
          <p:nvPr/>
        </p:nvSpPr>
        <p:spPr bwMode="auto">
          <a:xfrm>
            <a:off x="5257979" y="1495316"/>
            <a:ext cx="454136" cy="126365"/>
          </a:xfrm>
          <a:custGeom>
            <a:avLst/>
            <a:gdLst>
              <a:gd name="T0" fmla="*/ 0 w 385"/>
              <a:gd name="T1" fmla="*/ 46 h 107"/>
              <a:gd name="T2" fmla="*/ 37 w 385"/>
              <a:gd name="T3" fmla="*/ 46 h 107"/>
              <a:gd name="T4" fmla="*/ 37 w 385"/>
              <a:gd name="T5" fmla="*/ 61 h 107"/>
              <a:gd name="T6" fmla="*/ 0 w 385"/>
              <a:gd name="T7" fmla="*/ 61 h 107"/>
              <a:gd name="T8" fmla="*/ 0 w 385"/>
              <a:gd name="T9" fmla="*/ 46 h 107"/>
              <a:gd name="T10" fmla="*/ 74 w 385"/>
              <a:gd name="T11" fmla="*/ 61 h 107"/>
              <a:gd name="T12" fmla="*/ 111 w 385"/>
              <a:gd name="T13" fmla="*/ 61 h 107"/>
              <a:gd name="T14" fmla="*/ 111 w 385"/>
              <a:gd name="T15" fmla="*/ 46 h 107"/>
              <a:gd name="T16" fmla="*/ 74 w 385"/>
              <a:gd name="T17" fmla="*/ 46 h 107"/>
              <a:gd name="T18" fmla="*/ 74 w 385"/>
              <a:gd name="T19" fmla="*/ 61 h 107"/>
              <a:gd name="T20" fmla="*/ 222 w 385"/>
              <a:gd name="T21" fmla="*/ 61 h 107"/>
              <a:gd name="T22" fmla="*/ 259 w 385"/>
              <a:gd name="T23" fmla="*/ 61 h 107"/>
              <a:gd name="T24" fmla="*/ 259 w 385"/>
              <a:gd name="T25" fmla="*/ 46 h 107"/>
              <a:gd name="T26" fmla="*/ 222 w 385"/>
              <a:gd name="T27" fmla="*/ 46 h 107"/>
              <a:gd name="T28" fmla="*/ 222 w 385"/>
              <a:gd name="T29" fmla="*/ 61 h 107"/>
              <a:gd name="T30" fmla="*/ 148 w 385"/>
              <a:gd name="T31" fmla="*/ 61 h 107"/>
              <a:gd name="T32" fmla="*/ 185 w 385"/>
              <a:gd name="T33" fmla="*/ 61 h 107"/>
              <a:gd name="T34" fmla="*/ 185 w 385"/>
              <a:gd name="T35" fmla="*/ 46 h 107"/>
              <a:gd name="T36" fmla="*/ 148 w 385"/>
              <a:gd name="T37" fmla="*/ 46 h 107"/>
              <a:gd name="T38" fmla="*/ 148 w 385"/>
              <a:gd name="T39" fmla="*/ 61 h 107"/>
              <a:gd name="T40" fmla="*/ 382 w 385"/>
              <a:gd name="T41" fmla="*/ 48 h 107"/>
              <a:gd name="T42" fmla="*/ 334 w 385"/>
              <a:gd name="T43" fmla="*/ 0 h 107"/>
              <a:gd name="T44" fmla="*/ 324 w 385"/>
              <a:gd name="T45" fmla="*/ 11 h 107"/>
              <a:gd name="T46" fmla="*/ 359 w 385"/>
              <a:gd name="T47" fmla="*/ 46 h 107"/>
              <a:gd name="T48" fmla="*/ 296 w 385"/>
              <a:gd name="T49" fmla="*/ 46 h 107"/>
              <a:gd name="T50" fmla="*/ 296 w 385"/>
              <a:gd name="T51" fmla="*/ 61 h 107"/>
              <a:gd name="T52" fmla="*/ 359 w 385"/>
              <a:gd name="T53" fmla="*/ 61 h 107"/>
              <a:gd name="T54" fmla="*/ 324 w 385"/>
              <a:gd name="T55" fmla="*/ 96 h 107"/>
              <a:gd name="T56" fmla="*/ 334 w 385"/>
              <a:gd name="T57" fmla="*/ 107 h 107"/>
              <a:gd name="T58" fmla="*/ 382 w 385"/>
              <a:gd name="T59" fmla="*/ 59 h 107"/>
              <a:gd name="T60" fmla="*/ 382 w 385"/>
              <a:gd name="T61" fmla="*/ 4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5" h="107">
                <a:moveTo>
                  <a:pt x="0" y="46"/>
                </a:moveTo>
                <a:cubicBezTo>
                  <a:pt x="37" y="46"/>
                  <a:pt x="37" y="46"/>
                  <a:pt x="37" y="46"/>
                </a:cubicBezTo>
                <a:cubicBezTo>
                  <a:pt x="37" y="61"/>
                  <a:pt x="37" y="61"/>
                  <a:pt x="37" y="61"/>
                </a:cubicBezTo>
                <a:cubicBezTo>
                  <a:pt x="0" y="61"/>
                  <a:pt x="0" y="61"/>
                  <a:pt x="0" y="61"/>
                </a:cubicBezTo>
                <a:lnTo>
                  <a:pt x="0" y="46"/>
                </a:lnTo>
                <a:close/>
                <a:moveTo>
                  <a:pt x="74" y="61"/>
                </a:moveTo>
                <a:cubicBezTo>
                  <a:pt x="111" y="61"/>
                  <a:pt x="111" y="61"/>
                  <a:pt x="111" y="61"/>
                </a:cubicBezTo>
                <a:cubicBezTo>
                  <a:pt x="111" y="46"/>
                  <a:pt x="111" y="46"/>
                  <a:pt x="111" y="46"/>
                </a:cubicBezTo>
                <a:cubicBezTo>
                  <a:pt x="74" y="46"/>
                  <a:pt x="74" y="46"/>
                  <a:pt x="74" y="46"/>
                </a:cubicBezTo>
                <a:lnTo>
                  <a:pt x="74" y="61"/>
                </a:lnTo>
                <a:close/>
                <a:moveTo>
                  <a:pt x="222" y="61"/>
                </a:moveTo>
                <a:cubicBezTo>
                  <a:pt x="259" y="61"/>
                  <a:pt x="259" y="61"/>
                  <a:pt x="259" y="61"/>
                </a:cubicBezTo>
                <a:cubicBezTo>
                  <a:pt x="259" y="46"/>
                  <a:pt x="259" y="46"/>
                  <a:pt x="259" y="46"/>
                </a:cubicBezTo>
                <a:cubicBezTo>
                  <a:pt x="222" y="46"/>
                  <a:pt x="222" y="46"/>
                  <a:pt x="222" y="46"/>
                </a:cubicBezTo>
                <a:lnTo>
                  <a:pt x="222" y="61"/>
                </a:lnTo>
                <a:close/>
                <a:moveTo>
                  <a:pt x="148" y="61"/>
                </a:moveTo>
                <a:cubicBezTo>
                  <a:pt x="185" y="61"/>
                  <a:pt x="185" y="61"/>
                  <a:pt x="185" y="61"/>
                </a:cubicBezTo>
                <a:cubicBezTo>
                  <a:pt x="185" y="46"/>
                  <a:pt x="185" y="46"/>
                  <a:pt x="185" y="46"/>
                </a:cubicBezTo>
                <a:cubicBezTo>
                  <a:pt x="148" y="46"/>
                  <a:pt x="148" y="46"/>
                  <a:pt x="148" y="46"/>
                </a:cubicBezTo>
                <a:lnTo>
                  <a:pt x="148" y="61"/>
                </a:lnTo>
                <a:close/>
                <a:moveTo>
                  <a:pt x="382" y="48"/>
                </a:moveTo>
                <a:cubicBezTo>
                  <a:pt x="334" y="0"/>
                  <a:pt x="334" y="0"/>
                  <a:pt x="334" y="0"/>
                </a:cubicBezTo>
                <a:cubicBezTo>
                  <a:pt x="324" y="11"/>
                  <a:pt x="324" y="11"/>
                  <a:pt x="324" y="11"/>
                </a:cubicBezTo>
                <a:cubicBezTo>
                  <a:pt x="359" y="46"/>
                  <a:pt x="359" y="46"/>
                  <a:pt x="359" y="46"/>
                </a:cubicBezTo>
                <a:cubicBezTo>
                  <a:pt x="296" y="46"/>
                  <a:pt x="296" y="46"/>
                  <a:pt x="296" y="46"/>
                </a:cubicBezTo>
                <a:cubicBezTo>
                  <a:pt x="296" y="61"/>
                  <a:pt x="296" y="61"/>
                  <a:pt x="296" y="61"/>
                </a:cubicBezTo>
                <a:cubicBezTo>
                  <a:pt x="359" y="61"/>
                  <a:pt x="359" y="61"/>
                  <a:pt x="359" y="61"/>
                </a:cubicBezTo>
                <a:cubicBezTo>
                  <a:pt x="324" y="96"/>
                  <a:pt x="324" y="96"/>
                  <a:pt x="324" y="96"/>
                </a:cubicBezTo>
                <a:cubicBezTo>
                  <a:pt x="334" y="107"/>
                  <a:pt x="334" y="107"/>
                  <a:pt x="334" y="107"/>
                </a:cubicBezTo>
                <a:cubicBezTo>
                  <a:pt x="382" y="59"/>
                  <a:pt x="382" y="59"/>
                  <a:pt x="382" y="59"/>
                </a:cubicBezTo>
                <a:cubicBezTo>
                  <a:pt x="385" y="56"/>
                  <a:pt x="385" y="51"/>
                  <a:pt x="382" y="48"/>
                </a:cubicBez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42" name="TextBox 41"/>
          <p:cNvSpPr txBox="1"/>
          <p:nvPr/>
        </p:nvSpPr>
        <p:spPr>
          <a:xfrm>
            <a:off x="7315914" y="1897720"/>
            <a:ext cx="1429122" cy="674031"/>
          </a:xfrm>
          <a:prstGeom prst="rect">
            <a:avLst/>
          </a:prstGeom>
          <a:noFill/>
        </p:spPr>
        <p:txBody>
          <a:bodyPr wrap="square" lIns="68586" tIns="68586" rIns="68586" bIns="68586" rtlCol="0">
            <a:spAutoFit/>
          </a:bodyPr>
          <a:lstStyle/>
          <a:p>
            <a:pPr algn="ctr">
              <a:lnSpc>
                <a:spcPct val="90000"/>
              </a:lnSpc>
              <a:spcBef>
                <a:spcPct val="20000"/>
              </a:spcBef>
              <a:buSzPct val="90000"/>
            </a:pPr>
            <a:r>
              <a:rPr lang="nl-NL" sz="1200" b="1" dirty="0">
                <a:solidFill>
                  <a:srgbClr val="00B0F0">
                    <a:alpha val="99000"/>
                  </a:srgbClr>
                </a:solidFill>
              </a:rPr>
              <a:t>Phase 5:</a:t>
            </a:r>
          </a:p>
          <a:p>
            <a:pPr algn="ctr">
              <a:lnSpc>
                <a:spcPct val="90000"/>
              </a:lnSpc>
              <a:spcBef>
                <a:spcPct val="20000"/>
              </a:spcBef>
              <a:buSzPct val="90000"/>
            </a:pPr>
            <a:r>
              <a:rPr lang="nl-NL" sz="1200" dirty="0">
                <a:solidFill>
                  <a:srgbClr val="00B0F0">
                    <a:alpha val="99000"/>
                  </a:srgbClr>
                </a:solidFill>
              </a:rPr>
              <a:t>Install and configure SCORCH</a:t>
            </a:r>
            <a:endParaRPr lang="en-US" sz="1200" dirty="0" err="1">
              <a:solidFill>
                <a:srgbClr val="00B0F0">
                  <a:alpha val="99000"/>
                </a:srgbClr>
              </a:solidFill>
            </a:endParaRPr>
          </a:p>
        </p:txBody>
      </p:sp>
      <p:sp>
        <p:nvSpPr>
          <p:cNvPr id="43" name="Freeform 87"/>
          <p:cNvSpPr>
            <a:spLocks noEditPoints="1"/>
          </p:cNvSpPr>
          <p:nvPr/>
        </p:nvSpPr>
        <p:spPr bwMode="auto">
          <a:xfrm>
            <a:off x="6972925" y="1495316"/>
            <a:ext cx="454136" cy="126365"/>
          </a:xfrm>
          <a:custGeom>
            <a:avLst/>
            <a:gdLst>
              <a:gd name="T0" fmla="*/ 0 w 385"/>
              <a:gd name="T1" fmla="*/ 46 h 107"/>
              <a:gd name="T2" fmla="*/ 37 w 385"/>
              <a:gd name="T3" fmla="*/ 46 h 107"/>
              <a:gd name="T4" fmla="*/ 37 w 385"/>
              <a:gd name="T5" fmla="*/ 61 h 107"/>
              <a:gd name="T6" fmla="*/ 0 w 385"/>
              <a:gd name="T7" fmla="*/ 61 h 107"/>
              <a:gd name="T8" fmla="*/ 0 w 385"/>
              <a:gd name="T9" fmla="*/ 46 h 107"/>
              <a:gd name="T10" fmla="*/ 74 w 385"/>
              <a:gd name="T11" fmla="*/ 61 h 107"/>
              <a:gd name="T12" fmla="*/ 111 w 385"/>
              <a:gd name="T13" fmla="*/ 61 h 107"/>
              <a:gd name="T14" fmla="*/ 111 w 385"/>
              <a:gd name="T15" fmla="*/ 46 h 107"/>
              <a:gd name="T16" fmla="*/ 74 w 385"/>
              <a:gd name="T17" fmla="*/ 46 h 107"/>
              <a:gd name="T18" fmla="*/ 74 w 385"/>
              <a:gd name="T19" fmla="*/ 61 h 107"/>
              <a:gd name="T20" fmla="*/ 222 w 385"/>
              <a:gd name="T21" fmla="*/ 61 h 107"/>
              <a:gd name="T22" fmla="*/ 259 w 385"/>
              <a:gd name="T23" fmla="*/ 61 h 107"/>
              <a:gd name="T24" fmla="*/ 259 w 385"/>
              <a:gd name="T25" fmla="*/ 46 h 107"/>
              <a:gd name="T26" fmla="*/ 222 w 385"/>
              <a:gd name="T27" fmla="*/ 46 h 107"/>
              <a:gd name="T28" fmla="*/ 222 w 385"/>
              <a:gd name="T29" fmla="*/ 61 h 107"/>
              <a:gd name="T30" fmla="*/ 148 w 385"/>
              <a:gd name="T31" fmla="*/ 61 h 107"/>
              <a:gd name="T32" fmla="*/ 185 w 385"/>
              <a:gd name="T33" fmla="*/ 61 h 107"/>
              <a:gd name="T34" fmla="*/ 185 w 385"/>
              <a:gd name="T35" fmla="*/ 46 h 107"/>
              <a:gd name="T36" fmla="*/ 148 w 385"/>
              <a:gd name="T37" fmla="*/ 46 h 107"/>
              <a:gd name="T38" fmla="*/ 148 w 385"/>
              <a:gd name="T39" fmla="*/ 61 h 107"/>
              <a:gd name="T40" fmla="*/ 382 w 385"/>
              <a:gd name="T41" fmla="*/ 48 h 107"/>
              <a:gd name="T42" fmla="*/ 334 w 385"/>
              <a:gd name="T43" fmla="*/ 0 h 107"/>
              <a:gd name="T44" fmla="*/ 324 w 385"/>
              <a:gd name="T45" fmla="*/ 11 h 107"/>
              <a:gd name="T46" fmla="*/ 359 w 385"/>
              <a:gd name="T47" fmla="*/ 46 h 107"/>
              <a:gd name="T48" fmla="*/ 296 w 385"/>
              <a:gd name="T49" fmla="*/ 46 h 107"/>
              <a:gd name="T50" fmla="*/ 296 w 385"/>
              <a:gd name="T51" fmla="*/ 61 h 107"/>
              <a:gd name="T52" fmla="*/ 359 w 385"/>
              <a:gd name="T53" fmla="*/ 61 h 107"/>
              <a:gd name="T54" fmla="*/ 324 w 385"/>
              <a:gd name="T55" fmla="*/ 96 h 107"/>
              <a:gd name="T56" fmla="*/ 334 w 385"/>
              <a:gd name="T57" fmla="*/ 107 h 107"/>
              <a:gd name="T58" fmla="*/ 382 w 385"/>
              <a:gd name="T59" fmla="*/ 59 h 107"/>
              <a:gd name="T60" fmla="*/ 382 w 385"/>
              <a:gd name="T61" fmla="*/ 4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5" h="107">
                <a:moveTo>
                  <a:pt x="0" y="46"/>
                </a:moveTo>
                <a:cubicBezTo>
                  <a:pt x="37" y="46"/>
                  <a:pt x="37" y="46"/>
                  <a:pt x="37" y="46"/>
                </a:cubicBezTo>
                <a:cubicBezTo>
                  <a:pt x="37" y="61"/>
                  <a:pt x="37" y="61"/>
                  <a:pt x="37" y="61"/>
                </a:cubicBezTo>
                <a:cubicBezTo>
                  <a:pt x="0" y="61"/>
                  <a:pt x="0" y="61"/>
                  <a:pt x="0" y="61"/>
                </a:cubicBezTo>
                <a:lnTo>
                  <a:pt x="0" y="46"/>
                </a:lnTo>
                <a:close/>
                <a:moveTo>
                  <a:pt x="74" y="61"/>
                </a:moveTo>
                <a:cubicBezTo>
                  <a:pt x="111" y="61"/>
                  <a:pt x="111" y="61"/>
                  <a:pt x="111" y="61"/>
                </a:cubicBezTo>
                <a:cubicBezTo>
                  <a:pt x="111" y="46"/>
                  <a:pt x="111" y="46"/>
                  <a:pt x="111" y="46"/>
                </a:cubicBezTo>
                <a:cubicBezTo>
                  <a:pt x="74" y="46"/>
                  <a:pt x="74" y="46"/>
                  <a:pt x="74" y="46"/>
                </a:cubicBezTo>
                <a:lnTo>
                  <a:pt x="74" y="61"/>
                </a:lnTo>
                <a:close/>
                <a:moveTo>
                  <a:pt x="222" y="61"/>
                </a:moveTo>
                <a:cubicBezTo>
                  <a:pt x="259" y="61"/>
                  <a:pt x="259" y="61"/>
                  <a:pt x="259" y="61"/>
                </a:cubicBezTo>
                <a:cubicBezTo>
                  <a:pt x="259" y="46"/>
                  <a:pt x="259" y="46"/>
                  <a:pt x="259" y="46"/>
                </a:cubicBezTo>
                <a:cubicBezTo>
                  <a:pt x="222" y="46"/>
                  <a:pt x="222" y="46"/>
                  <a:pt x="222" y="46"/>
                </a:cubicBezTo>
                <a:lnTo>
                  <a:pt x="222" y="61"/>
                </a:lnTo>
                <a:close/>
                <a:moveTo>
                  <a:pt x="148" y="61"/>
                </a:moveTo>
                <a:cubicBezTo>
                  <a:pt x="185" y="61"/>
                  <a:pt x="185" y="61"/>
                  <a:pt x="185" y="61"/>
                </a:cubicBezTo>
                <a:cubicBezTo>
                  <a:pt x="185" y="46"/>
                  <a:pt x="185" y="46"/>
                  <a:pt x="185" y="46"/>
                </a:cubicBezTo>
                <a:cubicBezTo>
                  <a:pt x="148" y="46"/>
                  <a:pt x="148" y="46"/>
                  <a:pt x="148" y="46"/>
                </a:cubicBezTo>
                <a:lnTo>
                  <a:pt x="148" y="61"/>
                </a:lnTo>
                <a:close/>
                <a:moveTo>
                  <a:pt x="382" y="48"/>
                </a:moveTo>
                <a:cubicBezTo>
                  <a:pt x="334" y="0"/>
                  <a:pt x="334" y="0"/>
                  <a:pt x="334" y="0"/>
                </a:cubicBezTo>
                <a:cubicBezTo>
                  <a:pt x="324" y="11"/>
                  <a:pt x="324" y="11"/>
                  <a:pt x="324" y="11"/>
                </a:cubicBezTo>
                <a:cubicBezTo>
                  <a:pt x="359" y="46"/>
                  <a:pt x="359" y="46"/>
                  <a:pt x="359" y="46"/>
                </a:cubicBezTo>
                <a:cubicBezTo>
                  <a:pt x="296" y="46"/>
                  <a:pt x="296" y="46"/>
                  <a:pt x="296" y="46"/>
                </a:cubicBezTo>
                <a:cubicBezTo>
                  <a:pt x="296" y="61"/>
                  <a:pt x="296" y="61"/>
                  <a:pt x="296" y="61"/>
                </a:cubicBezTo>
                <a:cubicBezTo>
                  <a:pt x="359" y="61"/>
                  <a:pt x="359" y="61"/>
                  <a:pt x="359" y="61"/>
                </a:cubicBezTo>
                <a:cubicBezTo>
                  <a:pt x="324" y="96"/>
                  <a:pt x="324" y="96"/>
                  <a:pt x="324" y="96"/>
                </a:cubicBezTo>
                <a:cubicBezTo>
                  <a:pt x="334" y="107"/>
                  <a:pt x="334" y="107"/>
                  <a:pt x="334" y="107"/>
                </a:cubicBezTo>
                <a:cubicBezTo>
                  <a:pt x="382" y="59"/>
                  <a:pt x="382" y="59"/>
                  <a:pt x="382" y="59"/>
                </a:cubicBezTo>
                <a:cubicBezTo>
                  <a:pt x="385" y="56"/>
                  <a:pt x="385" y="51"/>
                  <a:pt x="382" y="48"/>
                </a:cubicBez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50" name="TextBox 49"/>
          <p:cNvSpPr txBox="1"/>
          <p:nvPr/>
        </p:nvSpPr>
        <p:spPr>
          <a:xfrm>
            <a:off x="7315914" y="4183720"/>
            <a:ext cx="1429122" cy="674031"/>
          </a:xfrm>
          <a:prstGeom prst="rect">
            <a:avLst/>
          </a:prstGeom>
          <a:noFill/>
        </p:spPr>
        <p:txBody>
          <a:bodyPr wrap="square" lIns="68586" tIns="68586" rIns="68586" bIns="68586" rtlCol="0">
            <a:spAutoFit/>
          </a:bodyPr>
          <a:lstStyle/>
          <a:p>
            <a:pPr algn="ctr">
              <a:lnSpc>
                <a:spcPct val="90000"/>
              </a:lnSpc>
              <a:spcBef>
                <a:spcPct val="20000"/>
              </a:spcBef>
              <a:buSzPct val="90000"/>
            </a:pPr>
            <a:r>
              <a:rPr lang="nl-NL" sz="1200" b="1" dirty="0">
                <a:solidFill>
                  <a:srgbClr val="00B0F0">
                    <a:alpha val="99000"/>
                  </a:srgbClr>
                </a:solidFill>
              </a:rPr>
              <a:t>Phase 6:</a:t>
            </a:r>
          </a:p>
          <a:p>
            <a:pPr algn="ctr">
              <a:lnSpc>
                <a:spcPct val="90000"/>
              </a:lnSpc>
              <a:spcBef>
                <a:spcPct val="20000"/>
              </a:spcBef>
              <a:buSzPct val="90000"/>
            </a:pPr>
            <a:r>
              <a:rPr lang="nl-NL" sz="1200" dirty="0">
                <a:solidFill>
                  <a:srgbClr val="00B0F0">
                    <a:alpha val="99000"/>
                  </a:srgbClr>
                </a:solidFill>
              </a:rPr>
              <a:t>Install and configure SCDPM</a:t>
            </a:r>
            <a:endParaRPr lang="en-US" sz="1200" dirty="0" err="1">
              <a:solidFill>
                <a:srgbClr val="00B0F0">
                  <a:alpha val="99000"/>
                </a:srgbClr>
              </a:solidFill>
            </a:endParaRPr>
          </a:p>
        </p:txBody>
      </p:sp>
      <p:sp>
        <p:nvSpPr>
          <p:cNvPr id="51" name="Freeform 87"/>
          <p:cNvSpPr>
            <a:spLocks noEditPoints="1"/>
          </p:cNvSpPr>
          <p:nvPr/>
        </p:nvSpPr>
        <p:spPr bwMode="auto">
          <a:xfrm rot="5400000">
            <a:off x="7785252" y="2907010"/>
            <a:ext cx="454018" cy="126398"/>
          </a:xfrm>
          <a:custGeom>
            <a:avLst/>
            <a:gdLst>
              <a:gd name="T0" fmla="*/ 0 w 385"/>
              <a:gd name="T1" fmla="*/ 46 h 107"/>
              <a:gd name="T2" fmla="*/ 37 w 385"/>
              <a:gd name="T3" fmla="*/ 46 h 107"/>
              <a:gd name="T4" fmla="*/ 37 w 385"/>
              <a:gd name="T5" fmla="*/ 61 h 107"/>
              <a:gd name="T6" fmla="*/ 0 w 385"/>
              <a:gd name="T7" fmla="*/ 61 h 107"/>
              <a:gd name="T8" fmla="*/ 0 w 385"/>
              <a:gd name="T9" fmla="*/ 46 h 107"/>
              <a:gd name="T10" fmla="*/ 74 w 385"/>
              <a:gd name="T11" fmla="*/ 61 h 107"/>
              <a:gd name="T12" fmla="*/ 111 w 385"/>
              <a:gd name="T13" fmla="*/ 61 h 107"/>
              <a:gd name="T14" fmla="*/ 111 w 385"/>
              <a:gd name="T15" fmla="*/ 46 h 107"/>
              <a:gd name="T16" fmla="*/ 74 w 385"/>
              <a:gd name="T17" fmla="*/ 46 h 107"/>
              <a:gd name="T18" fmla="*/ 74 w 385"/>
              <a:gd name="T19" fmla="*/ 61 h 107"/>
              <a:gd name="T20" fmla="*/ 222 w 385"/>
              <a:gd name="T21" fmla="*/ 61 h 107"/>
              <a:gd name="T22" fmla="*/ 259 w 385"/>
              <a:gd name="T23" fmla="*/ 61 h 107"/>
              <a:gd name="T24" fmla="*/ 259 w 385"/>
              <a:gd name="T25" fmla="*/ 46 h 107"/>
              <a:gd name="T26" fmla="*/ 222 w 385"/>
              <a:gd name="T27" fmla="*/ 46 h 107"/>
              <a:gd name="T28" fmla="*/ 222 w 385"/>
              <a:gd name="T29" fmla="*/ 61 h 107"/>
              <a:gd name="T30" fmla="*/ 148 w 385"/>
              <a:gd name="T31" fmla="*/ 61 h 107"/>
              <a:gd name="T32" fmla="*/ 185 w 385"/>
              <a:gd name="T33" fmla="*/ 61 h 107"/>
              <a:gd name="T34" fmla="*/ 185 w 385"/>
              <a:gd name="T35" fmla="*/ 46 h 107"/>
              <a:gd name="T36" fmla="*/ 148 w 385"/>
              <a:gd name="T37" fmla="*/ 46 h 107"/>
              <a:gd name="T38" fmla="*/ 148 w 385"/>
              <a:gd name="T39" fmla="*/ 61 h 107"/>
              <a:gd name="T40" fmla="*/ 382 w 385"/>
              <a:gd name="T41" fmla="*/ 48 h 107"/>
              <a:gd name="T42" fmla="*/ 334 w 385"/>
              <a:gd name="T43" fmla="*/ 0 h 107"/>
              <a:gd name="T44" fmla="*/ 324 w 385"/>
              <a:gd name="T45" fmla="*/ 11 h 107"/>
              <a:gd name="T46" fmla="*/ 359 w 385"/>
              <a:gd name="T47" fmla="*/ 46 h 107"/>
              <a:gd name="T48" fmla="*/ 296 w 385"/>
              <a:gd name="T49" fmla="*/ 46 h 107"/>
              <a:gd name="T50" fmla="*/ 296 w 385"/>
              <a:gd name="T51" fmla="*/ 61 h 107"/>
              <a:gd name="T52" fmla="*/ 359 w 385"/>
              <a:gd name="T53" fmla="*/ 61 h 107"/>
              <a:gd name="T54" fmla="*/ 324 w 385"/>
              <a:gd name="T55" fmla="*/ 96 h 107"/>
              <a:gd name="T56" fmla="*/ 334 w 385"/>
              <a:gd name="T57" fmla="*/ 107 h 107"/>
              <a:gd name="T58" fmla="*/ 382 w 385"/>
              <a:gd name="T59" fmla="*/ 59 h 107"/>
              <a:gd name="T60" fmla="*/ 382 w 385"/>
              <a:gd name="T61" fmla="*/ 4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5" h="107">
                <a:moveTo>
                  <a:pt x="0" y="46"/>
                </a:moveTo>
                <a:cubicBezTo>
                  <a:pt x="37" y="46"/>
                  <a:pt x="37" y="46"/>
                  <a:pt x="37" y="46"/>
                </a:cubicBezTo>
                <a:cubicBezTo>
                  <a:pt x="37" y="61"/>
                  <a:pt x="37" y="61"/>
                  <a:pt x="37" y="61"/>
                </a:cubicBezTo>
                <a:cubicBezTo>
                  <a:pt x="0" y="61"/>
                  <a:pt x="0" y="61"/>
                  <a:pt x="0" y="61"/>
                </a:cubicBezTo>
                <a:lnTo>
                  <a:pt x="0" y="46"/>
                </a:lnTo>
                <a:close/>
                <a:moveTo>
                  <a:pt x="74" y="61"/>
                </a:moveTo>
                <a:cubicBezTo>
                  <a:pt x="111" y="61"/>
                  <a:pt x="111" y="61"/>
                  <a:pt x="111" y="61"/>
                </a:cubicBezTo>
                <a:cubicBezTo>
                  <a:pt x="111" y="46"/>
                  <a:pt x="111" y="46"/>
                  <a:pt x="111" y="46"/>
                </a:cubicBezTo>
                <a:cubicBezTo>
                  <a:pt x="74" y="46"/>
                  <a:pt x="74" y="46"/>
                  <a:pt x="74" y="46"/>
                </a:cubicBezTo>
                <a:lnTo>
                  <a:pt x="74" y="61"/>
                </a:lnTo>
                <a:close/>
                <a:moveTo>
                  <a:pt x="222" y="61"/>
                </a:moveTo>
                <a:cubicBezTo>
                  <a:pt x="259" y="61"/>
                  <a:pt x="259" y="61"/>
                  <a:pt x="259" y="61"/>
                </a:cubicBezTo>
                <a:cubicBezTo>
                  <a:pt x="259" y="46"/>
                  <a:pt x="259" y="46"/>
                  <a:pt x="259" y="46"/>
                </a:cubicBezTo>
                <a:cubicBezTo>
                  <a:pt x="222" y="46"/>
                  <a:pt x="222" y="46"/>
                  <a:pt x="222" y="46"/>
                </a:cubicBezTo>
                <a:lnTo>
                  <a:pt x="222" y="61"/>
                </a:lnTo>
                <a:close/>
                <a:moveTo>
                  <a:pt x="148" y="61"/>
                </a:moveTo>
                <a:cubicBezTo>
                  <a:pt x="185" y="61"/>
                  <a:pt x="185" y="61"/>
                  <a:pt x="185" y="61"/>
                </a:cubicBezTo>
                <a:cubicBezTo>
                  <a:pt x="185" y="46"/>
                  <a:pt x="185" y="46"/>
                  <a:pt x="185" y="46"/>
                </a:cubicBezTo>
                <a:cubicBezTo>
                  <a:pt x="148" y="46"/>
                  <a:pt x="148" y="46"/>
                  <a:pt x="148" y="46"/>
                </a:cubicBezTo>
                <a:lnTo>
                  <a:pt x="148" y="61"/>
                </a:lnTo>
                <a:close/>
                <a:moveTo>
                  <a:pt x="382" y="48"/>
                </a:moveTo>
                <a:cubicBezTo>
                  <a:pt x="334" y="0"/>
                  <a:pt x="334" y="0"/>
                  <a:pt x="334" y="0"/>
                </a:cubicBezTo>
                <a:cubicBezTo>
                  <a:pt x="324" y="11"/>
                  <a:pt x="324" y="11"/>
                  <a:pt x="324" y="11"/>
                </a:cubicBezTo>
                <a:cubicBezTo>
                  <a:pt x="359" y="46"/>
                  <a:pt x="359" y="46"/>
                  <a:pt x="359" y="46"/>
                </a:cubicBezTo>
                <a:cubicBezTo>
                  <a:pt x="296" y="46"/>
                  <a:pt x="296" y="46"/>
                  <a:pt x="296" y="46"/>
                </a:cubicBezTo>
                <a:cubicBezTo>
                  <a:pt x="296" y="61"/>
                  <a:pt x="296" y="61"/>
                  <a:pt x="296" y="61"/>
                </a:cubicBezTo>
                <a:cubicBezTo>
                  <a:pt x="359" y="61"/>
                  <a:pt x="359" y="61"/>
                  <a:pt x="359" y="61"/>
                </a:cubicBezTo>
                <a:cubicBezTo>
                  <a:pt x="324" y="96"/>
                  <a:pt x="324" y="96"/>
                  <a:pt x="324" y="96"/>
                </a:cubicBezTo>
                <a:cubicBezTo>
                  <a:pt x="334" y="107"/>
                  <a:pt x="334" y="107"/>
                  <a:pt x="334" y="107"/>
                </a:cubicBezTo>
                <a:cubicBezTo>
                  <a:pt x="382" y="59"/>
                  <a:pt x="382" y="59"/>
                  <a:pt x="382" y="59"/>
                </a:cubicBezTo>
                <a:cubicBezTo>
                  <a:pt x="385" y="56"/>
                  <a:pt x="385" y="51"/>
                  <a:pt x="382" y="48"/>
                </a:cubicBez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66" name="TextBox 65"/>
          <p:cNvSpPr txBox="1"/>
          <p:nvPr/>
        </p:nvSpPr>
        <p:spPr>
          <a:xfrm>
            <a:off x="5600968" y="4183720"/>
            <a:ext cx="1429122" cy="674031"/>
          </a:xfrm>
          <a:prstGeom prst="rect">
            <a:avLst/>
          </a:prstGeom>
          <a:noFill/>
        </p:spPr>
        <p:txBody>
          <a:bodyPr wrap="square" lIns="68586" tIns="68586" rIns="68586" bIns="68586" rtlCol="0">
            <a:spAutoFit/>
          </a:bodyPr>
          <a:lstStyle/>
          <a:p>
            <a:pPr algn="ctr">
              <a:lnSpc>
                <a:spcPct val="90000"/>
              </a:lnSpc>
              <a:spcBef>
                <a:spcPct val="20000"/>
              </a:spcBef>
              <a:buSzPct val="90000"/>
            </a:pPr>
            <a:r>
              <a:rPr lang="nl-NL" sz="1200" b="1" dirty="0">
                <a:solidFill>
                  <a:srgbClr val="00B0F0">
                    <a:alpha val="99000"/>
                  </a:srgbClr>
                </a:solidFill>
              </a:rPr>
              <a:t>Phase 7:</a:t>
            </a:r>
          </a:p>
          <a:p>
            <a:pPr algn="ctr">
              <a:lnSpc>
                <a:spcPct val="90000"/>
              </a:lnSpc>
              <a:spcBef>
                <a:spcPct val="20000"/>
              </a:spcBef>
              <a:buSzPct val="90000"/>
            </a:pPr>
            <a:r>
              <a:rPr lang="nl-NL" sz="1200" dirty="0">
                <a:solidFill>
                  <a:srgbClr val="00B0F0">
                    <a:alpha val="99000"/>
                  </a:srgbClr>
                </a:solidFill>
              </a:rPr>
              <a:t>Setup integration parameters</a:t>
            </a:r>
            <a:endParaRPr lang="en-US" sz="1200" dirty="0" err="1">
              <a:solidFill>
                <a:srgbClr val="00B0F0">
                  <a:alpha val="99000"/>
                </a:srgbClr>
              </a:solidFill>
            </a:endParaRPr>
          </a:p>
        </p:txBody>
      </p:sp>
      <p:sp>
        <p:nvSpPr>
          <p:cNvPr id="67" name="Freeform 87"/>
          <p:cNvSpPr>
            <a:spLocks noEditPoints="1"/>
          </p:cNvSpPr>
          <p:nvPr/>
        </p:nvSpPr>
        <p:spPr bwMode="auto">
          <a:xfrm rot="10800000">
            <a:off x="6971735" y="3771902"/>
            <a:ext cx="454136" cy="126365"/>
          </a:xfrm>
          <a:custGeom>
            <a:avLst/>
            <a:gdLst>
              <a:gd name="T0" fmla="*/ 0 w 385"/>
              <a:gd name="T1" fmla="*/ 46 h 107"/>
              <a:gd name="T2" fmla="*/ 37 w 385"/>
              <a:gd name="T3" fmla="*/ 46 h 107"/>
              <a:gd name="T4" fmla="*/ 37 w 385"/>
              <a:gd name="T5" fmla="*/ 61 h 107"/>
              <a:gd name="T6" fmla="*/ 0 w 385"/>
              <a:gd name="T7" fmla="*/ 61 h 107"/>
              <a:gd name="T8" fmla="*/ 0 w 385"/>
              <a:gd name="T9" fmla="*/ 46 h 107"/>
              <a:gd name="T10" fmla="*/ 74 w 385"/>
              <a:gd name="T11" fmla="*/ 61 h 107"/>
              <a:gd name="T12" fmla="*/ 111 w 385"/>
              <a:gd name="T13" fmla="*/ 61 h 107"/>
              <a:gd name="T14" fmla="*/ 111 w 385"/>
              <a:gd name="T15" fmla="*/ 46 h 107"/>
              <a:gd name="T16" fmla="*/ 74 w 385"/>
              <a:gd name="T17" fmla="*/ 46 h 107"/>
              <a:gd name="T18" fmla="*/ 74 w 385"/>
              <a:gd name="T19" fmla="*/ 61 h 107"/>
              <a:gd name="T20" fmla="*/ 222 w 385"/>
              <a:gd name="T21" fmla="*/ 61 h 107"/>
              <a:gd name="T22" fmla="*/ 259 w 385"/>
              <a:gd name="T23" fmla="*/ 61 h 107"/>
              <a:gd name="T24" fmla="*/ 259 w 385"/>
              <a:gd name="T25" fmla="*/ 46 h 107"/>
              <a:gd name="T26" fmla="*/ 222 w 385"/>
              <a:gd name="T27" fmla="*/ 46 h 107"/>
              <a:gd name="T28" fmla="*/ 222 w 385"/>
              <a:gd name="T29" fmla="*/ 61 h 107"/>
              <a:gd name="T30" fmla="*/ 148 w 385"/>
              <a:gd name="T31" fmla="*/ 61 h 107"/>
              <a:gd name="T32" fmla="*/ 185 w 385"/>
              <a:gd name="T33" fmla="*/ 61 h 107"/>
              <a:gd name="T34" fmla="*/ 185 w 385"/>
              <a:gd name="T35" fmla="*/ 46 h 107"/>
              <a:gd name="T36" fmla="*/ 148 w 385"/>
              <a:gd name="T37" fmla="*/ 46 h 107"/>
              <a:gd name="T38" fmla="*/ 148 w 385"/>
              <a:gd name="T39" fmla="*/ 61 h 107"/>
              <a:gd name="T40" fmla="*/ 382 w 385"/>
              <a:gd name="T41" fmla="*/ 48 h 107"/>
              <a:gd name="T42" fmla="*/ 334 w 385"/>
              <a:gd name="T43" fmla="*/ 0 h 107"/>
              <a:gd name="T44" fmla="*/ 324 w 385"/>
              <a:gd name="T45" fmla="*/ 11 h 107"/>
              <a:gd name="T46" fmla="*/ 359 w 385"/>
              <a:gd name="T47" fmla="*/ 46 h 107"/>
              <a:gd name="T48" fmla="*/ 296 w 385"/>
              <a:gd name="T49" fmla="*/ 46 h 107"/>
              <a:gd name="T50" fmla="*/ 296 w 385"/>
              <a:gd name="T51" fmla="*/ 61 h 107"/>
              <a:gd name="T52" fmla="*/ 359 w 385"/>
              <a:gd name="T53" fmla="*/ 61 h 107"/>
              <a:gd name="T54" fmla="*/ 324 w 385"/>
              <a:gd name="T55" fmla="*/ 96 h 107"/>
              <a:gd name="T56" fmla="*/ 334 w 385"/>
              <a:gd name="T57" fmla="*/ 107 h 107"/>
              <a:gd name="T58" fmla="*/ 382 w 385"/>
              <a:gd name="T59" fmla="*/ 59 h 107"/>
              <a:gd name="T60" fmla="*/ 382 w 385"/>
              <a:gd name="T61" fmla="*/ 4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5" h="107">
                <a:moveTo>
                  <a:pt x="0" y="46"/>
                </a:moveTo>
                <a:cubicBezTo>
                  <a:pt x="37" y="46"/>
                  <a:pt x="37" y="46"/>
                  <a:pt x="37" y="46"/>
                </a:cubicBezTo>
                <a:cubicBezTo>
                  <a:pt x="37" y="61"/>
                  <a:pt x="37" y="61"/>
                  <a:pt x="37" y="61"/>
                </a:cubicBezTo>
                <a:cubicBezTo>
                  <a:pt x="0" y="61"/>
                  <a:pt x="0" y="61"/>
                  <a:pt x="0" y="61"/>
                </a:cubicBezTo>
                <a:lnTo>
                  <a:pt x="0" y="46"/>
                </a:lnTo>
                <a:close/>
                <a:moveTo>
                  <a:pt x="74" y="61"/>
                </a:moveTo>
                <a:cubicBezTo>
                  <a:pt x="111" y="61"/>
                  <a:pt x="111" y="61"/>
                  <a:pt x="111" y="61"/>
                </a:cubicBezTo>
                <a:cubicBezTo>
                  <a:pt x="111" y="46"/>
                  <a:pt x="111" y="46"/>
                  <a:pt x="111" y="46"/>
                </a:cubicBezTo>
                <a:cubicBezTo>
                  <a:pt x="74" y="46"/>
                  <a:pt x="74" y="46"/>
                  <a:pt x="74" y="46"/>
                </a:cubicBezTo>
                <a:lnTo>
                  <a:pt x="74" y="61"/>
                </a:lnTo>
                <a:close/>
                <a:moveTo>
                  <a:pt x="222" y="61"/>
                </a:moveTo>
                <a:cubicBezTo>
                  <a:pt x="259" y="61"/>
                  <a:pt x="259" y="61"/>
                  <a:pt x="259" y="61"/>
                </a:cubicBezTo>
                <a:cubicBezTo>
                  <a:pt x="259" y="46"/>
                  <a:pt x="259" y="46"/>
                  <a:pt x="259" y="46"/>
                </a:cubicBezTo>
                <a:cubicBezTo>
                  <a:pt x="222" y="46"/>
                  <a:pt x="222" y="46"/>
                  <a:pt x="222" y="46"/>
                </a:cubicBezTo>
                <a:lnTo>
                  <a:pt x="222" y="61"/>
                </a:lnTo>
                <a:close/>
                <a:moveTo>
                  <a:pt x="148" y="61"/>
                </a:moveTo>
                <a:cubicBezTo>
                  <a:pt x="185" y="61"/>
                  <a:pt x="185" y="61"/>
                  <a:pt x="185" y="61"/>
                </a:cubicBezTo>
                <a:cubicBezTo>
                  <a:pt x="185" y="46"/>
                  <a:pt x="185" y="46"/>
                  <a:pt x="185" y="46"/>
                </a:cubicBezTo>
                <a:cubicBezTo>
                  <a:pt x="148" y="46"/>
                  <a:pt x="148" y="46"/>
                  <a:pt x="148" y="46"/>
                </a:cubicBezTo>
                <a:lnTo>
                  <a:pt x="148" y="61"/>
                </a:lnTo>
                <a:close/>
                <a:moveTo>
                  <a:pt x="382" y="48"/>
                </a:moveTo>
                <a:cubicBezTo>
                  <a:pt x="334" y="0"/>
                  <a:pt x="334" y="0"/>
                  <a:pt x="334" y="0"/>
                </a:cubicBezTo>
                <a:cubicBezTo>
                  <a:pt x="324" y="11"/>
                  <a:pt x="324" y="11"/>
                  <a:pt x="324" y="11"/>
                </a:cubicBezTo>
                <a:cubicBezTo>
                  <a:pt x="359" y="46"/>
                  <a:pt x="359" y="46"/>
                  <a:pt x="359" y="46"/>
                </a:cubicBezTo>
                <a:cubicBezTo>
                  <a:pt x="296" y="46"/>
                  <a:pt x="296" y="46"/>
                  <a:pt x="296" y="46"/>
                </a:cubicBezTo>
                <a:cubicBezTo>
                  <a:pt x="296" y="61"/>
                  <a:pt x="296" y="61"/>
                  <a:pt x="296" y="61"/>
                </a:cubicBezTo>
                <a:cubicBezTo>
                  <a:pt x="359" y="61"/>
                  <a:pt x="359" y="61"/>
                  <a:pt x="359" y="61"/>
                </a:cubicBezTo>
                <a:cubicBezTo>
                  <a:pt x="324" y="96"/>
                  <a:pt x="324" y="96"/>
                  <a:pt x="324" y="96"/>
                </a:cubicBezTo>
                <a:cubicBezTo>
                  <a:pt x="334" y="107"/>
                  <a:pt x="334" y="107"/>
                  <a:pt x="334" y="107"/>
                </a:cubicBezTo>
                <a:cubicBezTo>
                  <a:pt x="382" y="59"/>
                  <a:pt x="382" y="59"/>
                  <a:pt x="382" y="59"/>
                </a:cubicBezTo>
                <a:cubicBezTo>
                  <a:pt x="385" y="56"/>
                  <a:pt x="385" y="51"/>
                  <a:pt x="382" y="48"/>
                </a:cubicBez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68" name="Freeform 87"/>
          <p:cNvSpPr>
            <a:spLocks noEditPoints="1"/>
          </p:cNvSpPr>
          <p:nvPr/>
        </p:nvSpPr>
        <p:spPr bwMode="auto">
          <a:xfrm rot="10800000">
            <a:off x="5257979" y="3771902"/>
            <a:ext cx="454136" cy="126365"/>
          </a:xfrm>
          <a:custGeom>
            <a:avLst/>
            <a:gdLst>
              <a:gd name="T0" fmla="*/ 0 w 385"/>
              <a:gd name="T1" fmla="*/ 46 h 107"/>
              <a:gd name="T2" fmla="*/ 37 w 385"/>
              <a:gd name="T3" fmla="*/ 46 h 107"/>
              <a:gd name="T4" fmla="*/ 37 w 385"/>
              <a:gd name="T5" fmla="*/ 61 h 107"/>
              <a:gd name="T6" fmla="*/ 0 w 385"/>
              <a:gd name="T7" fmla="*/ 61 h 107"/>
              <a:gd name="T8" fmla="*/ 0 w 385"/>
              <a:gd name="T9" fmla="*/ 46 h 107"/>
              <a:gd name="T10" fmla="*/ 74 w 385"/>
              <a:gd name="T11" fmla="*/ 61 h 107"/>
              <a:gd name="T12" fmla="*/ 111 w 385"/>
              <a:gd name="T13" fmla="*/ 61 h 107"/>
              <a:gd name="T14" fmla="*/ 111 w 385"/>
              <a:gd name="T15" fmla="*/ 46 h 107"/>
              <a:gd name="T16" fmla="*/ 74 w 385"/>
              <a:gd name="T17" fmla="*/ 46 h 107"/>
              <a:gd name="T18" fmla="*/ 74 w 385"/>
              <a:gd name="T19" fmla="*/ 61 h 107"/>
              <a:gd name="T20" fmla="*/ 222 w 385"/>
              <a:gd name="T21" fmla="*/ 61 h 107"/>
              <a:gd name="T22" fmla="*/ 259 w 385"/>
              <a:gd name="T23" fmla="*/ 61 h 107"/>
              <a:gd name="T24" fmla="*/ 259 w 385"/>
              <a:gd name="T25" fmla="*/ 46 h 107"/>
              <a:gd name="T26" fmla="*/ 222 w 385"/>
              <a:gd name="T27" fmla="*/ 46 h 107"/>
              <a:gd name="T28" fmla="*/ 222 w 385"/>
              <a:gd name="T29" fmla="*/ 61 h 107"/>
              <a:gd name="T30" fmla="*/ 148 w 385"/>
              <a:gd name="T31" fmla="*/ 61 h 107"/>
              <a:gd name="T32" fmla="*/ 185 w 385"/>
              <a:gd name="T33" fmla="*/ 61 h 107"/>
              <a:gd name="T34" fmla="*/ 185 w 385"/>
              <a:gd name="T35" fmla="*/ 46 h 107"/>
              <a:gd name="T36" fmla="*/ 148 w 385"/>
              <a:gd name="T37" fmla="*/ 46 h 107"/>
              <a:gd name="T38" fmla="*/ 148 w 385"/>
              <a:gd name="T39" fmla="*/ 61 h 107"/>
              <a:gd name="T40" fmla="*/ 382 w 385"/>
              <a:gd name="T41" fmla="*/ 48 h 107"/>
              <a:gd name="T42" fmla="*/ 334 w 385"/>
              <a:gd name="T43" fmla="*/ 0 h 107"/>
              <a:gd name="T44" fmla="*/ 324 w 385"/>
              <a:gd name="T45" fmla="*/ 11 h 107"/>
              <a:gd name="T46" fmla="*/ 359 w 385"/>
              <a:gd name="T47" fmla="*/ 46 h 107"/>
              <a:gd name="T48" fmla="*/ 296 w 385"/>
              <a:gd name="T49" fmla="*/ 46 h 107"/>
              <a:gd name="T50" fmla="*/ 296 w 385"/>
              <a:gd name="T51" fmla="*/ 61 h 107"/>
              <a:gd name="T52" fmla="*/ 359 w 385"/>
              <a:gd name="T53" fmla="*/ 61 h 107"/>
              <a:gd name="T54" fmla="*/ 324 w 385"/>
              <a:gd name="T55" fmla="*/ 96 h 107"/>
              <a:gd name="T56" fmla="*/ 334 w 385"/>
              <a:gd name="T57" fmla="*/ 107 h 107"/>
              <a:gd name="T58" fmla="*/ 382 w 385"/>
              <a:gd name="T59" fmla="*/ 59 h 107"/>
              <a:gd name="T60" fmla="*/ 382 w 385"/>
              <a:gd name="T61" fmla="*/ 4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5" h="107">
                <a:moveTo>
                  <a:pt x="0" y="46"/>
                </a:moveTo>
                <a:cubicBezTo>
                  <a:pt x="37" y="46"/>
                  <a:pt x="37" y="46"/>
                  <a:pt x="37" y="46"/>
                </a:cubicBezTo>
                <a:cubicBezTo>
                  <a:pt x="37" y="61"/>
                  <a:pt x="37" y="61"/>
                  <a:pt x="37" y="61"/>
                </a:cubicBezTo>
                <a:cubicBezTo>
                  <a:pt x="0" y="61"/>
                  <a:pt x="0" y="61"/>
                  <a:pt x="0" y="61"/>
                </a:cubicBezTo>
                <a:lnTo>
                  <a:pt x="0" y="46"/>
                </a:lnTo>
                <a:close/>
                <a:moveTo>
                  <a:pt x="74" y="61"/>
                </a:moveTo>
                <a:cubicBezTo>
                  <a:pt x="111" y="61"/>
                  <a:pt x="111" y="61"/>
                  <a:pt x="111" y="61"/>
                </a:cubicBezTo>
                <a:cubicBezTo>
                  <a:pt x="111" y="46"/>
                  <a:pt x="111" y="46"/>
                  <a:pt x="111" y="46"/>
                </a:cubicBezTo>
                <a:cubicBezTo>
                  <a:pt x="74" y="46"/>
                  <a:pt x="74" y="46"/>
                  <a:pt x="74" y="46"/>
                </a:cubicBezTo>
                <a:lnTo>
                  <a:pt x="74" y="61"/>
                </a:lnTo>
                <a:close/>
                <a:moveTo>
                  <a:pt x="222" y="61"/>
                </a:moveTo>
                <a:cubicBezTo>
                  <a:pt x="259" y="61"/>
                  <a:pt x="259" y="61"/>
                  <a:pt x="259" y="61"/>
                </a:cubicBezTo>
                <a:cubicBezTo>
                  <a:pt x="259" y="46"/>
                  <a:pt x="259" y="46"/>
                  <a:pt x="259" y="46"/>
                </a:cubicBezTo>
                <a:cubicBezTo>
                  <a:pt x="222" y="46"/>
                  <a:pt x="222" y="46"/>
                  <a:pt x="222" y="46"/>
                </a:cubicBezTo>
                <a:lnTo>
                  <a:pt x="222" y="61"/>
                </a:lnTo>
                <a:close/>
                <a:moveTo>
                  <a:pt x="148" y="61"/>
                </a:moveTo>
                <a:cubicBezTo>
                  <a:pt x="185" y="61"/>
                  <a:pt x="185" y="61"/>
                  <a:pt x="185" y="61"/>
                </a:cubicBezTo>
                <a:cubicBezTo>
                  <a:pt x="185" y="46"/>
                  <a:pt x="185" y="46"/>
                  <a:pt x="185" y="46"/>
                </a:cubicBezTo>
                <a:cubicBezTo>
                  <a:pt x="148" y="46"/>
                  <a:pt x="148" y="46"/>
                  <a:pt x="148" y="46"/>
                </a:cubicBezTo>
                <a:lnTo>
                  <a:pt x="148" y="61"/>
                </a:lnTo>
                <a:close/>
                <a:moveTo>
                  <a:pt x="382" y="48"/>
                </a:moveTo>
                <a:cubicBezTo>
                  <a:pt x="334" y="0"/>
                  <a:pt x="334" y="0"/>
                  <a:pt x="334" y="0"/>
                </a:cubicBezTo>
                <a:cubicBezTo>
                  <a:pt x="324" y="11"/>
                  <a:pt x="324" y="11"/>
                  <a:pt x="324" y="11"/>
                </a:cubicBezTo>
                <a:cubicBezTo>
                  <a:pt x="359" y="46"/>
                  <a:pt x="359" y="46"/>
                  <a:pt x="359" y="46"/>
                </a:cubicBezTo>
                <a:cubicBezTo>
                  <a:pt x="296" y="46"/>
                  <a:pt x="296" y="46"/>
                  <a:pt x="296" y="46"/>
                </a:cubicBezTo>
                <a:cubicBezTo>
                  <a:pt x="296" y="61"/>
                  <a:pt x="296" y="61"/>
                  <a:pt x="296" y="61"/>
                </a:cubicBezTo>
                <a:cubicBezTo>
                  <a:pt x="359" y="61"/>
                  <a:pt x="359" y="61"/>
                  <a:pt x="359" y="61"/>
                </a:cubicBezTo>
                <a:cubicBezTo>
                  <a:pt x="324" y="96"/>
                  <a:pt x="324" y="96"/>
                  <a:pt x="324" y="96"/>
                </a:cubicBezTo>
                <a:cubicBezTo>
                  <a:pt x="334" y="107"/>
                  <a:pt x="334" y="107"/>
                  <a:pt x="334" y="107"/>
                </a:cubicBezTo>
                <a:cubicBezTo>
                  <a:pt x="382" y="59"/>
                  <a:pt x="382" y="59"/>
                  <a:pt x="382" y="59"/>
                </a:cubicBezTo>
                <a:cubicBezTo>
                  <a:pt x="385" y="56"/>
                  <a:pt x="385" y="51"/>
                  <a:pt x="382" y="48"/>
                </a:cubicBez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69" name="Freeform 87"/>
          <p:cNvSpPr>
            <a:spLocks noEditPoints="1"/>
          </p:cNvSpPr>
          <p:nvPr/>
        </p:nvSpPr>
        <p:spPr bwMode="auto">
          <a:xfrm rot="10800000">
            <a:off x="3485869" y="3771902"/>
            <a:ext cx="454136" cy="126365"/>
          </a:xfrm>
          <a:custGeom>
            <a:avLst/>
            <a:gdLst>
              <a:gd name="T0" fmla="*/ 0 w 385"/>
              <a:gd name="T1" fmla="*/ 46 h 107"/>
              <a:gd name="T2" fmla="*/ 37 w 385"/>
              <a:gd name="T3" fmla="*/ 46 h 107"/>
              <a:gd name="T4" fmla="*/ 37 w 385"/>
              <a:gd name="T5" fmla="*/ 61 h 107"/>
              <a:gd name="T6" fmla="*/ 0 w 385"/>
              <a:gd name="T7" fmla="*/ 61 h 107"/>
              <a:gd name="T8" fmla="*/ 0 w 385"/>
              <a:gd name="T9" fmla="*/ 46 h 107"/>
              <a:gd name="T10" fmla="*/ 74 w 385"/>
              <a:gd name="T11" fmla="*/ 61 h 107"/>
              <a:gd name="T12" fmla="*/ 111 w 385"/>
              <a:gd name="T13" fmla="*/ 61 h 107"/>
              <a:gd name="T14" fmla="*/ 111 w 385"/>
              <a:gd name="T15" fmla="*/ 46 h 107"/>
              <a:gd name="T16" fmla="*/ 74 w 385"/>
              <a:gd name="T17" fmla="*/ 46 h 107"/>
              <a:gd name="T18" fmla="*/ 74 w 385"/>
              <a:gd name="T19" fmla="*/ 61 h 107"/>
              <a:gd name="T20" fmla="*/ 222 w 385"/>
              <a:gd name="T21" fmla="*/ 61 h 107"/>
              <a:gd name="T22" fmla="*/ 259 w 385"/>
              <a:gd name="T23" fmla="*/ 61 h 107"/>
              <a:gd name="T24" fmla="*/ 259 w 385"/>
              <a:gd name="T25" fmla="*/ 46 h 107"/>
              <a:gd name="T26" fmla="*/ 222 w 385"/>
              <a:gd name="T27" fmla="*/ 46 h 107"/>
              <a:gd name="T28" fmla="*/ 222 w 385"/>
              <a:gd name="T29" fmla="*/ 61 h 107"/>
              <a:gd name="T30" fmla="*/ 148 w 385"/>
              <a:gd name="T31" fmla="*/ 61 h 107"/>
              <a:gd name="T32" fmla="*/ 185 w 385"/>
              <a:gd name="T33" fmla="*/ 61 h 107"/>
              <a:gd name="T34" fmla="*/ 185 w 385"/>
              <a:gd name="T35" fmla="*/ 46 h 107"/>
              <a:gd name="T36" fmla="*/ 148 w 385"/>
              <a:gd name="T37" fmla="*/ 46 h 107"/>
              <a:gd name="T38" fmla="*/ 148 w 385"/>
              <a:gd name="T39" fmla="*/ 61 h 107"/>
              <a:gd name="T40" fmla="*/ 382 w 385"/>
              <a:gd name="T41" fmla="*/ 48 h 107"/>
              <a:gd name="T42" fmla="*/ 334 w 385"/>
              <a:gd name="T43" fmla="*/ 0 h 107"/>
              <a:gd name="T44" fmla="*/ 324 w 385"/>
              <a:gd name="T45" fmla="*/ 11 h 107"/>
              <a:gd name="T46" fmla="*/ 359 w 385"/>
              <a:gd name="T47" fmla="*/ 46 h 107"/>
              <a:gd name="T48" fmla="*/ 296 w 385"/>
              <a:gd name="T49" fmla="*/ 46 h 107"/>
              <a:gd name="T50" fmla="*/ 296 w 385"/>
              <a:gd name="T51" fmla="*/ 61 h 107"/>
              <a:gd name="T52" fmla="*/ 359 w 385"/>
              <a:gd name="T53" fmla="*/ 61 h 107"/>
              <a:gd name="T54" fmla="*/ 324 w 385"/>
              <a:gd name="T55" fmla="*/ 96 h 107"/>
              <a:gd name="T56" fmla="*/ 334 w 385"/>
              <a:gd name="T57" fmla="*/ 107 h 107"/>
              <a:gd name="T58" fmla="*/ 382 w 385"/>
              <a:gd name="T59" fmla="*/ 59 h 107"/>
              <a:gd name="T60" fmla="*/ 382 w 385"/>
              <a:gd name="T61" fmla="*/ 4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5" h="107">
                <a:moveTo>
                  <a:pt x="0" y="46"/>
                </a:moveTo>
                <a:cubicBezTo>
                  <a:pt x="37" y="46"/>
                  <a:pt x="37" y="46"/>
                  <a:pt x="37" y="46"/>
                </a:cubicBezTo>
                <a:cubicBezTo>
                  <a:pt x="37" y="61"/>
                  <a:pt x="37" y="61"/>
                  <a:pt x="37" y="61"/>
                </a:cubicBezTo>
                <a:cubicBezTo>
                  <a:pt x="0" y="61"/>
                  <a:pt x="0" y="61"/>
                  <a:pt x="0" y="61"/>
                </a:cubicBezTo>
                <a:lnTo>
                  <a:pt x="0" y="46"/>
                </a:lnTo>
                <a:close/>
                <a:moveTo>
                  <a:pt x="74" y="61"/>
                </a:moveTo>
                <a:cubicBezTo>
                  <a:pt x="111" y="61"/>
                  <a:pt x="111" y="61"/>
                  <a:pt x="111" y="61"/>
                </a:cubicBezTo>
                <a:cubicBezTo>
                  <a:pt x="111" y="46"/>
                  <a:pt x="111" y="46"/>
                  <a:pt x="111" y="46"/>
                </a:cubicBezTo>
                <a:cubicBezTo>
                  <a:pt x="74" y="46"/>
                  <a:pt x="74" y="46"/>
                  <a:pt x="74" y="46"/>
                </a:cubicBezTo>
                <a:lnTo>
                  <a:pt x="74" y="61"/>
                </a:lnTo>
                <a:close/>
                <a:moveTo>
                  <a:pt x="222" y="61"/>
                </a:moveTo>
                <a:cubicBezTo>
                  <a:pt x="259" y="61"/>
                  <a:pt x="259" y="61"/>
                  <a:pt x="259" y="61"/>
                </a:cubicBezTo>
                <a:cubicBezTo>
                  <a:pt x="259" y="46"/>
                  <a:pt x="259" y="46"/>
                  <a:pt x="259" y="46"/>
                </a:cubicBezTo>
                <a:cubicBezTo>
                  <a:pt x="222" y="46"/>
                  <a:pt x="222" y="46"/>
                  <a:pt x="222" y="46"/>
                </a:cubicBezTo>
                <a:lnTo>
                  <a:pt x="222" y="61"/>
                </a:lnTo>
                <a:close/>
                <a:moveTo>
                  <a:pt x="148" y="61"/>
                </a:moveTo>
                <a:cubicBezTo>
                  <a:pt x="185" y="61"/>
                  <a:pt x="185" y="61"/>
                  <a:pt x="185" y="61"/>
                </a:cubicBezTo>
                <a:cubicBezTo>
                  <a:pt x="185" y="46"/>
                  <a:pt x="185" y="46"/>
                  <a:pt x="185" y="46"/>
                </a:cubicBezTo>
                <a:cubicBezTo>
                  <a:pt x="148" y="46"/>
                  <a:pt x="148" y="46"/>
                  <a:pt x="148" y="46"/>
                </a:cubicBezTo>
                <a:lnTo>
                  <a:pt x="148" y="61"/>
                </a:lnTo>
                <a:close/>
                <a:moveTo>
                  <a:pt x="382" y="48"/>
                </a:moveTo>
                <a:cubicBezTo>
                  <a:pt x="334" y="0"/>
                  <a:pt x="334" y="0"/>
                  <a:pt x="334" y="0"/>
                </a:cubicBezTo>
                <a:cubicBezTo>
                  <a:pt x="324" y="11"/>
                  <a:pt x="324" y="11"/>
                  <a:pt x="324" y="11"/>
                </a:cubicBezTo>
                <a:cubicBezTo>
                  <a:pt x="359" y="46"/>
                  <a:pt x="359" y="46"/>
                  <a:pt x="359" y="46"/>
                </a:cubicBezTo>
                <a:cubicBezTo>
                  <a:pt x="296" y="46"/>
                  <a:pt x="296" y="46"/>
                  <a:pt x="296" y="46"/>
                </a:cubicBezTo>
                <a:cubicBezTo>
                  <a:pt x="296" y="61"/>
                  <a:pt x="296" y="61"/>
                  <a:pt x="296" y="61"/>
                </a:cubicBezTo>
                <a:cubicBezTo>
                  <a:pt x="359" y="61"/>
                  <a:pt x="359" y="61"/>
                  <a:pt x="359" y="61"/>
                </a:cubicBezTo>
                <a:cubicBezTo>
                  <a:pt x="324" y="96"/>
                  <a:pt x="324" y="96"/>
                  <a:pt x="324" y="96"/>
                </a:cubicBezTo>
                <a:cubicBezTo>
                  <a:pt x="334" y="107"/>
                  <a:pt x="334" y="107"/>
                  <a:pt x="334" y="107"/>
                </a:cubicBezTo>
                <a:cubicBezTo>
                  <a:pt x="382" y="59"/>
                  <a:pt x="382" y="59"/>
                  <a:pt x="382" y="59"/>
                </a:cubicBezTo>
                <a:cubicBezTo>
                  <a:pt x="385" y="56"/>
                  <a:pt x="385" y="51"/>
                  <a:pt x="382" y="48"/>
                </a:cubicBez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70" name="Freeform 87"/>
          <p:cNvSpPr>
            <a:spLocks noEditPoints="1"/>
          </p:cNvSpPr>
          <p:nvPr/>
        </p:nvSpPr>
        <p:spPr bwMode="auto">
          <a:xfrm rot="10800000">
            <a:off x="1828086" y="3771902"/>
            <a:ext cx="454136" cy="126365"/>
          </a:xfrm>
          <a:custGeom>
            <a:avLst/>
            <a:gdLst>
              <a:gd name="T0" fmla="*/ 0 w 385"/>
              <a:gd name="T1" fmla="*/ 46 h 107"/>
              <a:gd name="T2" fmla="*/ 37 w 385"/>
              <a:gd name="T3" fmla="*/ 46 h 107"/>
              <a:gd name="T4" fmla="*/ 37 w 385"/>
              <a:gd name="T5" fmla="*/ 61 h 107"/>
              <a:gd name="T6" fmla="*/ 0 w 385"/>
              <a:gd name="T7" fmla="*/ 61 h 107"/>
              <a:gd name="T8" fmla="*/ 0 w 385"/>
              <a:gd name="T9" fmla="*/ 46 h 107"/>
              <a:gd name="T10" fmla="*/ 74 w 385"/>
              <a:gd name="T11" fmla="*/ 61 h 107"/>
              <a:gd name="T12" fmla="*/ 111 w 385"/>
              <a:gd name="T13" fmla="*/ 61 h 107"/>
              <a:gd name="T14" fmla="*/ 111 w 385"/>
              <a:gd name="T15" fmla="*/ 46 h 107"/>
              <a:gd name="T16" fmla="*/ 74 w 385"/>
              <a:gd name="T17" fmla="*/ 46 h 107"/>
              <a:gd name="T18" fmla="*/ 74 w 385"/>
              <a:gd name="T19" fmla="*/ 61 h 107"/>
              <a:gd name="T20" fmla="*/ 222 w 385"/>
              <a:gd name="T21" fmla="*/ 61 h 107"/>
              <a:gd name="T22" fmla="*/ 259 w 385"/>
              <a:gd name="T23" fmla="*/ 61 h 107"/>
              <a:gd name="T24" fmla="*/ 259 w 385"/>
              <a:gd name="T25" fmla="*/ 46 h 107"/>
              <a:gd name="T26" fmla="*/ 222 w 385"/>
              <a:gd name="T27" fmla="*/ 46 h 107"/>
              <a:gd name="T28" fmla="*/ 222 w 385"/>
              <a:gd name="T29" fmla="*/ 61 h 107"/>
              <a:gd name="T30" fmla="*/ 148 w 385"/>
              <a:gd name="T31" fmla="*/ 61 h 107"/>
              <a:gd name="T32" fmla="*/ 185 w 385"/>
              <a:gd name="T33" fmla="*/ 61 h 107"/>
              <a:gd name="T34" fmla="*/ 185 w 385"/>
              <a:gd name="T35" fmla="*/ 46 h 107"/>
              <a:gd name="T36" fmla="*/ 148 w 385"/>
              <a:gd name="T37" fmla="*/ 46 h 107"/>
              <a:gd name="T38" fmla="*/ 148 w 385"/>
              <a:gd name="T39" fmla="*/ 61 h 107"/>
              <a:gd name="T40" fmla="*/ 382 w 385"/>
              <a:gd name="T41" fmla="*/ 48 h 107"/>
              <a:gd name="T42" fmla="*/ 334 w 385"/>
              <a:gd name="T43" fmla="*/ 0 h 107"/>
              <a:gd name="T44" fmla="*/ 324 w 385"/>
              <a:gd name="T45" fmla="*/ 11 h 107"/>
              <a:gd name="T46" fmla="*/ 359 w 385"/>
              <a:gd name="T47" fmla="*/ 46 h 107"/>
              <a:gd name="T48" fmla="*/ 296 w 385"/>
              <a:gd name="T49" fmla="*/ 46 h 107"/>
              <a:gd name="T50" fmla="*/ 296 w 385"/>
              <a:gd name="T51" fmla="*/ 61 h 107"/>
              <a:gd name="T52" fmla="*/ 359 w 385"/>
              <a:gd name="T53" fmla="*/ 61 h 107"/>
              <a:gd name="T54" fmla="*/ 324 w 385"/>
              <a:gd name="T55" fmla="*/ 96 h 107"/>
              <a:gd name="T56" fmla="*/ 334 w 385"/>
              <a:gd name="T57" fmla="*/ 107 h 107"/>
              <a:gd name="T58" fmla="*/ 382 w 385"/>
              <a:gd name="T59" fmla="*/ 59 h 107"/>
              <a:gd name="T60" fmla="*/ 382 w 385"/>
              <a:gd name="T61" fmla="*/ 4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5" h="107">
                <a:moveTo>
                  <a:pt x="0" y="46"/>
                </a:moveTo>
                <a:cubicBezTo>
                  <a:pt x="37" y="46"/>
                  <a:pt x="37" y="46"/>
                  <a:pt x="37" y="46"/>
                </a:cubicBezTo>
                <a:cubicBezTo>
                  <a:pt x="37" y="61"/>
                  <a:pt x="37" y="61"/>
                  <a:pt x="37" y="61"/>
                </a:cubicBezTo>
                <a:cubicBezTo>
                  <a:pt x="0" y="61"/>
                  <a:pt x="0" y="61"/>
                  <a:pt x="0" y="61"/>
                </a:cubicBezTo>
                <a:lnTo>
                  <a:pt x="0" y="46"/>
                </a:lnTo>
                <a:close/>
                <a:moveTo>
                  <a:pt x="74" y="61"/>
                </a:moveTo>
                <a:cubicBezTo>
                  <a:pt x="111" y="61"/>
                  <a:pt x="111" y="61"/>
                  <a:pt x="111" y="61"/>
                </a:cubicBezTo>
                <a:cubicBezTo>
                  <a:pt x="111" y="46"/>
                  <a:pt x="111" y="46"/>
                  <a:pt x="111" y="46"/>
                </a:cubicBezTo>
                <a:cubicBezTo>
                  <a:pt x="74" y="46"/>
                  <a:pt x="74" y="46"/>
                  <a:pt x="74" y="46"/>
                </a:cubicBezTo>
                <a:lnTo>
                  <a:pt x="74" y="61"/>
                </a:lnTo>
                <a:close/>
                <a:moveTo>
                  <a:pt x="222" y="61"/>
                </a:moveTo>
                <a:cubicBezTo>
                  <a:pt x="259" y="61"/>
                  <a:pt x="259" y="61"/>
                  <a:pt x="259" y="61"/>
                </a:cubicBezTo>
                <a:cubicBezTo>
                  <a:pt x="259" y="46"/>
                  <a:pt x="259" y="46"/>
                  <a:pt x="259" y="46"/>
                </a:cubicBezTo>
                <a:cubicBezTo>
                  <a:pt x="222" y="46"/>
                  <a:pt x="222" y="46"/>
                  <a:pt x="222" y="46"/>
                </a:cubicBezTo>
                <a:lnTo>
                  <a:pt x="222" y="61"/>
                </a:lnTo>
                <a:close/>
                <a:moveTo>
                  <a:pt x="148" y="61"/>
                </a:moveTo>
                <a:cubicBezTo>
                  <a:pt x="185" y="61"/>
                  <a:pt x="185" y="61"/>
                  <a:pt x="185" y="61"/>
                </a:cubicBezTo>
                <a:cubicBezTo>
                  <a:pt x="185" y="46"/>
                  <a:pt x="185" y="46"/>
                  <a:pt x="185" y="46"/>
                </a:cubicBezTo>
                <a:cubicBezTo>
                  <a:pt x="148" y="46"/>
                  <a:pt x="148" y="46"/>
                  <a:pt x="148" y="46"/>
                </a:cubicBezTo>
                <a:lnTo>
                  <a:pt x="148" y="61"/>
                </a:lnTo>
                <a:close/>
                <a:moveTo>
                  <a:pt x="382" y="48"/>
                </a:moveTo>
                <a:cubicBezTo>
                  <a:pt x="334" y="0"/>
                  <a:pt x="334" y="0"/>
                  <a:pt x="334" y="0"/>
                </a:cubicBezTo>
                <a:cubicBezTo>
                  <a:pt x="324" y="11"/>
                  <a:pt x="324" y="11"/>
                  <a:pt x="324" y="11"/>
                </a:cubicBezTo>
                <a:cubicBezTo>
                  <a:pt x="359" y="46"/>
                  <a:pt x="359" y="46"/>
                  <a:pt x="359" y="46"/>
                </a:cubicBezTo>
                <a:cubicBezTo>
                  <a:pt x="296" y="46"/>
                  <a:pt x="296" y="46"/>
                  <a:pt x="296" y="46"/>
                </a:cubicBezTo>
                <a:cubicBezTo>
                  <a:pt x="296" y="61"/>
                  <a:pt x="296" y="61"/>
                  <a:pt x="296" y="61"/>
                </a:cubicBezTo>
                <a:cubicBezTo>
                  <a:pt x="359" y="61"/>
                  <a:pt x="359" y="61"/>
                  <a:pt x="359" y="61"/>
                </a:cubicBezTo>
                <a:cubicBezTo>
                  <a:pt x="324" y="96"/>
                  <a:pt x="324" y="96"/>
                  <a:pt x="324" y="96"/>
                </a:cubicBezTo>
                <a:cubicBezTo>
                  <a:pt x="334" y="107"/>
                  <a:pt x="334" y="107"/>
                  <a:pt x="334" y="107"/>
                </a:cubicBezTo>
                <a:cubicBezTo>
                  <a:pt x="382" y="59"/>
                  <a:pt x="382" y="59"/>
                  <a:pt x="382" y="59"/>
                </a:cubicBezTo>
                <a:cubicBezTo>
                  <a:pt x="385" y="56"/>
                  <a:pt x="385" y="51"/>
                  <a:pt x="382" y="48"/>
                </a:cubicBez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71" name="TextBox 70"/>
          <p:cNvSpPr txBox="1"/>
          <p:nvPr/>
        </p:nvSpPr>
        <p:spPr>
          <a:xfrm>
            <a:off x="3828856" y="4183720"/>
            <a:ext cx="1429122" cy="674031"/>
          </a:xfrm>
          <a:prstGeom prst="rect">
            <a:avLst/>
          </a:prstGeom>
          <a:noFill/>
        </p:spPr>
        <p:txBody>
          <a:bodyPr wrap="square" lIns="68586" tIns="68586" rIns="68586" bIns="68586" rtlCol="0">
            <a:spAutoFit/>
          </a:bodyPr>
          <a:lstStyle/>
          <a:p>
            <a:pPr algn="ctr">
              <a:lnSpc>
                <a:spcPct val="90000"/>
              </a:lnSpc>
              <a:spcBef>
                <a:spcPct val="20000"/>
              </a:spcBef>
              <a:buSzPct val="90000"/>
            </a:pPr>
            <a:r>
              <a:rPr lang="nl-NL" sz="1200" b="1" dirty="0">
                <a:solidFill>
                  <a:srgbClr val="00B0F0">
                    <a:alpha val="99000"/>
                  </a:srgbClr>
                </a:solidFill>
              </a:rPr>
              <a:t>Phase 8:</a:t>
            </a:r>
          </a:p>
          <a:p>
            <a:pPr algn="ctr">
              <a:lnSpc>
                <a:spcPct val="90000"/>
              </a:lnSpc>
              <a:spcBef>
                <a:spcPct val="20000"/>
              </a:spcBef>
              <a:buSzPct val="90000"/>
            </a:pPr>
            <a:r>
              <a:rPr lang="nl-NL" sz="1200" dirty="0">
                <a:solidFill>
                  <a:srgbClr val="00B0F0">
                    <a:alpha val="99000"/>
                  </a:srgbClr>
                </a:solidFill>
              </a:rPr>
              <a:t>Create automated runbooks</a:t>
            </a:r>
            <a:endParaRPr lang="en-US" sz="1200" dirty="0" err="1">
              <a:solidFill>
                <a:srgbClr val="00B0F0">
                  <a:alpha val="99000"/>
                </a:srgbClr>
              </a:solidFill>
            </a:endParaRPr>
          </a:p>
        </p:txBody>
      </p:sp>
      <p:sp>
        <p:nvSpPr>
          <p:cNvPr id="72" name="TextBox 71"/>
          <p:cNvSpPr txBox="1"/>
          <p:nvPr/>
        </p:nvSpPr>
        <p:spPr>
          <a:xfrm>
            <a:off x="2171074" y="4171951"/>
            <a:ext cx="1429122" cy="674031"/>
          </a:xfrm>
          <a:prstGeom prst="rect">
            <a:avLst/>
          </a:prstGeom>
          <a:noFill/>
        </p:spPr>
        <p:txBody>
          <a:bodyPr wrap="square" lIns="68586" tIns="68586" rIns="68586" bIns="68586" rtlCol="0">
            <a:spAutoFit/>
          </a:bodyPr>
          <a:lstStyle/>
          <a:p>
            <a:pPr algn="ctr">
              <a:lnSpc>
                <a:spcPct val="90000"/>
              </a:lnSpc>
              <a:spcBef>
                <a:spcPct val="20000"/>
              </a:spcBef>
              <a:buSzPct val="90000"/>
            </a:pPr>
            <a:r>
              <a:rPr lang="nl-NL" sz="1200" b="1" dirty="0">
                <a:solidFill>
                  <a:srgbClr val="00B0F0">
                    <a:alpha val="99000"/>
                  </a:srgbClr>
                </a:solidFill>
              </a:rPr>
              <a:t>Phase 9:</a:t>
            </a:r>
          </a:p>
          <a:p>
            <a:pPr algn="ctr">
              <a:lnSpc>
                <a:spcPct val="90000"/>
              </a:lnSpc>
              <a:spcBef>
                <a:spcPct val="20000"/>
              </a:spcBef>
              <a:buSzPct val="90000"/>
            </a:pPr>
            <a:r>
              <a:rPr lang="nl-NL" sz="1200" dirty="0">
                <a:solidFill>
                  <a:srgbClr val="00B0F0">
                    <a:alpha val="99000"/>
                  </a:srgbClr>
                </a:solidFill>
              </a:rPr>
              <a:t>Create Service Requests</a:t>
            </a:r>
            <a:endParaRPr lang="en-US" sz="1200" dirty="0" err="1">
              <a:solidFill>
                <a:srgbClr val="00B0F0">
                  <a:alpha val="99000"/>
                </a:srgbClr>
              </a:solidFill>
            </a:endParaRPr>
          </a:p>
        </p:txBody>
      </p:sp>
      <p:sp>
        <p:nvSpPr>
          <p:cNvPr id="73" name="TextBox 72"/>
          <p:cNvSpPr txBox="1"/>
          <p:nvPr/>
        </p:nvSpPr>
        <p:spPr>
          <a:xfrm>
            <a:off x="513293" y="4171951"/>
            <a:ext cx="1429122" cy="674031"/>
          </a:xfrm>
          <a:prstGeom prst="rect">
            <a:avLst/>
          </a:prstGeom>
          <a:noFill/>
        </p:spPr>
        <p:txBody>
          <a:bodyPr wrap="square" lIns="68586" tIns="68586" rIns="68586" bIns="68586" rtlCol="0">
            <a:spAutoFit/>
          </a:bodyPr>
          <a:lstStyle/>
          <a:p>
            <a:pPr algn="ctr">
              <a:lnSpc>
                <a:spcPct val="90000"/>
              </a:lnSpc>
              <a:spcBef>
                <a:spcPct val="20000"/>
              </a:spcBef>
              <a:buSzPct val="90000"/>
            </a:pPr>
            <a:r>
              <a:rPr lang="nl-NL" sz="1200" b="1" dirty="0">
                <a:solidFill>
                  <a:srgbClr val="00B0F0">
                    <a:alpha val="99000"/>
                  </a:srgbClr>
                </a:solidFill>
              </a:rPr>
              <a:t>Phase 10:</a:t>
            </a:r>
          </a:p>
          <a:p>
            <a:pPr algn="ctr">
              <a:lnSpc>
                <a:spcPct val="90000"/>
              </a:lnSpc>
              <a:spcBef>
                <a:spcPct val="20000"/>
              </a:spcBef>
              <a:buSzPct val="90000"/>
            </a:pPr>
            <a:r>
              <a:rPr lang="nl-NL" sz="1200" dirty="0">
                <a:solidFill>
                  <a:srgbClr val="00B0F0">
                    <a:alpha val="99000"/>
                  </a:srgbClr>
                </a:solidFill>
              </a:rPr>
              <a:t>Provide access to end-users</a:t>
            </a:r>
            <a:endParaRPr lang="en-US" sz="1200" dirty="0" err="1">
              <a:solidFill>
                <a:srgbClr val="00B0F0">
                  <a:alpha val="99000"/>
                </a:srgbClr>
              </a:solidFill>
            </a:endParaRPr>
          </a:p>
        </p:txBody>
      </p:sp>
      <p:pic>
        <p:nvPicPr>
          <p:cNvPr id="74" name="Picture 5" descr="\\MAGNUM\Projects\Microsoft\Cloud Power FY12\Design\Icons\PNGs\Self_Service.png"/>
          <p:cNvPicPr>
            <a:picLocks noChangeAspect="1" noChangeArrowheads="1"/>
          </p:cNvPicPr>
          <p:nvPr/>
        </p:nvPicPr>
        <p:blipFill>
          <a:blip r:embed="rId2" cstate="screen">
            <a:extLst>
              <a:ext uri="{BEBA8EAE-BF5A-486C-A8C5-ECC9F3942E4B}">
                <a14:imgProps xmlns:a14="http://schemas.microsoft.com/office/drawing/2010/main">
                  <a14:imgLayer r:embed="rId3">
                    <a14:imgEffect>
                      <a14:brightnessContrast bright="100000"/>
                    </a14:imgEffect>
                  </a14:imgLayer>
                </a14:imgProps>
              </a:ext>
            </a:extLst>
          </a:blip>
          <a:srcRect/>
          <a:stretch>
            <a:fillRect/>
          </a:stretch>
        </p:blipFill>
        <p:spPr bwMode="auto">
          <a:xfrm>
            <a:off x="795336" y="3300474"/>
            <a:ext cx="865035" cy="871477"/>
          </a:xfrm>
          <a:prstGeom prst="rect">
            <a:avLst/>
          </a:prstGeom>
          <a:noFill/>
        </p:spPr>
      </p:pic>
      <p:grpSp>
        <p:nvGrpSpPr>
          <p:cNvPr id="75" name="Group 74"/>
          <p:cNvGrpSpPr>
            <a:grpSpLocks noChangeAspect="1"/>
          </p:cNvGrpSpPr>
          <p:nvPr/>
        </p:nvGrpSpPr>
        <p:grpSpPr bwMode="black">
          <a:xfrm>
            <a:off x="4343340" y="3429001"/>
            <a:ext cx="536763" cy="569709"/>
            <a:chOff x="1435100" y="3879850"/>
            <a:chExt cx="739775" cy="795338"/>
          </a:xfrm>
          <a:solidFill>
            <a:schemeClr val="tx1"/>
          </a:solidFill>
        </p:grpSpPr>
        <p:sp>
          <p:nvSpPr>
            <p:cNvPr id="76" name="Freeform 6"/>
            <p:cNvSpPr>
              <a:spLocks/>
            </p:cNvSpPr>
            <p:nvPr/>
          </p:nvSpPr>
          <p:spPr bwMode="black">
            <a:xfrm>
              <a:off x="1435100" y="4191000"/>
              <a:ext cx="106363" cy="10636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sz="800" b="1" cap="all" dirty="0">
                <a:solidFill>
                  <a:srgbClr val="000000"/>
                </a:solidFill>
              </a:endParaRPr>
            </a:p>
          </p:txBody>
        </p:sp>
        <p:sp>
          <p:nvSpPr>
            <p:cNvPr id="77" name="Freeform 7"/>
            <p:cNvSpPr>
              <a:spLocks/>
            </p:cNvSpPr>
            <p:nvPr/>
          </p:nvSpPr>
          <p:spPr bwMode="black">
            <a:xfrm>
              <a:off x="1620838" y="4208463"/>
              <a:ext cx="106363" cy="104775"/>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sz="800" b="1" cap="all" dirty="0">
                <a:solidFill>
                  <a:srgbClr val="000000"/>
                </a:solidFill>
              </a:endParaRPr>
            </a:p>
          </p:txBody>
        </p:sp>
        <p:sp>
          <p:nvSpPr>
            <p:cNvPr id="78" name="Freeform 8"/>
            <p:cNvSpPr>
              <a:spLocks/>
            </p:cNvSpPr>
            <p:nvPr/>
          </p:nvSpPr>
          <p:spPr bwMode="black">
            <a:xfrm>
              <a:off x="1876425" y="4184650"/>
              <a:ext cx="104775" cy="104775"/>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sz="800" b="1" cap="all" dirty="0">
                <a:solidFill>
                  <a:srgbClr val="000000"/>
                </a:solidFill>
              </a:endParaRPr>
            </a:p>
          </p:txBody>
        </p:sp>
        <p:sp>
          <p:nvSpPr>
            <p:cNvPr id="79" name="Freeform 9"/>
            <p:cNvSpPr>
              <a:spLocks/>
            </p:cNvSpPr>
            <p:nvPr/>
          </p:nvSpPr>
          <p:spPr bwMode="black">
            <a:xfrm>
              <a:off x="1498600" y="3879850"/>
              <a:ext cx="336550" cy="795338"/>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sz="800" b="1" cap="all" dirty="0">
                <a:solidFill>
                  <a:srgbClr val="000000"/>
                </a:solidFill>
              </a:endParaRPr>
            </a:p>
          </p:txBody>
        </p:sp>
        <p:sp>
          <p:nvSpPr>
            <p:cNvPr id="80" name="Oval 10"/>
            <p:cNvSpPr>
              <a:spLocks noChangeArrowheads="1"/>
            </p:cNvSpPr>
            <p:nvPr/>
          </p:nvSpPr>
          <p:spPr bwMode="black">
            <a:xfrm>
              <a:off x="1744663" y="4589463"/>
              <a:ext cx="53975" cy="539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sz="800" b="1" cap="all" dirty="0">
                <a:solidFill>
                  <a:srgbClr val="000000"/>
                </a:solidFill>
              </a:endParaRPr>
            </a:p>
          </p:txBody>
        </p:sp>
        <p:sp>
          <p:nvSpPr>
            <p:cNvPr id="81" name="Freeform 11"/>
            <p:cNvSpPr>
              <a:spLocks/>
            </p:cNvSpPr>
            <p:nvPr/>
          </p:nvSpPr>
          <p:spPr bwMode="black">
            <a:xfrm>
              <a:off x="1860550" y="4225925"/>
              <a:ext cx="314325" cy="350838"/>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sz="800" b="1" cap="all" dirty="0">
                <a:solidFill>
                  <a:srgbClr val="000000"/>
                </a:solidFill>
              </a:endParaRPr>
            </a:p>
          </p:txBody>
        </p:sp>
        <p:sp>
          <p:nvSpPr>
            <p:cNvPr id="82" name="Oval 12"/>
            <p:cNvSpPr>
              <a:spLocks noChangeArrowheads="1"/>
            </p:cNvSpPr>
            <p:nvPr/>
          </p:nvSpPr>
          <p:spPr bwMode="black">
            <a:xfrm>
              <a:off x="1892300" y="4491038"/>
              <a:ext cx="53975" cy="539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sz="800" b="1" cap="all" dirty="0">
                <a:solidFill>
                  <a:srgbClr val="000000"/>
                </a:solidFill>
              </a:endParaRPr>
            </a:p>
          </p:txBody>
        </p:sp>
        <p:sp>
          <p:nvSpPr>
            <p:cNvPr id="83" name="Freeform 13"/>
            <p:cNvSpPr>
              <a:spLocks/>
            </p:cNvSpPr>
            <p:nvPr/>
          </p:nvSpPr>
          <p:spPr bwMode="black">
            <a:xfrm>
              <a:off x="1447800" y="4306888"/>
              <a:ext cx="215900" cy="322263"/>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sz="800" b="1" cap="all" dirty="0">
                <a:solidFill>
                  <a:srgbClr val="000000"/>
                </a:solidFill>
              </a:endParaRPr>
            </a:p>
          </p:txBody>
        </p:sp>
        <p:sp>
          <p:nvSpPr>
            <p:cNvPr id="84" name="Oval 14"/>
            <p:cNvSpPr>
              <a:spLocks noChangeArrowheads="1"/>
            </p:cNvSpPr>
            <p:nvPr/>
          </p:nvSpPr>
          <p:spPr bwMode="black">
            <a:xfrm>
              <a:off x="1577975" y="4543425"/>
              <a:ext cx="53975" cy="539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sz="800" b="1" cap="all" dirty="0">
                <a:solidFill>
                  <a:srgbClr val="000000"/>
                </a:solidFill>
              </a:endParaRPr>
            </a:p>
          </p:txBody>
        </p:sp>
      </p:grpSp>
      <p:pic>
        <p:nvPicPr>
          <p:cNvPr id="85" name="Picture 4" descr="\\MAGNUM\Projects\Microsoft\Cloud Power FY12\Design\Icons\PNGs\Scalable_Elastic_4.png"/>
          <p:cNvPicPr>
            <a:picLocks noChangeAspect="1" noChangeArrowheads="1"/>
          </p:cNvPicPr>
          <p:nvPr/>
        </p:nvPicPr>
        <p:blipFill>
          <a:blip r:embed="rId4" cstate="screen">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bwMode="auto">
          <a:xfrm>
            <a:off x="4172673" y="1085851"/>
            <a:ext cx="856647" cy="863029"/>
          </a:xfrm>
          <a:prstGeom prst="rect">
            <a:avLst/>
          </a:prstGeom>
          <a:noFill/>
        </p:spPr>
      </p:pic>
      <p:sp>
        <p:nvSpPr>
          <p:cNvPr id="86" name="Freeform 73"/>
          <p:cNvSpPr>
            <a:spLocks noEditPoints="1"/>
          </p:cNvSpPr>
          <p:nvPr/>
        </p:nvSpPr>
        <p:spPr bwMode="black">
          <a:xfrm>
            <a:off x="7724765" y="1124069"/>
            <a:ext cx="701389" cy="676920"/>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61735" tIns="30867" rIns="61735" bIns="30867" numCol="1" anchor="t" anchorCtr="0" compatLnSpc="1">
            <a:prstTxWarp prst="textNoShape">
              <a:avLst/>
            </a:prstTxWarp>
          </a:bodyPr>
          <a:lstStyle/>
          <a:p>
            <a:endParaRPr lang="en-US" sz="1200"/>
          </a:p>
        </p:txBody>
      </p:sp>
      <p:pic>
        <p:nvPicPr>
          <p:cNvPr id="87" name="Picture 7" descr="\\MAGNUM\Projects\Microsoft\Cloud Power FY12\Design\Icons\PNGs\Metering.png"/>
          <p:cNvPicPr>
            <a:picLocks noChangeAspect="1" noChangeArrowheads="1"/>
          </p:cNvPicPr>
          <p:nvPr/>
        </p:nvPicPr>
        <p:blipFill>
          <a:blip r:embed="rId6" cstate="screen">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bwMode="auto">
          <a:xfrm>
            <a:off x="7590494" y="3283323"/>
            <a:ext cx="969932" cy="977154"/>
          </a:xfrm>
          <a:prstGeom prst="rect">
            <a:avLst/>
          </a:prstGeom>
          <a:noFill/>
        </p:spPr>
      </p:pic>
      <p:sp>
        <p:nvSpPr>
          <p:cNvPr id="90" name="Freeform 18"/>
          <p:cNvSpPr>
            <a:spLocks noEditPoints="1"/>
          </p:cNvSpPr>
          <p:nvPr/>
        </p:nvSpPr>
        <p:spPr bwMode="black">
          <a:xfrm>
            <a:off x="6076538" y="1252270"/>
            <a:ext cx="525378" cy="404712"/>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6" tIns="34294" rIns="68586" bIns="34294" numCol="1" anchor="t" anchorCtr="0" compatLnSpc="1">
            <a:prstTxWarp prst="textNoShape">
              <a:avLst/>
            </a:prstTxWarp>
          </a:bodyPr>
          <a:lstStyle/>
          <a:p>
            <a:endParaRPr lang="en-US" sz="1200"/>
          </a:p>
        </p:txBody>
      </p:sp>
      <p:pic>
        <p:nvPicPr>
          <p:cNvPr id="91" name="Picture 2" descr="\\MAGNUM\Projects\Microsoft\Cloud Power FY12\Design\ICONS_PNG\Devices.png"/>
          <p:cNvPicPr>
            <a:picLocks noChangeAspect="1" noChangeArrowheads="1"/>
          </p:cNvPicPr>
          <p:nvPr/>
        </p:nvPicPr>
        <p:blipFill>
          <a:blip r:embed="rId8" cstate="print">
            <a:lum bright="100000" contrast="100000"/>
          </a:blip>
          <a:stretch>
            <a:fillRect/>
          </a:stretch>
        </p:blipFill>
        <p:spPr bwMode="auto">
          <a:xfrm>
            <a:off x="2468427" y="3460243"/>
            <a:ext cx="756529" cy="723476"/>
          </a:xfrm>
          <a:prstGeom prst="rect">
            <a:avLst/>
          </a:prstGeom>
          <a:noFill/>
          <a:ln>
            <a:noFill/>
          </a:ln>
        </p:spPr>
      </p:pic>
      <p:pic>
        <p:nvPicPr>
          <p:cNvPr id="92" name="Picture 91" descr="cross platform.png"/>
          <p:cNvPicPr>
            <a:picLocks noChangeAspect="1"/>
          </p:cNvPicPr>
          <p:nvPr/>
        </p:nvPicPr>
        <p:blipFill>
          <a:blip r:embed="rId9" cstate="screen">
            <a:lum bright="100000"/>
          </a:blip>
          <a:stretch>
            <a:fillRect/>
          </a:stretch>
        </p:blipFill>
        <p:spPr>
          <a:xfrm>
            <a:off x="5990581" y="3564229"/>
            <a:ext cx="697294" cy="434480"/>
          </a:xfrm>
          <a:prstGeom prst="rect">
            <a:avLst/>
          </a:prstGeom>
        </p:spPr>
      </p:pic>
      <p:sp>
        <p:nvSpPr>
          <p:cNvPr id="52"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53"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0"/>
              </a:rPr>
              <a:t>www.rapidbbs.cn</a:t>
            </a:r>
            <a:endParaRPr lang="zh-CN" altLang="en-US" sz="1200" b="0">
              <a:latin typeface="Arial" charset="0"/>
              <a:ea typeface="ＭＳ Ｐゴシック" pitchFamily="34" charset="-128"/>
            </a:endParaRPr>
          </a:p>
        </p:txBody>
      </p:sp>
      <p:pic>
        <p:nvPicPr>
          <p:cNvPr id="54" name="Picture 2">
            <a:hlinkClick r:id="rId10"/>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5" name="Picture 2">
            <a:hlinkClick r:id="rId10"/>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143000" y="2804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74654215"/>
      </p:ext>
    </p:extLst>
  </p:cSld>
  <p:clrMapOvr>
    <a:masterClrMapping/>
  </p:clrMapOvr>
  <p:transition>
    <p:fade/>
  </p:transition>
  <p:timing>
    <p:tnLst>
      <p:par>
        <p:cTn id="1" dur="indefinite" restart="never" nodeType="tmRoot"/>
      </p:par>
    </p:tnLst>
  </p:timing>
</p:sld>
</file>

<file path=ppt/slides/slide3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600197" y="2685904"/>
            <a:ext cx="3887212" cy="1886096"/>
          </a:xfrm>
          <a:prstGeom prst="rect">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lIns="68559" tIns="34280" rIns="68559" bIns="68565" rtlCol="0" anchor="b" anchorCtr="0"/>
          <a:lstStyle/>
          <a:p>
            <a:pPr indent="-342799"/>
            <a:r>
              <a:rPr lang="en-US" sz="2700" dirty="0">
                <a:solidFill>
                  <a:schemeClr val="tx1"/>
                </a:solidFill>
                <a:effectLst>
                  <a:outerShdw blurRad="38100" dist="38100" dir="2700000" algn="tl">
                    <a:srgbClr val="000000">
                      <a:alpha val="43137"/>
                    </a:srgbClr>
                  </a:outerShdw>
                </a:effectLst>
                <a:latin typeface="Segoe UI Light" pitchFamily="34" charset="0"/>
                <a:ea typeface="Segoe UI" pitchFamily="34" charset="0"/>
                <a:cs typeface="Segoe UI" pitchFamily="34" charset="0"/>
              </a:rPr>
              <a:t>Capacity on Demand</a:t>
            </a:r>
          </a:p>
        </p:txBody>
      </p:sp>
      <p:sp>
        <p:nvSpPr>
          <p:cNvPr id="3" name="Rectangle 2"/>
          <p:cNvSpPr/>
          <p:nvPr/>
        </p:nvSpPr>
        <p:spPr bwMode="auto">
          <a:xfrm>
            <a:off x="1599279" y="2685904"/>
            <a:ext cx="1886588" cy="1886096"/>
          </a:xfrm>
          <a:prstGeom prst="rect">
            <a:avLst/>
          </a:prstGeom>
          <a:solidFill>
            <a:srgbClr val="FF53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5" tIns="34283" rIns="34283" bIns="68565" numCol="1" spcCol="0" rtlCol="0" fromWordArt="0" anchor="b" anchorCtr="0" forceAA="0" compatLnSpc="1">
            <a:prstTxWarp prst="textNoShape">
              <a:avLst/>
            </a:prstTxWarp>
            <a:noAutofit/>
          </a:bodyPr>
          <a:lstStyle/>
          <a:p>
            <a:pPr defTabSz="685438" fontAlgn="base">
              <a:spcBef>
                <a:spcPct val="0"/>
              </a:spcBef>
              <a:spcAft>
                <a:spcPct val="0"/>
              </a:spcAft>
            </a:pPr>
            <a:r>
              <a:rPr lang="en-US" sz="2700" spc="-38" dirty="0">
                <a:solidFill>
                  <a:schemeClr val="tx1"/>
                </a:solidFill>
                <a:effectLst>
                  <a:outerShdw blurRad="38100" dist="38100" dir="2700000" algn="tl">
                    <a:srgbClr val="000000">
                      <a:alpha val="43137"/>
                    </a:srgbClr>
                  </a:outerShdw>
                </a:effectLst>
                <a:latin typeface="Segoe UI Light" pitchFamily="34" charset="0"/>
                <a:ea typeface="Segoe UI" pitchFamily="34" charset="0"/>
                <a:cs typeface="Segoe UI" pitchFamily="34" charset="0"/>
              </a:rPr>
              <a:t>Service</a:t>
            </a:r>
          </a:p>
        </p:txBody>
      </p:sp>
      <p:sp>
        <p:nvSpPr>
          <p:cNvPr id="4" name="Rectangle 3"/>
          <p:cNvSpPr/>
          <p:nvPr/>
        </p:nvSpPr>
        <p:spPr bwMode="auto">
          <a:xfrm>
            <a:off x="5600821" y="689923"/>
            <a:ext cx="1886588" cy="1886096"/>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5" tIns="34283" rIns="34283" bIns="68565" numCol="1" spcCol="0" rtlCol="0" fromWordArt="0" anchor="b" anchorCtr="0" forceAA="0" compatLnSpc="1">
            <a:prstTxWarp prst="textNoShape">
              <a:avLst/>
            </a:prstTxWarp>
            <a:noAutofit/>
          </a:bodyPr>
          <a:lstStyle/>
          <a:p>
            <a:pPr defTabSz="685438" fontAlgn="base">
              <a:spcBef>
                <a:spcPct val="0"/>
              </a:spcBef>
              <a:spcAft>
                <a:spcPct val="0"/>
              </a:spcAft>
            </a:pPr>
            <a:r>
              <a:rPr lang="en-US" sz="2700" spc="-38" dirty="0">
                <a:solidFill>
                  <a:schemeClr val="tx1"/>
                </a:solidFill>
                <a:latin typeface="Segoe UI Light" pitchFamily="34" charset="0"/>
                <a:ea typeface="Segoe UI" pitchFamily="34" charset="0"/>
                <a:cs typeface="Segoe UI" pitchFamily="34" charset="0"/>
              </a:rPr>
              <a:t>Public </a:t>
            </a:r>
          </a:p>
          <a:p>
            <a:pPr defTabSz="685438" fontAlgn="base">
              <a:spcBef>
                <a:spcPct val="0"/>
              </a:spcBef>
              <a:spcAft>
                <a:spcPct val="0"/>
              </a:spcAft>
            </a:pPr>
            <a:r>
              <a:rPr lang="en-US" sz="2700" spc="-38" dirty="0">
                <a:solidFill>
                  <a:schemeClr val="tx1"/>
                </a:solidFill>
                <a:latin typeface="Segoe UI Light" pitchFamily="34" charset="0"/>
                <a:ea typeface="Segoe UI" pitchFamily="34" charset="0"/>
                <a:cs typeface="Segoe UI" pitchFamily="34" charset="0"/>
              </a:rPr>
              <a:t>Cloud</a:t>
            </a:r>
          </a:p>
        </p:txBody>
      </p:sp>
      <p:sp>
        <p:nvSpPr>
          <p:cNvPr id="5" name="Rectangle 4"/>
          <p:cNvSpPr/>
          <p:nvPr/>
        </p:nvSpPr>
        <p:spPr bwMode="auto">
          <a:xfrm>
            <a:off x="1599279" y="689923"/>
            <a:ext cx="1886588" cy="1886096"/>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5" tIns="34283" rIns="34283" bIns="68565" numCol="1" spcCol="0" rtlCol="0" fromWordArt="0" anchor="b" anchorCtr="0" forceAA="0" compatLnSpc="1">
            <a:prstTxWarp prst="textNoShape">
              <a:avLst/>
            </a:prstTxWarp>
            <a:noAutofit/>
          </a:bodyPr>
          <a:lstStyle/>
          <a:p>
            <a:pPr defTabSz="685438" fontAlgn="base">
              <a:spcBef>
                <a:spcPct val="0"/>
              </a:spcBef>
              <a:spcAft>
                <a:spcPct val="0"/>
              </a:spcAft>
            </a:pPr>
            <a:r>
              <a:rPr lang="en-US" sz="2700" spc="-38" dirty="0">
                <a:solidFill>
                  <a:schemeClr val="tx1"/>
                </a:solidFill>
                <a:latin typeface="Segoe UI Light" pitchFamily="34" charset="0"/>
                <a:ea typeface="Segoe UI" pitchFamily="34" charset="0"/>
                <a:cs typeface="Segoe UI" pitchFamily="34" charset="0"/>
              </a:rPr>
              <a:t>Cloud</a:t>
            </a:r>
          </a:p>
        </p:txBody>
      </p:sp>
      <p:sp>
        <p:nvSpPr>
          <p:cNvPr id="6" name="Rectangle 5"/>
          <p:cNvSpPr/>
          <p:nvPr/>
        </p:nvSpPr>
        <p:spPr bwMode="auto">
          <a:xfrm>
            <a:off x="3606890" y="685981"/>
            <a:ext cx="1886588" cy="1886096"/>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5" tIns="34283" rIns="34283" bIns="68565" numCol="1" spcCol="0" rtlCol="0" fromWordArt="0" anchor="b" anchorCtr="0" forceAA="0" compatLnSpc="1">
            <a:prstTxWarp prst="textNoShape">
              <a:avLst/>
            </a:prstTxWarp>
            <a:noAutofit/>
          </a:bodyPr>
          <a:lstStyle/>
          <a:p>
            <a:pPr defTabSz="685438" fontAlgn="base">
              <a:spcBef>
                <a:spcPct val="0"/>
              </a:spcBef>
              <a:spcAft>
                <a:spcPct val="0"/>
              </a:spcAft>
            </a:pPr>
            <a:r>
              <a:rPr lang="en-US" sz="2700" spc="-38" dirty="0">
                <a:solidFill>
                  <a:schemeClr val="tx1"/>
                </a:solidFill>
                <a:latin typeface="Segoe UI Light" pitchFamily="34" charset="0"/>
                <a:ea typeface="Segoe UI" pitchFamily="34" charset="0"/>
                <a:cs typeface="Segoe UI" pitchFamily="34" charset="0"/>
              </a:rPr>
              <a:t>Private </a:t>
            </a:r>
          </a:p>
          <a:p>
            <a:pPr defTabSz="685438" fontAlgn="base">
              <a:spcBef>
                <a:spcPct val="0"/>
              </a:spcBef>
              <a:spcAft>
                <a:spcPct val="0"/>
              </a:spcAft>
            </a:pPr>
            <a:r>
              <a:rPr lang="en-US" sz="2700" spc="-38" dirty="0">
                <a:solidFill>
                  <a:schemeClr val="tx1"/>
                </a:solidFill>
                <a:latin typeface="Segoe UI Light" pitchFamily="34" charset="0"/>
                <a:ea typeface="Segoe UI" pitchFamily="34" charset="0"/>
                <a:cs typeface="Segoe UI" pitchFamily="34" charset="0"/>
              </a:rPr>
              <a:t>Cloud</a:t>
            </a:r>
          </a:p>
        </p:txBody>
      </p:sp>
      <p:sp>
        <p:nvSpPr>
          <p:cNvPr id="7" name="Slide Number Placeholder 6"/>
          <p:cNvSpPr txBox="1">
            <a:spLocks/>
          </p:cNvSpPr>
          <p:nvPr/>
        </p:nvSpPr>
        <p:spPr>
          <a:xfrm>
            <a:off x="7010400" y="4903470"/>
            <a:ext cx="2133600" cy="205264"/>
          </a:xfrm>
          <a:prstGeom prst="rect">
            <a:avLst/>
          </a:prstGeom>
        </p:spPr>
        <p:txBody>
          <a:bodyPr lIns="68586" tIns="34294" rIns="68586" bIns="34294"/>
          <a:lstStyle>
            <a:defPPr>
              <a:defRPr lang="en-US"/>
            </a:defPPr>
            <a:lvl1pPr marL="0" algn="l" defTabSz="914097" rtl="0" eaLnBrk="1" latinLnBrk="0" hangingPunct="1">
              <a:defRPr sz="1900" kern="1200">
                <a:solidFill>
                  <a:schemeClr val="tx1"/>
                </a:solidFill>
                <a:latin typeface="+mn-lt"/>
                <a:ea typeface="+mn-ea"/>
                <a:cs typeface="+mn-cs"/>
              </a:defRPr>
            </a:lvl1pPr>
            <a:lvl2pPr marL="457045" algn="l" defTabSz="914097" rtl="0" eaLnBrk="1" latinLnBrk="0" hangingPunct="1">
              <a:defRPr sz="1900" kern="1200">
                <a:solidFill>
                  <a:schemeClr val="tx1"/>
                </a:solidFill>
                <a:latin typeface="+mn-lt"/>
                <a:ea typeface="+mn-ea"/>
                <a:cs typeface="+mn-cs"/>
              </a:defRPr>
            </a:lvl2pPr>
            <a:lvl3pPr marL="914097" algn="l" defTabSz="914097" rtl="0" eaLnBrk="1" latinLnBrk="0" hangingPunct="1">
              <a:defRPr sz="1900" kern="1200">
                <a:solidFill>
                  <a:schemeClr val="tx1"/>
                </a:solidFill>
                <a:latin typeface="+mn-lt"/>
                <a:ea typeface="+mn-ea"/>
                <a:cs typeface="+mn-cs"/>
              </a:defRPr>
            </a:lvl3pPr>
            <a:lvl4pPr marL="1371144" algn="l" defTabSz="914097" rtl="0" eaLnBrk="1" latinLnBrk="0" hangingPunct="1">
              <a:defRPr sz="1900" kern="1200">
                <a:solidFill>
                  <a:schemeClr val="tx1"/>
                </a:solidFill>
                <a:latin typeface="+mn-lt"/>
                <a:ea typeface="+mn-ea"/>
                <a:cs typeface="+mn-cs"/>
              </a:defRPr>
            </a:lvl4pPr>
            <a:lvl5pPr marL="1828195" algn="l" defTabSz="914097" rtl="0" eaLnBrk="1" latinLnBrk="0" hangingPunct="1">
              <a:defRPr sz="1900" kern="1200">
                <a:solidFill>
                  <a:schemeClr val="tx1"/>
                </a:solidFill>
                <a:latin typeface="+mn-lt"/>
                <a:ea typeface="+mn-ea"/>
                <a:cs typeface="+mn-cs"/>
              </a:defRPr>
            </a:lvl5pPr>
            <a:lvl6pPr marL="2285237" algn="l" defTabSz="914097" rtl="0" eaLnBrk="1" latinLnBrk="0" hangingPunct="1">
              <a:defRPr sz="1900" kern="1200">
                <a:solidFill>
                  <a:schemeClr val="tx1"/>
                </a:solidFill>
                <a:latin typeface="+mn-lt"/>
                <a:ea typeface="+mn-ea"/>
                <a:cs typeface="+mn-cs"/>
              </a:defRPr>
            </a:lvl6pPr>
            <a:lvl7pPr marL="2742291" algn="l" defTabSz="914097" rtl="0" eaLnBrk="1" latinLnBrk="0" hangingPunct="1">
              <a:defRPr sz="1900" kern="1200">
                <a:solidFill>
                  <a:schemeClr val="tx1"/>
                </a:solidFill>
                <a:latin typeface="+mn-lt"/>
                <a:ea typeface="+mn-ea"/>
                <a:cs typeface="+mn-cs"/>
              </a:defRPr>
            </a:lvl7pPr>
            <a:lvl8pPr marL="3199339" algn="l" defTabSz="914097" rtl="0" eaLnBrk="1" latinLnBrk="0" hangingPunct="1">
              <a:defRPr sz="1900" kern="1200">
                <a:solidFill>
                  <a:schemeClr val="tx1"/>
                </a:solidFill>
                <a:latin typeface="+mn-lt"/>
                <a:ea typeface="+mn-ea"/>
                <a:cs typeface="+mn-cs"/>
              </a:defRPr>
            </a:lvl8pPr>
            <a:lvl9pPr marL="3656388" algn="l" defTabSz="914097" rtl="0" eaLnBrk="1" latinLnBrk="0" hangingPunct="1">
              <a:defRPr sz="1900" kern="1200">
                <a:solidFill>
                  <a:schemeClr val="tx1"/>
                </a:solidFill>
                <a:latin typeface="+mn-lt"/>
                <a:ea typeface="+mn-ea"/>
                <a:cs typeface="+mn-cs"/>
              </a:defRPr>
            </a:lvl9pPr>
          </a:lstStyle>
          <a:p>
            <a:pPr algn="r"/>
            <a:fld id="{B6F15528-21DE-4FAA-801E-634DDDAF4B2B}" type="slidenum">
              <a:rPr lang="en-US" sz="1100">
                <a:latin typeface="Segoe UI" pitchFamily="34" charset="0"/>
                <a:ea typeface="Segoe UI" pitchFamily="34" charset="0"/>
                <a:cs typeface="Segoe UI" pitchFamily="34" charset="0"/>
              </a:rPr>
              <a:pPr algn="r"/>
              <a:t>394</a:t>
            </a:fld>
            <a:endParaRPr lang="en-US" sz="1100" dirty="0">
              <a:latin typeface="Segoe UI" pitchFamily="34" charset="0"/>
              <a:ea typeface="Segoe UI" pitchFamily="34" charset="0"/>
              <a:cs typeface="Segoe UI" pitchFamily="34" charset="0"/>
            </a:endParaRPr>
          </a:p>
        </p:txBody>
      </p:sp>
      <p:sp>
        <p:nvSpPr>
          <p:cNvPr id="8"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9"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
              </a:rPr>
              <a:t>www.rapidbbs.cn</a:t>
            </a:r>
            <a:endParaRPr lang="zh-CN" altLang="en-US" sz="1200" b="0">
              <a:latin typeface="Arial" charset="0"/>
              <a:ea typeface="ＭＳ Ｐゴシック" pitchFamily="34" charset="-128"/>
            </a:endParaRPr>
          </a:p>
        </p:txBody>
      </p:sp>
      <p:pic>
        <p:nvPicPr>
          <p:cNvPr id="10" name="Picture 2">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157756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500"/>
                                        <p:tgtEl>
                                          <p:spTgt spid="3"/>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6" grpId="0" animBg="1"/>
    </p:bldLst>
  </p:timing>
</p:sld>
</file>

<file path=ppt/slides/slide3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ivate Cloud Strategies</a:t>
            </a:r>
            <a:endParaRPr lang="en-US" dirty="0"/>
          </a:p>
        </p:txBody>
      </p:sp>
      <p:grpSp>
        <p:nvGrpSpPr>
          <p:cNvPr id="19" name="Group 18"/>
          <p:cNvGrpSpPr/>
          <p:nvPr/>
        </p:nvGrpSpPr>
        <p:grpSpPr>
          <a:xfrm>
            <a:off x="7263550" y="1524000"/>
            <a:ext cx="1753042" cy="2419350"/>
            <a:chOff x="9682212" y="2032000"/>
            <a:chExt cx="2336780" cy="3225800"/>
          </a:xfrm>
        </p:grpSpPr>
        <p:sp>
          <p:nvSpPr>
            <p:cNvPr id="10" name="Rectangle 9"/>
            <p:cNvSpPr/>
            <p:nvPr/>
          </p:nvSpPr>
          <p:spPr bwMode="auto">
            <a:xfrm>
              <a:off x="9764059" y="2032000"/>
              <a:ext cx="2254933" cy="3225800"/>
            </a:xfrm>
            <a:prstGeom prst="rect">
              <a:avLst/>
            </a:prstGeom>
            <a:solidFill>
              <a:srgbClr val="FF53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60944" bIns="121888" numCol="1" spcCol="0" rtlCol="0" fromWordArt="0" anchor="b" anchorCtr="0" forceAA="0" compatLnSpc="1">
              <a:prstTxWarp prst="textNoShape">
                <a:avLst/>
              </a:prstTxWarp>
              <a:noAutofit/>
            </a:bodyPr>
            <a:lstStyle/>
            <a:p>
              <a:pPr defTabSz="913757" fontAlgn="base">
                <a:spcBef>
                  <a:spcPct val="0"/>
                </a:spcBef>
                <a:spcAft>
                  <a:spcPct val="0"/>
                </a:spcAft>
              </a:pPr>
              <a:r>
                <a:rPr lang="en-US" sz="1800" spc="-50" dirty="0">
                  <a:solidFill>
                    <a:schemeClr val="bg1"/>
                  </a:solidFill>
                  <a:latin typeface="Segoe UI" pitchFamily="34" charset="0"/>
                  <a:ea typeface="Segoe UI" pitchFamily="34" charset="0"/>
                  <a:cs typeface="Segoe UI" pitchFamily="34" charset="0"/>
                </a:rPr>
                <a:t>Hybrid Deployment</a:t>
              </a:r>
            </a:p>
          </p:txBody>
        </p:sp>
        <p:pic>
          <p:nvPicPr>
            <p:cNvPr id="11" name="Picture 2" descr="C:\Users\chrisw\Desktop\Cloud Services 3.png"/>
            <p:cNvPicPr>
              <a:picLocks noChangeAspect="1" noChangeArrowheads="1"/>
            </p:cNvPicPr>
            <p:nvPr/>
          </p:nvPicPr>
          <p:blipFill>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a:fillRect/>
            </a:stretch>
          </p:blipFill>
          <p:spPr bwMode="black">
            <a:xfrm>
              <a:off x="10665222" y="2556084"/>
              <a:ext cx="1118343" cy="77131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MAGNUM\Projects\Microsoft\Cloud Power FY12\Design\Icons\PNGs\Server_2.png"/>
            <p:cNvPicPr>
              <a:picLocks noChangeAspect="1" noChangeArrowheads="1"/>
            </p:cNvPicPr>
            <p:nvPr/>
          </p:nvPicPr>
          <p:blipFill>
            <a:blip r:embed="rId4" cstate="email">
              <a:lum bright="100000"/>
              <a:extLst>
                <a:ext uri="{28A0092B-C50C-407E-A947-70E740481C1C}">
                  <a14:useLocalDpi xmlns:a14="http://schemas.microsoft.com/office/drawing/2010/main"/>
                </a:ext>
              </a:extLst>
            </a:blip>
            <a:srcRect/>
            <a:stretch>
              <a:fillRect/>
            </a:stretch>
          </p:blipFill>
          <p:spPr bwMode="auto">
            <a:xfrm>
              <a:off x="9682212" y="2413004"/>
              <a:ext cx="1366547" cy="1099393"/>
            </a:xfrm>
            <a:prstGeom prst="rect">
              <a:avLst/>
            </a:prstGeom>
            <a:noFill/>
          </p:spPr>
        </p:pic>
      </p:grpSp>
      <p:grpSp>
        <p:nvGrpSpPr>
          <p:cNvPr id="5" name="Group 4"/>
          <p:cNvGrpSpPr/>
          <p:nvPr/>
        </p:nvGrpSpPr>
        <p:grpSpPr>
          <a:xfrm>
            <a:off x="3738676" y="1524000"/>
            <a:ext cx="1691640" cy="2419350"/>
            <a:chOff x="4983603" y="2032000"/>
            <a:chExt cx="2254933" cy="3225800"/>
          </a:xfrm>
        </p:grpSpPr>
        <p:sp>
          <p:nvSpPr>
            <p:cNvPr id="8" name="Rectangle 7"/>
            <p:cNvSpPr/>
            <p:nvPr/>
          </p:nvSpPr>
          <p:spPr bwMode="auto">
            <a:xfrm>
              <a:off x="4983603" y="2032000"/>
              <a:ext cx="2254933" cy="32258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60944" bIns="121888" numCol="1" spcCol="0" rtlCol="0" fromWordArt="0" anchor="b" anchorCtr="0" forceAA="0" compatLnSpc="1">
              <a:prstTxWarp prst="textNoShape">
                <a:avLst/>
              </a:prstTxWarp>
              <a:noAutofit/>
            </a:bodyPr>
            <a:lstStyle/>
            <a:p>
              <a:pPr defTabSz="913757" fontAlgn="base">
                <a:spcBef>
                  <a:spcPct val="0"/>
                </a:spcBef>
                <a:spcAft>
                  <a:spcPct val="0"/>
                </a:spcAft>
              </a:pPr>
              <a:r>
                <a:rPr lang="en-US" sz="1800" spc="-50" dirty="0">
                  <a:solidFill>
                    <a:schemeClr val="bg1"/>
                  </a:solidFill>
                  <a:latin typeface="Segoe UI" pitchFamily="34" charset="0"/>
                  <a:ea typeface="Segoe UI" pitchFamily="34" charset="0"/>
                  <a:cs typeface="Segoe UI" pitchFamily="34" charset="0"/>
                </a:rPr>
                <a:t>Common Management Platform</a:t>
              </a:r>
            </a:p>
          </p:txBody>
        </p:sp>
        <p:pic>
          <p:nvPicPr>
            <p:cNvPr id="12" name="Picture 11" descr="\\MAGNUM\Projects\Microsoft\Cloud Power FY12\Design\ICONS_PNG\Application.png"/>
            <p:cNvPicPr>
              <a:picLocks noChangeAspect="1" noChangeArrowheads="1"/>
            </p:cNvPicPr>
            <p:nvPr/>
          </p:nvPicPr>
          <p:blipFill rotWithShape="1">
            <a:blip r:embed="rId5" cstate="email">
              <a:biLevel thresh="25000"/>
              <a:extLst>
                <a:ext uri="{28A0092B-C50C-407E-A947-70E740481C1C}">
                  <a14:useLocalDpi xmlns:a14="http://schemas.microsoft.com/office/drawing/2010/main"/>
                </a:ext>
              </a:extLst>
            </a:blip>
            <a:srcRect/>
            <a:stretch/>
          </p:blipFill>
          <p:spPr bwMode="auto">
            <a:xfrm>
              <a:off x="5281826" y="2732985"/>
              <a:ext cx="1233608" cy="1006735"/>
            </a:xfrm>
            <a:prstGeom prst="rect">
              <a:avLst/>
            </a:prstGeom>
            <a:noFill/>
            <a:ln>
              <a:noFill/>
            </a:ln>
          </p:spPr>
        </p:pic>
        <p:pic>
          <p:nvPicPr>
            <p:cNvPr id="16" name="Picture 6" descr="\\MAGNUM\Projects\Microsoft\Cloud Power FY12\Design\Icons\PNGs\Web Service.png"/>
            <p:cNvPicPr>
              <a:picLocks noChangeAspect="1" noChangeArrowheads="1"/>
            </p:cNvPicPr>
            <p:nvPr/>
          </p:nvPicPr>
          <p:blipFill>
            <a:blip r:embed="rId6" cstate="email">
              <a:lum bright="100000"/>
              <a:extLst>
                <a:ext uri="{28A0092B-C50C-407E-A947-70E740481C1C}">
                  <a14:useLocalDpi xmlns:a14="http://schemas.microsoft.com/office/drawing/2010/main"/>
                </a:ext>
              </a:extLst>
            </a:blip>
            <a:srcRect/>
            <a:stretch>
              <a:fillRect/>
            </a:stretch>
          </p:blipFill>
          <p:spPr bwMode="auto">
            <a:xfrm>
              <a:off x="5898628" y="2115567"/>
              <a:ext cx="1211520" cy="1211836"/>
            </a:xfrm>
            <a:prstGeom prst="rect">
              <a:avLst/>
            </a:prstGeom>
            <a:noFill/>
          </p:spPr>
        </p:pic>
      </p:grpSp>
      <p:grpSp>
        <p:nvGrpSpPr>
          <p:cNvPr id="4" name="Group 3"/>
          <p:cNvGrpSpPr/>
          <p:nvPr/>
        </p:nvGrpSpPr>
        <p:grpSpPr>
          <a:xfrm>
            <a:off x="1945538" y="1524000"/>
            <a:ext cx="1691640" cy="2419350"/>
            <a:chOff x="2593375" y="2032000"/>
            <a:chExt cx="2254933" cy="3225800"/>
          </a:xfrm>
        </p:grpSpPr>
        <p:sp>
          <p:nvSpPr>
            <p:cNvPr id="7" name="Rectangle 6"/>
            <p:cNvSpPr/>
            <p:nvPr/>
          </p:nvSpPr>
          <p:spPr bwMode="auto">
            <a:xfrm>
              <a:off x="2593375" y="2032000"/>
              <a:ext cx="2254933" cy="3225800"/>
            </a:xfrm>
            <a:prstGeom prst="rect">
              <a:avLst/>
            </a:prstGeom>
            <a:solidFill>
              <a:srgbClr val="FF53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60944" bIns="121888" numCol="1" spcCol="0" rtlCol="0" fromWordArt="0" anchor="b" anchorCtr="0" forceAA="0" compatLnSpc="1">
              <a:prstTxWarp prst="textNoShape">
                <a:avLst/>
              </a:prstTxWarp>
              <a:noAutofit/>
            </a:bodyPr>
            <a:lstStyle/>
            <a:p>
              <a:pPr defTabSz="913757" fontAlgn="base">
                <a:spcBef>
                  <a:spcPct val="0"/>
                </a:spcBef>
                <a:spcAft>
                  <a:spcPct val="0"/>
                </a:spcAft>
              </a:pPr>
              <a:r>
                <a:rPr lang="en-US" sz="1800" spc="-50" dirty="0">
                  <a:solidFill>
                    <a:schemeClr val="bg1"/>
                  </a:solidFill>
                  <a:latin typeface="Segoe UI" pitchFamily="34" charset="0"/>
                  <a:ea typeface="Segoe UI" pitchFamily="34" charset="0"/>
                  <a:cs typeface="Segoe UI" pitchFamily="34" charset="0"/>
                </a:rPr>
                <a:t>Virtualization</a:t>
              </a:r>
            </a:p>
          </p:txBody>
        </p:sp>
        <p:pic>
          <p:nvPicPr>
            <p:cNvPr id="17" name="Picture 9" descr="\\MAGNUM\Projects\Microsoft\Cloud Power FY12\Design\Icons\PNGs\Optimized.png"/>
            <p:cNvPicPr>
              <a:picLocks noChangeAspect="1" noChangeArrowheads="1"/>
            </p:cNvPicPr>
            <p:nvPr/>
          </p:nvPicPr>
          <p:blipFill>
            <a:blip r:embed="rId7" cstate="email">
              <a:lum bright="100000"/>
              <a:extLst>
                <a:ext uri="{28A0092B-C50C-407E-A947-70E740481C1C}">
                  <a14:useLocalDpi xmlns:a14="http://schemas.microsoft.com/office/drawing/2010/main"/>
                </a:ext>
              </a:extLst>
            </a:blip>
            <a:stretch>
              <a:fillRect/>
            </a:stretch>
          </p:blipFill>
          <p:spPr bwMode="auto">
            <a:xfrm>
              <a:off x="2806596" y="2375527"/>
              <a:ext cx="1662643" cy="1663076"/>
            </a:xfrm>
            <a:prstGeom prst="rect">
              <a:avLst/>
            </a:prstGeom>
            <a:noFill/>
          </p:spPr>
        </p:pic>
      </p:grpSp>
      <p:grpSp>
        <p:nvGrpSpPr>
          <p:cNvPr id="13" name="Group 12"/>
          <p:cNvGrpSpPr/>
          <p:nvPr/>
        </p:nvGrpSpPr>
        <p:grpSpPr>
          <a:xfrm>
            <a:off x="5531814" y="1524000"/>
            <a:ext cx="1691640" cy="2419350"/>
            <a:chOff x="7373831" y="2032000"/>
            <a:chExt cx="2254933" cy="3225800"/>
          </a:xfrm>
        </p:grpSpPr>
        <p:sp>
          <p:nvSpPr>
            <p:cNvPr id="9" name="Rectangle 8"/>
            <p:cNvSpPr/>
            <p:nvPr/>
          </p:nvSpPr>
          <p:spPr bwMode="auto">
            <a:xfrm>
              <a:off x="7373831" y="2032000"/>
              <a:ext cx="2254933" cy="32258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60944" bIns="121888" numCol="1" spcCol="0" rtlCol="0" fromWordArt="0" anchor="b" anchorCtr="0" forceAA="0" compatLnSpc="1">
              <a:prstTxWarp prst="textNoShape">
                <a:avLst/>
              </a:prstTxWarp>
              <a:noAutofit/>
            </a:bodyPr>
            <a:lstStyle/>
            <a:p>
              <a:pPr defTabSz="913757" fontAlgn="base">
                <a:spcBef>
                  <a:spcPct val="0"/>
                </a:spcBef>
                <a:spcAft>
                  <a:spcPct val="0"/>
                </a:spcAft>
              </a:pPr>
              <a:r>
                <a:rPr lang="en-US" sz="1800" spc="-50" dirty="0">
                  <a:solidFill>
                    <a:schemeClr val="bg1"/>
                  </a:solidFill>
                  <a:latin typeface="Segoe UI" pitchFamily="34" charset="0"/>
                  <a:ea typeface="Segoe UI" pitchFamily="34" charset="0"/>
                  <a:cs typeface="Segoe UI" pitchFamily="34" charset="0"/>
                </a:rPr>
                <a:t>Self-Service Model</a:t>
              </a:r>
            </a:p>
          </p:txBody>
        </p:sp>
        <p:pic>
          <p:nvPicPr>
            <p:cNvPr id="18" name="Picture 30" descr="service-based.png"/>
            <p:cNvPicPr>
              <a:picLocks noChangeAspect="1"/>
            </p:cNvPicPr>
            <p:nvPr/>
          </p:nvPicPr>
          <p:blipFill>
            <a:blip r:embed="rId8" cstate="email">
              <a:extLst>
                <a:ext uri="{28A0092B-C50C-407E-A947-70E740481C1C}">
                  <a14:useLocalDpi xmlns:a14="http://schemas.microsoft.com/office/drawing/2010/main"/>
                </a:ext>
              </a:extLst>
            </a:blip>
            <a:srcRect/>
            <a:stretch>
              <a:fillRect/>
            </a:stretch>
          </p:blipFill>
          <p:spPr bwMode="auto">
            <a:xfrm>
              <a:off x="7837833" y="2412999"/>
              <a:ext cx="1405359" cy="1457276"/>
            </a:xfrm>
            <a:prstGeom prst="rect">
              <a:avLst/>
            </a:prstGeom>
            <a:noFill/>
            <a:ln>
              <a:noFill/>
            </a:ln>
          </p:spPr>
        </p:pic>
      </p:grpSp>
      <p:grpSp>
        <p:nvGrpSpPr>
          <p:cNvPr id="3" name="Group 2"/>
          <p:cNvGrpSpPr/>
          <p:nvPr/>
        </p:nvGrpSpPr>
        <p:grpSpPr>
          <a:xfrm>
            <a:off x="152400" y="1524000"/>
            <a:ext cx="1691640" cy="2419350"/>
            <a:chOff x="203147" y="2032000"/>
            <a:chExt cx="2254933" cy="3225800"/>
          </a:xfrm>
        </p:grpSpPr>
        <p:sp>
          <p:nvSpPr>
            <p:cNvPr id="6" name="Rectangle 5"/>
            <p:cNvSpPr/>
            <p:nvPr/>
          </p:nvSpPr>
          <p:spPr bwMode="auto">
            <a:xfrm>
              <a:off x="203147" y="2032000"/>
              <a:ext cx="2254933" cy="3225800"/>
            </a:xfrm>
            <a:prstGeom prst="rect">
              <a:avLst/>
            </a:prstGeom>
            <a:solidFill>
              <a:srgbClr val="8CC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60944" bIns="121888" numCol="1" spcCol="0" rtlCol="0" fromWordArt="0" anchor="b" anchorCtr="0" forceAA="0" compatLnSpc="1">
              <a:prstTxWarp prst="textNoShape">
                <a:avLst/>
              </a:prstTxWarp>
              <a:noAutofit/>
            </a:bodyPr>
            <a:lstStyle/>
            <a:p>
              <a:pPr defTabSz="913757" fontAlgn="base">
                <a:spcBef>
                  <a:spcPct val="0"/>
                </a:spcBef>
                <a:spcAft>
                  <a:spcPct val="0"/>
                </a:spcAft>
              </a:pPr>
              <a:r>
                <a:rPr lang="en-US" sz="1800" spc="-50" dirty="0">
                  <a:solidFill>
                    <a:schemeClr val="bg1"/>
                  </a:solidFill>
                  <a:latin typeface="Segoe UI" pitchFamily="34" charset="0"/>
                  <a:ea typeface="Segoe UI" pitchFamily="34" charset="0"/>
                  <a:cs typeface="Segoe UI" pitchFamily="34" charset="0"/>
                </a:rPr>
                <a:t>Authentication</a:t>
              </a:r>
            </a:p>
          </p:txBody>
        </p:sp>
        <p:pic>
          <p:nvPicPr>
            <p:cNvPr id="15" name="Picture 3" descr="C:\Users\mitchellg\Desktop\Simple_Licensing.png"/>
            <p:cNvPicPr>
              <a:picLocks noChangeAspect="1" noChangeArrowheads="1"/>
            </p:cNvPicPr>
            <p:nvPr/>
          </p:nvPicPr>
          <p:blipFill>
            <a:blip r:embed="rId9" cstate="email">
              <a:lum bright="100000"/>
              <a:extLst>
                <a:ext uri="{28A0092B-C50C-407E-A947-70E740481C1C}">
                  <a14:useLocalDpi xmlns:a14="http://schemas.microsoft.com/office/drawing/2010/main"/>
                </a:ext>
              </a:extLst>
            </a:blip>
            <a:srcRect/>
            <a:stretch>
              <a:fillRect/>
            </a:stretch>
          </p:blipFill>
          <p:spPr bwMode="auto">
            <a:xfrm>
              <a:off x="1181418" y="2921003"/>
              <a:ext cx="1053202" cy="1053476"/>
            </a:xfrm>
            <a:prstGeom prst="rect">
              <a:avLst/>
            </a:prstGeom>
            <a:noFill/>
          </p:spPr>
        </p:pic>
        <p:pic>
          <p:nvPicPr>
            <p:cNvPr id="22" name="Picture 2" descr="\\MAGNUM\Projects\Microsoft\Cloud Power FY12\Design\Icons\PNGs\Server_2.png"/>
            <p:cNvPicPr>
              <a:picLocks noChangeAspect="1" noChangeArrowheads="1"/>
            </p:cNvPicPr>
            <p:nvPr/>
          </p:nvPicPr>
          <p:blipFill>
            <a:blip r:embed="rId4" cstate="email">
              <a:lum bright="100000"/>
              <a:extLst>
                <a:ext uri="{28A0092B-C50C-407E-A947-70E740481C1C}">
                  <a14:useLocalDpi xmlns:a14="http://schemas.microsoft.com/office/drawing/2010/main"/>
                </a:ext>
              </a:extLst>
            </a:blip>
            <a:srcRect/>
            <a:stretch>
              <a:fillRect/>
            </a:stretch>
          </p:blipFill>
          <p:spPr bwMode="auto">
            <a:xfrm>
              <a:off x="304724" y="2413004"/>
              <a:ext cx="1366547" cy="1099393"/>
            </a:xfrm>
            <a:prstGeom prst="rect">
              <a:avLst/>
            </a:prstGeom>
            <a:noFill/>
          </p:spPr>
        </p:pic>
      </p:grpSp>
      <p:sp>
        <p:nvSpPr>
          <p:cNvPr id="23" name="Right Arrow 22"/>
          <p:cNvSpPr/>
          <p:nvPr/>
        </p:nvSpPr>
        <p:spPr bwMode="auto">
          <a:xfrm>
            <a:off x="0" y="914400"/>
            <a:ext cx="9144000" cy="3562350"/>
          </a:xfrm>
          <a:prstGeom prst="rightArrow">
            <a:avLst>
              <a:gd name="adj1" fmla="val 50000"/>
              <a:gd name="adj2" fmla="val 63755"/>
            </a:avLst>
          </a:prstGeom>
          <a:solidFill>
            <a:schemeClr val="accent1">
              <a:lumMod val="20000"/>
              <a:lumOff val="80000"/>
              <a:alpha val="2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4" tIns="45702" rIns="45702" bIns="91404" numCol="1" spcCol="0" rtlCol="0" fromWordArt="0" anchor="b" anchorCtr="0" forceAA="0" compatLnSpc="1">
            <a:prstTxWarp prst="textNoShape">
              <a:avLst/>
            </a:prstTxWarp>
            <a:noAutofit/>
          </a:bodyPr>
          <a:lstStyle/>
          <a:p>
            <a:pPr algn="ctr" defTabSz="913757"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4" name="Slide Number Placeholder 6"/>
          <p:cNvSpPr txBox="1">
            <a:spLocks/>
          </p:cNvSpPr>
          <p:nvPr/>
        </p:nvSpPr>
        <p:spPr>
          <a:xfrm>
            <a:off x="7010400" y="4903470"/>
            <a:ext cx="2133600" cy="205264"/>
          </a:xfrm>
          <a:prstGeom prst="rect">
            <a:avLst/>
          </a:prstGeom>
        </p:spPr>
        <p:txBody>
          <a:bodyPr lIns="68586" tIns="34294" rIns="68586" bIns="34294"/>
          <a:lstStyle>
            <a:defPPr>
              <a:defRPr lang="en-US"/>
            </a:defPPr>
            <a:lvl1pPr marL="0" algn="l" defTabSz="914097" rtl="0" eaLnBrk="1" latinLnBrk="0" hangingPunct="1">
              <a:defRPr sz="1900" kern="1200">
                <a:solidFill>
                  <a:schemeClr val="tx1"/>
                </a:solidFill>
                <a:latin typeface="+mn-lt"/>
                <a:ea typeface="+mn-ea"/>
                <a:cs typeface="+mn-cs"/>
              </a:defRPr>
            </a:lvl1pPr>
            <a:lvl2pPr marL="457045" algn="l" defTabSz="914097" rtl="0" eaLnBrk="1" latinLnBrk="0" hangingPunct="1">
              <a:defRPr sz="1900" kern="1200">
                <a:solidFill>
                  <a:schemeClr val="tx1"/>
                </a:solidFill>
                <a:latin typeface="+mn-lt"/>
                <a:ea typeface="+mn-ea"/>
                <a:cs typeface="+mn-cs"/>
              </a:defRPr>
            </a:lvl2pPr>
            <a:lvl3pPr marL="914097" algn="l" defTabSz="914097" rtl="0" eaLnBrk="1" latinLnBrk="0" hangingPunct="1">
              <a:defRPr sz="1900" kern="1200">
                <a:solidFill>
                  <a:schemeClr val="tx1"/>
                </a:solidFill>
                <a:latin typeface="+mn-lt"/>
                <a:ea typeface="+mn-ea"/>
                <a:cs typeface="+mn-cs"/>
              </a:defRPr>
            </a:lvl3pPr>
            <a:lvl4pPr marL="1371144" algn="l" defTabSz="914097" rtl="0" eaLnBrk="1" latinLnBrk="0" hangingPunct="1">
              <a:defRPr sz="1900" kern="1200">
                <a:solidFill>
                  <a:schemeClr val="tx1"/>
                </a:solidFill>
                <a:latin typeface="+mn-lt"/>
                <a:ea typeface="+mn-ea"/>
                <a:cs typeface="+mn-cs"/>
              </a:defRPr>
            </a:lvl4pPr>
            <a:lvl5pPr marL="1828195" algn="l" defTabSz="914097" rtl="0" eaLnBrk="1" latinLnBrk="0" hangingPunct="1">
              <a:defRPr sz="1900" kern="1200">
                <a:solidFill>
                  <a:schemeClr val="tx1"/>
                </a:solidFill>
                <a:latin typeface="+mn-lt"/>
                <a:ea typeface="+mn-ea"/>
                <a:cs typeface="+mn-cs"/>
              </a:defRPr>
            </a:lvl5pPr>
            <a:lvl6pPr marL="2285237" algn="l" defTabSz="914097" rtl="0" eaLnBrk="1" latinLnBrk="0" hangingPunct="1">
              <a:defRPr sz="1900" kern="1200">
                <a:solidFill>
                  <a:schemeClr val="tx1"/>
                </a:solidFill>
                <a:latin typeface="+mn-lt"/>
                <a:ea typeface="+mn-ea"/>
                <a:cs typeface="+mn-cs"/>
              </a:defRPr>
            </a:lvl6pPr>
            <a:lvl7pPr marL="2742291" algn="l" defTabSz="914097" rtl="0" eaLnBrk="1" latinLnBrk="0" hangingPunct="1">
              <a:defRPr sz="1900" kern="1200">
                <a:solidFill>
                  <a:schemeClr val="tx1"/>
                </a:solidFill>
                <a:latin typeface="+mn-lt"/>
                <a:ea typeface="+mn-ea"/>
                <a:cs typeface="+mn-cs"/>
              </a:defRPr>
            </a:lvl7pPr>
            <a:lvl8pPr marL="3199339" algn="l" defTabSz="914097" rtl="0" eaLnBrk="1" latinLnBrk="0" hangingPunct="1">
              <a:defRPr sz="1900" kern="1200">
                <a:solidFill>
                  <a:schemeClr val="tx1"/>
                </a:solidFill>
                <a:latin typeface="+mn-lt"/>
                <a:ea typeface="+mn-ea"/>
                <a:cs typeface="+mn-cs"/>
              </a:defRPr>
            </a:lvl8pPr>
            <a:lvl9pPr marL="3656388" algn="l" defTabSz="914097" rtl="0" eaLnBrk="1" latinLnBrk="0" hangingPunct="1">
              <a:defRPr sz="1900" kern="1200">
                <a:solidFill>
                  <a:schemeClr val="tx1"/>
                </a:solidFill>
                <a:latin typeface="+mn-lt"/>
                <a:ea typeface="+mn-ea"/>
                <a:cs typeface="+mn-cs"/>
              </a:defRPr>
            </a:lvl9pPr>
          </a:lstStyle>
          <a:p>
            <a:pPr algn="r"/>
            <a:fld id="{B6F15528-21DE-4FAA-801E-634DDDAF4B2B}" type="slidenum">
              <a:rPr lang="en-US" sz="1100">
                <a:latin typeface="Segoe UI" pitchFamily="34" charset="0"/>
                <a:ea typeface="Segoe UI" pitchFamily="34" charset="0"/>
                <a:cs typeface="Segoe UI" pitchFamily="34" charset="0"/>
              </a:rPr>
              <a:pPr algn="r"/>
              <a:t>395</a:t>
            </a:fld>
            <a:endParaRPr lang="en-US" sz="1100" dirty="0">
              <a:latin typeface="Segoe UI" pitchFamily="34" charset="0"/>
              <a:ea typeface="Segoe UI" pitchFamily="34" charset="0"/>
              <a:cs typeface="Segoe UI" pitchFamily="34" charset="0"/>
            </a:endParaRPr>
          </a:p>
        </p:txBody>
      </p:sp>
      <p:sp>
        <p:nvSpPr>
          <p:cNvPr id="25"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6"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0"/>
              </a:rPr>
              <a:t>www.rapidbbs.cn</a:t>
            </a:r>
            <a:endParaRPr lang="zh-CN" altLang="en-US" sz="1200" b="0">
              <a:latin typeface="Arial" charset="0"/>
              <a:ea typeface="ＭＳ Ｐゴシック" pitchFamily="34" charset="-128"/>
            </a:endParaRPr>
          </a:p>
        </p:txBody>
      </p:sp>
      <p:pic>
        <p:nvPicPr>
          <p:cNvPr id="27" name="Picture 2">
            <a:hlinkClick r:id="rId10"/>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974040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89436" y="171456"/>
            <a:ext cx="8363938" cy="415499"/>
          </a:xfrm>
        </p:spPr>
        <p:txBody>
          <a:bodyPr/>
          <a:lstStyle/>
          <a:p>
            <a:r>
              <a:rPr lang="en-US" sz="3000" dirty="0"/>
              <a:t>Comprehensive Management Solution</a:t>
            </a:r>
          </a:p>
        </p:txBody>
      </p:sp>
      <p:sp>
        <p:nvSpPr>
          <p:cNvPr id="18" name="Content Placeholder 17"/>
          <p:cNvSpPr>
            <a:spLocks noGrp="1"/>
          </p:cNvSpPr>
          <p:nvPr>
            <p:ph sz="half" idx="4294967295"/>
          </p:nvPr>
        </p:nvSpPr>
        <p:spPr>
          <a:xfrm>
            <a:off x="2627202" y="3287316"/>
            <a:ext cx="1830468" cy="1094184"/>
          </a:xfrm>
        </p:spPr>
        <p:txBody>
          <a:bodyPr>
            <a:noAutofit/>
          </a:bodyPr>
          <a:lstStyle/>
          <a:p>
            <a:pPr marL="171417" indent="-171417"/>
            <a:r>
              <a:rPr lang="en-US" sz="1100" dirty="0">
                <a:solidFill>
                  <a:schemeClr val="tx1">
                    <a:lumMod val="85000"/>
                  </a:schemeClr>
                </a:solidFill>
                <a:latin typeface="Segoe UI Light" pitchFamily="34" charset="0"/>
              </a:rPr>
              <a:t>Physical, virtual, and cloud</a:t>
            </a:r>
          </a:p>
          <a:p>
            <a:pPr marL="171417" indent="-171417"/>
            <a:r>
              <a:rPr lang="en-US" sz="1100" dirty="0">
                <a:solidFill>
                  <a:schemeClr val="tx1">
                    <a:lumMod val="85000"/>
                  </a:schemeClr>
                </a:solidFill>
                <a:latin typeface="Segoe UI Light" pitchFamily="34" charset="0"/>
              </a:rPr>
              <a:t>Consistent user experience</a:t>
            </a:r>
          </a:p>
          <a:p>
            <a:pPr marL="171417" indent="-171417"/>
            <a:r>
              <a:rPr lang="en-US" sz="1100" dirty="0">
                <a:solidFill>
                  <a:schemeClr val="tx1">
                    <a:lumMod val="85000"/>
                  </a:schemeClr>
                </a:solidFill>
                <a:latin typeface="Segoe UI Light" pitchFamily="34" charset="0"/>
              </a:rPr>
              <a:t>Self-servicing </a:t>
            </a:r>
          </a:p>
          <a:p>
            <a:pPr marL="171417" indent="-171417"/>
            <a:r>
              <a:rPr lang="en-US" sz="1100" dirty="0">
                <a:solidFill>
                  <a:schemeClr val="tx1">
                    <a:lumMod val="85000"/>
                  </a:schemeClr>
                </a:solidFill>
                <a:latin typeface="Segoe UI Light" pitchFamily="34" charset="0"/>
              </a:rPr>
              <a:t>Beyond virtualization</a:t>
            </a:r>
          </a:p>
          <a:p>
            <a:pPr marL="171417" indent="-171417"/>
            <a:r>
              <a:rPr lang="en-US" sz="1100" dirty="0">
                <a:solidFill>
                  <a:schemeClr val="tx1">
                    <a:lumMod val="85000"/>
                  </a:schemeClr>
                </a:solidFill>
                <a:latin typeface="Segoe UI Light" pitchFamily="34" charset="0"/>
              </a:rPr>
              <a:t>Deep application insights</a:t>
            </a:r>
          </a:p>
        </p:txBody>
      </p:sp>
      <p:sp>
        <p:nvSpPr>
          <p:cNvPr id="11" name="Rectangle 10"/>
          <p:cNvSpPr/>
          <p:nvPr/>
        </p:nvSpPr>
        <p:spPr bwMode="auto">
          <a:xfrm>
            <a:off x="2589460" y="1333509"/>
            <a:ext cx="1877135" cy="1877135"/>
          </a:xfrm>
          <a:prstGeom prst="rect">
            <a:avLst/>
          </a:prstGeom>
          <a:solidFill>
            <a:srgbClr val="59D0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4" tIns="45702" rIns="45702" bIns="91404" numCol="1" spcCol="0" rtlCol="0" fromWordArt="0" anchor="b" anchorCtr="0" forceAA="0" compatLnSpc="1">
            <a:prstTxWarp prst="textNoShape">
              <a:avLst/>
            </a:prstTxWarp>
            <a:noAutofit/>
          </a:bodyPr>
          <a:lstStyle/>
          <a:p>
            <a:pPr defTabSz="913757" fontAlgn="base">
              <a:spcBef>
                <a:spcPct val="0"/>
              </a:spcBef>
              <a:spcAft>
                <a:spcPct val="0"/>
              </a:spcAft>
            </a:pPr>
            <a:r>
              <a:rPr lang="en-US" sz="2000" spc="-50" dirty="0">
                <a:solidFill>
                  <a:schemeClr val="bg1"/>
                </a:solidFill>
                <a:latin typeface="Segoe UI Light" pitchFamily="34" charset="0"/>
                <a:ea typeface="Segoe UI" pitchFamily="34" charset="0"/>
                <a:cs typeface="Segoe UI" pitchFamily="34" charset="0"/>
              </a:rPr>
              <a:t>Application Management</a:t>
            </a:r>
          </a:p>
        </p:txBody>
      </p:sp>
      <p:sp>
        <p:nvSpPr>
          <p:cNvPr id="12" name="Rectangle 11"/>
          <p:cNvSpPr/>
          <p:nvPr/>
        </p:nvSpPr>
        <p:spPr bwMode="auto">
          <a:xfrm>
            <a:off x="609609" y="1333509"/>
            <a:ext cx="1877135" cy="1877135"/>
          </a:xfrm>
          <a:prstGeom prst="rect">
            <a:avLst/>
          </a:prstGeom>
          <a:solidFill>
            <a:srgbClr val="FF53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4" tIns="45702" rIns="45702" bIns="91404" numCol="1" spcCol="0" rtlCol="0" fromWordArt="0" anchor="b" anchorCtr="0" forceAA="0" compatLnSpc="1">
            <a:prstTxWarp prst="textNoShape">
              <a:avLst/>
            </a:prstTxWarp>
            <a:noAutofit/>
          </a:bodyPr>
          <a:lstStyle/>
          <a:p>
            <a:pPr defTabSz="913757" fontAlgn="base">
              <a:spcBef>
                <a:spcPct val="0"/>
              </a:spcBef>
              <a:spcAft>
                <a:spcPct val="0"/>
              </a:spcAft>
            </a:pPr>
            <a:r>
              <a:rPr lang="en-US" sz="2000" b="1" spc="-50" dirty="0">
                <a:solidFill>
                  <a:schemeClr val="bg1"/>
                </a:solidFill>
                <a:latin typeface="Segoe UI Light" pitchFamily="34" charset="0"/>
                <a:ea typeface="Segoe UI" pitchFamily="34" charset="0"/>
                <a:cs typeface="Segoe UI" pitchFamily="34" charset="0"/>
              </a:rPr>
              <a:t>Private Cloud Management</a:t>
            </a:r>
          </a:p>
        </p:txBody>
      </p:sp>
      <p:sp>
        <p:nvSpPr>
          <p:cNvPr id="13" name="Rectangle 12"/>
          <p:cNvSpPr/>
          <p:nvPr/>
        </p:nvSpPr>
        <p:spPr bwMode="auto">
          <a:xfrm>
            <a:off x="6551860" y="1333509"/>
            <a:ext cx="1877135" cy="1877135"/>
          </a:xfrm>
          <a:prstGeom prst="rect">
            <a:avLst/>
          </a:prstGeom>
          <a:solidFill>
            <a:srgbClr val="59D0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4" tIns="45702" rIns="45702" bIns="91404" numCol="1" spcCol="0" rtlCol="0" fromWordArt="0" anchor="b" anchorCtr="0" forceAA="0" compatLnSpc="1">
            <a:prstTxWarp prst="textNoShape">
              <a:avLst/>
            </a:prstTxWarp>
            <a:noAutofit/>
          </a:bodyPr>
          <a:lstStyle/>
          <a:p>
            <a:pPr defTabSz="913757" fontAlgn="base">
              <a:spcBef>
                <a:spcPct val="0"/>
              </a:spcBef>
              <a:spcAft>
                <a:spcPct val="0"/>
              </a:spcAft>
            </a:pPr>
            <a:r>
              <a:rPr lang="en-US" sz="2000" spc="-50" dirty="0">
                <a:solidFill>
                  <a:schemeClr val="bg1"/>
                </a:solidFill>
                <a:latin typeface="Segoe UI Light" pitchFamily="34" charset="0"/>
                <a:ea typeface="Segoe UI" pitchFamily="34" charset="0"/>
                <a:cs typeface="Segoe UI" pitchFamily="34" charset="0"/>
              </a:rPr>
              <a:t>Infrastructure Management</a:t>
            </a:r>
          </a:p>
        </p:txBody>
      </p:sp>
      <p:sp>
        <p:nvSpPr>
          <p:cNvPr id="14" name="Rectangle 13"/>
          <p:cNvSpPr/>
          <p:nvPr/>
        </p:nvSpPr>
        <p:spPr bwMode="auto">
          <a:xfrm>
            <a:off x="4572009" y="1333509"/>
            <a:ext cx="1877135" cy="1877135"/>
          </a:xfrm>
          <a:prstGeom prst="rect">
            <a:avLst/>
          </a:prstGeom>
          <a:solidFill>
            <a:srgbClr val="59D0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4" tIns="45702" rIns="45702" bIns="91404" numCol="1" spcCol="0" rtlCol="0" fromWordArt="0" anchor="b" anchorCtr="0" forceAA="0" compatLnSpc="1">
            <a:prstTxWarp prst="textNoShape">
              <a:avLst/>
            </a:prstTxWarp>
            <a:noAutofit/>
          </a:bodyPr>
          <a:lstStyle/>
          <a:p>
            <a:pPr defTabSz="913757" fontAlgn="base">
              <a:spcBef>
                <a:spcPct val="0"/>
              </a:spcBef>
              <a:spcAft>
                <a:spcPct val="0"/>
              </a:spcAft>
            </a:pPr>
            <a:r>
              <a:rPr lang="en-US" sz="2000" spc="-50" dirty="0">
                <a:solidFill>
                  <a:schemeClr val="bg1"/>
                </a:solidFill>
                <a:latin typeface="Segoe UI Light" pitchFamily="34" charset="0"/>
                <a:ea typeface="Segoe UI" pitchFamily="34" charset="0"/>
                <a:cs typeface="Segoe UI" pitchFamily="34" charset="0"/>
              </a:rPr>
              <a:t>Service Delivery Management</a:t>
            </a:r>
          </a:p>
        </p:txBody>
      </p:sp>
      <p:sp>
        <p:nvSpPr>
          <p:cNvPr id="21" name="Content Placeholder 17"/>
          <p:cNvSpPr txBox="1">
            <a:spLocks/>
          </p:cNvSpPr>
          <p:nvPr/>
        </p:nvSpPr>
        <p:spPr>
          <a:xfrm>
            <a:off x="4514126" y="3226934"/>
            <a:ext cx="1830388" cy="803275"/>
          </a:xfrm>
          <a:prstGeom prst="rect">
            <a:avLst/>
          </a:prstGeom>
        </p:spPr>
        <p:txBody>
          <a:bodyPr vert="horz" lIns="91396" tIns="45698" rIns="91396" bIns="45698" rtlCol="0">
            <a:noAutofit/>
          </a:bodyPr>
          <a:lstStyle>
            <a:lvl1pPr marL="342871" indent="-342871" algn="l" defTabSz="457162" rtl="0" eaLnBrk="1" latinLnBrk="0" hangingPunct="1">
              <a:spcBef>
                <a:spcPct val="20000"/>
              </a:spcBef>
              <a:buClr>
                <a:srgbClr val="00AFDB"/>
              </a:buClr>
              <a:buFont typeface="Arial"/>
              <a:buChar char="•"/>
              <a:defRPr sz="2400" b="0" i="0" kern="1200">
                <a:solidFill>
                  <a:srgbClr val="00467F"/>
                </a:solidFill>
                <a:latin typeface="Segoe UI"/>
                <a:ea typeface="+mn-ea"/>
                <a:cs typeface="Segoe UI"/>
              </a:defRPr>
            </a:lvl1pPr>
            <a:lvl2pPr marL="742888" indent="-285726" algn="l" defTabSz="457162" rtl="0" eaLnBrk="1" latinLnBrk="0" hangingPunct="1">
              <a:spcBef>
                <a:spcPct val="20000"/>
              </a:spcBef>
              <a:buClr>
                <a:srgbClr val="00AFDB"/>
              </a:buClr>
              <a:buFont typeface="Arial"/>
              <a:buChar char="–"/>
              <a:defRPr sz="2400" b="0" i="0" kern="1200">
                <a:solidFill>
                  <a:srgbClr val="00467F"/>
                </a:solidFill>
                <a:latin typeface="Segoe UI"/>
                <a:ea typeface="+mn-ea"/>
                <a:cs typeface="Segoe UI"/>
              </a:defRPr>
            </a:lvl2pPr>
            <a:lvl3pPr marL="1142904" indent="-228582" algn="l" defTabSz="457162" rtl="0" eaLnBrk="1" latinLnBrk="0" hangingPunct="1">
              <a:spcBef>
                <a:spcPct val="20000"/>
              </a:spcBef>
              <a:buClr>
                <a:srgbClr val="00AFDB"/>
              </a:buClr>
              <a:buFont typeface="Arial"/>
              <a:buChar char="•"/>
              <a:defRPr sz="2000" b="0" i="0" kern="1200">
                <a:solidFill>
                  <a:srgbClr val="00467F"/>
                </a:solidFill>
                <a:latin typeface="Segoe UI"/>
                <a:ea typeface="+mn-ea"/>
                <a:cs typeface="Segoe UI"/>
              </a:defRPr>
            </a:lvl3pPr>
            <a:lvl4pPr marL="1600068" indent="-228582" algn="l" defTabSz="457162" rtl="0" eaLnBrk="1" latinLnBrk="0" hangingPunct="1">
              <a:spcBef>
                <a:spcPct val="20000"/>
              </a:spcBef>
              <a:buClr>
                <a:srgbClr val="00AFDB"/>
              </a:buClr>
              <a:buFont typeface="Arial"/>
              <a:buChar char="–"/>
              <a:defRPr sz="1600" b="0" i="0" kern="1200">
                <a:solidFill>
                  <a:srgbClr val="00467F"/>
                </a:solidFill>
                <a:latin typeface="Segoe UI"/>
                <a:ea typeface="+mn-ea"/>
                <a:cs typeface="Segoe UI"/>
              </a:defRPr>
            </a:lvl4pPr>
            <a:lvl5pPr marL="2057228" indent="-228582" algn="l" defTabSz="457162" rtl="0" eaLnBrk="1" latinLnBrk="0" hangingPunct="1">
              <a:spcBef>
                <a:spcPct val="20000"/>
              </a:spcBef>
              <a:buClr>
                <a:srgbClr val="00AFDB"/>
              </a:buClr>
              <a:buFont typeface="Arial"/>
              <a:buChar char="•"/>
              <a:defRPr sz="1600" b="0" i="0" kern="1200">
                <a:solidFill>
                  <a:srgbClr val="00467F"/>
                </a:solidFill>
                <a:latin typeface="Segoe UI"/>
                <a:ea typeface="+mn-ea"/>
                <a:cs typeface="Segoe UI"/>
              </a:defRPr>
            </a:lvl5pPr>
            <a:lvl6pPr marL="2514390" indent="-228582" algn="l" defTabSz="457162" rtl="0" eaLnBrk="1" latinLnBrk="0" hangingPunct="1">
              <a:spcBef>
                <a:spcPct val="20000"/>
              </a:spcBef>
              <a:buFont typeface="Arial"/>
              <a:buChar char="•"/>
              <a:defRPr sz="2000" kern="1200">
                <a:solidFill>
                  <a:schemeClr val="tx1"/>
                </a:solidFill>
                <a:latin typeface="+mn-lt"/>
                <a:ea typeface="+mn-ea"/>
                <a:cs typeface="+mn-cs"/>
              </a:defRPr>
            </a:lvl6pPr>
            <a:lvl7pPr marL="2971552" indent="-228582" algn="l" defTabSz="457162" rtl="0" eaLnBrk="1" latinLnBrk="0" hangingPunct="1">
              <a:spcBef>
                <a:spcPct val="20000"/>
              </a:spcBef>
              <a:buFont typeface="Arial"/>
              <a:buChar char="•"/>
              <a:defRPr sz="2000" kern="1200">
                <a:solidFill>
                  <a:schemeClr val="tx1"/>
                </a:solidFill>
                <a:latin typeface="+mn-lt"/>
                <a:ea typeface="+mn-ea"/>
                <a:cs typeface="+mn-cs"/>
              </a:defRPr>
            </a:lvl7pPr>
            <a:lvl8pPr marL="3428714" indent="-228582" algn="l" defTabSz="457162" rtl="0" eaLnBrk="1" latinLnBrk="0" hangingPunct="1">
              <a:spcBef>
                <a:spcPct val="20000"/>
              </a:spcBef>
              <a:buFont typeface="Arial"/>
              <a:buChar char="•"/>
              <a:defRPr sz="2000" kern="1200">
                <a:solidFill>
                  <a:schemeClr val="tx1"/>
                </a:solidFill>
                <a:latin typeface="+mn-lt"/>
                <a:ea typeface="+mn-ea"/>
                <a:cs typeface="+mn-cs"/>
              </a:defRPr>
            </a:lvl8pPr>
            <a:lvl9pPr marL="3885876" indent="-228582" algn="l" defTabSz="457162" rtl="0" eaLnBrk="1" latinLnBrk="0" hangingPunct="1">
              <a:spcBef>
                <a:spcPct val="20000"/>
              </a:spcBef>
              <a:buFont typeface="Arial"/>
              <a:buChar char="•"/>
              <a:defRPr sz="2000" kern="1200">
                <a:solidFill>
                  <a:schemeClr val="tx1"/>
                </a:solidFill>
                <a:latin typeface="+mn-lt"/>
                <a:ea typeface="+mn-ea"/>
                <a:cs typeface="+mn-cs"/>
              </a:defRPr>
            </a:lvl9pPr>
          </a:lstStyle>
          <a:p>
            <a:pPr marL="171417" indent="-171417">
              <a:buClr>
                <a:schemeClr val="accent2"/>
              </a:buClr>
              <a:buFont typeface="Wingdings" pitchFamily="2" charset="2"/>
              <a:buChar char="§"/>
            </a:pPr>
            <a:r>
              <a:rPr lang="en-US" sz="1100" dirty="0">
                <a:solidFill>
                  <a:schemeClr val="tx1">
                    <a:lumMod val="85000"/>
                  </a:schemeClr>
                </a:solidFill>
                <a:latin typeface="Segoe UI Light" pitchFamily="34" charset="0"/>
              </a:rPr>
              <a:t>Workflow </a:t>
            </a:r>
          </a:p>
          <a:p>
            <a:pPr marL="171417" indent="-171417">
              <a:buClr>
                <a:schemeClr val="accent2"/>
              </a:buClr>
              <a:buFont typeface="Wingdings" pitchFamily="2" charset="2"/>
              <a:buChar char="§"/>
            </a:pPr>
            <a:r>
              <a:rPr lang="en-US" sz="1100" dirty="0">
                <a:solidFill>
                  <a:schemeClr val="tx1">
                    <a:lumMod val="85000"/>
                  </a:schemeClr>
                </a:solidFill>
                <a:latin typeface="Segoe UI Light" pitchFamily="34" charset="0"/>
              </a:rPr>
              <a:t>Task automation</a:t>
            </a:r>
          </a:p>
          <a:p>
            <a:pPr marL="171417" indent="-171417">
              <a:buClr>
                <a:schemeClr val="accent2"/>
              </a:buClr>
              <a:buFont typeface="Wingdings" pitchFamily="2" charset="2"/>
              <a:buChar char="§"/>
            </a:pPr>
            <a:r>
              <a:rPr lang="en-US" sz="1100" dirty="0">
                <a:solidFill>
                  <a:schemeClr val="tx1">
                    <a:lumMod val="85000"/>
                  </a:schemeClr>
                </a:solidFill>
                <a:latin typeface="Segoe UI Light" pitchFamily="34" charset="0"/>
              </a:rPr>
              <a:t>Process orchestration</a:t>
            </a:r>
          </a:p>
          <a:p>
            <a:pPr marL="171417" indent="-171417">
              <a:buClr>
                <a:schemeClr val="accent2"/>
              </a:buClr>
              <a:buFont typeface="Wingdings" pitchFamily="2" charset="2"/>
              <a:buChar char="§"/>
            </a:pPr>
            <a:r>
              <a:rPr lang="en-US" sz="1100" dirty="0">
                <a:solidFill>
                  <a:schemeClr val="tx1">
                    <a:lumMod val="85000"/>
                  </a:schemeClr>
                </a:solidFill>
                <a:latin typeface="Segoe UI Light" pitchFamily="34" charset="0"/>
              </a:rPr>
              <a:t>Change management</a:t>
            </a:r>
          </a:p>
        </p:txBody>
      </p:sp>
      <p:sp>
        <p:nvSpPr>
          <p:cNvPr id="22" name="Content Placeholder 17"/>
          <p:cNvSpPr txBox="1">
            <a:spLocks/>
          </p:cNvSpPr>
          <p:nvPr/>
        </p:nvSpPr>
        <p:spPr>
          <a:xfrm>
            <a:off x="6551612" y="3238509"/>
            <a:ext cx="2058988" cy="1094665"/>
          </a:xfrm>
          <a:prstGeom prst="rect">
            <a:avLst/>
          </a:prstGeom>
        </p:spPr>
        <p:txBody>
          <a:bodyPr vert="horz" lIns="91396" tIns="45698" rIns="91396" bIns="45698" rtlCol="0">
            <a:noAutofit/>
          </a:bodyPr>
          <a:lstStyle>
            <a:lvl1pPr marL="342871" indent="-342871" algn="l" defTabSz="457162" rtl="0" eaLnBrk="1" latinLnBrk="0" hangingPunct="1">
              <a:spcBef>
                <a:spcPct val="20000"/>
              </a:spcBef>
              <a:buClr>
                <a:srgbClr val="00AFDB"/>
              </a:buClr>
              <a:buFont typeface="Arial"/>
              <a:buChar char="•"/>
              <a:defRPr sz="2400" b="0" i="0" kern="1200">
                <a:solidFill>
                  <a:srgbClr val="00467F"/>
                </a:solidFill>
                <a:latin typeface="Segoe UI"/>
                <a:ea typeface="+mn-ea"/>
                <a:cs typeface="Segoe UI"/>
              </a:defRPr>
            </a:lvl1pPr>
            <a:lvl2pPr marL="742888" indent="-285726" algn="l" defTabSz="457162" rtl="0" eaLnBrk="1" latinLnBrk="0" hangingPunct="1">
              <a:spcBef>
                <a:spcPct val="20000"/>
              </a:spcBef>
              <a:buClr>
                <a:srgbClr val="00AFDB"/>
              </a:buClr>
              <a:buFont typeface="Arial"/>
              <a:buChar char="–"/>
              <a:defRPr sz="2400" b="0" i="0" kern="1200">
                <a:solidFill>
                  <a:srgbClr val="00467F"/>
                </a:solidFill>
                <a:latin typeface="Segoe UI"/>
                <a:ea typeface="+mn-ea"/>
                <a:cs typeface="Segoe UI"/>
              </a:defRPr>
            </a:lvl2pPr>
            <a:lvl3pPr marL="1142904" indent="-228582" algn="l" defTabSz="457162" rtl="0" eaLnBrk="1" latinLnBrk="0" hangingPunct="1">
              <a:spcBef>
                <a:spcPct val="20000"/>
              </a:spcBef>
              <a:buClr>
                <a:srgbClr val="00AFDB"/>
              </a:buClr>
              <a:buFont typeface="Arial"/>
              <a:buChar char="•"/>
              <a:defRPr sz="2000" b="0" i="0" kern="1200">
                <a:solidFill>
                  <a:srgbClr val="00467F"/>
                </a:solidFill>
                <a:latin typeface="Segoe UI"/>
                <a:ea typeface="+mn-ea"/>
                <a:cs typeface="Segoe UI"/>
              </a:defRPr>
            </a:lvl3pPr>
            <a:lvl4pPr marL="1600068" indent="-228582" algn="l" defTabSz="457162" rtl="0" eaLnBrk="1" latinLnBrk="0" hangingPunct="1">
              <a:spcBef>
                <a:spcPct val="20000"/>
              </a:spcBef>
              <a:buClr>
                <a:srgbClr val="00AFDB"/>
              </a:buClr>
              <a:buFont typeface="Arial"/>
              <a:buChar char="–"/>
              <a:defRPr sz="1600" b="0" i="0" kern="1200">
                <a:solidFill>
                  <a:srgbClr val="00467F"/>
                </a:solidFill>
                <a:latin typeface="Segoe UI"/>
                <a:ea typeface="+mn-ea"/>
                <a:cs typeface="Segoe UI"/>
              </a:defRPr>
            </a:lvl4pPr>
            <a:lvl5pPr marL="2057228" indent="-228582" algn="l" defTabSz="457162" rtl="0" eaLnBrk="1" latinLnBrk="0" hangingPunct="1">
              <a:spcBef>
                <a:spcPct val="20000"/>
              </a:spcBef>
              <a:buClr>
                <a:srgbClr val="00AFDB"/>
              </a:buClr>
              <a:buFont typeface="Arial"/>
              <a:buChar char="•"/>
              <a:defRPr sz="1600" b="0" i="0" kern="1200">
                <a:solidFill>
                  <a:srgbClr val="00467F"/>
                </a:solidFill>
                <a:latin typeface="Segoe UI"/>
                <a:ea typeface="+mn-ea"/>
                <a:cs typeface="Segoe UI"/>
              </a:defRPr>
            </a:lvl5pPr>
            <a:lvl6pPr marL="2514390" indent="-228582" algn="l" defTabSz="457162" rtl="0" eaLnBrk="1" latinLnBrk="0" hangingPunct="1">
              <a:spcBef>
                <a:spcPct val="20000"/>
              </a:spcBef>
              <a:buFont typeface="Arial"/>
              <a:buChar char="•"/>
              <a:defRPr sz="2000" kern="1200">
                <a:solidFill>
                  <a:schemeClr val="tx1"/>
                </a:solidFill>
                <a:latin typeface="+mn-lt"/>
                <a:ea typeface="+mn-ea"/>
                <a:cs typeface="+mn-cs"/>
              </a:defRPr>
            </a:lvl6pPr>
            <a:lvl7pPr marL="2971552" indent="-228582" algn="l" defTabSz="457162" rtl="0" eaLnBrk="1" latinLnBrk="0" hangingPunct="1">
              <a:spcBef>
                <a:spcPct val="20000"/>
              </a:spcBef>
              <a:buFont typeface="Arial"/>
              <a:buChar char="•"/>
              <a:defRPr sz="2000" kern="1200">
                <a:solidFill>
                  <a:schemeClr val="tx1"/>
                </a:solidFill>
                <a:latin typeface="+mn-lt"/>
                <a:ea typeface="+mn-ea"/>
                <a:cs typeface="+mn-cs"/>
              </a:defRPr>
            </a:lvl7pPr>
            <a:lvl8pPr marL="3428714" indent="-228582" algn="l" defTabSz="457162" rtl="0" eaLnBrk="1" latinLnBrk="0" hangingPunct="1">
              <a:spcBef>
                <a:spcPct val="20000"/>
              </a:spcBef>
              <a:buFont typeface="Arial"/>
              <a:buChar char="•"/>
              <a:defRPr sz="2000" kern="1200">
                <a:solidFill>
                  <a:schemeClr val="tx1"/>
                </a:solidFill>
                <a:latin typeface="+mn-lt"/>
                <a:ea typeface="+mn-ea"/>
                <a:cs typeface="+mn-cs"/>
              </a:defRPr>
            </a:lvl8pPr>
            <a:lvl9pPr marL="3885876" indent="-228582" algn="l" defTabSz="457162" rtl="0" eaLnBrk="1" latinLnBrk="0" hangingPunct="1">
              <a:spcBef>
                <a:spcPct val="20000"/>
              </a:spcBef>
              <a:buFont typeface="Arial"/>
              <a:buChar char="•"/>
              <a:defRPr sz="2000" kern="1200">
                <a:solidFill>
                  <a:schemeClr val="tx1"/>
                </a:solidFill>
                <a:latin typeface="+mn-lt"/>
                <a:ea typeface="+mn-ea"/>
                <a:cs typeface="+mn-cs"/>
              </a:defRPr>
            </a:lvl9pPr>
          </a:lstStyle>
          <a:p>
            <a:pPr marL="171417" indent="-171417">
              <a:buClr>
                <a:schemeClr val="accent2"/>
              </a:buClr>
              <a:buFont typeface="Wingdings" pitchFamily="2" charset="2"/>
              <a:buChar char="§"/>
            </a:pPr>
            <a:r>
              <a:rPr lang="en-US" sz="1100" dirty="0">
                <a:solidFill>
                  <a:schemeClr val="tx1">
                    <a:lumMod val="85000"/>
                  </a:schemeClr>
                </a:solidFill>
                <a:latin typeface="Segoe UI Light" pitchFamily="34" charset="0"/>
              </a:rPr>
              <a:t>Configuring</a:t>
            </a:r>
          </a:p>
          <a:p>
            <a:pPr marL="171417" indent="-171417">
              <a:buClr>
                <a:schemeClr val="accent2"/>
              </a:buClr>
              <a:buFont typeface="Wingdings" pitchFamily="2" charset="2"/>
              <a:buChar char="§"/>
            </a:pPr>
            <a:r>
              <a:rPr lang="en-US" sz="1100" dirty="0">
                <a:solidFill>
                  <a:schemeClr val="tx1">
                    <a:lumMod val="85000"/>
                  </a:schemeClr>
                </a:solidFill>
                <a:latin typeface="Segoe UI Light" pitchFamily="34" charset="0"/>
              </a:rPr>
              <a:t>Deploying</a:t>
            </a:r>
          </a:p>
          <a:p>
            <a:pPr marL="171417" indent="-171417">
              <a:buClr>
                <a:schemeClr val="accent2"/>
              </a:buClr>
              <a:buFont typeface="Wingdings" pitchFamily="2" charset="2"/>
              <a:buChar char="§"/>
            </a:pPr>
            <a:r>
              <a:rPr lang="en-US" sz="1100" dirty="0">
                <a:solidFill>
                  <a:schemeClr val="tx1">
                    <a:lumMod val="85000"/>
                  </a:schemeClr>
                </a:solidFill>
                <a:latin typeface="Segoe UI Light" pitchFamily="34" charset="0"/>
              </a:rPr>
              <a:t>Monitoring</a:t>
            </a:r>
          </a:p>
          <a:p>
            <a:pPr marL="171417" indent="-171417">
              <a:buClr>
                <a:schemeClr val="accent2"/>
              </a:buClr>
              <a:buFont typeface="Wingdings" pitchFamily="2" charset="2"/>
              <a:buChar char="§"/>
            </a:pPr>
            <a:r>
              <a:rPr lang="en-US" sz="1100" dirty="0">
                <a:solidFill>
                  <a:schemeClr val="tx1">
                    <a:lumMod val="85000"/>
                  </a:schemeClr>
                </a:solidFill>
                <a:latin typeface="Segoe UI Light" pitchFamily="34" charset="0"/>
              </a:rPr>
              <a:t>Operating</a:t>
            </a:r>
          </a:p>
          <a:p>
            <a:pPr marL="171417" indent="-171417">
              <a:buClr>
                <a:schemeClr val="accent2"/>
              </a:buClr>
              <a:buFont typeface="Wingdings" pitchFamily="2" charset="2"/>
              <a:buChar char="§"/>
            </a:pPr>
            <a:r>
              <a:rPr lang="en-US" sz="1100" dirty="0">
                <a:solidFill>
                  <a:schemeClr val="tx1">
                    <a:lumMod val="85000"/>
                  </a:schemeClr>
                </a:solidFill>
                <a:latin typeface="Segoe UI Light" pitchFamily="34" charset="0"/>
              </a:rPr>
              <a:t>Heterogeneous environment</a:t>
            </a:r>
          </a:p>
          <a:p>
            <a:pPr marL="171417" indent="-171417">
              <a:buClr>
                <a:schemeClr val="accent2"/>
              </a:buClr>
              <a:buFont typeface="Wingdings" pitchFamily="2" charset="2"/>
              <a:buChar char="§"/>
            </a:pPr>
            <a:r>
              <a:rPr lang="en-US" sz="1100" dirty="0">
                <a:solidFill>
                  <a:schemeClr val="tx1">
                    <a:lumMod val="85000"/>
                  </a:schemeClr>
                </a:solidFill>
                <a:latin typeface="Segoe UI Light" pitchFamily="34" charset="0"/>
              </a:rPr>
              <a:t>Data security</a:t>
            </a:r>
          </a:p>
        </p:txBody>
      </p:sp>
      <p:sp>
        <p:nvSpPr>
          <p:cNvPr id="47" name="Content Placeholder 17"/>
          <p:cNvSpPr txBox="1">
            <a:spLocks/>
          </p:cNvSpPr>
          <p:nvPr/>
        </p:nvSpPr>
        <p:spPr>
          <a:xfrm>
            <a:off x="609599" y="3238500"/>
            <a:ext cx="1979852" cy="1219200"/>
          </a:xfrm>
          <a:prstGeom prst="rect">
            <a:avLst/>
          </a:prstGeom>
        </p:spPr>
        <p:txBody>
          <a:bodyPr vert="horz" lIns="91396" tIns="45698" rIns="91396" bIns="45698" rtlCol="0">
            <a:noAutofit/>
          </a:bodyPr>
          <a:lstStyle>
            <a:lvl1pPr marL="342871" indent="-342871" algn="l" defTabSz="457162" rtl="0" eaLnBrk="1" latinLnBrk="0" hangingPunct="1">
              <a:spcBef>
                <a:spcPct val="20000"/>
              </a:spcBef>
              <a:buClr>
                <a:srgbClr val="00AFDB"/>
              </a:buClr>
              <a:buFont typeface="Arial"/>
              <a:buChar char="•"/>
              <a:defRPr sz="2400" b="0" i="0" kern="1200">
                <a:solidFill>
                  <a:srgbClr val="00467F"/>
                </a:solidFill>
                <a:latin typeface="Segoe UI"/>
                <a:ea typeface="+mn-ea"/>
                <a:cs typeface="Segoe UI"/>
              </a:defRPr>
            </a:lvl1pPr>
            <a:lvl2pPr marL="742888" indent="-285726" algn="l" defTabSz="457162" rtl="0" eaLnBrk="1" latinLnBrk="0" hangingPunct="1">
              <a:spcBef>
                <a:spcPct val="20000"/>
              </a:spcBef>
              <a:buClr>
                <a:srgbClr val="00AFDB"/>
              </a:buClr>
              <a:buFont typeface="Arial"/>
              <a:buChar char="–"/>
              <a:defRPr sz="2400" b="0" i="0" kern="1200">
                <a:solidFill>
                  <a:srgbClr val="00467F"/>
                </a:solidFill>
                <a:latin typeface="Segoe UI"/>
                <a:ea typeface="+mn-ea"/>
                <a:cs typeface="Segoe UI"/>
              </a:defRPr>
            </a:lvl2pPr>
            <a:lvl3pPr marL="1142904" indent="-228582" algn="l" defTabSz="457162" rtl="0" eaLnBrk="1" latinLnBrk="0" hangingPunct="1">
              <a:spcBef>
                <a:spcPct val="20000"/>
              </a:spcBef>
              <a:buClr>
                <a:srgbClr val="00AFDB"/>
              </a:buClr>
              <a:buFont typeface="Arial"/>
              <a:buChar char="•"/>
              <a:defRPr sz="2000" b="0" i="0" kern="1200">
                <a:solidFill>
                  <a:srgbClr val="00467F"/>
                </a:solidFill>
                <a:latin typeface="Segoe UI"/>
                <a:ea typeface="+mn-ea"/>
                <a:cs typeface="Segoe UI"/>
              </a:defRPr>
            </a:lvl3pPr>
            <a:lvl4pPr marL="1600068" indent="-228582" algn="l" defTabSz="457162" rtl="0" eaLnBrk="1" latinLnBrk="0" hangingPunct="1">
              <a:spcBef>
                <a:spcPct val="20000"/>
              </a:spcBef>
              <a:buClr>
                <a:srgbClr val="00AFDB"/>
              </a:buClr>
              <a:buFont typeface="Arial"/>
              <a:buChar char="–"/>
              <a:defRPr sz="1600" b="0" i="0" kern="1200">
                <a:solidFill>
                  <a:srgbClr val="00467F"/>
                </a:solidFill>
                <a:latin typeface="Segoe UI"/>
                <a:ea typeface="+mn-ea"/>
                <a:cs typeface="Segoe UI"/>
              </a:defRPr>
            </a:lvl4pPr>
            <a:lvl5pPr marL="2057228" indent="-228582" algn="l" defTabSz="457162" rtl="0" eaLnBrk="1" latinLnBrk="0" hangingPunct="1">
              <a:spcBef>
                <a:spcPct val="20000"/>
              </a:spcBef>
              <a:buClr>
                <a:srgbClr val="00AFDB"/>
              </a:buClr>
              <a:buFont typeface="Arial"/>
              <a:buChar char="•"/>
              <a:defRPr sz="1600" b="0" i="0" kern="1200">
                <a:solidFill>
                  <a:srgbClr val="00467F"/>
                </a:solidFill>
                <a:latin typeface="Segoe UI"/>
                <a:ea typeface="+mn-ea"/>
                <a:cs typeface="Segoe UI"/>
              </a:defRPr>
            </a:lvl5pPr>
            <a:lvl6pPr marL="2514390" indent="-228582" algn="l" defTabSz="457162" rtl="0" eaLnBrk="1" latinLnBrk="0" hangingPunct="1">
              <a:spcBef>
                <a:spcPct val="20000"/>
              </a:spcBef>
              <a:buFont typeface="Arial"/>
              <a:buChar char="•"/>
              <a:defRPr sz="2000" kern="1200">
                <a:solidFill>
                  <a:schemeClr val="tx1"/>
                </a:solidFill>
                <a:latin typeface="+mn-lt"/>
                <a:ea typeface="+mn-ea"/>
                <a:cs typeface="+mn-cs"/>
              </a:defRPr>
            </a:lvl6pPr>
            <a:lvl7pPr marL="2971552" indent="-228582" algn="l" defTabSz="457162" rtl="0" eaLnBrk="1" latinLnBrk="0" hangingPunct="1">
              <a:spcBef>
                <a:spcPct val="20000"/>
              </a:spcBef>
              <a:buFont typeface="Arial"/>
              <a:buChar char="•"/>
              <a:defRPr sz="2000" kern="1200">
                <a:solidFill>
                  <a:schemeClr val="tx1"/>
                </a:solidFill>
                <a:latin typeface="+mn-lt"/>
                <a:ea typeface="+mn-ea"/>
                <a:cs typeface="+mn-cs"/>
              </a:defRPr>
            </a:lvl7pPr>
            <a:lvl8pPr marL="3428714" indent="-228582" algn="l" defTabSz="457162" rtl="0" eaLnBrk="1" latinLnBrk="0" hangingPunct="1">
              <a:spcBef>
                <a:spcPct val="20000"/>
              </a:spcBef>
              <a:buFont typeface="Arial"/>
              <a:buChar char="•"/>
              <a:defRPr sz="2000" kern="1200">
                <a:solidFill>
                  <a:schemeClr val="tx1"/>
                </a:solidFill>
                <a:latin typeface="+mn-lt"/>
                <a:ea typeface="+mn-ea"/>
                <a:cs typeface="+mn-cs"/>
              </a:defRPr>
            </a:lvl8pPr>
            <a:lvl9pPr marL="3885876" indent="-228582" algn="l" defTabSz="457162" rtl="0" eaLnBrk="1" latinLnBrk="0" hangingPunct="1">
              <a:spcBef>
                <a:spcPct val="20000"/>
              </a:spcBef>
              <a:buFont typeface="Arial"/>
              <a:buChar char="•"/>
              <a:defRPr sz="2000" kern="1200">
                <a:solidFill>
                  <a:schemeClr val="tx1"/>
                </a:solidFill>
                <a:latin typeface="+mn-lt"/>
                <a:ea typeface="+mn-ea"/>
                <a:cs typeface="+mn-cs"/>
              </a:defRPr>
            </a:lvl9pPr>
          </a:lstStyle>
          <a:p>
            <a:pPr marL="171417" indent="-171417">
              <a:buClr>
                <a:schemeClr val="accent2"/>
              </a:buClr>
              <a:buFont typeface="Wingdings" pitchFamily="2" charset="2"/>
              <a:buChar char="§"/>
            </a:pPr>
            <a:r>
              <a:rPr lang="en-US" sz="1100" dirty="0">
                <a:solidFill>
                  <a:schemeClr val="tx1">
                    <a:lumMod val="85000"/>
                  </a:schemeClr>
                </a:solidFill>
                <a:latin typeface="Segoe UI Light" pitchFamily="34" charset="0"/>
              </a:rPr>
              <a:t>Virtual Machine Manager</a:t>
            </a:r>
          </a:p>
          <a:p>
            <a:pPr marL="171417" indent="-171417">
              <a:buClr>
                <a:schemeClr val="accent2"/>
              </a:buClr>
              <a:buFont typeface="Wingdings" pitchFamily="2" charset="2"/>
              <a:buChar char="§"/>
            </a:pPr>
            <a:r>
              <a:rPr lang="en-US" sz="1100" dirty="0">
                <a:solidFill>
                  <a:schemeClr val="tx1">
                    <a:lumMod val="85000"/>
                  </a:schemeClr>
                </a:solidFill>
                <a:latin typeface="Segoe UI Light" pitchFamily="34" charset="0"/>
              </a:rPr>
              <a:t>Configuration Manager</a:t>
            </a:r>
          </a:p>
          <a:p>
            <a:pPr marL="171417" indent="-171417">
              <a:buClr>
                <a:schemeClr val="accent2"/>
              </a:buClr>
              <a:buFont typeface="Wingdings" pitchFamily="2" charset="2"/>
              <a:buChar char="§"/>
            </a:pPr>
            <a:r>
              <a:rPr lang="en-US" sz="1100" dirty="0">
                <a:solidFill>
                  <a:schemeClr val="tx1">
                    <a:lumMod val="85000"/>
                  </a:schemeClr>
                </a:solidFill>
                <a:latin typeface="Segoe UI Light" pitchFamily="34" charset="0"/>
              </a:rPr>
              <a:t>Operations Manager</a:t>
            </a:r>
          </a:p>
          <a:p>
            <a:pPr marL="171417" indent="-171417">
              <a:buClr>
                <a:schemeClr val="accent2"/>
              </a:buClr>
              <a:buFont typeface="Wingdings" pitchFamily="2" charset="2"/>
              <a:buChar char="§"/>
            </a:pPr>
            <a:r>
              <a:rPr lang="en-US" sz="1100" dirty="0">
                <a:solidFill>
                  <a:schemeClr val="tx1">
                    <a:lumMod val="85000"/>
                  </a:schemeClr>
                </a:solidFill>
                <a:latin typeface="Segoe UI Light" pitchFamily="34" charset="0"/>
              </a:rPr>
              <a:t>Data Protection Manager </a:t>
            </a:r>
          </a:p>
          <a:p>
            <a:pPr marL="171417" indent="-171417">
              <a:buClr>
                <a:schemeClr val="accent2"/>
              </a:buClr>
              <a:buFont typeface="Wingdings" pitchFamily="2" charset="2"/>
              <a:buChar char="§"/>
            </a:pPr>
            <a:r>
              <a:rPr lang="en-US" sz="1100" dirty="0">
                <a:solidFill>
                  <a:schemeClr val="tx1">
                    <a:lumMod val="85000"/>
                  </a:schemeClr>
                </a:solidFill>
                <a:latin typeface="Segoe UI Light" pitchFamily="34" charset="0"/>
              </a:rPr>
              <a:t>Service Manager</a:t>
            </a:r>
          </a:p>
          <a:p>
            <a:pPr marL="171417" indent="-171417">
              <a:buClr>
                <a:schemeClr val="accent2"/>
              </a:buClr>
              <a:buFont typeface="Wingdings" pitchFamily="2" charset="2"/>
              <a:buChar char="§"/>
            </a:pPr>
            <a:r>
              <a:rPr lang="en-US" sz="1100" dirty="0">
                <a:solidFill>
                  <a:schemeClr val="tx1">
                    <a:lumMod val="85000"/>
                  </a:schemeClr>
                </a:solidFill>
                <a:latin typeface="Segoe UI Light" pitchFamily="34" charset="0"/>
              </a:rPr>
              <a:t>Orchestrator</a:t>
            </a:r>
          </a:p>
          <a:p>
            <a:pPr marL="171417" indent="-171417">
              <a:buClr>
                <a:schemeClr val="accent2"/>
              </a:buClr>
              <a:buFont typeface="Wingdings" pitchFamily="2" charset="2"/>
              <a:buChar char="§"/>
            </a:pPr>
            <a:r>
              <a:rPr lang="en-US" sz="1100" dirty="0">
                <a:solidFill>
                  <a:schemeClr val="tx1">
                    <a:lumMod val="85000"/>
                  </a:schemeClr>
                </a:solidFill>
                <a:latin typeface="Segoe UI Light" pitchFamily="34" charset="0"/>
              </a:rPr>
              <a:t>Application Controller</a:t>
            </a:r>
          </a:p>
        </p:txBody>
      </p:sp>
      <p:grpSp>
        <p:nvGrpSpPr>
          <p:cNvPr id="49" name="Group 48"/>
          <p:cNvGrpSpPr/>
          <p:nvPr/>
        </p:nvGrpSpPr>
        <p:grpSpPr>
          <a:xfrm>
            <a:off x="609609" y="1314450"/>
            <a:ext cx="1877135" cy="1896193"/>
            <a:chOff x="685800" y="1466849"/>
            <a:chExt cx="1877135" cy="1896191"/>
          </a:xfrm>
        </p:grpSpPr>
        <p:sp>
          <p:nvSpPr>
            <p:cNvPr id="48" name="Rectangle 47"/>
            <p:cNvSpPr/>
            <p:nvPr/>
          </p:nvSpPr>
          <p:spPr bwMode="auto">
            <a:xfrm>
              <a:off x="685800" y="1466849"/>
              <a:ext cx="1877135" cy="1896191"/>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8872" tIns="45720" rIns="45720" bIns="118872" numCol="1" spcCol="0" rtlCol="0" fromWordArt="0" anchor="b" anchorCtr="0" forceAA="0" compatLnSpc="1">
              <a:prstTxWarp prst="textNoShape">
                <a:avLst/>
              </a:prstTxWarp>
              <a:noAutofit/>
            </a:bodyPr>
            <a:lstStyle/>
            <a:p>
              <a:pPr defTabSz="913757" fontAlgn="base">
                <a:spcBef>
                  <a:spcPct val="0"/>
                </a:spcBef>
                <a:spcAft>
                  <a:spcPct val="0"/>
                </a:spcAft>
              </a:pPr>
              <a:r>
                <a:rPr lang="en-US" sz="1600" spc="-50" dirty="0">
                  <a:gradFill>
                    <a:gsLst>
                      <a:gs pos="0">
                        <a:schemeClr val="bg1"/>
                      </a:gs>
                      <a:gs pos="86000">
                        <a:schemeClr val="bg1"/>
                      </a:gs>
                    </a:gsLst>
                    <a:lin ang="5400000" scaled="0"/>
                  </a:gradFill>
                  <a:latin typeface="Segoe UI Light" pitchFamily="34" charset="0"/>
                  <a:ea typeface="Segoe UI" pitchFamily="34" charset="0"/>
                  <a:cs typeface="Segoe UI" pitchFamily="34" charset="0"/>
                </a:rPr>
                <a:t>http://aka.ms/2012   </a:t>
              </a:r>
            </a:p>
          </p:txBody>
        </p:sp>
        <p:pic>
          <p:nvPicPr>
            <p:cNvPr id="1027" name="Picture 3" descr="E:\_Zune\pictures\System-Center-2012-Launched.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16951" y="2029532"/>
              <a:ext cx="1487487" cy="954206"/>
            </a:xfrm>
            <a:prstGeom prst="rect">
              <a:avLst/>
            </a:prstGeom>
            <a:noFill/>
            <a:extLst>
              <a:ext uri="{909E8E84-426E-40DD-AFC4-6F175D3DCCD1}">
                <a14:hiddenFill xmlns:a14="http://schemas.microsoft.com/office/drawing/2010/main">
                  <a:solidFill>
                    <a:srgbClr val="FFFFFF"/>
                  </a:solidFill>
                </a14:hiddenFill>
              </a:ext>
            </a:extLst>
          </p:spPr>
        </p:pic>
      </p:grpSp>
      <p:sp>
        <p:nvSpPr>
          <p:cNvPr id="15" name="Slide Number Placeholder 22"/>
          <p:cNvSpPr txBox="1">
            <a:spLocks/>
          </p:cNvSpPr>
          <p:nvPr/>
        </p:nvSpPr>
        <p:spPr>
          <a:xfrm>
            <a:off x="7010400" y="4903797"/>
            <a:ext cx="2133600" cy="204787"/>
          </a:xfrm>
          <a:prstGeom prst="rect">
            <a:avLst/>
          </a:prstGeom>
        </p:spPr>
        <p:txBody>
          <a:bodyPr vert="horz" lIns="91396" tIns="45698" rIns="91396" bIns="45698" rtlCol="0" anchor="ctr"/>
          <a:lstStyle>
            <a:defPPr>
              <a:defRPr lang="en-US"/>
            </a:defPPr>
            <a:lvl1pPr marL="0" algn="l" defTabSz="457162" rtl="0" eaLnBrk="1" latinLnBrk="0" hangingPunct="1">
              <a:defRPr sz="800" kern="1200">
                <a:solidFill>
                  <a:srgbClr val="00467F"/>
                </a:solidFill>
                <a:latin typeface="Segoe UI"/>
                <a:ea typeface="+mn-ea"/>
                <a:cs typeface="Segoe UI"/>
              </a:defRPr>
            </a:lvl1pPr>
            <a:lvl2pPr marL="457162" algn="l" defTabSz="457162" rtl="0" eaLnBrk="1" latinLnBrk="0" hangingPunct="1">
              <a:defRPr sz="1800" kern="1200">
                <a:solidFill>
                  <a:schemeClr val="tx1"/>
                </a:solidFill>
                <a:latin typeface="+mn-lt"/>
                <a:ea typeface="+mn-ea"/>
                <a:cs typeface="+mn-cs"/>
              </a:defRPr>
            </a:lvl2pPr>
            <a:lvl3pPr marL="914324" algn="l" defTabSz="457162" rtl="0" eaLnBrk="1" latinLnBrk="0" hangingPunct="1">
              <a:defRPr sz="1800" kern="1200">
                <a:solidFill>
                  <a:schemeClr val="tx1"/>
                </a:solidFill>
                <a:latin typeface="+mn-lt"/>
                <a:ea typeface="+mn-ea"/>
                <a:cs typeface="+mn-cs"/>
              </a:defRPr>
            </a:lvl3pPr>
            <a:lvl4pPr marL="1371486" algn="l" defTabSz="457162" rtl="0" eaLnBrk="1" latinLnBrk="0" hangingPunct="1">
              <a:defRPr sz="1800" kern="1200">
                <a:solidFill>
                  <a:schemeClr val="tx1"/>
                </a:solidFill>
                <a:latin typeface="+mn-lt"/>
                <a:ea typeface="+mn-ea"/>
                <a:cs typeface="+mn-cs"/>
              </a:defRPr>
            </a:lvl4pPr>
            <a:lvl5pPr marL="1828648" algn="l" defTabSz="457162" rtl="0" eaLnBrk="1" latinLnBrk="0" hangingPunct="1">
              <a:defRPr sz="1800" kern="1200">
                <a:solidFill>
                  <a:schemeClr val="tx1"/>
                </a:solidFill>
                <a:latin typeface="+mn-lt"/>
                <a:ea typeface="+mn-ea"/>
                <a:cs typeface="+mn-cs"/>
              </a:defRPr>
            </a:lvl5pPr>
            <a:lvl6pPr marL="2285810" algn="l" defTabSz="457162" rtl="0" eaLnBrk="1" latinLnBrk="0" hangingPunct="1">
              <a:defRPr sz="1800" kern="1200">
                <a:solidFill>
                  <a:schemeClr val="tx1"/>
                </a:solidFill>
                <a:latin typeface="+mn-lt"/>
                <a:ea typeface="+mn-ea"/>
                <a:cs typeface="+mn-cs"/>
              </a:defRPr>
            </a:lvl6pPr>
            <a:lvl7pPr marL="2742972" algn="l" defTabSz="457162" rtl="0" eaLnBrk="1" latinLnBrk="0" hangingPunct="1">
              <a:defRPr sz="1800" kern="1200">
                <a:solidFill>
                  <a:schemeClr val="tx1"/>
                </a:solidFill>
                <a:latin typeface="+mn-lt"/>
                <a:ea typeface="+mn-ea"/>
                <a:cs typeface="+mn-cs"/>
              </a:defRPr>
            </a:lvl7pPr>
            <a:lvl8pPr marL="3200133" algn="l" defTabSz="457162" rtl="0" eaLnBrk="1" latinLnBrk="0" hangingPunct="1">
              <a:defRPr sz="1800" kern="1200">
                <a:solidFill>
                  <a:schemeClr val="tx1"/>
                </a:solidFill>
                <a:latin typeface="+mn-lt"/>
                <a:ea typeface="+mn-ea"/>
                <a:cs typeface="+mn-cs"/>
              </a:defRPr>
            </a:lvl8pPr>
            <a:lvl9pPr marL="3657296" algn="l" defTabSz="457162" rtl="0" eaLnBrk="1" latinLnBrk="0" hangingPunct="1">
              <a:defRPr sz="1800" kern="1200">
                <a:solidFill>
                  <a:schemeClr val="tx1"/>
                </a:solidFill>
                <a:latin typeface="+mn-lt"/>
                <a:ea typeface="+mn-ea"/>
                <a:cs typeface="+mn-cs"/>
              </a:defRPr>
            </a:lvl9pPr>
          </a:lstStyle>
          <a:p>
            <a:pPr algn="r"/>
            <a:fld id="{B6F15528-21DE-4FAA-801E-634DDDAF4B2B}" type="slidenum">
              <a:rPr lang="en-US" smtClean="0"/>
              <a:pPr algn="r"/>
              <a:t>396</a:t>
            </a:fld>
            <a:endParaRPr lang="en-US" dirty="0"/>
          </a:p>
        </p:txBody>
      </p:sp>
      <p:sp>
        <p:nvSpPr>
          <p:cNvPr id="16" name="Slide Number Placeholder 6"/>
          <p:cNvSpPr txBox="1">
            <a:spLocks/>
          </p:cNvSpPr>
          <p:nvPr/>
        </p:nvSpPr>
        <p:spPr>
          <a:xfrm>
            <a:off x="7010400" y="4903470"/>
            <a:ext cx="2133600" cy="205264"/>
          </a:xfrm>
          <a:prstGeom prst="rect">
            <a:avLst/>
          </a:prstGeom>
        </p:spPr>
        <p:txBody>
          <a:bodyPr lIns="68586" tIns="34294" rIns="68586" bIns="34294"/>
          <a:lstStyle>
            <a:defPPr>
              <a:defRPr lang="en-US"/>
            </a:defPPr>
            <a:lvl1pPr marL="0" algn="l" defTabSz="914097" rtl="0" eaLnBrk="1" latinLnBrk="0" hangingPunct="1">
              <a:defRPr sz="1900" kern="1200">
                <a:solidFill>
                  <a:schemeClr val="tx1"/>
                </a:solidFill>
                <a:latin typeface="+mn-lt"/>
                <a:ea typeface="+mn-ea"/>
                <a:cs typeface="+mn-cs"/>
              </a:defRPr>
            </a:lvl1pPr>
            <a:lvl2pPr marL="457045" algn="l" defTabSz="914097" rtl="0" eaLnBrk="1" latinLnBrk="0" hangingPunct="1">
              <a:defRPr sz="1900" kern="1200">
                <a:solidFill>
                  <a:schemeClr val="tx1"/>
                </a:solidFill>
                <a:latin typeface="+mn-lt"/>
                <a:ea typeface="+mn-ea"/>
                <a:cs typeface="+mn-cs"/>
              </a:defRPr>
            </a:lvl2pPr>
            <a:lvl3pPr marL="914097" algn="l" defTabSz="914097" rtl="0" eaLnBrk="1" latinLnBrk="0" hangingPunct="1">
              <a:defRPr sz="1900" kern="1200">
                <a:solidFill>
                  <a:schemeClr val="tx1"/>
                </a:solidFill>
                <a:latin typeface="+mn-lt"/>
                <a:ea typeface="+mn-ea"/>
                <a:cs typeface="+mn-cs"/>
              </a:defRPr>
            </a:lvl3pPr>
            <a:lvl4pPr marL="1371144" algn="l" defTabSz="914097" rtl="0" eaLnBrk="1" latinLnBrk="0" hangingPunct="1">
              <a:defRPr sz="1900" kern="1200">
                <a:solidFill>
                  <a:schemeClr val="tx1"/>
                </a:solidFill>
                <a:latin typeface="+mn-lt"/>
                <a:ea typeface="+mn-ea"/>
                <a:cs typeface="+mn-cs"/>
              </a:defRPr>
            </a:lvl4pPr>
            <a:lvl5pPr marL="1828195" algn="l" defTabSz="914097" rtl="0" eaLnBrk="1" latinLnBrk="0" hangingPunct="1">
              <a:defRPr sz="1900" kern="1200">
                <a:solidFill>
                  <a:schemeClr val="tx1"/>
                </a:solidFill>
                <a:latin typeface="+mn-lt"/>
                <a:ea typeface="+mn-ea"/>
                <a:cs typeface="+mn-cs"/>
              </a:defRPr>
            </a:lvl5pPr>
            <a:lvl6pPr marL="2285237" algn="l" defTabSz="914097" rtl="0" eaLnBrk="1" latinLnBrk="0" hangingPunct="1">
              <a:defRPr sz="1900" kern="1200">
                <a:solidFill>
                  <a:schemeClr val="tx1"/>
                </a:solidFill>
                <a:latin typeface="+mn-lt"/>
                <a:ea typeface="+mn-ea"/>
                <a:cs typeface="+mn-cs"/>
              </a:defRPr>
            </a:lvl6pPr>
            <a:lvl7pPr marL="2742291" algn="l" defTabSz="914097" rtl="0" eaLnBrk="1" latinLnBrk="0" hangingPunct="1">
              <a:defRPr sz="1900" kern="1200">
                <a:solidFill>
                  <a:schemeClr val="tx1"/>
                </a:solidFill>
                <a:latin typeface="+mn-lt"/>
                <a:ea typeface="+mn-ea"/>
                <a:cs typeface="+mn-cs"/>
              </a:defRPr>
            </a:lvl7pPr>
            <a:lvl8pPr marL="3199339" algn="l" defTabSz="914097" rtl="0" eaLnBrk="1" latinLnBrk="0" hangingPunct="1">
              <a:defRPr sz="1900" kern="1200">
                <a:solidFill>
                  <a:schemeClr val="tx1"/>
                </a:solidFill>
                <a:latin typeface="+mn-lt"/>
                <a:ea typeface="+mn-ea"/>
                <a:cs typeface="+mn-cs"/>
              </a:defRPr>
            </a:lvl8pPr>
            <a:lvl9pPr marL="3656388" algn="l" defTabSz="914097" rtl="0" eaLnBrk="1" latinLnBrk="0" hangingPunct="1">
              <a:defRPr sz="1900" kern="1200">
                <a:solidFill>
                  <a:schemeClr val="tx1"/>
                </a:solidFill>
                <a:latin typeface="+mn-lt"/>
                <a:ea typeface="+mn-ea"/>
                <a:cs typeface="+mn-cs"/>
              </a:defRPr>
            </a:lvl9pPr>
          </a:lstStyle>
          <a:p>
            <a:pPr algn="r"/>
            <a:fld id="{B6F15528-21DE-4FAA-801E-634DDDAF4B2B}" type="slidenum">
              <a:rPr lang="en-US" sz="1100">
                <a:latin typeface="Segoe UI" pitchFamily="34" charset="0"/>
                <a:ea typeface="Segoe UI" pitchFamily="34" charset="0"/>
                <a:cs typeface="Segoe UI" pitchFamily="34" charset="0"/>
              </a:rPr>
              <a:pPr algn="r"/>
              <a:t>396</a:t>
            </a:fld>
            <a:endParaRPr lang="en-US" sz="1100" dirty="0">
              <a:latin typeface="Segoe UI" pitchFamily="34" charset="0"/>
              <a:ea typeface="Segoe UI" pitchFamily="34" charset="0"/>
              <a:cs typeface="Segoe UI" pitchFamily="34" charset="0"/>
            </a:endParaRPr>
          </a:p>
        </p:txBody>
      </p:sp>
      <p:sp>
        <p:nvSpPr>
          <p:cNvPr id="2" name="TextBox 1"/>
          <p:cNvSpPr txBox="1"/>
          <p:nvPr/>
        </p:nvSpPr>
        <p:spPr>
          <a:xfrm>
            <a:off x="580101" y="827952"/>
            <a:ext cx="7489673" cy="429348"/>
          </a:xfrm>
          <a:prstGeom prst="rect">
            <a:avLst/>
          </a:prstGeom>
          <a:noFill/>
        </p:spPr>
        <p:txBody>
          <a:bodyPr wrap="none" lIns="68586" tIns="68586" rIns="68586" bIns="68586" rtlCol="0">
            <a:spAutoFit/>
          </a:bodyPr>
          <a:lstStyle/>
          <a:p>
            <a:pPr>
              <a:lnSpc>
                <a:spcPct val="90000"/>
              </a:lnSpc>
              <a:spcBef>
                <a:spcPct val="20000"/>
              </a:spcBef>
              <a:buSzPct val="90000"/>
            </a:pPr>
            <a:r>
              <a:rPr lang="en-US" sz="2100" dirty="0">
                <a:solidFill>
                  <a:schemeClr val="tx1">
                    <a:alpha val="99000"/>
                  </a:schemeClr>
                </a:solidFill>
                <a:latin typeface="Segoe UI Light" pitchFamily="34" charset="0"/>
              </a:rPr>
              <a:t>For physical, virtualized, private cloud, and public cloud resources</a:t>
            </a:r>
          </a:p>
        </p:txBody>
      </p:sp>
      <p:sp>
        <p:nvSpPr>
          <p:cNvPr id="17"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9"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pic>
        <p:nvPicPr>
          <p:cNvPr id="20"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035223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par>
                          <p:cTn id="8" fill="hold">
                            <p:stCondLst>
                              <p:cond delay="500"/>
                            </p:stCondLst>
                            <p:childTnLst>
                              <p:par>
                                <p:cTn id="9" presetID="1" presetClass="entr" presetSubtype="0" fill="hold" grpId="0" nodeType="after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childTnLst>
                          </p:cTn>
                        </p:par>
                        <p:par>
                          <p:cTn id="16" fill="hold">
                            <p:stCondLst>
                              <p:cond delay="500"/>
                            </p:stCondLst>
                            <p:childTnLst>
                              <p:par>
                                <p:cTn id="17" presetID="1" presetClass="entr" presetSubtype="0" fill="hold" grpId="0" nodeType="after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500"/>
                                        <p:tgtEl>
                                          <p:spTgt spid="13"/>
                                        </p:tgtEl>
                                      </p:cBhvr>
                                    </p:animEffect>
                                  </p:childTnLst>
                                </p:cTn>
                              </p:par>
                            </p:childTnLst>
                          </p:cTn>
                        </p:par>
                        <p:par>
                          <p:cTn id="24" fill="hold">
                            <p:stCondLst>
                              <p:cond delay="500"/>
                            </p:stCondLst>
                            <p:childTnLst>
                              <p:par>
                                <p:cTn id="25" presetID="1" presetClass="entr" presetSubtype="0" fill="hold" grpId="0" nodeType="afterEffect">
                                  <p:stCondLst>
                                    <p:cond delay="0"/>
                                  </p:stCondLst>
                                  <p:childTnLst>
                                    <p:set>
                                      <p:cBhvr>
                                        <p:cTn id="26" dur="1" fill="hold">
                                          <p:stCondLst>
                                            <p:cond delay="0"/>
                                          </p:stCondLst>
                                        </p:cTn>
                                        <p:tgtEl>
                                          <p:spTgt spid="2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49"/>
                                        </p:tgtEl>
                                        <p:attrNameLst>
                                          <p:attrName>style.visibility</p:attrName>
                                        </p:attrNameLst>
                                      </p:cBhvr>
                                      <p:to>
                                        <p:strVal val="visible"/>
                                      </p:to>
                                    </p:set>
                                    <p:animEffect transition="in" filter="fade">
                                      <p:cBhvr>
                                        <p:cTn id="31" dur="500"/>
                                        <p:tgtEl>
                                          <p:spTgt spid="49"/>
                                        </p:tgtEl>
                                      </p:cBhvr>
                                    </p:animEffect>
                                  </p:childTnLst>
                                </p:cTn>
                              </p:par>
                              <p:par>
                                <p:cTn id="32" presetID="1" presetClass="entr" presetSubtype="0" fill="hold" grpId="0" nodeType="withEffect">
                                  <p:stCondLst>
                                    <p:cond delay="0"/>
                                  </p:stCondLst>
                                  <p:childTnLst>
                                    <p:set>
                                      <p:cBhvr>
                                        <p:cTn id="33" dur="1" fill="hold">
                                          <p:stCondLst>
                                            <p:cond delay="0"/>
                                          </p:stCondLst>
                                        </p:cTn>
                                        <p:tgtEl>
                                          <p:spTgt spid="47"/>
                                        </p:tgtEl>
                                        <p:attrNameLst>
                                          <p:attrName>style.visibility</p:attrName>
                                        </p:attrNameLst>
                                      </p:cBhvr>
                                      <p:to>
                                        <p:strVal val="visible"/>
                                      </p:to>
                                    </p:set>
                                  </p:childTnLst>
                                </p:cTn>
                              </p:par>
                            </p:childTnLst>
                          </p:cTn>
                        </p:par>
                        <p:par>
                          <p:cTn id="34" fill="hold">
                            <p:stCondLst>
                              <p:cond delay="500"/>
                            </p:stCondLst>
                            <p:childTnLst>
                              <p:par>
                                <p:cTn id="35" presetID="10" presetClass="entr" presetSubtype="0" fill="hold" grpId="0" nodeType="afterEffect">
                                  <p:stCondLst>
                                    <p:cond delay="0"/>
                                  </p:stCondLst>
                                  <p:childTnLst>
                                    <p:set>
                                      <p:cBhvr>
                                        <p:cTn id="36" dur="1" fill="hold">
                                          <p:stCondLst>
                                            <p:cond delay="0"/>
                                          </p:stCondLst>
                                        </p:cTn>
                                        <p:tgtEl>
                                          <p:spTgt spid="3"/>
                                        </p:tgtEl>
                                        <p:attrNameLst>
                                          <p:attrName>style.visibility</p:attrName>
                                        </p:attrNameLst>
                                      </p:cBhvr>
                                      <p:to>
                                        <p:strVal val="visible"/>
                                      </p:to>
                                    </p:set>
                                    <p:animEffect transition="in" filter="fade">
                                      <p:cBhvr>
                                        <p:cTn id="37" dur="500"/>
                                        <p:tgtEl>
                                          <p:spTgt spid="3"/>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2"/>
                                        </p:tgtEl>
                                        <p:attrNameLst>
                                          <p:attrName>style.visibility</p:attrName>
                                        </p:attrNameLst>
                                      </p:cBhvr>
                                      <p:to>
                                        <p:strVal val="visible"/>
                                      </p:to>
                                    </p:set>
                                    <p:animEffect transition="in" filter="fade">
                                      <p:cBhvr>
                                        <p:cTn id="42"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18" grpId="0"/>
      <p:bldP spid="11" grpId="0" animBg="1"/>
      <p:bldP spid="13" grpId="0" animBg="1"/>
      <p:bldP spid="14" grpId="0" animBg="1"/>
      <p:bldP spid="21" grpId="0"/>
      <p:bldP spid="22" grpId="0"/>
      <p:bldP spid="47" grpId="0"/>
      <p:bldP spid="2" grpId="0"/>
    </p:bldLst>
  </p:timing>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172643"/>
            <a:ext cx="8382000" cy="457049"/>
          </a:xfrm>
        </p:spPr>
        <p:txBody>
          <a:bodyPr/>
          <a:lstStyle/>
          <a:p>
            <a:r>
              <a:rPr lang="en-US" dirty="0" smtClean="0"/>
              <a:t>Most Deployed Update Solution in the World!</a:t>
            </a:r>
            <a:endParaRPr lang="en-US" dirty="0">
              <a:solidFill>
                <a:schemeClr val="accent1"/>
              </a:solidFill>
            </a:endParaRPr>
          </a:p>
        </p:txBody>
      </p:sp>
      <p:sp>
        <p:nvSpPr>
          <p:cNvPr id="3" name="Text Placeholder 2"/>
          <p:cNvSpPr>
            <a:spLocks noGrp="1"/>
          </p:cNvSpPr>
          <p:nvPr>
            <p:ph type="body" sz="quarter" idx="4294967295"/>
          </p:nvPr>
        </p:nvSpPr>
        <p:spPr>
          <a:xfrm>
            <a:off x="621707" y="2960427"/>
            <a:ext cx="2358767" cy="1661993"/>
          </a:xfrm>
        </p:spPr>
        <p:txBody>
          <a:bodyPr/>
          <a:lstStyle/>
          <a:p>
            <a:r>
              <a:rPr lang="en-US" dirty="0" smtClean="0"/>
              <a:t>WSUS servers synching against Windows Update</a:t>
            </a:r>
            <a:endParaRPr lang="en-US" dirty="0"/>
          </a:p>
        </p:txBody>
      </p:sp>
      <p:pic>
        <p:nvPicPr>
          <p:cNvPr id="6" name="Picture 2" descr="C:\Users\Jordan\Desktop\TechEd_2012\TechEd-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6962" y="4619593"/>
            <a:ext cx="698151" cy="322326"/>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5086484" y="4803420"/>
            <a:ext cx="4229849" cy="288539"/>
          </a:xfrm>
          <a:prstGeom prst="rect">
            <a:avLst/>
          </a:prstGeom>
        </p:spPr>
        <p:txBody>
          <a:bodyPr wrap="none" lIns="68586" tIns="34294" rIns="68586" bIns="34294">
            <a:spAutoFit/>
          </a:bodyPr>
          <a:lstStyle/>
          <a:p>
            <a:r>
              <a:rPr lang="en-US" dirty="0">
                <a:gradFill>
                  <a:gsLst>
                    <a:gs pos="0">
                      <a:srgbClr val="FFFFFF"/>
                    </a:gs>
                    <a:gs pos="100000">
                      <a:srgbClr val="FFFFFF"/>
                    </a:gs>
                  </a:gsLst>
                  <a:lin ang="5400000" scaled="0"/>
                </a:gradFill>
              </a:rPr>
              <a:t>Data based on Opt-in Option to WU/MU reporting</a:t>
            </a:r>
            <a:endParaRPr lang="en-US" dirty="0">
              <a:solidFill>
                <a:srgbClr val="FFFFFF"/>
              </a:solidFill>
            </a:endParaRPr>
          </a:p>
        </p:txBody>
      </p:sp>
      <p:sp>
        <p:nvSpPr>
          <p:cNvPr id="5" name="Rectangle 4"/>
          <p:cNvSpPr/>
          <p:nvPr/>
        </p:nvSpPr>
        <p:spPr bwMode="auto">
          <a:xfrm>
            <a:off x="621708" y="971550"/>
            <a:ext cx="2292511" cy="177165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4500" dirty="0">
                <a:solidFill>
                  <a:srgbClr val="FFFFFF">
                    <a:alpha val="98824"/>
                  </a:srgbClr>
                </a:solidFill>
                <a:ea typeface="Segoe UI" pitchFamily="34" charset="0"/>
                <a:cs typeface="Segoe UI" pitchFamily="34" charset="0"/>
              </a:rPr>
              <a:t>1+ Million</a:t>
            </a:r>
          </a:p>
        </p:txBody>
      </p:sp>
      <p:sp>
        <p:nvSpPr>
          <p:cNvPr id="7" name="Rectangle 6"/>
          <p:cNvSpPr/>
          <p:nvPr/>
        </p:nvSpPr>
        <p:spPr bwMode="auto">
          <a:xfrm>
            <a:off x="3365623" y="971550"/>
            <a:ext cx="2292511" cy="1771650"/>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4500" dirty="0">
                <a:solidFill>
                  <a:srgbClr val="FFFFFF">
                    <a:alpha val="98824"/>
                  </a:srgbClr>
                </a:solidFill>
                <a:ea typeface="Segoe UI" pitchFamily="34" charset="0"/>
                <a:cs typeface="Segoe UI" pitchFamily="34" charset="0"/>
              </a:rPr>
              <a:t>60+ Million</a:t>
            </a:r>
          </a:p>
        </p:txBody>
      </p:sp>
      <p:sp>
        <p:nvSpPr>
          <p:cNvPr id="8" name="Rectangle 7"/>
          <p:cNvSpPr/>
          <p:nvPr/>
        </p:nvSpPr>
        <p:spPr bwMode="auto">
          <a:xfrm>
            <a:off x="6109538" y="971550"/>
            <a:ext cx="2292511" cy="1771650"/>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4500" dirty="0">
                <a:solidFill>
                  <a:srgbClr val="FFFFFF">
                    <a:alpha val="98824"/>
                  </a:srgbClr>
                </a:solidFill>
                <a:ea typeface="Segoe UI" pitchFamily="34" charset="0"/>
                <a:cs typeface="Segoe UI" pitchFamily="34" charset="0"/>
              </a:rPr>
              <a:t>Double</a:t>
            </a:r>
          </a:p>
        </p:txBody>
      </p:sp>
      <p:sp>
        <p:nvSpPr>
          <p:cNvPr id="9" name="Rectangle 8"/>
          <p:cNvSpPr/>
          <p:nvPr/>
        </p:nvSpPr>
        <p:spPr>
          <a:xfrm>
            <a:off x="3372728" y="2960427"/>
            <a:ext cx="2285404" cy="997196"/>
          </a:xfrm>
          <a:prstGeom prst="rect">
            <a:avLst/>
          </a:prstGeom>
        </p:spPr>
        <p:txBody>
          <a:bodyPr vert="horz" wrap="square" lIns="0" tIns="0" rIns="0" bIns="0" rtlCol="0">
            <a:spAutoFit/>
          </a:bodyPr>
          <a:lstStyle/>
          <a:p>
            <a:pPr marL="345312" indent="-345312">
              <a:lnSpc>
                <a:spcPct val="90000"/>
              </a:lnSpc>
              <a:spcBef>
                <a:spcPct val="20000"/>
              </a:spcBef>
              <a:buSzPct val="90000"/>
              <a:buBlip>
                <a:blip r:embed="rId4"/>
              </a:buBlip>
            </a:pPr>
            <a:r>
              <a:rPr lang="en-US" sz="2400" dirty="0">
                <a:gradFill>
                  <a:gsLst>
                    <a:gs pos="0">
                      <a:srgbClr val="FFFFFF"/>
                    </a:gs>
                    <a:gs pos="86000">
                      <a:srgbClr val="FFFFFF"/>
                    </a:gs>
                  </a:gsLst>
                  <a:lin ang="5400000" scaled="0"/>
                </a:gradFill>
              </a:rPr>
              <a:t>Clients managed by WSUS</a:t>
            </a:r>
          </a:p>
        </p:txBody>
      </p:sp>
      <p:sp>
        <p:nvSpPr>
          <p:cNvPr id="10" name="Rectangle 9"/>
          <p:cNvSpPr/>
          <p:nvPr/>
        </p:nvSpPr>
        <p:spPr>
          <a:xfrm>
            <a:off x="6116643" y="2960427"/>
            <a:ext cx="2285405" cy="1661993"/>
          </a:xfrm>
          <a:prstGeom prst="rect">
            <a:avLst/>
          </a:prstGeom>
        </p:spPr>
        <p:txBody>
          <a:bodyPr vert="horz" wrap="square" lIns="0" tIns="0" rIns="0" bIns="0" rtlCol="0">
            <a:spAutoFit/>
          </a:bodyPr>
          <a:lstStyle/>
          <a:p>
            <a:pPr marL="345312" indent="-345312">
              <a:lnSpc>
                <a:spcPct val="90000"/>
              </a:lnSpc>
              <a:spcBef>
                <a:spcPct val="20000"/>
              </a:spcBef>
              <a:buSzPct val="90000"/>
              <a:buBlip>
                <a:blip r:embed="rId4"/>
              </a:buBlip>
            </a:pPr>
            <a:r>
              <a:rPr lang="en-US" sz="2400" dirty="0">
                <a:gradFill>
                  <a:gsLst>
                    <a:gs pos="0">
                      <a:srgbClr val="FFFFFF"/>
                    </a:gs>
                    <a:gs pos="86000">
                      <a:srgbClr val="FFFFFF"/>
                    </a:gs>
                  </a:gsLst>
                  <a:lin ang="5400000" scaled="0"/>
                </a:gradFill>
              </a:rPr>
              <a:t>Adoption rate of WSUS 3.0 Service Pack 2 over previous release</a:t>
            </a:r>
          </a:p>
        </p:txBody>
      </p:sp>
      <p:sp>
        <p:nvSpPr>
          <p:cNvPr id="11"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2"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5"/>
              </a:rPr>
              <a:t>www.rapidbbs.cn</a:t>
            </a:r>
            <a:endParaRPr lang="zh-CN" altLang="en-US" sz="1200" b="0">
              <a:latin typeface="Arial" charset="0"/>
              <a:ea typeface="ＭＳ Ｐゴシック" pitchFamily="34" charset="-128"/>
            </a:endParaRPr>
          </a:p>
        </p:txBody>
      </p:sp>
      <p:pic>
        <p:nvPicPr>
          <p:cNvPr id="13" name="Picture 2">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96630163"/>
      </p:ext>
    </p:extLst>
  </p:cSld>
  <p:clrMapOvr>
    <a:masterClrMapping/>
  </p:clrMapOvr>
  <mc:AlternateContent xmlns:mc="http://schemas.openxmlformats.org/markup-compatibility/2006" xmlns:p14="http://schemas.microsoft.com/office/powerpoint/2010/main">
    <mc:Choice Requires="p14">
      <p:transition spd="slow" p14:dur="1500">
        <p14:pan/>
      </p:transition>
    </mc:Choice>
    <mc:Fallback xmlns="">
      <p:transition spd="slow">
        <p:fade/>
      </p:transition>
    </mc:Fallback>
  </mc:AlternateContent>
  <p:timing>
    <p:tnLst>
      <p:par>
        <p:cTn id="1" dur="indefinite" restart="never" nodeType="tmRoot"/>
      </p:par>
    </p:tnLst>
  </p:timing>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41798" y="171451"/>
            <a:ext cx="8363938" cy="457049"/>
          </a:xfrm>
        </p:spPr>
        <p:txBody>
          <a:bodyPr>
            <a:normAutofit/>
          </a:bodyPr>
          <a:lstStyle/>
          <a:p>
            <a:r>
              <a:rPr lang="en-US" dirty="0" smtClean="0"/>
              <a:t>Agenda</a:t>
            </a:r>
            <a:endParaRPr lang="en-US" dirty="0"/>
          </a:p>
        </p:txBody>
      </p:sp>
      <p:graphicFrame>
        <p:nvGraphicFramePr>
          <p:cNvPr id="6" name="Diagram 5"/>
          <p:cNvGraphicFramePr/>
          <p:nvPr>
            <p:extLst>
              <p:ext uri="{D42A27DB-BD31-4B8C-83A1-F6EECF244321}">
                <p14:modId xmlns:p14="http://schemas.microsoft.com/office/powerpoint/2010/main" val="2009592158"/>
              </p:ext>
            </p:extLst>
          </p:nvPr>
        </p:nvGraphicFramePr>
        <p:xfrm>
          <a:off x="1542261" y="685800"/>
          <a:ext cx="6459632" cy="40576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7"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7"/>
              </a:rPr>
              <a:t>www.rapidbbs.cn</a:t>
            </a:r>
            <a:endParaRPr lang="zh-CN" altLang="en-US" sz="1200" b="0">
              <a:latin typeface="Arial" charset="0"/>
              <a:ea typeface="ＭＳ Ｐゴシック" pitchFamily="34" charset="-128"/>
            </a:endParaRPr>
          </a:p>
        </p:txBody>
      </p:sp>
      <p:pic>
        <p:nvPicPr>
          <p:cNvPr id="8" name="Picture 2">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39646788"/>
      </p:ext>
    </p:extLst>
  </p:cSld>
  <p:clrMapOvr>
    <a:masterClrMapping/>
  </p:clrMapOvr>
  <p:transition>
    <p:fade/>
  </p:transition>
  <p:timing>
    <p:tnLst>
      <p:par>
        <p:cTn id="1" dur="indefinite" restart="never" nodeType="tmRoot"/>
      </p:par>
    </p:tnLst>
  </p:timing>
</p:sld>
</file>

<file path=ppt/slides/slide3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7" y="171451"/>
            <a:ext cx="3654265" cy="457049"/>
          </a:xfrm>
        </p:spPr>
        <p:txBody>
          <a:bodyPr/>
          <a:lstStyle/>
          <a:p>
            <a:r>
              <a:rPr lang="en-US" dirty="0" smtClean="0"/>
              <a:t>NSEC, NSEC3</a:t>
            </a:r>
            <a:endParaRPr lang="en-US" dirty="0"/>
          </a:p>
        </p:txBody>
      </p:sp>
      <p:sp>
        <p:nvSpPr>
          <p:cNvPr id="8" name="Rectangle 7"/>
          <p:cNvSpPr/>
          <p:nvPr/>
        </p:nvSpPr>
        <p:spPr bwMode="auto">
          <a:xfrm>
            <a:off x="4057516" y="1143000"/>
            <a:ext cx="3372728" cy="28575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defTabSz="685637"/>
            <a:r>
              <a:rPr lang="en-US" sz="1700" dirty="0">
                <a:solidFill>
                  <a:srgbClr val="FFFFFF">
                    <a:alpha val="98824"/>
                  </a:srgbClr>
                </a:solidFill>
                <a:latin typeface="Segoe UI" pitchFamily="34" charset="0"/>
                <a:ea typeface="Segoe UI" pitchFamily="34" charset="0"/>
                <a:cs typeface="Segoe UI" pitchFamily="34" charset="0"/>
              </a:rPr>
              <a:t>accounting.contoso.com A record</a:t>
            </a:r>
          </a:p>
        </p:txBody>
      </p:sp>
      <p:sp>
        <p:nvSpPr>
          <p:cNvPr id="9" name="Rectangle 8"/>
          <p:cNvSpPr/>
          <p:nvPr/>
        </p:nvSpPr>
        <p:spPr bwMode="auto">
          <a:xfrm>
            <a:off x="4057516" y="1940243"/>
            <a:ext cx="3372728" cy="28575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defTabSz="685637"/>
            <a:r>
              <a:rPr lang="en-US" sz="1700" dirty="0">
                <a:solidFill>
                  <a:srgbClr val="FFFFFF">
                    <a:alpha val="98824"/>
                  </a:srgbClr>
                </a:solidFill>
                <a:latin typeface="Segoe UI" pitchFamily="34" charset="0"/>
                <a:ea typeface="Segoe UI" pitchFamily="34" charset="0"/>
                <a:cs typeface="Segoe UI" pitchFamily="34" charset="0"/>
              </a:rPr>
              <a:t>enroll.contoso.com A record</a:t>
            </a:r>
          </a:p>
        </p:txBody>
      </p:sp>
      <p:sp>
        <p:nvSpPr>
          <p:cNvPr id="10" name="Rectangle 9"/>
          <p:cNvSpPr/>
          <p:nvPr/>
        </p:nvSpPr>
        <p:spPr bwMode="auto">
          <a:xfrm>
            <a:off x="4043701" y="3506153"/>
            <a:ext cx="3371061" cy="28575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defTabSz="685637"/>
            <a:r>
              <a:rPr lang="en-US" sz="1700" dirty="0">
                <a:solidFill>
                  <a:srgbClr val="FFFFFF">
                    <a:alpha val="98824"/>
                  </a:srgbClr>
                </a:solidFill>
                <a:latin typeface="Segoe UI" pitchFamily="34" charset="0"/>
                <a:ea typeface="Segoe UI" pitchFamily="34" charset="0"/>
                <a:cs typeface="Segoe UI" pitchFamily="34" charset="0"/>
              </a:rPr>
              <a:t>server3.contoso.com A record</a:t>
            </a:r>
          </a:p>
        </p:txBody>
      </p:sp>
      <p:sp>
        <p:nvSpPr>
          <p:cNvPr id="11" name="Rectangle 10"/>
          <p:cNvSpPr/>
          <p:nvPr/>
        </p:nvSpPr>
        <p:spPr bwMode="auto">
          <a:xfrm>
            <a:off x="4057517" y="2777490"/>
            <a:ext cx="3371061" cy="28575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defTabSz="685637"/>
            <a:r>
              <a:rPr lang="en-US" sz="1700" dirty="0">
                <a:solidFill>
                  <a:srgbClr val="FFFFFF">
                    <a:alpha val="98824"/>
                  </a:srgbClr>
                </a:solidFill>
                <a:latin typeface="Segoe UI" pitchFamily="34" charset="0"/>
                <a:ea typeface="Segoe UI" pitchFamily="34" charset="0"/>
                <a:cs typeface="Segoe UI" pitchFamily="34" charset="0"/>
              </a:rPr>
              <a:t>hr.contoso.com A record</a:t>
            </a:r>
          </a:p>
        </p:txBody>
      </p:sp>
      <p:sp>
        <p:nvSpPr>
          <p:cNvPr id="12" name="Rectangle 11"/>
          <p:cNvSpPr/>
          <p:nvPr/>
        </p:nvSpPr>
        <p:spPr bwMode="auto">
          <a:xfrm>
            <a:off x="4043701" y="4286250"/>
            <a:ext cx="3371061" cy="28575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defTabSz="685637"/>
            <a:r>
              <a:rPr lang="en-US" sz="1700" dirty="0">
                <a:solidFill>
                  <a:srgbClr val="FFFFFF">
                    <a:alpha val="98824"/>
                  </a:srgbClr>
                </a:solidFill>
                <a:latin typeface="Segoe UI" pitchFamily="34" charset="0"/>
                <a:ea typeface="Segoe UI" pitchFamily="34" charset="0"/>
                <a:cs typeface="Segoe UI" pitchFamily="34" charset="0"/>
              </a:rPr>
              <a:t>www.contoso.com A record</a:t>
            </a:r>
          </a:p>
        </p:txBody>
      </p:sp>
      <p:sp>
        <p:nvSpPr>
          <p:cNvPr id="13" name="Rectangle 12"/>
          <p:cNvSpPr/>
          <p:nvPr/>
        </p:nvSpPr>
        <p:spPr bwMode="auto">
          <a:xfrm>
            <a:off x="4057516" y="1551623"/>
            <a:ext cx="4548658" cy="285750"/>
          </a:xfrm>
          <a:prstGeom prst="rect">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68583" tIns="34292" rIns="68583" bIns="34292" numCol="1" rtlCol="0" anchor="ctr" anchorCtr="0" compatLnSpc="1">
            <a:prstTxWarp prst="textNoShape">
              <a:avLst/>
            </a:prstTxWarp>
          </a:bodyPr>
          <a:lstStyle/>
          <a:p>
            <a:pPr defTabSz="685637"/>
            <a:r>
              <a:rPr lang="en-US" sz="1700" dirty="0">
                <a:solidFill>
                  <a:srgbClr val="FFFFFF">
                    <a:alpha val="98824"/>
                  </a:srgbClr>
                </a:solidFill>
                <a:latin typeface="Segoe UI" pitchFamily="34" charset="0"/>
                <a:ea typeface="Segoe UI" pitchFamily="34" charset="0"/>
                <a:cs typeface="Segoe UI" pitchFamily="34" charset="0"/>
              </a:rPr>
              <a:t>Next Secure enroll.contoso.com NSEC record</a:t>
            </a:r>
          </a:p>
        </p:txBody>
      </p:sp>
      <p:sp>
        <p:nvSpPr>
          <p:cNvPr id="14" name="Rectangle 13"/>
          <p:cNvSpPr/>
          <p:nvPr/>
        </p:nvSpPr>
        <p:spPr bwMode="auto">
          <a:xfrm>
            <a:off x="4057516" y="2380298"/>
            <a:ext cx="4548658" cy="285750"/>
          </a:xfrm>
          <a:prstGeom prst="rect">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68583" tIns="34292" rIns="68583" bIns="34292" numCol="1" rtlCol="0" anchor="ctr" anchorCtr="0" compatLnSpc="1">
            <a:prstTxWarp prst="textNoShape">
              <a:avLst/>
            </a:prstTxWarp>
          </a:bodyPr>
          <a:lstStyle/>
          <a:p>
            <a:pPr defTabSz="685637"/>
            <a:r>
              <a:rPr lang="en-US" sz="1700" dirty="0">
                <a:solidFill>
                  <a:srgbClr val="FFFFFF">
                    <a:alpha val="98824"/>
                  </a:srgbClr>
                </a:solidFill>
                <a:latin typeface="Segoe UI" pitchFamily="34" charset="0"/>
                <a:ea typeface="Segoe UI" pitchFamily="34" charset="0"/>
                <a:cs typeface="Segoe UI" pitchFamily="34" charset="0"/>
              </a:rPr>
              <a:t>Next Secure hr.contoso.com NSEC record</a:t>
            </a:r>
          </a:p>
        </p:txBody>
      </p:sp>
      <p:sp>
        <p:nvSpPr>
          <p:cNvPr id="15" name="Rectangle 14"/>
          <p:cNvSpPr/>
          <p:nvPr/>
        </p:nvSpPr>
        <p:spPr bwMode="auto">
          <a:xfrm>
            <a:off x="4050608" y="3143250"/>
            <a:ext cx="4548658" cy="285750"/>
          </a:xfrm>
          <a:prstGeom prst="rect">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68583" tIns="34292" rIns="68583" bIns="34292" numCol="1" rtlCol="0" anchor="ctr" anchorCtr="0" compatLnSpc="1">
            <a:prstTxWarp prst="textNoShape">
              <a:avLst/>
            </a:prstTxWarp>
          </a:bodyPr>
          <a:lstStyle/>
          <a:p>
            <a:pPr defTabSz="685637"/>
            <a:r>
              <a:rPr lang="en-US" sz="1700" dirty="0">
                <a:solidFill>
                  <a:srgbClr val="FFFFFF">
                    <a:alpha val="98824"/>
                  </a:srgbClr>
                </a:solidFill>
                <a:latin typeface="Segoe UI" pitchFamily="34" charset="0"/>
                <a:ea typeface="Segoe UI" pitchFamily="34" charset="0"/>
                <a:cs typeface="Segoe UI" pitchFamily="34" charset="0"/>
              </a:rPr>
              <a:t>Next Secure server3.contoso.com NSEC record</a:t>
            </a:r>
          </a:p>
        </p:txBody>
      </p:sp>
      <p:sp>
        <p:nvSpPr>
          <p:cNvPr id="16" name="Rectangle 15"/>
          <p:cNvSpPr/>
          <p:nvPr/>
        </p:nvSpPr>
        <p:spPr bwMode="auto">
          <a:xfrm>
            <a:off x="4043700" y="3880485"/>
            <a:ext cx="4548658" cy="285750"/>
          </a:xfrm>
          <a:prstGeom prst="rect">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68583" tIns="34292" rIns="68583" bIns="34292" numCol="1" rtlCol="0" anchor="ctr" anchorCtr="0" compatLnSpc="1">
            <a:prstTxWarp prst="textNoShape">
              <a:avLst/>
            </a:prstTxWarp>
          </a:bodyPr>
          <a:lstStyle/>
          <a:p>
            <a:pPr defTabSz="685637"/>
            <a:r>
              <a:rPr lang="en-US" sz="1700" dirty="0">
                <a:solidFill>
                  <a:srgbClr val="FFFFFF">
                    <a:alpha val="98824"/>
                  </a:srgbClr>
                </a:solidFill>
                <a:latin typeface="Segoe UI" pitchFamily="34" charset="0"/>
                <a:ea typeface="Segoe UI" pitchFamily="34" charset="0"/>
                <a:cs typeface="Segoe UI" pitchFamily="34" charset="0"/>
              </a:rPr>
              <a:t>Next Secure www.contoso.com NSEC record</a:t>
            </a:r>
          </a:p>
        </p:txBody>
      </p:sp>
      <p:sp>
        <p:nvSpPr>
          <p:cNvPr id="17" name="Rectangle 16"/>
          <p:cNvSpPr/>
          <p:nvPr/>
        </p:nvSpPr>
        <p:spPr bwMode="auto">
          <a:xfrm>
            <a:off x="4043700" y="4637723"/>
            <a:ext cx="4548658" cy="285750"/>
          </a:xfrm>
          <a:prstGeom prst="rect">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68583" tIns="34292" rIns="68583" bIns="34292" numCol="1" rtlCol="0" anchor="ctr" anchorCtr="0" compatLnSpc="1">
            <a:prstTxWarp prst="textNoShape">
              <a:avLst/>
            </a:prstTxWarp>
          </a:bodyPr>
          <a:lstStyle/>
          <a:p>
            <a:pPr defTabSz="685637"/>
            <a:r>
              <a:rPr lang="en-US" sz="1700" dirty="0">
                <a:solidFill>
                  <a:srgbClr val="FFFFFF">
                    <a:alpha val="98824"/>
                  </a:srgbClr>
                </a:solidFill>
                <a:latin typeface="Segoe UI" pitchFamily="34" charset="0"/>
                <a:ea typeface="Segoe UI" pitchFamily="34" charset="0"/>
                <a:cs typeface="Segoe UI" pitchFamily="34" charset="0"/>
              </a:rPr>
              <a:t>Next Secure contoso.com NSEC record</a:t>
            </a:r>
          </a:p>
        </p:txBody>
      </p:sp>
      <p:sp>
        <p:nvSpPr>
          <p:cNvPr id="18" name="Rectangle 17"/>
          <p:cNvSpPr/>
          <p:nvPr/>
        </p:nvSpPr>
        <p:spPr bwMode="auto">
          <a:xfrm>
            <a:off x="4043700" y="742950"/>
            <a:ext cx="4929996" cy="285750"/>
          </a:xfrm>
          <a:prstGeom prst="rect">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68583" tIns="34292" rIns="68583" bIns="34292" numCol="1" rtlCol="0" anchor="ctr" anchorCtr="0" compatLnSpc="1">
            <a:prstTxWarp prst="textNoShape">
              <a:avLst/>
            </a:prstTxWarp>
          </a:bodyPr>
          <a:lstStyle/>
          <a:p>
            <a:pPr defTabSz="685637"/>
            <a:r>
              <a:rPr lang="en-US" sz="1700" dirty="0">
                <a:solidFill>
                  <a:srgbClr val="FFFFFF">
                    <a:alpha val="98824"/>
                  </a:srgbClr>
                </a:solidFill>
                <a:latin typeface="Segoe UI" pitchFamily="34" charset="0"/>
                <a:ea typeface="Segoe UI" pitchFamily="34" charset="0"/>
                <a:cs typeface="Segoe UI" pitchFamily="34" charset="0"/>
              </a:rPr>
              <a:t>Next Secure accounting.contoso.com NSEC record</a:t>
            </a:r>
          </a:p>
        </p:txBody>
      </p:sp>
      <p:sp>
        <p:nvSpPr>
          <p:cNvPr id="20" name="TextBox 19"/>
          <p:cNvSpPr txBox="1"/>
          <p:nvPr/>
        </p:nvSpPr>
        <p:spPr>
          <a:xfrm>
            <a:off x="4043701" y="116024"/>
            <a:ext cx="4644171" cy="470898"/>
          </a:xfrm>
          <a:prstGeom prst="rect">
            <a:avLst/>
          </a:prstGeom>
          <a:noFill/>
        </p:spPr>
        <p:txBody>
          <a:bodyPr wrap="square" lIns="68586" tIns="68586" rIns="68586" bIns="68586" rtlCol="0">
            <a:spAutoFit/>
          </a:bodyPr>
          <a:lstStyle/>
          <a:p>
            <a:pPr>
              <a:lnSpc>
                <a:spcPct val="90000"/>
              </a:lnSpc>
              <a:spcBef>
                <a:spcPct val="20000"/>
              </a:spcBef>
              <a:buSzPct val="90000"/>
            </a:pPr>
            <a:r>
              <a:rPr lang="en-US" sz="2400" dirty="0">
                <a:solidFill>
                  <a:schemeClr val="tx1">
                    <a:alpha val="99000"/>
                  </a:schemeClr>
                </a:solidFill>
              </a:rPr>
              <a:t>Contoso.com (signed w/ NSEC)</a:t>
            </a:r>
          </a:p>
        </p:txBody>
      </p:sp>
      <p:pic>
        <p:nvPicPr>
          <p:cNvPr id="21" name="Picture 5" descr="C:\Users\rkuehfus\AppData\Local\Microsoft\Windows\Temporary Internet Files\Content.IE5\SHHCZ6DG\MP910221051[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7469" y="1707027"/>
            <a:ext cx="895380" cy="1213338"/>
          </a:xfrm>
          <a:prstGeom prst="rect">
            <a:avLst/>
          </a:prstGeom>
          <a:noFill/>
        </p:spPr>
      </p:pic>
      <p:sp>
        <p:nvSpPr>
          <p:cNvPr id="22" name="Oval Callout 21"/>
          <p:cNvSpPr/>
          <p:nvPr/>
        </p:nvSpPr>
        <p:spPr bwMode="auto">
          <a:xfrm>
            <a:off x="627622" y="885826"/>
            <a:ext cx="1257628" cy="1054418"/>
          </a:xfrm>
          <a:prstGeom prst="wedgeEllipseCallou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700" dirty="0">
                <a:solidFill>
                  <a:srgbClr val="FFFFFF">
                    <a:alpha val="98824"/>
                  </a:srgbClr>
                </a:solidFill>
                <a:latin typeface="Segoe UI" pitchFamily="34" charset="0"/>
                <a:ea typeface="Segoe UI" pitchFamily="34" charset="0"/>
                <a:cs typeface="Segoe UI" pitchFamily="34" charset="0"/>
              </a:rPr>
              <a:t>budget.contoso.com</a:t>
            </a:r>
          </a:p>
        </p:txBody>
      </p:sp>
      <p:sp>
        <p:nvSpPr>
          <p:cNvPr id="23" name="Right Arrow 22"/>
          <p:cNvSpPr/>
          <p:nvPr/>
        </p:nvSpPr>
        <p:spPr bwMode="auto">
          <a:xfrm>
            <a:off x="2621485" y="1081565"/>
            <a:ext cx="1257628" cy="408623"/>
          </a:xfrm>
          <a:prstGeom prst="rightArrow">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24" name="Right Arrow 23"/>
          <p:cNvSpPr/>
          <p:nvPr/>
        </p:nvSpPr>
        <p:spPr bwMode="auto">
          <a:xfrm>
            <a:off x="2643160" y="1878807"/>
            <a:ext cx="1257628" cy="408623"/>
          </a:xfrm>
          <a:prstGeom prst="rightArrow">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25" name="Right Arrow 24"/>
          <p:cNvSpPr/>
          <p:nvPr/>
        </p:nvSpPr>
        <p:spPr bwMode="auto">
          <a:xfrm>
            <a:off x="2056745" y="1490187"/>
            <a:ext cx="1985764" cy="408623"/>
          </a:xfrm>
          <a:prstGeom prst="rightArrow">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26" name="TextBox 25"/>
          <p:cNvSpPr txBox="1"/>
          <p:nvPr/>
        </p:nvSpPr>
        <p:spPr>
          <a:xfrm>
            <a:off x="526392" y="3063242"/>
            <a:ext cx="2737007" cy="2132891"/>
          </a:xfrm>
          <a:prstGeom prst="rect">
            <a:avLst/>
          </a:prstGeom>
          <a:noFill/>
        </p:spPr>
        <p:txBody>
          <a:bodyPr wrap="square" lIns="68586" tIns="68586" rIns="68586" bIns="68586" rtlCol="0">
            <a:spAutoFit/>
          </a:bodyPr>
          <a:lstStyle/>
          <a:p>
            <a:pPr>
              <a:lnSpc>
                <a:spcPct val="90000"/>
              </a:lnSpc>
              <a:spcBef>
                <a:spcPct val="20000"/>
              </a:spcBef>
              <a:buSzPct val="90000"/>
            </a:pPr>
            <a:r>
              <a:rPr lang="en-US" sz="2400" dirty="0">
                <a:solidFill>
                  <a:schemeClr val="tx1">
                    <a:alpha val="99000"/>
                  </a:schemeClr>
                </a:solidFill>
              </a:rPr>
              <a:t>Hmm…..but now we have learned there are no records between budget and accounting</a:t>
            </a:r>
          </a:p>
        </p:txBody>
      </p:sp>
      <p:sp>
        <p:nvSpPr>
          <p:cNvPr id="27"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8"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4"/>
              </a:rPr>
              <a:t>www.rapidbbs.cn</a:t>
            </a:r>
            <a:endParaRPr lang="zh-CN" altLang="en-US" sz="1200" b="0">
              <a:latin typeface="Arial" charset="0"/>
              <a:ea typeface="ＭＳ Ｐゴシック" pitchFamily="34" charset="-128"/>
            </a:endParaRPr>
          </a:p>
        </p:txBody>
      </p:sp>
      <p:pic>
        <p:nvPicPr>
          <p:cNvPr id="29" name="Picture 2">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033398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4"/>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3" grpId="0" animBg="1"/>
      <p:bldP spid="24" grpId="0" animBg="1"/>
      <p:bldP spid="25" grpId="0" animBg="1"/>
      <p:bldP spid="26"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03287" y="4514857"/>
            <a:ext cx="8363938" cy="457049"/>
          </a:xfrm>
        </p:spPr>
        <p:txBody>
          <a:bodyPr/>
          <a:lstStyle/>
          <a:p>
            <a:r>
              <a:rPr lang="en-US" dirty="0" smtClean="0"/>
              <a:t>Private Cloud- Storage</a:t>
            </a:r>
            <a:endParaRPr lang="en-US" dirty="0"/>
          </a:p>
        </p:txBody>
      </p:sp>
      <p:grpSp>
        <p:nvGrpSpPr>
          <p:cNvPr id="6" name="Group 5"/>
          <p:cNvGrpSpPr/>
          <p:nvPr/>
        </p:nvGrpSpPr>
        <p:grpSpPr>
          <a:xfrm>
            <a:off x="627622" y="1371600"/>
            <a:ext cx="2686750" cy="2057400"/>
            <a:chOff x="836612" y="1828800"/>
            <a:chExt cx="3581400" cy="2743200"/>
          </a:xfrm>
        </p:grpSpPr>
        <p:sp>
          <p:nvSpPr>
            <p:cNvPr id="9" name="Rectangle 8"/>
            <p:cNvSpPr/>
            <p:nvPr/>
          </p:nvSpPr>
          <p:spPr bwMode="auto">
            <a:xfrm>
              <a:off x="836612" y="1828800"/>
              <a:ext cx="3581400" cy="274320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1700" dirty="0">
                <a:solidFill>
                  <a:srgbClr val="FFFFFF">
                    <a:alpha val="98824"/>
                  </a:srgbClr>
                </a:solidFill>
                <a:ea typeface="Segoe UI" pitchFamily="34" charset="0"/>
                <a:cs typeface="Segoe UI" pitchFamily="34" charset="0"/>
              </a:endParaRPr>
            </a:p>
          </p:txBody>
        </p:sp>
        <p:pic>
          <p:nvPicPr>
            <p:cNvPr id="29" name="Picture 7" descr="\\MAGNUM\Projects\Microsoft\Cloud Power FY12\Design\ICONS_PNG\Physical_Virtual.png"/>
            <p:cNvPicPr>
              <a:picLocks noChangeAspect="1" noChangeArrowheads="1"/>
            </p:cNvPicPr>
            <p:nvPr/>
          </p:nvPicPr>
          <p:blipFill>
            <a:blip r:embed="rId3" cstate="print">
              <a:lum bright="100000"/>
            </a:blip>
            <a:srcRect/>
            <a:stretch>
              <a:fillRect/>
            </a:stretch>
          </p:blipFill>
          <p:spPr bwMode="auto">
            <a:xfrm>
              <a:off x="2037188" y="2092115"/>
              <a:ext cx="1180244" cy="1573249"/>
            </a:xfrm>
            <a:prstGeom prst="rect">
              <a:avLst/>
            </a:prstGeom>
            <a:noFill/>
          </p:spPr>
        </p:pic>
        <p:sp>
          <p:nvSpPr>
            <p:cNvPr id="12" name="Content Placeholder 4"/>
            <p:cNvSpPr txBox="1">
              <a:spLocks/>
            </p:cNvSpPr>
            <p:nvPr/>
          </p:nvSpPr>
          <p:spPr>
            <a:xfrm>
              <a:off x="1179511" y="3521536"/>
              <a:ext cx="2895601" cy="1034129"/>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4"/>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4"/>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4"/>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4"/>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en-US" dirty="0" smtClean="0">
                  <a:gradFill>
                    <a:gsLst>
                      <a:gs pos="0">
                        <a:srgbClr val="FFFFFF"/>
                      </a:gs>
                      <a:gs pos="86000">
                        <a:srgbClr val="FFFFFF"/>
                      </a:gs>
                    </a:gsLst>
                    <a:lin ang="5400000" scaled="0"/>
                  </a:gradFill>
                </a:rPr>
                <a:t>Resource Pooling</a:t>
              </a:r>
            </a:p>
          </p:txBody>
        </p:sp>
      </p:grpSp>
      <p:grpSp>
        <p:nvGrpSpPr>
          <p:cNvPr id="4" name="Group 3"/>
          <p:cNvGrpSpPr/>
          <p:nvPr/>
        </p:nvGrpSpPr>
        <p:grpSpPr>
          <a:xfrm>
            <a:off x="3543031" y="1371600"/>
            <a:ext cx="2520972" cy="2057400"/>
            <a:chOff x="5408612" y="1828800"/>
            <a:chExt cx="2743200" cy="2743200"/>
          </a:xfrm>
        </p:grpSpPr>
        <p:sp>
          <p:nvSpPr>
            <p:cNvPr id="14" name="Rectangle 13"/>
            <p:cNvSpPr/>
            <p:nvPr/>
          </p:nvSpPr>
          <p:spPr bwMode="auto">
            <a:xfrm>
              <a:off x="5408612" y="1828800"/>
              <a:ext cx="2743200" cy="274320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1700" dirty="0">
                <a:solidFill>
                  <a:srgbClr val="FFFFFF">
                    <a:alpha val="98824"/>
                  </a:srgbClr>
                </a:solidFill>
                <a:ea typeface="Segoe UI" pitchFamily="34" charset="0"/>
                <a:cs typeface="Segoe UI" pitchFamily="34" charset="0"/>
              </a:endParaRPr>
            </a:p>
          </p:txBody>
        </p:sp>
        <p:sp>
          <p:nvSpPr>
            <p:cNvPr id="15" name="Content Placeholder 4"/>
            <p:cNvSpPr txBox="1">
              <a:spLocks/>
            </p:cNvSpPr>
            <p:nvPr/>
          </p:nvSpPr>
          <p:spPr>
            <a:xfrm>
              <a:off x="5578296" y="3780079"/>
              <a:ext cx="2380684" cy="517064"/>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4"/>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4"/>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4"/>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4"/>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en-US" dirty="0" smtClean="0">
                  <a:gradFill>
                    <a:gsLst>
                      <a:gs pos="0">
                        <a:srgbClr val="FFFFFF"/>
                      </a:gs>
                      <a:gs pos="86000">
                        <a:srgbClr val="FFFFFF"/>
                      </a:gs>
                    </a:gsLst>
                    <a:lin ang="5400000" scaled="0"/>
                  </a:gradFill>
                </a:rPr>
                <a:t>Self Service</a:t>
              </a:r>
            </a:p>
          </p:txBody>
        </p:sp>
        <p:sp>
          <p:nvSpPr>
            <p:cNvPr id="28" name="Freeform 81"/>
            <p:cNvSpPr>
              <a:spLocks noEditPoints="1"/>
            </p:cNvSpPr>
            <p:nvPr/>
          </p:nvSpPr>
          <p:spPr bwMode="auto">
            <a:xfrm>
              <a:off x="6325079" y="2549313"/>
              <a:ext cx="910266" cy="914402"/>
            </a:xfrm>
            <a:custGeom>
              <a:avLst/>
              <a:gdLst>
                <a:gd name="T0" fmla="*/ 239 w 280"/>
                <a:gd name="T1" fmla="*/ 66 h 281"/>
                <a:gd name="T2" fmla="*/ 214 w 280"/>
                <a:gd name="T3" fmla="*/ 66 h 281"/>
                <a:gd name="T4" fmla="*/ 214 w 280"/>
                <a:gd name="T5" fmla="*/ 8 h 281"/>
                <a:gd name="T6" fmla="*/ 207 w 280"/>
                <a:gd name="T7" fmla="*/ 0 h 281"/>
                <a:gd name="T8" fmla="*/ 8 w 280"/>
                <a:gd name="T9" fmla="*/ 0 h 281"/>
                <a:gd name="T10" fmla="*/ 0 w 280"/>
                <a:gd name="T11" fmla="*/ 8 h 281"/>
                <a:gd name="T12" fmla="*/ 0 w 280"/>
                <a:gd name="T13" fmla="*/ 207 h 281"/>
                <a:gd name="T14" fmla="*/ 74 w 280"/>
                <a:gd name="T15" fmla="*/ 281 h 281"/>
                <a:gd name="T16" fmla="*/ 141 w 280"/>
                <a:gd name="T17" fmla="*/ 281 h 281"/>
                <a:gd name="T18" fmla="*/ 214 w 280"/>
                <a:gd name="T19" fmla="*/ 214 h 281"/>
                <a:gd name="T20" fmla="*/ 239 w 280"/>
                <a:gd name="T21" fmla="*/ 214 h 281"/>
                <a:gd name="T22" fmla="*/ 280 w 280"/>
                <a:gd name="T23" fmla="*/ 140 h 281"/>
                <a:gd name="T24" fmla="*/ 239 w 280"/>
                <a:gd name="T25" fmla="*/ 66 h 281"/>
                <a:gd name="T26" fmla="*/ 200 w 280"/>
                <a:gd name="T27" fmla="*/ 15 h 281"/>
                <a:gd name="T28" fmla="*/ 200 w 280"/>
                <a:gd name="T29" fmla="*/ 49 h 281"/>
                <a:gd name="T30" fmla="*/ 15 w 280"/>
                <a:gd name="T31" fmla="*/ 49 h 281"/>
                <a:gd name="T32" fmla="*/ 15 w 280"/>
                <a:gd name="T33" fmla="*/ 15 h 281"/>
                <a:gd name="T34" fmla="*/ 200 w 280"/>
                <a:gd name="T35" fmla="*/ 15 h 281"/>
                <a:gd name="T36" fmla="*/ 239 w 280"/>
                <a:gd name="T37" fmla="*/ 199 h 281"/>
                <a:gd name="T38" fmla="*/ 214 w 280"/>
                <a:gd name="T39" fmla="*/ 199 h 281"/>
                <a:gd name="T40" fmla="*/ 214 w 280"/>
                <a:gd name="T41" fmla="*/ 81 h 281"/>
                <a:gd name="T42" fmla="*/ 239 w 280"/>
                <a:gd name="T43" fmla="*/ 81 h 281"/>
                <a:gd name="T44" fmla="*/ 265 w 280"/>
                <a:gd name="T45" fmla="*/ 140 h 281"/>
                <a:gd name="T46" fmla="*/ 239 w 280"/>
                <a:gd name="T47" fmla="*/ 199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0" h="281">
                  <a:moveTo>
                    <a:pt x="239" y="66"/>
                  </a:moveTo>
                  <a:cubicBezTo>
                    <a:pt x="214" y="66"/>
                    <a:pt x="214" y="66"/>
                    <a:pt x="214" y="66"/>
                  </a:cubicBezTo>
                  <a:cubicBezTo>
                    <a:pt x="214" y="8"/>
                    <a:pt x="214" y="8"/>
                    <a:pt x="214" y="8"/>
                  </a:cubicBezTo>
                  <a:cubicBezTo>
                    <a:pt x="214" y="4"/>
                    <a:pt x="211" y="0"/>
                    <a:pt x="207" y="0"/>
                  </a:cubicBezTo>
                  <a:cubicBezTo>
                    <a:pt x="8" y="0"/>
                    <a:pt x="8" y="0"/>
                    <a:pt x="8" y="0"/>
                  </a:cubicBezTo>
                  <a:cubicBezTo>
                    <a:pt x="4" y="0"/>
                    <a:pt x="0" y="4"/>
                    <a:pt x="0" y="8"/>
                  </a:cubicBezTo>
                  <a:cubicBezTo>
                    <a:pt x="0" y="207"/>
                    <a:pt x="0" y="207"/>
                    <a:pt x="0" y="207"/>
                  </a:cubicBezTo>
                  <a:cubicBezTo>
                    <a:pt x="0" y="248"/>
                    <a:pt x="33" y="281"/>
                    <a:pt x="74" y="281"/>
                  </a:cubicBezTo>
                  <a:cubicBezTo>
                    <a:pt x="141" y="281"/>
                    <a:pt x="141" y="281"/>
                    <a:pt x="141" y="281"/>
                  </a:cubicBezTo>
                  <a:cubicBezTo>
                    <a:pt x="179" y="281"/>
                    <a:pt x="211" y="251"/>
                    <a:pt x="214" y="214"/>
                  </a:cubicBezTo>
                  <a:cubicBezTo>
                    <a:pt x="239" y="214"/>
                    <a:pt x="239" y="214"/>
                    <a:pt x="239" y="214"/>
                  </a:cubicBezTo>
                  <a:cubicBezTo>
                    <a:pt x="262" y="214"/>
                    <a:pt x="280" y="181"/>
                    <a:pt x="280" y="140"/>
                  </a:cubicBezTo>
                  <a:cubicBezTo>
                    <a:pt x="280" y="98"/>
                    <a:pt x="262" y="66"/>
                    <a:pt x="239" y="66"/>
                  </a:cubicBezTo>
                  <a:close/>
                  <a:moveTo>
                    <a:pt x="200" y="15"/>
                  </a:moveTo>
                  <a:cubicBezTo>
                    <a:pt x="200" y="49"/>
                    <a:pt x="200" y="49"/>
                    <a:pt x="200" y="49"/>
                  </a:cubicBezTo>
                  <a:cubicBezTo>
                    <a:pt x="15" y="49"/>
                    <a:pt x="15" y="49"/>
                    <a:pt x="15" y="49"/>
                  </a:cubicBezTo>
                  <a:cubicBezTo>
                    <a:pt x="15" y="15"/>
                    <a:pt x="15" y="15"/>
                    <a:pt x="15" y="15"/>
                  </a:cubicBezTo>
                  <a:lnTo>
                    <a:pt x="200" y="15"/>
                  </a:lnTo>
                  <a:close/>
                  <a:moveTo>
                    <a:pt x="239" y="199"/>
                  </a:moveTo>
                  <a:cubicBezTo>
                    <a:pt x="214" y="199"/>
                    <a:pt x="214" y="199"/>
                    <a:pt x="214" y="199"/>
                  </a:cubicBezTo>
                  <a:cubicBezTo>
                    <a:pt x="214" y="81"/>
                    <a:pt x="214" y="81"/>
                    <a:pt x="214" y="81"/>
                  </a:cubicBezTo>
                  <a:cubicBezTo>
                    <a:pt x="239" y="81"/>
                    <a:pt x="239" y="81"/>
                    <a:pt x="239" y="81"/>
                  </a:cubicBezTo>
                  <a:cubicBezTo>
                    <a:pt x="251" y="81"/>
                    <a:pt x="265" y="106"/>
                    <a:pt x="265" y="140"/>
                  </a:cubicBezTo>
                  <a:cubicBezTo>
                    <a:pt x="265" y="174"/>
                    <a:pt x="251" y="199"/>
                    <a:pt x="239" y="199"/>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7" name="Group 6"/>
          <p:cNvGrpSpPr/>
          <p:nvPr/>
        </p:nvGrpSpPr>
        <p:grpSpPr>
          <a:xfrm>
            <a:off x="6344111" y="1371600"/>
            <a:ext cx="2458090" cy="2057400"/>
            <a:chOff x="8456612" y="1828800"/>
            <a:chExt cx="3276600" cy="2743200"/>
          </a:xfrm>
        </p:grpSpPr>
        <p:sp>
          <p:nvSpPr>
            <p:cNvPr id="24" name="Rectangle 23"/>
            <p:cNvSpPr/>
            <p:nvPr/>
          </p:nvSpPr>
          <p:spPr bwMode="auto">
            <a:xfrm>
              <a:off x="8456612" y="1828800"/>
              <a:ext cx="3276600" cy="274320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1700" dirty="0">
                <a:solidFill>
                  <a:srgbClr val="FFFFFF">
                    <a:alpha val="98824"/>
                  </a:srgbClr>
                </a:solidFill>
                <a:ea typeface="Segoe UI" pitchFamily="34" charset="0"/>
                <a:cs typeface="Segoe UI" pitchFamily="34" charset="0"/>
              </a:endParaRPr>
            </a:p>
          </p:txBody>
        </p:sp>
        <p:sp>
          <p:nvSpPr>
            <p:cNvPr id="25" name="Content Placeholder 4"/>
            <p:cNvSpPr txBox="1">
              <a:spLocks/>
            </p:cNvSpPr>
            <p:nvPr/>
          </p:nvSpPr>
          <p:spPr>
            <a:xfrm>
              <a:off x="8647110" y="3780079"/>
              <a:ext cx="2895601" cy="517064"/>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4"/>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4"/>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4"/>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4"/>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en-US" dirty="0" smtClean="0">
                  <a:gradFill>
                    <a:gsLst>
                      <a:gs pos="0">
                        <a:srgbClr val="FFFFFF"/>
                      </a:gs>
                      <a:gs pos="86000">
                        <a:srgbClr val="FFFFFF"/>
                      </a:gs>
                    </a:gsLst>
                    <a:lin ang="5400000" scaled="0"/>
                  </a:gradFill>
                </a:rPr>
                <a:t>Automation</a:t>
              </a:r>
            </a:p>
          </p:txBody>
        </p:sp>
        <p:grpSp>
          <p:nvGrpSpPr>
            <p:cNvPr id="16" name="Group 15"/>
            <p:cNvGrpSpPr/>
            <p:nvPr/>
          </p:nvGrpSpPr>
          <p:grpSpPr bwMode="black">
            <a:xfrm>
              <a:off x="9448424" y="2412859"/>
              <a:ext cx="1292976" cy="1051892"/>
              <a:chOff x="5184775" y="225425"/>
              <a:chExt cx="1500188" cy="1220788"/>
            </a:xfrm>
            <a:solidFill>
              <a:srgbClr val="FFFFFF"/>
            </a:solidFill>
          </p:grpSpPr>
          <p:sp>
            <p:nvSpPr>
              <p:cNvPr id="17" name="Freeform 1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800">
                  <a:solidFill>
                    <a:srgbClr val="FFFFFF"/>
                  </a:solidFill>
                </a:endParaRPr>
              </a:p>
            </p:txBody>
          </p:sp>
          <p:sp>
            <p:nvSpPr>
              <p:cNvPr id="18" name="Oval 1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800">
                  <a:solidFill>
                    <a:srgbClr val="FFFFFF"/>
                  </a:solidFill>
                </a:endParaRPr>
              </a:p>
            </p:txBody>
          </p:sp>
          <p:sp>
            <p:nvSpPr>
              <p:cNvPr id="19" name="Freeform 1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800">
                  <a:solidFill>
                    <a:srgbClr val="FFFFFF"/>
                  </a:solidFill>
                </a:endParaRPr>
              </a:p>
            </p:txBody>
          </p:sp>
        </p:grpSp>
      </p:grpSp>
      <p:sp>
        <p:nvSpPr>
          <p:cNvPr id="20"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1"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5"/>
              </a:rPr>
              <a:t>www.rapidbbs.cn</a:t>
            </a:r>
            <a:endParaRPr lang="zh-CN" altLang="en-US" sz="1200" b="0">
              <a:latin typeface="Arial" charset="0"/>
              <a:ea typeface="ＭＳ Ｐゴシック" pitchFamily="34" charset="-128"/>
            </a:endParaRPr>
          </a:p>
        </p:txBody>
      </p:sp>
      <p:pic>
        <p:nvPicPr>
          <p:cNvPr id="22" name="Picture 2">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000563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p:cNvSpPr/>
          <p:nvPr/>
        </p:nvSpPr>
        <p:spPr bwMode="auto">
          <a:xfrm>
            <a:off x="231145" y="3242935"/>
            <a:ext cx="8663150" cy="1674629"/>
          </a:xfrm>
          <a:prstGeom prst="rect">
            <a:avLst/>
          </a:prstGeom>
          <a:noFill/>
          <a:ln w="381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7071" tIns="28535" rIns="28535" bIns="57071" numCol="1" spcCol="0" rtlCol="0" fromWordArt="0" anchor="b" anchorCtr="0" forceAA="0" compatLnSpc="1">
            <a:prstTxWarp prst="textNoShape">
              <a:avLst/>
            </a:prstTxWarp>
            <a:noAutofit/>
          </a:bodyPr>
          <a:lstStyle/>
          <a:p>
            <a:pPr algn="ctr" defTabSz="570567" fontAlgn="base">
              <a:spcBef>
                <a:spcPct val="0"/>
              </a:spcBef>
              <a:spcAft>
                <a:spcPct val="0"/>
              </a:spcAft>
            </a:pPr>
            <a:endParaRPr lang="en-US" spc="-32"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389448" y="171455"/>
            <a:ext cx="8363938" cy="789447"/>
          </a:xfrm>
        </p:spPr>
        <p:txBody>
          <a:bodyPr/>
          <a:lstStyle/>
          <a:p>
            <a:r>
              <a:rPr lang="en-US" sz="3400" dirty="0"/>
              <a:t>Application Portfolio Management</a:t>
            </a:r>
            <a:br>
              <a:rPr lang="en-US" sz="3400" dirty="0"/>
            </a:br>
            <a:endParaRPr lang="en-US" sz="2300" dirty="0"/>
          </a:p>
        </p:txBody>
      </p:sp>
      <p:sp>
        <p:nvSpPr>
          <p:cNvPr id="22" name="Rectangle 21"/>
          <p:cNvSpPr/>
          <p:nvPr/>
        </p:nvSpPr>
        <p:spPr bwMode="auto">
          <a:xfrm>
            <a:off x="313427" y="1227433"/>
            <a:ext cx="1341564" cy="1572638"/>
          </a:xfrm>
          <a:prstGeom prst="rect">
            <a:avLst/>
          </a:prstGeom>
          <a:solidFill>
            <a:schemeClr val="accent1">
              <a:lumMod val="75000"/>
            </a:schemeClr>
          </a:solidFill>
          <a:ln w="38100" cap="flat" cmpd="sng" algn="ctr">
            <a:solidFill>
              <a:schemeClr val="accent1">
                <a:lumMod val="75000"/>
              </a:schemeClr>
            </a:solidFill>
            <a:prstDash val="solid"/>
            <a:miter lim="800000"/>
            <a:headEnd type="none" w="med" len="med"/>
            <a:tailEnd type="none" w="med" len="med"/>
          </a:ln>
          <a:effectLst/>
        </p:spPr>
        <p:txBody>
          <a:bodyPr rot="0" spcFirstLastPara="0" vertOverflow="overflow" horzOverflow="overflow" vert="horz" wrap="square" lIns="57071" tIns="28535" rIns="28535" bIns="57071" numCol="1" spcCol="0" rtlCol="0" fromWordArt="0" anchor="t" anchorCtr="0" forceAA="0" compatLnSpc="1">
            <a:prstTxWarp prst="textNoShape">
              <a:avLst/>
            </a:prstTxWarp>
            <a:noAutofit/>
          </a:bodyPr>
          <a:lstStyle/>
          <a:p>
            <a:pPr defTabSz="913210">
              <a:defRPr/>
            </a:pPr>
            <a:r>
              <a:rPr lang="en-US" sz="1500" spc="-40" dirty="0">
                <a:gradFill>
                  <a:gsLst>
                    <a:gs pos="0">
                      <a:schemeClr val="tx1"/>
                    </a:gs>
                    <a:gs pos="100000">
                      <a:schemeClr val="tx1"/>
                    </a:gs>
                  </a:gsLst>
                  <a:lin ang="5400000" scaled="0"/>
                </a:gradFill>
                <a:ea typeface="Segoe UI" pitchFamily="34" charset="0"/>
                <a:cs typeface="Segoe UI" pitchFamily="34" charset="0"/>
              </a:rPr>
              <a:t>Relevance of Application to Organization</a:t>
            </a:r>
          </a:p>
        </p:txBody>
      </p:sp>
      <p:sp>
        <p:nvSpPr>
          <p:cNvPr id="25" name="Rectangle 24"/>
          <p:cNvSpPr/>
          <p:nvPr/>
        </p:nvSpPr>
        <p:spPr bwMode="auto">
          <a:xfrm>
            <a:off x="3179639" y="1227435"/>
            <a:ext cx="1341565" cy="1572634"/>
          </a:xfrm>
          <a:prstGeom prst="rect">
            <a:avLst/>
          </a:prstGeom>
          <a:solidFill>
            <a:schemeClr val="accent1">
              <a:lumMod val="75000"/>
            </a:schemeClr>
          </a:solidFill>
          <a:ln w="38100" cap="flat" cmpd="sng" algn="ctr">
            <a:solidFill>
              <a:schemeClr val="accent1">
                <a:lumMod val="75000"/>
              </a:schemeClr>
            </a:solidFill>
            <a:prstDash val="solid"/>
            <a:miter lim="800000"/>
            <a:headEnd type="none" w="med" len="med"/>
            <a:tailEnd type="none" w="med" len="med"/>
          </a:ln>
          <a:effectLst/>
        </p:spPr>
        <p:txBody>
          <a:bodyPr rot="0" spcFirstLastPara="0" vertOverflow="overflow" horzOverflow="overflow" vert="horz" wrap="square" lIns="57071" tIns="28535" rIns="28535" bIns="57071" numCol="1" spcCol="0" rtlCol="0" fromWordArt="0" anchor="t" anchorCtr="0" forceAA="0" compatLnSpc="1">
            <a:prstTxWarp prst="textNoShape">
              <a:avLst/>
            </a:prstTxWarp>
            <a:noAutofit/>
          </a:bodyPr>
          <a:lstStyle/>
          <a:p>
            <a:pPr defTabSz="913210">
              <a:defRPr/>
            </a:pPr>
            <a:r>
              <a:rPr lang="en-US" sz="1500" spc="-40" dirty="0">
                <a:gradFill>
                  <a:gsLst>
                    <a:gs pos="0">
                      <a:schemeClr val="tx1"/>
                    </a:gs>
                    <a:gs pos="100000">
                      <a:schemeClr val="tx1"/>
                    </a:gs>
                  </a:gsLst>
                  <a:lin ang="5400000" scaled="0"/>
                </a:gradFill>
                <a:ea typeface="Segoe UI" pitchFamily="34" charset="0"/>
                <a:cs typeface="Segoe UI" pitchFamily="34" charset="0"/>
              </a:rPr>
              <a:t>Age/Maturity of Application </a:t>
            </a:r>
          </a:p>
        </p:txBody>
      </p:sp>
      <p:sp>
        <p:nvSpPr>
          <p:cNvPr id="28" name="Rectangle 27"/>
          <p:cNvSpPr/>
          <p:nvPr/>
        </p:nvSpPr>
        <p:spPr bwMode="auto">
          <a:xfrm>
            <a:off x="4612745" y="1227444"/>
            <a:ext cx="1354476" cy="1554667"/>
          </a:xfrm>
          <a:prstGeom prst="rect">
            <a:avLst/>
          </a:prstGeom>
          <a:solidFill>
            <a:schemeClr val="accent1">
              <a:lumMod val="75000"/>
            </a:schemeClr>
          </a:solidFill>
          <a:ln w="38100" cap="flat" cmpd="sng" algn="ctr">
            <a:solidFill>
              <a:schemeClr val="accent1">
                <a:lumMod val="75000"/>
              </a:schemeClr>
            </a:solidFill>
            <a:prstDash val="solid"/>
            <a:miter lim="800000"/>
            <a:headEnd type="none" w="med" len="med"/>
            <a:tailEnd type="none" w="med" len="med"/>
          </a:ln>
          <a:effectLst/>
        </p:spPr>
        <p:txBody>
          <a:bodyPr rot="0" spcFirstLastPara="0" vertOverflow="overflow" horzOverflow="overflow" vert="horz" wrap="square" lIns="57071" tIns="28535" rIns="28535" bIns="57071" numCol="1" spcCol="0" rtlCol="0" fromWordArt="0" anchor="t" anchorCtr="0" forceAA="0" compatLnSpc="1">
            <a:prstTxWarp prst="textNoShape">
              <a:avLst/>
            </a:prstTxWarp>
            <a:noAutofit/>
          </a:bodyPr>
          <a:lstStyle/>
          <a:p>
            <a:pPr defTabSz="913210">
              <a:defRPr/>
            </a:pPr>
            <a:r>
              <a:rPr lang="en-US" sz="1500" spc="-40" dirty="0">
                <a:gradFill>
                  <a:gsLst>
                    <a:gs pos="0">
                      <a:schemeClr val="tx1"/>
                    </a:gs>
                    <a:gs pos="100000">
                      <a:schemeClr val="tx1"/>
                    </a:gs>
                  </a:gsLst>
                  <a:lin ang="5400000" scaled="0"/>
                </a:gradFill>
                <a:ea typeface="Segoe UI" pitchFamily="34" charset="0"/>
                <a:cs typeface="Segoe UI" pitchFamily="34" charset="0"/>
              </a:rPr>
              <a:t>Ensure Compliance</a:t>
            </a:r>
          </a:p>
        </p:txBody>
      </p:sp>
      <p:sp>
        <p:nvSpPr>
          <p:cNvPr id="31" name="Rectangle 30"/>
          <p:cNvSpPr/>
          <p:nvPr/>
        </p:nvSpPr>
        <p:spPr bwMode="auto">
          <a:xfrm>
            <a:off x="1746533" y="1227433"/>
            <a:ext cx="1341564" cy="1572638"/>
          </a:xfrm>
          <a:prstGeom prst="rect">
            <a:avLst/>
          </a:prstGeom>
          <a:solidFill>
            <a:schemeClr val="accent1">
              <a:lumMod val="75000"/>
            </a:schemeClr>
          </a:solidFill>
          <a:ln w="38100" cap="flat" cmpd="sng" algn="ctr">
            <a:solidFill>
              <a:schemeClr val="accent1">
                <a:lumMod val="75000"/>
              </a:schemeClr>
            </a:solidFill>
            <a:prstDash val="solid"/>
            <a:miter lim="800000"/>
            <a:headEnd type="none" w="med" len="med"/>
            <a:tailEnd type="none" w="med" len="med"/>
          </a:ln>
          <a:effectLst/>
        </p:spPr>
        <p:txBody>
          <a:bodyPr rot="0" spcFirstLastPara="0" vertOverflow="overflow" horzOverflow="overflow" vert="horz" wrap="square" lIns="57071" tIns="28535" rIns="28535" bIns="57071" numCol="1" spcCol="0" rtlCol="0" fromWordArt="0" anchor="t" anchorCtr="0" forceAA="0" compatLnSpc="1">
            <a:prstTxWarp prst="textNoShape">
              <a:avLst/>
            </a:prstTxWarp>
            <a:noAutofit/>
          </a:bodyPr>
          <a:lstStyle/>
          <a:p>
            <a:pPr defTabSz="913210">
              <a:defRPr/>
            </a:pPr>
            <a:r>
              <a:rPr lang="en-US" sz="1500" spc="-40" dirty="0">
                <a:gradFill>
                  <a:gsLst>
                    <a:gs pos="0">
                      <a:schemeClr val="tx1"/>
                    </a:gs>
                    <a:gs pos="100000">
                      <a:schemeClr val="tx1"/>
                    </a:gs>
                  </a:gsLst>
                  <a:lin ang="5400000" scaled="0"/>
                </a:gradFill>
                <a:ea typeface="Segoe UI" pitchFamily="34" charset="0"/>
                <a:cs typeface="Segoe UI" pitchFamily="34" charset="0"/>
              </a:rPr>
              <a:t>Performance </a:t>
            </a:r>
            <a:br>
              <a:rPr lang="en-US" sz="1500" spc="-40" dirty="0">
                <a:gradFill>
                  <a:gsLst>
                    <a:gs pos="0">
                      <a:schemeClr val="tx1"/>
                    </a:gs>
                    <a:gs pos="100000">
                      <a:schemeClr val="tx1"/>
                    </a:gs>
                  </a:gsLst>
                  <a:lin ang="5400000" scaled="0"/>
                </a:gradFill>
                <a:ea typeface="Segoe UI" pitchFamily="34" charset="0"/>
                <a:cs typeface="Segoe UI" pitchFamily="34" charset="0"/>
              </a:rPr>
            </a:br>
            <a:r>
              <a:rPr lang="en-US" sz="1500" spc="-40" dirty="0">
                <a:gradFill>
                  <a:gsLst>
                    <a:gs pos="0">
                      <a:schemeClr val="tx1"/>
                    </a:gs>
                    <a:gs pos="100000">
                      <a:schemeClr val="tx1"/>
                    </a:gs>
                  </a:gsLst>
                  <a:lin ang="5400000" scaled="0"/>
                </a:gradFill>
                <a:ea typeface="Segoe UI" pitchFamily="34" charset="0"/>
                <a:cs typeface="Segoe UI" pitchFamily="34" charset="0"/>
              </a:rPr>
              <a:t>of Application</a:t>
            </a:r>
          </a:p>
        </p:txBody>
      </p:sp>
      <p:sp>
        <p:nvSpPr>
          <p:cNvPr id="34" name="Rectangle 33"/>
          <p:cNvSpPr/>
          <p:nvPr/>
        </p:nvSpPr>
        <p:spPr bwMode="auto">
          <a:xfrm>
            <a:off x="6058763" y="1227438"/>
            <a:ext cx="1341564" cy="1549205"/>
          </a:xfrm>
          <a:prstGeom prst="rect">
            <a:avLst/>
          </a:prstGeom>
          <a:solidFill>
            <a:schemeClr val="accent1">
              <a:lumMod val="75000"/>
            </a:schemeClr>
          </a:solidFill>
          <a:ln w="38100" cap="flat" cmpd="sng" algn="ctr">
            <a:solidFill>
              <a:schemeClr val="accent1">
                <a:lumMod val="75000"/>
              </a:schemeClr>
            </a:solidFill>
            <a:prstDash val="solid"/>
            <a:miter lim="800000"/>
            <a:headEnd type="none" w="med" len="med"/>
            <a:tailEnd type="none" w="med" len="med"/>
          </a:ln>
          <a:effectLst/>
        </p:spPr>
        <p:txBody>
          <a:bodyPr rot="0" spcFirstLastPara="0" vertOverflow="overflow" horzOverflow="overflow" vert="horz" wrap="square" lIns="57071" tIns="28535" rIns="28535" bIns="57071" numCol="1" spcCol="0" rtlCol="0" fromWordArt="0" anchor="t" anchorCtr="0" forceAA="0" compatLnSpc="1">
            <a:prstTxWarp prst="textNoShape">
              <a:avLst/>
            </a:prstTxWarp>
            <a:noAutofit/>
          </a:bodyPr>
          <a:lstStyle/>
          <a:p>
            <a:pPr defTabSz="913210">
              <a:defRPr/>
            </a:pPr>
            <a:r>
              <a:rPr lang="en-US" sz="1500" spc="-40" dirty="0">
                <a:gradFill>
                  <a:gsLst>
                    <a:gs pos="0">
                      <a:schemeClr val="tx1"/>
                    </a:gs>
                    <a:gs pos="100000">
                      <a:schemeClr val="tx1"/>
                    </a:gs>
                  </a:gsLst>
                  <a:lin ang="5400000" scaled="0"/>
                </a:gradFill>
                <a:ea typeface="Segoe UI" pitchFamily="34" charset="0"/>
                <a:cs typeface="Segoe UI" pitchFamily="34" charset="0"/>
              </a:rPr>
              <a:t>Rewrite or Migration Potential of Application</a:t>
            </a:r>
          </a:p>
        </p:txBody>
      </p:sp>
      <p:sp>
        <p:nvSpPr>
          <p:cNvPr id="38" name="Rectangle 37"/>
          <p:cNvSpPr/>
          <p:nvPr/>
        </p:nvSpPr>
        <p:spPr bwMode="auto">
          <a:xfrm>
            <a:off x="7491870" y="1227437"/>
            <a:ext cx="1341565" cy="1549205"/>
          </a:xfrm>
          <a:prstGeom prst="rect">
            <a:avLst/>
          </a:prstGeom>
          <a:solidFill>
            <a:schemeClr val="accent1">
              <a:lumMod val="75000"/>
            </a:schemeClr>
          </a:solidFill>
          <a:ln w="38100" cap="flat" cmpd="sng" algn="ctr">
            <a:solidFill>
              <a:schemeClr val="accent1">
                <a:lumMod val="75000"/>
              </a:schemeClr>
            </a:solidFill>
            <a:prstDash val="solid"/>
            <a:miter lim="800000"/>
            <a:headEnd type="none" w="med" len="med"/>
            <a:tailEnd type="none" w="med" len="med"/>
          </a:ln>
          <a:effectLst/>
        </p:spPr>
        <p:txBody>
          <a:bodyPr rot="0" spcFirstLastPara="0" vertOverflow="overflow" horzOverflow="overflow" vert="horz" wrap="square" lIns="57071" tIns="28535" rIns="28535" bIns="57071" numCol="1" spcCol="0" rtlCol="0" fromWordArt="0" anchor="t" anchorCtr="0" forceAA="0" compatLnSpc="1">
            <a:prstTxWarp prst="textNoShape">
              <a:avLst/>
            </a:prstTxWarp>
            <a:noAutofit/>
          </a:bodyPr>
          <a:lstStyle/>
          <a:p>
            <a:pPr defTabSz="913210">
              <a:defRPr/>
            </a:pPr>
            <a:r>
              <a:rPr lang="en-US" sz="1500" spc="-40" dirty="0">
                <a:gradFill>
                  <a:gsLst>
                    <a:gs pos="0">
                      <a:schemeClr val="tx1"/>
                    </a:gs>
                    <a:gs pos="100000">
                      <a:schemeClr val="tx1"/>
                    </a:gs>
                  </a:gsLst>
                  <a:lin ang="5400000" scaled="0"/>
                </a:gradFill>
                <a:ea typeface="Segoe UI" pitchFamily="34" charset="0"/>
                <a:cs typeface="Segoe UI" pitchFamily="34" charset="0"/>
              </a:rPr>
              <a:t>Hardware Refresh </a:t>
            </a:r>
          </a:p>
          <a:p>
            <a:pPr defTabSz="913210">
              <a:defRPr/>
            </a:pPr>
            <a:r>
              <a:rPr lang="en-US" sz="1500" spc="-40" dirty="0">
                <a:gradFill>
                  <a:gsLst>
                    <a:gs pos="0">
                      <a:schemeClr val="tx1"/>
                    </a:gs>
                    <a:gs pos="100000">
                      <a:schemeClr val="tx1"/>
                    </a:gs>
                  </a:gsLst>
                  <a:lin ang="5400000" scaled="0"/>
                </a:gradFill>
                <a:ea typeface="Segoe UI" pitchFamily="34" charset="0"/>
                <a:cs typeface="Segoe UI" pitchFamily="34" charset="0"/>
              </a:rPr>
              <a:t>Cycle</a:t>
            </a:r>
          </a:p>
        </p:txBody>
      </p:sp>
      <p:sp>
        <p:nvSpPr>
          <p:cNvPr id="20" name="Rectangle 19"/>
          <p:cNvSpPr/>
          <p:nvPr/>
        </p:nvSpPr>
        <p:spPr>
          <a:xfrm>
            <a:off x="314530" y="593335"/>
            <a:ext cx="8518903" cy="380796"/>
          </a:xfrm>
          <a:prstGeom prst="rect">
            <a:avLst/>
          </a:prstGeom>
        </p:spPr>
        <p:txBody>
          <a:bodyPr wrap="square" lIns="57071" tIns="28535" rIns="57071" bIns="28535">
            <a:spAutoFit/>
          </a:bodyPr>
          <a:lstStyle/>
          <a:p>
            <a:r>
              <a:rPr lang="en-US" sz="2100" spc="-75" dirty="0">
                <a:ln w="3175">
                  <a:noFill/>
                </a:ln>
                <a:gradFill>
                  <a:gsLst>
                    <a:gs pos="0">
                      <a:schemeClr val="accent1"/>
                    </a:gs>
                    <a:gs pos="100000">
                      <a:schemeClr val="accent1"/>
                    </a:gs>
                  </a:gsLst>
                  <a:lin ang="5400000" scaled="0"/>
                </a:gradFill>
                <a:cs typeface="Arial" charset="0"/>
              </a:rPr>
              <a:t>The highest level of choice, flexibility for managing your applications </a:t>
            </a:r>
          </a:p>
        </p:txBody>
      </p:sp>
      <p:grpSp>
        <p:nvGrpSpPr>
          <p:cNvPr id="3" name="Group 2"/>
          <p:cNvGrpSpPr/>
          <p:nvPr/>
        </p:nvGrpSpPr>
        <p:grpSpPr>
          <a:xfrm>
            <a:off x="231145" y="819162"/>
            <a:ext cx="8663150" cy="2075201"/>
            <a:chOff x="308113" y="1092207"/>
            <a:chExt cx="11547859" cy="2766935"/>
          </a:xfrm>
        </p:grpSpPr>
        <p:sp>
          <p:nvSpPr>
            <p:cNvPr id="26" name="Rectangle 25"/>
            <p:cNvSpPr/>
            <p:nvPr/>
          </p:nvSpPr>
          <p:spPr bwMode="auto">
            <a:xfrm>
              <a:off x="308113" y="1092207"/>
              <a:ext cx="11547859" cy="1127760"/>
            </a:xfrm>
            <a:prstGeom prst="rect">
              <a:avLst/>
            </a:prstGeom>
            <a:solidFill>
              <a:schemeClr val="accent1"/>
            </a:solidFill>
            <a:ln w="381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19" tIns="45661" rIns="45661" bIns="91319" numCol="1" spcCol="0" rtlCol="0" fromWordArt="0" anchor="ctr" anchorCtr="0" forceAA="0" compatLnSpc="1">
              <a:prstTxWarp prst="textNoShape">
                <a:avLst/>
              </a:prstTxWarp>
              <a:noAutofit/>
            </a:bodyPr>
            <a:lstStyle/>
            <a:p>
              <a:pPr marL="171204" algn="ctr" defTabSz="684580" fontAlgn="base">
                <a:spcBef>
                  <a:spcPct val="0"/>
                </a:spcBef>
                <a:spcAft>
                  <a:spcPct val="0"/>
                </a:spcAft>
              </a:pPr>
              <a:r>
                <a:rPr lang="en-US" sz="2500" b="1" dirty="0">
                  <a:gradFill>
                    <a:gsLst>
                      <a:gs pos="0">
                        <a:schemeClr val="tx1"/>
                      </a:gs>
                      <a:gs pos="86000">
                        <a:schemeClr val="tx1"/>
                      </a:gs>
                    </a:gsLst>
                    <a:lin ang="5400000" scaled="0"/>
                  </a:gradFill>
                  <a:latin typeface="Segoe UI Light"/>
                </a:rPr>
                <a:t>Hybrid IT</a:t>
              </a:r>
            </a:p>
          </p:txBody>
        </p:sp>
        <p:grpSp>
          <p:nvGrpSpPr>
            <p:cNvPr id="27" name="Group 26"/>
            <p:cNvGrpSpPr/>
            <p:nvPr/>
          </p:nvGrpSpPr>
          <p:grpSpPr>
            <a:xfrm>
              <a:off x="4378374" y="2371579"/>
              <a:ext cx="3428109" cy="1487563"/>
              <a:chOff x="5310421" y="3274346"/>
              <a:chExt cx="4114802" cy="1785075"/>
            </a:xfrm>
          </p:grpSpPr>
          <p:sp>
            <p:nvSpPr>
              <p:cNvPr id="29" name="Rectangle 28"/>
              <p:cNvSpPr/>
              <p:nvPr/>
            </p:nvSpPr>
            <p:spPr bwMode="auto">
              <a:xfrm>
                <a:off x="5310421" y="3381153"/>
                <a:ext cx="4114802" cy="143742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03120" tIns="45720" rIns="457200" bIns="182880" numCol="1" spcCol="0" rtlCol="0" fromWordArt="0" anchor="b" anchorCtr="0" forceAA="0" compatLnSpc="1">
                <a:prstTxWarp prst="textNoShape">
                  <a:avLst/>
                </a:prstTxWarp>
                <a:noAutofit/>
              </a:bodyPr>
              <a:lstStyle/>
              <a:p>
                <a:pPr>
                  <a:lnSpc>
                    <a:spcPct val="90000"/>
                  </a:lnSpc>
                </a:pPr>
                <a:r>
                  <a:rPr lang="en-US" sz="1700" dirty="0">
                    <a:gradFill>
                      <a:gsLst>
                        <a:gs pos="0">
                          <a:schemeClr val="tx1"/>
                        </a:gs>
                        <a:gs pos="86000">
                          <a:schemeClr val="tx1"/>
                        </a:gs>
                      </a:gsLst>
                      <a:lin ang="5400000" scaled="0"/>
                    </a:gradFill>
                    <a:ea typeface="Segoe UI" pitchFamily="34" charset="0"/>
                    <a:cs typeface="Segoe UI" pitchFamily="34" charset="0"/>
                  </a:rPr>
                  <a:t>Private</a:t>
                </a:r>
              </a:p>
              <a:p>
                <a:pPr>
                  <a:lnSpc>
                    <a:spcPct val="90000"/>
                  </a:lnSpc>
                </a:pPr>
                <a:r>
                  <a:rPr lang="en-US" sz="900" dirty="0">
                    <a:gradFill>
                      <a:gsLst>
                        <a:gs pos="0">
                          <a:schemeClr val="tx1"/>
                        </a:gs>
                        <a:gs pos="86000">
                          <a:schemeClr val="tx1"/>
                        </a:gs>
                      </a:gsLst>
                      <a:lin ang="5400000" scaled="0"/>
                    </a:gradFill>
                    <a:ea typeface="Segoe UI" pitchFamily="34" charset="0"/>
                    <a:cs typeface="Segoe UI" pitchFamily="34" charset="0"/>
                  </a:rPr>
                  <a:t>CLOUD: </a:t>
                </a:r>
                <a:br>
                  <a:rPr lang="en-US" sz="900" dirty="0">
                    <a:gradFill>
                      <a:gsLst>
                        <a:gs pos="0">
                          <a:schemeClr val="tx1"/>
                        </a:gs>
                        <a:gs pos="86000">
                          <a:schemeClr val="tx1"/>
                        </a:gs>
                      </a:gsLst>
                      <a:lin ang="5400000" scaled="0"/>
                    </a:gradFill>
                    <a:ea typeface="Segoe UI" pitchFamily="34" charset="0"/>
                    <a:cs typeface="Segoe UI" pitchFamily="34" charset="0"/>
                  </a:rPr>
                </a:br>
                <a:r>
                  <a:rPr lang="en-US" sz="900" dirty="0">
                    <a:gradFill>
                      <a:gsLst>
                        <a:gs pos="0">
                          <a:schemeClr val="tx1"/>
                        </a:gs>
                        <a:gs pos="86000">
                          <a:schemeClr val="tx1"/>
                        </a:gs>
                      </a:gsLst>
                      <a:lin ang="5400000" scaled="0"/>
                    </a:gradFill>
                    <a:ea typeface="Segoe UI" pitchFamily="34" charset="0"/>
                    <a:cs typeface="Segoe UI" pitchFamily="34" charset="0"/>
                  </a:rPr>
                  <a:t>On-premises Cloud</a:t>
                </a:r>
                <a:endParaRPr lang="fi-FI" sz="900" dirty="0">
                  <a:gradFill>
                    <a:gsLst>
                      <a:gs pos="0">
                        <a:schemeClr val="tx1"/>
                      </a:gs>
                      <a:gs pos="86000">
                        <a:schemeClr val="tx1"/>
                      </a:gs>
                    </a:gsLst>
                    <a:lin ang="5400000" scaled="0"/>
                  </a:gradFill>
                  <a:ea typeface="Segoe UI" pitchFamily="34" charset="0"/>
                  <a:cs typeface="Segoe UI" pitchFamily="34" charset="0"/>
                </a:endParaRPr>
              </a:p>
            </p:txBody>
          </p:sp>
          <p:pic>
            <p:nvPicPr>
              <p:cNvPr id="30" name="Picture 2" descr="\\MAGNUM\Projects\Microsoft\Cloud Power FY12\Design\ICONS_PNG\Tower.png"/>
              <p:cNvPicPr>
                <a:picLocks noChangeAspect="1" noChangeArrowheads="1"/>
              </p:cNvPicPr>
              <p:nvPr/>
            </p:nvPicPr>
            <p:blipFill>
              <a:blip r:embed="rId3" cstate="print">
                <a:lum bright="100000" contrast="100000"/>
              </a:blip>
              <a:stretch>
                <a:fillRect/>
              </a:stretch>
            </p:blipFill>
            <p:spPr bwMode="auto">
              <a:xfrm>
                <a:off x="5423298" y="3274346"/>
                <a:ext cx="1785540" cy="1785075"/>
              </a:xfrm>
              <a:prstGeom prst="rect">
                <a:avLst/>
              </a:prstGeom>
              <a:noFill/>
            </p:spPr>
          </p:pic>
        </p:grpSp>
        <p:grpSp>
          <p:nvGrpSpPr>
            <p:cNvPr id="32" name="Group 31"/>
            <p:cNvGrpSpPr/>
            <p:nvPr/>
          </p:nvGrpSpPr>
          <p:grpSpPr>
            <a:xfrm>
              <a:off x="507830" y="2425139"/>
              <a:ext cx="3560901" cy="1268738"/>
              <a:chOff x="343844" y="3338621"/>
              <a:chExt cx="4274193" cy="1522485"/>
            </a:xfrm>
          </p:grpSpPr>
          <p:sp>
            <p:nvSpPr>
              <p:cNvPr id="33" name="Rectangle 32"/>
              <p:cNvSpPr/>
              <p:nvPr/>
            </p:nvSpPr>
            <p:spPr bwMode="auto">
              <a:xfrm>
                <a:off x="503238" y="3381152"/>
                <a:ext cx="4114799" cy="143742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0" tIns="45720" rIns="457200" bIns="182880" numCol="1" spcCol="0" rtlCol="0" fromWordArt="0" anchor="ctr" anchorCtr="0" forceAA="0" compatLnSpc="1">
                <a:prstTxWarp prst="textNoShape">
                  <a:avLst/>
                </a:prstTxWarp>
                <a:noAutofit/>
              </a:bodyPr>
              <a:lstStyle/>
              <a:p>
                <a:pPr>
                  <a:lnSpc>
                    <a:spcPct val="90000"/>
                  </a:lnSpc>
                </a:pPr>
                <a:r>
                  <a:rPr lang="en-US" sz="1700" dirty="0">
                    <a:gradFill>
                      <a:gsLst>
                        <a:gs pos="0">
                          <a:schemeClr val="tx1"/>
                        </a:gs>
                        <a:gs pos="86000">
                          <a:schemeClr val="tx1"/>
                        </a:gs>
                      </a:gsLst>
                      <a:lin ang="5400000" scaled="0"/>
                    </a:gradFill>
                    <a:ea typeface="Segoe UI" pitchFamily="34" charset="0"/>
                    <a:cs typeface="Segoe UI" pitchFamily="34" charset="0"/>
                  </a:rPr>
                  <a:t>Traditional</a:t>
                </a:r>
              </a:p>
              <a:p>
                <a:r>
                  <a:rPr lang="en-US" sz="900" dirty="0">
                    <a:gradFill>
                      <a:gsLst>
                        <a:gs pos="0">
                          <a:schemeClr val="tx1"/>
                        </a:gs>
                        <a:gs pos="86000">
                          <a:schemeClr val="tx1"/>
                        </a:gs>
                      </a:gsLst>
                      <a:lin ang="5400000" scaled="0"/>
                    </a:gradFill>
                    <a:ea typeface="Segoe UI" pitchFamily="34" charset="0"/>
                    <a:cs typeface="Segoe UI" pitchFamily="34" charset="0"/>
                  </a:rPr>
                  <a:t>NON-VIRTUALIZED</a:t>
                </a:r>
              </a:p>
            </p:txBody>
          </p:sp>
          <p:grpSp>
            <p:nvGrpSpPr>
              <p:cNvPr id="36" name="Group 35"/>
              <p:cNvGrpSpPr/>
              <p:nvPr/>
            </p:nvGrpSpPr>
            <p:grpSpPr>
              <a:xfrm>
                <a:off x="343844" y="3338621"/>
                <a:ext cx="1988110" cy="1522485"/>
                <a:chOff x="1880557" y="3286217"/>
                <a:chExt cx="2044071" cy="1565746"/>
              </a:xfrm>
            </p:grpSpPr>
            <p:pic>
              <p:nvPicPr>
                <p:cNvPr id="40" name="Picture 2" descr="\\MAGNUM\Projects\Microsoft\Cloud Power FY12\Design\Icons\PNGs\Server_2.png"/>
                <p:cNvPicPr>
                  <a:picLocks noChangeAspect="1" noChangeArrowheads="1"/>
                </p:cNvPicPr>
                <p:nvPr/>
              </p:nvPicPr>
              <p:blipFill>
                <a:blip r:embed="rId4" cstate="print">
                  <a:lum bright="100000"/>
                </a:blip>
                <a:srcRect/>
                <a:stretch>
                  <a:fillRect/>
                </a:stretch>
              </p:blipFill>
              <p:spPr bwMode="auto">
                <a:xfrm>
                  <a:off x="1880557" y="3476001"/>
                  <a:ext cx="1175083" cy="1175083"/>
                </a:xfrm>
                <a:prstGeom prst="rect">
                  <a:avLst/>
                </a:prstGeom>
                <a:noFill/>
              </p:spPr>
            </p:pic>
            <p:pic>
              <p:nvPicPr>
                <p:cNvPr id="41" name="Picture 2" descr="\\MAGNUM\Projects\Microsoft\Cloud Power FY12\Design\Icons\PNGs\Server_2.png"/>
                <p:cNvPicPr>
                  <a:picLocks noChangeAspect="1" noChangeArrowheads="1"/>
                </p:cNvPicPr>
                <p:nvPr/>
              </p:nvPicPr>
              <p:blipFill>
                <a:blip r:embed="rId4" cstate="print">
                  <a:lum bright="100000"/>
                </a:blip>
                <a:srcRect/>
                <a:stretch>
                  <a:fillRect/>
                </a:stretch>
              </p:blipFill>
              <p:spPr bwMode="auto">
                <a:xfrm>
                  <a:off x="2749545" y="3476001"/>
                  <a:ext cx="1175083" cy="1175083"/>
                </a:xfrm>
                <a:prstGeom prst="rect">
                  <a:avLst/>
                </a:prstGeom>
                <a:noFill/>
              </p:spPr>
            </p:pic>
            <p:pic>
              <p:nvPicPr>
                <p:cNvPr id="42" name="Picture 2" descr="\\MAGNUM\Projects\Microsoft\Cloud Power FY12\Design\Icons\PNGs\Server_2.png"/>
                <p:cNvPicPr>
                  <a:picLocks noChangeAspect="1" noChangeArrowheads="1"/>
                </p:cNvPicPr>
                <p:nvPr/>
              </p:nvPicPr>
              <p:blipFill>
                <a:blip r:embed="rId4" cstate="print">
                  <a:lum bright="100000"/>
                </a:blip>
                <a:srcRect/>
                <a:stretch>
                  <a:fillRect/>
                </a:stretch>
              </p:blipFill>
              <p:spPr bwMode="auto">
                <a:xfrm>
                  <a:off x="2183919" y="3286217"/>
                  <a:ext cx="1565746" cy="1565746"/>
                </a:xfrm>
                <a:prstGeom prst="rect">
                  <a:avLst/>
                </a:prstGeom>
                <a:noFill/>
              </p:spPr>
            </p:pic>
          </p:grpSp>
        </p:grpSp>
        <p:grpSp>
          <p:nvGrpSpPr>
            <p:cNvPr id="43" name="Group 42"/>
            <p:cNvGrpSpPr/>
            <p:nvPr/>
          </p:nvGrpSpPr>
          <p:grpSpPr>
            <a:xfrm>
              <a:off x="8119204" y="2460582"/>
              <a:ext cx="3428107" cy="1299730"/>
              <a:chOff x="9717678" y="3381153"/>
              <a:chExt cx="4114800" cy="1559676"/>
            </a:xfrm>
          </p:grpSpPr>
          <p:sp>
            <p:nvSpPr>
              <p:cNvPr id="44" name="Rectangle 43"/>
              <p:cNvSpPr/>
              <p:nvPr/>
            </p:nvSpPr>
            <p:spPr bwMode="auto">
              <a:xfrm>
                <a:off x="9717678" y="3381153"/>
                <a:ext cx="4114800" cy="1437421"/>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03120" tIns="45720" rIns="457200" bIns="182880" numCol="1" spcCol="0" rtlCol="0" fromWordArt="0" anchor="b" anchorCtr="0" forceAA="0" compatLnSpc="1">
                <a:prstTxWarp prst="textNoShape">
                  <a:avLst/>
                </a:prstTxWarp>
                <a:noAutofit/>
              </a:bodyPr>
              <a:lstStyle/>
              <a:p>
                <a:pPr>
                  <a:lnSpc>
                    <a:spcPct val="90000"/>
                  </a:lnSpc>
                </a:pPr>
                <a:r>
                  <a:rPr lang="en-US" sz="1700" dirty="0">
                    <a:gradFill>
                      <a:gsLst>
                        <a:gs pos="0">
                          <a:schemeClr val="tx1"/>
                        </a:gs>
                        <a:gs pos="86000">
                          <a:schemeClr val="tx1"/>
                        </a:gs>
                      </a:gsLst>
                      <a:lin ang="5400000" scaled="0"/>
                    </a:gradFill>
                    <a:ea typeface="Segoe UI" pitchFamily="34" charset="0"/>
                    <a:cs typeface="Segoe UI" pitchFamily="34" charset="0"/>
                  </a:rPr>
                  <a:t>Public</a:t>
                </a:r>
              </a:p>
              <a:p>
                <a:pPr>
                  <a:lnSpc>
                    <a:spcPct val="90000"/>
                  </a:lnSpc>
                </a:pPr>
                <a:r>
                  <a:rPr lang="en-US" sz="900" dirty="0">
                    <a:gradFill>
                      <a:gsLst>
                        <a:gs pos="0">
                          <a:schemeClr val="tx1"/>
                        </a:gs>
                        <a:gs pos="86000">
                          <a:schemeClr val="tx1"/>
                        </a:gs>
                      </a:gsLst>
                      <a:lin ang="5400000" scaled="0"/>
                    </a:gradFill>
                    <a:ea typeface="Segoe UI" pitchFamily="34" charset="0"/>
                    <a:cs typeface="Segoe UI" pitchFamily="34" charset="0"/>
                  </a:rPr>
                  <a:t>CLOUD: </a:t>
                </a:r>
                <a:br>
                  <a:rPr lang="en-US" sz="900" dirty="0">
                    <a:gradFill>
                      <a:gsLst>
                        <a:gs pos="0">
                          <a:schemeClr val="tx1"/>
                        </a:gs>
                        <a:gs pos="86000">
                          <a:schemeClr val="tx1"/>
                        </a:gs>
                      </a:gsLst>
                      <a:lin ang="5400000" scaled="0"/>
                    </a:gradFill>
                    <a:ea typeface="Segoe UI" pitchFamily="34" charset="0"/>
                    <a:cs typeface="Segoe UI" pitchFamily="34" charset="0"/>
                  </a:rPr>
                </a:br>
                <a:r>
                  <a:rPr lang="en-US" sz="900" dirty="0">
                    <a:gradFill>
                      <a:gsLst>
                        <a:gs pos="0">
                          <a:schemeClr val="tx1"/>
                        </a:gs>
                        <a:gs pos="86000">
                          <a:schemeClr val="tx1"/>
                        </a:gs>
                      </a:gsLst>
                      <a:lin ang="5400000" scaled="0"/>
                    </a:gradFill>
                    <a:ea typeface="Segoe UI" pitchFamily="34" charset="0"/>
                    <a:cs typeface="Segoe UI" pitchFamily="34" charset="0"/>
                  </a:rPr>
                  <a:t>Off-premises Cloud</a:t>
                </a:r>
                <a:endParaRPr lang="fi-FI" sz="900" dirty="0">
                  <a:gradFill>
                    <a:gsLst>
                      <a:gs pos="0">
                        <a:schemeClr val="tx1"/>
                      </a:gs>
                      <a:gs pos="86000">
                        <a:schemeClr val="tx1"/>
                      </a:gs>
                    </a:gsLst>
                    <a:lin ang="5400000" scaled="0"/>
                  </a:gradFill>
                  <a:ea typeface="Segoe UI" pitchFamily="34" charset="0"/>
                  <a:cs typeface="Segoe UI" pitchFamily="34" charset="0"/>
                </a:endParaRPr>
              </a:p>
            </p:txBody>
          </p:sp>
          <p:pic>
            <p:nvPicPr>
              <p:cNvPr id="46" name="Picture 2" descr="\\MAGNUM\Projects\Microsoft\Cloud Power FY12\Design\Icons\PNGs\Cloud.png"/>
              <p:cNvPicPr>
                <a:picLocks noChangeAspect="1" noChangeArrowheads="1"/>
              </p:cNvPicPr>
              <p:nvPr/>
            </p:nvPicPr>
            <p:blipFill>
              <a:blip r:embed="rId5" cstate="screen">
                <a:lum bright="100000"/>
              </a:blip>
              <a:srcRect/>
              <a:stretch>
                <a:fillRect/>
              </a:stretch>
            </p:blipFill>
            <p:spPr bwMode="auto">
              <a:xfrm>
                <a:off x="9717678" y="3392936"/>
                <a:ext cx="1548295" cy="1547893"/>
              </a:xfrm>
              <a:prstGeom prst="rect">
                <a:avLst/>
              </a:prstGeom>
              <a:noFill/>
            </p:spPr>
          </p:pic>
        </p:grpSp>
      </p:grpSp>
      <p:sp>
        <p:nvSpPr>
          <p:cNvPr id="35"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7"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6"/>
              </a:rPr>
              <a:t>www.rapidbbs.cn</a:t>
            </a:r>
            <a:endParaRPr lang="zh-CN" altLang="en-US" sz="1200" b="0">
              <a:latin typeface="Arial" charset="0"/>
              <a:ea typeface="ＭＳ Ｐゴシック" pitchFamily="34" charset="-128"/>
            </a:endParaRPr>
          </a:p>
        </p:txBody>
      </p:sp>
      <p:pic>
        <p:nvPicPr>
          <p:cNvPr id="39" name="Picture 2">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183497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decel="100000" fill="hold" nodeType="clickEffect">
                                  <p:stCondLst>
                                    <p:cond delay="0"/>
                                  </p:stCondLst>
                                  <p:childTnLst>
                                    <p:animMotion origin="layout" path="M 1.49306E-6 1.79012E-6 L 1.49306E-6 0.37288 " pathEditMode="relative" rAng="0" ptsTypes="AA">
                                      <p:cBhvr>
                                        <p:cTn id="6" dur="1000" fill="hold"/>
                                        <p:tgtEl>
                                          <p:spTgt spid="3"/>
                                        </p:tgtEl>
                                        <p:attrNameLst>
                                          <p:attrName>ppt_x</p:attrName>
                                          <p:attrName>ppt_y</p:attrName>
                                        </p:attrNameLst>
                                      </p:cBhvr>
                                      <p:rCtr x="0" y="18634"/>
                                    </p:animMotion>
                                  </p:childTnLst>
                                </p:cTn>
                              </p:par>
                            </p:childTnLst>
                          </p:cTn>
                        </p:par>
                        <p:par>
                          <p:cTn id="7" fill="hold">
                            <p:stCondLst>
                              <p:cond delay="1000"/>
                            </p:stCondLst>
                            <p:childTnLst>
                              <p:par>
                                <p:cTn id="8" presetID="22" presetClass="entr" presetSubtype="8" fill="hold" grpId="0" nodeType="after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wipe(left)">
                                      <p:cBhvr>
                                        <p:cTn id="10" dur="500"/>
                                        <p:tgtEl>
                                          <p:spTgt spid="20"/>
                                        </p:tgtEl>
                                      </p:cBhvr>
                                    </p:animEffect>
                                  </p:childTnLst>
                                </p:cTn>
                              </p:par>
                            </p:childTnLst>
                          </p:cTn>
                        </p:par>
                        <p:par>
                          <p:cTn id="11" fill="hold">
                            <p:stCondLst>
                              <p:cond delay="1500"/>
                            </p:stCondLst>
                            <p:childTnLst>
                              <p:par>
                                <p:cTn id="12" presetID="22" presetClass="entr" presetSubtype="4" fill="hold" grpId="0" nodeType="afterEffect">
                                  <p:stCondLst>
                                    <p:cond delay="0"/>
                                  </p:stCondLst>
                                  <p:childTnLst>
                                    <p:set>
                                      <p:cBhvr>
                                        <p:cTn id="13" dur="1" fill="hold">
                                          <p:stCondLst>
                                            <p:cond delay="0"/>
                                          </p:stCondLst>
                                        </p:cTn>
                                        <p:tgtEl>
                                          <p:spTgt spid="22"/>
                                        </p:tgtEl>
                                        <p:attrNameLst>
                                          <p:attrName>style.visibility</p:attrName>
                                        </p:attrNameLst>
                                      </p:cBhvr>
                                      <p:to>
                                        <p:strVal val="visible"/>
                                      </p:to>
                                    </p:set>
                                    <p:animEffect transition="in" filter="wipe(down)">
                                      <p:cBhvr>
                                        <p:cTn id="14" dur="500"/>
                                        <p:tgtEl>
                                          <p:spTgt spid="22"/>
                                        </p:tgtEl>
                                      </p:cBhvr>
                                    </p:animEffect>
                                  </p:childTnLst>
                                </p:cTn>
                              </p:par>
                              <p:par>
                                <p:cTn id="15" presetID="22" presetClass="entr" presetSubtype="4" fill="hold" grpId="0" nodeType="withEffect">
                                  <p:stCondLst>
                                    <p:cond delay="250"/>
                                  </p:stCondLst>
                                  <p:childTnLst>
                                    <p:set>
                                      <p:cBhvr>
                                        <p:cTn id="16" dur="1" fill="hold">
                                          <p:stCondLst>
                                            <p:cond delay="0"/>
                                          </p:stCondLst>
                                        </p:cTn>
                                        <p:tgtEl>
                                          <p:spTgt spid="31"/>
                                        </p:tgtEl>
                                        <p:attrNameLst>
                                          <p:attrName>style.visibility</p:attrName>
                                        </p:attrNameLst>
                                      </p:cBhvr>
                                      <p:to>
                                        <p:strVal val="visible"/>
                                      </p:to>
                                    </p:set>
                                    <p:animEffect transition="in" filter="wipe(down)">
                                      <p:cBhvr>
                                        <p:cTn id="17" dur="500"/>
                                        <p:tgtEl>
                                          <p:spTgt spid="31"/>
                                        </p:tgtEl>
                                      </p:cBhvr>
                                    </p:animEffect>
                                  </p:childTnLst>
                                </p:cTn>
                              </p:par>
                              <p:par>
                                <p:cTn id="18" presetID="22" presetClass="entr" presetSubtype="4" fill="hold" grpId="0" nodeType="withEffect">
                                  <p:stCondLst>
                                    <p:cond delay="500"/>
                                  </p:stCondLst>
                                  <p:childTnLst>
                                    <p:set>
                                      <p:cBhvr>
                                        <p:cTn id="19" dur="1" fill="hold">
                                          <p:stCondLst>
                                            <p:cond delay="0"/>
                                          </p:stCondLst>
                                        </p:cTn>
                                        <p:tgtEl>
                                          <p:spTgt spid="25"/>
                                        </p:tgtEl>
                                        <p:attrNameLst>
                                          <p:attrName>style.visibility</p:attrName>
                                        </p:attrNameLst>
                                      </p:cBhvr>
                                      <p:to>
                                        <p:strVal val="visible"/>
                                      </p:to>
                                    </p:set>
                                    <p:animEffect transition="in" filter="wipe(down)">
                                      <p:cBhvr>
                                        <p:cTn id="20" dur="500"/>
                                        <p:tgtEl>
                                          <p:spTgt spid="25"/>
                                        </p:tgtEl>
                                      </p:cBhvr>
                                    </p:animEffect>
                                  </p:childTnLst>
                                </p:cTn>
                              </p:par>
                              <p:par>
                                <p:cTn id="21" presetID="22" presetClass="entr" presetSubtype="4" fill="hold" grpId="0" nodeType="withEffect">
                                  <p:stCondLst>
                                    <p:cond delay="750"/>
                                  </p:stCondLst>
                                  <p:childTnLst>
                                    <p:set>
                                      <p:cBhvr>
                                        <p:cTn id="22" dur="1" fill="hold">
                                          <p:stCondLst>
                                            <p:cond delay="0"/>
                                          </p:stCondLst>
                                        </p:cTn>
                                        <p:tgtEl>
                                          <p:spTgt spid="28"/>
                                        </p:tgtEl>
                                        <p:attrNameLst>
                                          <p:attrName>style.visibility</p:attrName>
                                        </p:attrNameLst>
                                      </p:cBhvr>
                                      <p:to>
                                        <p:strVal val="visible"/>
                                      </p:to>
                                    </p:set>
                                    <p:animEffect transition="in" filter="wipe(down)">
                                      <p:cBhvr>
                                        <p:cTn id="23" dur="500"/>
                                        <p:tgtEl>
                                          <p:spTgt spid="28"/>
                                        </p:tgtEl>
                                      </p:cBhvr>
                                    </p:animEffect>
                                  </p:childTnLst>
                                </p:cTn>
                              </p:par>
                              <p:par>
                                <p:cTn id="24" presetID="22" presetClass="entr" presetSubtype="4" fill="hold" grpId="0" nodeType="withEffect">
                                  <p:stCondLst>
                                    <p:cond delay="1000"/>
                                  </p:stCondLst>
                                  <p:childTnLst>
                                    <p:set>
                                      <p:cBhvr>
                                        <p:cTn id="25" dur="1" fill="hold">
                                          <p:stCondLst>
                                            <p:cond delay="0"/>
                                          </p:stCondLst>
                                        </p:cTn>
                                        <p:tgtEl>
                                          <p:spTgt spid="34"/>
                                        </p:tgtEl>
                                        <p:attrNameLst>
                                          <p:attrName>style.visibility</p:attrName>
                                        </p:attrNameLst>
                                      </p:cBhvr>
                                      <p:to>
                                        <p:strVal val="visible"/>
                                      </p:to>
                                    </p:set>
                                    <p:animEffect transition="in" filter="wipe(down)">
                                      <p:cBhvr>
                                        <p:cTn id="26" dur="500"/>
                                        <p:tgtEl>
                                          <p:spTgt spid="34"/>
                                        </p:tgtEl>
                                      </p:cBhvr>
                                    </p:animEffect>
                                  </p:childTnLst>
                                </p:cTn>
                              </p:par>
                              <p:par>
                                <p:cTn id="27" presetID="22" presetClass="entr" presetSubtype="4" fill="hold" grpId="0" nodeType="withEffect">
                                  <p:stCondLst>
                                    <p:cond delay="1250"/>
                                  </p:stCondLst>
                                  <p:childTnLst>
                                    <p:set>
                                      <p:cBhvr>
                                        <p:cTn id="28" dur="1" fill="hold">
                                          <p:stCondLst>
                                            <p:cond delay="0"/>
                                          </p:stCondLst>
                                        </p:cTn>
                                        <p:tgtEl>
                                          <p:spTgt spid="38"/>
                                        </p:tgtEl>
                                        <p:attrNameLst>
                                          <p:attrName>style.visibility</p:attrName>
                                        </p:attrNameLst>
                                      </p:cBhvr>
                                      <p:to>
                                        <p:strVal val="visible"/>
                                      </p:to>
                                    </p:set>
                                    <p:animEffect transition="in" filter="wipe(down)">
                                      <p:cBhvr>
                                        <p:cTn id="29" dur="500"/>
                                        <p:tgtEl>
                                          <p:spTgt spid="38"/>
                                        </p:tgtEl>
                                      </p:cBhvr>
                                    </p:animEffect>
                                  </p:childTnLst>
                                </p:cTn>
                              </p:par>
                            </p:childTnLst>
                          </p:cTn>
                        </p:par>
                        <p:par>
                          <p:cTn id="30" fill="hold">
                            <p:stCondLst>
                              <p:cond delay="3250"/>
                            </p:stCondLst>
                            <p:childTnLst>
                              <p:par>
                                <p:cTn id="31" presetID="10" presetClass="entr" presetSubtype="0" fill="hold" grpId="0" nodeType="afterEffect">
                                  <p:stCondLst>
                                    <p:cond delay="0"/>
                                  </p:stCondLst>
                                  <p:childTnLst>
                                    <p:set>
                                      <p:cBhvr>
                                        <p:cTn id="32" dur="1" fill="hold">
                                          <p:stCondLst>
                                            <p:cond delay="0"/>
                                          </p:stCondLst>
                                        </p:cTn>
                                        <p:tgtEl>
                                          <p:spTgt spid="56"/>
                                        </p:tgtEl>
                                        <p:attrNameLst>
                                          <p:attrName>style.visibility</p:attrName>
                                        </p:attrNameLst>
                                      </p:cBhvr>
                                      <p:to>
                                        <p:strVal val="visible"/>
                                      </p:to>
                                    </p:set>
                                    <p:animEffect transition="in" filter="fade">
                                      <p:cBhvr>
                                        <p:cTn id="33"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22" grpId="0" animBg="1"/>
      <p:bldP spid="25" grpId="0" animBg="1"/>
      <p:bldP spid="28" grpId="0" animBg="1"/>
      <p:bldP spid="31" grpId="0" animBg="1"/>
      <p:bldP spid="34" grpId="0" animBg="1"/>
      <p:bldP spid="38" grpId="0" animBg="1"/>
      <p:bldP spid="20" grpId="0"/>
    </p:bldLst>
  </p:timing>
</p:sld>
</file>

<file path=ppt/slides/slide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p:cNvSpPr/>
          <p:nvPr/>
        </p:nvSpPr>
        <p:spPr bwMode="auto">
          <a:xfrm>
            <a:off x="363036" y="857250"/>
            <a:ext cx="8382000" cy="800100"/>
          </a:xfrm>
          <a:prstGeom prst="rect">
            <a:avLst/>
          </a:prstGeom>
          <a:solidFill>
            <a:schemeClr val="accent1"/>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3" tIns="102880" rIns="68583" bIns="102880" numCol="1" rtlCol="0" anchor="t" anchorCtr="0" compatLnSpc="1">
            <a:prstTxWarp prst="textNoShape">
              <a:avLst/>
            </a:prstTxWarp>
            <a:noAutofit/>
          </a:bodyPr>
          <a:lstStyle/>
          <a:p>
            <a:pPr marL="345312" indent="-345312">
              <a:lnSpc>
                <a:spcPct val="90000"/>
              </a:lnSpc>
              <a:spcBef>
                <a:spcPct val="20000"/>
              </a:spcBef>
              <a:buSzPct val="90000"/>
              <a:buBlip>
                <a:blip r:embed="rId3"/>
              </a:buBlip>
            </a:pPr>
            <a:endParaRPr lang="en-US" sz="1800" dirty="0">
              <a:gradFill>
                <a:gsLst>
                  <a:gs pos="0">
                    <a:schemeClr val="tx1"/>
                  </a:gs>
                  <a:gs pos="100000">
                    <a:schemeClr val="tx1"/>
                  </a:gs>
                </a:gsLst>
                <a:lin ang="5400000" scaled="0"/>
              </a:gradFill>
            </a:endParaRPr>
          </a:p>
        </p:txBody>
      </p:sp>
      <p:sp>
        <p:nvSpPr>
          <p:cNvPr id="63" name="Rectangle 62"/>
          <p:cNvSpPr/>
          <p:nvPr/>
        </p:nvSpPr>
        <p:spPr bwMode="auto">
          <a:xfrm>
            <a:off x="363036" y="1847850"/>
            <a:ext cx="8382000" cy="800100"/>
          </a:xfrm>
          <a:prstGeom prst="rect">
            <a:avLst/>
          </a:prstGeom>
          <a:solidFill>
            <a:schemeClr val="accent1"/>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3" tIns="102880" rIns="68583" bIns="102880" numCol="1" rtlCol="0" anchor="t" anchorCtr="0" compatLnSpc="1">
            <a:prstTxWarp prst="textNoShape">
              <a:avLst/>
            </a:prstTxWarp>
            <a:noAutofit/>
          </a:bodyPr>
          <a:lstStyle/>
          <a:p>
            <a:pPr marL="345312" indent="-345312">
              <a:lnSpc>
                <a:spcPct val="90000"/>
              </a:lnSpc>
              <a:spcBef>
                <a:spcPct val="20000"/>
              </a:spcBef>
              <a:buSzPct val="90000"/>
              <a:buBlip>
                <a:blip r:embed="rId3"/>
              </a:buBlip>
            </a:pPr>
            <a:endParaRPr lang="en-US" sz="1800" dirty="0">
              <a:gradFill>
                <a:gsLst>
                  <a:gs pos="0">
                    <a:schemeClr val="tx1"/>
                  </a:gs>
                  <a:gs pos="100000">
                    <a:schemeClr val="tx1"/>
                  </a:gs>
                </a:gsLst>
                <a:lin ang="5400000" scaled="0"/>
              </a:gradFill>
            </a:endParaRPr>
          </a:p>
        </p:txBody>
      </p:sp>
      <p:sp>
        <p:nvSpPr>
          <p:cNvPr id="64" name="Rectangle 63"/>
          <p:cNvSpPr/>
          <p:nvPr/>
        </p:nvSpPr>
        <p:spPr bwMode="auto">
          <a:xfrm>
            <a:off x="363036" y="2838450"/>
            <a:ext cx="8382000" cy="800100"/>
          </a:xfrm>
          <a:prstGeom prst="rect">
            <a:avLst/>
          </a:prstGeom>
          <a:solidFill>
            <a:schemeClr val="accent1"/>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3" tIns="102880" rIns="68583" bIns="102880" numCol="1" rtlCol="0" anchor="t" anchorCtr="0" compatLnSpc="1">
            <a:prstTxWarp prst="textNoShape">
              <a:avLst/>
            </a:prstTxWarp>
            <a:noAutofit/>
          </a:bodyPr>
          <a:lstStyle/>
          <a:p>
            <a:pPr marL="345312" indent="-345312">
              <a:lnSpc>
                <a:spcPct val="90000"/>
              </a:lnSpc>
              <a:spcBef>
                <a:spcPct val="20000"/>
              </a:spcBef>
              <a:buSzPct val="90000"/>
              <a:buBlip>
                <a:blip r:embed="rId3"/>
              </a:buBlip>
            </a:pPr>
            <a:endParaRPr lang="en-US" sz="1800" dirty="0">
              <a:gradFill>
                <a:gsLst>
                  <a:gs pos="0">
                    <a:schemeClr val="tx1"/>
                  </a:gs>
                  <a:gs pos="100000">
                    <a:schemeClr val="tx1"/>
                  </a:gs>
                </a:gsLst>
                <a:lin ang="5400000" scaled="0"/>
              </a:gradFill>
            </a:endParaRPr>
          </a:p>
        </p:txBody>
      </p:sp>
      <p:sp>
        <p:nvSpPr>
          <p:cNvPr id="65" name="Rectangle 64"/>
          <p:cNvSpPr/>
          <p:nvPr/>
        </p:nvSpPr>
        <p:spPr bwMode="auto">
          <a:xfrm>
            <a:off x="363036" y="3829050"/>
            <a:ext cx="8382000" cy="800100"/>
          </a:xfrm>
          <a:prstGeom prst="rect">
            <a:avLst/>
          </a:prstGeom>
          <a:solidFill>
            <a:schemeClr val="accent1"/>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3" tIns="102880" rIns="68583" bIns="102880" numCol="1" rtlCol="0" anchor="t" anchorCtr="0" compatLnSpc="1">
            <a:prstTxWarp prst="textNoShape">
              <a:avLst/>
            </a:prstTxWarp>
            <a:noAutofit/>
          </a:bodyPr>
          <a:lstStyle/>
          <a:p>
            <a:pPr marL="345312" indent="-345312">
              <a:lnSpc>
                <a:spcPct val="90000"/>
              </a:lnSpc>
              <a:spcBef>
                <a:spcPct val="20000"/>
              </a:spcBef>
              <a:buSzPct val="90000"/>
              <a:buBlip>
                <a:blip r:embed="rId3"/>
              </a:buBlip>
            </a:pPr>
            <a:endParaRPr lang="en-US" sz="1800" dirty="0">
              <a:gradFill>
                <a:gsLst>
                  <a:gs pos="0">
                    <a:schemeClr val="tx1"/>
                  </a:gs>
                  <a:gs pos="100000">
                    <a:schemeClr val="tx1"/>
                  </a:gs>
                </a:gsLst>
                <a:lin ang="5400000" scaled="0"/>
              </a:gradFill>
            </a:endParaRPr>
          </a:p>
        </p:txBody>
      </p:sp>
      <p:sp>
        <p:nvSpPr>
          <p:cNvPr id="2" name="Title 1"/>
          <p:cNvSpPr>
            <a:spLocks noGrp="1"/>
          </p:cNvSpPr>
          <p:nvPr>
            <p:ph type="title"/>
          </p:nvPr>
        </p:nvSpPr>
        <p:spPr>
          <a:xfrm>
            <a:off x="457200" y="57150"/>
            <a:ext cx="8229600" cy="857250"/>
          </a:xfrm>
        </p:spPr>
        <p:txBody>
          <a:bodyPr>
            <a:normAutofit/>
          </a:bodyPr>
          <a:lstStyle/>
          <a:p>
            <a:r>
              <a:rPr lang="en-US" dirty="0" smtClean="0"/>
              <a:t>Primary Considerations</a:t>
            </a:r>
            <a:endParaRPr lang="en-US" dirty="0"/>
          </a:p>
        </p:txBody>
      </p:sp>
      <p:grpSp>
        <p:nvGrpSpPr>
          <p:cNvPr id="5" name="Group 4"/>
          <p:cNvGrpSpPr/>
          <p:nvPr/>
        </p:nvGrpSpPr>
        <p:grpSpPr bwMode="black">
          <a:xfrm>
            <a:off x="883511" y="971550"/>
            <a:ext cx="686072" cy="571500"/>
            <a:chOff x="7010405" y="2133600"/>
            <a:chExt cx="1379538" cy="1065212"/>
          </a:xfrm>
        </p:grpSpPr>
        <p:sp>
          <p:nvSpPr>
            <p:cNvPr id="6" name="Freeform 161"/>
            <p:cNvSpPr>
              <a:spLocks/>
            </p:cNvSpPr>
            <p:nvPr/>
          </p:nvSpPr>
          <p:spPr bwMode="black">
            <a:xfrm>
              <a:off x="7189791" y="2416175"/>
              <a:ext cx="57151" cy="49212"/>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 name="Freeform 162"/>
            <p:cNvSpPr>
              <a:spLocks/>
            </p:cNvSpPr>
            <p:nvPr/>
          </p:nvSpPr>
          <p:spPr bwMode="black">
            <a:xfrm>
              <a:off x="7539040" y="2225675"/>
              <a:ext cx="57151" cy="47624"/>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 name="Freeform 163"/>
            <p:cNvSpPr>
              <a:spLocks/>
            </p:cNvSpPr>
            <p:nvPr/>
          </p:nvSpPr>
          <p:spPr bwMode="black">
            <a:xfrm>
              <a:off x="7329490" y="2339975"/>
              <a:ext cx="57151" cy="47624"/>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 name="Freeform 164"/>
            <p:cNvSpPr>
              <a:spLocks/>
            </p:cNvSpPr>
            <p:nvPr/>
          </p:nvSpPr>
          <p:spPr bwMode="black">
            <a:xfrm>
              <a:off x="7399341" y="2301875"/>
              <a:ext cx="57151" cy="47624"/>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 name="Freeform 165"/>
            <p:cNvSpPr>
              <a:spLocks/>
            </p:cNvSpPr>
            <p:nvPr/>
          </p:nvSpPr>
          <p:spPr bwMode="black">
            <a:xfrm>
              <a:off x="7469191" y="2263775"/>
              <a:ext cx="58738" cy="47624"/>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 name="Freeform 166"/>
            <p:cNvSpPr>
              <a:spLocks/>
            </p:cNvSpPr>
            <p:nvPr/>
          </p:nvSpPr>
          <p:spPr bwMode="black">
            <a:xfrm>
              <a:off x="7011990" y="2725738"/>
              <a:ext cx="31751"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 name="Freeform 167"/>
            <p:cNvSpPr>
              <a:spLocks/>
            </p:cNvSpPr>
            <p:nvPr/>
          </p:nvSpPr>
          <p:spPr bwMode="black">
            <a:xfrm>
              <a:off x="7116765" y="2451099"/>
              <a:ext cx="57151" cy="31751"/>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 name="Freeform 168"/>
            <p:cNvSpPr>
              <a:spLocks/>
            </p:cNvSpPr>
            <p:nvPr/>
          </p:nvSpPr>
          <p:spPr bwMode="black">
            <a:xfrm>
              <a:off x="7010405" y="2646362"/>
              <a:ext cx="26989"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 name="Freeform 169"/>
            <p:cNvSpPr>
              <a:spLocks/>
            </p:cNvSpPr>
            <p:nvPr/>
          </p:nvSpPr>
          <p:spPr bwMode="black">
            <a:xfrm>
              <a:off x="7608893" y="2187575"/>
              <a:ext cx="58738" cy="47624"/>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 name="Freeform 170"/>
            <p:cNvSpPr>
              <a:spLocks/>
            </p:cNvSpPr>
            <p:nvPr/>
          </p:nvSpPr>
          <p:spPr bwMode="black">
            <a:xfrm>
              <a:off x="7011992" y="2566987"/>
              <a:ext cx="34926"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8" name="Freeform 171"/>
            <p:cNvSpPr>
              <a:spLocks/>
            </p:cNvSpPr>
            <p:nvPr/>
          </p:nvSpPr>
          <p:spPr bwMode="black">
            <a:xfrm>
              <a:off x="7011992" y="2484438"/>
              <a:ext cx="34926" cy="57151"/>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9" name="Freeform 172"/>
            <p:cNvSpPr>
              <a:spLocks/>
            </p:cNvSpPr>
            <p:nvPr/>
          </p:nvSpPr>
          <p:spPr bwMode="black">
            <a:xfrm>
              <a:off x="8045454" y="2289175"/>
              <a:ext cx="58738" cy="47624"/>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0" name="Freeform 173"/>
            <p:cNvSpPr>
              <a:spLocks/>
            </p:cNvSpPr>
            <p:nvPr/>
          </p:nvSpPr>
          <p:spPr bwMode="black">
            <a:xfrm>
              <a:off x="8251830" y="2411414"/>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1" name="Freeform 174"/>
            <p:cNvSpPr>
              <a:spLocks/>
            </p:cNvSpPr>
            <p:nvPr/>
          </p:nvSpPr>
          <p:spPr bwMode="black">
            <a:xfrm>
              <a:off x="8185155" y="2368551"/>
              <a:ext cx="57151" cy="49212"/>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2" name="Freeform 175"/>
            <p:cNvSpPr>
              <a:spLocks/>
            </p:cNvSpPr>
            <p:nvPr/>
          </p:nvSpPr>
          <p:spPr bwMode="black">
            <a:xfrm>
              <a:off x="8356605" y="2528887"/>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3" name="Freeform 176"/>
            <p:cNvSpPr>
              <a:spLocks/>
            </p:cNvSpPr>
            <p:nvPr/>
          </p:nvSpPr>
          <p:spPr bwMode="black">
            <a:xfrm>
              <a:off x="8316919"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4" name="Freeform 177"/>
            <p:cNvSpPr>
              <a:spLocks/>
            </p:cNvSpPr>
            <p:nvPr/>
          </p:nvSpPr>
          <p:spPr bwMode="black">
            <a:xfrm>
              <a:off x="8115306" y="2328863"/>
              <a:ext cx="58738" cy="47624"/>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5" name="Freeform 178"/>
            <p:cNvSpPr>
              <a:spLocks/>
            </p:cNvSpPr>
            <p:nvPr/>
          </p:nvSpPr>
          <p:spPr bwMode="black">
            <a:xfrm>
              <a:off x="7821618" y="2162175"/>
              <a:ext cx="58738" cy="49212"/>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6" name="Freeform 179"/>
            <p:cNvSpPr>
              <a:spLocks/>
            </p:cNvSpPr>
            <p:nvPr/>
          </p:nvSpPr>
          <p:spPr bwMode="black">
            <a:xfrm>
              <a:off x="7754943" y="2133600"/>
              <a:ext cx="53976"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7" name="Freeform 180"/>
            <p:cNvSpPr>
              <a:spLocks/>
            </p:cNvSpPr>
            <p:nvPr/>
          </p:nvSpPr>
          <p:spPr bwMode="black">
            <a:xfrm>
              <a:off x="7677155" y="2144712"/>
              <a:ext cx="57151" cy="49212"/>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8" name="Freeform 181"/>
            <p:cNvSpPr>
              <a:spLocks/>
            </p:cNvSpPr>
            <p:nvPr/>
          </p:nvSpPr>
          <p:spPr bwMode="black">
            <a:xfrm>
              <a:off x="7026278" y="2797174"/>
              <a:ext cx="57151" cy="49212"/>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9" name="Freeform 182"/>
            <p:cNvSpPr>
              <a:spLocks/>
            </p:cNvSpPr>
            <p:nvPr/>
          </p:nvSpPr>
          <p:spPr bwMode="black">
            <a:xfrm>
              <a:off x="7975603" y="2251075"/>
              <a:ext cx="57151" cy="47624"/>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0" name="Freeform 183"/>
            <p:cNvSpPr>
              <a:spLocks/>
            </p:cNvSpPr>
            <p:nvPr/>
          </p:nvSpPr>
          <p:spPr bwMode="black">
            <a:xfrm>
              <a:off x="7889878" y="2203451"/>
              <a:ext cx="73024" cy="57151"/>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1" name="Freeform 184"/>
            <p:cNvSpPr>
              <a:spLocks/>
            </p:cNvSpPr>
            <p:nvPr/>
          </p:nvSpPr>
          <p:spPr bwMode="black">
            <a:xfrm>
              <a:off x="7259641" y="2378075"/>
              <a:ext cx="57151" cy="47624"/>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2" name="Freeform 185"/>
            <p:cNvSpPr>
              <a:spLocks/>
            </p:cNvSpPr>
            <p:nvPr/>
          </p:nvSpPr>
          <p:spPr bwMode="black">
            <a:xfrm>
              <a:off x="8091491" y="2879725"/>
              <a:ext cx="57151" cy="47624"/>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3" name="Freeform 186"/>
            <p:cNvSpPr>
              <a:spLocks/>
            </p:cNvSpPr>
            <p:nvPr/>
          </p:nvSpPr>
          <p:spPr bwMode="black">
            <a:xfrm>
              <a:off x="7953378" y="2960688"/>
              <a:ext cx="57151" cy="49212"/>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4" name="Freeform 187"/>
            <p:cNvSpPr>
              <a:spLocks/>
            </p:cNvSpPr>
            <p:nvPr/>
          </p:nvSpPr>
          <p:spPr bwMode="black">
            <a:xfrm>
              <a:off x="8021640" y="2919413"/>
              <a:ext cx="58738" cy="49212"/>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5" name="Freeform 188"/>
            <p:cNvSpPr>
              <a:spLocks/>
            </p:cNvSpPr>
            <p:nvPr/>
          </p:nvSpPr>
          <p:spPr bwMode="black">
            <a:xfrm>
              <a:off x="7821616" y="3046412"/>
              <a:ext cx="53976"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6" name="Freeform 189"/>
            <p:cNvSpPr>
              <a:spLocks/>
            </p:cNvSpPr>
            <p:nvPr/>
          </p:nvSpPr>
          <p:spPr bwMode="black">
            <a:xfrm>
              <a:off x="7885116" y="3001961"/>
              <a:ext cx="57151" cy="49212"/>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7" name="Freeform 190"/>
            <p:cNvSpPr>
              <a:spLocks/>
            </p:cNvSpPr>
            <p:nvPr/>
          </p:nvSpPr>
          <p:spPr bwMode="black">
            <a:xfrm>
              <a:off x="8159753" y="2840037"/>
              <a:ext cx="58738" cy="47624"/>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8" name="Freeform 191"/>
            <p:cNvSpPr>
              <a:spLocks/>
            </p:cNvSpPr>
            <p:nvPr/>
          </p:nvSpPr>
          <p:spPr bwMode="black">
            <a:xfrm>
              <a:off x="7038977" y="2435224"/>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9" name="Freeform 192"/>
            <p:cNvSpPr>
              <a:spLocks/>
            </p:cNvSpPr>
            <p:nvPr/>
          </p:nvSpPr>
          <p:spPr bwMode="black">
            <a:xfrm>
              <a:off x="8348666"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0" name="Freeform 193"/>
            <p:cNvSpPr>
              <a:spLocks/>
            </p:cNvSpPr>
            <p:nvPr/>
          </p:nvSpPr>
          <p:spPr bwMode="black">
            <a:xfrm>
              <a:off x="8362950" y="2611438"/>
              <a:ext cx="26989"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1" name="Freeform 194"/>
            <p:cNvSpPr>
              <a:spLocks/>
            </p:cNvSpPr>
            <p:nvPr/>
          </p:nvSpPr>
          <p:spPr bwMode="black">
            <a:xfrm>
              <a:off x="7783513" y="3113088"/>
              <a:ext cx="47624" cy="57151"/>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2" name="Freeform 195"/>
            <p:cNvSpPr>
              <a:spLocks/>
            </p:cNvSpPr>
            <p:nvPr/>
          </p:nvSpPr>
          <p:spPr bwMode="black">
            <a:xfrm>
              <a:off x="8229601" y="2798762"/>
              <a:ext cx="57151" cy="49212"/>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3" name="Freeform 196"/>
            <p:cNvSpPr>
              <a:spLocks/>
            </p:cNvSpPr>
            <p:nvPr/>
          </p:nvSpPr>
          <p:spPr bwMode="black">
            <a:xfrm>
              <a:off x="8297860" y="2754313"/>
              <a:ext cx="57151"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4" name="Freeform 197"/>
            <p:cNvSpPr>
              <a:spLocks/>
            </p:cNvSpPr>
            <p:nvPr/>
          </p:nvSpPr>
          <p:spPr bwMode="black">
            <a:xfrm>
              <a:off x="7313610" y="2935288"/>
              <a:ext cx="57151" cy="49212"/>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5" name="Freeform 198"/>
            <p:cNvSpPr>
              <a:spLocks/>
            </p:cNvSpPr>
            <p:nvPr/>
          </p:nvSpPr>
          <p:spPr bwMode="black">
            <a:xfrm>
              <a:off x="7381872" y="2974974"/>
              <a:ext cx="57151" cy="49212"/>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6" name="Freeform 199"/>
            <p:cNvSpPr>
              <a:spLocks/>
            </p:cNvSpPr>
            <p:nvPr/>
          </p:nvSpPr>
          <p:spPr bwMode="black">
            <a:xfrm>
              <a:off x="7243759" y="2895598"/>
              <a:ext cx="58738" cy="47624"/>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7" name="Freeform 200"/>
            <p:cNvSpPr>
              <a:spLocks/>
            </p:cNvSpPr>
            <p:nvPr/>
          </p:nvSpPr>
          <p:spPr bwMode="black">
            <a:xfrm>
              <a:off x="7173909" y="2857498"/>
              <a:ext cx="57151" cy="47624"/>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8" name="Freeform 201"/>
            <p:cNvSpPr>
              <a:spLocks/>
            </p:cNvSpPr>
            <p:nvPr/>
          </p:nvSpPr>
          <p:spPr bwMode="black">
            <a:xfrm>
              <a:off x="7099298" y="2835274"/>
              <a:ext cx="57151" cy="34924"/>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9" name="Freeform 202"/>
            <p:cNvSpPr>
              <a:spLocks/>
            </p:cNvSpPr>
            <p:nvPr/>
          </p:nvSpPr>
          <p:spPr bwMode="black">
            <a:xfrm>
              <a:off x="7721598" y="3168649"/>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0" name="Freeform 203"/>
            <p:cNvSpPr>
              <a:spLocks/>
            </p:cNvSpPr>
            <p:nvPr/>
          </p:nvSpPr>
          <p:spPr bwMode="black">
            <a:xfrm>
              <a:off x="7583487" y="3100388"/>
              <a:ext cx="49214" cy="58739"/>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1" name="Freeform 204"/>
            <p:cNvSpPr>
              <a:spLocks/>
            </p:cNvSpPr>
            <p:nvPr/>
          </p:nvSpPr>
          <p:spPr bwMode="black">
            <a:xfrm>
              <a:off x="7521572" y="3054349"/>
              <a:ext cx="55563" cy="47624"/>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2" name="Freeform 205"/>
            <p:cNvSpPr>
              <a:spLocks/>
            </p:cNvSpPr>
            <p:nvPr/>
          </p:nvSpPr>
          <p:spPr bwMode="black">
            <a:xfrm>
              <a:off x="7640636" y="3154361"/>
              <a:ext cx="57151"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3" name="Freeform 206"/>
            <p:cNvSpPr>
              <a:spLocks/>
            </p:cNvSpPr>
            <p:nvPr/>
          </p:nvSpPr>
          <p:spPr bwMode="black">
            <a:xfrm>
              <a:off x="7451723" y="3016249"/>
              <a:ext cx="57151" cy="47624"/>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4" name="Freeform 207"/>
            <p:cNvSpPr>
              <a:spLocks noEditPoints="1"/>
            </p:cNvSpPr>
            <p:nvPr/>
          </p:nvSpPr>
          <p:spPr bwMode="black">
            <a:xfrm>
              <a:off x="7091582" y="2222526"/>
              <a:ext cx="1198562" cy="89217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pic>
        <p:nvPicPr>
          <p:cNvPr id="55" name="Picture 241"/>
          <p:cNvPicPr>
            <a:picLocks noChangeAspect="1" noChangeArrowheads="1"/>
          </p:cNvPicPr>
          <p:nvPr/>
        </p:nvPicPr>
        <p:blipFill>
          <a:blip r:embed="rId4" cstate="print"/>
          <a:srcRect/>
          <a:stretch>
            <a:fillRect/>
          </a:stretch>
        </p:blipFill>
        <p:spPr bwMode="auto">
          <a:xfrm>
            <a:off x="883513" y="1953422"/>
            <a:ext cx="812033" cy="514350"/>
          </a:xfrm>
          <a:prstGeom prst="rect">
            <a:avLst/>
          </a:prstGeom>
          <a:noFill/>
          <a:ln w="9525">
            <a:noFill/>
            <a:miter lim="800000"/>
            <a:headEnd/>
            <a:tailEnd/>
          </a:ln>
        </p:spPr>
      </p:pic>
      <p:pic>
        <p:nvPicPr>
          <p:cNvPr id="56" name="Picture 114"/>
          <p:cNvPicPr>
            <a:picLocks noChangeAspect="1"/>
          </p:cNvPicPr>
          <p:nvPr/>
        </p:nvPicPr>
        <p:blipFill>
          <a:blip r:embed="rId5" cstate="print">
            <a:duotone>
              <a:prstClr val="black"/>
              <a:srgbClr val="D9C3A5">
                <a:tint val="50000"/>
                <a:satMod val="180000"/>
              </a:srgbClr>
            </a:duotone>
            <a:extLst/>
          </a:blip>
          <a:stretch>
            <a:fillRect/>
          </a:stretch>
        </p:blipFill>
        <p:spPr bwMode="auto">
          <a:xfrm>
            <a:off x="883511" y="2878146"/>
            <a:ext cx="587850" cy="597683"/>
          </a:xfrm>
          <a:prstGeom prst="rect">
            <a:avLst/>
          </a:prstGeom>
        </p:spPr>
      </p:pic>
      <p:pic>
        <p:nvPicPr>
          <p:cNvPr id="57" name="Picture 4" descr="\\MAGNUM\Projects\Microsoft\Cloud Power FY12\Design\ICONS_PNG\Check_mark.png"/>
          <p:cNvPicPr>
            <a:picLocks noChangeAspect="1" noChangeArrowheads="1"/>
          </p:cNvPicPr>
          <p:nvPr/>
        </p:nvPicPr>
        <p:blipFill>
          <a:blip r:embed="rId6" cstate="print">
            <a:biLevel thresh="25000"/>
          </a:blip>
          <a:srcRect/>
          <a:stretch>
            <a:fillRect/>
          </a:stretch>
        </p:blipFill>
        <p:spPr bwMode="auto">
          <a:xfrm>
            <a:off x="883511" y="3886201"/>
            <a:ext cx="776490" cy="776288"/>
          </a:xfrm>
          <a:prstGeom prst="rect">
            <a:avLst/>
          </a:prstGeom>
          <a:noFill/>
        </p:spPr>
      </p:pic>
      <p:sp>
        <p:nvSpPr>
          <p:cNvPr id="58" name="Title 1"/>
          <p:cNvSpPr txBox="1">
            <a:spLocks/>
          </p:cNvSpPr>
          <p:nvPr/>
        </p:nvSpPr>
        <p:spPr>
          <a:xfrm>
            <a:off x="1828085" y="1028700"/>
            <a:ext cx="6400324" cy="514350"/>
          </a:xfrm>
          <a:prstGeom prst="rect">
            <a:avLst/>
          </a:prstGeom>
        </p:spPr>
        <p:txBody>
          <a:bodyPr vert="horz" wrap="square" lIns="0" tIns="0" rIns="0" bIns="0" rtlCol="0" anchor="t">
            <a:normAutofit fontScale="92500" lnSpcReduction="10000"/>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dirty="0" smtClean="0"/>
              <a:t>Workloads</a:t>
            </a:r>
            <a:endParaRPr lang="en-US" dirty="0"/>
          </a:p>
        </p:txBody>
      </p:sp>
      <p:sp>
        <p:nvSpPr>
          <p:cNvPr id="59" name="Title 1"/>
          <p:cNvSpPr txBox="1">
            <a:spLocks/>
          </p:cNvSpPr>
          <p:nvPr/>
        </p:nvSpPr>
        <p:spPr>
          <a:xfrm>
            <a:off x="1828085" y="2019300"/>
            <a:ext cx="6400324" cy="514350"/>
          </a:xfrm>
          <a:prstGeom prst="rect">
            <a:avLst/>
          </a:prstGeom>
        </p:spPr>
        <p:txBody>
          <a:bodyPr vert="horz" wrap="square" lIns="0" tIns="0" rIns="0" bIns="0" rtlCol="0" anchor="t">
            <a:normAutofit fontScale="92500" lnSpcReduction="10000"/>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dirty="0" smtClean="0"/>
              <a:t>Networking</a:t>
            </a:r>
            <a:endParaRPr lang="en-US" dirty="0"/>
          </a:p>
        </p:txBody>
      </p:sp>
      <p:sp>
        <p:nvSpPr>
          <p:cNvPr id="60" name="Title 1"/>
          <p:cNvSpPr txBox="1">
            <a:spLocks/>
          </p:cNvSpPr>
          <p:nvPr/>
        </p:nvSpPr>
        <p:spPr>
          <a:xfrm>
            <a:off x="1828085" y="3009900"/>
            <a:ext cx="6400324" cy="514350"/>
          </a:xfrm>
          <a:prstGeom prst="rect">
            <a:avLst/>
          </a:prstGeom>
        </p:spPr>
        <p:txBody>
          <a:bodyPr vert="horz" wrap="square" lIns="0" tIns="0" rIns="0" bIns="0" rtlCol="0" anchor="t">
            <a:normAutofit fontScale="92500" lnSpcReduction="10000"/>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dirty="0" smtClean="0"/>
              <a:t>Storage</a:t>
            </a:r>
            <a:endParaRPr lang="en-US" dirty="0"/>
          </a:p>
        </p:txBody>
      </p:sp>
      <p:sp>
        <p:nvSpPr>
          <p:cNvPr id="61" name="Title 1"/>
          <p:cNvSpPr txBox="1">
            <a:spLocks/>
          </p:cNvSpPr>
          <p:nvPr/>
        </p:nvSpPr>
        <p:spPr>
          <a:xfrm>
            <a:off x="1828085" y="4000500"/>
            <a:ext cx="6400324" cy="514350"/>
          </a:xfrm>
          <a:prstGeom prst="rect">
            <a:avLst/>
          </a:prstGeom>
        </p:spPr>
        <p:txBody>
          <a:bodyPr vert="horz" wrap="square" lIns="0" tIns="0" rIns="0" bIns="0" rtlCol="0" anchor="t">
            <a:normAutofit fontScale="92500" lnSpcReduction="10000"/>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dirty="0" smtClean="0"/>
              <a:t>Resiliency</a:t>
            </a:r>
            <a:endParaRPr lang="en-US" dirty="0"/>
          </a:p>
        </p:txBody>
      </p:sp>
      <p:sp>
        <p:nvSpPr>
          <p:cNvPr id="66"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67"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7"/>
              </a:rPr>
              <a:t>www.rapidbbs.cn</a:t>
            </a:r>
            <a:endParaRPr lang="zh-CN" altLang="en-US" sz="1200" b="0">
              <a:latin typeface="Arial" charset="0"/>
              <a:ea typeface="ＭＳ Ｐゴシック" pitchFamily="34" charset="-128"/>
            </a:endParaRPr>
          </a:p>
        </p:txBody>
      </p:sp>
      <p:pic>
        <p:nvPicPr>
          <p:cNvPr id="68" name="Picture 2">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75090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p:cNvSpPr/>
          <p:nvPr/>
        </p:nvSpPr>
        <p:spPr bwMode="auto">
          <a:xfrm>
            <a:off x="363036" y="857250"/>
            <a:ext cx="8382000" cy="800100"/>
          </a:xfrm>
          <a:prstGeom prst="rect">
            <a:avLst/>
          </a:prstGeom>
          <a:solidFill>
            <a:schemeClr val="accent5"/>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3" tIns="102880" rIns="68583" bIns="102880" numCol="1" rtlCol="0" anchor="t" anchorCtr="0" compatLnSpc="1">
            <a:prstTxWarp prst="textNoShape">
              <a:avLst/>
            </a:prstTxWarp>
            <a:noAutofit/>
          </a:bodyPr>
          <a:lstStyle/>
          <a:p>
            <a:pPr marL="345312" indent="-345312">
              <a:lnSpc>
                <a:spcPct val="90000"/>
              </a:lnSpc>
              <a:spcBef>
                <a:spcPct val="20000"/>
              </a:spcBef>
              <a:buSzPct val="90000"/>
              <a:buBlip>
                <a:blip r:embed="rId3"/>
              </a:buBlip>
            </a:pPr>
            <a:endParaRPr lang="en-US" sz="1800" dirty="0">
              <a:gradFill>
                <a:gsLst>
                  <a:gs pos="0">
                    <a:schemeClr val="tx1"/>
                  </a:gs>
                  <a:gs pos="100000">
                    <a:schemeClr val="tx1"/>
                  </a:gs>
                </a:gsLst>
                <a:lin ang="5400000" scaled="0"/>
              </a:gradFill>
            </a:endParaRPr>
          </a:p>
        </p:txBody>
      </p:sp>
      <p:sp>
        <p:nvSpPr>
          <p:cNvPr id="63" name="Rectangle 62"/>
          <p:cNvSpPr/>
          <p:nvPr/>
        </p:nvSpPr>
        <p:spPr bwMode="auto">
          <a:xfrm>
            <a:off x="363036" y="1847850"/>
            <a:ext cx="8382000" cy="800100"/>
          </a:xfrm>
          <a:prstGeom prst="rect">
            <a:avLst/>
          </a:prstGeom>
          <a:solidFill>
            <a:schemeClr val="accent1"/>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3" tIns="102880" rIns="68583" bIns="102880" numCol="1" rtlCol="0" anchor="t" anchorCtr="0" compatLnSpc="1">
            <a:prstTxWarp prst="textNoShape">
              <a:avLst/>
            </a:prstTxWarp>
            <a:noAutofit/>
          </a:bodyPr>
          <a:lstStyle/>
          <a:p>
            <a:pPr marL="345312" indent="-345312">
              <a:lnSpc>
                <a:spcPct val="90000"/>
              </a:lnSpc>
              <a:spcBef>
                <a:spcPct val="20000"/>
              </a:spcBef>
              <a:buSzPct val="90000"/>
              <a:buBlip>
                <a:blip r:embed="rId3"/>
              </a:buBlip>
            </a:pPr>
            <a:endParaRPr lang="en-US" sz="1800" dirty="0">
              <a:gradFill>
                <a:gsLst>
                  <a:gs pos="0">
                    <a:schemeClr val="tx1"/>
                  </a:gs>
                  <a:gs pos="100000">
                    <a:schemeClr val="tx1"/>
                  </a:gs>
                </a:gsLst>
                <a:lin ang="5400000" scaled="0"/>
              </a:gradFill>
            </a:endParaRPr>
          </a:p>
        </p:txBody>
      </p:sp>
      <p:sp>
        <p:nvSpPr>
          <p:cNvPr id="64" name="Rectangle 63"/>
          <p:cNvSpPr/>
          <p:nvPr/>
        </p:nvSpPr>
        <p:spPr bwMode="auto">
          <a:xfrm>
            <a:off x="363036" y="2838450"/>
            <a:ext cx="8382000" cy="800100"/>
          </a:xfrm>
          <a:prstGeom prst="rect">
            <a:avLst/>
          </a:prstGeom>
          <a:solidFill>
            <a:schemeClr val="accent1"/>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3" tIns="102880" rIns="68583" bIns="102880" numCol="1" rtlCol="0" anchor="t" anchorCtr="0" compatLnSpc="1">
            <a:prstTxWarp prst="textNoShape">
              <a:avLst/>
            </a:prstTxWarp>
            <a:noAutofit/>
          </a:bodyPr>
          <a:lstStyle/>
          <a:p>
            <a:pPr marL="345312" indent="-345312">
              <a:lnSpc>
                <a:spcPct val="90000"/>
              </a:lnSpc>
              <a:spcBef>
                <a:spcPct val="20000"/>
              </a:spcBef>
              <a:buSzPct val="90000"/>
              <a:buBlip>
                <a:blip r:embed="rId3"/>
              </a:buBlip>
            </a:pPr>
            <a:endParaRPr lang="en-US" sz="1800" dirty="0">
              <a:gradFill>
                <a:gsLst>
                  <a:gs pos="0">
                    <a:schemeClr val="tx1"/>
                  </a:gs>
                  <a:gs pos="100000">
                    <a:schemeClr val="tx1"/>
                  </a:gs>
                </a:gsLst>
                <a:lin ang="5400000" scaled="0"/>
              </a:gradFill>
            </a:endParaRPr>
          </a:p>
        </p:txBody>
      </p:sp>
      <p:sp>
        <p:nvSpPr>
          <p:cNvPr id="65" name="Rectangle 64"/>
          <p:cNvSpPr/>
          <p:nvPr/>
        </p:nvSpPr>
        <p:spPr bwMode="auto">
          <a:xfrm>
            <a:off x="363036" y="3829050"/>
            <a:ext cx="8382000" cy="800100"/>
          </a:xfrm>
          <a:prstGeom prst="rect">
            <a:avLst/>
          </a:prstGeom>
          <a:solidFill>
            <a:schemeClr val="accent1"/>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3" tIns="102880" rIns="68583" bIns="102880" numCol="1" rtlCol="0" anchor="t" anchorCtr="0" compatLnSpc="1">
            <a:prstTxWarp prst="textNoShape">
              <a:avLst/>
            </a:prstTxWarp>
            <a:noAutofit/>
          </a:bodyPr>
          <a:lstStyle/>
          <a:p>
            <a:pPr marL="345312" indent="-345312">
              <a:lnSpc>
                <a:spcPct val="90000"/>
              </a:lnSpc>
              <a:spcBef>
                <a:spcPct val="20000"/>
              </a:spcBef>
              <a:buSzPct val="90000"/>
              <a:buBlip>
                <a:blip r:embed="rId3"/>
              </a:buBlip>
            </a:pPr>
            <a:endParaRPr lang="en-US" sz="1800" dirty="0">
              <a:gradFill>
                <a:gsLst>
                  <a:gs pos="0">
                    <a:schemeClr val="tx1"/>
                  </a:gs>
                  <a:gs pos="100000">
                    <a:schemeClr val="tx1"/>
                  </a:gs>
                </a:gsLst>
                <a:lin ang="5400000" scaled="0"/>
              </a:gradFill>
            </a:endParaRPr>
          </a:p>
        </p:txBody>
      </p:sp>
      <p:sp>
        <p:nvSpPr>
          <p:cNvPr id="2" name="Title 1"/>
          <p:cNvSpPr>
            <a:spLocks noGrp="1"/>
          </p:cNvSpPr>
          <p:nvPr>
            <p:ph type="title"/>
          </p:nvPr>
        </p:nvSpPr>
        <p:spPr>
          <a:xfrm>
            <a:off x="457200" y="57150"/>
            <a:ext cx="8229600" cy="857250"/>
          </a:xfrm>
        </p:spPr>
        <p:txBody>
          <a:bodyPr>
            <a:normAutofit/>
          </a:bodyPr>
          <a:lstStyle/>
          <a:p>
            <a:r>
              <a:rPr lang="en-US" dirty="0" smtClean="0"/>
              <a:t>Primary Considerations</a:t>
            </a:r>
            <a:endParaRPr lang="en-US" dirty="0"/>
          </a:p>
        </p:txBody>
      </p:sp>
      <p:grpSp>
        <p:nvGrpSpPr>
          <p:cNvPr id="5" name="Group 4"/>
          <p:cNvGrpSpPr/>
          <p:nvPr/>
        </p:nvGrpSpPr>
        <p:grpSpPr bwMode="black">
          <a:xfrm>
            <a:off x="883511" y="971550"/>
            <a:ext cx="686072" cy="571500"/>
            <a:chOff x="7010405" y="2133600"/>
            <a:chExt cx="1379538" cy="1065212"/>
          </a:xfrm>
        </p:grpSpPr>
        <p:sp>
          <p:nvSpPr>
            <p:cNvPr id="6" name="Freeform 161"/>
            <p:cNvSpPr>
              <a:spLocks/>
            </p:cNvSpPr>
            <p:nvPr/>
          </p:nvSpPr>
          <p:spPr bwMode="black">
            <a:xfrm>
              <a:off x="7189791" y="2416175"/>
              <a:ext cx="57151" cy="49212"/>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 name="Freeform 162"/>
            <p:cNvSpPr>
              <a:spLocks/>
            </p:cNvSpPr>
            <p:nvPr/>
          </p:nvSpPr>
          <p:spPr bwMode="black">
            <a:xfrm>
              <a:off x="7539040" y="2225675"/>
              <a:ext cx="57151" cy="47624"/>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 name="Freeform 163"/>
            <p:cNvSpPr>
              <a:spLocks/>
            </p:cNvSpPr>
            <p:nvPr/>
          </p:nvSpPr>
          <p:spPr bwMode="black">
            <a:xfrm>
              <a:off x="7329490" y="2339975"/>
              <a:ext cx="57151" cy="47624"/>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 name="Freeform 164"/>
            <p:cNvSpPr>
              <a:spLocks/>
            </p:cNvSpPr>
            <p:nvPr/>
          </p:nvSpPr>
          <p:spPr bwMode="black">
            <a:xfrm>
              <a:off x="7399341" y="2301875"/>
              <a:ext cx="57151" cy="47624"/>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 name="Freeform 165"/>
            <p:cNvSpPr>
              <a:spLocks/>
            </p:cNvSpPr>
            <p:nvPr/>
          </p:nvSpPr>
          <p:spPr bwMode="black">
            <a:xfrm>
              <a:off x="7469191" y="2263775"/>
              <a:ext cx="58738" cy="47624"/>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 name="Freeform 166"/>
            <p:cNvSpPr>
              <a:spLocks/>
            </p:cNvSpPr>
            <p:nvPr/>
          </p:nvSpPr>
          <p:spPr bwMode="black">
            <a:xfrm>
              <a:off x="7011990" y="2725738"/>
              <a:ext cx="31751"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 name="Freeform 167"/>
            <p:cNvSpPr>
              <a:spLocks/>
            </p:cNvSpPr>
            <p:nvPr/>
          </p:nvSpPr>
          <p:spPr bwMode="black">
            <a:xfrm>
              <a:off x="7116765" y="2451099"/>
              <a:ext cx="57151" cy="31751"/>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 name="Freeform 168"/>
            <p:cNvSpPr>
              <a:spLocks/>
            </p:cNvSpPr>
            <p:nvPr/>
          </p:nvSpPr>
          <p:spPr bwMode="black">
            <a:xfrm>
              <a:off x="7010405" y="2646362"/>
              <a:ext cx="26989"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 name="Freeform 169"/>
            <p:cNvSpPr>
              <a:spLocks/>
            </p:cNvSpPr>
            <p:nvPr/>
          </p:nvSpPr>
          <p:spPr bwMode="black">
            <a:xfrm>
              <a:off x="7608893" y="2187575"/>
              <a:ext cx="58738" cy="47624"/>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 name="Freeform 170"/>
            <p:cNvSpPr>
              <a:spLocks/>
            </p:cNvSpPr>
            <p:nvPr/>
          </p:nvSpPr>
          <p:spPr bwMode="black">
            <a:xfrm>
              <a:off x="7011992" y="2566987"/>
              <a:ext cx="34926"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8" name="Freeform 171"/>
            <p:cNvSpPr>
              <a:spLocks/>
            </p:cNvSpPr>
            <p:nvPr/>
          </p:nvSpPr>
          <p:spPr bwMode="black">
            <a:xfrm>
              <a:off x="7011992" y="2484438"/>
              <a:ext cx="34926" cy="57151"/>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9" name="Freeform 172"/>
            <p:cNvSpPr>
              <a:spLocks/>
            </p:cNvSpPr>
            <p:nvPr/>
          </p:nvSpPr>
          <p:spPr bwMode="black">
            <a:xfrm>
              <a:off x="8045454" y="2289175"/>
              <a:ext cx="58738" cy="47624"/>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0" name="Freeform 173"/>
            <p:cNvSpPr>
              <a:spLocks/>
            </p:cNvSpPr>
            <p:nvPr/>
          </p:nvSpPr>
          <p:spPr bwMode="black">
            <a:xfrm>
              <a:off x="8251830" y="2411414"/>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1" name="Freeform 174"/>
            <p:cNvSpPr>
              <a:spLocks/>
            </p:cNvSpPr>
            <p:nvPr/>
          </p:nvSpPr>
          <p:spPr bwMode="black">
            <a:xfrm>
              <a:off x="8185155" y="2368551"/>
              <a:ext cx="57151" cy="49212"/>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2" name="Freeform 175"/>
            <p:cNvSpPr>
              <a:spLocks/>
            </p:cNvSpPr>
            <p:nvPr/>
          </p:nvSpPr>
          <p:spPr bwMode="black">
            <a:xfrm>
              <a:off x="8356605" y="2528887"/>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3" name="Freeform 176"/>
            <p:cNvSpPr>
              <a:spLocks/>
            </p:cNvSpPr>
            <p:nvPr/>
          </p:nvSpPr>
          <p:spPr bwMode="black">
            <a:xfrm>
              <a:off x="8316919"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4" name="Freeform 177"/>
            <p:cNvSpPr>
              <a:spLocks/>
            </p:cNvSpPr>
            <p:nvPr/>
          </p:nvSpPr>
          <p:spPr bwMode="black">
            <a:xfrm>
              <a:off x="8115306" y="2328863"/>
              <a:ext cx="58738" cy="47624"/>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5" name="Freeform 178"/>
            <p:cNvSpPr>
              <a:spLocks/>
            </p:cNvSpPr>
            <p:nvPr/>
          </p:nvSpPr>
          <p:spPr bwMode="black">
            <a:xfrm>
              <a:off x="7821618" y="2162175"/>
              <a:ext cx="58738" cy="49212"/>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6" name="Freeform 179"/>
            <p:cNvSpPr>
              <a:spLocks/>
            </p:cNvSpPr>
            <p:nvPr/>
          </p:nvSpPr>
          <p:spPr bwMode="black">
            <a:xfrm>
              <a:off x="7754943" y="2133600"/>
              <a:ext cx="53976"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7" name="Freeform 180"/>
            <p:cNvSpPr>
              <a:spLocks/>
            </p:cNvSpPr>
            <p:nvPr/>
          </p:nvSpPr>
          <p:spPr bwMode="black">
            <a:xfrm>
              <a:off x="7677155" y="2144712"/>
              <a:ext cx="57151" cy="49212"/>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8" name="Freeform 181"/>
            <p:cNvSpPr>
              <a:spLocks/>
            </p:cNvSpPr>
            <p:nvPr/>
          </p:nvSpPr>
          <p:spPr bwMode="black">
            <a:xfrm>
              <a:off x="7026278" y="2797174"/>
              <a:ext cx="57151" cy="49212"/>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9" name="Freeform 182"/>
            <p:cNvSpPr>
              <a:spLocks/>
            </p:cNvSpPr>
            <p:nvPr/>
          </p:nvSpPr>
          <p:spPr bwMode="black">
            <a:xfrm>
              <a:off x="7975603" y="2251075"/>
              <a:ext cx="57151" cy="47624"/>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0" name="Freeform 183"/>
            <p:cNvSpPr>
              <a:spLocks/>
            </p:cNvSpPr>
            <p:nvPr/>
          </p:nvSpPr>
          <p:spPr bwMode="black">
            <a:xfrm>
              <a:off x="7889878" y="2203451"/>
              <a:ext cx="73024" cy="57151"/>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1" name="Freeform 184"/>
            <p:cNvSpPr>
              <a:spLocks/>
            </p:cNvSpPr>
            <p:nvPr/>
          </p:nvSpPr>
          <p:spPr bwMode="black">
            <a:xfrm>
              <a:off x="7259641" y="2378075"/>
              <a:ext cx="57151" cy="47624"/>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2" name="Freeform 185"/>
            <p:cNvSpPr>
              <a:spLocks/>
            </p:cNvSpPr>
            <p:nvPr/>
          </p:nvSpPr>
          <p:spPr bwMode="black">
            <a:xfrm>
              <a:off x="8091491" y="2879725"/>
              <a:ext cx="57151" cy="47624"/>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3" name="Freeform 186"/>
            <p:cNvSpPr>
              <a:spLocks/>
            </p:cNvSpPr>
            <p:nvPr/>
          </p:nvSpPr>
          <p:spPr bwMode="black">
            <a:xfrm>
              <a:off x="7953378" y="2960688"/>
              <a:ext cx="57151" cy="49212"/>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4" name="Freeform 187"/>
            <p:cNvSpPr>
              <a:spLocks/>
            </p:cNvSpPr>
            <p:nvPr/>
          </p:nvSpPr>
          <p:spPr bwMode="black">
            <a:xfrm>
              <a:off x="8021640" y="2919413"/>
              <a:ext cx="58738" cy="49212"/>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5" name="Freeform 188"/>
            <p:cNvSpPr>
              <a:spLocks/>
            </p:cNvSpPr>
            <p:nvPr/>
          </p:nvSpPr>
          <p:spPr bwMode="black">
            <a:xfrm>
              <a:off x="7821616" y="3046412"/>
              <a:ext cx="53976"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6" name="Freeform 189"/>
            <p:cNvSpPr>
              <a:spLocks/>
            </p:cNvSpPr>
            <p:nvPr/>
          </p:nvSpPr>
          <p:spPr bwMode="black">
            <a:xfrm>
              <a:off x="7885116" y="3001961"/>
              <a:ext cx="57151" cy="49212"/>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7" name="Freeform 190"/>
            <p:cNvSpPr>
              <a:spLocks/>
            </p:cNvSpPr>
            <p:nvPr/>
          </p:nvSpPr>
          <p:spPr bwMode="black">
            <a:xfrm>
              <a:off x="8159753" y="2840037"/>
              <a:ext cx="58738" cy="47624"/>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8" name="Freeform 191"/>
            <p:cNvSpPr>
              <a:spLocks/>
            </p:cNvSpPr>
            <p:nvPr/>
          </p:nvSpPr>
          <p:spPr bwMode="black">
            <a:xfrm>
              <a:off x="7038977" y="2435224"/>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9" name="Freeform 192"/>
            <p:cNvSpPr>
              <a:spLocks/>
            </p:cNvSpPr>
            <p:nvPr/>
          </p:nvSpPr>
          <p:spPr bwMode="black">
            <a:xfrm>
              <a:off x="8348666"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0" name="Freeform 193"/>
            <p:cNvSpPr>
              <a:spLocks/>
            </p:cNvSpPr>
            <p:nvPr/>
          </p:nvSpPr>
          <p:spPr bwMode="black">
            <a:xfrm>
              <a:off x="8362950" y="2611438"/>
              <a:ext cx="26989"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1" name="Freeform 194"/>
            <p:cNvSpPr>
              <a:spLocks/>
            </p:cNvSpPr>
            <p:nvPr/>
          </p:nvSpPr>
          <p:spPr bwMode="black">
            <a:xfrm>
              <a:off x="7783513" y="3113088"/>
              <a:ext cx="47624" cy="57151"/>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2" name="Freeform 195"/>
            <p:cNvSpPr>
              <a:spLocks/>
            </p:cNvSpPr>
            <p:nvPr/>
          </p:nvSpPr>
          <p:spPr bwMode="black">
            <a:xfrm>
              <a:off x="8229601" y="2798762"/>
              <a:ext cx="57151" cy="49212"/>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3" name="Freeform 196"/>
            <p:cNvSpPr>
              <a:spLocks/>
            </p:cNvSpPr>
            <p:nvPr/>
          </p:nvSpPr>
          <p:spPr bwMode="black">
            <a:xfrm>
              <a:off x="8297860" y="2754313"/>
              <a:ext cx="57151"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4" name="Freeform 197"/>
            <p:cNvSpPr>
              <a:spLocks/>
            </p:cNvSpPr>
            <p:nvPr/>
          </p:nvSpPr>
          <p:spPr bwMode="black">
            <a:xfrm>
              <a:off x="7313610" y="2935288"/>
              <a:ext cx="57151" cy="49212"/>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5" name="Freeform 198"/>
            <p:cNvSpPr>
              <a:spLocks/>
            </p:cNvSpPr>
            <p:nvPr/>
          </p:nvSpPr>
          <p:spPr bwMode="black">
            <a:xfrm>
              <a:off x="7381872" y="2974974"/>
              <a:ext cx="57151" cy="49212"/>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6" name="Freeform 199"/>
            <p:cNvSpPr>
              <a:spLocks/>
            </p:cNvSpPr>
            <p:nvPr/>
          </p:nvSpPr>
          <p:spPr bwMode="black">
            <a:xfrm>
              <a:off x="7243759" y="2895598"/>
              <a:ext cx="58738" cy="47624"/>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7" name="Freeform 200"/>
            <p:cNvSpPr>
              <a:spLocks/>
            </p:cNvSpPr>
            <p:nvPr/>
          </p:nvSpPr>
          <p:spPr bwMode="black">
            <a:xfrm>
              <a:off x="7173909" y="2857498"/>
              <a:ext cx="57151" cy="47624"/>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8" name="Freeform 201"/>
            <p:cNvSpPr>
              <a:spLocks/>
            </p:cNvSpPr>
            <p:nvPr/>
          </p:nvSpPr>
          <p:spPr bwMode="black">
            <a:xfrm>
              <a:off x="7099298" y="2835274"/>
              <a:ext cx="57151" cy="34924"/>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9" name="Freeform 202"/>
            <p:cNvSpPr>
              <a:spLocks/>
            </p:cNvSpPr>
            <p:nvPr/>
          </p:nvSpPr>
          <p:spPr bwMode="black">
            <a:xfrm>
              <a:off x="7721598" y="3168649"/>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0" name="Freeform 203"/>
            <p:cNvSpPr>
              <a:spLocks/>
            </p:cNvSpPr>
            <p:nvPr/>
          </p:nvSpPr>
          <p:spPr bwMode="black">
            <a:xfrm>
              <a:off x="7583487" y="3100388"/>
              <a:ext cx="49214" cy="58739"/>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1" name="Freeform 204"/>
            <p:cNvSpPr>
              <a:spLocks/>
            </p:cNvSpPr>
            <p:nvPr/>
          </p:nvSpPr>
          <p:spPr bwMode="black">
            <a:xfrm>
              <a:off x="7521572" y="3054349"/>
              <a:ext cx="55563" cy="47624"/>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2" name="Freeform 205"/>
            <p:cNvSpPr>
              <a:spLocks/>
            </p:cNvSpPr>
            <p:nvPr/>
          </p:nvSpPr>
          <p:spPr bwMode="black">
            <a:xfrm>
              <a:off x="7640636" y="3154361"/>
              <a:ext cx="57151"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3" name="Freeform 206"/>
            <p:cNvSpPr>
              <a:spLocks/>
            </p:cNvSpPr>
            <p:nvPr/>
          </p:nvSpPr>
          <p:spPr bwMode="black">
            <a:xfrm>
              <a:off x="7451723" y="3016249"/>
              <a:ext cx="57151" cy="47624"/>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4" name="Freeform 207"/>
            <p:cNvSpPr>
              <a:spLocks noEditPoints="1"/>
            </p:cNvSpPr>
            <p:nvPr/>
          </p:nvSpPr>
          <p:spPr bwMode="black">
            <a:xfrm>
              <a:off x="7091582" y="2222526"/>
              <a:ext cx="1198562" cy="89217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pic>
        <p:nvPicPr>
          <p:cNvPr id="55" name="Picture 241"/>
          <p:cNvPicPr>
            <a:picLocks noChangeAspect="1" noChangeArrowheads="1"/>
          </p:cNvPicPr>
          <p:nvPr/>
        </p:nvPicPr>
        <p:blipFill>
          <a:blip r:embed="rId4" cstate="print"/>
          <a:srcRect/>
          <a:stretch>
            <a:fillRect/>
          </a:stretch>
        </p:blipFill>
        <p:spPr bwMode="auto">
          <a:xfrm>
            <a:off x="883513" y="1953422"/>
            <a:ext cx="812033" cy="514350"/>
          </a:xfrm>
          <a:prstGeom prst="rect">
            <a:avLst/>
          </a:prstGeom>
          <a:noFill/>
          <a:ln w="9525">
            <a:noFill/>
            <a:miter lim="800000"/>
            <a:headEnd/>
            <a:tailEnd/>
          </a:ln>
        </p:spPr>
      </p:pic>
      <p:pic>
        <p:nvPicPr>
          <p:cNvPr id="56" name="Picture 114"/>
          <p:cNvPicPr>
            <a:picLocks noChangeAspect="1"/>
          </p:cNvPicPr>
          <p:nvPr/>
        </p:nvPicPr>
        <p:blipFill>
          <a:blip r:embed="rId5" cstate="print">
            <a:duotone>
              <a:prstClr val="black"/>
              <a:srgbClr val="D9C3A5">
                <a:tint val="50000"/>
                <a:satMod val="180000"/>
              </a:srgbClr>
            </a:duotone>
            <a:extLst/>
          </a:blip>
          <a:stretch>
            <a:fillRect/>
          </a:stretch>
        </p:blipFill>
        <p:spPr bwMode="auto">
          <a:xfrm>
            <a:off x="883511" y="2878146"/>
            <a:ext cx="587850" cy="597683"/>
          </a:xfrm>
          <a:prstGeom prst="rect">
            <a:avLst/>
          </a:prstGeom>
        </p:spPr>
      </p:pic>
      <p:pic>
        <p:nvPicPr>
          <p:cNvPr id="57" name="Picture 4" descr="\\MAGNUM\Projects\Microsoft\Cloud Power FY12\Design\ICONS_PNG\Check_mark.png"/>
          <p:cNvPicPr>
            <a:picLocks noChangeAspect="1" noChangeArrowheads="1"/>
          </p:cNvPicPr>
          <p:nvPr/>
        </p:nvPicPr>
        <p:blipFill>
          <a:blip r:embed="rId6" cstate="print">
            <a:biLevel thresh="25000"/>
          </a:blip>
          <a:srcRect/>
          <a:stretch>
            <a:fillRect/>
          </a:stretch>
        </p:blipFill>
        <p:spPr bwMode="auto">
          <a:xfrm>
            <a:off x="883511" y="3886201"/>
            <a:ext cx="776490" cy="776288"/>
          </a:xfrm>
          <a:prstGeom prst="rect">
            <a:avLst/>
          </a:prstGeom>
          <a:noFill/>
        </p:spPr>
      </p:pic>
      <p:sp>
        <p:nvSpPr>
          <p:cNvPr id="58" name="Title 1"/>
          <p:cNvSpPr txBox="1">
            <a:spLocks/>
          </p:cNvSpPr>
          <p:nvPr/>
        </p:nvSpPr>
        <p:spPr>
          <a:xfrm>
            <a:off x="1828085" y="1028700"/>
            <a:ext cx="6400324" cy="514350"/>
          </a:xfrm>
          <a:prstGeom prst="rect">
            <a:avLst/>
          </a:prstGeom>
        </p:spPr>
        <p:txBody>
          <a:bodyPr vert="horz" wrap="square" lIns="0" tIns="0" rIns="0" bIns="0" rtlCol="0" anchor="t">
            <a:normAutofit fontScale="92500" lnSpcReduction="10000"/>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dirty="0" smtClean="0"/>
              <a:t>Workloads</a:t>
            </a:r>
            <a:endParaRPr lang="en-US" dirty="0"/>
          </a:p>
        </p:txBody>
      </p:sp>
      <p:sp>
        <p:nvSpPr>
          <p:cNvPr id="59" name="Title 1"/>
          <p:cNvSpPr txBox="1">
            <a:spLocks/>
          </p:cNvSpPr>
          <p:nvPr/>
        </p:nvSpPr>
        <p:spPr>
          <a:xfrm>
            <a:off x="1828085" y="2019300"/>
            <a:ext cx="6400324" cy="514350"/>
          </a:xfrm>
          <a:prstGeom prst="rect">
            <a:avLst/>
          </a:prstGeom>
        </p:spPr>
        <p:txBody>
          <a:bodyPr vert="horz" wrap="square" lIns="0" tIns="0" rIns="0" bIns="0" rtlCol="0" anchor="t">
            <a:normAutofit fontScale="92500" lnSpcReduction="10000"/>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dirty="0" smtClean="0"/>
              <a:t>Networking</a:t>
            </a:r>
            <a:endParaRPr lang="en-US" dirty="0"/>
          </a:p>
        </p:txBody>
      </p:sp>
      <p:sp>
        <p:nvSpPr>
          <p:cNvPr id="60" name="Title 1"/>
          <p:cNvSpPr txBox="1">
            <a:spLocks/>
          </p:cNvSpPr>
          <p:nvPr/>
        </p:nvSpPr>
        <p:spPr>
          <a:xfrm>
            <a:off x="1828085" y="3009900"/>
            <a:ext cx="6400324" cy="514350"/>
          </a:xfrm>
          <a:prstGeom prst="rect">
            <a:avLst/>
          </a:prstGeom>
        </p:spPr>
        <p:txBody>
          <a:bodyPr vert="horz" wrap="square" lIns="0" tIns="0" rIns="0" bIns="0" rtlCol="0" anchor="t">
            <a:normAutofit fontScale="92500" lnSpcReduction="10000"/>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dirty="0" smtClean="0"/>
              <a:t>Storage</a:t>
            </a:r>
            <a:endParaRPr lang="en-US" dirty="0"/>
          </a:p>
        </p:txBody>
      </p:sp>
      <p:sp>
        <p:nvSpPr>
          <p:cNvPr id="61" name="Title 1"/>
          <p:cNvSpPr txBox="1">
            <a:spLocks/>
          </p:cNvSpPr>
          <p:nvPr/>
        </p:nvSpPr>
        <p:spPr>
          <a:xfrm>
            <a:off x="1828085" y="4000500"/>
            <a:ext cx="6400324" cy="514350"/>
          </a:xfrm>
          <a:prstGeom prst="rect">
            <a:avLst/>
          </a:prstGeom>
        </p:spPr>
        <p:txBody>
          <a:bodyPr vert="horz" wrap="square" lIns="0" tIns="0" rIns="0" bIns="0" rtlCol="0" anchor="t">
            <a:normAutofit fontScale="92500" lnSpcReduction="10000"/>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dirty="0" smtClean="0"/>
              <a:t>Resiliency</a:t>
            </a:r>
            <a:endParaRPr lang="en-US" dirty="0"/>
          </a:p>
        </p:txBody>
      </p:sp>
      <p:sp>
        <p:nvSpPr>
          <p:cNvPr id="66"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67"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7"/>
              </a:rPr>
              <a:t>www.rapidbbs.cn</a:t>
            </a:r>
            <a:endParaRPr lang="zh-CN" altLang="en-US" sz="1200" b="0">
              <a:latin typeface="Arial" charset="0"/>
              <a:ea typeface="ＭＳ Ｐゴシック" pitchFamily="34" charset="-128"/>
            </a:endParaRPr>
          </a:p>
        </p:txBody>
      </p:sp>
      <p:pic>
        <p:nvPicPr>
          <p:cNvPr id="68" name="Picture 2">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694238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a:t>Windows </a:t>
            </a:r>
            <a:r>
              <a:rPr lang="en-US" b="1" dirty="0" smtClean="0"/>
              <a:t>Server 2012 </a:t>
            </a:r>
            <a:r>
              <a:rPr lang="en-US" b="1" dirty="0"/>
              <a:t>is Cloud Optimized !</a:t>
            </a:r>
            <a:endParaRPr lang="en-US" dirty="0"/>
          </a:p>
        </p:txBody>
      </p:sp>
      <p:sp>
        <p:nvSpPr>
          <p:cNvPr id="6" name="Text Placeholder 2"/>
          <p:cNvSpPr>
            <a:spLocks noGrp="1"/>
          </p:cNvSpPr>
          <p:nvPr>
            <p:ph type="body" sz="quarter" idx="10"/>
          </p:nvPr>
        </p:nvSpPr>
        <p:spPr>
          <a:xfrm>
            <a:off x="298989" y="1351347"/>
            <a:ext cx="5484192" cy="2878944"/>
          </a:xfrm>
          <a:solidFill>
            <a:srgbClr val="92D050"/>
          </a:solidFill>
        </p:spPr>
        <p:txBody>
          <a:bodyPr>
            <a:noAutofit/>
          </a:bodyPr>
          <a:lstStyle/>
          <a:p>
            <a:pPr marL="0" indent="0">
              <a:buNone/>
            </a:pPr>
            <a:r>
              <a:rPr lang="en-US" sz="1800" b="1" dirty="0">
                <a:solidFill>
                  <a:schemeClr val="bg1">
                    <a:lumMod val="50000"/>
                  </a:schemeClr>
                </a:solidFill>
                <a:latin typeface="Segoe UI Light" pitchFamily="34" charset="0"/>
                <a:cs typeface="Segoe UI Light" pitchFamily="34" charset="0"/>
              </a:rPr>
              <a:t>Flexible </a:t>
            </a:r>
            <a:r>
              <a:rPr lang="en-US" sz="1800" dirty="0">
                <a:solidFill>
                  <a:schemeClr val="bg1">
                    <a:lumMod val="50000"/>
                  </a:schemeClr>
                </a:solidFill>
                <a:latin typeface="Segoe UI Light" pitchFamily="34" charset="0"/>
                <a:cs typeface="Segoe UI Light" pitchFamily="34" charset="0"/>
              </a:rPr>
              <a:t>– Different cloud architectures to fit your needs</a:t>
            </a:r>
          </a:p>
          <a:p>
            <a:pPr marL="0" indent="0">
              <a:buNone/>
            </a:pPr>
            <a:endParaRPr lang="en-US" sz="1800" dirty="0">
              <a:solidFill>
                <a:schemeClr val="bg1">
                  <a:lumMod val="50000"/>
                </a:schemeClr>
              </a:solidFill>
              <a:latin typeface="Segoe UI Light" pitchFamily="34" charset="0"/>
              <a:cs typeface="Segoe UI Light" pitchFamily="34" charset="0"/>
            </a:endParaRPr>
          </a:p>
          <a:p>
            <a:pPr marL="0" indent="0">
              <a:buNone/>
            </a:pPr>
            <a:r>
              <a:rPr lang="en-US" sz="1800" b="1" dirty="0">
                <a:solidFill>
                  <a:schemeClr val="bg1">
                    <a:lumMod val="50000"/>
                  </a:schemeClr>
                </a:solidFill>
                <a:latin typeface="Segoe UI Light" pitchFamily="34" charset="0"/>
                <a:cs typeface="Segoe UI Light" pitchFamily="34" charset="0"/>
              </a:rPr>
              <a:t>Efficient </a:t>
            </a:r>
            <a:r>
              <a:rPr lang="en-US" sz="1800" dirty="0">
                <a:solidFill>
                  <a:schemeClr val="bg1">
                    <a:lumMod val="50000"/>
                  </a:schemeClr>
                </a:solidFill>
                <a:latin typeface="Segoe UI Light" pitchFamily="34" charset="0"/>
                <a:cs typeface="Segoe UI Light" pitchFamily="34" charset="0"/>
              </a:rPr>
              <a:t>-  Supports existing architectures, and promotes new more efficient ones.</a:t>
            </a:r>
          </a:p>
          <a:p>
            <a:pPr marL="0" indent="0">
              <a:buNone/>
            </a:pPr>
            <a:endParaRPr lang="en-US" sz="1800" dirty="0">
              <a:solidFill>
                <a:schemeClr val="bg1">
                  <a:lumMod val="50000"/>
                </a:schemeClr>
              </a:solidFill>
              <a:latin typeface="Segoe UI Light" pitchFamily="34" charset="0"/>
              <a:cs typeface="Segoe UI Light" pitchFamily="34" charset="0"/>
            </a:endParaRPr>
          </a:p>
          <a:p>
            <a:pPr marL="0" indent="0">
              <a:buNone/>
            </a:pPr>
            <a:r>
              <a:rPr lang="en-US" sz="1800" b="1" dirty="0">
                <a:solidFill>
                  <a:schemeClr val="bg1">
                    <a:lumMod val="50000"/>
                  </a:schemeClr>
                </a:solidFill>
                <a:latin typeface="Segoe UI Light" pitchFamily="34" charset="0"/>
                <a:cs typeface="Segoe UI Light" pitchFamily="34" charset="0"/>
              </a:rPr>
              <a:t>Detailed guidance and configuration scripts </a:t>
            </a:r>
            <a:r>
              <a:rPr lang="en-US" sz="1800" dirty="0">
                <a:solidFill>
                  <a:schemeClr val="bg1">
                    <a:lumMod val="50000"/>
                  </a:schemeClr>
                </a:solidFill>
                <a:latin typeface="Segoe UI Light" pitchFamily="34" charset="0"/>
                <a:cs typeface="Segoe UI Light" pitchFamily="34" charset="0"/>
              </a:rPr>
              <a:t>on TechNet</a:t>
            </a:r>
          </a:p>
          <a:p>
            <a:pPr marL="0" indent="0">
              <a:buNone/>
            </a:pPr>
            <a:endParaRPr lang="en-US" sz="1800" dirty="0">
              <a:solidFill>
                <a:schemeClr val="bg1">
                  <a:lumMod val="50000"/>
                </a:schemeClr>
              </a:solidFill>
              <a:latin typeface="Segoe UI Light" pitchFamily="34" charset="0"/>
              <a:cs typeface="Segoe UI Light" pitchFamily="34" charset="0"/>
            </a:endParaRPr>
          </a:p>
          <a:p>
            <a:pPr marL="0" indent="0">
              <a:buNone/>
            </a:pPr>
            <a:r>
              <a:rPr lang="en-US" sz="1800" b="1" dirty="0">
                <a:solidFill>
                  <a:schemeClr val="bg1">
                    <a:lumMod val="50000"/>
                  </a:schemeClr>
                </a:solidFill>
                <a:latin typeface="Segoe UI Light" pitchFamily="34" charset="0"/>
                <a:cs typeface="Segoe UI Light" pitchFamily="34" charset="0"/>
              </a:rPr>
              <a:t>System Center 2012 SP1 </a:t>
            </a:r>
            <a:r>
              <a:rPr lang="en-US" sz="1800" dirty="0">
                <a:solidFill>
                  <a:schemeClr val="bg1">
                    <a:lumMod val="50000"/>
                  </a:schemeClr>
                </a:solidFill>
                <a:latin typeface="Segoe UI Light" pitchFamily="34" charset="0"/>
                <a:cs typeface="Segoe UI Light" pitchFamily="34" charset="0"/>
              </a:rPr>
              <a:t>to manage it all !</a:t>
            </a:r>
          </a:p>
        </p:txBody>
      </p:sp>
      <p:sp>
        <p:nvSpPr>
          <p:cNvPr id="7" name="Rectangle 6"/>
          <p:cNvSpPr/>
          <p:nvPr/>
        </p:nvSpPr>
        <p:spPr bwMode="auto">
          <a:xfrm>
            <a:off x="7360845" y="2820607"/>
            <a:ext cx="1410051" cy="140968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b" anchorCtr="0" forceAA="0" compatLnSpc="1">
            <a:prstTxWarp prst="textNoShape">
              <a:avLst/>
            </a:prstTxWarp>
            <a:noAutofit/>
          </a:bodyPr>
          <a:lstStyle/>
          <a:p>
            <a:pPr defTabSz="685637" fontAlgn="base">
              <a:spcBef>
                <a:spcPct val="0"/>
              </a:spcBef>
              <a:spcAft>
                <a:spcPct val="0"/>
              </a:spcAft>
            </a:pPr>
            <a:endParaRPr lang="en-US"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8" name="Rectangle 7"/>
          <p:cNvSpPr/>
          <p:nvPr/>
        </p:nvSpPr>
        <p:spPr bwMode="auto">
          <a:xfrm>
            <a:off x="5873636" y="2820607"/>
            <a:ext cx="1410051" cy="140968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b" anchorCtr="0" forceAA="0" compatLnSpc="1">
            <a:prstTxWarp prst="textNoShape">
              <a:avLst/>
            </a:prstTxWarp>
            <a:noAutofit/>
          </a:bodyPr>
          <a:lstStyle/>
          <a:p>
            <a:pPr defTabSz="685637" fontAlgn="base">
              <a:spcBef>
                <a:spcPct val="0"/>
              </a:spcBef>
              <a:spcAft>
                <a:spcPct val="0"/>
              </a:spcAft>
            </a:pPr>
            <a:endParaRPr lang="en-US"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9" name="Rectangle 8"/>
          <p:cNvSpPr/>
          <p:nvPr/>
        </p:nvSpPr>
        <p:spPr bwMode="auto">
          <a:xfrm>
            <a:off x="7360845" y="1329706"/>
            <a:ext cx="1410051" cy="140968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b" anchorCtr="0" forceAA="0" compatLnSpc="1">
            <a:prstTxWarp prst="textNoShape">
              <a:avLst/>
            </a:prstTxWarp>
            <a:noAutofit/>
          </a:bodyPr>
          <a:lstStyle/>
          <a:p>
            <a:pPr defTabSz="685637" fontAlgn="base">
              <a:spcBef>
                <a:spcPct val="0"/>
              </a:spcBef>
              <a:spcAft>
                <a:spcPct val="0"/>
              </a:spcAft>
            </a:pPr>
            <a:endParaRPr lang="en-US"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0" name="Rectangle 9"/>
          <p:cNvSpPr/>
          <p:nvPr/>
        </p:nvSpPr>
        <p:spPr bwMode="auto">
          <a:xfrm>
            <a:off x="5873636" y="1329706"/>
            <a:ext cx="1410051" cy="140968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b" anchorCtr="0" forceAA="0" compatLnSpc="1">
            <a:prstTxWarp prst="textNoShape">
              <a:avLst/>
            </a:prstTxWarp>
            <a:noAutofit/>
          </a:bodyPr>
          <a:lstStyle/>
          <a:p>
            <a:pPr defTabSz="685637" fontAlgn="base">
              <a:spcBef>
                <a:spcPct val="0"/>
              </a:spcBef>
              <a:spcAft>
                <a:spcPct val="0"/>
              </a:spcAft>
            </a:pPr>
            <a:endParaRPr lang="en-US"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pic>
        <p:nvPicPr>
          <p:cNvPr id="11" name="Picture 8"/>
          <p:cNvPicPr>
            <a:picLocks noChangeAspect="1" noChangeArrowheads="1"/>
          </p:cNvPicPr>
          <p:nvPr/>
        </p:nvPicPr>
        <p:blipFill>
          <a:blip r:embed="rId2" cstate="email">
            <a:biLevel thresh="50000"/>
            <a:extLst>
              <a:ext uri="{28A0092B-C50C-407E-A947-70E740481C1C}">
                <a14:useLocalDpi xmlns:a14="http://schemas.microsoft.com/office/drawing/2010/main"/>
              </a:ext>
            </a:extLst>
          </a:blip>
          <a:srcRect/>
          <a:stretch>
            <a:fillRect/>
          </a:stretch>
        </p:blipFill>
        <p:spPr bwMode="auto">
          <a:xfrm>
            <a:off x="6220198" y="3037491"/>
            <a:ext cx="733370" cy="8372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11"/>
          <p:cNvPicPr>
            <a:picLocks noChangeAspect="1" noChangeArrowheads="1"/>
          </p:cNvPicPr>
          <p:nvPr/>
        </p:nvPicPr>
        <p:blipFill>
          <a:blip r:embed="rId3" cstate="email">
            <a:biLevel thresh="50000"/>
            <a:extLst>
              <a:ext uri="{28A0092B-C50C-407E-A947-70E740481C1C}">
                <a14:useLocalDpi xmlns:a14="http://schemas.microsoft.com/office/drawing/2010/main"/>
              </a:ext>
            </a:extLst>
          </a:blip>
          <a:srcRect/>
          <a:stretch>
            <a:fillRect/>
          </a:stretch>
        </p:blipFill>
        <p:spPr bwMode="auto">
          <a:xfrm>
            <a:off x="6103365" y="1755754"/>
            <a:ext cx="967039" cy="5575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5"/>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7451800" y="3081717"/>
            <a:ext cx="1228138" cy="7488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9"/>
          <p:cNvPicPr>
            <a:picLocks noChangeAspect="1" noChangeArrowheads="1"/>
          </p:cNvPicPr>
          <p:nvPr/>
        </p:nvPicPr>
        <p:blipFill>
          <a:blip r:embed="rId5" cstate="email">
            <a:biLevel thresh="50000"/>
            <a:extLst>
              <a:ext uri="{28A0092B-C50C-407E-A947-70E740481C1C}">
                <a14:useLocalDpi xmlns:a14="http://schemas.microsoft.com/office/drawing/2010/main"/>
              </a:ext>
            </a:extLst>
          </a:blip>
          <a:srcRect/>
          <a:stretch>
            <a:fillRect/>
          </a:stretch>
        </p:blipFill>
        <p:spPr bwMode="auto">
          <a:xfrm>
            <a:off x="7758950" y="1584971"/>
            <a:ext cx="671003" cy="9052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6"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6"/>
              </a:rPr>
              <a:t>www.rapidbbs.cn</a:t>
            </a:r>
            <a:endParaRPr lang="zh-CN" altLang="en-US" sz="1200" b="0">
              <a:latin typeface="Arial" charset="0"/>
              <a:ea typeface="ＭＳ Ｐゴシック" pitchFamily="34" charset="-128"/>
            </a:endParaRPr>
          </a:p>
        </p:txBody>
      </p:sp>
      <p:pic>
        <p:nvPicPr>
          <p:cNvPr id="17" name="Picture 2">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700398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ng My Web Server</a:t>
            </a:r>
          </a:p>
        </p:txBody>
      </p:sp>
      <p:grpSp>
        <p:nvGrpSpPr>
          <p:cNvPr id="3" name="Group 2"/>
          <p:cNvGrpSpPr/>
          <p:nvPr/>
        </p:nvGrpSpPr>
        <p:grpSpPr>
          <a:xfrm>
            <a:off x="2546218" y="1019769"/>
            <a:ext cx="1829384" cy="1803671"/>
            <a:chOff x="3394073" y="1359690"/>
            <a:chExt cx="2438544" cy="2404895"/>
          </a:xfrm>
        </p:grpSpPr>
        <p:sp>
          <p:nvSpPr>
            <p:cNvPr id="4" name="Rectangle 3"/>
            <p:cNvSpPr/>
            <p:nvPr/>
          </p:nvSpPr>
          <p:spPr bwMode="auto">
            <a:xfrm>
              <a:off x="3394073" y="1359690"/>
              <a:ext cx="2438544" cy="2404895"/>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Lock"/>
            <p:cNvSpPr>
              <a:spLocks noEditPoints="1" noChangeArrowheads="1"/>
            </p:cNvSpPr>
            <p:nvPr/>
          </p:nvSpPr>
          <p:spPr bwMode="auto">
            <a:xfrm rot="16200000">
              <a:off x="3797987" y="1590579"/>
              <a:ext cx="1686905" cy="1958457"/>
            </a:xfrm>
            <a:custGeom>
              <a:avLst/>
              <a:gdLst>
                <a:gd name="T0" fmla="*/ 10800 w 21600"/>
                <a:gd name="T1" fmla="*/ 0 h 21600"/>
                <a:gd name="T2" fmla="*/ 21600 w 21600"/>
                <a:gd name="T3" fmla="*/ 9606 h 21600"/>
                <a:gd name="T4" fmla="*/ 10800 w 21600"/>
                <a:gd name="T5" fmla="*/ 21600 h 21600"/>
                <a:gd name="T6" fmla="*/ 0 w 21600"/>
                <a:gd name="T7" fmla="*/ 9606 h 21600"/>
                <a:gd name="T8" fmla="*/ 744 w 21600"/>
                <a:gd name="T9" fmla="*/ 9904 h 21600"/>
                <a:gd name="T10" fmla="*/ 21134 w 21600"/>
                <a:gd name="T11" fmla="*/ 15335 h 21600"/>
              </a:gdLst>
              <a:ahLst/>
              <a:cxnLst>
                <a:cxn ang="0">
                  <a:pos x="T0" y="T1"/>
                </a:cxn>
                <a:cxn ang="0">
                  <a:pos x="T2" y="T3"/>
                </a:cxn>
                <a:cxn ang="0">
                  <a:pos x="T4" y="T5"/>
                </a:cxn>
                <a:cxn ang="0">
                  <a:pos x="T6" y="T7"/>
                </a:cxn>
              </a:cxnLst>
              <a:rect l="T8" t="T9" r="T10" b="T11"/>
              <a:pathLst>
                <a:path w="21600" h="21600" extrusionOk="0">
                  <a:moveTo>
                    <a:pt x="93" y="9606"/>
                  </a:moveTo>
                  <a:lnTo>
                    <a:pt x="2048" y="9606"/>
                  </a:lnTo>
                  <a:lnTo>
                    <a:pt x="2048" y="4713"/>
                  </a:lnTo>
                  <a:lnTo>
                    <a:pt x="2420" y="3818"/>
                  </a:lnTo>
                  <a:lnTo>
                    <a:pt x="2979" y="3028"/>
                  </a:lnTo>
                  <a:lnTo>
                    <a:pt x="3537" y="2446"/>
                  </a:lnTo>
                  <a:lnTo>
                    <a:pt x="3956" y="1998"/>
                  </a:lnTo>
                  <a:lnTo>
                    <a:pt x="4492" y="1581"/>
                  </a:lnTo>
                  <a:lnTo>
                    <a:pt x="5143" y="1238"/>
                  </a:lnTo>
                  <a:lnTo>
                    <a:pt x="5912" y="880"/>
                  </a:lnTo>
                  <a:lnTo>
                    <a:pt x="6587" y="641"/>
                  </a:lnTo>
                  <a:lnTo>
                    <a:pt x="7518" y="372"/>
                  </a:lnTo>
                  <a:lnTo>
                    <a:pt x="8425" y="208"/>
                  </a:lnTo>
                  <a:lnTo>
                    <a:pt x="9496" y="59"/>
                  </a:lnTo>
                  <a:lnTo>
                    <a:pt x="10637" y="14"/>
                  </a:lnTo>
                  <a:lnTo>
                    <a:pt x="11614" y="59"/>
                  </a:lnTo>
                  <a:lnTo>
                    <a:pt x="12382" y="119"/>
                  </a:lnTo>
                  <a:lnTo>
                    <a:pt x="13034" y="253"/>
                  </a:lnTo>
                  <a:lnTo>
                    <a:pt x="13779" y="417"/>
                  </a:lnTo>
                  <a:lnTo>
                    <a:pt x="14500" y="611"/>
                  </a:lnTo>
                  <a:lnTo>
                    <a:pt x="14733" y="686"/>
                  </a:lnTo>
                  <a:lnTo>
                    <a:pt x="14989" y="790"/>
                  </a:lnTo>
                  <a:lnTo>
                    <a:pt x="15175" y="865"/>
                  </a:lnTo>
                  <a:lnTo>
                    <a:pt x="15385" y="954"/>
                  </a:lnTo>
                  <a:lnTo>
                    <a:pt x="15431" y="969"/>
                  </a:lnTo>
                  <a:lnTo>
                    <a:pt x="15594" y="1059"/>
                  </a:lnTo>
                  <a:lnTo>
                    <a:pt x="15757" y="1148"/>
                  </a:lnTo>
                  <a:lnTo>
                    <a:pt x="15920" y="1267"/>
                  </a:lnTo>
                  <a:lnTo>
                    <a:pt x="16106" y="1372"/>
                  </a:lnTo>
                  <a:lnTo>
                    <a:pt x="16665" y="1730"/>
                  </a:lnTo>
                  <a:lnTo>
                    <a:pt x="17014" y="1998"/>
                  </a:lnTo>
                  <a:lnTo>
                    <a:pt x="17480" y="2356"/>
                  </a:lnTo>
                  <a:lnTo>
                    <a:pt x="17852" y="2804"/>
                  </a:lnTo>
                  <a:lnTo>
                    <a:pt x="18178" y="3192"/>
                  </a:lnTo>
                  <a:lnTo>
                    <a:pt x="18527" y="3639"/>
                  </a:lnTo>
                  <a:lnTo>
                    <a:pt x="18806" y="4132"/>
                  </a:lnTo>
                  <a:lnTo>
                    <a:pt x="19086" y="4713"/>
                  </a:lnTo>
                  <a:lnTo>
                    <a:pt x="19272" y="5191"/>
                  </a:lnTo>
                  <a:lnTo>
                    <a:pt x="19295" y="9606"/>
                  </a:lnTo>
                  <a:lnTo>
                    <a:pt x="21600" y="9606"/>
                  </a:lnTo>
                  <a:lnTo>
                    <a:pt x="21600" y="16289"/>
                  </a:lnTo>
                  <a:lnTo>
                    <a:pt x="21413" y="17184"/>
                  </a:lnTo>
                  <a:lnTo>
                    <a:pt x="21041" y="17900"/>
                  </a:lnTo>
                  <a:lnTo>
                    <a:pt x="20668" y="18377"/>
                  </a:lnTo>
                  <a:lnTo>
                    <a:pt x="20343" y="18855"/>
                  </a:lnTo>
                  <a:lnTo>
                    <a:pt x="19924" y="19332"/>
                  </a:lnTo>
                  <a:lnTo>
                    <a:pt x="19388" y="19809"/>
                  </a:lnTo>
                  <a:lnTo>
                    <a:pt x="18806" y="20242"/>
                  </a:lnTo>
                  <a:lnTo>
                    <a:pt x="18062" y="20585"/>
                  </a:lnTo>
                  <a:lnTo>
                    <a:pt x="17270" y="20883"/>
                  </a:lnTo>
                  <a:lnTo>
                    <a:pt x="16525" y="21182"/>
                  </a:lnTo>
                  <a:lnTo>
                    <a:pt x="15548" y="21420"/>
                  </a:lnTo>
                  <a:lnTo>
                    <a:pt x="14803" y="21540"/>
                  </a:lnTo>
                  <a:lnTo>
                    <a:pt x="13662" y="21674"/>
                  </a:lnTo>
                  <a:lnTo>
                    <a:pt x="8379" y="21659"/>
                  </a:lnTo>
                  <a:lnTo>
                    <a:pt x="7168" y="21540"/>
                  </a:lnTo>
                  <a:lnTo>
                    <a:pt x="6098" y="21331"/>
                  </a:lnTo>
                  <a:lnTo>
                    <a:pt x="5050" y="21092"/>
                  </a:lnTo>
                  <a:lnTo>
                    <a:pt x="4003" y="20764"/>
                  </a:lnTo>
                  <a:lnTo>
                    <a:pt x="3258" y="20391"/>
                  </a:lnTo>
                  <a:lnTo>
                    <a:pt x="2769" y="20123"/>
                  </a:lnTo>
                  <a:lnTo>
                    <a:pt x="2281" y="19720"/>
                  </a:lnTo>
                  <a:lnTo>
                    <a:pt x="1862" y="19407"/>
                  </a:lnTo>
                  <a:lnTo>
                    <a:pt x="1489" y="19079"/>
                  </a:lnTo>
                  <a:lnTo>
                    <a:pt x="1070" y="18676"/>
                  </a:lnTo>
                  <a:lnTo>
                    <a:pt x="744" y="18258"/>
                  </a:lnTo>
                  <a:lnTo>
                    <a:pt x="325" y="17661"/>
                  </a:lnTo>
                  <a:lnTo>
                    <a:pt x="162" y="17035"/>
                  </a:lnTo>
                  <a:lnTo>
                    <a:pt x="93" y="16468"/>
                  </a:lnTo>
                  <a:lnTo>
                    <a:pt x="93" y="9606"/>
                  </a:lnTo>
                  <a:close/>
                  <a:moveTo>
                    <a:pt x="6098" y="9591"/>
                  </a:moveTo>
                  <a:lnTo>
                    <a:pt x="6098" y="5220"/>
                  </a:lnTo>
                  <a:lnTo>
                    <a:pt x="6191" y="4907"/>
                  </a:lnTo>
                  <a:lnTo>
                    <a:pt x="6307" y="4639"/>
                  </a:lnTo>
                  <a:lnTo>
                    <a:pt x="6517" y="4370"/>
                  </a:lnTo>
                  <a:lnTo>
                    <a:pt x="6680" y="4087"/>
                  </a:lnTo>
                  <a:lnTo>
                    <a:pt x="6889" y="3878"/>
                  </a:lnTo>
                  <a:lnTo>
                    <a:pt x="7308" y="3520"/>
                  </a:lnTo>
                  <a:lnTo>
                    <a:pt x="7843" y="3281"/>
                  </a:lnTo>
                  <a:lnTo>
                    <a:pt x="8402" y="3013"/>
                  </a:lnTo>
                  <a:lnTo>
                    <a:pt x="9031" y="2834"/>
                  </a:lnTo>
                  <a:lnTo>
                    <a:pt x="9659" y="2700"/>
                  </a:lnTo>
                  <a:lnTo>
                    <a:pt x="10497" y="2625"/>
                  </a:lnTo>
                  <a:lnTo>
                    <a:pt x="11125" y="2655"/>
                  </a:lnTo>
                  <a:lnTo>
                    <a:pt x="11987" y="2789"/>
                  </a:lnTo>
                  <a:lnTo>
                    <a:pt x="12522" y="2893"/>
                  </a:lnTo>
                  <a:lnTo>
                    <a:pt x="13011" y="3028"/>
                  </a:lnTo>
                  <a:lnTo>
                    <a:pt x="13290" y="3192"/>
                  </a:lnTo>
                  <a:lnTo>
                    <a:pt x="13709" y="3371"/>
                  </a:lnTo>
                  <a:lnTo>
                    <a:pt x="13872" y="3505"/>
                  </a:lnTo>
                  <a:lnTo>
                    <a:pt x="14058" y="3639"/>
                  </a:lnTo>
                  <a:lnTo>
                    <a:pt x="14291" y="3788"/>
                  </a:lnTo>
                  <a:lnTo>
                    <a:pt x="14431" y="3953"/>
                  </a:lnTo>
                  <a:lnTo>
                    <a:pt x="14617" y="4102"/>
                  </a:lnTo>
                  <a:lnTo>
                    <a:pt x="14826" y="4311"/>
                  </a:lnTo>
                  <a:lnTo>
                    <a:pt x="14919" y="4534"/>
                  </a:lnTo>
                  <a:lnTo>
                    <a:pt x="15036" y="4773"/>
                  </a:lnTo>
                  <a:lnTo>
                    <a:pt x="15175" y="5027"/>
                  </a:lnTo>
                  <a:lnTo>
                    <a:pt x="15245" y="5220"/>
                  </a:lnTo>
                  <a:lnTo>
                    <a:pt x="15245" y="9591"/>
                  </a:lnTo>
                  <a:lnTo>
                    <a:pt x="6098" y="9591"/>
                  </a:lnTo>
                  <a:close/>
                </a:path>
                <a:path w="21600" h="21600" extrusionOk="0">
                  <a:moveTo>
                    <a:pt x="93" y="9606"/>
                  </a:moveTo>
                  <a:lnTo>
                    <a:pt x="21600" y="9606"/>
                  </a:lnTo>
                  <a:close/>
                </a:path>
                <a:path w="21600" h="21600" extrusionOk="0">
                  <a:moveTo>
                    <a:pt x="11684" y="17109"/>
                  </a:moveTo>
                  <a:lnTo>
                    <a:pt x="12266" y="19317"/>
                  </a:lnTo>
                  <a:lnTo>
                    <a:pt x="9659" y="19317"/>
                  </a:lnTo>
                  <a:lnTo>
                    <a:pt x="10287" y="17124"/>
                  </a:lnTo>
                  <a:lnTo>
                    <a:pt x="10008" y="16975"/>
                  </a:lnTo>
                  <a:lnTo>
                    <a:pt x="9799" y="16722"/>
                  </a:lnTo>
                  <a:lnTo>
                    <a:pt x="9752" y="16408"/>
                  </a:lnTo>
                  <a:lnTo>
                    <a:pt x="9822" y="16170"/>
                  </a:lnTo>
                  <a:lnTo>
                    <a:pt x="10008" y="16006"/>
                  </a:lnTo>
                  <a:lnTo>
                    <a:pt x="10148" y="15871"/>
                  </a:lnTo>
                  <a:lnTo>
                    <a:pt x="10381" y="15782"/>
                  </a:lnTo>
                  <a:lnTo>
                    <a:pt x="10660" y="15692"/>
                  </a:lnTo>
                  <a:lnTo>
                    <a:pt x="11009" y="15677"/>
                  </a:lnTo>
                  <a:lnTo>
                    <a:pt x="11288" y="15722"/>
                  </a:lnTo>
                  <a:lnTo>
                    <a:pt x="11614" y="15782"/>
                  </a:lnTo>
                  <a:lnTo>
                    <a:pt x="11893" y="15946"/>
                  </a:lnTo>
                  <a:lnTo>
                    <a:pt x="12033" y="16080"/>
                  </a:lnTo>
                  <a:lnTo>
                    <a:pt x="12173" y="16229"/>
                  </a:lnTo>
                  <a:lnTo>
                    <a:pt x="12196" y="16408"/>
                  </a:lnTo>
                  <a:lnTo>
                    <a:pt x="12103" y="16722"/>
                  </a:lnTo>
                  <a:lnTo>
                    <a:pt x="11987" y="16856"/>
                  </a:lnTo>
                  <a:lnTo>
                    <a:pt x="11847" y="16975"/>
                  </a:lnTo>
                  <a:lnTo>
                    <a:pt x="11684" y="17109"/>
                  </a:lnTo>
                </a:path>
              </a:pathLst>
            </a:custGeom>
            <a:solidFill>
              <a:schemeClr val="accent2"/>
            </a:solidFill>
            <a:ln w="63500">
              <a:solidFill>
                <a:schemeClr val="tx1"/>
              </a:solidFill>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 name="Group 4"/>
          <p:cNvGrpSpPr/>
          <p:nvPr/>
        </p:nvGrpSpPr>
        <p:grpSpPr>
          <a:xfrm>
            <a:off x="4489932" y="1019768"/>
            <a:ext cx="1829384" cy="1803671"/>
            <a:chOff x="5985017" y="1359689"/>
            <a:chExt cx="2438544" cy="2404895"/>
          </a:xfrm>
        </p:grpSpPr>
        <p:sp>
          <p:nvSpPr>
            <p:cNvPr id="9" name="Rectangle 8"/>
            <p:cNvSpPr/>
            <p:nvPr/>
          </p:nvSpPr>
          <p:spPr bwMode="auto">
            <a:xfrm>
              <a:off x="5985017" y="1359689"/>
              <a:ext cx="2438544" cy="2404895"/>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0" name="Lock"/>
            <p:cNvSpPr>
              <a:spLocks noEditPoints="1" noChangeArrowheads="1"/>
            </p:cNvSpPr>
            <p:nvPr/>
          </p:nvSpPr>
          <p:spPr bwMode="auto">
            <a:xfrm>
              <a:off x="6388931" y="1590578"/>
              <a:ext cx="1686905" cy="1958457"/>
            </a:xfrm>
            <a:custGeom>
              <a:avLst/>
              <a:gdLst>
                <a:gd name="T0" fmla="*/ 10800 w 21600"/>
                <a:gd name="T1" fmla="*/ 0 h 21600"/>
                <a:gd name="T2" fmla="*/ 21600 w 21600"/>
                <a:gd name="T3" fmla="*/ 9606 h 21600"/>
                <a:gd name="T4" fmla="*/ 10800 w 21600"/>
                <a:gd name="T5" fmla="*/ 21600 h 21600"/>
                <a:gd name="T6" fmla="*/ 0 w 21600"/>
                <a:gd name="T7" fmla="*/ 9606 h 21600"/>
                <a:gd name="T8" fmla="*/ 744 w 21600"/>
                <a:gd name="T9" fmla="*/ 9904 h 21600"/>
                <a:gd name="T10" fmla="*/ 21134 w 21600"/>
                <a:gd name="T11" fmla="*/ 15335 h 21600"/>
              </a:gdLst>
              <a:ahLst/>
              <a:cxnLst>
                <a:cxn ang="0">
                  <a:pos x="T0" y="T1"/>
                </a:cxn>
                <a:cxn ang="0">
                  <a:pos x="T2" y="T3"/>
                </a:cxn>
                <a:cxn ang="0">
                  <a:pos x="T4" y="T5"/>
                </a:cxn>
                <a:cxn ang="0">
                  <a:pos x="T6" y="T7"/>
                </a:cxn>
              </a:cxnLst>
              <a:rect l="T8" t="T9" r="T10" b="T11"/>
              <a:pathLst>
                <a:path w="21600" h="21600" extrusionOk="0">
                  <a:moveTo>
                    <a:pt x="93" y="9606"/>
                  </a:moveTo>
                  <a:lnTo>
                    <a:pt x="2048" y="9606"/>
                  </a:lnTo>
                  <a:lnTo>
                    <a:pt x="2048" y="4713"/>
                  </a:lnTo>
                  <a:lnTo>
                    <a:pt x="2420" y="3818"/>
                  </a:lnTo>
                  <a:lnTo>
                    <a:pt x="2979" y="3028"/>
                  </a:lnTo>
                  <a:lnTo>
                    <a:pt x="3537" y="2446"/>
                  </a:lnTo>
                  <a:lnTo>
                    <a:pt x="3956" y="1998"/>
                  </a:lnTo>
                  <a:lnTo>
                    <a:pt x="4492" y="1581"/>
                  </a:lnTo>
                  <a:lnTo>
                    <a:pt x="5143" y="1238"/>
                  </a:lnTo>
                  <a:lnTo>
                    <a:pt x="5912" y="880"/>
                  </a:lnTo>
                  <a:lnTo>
                    <a:pt x="6587" y="641"/>
                  </a:lnTo>
                  <a:lnTo>
                    <a:pt x="7518" y="372"/>
                  </a:lnTo>
                  <a:lnTo>
                    <a:pt x="8425" y="208"/>
                  </a:lnTo>
                  <a:lnTo>
                    <a:pt x="9496" y="59"/>
                  </a:lnTo>
                  <a:lnTo>
                    <a:pt x="10637" y="14"/>
                  </a:lnTo>
                  <a:lnTo>
                    <a:pt x="11614" y="59"/>
                  </a:lnTo>
                  <a:lnTo>
                    <a:pt x="12382" y="119"/>
                  </a:lnTo>
                  <a:lnTo>
                    <a:pt x="13034" y="253"/>
                  </a:lnTo>
                  <a:lnTo>
                    <a:pt x="13779" y="417"/>
                  </a:lnTo>
                  <a:lnTo>
                    <a:pt x="14500" y="611"/>
                  </a:lnTo>
                  <a:lnTo>
                    <a:pt x="14733" y="686"/>
                  </a:lnTo>
                  <a:lnTo>
                    <a:pt x="14989" y="790"/>
                  </a:lnTo>
                  <a:lnTo>
                    <a:pt x="15175" y="865"/>
                  </a:lnTo>
                  <a:lnTo>
                    <a:pt x="15385" y="954"/>
                  </a:lnTo>
                  <a:lnTo>
                    <a:pt x="15431" y="969"/>
                  </a:lnTo>
                  <a:lnTo>
                    <a:pt x="15594" y="1059"/>
                  </a:lnTo>
                  <a:lnTo>
                    <a:pt x="15757" y="1148"/>
                  </a:lnTo>
                  <a:lnTo>
                    <a:pt x="15920" y="1267"/>
                  </a:lnTo>
                  <a:lnTo>
                    <a:pt x="16106" y="1372"/>
                  </a:lnTo>
                  <a:lnTo>
                    <a:pt x="16665" y="1730"/>
                  </a:lnTo>
                  <a:lnTo>
                    <a:pt x="17014" y="1998"/>
                  </a:lnTo>
                  <a:lnTo>
                    <a:pt x="17480" y="2356"/>
                  </a:lnTo>
                  <a:lnTo>
                    <a:pt x="17852" y="2804"/>
                  </a:lnTo>
                  <a:lnTo>
                    <a:pt x="18178" y="3192"/>
                  </a:lnTo>
                  <a:lnTo>
                    <a:pt x="18527" y="3639"/>
                  </a:lnTo>
                  <a:lnTo>
                    <a:pt x="18806" y="4132"/>
                  </a:lnTo>
                  <a:lnTo>
                    <a:pt x="19086" y="4713"/>
                  </a:lnTo>
                  <a:lnTo>
                    <a:pt x="19272" y="5191"/>
                  </a:lnTo>
                  <a:lnTo>
                    <a:pt x="19295" y="9606"/>
                  </a:lnTo>
                  <a:lnTo>
                    <a:pt x="21600" y="9606"/>
                  </a:lnTo>
                  <a:lnTo>
                    <a:pt x="21600" y="16289"/>
                  </a:lnTo>
                  <a:lnTo>
                    <a:pt x="21413" y="17184"/>
                  </a:lnTo>
                  <a:lnTo>
                    <a:pt x="21041" y="17900"/>
                  </a:lnTo>
                  <a:lnTo>
                    <a:pt x="20668" y="18377"/>
                  </a:lnTo>
                  <a:lnTo>
                    <a:pt x="20343" y="18855"/>
                  </a:lnTo>
                  <a:lnTo>
                    <a:pt x="19924" y="19332"/>
                  </a:lnTo>
                  <a:lnTo>
                    <a:pt x="19388" y="19809"/>
                  </a:lnTo>
                  <a:lnTo>
                    <a:pt x="18806" y="20242"/>
                  </a:lnTo>
                  <a:lnTo>
                    <a:pt x="18062" y="20585"/>
                  </a:lnTo>
                  <a:lnTo>
                    <a:pt x="17270" y="20883"/>
                  </a:lnTo>
                  <a:lnTo>
                    <a:pt x="16525" y="21182"/>
                  </a:lnTo>
                  <a:lnTo>
                    <a:pt x="15548" y="21420"/>
                  </a:lnTo>
                  <a:lnTo>
                    <a:pt x="14803" y="21540"/>
                  </a:lnTo>
                  <a:lnTo>
                    <a:pt x="13662" y="21674"/>
                  </a:lnTo>
                  <a:lnTo>
                    <a:pt x="8379" y="21659"/>
                  </a:lnTo>
                  <a:lnTo>
                    <a:pt x="7168" y="21540"/>
                  </a:lnTo>
                  <a:lnTo>
                    <a:pt x="6098" y="21331"/>
                  </a:lnTo>
                  <a:lnTo>
                    <a:pt x="5050" y="21092"/>
                  </a:lnTo>
                  <a:lnTo>
                    <a:pt x="4003" y="20764"/>
                  </a:lnTo>
                  <a:lnTo>
                    <a:pt x="3258" y="20391"/>
                  </a:lnTo>
                  <a:lnTo>
                    <a:pt x="2769" y="20123"/>
                  </a:lnTo>
                  <a:lnTo>
                    <a:pt x="2281" y="19720"/>
                  </a:lnTo>
                  <a:lnTo>
                    <a:pt x="1862" y="19407"/>
                  </a:lnTo>
                  <a:lnTo>
                    <a:pt x="1489" y="19079"/>
                  </a:lnTo>
                  <a:lnTo>
                    <a:pt x="1070" y="18676"/>
                  </a:lnTo>
                  <a:lnTo>
                    <a:pt x="744" y="18258"/>
                  </a:lnTo>
                  <a:lnTo>
                    <a:pt x="325" y="17661"/>
                  </a:lnTo>
                  <a:lnTo>
                    <a:pt x="162" y="17035"/>
                  </a:lnTo>
                  <a:lnTo>
                    <a:pt x="93" y="16468"/>
                  </a:lnTo>
                  <a:lnTo>
                    <a:pt x="93" y="9606"/>
                  </a:lnTo>
                  <a:close/>
                  <a:moveTo>
                    <a:pt x="6098" y="9591"/>
                  </a:moveTo>
                  <a:lnTo>
                    <a:pt x="6098" y="5220"/>
                  </a:lnTo>
                  <a:lnTo>
                    <a:pt x="6191" y="4907"/>
                  </a:lnTo>
                  <a:lnTo>
                    <a:pt x="6307" y="4639"/>
                  </a:lnTo>
                  <a:lnTo>
                    <a:pt x="6517" y="4370"/>
                  </a:lnTo>
                  <a:lnTo>
                    <a:pt x="6680" y="4087"/>
                  </a:lnTo>
                  <a:lnTo>
                    <a:pt x="6889" y="3878"/>
                  </a:lnTo>
                  <a:lnTo>
                    <a:pt x="7308" y="3520"/>
                  </a:lnTo>
                  <a:lnTo>
                    <a:pt x="7843" y="3281"/>
                  </a:lnTo>
                  <a:lnTo>
                    <a:pt x="8402" y="3013"/>
                  </a:lnTo>
                  <a:lnTo>
                    <a:pt x="9031" y="2834"/>
                  </a:lnTo>
                  <a:lnTo>
                    <a:pt x="9659" y="2700"/>
                  </a:lnTo>
                  <a:lnTo>
                    <a:pt x="10497" y="2625"/>
                  </a:lnTo>
                  <a:lnTo>
                    <a:pt x="11125" y="2655"/>
                  </a:lnTo>
                  <a:lnTo>
                    <a:pt x="11987" y="2789"/>
                  </a:lnTo>
                  <a:lnTo>
                    <a:pt x="12522" y="2893"/>
                  </a:lnTo>
                  <a:lnTo>
                    <a:pt x="13011" y="3028"/>
                  </a:lnTo>
                  <a:lnTo>
                    <a:pt x="13290" y="3192"/>
                  </a:lnTo>
                  <a:lnTo>
                    <a:pt x="13709" y="3371"/>
                  </a:lnTo>
                  <a:lnTo>
                    <a:pt x="13872" y="3505"/>
                  </a:lnTo>
                  <a:lnTo>
                    <a:pt x="14058" y="3639"/>
                  </a:lnTo>
                  <a:lnTo>
                    <a:pt x="14291" y="3788"/>
                  </a:lnTo>
                  <a:lnTo>
                    <a:pt x="14431" y="3953"/>
                  </a:lnTo>
                  <a:lnTo>
                    <a:pt x="14617" y="4102"/>
                  </a:lnTo>
                  <a:lnTo>
                    <a:pt x="14826" y="4311"/>
                  </a:lnTo>
                  <a:lnTo>
                    <a:pt x="14919" y="4534"/>
                  </a:lnTo>
                  <a:lnTo>
                    <a:pt x="15036" y="4773"/>
                  </a:lnTo>
                  <a:lnTo>
                    <a:pt x="15175" y="5027"/>
                  </a:lnTo>
                  <a:lnTo>
                    <a:pt x="15245" y="5220"/>
                  </a:lnTo>
                  <a:lnTo>
                    <a:pt x="15245" y="9591"/>
                  </a:lnTo>
                  <a:lnTo>
                    <a:pt x="6098" y="9591"/>
                  </a:lnTo>
                  <a:close/>
                </a:path>
                <a:path w="21600" h="21600" extrusionOk="0">
                  <a:moveTo>
                    <a:pt x="93" y="9606"/>
                  </a:moveTo>
                  <a:lnTo>
                    <a:pt x="21600" y="9606"/>
                  </a:lnTo>
                  <a:close/>
                </a:path>
                <a:path w="21600" h="21600" extrusionOk="0">
                  <a:moveTo>
                    <a:pt x="11684" y="17109"/>
                  </a:moveTo>
                  <a:lnTo>
                    <a:pt x="12266" y="19317"/>
                  </a:lnTo>
                  <a:lnTo>
                    <a:pt x="9659" y="19317"/>
                  </a:lnTo>
                  <a:lnTo>
                    <a:pt x="10287" y="17124"/>
                  </a:lnTo>
                  <a:lnTo>
                    <a:pt x="10008" y="16975"/>
                  </a:lnTo>
                  <a:lnTo>
                    <a:pt x="9799" y="16722"/>
                  </a:lnTo>
                  <a:lnTo>
                    <a:pt x="9752" y="16408"/>
                  </a:lnTo>
                  <a:lnTo>
                    <a:pt x="9822" y="16170"/>
                  </a:lnTo>
                  <a:lnTo>
                    <a:pt x="10008" y="16006"/>
                  </a:lnTo>
                  <a:lnTo>
                    <a:pt x="10148" y="15871"/>
                  </a:lnTo>
                  <a:lnTo>
                    <a:pt x="10381" y="15782"/>
                  </a:lnTo>
                  <a:lnTo>
                    <a:pt x="10660" y="15692"/>
                  </a:lnTo>
                  <a:lnTo>
                    <a:pt x="11009" y="15677"/>
                  </a:lnTo>
                  <a:lnTo>
                    <a:pt x="11288" y="15722"/>
                  </a:lnTo>
                  <a:lnTo>
                    <a:pt x="11614" y="15782"/>
                  </a:lnTo>
                  <a:lnTo>
                    <a:pt x="11893" y="15946"/>
                  </a:lnTo>
                  <a:lnTo>
                    <a:pt x="12033" y="16080"/>
                  </a:lnTo>
                  <a:lnTo>
                    <a:pt x="12173" y="16229"/>
                  </a:lnTo>
                  <a:lnTo>
                    <a:pt x="12196" y="16408"/>
                  </a:lnTo>
                  <a:lnTo>
                    <a:pt x="12103" y="16722"/>
                  </a:lnTo>
                  <a:lnTo>
                    <a:pt x="11987" y="16856"/>
                  </a:lnTo>
                  <a:lnTo>
                    <a:pt x="11847" y="16975"/>
                  </a:lnTo>
                  <a:lnTo>
                    <a:pt x="11684" y="17109"/>
                  </a:lnTo>
                </a:path>
              </a:pathLst>
            </a:custGeom>
            <a:solidFill>
              <a:schemeClr val="accent1"/>
            </a:solidFill>
            <a:ln w="63500">
              <a:solidFill>
                <a:schemeClr val="tx1"/>
              </a:solidFill>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8" name="Group 7"/>
          <p:cNvGrpSpPr/>
          <p:nvPr/>
        </p:nvGrpSpPr>
        <p:grpSpPr>
          <a:xfrm>
            <a:off x="2546218" y="2982574"/>
            <a:ext cx="1829384" cy="1803671"/>
            <a:chOff x="3394073" y="3976764"/>
            <a:chExt cx="2438544" cy="2404895"/>
          </a:xfrm>
        </p:grpSpPr>
        <p:sp>
          <p:nvSpPr>
            <p:cNvPr id="11" name="Rectangle 10"/>
            <p:cNvSpPr/>
            <p:nvPr/>
          </p:nvSpPr>
          <p:spPr bwMode="auto">
            <a:xfrm>
              <a:off x="3394073" y="3976764"/>
              <a:ext cx="2438544" cy="2404895"/>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2" name="Lock"/>
            <p:cNvSpPr>
              <a:spLocks noEditPoints="1" noChangeArrowheads="1"/>
            </p:cNvSpPr>
            <p:nvPr/>
          </p:nvSpPr>
          <p:spPr bwMode="auto">
            <a:xfrm rot="10800000">
              <a:off x="3797987" y="4207653"/>
              <a:ext cx="1686905" cy="1958457"/>
            </a:xfrm>
            <a:custGeom>
              <a:avLst/>
              <a:gdLst>
                <a:gd name="T0" fmla="*/ 10800 w 21600"/>
                <a:gd name="T1" fmla="*/ 0 h 21600"/>
                <a:gd name="T2" fmla="*/ 21600 w 21600"/>
                <a:gd name="T3" fmla="*/ 9606 h 21600"/>
                <a:gd name="T4" fmla="*/ 10800 w 21600"/>
                <a:gd name="T5" fmla="*/ 21600 h 21600"/>
                <a:gd name="T6" fmla="*/ 0 w 21600"/>
                <a:gd name="T7" fmla="*/ 9606 h 21600"/>
                <a:gd name="T8" fmla="*/ 744 w 21600"/>
                <a:gd name="T9" fmla="*/ 9904 h 21600"/>
                <a:gd name="T10" fmla="*/ 21134 w 21600"/>
                <a:gd name="T11" fmla="*/ 15335 h 21600"/>
              </a:gdLst>
              <a:ahLst/>
              <a:cxnLst>
                <a:cxn ang="0">
                  <a:pos x="T0" y="T1"/>
                </a:cxn>
                <a:cxn ang="0">
                  <a:pos x="T2" y="T3"/>
                </a:cxn>
                <a:cxn ang="0">
                  <a:pos x="T4" y="T5"/>
                </a:cxn>
                <a:cxn ang="0">
                  <a:pos x="T6" y="T7"/>
                </a:cxn>
              </a:cxnLst>
              <a:rect l="T8" t="T9" r="T10" b="T11"/>
              <a:pathLst>
                <a:path w="21600" h="21600" extrusionOk="0">
                  <a:moveTo>
                    <a:pt x="93" y="9606"/>
                  </a:moveTo>
                  <a:lnTo>
                    <a:pt x="2048" y="9606"/>
                  </a:lnTo>
                  <a:lnTo>
                    <a:pt x="2048" y="4713"/>
                  </a:lnTo>
                  <a:lnTo>
                    <a:pt x="2420" y="3818"/>
                  </a:lnTo>
                  <a:lnTo>
                    <a:pt x="2979" y="3028"/>
                  </a:lnTo>
                  <a:lnTo>
                    <a:pt x="3537" y="2446"/>
                  </a:lnTo>
                  <a:lnTo>
                    <a:pt x="3956" y="1998"/>
                  </a:lnTo>
                  <a:lnTo>
                    <a:pt x="4492" y="1581"/>
                  </a:lnTo>
                  <a:lnTo>
                    <a:pt x="5143" y="1238"/>
                  </a:lnTo>
                  <a:lnTo>
                    <a:pt x="5912" y="880"/>
                  </a:lnTo>
                  <a:lnTo>
                    <a:pt x="6587" y="641"/>
                  </a:lnTo>
                  <a:lnTo>
                    <a:pt x="7518" y="372"/>
                  </a:lnTo>
                  <a:lnTo>
                    <a:pt x="8425" y="208"/>
                  </a:lnTo>
                  <a:lnTo>
                    <a:pt x="9496" y="59"/>
                  </a:lnTo>
                  <a:lnTo>
                    <a:pt x="10637" y="14"/>
                  </a:lnTo>
                  <a:lnTo>
                    <a:pt x="11614" y="59"/>
                  </a:lnTo>
                  <a:lnTo>
                    <a:pt x="12382" y="119"/>
                  </a:lnTo>
                  <a:lnTo>
                    <a:pt x="13034" y="253"/>
                  </a:lnTo>
                  <a:lnTo>
                    <a:pt x="13779" y="417"/>
                  </a:lnTo>
                  <a:lnTo>
                    <a:pt x="14500" y="611"/>
                  </a:lnTo>
                  <a:lnTo>
                    <a:pt x="14733" y="686"/>
                  </a:lnTo>
                  <a:lnTo>
                    <a:pt x="14989" y="790"/>
                  </a:lnTo>
                  <a:lnTo>
                    <a:pt x="15175" y="865"/>
                  </a:lnTo>
                  <a:lnTo>
                    <a:pt x="15385" y="954"/>
                  </a:lnTo>
                  <a:lnTo>
                    <a:pt x="15431" y="969"/>
                  </a:lnTo>
                  <a:lnTo>
                    <a:pt x="15594" y="1059"/>
                  </a:lnTo>
                  <a:lnTo>
                    <a:pt x="15757" y="1148"/>
                  </a:lnTo>
                  <a:lnTo>
                    <a:pt x="15920" y="1267"/>
                  </a:lnTo>
                  <a:lnTo>
                    <a:pt x="16106" y="1372"/>
                  </a:lnTo>
                  <a:lnTo>
                    <a:pt x="16665" y="1730"/>
                  </a:lnTo>
                  <a:lnTo>
                    <a:pt x="17014" y="1998"/>
                  </a:lnTo>
                  <a:lnTo>
                    <a:pt x="17480" y="2356"/>
                  </a:lnTo>
                  <a:lnTo>
                    <a:pt x="17852" y="2804"/>
                  </a:lnTo>
                  <a:lnTo>
                    <a:pt x="18178" y="3192"/>
                  </a:lnTo>
                  <a:lnTo>
                    <a:pt x="18527" y="3639"/>
                  </a:lnTo>
                  <a:lnTo>
                    <a:pt x="18806" y="4132"/>
                  </a:lnTo>
                  <a:lnTo>
                    <a:pt x="19086" y="4713"/>
                  </a:lnTo>
                  <a:lnTo>
                    <a:pt x="19272" y="5191"/>
                  </a:lnTo>
                  <a:lnTo>
                    <a:pt x="19295" y="9606"/>
                  </a:lnTo>
                  <a:lnTo>
                    <a:pt x="21600" y="9606"/>
                  </a:lnTo>
                  <a:lnTo>
                    <a:pt x="21600" y="16289"/>
                  </a:lnTo>
                  <a:lnTo>
                    <a:pt x="21413" y="17184"/>
                  </a:lnTo>
                  <a:lnTo>
                    <a:pt x="21041" y="17900"/>
                  </a:lnTo>
                  <a:lnTo>
                    <a:pt x="20668" y="18377"/>
                  </a:lnTo>
                  <a:lnTo>
                    <a:pt x="20343" y="18855"/>
                  </a:lnTo>
                  <a:lnTo>
                    <a:pt x="19924" y="19332"/>
                  </a:lnTo>
                  <a:lnTo>
                    <a:pt x="19388" y="19809"/>
                  </a:lnTo>
                  <a:lnTo>
                    <a:pt x="18806" y="20242"/>
                  </a:lnTo>
                  <a:lnTo>
                    <a:pt x="18062" y="20585"/>
                  </a:lnTo>
                  <a:lnTo>
                    <a:pt x="17270" y="20883"/>
                  </a:lnTo>
                  <a:lnTo>
                    <a:pt x="16525" y="21182"/>
                  </a:lnTo>
                  <a:lnTo>
                    <a:pt x="15548" y="21420"/>
                  </a:lnTo>
                  <a:lnTo>
                    <a:pt x="14803" y="21540"/>
                  </a:lnTo>
                  <a:lnTo>
                    <a:pt x="13662" y="21674"/>
                  </a:lnTo>
                  <a:lnTo>
                    <a:pt x="8379" y="21659"/>
                  </a:lnTo>
                  <a:lnTo>
                    <a:pt x="7168" y="21540"/>
                  </a:lnTo>
                  <a:lnTo>
                    <a:pt x="6098" y="21331"/>
                  </a:lnTo>
                  <a:lnTo>
                    <a:pt x="5050" y="21092"/>
                  </a:lnTo>
                  <a:lnTo>
                    <a:pt x="4003" y="20764"/>
                  </a:lnTo>
                  <a:lnTo>
                    <a:pt x="3258" y="20391"/>
                  </a:lnTo>
                  <a:lnTo>
                    <a:pt x="2769" y="20123"/>
                  </a:lnTo>
                  <a:lnTo>
                    <a:pt x="2281" y="19720"/>
                  </a:lnTo>
                  <a:lnTo>
                    <a:pt x="1862" y="19407"/>
                  </a:lnTo>
                  <a:lnTo>
                    <a:pt x="1489" y="19079"/>
                  </a:lnTo>
                  <a:lnTo>
                    <a:pt x="1070" y="18676"/>
                  </a:lnTo>
                  <a:lnTo>
                    <a:pt x="744" y="18258"/>
                  </a:lnTo>
                  <a:lnTo>
                    <a:pt x="325" y="17661"/>
                  </a:lnTo>
                  <a:lnTo>
                    <a:pt x="162" y="17035"/>
                  </a:lnTo>
                  <a:lnTo>
                    <a:pt x="93" y="16468"/>
                  </a:lnTo>
                  <a:lnTo>
                    <a:pt x="93" y="9606"/>
                  </a:lnTo>
                  <a:close/>
                  <a:moveTo>
                    <a:pt x="6098" y="9591"/>
                  </a:moveTo>
                  <a:lnTo>
                    <a:pt x="6098" y="5220"/>
                  </a:lnTo>
                  <a:lnTo>
                    <a:pt x="6191" y="4907"/>
                  </a:lnTo>
                  <a:lnTo>
                    <a:pt x="6307" y="4639"/>
                  </a:lnTo>
                  <a:lnTo>
                    <a:pt x="6517" y="4370"/>
                  </a:lnTo>
                  <a:lnTo>
                    <a:pt x="6680" y="4087"/>
                  </a:lnTo>
                  <a:lnTo>
                    <a:pt x="6889" y="3878"/>
                  </a:lnTo>
                  <a:lnTo>
                    <a:pt x="7308" y="3520"/>
                  </a:lnTo>
                  <a:lnTo>
                    <a:pt x="7843" y="3281"/>
                  </a:lnTo>
                  <a:lnTo>
                    <a:pt x="8402" y="3013"/>
                  </a:lnTo>
                  <a:lnTo>
                    <a:pt x="9031" y="2834"/>
                  </a:lnTo>
                  <a:lnTo>
                    <a:pt x="9659" y="2700"/>
                  </a:lnTo>
                  <a:lnTo>
                    <a:pt x="10497" y="2625"/>
                  </a:lnTo>
                  <a:lnTo>
                    <a:pt x="11125" y="2655"/>
                  </a:lnTo>
                  <a:lnTo>
                    <a:pt x="11987" y="2789"/>
                  </a:lnTo>
                  <a:lnTo>
                    <a:pt x="12522" y="2893"/>
                  </a:lnTo>
                  <a:lnTo>
                    <a:pt x="13011" y="3028"/>
                  </a:lnTo>
                  <a:lnTo>
                    <a:pt x="13290" y="3192"/>
                  </a:lnTo>
                  <a:lnTo>
                    <a:pt x="13709" y="3371"/>
                  </a:lnTo>
                  <a:lnTo>
                    <a:pt x="13872" y="3505"/>
                  </a:lnTo>
                  <a:lnTo>
                    <a:pt x="14058" y="3639"/>
                  </a:lnTo>
                  <a:lnTo>
                    <a:pt x="14291" y="3788"/>
                  </a:lnTo>
                  <a:lnTo>
                    <a:pt x="14431" y="3953"/>
                  </a:lnTo>
                  <a:lnTo>
                    <a:pt x="14617" y="4102"/>
                  </a:lnTo>
                  <a:lnTo>
                    <a:pt x="14826" y="4311"/>
                  </a:lnTo>
                  <a:lnTo>
                    <a:pt x="14919" y="4534"/>
                  </a:lnTo>
                  <a:lnTo>
                    <a:pt x="15036" y="4773"/>
                  </a:lnTo>
                  <a:lnTo>
                    <a:pt x="15175" y="5027"/>
                  </a:lnTo>
                  <a:lnTo>
                    <a:pt x="15245" y="5220"/>
                  </a:lnTo>
                  <a:lnTo>
                    <a:pt x="15245" y="9591"/>
                  </a:lnTo>
                  <a:lnTo>
                    <a:pt x="6098" y="9591"/>
                  </a:lnTo>
                  <a:close/>
                </a:path>
                <a:path w="21600" h="21600" extrusionOk="0">
                  <a:moveTo>
                    <a:pt x="93" y="9606"/>
                  </a:moveTo>
                  <a:lnTo>
                    <a:pt x="21600" y="9606"/>
                  </a:lnTo>
                  <a:close/>
                </a:path>
                <a:path w="21600" h="21600" extrusionOk="0">
                  <a:moveTo>
                    <a:pt x="11684" y="17109"/>
                  </a:moveTo>
                  <a:lnTo>
                    <a:pt x="12266" y="19317"/>
                  </a:lnTo>
                  <a:lnTo>
                    <a:pt x="9659" y="19317"/>
                  </a:lnTo>
                  <a:lnTo>
                    <a:pt x="10287" y="17124"/>
                  </a:lnTo>
                  <a:lnTo>
                    <a:pt x="10008" y="16975"/>
                  </a:lnTo>
                  <a:lnTo>
                    <a:pt x="9799" y="16722"/>
                  </a:lnTo>
                  <a:lnTo>
                    <a:pt x="9752" y="16408"/>
                  </a:lnTo>
                  <a:lnTo>
                    <a:pt x="9822" y="16170"/>
                  </a:lnTo>
                  <a:lnTo>
                    <a:pt x="10008" y="16006"/>
                  </a:lnTo>
                  <a:lnTo>
                    <a:pt x="10148" y="15871"/>
                  </a:lnTo>
                  <a:lnTo>
                    <a:pt x="10381" y="15782"/>
                  </a:lnTo>
                  <a:lnTo>
                    <a:pt x="10660" y="15692"/>
                  </a:lnTo>
                  <a:lnTo>
                    <a:pt x="11009" y="15677"/>
                  </a:lnTo>
                  <a:lnTo>
                    <a:pt x="11288" y="15722"/>
                  </a:lnTo>
                  <a:lnTo>
                    <a:pt x="11614" y="15782"/>
                  </a:lnTo>
                  <a:lnTo>
                    <a:pt x="11893" y="15946"/>
                  </a:lnTo>
                  <a:lnTo>
                    <a:pt x="12033" y="16080"/>
                  </a:lnTo>
                  <a:lnTo>
                    <a:pt x="12173" y="16229"/>
                  </a:lnTo>
                  <a:lnTo>
                    <a:pt x="12196" y="16408"/>
                  </a:lnTo>
                  <a:lnTo>
                    <a:pt x="12103" y="16722"/>
                  </a:lnTo>
                  <a:lnTo>
                    <a:pt x="11987" y="16856"/>
                  </a:lnTo>
                  <a:lnTo>
                    <a:pt x="11847" y="16975"/>
                  </a:lnTo>
                  <a:lnTo>
                    <a:pt x="11684" y="17109"/>
                  </a:lnTo>
                </a:path>
              </a:pathLst>
            </a:custGeom>
            <a:solidFill>
              <a:schemeClr val="accent5"/>
            </a:solidFill>
            <a:ln w="63500">
              <a:solidFill>
                <a:schemeClr val="tx1"/>
              </a:solidFill>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7" name="Group 6"/>
          <p:cNvGrpSpPr/>
          <p:nvPr/>
        </p:nvGrpSpPr>
        <p:grpSpPr>
          <a:xfrm>
            <a:off x="4489932" y="2982574"/>
            <a:ext cx="1829384" cy="1803671"/>
            <a:chOff x="5985017" y="3976763"/>
            <a:chExt cx="2438544" cy="2404895"/>
          </a:xfrm>
        </p:grpSpPr>
        <p:sp>
          <p:nvSpPr>
            <p:cNvPr id="13" name="Rectangle 12"/>
            <p:cNvSpPr/>
            <p:nvPr/>
          </p:nvSpPr>
          <p:spPr bwMode="auto">
            <a:xfrm>
              <a:off x="5985017" y="3976763"/>
              <a:ext cx="2438544" cy="2404895"/>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4" name="Lock"/>
            <p:cNvSpPr>
              <a:spLocks noEditPoints="1" noChangeArrowheads="1"/>
            </p:cNvSpPr>
            <p:nvPr/>
          </p:nvSpPr>
          <p:spPr bwMode="auto">
            <a:xfrm rot="5400000">
              <a:off x="6388931" y="4207652"/>
              <a:ext cx="1686905" cy="1958457"/>
            </a:xfrm>
            <a:custGeom>
              <a:avLst/>
              <a:gdLst>
                <a:gd name="T0" fmla="*/ 10800 w 21600"/>
                <a:gd name="T1" fmla="*/ 0 h 21600"/>
                <a:gd name="T2" fmla="*/ 21600 w 21600"/>
                <a:gd name="T3" fmla="*/ 9606 h 21600"/>
                <a:gd name="T4" fmla="*/ 10800 w 21600"/>
                <a:gd name="T5" fmla="*/ 21600 h 21600"/>
                <a:gd name="T6" fmla="*/ 0 w 21600"/>
                <a:gd name="T7" fmla="*/ 9606 h 21600"/>
                <a:gd name="T8" fmla="*/ 744 w 21600"/>
                <a:gd name="T9" fmla="*/ 9904 h 21600"/>
                <a:gd name="T10" fmla="*/ 21134 w 21600"/>
                <a:gd name="T11" fmla="*/ 15335 h 21600"/>
              </a:gdLst>
              <a:ahLst/>
              <a:cxnLst>
                <a:cxn ang="0">
                  <a:pos x="T0" y="T1"/>
                </a:cxn>
                <a:cxn ang="0">
                  <a:pos x="T2" y="T3"/>
                </a:cxn>
                <a:cxn ang="0">
                  <a:pos x="T4" y="T5"/>
                </a:cxn>
                <a:cxn ang="0">
                  <a:pos x="T6" y="T7"/>
                </a:cxn>
              </a:cxnLst>
              <a:rect l="T8" t="T9" r="T10" b="T11"/>
              <a:pathLst>
                <a:path w="21600" h="21600" extrusionOk="0">
                  <a:moveTo>
                    <a:pt x="93" y="9606"/>
                  </a:moveTo>
                  <a:lnTo>
                    <a:pt x="2048" y="9606"/>
                  </a:lnTo>
                  <a:lnTo>
                    <a:pt x="2048" y="4713"/>
                  </a:lnTo>
                  <a:lnTo>
                    <a:pt x="2420" y="3818"/>
                  </a:lnTo>
                  <a:lnTo>
                    <a:pt x="2979" y="3028"/>
                  </a:lnTo>
                  <a:lnTo>
                    <a:pt x="3537" y="2446"/>
                  </a:lnTo>
                  <a:lnTo>
                    <a:pt x="3956" y="1998"/>
                  </a:lnTo>
                  <a:lnTo>
                    <a:pt x="4492" y="1581"/>
                  </a:lnTo>
                  <a:lnTo>
                    <a:pt x="5143" y="1238"/>
                  </a:lnTo>
                  <a:lnTo>
                    <a:pt x="5912" y="880"/>
                  </a:lnTo>
                  <a:lnTo>
                    <a:pt x="6587" y="641"/>
                  </a:lnTo>
                  <a:lnTo>
                    <a:pt x="7518" y="372"/>
                  </a:lnTo>
                  <a:lnTo>
                    <a:pt x="8425" y="208"/>
                  </a:lnTo>
                  <a:lnTo>
                    <a:pt x="9496" y="59"/>
                  </a:lnTo>
                  <a:lnTo>
                    <a:pt x="10637" y="14"/>
                  </a:lnTo>
                  <a:lnTo>
                    <a:pt x="11614" y="59"/>
                  </a:lnTo>
                  <a:lnTo>
                    <a:pt x="12382" y="119"/>
                  </a:lnTo>
                  <a:lnTo>
                    <a:pt x="13034" y="253"/>
                  </a:lnTo>
                  <a:lnTo>
                    <a:pt x="13779" y="417"/>
                  </a:lnTo>
                  <a:lnTo>
                    <a:pt x="14500" y="611"/>
                  </a:lnTo>
                  <a:lnTo>
                    <a:pt x="14733" y="686"/>
                  </a:lnTo>
                  <a:lnTo>
                    <a:pt x="14989" y="790"/>
                  </a:lnTo>
                  <a:lnTo>
                    <a:pt x="15175" y="865"/>
                  </a:lnTo>
                  <a:lnTo>
                    <a:pt x="15385" y="954"/>
                  </a:lnTo>
                  <a:lnTo>
                    <a:pt x="15431" y="969"/>
                  </a:lnTo>
                  <a:lnTo>
                    <a:pt x="15594" y="1059"/>
                  </a:lnTo>
                  <a:lnTo>
                    <a:pt x="15757" y="1148"/>
                  </a:lnTo>
                  <a:lnTo>
                    <a:pt x="15920" y="1267"/>
                  </a:lnTo>
                  <a:lnTo>
                    <a:pt x="16106" y="1372"/>
                  </a:lnTo>
                  <a:lnTo>
                    <a:pt x="16665" y="1730"/>
                  </a:lnTo>
                  <a:lnTo>
                    <a:pt x="17014" y="1998"/>
                  </a:lnTo>
                  <a:lnTo>
                    <a:pt x="17480" y="2356"/>
                  </a:lnTo>
                  <a:lnTo>
                    <a:pt x="17852" y="2804"/>
                  </a:lnTo>
                  <a:lnTo>
                    <a:pt x="18178" y="3192"/>
                  </a:lnTo>
                  <a:lnTo>
                    <a:pt x="18527" y="3639"/>
                  </a:lnTo>
                  <a:lnTo>
                    <a:pt x="18806" y="4132"/>
                  </a:lnTo>
                  <a:lnTo>
                    <a:pt x="19086" y="4713"/>
                  </a:lnTo>
                  <a:lnTo>
                    <a:pt x="19272" y="5191"/>
                  </a:lnTo>
                  <a:lnTo>
                    <a:pt x="19295" y="9606"/>
                  </a:lnTo>
                  <a:lnTo>
                    <a:pt x="21600" y="9606"/>
                  </a:lnTo>
                  <a:lnTo>
                    <a:pt x="21600" y="16289"/>
                  </a:lnTo>
                  <a:lnTo>
                    <a:pt x="21413" y="17184"/>
                  </a:lnTo>
                  <a:lnTo>
                    <a:pt x="21041" y="17900"/>
                  </a:lnTo>
                  <a:lnTo>
                    <a:pt x="20668" y="18377"/>
                  </a:lnTo>
                  <a:lnTo>
                    <a:pt x="20343" y="18855"/>
                  </a:lnTo>
                  <a:lnTo>
                    <a:pt x="19924" y="19332"/>
                  </a:lnTo>
                  <a:lnTo>
                    <a:pt x="19388" y="19809"/>
                  </a:lnTo>
                  <a:lnTo>
                    <a:pt x="18806" y="20242"/>
                  </a:lnTo>
                  <a:lnTo>
                    <a:pt x="18062" y="20585"/>
                  </a:lnTo>
                  <a:lnTo>
                    <a:pt x="17270" y="20883"/>
                  </a:lnTo>
                  <a:lnTo>
                    <a:pt x="16525" y="21182"/>
                  </a:lnTo>
                  <a:lnTo>
                    <a:pt x="15548" y="21420"/>
                  </a:lnTo>
                  <a:lnTo>
                    <a:pt x="14803" y="21540"/>
                  </a:lnTo>
                  <a:lnTo>
                    <a:pt x="13662" y="21674"/>
                  </a:lnTo>
                  <a:lnTo>
                    <a:pt x="8379" y="21659"/>
                  </a:lnTo>
                  <a:lnTo>
                    <a:pt x="7168" y="21540"/>
                  </a:lnTo>
                  <a:lnTo>
                    <a:pt x="6098" y="21331"/>
                  </a:lnTo>
                  <a:lnTo>
                    <a:pt x="5050" y="21092"/>
                  </a:lnTo>
                  <a:lnTo>
                    <a:pt x="4003" y="20764"/>
                  </a:lnTo>
                  <a:lnTo>
                    <a:pt x="3258" y="20391"/>
                  </a:lnTo>
                  <a:lnTo>
                    <a:pt x="2769" y="20123"/>
                  </a:lnTo>
                  <a:lnTo>
                    <a:pt x="2281" y="19720"/>
                  </a:lnTo>
                  <a:lnTo>
                    <a:pt x="1862" y="19407"/>
                  </a:lnTo>
                  <a:lnTo>
                    <a:pt x="1489" y="19079"/>
                  </a:lnTo>
                  <a:lnTo>
                    <a:pt x="1070" y="18676"/>
                  </a:lnTo>
                  <a:lnTo>
                    <a:pt x="744" y="18258"/>
                  </a:lnTo>
                  <a:lnTo>
                    <a:pt x="325" y="17661"/>
                  </a:lnTo>
                  <a:lnTo>
                    <a:pt x="162" y="17035"/>
                  </a:lnTo>
                  <a:lnTo>
                    <a:pt x="93" y="16468"/>
                  </a:lnTo>
                  <a:lnTo>
                    <a:pt x="93" y="9606"/>
                  </a:lnTo>
                  <a:close/>
                  <a:moveTo>
                    <a:pt x="6098" y="9591"/>
                  </a:moveTo>
                  <a:lnTo>
                    <a:pt x="6098" y="5220"/>
                  </a:lnTo>
                  <a:lnTo>
                    <a:pt x="6191" y="4907"/>
                  </a:lnTo>
                  <a:lnTo>
                    <a:pt x="6307" y="4639"/>
                  </a:lnTo>
                  <a:lnTo>
                    <a:pt x="6517" y="4370"/>
                  </a:lnTo>
                  <a:lnTo>
                    <a:pt x="6680" y="4087"/>
                  </a:lnTo>
                  <a:lnTo>
                    <a:pt x="6889" y="3878"/>
                  </a:lnTo>
                  <a:lnTo>
                    <a:pt x="7308" y="3520"/>
                  </a:lnTo>
                  <a:lnTo>
                    <a:pt x="7843" y="3281"/>
                  </a:lnTo>
                  <a:lnTo>
                    <a:pt x="8402" y="3013"/>
                  </a:lnTo>
                  <a:lnTo>
                    <a:pt x="9031" y="2834"/>
                  </a:lnTo>
                  <a:lnTo>
                    <a:pt x="9659" y="2700"/>
                  </a:lnTo>
                  <a:lnTo>
                    <a:pt x="10497" y="2625"/>
                  </a:lnTo>
                  <a:lnTo>
                    <a:pt x="11125" y="2655"/>
                  </a:lnTo>
                  <a:lnTo>
                    <a:pt x="11987" y="2789"/>
                  </a:lnTo>
                  <a:lnTo>
                    <a:pt x="12522" y="2893"/>
                  </a:lnTo>
                  <a:lnTo>
                    <a:pt x="13011" y="3028"/>
                  </a:lnTo>
                  <a:lnTo>
                    <a:pt x="13290" y="3192"/>
                  </a:lnTo>
                  <a:lnTo>
                    <a:pt x="13709" y="3371"/>
                  </a:lnTo>
                  <a:lnTo>
                    <a:pt x="13872" y="3505"/>
                  </a:lnTo>
                  <a:lnTo>
                    <a:pt x="14058" y="3639"/>
                  </a:lnTo>
                  <a:lnTo>
                    <a:pt x="14291" y="3788"/>
                  </a:lnTo>
                  <a:lnTo>
                    <a:pt x="14431" y="3953"/>
                  </a:lnTo>
                  <a:lnTo>
                    <a:pt x="14617" y="4102"/>
                  </a:lnTo>
                  <a:lnTo>
                    <a:pt x="14826" y="4311"/>
                  </a:lnTo>
                  <a:lnTo>
                    <a:pt x="14919" y="4534"/>
                  </a:lnTo>
                  <a:lnTo>
                    <a:pt x="15036" y="4773"/>
                  </a:lnTo>
                  <a:lnTo>
                    <a:pt x="15175" y="5027"/>
                  </a:lnTo>
                  <a:lnTo>
                    <a:pt x="15245" y="5220"/>
                  </a:lnTo>
                  <a:lnTo>
                    <a:pt x="15245" y="9591"/>
                  </a:lnTo>
                  <a:lnTo>
                    <a:pt x="6098" y="9591"/>
                  </a:lnTo>
                  <a:close/>
                </a:path>
                <a:path w="21600" h="21600" extrusionOk="0">
                  <a:moveTo>
                    <a:pt x="93" y="9606"/>
                  </a:moveTo>
                  <a:lnTo>
                    <a:pt x="21600" y="9606"/>
                  </a:lnTo>
                  <a:close/>
                </a:path>
                <a:path w="21600" h="21600" extrusionOk="0">
                  <a:moveTo>
                    <a:pt x="11684" y="17109"/>
                  </a:moveTo>
                  <a:lnTo>
                    <a:pt x="12266" y="19317"/>
                  </a:lnTo>
                  <a:lnTo>
                    <a:pt x="9659" y="19317"/>
                  </a:lnTo>
                  <a:lnTo>
                    <a:pt x="10287" y="17124"/>
                  </a:lnTo>
                  <a:lnTo>
                    <a:pt x="10008" y="16975"/>
                  </a:lnTo>
                  <a:lnTo>
                    <a:pt x="9799" y="16722"/>
                  </a:lnTo>
                  <a:lnTo>
                    <a:pt x="9752" y="16408"/>
                  </a:lnTo>
                  <a:lnTo>
                    <a:pt x="9822" y="16170"/>
                  </a:lnTo>
                  <a:lnTo>
                    <a:pt x="10008" y="16006"/>
                  </a:lnTo>
                  <a:lnTo>
                    <a:pt x="10148" y="15871"/>
                  </a:lnTo>
                  <a:lnTo>
                    <a:pt x="10381" y="15782"/>
                  </a:lnTo>
                  <a:lnTo>
                    <a:pt x="10660" y="15692"/>
                  </a:lnTo>
                  <a:lnTo>
                    <a:pt x="11009" y="15677"/>
                  </a:lnTo>
                  <a:lnTo>
                    <a:pt x="11288" y="15722"/>
                  </a:lnTo>
                  <a:lnTo>
                    <a:pt x="11614" y="15782"/>
                  </a:lnTo>
                  <a:lnTo>
                    <a:pt x="11893" y="15946"/>
                  </a:lnTo>
                  <a:lnTo>
                    <a:pt x="12033" y="16080"/>
                  </a:lnTo>
                  <a:lnTo>
                    <a:pt x="12173" y="16229"/>
                  </a:lnTo>
                  <a:lnTo>
                    <a:pt x="12196" y="16408"/>
                  </a:lnTo>
                  <a:lnTo>
                    <a:pt x="12103" y="16722"/>
                  </a:lnTo>
                  <a:lnTo>
                    <a:pt x="11987" y="16856"/>
                  </a:lnTo>
                  <a:lnTo>
                    <a:pt x="11847" y="16975"/>
                  </a:lnTo>
                  <a:lnTo>
                    <a:pt x="11684" y="17109"/>
                  </a:lnTo>
                </a:path>
              </a:pathLst>
            </a:custGeom>
            <a:solidFill>
              <a:schemeClr val="accent3"/>
            </a:solidFill>
            <a:ln w="63500">
              <a:solidFill>
                <a:schemeClr val="tx1"/>
              </a:solidFill>
              <a:miter lim="800000"/>
              <a:headEnd/>
              <a:tailEnd/>
            </a:ln>
          </p:spPr>
          <p:txBody>
            <a:bodyPr vert="horz" wrap="square" lIns="91440" tIns="45720" rIns="91440" bIns="45720" numCol="1" anchor="t" anchorCtr="0" compatLnSpc="1">
              <a:prstTxWarp prst="textNoShape">
                <a:avLst/>
              </a:prstTxWarp>
            </a:bodyPr>
            <a:lstStyle/>
            <a:p>
              <a:endParaRPr lang="en-US"/>
            </a:p>
          </p:txBody>
        </p:sp>
      </p:grpSp>
      <p:sp>
        <p:nvSpPr>
          <p:cNvPr id="15"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6"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
              </a:rPr>
              <a:t>www.rapidbbs.cn</a:t>
            </a:r>
            <a:endParaRPr lang="zh-CN" altLang="en-US" sz="1200" b="0">
              <a:latin typeface="Arial" charset="0"/>
              <a:ea typeface="ＭＳ Ｐゴシック" pitchFamily="34" charset="-128"/>
            </a:endParaRPr>
          </a:p>
        </p:txBody>
      </p:sp>
      <p:pic>
        <p:nvPicPr>
          <p:cNvPr id="17" name="Picture 2">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180549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750"/>
                                        <p:tgtEl>
                                          <p:spTgt spid="3"/>
                                        </p:tgtEl>
                                      </p:cBhvr>
                                    </p:animEffect>
                                  </p:childTnLst>
                                </p:cTn>
                              </p:par>
                            </p:childTnLst>
                          </p:cTn>
                        </p:par>
                        <p:par>
                          <p:cTn id="8" fill="hold">
                            <p:stCondLst>
                              <p:cond delay="75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750"/>
                                        <p:tgtEl>
                                          <p:spTgt spid="5"/>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750"/>
                                        <p:tgtEl>
                                          <p:spTgt spid="8"/>
                                        </p:tgtEl>
                                      </p:cBhvr>
                                    </p:animEffect>
                                  </p:childTnLst>
                                </p:cTn>
                              </p:par>
                            </p:childTnLst>
                          </p:cTn>
                        </p:par>
                        <p:par>
                          <p:cTn id="16" fill="hold">
                            <p:stCondLst>
                              <p:cond delay="2250"/>
                            </p:stCondLst>
                            <p:childTnLst>
                              <p:par>
                                <p:cTn id="17" presetID="10" presetClass="entr" presetSubtype="0" fill="hold"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75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aling My Web Server</a:t>
            </a:r>
          </a:p>
        </p:txBody>
      </p:sp>
      <p:grpSp>
        <p:nvGrpSpPr>
          <p:cNvPr id="3" name="Group 2"/>
          <p:cNvGrpSpPr/>
          <p:nvPr/>
        </p:nvGrpSpPr>
        <p:grpSpPr>
          <a:xfrm>
            <a:off x="2546218" y="1019769"/>
            <a:ext cx="1829384" cy="1803671"/>
            <a:chOff x="3394073" y="1359690"/>
            <a:chExt cx="2438544" cy="2404895"/>
          </a:xfrm>
        </p:grpSpPr>
        <p:sp>
          <p:nvSpPr>
            <p:cNvPr id="4" name="Rectangle 3"/>
            <p:cNvSpPr/>
            <p:nvPr/>
          </p:nvSpPr>
          <p:spPr bwMode="auto">
            <a:xfrm>
              <a:off x="3394073" y="1359690"/>
              <a:ext cx="2438544" cy="2404895"/>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5017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51983" y="1884826"/>
              <a:ext cx="585788" cy="14811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5" name="Group 4"/>
          <p:cNvGrpSpPr/>
          <p:nvPr/>
        </p:nvGrpSpPr>
        <p:grpSpPr>
          <a:xfrm>
            <a:off x="4489932" y="1019768"/>
            <a:ext cx="1829384" cy="1803671"/>
            <a:chOff x="5985017" y="1359689"/>
            <a:chExt cx="2438544" cy="2404895"/>
          </a:xfrm>
        </p:grpSpPr>
        <p:sp>
          <p:nvSpPr>
            <p:cNvPr id="9" name="Rectangle 8"/>
            <p:cNvSpPr/>
            <p:nvPr/>
          </p:nvSpPr>
          <p:spPr bwMode="auto">
            <a:xfrm>
              <a:off x="5985017" y="1359689"/>
              <a:ext cx="2438544" cy="2404895"/>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5017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86513" y="1567775"/>
              <a:ext cx="585788" cy="14811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0181"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63420" y="2008470"/>
              <a:ext cx="652462" cy="1390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7" name="Group 6"/>
          <p:cNvGrpSpPr/>
          <p:nvPr/>
        </p:nvGrpSpPr>
        <p:grpSpPr>
          <a:xfrm>
            <a:off x="2546218" y="2982574"/>
            <a:ext cx="1829384" cy="1803671"/>
            <a:chOff x="3394073" y="3976764"/>
            <a:chExt cx="2438544" cy="2404895"/>
          </a:xfrm>
        </p:grpSpPr>
        <p:sp>
          <p:nvSpPr>
            <p:cNvPr id="11" name="Rectangle 10"/>
            <p:cNvSpPr/>
            <p:nvPr/>
          </p:nvSpPr>
          <p:spPr bwMode="auto">
            <a:xfrm>
              <a:off x="3394073" y="3976764"/>
              <a:ext cx="2438544" cy="2404895"/>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50182"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00615" y="4438642"/>
              <a:ext cx="585788" cy="14811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0183" name="Picture 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48253" y="4703621"/>
              <a:ext cx="585788" cy="14811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0184" name="Picture 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20451" y="4055594"/>
              <a:ext cx="652462" cy="1390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8" name="Group 7"/>
          <p:cNvGrpSpPr/>
          <p:nvPr/>
        </p:nvGrpSpPr>
        <p:grpSpPr>
          <a:xfrm>
            <a:off x="4489932" y="2982574"/>
            <a:ext cx="1829384" cy="1803671"/>
            <a:chOff x="5985017" y="3976763"/>
            <a:chExt cx="2438544" cy="2404895"/>
          </a:xfrm>
        </p:grpSpPr>
        <p:sp>
          <p:nvSpPr>
            <p:cNvPr id="13" name="Rectangle 12"/>
            <p:cNvSpPr/>
            <p:nvPr/>
          </p:nvSpPr>
          <p:spPr bwMode="auto">
            <a:xfrm>
              <a:off x="5985017" y="3976763"/>
              <a:ext cx="2438544" cy="2404895"/>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5" name="Freeform 100"/>
            <p:cNvSpPr>
              <a:spLocks noEditPoints="1"/>
            </p:cNvSpPr>
            <p:nvPr/>
          </p:nvSpPr>
          <p:spPr bwMode="black">
            <a:xfrm>
              <a:off x="7709017" y="4040090"/>
              <a:ext cx="654610" cy="1390001"/>
            </a:xfrm>
            <a:custGeom>
              <a:avLst/>
              <a:gdLst>
                <a:gd name="T0" fmla="*/ 208 w 634"/>
                <a:gd name="T1" fmla="*/ 110 h 1349"/>
                <a:gd name="T2" fmla="*/ 318 w 634"/>
                <a:gd name="T3" fmla="*/ 221 h 1349"/>
                <a:gd name="T4" fmla="*/ 429 w 634"/>
                <a:gd name="T5" fmla="*/ 110 h 1349"/>
                <a:gd name="T6" fmla="*/ 318 w 634"/>
                <a:gd name="T7" fmla="*/ 0 h 1349"/>
                <a:gd name="T8" fmla="*/ 208 w 634"/>
                <a:gd name="T9" fmla="*/ 110 h 1349"/>
                <a:gd name="T10" fmla="*/ 627 w 634"/>
                <a:gd name="T11" fmla="*/ 680 h 1349"/>
                <a:gd name="T12" fmla="*/ 533 w 634"/>
                <a:gd name="T13" fmla="*/ 353 h 1349"/>
                <a:gd name="T14" fmla="*/ 407 w 634"/>
                <a:gd name="T15" fmla="*/ 251 h 1349"/>
                <a:gd name="T16" fmla="*/ 229 w 634"/>
                <a:gd name="T17" fmla="*/ 251 h 1349"/>
                <a:gd name="T18" fmla="*/ 103 w 634"/>
                <a:gd name="T19" fmla="*/ 353 h 1349"/>
                <a:gd name="T20" fmla="*/ 7 w 634"/>
                <a:gd name="T21" fmla="*/ 680 h 1349"/>
                <a:gd name="T22" fmla="*/ 36 w 634"/>
                <a:gd name="T23" fmla="*/ 734 h 1349"/>
                <a:gd name="T24" fmla="*/ 90 w 634"/>
                <a:gd name="T25" fmla="*/ 705 h 1349"/>
                <a:gd name="T26" fmla="*/ 180 w 634"/>
                <a:gd name="T27" fmla="*/ 399 h 1349"/>
                <a:gd name="T28" fmla="*/ 207 w 634"/>
                <a:gd name="T29" fmla="*/ 399 h 1349"/>
                <a:gd name="T30" fmla="*/ 57 w 634"/>
                <a:gd name="T31" fmla="*/ 910 h 1349"/>
                <a:gd name="T32" fmla="*/ 201 w 634"/>
                <a:gd name="T33" fmla="*/ 910 h 1349"/>
                <a:gd name="T34" fmla="*/ 201 w 634"/>
                <a:gd name="T35" fmla="*/ 1296 h 1349"/>
                <a:gd name="T36" fmla="*/ 254 w 634"/>
                <a:gd name="T37" fmla="*/ 1349 h 1349"/>
                <a:gd name="T38" fmla="*/ 306 w 634"/>
                <a:gd name="T39" fmla="*/ 1296 h 1349"/>
                <a:gd name="T40" fmla="*/ 306 w 634"/>
                <a:gd name="T41" fmla="*/ 910 h 1349"/>
                <a:gd name="T42" fmla="*/ 331 w 634"/>
                <a:gd name="T43" fmla="*/ 910 h 1349"/>
                <a:gd name="T44" fmla="*/ 331 w 634"/>
                <a:gd name="T45" fmla="*/ 1296 h 1349"/>
                <a:gd name="T46" fmla="*/ 384 w 634"/>
                <a:gd name="T47" fmla="*/ 1349 h 1349"/>
                <a:gd name="T48" fmla="*/ 436 w 634"/>
                <a:gd name="T49" fmla="*/ 1296 h 1349"/>
                <a:gd name="T50" fmla="*/ 436 w 634"/>
                <a:gd name="T51" fmla="*/ 910 h 1349"/>
                <a:gd name="T52" fmla="*/ 580 w 634"/>
                <a:gd name="T53" fmla="*/ 910 h 1349"/>
                <a:gd name="T54" fmla="*/ 430 w 634"/>
                <a:gd name="T55" fmla="*/ 399 h 1349"/>
                <a:gd name="T56" fmla="*/ 456 w 634"/>
                <a:gd name="T57" fmla="*/ 399 h 1349"/>
                <a:gd name="T58" fmla="*/ 546 w 634"/>
                <a:gd name="T59" fmla="*/ 705 h 1349"/>
                <a:gd name="T60" fmla="*/ 600 w 634"/>
                <a:gd name="T61" fmla="*/ 734 h 1349"/>
                <a:gd name="T62" fmla="*/ 627 w 634"/>
                <a:gd name="T63" fmla="*/ 680 h 1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34" h="1349">
                  <a:moveTo>
                    <a:pt x="208" y="110"/>
                  </a:moveTo>
                  <a:cubicBezTo>
                    <a:pt x="208" y="172"/>
                    <a:pt x="257" y="221"/>
                    <a:pt x="318" y="221"/>
                  </a:cubicBezTo>
                  <a:cubicBezTo>
                    <a:pt x="380" y="221"/>
                    <a:pt x="429" y="172"/>
                    <a:pt x="429" y="110"/>
                  </a:cubicBezTo>
                  <a:cubicBezTo>
                    <a:pt x="429" y="49"/>
                    <a:pt x="380" y="0"/>
                    <a:pt x="318" y="0"/>
                  </a:cubicBezTo>
                  <a:cubicBezTo>
                    <a:pt x="257" y="0"/>
                    <a:pt x="208" y="49"/>
                    <a:pt x="208" y="110"/>
                  </a:cubicBezTo>
                  <a:close/>
                  <a:moveTo>
                    <a:pt x="627" y="680"/>
                  </a:moveTo>
                  <a:cubicBezTo>
                    <a:pt x="622" y="662"/>
                    <a:pt x="574" y="492"/>
                    <a:pt x="533" y="353"/>
                  </a:cubicBezTo>
                  <a:cubicBezTo>
                    <a:pt x="517" y="302"/>
                    <a:pt x="462" y="251"/>
                    <a:pt x="407" y="251"/>
                  </a:cubicBezTo>
                  <a:cubicBezTo>
                    <a:pt x="380" y="251"/>
                    <a:pt x="254" y="251"/>
                    <a:pt x="229" y="251"/>
                  </a:cubicBezTo>
                  <a:cubicBezTo>
                    <a:pt x="174" y="251"/>
                    <a:pt x="119" y="302"/>
                    <a:pt x="103" y="353"/>
                  </a:cubicBezTo>
                  <a:cubicBezTo>
                    <a:pt x="62" y="492"/>
                    <a:pt x="12" y="662"/>
                    <a:pt x="7" y="680"/>
                  </a:cubicBezTo>
                  <a:cubicBezTo>
                    <a:pt x="0" y="704"/>
                    <a:pt x="13" y="727"/>
                    <a:pt x="36" y="734"/>
                  </a:cubicBezTo>
                  <a:cubicBezTo>
                    <a:pt x="60" y="741"/>
                    <a:pt x="84" y="728"/>
                    <a:pt x="90" y="705"/>
                  </a:cubicBezTo>
                  <a:cubicBezTo>
                    <a:pt x="101" y="671"/>
                    <a:pt x="180" y="399"/>
                    <a:pt x="180" y="399"/>
                  </a:cubicBezTo>
                  <a:cubicBezTo>
                    <a:pt x="207" y="399"/>
                    <a:pt x="207" y="399"/>
                    <a:pt x="207" y="399"/>
                  </a:cubicBezTo>
                  <a:cubicBezTo>
                    <a:pt x="57" y="910"/>
                    <a:pt x="57" y="910"/>
                    <a:pt x="57" y="910"/>
                  </a:cubicBezTo>
                  <a:cubicBezTo>
                    <a:pt x="201" y="910"/>
                    <a:pt x="201" y="910"/>
                    <a:pt x="201" y="910"/>
                  </a:cubicBezTo>
                  <a:cubicBezTo>
                    <a:pt x="201" y="1086"/>
                    <a:pt x="201" y="1275"/>
                    <a:pt x="201" y="1296"/>
                  </a:cubicBezTo>
                  <a:cubicBezTo>
                    <a:pt x="201" y="1326"/>
                    <a:pt x="224" y="1349"/>
                    <a:pt x="254" y="1349"/>
                  </a:cubicBezTo>
                  <a:cubicBezTo>
                    <a:pt x="282" y="1349"/>
                    <a:pt x="306" y="1326"/>
                    <a:pt x="306" y="1296"/>
                  </a:cubicBezTo>
                  <a:cubicBezTo>
                    <a:pt x="306" y="1254"/>
                    <a:pt x="306" y="910"/>
                    <a:pt x="306" y="910"/>
                  </a:cubicBezTo>
                  <a:cubicBezTo>
                    <a:pt x="331" y="910"/>
                    <a:pt x="331" y="910"/>
                    <a:pt x="331" y="910"/>
                  </a:cubicBezTo>
                  <a:cubicBezTo>
                    <a:pt x="331" y="910"/>
                    <a:pt x="331" y="1254"/>
                    <a:pt x="331" y="1296"/>
                  </a:cubicBezTo>
                  <a:cubicBezTo>
                    <a:pt x="331" y="1326"/>
                    <a:pt x="355" y="1349"/>
                    <a:pt x="384" y="1349"/>
                  </a:cubicBezTo>
                  <a:cubicBezTo>
                    <a:pt x="413" y="1349"/>
                    <a:pt x="436" y="1326"/>
                    <a:pt x="436" y="1296"/>
                  </a:cubicBezTo>
                  <a:cubicBezTo>
                    <a:pt x="436" y="1275"/>
                    <a:pt x="436" y="1086"/>
                    <a:pt x="436" y="910"/>
                  </a:cubicBezTo>
                  <a:cubicBezTo>
                    <a:pt x="580" y="910"/>
                    <a:pt x="580" y="910"/>
                    <a:pt x="580" y="910"/>
                  </a:cubicBezTo>
                  <a:cubicBezTo>
                    <a:pt x="430" y="399"/>
                    <a:pt x="430" y="399"/>
                    <a:pt x="430" y="399"/>
                  </a:cubicBezTo>
                  <a:cubicBezTo>
                    <a:pt x="456" y="399"/>
                    <a:pt x="456" y="399"/>
                    <a:pt x="456" y="399"/>
                  </a:cubicBezTo>
                  <a:cubicBezTo>
                    <a:pt x="456" y="399"/>
                    <a:pt x="535" y="671"/>
                    <a:pt x="546" y="705"/>
                  </a:cubicBezTo>
                  <a:cubicBezTo>
                    <a:pt x="552" y="728"/>
                    <a:pt x="577" y="741"/>
                    <a:pt x="600" y="734"/>
                  </a:cubicBezTo>
                  <a:cubicBezTo>
                    <a:pt x="623" y="727"/>
                    <a:pt x="634" y="704"/>
                    <a:pt x="627" y="68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05"/>
            <p:cNvSpPr>
              <a:spLocks noEditPoints="1"/>
            </p:cNvSpPr>
            <p:nvPr/>
          </p:nvSpPr>
          <p:spPr bwMode="black">
            <a:xfrm>
              <a:off x="7152565" y="4435123"/>
              <a:ext cx="582590" cy="1481613"/>
            </a:xfrm>
            <a:custGeom>
              <a:avLst/>
              <a:gdLst>
                <a:gd name="T0" fmla="*/ 388 w 529"/>
                <a:gd name="T1" fmla="*/ 249 h 1345"/>
                <a:gd name="T2" fmla="*/ 529 w 529"/>
                <a:gd name="T3" fmla="*/ 391 h 1345"/>
                <a:gd name="T4" fmla="*/ 529 w 529"/>
                <a:gd name="T5" fmla="*/ 734 h 1345"/>
                <a:gd name="T6" fmla="*/ 482 w 529"/>
                <a:gd name="T7" fmla="*/ 783 h 1345"/>
                <a:gd name="T8" fmla="*/ 434 w 529"/>
                <a:gd name="T9" fmla="*/ 734 h 1345"/>
                <a:gd name="T10" fmla="*/ 434 w 529"/>
                <a:gd name="T11" fmla="*/ 424 h 1345"/>
                <a:gd name="T12" fmla="*/ 408 w 529"/>
                <a:gd name="T13" fmla="*/ 424 h 1345"/>
                <a:gd name="T14" fmla="*/ 408 w 529"/>
                <a:gd name="T15" fmla="*/ 1281 h 1345"/>
                <a:gd name="T16" fmla="*/ 343 w 529"/>
                <a:gd name="T17" fmla="*/ 1345 h 1345"/>
                <a:gd name="T18" fmla="*/ 278 w 529"/>
                <a:gd name="T19" fmla="*/ 1281 h 1345"/>
                <a:gd name="T20" fmla="*/ 278 w 529"/>
                <a:gd name="T21" fmla="*/ 785 h 1345"/>
                <a:gd name="T22" fmla="*/ 252 w 529"/>
                <a:gd name="T23" fmla="*/ 785 h 1345"/>
                <a:gd name="T24" fmla="*/ 252 w 529"/>
                <a:gd name="T25" fmla="*/ 1281 h 1345"/>
                <a:gd name="T26" fmla="*/ 187 w 529"/>
                <a:gd name="T27" fmla="*/ 1345 h 1345"/>
                <a:gd name="T28" fmla="*/ 122 w 529"/>
                <a:gd name="T29" fmla="*/ 1281 h 1345"/>
                <a:gd name="T30" fmla="*/ 122 w 529"/>
                <a:gd name="T31" fmla="*/ 424 h 1345"/>
                <a:gd name="T32" fmla="*/ 96 w 529"/>
                <a:gd name="T33" fmla="*/ 424 h 1345"/>
                <a:gd name="T34" fmla="*/ 96 w 529"/>
                <a:gd name="T35" fmla="*/ 734 h 1345"/>
                <a:gd name="T36" fmla="*/ 49 w 529"/>
                <a:gd name="T37" fmla="*/ 783 h 1345"/>
                <a:gd name="T38" fmla="*/ 0 w 529"/>
                <a:gd name="T39" fmla="*/ 734 h 1345"/>
                <a:gd name="T40" fmla="*/ 0 w 529"/>
                <a:gd name="T41" fmla="*/ 391 h 1345"/>
                <a:gd name="T42" fmla="*/ 143 w 529"/>
                <a:gd name="T43" fmla="*/ 249 h 1345"/>
                <a:gd name="T44" fmla="*/ 388 w 529"/>
                <a:gd name="T45" fmla="*/ 249 h 1345"/>
                <a:gd name="T46" fmla="*/ 155 w 529"/>
                <a:gd name="T47" fmla="*/ 110 h 1345"/>
                <a:gd name="T48" fmla="*/ 266 w 529"/>
                <a:gd name="T49" fmla="*/ 221 h 1345"/>
                <a:gd name="T50" fmla="*/ 377 w 529"/>
                <a:gd name="T51" fmla="*/ 110 h 1345"/>
                <a:gd name="T52" fmla="*/ 266 w 529"/>
                <a:gd name="T53" fmla="*/ 0 h 1345"/>
                <a:gd name="T54" fmla="*/ 155 w 529"/>
                <a:gd name="T55" fmla="*/ 110 h 1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9" h="1345">
                  <a:moveTo>
                    <a:pt x="388" y="249"/>
                  </a:moveTo>
                  <a:cubicBezTo>
                    <a:pt x="466" y="249"/>
                    <a:pt x="529" y="313"/>
                    <a:pt x="529" y="391"/>
                  </a:cubicBezTo>
                  <a:cubicBezTo>
                    <a:pt x="529" y="430"/>
                    <a:pt x="529" y="707"/>
                    <a:pt x="529" y="734"/>
                  </a:cubicBezTo>
                  <a:cubicBezTo>
                    <a:pt x="529" y="761"/>
                    <a:pt x="508" y="783"/>
                    <a:pt x="482" y="783"/>
                  </a:cubicBezTo>
                  <a:cubicBezTo>
                    <a:pt x="455" y="783"/>
                    <a:pt x="434" y="761"/>
                    <a:pt x="434" y="734"/>
                  </a:cubicBezTo>
                  <a:cubicBezTo>
                    <a:pt x="434" y="703"/>
                    <a:pt x="434" y="424"/>
                    <a:pt x="434" y="424"/>
                  </a:cubicBezTo>
                  <a:cubicBezTo>
                    <a:pt x="408" y="424"/>
                    <a:pt x="408" y="424"/>
                    <a:pt x="408" y="424"/>
                  </a:cubicBezTo>
                  <a:cubicBezTo>
                    <a:pt x="408" y="424"/>
                    <a:pt x="408" y="1227"/>
                    <a:pt x="408" y="1281"/>
                  </a:cubicBezTo>
                  <a:cubicBezTo>
                    <a:pt x="408" y="1317"/>
                    <a:pt x="379" y="1345"/>
                    <a:pt x="343" y="1345"/>
                  </a:cubicBezTo>
                  <a:cubicBezTo>
                    <a:pt x="307" y="1345"/>
                    <a:pt x="278" y="1317"/>
                    <a:pt x="278" y="1281"/>
                  </a:cubicBezTo>
                  <a:cubicBezTo>
                    <a:pt x="278" y="1227"/>
                    <a:pt x="278" y="785"/>
                    <a:pt x="278" y="785"/>
                  </a:cubicBezTo>
                  <a:cubicBezTo>
                    <a:pt x="252" y="785"/>
                    <a:pt x="252" y="785"/>
                    <a:pt x="252" y="785"/>
                  </a:cubicBezTo>
                  <a:cubicBezTo>
                    <a:pt x="252" y="785"/>
                    <a:pt x="252" y="1227"/>
                    <a:pt x="252" y="1281"/>
                  </a:cubicBezTo>
                  <a:cubicBezTo>
                    <a:pt x="252" y="1317"/>
                    <a:pt x="223" y="1345"/>
                    <a:pt x="187" y="1345"/>
                  </a:cubicBezTo>
                  <a:cubicBezTo>
                    <a:pt x="151" y="1345"/>
                    <a:pt x="122" y="1317"/>
                    <a:pt x="122" y="1281"/>
                  </a:cubicBezTo>
                  <a:cubicBezTo>
                    <a:pt x="122" y="1227"/>
                    <a:pt x="122" y="424"/>
                    <a:pt x="122" y="424"/>
                  </a:cubicBezTo>
                  <a:cubicBezTo>
                    <a:pt x="96" y="424"/>
                    <a:pt x="96" y="424"/>
                    <a:pt x="96" y="424"/>
                  </a:cubicBezTo>
                  <a:cubicBezTo>
                    <a:pt x="96" y="424"/>
                    <a:pt x="96" y="703"/>
                    <a:pt x="96" y="734"/>
                  </a:cubicBezTo>
                  <a:cubicBezTo>
                    <a:pt x="96" y="761"/>
                    <a:pt x="76" y="783"/>
                    <a:pt x="49" y="783"/>
                  </a:cubicBezTo>
                  <a:cubicBezTo>
                    <a:pt x="22" y="783"/>
                    <a:pt x="0" y="761"/>
                    <a:pt x="0" y="734"/>
                  </a:cubicBezTo>
                  <a:cubicBezTo>
                    <a:pt x="0" y="707"/>
                    <a:pt x="0" y="430"/>
                    <a:pt x="0" y="391"/>
                  </a:cubicBezTo>
                  <a:cubicBezTo>
                    <a:pt x="0" y="313"/>
                    <a:pt x="64" y="249"/>
                    <a:pt x="143" y="249"/>
                  </a:cubicBezTo>
                  <a:cubicBezTo>
                    <a:pt x="180" y="249"/>
                    <a:pt x="348" y="249"/>
                    <a:pt x="388" y="249"/>
                  </a:cubicBezTo>
                  <a:close/>
                  <a:moveTo>
                    <a:pt x="155" y="110"/>
                  </a:moveTo>
                  <a:cubicBezTo>
                    <a:pt x="155" y="172"/>
                    <a:pt x="205" y="221"/>
                    <a:pt x="266" y="221"/>
                  </a:cubicBezTo>
                  <a:cubicBezTo>
                    <a:pt x="327" y="221"/>
                    <a:pt x="377" y="172"/>
                    <a:pt x="377" y="110"/>
                  </a:cubicBezTo>
                  <a:cubicBezTo>
                    <a:pt x="377" y="49"/>
                    <a:pt x="327" y="0"/>
                    <a:pt x="266" y="0"/>
                  </a:cubicBezTo>
                  <a:cubicBezTo>
                    <a:pt x="205" y="0"/>
                    <a:pt x="155" y="49"/>
                    <a:pt x="155" y="1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pic>
          <p:nvPicPr>
            <p:cNvPr id="50185" name="Picture 9"/>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84500" y="4079265"/>
              <a:ext cx="585788" cy="14811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0186" name="Picture 1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47401" y="4865077"/>
              <a:ext cx="652462" cy="1390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1"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2"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4"/>
              </a:rPr>
              <a:t>www.rapidbbs.cn</a:t>
            </a:r>
            <a:endParaRPr lang="zh-CN" altLang="en-US" sz="1200" b="0">
              <a:latin typeface="Arial" charset="0"/>
              <a:ea typeface="ＭＳ Ｐゴシック" pitchFamily="34" charset="-128"/>
            </a:endParaRPr>
          </a:p>
        </p:txBody>
      </p:sp>
    </p:spTree>
    <p:extLst>
      <p:ext uri="{BB962C8B-B14F-4D97-AF65-F5344CB8AC3E}">
        <p14:creationId xmlns:p14="http://schemas.microsoft.com/office/powerpoint/2010/main" val="39468301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750"/>
                                        <p:tgtEl>
                                          <p:spTgt spid="3"/>
                                        </p:tgtEl>
                                      </p:cBhvr>
                                    </p:animEffect>
                                  </p:childTnLst>
                                </p:cTn>
                              </p:par>
                            </p:childTnLst>
                          </p:cTn>
                        </p:par>
                        <p:par>
                          <p:cTn id="8" fill="hold">
                            <p:stCondLst>
                              <p:cond delay="75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750"/>
                                        <p:tgtEl>
                                          <p:spTgt spid="5"/>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750"/>
                                        <p:tgtEl>
                                          <p:spTgt spid="7"/>
                                        </p:tgtEl>
                                      </p:cBhvr>
                                    </p:animEffect>
                                  </p:childTnLst>
                                </p:cTn>
                              </p:par>
                            </p:childTnLst>
                          </p:cTn>
                        </p:par>
                        <p:par>
                          <p:cTn id="16" fill="hold">
                            <p:stCondLst>
                              <p:cond delay="2250"/>
                            </p:stCondLst>
                            <p:childTnLst>
                              <p:par>
                                <p:cTn id="17" presetID="10" presetClass="entr" presetSubtype="0" fill="hold"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75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717408766"/>
              </p:ext>
            </p:extLst>
          </p:nvPr>
        </p:nvGraphicFramePr>
        <p:xfrm>
          <a:off x="1191" y="1192"/>
          <a:ext cx="1191" cy="1190"/>
        </p:xfrm>
        <a:graphic>
          <a:graphicData uri="http://schemas.openxmlformats.org/presentationml/2006/ole">
            <mc:AlternateContent xmlns:mc="http://schemas.openxmlformats.org/markup-compatibility/2006">
              <mc:Choice xmlns:v="urn:schemas-microsoft-com:vml" Requires="v">
                <p:oleObj spid="_x0000_s25607"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1191" y="1192"/>
                        <a:ext cx="1191" cy="119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89436" y="171451"/>
            <a:ext cx="8363938" cy="747897"/>
          </a:xfrm>
        </p:spPr>
        <p:txBody>
          <a:bodyPr/>
          <a:lstStyle/>
          <a:p>
            <a:r>
              <a:rPr lang="en-US" dirty="0">
                <a:cs typeface="Segoe UI"/>
              </a:rPr>
              <a:t>Scaling My Web Server</a:t>
            </a:r>
            <a:br>
              <a:rPr lang="en-US" dirty="0">
                <a:cs typeface="Segoe UI"/>
              </a:rPr>
            </a:br>
            <a:r>
              <a:rPr lang="en-US" sz="2100" spc="-38" dirty="0">
                <a:gradFill>
                  <a:gsLst>
                    <a:gs pos="0">
                      <a:schemeClr val="tx1"/>
                    </a:gs>
                    <a:gs pos="86000">
                      <a:schemeClr val="tx1"/>
                    </a:gs>
                  </a:gsLst>
                  <a:lin ang="5400000" scaled="0"/>
                </a:gradFill>
                <a:latin typeface="+mn-lt"/>
                <a:cs typeface="+mn-cs"/>
              </a:rPr>
              <a:t>CPU Throttling: Defining The Problem</a:t>
            </a:r>
          </a:p>
        </p:txBody>
      </p:sp>
      <p:sp>
        <p:nvSpPr>
          <p:cNvPr id="3" name="TextBox 2"/>
          <p:cNvSpPr txBox="1"/>
          <p:nvPr>
            <p:custDataLst>
              <p:tags r:id="rId4"/>
            </p:custDataLst>
          </p:nvPr>
        </p:nvSpPr>
        <p:spPr>
          <a:xfrm>
            <a:off x="389435" y="1584199"/>
            <a:ext cx="4747610" cy="2897870"/>
          </a:xfrm>
          <a:prstGeom prst="rect">
            <a:avLst/>
          </a:prstGeom>
          <a:solidFill>
            <a:schemeClr val="tx2"/>
          </a:solidFill>
        </p:spPr>
        <p:txBody>
          <a:bodyPr wrap="square" lIns="68586" tIns="34294" rIns="68586" bIns="34294" rtlCol="0">
            <a:noAutofit/>
          </a:bodyPr>
          <a:lstStyle/>
          <a:p>
            <a:pPr>
              <a:lnSpc>
                <a:spcPct val="90000"/>
              </a:lnSpc>
              <a:spcBef>
                <a:spcPts val="900"/>
              </a:spcBef>
              <a:buSzPct val="90000"/>
            </a:pPr>
            <a:endParaRPr lang="en-US" sz="1700" spc="-30" dirty="0">
              <a:solidFill>
                <a:schemeClr val="tx1">
                  <a:alpha val="99000"/>
                </a:schemeClr>
              </a:solidFill>
            </a:endParaRPr>
          </a:p>
        </p:txBody>
      </p:sp>
      <p:sp>
        <p:nvSpPr>
          <p:cNvPr id="4" name="TextBox 3"/>
          <p:cNvSpPr txBox="1"/>
          <p:nvPr>
            <p:custDataLst>
              <p:tags r:id="rId5"/>
            </p:custDataLst>
          </p:nvPr>
        </p:nvSpPr>
        <p:spPr>
          <a:xfrm>
            <a:off x="389437" y="1584199"/>
            <a:ext cx="4747609" cy="1982604"/>
          </a:xfrm>
          <a:prstGeom prst="rect">
            <a:avLst/>
          </a:prstGeom>
          <a:noFill/>
        </p:spPr>
        <p:txBody>
          <a:bodyPr wrap="square" lIns="137172" tIns="34294" rIns="137172" bIns="34294" rtlCol="0">
            <a:spAutoFit/>
          </a:bodyPr>
          <a:lstStyle/>
          <a:p>
            <a:pPr>
              <a:spcBef>
                <a:spcPts val="900"/>
              </a:spcBef>
              <a:buSzPct val="90000"/>
            </a:pPr>
            <a:r>
              <a:rPr lang="en-US" sz="2400" dirty="0">
                <a:solidFill>
                  <a:schemeClr val="tx1">
                    <a:alpha val="99000"/>
                  </a:schemeClr>
                </a:solidFill>
              </a:rPr>
              <a:t>You manage a server, and you host multiple tenants</a:t>
            </a:r>
          </a:p>
          <a:p>
            <a:pPr marL="11908" lvl="1">
              <a:spcBef>
                <a:spcPts val="450"/>
              </a:spcBef>
              <a:buSzPct val="90000"/>
            </a:pPr>
            <a:r>
              <a:rPr lang="en-US" sz="1700" spc="-30" dirty="0">
                <a:solidFill>
                  <a:schemeClr val="tx1">
                    <a:alpha val="99000"/>
                  </a:schemeClr>
                </a:solidFill>
              </a:rPr>
              <a:t>Badly-written applications from some tenants might consume too many resources</a:t>
            </a:r>
          </a:p>
          <a:p>
            <a:pPr marL="11908" lvl="1">
              <a:spcBef>
                <a:spcPts val="450"/>
              </a:spcBef>
              <a:buSzPct val="90000"/>
            </a:pPr>
            <a:r>
              <a:rPr lang="en-US" sz="1700" spc="-30" dirty="0">
                <a:solidFill>
                  <a:schemeClr val="tx1">
                    <a:alpha val="99000"/>
                  </a:schemeClr>
                </a:solidFill>
              </a:rPr>
              <a:t>Well-written applications from other tenants might be starved for resources</a:t>
            </a:r>
          </a:p>
        </p:txBody>
      </p:sp>
      <p:grpSp>
        <p:nvGrpSpPr>
          <p:cNvPr id="6" name="Group 5"/>
          <p:cNvGrpSpPr/>
          <p:nvPr>
            <p:custDataLst>
              <p:tags r:id="rId6"/>
            </p:custDataLst>
          </p:nvPr>
        </p:nvGrpSpPr>
        <p:grpSpPr>
          <a:xfrm>
            <a:off x="5204101" y="1586881"/>
            <a:ext cx="1410051" cy="1409685"/>
            <a:chOff x="8918194" y="2115840"/>
            <a:chExt cx="1879579" cy="1879580"/>
          </a:xfrm>
          <a:solidFill>
            <a:schemeClr val="accent5"/>
          </a:solidFill>
        </p:grpSpPr>
        <p:sp>
          <p:nvSpPr>
            <p:cNvPr id="7" name="Rectangle 6"/>
            <p:cNvSpPr/>
            <p:nvPr/>
          </p:nvSpPr>
          <p:spPr bwMode="auto">
            <a:xfrm>
              <a:off x="8918194" y="2115840"/>
              <a:ext cx="1879579" cy="187958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37" fontAlgn="base">
                <a:spcBef>
                  <a:spcPct val="0"/>
                </a:spcBef>
                <a:spcAft>
                  <a:spcPct val="0"/>
                </a:spcAft>
              </a:pPr>
              <a:endParaRPr lang="en-US"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8" name="Group 78"/>
            <p:cNvGrpSpPr/>
            <p:nvPr/>
          </p:nvGrpSpPr>
          <p:grpSpPr>
            <a:xfrm>
              <a:off x="9144001" y="2711451"/>
              <a:ext cx="1311275" cy="817562"/>
              <a:chOff x="9144001" y="2711451"/>
              <a:chExt cx="1311275" cy="817562"/>
            </a:xfrm>
            <a:grpFill/>
          </p:grpSpPr>
          <p:sp>
            <p:nvSpPr>
              <p:cNvPr id="9" name="Freeform 624"/>
              <p:cNvSpPr>
                <a:spLocks/>
              </p:cNvSpPr>
              <p:nvPr/>
            </p:nvSpPr>
            <p:spPr bwMode="auto">
              <a:xfrm>
                <a:off x="9144001" y="2711451"/>
                <a:ext cx="1311275" cy="657225"/>
              </a:xfrm>
              <a:custGeom>
                <a:avLst/>
                <a:gdLst>
                  <a:gd name="T0" fmla="*/ 665 w 1330"/>
                  <a:gd name="T1" fmla="*/ 59 h 665"/>
                  <a:gd name="T2" fmla="*/ 1271 w 1330"/>
                  <a:gd name="T3" fmla="*/ 665 h 665"/>
                  <a:gd name="T4" fmla="*/ 1330 w 1330"/>
                  <a:gd name="T5" fmla="*/ 665 h 665"/>
                  <a:gd name="T6" fmla="*/ 665 w 1330"/>
                  <a:gd name="T7" fmla="*/ 0 h 665"/>
                  <a:gd name="T8" fmla="*/ 0 w 1330"/>
                  <a:gd name="T9" fmla="*/ 665 h 665"/>
                  <a:gd name="T10" fmla="*/ 59 w 1330"/>
                  <a:gd name="T11" fmla="*/ 665 h 665"/>
                  <a:gd name="T12" fmla="*/ 665 w 1330"/>
                  <a:gd name="T13" fmla="*/ 59 h 665"/>
                </a:gdLst>
                <a:ahLst/>
                <a:cxnLst>
                  <a:cxn ang="0">
                    <a:pos x="T0" y="T1"/>
                  </a:cxn>
                  <a:cxn ang="0">
                    <a:pos x="T2" y="T3"/>
                  </a:cxn>
                  <a:cxn ang="0">
                    <a:pos x="T4" y="T5"/>
                  </a:cxn>
                  <a:cxn ang="0">
                    <a:pos x="T6" y="T7"/>
                  </a:cxn>
                  <a:cxn ang="0">
                    <a:pos x="T8" y="T9"/>
                  </a:cxn>
                  <a:cxn ang="0">
                    <a:pos x="T10" y="T11"/>
                  </a:cxn>
                  <a:cxn ang="0">
                    <a:pos x="T12" y="T13"/>
                  </a:cxn>
                </a:cxnLst>
                <a:rect l="0" t="0" r="r" b="b"/>
                <a:pathLst>
                  <a:path w="1330" h="665">
                    <a:moveTo>
                      <a:pt x="665" y="59"/>
                    </a:moveTo>
                    <a:cubicBezTo>
                      <a:pt x="1000" y="59"/>
                      <a:pt x="1271" y="330"/>
                      <a:pt x="1271" y="665"/>
                    </a:cubicBezTo>
                    <a:cubicBezTo>
                      <a:pt x="1330" y="665"/>
                      <a:pt x="1330" y="665"/>
                      <a:pt x="1330" y="665"/>
                    </a:cubicBezTo>
                    <a:cubicBezTo>
                      <a:pt x="1330" y="298"/>
                      <a:pt x="1032" y="0"/>
                      <a:pt x="665" y="0"/>
                    </a:cubicBezTo>
                    <a:cubicBezTo>
                      <a:pt x="298" y="0"/>
                      <a:pt x="0" y="298"/>
                      <a:pt x="0" y="665"/>
                    </a:cubicBezTo>
                    <a:cubicBezTo>
                      <a:pt x="59" y="665"/>
                      <a:pt x="59" y="665"/>
                      <a:pt x="59" y="665"/>
                    </a:cubicBezTo>
                    <a:cubicBezTo>
                      <a:pt x="59" y="330"/>
                      <a:pt x="330" y="59"/>
                      <a:pt x="665" y="59"/>
                    </a:cubicBezTo>
                    <a:close/>
                  </a:path>
                </a:pathLst>
              </a:custGeom>
              <a:solidFill>
                <a:schemeClr val="tx1"/>
              </a:solid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sp>
            <p:nvSpPr>
              <p:cNvPr id="10" name="Oval 625"/>
              <p:cNvSpPr>
                <a:spLocks noChangeArrowheads="1"/>
              </p:cNvSpPr>
              <p:nvPr/>
            </p:nvSpPr>
            <p:spPr bwMode="auto">
              <a:xfrm>
                <a:off x="9739313" y="2820988"/>
                <a:ext cx="111125" cy="111125"/>
              </a:xfrm>
              <a:prstGeom prst="ellipse">
                <a:avLst/>
              </a:prstGeom>
              <a:grp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sp>
            <p:nvSpPr>
              <p:cNvPr id="11" name="Oval 626"/>
              <p:cNvSpPr>
                <a:spLocks noChangeArrowheads="1"/>
              </p:cNvSpPr>
              <p:nvPr/>
            </p:nvSpPr>
            <p:spPr bwMode="auto">
              <a:xfrm>
                <a:off x="10007601" y="2914650"/>
                <a:ext cx="109538" cy="111125"/>
              </a:xfrm>
              <a:prstGeom prst="ellipse">
                <a:avLst/>
              </a:prstGeom>
              <a:grp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sp>
            <p:nvSpPr>
              <p:cNvPr id="12" name="Oval 627"/>
              <p:cNvSpPr>
                <a:spLocks noChangeArrowheads="1"/>
              </p:cNvSpPr>
              <p:nvPr/>
            </p:nvSpPr>
            <p:spPr bwMode="auto">
              <a:xfrm>
                <a:off x="9471026" y="2914650"/>
                <a:ext cx="111125" cy="111125"/>
              </a:xfrm>
              <a:prstGeom prst="ellipse">
                <a:avLst/>
              </a:prstGeom>
              <a:grp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sp>
            <p:nvSpPr>
              <p:cNvPr id="13" name="Oval 628"/>
              <p:cNvSpPr>
                <a:spLocks noChangeArrowheads="1"/>
              </p:cNvSpPr>
              <p:nvPr/>
            </p:nvSpPr>
            <p:spPr bwMode="auto">
              <a:xfrm>
                <a:off x="10171113" y="3106738"/>
                <a:ext cx="111125" cy="111125"/>
              </a:xfrm>
              <a:prstGeom prst="ellipse">
                <a:avLst/>
              </a:prstGeom>
              <a:grp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sp>
            <p:nvSpPr>
              <p:cNvPr id="14" name="Oval 629"/>
              <p:cNvSpPr>
                <a:spLocks noChangeArrowheads="1"/>
              </p:cNvSpPr>
              <p:nvPr/>
            </p:nvSpPr>
            <p:spPr bwMode="auto">
              <a:xfrm>
                <a:off x="9305926" y="3106738"/>
                <a:ext cx="111125" cy="111125"/>
              </a:xfrm>
              <a:prstGeom prst="ellipse">
                <a:avLst/>
              </a:prstGeom>
              <a:grp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sp>
            <p:nvSpPr>
              <p:cNvPr id="15" name="Freeform 630"/>
              <p:cNvSpPr>
                <a:spLocks noEditPoints="1"/>
              </p:cNvSpPr>
              <p:nvPr/>
            </p:nvSpPr>
            <p:spPr bwMode="auto">
              <a:xfrm>
                <a:off x="9518651" y="3167063"/>
                <a:ext cx="365125" cy="361950"/>
              </a:xfrm>
              <a:custGeom>
                <a:avLst/>
                <a:gdLst>
                  <a:gd name="T0" fmla="*/ 229 w 369"/>
                  <a:gd name="T1" fmla="*/ 0 h 367"/>
                  <a:gd name="T2" fmla="*/ 266 w 369"/>
                  <a:gd name="T3" fmla="*/ 37 h 367"/>
                  <a:gd name="T4" fmla="*/ 104 w 369"/>
                  <a:gd name="T5" fmla="*/ 199 h 367"/>
                  <a:gd name="T6" fmla="*/ 86 w 369"/>
                  <a:gd name="T7" fmla="*/ 197 h 367"/>
                  <a:gd name="T8" fmla="*/ 0 w 369"/>
                  <a:gd name="T9" fmla="*/ 282 h 367"/>
                  <a:gd name="T10" fmla="*/ 86 w 369"/>
                  <a:gd name="T11" fmla="*/ 367 h 367"/>
                  <a:gd name="T12" fmla="*/ 171 w 369"/>
                  <a:gd name="T13" fmla="*/ 282 h 367"/>
                  <a:gd name="T14" fmla="*/ 169 w 369"/>
                  <a:gd name="T15" fmla="*/ 266 h 367"/>
                  <a:gd name="T16" fmla="*/ 332 w 369"/>
                  <a:gd name="T17" fmla="*/ 103 h 367"/>
                  <a:gd name="T18" fmla="*/ 369 w 369"/>
                  <a:gd name="T19" fmla="*/ 139 h 367"/>
                  <a:gd name="T20" fmla="*/ 369 w 369"/>
                  <a:gd name="T21" fmla="*/ 0 h 367"/>
                  <a:gd name="T22" fmla="*/ 229 w 369"/>
                  <a:gd name="T23" fmla="*/ 0 h 367"/>
                  <a:gd name="T24" fmla="*/ 86 w 369"/>
                  <a:gd name="T25" fmla="*/ 335 h 367"/>
                  <a:gd name="T26" fmla="*/ 32 w 369"/>
                  <a:gd name="T27" fmla="*/ 282 h 367"/>
                  <a:gd name="T28" fmla="*/ 86 w 369"/>
                  <a:gd name="T29" fmla="*/ 229 h 367"/>
                  <a:gd name="T30" fmla="*/ 139 w 369"/>
                  <a:gd name="T31" fmla="*/ 282 h 367"/>
                  <a:gd name="T32" fmla="*/ 86 w 369"/>
                  <a:gd name="T33" fmla="*/ 335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9" h="367">
                    <a:moveTo>
                      <a:pt x="229" y="0"/>
                    </a:moveTo>
                    <a:cubicBezTo>
                      <a:pt x="266" y="37"/>
                      <a:pt x="266" y="37"/>
                      <a:pt x="266" y="37"/>
                    </a:cubicBezTo>
                    <a:cubicBezTo>
                      <a:pt x="104" y="199"/>
                      <a:pt x="104" y="199"/>
                      <a:pt x="104" y="199"/>
                    </a:cubicBezTo>
                    <a:cubicBezTo>
                      <a:pt x="98" y="197"/>
                      <a:pt x="92" y="197"/>
                      <a:pt x="86" y="197"/>
                    </a:cubicBezTo>
                    <a:cubicBezTo>
                      <a:pt x="39" y="197"/>
                      <a:pt x="0" y="235"/>
                      <a:pt x="0" y="282"/>
                    </a:cubicBezTo>
                    <a:cubicBezTo>
                      <a:pt x="0" y="329"/>
                      <a:pt x="39" y="367"/>
                      <a:pt x="86" y="367"/>
                    </a:cubicBezTo>
                    <a:cubicBezTo>
                      <a:pt x="133" y="367"/>
                      <a:pt x="171" y="329"/>
                      <a:pt x="171" y="282"/>
                    </a:cubicBezTo>
                    <a:cubicBezTo>
                      <a:pt x="171" y="276"/>
                      <a:pt x="170" y="271"/>
                      <a:pt x="169" y="266"/>
                    </a:cubicBezTo>
                    <a:cubicBezTo>
                      <a:pt x="332" y="103"/>
                      <a:pt x="332" y="103"/>
                      <a:pt x="332" y="103"/>
                    </a:cubicBezTo>
                    <a:cubicBezTo>
                      <a:pt x="369" y="139"/>
                      <a:pt x="369" y="139"/>
                      <a:pt x="369" y="139"/>
                    </a:cubicBezTo>
                    <a:cubicBezTo>
                      <a:pt x="369" y="0"/>
                      <a:pt x="369" y="0"/>
                      <a:pt x="369" y="0"/>
                    </a:cubicBezTo>
                    <a:lnTo>
                      <a:pt x="229" y="0"/>
                    </a:lnTo>
                    <a:close/>
                    <a:moveTo>
                      <a:pt x="86" y="335"/>
                    </a:moveTo>
                    <a:cubicBezTo>
                      <a:pt x="56" y="335"/>
                      <a:pt x="32" y="311"/>
                      <a:pt x="32" y="282"/>
                    </a:cubicBezTo>
                    <a:cubicBezTo>
                      <a:pt x="32" y="253"/>
                      <a:pt x="56" y="229"/>
                      <a:pt x="86" y="229"/>
                    </a:cubicBezTo>
                    <a:cubicBezTo>
                      <a:pt x="115" y="229"/>
                      <a:pt x="139" y="253"/>
                      <a:pt x="139" y="282"/>
                    </a:cubicBezTo>
                    <a:cubicBezTo>
                      <a:pt x="139" y="311"/>
                      <a:pt x="115" y="335"/>
                      <a:pt x="86" y="335"/>
                    </a:cubicBezTo>
                    <a:close/>
                  </a:path>
                </a:pathLst>
              </a:custGeom>
              <a:solidFill>
                <a:schemeClr val="tx1"/>
              </a:solidFill>
              <a:ln>
                <a:solidFill>
                  <a:schemeClr val="tx1"/>
                </a:solidFill>
              </a:ln>
              <a:scene3d>
                <a:camera prst="orthographicFront">
                  <a:rot lat="0" lon="0" rev="7800000"/>
                </a:camera>
                <a:lightRig rig="threePt" dir="t"/>
              </a:scene3d>
              <a:extLst/>
            </p:spPr>
            <p:txBody>
              <a:bodyPr vert="horz" wrap="square" lIns="91440" tIns="45720" rIns="91440" bIns="45720" numCol="1" anchor="t" anchorCtr="0" compatLnSpc="1">
                <a:prstTxWarp prst="textNoShape">
                  <a:avLst/>
                </a:prstTxWarp>
              </a:bodyPr>
              <a:lstStyle/>
              <a:p>
                <a:endParaRPr lang="en-US"/>
              </a:p>
            </p:txBody>
          </p:sp>
          <p:sp>
            <p:nvSpPr>
              <p:cNvPr id="16" name="Freeform 631"/>
              <p:cNvSpPr>
                <a:spLocks noEditPoints="1"/>
              </p:cNvSpPr>
              <p:nvPr/>
            </p:nvSpPr>
            <p:spPr bwMode="auto">
              <a:xfrm>
                <a:off x="9261476" y="3314700"/>
                <a:ext cx="1071563" cy="53975"/>
              </a:xfrm>
              <a:custGeom>
                <a:avLst/>
                <a:gdLst>
                  <a:gd name="T0" fmla="*/ 56 w 1085"/>
                  <a:gd name="T1" fmla="*/ 0 h 56"/>
                  <a:gd name="T2" fmla="*/ 0 w 1085"/>
                  <a:gd name="T3" fmla="*/ 56 h 56"/>
                  <a:gd name="T4" fmla="*/ 112 w 1085"/>
                  <a:gd name="T5" fmla="*/ 56 h 56"/>
                  <a:gd name="T6" fmla="*/ 56 w 1085"/>
                  <a:gd name="T7" fmla="*/ 0 h 56"/>
                  <a:gd name="T8" fmla="*/ 1029 w 1085"/>
                  <a:gd name="T9" fmla="*/ 0 h 56"/>
                  <a:gd name="T10" fmla="*/ 973 w 1085"/>
                  <a:gd name="T11" fmla="*/ 56 h 56"/>
                  <a:gd name="T12" fmla="*/ 1085 w 1085"/>
                  <a:gd name="T13" fmla="*/ 56 h 56"/>
                  <a:gd name="T14" fmla="*/ 1029 w 1085"/>
                  <a:gd name="T15" fmla="*/ 0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5" h="56">
                    <a:moveTo>
                      <a:pt x="56" y="0"/>
                    </a:moveTo>
                    <a:cubicBezTo>
                      <a:pt x="25" y="0"/>
                      <a:pt x="0" y="25"/>
                      <a:pt x="0" y="56"/>
                    </a:cubicBezTo>
                    <a:cubicBezTo>
                      <a:pt x="112" y="56"/>
                      <a:pt x="112" y="56"/>
                      <a:pt x="112" y="56"/>
                    </a:cubicBezTo>
                    <a:cubicBezTo>
                      <a:pt x="112" y="25"/>
                      <a:pt x="87" y="0"/>
                      <a:pt x="56" y="0"/>
                    </a:cubicBezTo>
                    <a:close/>
                    <a:moveTo>
                      <a:pt x="1029" y="0"/>
                    </a:moveTo>
                    <a:cubicBezTo>
                      <a:pt x="998" y="0"/>
                      <a:pt x="973" y="25"/>
                      <a:pt x="973" y="56"/>
                    </a:cubicBezTo>
                    <a:cubicBezTo>
                      <a:pt x="1085" y="56"/>
                      <a:pt x="1085" y="56"/>
                      <a:pt x="1085" y="56"/>
                    </a:cubicBezTo>
                    <a:cubicBezTo>
                      <a:pt x="1085" y="25"/>
                      <a:pt x="1060" y="0"/>
                      <a:pt x="1029" y="0"/>
                    </a:cubicBezTo>
                    <a:close/>
                  </a:path>
                </a:pathLst>
              </a:custGeom>
              <a:grp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grpSp>
      </p:grpSp>
      <p:grpSp>
        <p:nvGrpSpPr>
          <p:cNvPr id="17" name="Group 16"/>
          <p:cNvGrpSpPr/>
          <p:nvPr>
            <p:custDataLst>
              <p:tags r:id="rId7"/>
            </p:custDataLst>
          </p:nvPr>
        </p:nvGrpSpPr>
        <p:grpSpPr>
          <a:xfrm>
            <a:off x="6690388" y="1586881"/>
            <a:ext cx="1410051" cy="1409685"/>
            <a:chOff x="8918194" y="2115840"/>
            <a:chExt cx="1879579" cy="1879580"/>
          </a:xfrm>
          <a:solidFill>
            <a:schemeClr val="accent5"/>
          </a:solidFill>
        </p:grpSpPr>
        <p:sp>
          <p:nvSpPr>
            <p:cNvPr id="18" name="Rectangle 17"/>
            <p:cNvSpPr/>
            <p:nvPr/>
          </p:nvSpPr>
          <p:spPr bwMode="auto">
            <a:xfrm>
              <a:off x="8918194" y="2115840"/>
              <a:ext cx="1879579" cy="187958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37" fontAlgn="base">
                <a:spcBef>
                  <a:spcPct val="0"/>
                </a:spcBef>
                <a:spcAft>
                  <a:spcPct val="0"/>
                </a:spcAft>
              </a:pPr>
              <a:endParaRPr lang="en-US"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9" name="Group 18"/>
            <p:cNvGrpSpPr/>
            <p:nvPr/>
          </p:nvGrpSpPr>
          <p:grpSpPr>
            <a:xfrm>
              <a:off x="9144001" y="2711451"/>
              <a:ext cx="1311275" cy="817562"/>
              <a:chOff x="9144001" y="2711451"/>
              <a:chExt cx="1311275" cy="817562"/>
            </a:xfrm>
            <a:grpFill/>
          </p:grpSpPr>
          <p:sp>
            <p:nvSpPr>
              <p:cNvPr id="20" name="Freeform 624"/>
              <p:cNvSpPr>
                <a:spLocks/>
              </p:cNvSpPr>
              <p:nvPr/>
            </p:nvSpPr>
            <p:spPr bwMode="auto">
              <a:xfrm>
                <a:off x="9144001" y="2711451"/>
                <a:ext cx="1311275" cy="657225"/>
              </a:xfrm>
              <a:custGeom>
                <a:avLst/>
                <a:gdLst>
                  <a:gd name="T0" fmla="*/ 665 w 1330"/>
                  <a:gd name="T1" fmla="*/ 59 h 665"/>
                  <a:gd name="T2" fmla="*/ 1271 w 1330"/>
                  <a:gd name="T3" fmla="*/ 665 h 665"/>
                  <a:gd name="T4" fmla="*/ 1330 w 1330"/>
                  <a:gd name="T5" fmla="*/ 665 h 665"/>
                  <a:gd name="T6" fmla="*/ 665 w 1330"/>
                  <a:gd name="T7" fmla="*/ 0 h 665"/>
                  <a:gd name="T8" fmla="*/ 0 w 1330"/>
                  <a:gd name="T9" fmla="*/ 665 h 665"/>
                  <a:gd name="T10" fmla="*/ 59 w 1330"/>
                  <a:gd name="T11" fmla="*/ 665 h 665"/>
                  <a:gd name="T12" fmla="*/ 665 w 1330"/>
                  <a:gd name="T13" fmla="*/ 59 h 665"/>
                </a:gdLst>
                <a:ahLst/>
                <a:cxnLst>
                  <a:cxn ang="0">
                    <a:pos x="T0" y="T1"/>
                  </a:cxn>
                  <a:cxn ang="0">
                    <a:pos x="T2" y="T3"/>
                  </a:cxn>
                  <a:cxn ang="0">
                    <a:pos x="T4" y="T5"/>
                  </a:cxn>
                  <a:cxn ang="0">
                    <a:pos x="T6" y="T7"/>
                  </a:cxn>
                  <a:cxn ang="0">
                    <a:pos x="T8" y="T9"/>
                  </a:cxn>
                  <a:cxn ang="0">
                    <a:pos x="T10" y="T11"/>
                  </a:cxn>
                  <a:cxn ang="0">
                    <a:pos x="T12" y="T13"/>
                  </a:cxn>
                </a:cxnLst>
                <a:rect l="0" t="0" r="r" b="b"/>
                <a:pathLst>
                  <a:path w="1330" h="665">
                    <a:moveTo>
                      <a:pt x="665" y="59"/>
                    </a:moveTo>
                    <a:cubicBezTo>
                      <a:pt x="1000" y="59"/>
                      <a:pt x="1271" y="330"/>
                      <a:pt x="1271" y="665"/>
                    </a:cubicBezTo>
                    <a:cubicBezTo>
                      <a:pt x="1330" y="665"/>
                      <a:pt x="1330" y="665"/>
                      <a:pt x="1330" y="665"/>
                    </a:cubicBezTo>
                    <a:cubicBezTo>
                      <a:pt x="1330" y="298"/>
                      <a:pt x="1032" y="0"/>
                      <a:pt x="665" y="0"/>
                    </a:cubicBezTo>
                    <a:cubicBezTo>
                      <a:pt x="298" y="0"/>
                      <a:pt x="0" y="298"/>
                      <a:pt x="0" y="665"/>
                    </a:cubicBezTo>
                    <a:cubicBezTo>
                      <a:pt x="59" y="665"/>
                      <a:pt x="59" y="665"/>
                      <a:pt x="59" y="665"/>
                    </a:cubicBezTo>
                    <a:cubicBezTo>
                      <a:pt x="59" y="330"/>
                      <a:pt x="330" y="59"/>
                      <a:pt x="665" y="59"/>
                    </a:cubicBezTo>
                    <a:close/>
                  </a:path>
                </a:pathLst>
              </a:custGeom>
              <a:solidFill>
                <a:schemeClr val="tx1"/>
              </a:solid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sp>
            <p:nvSpPr>
              <p:cNvPr id="21" name="Oval 625"/>
              <p:cNvSpPr>
                <a:spLocks noChangeArrowheads="1"/>
              </p:cNvSpPr>
              <p:nvPr/>
            </p:nvSpPr>
            <p:spPr bwMode="auto">
              <a:xfrm>
                <a:off x="9739313" y="2820988"/>
                <a:ext cx="111125" cy="111125"/>
              </a:xfrm>
              <a:prstGeom prst="ellipse">
                <a:avLst/>
              </a:prstGeom>
              <a:grp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sp>
            <p:nvSpPr>
              <p:cNvPr id="22" name="Oval 626"/>
              <p:cNvSpPr>
                <a:spLocks noChangeArrowheads="1"/>
              </p:cNvSpPr>
              <p:nvPr/>
            </p:nvSpPr>
            <p:spPr bwMode="auto">
              <a:xfrm>
                <a:off x="10007601" y="2914650"/>
                <a:ext cx="109538" cy="111125"/>
              </a:xfrm>
              <a:prstGeom prst="ellipse">
                <a:avLst/>
              </a:prstGeom>
              <a:grp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sp>
            <p:nvSpPr>
              <p:cNvPr id="23" name="Oval 627"/>
              <p:cNvSpPr>
                <a:spLocks noChangeArrowheads="1"/>
              </p:cNvSpPr>
              <p:nvPr/>
            </p:nvSpPr>
            <p:spPr bwMode="auto">
              <a:xfrm>
                <a:off x="9471026" y="2914650"/>
                <a:ext cx="111125" cy="111125"/>
              </a:xfrm>
              <a:prstGeom prst="ellipse">
                <a:avLst/>
              </a:prstGeom>
              <a:grp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sp>
            <p:nvSpPr>
              <p:cNvPr id="24" name="Oval 628"/>
              <p:cNvSpPr>
                <a:spLocks noChangeArrowheads="1"/>
              </p:cNvSpPr>
              <p:nvPr/>
            </p:nvSpPr>
            <p:spPr bwMode="auto">
              <a:xfrm>
                <a:off x="10171113" y="3106738"/>
                <a:ext cx="111125" cy="111125"/>
              </a:xfrm>
              <a:prstGeom prst="ellipse">
                <a:avLst/>
              </a:prstGeom>
              <a:grp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sp>
            <p:nvSpPr>
              <p:cNvPr id="25" name="Oval 629"/>
              <p:cNvSpPr>
                <a:spLocks noChangeArrowheads="1"/>
              </p:cNvSpPr>
              <p:nvPr/>
            </p:nvSpPr>
            <p:spPr bwMode="auto">
              <a:xfrm>
                <a:off x="9305926" y="3106738"/>
                <a:ext cx="111125" cy="111125"/>
              </a:xfrm>
              <a:prstGeom prst="ellipse">
                <a:avLst/>
              </a:prstGeom>
              <a:grp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sp>
            <p:nvSpPr>
              <p:cNvPr id="26" name="Freeform 630"/>
              <p:cNvSpPr>
                <a:spLocks noEditPoints="1"/>
              </p:cNvSpPr>
              <p:nvPr/>
            </p:nvSpPr>
            <p:spPr bwMode="auto">
              <a:xfrm>
                <a:off x="9518651" y="3167063"/>
                <a:ext cx="365125" cy="361950"/>
              </a:xfrm>
              <a:custGeom>
                <a:avLst/>
                <a:gdLst>
                  <a:gd name="T0" fmla="*/ 229 w 369"/>
                  <a:gd name="T1" fmla="*/ 0 h 367"/>
                  <a:gd name="T2" fmla="*/ 266 w 369"/>
                  <a:gd name="T3" fmla="*/ 37 h 367"/>
                  <a:gd name="T4" fmla="*/ 104 w 369"/>
                  <a:gd name="T5" fmla="*/ 199 h 367"/>
                  <a:gd name="T6" fmla="*/ 86 w 369"/>
                  <a:gd name="T7" fmla="*/ 197 h 367"/>
                  <a:gd name="T8" fmla="*/ 0 w 369"/>
                  <a:gd name="T9" fmla="*/ 282 h 367"/>
                  <a:gd name="T10" fmla="*/ 86 w 369"/>
                  <a:gd name="T11" fmla="*/ 367 h 367"/>
                  <a:gd name="T12" fmla="*/ 171 w 369"/>
                  <a:gd name="T13" fmla="*/ 282 h 367"/>
                  <a:gd name="T14" fmla="*/ 169 w 369"/>
                  <a:gd name="T15" fmla="*/ 266 h 367"/>
                  <a:gd name="T16" fmla="*/ 332 w 369"/>
                  <a:gd name="T17" fmla="*/ 103 h 367"/>
                  <a:gd name="T18" fmla="*/ 369 w 369"/>
                  <a:gd name="T19" fmla="*/ 139 h 367"/>
                  <a:gd name="T20" fmla="*/ 369 w 369"/>
                  <a:gd name="T21" fmla="*/ 0 h 367"/>
                  <a:gd name="T22" fmla="*/ 229 w 369"/>
                  <a:gd name="T23" fmla="*/ 0 h 367"/>
                  <a:gd name="T24" fmla="*/ 86 w 369"/>
                  <a:gd name="T25" fmla="*/ 335 h 367"/>
                  <a:gd name="T26" fmla="*/ 32 w 369"/>
                  <a:gd name="T27" fmla="*/ 282 h 367"/>
                  <a:gd name="T28" fmla="*/ 86 w 369"/>
                  <a:gd name="T29" fmla="*/ 229 h 367"/>
                  <a:gd name="T30" fmla="*/ 139 w 369"/>
                  <a:gd name="T31" fmla="*/ 282 h 367"/>
                  <a:gd name="T32" fmla="*/ 86 w 369"/>
                  <a:gd name="T33" fmla="*/ 335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9" h="367">
                    <a:moveTo>
                      <a:pt x="229" y="0"/>
                    </a:moveTo>
                    <a:cubicBezTo>
                      <a:pt x="266" y="37"/>
                      <a:pt x="266" y="37"/>
                      <a:pt x="266" y="37"/>
                    </a:cubicBezTo>
                    <a:cubicBezTo>
                      <a:pt x="104" y="199"/>
                      <a:pt x="104" y="199"/>
                      <a:pt x="104" y="199"/>
                    </a:cubicBezTo>
                    <a:cubicBezTo>
                      <a:pt x="98" y="197"/>
                      <a:pt x="92" y="197"/>
                      <a:pt x="86" y="197"/>
                    </a:cubicBezTo>
                    <a:cubicBezTo>
                      <a:pt x="39" y="197"/>
                      <a:pt x="0" y="235"/>
                      <a:pt x="0" y="282"/>
                    </a:cubicBezTo>
                    <a:cubicBezTo>
                      <a:pt x="0" y="329"/>
                      <a:pt x="39" y="367"/>
                      <a:pt x="86" y="367"/>
                    </a:cubicBezTo>
                    <a:cubicBezTo>
                      <a:pt x="133" y="367"/>
                      <a:pt x="171" y="329"/>
                      <a:pt x="171" y="282"/>
                    </a:cubicBezTo>
                    <a:cubicBezTo>
                      <a:pt x="171" y="276"/>
                      <a:pt x="170" y="271"/>
                      <a:pt x="169" y="266"/>
                    </a:cubicBezTo>
                    <a:cubicBezTo>
                      <a:pt x="332" y="103"/>
                      <a:pt x="332" y="103"/>
                      <a:pt x="332" y="103"/>
                    </a:cubicBezTo>
                    <a:cubicBezTo>
                      <a:pt x="369" y="139"/>
                      <a:pt x="369" y="139"/>
                      <a:pt x="369" y="139"/>
                    </a:cubicBezTo>
                    <a:cubicBezTo>
                      <a:pt x="369" y="0"/>
                      <a:pt x="369" y="0"/>
                      <a:pt x="369" y="0"/>
                    </a:cubicBezTo>
                    <a:lnTo>
                      <a:pt x="229" y="0"/>
                    </a:lnTo>
                    <a:close/>
                    <a:moveTo>
                      <a:pt x="86" y="335"/>
                    </a:moveTo>
                    <a:cubicBezTo>
                      <a:pt x="56" y="335"/>
                      <a:pt x="32" y="311"/>
                      <a:pt x="32" y="282"/>
                    </a:cubicBezTo>
                    <a:cubicBezTo>
                      <a:pt x="32" y="253"/>
                      <a:pt x="56" y="229"/>
                      <a:pt x="86" y="229"/>
                    </a:cubicBezTo>
                    <a:cubicBezTo>
                      <a:pt x="115" y="229"/>
                      <a:pt x="139" y="253"/>
                      <a:pt x="139" y="282"/>
                    </a:cubicBezTo>
                    <a:cubicBezTo>
                      <a:pt x="139" y="311"/>
                      <a:pt x="115" y="335"/>
                      <a:pt x="86" y="335"/>
                    </a:cubicBezTo>
                    <a:close/>
                  </a:path>
                </a:pathLst>
              </a:custGeom>
              <a:solidFill>
                <a:schemeClr val="tx1"/>
              </a:solidFill>
              <a:ln>
                <a:solidFill>
                  <a:schemeClr val="tx1"/>
                </a:solidFill>
              </a:ln>
              <a:scene3d>
                <a:camera prst="orthographicFront">
                  <a:rot lat="0" lon="0" rev="7800000"/>
                </a:camera>
                <a:lightRig rig="threePt" dir="t"/>
              </a:scene3d>
              <a:extLst/>
            </p:spPr>
            <p:txBody>
              <a:bodyPr vert="horz" wrap="square" lIns="91440" tIns="45720" rIns="91440" bIns="45720" numCol="1" anchor="t" anchorCtr="0" compatLnSpc="1">
                <a:prstTxWarp prst="textNoShape">
                  <a:avLst/>
                </a:prstTxWarp>
              </a:bodyPr>
              <a:lstStyle/>
              <a:p>
                <a:endParaRPr lang="en-US"/>
              </a:p>
            </p:txBody>
          </p:sp>
          <p:sp>
            <p:nvSpPr>
              <p:cNvPr id="27" name="Freeform 631"/>
              <p:cNvSpPr>
                <a:spLocks noEditPoints="1"/>
              </p:cNvSpPr>
              <p:nvPr/>
            </p:nvSpPr>
            <p:spPr bwMode="auto">
              <a:xfrm>
                <a:off x="9261476" y="3314700"/>
                <a:ext cx="1071563" cy="53975"/>
              </a:xfrm>
              <a:custGeom>
                <a:avLst/>
                <a:gdLst>
                  <a:gd name="T0" fmla="*/ 56 w 1085"/>
                  <a:gd name="T1" fmla="*/ 0 h 56"/>
                  <a:gd name="T2" fmla="*/ 0 w 1085"/>
                  <a:gd name="T3" fmla="*/ 56 h 56"/>
                  <a:gd name="T4" fmla="*/ 112 w 1085"/>
                  <a:gd name="T5" fmla="*/ 56 h 56"/>
                  <a:gd name="T6" fmla="*/ 56 w 1085"/>
                  <a:gd name="T7" fmla="*/ 0 h 56"/>
                  <a:gd name="T8" fmla="*/ 1029 w 1085"/>
                  <a:gd name="T9" fmla="*/ 0 h 56"/>
                  <a:gd name="T10" fmla="*/ 973 w 1085"/>
                  <a:gd name="T11" fmla="*/ 56 h 56"/>
                  <a:gd name="T12" fmla="*/ 1085 w 1085"/>
                  <a:gd name="T13" fmla="*/ 56 h 56"/>
                  <a:gd name="T14" fmla="*/ 1029 w 1085"/>
                  <a:gd name="T15" fmla="*/ 0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5" h="56">
                    <a:moveTo>
                      <a:pt x="56" y="0"/>
                    </a:moveTo>
                    <a:cubicBezTo>
                      <a:pt x="25" y="0"/>
                      <a:pt x="0" y="25"/>
                      <a:pt x="0" y="56"/>
                    </a:cubicBezTo>
                    <a:cubicBezTo>
                      <a:pt x="112" y="56"/>
                      <a:pt x="112" y="56"/>
                      <a:pt x="112" y="56"/>
                    </a:cubicBezTo>
                    <a:cubicBezTo>
                      <a:pt x="112" y="25"/>
                      <a:pt x="87" y="0"/>
                      <a:pt x="56" y="0"/>
                    </a:cubicBezTo>
                    <a:close/>
                    <a:moveTo>
                      <a:pt x="1029" y="0"/>
                    </a:moveTo>
                    <a:cubicBezTo>
                      <a:pt x="998" y="0"/>
                      <a:pt x="973" y="25"/>
                      <a:pt x="973" y="56"/>
                    </a:cubicBezTo>
                    <a:cubicBezTo>
                      <a:pt x="1085" y="56"/>
                      <a:pt x="1085" y="56"/>
                      <a:pt x="1085" y="56"/>
                    </a:cubicBezTo>
                    <a:cubicBezTo>
                      <a:pt x="1085" y="25"/>
                      <a:pt x="1060" y="0"/>
                      <a:pt x="1029" y="0"/>
                    </a:cubicBezTo>
                    <a:close/>
                  </a:path>
                </a:pathLst>
              </a:custGeom>
              <a:grp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grpSp>
      </p:grpSp>
      <p:grpSp>
        <p:nvGrpSpPr>
          <p:cNvPr id="28" name="Group 27"/>
          <p:cNvGrpSpPr/>
          <p:nvPr>
            <p:custDataLst>
              <p:tags r:id="rId8"/>
            </p:custDataLst>
          </p:nvPr>
        </p:nvGrpSpPr>
        <p:grpSpPr>
          <a:xfrm>
            <a:off x="6695772" y="3072781"/>
            <a:ext cx="1410051" cy="1409685"/>
            <a:chOff x="8918194" y="2115840"/>
            <a:chExt cx="1879579" cy="1879580"/>
          </a:xfrm>
          <a:solidFill>
            <a:schemeClr val="accent5"/>
          </a:solidFill>
        </p:grpSpPr>
        <p:sp>
          <p:nvSpPr>
            <p:cNvPr id="29" name="Rectangle 28"/>
            <p:cNvSpPr/>
            <p:nvPr/>
          </p:nvSpPr>
          <p:spPr bwMode="auto">
            <a:xfrm>
              <a:off x="8918194" y="2115840"/>
              <a:ext cx="1879579" cy="187958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37" fontAlgn="base">
                <a:spcBef>
                  <a:spcPct val="0"/>
                </a:spcBef>
                <a:spcAft>
                  <a:spcPct val="0"/>
                </a:spcAft>
              </a:pPr>
              <a:endParaRPr lang="en-US"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30" name="Group 78"/>
            <p:cNvGrpSpPr/>
            <p:nvPr/>
          </p:nvGrpSpPr>
          <p:grpSpPr>
            <a:xfrm>
              <a:off x="9144001" y="2711451"/>
              <a:ext cx="1311275" cy="817562"/>
              <a:chOff x="9144001" y="2711451"/>
              <a:chExt cx="1311275" cy="817562"/>
            </a:xfrm>
            <a:grpFill/>
          </p:grpSpPr>
          <p:sp>
            <p:nvSpPr>
              <p:cNvPr id="31" name="Freeform 624"/>
              <p:cNvSpPr>
                <a:spLocks/>
              </p:cNvSpPr>
              <p:nvPr/>
            </p:nvSpPr>
            <p:spPr bwMode="auto">
              <a:xfrm>
                <a:off x="9144001" y="2711451"/>
                <a:ext cx="1311275" cy="657225"/>
              </a:xfrm>
              <a:custGeom>
                <a:avLst/>
                <a:gdLst>
                  <a:gd name="T0" fmla="*/ 665 w 1330"/>
                  <a:gd name="T1" fmla="*/ 59 h 665"/>
                  <a:gd name="T2" fmla="*/ 1271 w 1330"/>
                  <a:gd name="T3" fmla="*/ 665 h 665"/>
                  <a:gd name="T4" fmla="*/ 1330 w 1330"/>
                  <a:gd name="T5" fmla="*/ 665 h 665"/>
                  <a:gd name="T6" fmla="*/ 665 w 1330"/>
                  <a:gd name="T7" fmla="*/ 0 h 665"/>
                  <a:gd name="T8" fmla="*/ 0 w 1330"/>
                  <a:gd name="T9" fmla="*/ 665 h 665"/>
                  <a:gd name="T10" fmla="*/ 59 w 1330"/>
                  <a:gd name="T11" fmla="*/ 665 h 665"/>
                  <a:gd name="T12" fmla="*/ 665 w 1330"/>
                  <a:gd name="T13" fmla="*/ 59 h 665"/>
                </a:gdLst>
                <a:ahLst/>
                <a:cxnLst>
                  <a:cxn ang="0">
                    <a:pos x="T0" y="T1"/>
                  </a:cxn>
                  <a:cxn ang="0">
                    <a:pos x="T2" y="T3"/>
                  </a:cxn>
                  <a:cxn ang="0">
                    <a:pos x="T4" y="T5"/>
                  </a:cxn>
                  <a:cxn ang="0">
                    <a:pos x="T6" y="T7"/>
                  </a:cxn>
                  <a:cxn ang="0">
                    <a:pos x="T8" y="T9"/>
                  </a:cxn>
                  <a:cxn ang="0">
                    <a:pos x="T10" y="T11"/>
                  </a:cxn>
                  <a:cxn ang="0">
                    <a:pos x="T12" y="T13"/>
                  </a:cxn>
                </a:cxnLst>
                <a:rect l="0" t="0" r="r" b="b"/>
                <a:pathLst>
                  <a:path w="1330" h="665">
                    <a:moveTo>
                      <a:pt x="665" y="59"/>
                    </a:moveTo>
                    <a:cubicBezTo>
                      <a:pt x="1000" y="59"/>
                      <a:pt x="1271" y="330"/>
                      <a:pt x="1271" y="665"/>
                    </a:cubicBezTo>
                    <a:cubicBezTo>
                      <a:pt x="1330" y="665"/>
                      <a:pt x="1330" y="665"/>
                      <a:pt x="1330" y="665"/>
                    </a:cubicBezTo>
                    <a:cubicBezTo>
                      <a:pt x="1330" y="298"/>
                      <a:pt x="1032" y="0"/>
                      <a:pt x="665" y="0"/>
                    </a:cubicBezTo>
                    <a:cubicBezTo>
                      <a:pt x="298" y="0"/>
                      <a:pt x="0" y="298"/>
                      <a:pt x="0" y="665"/>
                    </a:cubicBezTo>
                    <a:cubicBezTo>
                      <a:pt x="59" y="665"/>
                      <a:pt x="59" y="665"/>
                      <a:pt x="59" y="665"/>
                    </a:cubicBezTo>
                    <a:cubicBezTo>
                      <a:pt x="59" y="330"/>
                      <a:pt x="330" y="59"/>
                      <a:pt x="665" y="59"/>
                    </a:cubicBezTo>
                    <a:close/>
                  </a:path>
                </a:pathLst>
              </a:custGeom>
              <a:solidFill>
                <a:schemeClr val="tx1"/>
              </a:solid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sp>
            <p:nvSpPr>
              <p:cNvPr id="32" name="Oval 625"/>
              <p:cNvSpPr>
                <a:spLocks noChangeArrowheads="1"/>
              </p:cNvSpPr>
              <p:nvPr/>
            </p:nvSpPr>
            <p:spPr bwMode="auto">
              <a:xfrm>
                <a:off x="9739313" y="2820988"/>
                <a:ext cx="111125" cy="111125"/>
              </a:xfrm>
              <a:prstGeom prst="ellipse">
                <a:avLst/>
              </a:prstGeom>
              <a:grp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sp>
            <p:nvSpPr>
              <p:cNvPr id="33" name="Oval 626"/>
              <p:cNvSpPr>
                <a:spLocks noChangeArrowheads="1"/>
              </p:cNvSpPr>
              <p:nvPr/>
            </p:nvSpPr>
            <p:spPr bwMode="auto">
              <a:xfrm>
                <a:off x="10007601" y="2914650"/>
                <a:ext cx="109538" cy="111125"/>
              </a:xfrm>
              <a:prstGeom prst="ellipse">
                <a:avLst/>
              </a:prstGeom>
              <a:grp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sp>
            <p:nvSpPr>
              <p:cNvPr id="34" name="Oval 627"/>
              <p:cNvSpPr>
                <a:spLocks noChangeArrowheads="1"/>
              </p:cNvSpPr>
              <p:nvPr/>
            </p:nvSpPr>
            <p:spPr bwMode="auto">
              <a:xfrm>
                <a:off x="9471026" y="2914650"/>
                <a:ext cx="111125" cy="111125"/>
              </a:xfrm>
              <a:prstGeom prst="ellipse">
                <a:avLst/>
              </a:prstGeom>
              <a:grp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sp>
            <p:nvSpPr>
              <p:cNvPr id="35" name="Oval 628"/>
              <p:cNvSpPr>
                <a:spLocks noChangeArrowheads="1"/>
              </p:cNvSpPr>
              <p:nvPr/>
            </p:nvSpPr>
            <p:spPr bwMode="auto">
              <a:xfrm>
                <a:off x="10171113" y="3106738"/>
                <a:ext cx="111125" cy="111125"/>
              </a:xfrm>
              <a:prstGeom prst="ellipse">
                <a:avLst/>
              </a:prstGeom>
              <a:grp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sp>
            <p:nvSpPr>
              <p:cNvPr id="36" name="Oval 629"/>
              <p:cNvSpPr>
                <a:spLocks noChangeArrowheads="1"/>
              </p:cNvSpPr>
              <p:nvPr/>
            </p:nvSpPr>
            <p:spPr bwMode="auto">
              <a:xfrm>
                <a:off x="9305926" y="3106738"/>
                <a:ext cx="111125" cy="111125"/>
              </a:xfrm>
              <a:prstGeom prst="ellipse">
                <a:avLst/>
              </a:prstGeom>
              <a:grp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sp>
            <p:nvSpPr>
              <p:cNvPr id="37" name="Freeform 630"/>
              <p:cNvSpPr>
                <a:spLocks noEditPoints="1"/>
              </p:cNvSpPr>
              <p:nvPr/>
            </p:nvSpPr>
            <p:spPr bwMode="auto">
              <a:xfrm>
                <a:off x="9518651" y="3167063"/>
                <a:ext cx="365125" cy="361950"/>
              </a:xfrm>
              <a:custGeom>
                <a:avLst/>
                <a:gdLst>
                  <a:gd name="T0" fmla="*/ 229 w 369"/>
                  <a:gd name="T1" fmla="*/ 0 h 367"/>
                  <a:gd name="T2" fmla="*/ 266 w 369"/>
                  <a:gd name="T3" fmla="*/ 37 h 367"/>
                  <a:gd name="T4" fmla="*/ 104 w 369"/>
                  <a:gd name="T5" fmla="*/ 199 h 367"/>
                  <a:gd name="T6" fmla="*/ 86 w 369"/>
                  <a:gd name="T7" fmla="*/ 197 h 367"/>
                  <a:gd name="T8" fmla="*/ 0 w 369"/>
                  <a:gd name="T9" fmla="*/ 282 h 367"/>
                  <a:gd name="T10" fmla="*/ 86 w 369"/>
                  <a:gd name="T11" fmla="*/ 367 h 367"/>
                  <a:gd name="T12" fmla="*/ 171 w 369"/>
                  <a:gd name="T13" fmla="*/ 282 h 367"/>
                  <a:gd name="T14" fmla="*/ 169 w 369"/>
                  <a:gd name="T15" fmla="*/ 266 h 367"/>
                  <a:gd name="T16" fmla="*/ 332 w 369"/>
                  <a:gd name="T17" fmla="*/ 103 h 367"/>
                  <a:gd name="T18" fmla="*/ 369 w 369"/>
                  <a:gd name="T19" fmla="*/ 139 h 367"/>
                  <a:gd name="T20" fmla="*/ 369 w 369"/>
                  <a:gd name="T21" fmla="*/ 0 h 367"/>
                  <a:gd name="T22" fmla="*/ 229 w 369"/>
                  <a:gd name="T23" fmla="*/ 0 h 367"/>
                  <a:gd name="T24" fmla="*/ 86 w 369"/>
                  <a:gd name="T25" fmla="*/ 335 h 367"/>
                  <a:gd name="T26" fmla="*/ 32 w 369"/>
                  <a:gd name="T27" fmla="*/ 282 h 367"/>
                  <a:gd name="T28" fmla="*/ 86 w 369"/>
                  <a:gd name="T29" fmla="*/ 229 h 367"/>
                  <a:gd name="T30" fmla="*/ 139 w 369"/>
                  <a:gd name="T31" fmla="*/ 282 h 367"/>
                  <a:gd name="T32" fmla="*/ 86 w 369"/>
                  <a:gd name="T33" fmla="*/ 335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9" h="367">
                    <a:moveTo>
                      <a:pt x="229" y="0"/>
                    </a:moveTo>
                    <a:cubicBezTo>
                      <a:pt x="266" y="37"/>
                      <a:pt x="266" y="37"/>
                      <a:pt x="266" y="37"/>
                    </a:cubicBezTo>
                    <a:cubicBezTo>
                      <a:pt x="104" y="199"/>
                      <a:pt x="104" y="199"/>
                      <a:pt x="104" y="199"/>
                    </a:cubicBezTo>
                    <a:cubicBezTo>
                      <a:pt x="98" y="197"/>
                      <a:pt x="92" y="197"/>
                      <a:pt x="86" y="197"/>
                    </a:cubicBezTo>
                    <a:cubicBezTo>
                      <a:pt x="39" y="197"/>
                      <a:pt x="0" y="235"/>
                      <a:pt x="0" y="282"/>
                    </a:cubicBezTo>
                    <a:cubicBezTo>
                      <a:pt x="0" y="329"/>
                      <a:pt x="39" y="367"/>
                      <a:pt x="86" y="367"/>
                    </a:cubicBezTo>
                    <a:cubicBezTo>
                      <a:pt x="133" y="367"/>
                      <a:pt x="171" y="329"/>
                      <a:pt x="171" y="282"/>
                    </a:cubicBezTo>
                    <a:cubicBezTo>
                      <a:pt x="171" y="276"/>
                      <a:pt x="170" y="271"/>
                      <a:pt x="169" y="266"/>
                    </a:cubicBezTo>
                    <a:cubicBezTo>
                      <a:pt x="332" y="103"/>
                      <a:pt x="332" y="103"/>
                      <a:pt x="332" y="103"/>
                    </a:cubicBezTo>
                    <a:cubicBezTo>
                      <a:pt x="369" y="139"/>
                      <a:pt x="369" y="139"/>
                      <a:pt x="369" y="139"/>
                    </a:cubicBezTo>
                    <a:cubicBezTo>
                      <a:pt x="369" y="0"/>
                      <a:pt x="369" y="0"/>
                      <a:pt x="369" y="0"/>
                    </a:cubicBezTo>
                    <a:lnTo>
                      <a:pt x="229" y="0"/>
                    </a:lnTo>
                    <a:close/>
                    <a:moveTo>
                      <a:pt x="86" y="335"/>
                    </a:moveTo>
                    <a:cubicBezTo>
                      <a:pt x="56" y="335"/>
                      <a:pt x="32" y="311"/>
                      <a:pt x="32" y="282"/>
                    </a:cubicBezTo>
                    <a:cubicBezTo>
                      <a:pt x="32" y="253"/>
                      <a:pt x="56" y="229"/>
                      <a:pt x="86" y="229"/>
                    </a:cubicBezTo>
                    <a:cubicBezTo>
                      <a:pt x="115" y="229"/>
                      <a:pt x="139" y="253"/>
                      <a:pt x="139" y="282"/>
                    </a:cubicBezTo>
                    <a:cubicBezTo>
                      <a:pt x="139" y="311"/>
                      <a:pt x="115" y="335"/>
                      <a:pt x="86" y="335"/>
                    </a:cubicBezTo>
                    <a:close/>
                  </a:path>
                </a:pathLst>
              </a:custGeom>
              <a:solidFill>
                <a:schemeClr val="tx1"/>
              </a:solidFill>
              <a:ln>
                <a:solidFill>
                  <a:schemeClr val="tx1"/>
                </a:solidFill>
              </a:ln>
              <a:scene3d>
                <a:camera prst="orthographicFront">
                  <a:rot lat="0" lon="0" rev="7800000"/>
                </a:camera>
                <a:lightRig rig="threePt" dir="t"/>
              </a:scene3d>
              <a:extLst/>
            </p:spPr>
            <p:txBody>
              <a:bodyPr vert="horz" wrap="square" lIns="91440" tIns="45720" rIns="91440" bIns="45720" numCol="1" anchor="t" anchorCtr="0" compatLnSpc="1">
                <a:prstTxWarp prst="textNoShape">
                  <a:avLst/>
                </a:prstTxWarp>
              </a:bodyPr>
              <a:lstStyle/>
              <a:p>
                <a:endParaRPr lang="en-US"/>
              </a:p>
            </p:txBody>
          </p:sp>
          <p:sp>
            <p:nvSpPr>
              <p:cNvPr id="38" name="Freeform 631"/>
              <p:cNvSpPr>
                <a:spLocks noEditPoints="1"/>
              </p:cNvSpPr>
              <p:nvPr/>
            </p:nvSpPr>
            <p:spPr bwMode="auto">
              <a:xfrm>
                <a:off x="9261476" y="3314700"/>
                <a:ext cx="1071563" cy="53975"/>
              </a:xfrm>
              <a:custGeom>
                <a:avLst/>
                <a:gdLst>
                  <a:gd name="T0" fmla="*/ 56 w 1085"/>
                  <a:gd name="T1" fmla="*/ 0 h 56"/>
                  <a:gd name="T2" fmla="*/ 0 w 1085"/>
                  <a:gd name="T3" fmla="*/ 56 h 56"/>
                  <a:gd name="T4" fmla="*/ 112 w 1085"/>
                  <a:gd name="T5" fmla="*/ 56 h 56"/>
                  <a:gd name="T6" fmla="*/ 56 w 1085"/>
                  <a:gd name="T7" fmla="*/ 0 h 56"/>
                  <a:gd name="T8" fmla="*/ 1029 w 1085"/>
                  <a:gd name="T9" fmla="*/ 0 h 56"/>
                  <a:gd name="T10" fmla="*/ 973 w 1085"/>
                  <a:gd name="T11" fmla="*/ 56 h 56"/>
                  <a:gd name="T12" fmla="*/ 1085 w 1085"/>
                  <a:gd name="T13" fmla="*/ 56 h 56"/>
                  <a:gd name="T14" fmla="*/ 1029 w 1085"/>
                  <a:gd name="T15" fmla="*/ 0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5" h="56">
                    <a:moveTo>
                      <a:pt x="56" y="0"/>
                    </a:moveTo>
                    <a:cubicBezTo>
                      <a:pt x="25" y="0"/>
                      <a:pt x="0" y="25"/>
                      <a:pt x="0" y="56"/>
                    </a:cubicBezTo>
                    <a:cubicBezTo>
                      <a:pt x="112" y="56"/>
                      <a:pt x="112" y="56"/>
                      <a:pt x="112" y="56"/>
                    </a:cubicBezTo>
                    <a:cubicBezTo>
                      <a:pt x="112" y="25"/>
                      <a:pt x="87" y="0"/>
                      <a:pt x="56" y="0"/>
                    </a:cubicBezTo>
                    <a:close/>
                    <a:moveTo>
                      <a:pt x="1029" y="0"/>
                    </a:moveTo>
                    <a:cubicBezTo>
                      <a:pt x="998" y="0"/>
                      <a:pt x="973" y="25"/>
                      <a:pt x="973" y="56"/>
                    </a:cubicBezTo>
                    <a:cubicBezTo>
                      <a:pt x="1085" y="56"/>
                      <a:pt x="1085" y="56"/>
                      <a:pt x="1085" y="56"/>
                    </a:cubicBezTo>
                    <a:cubicBezTo>
                      <a:pt x="1085" y="25"/>
                      <a:pt x="1060" y="0"/>
                      <a:pt x="1029" y="0"/>
                    </a:cubicBezTo>
                    <a:close/>
                  </a:path>
                </a:pathLst>
              </a:custGeom>
              <a:grp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grpSp>
      </p:grpSp>
      <p:grpSp>
        <p:nvGrpSpPr>
          <p:cNvPr id="39" name="Group 38"/>
          <p:cNvGrpSpPr/>
          <p:nvPr>
            <p:custDataLst>
              <p:tags r:id="rId9"/>
            </p:custDataLst>
          </p:nvPr>
        </p:nvGrpSpPr>
        <p:grpSpPr>
          <a:xfrm>
            <a:off x="5206578" y="1584199"/>
            <a:ext cx="1410051" cy="1409685"/>
            <a:chOff x="6936994" y="4097040"/>
            <a:chExt cx="1879579" cy="1879580"/>
          </a:xfrm>
          <a:solidFill>
            <a:schemeClr val="accent6"/>
          </a:solidFill>
        </p:grpSpPr>
        <p:sp>
          <p:nvSpPr>
            <p:cNvPr id="40" name="Rectangle 39"/>
            <p:cNvSpPr/>
            <p:nvPr/>
          </p:nvSpPr>
          <p:spPr bwMode="auto">
            <a:xfrm>
              <a:off x="6936994" y="4097040"/>
              <a:ext cx="1879579" cy="187958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37" fontAlgn="base">
                <a:spcBef>
                  <a:spcPct val="0"/>
                </a:spcBef>
                <a:spcAft>
                  <a:spcPct val="0"/>
                </a:spcAft>
              </a:pPr>
              <a:endParaRPr lang="en-US"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41" name="Group 165"/>
            <p:cNvGrpSpPr/>
            <p:nvPr/>
          </p:nvGrpSpPr>
          <p:grpSpPr>
            <a:xfrm>
              <a:off x="7162801" y="4692651"/>
              <a:ext cx="1311275" cy="722312"/>
              <a:chOff x="7162801" y="4692651"/>
              <a:chExt cx="1311275" cy="722312"/>
            </a:xfrm>
            <a:grpFill/>
          </p:grpSpPr>
          <p:sp>
            <p:nvSpPr>
              <p:cNvPr id="42" name="Freeform 624"/>
              <p:cNvSpPr>
                <a:spLocks/>
              </p:cNvSpPr>
              <p:nvPr/>
            </p:nvSpPr>
            <p:spPr bwMode="auto">
              <a:xfrm>
                <a:off x="7162801" y="4692651"/>
                <a:ext cx="1311275" cy="657225"/>
              </a:xfrm>
              <a:custGeom>
                <a:avLst/>
                <a:gdLst>
                  <a:gd name="T0" fmla="*/ 665 w 1330"/>
                  <a:gd name="T1" fmla="*/ 59 h 665"/>
                  <a:gd name="T2" fmla="*/ 1271 w 1330"/>
                  <a:gd name="T3" fmla="*/ 665 h 665"/>
                  <a:gd name="T4" fmla="*/ 1330 w 1330"/>
                  <a:gd name="T5" fmla="*/ 665 h 665"/>
                  <a:gd name="T6" fmla="*/ 665 w 1330"/>
                  <a:gd name="T7" fmla="*/ 0 h 665"/>
                  <a:gd name="T8" fmla="*/ 0 w 1330"/>
                  <a:gd name="T9" fmla="*/ 665 h 665"/>
                  <a:gd name="T10" fmla="*/ 59 w 1330"/>
                  <a:gd name="T11" fmla="*/ 665 h 665"/>
                  <a:gd name="T12" fmla="*/ 665 w 1330"/>
                  <a:gd name="T13" fmla="*/ 59 h 665"/>
                </a:gdLst>
                <a:ahLst/>
                <a:cxnLst>
                  <a:cxn ang="0">
                    <a:pos x="T0" y="T1"/>
                  </a:cxn>
                  <a:cxn ang="0">
                    <a:pos x="T2" y="T3"/>
                  </a:cxn>
                  <a:cxn ang="0">
                    <a:pos x="T4" y="T5"/>
                  </a:cxn>
                  <a:cxn ang="0">
                    <a:pos x="T6" y="T7"/>
                  </a:cxn>
                  <a:cxn ang="0">
                    <a:pos x="T8" y="T9"/>
                  </a:cxn>
                  <a:cxn ang="0">
                    <a:pos x="T10" y="T11"/>
                  </a:cxn>
                  <a:cxn ang="0">
                    <a:pos x="T12" y="T13"/>
                  </a:cxn>
                </a:cxnLst>
                <a:rect l="0" t="0" r="r" b="b"/>
                <a:pathLst>
                  <a:path w="1330" h="665">
                    <a:moveTo>
                      <a:pt x="665" y="59"/>
                    </a:moveTo>
                    <a:cubicBezTo>
                      <a:pt x="1000" y="59"/>
                      <a:pt x="1271" y="330"/>
                      <a:pt x="1271" y="665"/>
                    </a:cubicBezTo>
                    <a:cubicBezTo>
                      <a:pt x="1330" y="665"/>
                      <a:pt x="1330" y="665"/>
                      <a:pt x="1330" y="665"/>
                    </a:cubicBezTo>
                    <a:cubicBezTo>
                      <a:pt x="1330" y="298"/>
                      <a:pt x="1032" y="0"/>
                      <a:pt x="665" y="0"/>
                    </a:cubicBezTo>
                    <a:cubicBezTo>
                      <a:pt x="298" y="0"/>
                      <a:pt x="0" y="298"/>
                      <a:pt x="0" y="665"/>
                    </a:cubicBezTo>
                    <a:cubicBezTo>
                      <a:pt x="59" y="665"/>
                      <a:pt x="59" y="665"/>
                      <a:pt x="59" y="665"/>
                    </a:cubicBezTo>
                    <a:cubicBezTo>
                      <a:pt x="59" y="330"/>
                      <a:pt x="330" y="59"/>
                      <a:pt x="665" y="59"/>
                    </a:cubicBezTo>
                    <a:close/>
                  </a:path>
                </a:pathLst>
              </a:custGeom>
              <a:solidFill>
                <a:schemeClr val="tx1"/>
              </a:solid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sp>
            <p:nvSpPr>
              <p:cNvPr id="43" name="Oval 625"/>
              <p:cNvSpPr>
                <a:spLocks noChangeArrowheads="1"/>
              </p:cNvSpPr>
              <p:nvPr/>
            </p:nvSpPr>
            <p:spPr bwMode="auto">
              <a:xfrm>
                <a:off x="7758113" y="4802188"/>
                <a:ext cx="111125" cy="111125"/>
              </a:xfrm>
              <a:prstGeom prst="ellipse">
                <a:avLst/>
              </a:prstGeom>
              <a:grp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sp>
            <p:nvSpPr>
              <p:cNvPr id="44" name="Oval 626"/>
              <p:cNvSpPr>
                <a:spLocks noChangeArrowheads="1"/>
              </p:cNvSpPr>
              <p:nvPr/>
            </p:nvSpPr>
            <p:spPr bwMode="auto">
              <a:xfrm>
                <a:off x="8026401" y="4895850"/>
                <a:ext cx="109538" cy="111125"/>
              </a:xfrm>
              <a:prstGeom prst="ellipse">
                <a:avLst/>
              </a:prstGeom>
              <a:grp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sp>
            <p:nvSpPr>
              <p:cNvPr id="45" name="Oval 627"/>
              <p:cNvSpPr>
                <a:spLocks noChangeArrowheads="1"/>
              </p:cNvSpPr>
              <p:nvPr/>
            </p:nvSpPr>
            <p:spPr bwMode="auto">
              <a:xfrm>
                <a:off x="7489826" y="4895850"/>
                <a:ext cx="111125" cy="111125"/>
              </a:xfrm>
              <a:prstGeom prst="ellipse">
                <a:avLst/>
              </a:prstGeom>
              <a:grp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sp>
            <p:nvSpPr>
              <p:cNvPr id="46" name="Oval 628"/>
              <p:cNvSpPr>
                <a:spLocks noChangeArrowheads="1"/>
              </p:cNvSpPr>
              <p:nvPr/>
            </p:nvSpPr>
            <p:spPr bwMode="auto">
              <a:xfrm>
                <a:off x="8189913" y="5087938"/>
                <a:ext cx="111125" cy="111125"/>
              </a:xfrm>
              <a:prstGeom prst="ellipse">
                <a:avLst/>
              </a:prstGeom>
              <a:grp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sp>
            <p:nvSpPr>
              <p:cNvPr id="47" name="Oval 629"/>
              <p:cNvSpPr>
                <a:spLocks noChangeArrowheads="1"/>
              </p:cNvSpPr>
              <p:nvPr/>
            </p:nvSpPr>
            <p:spPr bwMode="auto">
              <a:xfrm>
                <a:off x="7324726" y="5087938"/>
                <a:ext cx="111125" cy="111125"/>
              </a:xfrm>
              <a:prstGeom prst="ellipse">
                <a:avLst/>
              </a:prstGeom>
              <a:grp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sp>
            <p:nvSpPr>
              <p:cNvPr id="48" name="Freeform 630"/>
              <p:cNvSpPr>
                <a:spLocks noEditPoints="1"/>
              </p:cNvSpPr>
              <p:nvPr/>
            </p:nvSpPr>
            <p:spPr bwMode="auto">
              <a:xfrm>
                <a:off x="7613651" y="5053013"/>
                <a:ext cx="365125" cy="361950"/>
              </a:xfrm>
              <a:custGeom>
                <a:avLst/>
                <a:gdLst>
                  <a:gd name="T0" fmla="*/ 229 w 369"/>
                  <a:gd name="T1" fmla="*/ 0 h 367"/>
                  <a:gd name="T2" fmla="*/ 266 w 369"/>
                  <a:gd name="T3" fmla="*/ 37 h 367"/>
                  <a:gd name="T4" fmla="*/ 104 w 369"/>
                  <a:gd name="T5" fmla="*/ 199 h 367"/>
                  <a:gd name="T6" fmla="*/ 86 w 369"/>
                  <a:gd name="T7" fmla="*/ 197 h 367"/>
                  <a:gd name="T8" fmla="*/ 0 w 369"/>
                  <a:gd name="T9" fmla="*/ 282 h 367"/>
                  <a:gd name="T10" fmla="*/ 86 w 369"/>
                  <a:gd name="T11" fmla="*/ 367 h 367"/>
                  <a:gd name="T12" fmla="*/ 171 w 369"/>
                  <a:gd name="T13" fmla="*/ 282 h 367"/>
                  <a:gd name="T14" fmla="*/ 169 w 369"/>
                  <a:gd name="T15" fmla="*/ 266 h 367"/>
                  <a:gd name="T16" fmla="*/ 332 w 369"/>
                  <a:gd name="T17" fmla="*/ 103 h 367"/>
                  <a:gd name="T18" fmla="*/ 369 w 369"/>
                  <a:gd name="T19" fmla="*/ 139 h 367"/>
                  <a:gd name="T20" fmla="*/ 369 w 369"/>
                  <a:gd name="T21" fmla="*/ 0 h 367"/>
                  <a:gd name="T22" fmla="*/ 229 w 369"/>
                  <a:gd name="T23" fmla="*/ 0 h 367"/>
                  <a:gd name="T24" fmla="*/ 86 w 369"/>
                  <a:gd name="T25" fmla="*/ 335 h 367"/>
                  <a:gd name="T26" fmla="*/ 32 w 369"/>
                  <a:gd name="T27" fmla="*/ 282 h 367"/>
                  <a:gd name="T28" fmla="*/ 86 w 369"/>
                  <a:gd name="T29" fmla="*/ 229 h 367"/>
                  <a:gd name="T30" fmla="*/ 139 w 369"/>
                  <a:gd name="T31" fmla="*/ 282 h 367"/>
                  <a:gd name="T32" fmla="*/ 86 w 369"/>
                  <a:gd name="T33" fmla="*/ 335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9" h="367">
                    <a:moveTo>
                      <a:pt x="229" y="0"/>
                    </a:moveTo>
                    <a:cubicBezTo>
                      <a:pt x="266" y="37"/>
                      <a:pt x="266" y="37"/>
                      <a:pt x="266" y="37"/>
                    </a:cubicBezTo>
                    <a:cubicBezTo>
                      <a:pt x="104" y="199"/>
                      <a:pt x="104" y="199"/>
                      <a:pt x="104" y="199"/>
                    </a:cubicBezTo>
                    <a:cubicBezTo>
                      <a:pt x="98" y="197"/>
                      <a:pt x="92" y="197"/>
                      <a:pt x="86" y="197"/>
                    </a:cubicBezTo>
                    <a:cubicBezTo>
                      <a:pt x="39" y="197"/>
                      <a:pt x="0" y="235"/>
                      <a:pt x="0" y="282"/>
                    </a:cubicBezTo>
                    <a:cubicBezTo>
                      <a:pt x="0" y="329"/>
                      <a:pt x="39" y="367"/>
                      <a:pt x="86" y="367"/>
                    </a:cubicBezTo>
                    <a:cubicBezTo>
                      <a:pt x="133" y="367"/>
                      <a:pt x="171" y="329"/>
                      <a:pt x="171" y="282"/>
                    </a:cubicBezTo>
                    <a:cubicBezTo>
                      <a:pt x="171" y="276"/>
                      <a:pt x="170" y="271"/>
                      <a:pt x="169" y="266"/>
                    </a:cubicBezTo>
                    <a:cubicBezTo>
                      <a:pt x="332" y="103"/>
                      <a:pt x="332" y="103"/>
                      <a:pt x="332" y="103"/>
                    </a:cubicBezTo>
                    <a:cubicBezTo>
                      <a:pt x="369" y="139"/>
                      <a:pt x="369" y="139"/>
                      <a:pt x="369" y="139"/>
                    </a:cubicBezTo>
                    <a:cubicBezTo>
                      <a:pt x="369" y="0"/>
                      <a:pt x="369" y="0"/>
                      <a:pt x="369" y="0"/>
                    </a:cubicBezTo>
                    <a:lnTo>
                      <a:pt x="229" y="0"/>
                    </a:lnTo>
                    <a:close/>
                    <a:moveTo>
                      <a:pt x="86" y="335"/>
                    </a:moveTo>
                    <a:cubicBezTo>
                      <a:pt x="56" y="335"/>
                      <a:pt x="32" y="311"/>
                      <a:pt x="32" y="282"/>
                    </a:cubicBezTo>
                    <a:cubicBezTo>
                      <a:pt x="32" y="253"/>
                      <a:pt x="56" y="229"/>
                      <a:pt x="86" y="229"/>
                    </a:cubicBezTo>
                    <a:cubicBezTo>
                      <a:pt x="115" y="229"/>
                      <a:pt x="139" y="253"/>
                      <a:pt x="139" y="282"/>
                    </a:cubicBezTo>
                    <a:cubicBezTo>
                      <a:pt x="139" y="311"/>
                      <a:pt x="115" y="335"/>
                      <a:pt x="86" y="335"/>
                    </a:cubicBezTo>
                    <a:close/>
                  </a:path>
                </a:pathLst>
              </a:custGeom>
              <a:solidFill>
                <a:schemeClr val="tx1"/>
              </a:solidFill>
              <a:ln>
                <a:solidFill>
                  <a:schemeClr val="tx1"/>
                </a:solidFill>
              </a:ln>
              <a:scene3d>
                <a:camera prst="orthographicFront">
                  <a:rot lat="0" lon="0" rev="4800000"/>
                </a:camera>
                <a:lightRig rig="threePt" dir="t"/>
              </a:scene3d>
              <a:extLst/>
            </p:spPr>
            <p:txBody>
              <a:bodyPr vert="horz" wrap="square" lIns="91440" tIns="45720" rIns="91440" bIns="45720" numCol="1" anchor="t" anchorCtr="0" compatLnSpc="1">
                <a:prstTxWarp prst="textNoShape">
                  <a:avLst/>
                </a:prstTxWarp>
              </a:bodyPr>
              <a:lstStyle/>
              <a:p>
                <a:endParaRPr lang="en-US"/>
              </a:p>
            </p:txBody>
          </p:sp>
          <p:sp>
            <p:nvSpPr>
              <p:cNvPr id="49" name="Freeform 631"/>
              <p:cNvSpPr>
                <a:spLocks noEditPoints="1"/>
              </p:cNvSpPr>
              <p:nvPr/>
            </p:nvSpPr>
            <p:spPr bwMode="auto">
              <a:xfrm>
                <a:off x="7280276" y="5295900"/>
                <a:ext cx="1071563" cy="53975"/>
              </a:xfrm>
              <a:custGeom>
                <a:avLst/>
                <a:gdLst>
                  <a:gd name="T0" fmla="*/ 56 w 1085"/>
                  <a:gd name="T1" fmla="*/ 0 h 56"/>
                  <a:gd name="T2" fmla="*/ 0 w 1085"/>
                  <a:gd name="T3" fmla="*/ 56 h 56"/>
                  <a:gd name="T4" fmla="*/ 112 w 1085"/>
                  <a:gd name="T5" fmla="*/ 56 h 56"/>
                  <a:gd name="T6" fmla="*/ 56 w 1085"/>
                  <a:gd name="T7" fmla="*/ 0 h 56"/>
                  <a:gd name="T8" fmla="*/ 1029 w 1085"/>
                  <a:gd name="T9" fmla="*/ 0 h 56"/>
                  <a:gd name="T10" fmla="*/ 973 w 1085"/>
                  <a:gd name="T11" fmla="*/ 56 h 56"/>
                  <a:gd name="T12" fmla="*/ 1085 w 1085"/>
                  <a:gd name="T13" fmla="*/ 56 h 56"/>
                  <a:gd name="T14" fmla="*/ 1029 w 1085"/>
                  <a:gd name="T15" fmla="*/ 0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5" h="56">
                    <a:moveTo>
                      <a:pt x="56" y="0"/>
                    </a:moveTo>
                    <a:cubicBezTo>
                      <a:pt x="25" y="0"/>
                      <a:pt x="0" y="25"/>
                      <a:pt x="0" y="56"/>
                    </a:cubicBezTo>
                    <a:cubicBezTo>
                      <a:pt x="112" y="56"/>
                      <a:pt x="112" y="56"/>
                      <a:pt x="112" y="56"/>
                    </a:cubicBezTo>
                    <a:cubicBezTo>
                      <a:pt x="112" y="25"/>
                      <a:pt x="87" y="0"/>
                      <a:pt x="56" y="0"/>
                    </a:cubicBezTo>
                    <a:close/>
                    <a:moveTo>
                      <a:pt x="1029" y="0"/>
                    </a:moveTo>
                    <a:cubicBezTo>
                      <a:pt x="998" y="0"/>
                      <a:pt x="973" y="25"/>
                      <a:pt x="973" y="56"/>
                    </a:cubicBezTo>
                    <a:cubicBezTo>
                      <a:pt x="1085" y="56"/>
                      <a:pt x="1085" y="56"/>
                      <a:pt x="1085" y="56"/>
                    </a:cubicBezTo>
                    <a:cubicBezTo>
                      <a:pt x="1085" y="25"/>
                      <a:pt x="1060" y="0"/>
                      <a:pt x="1029" y="0"/>
                    </a:cubicBezTo>
                    <a:close/>
                  </a:path>
                </a:pathLst>
              </a:custGeom>
              <a:grp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grpSp>
      </p:grpSp>
      <p:grpSp>
        <p:nvGrpSpPr>
          <p:cNvPr id="50" name="Group 49"/>
          <p:cNvGrpSpPr/>
          <p:nvPr>
            <p:custDataLst>
              <p:tags r:id="rId10"/>
            </p:custDataLst>
          </p:nvPr>
        </p:nvGrpSpPr>
        <p:grpSpPr>
          <a:xfrm>
            <a:off x="6688292" y="1584199"/>
            <a:ext cx="1410051" cy="1409685"/>
            <a:chOff x="6936994" y="4097040"/>
            <a:chExt cx="1879579" cy="1879580"/>
          </a:xfrm>
          <a:solidFill>
            <a:schemeClr val="accent6"/>
          </a:solidFill>
        </p:grpSpPr>
        <p:sp>
          <p:nvSpPr>
            <p:cNvPr id="51" name="Rectangle 50"/>
            <p:cNvSpPr/>
            <p:nvPr/>
          </p:nvSpPr>
          <p:spPr bwMode="auto">
            <a:xfrm>
              <a:off x="6936994" y="4097040"/>
              <a:ext cx="1879579" cy="187958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37" fontAlgn="base">
                <a:spcBef>
                  <a:spcPct val="0"/>
                </a:spcBef>
                <a:spcAft>
                  <a:spcPct val="0"/>
                </a:spcAft>
              </a:pPr>
              <a:endParaRPr lang="en-US"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52" name="Group 165"/>
            <p:cNvGrpSpPr/>
            <p:nvPr/>
          </p:nvGrpSpPr>
          <p:grpSpPr>
            <a:xfrm>
              <a:off x="7162801" y="4692651"/>
              <a:ext cx="1311275" cy="722312"/>
              <a:chOff x="7162801" y="4692651"/>
              <a:chExt cx="1311275" cy="722312"/>
            </a:xfrm>
            <a:grpFill/>
          </p:grpSpPr>
          <p:sp>
            <p:nvSpPr>
              <p:cNvPr id="53" name="Freeform 624"/>
              <p:cNvSpPr>
                <a:spLocks/>
              </p:cNvSpPr>
              <p:nvPr/>
            </p:nvSpPr>
            <p:spPr bwMode="auto">
              <a:xfrm>
                <a:off x="7162801" y="4692651"/>
                <a:ext cx="1311275" cy="657225"/>
              </a:xfrm>
              <a:custGeom>
                <a:avLst/>
                <a:gdLst>
                  <a:gd name="T0" fmla="*/ 665 w 1330"/>
                  <a:gd name="T1" fmla="*/ 59 h 665"/>
                  <a:gd name="T2" fmla="*/ 1271 w 1330"/>
                  <a:gd name="T3" fmla="*/ 665 h 665"/>
                  <a:gd name="T4" fmla="*/ 1330 w 1330"/>
                  <a:gd name="T5" fmla="*/ 665 h 665"/>
                  <a:gd name="T6" fmla="*/ 665 w 1330"/>
                  <a:gd name="T7" fmla="*/ 0 h 665"/>
                  <a:gd name="T8" fmla="*/ 0 w 1330"/>
                  <a:gd name="T9" fmla="*/ 665 h 665"/>
                  <a:gd name="T10" fmla="*/ 59 w 1330"/>
                  <a:gd name="T11" fmla="*/ 665 h 665"/>
                  <a:gd name="T12" fmla="*/ 665 w 1330"/>
                  <a:gd name="T13" fmla="*/ 59 h 665"/>
                </a:gdLst>
                <a:ahLst/>
                <a:cxnLst>
                  <a:cxn ang="0">
                    <a:pos x="T0" y="T1"/>
                  </a:cxn>
                  <a:cxn ang="0">
                    <a:pos x="T2" y="T3"/>
                  </a:cxn>
                  <a:cxn ang="0">
                    <a:pos x="T4" y="T5"/>
                  </a:cxn>
                  <a:cxn ang="0">
                    <a:pos x="T6" y="T7"/>
                  </a:cxn>
                  <a:cxn ang="0">
                    <a:pos x="T8" y="T9"/>
                  </a:cxn>
                  <a:cxn ang="0">
                    <a:pos x="T10" y="T11"/>
                  </a:cxn>
                  <a:cxn ang="0">
                    <a:pos x="T12" y="T13"/>
                  </a:cxn>
                </a:cxnLst>
                <a:rect l="0" t="0" r="r" b="b"/>
                <a:pathLst>
                  <a:path w="1330" h="665">
                    <a:moveTo>
                      <a:pt x="665" y="59"/>
                    </a:moveTo>
                    <a:cubicBezTo>
                      <a:pt x="1000" y="59"/>
                      <a:pt x="1271" y="330"/>
                      <a:pt x="1271" y="665"/>
                    </a:cubicBezTo>
                    <a:cubicBezTo>
                      <a:pt x="1330" y="665"/>
                      <a:pt x="1330" y="665"/>
                      <a:pt x="1330" y="665"/>
                    </a:cubicBezTo>
                    <a:cubicBezTo>
                      <a:pt x="1330" y="298"/>
                      <a:pt x="1032" y="0"/>
                      <a:pt x="665" y="0"/>
                    </a:cubicBezTo>
                    <a:cubicBezTo>
                      <a:pt x="298" y="0"/>
                      <a:pt x="0" y="298"/>
                      <a:pt x="0" y="665"/>
                    </a:cubicBezTo>
                    <a:cubicBezTo>
                      <a:pt x="59" y="665"/>
                      <a:pt x="59" y="665"/>
                      <a:pt x="59" y="665"/>
                    </a:cubicBezTo>
                    <a:cubicBezTo>
                      <a:pt x="59" y="330"/>
                      <a:pt x="330" y="59"/>
                      <a:pt x="665" y="59"/>
                    </a:cubicBezTo>
                    <a:close/>
                  </a:path>
                </a:pathLst>
              </a:custGeom>
              <a:solidFill>
                <a:schemeClr val="tx1"/>
              </a:solid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sp>
            <p:nvSpPr>
              <p:cNvPr id="54" name="Oval 625"/>
              <p:cNvSpPr>
                <a:spLocks noChangeArrowheads="1"/>
              </p:cNvSpPr>
              <p:nvPr/>
            </p:nvSpPr>
            <p:spPr bwMode="auto">
              <a:xfrm>
                <a:off x="7758113" y="4802188"/>
                <a:ext cx="111125" cy="111125"/>
              </a:xfrm>
              <a:prstGeom prst="ellipse">
                <a:avLst/>
              </a:prstGeom>
              <a:grp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sp>
            <p:nvSpPr>
              <p:cNvPr id="55" name="Oval 626"/>
              <p:cNvSpPr>
                <a:spLocks noChangeArrowheads="1"/>
              </p:cNvSpPr>
              <p:nvPr/>
            </p:nvSpPr>
            <p:spPr bwMode="auto">
              <a:xfrm>
                <a:off x="8026401" y="4895850"/>
                <a:ext cx="109538" cy="111125"/>
              </a:xfrm>
              <a:prstGeom prst="ellipse">
                <a:avLst/>
              </a:prstGeom>
              <a:grp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sp>
            <p:nvSpPr>
              <p:cNvPr id="56" name="Oval 627"/>
              <p:cNvSpPr>
                <a:spLocks noChangeArrowheads="1"/>
              </p:cNvSpPr>
              <p:nvPr/>
            </p:nvSpPr>
            <p:spPr bwMode="auto">
              <a:xfrm>
                <a:off x="7489826" y="4895850"/>
                <a:ext cx="111125" cy="111125"/>
              </a:xfrm>
              <a:prstGeom prst="ellipse">
                <a:avLst/>
              </a:prstGeom>
              <a:grp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sp>
            <p:nvSpPr>
              <p:cNvPr id="57" name="Oval 628"/>
              <p:cNvSpPr>
                <a:spLocks noChangeArrowheads="1"/>
              </p:cNvSpPr>
              <p:nvPr/>
            </p:nvSpPr>
            <p:spPr bwMode="auto">
              <a:xfrm>
                <a:off x="8189913" y="5087938"/>
                <a:ext cx="111125" cy="111125"/>
              </a:xfrm>
              <a:prstGeom prst="ellipse">
                <a:avLst/>
              </a:prstGeom>
              <a:grp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sp>
            <p:nvSpPr>
              <p:cNvPr id="58" name="Oval 629"/>
              <p:cNvSpPr>
                <a:spLocks noChangeArrowheads="1"/>
              </p:cNvSpPr>
              <p:nvPr/>
            </p:nvSpPr>
            <p:spPr bwMode="auto">
              <a:xfrm>
                <a:off x="7324726" y="5087938"/>
                <a:ext cx="111125" cy="111125"/>
              </a:xfrm>
              <a:prstGeom prst="ellipse">
                <a:avLst/>
              </a:prstGeom>
              <a:grp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sp>
            <p:nvSpPr>
              <p:cNvPr id="59" name="Freeform 630"/>
              <p:cNvSpPr>
                <a:spLocks noEditPoints="1"/>
              </p:cNvSpPr>
              <p:nvPr/>
            </p:nvSpPr>
            <p:spPr bwMode="auto">
              <a:xfrm>
                <a:off x="7613651" y="5053013"/>
                <a:ext cx="365125" cy="361950"/>
              </a:xfrm>
              <a:custGeom>
                <a:avLst/>
                <a:gdLst>
                  <a:gd name="T0" fmla="*/ 229 w 369"/>
                  <a:gd name="T1" fmla="*/ 0 h 367"/>
                  <a:gd name="T2" fmla="*/ 266 w 369"/>
                  <a:gd name="T3" fmla="*/ 37 h 367"/>
                  <a:gd name="T4" fmla="*/ 104 w 369"/>
                  <a:gd name="T5" fmla="*/ 199 h 367"/>
                  <a:gd name="T6" fmla="*/ 86 w 369"/>
                  <a:gd name="T7" fmla="*/ 197 h 367"/>
                  <a:gd name="T8" fmla="*/ 0 w 369"/>
                  <a:gd name="T9" fmla="*/ 282 h 367"/>
                  <a:gd name="T10" fmla="*/ 86 w 369"/>
                  <a:gd name="T11" fmla="*/ 367 h 367"/>
                  <a:gd name="T12" fmla="*/ 171 w 369"/>
                  <a:gd name="T13" fmla="*/ 282 h 367"/>
                  <a:gd name="T14" fmla="*/ 169 w 369"/>
                  <a:gd name="T15" fmla="*/ 266 h 367"/>
                  <a:gd name="T16" fmla="*/ 332 w 369"/>
                  <a:gd name="T17" fmla="*/ 103 h 367"/>
                  <a:gd name="T18" fmla="*/ 369 w 369"/>
                  <a:gd name="T19" fmla="*/ 139 h 367"/>
                  <a:gd name="T20" fmla="*/ 369 w 369"/>
                  <a:gd name="T21" fmla="*/ 0 h 367"/>
                  <a:gd name="T22" fmla="*/ 229 w 369"/>
                  <a:gd name="T23" fmla="*/ 0 h 367"/>
                  <a:gd name="T24" fmla="*/ 86 w 369"/>
                  <a:gd name="T25" fmla="*/ 335 h 367"/>
                  <a:gd name="T26" fmla="*/ 32 w 369"/>
                  <a:gd name="T27" fmla="*/ 282 h 367"/>
                  <a:gd name="T28" fmla="*/ 86 w 369"/>
                  <a:gd name="T29" fmla="*/ 229 h 367"/>
                  <a:gd name="T30" fmla="*/ 139 w 369"/>
                  <a:gd name="T31" fmla="*/ 282 h 367"/>
                  <a:gd name="T32" fmla="*/ 86 w 369"/>
                  <a:gd name="T33" fmla="*/ 335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9" h="367">
                    <a:moveTo>
                      <a:pt x="229" y="0"/>
                    </a:moveTo>
                    <a:cubicBezTo>
                      <a:pt x="266" y="37"/>
                      <a:pt x="266" y="37"/>
                      <a:pt x="266" y="37"/>
                    </a:cubicBezTo>
                    <a:cubicBezTo>
                      <a:pt x="104" y="199"/>
                      <a:pt x="104" y="199"/>
                      <a:pt x="104" y="199"/>
                    </a:cubicBezTo>
                    <a:cubicBezTo>
                      <a:pt x="98" y="197"/>
                      <a:pt x="92" y="197"/>
                      <a:pt x="86" y="197"/>
                    </a:cubicBezTo>
                    <a:cubicBezTo>
                      <a:pt x="39" y="197"/>
                      <a:pt x="0" y="235"/>
                      <a:pt x="0" y="282"/>
                    </a:cubicBezTo>
                    <a:cubicBezTo>
                      <a:pt x="0" y="329"/>
                      <a:pt x="39" y="367"/>
                      <a:pt x="86" y="367"/>
                    </a:cubicBezTo>
                    <a:cubicBezTo>
                      <a:pt x="133" y="367"/>
                      <a:pt x="171" y="329"/>
                      <a:pt x="171" y="282"/>
                    </a:cubicBezTo>
                    <a:cubicBezTo>
                      <a:pt x="171" y="276"/>
                      <a:pt x="170" y="271"/>
                      <a:pt x="169" y="266"/>
                    </a:cubicBezTo>
                    <a:cubicBezTo>
                      <a:pt x="332" y="103"/>
                      <a:pt x="332" y="103"/>
                      <a:pt x="332" y="103"/>
                    </a:cubicBezTo>
                    <a:cubicBezTo>
                      <a:pt x="369" y="139"/>
                      <a:pt x="369" y="139"/>
                      <a:pt x="369" y="139"/>
                    </a:cubicBezTo>
                    <a:cubicBezTo>
                      <a:pt x="369" y="0"/>
                      <a:pt x="369" y="0"/>
                      <a:pt x="369" y="0"/>
                    </a:cubicBezTo>
                    <a:lnTo>
                      <a:pt x="229" y="0"/>
                    </a:lnTo>
                    <a:close/>
                    <a:moveTo>
                      <a:pt x="86" y="335"/>
                    </a:moveTo>
                    <a:cubicBezTo>
                      <a:pt x="56" y="335"/>
                      <a:pt x="32" y="311"/>
                      <a:pt x="32" y="282"/>
                    </a:cubicBezTo>
                    <a:cubicBezTo>
                      <a:pt x="32" y="253"/>
                      <a:pt x="56" y="229"/>
                      <a:pt x="86" y="229"/>
                    </a:cubicBezTo>
                    <a:cubicBezTo>
                      <a:pt x="115" y="229"/>
                      <a:pt x="139" y="253"/>
                      <a:pt x="139" y="282"/>
                    </a:cubicBezTo>
                    <a:cubicBezTo>
                      <a:pt x="139" y="311"/>
                      <a:pt x="115" y="335"/>
                      <a:pt x="86" y="335"/>
                    </a:cubicBezTo>
                    <a:close/>
                  </a:path>
                </a:pathLst>
              </a:custGeom>
              <a:solidFill>
                <a:schemeClr val="tx1"/>
              </a:solidFill>
              <a:ln>
                <a:solidFill>
                  <a:schemeClr val="tx1"/>
                </a:solidFill>
              </a:ln>
              <a:scene3d>
                <a:camera prst="orthographicFront">
                  <a:rot lat="0" lon="0" rev="4800000"/>
                </a:camera>
                <a:lightRig rig="threePt" dir="t"/>
              </a:scene3d>
              <a:extLst/>
            </p:spPr>
            <p:txBody>
              <a:bodyPr vert="horz" wrap="square" lIns="91440" tIns="45720" rIns="91440" bIns="45720" numCol="1" anchor="t" anchorCtr="0" compatLnSpc="1">
                <a:prstTxWarp prst="textNoShape">
                  <a:avLst/>
                </a:prstTxWarp>
              </a:bodyPr>
              <a:lstStyle/>
              <a:p>
                <a:endParaRPr lang="en-US"/>
              </a:p>
            </p:txBody>
          </p:sp>
          <p:sp>
            <p:nvSpPr>
              <p:cNvPr id="60" name="Freeform 631"/>
              <p:cNvSpPr>
                <a:spLocks noEditPoints="1"/>
              </p:cNvSpPr>
              <p:nvPr/>
            </p:nvSpPr>
            <p:spPr bwMode="auto">
              <a:xfrm>
                <a:off x="7280276" y="5295900"/>
                <a:ext cx="1071563" cy="53975"/>
              </a:xfrm>
              <a:custGeom>
                <a:avLst/>
                <a:gdLst>
                  <a:gd name="T0" fmla="*/ 56 w 1085"/>
                  <a:gd name="T1" fmla="*/ 0 h 56"/>
                  <a:gd name="T2" fmla="*/ 0 w 1085"/>
                  <a:gd name="T3" fmla="*/ 56 h 56"/>
                  <a:gd name="T4" fmla="*/ 112 w 1085"/>
                  <a:gd name="T5" fmla="*/ 56 h 56"/>
                  <a:gd name="T6" fmla="*/ 56 w 1085"/>
                  <a:gd name="T7" fmla="*/ 0 h 56"/>
                  <a:gd name="T8" fmla="*/ 1029 w 1085"/>
                  <a:gd name="T9" fmla="*/ 0 h 56"/>
                  <a:gd name="T10" fmla="*/ 973 w 1085"/>
                  <a:gd name="T11" fmla="*/ 56 h 56"/>
                  <a:gd name="T12" fmla="*/ 1085 w 1085"/>
                  <a:gd name="T13" fmla="*/ 56 h 56"/>
                  <a:gd name="T14" fmla="*/ 1029 w 1085"/>
                  <a:gd name="T15" fmla="*/ 0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5" h="56">
                    <a:moveTo>
                      <a:pt x="56" y="0"/>
                    </a:moveTo>
                    <a:cubicBezTo>
                      <a:pt x="25" y="0"/>
                      <a:pt x="0" y="25"/>
                      <a:pt x="0" y="56"/>
                    </a:cubicBezTo>
                    <a:cubicBezTo>
                      <a:pt x="112" y="56"/>
                      <a:pt x="112" y="56"/>
                      <a:pt x="112" y="56"/>
                    </a:cubicBezTo>
                    <a:cubicBezTo>
                      <a:pt x="112" y="25"/>
                      <a:pt x="87" y="0"/>
                      <a:pt x="56" y="0"/>
                    </a:cubicBezTo>
                    <a:close/>
                    <a:moveTo>
                      <a:pt x="1029" y="0"/>
                    </a:moveTo>
                    <a:cubicBezTo>
                      <a:pt x="998" y="0"/>
                      <a:pt x="973" y="25"/>
                      <a:pt x="973" y="56"/>
                    </a:cubicBezTo>
                    <a:cubicBezTo>
                      <a:pt x="1085" y="56"/>
                      <a:pt x="1085" y="56"/>
                      <a:pt x="1085" y="56"/>
                    </a:cubicBezTo>
                    <a:cubicBezTo>
                      <a:pt x="1085" y="25"/>
                      <a:pt x="1060" y="0"/>
                      <a:pt x="1029" y="0"/>
                    </a:cubicBezTo>
                    <a:close/>
                  </a:path>
                </a:pathLst>
              </a:custGeom>
              <a:grp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grpSp>
      </p:grpSp>
      <p:grpSp>
        <p:nvGrpSpPr>
          <p:cNvPr id="61" name="Group 60"/>
          <p:cNvGrpSpPr/>
          <p:nvPr>
            <p:custDataLst>
              <p:tags r:id="rId11"/>
            </p:custDataLst>
          </p:nvPr>
        </p:nvGrpSpPr>
        <p:grpSpPr>
          <a:xfrm>
            <a:off x="5211074" y="3072781"/>
            <a:ext cx="1410051" cy="1409685"/>
            <a:chOff x="8918194" y="2115840"/>
            <a:chExt cx="1879579" cy="1879580"/>
          </a:xfrm>
          <a:solidFill>
            <a:schemeClr val="accent5"/>
          </a:solidFill>
        </p:grpSpPr>
        <p:sp>
          <p:nvSpPr>
            <p:cNvPr id="62" name="Rectangle 61"/>
            <p:cNvSpPr/>
            <p:nvPr/>
          </p:nvSpPr>
          <p:spPr bwMode="auto">
            <a:xfrm>
              <a:off x="8918194" y="2115840"/>
              <a:ext cx="1879579" cy="187958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37" fontAlgn="base">
                <a:spcBef>
                  <a:spcPct val="0"/>
                </a:spcBef>
                <a:spcAft>
                  <a:spcPct val="0"/>
                </a:spcAft>
              </a:pPr>
              <a:endParaRPr lang="en-US"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63" name="Group 78"/>
            <p:cNvGrpSpPr/>
            <p:nvPr/>
          </p:nvGrpSpPr>
          <p:grpSpPr>
            <a:xfrm>
              <a:off x="9144001" y="2711451"/>
              <a:ext cx="1311275" cy="817562"/>
              <a:chOff x="9144001" y="2711451"/>
              <a:chExt cx="1311275" cy="817562"/>
            </a:xfrm>
            <a:grpFill/>
          </p:grpSpPr>
          <p:sp>
            <p:nvSpPr>
              <p:cNvPr id="64" name="Freeform 624"/>
              <p:cNvSpPr>
                <a:spLocks/>
              </p:cNvSpPr>
              <p:nvPr/>
            </p:nvSpPr>
            <p:spPr bwMode="auto">
              <a:xfrm>
                <a:off x="9144001" y="2711451"/>
                <a:ext cx="1311275" cy="657225"/>
              </a:xfrm>
              <a:custGeom>
                <a:avLst/>
                <a:gdLst>
                  <a:gd name="T0" fmla="*/ 665 w 1330"/>
                  <a:gd name="T1" fmla="*/ 59 h 665"/>
                  <a:gd name="T2" fmla="*/ 1271 w 1330"/>
                  <a:gd name="T3" fmla="*/ 665 h 665"/>
                  <a:gd name="T4" fmla="*/ 1330 w 1330"/>
                  <a:gd name="T5" fmla="*/ 665 h 665"/>
                  <a:gd name="T6" fmla="*/ 665 w 1330"/>
                  <a:gd name="T7" fmla="*/ 0 h 665"/>
                  <a:gd name="T8" fmla="*/ 0 w 1330"/>
                  <a:gd name="T9" fmla="*/ 665 h 665"/>
                  <a:gd name="T10" fmla="*/ 59 w 1330"/>
                  <a:gd name="T11" fmla="*/ 665 h 665"/>
                  <a:gd name="T12" fmla="*/ 665 w 1330"/>
                  <a:gd name="T13" fmla="*/ 59 h 665"/>
                </a:gdLst>
                <a:ahLst/>
                <a:cxnLst>
                  <a:cxn ang="0">
                    <a:pos x="T0" y="T1"/>
                  </a:cxn>
                  <a:cxn ang="0">
                    <a:pos x="T2" y="T3"/>
                  </a:cxn>
                  <a:cxn ang="0">
                    <a:pos x="T4" y="T5"/>
                  </a:cxn>
                  <a:cxn ang="0">
                    <a:pos x="T6" y="T7"/>
                  </a:cxn>
                  <a:cxn ang="0">
                    <a:pos x="T8" y="T9"/>
                  </a:cxn>
                  <a:cxn ang="0">
                    <a:pos x="T10" y="T11"/>
                  </a:cxn>
                  <a:cxn ang="0">
                    <a:pos x="T12" y="T13"/>
                  </a:cxn>
                </a:cxnLst>
                <a:rect l="0" t="0" r="r" b="b"/>
                <a:pathLst>
                  <a:path w="1330" h="665">
                    <a:moveTo>
                      <a:pt x="665" y="59"/>
                    </a:moveTo>
                    <a:cubicBezTo>
                      <a:pt x="1000" y="59"/>
                      <a:pt x="1271" y="330"/>
                      <a:pt x="1271" y="665"/>
                    </a:cubicBezTo>
                    <a:cubicBezTo>
                      <a:pt x="1330" y="665"/>
                      <a:pt x="1330" y="665"/>
                      <a:pt x="1330" y="665"/>
                    </a:cubicBezTo>
                    <a:cubicBezTo>
                      <a:pt x="1330" y="298"/>
                      <a:pt x="1032" y="0"/>
                      <a:pt x="665" y="0"/>
                    </a:cubicBezTo>
                    <a:cubicBezTo>
                      <a:pt x="298" y="0"/>
                      <a:pt x="0" y="298"/>
                      <a:pt x="0" y="665"/>
                    </a:cubicBezTo>
                    <a:cubicBezTo>
                      <a:pt x="59" y="665"/>
                      <a:pt x="59" y="665"/>
                      <a:pt x="59" y="665"/>
                    </a:cubicBezTo>
                    <a:cubicBezTo>
                      <a:pt x="59" y="330"/>
                      <a:pt x="330" y="59"/>
                      <a:pt x="665" y="59"/>
                    </a:cubicBezTo>
                    <a:close/>
                  </a:path>
                </a:pathLst>
              </a:custGeom>
              <a:solidFill>
                <a:schemeClr val="tx1"/>
              </a:solid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sp>
            <p:nvSpPr>
              <p:cNvPr id="65" name="Oval 625"/>
              <p:cNvSpPr>
                <a:spLocks noChangeArrowheads="1"/>
              </p:cNvSpPr>
              <p:nvPr/>
            </p:nvSpPr>
            <p:spPr bwMode="auto">
              <a:xfrm>
                <a:off x="9739313" y="2820988"/>
                <a:ext cx="111125" cy="111125"/>
              </a:xfrm>
              <a:prstGeom prst="ellipse">
                <a:avLst/>
              </a:prstGeom>
              <a:grp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sp>
            <p:nvSpPr>
              <p:cNvPr id="66" name="Oval 626"/>
              <p:cNvSpPr>
                <a:spLocks noChangeArrowheads="1"/>
              </p:cNvSpPr>
              <p:nvPr/>
            </p:nvSpPr>
            <p:spPr bwMode="auto">
              <a:xfrm>
                <a:off x="10007601" y="2914650"/>
                <a:ext cx="109538" cy="111125"/>
              </a:xfrm>
              <a:prstGeom prst="ellipse">
                <a:avLst/>
              </a:prstGeom>
              <a:grp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sp>
            <p:nvSpPr>
              <p:cNvPr id="67" name="Oval 627"/>
              <p:cNvSpPr>
                <a:spLocks noChangeArrowheads="1"/>
              </p:cNvSpPr>
              <p:nvPr/>
            </p:nvSpPr>
            <p:spPr bwMode="auto">
              <a:xfrm>
                <a:off x="9471026" y="2914650"/>
                <a:ext cx="111125" cy="111125"/>
              </a:xfrm>
              <a:prstGeom prst="ellipse">
                <a:avLst/>
              </a:prstGeom>
              <a:grp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sp>
            <p:nvSpPr>
              <p:cNvPr id="68" name="Oval 628"/>
              <p:cNvSpPr>
                <a:spLocks noChangeArrowheads="1"/>
              </p:cNvSpPr>
              <p:nvPr/>
            </p:nvSpPr>
            <p:spPr bwMode="auto">
              <a:xfrm>
                <a:off x="10171113" y="3106738"/>
                <a:ext cx="111125" cy="111125"/>
              </a:xfrm>
              <a:prstGeom prst="ellipse">
                <a:avLst/>
              </a:prstGeom>
              <a:grp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sp>
            <p:nvSpPr>
              <p:cNvPr id="69" name="Oval 629"/>
              <p:cNvSpPr>
                <a:spLocks noChangeArrowheads="1"/>
              </p:cNvSpPr>
              <p:nvPr/>
            </p:nvSpPr>
            <p:spPr bwMode="auto">
              <a:xfrm>
                <a:off x="9305926" y="3106738"/>
                <a:ext cx="111125" cy="111125"/>
              </a:xfrm>
              <a:prstGeom prst="ellipse">
                <a:avLst/>
              </a:prstGeom>
              <a:grp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sp>
            <p:nvSpPr>
              <p:cNvPr id="70" name="Freeform 630"/>
              <p:cNvSpPr>
                <a:spLocks noEditPoints="1"/>
              </p:cNvSpPr>
              <p:nvPr/>
            </p:nvSpPr>
            <p:spPr bwMode="auto">
              <a:xfrm>
                <a:off x="9518651" y="3167063"/>
                <a:ext cx="365125" cy="361950"/>
              </a:xfrm>
              <a:custGeom>
                <a:avLst/>
                <a:gdLst>
                  <a:gd name="T0" fmla="*/ 229 w 369"/>
                  <a:gd name="T1" fmla="*/ 0 h 367"/>
                  <a:gd name="T2" fmla="*/ 266 w 369"/>
                  <a:gd name="T3" fmla="*/ 37 h 367"/>
                  <a:gd name="T4" fmla="*/ 104 w 369"/>
                  <a:gd name="T5" fmla="*/ 199 h 367"/>
                  <a:gd name="T6" fmla="*/ 86 w 369"/>
                  <a:gd name="T7" fmla="*/ 197 h 367"/>
                  <a:gd name="T8" fmla="*/ 0 w 369"/>
                  <a:gd name="T9" fmla="*/ 282 h 367"/>
                  <a:gd name="T10" fmla="*/ 86 w 369"/>
                  <a:gd name="T11" fmla="*/ 367 h 367"/>
                  <a:gd name="T12" fmla="*/ 171 w 369"/>
                  <a:gd name="T13" fmla="*/ 282 h 367"/>
                  <a:gd name="T14" fmla="*/ 169 w 369"/>
                  <a:gd name="T15" fmla="*/ 266 h 367"/>
                  <a:gd name="T16" fmla="*/ 332 w 369"/>
                  <a:gd name="T17" fmla="*/ 103 h 367"/>
                  <a:gd name="T18" fmla="*/ 369 w 369"/>
                  <a:gd name="T19" fmla="*/ 139 h 367"/>
                  <a:gd name="T20" fmla="*/ 369 w 369"/>
                  <a:gd name="T21" fmla="*/ 0 h 367"/>
                  <a:gd name="T22" fmla="*/ 229 w 369"/>
                  <a:gd name="T23" fmla="*/ 0 h 367"/>
                  <a:gd name="T24" fmla="*/ 86 w 369"/>
                  <a:gd name="T25" fmla="*/ 335 h 367"/>
                  <a:gd name="T26" fmla="*/ 32 w 369"/>
                  <a:gd name="T27" fmla="*/ 282 h 367"/>
                  <a:gd name="T28" fmla="*/ 86 w 369"/>
                  <a:gd name="T29" fmla="*/ 229 h 367"/>
                  <a:gd name="T30" fmla="*/ 139 w 369"/>
                  <a:gd name="T31" fmla="*/ 282 h 367"/>
                  <a:gd name="T32" fmla="*/ 86 w 369"/>
                  <a:gd name="T33" fmla="*/ 335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9" h="367">
                    <a:moveTo>
                      <a:pt x="229" y="0"/>
                    </a:moveTo>
                    <a:cubicBezTo>
                      <a:pt x="266" y="37"/>
                      <a:pt x="266" y="37"/>
                      <a:pt x="266" y="37"/>
                    </a:cubicBezTo>
                    <a:cubicBezTo>
                      <a:pt x="104" y="199"/>
                      <a:pt x="104" y="199"/>
                      <a:pt x="104" y="199"/>
                    </a:cubicBezTo>
                    <a:cubicBezTo>
                      <a:pt x="98" y="197"/>
                      <a:pt x="92" y="197"/>
                      <a:pt x="86" y="197"/>
                    </a:cubicBezTo>
                    <a:cubicBezTo>
                      <a:pt x="39" y="197"/>
                      <a:pt x="0" y="235"/>
                      <a:pt x="0" y="282"/>
                    </a:cubicBezTo>
                    <a:cubicBezTo>
                      <a:pt x="0" y="329"/>
                      <a:pt x="39" y="367"/>
                      <a:pt x="86" y="367"/>
                    </a:cubicBezTo>
                    <a:cubicBezTo>
                      <a:pt x="133" y="367"/>
                      <a:pt x="171" y="329"/>
                      <a:pt x="171" y="282"/>
                    </a:cubicBezTo>
                    <a:cubicBezTo>
                      <a:pt x="171" y="276"/>
                      <a:pt x="170" y="271"/>
                      <a:pt x="169" y="266"/>
                    </a:cubicBezTo>
                    <a:cubicBezTo>
                      <a:pt x="332" y="103"/>
                      <a:pt x="332" y="103"/>
                      <a:pt x="332" y="103"/>
                    </a:cubicBezTo>
                    <a:cubicBezTo>
                      <a:pt x="369" y="139"/>
                      <a:pt x="369" y="139"/>
                      <a:pt x="369" y="139"/>
                    </a:cubicBezTo>
                    <a:cubicBezTo>
                      <a:pt x="369" y="0"/>
                      <a:pt x="369" y="0"/>
                      <a:pt x="369" y="0"/>
                    </a:cubicBezTo>
                    <a:lnTo>
                      <a:pt x="229" y="0"/>
                    </a:lnTo>
                    <a:close/>
                    <a:moveTo>
                      <a:pt x="86" y="335"/>
                    </a:moveTo>
                    <a:cubicBezTo>
                      <a:pt x="56" y="335"/>
                      <a:pt x="32" y="311"/>
                      <a:pt x="32" y="282"/>
                    </a:cubicBezTo>
                    <a:cubicBezTo>
                      <a:pt x="32" y="253"/>
                      <a:pt x="56" y="229"/>
                      <a:pt x="86" y="229"/>
                    </a:cubicBezTo>
                    <a:cubicBezTo>
                      <a:pt x="115" y="229"/>
                      <a:pt x="139" y="253"/>
                      <a:pt x="139" y="282"/>
                    </a:cubicBezTo>
                    <a:cubicBezTo>
                      <a:pt x="139" y="311"/>
                      <a:pt x="115" y="335"/>
                      <a:pt x="86" y="335"/>
                    </a:cubicBezTo>
                    <a:close/>
                  </a:path>
                </a:pathLst>
              </a:custGeom>
              <a:solidFill>
                <a:schemeClr val="tx1"/>
              </a:solidFill>
              <a:ln>
                <a:solidFill>
                  <a:schemeClr val="tx1"/>
                </a:solidFill>
              </a:ln>
              <a:scene3d>
                <a:camera prst="orthographicFront">
                  <a:rot lat="0" lon="0" rev="7800000"/>
                </a:camera>
                <a:lightRig rig="threePt" dir="t"/>
              </a:scene3d>
              <a:extLst/>
            </p:spPr>
            <p:txBody>
              <a:bodyPr vert="horz" wrap="square" lIns="91440" tIns="45720" rIns="91440" bIns="45720" numCol="1" anchor="t" anchorCtr="0" compatLnSpc="1">
                <a:prstTxWarp prst="textNoShape">
                  <a:avLst/>
                </a:prstTxWarp>
              </a:bodyPr>
              <a:lstStyle/>
              <a:p>
                <a:endParaRPr lang="en-US"/>
              </a:p>
            </p:txBody>
          </p:sp>
          <p:sp>
            <p:nvSpPr>
              <p:cNvPr id="71" name="Freeform 631"/>
              <p:cNvSpPr>
                <a:spLocks noEditPoints="1"/>
              </p:cNvSpPr>
              <p:nvPr/>
            </p:nvSpPr>
            <p:spPr bwMode="auto">
              <a:xfrm>
                <a:off x="9261476" y="3314700"/>
                <a:ext cx="1071563" cy="53975"/>
              </a:xfrm>
              <a:custGeom>
                <a:avLst/>
                <a:gdLst>
                  <a:gd name="T0" fmla="*/ 56 w 1085"/>
                  <a:gd name="T1" fmla="*/ 0 h 56"/>
                  <a:gd name="T2" fmla="*/ 0 w 1085"/>
                  <a:gd name="T3" fmla="*/ 56 h 56"/>
                  <a:gd name="T4" fmla="*/ 112 w 1085"/>
                  <a:gd name="T5" fmla="*/ 56 h 56"/>
                  <a:gd name="T6" fmla="*/ 56 w 1085"/>
                  <a:gd name="T7" fmla="*/ 0 h 56"/>
                  <a:gd name="T8" fmla="*/ 1029 w 1085"/>
                  <a:gd name="T9" fmla="*/ 0 h 56"/>
                  <a:gd name="T10" fmla="*/ 973 w 1085"/>
                  <a:gd name="T11" fmla="*/ 56 h 56"/>
                  <a:gd name="T12" fmla="*/ 1085 w 1085"/>
                  <a:gd name="T13" fmla="*/ 56 h 56"/>
                  <a:gd name="T14" fmla="*/ 1029 w 1085"/>
                  <a:gd name="T15" fmla="*/ 0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5" h="56">
                    <a:moveTo>
                      <a:pt x="56" y="0"/>
                    </a:moveTo>
                    <a:cubicBezTo>
                      <a:pt x="25" y="0"/>
                      <a:pt x="0" y="25"/>
                      <a:pt x="0" y="56"/>
                    </a:cubicBezTo>
                    <a:cubicBezTo>
                      <a:pt x="112" y="56"/>
                      <a:pt x="112" y="56"/>
                      <a:pt x="112" y="56"/>
                    </a:cubicBezTo>
                    <a:cubicBezTo>
                      <a:pt x="112" y="25"/>
                      <a:pt x="87" y="0"/>
                      <a:pt x="56" y="0"/>
                    </a:cubicBezTo>
                    <a:close/>
                    <a:moveTo>
                      <a:pt x="1029" y="0"/>
                    </a:moveTo>
                    <a:cubicBezTo>
                      <a:pt x="998" y="0"/>
                      <a:pt x="973" y="25"/>
                      <a:pt x="973" y="56"/>
                    </a:cubicBezTo>
                    <a:cubicBezTo>
                      <a:pt x="1085" y="56"/>
                      <a:pt x="1085" y="56"/>
                      <a:pt x="1085" y="56"/>
                    </a:cubicBezTo>
                    <a:cubicBezTo>
                      <a:pt x="1085" y="25"/>
                      <a:pt x="1060" y="0"/>
                      <a:pt x="1029" y="0"/>
                    </a:cubicBezTo>
                    <a:close/>
                  </a:path>
                </a:pathLst>
              </a:custGeom>
              <a:grp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grpSp>
      </p:grpSp>
      <p:grpSp>
        <p:nvGrpSpPr>
          <p:cNvPr id="72" name="Group 71"/>
          <p:cNvGrpSpPr/>
          <p:nvPr>
            <p:custDataLst>
              <p:tags r:id="rId12"/>
            </p:custDataLst>
          </p:nvPr>
        </p:nvGrpSpPr>
        <p:grpSpPr>
          <a:xfrm>
            <a:off x="6695152" y="3072385"/>
            <a:ext cx="1410051" cy="1409685"/>
            <a:chOff x="6936994" y="4097040"/>
            <a:chExt cx="1879579" cy="1879580"/>
          </a:xfrm>
          <a:solidFill>
            <a:schemeClr val="accent6"/>
          </a:solidFill>
        </p:grpSpPr>
        <p:sp>
          <p:nvSpPr>
            <p:cNvPr id="73" name="Rectangle 72"/>
            <p:cNvSpPr/>
            <p:nvPr/>
          </p:nvSpPr>
          <p:spPr bwMode="auto">
            <a:xfrm>
              <a:off x="6936994" y="4097040"/>
              <a:ext cx="1879579" cy="187958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37" fontAlgn="base">
                <a:spcBef>
                  <a:spcPct val="0"/>
                </a:spcBef>
                <a:spcAft>
                  <a:spcPct val="0"/>
                </a:spcAft>
              </a:pPr>
              <a:endParaRPr lang="en-US"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74" name="Group 165"/>
            <p:cNvGrpSpPr/>
            <p:nvPr/>
          </p:nvGrpSpPr>
          <p:grpSpPr>
            <a:xfrm>
              <a:off x="7162801" y="4692651"/>
              <a:ext cx="1311275" cy="722312"/>
              <a:chOff x="7162801" y="4692651"/>
              <a:chExt cx="1311275" cy="722312"/>
            </a:xfrm>
            <a:grpFill/>
          </p:grpSpPr>
          <p:sp>
            <p:nvSpPr>
              <p:cNvPr id="75" name="Freeform 624"/>
              <p:cNvSpPr>
                <a:spLocks/>
              </p:cNvSpPr>
              <p:nvPr/>
            </p:nvSpPr>
            <p:spPr bwMode="auto">
              <a:xfrm>
                <a:off x="7162801" y="4692651"/>
                <a:ext cx="1311275" cy="657225"/>
              </a:xfrm>
              <a:custGeom>
                <a:avLst/>
                <a:gdLst>
                  <a:gd name="T0" fmla="*/ 665 w 1330"/>
                  <a:gd name="T1" fmla="*/ 59 h 665"/>
                  <a:gd name="T2" fmla="*/ 1271 w 1330"/>
                  <a:gd name="T3" fmla="*/ 665 h 665"/>
                  <a:gd name="T4" fmla="*/ 1330 w 1330"/>
                  <a:gd name="T5" fmla="*/ 665 h 665"/>
                  <a:gd name="T6" fmla="*/ 665 w 1330"/>
                  <a:gd name="T7" fmla="*/ 0 h 665"/>
                  <a:gd name="T8" fmla="*/ 0 w 1330"/>
                  <a:gd name="T9" fmla="*/ 665 h 665"/>
                  <a:gd name="T10" fmla="*/ 59 w 1330"/>
                  <a:gd name="T11" fmla="*/ 665 h 665"/>
                  <a:gd name="T12" fmla="*/ 665 w 1330"/>
                  <a:gd name="T13" fmla="*/ 59 h 665"/>
                </a:gdLst>
                <a:ahLst/>
                <a:cxnLst>
                  <a:cxn ang="0">
                    <a:pos x="T0" y="T1"/>
                  </a:cxn>
                  <a:cxn ang="0">
                    <a:pos x="T2" y="T3"/>
                  </a:cxn>
                  <a:cxn ang="0">
                    <a:pos x="T4" y="T5"/>
                  </a:cxn>
                  <a:cxn ang="0">
                    <a:pos x="T6" y="T7"/>
                  </a:cxn>
                  <a:cxn ang="0">
                    <a:pos x="T8" y="T9"/>
                  </a:cxn>
                  <a:cxn ang="0">
                    <a:pos x="T10" y="T11"/>
                  </a:cxn>
                  <a:cxn ang="0">
                    <a:pos x="T12" y="T13"/>
                  </a:cxn>
                </a:cxnLst>
                <a:rect l="0" t="0" r="r" b="b"/>
                <a:pathLst>
                  <a:path w="1330" h="665">
                    <a:moveTo>
                      <a:pt x="665" y="59"/>
                    </a:moveTo>
                    <a:cubicBezTo>
                      <a:pt x="1000" y="59"/>
                      <a:pt x="1271" y="330"/>
                      <a:pt x="1271" y="665"/>
                    </a:cubicBezTo>
                    <a:cubicBezTo>
                      <a:pt x="1330" y="665"/>
                      <a:pt x="1330" y="665"/>
                      <a:pt x="1330" y="665"/>
                    </a:cubicBezTo>
                    <a:cubicBezTo>
                      <a:pt x="1330" y="298"/>
                      <a:pt x="1032" y="0"/>
                      <a:pt x="665" y="0"/>
                    </a:cubicBezTo>
                    <a:cubicBezTo>
                      <a:pt x="298" y="0"/>
                      <a:pt x="0" y="298"/>
                      <a:pt x="0" y="665"/>
                    </a:cubicBezTo>
                    <a:cubicBezTo>
                      <a:pt x="59" y="665"/>
                      <a:pt x="59" y="665"/>
                      <a:pt x="59" y="665"/>
                    </a:cubicBezTo>
                    <a:cubicBezTo>
                      <a:pt x="59" y="330"/>
                      <a:pt x="330" y="59"/>
                      <a:pt x="665" y="59"/>
                    </a:cubicBezTo>
                    <a:close/>
                  </a:path>
                </a:pathLst>
              </a:custGeom>
              <a:solidFill>
                <a:schemeClr val="tx1"/>
              </a:solid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sp>
            <p:nvSpPr>
              <p:cNvPr id="76" name="Oval 625"/>
              <p:cNvSpPr>
                <a:spLocks noChangeArrowheads="1"/>
              </p:cNvSpPr>
              <p:nvPr/>
            </p:nvSpPr>
            <p:spPr bwMode="auto">
              <a:xfrm>
                <a:off x="7758113" y="4802188"/>
                <a:ext cx="111125" cy="111125"/>
              </a:xfrm>
              <a:prstGeom prst="ellipse">
                <a:avLst/>
              </a:prstGeom>
              <a:grp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sp>
            <p:nvSpPr>
              <p:cNvPr id="77" name="Oval 626"/>
              <p:cNvSpPr>
                <a:spLocks noChangeArrowheads="1"/>
              </p:cNvSpPr>
              <p:nvPr/>
            </p:nvSpPr>
            <p:spPr bwMode="auto">
              <a:xfrm>
                <a:off x="8026401" y="4895850"/>
                <a:ext cx="109538" cy="111125"/>
              </a:xfrm>
              <a:prstGeom prst="ellipse">
                <a:avLst/>
              </a:prstGeom>
              <a:grp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sp>
            <p:nvSpPr>
              <p:cNvPr id="78" name="Oval 627"/>
              <p:cNvSpPr>
                <a:spLocks noChangeArrowheads="1"/>
              </p:cNvSpPr>
              <p:nvPr/>
            </p:nvSpPr>
            <p:spPr bwMode="auto">
              <a:xfrm>
                <a:off x="7489826" y="4895850"/>
                <a:ext cx="111125" cy="111125"/>
              </a:xfrm>
              <a:prstGeom prst="ellipse">
                <a:avLst/>
              </a:prstGeom>
              <a:grp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sp>
            <p:nvSpPr>
              <p:cNvPr id="79" name="Oval 628"/>
              <p:cNvSpPr>
                <a:spLocks noChangeArrowheads="1"/>
              </p:cNvSpPr>
              <p:nvPr/>
            </p:nvSpPr>
            <p:spPr bwMode="auto">
              <a:xfrm>
                <a:off x="8189913" y="5087938"/>
                <a:ext cx="111125" cy="111125"/>
              </a:xfrm>
              <a:prstGeom prst="ellipse">
                <a:avLst/>
              </a:prstGeom>
              <a:grp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sp>
            <p:nvSpPr>
              <p:cNvPr id="80" name="Oval 629"/>
              <p:cNvSpPr>
                <a:spLocks noChangeArrowheads="1"/>
              </p:cNvSpPr>
              <p:nvPr/>
            </p:nvSpPr>
            <p:spPr bwMode="auto">
              <a:xfrm>
                <a:off x="7324726" y="5087938"/>
                <a:ext cx="111125" cy="111125"/>
              </a:xfrm>
              <a:prstGeom prst="ellipse">
                <a:avLst/>
              </a:prstGeom>
              <a:grp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sp>
            <p:nvSpPr>
              <p:cNvPr id="81" name="Freeform 630"/>
              <p:cNvSpPr>
                <a:spLocks noEditPoints="1"/>
              </p:cNvSpPr>
              <p:nvPr/>
            </p:nvSpPr>
            <p:spPr bwMode="auto">
              <a:xfrm>
                <a:off x="7613651" y="5053013"/>
                <a:ext cx="365125" cy="361950"/>
              </a:xfrm>
              <a:custGeom>
                <a:avLst/>
                <a:gdLst>
                  <a:gd name="T0" fmla="*/ 229 w 369"/>
                  <a:gd name="T1" fmla="*/ 0 h 367"/>
                  <a:gd name="T2" fmla="*/ 266 w 369"/>
                  <a:gd name="T3" fmla="*/ 37 h 367"/>
                  <a:gd name="T4" fmla="*/ 104 w 369"/>
                  <a:gd name="T5" fmla="*/ 199 h 367"/>
                  <a:gd name="T6" fmla="*/ 86 w 369"/>
                  <a:gd name="T7" fmla="*/ 197 h 367"/>
                  <a:gd name="T8" fmla="*/ 0 w 369"/>
                  <a:gd name="T9" fmla="*/ 282 h 367"/>
                  <a:gd name="T10" fmla="*/ 86 w 369"/>
                  <a:gd name="T11" fmla="*/ 367 h 367"/>
                  <a:gd name="T12" fmla="*/ 171 w 369"/>
                  <a:gd name="T13" fmla="*/ 282 h 367"/>
                  <a:gd name="T14" fmla="*/ 169 w 369"/>
                  <a:gd name="T15" fmla="*/ 266 h 367"/>
                  <a:gd name="T16" fmla="*/ 332 w 369"/>
                  <a:gd name="T17" fmla="*/ 103 h 367"/>
                  <a:gd name="T18" fmla="*/ 369 w 369"/>
                  <a:gd name="T19" fmla="*/ 139 h 367"/>
                  <a:gd name="T20" fmla="*/ 369 w 369"/>
                  <a:gd name="T21" fmla="*/ 0 h 367"/>
                  <a:gd name="T22" fmla="*/ 229 w 369"/>
                  <a:gd name="T23" fmla="*/ 0 h 367"/>
                  <a:gd name="T24" fmla="*/ 86 w 369"/>
                  <a:gd name="T25" fmla="*/ 335 h 367"/>
                  <a:gd name="T26" fmla="*/ 32 w 369"/>
                  <a:gd name="T27" fmla="*/ 282 h 367"/>
                  <a:gd name="T28" fmla="*/ 86 w 369"/>
                  <a:gd name="T29" fmla="*/ 229 h 367"/>
                  <a:gd name="T30" fmla="*/ 139 w 369"/>
                  <a:gd name="T31" fmla="*/ 282 h 367"/>
                  <a:gd name="T32" fmla="*/ 86 w 369"/>
                  <a:gd name="T33" fmla="*/ 335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9" h="367">
                    <a:moveTo>
                      <a:pt x="229" y="0"/>
                    </a:moveTo>
                    <a:cubicBezTo>
                      <a:pt x="266" y="37"/>
                      <a:pt x="266" y="37"/>
                      <a:pt x="266" y="37"/>
                    </a:cubicBezTo>
                    <a:cubicBezTo>
                      <a:pt x="104" y="199"/>
                      <a:pt x="104" y="199"/>
                      <a:pt x="104" y="199"/>
                    </a:cubicBezTo>
                    <a:cubicBezTo>
                      <a:pt x="98" y="197"/>
                      <a:pt x="92" y="197"/>
                      <a:pt x="86" y="197"/>
                    </a:cubicBezTo>
                    <a:cubicBezTo>
                      <a:pt x="39" y="197"/>
                      <a:pt x="0" y="235"/>
                      <a:pt x="0" y="282"/>
                    </a:cubicBezTo>
                    <a:cubicBezTo>
                      <a:pt x="0" y="329"/>
                      <a:pt x="39" y="367"/>
                      <a:pt x="86" y="367"/>
                    </a:cubicBezTo>
                    <a:cubicBezTo>
                      <a:pt x="133" y="367"/>
                      <a:pt x="171" y="329"/>
                      <a:pt x="171" y="282"/>
                    </a:cubicBezTo>
                    <a:cubicBezTo>
                      <a:pt x="171" y="276"/>
                      <a:pt x="170" y="271"/>
                      <a:pt x="169" y="266"/>
                    </a:cubicBezTo>
                    <a:cubicBezTo>
                      <a:pt x="332" y="103"/>
                      <a:pt x="332" y="103"/>
                      <a:pt x="332" y="103"/>
                    </a:cubicBezTo>
                    <a:cubicBezTo>
                      <a:pt x="369" y="139"/>
                      <a:pt x="369" y="139"/>
                      <a:pt x="369" y="139"/>
                    </a:cubicBezTo>
                    <a:cubicBezTo>
                      <a:pt x="369" y="0"/>
                      <a:pt x="369" y="0"/>
                      <a:pt x="369" y="0"/>
                    </a:cubicBezTo>
                    <a:lnTo>
                      <a:pt x="229" y="0"/>
                    </a:lnTo>
                    <a:close/>
                    <a:moveTo>
                      <a:pt x="86" y="335"/>
                    </a:moveTo>
                    <a:cubicBezTo>
                      <a:pt x="56" y="335"/>
                      <a:pt x="32" y="311"/>
                      <a:pt x="32" y="282"/>
                    </a:cubicBezTo>
                    <a:cubicBezTo>
                      <a:pt x="32" y="253"/>
                      <a:pt x="56" y="229"/>
                      <a:pt x="86" y="229"/>
                    </a:cubicBezTo>
                    <a:cubicBezTo>
                      <a:pt x="115" y="229"/>
                      <a:pt x="139" y="253"/>
                      <a:pt x="139" y="282"/>
                    </a:cubicBezTo>
                    <a:cubicBezTo>
                      <a:pt x="139" y="311"/>
                      <a:pt x="115" y="335"/>
                      <a:pt x="86" y="335"/>
                    </a:cubicBezTo>
                    <a:close/>
                  </a:path>
                </a:pathLst>
              </a:custGeom>
              <a:solidFill>
                <a:schemeClr val="tx1"/>
              </a:solidFill>
              <a:ln>
                <a:solidFill>
                  <a:schemeClr val="tx1"/>
                </a:solidFill>
              </a:ln>
              <a:scene3d>
                <a:camera prst="orthographicFront">
                  <a:rot lat="0" lon="0" rev="4800000"/>
                </a:camera>
                <a:lightRig rig="threePt" dir="t"/>
              </a:scene3d>
              <a:extLst/>
            </p:spPr>
            <p:txBody>
              <a:bodyPr vert="horz" wrap="square" lIns="91440" tIns="45720" rIns="91440" bIns="45720" numCol="1" anchor="t" anchorCtr="0" compatLnSpc="1">
                <a:prstTxWarp prst="textNoShape">
                  <a:avLst/>
                </a:prstTxWarp>
              </a:bodyPr>
              <a:lstStyle/>
              <a:p>
                <a:endParaRPr lang="en-US"/>
              </a:p>
            </p:txBody>
          </p:sp>
          <p:sp>
            <p:nvSpPr>
              <p:cNvPr id="82" name="Freeform 631"/>
              <p:cNvSpPr>
                <a:spLocks noEditPoints="1"/>
              </p:cNvSpPr>
              <p:nvPr/>
            </p:nvSpPr>
            <p:spPr bwMode="auto">
              <a:xfrm>
                <a:off x="7280276" y="5295900"/>
                <a:ext cx="1071563" cy="53975"/>
              </a:xfrm>
              <a:custGeom>
                <a:avLst/>
                <a:gdLst>
                  <a:gd name="T0" fmla="*/ 56 w 1085"/>
                  <a:gd name="T1" fmla="*/ 0 h 56"/>
                  <a:gd name="T2" fmla="*/ 0 w 1085"/>
                  <a:gd name="T3" fmla="*/ 56 h 56"/>
                  <a:gd name="T4" fmla="*/ 112 w 1085"/>
                  <a:gd name="T5" fmla="*/ 56 h 56"/>
                  <a:gd name="T6" fmla="*/ 56 w 1085"/>
                  <a:gd name="T7" fmla="*/ 0 h 56"/>
                  <a:gd name="T8" fmla="*/ 1029 w 1085"/>
                  <a:gd name="T9" fmla="*/ 0 h 56"/>
                  <a:gd name="T10" fmla="*/ 973 w 1085"/>
                  <a:gd name="T11" fmla="*/ 56 h 56"/>
                  <a:gd name="T12" fmla="*/ 1085 w 1085"/>
                  <a:gd name="T13" fmla="*/ 56 h 56"/>
                  <a:gd name="T14" fmla="*/ 1029 w 1085"/>
                  <a:gd name="T15" fmla="*/ 0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5" h="56">
                    <a:moveTo>
                      <a:pt x="56" y="0"/>
                    </a:moveTo>
                    <a:cubicBezTo>
                      <a:pt x="25" y="0"/>
                      <a:pt x="0" y="25"/>
                      <a:pt x="0" y="56"/>
                    </a:cubicBezTo>
                    <a:cubicBezTo>
                      <a:pt x="112" y="56"/>
                      <a:pt x="112" y="56"/>
                      <a:pt x="112" y="56"/>
                    </a:cubicBezTo>
                    <a:cubicBezTo>
                      <a:pt x="112" y="25"/>
                      <a:pt x="87" y="0"/>
                      <a:pt x="56" y="0"/>
                    </a:cubicBezTo>
                    <a:close/>
                    <a:moveTo>
                      <a:pt x="1029" y="0"/>
                    </a:moveTo>
                    <a:cubicBezTo>
                      <a:pt x="998" y="0"/>
                      <a:pt x="973" y="25"/>
                      <a:pt x="973" y="56"/>
                    </a:cubicBezTo>
                    <a:cubicBezTo>
                      <a:pt x="1085" y="56"/>
                      <a:pt x="1085" y="56"/>
                      <a:pt x="1085" y="56"/>
                    </a:cubicBezTo>
                    <a:cubicBezTo>
                      <a:pt x="1085" y="25"/>
                      <a:pt x="1060" y="0"/>
                      <a:pt x="1029" y="0"/>
                    </a:cubicBezTo>
                    <a:close/>
                  </a:path>
                </a:pathLst>
              </a:custGeom>
              <a:grp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grpSp>
      </p:grpSp>
      <p:grpSp>
        <p:nvGrpSpPr>
          <p:cNvPr id="83" name="Group 82"/>
          <p:cNvGrpSpPr/>
          <p:nvPr>
            <p:custDataLst>
              <p:tags r:id="rId13"/>
            </p:custDataLst>
          </p:nvPr>
        </p:nvGrpSpPr>
        <p:grpSpPr>
          <a:xfrm>
            <a:off x="5207644" y="1584199"/>
            <a:ext cx="1410051" cy="1409685"/>
            <a:chOff x="8075046" y="0"/>
            <a:chExt cx="1879579" cy="1879580"/>
          </a:xfrm>
          <a:solidFill>
            <a:schemeClr val="accent6"/>
          </a:solidFill>
        </p:grpSpPr>
        <p:sp>
          <p:nvSpPr>
            <p:cNvPr id="84" name="Rectangle 83"/>
            <p:cNvSpPr/>
            <p:nvPr/>
          </p:nvSpPr>
          <p:spPr bwMode="auto">
            <a:xfrm>
              <a:off x="8075046" y="0"/>
              <a:ext cx="1879579" cy="187958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37" fontAlgn="base">
                <a:spcBef>
                  <a:spcPct val="0"/>
                </a:spcBef>
                <a:spcAft>
                  <a:spcPct val="0"/>
                </a:spcAft>
              </a:pPr>
              <a:endParaRPr lang="en-US"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85" name="Group 84"/>
            <p:cNvGrpSpPr/>
            <p:nvPr/>
          </p:nvGrpSpPr>
          <p:grpSpPr>
            <a:xfrm>
              <a:off x="8300853" y="595611"/>
              <a:ext cx="1311275" cy="722312"/>
              <a:chOff x="8300853" y="595611"/>
              <a:chExt cx="1311275" cy="722312"/>
            </a:xfrm>
            <a:grpFill/>
          </p:grpSpPr>
          <p:sp>
            <p:nvSpPr>
              <p:cNvPr id="86" name="Freeform 624"/>
              <p:cNvSpPr>
                <a:spLocks/>
              </p:cNvSpPr>
              <p:nvPr/>
            </p:nvSpPr>
            <p:spPr bwMode="auto">
              <a:xfrm>
                <a:off x="8300853" y="595611"/>
                <a:ext cx="1311275" cy="657225"/>
              </a:xfrm>
              <a:custGeom>
                <a:avLst/>
                <a:gdLst>
                  <a:gd name="T0" fmla="*/ 665 w 1330"/>
                  <a:gd name="T1" fmla="*/ 59 h 665"/>
                  <a:gd name="T2" fmla="*/ 1271 w 1330"/>
                  <a:gd name="T3" fmla="*/ 665 h 665"/>
                  <a:gd name="T4" fmla="*/ 1330 w 1330"/>
                  <a:gd name="T5" fmla="*/ 665 h 665"/>
                  <a:gd name="T6" fmla="*/ 665 w 1330"/>
                  <a:gd name="T7" fmla="*/ 0 h 665"/>
                  <a:gd name="T8" fmla="*/ 0 w 1330"/>
                  <a:gd name="T9" fmla="*/ 665 h 665"/>
                  <a:gd name="T10" fmla="*/ 59 w 1330"/>
                  <a:gd name="T11" fmla="*/ 665 h 665"/>
                  <a:gd name="T12" fmla="*/ 665 w 1330"/>
                  <a:gd name="T13" fmla="*/ 59 h 665"/>
                </a:gdLst>
                <a:ahLst/>
                <a:cxnLst>
                  <a:cxn ang="0">
                    <a:pos x="T0" y="T1"/>
                  </a:cxn>
                  <a:cxn ang="0">
                    <a:pos x="T2" y="T3"/>
                  </a:cxn>
                  <a:cxn ang="0">
                    <a:pos x="T4" y="T5"/>
                  </a:cxn>
                  <a:cxn ang="0">
                    <a:pos x="T6" y="T7"/>
                  </a:cxn>
                  <a:cxn ang="0">
                    <a:pos x="T8" y="T9"/>
                  </a:cxn>
                  <a:cxn ang="0">
                    <a:pos x="T10" y="T11"/>
                  </a:cxn>
                  <a:cxn ang="0">
                    <a:pos x="T12" y="T13"/>
                  </a:cxn>
                </a:cxnLst>
                <a:rect l="0" t="0" r="r" b="b"/>
                <a:pathLst>
                  <a:path w="1330" h="665">
                    <a:moveTo>
                      <a:pt x="665" y="59"/>
                    </a:moveTo>
                    <a:cubicBezTo>
                      <a:pt x="1000" y="59"/>
                      <a:pt x="1271" y="330"/>
                      <a:pt x="1271" y="665"/>
                    </a:cubicBezTo>
                    <a:cubicBezTo>
                      <a:pt x="1330" y="665"/>
                      <a:pt x="1330" y="665"/>
                      <a:pt x="1330" y="665"/>
                    </a:cubicBezTo>
                    <a:cubicBezTo>
                      <a:pt x="1330" y="298"/>
                      <a:pt x="1032" y="0"/>
                      <a:pt x="665" y="0"/>
                    </a:cubicBezTo>
                    <a:cubicBezTo>
                      <a:pt x="298" y="0"/>
                      <a:pt x="0" y="298"/>
                      <a:pt x="0" y="665"/>
                    </a:cubicBezTo>
                    <a:cubicBezTo>
                      <a:pt x="59" y="665"/>
                      <a:pt x="59" y="665"/>
                      <a:pt x="59" y="665"/>
                    </a:cubicBezTo>
                    <a:cubicBezTo>
                      <a:pt x="59" y="330"/>
                      <a:pt x="330" y="59"/>
                      <a:pt x="665" y="59"/>
                    </a:cubicBezTo>
                    <a:close/>
                  </a:path>
                </a:pathLst>
              </a:custGeom>
              <a:solidFill>
                <a:schemeClr val="tx1"/>
              </a:solid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sp>
            <p:nvSpPr>
              <p:cNvPr id="87" name="Oval 625"/>
              <p:cNvSpPr>
                <a:spLocks noChangeArrowheads="1"/>
              </p:cNvSpPr>
              <p:nvPr/>
            </p:nvSpPr>
            <p:spPr bwMode="auto">
              <a:xfrm>
                <a:off x="8896165" y="705148"/>
                <a:ext cx="111125" cy="111125"/>
              </a:xfrm>
              <a:prstGeom prst="ellipse">
                <a:avLst/>
              </a:prstGeom>
              <a:grp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sp>
            <p:nvSpPr>
              <p:cNvPr id="88" name="Oval 626"/>
              <p:cNvSpPr>
                <a:spLocks noChangeArrowheads="1"/>
              </p:cNvSpPr>
              <p:nvPr/>
            </p:nvSpPr>
            <p:spPr bwMode="auto">
              <a:xfrm>
                <a:off x="9164453" y="798810"/>
                <a:ext cx="109538" cy="111125"/>
              </a:xfrm>
              <a:prstGeom prst="ellipse">
                <a:avLst/>
              </a:prstGeom>
              <a:grp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sp>
            <p:nvSpPr>
              <p:cNvPr id="89" name="Oval 627"/>
              <p:cNvSpPr>
                <a:spLocks noChangeArrowheads="1"/>
              </p:cNvSpPr>
              <p:nvPr/>
            </p:nvSpPr>
            <p:spPr bwMode="auto">
              <a:xfrm>
                <a:off x="8627878" y="798810"/>
                <a:ext cx="111125" cy="111125"/>
              </a:xfrm>
              <a:prstGeom prst="ellipse">
                <a:avLst/>
              </a:prstGeom>
              <a:grp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sp>
            <p:nvSpPr>
              <p:cNvPr id="90" name="Oval 628"/>
              <p:cNvSpPr>
                <a:spLocks noChangeArrowheads="1"/>
              </p:cNvSpPr>
              <p:nvPr/>
            </p:nvSpPr>
            <p:spPr bwMode="auto">
              <a:xfrm>
                <a:off x="9327965" y="990898"/>
                <a:ext cx="111125" cy="111125"/>
              </a:xfrm>
              <a:prstGeom prst="ellipse">
                <a:avLst/>
              </a:prstGeom>
              <a:grp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sp>
            <p:nvSpPr>
              <p:cNvPr id="91" name="Oval 629"/>
              <p:cNvSpPr>
                <a:spLocks noChangeArrowheads="1"/>
              </p:cNvSpPr>
              <p:nvPr/>
            </p:nvSpPr>
            <p:spPr bwMode="auto">
              <a:xfrm>
                <a:off x="8462778" y="990898"/>
                <a:ext cx="111125" cy="111125"/>
              </a:xfrm>
              <a:prstGeom prst="ellipse">
                <a:avLst/>
              </a:prstGeom>
              <a:grp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sp>
            <p:nvSpPr>
              <p:cNvPr id="92" name="Freeform 630"/>
              <p:cNvSpPr>
                <a:spLocks noEditPoints="1"/>
              </p:cNvSpPr>
              <p:nvPr/>
            </p:nvSpPr>
            <p:spPr bwMode="auto">
              <a:xfrm>
                <a:off x="8858581" y="955973"/>
                <a:ext cx="365125" cy="361950"/>
              </a:xfrm>
              <a:custGeom>
                <a:avLst/>
                <a:gdLst>
                  <a:gd name="T0" fmla="*/ 229 w 369"/>
                  <a:gd name="T1" fmla="*/ 0 h 367"/>
                  <a:gd name="T2" fmla="*/ 266 w 369"/>
                  <a:gd name="T3" fmla="*/ 37 h 367"/>
                  <a:gd name="T4" fmla="*/ 104 w 369"/>
                  <a:gd name="T5" fmla="*/ 199 h 367"/>
                  <a:gd name="T6" fmla="*/ 86 w 369"/>
                  <a:gd name="T7" fmla="*/ 197 h 367"/>
                  <a:gd name="T8" fmla="*/ 0 w 369"/>
                  <a:gd name="T9" fmla="*/ 282 h 367"/>
                  <a:gd name="T10" fmla="*/ 86 w 369"/>
                  <a:gd name="T11" fmla="*/ 367 h 367"/>
                  <a:gd name="T12" fmla="*/ 171 w 369"/>
                  <a:gd name="T13" fmla="*/ 282 h 367"/>
                  <a:gd name="T14" fmla="*/ 169 w 369"/>
                  <a:gd name="T15" fmla="*/ 266 h 367"/>
                  <a:gd name="T16" fmla="*/ 332 w 369"/>
                  <a:gd name="T17" fmla="*/ 103 h 367"/>
                  <a:gd name="T18" fmla="*/ 369 w 369"/>
                  <a:gd name="T19" fmla="*/ 139 h 367"/>
                  <a:gd name="T20" fmla="*/ 369 w 369"/>
                  <a:gd name="T21" fmla="*/ 0 h 367"/>
                  <a:gd name="T22" fmla="*/ 229 w 369"/>
                  <a:gd name="T23" fmla="*/ 0 h 367"/>
                  <a:gd name="T24" fmla="*/ 86 w 369"/>
                  <a:gd name="T25" fmla="*/ 335 h 367"/>
                  <a:gd name="T26" fmla="*/ 32 w 369"/>
                  <a:gd name="T27" fmla="*/ 282 h 367"/>
                  <a:gd name="T28" fmla="*/ 86 w 369"/>
                  <a:gd name="T29" fmla="*/ 229 h 367"/>
                  <a:gd name="T30" fmla="*/ 139 w 369"/>
                  <a:gd name="T31" fmla="*/ 282 h 367"/>
                  <a:gd name="T32" fmla="*/ 86 w 369"/>
                  <a:gd name="T33" fmla="*/ 335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9" h="367">
                    <a:moveTo>
                      <a:pt x="229" y="0"/>
                    </a:moveTo>
                    <a:cubicBezTo>
                      <a:pt x="266" y="37"/>
                      <a:pt x="266" y="37"/>
                      <a:pt x="266" y="37"/>
                    </a:cubicBezTo>
                    <a:cubicBezTo>
                      <a:pt x="104" y="199"/>
                      <a:pt x="104" y="199"/>
                      <a:pt x="104" y="199"/>
                    </a:cubicBezTo>
                    <a:cubicBezTo>
                      <a:pt x="98" y="197"/>
                      <a:pt x="92" y="197"/>
                      <a:pt x="86" y="197"/>
                    </a:cubicBezTo>
                    <a:cubicBezTo>
                      <a:pt x="39" y="197"/>
                      <a:pt x="0" y="235"/>
                      <a:pt x="0" y="282"/>
                    </a:cubicBezTo>
                    <a:cubicBezTo>
                      <a:pt x="0" y="329"/>
                      <a:pt x="39" y="367"/>
                      <a:pt x="86" y="367"/>
                    </a:cubicBezTo>
                    <a:cubicBezTo>
                      <a:pt x="133" y="367"/>
                      <a:pt x="171" y="329"/>
                      <a:pt x="171" y="282"/>
                    </a:cubicBezTo>
                    <a:cubicBezTo>
                      <a:pt x="171" y="276"/>
                      <a:pt x="170" y="271"/>
                      <a:pt x="169" y="266"/>
                    </a:cubicBezTo>
                    <a:cubicBezTo>
                      <a:pt x="332" y="103"/>
                      <a:pt x="332" y="103"/>
                      <a:pt x="332" y="103"/>
                    </a:cubicBezTo>
                    <a:cubicBezTo>
                      <a:pt x="369" y="139"/>
                      <a:pt x="369" y="139"/>
                      <a:pt x="369" y="139"/>
                    </a:cubicBezTo>
                    <a:cubicBezTo>
                      <a:pt x="369" y="0"/>
                      <a:pt x="369" y="0"/>
                      <a:pt x="369" y="0"/>
                    </a:cubicBezTo>
                    <a:lnTo>
                      <a:pt x="229" y="0"/>
                    </a:lnTo>
                    <a:close/>
                    <a:moveTo>
                      <a:pt x="86" y="335"/>
                    </a:moveTo>
                    <a:cubicBezTo>
                      <a:pt x="56" y="335"/>
                      <a:pt x="32" y="311"/>
                      <a:pt x="32" y="282"/>
                    </a:cubicBezTo>
                    <a:cubicBezTo>
                      <a:pt x="32" y="253"/>
                      <a:pt x="56" y="229"/>
                      <a:pt x="86" y="229"/>
                    </a:cubicBezTo>
                    <a:cubicBezTo>
                      <a:pt x="115" y="229"/>
                      <a:pt x="139" y="253"/>
                      <a:pt x="139" y="282"/>
                    </a:cubicBezTo>
                    <a:cubicBezTo>
                      <a:pt x="139" y="311"/>
                      <a:pt x="115" y="335"/>
                      <a:pt x="86" y="335"/>
                    </a:cubicBezTo>
                    <a:close/>
                  </a:path>
                </a:pathLst>
              </a:custGeom>
              <a:solidFill>
                <a:schemeClr val="tx1"/>
              </a:solidFill>
              <a:ln>
                <a:solidFill>
                  <a:schemeClr val="tx1"/>
                </a:solidFill>
              </a:ln>
              <a:scene3d>
                <a:camera prst="orthographicFront">
                  <a:rot lat="0" lon="0" rev="0"/>
                </a:camera>
                <a:lightRig rig="threePt" dir="t"/>
              </a:scene3d>
              <a:extLst/>
            </p:spPr>
            <p:txBody>
              <a:bodyPr vert="horz" wrap="square" lIns="91440" tIns="45720" rIns="91440" bIns="45720" numCol="1" anchor="t" anchorCtr="0" compatLnSpc="1">
                <a:prstTxWarp prst="textNoShape">
                  <a:avLst/>
                </a:prstTxWarp>
              </a:bodyPr>
              <a:lstStyle/>
              <a:p>
                <a:endParaRPr lang="en-US"/>
              </a:p>
            </p:txBody>
          </p:sp>
          <p:sp>
            <p:nvSpPr>
              <p:cNvPr id="93" name="Freeform 631"/>
              <p:cNvSpPr>
                <a:spLocks noEditPoints="1"/>
              </p:cNvSpPr>
              <p:nvPr/>
            </p:nvSpPr>
            <p:spPr bwMode="auto">
              <a:xfrm>
                <a:off x="8418328" y="1198860"/>
                <a:ext cx="1071563" cy="53975"/>
              </a:xfrm>
              <a:custGeom>
                <a:avLst/>
                <a:gdLst>
                  <a:gd name="T0" fmla="*/ 56 w 1085"/>
                  <a:gd name="T1" fmla="*/ 0 h 56"/>
                  <a:gd name="T2" fmla="*/ 0 w 1085"/>
                  <a:gd name="T3" fmla="*/ 56 h 56"/>
                  <a:gd name="T4" fmla="*/ 112 w 1085"/>
                  <a:gd name="T5" fmla="*/ 56 h 56"/>
                  <a:gd name="T6" fmla="*/ 56 w 1085"/>
                  <a:gd name="T7" fmla="*/ 0 h 56"/>
                  <a:gd name="T8" fmla="*/ 1029 w 1085"/>
                  <a:gd name="T9" fmla="*/ 0 h 56"/>
                  <a:gd name="T10" fmla="*/ 973 w 1085"/>
                  <a:gd name="T11" fmla="*/ 56 h 56"/>
                  <a:gd name="T12" fmla="*/ 1085 w 1085"/>
                  <a:gd name="T13" fmla="*/ 56 h 56"/>
                  <a:gd name="T14" fmla="*/ 1029 w 1085"/>
                  <a:gd name="T15" fmla="*/ 0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5" h="56">
                    <a:moveTo>
                      <a:pt x="56" y="0"/>
                    </a:moveTo>
                    <a:cubicBezTo>
                      <a:pt x="25" y="0"/>
                      <a:pt x="0" y="25"/>
                      <a:pt x="0" y="56"/>
                    </a:cubicBezTo>
                    <a:cubicBezTo>
                      <a:pt x="112" y="56"/>
                      <a:pt x="112" y="56"/>
                      <a:pt x="112" y="56"/>
                    </a:cubicBezTo>
                    <a:cubicBezTo>
                      <a:pt x="112" y="25"/>
                      <a:pt x="87" y="0"/>
                      <a:pt x="56" y="0"/>
                    </a:cubicBezTo>
                    <a:close/>
                    <a:moveTo>
                      <a:pt x="1029" y="0"/>
                    </a:moveTo>
                    <a:cubicBezTo>
                      <a:pt x="998" y="0"/>
                      <a:pt x="973" y="25"/>
                      <a:pt x="973" y="56"/>
                    </a:cubicBezTo>
                    <a:cubicBezTo>
                      <a:pt x="1085" y="56"/>
                      <a:pt x="1085" y="56"/>
                      <a:pt x="1085" y="56"/>
                    </a:cubicBezTo>
                    <a:cubicBezTo>
                      <a:pt x="1085" y="25"/>
                      <a:pt x="1060" y="0"/>
                      <a:pt x="1029" y="0"/>
                    </a:cubicBezTo>
                    <a:close/>
                  </a:path>
                </a:pathLst>
              </a:custGeom>
              <a:grp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grpSp>
      </p:grpSp>
      <p:grpSp>
        <p:nvGrpSpPr>
          <p:cNvPr id="94" name="Group 93"/>
          <p:cNvGrpSpPr/>
          <p:nvPr>
            <p:custDataLst>
              <p:tags r:id="rId14"/>
            </p:custDataLst>
          </p:nvPr>
        </p:nvGrpSpPr>
        <p:grpSpPr>
          <a:xfrm>
            <a:off x="6695152" y="3072385"/>
            <a:ext cx="1410051" cy="1409685"/>
            <a:chOff x="8046471" y="-28575"/>
            <a:chExt cx="1879579" cy="1879580"/>
          </a:xfrm>
          <a:solidFill>
            <a:schemeClr val="accent6"/>
          </a:solidFill>
        </p:grpSpPr>
        <p:sp>
          <p:nvSpPr>
            <p:cNvPr id="95" name="Rectangle 94"/>
            <p:cNvSpPr/>
            <p:nvPr/>
          </p:nvSpPr>
          <p:spPr bwMode="auto">
            <a:xfrm>
              <a:off x="8046471" y="-28575"/>
              <a:ext cx="1879579" cy="187958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37" fontAlgn="base">
                <a:spcBef>
                  <a:spcPct val="0"/>
                </a:spcBef>
                <a:spcAft>
                  <a:spcPct val="0"/>
                </a:spcAft>
              </a:pPr>
              <a:endParaRPr lang="en-US"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96" name="Group 233"/>
            <p:cNvGrpSpPr/>
            <p:nvPr/>
          </p:nvGrpSpPr>
          <p:grpSpPr>
            <a:xfrm>
              <a:off x="8300853" y="595611"/>
              <a:ext cx="1311275" cy="722312"/>
              <a:chOff x="8300853" y="595611"/>
              <a:chExt cx="1311275" cy="722312"/>
            </a:xfrm>
            <a:grpFill/>
          </p:grpSpPr>
          <p:sp>
            <p:nvSpPr>
              <p:cNvPr id="97" name="Freeform 624"/>
              <p:cNvSpPr>
                <a:spLocks/>
              </p:cNvSpPr>
              <p:nvPr/>
            </p:nvSpPr>
            <p:spPr bwMode="auto">
              <a:xfrm>
                <a:off x="8300853" y="595611"/>
                <a:ext cx="1311275" cy="657225"/>
              </a:xfrm>
              <a:custGeom>
                <a:avLst/>
                <a:gdLst>
                  <a:gd name="T0" fmla="*/ 665 w 1330"/>
                  <a:gd name="T1" fmla="*/ 59 h 665"/>
                  <a:gd name="T2" fmla="*/ 1271 w 1330"/>
                  <a:gd name="T3" fmla="*/ 665 h 665"/>
                  <a:gd name="T4" fmla="*/ 1330 w 1330"/>
                  <a:gd name="T5" fmla="*/ 665 h 665"/>
                  <a:gd name="T6" fmla="*/ 665 w 1330"/>
                  <a:gd name="T7" fmla="*/ 0 h 665"/>
                  <a:gd name="T8" fmla="*/ 0 w 1330"/>
                  <a:gd name="T9" fmla="*/ 665 h 665"/>
                  <a:gd name="T10" fmla="*/ 59 w 1330"/>
                  <a:gd name="T11" fmla="*/ 665 h 665"/>
                  <a:gd name="T12" fmla="*/ 665 w 1330"/>
                  <a:gd name="T13" fmla="*/ 59 h 665"/>
                </a:gdLst>
                <a:ahLst/>
                <a:cxnLst>
                  <a:cxn ang="0">
                    <a:pos x="T0" y="T1"/>
                  </a:cxn>
                  <a:cxn ang="0">
                    <a:pos x="T2" y="T3"/>
                  </a:cxn>
                  <a:cxn ang="0">
                    <a:pos x="T4" y="T5"/>
                  </a:cxn>
                  <a:cxn ang="0">
                    <a:pos x="T6" y="T7"/>
                  </a:cxn>
                  <a:cxn ang="0">
                    <a:pos x="T8" y="T9"/>
                  </a:cxn>
                  <a:cxn ang="0">
                    <a:pos x="T10" y="T11"/>
                  </a:cxn>
                  <a:cxn ang="0">
                    <a:pos x="T12" y="T13"/>
                  </a:cxn>
                </a:cxnLst>
                <a:rect l="0" t="0" r="r" b="b"/>
                <a:pathLst>
                  <a:path w="1330" h="665">
                    <a:moveTo>
                      <a:pt x="665" y="59"/>
                    </a:moveTo>
                    <a:cubicBezTo>
                      <a:pt x="1000" y="59"/>
                      <a:pt x="1271" y="330"/>
                      <a:pt x="1271" y="665"/>
                    </a:cubicBezTo>
                    <a:cubicBezTo>
                      <a:pt x="1330" y="665"/>
                      <a:pt x="1330" y="665"/>
                      <a:pt x="1330" y="665"/>
                    </a:cubicBezTo>
                    <a:cubicBezTo>
                      <a:pt x="1330" y="298"/>
                      <a:pt x="1032" y="0"/>
                      <a:pt x="665" y="0"/>
                    </a:cubicBezTo>
                    <a:cubicBezTo>
                      <a:pt x="298" y="0"/>
                      <a:pt x="0" y="298"/>
                      <a:pt x="0" y="665"/>
                    </a:cubicBezTo>
                    <a:cubicBezTo>
                      <a:pt x="59" y="665"/>
                      <a:pt x="59" y="665"/>
                      <a:pt x="59" y="665"/>
                    </a:cubicBezTo>
                    <a:cubicBezTo>
                      <a:pt x="59" y="330"/>
                      <a:pt x="330" y="59"/>
                      <a:pt x="665" y="59"/>
                    </a:cubicBezTo>
                    <a:close/>
                  </a:path>
                </a:pathLst>
              </a:custGeom>
              <a:solidFill>
                <a:schemeClr val="tx1"/>
              </a:solid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sp>
            <p:nvSpPr>
              <p:cNvPr id="98" name="Oval 625"/>
              <p:cNvSpPr>
                <a:spLocks noChangeArrowheads="1"/>
              </p:cNvSpPr>
              <p:nvPr/>
            </p:nvSpPr>
            <p:spPr bwMode="auto">
              <a:xfrm>
                <a:off x="8896165" y="705148"/>
                <a:ext cx="111125" cy="111125"/>
              </a:xfrm>
              <a:prstGeom prst="ellipse">
                <a:avLst/>
              </a:prstGeom>
              <a:grp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sp>
            <p:nvSpPr>
              <p:cNvPr id="99" name="Oval 626"/>
              <p:cNvSpPr>
                <a:spLocks noChangeArrowheads="1"/>
              </p:cNvSpPr>
              <p:nvPr/>
            </p:nvSpPr>
            <p:spPr bwMode="auto">
              <a:xfrm>
                <a:off x="9164453" y="798810"/>
                <a:ext cx="109538" cy="111125"/>
              </a:xfrm>
              <a:prstGeom prst="ellipse">
                <a:avLst/>
              </a:prstGeom>
              <a:grp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sp>
            <p:nvSpPr>
              <p:cNvPr id="100" name="Oval 627"/>
              <p:cNvSpPr>
                <a:spLocks noChangeArrowheads="1"/>
              </p:cNvSpPr>
              <p:nvPr/>
            </p:nvSpPr>
            <p:spPr bwMode="auto">
              <a:xfrm>
                <a:off x="8627878" y="798810"/>
                <a:ext cx="111125" cy="111125"/>
              </a:xfrm>
              <a:prstGeom prst="ellipse">
                <a:avLst/>
              </a:prstGeom>
              <a:grp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sp>
            <p:nvSpPr>
              <p:cNvPr id="101" name="Oval 628"/>
              <p:cNvSpPr>
                <a:spLocks noChangeArrowheads="1"/>
              </p:cNvSpPr>
              <p:nvPr/>
            </p:nvSpPr>
            <p:spPr bwMode="auto">
              <a:xfrm>
                <a:off x="9327965" y="990898"/>
                <a:ext cx="111125" cy="111125"/>
              </a:xfrm>
              <a:prstGeom prst="ellipse">
                <a:avLst/>
              </a:prstGeom>
              <a:grp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sp>
            <p:nvSpPr>
              <p:cNvPr id="102" name="Oval 629"/>
              <p:cNvSpPr>
                <a:spLocks noChangeArrowheads="1"/>
              </p:cNvSpPr>
              <p:nvPr/>
            </p:nvSpPr>
            <p:spPr bwMode="auto">
              <a:xfrm>
                <a:off x="8462778" y="990898"/>
                <a:ext cx="111125" cy="111125"/>
              </a:xfrm>
              <a:prstGeom prst="ellipse">
                <a:avLst/>
              </a:prstGeom>
              <a:grp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sp>
            <p:nvSpPr>
              <p:cNvPr id="103" name="Freeform 630"/>
              <p:cNvSpPr>
                <a:spLocks noEditPoints="1"/>
              </p:cNvSpPr>
              <p:nvPr/>
            </p:nvSpPr>
            <p:spPr bwMode="auto">
              <a:xfrm>
                <a:off x="8858581" y="955973"/>
                <a:ext cx="365125" cy="361950"/>
              </a:xfrm>
              <a:custGeom>
                <a:avLst/>
                <a:gdLst>
                  <a:gd name="T0" fmla="*/ 229 w 369"/>
                  <a:gd name="T1" fmla="*/ 0 h 367"/>
                  <a:gd name="T2" fmla="*/ 266 w 369"/>
                  <a:gd name="T3" fmla="*/ 37 h 367"/>
                  <a:gd name="T4" fmla="*/ 104 w 369"/>
                  <a:gd name="T5" fmla="*/ 199 h 367"/>
                  <a:gd name="T6" fmla="*/ 86 w 369"/>
                  <a:gd name="T7" fmla="*/ 197 h 367"/>
                  <a:gd name="T8" fmla="*/ 0 w 369"/>
                  <a:gd name="T9" fmla="*/ 282 h 367"/>
                  <a:gd name="T10" fmla="*/ 86 w 369"/>
                  <a:gd name="T11" fmla="*/ 367 h 367"/>
                  <a:gd name="T12" fmla="*/ 171 w 369"/>
                  <a:gd name="T13" fmla="*/ 282 h 367"/>
                  <a:gd name="T14" fmla="*/ 169 w 369"/>
                  <a:gd name="T15" fmla="*/ 266 h 367"/>
                  <a:gd name="T16" fmla="*/ 332 w 369"/>
                  <a:gd name="T17" fmla="*/ 103 h 367"/>
                  <a:gd name="T18" fmla="*/ 369 w 369"/>
                  <a:gd name="T19" fmla="*/ 139 h 367"/>
                  <a:gd name="T20" fmla="*/ 369 w 369"/>
                  <a:gd name="T21" fmla="*/ 0 h 367"/>
                  <a:gd name="T22" fmla="*/ 229 w 369"/>
                  <a:gd name="T23" fmla="*/ 0 h 367"/>
                  <a:gd name="T24" fmla="*/ 86 w 369"/>
                  <a:gd name="T25" fmla="*/ 335 h 367"/>
                  <a:gd name="T26" fmla="*/ 32 w 369"/>
                  <a:gd name="T27" fmla="*/ 282 h 367"/>
                  <a:gd name="T28" fmla="*/ 86 w 369"/>
                  <a:gd name="T29" fmla="*/ 229 h 367"/>
                  <a:gd name="T30" fmla="*/ 139 w 369"/>
                  <a:gd name="T31" fmla="*/ 282 h 367"/>
                  <a:gd name="T32" fmla="*/ 86 w 369"/>
                  <a:gd name="T33" fmla="*/ 335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9" h="367">
                    <a:moveTo>
                      <a:pt x="229" y="0"/>
                    </a:moveTo>
                    <a:cubicBezTo>
                      <a:pt x="266" y="37"/>
                      <a:pt x="266" y="37"/>
                      <a:pt x="266" y="37"/>
                    </a:cubicBezTo>
                    <a:cubicBezTo>
                      <a:pt x="104" y="199"/>
                      <a:pt x="104" y="199"/>
                      <a:pt x="104" y="199"/>
                    </a:cubicBezTo>
                    <a:cubicBezTo>
                      <a:pt x="98" y="197"/>
                      <a:pt x="92" y="197"/>
                      <a:pt x="86" y="197"/>
                    </a:cubicBezTo>
                    <a:cubicBezTo>
                      <a:pt x="39" y="197"/>
                      <a:pt x="0" y="235"/>
                      <a:pt x="0" y="282"/>
                    </a:cubicBezTo>
                    <a:cubicBezTo>
                      <a:pt x="0" y="329"/>
                      <a:pt x="39" y="367"/>
                      <a:pt x="86" y="367"/>
                    </a:cubicBezTo>
                    <a:cubicBezTo>
                      <a:pt x="133" y="367"/>
                      <a:pt x="171" y="329"/>
                      <a:pt x="171" y="282"/>
                    </a:cubicBezTo>
                    <a:cubicBezTo>
                      <a:pt x="171" y="276"/>
                      <a:pt x="170" y="271"/>
                      <a:pt x="169" y="266"/>
                    </a:cubicBezTo>
                    <a:cubicBezTo>
                      <a:pt x="332" y="103"/>
                      <a:pt x="332" y="103"/>
                      <a:pt x="332" y="103"/>
                    </a:cubicBezTo>
                    <a:cubicBezTo>
                      <a:pt x="369" y="139"/>
                      <a:pt x="369" y="139"/>
                      <a:pt x="369" y="139"/>
                    </a:cubicBezTo>
                    <a:cubicBezTo>
                      <a:pt x="369" y="0"/>
                      <a:pt x="369" y="0"/>
                      <a:pt x="369" y="0"/>
                    </a:cubicBezTo>
                    <a:lnTo>
                      <a:pt x="229" y="0"/>
                    </a:lnTo>
                    <a:close/>
                    <a:moveTo>
                      <a:pt x="86" y="335"/>
                    </a:moveTo>
                    <a:cubicBezTo>
                      <a:pt x="56" y="335"/>
                      <a:pt x="32" y="311"/>
                      <a:pt x="32" y="282"/>
                    </a:cubicBezTo>
                    <a:cubicBezTo>
                      <a:pt x="32" y="253"/>
                      <a:pt x="56" y="229"/>
                      <a:pt x="86" y="229"/>
                    </a:cubicBezTo>
                    <a:cubicBezTo>
                      <a:pt x="115" y="229"/>
                      <a:pt x="139" y="253"/>
                      <a:pt x="139" y="282"/>
                    </a:cubicBezTo>
                    <a:cubicBezTo>
                      <a:pt x="139" y="311"/>
                      <a:pt x="115" y="335"/>
                      <a:pt x="86" y="335"/>
                    </a:cubicBezTo>
                    <a:close/>
                  </a:path>
                </a:pathLst>
              </a:custGeom>
              <a:solidFill>
                <a:schemeClr val="tx1"/>
              </a:solidFill>
              <a:ln>
                <a:solidFill>
                  <a:schemeClr val="tx1"/>
                </a:solidFill>
              </a:ln>
              <a:scene3d>
                <a:camera prst="orthographicFront">
                  <a:rot lat="0" lon="0" rev="0"/>
                </a:camera>
                <a:lightRig rig="threePt" dir="t"/>
              </a:scene3d>
              <a:extLst/>
            </p:spPr>
            <p:txBody>
              <a:bodyPr vert="horz" wrap="square" lIns="91440" tIns="45720" rIns="91440" bIns="45720" numCol="1" anchor="t" anchorCtr="0" compatLnSpc="1">
                <a:prstTxWarp prst="textNoShape">
                  <a:avLst/>
                </a:prstTxWarp>
              </a:bodyPr>
              <a:lstStyle/>
              <a:p>
                <a:endParaRPr lang="en-US"/>
              </a:p>
            </p:txBody>
          </p:sp>
          <p:sp>
            <p:nvSpPr>
              <p:cNvPr id="104" name="Freeform 631"/>
              <p:cNvSpPr>
                <a:spLocks noEditPoints="1"/>
              </p:cNvSpPr>
              <p:nvPr/>
            </p:nvSpPr>
            <p:spPr bwMode="auto">
              <a:xfrm>
                <a:off x="8418328" y="1198860"/>
                <a:ext cx="1071563" cy="53975"/>
              </a:xfrm>
              <a:custGeom>
                <a:avLst/>
                <a:gdLst>
                  <a:gd name="T0" fmla="*/ 56 w 1085"/>
                  <a:gd name="T1" fmla="*/ 0 h 56"/>
                  <a:gd name="T2" fmla="*/ 0 w 1085"/>
                  <a:gd name="T3" fmla="*/ 56 h 56"/>
                  <a:gd name="T4" fmla="*/ 112 w 1085"/>
                  <a:gd name="T5" fmla="*/ 56 h 56"/>
                  <a:gd name="T6" fmla="*/ 56 w 1085"/>
                  <a:gd name="T7" fmla="*/ 0 h 56"/>
                  <a:gd name="T8" fmla="*/ 1029 w 1085"/>
                  <a:gd name="T9" fmla="*/ 0 h 56"/>
                  <a:gd name="T10" fmla="*/ 973 w 1085"/>
                  <a:gd name="T11" fmla="*/ 56 h 56"/>
                  <a:gd name="T12" fmla="*/ 1085 w 1085"/>
                  <a:gd name="T13" fmla="*/ 56 h 56"/>
                  <a:gd name="T14" fmla="*/ 1029 w 1085"/>
                  <a:gd name="T15" fmla="*/ 0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5" h="56">
                    <a:moveTo>
                      <a:pt x="56" y="0"/>
                    </a:moveTo>
                    <a:cubicBezTo>
                      <a:pt x="25" y="0"/>
                      <a:pt x="0" y="25"/>
                      <a:pt x="0" y="56"/>
                    </a:cubicBezTo>
                    <a:cubicBezTo>
                      <a:pt x="112" y="56"/>
                      <a:pt x="112" y="56"/>
                      <a:pt x="112" y="56"/>
                    </a:cubicBezTo>
                    <a:cubicBezTo>
                      <a:pt x="112" y="25"/>
                      <a:pt x="87" y="0"/>
                      <a:pt x="56" y="0"/>
                    </a:cubicBezTo>
                    <a:close/>
                    <a:moveTo>
                      <a:pt x="1029" y="0"/>
                    </a:moveTo>
                    <a:cubicBezTo>
                      <a:pt x="998" y="0"/>
                      <a:pt x="973" y="25"/>
                      <a:pt x="973" y="56"/>
                    </a:cubicBezTo>
                    <a:cubicBezTo>
                      <a:pt x="1085" y="56"/>
                      <a:pt x="1085" y="56"/>
                      <a:pt x="1085" y="56"/>
                    </a:cubicBezTo>
                    <a:cubicBezTo>
                      <a:pt x="1085" y="25"/>
                      <a:pt x="1060" y="0"/>
                      <a:pt x="1029" y="0"/>
                    </a:cubicBezTo>
                    <a:close/>
                  </a:path>
                </a:pathLst>
              </a:custGeom>
              <a:grp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grpSp>
      </p:grpSp>
      <p:grpSp>
        <p:nvGrpSpPr>
          <p:cNvPr id="105" name="Group 104"/>
          <p:cNvGrpSpPr/>
          <p:nvPr>
            <p:custDataLst>
              <p:tags r:id="rId15"/>
            </p:custDataLst>
          </p:nvPr>
        </p:nvGrpSpPr>
        <p:grpSpPr>
          <a:xfrm>
            <a:off x="6695152" y="3072385"/>
            <a:ext cx="1410051" cy="1409685"/>
            <a:chOff x="8918194" y="4097040"/>
            <a:chExt cx="1879579" cy="1879580"/>
          </a:xfrm>
        </p:grpSpPr>
        <p:sp>
          <p:nvSpPr>
            <p:cNvPr id="106" name="Rectangle 105"/>
            <p:cNvSpPr/>
            <p:nvPr/>
          </p:nvSpPr>
          <p:spPr bwMode="auto">
            <a:xfrm>
              <a:off x="8918194" y="4097040"/>
              <a:ext cx="1879579" cy="1879580"/>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37" fontAlgn="base">
                <a:spcBef>
                  <a:spcPct val="0"/>
                </a:spcBef>
                <a:spcAft>
                  <a:spcPct val="0"/>
                </a:spcAft>
              </a:pPr>
              <a:endParaRPr lang="en-US"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07" name="Group 106"/>
            <p:cNvGrpSpPr/>
            <p:nvPr/>
          </p:nvGrpSpPr>
          <p:grpSpPr>
            <a:xfrm>
              <a:off x="9144001" y="4692651"/>
              <a:ext cx="1311275" cy="779462"/>
              <a:chOff x="9144001" y="4692651"/>
              <a:chExt cx="1311275" cy="779462"/>
            </a:xfrm>
          </p:grpSpPr>
          <p:sp>
            <p:nvSpPr>
              <p:cNvPr id="108" name="Freeform 624"/>
              <p:cNvSpPr>
                <a:spLocks/>
              </p:cNvSpPr>
              <p:nvPr/>
            </p:nvSpPr>
            <p:spPr bwMode="auto">
              <a:xfrm>
                <a:off x="9144001" y="4692651"/>
                <a:ext cx="1311275" cy="657225"/>
              </a:xfrm>
              <a:custGeom>
                <a:avLst/>
                <a:gdLst>
                  <a:gd name="T0" fmla="*/ 665 w 1330"/>
                  <a:gd name="T1" fmla="*/ 59 h 665"/>
                  <a:gd name="T2" fmla="*/ 1271 w 1330"/>
                  <a:gd name="T3" fmla="*/ 665 h 665"/>
                  <a:gd name="T4" fmla="*/ 1330 w 1330"/>
                  <a:gd name="T5" fmla="*/ 665 h 665"/>
                  <a:gd name="T6" fmla="*/ 665 w 1330"/>
                  <a:gd name="T7" fmla="*/ 0 h 665"/>
                  <a:gd name="T8" fmla="*/ 0 w 1330"/>
                  <a:gd name="T9" fmla="*/ 665 h 665"/>
                  <a:gd name="T10" fmla="*/ 59 w 1330"/>
                  <a:gd name="T11" fmla="*/ 665 h 665"/>
                  <a:gd name="T12" fmla="*/ 665 w 1330"/>
                  <a:gd name="T13" fmla="*/ 59 h 665"/>
                </a:gdLst>
                <a:ahLst/>
                <a:cxnLst>
                  <a:cxn ang="0">
                    <a:pos x="T0" y="T1"/>
                  </a:cxn>
                  <a:cxn ang="0">
                    <a:pos x="T2" y="T3"/>
                  </a:cxn>
                  <a:cxn ang="0">
                    <a:pos x="T4" y="T5"/>
                  </a:cxn>
                  <a:cxn ang="0">
                    <a:pos x="T6" y="T7"/>
                  </a:cxn>
                  <a:cxn ang="0">
                    <a:pos x="T8" y="T9"/>
                  </a:cxn>
                  <a:cxn ang="0">
                    <a:pos x="T10" y="T11"/>
                  </a:cxn>
                  <a:cxn ang="0">
                    <a:pos x="T12" y="T13"/>
                  </a:cxn>
                </a:cxnLst>
                <a:rect l="0" t="0" r="r" b="b"/>
                <a:pathLst>
                  <a:path w="1330" h="665">
                    <a:moveTo>
                      <a:pt x="665" y="59"/>
                    </a:moveTo>
                    <a:cubicBezTo>
                      <a:pt x="1000" y="59"/>
                      <a:pt x="1271" y="330"/>
                      <a:pt x="1271" y="665"/>
                    </a:cubicBezTo>
                    <a:cubicBezTo>
                      <a:pt x="1330" y="665"/>
                      <a:pt x="1330" y="665"/>
                      <a:pt x="1330" y="665"/>
                    </a:cubicBezTo>
                    <a:cubicBezTo>
                      <a:pt x="1330" y="298"/>
                      <a:pt x="1032" y="0"/>
                      <a:pt x="665" y="0"/>
                    </a:cubicBezTo>
                    <a:cubicBezTo>
                      <a:pt x="298" y="0"/>
                      <a:pt x="0" y="298"/>
                      <a:pt x="0" y="665"/>
                    </a:cubicBezTo>
                    <a:cubicBezTo>
                      <a:pt x="59" y="665"/>
                      <a:pt x="59" y="665"/>
                      <a:pt x="59" y="665"/>
                    </a:cubicBezTo>
                    <a:cubicBezTo>
                      <a:pt x="59" y="330"/>
                      <a:pt x="330" y="59"/>
                      <a:pt x="665" y="59"/>
                    </a:cubicBezTo>
                    <a:close/>
                  </a:path>
                </a:pathLst>
              </a:custGeom>
              <a:solidFill>
                <a:schemeClr val="tx1"/>
              </a:solid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sp>
            <p:nvSpPr>
              <p:cNvPr id="109" name="Oval 625"/>
              <p:cNvSpPr>
                <a:spLocks noChangeArrowheads="1"/>
              </p:cNvSpPr>
              <p:nvPr/>
            </p:nvSpPr>
            <p:spPr bwMode="auto">
              <a:xfrm>
                <a:off x="9739313" y="4802188"/>
                <a:ext cx="111125" cy="111125"/>
              </a:xfrm>
              <a:prstGeom prst="ellipse">
                <a:avLst/>
              </a:prstGeom>
              <a:solidFill>
                <a:schemeClr val="tx1"/>
              </a:solid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sp>
            <p:nvSpPr>
              <p:cNvPr id="110" name="Oval 626"/>
              <p:cNvSpPr>
                <a:spLocks noChangeArrowheads="1"/>
              </p:cNvSpPr>
              <p:nvPr/>
            </p:nvSpPr>
            <p:spPr bwMode="auto">
              <a:xfrm>
                <a:off x="10007601" y="4895850"/>
                <a:ext cx="109538" cy="111125"/>
              </a:xfrm>
              <a:prstGeom prst="ellipse">
                <a:avLst/>
              </a:prstGeom>
              <a:solidFill>
                <a:schemeClr val="tx1"/>
              </a:solid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sp>
            <p:nvSpPr>
              <p:cNvPr id="111" name="Oval 627"/>
              <p:cNvSpPr>
                <a:spLocks noChangeArrowheads="1"/>
              </p:cNvSpPr>
              <p:nvPr/>
            </p:nvSpPr>
            <p:spPr bwMode="auto">
              <a:xfrm>
                <a:off x="9471026" y="4895850"/>
                <a:ext cx="111125" cy="111125"/>
              </a:xfrm>
              <a:prstGeom prst="ellipse">
                <a:avLst/>
              </a:prstGeom>
              <a:solidFill>
                <a:schemeClr val="tx1"/>
              </a:solid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sp>
            <p:nvSpPr>
              <p:cNvPr id="112" name="Oval 628"/>
              <p:cNvSpPr>
                <a:spLocks noChangeArrowheads="1"/>
              </p:cNvSpPr>
              <p:nvPr/>
            </p:nvSpPr>
            <p:spPr bwMode="auto">
              <a:xfrm>
                <a:off x="10171113" y="5087938"/>
                <a:ext cx="111125" cy="111125"/>
              </a:xfrm>
              <a:prstGeom prst="ellipse">
                <a:avLst/>
              </a:prstGeom>
              <a:solidFill>
                <a:schemeClr val="tx1"/>
              </a:solid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sp>
            <p:nvSpPr>
              <p:cNvPr id="113" name="Oval 629"/>
              <p:cNvSpPr>
                <a:spLocks noChangeArrowheads="1"/>
              </p:cNvSpPr>
              <p:nvPr/>
            </p:nvSpPr>
            <p:spPr bwMode="auto">
              <a:xfrm>
                <a:off x="9305926" y="5087938"/>
                <a:ext cx="111125" cy="111125"/>
              </a:xfrm>
              <a:prstGeom prst="ellipse">
                <a:avLst/>
              </a:prstGeom>
              <a:solidFill>
                <a:schemeClr val="tx1"/>
              </a:solid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sp>
            <p:nvSpPr>
              <p:cNvPr id="114" name="Freeform 630"/>
              <p:cNvSpPr>
                <a:spLocks noEditPoints="1"/>
              </p:cNvSpPr>
              <p:nvPr/>
            </p:nvSpPr>
            <p:spPr bwMode="auto">
              <a:xfrm>
                <a:off x="9785351" y="5110163"/>
                <a:ext cx="365125" cy="361950"/>
              </a:xfrm>
              <a:custGeom>
                <a:avLst/>
                <a:gdLst>
                  <a:gd name="T0" fmla="*/ 229 w 369"/>
                  <a:gd name="T1" fmla="*/ 0 h 367"/>
                  <a:gd name="T2" fmla="*/ 266 w 369"/>
                  <a:gd name="T3" fmla="*/ 37 h 367"/>
                  <a:gd name="T4" fmla="*/ 104 w 369"/>
                  <a:gd name="T5" fmla="*/ 199 h 367"/>
                  <a:gd name="T6" fmla="*/ 86 w 369"/>
                  <a:gd name="T7" fmla="*/ 197 h 367"/>
                  <a:gd name="T8" fmla="*/ 0 w 369"/>
                  <a:gd name="T9" fmla="*/ 282 h 367"/>
                  <a:gd name="T10" fmla="*/ 86 w 369"/>
                  <a:gd name="T11" fmla="*/ 367 h 367"/>
                  <a:gd name="T12" fmla="*/ 171 w 369"/>
                  <a:gd name="T13" fmla="*/ 282 h 367"/>
                  <a:gd name="T14" fmla="*/ 169 w 369"/>
                  <a:gd name="T15" fmla="*/ 266 h 367"/>
                  <a:gd name="T16" fmla="*/ 332 w 369"/>
                  <a:gd name="T17" fmla="*/ 103 h 367"/>
                  <a:gd name="T18" fmla="*/ 369 w 369"/>
                  <a:gd name="T19" fmla="*/ 139 h 367"/>
                  <a:gd name="T20" fmla="*/ 369 w 369"/>
                  <a:gd name="T21" fmla="*/ 0 h 367"/>
                  <a:gd name="T22" fmla="*/ 229 w 369"/>
                  <a:gd name="T23" fmla="*/ 0 h 367"/>
                  <a:gd name="T24" fmla="*/ 86 w 369"/>
                  <a:gd name="T25" fmla="*/ 335 h 367"/>
                  <a:gd name="T26" fmla="*/ 32 w 369"/>
                  <a:gd name="T27" fmla="*/ 282 h 367"/>
                  <a:gd name="T28" fmla="*/ 86 w 369"/>
                  <a:gd name="T29" fmla="*/ 229 h 367"/>
                  <a:gd name="T30" fmla="*/ 139 w 369"/>
                  <a:gd name="T31" fmla="*/ 282 h 367"/>
                  <a:gd name="T32" fmla="*/ 86 w 369"/>
                  <a:gd name="T33" fmla="*/ 335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9" h="367">
                    <a:moveTo>
                      <a:pt x="229" y="0"/>
                    </a:moveTo>
                    <a:cubicBezTo>
                      <a:pt x="266" y="37"/>
                      <a:pt x="266" y="37"/>
                      <a:pt x="266" y="37"/>
                    </a:cubicBezTo>
                    <a:cubicBezTo>
                      <a:pt x="104" y="199"/>
                      <a:pt x="104" y="199"/>
                      <a:pt x="104" y="199"/>
                    </a:cubicBezTo>
                    <a:cubicBezTo>
                      <a:pt x="98" y="197"/>
                      <a:pt x="92" y="197"/>
                      <a:pt x="86" y="197"/>
                    </a:cubicBezTo>
                    <a:cubicBezTo>
                      <a:pt x="39" y="197"/>
                      <a:pt x="0" y="235"/>
                      <a:pt x="0" y="282"/>
                    </a:cubicBezTo>
                    <a:cubicBezTo>
                      <a:pt x="0" y="329"/>
                      <a:pt x="39" y="367"/>
                      <a:pt x="86" y="367"/>
                    </a:cubicBezTo>
                    <a:cubicBezTo>
                      <a:pt x="133" y="367"/>
                      <a:pt x="171" y="329"/>
                      <a:pt x="171" y="282"/>
                    </a:cubicBezTo>
                    <a:cubicBezTo>
                      <a:pt x="171" y="276"/>
                      <a:pt x="170" y="271"/>
                      <a:pt x="169" y="266"/>
                    </a:cubicBezTo>
                    <a:cubicBezTo>
                      <a:pt x="332" y="103"/>
                      <a:pt x="332" y="103"/>
                      <a:pt x="332" y="103"/>
                    </a:cubicBezTo>
                    <a:cubicBezTo>
                      <a:pt x="369" y="139"/>
                      <a:pt x="369" y="139"/>
                      <a:pt x="369" y="139"/>
                    </a:cubicBezTo>
                    <a:cubicBezTo>
                      <a:pt x="369" y="0"/>
                      <a:pt x="369" y="0"/>
                      <a:pt x="369" y="0"/>
                    </a:cubicBezTo>
                    <a:lnTo>
                      <a:pt x="229" y="0"/>
                    </a:lnTo>
                    <a:close/>
                    <a:moveTo>
                      <a:pt x="86" y="335"/>
                    </a:moveTo>
                    <a:cubicBezTo>
                      <a:pt x="56" y="335"/>
                      <a:pt x="32" y="311"/>
                      <a:pt x="32" y="282"/>
                    </a:cubicBezTo>
                    <a:cubicBezTo>
                      <a:pt x="32" y="253"/>
                      <a:pt x="56" y="229"/>
                      <a:pt x="86" y="229"/>
                    </a:cubicBezTo>
                    <a:cubicBezTo>
                      <a:pt x="115" y="229"/>
                      <a:pt x="139" y="253"/>
                      <a:pt x="139" y="282"/>
                    </a:cubicBezTo>
                    <a:cubicBezTo>
                      <a:pt x="139" y="311"/>
                      <a:pt x="115" y="335"/>
                      <a:pt x="86" y="335"/>
                    </a:cubicBezTo>
                    <a:close/>
                  </a:path>
                </a:pathLst>
              </a:custGeom>
              <a:solidFill>
                <a:schemeClr val="tx1"/>
              </a:solidFill>
              <a:ln>
                <a:solidFill>
                  <a:schemeClr val="tx1"/>
                </a:solidFill>
              </a:ln>
              <a:scene3d>
                <a:camera prst="orthographicFront">
                  <a:rot lat="0" lon="0" rev="19200000"/>
                </a:camera>
                <a:lightRig rig="threePt" dir="t"/>
              </a:scene3d>
              <a:extLst/>
            </p:spPr>
            <p:txBody>
              <a:bodyPr vert="horz" wrap="square" lIns="91440" tIns="45720" rIns="91440" bIns="45720" numCol="1" anchor="t" anchorCtr="0" compatLnSpc="1">
                <a:prstTxWarp prst="textNoShape">
                  <a:avLst/>
                </a:prstTxWarp>
              </a:bodyPr>
              <a:lstStyle/>
              <a:p>
                <a:endParaRPr lang="en-US"/>
              </a:p>
            </p:txBody>
          </p:sp>
          <p:sp>
            <p:nvSpPr>
              <p:cNvPr id="115" name="Freeform 631"/>
              <p:cNvSpPr>
                <a:spLocks noEditPoints="1"/>
              </p:cNvSpPr>
              <p:nvPr/>
            </p:nvSpPr>
            <p:spPr bwMode="auto">
              <a:xfrm>
                <a:off x="9261476" y="5295900"/>
                <a:ext cx="1071563" cy="53975"/>
              </a:xfrm>
              <a:custGeom>
                <a:avLst/>
                <a:gdLst>
                  <a:gd name="T0" fmla="*/ 56 w 1085"/>
                  <a:gd name="T1" fmla="*/ 0 h 56"/>
                  <a:gd name="T2" fmla="*/ 0 w 1085"/>
                  <a:gd name="T3" fmla="*/ 56 h 56"/>
                  <a:gd name="T4" fmla="*/ 112 w 1085"/>
                  <a:gd name="T5" fmla="*/ 56 h 56"/>
                  <a:gd name="T6" fmla="*/ 56 w 1085"/>
                  <a:gd name="T7" fmla="*/ 0 h 56"/>
                  <a:gd name="T8" fmla="*/ 1029 w 1085"/>
                  <a:gd name="T9" fmla="*/ 0 h 56"/>
                  <a:gd name="T10" fmla="*/ 973 w 1085"/>
                  <a:gd name="T11" fmla="*/ 56 h 56"/>
                  <a:gd name="T12" fmla="*/ 1085 w 1085"/>
                  <a:gd name="T13" fmla="*/ 56 h 56"/>
                  <a:gd name="T14" fmla="*/ 1029 w 1085"/>
                  <a:gd name="T15" fmla="*/ 0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5" h="56">
                    <a:moveTo>
                      <a:pt x="56" y="0"/>
                    </a:moveTo>
                    <a:cubicBezTo>
                      <a:pt x="25" y="0"/>
                      <a:pt x="0" y="25"/>
                      <a:pt x="0" y="56"/>
                    </a:cubicBezTo>
                    <a:cubicBezTo>
                      <a:pt x="112" y="56"/>
                      <a:pt x="112" y="56"/>
                      <a:pt x="112" y="56"/>
                    </a:cubicBezTo>
                    <a:cubicBezTo>
                      <a:pt x="112" y="25"/>
                      <a:pt x="87" y="0"/>
                      <a:pt x="56" y="0"/>
                    </a:cubicBezTo>
                    <a:close/>
                    <a:moveTo>
                      <a:pt x="1029" y="0"/>
                    </a:moveTo>
                    <a:cubicBezTo>
                      <a:pt x="998" y="0"/>
                      <a:pt x="973" y="25"/>
                      <a:pt x="973" y="56"/>
                    </a:cubicBezTo>
                    <a:cubicBezTo>
                      <a:pt x="1085" y="56"/>
                      <a:pt x="1085" y="56"/>
                      <a:pt x="1085" y="56"/>
                    </a:cubicBezTo>
                    <a:cubicBezTo>
                      <a:pt x="1085" y="25"/>
                      <a:pt x="1060" y="0"/>
                      <a:pt x="1029" y="0"/>
                    </a:cubicBezTo>
                    <a:close/>
                  </a:path>
                </a:pathLst>
              </a:custGeom>
              <a:solidFill>
                <a:schemeClr val="tx1"/>
              </a:solid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grpSp>
      </p:grpSp>
      <p:sp>
        <p:nvSpPr>
          <p:cNvPr id="116"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17"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0"/>
              </a:rPr>
              <a:t>www.rapidbbs.cn</a:t>
            </a:r>
            <a:endParaRPr lang="zh-CN" altLang="en-US" sz="1200" b="0">
              <a:latin typeface="Arial" charset="0"/>
              <a:ea typeface="ＭＳ Ｐゴシック" pitchFamily="34" charset="-128"/>
            </a:endParaRPr>
          </a:p>
        </p:txBody>
      </p:sp>
      <p:pic>
        <p:nvPicPr>
          <p:cNvPr id="118" name="Picture 2">
            <a:hlinkClick r:id="rId20"/>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683559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3000"/>
                                        <p:tgtEl>
                                          <p:spTgt spid="39"/>
                                        </p:tgtEl>
                                      </p:cBhvr>
                                    </p:animEffect>
                                  </p:childTnLst>
                                </p:cTn>
                              </p:par>
                              <p:par>
                                <p:cTn id="8" presetID="10" presetClass="entr" presetSubtype="0" fill="hold" nodeType="withEffect">
                                  <p:stCondLst>
                                    <p:cond delay="0"/>
                                  </p:stCondLst>
                                  <p:childTnLst>
                                    <p:set>
                                      <p:cBhvr>
                                        <p:cTn id="9" dur="1" fill="hold">
                                          <p:stCondLst>
                                            <p:cond delay="0"/>
                                          </p:stCondLst>
                                        </p:cTn>
                                        <p:tgtEl>
                                          <p:spTgt spid="72"/>
                                        </p:tgtEl>
                                        <p:attrNameLst>
                                          <p:attrName>style.visibility</p:attrName>
                                        </p:attrNameLst>
                                      </p:cBhvr>
                                      <p:to>
                                        <p:strVal val="visible"/>
                                      </p:to>
                                    </p:set>
                                    <p:animEffect transition="in" filter="fade">
                                      <p:cBhvr>
                                        <p:cTn id="10" dur="3000"/>
                                        <p:tgtEl>
                                          <p:spTgt spid="72"/>
                                        </p:tgtEl>
                                      </p:cBhvr>
                                    </p:animEffect>
                                  </p:childTnLst>
                                </p:cTn>
                              </p:par>
                              <p:par>
                                <p:cTn id="11" presetID="10" presetClass="entr" presetSubtype="0" fill="hold" nodeType="withEffect">
                                  <p:stCondLst>
                                    <p:cond delay="0"/>
                                  </p:stCondLst>
                                  <p:childTnLst>
                                    <p:set>
                                      <p:cBhvr>
                                        <p:cTn id="12" dur="1" fill="hold">
                                          <p:stCondLst>
                                            <p:cond delay="0"/>
                                          </p:stCondLst>
                                        </p:cTn>
                                        <p:tgtEl>
                                          <p:spTgt spid="50"/>
                                        </p:tgtEl>
                                        <p:attrNameLst>
                                          <p:attrName>style.visibility</p:attrName>
                                        </p:attrNameLst>
                                      </p:cBhvr>
                                      <p:to>
                                        <p:strVal val="visible"/>
                                      </p:to>
                                    </p:set>
                                    <p:animEffect transition="in" filter="fade">
                                      <p:cBhvr>
                                        <p:cTn id="13" dur="3000"/>
                                        <p:tgtEl>
                                          <p:spTgt spid="50"/>
                                        </p:tgtEl>
                                      </p:cBhvr>
                                    </p:animEffect>
                                  </p:childTnLst>
                                </p:cTn>
                              </p:par>
                            </p:childTnLst>
                          </p:cTn>
                        </p:par>
                        <p:par>
                          <p:cTn id="14" fill="hold">
                            <p:stCondLst>
                              <p:cond delay="3000"/>
                            </p:stCondLst>
                            <p:childTnLst>
                              <p:par>
                                <p:cTn id="15" presetID="10" presetClass="entr" presetSubtype="0" fill="hold" nodeType="afterEffect">
                                  <p:stCondLst>
                                    <p:cond delay="0"/>
                                  </p:stCondLst>
                                  <p:childTnLst>
                                    <p:set>
                                      <p:cBhvr>
                                        <p:cTn id="16" dur="1" fill="hold">
                                          <p:stCondLst>
                                            <p:cond delay="0"/>
                                          </p:stCondLst>
                                        </p:cTn>
                                        <p:tgtEl>
                                          <p:spTgt spid="83"/>
                                        </p:tgtEl>
                                        <p:attrNameLst>
                                          <p:attrName>style.visibility</p:attrName>
                                        </p:attrNameLst>
                                      </p:cBhvr>
                                      <p:to>
                                        <p:strVal val="visible"/>
                                      </p:to>
                                    </p:set>
                                    <p:animEffect transition="in" filter="fade">
                                      <p:cBhvr>
                                        <p:cTn id="17" dur="3000"/>
                                        <p:tgtEl>
                                          <p:spTgt spid="83"/>
                                        </p:tgtEl>
                                      </p:cBhvr>
                                    </p:animEffect>
                                  </p:childTnLst>
                                </p:cTn>
                              </p:par>
                              <p:par>
                                <p:cTn id="18" presetID="10" presetClass="entr" presetSubtype="0" fill="hold" nodeType="withEffect">
                                  <p:stCondLst>
                                    <p:cond delay="0"/>
                                  </p:stCondLst>
                                  <p:childTnLst>
                                    <p:set>
                                      <p:cBhvr>
                                        <p:cTn id="19" dur="1" fill="hold">
                                          <p:stCondLst>
                                            <p:cond delay="0"/>
                                          </p:stCondLst>
                                        </p:cTn>
                                        <p:tgtEl>
                                          <p:spTgt spid="94"/>
                                        </p:tgtEl>
                                        <p:attrNameLst>
                                          <p:attrName>style.visibility</p:attrName>
                                        </p:attrNameLst>
                                      </p:cBhvr>
                                      <p:to>
                                        <p:strVal val="visible"/>
                                      </p:to>
                                    </p:set>
                                    <p:animEffect transition="in" filter="fade">
                                      <p:cBhvr>
                                        <p:cTn id="20" dur="3000"/>
                                        <p:tgtEl>
                                          <p:spTgt spid="94"/>
                                        </p:tgtEl>
                                      </p:cBhvr>
                                    </p:animEffect>
                                  </p:childTnLst>
                                </p:cTn>
                              </p:par>
                            </p:childTnLst>
                          </p:cTn>
                        </p:par>
                        <p:par>
                          <p:cTn id="21" fill="hold">
                            <p:stCondLst>
                              <p:cond delay="6000"/>
                            </p:stCondLst>
                            <p:childTnLst>
                              <p:par>
                                <p:cTn id="22" presetID="10" presetClass="entr" presetSubtype="0" fill="hold" nodeType="afterEffect">
                                  <p:stCondLst>
                                    <p:cond delay="0"/>
                                  </p:stCondLst>
                                  <p:childTnLst>
                                    <p:set>
                                      <p:cBhvr>
                                        <p:cTn id="23" dur="1" fill="hold">
                                          <p:stCondLst>
                                            <p:cond delay="0"/>
                                          </p:stCondLst>
                                        </p:cTn>
                                        <p:tgtEl>
                                          <p:spTgt spid="105"/>
                                        </p:tgtEl>
                                        <p:attrNameLst>
                                          <p:attrName>style.visibility</p:attrName>
                                        </p:attrNameLst>
                                      </p:cBhvr>
                                      <p:to>
                                        <p:strVal val="visible"/>
                                      </p:to>
                                    </p:set>
                                    <p:animEffect transition="in" filter="fade">
                                      <p:cBhvr>
                                        <p:cTn id="24" dur="3000"/>
                                        <p:tgtEl>
                                          <p:spTgt spid="10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hanging My Application Startup Experience</a:t>
            </a:r>
            <a:endParaRPr lang="en-US" dirty="0"/>
          </a:p>
        </p:txBody>
      </p:sp>
      <p:grpSp>
        <p:nvGrpSpPr>
          <p:cNvPr id="55" name="Group 54"/>
          <p:cNvGrpSpPr/>
          <p:nvPr/>
        </p:nvGrpSpPr>
        <p:grpSpPr>
          <a:xfrm>
            <a:off x="2546218" y="1019769"/>
            <a:ext cx="1829384" cy="1803671"/>
            <a:chOff x="3394073" y="1359690"/>
            <a:chExt cx="2438544" cy="2404895"/>
          </a:xfrm>
        </p:grpSpPr>
        <p:sp>
          <p:nvSpPr>
            <p:cNvPr id="4" name="Rectangle 3"/>
            <p:cNvSpPr/>
            <p:nvPr/>
          </p:nvSpPr>
          <p:spPr bwMode="auto">
            <a:xfrm>
              <a:off x="3394073" y="1359690"/>
              <a:ext cx="2438544" cy="2404895"/>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3" name="Freeform 13"/>
            <p:cNvSpPr>
              <a:spLocks/>
            </p:cNvSpPr>
            <p:nvPr/>
          </p:nvSpPr>
          <p:spPr bwMode="auto">
            <a:xfrm rot="10800000">
              <a:off x="4045841" y="1984154"/>
              <a:ext cx="1135008" cy="1232011"/>
            </a:xfrm>
            <a:custGeom>
              <a:avLst/>
              <a:gdLst>
                <a:gd name="T0" fmla="*/ 52 w 526"/>
                <a:gd name="T1" fmla="*/ 561 h 615"/>
                <a:gd name="T2" fmla="*/ 24 w 526"/>
                <a:gd name="T3" fmla="*/ 533 h 615"/>
                <a:gd name="T4" fmla="*/ 52 w 526"/>
                <a:gd name="T5" fmla="*/ 506 h 615"/>
                <a:gd name="T6" fmla="*/ 40 w 526"/>
                <a:gd name="T7" fmla="*/ 466 h 615"/>
                <a:gd name="T8" fmla="*/ 25 w 526"/>
                <a:gd name="T9" fmla="*/ 429 h 615"/>
                <a:gd name="T10" fmla="*/ 165 w 526"/>
                <a:gd name="T11" fmla="*/ 413 h 615"/>
                <a:gd name="T12" fmla="*/ 31 w 526"/>
                <a:gd name="T13" fmla="*/ 369 h 615"/>
                <a:gd name="T14" fmla="*/ 31 w 526"/>
                <a:gd name="T15" fmla="*/ 329 h 615"/>
                <a:gd name="T16" fmla="*/ 165 w 526"/>
                <a:gd name="T17" fmla="*/ 283 h 615"/>
                <a:gd name="T18" fmla="*/ 25 w 526"/>
                <a:gd name="T19" fmla="*/ 267 h 615"/>
                <a:gd name="T20" fmla="*/ 40 w 526"/>
                <a:gd name="T21" fmla="*/ 230 h 615"/>
                <a:gd name="T22" fmla="*/ 52 w 526"/>
                <a:gd name="T23" fmla="*/ 192 h 615"/>
                <a:gd name="T24" fmla="*/ 25 w 526"/>
                <a:gd name="T25" fmla="*/ 176 h 615"/>
                <a:gd name="T26" fmla="*/ 40 w 526"/>
                <a:gd name="T27" fmla="*/ 139 h 615"/>
                <a:gd name="T28" fmla="*/ 52 w 526"/>
                <a:gd name="T29" fmla="*/ 99 h 615"/>
                <a:gd name="T30" fmla="*/ 25 w 526"/>
                <a:gd name="T31" fmla="*/ 83 h 615"/>
                <a:gd name="T32" fmla="*/ 40 w 526"/>
                <a:gd name="T33" fmla="*/ 46 h 615"/>
                <a:gd name="T34" fmla="*/ 235 w 526"/>
                <a:gd name="T35" fmla="*/ 52 h 615"/>
                <a:gd name="T36" fmla="*/ 235 w 526"/>
                <a:gd name="T37" fmla="*/ 92 h 615"/>
                <a:gd name="T38" fmla="*/ 165 w 526"/>
                <a:gd name="T39" fmla="*/ 99 h 615"/>
                <a:gd name="T40" fmla="*/ 235 w 526"/>
                <a:gd name="T41" fmla="*/ 145 h 615"/>
                <a:gd name="T42" fmla="*/ 235 w 526"/>
                <a:gd name="T43" fmla="*/ 185 h 615"/>
                <a:gd name="T44" fmla="*/ 165 w 526"/>
                <a:gd name="T45" fmla="*/ 192 h 615"/>
                <a:gd name="T46" fmla="*/ 235 w 526"/>
                <a:gd name="T47" fmla="*/ 236 h 615"/>
                <a:gd name="T48" fmla="*/ 235 w 526"/>
                <a:gd name="T49" fmla="*/ 276 h 615"/>
                <a:gd name="T50" fmla="*/ 165 w 526"/>
                <a:gd name="T51" fmla="*/ 322 h 615"/>
                <a:gd name="T52" fmla="*/ 240 w 526"/>
                <a:gd name="T53" fmla="*/ 338 h 615"/>
                <a:gd name="T54" fmla="*/ 226 w 526"/>
                <a:gd name="T55" fmla="*/ 375 h 615"/>
                <a:gd name="T56" fmla="*/ 215 w 526"/>
                <a:gd name="T57" fmla="*/ 413 h 615"/>
                <a:gd name="T58" fmla="*/ 242 w 526"/>
                <a:gd name="T59" fmla="*/ 441 h 615"/>
                <a:gd name="T60" fmla="*/ 215 w 526"/>
                <a:gd name="T61" fmla="*/ 468 h 615"/>
                <a:gd name="T62" fmla="*/ 226 w 526"/>
                <a:gd name="T63" fmla="*/ 508 h 615"/>
                <a:gd name="T64" fmla="*/ 240 w 526"/>
                <a:gd name="T65" fmla="*/ 544 h 615"/>
                <a:gd name="T66" fmla="*/ 165 w 526"/>
                <a:gd name="T67" fmla="*/ 561 h 615"/>
                <a:gd name="T68" fmla="*/ 504 w 526"/>
                <a:gd name="T69" fmla="*/ 370 h 615"/>
                <a:gd name="T70" fmla="*/ 488 w 526"/>
                <a:gd name="T71" fmla="*/ 578 h 615"/>
                <a:gd name="T72" fmla="*/ 277 w 526"/>
                <a:gd name="T73" fmla="*/ 572 h 615"/>
                <a:gd name="T74" fmla="*/ 271 w 526"/>
                <a:gd name="T75" fmla="*/ 359 h 615"/>
                <a:gd name="T76" fmla="*/ 401 w 526"/>
                <a:gd name="T77" fmla="*/ 341 h 615"/>
                <a:gd name="T78" fmla="*/ 292 w 526"/>
                <a:gd name="T79" fmla="*/ 276 h 615"/>
                <a:gd name="T80" fmla="*/ 292 w 526"/>
                <a:gd name="T81" fmla="*/ 236 h 615"/>
                <a:gd name="T82" fmla="*/ 401 w 526"/>
                <a:gd name="T83" fmla="*/ 192 h 615"/>
                <a:gd name="T84" fmla="*/ 292 w 526"/>
                <a:gd name="T85" fmla="*/ 185 h 615"/>
                <a:gd name="T86" fmla="*/ 292 w 526"/>
                <a:gd name="T87" fmla="*/ 145 h 615"/>
                <a:gd name="T88" fmla="*/ 401 w 526"/>
                <a:gd name="T89" fmla="*/ 99 h 615"/>
                <a:gd name="T90" fmla="*/ 292 w 526"/>
                <a:gd name="T91" fmla="*/ 92 h 615"/>
                <a:gd name="T92" fmla="*/ 292 w 526"/>
                <a:gd name="T93" fmla="*/ 52 h 615"/>
                <a:gd name="T94" fmla="*/ 487 w 526"/>
                <a:gd name="T95" fmla="*/ 46 h 615"/>
                <a:gd name="T96" fmla="*/ 501 w 526"/>
                <a:gd name="T97" fmla="*/ 83 h 615"/>
                <a:gd name="T98" fmla="*/ 475 w 526"/>
                <a:gd name="T99" fmla="*/ 99 h 615"/>
                <a:gd name="T100" fmla="*/ 487 w 526"/>
                <a:gd name="T101" fmla="*/ 139 h 615"/>
                <a:gd name="T102" fmla="*/ 501 w 526"/>
                <a:gd name="T103" fmla="*/ 176 h 615"/>
                <a:gd name="T104" fmla="*/ 475 w 526"/>
                <a:gd name="T105" fmla="*/ 192 h 615"/>
                <a:gd name="T106" fmla="*/ 487 w 526"/>
                <a:gd name="T107" fmla="*/ 230 h 615"/>
                <a:gd name="T108" fmla="*/ 501 w 526"/>
                <a:gd name="T109" fmla="*/ 267 h 615"/>
                <a:gd name="T110" fmla="*/ 401 w 526"/>
                <a:gd name="T111" fmla="*/ 283 h 615"/>
                <a:gd name="T112" fmla="*/ 497 w 526"/>
                <a:gd name="T113" fmla="*/ 350 h 615"/>
                <a:gd name="T114" fmla="*/ 526 w 526"/>
                <a:gd name="T115" fmla="*/ 370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6" h="615">
                  <a:moveTo>
                    <a:pt x="0" y="615"/>
                  </a:moveTo>
                  <a:lnTo>
                    <a:pt x="165" y="615"/>
                  </a:lnTo>
                  <a:lnTo>
                    <a:pt x="165" y="561"/>
                  </a:lnTo>
                  <a:lnTo>
                    <a:pt x="52" y="561"/>
                  </a:lnTo>
                  <a:lnTo>
                    <a:pt x="40" y="559"/>
                  </a:lnTo>
                  <a:lnTo>
                    <a:pt x="31" y="553"/>
                  </a:lnTo>
                  <a:lnTo>
                    <a:pt x="25" y="544"/>
                  </a:lnTo>
                  <a:lnTo>
                    <a:pt x="24" y="533"/>
                  </a:lnTo>
                  <a:lnTo>
                    <a:pt x="25" y="522"/>
                  </a:lnTo>
                  <a:lnTo>
                    <a:pt x="31" y="513"/>
                  </a:lnTo>
                  <a:lnTo>
                    <a:pt x="40" y="508"/>
                  </a:lnTo>
                  <a:lnTo>
                    <a:pt x="52" y="506"/>
                  </a:lnTo>
                  <a:lnTo>
                    <a:pt x="165" y="506"/>
                  </a:lnTo>
                  <a:lnTo>
                    <a:pt x="165" y="468"/>
                  </a:lnTo>
                  <a:lnTo>
                    <a:pt x="52" y="468"/>
                  </a:lnTo>
                  <a:lnTo>
                    <a:pt x="40" y="466"/>
                  </a:lnTo>
                  <a:lnTo>
                    <a:pt x="31" y="460"/>
                  </a:lnTo>
                  <a:lnTo>
                    <a:pt x="25" y="452"/>
                  </a:lnTo>
                  <a:lnTo>
                    <a:pt x="24" y="441"/>
                  </a:lnTo>
                  <a:lnTo>
                    <a:pt x="25" y="429"/>
                  </a:lnTo>
                  <a:lnTo>
                    <a:pt x="31" y="421"/>
                  </a:lnTo>
                  <a:lnTo>
                    <a:pt x="40" y="415"/>
                  </a:lnTo>
                  <a:lnTo>
                    <a:pt x="52" y="413"/>
                  </a:lnTo>
                  <a:lnTo>
                    <a:pt x="165" y="413"/>
                  </a:lnTo>
                  <a:lnTo>
                    <a:pt x="165" y="376"/>
                  </a:lnTo>
                  <a:lnTo>
                    <a:pt x="52" y="376"/>
                  </a:lnTo>
                  <a:lnTo>
                    <a:pt x="40" y="375"/>
                  </a:lnTo>
                  <a:lnTo>
                    <a:pt x="31" y="369"/>
                  </a:lnTo>
                  <a:lnTo>
                    <a:pt x="25" y="360"/>
                  </a:lnTo>
                  <a:lnTo>
                    <a:pt x="24" y="348"/>
                  </a:lnTo>
                  <a:lnTo>
                    <a:pt x="25" y="338"/>
                  </a:lnTo>
                  <a:lnTo>
                    <a:pt x="31" y="329"/>
                  </a:lnTo>
                  <a:lnTo>
                    <a:pt x="40" y="323"/>
                  </a:lnTo>
                  <a:lnTo>
                    <a:pt x="52" y="322"/>
                  </a:lnTo>
                  <a:lnTo>
                    <a:pt x="165" y="322"/>
                  </a:lnTo>
                  <a:lnTo>
                    <a:pt x="165" y="283"/>
                  </a:lnTo>
                  <a:lnTo>
                    <a:pt x="52" y="283"/>
                  </a:lnTo>
                  <a:lnTo>
                    <a:pt x="40" y="282"/>
                  </a:lnTo>
                  <a:lnTo>
                    <a:pt x="31" y="276"/>
                  </a:lnTo>
                  <a:lnTo>
                    <a:pt x="25" y="267"/>
                  </a:lnTo>
                  <a:lnTo>
                    <a:pt x="24" y="257"/>
                  </a:lnTo>
                  <a:lnTo>
                    <a:pt x="25" y="245"/>
                  </a:lnTo>
                  <a:lnTo>
                    <a:pt x="31" y="236"/>
                  </a:lnTo>
                  <a:lnTo>
                    <a:pt x="40" y="230"/>
                  </a:lnTo>
                  <a:lnTo>
                    <a:pt x="52" y="229"/>
                  </a:lnTo>
                  <a:lnTo>
                    <a:pt x="165" y="229"/>
                  </a:lnTo>
                  <a:lnTo>
                    <a:pt x="165" y="192"/>
                  </a:lnTo>
                  <a:lnTo>
                    <a:pt x="52" y="192"/>
                  </a:lnTo>
                  <a:lnTo>
                    <a:pt x="52" y="192"/>
                  </a:lnTo>
                  <a:lnTo>
                    <a:pt x="40" y="191"/>
                  </a:lnTo>
                  <a:lnTo>
                    <a:pt x="31" y="185"/>
                  </a:lnTo>
                  <a:lnTo>
                    <a:pt x="25" y="176"/>
                  </a:lnTo>
                  <a:lnTo>
                    <a:pt x="24" y="164"/>
                  </a:lnTo>
                  <a:lnTo>
                    <a:pt x="25" y="154"/>
                  </a:lnTo>
                  <a:lnTo>
                    <a:pt x="31" y="145"/>
                  </a:lnTo>
                  <a:lnTo>
                    <a:pt x="40" y="139"/>
                  </a:lnTo>
                  <a:lnTo>
                    <a:pt x="52" y="138"/>
                  </a:lnTo>
                  <a:lnTo>
                    <a:pt x="165" y="138"/>
                  </a:lnTo>
                  <a:lnTo>
                    <a:pt x="165" y="99"/>
                  </a:lnTo>
                  <a:lnTo>
                    <a:pt x="52" y="99"/>
                  </a:lnTo>
                  <a:lnTo>
                    <a:pt x="52" y="99"/>
                  </a:lnTo>
                  <a:lnTo>
                    <a:pt x="40" y="98"/>
                  </a:lnTo>
                  <a:lnTo>
                    <a:pt x="31" y="92"/>
                  </a:lnTo>
                  <a:lnTo>
                    <a:pt x="25" y="83"/>
                  </a:lnTo>
                  <a:lnTo>
                    <a:pt x="24" y="73"/>
                  </a:lnTo>
                  <a:lnTo>
                    <a:pt x="25" y="61"/>
                  </a:lnTo>
                  <a:lnTo>
                    <a:pt x="31" y="52"/>
                  </a:lnTo>
                  <a:lnTo>
                    <a:pt x="40" y="46"/>
                  </a:lnTo>
                  <a:lnTo>
                    <a:pt x="52" y="45"/>
                  </a:lnTo>
                  <a:lnTo>
                    <a:pt x="215" y="45"/>
                  </a:lnTo>
                  <a:lnTo>
                    <a:pt x="226" y="46"/>
                  </a:lnTo>
                  <a:lnTo>
                    <a:pt x="235" y="52"/>
                  </a:lnTo>
                  <a:lnTo>
                    <a:pt x="240" y="61"/>
                  </a:lnTo>
                  <a:lnTo>
                    <a:pt x="242" y="73"/>
                  </a:lnTo>
                  <a:lnTo>
                    <a:pt x="240" y="83"/>
                  </a:lnTo>
                  <a:lnTo>
                    <a:pt x="235" y="92"/>
                  </a:lnTo>
                  <a:lnTo>
                    <a:pt x="226" y="98"/>
                  </a:lnTo>
                  <a:lnTo>
                    <a:pt x="215" y="99"/>
                  </a:lnTo>
                  <a:lnTo>
                    <a:pt x="215" y="99"/>
                  </a:lnTo>
                  <a:lnTo>
                    <a:pt x="165" y="99"/>
                  </a:lnTo>
                  <a:lnTo>
                    <a:pt x="165" y="138"/>
                  </a:lnTo>
                  <a:lnTo>
                    <a:pt x="215" y="138"/>
                  </a:lnTo>
                  <a:lnTo>
                    <a:pt x="226" y="139"/>
                  </a:lnTo>
                  <a:lnTo>
                    <a:pt x="235" y="145"/>
                  </a:lnTo>
                  <a:lnTo>
                    <a:pt x="240" y="154"/>
                  </a:lnTo>
                  <a:lnTo>
                    <a:pt x="242" y="164"/>
                  </a:lnTo>
                  <a:lnTo>
                    <a:pt x="240" y="176"/>
                  </a:lnTo>
                  <a:lnTo>
                    <a:pt x="235" y="185"/>
                  </a:lnTo>
                  <a:lnTo>
                    <a:pt x="226" y="191"/>
                  </a:lnTo>
                  <a:lnTo>
                    <a:pt x="215" y="192"/>
                  </a:lnTo>
                  <a:lnTo>
                    <a:pt x="215" y="192"/>
                  </a:lnTo>
                  <a:lnTo>
                    <a:pt x="165" y="192"/>
                  </a:lnTo>
                  <a:lnTo>
                    <a:pt x="165" y="229"/>
                  </a:lnTo>
                  <a:lnTo>
                    <a:pt x="215" y="229"/>
                  </a:lnTo>
                  <a:lnTo>
                    <a:pt x="226" y="230"/>
                  </a:lnTo>
                  <a:lnTo>
                    <a:pt x="235" y="236"/>
                  </a:lnTo>
                  <a:lnTo>
                    <a:pt x="240" y="245"/>
                  </a:lnTo>
                  <a:lnTo>
                    <a:pt x="242" y="257"/>
                  </a:lnTo>
                  <a:lnTo>
                    <a:pt x="240" y="267"/>
                  </a:lnTo>
                  <a:lnTo>
                    <a:pt x="235" y="276"/>
                  </a:lnTo>
                  <a:lnTo>
                    <a:pt x="226" y="282"/>
                  </a:lnTo>
                  <a:lnTo>
                    <a:pt x="215" y="283"/>
                  </a:lnTo>
                  <a:lnTo>
                    <a:pt x="165" y="283"/>
                  </a:lnTo>
                  <a:lnTo>
                    <a:pt x="165" y="322"/>
                  </a:lnTo>
                  <a:lnTo>
                    <a:pt x="215" y="322"/>
                  </a:lnTo>
                  <a:lnTo>
                    <a:pt x="226" y="323"/>
                  </a:lnTo>
                  <a:lnTo>
                    <a:pt x="235" y="329"/>
                  </a:lnTo>
                  <a:lnTo>
                    <a:pt x="240" y="338"/>
                  </a:lnTo>
                  <a:lnTo>
                    <a:pt x="242" y="348"/>
                  </a:lnTo>
                  <a:lnTo>
                    <a:pt x="240" y="360"/>
                  </a:lnTo>
                  <a:lnTo>
                    <a:pt x="235" y="369"/>
                  </a:lnTo>
                  <a:lnTo>
                    <a:pt x="226" y="375"/>
                  </a:lnTo>
                  <a:lnTo>
                    <a:pt x="215" y="376"/>
                  </a:lnTo>
                  <a:lnTo>
                    <a:pt x="165" y="376"/>
                  </a:lnTo>
                  <a:lnTo>
                    <a:pt x="165" y="413"/>
                  </a:lnTo>
                  <a:lnTo>
                    <a:pt x="215" y="413"/>
                  </a:lnTo>
                  <a:lnTo>
                    <a:pt x="226" y="415"/>
                  </a:lnTo>
                  <a:lnTo>
                    <a:pt x="235" y="421"/>
                  </a:lnTo>
                  <a:lnTo>
                    <a:pt x="240" y="429"/>
                  </a:lnTo>
                  <a:lnTo>
                    <a:pt x="242" y="441"/>
                  </a:lnTo>
                  <a:lnTo>
                    <a:pt x="240" y="452"/>
                  </a:lnTo>
                  <a:lnTo>
                    <a:pt x="235" y="460"/>
                  </a:lnTo>
                  <a:lnTo>
                    <a:pt x="226" y="466"/>
                  </a:lnTo>
                  <a:lnTo>
                    <a:pt x="215" y="468"/>
                  </a:lnTo>
                  <a:lnTo>
                    <a:pt x="165" y="468"/>
                  </a:lnTo>
                  <a:lnTo>
                    <a:pt x="165" y="506"/>
                  </a:lnTo>
                  <a:lnTo>
                    <a:pt x="215" y="506"/>
                  </a:lnTo>
                  <a:lnTo>
                    <a:pt x="226" y="508"/>
                  </a:lnTo>
                  <a:lnTo>
                    <a:pt x="235" y="513"/>
                  </a:lnTo>
                  <a:lnTo>
                    <a:pt x="240" y="522"/>
                  </a:lnTo>
                  <a:lnTo>
                    <a:pt x="242" y="533"/>
                  </a:lnTo>
                  <a:lnTo>
                    <a:pt x="240" y="544"/>
                  </a:lnTo>
                  <a:lnTo>
                    <a:pt x="235" y="553"/>
                  </a:lnTo>
                  <a:lnTo>
                    <a:pt x="226" y="559"/>
                  </a:lnTo>
                  <a:lnTo>
                    <a:pt x="215" y="561"/>
                  </a:lnTo>
                  <a:lnTo>
                    <a:pt x="165" y="561"/>
                  </a:lnTo>
                  <a:lnTo>
                    <a:pt x="165" y="615"/>
                  </a:lnTo>
                  <a:lnTo>
                    <a:pt x="526" y="615"/>
                  </a:lnTo>
                  <a:lnTo>
                    <a:pt x="526" y="370"/>
                  </a:lnTo>
                  <a:lnTo>
                    <a:pt x="504" y="370"/>
                  </a:lnTo>
                  <a:lnTo>
                    <a:pt x="504" y="553"/>
                  </a:lnTo>
                  <a:lnTo>
                    <a:pt x="503" y="564"/>
                  </a:lnTo>
                  <a:lnTo>
                    <a:pt x="497" y="572"/>
                  </a:lnTo>
                  <a:lnTo>
                    <a:pt x="488" y="578"/>
                  </a:lnTo>
                  <a:lnTo>
                    <a:pt x="476" y="581"/>
                  </a:lnTo>
                  <a:lnTo>
                    <a:pt x="296" y="581"/>
                  </a:lnTo>
                  <a:lnTo>
                    <a:pt x="286" y="578"/>
                  </a:lnTo>
                  <a:lnTo>
                    <a:pt x="277" y="572"/>
                  </a:lnTo>
                  <a:lnTo>
                    <a:pt x="271" y="564"/>
                  </a:lnTo>
                  <a:lnTo>
                    <a:pt x="270" y="553"/>
                  </a:lnTo>
                  <a:lnTo>
                    <a:pt x="270" y="369"/>
                  </a:lnTo>
                  <a:lnTo>
                    <a:pt x="271" y="359"/>
                  </a:lnTo>
                  <a:lnTo>
                    <a:pt x="277" y="350"/>
                  </a:lnTo>
                  <a:lnTo>
                    <a:pt x="286" y="344"/>
                  </a:lnTo>
                  <a:lnTo>
                    <a:pt x="296" y="341"/>
                  </a:lnTo>
                  <a:lnTo>
                    <a:pt x="401" y="341"/>
                  </a:lnTo>
                  <a:lnTo>
                    <a:pt x="401" y="283"/>
                  </a:lnTo>
                  <a:lnTo>
                    <a:pt x="311" y="283"/>
                  </a:lnTo>
                  <a:lnTo>
                    <a:pt x="301" y="282"/>
                  </a:lnTo>
                  <a:lnTo>
                    <a:pt x="292" y="276"/>
                  </a:lnTo>
                  <a:lnTo>
                    <a:pt x="286" y="267"/>
                  </a:lnTo>
                  <a:lnTo>
                    <a:pt x="285" y="257"/>
                  </a:lnTo>
                  <a:lnTo>
                    <a:pt x="286" y="245"/>
                  </a:lnTo>
                  <a:lnTo>
                    <a:pt x="292" y="236"/>
                  </a:lnTo>
                  <a:lnTo>
                    <a:pt x="301" y="230"/>
                  </a:lnTo>
                  <a:lnTo>
                    <a:pt x="311" y="229"/>
                  </a:lnTo>
                  <a:lnTo>
                    <a:pt x="401" y="229"/>
                  </a:lnTo>
                  <a:lnTo>
                    <a:pt x="401" y="192"/>
                  </a:lnTo>
                  <a:lnTo>
                    <a:pt x="311" y="192"/>
                  </a:lnTo>
                  <a:lnTo>
                    <a:pt x="311" y="192"/>
                  </a:lnTo>
                  <a:lnTo>
                    <a:pt x="301" y="191"/>
                  </a:lnTo>
                  <a:lnTo>
                    <a:pt x="292" y="185"/>
                  </a:lnTo>
                  <a:lnTo>
                    <a:pt x="286" y="176"/>
                  </a:lnTo>
                  <a:lnTo>
                    <a:pt x="285" y="164"/>
                  </a:lnTo>
                  <a:lnTo>
                    <a:pt x="286" y="154"/>
                  </a:lnTo>
                  <a:lnTo>
                    <a:pt x="292" y="145"/>
                  </a:lnTo>
                  <a:lnTo>
                    <a:pt x="301" y="139"/>
                  </a:lnTo>
                  <a:lnTo>
                    <a:pt x="311" y="138"/>
                  </a:lnTo>
                  <a:lnTo>
                    <a:pt x="401" y="138"/>
                  </a:lnTo>
                  <a:lnTo>
                    <a:pt x="401" y="99"/>
                  </a:lnTo>
                  <a:lnTo>
                    <a:pt x="311" y="99"/>
                  </a:lnTo>
                  <a:lnTo>
                    <a:pt x="311" y="99"/>
                  </a:lnTo>
                  <a:lnTo>
                    <a:pt x="301" y="98"/>
                  </a:lnTo>
                  <a:lnTo>
                    <a:pt x="292" y="92"/>
                  </a:lnTo>
                  <a:lnTo>
                    <a:pt x="286" y="83"/>
                  </a:lnTo>
                  <a:lnTo>
                    <a:pt x="285" y="73"/>
                  </a:lnTo>
                  <a:lnTo>
                    <a:pt x="286" y="61"/>
                  </a:lnTo>
                  <a:lnTo>
                    <a:pt x="292" y="52"/>
                  </a:lnTo>
                  <a:lnTo>
                    <a:pt x="301" y="46"/>
                  </a:lnTo>
                  <a:lnTo>
                    <a:pt x="311" y="45"/>
                  </a:lnTo>
                  <a:lnTo>
                    <a:pt x="475" y="45"/>
                  </a:lnTo>
                  <a:lnTo>
                    <a:pt x="487" y="46"/>
                  </a:lnTo>
                  <a:lnTo>
                    <a:pt x="495" y="52"/>
                  </a:lnTo>
                  <a:lnTo>
                    <a:pt x="501" y="61"/>
                  </a:lnTo>
                  <a:lnTo>
                    <a:pt x="503" y="73"/>
                  </a:lnTo>
                  <a:lnTo>
                    <a:pt x="501" y="83"/>
                  </a:lnTo>
                  <a:lnTo>
                    <a:pt x="495" y="92"/>
                  </a:lnTo>
                  <a:lnTo>
                    <a:pt x="487" y="98"/>
                  </a:lnTo>
                  <a:lnTo>
                    <a:pt x="475" y="99"/>
                  </a:lnTo>
                  <a:lnTo>
                    <a:pt x="475" y="99"/>
                  </a:lnTo>
                  <a:lnTo>
                    <a:pt x="401" y="99"/>
                  </a:lnTo>
                  <a:lnTo>
                    <a:pt x="401" y="138"/>
                  </a:lnTo>
                  <a:lnTo>
                    <a:pt x="475" y="138"/>
                  </a:lnTo>
                  <a:lnTo>
                    <a:pt x="487" y="139"/>
                  </a:lnTo>
                  <a:lnTo>
                    <a:pt x="495" y="145"/>
                  </a:lnTo>
                  <a:lnTo>
                    <a:pt x="501" y="154"/>
                  </a:lnTo>
                  <a:lnTo>
                    <a:pt x="503" y="164"/>
                  </a:lnTo>
                  <a:lnTo>
                    <a:pt x="501" y="176"/>
                  </a:lnTo>
                  <a:lnTo>
                    <a:pt x="495" y="185"/>
                  </a:lnTo>
                  <a:lnTo>
                    <a:pt x="487" y="191"/>
                  </a:lnTo>
                  <a:lnTo>
                    <a:pt x="475" y="192"/>
                  </a:lnTo>
                  <a:lnTo>
                    <a:pt x="475" y="192"/>
                  </a:lnTo>
                  <a:lnTo>
                    <a:pt x="401" y="192"/>
                  </a:lnTo>
                  <a:lnTo>
                    <a:pt x="401" y="229"/>
                  </a:lnTo>
                  <a:lnTo>
                    <a:pt x="475" y="229"/>
                  </a:lnTo>
                  <a:lnTo>
                    <a:pt x="487" y="230"/>
                  </a:lnTo>
                  <a:lnTo>
                    <a:pt x="495" y="236"/>
                  </a:lnTo>
                  <a:lnTo>
                    <a:pt x="501" y="245"/>
                  </a:lnTo>
                  <a:lnTo>
                    <a:pt x="503" y="257"/>
                  </a:lnTo>
                  <a:lnTo>
                    <a:pt x="501" y="267"/>
                  </a:lnTo>
                  <a:lnTo>
                    <a:pt x="495" y="276"/>
                  </a:lnTo>
                  <a:lnTo>
                    <a:pt x="487" y="282"/>
                  </a:lnTo>
                  <a:lnTo>
                    <a:pt x="475" y="283"/>
                  </a:lnTo>
                  <a:lnTo>
                    <a:pt x="401" y="283"/>
                  </a:lnTo>
                  <a:lnTo>
                    <a:pt x="401" y="341"/>
                  </a:lnTo>
                  <a:lnTo>
                    <a:pt x="476" y="341"/>
                  </a:lnTo>
                  <a:lnTo>
                    <a:pt x="488" y="344"/>
                  </a:lnTo>
                  <a:lnTo>
                    <a:pt x="497" y="350"/>
                  </a:lnTo>
                  <a:lnTo>
                    <a:pt x="503" y="359"/>
                  </a:lnTo>
                  <a:lnTo>
                    <a:pt x="504" y="369"/>
                  </a:lnTo>
                  <a:lnTo>
                    <a:pt x="504" y="370"/>
                  </a:lnTo>
                  <a:lnTo>
                    <a:pt x="526" y="370"/>
                  </a:lnTo>
                  <a:lnTo>
                    <a:pt x="526" y="0"/>
                  </a:lnTo>
                  <a:lnTo>
                    <a:pt x="0" y="0"/>
                  </a:lnTo>
                  <a:lnTo>
                    <a:pt x="0" y="61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56" name="Group 55"/>
          <p:cNvGrpSpPr/>
          <p:nvPr/>
        </p:nvGrpSpPr>
        <p:grpSpPr>
          <a:xfrm>
            <a:off x="4489932" y="1019768"/>
            <a:ext cx="1829384" cy="1803671"/>
            <a:chOff x="5985017" y="1359689"/>
            <a:chExt cx="2438544" cy="2404895"/>
          </a:xfrm>
        </p:grpSpPr>
        <p:sp>
          <p:nvSpPr>
            <p:cNvPr id="9" name="Rectangle 8"/>
            <p:cNvSpPr/>
            <p:nvPr/>
          </p:nvSpPr>
          <p:spPr bwMode="auto">
            <a:xfrm>
              <a:off x="5985017" y="1359689"/>
              <a:ext cx="2438544" cy="2404895"/>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54" name="Group 53"/>
            <p:cNvGrpSpPr/>
            <p:nvPr/>
          </p:nvGrpSpPr>
          <p:grpSpPr>
            <a:xfrm>
              <a:off x="6509378" y="1870296"/>
              <a:ext cx="1389821" cy="1345869"/>
              <a:chOff x="9321800" y="3398838"/>
              <a:chExt cx="652463" cy="649288"/>
            </a:xfrm>
          </p:grpSpPr>
          <p:sp>
            <p:nvSpPr>
              <p:cNvPr id="41" name="Freeform 24"/>
              <p:cNvSpPr>
                <a:spLocks/>
              </p:cNvSpPr>
              <p:nvPr/>
            </p:nvSpPr>
            <p:spPr bwMode="auto">
              <a:xfrm>
                <a:off x="9577450" y="3555721"/>
                <a:ext cx="146050" cy="309563"/>
              </a:xfrm>
              <a:custGeom>
                <a:avLst/>
                <a:gdLst>
                  <a:gd name="T0" fmla="*/ 80 w 184"/>
                  <a:gd name="T1" fmla="*/ 25 h 391"/>
                  <a:gd name="T2" fmla="*/ 75 w 184"/>
                  <a:gd name="T3" fmla="*/ 18 h 391"/>
                  <a:gd name="T4" fmla="*/ 71 w 184"/>
                  <a:gd name="T5" fmla="*/ 11 h 391"/>
                  <a:gd name="T6" fmla="*/ 64 w 184"/>
                  <a:gd name="T7" fmla="*/ 6 h 391"/>
                  <a:gd name="T8" fmla="*/ 57 w 184"/>
                  <a:gd name="T9" fmla="*/ 3 h 391"/>
                  <a:gd name="T10" fmla="*/ 49 w 184"/>
                  <a:gd name="T11" fmla="*/ 0 h 391"/>
                  <a:gd name="T12" fmla="*/ 41 w 184"/>
                  <a:gd name="T13" fmla="*/ 0 h 391"/>
                  <a:gd name="T14" fmla="*/ 33 w 184"/>
                  <a:gd name="T15" fmla="*/ 2 h 391"/>
                  <a:gd name="T16" fmla="*/ 25 w 184"/>
                  <a:gd name="T17" fmla="*/ 4 h 391"/>
                  <a:gd name="T18" fmla="*/ 11 w 184"/>
                  <a:gd name="T19" fmla="*/ 14 h 391"/>
                  <a:gd name="T20" fmla="*/ 3 w 184"/>
                  <a:gd name="T21" fmla="*/ 28 h 391"/>
                  <a:gd name="T22" fmla="*/ 0 w 184"/>
                  <a:gd name="T23" fmla="*/ 44 h 391"/>
                  <a:gd name="T24" fmla="*/ 4 w 184"/>
                  <a:gd name="T25" fmla="*/ 60 h 391"/>
                  <a:gd name="T26" fmla="*/ 86 w 184"/>
                  <a:gd name="T27" fmla="*/ 233 h 391"/>
                  <a:gd name="T28" fmla="*/ 15 w 184"/>
                  <a:gd name="T29" fmla="*/ 324 h 391"/>
                  <a:gd name="T30" fmla="*/ 9 w 184"/>
                  <a:gd name="T31" fmla="*/ 339 h 391"/>
                  <a:gd name="T32" fmla="*/ 7 w 184"/>
                  <a:gd name="T33" fmla="*/ 355 h 391"/>
                  <a:gd name="T34" fmla="*/ 12 w 184"/>
                  <a:gd name="T35" fmla="*/ 370 h 391"/>
                  <a:gd name="T36" fmla="*/ 22 w 184"/>
                  <a:gd name="T37" fmla="*/ 383 h 391"/>
                  <a:gd name="T38" fmla="*/ 29 w 184"/>
                  <a:gd name="T39" fmla="*/ 387 h 391"/>
                  <a:gd name="T40" fmla="*/ 37 w 184"/>
                  <a:gd name="T41" fmla="*/ 390 h 391"/>
                  <a:gd name="T42" fmla="*/ 45 w 184"/>
                  <a:gd name="T43" fmla="*/ 391 h 391"/>
                  <a:gd name="T44" fmla="*/ 53 w 184"/>
                  <a:gd name="T45" fmla="*/ 391 h 391"/>
                  <a:gd name="T46" fmla="*/ 62 w 184"/>
                  <a:gd name="T47" fmla="*/ 390 h 391"/>
                  <a:gd name="T48" fmla="*/ 70 w 184"/>
                  <a:gd name="T49" fmla="*/ 386 h 391"/>
                  <a:gd name="T50" fmla="*/ 77 w 184"/>
                  <a:gd name="T51" fmla="*/ 382 h 391"/>
                  <a:gd name="T52" fmla="*/ 82 w 184"/>
                  <a:gd name="T53" fmla="*/ 376 h 391"/>
                  <a:gd name="T54" fmla="*/ 184 w 184"/>
                  <a:gd name="T55" fmla="*/ 243 h 391"/>
                  <a:gd name="T56" fmla="*/ 80 w 184"/>
                  <a:gd name="T57" fmla="*/ 25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4" h="391">
                    <a:moveTo>
                      <a:pt x="80" y="25"/>
                    </a:moveTo>
                    <a:lnTo>
                      <a:pt x="75" y="18"/>
                    </a:lnTo>
                    <a:lnTo>
                      <a:pt x="71" y="11"/>
                    </a:lnTo>
                    <a:lnTo>
                      <a:pt x="64" y="6"/>
                    </a:lnTo>
                    <a:lnTo>
                      <a:pt x="57" y="3"/>
                    </a:lnTo>
                    <a:lnTo>
                      <a:pt x="49" y="0"/>
                    </a:lnTo>
                    <a:lnTo>
                      <a:pt x="41" y="0"/>
                    </a:lnTo>
                    <a:lnTo>
                      <a:pt x="33" y="2"/>
                    </a:lnTo>
                    <a:lnTo>
                      <a:pt x="25" y="4"/>
                    </a:lnTo>
                    <a:lnTo>
                      <a:pt x="11" y="14"/>
                    </a:lnTo>
                    <a:lnTo>
                      <a:pt x="3" y="28"/>
                    </a:lnTo>
                    <a:lnTo>
                      <a:pt x="0" y="44"/>
                    </a:lnTo>
                    <a:lnTo>
                      <a:pt x="4" y="60"/>
                    </a:lnTo>
                    <a:lnTo>
                      <a:pt x="86" y="233"/>
                    </a:lnTo>
                    <a:lnTo>
                      <a:pt x="15" y="324"/>
                    </a:lnTo>
                    <a:lnTo>
                      <a:pt x="9" y="339"/>
                    </a:lnTo>
                    <a:lnTo>
                      <a:pt x="7" y="355"/>
                    </a:lnTo>
                    <a:lnTo>
                      <a:pt x="12" y="370"/>
                    </a:lnTo>
                    <a:lnTo>
                      <a:pt x="22" y="383"/>
                    </a:lnTo>
                    <a:lnTo>
                      <a:pt x="29" y="387"/>
                    </a:lnTo>
                    <a:lnTo>
                      <a:pt x="37" y="390"/>
                    </a:lnTo>
                    <a:lnTo>
                      <a:pt x="45" y="391"/>
                    </a:lnTo>
                    <a:lnTo>
                      <a:pt x="53" y="391"/>
                    </a:lnTo>
                    <a:lnTo>
                      <a:pt x="62" y="390"/>
                    </a:lnTo>
                    <a:lnTo>
                      <a:pt x="70" y="386"/>
                    </a:lnTo>
                    <a:lnTo>
                      <a:pt x="77" y="382"/>
                    </a:lnTo>
                    <a:lnTo>
                      <a:pt x="82" y="376"/>
                    </a:lnTo>
                    <a:lnTo>
                      <a:pt x="184" y="243"/>
                    </a:lnTo>
                    <a:lnTo>
                      <a:pt x="80" y="25"/>
                    </a:lnTo>
                    <a:close/>
                  </a:path>
                </a:pathLst>
              </a:custGeom>
              <a:solidFill>
                <a:schemeClr val="tx1"/>
              </a:solidFill>
              <a:ln w="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28"/>
              <p:cNvSpPr>
                <a:spLocks/>
              </p:cNvSpPr>
              <p:nvPr/>
            </p:nvSpPr>
            <p:spPr bwMode="auto">
              <a:xfrm>
                <a:off x="9713913" y="3405188"/>
                <a:ext cx="66675" cy="88900"/>
              </a:xfrm>
              <a:custGeom>
                <a:avLst/>
                <a:gdLst>
                  <a:gd name="T0" fmla="*/ 68 w 84"/>
                  <a:gd name="T1" fmla="*/ 112 h 112"/>
                  <a:gd name="T2" fmla="*/ 84 w 84"/>
                  <a:gd name="T3" fmla="*/ 26 h 112"/>
                  <a:gd name="T4" fmla="*/ 74 w 84"/>
                  <a:gd name="T5" fmla="*/ 22 h 112"/>
                  <a:gd name="T6" fmla="*/ 63 w 84"/>
                  <a:gd name="T7" fmla="*/ 18 h 112"/>
                  <a:gd name="T8" fmla="*/ 53 w 84"/>
                  <a:gd name="T9" fmla="*/ 15 h 112"/>
                  <a:gd name="T10" fmla="*/ 43 w 84"/>
                  <a:gd name="T11" fmla="*/ 12 h 112"/>
                  <a:gd name="T12" fmla="*/ 32 w 84"/>
                  <a:gd name="T13" fmla="*/ 8 h 112"/>
                  <a:gd name="T14" fmla="*/ 22 w 84"/>
                  <a:gd name="T15" fmla="*/ 5 h 112"/>
                  <a:gd name="T16" fmla="*/ 10 w 84"/>
                  <a:gd name="T17" fmla="*/ 2 h 112"/>
                  <a:gd name="T18" fmla="*/ 0 w 84"/>
                  <a:gd name="T19" fmla="*/ 0 h 112"/>
                  <a:gd name="T20" fmla="*/ 25 w 84"/>
                  <a:gd name="T21" fmla="*/ 94 h 112"/>
                  <a:gd name="T22" fmla="*/ 31 w 84"/>
                  <a:gd name="T23" fmla="*/ 97 h 112"/>
                  <a:gd name="T24" fmla="*/ 37 w 84"/>
                  <a:gd name="T25" fmla="*/ 98 h 112"/>
                  <a:gd name="T26" fmla="*/ 42 w 84"/>
                  <a:gd name="T27" fmla="*/ 100 h 112"/>
                  <a:gd name="T28" fmla="*/ 47 w 84"/>
                  <a:gd name="T29" fmla="*/ 102 h 112"/>
                  <a:gd name="T30" fmla="*/ 52 w 84"/>
                  <a:gd name="T31" fmla="*/ 105 h 112"/>
                  <a:gd name="T32" fmla="*/ 58 w 84"/>
                  <a:gd name="T33" fmla="*/ 107 h 112"/>
                  <a:gd name="T34" fmla="*/ 62 w 84"/>
                  <a:gd name="T35" fmla="*/ 109 h 112"/>
                  <a:gd name="T36" fmla="*/ 68 w 84"/>
                  <a:gd name="T37"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4" h="112">
                    <a:moveTo>
                      <a:pt x="68" y="112"/>
                    </a:moveTo>
                    <a:lnTo>
                      <a:pt x="84" y="26"/>
                    </a:lnTo>
                    <a:lnTo>
                      <a:pt x="74" y="22"/>
                    </a:lnTo>
                    <a:lnTo>
                      <a:pt x="63" y="18"/>
                    </a:lnTo>
                    <a:lnTo>
                      <a:pt x="53" y="15"/>
                    </a:lnTo>
                    <a:lnTo>
                      <a:pt x="43" y="12"/>
                    </a:lnTo>
                    <a:lnTo>
                      <a:pt x="32" y="8"/>
                    </a:lnTo>
                    <a:lnTo>
                      <a:pt x="22" y="5"/>
                    </a:lnTo>
                    <a:lnTo>
                      <a:pt x="10" y="2"/>
                    </a:lnTo>
                    <a:lnTo>
                      <a:pt x="0" y="0"/>
                    </a:lnTo>
                    <a:lnTo>
                      <a:pt x="25" y="94"/>
                    </a:lnTo>
                    <a:lnTo>
                      <a:pt x="31" y="97"/>
                    </a:lnTo>
                    <a:lnTo>
                      <a:pt x="37" y="98"/>
                    </a:lnTo>
                    <a:lnTo>
                      <a:pt x="42" y="100"/>
                    </a:lnTo>
                    <a:lnTo>
                      <a:pt x="47" y="102"/>
                    </a:lnTo>
                    <a:lnTo>
                      <a:pt x="52" y="105"/>
                    </a:lnTo>
                    <a:lnTo>
                      <a:pt x="58" y="107"/>
                    </a:lnTo>
                    <a:lnTo>
                      <a:pt x="62" y="109"/>
                    </a:lnTo>
                    <a:lnTo>
                      <a:pt x="68" y="112"/>
                    </a:lnTo>
                    <a:close/>
                  </a:path>
                </a:pathLst>
              </a:custGeom>
              <a:solidFill>
                <a:schemeClr val="tx1"/>
              </a:solidFill>
              <a:ln w="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29"/>
              <p:cNvSpPr>
                <a:spLocks/>
              </p:cNvSpPr>
              <p:nvPr/>
            </p:nvSpPr>
            <p:spPr bwMode="auto">
              <a:xfrm>
                <a:off x="9321800" y="3398838"/>
                <a:ext cx="652463" cy="649288"/>
              </a:xfrm>
              <a:custGeom>
                <a:avLst/>
                <a:gdLst>
                  <a:gd name="T0" fmla="*/ 673 w 821"/>
                  <a:gd name="T1" fmla="*/ 93 h 819"/>
                  <a:gd name="T2" fmla="*/ 627 w 821"/>
                  <a:gd name="T3" fmla="*/ 61 h 819"/>
                  <a:gd name="T4" fmla="*/ 577 w 821"/>
                  <a:gd name="T5" fmla="*/ 34 h 819"/>
                  <a:gd name="T6" fmla="*/ 583 w 821"/>
                  <a:gd name="T7" fmla="*/ 132 h 819"/>
                  <a:gd name="T8" fmla="*/ 613 w 821"/>
                  <a:gd name="T9" fmla="*/ 154 h 819"/>
                  <a:gd name="T10" fmla="*/ 642 w 821"/>
                  <a:gd name="T11" fmla="*/ 178 h 819"/>
                  <a:gd name="T12" fmla="*/ 699 w 821"/>
                  <a:gd name="T13" fmla="*/ 256 h 819"/>
                  <a:gd name="T14" fmla="*/ 730 w 821"/>
                  <a:gd name="T15" fmla="*/ 344 h 819"/>
                  <a:gd name="T16" fmla="*/ 736 w 821"/>
                  <a:gd name="T17" fmla="*/ 442 h 819"/>
                  <a:gd name="T18" fmla="*/ 712 w 821"/>
                  <a:gd name="T19" fmla="*/ 535 h 819"/>
                  <a:gd name="T20" fmla="*/ 662 w 821"/>
                  <a:gd name="T21" fmla="*/ 616 h 819"/>
                  <a:gd name="T22" fmla="*/ 593 w 821"/>
                  <a:gd name="T23" fmla="*/ 679 h 819"/>
                  <a:gd name="T24" fmla="*/ 508 w 821"/>
                  <a:gd name="T25" fmla="*/ 720 h 819"/>
                  <a:gd name="T26" fmla="*/ 410 w 821"/>
                  <a:gd name="T27" fmla="*/ 735 h 819"/>
                  <a:gd name="T28" fmla="*/ 362 w 821"/>
                  <a:gd name="T29" fmla="*/ 731 h 819"/>
                  <a:gd name="T30" fmla="*/ 316 w 821"/>
                  <a:gd name="T31" fmla="*/ 721 h 819"/>
                  <a:gd name="T32" fmla="*/ 272 w 821"/>
                  <a:gd name="T33" fmla="*/ 704 h 819"/>
                  <a:gd name="T34" fmla="*/ 229 w 821"/>
                  <a:gd name="T35" fmla="*/ 679 h 819"/>
                  <a:gd name="T36" fmla="*/ 191 w 821"/>
                  <a:gd name="T37" fmla="*/ 651 h 819"/>
                  <a:gd name="T38" fmla="*/ 139 w 821"/>
                  <a:gd name="T39" fmla="*/ 590 h 819"/>
                  <a:gd name="T40" fmla="*/ 98 w 821"/>
                  <a:gd name="T41" fmla="*/ 503 h 819"/>
                  <a:gd name="T42" fmla="*/ 84 w 821"/>
                  <a:gd name="T43" fmla="*/ 409 h 819"/>
                  <a:gd name="T44" fmla="*/ 98 w 821"/>
                  <a:gd name="T45" fmla="*/ 314 h 819"/>
                  <a:gd name="T46" fmla="*/ 139 w 821"/>
                  <a:gd name="T47" fmla="*/ 228 h 819"/>
                  <a:gd name="T48" fmla="*/ 191 w 821"/>
                  <a:gd name="T49" fmla="*/ 167 h 819"/>
                  <a:gd name="T50" fmla="*/ 229 w 821"/>
                  <a:gd name="T51" fmla="*/ 138 h 819"/>
                  <a:gd name="T52" fmla="*/ 272 w 821"/>
                  <a:gd name="T53" fmla="*/ 114 h 819"/>
                  <a:gd name="T54" fmla="*/ 316 w 821"/>
                  <a:gd name="T55" fmla="*/ 97 h 819"/>
                  <a:gd name="T56" fmla="*/ 362 w 821"/>
                  <a:gd name="T57" fmla="*/ 86 h 819"/>
                  <a:gd name="T58" fmla="*/ 410 w 821"/>
                  <a:gd name="T59" fmla="*/ 83 h 819"/>
                  <a:gd name="T60" fmla="*/ 452 w 821"/>
                  <a:gd name="T61" fmla="*/ 85 h 819"/>
                  <a:gd name="T62" fmla="*/ 492 w 821"/>
                  <a:gd name="T63" fmla="*/ 94 h 819"/>
                  <a:gd name="T64" fmla="*/ 493 w 821"/>
                  <a:gd name="T65" fmla="*/ 8 h 819"/>
                  <a:gd name="T66" fmla="*/ 462 w 821"/>
                  <a:gd name="T67" fmla="*/ 3 h 819"/>
                  <a:gd name="T68" fmla="*/ 431 w 821"/>
                  <a:gd name="T69" fmla="*/ 0 h 819"/>
                  <a:gd name="T70" fmla="*/ 369 w 821"/>
                  <a:gd name="T71" fmla="*/ 2 h 819"/>
                  <a:gd name="T72" fmla="*/ 251 w 821"/>
                  <a:gd name="T73" fmla="*/ 32 h 819"/>
                  <a:gd name="T74" fmla="*/ 150 w 821"/>
                  <a:gd name="T75" fmla="*/ 93 h 819"/>
                  <a:gd name="T76" fmla="*/ 70 w 821"/>
                  <a:gd name="T77" fmla="*/ 181 h 819"/>
                  <a:gd name="T78" fmla="*/ 18 w 821"/>
                  <a:gd name="T79" fmla="*/ 287 h 819"/>
                  <a:gd name="T80" fmla="*/ 0 w 821"/>
                  <a:gd name="T81" fmla="*/ 409 h 819"/>
                  <a:gd name="T82" fmla="*/ 17 w 821"/>
                  <a:gd name="T83" fmla="*/ 527 h 819"/>
                  <a:gd name="T84" fmla="*/ 69 w 821"/>
                  <a:gd name="T85" fmla="*/ 636 h 819"/>
                  <a:gd name="T86" fmla="*/ 136 w 821"/>
                  <a:gd name="T87" fmla="*/ 712 h 819"/>
                  <a:gd name="T88" fmla="*/ 183 w 821"/>
                  <a:gd name="T89" fmla="*/ 750 h 819"/>
                  <a:gd name="T90" fmla="*/ 235 w 821"/>
                  <a:gd name="T91" fmla="*/ 780 h 819"/>
                  <a:gd name="T92" fmla="*/ 291 w 821"/>
                  <a:gd name="T93" fmla="*/ 802 h 819"/>
                  <a:gd name="T94" fmla="*/ 349 w 821"/>
                  <a:gd name="T95" fmla="*/ 814 h 819"/>
                  <a:gd name="T96" fmla="*/ 410 w 821"/>
                  <a:gd name="T97" fmla="*/ 819 h 819"/>
                  <a:gd name="T98" fmla="*/ 471 w 821"/>
                  <a:gd name="T99" fmla="*/ 814 h 819"/>
                  <a:gd name="T100" fmla="*/ 530 w 821"/>
                  <a:gd name="T101" fmla="*/ 802 h 819"/>
                  <a:gd name="T102" fmla="*/ 586 w 821"/>
                  <a:gd name="T103" fmla="*/ 780 h 819"/>
                  <a:gd name="T104" fmla="*/ 638 w 821"/>
                  <a:gd name="T105" fmla="*/ 750 h 819"/>
                  <a:gd name="T106" fmla="*/ 685 w 821"/>
                  <a:gd name="T107" fmla="*/ 712 h 819"/>
                  <a:gd name="T108" fmla="*/ 752 w 821"/>
                  <a:gd name="T109" fmla="*/ 636 h 819"/>
                  <a:gd name="T110" fmla="*/ 803 w 821"/>
                  <a:gd name="T111" fmla="*/ 527 h 819"/>
                  <a:gd name="T112" fmla="*/ 821 w 821"/>
                  <a:gd name="T113" fmla="*/ 409 h 819"/>
                  <a:gd name="T114" fmla="*/ 803 w 821"/>
                  <a:gd name="T115" fmla="*/ 290 h 819"/>
                  <a:gd name="T116" fmla="*/ 752 w 821"/>
                  <a:gd name="T117" fmla="*/ 182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1" h="819">
                    <a:moveTo>
                      <a:pt x="700" y="120"/>
                    </a:moveTo>
                    <a:lnTo>
                      <a:pt x="687" y="106"/>
                    </a:lnTo>
                    <a:lnTo>
                      <a:pt x="673" y="93"/>
                    </a:lnTo>
                    <a:lnTo>
                      <a:pt x="658" y="82"/>
                    </a:lnTo>
                    <a:lnTo>
                      <a:pt x="643" y="71"/>
                    </a:lnTo>
                    <a:lnTo>
                      <a:pt x="627" y="61"/>
                    </a:lnTo>
                    <a:lnTo>
                      <a:pt x="611" y="52"/>
                    </a:lnTo>
                    <a:lnTo>
                      <a:pt x="594" y="43"/>
                    </a:lnTo>
                    <a:lnTo>
                      <a:pt x="577" y="34"/>
                    </a:lnTo>
                    <a:lnTo>
                      <a:pt x="561" y="120"/>
                    </a:lnTo>
                    <a:lnTo>
                      <a:pt x="571" y="125"/>
                    </a:lnTo>
                    <a:lnTo>
                      <a:pt x="583" y="132"/>
                    </a:lnTo>
                    <a:lnTo>
                      <a:pt x="593" y="139"/>
                    </a:lnTo>
                    <a:lnTo>
                      <a:pt x="604" y="146"/>
                    </a:lnTo>
                    <a:lnTo>
                      <a:pt x="613" y="154"/>
                    </a:lnTo>
                    <a:lnTo>
                      <a:pt x="623" y="162"/>
                    </a:lnTo>
                    <a:lnTo>
                      <a:pt x="632" y="170"/>
                    </a:lnTo>
                    <a:lnTo>
                      <a:pt x="642" y="178"/>
                    </a:lnTo>
                    <a:lnTo>
                      <a:pt x="664" y="203"/>
                    </a:lnTo>
                    <a:lnTo>
                      <a:pt x="682" y="228"/>
                    </a:lnTo>
                    <a:lnTo>
                      <a:pt x="699" y="256"/>
                    </a:lnTo>
                    <a:lnTo>
                      <a:pt x="712" y="284"/>
                    </a:lnTo>
                    <a:lnTo>
                      <a:pt x="723" y="314"/>
                    </a:lnTo>
                    <a:lnTo>
                      <a:pt x="730" y="344"/>
                    </a:lnTo>
                    <a:lnTo>
                      <a:pt x="736" y="377"/>
                    </a:lnTo>
                    <a:lnTo>
                      <a:pt x="737" y="409"/>
                    </a:lnTo>
                    <a:lnTo>
                      <a:pt x="736" y="442"/>
                    </a:lnTo>
                    <a:lnTo>
                      <a:pt x="730" y="474"/>
                    </a:lnTo>
                    <a:lnTo>
                      <a:pt x="722" y="506"/>
                    </a:lnTo>
                    <a:lnTo>
                      <a:pt x="712" y="535"/>
                    </a:lnTo>
                    <a:lnTo>
                      <a:pt x="698" y="564"/>
                    </a:lnTo>
                    <a:lnTo>
                      <a:pt x="682" y="591"/>
                    </a:lnTo>
                    <a:lnTo>
                      <a:pt x="662" y="616"/>
                    </a:lnTo>
                    <a:lnTo>
                      <a:pt x="642" y="639"/>
                    </a:lnTo>
                    <a:lnTo>
                      <a:pt x="619" y="660"/>
                    </a:lnTo>
                    <a:lnTo>
                      <a:pt x="593" y="679"/>
                    </a:lnTo>
                    <a:lnTo>
                      <a:pt x="566" y="696"/>
                    </a:lnTo>
                    <a:lnTo>
                      <a:pt x="538" y="709"/>
                    </a:lnTo>
                    <a:lnTo>
                      <a:pt x="508" y="720"/>
                    </a:lnTo>
                    <a:lnTo>
                      <a:pt x="476" y="728"/>
                    </a:lnTo>
                    <a:lnTo>
                      <a:pt x="444" y="734"/>
                    </a:lnTo>
                    <a:lnTo>
                      <a:pt x="410" y="735"/>
                    </a:lnTo>
                    <a:lnTo>
                      <a:pt x="394" y="735"/>
                    </a:lnTo>
                    <a:lnTo>
                      <a:pt x="378" y="734"/>
                    </a:lnTo>
                    <a:lnTo>
                      <a:pt x="362" y="731"/>
                    </a:lnTo>
                    <a:lnTo>
                      <a:pt x="347" y="728"/>
                    </a:lnTo>
                    <a:lnTo>
                      <a:pt x="331" y="724"/>
                    </a:lnTo>
                    <a:lnTo>
                      <a:pt x="316" y="721"/>
                    </a:lnTo>
                    <a:lnTo>
                      <a:pt x="301" y="715"/>
                    </a:lnTo>
                    <a:lnTo>
                      <a:pt x="286" y="709"/>
                    </a:lnTo>
                    <a:lnTo>
                      <a:pt x="272" y="704"/>
                    </a:lnTo>
                    <a:lnTo>
                      <a:pt x="257" y="697"/>
                    </a:lnTo>
                    <a:lnTo>
                      <a:pt x="243" y="689"/>
                    </a:lnTo>
                    <a:lnTo>
                      <a:pt x="229" y="679"/>
                    </a:lnTo>
                    <a:lnTo>
                      <a:pt x="217" y="670"/>
                    </a:lnTo>
                    <a:lnTo>
                      <a:pt x="204" y="661"/>
                    </a:lnTo>
                    <a:lnTo>
                      <a:pt x="191" y="651"/>
                    </a:lnTo>
                    <a:lnTo>
                      <a:pt x="180" y="639"/>
                    </a:lnTo>
                    <a:lnTo>
                      <a:pt x="158" y="615"/>
                    </a:lnTo>
                    <a:lnTo>
                      <a:pt x="139" y="590"/>
                    </a:lnTo>
                    <a:lnTo>
                      <a:pt x="122" y="562"/>
                    </a:lnTo>
                    <a:lnTo>
                      <a:pt x="109" y="533"/>
                    </a:lnTo>
                    <a:lnTo>
                      <a:pt x="98" y="503"/>
                    </a:lnTo>
                    <a:lnTo>
                      <a:pt x="91" y="472"/>
                    </a:lnTo>
                    <a:lnTo>
                      <a:pt x="85" y="441"/>
                    </a:lnTo>
                    <a:lnTo>
                      <a:pt x="84" y="409"/>
                    </a:lnTo>
                    <a:lnTo>
                      <a:pt x="85" y="377"/>
                    </a:lnTo>
                    <a:lnTo>
                      <a:pt x="91" y="344"/>
                    </a:lnTo>
                    <a:lnTo>
                      <a:pt x="98" y="314"/>
                    </a:lnTo>
                    <a:lnTo>
                      <a:pt x="109" y="284"/>
                    </a:lnTo>
                    <a:lnTo>
                      <a:pt x="122" y="256"/>
                    </a:lnTo>
                    <a:lnTo>
                      <a:pt x="139" y="228"/>
                    </a:lnTo>
                    <a:lnTo>
                      <a:pt x="158" y="203"/>
                    </a:lnTo>
                    <a:lnTo>
                      <a:pt x="180" y="178"/>
                    </a:lnTo>
                    <a:lnTo>
                      <a:pt x="191" y="167"/>
                    </a:lnTo>
                    <a:lnTo>
                      <a:pt x="204" y="157"/>
                    </a:lnTo>
                    <a:lnTo>
                      <a:pt x="217" y="147"/>
                    </a:lnTo>
                    <a:lnTo>
                      <a:pt x="229" y="138"/>
                    </a:lnTo>
                    <a:lnTo>
                      <a:pt x="243" y="129"/>
                    </a:lnTo>
                    <a:lnTo>
                      <a:pt x="257" y="121"/>
                    </a:lnTo>
                    <a:lnTo>
                      <a:pt x="272" y="114"/>
                    </a:lnTo>
                    <a:lnTo>
                      <a:pt x="286" y="108"/>
                    </a:lnTo>
                    <a:lnTo>
                      <a:pt x="301" y="102"/>
                    </a:lnTo>
                    <a:lnTo>
                      <a:pt x="316" y="97"/>
                    </a:lnTo>
                    <a:lnTo>
                      <a:pt x="331" y="93"/>
                    </a:lnTo>
                    <a:lnTo>
                      <a:pt x="347" y="90"/>
                    </a:lnTo>
                    <a:lnTo>
                      <a:pt x="362" y="86"/>
                    </a:lnTo>
                    <a:lnTo>
                      <a:pt x="378" y="84"/>
                    </a:lnTo>
                    <a:lnTo>
                      <a:pt x="394" y="83"/>
                    </a:lnTo>
                    <a:lnTo>
                      <a:pt x="410" y="83"/>
                    </a:lnTo>
                    <a:lnTo>
                      <a:pt x="424" y="83"/>
                    </a:lnTo>
                    <a:lnTo>
                      <a:pt x="438" y="84"/>
                    </a:lnTo>
                    <a:lnTo>
                      <a:pt x="452" y="85"/>
                    </a:lnTo>
                    <a:lnTo>
                      <a:pt x="465" y="87"/>
                    </a:lnTo>
                    <a:lnTo>
                      <a:pt x="479" y="91"/>
                    </a:lnTo>
                    <a:lnTo>
                      <a:pt x="492" y="94"/>
                    </a:lnTo>
                    <a:lnTo>
                      <a:pt x="506" y="98"/>
                    </a:lnTo>
                    <a:lnTo>
                      <a:pt x="518" y="102"/>
                    </a:lnTo>
                    <a:lnTo>
                      <a:pt x="493" y="8"/>
                    </a:lnTo>
                    <a:lnTo>
                      <a:pt x="483" y="6"/>
                    </a:lnTo>
                    <a:lnTo>
                      <a:pt x="472" y="5"/>
                    </a:lnTo>
                    <a:lnTo>
                      <a:pt x="462" y="3"/>
                    </a:lnTo>
                    <a:lnTo>
                      <a:pt x="452" y="2"/>
                    </a:lnTo>
                    <a:lnTo>
                      <a:pt x="441" y="1"/>
                    </a:lnTo>
                    <a:lnTo>
                      <a:pt x="431" y="0"/>
                    </a:lnTo>
                    <a:lnTo>
                      <a:pt x="420" y="0"/>
                    </a:lnTo>
                    <a:lnTo>
                      <a:pt x="410" y="0"/>
                    </a:lnTo>
                    <a:lnTo>
                      <a:pt x="369" y="2"/>
                    </a:lnTo>
                    <a:lnTo>
                      <a:pt x="327" y="8"/>
                    </a:lnTo>
                    <a:lnTo>
                      <a:pt x="288" y="18"/>
                    </a:lnTo>
                    <a:lnTo>
                      <a:pt x="251" y="32"/>
                    </a:lnTo>
                    <a:lnTo>
                      <a:pt x="215" y="49"/>
                    </a:lnTo>
                    <a:lnTo>
                      <a:pt x="181" y="70"/>
                    </a:lnTo>
                    <a:lnTo>
                      <a:pt x="150" y="93"/>
                    </a:lnTo>
                    <a:lnTo>
                      <a:pt x="121" y="120"/>
                    </a:lnTo>
                    <a:lnTo>
                      <a:pt x="93" y="149"/>
                    </a:lnTo>
                    <a:lnTo>
                      <a:pt x="70" y="181"/>
                    </a:lnTo>
                    <a:lnTo>
                      <a:pt x="50" y="214"/>
                    </a:lnTo>
                    <a:lnTo>
                      <a:pt x="32" y="250"/>
                    </a:lnTo>
                    <a:lnTo>
                      <a:pt x="18" y="287"/>
                    </a:lnTo>
                    <a:lnTo>
                      <a:pt x="8" y="326"/>
                    </a:lnTo>
                    <a:lnTo>
                      <a:pt x="2" y="367"/>
                    </a:lnTo>
                    <a:lnTo>
                      <a:pt x="0" y="409"/>
                    </a:lnTo>
                    <a:lnTo>
                      <a:pt x="2" y="449"/>
                    </a:lnTo>
                    <a:lnTo>
                      <a:pt x="8" y="489"/>
                    </a:lnTo>
                    <a:lnTo>
                      <a:pt x="17" y="527"/>
                    </a:lnTo>
                    <a:lnTo>
                      <a:pt x="31" y="565"/>
                    </a:lnTo>
                    <a:lnTo>
                      <a:pt x="48" y="601"/>
                    </a:lnTo>
                    <a:lnTo>
                      <a:pt x="69" y="636"/>
                    </a:lnTo>
                    <a:lnTo>
                      <a:pt x="93" y="668"/>
                    </a:lnTo>
                    <a:lnTo>
                      <a:pt x="121" y="698"/>
                    </a:lnTo>
                    <a:lnTo>
                      <a:pt x="136" y="712"/>
                    </a:lnTo>
                    <a:lnTo>
                      <a:pt x="151" y="725"/>
                    </a:lnTo>
                    <a:lnTo>
                      <a:pt x="167" y="738"/>
                    </a:lnTo>
                    <a:lnTo>
                      <a:pt x="183" y="750"/>
                    </a:lnTo>
                    <a:lnTo>
                      <a:pt x="200" y="760"/>
                    </a:lnTo>
                    <a:lnTo>
                      <a:pt x="218" y="770"/>
                    </a:lnTo>
                    <a:lnTo>
                      <a:pt x="235" y="780"/>
                    </a:lnTo>
                    <a:lnTo>
                      <a:pt x="253" y="788"/>
                    </a:lnTo>
                    <a:lnTo>
                      <a:pt x="272" y="795"/>
                    </a:lnTo>
                    <a:lnTo>
                      <a:pt x="291" y="802"/>
                    </a:lnTo>
                    <a:lnTo>
                      <a:pt x="310" y="806"/>
                    </a:lnTo>
                    <a:lnTo>
                      <a:pt x="329" y="811"/>
                    </a:lnTo>
                    <a:lnTo>
                      <a:pt x="349" y="814"/>
                    </a:lnTo>
                    <a:lnTo>
                      <a:pt x="370" y="816"/>
                    </a:lnTo>
                    <a:lnTo>
                      <a:pt x="389" y="819"/>
                    </a:lnTo>
                    <a:lnTo>
                      <a:pt x="410" y="819"/>
                    </a:lnTo>
                    <a:lnTo>
                      <a:pt x="431" y="819"/>
                    </a:lnTo>
                    <a:lnTo>
                      <a:pt x="452" y="816"/>
                    </a:lnTo>
                    <a:lnTo>
                      <a:pt x="471" y="814"/>
                    </a:lnTo>
                    <a:lnTo>
                      <a:pt x="491" y="811"/>
                    </a:lnTo>
                    <a:lnTo>
                      <a:pt x="510" y="806"/>
                    </a:lnTo>
                    <a:lnTo>
                      <a:pt x="530" y="802"/>
                    </a:lnTo>
                    <a:lnTo>
                      <a:pt x="549" y="795"/>
                    </a:lnTo>
                    <a:lnTo>
                      <a:pt x="568" y="788"/>
                    </a:lnTo>
                    <a:lnTo>
                      <a:pt x="586" y="780"/>
                    </a:lnTo>
                    <a:lnTo>
                      <a:pt x="604" y="770"/>
                    </a:lnTo>
                    <a:lnTo>
                      <a:pt x="621" y="760"/>
                    </a:lnTo>
                    <a:lnTo>
                      <a:pt x="638" y="750"/>
                    </a:lnTo>
                    <a:lnTo>
                      <a:pt x="654" y="738"/>
                    </a:lnTo>
                    <a:lnTo>
                      <a:pt x="670" y="725"/>
                    </a:lnTo>
                    <a:lnTo>
                      <a:pt x="685" y="712"/>
                    </a:lnTo>
                    <a:lnTo>
                      <a:pt x="700" y="698"/>
                    </a:lnTo>
                    <a:lnTo>
                      <a:pt x="728" y="668"/>
                    </a:lnTo>
                    <a:lnTo>
                      <a:pt x="752" y="636"/>
                    </a:lnTo>
                    <a:lnTo>
                      <a:pt x="773" y="601"/>
                    </a:lnTo>
                    <a:lnTo>
                      <a:pt x="790" y="565"/>
                    </a:lnTo>
                    <a:lnTo>
                      <a:pt x="803" y="527"/>
                    </a:lnTo>
                    <a:lnTo>
                      <a:pt x="813" y="489"/>
                    </a:lnTo>
                    <a:lnTo>
                      <a:pt x="819" y="449"/>
                    </a:lnTo>
                    <a:lnTo>
                      <a:pt x="821" y="409"/>
                    </a:lnTo>
                    <a:lnTo>
                      <a:pt x="819" y="368"/>
                    </a:lnTo>
                    <a:lnTo>
                      <a:pt x="813" y="329"/>
                    </a:lnTo>
                    <a:lnTo>
                      <a:pt x="803" y="290"/>
                    </a:lnTo>
                    <a:lnTo>
                      <a:pt x="790" y="252"/>
                    </a:lnTo>
                    <a:lnTo>
                      <a:pt x="773" y="216"/>
                    </a:lnTo>
                    <a:lnTo>
                      <a:pt x="752" y="182"/>
                    </a:lnTo>
                    <a:lnTo>
                      <a:pt x="728" y="150"/>
                    </a:lnTo>
                    <a:lnTo>
                      <a:pt x="700" y="120"/>
                    </a:lnTo>
                    <a:close/>
                  </a:path>
                </a:pathLst>
              </a:custGeom>
              <a:solidFill>
                <a:schemeClr val="tx1"/>
              </a:solidFill>
              <a:ln w="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63" name="Group 62"/>
          <p:cNvGrpSpPr/>
          <p:nvPr/>
        </p:nvGrpSpPr>
        <p:grpSpPr>
          <a:xfrm>
            <a:off x="4489932" y="2982574"/>
            <a:ext cx="1829384" cy="1803671"/>
            <a:chOff x="5985017" y="3976763"/>
            <a:chExt cx="2438544" cy="2404895"/>
          </a:xfrm>
        </p:grpSpPr>
        <p:sp>
          <p:nvSpPr>
            <p:cNvPr id="13" name="Rectangle 12"/>
            <p:cNvSpPr/>
            <p:nvPr/>
          </p:nvSpPr>
          <p:spPr bwMode="auto">
            <a:xfrm>
              <a:off x="5985017" y="3976763"/>
              <a:ext cx="2438544" cy="2404895"/>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4" name="Freeform 13"/>
            <p:cNvSpPr>
              <a:spLocks/>
            </p:cNvSpPr>
            <p:nvPr/>
          </p:nvSpPr>
          <p:spPr bwMode="auto">
            <a:xfrm rot="10800000">
              <a:off x="6335220" y="4812954"/>
              <a:ext cx="1135008" cy="1232011"/>
            </a:xfrm>
            <a:custGeom>
              <a:avLst/>
              <a:gdLst>
                <a:gd name="T0" fmla="*/ 52 w 526"/>
                <a:gd name="T1" fmla="*/ 561 h 615"/>
                <a:gd name="T2" fmla="*/ 24 w 526"/>
                <a:gd name="T3" fmla="*/ 533 h 615"/>
                <a:gd name="T4" fmla="*/ 52 w 526"/>
                <a:gd name="T5" fmla="*/ 506 h 615"/>
                <a:gd name="T6" fmla="*/ 40 w 526"/>
                <a:gd name="T7" fmla="*/ 466 h 615"/>
                <a:gd name="T8" fmla="*/ 25 w 526"/>
                <a:gd name="T9" fmla="*/ 429 h 615"/>
                <a:gd name="T10" fmla="*/ 165 w 526"/>
                <a:gd name="T11" fmla="*/ 413 h 615"/>
                <a:gd name="T12" fmla="*/ 31 w 526"/>
                <a:gd name="T13" fmla="*/ 369 h 615"/>
                <a:gd name="T14" fmla="*/ 31 w 526"/>
                <a:gd name="T15" fmla="*/ 329 h 615"/>
                <a:gd name="T16" fmla="*/ 165 w 526"/>
                <a:gd name="T17" fmla="*/ 283 h 615"/>
                <a:gd name="T18" fmla="*/ 25 w 526"/>
                <a:gd name="T19" fmla="*/ 267 h 615"/>
                <a:gd name="T20" fmla="*/ 40 w 526"/>
                <a:gd name="T21" fmla="*/ 230 h 615"/>
                <a:gd name="T22" fmla="*/ 52 w 526"/>
                <a:gd name="T23" fmla="*/ 192 h 615"/>
                <a:gd name="T24" fmla="*/ 25 w 526"/>
                <a:gd name="T25" fmla="*/ 176 h 615"/>
                <a:gd name="T26" fmla="*/ 40 w 526"/>
                <a:gd name="T27" fmla="*/ 139 h 615"/>
                <a:gd name="T28" fmla="*/ 52 w 526"/>
                <a:gd name="T29" fmla="*/ 99 h 615"/>
                <a:gd name="T30" fmla="*/ 25 w 526"/>
                <a:gd name="T31" fmla="*/ 83 h 615"/>
                <a:gd name="T32" fmla="*/ 40 w 526"/>
                <a:gd name="T33" fmla="*/ 46 h 615"/>
                <a:gd name="T34" fmla="*/ 235 w 526"/>
                <a:gd name="T35" fmla="*/ 52 h 615"/>
                <a:gd name="T36" fmla="*/ 235 w 526"/>
                <a:gd name="T37" fmla="*/ 92 h 615"/>
                <a:gd name="T38" fmla="*/ 165 w 526"/>
                <a:gd name="T39" fmla="*/ 99 h 615"/>
                <a:gd name="T40" fmla="*/ 235 w 526"/>
                <a:gd name="T41" fmla="*/ 145 h 615"/>
                <a:gd name="T42" fmla="*/ 235 w 526"/>
                <a:gd name="T43" fmla="*/ 185 h 615"/>
                <a:gd name="T44" fmla="*/ 165 w 526"/>
                <a:gd name="T45" fmla="*/ 192 h 615"/>
                <a:gd name="T46" fmla="*/ 235 w 526"/>
                <a:gd name="T47" fmla="*/ 236 h 615"/>
                <a:gd name="T48" fmla="*/ 235 w 526"/>
                <a:gd name="T49" fmla="*/ 276 h 615"/>
                <a:gd name="T50" fmla="*/ 165 w 526"/>
                <a:gd name="T51" fmla="*/ 322 h 615"/>
                <a:gd name="T52" fmla="*/ 240 w 526"/>
                <a:gd name="T53" fmla="*/ 338 h 615"/>
                <a:gd name="T54" fmla="*/ 226 w 526"/>
                <a:gd name="T55" fmla="*/ 375 h 615"/>
                <a:gd name="T56" fmla="*/ 215 w 526"/>
                <a:gd name="T57" fmla="*/ 413 h 615"/>
                <a:gd name="T58" fmla="*/ 242 w 526"/>
                <a:gd name="T59" fmla="*/ 441 h 615"/>
                <a:gd name="T60" fmla="*/ 215 w 526"/>
                <a:gd name="T61" fmla="*/ 468 h 615"/>
                <a:gd name="T62" fmla="*/ 226 w 526"/>
                <a:gd name="T63" fmla="*/ 508 h 615"/>
                <a:gd name="T64" fmla="*/ 240 w 526"/>
                <a:gd name="T65" fmla="*/ 544 h 615"/>
                <a:gd name="T66" fmla="*/ 165 w 526"/>
                <a:gd name="T67" fmla="*/ 561 h 615"/>
                <a:gd name="T68" fmla="*/ 504 w 526"/>
                <a:gd name="T69" fmla="*/ 370 h 615"/>
                <a:gd name="T70" fmla="*/ 488 w 526"/>
                <a:gd name="T71" fmla="*/ 578 h 615"/>
                <a:gd name="T72" fmla="*/ 277 w 526"/>
                <a:gd name="T73" fmla="*/ 572 h 615"/>
                <a:gd name="T74" fmla="*/ 271 w 526"/>
                <a:gd name="T75" fmla="*/ 359 h 615"/>
                <a:gd name="T76" fmla="*/ 401 w 526"/>
                <a:gd name="T77" fmla="*/ 341 h 615"/>
                <a:gd name="T78" fmla="*/ 292 w 526"/>
                <a:gd name="T79" fmla="*/ 276 h 615"/>
                <a:gd name="T80" fmla="*/ 292 w 526"/>
                <a:gd name="T81" fmla="*/ 236 h 615"/>
                <a:gd name="T82" fmla="*/ 401 w 526"/>
                <a:gd name="T83" fmla="*/ 192 h 615"/>
                <a:gd name="T84" fmla="*/ 292 w 526"/>
                <a:gd name="T85" fmla="*/ 185 h 615"/>
                <a:gd name="T86" fmla="*/ 292 w 526"/>
                <a:gd name="T87" fmla="*/ 145 h 615"/>
                <a:gd name="T88" fmla="*/ 401 w 526"/>
                <a:gd name="T89" fmla="*/ 99 h 615"/>
                <a:gd name="T90" fmla="*/ 292 w 526"/>
                <a:gd name="T91" fmla="*/ 92 h 615"/>
                <a:gd name="T92" fmla="*/ 292 w 526"/>
                <a:gd name="T93" fmla="*/ 52 h 615"/>
                <a:gd name="T94" fmla="*/ 487 w 526"/>
                <a:gd name="T95" fmla="*/ 46 h 615"/>
                <a:gd name="T96" fmla="*/ 501 w 526"/>
                <a:gd name="T97" fmla="*/ 83 h 615"/>
                <a:gd name="T98" fmla="*/ 475 w 526"/>
                <a:gd name="T99" fmla="*/ 99 h 615"/>
                <a:gd name="T100" fmla="*/ 487 w 526"/>
                <a:gd name="T101" fmla="*/ 139 h 615"/>
                <a:gd name="T102" fmla="*/ 501 w 526"/>
                <a:gd name="T103" fmla="*/ 176 h 615"/>
                <a:gd name="T104" fmla="*/ 475 w 526"/>
                <a:gd name="T105" fmla="*/ 192 h 615"/>
                <a:gd name="T106" fmla="*/ 487 w 526"/>
                <a:gd name="T107" fmla="*/ 230 h 615"/>
                <a:gd name="T108" fmla="*/ 501 w 526"/>
                <a:gd name="T109" fmla="*/ 267 h 615"/>
                <a:gd name="T110" fmla="*/ 401 w 526"/>
                <a:gd name="T111" fmla="*/ 283 h 615"/>
                <a:gd name="T112" fmla="*/ 497 w 526"/>
                <a:gd name="T113" fmla="*/ 350 h 615"/>
                <a:gd name="T114" fmla="*/ 526 w 526"/>
                <a:gd name="T115" fmla="*/ 370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6" h="615">
                  <a:moveTo>
                    <a:pt x="0" y="615"/>
                  </a:moveTo>
                  <a:lnTo>
                    <a:pt x="165" y="615"/>
                  </a:lnTo>
                  <a:lnTo>
                    <a:pt x="165" y="561"/>
                  </a:lnTo>
                  <a:lnTo>
                    <a:pt x="52" y="561"/>
                  </a:lnTo>
                  <a:lnTo>
                    <a:pt x="40" y="559"/>
                  </a:lnTo>
                  <a:lnTo>
                    <a:pt x="31" y="553"/>
                  </a:lnTo>
                  <a:lnTo>
                    <a:pt x="25" y="544"/>
                  </a:lnTo>
                  <a:lnTo>
                    <a:pt x="24" y="533"/>
                  </a:lnTo>
                  <a:lnTo>
                    <a:pt x="25" y="522"/>
                  </a:lnTo>
                  <a:lnTo>
                    <a:pt x="31" y="513"/>
                  </a:lnTo>
                  <a:lnTo>
                    <a:pt x="40" y="508"/>
                  </a:lnTo>
                  <a:lnTo>
                    <a:pt x="52" y="506"/>
                  </a:lnTo>
                  <a:lnTo>
                    <a:pt x="165" y="506"/>
                  </a:lnTo>
                  <a:lnTo>
                    <a:pt x="165" y="468"/>
                  </a:lnTo>
                  <a:lnTo>
                    <a:pt x="52" y="468"/>
                  </a:lnTo>
                  <a:lnTo>
                    <a:pt x="40" y="466"/>
                  </a:lnTo>
                  <a:lnTo>
                    <a:pt x="31" y="460"/>
                  </a:lnTo>
                  <a:lnTo>
                    <a:pt x="25" y="452"/>
                  </a:lnTo>
                  <a:lnTo>
                    <a:pt x="24" y="441"/>
                  </a:lnTo>
                  <a:lnTo>
                    <a:pt x="25" y="429"/>
                  </a:lnTo>
                  <a:lnTo>
                    <a:pt x="31" y="421"/>
                  </a:lnTo>
                  <a:lnTo>
                    <a:pt x="40" y="415"/>
                  </a:lnTo>
                  <a:lnTo>
                    <a:pt x="52" y="413"/>
                  </a:lnTo>
                  <a:lnTo>
                    <a:pt x="165" y="413"/>
                  </a:lnTo>
                  <a:lnTo>
                    <a:pt x="165" y="376"/>
                  </a:lnTo>
                  <a:lnTo>
                    <a:pt x="52" y="376"/>
                  </a:lnTo>
                  <a:lnTo>
                    <a:pt x="40" y="375"/>
                  </a:lnTo>
                  <a:lnTo>
                    <a:pt x="31" y="369"/>
                  </a:lnTo>
                  <a:lnTo>
                    <a:pt x="25" y="360"/>
                  </a:lnTo>
                  <a:lnTo>
                    <a:pt x="24" y="348"/>
                  </a:lnTo>
                  <a:lnTo>
                    <a:pt x="25" y="338"/>
                  </a:lnTo>
                  <a:lnTo>
                    <a:pt x="31" y="329"/>
                  </a:lnTo>
                  <a:lnTo>
                    <a:pt x="40" y="323"/>
                  </a:lnTo>
                  <a:lnTo>
                    <a:pt x="52" y="322"/>
                  </a:lnTo>
                  <a:lnTo>
                    <a:pt x="165" y="322"/>
                  </a:lnTo>
                  <a:lnTo>
                    <a:pt x="165" y="283"/>
                  </a:lnTo>
                  <a:lnTo>
                    <a:pt x="52" y="283"/>
                  </a:lnTo>
                  <a:lnTo>
                    <a:pt x="40" y="282"/>
                  </a:lnTo>
                  <a:lnTo>
                    <a:pt x="31" y="276"/>
                  </a:lnTo>
                  <a:lnTo>
                    <a:pt x="25" y="267"/>
                  </a:lnTo>
                  <a:lnTo>
                    <a:pt x="24" y="257"/>
                  </a:lnTo>
                  <a:lnTo>
                    <a:pt x="25" y="245"/>
                  </a:lnTo>
                  <a:lnTo>
                    <a:pt x="31" y="236"/>
                  </a:lnTo>
                  <a:lnTo>
                    <a:pt x="40" y="230"/>
                  </a:lnTo>
                  <a:lnTo>
                    <a:pt x="52" y="229"/>
                  </a:lnTo>
                  <a:lnTo>
                    <a:pt x="165" y="229"/>
                  </a:lnTo>
                  <a:lnTo>
                    <a:pt x="165" y="192"/>
                  </a:lnTo>
                  <a:lnTo>
                    <a:pt x="52" y="192"/>
                  </a:lnTo>
                  <a:lnTo>
                    <a:pt x="52" y="192"/>
                  </a:lnTo>
                  <a:lnTo>
                    <a:pt x="40" y="191"/>
                  </a:lnTo>
                  <a:lnTo>
                    <a:pt x="31" y="185"/>
                  </a:lnTo>
                  <a:lnTo>
                    <a:pt x="25" y="176"/>
                  </a:lnTo>
                  <a:lnTo>
                    <a:pt x="24" y="164"/>
                  </a:lnTo>
                  <a:lnTo>
                    <a:pt x="25" y="154"/>
                  </a:lnTo>
                  <a:lnTo>
                    <a:pt x="31" y="145"/>
                  </a:lnTo>
                  <a:lnTo>
                    <a:pt x="40" y="139"/>
                  </a:lnTo>
                  <a:lnTo>
                    <a:pt x="52" y="138"/>
                  </a:lnTo>
                  <a:lnTo>
                    <a:pt x="165" y="138"/>
                  </a:lnTo>
                  <a:lnTo>
                    <a:pt x="165" y="99"/>
                  </a:lnTo>
                  <a:lnTo>
                    <a:pt x="52" y="99"/>
                  </a:lnTo>
                  <a:lnTo>
                    <a:pt x="52" y="99"/>
                  </a:lnTo>
                  <a:lnTo>
                    <a:pt x="40" y="98"/>
                  </a:lnTo>
                  <a:lnTo>
                    <a:pt x="31" y="92"/>
                  </a:lnTo>
                  <a:lnTo>
                    <a:pt x="25" y="83"/>
                  </a:lnTo>
                  <a:lnTo>
                    <a:pt x="24" y="73"/>
                  </a:lnTo>
                  <a:lnTo>
                    <a:pt x="25" y="61"/>
                  </a:lnTo>
                  <a:lnTo>
                    <a:pt x="31" y="52"/>
                  </a:lnTo>
                  <a:lnTo>
                    <a:pt x="40" y="46"/>
                  </a:lnTo>
                  <a:lnTo>
                    <a:pt x="52" y="45"/>
                  </a:lnTo>
                  <a:lnTo>
                    <a:pt x="215" y="45"/>
                  </a:lnTo>
                  <a:lnTo>
                    <a:pt x="226" y="46"/>
                  </a:lnTo>
                  <a:lnTo>
                    <a:pt x="235" y="52"/>
                  </a:lnTo>
                  <a:lnTo>
                    <a:pt x="240" y="61"/>
                  </a:lnTo>
                  <a:lnTo>
                    <a:pt x="242" y="73"/>
                  </a:lnTo>
                  <a:lnTo>
                    <a:pt x="240" y="83"/>
                  </a:lnTo>
                  <a:lnTo>
                    <a:pt x="235" y="92"/>
                  </a:lnTo>
                  <a:lnTo>
                    <a:pt x="226" y="98"/>
                  </a:lnTo>
                  <a:lnTo>
                    <a:pt x="215" y="99"/>
                  </a:lnTo>
                  <a:lnTo>
                    <a:pt x="215" y="99"/>
                  </a:lnTo>
                  <a:lnTo>
                    <a:pt x="165" y="99"/>
                  </a:lnTo>
                  <a:lnTo>
                    <a:pt x="165" y="138"/>
                  </a:lnTo>
                  <a:lnTo>
                    <a:pt x="215" y="138"/>
                  </a:lnTo>
                  <a:lnTo>
                    <a:pt x="226" y="139"/>
                  </a:lnTo>
                  <a:lnTo>
                    <a:pt x="235" y="145"/>
                  </a:lnTo>
                  <a:lnTo>
                    <a:pt x="240" y="154"/>
                  </a:lnTo>
                  <a:lnTo>
                    <a:pt x="242" y="164"/>
                  </a:lnTo>
                  <a:lnTo>
                    <a:pt x="240" y="176"/>
                  </a:lnTo>
                  <a:lnTo>
                    <a:pt x="235" y="185"/>
                  </a:lnTo>
                  <a:lnTo>
                    <a:pt x="226" y="191"/>
                  </a:lnTo>
                  <a:lnTo>
                    <a:pt x="215" y="192"/>
                  </a:lnTo>
                  <a:lnTo>
                    <a:pt x="215" y="192"/>
                  </a:lnTo>
                  <a:lnTo>
                    <a:pt x="165" y="192"/>
                  </a:lnTo>
                  <a:lnTo>
                    <a:pt x="165" y="229"/>
                  </a:lnTo>
                  <a:lnTo>
                    <a:pt x="215" y="229"/>
                  </a:lnTo>
                  <a:lnTo>
                    <a:pt x="226" y="230"/>
                  </a:lnTo>
                  <a:lnTo>
                    <a:pt x="235" y="236"/>
                  </a:lnTo>
                  <a:lnTo>
                    <a:pt x="240" y="245"/>
                  </a:lnTo>
                  <a:lnTo>
                    <a:pt x="242" y="257"/>
                  </a:lnTo>
                  <a:lnTo>
                    <a:pt x="240" y="267"/>
                  </a:lnTo>
                  <a:lnTo>
                    <a:pt x="235" y="276"/>
                  </a:lnTo>
                  <a:lnTo>
                    <a:pt x="226" y="282"/>
                  </a:lnTo>
                  <a:lnTo>
                    <a:pt x="215" y="283"/>
                  </a:lnTo>
                  <a:lnTo>
                    <a:pt x="165" y="283"/>
                  </a:lnTo>
                  <a:lnTo>
                    <a:pt x="165" y="322"/>
                  </a:lnTo>
                  <a:lnTo>
                    <a:pt x="215" y="322"/>
                  </a:lnTo>
                  <a:lnTo>
                    <a:pt x="226" y="323"/>
                  </a:lnTo>
                  <a:lnTo>
                    <a:pt x="235" y="329"/>
                  </a:lnTo>
                  <a:lnTo>
                    <a:pt x="240" y="338"/>
                  </a:lnTo>
                  <a:lnTo>
                    <a:pt x="242" y="348"/>
                  </a:lnTo>
                  <a:lnTo>
                    <a:pt x="240" y="360"/>
                  </a:lnTo>
                  <a:lnTo>
                    <a:pt x="235" y="369"/>
                  </a:lnTo>
                  <a:lnTo>
                    <a:pt x="226" y="375"/>
                  </a:lnTo>
                  <a:lnTo>
                    <a:pt x="215" y="376"/>
                  </a:lnTo>
                  <a:lnTo>
                    <a:pt x="165" y="376"/>
                  </a:lnTo>
                  <a:lnTo>
                    <a:pt x="165" y="413"/>
                  </a:lnTo>
                  <a:lnTo>
                    <a:pt x="215" y="413"/>
                  </a:lnTo>
                  <a:lnTo>
                    <a:pt x="226" y="415"/>
                  </a:lnTo>
                  <a:lnTo>
                    <a:pt x="235" y="421"/>
                  </a:lnTo>
                  <a:lnTo>
                    <a:pt x="240" y="429"/>
                  </a:lnTo>
                  <a:lnTo>
                    <a:pt x="242" y="441"/>
                  </a:lnTo>
                  <a:lnTo>
                    <a:pt x="240" y="452"/>
                  </a:lnTo>
                  <a:lnTo>
                    <a:pt x="235" y="460"/>
                  </a:lnTo>
                  <a:lnTo>
                    <a:pt x="226" y="466"/>
                  </a:lnTo>
                  <a:lnTo>
                    <a:pt x="215" y="468"/>
                  </a:lnTo>
                  <a:lnTo>
                    <a:pt x="165" y="468"/>
                  </a:lnTo>
                  <a:lnTo>
                    <a:pt x="165" y="506"/>
                  </a:lnTo>
                  <a:lnTo>
                    <a:pt x="215" y="506"/>
                  </a:lnTo>
                  <a:lnTo>
                    <a:pt x="226" y="508"/>
                  </a:lnTo>
                  <a:lnTo>
                    <a:pt x="235" y="513"/>
                  </a:lnTo>
                  <a:lnTo>
                    <a:pt x="240" y="522"/>
                  </a:lnTo>
                  <a:lnTo>
                    <a:pt x="242" y="533"/>
                  </a:lnTo>
                  <a:lnTo>
                    <a:pt x="240" y="544"/>
                  </a:lnTo>
                  <a:lnTo>
                    <a:pt x="235" y="553"/>
                  </a:lnTo>
                  <a:lnTo>
                    <a:pt x="226" y="559"/>
                  </a:lnTo>
                  <a:lnTo>
                    <a:pt x="215" y="561"/>
                  </a:lnTo>
                  <a:lnTo>
                    <a:pt x="165" y="561"/>
                  </a:lnTo>
                  <a:lnTo>
                    <a:pt x="165" y="615"/>
                  </a:lnTo>
                  <a:lnTo>
                    <a:pt x="526" y="615"/>
                  </a:lnTo>
                  <a:lnTo>
                    <a:pt x="526" y="370"/>
                  </a:lnTo>
                  <a:lnTo>
                    <a:pt x="504" y="370"/>
                  </a:lnTo>
                  <a:lnTo>
                    <a:pt x="504" y="553"/>
                  </a:lnTo>
                  <a:lnTo>
                    <a:pt x="503" y="564"/>
                  </a:lnTo>
                  <a:lnTo>
                    <a:pt x="497" y="572"/>
                  </a:lnTo>
                  <a:lnTo>
                    <a:pt x="488" y="578"/>
                  </a:lnTo>
                  <a:lnTo>
                    <a:pt x="476" y="581"/>
                  </a:lnTo>
                  <a:lnTo>
                    <a:pt x="296" y="581"/>
                  </a:lnTo>
                  <a:lnTo>
                    <a:pt x="286" y="578"/>
                  </a:lnTo>
                  <a:lnTo>
                    <a:pt x="277" y="572"/>
                  </a:lnTo>
                  <a:lnTo>
                    <a:pt x="271" y="564"/>
                  </a:lnTo>
                  <a:lnTo>
                    <a:pt x="270" y="553"/>
                  </a:lnTo>
                  <a:lnTo>
                    <a:pt x="270" y="369"/>
                  </a:lnTo>
                  <a:lnTo>
                    <a:pt x="271" y="359"/>
                  </a:lnTo>
                  <a:lnTo>
                    <a:pt x="277" y="350"/>
                  </a:lnTo>
                  <a:lnTo>
                    <a:pt x="286" y="344"/>
                  </a:lnTo>
                  <a:lnTo>
                    <a:pt x="296" y="341"/>
                  </a:lnTo>
                  <a:lnTo>
                    <a:pt x="401" y="341"/>
                  </a:lnTo>
                  <a:lnTo>
                    <a:pt x="401" y="283"/>
                  </a:lnTo>
                  <a:lnTo>
                    <a:pt x="311" y="283"/>
                  </a:lnTo>
                  <a:lnTo>
                    <a:pt x="301" y="282"/>
                  </a:lnTo>
                  <a:lnTo>
                    <a:pt x="292" y="276"/>
                  </a:lnTo>
                  <a:lnTo>
                    <a:pt x="286" y="267"/>
                  </a:lnTo>
                  <a:lnTo>
                    <a:pt x="285" y="257"/>
                  </a:lnTo>
                  <a:lnTo>
                    <a:pt x="286" y="245"/>
                  </a:lnTo>
                  <a:lnTo>
                    <a:pt x="292" y="236"/>
                  </a:lnTo>
                  <a:lnTo>
                    <a:pt x="301" y="230"/>
                  </a:lnTo>
                  <a:lnTo>
                    <a:pt x="311" y="229"/>
                  </a:lnTo>
                  <a:lnTo>
                    <a:pt x="401" y="229"/>
                  </a:lnTo>
                  <a:lnTo>
                    <a:pt x="401" y="192"/>
                  </a:lnTo>
                  <a:lnTo>
                    <a:pt x="311" y="192"/>
                  </a:lnTo>
                  <a:lnTo>
                    <a:pt x="311" y="192"/>
                  </a:lnTo>
                  <a:lnTo>
                    <a:pt x="301" y="191"/>
                  </a:lnTo>
                  <a:lnTo>
                    <a:pt x="292" y="185"/>
                  </a:lnTo>
                  <a:lnTo>
                    <a:pt x="286" y="176"/>
                  </a:lnTo>
                  <a:lnTo>
                    <a:pt x="285" y="164"/>
                  </a:lnTo>
                  <a:lnTo>
                    <a:pt x="286" y="154"/>
                  </a:lnTo>
                  <a:lnTo>
                    <a:pt x="292" y="145"/>
                  </a:lnTo>
                  <a:lnTo>
                    <a:pt x="301" y="139"/>
                  </a:lnTo>
                  <a:lnTo>
                    <a:pt x="311" y="138"/>
                  </a:lnTo>
                  <a:lnTo>
                    <a:pt x="401" y="138"/>
                  </a:lnTo>
                  <a:lnTo>
                    <a:pt x="401" y="99"/>
                  </a:lnTo>
                  <a:lnTo>
                    <a:pt x="311" y="99"/>
                  </a:lnTo>
                  <a:lnTo>
                    <a:pt x="311" y="99"/>
                  </a:lnTo>
                  <a:lnTo>
                    <a:pt x="301" y="98"/>
                  </a:lnTo>
                  <a:lnTo>
                    <a:pt x="292" y="92"/>
                  </a:lnTo>
                  <a:lnTo>
                    <a:pt x="286" y="83"/>
                  </a:lnTo>
                  <a:lnTo>
                    <a:pt x="285" y="73"/>
                  </a:lnTo>
                  <a:lnTo>
                    <a:pt x="286" y="61"/>
                  </a:lnTo>
                  <a:lnTo>
                    <a:pt x="292" y="52"/>
                  </a:lnTo>
                  <a:lnTo>
                    <a:pt x="301" y="46"/>
                  </a:lnTo>
                  <a:lnTo>
                    <a:pt x="311" y="45"/>
                  </a:lnTo>
                  <a:lnTo>
                    <a:pt x="475" y="45"/>
                  </a:lnTo>
                  <a:lnTo>
                    <a:pt x="487" y="46"/>
                  </a:lnTo>
                  <a:lnTo>
                    <a:pt x="495" y="52"/>
                  </a:lnTo>
                  <a:lnTo>
                    <a:pt x="501" y="61"/>
                  </a:lnTo>
                  <a:lnTo>
                    <a:pt x="503" y="73"/>
                  </a:lnTo>
                  <a:lnTo>
                    <a:pt x="501" y="83"/>
                  </a:lnTo>
                  <a:lnTo>
                    <a:pt x="495" y="92"/>
                  </a:lnTo>
                  <a:lnTo>
                    <a:pt x="487" y="98"/>
                  </a:lnTo>
                  <a:lnTo>
                    <a:pt x="475" y="99"/>
                  </a:lnTo>
                  <a:lnTo>
                    <a:pt x="475" y="99"/>
                  </a:lnTo>
                  <a:lnTo>
                    <a:pt x="401" y="99"/>
                  </a:lnTo>
                  <a:lnTo>
                    <a:pt x="401" y="138"/>
                  </a:lnTo>
                  <a:lnTo>
                    <a:pt x="475" y="138"/>
                  </a:lnTo>
                  <a:lnTo>
                    <a:pt x="487" y="139"/>
                  </a:lnTo>
                  <a:lnTo>
                    <a:pt x="495" y="145"/>
                  </a:lnTo>
                  <a:lnTo>
                    <a:pt x="501" y="154"/>
                  </a:lnTo>
                  <a:lnTo>
                    <a:pt x="503" y="164"/>
                  </a:lnTo>
                  <a:lnTo>
                    <a:pt x="501" y="176"/>
                  </a:lnTo>
                  <a:lnTo>
                    <a:pt x="495" y="185"/>
                  </a:lnTo>
                  <a:lnTo>
                    <a:pt x="487" y="191"/>
                  </a:lnTo>
                  <a:lnTo>
                    <a:pt x="475" y="192"/>
                  </a:lnTo>
                  <a:lnTo>
                    <a:pt x="475" y="192"/>
                  </a:lnTo>
                  <a:lnTo>
                    <a:pt x="401" y="192"/>
                  </a:lnTo>
                  <a:lnTo>
                    <a:pt x="401" y="229"/>
                  </a:lnTo>
                  <a:lnTo>
                    <a:pt x="475" y="229"/>
                  </a:lnTo>
                  <a:lnTo>
                    <a:pt x="487" y="230"/>
                  </a:lnTo>
                  <a:lnTo>
                    <a:pt x="495" y="236"/>
                  </a:lnTo>
                  <a:lnTo>
                    <a:pt x="501" y="245"/>
                  </a:lnTo>
                  <a:lnTo>
                    <a:pt x="503" y="257"/>
                  </a:lnTo>
                  <a:lnTo>
                    <a:pt x="501" y="267"/>
                  </a:lnTo>
                  <a:lnTo>
                    <a:pt x="495" y="276"/>
                  </a:lnTo>
                  <a:lnTo>
                    <a:pt x="487" y="282"/>
                  </a:lnTo>
                  <a:lnTo>
                    <a:pt x="475" y="283"/>
                  </a:lnTo>
                  <a:lnTo>
                    <a:pt x="401" y="283"/>
                  </a:lnTo>
                  <a:lnTo>
                    <a:pt x="401" y="341"/>
                  </a:lnTo>
                  <a:lnTo>
                    <a:pt x="476" y="341"/>
                  </a:lnTo>
                  <a:lnTo>
                    <a:pt x="488" y="344"/>
                  </a:lnTo>
                  <a:lnTo>
                    <a:pt x="497" y="350"/>
                  </a:lnTo>
                  <a:lnTo>
                    <a:pt x="503" y="359"/>
                  </a:lnTo>
                  <a:lnTo>
                    <a:pt x="504" y="369"/>
                  </a:lnTo>
                  <a:lnTo>
                    <a:pt x="504" y="370"/>
                  </a:lnTo>
                  <a:lnTo>
                    <a:pt x="526" y="370"/>
                  </a:lnTo>
                  <a:lnTo>
                    <a:pt x="526" y="0"/>
                  </a:lnTo>
                  <a:lnTo>
                    <a:pt x="0" y="0"/>
                  </a:lnTo>
                  <a:lnTo>
                    <a:pt x="0" y="61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7" name="Freeform 13"/>
            <p:cNvSpPr>
              <a:spLocks/>
            </p:cNvSpPr>
            <p:nvPr/>
          </p:nvSpPr>
          <p:spPr bwMode="auto">
            <a:xfrm rot="10800000">
              <a:off x="6902723" y="4253813"/>
              <a:ext cx="1135008" cy="1232011"/>
            </a:xfrm>
            <a:custGeom>
              <a:avLst/>
              <a:gdLst>
                <a:gd name="T0" fmla="*/ 52 w 526"/>
                <a:gd name="T1" fmla="*/ 561 h 615"/>
                <a:gd name="T2" fmla="*/ 24 w 526"/>
                <a:gd name="T3" fmla="*/ 533 h 615"/>
                <a:gd name="T4" fmla="*/ 52 w 526"/>
                <a:gd name="T5" fmla="*/ 506 h 615"/>
                <a:gd name="T6" fmla="*/ 40 w 526"/>
                <a:gd name="T7" fmla="*/ 466 h 615"/>
                <a:gd name="T8" fmla="*/ 25 w 526"/>
                <a:gd name="T9" fmla="*/ 429 h 615"/>
                <a:gd name="T10" fmla="*/ 165 w 526"/>
                <a:gd name="T11" fmla="*/ 413 h 615"/>
                <a:gd name="T12" fmla="*/ 31 w 526"/>
                <a:gd name="T13" fmla="*/ 369 h 615"/>
                <a:gd name="T14" fmla="*/ 31 w 526"/>
                <a:gd name="T15" fmla="*/ 329 h 615"/>
                <a:gd name="T16" fmla="*/ 165 w 526"/>
                <a:gd name="T17" fmla="*/ 283 h 615"/>
                <a:gd name="T18" fmla="*/ 25 w 526"/>
                <a:gd name="T19" fmla="*/ 267 h 615"/>
                <a:gd name="T20" fmla="*/ 40 w 526"/>
                <a:gd name="T21" fmla="*/ 230 h 615"/>
                <a:gd name="T22" fmla="*/ 52 w 526"/>
                <a:gd name="T23" fmla="*/ 192 h 615"/>
                <a:gd name="T24" fmla="*/ 25 w 526"/>
                <a:gd name="T25" fmla="*/ 176 h 615"/>
                <a:gd name="T26" fmla="*/ 40 w 526"/>
                <a:gd name="T27" fmla="*/ 139 h 615"/>
                <a:gd name="T28" fmla="*/ 52 w 526"/>
                <a:gd name="T29" fmla="*/ 99 h 615"/>
                <a:gd name="T30" fmla="*/ 25 w 526"/>
                <a:gd name="T31" fmla="*/ 83 h 615"/>
                <a:gd name="T32" fmla="*/ 40 w 526"/>
                <a:gd name="T33" fmla="*/ 46 h 615"/>
                <a:gd name="T34" fmla="*/ 235 w 526"/>
                <a:gd name="T35" fmla="*/ 52 h 615"/>
                <a:gd name="T36" fmla="*/ 235 w 526"/>
                <a:gd name="T37" fmla="*/ 92 h 615"/>
                <a:gd name="T38" fmla="*/ 165 w 526"/>
                <a:gd name="T39" fmla="*/ 99 h 615"/>
                <a:gd name="T40" fmla="*/ 235 w 526"/>
                <a:gd name="T41" fmla="*/ 145 h 615"/>
                <a:gd name="T42" fmla="*/ 235 w 526"/>
                <a:gd name="T43" fmla="*/ 185 h 615"/>
                <a:gd name="T44" fmla="*/ 165 w 526"/>
                <a:gd name="T45" fmla="*/ 192 h 615"/>
                <a:gd name="T46" fmla="*/ 235 w 526"/>
                <a:gd name="T47" fmla="*/ 236 h 615"/>
                <a:gd name="T48" fmla="*/ 235 w 526"/>
                <a:gd name="T49" fmla="*/ 276 h 615"/>
                <a:gd name="T50" fmla="*/ 165 w 526"/>
                <a:gd name="T51" fmla="*/ 322 h 615"/>
                <a:gd name="T52" fmla="*/ 240 w 526"/>
                <a:gd name="T53" fmla="*/ 338 h 615"/>
                <a:gd name="T54" fmla="*/ 226 w 526"/>
                <a:gd name="T55" fmla="*/ 375 h 615"/>
                <a:gd name="T56" fmla="*/ 215 w 526"/>
                <a:gd name="T57" fmla="*/ 413 h 615"/>
                <a:gd name="T58" fmla="*/ 242 w 526"/>
                <a:gd name="T59" fmla="*/ 441 h 615"/>
                <a:gd name="T60" fmla="*/ 215 w 526"/>
                <a:gd name="T61" fmla="*/ 468 h 615"/>
                <a:gd name="T62" fmla="*/ 226 w 526"/>
                <a:gd name="T63" fmla="*/ 508 h 615"/>
                <a:gd name="T64" fmla="*/ 240 w 526"/>
                <a:gd name="T65" fmla="*/ 544 h 615"/>
                <a:gd name="T66" fmla="*/ 165 w 526"/>
                <a:gd name="T67" fmla="*/ 561 h 615"/>
                <a:gd name="T68" fmla="*/ 504 w 526"/>
                <a:gd name="T69" fmla="*/ 370 h 615"/>
                <a:gd name="T70" fmla="*/ 488 w 526"/>
                <a:gd name="T71" fmla="*/ 578 h 615"/>
                <a:gd name="T72" fmla="*/ 277 w 526"/>
                <a:gd name="T73" fmla="*/ 572 h 615"/>
                <a:gd name="T74" fmla="*/ 271 w 526"/>
                <a:gd name="T75" fmla="*/ 359 h 615"/>
                <a:gd name="T76" fmla="*/ 401 w 526"/>
                <a:gd name="T77" fmla="*/ 341 h 615"/>
                <a:gd name="T78" fmla="*/ 292 w 526"/>
                <a:gd name="T79" fmla="*/ 276 h 615"/>
                <a:gd name="T80" fmla="*/ 292 w 526"/>
                <a:gd name="T81" fmla="*/ 236 h 615"/>
                <a:gd name="T82" fmla="*/ 401 w 526"/>
                <a:gd name="T83" fmla="*/ 192 h 615"/>
                <a:gd name="T84" fmla="*/ 292 w 526"/>
                <a:gd name="T85" fmla="*/ 185 h 615"/>
                <a:gd name="T86" fmla="*/ 292 w 526"/>
                <a:gd name="T87" fmla="*/ 145 h 615"/>
                <a:gd name="T88" fmla="*/ 401 w 526"/>
                <a:gd name="T89" fmla="*/ 99 h 615"/>
                <a:gd name="T90" fmla="*/ 292 w 526"/>
                <a:gd name="T91" fmla="*/ 92 h 615"/>
                <a:gd name="T92" fmla="*/ 292 w 526"/>
                <a:gd name="T93" fmla="*/ 52 h 615"/>
                <a:gd name="T94" fmla="*/ 487 w 526"/>
                <a:gd name="T95" fmla="*/ 46 h 615"/>
                <a:gd name="T96" fmla="*/ 501 w 526"/>
                <a:gd name="T97" fmla="*/ 83 h 615"/>
                <a:gd name="T98" fmla="*/ 475 w 526"/>
                <a:gd name="T99" fmla="*/ 99 h 615"/>
                <a:gd name="T100" fmla="*/ 487 w 526"/>
                <a:gd name="T101" fmla="*/ 139 h 615"/>
                <a:gd name="T102" fmla="*/ 501 w 526"/>
                <a:gd name="T103" fmla="*/ 176 h 615"/>
                <a:gd name="T104" fmla="*/ 475 w 526"/>
                <a:gd name="T105" fmla="*/ 192 h 615"/>
                <a:gd name="T106" fmla="*/ 487 w 526"/>
                <a:gd name="T107" fmla="*/ 230 h 615"/>
                <a:gd name="T108" fmla="*/ 501 w 526"/>
                <a:gd name="T109" fmla="*/ 267 h 615"/>
                <a:gd name="T110" fmla="*/ 401 w 526"/>
                <a:gd name="T111" fmla="*/ 283 h 615"/>
                <a:gd name="T112" fmla="*/ 497 w 526"/>
                <a:gd name="T113" fmla="*/ 350 h 615"/>
                <a:gd name="T114" fmla="*/ 526 w 526"/>
                <a:gd name="T115" fmla="*/ 370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6" h="615">
                  <a:moveTo>
                    <a:pt x="0" y="615"/>
                  </a:moveTo>
                  <a:lnTo>
                    <a:pt x="165" y="615"/>
                  </a:lnTo>
                  <a:lnTo>
                    <a:pt x="165" y="561"/>
                  </a:lnTo>
                  <a:lnTo>
                    <a:pt x="52" y="561"/>
                  </a:lnTo>
                  <a:lnTo>
                    <a:pt x="40" y="559"/>
                  </a:lnTo>
                  <a:lnTo>
                    <a:pt x="31" y="553"/>
                  </a:lnTo>
                  <a:lnTo>
                    <a:pt x="25" y="544"/>
                  </a:lnTo>
                  <a:lnTo>
                    <a:pt x="24" y="533"/>
                  </a:lnTo>
                  <a:lnTo>
                    <a:pt x="25" y="522"/>
                  </a:lnTo>
                  <a:lnTo>
                    <a:pt x="31" y="513"/>
                  </a:lnTo>
                  <a:lnTo>
                    <a:pt x="40" y="508"/>
                  </a:lnTo>
                  <a:lnTo>
                    <a:pt x="52" y="506"/>
                  </a:lnTo>
                  <a:lnTo>
                    <a:pt x="165" y="506"/>
                  </a:lnTo>
                  <a:lnTo>
                    <a:pt x="165" y="468"/>
                  </a:lnTo>
                  <a:lnTo>
                    <a:pt x="52" y="468"/>
                  </a:lnTo>
                  <a:lnTo>
                    <a:pt x="40" y="466"/>
                  </a:lnTo>
                  <a:lnTo>
                    <a:pt x="31" y="460"/>
                  </a:lnTo>
                  <a:lnTo>
                    <a:pt x="25" y="452"/>
                  </a:lnTo>
                  <a:lnTo>
                    <a:pt x="24" y="441"/>
                  </a:lnTo>
                  <a:lnTo>
                    <a:pt x="25" y="429"/>
                  </a:lnTo>
                  <a:lnTo>
                    <a:pt x="31" y="421"/>
                  </a:lnTo>
                  <a:lnTo>
                    <a:pt x="40" y="415"/>
                  </a:lnTo>
                  <a:lnTo>
                    <a:pt x="52" y="413"/>
                  </a:lnTo>
                  <a:lnTo>
                    <a:pt x="165" y="413"/>
                  </a:lnTo>
                  <a:lnTo>
                    <a:pt x="165" y="376"/>
                  </a:lnTo>
                  <a:lnTo>
                    <a:pt x="52" y="376"/>
                  </a:lnTo>
                  <a:lnTo>
                    <a:pt x="40" y="375"/>
                  </a:lnTo>
                  <a:lnTo>
                    <a:pt x="31" y="369"/>
                  </a:lnTo>
                  <a:lnTo>
                    <a:pt x="25" y="360"/>
                  </a:lnTo>
                  <a:lnTo>
                    <a:pt x="24" y="348"/>
                  </a:lnTo>
                  <a:lnTo>
                    <a:pt x="25" y="338"/>
                  </a:lnTo>
                  <a:lnTo>
                    <a:pt x="31" y="329"/>
                  </a:lnTo>
                  <a:lnTo>
                    <a:pt x="40" y="323"/>
                  </a:lnTo>
                  <a:lnTo>
                    <a:pt x="52" y="322"/>
                  </a:lnTo>
                  <a:lnTo>
                    <a:pt x="165" y="322"/>
                  </a:lnTo>
                  <a:lnTo>
                    <a:pt x="165" y="283"/>
                  </a:lnTo>
                  <a:lnTo>
                    <a:pt x="52" y="283"/>
                  </a:lnTo>
                  <a:lnTo>
                    <a:pt x="40" y="282"/>
                  </a:lnTo>
                  <a:lnTo>
                    <a:pt x="31" y="276"/>
                  </a:lnTo>
                  <a:lnTo>
                    <a:pt x="25" y="267"/>
                  </a:lnTo>
                  <a:lnTo>
                    <a:pt x="24" y="257"/>
                  </a:lnTo>
                  <a:lnTo>
                    <a:pt x="25" y="245"/>
                  </a:lnTo>
                  <a:lnTo>
                    <a:pt x="31" y="236"/>
                  </a:lnTo>
                  <a:lnTo>
                    <a:pt x="40" y="230"/>
                  </a:lnTo>
                  <a:lnTo>
                    <a:pt x="52" y="229"/>
                  </a:lnTo>
                  <a:lnTo>
                    <a:pt x="165" y="229"/>
                  </a:lnTo>
                  <a:lnTo>
                    <a:pt x="165" y="192"/>
                  </a:lnTo>
                  <a:lnTo>
                    <a:pt x="52" y="192"/>
                  </a:lnTo>
                  <a:lnTo>
                    <a:pt x="52" y="192"/>
                  </a:lnTo>
                  <a:lnTo>
                    <a:pt x="40" y="191"/>
                  </a:lnTo>
                  <a:lnTo>
                    <a:pt x="31" y="185"/>
                  </a:lnTo>
                  <a:lnTo>
                    <a:pt x="25" y="176"/>
                  </a:lnTo>
                  <a:lnTo>
                    <a:pt x="24" y="164"/>
                  </a:lnTo>
                  <a:lnTo>
                    <a:pt x="25" y="154"/>
                  </a:lnTo>
                  <a:lnTo>
                    <a:pt x="31" y="145"/>
                  </a:lnTo>
                  <a:lnTo>
                    <a:pt x="40" y="139"/>
                  </a:lnTo>
                  <a:lnTo>
                    <a:pt x="52" y="138"/>
                  </a:lnTo>
                  <a:lnTo>
                    <a:pt x="165" y="138"/>
                  </a:lnTo>
                  <a:lnTo>
                    <a:pt x="165" y="99"/>
                  </a:lnTo>
                  <a:lnTo>
                    <a:pt x="52" y="99"/>
                  </a:lnTo>
                  <a:lnTo>
                    <a:pt x="52" y="99"/>
                  </a:lnTo>
                  <a:lnTo>
                    <a:pt x="40" y="98"/>
                  </a:lnTo>
                  <a:lnTo>
                    <a:pt x="31" y="92"/>
                  </a:lnTo>
                  <a:lnTo>
                    <a:pt x="25" y="83"/>
                  </a:lnTo>
                  <a:lnTo>
                    <a:pt x="24" y="73"/>
                  </a:lnTo>
                  <a:lnTo>
                    <a:pt x="25" y="61"/>
                  </a:lnTo>
                  <a:lnTo>
                    <a:pt x="31" y="52"/>
                  </a:lnTo>
                  <a:lnTo>
                    <a:pt x="40" y="46"/>
                  </a:lnTo>
                  <a:lnTo>
                    <a:pt x="52" y="45"/>
                  </a:lnTo>
                  <a:lnTo>
                    <a:pt x="215" y="45"/>
                  </a:lnTo>
                  <a:lnTo>
                    <a:pt x="226" y="46"/>
                  </a:lnTo>
                  <a:lnTo>
                    <a:pt x="235" y="52"/>
                  </a:lnTo>
                  <a:lnTo>
                    <a:pt x="240" y="61"/>
                  </a:lnTo>
                  <a:lnTo>
                    <a:pt x="242" y="73"/>
                  </a:lnTo>
                  <a:lnTo>
                    <a:pt x="240" y="83"/>
                  </a:lnTo>
                  <a:lnTo>
                    <a:pt x="235" y="92"/>
                  </a:lnTo>
                  <a:lnTo>
                    <a:pt x="226" y="98"/>
                  </a:lnTo>
                  <a:lnTo>
                    <a:pt x="215" y="99"/>
                  </a:lnTo>
                  <a:lnTo>
                    <a:pt x="215" y="99"/>
                  </a:lnTo>
                  <a:lnTo>
                    <a:pt x="165" y="99"/>
                  </a:lnTo>
                  <a:lnTo>
                    <a:pt x="165" y="138"/>
                  </a:lnTo>
                  <a:lnTo>
                    <a:pt x="215" y="138"/>
                  </a:lnTo>
                  <a:lnTo>
                    <a:pt x="226" y="139"/>
                  </a:lnTo>
                  <a:lnTo>
                    <a:pt x="235" y="145"/>
                  </a:lnTo>
                  <a:lnTo>
                    <a:pt x="240" y="154"/>
                  </a:lnTo>
                  <a:lnTo>
                    <a:pt x="242" y="164"/>
                  </a:lnTo>
                  <a:lnTo>
                    <a:pt x="240" y="176"/>
                  </a:lnTo>
                  <a:lnTo>
                    <a:pt x="235" y="185"/>
                  </a:lnTo>
                  <a:lnTo>
                    <a:pt x="226" y="191"/>
                  </a:lnTo>
                  <a:lnTo>
                    <a:pt x="215" y="192"/>
                  </a:lnTo>
                  <a:lnTo>
                    <a:pt x="215" y="192"/>
                  </a:lnTo>
                  <a:lnTo>
                    <a:pt x="165" y="192"/>
                  </a:lnTo>
                  <a:lnTo>
                    <a:pt x="165" y="229"/>
                  </a:lnTo>
                  <a:lnTo>
                    <a:pt x="215" y="229"/>
                  </a:lnTo>
                  <a:lnTo>
                    <a:pt x="226" y="230"/>
                  </a:lnTo>
                  <a:lnTo>
                    <a:pt x="235" y="236"/>
                  </a:lnTo>
                  <a:lnTo>
                    <a:pt x="240" y="245"/>
                  </a:lnTo>
                  <a:lnTo>
                    <a:pt x="242" y="257"/>
                  </a:lnTo>
                  <a:lnTo>
                    <a:pt x="240" y="267"/>
                  </a:lnTo>
                  <a:lnTo>
                    <a:pt x="235" y="276"/>
                  </a:lnTo>
                  <a:lnTo>
                    <a:pt x="226" y="282"/>
                  </a:lnTo>
                  <a:lnTo>
                    <a:pt x="215" y="283"/>
                  </a:lnTo>
                  <a:lnTo>
                    <a:pt x="165" y="283"/>
                  </a:lnTo>
                  <a:lnTo>
                    <a:pt x="165" y="322"/>
                  </a:lnTo>
                  <a:lnTo>
                    <a:pt x="215" y="322"/>
                  </a:lnTo>
                  <a:lnTo>
                    <a:pt x="226" y="323"/>
                  </a:lnTo>
                  <a:lnTo>
                    <a:pt x="235" y="329"/>
                  </a:lnTo>
                  <a:lnTo>
                    <a:pt x="240" y="338"/>
                  </a:lnTo>
                  <a:lnTo>
                    <a:pt x="242" y="348"/>
                  </a:lnTo>
                  <a:lnTo>
                    <a:pt x="240" y="360"/>
                  </a:lnTo>
                  <a:lnTo>
                    <a:pt x="235" y="369"/>
                  </a:lnTo>
                  <a:lnTo>
                    <a:pt x="226" y="375"/>
                  </a:lnTo>
                  <a:lnTo>
                    <a:pt x="215" y="376"/>
                  </a:lnTo>
                  <a:lnTo>
                    <a:pt x="165" y="376"/>
                  </a:lnTo>
                  <a:lnTo>
                    <a:pt x="165" y="413"/>
                  </a:lnTo>
                  <a:lnTo>
                    <a:pt x="215" y="413"/>
                  </a:lnTo>
                  <a:lnTo>
                    <a:pt x="226" y="415"/>
                  </a:lnTo>
                  <a:lnTo>
                    <a:pt x="235" y="421"/>
                  </a:lnTo>
                  <a:lnTo>
                    <a:pt x="240" y="429"/>
                  </a:lnTo>
                  <a:lnTo>
                    <a:pt x="242" y="441"/>
                  </a:lnTo>
                  <a:lnTo>
                    <a:pt x="240" y="452"/>
                  </a:lnTo>
                  <a:lnTo>
                    <a:pt x="235" y="460"/>
                  </a:lnTo>
                  <a:lnTo>
                    <a:pt x="226" y="466"/>
                  </a:lnTo>
                  <a:lnTo>
                    <a:pt x="215" y="468"/>
                  </a:lnTo>
                  <a:lnTo>
                    <a:pt x="165" y="468"/>
                  </a:lnTo>
                  <a:lnTo>
                    <a:pt x="165" y="506"/>
                  </a:lnTo>
                  <a:lnTo>
                    <a:pt x="215" y="506"/>
                  </a:lnTo>
                  <a:lnTo>
                    <a:pt x="226" y="508"/>
                  </a:lnTo>
                  <a:lnTo>
                    <a:pt x="235" y="513"/>
                  </a:lnTo>
                  <a:lnTo>
                    <a:pt x="240" y="522"/>
                  </a:lnTo>
                  <a:lnTo>
                    <a:pt x="242" y="533"/>
                  </a:lnTo>
                  <a:lnTo>
                    <a:pt x="240" y="544"/>
                  </a:lnTo>
                  <a:lnTo>
                    <a:pt x="235" y="553"/>
                  </a:lnTo>
                  <a:lnTo>
                    <a:pt x="226" y="559"/>
                  </a:lnTo>
                  <a:lnTo>
                    <a:pt x="215" y="561"/>
                  </a:lnTo>
                  <a:lnTo>
                    <a:pt x="165" y="561"/>
                  </a:lnTo>
                  <a:lnTo>
                    <a:pt x="165" y="615"/>
                  </a:lnTo>
                  <a:lnTo>
                    <a:pt x="526" y="615"/>
                  </a:lnTo>
                  <a:lnTo>
                    <a:pt x="526" y="370"/>
                  </a:lnTo>
                  <a:lnTo>
                    <a:pt x="504" y="370"/>
                  </a:lnTo>
                  <a:lnTo>
                    <a:pt x="504" y="553"/>
                  </a:lnTo>
                  <a:lnTo>
                    <a:pt x="503" y="564"/>
                  </a:lnTo>
                  <a:lnTo>
                    <a:pt x="497" y="572"/>
                  </a:lnTo>
                  <a:lnTo>
                    <a:pt x="488" y="578"/>
                  </a:lnTo>
                  <a:lnTo>
                    <a:pt x="476" y="581"/>
                  </a:lnTo>
                  <a:lnTo>
                    <a:pt x="296" y="581"/>
                  </a:lnTo>
                  <a:lnTo>
                    <a:pt x="286" y="578"/>
                  </a:lnTo>
                  <a:lnTo>
                    <a:pt x="277" y="572"/>
                  </a:lnTo>
                  <a:lnTo>
                    <a:pt x="271" y="564"/>
                  </a:lnTo>
                  <a:lnTo>
                    <a:pt x="270" y="553"/>
                  </a:lnTo>
                  <a:lnTo>
                    <a:pt x="270" y="369"/>
                  </a:lnTo>
                  <a:lnTo>
                    <a:pt x="271" y="359"/>
                  </a:lnTo>
                  <a:lnTo>
                    <a:pt x="277" y="350"/>
                  </a:lnTo>
                  <a:lnTo>
                    <a:pt x="286" y="344"/>
                  </a:lnTo>
                  <a:lnTo>
                    <a:pt x="296" y="341"/>
                  </a:lnTo>
                  <a:lnTo>
                    <a:pt x="401" y="341"/>
                  </a:lnTo>
                  <a:lnTo>
                    <a:pt x="401" y="283"/>
                  </a:lnTo>
                  <a:lnTo>
                    <a:pt x="311" y="283"/>
                  </a:lnTo>
                  <a:lnTo>
                    <a:pt x="301" y="282"/>
                  </a:lnTo>
                  <a:lnTo>
                    <a:pt x="292" y="276"/>
                  </a:lnTo>
                  <a:lnTo>
                    <a:pt x="286" y="267"/>
                  </a:lnTo>
                  <a:lnTo>
                    <a:pt x="285" y="257"/>
                  </a:lnTo>
                  <a:lnTo>
                    <a:pt x="286" y="245"/>
                  </a:lnTo>
                  <a:lnTo>
                    <a:pt x="292" y="236"/>
                  </a:lnTo>
                  <a:lnTo>
                    <a:pt x="301" y="230"/>
                  </a:lnTo>
                  <a:lnTo>
                    <a:pt x="311" y="229"/>
                  </a:lnTo>
                  <a:lnTo>
                    <a:pt x="401" y="229"/>
                  </a:lnTo>
                  <a:lnTo>
                    <a:pt x="401" y="192"/>
                  </a:lnTo>
                  <a:lnTo>
                    <a:pt x="311" y="192"/>
                  </a:lnTo>
                  <a:lnTo>
                    <a:pt x="311" y="192"/>
                  </a:lnTo>
                  <a:lnTo>
                    <a:pt x="301" y="191"/>
                  </a:lnTo>
                  <a:lnTo>
                    <a:pt x="292" y="185"/>
                  </a:lnTo>
                  <a:lnTo>
                    <a:pt x="286" y="176"/>
                  </a:lnTo>
                  <a:lnTo>
                    <a:pt x="285" y="164"/>
                  </a:lnTo>
                  <a:lnTo>
                    <a:pt x="286" y="154"/>
                  </a:lnTo>
                  <a:lnTo>
                    <a:pt x="292" y="145"/>
                  </a:lnTo>
                  <a:lnTo>
                    <a:pt x="301" y="139"/>
                  </a:lnTo>
                  <a:lnTo>
                    <a:pt x="311" y="138"/>
                  </a:lnTo>
                  <a:lnTo>
                    <a:pt x="401" y="138"/>
                  </a:lnTo>
                  <a:lnTo>
                    <a:pt x="401" y="99"/>
                  </a:lnTo>
                  <a:lnTo>
                    <a:pt x="311" y="99"/>
                  </a:lnTo>
                  <a:lnTo>
                    <a:pt x="311" y="99"/>
                  </a:lnTo>
                  <a:lnTo>
                    <a:pt x="301" y="98"/>
                  </a:lnTo>
                  <a:lnTo>
                    <a:pt x="292" y="92"/>
                  </a:lnTo>
                  <a:lnTo>
                    <a:pt x="286" y="83"/>
                  </a:lnTo>
                  <a:lnTo>
                    <a:pt x="285" y="73"/>
                  </a:lnTo>
                  <a:lnTo>
                    <a:pt x="286" y="61"/>
                  </a:lnTo>
                  <a:lnTo>
                    <a:pt x="292" y="52"/>
                  </a:lnTo>
                  <a:lnTo>
                    <a:pt x="301" y="46"/>
                  </a:lnTo>
                  <a:lnTo>
                    <a:pt x="311" y="45"/>
                  </a:lnTo>
                  <a:lnTo>
                    <a:pt x="475" y="45"/>
                  </a:lnTo>
                  <a:lnTo>
                    <a:pt x="487" y="46"/>
                  </a:lnTo>
                  <a:lnTo>
                    <a:pt x="495" y="52"/>
                  </a:lnTo>
                  <a:lnTo>
                    <a:pt x="501" y="61"/>
                  </a:lnTo>
                  <a:lnTo>
                    <a:pt x="503" y="73"/>
                  </a:lnTo>
                  <a:lnTo>
                    <a:pt x="501" y="83"/>
                  </a:lnTo>
                  <a:lnTo>
                    <a:pt x="495" y="92"/>
                  </a:lnTo>
                  <a:lnTo>
                    <a:pt x="487" y="98"/>
                  </a:lnTo>
                  <a:lnTo>
                    <a:pt x="475" y="99"/>
                  </a:lnTo>
                  <a:lnTo>
                    <a:pt x="475" y="99"/>
                  </a:lnTo>
                  <a:lnTo>
                    <a:pt x="401" y="99"/>
                  </a:lnTo>
                  <a:lnTo>
                    <a:pt x="401" y="138"/>
                  </a:lnTo>
                  <a:lnTo>
                    <a:pt x="475" y="138"/>
                  </a:lnTo>
                  <a:lnTo>
                    <a:pt x="487" y="139"/>
                  </a:lnTo>
                  <a:lnTo>
                    <a:pt x="495" y="145"/>
                  </a:lnTo>
                  <a:lnTo>
                    <a:pt x="501" y="154"/>
                  </a:lnTo>
                  <a:lnTo>
                    <a:pt x="503" y="164"/>
                  </a:lnTo>
                  <a:lnTo>
                    <a:pt x="501" y="176"/>
                  </a:lnTo>
                  <a:lnTo>
                    <a:pt x="495" y="185"/>
                  </a:lnTo>
                  <a:lnTo>
                    <a:pt x="487" y="191"/>
                  </a:lnTo>
                  <a:lnTo>
                    <a:pt x="475" y="192"/>
                  </a:lnTo>
                  <a:lnTo>
                    <a:pt x="475" y="192"/>
                  </a:lnTo>
                  <a:lnTo>
                    <a:pt x="401" y="192"/>
                  </a:lnTo>
                  <a:lnTo>
                    <a:pt x="401" y="229"/>
                  </a:lnTo>
                  <a:lnTo>
                    <a:pt x="475" y="229"/>
                  </a:lnTo>
                  <a:lnTo>
                    <a:pt x="487" y="230"/>
                  </a:lnTo>
                  <a:lnTo>
                    <a:pt x="495" y="236"/>
                  </a:lnTo>
                  <a:lnTo>
                    <a:pt x="501" y="245"/>
                  </a:lnTo>
                  <a:lnTo>
                    <a:pt x="503" y="257"/>
                  </a:lnTo>
                  <a:lnTo>
                    <a:pt x="501" y="267"/>
                  </a:lnTo>
                  <a:lnTo>
                    <a:pt x="495" y="276"/>
                  </a:lnTo>
                  <a:lnTo>
                    <a:pt x="487" y="282"/>
                  </a:lnTo>
                  <a:lnTo>
                    <a:pt x="475" y="283"/>
                  </a:lnTo>
                  <a:lnTo>
                    <a:pt x="401" y="283"/>
                  </a:lnTo>
                  <a:lnTo>
                    <a:pt x="401" y="341"/>
                  </a:lnTo>
                  <a:lnTo>
                    <a:pt x="476" y="341"/>
                  </a:lnTo>
                  <a:lnTo>
                    <a:pt x="488" y="344"/>
                  </a:lnTo>
                  <a:lnTo>
                    <a:pt x="497" y="350"/>
                  </a:lnTo>
                  <a:lnTo>
                    <a:pt x="503" y="359"/>
                  </a:lnTo>
                  <a:lnTo>
                    <a:pt x="504" y="369"/>
                  </a:lnTo>
                  <a:lnTo>
                    <a:pt x="504" y="370"/>
                  </a:lnTo>
                  <a:lnTo>
                    <a:pt x="526" y="370"/>
                  </a:lnTo>
                  <a:lnTo>
                    <a:pt x="526" y="0"/>
                  </a:lnTo>
                  <a:lnTo>
                    <a:pt x="0" y="0"/>
                  </a:lnTo>
                  <a:lnTo>
                    <a:pt x="0" y="61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62" name="Group 61"/>
          <p:cNvGrpSpPr/>
          <p:nvPr/>
        </p:nvGrpSpPr>
        <p:grpSpPr>
          <a:xfrm>
            <a:off x="2546218" y="2982574"/>
            <a:ext cx="1829384" cy="1803671"/>
            <a:chOff x="3394073" y="3976764"/>
            <a:chExt cx="2438544" cy="2404895"/>
          </a:xfrm>
        </p:grpSpPr>
        <p:sp>
          <p:nvSpPr>
            <p:cNvPr id="11" name="Rectangle 10"/>
            <p:cNvSpPr/>
            <p:nvPr/>
          </p:nvSpPr>
          <p:spPr bwMode="auto">
            <a:xfrm>
              <a:off x="3394073" y="3976764"/>
              <a:ext cx="2438544" cy="2404895"/>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58" name="Group 57"/>
            <p:cNvGrpSpPr/>
            <p:nvPr/>
          </p:nvGrpSpPr>
          <p:grpSpPr>
            <a:xfrm rot="9532378">
              <a:off x="3918434" y="4506276"/>
              <a:ext cx="1389821" cy="1345869"/>
              <a:chOff x="9321800" y="3398838"/>
              <a:chExt cx="652463" cy="649288"/>
            </a:xfrm>
          </p:grpSpPr>
          <p:sp>
            <p:nvSpPr>
              <p:cNvPr id="59" name="Freeform 24"/>
              <p:cNvSpPr>
                <a:spLocks/>
              </p:cNvSpPr>
              <p:nvPr/>
            </p:nvSpPr>
            <p:spPr bwMode="auto">
              <a:xfrm>
                <a:off x="9577450" y="3555721"/>
                <a:ext cx="146050" cy="309563"/>
              </a:xfrm>
              <a:custGeom>
                <a:avLst/>
                <a:gdLst>
                  <a:gd name="T0" fmla="*/ 80 w 184"/>
                  <a:gd name="T1" fmla="*/ 25 h 391"/>
                  <a:gd name="T2" fmla="*/ 75 w 184"/>
                  <a:gd name="T3" fmla="*/ 18 h 391"/>
                  <a:gd name="T4" fmla="*/ 71 w 184"/>
                  <a:gd name="T5" fmla="*/ 11 h 391"/>
                  <a:gd name="T6" fmla="*/ 64 w 184"/>
                  <a:gd name="T7" fmla="*/ 6 h 391"/>
                  <a:gd name="T8" fmla="*/ 57 w 184"/>
                  <a:gd name="T9" fmla="*/ 3 h 391"/>
                  <a:gd name="T10" fmla="*/ 49 w 184"/>
                  <a:gd name="T11" fmla="*/ 0 h 391"/>
                  <a:gd name="T12" fmla="*/ 41 w 184"/>
                  <a:gd name="T13" fmla="*/ 0 h 391"/>
                  <a:gd name="T14" fmla="*/ 33 w 184"/>
                  <a:gd name="T15" fmla="*/ 2 h 391"/>
                  <a:gd name="T16" fmla="*/ 25 w 184"/>
                  <a:gd name="T17" fmla="*/ 4 h 391"/>
                  <a:gd name="T18" fmla="*/ 11 w 184"/>
                  <a:gd name="T19" fmla="*/ 14 h 391"/>
                  <a:gd name="T20" fmla="*/ 3 w 184"/>
                  <a:gd name="T21" fmla="*/ 28 h 391"/>
                  <a:gd name="T22" fmla="*/ 0 w 184"/>
                  <a:gd name="T23" fmla="*/ 44 h 391"/>
                  <a:gd name="T24" fmla="*/ 4 w 184"/>
                  <a:gd name="T25" fmla="*/ 60 h 391"/>
                  <a:gd name="T26" fmla="*/ 86 w 184"/>
                  <a:gd name="T27" fmla="*/ 233 h 391"/>
                  <a:gd name="T28" fmla="*/ 15 w 184"/>
                  <a:gd name="T29" fmla="*/ 324 h 391"/>
                  <a:gd name="T30" fmla="*/ 9 w 184"/>
                  <a:gd name="T31" fmla="*/ 339 h 391"/>
                  <a:gd name="T32" fmla="*/ 7 w 184"/>
                  <a:gd name="T33" fmla="*/ 355 h 391"/>
                  <a:gd name="T34" fmla="*/ 12 w 184"/>
                  <a:gd name="T35" fmla="*/ 370 h 391"/>
                  <a:gd name="T36" fmla="*/ 22 w 184"/>
                  <a:gd name="T37" fmla="*/ 383 h 391"/>
                  <a:gd name="T38" fmla="*/ 29 w 184"/>
                  <a:gd name="T39" fmla="*/ 387 h 391"/>
                  <a:gd name="T40" fmla="*/ 37 w 184"/>
                  <a:gd name="T41" fmla="*/ 390 h 391"/>
                  <a:gd name="T42" fmla="*/ 45 w 184"/>
                  <a:gd name="T43" fmla="*/ 391 h 391"/>
                  <a:gd name="T44" fmla="*/ 53 w 184"/>
                  <a:gd name="T45" fmla="*/ 391 h 391"/>
                  <a:gd name="T46" fmla="*/ 62 w 184"/>
                  <a:gd name="T47" fmla="*/ 390 h 391"/>
                  <a:gd name="T48" fmla="*/ 70 w 184"/>
                  <a:gd name="T49" fmla="*/ 386 h 391"/>
                  <a:gd name="T50" fmla="*/ 77 w 184"/>
                  <a:gd name="T51" fmla="*/ 382 h 391"/>
                  <a:gd name="T52" fmla="*/ 82 w 184"/>
                  <a:gd name="T53" fmla="*/ 376 h 391"/>
                  <a:gd name="T54" fmla="*/ 184 w 184"/>
                  <a:gd name="T55" fmla="*/ 243 h 391"/>
                  <a:gd name="T56" fmla="*/ 80 w 184"/>
                  <a:gd name="T57" fmla="*/ 25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4" h="391">
                    <a:moveTo>
                      <a:pt x="80" y="25"/>
                    </a:moveTo>
                    <a:lnTo>
                      <a:pt x="75" y="18"/>
                    </a:lnTo>
                    <a:lnTo>
                      <a:pt x="71" y="11"/>
                    </a:lnTo>
                    <a:lnTo>
                      <a:pt x="64" y="6"/>
                    </a:lnTo>
                    <a:lnTo>
                      <a:pt x="57" y="3"/>
                    </a:lnTo>
                    <a:lnTo>
                      <a:pt x="49" y="0"/>
                    </a:lnTo>
                    <a:lnTo>
                      <a:pt x="41" y="0"/>
                    </a:lnTo>
                    <a:lnTo>
                      <a:pt x="33" y="2"/>
                    </a:lnTo>
                    <a:lnTo>
                      <a:pt x="25" y="4"/>
                    </a:lnTo>
                    <a:lnTo>
                      <a:pt x="11" y="14"/>
                    </a:lnTo>
                    <a:lnTo>
                      <a:pt x="3" y="28"/>
                    </a:lnTo>
                    <a:lnTo>
                      <a:pt x="0" y="44"/>
                    </a:lnTo>
                    <a:lnTo>
                      <a:pt x="4" y="60"/>
                    </a:lnTo>
                    <a:lnTo>
                      <a:pt x="86" y="233"/>
                    </a:lnTo>
                    <a:lnTo>
                      <a:pt x="15" y="324"/>
                    </a:lnTo>
                    <a:lnTo>
                      <a:pt x="9" y="339"/>
                    </a:lnTo>
                    <a:lnTo>
                      <a:pt x="7" y="355"/>
                    </a:lnTo>
                    <a:lnTo>
                      <a:pt x="12" y="370"/>
                    </a:lnTo>
                    <a:lnTo>
                      <a:pt x="22" y="383"/>
                    </a:lnTo>
                    <a:lnTo>
                      <a:pt x="29" y="387"/>
                    </a:lnTo>
                    <a:lnTo>
                      <a:pt x="37" y="390"/>
                    </a:lnTo>
                    <a:lnTo>
                      <a:pt x="45" y="391"/>
                    </a:lnTo>
                    <a:lnTo>
                      <a:pt x="53" y="391"/>
                    </a:lnTo>
                    <a:lnTo>
                      <a:pt x="62" y="390"/>
                    </a:lnTo>
                    <a:lnTo>
                      <a:pt x="70" y="386"/>
                    </a:lnTo>
                    <a:lnTo>
                      <a:pt x="77" y="382"/>
                    </a:lnTo>
                    <a:lnTo>
                      <a:pt x="82" y="376"/>
                    </a:lnTo>
                    <a:lnTo>
                      <a:pt x="184" y="243"/>
                    </a:lnTo>
                    <a:lnTo>
                      <a:pt x="80" y="25"/>
                    </a:lnTo>
                    <a:close/>
                  </a:path>
                </a:pathLst>
              </a:custGeom>
              <a:solidFill>
                <a:schemeClr val="tx1"/>
              </a:solidFill>
              <a:ln w="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28"/>
              <p:cNvSpPr>
                <a:spLocks/>
              </p:cNvSpPr>
              <p:nvPr/>
            </p:nvSpPr>
            <p:spPr bwMode="auto">
              <a:xfrm>
                <a:off x="9713913" y="3405188"/>
                <a:ext cx="66675" cy="88900"/>
              </a:xfrm>
              <a:custGeom>
                <a:avLst/>
                <a:gdLst>
                  <a:gd name="T0" fmla="*/ 68 w 84"/>
                  <a:gd name="T1" fmla="*/ 112 h 112"/>
                  <a:gd name="T2" fmla="*/ 84 w 84"/>
                  <a:gd name="T3" fmla="*/ 26 h 112"/>
                  <a:gd name="T4" fmla="*/ 74 w 84"/>
                  <a:gd name="T5" fmla="*/ 22 h 112"/>
                  <a:gd name="T6" fmla="*/ 63 w 84"/>
                  <a:gd name="T7" fmla="*/ 18 h 112"/>
                  <a:gd name="T8" fmla="*/ 53 w 84"/>
                  <a:gd name="T9" fmla="*/ 15 h 112"/>
                  <a:gd name="T10" fmla="*/ 43 w 84"/>
                  <a:gd name="T11" fmla="*/ 12 h 112"/>
                  <a:gd name="T12" fmla="*/ 32 w 84"/>
                  <a:gd name="T13" fmla="*/ 8 h 112"/>
                  <a:gd name="T14" fmla="*/ 22 w 84"/>
                  <a:gd name="T15" fmla="*/ 5 h 112"/>
                  <a:gd name="T16" fmla="*/ 10 w 84"/>
                  <a:gd name="T17" fmla="*/ 2 h 112"/>
                  <a:gd name="T18" fmla="*/ 0 w 84"/>
                  <a:gd name="T19" fmla="*/ 0 h 112"/>
                  <a:gd name="T20" fmla="*/ 25 w 84"/>
                  <a:gd name="T21" fmla="*/ 94 h 112"/>
                  <a:gd name="T22" fmla="*/ 31 w 84"/>
                  <a:gd name="T23" fmla="*/ 97 h 112"/>
                  <a:gd name="T24" fmla="*/ 37 w 84"/>
                  <a:gd name="T25" fmla="*/ 98 h 112"/>
                  <a:gd name="T26" fmla="*/ 42 w 84"/>
                  <a:gd name="T27" fmla="*/ 100 h 112"/>
                  <a:gd name="T28" fmla="*/ 47 w 84"/>
                  <a:gd name="T29" fmla="*/ 102 h 112"/>
                  <a:gd name="T30" fmla="*/ 52 w 84"/>
                  <a:gd name="T31" fmla="*/ 105 h 112"/>
                  <a:gd name="T32" fmla="*/ 58 w 84"/>
                  <a:gd name="T33" fmla="*/ 107 h 112"/>
                  <a:gd name="T34" fmla="*/ 62 w 84"/>
                  <a:gd name="T35" fmla="*/ 109 h 112"/>
                  <a:gd name="T36" fmla="*/ 68 w 84"/>
                  <a:gd name="T37"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4" h="112">
                    <a:moveTo>
                      <a:pt x="68" y="112"/>
                    </a:moveTo>
                    <a:lnTo>
                      <a:pt x="84" y="26"/>
                    </a:lnTo>
                    <a:lnTo>
                      <a:pt x="74" y="22"/>
                    </a:lnTo>
                    <a:lnTo>
                      <a:pt x="63" y="18"/>
                    </a:lnTo>
                    <a:lnTo>
                      <a:pt x="53" y="15"/>
                    </a:lnTo>
                    <a:lnTo>
                      <a:pt x="43" y="12"/>
                    </a:lnTo>
                    <a:lnTo>
                      <a:pt x="32" y="8"/>
                    </a:lnTo>
                    <a:lnTo>
                      <a:pt x="22" y="5"/>
                    </a:lnTo>
                    <a:lnTo>
                      <a:pt x="10" y="2"/>
                    </a:lnTo>
                    <a:lnTo>
                      <a:pt x="0" y="0"/>
                    </a:lnTo>
                    <a:lnTo>
                      <a:pt x="25" y="94"/>
                    </a:lnTo>
                    <a:lnTo>
                      <a:pt x="31" y="97"/>
                    </a:lnTo>
                    <a:lnTo>
                      <a:pt x="37" y="98"/>
                    </a:lnTo>
                    <a:lnTo>
                      <a:pt x="42" y="100"/>
                    </a:lnTo>
                    <a:lnTo>
                      <a:pt x="47" y="102"/>
                    </a:lnTo>
                    <a:lnTo>
                      <a:pt x="52" y="105"/>
                    </a:lnTo>
                    <a:lnTo>
                      <a:pt x="58" y="107"/>
                    </a:lnTo>
                    <a:lnTo>
                      <a:pt x="62" y="109"/>
                    </a:lnTo>
                    <a:lnTo>
                      <a:pt x="68" y="112"/>
                    </a:lnTo>
                    <a:close/>
                  </a:path>
                </a:pathLst>
              </a:custGeom>
              <a:solidFill>
                <a:schemeClr val="tx1"/>
              </a:solidFill>
              <a:ln w="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29"/>
              <p:cNvSpPr>
                <a:spLocks/>
              </p:cNvSpPr>
              <p:nvPr/>
            </p:nvSpPr>
            <p:spPr bwMode="auto">
              <a:xfrm>
                <a:off x="9321800" y="3398838"/>
                <a:ext cx="652463" cy="649288"/>
              </a:xfrm>
              <a:custGeom>
                <a:avLst/>
                <a:gdLst>
                  <a:gd name="T0" fmla="*/ 673 w 821"/>
                  <a:gd name="T1" fmla="*/ 93 h 819"/>
                  <a:gd name="T2" fmla="*/ 627 w 821"/>
                  <a:gd name="T3" fmla="*/ 61 h 819"/>
                  <a:gd name="T4" fmla="*/ 577 w 821"/>
                  <a:gd name="T5" fmla="*/ 34 h 819"/>
                  <a:gd name="T6" fmla="*/ 583 w 821"/>
                  <a:gd name="T7" fmla="*/ 132 h 819"/>
                  <a:gd name="T8" fmla="*/ 613 w 821"/>
                  <a:gd name="T9" fmla="*/ 154 h 819"/>
                  <a:gd name="T10" fmla="*/ 642 w 821"/>
                  <a:gd name="T11" fmla="*/ 178 h 819"/>
                  <a:gd name="T12" fmla="*/ 699 w 821"/>
                  <a:gd name="T13" fmla="*/ 256 h 819"/>
                  <a:gd name="T14" fmla="*/ 730 w 821"/>
                  <a:gd name="T15" fmla="*/ 344 h 819"/>
                  <a:gd name="T16" fmla="*/ 736 w 821"/>
                  <a:gd name="T17" fmla="*/ 442 h 819"/>
                  <a:gd name="T18" fmla="*/ 712 w 821"/>
                  <a:gd name="T19" fmla="*/ 535 h 819"/>
                  <a:gd name="T20" fmla="*/ 662 w 821"/>
                  <a:gd name="T21" fmla="*/ 616 h 819"/>
                  <a:gd name="T22" fmla="*/ 593 w 821"/>
                  <a:gd name="T23" fmla="*/ 679 h 819"/>
                  <a:gd name="T24" fmla="*/ 508 w 821"/>
                  <a:gd name="T25" fmla="*/ 720 h 819"/>
                  <a:gd name="T26" fmla="*/ 410 w 821"/>
                  <a:gd name="T27" fmla="*/ 735 h 819"/>
                  <a:gd name="T28" fmla="*/ 362 w 821"/>
                  <a:gd name="T29" fmla="*/ 731 h 819"/>
                  <a:gd name="T30" fmla="*/ 316 w 821"/>
                  <a:gd name="T31" fmla="*/ 721 h 819"/>
                  <a:gd name="T32" fmla="*/ 272 w 821"/>
                  <a:gd name="T33" fmla="*/ 704 h 819"/>
                  <a:gd name="T34" fmla="*/ 229 w 821"/>
                  <a:gd name="T35" fmla="*/ 679 h 819"/>
                  <a:gd name="T36" fmla="*/ 191 w 821"/>
                  <a:gd name="T37" fmla="*/ 651 h 819"/>
                  <a:gd name="T38" fmla="*/ 139 w 821"/>
                  <a:gd name="T39" fmla="*/ 590 h 819"/>
                  <a:gd name="T40" fmla="*/ 98 w 821"/>
                  <a:gd name="T41" fmla="*/ 503 h 819"/>
                  <a:gd name="T42" fmla="*/ 84 w 821"/>
                  <a:gd name="T43" fmla="*/ 409 h 819"/>
                  <a:gd name="T44" fmla="*/ 98 w 821"/>
                  <a:gd name="T45" fmla="*/ 314 h 819"/>
                  <a:gd name="T46" fmla="*/ 139 w 821"/>
                  <a:gd name="T47" fmla="*/ 228 h 819"/>
                  <a:gd name="T48" fmla="*/ 191 w 821"/>
                  <a:gd name="T49" fmla="*/ 167 h 819"/>
                  <a:gd name="T50" fmla="*/ 229 w 821"/>
                  <a:gd name="T51" fmla="*/ 138 h 819"/>
                  <a:gd name="T52" fmla="*/ 272 w 821"/>
                  <a:gd name="T53" fmla="*/ 114 h 819"/>
                  <a:gd name="T54" fmla="*/ 316 w 821"/>
                  <a:gd name="T55" fmla="*/ 97 h 819"/>
                  <a:gd name="T56" fmla="*/ 362 w 821"/>
                  <a:gd name="T57" fmla="*/ 86 h 819"/>
                  <a:gd name="T58" fmla="*/ 410 w 821"/>
                  <a:gd name="T59" fmla="*/ 83 h 819"/>
                  <a:gd name="T60" fmla="*/ 452 w 821"/>
                  <a:gd name="T61" fmla="*/ 85 h 819"/>
                  <a:gd name="T62" fmla="*/ 492 w 821"/>
                  <a:gd name="T63" fmla="*/ 94 h 819"/>
                  <a:gd name="T64" fmla="*/ 493 w 821"/>
                  <a:gd name="T65" fmla="*/ 8 h 819"/>
                  <a:gd name="T66" fmla="*/ 462 w 821"/>
                  <a:gd name="T67" fmla="*/ 3 h 819"/>
                  <a:gd name="T68" fmla="*/ 431 w 821"/>
                  <a:gd name="T69" fmla="*/ 0 h 819"/>
                  <a:gd name="T70" fmla="*/ 369 w 821"/>
                  <a:gd name="T71" fmla="*/ 2 h 819"/>
                  <a:gd name="T72" fmla="*/ 251 w 821"/>
                  <a:gd name="T73" fmla="*/ 32 h 819"/>
                  <a:gd name="T74" fmla="*/ 150 w 821"/>
                  <a:gd name="T75" fmla="*/ 93 h 819"/>
                  <a:gd name="T76" fmla="*/ 70 w 821"/>
                  <a:gd name="T77" fmla="*/ 181 h 819"/>
                  <a:gd name="T78" fmla="*/ 18 w 821"/>
                  <a:gd name="T79" fmla="*/ 287 h 819"/>
                  <a:gd name="T80" fmla="*/ 0 w 821"/>
                  <a:gd name="T81" fmla="*/ 409 h 819"/>
                  <a:gd name="T82" fmla="*/ 17 w 821"/>
                  <a:gd name="T83" fmla="*/ 527 h 819"/>
                  <a:gd name="T84" fmla="*/ 69 w 821"/>
                  <a:gd name="T85" fmla="*/ 636 h 819"/>
                  <a:gd name="T86" fmla="*/ 136 w 821"/>
                  <a:gd name="T87" fmla="*/ 712 h 819"/>
                  <a:gd name="T88" fmla="*/ 183 w 821"/>
                  <a:gd name="T89" fmla="*/ 750 h 819"/>
                  <a:gd name="T90" fmla="*/ 235 w 821"/>
                  <a:gd name="T91" fmla="*/ 780 h 819"/>
                  <a:gd name="T92" fmla="*/ 291 w 821"/>
                  <a:gd name="T93" fmla="*/ 802 h 819"/>
                  <a:gd name="T94" fmla="*/ 349 w 821"/>
                  <a:gd name="T95" fmla="*/ 814 h 819"/>
                  <a:gd name="T96" fmla="*/ 410 w 821"/>
                  <a:gd name="T97" fmla="*/ 819 h 819"/>
                  <a:gd name="T98" fmla="*/ 471 w 821"/>
                  <a:gd name="T99" fmla="*/ 814 h 819"/>
                  <a:gd name="T100" fmla="*/ 530 w 821"/>
                  <a:gd name="T101" fmla="*/ 802 h 819"/>
                  <a:gd name="T102" fmla="*/ 586 w 821"/>
                  <a:gd name="T103" fmla="*/ 780 h 819"/>
                  <a:gd name="T104" fmla="*/ 638 w 821"/>
                  <a:gd name="T105" fmla="*/ 750 h 819"/>
                  <a:gd name="T106" fmla="*/ 685 w 821"/>
                  <a:gd name="T107" fmla="*/ 712 h 819"/>
                  <a:gd name="T108" fmla="*/ 752 w 821"/>
                  <a:gd name="T109" fmla="*/ 636 h 819"/>
                  <a:gd name="T110" fmla="*/ 803 w 821"/>
                  <a:gd name="T111" fmla="*/ 527 h 819"/>
                  <a:gd name="T112" fmla="*/ 821 w 821"/>
                  <a:gd name="T113" fmla="*/ 409 h 819"/>
                  <a:gd name="T114" fmla="*/ 803 w 821"/>
                  <a:gd name="T115" fmla="*/ 290 h 819"/>
                  <a:gd name="T116" fmla="*/ 752 w 821"/>
                  <a:gd name="T117" fmla="*/ 182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1" h="819">
                    <a:moveTo>
                      <a:pt x="700" y="120"/>
                    </a:moveTo>
                    <a:lnTo>
                      <a:pt x="687" y="106"/>
                    </a:lnTo>
                    <a:lnTo>
                      <a:pt x="673" y="93"/>
                    </a:lnTo>
                    <a:lnTo>
                      <a:pt x="658" y="82"/>
                    </a:lnTo>
                    <a:lnTo>
                      <a:pt x="643" y="71"/>
                    </a:lnTo>
                    <a:lnTo>
                      <a:pt x="627" y="61"/>
                    </a:lnTo>
                    <a:lnTo>
                      <a:pt x="611" y="52"/>
                    </a:lnTo>
                    <a:lnTo>
                      <a:pt x="594" y="43"/>
                    </a:lnTo>
                    <a:lnTo>
                      <a:pt x="577" y="34"/>
                    </a:lnTo>
                    <a:lnTo>
                      <a:pt x="561" y="120"/>
                    </a:lnTo>
                    <a:lnTo>
                      <a:pt x="571" y="125"/>
                    </a:lnTo>
                    <a:lnTo>
                      <a:pt x="583" y="132"/>
                    </a:lnTo>
                    <a:lnTo>
                      <a:pt x="593" y="139"/>
                    </a:lnTo>
                    <a:lnTo>
                      <a:pt x="604" y="146"/>
                    </a:lnTo>
                    <a:lnTo>
                      <a:pt x="613" y="154"/>
                    </a:lnTo>
                    <a:lnTo>
                      <a:pt x="623" y="162"/>
                    </a:lnTo>
                    <a:lnTo>
                      <a:pt x="632" y="170"/>
                    </a:lnTo>
                    <a:lnTo>
                      <a:pt x="642" y="178"/>
                    </a:lnTo>
                    <a:lnTo>
                      <a:pt x="664" y="203"/>
                    </a:lnTo>
                    <a:lnTo>
                      <a:pt x="682" y="228"/>
                    </a:lnTo>
                    <a:lnTo>
                      <a:pt x="699" y="256"/>
                    </a:lnTo>
                    <a:lnTo>
                      <a:pt x="712" y="284"/>
                    </a:lnTo>
                    <a:lnTo>
                      <a:pt x="723" y="314"/>
                    </a:lnTo>
                    <a:lnTo>
                      <a:pt x="730" y="344"/>
                    </a:lnTo>
                    <a:lnTo>
                      <a:pt x="736" y="377"/>
                    </a:lnTo>
                    <a:lnTo>
                      <a:pt x="737" y="409"/>
                    </a:lnTo>
                    <a:lnTo>
                      <a:pt x="736" y="442"/>
                    </a:lnTo>
                    <a:lnTo>
                      <a:pt x="730" y="474"/>
                    </a:lnTo>
                    <a:lnTo>
                      <a:pt x="722" y="506"/>
                    </a:lnTo>
                    <a:lnTo>
                      <a:pt x="712" y="535"/>
                    </a:lnTo>
                    <a:lnTo>
                      <a:pt x="698" y="564"/>
                    </a:lnTo>
                    <a:lnTo>
                      <a:pt x="682" y="591"/>
                    </a:lnTo>
                    <a:lnTo>
                      <a:pt x="662" y="616"/>
                    </a:lnTo>
                    <a:lnTo>
                      <a:pt x="642" y="639"/>
                    </a:lnTo>
                    <a:lnTo>
                      <a:pt x="619" y="660"/>
                    </a:lnTo>
                    <a:lnTo>
                      <a:pt x="593" y="679"/>
                    </a:lnTo>
                    <a:lnTo>
                      <a:pt x="566" y="696"/>
                    </a:lnTo>
                    <a:lnTo>
                      <a:pt x="538" y="709"/>
                    </a:lnTo>
                    <a:lnTo>
                      <a:pt x="508" y="720"/>
                    </a:lnTo>
                    <a:lnTo>
                      <a:pt x="476" y="728"/>
                    </a:lnTo>
                    <a:lnTo>
                      <a:pt x="444" y="734"/>
                    </a:lnTo>
                    <a:lnTo>
                      <a:pt x="410" y="735"/>
                    </a:lnTo>
                    <a:lnTo>
                      <a:pt x="394" y="735"/>
                    </a:lnTo>
                    <a:lnTo>
                      <a:pt x="378" y="734"/>
                    </a:lnTo>
                    <a:lnTo>
                      <a:pt x="362" y="731"/>
                    </a:lnTo>
                    <a:lnTo>
                      <a:pt x="347" y="728"/>
                    </a:lnTo>
                    <a:lnTo>
                      <a:pt x="331" y="724"/>
                    </a:lnTo>
                    <a:lnTo>
                      <a:pt x="316" y="721"/>
                    </a:lnTo>
                    <a:lnTo>
                      <a:pt x="301" y="715"/>
                    </a:lnTo>
                    <a:lnTo>
                      <a:pt x="286" y="709"/>
                    </a:lnTo>
                    <a:lnTo>
                      <a:pt x="272" y="704"/>
                    </a:lnTo>
                    <a:lnTo>
                      <a:pt x="257" y="697"/>
                    </a:lnTo>
                    <a:lnTo>
                      <a:pt x="243" y="689"/>
                    </a:lnTo>
                    <a:lnTo>
                      <a:pt x="229" y="679"/>
                    </a:lnTo>
                    <a:lnTo>
                      <a:pt x="217" y="670"/>
                    </a:lnTo>
                    <a:lnTo>
                      <a:pt x="204" y="661"/>
                    </a:lnTo>
                    <a:lnTo>
                      <a:pt x="191" y="651"/>
                    </a:lnTo>
                    <a:lnTo>
                      <a:pt x="180" y="639"/>
                    </a:lnTo>
                    <a:lnTo>
                      <a:pt x="158" y="615"/>
                    </a:lnTo>
                    <a:lnTo>
                      <a:pt x="139" y="590"/>
                    </a:lnTo>
                    <a:lnTo>
                      <a:pt x="122" y="562"/>
                    </a:lnTo>
                    <a:lnTo>
                      <a:pt x="109" y="533"/>
                    </a:lnTo>
                    <a:lnTo>
                      <a:pt x="98" y="503"/>
                    </a:lnTo>
                    <a:lnTo>
                      <a:pt x="91" y="472"/>
                    </a:lnTo>
                    <a:lnTo>
                      <a:pt x="85" y="441"/>
                    </a:lnTo>
                    <a:lnTo>
                      <a:pt x="84" y="409"/>
                    </a:lnTo>
                    <a:lnTo>
                      <a:pt x="85" y="377"/>
                    </a:lnTo>
                    <a:lnTo>
                      <a:pt x="91" y="344"/>
                    </a:lnTo>
                    <a:lnTo>
                      <a:pt x="98" y="314"/>
                    </a:lnTo>
                    <a:lnTo>
                      <a:pt x="109" y="284"/>
                    </a:lnTo>
                    <a:lnTo>
                      <a:pt x="122" y="256"/>
                    </a:lnTo>
                    <a:lnTo>
                      <a:pt x="139" y="228"/>
                    </a:lnTo>
                    <a:lnTo>
                      <a:pt x="158" y="203"/>
                    </a:lnTo>
                    <a:lnTo>
                      <a:pt x="180" y="178"/>
                    </a:lnTo>
                    <a:lnTo>
                      <a:pt x="191" y="167"/>
                    </a:lnTo>
                    <a:lnTo>
                      <a:pt x="204" y="157"/>
                    </a:lnTo>
                    <a:lnTo>
                      <a:pt x="217" y="147"/>
                    </a:lnTo>
                    <a:lnTo>
                      <a:pt x="229" y="138"/>
                    </a:lnTo>
                    <a:lnTo>
                      <a:pt x="243" y="129"/>
                    </a:lnTo>
                    <a:lnTo>
                      <a:pt x="257" y="121"/>
                    </a:lnTo>
                    <a:lnTo>
                      <a:pt x="272" y="114"/>
                    </a:lnTo>
                    <a:lnTo>
                      <a:pt x="286" y="108"/>
                    </a:lnTo>
                    <a:lnTo>
                      <a:pt x="301" y="102"/>
                    </a:lnTo>
                    <a:lnTo>
                      <a:pt x="316" y="97"/>
                    </a:lnTo>
                    <a:lnTo>
                      <a:pt x="331" y="93"/>
                    </a:lnTo>
                    <a:lnTo>
                      <a:pt x="347" y="90"/>
                    </a:lnTo>
                    <a:lnTo>
                      <a:pt x="362" y="86"/>
                    </a:lnTo>
                    <a:lnTo>
                      <a:pt x="378" y="84"/>
                    </a:lnTo>
                    <a:lnTo>
                      <a:pt x="394" y="83"/>
                    </a:lnTo>
                    <a:lnTo>
                      <a:pt x="410" y="83"/>
                    </a:lnTo>
                    <a:lnTo>
                      <a:pt x="424" y="83"/>
                    </a:lnTo>
                    <a:lnTo>
                      <a:pt x="438" y="84"/>
                    </a:lnTo>
                    <a:lnTo>
                      <a:pt x="452" y="85"/>
                    </a:lnTo>
                    <a:lnTo>
                      <a:pt x="465" y="87"/>
                    </a:lnTo>
                    <a:lnTo>
                      <a:pt x="479" y="91"/>
                    </a:lnTo>
                    <a:lnTo>
                      <a:pt x="492" y="94"/>
                    </a:lnTo>
                    <a:lnTo>
                      <a:pt x="506" y="98"/>
                    </a:lnTo>
                    <a:lnTo>
                      <a:pt x="518" y="102"/>
                    </a:lnTo>
                    <a:lnTo>
                      <a:pt x="493" y="8"/>
                    </a:lnTo>
                    <a:lnTo>
                      <a:pt x="483" y="6"/>
                    </a:lnTo>
                    <a:lnTo>
                      <a:pt x="472" y="5"/>
                    </a:lnTo>
                    <a:lnTo>
                      <a:pt x="462" y="3"/>
                    </a:lnTo>
                    <a:lnTo>
                      <a:pt x="452" y="2"/>
                    </a:lnTo>
                    <a:lnTo>
                      <a:pt x="441" y="1"/>
                    </a:lnTo>
                    <a:lnTo>
                      <a:pt x="431" y="0"/>
                    </a:lnTo>
                    <a:lnTo>
                      <a:pt x="420" y="0"/>
                    </a:lnTo>
                    <a:lnTo>
                      <a:pt x="410" y="0"/>
                    </a:lnTo>
                    <a:lnTo>
                      <a:pt x="369" y="2"/>
                    </a:lnTo>
                    <a:lnTo>
                      <a:pt x="327" y="8"/>
                    </a:lnTo>
                    <a:lnTo>
                      <a:pt x="288" y="18"/>
                    </a:lnTo>
                    <a:lnTo>
                      <a:pt x="251" y="32"/>
                    </a:lnTo>
                    <a:lnTo>
                      <a:pt x="215" y="49"/>
                    </a:lnTo>
                    <a:lnTo>
                      <a:pt x="181" y="70"/>
                    </a:lnTo>
                    <a:lnTo>
                      <a:pt x="150" y="93"/>
                    </a:lnTo>
                    <a:lnTo>
                      <a:pt x="121" y="120"/>
                    </a:lnTo>
                    <a:lnTo>
                      <a:pt x="93" y="149"/>
                    </a:lnTo>
                    <a:lnTo>
                      <a:pt x="70" y="181"/>
                    </a:lnTo>
                    <a:lnTo>
                      <a:pt x="50" y="214"/>
                    </a:lnTo>
                    <a:lnTo>
                      <a:pt x="32" y="250"/>
                    </a:lnTo>
                    <a:lnTo>
                      <a:pt x="18" y="287"/>
                    </a:lnTo>
                    <a:lnTo>
                      <a:pt x="8" y="326"/>
                    </a:lnTo>
                    <a:lnTo>
                      <a:pt x="2" y="367"/>
                    </a:lnTo>
                    <a:lnTo>
                      <a:pt x="0" y="409"/>
                    </a:lnTo>
                    <a:lnTo>
                      <a:pt x="2" y="449"/>
                    </a:lnTo>
                    <a:lnTo>
                      <a:pt x="8" y="489"/>
                    </a:lnTo>
                    <a:lnTo>
                      <a:pt x="17" y="527"/>
                    </a:lnTo>
                    <a:lnTo>
                      <a:pt x="31" y="565"/>
                    </a:lnTo>
                    <a:lnTo>
                      <a:pt x="48" y="601"/>
                    </a:lnTo>
                    <a:lnTo>
                      <a:pt x="69" y="636"/>
                    </a:lnTo>
                    <a:lnTo>
                      <a:pt x="93" y="668"/>
                    </a:lnTo>
                    <a:lnTo>
                      <a:pt x="121" y="698"/>
                    </a:lnTo>
                    <a:lnTo>
                      <a:pt x="136" y="712"/>
                    </a:lnTo>
                    <a:lnTo>
                      <a:pt x="151" y="725"/>
                    </a:lnTo>
                    <a:lnTo>
                      <a:pt x="167" y="738"/>
                    </a:lnTo>
                    <a:lnTo>
                      <a:pt x="183" y="750"/>
                    </a:lnTo>
                    <a:lnTo>
                      <a:pt x="200" y="760"/>
                    </a:lnTo>
                    <a:lnTo>
                      <a:pt x="218" y="770"/>
                    </a:lnTo>
                    <a:lnTo>
                      <a:pt x="235" y="780"/>
                    </a:lnTo>
                    <a:lnTo>
                      <a:pt x="253" y="788"/>
                    </a:lnTo>
                    <a:lnTo>
                      <a:pt x="272" y="795"/>
                    </a:lnTo>
                    <a:lnTo>
                      <a:pt x="291" y="802"/>
                    </a:lnTo>
                    <a:lnTo>
                      <a:pt x="310" y="806"/>
                    </a:lnTo>
                    <a:lnTo>
                      <a:pt x="329" y="811"/>
                    </a:lnTo>
                    <a:lnTo>
                      <a:pt x="349" y="814"/>
                    </a:lnTo>
                    <a:lnTo>
                      <a:pt x="370" y="816"/>
                    </a:lnTo>
                    <a:lnTo>
                      <a:pt x="389" y="819"/>
                    </a:lnTo>
                    <a:lnTo>
                      <a:pt x="410" y="819"/>
                    </a:lnTo>
                    <a:lnTo>
                      <a:pt x="431" y="819"/>
                    </a:lnTo>
                    <a:lnTo>
                      <a:pt x="452" y="816"/>
                    </a:lnTo>
                    <a:lnTo>
                      <a:pt x="471" y="814"/>
                    </a:lnTo>
                    <a:lnTo>
                      <a:pt x="491" y="811"/>
                    </a:lnTo>
                    <a:lnTo>
                      <a:pt x="510" y="806"/>
                    </a:lnTo>
                    <a:lnTo>
                      <a:pt x="530" y="802"/>
                    </a:lnTo>
                    <a:lnTo>
                      <a:pt x="549" y="795"/>
                    </a:lnTo>
                    <a:lnTo>
                      <a:pt x="568" y="788"/>
                    </a:lnTo>
                    <a:lnTo>
                      <a:pt x="586" y="780"/>
                    </a:lnTo>
                    <a:lnTo>
                      <a:pt x="604" y="770"/>
                    </a:lnTo>
                    <a:lnTo>
                      <a:pt x="621" y="760"/>
                    </a:lnTo>
                    <a:lnTo>
                      <a:pt x="638" y="750"/>
                    </a:lnTo>
                    <a:lnTo>
                      <a:pt x="654" y="738"/>
                    </a:lnTo>
                    <a:lnTo>
                      <a:pt x="670" y="725"/>
                    </a:lnTo>
                    <a:lnTo>
                      <a:pt x="685" y="712"/>
                    </a:lnTo>
                    <a:lnTo>
                      <a:pt x="700" y="698"/>
                    </a:lnTo>
                    <a:lnTo>
                      <a:pt x="728" y="668"/>
                    </a:lnTo>
                    <a:lnTo>
                      <a:pt x="752" y="636"/>
                    </a:lnTo>
                    <a:lnTo>
                      <a:pt x="773" y="601"/>
                    </a:lnTo>
                    <a:lnTo>
                      <a:pt x="790" y="565"/>
                    </a:lnTo>
                    <a:lnTo>
                      <a:pt x="803" y="527"/>
                    </a:lnTo>
                    <a:lnTo>
                      <a:pt x="813" y="489"/>
                    </a:lnTo>
                    <a:lnTo>
                      <a:pt x="819" y="449"/>
                    </a:lnTo>
                    <a:lnTo>
                      <a:pt x="821" y="409"/>
                    </a:lnTo>
                    <a:lnTo>
                      <a:pt x="819" y="368"/>
                    </a:lnTo>
                    <a:lnTo>
                      <a:pt x="813" y="329"/>
                    </a:lnTo>
                    <a:lnTo>
                      <a:pt x="803" y="290"/>
                    </a:lnTo>
                    <a:lnTo>
                      <a:pt x="790" y="252"/>
                    </a:lnTo>
                    <a:lnTo>
                      <a:pt x="773" y="216"/>
                    </a:lnTo>
                    <a:lnTo>
                      <a:pt x="752" y="182"/>
                    </a:lnTo>
                    <a:lnTo>
                      <a:pt x="728" y="150"/>
                    </a:lnTo>
                    <a:lnTo>
                      <a:pt x="700" y="120"/>
                    </a:lnTo>
                    <a:close/>
                  </a:path>
                </a:pathLst>
              </a:custGeom>
              <a:solidFill>
                <a:schemeClr val="tx1"/>
              </a:solidFill>
              <a:ln w="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22"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3"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
              </a:rPr>
              <a:t>www.rapidbbs.cn</a:t>
            </a:r>
            <a:endParaRPr lang="zh-CN" altLang="en-US" sz="1200" b="0">
              <a:latin typeface="Arial" charset="0"/>
              <a:ea typeface="ＭＳ Ｐゴシック" pitchFamily="34" charset="-128"/>
            </a:endParaRPr>
          </a:p>
        </p:txBody>
      </p:sp>
      <p:pic>
        <p:nvPicPr>
          <p:cNvPr id="25" name="Picture 2">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516908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fade">
                                      <p:cBhvr>
                                        <p:cTn id="7" dur="750"/>
                                        <p:tgtEl>
                                          <p:spTgt spid="55"/>
                                        </p:tgtEl>
                                      </p:cBhvr>
                                    </p:animEffect>
                                  </p:childTnLst>
                                </p:cTn>
                              </p:par>
                            </p:childTnLst>
                          </p:cTn>
                        </p:par>
                        <p:par>
                          <p:cTn id="8" fill="hold">
                            <p:stCondLst>
                              <p:cond delay="750"/>
                            </p:stCondLst>
                            <p:childTnLst>
                              <p:par>
                                <p:cTn id="9" presetID="10" presetClass="entr" presetSubtype="0" fill="hold" nodeType="afterEffect">
                                  <p:stCondLst>
                                    <p:cond delay="0"/>
                                  </p:stCondLst>
                                  <p:childTnLst>
                                    <p:set>
                                      <p:cBhvr>
                                        <p:cTn id="10" dur="1" fill="hold">
                                          <p:stCondLst>
                                            <p:cond delay="0"/>
                                          </p:stCondLst>
                                        </p:cTn>
                                        <p:tgtEl>
                                          <p:spTgt spid="56"/>
                                        </p:tgtEl>
                                        <p:attrNameLst>
                                          <p:attrName>style.visibility</p:attrName>
                                        </p:attrNameLst>
                                      </p:cBhvr>
                                      <p:to>
                                        <p:strVal val="visible"/>
                                      </p:to>
                                    </p:set>
                                    <p:animEffect transition="in" filter="fade">
                                      <p:cBhvr>
                                        <p:cTn id="11" dur="750"/>
                                        <p:tgtEl>
                                          <p:spTgt spid="56"/>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62"/>
                                        </p:tgtEl>
                                        <p:attrNameLst>
                                          <p:attrName>style.visibility</p:attrName>
                                        </p:attrNameLst>
                                      </p:cBhvr>
                                      <p:to>
                                        <p:strVal val="visible"/>
                                      </p:to>
                                    </p:set>
                                    <p:animEffect transition="in" filter="fade">
                                      <p:cBhvr>
                                        <p:cTn id="15" dur="750"/>
                                        <p:tgtEl>
                                          <p:spTgt spid="62"/>
                                        </p:tgtEl>
                                      </p:cBhvr>
                                    </p:animEffect>
                                  </p:childTnLst>
                                </p:cTn>
                              </p:par>
                            </p:childTnLst>
                          </p:cTn>
                        </p:par>
                        <p:par>
                          <p:cTn id="16" fill="hold">
                            <p:stCondLst>
                              <p:cond delay="2250"/>
                            </p:stCondLst>
                            <p:childTnLst>
                              <p:par>
                                <p:cTn id="17" presetID="10" presetClass="entr" presetSubtype="0" fill="hold" nodeType="afterEffect">
                                  <p:stCondLst>
                                    <p:cond delay="0"/>
                                  </p:stCondLst>
                                  <p:childTnLst>
                                    <p:set>
                                      <p:cBhvr>
                                        <p:cTn id="18" dur="1" fill="hold">
                                          <p:stCondLst>
                                            <p:cond delay="0"/>
                                          </p:stCondLst>
                                        </p:cTn>
                                        <p:tgtEl>
                                          <p:spTgt spid="63"/>
                                        </p:tgtEl>
                                        <p:attrNameLst>
                                          <p:attrName>style.visibility</p:attrName>
                                        </p:attrNameLst>
                                      </p:cBhvr>
                                      <p:to>
                                        <p:strVal val="visible"/>
                                      </p:to>
                                    </p:set>
                                    <p:animEffect transition="in" filter="fade">
                                      <p:cBhvr>
                                        <p:cTn id="19" dur="75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7" name="Group 76"/>
          <p:cNvGrpSpPr/>
          <p:nvPr/>
        </p:nvGrpSpPr>
        <p:grpSpPr>
          <a:xfrm>
            <a:off x="6741430" y="3365494"/>
            <a:ext cx="902269" cy="365930"/>
            <a:chOff x="6551611" y="914400"/>
            <a:chExt cx="1481251" cy="797235"/>
          </a:xfrm>
        </p:grpSpPr>
        <p:grpSp>
          <p:nvGrpSpPr>
            <p:cNvPr id="78" name="Group 77"/>
            <p:cNvGrpSpPr/>
            <p:nvPr/>
          </p:nvGrpSpPr>
          <p:grpSpPr>
            <a:xfrm>
              <a:off x="6551611" y="914400"/>
              <a:ext cx="1481251" cy="797235"/>
              <a:chOff x="4799012" y="4876799"/>
              <a:chExt cx="609600" cy="304801"/>
            </a:xfrm>
          </p:grpSpPr>
          <p:sp>
            <p:nvSpPr>
              <p:cNvPr id="81" name="Rounded Rectangle 80"/>
              <p:cNvSpPr/>
              <p:nvPr/>
            </p:nvSpPr>
            <p:spPr bwMode="auto">
              <a:xfrm>
                <a:off x="4799012" y="4876799"/>
                <a:ext cx="609600" cy="304801"/>
              </a:xfrm>
              <a:prstGeom prst="round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ea typeface="Segoe UI" pitchFamily="34" charset="0"/>
                  <a:cs typeface="Segoe UI" pitchFamily="34" charset="0"/>
                </a:endParaRPr>
              </a:p>
            </p:txBody>
          </p:sp>
          <p:sp>
            <p:nvSpPr>
              <p:cNvPr id="82" name="Rectangle 81"/>
              <p:cNvSpPr/>
              <p:nvPr/>
            </p:nvSpPr>
            <p:spPr bwMode="auto">
              <a:xfrm>
                <a:off x="4838698" y="4934119"/>
                <a:ext cx="114300" cy="30079"/>
              </a:xfrm>
              <a:prstGeom prst="rect">
                <a:avLst/>
              </a:prstGeom>
              <a:solidFill>
                <a:schemeClr val="accent1">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ea typeface="Segoe UI" pitchFamily="34" charset="0"/>
                  <a:cs typeface="Segoe UI" pitchFamily="34" charset="0"/>
                </a:endParaRPr>
              </a:p>
            </p:txBody>
          </p:sp>
          <p:sp>
            <p:nvSpPr>
              <p:cNvPr id="83" name="Rectangle 82"/>
              <p:cNvSpPr/>
              <p:nvPr/>
            </p:nvSpPr>
            <p:spPr bwMode="auto">
              <a:xfrm>
                <a:off x="5049890" y="4934119"/>
                <a:ext cx="319036" cy="30079"/>
              </a:xfrm>
              <a:prstGeom prst="rect">
                <a:avLst/>
              </a:prstGeom>
              <a:solidFill>
                <a:schemeClr val="accent1">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ea typeface="Segoe UI" pitchFamily="34" charset="0"/>
                  <a:cs typeface="Segoe UI" pitchFamily="34" charset="0"/>
                </a:endParaRPr>
              </a:p>
            </p:txBody>
          </p:sp>
          <p:sp>
            <p:nvSpPr>
              <p:cNvPr id="84" name="Rectangle 83"/>
              <p:cNvSpPr/>
              <p:nvPr/>
            </p:nvSpPr>
            <p:spPr bwMode="auto">
              <a:xfrm>
                <a:off x="4838700" y="5080015"/>
                <a:ext cx="265112" cy="22859"/>
              </a:xfrm>
              <a:prstGeom prst="rect">
                <a:avLst/>
              </a:prstGeom>
              <a:solidFill>
                <a:schemeClr val="accent1">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ea typeface="Segoe UI" pitchFamily="34" charset="0"/>
                  <a:cs typeface="Segoe UI" pitchFamily="34" charset="0"/>
                </a:endParaRPr>
              </a:p>
            </p:txBody>
          </p:sp>
          <p:sp>
            <p:nvSpPr>
              <p:cNvPr id="85" name="Rectangle 84"/>
              <p:cNvSpPr/>
              <p:nvPr/>
            </p:nvSpPr>
            <p:spPr bwMode="auto">
              <a:xfrm>
                <a:off x="4838699" y="5124917"/>
                <a:ext cx="265113" cy="22859"/>
              </a:xfrm>
              <a:prstGeom prst="rect">
                <a:avLst/>
              </a:prstGeom>
              <a:solidFill>
                <a:schemeClr val="accent1">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ea typeface="Segoe UI" pitchFamily="34" charset="0"/>
                  <a:cs typeface="Segoe UI" pitchFamily="34" charset="0"/>
                </a:endParaRPr>
              </a:p>
            </p:txBody>
          </p:sp>
        </p:grpSp>
        <p:sp>
          <p:nvSpPr>
            <p:cNvPr id="79" name="Rectangle 78"/>
            <p:cNvSpPr/>
            <p:nvPr/>
          </p:nvSpPr>
          <p:spPr bwMode="auto">
            <a:xfrm>
              <a:off x="7313611" y="1443689"/>
              <a:ext cx="644189" cy="59791"/>
            </a:xfrm>
            <a:prstGeom prst="rect">
              <a:avLst/>
            </a:prstGeom>
            <a:solidFill>
              <a:schemeClr val="accent1">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ea typeface="Segoe UI" pitchFamily="34" charset="0"/>
                <a:cs typeface="Segoe UI" pitchFamily="34" charset="0"/>
              </a:endParaRPr>
            </a:p>
          </p:txBody>
        </p:sp>
        <p:sp>
          <p:nvSpPr>
            <p:cNvPr id="80" name="Rectangle 79"/>
            <p:cNvSpPr/>
            <p:nvPr/>
          </p:nvSpPr>
          <p:spPr bwMode="auto">
            <a:xfrm>
              <a:off x="7313612" y="1563374"/>
              <a:ext cx="644189" cy="59793"/>
            </a:xfrm>
            <a:prstGeom prst="rect">
              <a:avLst/>
            </a:prstGeom>
            <a:solidFill>
              <a:schemeClr val="accent1">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ea typeface="Segoe UI" pitchFamily="34" charset="0"/>
                <a:cs typeface="Segoe UI" pitchFamily="34" charset="0"/>
              </a:endParaRPr>
            </a:p>
          </p:txBody>
        </p:sp>
      </p:grpSp>
      <p:sp>
        <p:nvSpPr>
          <p:cNvPr id="40" name="TextBox 39"/>
          <p:cNvSpPr txBox="1"/>
          <p:nvPr/>
        </p:nvSpPr>
        <p:spPr>
          <a:xfrm rot="5125511">
            <a:off x="6317245" y="3132874"/>
            <a:ext cx="245342" cy="1015927"/>
          </a:xfrm>
          <a:prstGeom prst="rect">
            <a:avLst/>
          </a:prstGeom>
          <a:noFill/>
        </p:spPr>
        <p:txBody>
          <a:bodyPr wrap="square" lIns="0" tIns="0" rIns="0" bIns="0" rtlCol="0">
            <a:spAutoFit/>
          </a:bodyPr>
          <a:lstStyle/>
          <a:p>
            <a:r>
              <a:rPr lang="en-US" sz="800" dirty="0">
                <a:gradFill>
                  <a:gsLst>
                    <a:gs pos="0">
                      <a:srgbClr val="FFFFFF"/>
                    </a:gs>
                    <a:gs pos="86000">
                      <a:srgbClr val="FFFFFF"/>
                    </a:gs>
                  </a:gsLst>
                  <a:lin ang="5400000" scaled="0"/>
                </a:gradFill>
              </a:rPr>
              <a:t>1</a:t>
            </a:r>
          </a:p>
          <a:p>
            <a:r>
              <a:rPr lang="en-US" sz="800" dirty="0">
                <a:gradFill>
                  <a:gsLst>
                    <a:gs pos="0">
                      <a:srgbClr val="FFFFFF"/>
                    </a:gs>
                    <a:gs pos="86000">
                      <a:srgbClr val="FFFFFF"/>
                    </a:gs>
                  </a:gsLst>
                  <a:lin ang="5400000" scaled="0"/>
                </a:gradFill>
              </a:rPr>
              <a:t>0</a:t>
            </a:r>
          </a:p>
          <a:p>
            <a:r>
              <a:rPr lang="en-US" sz="800" dirty="0">
                <a:gradFill>
                  <a:gsLst>
                    <a:gs pos="0">
                      <a:srgbClr val="FFFFFF"/>
                    </a:gs>
                    <a:gs pos="86000">
                      <a:srgbClr val="FFFFFF"/>
                    </a:gs>
                  </a:gsLst>
                  <a:lin ang="5400000" scaled="0"/>
                </a:gradFill>
              </a:rPr>
              <a:t>11</a:t>
            </a:r>
          </a:p>
          <a:p>
            <a:r>
              <a:rPr lang="en-US" sz="800" dirty="0">
                <a:gradFill>
                  <a:gsLst>
                    <a:gs pos="0">
                      <a:srgbClr val="FFFFFF"/>
                    </a:gs>
                    <a:gs pos="86000">
                      <a:srgbClr val="FFFFFF"/>
                    </a:gs>
                  </a:gsLst>
                  <a:lin ang="5400000" scaled="0"/>
                </a:gradFill>
              </a:rPr>
              <a:t>10</a:t>
            </a:r>
            <a:br>
              <a:rPr lang="en-US" sz="800" dirty="0">
                <a:gradFill>
                  <a:gsLst>
                    <a:gs pos="0">
                      <a:srgbClr val="FFFFFF"/>
                    </a:gs>
                    <a:gs pos="86000">
                      <a:srgbClr val="FFFFFF"/>
                    </a:gs>
                  </a:gsLst>
                  <a:lin ang="5400000" scaled="0"/>
                </a:gradFill>
              </a:rPr>
            </a:br>
            <a:r>
              <a:rPr lang="en-US" sz="800" dirty="0">
                <a:gradFill>
                  <a:gsLst>
                    <a:gs pos="0">
                      <a:srgbClr val="FFFFFF"/>
                    </a:gs>
                    <a:gs pos="86000">
                      <a:srgbClr val="FFFFFF"/>
                    </a:gs>
                  </a:gsLst>
                  <a:lin ang="5400000" scaled="0"/>
                </a:gradFill>
              </a:rPr>
              <a:t>11</a:t>
            </a:r>
          </a:p>
          <a:p>
            <a:r>
              <a:rPr lang="en-US" sz="800" dirty="0">
                <a:gradFill>
                  <a:gsLst>
                    <a:gs pos="0">
                      <a:srgbClr val="FFFFFF"/>
                    </a:gs>
                    <a:gs pos="86000">
                      <a:srgbClr val="FFFFFF"/>
                    </a:gs>
                  </a:gsLst>
                  <a:lin ang="5400000" scaled="0"/>
                </a:gradFill>
              </a:rPr>
              <a:t>10</a:t>
            </a:r>
          </a:p>
          <a:p>
            <a:r>
              <a:rPr lang="en-US" sz="800" dirty="0">
                <a:gradFill>
                  <a:gsLst>
                    <a:gs pos="0">
                      <a:srgbClr val="FFFFFF"/>
                    </a:gs>
                    <a:gs pos="86000">
                      <a:srgbClr val="FFFFFF"/>
                    </a:gs>
                  </a:gsLst>
                  <a:lin ang="5400000" scaled="0"/>
                </a:gradFill>
              </a:rPr>
              <a:t>1</a:t>
            </a:r>
          </a:p>
          <a:p>
            <a:endParaRPr lang="en-US" sz="800" dirty="0">
              <a:gradFill>
                <a:gsLst>
                  <a:gs pos="0">
                    <a:srgbClr val="FFFFFF"/>
                  </a:gs>
                  <a:gs pos="86000">
                    <a:srgbClr val="FFFFFF"/>
                  </a:gs>
                </a:gsLst>
                <a:lin ang="5400000" scaled="0"/>
              </a:gradFill>
            </a:endParaRPr>
          </a:p>
        </p:txBody>
      </p:sp>
      <p:sp>
        <p:nvSpPr>
          <p:cNvPr id="2" name="Title 1"/>
          <p:cNvSpPr>
            <a:spLocks noGrp="1"/>
          </p:cNvSpPr>
          <p:nvPr>
            <p:ph type="title"/>
          </p:nvPr>
        </p:nvSpPr>
        <p:spPr/>
        <p:txBody>
          <a:bodyPr/>
          <a:lstStyle/>
          <a:p>
            <a:r>
              <a:rPr lang="en-US" dirty="0" err="1" smtClean="0"/>
              <a:t>BranchCache</a:t>
            </a:r>
            <a:endParaRPr lang="en-US" dirty="0"/>
          </a:p>
        </p:txBody>
      </p:sp>
      <p:sp>
        <p:nvSpPr>
          <p:cNvPr id="14" name="TextBox 13"/>
          <p:cNvSpPr txBox="1"/>
          <p:nvPr/>
        </p:nvSpPr>
        <p:spPr>
          <a:xfrm rot="1921260">
            <a:off x="2815160" y="862177"/>
            <a:ext cx="245405" cy="3447098"/>
          </a:xfrm>
          <a:prstGeom prst="rect">
            <a:avLst/>
          </a:prstGeom>
          <a:noFill/>
        </p:spPr>
        <p:txBody>
          <a:bodyPr wrap="square" lIns="0" tIns="0" rIns="0" bIns="0" rtlCol="0">
            <a:spAutoFit/>
          </a:bodyPr>
          <a:lstStyle/>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endParaRPr lang="en-US" sz="700" b="1" dirty="0">
              <a:gradFill>
                <a:gsLst>
                  <a:gs pos="0">
                    <a:srgbClr val="FFFFFF"/>
                  </a:gs>
                  <a:gs pos="86000">
                    <a:srgbClr val="FFFFFF"/>
                  </a:gs>
                </a:gsLst>
                <a:lin ang="5400000" scaled="0"/>
              </a:gradFill>
            </a:endParaRPr>
          </a:p>
        </p:txBody>
      </p:sp>
      <p:sp>
        <p:nvSpPr>
          <p:cNvPr id="15" name="TextBox 14"/>
          <p:cNvSpPr txBox="1"/>
          <p:nvPr/>
        </p:nvSpPr>
        <p:spPr>
          <a:xfrm rot="1857267">
            <a:off x="2957403" y="1123922"/>
            <a:ext cx="245405" cy="2908489"/>
          </a:xfrm>
          <a:prstGeom prst="rect">
            <a:avLst/>
          </a:prstGeom>
          <a:noFill/>
        </p:spPr>
        <p:txBody>
          <a:bodyPr wrap="square" lIns="0" tIns="0" rIns="0" bIns="0" rtlCol="0">
            <a:spAutoFit/>
          </a:bodyPr>
          <a:lstStyle/>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endParaRPr lang="en-US" sz="700" b="1" dirty="0">
              <a:gradFill>
                <a:gsLst>
                  <a:gs pos="0">
                    <a:srgbClr val="FFFFFF"/>
                  </a:gs>
                  <a:gs pos="86000">
                    <a:srgbClr val="FFFFFF"/>
                  </a:gs>
                </a:gsLst>
                <a:lin ang="5400000" scaled="0"/>
              </a:gradFill>
            </a:endParaRPr>
          </a:p>
        </p:txBody>
      </p:sp>
      <p:sp>
        <p:nvSpPr>
          <p:cNvPr id="16" name="TextBox 15"/>
          <p:cNvSpPr txBox="1"/>
          <p:nvPr/>
        </p:nvSpPr>
        <p:spPr>
          <a:xfrm rot="1736889">
            <a:off x="3037795" y="1839015"/>
            <a:ext cx="245405" cy="1716359"/>
          </a:xfrm>
          <a:prstGeom prst="rect">
            <a:avLst/>
          </a:prstGeom>
          <a:noFill/>
        </p:spPr>
        <p:txBody>
          <a:bodyPr wrap="square" lIns="0" tIns="0" rIns="0" bIns="0" rtlCol="0">
            <a:spAutoFit/>
          </a:bodyPr>
          <a:lstStyle/>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p:txBody>
      </p:sp>
      <p:sp>
        <p:nvSpPr>
          <p:cNvPr id="17" name="TextBox 16"/>
          <p:cNvSpPr txBox="1"/>
          <p:nvPr/>
        </p:nvSpPr>
        <p:spPr>
          <a:xfrm rot="1666035">
            <a:off x="3176337" y="2022550"/>
            <a:ext cx="245405" cy="1400383"/>
          </a:xfrm>
          <a:prstGeom prst="rect">
            <a:avLst/>
          </a:prstGeom>
          <a:noFill/>
        </p:spPr>
        <p:txBody>
          <a:bodyPr wrap="square" lIns="0" tIns="0" rIns="0" bIns="0" rtlCol="0">
            <a:spAutoFit/>
          </a:bodyPr>
          <a:lstStyle/>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p:txBody>
      </p:sp>
      <p:sp>
        <p:nvSpPr>
          <p:cNvPr id="18" name="TextBox 17"/>
          <p:cNvSpPr txBox="1"/>
          <p:nvPr/>
        </p:nvSpPr>
        <p:spPr>
          <a:xfrm rot="1574199">
            <a:off x="3334284" y="1907414"/>
            <a:ext cx="245405" cy="1615827"/>
          </a:xfrm>
          <a:prstGeom prst="rect">
            <a:avLst/>
          </a:prstGeom>
          <a:noFill/>
        </p:spPr>
        <p:txBody>
          <a:bodyPr wrap="square" lIns="0" tIns="0" rIns="0" bIns="0" rtlCol="0">
            <a:spAutoFit/>
          </a:bodyPr>
          <a:lstStyle/>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1</a:t>
            </a:r>
            <a:br>
              <a:rPr lang="en-US" sz="700" b="1" dirty="0">
                <a:gradFill>
                  <a:gsLst>
                    <a:gs pos="0">
                      <a:srgbClr val="FFFFFF"/>
                    </a:gs>
                    <a:gs pos="86000">
                      <a:srgbClr val="FFFFFF"/>
                    </a:gs>
                  </a:gsLst>
                  <a:lin ang="5400000" scaled="0"/>
                </a:gradFill>
              </a:rPr>
            </a:br>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1</a:t>
            </a:r>
          </a:p>
          <a:p>
            <a:endParaRPr lang="en-US" sz="700" b="1" dirty="0">
              <a:gradFill>
                <a:gsLst>
                  <a:gs pos="0">
                    <a:srgbClr val="FFFFFF"/>
                  </a:gs>
                  <a:gs pos="86000">
                    <a:srgbClr val="FFFFFF"/>
                  </a:gs>
                </a:gsLst>
                <a:lin ang="5400000" scaled="0"/>
              </a:gradFill>
            </a:endParaRPr>
          </a:p>
        </p:txBody>
      </p:sp>
      <p:sp>
        <p:nvSpPr>
          <p:cNvPr id="19" name="TextBox 18"/>
          <p:cNvSpPr txBox="1"/>
          <p:nvPr/>
        </p:nvSpPr>
        <p:spPr>
          <a:xfrm rot="1468991">
            <a:off x="3416331" y="2223641"/>
            <a:ext cx="245405" cy="1292662"/>
          </a:xfrm>
          <a:prstGeom prst="rect">
            <a:avLst/>
          </a:prstGeom>
          <a:noFill/>
        </p:spPr>
        <p:txBody>
          <a:bodyPr wrap="square" lIns="0" tIns="0" rIns="0" bIns="0" rtlCol="0">
            <a:spAutoFit/>
          </a:bodyPr>
          <a:lstStyle/>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endParaRPr lang="en-US" sz="700" b="1" dirty="0">
              <a:gradFill>
                <a:gsLst>
                  <a:gs pos="0">
                    <a:srgbClr val="FFFFFF"/>
                  </a:gs>
                  <a:gs pos="86000">
                    <a:srgbClr val="FFFFFF"/>
                  </a:gs>
                </a:gsLst>
                <a:lin ang="5400000" scaled="0"/>
              </a:gradFill>
            </a:endParaRPr>
          </a:p>
        </p:txBody>
      </p:sp>
      <p:sp>
        <p:nvSpPr>
          <p:cNvPr id="20" name="TextBox 19"/>
          <p:cNvSpPr txBox="1"/>
          <p:nvPr/>
        </p:nvSpPr>
        <p:spPr>
          <a:xfrm rot="1329693">
            <a:off x="3514519" y="1898985"/>
            <a:ext cx="245405" cy="2154436"/>
          </a:xfrm>
          <a:prstGeom prst="rect">
            <a:avLst/>
          </a:prstGeom>
          <a:noFill/>
        </p:spPr>
        <p:txBody>
          <a:bodyPr wrap="square" lIns="0" tIns="0" rIns="0" bIns="0" rtlCol="0">
            <a:spAutoFit/>
          </a:bodyPr>
          <a:lstStyle/>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endParaRPr lang="en-US" sz="700" b="1" dirty="0">
              <a:gradFill>
                <a:gsLst>
                  <a:gs pos="0">
                    <a:srgbClr val="FFFFFF"/>
                  </a:gs>
                  <a:gs pos="86000">
                    <a:srgbClr val="FFFFFF"/>
                  </a:gs>
                </a:gsLst>
                <a:lin ang="5400000" scaled="0"/>
              </a:gradFill>
            </a:endParaRPr>
          </a:p>
        </p:txBody>
      </p:sp>
      <p:sp>
        <p:nvSpPr>
          <p:cNvPr id="21" name="TextBox 20"/>
          <p:cNvSpPr txBox="1"/>
          <p:nvPr/>
        </p:nvSpPr>
        <p:spPr>
          <a:xfrm rot="1237402">
            <a:off x="3620779" y="2042940"/>
            <a:ext cx="245405" cy="2046714"/>
          </a:xfrm>
          <a:prstGeom prst="rect">
            <a:avLst/>
          </a:prstGeom>
          <a:noFill/>
        </p:spPr>
        <p:txBody>
          <a:bodyPr wrap="square" lIns="0" tIns="0" rIns="0" bIns="0" rtlCol="0">
            <a:spAutoFit/>
          </a:bodyPr>
          <a:lstStyle/>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0</a:t>
            </a:r>
          </a:p>
        </p:txBody>
      </p:sp>
      <p:sp>
        <p:nvSpPr>
          <p:cNvPr id="22" name="TextBox 21"/>
          <p:cNvSpPr txBox="1"/>
          <p:nvPr/>
        </p:nvSpPr>
        <p:spPr>
          <a:xfrm rot="995427">
            <a:off x="3759320" y="2205863"/>
            <a:ext cx="245405" cy="1723549"/>
          </a:xfrm>
          <a:prstGeom prst="rect">
            <a:avLst/>
          </a:prstGeom>
          <a:noFill/>
        </p:spPr>
        <p:txBody>
          <a:bodyPr wrap="square" lIns="0" tIns="0" rIns="0" bIns="0" rtlCol="0">
            <a:spAutoFit/>
          </a:bodyPr>
          <a:lstStyle/>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p:txBody>
      </p:sp>
      <p:sp>
        <p:nvSpPr>
          <p:cNvPr id="23" name="TextBox 22"/>
          <p:cNvSpPr txBox="1"/>
          <p:nvPr/>
        </p:nvSpPr>
        <p:spPr>
          <a:xfrm rot="895653">
            <a:off x="3897862" y="2226937"/>
            <a:ext cx="245405" cy="1716359"/>
          </a:xfrm>
          <a:prstGeom prst="rect">
            <a:avLst/>
          </a:prstGeom>
          <a:noFill/>
        </p:spPr>
        <p:txBody>
          <a:bodyPr wrap="square" lIns="0" tIns="0" rIns="0" bIns="0" rtlCol="0">
            <a:spAutoFit/>
          </a:bodyPr>
          <a:lstStyle/>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p:txBody>
      </p:sp>
      <p:sp>
        <p:nvSpPr>
          <p:cNvPr id="24" name="TextBox 23"/>
          <p:cNvSpPr txBox="1"/>
          <p:nvPr/>
        </p:nvSpPr>
        <p:spPr>
          <a:xfrm rot="20429611">
            <a:off x="4963022" y="1619778"/>
            <a:ext cx="245405" cy="2585323"/>
          </a:xfrm>
          <a:prstGeom prst="rect">
            <a:avLst/>
          </a:prstGeom>
          <a:noFill/>
        </p:spPr>
        <p:txBody>
          <a:bodyPr wrap="square" lIns="0" tIns="0" rIns="0" bIns="0" rtlCol="0">
            <a:spAutoFit/>
          </a:bodyPr>
          <a:lstStyle/>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p:txBody>
      </p:sp>
      <p:sp>
        <p:nvSpPr>
          <p:cNvPr id="25" name="TextBox 24"/>
          <p:cNvSpPr txBox="1"/>
          <p:nvPr/>
        </p:nvSpPr>
        <p:spPr>
          <a:xfrm rot="20250612">
            <a:off x="5086400" y="1827087"/>
            <a:ext cx="245405" cy="2154436"/>
          </a:xfrm>
          <a:prstGeom prst="rect">
            <a:avLst/>
          </a:prstGeom>
          <a:noFill/>
        </p:spPr>
        <p:txBody>
          <a:bodyPr wrap="square" lIns="0" tIns="0" rIns="0" bIns="0" rtlCol="0">
            <a:spAutoFit/>
          </a:bodyPr>
          <a:lstStyle/>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p:txBody>
      </p:sp>
      <p:sp>
        <p:nvSpPr>
          <p:cNvPr id="26" name="TextBox 25"/>
          <p:cNvSpPr txBox="1"/>
          <p:nvPr/>
        </p:nvSpPr>
        <p:spPr>
          <a:xfrm rot="20130234">
            <a:off x="5173426" y="1963707"/>
            <a:ext cx="245405" cy="1716359"/>
          </a:xfrm>
          <a:prstGeom prst="rect">
            <a:avLst/>
          </a:prstGeom>
          <a:noFill/>
        </p:spPr>
        <p:txBody>
          <a:bodyPr wrap="square" lIns="0" tIns="0" rIns="0" bIns="0" rtlCol="0">
            <a:spAutoFit/>
          </a:bodyPr>
          <a:lstStyle/>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p:txBody>
      </p:sp>
      <p:sp>
        <p:nvSpPr>
          <p:cNvPr id="27" name="TextBox 26"/>
          <p:cNvSpPr txBox="1"/>
          <p:nvPr/>
        </p:nvSpPr>
        <p:spPr>
          <a:xfrm rot="20059380">
            <a:off x="5270339" y="1727160"/>
            <a:ext cx="245405" cy="1938992"/>
          </a:xfrm>
          <a:prstGeom prst="rect">
            <a:avLst/>
          </a:prstGeom>
          <a:noFill/>
        </p:spPr>
        <p:txBody>
          <a:bodyPr wrap="square" lIns="0" tIns="0" rIns="0" bIns="0" rtlCol="0">
            <a:spAutoFit/>
          </a:bodyPr>
          <a:lstStyle/>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p:txBody>
      </p:sp>
      <p:sp>
        <p:nvSpPr>
          <p:cNvPr id="28" name="TextBox 27"/>
          <p:cNvSpPr txBox="1"/>
          <p:nvPr/>
        </p:nvSpPr>
        <p:spPr>
          <a:xfrm rot="19967544">
            <a:off x="5428360" y="1912106"/>
            <a:ext cx="245405" cy="1615827"/>
          </a:xfrm>
          <a:prstGeom prst="rect">
            <a:avLst/>
          </a:prstGeom>
          <a:noFill/>
        </p:spPr>
        <p:txBody>
          <a:bodyPr wrap="square" lIns="0" tIns="0" rIns="0" bIns="0" rtlCol="0">
            <a:spAutoFit/>
          </a:bodyPr>
          <a:lstStyle/>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1</a:t>
            </a:r>
            <a:br>
              <a:rPr lang="en-US" sz="700" b="1" dirty="0">
                <a:gradFill>
                  <a:gsLst>
                    <a:gs pos="0">
                      <a:srgbClr val="FFFFFF"/>
                    </a:gs>
                    <a:gs pos="86000">
                      <a:srgbClr val="FFFFFF"/>
                    </a:gs>
                  </a:gsLst>
                  <a:lin ang="5400000" scaled="0"/>
                </a:gradFill>
              </a:rPr>
            </a:br>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1</a:t>
            </a:r>
          </a:p>
          <a:p>
            <a:endParaRPr lang="en-US" sz="700" b="1" dirty="0">
              <a:gradFill>
                <a:gsLst>
                  <a:gs pos="0">
                    <a:srgbClr val="FFFFFF"/>
                  </a:gs>
                  <a:gs pos="86000">
                    <a:srgbClr val="FFFFFF"/>
                  </a:gs>
                </a:gsLst>
                <a:lin ang="5400000" scaled="0"/>
              </a:gradFill>
            </a:endParaRPr>
          </a:p>
        </p:txBody>
      </p:sp>
      <p:sp>
        <p:nvSpPr>
          <p:cNvPr id="29" name="TextBox 28"/>
          <p:cNvSpPr txBox="1"/>
          <p:nvPr/>
        </p:nvSpPr>
        <p:spPr>
          <a:xfrm rot="19862336">
            <a:off x="5554202" y="1770515"/>
            <a:ext cx="245405" cy="1716359"/>
          </a:xfrm>
          <a:prstGeom prst="rect">
            <a:avLst/>
          </a:prstGeom>
          <a:noFill/>
        </p:spPr>
        <p:txBody>
          <a:bodyPr wrap="square" lIns="0" tIns="0" rIns="0" bIns="0" rtlCol="0">
            <a:spAutoFit/>
          </a:bodyPr>
          <a:lstStyle/>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p:txBody>
      </p:sp>
      <p:sp>
        <p:nvSpPr>
          <p:cNvPr id="30" name="TextBox 29"/>
          <p:cNvSpPr txBox="1"/>
          <p:nvPr/>
        </p:nvSpPr>
        <p:spPr>
          <a:xfrm rot="19723038">
            <a:off x="5665405" y="1719244"/>
            <a:ext cx="245405" cy="1723549"/>
          </a:xfrm>
          <a:prstGeom prst="rect">
            <a:avLst/>
          </a:prstGeom>
          <a:noFill/>
        </p:spPr>
        <p:txBody>
          <a:bodyPr wrap="square" lIns="0" tIns="0" rIns="0" bIns="0" rtlCol="0">
            <a:spAutoFit/>
          </a:bodyPr>
          <a:lstStyle/>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p:txBody>
      </p:sp>
      <p:sp>
        <p:nvSpPr>
          <p:cNvPr id="31" name="TextBox 30"/>
          <p:cNvSpPr txBox="1"/>
          <p:nvPr/>
        </p:nvSpPr>
        <p:spPr>
          <a:xfrm rot="19630747">
            <a:off x="5801082" y="987379"/>
            <a:ext cx="245405" cy="3123932"/>
          </a:xfrm>
          <a:prstGeom prst="rect">
            <a:avLst/>
          </a:prstGeom>
          <a:noFill/>
        </p:spPr>
        <p:txBody>
          <a:bodyPr wrap="square" lIns="0" tIns="0" rIns="0" bIns="0" rtlCol="0">
            <a:spAutoFit/>
          </a:bodyPr>
          <a:lstStyle/>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endParaRPr lang="en-US" sz="700" b="1" dirty="0">
              <a:gradFill>
                <a:gsLst>
                  <a:gs pos="0">
                    <a:srgbClr val="FFFFFF"/>
                  </a:gs>
                  <a:gs pos="86000">
                    <a:srgbClr val="FFFFFF"/>
                  </a:gs>
                </a:gsLst>
                <a:lin ang="5400000" scaled="0"/>
              </a:gradFill>
            </a:endParaRPr>
          </a:p>
        </p:txBody>
      </p:sp>
      <p:sp>
        <p:nvSpPr>
          <p:cNvPr id="32" name="TextBox 31"/>
          <p:cNvSpPr txBox="1"/>
          <p:nvPr/>
        </p:nvSpPr>
        <p:spPr>
          <a:xfrm rot="19388772">
            <a:off x="5884675" y="1253944"/>
            <a:ext cx="245405" cy="2369880"/>
          </a:xfrm>
          <a:prstGeom prst="rect">
            <a:avLst/>
          </a:prstGeom>
          <a:noFill/>
        </p:spPr>
        <p:txBody>
          <a:bodyPr wrap="square" lIns="0" tIns="0" rIns="0" bIns="0" rtlCol="0">
            <a:spAutoFit/>
          </a:bodyPr>
          <a:lstStyle/>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p:txBody>
      </p:sp>
      <p:sp>
        <p:nvSpPr>
          <p:cNvPr id="33" name="TextBox 32"/>
          <p:cNvSpPr txBox="1"/>
          <p:nvPr/>
        </p:nvSpPr>
        <p:spPr>
          <a:xfrm rot="19288998">
            <a:off x="6005446" y="1139579"/>
            <a:ext cx="245405" cy="2477601"/>
          </a:xfrm>
          <a:prstGeom prst="rect">
            <a:avLst/>
          </a:prstGeom>
          <a:noFill/>
        </p:spPr>
        <p:txBody>
          <a:bodyPr wrap="square" lIns="0" tIns="0" rIns="0" bIns="0" rtlCol="0">
            <a:spAutoFit/>
          </a:bodyPr>
          <a:lstStyle/>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1</a:t>
            </a:r>
          </a:p>
          <a:p>
            <a:r>
              <a:rPr lang="en-US" sz="700" b="1" dirty="0">
                <a:gradFill>
                  <a:gsLst>
                    <a:gs pos="0">
                      <a:srgbClr val="FFFFFF"/>
                    </a:gs>
                    <a:gs pos="86000">
                      <a:srgbClr val="FFFFFF"/>
                    </a:gs>
                  </a:gsLst>
                  <a:lin ang="5400000" scaled="0"/>
                </a:gradFill>
              </a:rPr>
              <a:t>0</a:t>
            </a:r>
          </a:p>
          <a:p>
            <a:r>
              <a:rPr lang="en-US" sz="700" b="1" dirty="0">
                <a:gradFill>
                  <a:gsLst>
                    <a:gs pos="0">
                      <a:srgbClr val="FFFFFF"/>
                    </a:gs>
                    <a:gs pos="86000">
                      <a:srgbClr val="FFFFFF"/>
                    </a:gs>
                  </a:gsLst>
                  <a:lin ang="5400000" scaled="0"/>
                </a:gradFill>
              </a:rPr>
              <a:t>1</a:t>
            </a:r>
          </a:p>
          <a:p>
            <a:endParaRPr lang="en-US" sz="700" b="1" dirty="0">
              <a:gradFill>
                <a:gsLst>
                  <a:gs pos="0">
                    <a:srgbClr val="FFFFFF"/>
                  </a:gs>
                  <a:gs pos="86000">
                    <a:srgbClr val="FFFFFF"/>
                  </a:gs>
                </a:gsLst>
                <a:lin ang="5400000" scaled="0"/>
              </a:gradFill>
            </a:endParaRPr>
          </a:p>
        </p:txBody>
      </p:sp>
      <p:sp>
        <p:nvSpPr>
          <p:cNvPr id="38" name="TextBox 37"/>
          <p:cNvSpPr txBox="1"/>
          <p:nvPr/>
        </p:nvSpPr>
        <p:spPr>
          <a:xfrm rot="1837639">
            <a:off x="2634803" y="3450407"/>
            <a:ext cx="245405" cy="1015663"/>
          </a:xfrm>
          <a:prstGeom prst="rect">
            <a:avLst/>
          </a:prstGeom>
          <a:noFill/>
        </p:spPr>
        <p:txBody>
          <a:bodyPr wrap="square" lIns="0" tIns="0" rIns="0" bIns="0" rtlCol="0">
            <a:spAutoFit/>
          </a:bodyPr>
          <a:lstStyle/>
          <a:p>
            <a:r>
              <a:rPr lang="en-US" sz="800" dirty="0">
                <a:gradFill>
                  <a:gsLst>
                    <a:gs pos="0">
                      <a:srgbClr val="FFFFFF"/>
                    </a:gs>
                    <a:gs pos="86000">
                      <a:srgbClr val="FFFFFF"/>
                    </a:gs>
                  </a:gsLst>
                  <a:lin ang="5400000" scaled="0"/>
                </a:gradFill>
              </a:rPr>
              <a:t>1</a:t>
            </a:r>
          </a:p>
          <a:p>
            <a:r>
              <a:rPr lang="en-US" sz="800" dirty="0">
                <a:gradFill>
                  <a:gsLst>
                    <a:gs pos="0">
                      <a:srgbClr val="FFFFFF"/>
                    </a:gs>
                    <a:gs pos="86000">
                      <a:srgbClr val="FFFFFF"/>
                    </a:gs>
                  </a:gsLst>
                  <a:lin ang="5400000" scaled="0"/>
                </a:gradFill>
              </a:rPr>
              <a:t>0</a:t>
            </a:r>
          </a:p>
          <a:p>
            <a:r>
              <a:rPr lang="en-US" sz="800" dirty="0">
                <a:gradFill>
                  <a:gsLst>
                    <a:gs pos="0">
                      <a:srgbClr val="FFFFFF"/>
                    </a:gs>
                    <a:gs pos="86000">
                      <a:srgbClr val="FFFFFF"/>
                    </a:gs>
                  </a:gsLst>
                  <a:lin ang="5400000" scaled="0"/>
                </a:gradFill>
              </a:rPr>
              <a:t>11</a:t>
            </a:r>
          </a:p>
          <a:p>
            <a:r>
              <a:rPr lang="en-US" sz="800" dirty="0">
                <a:gradFill>
                  <a:gsLst>
                    <a:gs pos="0">
                      <a:srgbClr val="FFFFFF"/>
                    </a:gs>
                    <a:gs pos="86000">
                      <a:srgbClr val="FFFFFF"/>
                    </a:gs>
                  </a:gsLst>
                  <a:lin ang="5400000" scaled="0"/>
                </a:gradFill>
              </a:rPr>
              <a:t>10</a:t>
            </a:r>
            <a:br>
              <a:rPr lang="en-US" sz="800" dirty="0">
                <a:gradFill>
                  <a:gsLst>
                    <a:gs pos="0">
                      <a:srgbClr val="FFFFFF"/>
                    </a:gs>
                    <a:gs pos="86000">
                      <a:srgbClr val="FFFFFF"/>
                    </a:gs>
                  </a:gsLst>
                  <a:lin ang="5400000" scaled="0"/>
                </a:gradFill>
              </a:rPr>
            </a:br>
            <a:r>
              <a:rPr lang="en-US" sz="800" dirty="0">
                <a:gradFill>
                  <a:gsLst>
                    <a:gs pos="0">
                      <a:srgbClr val="FFFFFF"/>
                    </a:gs>
                    <a:gs pos="86000">
                      <a:srgbClr val="FFFFFF"/>
                    </a:gs>
                  </a:gsLst>
                  <a:lin ang="5400000" scaled="0"/>
                </a:gradFill>
              </a:rPr>
              <a:t>11</a:t>
            </a:r>
          </a:p>
          <a:p>
            <a:r>
              <a:rPr lang="en-US" sz="800" dirty="0">
                <a:gradFill>
                  <a:gsLst>
                    <a:gs pos="0">
                      <a:srgbClr val="FFFFFF"/>
                    </a:gs>
                    <a:gs pos="86000">
                      <a:srgbClr val="FFFFFF"/>
                    </a:gs>
                  </a:gsLst>
                  <a:lin ang="5400000" scaled="0"/>
                </a:gradFill>
              </a:rPr>
              <a:t>10</a:t>
            </a:r>
          </a:p>
          <a:p>
            <a:r>
              <a:rPr lang="en-US" sz="800" dirty="0">
                <a:gradFill>
                  <a:gsLst>
                    <a:gs pos="0">
                      <a:srgbClr val="FFFFFF"/>
                    </a:gs>
                    <a:gs pos="86000">
                      <a:srgbClr val="FFFFFF"/>
                    </a:gs>
                  </a:gsLst>
                  <a:lin ang="5400000" scaled="0"/>
                </a:gradFill>
              </a:rPr>
              <a:t>1</a:t>
            </a:r>
          </a:p>
          <a:p>
            <a:endParaRPr lang="en-US" sz="800" dirty="0">
              <a:gradFill>
                <a:gsLst>
                  <a:gs pos="0">
                    <a:srgbClr val="FFFFFF"/>
                  </a:gs>
                  <a:gs pos="86000">
                    <a:srgbClr val="FFFFFF"/>
                  </a:gs>
                </a:gsLst>
                <a:lin ang="5400000" scaled="0"/>
              </a:gradFill>
            </a:endParaRPr>
          </a:p>
        </p:txBody>
      </p:sp>
      <p:sp>
        <p:nvSpPr>
          <p:cNvPr id="39" name="TextBox 38"/>
          <p:cNvSpPr txBox="1"/>
          <p:nvPr/>
        </p:nvSpPr>
        <p:spPr>
          <a:xfrm rot="19364204">
            <a:off x="3233379" y="3345428"/>
            <a:ext cx="245405" cy="1015663"/>
          </a:xfrm>
          <a:prstGeom prst="rect">
            <a:avLst/>
          </a:prstGeom>
          <a:noFill/>
        </p:spPr>
        <p:txBody>
          <a:bodyPr wrap="square" lIns="0" tIns="0" rIns="0" bIns="0" rtlCol="0">
            <a:spAutoFit/>
          </a:bodyPr>
          <a:lstStyle/>
          <a:p>
            <a:r>
              <a:rPr lang="en-US" sz="800" dirty="0">
                <a:gradFill>
                  <a:gsLst>
                    <a:gs pos="0">
                      <a:srgbClr val="FFFFFF"/>
                    </a:gs>
                    <a:gs pos="86000">
                      <a:srgbClr val="FFFFFF"/>
                    </a:gs>
                  </a:gsLst>
                  <a:lin ang="5400000" scaled="0"/>
                </a:gradFill>
              </a:rPr>
              <a:t>1</a:t>
            </a:r>
          </a:p>
          <a:p>
            <a:r>
              <a:rPr lang="en-US" sz="800" dirty="0">
                <a:gradFill>
                  <a:gsLst>
                    <a:gs pos="0">
                      <a:srgbClr val="FFFFFF"/>
                    </a:gs>
                    <a:gs pos="86000">
                      <a:srgbClr val="FFFFFF"/>
                    </a:gs>
                  </a:gsLst>
                  <a:lin ang="5400000" scaled="0"/>
                </a:gradFill>
              </a:rPr>
              <a:t>0</a:t>
            </a:r>
          </a:p>
          <a:p>
            <a:r>
              <a:rPr lang="en-US" sz="800" dirty="0">
                <a:gradFill>
                  <a:gsLst>
                    <a:gs pos="0">
                      <a:srgbClr val="FFFFFF"/>
                    </a:gs>
                    <a:gs pos="86000">
                      <a:srgbClr val="FFFFFF"/>
                    </a:gs>
                  </a:gsLst>
                  <a:lin ang="5400000" scaled="0"/>
                </a:gradFill>
              </a:rPr>
              <a:t>01</a:t>
            </a:r>
          </a:p>
          <a:p>
            <a:r>
              <a:rPr lang="en-US" sz="800" dirty="0">
                <a:gradFill>
                  <a:gsLst>
                    <a:gs pos="0">
                      <a:srgbClr val="FFFFFF"/>
                    </a:gs>
                    <a:gs pos="86000">
                      <a:srgbClr val="FFFFFF"/>
                    </a:gs>
                  </a:gsLst>
                  <a:lin ang="5400000" scaled="0"/>
                </a:gradFill>
              </a:rPr>
              <a:t>11</a:t>
            </a:r>
            <a:br>
              <a:rPr lang="en-US" sz="800" dirty="0">
                <a:gradFill>
                  <a:gsLst>
                    <a:gs pos="0">
                      <a:srgbClr val="FFFFFF"/>
                    </a:gs>
                    <a:gs pos="86000">
                      <a:srgbClr val="FFFFFF"/>
                    </a:gs>
                  </a:gsLst>
                  <a:lin ang="5400000" scaled="0"/>
                </a:gradFill>
              </a:rPr>
            </a:br>
            <a:r>
              <a:rPr lang="en-US" sz="800" dirty="0">
                <a:gradFill>
                  <a:gsLst>
                    <a:gs pos="0">
                      <a:srgbClr val="FFFFFF"/>
                    </a:gs>
                    <a:gs pos="86000">
                      <a:srgbClr val="FFFFFF"/>
                    </a:gs>
                  </a:gsLst>
                  <a:lin ang="5400000" scaled="0"/>
                </a:gradFill>
              </a:rPr>
              <a:t>01</a:t>
            </a:r>
          </a:p>
          <a:p>
            <a:r>
              <a:rPr lang="en-US" sz="800" dirty="0">
                <a:gradFill>
                  <a:gsLst>
                    <a:gs pos="0">
                      <a:srgbClr val="FFFFFF"/>
                    </a:gs>
                    <a:gs pos="86000">
                      <a:srgbClr val="FFFFFF"/>
                    </a:gs>
                  </a:gsLst>
                  <a:lin ang="5400000" scaled="0"/>
                </a:gradFill>
              </a:rPr>
              <a:t>11</a:t>
            </a:r>
          </a:p>
          <a:p>
            <a:r>
              <a:rPr lang="en-US" sz="800" dirty="0">
                <a:gradFill>
                  <a:gsLst>
                    <a:gs pos="0">
                      <a:srgbClr val="FFFFFF"/>
                    </a:gs>
                    <a:gs pos="86000">
                      <a:srgbClr val="FFFFFF"/>
                    </a:gs>
                  </a:gsLst>
                  <a:lin ang="5400000" scaled="0"/>
                </a:gradFill>
              </a:rPr>
              <a:t>1</a:t>
            </a:r>
          </a:p>
          <a:p>
            <a:endParaRPr lang="en-US" sz="800" dirty="0">
              <a:gradFill>
                <a:gsLst>
                  <a:gs pos="0">
                    <a:srgbClr val="FFFFFF"/>
                  </a:gs>
                  <a:gs pos="86000">
                    <a:srgbClr val="FFFFFF"/>
                  </a:gs>
                </a:gsLst>
                <a:lin ang="5400000" scaled="0"/>
              </a:gradFill>
            </a:endParaRPr>
          </a:p>
        </p:txBody>
      </p:sp>
      <p:sp>
        <p:nvSpPr>
          <p:cNvPr id="41" name="TextBox 40"/>
          <p:cNvSpPr txBox="1"/>
          <p:nvPr/>
        </p:nvSpPr>
        <p:spPr>
          <a:xfrm rot="3835633">
            <a:off x="6363529" y="3288320"/>
            <a:ext cx="245342" cy="1269909"/>
          </a:xfrm>
          <a:prstGeom prst="rect">
            <a:avLst/>
          </a:prstGeom>
          <a:noFill/>
        </p:spPr>
        <p:txBody>
          <a:bodyPr wrap="square" lIns="0" tIns="0" rIns="0" bIns="0" rtlCol="0">
            <a:spAutoFit/>
          </a:bodyPr>
          <a:lstStyle/>
          <a:p>
            <a:r>
              <a:rPr lang="en-US" sz="800" dirty="0">
                <a:gradFill>
                  <a:gsLst>
                    <a:gs pos="0">
                      <a:srgbClr val="FFFFFF"/>
                    </a:gs>
                    <a:gs pos="86000">
                      <a:srgbClr val="FFFFFF"/>
                    </a:gs>
                  </a:gsLst>
                  <a:lin ang="5400000" scaled="0"/>
                </a:gradFill>
              </a:rPr>
              <a:t>1</a:t>
            </a:r>
          </a:p>
          <a:p>
            <a:r>
              <a:rPr lang="en-US" sz="800" dirty="0">
                <a:gradFill>
                  <a:gsLst>
                    <a:gs pos="0">
                      <a:srgbClr val="FFFFFF"/>
                    </a:gs>
                    <a:gs pos="86000">
                      <a:srgbClr val="FFFFFF"/>
                    </a:gs>
                  </a:gsLst>
                  <a:lin ang="5400000" scaled="0"/>
                </a:gradFill>
              </a:rPr>
              <a:t>0</a:t>
            </a:r>
          </a:p>
          <a:p>
            <a:r>
              <a:rPr lang="en-US" sz="800" dirty="0">
                <a:gradFill>
                  <a:gsLst>
                    <a:gs pos="0">
                      <a:srgbClr val="FFFFFF"/>
                    </a:gs>
                    <a:gs pos="86000">
                      <a:srgbClr val="FFFFFF"/>
                    </a:gs>
                  </a:gsLst>
                  <a:lin ang="5400000" scaled="0"/>
                </a:gradFill>
              </a:rPr>
              <a:t>11</a:t>
            </a:r>
          </a:p>
          <a:p>
            <a:r>
              <a:rPr lang="en-US" sz="800" dirty="0">
                <a:gradFill>
                  <a:gsLst>
                    <a:gs pos="0">
                      <a:srgbClr val="FFFFFF"/>
                    </a:gs>
                    <a:gs pos="86000">
                      <a:srgbClr val="FFFFFF"/>
                    </a:gs>
                  </a:gsLst>
                  <a:lin ang="5400000" scaled="0"/>
                </a:gradFill>
              </a:rPr>
              <a:t>10</a:t>
            </a:r>
            <a:br>
              <a:rPr lang="en-US" sz="800" dirty="0">
                <a:gradFill>
                  <a:gsLst>
                    <a:gs pos="0">
                      <a:srgbClr val="FFFFFF"/>
                    </a:gs>
                    <a:gs pos="86000">
                      <a:srgbClr val="FFFFFF"/>
                    </a:gs>
                  </a:gsLst>
                  <a:lin ang="5400000" scaled="0"/>
                </a:gradFill>
              </a:rPr>
            </a:br>
            <a:r>
              <a:rPr lang="en-US" sz="800" dirty="0">
                <a:gradFill>
                  <a:gsLst>
                    <a:gs pos="0">
                      <a:srgbClr val="FFFFFF"/>
                    </a:gs>
                    <a:gs pos="86000">
                      <a:srgbClr val="FFFFFF"/>
                    </a:gs>
                  </a:gsLst>
                  <a:lin ang="5400000" scaled="0"/>
                </a:gradFill>
              </a:rPr>
              <a:t>10</a:t>
            </a:r>
          </a:p>
          <a:p>
            <a:r>
              <a:rPr lang="en-US" sz="800" dirty="0">
                <a:gradFill>
                  <a:gsLst>
                    <a:gs pos="0">
                      <a:srgbClr val="FFFFFF"/>
                    </a:gs>
                    <a:gs pos="86000">
                      <a:srgbClr val="FFFFFF"/>
                    </a:gs>
                  </a:gsLst>
                  <a:lin ang="5400000" scaled="0"/>
                </a:gradFill>
              </a:rPr>
              <a:t>11</a:t>
            </a:r>
          </a:p>
          <a:p>
            <a:r>
              <a:rPr lang="en-US" sz="800" dirty="0">
                <a:gradFill>
                  <a:gsLst>
                    <a:gs pos="0">
                      <a:srgbClr val="FFFFFF"/>
                    </a:gs>
                    <a:gs pos="86000">
                      <a:srgbClr val="FFFFFF"/>
                    </a:gs>
                  </a:gsLst>
                  <a:lin ang="5400000" scaled="0"/>
                </a:gradFill>
              </a:rPr>
              <a:t>11</a:t>
            </a:r>
          </a:p>
          <a:p>
            <a:r>
              <a:rPr lang="en-US" sz="800" dirty="0">
                <a:gradFill>
                  <a:gsLst>
                    <a:gs pos="0">
                      <a:srgbClr val="FFFFFF"/>
                    </a:gs>
                    <a:gs pos="86000">
                      <a:srgbClr val="FFFFFF"/>
                    </a:gs>
                  </a:gsLst>
                  <a:lin ang="5400000" scaled="0"/>
                </a:gradFill>
              </a:rPr>
              <a:t>10</a:t>
            </a:r>
          </a:p>
          <a:p>
            <a:r>
              <a:rPr lang="en-US" sz="800" dirty="0">
                <a:gradFill>
                  <a:gsLst>
                    <a:gs pos="0">
                      <a:srgbClr val="FFFFFF"/>
                    </a:gs>
                    <a:gs pos="86000">
                      <a:srgbClr val="FFFFFF"/>
                    </a:gs>
                  </a:gsLst>
                  <a:lin ang="5400000" scaled="0"/>
                </a:gradFill>
              </a:rPr>
              <a:t>1</a:t>
            </a:r>
          </a:p>
          <a:p>
            <a:endParaRPr lang="en-US" sz="800" dirty="0">
              <a:gradFill>
                <a:gsLst>
                  <a:gs pos="0">
                    <a:srgbClr val="FFFFFF"/>
                  </a:gs>
                  <a:gs pos="86000">
                    <a:srgbClr val="FFFFFF"/>
                  </a:gs>
                </a:gsLst>
                <a:lin ang="5400000" scaled="0"/>
              </a:gradFill>
            </a:endParaRPr>
          </a:p>
        </p:txBody>
      </p:sp>
      <p:sp>
        <p:nvSpPr>
          <p:cNvPr id="42" name="TextBox 41"/>
          <p:cNvSpPr txBox="1"/>
          <p:nvPr/>
        </p:nvSpPr>
        <p:spPr>
          <a:xfrm rot="1705690">
            <a:off x="6833346" y="3398287"/>
            <a:ext cx="245405" cy="1269578"/>
          </a:xfrm>
          <a:prstGeom prst="rect">
            <a:avLst/>
          </a:prstGeom>
          <a:noFill/>
        </p:spPr>
        <p:txBody>
          <a:bodyPr wrap="square" lIns="0" tIns="0" rIns="0" bIns="0" rtlCol="0">
            <a:spAutoFit/>
          </a:bodyPr>
          <a:lstStyle/>
          <a:p>
            <a:r>
              <a:rPr lang="en-US" sz="800" dirty="0">
                <a:gradFill>
                  <a:gsLst>
                    <a:gs pos="0">
                      <a:srgbClr val="FFFFFF"/>
                    </a:gs>
                    <a:gs pos="86000">
                      <a:srgbClr val="FFFFFF"/>
                    </a:gs>
                  </a:gsLst>
                  <a:lin ang="5400000" scaled="0"/>
                </a:gradFill>
              </a:rPr>
              <a:t>1</a:t>
            </a:r>
          </a:p>
          <a:p>
            <a:r>
              <a:rPr lang="en-US" sz="800" dirty="0">
                <a:gradFill>
                  <a:gsLst>
                    <a:gs pos="0">
                      <a:srgbClr val="FFFFFF"/>
                    </a:gs>
                    <a:gs pos="86000">
                      <a:srgbClr val="FFFFFF"/>
                    </a:gs>
                  </a:gsLst>
                  <a:lin ang="5400000" scaled="0"/>
                </a:gradFill>
              </a:rPr>
              <a:t>0</a:t>
            </a:r>
          </a:p>
          <a:p>
            <a:r>
              <a:rPr lang="en-US" sz="800" dirty="0">
                <a:gradFill>
                  <a:gsLst>
                    <a:gs pos="0">
                      <a:srgbClr val="FFFFFF"/>
                    </a:gs>
                    <a:gs pos="86000">
                      <a:srgbClr val="FFFFFF"/>
                    </a:gs>
                  </a:gsLst>
                  <a:lin ang="5400000" scaled="0"/>
                </a:gradFill>
              </a:rPr>
              <a:t>11</a:t>
            </a:r>
          </a:p>
          <a:p>
            <a:r>
              <a:rPr lang="en-US" sz="800" dirty="0">
                <a:gradFill>
                  <a:gsLst>
                    <a:gs pos="0">
                      <a:srgbClr val="FFFFFF"/>
                    </a:gs>
                    <a:gs pos="86000">
                      <a:srgbClr val="FFFFFF"/>
                    </a:gs>
                  </a:gsLst>
                  <a:lin ang="5400000" scaled="0"/>
                </a:gradFill>
              </a:rPr>
              <a:t>10</a:t>
            </a:r>
            <a:br>
              <a:rPr lang="en-US" sz="800" dirty="0">
                <a:gradFill>
                  <a:gsLst>
                    <a:gs pos="0">
                      <a:srgbClr val="FFFFFF"/>
                    </a:gs>
                    <a:gs pos="86000">
                      <a:srgbClr val="FFFFFF"/>
                    </a:gs>
                  </a:gsLst>
                  <a:lin ang="5400000" scaled="0"/>
                </a:gradFill>
              </a:rPr>
            </a:br>
            <a:r>
              <a:rPr lang="en-US" sz="800" dirty="0">
                <a:gradFill>
                  <a:gsLst>
                    <a:gs pos="0">
                      <a:srgbClr val="FFFFFF"/>
                    </a:gs>
                    <a:gs pos="86000">
                      <a:srgbClr val="FFFFFF"/>
                    </a:gs>
                  </a:gsLst>
                  <a:lin ang="5400000" scaled="0"/>
                </a:gradFill>
              </a:rPr>
              <a:t>10</a:t>
            </a:r>
          </a:p>
          <a:p>
            <a:r>
              <a:rPr lang="en-US" sz="800" dirty="0">
                <a:gradFill>
                  <a:gsLst>
                    <a:gs pos="0">
                      <a:srgbClr val="FFFFFF"/>
                    </a:gs>
                    <a:gs pos="86000">
                      <a:srgbClr val="FFFFFF"/>
                    </a:gs>
                  </a:gsLst>
                  <a:lin ang="5400000" scaled="0"/>
                </a:gradFill>
              </a:rPr>
              <a:t>11</a:t>
            </a:r>
          </a:p>
          <a:p>
            <a:r>
              <a:rPr lang="en-US" sz="800" dirty="0">
                <a:gradFill>
                  <a:gsLst>
                    <a:gs pos="0">
                      <a:srgbClr val="FFFFFF"/>
                    </a:gs>
                    <a:gs pos="86000">
                      <a:srgbClr val="FFFFFF"/>
                    </a:gs>
                  </a:gsLst>
                  <a:lin ang="5400000" scaled="0"/>
                </a:gradFill>
              </a:rPr>
              <a:t>11</a:t>
            </a:r>
          </a:p>
          <a:p>
            <a:r>
              <a:rPr lang="en-US" sz="800" dirty="0">
                <a:gradFill>
                  <a:gsLst>
                    <a:gs pos="0">
                      <a:srgbClr val="FFFFFF"/>
                    </a:gs>
                    <a:gs pos="86000">
                      <a:srgbClr val="FFFFFF"/>
                    </a:gs>
                  </a:gsLst>
                  <a:lin ang="5400000" scaled="0"/>
                </a:gradFill>
              </a:rPr>
              <a:t>10</a:t>
            </a:r>
          </a:p>
          <a:p>
            <a:r>
              <a:rPr lang="en-US" sz="800" dirty="0">
                <a:gradFill>
                  <a:gsLst>
                    <a:gs pos="0">
                      <a:srgbClr val="FFFFFF"/>
                    </a:gs>
                    <a:gs pos="86000">
                      <a:srgbClr val="FFFFFF"/>
                    </a:gs>
                  </a:gsLst>
                  <a:lin ang="5400000" scaled="0"/>
                </a:gradFill>
              </a:rPr>
              <a:t>1</a:t>
            </a:r>
          </a:p>
          <a:p>
            <a:endParaRPr lang="en-US" sz="800" dirty="0">
              <a:gradFill>
                <a:gsLst>
                  <a:gs pos="0">
                    <a:srgbClr val="FFFFFF"/>
                  </a:gs>
                  <a:gs pos="86000">
                    <a:srgbClr val="FFFFFF"/>
                  </a:gs>
                </a:gsLst>
                <a:lin ang="5400000" scaled="0"/>
              </a:gradFill>
            </a:endParaRPr>
          </a:p>
        </p:txBody>
      </p:sp>
      <p:sp>
        <p:nvSpPr>
          <p:cNvPr id="44" name="TextBox 43"/>
          <p:cNvSpPr txBox="1"/>
          <p:nvPr/>
        </p:nvSpPr>
        <p:spPr>
          <a:xfrm rot="3835633">
            <a:off x="2933938" y="3787307"/>
            <a:ext cx="245342" cy="1269909"/>
          </a:xfrm>
          <a:prstGeom prst="rect">
            <a:avLst/>
          </a:prstGeom>
          <a:noFill/>
        </p:spPr>
        <p:txBody>
          <a:bodyPr wrap="square" lIns="0" tIns="0" rIns="0" bIns="0" rtlCol="0">
            <a:spAutoFit/>
          </a:bodyPr>
          <a:lstStyle/>
          <a:p>
            <a:r>
              <a:rPr lang="en-US" sz="800" dirty="0">
                <a:gradFill>
                  <a:gsLst>
                    <a:gs pos="0">
                      <a:srgbClr val="FFFFFF"/>
                    </a:gs>
                    <a:gs pos="86000">
                      <a:srgbClr val="FFFFFF"/>
                    </a:gs>
                  </a:gsLst>
                  <a:lin ang="5400000" scaled="0"/>
                </a:gradFill>
              </a:rPr>
              <a:t>1</a:t>
            </a:r>
          </a:p>
          <a:p>
            <a:r>
              <a:rPr lang="en-US" sz="800" dirty="0">
                <a:gradFill>
                  <a:gsLst>
                    <a:gs pos="0">
                      <a:srgbClr val="FFFFFF"/>
                    </a:gs>
                    <a:gs pos="86000">
                      <a:srgbClr val="FFFFFF"/>
                    </a:gs>
                  </a:gsLst>
                  <a:lin ang="5400000" scaled="0"/>
                </a:gradFill>
              </a:rPr>
              <a:t>0</a:t>
            </a:r>
          </a:p>
          <a:p>
            <a:r>
              <a:rPr lang="en-US" sz="800" dirty="0">
                <a:gradFill>
                  <a:gsLst>
                    <a:gs pos="0">
                      <a:srgbClr val="FFFFFF"/>
                    </a:gs>
                    <a:gs pos="86000">
                      <a:srgbClr val="FFFFFF"/>
                    </a:gs>
                  </a:gsLst>
                  <a:lin ang="5400000" scaled="0"/>
                </a:gradFill>
              </a:rPr>
              <a:t>11</a:t>
            </a:r>
          </a:p>
          <a:p>
            <a:r>
              <a:rPr lang="en-US" sz="800" dirty="0">
                <a:gradFill>
                  <a:gsLst>
                    <a:gs pos="0">
                      <a:srgbClr val="FFFFFF"/>
                    </a:gs>
                    <a:gs pos="86000">
                      <a:srgbClr val="FFFFFF"/>
                    </a:gs>
                  </a:gsLst>
                  <a:lin ang="5400000" scaled="0"/>
                </a:gradFill>
              </a:rPr>
              <a:t>10</a:t>
            </a:r>
            <a:br>
              <a:rPr lang="en-US" sz="800" dirty="0">
                <a:gradFill>
                  <a:gsLst>
                    <a:gs pos="0">
                      <a:srgbClr val="FFFFFF"/>
                    </a:gs>
                    <a:gs pos="86000">
                      <a:srgbClr val="FFFFFF"/>
                    </a:gs>
                  </a:gsLst>
                  <a:lin ang="5400000" scaled="0"/>
                </a:gradFill>
              </a:rPr>
            </a:br>
            <a:r>
              <a:rPr lang="en-US" sz="800" dirty="0">
                <a:gradFill>
                  <a:gsLst>
                    <a:gs pos="0">
                      <a:srgbClr val="FFFFFF"/>
                    </a:gs>
                    <a:gs pos="86000">
                      <a:srgbClr val="FFFFFF"/>
                    </a:gs>
                  </a:gsLst>
                  <a:lin ang="5400000" scaled="0"/>
                </a:gradFill>
              </a:rPr>
              <a:t>10</a:t>
            </a:r>
          </a:p>
          <a:p>
            <a:r>
              <a:rPr lang="en-US" sz="800" dirty="0">
                <a:gradFill>
                  <a:gsLst>
                    <a:gs pos="0">
                      <a:srgbClr val="FFFFFF"/>
                    </a:gs>
                    <a:gs pos="86000">
                      <a:srgbClr val="FFFFFF"/>
                    </a:gs>
                  </a:gsLst>
                  <a:lin ang="5400000" scaled="0"/>
                </a:gradFill>
              </a:rPr>
              <a:t>11</a:t>
            </a:r>
          </a:p>
          <a:p>
            <a:r>
              <a:rPr lang="en-US" sz="800" dirty="0">
                <a:gradFill>
                  <a:gsLst>
                    <a:gs pos="0">
                      <a:srgbClr val="FFFFFF"/>
                    </a:gs>
                    <a:gs pos="86000">
                      <a:srgbClr val="FFFFFF"/>
                    </a:gs>
                  </a:gsLst>
                  <a:lin ang="5400000" scaled="0"/>
                </a:gradFill>
              </a:rPr>
              <a:t>11</a:t>
            </a:r>
          </a:p>
          <a:p>
            <a:r>
              <a:rPr lang="en-US" sz="800" dirty="0">
                <a:gradFill>
                  <a:gsLst>
                    <a:gs pos="0">
                      <a:srgbClr val="FFFFFF"/>
                    </a:gs>
                    <a:gs pos="86000">
                      <a:srgbClr val="FFFFFF"/>
                    </a:gs>
                  </a:gsLst>
                  <a:lin ang="5400000" scaled="0"/>
                </a:gradFill>
              </a:rPr>
              <a:t>10</a:t>
            </a:r>
          </a:p>
          <a:p>
            <a:r>
              <a:rPr lang="en-US" sz="800" dirty="0">
                <a:gradFill>
                  <a:gsLst>
                    <a:gs pos="0">
                      <a:srgbClr val="FFFFFF"/>
                    </a:gs>
                    <a:gs pos="86000">
                      <a:srgbClr val="FFFFFF"/>
                    </a:gs>
                  </a:gsLst>
                  <a:lin ang="5400000" scaled="0"/>
                </a:gradFill>
              </a:rPr>
              <a:t>1</a:t>
            </a:r>
          </a:p>
          <a:p>
            <a:endParaRPr lang="en-US" sz="800" dirty="0">
              <a:gradFill>
                <a:gsLst>
                  <a:gs pos="0">
                    <a:srgbClr val="FFFFFF"/>
                  </a:gs>
                  <a:gs pos="86000">
                    <a:srgbClr val="FFFFFF"/>
                  </a:gs>
                </a:gsLst>
                <a:lin ang="5400000" scaled="0"/>
              </a:gradFill>
            </a:endParaRPr>
          </a:p>
        </p:txBody>
      </p:sp>
      <p:sp>
        <p:nvSpPr>
          <p:cNvPr id="46" name="Flowchart: Magnetic Disk 45"/>
          <p:cNvSpPr/>
          <p:nvPr/>
        </p:nvSpPr>
        <p:spPr bwMode="auto">
          <a:xfrm>
            <a:off x="2630286" y="4504072"/>
            <a:ext cx="208398" cy="228497"/>
          </a:xfrm>
          <a:prstGeom prst="flowChartMagneticDisk">
            <a:avLst/>
          </a:prstGeom>
          <a:solidFill>
            <a:srgbClr val="FFC00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49" name="Flowchart: Magnetic Disk 48"/>
          <p:cNvSpPr/>
          <p:nvPr/>
        </p:nvSpPr>
        <p:spPr bwMode="auto">
          <a:xfrm>
            <a:off x="7529665" y="3507526"/>
            <a:ext cx="274352" cy="290492"/>
          </a:xfrm>
          <a:prstGeom prst="flowChartMagneticDisk">
            <a:avLst/>
          </a:prstGeom>
          <a:solidFill>
            <a:srgbClr val="FFC00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58" name="Cloud 57"/>
          <p:cNvSpPr/>
          <p:nvPr/>
        </p:nvSpPr>
        <p:spPr>
          <a:xfrm>
            <a:off x="3052627" y="661134"/>
            <a:ext cx="2533075" cy="1498398"/>
          </a:xfrm>
          <a:prstGeom prst="cloud">
            <a:avLst/>
          </a:prstGeom>
          <a:solidFill>
            <a:schemeClr val="bg2"/>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endParaRPr lang="en-US" dirty="0">
              <a:solidFill>
                <a:srgbClr val="FFFFFF"/>
              </a:solidFill>
            </a:endParaRPr>
          </a:p>
        </p:txBody>
      </p:sp>
      <p:grpSp>
        <p:nvGrpSpPr>
          <p:cNvPr id="48" name="Group 47"/>
          <p:cNvGrpSpPr/>
          <p:nvPr/>
        </p:nvGrpSpPr>
        <p:grpSpPr>
          <a:xfrm>
            <a:off x="3868030" y="1441207"/>
            <a:ext cx="902269" cy="365930"/>
            <a:chOff x="6551611" y="914400"/>
            <a:chExt cx="1481251" cy="797235"/>
          </a:xfrm>
        </p:grpSpPr>
        <p:grpSp>
          <p:nvGrpSpPr>
            <p:cNvPr id="50" name="Group 49"/>
            <p:cNvGrpSpPr/>
            <p:nvPr/>
          </p:nvGrpSpPr>
          <p:grpSpPr>
            <a:xfrm>
              <a:off x="6551611" y="914400"/>
              <a:ext cx="1481251" cy="797235"/>
              <a:chOff x="4799012" y="4876799"/>
              <a:chExt cx="609600" cy="304801"/>
            </a:xfrm>
          </p:grpSpPr>
          <p:sp>
            <p:nvSpPr>
              <p:cNvPr id="53" name="Rounded Rectangle 52"/>
              <p:cNvSpPr/>
              <p:nvPr/>
            </p:nvSpPr>
            <p:spPr bwMode="auto">
              <a:xfrm>
                <a:off x="4799012" y="4876799"/>
                <a:ext cx="609600" cy="304801"/>
              </a:xfrm>
              <a:prstGeom prst="round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ea typeface="Segoe UI" pitchFamily="34" charset="0"/>
                  <a:cs typeface="Segoe UI" pitchFamily="34" charset="0"/>
                </a:endParaRPr>
              </a:p>
            </p:txBody>
          </p:sp>
          <p:sp>
            <p:nvSpPr>
              <p:cNvPr id="54" name="Rectangle 53"/>
              <p:cNvSpPr/>
              <p:nvPr/>
            </p:nvSpPr>
            <p:spPr bwMode="auto">
              <a:xfrm>
                <a:off x="4838698" y="4934119"/>
                <a:ext cx="114300" cy="30079"/>
              </a:xfrm>
              <a:prstGeom prst="rect">
                <a:avLst/>
              </a:prstGeom>
              <a:solidFill>
                <a:schemeClr val="accent1">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ea typeface="Segoe UI" pitchFamily="34" charset="0"/>
                  <a:cs typeface="Segoe UI" pitchFamily="34" charset="0"/>
                </a:endParaRPr>
              </a:p>
            </p:txBody>
          </p:sp>
          <p:sp>
            <p:nvSpPr>
              <p:cNvPr id="55" name="Rectangle 54"/>
              <p:cNvSpPr/>
              <p:nvPr/>
            </p:nvSpPr>
            <p:spPr bwMode="auto">
              <a:xfrm>
                <a:off x="5049890" y="4934119"/>
                <a:ext cx="319036" cy="30079"/>
              </a:xfrm>
              <a:prstGeom prst="rect">
                <a:avLst/>
              </a:prstGeom>
              <a:solidFill>
                <a:schemeClr val="accent1">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ea typeface="Segoe UI" pitchFamily="34" charset="0"/>
                  <a:cs typeface="Segoe UI" pitchFamily="34" charset="0"/>
                </a:endParaRPr>
              </a:p>
            </p:txBody>
          </p:sp>
          <p:sp>
            <p:nvSpPr>
              <p:cNvPr id="56" name="Rectangle 55"/>
              <p:cNvSpPr/>
              <p:nvPr/>
            </p:nvSpPr>
            <p:spPr bwMode="auto">
              <a:xfrm>
                <a:off x="4838700" y="5080015"/>
                <a:ext cx="265112" cy="22859"/>
              </a:xfrm>
              <a:prstGeom prst="rect">
                <a:avLst/>
              </a:prstGeom>
              <a:solidFill>
                <a:schemeClr val="accent1">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ea typeface="Segoe UI" pitchFamily="34" charset="0"/>
                  <a:cs typeface="Segoe UI" pitchFamily="34" charset="0"/>
                </a:endParaRPr>
              </a:p>
            </p:txBody>
          </p:sp>
          <p:sp>
            <p:nvSpPr>
              <p:cNvPr id="57" name="Rectangle 56"/>
              <p:cNvSpPr/>
              <p:nvPr/>
            </p:nvSpPr>
            <p:spPr bwMode="auto">
              <a:xfrm>
                <a:off x="4838699" y="5124917"/>
                <a:ext cx="265113" cy="22859"/>
              </a:xfrm>
              <a:prstGeom prst="rect">
                <a:avLst/>
              </a:prstGeom>
              <a:solidFill>
                <a:schemeClr val="accent1">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ea typeface="Segoe UI" pitchFamily="34" charset="0"/>
                  <a:cs typeface="Segoe UI" pitchFamily="34" charset="0"/>
                </a:endParaRPr>
              </a:p>
            </p:txBody>
          </p:sp>
        </p:grpSp>
        <p:sp>
          <p:nvSpPr>
            <p:cNvPr id="51" name="Rectangle 50"/>
            <p:cNvSpPr/>
            <p:nvPr/>
          </p:nvSpPr>
          <p:spPr bwMode="auto">
            <a:xfrm>
              <a:off x="7313611" y="1443689"/>
              <a:ext cx="644189" cy="59791"/>
            </a:xfrm>
            <a:prstGeom prst="rect">
              <a:avLst/>
            </a:prstGeom>
            <a:solidFill>
              <a:schemeClr val="accent1">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ea typeface="Segoe UI" pitchFamily="34" charset="0"/>
                <a:cs typeface="Segoe UI" pitchFamily="34" charset="0"/>
              </a:endParaRPr>
            </a:p>
          </p:txBody>
        </p:sp>
        <p:sp>
          <p:nvSpPr>
            <p:cNvPr id="52" name="Rectangle 51"/>
            <p:cNvSpPr/>
            <p:nvPr/>
          </p:nvSpPr>
          <p:spPr bwMode="auto">
            <a:xfrm>
              <a:off x="7313612" y="1563374"/>
              <a:ext cx="644189" cy="59793"/>
            </a:xfrm>
            <a:prstGeom prst="rect">
              <a:avLst/>
            </a:prstGeom>
            <a:solidFill>
              <a:schemeClr val="accent1">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ea typeface="Segoe UI" pitchFamily="34" charset="0"/>
                <a:cs typeface="Segoe UI" pitchFamily="34" charset="0"/>
              </a:endParaRPr>
            </a:p>
          </p:txBody>
        </p:sp>
      </p:grpSp>
      <p:grpSp>
        <p:nvGrpSpPr>
          <p:cNvPr id="59" name="Group 58"/>
          <p:cNvGrpSpPr/>
          <p:nvPr/>
        </p:nvGrpSpPr>
        <p:grpSpPr>
          <a:xfrm>
            <a:off x="3637221" y="1049806"/>
            <a:ext cx="647676" cy="262676"/>
            <a:chOff x="6551611" y="914400"/>
            <a:chExt cx="1481251" cy="797235"/>
          </a:xfrm>
        </p:grpSpPr>
        <p:grpSp>
          <p:nvGrpSpPr>
            <p:cNvPr id="60" name="Group 59"/>
            <p:cNvGrpSpPr/>
            <p:nvPr/>
          </p:nvGrpSpPr>
          <p:grpSpPr>
            <a:xfrm>
              <a:off x="6551611" y="914400"/>
              <a:ext cx="1481251" cy="797235"/>
              <a:chOff x="4799012" y="4876799"/>
              <a:chExt cx="609600" cy="304801"/>
            </a:xfrm>
          </p:grpSpPr>
          <p:sp>
            <p:nvSpPr>
              <p:cNvPr id="63" name="Rounded Rectangle 62"/>
              <p:cNvSpPr/>
              <p:nvPr/>
            </p:nvSpPr>
            <p:spPr bwMode="auto">
              <a:xfrm>
                <a:off x="4799012" y="4876799"/>
                <a:ext cx="609600" cy="304801"/>
              </a:xfrm>
              <a:prstGeom prst="round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ea typeface="Segoe UI" pitchFamily="34" charset="0"/>
                  <a:cs typeface="Segoe UI" pitchFamily="34" charset="0"/>
                </a:endParaRPr>
              </a:p>
            </p:txBody>
          </p:sp>
          <p:sp>
            <p:nvSpPr>
              <p:cNvPr id="64" name="Rectangle 63"/>
              <p:cNvSpPr/>
              <p:nvPr/>
            </p:nvSpPr>
            <p:spPr bwMode="auto">
              <a:xfrm>
                <a:off x="4838698" y="4934119"/>
                <a:ext cx="114300" cy="30079"/>
              </a:xfrm>
              <a:prstGeom prst="rect">
                <a:avLst/>
              </a:prstGeom>
              <a:solidFill>
                <a:schemeClr val="accent1">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ea typeface="Segoe UI" pitchFamily="34" charset="0"/>
                  <a:cs typeface="Segoe UI" pitchFamily="34" charset="0"/>
                </a:endParaRPr>
              </a:p>
            </p:txBody>
          </p:sp>
          <p:sp>
            <p:nvSpPr>
              <p:cNvPr id="65" name="Rectangle 64"/>
              <p:cNvSpPr/>
              <p:nvPr/>
            </p:nvSpPr>
            <p:spPr bwMode="auto">
              <a:xfrm>
                <a:off x="5049890" y="4934119"/>
                <a:ext cx="319036" cy="30079"/>
              </a:xfrm>
              <a:prstGeom prst="rect">
                <a:avLst/>
              </a:prstGeom>
              <a:solidFill>
                <a:schemeClr val="accent1">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ea typeface="Segoe UI" pitchFamily="34" charset="0"/>
                  <a:cs typeface="Segoe UI" pitchFamily="34" charset="0"/>
                </a:endParaRPr>
              </a:p>
            </p:txBody>
          </p:sp>
          <p:sp>
            <p:nvSpPr>
              <p:cNvPr id="66" name="Rectangle 65"/>
              <p:cNvSpPr/>
              <p:nvPr/>
            </p:nvSpPr>
            <p:spPr bwMode="auto">
              <a:xfrm>
                <a:off x="4838700" y="5080015"/>
                <a:ext cx="265112" cy="22859"/>
              </a:xfrm>
              <a:prstGeom prst="rect">
                <a:avLst/>
              </a:prstGeom>
              <a:solidFill>
                <a:schemeClr val="accent1">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ea typeface="Segoe UI" pitchFamily="34" charset="0"/>
                  <a:cs typeface="Segoe UI" pitchFamily="34" charset="0"/>
                </a:endParaRPr>
              </a:p>
            </p:txBody>
          </p:sp>
          <p:sp>
            <p:nvSpPr>
              <p:cNvPr id="67" name="Rectangle 66"/>
              <p:cNvSpPr/>
              <p:nvPr/>
            </p:nvSpPr>
            <p:spPr bwMode="auto">
              <a:xfrm>
                <a:off x="4838699" y="5124917"/>
                <a:ext cx="265113" cy="22859"/>
              </a:xfrm>
              <a:prstGeom prst="rect">
                <a:avLst/>
              </a:prstGeom>
              <a:solidFill>
                <a:schemeClr val="accent1">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ea typeface="Segoe UI" pitchFamily="34" charset="0"/>
                  <a:cs typeface="Segoe UI" pitchFamily="34" charset="0"/>
                </a:endParaRPr>
              </a:p>
            </p:txBody>
          </p:sp>
        </p:grpSp>
        <p:sp>
          <p:nvSpPr>
            <p:cNvPr id="61" name="Rectangle 60"/>
            <p:cNvSpPr/>
            <p:nvPr/>
          </p:nvSpPr>
          <p:spPr bwMode="auto">
            <a:xfrm>
              <a:off x="7313611" y="1443689"/>
              <a:ext cx="644189" cy="59791"/>
            </a:xfrm>
            <a:prstGeom prst="rect">
              <a:avLst/>
            </a:prstGeom>
            <a:solidFill>
              <a:schemeClr val="accent1">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ea typeface="Segoe UI" pitchFamily="34" charset="0"/>
                <a:cs typeface="Segoe UI" pitchFamily="34" charset="0"/>
              </a:endParaRPr>
            </a:p>
          </p:txBody>
        </p:sp>
        <p:sp>
          <p:nvSpPr>
            <p:cNvPr id="62" name="Rectangle 61"/>
            <p:cNvSpPr/>
            <p:nvPr/>
          </p:nvSpPr>
          <p:spPr bwMode="auto">
            <a:xfrm>
              <a:off x="7313612" y="1563374"/>
              <a:ext cx="644189" cy="59793"/>
            </a:xfrm>
            <a:prstGeom prst="rect">
              <a:avLst/>
            </a:prstGeom>
            <a:solidFill>
              <a:schemeClr val="accent1">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ea typeface="Segoe UI" pitchFamily="34" charset="0"/>
                <a:cs typeface="Segoe UI" pitchFamily="34" charset="0"/>
              </a:endParaRPr>
            </a:p>
          </p:txBody>
        </p:sp>
      </p:grpSp>
      <p:grpSp>
        <p:nvGrpSpPr>
          <p:cNvPr id="68" name="Group 67"/>
          <p:cNvGrpSpPr/>
          <p:nvPr/>
        </p:nvGrpSpPr>
        <p:grpSpPr>
          <a:xfrm>
            <a:off x="4446460" y="993790"/>
            <a:ext cx="647676" cy="262676"/>
            <a:chOff x="6551611" y="914400"/>
            <a:chExt cx="1481251" cy="797235"/>
          </a:xfrm>
        </p:grpSpPr>
        <p:grpSp>
          <p:nvGrpSpPr>
            <p:cNvPr id="69" name="Group 68"/>
            <p:cNvGrpSpPr/>
            <p:nvPr/>
          </p:nvGrpSpPr>
          <p:grpSpPr>
            <a:xfrm>
              <a:off x="6551611" y="914400"/>
              <a:ext cx="1481251" cy="797235"/>
              <a:chOff x="4799012" y="4876799"/>
              <a:chExt cx="609600" cy="304801"/>
            </a:xfrm>
          </p:grpSpPr>
          <p:sp>
            <p:nvSpPr>
              <p:cNvPr id="72" name="Rounded Rectangle 71"/>
              <p:cNvSpPr/>
              <p:nvPr/>
            </p:nvSpPr>
            <p:spPr bwMode="auto">
              <a:xfrm>
                <a:off x="4799012" y="4876799"/>
                <a:ext cx="609600" cy="304801"/>
              </a:xfrm>
              <a:prstGeom prst="round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ea typeface="Segoe UI" pitchFamily="34" charset="0"/>
                  <a:cs typeface="Segoe UI" pitchFamily="34" charset="0"/>
                </a:endParaRPr>
              </a:p>
            </p:txBody>
          </p:sp>
          <p:sp>
            <p:nvSpPr>
              <p:cNvPr id="73" name="Rectangle 72"/>
              <p:cNvSpPr/>
              <p:nvPr/>
            </p:nvSpPr>
            <p:spPr bwMode="auto">
              <a:xfrm>
                <a:off x="4838698" y="4934119"/>
                <a:ext cx="114300" cy="30079"/>
              </a:xfrm>
              <a:prstGeom prst="rect">
                <a:avLst/>
              </a:prstGeom>
              <a:solidFill>
                <a:schemeClr val="accent1">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ea typeface="Segoe UI" pitchFamily="34" charset="0"/>
                  <a:cs typeface="Segoe UI" pitchFamily="34" charset="0"/>
                </a:endParaRPr>
              </a:p>
            </p:txBody>
          </p:sp>
          <p:sp>
            <p:nvSpPr>
              <p:cNvPr id="74" name="Rectangle 73"/>
              <p:cNvSpPr/>
              <p:nvPr/>
            </p:nvSpPr>
            <p:spPr bwMode="auto">
              <a:xfrm>
                <a:off x="5049890" y="4934119"/>
                <a:ext cx="319036" cy="30079"/>
              </a:xfrm>
              <a:prstGeom prst="rect">
                <a:avLst/>
              </a:prstGeom>
              <a:solidFill>
                <a:schemeClr val="accent1">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ea typeface="Segoe UI" pitchFamily="34" charset="0"/>
                  <a:cs typeface="Segoe UI" pitchFamily="34" charset="0"/>
                </a:endParaRPr>
              </a:p>
            </p:txBody>
          </p:sp>
          <p:sp>
            <p:nvSpPr>
              <p:cNvPr id="75" name="Rectangle 74"/>
              <p:cNvSpPr/>
              <p:nvPr/>
            </p:nvSpPr>
            <p:spPr bwMode="auto">
              <a:xfrm>
                <a:off x="4838700" y="5080015"/>
                <a:ext cx="265112" cy="22859"/>
              </a:xfrm>
              <a:prstGeom prst="rect">
                <a:avLst/>
              </a:prstGeom>
              <a:solidFill>
                <a:schemeClr val="accent1">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ea typeface="Segoe UI" pitchFamily="34" charset="0"/>
                  <a:cs typeface="Segoe UI" pitchFamily="34" charset="0"/>
                </a:endParaRPr>
              </a:p>
            </p:txBody>
          </p:sp>
          <p:sp>
            <p:nvSpPr>
              <p:cNvPr id="76" name="Rectangle 75"/>
              <p:cNvSpPr/>
              <p:nvPr/>
            </p:nvSpPr>
            <p:spPr bwMode="auto">
              <a:xfrm>
                <a:off x="4838699" y="5124917"/>
                <a:ext cx="265113" cy="22859"/>
              </a:xfrm>
              <a:prstGeom prst="rect">
                <a:avLst/>
              </a:prstGeom>
              <a:solidFill>
                <a:schemeClr val="accent1">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ea typeface="Segoe UI" pitchFamily="34" charset="0"/>
                  <a:cs typeface="Segoe UI" pitchFamily="34" charset="0"/>
                </a:endParaRPr>
              </a:p>
            </p:txBody>
          </p:sp>
        </p:grpSp>
        <p:sp>
          <p:nvSpPr>
            <p:cNvPr id="70" name="Rectangle 69"/>
            <p:cNvSpPr/>
            <p:nvPr/>
          </p:nvSpPr>
          <p:spPr bwMode="auto">
            <a:xfrm>
              <a:off x="7313611" y="1443689"/>
              <a:ext cx="644189" cy="59791"/>
            </a:xfrm>
            <a:prstGeom prst="rect">
              <a:avLst/>
            </a:prstGeom>
            <a:solidFill>
              <a:schemeClr val="accent1">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ea typeface="Segoe UI" pitchFamily="34" charset="0"/>
                <a:cs typeface="Segoe UI" pitchFamily="34" charset="0"/>
              </a:endParaRPr>
            </a:p>
          </p:txBody>
        </p:sp>
        <p:sp>
          <p:nvSpPr>
            <p:cNvPr id="71" name="Rectangle 70"/>
            <p:cNvSpPr/>
            <p:nvPr/>
          </p:nvSpPr>
          <p:spPr bwMode="auto">
            <a:xfrm>
              <a:off x="7313612" y="1563374"/>
              <a:ext cx="644189" cy="59793"/>
            </a:xfrm>
            <a:prstGeom prst="rect">
              <a:avLst/>
            </a:prstGeom>
            <a:solidFill>
              <a:schemeClr val="accent1">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ea typeface="Segoe UI" pitchFamily="34" charset="0"/>
                <a:cs typeface="Segoe UI" pitchFamily="34" charset="0"/>
              </a:endParaRPr>
            </a:p>
          </p:txBody>
        </p:sp>
      </p:grpSp>
      <p:pic>
        <p:nvPicPr>
          <p:cNvPr id="86" name="Picture 8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93937" y="3984485"/>
            <a:ext cx="981951" cy="781385"/>
          </a:xfrm>
          <a:prstGeom prst="rect">
            <a:avLst/>
          </a:prstGeom>
          <a:solidFill>
            <a:schemeClr val="bg2"/>
          </a:solidFill>
        </p:spPr>
      </p:pic>
      <p:pic>
        <p:nvPicPr>
          <p:cNvPr id="87" name="Picture 8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316861" y="3921883"/>
            <a:ext cx="558185" cy="444174"/>
          </a:xfrm>
          <a:prstGeom prst="rect">
            <a:avLst/>
          </a:prstGeom>
          <a:solidFill>
            <a:schemeClr val="bg2"/>
          </a:solidFill>
        </p:spPr>
      </p:pic>
      <p:sp>
        <p:nvSpPr>
          <p:cNvPr id="47" name="Flowchart: Magnetic Disk 46"/>
          <p:cNvSpPr/>
          <p:nvPr/>
        </p:nvSpPr>
        <p:spPr bwMode="auto">
          <a:xfrm>
            <a:off x="3747783" y="4178674"/>
            <a:ext cx="122016" cy="133784"/>
          </a:xfrm>
          <a:prstGeom prst="flowChartMagneticDisk">
            <a:avLst/>
          </a:prstGeom>
          <a:solidFill>
            <a:srgbClr val="FFC00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pic>
        <p:nvPicPr>
          <p:cNvPr id="88" name="Picture 8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29530" y="3327273"/>
            <a:ext cx="430966" cy="342940"/>
          </a:xfrm>
          <a:prstGeom prst="rect">
            <a:avLst/>
          </a:prstGeom>
          <a:solidFill>
            <a:schemeClr val="bg2"/>
          </a:solidFill>
        </p:spPr>
      </p:pic>
      <p:sp>
        <p:nvSpPr>
          <p:cNvPr id="45" name="Flowchart: Magnetic Disk 44"/>
          <p:cNvSpPr/>
          <p:nvPr/>
        </p:nvSpPr>
        <p:spPr bwMode="auto">
          <a:xfrm>
            <a:off x="3052627" y="3575126"/>
            <a:ext cx="173447" cy="190175"/>
          </a:xfrm>
          <a:prstGeom prst="flowChartMagneticDisk">
            <a:avLst/>
          </a:prstGeom>
          <a:solidFill>
            <a:srgbClr val="FFC00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pic>
        <p:nvPicPr>
          <p:cNvPr id="89" name="Picture 8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63707" y="3403656"/>
            <a:ext cx="430966" cy="342940"/>
          </a:xfrm>
          <a:prstGeom prst="rect">
            <a:avLst/>
          </a:prstGeom>
          <a:solidFill>
            <a:schemeClr val="bg2"/>
          </a:solidFill>
        </p:spPr>
      </p:pic>
      <p:pic>
        <p:nvPicPr>
          <p:cNvPr id="90" name="Picture 8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559894" y="3899066"/>
            <a:ext cx="558185" cy="444174"/>
          </a:xfrm>
          <a:prstGeom prst="rect">
            <a:avLst/>
          </a:prstGeom>
          <a:solidFill>
            <a:schemeClr val="bg2"/>
          </a:solidFill>
        </p:spPr>
      </p:pic>
      <p:pic>
        <p:nvPicPr>
          <p:cNvPr id="91" name="Picture 9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393783" y="4030061"/>
            <a:ext cx="981951" cy="781385"/>
          </a:xfrm>
          <a:prstGeom prst="rect">
            <a:avLst/>
          </a:prstGeom>
          <a:solidFill>
            <a:schemeClr val="bg2"/>
          </a:solidFill>
        </p:spPr>
      </p:pic>
      <p:sp>
        <p:nvSpPr>
          <p:cNvPr id="92"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93"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pic>
        <p:nvPicPr>
          <p:cNvPr id="94"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8260652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xit" presetSubtype="10" fill="hold" grpId="0" nodeType="clickEffect">
                                  <p:stCondLst>
                                    <p:cond delay="0"/>
                                  </p:stCondLst>
                                  <p:childTnLst>
                                    <p:animEffect transition="out" filter="randombar(horizontal)">
                                      <p:cBhvr>
                                        <p:cTn id="6" dur="500"/>
                                        <p:tgtEl>
                                          <p:spTgt spid="33"/>
                                        </p:tgtEl>
                                      </p:cBhvr>
                                    </p:animEffect>
                                    <p:set>
                                      <p:cBhvr>
                                        <p:cTn id="7" dur="1" fill="hold">
                                          <p:stCondLst>
                                            <p:cond delay="499"/>
                                          </p:stCondLst>
                                        </p:cTn>
                                        <p:tgtEl>
                                          <p:spTgt spid="33"/>
                                        </p:tgtEl>
                                        <p:attrNameLst>
                                          <p:attrName>style.visibility</p:attrName>
                                        </p:attrNameLst>
                                      </p:cBhvr>
                                      <p:to>
                                        <p:strVal val="hidden"/>
                                      </p:to>
                                    </p:set>
                                  </p:childTnLst>
                                </p:cTn>
                              </p:par>
                              <p:par>
                                <p:cTn id="8" presetID="14" presetClass="exit" presetSubtype="10" fill="hold" grpId="0" nodeType="withEffect">
                                  <p:stCondLst>
                                    <p:cond delay="0"/>
                                  </p:stCondLst>
                                  <p:childTnLst>
                                    <p:animEffect transition="out" filter="randombar(horizontal)">
                                      <p:cBhvr>
                                        <p:cTn id="9" dur="500"/>
                                        <p:tgtEl>
                                          <p:spTgt spid="32"/>
                                        </p:tgtEl>
                                      </p:cBhvr>
                                    </p:animEffect>
                                    <p:set>
                                      <p:cBhvr>
                                        <p:cTn id="10" dur="1" fill="hold">
                                          <p:stCondLst>
                                            <p:cond delay="499"/>
                                          </p:stCondLst>
                                        </p:cTn>
                                        <p:tgtEl>
                                          <p:spTgt spid="32"/>
                                        </p:tgtEl>
                                        <p:attrNameLst>
                                          <p:attrName>style.visibility</p:attrName>
                                        </p:attrNameLst>
                                      </p:cBhvr>
                                      <p:to>
                                        <p:strVal val="hidden"/>
                                      </p:to>
                                    </p:set>
                                  </p:childTnLst>
                                </p:cTn>
                              </p:par>
                              <p:par>
                                <p:cTn id="11" presetID="14" presetClass="exit" presetSubtype="10" fill="hold" grpId="0" nodeType="withEffect">
                                  <p:stCondLst>
                                    <p:cond delay="0"/>
                                  </p:stCondLst>
                                  <p:childTnLst>
                                    <p:animEffect transition="out" filter="randombar(horizontal)">
                                      <p:cBhvr>
                                        <p:cTn id="12" dur="500"/>
                                        <p:tgtEl>
                                          <p:spTgt spid="31"/>
                                        </p:tgtEl>
                                      </p:cBhvr>
                                    </p:animEffect>
                                    <p:set>
                                      <p:cBhvr>
                                        <p:cTn id="13" dur="1" fill="hold">
                                          <p:stCondLst>
                                            <p:cond delay="499"/>
                                          </p:stCondLst>
                                        </p:cTn>
                                        <p:tgtEl>
                                          <p:spTgt spid="31"/>
                                        </p:tgtEl>
                                        <p:attrNameLst>
                                          <p:attrName>style.visibility</p:attrName>
                                        </p:attrNameLst>
                                      </p:cBhvr>
                                      <p:to>
                                        <p:strVal val="hidden"/>
                                      </p:to>
                                    </p:set>
                                  </p:childTnLst>
                                </p:cTn>
                              </p:par>
                              <p:par>
                                <p:cTn id="14" presetID="14" presetClass="exit" presetSubtype="10" fill="hold" grpId="0" nodeType="withEffect">
                                  <p:stCondLst>
                                    <p:cond delay="0"/>
                                  </p:stCondLst>
                                  <p:childTnLst>
                                    <p:animEffect transition="out" filter="randombar(horizontal)">
                                      <p:cBhvr>
                                        <p:cTn id="15" dur="500"/>
                                        <p:tgtEl>
                                          <p:spTgt spid="26"/>
                                        </p:tgtEl>
                                      </p:cBhvr>
                                    </p:animEffect>
                                    <p:set>
                                      <p:cBhvr>
                                        <p:cTn id="16" dur="1" fill="hold">
                                          <p:stCondLst>
                                            <p:cond delay="499"/>
                                          </p:stCondLst>
                                        </p:cTn>
                                        <p:tgtEl>
                                          <p:spTgt spid="26"/>
                                        </p:tgtEl>
                                        <p:attrNameLst>
                                          <p:attrName>style.visibility</p:attrName>
                                        </p:attrNameLst>
                                      </p:cBhvr>
                                      <p:to>
                                        <p:strVal val="hidden"/>
                                      </p:to>
                                    </p:set>
                                  </p:childTnLst>
                                </p:cTn>
                              </p:par>
                              <p:par>
                                <p:cTn id="17" presetID="14" presetClass="exit" presetSubtype="10" fill="hold" grpId="0" nodeType="withEffect">
                                  <p:stCondLst>
                                    <p:cond delay="0"/>
                                  </p:stCondLst>
                                  <p:childTnLst>
                                    <p:animEffect transition="out" filter="randombar(horizontal)">
                                      <p:cBhvr>
                                        <p:cTn id="18" dur="500"/>
                                        <p:tgtEl>
                                          <p:spTgt spid="25"/>
                                        </p:tgtEl>
                                      </p:cBhvr>
                                    </p:animEffect>
                                    <p:set>
                                      <p:cBhvr>
                                        <p:cTn id="19" dur="1" fill="hold">
                                          <p:stCondLst>
                                            <p:cond delay="499"/>
                                          </p:stCondLst>
                                        </p:cTn>
                                        <p:tgtEl>
                                          <p:spTgt spid="25"/>
                                        </p:tgtEl>
                                        <p:attrNameLst>
                                          <p:attrName>style.visibility</p:attrName>
                                        </p:attrNameLst>
                                      </p:cBhvr>
                                      <p:to>
                                        <p:strVal val="hidden"/>
                                      </p:to>
                                    </p:set>
                                  </p:childTnLst>
                                </p:cTn>
                              </p:par>
                              <p:par>
                                <p:cTn id="20" presetID="14" presetClass="exit" presetSubtype="10" fill="hold" grpId="0" nodeType="withEffect">
                                  <p:stCondLst>
                                    <p:cond delay="0"/>
                                  </p:stCondLst>
                                  <p:childTnLst>
                                    <p:animEffect transition="out" filter="randombar(horizontal)">
                                      <p:cBhvr>
                                        <p:cTn id="21" dur="500"/>
                                        <p:tgtEl>
                                          <p:spTgt spid="24"/>
                                        </p:tgtEl>
                                      </p:cBhvr>
                                    </p:animEffect>
                                    <p:set>
                                      <p:cBhvr>
                                        <p:cTn id="22" dur="1" fill="hold">
                                          <p:stCondLst>
                                            <p:cond delay="499"/>
                                          </p:stCondLst>
                                        </p:cTn>
                                        <p:tgtEl>
                                          <p:spTgt spid="24"/>
                                        </p:tgtEl>
                                        <p:attrNameLst>
                                          <p:attrName>style.visibility</p:attrName>
                                        </p:attrNameLst>
                                      </p:cBhvr>
                                      <p:to>
                                        <p:strVal val="hidden"/>
                                      </p:to>
                                    </p:set>
                                  </p:childTnLst>
                                </p:cTn>
                              </p:par>
                              <p:par>
                                <p:cTn id="23" presetID="14" presetClass="exit" presetSubtype="10" fill="hold" grpId="0" nodeType="withEffect">
                                  <p:stCondLst>
                                    <p:cond delay="0"/>
                                  </p:stCondLst>
                                  <p:childTnLst>
                                    <p:animEffect transition="out" filter="randombar(horizontal)">
                                      <p:cBhvr>
                                        <p:cTn id="24" dur="500"/>
                                        <p:tgtEl>
                                          <p:spTgt spid="23"/>
                                        </p:tgtEl>
                                      </p:cBhvr>
                                    </p:animEffect>
                                    <p:set>
                                      <p:cBhvr>
                                        <p:cTn id="25" dur="1" fill="hold">
                                          <p:stCondLst>
                                            <p:cond delay="499"/>
                                          </p:stCondLst>
                                        </p:cTn>
                                        <p:tgtEl>
                                          <p:spTgt spid="23"/>
                                        </p:tgtEl>
                                        <p:attrNameLst>
                                          <p:attrName>style.visibility</p:attrName>
                                        </p:attrNameLst>
                                      </p:cBhvr>
                                      <p:to>
                                        <p:strVal val="hidden"/>
                                      </p:to>
                                    </p:set>
                                  </p:childTnLst>
                                </p:cTn>
                              </p:par>
                              <p:par>
                                <p:cTn id="26" presetID="14" presetClass="exit" presetSubtype="10" fill="hold" grpId="0" nodeType="withEffect">
                                  <p:stCondLst>
                                    <p:cond delay="0"/>
                                  </p:stCondLst>
                                  <p:childTnLst>
                                    <p:animEffect transition="out" filter="randombar(horizontal)">
                                      <p:cBhvr>
                                        <p:cTn id="27" dur="500"/>
                                        <p:tgtEl>
                                          <p:spTgt spid="22"/>
                                        </p:tgtEl>
                                      </p:cBhvr>
                                    </p:animEffect>
                                    <p:set>
                                      <p:cBhvr>
                                        <p:cTn id="28" dur="1" fill="hold">
                                          <p:stCondLst>
                                            <p:cond delay="499"/>
                                          </p:stCondLst>
                                        </p:cTn>
                                        <p:tgtEl>
                                          <p:spTgt spid="22"/>
                                        </p:tgtEl>
                                        <p:attrNameLst>
                                          <p:attrName>style.visibility</p:attrName>
                                        </p:attrNameLst>
                                      </p:cBhvr>
                                      <p:to>
                                        <p:strVal val="hidden"/>
                                      </p:to>
                                    </p:set>
                                  </p:childTnLst>
                                </p:cTn>
                              </p:par>
                              <p:par>
                                <p:cTn id="29" presetID="14" presetClass="exit" presetSubtype="10" fill="hold" grpId="0" nodeType="withEffect">
                                  <p:stCondLst>
                                    <p:cond delay="0"/>
                                  </p:stCondLst>
                                  <p:childTnLst>
                                    <p:animEffect transition="out" filter="randombar(horizontal)">
                                      <p:cBhvr>
                                        <p:cTn id="30" dur="500"/>
                                        <p:tgtEl>
                                          <p:spTgt spid="21"/>
                                        </p:tgtEl>
                                      </p:cBhvr>
                                    </p:animEffect>
                                    <p:set>
                                      <p:cBhvr>
                                        <p:cTn id="31" dur="1" fill="hold">
                                          <p:stCondLst>
                                            <p:cond delay="499"/>
                                          </p:stCondLst>
                                        </p:cTn>
                                        <p:tgtEl>
                                          <p:spTgt spid="21"/>
                                        </p:tgtEl>
                                        <p:attrNameLst>
                                          <p:attrName>style.visibility</p:attrName>
                                        </p:attrNameLst>
                                      </p:cBhvr>
                                      <p:to>
                                        <p:strVal val="hidden"/>
                                      </p:to>
                                    </p:set>
                                  </p:childTnLst>
                                </p:cTn>
                              </p:par>
                              <p:par>
                                <p:cTn id="32" presetID="14" presetClass="exit" presetSubtype="10" fill="hold" grpId="0" nodeType="withEffect">
                                  <p:stCondLst>
                                    <p:cond delay="0"/>
                                  </p:stCondLst>
                                  <p:childTnLst>
                                    <p:animEffect transition="out" filter="randombar(horizontal)">
                                      <p:cBhvr>
                                        <p:cTn id="33" dur="500"/>
                                        <p:tgtEl>
                                          <p:spTgt spid="20"/>
                                        </p:tgtEl>
                                      </p:cBhvr>
                                    </p:animEffect>
                                    <p:set>
                                      <p:cBhvr>
                                        <p:cTn id="34" dur="1" fill="hold">
                                          <p:stCondLst>
                                            <p:cond delay="499"/>
                                          </p:stCondLst>
                                        </p:cTn>
                                        <p:tgtEl>
                                          <p:spTgt spid="20"/>
                                        </p:tgtEl>
                                        <p:attrNameLst>
                                          <p:attrName>style.visibility</p:attrName>
                                        </p:attrNameLst>
                                      </p:cBhvr>
                                      <p:to>
                                        <p:strVal val="hidden"/>
                                      </p:to>
                                    </p:set>
                                  </p:childTnLst>
                                </p:cTn>
                              </p:par>
                              <p:par>
                                <p:cTn id="35" presetID="14" presetClass="exit" presetSubtype="10" fill="hold" grpId="0" nodeType="withEffect">
                                  <p:stCondLst>
                                    <p:cond delay="0"/>
                                  </p:stCondLst>
                                  <p:childTnLst>
                                    <p:animEffect transition="out" filter="randombar(horizontal)">
                                      <p:cBhvr>
                                        <p:cTn id="36" dur="500"/>
                                        <p:tgtEl>
                                          <p:spTgt spid="15"/>
                                        </p:tgtEl>
                                      </p:cBhvr>
                                    </p:animEffect>
                                    <p:set>
                                      <p:cBhvr>
                                        <p:cTn id="37" dur="1" fill="hold">
                                          <p:stCondLst>
                                            <p:cond delay="499"/>
                                          </p:stCondLst>
                                        </p:cTn>
                                        <p:tgtEl>
                                          <p:spTgt spid="15"/>
                                        </p:tgtEl>
                                        <p:attrNameLst>
                                          <p:attrName>style.visibility</p:attrName>
                                        </p:attrNameLst>
                                      </p:cBhvr>
                                      <p:to>
                                        <p:strVal val="hidden"/>
                                      </p:to>
                                    </p:set>
                                  </p:childTnLst>
                                </p:cTn>
                              </p:par>
                              <p:par>
                                <p:cTn id="38" presetID="14" presetClass="exit" presetSubtype="10" fill="hold" grpId="0" nodeType="withEffect">
                                  <p:stCondLst>
                                    <p:cond delay="0"/>
                                  </p:stCondLst>
                                  <p:childTnLst>
                                    <p:animEffect transition="out" filter="randombar(horizontal)">
                                      <p:cBhvr>
                                        <p:cTn id="39" dur="500"/>
                                        <p:tgtEl>
                                          <p:spTgt spid="14"/>
                                        </p:tgtEl>
                                      </p:cBhvr>
                                    </p:animEffect>
                                    <p:set>
                                      <p:cBhvr>
                                        <p:cTn id="40" dur="1" fill="hold">
                                          <p:stCondLst>
                                            <p:cond delay="499"/>
                                          </p:stCondLst>
                                        </p:cTn>
                                        <p:tgtEl>
                                          <p:spTgt spid="14"/>
                                        </p:tgtEl>
                                        <p:attrNameLst>
                                          <p:attrName>style.visibility</p:attrName>
                                        </p:attrNameLst>
                                      </p:cBhvr>
                                      <p:to>
                                        <p:strVal val="hidden"/>
                                      </p:to>
                                    </p:set>
                                  </p:childTnLst>
                                </p:cTn>
                              </p:par>
                              <p:par>
                                <p:cTn id="41" presetID="14" presetClass="entr" presetSubtype="10" fill="hold" grpId="0" nodeType="withEffect">
                                  <p:stCondLst>
                                    <p:cond delay="0"/>
                                  </p:stCondLst>
                                  <p:childTnLst>
                                    <p:set>
                                      <p:cBhvr>
                                        <p:cTn id="42" dur="1" fill="hold">
                                          <p:stCondLst>
                                            <p:cond delay="0"/>
                                          </p:stCondLst>
                                        </p:cTn>
                                        <p:tgtEl>
                                          <p:spTgt spid="39"/>
                                        </p:tgtEl>
                                        <p:attrNameLst>
                                          <p:attrName>style.visibility</p:attrName>
                                        </p:attrNameLst>
                                      </p:cBhvr>
                                      <p:to>
                                        <p:strVal val="visible"/>
                                      </p:to>
                                    </p:set>
                                    <p:animEffect transition="in" filter="randombar(horizontal)">
                                      <p:cBhvr>
                                        <p:cTn id="43" dur="500"/>
                                        <p:tgtEl>
                                          <p:spTgt spid="39"/>
                                        </p:tgtEl>
                                      </p:cBhvr>
                                    </p:animEffect>
                                  </p:childTnLst>
                                </p:cTn>
                              </p:par>
                              <p:par>
                                <p:cTn id="44" presetID="14" presetClass="entr" presetSubtype="10" fill="hold" grpId="0" nodeType="withEffect">
                                  <p:stCondLst>
                                    <p:cond delay="0"/>
                                  </p:stCondLst>
                                  <p:childTnLst>
                                    <p:set>
                                      <p:cBhvr>
                                        <p:cTn id="45" dur="1" fill="hold">
                                          <p:stCondLst>
                                            <p:cond delay="0"/>
                                          </p:stCondLst>
                                        </p:cTn>
                                        <p:tgtEl>
                                          <p:spTgt spid="38"/>
                                        </p:tgtEl>
                                        <p:attrNameLst>
                                          <p:attrName>style.visibility</p:attrName>
                                        </p:attrNameLst>
                                      </p:cBhvr>
                                      <p:to>
                                        <p:strVal val="visible"/>
                                      </p:to>
                                    </p:set>
                                    <p:animEffect transition="in" filter="randombar(horizontal)">
                                      <p:cBhvr>
                                        <p:cTn id="46" dur="500"/>
                                        <p:tgtEl>
                                          <p:spTgt spid="38"/>
                                        </p:tgtEl>
                                      </p:cBhvr>
                                    </p:animEffect>
                                  </p:childTnLst>
                                </p:cTn>
                              </p:par>
                              <p:par>
                                <p:cTn id="47" presetID="14" presetClass="entr" presetSubtype="10" fill="hold" grpId="0" nodeType="withEffect">
                                  <p:stCondLst>
                                    <p:cond delay="0"/>
                                  </p:stCondLst>
                                  <p:childTnLst>
                                    <p:set>
                                      <p:cBhvr>
                                        <p:cTn id="48" dur="1" fill="hold">
                                          <p:stCondLst>
                                            <p:cond delay="0"/>
                                          </p:stCondLst>
                                        </p:cTn>
                                        <p:tgtEl>
                                          <p:spTgt spid="44"/>
                                        </p:tgtEl>
                                        <p:attrNameLst>
                                          <p:attrName>style.visibility</p:attrName>
                                        </p:attrNameLst>
                                      </p:cBhvr>
                                      <p:to>
                                        <p:strVal val="visible"/>
                                      </p:to>
                                    </p:set>
                                    <p:animEffect transition="in" filter="randombar(horizontal)">
                                      <p:cBhvr>
                                        <p:cTn id="49" dur="500"/>
                                        <p:tgtEl>
                                          <p:spTgt spid="44"/>
                                        </p:tgtEl>
                                      </p:cBhvr>
                                    </p:animEffect>
                                  </p:childTnLst>
                                </p:cTn>
                              </p:par>
                              <p:par>
                                <p:cTn id="50" presetID="14" presetClass="entr" presetSubtype="10" fill="hold" grpId="0" nodeType="withEffect">
                                  <p:stCondLst>
                                    <p:cond delay="0"/>
                                  </p:stCondLst>
                                  <p:childTnLst>
                                    <p:set>
                                      <p:cBhvr>
                                        <p:cTn id="51" dur="1" fill="hold">
                                          <p:stCondLst>
                                            <p:cond delay="0"/>
                                          </p:stCondLst>
                                        </p:cTn>
                                        <p:tgtEl>
                                          <p:spTgt spid="40"/>
                                        </p:tgtEl>
                                        <p:attrNameLst>
                                          <p:attrName>style.visibility</p:attrName>
                                        </p:attrNameLst>
                                      </p:cBhvr>
                                      <p:to>
                                        <p:strVal val="visible"/>
                                      </p:to>
                                    </p:set>
                                    <p:animEffect transition="in" filter="randombar(horizontal)">
                                      <p:cBhvr>
                                        <p:cTn id="52" dur="500"/>
                                        <p:tgtEl>
                                          <p:spTgt spid="40"/>
                                        </p:tgtEl>
                                      </p:cBhvr>
                                    </p:animEffect>
                                  </p:childTnLst>
                                </p:cTn>
                              </p:par>
                              <p:par>
                                <p:cTn id="53" presetID="14" presetClass="entr" presetSubtype="10" fill="hold" grpId="0" nodeType="withEffect">
                                  <p:stCondLst>
                                    <p:cond delay="0"/>
                                  </p:stCondLst>
                                  <p:childTnLst>
                                    <p:set>
                                      <p:cBhvr>
                                        <p:cTn id="54" dur="1" fill="hold">
                                          <p:stCondLst>
                                            <p:cond delay="0"/>
                                          </p:stCondLst>
                                        </p:cTn>
                                        <p:tgtEl>
                                          <p:spTgt spid="41"/>
                                        </p:tgtEl>
                                        <p:attrNameLst>
                                          <p:attrName>style.visibility</p:attrName>
                                        </p:attrNameLst>
                                      </p:cBhvr>
                                      <p:to>
                                        <p:strVal val="visible"/>
                                      </p:to>
                                    </p:set>
                                    <p:animEffect transition="in" filter="randombar(horizontal)">
                                      <p:cBhvr>
                                        <p:cTn id="55" dur="500"/>
                                        <p:tgtEl>
                                          <p:spTgt spid="41"/>
                                        </p:tgtEl>
                                      </p:cBhvr>
                                    </p:animEffect>
                                  </p:childTnLst>
                                </p:cTn>
                              </p:par>
                              <p:par>
                                <p:cTn id="56" presetID="14" presetClass="entr" presetSubtype="10" fill="hold" grpId="0" nodeType="withEffect">
                                  <p:stCondLst>
                                    <p:cond delay="0"/>
                                  </p:stCondLst>
                                  <p:childTnLst>
                                    <p:set>
                                      <p:cBhvr>
                                        <p:cTn id="57" dur="1" fill="hold">
                                          <p:stCondLst>
                                            <p:cond delay="0"/>
                                          </p:stCondLst>
                                        </p:cTn>
                                        <p:tgtEl>
                                          <p:spTgt spid="42"/>
                                        </p:tgtEl>
                                        <p:attrNameLst>
                                          <p:attrName>style.visibility</p:attrName>
                                        </p:attrNameLst>
                                      </p:cBhvr>
                                      <p:to>
                                        <p:strVal val="visible"/>
                                      </p:to>
                                    </p:set>
                                    <p:animEffect transition="in" filter="randombar(horizontal)">
                                      <p:cBhvr>
                                        <p:cTn id="58" dur="500"/>
                                        <p:tgtEl>
                                          <p:spTgt spid="42"/>
                                        </p:tgtEl>
                                      </p:cBhvr>
                                    </p:animEffect>
                                  </p:childTnLst>
                                </p:cTn>
                              </p:par>
                              <p:par>
                                <p:cTn id="59" presetID="1" presetClass="entr" presetSubtype="0" fill="hold" grpId="0" nodeType="withEffect">
                                  <p:stCondLst>
                                    <p:cond delay="0"/>
                                  </p:stCondLst>
                                  <p:childTnLst>
                                    <p:set>
                                      <p:cBhvr>
                                        <p:cTn id="60" dur="1" fill="hold">
                                          <p:stCondLst>
                                            <p:cond delay="0"/>
                                          </p:stCondLst>
                                        </p:cTn>
                                        <p:tgtEl>
                                          <p:spTgt spid="45"/>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46"/>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47"/>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4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P spid="14" grpId="0"/>
      <p:bldP spid="15" grpId="0"/>
      <p:bldP spid="20" grpId="0"/>
      <p:bldP spid="21" grpId="0"/>
      <p:bldP spid="22" grpId="0"/>
      <p:bldP spid="23" grpId="0"/>
      <p:bldP spid="24" grpId="0"/>
      <p:bldP spid="25" grpId="0"/>
      <p:bldP spid="26" grpId="0"/>
      <p:bldP spid="31" grpId="0"/>
      <p:bldP spid="32" grpId="0"/>
      <p:bldP spid="33" grpId="0"/>
      <p:bldP spid="38" grpId="0"/>
      <p:bldP spid="39" grpId="0"/>
      <p:bldP spid="41" grpId="0"/>
      <p:bldP spid="42" grpId="0"/>
      <p:bldP spid="44" grpId="0"/>
      <p:bldP spid="46" grpId="0" animBg="1"/>
      <p:bldP spid="49" grpId="0" animBg="1"/>
      <p:bldP spid="47" grpId="0" animBg="1"/>
      <p:bldP spid="45" grpId="0" animBg="1"/>
    </p:bldLst>
  </p:timing>
</p:sld>
</file>

<file path=ppt/slides/slide4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p:cNvGraphicFramePr>
          <p:nvPr>
            <p:custDataLst>
              <p:tags r:id="rId2"/>
            </p:custDataLst>
            <p:extLst>
              <p:ext uri="{D42A27DB-BD31-4B8C-83A1-F6EECF244321}">
                <p14:modId xmlns:p14="http://schemas.microsoft.com/office/powerpoint/2010/main" val="903306322"/>
              </p:ext>
            </p:extLst>
          </p:nvPr>
        </p:nvGraphicFramePr>
        <p:xfrm>
          <a:off x="1191" y="1192"/>
          <a:ext cx="1191" cy="1190"/>
        </p:xfrm>
        <a:graphic>
          <a:graphicData uri="http://schemas.openxmlformats.org/presentationml/2006/ole">
            <mc:AlternateContent xmlns:mc="http://schemas.openxmlformats.org/markup-compatibility/2006">
              <mc:Choice xmlns:v="urn:schemas-microsoft-com:vml" Requires="v">
                <p:oleObj spid="_x0000_s26631" name="think-cell Slide" r:id="rId36" imgW="270" imgH="270" progId="TCLayout.ActiveDocument.1">
                  <p:embed/>
                </p:oleObj>
              </mc:Choice>
              <mc:Fallback>
                <p:oleObj name="think-cell Slide" r:id="rId36" imgW="270" imgH="270" progId="TCLayout.ActiveDocument.1">
                  <p:embed/>
                  <p:pic>
                    <p:nvPicPr>
                      <p:cNvPr id="0" name=""/>
                      <p:cNvPicPr/>
                      <p:nvPr/>
                    </p:nvPicPr>
                    <p:blipFill>
                      <a:blip r:embed="rId37"/>
                      <a:stretch>
                        <a:fillRect/>
                      </a:stretch>
                    </p:blipFill>
                    <p:spPr>
                      <a:xfrm>
                        <a:off x="1191" y="1192"/>
                        <a:ext cx="1191" cy="119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cs typeface="Segoe UI"/>
              </a:rPr>
              <a:t>Today</a:t>
            </a:r>
          </a:p>
        </p:txBody>
      </p:sp>
      <p:sp>
        <p:nvSpPr>
          <p:cNvPr id="3" name="TextBox 2"/>
          <p:cNvSpPr txBox="1"/>
          <p:nvPr>
            <p:custDataLst>
              <p:tags r:id="rId4"/>
            </p:custDataLst>
          </p:nvPr>
        </p:nvSpPr>
        <p:spPr>
          <a:xfrm>
            <a:off x="389435" y="1084738"/>
            <a:ext cx="4115872" cy="572613"/>
          </a:xfrm>
          <a:prstGeom prst="rect">
            <a:avLst/>
          </a:prstGeom>
          <a:solidFill>
            <a:schemeClr val="tx2"/>
          </a:solidFill>
        </p:spPr>
        <p:txBody>
          <a:bodyPr wrap="square" lIns="68586" tIns="34294" rIns="68586" bIns="34294" rtlCol="0">
            <a:noAutofit/>
          </a:bodyPr>
          <a:lstStyle/>
          <a:p>
            <a:pPr>
              <a:lnSpc>
                <a:spcPct val="90000"/>
              </a:lnSpc>
              <a:spcBef>
                <a:spcPts val="900"/>
              </a:spcBef>
              <a:buSzPct val="90000"/>
            </a:pPr>
            <a:endParaRPr lang="en-US" sz="1700" spc="-30" dirty="0">
              <a:solidFill>
                <a:srgbClr val="FFFFFF">
                  <a:alpha val="99000"/>
                </a:srgbClr>
              </a:solidFill>
            </a:endParaRPr>
          </a:p>
        </p:txBody>
      </p:sp>
      <p:sp>
        <p:nvSpPr>
          <p:cNvPr id="4" name="TextBox 3"/>
          <p:cNvSpPr txBox="1"/>
          <p:nvPr>
            <p:custDataLst>
              <p:tags r:id="rId5"/>
            </p:custDataLst>
          </p:nvPr>
        </p:nvSpPr>
        <p:spPr>
          <a:xfrm>
            <a:off x="389438" y="1211770"/>
            <a:ext cx="4115872" cy="318549"/>
          </a:xfrm>
          <a:prstGeom prst="rect">
            <a:avLst/>
          </a:prstGeom>
          <a:noFill/>
        </p:spPr>
        <p:txBody>
          <a:bodyPr wrap="square" lIns="137172" tIns="34294" rIns="68586" bIns="34294" rtlCol="0">
            <a:spAutoFit/>
          </a:bodyPr>
          <a:lstStyle/>
          <a:p>
            <a:pPr marL="255005" indent="-255005">
              <a:lnSpc>
                <a:spcPct val="90000"/>
              </a:lnSpc>
              <a:spcBef>
                <a:spcPct val="20000"/>
              </a:spcBef>
              <a:buSzPct val="90000"/>
              <a:buBlip>
                <a:blip r:embed="rId38"/>
              </a:buBlip>
            </a:pPr>
            <a:r>
              <a:rPr lang="en-US" sz="1800" dirty="0">
                <a:gradFill>
                  <a:gsLst>
                    <a:gs pos="0">
                      <a:srgbClr val="FFFFFF"/>
                    </a:gs>
                    <a:gs pos="86000">
                      <a:srgbClr val="FFFFFF"/>
                    </a:gs>
                  </a:gsLst>
                  <a:lin ang="5400000" scaled="0"/>
                </a:gradFill>
              </a:rPr>
              <a:t>Share &amp; Storage Management</a:t>
            </a:r>
          </a:p>
        </p:txBody>
      </p:sp>
      <p:sp>
        <p:nvSpPr>
          <p:cNvPr id="5" name="TextBox 4"/>
          <p:cNvSpPr txBox="1"/>
          <p:nvPr>
            <p:custDataLst>
              <p:tags r:id="rId6"/>
            </p:custDataLst>
          </p:nvPr>
        </p:nvSpPr>
        <p:spPr>
          <a:xfrm>
            <a:off x="389435" y="1746545"/>
            <a:ext cx="4115872" cy="572613"/>
          </a:xfrm>
          <a:prstGeom prst="rect">
            <a:avLst/>
          </a:prstGeom>
          <a:solidFill>
            <a:schemeClr val="accent2"/>
          </a:solidFill>
        </p:spPr>
        <p:txBody>
          <a:bodyPr wrap="square" lIns="68586" tIns="34294" rIns="68586" bIns="34294" rtlCol="0">
            <a:noAutofit/>
          </a:bodyPr>
          <a:lstStyle/>
          <a:p>
            <a:pPr>
              <a:lnSpc>
                <a:spcPct val="90000"/>
              </a:lnSpc>
              <a:spcBef>
                <a:spcPts val="900"/>
              </a:spcBef>
              <a:buSzPct val="90000"/>
            </a:pPr>
            <a:endParaRPr lang="en-US" sz="1700" spc="-30" dirty="0">
              <a:solidFill>
                <a:srgbClr val="FFFFFF">
                  <a:alpha val="99000"/>
                </a:srgbClr>
              </a:solidFill>
            </a:endParaRPr>
          </a:p>
        </p:txBody>
      </p:sp>
      <p:sp>
        <p:nvSpPr>
          <p:cNvPr id="6" name="TextBox 5"/>
          <p:cNvSpPr txBox="1"/>
          <p:nvPr>
            <p:custDataLst>
              <p:tags r:id="rId7"/>
            </p:custDataLst>
          </p:nvPr>
        </p:nvSpPr>
        <p:spPr>
          <a:xfrm>
            <a:off x="389438" y="1873577"/>
            <a:ext cx="4115872" cy="318549"/>
          </a:xfrm>
          <a:prstGeom prst="rect">
            <a:avLst/>
          </a:prstGeom>
        </p:spPr>
        <p:txBody>
          <a:bodyPr wrap="square" lIns="137172" tIns="34294" rIns="68586" bIns="34294" rtlCol="0">
            <a:spAutoFit/>
          </a:bodyPr>
          <a:lstStyle/>
          <a:p>
            <a:pPr marL="255005" indent="-255005">
              <a:lnSpc>
                <a:spcPct val="90000"/>
              </a:lnSpc>
              <a:spcBef>
                <a:spcPct val="20000"/>
              </a:spcBef>
              <a:buSzPct val="90000"/>
              <a:buBlip>
                <a:blip r:embed="rId38"/>
              </a:buBlip>
            </a:pPr>
            <a:r>
              <a:rPr lang="en-US" sz="1800" dirty="0">
                <a:gradFill>
                  <a:gsLst>
                    <a:gs pos="0">
                      <a:srgbClr val="FFFFFF"/>
                    </a:gs>
                    <a:gs pos="86000">
                      <a:srgbClr val="FFFFFF"/>
                    </a:gs>
                  </a:gsLst>
                  <a:lin ang="5400000" scaled="0"/>
                </a:gradFill>
              </a:rPr>
              <a:t>File Server Resource Manager</a:t>
            </a:r>
          </a:p>
        </p:txBody>
      </p:sp>
      <p:sp>
        <p:nvSpPr>
          <p:cNvPr id="7" name="TextBox 6"/>
          <p:cNvSpPr txBox="1"/>
          <p:nvPr>
            <p:custDataLst>
              <p:tags r:id="rId8"/>
            </p:custDataLst>
          </p:nvPr>
        </p:nvSpPr>
        <p:spPr>
          <a:xfrm>
            <a:off x="389435" y="2408351"/>
            <a:ext cx="4115872" cy="572613"/>
          </a:xfrm>
          <a:prstGeom prst="rect">
            <a:avLst/>
          </a:prstGeom>
          <a:solidFill>
            <a:schemeClr val="accent3"/>
          </a:solidFill>
        </p:spPr>
        <p:txBody>
          <a:bodyPr wrap="square" lIns="68586" tIns="34294" rIns="68586" bIns="34294" rtlCol="0">
            <a:noAutofit/>
          </a:bodyPr>
          <a:lstStyle/>
          <a:p>
            <a:pPr>
              <a:lnSpc>
                <a:spcPct val="90000"/>
              </a:lnSpc>
              <a:spcBef>
                <a:spcPts val="900"/>
              </a:spcBef>
              <a:buSzPct val="90000"/>
            </a:pPr>
            <a:endParaRPr lang="en-US" sz="1700" spc="-30" dirty="0">
              <a:solidFill>
                <a:srgbClr val="FFFFFF">
                  <a:alpha val="99000"/>
                </a:srgbClr>
              </a:solidFill>
            </a:endParaRPr>
          </a:p>
        </p:txBody>
      </p:sp>
      <p:sp>
        <p:nvSpPr>
          <p:cNvPr id="8" name="TextBox 7"/>
          <p:cNvSpPr txBox="1"/>
          <p:nvPr>
            <p:custDataLst>
              <p:tags r:id="rId9"/>
            </p:custDataLst>
          </p:nvPr>
        </p:nvSpPr>
        <p:spPr>
          <a:xfrm>
            <a:off x="389438" y="2535383"/>
            <a:ext cx="4115872" cy="318549"/>
          </a:xfrm>
          <a:prstGeom prst="rect">
            <a:avLst/>
          </a:prstGeom>
        </p:spPr>
        <p:txBody>
          <a:bodyPr wrap="square" lIns="137172" tIns="34294" rIns="68586" bIns="34294" rtlCol="0">
            <a:spAutoFit/>
          </a:bodyPr>
          <a:lstStyle/>
          <a:p>
            <a:pPr marL="255005" indent="-255005">
              <a:lnSpc>
                <a:spcPct val="90000"/>
              </a:lnSpc>
              <a:spcBef>
                <a:spcPct val="20000"/>
              </a:spcBef>
              <a:buSzPct val="90000"/>
              <a:buBlip>
                <a:blip r:embed="rId38"/>
              </a:buBlip>
            </a:pPr>
            <a:r>
              <a:rPr lang="en-US" sz="1800" dirty="0">
                <a:gradFill>
                  <a:gsLst>
                    <a:gs pos="0">
                      <a:srgbClr val="FFFFFF"/>
                    </a:gs>
                    <a:gs pos="86000">
                      <a:srgbClr val="FFFFFF"/>
                    </a:gs>
                  </a:gsLst>
                  <a:lin ang="5400000" scaled="0"/>
                </a:gradFill>
              </a:rPr>
              <a:t>DFS Management</a:t>
            </a:r>
          </a:p>
        </p:txBody>
      </p:sp>
      <p:sp>
        <p:nvSpPr>
          <p:cNvPr id="9" name="TextBox 8"/>
          <p:cNvSpPr txBox="1"/>
          <p:nvPr>
            <p:custDataLst>
              <p:tags r:id="rId10"/>
            </p:custDataLst>
          </p:nvPr>
        </p:nvSpPr>
        <p:spPr>
          <a:xfrm>
            <a:off x="389435" y="3070157"/>
            <a:ext cx="4115872" cy="572613"/>
          </a:xfrm>
          <a:prstGeom prst="rect">
            <a:avLst/>
          </a:prstGeom>
          <a:solidFill>
            <a:schemeClr val="accent4"/>
          </a:solidFill>
        </p:spPr>
        <p:txBody>
          <a:bodyPr wrap="square" lIns="68586" tIns="34294" rIns="68586" bIns="34294" rtlCol="0">
            <a:noAutofit/>
          </a:bodyPr>
          <a:lstStyle/>
          <a:p>
            <a:pPr>
              <a:lnSpc>
                <a:spcPct val="90000"/>
              </a:lnSpc>
              <a:spcBef>
                <a:spcPts val="900"/>
              </a:spcBef>
              <a:buSzPct val="90000"/>
            </a:pPr>
            <a:endParaRPr lang="en-US" sz="1700" spc="-30" dirty="0">
              <a:solidFill>
                <a:srgbClr val="FFFFFF">
                  <a:alpha val="99000"/>
                </a:srgbClr>
              </a:solidFill>
            </a:endParaRPr>
          </a:p>
        </p:txBody>
      </p:sp>
      <p:sp>
        <p:nvSpPr>
          <p:cNvPr id="10" name="TextBox 9"/>
          <p:cNvSpPr txBox="1"/>
          <p:nvPr>
            <p:custDataLst>
              <p:tags r:id="rId11"/>
            </p:custDataLst>
          </p:nvPr>
        </p:nvSpPr>
        <p:spPr>
          <a:xfrm>
            <a:off x="389438" y="3197189"/>
            <a:ext cx="4115872" cy="318549"/>
          </a:xfrm>
          <a:prstGeom prst="rect">
            <a:avLst/>
          </a:prstGeom>
        </p:spPr>
        <p:txBody>
          <a:bodyPr wrap="square" lIns="137172" tIns="34294" rIns="68586" bIns="34294" rtlCol="0">
            <a:spAutoFit/>
          </a:bodyPr>
          <a:lstStyle/>
          <a:p>
            <a:pPr marL="255005" indent="-255005">
              <a:lnSpc>
                <a:spcPct val="90000"/>
              </a:lnSpc>
              <a:spcBef>
                <a:spcPct val="20000"/>
              </a:spcBef>
              <a:buSzPct val="90000"/>
              <a:buBlip>
                <a:blip r:embed="rId38"/>
              </a:buBlip>
            </a:pPr>
            <a:r>
              <a:rPr lang="en-US" sz="1800" dirty="0" err="1">
                <a:gradFill>
                  <a:gsLst>
                    <a:gs pos="0">
                      <a:srgbClr val="FFFFFF"/>
                    </a:gs>
                    <a:gs pos="86000">
                      <a:srgbClr val="FFFFFF"/>
                    </a:gs>
                  </a:gsLst>
                  <a:lin ang="5400000" scaled="0"/>
                </a:gradFill>
              </a:rPr>
              <a:t>iSCSI</a:t>
            </a:r>
            <a:r>
              <a:rPr lang="en-US" sz="1800" dirty="0">
                <a:gradFill>
                  <a:gsLst>
                    <a:gs pos="0">
                      <a:srgbClr val="FFFFFF"/>
                    </a:gs>
                    <a:gs pos="86000">
                      <a:srgbClr val="FFFFFF"/>
                    </a:gs>
                  </a:gsLst>
                  <a:lin ang="5400000" scaled="0"/>
                </a:gradFill>
              </a:rPr>
              <a:t> Software Target</a:t>
            </a:r>
          </a:p>
        </p:txBody>
      </p:sp>
      <p:sp>
        <p:nvSpPr>
          <p:cNvPr id="11" name="TextBox 10"/>
          <p:cNvSpPr txBox="1"/>
          <p:nvPr>
            <p:custDataLst>
              <p:tags r:id="rId12"/>
            </p:custDataLst>
          </p:nvPr>
        </p:nvSpPr>
        <p:spPr>
          <a:xfrm>
            <a:off x="389435" y="3731965"/>
            <a:ext cx="4115872" cy="572613"/>
          </a:xfrm>
          <a:prstGeom prst="rect">
            <a:avLst/>
          </a:prstGeom>
          <a:solidFill>
            <a:schemeClr val="accent5"/>
          </a:solidFill>
        </p:spPr>
        <p:txBody>
          <a:bodyPr wrap="square" lIns="68586" tIns="34294" rIns="68586" bIns="34294" rtlCol="0">
            <a:noAutofit/>
          </a:bodyPr>
          <a:lstStyle/>
          <a:p>
            <a:pPr>
              <a:lnSpc>
                <a:spcPct val="90000"/>
              </a:lnSpc>
              <a:spcBef>
                <a:spcPts val="900"/>
              </a:spcBef>
              <a:buSzPct val="90000"/>
            </a:pPr>
            <a:endParaRPr lang="en-US" sz="1700" spc="-30" dirty="0">
              <a:solidFill>
                <a:srgbClr val="FFFFFF">
                  <a:alpha val="99000"/>
                </a:srgbClr>
              </a:solidFill>
            </a:endParaRPr>
          </a:p>
        </p:txBody>
      </p:sp>
      <p:sp>
        <p:nvSpPr>
          <p:cNvPr id="12" name="TextBox 11"/>
          <p:cNvSpPr txBox="1"/>
          <p:nvPr>
            <p:custDataLst>
              <p:tags r:id="rId13"/>
            </p:custDataLst>
          </p:nvPr>
        </p:nvSpPr>
        <p:spPr>
          <a:xfrm>
            <a:off x="389438" y="3858997"/>
            <a:ext cx="4115872" cy="318549"/>
          </a:xfrm>
          <a:prstGeom prst="rect">
            <a:avLst/>
          </a:prstGeom>
        </p:spPr>
        <p:txBody>
          <a:bodyPr wrap="square" lIns="137172" tIns="34294" rIns="68586" bIns="34294" rtlCol="0">
            <a:spAutoFit/>
          </a:bodyPr>
          <a:lstStyle/>
          <a:p>
            <a:pPr marL="255005" indent="-255005">
              <a:lnSpc>
                <a:spcPct val="90000"/>
              </a:lnSpc>
              <a:spcBef>
                <a:spcPct val="20000"/>
              </a:spcBef>
              <a:buSzPct val="90000"/>
              <a:buBlip>
                <a:blip r:embed="rId38"/>
              </a:buBlip>
            </a:pPr>
            <a:r>
              <a:rPr lang="en-US" sz="1800" dirty="0">
                <a:gradFill>
                  <a:gsLst>
                    <a:gs pos="0">
                      <a:srgbClr val="FFFFFF"/>
                    </a:gs>
                    <a:gs pos="86000">
                      <a:srgbClr val="FFFFFF"/>
                    </a:gs>
                  </a:gsLst>
                  <a:lin ang="5400000" scaled="0"/>
                </a:gradFill>
              </a:rPr>
              <a:t>Storage Explorer</a:t>
            </a:r>
          </a:p>
        </p:txBody>
      </p:sp>
      <p:sp>
        <p:nvSpPr>
          <p:cNvPr id="13" name="TextBox 12"/>
          <p:cNvSpPr txBox="1"/>
          <p:nvPr>
            <p:custDataLst>
              <p:tags r:id="rId14"/>
            </p:custDataLst>
          </p:nvPr>
        </p:nvSpPr>
        <p:spPr>
          <a:xfrm>
            <a:off x="389435" y="4393769"/>
            <a:ext cx="4115872" cy="572613"/>
          </a:xfrm>
          <a:prstGeom prst="rect">
            <a:avLst/>
          </a:prstGeom>
          <a:solidFill>
            <a:schemeClr val="accent6"/>
          </a:solidFill>
        </p:spPr>
        <p:txBody>
          <a:bodyPr wrap="square" lIns="68586" tIns="34294" rIns="68586" bIns="34294" rtlCol="0">
            <a:noAutofit/>
          </a:bodyPr>
          <a:lstStyle/>
          <a:p>
            <a:pPr>
              <a:lnSpc>
                <a:spcPct val="90000"/>
              </a:lnSpc>
              <a:spcBef>
                <a:spcPts val="900"/>
              </a:spcBef>
              <a:buSzPct val="90000"/>
            </a:pPr>
            <a:endParaRPr lang="en-US" sz="1700" spc="-30" dirty="0">
              <a:solidFill>
                <a:srgbClr val="FFFFFF">
                  <a:alpha val="99000"/>
                </a:srgbClr>
              </a:solidFill>
            </a:endParaRPr>
          </a:p>
        </p:txBody>
      </p:sp>
      <p:sp>
        <p:nvSpPr>
          <p:cNvPr id="14" name="TextBox 13"/>
          <p:cNvSpPr txBox="1"/>
          <p:nvPr>
            <p:custDataLst>
              <p:tags r:id="rId15"/>
            </p:custDataLst>
          </p:nvPr>
        </p:nvSpPr>
        <p:spPr>
          <a:xfrm>
            <a:off x="389438" y="4520801"/>
            <a:ext cx="4115872" cy="318549"/>
          </a:xfrm>
          <a:prstGeom prst="rect">
            <a:avLst/>
          </a:prstGeom>
        </p:spPr>
        <p:txBody>
          <a:bodyPr wrap="square" lIns="137172" tIns="34294" rIns="68586" bIns="34294" rtlCol="0">
            <a:spAutoFit/>
          </a:bodyPr>
          <a:lstStyle/>
          <a:p>
            <a:pPr marL="255005" indent="-255005">
              <a:lnSpc>
                <a:spcPct val="90000"/>
              </a:lnSpc>
              <a:spcBef>
                <a:spcPct val="20000"/>
              </a:spcBef>
              <a:buSzPct val="90000"/>
              <a:buBlip>
                <a:blip r:embed="rId38"/>
              </a:buBlip>
            </a:pPr>
            <a:r>
              <a:rPr lang="en-US" sz="1800" dirty="0">
                <a:gradFill>
                  <a:gsLst>
                    <a:gs pos="0">
                      <a:srgbClr val="FFFFFF"/>
                    </a:gs>
                    <a:gs pos="86000">
                      <a:srgbClr val="FFFFFF"/>
                    </a:gs>
                  </a:gsLst>
                  <a:lin ang="5400000" scaled="0"/>
                </a:gradFill>
              </a:rPr>
              <a:t>Failover Cluster Manager</a:t>
            </a:r>
          </a:p>
        </p:txBody>
      </p:sp>
      <p:sp>
        <p:nvSpPr>
          <p:cNvPr id="22" name="TextBox 21"/>
          <p:cNvSpPr txBox="1"/>
          <p:nvPr>
            <p:custDataLst>
              <p:tags r:id="rId16"/>
            </p:custDataLst>
          </p:nvPr>
        </p:nvSpPr>
        <p:spPr>
          <a:xfrm>
            <a:off x="4637498" y="1084738"/>
            <a:ext cx="4115872" cy="572613"/>
          </a:xfrm>
          <a:prstGeom prst="rect">
            <a:avLst/>
          </a:prstGeom>
          <a:solidFill>
            <a:schemeClr val="accent6"/>
          </a:solidFill>
        </p:spPr>
        <p:txBody>
          <a:bodyPr wrap="square" lIns="68586" tIns="34294" rIns="68586" bIns="34294" rtlCol="0">
            <a:noAutofit/>
          </a:bodyPr>
          <a:lstStyle/>
          <a:p>
            <a:pPr>
              <a:lnSpc>
                <a:spcPct val="90000"/>
              </a:lnSpc>
              <a:spcBef>
                <a:spcPts val="900"/>
              </a:spcBef>
              <a:buSzPct val="90000"/>
            </a:pPr>
            <a:endParaRPr lang="en-US" sz="1700" spc="-30" dirty="0">
              <a:solidFill>
                <a:srgbClr val="FFFFFF">
                  <a:alpha val="99000"/>
                </a:srgbClr>
              </a:solidFill>
            </a:endParaRPr>
          </a:p>
        </p:txBody>
      </p:sp>
      <p:sp>
        <p:nvSpPr>
          <p:cNvPr id="23" name="TextBox 22"/>
          <p:cNvSpPr txBox="1"/>
          <p:nvPr>
            <p:custDataLst>
              <p:tags r:id="rId17"/>
            </p:custDataLst>
          </p:nvPr>
        </p:nvSpPr>
        <p:spPr>
          <a:xfrm>
            <a:off x="4637501" y="1211770"/>
            <a:ext cx="4115872" cy="318549"/>
          </a:xfrm>
          <a:prstGeom prst="rect">
            <a:avLst/>
          </a:prstGeom>
          <a:noFill/>
        </p:spPr>
        <p:txBody>
          <a:bodyPr wrap="square" lIns="137172" tIns="34294" rIns="68586" bIns="34294" rtlCol="0">
            <a:spAutoFit/>
          </a:bodyPr>
          <a:lstStyle/>
          <a:p>
            <a:pPr marL="255005" indent="-255005">
              <a:lnSpc>
                <a:spcPct val="90000"/>
              </a:lnSpc>
              <a:spcBef>
                <a:spcPct val="20000"/>
              </a:spcBef>
              <a:buSzPct val="90000"/>
              <a:buBlip>
                <a:blip r:embed="rId38"/>
              </a:buBlip>
            </a:pPr>
            <a:r>
              <a:rPr lang="en-US" sz="1800" dirty="0">
                <a:gradFill>
                  <a:gsLst>
                    <a:gs pos="0">
                      <a:srgbClr val="FFFFFF"/>
                    </a:gs>
                    <a:gs pos="86000">
                      <a:srgbClr val="FFFFFF"/>
                    </a:gs>
                  </a:gsLst>
                  <a:lin ang="5400000" scaled="0"/>
                </a:gradFill>
              </a:rPr>
              <a:t>Shared Folders</a:t>
            </a:r>
          </a:p>
        </p:txBody>
      </p:sp>
      <p:sp>
        <p:nvSpPr>
          <p:cNvPr id="25" name="TextBox 24"/>
          <p:cNvSpPr txBox="1"/>
          <p:nvPr>
            <p:custDataLst>
              <p:tags r:id="rId18"/>
            </p:custDataLst>
          </p:nvPr>
        </p:nvSpPr>
        <p:spPr>
          <a:xfrm>
            <a:off x="4637498" y="1746545"/>
            <a:ext cx="4115872" cy="572613"/>
          </a:xfrm>
          <a:prstGeom prst="rect">
            <a:avLst/>
          </a:prstGeom>
          <a:solidFill>
            <a:schemeClr val="accent5"/>
          </a:solidFill>
        </p:spPr>
        <p:txBody>
          <a:bodyPr wrap="square" lIns="68586" tIns="34294" rIns="68586" bIns="34294" rtlCol="0">
            <a:noAutofit/>
          </a:bodyPr>
          <a:lstStyle/>
          <a:p>
            <a:pPr>
              <a:lnSpc>
                <a:spcPct val="90000"/>
              </a:lnSpc>
              <a:spcBef>
                <a:spcPts val="900"/>
              </a:spcBef>
              <a:buSzPct val="90000"/>
            </a:pPr>
            <a:endParaRPr lang="en-US" sz="1700" spc="-30" dirty="0">
              <a:solidFill>
                <a:srgbClr val="FFFFFF">
                  <a:alpha val="99000"/>
                </a:srgbClr>
              </a:solidFill>
            </a:endParaRPr>
          </a:p>
        </p:txBody>
      </p:sp>
      <p:sp>
        <p:nvSpPr>
          <p:cNvPr id="26" name="TextBox 25"/>
          <p:cNvSpPr txBox="1"/>
          <p:nvPr>
            <p:custDataLst>
              <p:tags r:id="rId19"/>
            </p:custDataLst>
          </p:nvPr>
        </p:nvSpPr>
        <p:spPr>
          <a:xfrm>
            <a:off x="4637501" y="1873577"/>
            <a:ext cx="4115872" cy="318549"/>
          </a:xfrm>
          <a:prstGeom prst="rect">
            <a:avLst/>
          </a:prstGeom>
          <a:noFill/>
        </p:spPr>
        <p:txBody>
          <a:bodyPr wrap="square" lIns="137172" tIns="34294" rIns="68586" bIns="34294" rtlCol="0">
            <a:spAutoFit/>
          </a:bodyPr>
          <a:lstStyle/>
          <a:p>
            <a:pPr marL="255005" indent="-255005">
              <a:lnSpc>
                <a:spcPct val="90000"/>
              </a:lnSpc>
              <a:spcBef>
                <a:spcPct val="20000"/>
              </a:spcBef>
              <a:buSzPct val="90000"/>
              <a:buBlip>
                <a:blip r:embed="rId38"/>
              </a:buBlip>
            </a:pPr>
            <a:r>
              <a:rPr lang="en-US" sz="1800" dirty="0">
                <a:gradFill>
                  <a:gsLst>
                    <a:gs pos="0">
                      <a:srgbClr val="FFFFFF"/>
                    </a:gs>
                    <a:gs pos="86000">
                      <a:srgbClr val="FFFFFF"/>
                    </a:gs>
                  </a:gsLst>
                  <a:lin ang="5400000" scaled="0"/>
                </a:gradFill>
              </a:rPr>
              <a:t>Disk Management</a:t>
            </a:r>
          </a:p>
        </p:txBody>
      </p:sp>
      <p:sp>
        <p:nvSpPr>
          <p:cNvPr id="28" name="TextBox 27"/>
          <p:cNvSpPr txBox="1"/>
          <p:nvPr>
            <p:custDataLst>
              <p:tags r:id="rId20"/>
            </p:custDataLst>
          </p:nvPr>
        </p:nvSpPr>
        <p:spPr>
          <a:xfrm>
            <a:off x="4637498" y="2408351"/>
            <a:ext cx="4115872" cy="572613"/>
          </a:xfrm>
          <a:prstGeom prst="rect">
            <a:avLst/>
          </a:prstGeom>
          <a:solidFill>
            <a:schemeClr val="accent4"/>
          </a:solidFill>
        </p:spPr>
        <p:txBody>
          <a:bodyPr wrap="square" lIns="68586" tIns="34294" rIns="68586" bIns="34294" rtlCol="0">
            <a:noAutofit/>
          </a:bodyPr>
          <a:lstStyle/>
          <a:p>
            <a:pPr>
              <a:lnSpc>
                <a:spcPct val="90000"/>
              </a:lnSpc>
              <a:spcBef>
                <a:spcPts val="900"/>
              </a:spcBef>
              <a:buSzPct val="90000"/>
            </a:pPr>
            <a:endParaRPr lang="en-US" sz="1700" spc="-30" dirty="0">
              <a:solidFill>
                <a:srgbClr val="FFFFFF">
                  <a:alpha val="99000"/>
                </a:srgbClr>
              </a:solidFill>
            </a:endParaRPr>
          </a:p>
        </p:txBody>
      </p:sp>
      <p:sp>
        <p:nvSpPr>
          <p:cNvPr id="29" name="TextBox 28"/>
          <p:cNvSpPr txBox="1"/>
          <p:nvPr>
            <p:custDataLst>
              <p:tags r:id="rId21"/>
            </p:custDataLst>
          </p:nvPr>
        </p:nvSpPr>
        <p:spPr>
          <a:xfrm>
            <a:off x="4637501" y="2535383"/>
            <a:ext cx="4115872" cy="318549"/>
          </a:xfrm>
          <a:prstGeom prst="rect">
            <a:avLst/>
          </a:prstGeom>
          <a:noFill/>
        </p:spPr>
        <p:txBody>
          <a:bodyPr wrap="square" lIns="137172" tIns="34294" rIns="68586" bIns="34294" rtlCol="0">
            <a:spAutoFit/>
          </a:bodyPr>
          <a:lstStyle/>
          <a:p>
            <a:pPr marL="255005" indent="-255005">
              <a:lnSpc>
                <a:spcPct val="90000"/>
              </a:lnSpc>
              <a:spcBef>
                <a:spcPct val="20000"/>
              </a:spcBef>
              <a:buSzPct val="90000"/>
              <a:buBlip>
                <a:blip r:embed="rId38"/>
              </a:buBlip>
            </a:pPr>
            <a:r>
              <a:rPr lang="en-US" sz="1800" dirty="0">
                <a:gradFill>
                  <a:gsLst>
                    <a:gs pos="0">
                      <a:srgbClr val="FFFFFF"/>
                    </a:gs>
                    <a:gs pos="86000">
                      <a:srgbClr val="FFFFFF"/>
                    </a:gs>
                  </a:gsLst>
                  <a:lin ang="5400000" scaled="0"/>
                </a:gradFill>
              </a:rPr>
              <a:t>Storage Manager for SANs</a:t>
            </a:r>
          </a:p>
        </p:txBody>
      </p:sp>
      <p:sp>
        <p:nvSpPr>
          <p:cNvPr id="31" name="TextBox 30"/>
          <p:cNvSpPr txBox="1"/>
          <p:nvPr>
            <p:custDataLst>
              <p:tags r:id="rId22"/>
            </p:custDataLst>
          </p:nvPr>
        </p:nvSpPr>
        <p:spPr>
          <a:xfrm>
            <a:off x="4637498" y="3070157"/>
            <a:ext cx="4115872" cy="572613"/>
          </a:xfrm>
          <a:prstGeom prst="rect">
            <a:avLst/>
          </a:prstGeom>
          <a:solidFill>
            <a:schemeClr val="accent3"/>
          </a:solidFill>
        </p:spPr>
        <p:txBody>
          <a:bodyPr wrap="square" lIns="68586" tIns="34294" rIns="68586" bIns="34294" rtlCol="0">
            <a:noAutofit/>
          </a:bodyPr>
          <a:lstStyle/>
          <a:p>
            <a:pPr>
              <a:lnSpc>
                <a:spcPct val="90000"/>
              </a:lnSpc>
              <a:spcBef>
                <a:spcPts val="900"/>
              </a:spcBef>
              <a:buSzPct val="90000"/>
            </a:pPr>
            <a:endParaRPr lang="en-US" sz="1700" spc="-30" dirty="0">
              <a:solidFill>
                <a:srgbClr val="FFFFFF">
                  <a:alpha val="99000"/>
                </a:srgbClr>
              </a:solidFill>
            </a:endParaRPr>
          </a:p>
        </p:txBody>
      </p:sp>
      <p:sp>
        <p:nvSpPr>
          <p:cNvPr id="32" name="TextBox 31"/>
          <p:cNvSpPr txBox="1"/>
          <p:nvPr>
            <p:custDataLst>
              <p:tags r:id="rId23"/>
            </p:custDataLst>
          </p:nvPr>
        </p:nvSpPr>
        <p:spPr>
          <a:xfrm>
            <a:off x="4637501" y="3197189"/>
            <a:ext cx="4115872" cy="318549"/>
          </a:xfrm>
          <a:prstGeom prst="rect">
            <a:avLst/>
          </a:prstGeom>
          <a:noFill/>
        </p:spPr>
        <p:txBody>
          <a:bodyPr wrap="square" lIns="137172" tIns="34294" rIns="68586" bIns="34294" rtlCol="0">
            <a:spAutoFit/>
          </a:bodyPr>
          <a:lstStyle/>
          <a:p>
            <a:pPr marL="255005" indent="-255005">
              <a:lnSpc>
                <a:spcPct val="90000"/>
              </a:lnSpc>
              <a:spcBef>
                <a:spcPct val="20000"/>
              </a:spcBef>
              <a:buSzPct val="90000"/>
              <a:buBlip>
                <a:blip r:embed="rId38"/>
              </a:buBlip>
            </a:pPr>
            <a:r>
              <a:rPr lang="en-US" sz="1800" dirty="0">
                <a:gradFill>
                  <a:gsLst>
                    <a:gs pos="0">
                      <a:srgbClr val="FFFFFF"/>
                    </a:gs>
                    <a:gs pos="86000">
                      <a:srgbClr val="FFFFFF"/>
                    </a:gs>
                  </a:gsLst>
                  <a:lin ang="5400000" scaled="0"/>
                </a:gradFill>
              </a:rPr>
              <a:t>Storage Vendor Tools</a:t>
            </a:r>
          </a:p>
        </p:txBody>
      </p:sp>
      <p:sp>
        <p:nvSpPr>
          <p:cNvPr id="34" name="TextBox 33"/>
          <p:cNvSpPr txBox="1"/>
          <p:nvPr>
            <p:custDataLst>
              <p:tags r:id="rId24"/>
            </p:custDataLst>
          </p:nvPr>
        </p:nvSpPr>
        <p:spPr>
          <a:xfrm>
            <a:off x="4637498" y="3731965"/>
            <a:ext cx="4115872" cy="572613"/>
          </a:xfrm>
          <a:prstGeom prst="rect">
            <a:avLst/>
          </a:prstGeom>
          <a:solidFill>
            <a:schemeClr val="accent2"/>
          </a:solidFill>
        </p:spPr>
        <p:txBody>
          <a:bodyPr wrap="square" lIns="68586" tIns="34294" rIns="68586" bIns="34294" rtlCol="0">
            <a:noAutofit/>
          </a:bodyPr>
          <a:lstStyle/>
          <a:p>
            <a:pPr>
              <a:lnSpc>
                <a:spcPct val="90000"/>
              </a:lnSpc>
              <a:spcBef>
                <a:spcPts val="900"/>
              </a:spcBef>
              <a:buSzPct val="90000"/>
            </a:pPr>
            <a:endParaRPr lang="en-US" sz="1700" spc="-30" dirty="0">
              <a:solidFill>
                <a:srgbClr val="FFFFFF">
                  <a:alpha val="99000"/>
                </a:srgbClr>
              </a:solidFill>
            </a:endParaRPr>
          </a:p>
        </p:txBody>
      </p:sp>
      <p:sp>
        <p:nvSpPr>
          <p:cNvPr id="35" name="TextBox 34"/>
          <p:cNvSpPr txBox="1"/>
          <p:nvPr>
            <p:custDataLst>
              <p:tags r:id="rId25"/>
            </p:custDataLst>
          </p:nvPr>
        </p:nvSpPr>
        <p:spPr>
          <a:xfrm>
            <a:off x="4637501" y="3858997"/>
            <a:ext cx="4115872" cy="318549"/>
          </a:xfrm>
          <a:prstGeom prst="rect">
            <a:avLst/>
          </a:prstGeom>
          <a:noFill/>
        </p:spPr>
        <p:txBody>
          <a:bodyPr wrap="square" lIns="137172" tIns="34294" rIns="68586" bIns="34294" rtlCol="0">
            <a:spAutoFit/>
          </a:bodyPr>
          <a:lstStyle/>
          <a:p>
            <a:pPr marL="255005" indent="-255005">
              <a:lnSpc>
                <a:spcPct val="90000"/>
              </a:lnSpc>
              <a:spcBef>
                <a:spcPct val="20000"/>
              </a:spcBef>
              <a:buSzPct val="90000"/>
              <a:buBlip>
                <a:blip r:embed="rId38"/>
              </a:buBlip>
            </a:pPr>
            <a:r>
              <a:rPr lang="en-US" sz="1800" dirty="0">
                <a:gradFill>
                  <a:gsLst>
                    <a:gs pos="0">
                      <a:srgbClr val="FFFFFF"/>
                    </a:gs>
                    <a:gs pos="86000">
                      <a:srgbClr val="FFFFFF"/>
                    </a:gs>
                  </a:gsLst>
                  <a:lin ang="5400000" scaled="0"/>
                </a:gradFill>
              </a:rPr>
              <a:t>Windows Explorer</a:t>
            </a:r>
          </a:p>
        </p:txBody>
      </p:sp>
      <p:sp>
        <p:nvSpPr>
          <p:cNvPr id="37" name="TextBox 36"/>
          <p:cNvSpPr txBox="1"/>
          <p:nvPr>
            <p:custDataLst>
              <p:tags r:id="rId26"/>
            </p:custDataLst>
          </p:nvPr>
        </p:nvSpPr>
        <p:spPr>
          <a:xfrm>
            <a:off x="4637498" y="4393769"/>
            <a:ext cx="4115872" cy="572613"/>
          </a:xfrm>
          <a:prstGeom prst="rect">
            <a:avLst/>
          </a:prstGeom>
          <a:solidFill>
            <a:schemeClr val="accent1"/>
          </a:solidFill>
        </p:spPr>
        <p:txBody>
          <a:bodyPr wrap="square" lIns="68586" tIns="34294" rIns="68586" bIns="34294" rtlCol="0">
            <a:noAutofit/>
          </a:bodyPr>
          <a:lstStyle/>
          <a:p>
            <a:pPr>
              <a:lnSpc>
                <a:spcPct val="90000"/>
              </a:lnSpc>
              <a:spcBef>
                <a:spcPts val="900"/>
              </a:spcBef>
              <a:buSzPct val="90000"/>
            </a:pPr>
            <a:endParaRPr lang="en-US" sz="1700" spc="-30" dirty="0">
              <a:solidFill>
                <a:srgbClr val="FFFFFF">
                  <a:alpha val="99000"/>
                </a:srgbClr>
              </a:solidFill>
            </a:endParaRPr>
          </a:p>
        </p:txBody>
      </p:sp>
      <p:sp>
        <p:nvSpPr>
          <p:cNvPr id="38" name="TextBox 37"/>
          <p:cNvSpPr txBox="1"/>
          <p:nvPr>
            <p:custDataLst>
              <p:tags r:id="rId27"/>
            </p:custDataLst>
          </p:nvPr>
        </p:nvSpPr>
        <p:spPr>
          <a:xfrm>
            <a:off x="4637501" y="4520801"/>
            <a:ext cx="4115872" cy="318549"/>
          </a:xfrm>
          <a:prstGeom prst="rect">
            <a:avLst/>
          </a:prstGeom>
          <a:noFill/>
        </p:spPr>
        <p:txBody>
          <a:bodyPr wrap="square" lIns="137172" tIns="34294" rIns="68586" bIns="34294" rtlCol="0">
            <a:spAutoFit/>
          </a:bodyPr>
          <a:lstStyle/>
          <a:p>
            <a:pPr marL="255005" indent="-255005">
              <a:lnSpc>
                <a:spcPct val="90000"/>
              </a:lnSpc>
              <a:spcBef>
                <a:spcPct val="20000"/>
              </a:spcBef>
              <a:buSzPct val="90000"/>
              <a:buBlip>
                <a:blip r:embed="rId38"/>
              </a:buBlip>
            </a:pPr>
            <a:r>
              <a:rPr lang="en-US" sz="1800" dirty="0">
                <a:gradFill>
                  <a:gsLst>
                    <a:gs pos="0">
                      <a:srgbClr val="FFFFFF"/>
                    </a:gs>
                    <a:gs pos="86000">
                      <a:srgbClr val="FFFFFF"/>
                    </a:gs>
                  </a:gsLst>
                  <a:lin ang="5400000" scaled="0"/>
                </a:gradFill>
              </a:rPr>
              <a:t>Command Line / Scripts</a:t>
            </a:r>
          </a:p>
        </p:txBody>
      </p:sp>
      <p:grpSp>
        <p:nvGrpSpPr>
          <p:cNvPr id="39" name="Group 38"/>
          <p:cNvGrpSpPr/>
          <p:nvPr>
            <p:custDataLst>
              <p:tags r:id="rId28"/>
            </p:custDataLst>
          </p:nvPr>
        </p:nvGrpSpPr>
        <p:grpSpPr>
          <a:xfrm>
            <a:off x="3938702" y="1836963"/>
            <a:ext cx="422722" cy="380916"/>
            <a:chOff x="355693" y="1727251"/>
            <a:chExt cx="563482" cy="507888"/>
          </a:xfrm>
        </p:grpSpPr>
        <p:grpSp>
          <p:nvGrpSpPr>
            <p:cNvPr id="40" name="Group 39"/>
            <p:cNvGrpSpPr/>
            <p:nvPr/>
          </p:nvGrpSpPr>
          <p:grpSpPr>
            <a:xfrm>
              <a:off x="355693" y="1727251"/>
              <a:ext cx="288573" cy="389366"/>
              <a:chOff x="5865812" y="2626487"/>
              <a:chExt cx="181127" cy="269113"/>
            </a:xfrm>
          </p:grpSpPr>
          <p:sp>
            <p:nvSpPr>
              <p:cNvPr id="42" name="Freeform 28"/>
              <p:cNvSpPr>
                <a:spLocks/>
              </p:cNvSpPr>
              <p:nvPr/>
            </p:nvSpPr>
            <p:spPr bwMode="black">
              <a:xfrm>
                <a:off x="5865812" y="2743150"/>
                <a:ext cx="181127" cy="152450"/>
              </a:xfrm>
              <a:custGeom>
                <a:avLst/>
                <a:gdLst>
                  <a:gd name="T0" fmla="*/ 0 w 107"/>
                  <a:gd name="T1" fmla="*/ 90 h 90"/>
                  <a:gd name="T2" fmla="*/ 54 w 107"/>
                  <a:gd name="T3" fmla="*/ 0 h 90"/>
                  <a:gd name="T4" fmla="*/ 107 w 107"/>
                  <a:gd name="T5" fmla="*/ 90 h 90"/>
                  <a:gd name="T6" fmla="*/ 0 w 107"/>
                  <a:gd name="T7" fmla="*/ 90 h 90"/>
                </a:gdLst>
                <a:ahLst/>
                <a:cxnLst>
                  <a:cxn ang="0">
                    <a:pos x="T0" y="T1"/>
                  </a:cxn>
                  <a:cxn ang="0">
                    <a:pos x="T2" y="T3"/>
                  </a:cxn>
                  <a:cxn ang="0">
                    <a:pos x="T4" y="T5"/>
                  </a:cxn>
                  <a:cxn ang="0">
                    <a:pos x="T6" y="T7"/>
                  </a:cxn>
                </a:cxnLst>
                <a:rect l="0" t="0" r="r" b="b"/>
                <a:pathLst>
                  <a:path w="107" h="90">
                    <a:moveTo>
                      <a:pt x="0" y="90"/>
                    </a:moveTo>
                    <a:cubicBezTo>
                      <a:pt x="0" y="40"/>
                      <a:pt x="8" y="0"/>
                      <a:pt x="54" y="0"/>
                    </a:cubicBezTo>
                    <a:cubicBezTo>
                      <a:pt x="99" y="0"/>
                      <a:pt x="107" y="40"/>
                      <a:pt x="107" y="90"/>
                    </a:cubicBezTo>
                    <a:lnTo>
                      <a:pt x="0" y="90"/>
                    </a:lnTo>
                    <a:close/>
                  </a:path>
                </a:pathLst>
              </a:custGeom>
              <a:solidFill>
                <a:srgbClr val="FFFFFF"/>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606"/>
                <a:endParaRPr lang="en-US" spc="-92" dirty="0">
                  <a:solidFill>
                    <a:srgbClr val="FFFFFF">
                      <a:lumMod val="50000"/>
                    </a:srgbClr>
                  </a:solidFill>
                  <a:sym typeface="Segoe UI"/>
                </a:endParaRPr>
              </a:p>
            </p:txBody>
          </p:sp>
          <p:sp>
            <p:nvSpPr>
              <p:cNvPr id="43" name="Oval 30"/>
              <p:cNvSpPr>
                <a:spLocks noChangeArrowheads="1"/>
              </p:cNvSpPr>
              <p:nvPr/>
            </p:nvSpPr>
            <p:spPr bwMode="black">
              <a:xfrm>
                <a:off x="5903040" y="2626487"/>
                <a:ext cx="108103" cy="108075"/>
              </a:xfrm>
              <a:prstGeom prst="ellipse">
                <a:avLst/>
              </a:prstGeom>
              <a:solidFill>
                <a:srgbClr val="FFFFFF"/>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606"/>
                <a:endParaRPr lang="en-US" spc="-92" dirty="0">
                  <a:solidFill>
                    <a:srgbClr val="FFFFFF">
                      <a:lumMod val="50000"/>
                    </a:srgbClr>
                  </a:solidFill>
                  <a:sym typeface="Segoe UI"/>
                </a:endParaRPr>
              </a:p>
            </p:txBody>
          </p:sp>
        </p:grpSp>
        <p:sp>
          <p:nvSpPr>
            <p:cNvPr id="41" name="Freeform 128"/>
            <p:cNvSpPr>
              <a:spLocks noEditPoints="1"/>
            </p:cNvSpPr>
            <p:nvPr/>
          </p:nvSpPr>
          <p:spPr bwMode="black">
            <a:xfrm>
              <a:off x="659265" y="2006331"/>
              <a:ext cx="259910" cy="228808"/>
            </a:xfrm>
            <a:custGeom>
              <a:avLst/>
              <a:gdLst>
                <a:gd name="T0" fmla="*/ 49 w 71"/>
                <a:gd name="T1" fmla="*/ 21 h 62"/>
                <a:gd name="T2" fmla="*/ 49 w 71"/>
                <a:gd name="T3" fmla="*/ 19 h 62"/>
                <a:gd name="T4" fmla="*/ 49 w 71"/>
                <a:gd name="T5" fmla="*/ 19 h 62"/>
                <a:gd name="T6" fmla="*/ 48 w 71"/>
                <a:gd name="T7" fmla="*/ 17 h 62"/>
                <a:gd name="T8" fmla="*/ 32 w 71"/>
                <a:gd name="T9" fmla="*/ 2 h 62"/>
                <a:gd name="T10" fmla="*/ 28 w 71"/>
                <a:gd name="T11" fmla="*/ 0 h 62"/>
                <a:gd name="T12" fmla="*/ 28 w 71"/>
                <a:gd name="T13" fmla="*/ 0 h 62"/>
                <a:gd name="T14" fmla="*/ 28 w 71"/>
                <a:gd name="T15" fmla="*/ 0 h 62"/>
                <a:gd name="T16" fmla="*/ 6 w 71"/>
                <a:gd name="T17" fmla="*/ 0 h 62"/>
                <a:gd name="T18" fmla="*/ 0 w 71"/>
                <a:gd name="T19" fmla="*/ 5 h 62"/>
                <a:gd name="T20" fmla="*/ 0 w 71"/>
                <a:gd name="T21" fmla="*/ 56 h 62"/>
                <a:gd name="T22" fmla="*/ 6 w 71"/>
                <a:gd name="T23" fmla="*/ 62 h 62"/>
                <a:gd name="T24" fmla="*/ 44 w 71"/>
                <a:gd name="T25" fmla="*/ 62 h 62"/>
                <a:gd name="T26" fmla="*/ 50 w 71"/>
                <a:gd name="T27" fmla="*/ 56 h 62"/>
                <a:gd name="T28" fmla="*/ 50 w 71"/>
                <a:gd name="T29" fmla="*/ 21 h 62"/>
                <a:gd name="T30" fmla="*/ 49 w 71"/>
                <a:gd name="T31" fmla="*/ 21 h 62"/>
                <a:gd name="T32" fmla="*/ 28 w 71"/>
                <a:gd name="T33" fmla="*/ 5 h 62"/>
                <a:gd name="T34" fmla="*/ 44 w 71"/>
                <a:gd name="T35" fmla="*/ 21 h 62"/>
                <a:gd name="T36" fmla="*/ 28 w 71"/>
                <a:gd name="T37" fmla="*/ 21 h 62"/>
                <a:gd name="T38" fmla="*/ 28 w 71"/>
                <a:gd name="T39" fmla="*/ 5 h 62"/>
                <a:gd name="T40" fmla="*/ 44 w 71"/>
                <a:gd name="T41" fmla="*/ 56 h 62"/>
                <a:gd name="T42" fmla="*/ 6 w 71"/>
                <a:gd name="T43" fmla="*/ 56 h 62"/>
                <a:gd name="T44" fmla="*/ 6 w 71"/>
                <a:gd name="T45" fmla="*/ 5 h 62"/>
                <a:gd name="T46" fmla="*/ 23 w 71"/>
                <a:gd name="T47" fmla="*/ 5 h 62"/>
                <a:gd name="T48" fmla="*/ 23 w 71"/>
                <a:gd name="T49" fmla="*/ 21 h 62"/>
                <a:gd name="T50" fmla="*/ 28 w 71"/>
                <a:gd name="T51" fmla="*/ 27 h 62"/>
                <a:gd name="T52" fmla="*/ 44 w 71"/>
                <a:gd name="T53" fmla="*/ 27 h 62"/>
                <a:gd name="T54" fmla="*/ 44 w 71"/>
                <a:gd name="T55" fmla="*/ 56 h 62"/>
                <a:gd name="T56" fmla="*/ 58 w 71"/>
                <a:gd name="T57" fmla="*/ 14 h 62"/>
                <a:gd name="T58" fmla="*/ 60 w 71"/>
                <a:gd name="T59" fmla="*/ 19 h 62"/>
                <a:gd name="T60" fmla="*/ 60 w 71"/>
                <a:gd name="T61" fmla="*/ 56 h 62"/>
                <a:gd name="T62" fmla="*/ 55 w 71"/>
                <a:gd name="T63" fmla="*/ 62 h 62"/>
                <a:gd name="T64" fmla="*/ 53 w 71"/>
                <a:gd name="T65" fmla="*/ 62 h 62"/>
                <a:gd name="T66" fmla="*/ 55 w 71"/>
                <a:gd name="T67" fmla="*/ 57 h 62"/>
                <a:gd name="T68" fmla="*/ 55 w 71"/>
                <a:gd name="T69" fmla="*/ 21 h 62"/>
                <a:gd name="T70" fmla="*/ 53 w 71"/>
                <a:gd name="T71" fmla="*/ 15 h 62"/>
                <a:gd name="T72" fmla="*/ 37 w 71"/>
                <a:gd name="T73" fmla="*/ 0 h 62"/>
                <a:gd name="T74" fmla="*/ 37 w 71"/>
                <a:gd name="T75" fmla="*/ 0 h 62"/>
                <a:gd name="T76" fmla="*/ 39 w 71"/>
                <a:gd name="T77" fmla="*/ 0 h 62"/>
                <a:gd name="T78" fmla="*/ 40 w 71"/>
                <a:gd name="T79" fmla="*/ 0 h 62"/>
                <a:gd name="T80" fmla="*/ 47 w 71"/>
                <a:gd name="T81" fmla="*/ 3 h 62"/>
                <a:gd name="T82" fmla="*/ 58 w 71"/>
                <a:gd name="T83" fmla="*/ 14 h 62"/>
                <a:gd name="T84" fmla="*/ 69 w 71"/>
                <a:gd name="T85" fmla="*/ 13 h 62"/>
                <a:gd name="T86" fmla="*/ 71 w 71"/>
                <a:gd name="T87" fmla="*/ 17 h 62"/>
                <a:gd name="T88" fmla="*/ 71 w 71"/>
                <a:gd name="T89" fmla="*/ 56 h 62"/>
                <a:gd name="T90" fmla="*/ 65 w 71"/>
                <a:gd name="T91" fmla="*/ 62 h 62"/>
                <a:gd name="T92" fmla="*/ 64 w 71"/>
                <a:gd name="T93" fmla="*/ 62 h 62"/>
                <a:gd name="T94" fmla="*/ 65 w 71"/>
                <a:gd name="T95" fmla="*/ 57 h 62"/>
                <a:gd name="T96" fmla="*/ 65 w 71"/>
                <a:gd name="T97" fmla="*/ 18 h 62"/>
                <a:gd name="T98" fmla="*/ 64 w 71"/>
                <a:gd name="T99" fmla="*/ 14 h 62"/>
                <a:gd name="T100" fmla="*/ 50 w 71"/>
                <a:gd name="T101" fmla="*/ 0 h 62"/>
                <a:gd name="T102" fmla="*/ 50 w 71"/>
                <a:gd name="T103" fmla="*/ 0 h 62"/>
                <a:gd name="T104" fmla="*/ 51 w 71"/>
                <a:gd name="T105" fmla="*/ 0 h 62"/>
                <a:gd name="T106" fmla="*/ 52 w 71"/>
                <a:gd name="T107" fmla="*/ 0 h 62"/>
                <a:gd name="T108" fmla="*/ 59 w 71"/>
                <a:gd name="T109" fmla="*/ 3 h 62"/>
                <a:gd name="T110" fmla="*/ 69 w 71"/>
                <a:gd name="T111"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1" h="62">
                  <a:moveTo>
                    <a:pt x="49" y="21"/>
                  </a:moveTo>
                  <a:cubicBezTo>
                    <a:pt x="49" y="20"/>
                    <a:pt x="49" y="20"/>
                    <a:pt x="49" y="19"/>
                  </a:cubicBezTo>
                  <a:cubicBezTo>
                    <a:pt x="49" y="19"/>
                    <a:pt x="49" y="19"/>
                    <a:pt x="49" y="19"/>
                  </a:cubicBezTo>
                  <a:cubicBezTo>
                    <a:pt x="49" y="18"/>
                    <a:pt x="48" y="18"/>
                    <a:pt x="48" y="17"/>
                  </a:cubicBezTo>
                  <a:cubicBezTo>
                    <a:pt x="32" y="2"/>
                    <a:pt x="32" y="2"/>
                    <a:pt x="32" y="2"/>
                  </a:cubicBezTo>
                  <a:cubicBezTo>
                    <a:pt x="31" y="0"/>
                    <a:pt x="30" y="0"/>
                    <a:pt x="28" y="0"/>
                  </a:cubicBezTo>
                  <a:cubicBezTo>
                    <a:pt x="28" y="0"/>
                    <a:pt x="28" y="0"/>
                    <a:pt x="28" y="0"/>
                  </a:cubicBezTo>
                  <a:cubicBezTo>
                    <a:pt x="28" y="0"/>
                    <a:pt x="28" y="0"/>
                    <a:pt x="28" y="0"/>
                  </a:cubicBezTo>
                  <a:cubicBezTo>
                    <a:pt x="6" y="0"/>
                    <a:pt x="6" y="0"/>
                    <a:pt x="6" y="0"/>
                  </a:cubicBezTo>
                  <a:cubicBezTo>
                    <a:pt x="3" y="0"/>
                    <a:pt x="0" y="2"/>
                    <a:pt x="0" y="5"/>
                  </a:cubicBezTo>
                  <a:cubicBezTo>
                    <a:pt x="0" y="56"/>
                    <a:pt x="0" y="56"/>
                    <a:pt x="0" y="56"/>
                  </a:cubicBezTo>
                  <a:cubicBezTo>
                    <a:pt x="0" y="59"/>
                    <a:pt x="3" y="62"/>
                    <a:pt x="6" y="62"/>
                  </a:cubicBezTo>
                  <a:cubicBezTo>
                    <a:pt x="44" y="62"/>
                    <a:pt x="44" y="62"/>
                    <a:pt x="44" y="62"/>
                  </a:cubicBezTo>
                  <a:cubicBezTo>
                    <a:pt x="47" y="62"/>
                    <a:pt x="50" y="59"/>
                    <a:pt x="50" y="56"/>
                  </a:cubicBezTo>
                  <a:cubicBezTo>
                    <a:pt x="50" y="21"/>
                    <a:pt x="50" y="21"/>
                    <a:pt x="50" y="21"/>
                  </a:cubicBezTo>
                  <a:cubicBezTo>
                    <a:pt x="50" y="21"/>
                    <a:pt x="49" y="21"/>
                    <a:pt x="49" y="21"/>
                  </a:cubicBezTo>
                  <a:close/>
                  <a:moveTo>
                    <a:pt x="28" y="5"/>
                  </a:moveTo>
                  <a:cubicBezTo>
                    <a:pt x="44" y="21"/>
                    <a:pt x="44" y="21"/>
                    <a:pt x="44" y="21"/>
                  </a:cubicBezTo>
                  <a:cubicBezTo>
                    <a:pt x="28" y="21"/>
                    <a:pt x="28" y="21"/>
                    <a:pt x="28" y="21"/>
                  </a:cubicBezTo>
                  <a:lnTo>
                    <a:pt x="28" y="5"/>
                  </a:lnTo>
                  <a:close/>
                  <a:moveTo>
                    <a:pt x="44" y="56"/>
                  </a:moveTo>
                  <a:cubicBezTo>
                    <a:pt x="6" y="56"/>
                    <a:pt x="6" y="56"/>
                    <a:pt x="6" y="56"/>
                  </a:cubicBezTo>
                  <a:cubicBezTo>
                    <a:pt x="6" y="5"/>
                    <a:pt x="6" y="5"/>
                    <a:pt x="6" y="5"/>
                  </a:cubicBezTo>
                  <a:cubicBezTo>
                    <a:pt x="23" y="5"/>
                    <a:pt x="23" y="5"/>
                    <a:pt x="23" y="5"/>
                  </a:cubicBezTo>
                  <a:cubicBezTo>
                    <a:pt x="23" y="21"/>
                    <a:pt x="23" y="21"/>
                    <a:pt x="23" y="21"/>
                  </a:cubicBezTo>
                  <a:cubicBezTo>
                    <a:pt x="23" y="24"/>
                    <a:pt x="25" y="27"/>
                    <a:pt x="28" y="27"/>
                  </a:cubicBezTo>
                  <a:cubicBezTo>
                    <a:pt x="44" y="27"/>
                    <a:pt x="44" y="27"/>
                    <a:pt x="44" y="27"/>
                  </a:cubicBezTo>
                  <a:lnTo>
                    <a:pt x="44" y="56"/>
                  </a:lnTo>
                  <a:close/>
                  <a:moveTo>
                    <a:pt x="58" y="14"/>
                  </a:moveTo>
                  <a:cubicBezTo>
                    <a:pt x="59" y="15"/>
                    <a:pt x="60" y="17"/>
                    <a:pt x="60" y="19"/>
                  </a:cubicBezTo>
                  <a:cubicBezTo>
                    <a:pt x="60" y="56"/>
                    <a:pt x="60" y="56"/>
                    <a:pt x="60" y="56"/>
                  </a:cubicBezTo>
                  <a:cubicBezTo>
                    <a:pt x="60" y="59"/>
                    <a:pt x="58" y="62"/>
                    <a:pt x="55" y="62"/>
                  </a:cubicBezTo>
                  <a:cubicBezTo>
                    <a:pt x="53" y="62"/>
                    <a:pt x="53" y="62"/>
                    <a:pt x="53" y="62"/>
                  </a:cubicBezTo>
                  <a:cubicBezTo>
                    <a:pt x="54" y="60"/>
                    <a:pt x="55" y="59"/>
                    <a:pt x="55" y="57"/>
                  </a:cubicBezTo>
                  <a:cubicBezTo>
                    <a:pt x="55" y="21"/>
                    <a:pt x="55" y="21"/>
                    <a:pt x="55" y="21"/>
                  </a:cubicBezTo>
                  <a:cubicBezTo>
                    <a:pt x="55" y="19"/>
                    <a:pt x="54" y="17"/>
                    <a:pt x="53" y="15"/>
                  </a:cubicBezTo>
                  <a:cubicBezTo>
                    <a:pt x="37" y="0"/>
                    <a:pt x="37" y="0"/>
                    <a:pt x="37" y="0"/>
                  </a:cubicBezTo>
                  <a:cubicBezTo>
                    <a:pt x="37" y="0"/>
                    <a:pt x="37" y="0"/>
                    <a:pt x="37" y="0"/>
                  </a:cubicBezTo>
                  <a:cubicBezTo>
                    <a:pt x="39" y="0"/>
                    <a:pt x="39" y="0"/>
                    <a:pt x="39" y="0"/>
                  </a:cubicBezTo>
                  <a:cubicBezTo>
                    <a:pt x="40" y="0"/>
                    <a:pt x="40" y="0"/>
                    <a:pt x="40" y="0"/>
                  </a:cubicBezTo>
                  <a:cubicBezTo>
                    <a:pt x="41" y="0"/>
                    <a:pt x="44" y="0"/>
                    <a:pt x="47" y="3"/>
                  </a:cubicBezTo>
                  <a:cubicBezTo>
                    <a:pt x="58" y="14"/>
                    <a:pt x="58" y="14"/>
                    <a:pt x="58" y="14"/>
                  </a:cubicBezTo>
                  <a:moveTo>
                    <a:pt x="69" y="13"/>
                  </a:moveTo>
                  <a:cubicBezTo>
                    <a:pt x="70" y="14"/>
                    <a:pt x="71" y="16"/>
                    <a:pt x="71" y="17"/>
                  </a:cubicBezTo>
                  <a:cubicBezTo>
                    <a:pt x="71" y="56"/>
                    <a:pt x="71" y="56"/>
                    <a:pt x="71" y="56"/>
                  </a:cubicBezTo>
                  <a:cubicBezTo>
                    <a:pt x="71" y="59"/>
                    <a:pt x="68" y="62"/>
                    <a:pt x="65" y="62"/>
                  </a:cubicBezTo>
                  <a:cubicBezTo>
                    <a:pt x="64" y="62"/>
                    <a:pt x="64" y="62"/>
                    <a:pt x="64" y="62"/>
                  </a:cubicBezTo>
                  <a:cubicBezTo>
                    <a:pt x="65" y="60"/>
                    <a:pt x="65" y="59"/>
                    <a:pt x="65" y="57"/>
                  </a:cubicBezTo>
                  <a:cubicBezTo>
                    <a:pt x="65" y="18"/>
                    <a:pt x="65" y="18"/>
                    <a:pt x="65" y="18"/>
                  </a:cubicBezTo>
                  <a:cubicBezTo>
                    <a:pt x="65" y="17"/>
                    <a:pt x="65" y="15"/>
                    <a:pt x="64" y="14"/>
                  </a:cubicBezTo>
                  <a:cubicBezTo>
                    <a:pt x="50" y="0"/>
                    <a:pt x="50" y="0"/>
                    <a:pt x="50" y="0"/>
                  </a:cubicBezTo>
                  <a:cubicBezTo>
                    <a:pt x="50" y="0"/>
                    <a:pt x="50" y="0"/>
                    <a:pt x="50" y="0"/>
                  </a:cubicBezTo>
                  <a:cubicBezTo>
                    <a:pt x="51" y="0"/>
                    <a:pt x="51" y="0"/>
                    <a:pt x="51" y="0"/>
                  </a:cubicBezTo>
                  <a:cubicBezTo>
                    <a:pt x="52" y="0"/>
                    <a:pt x="52" y="0"/>
                    <a:pt x="52" y="0"/>
                  </a:cubicBezTo>
                  <a:cubicBezTo>
                    <a:pt x="54" y="0"/>
                    <a:pt x="56" y="0"/>
                    <a:pt x="59" y="3"/>
                  </a:cubicBezTo>
                  <a:cubicBezTo>
                    <a:pt x="69" y="13"/>
                    <a:pt x="69" y="13"/>
                    <a:pt x="69" y="13"/>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44" name="Freeform 20"/>
          <p:cNvSpPr>
            <a:spLocks noEditPoints="1"/>
          </p:cNvSpPr>
          <p:nvPr>
            <p:custDataLst>
              <p:tags r:id="rId29"/>
            </p:custDataLst>
          </p:nvPr>
        </p:nvSpPr>
        <p:spPr bwMode="black">
          <a:xfrm>
            <a:off x="3911938" y="1179981"/>
            <a:ext cx="476250" cy="361055"/>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51431" tIns="25716" rIns="51431" bIns="25716" numCol="1" anchor="t" anchorCtr="0" compatLnSpc="1">
            <a:prstTxWarp prst="textNoShape">
              <a:avLst/>
            </a:prstTxWarp>
          </a:bodyPr>
          <a:lstStyle/>
          <a:p>
            <a:endParaRPr lang="en-US" sz="500" dirty="0">
              <a:solidFill>
                <a:srgbClr val="FFFFFF"/>
              </a:solidFill>
              <a:latin typeface="Segoe UI Light" pitchFamily="34" charset="0"/>
              <a:cs typeface="Segoe UI Light" pitchFamily="34" charset="0"/>
            </a:endParaRPr>
          </a:p>
        </p:txBody>
      </p:sp>
      <p:grpSp>
        <p:nvGrpSpPr>
          <p:cNvPr id="45" name="Group 44"/>
          <p:cNvGrpSpPr/>
          <p:nvPr>
            <p:custDataLst>
              <p:tags r:id="rId30"/>
            </p:custDataLst>
          </p:nvPr>
        </p:nvGrpSpPr>
        <p:grpSpPr bwMode="black">
          <a:xfrm>
            <a:off x="3879531" y="2474626"/>
            <a:ext cx="541064" cy="440065"/>
            <a:chOff x="5184775" y="225425"/>
            <a:chExt cx="1500188" cy="1220788"/>
          </a:xfrm>
          <a:solidFill>
            <a:srgbClr val="FFFFFF"/>
          </a:solidFill>
        </p:grpSpPr>
        <p:sp>
          <p:nvSpPr>
            <p:cNvPr id="46"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47"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48"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grpSp>
      <p:sp>
        <p:nvSpPr>
          <p:cNvPr id="49" name="Freeform 79"/>
          <p:cNvSpPr>
            <a:spLocks noEditPoints="1"/>
          </p:cNvSpPr>
          <p:nvPr>
            <p:custDataLst>
              <p:tags r:id="rId31"/>
            </p:custDataLst>
          </p:nvPr>
        </p:nvSpPr>
        <p:spPr bwMode="black">
          <a:xfrm rot="16200000">
            <a:off x="8117480" y="1144590"/>
            <a:ext cx="337273" cy="418630"/>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rgbClr val="FFFFFF"/>
          </a:solidFill>
          <a:ln>
            <a:noFill/>
          </a:ln>
          <a:extLst/>
        </p:spPr>
        <p:txBody>
          <a:bodyPr vert="horz" wrap="square" lIns="61735" tIns="30867" rIns="61735" bIns="30867" numCol="1" anchor="t" anchorCtr="0" compatLnSpc="1">
            <a:prstTxWarp prst="textNoShape">
              <a:avLst/>
            </a:prstTxWarp>
          </a:bodyPr>
          <a:lstStyle/>
          <a:p>
            <a:endParaRPr lang="en-US" sz="1200">
              <a:solidFill>
                <a:srgbClr val="FFFFFF"/>
              </a:solidFill>
            </a:endParaRPr>
          </a:p>
        </p:txBody>
      </p:sp>
      <p:grpSp>
        <p:nvGrpSpPr>
          <p:cNvPr id="50" name="Group 49"/>
          <p:cNvGrpSpPr/>
          <p:nvPr>
            <p:custDataLst>
              <p:tags r:id="rId32"/>
            </p:custDataLst>
          </p:nvPr>
        </p:nvGrpSpPr>
        <p:grpSpPr>
          <a:xfrm>
            <a:off x="3910017" y="3118555"/>
            <a:ext cx="480093" cy="491688"/>
            <a:chOff x="289440" y="4256477"/>
            <a:chExt cx="779185" cy="798211"/>
          </a:xfrm>
        </p:grpSpPr>
        <p:pic>
          <p:nvPicPr>
            <p:cNvPr id="51" name="Picture 2"/>
            <p:cNvPicPr>
              <a:picLocks noChangeAspect="1" noChangeArrowheads="1"/>
            </p:cNvPicPr>
            <p:nvPr/>
          </p:nvPicPr>
          <p:blipFill>
            <a:blip r:embed="rId39"/>
            <a:srcRect/>
            <a:stretch>
              <a:fillRect/>
            </a:stretch>
          </p:blipFill>
          <p:spPr bwMode="auto">
            <a:xfrm>
              <a:off x="289440" y="4256477"/>
              <a:ext cx="460613" cy="635088"/>
            </a:xfrm>
            <a:prstGeom prst="rect">
              <a:avLst/>
            </a:prstGeom>
            <a:noFill/>
            <a:ln w="9525">
              <a:noFill/>
              <a:miter lim="800000"/>
              <a:headEnd/>
              <a:tailEnd/>
            </a:ln>
          </p:spPr>
        </p:pic>
        <p:pic>
          <p:nvPicPr>
            <p:cNvPr id="52" name="Picture 2"/>
            <p:cNvPicPr>
              <a:picLocks noChangeAspect="1" noChangeArrowheads="1"/>
            </p:cNvPicPr>
            <p:nvPr/>
          </p:nvPicPr>
          <p:blipFill>
            <a:blip r:embed="rId39"/>
            <a:srcRect/>
            <a:stretch>
              <a:fillRect/>
            </a:stretch>
          </p:blipFill>
          <p:spPr bwMode="auto">
            <a:xfrm>
              <a:off x="608012" y="4419600"/>
              <a:ext cx="460613" cy="635088"/>
            </a:xfrm>
            <a:prstGeom prst="rect">
              <a:avLst/>
            </a:prstGeom>
            <a:noFill/>
            <a:ln w="9525">
              <a:noFill/>
              <a:miter lim="800000"/>
              <a:headEnd/>
              <a:tailEnd/>
            </a:ln>
          </p:spPr>
        </p:pic>
      </p:grpSp>
      <p:grpSp>
        <p:nvGrpSpPr>
          <p:cNvPr id="54" name="Group 53"/>
          <p:cNvGrpSpPr/>
          <p:nvPr>
            <p:custDataLst>
              <p:tags r:id="rId33"/>
            </p:custDataLst>
          </p:nvPr>
        </p:nvGrpSpPr>
        <p:grpSpPr>
          <a:xfrm>
            <a:off x="7923984" y="1913336"/>
            <a:ext cx="724261" cy="239033"/>
            <a:chOff x="7218817" y="4470399"/>
            <a:chExt cx="965430" cy="318711"/>
          </a:xfrm>
        </p:grpSpPr>
        <p:pic>
          <p:nvPicPr>
            <p:cNvPr id="55" name="Picture 10" descr="E:\Eric Suchiang FD\Icons\Metro Icon\Metro icons ALL WHITE\blankdisc.png"/>
            <p:cNvPicPr>
              <a:picLocks noChangeAspect="1" noChangeArrowheads="1"/>
            </p:cNvPicPr>
            <p:nvPr/>
          </p:nvPicPr>
          <p:blipFill rotWithShape="1">
            <a:blip r:embed="rId40">
              <a:extLst>
                <a:ext uri="{28A0092B-C50C-407E-A947-70E740481C1C}">
                  <a14:useLocalDpi xmlns:a14="http://schemas.microsoft.com/office/drawing/2010/main" val="0"/>
                </a:ext>
              </a:extLst>
            </a:blip>
            <a:srcRect l="13306" t="12262" r="13541" b="13085"/>
            <a:stretch/>
          </p:blipFill>
          <p:spPr bwMode="auto">
            <a:xfrm>
              <a:off x="7545376" y="4470399"/>
              <a:ext cx="312311" cy="318711"/>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10" descr="E:\Eric Suchiang FD\Icons\Metro Icon\Metro icons ALL WHITE\blankdisc.png"/>
            <p:cNvPicPr>
              <a:picLocks noChangeAspect="1" noChangeArrowheads="1"/>
            </p:cNvPicPr>
            <p:nvPr/>
          </p:nvPicPr>
          <p:blipFill rotWithShape="1">
            <a:blip r:embed="rId40">
              <a:extLst>
                <a:ext uri="{28A0092B-C50C-407E-A947-70E740481C1C}">
                  <a14:useLocalDpi xmlns:a14="http://schemas.microsoft.com/office/drawing/2010/main" val="0"/>
                </a:ext>
              </a:extLst>
            </a:blip>
            <a:srcRect l="13306" t="12262" r="13541" b="13085"/>
            <a:stretch/>
          </p:blipFill>
          <p:spPr bwMode="auto">
            <a:xfrm>
              <a:off x="7871936" y="4470399"/>
              <a:ext cx="312311" cy="318711"/>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10" descr="E:\Eric Suchiang FD\Icons\Metro Icon\Metro icons ALL WHITE\blankdisc.png"/>
            <p:cNvPicPr>
              <a:picLocks noChangeAspect="1" noChangeArrowheads="1"/>
            </p:cNvPicPr>
            <p:nvPr/>
          </p:nvPicPr>
          <p:blipFill rotWithShape="1">
            <a:blip r:embed="rId40">
              <a:extLst>
                <a:ext uri="{28A0092B-C50C-407E-A947-70E740481C1C}">
                  <a14:useLocalDpi xmlns:a14="http://schemas.microsoft.com/office/drawing/2010/main" val="0"/>
                </a:ext>
              </a:extLst>
            </a:blip>
            <a:srcRect l="13306" t="12262" r="13541" b="13085"/>
            <a:stretch/>
          </p:blipFill>
          <p:spPr bwMode="auto">
            <a:xfrm>
              <a:off x="7218817" y="4470399"/>
              <a:ext cx="312311" cy="31871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9" name="Group 58"/>
          <p:cNvGrpSpPr/>
          <p:nvPr/>
        </p:nvGrpSpPr>
        <p:grpSpPr>
          <a:xfrm>
            <a:off x="7986567" y="3149401"/>
            <a:ext cx="599099" cy="414128"/>
            <a:chOff x="2621983" y="-89225"/>
            <a:chExt cx="7286095" cy="5037832"/>
          </a:xfrm>
          <a:solidFill>
            <a:schemeClr val="tx1"/>
          </a:solidFill>
        </p:grpSpPr>
        <p:sp>
          <p:nvSpPr>
            <p:cNvPr id="60" name="Freeform 59"/>
            <p:cNvSpPr/>
            <p:nvPr/>
          </p:nvSpPr>
          <p:spPr>
            <a:xfrm>
              <a:off x="2621983" y="-89225"/>
              <a:ext cx="7286095" cy="5037832"/>
            </a:xfrm>
            <a:custGeom>
              <a:avLst/>
              <a:gdLst/>
              <a:ahLst/>
              <a:cxnLst/>
              <a:rect l="l" t="t" r="r" b="b"/>
              <a:pathLst>
                <a:path w="7286095" h="5037832">
                  <a:moveTo>
                    <a:pt x="2681855" y="2147419"/>
                  </a:moveTo>
                  <a:lnTo>
                    <a:pt x="2681855" y="2235525"/>
                  </a:lnTo>
                  <a:lnTo>
                    <a:pt x="3672455" y="2687963"/>
                  </a:lnTo>
                  <a:lnTo>
                    <a:pt x="4160611" y="2428406"/>
                  </a:lnTo>
                  <a:lnTo>
                    <a:pt x="4160611" y="2337919"/>
                  </a:lnTo>
                  <a:close/>
                  <a:moveTo>
                    <a:pt x="6858354" y="1929286"/>
                  </a:moveTo>
                  <a:lnTo>
                    <a:pt x="3541261" y="3836527"/>
                  </a:lnTo>
                  <a:lnTo>
                    <a:pt x="43626" y="1971532"/>
                  </a:lnTo>
                  <a:lnTo>
                    <a:pt x="3542717" y="3953437"/>
                  </a:lnTo>
                  <a:close/>
                  <a:moveTo>
                    <a:pt x="3521642" y="1748956"/>
                  </a:moveTo>
                  <a:lnTo>
                    <a:pt x="3521642" y="1818013"/>
                  </a:lnTo>
                  <a:lnTo>
                    <a:pt x="4445567" y="2251400"/>
                  </a:lnTo>
                  <a:lnTo>
                    <a:pt x="4931342" y="1989463"/>
                  </a:lnTo>
                  <a:lnTo>
                    <a:pt x="4931342" y="1918025"/>
                  </a:lnTo>
                  <a:close/>
                  <a:moveTo>
                    <a:pt x="1567430" y="1621163"/>
                  </a:moveTo>
                  <a:lnTo>
                    <a:pt x="1567430" y="1704506"/>
                  </a:lnTo>
                  <a:lnTo>
                    <a:pt x="2548505" y="2147419"/>
                  </a:lnTo>
                  <a:lnTo>
                    <a:pt x="3046186" y="1887863"/>
                  </a:lnTo>
                  <a:lnTo>
                    <a:pt x="3046186" y="1809281"/>
                  </a:lnTo>
                  <a:close/>
                  <a:moveTo>
                    <a:pt x="6182457" y="1573175"/>
                  </a:moveTo>
                  <a:lnTo>
                    <a:pt x="3587694" y="2901693"/>
                  </a:lnTo>
                  <a:lnTo>
                    <a:pt x="1179754" y="1713292"/>
                  </a:lnTo>
                  <a:lnTo>
                    <a:pt x="1179754" y="1874168"/>
                  </a:lnTo>
                  <a:lnTo>
                    <a:pt x="3577314" y="3078138"/>
                  </a:lnTo>
                  <a:lnTo>
                    <a:pt x="6182457" y="1687345"/>
                  </a:lnTo>
                  <a:close/>
                  <a:moveTo>
                    <a:pt x="4326505" y="1372719"/>
                  </a:moveTo>
                  <a:lnTo>
                    <a:pt x="4326505" y="1432250"/>
                  </a:lnTo>
                  <a:lnTo>
                    <a:pt x="5226617" y="1837063"/>
                  </a:lnTo>
                  <a:lnTo>
                    <a:pt x="5712392" y="1577506"/>
                  </a:lnTo>
                  <a:lnTo>
                    <a:pt x="5712392" y="1520356"/>
                  </a:lnTo>
                  <a:close/>
                  <a:moveTo>
                    <a:pt x="2442936" y="1241750"/>
                  </a:moveTo>
                  <a:lnTo>
                    <a:pt x="2442936" y="1306044"/>
                  </a:lnTo>
                  <a:lnTo>
                    <a:pt x="3371623" y="1739431"/>
                  </a:lnTo>
                  <a:lnTo>
                    <a:pt x="3847873" y="1475113"/>
                  </a:lnTo>
                  <a:lnTo>
                    <a:pt x="3847873" y="1410819"/>
                  </a:lnTo>
                  <a:close/>
                  <a:moveTo>
                    <a:pt x="3259705" y="875038"/>
                  </a:moveTo>
                  <a:cubicBezTo>
                    <a:pt x="3258911" y="894882"/>
                    <a:pt x="3258118" y="914725"/>
                    <a:pt x="3257324" y="934569"/>
                  </a:cubicBezTo>
                  <a:lnTo>
                    <a:pt x="4157436" y="1348906"/>
                  </a:lnTo>
                  <a:lnTo>
                    <a:pt x="4647973" y="1086969"/>
                  </a:lnTo>
                  <a:lnTo>
                    <a:pt x="4647973" y="1017913"/>
                  </a:lnTo>
                  <a:close/>
                  <a:moveTo>
                    <a:pt x="3826413" y="369202"/>
                  </a:moveTo>
                  <a:lnTo>
                    <a:pt x="1662381" y="1469382"/>
                  </a:lnTo>
                  <a:lnTo>
                    <a:pt x="3821224" y="426288"/>
                  </a:lnTo>
                  <a:lnTo>
                    <a:pt x="5513009" y="1225474"/>
                  </a:lnTo>
                  <a:close/>
                  <a:moveTo>
                    <a:pt x="3789789" y="0"/>
                  </a:moveTo>
                  <a:lnTo>
                    <a:pt x="7284571" y="1684220"/>
                  </a:lnTo>
                  <a:cubicBezTo>
                    <a:pt x="7287385" y="1808658"/>
                    <a:pt x="7283281" y="1933093"/>
                    <a:pt x="7286095" y="2057530"/>
                  </a:cubicBezTo>
                  <a:lnTo>
                    <a:pt x="7154815" y="2137797"/>
                  </a:lnTo>
                  <a:lnTo>
                    <a:pt x="7154815" y="2835810"/>
                  </a:lnTo>
                  <a:lnTo>
                    <a:pt x="7013117" y="2924661"/>
                  </a:lnTo>
                  <a:lnTo>
                    <a:pt x="7013117" y="2224434"/>
                  </a:lnTo>
                  <a:lnTo>
                    <a:pt x="6848443" y="2325119"/>
                  </a:lnTo>
                  <a:lnTo>
                    <a:pt x="6848443" y="3027918"/>
                  </a:lnTo>
                  <a:lnTo>
                    <a:pt x="6706745" y="3116769"/>
                  </a:lnTo>
                  <a:lnTo>
                    <a:pt x="6706745" y="2411756"/>
                  </a:lnTo>
                  <a:lnTo>
                    <a:pt x="6542073" y="2512439"/>
                  </a:lnTo>
                  <a:lnTo>
                    <a:pt x="6542073" y="3220024"/>
                  </a:lnTo>
                  <a:lnTo>
                    <a:pt x="6400375" y="3308875"/>
                  </a:lnTo>
                  <a:lnTo>
                    <a:pt x="6400375" y="2599076"/>
                  </a:lnTo>
                  <a:lnTo>
                    <a:pt x="6235703" y="2699759"/>
                  </a:lnTo>
                  <a:lnTo>
                    <a:pt x="6235703" y="3412131"/>
                  </a:lnTo>
                  <a:lnTo>
                    <a:pt x="6094005" y="3500981"/>
                  </a:lnTo>
                  <a:lnTo>
                    <a:pt x="6094005" y="2786396"/>
                  </a:lnTo>
                  <a:lnTo>
                    <a:pt x="5929332" y="2887081"/>
                  </a:lnTo>
                  <a:lnTo>
                    <a:pt x="5929332" y="3604237"/>
                  </a:lnTo>
                  <a:lnTo>
                    <a:pt x="5787635" y="3693086"/>
                  </a:lnTo>
                  <a:lnTo>
                    <a:pt x="5787635" y="2973716"/>
                  </a:lnTo>
                  <a:lnTo>
                    <a:pt x="5622962" y="3074401"/>
                  </a:lnTo>
                  <a:lnTo>
                    <a:pt x="5622962" y="3796343"/>
                  </a:lnTo>
                  <a:lnTo>
                    <a:pt x="5481265" y="3885194"/>
                  </a:lnTo>
                  <a:lnTo>
                    <a:pt x="5481265" y="3161036"/>
                  </a:lnTo>
                  <a:lnTo>
                    <a:pt x="5316592" y="3261721"/>
                  </a:lnTo>
                  <a:lnTo>
                    <a:pt x="5316592" y="3988448"/>
                  </a:lnTo>
                  <a:lnTo>
                    <a:pt x="5174895" y="4077300"/>
                  </a:lnTo>
                  <a:lnTo>
                    <a:pt x="5174895" y="3348358"/>
                  </a:lnTo>
                  <a:lnTo>
                    <a:pt x="5010222" y="3449041"/>
                  </a:lnTo>
                  <a:lnTo>
                    <a:pt x="5010222" y="4180556"/>
                  </a:lnTo>
                  <a:lnTo>
                    <a:pt x="4868525" y="4269405"/>
                  </a:lnTo>
                  <a:lnTo>
                    <a:pt x="4868525" y="3535678"/>
                  </a:lnTo>
                  <a:lnTo>
                    <a:pt x="4703852" y="3636360"/>
                  </a:lnTo>
                  <a:lnTo>
                    <a:pt x="4703852" y="4372662"/>
                  </a:lnTo>
                  <a:lnTo>
                    <a:pt x="4562155" y="4461513"/>
                  </a:lnTo>
                  <a:lnTo>
                    <a:pt x="4562155" y="3722997"/>
                  </a:lnTo>
                  <a:lnTo>
                    <a:pt x="4397482" y="3823680"/>
                  </a:lnTo>
                  <a:lnTo>
                    <a:pt x="4397482" y="4564768"/>
                  </a:lnTo>
                  <a:lnTo>
                    <a:pt x="4255785" y="4653619"/>
                  </a:lnTo>
                  <a:lnTo>
                    <a:pt x="4255785" y="3910317"/>
                  </a:lnTo>
                  <a:lnTo>
                    <a:pt x="4091112" y="4011000"/>
                  </a:lnTo>
                  <a:lnTo>
                    <a:pt x="4091112" y="4756875"/>
                  </a:lnTo>
                  <a:lnTo>
                    <a:pt x="3949414" y="4845724"/>
                  </a:lnTo>
                  <a:lnTo>
                    <a:pt x="3949414" y="4097637"/>
                  </a:lnTo>
                  <a:lnTo>
                    <a:pt x="3784742" y="4198322"/>
                  </a:lnTo>
                  <a:lnTo>
                    <a:pt x="3784742" y="4948981"/>
                  </a:lnTo>
                  <a:lnTo>
                    <a:pt x="3643044" y="5037832"/>
                  </a:lnTo>
                  <a:lnTo>
                    <a:pt x="3643044" y="4284957"/>
                  </a:lnTo>
                  <a:lnTo>
                    <a:pt x="3528878" y="4354761"/>
                  </a:lnTo>
                  <a:lnTo>
                    <a:pt x="3436697" y="4303067"/>
                  </a:lnTo>
                  <a:lnTo>
                    <a:pt x="3436697" y="5010554"/>
                  </a:lnTo>
                  <a:lnTo>
                    <a:pt x="3294999" y="4927162"/>
                  </a:lnTo>
                  <a:lnTo>
                    <a:pt x="3294999" y="4223605"/>
                  </a:lnTo>
                  <a:lnTo>
                    <a:pt x="3147557" y="4140923"/>
                  </a:lnTo>
                  <a:lnTo>
                    <a:pt x="3147557" y="4840389"/>
                  </a:lnTo>
                  <a:lnTo>
                    <a:pt x="3005859" y="4757000"/>
                  </a:lnTo>
                  <a:lnTo>
                    <a:pt x="3005859" y="4061460"/>
                  </a:lnTo>
                  <a:lnTo>
                    <a:pt x="2858425" y="3978781"/>
                  </a:lnTo>
                  <a:lnTo>
                    <a:pt x="2858425" y="4670232"/>
                  </a:lnTo>
                  <a:lnTo>
                    <a:pt x="2716727" y="4586840"/>
                  </a:lnTo>
                  <a:lnTo>
                    <a:pt x="2716727" y="3899320"/>
                  </a:lnTo>
                  <a:lnTo>
                    <a:pt x="2569294" y="3816641"/>
                  </a:lnTo>
                  <a:lnTo>
                    <a:pt x="2569294" y="4500072"/>
                  </a:lnTo>
                  <a:lnTo>
                    <a:pt x="2427596" y="4416680"/>
                  </a:lnTo>
                  <a:lnTo>
                    <a:pt x="2427596" y="3737178"/>
                  </a:lnTo>
                  <a:lnTo>
                    <a:pt x="2280162" y="3654501"/>
                  </a:lnTo>
                  <a:lnTo>
                    <a:pt x="2280162" y="4329914"/>
                  </a:lnTo>
                  <a:lnTo>
                    <a:pt x="2138464" y="4246522"/>
                  </a:lnTo>
                  <a:lnTo>
                    <a:pt x="2138464" y="3575038"/>
                  </a:lnTo>
                  <a:lnTo>
                    <a:pt x="1991031" y="3492361"/>
                  </a:lnTo>
                  <a:lnTo>
                    <a:pt x="1991031" y="4159755"/>
                  </a:lnTo>
                  <a:lnTo>
                    <a:pt x="1849333" y="4076363"/>
                  </a:lnTo>
                  <a:lnTo>
                    <a:pt x="1849333" y="3412899"/>
                  </a:lnTo>
                  <a:lnTo>
                    <a:pt x="1701899" y="3330219"/>
                  </a:lnTo>
                  <a:lnTo>
                    <a:pt x="1701899" y="3989597"/>
                  </a:lnTo>
                  <a:lnTo>
                    <a:pt x="1560201" y="3906205"/>
                  </a:lnTo>
                  <a:lnTo>
                    <a:pt x="1560201" y="3250759"/>
                  </a:lnTo>
                  <a:lnTo>
                    <a:pt x="1412767" y="3168079"/>
                  </a:lnTo>
                  <a:lnTo>
                    <a:pt x="1412767" y="3819437"/>
                  </a:lnTo>
                  <a:lnTo>
                    <a:pt x="1271070" y="3736045"/>
                  </a:lnTo>
                  <a:lnTo>
                    <a:pt x="1271070" y="3088617"/>
                  </a:lnTo>
                  <a:lnTo>
                    <a:pt x="1123636" y="3005939"/>
                  </a:lnTo>
                  <a:lnTo>
                    <a:pt x="1123636" y="3649279"/>
                  </a:lnTo>
                  <a:lnTo>
                    <a:pt x="981938" y="3565887"/>
                  </a:lnTo>
                  <a:lnTo>
                    <a:pt x="981938" y="2926477"/>
                  </a:lnTo>
                  <a:lnTo>
                    <a:pt x="834504" y="2843800"/>
                  </a:lnTo>
                  <a:lnTo>
                    <a:pt x="834504" y="3479120"/>
                  </a:lnTo>
                  <a:lnTo>
                    <a:pt x="692807" y="3395728"/>
                  </a:lnTo>
                  <a:lnTo>
                    <a:pt x="692807" y="2764337"/>
                  </a:lnTo>
                  <a:lnTo>
                    <a:pt x="545373" y="2681658"/>
                  </a:lnTo>
                  <a:lnTo>
                    <a:pt x="545373" y="3308962"/>
                  </a:lnTo>
                  <a:lnTo>
                    <a:pt x="403675" y="3225570"/>
                  </a:lnTo>
                  <a:lnTo>
                    <a:pt x="403675" y="2602197"/>
                  </a:lnTo>
                  <a:lnTo>
                    <a:pt x="256241" y="2519518"/>
                  </a:lnTo>
                  <a:lnTo>
                    <a:pt x="256241" y="3138802"/>
                  </a:lnTo>
                  <a:lnTo>
                    <a:pt x="114543" y="3055410"/>
                  </a:lnTo>
                  <a:lnTo>
                    <a:pt x="114543" y="2440055"/>
                  </a:lnTo>
                  <a:lnTo>
                    <a:pt x="0" y="2375821"/>
                  </a:lnTo>
                  <a:lnTo>
                    <a:pt x="0" y="1946821"/>
                  </a:lnTo>
                  <a:lnTo>
                    <a:pt x="5283" y="194981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1" name="Rectangle 20"/>
            <p:cNvSpPr/>
            <p:nvPr/>
          </p:nvSpPr>
          <p:spPr>
            <a:xfrm>
              <a:off x="5303764" y="1811419"/>
              <a:ext cx="1472511" cy="687994"/>
            </a:xfrm>
            <a:custGeom>
              <a:avLst/>
              <a:gdLst>
                <a:gd name="connsiteX0" fmla="*/ 0 w 402622"/>
                <a:gd name="connsiteY0" fmla="*/ 0 h 252985"/>
                <a:gd name="connsiteX1" fmla="*/ 402622 w 402622"/>
                <a:gd name="connsiteY1" fmla="*/ 0 h 252985"/>
                <a:gd name="connsiteX2" fmla="*/ 402622 w 402622"/>
                <a:gd name="connsiteY2" fmla="*/ 252985 h 252985"/>
                <a:gd name="connsiteX3" fmla="*/ 0 w 402622"/>
                <a:gd name="connsiteY3" fmla="*/ 252985 h 252985"/>
                <a:gd name="connsiteX4" fmla="*/ 0 w 402622"/>
                <a:gd name="connsiteY4" fmla="*/ 0 h 252985"/>
                <a:gd name="connsiteX0" fmla="*/ 0 w 402622"/>
                <a:gd name="connsiteY0" fmla="*/ 114300 h 367285"/>
                <a:gd name="connsiteX1" fmla="*/ 348647 w 402622"/>
                <a:gd name="connsiteY1" fmla="*/ 0 h 367285"/>
                <a:gd name="connsiteX2" fmla="*/ 402622 w 402622"/>
                <a:gd name="connsiteY2" fmla="*/ 367285 h 367285"/>
                <a:gd name="connsiteX3" fmla="*/ 0 w 402622"/>
                <a:gd name="connsiteY3" fmla="*/ 367285 h 367285"/>
                <a:gd name="connsiteX4" fmla="*/ 0 w 402622"/>
                <a:gd name="connsiteY4" fmla="*/ 114300 h 367285"/>
                <a:gd name="connsiteX0" fmla="*/ 0 w 643922"/>
                <a:gd name="connsiteY0" fmla="*/ 114300 h 367285"/>
                <a:gd name="connsiteX1" fmla="*/ 348647 w 643922"/>
                <a:gd name="connsiteY1" fmla="*/ 0 h 367285"/>
                <a:gd name="connsiteX2" fmla="*/ 643922 w 643922"/>
                <a:gd name="connsiteY2" fmla="*/ 195835 h 367285"/>
                <a:gd name="connsiteX3" fmla="*/ 0 w 643922"/>
                <a:gd name="connsiteY3" fmla="*/ 367285 h 367285"/>
                <a:gd name="connsiteX4" fmla="*/ 0 w 643922"/>
                <a:gd name="connsiteY4" fmla="*/ 114300 h 367285"/>
                <a:gd name="connsiteX0" fmla="*/ 0 w 643922"/>
                <a:gd name="connsiteY0" fmla="*/ 114300 h 443485"/>
                <a:gd name="connsiteX1" fmla="*/ 348647 w 643922"/>
                <a:gd name="connsiteY1" fmla="*/ 0 h 443485"/>
                <a:gd name="connsiteX2" fmla="*/ 643922 w 643922"/>
                <a:gd name="connsiteY2" fmla="*/ 195835 h 443485"/>
                <a:gd name="connsiteX3" fmla="*/ 320675 w 643922"/>
                <a:gd name="connsiteY3" fmla="*/ 443485 h 443485"/>
                <a:gd name="connsiteX4" fmla="*/ 0 w 643922"/>
                <a:gd name="connsiteY4" fmla="*/ 114300 h 443485"/>
                <a:gd name="connsiteX0" fmla="*/ 0 w 659797"/>
                <a:gd name="connsiteY0" fmla="*/ 276225 h 443485"/>
                <a:gd name="connsiteX1" fmla="*/ 364522 w 659797"/>
                <a:gd name="connsiteY1" fmla="*/ 0 h 443485"/>
                <a:gd name="connsiteX2" fmla="*/ 659797 w 659797"/>
                <a:gd name="connsiteY2" fmla="*/ 195835 h 443485"/>
                <a:gd name="connsiteX3" fmla="*/ 336550 w 659797"/>
                <a:gd name="connsiteY3" fmla="*/ 443485 h 443485"/>
                <a:gd name="connsiteX4" fmla="*/ 0 w 659797"/>
                <a:gd name="connsiteY4" fmla="*/ 276225 h 443485"/>
                <a:gd name="connsiteX0" fmla="*/ 0 w 720122"/>
                <a:gd name="connsiteY0" fmla="*/ 203200 h 443485"/>
                <a:gd name="connsiteX1" fmla="*/ 424847 w 720122"/>
                <a:gd name="connsiteY1" fmla="*/ 0 h 443485"/>
                <a:gd name="connsiteX2" fmla="*/ 720122 w 720122"/>
                <a:gd name="connsiteY2" fmla="*/ 195835 h 443485"/>
                <a:gd name="connsiteX3" fmla="*/ 396875 w 720122"/>
                <a:gd name="connsiteY3" fmla="*/ 443485 h 443485"/>
                <a:gd name="connsiteX4" fmla="*/ 0 w 720122"/>
                <a:gd name="connsiteY4" fmla="*/ 203200 h 443485"/>
                <a:gd name="connsiteX0" fmla="*/ 0 w 720122"/>
                <a:gd name="connsiteY0" fmla="*/ 120650 h 360935"/>
                <a:gd name="connsiteX1" fmla="*/ 250222 w 720122"/>
                <a:gd name="connsiteY1" fmla="*/ 0 h 360935"/>
                <a:gd name="connsiteX2" fmla="*/ 720122 w 720122"/>
                <a:gd name="connsiteY2" fmla="*/ 113285 h 360935"/>
                <a:gd name="connsiteX3" fmla="*/ 396875 w 720122"/>
                <a:gd name="connsiteY3" fmla="*/ 360935 h 360935"/>
                <a:gd name="connsiteX4" fmla="*/ 0 w 720122"/>
                <a:gd name="connsiteY4" fmla="*/ 120650 h 360935"/>
                <a:gd name="connsiteX0" fmla="*/ 0 w 612172"/>
                <a:gd name="connsiteY0" fmla="*/ 120650 h 360935"/>
                <a:gd name="connsiteX1" fmla="*/ 250222 w 612172"/>
                <a:gd name="connsiteY1" fmla="*/ 0 h 360935"/>
                <a:gd name="connsiteX2" fmla="*/ 612172 w 612172"/>
                <a:gd name="connsiteY2" fmla="*/ 237110 h 360935"/>
                <a:gd name="connsiteX3" fmla="*/ 396875 w 612172"/>
                <a:gd name="connsiteY3" fmla="*/ 360935 h 360935"/>
                <a:gd name="connsiteX4" fmla="*/ 0 w 612172"/>
                <a:gd name="connsiteY4" fmla="*/ 120650 h 360935"/>
                <a:gd name="connsiteX0" fmla="*/ 0 w 650272"/>
                <a:gd name="connsiteY0" fmla="*/ 161925 h 360935"/>
                <a:gd name="connsiteX1" fmla="*/ 288322 w 650272"/>
                <a:gd name="connsiteY1" fmla="*/ 0 h 360935"/>
                <a:gd name="connsiteX2" fmla="*/ 650272 w 650272"/>
                <a:gd name="connsiteY2" fmla="*/ 237110 h 360935"/>
                <a:gd name="connsiteX3" fmla="*/ 434975 w 650272"/>
                <a:gd name="connsiteY3" fmla="*/ 360935 h 360935"/>
                <a:gd name="connsiteX4" fmla="*/ 0 w 650272"/>
                <a:gd name="connsiteY4" fmla="*/ 161925 h 360935"/>
                <a:gd name="connsiteX0" fmla="*/ 0 w 650272"/>
                <a:gd name="connsiteY0" fmla="*/ 123825 h 322835"/>
                <a:gd name="connsiteX1" fmla="*/ 231172 w 650272"/>
                <a:gd name="connsiteY1" fmla="*/ 0 h 322835"/>
                <a:gd name="connsiteX2" fmla="*/ 650272 w 650272"/>
                <a:gd name="connsiteY2" fmla="*/ 199010 h 322835"/>
                <a:gd name="connsiteX3" fmla="*/ 434975 w 650272"/>
                <a:gd name="connsiteY3" fmla="*/ 322835 h 322835"/>
                <a:gd name="connsiteX4" fmla="*/ 0 w 650272"/>
                <a:gd name="connsiteY4" fmla="*/ 123825 h 322835"/>
                <a:gd name="connsiteX0" fmla="*/ 0 w 675672"/>
                <a:gd name="connsiteY0" fmla="*/ 111125 h 322835"/>
                <a:gd name="connsiteX1" fmla="*/ 256572 w 675672"/>
                <a:gd name="connsiteY1" fmla="*/ 0 h 322835"/>
                <a:gd name="connsiteX2" fmla="*/ 675672 w 675672"/>
                <a:gd name="connsiteY2" fmla="*/ 199010 h 322835"/>
                <a:gd name="connsiteX3" fmla="*/ 460375 w 675672"/>
                <a:gd name="connsiteY3" fmla="*/ 322835 h 322835"/>
                <a:gd name="connsiteX4" fmla="*/ 0 w 675672"/>
                <a:gd name="connsiteY4" fmla="*/ 111125 h 322835"/>
                <a:gd name="connsiteX0" fmla="*/ 0 w 675672"/>
                <a:gd name="connsiteY0" fmla="*/ 111125 h 313310"/>
                <a:gd name="connsiteX1" fmla="*/ 256572 w 675672"/>
                <a:gd name="connsiteY1" fmla="*/ 0 h 313310"/>
                <a:gd name="connsiteX2" fmla="*/ 675672 w 675672"/>
                <a:gd name="connsiteY2" fmla="*/ 199010 h 313310"/>
                <a:gd name="connsiteX3" fmla="*/ 447675 w 675672"/>
                <a:gd name="connsiteY3" fmla="*/ 313310 h 313310"/>
                <a:gd name="connsiteX4" fmla="*/ 0 w 675672"/>
                <a:gd name="connsiteY4" fmla="*/ 111125 h 313310"/>
                <a:gd name="connsiteX0" fmla="*/ 0 w 675672"/>
                <a:gd name="connsiteY0" fmla="*/ 106362 h 308547"/>
                <a:gd name="connsiteX1" fmla="*/ 247047 w 675672"/>
                <a:gd name="connsiteY1" fmla="*/ 0 h 308547"/>
                <a:gd name="connsiteX2" fmla="*/ 675672 w 675672"/>
                <a:gd name="connsiteY2" fmla="*/ 194247 h 308547"/>
                <a:gd name="connsiteX3" fmla="*/ 447675 w 675672"/>
                <a:gd name="connsiteY3" fmla="*/ 308547 h 308547"/>
                <a:gd name="connsiteX4" fmla="*/ 0 w 675672"/>
                <a:gd name="connsiteY4" fmla="*/ 106362 h 308547"/>
                <a:gd name="connsiteX0" fmla="*/ 0 w 675672"/>
                <a:gd name="connsiteY0" fmla="*/ 113506 h 315691"/>
                <a:gd name="connsiteX1" fmla="*/ 249428 w 675672"/>
                <a:gd name="connsiteY1" fmla="*/ 0 h 315691"/>
                <a:gd name="connsiteX2" fmla="*/ 675672 w 675672"/>
                <a:gd name="connsiteY2" fmla="*/ 201391 h 315691"/>
                <a:gd name="connsiteX3" fmla="*/ 447675 w 675672"/>
                <a:gd name="connsiteY3" fmla="*/ 315691 h 315691"/>
                <a:gd name="connsiteX4" fmla="*/ 0 w 675672"/>
                <a:gd name="connsiteY4" fmla="*/ 113506 h 3156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672" h="315691">
                  <a:moveTo>
                    <a:pt x="0" y="113506"/>
                  </a:moveTo>
                  <a:lnTo>
                    <a:pt x="249428" y="0"/>
                  </a:lnTo>
                  <a:lnTo>
                    <a:pt x="675672" y="201391"/>
                  </a:lnTo>
                  <a:lnTo>
                    <a:pt x="447675" y="315691"/>
                  </a:lnTo>
                  <a:lnTo>
                    <a:pt x="0" y="11350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2" name="Rectangle 20"/>
            <p:cNvSpPr/>
            <p:nvPr/>
          </p:nvSpPr>
          <p:spPr>
            <a:xfrm>
              <a:off x="4188015" y="1300299"/>
              <a:ext cx="1472511" cy="672427"/>
            </a:xfrm>
            <a:custGeom>
              <a:avLst/>
              <a:gdLst>
                <a:gd name="connsiteX0" fmla="*/ 0 w 402622"/>
                <a:gd name="connsiteY0" fmla="*/ 0 h 252985"/>
                <a:gd name="connsiteX1" fmla="*/ 402622 w 402622"/>
                <a:gd name="connsiteY1" fmla="*/ 0 h 252985"/>
                <a:gd name="connsiteX2" fmla="*/ 402622 w 402622"/>
                <a:gd name="connsiteY2" fmla="*/ 252985 h 252985"/>
                <a:gd name="connsiteX3" fmla="*/ 0 w 402622"/>
                <a:gd name="connsiteY3" fmla="*/ 252985 h 252985"/>
                <a:gd name="connsiteX4" fmla="*/ 0 w 402622"/>
                <a:gd name="connsiteY4" fmla="*/ 0 h 252985"/>
                <a:gd name="connsiteX0" fmla="*/ 0 w 402622"/>
                <a:gd name="connsiteY0" fmla="*/ 114300 h 367285"/>
                <a:gd name="connsiteX1" fmla="*/ 348647 w 402622"/>
                <a:gd name="connsiteY1" fmla="*/ 0 h 367285"/>
                <a:gd name="connsiteX2" fmla="*/ 402622 w 402622"/>
                <a:gd name="connsiteY2" fmla="*/ 367285 h 367285"/>
                <a:gd name="connsiteX3" fmla="*/ 0 w 402622"/>
                <a:gd name="connsiteY3" fmla="*/ 367285 h 367285"/>
                <a:gd name="connsiteX4" fmla="*/ 0 w 402622"/>
                <a:gd name="connsiteY4" fmla="*/ 114300 h 367285"/>
                <a:gd name="connsiteX0" fmla="*/ 0 w 643922"/>
                <a:gd name="connsiteY0" fmla="*/ 114300 h 367285"/>
                <a:gd name="connsiteX1" fmla="*/ 348647 w 643922"/>
                <a:gd name="connsiteY1" fmla="*/ 0 h 367285"/>
                <a:gd name="connsiteX2" fmla="*/ 643922 w 643922"/>
                <a:gd name="connsiteY2" fmla="*/ 195835 h 367285"/>
                <a:gd name="connsiteX3" fmla="*/ 0 w 643922"/>
                <a:gd name="connsiteY3" fmla="*/ 367285 h 367285"/>
                <a:gd name="connsiteX4" fmla="*/ 0 w 643922"/>
                <a:gd name="connsiteY4" fmla="*/ 114300 h 367285"/>
                <a:gd name="connsiteX0" fmla="*/ 0 w 643922"/>
                <a:gd name="connsiteY0" fmla="*/ 114300 h 443485"/>
                <a:gd name="connsiteX1" fmla="*/ 348647 w 643922"/>
                <a:gd name="connsiteY1" fmla="*/ 0 h 443485"/>
                <a:gd name="connsiteX2" fmla="*/ 643922 w 643922"/>
                <a:gd name="connsiteY2" fmla="*/ 195835 h 443485"/>
                <a:gd name="connsiteX3" fmla="*/ 320675 w 643922"/>
                <a:gd name="connsiteY3" fmla="*/ 443485 h 443485"/>
                <a:gd name="connsiteX4" fmla="*/ 0 w 643922"/>
                <a:gd name="connsiteY4" fmla="*/ 114300 h 443485"/>
                <a:gd name="connsiteX0" fmla="*/ 0 w 659797"/>
                <a:gd name="connsiteY0" fmla="*/ 276225 h 443485"/>
                <a:gd name="connsiteX1" fmla="*/ 364522 w 659797"/>
                <a:gd name="connsiteY1" fmla="*/ 0 h 443485"/>
                <a:gd name="connsiteX2" fmla="*/ 659797 w 659797"/>
                <a:gd name="connsiteY2" fmla="*/ 195835 h 443485"/>
                <a:gd name="connsiteX3" fmla="*/ 336550 w 659797"/>
                <a:gd name="connsiteY3" fmla="*/ 443485 h 443485"/>
                <a:gd name="connsiteX4" fmla="*/ 0 w 659797"/>
                <a:gd name="connsiteY4" fmla="*/ 276225 h 443485"/>
                <a:gd name="connsiteX0" fmla="*/ 0 w 720122"/>
                <a:gd name="connsiteY0" fmla="*/ 203200 h 443485"/>
                <a:gd name="connsiteX1" fmla="*/ 424847 w 720122"/>
                <a:gd name="connsiteY1" fmla="*/ 0 h 443485"/>
                <a:gd name="connsiteX2" fmla="*/ 720122 w 720122"/>
                <a:gd name="connsiteY2" fmla="*/ 195835 h 443485"/>
                <a:gd name="connsiteX3" fmla="*/ 396875 w 720122"/>
                <a:gd name="connsiteY3" fmla="*/ 443485 h 443485"/>
                <a:gd name="connsiteX4" fmla="*/ 0 w 720122"/>
                <a:gd name="connsiteY4" fmla="*/ 203200 h 443485"/>
                <a:gd name="connsiteX0" fmla="*/ 0 w 720122"/>
                <a:gd name="connsiteY0" fmla="*/ 120650 h 360935"/>
                <a:gd name="connsiteX1" fmla="*/ 250222 w 720122"/>
                <a:gd name="connsiteY1" fmla="*/ 0 h 360935"/>
                <a:gd name="connsiteX2" fmla="*/ 720122 w 720122"/>
                <a:gd name="connsiteY2" fmla="*/ 113285 h 360935"/>
                <a:gd name="connsiteX3" fmla="*/ 396875 w 720122"/>
                <a:gd name="connsiteY3" fmla="*/ 360935 h 360935"/>
                <a:gd name="connsiteX4" fmla="*/ 0 w 720122"/>
                <a:gd name="connsiteY4" fmla="*/ 120650 h 360935"/>
                <a:gd name="connsiteX0" fmla="*/ 0 w 612172"/>
                <a:gd name="connsiteY0" fmla="*/ 120650 h 360935"/>
                <a:gd name="connsiteX1" fmla="*/ 250222 w 612172"/>
                <a:gd name="connsiteY1" fmla="*/ 0 h 360935"/>
                <a:gd name="connsiteX2" fmla="*/ 612172 w 612172"/>
                <a:gd name="connsiteY2" fmla="*/ 237110 h 360935"/>
                <a:gd name="connsiteX3" fmla="*/ 396875 w 612172"/>
                <a:gd name="connsiteY3" fmla="*/ 360935 h 360935"/>
                <a:gd name="connsiteX4" fmla="*/ 0 w 612172"/>
                <a:gd name="connsiteY4" fmla="*/ 120650 h 360935"/>
                <a:gd name="connsiteX0" fmla="*/ 0 w 650272"/>
                <a:gd name="connsiteY0" fmla="*/ 161925 h 360935"/>
                <a:gd name="connsiteX1" fmla="*/ 288322 w 650272"/>
                <a:gd name="connsiteY1" fmla="*/ 0 h 360935"/>
                <a:gd name="connsiteX2" fmla="*/ 650272 w 650272"/>
                <a:gd name="connsiteY2" fmla="*/ 237110 h 360935"/>
                <a:gd name="connsiteX3" fmla="*/ 434975 w 650272"/>
                <a:gd name="connsiteY3" fmla="*/ 360935 h 360935"/>
                <a:gd name="connsiteX4" fmla="*/ 0 w 650272"/>
                <a:gd name="connsiteY4" fmla="*/ 161925 h 360935"/>
                <a:gd name="connsiteX0" fmla="*/ 0 w 650272"/>
                <a:gd name="connsiteY0" fmla="*/ 123825 h 322835"/>
                <a:gd name="connsiteX1" fmla="*/ 231172 w 650272"/>
                <a:gd name="connsiteY1" fmla="*/ 0 h 322835"/>
                <a:gd name="connsiteX2" fmla="*/ 650272 w 650272"/>
                <a:gd name="connsiteY2" fmla="*/ 199010 h 322835"/>
                <a:gd name="connsiteX3" fmla="*/ 434975 w 650272"/>
                <a:gd name="connsiteY3" fmla="*/ 322835 h 322835"/>
                <a:gd name="connsiteX4" fmla="*/ 0 w 650272"/>
                <a:gd name="connsiteY4" fmla="*/ 123825 h 322835"/>
                <a:gd name="connsiteX0" fmla="*/ 0 w 675672"/>
                <a:gd name="connsiteY0" fmla="*/ 111125 h 322835"/>
                <a:gd name="connsiteX1" fmla="*/ 256572 w 675672"/>
                <a:gd name="connsiteY1" fmla="*/ 0 h 322835"/>
                <a:gd name="connsiteX2" fmla="*/ 675672 w 675672"/>
                <a:gd name="connsiteY2" fmla="*/ 199010 h 322835"/>
                <a:gd name="connsiteX3" fmla="*/ 460375 w 675672"/>
                <a:gd name="connsiteY3" fmla="*/ 322835 h 322835"/>
                <a:gd name="connsiteX4" fmla="*/ 0 w 675672"/>
                <a:gd name="connsiteY4" fmla="*/ 111125 h 322835"/>
                <a:gd name="connsiteX0" fmla="*/ 0 w 675672"/>
                <a:gd name="connsiteY0" fmla="*/ 111125 h 313310"/>
                <a:gd name="connsiteX1" fmla="*/ 256572 w 675672"/>
                <a:gd name="connsiteY1" fmla="*/ 0 h 313310"/>
                <a:gd name="connsiteX2" fmla="*/ 675672 w 675672"/>
                <a:gd name="connsiteY2" fmla="*/ 199010 h 313310"/>
                <a:gd name="connsiteX3" fmla="*/ 447675 w 675672"/>
                <a:gd name="connsiteY3" fmla="*/ 313310 h 313310"/>
                <a:gd name="connsiteX4" fmla="*/ 0 w 675672"/>
                <a:gd name="connsiteY4" fmla="*/ 111125 h 313310"/>
                <a:gd name="connsiteX0" fmla="*/ 0 w 675672"/>
                <a:gd name="connsiteY0" fmla="*/ 106363 h 308548"/>
                <a:gd name="connsiteX1" fmla="*/ 242285 w 675672"/>
                <a:gd name="connsiteY1" fmla="*/ 0 h 308548"/>
                <a:gd name="connsiteX2" fmla="*/ 675672 w 675672"/>
                <a:gd name="connsiteY2" fmla="*/ 194248 h 308548"/>
                <a:gd name="connsiteX3" fmla="*/ 447675 w 675672"/>
                <a:gd name="connsiteY3" fmla="*/ 308548 h 308548"/>
                <a:gd name="connsiteX4" fmla="*/ 0 w 675672"/>
                <a:gd name="connsiteY4" fmla="*/ 106363 h 308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672" h="308548">
                  <a:moveTo>
                    <a:pt x="0" y="106363"/>
                  </a:moveTo>
                  <a:lnTo>
                    <a:pt x="242285" y="0"/>
                  </a:lnTo>
                  <a:lnTo>
                    <a:pt x="675672" y="194248"/>
                  </a:lnTo>
                  <a:lnTo>
                    <a:pt x="447675" y="308548"/>
                  </a:lnTo>
                  <a:lnTo>
                    <a:pt x="0" y="10636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3" name="Rectangle 20"/>
            <p:cNvSpPr/>
            <p:nvPr/>
          </p:nvSpPr>
          <p:spPr>
            <a:xfrm>
              <a:off x="6144139" y="1422209"/>
              <a:ext cx="1399859" cy="656858"/>
            </a:xfrm>
            <a:custGeom>
              <a:avLst/>
              <a:gdLst>
                <a:gd name="connsiteX0" fmla="*/ 0 w 402622"/>
                <a:gd name="connsiteY0" fmla="*/ 0 h 252985"/>
                <a:gd name="connsiteX1" fmla="*/ 402622 w 402622"/>
                <a:gd name="connsiteY1" fmla="*/ 0 h 252985"/>
                <a:gd name="connsiteX2" fmla="*/ 402622 w 402622"/>
                <a:gd name="connsiteY2" fmla="*/ 252985 h 252985"/>
                <a:gd name="connsiteX3" fmla="*/ 0 w 402622"/>
                <a:gd name="connsiteY3" fmla="*/ 252985 h 252985"/>
                <a:gd name="connsiteX4" fmla="*/ 0 w 402622"/>
                <a:gd name="connsiteY4" fmla="*/ 0 h 252985"/>
                <a:gd name="connsiteX0" fmla="*/ 0 w 402622"/>
                <a:gd name="connsiteY0" fmla="*/ 114300 h 367285"/>
                <a:gd name="connsiteX1" fmla="*/ 348647 w 402622"/>
                <a:gd name="connsiteY1" fmla="*/ 0 h 367285"/>
                <a:gd name="connsiteX2" fmla="*/ 402622 w 402622"/>
                <a:gd name="connsiteY2" fmla="*/ 367285 h 367285"/>
                <a:gd name="connsiteX3" fmla="*/ 0 w 402622"/>
                <a:gd name="connsiteY3" fmla="*/ 367285 h 367285"/>
                <a:gd name="connsiteX4" fmla="*/ 0 w 402622"/>
                <a:gd name="connsiteY4" fmla="*/ 114300 h 367285"/>
                <a:gd name="connsiteX0" fmla="*/ 0 w 643922"/>
                <a:gd name="connsiteY0" fmla="*/ 114300 h 367285"/>
                <a:gd name="connsiteX1" fmla="*/ 348647 w 643922"/>
                <a:gd name="connsiteY1" fmla="*/ 0 h 367285"/>
                <a:gd name="connsiteX2" fmla="*/ 643922 w 643922"/>
                <a:gd name="connsiteY2" fmla="*/ 195835 h 367285"/>
                <a:gd name="connsiteX3" fmla="*/ 0 w 643922"/>
                <a:gd name="connsiteY3" fmla="*/ 367285 h 367285"/>
                <a:gd name="connsiteX4" fmla="*/ 0 w 643922"/>
                <a:gd name="connsiteY4" fmla="*/ 114300 h 367285"/>
                <a:gd name="connsiteX0" fmla="*/ 0 w 643922"/>
                <a:gd name="connsiteY0" fmla="*/ 114300 h 443485"/>
                <a:gd name="connsiteX1" fmla="*/ 348647 w 643922"/>
                <a:gd name="connsiteY1" fmla="*/ 0 h 443485"/>
                <a:gd name="connsiteX2" fmla="*/ 643922 w 643922"/>
                <a:gd name="connsiteY2" fmla="*/ 195835 h 443485"/>
                <a:gd name="connsiteX3" fmla="*/ 320675 w 643922"/>
                <a:gd name="connsiteY3" fmla="*/ 443485 h 443485"/>
                <a:gd name="connsiteX4" fmla="*/ 0 w 643922"/>
                <a:gd name="connsiteY4" fmla="*/ 114300 h 443485"/>
                <a:gd name="connsiteX0" fmla="*/ 0 w 659797"/>
                <a:gd name="connsiteY0" fmla="*/ 276225 h 443485"/>
                <a:gd name="connsiteX1" fmla="*/ 364522 w 659797"/>
                <a:gd name="connsiteY1" fmla="*/ 0 h 443485"/>
                <a:gd name="connsiteX2" fmla="*/ 659797 w 659797"/>
                <a:gd name="connsiteY2" fmla="*/ 195835 h 443485"/>
                <a:gd name="connsiteX3" fmla="*/ 336550 w 659797"/>
                <a:gd name="connsiteY3" fmla="*/ 443485 h 443485"/>
                <a:gd name="connsiteX4" fmla="*/ 0 w 659797"/>
                <a:gd name="connsiteY4" fmla="*/ 276225 h 443485"/>
                <a:gd name="connsiteX0" fmla="*/ 0 w 720122"/>
                <a:gd name="connsiteY0" fmla="*/ 203200 h 443485"/>
                <a:gd name="connsiteX1" fmla="*/ 424847 w 720122"/>
                <a:gd name="connsiteY1" fmla="*/ 0 h 443485"/>
                <a:gd name="connsiteX2" fmla="*/ 720122 w 720122"/>
                <a:gd name="connsiteY2" fmla="*/ 195835 h 443485"/>
                <a:gd name="connsiteX3" fmla="*/ 396875 w 720122"/>
                <a:gd name="connsiteY3" fmla="*/ 443485 h 443485"/>
                <a:gd name="connsiteX4" fmla="*/ 0 w 720122"/>
                <a:gd name="connsiteY4" fmla="*/ 203200 h 443485"/>
                <a:gd name="connsiteX0" fmla="*/ 0 w 720122"/>
                <a:gd name="connsiteY0" fmla="*/ 120650 h 360935"/>
                <a:gd name="connsiteX1" fmla="*/ 250222 w 720122"/>
                <a:gd name="connsiteY1" fmla="*/ 0 h 360935"/>
                <a:gd name="connsiteX2" fmla="*/ 720122 w 720122"/>
                <a:gd name="connsiteY2" fmla="*/ 113285 h 360935"/>
                <a:gd name="connsiteX3" fmla="*/ 396875 w 720122"/>
                <a:gd name="connsiteY3" fmla="*/ 360935 h 360935"/>
                <a:gd name="connsiteX4" fmla="*/ 0 w 720122"/>
                <a:gd name="connsiteY4" fmla="*/ 120650 h 360935"/>
                <a:gd name="connsiteX0" fmla="*/ 0 w 612172"/>
                <a:gd name="connsiteY0" fmla="*/ 120650 h 360935"/>
                <a:gd name="connsiteX1" fmla="*/ 250222 w 612172"/>
                <a:gd name="connsiteY1" fmla="*/ 0 h 360935"/>
                <a:gd name="connsiteX2" fmla="*/ 612172 w 612172"/>
                <a:gd name="connsiteY2" fmla="*/ 237110 h 360935"/>
                <a:gd name="connsiteX3" fmla="*/ 396875 w 612172"/>
                <a:gd name="connsiteY3" fmla="*/ 360935 h 360935"/>
                <a:gd name="connsiteX4" fmla="*/ 0 w 612172"/>
                <a:gd name="connsiteY4" fmla="*/ 120650 h 360935"/>
                <a:gd name="connsiteX0" fmla="*/ 0 w 650272"/>
                <a:gd name="connsiteY0" fmla="*/ 161925 h 360935"/>
                <a:gd name="connsiteX1" fmla="*/ 288322 w 650272"/>
                <a:gd name="connsiteY1" fmla="*/ 0 h 360935"/>
                <a:gd name="connsiteX2" fmla="*/ 650272 w 650272"/>
                <a:gd name="connsiteY2" fmla="*/ 237110 h 360935"/>
                <a:gd name="connsiteX3" fmla="*/ 434975 w 650272"/>
                <a:gd name="connsiteY3" fmla="*/ 360935 h 360935"/>
                <a:gd name="connsiteX4" fmla="*/ 0 w 650272"/>
                <a:gd name="connsiteY4" fmla="*/ 161925 h 360935"/>
                <a:gd name="connsiteX0" fmla="*/ 0 w 650272"/>
                <a:gd name="connsiteY0" fmla="*/ 123825 h 322835"/>
                <a:gd name="connsiteX1" fmla="*/ 231172 w 650272"/>
                <a:gd name="connsiteY1" fmla="*/ 0 h 322835"/>
                <a:gd name="connsiteX2" fmla="*/ 650272 w 650272"/>
                <a:gd name="connsiteY2" fmla="*/ 199010 h 322835"/>
                <a:gd name="connsiteX3" fmla="*/ 434975 w 650272"/>
                <a:gd name="connsiteY3" fmla="*/ 322835 h 322835"/>
                <a:gd name="connsiteX4" fmla="*/ 0 w 650272"/>
                <a:gd name="connsiteY4" fmla="*/ 123825 h 322835"/>
                <a:gd name="connsiteX0" fmla="*/ 0 w 675672"/>
                <a:gd name="connsiteY0" fmla="*/ 111125 h 322835"/>
                <a:gd name="connsiteX1" fmla="*/ 256572 w 675672"/>
                <a:gd name="connsiteY1" fmla="*/ 0 h 322835"/>
                <a:gd name="connsiteX2" fmla="*/ 675672 w 675672"/>
                <a:gd name="connsiteY2" fmla="*/ 199010 h 322835"/>
                <a:gd name="connsiteX3" fmla="*/ 460375 w 675672"/>
                <a:gd name="connsiteY3" fmla="*/ 322835 h 322835"/>
                <a:gd name="connsiteX4" fmla="*/ 0 w 675672"/>
                <a:gd name="connsiteY4" fmla="*/ 111125 h 322835"/>
                <a:gd name="connsiteX0" fmla="*/ 0 w 675672"/>
                <a:gd name="connsiteY0" fmla="*/ 111125 h 313310"/>
                <a:gd name="connsiteX1" fmla="*/ 256572 w 675672"/>
                <a:gd name="connsiteY1" fmla="*/ 0 h 313310"/>
                <a:gd name="connsiteX2" fmla="*/ 675672 w 675672"/>
                <a:gd name="connsiteY2" fmla="*/ 199010 h 313310"/>
                <a:gd name="connsiteX3" fmla="*/ 447675 w 675672"/>
                <a:gd name="connsiteY3" fmla="*/ 313310 h 313310"/>
                <a:gd name="connsiteX4" fmla="*/ 0 w 675672"/>
                <a:gd name="connsiteY4" fmla="*/ 111125 h 313310"/>
                <a:gd name="connsiteX0" fmla="*/ 0 w 675672"/>
                <a:gd name="connsiteY0" fmla="*/ 106362 h 308547"/>
                <a:gd name="connsiteX1" fmla="*/ 247047 w 675672"/>
                <a:gd name="connsiteY1" fmla="*/ 0 h 308547"/>
                <a:gd name="connsiteX2" fmla="*/ 675672 w 675672"/>
                <a:gd name="connsiteY2" fmla="*/ 194247 h 308547"/>
                <a:gd name="connsiteX3" fmla="*/ 447675 w 675672"/>
                <a:gd name="connsiteY3" fmla="*/ 308547 h 308547"/>
                <a:gd name="connsiteX4" fmla="*/ 0 w 675672"/>
                <a:gd name="connsiteY4" fmla="*/ 106362 h 308547"/>
                <a:gd name="connsiteX0" fmla="*/ 0 w 647097"/>
                <a:gd name="connsiteY0" fmla="*/ 115887 h 308547"/>
                <a:gd name="connsiteX1" fmla="*/ 218472 w 647097"/>
                <a:gd name="connsiteY1" fmla="*/ 0 h 308547"/>
                <a:gd name="connsiteX2" fmla="*/ 647097 w 647097"/>
                <a:gd name="connsiteY2" fmla="*/ 194247 h 308547"/>
                <a:gd name="connsiteX3" fmla="*/ 419100 w 647097"/>
                <a:gd name="connsiteY3" fmla="*/ 308547 h 308547"/>
                <a:gd name="connsiteX4" fmla="*/ 0 w 647097"/>
                <a:gd name="connsiteY4" fmla="*/ 115887 h 308547"/>
                <a:gd name="connsiteX0" fmla="*/ 0 w 647097"/>
                <a:gd name="connsiteY0" fmla="*/ 108744 h 301404"/>
                <a:gd name="connsiteX1" fmla="*/ 232759 w 647097"/>
                <a:gd name="connsiteY1" fmla="*/ 0 h 301404"/>
                <a:gd name="connsiteX2" fmla="*/ 647097 w 647097"/>
                <a:gd name="connsiteY2" fmla="*/ 187104 h 301404"/>
                <a:gd name="connsiteX3" fmla="*/ 419100 w 647097"/>
                <a:gd name="connsiteY3" fmla="*/ 301404 h 301404"/>
                <a:gd name="connsiteX4" fmla="*/ 0 w 647097"/>
                <a:gd name="connsiteY4" fmla="*/ 108744 h 301404"/>
                <a:gd name="connsiteX0" fmla="*/ 0 w 642335"/>
                <a:gd name="connsiteY0" fmla="*/ 108744 h 301404"/>
                <a:gd name="connsiteX1" fmla="*/ 232759 w 642335"/>
                <a:gd name="connsiteY1" fmla="*/ 0 h 301404"/>
                <a:gd name="connsiteX2" fmla="*/ 642335 w 642335"/>
                <a:gd name="connsiteY2" fmla="*/ 187104 h 301404"/>
                <a:gd name="connsiteX3" fmla="*/ 419100 w 642335"/>
                <a:gd name="connsiteY3" fmla="*/ 301404 h 301404"/>
                <a:gd name="connsiteX4" fmla="*/ 0 w 642335"/>
                <a:gd name="connsiteY4" fmla="*/ 108744 h 301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2335" h="301404">
                  <a:moveTo>
                    <a:pt x="0" y="108744"/>
                  </a:moveTo>
                  <a:lnTo>
                    <a:pt x="232759" y="0"/>
                  </a:lnTo>
                  <a:lnTo>
                    <a:pt x="642335" y="187104"/>
                  </a:lnTo>
                  <a:lnTo>
                    <a:pt x="419100" y="301404"/>
                  </a:lnTo>
                  <a:lnTo>
                    <a:pt x="0" y="10874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4" name="Rectangle 20"/>
            <p:cNvSpPr/>
            <p:nvPr/>
          </p:nvSpPr>
          <p:spPr>
            <a:xfrm>
              <a:off x="6948185" y="1032989"/>
              <a:ext cx="1384290" cy="646478"/>
            </a:xfrm>
            <a:custGeom>
              <a:avLst/>
              <a:gdLst>
                <a:gd name="connsiteX0" fmla="*/ 0 w 402622"/>
                <a:gd name="connsiteY0" fmla="*/ 0 h 252985"/>
                <a:gd name="connsiteX1" fmla="*/ 402622 w 402622"/>
                <a:gd name="connsiteY1" fmla="*/ 0 h 252985"/>
                <a:gd name="connsiteX2" fmla="*/ 402622 w 402622"/>
                <a:gd name="connsiteY2" fmla="*/ 252985 h 252985"/>
                <a:gd name="connsiteX3" fmla="*/ 0 w 402622"/>
                <a:gd name="connsiteY3" fmla="*/ 252985 h 252985"/>
                <a:gd name="connsiteX4" fmla="*/ 0 w 402622"/>
                <a:gd name="connsiteY4" fmla="*/ 0 h 252985"/>
                <a:gd name="connsiteX0" fmla="*/ 0 w 402622"/>
                <a:gd name="connsiteY0" fmla="*/ 114300 h 367285"/>
                <a:gd name="connsiteX1" fmla="*/ 348647 w 402622"/>
                <a:gd name="connsiteY1" fmla="*/ 0 h 367285"/>
                <a:gd name="connsiteX2" fmla="*/ 402622 w 402622"/>
                <a:gd name="connsiteY2" fmla="*/ 367285 h 367285"/>
                <a:gd name="connsiteX3" fmla="*/ 0 w 402622"/>
                <a:gd name="connsiteY3" fmla="*/ 367285 h 367285"/>
                <a:gd name="connsiteX4" fmla="*/ 0 w 402622"/>
                <a:gd name="connsiteY4" fmla="*/ 114300 h 367285"/>
                <a:gd name="connsiteX0" fmla="*/ 0 w 643922"/>
                <a:gd name="connsiteY0" fmla="*/ 114300 h 367285"/>
                <a:gd name="connsiteX1" fmla="*/ 348647 w 643922"/>
                <a:gd name="connsiteY1" fmla="*/ 0 h 367285"/>
                <a:gd name="connsiteX2" fmla="*/ 643922 w 643922"/>
                <a:gd name="connsiteY2" fmla="*/ 195835 h 367285"/>
                <a:gd name="connsiteX3" fmla="*/ 0 w 643922"/>
                <a:gd name="connsiteY3" fmla="*/ 367285 h 367285"/>
                <a:gd name="connsiteX4" fmla="*/ 0 w 643922"/>
                <a:gd name="connsiteY4" fmla="*/ 114300 h 367285"/>
                <a:gd name="connsiteX0" fmla="*/ 0 w 643922"/>
                <a:gd name="connsiteY0" fmla="*/ 114300 h 443485"/>
                <a:gd name="connsiteX1" fmla="*/ 348647 w 643922"/>
                <a:gd name="connsiteY1" fmla="*/ 0 h 443485"/>
                <a:gd name="connsiteX2" fmla="*/ 643922 w 643922"/>
                <a:gd name="connsiteY2" fmla="*/ 195835 h 443485"/>
                <a:gd name="connsiteX3" fmla="*/ 320675 w 643922"/>
                <a:gd name="connsiteY3" fmla="*/ 443485 h 443485"/>
                <a:gd name="connsiteX4" fmla="*/ 0 w 643922"/>
                <a:gd name="connsiteY4" fmla="*/ 114300 h 443485"/>
                <a:gd name="connsiteX0" fmla="*/ 0 w 659797"/>
                <a:gd name="connsiteY0" fmla="*/ 276225 h 443485"/>
                <a:gd name="connsiteX1" fmla="*/ 364522 w 659797"/>
                <a:gd name="connsiteY1" fmla="*/ 0 h 443485"/>
                <a:gd name="connsiteX2" fmla="*/ 659797 w 659797"/>
                <a:gd name="connsiteY2" fmla="*/ 195835 h 443485"/>
                <a:gd name="connsiteX3" fmla="*/ 336550 w 659797"/>
                <a:gd name="connsiteY3" fmla="*/ 443485 h 443485"/>
                <a:gd name="connsiteX4" fmla="*/ 0 w 659797"/>
                <a:gd name="connsiteY4" fmla="*/ 276225 h 443485"/>
                <a:gd name="connsiteX0" fmla="*/ 0 w 720122"/>
                <a:gd name="connsiteY0" fmla="*/ 203200 h 443485"/>
                <a:gd name="connsiteX1" fmla="*/ 424847 w 720122"/>
                <a:gd name="connsiteY1" fmla="*/ 0 h 443485"/>
                <a:gd name="connsiteX2" fmla="*/ 720122 w 720122"/>
                <a:gd name="connsiteY2" fmla="*/ 195835 h 443485"/>
                <a:gd name="connsiteX3" fmla="*/ 396875 w 720122"/>
                <a:gd name="connsiteY3" fmla="*/ 443485 h 443485"/>
                <a:gd name="connsiteX4" fmla="*/ 0 w 720122"/>
                <a:gd name="connsiteY4" fmla="*/ 203200 h 443485"/>
                <a:gd name="connsiteX0" fmla="*/ 0 w 720122"/>
                <a:gd name="connsiteY0" fmla="*/ 120650 h 360935"/>
                <a:gd name="connsiteX1" fmla="*/ 250222 w 720122"/>
                <a:gd name="connsiteY1" fmla="*/ 0 h 360935"/>
                <a:gd name="connsiteX2" fmla="*/ 720122 w 720122"/>
                <a:gd name="connsiteY2" fmla="*/ 113285 h 360935"/>
                <a:gd name="connsiteX3" fmla="*/ 396875 w 720122"/>
                <a:gd name="connsiteY3" fmla="*/ 360935 h 360935"/>
                <a:gd name="connsiteX4" fmla="*/ 0 w 720122"/>
                <a:gd name="connsiteY4" fmla="*/ 120650 h 360935"/>
                <a:gd name="connsiteX0" fmla="*/ 0 w 612172"/>
                <a:gd name="connsiteY0" fmla="*/ 120650 h 360935"/>
                <a:gd name="connsiteX1" fmla="*/ 250222 w 612172"/>
                <a:gd name="connsiteY1" fmla="*/ 0 h 360935"/>
                <a:gd name="connsiteX2" fmla="*/ 612172 w 612172"/>
                <a:gd name="connsiteY2" fmla="*/ 237110 h 360935"/>
                <a:gd name="connsiteX3" fmla="*/ 396875 w 612172"/>
                <a:gd name="connsiteY3" fmla="*/ 360935 h 360935"/>
                <a:gd name="connsiteX4" fmla="*/ 0 w 612172"/>
                <a:gd name="connsiteY4" fmla="*/ 120650 h 360935"/>
                <a:gd name="connsiteX0" fmla="*/ 0 w 650272"/>
                <a:gd name="connsiteY0" fmla="*/ 161925 h 360935"/>
                <a:gd name="connsiteX1" fmla="*/ 288322 w 650272"/>
                <a:gd name="connsiteY1" fmla="*/ 0 h 360935"/>
                <a:gd name="connsiteX2" fmla="*/ 650272 w 650272"/>
                <a:gd name="connsiteY2" fmla="*/ 237110 h 360935"/>
                <a:gd name="connsiteX3" fmla="*/ 434975 w 650272"/>
                <a:gd name="connsiteY3" fmla="*/ 360935 h 360935"/>
                <a:gd name="connsiteX4" fmla="*/ 0 w 650272"/>
                <a:gd name="connsiteY4" fmla="*/ 161925 h 360935"/>
                <a:gd name="connsiteX0" fmla="*/ 0 w 650272"/>
                <a:gd name="connsiteY0" fmla="*/ 123825 h 322835"/>
                <a:gd name="connsiteX1" fmla="*/ 231172 w 650272"/>
                <a:gd name="connsiteY1" fmla="*/ 0 h 322835"/>
                <a:gd name="connsiteX2" fmla="*/ 650272 w 650272"/>
                <a:gd name="connsiteY2" fmla="*/ 199010 h 322835"/>
                <a:gd name="connsiteX3" fmla="*/ 434975 w 650272"/>
                <a:gd name="connsiteY3" fmla="*/ 322835 h 322835"/>
                <a:gd name="connsiteX4" fmla="*/ 0 w 650272"/>
                <a:gd name="connsiteY4" fmla="*/ 123825 h 322835"/>
                <a:gd name="connsiteX0" fmla="*/ 0 w 675672"/>
                <a:gd name="connsiteY0" fmla="*/ 111125 h 322835"/>
                <a:gd name="connsiteX1" fmla="*/ 256572 w 675672"/>
                <a:gd name="connsiteY1" fmla="*/ 0 h 322835"/>
                <a:gd name="connsiteX2" fmla="*/ 675672 w 675672"/>
                <a:gd name="connsiteY2" fmla="*/ 199010 h 322835"/>
                <a:gd name="connsiteX3" fmla="*/ 460375 w 675672"/>
                <a:gd name="connsiteY3" fmla="*/ 322835 h 322835"/>
                <a:gd name="connsiteX4" fmla="*/ 0 w 675672"/>
                <a:gd name="connsiteY4" fmla="*/ 111125 h 322835"/>
                <a:gd name="connsiteX0" fmla="*/ 0 w 675672"/>
                <a:gd name="connsiteY0" fmla="*/ 111125 h 313310"/>
                <a:gd name="connsiteX1" fmla="*/ 256572 w 675672"/>
                <a:gd name="connsiteY1" fmla="*/ 0 h 313310"/>
                <a:gd name="connsiteX2" fmla="*/ 675672 w 675672"/>
                <a:gd name="connsiteY2" fmla="*/ 199010 h 313310"/>
                <a:gd name="connsiteX3" fmla="*/ 447675 w 675672"/>
                <a:gd name="connsiteY3" fmla="*/ 313310 h 313310"/>
                <a:gd name="connsiteX4" fmla="*/ 0 w 675672"/>
                <a:gd name="connsiteY4" fmla="*/ 111125 h 313310"/>
                <a:gd name="connsiteX0" fmla="*/ 0 w 675672"/>
                <a:gd name="connsiteY0" fmla="*/ 106362 h 308547"/>
                <a:gd name="connsiteX1" fmla="*/ 247047 w 675672"/>
                <a:gd name="connsiteY1" fmla="*/ 0 h 308547"/>
                <a:gd name="connsiteX2" fmla="*/ 675672 w 675672"/>
                <a:gd name="connsiteY2" fmla="*/ 194247 h 308547"/>
                <a:gd name="connsiteX3" fmla="*/ 447675 w 675672"/>
                <a:gd name="connsiteY3" fmla="*/ 308547 h 308547"/>
                <a:gd name="connsiteX4" fmla="*/ 0 w 675672"/>
                <a:gd name="connsiteY4" fmla="*/ 106362 h 308547"/>
                <a:gd name="connsiteX0" fmla="*/ 0 w 635191"/>
                <a:gd name="connsiteY0" fmla="*/ 125412 h 308547"/>
                <a:gd name="connsiteX1" fmla="*/ 206566 w 635191"/>
                <a:gd name="connsiteY1" fmla="*/ 0 h 308547"/>
                <a:gd name="connsiteX2" fmla="*/ 635191 w 635191"/>
                <a:gd name="connsiteY2" fmla="*/ 194247 h 308547"/>
                <a:gd name="connsiteX3" fmla="*/ 407194 w 635191"/>
                <a:gd name="connsiteY3" fmla="*/ 308547 h 308547"/>
                <a:gd name="connsiteX4" fmla="*/ 0 w 635191"/>
                <a:gd name="connsiteY4" fmla="*/ 125412 h 308547"/>
                <a:gd name="connsiteX0" fmla="*/ 0 w 635191"/>
                <a:gd name="connsiteY0" fmla="*/ 113506 h 296641"/>
                <a:gd name="connsiteX1" fmla="*/ 242285 w 635191"/>
                <a:gd name="connsiteY1" fmla="*/ 0 h 296641"/>
                <a:gd name="connsiteX2" fmla="*/ 635191 w 635191"/>
                <a:gd name="connsiteY2" fmla="*/ 182341 h 296641"/>
                <a:gd name="connsiteX3" fmla="*/ 407194 w 635191"/>
                <a:gd name="connsiteY3" fmla="*/ 296641 h 296641"/>
                <a:gd name="connsiteX4" fmla="*/ 0 w 635191"/>
                <a:gd name="connsiteY4" fmla="*/ 113506 h 296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191" h="296641">
                  <a:moveTo>
                    <a:pt x="0" y="113506"/>
                  </a:moveTo>
                  <a:lnTo>
                    <a:pt x="242285" y="0"/>
                  </a:lnTo>
                  <a:lnTo>
                    <a:pt x="635191" y="182341"/>
                  </a:lnTo>
                  <a:lnTo>
                    <a:pt x="407194" y="296641"/>
                  </a:lnTo>
                  <a:lnTo>
                    <a:pt x="0" y="11350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5" name="Rectangle 20"/>
            <p:cNvSpPr/>
            <p:nvPr/>
          </p:nvSpPr>
          <p:spPr>
            <a:xfrm>
              <a:off x="5065047" y="916611"/>
              <a:ext cx="1399859" cy="656858"/>
            </a:xfrm>
            <a:custGeom>
              <a:avLst/>
              <a:gdLst>
                <a:gd name="connsiteX0" fmla="*/ 0 w 402622"/>
                <a:gd name="connsiteY0" fmla="*/ 0 h 252985"/>
                <a:gd name="connsiteX1" fmla="*/ 402622 w 402622"/>
                <a:gd name="connsiteY1" fmla="*/ 0 h 252985"/>
                <a:gd name="connsiteX2" fmla="*/ 402622 w 402622"/>
                <a:gd name="connsiteY2" fmla="*/ 252985 h 252985"/>
                <a:gd name="connsiteX3" fmla="*/ 0 w 402622"/>
                <a:gd name="connsiteY3" fmla="*/ 252985 h 252985"/>
                <a:gd name="connsiteX4" fmla="*/ 0 w 402622"/>
                <a:gd name="connsiteY4" fmla="*/ 0 h 252985"/>
                <a:gd name="connsiteX0" fmla="*/ 0 w 402622"/>
                <a:gd name="connsiteY0" fmla="*/ 114300 h 367285"/>
                <a:gd name="connsiteX1" fmla="*/ 348647 w 402622"/>
                <a:gd name="connsiteY1" fmla="*/ 0 h 367285"/>
                <a:gd name="connsiteX2" fmla="*/ 402622 w 402622"/>
                <a:gd name="connsiteY2" fmla="*/ 367285 h 367285"/>
                <a:gd name="connsiteX3" fmla="*/ 0 w 402622"/>
                <a:gd name="connsiteY3" fmla="*/ 367285 h 367285"/>
                <a:gd name="connsiteX4" fmla="*/ 0 w 402622"/>
                <a:gd name="connsiteY4" fmla="*/ 114300 h 367285"/>
                <a:gd name="connsiteX0" fmla="*/ 0 w 643922"/>
                <a:gd name="connsiteY0" fmla="*/ 114300 h 367285"/>
                <a:gd name="connsiteX1" fmla="*/ 348647 w 643922"/>
                <a:gd name="connsiteY1" fmla="*/ 0 h 367285"/>
                <a:gd name="connsiteX2" fmla="*/ 643922 w 643922"/>
                <a:gd name="connsiteY2" fmla="*/ 195835 h 367285"/>
                <a:gd name="connsiteX3" fmla="*/ 0 w 643922"/>
                <a:gd name="connsiteY3" fmla="*/ 367285 h 367285"/>
                <a:gd name="connsiteX4" fmla="*/ 0 w 643922"/>
                <a:gd name="connsiteY4" fmla="*/ 114300 h 367285"/>
                <a:gd name="connsiteX0" fmla="*/ 0 w 643922"/>
                <a:gd name="connsiteY0" fmla="*/ 114300 h 443485"/>
                <a:gd name="connsiteX1" fmla="*/ 348647 w 643922"/>
                <a:gd name="connsiteY1" fmla="*/ 0 h 443485"/>
                <a:gd name="connsiteX2" fmla="*/ 643922 w 643922"/>
                <a:gd name="connsiteY2" fmla="*/ 195835 h 443485"/>
                <a:gd name="connsiteX3" fmla="*/ 320675 w 643922"/>
                <a:gd name="connsiteY3" fmla="*/ 443485 h 443485"/>
                <a:gd name="connsiteX4" fmla="*/ 0 w 643922"/>
                <a:gd name="connsiteY4" fmla="*/ 114300 h 443485"/>
                <a:gd name="connsiteX0" fmla="*/ 0 w 659797"/>
                <a:gd name="connsiteY0" fmla="*/ 276225 h 443485"/>
                <a:gd name="connsiteX1" fmla="*/ 364522 w 659797"/>
                <a:gd name="connsiteY1" fmla="*/ 0 h 443485"/>
                <a:gd name="connsiteX2" fmla="*/ 659797 w 659797"/>
                <a:gd name="connsiteY2" fmla="*/ 195835 h 443485"/>
                <a:gd name="connsiteX3" fmla="*/ 336550 w 659797"/>
                <a:gd name="connsiteY3" fmla="*/ 443485 h 443485"/>
                <a:gd name="connsiteX4" fmla="*/ 0 w 659797"/>
                <a:gd name="connsiteY4" fmla="*/ 276225 h 443485"/>
                <a:gd name="connsiteX0" fmla="*/ 0 w 720122"/>
                <a:gd name="connsiteY0" fmla="*/ 203200 h 443485"/>
                <a:gd name="connsiteX1" fmla="*/ 424847 w 720122"/>
                <a:gd name="connsiteY1" fmla="*/ 0 h 443485"/>
                <a:gd name="connsiteX2" fmla="*/ 720122 w 720122"/>
                <a:gd name="connsiteY2" fmla="*/ 195835 h 443485"/>
                <a:gd name="connsiteX3" fmla="*/ 396875 w 720122"/>
                <a:gd name="connsiteY3" fmla="*/ 443485 h 443485"/>
                <a:gd name="connsiteX4" fmla="*/ 0 w 720122"/>
                <a:gd name="connsiteY4" fmla="*/ 203200 h 443485"/>
                <a:gd name="connsiteX0" fmla="*/ 0 w 720122"/>
                <a:gd name="connsiteY0" fmla="*/ 120650 h 360935"/>
                <a:gd name="connsiteX1" fmla="*/ 250222 w 720122"/>
                <a:gd name="connsiteY1" fmla="*/ 0 h 360935"/>
                <a:gd name="connsiteX2" fmla="*/ 720122 w 720122"/>
                <a:gd name="connsiteY2" fmla="*/ 113285 h 360935"/>
                <a:gd name="connsiteX3" fmla="*/ 396875 w 720122"/>
                <a:gd name="connsiteY3" fmla="*/ 360935 h 360935"/>
                <a:gd name="connsiteX4" fmla="*/ 0 w 720122"/>
                <a:gd name="connsiteY4" fmla="*/ 120650 h 360935"/>
                <a:gd name="connsiteX0" fmla="*/ 0 w 612172"/>
                <a:gd name="connsiteY0" fmla="*/ 120650 h 360935"/>
                <a:gd name="connsiteX1" fmla="*/ 250222 w 612172"/>
                <a:gd name="connsiteY1" fmla="*/ 0 h 360935"/>
                <a:gd name="connsiteX2" fmla="*/ 612172 w 612172"/>
                <a:gd name="connsiteY2" fmla="*/ 237110 h 360935"/>
                <a:gd name="connsiteX3" fmla="*/ 396875 w 612172"/>
                <a:gd name="connsiteY3" fmla="*/ 360935 h 360935"/>
                <a:gd name="connsiteX4" fmla="*/ 0 w 612172"/>
                <a:gd name="connsiteY4" fmla="*/ 120650 h 360935"/>
                <a:gd name="connsiteX0" fmla="*/ 0 w 650272"/>
                <a:gd name="connsiteY0" fmla="*/ 161925 h 360935"/>
                <a:gd name="connsiteX1" fmla="*/ 288322 w 650272"/>
                <a:gd name="connsiteY1" fmla="*/ 0 h 360935"/>
                <a:gd name="connsiteX2" fmla="*/ 650272 w 650272"/>
                <a:gd name="connsiteY2" fmla="*/ 237110 h 360935"/>
                <a:gd name="connsiteX3" fmla="*/ 434975 w 650272"/>
                <a:gd name="connsiteY3" fmla="*/ 360935 h 360935"/>
                <a:gd name="connsiteX4" fmla="*/ 0 w 650272"/>
                <a:gd name="connsiteY4" fmla="*/ 161925 h 360935"/>
                <a:gd name="connsiteX0" fmla="*/ 0 w 650272"/>
                <a:gd name="connsiteY0" fmla="*/ 123825 h 322835"/>
                <a:gd name="connsiteX1" fmla="*/ 231172 w 650272"/>
                <a:gd name="connsiteY1" fmla="*/ 0 h 322835"/>
                <a:gd name="connsiteX2" fmla="*/ 650272 w 650272"/>
                <a:gd name="connsiteY2" fmla="*/ 199010 h 322835"/>
                <a:gd name="connsiteX3" fmla="*/ 434975 w 650272"/>
                <a:gd name="connsiteY3" fmla="*/ 322835 h 322835"/>
                <a:gd name="connsiteX4" fmla="*/ 0 w 650272"/>
                <a:gd name="connsiteY4" fmla="*/ 123825 h 322835"/>
                <a:gd name="connsiteX0" fmla="*/ 0 w 675672"/>
                <a:gd name="connsiteY0" fmla="*/ 111125 h 322835"/>
                <a:gd name="connsiteX1" fmla="*/ 256572 w 675672"/>
                <a:gd name="connsiteY1" fmla="*/ 0 h 322835"/>
                <a:gd name="connsiteX2" fmla="*/ 675672 w 675672"/>
                <a:gd name="connsiteY2" fmla="*/ 199010 h 322835"/>
                <a:gd name="connsiteX3" fmla="*/ 460375 w 675672"/>
                <a:gd name="connsiteY3" fmla="*/ 322835 h 322835"/>
                <a:gd name="connsiteX4" fmla="*/ 0 w 675672"/>
                <a:gd name="connsiteY4" fmla="*/ 111125 h 322835"/>
                <a:gd name="connsiteX0" fmla="*/ 0 w 675672"/>
                <a:gd name="connsiteY0" fmla="*/ 111125 h 313310"/>
                <a:gd name="connsiteX1" fmla="*/ 256572 w 675672"/>
                <a:gd name="connsiteY1" fmla="*/ 0 h 313310"/>
                <a:gd name="connsiteX2" fmla="*/ 675672 w 675672"/>
                <a:gd name="connsiteY2" fmla="*/ 199010 h 313310"/>
                <a:gd name="connsiteX3" fmla="*/ 447675 w 675672"/>
                <a:gd name="connsiteY3" fmla="*/ 313310 h 313310"/>
                <a:gd name="connsiteX4" fmla="*/ 0 w 675672"/>
                <a:gd name="connsiteY4" fmla="*/ 111125 h 313310"/>
                <a:gd name="connsiteX0" fmla="*/ 0 w 675672"/>
                <a:gd name="connsiteY0" fmla="*/ 106362 h 308547"/>
                <a:gd name="connsiteX1" fmla="*/ 247047 w 675672"/>
                <a:gd name="connsiteY1" fmla="*/ 0 h 308547"/>
                <a:gd name="connsiteX2" fmla="*/ 675672 w 675672"/>
                <a:gd name="connsiteY2" fmla="*/ 194247 h 308547"/>
                <a:gd name="connsiteX3" fmla="*/ 447675 w 675672"/>
                <a:gd name="connsiteY3" fmla="*/ 308547 h 308547"/>
                <a:gd name="connsiteX4" fmla="*/ 0 w 675672"/>
                <a:gd name="connsiteY4" fmla="*/ 106362 h 308547"/>
                <a:gd name="connsiteX0" fmla="*/ 0 w 647097"/>
                <a:gd name="connsiteY0" fmla="*/ 115887 h 308547"/>
                <a:gd name="connsiteX1" fmla="*/ 218472 w 647097"/>
                <a:gd name="connsiteY1" fmla="*/ 0 h 308547"/>
                <a:gd name="connsiteX2" fmla="*/ 647097 w 647097"/>
                <a:gd name="connsiteY2" fmla="*/ 194247 h 308547"/>
                <a:gd name="connsiteX3" fmla="*/ 419100 w 647097"/>
                <a:gd name="connsiteY3" fmla="*/ 308547 h 308547"/>
                <a:gd name="connsiteX4" fmla="*/ 0 w 647097"/>
                <a:gd name="connsiteY4" fmla="*/ 115887 h 308547"/>
                <a:gd name="connsiteX0" fmla="*/ 0 w 647097"/>
                <a:gd name="connsiteY0" fmla="*/ 108744 h 301404"/>
                <a:gd name="connsiteX1" fmla="*/ 232759 w 647097"/>
                <a:gd name="connsiteY1" fmla="*/ 0 h 301404"/>
                <a:gd name="connsiteX2" fmla="*/ 647097 w 647097"/>
                <a:gd name="connsiteY2" fmla="*/ 187104 h 301404"/>
                <a:gd name="connsiteX3" fmla="*/ 419100 w 647097"/>
                <a:gd name="connsiteY3" fmla="*/ 301404 h 301404"/>
                <a:gd name="connsiteX4" fmla="*/ 0 w 647097"/>
                <a:gd name="connsiteY4" fmla="*/ 108744 h 301404"/>
                <a:gd name="connsiteX0" fmla="*/ 0 w 642335"/>
                <a:gd name="connsiteY0" fmla="*/ 108744 h 301404"/>
                <a:gd name="connsiteX1" fmla="*/ 232759 w 642335"/>
                <a:gd name="connsiteY1" fmla="*/ 0 h 301404"/>
                <a:gd name="connsiteX2" fmla="*/ 642335 w 642335"/>
                <a:gd name="connsiteY2" fmla="*/ 187104 h 301404"/>
                <a:gd name="connsiteX3" fmla="*/ 419100 w 642335"/>
                <a:gd name="connsiteY3" fmla="*/ 301404 h 301404"/>
                <a:gd name="connsiteX4" fmla="*/ 0 w 642335"/>
                <a:gd name="connsiteY4" fmla="*/ 108744 h 301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2335" h="301404">
                  <a:moveTo>
                    <a:pt x="0" y="108744"/>
                  </a:moveTo>
                  <a:lnTo>
                    <a:pt x="232759" y="0"/>
                  </a:lnTo>
                  <a:lnTo>
                    <a:pt x="642335" y="187104"/>
                  </a:lnTo>
                  <a:lnTo>
                    <a:pt x="419100" y="301404"/>
                  </a:lnTo>
                  <a:lnTo>
                    <a:pt x="0" y="10874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6" name="Rectangle 20"/>
            <p:cNvSpPr/>
            <p:nvPr/>
          </p:nvSpPr>
          <p:spPr>
            <a:xfrm>
              <a:off x="5881077" y="534784"/>
              <a:ext cx="1384290" cy="646478"/>
            </a:xfrm>
            <a:custGeom>
              <a:avLst/>
              <a:gdLst>
                <a:gd name="connsiteX0" fmla="*/ 0 w 402622"/>
                <a:gd name="connsiteY0" fmla="*/ 0 h 252985"/>
                <a:gd name="connsiteX1" fmla="*/ 402622 w 402622"/>
                <a:gd name="connsiteY1" fmla="*/ 0 h 252985"/>
                <a:gd name="connsiteX2" fmla="*/ 402622 w 402622"/>
                <a:gd name="connsiteY2" fmla="*/ 252985 h 252985"/>
                <a:gd name="connsiteX3" fmla="*/ 0 w 402622"/>
                <a:gd name="connsiteY3" fmla="*/ 252985 h 252985"/>
                <a:gd name="connsiteX4" fmla="*/ 0 w 402622"/>
                <a:gd name="connsiteY4" fmla="*/ 0 h 252985"/>
                <a:gd name="connsiteX0" fmla="*/ 0 w 402622"/>
                <a:gd name="connsiteY0" fmla="*/ 114300 h 367285"/>
                <a:gd name="connsiteX1" fmla="*/ 348647 w 402622"/>
                <a:gd name="connsiteY1" fmla="*/ 0 h 367285"/>
                <a:gd name="connsiteX2" fmla="*/ 402622 w 402622"/>
                <a:gd name="connsiteY2" fmla="*/ 367285 h 367285"/>
                <a:gd name="connsiteX3" fmla="*/ 0 w 402622"/>
                <a:gd name="connsiteY3" fmla="*/ 367285 h 367285"/>
                <a:gd name="connsiteX4" fmla="*/ 0 w 402622"/>
                <a:gd name="connsiteY4" fmla="*/ 114300 h 367285"/>
                <a:gd name="connsiteX0" fmla="*/ 0 w 643922"/>
                <a:gd name="connsiteY0" fmla="*/ 114300 h 367285"/>
                <a:gd name="connsiteX1" fmla="*/ 348647 w 643922"/>
                <a:gd name="connsiteY1" fmla="*/ 0 h 367285"/>
                <a:gd name="connsiteX2" fmla="*/ 643922 w 643922"/>
                <a:gd name="connsiteY2" fmla="*/ 195835 h 367285"/>
                <a:gd name="connsiteX3" fmla="*/ 0 w 643922"/>
                <a:gd name="connsiteY3" fmla="*/ 367285 h 367285"/>
                <a:gd name="connsiteX4" fmla="*/ 0 w 643922"/>
                <a:gd name="connsiteY4" fmla="*/ 114300 h 367285"/>
                <a:gd name="connsiteX0" fmla="*/ 0 w 643922"/>
                <a:gd name="connsiteY0" fmla="*/ 114300 h 443485"/>
                <a:gd name="connsiteX1" fmla="*/ 348647 w 643922"/>
                <a:gd name="connsiteY1" fmla="*/ 0 h 443485"/>
                <a:gd name="connsiteX2" fmla="*/ 643922 w 643922"/>
                <a:gd name="connsiteY2" fmla="*/ 195835 h 443485"/>
                <a:gd name="connsiteX3" fmla="*/ 320675 w 643922"/>
                <a:gd name="connsiteY3" fmla="*/ 443485 h 443485"/>
                <a:gd name="connsiteX4" fmla="*/ 0 w 643922"/>
                <a:gd name="connsiteY4" fmla="*/ 114300 h 443485"/>
                <a:gd name="connsiteX0" fmla="*/ 0 w 659797"/>
                <a:gd name="connsiteY0" fmla="*/ 276225 h 443485"/>
                <a:gd name="connsiteX1" fmla="*/ 364522 w 659797"/>
                <a:gd name="connsiteY1" fmla="*/ 0 h 443485"/>
                <a:gd name="connsiteX2" fmla="*/ 659797 w 659797"/>
                <a:gd name="connsiteY2" fmla="*/ 195835 h 443485"/>
                <a:gd name="connsiteX3" fmla="*/ 336550 w 659797"/>
                <a:gd name="connsiteY3" fmla="*/ 443485 h 443485"/>
                <a:gd name="connsiteX4" fmla="*/ 0 w 659797"/>
                <a:gd name="connsiteY4" fmla="*/ 276225 h 443485"/>
                <a:gd name="connsiteX0" fmla="*/ 0 w 720122"/>
                <a:gd name="connsiteY0" fmla="*/ 203200 h 443485"/>
                <a:gd name="connsiteX1" fmla="*/ 424847 w 720122"/>
                <a:gd name="connsiteY1" fmla="*/ 0 h 443485"/>
                <a:gd name="connsiteX2" fmla="*/ 720122 w 720122"/>
                <a:gd name="connsiteY2" fmla="*/ 195835 h 443485"/>
                <a:gd name="connsiteX3" fmla="*/ 396875 w 720122"/>
                <a:gd name="connsiteY3" fmla="*/ 443485 h 443485"/>
                <a:gd name="connsiteX4" fmla="*/ 0 w 720122"/>
                <a:gd name="connsiteY4" fmla="*/ 203200 h 443485"/>
                <a:gd name="connsiteX0" fmla="*/ 0 w 720122"/>
                <a:gd name="connsiteY0" fmla="*/ 120650 h 360935"/>
                <a:gd name="connsiteX1" fmla="*/ 250222 w 720122"/>
                <a:gd name="connsiteY1" fmla="*/ 0 h 360935"/>
                <a:gd name="connsiteX2" fmla="*/ 720122 w 720122"/>
                <a:gd name="connsiteY2" fmla="*/ 113285 h 360935"/>
                <a:gd name="connsiteX3" fmla="*/ 396875 w 720122"/>
                <a:gd name="connsiteY3" fmla="*/ 360935 h 360935"/>
                <a:gd name="connsiteX4" fmla="*/ 0 w 720122"/>
                <a:gd name="connsiteY4" fmla="*/ 120650 h 360935"/>
                <a:gd name="connsiteX0" fmla="*/ 0 w 612172"/>
                <a:gd name="connsiteY0" fmla="*/ 120650 h 360935"/>
                <a:gd name="connsiteX1" fmla="*/ 250222 w 612172"/>
                <a:gd name="connsiteY1" fmla="*/ 0 h 360935"/>
                <a:gd name="connsiteX2" fmla="*/ 612172 w 612172"/>
                <a:gd name="connsiteY2" fmla="*/ 237110 h 360935"/>
                <a:gd name="connsiteX3" fmla="*/ 396875 w 612172"/>
                <a:gd name="connsiteY3" fmla="*/ 360935 h 360935"/>
                <a:gd name="connsiteX4" fmla="*/ 0 w 612172"/>
                <a:gd name="connsiteY4" fmla="*/ 120650 h 360935"/>
                <a:gd name="connsiteX0" fmla="*/ 0 w 650272"/>
                <a:gd name="connsiteY0" fmla="*/ 161925 h 360935"/>
                <a:gd name="connsiteX1" fmla="*/ 288322 w 650272"/>
                <a:gd name="connsiteY1" fmla="*/ 0 h 360935"/>
                <a:gd name="connsiteX2" fmla="*/ 650272 w 650272"/>
                <a:gd name="connsiteY2" fmla="*/ 237110 h 360935"/>
                <a:gd name="connsiteX3" fmla="*/ 434975 w 650272"/>
                <a:gd name="connsiteY3" fmla="*/ 360935 h 360935"/>
                <a:gd name="connsiteX4" fmla="*/ 0 w 650272"/>
                <a:gd name="connsiteY4" fmla="*/ 161925 h 360935"/>
                <a:gd name="connsiteX0" fmla="*/ 0 w 650272"/>
                <a:gd name="connsiteY0" fmla="*/ 123825 h 322835"/>
                <a:gd name="connsiteX1" fmla="*/ 231172 w 650272"/>
                <a:gd name="connsiteY1" fmla="*/ 0 h 322835"/>
                <a:gd name="connsiteX2" fmla="*/ 650272 w 650272"/>
                <a:gd name="connsiteY2" fmla="*/ 199010 h 322835"/>
                <a:gd name="connsiteX3" fmla="*/ 434975 w 650272"/>
                <a:gd name="connsiteY3" fmla="*/ 322835 h 322835"/>
                <a:gd name="connsiteX4" fmla="*/ 0 w 650272"/>
                <a:gd name="connsiteY4" fmla="*/ 123825 h 322835"/>
                <a:gd name="connsiteX0" fmla="*/ 0 w 675672"/>
                <a:gd name="connsiteY0" fmla="*/ 111125 h 322835"/>
                <a:gd name="connsiteX1" fmla="*/ 256572 w 675672"/>
                <a:gd name="connsiteY1" fmla="*/ 0 h 322835"/>
                <a:gd name="connsiteX2" fmla="*/ 675672 w 675672"/>
                <a:gd name="connsiteY2" fmla="*/ 199010 h 322835"/>
                <a:gd name="connsiteX3" fmla="*/ 460375 w 675672"/>
                <a:gd name="connsiteY3" fmla="*/ 322835 h 322835"/>
                <a:gd name="connsiteX4" fmla="*/ 0 w 675672"/>
                <a:gd name="connsiteY4" fmla="*/ 111125 h 322835"/>
                <a:gd name="connsiteX0" fmla="*/ 0 w 675672"/>
                <a:gd name="connsiteY0" fmla="*/ 111125 h 313310"/>
                <a:gd name="connsiteX1" fmla="*/ 256572 w 675672"/>
                <a:gd name="connsiteY1" fmla="*/ 0 h 313310"/>
                <a:gd name="connsiteX2" fmla="*/ 675672 w 675672"/>
                <a:gd name="connsiteY2" fmla="*/ 199010 h 313310"/>
                <a:gd name="connsiteX3" fmla="*/ 447675 w 675672"/>
                <a:gd name="connsiteY3" fmla="*/ 313310 h 313310"/>
                <a:gd name="connsiteX4" fmla="*/ 0 w 675672"/>
                <a:gd name="connsiteY4" fmla="*/ 111125 h 313310"/>
                <a:gd name="connsiteX0" fmla="*/ 0 w 675672"/>
                <a:gd name="connsiteY0" fmla="*/ 106362 h 308547"/>
                <a:gd name="connsiteX1" fmla="*/ 247047 w 675672"/>
                <a:gd name="connsiteY1" fmla="*/ 0 h 308547"/>
                <a:gd name="connsiteX2" fmla="*/ 675672 w 675672"/>
                <a:gd name="connsiteY2" fmla="*/ 194247 h 308547"/>
                <a:gd name="connsiteX3" fmla="*/ 447675 w 675672"/>
                <a:gd name="connsiteY3" fmla="*/ 308547 h 308547"/>
                <a:gd name="connsiteX4" fmla="*/ 0 w 675672"/>
                <a:gd name="connsiteY4" fmla="*/ 106362 h 308547"/>
                <a:gd name="connsiteX0" fmla="*/ 0 w 635191"/>
                <a:gd name="connsiteY0" fmla="*/ 125412 h 308547"/>
                <a:gd name="connsiteX1" fmla="*/ 206566 w 635191"/>
                <a:gd name="connsiteY1" fmla="*/ 0 h 308547"/>
                <a:gd name="connsiteX2" fmla="*/ 635191 w 635191"/>
                <a:gd name="connsiteY2" fmla="*/ 194247 h 308547"/>
                <a:gd name="connsiteX3" fmla="*/ 407194 w 635191"/>
                <a:gd name="connsiteY3" fmla="*/ 308547 h 308547"/>
                <a:gd name="connsiteX4" fmla="*/ 0 w 635191"/>
                <a:gd name="connsiteY4" fmla="*/ 125412 h 308547"/>
                <a:gd name="connsiteX0" fmla="*/ 0 w 635191"/>
                <a:gd name="connsiteY0" fmla="*/ 113506 h 296641"/>
                <a:gd name="connsiteX1" fmla="*/ 242285 w 635191"/>
                <a:gd name="connsiteY1" fmla="*/ 0 h 296641"/>
                <a:gd name="connsiteX2" fmla="*/ 635191 w 635191"/>
                <a:gd name="connsiteY2" fmla="*/ 182341 h 296641"/>
                <a:gd name="connsiteX3" fmla="*/ 407194 w 635191"/>
                <a:gd name="connsiteY3" fmla="*/ 296641 h 296641"/>
                <a:gd name="connsiteX4" fmla="*/ 0 w 635191"/>
                <a:gd name="connsiteY4" fmla="*/ 113506 h 296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191" h="296641">
                  <a:moveTo>
                    <a:pt x="0" y="113506"/>
                  </a:moveTo>
                  <a:lnTo>
                    <a:pt x="242285" y="0"/>
                  </a:lnTo>
                  <a:lnTo>
                    <a:pt x="635191" y="182341"/>
                  </a:lnTo>
                  <a:lnTo>
                    <a:pt x="407194" y="296641"/>
                  </a:lnTo>
                  <a:lnTo>
                    <a:pt x="0" y="11350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80" name="Group 79"/>
          <p:cNvGrpSpPr/>
          <p:nvPr/>
        </p:nvGrpSpPr>
        <p:grpSpPr>
          <a:xfrm>
            <a:off x="8022152" y="4446926"/>
            <a:ext cx="527928" cy="479650"/>
            <a:chOff x="300650" y="239162"/>
            <a:chExt cx="2201250" cy="2000470"/>
          </a:xfrm>
          <a:solidFill>
            <a:schemeClr val="tx1"/>
          </a:solidFill>
        </p:grpSpPr>
        <p:grpSp>
          <p:nvGrpSpPr>
            <p:cNvPr id="81" name="Group 80"/>
            <p:cNvGrpSpPr/>
            <p:nvPr/>
          </p:nvGrpSpPr>
          <p:grpSpPr>
            <a:xfrm>
              <a:off x="300650" y="239162"/>
              <a:ext cx="2201250" cy="2000470"/>
              <a:chOff x="1557950" y="239162"/>
              <a:chExt cx="1199134" cy="1089759"/>
            </a:xfrm>
            <a:grpFill/>
          </p:grpSpPr>
          <p:sp>
            <p:nvSpPr>
              <p:cNvPr id="88" name="Round Same Side Corner Rectangle 24"/>
              <p:cNvSpPr/>
              <p:nvPr/>
            </p:nvSpPr>
            <p:spPr bwMode="auto">
              <a:xfrm>
                <a:off x="1557950" y="239162"/>
                <a:ext cx="1199134" cy="147926"/>
              </a:xfrm>
              <a:custGeom>
                <a:avLst/>
                <a:gdLst/>
                <a:ahLst/>
                <a:cxnLst/>
                <a:rect l="l" t="t" r="r" b="b"/>
                <a:pathLst>
                  <a:path w="2978870" h="367475">
                    <a:moveTo>
                      <a:pt x="2215797" y="171532"/>
                    </a:moveTo>
                    <a:lnTo>
                      <a:pt x="2215797" y="194591"/>
                    </a:lnTo>
                    <a:lnTo>
                      <a:pt x="2350501" y="194591"/>
                    </a:lnTo>
                    <a:lnTo>
                      <a:pt x="2350501" y="171532"/>
                    </a:lnTo>
                    <a:close/>
                    <a:moveTo>
                      <a:pt x="2415257" y="84395"/>
                    </a:moveTo>
                    <a:lnTo>
                      <a:pt x="2504657" y="84395"/>
                    </a:lnTo>
                    <a:lnTo>
                      <a:pt x="2504657" y="174124"/>
                    </a:lnTo>
                    <a:lnTo>
                      <a:pt x="2415257" y="174124"/>
                    </a:lnTo>
                    <a:close/>
                    <a:moveTo>
                      <a:pt x="2394626" y="63928"/>
                    </a:moveTo>
                    <a:lnTo>
                      <a:pt x="2394626" y="194591"/>
                    </a:lnTo>
                    <a:lnTo>
                      <a:pt x="2525288" y="194591"/>
                    </a:lnTo>
                    <a:lnTo>
                      <a:pt x="2525288" y="63928"/>
                    </a:lnTo>
                    <a:close/>
                    <a:moveTo>
                      <a:pt x="2579907" y="61914"/>
                    </a:moveTo>
                    <a:lnTo>
                      <a:pt x="2641028" y="128359"/>
                    </a:lnTo>
                    <a:lnTo>
                      <a:pt x="2580103" y="194591"/>
                    </a:lnTo>
                    <a:lnTo>
                      <a:pt x="2615359" y="194591"/>
                    </a:lnTo>
                    <a:lnTo>
                      <a:pt x="2658657" y="147522"/>
                    </a:lnTo>
                    <a:lnTo>
                      <a:pt x="2701954" y="194591"/>
                    </a:lnTo>
                    <a:lnTo>
                      <a:pt x="2737210" y="194591"/>
                    </a:lnTo>
                    <a:lnTo>
                      <a:pt x="2676285" y="128359"/>
                    </a:lnTo>
                    <a:lnTo>
                      <a:pt x="2737406" y="61914"/>
                    </a:lnTo>
                    <a:lnTo>
                      <a:pt x="2702150" y="61914"/>
                    </a:lnTo>
                    <a:lnTo>
                      <a:pt x="2658657" y="109196"/>
                    </a:lnTo>
                    <a:lnTo>
                      <a:pt x="2615164" y="61914"/>
                    </a:lnTo>
                    <a:close/>
                    <a:moveTo>
                      <a:pt x="142516" y="0"/>
                    </a:moveTo>
                    <a:lnTo>
                      <a:pt x="2836354" y="0"/>
                    </a:lnTo>
                    <a:cubicBezTo>
                      <a:pt x="2915063" y="0"/>
                      <a:pt x="2978870" y="63807"/>
                      <a:pt x="2978870" y="142516"/>
                    </a:cubicBezTo>
                    <a:lnTo>
                      <a:pt x="2978870" y="367475"/>
                    </a:lnTo>
                    <a:cubicBezTo>
                      <a:pt x="2931876" y="302273"/>
                      <a:pt x="2855153" y="260271"/>
                      <a:pt x="2768620" y="260271"/>
                    </a:cubicBezTo>
                    <a:lnTo>
                      <a:pt x="210250" y="260271"/>
                    </a:lnTo>
                    <a:cubicBezTo>
                      <a:pt x="123717" y="260271"/>
                      <a:pt x="46994" y="302273"/>
                      <a:pt x="0" y="367475"/>
                    </a:cubicBezTo>
                    <a:lnTo>
                      <a:pt x="0" y="142516"/>
                    </a:lnTo>
                    <a:cubicBezTo>
                      <a:pt x="0" y="63807"/>
                      <a:pt x="63807" y="0"/>
                      <a:pt x="142516" y="0"/>
                    </a:cubicBezTo>
                    <a:close/>
                  </a:path>
                </a:pathLst>
              </a:cu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3000" dirty="0">
                  <a:solidFill>
                    <a:srgbClr val="8E499C"/>
                  </a:solidFill>
                  <a:latin typeface="Segoe UI Light" pitchFamily="34" charset="0"/>
                </a:endParaRPr>
              </a:p>
            </p:txBody>
          </p:sp>
          <p:sp>
            <p:nvSpPr>
              <p:cNvPr id="89" name="Rounded Rectangle 8"/>
              <p:cNvSpPr/>
              <p:nvPr/>
            </p:nvSpPr>
            <p:spPr bwMode="auto">
              <a:xfrm>
                <a:off x="1557950" y="368855"/>
                <a:ext cx="1199134" cy="960066"/>
              </a:xfrm>
              <a:custGeom>
                <a:avLst/>
                <a:gdLst/>
                <a:ahLst/>
                <a:cxnLst/>
                <a:rect l="l" t="t" r="r" b="b"/>
                <a:pathLst>
                  <a:path w="2978870" h="2384982">
                    <a:moveTo>
                      <a:pt x="351958" y="124689"/>
                    </a:moveTo>
                    <a:cubicBezTo>
                      <a:pt x="243589" y="124689"/>
                      <a:pt x="155739" y="212539"/>
                      <a:pt x="155739" y="320908"/>
                    </a:cubicBezTo>
                    <a:lnTo>
                      <a:pt x="155739" y="2064074"/>
                    </a:lnTo>
                    <a:cubicBezTo>
                      <a:pt x="155739" y="2172443"/>
                      <a:pt x="243589" y="2260293"/>
                      <a:pt x="351958" y="2260293"/>
                    </a:cubicBezTo>
                    <a:lnTo>
                      <a:pt x="2626912" y="2260293"/>
                    </a:lnTo>
                    <a:cubicBezTo>
                      <a:pt x="2735281" y="2260293"/>
                      <a:pt x="2823131" y="2172443"/>
                      <a:pt x="2823131" y="2064074"/>
                    </a:cubicBezTo>
                    <a:lnTo>
                      <a:pt x="2823131" y="320908"/>
                    </a:lnTo>
                    <a:cubicBezTo>
                      <a:pt x="2823131" y="212539"/>
                      <a:pt x="2735281" y="124689"/>
                      <a:pt x="2626912" y="124689"/>
                    </a:cubicBezTo>
                    <a:close/>
                    <a:moveTo>
                      <a:pt x="261680" y="0"/>
                    </a:moveTo>
                    <a:lnTo>
                      <a:pt x="2717190" y="0"/>
                    </a:lnTo>
                    <a:cubicBezTo>
                      <a:pt x="2861712" y="0"/>
                      <a:pt x="2978870" y="117158"/>
                      <a:pt x="2978870" y="261680"/>
                    </a:cubicBezTo>
                    <a:lnTo>
                      <a:pt x="2978870" y="2123302"/>
                    </a:lnTo>
                    <a:cubicBezTo>
                      <a:pt x="2978870" y="2267824"/>
                      <a:pt x="2861712" y="2384982"/>
                      <a:pt x="2717190" y="2384982"/>
                    </a:cubicBezTo>
                    <a:lnTo>
                      <a:pt x="261680" y="2384982"/>
                    </a:lnTo>
                    <a:cubicBezTo>
                      <a:pt x="117158" y="2384982"/>
                      <a:pt x="0" y="2267824"/>
                      <a:pt x="0" y="2123302"/>
                    </a:cubicBezTo>
                    <a:lnTo>
                      <a:pt x="0" y="261680"/>
                    </a:lnTo>
                    <a:cubicBezTo>
                      <a:pt x="0" y="117158"/>
                      <a:pt x="117158" y="0"/>
                      <a:pt x="261680" y="0"/>
                    </a:cubicBezTo>
                    <a:close/>
                  </a:path>
                </a:pathLst>
              </a:cu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3000" dirty="0">
                  <a:solidFill>
                    <a:srgbClr val="8E499C"/>
                  </a:solidFill>
                  <a:latin typeface="Segoe UI Light" pitchFamily="34" charset="0"/>
                </a:endParaRPr>
              </a:p>
            </p:txBody>
          </p:sp>
        </p:grpSp>
        <p:grpSp>
          <p:nvGrpSpPr>
            <p:cNvPr id="82" name="Group 81"/>
            <p:cNvGrpSpPr/>
            <p:nvPr/>
          </p:nvGrpSpPr>
          <p:grpSpPr>
            <a:xfrm>
              <a:off x="948531" y="731210"/>
              <a:ext cx="845344" cy="340518"/>
              <a:chOff x="3493294" y="3157538"/>
              <a:chExt cx="845344" cy="340518"/>
            </a:xfrm>
            <a:grpFill/>
          </p:grpSpPr>
          <p:sp>
            <p:nvSpPr>
              <p:cNvPr id="84" name="Rectangle 83"/>
              <p:cNvSpPr/>
              <p:nvPr/>
            </p:nvSpPr>
            <p:spPr>
              <a:xfrm>
                <a:off x="3493294" y="3183731"/>
                <a:ext cx="97631" cy="690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85" name="Rectangle 84"/>
              <p:cNvSpPr/>
              <p:nvPr/>
            </p:nvSpPr>
            <p:spPr>
              <a:xfrm>
                <a:off x="3493294" y="3331369"/>
                <a:ext cx="97631" cy="690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86" name="Freeform 85"/>
              <p:cNvSpPr/>
              <p:nvPr/>
            </p:nvSpPr>
            <p:spPr>
              <a:xfrm>
                <a:off x="3707606" y="3157538"/>
                <a:ext cx="247650" cy="269081"/>
              </a:xfrm>
              <a:custGeom>
                <a:avLst/>
                <a:gdLst>
                  <a:gd name="connsiteX0" fmla="*/ 0 w 247650"/>
                  <a:gd name="connsiteY0" fmla="*/ 0 h 269081"/>
                  <a:gd name="connsiteX1" fmla="*/ 247650 w 247650"/>
                  <a:gd name="connsiteY1" fmla="*/ 269081 h 269081"/>
                </a:gdLst>
                <a:ahLst/>
                <a:cxnLst>
                  <a:cxn ang="0">
                    <a:pos x="connsiteX0" y="connsiteY0"/>
                  </a:cxn>
                  <a:cxn ang="0">
                    <a:pos x="connsiteX1" y="connsiteY1"/>
                  </a:cxn>
                </a:cxnLst>
                <a:rect l="l" t="t" r="r" b="b"/>
                <a:pathLst>
                  <a:path w="247650" h="269081">
                    <a:moveTo>
                      <a:pt x="0" y="0"/>
                    </a:moveTo>
                    <a:lnTo>
                      <a:pt x="247650" y="269081"/>
                    </a:lnTo>
                  </a:path>
                </a:pathLst>
              </a:cu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87" name="Rectangle 86"/>
              <p:cNvSpPr/>
              <p:nvPr/>
            </p:nvSpPr>
            <p:spPr>
              <a:xfrm>
                <a:off x="4052888" y="3400426"/>
                <a:ext cx="285750" cy="9763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
          <p:nvSpPr>
            <p:cNvPr id="83" name="Freeform 7"/>
            <p:cNvSpPr>
              <a:spLocks/>
            </p:cNvSpPr>
            <p:nvPr/>
          </p:nvSpPr>
          <p:spPr bwMode="auto">
            <a:xfrm>
              <a:off x="565746" y="678120"/>
              <a:ext cx="272652" cy="346683"/>
            </a:xfrm>
            <a:custGeom>
              <a:avLst/>
              <a:gdLst>
                <a:gd name="T0" fmla="*/ 904 w 905"/>
                <a:gd name="T1" fmla="*/ 210 h 1152"/>
                <a:gd name="T2" fmla="*/ 830 w 905"/>
                <a:gd name="T3" fmla="*/ 134 h 1152"/>
                <a:gd name="T4" fmla="*/ 796 w 905"/>
                <a:gd name="T5" fmla="*/ 119 h 1152"/>
                <a:gd name="T6" fmla="*/ 761 w 905"/>
                <a:gd name="T7" fmla="*/ 106 h 1152"/>
                <a:gd name="T8" fmla="*/ 720 w 905"/>
                <a:gd name="T9" fmla="*/ 94 h 1152"/>
                <a:gd name="T10" fmla="*/ 665 w 905"/>
                <a:gd name="T11" fmla="*/ 88 h 1152"/>
                <a:gd name="T12" fmla="*/ 579 w 905"/>
                <a:gd name="T13" fmla="*/ 90 h 1152"/>
                <a:gd name="T14" fmla="*/ 457 w 905"/>
                <a:gd name="T15" fmla="*/ 124 h 1152"/>
                <a:gd name="T16" fmla="*/ 344 w 905"/>
                <a:gd name="T17" fmla="*/ 196 h 1152"/>
                <a:gd name="T18" fmla="*/ 251 w 905"/>
                <a:gd name="T19" fmla="*/ 300 h 1152"/>
                <a:gd name="T20" fmla="*/ 189 w 905"/>
                <a:gd name="T21" fmla="*/ 430 h 1152"/>
                <a:gd name="T22" fmla="*/ 167 w 905"/>
                <a:gd name="T23" fmla="*/ 585 h 1152"/>
                <a:gd name="T24" fmla="*/ 201 w 905"/>
                <a:gd name="T25" fmla="*/ 748 h 1152"/>
                <a:gd name="T26" fmla="*/ 275 w 905"/>
                <a:gd name="T27" fmla="*/ 873 h 1152"/>
                <a:gd name="T28" fmla="*/ 372 w 905"/>
                <a:gd name="T29" fmla="*/ 965 h 1152"/>
                <a:gd name="T30" fmla="*/ 477 w 905"/>
                <a:gd name="T31" fmla="*/ 1024 h 1152"/>
                <a:gd name="T32" fmla="*/ 575 w 905"/>
                <a:gd name="T33" fmla="*/ 1052 h 1152"/>
                <a:gd name="T34" fmla="*/ 636 w 905"/>
                <a:gd name="T35" fmla="*/ 1053 h 1152"/>
                <a:gd name="T36" fmla="*/ 684 w 905"/>
                <a:gd name="T37" fmla="*/ 1049 h 1152"/>
                <a:gd name="T38" fmla="*/ 729 w 905"/>
                <a:gd name="T39" fmla="*/ 1040 h 1152"/>
                <a:gd name="T40" fmla="*/ 773 w 905"/>
                <a:gd name="T41" fmla="*/ 1030 h 1152"/>
                <a:gd name="T42" fmla="*/ 813 w 905"/>
                <a:gd name="T43" fmla="*/ 1016 h 1152"/>
                <a:gd name="T44" fmla="*/ 905 w 905"/>
                <a:gd name="T45" fmla="*/ 929 h 1152"/>
                <a:gd name="T46" fmla="*/ 890 w 905"/>
                <a:gd name="T47" fmla="*/ 1134 h 1152"/>
                <a:gd name="T48" fmla="*/ 867 w 905"/>
                <a:gd name="T49" fmla="*/ 1113 h 1152"/>
                <a:gd name="T50" fmla="*/ 845 w 905"/>
                <a:gd name="T51" fmla="*/ 1089 h 1152"/>
                <a:gd name="T52" fmla="*/ 794 w 905"/>
                <a:gd name="T53" fmla="*/ 1101 h 1152"/>
                <a:gd name="T54" fmla="*/ 744 w 905"/>
                <a:gd name="T55" fmla="*/ 1111 h 1152"/>
                <a:gd name="T56" fmla="*/ 697 w 905"/>
                <a:gd name="T57" fmla="*/ 1119 h 1152"/>
                <a:gd name="T58" fmla="*/ 653 w 905"/>
                <a:gd name="T59" fmla="*/ 1123 h 1152"/>
                <a:gd name="T60" fmla="*/ 615 w 905"/>
                <a:gd name="T61" fmla="*/ 1127 h 1152"/>
                <a:gd name="T62" fmla="*/ 471 w 905"/>
                <a:gd name="T63" fmla="*/ 1120 h 1152"/>
                <a:gd name="T64" fmla="*/ 299 w 905"/>
                <a:gd name="T65" fmla="*/ 1064 h 1152"/>
                <a:gd name="T66" fmla="*/ 165 w 905"/>
                <a:gd name="T67" fmla="*/ 967 h 1152"/>
                <a:gd name="T68" fmla="*/ 68 w 905"/>
                <a:gd name="T69" fmla="*/ 836 h 1152"/>
                <a:gd name="T70" fmla="*/ 13 w 905"/>
                <a:gd name="T71" fmla="*/ 688 h 1152"/>
                <a:gd name="T72" fmla="*/ 1 w 905"/>
                <a:gd name="T73" fmla="*/ 533 h 1152"/>
                <a:gd name="T74" fmla="*/ 29 w 905"/>
                <a:gd name="T75" fmla="*/ 385 h 1152"/>
                <a:gd name="T76" fmla="*/ 95 w 905"/>
                <a:gd name="T77" fmla="*/ 247 h 1152"/>
                <a:gd name="T78" fmla="*/ 203 w 905"/>
                <a:gd name="T79" fmla="*/ 130 h 1152"/>
                <a:gd name="T80" fmla="*/ 350 w 905"/>
                <a:gd name="T81" fmla="*/ 50 h 1152"/>
                <a:gd name="T82" fmla="*/ 539 w 905"/>
                <a:gd name="T83" fmla="*/ 17 h 1152"/>
                <a:gd name="T84" fmla="*/ 598 w 905"/>
                <a:gd name="T85" fmla="*/ 17 h 1152"/>
                <a:gd name="T86" fmla="*/ 655 w 905"/>
                <a:gd name="T87" fmla="*/ 20 h 1152"/>
                <a:gd name="T88" fmla="*/ 712 w 905"/>
                <a:gd name="T89" fmla="*/ 24 h 1152"/>
                <a:gd name="T90" fmla="*/ 770 w 905"/>
                <a:gd name="T91" fmla="*/ 32 h 1152"/>
                <a:gd name="T92" fmla="*/ 830 w 905"/>
                <a:gd name="T93" fmla="*/ 43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05" h="1152">
                  <a:moveTo>
                    <a:pt x="852" y="47"/>
                  </a:moveTo>
                  <a:lnTo>
                    <a:pt x="904" y="0"/>
                  </a:lnTo>
                  <a:lnTo>
                    <a:pt x="904" y="210"/>
                  </a:lnTo>
                  <a:lnTo>
                    <a:pt x="854" y="144"/>
                  </a:lnTo>
                  <a:lnTo>
                    <a:pt x="842" y="139"/>
                  </a:lnTo>
                  <a:lnTo>
                    <a:pt x="830" y="134"/>
                  </a:lnTo>
                  <a:lnTo>
                    <a:pt x="819" y="129"/>
                  </a:lnTo>
                  <a:lnTo>
                    <a:pt x="807" y="124"/>
                  </a:lnTo>
                  <a:lnTo>
                    <a:pt x="796" y="119"/>
                  </a:lnTo>
                  <a:lnTo>
                    <a:pt x="784" y="114"/>
                  </a:lnTo>
                  <a:lnTo>
                    <a:pt x="773" y="109"/>
                  </a:lnTo>
                  <a:lnTo>
                    <a:pt x="761" y="106"/>
                  </a:lnTo>
                  <a:lnTo>
                    <a:pt x="748" y="101"/>
                  </a:lnTo>
                  <a:lnTo>
                    <a:pt x="735" y="98"/>
                  </a:lnTo>
                  <a:lnTo>
                    <a:pt x="720" y="94"/>
                  </a:lnTo>
                  <a:lnTo>
                    <a:pt x="702" y="92"/>
                  </a:lnTo>
                  <a:lnTo>
                    <a:pt x="685" y="90"/>
                  </a:lnTo>
                  <a:lnTo>
                    <a:pt x="665" y="88"/>
                  </a:lnTo>
                  <a:lnTo>
                    <a:pt x="644" y="86"/>
                  </a:lnTo>
                  <a:lnTo>
                    <a:pt x="621" y="86"/>
                  </a:lnTo>
                  <a:lnTo>
                    <a:pt x="579" y="90"/>
                  </a:lnTo>
                  <a:lnTo>
                    <a:pt x="538" y="97"/>
                  </a:lnTo>
                  <a:lnTo>
                    <a:pt x="497" y="109"/>
                  </a:lnTo>
                  <a:lnTo>
                    <a:pt x="457" y="124"/>
                  </a:lnTo>
                  <a:lnTo>
                    <a:pt x="418" y="145"/>
                  </a:lnTo>
                  <a:lnTo>
                    <a:pt x="380" y="168"/>
                  </a:lnTo>
                  <a:lnTo>
                    <a:pt x="344" y="196"/>
                  </a:lnTo>
                  <a:lnTo>
                    <a:pt x="311" y="227"/>
                  </a:lnTo>
                  <a:lnTo>
                    <a:pt x="280" y="262"/>
                  </a:lnTo>
                  <a:lnTo>
                    <a:pt x="251" y="300"/>
                  </a:lnTo>
                  <a:lnTo>
                    <a:pt x="227" y="340"/>
                  </a:lnTo>
                  <a:lnTo>
                    <a:pt x="206" y="384"/>
                  </a:lnTo>
                  <a:lnTo>
                    <a:pt x="189" y="430"/>
                  </a:lnTo>
                  <a:lnTo>
                    <a:pt x="176" y="479"/>
                  </a:lnTo>
                  <a:lnTo>
                    <a:pt x="169" y="531"/>
                  </a:lnTo>
                  <a:lnTo>
                    <a:pt x="167" y="585"/>
                  </a:lnTo>
                  <a:lnTo>
                    <a:pt x="173" y="643"/>
                  </a:lnTo>
                  <a:lnTo>
                    <a:pt x="184" y="697"/>
                  </a:lnTo>
                  <a:lnTo>
                    <a:pt x="201" y="748"/>
                  </a:lnTo>
                  <a:lnTo>
                    <a:pt x="222" y="793"/>
                  </a:lnTo>
                  <a:lnTo>
                    <a:pt x="246" y="835"/>
                  </a:lnTo>
                  <a:lnTo>
                    <a:pt x="275" y="873"/>
                  </a:lnTo>
                  <a:lnTo>
                    <a:pt x="305" y="908"/>
                  </a:lnTo>
                  <a:lnTo>
                    <a:pt x="338" y="939"/>
                  </a:lnTo>
                  <a:lnTo>
                    <a:pt x="372" y="965"/>
                  </a:lnTo>
                  <a:lnTo>
                    <a:pt x="406" y="988"/>
                  </a:lnTo>
                  <a:lnTo>
                    <a:pt x="442" y="1008"/>
                  </a:lnTo>
                  <a:lnTo>
                    <a:pt x="477" y="1024"/>
                  </a:lnTo>
                  <a:lnTo>
                    <a:pt x="511" y="1037"/>
                  </a:lnTo>
                  <a:lnTo>
                    <a:pt x="543" y="1046"/>
                  </a:lnTo>
                  <a:lnTo>
                    <a:pt x="575" y="1052"/>
                  </a:lnTo>
                  <a:lnTo>
                    <a:pt x="602" y="1054"/>
                  </a:lnTo>
                  <a:lnTo>
                    <a:pt x="619" y="1054"/>
                  </a:lnTo>
                  <a:lnTo>
                    <a:pt x="636" y="1053"/>
                  </a:lnTo>
                  <a:lnTo>
                    <a:pt x="652" y="1053"/>
                  </a:lnTo>
                  <a:lnTo>
                    <a:pt x="668" y="1051"/>
                  </a:lnTo>
                  <a:lnTo>
                    <a:pt x="684" y="1049"/>
                  </a:lnTo>
                  <a:lnTo>
                    <a:pt x="699" y="1046"/>
                  </a:lnTo>
                  <a:lnTo>
                    <a:pt x="714" y="1044"/>
                  </a:lnTo>
                  <a:lnTo>
                    <a:pt x="729" y="1040"/>
                  </a:lnTo>
                  <a:lnTo>
                    <a:pt x="744" y="1037"/>
                  </a:lnTo>
                  <a:lnTo>
                    <a:pt x="758" y="1033"/>
                  </a:lnTo>
                  <a:lnTo>
                    <a:pt x="773" y="1030"/>
                  </a:lnTo>
                  <a:lnTo>
                    <a:pt x="786" y="1025"/>
                  </a:lnTo>
                  <a:lnTo>
                    <a:pt x="799" y="1021"/>
                  </a:lnTo>
                  <a:lnTo>
                    <a:pt x="813" y="1016"/>
                  </a:lnTo>
                  <a:lnTo>
                    <a:pt x="827" y="1010"/>
                  </a:lnTo>
                  <a:lnTo>
                    <a:pt x="839" y="1006"/>
                  </a:lnTo>
                  <a:lnTo>
                    <a:pt x="905" y="929"/>
                  </a:lnTo>
                  <a:lnTo>
                    <a:pt x="905" y="1152"/>
                  </a:lnTo>
                  <a:lnTo>
                    <a:pt x="897" y="1142"/>
                  </a:lnTo>
                  <a:lnTo>
                    <a:pt x="890" y="1134"/>
                  </a:lnTo>
                  <a:lnTo>
                    <a:pt x="882" y="1127"/>
                  </a:lnTo>
                  <a:lnTo>
                    <a:pt x="875" y="1120"/>
                  </a:lnTo>
                  <a:lnTo>
                    <a:pt x="867" y="1113"/>
                  </a:lnTo>
                  <a:lnTo>
                    <a:pt x="860" y="1106"/>
                  </a:lnTo>
                  <a:lnTo>
                    <a:pt x="852" y="1098"/>
                  </a:lnTo>
                  <a:lnTo>
                    <a:pt x="845" y="1089"/>
                  </a:lnTo>
                  <a:lnTo>
                    <a:pt x="828" y="1093"/>
                  </a:lnTo>
                  <a:lnTo>
                    <a:pt x="812" y="1097"/>
                  </a:lnTo>
                  <a:lnTo>
                    <a:pt x="794" y="1101"/>
                  </a:lnTo>
                  <a:lnTo>
                    <a:pt x="777" y="1105"/>
                  </a:lnTo>
                  <a:lnTo>
                    <a:pt x="761" y="1108"/>
                  </a:lnTo>
                  <a:lnTo>
                    <a:pt x="744" y="1111"/>
                  </a:lnTo>
                  <a:lnTo>
                    <a:pt x="728" y="1113"/>
                  </a:lnTo>
                  <a:lnTo>
                    <a:pt x="712" y="1116"/>
                  </a:lnTo>
                  <a:lnTo>
                    <a:pt x="697" y="1119"/>
                  </a:lnTo>
                  <a:lnTo>
                    <a:pt x="682" y="1120"/>
                  </a:lnTo>
                  <a:lnTo>
                    <a:pt x="667" y="1122"/>
                  </a:lnTo>
                  <a:lnTo>
                    <a:pt x="653" y="1123"/>
                  </a:lnTo>
                  <a:lnTo>
                    <a:pt x="639" y="1124"/>
                  </a:lnTo>
                  <a:lnTo>
                    <a:pt x="627" y="1126"/>
                  </a:lnTo>
                  <a:lnTo>
                    <a:pt x="615" y="1127"/>
                  </a:lnTo>
                  <a:lnTo>
                    <a:pt x="604" y="1127"/>
                  </a:lnTo>
                  <a:lnTo>
                    <a:pt x="535" y="1127"/>
                  </a:lnTo>
                  <a:lnTo>
                    <a:pt x="471" y="1120"/>
                  </a:lnTo>
                  <a:lnTo>
                    <a:pt x="410" y="1107"/>
                  </a:lnTo>
                  <a:lnTo>
                    <a:pt x="352" y="1087"/>
                  </a:lnTo>
                  <a:lnTo>
                    <a:pt x="299" y="1064"/>
                  </a:lnTo>
                  <a:lnTo>
                    <a:pt x="250" y="1036"/>
                  </a:lnTo>
                  <a:lnTo>
                    <a:pt x="205" y="1003"/>
                  </a:lnTo>
                  <a:lnTo>
                    <a:pt x="165" y="967"/>
                  </a:lnTo>
                  <a:lnTo>
                    <a:pt x="128" y="926"/>
                  </a:lnTo>
                  <a:lnTo>
                    <a:pt x="95" y="882"/>
                  </a:lnTo>
                  <a:lnTo>
                    <a:pt x="68" y="836"/>
                  </a:lnTo>
                  <a:lnTo>
                    <a:pt x="45" y="789"/>
                  </a:lnTo>
                  <a:lnTo>
                    <a:pt x="26" y="738"/>
                  </a:lnTo>
                  <a:lnTo>
                    <a:pt x="13" y="688"/>
                  </a:lnTo>
                  <a:lnTo>
                    <a:pt x="3" y="636"/>
                  </a:lnTo>
                  <a:lnTo>
                    <a:pt x="0" y="583"/>
                  </a:lnTo>
                  <a:lnTo>
                    <a:pt x="1" y="533"/>
                  </a:lnTo>
                  <a:lnTo>
                    <a:pt x="6" y="484"/>
                  </a:lnTo>
                  <a:lnTo>
                    <a:pt x="15" y="434"/>
                  </a:lnTo>
                  <a:lnTo>
                    <a:pt x="29" y="385"/>
                  </a:lnTo>
                  <a:lnTo>
                    <a:pt x="46" y="336"/>
                  </a:lnTo>
                  <a:lnTo>
                    <a:pt x="69" y="290"/>
                  </a:lnTo>
                  <a:lnTo>
                    <a:pt x="95" y="247"/>
                  </a:lnTo>
                  <a:lnTo>
                    <a:pt x="127" y="204"/>
                  </a:lnTo>
                  <a:lnTo>
                    <a:pt x="162" y="166"/>
                  </a:lnTo>
                  <a:lnTo>
                    <a:pt x="203" y="130"/>
                  </a:lnTo>
                  <a:lnTo>
                    <a:pt x="246" y="99"/>
                  </a:lnTo>
                  <a:lnTo>
                    <a:pt x="296" y="71"/>
                  </a:lnTo>
                  <a:lnTo>
                    <a:pt x="350" y="50"/>
                  </a:lnTo>
                  <a:lnTo>
                    <a:pt x="408" y="32"/>
                  </a:lnTo>
                  <a:lnTo>
                    <a:pt x="471" y="22"/>
                  </a:lnTo>
                  <a:lnTo>
                    <a:pt x="539" y="17"/>
                  </a:lnTo>
                  <a:lnTo>
                    <a:pt x="558" y="17"/>
                  </a:lnTo>
                  <a:lnTo>
                    <a:pt x="579" y="17"/>
                  </a:lnTo>
                  <a:lnTo>
                    <a:pt x="598" y="17"/>
                  </a:lnTo>
                  <a:lnTo>
                    <a:pt x="617" y="17"/>
                  </a:lnTo>
                  <a:lnTo>
                    <a:pt x="637" y="18"/>
                  </a:lnTo>
                  <a:lnTo>
                    <a:pt x="655" y="20"/>
                  </a:lnTo>
                  <a:lnTo>
                    <a:pt x="674" y="21"/>
                  </a:lnTo>
                  <a:lnTo>
                    <a:pt x="693" y="23"/>
                  </a:lnTo>
                  <a:lnTo>
                    <a:pt x="712" y="24"/>
                  </a:lnTo>
                  <a:lnTo>
                    <a:pt x="731" y="26"/>
                  </a:lnTo>
                  <a:lnTo>
                    <a:pt x="751" y="30"/>
                  </a:lnTo>
                  <a:lnTo>
                    <a:pt x="770" y="32"/>
                  </a:lnTo>
                  <a:lnTo>
                    <a:pt x="790" y="36"/>
                  </a:lnTo>
                  <a:lnTo>
                    <a:pt x="809" y="39"/>
                  </a:lnTo>
                  <a:lnTo>
                    <a:pt x="830" y="43"/>
                  </a:lnTo>
                  <a:lnTo>
                    <a:pt x="852" y="47"/>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pic>
        <p:nvPicPr>
          <p:cNvPr id="90" name="Picture 2" descr="\\MAGNUM\Projects\Microsoft\Cloud Power FY12\Design\ICONS_PNG\Server.png"/>
          <p:cNvPicPr>
            <a:picLocks noChangeAspect="1" noChangeArrowheads="1"/>
          </p:cNvPicPr>
          <p:nvPr/>
        </p:nvPicPr>
        <p:blipFill>
          <a:blip r:embed="rId41" cstate="print">
            <a:extLst>
              <a:ext uri="{BEBA8EAE-BF5A-486C-A8C5-ECC9F3942E4B}">
                <a14:imgProps xmlns:a14="http://schemas.microsoft.com/office/drawing/2010/main">
                  <a14:imgLayer r:embed="rId42">
                    <a14:imgEffect>
                      <a14:brightnessContrast bright="100000"/>
                    </a14:imgEffect>
                  </a14:imgLayer>
                </a14:imgProps>
              </a:ext>
            </a:extLst>
          </a:blip>
          <a:srcRect/>
          <a:stretch>
            <a:fillRect/>
          </a:stretch>
        </p:blipFill>
        <p:spPr bwMode="auto">
          <a:xfrm>
            <a:off x="3899498" y="3767772"/>
            <a:ext cx="501131" cy="501001"/>
          </a:xfrm>
          <a:prstGeom prst="rect">
            <a:avLst/>
          </a:prstGeom>
          <a:noFill/>
        </p:spPr>
      </p:pic>
      <p:pic>
        <p:nvPicPr>
          <p:cNvPr id="91" name="Picture 2" descr="\\MAGNUM\Projects\Microsoft\Cloud Power FY12\Design\Icons\PNGs\Server_2.png"/>
          <p:cNvPicPr>
            <a:picLocks noChangeAspect="1" noChangeArrowheads="1"/>
          </p:cNvPicPr>
          <p:nvPr/>
        </p:nvPicPr>
        <p:blipFill>
          <a:blip r:embed="rId43" cstate="print">
            <a:extLst>
              <a:ext uri="{BEBA8EAE-BF5A-486C-A8C5-ECC9F3942E4B}">
                <a14:imgProps xmlns:a14="http://schemas.microsoft.com/office/drawing/2010/main">
                  <a14:imgLayer r:embed="rId44">
                    <a14:imgEffect>
                      <a14:brightnessContrast bright="100000"/>
                    </a14:imgEffect>
                  </a14:imgLayer>
                </a14:imgProps>
              </a:ext>
            </a:extLst>
          </a:blip>
          <a:srcRect/>
          <a:stretch>
            <a:fillRect/>
          </a:stretch>
        </p:blipFill>
        <p:spPr bwMode="auto">
          <a:xfrm>
            <a:off x="7994931" y="2403549"/>
            <a:ext cx="582368" cy="582216"/>
          </a:xfrm>
          <a:prstGeom prst="rect">
            <a:avLst/>
          </a:prstGeom>
          <a:noFill/>
        </p:spPr>
      </p:pic>
      <p:grpSp>
        <p:nvGrpSpPr>
          <p:cNvPr id="102" name="Group 101"/>
          <p:cNvGrpSpPr/>
          <p:nvPr/>
        </p:nvGrpSpPr>
        <p:grpSpPr>
          <a:xfrm>
            <a:off x="8017484" y="3774205"/>
            <a:ext cx="537264" cy="488132"/>
            <a:chOff x="3146630" y="239162"/>
            <a:chExt cx="2201250" cy="2000470"/>
          </a:xfrm>
        </p:grpSpPr>
        <p:pic>
          <p:nvPicPr>
            <p:cNvPr id="103" name="Picture 8" descr="\\MAGNUM\Projects\Microsoft\Cloud Power FY12\Design\Icons\PNGs\Cross Platform.png"/>
            <p:cNvPicPr>
              <a:picLocks noChangeAspect="1" noChangeArrowheads="1"/>
            </p:cNvPicPr>
            <p:nvPr/>
          </p:nvPicPr>
          <p:blipFill>
            <a:blip r:embed="rId45" cstate="print">
              <a:biLevel thresh="25000"/>
            </a:blip>
            <a:stretch>
              <a:fillRect/>
            </a:stretch>
          </p:blipFill>
          <p:spPr bwMode="auto">
            <a:xfrm>
              <a:off x="3445452" y="572490"/>
              <a:ext cx="1554726" cy="1554726"/>
            </a:xfrm>
            <a:prstGeom prst="rect">
              <a:avLst/>
            </a:prstGeom>
            <a:noFill/>
          </p:spPr>
        </p:pic>
        <p:grpSp>
          <p:nvGrpSpPr>
            <p:cNvPr id="104" name="Group 103"/>
            <p:cNvGrpSpPr/>
            <p:nvPr/>
          </p:nvGrpSpPr>
          <p:grpSpPr>
            <a:xfrm>
              <a:off x="3146630" y="239162"/>
              <a:ext cx="2201250" cy="2000470"/>
              <a:chOff x="1557950" y="239162"/>
              <a:chExt cx="1199134" cy="1089759"/>
            </a:xfrm>
            <a:solidFill>
              <a:sysClr val="window" lastClr="FFFFFF"/>
            </a:solidFill>
          </p:grpSpPr>
          <p:sp>
            <p:nvSpPr>
              <p:cNvPr id="105" name="Round Same Side Corner Rectangle 24"/>
              <p:cNvSpPr/>
              <p:nvPr/>
            </p:nvSpPr>
            <p:spPr bwMode="auto">
              <a:xfrm>
                <a:off x="1557950" y="239162"/>
                <a:ext cx="1199134" cy="147926"/>
              </a:xfrm>
              <a:custGeom>
                <a:avLst/>
                <a:gdLst/>
                <a:ahLst/>
                <a:cxnLst/>
                <a:rect l="l" t="t" r="r" b="b"/>
                <a:pathLst>
                  <a:path w="2978870" h="367475">
                    <a:moveTo>
                      <a:pt x="2215797" y="171532"/>
                    </a:moveTo>
                    <a:lnTo>
                      <a:pt x="2215797" y="194591"/>
                    </a:lnTo>
                    <a:lnTo>
                      <a:pt x="2350501" y="194591"/>
                    </a:lnTo>
                    <a:lnTo>
                      <a:pt x="2350501" y="171532"/>
                    </a:lnTo>
                    <a:close/>
                    <a:moveTo>
                      <a:pt x="2415257" y="84395"/>
                    </a:moveTo>
                    <a:lnTo>
                      <a:pt x="2504657" y="84395"/>
                    </a:lnTo>
                    <a:lnTo>
                      <a:pt x="2504657" y="174124"/>
                    </a:lnTo>
                    <a:lnTo>
                      <a:pt x="2415257" y="174124"/>
                    </a:lnTo>
                    <a:close/>
                    <a:moveTo>
                      <a:pt x="2394626" y="63928"/>
                    </a:moveTo>
                    <a:lnTo>
                      <a:pt x="2394626" y="194591"/>
                    </a:lnTo>
                    <a:lnTo>
                      <a:pt x="2525288" y="194591"/>
                    </a:lnTo>
                    <a:lnTo>
                      <a:pt x="2525288" y="63928"/>
                    </a:lnTo>
                    <a:close/>
                    <a:moveTo>
                      <a:pt x="2579907" y="61914"/>
                    </a:moveTo>
                    <a:lnTo>
                      <a:pt x="2641028" y="128359"/>
                    </a:lnTo>
                    <a:lnTo>
                      <a:pt x="2580103" y="194591"/>
                    </a:lnTo>
                    <a:lnTo>
                      <a:pt x="2615359" y="194591"/>
                    </a:lnTo>
                    <a:lnTo>
                      <a:pt x="2658657" y="147522"/>
                    </a:lnTo>
                    <a:lnTo>
                      <a:pt x="2701954" y="194591"/>
                    </a:lnTo>
                    <a:lnTo>
                      <a:pt x="2737210" y="194591"/>
                    </a:lnTo>
                    <a:lnTo>
                      <a:pt x="2676285" y="128359"/>
                    </a:lnTo>
                    <a:lnTo>
                      <a:pt x="2737406" y="61914"/>
                    </a:lnTo>
                    <a:lnTo>
                      <a:pt x="2702150" y="61914"/>
                    </a:lnTo>
                    <a:lnTo>
                      <a:pt x="2658657" y="109196"/>
                    </a:lnTo>
                    <a:lnTo>
                      <a:pt x="2615164" y="61914"/>
                    </a:lnTo>
                    <a:close/>
                    <a:moveTo>
                      <a:pt x="142516" y="0"/>
                    </a:moveTo>
                    <a:lnTo>
                      <a:pt x="2836354" y="0"/>
                    </a:lnTo>
                    <a:cubicBezTo>
                      <a:pt x="2915063" y="0"/>
                      <a:pt x="2978870" y="63807"/>
                      <a:pt x="2978870" y="142516"/>
                    </a:cubicBezTo>
                    <a:lnTo>
                      <a:pt x="2978870" y="367475"/>
                    </a:lnTo>
                    <a:cubicBezTo>
                      <a:pt x="2931876" y="302273"/>
                      <a:pt x="2855153" y="260271"/>
                      <a:pt x="2768620" y="260271"/>
                    </a:cubicBezTo>
                    <a:lnTo>
                      <a:pt x="210250" y="260271"/>
                    </a:lnTo>
                    <a:cubicBezTo>
                      <a:pt x="123717" y="260271"/>
                      <a:pt x="46994" y="302273"/>
                      <a:pt x="0" y="367475"/>
                    </a:cubicBezTo>
                    <a:lnTo>
                      <a:pt x="0" y="142516"/>
                    </a:lnTo>
                    <a:cubicBezTo>
                      <a:pt x="0" y="63807"/>
                      <a:pt x="63807" y="0"/>
                      <a:pt x="142516" y="0"/>
                    </a:cubicBezTo>
                    <a:close/>
                  </a:path>
                </a:pathLst>
              </a:custGeom>
              <a:grp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37">
                  <a:defRPr/>
                </a:pPr>
                <a:endParaRPr lang="en-US" sz="3000" kern="0" dirty="0">
                  <a:solidFill>
                    <a:srgbClr val="C0504D"/>
                  </a:solidFill>
                  <a:latin typeface="Segoe UI Light" pitchFamily="34" charset="0"/>
                </a:endParaRPr>
              </a:p>
            </p:txBody>
          </p:sp>
          <p:sp>
            <p:nvSpPr>
              <p:cNvPr id="106" name="Rounded Rectangle 8"/>
              <p:cNvSpPr/>
              <p:nvPr/>
            </p:nvSpPr>
            <p:spPr bwMode="auto">
              <a:xfrm>
                <a:off x="1557950" y="368855"/>
                <a:ext cx="1199134" cy="960066"/>
              </a:xfrm>
              <a:custGeom>
                <a:avLst/>
                <a:gdLst/>
                <a:ahLst/>
                <a:cxnLst/>
                <a:rect l="l" t="t" r="r" b="b"/>
                <a:pathLst>
                  <a:path w="2978870" h="2384982">
                    <a:moveTo>
                      <a:pt x="351958" y="124689"/>
                    </a:moveTo>
                    <a:cubicBezTo>
                      <a:pt x="243589" y="124689"/>
                      <a:pt x="155739" y="212539"/>
                      <a:pt x="155739" y="320908"/>
                    </a:cubicBezTo>
                    <a:lnTo>
                      <a:pt x="155739" y="2064074"/>
                    </a:lnTo>
                    <a:cubicBezTo>
                      <a:pt x="155739" y="2172443"/>
                      <a:pt x="243589" y="2260293"/>
                      <a:pt x="351958" y="2260293"/>
                    </a:cubicBezTo>
                    <a:lnTo>
                      <a:pt x="2626912" y="2260293"/>
                    </a:lnTo>
                    <a:cubicBezTo>
                      <a:pt x="2735281" y="2260293"/>
                      <a:pt x="2823131" y="2172443"/>
                      <a:pt x="2823131" y="2064074"/>
                    </a:cubicBezTo>
                    <a:lnTo>
                      <a:pt x="2823131" y="320908"/>
                    </a:lnTo>
                    <a:cubicBezTo>
                      <a:pt x="2823131" y="212539"/>
                      <a:pt x="2735281" y="124689"/>
                      <a:pt x="2626912" y="124689"/>
                    </a:cubicBezTo>
                    <a:close/>
                    <a:moveTo>
                      <a:pt x="261680" y="0"/>
                    </a:moveTo>
                    <a:lnTo>
                      <a:pt x="2717190" y="0"/>
                    </a:lnTo>
                    <a:cubicBezTo>
                      <a:pt x="2861712" y="0"/>
                      <a:pt x="2978870" y="117158"/>
                      <a:pt x="2978870" y="261680"/>
                    </a:cubicBezTo>
                    <a:lnTo>
                      <a:pt x="2978870" y="2123302"/>
                    </a:lnTo>
                    <a:cubicBezTo>
                      <a:pt x="2978870" y="2267824"/>
                      <a:pt x="2861712" y="2384982"/>
                      <a:pt x="2717190" y="2384982"/>
                    </a:cubicBezTo>
                    <a:lnTo>
                      <a:pt x="261680" y="2384982"/>
                    </a:lnTo>
                    <a:cubicBezTo>
                      <a:pt x="117158" y="2384982"/>
                      <a:pt x="0" y="2267824"/>
                      <a:pt x="0" y="2123302"/>
                    </a:cubicBezTo>
                    <a:lnTo>
                      <a:pt x="0" y="261680"/>
                    </a:lnTo>
                    <a:cubicBezTo>
                      <a:pt x="0" y="117158"/>
                      <a:pt x="117158" y="0"/>
                      <a:pt x="261680" y="0"/>
                    </a:cubicBezTo>
                    <a:close/>
                  </a:path>
                </a:pathLst>
              </a:custGeom>
              <a:grp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37">
                  <a:defRPr/>
                </a:pPr>
                <a:endParaRPr lang="en-US" sz="3000" kern="0" dirty="0">
                  <a:solidFill>
                    <a:srgbClr val="C0504D"/>
                  </a:solidFill>
                  <a:latin typeface="Segoe UI Light" pitchFamily="34" charset="0"/>
                </a:endParaRPr>
              </a:p>
            </p:txBody>
          </p:sp>
        </p:grpSp>
      </p:grpSp>
      <p:sp>
        <p:nvSpPr>
          <p:cNvPr id="107" name="Freeform 106"/>
          <p:cNvSpPr/>
          <p:nvPr/>
        </p:nvSpPr>
        <p:spPr>
          <a:xfrm flipH="1">
            <a:off x="4058315" y="4444132"/>
            <a:ext cx="183496" cy="471888"/>
          </a:xfrm>
          <a:custGeom>
            <a:avLst/>
            <a:gdLst/>
            <a:ahLst/>
            <a:cxnLst/>
            <a:rect l="l" t="t" r="r" b="b"/>
            <a:pathLst>
              <a:path w="1744981" h="4488660">
                <a:moveTo>
                  <a:pt x="754381" y="3724122"/>
                </a:moveTo>
                <a:lnTo>
                  <a:pt x="754381" y="4322492"/>
                </a:lnTo>
                <a:lnTo>
                  <a:pt x="684673" y="4338638"/>
                </a:lnTo>
                <a:lnTo>
                  <a:pt x="684673" y="3736629"/>
                </a:lnTo>
                <a:close/>
                <a:moveTo>
                  <a:pt x="919164" y="3694555"/>
                </a:moveTo>
                <a:lnTo>
                  <a:pt x="919164" y="4284325"/>
                </a:lnTo>
                <a:lnTo>
                  <a:pt x="772670" y="4318256"/>
                </a:lnTo>
                <a:lnTo>
                  <a:pt x="772670" y="3720840"/>
                </a:lnTo>
                <a:close/>
                <a:moveTo>
                  <a:pt x="1083946" y="3664989"/>
                </a:moveTo>
                <a:lnTo>
                  <a:pt x="1083946" y="4246157"/>
                </a:lnTo>
                <a:lnTo>
                  <a:pt x="937452" y="4280089"/>
                </a:lnTo>
                <a:lnTo>
                  <a:pt x="937452" y="3691274"/>
                </a:lnTo>
                <a:close/>
                <a:moveTo>
                  <a:pt x="1248728" y="3635423"/>
                </a:moveTo>
                <a:lnTo>
                  <a:pt x="1248728" y="4207990"/>
                </a:lnTo>
                <a:lnTo>
                  <a:pt x="1102234" y="4241921"/>
                </a:lnTo>
                <a:lnTo>
                  <a:pt x="1102234" y="3661708"/>
                </a:lnTo>
                <a:close/>
                <a:moveTo>
                  <a:pt x="1413510" y="3605857"/>
                </a:moveTo>
                <a:lnTo>
                  <a:pt x="1413510" y="4169822"/>
                </a:lnTo>
                <a:lnTo>
                  <a:pt x="1267016" y="4203754"/>
                </a:lnTo>
                <a:lnTo>
                  <a:pt x="1267016" y="3632142"/>
                </a:lnTo>
                <a:close/>
                <a:moveTo>
                  <a:pt x="1578294" y="3576290"/>
                </a:moveTo>
                <a:lnTo>
                  <a:pt x="1578294" y="4131655"/>
                </a:lnTo>
                <a:lnTo>
                  <a:pt x="1431798" y="4165586"/>
                </a:lnTo>
                <a:lnTo>
                  <a:pt x="1431798" y="3602576"/>
                </a:lnTo>
                <a:close/>
                <a:moveTo>
                  <a:pt x="1658478" y="3561903"/>
                </a:moveTo>
                <a:lnTo>
                  <a:pt x="1658478" y="4113082"/>
                </a:lnTo>
                <a:lnTo>
                  <a:pt x="1596582" y="4127419"/>
                </a:lnTo>
                <a:lnTo>
                  <a:pt x="1596582" y="3573009"/>
                </a:lnTo>
                <a:close/>
                <a:moveTo>
                  <a:pt x="1657352" y="3427450"/>
                </a:moveTo>
                <a:lnTo>
                  <a:pt x="1657352" y="3536556"/>
                </a:lnTo>
                <a:lnTo>
                  <a:pt x="688183" y="3702843"/>
                </a:lnTo>
                <a:lnTo>
                  <a:pt x="688183" y="3598068"/>
                </a:lnTo>
                <a:close/>
                <a:moveTo>
                  <a:pt x="754381" y="2907385"/>
                </a:moveTo>
                <a:lnTo>
                  <a:pt x="754381" y="3555631"/>
                </a:lnTo>
                <a:lnTo>
                  <a:pt x="684673" y="3567638"/>
                </a:lnTo>
                <a:lnTo>
                  <a:pt x="684673" y="2916266"/>
                </a:lnTo>
                <a:close/>
                <a:moveTo>
                  <a:pt x="919164" y="2886391"/>
                </a:moveTo>
                <a:lnTo>
                  <a:pt x="919164" y="3527248"/>
                </a:lnTo>
                <a:lnTo>
                  <a:pt x="772670" y="3552481"/>
                </a:lnTo>
                <a:lnTo>
                  <a:pt x="772670" y="2905055"/>
                </a:lnTo>
                <a:close/>
                <a:moveTo>
                  <a:pt x="1083946" y="2865397"/>
                </a:moveTo>
                <a:lnTo>
                  <a:pt x="1083946" y="3498864"/>
                </a:lnTo>
                <a:lnTo>
                  <a:pt x="937452" y="3524098"/>
                </a:lnTo>
                <a:lnTo>
                  <a:pt x="937452" y="2884061"/>
                </a:lnTo>
                <a:close/>
                <a:moveTo>
                  <a:pt x="1248728" y="2844404"/>
                </a:moveTo>
                <a:lnTo>
                  <a:pt x="1248728" y="3470481"/>
                </a:lnTo>
                <a:lnTo>
                  <a:pt x="1102234" y="3495714"/>
                </a:lnTo>
                <a:lnTo>
                  <a:pt x="1102234" y="2863068"/>
                </a:lnTo>
                <a:close/>
                <a:moveTo>
                  <a:pt x="1413510" y="2823410"/>
                </a:moveTo>
                <a:lnTo>
                  <a:pt x="1413510" y="3442097"/>
                </a:lnTo>
                <a:lnTo>
                  <a:pt x="1267016" y="3467331"/>
                </a:lnTo>
                <a:lnTo>
                  <a:pt x="1267016" y="2842074"/>
                </a:lnTo>
                <a:close/>
                <a:moveTo>
                  <a:pt x="1578294" y="2802416"/>
                </a:moveTo>
                <a:lnTo>
                  <a:pt x="1578294" y="3413713"/>
                </a:lnTo>
                <a:lnTo>
                  <a:pt x="1431798" y="3438947"/>
                </a:lnTo>
                <a:lnTo>
                  <a:pt x="1431798" y="2821080"/>
                </a:lnTo>
                <a:close/>
                <a:moveTo>
                  <a:pt x="1658478" y="2792200"/>
                </a:moveTo>
                <a:lnTo>
                  <a:pt x="1658478" y="3399901"/>
                </a:lnTo>
                <a:lnTo>
                  <a:pt x="1596582" y="3410563"/>
                </a:lnTo>
                <a:lnTo>
                  <a:pt x="1596582" y="2800086"/>
                </a:lnTo>
                <a:close/>
                <a:moveTo>
                  <a:pt x="1657352" y="2663070"/>
                </a:moveTo>
                <a:lnTo>
                  <a:pt x="1657352" y="2762651"/>
                </a:lnTo>
                <a:lnTo>
                  <a:pt x="688183" y="2883694"/>
                </a:lnTo>
                <a:lnTo>
                  <a:pt x="688183" y="2778919"/>
                </a:lnTo>
                <a:close/>
                <a:moveTo>
                  <a:pt x="1185864" y="2564605"/>
                </a:moveTo>
                <a:lnTo>
                  <a:pt x="764383" y="2600324"/>
                </a:lnTo>
                <a:cubicBezTo>
                  <a:pt x="763589" y="2621755"/>
                  <a:pt x="762796" y="2650331"/>
                  <a:pt x="762002" y="2671762"/>
                </a:cubicBezTo>
                <a:lnTo>
                  <a:pt x="1185864" y="2626518"/>
                </a:lnTo>
                <a:close/>
                <a:moveTo>
                  <a:pt x="1087" y="2560266"/>
                </a:moveTo>
                <a:lnTo>
                  <a:pt x="575310" y="2978894"/>
                </a:lnTo>
                <a:lnTo>
                  <a:pt x="575310" y="4488660"/>
                </a:lnTo>
                <a:lnTo>
                  <a:pt x="0" y="3719994"/>
                </a:lnTo>
                <a:close/>
                <a:moveTo>
                  <a:pt x="1604965" y="2521743"/>
                </a:moveTo>
                <a:lnTo>
                  <a:pt x="1240311" y="2557462"/>
                </a:lnTo>
                <a:cubicBezTo>
                  <a:pt x="1239624" y="2578893"/>
                  <a:pt x="1238938" y="2607469"/>
                  <a:pt x="1238251" y="2628900"/>
                </a:cubicBezTo>
                <a:lnTo>
                  <a:pt x="1604965" y="2583656"/>
                </a:lnTo>
                <a:close/>
                <a:moveTo>
                  <a:pt x="1185864" y="2434429"/>
                </a:moveTo>
                <a:lnTo>
                  <a:pt x="764383" y="2463004"/>
                </a:lnTo>
                <a:cubicBezTo>
                  <a:pt x="763589" y="2484435"/>
                  <a:pt x="762796" y="2505867"/>
                  <a:pt x="762002" y="2527298"/>
                </a:cubicBezTo>
                <a:lnTo>
                  <a:pt x="1185864" y="2496342"/>
                </a:lnTo>
                <a:close/>
                <a:moveTo>
                  <a:pt x="1604965" y="2391567"/>
                </a:moveTo>
                <a:lnTo>
                  <a:pt x="1240311" y="2420142"/>
                </a:lnTo>
                <a:cubicBezTo>
                  <a:pt x="1239624" y="2441573"/>
                  <a:pt x="1238938" y="2463005"/>
                  <a:pt x="1238251" y="2484436"/>
                </a:cubicBezTo>
                <a:lnTo>
                  <a:pt x="1604965" y="2453480"/>
                </a:lnTo>
                <a:close/>
                <a:moveTo>
                  <a:pt x="1185864" y="2304254"/>
                </a:moveTo>
                <a:lnTo>
                  <a:pt x="764383" y="2332829"/>
                </a:lnTo>
                <a:cubicBezTo>
                  <a:pt x="763589" y="2354260"/>
                  <a:pt x="762796" y="2375692"/>
                  <a:pt x="762002" y="2397123"/>
                </a:cubicBezTo>
                <a:lnTo>
                  <a:pt x="1185864" y="2366167"/>
                </a:lnTo>
                <a:close/>
                <a:moveTo>
                  <a:pt x="1604965" y="2261392"/>
                </a:moveTo>
                <a:lnTo>
                  <a:pt x="1240311" y="2289967"/>
                </a:lnTo>
                <a:cubicBezTo>
                  <a:pt x="1239624" y="2311398"/>
                  <a:pt x="1238938" y="2332830"/>
                  <a:pt x="1238251" y="2354261"/>
                </a:cubicBezTo>
                <a:lnTo>
                  <a:pt x="1604965" y="2323305"/>
                </a:lnTo>
                <a:close/>
                <a:moveTo>
                  <a:pt x="1185864" y="2174079"/>
                </a:moveTo>
                <a:lnTo>
                  <a:pt x="764383" y="2202654"/>
                </a:lnTo>
                <a:cubicBezTo>
                  <a:pt x="763589" y="2224085"/>
                  <a:pt x="762796" y="2245517"/>
                  <a:pt x="762002" y="2266948"/>
                </a:cubicBezTo>
                <a:lnTo>
                  <a:pt x="1185864" y="2235992"/>
                </a:lnTo>
                <a:close/>
                <a:moveTo>
                  <a:pt x="1604965" y="2131217"/>
                </a:moveTo>
                <a:lnTo>
                  <a:pt x="1240311" y="2159792"/>
                </a:lnTo>
                <a:cubicBezTo>
                  <a:pt x="1239624" y="2181223"/>
                  <a:pt x="1238938" y="2202655"/>
                  <a:pt x="1238251" y="2224086"/>
                </a:cubicBezTo>
                <a:lnTo>
                  <a:pt x="1604965" y="2193130"/>
                </a:lnTo>
                <a:close/>
                <a:moveTo>
                  <a:pt x="1658478" y="2095869"/>
                </a:moveTo>
                <a:lnTo>
                  <a:pt x="1658478" y="2627860"/>
                </a:lnTo>
                <a:lnTo>
                  <a:pt x="684673" y="2749003"/>
                </a:lnTo>
                <a:lnTo>
                  <a:pt x="684673" y="2152387"/>
                </a:lnTo>
                <a:cubicBezTo>
                  <a:pt x="937365" y="2143400"/>
                  <a:pt x="1404447" y="2105021"/>
                  <a:pt x="1658478" y="2095869"/>
                </a:cubicBezTo>
                <a:close/>
                <a:moveTo>
                  <a:pt x="754381" y="1495937"/>
                </a:moveTo>
                <a:lnTo>
                  <a:pt x="754381" y="2121439"/>
                </a:lnTo>
                <a:lnTo>
                  <a:pt x="684673" y="2125785"/>
                </a:lnTo>
                <a:lnTo>
                  <a:pt x="684673" y="1497604"/>
                </a:lnTo>
                <a:close/>
                <a:moveTo>
                  <a:pt x="919164" y="1491995"/>
                </a:moveTo>
                <a:lnTo>
                  <a:pt x="919164" y="2111165"/>
                </a:lnTo>
                <a:lnTo>
                  <a:pt x="772670" y="2120299"/>
                </a:lnTo>
                <a:lnTo>
                  <a:pt x="772670" y="1495499"/>
                </a:lnTo>
                <a:close/>
                <a:moveTo>
                  <a:pt x="1083946" y="1488053"/>
                </a:moveTo>
                <a:lnTo>
                  <a:pt x="1083946" y="2100890"/>
                </a:lnTo>
                <a:lnTo>
                  <a:pt x="937452" y="2110024"/>
                </a:lnTo>
                <a:lnTo>
                  <a:pt x="937452" y="1491557"/>
                </a:lnTo>
                <a:close/>
                <a:moveTo>
                  <a:pt x="1248728" y="1484111"/>
                </a:moveTo>
                <a:lnTo>
                  <a:pt x="1248728" y="2090616"/>
                </a:lnTo>
                <a:lnTo>
                  <a:pt x="1102234" y="2099750"/>
                </a:lnTo>
                <a:lnTo>
                  <a:pt x="1102234" y="1487615"/>
                </a:lnTo>
                <a:close/>
                <a:moveTo>
                  <a:pt x="1413510" y="1480169"/>
                </a:moveTo>
                <a:lnTo>
                  <a:pt x="1413510" y="2080342"/>
                </a:lnTo>
                <a:lnTo>
                  <a:pt x="1267016" y="2089476"/>
                </a:lnTo>
                <a:lnTo>
                  <a:pt x="1267016" y="1483673"/>
                </a:lnTo>
                <a:close/>
                <a:moveTo>
                  <a:pt x="1578294" y="1476226"/>
                </a:moveTo>
                <a:lnTo>
                  <a:pt x="1578294" y="2070068"/>
                </a:lnTo>
                <a:lnTo>
                  <a:pt x="1431798" y="2079202"/>
                </a:lnTo>
                <a:lnTo>
                  <a:pt x="1431798" y="1479731"/>
                </a:lnTo>
                <a:close/>
                <a:moveTo>
                  <a:pt x="1658478" y="1474308"/>
                </a:moveTo>
                <a:lnTo>
                  <a:pt x="1658478" y="2065068"/>
                </a:lnTo>
                <a:lnTo>
                  <a:pt x="1596582" y="2068927"/>
                </a:lnTo>
                <a:lnTo>
                  <a:pt x="1596582" y="1475789"/>
                </a:lnTo>
                <a:close/>
                <a:moveTo>
                  <a:pt x="2129" y="1447875"/>
                </a:moveTo>
                <a:lnTo>
                  <a:pt x="575310" y="1514091"/>
                </a:lnTo>
                <a:lnTo>
                  <a:pt x="575310" y="2943238"/>
                </a:lnTo>
                <a:lnTo>
                  <a:pt x="1110" y="2535414"/>
                </a:lnTo>
                <a:close/>
                <a:moveTo>
                  <a:pt x="1654971" y="1343858"/>
                </a:moveTo>
                <a:cubicBezTo>
                  <a:pt x="1655765" y="1377052"/>
                  <a:pt x="1656558" y="1410245"/>
                  <a:pt x="1657352" y="1443439"/>
                </a:cubicBezTo>
                <a:lnTo>
                  <a:pt x="688183" y="1462088"/>
                </a:lnTo>
                <a:lnTo>
                  <a:pt x="688183" y="1357313"/>
                </a:lnTo>
                <a:close/>
                <a:moveTo>
                  <a:pt x="1596582" y="716699"/>
                </a:moveTo>
                <a:lnTo>
                  <a:pt x="1658478" y="718777"/>
                </a:lnTo>
                <a:lnTo>
                  <a:pt x="1658478" y="1309843"/>
                </a:lnTo>
                <a:lnTo>
                  <a:pt x="1596582" y="1310732"/>
                </a:lnTo>
                <a:close/>
                <a:moveTo>
                  <a:pt x="1431798" y="711167"/>
                </a:moveTo>
                <a:lnTo>
                  <a:pt x="1578294" y="716085"/>
                </a:lnTo>
                <a:lnTo>
                  <a:pt x="1578294" y="1310994"/>
                </a:lnTo>
                <a:lnTo>
                  <a:pt x="1431798" y="1313097"/>
                </a:lnTo>
                <a:close/>
                <a:moveTo>
                  <a:pt x="1267016" y="705634"/>
                </a:moveTo>
                <a:lnTo>
                  <a:pt x="1413510" y="710553"/>
                </a:lnTo>
                <a:lnTo>
                  <a:pt x="1413510" y="1313360"/>
                </a:lnTo>
                <a:lnTo>
                  <a:pt x="1267016" y="1315462"/>
                </a:lnTo>
                <a:close/>
                <a:moveTo>
                  <a:pt x="1102234" y="700102"/>
                </a:moveTo>
                <a:lnTo>
                  <a:pt x="1248728" y="705020"/>
                </a:lnTo>
                <a:lnTo>
                  <a:pt x="1248728" y="1315725"/>
                </a:lnTo>
                <a:lnTo>
                  <a:pt x="1102234" y="1317828"/>
                </a:lnTo>
                <a:close/>
                <a:moveTo>
                  <a:pt x="937452" y="694569"/>
                </a:moveTo>
                <a:lnTo>
                  <a:pt x="1083946" y="699488"/>
                </a:lnTo>
                <a:lnTo>
                  <a:pt x="1083946" y="1318090"/>
                </a:lnTo>
                <a:lnTo>
                  <a:pt x="937452" y="1320193"/>
                </a:lnTo>
                <a:close/>
                <a:moveTo>
                  <a:pt x="772670" y="689037"/>
                </a:moveTo>
                <a:lnTo>
                  <a:pt x="919164" y="693955"/>
                </a:lnTo>
                <a:lnTo>
                  <a:pt x="919164" y="1320455"/>
                </a:lnTo>
                <a:lnTo>
                  <a:pt x="772670" y="1322558"/>
                </a:lnTo>
                <a:close/>
                <a:moveTo>
                  <a:pt x="684673" y="686082"/>
                </a:moveTo>
                <a:lnTo>
                  <a:pt x="754381" y="688423"/>
                </a:lnTo>
                <a:lnTo>
                  <a:pt x="754381" y="1322821"/>
                </a:lnTo>
                <a:lnTo>
                  <a:pt x="684673" y="1323821"/>
                </a:lnTo>
                <a:close/>
                <a:moveTo>
                  <a:pt x="688182" y="531020"/>
                </a:moveTo>
                <a:lnTo>
                  <a:pt x="1652590" y="584240"/>
                </a:lnTo>
                <a:cubicBezTo>
                  <a:pt x="1653384" y="617434"/>
                  <a:pt x="1654176" y="650627"/>
                  <a:pt x="1654970" y="683821"/>
                </a:cubicBezTo>
                <a:lnTo>
                  <a:pt x="688182" y="635795"/>
                </a:lnTo>
                <a:close/>
                <a:moveTo>
                  <a:pt x="684673" y="403516"/>
                </a:moveTo>
                <a:cubicBezTo>
                  <a:pt x="700256" y="404829"/>
                  <a:pt x="719074" y="406249"/>
                  <a:pt x="740569" y="407722"/>
                </a:cubicBezTo>
                <a:lnTo>
                  <a:pt x="740569" y="428625"/>
                </a:lnTo>
                <a:lnTo>
                  <a:pt x="1609726" y="481012"/>
                </a:lnTo>
                <a:lnTo>
                  <a:pt x="1609726" y="459719"/>
                </a:lnTo>
                <a:cubicBezTo>
                  <a:pt x="1628354" y="461024"/>
                  <a:pt x="1644741" y="462284"/>
                  <a:pt x="1658478" y="463457"/>
                </a:cubicBezTo>
                <a:lnTo>
                  <a:pt x="1658478" y="540083"/>
                </a:lnTo>
                <a:lnTo>
                  <a:pt x="684673" y="486499"/>
                </a:lnTo>
                <a:close/>
                <a:moveTo>
                  <a:pt x="1609726" y="371149"/>
                </a:moveTo>
                <a:cubicBezTo>
                  <a:pt x="1628353" y="372680"/>
                  <a:pt x="1644740" y="374075"/>
                  <a:pt x="1658478" y="375295"/>
                </a:cubicBezTo>
                <a:lnTo>
                  <a:pt x="1658478" y="444773"/>
                </a:lnTo>
                <a:lnTo>
                  <a:pt x="1609726" y="441740"/>
                </a:lnTo>
                <a:close/>
                <a:moveTo>
                  <a:pt x="684673" y="298808"/>
                </a:moveTo>
                <a:lnTo>
                  <a:pt x="740569" y="303527"/>
                </a:lnTo>
                <a:lnTo>
                  <a:pt x="740569" y="387678"/>
                </a:lnTo>
                <a:lnTo>
                  <a:pt x="684673" y="384201"/>
                </a:lnTo>
                <a:close/>
                <a:moveTo>
                  <a:pt x="1609726" y="285228"/>
                </a:moveTo>
                <a:cubicBezTo>
                  <a:pt x="1628265" y="286750"/>
                  <a:pt x="1644646" y="288140"/>
                  <a:pt x="1658478" y="289362"/>
                </a:cubicBezTo>
                <a:lnTo>
                  <a:pt x="1658478" y="351803"/>
                </a:lnTo>
                <a:lnTo>
                  <a:pt x="1609726" y="348187"/>
                </a:lnTo>
                <a:close/>
                <a:moveTo>
                  <a:pt x="684673" y="212875"/>
                </a:moveTo>
                <a:cubicBezTo>
                  <a:pt x="700141" y="214248"/>
                  <a:pt x="718967" y="215844"/>
                  <a:pt x="740569" y="217607"/>
                </a:cubicBezTo>
                <a:lnTo>
                  <a:pt x="740569" y="283728"/>
                </a:lnTo>
                <a:lnTo>
                  <a:pt x="684673" y="279583"/>
                </a:lnTo>
                <a:close/>
                <a:moveTo>
                  <a:pt x="754856" y="204787"/>
                </a:moveTo>
                <a:lnTo>
                  <a:pt x="1595438" y="257784"/>
                </a:lnTo>
                <a:lnTo>
                  <a:pt x="1595438" y="459581"/>
                </a:lnTo>
                <a:lnTo>
                  <a:pt x="754856" y="414738"/>
                </a:lnTo>
                <a:close/>
                <a:moveTo>
                  <a:pt x="684673" y="103187"/>
                </a:moveTo>
                <a:lnTo>
                  <a:pt x="1658478" y="190903"/>
                </a:lnTo>
                <a:lnTo>
                  <a:pt x="1658478" y="265902"/>
                </a:lnTo>
                <a:lnTo>
                  <a:pt x="1609726" y="262286"/>
                </a:lnTo>
                <a:lnTo>
                  <a:pt x="1609726" y="245268"/>
                </a:lnTo>
                <a:lnTo>
                  <a:pt x="740569" y="183355"/>
                </a:lnTo>
                <a:lnTo>
                  <a:pt x="740569" y="197825"/>
                </a:lnTo>
                <a:lnTo>
                  <a:pt x="684673" y="193680"/>
                </a:lnTo>
                <a:close/>
                <a:moveTo>
                  <a:pt x="666750" y="77787"/>
                </a:moveTo>
                <a:lnTo>
                  <a:pt x="666750" y="4370388"/>
                </a:lnTo>
                <a:lnTo>
                  <a:pt x="1676401" y="4141788"/>
                </a:lnTo>
                <a:lnTo>
                  <a:pt x="1676401" y="166687"/>
                </a:lnTo>
                <a:close/>
                <a:moveTo>
                  <a:pt x="575310" y="4289"/>
                </a:moveTo>
                <a:lnTo>
                  <a:pt x="575310" y="1478456"/>
                </a:lnTo>
                <a:lnTo>
                  <a:pt x="2149" y="1426727"/>
                </a:lnTo>
                <a:lnTo>
                  <a:pt x="3175" y="331631"/>
                </a:lnTo>
                <a:close/>
                <a:moveTo>
                  <a:pt x="585790" y="0"/>
                </a:moveTo>
                <a:lnTo>
                  <a:pt x="1744981" y="91680"/>
                </a:lnTo>
                <a:lnTo>
                  <a:pt x="1744981" y="4218386"/>
                </a:lnTo>
                <a:lnTo>
                  <a:pt x="585790" y="447199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72"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73"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46"/>
              </a:rPr>
              <a:t>www.rapidbbs.cn</a:t>
            </a:r>
            <a:endParaRPr lang="zh-CN" altLang="en-US" sz="1200" b="0">
              <a:latin typeface="Arial" charset="0"/>
              <a:ea typeface="ＭＳ Ｐゴシック" pitchFamily="34" charset="-128"/>
            </a:endParaRPr>
          </a:p>
        </p:txBody>
      </p:sp>
    </p:spTree>
    <p:extLst>
      <p:ext uri="{BB962C8B-B14F-4D97-AF65-F5344CB8AC3E}">
        <p14:creationId xmlns:p14="http://schemas.microsoft.com/office/powerpoint/2010/main" val="1465642749"/>
      </p:ext>
    </p:extLst>
  </p:cSld>
  <p:clrMapOvr>
    <a:masterClrMapping/>
  </p:clrMapOvr>
  <p:transition>
    <p:fade/>
  </p:transition>
  <p:timing>
    <p:tnLst>
      <p:par>
        <p:cTn id="1" dur="indefinite" restart="never" nodeType="tmRoot"/>
      </p:par>
    </p:tnLst>
  </p:timing>
</p:sld>
</file>

<file path=ppt/slides/slide4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0" y="0"/>
            <a:ext cx="4016384" cy="973836"/>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137172" tIns="137172" rIns="137172" bIns="137172" numCol="1" rtlCol="0" anchor="b" anchorCtr="0" compatLnSpc="1">
            <a:prstTxWarp prst="textNoShape">
              <a:avLst/>
            </a:prstTxWarp>
          </a:bodyPr>
          <a:lstStyle/>
          <a:p>
            <a:pPr algn="r" defTabSz="685637" fontAlgn="base">
              <a:spcBef>
                <a:spcPct val="0"/>
              </a:spcBef>
              <a:spcAft>
                <a:spcPct val="0"/>
              </a:spcAft>
            </a:pPr>
            <a:r>
              <a:rPr lang="en-US" sz="2400" dirty="0">
                <a:solidFill>
                  <a:schemeClr val="bg1">
                    <a:alpha val="99000"/>
                  </a:schemeClr>
                </a:solidFill>
                <a:ea typeface="Adobe Fan Heiti Std B" pitchFamily="34" charset="-128"/>
                <a:cs typeface="Segoe UI" pitchFamily="34" charset="0"/>
              </a:rPr>
              <a:t>portal driven</a:t>
            </a:r>
          </a:p>
        </p:txBody>
      </p:sp>
      <p:sp>
        <p:nvSpPr>
          <p:cNvPr id="10" name="Rectangle 9"/>
          <p:cNvSpPr/>
          <p:nvPr/>
        </p:nvSpPr>
        <p:spPr>
          <a:xfrm>
            <a:off x="0" y="1047782"/>
            <a:ext cx="4016384" cy="973836"/>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137172" tIns="137172" rIns="137172" bIns="137172" numCol="1" rtlCol="0" anchor="b" anchorCtr="0" compatLnSpc="1">
            <a:prstTxWarp prst="textNoShape">
              <a:avLst/>
            </a:prstTxWarp>
          </a:bodyPr>
          <a:lstStyle/>
          <a:p>
            <a:pPr algn="r" defTabSz="685637" fontAlgn="base">
              <a:spcBef>
                <a:spcPct val="0"/>
              </a:spcBef>
              <a:spcAft>
                <a:spcPct val="0"/>
              </a:spcAft>
            </a:pPr>
            <a:r>
              <a:rPr lang="en-US" sz="2400" dirty="0">
                <a:solidFill>
                  <a:schemeClr val="bg1">
                    <a:alpha val="99000"/>
                  </a:schemeClr>
                </a:solidFill>
                <a:ea typeface="Adobe Fan Heiti Std B" pitchFamily="34" charset="-128"/>
                <a:cs typeface="Segoe UI" pitchFamily="34" charset="0"/>
              </a:rPr>
              <a:t>all tools run headless</a:t>
            </a:r>
          </a:p>
        </p:txBody>
      </p:sp>
      <p:sp>
        <p:nvSpPr>
          <p:cNvPr id="11" name="Rectangle 10"/>
          <p:cNvSpPr/>
          <p:nvPr/>
        </p:nvSpPr>
        <p:spPr>
          <a:xfrm>
            <a:off x="0" y="2110681"/>
            <a:ext cx="4016384" cy="973836"/>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137172" tIns="137172" rIns="137172" bIns="137172" numCol="1" rtlCol="0" anchor="b" anchorCtr="0" compatLnSpc="1">
            <a:prstTxWarp prst="textNoShape">
              <a:avLst/>
            </a:prstTxWarp>
          </a:bodyPr>
          <a:lstStyle/>
          <a:p>
            <a:pPr algn="r" defTabSz="685637" fontAlgn="base">
              <a:spcBef>
                <a:spcPct val="0"/>
              </a:spcBef>
              <a:spcAft>
                <a:spcPct val="0"/>
              </a:spcAft>
            </a:pPr>
            <a:r>
              <a:rPr lang="en-US" sz="2400" dirty="0">
                <a:solidFill>
                  <a:schemeClr val="bg1">
                    <a:alpha val="99000"/>
                  </a:schemeClr>
                </a:solidFill>
                <a:ea typeface="Adobe Fan Heiti Std B" pitchFamily="34" charset="-128"/>
                <a:cs typeface="Segoe UI" pitchFamily="34" charset="0"/>
              </a:rPr>
              <a:t>no expertise in tools required</a:t>
            </a:r>
          </a:p>
        </p:txBody>
      </p:sp>
      <p:pic>
        <p:nvPicPr>
          <p:cNvPr id="12" name="Picture 11"/>
          <p:cNvPicPr>
            <a:picLocks noChangeAspect="1"/>
          </p:cNvPicPr>
          <p:nvPr/>
        </p:nvPicPr>
        <p:blipFill rotWithShape="1">
          <a:blip r:embed="rId2">
            <a:extLst>
              <a:ext uri="{28A0092B-C50C-407E-A947-70E740481C1C}">
                <a14:useLocalDpi xmlns:a14="http://schemas.microsoft.com/office/drawing/2010/main" val="0"/>
              </a:ext>
            </a:extLst>
          </a:blip>
          <a:srcRect t="52453" r="158" b="814"/>
          <a:stretch/>
        </p:blipFill>
        <p:spPr>
          <a:xfrm>
            <a:off x="0" y="3176753"/>
            <a:ext cx="9144000" cy="2286805"/>
          </a:xfrm>
          <a:prstGeom prst="rect">
            <a:avLst/>
          </a:prstGeom>
        </p:spPr>
      </p:pic>
      <p:sp>
        <p:nvSpPr>
          <p:cNvPr id="8" name="Rectangle 7"/>
          <p:cNvSpPr/>
          <p:nvPr/>
        </p:nvSpPr>
        <p:spPr>
          <a:xfrm>
            <a:off x="4084934" y="1"/>
            <a:ext cx="5059066" cy="3066704"/>
          </a:xfrm>
          <a:prstGeom prst="rect">
            <a:avLst/>
          </a:prstGeom>
          <a:ln>
            <a:headEnd type="none" w="med" len="med"/>
            <a:tailEnd type="none" w="med" len="med"/>
          </a:ln>
        </p:spPr>
        <p:style>
          <a:lnRef idx="1">
            <a:schemeClr val="dk1"/>
          </a:lnRef>
          <a:fillRef idx="3">
            <a:schemeClr val="dk1"/>
          </a:fillRef>
          <a:effectRef idx="2">
            <a:schemeClr val="dk1"/>
          </a:effectRef>
          <a:fontRef idx="minor">
            <a:schemeClr val="lt1"/>
          </a:fontRef>
        </p:style>
        <p:txBody>
          <a:bodyPr vert="horz" wrap="square" lIns="205758" tIns="137172" rIns="137172" bIns="137172" numCol="1" rtlCol="0" anchor="b" anchorCtr="0" compatLnSpc="1">
            <a:prstTxWarp prst="textNoShape">
              <a:avLst/>
            </a:prstTxWarp>
          </a:bodyPr>
          <a:lstStyle/>
          <a:p>
            <a:pPr defTabSz="685637" fontAlgn="base">
              <a:spcBef>
                <a:spcPct val="0"/>
              </a:spcBef>
              <a:spcAft>
                <a:spcPct val="0"/>
              </a:spcAft>
            </a:pPr>
            <a:endParaRPr lang="en-US" sz="6000" dirty="0">
              <a:solidFill>
                <a:schemeClr val="bg1">
                  <a:alpha val="99000"/>
                </a:schemeClr>
              </a:solidFill>
              <a:ea typeface="Segoe UI" pitchFamily="34" charset="0"/>
              <a:cs typeface="Segoe UI" pitchFamily="34" charset="0"/>
            </a:endParaRPr>
          </a:p>
        </p:txBody>
      </p:sp>
      <p:sp>
        <p:nvSpPr>
          <p:cNvPr id="2" name="Rectangle 1"/>
          <p:cNvSpPr/>
          <p:nvPr/>
        </p:nvSpPr>
        <p:spPr>
          <a:xfrm>
            <a:off x="4201187" y="1176385"/>
            <a:ext cx="3821512" cy="1915909"/>
          </a:xfrm>
          <a:prstGeom prst="rect">
            <a:avLst/>
          </a:prstGeom>
        </p:spPr>
        <p:txBody>
          <a:bodyPr wrap="none" lIns="68586" tIns="34294" rIns="68586" bIns="34294">
            <a:spAutoFit/>
          </a:bodyPr>
          <a:lstStyle/>
          <a:p>
            <a:pPr defTabSz="685637" fontAlgn="base">
              <a:spcBef>
                <a:spcPct val="0"/>
              </a:spcBef>
              <a:spcAft>
                <a:spcPct val="0"/>
              </a:spcAft>
            </a:pPr>
            <a:r>
              <a:rPr lang="en-US" sz="6000" dirty="0">
                <a:solidFill>
                  <a:schemeClr val="tx1">
                    <a:alpha val="99000"/>
                  </a:schemeClr>
                </a:solidFill>
                <a:ea typeface="Segoe UI" pitchFamily="34" charset="0"/>
                <a:cs typeface="Segoe UI" pitchFamily="34" charset="0"/>
              </a:rPr>
              <a:t>simplify </a:t>
            </a:r>
            <a:br>
              <a:rPr lang="en-US" sz="6000" dirty="0">
                <a:solidFill>
                  <a:schemeClr val="tx1">
                    <a:alpha val="99000"/>
                  </a:schemeClr>
                </a:solidFill>
                <a:ea typeface="Segoe UI" pitchFamily="34" charset="0"/>
                <a:cs typeface="Segoe UI" pitchFamily="34" charset="0"/>
              </a:rPr>
            </a:br>
            <a:r>
              <a:rPr lang="en-US" sz="6000" dirty="0">
                <a:solidFill>
                  <a:schemeClr val="tx1">
                    <a:alpha val="99000"/>
                  </a:schemeClr>
                </a:solidFill>
                <a:ea typeface="Segoe UI" pitchFamily="34" charset="0"/>
                <a:cs typeface="Segoe UI" pitchFamily="34" charset="0"/>
              </a:rPr>
              <a:t>conversion</a:t>
            </a:r>
          </a:p>
        </p:txBody>
      </p:sp>
      <p:sp>
        <p:nvSpPr>
          <p:cNvPr id="13"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4"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pic>
        <p:nvPicPr>
          <p:cNvPr id="15"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76880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15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35" presetClass="path" presetSubtype="0" accel="50000" decel="50000" fill="hold" grpId="1" nodeType="withEffect">
                                  <p:stCondLst>
                                    <p:cond delay="150"/>
                                  </p:stCondLst>
                                  <p:childTnLst>
                                    <p:animMotion origin="layout" path="M 2.08333E-7 3.7037E-7 L 0.3599 3.7037E-7 " pathEditMode="relative" rAng="0" ptsTypes="AA">
                                      <p:cBhvr>
                                        <p:cTn id="12" dur="1000" spd="-100000" fill="hold"/>
                                        <p:tgtEl>
                                          <p:spTgt spid="2"/>
                                        </p:tgtEl>
                                        <p:attrNameLst>
                                          <p:attrName>ppt_x</p:attrName>
                                          <p:attrName>ppt_y</p:attrName>
                                        </p:attrNameLst>
                                      </p:cBhvr>
                                      <p:rCtr x="17995" y="0"/>
                                    </p:animMotion>
                                  </p:childTnLst>
                                </p:cTn>
                              </p:par>
                            </p:childTnLst>
                          </p:cTn>
                        </p:par>
                        <p:par>
                          <p:cTn id="13" fill="hold">
                            <p:stCondLst>
                              <p:cond delay="1150"/>
                            </p:stCondLst>
                            <p:childTnLst>
                              <p:par>
                                <p:cTn id="14" presetID="2" presetClass="entr" presetSubtype="4" fill="hold" grpId="0" nodeType="afterEffect">
                                  <p:stCondLst>
                                    <p:cond delay="0"/>
                                  </p:stCondLst>
                                  <p:childTnLst>
                                    <p:set>
                                      <p:cBhvr>
                                        <p:cTn id="15" dur="1" fill="hold">
                                          <p:stCondLst>
                                            <p:cond delay="0"/>
                                          </p:stCondLst>
                                        </p:cTn>
                                        <p:tgtEl>
                                          <p:spTgt spid="9"/>
                                        </p:tgtEl>
                                        <p:attrNameLst>
                                          <p:attrName>style.visibility</p:attrName>
                                        </p:attrNameLst>
                                      </p:cBhvr>
                                      <p:to>
                                        <p:strVal val="visible"/>
                                      </p:to>
                                    </p:set>
                                    <p:anim calcmode="lin" valueType="num">
                                      <p:cBhvr additive="base">
                                        <p:cTn id="16" dur="500" fill="hold"/>
                                        <p:tgtEl>
                                          <p:spTgt spid="9"/>
                                        </p:tgtEl>
                                        <p:attrNameLst>
                                          <p:attrName>ppt_x</p:attrName>
                                        </p:attrNameLst>
                                      </p:cBhvr>
                                      <p:tavLst>
                                        <p:tav tm="0">
                                          <p:val>
                                            <p:strVal val="#ppt_x"/>
                                          </p:val>
                                        </p:tav>
                                        <p:tav tm="100000">
                                          <p:val>
                                            <p:strVal val="#ppt_x"/>
                                          </p:val>
                                        </p:tav>
                                      </p:tavLst>
                                    </p:anim>
                                    <p:anim calcmode="lin" valueType="num">
                                      <p:cBhvr additive="base">
                                        <p:cTn id="17" dur="500" fill="hold"/>
                                        <p:tgtEl>
                                          <p:spTgt spid="9"/>
                                        </p:tgtEl>
                                        <p:attrNameLst>
                                          <p:attrName>ppt_y</p:attrName>
                                        </p:attrNameLst>
                                      </p:cBhvr>
                                      <p:tavLst>
                                        <p:tav tm="0">
                                          <p:val>
                                            <p:strVal val="1+#ppt_h/2"/>
                                          </p:val>
                                        </p:tav>
                                        <p:tav tm="100000">
                                          <p:val>
                                            <p:strVal val="#ppt_y"/>
                                          </p:val>
                                        </p:tav>
                                      </p:tavLst>
                                    </p:anim>
                                  </p:childTnLst>
                                </p:cTn>
                              </p:par>
                              <p:par>
                                <p:cTn id="18" presetID="2" presetClass="entr" presetSubtype="4" fill="hold" grpId="0" nodeType="withEffect">
                                  <p:stCondLst>
                                    <p:cond delay="500"/>
                                  </p:stCondLst>
                                  <p:childTnLst>
                                    <p:set>
                                      <p:cBhvr>
                                        <p:cTn id="19" dur="1" fill="hold">
                                          <p:stCondLst>
                                            <p:cond delay="0"/>
                                          </p:stCondLst>
                                        </p:cTn>
                                        <p:tgtEl>
                                          <p:spTgt spid="10"/>
                                        </p:tgtEl>
                                        <p:attrNameLst>
                                          <p:attrName>style.visibility</p:attrName>
                                        </p:attrNameLst>
                                      </p:cBhvr>
                                      <p:to>
                                        <p:strVal val="visible"/>
                                      </p:to>
                                    </p:set>
                                    <p:anim calcmode="lin" valueType="num">
                                      <p:cBhvr additive="base">
                                        <p:cTn id="20" dur="500" fill="hold"/>
                                        <p:tgtEl>
                                          <p:spTgt spid="10"/>
                                        </p:tgtEl>
                                        <p:attrNameLst>
                                          <p:attrName>ppt_x</p:attrName>
                                        </p:attrNameLst>
                                      </p:cBhvr>
                                      <p:tavLst>
                                        <p:tav tm="0">
                                          <p:val>
                                            <p:strVal val="#ppt_x"/>
                                          </p:val>
                                        </p:tav>
                                        <p:tav tm="100000">
                                          <p:val>
                                            <p:strVal val="#ppt_x"/>
                                          </p:val>
                                        </p:tav>
                                      </p:tavLst>
                                    </p:anim>
                                    <p:anim calcmode="lin" valueType="num">
                                      <p:cBhvr additive="base">
                                        <p:cTn id="21" dur="500" fill="hold"/>
                                        <p:tgtEl>
                                          <p:spTgt spid="10"/>
                                        </p:tgtEl>
                                        <p:attrNameLst>
                                          <p:attrName>ppt_y</p:attrName>
                                        </p:attrNameLst>
                                      </p:cBhvr>
                                      <p:tavLst>
                                        <p:tav tm="0">
                                          <p:val>
                                            <p:strVal val="1+#ppt_h/2"/>
                                          </p:val>
                                        </p:tav>
                                        <p:tav tm="100000">
                                          <p:val>
                                            <p:strVal val="#ppt_y"/>
                                          </p:val>
                                        </p:tav>
                                      </p:tavLst>
                                    </p:anim>
                                  </p:childTnLst>
                                </p:cTn>
                              </p:par>
                              <p:par>
                                <p:cTn id="22" presetID="2" presetClass="entr" presetSubtype="4" fill="hold" grpId="0" nodeType="withEffect">
                                  <p:stCondLst>
                                    <p:cond delay="1000"/>
                                  </p:stCondLst>
                                  <p:childTnLst>
                                    <p:set>
                                      <p:cBhvr>
                                        <p:cTn id="23" dur="1" fill="hold">
                                          <p:stCondLst>
                                            <p:cond delay="0"/>
                                          </p:stCondLst>
                                        </p:cTn>
                                        <p:tgtEl>
                                          <p:spTgt spid="11"/>
                                        </p:tgtEl>
                                        <p:attrNameLst>
                                          <p:attrName>style.visibility</p:attrName>
                                        </p:attrNameLst>
                                      </p:cBhvr>
                                      <p:to>
                                        <p:strVal val="visible"/>
                                      </p:to>
                                    </p:set>
                                    <p:anim calcmode="lin" valueType="num">
                                      <p:cBhvr additive="base">
                                        <p:cTn id="24" dur="500" fill="hold"/>
                                        <p:tgtEl>
                                          <p:spTgt spid="11"/>
                                        </p:tgtEl>
                                        <p:attrNameLst>
                                          <p:attrName>ppt_x</p:attrName>
                                        </p:attrNameLst>
                                      </p:cBhvr>
                                      <p:tavLst>
                                        <p:tav tm="0">
                                          <p:val>
                                            <p:strVal val="#ppt_x"/>
                                          </p:val>
                                        </p:tav>
                                        <p:tav tm="100000">
                                          <p:val>
                                            <p:strVal val="#ppt_x"/>
                                          </p:val>
                                        </p:tav>
                                      </p:tavLst>
                                    </p:anim>
                                    <p:anim calcmode="lin" valueType="num">
                                      <p:cBhvr additive="base">
                                        <p:cTn id="25" dur="500" fill="hold"/>
                                        <p:tgtEl>
                                          <p:spTgt spid="11"/>
                                        </p:tgtEl>
                                        <p:attrNameLst>
                                          <p:attrName>ppt_y</p:attrName>
                                        </p:attrNameLst>
                                      </p:cBhvr>
                                      <p:tavLst>
                                        <p:tav tm="0">
                                          <p:val>
                                            <p:strVal val="1+#ppt_h/2"/>
                                          </p:val>
                                        </p:tav>
                                        <p:tav tm="100000">
                                          <p:val>
                                            <p:strVal val="#ppt_y"/>
                                          </p:val>
                                        </p:tav>
                                      </p:tavLst>
                                    </p:anim>
                                  </p:childTnLst>
                                </p:cTn>
                              </p:par>
                            </p:childTnLst>
                          </p:cTn>
                        </p:par>
                        <p:par>
                          <p:cTn id="26" fill="hold">
                            <p:stCondLst>
                              <p:cond delay="2650"/>
                            </p:stCondLst>
                            <p:childTnLst>
                              <p:par>
                                <p:cTn id="27" presetID="10" presetClass="entr" presetSubtype="0" fill="hold" nodeType="after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fade">
                                      <p:cBhvr>
                                        <p:cTn id="29"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8" grpId="0" animBg="1"/>
      <p:bldP spid="2" grpId="0"/>
      <p:bldP spid="2" grpId="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evelopment"/>
          <p:cNvSpPr/>
          <p:nvPr/>
        </p:nvSpPr>
        <p:spPr>
          <a:xfrm>
            <a:off x="6624972" y="3228981"/>
            <a:ext cx="1255432" cy="288541"/>
          </a:xfrm>
          <a:prstGeom prst="rect">
            <a:avLst/>
          </a:prstGeom>
        </p:spPr>
        <p:txBody>
          <a:bodyPr wrap="none" lIns="57047" tIns="28520" rIns="57047" bIns="28520">
            <a:spAutoFit/>
          </a:bodyPr>
          <a:lstStyle/>
          <a:p>
            <a:r>
              <a:rPr lang="en-US" sz="1500" dirty="0">
                <a:solidFill>
                  <a:srgbClr val="FFFFFF">
                    <a:lumMod val="65000"/>
                    <a:lumOff val="35000"/>
                    <a:alpha val="99000"/>
                  </a:srgbClr>
                </a:solidFill>
              </a:rPr>
              <a:t>Development</a:t>
            </a:r>
            <a:endParaRPr lang="en-US" dirty="0">
              <a:solidFill>
                <a:srgbClr val="FFFFFF">
                  <a:lumMod val="65000"/>
                  <a:lumOff val="35000"/>
                  <a:alpha val="99000"/>
                </a:srgbClr>
              </a:solidFill>
            </a:endParaRPr>
          </a:p>
        </p:txBody>
      </p:sp>
      <p:sp>
        <p:nvSpPr>
          <p:cNvPr id="20" name="Management"/>
          <p:cNvSpPr/>
          <p:nvPr/>
        </p:nvSpPr>
        <p:spPr>
          <a:xfrm>
            <a:off x="4722715" y="3230208"/>
            <a:ext cx="1299635" cy="288541"/>
          </a:xfrm>
          <a:prstGeom prst="rect">
            <a:avLst/>
          </a:prstGeom>
        </p:spPr>
        <p:txBody>
          <a:bodyPr wrap="none" lIns="57047" tIns="28520" rIns="57047" bIns="28520">
            <a:spAutoFit/>
          </a:bodyPr>
          <a:lstStyle/>
          <a:p>
            <a:r>
              <a:rPr lang="en-US" sz="1500" dirty="0">
                <a:solidFill>
                  <a:srgbClr val="FFFFFF">
                    <a:lumMod val="65000"/>
                    <a:lumOff val="35000"/>
                    <a:alpha val="99000"/>
                  </a:srgbClr>
                </a:solidFill>
              </a:rPr>
              <a:t>Management </a:t>
            </a:r>
            <a:endParaRPr lang="en-US" dirty="0">
              <a:solidFill>
                <a:srgbClr val="FFFFFF">
                  <a:lumMod val="65000"/>
                  <a:lumOff val="35000"/>
                  <a:alpha val="99000"/>
                </a:srgbClr>
              </a:solidFill>
            </a:endParaRPr>
          </a:p>
        </p:txBody>
      </p:sp>
      <p:sp useBgFill="1">
        <p:nvSpPr>
          <p:cNvPr id="47" name="Rectangle 46"/>
          <p:cNvSpPr/>
          <p:nvPr/>
        </p:nvSpPr>
        <p:spPr bwMode="auto">
          <a:xfrm>
            <a:off x="4669315" y="3221782"/>
            <a:ext cx="3211080" cy="286806"/>
          </a:xfrm>
          <a:prstGeom prst="rect">
            <a:avLst/>
          </a:prstGeom>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57044" tIns="28520" rIns="57044" bIns="28520" numCol="1" rtlCol="0" anchor="ctr" anchorCtr="0" compatLnSpc="1">
            <a:prstTxWarp prst="textNoShape">
              <a:avLst/>
            </a:prstTxWarp>
          </a:bodyPr>
          <a:lstStyle/>
          <a:p>
            <a:pPr algn="ctr" defTabSz="570309"/>
            <a:endParaRPr lang="en-US" sz="1100" dirty="0">
              <a:gradFill>
                <a:gsLst>
                  <a:gs pos="0">
                    <a:srgbClr val="FFFFFF"/>
                  </a:gs>
                  <a:gs pos="100000">
                    <a:srgbClr val="FFFFFF"/>
                  </a:gs>
                </a:gsLst>
                <a:lin ang="5400000" scaled="0"/>
              </a:gradFill>
            </a:endParaRPr>
          </a:p>
        </p:txBody>
      </p:sp>
      <p:sp>
        <p:nvSpPr>
          <p:cNvPr id="9" name="Virtualization"/>
          <p:cNvSpPr/>
          <p:nvPr/>
        </p:nvSpPr>
        <p:spPr>
          <a:xfrm>
            <a:off x="2772840" y="3230208"/>
            <a:ext cx="1347244" cy="288541"/>
          </a:xfrm>
          <a:prstGeom prst="rect">
            <a:avLst/>
          </a:prstGeom>
        </p:spPr>
        <p:txBody>
          <a:bodyPr wrap="none" lIns="57047" tIns="28520" rIns="57047" bIns="28520">
            <a:spAutoFit/>
          </a:bodyPr>
          <a:lstStyle/>
          <a:p>
            <a:r>
              <a:rPr lang="en-US" sz="1500" dirty="0">
                <a:solidFill>
                  <a:srgbClr val="FFFFFF">
                    <a:lumMod val="65000"/>
                    <a:lumOff val="35000"/>
                    <a:alpha val="99000"/>
                  </a:srgbClr>
                </a:solidFill>
              </a:rPr>
              <a:t> Virtualization </a:t>
            </a:r>
            <a:endParaRPr lang="en-US" dirty="0">
              <a:solidFill>
                <a:srgbClr val="FFFFFF">
                  <a:lumMod val="65000"/>
                  <a:lumOff val="35000"/>
                  <a:alpha val="99000"/>
                </a:srgbClr>
              </a:solidFill>
            </a:endParaRPr>
          </a:p>
        </p:txBody>
      </p:sp>
      <p:sp useBgFill="1">
        <p:nvSpPr>
          <p:cNvPr id="4" name="Rectangle 3"/>
          <p:cNvSpPr/>
          <p:nvPr/>
        </p:nvSpPr>
        <p:spPr bwMode="auto">
          <a:xfrm>
            <a:off x="2772840" y="3130540"/>
            <a:ext cx="5204006" cy="481424"/>
          </a:xfrm>
          <a:prstGeom prst="rect">
            <a:avLst/>
          </a:prstGeom>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57044" tIns="28520" rIns="57044" bIns="28520" numCol="1" rtlCol="0" anchor="ctr" anchorCtr="0" compatLnSpc="1">
            <a:prstTxWarp prst="textNoShape">
              <a:avLst/>
            </a:prstTxWarp>
          </a:bodyPr>
          <a:lstStyle/>
          <a:p>
            <a:pPr algn="ctr" defTabSz="570309"/>
            <a:endParaRPr lang="en-US" sz="1100" dirty="0">
              <a:gradFill>
                <a:gsLst>
                  <a:gs pos="0">
                    <a:srgbClr val="FFFFFF"/>
                  </a:gs>
                  <a:gs pos="100000">
                    <a:srgbClr val="FFFFFF"/>
                  </a:gs>
                </a:gsLst>
                <a:lin ang="5400000" scaled="0"/>
              </a:gradFill>
            </a:endParaRPr>
          </a:p>
        </p:txBody>
      </p:sp>
      <p:sp>
        <p:nvSpPr>
          <p:cNvPr id="30" name="Rectangle 29"/>
          <p:cNvSpPr/>
          <p:nvPr/>
        </p:nvSpPr>
        <p:spPr bwMode="auto">
          <a:xfrm>
            <a:off x="716876" y="3680432"/>
            <a:ext cx="7772400" cy="1407126"/>
          </a:xfrm>
          <a:prstGeom prst="rect">
            <a:avLst/>
          </a:prstGeom>
          <a:solidFill>
            <a:srgbClr val="00B0F0"/>
          </a:solidFill>
          <a:ln w="9525" cap="flat" cmpd="sng" algn="ctr">
            <a:solidFill>
              <a:schemeClr val="accent1">
                <a:alpha val="63000"/>
              </a:schemeClr>
            </a:solidFill>
            <a:prstDash val="solid"/>
          </a:ln>
          <a:effectLst/>
        </p:spPr>
        <p:txBody>
          <a:bodyPr lIns="162986" tIns="81498" rIns="162986" bIns="57065" rtlCol="0" anchor="b" anchorCtr="0"/>
          <a:lstStyle/>
          <a:p>
            <a:pPr algn="r" defTabSz="1086368"/>
            <a:endParaRPr lang="en-US" sz="1800" dirty="0">
              <a:solidFill>
                <a:srgbClr val="FFFFFF">
                  <a:alpha val="99000"/>
                </a:srgbClr>
              </a:solidFill>
              <a:ea typeface="Segoe UI" pitchFamily="34" charset="0"/>
              <a:cs typeface="Segoe UI" pitchFamily="34" charset="0"/>
            </a:endParaRPr>
          </a:p>
        </p:txBody>
      </p:sp>
      <p:cxnSp>
        <p:nvCxnSpPr>
          <p:cNvPr id="32" name="Straight Connector 31"/>
          <p:cNvCxnSpPr/>
          <p:nvPr/>
        </p:nvCxnSpPr>
        <p:spPr>
          <a:xfrm flipH="1">
            <a:off x="1096881" y="4554666"/>
            <a:ext cx="6879967" cy="0"/>
          </a:xfrm>
          <a:prstGeom prst="line">
            <a:avLst/>
          </a:prstGeom>
          <a:solidFill>
            <a:schemeClr val="accent3"/>
          </a:solidFill>
          <a:ln w="9525" cap="flat" cmpd="sng" algn="ctr">
            <a:gradFill>
              <a:gsLst>
                <a:gs pos="0">
                  <a:schemeClr val="accent1">
                    <a:tint val="66000"/>
                    <a:satMod val="160000"/>
                    <a:alpha val="0"/>
                  </a:schemeClr>
                </a:gs>
                <a:gs pos="50000">
                  <a:schemeClr val="tx1"/>
                </a:gs>
                <a:gs pos="100000">
                  <a:schemeClr val="accent1">
                    <a:tint val="23500"/>
                    <a:satMod val="160000"/>
                    <a:alpha val="0"/>
                  </a:schemeClr>
                </a:gs>
              </a:gsLst>
              <a:lin ang="4800000" scaled="0"/>
            </a:gra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43" name="Rectangle 42"/>
          <p:cNvSpPr/>
          <p:nvPr/>
        </p:nvSpPr>
        <p:spPr bwMode="auto">
          <a:xfrm>
            <a:off x="716876" y="1669437"/>
            <a:ext cx="7772400" cy="1430753"/>
          </a:xfrm>
          <a:prstGeom prst="rect">
            <a:avLst/>
          </a:prstGeom>
          <a:solidFill>
            <a:schemeClr val="accent5"/>
          </a:solidFill>
          <a:ln w="9525" cap="flat" cmpd="sng" algn="ctr">
            <a:solidFill>
              <a:schemeClr val="accent5">
                <a:alpha val="63000"/>
              </a:schemeClr>
            </a:solidFill>
            <a:prstDash val="solid"/>
            <a:round/>
            <a:headEnd type="none" w="med" len="med"/>
            <a:tailEnd type="none" w="med" len="med"/>
          </a:ln>
          <a:effectLst/>
        </p:spPr>
        <p:txBody>
          <a:bodyPr vert="horz" wrap="square" lIns="0" tIns="23768" rIns="0" bIns="23768" numCol="1" rtlCol="0" anchor="ctr" anchorCtr="0" compatLnSpc="1">
            <a:prstTxWarp prst="textNoShape">
              <a:avLst/>
            </a:prstTxWarp>
          </a:bodyPr>
          <a:lstStyle/>
          <a:p>
            <a:pPr algn="ctr" defTabSz="570237" fontAlgn="base">
              <a:lnSpc>
                <a:spcPts val="1375"/>
              </a:lnSpc>
              <a:spcBef>
                <a:spcPct val="0"/>
              </a:spcBef>
              <a:spcAft>
                <a:spcPct val="0"/>
              </a:spcAft>
            </a:pPr>
            <a:endParaRPr lang="en-US" sz="1200" dirty="0">
              <a:solidFill>
                <a:srgbClr val="FFFFFF"/>
              </a:solidFill>
            </a:endParaRPr>
          </a:p>
        </p:txBody>
      </p:sp>
      <p:cxnSp>
        <p:nvCxnSpPr>
          <p:cNvPr id="45" name="Straight Connector 44"/>
          <p:cNvCxnSpPr/>
          <p:nvPr/>
        </p:nvCxnSpPr>
        <p:spPr>
          <a:xfrm flipH="1">
            <a:off x="1096879" y="2179158"/>
            <a:ext cx="6879967" cy="0"/>
          </a:xfrm>
          <a:prstGeom prst="line">
            <a:avLst/>
          </a:prstGeom>
          <a:solidFill>
            <a:schemeClr val="accent1"/>
          </a:solidFill>
          <a:ln w="9525" cap="flat" cmpd="sng" algn="ctr">
            <a:gradFill>
              <a:gsLst>
                <a:gs pos="0">
                  <a:schemeClr val="accent1">
                    <a:tint val="66000"/>
                    <a:satMod val="160000"/>
                    <a:alpha val="0"/>
                  </a:schemeClr>
                </a:gs>
                <a:gs pos="50000">
                  <a:schemeClr val="tx1"/>
                </a:gs>
                <a:gs pos="100000">
                  <a:schemeClr val="accent1">
                    <a:tint val="23500"/>
                    <a:satMod val="160000"/>
                    <a:alpha val="0"/>
                  </a:schemeClr>
                </a:gs>
              </a:gsLst>
              <a:lin ang="4800000" scaled="0"/>
            </a:gra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useBgFill="1">
        <p:nvSpPr>
          <p:cNvPr id="10" name="Rectangle 9"/>
          <p:cNvSpPr/>
          <p:nvPr/>
        </p:nvSpPr>
        <p:spPr bwMode="auto">
          <a:xfrm>
            <a:off x="0" y="1533787"/>
            <a:ext cx="2772840" cy="3609719"/>
          </a:xfrm>
          <a:prstGeom prst="rect">
            <a:avLst/>
          </a:prstGeom>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57044" tIns="28520" rIns="57044" bIns="28520" numCol="1" rtlCol="0" anchor="ctr" anchorCtr="0" compatLnSpc="1">
            <a:prstTxWarp prst="textNoShape">
              <a:avLst/>
            </a:prstTxWarp>
          </a:bodyPr>
          <a:lstStyle/>
          <a:p>
            <a:pPr algn="ctr" defTabSz="570309"/>
            <a:endParaRPr lang="en-US" sz="11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389448" y="171455"/>
            <a:ext cx="8363938" cy="467436"/>
          </a:xfrm>
        </p:spPr>
        <p:txBody>
          <a:bodyPr/>
          <a:lstStyle/>
          <a:p>
            <a:r>
              <a:rPr lang="en-US" sz="3400" dirty="0"/>
              <a:t>Microsoft Cloud</a:t>
            </a:r>
            <a:endParaRPr lang="en-US" sz="3400" dirty="0">
              <a:solidFill>
                <a:schemeClr val="accent1"/>
              </a:solidFill>
            </a:endParaRPr>
          </a:p>
        </p:txBody>
      </p:sp>
      <p:sp>
        <p:nvSpPr>
          <p:cNvPr id="13" name="Rectangle 12"/>
          <p:cNvSpPr/>
          <p:nvPr/>
        </p:nvSpPr>
        <p:spPr bwMode="auto">
          <a:xfrm>
            <a:off x="860317" y="3014719"/>
            <a:ext cx="7618016" cy="672449"/>
          </a:xfrm>
          <a:prstGeom prst="rect">
            <a:avLst/>
          </a:prstGeom>
          <a:no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57044" tIns="28520" rIns="57044" bIns="28520" numCol="1" rtlCol="0" anchor="ctr" anchorCtr="0" compatLnSpc="1">
            <a:prstTxWarp prst="textNoShape">
              <a:avLst/>
            </a:prstTxWarp>
          </a:bodyPr>
          <a:lstStyle/>
          <a:p>
            <a:pPr algn="ctr" defTabSz="570309" fontAlgn="base">
              <a:spcBef>
                <a:spcPct val="0"/>
              </a:spcBef>
              <a:spcAft>
                <a:spcPct val="0"/>
              </a:spcAft>
            </a:pPr>
            <a:endParaRPr lang="en-US" dirty="0">
              <a:solidFill>
                <a:srgbClr val="FFFFFF"/>
              </a:solidFill>
            </a:endParaRPr>
          </a:p>
        </p:txBody>
      </p:sp>
      <p:sp>
        <p:nvSpPr>
          <p:cNvPr id="31" name="TextBox 30"/>
          <p:cNvSpPr txBox="1"/>
          <p:nvPr/>
        </p:nvSpPr>
        <p:spPr>
          <a:xfrm>
            <a:off x="1070327" y="4609205"/>
            <a:ext cx="6933072" cy="326967"/>
          </a:xfrm>
          <a:prstGeom prst="rect">
            <a:avLst/>
          </a:prstGeom>
          <a:noFill/>
        </p:spPr>
        <p:txBody>
          <a:bodyPr wrap="square" lIns="0" tIns="114095" rIns="0" bIns="0" rtlCol="0" anchor="ctr">
            <a:spAutoFit/>
          </a:bodyPr>
          <a:lstStyle/>
          <a:p>
            <a:pPr algn="ctr" fontAlgn="base">
              <a:lnSpc>
                <a:spcPts val="1625"/>
              </a:lnSpc>
              <a:spcBef>
                <a:spcPct val="0"/>
              </a:spcBef>
              <a:spcAft>
                <a:spcPct val="0"/>
              </a:spcAft>
            </a:pPr>
            <a:r>
              <a:rPr lang="en-US" sz="2300" spc="188" dirty="0">
                <a:solidFill>
                  <a:srgbClr val="FFFFFF"/>
                </a:solidFill>
              </a:rPr>
              <a:t>PRIVATE</a:t>
            </a:r>
          </a:p>
        </p:txBody>
      </p:sp>
      <p:sp>
        <p:nvSpPr>
          <p:cNvPr id="44" name="TextBox 43"/>
          <p:cNvSpPr txBox="1"/>
          <p:nvPr/>
        </p:nvSpPr>
        <p:spPr>
          <a:xfrm>
            <a:off x="681881" y="1779087"/>
            <a:ext cx="7709982" cy="326980"/>
          </a:xfrm>
          <a:prstGeom prst="rect">
            <a:avLst/>
          </a:prstGeom>
          <a:noFill/>
        </p:spPr>
        <p:txBody>
          <a:bodyPr wrap="square" lIns="0" tIns="114095" rIns="0" bIns="0" rtlCol="0" anchor="ctr">
            <a:spAutoFit/>
          </a:bodyPr>
          <a:lstStyle/>
          <a:p>
            <a:pPr algn="ctr" fontAlgn="base">
              <a:lnSpc>
                <a:spcPts val="1625"/>
              </a:lnSpc>
              <a:spcBef>
                <a:spcPct val="0"/>
              </a:spcBef>
              <a:spcAft>
                <a:spcPct val="0"/>
              </a:spcAft>
            </a:pPr>
            <a:r>
              <a:rPr lang="en-US" sz="2300" spc="188" dirty="0">
                <a:solidFill>
                  <a:srgbClr val="FFFFFF"/>
                </a:solidFill>
              </a:rPr>
              <a:t>PUBLIC</a:t>
            </a:r>
          </a:p>
        </p:txBody>
      </p:sp>
      <p:pic>
        <p:nvPicPr>
          <p:cNvPr id="66" name="Picture 65" descr="\\MAGNUM\Projects\Microsoft\Cloud Power FY12\Design\ICONS_PNG\Application.png"/>
          <p:cNvPicPr>
            <a:picLocks noChangeAspect="1" noChangeArrowheads="1"/>
          </p:cNvPicPr>
          <p:nvPr/>
        </p:nvPicPr>
        <p:blipFill>
          <a:blip r:embed="rId3" cstate="print">
            <a:lum bright="100000"/>
          </a:blip>
          <a:srcRect/>
          <a:stretch>
            <a:fillRect/>
          </a:stretch>
        </p:blipFill>
        <p:spPr bwMode="auto">
          <a:xfrm>
            <a:off x="3979939" y="2079196"/>
            <a:ext cx="1051621" cy="1051346"/>
          </a:xfrm>
          <a:prstGeom prst="rect">
            <a:avLst/>
          </a:prstGeom>
          <a:noFill/>
        </p:spPr>
      </p:pic>
      <p:pic>
        <p:nvPicPr>
          <p:cNvPr id="67" name="Picture 66" descr="\\MAGNUM\Projects\Microsoft\Cloud Power FY12\Design\ICONS_PNG\Application.png"/>
          <p:cNvPicPr>
            <a:picLocks noChangeAspect="1" noChangeArrowheads="1"/>
          </p:cNvPicPr>
          <p:nvPr/>
        </p:nvPicPr>
        <p:blipFill>
          <a:blip r:embed="rId3" cstate="print">
            <a:lum bright="100000"/>
          </a:blip>
          <a:srcRect/>
          <a:stretch>
            <a:fillRect/>
          </a:stretch>
        </p:blipFill>
        <p:spPr bwMode="auto">
          <a:xfrm>
            <a:off x="3979939" y="3553837"/>
            <a:ext cx="1051621" cy="1051346"/>
          </a:xfrm>
          <a:prstGeom prst="rect">
            <a:avLst/>
          </a:prstGeom>
          <a:noFill/>
        </p:spPr>
      </p:pic>
      <p:pic>
        <p:nvPicPr>
          <p:cNvPr id="69" name="Picture 2"/>
          <p:cNvPicPr>
            <a:picLocks noChangeAspect="1" noChangeArrowheads="1"/>
          </p:cNvPicPr>
          <p:nvPr/>
        </p:nvPicPr>
        <p:blipFill>
          <a:blip r:embed="rId4" cstate="print">
            <a:biLevel thresh="25000"/>
          </a:blip>
          <a:stretch>
            <a:fillRect/>
          </a:stretch>
        </p:blipFill>
        <p:spPr bwMode="auto">
          <a:xfrm>
            <a:off x="-95521" y="2761987"/>
            <a:ext cx="1420460" cy="1420460"/>
          </a:xfrm>
          <a:prstGeom prst="rect">
            <a:avLst/>
          </a:prstGeom>
          <a:noFill/>
          <a:ln>
            <a:noFill/>
          </a:ln>
        </p:spPr>
      </p:pic>
      <p:sp>
        <p:nvSpPr>
          <p:cNvPr id="24" name="Freeform 23"/>
          <p:cNvSpPr/>
          <p:nvPr/>
        </p:nvSpPr>
        <p:spPr bwMode="auto">
          <a:xfrm>
            <a:off x="1558647" y="2474253"/>
            <a:ext cx="2576946" cy="638946"/>
          </a:xfrm>
          <a:custGeom>
            <a:avLst/>
            <a:gdLst>
              <a:gd name="connsiteX0" fmla="*/ 0 w 4123113"/>
              <a:gd name="connsiteY0" fmla="*/ 1022314 h 1022314"/>
              <a:gd name="connsiteX1" fmla="*/ 1496291 w 4123113"/>
              <a:gd name="connsiteY1" fmla="*/ 58038 h 1022314"/>
              <a:gd name="connsiteX2" fmla="*/ 4123113 w 4123113"/>
              <a:gd name="connsiteY2" fmla="*/ 191042 h 1022314"/>
            </a:gdLst>
            <a:ahLst/>
            <a:cxnLst>
              <a:cxn ang="0">
                <a:pos x="connsiteX0" y="connsiteY0"/>
              </a:cxn>
              <a:cxn ang="0">
                <a:pos x="connsiteX1" y="connsiteY1"/>
              </a:cxn>
              <a:cxn ang="0">
                <a:pos x="connsiteX2" y="connsiteY2"/>
              </a:cxn>
            </a:cxnLst>
            <a:rect l="l" t="t" r="r" b="b"/>
            <a:pathLst>
              <a:path w="4123113" h="1022314">
                <a:moveTo>
                  <a:pt x="0" y="1022314"/>
                </a:moveTo>
                <a:cubicBezTo>
                  <a:pt x="404553" y="609448"/>
                  <a:pt x="809106" y="196583"/>
                  <a:pt x="1496291" y="58038"/>
                </a:cubicBezTo>
                <a:cubicBezTo>
                  <a:pt x="2183477" y="-80507"/>
                  <a:pt x="3153295" y="55267"/>
                  <a:pt x="4123113" y="191042"/>
                </a:cubicBezTo>
              </a:path>
            </a:pathLst>
          </a:custGeom>
          <a:noFill/>
          <a:ln w="38100">
            <a:solidFill>
              <a:schemeClr val="accent3">
                <a:lumMod val="40000"/>
                <a:lumOff val="60000"/>
              </a:schemeClr>
            </a:solidFill>
            <a:prstDash val="dash"/>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57047" tIns="28520" rIns="57047" bIns="28520" rtlCol="0" anchor="ctr"/>
          <a:lstStyle/>
          <a:p>
            <a:pPr algn="ctr"/>
            <a:endParaRPr lang="en-US" dirty="0">
              <a:solidFill>
                <a:srgbClr val="FFFFFF"/>
              </a:solidFill>
            </a:endParaRPr>
          </a:p>
        </p:txBody>
      </p:sp>
      <p:sp>
        <p:nvSpPr>
          <p:cNvPr id="74" name="Freeform 73"/>
          <p:cNvSpPr/>
          <p:nvPr/>
        </p:nvSpPr>
        <p:spPr bwMode="auto">
          <a:xfrm rot="12550605">
            <a:off x="1515549" y="3456068"/>
            <a:ext cx="2576946" cy="638946"/>
          </a:xfrm>
          <a:custGeom>
            <a:avLst/>
            <a:gdLst>
              <a:gd name="connsiteX0" fmla="*/ 0 w 4123113"/>
              <a:gd name="connsiteY0" fmla="*/ 1022314 h 1022314"/>
              <a:gd name="connsiteX1" fmla="*/ 1496291 w 4123113"/>
              <a:gd name="connsiteY1" fmla="*/ 58038 h 1022314"/>
              <a:gd name="connsiteX2" fmla="*/ 4123113 w 4123113"/>
              <a:gd name="connsiteY2" fmla="*/ 191042 h 1022314"/>
            </a:gdLst>
            <a:ahLst/>
            <a:cxnLst>
              <a:cxn ang="0">
                <a:pos x="connsiteX0" y="connsiteY0"/>
              </a:cxn>
              <a:cxn ang="0">
                <a:pos x="connsiteX1" y="connsiteY1"/>
              </a:cxn>
              <a:cxn ang="0">
                <a:pos x="connsiteX2" y="connsiteY2"/>
              </a:cxn>
            </a:cxnLst>
            <a:rect l="l" t="t" r="r" b="b"/>
            <a:pathLst>
              <a:path w="4123113" h="1022314">
                <a:moveTo>
                  <a:pt x="0" y="1022314"/>
                </a:moveTo>
                <a:cubicBezTo>
                  <a:pt x="404553" y="609448"/>
                  <a:pt x="809106" y="196583"/>
                  <a:pt x="1496291" y="58038"/>
                </a:cubicBezTo>
                <a:cubicBezTo>
                  <a:pt x="2183477" y="-80507"/>
                  <a:pt x="3153295" y="55267"/>
                  <a:pt x="4123113" y="191042"/>
                </a:cubicBezTo>
              </a:path>
            </a:pathLst>
          </a:custGeom>
          <a:noFill/>
          <a:ln w="38100">
            <a:solidFill>
              <a:schemeClr val="accent3">
                <a:lumMod val="40000"/>
                <a:lumOff val="60000"/>
              </a:schemeClr>
            </a:solidFill>
            <a:prstDash val="dash"/>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57047" tIns="28520" rIns="57047" bIns="28520" rtlCol="0" anchor="ctr"/>
          <a:lstStyle/>
          <a:p>
            <a:pPr algn="ctr"/>
            <a:endParaRPr lang="en-US" dirty="0">
              <a:solidFill>
                <a:srgbClr val="FFFFFF"/>
              </a:solidFill>
            </a:endParaRPr>
          </a:p>
        </p:txBody>
      </p:sp>
      <p:sp>
        <p:nvSpPr>
          <p:cNvPr id="14" name="Identity"/>
          <p:cNvSpPr txBox="1"/>
          <p:nvPr/>
        </p:nvSpPr>
        <p:spPr>
          <a:xfrm>
            <a:off x="1324930" y="3230208"/>
            <a:ext cx="845289" cy="288541"/>
          </a:xfrm>
          <a:prstGeom prst="rect">
            <a:avLst/>
          </a:prstGeom>
          <a:noFill/>
        </p:spPr>
        <p:txBody>
          <a:bodyPr wrap="square" lIns="57047" tIns="28520" rIns="57047" bIns="28520" rtlCol="0">
            <a:spAutoFit/>
          </a:bodyPr>
          <a:lstStyle/>
          <a:p>
            <a:pPr algn="ctr"/>
            <a:r>
              <a:rPr lang="en-US" sz="1500" dirty="0">
                <a:solidFill>
                  <a:srgbClr val="FFFFFF">
                    <a:lumMod val="65000"/>
                    <a:lumOff val="35000"/>
                  </a:srgbClr>
                </a:solidFill>
              </a:rPr>
              <a:t>Identity</a:t>
            </a:r>
          </a:p>
        </p:txBody>
      </p:sp>
      <p:sp useBgFill="1">
        <p:nvSpPr>
          <p:cNvPr id="5" name="Rectangle 4"/>
          <p:cNvSpPr/>
          <p:nvPr/>
        </p:nvSpPr>
        <p:spPr bwMode="auto">
          <a:xfrm>
            <a:off x="1269689" y="3228973"/>
            <a:ext cx="1101619" cy="382997"/>
          </a:xfrm>
          <a:prstGeom prst="rect">
            <a:avLst/>
          </a:prstGeom>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57044" tIns="28520" rIns="57044" bIns="28520" numCol="1" rtlCol="0" anchor="ctr" anchorCtr="0" compatLnSpc="1">
            <a:prstTxWarp prst="textNoShape">
              <a:avLst/>
            </a:prstTxWarp>
          </a:bodyPr>
          <a:lstStyle/>
          <a:p>
            <a:pPr algn="ctr" defTabSz="570309"/>
            <a:endParaRPr lang="en-US" sz="1100" dirty="0">
              <a:gradFill>
                <a:gsLst>
                  <a:gs pos="0">
                    <a:srgbClr val="FFFFFF"/>
                  </a:gs>
                  <a:gs pos="100000">
                    <a:srgbClr val="FFFFFF"/>
                  </a:gs>
                </a:gsLst>
                <a:lin ang="5400000" scaled="0"/>
              </a:gradFill>
            </a:endParaRPr>
          </a:p>
        </p:txBody>
      </p:sp>
      <p:grpSp>
        <p:nvGrpSpPr>
          <p:cNvPr id="8" name="Group 7"/>
          <p:cNvGrpSpPr/>
          <p:nvPr/>
        </p:nvGrpSpPr>
        <p:grpSpPr>
          <a:xfrm>
            <a:off x="-16735" y="3902466"/>
            <a:ext cx="1423685" cy="1304422"/>
            <a:chOff x="-26778" y="5369297"/>
            <a:chExt cx="2277896" cy="2087072"/>
          </a:xfrm>
        </p:grpSpPr>
        <p:pic>
          <p:nvPicPr>
            <p:cNvPr id="50" name="Picture 2" descr="\\MAGNUM\Projects\Microsoft\Cloud Power FY12\Design\ICONS_PNG\Building.png"/>
            <p:cNvPicPr>
              <a:picLocks noChangeAspect="1" noChangeArrowheads="1"/>
            </p:cNvPicPr>
            <p:nvPr/>
          </p:nvPicPr>
          <p:blipFill>
            <a:blip r:embed="rId5" cstate="print">
              <a:biLevel thresh="25000"/>
            </a:blip>
            <a:srcRect/>
            <a:stretch>
              <a:fillRect/>
            </a:stretch>
          </p:blipFill>
          <p:spPr bwMode="auto">
            <a:xfrm>
              <a:off x="-26778" y="5369297"/>
              <a:ext cx="2277797" cy="2087072"/>
            </a:xfrm>
            <a:prstGeom prst="rect">
              <a:avLst/>
            </a:prstGeom>
            <a:noFill/>
          </p:spPr>
        </p:pic>
        <p:sp>
          <p:nvSpPr>
            <p:cNvPr id="54" name="Rectangle 53"/>
            <p:cNvSpPr/>
            <p:nvPr/>
          </p:nvSpPr>
          <p:spPr>
            <a:xfrm>
              <a:off x="119104" y="7001021"/>
              <a:ext cx="2132014" cy="344700"/>
            </a:xfrm>
            <a:prstGeom prst="rect">
              <a:avLst/>
            </a:prstGeom>
          </p:spPr>
          <p:txBody>
            <a:bodyPr wrap="square" lIns="91433" tIns="45717" rIns="91433" bIns="45717">
              <a:spAutoFit/>
            </a:bodyPr>
            <a:lstStyle/>
            <a:p>
              <a:pPr algn="ctr"/>
              <a:r>
                <a:rPr lang="en-US" sz="800" dirty="0">
                  <a:solidFill>
                    <a:srgbClr val="FFFFFF">
                      <a:alpha val="99000"/>
                    </a:srgbClr>
                  </a:solidFill>
                  <a:latin typeface="Segoe UI Light"/>
                </a:rPr>
                <a:t>Traditional Datacenter</a:t>
              </a:r>
            </a:p>
          </p:txBody>
        </p:sp>
      </p:grpSp>
      <p:grpSp>
        <p:nvGrpSpPr>
          <p:cNvPr id="16" name="Group 15"/>
          <p:cNvGrpSpPr/>
          <p:nvPr/>
        </p:nvGrpSpPr>
        <p:grpSpPr>
          <a:xfrm>
            <a:off x="1211316" y="4046680"/>
            <a:ext cx="1561535" cy="1091074"/>
            <a:chOff x="1938087" y="5600008"/>
            <a:chExt cx="2498457" cy="1745716"/>
          </a:xfrm>
        </p:grpSpPr>
        <p:pic>
          <p:nvPicPr>
            <p:cNvPr id="53" name="Picture 2"/>
            <p:cNvPicPr>
              <a:picLocks noChangeAspect="1" noChangeArrowheads="1"/>
            </p:cNvPicPr>
            <p:nvPr/>
          </p:nvPicPr>
          <p:blipFill>
            <a:blip r:embed="rId6" cstate="print">
              <a:biLevel thresh="25000"/>
            </a:blip>
            <a:srcRect/>
            <a:stretch>
              <a:fillRect/>
            </a:stretch>
          </p:blipFill>
          <p:spPr bwMode="auto">
            <a:xfrm>
              <a:off x="2390514" y="5600008"/>
              <a:ext cx="1774209" cy="1625650"/>
            </a:xfrm>
            <a:prstGeom prst="rect">
              <a:avLst/>
            </a:prstGeom>
            <a:noFill/>
            <a:ln w="9525">
              <a:noFill/>
              <a:miter lim="800000"/>
              <a:headEnd/>
              <a:tailEnd/>
            </a:ln>
            <a:effectLst/>
          </p:spPr>
        </p:pic>
        <p:sp>
          <p:nvSpPr>
            <p:cNvPr id="55" name="Rectangle 54"/>
            <p:cNvSpPr/>
            <p:nvPr/>
          </p:nvSpPr>
          <p:spPr>
            <a:xfrm>
              <a:off x="1938087" y="7001024"/>
              <a:ext cx="2498457" cy="344700"/>
            </a:xfrm>
            <a:prstGeom prst="rect">
              <a:avLst/>
            </a:prstGeom>
          </p:spPr>
          <p:txBody>
            <a:bodyPr wrap="square" lIns="91433" tIns="45717" rIns="91433" bIns="45717">
              <a:spAutoFit/>
            </a:bodyPr>
            <a:lstStyle/>
            <a:p>
              <a:pPr algn="ctr"/>
              <a:r>
                <a:rPr lang="en-US" sz="800" dirty="0">
                  <a:solidFill>
                    <a:srgbClr val="FFFFFF">
                      <a:alpha val="99000"/>
                    </a:srgbClr>
                  </a:solidFill>
                  <a:latin typeface="Segoe UI Light"/>
                </a:rPr>
                <a:t>Highly Virtualized Datacenter</a:t>
              </a:r>
            </a:p>
          </p:txBody>
        </p:sp>
      </p:grpSp>
      <p:sp>
        <p:nvSpPr>
          <p:cNvPr id="17" name="Freeform 16"/>
          <p:cNvSpPr/>
          <p:nvPr/>
        </p:nvSpPr>
        <p:spPr bwMode="auto">
          <a:xfrm>
            <a:off x="831273" y="2666398"/>
            <a:ext cx="3694786" cy="1423555"/>
          </a:xfrm>
          <a:custGeom>
            <a:avLst/>
            <a:gdLst>
              <a:gd name="connsiteX0" fmla="*/ 0 w 5911658"/>
              <a:gd name="connsiteY0" fmla="*/ 2277687 h 2277687"/>
              <a:gd name="connsiteX1" fmla="*/ 914400 w 5911658"/>
              <a:gd name="connsiteY1" fmla="*/ 1712422 h 2277687"/>
              <a:gd name="connsiteX2" fmla="*/ 1845426 w 5911658"/>
              <a:gd name="connsiteY2" fmla="*/ 2261062 h 2277687"/>
              <a:gd name="connsiteX3" fmla="*/ 3507971 w 5911658"/>
              <a:gd name="connsiteY3" fmla="*/ 1546167 h 2277687"/>
              <a:gd name="connsiteX4" fmla="*/ 5752408 w 5911658"/>
              <a:gd name="connsiteY4" fmla="*/ 2211185 h 2277687"/>
              <a:gd name="connsiteX5" fmla="*/ 5802284 w 5911658"/>
              <a:gd name="connsiteY5" fmla="*/ 0 h 2277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11658" h="2277687">
                <a:moveTo>
                  <a:pt x="0" y="2277687"/>
                </a:moveTo>
                <a:cubicBezTo>
                  <a:pt x="303414" y="1996440"/>
                  <a:pt x="606829" y="1715193"/>
                  <a:pt x="914400" y="1712422"/>
                </a:cubicBezTo>
                <a:cubicBezTo>
                  <a:pt x="1221971" y="1709651"/>
                  <a:pt x="1413164" y="2288771"/>
                  <a:pt x="1845426" y="2261062"/>
                </a:cubicBezTo>
                <a:cubicBezTo>
                  <a:pt x="2277688" y="2233353"/>
                  <a:pt x="2856807" y="1554480"/>
                  <a:pt x="3507971" y="1546167"/>
                </a:cubicBezTo>
                <a:cubicBezTo>
                  <a:pt x="4159135" y="1537854"/>
                  <a:pt x="5370023" y="2468879"/>
                  <a:pt x="5752408" y="2211185"/>
                </a:cubicBezTo>
                <a:cubicBezTo>
                  <a:pt x="6134793" y="1953491"/>
                  <a:pt x="5694219" y="279862"/>
                  <a:pt x="5802284" y="0"/>
                </a:cubicBezTo>
              </a:path>
            </a:pathLst>
          </a:custGeom>
          <a:noFill/>
          <a:ln w="28575">
            <a:solidFill>
              <a:schemeClr val="accent2">
                <a:lumMod val="40000"/>
                <a:lumOff val="60000"/>
              </a:schemeClr>
            </a:solidFill>
            <a:prstDash val="lgDash"/>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57047" tIns="28520" rIns="57047" bIns="28520" rtlCol="0" anchor="ctr"/>
          <a:lstStyle/>
          <a:p>
            <a:pPr algn="ctr"/>
            <a:endParaRPr lang="en-US" dirty="0">
              <a:solidFill>
                <a:srgbClr val="FFFFFF"/>
              </a:solidFill>
            </a:endParaRPr>
          </a:p>
        </p:txBody>
      </p:sp>
      <p:sp useBgFill="1">
        <p:nvSpPr>
          <p:cNvPr id="18" name="Rectangle 17"/>
          <p:cNvSpPr/>
          <p:nvPr/>
        </p:nvSpPr>
        <p:spPr bwMode="auto">
          <a:xfrm>
            <a:off x="6597421" y="3215446"/>
            <a:ext cx="1300656" cy="422186"/>
          </a:xfrm>
          <a:prstGeom prst="rect">
            <a:avLst/>
          </a:prstGeom>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57044" tIns="28520" rIns="57044" bIns="28520" numCol="1" rtlCol="0" anchor="ctr" anchorCtr="0" compatLnSpc="1">
            <a:prstTxWarp prst="textNoShape">
              <a:avLst/>
            </a:prstTxWarp>
          </a:bodyPr>
          <a:lstStyle/>
          <a:p>
            <a:pPr algn="ctr" defTabSz="570309"/>
            <a:endParaRPr lang="en-US" sz="1100" dirty="0">
              <a:gradFill>
                <a:gsLst>
                  <a:gs pos="0">
                    <a:srgbClr val="FFFFFF"/>
                  </a:gs>
                  <a:gs pos="100000">
                    <a:srgbClr val="FFFFFF"/>
                  </a:gs>
                </a:gsLst>
                <a:lin ang="5400000" scaled="0"/>
              </a:gradFill>
            </a:endParaRPr>
          </a:p>
        </p:txBody>
      </p:sp>
      <p:sp useBgFill="1">
        <p:nvSpPr>
          <p:cNvPr id="59" name="Rectangle 58"/>
          <p:cNvSpPr/>
          <p:nvPr/>
        </p:nvSpPr>
        <p:spPr bwMode="auto">
          <a:xfrm>
            <a:off x="1270067" y="3209485"/>
            <a:ext cx="2739437" cy="422186"/>
          </a:xfrm>
          <a:prstGeom prst="rect">
            <a:avLst/>
          </a:prstGeom>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57044" tIns="28520" rIns="57044" bIns="28520" numCol="1" rtlCol="0" anchor="ctr" anchorCtr="0" compatLnSpc="1">
            <a:prstTxWarp prst="textNoShape">
              <a:avLst/>
            </a:prstTxWarp>
          </a:bodyPr>
          <a:lstStyle/>
          <a:p>
            <a:pPr algn="ctr" defTabSz="570309"/>
            <a:endParaRPr lang="en-US" sz="1100" dirty="0">
              <a:gradFill>
                <a:gsLst>
                  <a:gs pos="0">
                    <a:srgbClr val="FFFFFF"/>
                  </a:gs>
                  <a:gs pos="100000">
                    <a:srgbClr val="FFFFFF"/>
                  </a:gs>
                </a:gsLst>
                <a:lin ang="5400000" scaled="0"/>
              </a:gradFill>
            </a:endParaRPr>
          </a:p>
        </p:txBody>
      </p:sp>
      <p:sp>
        <p:nvSpPr>
          <p:cNvPr id="63" name="Isosceles Triangle 62"/>
          <p:cNvSpPr/>
          <p:nvPr/>
        </p:nvSpPr>
        <p:spPr bwMode="auto">
          <a:xfrm rot="16200000">
            <a:off x="1837924" y="1763934"/>
            <a:ext cx="2572239" cy="3129958"/>
          </a:xfrm>
          <a:prstGeom prst="triangle">
            <a:avLst>
              <a:gd name="adj" fmla="val 48867"/>
            </a:avLst>
          </a:prstGeom>
          <a:gradFill>
            <a:gsLst>
              <a:gs pos="53350">
                <a:schemeClr val="accent2"/>
              </a:gs>
              <a:gs pos="1000">
                <a:schemeClr val="accent2">
                  <a:lumMod val="90000"/>
                  <a:alpha val="65000"/>
                </a:schemeClr>
              </a:gs>
              <a:gs pos="100000">
                <a:schemeClr val="bg1">
                  <a:alpha val="0"/>
                </a:schemeClr>
              </a:gs>
            </a:gsLst>
            <a:lin ang="5400000" scaled="0"/>
          </a:gra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57044" tIns="28520" rIns="57044" bIns="28520" numCol="1" rtlCol="0" anchor="ctr" anchorCtr="0" compatLnSpc="1">
            <a:prstTxWarp prst="textNoShape">
              <a:avLst/>
            </a:prstTxWarp>
          </a:bodyPr>
          <a:lstStyle/>
          <a:p>
            <a:pPr algn="ctr" defTabSz="570309"/>
            <a:endParaRPr lang="en-US" sz="1100" dirty="0">
              <a:gradFill>
                <a:gsLst>
                  <a:gs pos="0">
                    <a:srgbClr val="FFFFFF"/>
                  </a:gs>
                  <a:gs pos="100000">
                    <a:srgbClr val="FFFFFF"/>
                  </a:gs>
                </a:gsLst>
                <a:lin ang="5400000" scaled="0"/>
              </a:gradFill>
            </a:endParaRPr>
          </a:p>
        </p:txBody>
      </p:sp>
      <p:sp useBgFill="1">
        <p:nvSpPr>
          <p:cNvPr id="22" name="Rectangle 21"/>
          <p:cNvSpPr/>
          <p:nvPr/>
        </p:nvSpPr>
        <p:spPr bwMode="auto">
          <a:xfrm>
            <a:off x="1324930" y="3104951"/>
            <a:ext cx="2684570" cy="448887"/>
          </a:xfrm>
          <a:prstGeom prst="rect">
            <a:avLst/>
          </a:prstGeom>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57044" tIns="28520" rIns="57044" bIns="28520" numCol="1" rtlCol="0" anchor="ctr" anchorCtr="0" compatLnSpc="1">
            <a:prstTxWarp prst="textNoShape">
              <a:avLst/>
            </a:prstTxWarp>
          </a:bodyPr>
          <a:lstStyle/>
          <a:p>
            <a:pPr algn="ctr" defTabSz="570309"/>
            <a:endParaRPr lang="en-US" sz="1100" dirty="0">
              <a:gradFill>
                <a:gsLst>
                  <a:gs pos="0">
                    <a:srgbClr val="FFFFFF"/>
                  </a:gs>
                  <a:gs pos="100000">
                    <a:srgbClr val="FFFFFF"/>
                  </a:gs>
                </a:gsLst>
                <a:lin ang="5400000" scaled="0"/>
              </a:gradFill>
            </a:endParaRPr>
          </a:p>
        </p:txBody>
      </p:sp>
      <p:pic>
        <p:nvPicPr>
          <p:cNvPr id="68" name="Picture 67" descr="\\MAGNUM\Projects\Microsoft\Cloud Power FY12\Design\ICONS_PNG\Application.png"/>
          <p:cNvPicPr>
            <a:picLocks noChangeAspect="1" noChangeArrowheads="1"/>
          </p:cNvPicPr>
          <p:nvPr/>
        </p:nvPicPr>
        <p:blipFill>
          <a:blip r:embed="rId7" cstate="print">
            <a:biLevel thresh="25000"/>
            <a:extLst>
              <a:ext uri="{BEBA8EAE-BF5A-486C-A8C5-ECC9F3942E4B}">
                <a14:imgProps xmlns:a14="http://schemas.microsoft.com/office/drawing/2010/main">
                  <a14:imgLayer r:embed="rId8">
                    <a14:imgEffect>
                      <a14:colorTemperature colorTemp="11200"/>
                    </a14:imgEffect>
                    <a14:imgEffect>
                      <a14:saturation sat="400000"/>
                    </a14:imgEffect>
                  </a14:imgLayer>
                </a14:imgProps>
              </a:ext>
            </a:extLst>
          </a:blip>
          <a:srcRect/>
          <a:stretch>
            <a:fillRect/>
          </a:stretch>
        </p:blipFill>
        <p:spPr bwMode="auto">
          <a:xfrm>
            <a:off x="1739689" y="2810013"/>
            <a:ext cx="965781" cy="965530"/>
          </a:xfrm>
          <a:prstGeom prst="rect">
            <a:avLst/>
          </a:prstGeom>
          <a:noFill/>
          <a:effectLst/>
        </p:spPr>
      </p:pic>
      <p:pic>
        <p:nvPicPr>
          <p:cNvPr id="73" name="Picture 72" descr="\\MAGNUM\Projects\Microsoft\Cloud Power FY12\Design\ICONS_PNG\Application.png"/>
          <p:cNvPicPr>
            <a:picLocks noChangeAspect="1" noChangeArrowheads="1"/>
          </p:cNvPicPr>
          <p:nvPr/>
        </p:nvPicPr>
        <p:blipFill>
          <a:blip r:embed="rId7" cstate="print">
            <a:biLevel thresh="25000"/>
            <a:extLst>
              <a:ext uri="{BEBA8EAE-BF5A-486C-A8C5-ECC9F3942E4B}">
                <a14:imgProps xmlns:a14="http://schemas.microsoft.com/office/drawing/2010/main">
                  <a14:imgLayer r:embed="rId8">
                    <a14:imgEffect>
                      <a14:colorTemperature colorTemp="11200"/>
                    </a14:imgEffect>
                    <a14:imgEffect>
                      <a14:saturation sat="400000"/>
                    </a14:imgEffect>
                  </a14:imgLayer>
                </a14:imgProps>
              </a:ext>
            </a:extLst>
          </a:blip>
          <a:srcRect/>
          <a:stretch>
            <a:fillRect/>
          </a:stretch>
        </p:blipFill>
        <p:spPr bwMode="auto">
          <a:xfrm>
            <a:off x="1741109" y="2811432"/>
            <a:ext cx="965781" cy="965530"/>
          </a:xfrm>
          <a:prstGeom prst="rect">
            <a:avLst/>
          </a:prstGeom>
          <a:noFill/>
          <a:effectLst/>
        </p:spPr>
      </p:pic>
      <p:grpSp>
        <p:nvGrpSpPr>
          <p:cNvPr id="19" name="Group 18"/>
          <p:cNvGrpSpPr/>
          <p:nvPr/>
        </p:nvGrpSpPr>
        <p:grpSpPr>
          <a:xfrm>
            <a:off x="860317" y="2905558"/>
            <a:ext cx="819510" cy="890771"/>
            <a:chOff x="1376491" y="3774250"/>
            <a:chExt cx="1311215" cy="1425234"/>
          </a:xfrm>
        </p:grpSpPr>
        <p:pic>
          <p:nvPicPr>
            <p:cNvPr id="70" name="Picture 2" descr="\\MAGNUM\Projects\Microsoft\Cloud Power FY12\Design\ICONS_PNG\Devices.png"/>
            <p:cNvPicPr>
              <a:picLocks noChangeAspect="1" noChangeArrowheads="1"/>
            </p:cNvPicPr>
            <p:nvPr/>
          </p:nvPicPr>
          <p:blipFill>
            <a:blip r:embed="rId9" cstate="print">
              <a:biLevel thresh="25000"/>
            </a:blip>
            <a:srcRect r="54000" b="50000"/>
            <a:stretch>
              <a:fillRect/>
            </a:stretch>
          </p:blipFill>
          <p:spPr bwMode="auto">
            <a:xfrm>
              <a:off x="1376491" y="3774250"/>
              <a:ext cx="1311215" cy="1425234"/>
            </a:xfrm>
            <a:prstGeom prst="rect">
              <a:avLst/>
            </a:prstGeom>
            <a:noFill/>
            <a:ln>
              <a:noFill/>
            </a:ln>
          </p:spPr>
        </p:pic>
        <p:sp>
          <p:nvSpPr>
            <p:cNvPr id="72" name="Freeform 92"/>
            <p:cNvSpPr>
              <a:spLocks noEditPoints="1"/>
            </p:cNvSpPr>
            <p:nvPr/>
          </p:nvSpPr>
          <p:spPr bwMode="black">
            <a:xfrm rot="510586">
              <a:off x="1847084" y="4112366"/>
              <a:ext cx="368787" cy="502472"/>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chemeClr val="tx1">
                <a:lumMod val="50000"/>
                <a:lumOff val="5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grpSp>
        <p:nvGrpSpPr>
          <p:cNvPr id="15" name="Group 14"/>
          <p:cNvGrpSpPr/>
          <p:nvPr/>
        </p:nvGrpSpPr>
        <p:grpSpPr>
          <a:xfrm>
            <a:off x="69938" y="3546619"/>
            <a:ext cx="492211" cy="532892"/>
            <a:chOff x="-3235036" y="4476478"/>
            <a:chExt cx="787538" cy="852627"/>
          </a:xfrm>
          <a:solidFill>
            <a:srgbClr val="191919"/>
          </a:solidFill>
        </p:grpSpPr>
        <p:sp>
          <p:nvSpPr>
            <p:cNvPr id="11" name="Rounded Rectangle 10"/>
            <p:cNvSpPr/>
            <p:nvPr/>
          </p:nvSpPr>
          <p:spPr bwMode="auto">
            <a:xfrm>
              <a:off x="-3173471" y="4476478"/>
              <a:ext cx="651123" cy="852627"/>
            </a:xfrm>
            <a:prstGeom prst="roundRect">
              <a:avLst/>
            </a:prstGeom>
            <a:grpFill/>
            <a:ln w="38100">
              <a:solidFill>
                <a:schemeClr val="tx1">
                  <a:lumMod val="50000"/>
                  <a:lumOff val="50000"/>
                </a:schemeClr>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70309"/>
              <a:endParaRPr lang="en-US" sz="1100" dirty="0">
                <a:gradFill>
                  <a:gsLst>
                    <a:gs pos="0">
                      <a:srgbClr val="FFFFFF"/>
                    </a:gs>
                    <a:gs pos="100000">
                      <a:srgbClr val="FFFFFF"/>
                    </a:gs>
                  </a:gsLst>
                  <a:lin ang="5400000" scaled="0"/>
                </a:gradFill>
              </a:endParaRPr>
            </a:p>
          </p:txBody>
        </p:sp>
        <p:sp>
          <p:nvSpPr>
            <p:cNvPr id="12" name="Rectangle 11"/>
            <p:cNvSpPr/>
            <p:nvPr/>
          </p:nvSpPr>
          <p:spPr bwMode="auto">
            <a:xfrm>
              <a:off x="-3075984" y="4620289"/>
              <a:ext cx="469434" cy="393769"/>
            </a:xfrm>
            <a:prstGeom prst="rect">
              <a:avLst/>
            </a:prstGeom>
            <a:solidFill>
              <a:schemeClr val="accent1"/>
            </a:solidFill>
            <a:ln w="9525" cap="flat" cmpd="sng" algn="ctr">
              <a:noFill/>
              <a:prstDash val="solid"/>
            </a:ln>
            <a:effectLst/>
          </p:spPr>
          <p:txBody>
            <a:bodyPr lIns="261154" tIns="130578" rIns="261154" bIns="457200" rtlCol="0" anchor="b" anchorCtr="0"/>
            <a:lstStyle/>
            <a:p>
              <a:pPr algn="r" defTabSz="1086368"/>
              <a:endParaRPr lang="en-US" sz="1800" dirty="0">
                <a:solidFill>
                  <a:srgbClr val="FFFFFF">
                    <a:alpha val="99000"/>
                  </a:srgbClr>
                </a:solidFill>
                <a:ea typeface="Segoe UI" pitchFamily="34" charset="0"/>
                <a:cs typeface="Segoe UI" pitchFamily="34" charset="0"/>
              </a:endParaRPr>
            </a:p>
          </p:txBody>
        </p:sp>
        <p:pic>
          <p:nvPicPr>
            <p:cNvPr id="71" name="Picture 2"/>
            <p:cNvPicPr>
              <a:picLocks noChangeAspect="1" noChangeArrowheads="1"/>
            </p:cNvPicPr>
            <p:nvPr/>
          </p:nvPicPr>
          <p:blipFill rotWithShape="1">
            <a:blip r:embed="rId4" cstate="print">
              <a:biLevel thresh="25000"/>
            </a:blip>
            <a:srcRect b="50000"/>
            <a:stretch/>
          </p:blipFill>
          <p:spPr bwMode="auto">
            <a:xfrm>
              <a:off x="-3235036" y="4620288"/>
              <a:ext cx="787538" cy="393769"/>
            </a:xfrm>
            <a:prstGeom prst="rect">
              <a:avLst/>
            </a:prstGeom>
            <a:noFill/>
            <a:ln>
              <a:noFill/>
            </a:ln>
          </p:spPr>
        </p:pic>
      </p:grpSp>
      <p:grpSp>
        <p:nvGrpSpPr>
          <p:cNvPr id="21" name="Group 20"/>
          <p:cNvGrpSpPr/>
          <p:nvPr/>
        </p:nvGrpSpPr>
        <p:grpSpPr>
          <a:xfrm>
            <a:off x="859927" y="2905558"/>
            <a:ext cx="819510" cy="890771"/>
            <a:chOff x="-1996217" y="7516983"/>
            <a:chExt cx="1311215" cy="1425234"/>
          </a:xfrm>
        </p:grpSpPr>
        <p:pic>
          <p:nvPicPr>
            <p:cNvPr id="60" name="Picture 2" descr="\\MAGNUM\Projects\Microsoft\Cloud Power FY12\Design\ICONS_PNG\Devices.png"/>
            <p:cNvPicPr>
              <a:picLocks noChangeAspect="1" noChangeArrowheads="1"/>
            </p:cNvPicPr>
            <p:nvPr/>
          </p:nvPicPr>
          <p:blipFill>
            <a:blip r:embed="rId9" cstate="print">
              <a:biLevel thresh="25000"/>
            </a:blip>
            <a:srcRect r="54000" b="50000"/>
            <a:stretch>
              <a:fillRect/>
            </a:stretch>
          </p:blipFill>
          <p:spPr bwMode="auto">
            <a:xfrm>
              <a:off x="-1996217" y="7516983"/>
              <a:ext cx="1311215" cy="1425234"/>
            </a:xfrm>
            <a:prstGeom prst="rect">
              <a:avLst/>
            </a:prstGeom>
            <a:noFill/>
            <a:ln>
              <a:noFill/>
            </a:ln>
          </p:spPr>
        </p:pic>
        <p:pic>
          <p:nvPicPr>
            <p:cNvPr id="61" name="Picture 2"/>
            <p:cNvPicPr>
              <a:picLocks noChangeAspect="1" noChangeArrowheads="1"/>
            </p:cNvPicPr>
            <p:nvPr/>
          </p:nvPicPr>
          <p:blipFill rotWithShape="1">
            <a:blip r:embed="rId10" cstate="print">
              <a:biLevel thresh="25000"/>
              <a:extLst>
                <a:ext uri="{28A0092B-C50C-407E-A947-70E740481C1C}">
                  <a14:useLocalDpi xmlns:a14="http://schemas.microsoft.com/office/drawing/2010/main" val="0"/>
                </a:ext>
              </a:extLst>
            </a:blip>
            <a:srcRect r="81488"/>
            <a:stretch/>
          </p:blipFill>
          <p:spPr bwMode="auto">
            <a:xfrm>
              <a:off x="-1568818" y="7827632"/>
              <a:ext cx="511007" cy="56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6" name="Picture 2" descr="\\MAGNUM\Projects\Microsoft\Cloud Power FY12\Design\ICONS_PNG\Devices.png"/>
          <p:cNvPicPr>
            <a:picLocks noChangeAspect="1" noChangeArrowheads="1"/>
          </p:cNvPicPr>
          <p:nvPr/>
        </p:nvPicPr>
        <p:blipFill>
          <a:blip r:embed="rId9" cstate="print">
            <a:biLevel thresh="25000"/>
          </a:blip>
          <a:srcRect r="54000" b="50000"/>
          <a:stretch>
            <a:fillRect/>
          </a:stretch>
        </p:blipFill>
        <p:spPr bwMode="auto">
          <a:xfrm>
            <a:off x="861387" y="2894728"/>
            <a:ext cx="819510" cy="890771"/>
          </a:xfrm>
          <a:prstGeom prst="rect">
            <a:avLst/>
          </a:prstGeom>
          <a:noFill/>
          <a:ln>
            <a:noFill/>
          </a:ln>
        </p:spPr>
      </p:pic>
      <p:sp>
        <p:nvSpPr>
          <p:cNvPr id="23" name="Freeform 22"/>
          <p:cNvSpPr/>
          <p:nvPr/>
        </p:nvSpPr>
        <p:spPr bwMode="auto">
          <a:xfrm>
            <a:off x="1515223" y="3334040"/>
            <a:ext cx="388108" cy="153861"/>
          </a:xfrm>
          <a:custGeom>
            <a:avLst/>
            <a:gdLst>
              <a:gd name="connsiteX0" fmla="*/ 0 w 1241946"/>
              <a:gd name="connsiteY0" fmla="*/ 0 h 246177"/>
              <a:gd name="connsiteX1" fmla="*/ 341194 w 1241946"/>
              <a:gd name="connsiteY1" fmla="*/ 245660 h 246177"/>
              <a:gd name="connsiteX2" fmla="*/ 655092 w 1241946"/>
              <a:gd name="connsiteY2" fmla="*/ 68239 h 246177"/>
              <a:gd name="connsiteX3" fmla="*/ 996286 w 1241946"/>
              <a:gd name="connsiteY3" fmla="*/ 191069 h 246177"/>
              <a:gd name="connsiteX4" fmla="*/ 1241946 w 1241946"/>
              <a:gd name="connsiteY4" fmla="*/ 95535 h 246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1946" h="246177">
                <a:moveTo>
                  <a:pt x="0" y="0"/>
                </a:moveTo>
                <a:cubicBezTo>
                  <a:pt x="116006" y="117143"/>
                  <a:pt x="232012" y="234287"/>
                  <a:pt x="341194" y="245660"/>
                </a:cubicBezTo>
                <a:cubicBezTo>
                  <a:pt x="450376" y="257033"/>
                  <a:pt x="545910" y="77338"/>
                  <a:pt x="655092" y="68239"/>
                </a:cubicBezTo>
                <a:cubicBezTo>
                  <a:pt x="764274" y="59140"/>
                  <a:pt x="898477" y="186520"/>
                  <a:pt x="996286" y="191069"/>
                </a:cubicBezTo>
                <a:cubicBezTo>
                  <a:pt x="1094095" y="195618"/>
                  <a:pt x="1207827" y="100084"/>
                  <a:pt x="1241946" y="95535"/>
                </a:cubicBezTo>
              </a:path>
            </a:pathLst>
          </a:custGeom>
          <a:noFill/>
          <a:ln w="57150">
            <a:solidFill>
              <a:schemeClr val="accent2">
                <a:lumMod val="90000"/>
              </a:schemeClr>
            </a:solidFill>
            <a:prstDash val="sysDot"/>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57047" tIns="28520" rIns="57047" bIns="28520" rtlCol="0" anchor="ctr"/>
          <a:lstStyle/>
          <a:p>
            <a:pPr algn="ctr"/>
            <a:endParaRPr lang="en-US" dirty="0">
              <a:solidFill>
                <a:srgbClr val="FFFFFF"/>
              </a:solidFill>
            </a:endParaRPr>
          </a:p>
        </p:txBody>
      </p:sp>
      <p:pic>
        <p:nvPicPr>
          <p:cNvPr id="56" name="Picture 55" descr="\\MAGNUM\Projects\Microsoft\Cloud Power FY12\Design\ICONS_PNG\Application.png"/>
          <p:cNvPicPr>
            <a:picLocks noChangeAspect="1" noChangeArrowheads="1"/>
          </p:cNvPicPr>
          <p:nvPr/>
        </p:nvPicPr>
        <p:blipFill>
          <a:blip r:embed="rId7" cstate="print">
            <a:biLevel thresh="25000"/>
            <a:extLst>
              <a:ext uri="{BEBA8EAE-BF5A-486C-A8C5-ECC9F3942E4B}">
                <a14:imgProps xmlns:a14="http://schemas.microsoft.com/office/drawing/2010/main">
                  <a14:imgLayer r:embed="rId8">
                    <a14:imgEffect>
                      <a14:colorTemperature colorTemp="11200"/>
                    </a14:imgEffect>
                    <a14:imgEffect>
                      <a14:saturation sat="400000"/>
                    </a14:imgEffect>
                  </a14:imgLayer>
                </a14:imgProps>
              </a:ext>
            </a:extLst>
          </a:blip>
          <a:srcRect/>
          <a:stretch>
            <a:fillRect/>
          </a:stretch>
        </p:blipFill>
        <p:spPr bwMode="auto">
          <a:xfrm>
            <a:off x="359154" y="3373239"/>
            <a:ext cx="965781" cy="965530"/>
          </a:xfrm>
          <a:prstGeom prst="rect">
            <a:avLst/>
          </a:prstGeom>
          <a:noFill/>
          <a:effectLst/>
        </p:spPr>
      </p:pic>
      <p:pic>
        <p:nvPicPr>
          <p:cNvPr id="62" name="Picture 2"/>
          <p:cNvPicPr>
            <a:picLocks noChangeAspect="1" noChangeArrowheads="1"/>
          </p:cNvPicPr>
          <p:nvPr/>
        </p:nvPicPr>
        <p:blipFill>
          <a:blip r:embed="rId11" cstate="print">
            <a:lum bright="100000"/>
          </a:blip>
          <a:stretch>
            <a:fillRect/>
          </a:stretch>
        </p:blipFill>
        <p:spPr bwMode="auto">
          <a:xfrm>
            <a:off x="3596790" y="3882615"/>
            <a:ext cx="2018247" cy="547666"/>
          </a:xfrm>
          <a:prstGeom prst="rect">
            <a:avLst/>
          </a:prstGeom>
          <a:noFill/>
          <a:ln w="9525">
            <a:noFill/>
            <a:miter lim="800000"/>
            <a:headEnd/>
            <a:tailEnd/>
          </a:ln>
          <a:effectLst/>
        </p:spPr>
      </p:pic>
      <p:pic>
        <p:nvPicPr>
          <p:cNvPr id="65" name="Picture 18" descr="https://mediabank.partners.extranet.microsoft.com/Assets/Active/U-Z/Windows_Server/Windows_Server_2003/Windows_Server_2003_Active_Directory/Logos+Logotypes/Horizontal/ws03-active_h_bL_r.png"/>
          <p:cNvPicPr>
            <a:picLocks noChangeAspect="1" noChangeArrowheads="1"/>
          </p:cNvPicPr>
          <p:nvPr/>
        </p:nvPicPr>
        <p:blipFill rotWithShape="1">
          <a:blip r:embed="rId12" cstate="print">
            <a:lum bright="70000" contrast="-70000"/>
            <a:extLst>
              <a:ext uri="{28A0092B-C50C-407E-A947-70E740481C1C}">
                <a14:useLocalDpi xmlns:a14="http://schemas.microsoft.com/office/drawing/2010/main" val="0"/>
              </a:ext>
            </a:extLst>
          </a:blip>
          <a:srcRect r="14196"/>
          <a:stretch/>
        </p:blipFill>
        <p:spPr bwMode="auto">
          <a:xfrm>
            <a:off x="406082" y="4182452"/>
            <a:ext cx="2001733" cy="5239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7" name="Picture 6" descr="https://mediabank.partners.extranet.microsoft.com/Assets/Active/U-Z/Windows_Azure/Windows_Azure/Logos+Logotypes/Horizontal/black-line-art/WinAzure_bL.png"/>
          <p:cNvPicPr>
            <a:picLocks noChangeAspect="1" noChangeArrowheads="1"/>
          </p:cNvPicPr>
          <p:nvPr/>
        </p:nvPicPr>
        <p:blipFill>
          <a:blip r:embed="rId13" cstate="print">
            <a:lum bright="100000" contrast="100000"/>
          </a:blip>
          <a:stretch>
            <a:fillRect/>
          </a:stretch>
        </p:blipFill>
        <p:spPr bwMode="auto">
          <a:xfrm>
            <a:off x="3455892" y="2509566"/>
            <a:ext cx="2362356" cy="274592"/>
          </a:xfrm>
          <a:prstGeom prst="rect">
            <a:avLst/>
          </a:prstGeom>
          <a:noFill/>
        </p:spPr>
      </p:pic>
      <p:pic>
        <p:nvPicPr>
          <p:cNvPr id="78" name="Picture 2"/>
          <p:cNvPicPr>
            <a:picLocks noChangeAspect="1" noChangeArrowheads="1"/>
          </p:cNvPicPr>
          <p:nvPr/>
        </p:nvPicPr>
        <p:blipFill>
          <a:blip r:embed="rId11" cstate="print">
            <a:lum bright="100000"/>
          </a:blip>
          <a:stretch>
            <a:fillRect/>
          </a:stretch>
        </p:blipFill>
        <p:spPr bwMode="auto">
          <a:xfrm>
            <a:off x="5203896" y="3875211"/>
            <a:ext cx="2018247" cy="547666"/>
          </a:xfrm>
          <a:prstGeom prst="rect">
            <a:avLst/>
          </a:prstGeom>
          <a:noFill/>
          <a:ln w="9525">
            <a:noFill/>
            <a:miter lim="800000"/>
            <a:headEnd/>
            <a:tailEnd/>
          </a:ln>
          <a:effectLst/>
        </p:spPr>
      </p:pic>
      <p:pic>
        <p:nvPicPr>
          <p:cNvPr id="79" name="Picture 6" descr="https://mediabank.partners.extranet.microsoft.com/Assets/Active/U-Z/Windows_Azure/Windows_Azure/Logos+Logotypes/Horizontal/black-line-art/WinAzure_bL.png"/>
          <p:cNvPicPr>
            <a:picLocks noChangeAspect="1" noChangeArrowheads="1"/>
          </p:cNvPicPr>
          <p:nvPr/>
        </p:nvPicPr>
        <p:blipFill>
          <a:blip r:embed="rId13" cstate="print">
            <a:lum bright="100000" contrast="100000"/>
          </a:blip>
          <a:stretch>
            <a:fillRect/>
          </a:stretch>
        </p:blipFill>
        <p:spPr bwMode="auto">
          <a:xfrm>
            <a:off x="5203896" y="2509576"/>
            <a:ext cx="2298637" cy="267185"/>
          </a:xfrm>
          <a:prstGeom prst="rect">
            <a:avLst/>
          </a:prstGeom>
          <a:noFill/>
        </p:spPr>
      </p:pic>
      <p:pic>
        <p:nvPicPr>
          <p:cNvPr id="80" name="Picture 8"/>
          <p:cNvPicPr>
            <a:picLocks noChangeAspect="1" noChangeArrowheads="1"/>
          </p:cNvPicPr>
          <p:nvPr/>
        </p:nvPicPr>
        <p:blipFill>
          <a:blip r:embed="rId14">
            <a:extLst>
              <a:ext uri="{28A0092B-C50C-407E-A947-70E740481C1C}">
                <a14:useLocalDpi xmlns:a14="http://schemas.microsoft.com/office/drawing/2010/main" val="0"/>
              </a:ext>
            </a:extLst>
          </a:blip>
          <a:stretch>
            <a:fillRect/>
          </a:stretch>
        </p:blipFill>
        <p:spPr bwMode="auto">
          <a:xfrm>
            <a:off x="204254" y="4149033"/>
            <a:ext cx="2164957" cy="458608"/>
          </a:xfrm>
          <a:prstGeom prst="rect">
            <a:avLst/>
          </a:prstGeom>
          <a:noFill/>
          <a:ln>
            <a:noFill/>
          </a:ln>
        </p:spPr>
      </p:pic>
      <p:grpSp>
        <p:nvGrpSpPr>
          <p:cNvPr id="26" name="Group 25"/>
          <p:cNvGrpSpPr/>
          <p:nvPr/>
        </p:nvGrpSpPr>
        <p:grpSpPr>
          <a:xfrm>
            <a:off x="234497" y="2290969"/>
            <a:ext cx="2294707" cy="2695862"/>
            <a:chOff x="375182" y="2790915"/>
            <a:chExt cx="3671531" cy="4313379"/>
          </a:xfrm>
        </p:grpSpPr>
        <p:grpSp>
          <p:nvGrpSpPr>
            <p:cNvPr id="25" name="Group 24"/>
            <p:cNvGrpSpPr/>
            <p:nvPr/>
          </p:nvGrpSpPr>
          <p:grpSpPr>
            <a:xfrm>
              <a:off x="375182" y="2790915"/>
              <a:ext cx="3312587" cy="3636022"/>
              <a:chOff x="375182" y="2790915"/>
              <a:chExt cx="3312587" cy="3636022"/>
            </a:xfrm>
          </p:grpSpPr>
          <p:grpSp>
            <p:nvGrpSpPr>
              <p:cNvPr id="7" name="Group 6"/>
              <p:cNvGrpSpPr/>
              <p:nvPr/>
            </p:nvGrpSpPr>
            <p:grpSpPr>
              <a:xfrm>
                <a:off x="375182" y="2790915"/>
                <a:ext cx="3312587" cy="600678"/>
                <a:chOff x="9190483" y="816362"/>
                <a:chExt cx="3312587" cy="600678"/>
              </a:xfrm>
            </p:grpSpPr>
            <p:pic>
              <p:nvPicPr>
                <p:cNvPr id="52" name="Picture 4" descr="http://www.jbase.com/new/products/images/java.png"/>
                <p:cNvPicPr>
                  <a:picLocks noChangeAspect="1" noChangeArrowheads="1"/>
                </p:cNvPicPr>
                <p:nvPr/>
              </p:nvPicPr>
              <p:blipFill>
                <a:blip r:embed="rId15" cstate="print">
                  <a:biLevel thresh="25000"/>
                </a:blip>
                <a:srcRect/>
                <a:stretch>
                  <a:fillRect/>
                </a:stretch>
              </p:blipFill>
              <p:spPr bwMode="auto">
                <a:xfrm>
                  <a:off x="11103027" y="816362"/>
                  <a:ext cx="322024" cy="600678"/>
                </a:xfrm>
                <a:prstGeom prst="rect">
                  <a:avLst/>
                </a:prstGeom>
                <a:noFill/>
              </p:spPr>
            </p:pic>
            <p:pic>
              <p:nvPicPr>
                <p:cNvPr id="57" name="Picture 56" descr="PHP.png"/>
                <p:cNvPicPr>
                  <a:picLocks noChangeAspect="1"/>
                </p:cNvPicPr>
                <p:nvPr/>
              </p:nvPicPr>
              <p:blipFill>
                <a:blip r:embed="rId16" cstate="print">
                  <a:duotone>
                    <a:prstClr val="black"/>
                    <a:schemeClr val="tx1">
                      <a:tint val="45000"/>
                      <a:satMod val="400000"/>
                    </a:schemeClr>
                  </a:duotone>
                </a:blip>
                <a:stretch>
                  <a:fillRect/>
                </a:stretch>
              </p:blipFill>
              <p:spPr>
                <a:xfrm>
                  <a:off x="11809792" y="1052514"/>
                  <a:ext cx="693278" cy="364526"/>
                </a:xfrm>
                <a:prstGeom prst="rect">
                  <a:avLst/>
                </a:prstGeom>
                <a:noFill/>
              </p:spPr>
            </p:pic>
            <p:pic>
              <p:nvPicPr>
                <p:cNvPr id="58" name="Picture 2" descr="https://mediabank.partners.extranet.microsoft.com/Assets/Active/M-Q/Microsoft_.NET/Microsoft_NET_ADO_.NET/Logos+Logotypes/NET-ADO_bL.png"/>
                <p:cNvPicPr>
                  <a:picLocks noChangeAspect="1" noChangeArrowheads="1"/>
                </p:cNvPicPr>
                <p:nvPr/>
              </p:nvPicPr>
              <p:blipFill>
                <a:blip r:embed="rId17" cstate="print">
                  <a:alphaModFix/>
                  <a:lum bright="70000" contrast="-70000"/>
                </a:blip>
                <a:srcRect r="31488"/>
                <a:stretch>
                  <a:fillRect/>
                </a:stretch>
              </p:blipFill>
              <p:spPr bwMode="auto">
                <a:xfrm>
                  <a:off x="9190483" y="983445"/>
                  <a:ext cx="1500645" cy="433595"/>
                </a:xfrm>
                <a:prstGeom prst="rect">
                  <a:avLst/>
                </a:prstGeom>
                <a:noFill/>
              </p:spPr>
            </p:pic>
          </p:grpSp>
          <p:pic>
            <p:nvPicPr>
              <p:cNvPr id="82" name="Picture 3" descr="\\eventsql\dvd\Online_ART\DVD_Art_Sept-2-2010\Logos\Visual Studio\_Visual Studio (Brand)\VS_h_rgb_r.png"/>
              <p:cNvPicPr>
                <a:picLocks noChangeAspect="1" noChangeArrowheads="1"/>
              </p:cNvPicPr>
              <p:nvPr/>
            </p:nvPicPr>
            <p:blipFill rotWithShape="1">
              <a:blip r:embed="rId18" cstate="print">
                <a:duotone>
                  <a:prstClr val="black"/>
                  <a:schemeClr val="tx1">
                    <a:tint val="45000"/>
                    <a:satMod val="400000"/>
                  </a:schemeClr>
                </a:duotone>
                <a:extLst>
                  <a:ext uri="{28A0092B-C50C-407E-A947-70E740481C1C}">
                    <a14:useLocalDpi xmlns:a14="http://schemas.microsoft.com/office/drawing/2010/main" val="0"/>
                  </a:ext>
                </a:extLst>
              </a:blip>
              <a:srcRect l="30408"/>
              <a:stretch/>
            </p:blipFill>
            <p:spPr bwMode="auto">
              <a:xfrm>
                <a:off x="391298" y="6059124"/>
                <a:ext cx="1728589" cy="367813"/>
              </a:xfrm>
              <a:prstGeom prst="rect">
                <a:avLst/>
              </a:prstGeom>
              <a:noFill/>
              <a:ln>
                <a:noFill/>
              </a:ln>
              <a:extLst/>
            </p:spPr>
          </p:pic>
        </p:grpSp>
        <p:pic>
          <p:nvPicPr>
            <p:cNvPr id="83" name="Picture 9" descr="\\magnum\Projects\Microsoft\Cloud Power FY12\Design\Icons\PNGs\Eclipse.png"/>
            <p:cNvPicPr>
              <a:picLocks noChangeAspect="1" noChangeArrowheads="1"/>
            </p:cNvPicPr>
            <p:nvPr/>
          </p:nvPicPr>
          <p:blipFill>
            <a:blip r:embed="rId19" cstate="print">
              <a:biLevel thresh="25000"/>
            </a:blip>
            <a:stretch>
              <a:fillRect/>
            </a:stretch>
          </p:blipFill>
          <p:spPr bwMode="auto">
            <a:xfrm>
              <a:off x="2371618" y="5429199"/>
              <a:ext cx="1675095" cy="1675095"/>
            </a:xfrm>
            <a:prstGeom prst="rect">
              <a:avLst/>
            </a:prstGeom>
            <a:noFill/>
            <a:ln>
              <a:noFill/>
            </a:ln>
          </p:spPr>
        </p:pic>
      </p:grpSp>
      <p:pic>
        <p:nvPicPr>
          <p:cNvPr id="85" name="Picture 3" descr="\\eventsql\dvd\Online_ART\DVD_Art_Sept-2-2010\Logos\Visual Studio\_Visual Studio (Brand)\VS_h_rgb_r.png"/>
          <p:cNvPicPr>
            <a:picLocks noChangeAspect="1" noChangeArrowheads="1"/>
          </p:cNvPicPr>
          <p:nvPr/>
        </p:nvPicPr>
        <p:blipFill rotWithShape="1">
          <a:blip r:embed="rId18" cstate="print">
            <a:lum bright="70000" contrast="-70000"/>
            <a:extLst>
              <a:ext uri="{28A0092B-C50C-407E-A947-70E740481C1C}">
                <a14:useLocalDpi xmlns:a14="http://schemas.microsoft.com/office/drawing/2010/main" val="0"/>
              </a:ext>
            </a:extLst>
          </a:blip>
          <a:srcRect r="68981"/>
          <a:stretch/>
        </p:blipFill>
        <p:spPr bwMode="auto">
          <a:xfrm>
            <a:off x="1061379" y="3203652"/>
            <a:ext cx="373425" cy="178265"/>
          </a:xfrm>
          <a:prstGeom prst="rect">
            <a:avLst/>
          </a:prstGeom>
          <a:noFill/>
          <a:ln>
            <a:noFill/>
          </a:ln>
          <a:extLst/>
        </p:spPr>
      </p:pic>
      <p:sp>
        <p:nvSpPr>
          <p:cNvPr id="64"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75"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0"/>
              </a:rPr>
              <a:t>www.rapidbbs.cn</a:t>
            </a:r>
            <a:endParaRPr lang="zh-CN" altLang="en-US" sz="1200" b="0">
              <a:latin typeface="Arial" charset="0"/>
              <a:ea typeface="ＭＳ Ｐゴシック" pitchFamily="34" charset="-128"/>
            </a:endParaRPr>
          </a:p>
        </p:txBody>
      </p:sp>
      <p:pic>
        <p:nvPicPr>
          <p:cNvPr id="81" name="Picture 2">
            <a:hlinkClick r:id="rId20"/>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94891938"/>
      </p:ext>
    </p:extLst>
  </p:cSld>
  <p:clrMapOvr>
    <a:masterClrMapping/>
  </p:clrMapOvr>
  <p:transition>
    <p:wipe di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2"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2"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4"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500"/>
                                        <p:tgtEl>
                                          <p:spTgt spid="20"/>
                                        </p:tgtEl>
                                      </p:cBhvr>
                                    </p:animEffect>
                                  </p:childTnLst>
                                </p:cTn>
                              </p:par>
                              <p:par>
                                <p:cTn id="14" presetID="10" presetClass="entr" presetSubtype="0" fill="hold" grpId="3" nodeType="with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500"/>
                                        <p:tgtEl>
                                          <p:spTgt spid="6"/>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xit" presetSubtype="0" fill="hold" nodeType="clickEffect">
                                  <p:stCondLst>
                                    <p:cond delay="0"/>
                                  </p:stCondLst>
                                  <p:childTnLst>
                                    <p:animEffect transition="out" filter="fade">
                                      <p:cBhvr>
                                        <p:cTn id="20" dur="1500"/>
                                        <p:tgtEl>
                                          <p:spTgt spid="62"/>
                                        </p:tgtEl>
                                      </p:cBhvr>
                                    </p:animEffect>
                                    <p:set>
                                      <p:cBhvr>
                                        <p:cTn id="21" dur="1" fill="hold">
                                          <p:stCondLst>
                                            <p:cond delay="1499"/>
                                          </p:stCondLst>
                                        </p:cTn>
                                        <p:tgtEl>
                                          <p:spTgt spid="62"/>
                                        </p:tgtEl>
                                        <p:attrNameLst>
                                          <p:attrName>style.visibility</p:attrName>
                                        </p:attrNameLst>
                                      </p:cBhvr>
                                      <p:to>
                                        <p:strVal val="hidden"/>
                                      </p:to>
                                    </p:set>
                                  </p:childTnLst>
                                </p:cTn>
                              </p:par>
                              <p:par>
                                <p:cTn id="22" presetID="10" presetClass="exit" presetSubtype="0" fill="hold" nodeType="withEffect">
                                  <p:stCondLst>
                                    <p:cond delay="0"/>
                                  </p:stCondLst>
                                  <p:childTnLst>
                                    <p:animEffect transition="out" filter="fade">
                                      <p:cBhvr>
                                        <p:cTn id="23" dur="2000"/>
                                        <p:tgtEl>
                                          <p:spTgt spid="77"/>
                                        </p:tgtEl>
                                      </p:cBhvr>
                                    </p:animEffect>
                                    <p:set>
                                      <p:cBhvr>
                                        <p:cTn id="24" dur="1" fill="hold">
                                          <p:stCondLst>
                                            <p:cond delay="1999"/>
                                          </p:stCondLst>
                                        </p:cTn>
                                        <p:tgtEl>
                                          <p:spTgt spid="77"/>
                                        </p:tgtEl>
                                        <p:attrNameLst>
                                          <p:attrName>style.visibility</p:attrName>
                                        </p:attrNameLst>
                                      </p:cBhvr>
                                      <p:to>
                                        <p:strVal val="hidden"/>
                                      </p:to>
                                    </p:set>
                                  </p:childTnLst>
                                </p:cTn>
                              </p:par>
                              <p:par>
                                <p:cTn id="25" presetID="10" presetClass="entr" presetSubtype="0" fill="hold" grpId="0" nodeType="withEffect">
                                  <p:stCondLst>
                                    <p:cond delay="0"/>
                                  </p:stCondLst>
                                  <p:childTnLst>
                                    <p:set>
                                      <p:cBhvr>
                                        <p:cTn id="26" dur="1" fill="hold">
                                          <p:stCondLst>
                                            <p:cond delay="0"/>
                                          </p:stCondLst>
                                        </p:cTn>
                                        <p:tgtEl>
                                          <p:spTgt spid="4"/>
                                        </p:tgtEl>
                                        <p:attrNameLst>
                                          <p:attrName>style.visibility</p:attrName>
                                        </p:attrNameLst>
                                      </p:cBhvr>
                                      <p:to>
                                        <p:strVal val="visible"/>
                                      </p:to>
                                    </p:set>
                                    <p:animEffect transition="in" filter="fade">
                                      <p:cBhvr>
                                        <p:cTn id="27" dur="1000"/>
                                        <p:tgtEl>
                                          <p:spTgt spid="4"/>
                                        </p:tgtEl>
                                      </p:cBhvr>
                                    </p:animEffect>
                                  </p:childTnLst>
                                </p:cTn>
                              </p:par>
                              <p:par>
                                <p:cTn id="28" presetID="42" presetClass="path" presetSubtype="0" accel="50000" decel="50000" fill="hold" grpId="0" nodeType="withEffect">
                                  <p:stCondLst>
                                    <p:cond delay="0"/>
                                  </p:stCondLst>
                                  <p:childTnLst>
                                    <p:animMotion origin="layout" path="M -7.29167E-7 1.48148E-6 L 0.29547 -0.00058 " pathEditMode="relative" rAng="0" ptsTypes="AA">
                                      <p:cBhvr>
                                        <p:cTn id="29" dur="1000" fill="hold"/>
                                        <p:tgtEl>
                                          <p:spTgt spid="14"/>
                                        </p:tgtEl>
                                        <p:attrNameLst>
                                          <p:attrName>ppt_x</p:attrName>
                                          <p:attrName>ppt_y</p:attrName>
                                        </p:attrNameLst>
                                      </p:cBhvr>
                                      <p:rCtr x="14768" y="-39"/>
                                    </p:animMotion>
                                  </p:childTnLst>
                                </p:cTn>
                              </p:par>
                            </p:childTnLst>
                          </p:cTn>
                        </p:par>
                        <p:par>
                          <p:cTn id="30" fill="hold">
                            <p:stCondLst>
                              <p:cond delay="2000"/>
                            </p:stCondLst>
                            <p:childTnLst>
                              <p:par>
                                <p:cTn id="31" presetID="10" presetClass="entr" presetSubtype="0" fill="hold" grpId="0" nodeType="afterEffect">
                                  <p:stCondLst>
                                    <p:cond delay="0"/>
                                  </p:stCondLst>
                                  <p:childTnLst>
                                    <p:set>
                                      <p:cBhvr>
                                        <p:cTn id="32" dur="1" fill="hold">
                                          <p:stCondLst>
                                            <p:cond delay="0"/>
                                          </p:stCondLst>
                                        </p:cTn>
                                        <p:tgtEl>
                                          <p:spTgt spid="10"/>
                                        </p:tgtEl>
                                        <p:attrNameLst>
                                          <p:attrName>style.visibility</p:attrName>
                                        </p:attrNameLst>
                                      </p:cBhvr>
                                      <p:to>
                                        <p:strVal val="visible"/>
                                      </p:to>
                                    </p:set>
                                    <p:animEffect transition="in" filter="fade">
                                      <p:cBhvr>
                                        <p:cTn id="33" dur="500"/>
                                        <p:tgtEl>
                                          <p:spTgt spid="10"/>
                                        </p:tgtEl>
                                      </p:cBhvr>
                                    </p:animEffect>
                                  </p:childTnLst>
                                </p:cTn>
                              </p:par>
                              <p:par>
                                <p:cTn id="34" presetID="10" presetClass="entr" presetSubtype="0" fill="hold" nodeType="withEffect">
                                  <p:stCondLst>
                                    <p:cond delay="0"/>
                                  </p:stCondLst>
                                  <p:childTnLst>
                                    <p:set>
                                      <p:cBhvr>
                                        <p:cTn id="35" dur="1" fill="hold">
                                          <p:stCondLst>
                                            <p:cond delay="0"/>
                                          </p:stCondLst>
                                        </p:cTn>
                                        <p:tgtEl>
                                          <p:spTgt spid="69"/>
                                        </p:tgtEl>
                                        <p:attrNameLst>
                                          <p:attrName>style.visibility</p:attrName>
                                        </p:attrNameLst>
                                      </p:cBhvr>
                                      <p:to>
                                        <p:strVal val="visible"/>
                                      </p:to>
                                    </p:set>
                                    <p:animEffect transition="in" filter="fade">
                                      <p:cBhvr>
                                        <p:cTn id="36" dur="500"/>
                                        <p:tgtEl>
                                          <p:spTgt spid="69"/>
                                        </p:tgtEl>
                                      </p:cBhvr>
                                    </p:animEffect>
                                  </p:childTnLst>
                                </p:cTn>
                              </p:par>
                              <p:par>
                                <p:cTn id="37" presetID="10" presetClass="entr" presetSubtype="0" fill="hold" nodeType="withEffect">
                                  <p:stCondLst>
                                    <p:cond delay="0"/>
                                  </p:stCondLst>
                                  <p:childTnLst>
                                    <p:set>
                                      <p:cBhvr>
                                        <p:cTn id="38" dur="1" fill="hold">
                                          <p:stCondLst>
                                            <p:cond delay="0"/>
                                          </p:stCondLst>
                                        </p:cTn>
                                        <p:tgtEl>
                                          <p:spTgt spid="66"/>
                                        </p:tgtEl>
                                        <p:attrNameLst>
                                          <p:attrName>style.visibility</p:attrName>
                                        </p:attrNameLst>
                                      </p:cBhvr>
                                      <p:to>
                                        <p:strVal val="visible"/>
                                      </p:to>
                                    </p:set>
                                    <p:animEffect transition="in" filter="fade">
                                      <p:cBhvr>
                                        <p:cTn id="39" dur="500"/>
                                        <p:tgtEl>
                                          <p:spTgt spid="66"/>
                                        </p:tgtEl>
                                      </p:cBhvr>
                                    </p:animEffect>
                                  </p:childTnLst>
                                </p:cTn>
                              </p:par>
                              <p:par>
                                <p:cTn id="40" presetID="10" presetClass="entr" presetSubtype="0" fill="hold" nodeType="withEffect">
                                  <p:stCondLst>
                                    <p:cond delay="0"/>
                                  </p:stCondLst>
                                  <p:childTnLst>
                                    <p:set>
                                      <p:cBhvr>
                                        <p:cTn id="41" dur="1" fill="hold">
                                          <p:stCondLst>
                                            <p:cond delay="0"/>
                                          </p:stCondLst>
                                        </p:cTn>
                                        <p:tgtEl>
                                          <p:spTgt spid="67"/>
                                        </p:tgtEl>
                                        <p:attrNameLst>
                                          <p:attrName>style.visibility</p:attrName>
                                        </p:attrNameLst>
                                      </p:cBhvr>
                                      <p:to>
                                        <p:strVal val="visible"/>
                                      </p:to>
                                    </p:set>
                                    <p:animEffect transition="in" filter="fade">
                                      <p:cBhvr>
                                        <p:cTn id="42" dur="500"/>
                                        <p:tgtEl>
                                          <p:spTgt spid="67"/>
                                        </p:tgtEl>
                                      </p:cBhvr>
                                    </p:animEffect>
                                  </p:childTnLst>
                                </p:cTn>
                              </p:par>
                              <p:par>
                                <p:cTn id="43" presetID="10" presetClass="entr" presetSubtype="0" fill="hold" nodeType="withEffect">
                                  <p:stCondLst>
                                    <p:cond delay="0"/>
                                  </p:stCondLst>
                                  <p:childTnLst>
                                    <p:set>
                                      <p:cBhvr>
                                        <p:cTn id="44" dur="1" fill="hold">
                                          <p:stCondLst>
                                            <p:cond delay="0"/>
                                          </p:stCondLst>
                                        </p:cTn>
                                        <p:tgtEl>
                                          <p:spTgt spid="65"/>
                                        </p:tgtEl>
                                        <p:attrNameLst>
                                          <p:attrName>style.visibility</p:attrName>
                                        </p:attrNameLst>
                                      </p:cBhvr>
                                      <p:to>
                                        <p:strVal val="visible"/>
                                      </p:to>
                                    </p:set>
                                    <p:animEffect transition="in" filter="fade">
                                      <p:cBhvr>
                                        <p:cTn id="45" dur="500"/>
                                        <p:tgtEl>
                                          <p:spTgt spid="65"/>
                                        </p:tgtEl>
                                      </p:cBhvr>
                                    </p:animEffect>
                                  </p:childTnLst>
                                </p:cTn>
                              </p:par>
                              <p:par>
                                <p:cTn id="46" presetID="10" presetClass="entr" presetSubtype="0" fill="hold" nodeType="withEffect">
                                  <p:stCondLst>
                                    <p:cond delay="0"/>
                                  </p:stCondLst>
                                  <p:childTnLst>
                                    <p:set>
                                      <p:cBhvr>
                                        <p:cTn id="47" dur="1" fill="hold">
                                          <p:stCondLst>
                                            <p:cond delay="0"/>
                                          </p:stCondLst>
                                        </p:cTn>
                                        <p:tgtEl>
                                          <p:spTgt spid="19"/>
                                        </p:tgtEl>
                                        <p:attrNameLst>
                                          <p:attrName>style.visibility</p:attrName>
                                        </p:attrNameLst>
                                      </p:cBhvr>
                                      <p:to>
                                        <p:strVal val="visible"/>
                                      </p:to>
                                    </p:set>
                                    <p:animEffect transition="in" filter="fade">
                                      <p:cBhvr>
                                        <p:cTn id="48" dur="500"/>
                                        <p:tgtEl>
                                          <p:spTgt spid="19"/>
                                        </p:tgtEl>
                                      </p:cBhvr>
                                    </p:animEffect>
                                  </p:childTnLst>
                                </p:cTn>
                              </p:par>
                            </p:childTnLst>
                          </p:cTn>
                        </p:par>
                        <p:par>
                          <p:cTn id="49" fill="hold">
                            <p:stCondLst>
                              <p:cond delay="2500"/>
                            </p:stCondLst>
                            <p:childTnLst>
                              <p:par>
                                <p:cTn id="50" presetID="10" presetClass="entr" presetSubtype="0" fill="hold" nodeType="after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fade">
                                      <p:cBhvr>
                                        <p:cTn id="52" dur="500"/>
                                        <p:tgtEl>
                                          <p:spTgt spid="15"/>
                                        </p:tgtEl>
                                      </p:cBhvr>
                                    </p:animEffect>
                                  </p:childTnLst>
                                </p:cTn>
                              </p:par>
                              <p:par>
                                <p:cTn id="53" presetID="37" presetClass="path" presetSubtype="0" accel="50000" decel="50000" fill="hold" nodeType="withEffect">
                                  <p:stCondLst>
                                    <p:cond delay="0"/>
                                  </p:stCondLst>
                                  <p:childTnLst>
                                    <p:animMotion origin="layout" path="M -3.64583E-6 -1.48148E-6 L 0.03049 0.02026 C 0.03711 0.02508 0.04514 0.0245 0.0523 0.0191 C 0.06044 0.01293 0.06565 0.00347 0.06847 -0.00849 L 0.08149 -0.06173 " pathEditMode="relative" rAng="-1383409" ptsTypes="FffFF">
                                      <p:cBhvr>
                                        <p:cTn id="54" dur="500" fill="hold"/>
                                        <p:tgtEl>
                                          <p:spTgt spid="15"/>
                                        </p:tgtEl>
                                        <p:attrNameLst>
                                          <p:attrName>ppt_x</p:attrName>
                                          <p:attrName>ppt_y</p:attrName>
                                        </p:attrNameLst>
                                      </p:cBhvr>
                                      <p:rCtr x="4666" y="-598"/>
                                    </p:animMotion>
                                  </p:childTnLst>
                                </p:cTn>
                              </p:par>
                            </p:childTnLst>
                          </p:cTn>
                        </p:par>
                        <p:par>
                          <p:cTn id="55" fill="hold">
                            <p:stCondLst>
                              <p:cond delay="3000"/>
                            </p:stCondLst>
                            <p:childTnLst>
                              <p:par>
                                <p:cTn id="56" presetID="22" presetClass="entr" presetSubtype="8" fill="hold" grpId="0" nodeType="afterEffect">
                                  <p:stCondLst>
                                    <p:cond delay="0"/>
                                  </p:stCondLst>
                                  <p:childTnLst>
                                    <p:set>
                                      <p:cBhvr>
                                        <p:cTn id="57" dur="1" fill="hold">
                                          <p:stCondLst>
                                            <p:cond delay="0"/>
                                          </p:stCondLst>
                                        </p:cTn>
                                        <p:tgtEl>
                                          <p:spTgt spid="24"/>
                                        </p:tgtEl>
                                        <p:attrNameLst>
                                          <p:attrName>style.visibility</p:attrName>
                                        </p:attrNameLst>
                                      </p:cBhvr>
                                      <p:to>
                                        <p:strVal val="visible"/>
                                      </p:to>
                                    </p:set>
                                    <p:animEffect transition="in" filter="wipe(left)">
                                      <p:cBhvr>
                                        <p:cTn id="58" dur="500"/>
                                        <p:tgtEl>
                                          <p:spTgt spid="24"/>
                                        </p:tgtEl>
                                      </p:cBhvr>
                                    </p:animEffect>
                                  </p:childTnLst>
                                </p:cTn>
                              </p:par>
                              <p:par>
                                <p:cTn id="59" presetID="22" presetClass="entr" presetSubtype="8" fill="hold" grpId="0" nodeType="withEffect">
                                  <p:stCondLst>
                                    <p:cond delay="0"/>
                                  </p:stCondLst>
                                  <p:childTnLst>
                                    <p:set>
                                      <p:cBhvr>
                                        <p:cTn id="60" dur="1" fill="hold">
                                          <p:stCondLst>
                                            <p:cond delay="0"/>
                                          </p:stCondLst>
                                        </p:cTn>
                                        <p:tgtEl>
                                          <p:spTgt spid="74"/>
                                        </p:tgtEl>
                                        <p:attrNameLst>
                                          <p:attrName>style.visibility</p:attrName>
                                        </p:attrNameLst>
                                      </p:cBhvr>
                                      <p:to>
                                        <p:strVal val="visible"/>
                                      </p:to>
                                    </p:set>
                                    <p:animEffect transition="in" filter="wipe(left)">
                                      <p:cBhvr>
                                        <p:cTn id="61" dur="500"/>
                                        <p:tgtEl>
                                          <p:spTgt spid="74"/>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xit" presetSubtype="0" fill="hold" nodeType="clickEffect">
                                  <p:stCondLst>
                                    <p:cond delay="0"/>
                                  </p:stCondLst>
                                  <p:childTnLst>
                                    <p:animEffect transition="out" filter="fade">
                                      <p:cBhvr>
                                        <p:cTn id="65" dur="500"/>
                                        <p:tgtEl>
                                          <p:spTgt spid="69"/>
                                        </p:tgtEl>
                                      </p:cBhvr>
                                    </p:animEffect>
                                    <p:set>
                                      <p:cBhvr>
                                        <p:cTn id="66" dur="1" fill="hold">
                                          <p:stCondLst>
                                            <p:cond delay="499"/>
                                          </p:stCondLst>
                                        </p:cTn>
                                        <p:tgtEl>
                                          <p:spTgt spid="69"/>
                                        </p:tgtEl>
                                        <p:attrNameLst>
                                          <p:attrName>style.visibility</p:attrName>
                                        </p:attrNameLst>
                                      </p:cBhvr>
                                      <p:to>
                                        <p:strVal val="hidden"/>
                                      </p:to>
                                    </p:set>
                                  </p:childTnLst>
                                </p:cTn>
                              </p:par>
                              <p:par>
                                <p:cTn id="67" presetID="10" presetClass="exit" presetSubtype="0" fill="hold" nodeType="withEffect">
                                  <p:stCondLst>
                                    <p:cond delay="0"/>
                                  </p:stCondLst>
                                  <p:childTnLst>
                                    <p:animEffect transition="out" filter="fade">
                                      <p:cBhvr>
                                        <p:cTn id="68" dur="500"/>
                                        <p:tgtEl>
                                          <p:spTgt spid="66"/>
                                        </p:tgtEl>
                                      </p:cBhvr>
                                    </p:animEffect>
                                    <p:set>
                                      <p:cBhvr>
                                        <p:cTn id="69" dur="1" fill="hold">
                                          <p:stCondLst>
                                            <p:cond delay="499"/>
                                          </p:stCondLst>
                                        </p:cTn>
                                        <p:tgtEl>
                                          <p:spTgt spid="66"/>
                                        </p:tgtEl>
                                        <p:attrNameLst>
                                          <p:attrName>style.visibility</p:attrName>
                                        </p:attrNameLst>
                                      </p:cBhvr>
                                      <p:to>
                                        <p:strVal val="hidden"/>
                                      </p:to>
                                    </p:set>
                                  </p:childTnLst>
                                </p:cTn>
                              </p:par>
                              <p:par>
                                <p:cTn id="70" presetID="10" presetClass="exit" presetSubtype="0" fill="hold" nodeType="withEffect">
                                  <p:stCondLst>
                                    <p:cond delay="0"/>
                                  </p:stCondLst>
                                  <p:childTnLst>
                                    <p:animEffect transition="out" filter="fade">
                                      <p:cBhvr>
                                        <p:cTn id="71" dur="500"/>
                                        <p:tgtEl>
                                          <p:spTgt spid="65"/>
                                        </p:tgtEl>
                                      </p:cBhvr>
                                    </p:animEffect>
                                    <p:set>
                                      <p:cBhvr>
                                        <p:cTn id="72" dur="1" fill="hold">
                                          <p:stCondLst>
                                            <p:cond delay="499"/>
                                          </p:stCondLst>
                                        </p:cTn>
                                        <p:tgtEl>
                                          <p:spTgt spid="65"/>
                                        </p:tgtEl>
                                        <p:attrNameLst>
                                          <p:attrName>style.visibility</p:attrName>
                                        </p:attrNameLst>
                                      </p:cBhvr>
                                      <p:to>
                                        <p:strVal val="hidden"/>
                                      </p:to>
                                    </p:set>
                                  </p:childTnLst>
                                </p:cTn>
                              </p:par>
                              <p:par>
                                <p:cTn id="73" presetID="10" presetClass="exit" presetSubtype="0" fill="hold" nodeType="withEffect">
                                  <p:stCondLst>
                                    <p:cond delay="0"/>
                                  </p:stCondLst>
                                  <p:childTnLst>
                                    <p:animEffect transition="out" filter="fade">
                                      <p:cBhvr>
                                        <p:cTn id="74" dur="500"/>
                                        <p:tgtEl>
                                          <p:spTgt spid="67"/>
                                        </p:tgtEl>
                                      </p:cBhvr>
                                    </p:animEffect>
                                    <p:set>
                                      <p:cBhvr>
                                        <p:cTn id="75" dur="1" fill="hold">
                                          <p:stCondLst>
                                            <p:cond delay="499"/>
                                          </p:stCondLst>
                                        </p:cTn>
                                        <p:tgtEl>
                                          <p:spTgt spid="67"/>
                                        </p:tgtEl>
                                        <p:attrNameLst>
                                          <p:attrName>style.visibility</p:attrName>
                                        </p:attrNameLst>
                                      </p:cBhvr>
                                      <p:to>
                                        <p:strVal val="hidden"/>
                                      </p:to>
                                    </p:set>
                                  </p:childTnLst>
                                </p:cTn>
                              </p:par>
                              <p:par>
                                <p:cTn id="76" presetID="10" presetClass="exit" presetSubtype="0" fill="hold" nodeType="withEffect">
                                  <p:stCondLst>
                                    <p:cond delay="0"/>
                                  </p:stCondLst>
                                  <p:childTnLst>
                                    <p:animEffect transition="out" filter="fade">
                                      <p:cBhvr>
                                        <p:cTn id="77" dur="500"/>
                                        <p:tgtEl>
                                          <p:spTgt spid="19"/>
                                        </p:tgtEl>
                                      </p:cBhvr>
                                    </p:animEffect>
                                    <p:set>
                                      <p:cBhvr>
                                        <p:cTn id="78" dur="1" fill="hold">
                                          <p:stCondLst>
                                            <p:cond delay="499"/>
                                          </p:stCondLst>
                                        </p:cTn>
                                        <p:tgtEl>
                                          <p:spTgt spid="19"/>
                                        </p:tgtEl>
                                        <p:attrNameLst>
                                          <p:attrName>style.visibility</p:attrName>
                                        </p:attrNameLst>
                                      </p:cBhvr>
                                      <p:to>
                                        <p:strVal val="hidden"/>
                                      </p:to>
                                    </p:set>
                                  </p:childTnLst>
                                </p:cTn>
                              </p:par>
                              <p:par>
                                <p:cTn id="79" presetID="10" presetClass="exit" presetSubtype="0" fill="hold" nodeType="withEffect">
                                  <p:stCondLst>
                                    <p:cond delay="0"/>
                                  </p:stCondLst>
                                  <p:childTnLst>
                                    <p:animEffect transition="out" filter="fade">
                                      <p:cBhvr>
                                        <p:cTn id="80" dur="500"/>
                                        <p:tgtEl>
                                          <p:spTgt spid="15"/>
                                        </p:tgtEl>
                                      </p:cBhvr>
                                    </p:animEffect>
                                    <p:set>
                                      <p:cBhvr>
                                        <p:cTn id="81" dur="1" fill="hold">
                                          <p:stCondLst>
                                            <p:cond delay="499"/>
                                          </p:stCondLst>
                                        </p:cTn>
                                        <p:tgtEl>
                                          <p:spTgt spid="15"/>
                                        </p:tgtEl>
                                        <p:attrNameLst>
                                          <p:attrName>style.visibility</p:attrName>
                                        </p:attrNameLst>
                                      </p:cBhvr>
                                      <p:to>
                                        <p:strVal val="hidden"/>
                                      </p:to>
                                    </p:set>
                                  </p:childTnLst>
                                </p:cTn>
                              </p:par>
                              <p:par>
                                <p:cTn id="82" presetID="10" presetClass="exit" presetSubtype="0" fill="hold" grpId="1" nodeType="withEffect">
                                  <p:stCondLst>
                                    <p:cond delay="0"/>
                                  </p:stCondLst>
                                  <p:childTnLst>
                                    <p:animEffect transition="out" filter="fade">
                                      <p:cBhvr>
                                        <p:cTn id="83" dur="500"/>
                                        <p:tgtEl>
                                          <p:spTgt spid="24"/>
                                        </p:tgtEl>
                                      </p:cBhvr>
                                    </p:animEffect>
                                    <p:set>
                                      <p:cBhvr>
                                        <p:cTn id="84" dur="1" fill="hold">
                                          <p:stCondLst>
                                            <p:cond delay="499"/>
                                          </p:stCondLst>
                                        </p:cTn>
                                        <p:tgtEl>
                                          <p:spTgt spid="24"/>
                                        </p:tgtEl>
                                        <p:attrNameLst>
                                          <p:attrName>style.visibility</p:attrName>
                                        </p:attrNameLst>
                                      </p:cBhvr>
                                      <p:to>
                                        <p:strVal val="hidden"/>
                                      </p:to>
                                    </p:set>
                                  </p:childTnLst>
                                </p:cTn>
                              </p:par>
                              <p:par>
                                <p:cTn id="85" presetID="10" presetClass="exit" presetSubtype="0" fill="hold" grpId="1" nodeType="withEffect">
                                  <p:stCondLst>
                                    <p:cond delay="0"/>
                                  </p:stCondLst>
                                  <p:childTnLst>
                                    <p:animEffect transition="out" filter="fade">
                                      <p:cBhvr>
                                        <p:cTn id="86" dur="500"/>
                                        <p:tgtEl>
                                          <p:spTgt spid="74"/>
                                        </p:tgtEl>
                                      </p:cBhvr>
                                    </p:animEffect>
                                    <p:set>
                                      <p:cBhvr>
                                        <p:cTn id="87" dur="1" fill="hold">
                                          <p:stCondLst>
                                            <p:cond delay="499"/>
                                          </p:stCondLst>
                                        </p:cTn>
                                        <p:tgtEl>
                                          <p:spTgt spid="74"/>
                                        </p:tgtEl>
                                        <p:attrNameLst>
                                          <p:attrName>style.visibility</p:attrName>
                                        </p:attrNameLst>
                                      </p:cBhvr>
                                      <p:to>
                                        <p:strVal val="hidden"/>
                                      </p:to>
                                    </p:set>
                                  </p:childTnLst>
                                </p:cTn>
                              </p:par>
                              <p:par>
                                <p:cTn id="88" presetID="10" presetClass="exit" presetSubtype="0" fill="hold" grpId="1" nodeType="withEffect">
                                  <p:stCondLst>
                                    <p:cond delay="0"/>
                                  </p:stCondLst>
                                  <p:childTnLst>
                                    <p:animEffect transition="out" filter="fade">
                                      <p:cBhvr>
                                        <p:cTn id="89" dur="500"/>
                                        <p:tgtEl>
                                          <p:spTgt spid="10"/>
                                        </p:tgtEl>
                                      </p:cBhvr>
                                    </p:animEffect>
                                    <p:set>
                                      <p:cBhvr>
                                        <p:cTn id="90" dur="1" fill="hold">
                                          <p:stCondLst>
                                            <p:cond delay="499"/>
                                          </p:stCondLst>
                                        </p:cTn>
                                        <p:tgtEl>
                                          <p:spTgt spid="10"/>
                                        </p:tgtEl>
                                        <p:attrNameLst>
                                          <p:attrName>style.visibility</p:attrName>
                                        </p:attrNameLst>
                                      </p:cBhvr>
                                      <p:to>
                                        <p:strVal val="hidden"/>
                                      </p:to>
                                    </p:set>
                                  </p:childTnLst>
                                </p:cTn>
                              </p:par>
                              <p:par>
                                <p:cTn id="91" presetID="42" presetClass="entr" presetSubtype="0" fill="hold" grpId="1" nodeType="withEffect">
                                  <p:stCondLst>
                                    <p:cond delay="0"/>
                                  </p:stCondLst>
                                  <p:childTnLst>
                                    <p:set>
                                      <p:cBhvr>
                                        <p:cTn id="92" dur="1" fill="hold">
                                          <p:stCondLst>
                                            <p:cond delay="0"/>
                                          </p:stCondLst>
                                        </p:cTn>
                                        <p:tgtEl>
                                          <p:spTgt spid="14"/>
                                        </p:tgtEl>
                                        <p:attrNameLst>
                                          <p:attrName>style.visibility</p:attrName>
                                        </p:attrNameLst>
                                      </p:cBhvr>
                                      <p:to>
                                        <p:strVal val="visible"/>
                                      </p:to>
                                    </p:set>
                                    <p:animEffect transition="in" filter="fade">
                                      <p:cBhvr>
                                        <p:cTn id="93" dur="500"/>
                                        <p:tgtEl>
                                          <p:spTgt spid="14"/>
                                        </p:tgtEl>
                                      </p:cBhvr>
                                    </p:animEffect>
                                    <p:anim calcmode="lin" valueType="num">
                                      <p:cBhvr>
                                        <p:cTn id="94" dur="500" fill="hold"/>
                                        <p:tgtEl>
                                          <p:spTgt spid="14"/>
                                        </p:tgtEl>
                                        <p:attrNameLst>
                                          <p:attrName>ppt_x</p:attrName>
                                        </p:attrNameLst>
                                      </p:cBhvr>
                                      <p:tavLst>
                                        <p:tav tm="0">
                                          <p:val>
                                            <p:strVal val="#ppt_x"/>
                                          </p:val>
                                        </p:tav>
                                        <p:tav tm="100000">
                                          <p:val>
                                            <p:strVal val="#ppt_x"/>
                                          </p:val>
                                        </p:tav>
                                      </p:tavLst>
                                    </p:anim>
                                    <p:anim calcmode="lin" valueType="num">
                                      <p:cBhvr>
                                        <p:cTn id="95" dur="500" fill="hold"/>
                                        <p:tgtEl>
                                          <p:spTgt spid="14"/>
                                        </p:tgtEl>
                                        <p:attrNameLst>
                                          <p:attrName>ppt_y</p:attrName>
                                        </p:attrNameLst>
                                      </p:cBhvr>
                                      <p:tavLst>
                                        <p:tav tm="0">
                                          <p:val>
                                            <p:strVal val="#ppt_y+.1"/>
                                          </p:val>
                                        </p:tav>
                                        <p:tav tm="100000">
                                          <p:val>
                                            <p:strVal val="#ppt_y"/>
                                          </p:val>
                                        </p:tav>
                                      </p:tavLst>
                                    </p:anim>
                                  </p:childTnLst>
                                </p:cTn>
                              </p:par>
                              <p:par>
                                <p:cTn id="96" presetID="10" presetClass="exit" presetSubtype="0" fill="hold" grpId="1" nodeType="withEffect">
                                  <p:stCondLst>
                                    <p:cond delay="0"/>
                                  </p:stCondLst>
                                  <p:childTnLst>
                                    <p:animEffect transition="out" filter="fade">
                                      <p:cBhvr>
                                        <p:cTn id="97" dur="500"/>
                                        <p:tgtEl>
                                          <p:spTgt spid="4"/>
                                        </p:tgtEl>
                                      </p:cBhvr>
                                    </p:animEffect>
                                    <p:set>
                                      <p:cBhvr>
                                        <p:cTn id="98" dur="1" fill="hold">
                                          <p:stCondLst>
                                            <p:cond delay="499"/>
                                          </p:stCondLst>
                                        </p:cTn>
                                        <p:tgtEl>
                                          <p:spTgt spid="4"/>
                                        </p:tgtEl>
                                        <p:attrNameLst>
                                          <p:attrName>style.visibility</p:attrName>
                                        </p:attrNameLst>
                                      </p:cBhvr>
                                      <p:to>
                                        <p:strVal val="hidden"/>
                                      </p:to>
                                    </p:set>
                                  </p:childTnLst>
                                </p:cTn>
                              </p:par>
                            </p:childTnLst>
                          </p:cTn>
                        </p:par>
                        <p:par>
                          <p:cTn id="99" fill="hold">
                            <p:stCondLst>
                              <p:cond delay="500"/>
                            </p:stCondLst>
                            <p:childTnLst>
                              <p:par>
                                <p:cTn id="100" presetID="10" presetClass="entr" presetSubtype="0" fill="hold" grpId="0" nodeType="afterEffect">
                                  <p:stCondLst>
                                    <p:cond delay="0"/>
                                  </p:stCondLst>
                                  <p:childTnLst>
                                    <p:set>
                                      <p:cBhvr>
                                        <p:cTn id="101" dur="1" fill="hold">
                                          <p:stCondLst>
                                            <p:cond delay="0"/>
                                          </p:stCondLst>
                                        </p:cTn>
                                        <p:tgtEl>
                                          <p:spTgt spid="47"/>
                                        </p:tgtEl>
                                        <p:attrNameLst>
                                          <p:attrName>style.visibility</p:attrName>
                                        </p:attrNameLst>
                                      </p:cBhvr>
                                      <p:to>
                                        <p:strVal val="visible"/>
                                      </p:to>
                                    </p:set>
                                    <p:animEffect transition="in" filter="fade">
                                      <p:cBhvr>
                                        <p:cTn id="102" dur="500"/>
                                        <p:tgtEl>
                                          <p:spTgt spid="47"/>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5"/>
                                        </p:tgtEl>
                                        <p:attrNameLst>
                                          <p:attrName>style.visibility</p:attrName>
                                        </p:attrNameLst>
                                      </p:cBhvr>
                                      <p:to>
                                        <p:strVal val="visible"/>
                                      </p:to>
                                    </p:set>
                                    <p:animEffect transition="in" filter="fade">
                                      <p:cBhvr>
                                        <p:cTn id="105" dur="500"/>
                                        <p:tgtEl>
                                          <p:spTgt spid="5"/>
                                        </p:tgtEl>
                                      </p:cBhvr>
                                    </p:animEffect>
                                  </p:childTnLst>
                                </p:cTn>
                              </p:par>
                              <p:par>
                                <p:cTn id="106" presetID="42" presetClass="path" presetSubtype="0" accel="50000" decel="50000" fill="hold" grpId="0" nodeType="withEffect">
                                  <p:stCondLst>
                                    <p:cond delay="0"/>
                                  </p:stCondLst>
                                  <p:childTnLst>
                                    <p:animMotion origin="layout" path="M -3.125E-6 1.48148E-6 L 0.10688 -0.00039 " pathEditMode="relative" rAng="0" ptsTypes="AA">
                                      <p:cBhvr>
                                        <p:cTn id="107" dur="1000" fill="hold"/>
                                        <p:tgtEl>
                                          <p:spTgt spid="9"/>
                                        </p:tgtEl>
                                        <p:attrNameLst>
                                          <p:attrName>ppt_x</p:attrName>
                                          <p:attrName>ppt_y</p:attrName>
                                        </p:attrNameLst>
                                      </p:cBhvr>
                                      <p:rCtr x="5339" y="-19"/>
                                    </p:animMotion>
                                  </p:childTnLst>
                                </p:cTn>
                              </p:par>
                            </p:childTnLst>
                          </p:cTn>
                        </p:par>
                        <p:par>
                          <p:cTn id="108" fill="hold">
                            <p:stCondLst>
                              <p:cond delay="1500"/>
                            </p:stCondLst>
                            <p:childTnLst>
                              <p:par>
                                <p:cTn id="109" presetID="10" presetClass="entr" presetSubtype="0" fill="hold" grpId="2" nodeType="afterEffect">
                                  <p:stCondLst>
                                    <p:cond delay="0"/>
                                  </p:stCondLst>
                                  <p:childTnLst>
                                    <p:set>
                                      <p:cBhvr>
                                        <p:cTn id="110" dur="1" fill="hold">
                                          <p:stCondLst>
                                            <p:cond delay="0"/>
                                          </p:stCondLst>
                                        </p:cTn>
                                        <p:tgtEl>
                                          <p:spTgt spid="10"/>
                                        </p:tgtEl>
                                        <p:attrNameLst>
                                          <p:attrName>style.visibility</p:attrName>
                                        </p:attrNameLst>
                                      </p:cBhvr>
                                      <p:to>
                                        <p:strVal val="visible"/>
                                      </p:to>
                                    </p:set>
                                    <p:animEffect transition="in" filter="fade">
                                      <p:cBhvr>
                                        <p:cTn id="111" dur="500"/>
                                        <p:tgtEl>
                                          <p:spTgt spid="10"/>
                                        </p:tgtEl>
                                      </p:cBhvr>
                                    </p:animEffect>
                                  </p:childTnLst>
                                </p:cTn>
                              </p:par>
                              <p:par>
                                <p:cTn id="112" presetID="10" presetClass="entr" presetSubtype="0" fill="hold" nodeType="withEffect">
                                  <p:stCondLst>
                                    <p:cond delay="0"/>
                                  </p:stCondLst>
                                  <p:childTnLst>
                                    <p:set>
                                      <p:cBhvr>
                                        <p:cTn id="113" dur="1" fill="hold">
                                          <p:stCondLst>
                                            <p:cond delay="0"/>
                                          </p:stCondLst>
                                        </p:cTn>
                                        <p:tgtEl>
                                          <p:spTgt spid="8"/>
                                        </p:tgtEl>
                                        <p:attrNameLst>
                                          <p:attrName>style.visibility</p:attrName>
                                        </p:attrNameLst>
                                      </p:cBhvr>
                                      <p:to>
                                        <p:strVal val="visible"/>
                                      </p:to>
                                    </p:set>
                                    <p:animEffect transition="in" filter="fade">
                                      <p:cBhvr>
                                        <p:cTn id="114" dur="500"/>
                                        <p:tgtEl>
                                          <p:spTgt spid="8"/>
                                        </p:tgtEl>
                                      </p:cBhvr>
                                    </p:animEffect>
                                  </p:childTnLst>
                                </p:cTn>
                              </p:par>
                              <p:par>
                                <p:cTn id="115" presetID="10" presetClass="entr" presetSubtype="0" fill="hold" nodeType="withEffect">
                                  <p:stCondLst>
                                    <p:cond delay="0"/>
                                  </p:stCondLst>
                                  <p:childTnLst>
                                    <p:set>
                                      <p:cBhvr>
                                        <p:cTn id="116" dur="1" fill="hold">
                                          <p:stCondLst>
                                            <p:cond delay="0"/>
                                          </p:stCondLst>
                                        </p:cTn>
                                        <p:tgtEl>
                                          <p:spTgt spid="16"/>
                                        </p:tgtEl>
                                        <p:attrNameLst>
                                          <p:attrName>style.visibility</p:attrName>
                                        </p:attrNameLst>
                                      </p:cBhvr>
                                      <p:to>
                                        <p:strVal val="visible"/>
                                      </p:to>
                                    </p:set>
                                    <p:animEffect transition="in" filter="fade">
                                      <p:cBhvr>
                                        <p:cTn id="117" dur="500"/>
                                        <p:tgtEl>
                                          <p:spTgt spid="16"/>
                                        </p:tgtEl>
                                      </p:cBhvr>
                                    </p:animEffect>
                                  </p:childTnLst>
                                </p:cTn>
                              </p:par>
                            </p:childTnLst>
                          </p:cTn>
                        </p:par>
                        <p:par>
                          <p:cTn id="118" fill="hold">
                            <p:stCondLst>
                              <p:cond delay="2000"/>
                            </p:stCondLst>
                            <p:childTnLst>
                              <p:par>
                                <p:cTn id="119" presetID="10" presetClass="entr" presetSubtype="0" fill="hold" nodeType="afterEffect">
                                  <p:stCondLst>
                                    <p:cond delay="0"/>
                                  </p:stCondLst>
                                  <p:childTnLst>
                                    <p:set>
                                      <p:cBhvr>
                                        <p:cTn id="120" dur="1" fill="hold">
                                          <p:stCondLst>
                                            <p:cond delay="0"/>
                                          </p:stCondLst>
                                        </p:cTn>
                                        <p:tgtEl>
                                          <p:spTgt spid="56"/>
                                        </p:tgtEl>
                                        <p:attrNameLst>
                                          <p:attrName>style.visibility</p:attrName>
                                        </p:attrNameLst>
                                      </p:cBhvr>
                                      <p:to>
                                        <p:strVal val="visible"/>
                                      </p:to>
                                    </p:set>
                                    <p:animEffect transition="in" filter="fade">
                                      <p:cBhvr>
                                        <p:cTn id="121" dur="500"/>
                                        <p:tgtEl>
                                          <p:spTgt spid="56"/>
                                        </p:tgtEl>
                                      </p:cBhvr>
                                    </p:animEffect>
                                  </p:childTnLst>
                                </p:cTn>
                              </p:par>
                              <p:par>
                                <p:cTn id="122" presetID="10" presetClass="entr" presetSubtype="0" fill="hold" nodeType="withEffect">
                                  <p:stCondLst>
                                    <p:cond delay="0"/>
                                  </p:stCondLst>
                                  <p:childTnLst>
                                    <p:set>
                                      <p:cBhvr>
                                        <p:cTn id="123" dur="1" fill="hold">
                                          <p:stCondLst>
                                            <p:cond delay="0"/>
                                          </p:stCondLst>
                                        </p:cTn>
                                        <p:tgtEl>
                                          <p:spTgt spid="79"/>
                                        </p:tgtEl>
                                        <p:attrNameLst>
                                          <p:attrName>style.visibility</p:attrName>
                                        </p:attrNameLst>
                                      </p:cBhvr>
                                      <p:to>
                                        <p:strVal val="visible"/>
                                      </p:to>
                                    </p:set>
                                    <p:animEffect transition="in" filter="fade">
                                      <p:cBhvr>
                                        <p:cTn id="124" dur="500"/>
                                        <p:tgtEl>
                                          <p:spTgt spid="79"/>
                                        </p:tgtEl>
                                      </p:cBhvr>
                                    </p:animEffect>
                                  </p:childTnLst>
                                </p:cTn>
                              </p:par>
                              <p:par>
                                <p:cTn id="125" presetID="10" presetClass="entr" presetSubtype="0" fill="hold" nodeType="withEffect">
                                  <p:stCondLst>
                                    <p:cond delay="0"/>
                                  </p:stCondLst>
                                  <p:childTnLst>
                                    <p:set>
                                      <p:cBhvr>
                                        <p:cTn id="126" dur="1" fill="hold">
                                          <p:stCondLst>
                                            <p:cond delay="0"/>
                                          </p:stCondLst>
                                        </p:cTn>
                                        <p:tgtEl>
                                          <p:spTgt spid="78"/>
                                        </p:tgtEl>
                                        <p:attrNameLst>
                                          <p:attrName>style.visibility</p:attrName>
                                        </p:attrNameLst>
                                      </p:cBhvr>
                                      <p:to>
                                        <p:strVal val="visible"/>
                                      </p:to>
                                    </p:set>
                                    <p:animEffect transition="in" filter="fade">
                                      <p:cBhvr>
                                        <p:cTn id="127" dur="500"/>
                                        <p:tgtEl>
                                          <p:spTgt spid="78"/>
                                        </p:tgtEl>
                                      </p:cBhvr>
                                    </p:animEffect>
                                  </p:childTnLst>
                                </p:cTn>
                              </p:par>
                            </p:childTnLst>
                          </p:cTn>
                        </p:par>
                        <p:par>
                          <p:cTn id="128" fill="hold">
                            <p:stCondLst>
                              <p:cond delay="2500"/>
                            </p:stCondLst>
                            <p:childTnLst>
                              <p:par>
                                <p:cTn id="129" presetID="0" presetClass="path" presetSubtype="0" accel="50000" decel="50000" fill="hold" nodeType="afterEffect">
                                  <p:stCondLst>
                                    <p:cond delay="0"/>
                                  </p:stCondLst>
                                  <p:childTnLst>
                                    <p:animMotion origin="layout" path="M 1.35417E-6 -9.19753E-6 L 0.05914 -0.03222 L 0.1262 0.02623 L 0.23872 -0.04649 L 0.38976 0.03433 L 0.39095 -0.25656 " pathEditMode="relative" ptsTypes="AAAAAA">
                                      <p:cBhvr>
                                        <p:cTn id="130" dur="5000" fill="hold"/>
                                        <p:tgtEl>
                                          <p:spTgt spid="56"/>
                                        </p:tgtEl>
                                        <p:attrNameLst>
                                          <p:attrName>ppt_x</p:attrName>
                                          <p:attrName>ppt_y</p:attrName>
                                        </p:attrNameLst>
                                      </p:cBhvr>
                                    </p:animMotion>
                                  </p:childTnLst>
                                </p:cTn>
                              </p:par>
                              <p:par>
                                <p:cTn id="131" presetID="22" presetClass="entr" presetSubtype="8" fill="hold" grpId="0" nodeType="withEffect">
                                  <p:stCondLst>
                                    <p:cond delay="0"/>
                                  </p:stCondLst>
                                  <p:childTnLst>
                                    <p:set>
                                      <p:cBhvr>
                                        <p:cTn id="132" dur="1" fill="hold">
                                          <p:stCondLst>
                                            <p:cond delay="0"/>
                                          </p:stCondLst>
                                        </p:cTn>
                                        <p:tgtEl>
                                          <p:spTgt spid="17"/>
                                        </p:tgtEl>
                                        <p:attrNameLst>
                                          <p:attrName>style.visibility</p:attrName>
                                        </p:attrNameLst>
                                      </p:cBhvr>
                                      <p:to>
                                        <p:strVal val="visible"/>
                                      </p:to>
                                    </p:set>
                                    <p:animEffect transition="in" filter="wipe(left)">
                                      <p:cBhvr>
                                        <p:cTn id="133" dur="500"/>
                                        <p:tgtEl>
                                          <p:spTgt spid="17"/>
                                        </p:tgtEl>
                                      </p:cBhvr>
                                    </p:animEffect>
                                  </p:childTnLst>
                                </p:cTn>
                              </p:par>
                            </p:childTnLst>
                          </p:cTn>
                        </p:par>
                      </p:childTnLst>
                    </p:cTn>
                  </p:par>
                  <p:par>
                    <p:cTn id="134" fill="hold">
                      <p:stCondLst>
                        <p:cond delay="indefinite"/>
                      </p:stCondLst>
                      <p:childTnLst>
                        <p:par>
                          <p:cTn id="135" fill="hold">
                            <p:stCondLst>
                              <p:cond delay="0"/>
                            </p:stCondLst>
                            <p:childTnLst>
                              <p:par>
                                <p:cTn id="136" presetID="10" presetClass="exit" presetSubtype="0" fill="hold" nodeType="clickEffect">
                                  <p:stCondLst>
                                    <p:cond delay="0"/>
                                  </p:stCondLst>
                                  <p:childTnLst>
                                    <p:animEffect transition="out" filter="fade">
                                      <p:cBhvr>
                                        <p:cTn id="137" dur="500"/>
                                        <p:tgtEl>
                                          <p:spTgt spid="8"/>
                                        </p:tgtEl>
                                      </p:cBhvr>
                                    </p:animEffect>
                                    <p:set>
                                      <p:cBhvr>
                                        <p:cTn id="138" dur="1" fill="hold">
                                          <p:stCondLst>
                                            <p:cond delay="499"/>
                                          </p:stCondLst>
                                        </p:cTn>
                                        <p:tgtEl>
                                          <p:spTgt spid="8"/>
                                        </p:tgtEl>
                                        <p:attrNameLst>
                                          <p:attrName>style.visibility</p:attrName>
                                        </p:attrNameLst>
                                      </p:cBhvr>
                                      <p:to>
                                        <p:strVal val="hidden"/>
                                      </p:to>
                                    </p:set>
                                  </p:childTnLst>
                                </p:cTn>
                              </p:par>
                              <p:par>
                                <p:cTn id="139" presetID="10" presetClass="exit" presetSubtype="0" fill="hold" nodeType="withEffect">
                                  <p:stCondLst>
                                    <p:cond delay="0"/>
                                  </p:stCondLst>
                                  <p:childTnLst>
                                    <p:animEffect transition="out" filter="fade">
                                      <p:cBhvr>
                                        <p:cTn id="140" dur="500"/>
                                        <p:tgtEl>
                                          <p:spTgt spid="79"/>
                                        </p:tgtEl>
                                      </p:cBhvr>
                                    </p:animEffect>
                                    <p:set>
                                      <p:cBhvr>
                                        <p:cTn id="141" dur="1" fill="hold">
                                          <p:stCondLst>
                                            <p:cond delay="499"/>
                                          </p:stCondLst>
                                        </p:cTn>
                                        <p:tgtEl>
                                          <p:spTgt spid="79"/>
                                        </p:tgtEl>
                                        <p:attrNameLst>
                                          <p:attrName>style.visibility</p:attrName>
                                        </p:attrNameLst>
                                      </p:cBhvr>
                                      <p:to>
                                        <p:strVal val="hidden"/>
                                      </p:to>
                                    </p:set>
                                  </p:childTnLst>
                                </p:cTn>
                              </p:par>
                              <p:par>
                                <p:cTn id="142" presetID="10" presetClass="exit" presetSubtype="0" fill="hold" nodeType="withEffect">
                                  <p:stCondLst>
                                    <p:cond delay="0"/>
                                  </p:stCondLst>
                                  <p:childTnLst>
                                    <p:animEffect transition="out" filter="fade">
                                      <p:cBhvr>
                                        <p:cTn id="143" dur="500"/>
                                        <p:tgtEl>
                                          <p:spTgt spid="78"/>
                                        </p:tgtEl>
                                      </p:cBhvr>
                                    </p:animEffect>
                                    <p:set>
                                      <p:cBhvr>
                                        <p:cTn id="144" dur="1" fill="hold">
                                          <p:stCondLst>
                                            <p:cond delay="499"/>
                                          </p:stCondLst>
                                        </p:cTn>
                                        <p:tgtEl>
                                          <p:spTgt spid="78"/>
                                        </p:tgtEl>
                                        <p:attrNameLst>
                                          <p:attrName>style.visibility</p:attrName>
                                        </p:attrNameLst>
                                      </p:cBhvr>
                                      <p:to>
                                        <p:strVal val="hidden"/>
                                      </p:to>
                                    </p:set>
                                  </p:childTnLst>
                                </p:cTn>
                              </p:par>
                              <p:par>
                                <p:cTn id="145" presetID="10" presetClass="exit" presetSubtype="0" fill="hold" nodeType="withEffect">
                                  <p:stCondLst>
                                    <p:cond delay="0"/>
                                  </p:stCondLst>
                                  <p:childTnLst>
                                    <p:animEffect transition="out" filter="fade">
                                      <p:cBhvr>
                                        <p:cTn id="146" dur="500"/>
                                        <p:tgtEl>
                                          <p:spTgt spid="16"/>
                                        </p:tgtEl>
                                      </p:cBhvr>
                                    </p:animEffect>
                                    <p:set>
                                      <p:cBhvr>
                                        <p:cTn id="147" dur="1" fill="hold">
                                          <p:stCondLst>
                                            <p:cond delay="499"/>
                                          </p:stCondLst>
                                        </p:cTn>
                                        <p:tgtEl>
                                          <p:spTgt spid="16"/>
                                        </p:tgtEl>
                                        <p:attrNameLst>
                                          <p:attrName>style.visibility</p:attrName>
                                        </p:attrNameLst>
                                      </p:cBhvr>
                                      <p:to>
                                        <p:strVal val="hidden"/>
                                      </p:to>
                                    </p:set>
                                  </p:childTnLst>
                                </p:cTn>
                              </p:par>
                              <p:par>
                                <p:cTn id="148" presetID="10" presetClass="exit" presetSubtype="0" fill="hold" nodeType="withEffect">
                                  <p:stCondLst>
                                    <p:cond delay="0"/>
                                  </p:stCondLst>
                                  <p:childTnLst>
                                    <p:animEffect transition="out" filter="fade">
                                      <p:cBhvr>
                                        <p:cTn id="149" dur="500"/>
                                        <p:tgtEl>
                                          <p:spTgt spid="56"/>
                                        </p:tgtEl>
                                      </p:cBhvr>
                                    </p:animEffect>
                                    <p:set>
                                      <p:cBhvr>
                                        <p:cTn id="150" dur="1" fill="hold">
                                          <p:stCondLst>
                                            <p:cond delay="499"/>
                                          </p:stCondLst>
                                        </p:cTn>
                                        <p:tgtEl>
                                          <p:spTgt spid="56"/>
                                        </p:tgtEl>
                                        <p:attrNameLst>
                                          <p:attrName>style.visibility</p:attrName>
                                        </p:attrNameLst>
                                      </p:cBhvr>
                                      <p:to>
                                        <p:strVal val="hidden"/>
                                      </p:to>
                                    </p:set>
                                  </p:childTnLst>
                                </p:cTn>
                              </p:par>
                              <p:par>
                                <p:cTn id="151" presetID="10" presetClass="exit" presetSubtype="0" fill="hold" grpId="1" nodeType="withEffect">
                                  <p:stCondLst>
                                    <p:cond delay="0"/>
                                  </p:stCondLst>
                                  <p:childTnLst>
                                    <p:animEffect transition="out" filter="fade">
                                      <p:cBhvr>
                                        <p:cTn id="152" dur="500"/>
                                        <p:tgtEl>
                                          <p:spTgt spid="17"/>
                                        </p:tgtEl>
                                      </p:cBhvr>
                                    </p:animEffect>
                                    <p:set>
                                      <p:cBhvr>
                                        <p:cTn id="153" dur="1" fill="hold">
                                          <p:stCondLst>
                                            <p:cond delay="499"/>
                                          </p:stCondLst>
                                        </p:cTn>
                                        <p:tgtEl>
                                          <p:spTgt spid="17"/>
                                        </p:tgtEl>
                                        <p:attrNameLst>
                                          <p:attrName>style.visibility</p:attrName>
                                        </p:attrNameLst>
                                      </p:cBhvr>
                                      <p:to>
                                        <p:strVal val="hidden"/>
                                      </p:to>
                                    </p:set>
                                  </p:childTnLst>
                                </p:cTn>
                              </p:par>
                              <p:par>
                                <p:cTn id="154" presetID="10" presetClass="exit" presetSubtype="0" fill="hold" grpId="3" nodeType="withEffect">
                                  <p:stCondLst>
                                    <p:cond delay="0"/>
                                  </p:stCondLst>
                                  <p:childTnLst>
                                    <p:animEffect transition="out" filter="fade">
                                      <p:cBhvr>
                                        <p:cTn id="155" dur="500"/>
                                        <p:tgtEl>
                                          <p:spTgt spid="10"/>
                                        </p:tgtEl>
                                      </p:cBhvr>
                                    </p:animEffect>
                                    <p:set>
                                      <p:cBhvr>
                                        <p:cTn id="156" dur="1" fill="hold">
                                          <p:stCondLst>
                                            <p:cond delay="499"/>
                                          </p:stCondLst>
                                        </p:cTn>
                                        <p:tgtEl>
                                          <p:spTgt spid="10"/>
                                        </p:tgtEl>
                                        <p:attrNameLst>
                                          <p:attrName>style.visibility</p:attrName>
                                        </p:attrNameLst>
                                      </p:cBhvr>
                                      <p:to>
                                        <p:strVal val="hidden"/>
                                      </p:to>
                                    </p:set>
                                  </p:childTnLst>
                                </p:cTn>
                              </p:par>
                              <p:par>
                                <p:cTn id="157" presetID="10" presetClass="exit" presetSubtype="0" fill="hold" grpId="2" nodeType="withEffect">
                                  <p:stCondLst>
                                    <p:cond delay="0"/>
                                  </p:stCondLst>
                                  <p:childTnLst>
                                    <p:animEffect transition="out" filter="fade">
                                      <p:cBhvr>
                                        <p:cTn id="158" dur="500"/>
                                        <p:tgtEl>
                                          <p:spTgt spid="4"/>
                                        </p:tgtEl>
                                      </p:cBhvr>
                                    </p:animEffect>
                                    <p:set>
                                      <p:cBhvr>
                                        <p:cTn id="159" dur="1" fill="hold">
                                          <p:stCondLst>
                                            <p:cond delay="499"/>
                                          </p:stCondLst>
                                        </p:cTn>
                                        <p:tgtEl>
                                          <p:spTgt spid="4"/>
                                        </p:tgtEl>
                                        <p:attrNameLst>
                                          <p:attrName>style.visibility</p:attrName>
                                        </p:attrNameLst>
                                      </p:cBhvr>
                                      <p:to>
                                        <p:strVal val="hidden"/>
                                      </p:to>
                                    </p:set>
                                  </p:childTnLst>
                                </p:cTn>
                              </p:par>
                              <p:par>
                                <p:cTn id="160" presetID="10" presetClass="exit" presetSubtype="0" fill="hold" grpId="1" nodeType="withEffect">
                                  <p:stCondLst>
                                    <p:cond delay="0"/>
                                  </p:stCondLst>
                                  <p:childTnLst>
                                    <p:animEffect transition="out" filter="fade">
                                      <p:cBhvr>
                                        <p:cTn id="161" dur="500"/>
                                        <p:tgtEl>
                                          <p:spTgt spid="5"/>
                                        </p:tgtEl>
                                      </p:cBhvr>
                                    </p:animEffect>
                                    <p:set>
                                      <p:cBhvr>
                                        <p:cTn id="162" dur="1" fill="hold">
                                          <p:stCondLst>
                                            <p:cond delay="499"/>
                                          </p:stCondLst>
                                        </p:cTn>
                                        <p:tgtEl>
                                          <p:spTgt spid="5"/>
                                        </p:tgtEl>
                                        <p:attrNameLst>
                                          <p:attrName>style.visibility</p:attrName>
                                        </p:attrNameLst>
                                      </p:cBhvr>
                                      <p:to>
                                        <p:strVal val="hidden"/>
                                      </p:to>
                                    </p:set>
                                  </p:childTnLst>
                                </p:cTn>
                              </p:par>
                              <p:par>
                                <p:cTn id="163" presetID="10" presetClass="exit" presetSubtype="0" fill="hold" grpId="1" nodeType="withEffect">
                                  <p:stCondLst>
                                    <p:cond delay="0"/>
                                  </p:stCondLst>
                                  <p:childTnLst>
                                    <p:animEffect transition="out" filter="fade">
                                      <p:cBhvr>
                                        <p:cTn id="164" dur="500"/>
                                        <p:tgtEl>
                                          <p:spTgt spid="47"/>
                                        </p:tgtEl>
                                      </p:cBhvr>
                                    </p:animEffect>
                                    <p:set>
                                      <p:cBhvr>
                                        <p:cTn id="165" dur="1" fill="hold">
                                          <p:stCondLst>
                                            <p:cond delay="499"/>
                                          </p:stCondLst>
                                        </p:cTn>
                                        <p:tgtEl>
                                          <p:spTgt spid="47"/>
                                        </p:tgtEl>
                                        <p:attrNameLst>
                                          <p:attrName>style.visibility</p:attrName>
                                        </p:attrNameLst>
                                      </p:cBhvr>
                                      <p:to>
                                        <p:strVal val="hidden"/>
                                      </p:to>
                                    </p:set>
                                  </p:childTnLst>
                                </p:cTn>
                              </p:par>
                              <p:par>
                                <p:cTn id="166" presetID="42" presetClass="entr" presetSubtype="0" fill="hold" grpId="1" nodeType="withEffect">
                                  <p:stCondLst>
                                    <p:cond delay="0"/>
                                  </p:stCondLst>
                                  <p:childTnLst>
                                    <p:set>
                                      <p:cBhvr>
                                        <p:cTn id="167" dur="1" fill="hold">
                                          <p:stCondLst>
                                            <p:cond delay="0"/>
                                          </p:stCondLst>
                                        </p:cTn>
                                        <p:tgtEl>
                                          <p:spTgt spid="9"/>
                                        </p:tgtEl>
                                        <p:attrNameLst>
                                          <p:attrName>style.visibility</p:attrName>
                                        </p:attrNameLst>
                                      </p:cBhvr>
                                      <p:to>
                                        <p:strVal val="visible"/>
                                      </p:to>
                                    </p:set>
                                    <p:animEffect transition="in" filter="fade">
                                      <p:cBhvr>
                                        <p:cTn id="168" dur="500"/>
                                        <p:tgtEl>
                                          <p:spTgt spid="9"/>
                                        </p:tgtEl>
                                      </p:cBhvr>
                                    </p:animEffect>
                                    <p:anim calcmode="lin" valueType="num">
                                      <p:cBhvr>
                                        <p:cTn id="169" dur="500" fill="hold"/>
                                        <p:tgtEl>
                                          <p:spTgt spid="9"/>
                                        </p:tgtEl>
                                        <p:attrNameLst>
                                          <p:attrName>ppt_x</p:attrName>
                                        </p:attrNameLst>
                                      </p:cBhvr>
                                      <p:tavLst>
                                        <p:tav tm="0">
                                          <p:val>
                                            <p:strVal val="#ppt_x"/>
                                          </p:val>
                                        </p:tav>
                                        <p:tav tm="100000">
                                          <p:val>
                                            <p:strVal val="#ppt_x"/>
                                          </p:val>
                                        </p:tav>
                                      </p:tavLst>
                                    </p:anim>
                                    <p:anim calcmode="lin" valueType="num">
                                      <p:cBhvr>
                                        <p:cTn id="170" dur="500" fill="hold"/>
                                        <p:tgtEl>
                                          <p:spTgt spid="9"/>
                                        </p:tgtEl>
                                        <p:attrNameLst>
                                          <p:attrName>ppt_y</p:attrName>
                                        </p:attrNameLst>
                                      </p:cBhvr>
                                      <p:tavLst>
                                        <p:tav tm="0">
                                          <p:val>
                                            <p:strVal val="#ppt_y+.1"/>
                                          </p:val>
                                        </p:tav>
                                        <p:tav tm="100000">
                                          <p:val>
                                            <p:strVal val="#ppt_y"/>
                                          </p:val>
                                        </p:tav>
                                      </p:tavLst>
                                    </p:anim>
                                  </p:childTnLst>
                                </p:cTn>
                              </p:par>
                            </p:childTnLst>
                          </p:cTn>
                        </p:par>
                        <p:par>
                          <p:cTn id="171" fill="hold">
                            <p:stCondLst>
                              <p:cond delay="500"/>
                            </p:stCondLst>
                            <p:childTnLst>
                              <p:par>
                                <p:cTn id="172" presetID="10" presetClass="entr" presetSubtype="0" fill="hold" grpId="0" nodeType="afterEffect">
                                  <p:stCondLst>
                                    <p:cond delay="0"/>
                                  </p:stCondLst>
                                  <p:childTnLst>
                                    <p:set>
                                      <p:cBhvr>
                                        <p:cTn id="173" dur="1" fill="hold">
                                          <p:stCondLst>
                                            <p:cond delay="0"/>
                                          </p:stCondLst>
                                        </p:cTn>
                                        <p:tgtEl>
                                          <p:spTgt spid="18"/>
                                        </p:tgtEl>
                                        <p:attrNameLst>
                                          <p:attrName>style.visibility</p:attrName>
                                        </p:attrNameLst>
                                      </p:cBhvr>
                                      <p:to>
                                        <p:strVal val="visible"/>
                                      </p:to>
                                    </p:set>
                                    <p:animEffect transition="in" filter="fade">
                                      <p:cBhvr>
                                        <p:cTn id="174" dur="500"/>
                                        <p:tgtEl>
                                          <p:spTgt spid="18"/>
                                        </p:tgtEl>
                                      </p:cBhvr>
                                    </p:animEffect>
                                  </p:childTnLst>
                                </p:cTn>
                              </p:par>
                              <p:par>
                                <p:cTn id="175" presetID="10" presetClass="entr" presetSubtype="0" fill="hold" grpId="0" nodeType="withEffect">
                                  <p:stCondLst>
                                    <p:cond delay="0"/>
                                  </p:stCondLst>
                                  <p:childTnLst>
                                    <p:set>
                                      <p:cBhvr>
                                        <p:cTn id="176" dur="1" fill="hold">
                                          <p:stCondLst>
                                            <p:cond delay="0"/>
                                          </p:stCondLst>
                                        </p:cTn>
                                        <p:tgtEl>
                                          <p:spTgt spid="59"/>
                                        </p:tgtEl>
                                        <p:attrNameLst>
                                          <p:attrName>style.visibility</p:attrName>
                                        </p:attrNameLst>
                                      </p:cBhvr>
                                      <p:to>
                                        <p:strVal val="visible"/>
                                      </p:to>
                                    </p:set>
                                    <p:animEffect transition="in" filter="fade">
                                      <p:cBhvr>
                                        <p:cTn id="177" dur="500"/>
                                        <p:tgtEl>
                                          <p:spTgt spid="59"/>
                                        </p:tgtEl>
                                      </p:cBhvr>
                                    </p:animEffect>
                                  </p:childTnLst>
                                </p:cTn>
                              </p:par>
                              <p:par>
                                <p:cTn id="178" presetID="42" presetClass="path" presetSubtype="0" accel="50000" decel="50000" fill="hold" grpId="0" nodeType="withEffect">
                                  <p:stCondLst>
                                    <p:cond delay="0"/>
                                  </p:stCondLst>
                                  <p:childTnLst>
                                    <p:animMotion origin="layout" path="M 4.89583E-6 1.48148E-6 L -0.0765 -0.00097 " pathEditMode="relative" rAng="0" ptsTypes="AA">
                                      <p:cBhvr>
                                        <p:cTn id="179" dur="1000" fill="hold"/>
                                        <p:tgtEl>
                                          <p:spTgt spid="20"/>
                                        </p:tgtEl>
                                        <p:attrNameLst>
                                          <p:attrName>ppt_x</p:attrName>
                                          <p:attrName>ppt_y</p:attrName>
                                        </p:attrNameLst>
                                      </p:cBhvr>
                                      <p:rCtr x="-3830" y="-58"/>
                                    </p:animMotion>
                                  </p:childTnLst>
                                </p:cTn>
                              </p:par>
                            </p:childTnLst>
                          </p:cTn>
                        </p:par>
                        <p:par>
                          <p:cTn id="180" fill="hold">
                            <p:stCondLst>
                              <p:cond delay="1500"/>
                            </p:stCondLst>
                            <p:childTnLst>
                              <p:par>
                                <p:cTn id="181" presetID="10" presetClass="entr" presetSubtype="0" fill="hold" grpId="4" nodeType="afterEffect">
                                  <p:stCondLst>
                                    <p:cond delay="0"/>
                                  </p:stCondLst>
                                  <p:childTnLst>
                                    <p:set>
                                      <p:cBhvr>
                                        <p:cTn id="182" dur="1" fill="hold">
                                          <p:stCondLst>
                                            <p:cond delay="0"/>
                                          </p:stCondLst>
                                        </p:cTn>
                                        <p:tgtEl>
                                          <p:spTgt spid="10"/>
                                        </p:tgtEl>
                                        <p:attrNameLst>
                                          <p:attrName>style.visibility</p:attrName>
                                        </p:attrNameLst>
                                      </p:cBhvr>
                                      <p:to>
                                        <p:strVal val="visible"/>
                                      </p:to>
                                    </p:set>
                                    <p:animEffect transition="in" filter="fade">
                                      <p:cBhvr>
                                        <p:cTn id="183" dur="500"/>
                                        <p:tgtEl>
                                          <p:spTgt spid="10"/>
                                        </p:tgtEl>
                                      </p:cBhvr>
                                    </p:animEffect>
                                  </p:childTnLst>
                                </p:cTn>
                              </p:par>
                              <p:par>
                                <p:cTn id="184" presetID="10" presetClass="entr" presetSubtype="0" fill="hold" nodeType="withEffect">
                                  <p:stCondLst>
                                    <p:cond delay="0"/>
                                  </p:stCondLst>
                                  <p:childTnLst>
                                    <p:set>
                                      <p:cBhvr>
                                        <p:cTn id="185" dur="1" fill="hold">
                                          <p:stCondLst>
                                            <p:cond delay="0"/>
                                          </p:stCondLst>
                                        </p:cTn>
                                        <p:tgtEl>
                                          <p:spTgt spid="69"/>
                                        </p:tgtEl>
                                        <p:attrNameLst>
                                          <p:attrName>style.visibility</p:attrName>
                                        </p:attrNameLst>
                                      </p:cBhvr>
                                      <p:to>
                                        <p:strVal val="visible"/>
                                      </p:to>
                                    </p:set>
                                    <p:animEffect transition="in" filter="fade">
                                      <p:cBhvr>
                                        <p:cTn id="186" dur="500"/>
                                        <p:tgtEl>
                                          <p:spTgt spid="69"/>
                                        </p:tgtEl>
                                      </p:cBhvr>
                                    </p:animEffect>
                                  </p:childTnLst>
                                </p:cTn>
                              </p:par>
                              <p:par>
                                <p:cTn id="187" presetID="10" presetClass="entr" presetSubtype="0" fill="hold" nodeType="withEffect">
                                  <p:stCondLst>
                                    <p:cond delay="0"/>
                                  </p:stCondLst>
                                  <p:childTnLst>
                                    <p:set>
                                      <p:cBhvr>
                                        <p:cTn id="188" dur="1" fill="hold">
                                          <p:stCondLst>
                                            <p:cond delay="0"/>
                                          </p:stCondLst>
                                        </p:cTn>
                                        <p:tgtEl>
                                          <p:spTgt spid="80"/>
                                        </p:tgtEl>
                                        <p:attrNameLst>
                                          <p:attrName>style.visibility</p:attrName>
                                        </p:attrNameLst>
                                      </p:cBhvr>
                                      <p:to>
                                        <p:strVal val="visible"/>
                                      </p:to>
                                    </p:set>
                                    <p:animEffect transition="in" filter="fade">
                                      <p:cBhvr>
                                        <p:cTn id="189" dur="500"/>
                                        <p:tgtEl>
                                          <p:spTgt spid="80"/>
                                        </p:tgtEl>
                                      </p:cBhvr>
                                    </p:animEffect>
                                  </p:childTnLst>
                                </p:cTn>
                              </p:par>
                              <p:par>
                                <p:cTn id="190" presetID="1" presetClass="entr" presetSubtype="0" fill="hold" nodeType="withEffect">
                                  <p:stCondLst>
                                    <p:cond delay="0"/>
                                  </p:stCondLst>
                                  <p:childTnLst>
                                    <p:set>
                                      <p:cBhvr>
                                        <p:cTn id="191" dur="1" fill="hold">
                                          <p:stCondLst>
                                            <p:cond delay="0"/>
                                          </p:stCondLst>
                                        </p:cTn>
                                        <p:tgtEl>
                                          <p:spTgt spid="21"/>
                                        </p:tgtEl>
                                        <p:attrNameLst>
                                          <p:attrName>style.visibility</p:attrName>
                                        </p:attrNameLst>
                                      </p:cBhvr>
                                      <p:to>
                                        <p:strVal val="visible"/>
                                      </p:to>
                                    </p:set>
                                  </p:childTnLst>
                                </p:cTn>
                              </p:par>
                              <p:par>
                                <p:cTn id="192" presetID="10" presetClass="entr" presetSubtype="0" fill="hold" nodeType="withEffect">
                                  <p:stCondLst>
                                    <p:cond delay="0"/>
                                  </p:stCondLst>
                                  <p:childTnLst>
                                    <p:set>
                                      <p:cBhvr>
                                        <p:cTn id="193" dur="1" fill="hold">
                                          <p:stCondLst>
                                            <p:cond delay="0"/>
                                          </p:stCondLst>
                                        </p:cTn>
                                        <p:tgtEl>
                                          <p:spTgt spid="66"/>
                                        </p:tgtEl>
                                        <p:attrNameLst>
                                          <p:attrName>style.visibility</p:attrName>
                                        </p:attrNameLst>
                                      </p:cBhvr>
                                      <p:to>
                                        <p:strVal val="visible"/>
                                      </p:to>
                                    </p:set>
                                    <p:animEffect transition="in" filter="fade">
                                      <p:cBhvr>
                                        <p:cTn id="194" dur="500"/>
                                        <p:tgtEl>
                                          <p:spTgt spid="66"/>
                                        </p:tgtEl>
                                      </p:cBhvr>
                                    </p:animEffect>
                                  </p:childTnLst>
                                </p:cTn>
                              </p:par>
                              <p:par>
                                <p:cTn id="195" presetID="10" presetClass="entr" presetSubtype="0" fill="hold" nodeType="withEffect">
                                  <p:stCondLst>
                                    <p:cond delay="0"/>
                                  </p:stCondLst>
                                  <p:childTnLst>
                                    <p:set>
                                      <p:cBhvr>
                                        <p:cTn id="196" dur="1" fill="hold">
                                          <p:stCondLst>
                                            <p:cond delay="0"/>
                                          </p:stCondLst>
                                        </p:cTn>
                                        <p:tgtEl>
                                          <p:spTgt spid="67"/>
                                        </p:tgtEl>
                                        <p:attrNameLst>
                                          <p:attrName>style.visibility</p:attrName>
                                        </p:attrNameLst>
                                      </p:cBhvr>
                                      <p:to>
                                        <p:strVal val="visible"/>
                                      </p:to>
                                    </p:set>
                                    <p:animEffect transition="in" filter="fade">
                                      <p:cBhvr>
                                        <p:cTn id="197" dur="500"/>
                                        <p:tgtEl>
                                          <p:spTgt spid="67"/>
                                        </p:tgtEl>
                                      </p:cBhvr>
                                    </p:animEffect>
                                  </p:childTnLst>
                                </p:cTn>
                              </p:par>
                            </p:childTnLst>
                          </p:cTn>
                        </p:par>
                        <p:par>
                          <p:cTn id="198" fill="hold">
                            <p:stCondLst>
                              <p:cond delay="2000"/>
                            </p:stCondLst>
                            <p:childTnLst>
                              <p:par>
                                <p:cTn id="199" presetID="22" presetClass="entr" presetSubtype="8" fill="hold" grpId="0" nodeType="afterEffect">
                                  <p:stCondLst>
                                    <p:cond delay="0"/>
                                  </p:stCondLst>
                                  <p:childTnLst>
                                    <p:set>
                                      <p:cBhvr>
                                        <p:cTn id="200" dur="1" fill="hold">
                                          <p:stCondLst>
                                            <p:cond delay="0"/>
                                          </p:stCondLst>
                                        </p:cTn>
                                        <p:tgtEl>
                                          <p:spTgt spid="63"/>
                                        </p:tgtEl>
                                        <p:attrNameLst>
                                          <p:attrName>style.visibility</p:attrName>
                                        </p:attrNameLst>
                                      </p:cBhvr>
                                      <p:to>
                                        <p:strVal val="visible"/>
                                      </p:to>
                                    </p:set>
                                    <p:animEffect transition="in" filter="wipe(left)">
                                      <p:cBhvr>
                                        <p:cTn id="201" dur="1000"/>
                                        <p:tgtEl>
                                          <p:spTgt spid="63"/>
                                        </p:tgtEl>
                                      </p:cBhvr>
                                    </p:animEffect>
                                  </p:childTnLst>
                                </p:cTn>
                              </p:par>
                            </p:childTnLst>
                          </p:cTn>
                        </p:par>
                      </p:childTnLst>
                    </p:cTn>
                  </p:par>
                  <p:par>
                    <p:cTn id="202" fill="hold">
                      <p:stCondLst>
                        <p:cond delay="indefinite"/>
                      </p:stCondLst>
                      <p:childTnLst>
                        <p:par>
                          <p:cTn id="203" fill="hold">
                            <p:stCondLst>
                              <p:cond delay="0"/>
                            </p:stCondLst>
                            <p:childTnLst>
                              <p:par>
                                <p:cTn id="204" presetID="10" presetClass="exit" presetSubtype="0" fill="hold" nodeType="clickEffect">
                                  <p:stCondLst>
                                    <p:cond delay="0"/>
                                  </p:stCondLst>
                                  <p:childTnLst>
                                    <p:animEffect transition="out" filter="fade">
                                      <p:cBhvr>
                                        <p:cTn id="205" dur="500"/>
                                        <p:tgtEl>
                                          <p:spTgt spid="69"/>
                                        </p:tgtEl>
                                      </p:cBhvr>
                                    </p:animEffect>
                                    <p:set>
                                      <p:cBhvr>
                                        <p:cTn id="206" dur="1" fill="hold">
                                          <p:stCondLst>
                                            <p:cond delay="499"/>
                                          </p:stCondLst>
                                        </p:cTn>
                                        <p:tgtEl>
                                          <p:spTgt spid="69"/>
                                        </p:tgtEl>
                                        <p:attrNameLst>
                                          <p:attrName>style.visibility</p:attrName>
                                        </p:attrNameLst>
                                      </p:cBhvr>
                                      <p:to>
                                        <p:strVal val="hidden"/>
                                      </p:to>
                                    </p:set>
                                  </p:childTnLst>
                                </p:cTn>
                              </p:par>
                              <p:par>
                                <p:cTn id="207" presetID="10" presetClass="exit" presetSubtype="0" fill="hold" nodeType="withEffect">
                                  <p:stCondLst>
                                    <p:cond delay="0"/>
                                  </p:stCondLst>
                                  <p:childTnLst>
                                    <p:animEffect transition="out" filter="fade">
                                      <p:cBhvr>
                                        <p:cTn id="208" dur="500"/>
                                        <p:tgtEl>
                                          <p:spTgt spid="80"/>
                                        </p:tgtEl>
                                      </p:cBhvr>
                                    </p:animEffect>
                                    <p:set>
                                      <p:cBhvr>
                                        <p:cTn id="209" dur="1" fill="hold">
                                          <p:stCondLst>
                                            <p:cond delay="499"/>
                                          </p:stCondLst>
                                        </p:cTn>
                                        <p:tgtEl>
                                          <p:spTgt spid="80"/>
                                        </p:tgtEl>
                                        <p:attrNameLst>
                                          <p:attrName>style.visibility</p:attrName>
                                        </p:attrNameLst>
                                      </p:cBhvr>
                                      <p:to>
                                        <p:strVal val="hidden"/>
                                      </p:to>
                                    </p:set>
                                  </p:childTnLst>
                                </p:cTn>
                              </p:par>
                              <p:par>
                                <p:cTn id="210" presetID="10" presetClass="exit" presetSubtype="0" fill="hold" nodeType="withEffect">
                                  <p:stCondLst>
                                    <p:cond delay="0"/>
                                  </p:stCondLst>
                                  <p:childTnLst>
                                    <p:animEffect transition="out" filter="fade">
                                      <p:cBhvr>
                                        <p:cTn id="211" dur="500"/>
                                        <p:tgtEl>
                                          <p:spTgt spid="66"/>
                                        </p:tgtEl>
                                      </p:cBhvr>
                                    </p:animEffect>
                                    <p:set>
                                      <p:cBhvr>
                                        <p:cTn id="212" dur="1" fill="hold">
                                          <p:stCondLst>
                                            <p:cond delay="499"/>
                                          </p:stCondLst>
                                        </p:cTn>
                                        <p:tgtEl>
                                          <p:spTgt spid="66"/>
                                        </p:tgtEl>
                                        <p:attrNameLst>
                                          <p:attrName>style.visibility</p:attrName>
                                        </p:attrNameLst>
                                      </p:cBhvr>
                                      <p:to>
                                        <p:strVal val="hidden"/>
                                      </p:to>
                                    </p:set>
                                  </p:childTnLst>
                                </p:cTn>
                              </p:par>
                              <p:par>
                                <p:cTn id="213" presetID="10" presetClass="exit" presetSubtype="0" fill="hold" nodeType="withEffect">
                                  <p:stCondLst>
                                    <p:cond delay="0"/>
                                  </p:stCondLst>
                                  <p:childTnLst>
                                    <p:animEffect transition="out" filter="fade">
                                      <p:cBhvr>
                                        <p:cTn id="214" dur="500"/>
                                        <p:tgtEl>
                                          <p:spTgt spid="67"/>
                                        </p:tgtEl>
                                      </p:cBhvr>
                                    </p:animEffect>
                                    <p:set>
                                      <p:cBhvr>
                                        <p:cTn id="215" dur="1" fill="hold">
                                          <p:stCondLst>
                                            <p:cond delay="499"/>
                                          </p:stCondLst>
                                        </p:cTn>
                                        <p:tgtEl>
                                          <p:spTgt spid="67"/>
                                        </p:tgtEl>
                                        <p:attrNameLst>
                                          <p:attrName>style.visibility</p:attrName>
                                        </p:attrNameLst>
                                      </p:cBhvr>
                                      <p:to>
                                        <p:strVal val="hidden"/>
                                      </p:to>
                                    </p:set>
                                  </p:childTnLst>
                                </p:cTn>
                              </p:par>
                              <p:par>
                                <p:cTn id="216" presetID="10" presetClass="exit" presetSubtype="0" fill="hold" nodeType="withEffect">
                                  <p:stCondLst>
                                    <p:cond delay="0"/>
                                  </p:stCondLst>
                                  <p:childTnLst>
                                    <p:animEffect transition="out" filter="fade">
                                      <p:cBhvr>
                                        <p:cTn id="217" dur="500"/>
                                        <p:tgtEl>
                                          <p:spTgt spid="21"/>
                                        </p:tgtEl>
                                      </p:cBhvr>
                                    </p:animEffect>
                                    <p:set>
                                      <p:cBhvr>
                                        <p:cTn id="218" dur="1" fill="hold">
                                          <p:stCondLst>
                                            <p:cond delay="499"/>
                                          </p:stCondLst>
                                        </p:cTn>
                                        <p:tgtEl>
                                          <p:spTgt spid="21"/>
                                        </p:tgtEl>
                                        <p:attrNameLst>
                                          <p:attrName>style.visibility</p:attrName>
                                        </p:attrNameLst>
                                      </p:cBhvr>
                                      <p:to>
                                        <p:strVal val="hidden"/>
                                      </p:to>
                                    </p:set>
                                  </p:childTnLst>
                                </p:cTn>
                              </p:par>
                              <p:par>
                                <p:cTn id="219" presetID="10" presetClass="exit" presetSubtype="0" fill="hold" grpId="1" nodeType="withEffect">
                                  <p:stCondLst>
                                    <p:cond delay="0"/>
                                  </p:stCondLst>
                                  <p:childTnLst>
                                    <p:animEffect transition="out" filter="fade">
                                      <p:cBhvr>
                                        <p:cTn id="220" dur="500"/>
                                        <p:tgtEl>
                                          <p:spTgt spid="63"/>
                                        </p:tgtEl>
                                      </p:cBhvr>
                                    </p:animEffect>
                                    <p:set>
                                      <p:cBhvr>
                                        <p:cTn id="221" dur="1" fill="hold">
                                          <p:stCondLst>
                                            <p:cond delay="499"/>
                                          </p:stCondLst>
                                        </p:cTn>
                                        <p:tgtEl>
                                          <p:spTgt spid="63"/>
                                        </p:tgtEl>
                                        <p:attrNameLst>
                                          <p:attrName>style.visibility</p:attrName>
                                        </p:attrNameLst>
                                      </p:cBhvr>
                                      <p:to>
                                        <p:strVal val="hidden"/>
                                      </p:to>
                                    </p:set>
                                  </p:childTnLst>
                                </p:cTn>
                              </p:par>
                              <p:par>
                                <p:cTn id="222" presetID="10" presetClass="exit" presetSubtype="0" fill="hold" grpId="5" nodeType="withEffect">
                                  <p:stCondLst>
                                    <p:cond delay="0"/>
                                  </p:stCondLst>
                                  <p:childTnLst>
                                    <p:animEffect transition="out" filter="fade">
                                      <p:cBhvr>
                                        <p:cTn id="223" dur="500"/>
                                        <p:tgtEl>
                                          <p:spTgt spid="10"/>
                                        </p:tgtEl>
                                      </p:cBhvr>
                                    </p:animEffect>
                                    <p:set>
                                      <p:cBhvr>
                                        <p:cTn id="224" dur="1" fill="hold">
                                          <p:stCondLst>
                                            <p:cond delay="499"/>
                                          </p:stCondLst>
                                        </p:cTn>
                                        <p:tgtEl>
                                          <p:spTgt spid="10"/>
                                        </p:tgtEl>
                                        <p:attrNameLst>
                                          <p:attrName>style.visibility</p:attrName>
                                        </p:attrNameLst>
                                      </p:cBhvr>
                                      <p:to>
                                        <p:strVal val="hidden"/>
                                      </p:to>
                                    </p:set>
                                  </p:childTnLst>
                                </p:cTn>
                              </p:par>
                              <p:par>
                                <p:cTn id="225" presetID="10" presetClass="exit" presetSubtype="0" fill="hold" grpId="1" nodeType="withEffect">
                                  <p:stCondLst>
                                    <p:cond delay="0"/>
                                  </p:stCondLst>
                                  <p:childTnLst>
                                    <p:animEffect transition="out" filter="fade">
                                      <p:cBhvr>
                                        <p:cTn id="226" dur="500"/>
                                        <p:tgtEl>
                                          <p:spTgt spid="18"/>
                                        </p:tgtEl>
                                      </p:cBhvr>
                                    </p:animEffect>
                                    <p:set>
                                      <p:cBhvr>
                                        <p:cTn id="227" dur="1" fill="hold">
                                          <p:stCondLst>
                                            <p:cond delay="499"/>
                                          </p:stCondLst>
                                        </p:cTn>
                                        <p:tgtEl>
                                          <p:spTgt spid="18"/>
                                        </p:tgtEl>
                                        <p:attrNameLst>
                                          <p:attrName>style.visibility</p:attrName>
                                        </p:attrNameLst>
                                      </p:cBhvr>
                                      <p:to>
                                        <p:strVal val="hidden"/>
                                      </p:to>
                                    </p:set>
                                  </p:childTnLst>
                                </p:cTn>
                              </p:par>
                              <p:par>
                                <p:cTn id="228" presetID="10" presetClass="exit" presetSubtype="0" fill="hold" grpId="1" nodeType="withEffect">
                                  <p:stCondLst>
                                    <p:cond delay="0"/>
                                  </p:stCondLst>
                                  <p:childTnLst>
                                    <p:animEffect transition="out" filter="fade">
                                      <p:cBhvr>
                                        <p:cTn id="229" dur="500"/>
                                        <p:tgtEl>
                                          <p:spTgt spid="59"/>
                                        </p:tgtEl>
                                      </p:cBhvr>
                                    </p:animEffect>
                                    <p:set>
                                      <p:cBhvr>
                                        <p:cTn id="230" dur="1" fill="hold">
                                          <p:stCondLst>
                                            <p:cond delay="499"/>
                                          </p:stCondLst>
                                        </p:cTn>
                                        <p:tgtEl>
                                          <p:spTgt spid="59"/>
                                        </p:tgtEl>
                                        <p:attrNameLst>
                                          <p:attrName>style.visibility</p:attrName>
                                        </p:attrNameLst>
                                      </p:cBhvr>
                                      <p:to>
                                        <p:strVal val="hidden"/>
                                      </p:to>
                                    </p:set>
                                  </p:childTnLst>
                                </p:cTn>
                              </p:par>
                              <p:par>
                                <p:cTn id="231" presetID="42" presetClass="entr" presetSubtype="0" fill="hold" grpId="1" nodeType="withEffect">
                                  <p:stCondLst>
                                    <p:cond delay="0"/>
                                  </p:stCondLst>
                                  <p:childTnLst>
                                    <p:set>
                                      <p:cBhvr>
                                        <p:cTn id="232" dur="1" fill="hold">
                                          <p:stCondLst>
                                            <p:cond delay="0"/>
                                          </p:stCondLst>
                                        </p:cTn>
                                        <p:tgtEl>
                                          <p:spTgt spid="20"/>
                                        </p:tgtEl>
                                        <p:attrNameLst>
                                          <p:attrName>style.visibility</p:attrName>
                                        </p:attrNameLst>
                                      </p:cBhvr>
                                      <p:to>
                                        <p:strVal val="visible"/>
                                      </p:to>
                                    </p:set>
                                    <p:animEffect transition="in" filter="fade">
                                      <p:cBhvr>
                                        <p:cTn id="233" dur="500"/>
                                        <p:tgtEl>
                                          <p:spTgt spid="20"/>
                                        </p:tgtEl>
                                      </p:cBhvr>
                                    </p:animEffect>
                                    <p:anim calcmode="lin" valueType="num">
                                      <p:cBhvr>
                                        <p:cTn id="234" dur="500" fill="hold"/>
                                        <p:tgtEl>
                                          <p:spTgt spid="20"/>
                                        </p:tgtEl>
                                        <p:attrNameLst>
                                          <p:attrName>ppt_x</p:attrName>
                                        </p:attrNameLst>
                                      </p:cBhvr>
                                      <p:tavLst>
                                        <p:tav tm="0">
                                          <p:val>
                                            <p:strVal val="#ppt_x"/>
                                          </p:val>
                                        </p:tav>
                                        <p:tav tm="100000">
                                          <p:val>
                                            <p:strVal val="#ppt_x"/>
                                          </p:val>
                                        </p:tav>
                                      </p:tavLst>
                                    </p:anim>
                                    <p:anim calcmode="lin" valueType="num">
                                      <p:cBhvr>
                                        <p:cTn id="235" dur="500" fill="hold"/>
                                        <p:tgtEl>
                                          <p:spTgt spid="20"/>
                                        </p:tgtEl>
                                        <p:attrNameLst>
                                          <p:attrName>ppt_y</p:attrName>
                                        </p:attrNameLst>
                                      </p:cBhvr>
                                      <p:tavLst>
                                        <p:tav tm="0">
                                          <p:val>
                                            <p:strVal val="#ppt_y+.1"/>
                                          </p:val>
                                        </p:tav>
                                        <p:tav tm="100000">
                                          <p:val>
                                            <p:strVal val="#ppt_y"/>
                                          </p:val>
                                        </p:tav>
                                      </p:tavLst>
                                    </p:anim>
                                  </p:childTnLst>
                                </p:cTn>
                              </p:par>
                            </p:childTnLst>
                          </p:cTn>
                        </p:par>
                        <p:par>
                          <p:cTn id="236" fill="hold">
                            <p:stCondLst>
                              <p:cond delay="500"/>
                            </p:stCondLst>
                            <p:childTnLst>
                              <p:par>
                                <p:cTn id="237" presetID="10" presetClass="entr" presetSubtype="0" fill="hold" grpId="0" nodeType="afterEffect">
                                  <p:stCondLst>
                                    <p:cond delay="0"/>
                                  </p:stCondLst>
                                  <p:childTnLst>
                                    <p:set>
                                      <p:cBhvr>
                                        <p:cTn id="238" dur="1" fill="hold">
                                          <p:stCondLst>
                                            <p:cond delay="0"/>
                                          </p:stCondLst>
                                        </p:cTn>
                                        <p:tgtEl>
                                          <p:spTgt spid="22"/>
                                        </p:tgtEl>
                                        <p:attrNameLst>
                                          <p:attrName>style.visibility</p:attrName>
                                        </p:attrNameLst>
                                      </p:cBhvr>
                                      <p:to>
                                        <p:strVal val="visible"/>
                                      </p:to>
                                    </p:set>
                                    <p:animEffect transition="in" filter="fade">
                                      <p:cBhvr>
                                        <p:cTn id="239" dur="500"/>
                                        <p:tgtEl>
                                          <p:spTgt spid="22"/>
                                        </p:tgtEl>
                                      </p:cBhvr>
                                    </p:animEffect>
                                  </p:childTnLst>
                                </p:cTn>
                              </p:par>
                              <p:par>
                                <p:cTn id="240" presetID="10" presetClass="exit" presetSubtype="0" fill="hold" grpId="2" nodeType="withEffect">
                                  <p:stCondLst>
                                    <p:cond delay="0"/>
                                  </p:stCondLst>
                                  <p:childTnLst>
                                    <p:animEffect transition="out" filter="fade">
                                      <p:cBhvr>
                                        <p:cTn id="241" dur="500"/>
                                        <p:tgtEl>
                                          <p:spTgt spid="20"/>
                                        </p:tgtEl>
                                      </p:cBhvr>
                                    </p:animEffect>
                                    <p:set>
                                      <p:cBhvr>
                                        <p:cTn id="242" dur="1" fill="hold">
                                          <p:stCondLst>
                                            <p:cond delay="499"/>
                                          </p:stCondLst>
                                        </p:cTn>
                                        <p:tgtEl>
                                          <p:spTgt spid="20"/>
                                        </p:tgtEl>
                                        <p:attrNameLst>
                                          <p:attrName>style.visibility</p:attrName>
                                        </p:attrNameLst>
                                      </p:cBhvr>
                                      <p:to>
                                        <p:strVal val="hidden"/>
                                      </p:to>
                                    </p:set>
                                  </p:childTnLst>
                                </p:cTn>
                              </p:par>
                              <p:par>
                                <p:cTn id="243" presetID="42" presetClass="path" presetSubtype="0" accel="50000" decel="50000" fill="hold" grpId="0" nodeType="withEffect">
                                  <p:stCondLst>
                                    <p:cond delay="0"/>
                                  </p:stCondLst>
                                  <p:childTnLst>
                                    <p:animMotion origin="layout" path="M 2.74306E-6 -2.71605E-6 L -0.28917 -0.00038 " pathEditMode="relative" rAng="0" ptsTypes="AA">
                                      <p:cBhvr>
                                        <p:cTn id="244" dur="1000" fill="hold"/>
                                        <p:tgtEl>
                                          <p:spTgt spid="6"/>
                                        </p:tgtEl>
                                        <p:attrNameLst>
                                          <p:attrName>ppt_x</p:attrName>
                                          <p:attrName>ppt_y</p:attrName>
                                        </p:attrNameLst>
                                      </p:cBhvr>
                                      <p:rCtr x="-14464" y="-19"/>
                                    </p:animMotion>
                                  </p:childTnLst>
                                </p:cTn>
                              </p:par>
                            </p:childTnLst>
                          </p:cTn>
                        </p:par>
                        <p:par>
                          <p:cTn id="245" fill="hold">
                            <p:stCondLst>
                              <p:cond delay="1500"/>
                            </p:stCondLst>
                            <p:childTnLst>
                              <p:par>
                                <p:cTn id="246" presetID="10" presetClass="entr" presetSubtype="0" fill="hold" grpId="6" nodeType="afterEffect">
                                  <p:stCondLst>
                                    <p:cond delay="0"/>
                                  </p:stCondLst>
                                  <p:childTnLst>
                                    <p:set>
                                      <p:cBhvr>
                                        <p:cTn id="247" dur="1" fill="hold">
                                          <p:stCondLst>
                                            <p:cond delay="0"/>
                                          </p:stCondLst>
                                        </p:cTn>
                                        <p:tgtEl>
                                          <p:spTgt spid="10"/>
                                        </p:tgtEl>
                                        <p:attrNameLst>
                                          <p:attrName>style.visibility</p:attrName>
                                        </p:attrNameLst>
                                      </p:cBhvr>
                                      <p:to>
                                        <p:strVal val="visible"/>
                                      </p:to>
                                    </p:set>
                                    <p:animEffect transition="in" filter="fade">
                                      <p:cBhvr>
                                        <p:cTn id="248" dur="500"/>
                                        <p:tgtEl>
                                          <p:spTgt spid="10"/>
                                        </p:tgtEl>
                                      </p:cBhvr>
                                    </p:animEffect>
                                  </p:childTnLst>
                                </p:cTn>
                              </p:par>
                              <p:par>
                                <p:cTn id="249" presetID="10" presetClass="entr" presetSubtype="0" fill="hold" nodeType="withEffect">
                                  <p:stCondLst>
                                    <p:cond delay="0"/>
                                  </p:stCondLst>
                                  <p:childTnLst>
                                    <p:set>
                                      <p:cBhvr>
                                        <p:cTn id="250" dur="1" fill="hold">
                                          <p:stCondLst>
                                            <p:cond delay="0"/>
                                          </p:stCondLst>
                                        </p:cTn>
                                        <p:tgtEl>
                                          <p:spTgt spid="69"/>
                                        </p:tgtEl>
                                        <p:attrNameLst>
                                          <p:attrName>style.visibility</p:attrName>
                                        </p:attrNameLst>
                                      </p:cBhvr>
                                      <p:to>
                                        <p:strVal val="visible"/>
                                      </p:to>
                                    </p:set>
                                    <p:animEffect transition="in" filter="fade">
                                      <p:cBhvr>
                                        <p:cTn id="251" dur="500"/>
                                        <p:tgtEl>
                                          <p:spTgt spid="69"/>
                                        </p:tgtEl>
                                      </p:cBhvr>
                                    </p:animEffect>
                                  </p:childTnLst>
                                </p:cTn>
                              </p:par>
                              <p:par>
                                <p:cTn id="252" presetID="10" presetClass="entr" presetSubtype="0" fill="hold" nodeType="withEffect">
                                  <p:stCondLst>
                                    <p:cond delay="0"/>
                                  </p:stCondLst>
                                  <p:childTnLst>
                                    <p:set>
                                      <p:cBhvr>
                                        <p:cTn id="253" dur="1" fill="hold">
                                          <p:stCondLst>
                                            <p:cond delay="0"/>
                                          </p:stCondLst>
                                        </p:cTn>
                                        <p:tgtEl>
                                          <p:spTgt spid="26"/>
                                        </p:tgtEl>
                                        <p:attrNameLst>
                                          <p:attrName>style.visibility</p:attrName>
                                        </p:attrNameLst>
                                      </p:cBhvr>
                                      <p:to>
                                        <p:strVal val="visible"/>
                                      </p:to>
                                    </p:set>
                                    <p:animEffect transition="in" filter="fade">
                                      <p:cBhvr>
                                        <p:cTn id="254" dur="500"/>
                                        <p:tgtEl>
                                          <p:spTgt spid="26"/>
                                        </p:tgtEl>
                                      </p:cBhvr>
                                    </p:animEffect>
                                  </p:childTnLst>
                                </p:cTn>
                              </p:par>
                              <p:par>
                                <p:cTn id="255" presetID="10" presetClass="entr" presetSubtype="0" fill="hold" nodeType="withEffect">
                                  <p:stCondLst>
                                    <p:cond delay="0"/>
                                  </p:stCondLst>
                                  <p:childTnLst>
                                    <p:set>
                                      <p:cBhvr>
                                        <p:cTn id="256" dur="1" fill="hold">
                                          <p:stCondLst>
                                            <p:cond delay="0"/>
                                          </p:stCondLst>
                                        </p:cTn>
                                        <p:tgtEl>
                                          <p:spTgt spid="76"/>
                                        </p:tgtEl>
                                        <p:attrNameLst>
                                          <p:attrName>style.visibility</p:attrName>
                                        </p:attrNameLst>
                                      </p:cBhvr>
                                      <p:to>
                                        <p:strVal val="visible"/>
                                      </p:to>
                                    </p:set>
                                    <p:animEffect transition="in" filter="fade">
                                      <p:cBhvr>
                                        <p:cTn id="257" dur="500"/>
                                        <p:tgtEl>
                                          <p:spTgt spid="76"/>
                                        </p:tgtEl>
                                      </p:cBhvr>
                                    </p:animEffect>
                                  </p:childTnLst>
                                </p:cTn>
                              </p:par>
                              <p:par>
                                <p:cTn id="258" presetID="10" presetClass="entr" presetSubtype="0" fill="hold" nodeType="withEffect">
                                  <p:stCondLst>
                                    <p:cond delay="0"/>
                                  </p:stCondLst>
                                  <p:childTnLst>
                                    <p:set>
                                      <p:cBhvr>
                                        <p:cTn id="259" dur="1" fill="hold">
                                          <p:stCondLst>
                                            <p:cond delay="0"/>
                                          </p:stCondLst>
                                        </p:cTn>
                                        <p:tgtEl>
                                          <p:spTgt spid="85"/>
                                        </p:tgtEl>
                                        <p:attrNameLst>
                                          <p:attrName>style.visibility</p:attrName>
                                        </p:attrNameLst>
                                      </p:cBhvr>
                                      <p:to>
                                        <p:strVal val="visible"/>
                                      </p:to>
                                    </p:set>
                                    <p:animEffect transition="in" filter="fade">
                                      <p:cBhvr>
                                        <p:cTn id="260" dur="500"/>
                                        <p:tgtEl>
                                          <p:spTgt spid="85"/>
                                        </p:tgtEl>
                                      </p:cBhvr>
                                    </p:animEffect>
                                  </p:childTnLst>
                                </p:cTn>
                              </p:par>
                            </p:childTnLst>
                          </p:cTn>
                        </p:par>
                        <p:par>
                          <p:cTn id="261" fill="hold">
                            <p:stCondLst>
                              <p:cond delay="2000"/>
                            </p:stCondLst>
                            <p:childTnLst>
                              <p:par>
                                <p:cTn id="262" presetID="22" presetClass="entr" presetSubtype="8" fill="hold" grpId="0" nodeType="afterEffect">
                                  <p:stCondLst>
                                    <p:cond delay="0"/>
                                  </p:stCondLst>
                                  <p:childTnLst>
                                    <p:set>
                                      <p:cBhvr>
                                        <p:cTn id="263" dur="1" fill="hold">
                                          <p:stCondLst>
                                            <p:cond delay="0"/>
                                          </p:stCondLst>
                                        </p:cTn>
                                        <p:tgtEl>
                                          <p:spTgt spid="23"/>
                                        </p:tgtEl>
                                        <p:attrNameLst>
                                          <p:attrName>style.visibility</p:attrName>
                                        </p:attrNameLst>
                                      </p:cBhvr>
                                      <p:to>
                                        <p:strVal val="visible"/>
                                      </p:to>
                                    </p:set>
                                    <p:animEffect transition="in" filter="wipe(left)">
                                      <p:cBhvr>
                                        <p:cTn id="264" dur="500"/>
                                        <p:tgtEl>
                                          <p:spTgt spid="23"/>
                                        </p:tgtEl>
                                      </p:cBhvr>
                                    </p:animEffect>
                                  </p:childTnLst>
                                </p:cTn>
                              </p:par>
                              <p:par>
                                <p:cTn id="265" presetID="21" presetClass="entr" presetSubtype="1" fill="hold" nodeType="withEffect">
                                  <p:stCondLst>
                                    <p:cond delay="0"/>
                                  </p:stCondLst>
                                  <p:childTnLst>
                                    <p:set>
                                      <p:cBhvr>
                                        <p:cTn id="266" dur="1" fill="hold">
                                          <p:stCondLst>
                                            <p:cond delay="0"/>
                                          </p:stCondLst>
                                        </p:cTn>
                                        <p:tgtEl>
                                          <p:spTgt spid="68"/>
                                        </p:tgtEl>
                                        <p:attrNameLst>
                                          <p:attrName>style.visibility</p:attrName>
                                        </p:attrNameLst>
                                      </p:cBhvr>
                                      <p:to>
                                        <p:strVal val="visible"/>
                                      </p:to>
                                    </p:set>
                                    <p:animEffect transition="in" filter="wheel(1)">
                                      <p:cBhvr>
                                        <p:cTn id="267" dur="500"/>
                                        <p:tgtEl>
                                          <p:spTgt spid="68"/>
                                        </p:tgtEl>
                                      </p:cBhvr>
                                    </p:animEffect>
                                  </p:childTnLst>
                                </p:cTn>
                              </p:par>
                            </p:childTnLst>
                          </p:cTn>
                        </p:par>
                        <p:par>
                          <p:cTn id="268" fill="hold">
                            <p:stCondLst>
                              <p:cond delay="2500"/>
                            </p:stCondLst>
                            <p:childTnLst>
                              <p:par>
                                <p:cTn id="269" presetID="1" presetClass="entr" presetSubtype="0" fill="hold" nodeType="afterEffect">
                                  <p:stCondLst>
                                    <p:cond delay="0"/>
                                  </p:stCondLst>
                                  <p:childTnLst>
                                    <p:set>
                                      <p:cBhvr>
                                        <p:cTn id="270" dur="1" fill="hold">
                                          <p:stCondLst>
                                            <p:cond delay="0"/>
                                          </p:stCondLst>
                                        </p:cTn>
                                        <p:tgtEl>
                                          <p:spTgt spid="73"/>
                                        </p:tgtEl>
                                        <p:attrNameLst>
                                          <p:attrName>style.visibility</p:attrName>
                                        </p:attrNameLst>
                                      </p:cBhvr>
                                      <p:to>
                                        <p:strVal val="visible"/>
                                      </p:to>
                                    </p:set>
                                  </p:childTnLst>
                                </p:cTn>
                              </p:par>
                            </p:childTnLst>
                          </p:cTn>
                        </p:par>
                        <p:par>
                          <p:cTn id="271" fill="hold">
                            <p:stCondLst>
                              <p:cond delay="2500"/>
                            </p:stCondLst>
                            <p:childTnLst>
                              <p:par>
                                <p:cTn id="272" presetID="42" presetClass="path" presetSubtype="0" accel="50000" decel="50000" fill="hold" nodeType="afterEffect">
                                  <p:stCondLst>
                                    <p:cond delay="0"/>
                                  </p:stCondLst>
                                  <p:childTnLst>
                                    <p:animMotion origin="layout" path="M -4.0625E-6 -3.51852E-6 L 0.24165 -0.15142 " pathEditMode="relative" rAng="0" ptsTypes="AA">
                                      <p:cBhvr>
                                        <p:cTn id="273" dur="2000" fill="hold"/>
                                        <p:tgtEl>
                                          <p:spTgt spid="73"/>
                                        </p:tgtEl>
                                        <p:attrNameLst>
                                          <p:attrName>ppt_x</p:attrName>
                                          <p:attrName>ppt_y</p:attrName>
                                        </p:attrNameLst>
                                      </p:cBhvr>
                                      <p:rCtr x="12077" y="-7581"/>
                                    </p:animMotion>
                                  </p:childTnLst>
                                </p:cTn>
                              </p:par>
                              <p:par>
                                <p:cTn id="274" presetID="42" presetClass="path" presetSubtype="0" accel="50000" decel="50000" fill="hold" nodeType="withEffect">
                                  <p:stCondLst>
                                    <p:cond delay="0"/>
                                  </p:stCondLst>
                                  <p:childTnLst>
                                    <p:animMotion origin="layout" path="M 4.44444E-6 2.28395E-6 L 0.24349 0.14564 " pathEditMode="relative" rAng="0" ptsTypes="AA">
                                      <p:cBhvr>
                                        <p:cTn id="275" dur="2000" fill="hold"/>
                                        <p:tgtEl>
                                          <p:spTgt spid="68"/>
                                        </p:tgtEl>
                                        <p:attrNameLst>
                                          <p:attrName>ppt_x</p:attrName>
                                          <p:attrName>ppt_y</p:attrName>
                                        </p:attrNameLst>
                                      </p:cBhvr>
                                      <p:rCtr x="12174" y="7272"/>
                                    </p:animMotion>
                                  </p:childTnLst>
                                </p:cTn>
                              </p:par>
                            </p:childTnLst>
                          </p:cTn>
                        </p:par>
                      </p:childTnLst>
                    </p:cTn>
                  </p:par>
                  <p:par>
                    <p:cTn id="276" fill="hold">
                      <p:stCondLst>
                        <p:cond delay="indefinite"/>
                      </p:stCondLst>
                      <p:childTnLst>
                        <p:par>
                          <p:cTn id="277" fill="hold">
                            <p:stCondLst>
                              <p:cond delay="0"/>
                            </p:stCondLst>
                            <p:childTnLst>
                              <p:par>
                                <p:cTn id="278" presetID="10" presetClass="exit" presetSubtype="0" fill="hold" nodeType="clickEffect">
                                  <p:stCondLst>
                                    <p:cond delay="0"/>
                                  </p:stCondLst>
                                  <p:childTnLst>
                                    <p:animEffect transition="out" filter="fade">
                                      <p:cBhvr>
                                        <p:cTn id="279" dur="500"/>
                                        <p:tgtEl>
                                          <p:spTgt spid="69"/>
                                        </p:tgtEl>
                                      </p:cBhvr>
                                    </p:animEffect>
                                    <p:set>
                                      <p:cBhvr>
                                        <p:cTn id="280" dur="1" fill="hold">
                                          <p:stCondLst>
                                            <p:cond delay="499"/>
                                          </p:stCondLst>
                                        </p:cTn>
                                        <p:tgtEl>
                                          <p:spTgt spid="69"/>
                                        </p:tgtEl>
                                        <p:attrNameLst>
                                          <p:attrName>style.visibility</p:attrName>
                                        </p:attrNameLst>
                                      </p:cBhvr>
                                      <p:to>
                                        <p:strVal val="hidden"/>
                                      </p:to>
                                    </p:set>
                                  </p:childTnLst>
                                </p:cTn>
                              </p:par>
                              <p:par>
                                <p:cTn id="281" presetID="10" presetClass="exit" presetSubtype="0" fill="hold" nodeType="withEffect">
                                  <p:stCondLst>
                                    <p:cond delay="0"/>
                                  </p:stCondLst>
                                  <p:childTnLst>
                                    <p:animEffect transition="out" filter="fade">
                                      <p:cBhvr>
                                        <p:cTn id="282" dur="500"/>
                                        <p:tgtEl>
                                          <p:spTgt spid="26"/>
                                        </p:tgtEl>
                                      </p:cBhvr>
                                    </p:animEffect>
                                    <p:set>
                                      <p:cBhvr>
                                        <p:cTn id="283" dur="1" fill="hold">
                                          <p:stCondLst>
                                            <p:cond delay="499"/>
                                          </p:stCondLst>
                                        </p:cTn>
                                        <p:tgtEl>
                                          <p:spTgt spid="26"/>
                                        </p:tgtEl>
                                        <p:attrNameLst>
                                          <p:attrName>style.visibility</p:attrName>
                                        </p:attrNameLst>
                                      </p:cBhvr>
                                      <p:to>
                                        <p:strVal val="hidden"/>
                                      </p:to>
                                    </p:set>
                                  </p:childTnLst>
                                </p:cTn>
                              </p:par>
                              <p:par>
                                <p:cTn id="284" presetID="10" presetClass="exit" presetSubtype="0" fill="hold" nodeType="withEffect">
                                  <p:stCondLst>
                                    <p:cond delay="0"/>
                                  </p:stCondLst>
                                  <p:childTnLst>
                                    <p:animEffect transition="out" filter="fade">
                                      <p:cBhvr>
                                        <p:cTn id="285" dur="500"/>
                                        <p:tgtEl>
                                          <p:spTgt spid="85"/>
                                        </p:tgtEl>
                                      </p:cBhvr>
                                    </p:animEffect>
                                    <p:set>
                                      <p:cBhvr>
                                        <p:cTn id="286" dur="1" fill="hold">
                                          <p:stCondLst>
                                            <p:cond delay="499"/>
                                          </p:stCondLst>
                                        </p:cTn>
                                        <p:tgtEl>
                                          <p:spTgt spid="85"/>
                                        </p:tgtEl>
                                        <p:attrNameLst>
                                          <p:attrName>style.visibility</p:attrName>
                                        </p:attrNameLst>
                                      </p:cBhvr>
                                      <p:to>
                                        <p:strVal val="hidden"/>
                                      </p:to>
                                    </p:set>
                                  </p:childTnLst>
                                </p:cTn>
                              </p:par>
                              <p:par>
                                <p:cTn id="287" presetID="10" presetClass="exit" presetSubtype="0" fill="hold" nodeType="withEffect">
                                  <p:stCondLst>
                                    <p:cond delay="0"/>
                                  </p:stCondLst>
                                  <p:childTnLst>
                                    <p:animEffect transition="out" filter="fade">
                                      <p:cBhvr>
                                        <p:cTn id="288" dur="500"/>
                                        <p:tgtEl>
                                          <p:spTgt spid="76"/>
                                        </p:tgtEl>
                                      </p:cBhvr>
                                    </p:animEffect>
                                    <p:set>
                                      <p:cBhvr>
                                        <p:cTn id="289" dur="1" fill="hold">
                                          <p:stCondLst>
                                            <p:cond delay="499"/>
                                          </p:stCondLst>
                                        </p:cTn>
                                        <p:tgtEl>
                                          <p:spTgt spid="76"/>
                                        </p:tgtEl>
                                        <p:attrNameLst>
                                          <p:attrName>style.visibility</p:attrName>
                                        </p:attrNameLst>
                                      </p:cBhvr>
                                      <p:to>
                                        <p:strVal val="hidden"/>
                                      </p:to>
                                    </p:set>
                                  </p:childTnLst>
                                </p:cTn>
                              </p:par>
                              <p:par>
                                <p:cTn id="290" presetID="10" presetClass="exit" presetSubtype="0" fill="hold" grpId="1" nodeType="withEffect">
                                  <p:stCondLst>
                                    <p:cond delay="0"/>
                                  </p:stCondLst>
                                  <p:childTnLst>
                                    <p:animEffect transition="out" filter="fade">
                                      <p:cBhvr>
                                        <p:cTn id="291" dur="500"/>
                                        <p:tgtEl>
                                          <p:spTgt spid="23"/>
                                        </p:tgtEl>
                                      </p:cBhvr>
                                    </p:animEffect>
                                    <p:set>
                                      <p:cBhvr>
                                        <p:cTn id="292" dur="1" fill="hold">
                                          <p:stCondLst>
                                            <p:cond delay="499"/>
                                          </p:stCondLst>
                                        </p:cTn>
                                        <p:tgtEl>
                                          <p:spTgt spid="23"/>
                                        </p:tgtEl>
                                        <p:attrNameLst>
                                          <p:attrName>style.visibility</p:attrName>
                                        </p:attrNameLst>
                                      </p:cBhvr>
                                      <p:to>
                                        <p:strVal val="hidden"/>
                                      </p:to>
                                    </p:set>
                                  </p:childTnLst>
                                </p:cTn>
                              </p:par>
                              <p:par>
                                <p:cTn id="293" presetID="10" presetClass="exit" presetSubtype="0" fill="hold" nodeType="withEffect">
                                  <p:stCondLst>
                                    <p:cond delay="0"/>
                                  </p:stCondLst>
                                  <p:childTnLst>
                                    <p:animEffect transition="out" filter="fade">
                                      <p:cBhvr>
                                        <p:cTn id="294" dur="500"/>
                                        <p:tgtEl>
                                          <p:spTgt spid="68"/>
                                        </p:tgtEl>
                                      </p:cBhvr>
                                    </p:animEffect>
                                    <p:set>
                                      <p:cBhvr>
                                        <p:cTn id="295" dur="1" fill="hold">
                                          <p:stCondLst>
                                            <p:cond delay="499"/>
                                          </p:stCondLst>
                                        </p:cTn>
                                        <p:tgtEl>
                                          <p:spTgt spid="68"/>
                                        </p:tgtEl>
                                        <p:attrNameLst>
                                          <p:attrName>style.visibility</p:attrName>
                                        </p:attrNameLst>
                                      </p:cBhvr>
                                      <p:to>
                                        <p:strVal val="hidden"/>
                                      </p:to>
                                    </p:set>
                                  </p:childTnLst>
                                </p:cTn>
                              </p:par>
                              <p:par>
                                <p:cTn id="296" presetID="10" presetClass="exit" presetSubtype="0" fill="hold" nodeType="withEffect">
                                  <p:stCondLst>
                                    <p:cond delay="0"/>
                                  </p:stCondLst>
                                  <p:childTnLst>
                                    <p:animEffect transition="out" filter="fade">
                                      <p:cBhvr>
                                        <p:cTn id="297" dur="500"/>
                                        <p:tgtEl>
                                          <p:spTgt spid="73"/>
                                        </p:tgtEl>
                                      </p:cBhvr>
                                    </p:animEffect>
                                    <p:set>
                                      <p:cBhvr>
                                        <p:cTn id="298" dur="1" fill="hold">
                                          <p:stCondLst>
                                            <p:cond delay="499"/>
                                          </p:stCondLst>
                                        </p:cTn>
                                        <p:tgtEl>
                                          <p:spTgt spid="73"/>
                                        </p:tgtEl>
                                        <p:attrNameLst>
                                          <p:attrName>style.visibility</p:attrName>
                                        </p:attrNameLst>
                                      </p:cBhvr>
                                      <p:to>
                                        <p:strVal val="hidden"/>
                                      </p:to>
                                    </p:set>
                                  </p:childTnLst>
                                </p:cTn>
                              </p:par>
                              <p:par>
                                <p:cTn id="299" presetID="10" presetClass="exit" presetSubtype="0" fill="hold" grpId="7" nodeType="withEffect">
                                  <p:stCondLst>
                                    <p:cond delay="0"/>
                                  </p:stCondLst>
                                  <p:childTnLst>
                                    <p:animEffect transition="out" filter="fade">
                                      <p:cBhvr>
                                        <p:cTn id="300" dur="500"/>
                                        <p:tgtEl>
                                          <p:spTgt spid="10"/>
                                        </p:tgtEl>
                                      </p:cBhvr>
                                    </p:animEffect>
                                    <p:set>
                                      <p:cBhvr>
                                        <p:cTn id="301" dur="1" fill="hold">
                                          <p:stCondLst>
                                            <p:cond delay="499"/>
                                          </p:stCondLst>
                                        </p:cTn>
                                        <p:tgtEl>
                                          <p:spTgt spid="10"/>
                                        </p:tgtEl>
                                        <p:attrNameLst>
                                          <p:attrName>style.visibility</p:attrName>
                                        </p:attrNameLst>
                                      </p:cBhvr>
                                      <p:to>
                                        <p:strVal val="hidden"/>
                                      </p:to>
                                    </p:set>
                                  </p:childTnLst>
                                </p:cTn>
                              </p:par>
                              <p:par>
                                <p:cTn id="302" presetID="10" presetClass="exit" presetSubtype="0" fill="hold" grpId="1" nodeType="withEffect">
                                  <p:stCondLst>
                                    <p:cond delay="0"/>
                                  </p:stCondLst>
                                  <p:childTnLst>
                                    <p:animEffect transition="out" filter="fade">
                                      <p:cBhvr>
                                        <p:cTn id="303" dur="500"/>
                                        <p:tgtEl>
                                          <p:spTgt spid="22"/>
                                        </p:tgtEl>
                                      </p:cBhvr>
                                    </p:animEffect>
                                    <p:set>
                                      <p:cBhvr>
                                        <p:cTn id="304" dur="1" fill="hold">
                                          <p:stCondLst>
                                            <p:cond delay="499"/>
                                          </p:stCondLst>
                                        </p:cTn>
                                        <p:tgtEl>
                                          <p:spTgt spid="22"/>
                                        </p:tgtEl>
                                        <p:attrNameLst>
                                          <p:attrName>style.visibility</p:attrName>
                                        </p:attrNameLst>
                                      </p:cBhvr>
                                      <p:to>
                                        <p:strVal val="hidden"/>
                                      </p:to>
                                    </p:set>
                                  </p:childTnLst>
                                </p:cTn>
                              </p:par>
                              <p:par>
                                <p:cTn id="305" presetID="10" presetClass="entr" presetSubtype="0" fill="hold" grpId="3" nodeType="withEffect">
                                  <p:stCondLst>
                                    <p:cond delay="0"/>
                                  </p:stCondLst>
                                  <p:childTnLst>
                                    <p:set>
                                      <p:cBhvr>
                                        <p:cTn id="306" dur="1" fill="hold">
                                          <p:stCondLst>
                                            <p:cond delay="0"/>
                                          </p:stCondLst>
                                        </p:cTn>
                                        <p:tgtEl>
                                          <p:spTgt spid="20"/>
                                        </p:tgtEl>
                                        <p:attrNameLst>
                                          <p:attrName>style.visibility</p:attrName>
                                        </p:attrNameLst>
                                      </p:cBhvr>
                                      <p:to>
                                        <p:strVal val="visible"/>
                                      </p:to>
                                    </p:set>
                                    <p:animEffect transition="in" filter="fade">
                                      <p:cBhvr>
                                        <p:cTn id="307" dur="500"/>
                                        <p:tgtEl>
                                          <p:spTgt spid="20"/>
                                        </p:tgtEl>
                                      </p:cBhvr>
                                    </p:animEffect>
                                  </p:childTnLst>
                                </p:cTn>
                              </p:par>
                              <p:par>
                                <p:cTn id="308" presetID="2" presetClass="entr" presetSubtype="4" fill="hold" grpId="1" nodeType="withEffect">
                                  <p:stCondLst>
                                    <p:cond delay="0"/>
                                  </p:stCondLst>
                                  <p:childTnLst>
                                    <p:set>
                                      <p:cBhvr>
                                        <p:cTn id="309" dur="1" fill="hold">
                                          <p:stCondLst>
                                            <p:cond delay="0"/>
                                          </p:stCondLst>
                                        </p:cTn>
                                        <p:tgtEl>
                                          <p:spTgt spid="6"/>
                                        </p:tgtEl>
                                        <p:attrNameLst>
                                          <p:attrName>style.visibility</p:attrName>
                                        </p:attrNameLst>
                                      </p:cBhvr>
                                      <p:to>
                                        <p:strVal val="visible"/>
                                      </p:to>
                                    </p:set>
                                    <p:anim calcmode="lin" valueType="num">
                                      <p:cBhvr additive="base">
                                        <p:cTn id="310" dur="500" fill="hold"/>
                                        <p:tgtEl>
                                          <p:spTgt spid="6"/>
                                        </p:tgtEl>
                                        <p:attrNameLst>
                                          <p:attrName>ppt_x</p:attrName>
                                        </p:attrNameLst>
                                      </p:cBhvr>
                                      <p:tavLst>
                                        <p:tav tm="0">
                                          <p:val>
                                            <p:strVal val="#ppt_x"/>
                                          </p:val>
                                        </p:tav>
                                        <p:tav tm="100000">
                                          <p:val>
                                            <p:strVal val="#ppt_x"/>
                                          </p:val>
                                        </p:tav>
                                      </p:tavLst>
                                    </p:anim>
                                    <p:anim calcmode="lin" valueType="num">
                                      <p:cBhvr additive="base">
                                        <p:cTn id="311" dur="500" fill="hold"/>
                                        <p:tgtEl>
                                          <p:spTgt spid="6"/>
                                        </p:tgtEl>
                                        <p:attrNameLst>
                                          <p:attrName>ppt_y</p:attrName>
                                        </p:attrNameLst>
                                      </p:cBhvr>
                                      <p:tavLst>
                                        <p:tav tm="0">
                                          <p:val>
                                            <p:strVal val="1+#ppt_h/2"/>
                                          </p:val>
                                        </p:tav>
                                        <p:tav tm="100000">
                                          <p:val>
                                            <p:strVal val="#ppt_y"/>
                                          </p:val>
                                        </p:tav>
                                      </p:tavLst>
                                    </p:anim>
                                  </p:childTnLst>
                                </p:cTn>
                              </p:par>
                              <p:par>
                                <p:cTn id="312" presetID="42" presetClass="entr" presetSubtype="0" fill="hold" grpId="2" nodeType="withEffect">
                                  <p:stCondLst>
                                    <p:cond delay="0"/>
                                  </p:stCondLst>
                                  <p:childTnLst>
                                    <p:set>
                                      <p:cBhvr>
                                        <p:cTn id="313" dur="1" fill="hold">
                                          <p:stCondLst>
                                            <p:cond delay="0"/>
                                          </p:stCondLst>
                                        </p:cTn>
                                        <p:tgtEl>
                                          <p:spTgt spid="6"/>
                                        </p:tgtEl>
                                        <p:attrNameLst>
                                          <p:attrName>style.visibility</p:attrName>
                                        </p:attrNameLst>
                                      </p:cBhvr>
                                      <p:to>
                                        <p:strVal val="visible"/>
                                      </p:to>
                                    </p:set>
                                    <p:animEffect transition="in" filter="fade">
                                      <p:cBhvr>
                                        <p:cTn id="314" dur="500"/>
                                        <p:tgtEl>
                                          <p:spTgt spid="6"/>
                                        </p:tgtEl>
                                      </p:cBhvr>
                                    </p:animEffect>
                                    <p:anim calcmode="lin" valueType="num">
                                      <p:cBhvr>
                                        <p:cTn id="315" dur="500" fill="hold"/>
                                        <p:tgtEl>
                                          <p:spTgt spid="6"/>
                                        </p:tgtEl>
                                        <p:attrNameLst>
                                          <p:attrName>ppt_x</p:attrName>
                                        </p:attrNameLst>
                                      </p:cBhvr>
                                      <p:tavLst>
                                        <p:tav tm="0">
                                          <p:val>
                                            <p:strVal val="#ppt_x"/>
                                          </p:val>
                                        </p:tav>
                                        <p:tav tm="100000">
                                          <p:val>
                                            <p:strVal val="#ppt_x"/>
                                          </p:val>
                                        </p:tav>
                                      </p:tavLst>
                                    </p:anim>
                                    <p:anim calcmode="lin" valueType="num">
                                      <p:cBhvr>
                                        <p:cTn id="316" dur="500" fill="hold"/>
                                        <p:tgtEl>
                                          <p:spTgt spid="6"/>
                                        </p:tgtEl>
                                        <p:attrNameLst>
                                          <p:attrName>ppt_y</p:attrName>
                                        </p:attrNameLst>
                                      </p:cBhvr>
                                      <p:tavLst>
                                        <p:tav tm="0">
                                          <p:val>
                                            <p:strVal val="#ppt_y+.1"/>
                                          </p:val>
                                        </p:tav>
                                        <p:tav tm="100000">
                                          <p:val>
                                            <p:strVal val="#ppt_y"/>
                                          </p:val>
                                        </p:tav>
                                      </p:tavLst>
                                    </p:anim>
                                  </p:childTnLst>
                                </p:cTn>
                              </p:par>
                              <p:par>
                                <p:cTn id="317" presetID="10" presetClass="entr" presetSubtype="0" fill="hold" nodeType="withEffect">
                                  <p:stCondLst>
                                    <p:cond delay="0"/>
                                  </p:stCondLst>
                                  <p:childTnLst>
                                    <p:set>
                                      <p:cBhvr>
                                        <p:cTn id="318" dur="1" fill="hold">
                                          <p:stCondLst>
                                            <p:cond delay="0"/>
                                          </p:stCondLst>
                                        </p:cTn>
                                        <p:tgtEl>
                                          <p:spTgt spid="62"/>
                                        </p:tgtEl>
                                        <p:attrNameLst>
                                          <p:attrName>style.visibility</p:attrName>
                                        </p:attrNameLst>
                                      </p:cBhvr>
                                      <p:to>
                                        <p:strVal val="visible"/>
                                      </p:to>
                                    </p:set>
                                    <p:animEffect transition="in" filter="fade">
                                      <p:cBhvr>
                                        <p:cTn id="319" dur="500"/>
                                        <p:tgtEl>
                                          <p:spTgt spid="62"/>
                                        </p:tgtEl>
                                      </p:cBhvr>
                                    </p:animEffect>
                                  </p:childTnLst>
                                </p:cTn>
                              </p:par>
                              <p:par>
                                <p:cTn id="320" presetID="10" presetClass="entr" presetSubtype="0" fill="hold" nodeType="withEffect">
                                  <p:stCondLst>
                                    <p:cond delay="0"/>
                                  </p:stCondLst>
                                  <p:childTnLst>
                                    <p:set>
                                      <p:cBhvr>
                                        <p:cTn id="321" dur="1" fill="hold">
                                          <p:stCondLst>
                                            <p:cond delay="0"/>
                                          </p:stCondLst>
                                        </p:cTn>
                                        <p:tgtEl>
                                          <p:spTgt spid="77"/>
                                        </p:tgtEl>
                                        <p:attrNameLst>
                                          <p:attrName>style.visibility</p:attrName>
                                        </p:attrNameLst>
                                      </p:cBhvr>
                                      <p:to>
                                        <p:strVal val="visible"/>
                                      </p:to>
                                    </p:set>
                                    <p:animEffect transition="in" filter="fade">
                                      <p:cBhvr>
                                        <p:cTn id="322" dur="500"/>
                                        <p:tgtEl>
                                          <p:spTgt spid="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6" grpId="2"/>
      <p:bldP spid="6" grpId="3"/>
      <p:bldP spid="20" grpId="0"/>
      <p:bldP spid="20" grpId="1"/>
      <p:bldP spid="20" grpId="2"/>
      <p:bldP spid="20" grpId="3"/>
      <p:bldP spid="20" grpId="4"/>
      <p:bldP spid="47" grpId="0" animBg="1"/>
      <p:bldP spid="47" grpId="1" animBg="1"/>
      <p:bldP spid="9" grpId="0"/>
      <p:bldP spid="9" grpId="1"/>
      <p:bldP spid="9" grpId="2"/>
      <p:bldP spid="4" grpId="0" animBg="1"/>
      <p:bldP spid="4" grpId="1" animBg="1"/>
      <p:bldP spid="4" grpId="2" animBg="1"/>
      <p:bldP spid="10" grpId="0" animBg="1"/>
      <p:bldP spid="10" grpId="1" animBg="1"/>
      <p:bldP spid="10" grpId="2" animBg="1"/>
      <p:bldP spid="10" grpId="3" animBg="1"/>
      <p:bldP spid="10" grpId="4" animBg="1"/>
      <p:bldP spid="10" grpId="5" animBg="1"/>
      <p:bldP spid="10" grpId="6" animBg="1"/>
      <p:bldP spid="10" grpId="7" animBg="1"/>
      <p:bldP spid="24" grpId="0" animBg="1"/>
      <p:bldP spid="24" grpId="1" animBg="1"/>
      <p:bldP spid="74" grpId="0" animBg="1"/>
      <p:bldP spid="74" grpId="1" animBg="1"/>
      <p:bldP spid="14" grpId="0"/>
      <p:bldP spid="14" grpId="1"/>
      <p:bldP spid="14" grpId="2"/>
      <p:bldP spid="5" grpId="0" animBg="1"/>
      <p:bldP spid="5" grpId="1" animBg="1"/>
      <p:bldP spid="17" grpId="0" animBg="1"/>
      <p:bldP spid="17" grpId="1" animBg="1"/>
      <p:bldP spid="18" grpId="0" animBg="1"/>
      <p:bldP spid="18" grpId="1" animBg="1"/>
      <p:bldP spid="59" grpId="0" animBg="1"/>
      <p:bldP spid="59" grpId="1" animBg="1"/>
      <p:bldP spid="63" grpId="0" animBg="1"/>
      <p:bldP spid="63" grpId="1" animBg="1"/>
      <p:bldP spid="22" grpId="0" animBg="1"/>
      <p:bldP spid="22" grpId="1" animBg="1"/>
      <p:bldP spid="23" grpId="0" animBg="1"/>
      <p:bldP spid="23" grpId="1" animBg="1"/>
    </p:bldLst>
  </p:timing>
</p:sld>
</file>

<file path=ppt/slides/slide4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1" y="2082135"/>
            <a:ext cx="5059068" cy="3067349"/>
          </a:xfrm>
          <a:prstGeom prst="rect">
            <a:avLst/>
          </a:prstGeom>
          <a:ln>
            <a:headEnd type="none" w="med" len="med"/>
            <a:tailEnd type="none" w="med" len="med"/>
          </a:ln>
        </p:spPr>
        <p:style>
          <a:lnRef idx="1">
            <a:schemeClr val="dk1"/>
          </a:lnRef>
          <a:fillRef idx="3">
            <a:schemeClr val="dk1"/>
          </a:fillRef>
          <a:effectRef idx="2">
            <a:schemeClr val="dk1"/>
          </a:effectRef>
          <a:fontRef idx="minor">
            <a:schemeClr val="lt1"/>
          </a:fontRef>
        </p:style>
        <p:txBody>
          <a:bodyPr vert="horz" wrap="square" lIns="205758" tIns="137172" rIns="137172" bIns="137172" numCol="1" rtlCol="0" anchor="b" anchorCtr="0" compatLnSpc="1">
            <a:prstTxWarp prst="textNoShape">
              <a:avLst/>
            </a:prstTxWarp>
          </a:bodyPr>
          <a:lstStyle/>
          <a:p>
            <a:pPr defTabSz="685637" fontAlgn="base">
              <a:spcBef>
                <a:spcPct val="0"/>
              </a:spcBef>
              <a:spcAft>
                <a:spcPct val="0"/>
              </a:spcAft>
            </a:pPr>
            <a:endParaRPr lang="en-US" sz="6000" dirty="0">
              <a:solidFill>
                <a:schemeClr val="bg1">
                  <a:alpha val="99000"/>
                </a:schemeClr>
              </a:solidFill>
              <a:ea typeface="Segoe UI" pitchFamily="34" charset="0"/>
              <a:cs typeface="Segoe UI" pitchFamily="34" charset="0"/>
            </a:endParaRPr>
          </a:p>
        </p:txBody>
      </p:sp>
      <p:sp>
        <p:nvSpPr>
          <p:cNvPr id="9" name="Rectangle 8"/>
          <p:cNvSpPr/>
          <p:nvPr/>
        </p:nvSpPr>
        <p:spPr>
          <a:xfrm>
            <a:off x="5127617" y="2082135"/>
            <a:ext cx="4016385" cy="979520"/>
          </a:xfrm>
          <a:prstGeom prst="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137172" tIns="137172" rIns="137172" bIns="137172" numCol="1" rtlCol="0" anchor="b" anchorCtr="0" compatLnSpc="1">
            <a:prstTxWarp prst="textNoShape">
              <a:avLst/>
            </a:prstTxWarp>
          </a:bodyPr>
          <a:lstStyle/>
          <a:p>
            <a:pPr defTabSz="685637" fontAlgn="base">
              <a:spcBef>
                <a:spcPct val="0"/>
              </a:spcBef>
              <a:spcAft>
                <a:spcPct val="0"/>
              </a:spcAft>
            </a:pPr>
            <a:r>
              <a:rPr lang="en-US" sz="2400" dirty="0">
                <a:solidFill>
                  <a:schemeClr val="bg1">
                    <a:alpha val="99000"/>
                  </a:schemeClr>
                </a:solidFill>
                <a:ea typeface="Adobe Fan Heiti Std B" pitchFamily="34" charset="-128"/>
                <a:cs typeface="Segoe UI" pitchFamily="34" charset="0"/>
              </a:rPr>
              <a:t>reduce errors and latency</a:t>
            </a:r>
          </a:p>
        </p:txBody>
      </p:sp>
      <p:sp>
        <p:nvSpPr>
          <p:cNvPr id="10" name="Rectangle 9"/>
          <p:cNvSpPr/>
          <p:nvPr/>
        </p:nvSpPr>
        <p:spPr>
          <a:xfrm>
            <a:off x="5127617" y="3134128"/>
            <a:ext cx="4016385" cy="979520"/>
          </a:xfrm>
          <a:prstGeom prst="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137172" tIns="137172" rIns="137172" bIns="137172" numCol="1" rtlCol="0" anchor="b" anchorCtr="0" compatLnSpc="1">
            <a:prstTxWarp prst="textNoShape">
              <a:avLst/>
            </a:prstTxWarp>
          </a:bodyPr>
          <a:lstStyle/>
          <a:p>
            <a:pPr defTabSz="685637" fontAlgn="base">
              <a:spcBef>
                <a:spcPct val="0"/>
              </a:spcBef>
              <a:spcAft>
                <a:spcPct val="0"/>
              </a:spcAft>
            </a:pPr>
            <a:r>
              <a:rPr lang="en-US" sz="2400" dirty="0">
                <a:solidFill>
                  <a:schemeClr val="bg1">
                    <a:alpha val="99000"/>
                  </a:schemeClr>
                </a:solidFill>
                <a:ea typeface="Adobe Fan Heiti Std B" pitchFamily="34" charset="-128"/>
                <a:cs typeface="Segoe UI" pitchFamily="34" charset="0"/>
              </a:rPr>
              <a:t>1-click conversions</a:t>
            </a:r>
          </a:p>
        </p:txBody>
      </p:sp>
      <p:sp>
        <p:nvSpPr>
          <p:cNvPr id="11" name="Rectangle 10"/>
          <p:cNvSpPr/>
          <p:nvPr/>
        </p:nvSpPr>
        <p:spPr>
          <a:xfrm>
            <a:off x="5127617" y="4171951"/>
            <a:ext cx="4016385" cy="979520"/>
          </a:xfrm>
          <a:prstGeom prst="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137172" tIns="137172" rIns="137172" bIns="137172" numCol="1" rtlCol="0" anchor="b" anchorCtr="0" compatLnSpc="1">
            <a:prstTxWarp prst="textNoShape">
              <a:avLst/>
            </a:prstTxWarp>
          </a:bodyPr>
          <a:lstStyle/>
          <a:p>
            <a:pPr defTabSz="685637" fontAlgn="base">
              <a:spcBef>
                <a:spcPct val="0"/>
              </a:spcBef>
              <a:spcAft>
                <a:spcPct val="0"/>
              </a:spcAft>
            </a:pPr>
            <a:r>
              <a:rPr lang="en-US" sz="2400" dirty="0">
                <a:solidFill>
                  <a:schemeClr val="bg1">
                    <a:alpha val="99000"/>
                  </a:schemeClr>
                </a:solidFill>
                <a:ea typeface="Adobe Fan Heiti Std B" pitchFamily="34" charset="-128"/>
                <a:cs typeface="Segoe UI" pitchFamily="34" charset="0"/>
              </a:rPr>
              <a:t>all logic built-in</a:t>
            </a:r>
          </a:p>
        </p:txBody>
      </p:sp>
      <p:pic>
        <p:nvPicPr>
          <p:cNvPr id="30" name="Picture 29"/>
          <p:cNvPicPr>
            <a:picLocks noChangeAspect="1"/>
          </p:cNvPicPr>
          <p:nvPr/>
        </p:nvPicPr>
        <p:blipFill rotWithShape="1">
          <a:blip r:embed="rId2">
            <a:extLst>
              <a:ext uri="{28A0092B-C50C-407E-A947-70E740481C1C}">
                <a14:useLocalDpi xmlns:a14="http://schemas.microsoft.com/office/drawing/2010/main" val="0"/>
              </a:ext>
            </a:extLst>
          </a:blip>
          <a:srcRect t="38094" b="20764"/>
          <a:stretch/>
        </p:blipFill>
        <p:spPr>
          <a:xfrm>
            <a:off x="0" y="-1"/>
            <a:ext cx="9144000" cy="2010105"/>
          </a:xfrm>
          <a:prstGeom prst="rect">
            <a:avLst/>
          </a:prstGeom>
        </p:spPr>
      </p:pic>
      <p:sp>
        <p:nvSpPr>
          <p:cNvPr id="3" name="Rectangle 2"/>
          <p:cNvSpPr/>
          <p:nvPr/>
        </p:nvSpPr>
        <p:spPr>
          <a:xfrm>
            <a:off x="215351" y="2066658"/>
            <a:ext cx="4693853" cy="1915909"/>
          </a:xfrm>
          <a:prstGeom prst="rect">
            <a:avLst/>
          </a:prstGeom>
        </p:spPr>
        <p:txBody>
          <a:bodyPr wrap="none" lIns="68586" tIns="34294" rIns="68586" bIns="34294">
            <a:spAutoFit/>
          </a:bodyPr>
          <a:lstStyle/>
          <a:p>
            <a:pPr algn="r" defTabSz="685637" fontAlgn="base">
              <a:spcBef>
                <a:spcPct val="0"/>
              </a:spcBef>
              <a:spcAft>
                <a:spcPct val="0"/>
              </a:spcAft>
            </a:pPr>
            <a:r>
              <a:rPr lang="en-US" sz="6000" dirty="0">
                <a:solidFill>
                  <a:schemeClr val="tx1">
                    <a:alpha val="99000"/>
                  </a:schemeClr>
                </a:solidFill>
                <a:ea typeface="Segoe UI" pitchFamily="34" charset="0"/>
                <a:cs typeface="Segoe UI" pitchFamily="34" charset="0"/>
              </a:rPr>
              <a:t>automate the</a:t>
            </a:r>
            <a:br>
              <a:rPr lang="en-US" sz="6000" dirty="0">
                <a:solidFill>
                  <a:schemeClr val="tx1">
                    <a:alpha val="99000"/>
                  </a:schemeClr>
                </a:solidFill>
                <a:ea typeface="Segoe UI" pitchFamily="34" charset="0"/>
                <a:cs typeface="Segoe UI" pitchFamily="34" charset="0"/>
              </a:rPr>
            </a:br>
            <a:r>
              <a:rPr lang="en-US" sz="6000" dirty="0">
                <a:solidFill>
                  <a:schemeClr val="tx1">
                    <a:alpha val="99000"/>
                  </a:schemeClr>
                </a:solidFill>
                <a:ea typeface="Segoe UI" pitchFamily="34" charset="0"/>
                <a:cs typeface="Segoe UI" pitchFamily="34" charset="0"/>
              </a:rPr>
              <a:t>process</a:t>
            </a:r>
          </a:p>
        </p:txBody>
      </p:sp>
      <p:sp>
        <p:nvSpPr>
          <p:cNvPr id="12"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3"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pic>
        <p:nvPicPr>
          <p:cNvPr id="14"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480458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par>
                                <p:cTn id="11" presetID="35" presetClass="path" presetSubtype="0" accel="50000" decel="50000" fill="hold" grpId="1" nodeType="withEffect">
                                  <p:stCondLst>
                                    <p:cond delay="0"/>
                                  </p:stCondLst>
                                  <p:childTnLst>
                                    <p:animMotion origin="layout" path="M 3.75E-6 2.96296E-6 L -0.24883 2.96296E-6 " pathEditMode="relative" rAng="0" ptsTypes="AA">
                                      <p:cBhvr>
                                        <p:cTn id="12" dur="1000" spd="-100000" fill="hold"/>
                                        <p:tgtEl>
                                          <p:spTgt spid="3"/>
                                        </p:tgtEl>
                                        <p:attrNameLst>
                                          <p:attrName>ppt_x</p:attrName>
                                          <p:attrName>ppt_y</p:attrName>
                                        </p:attrNameLst>
                                      </p:cBhvr>
                                      <p:rCtr x="-12448" y="0"/>
                                    </p:animMotion>
                                  </p:childTnLst>
                                </p:cTn>
                              </p:par>
                            </p:childTnLst>
                          </p:cTn>
                        </p:par>
                        <p:par>
                          <p:cTn id="13" fill="hold">
                            <p:stCondLst>
                              <p:cond delay="1000"/>
                            </p:stCondLst>
                            <p:childTnLst>
                              <p:par>
                                <p:cTn id="14" presetID="2" presetClass="entr" presetSubtype="2" fill="hold" grpId="0" nodeType="afterEffect">
                                  <p:stCondLst>
                                    <p:cond delay="0"/>
                                  </p:stCondLst>
                                  <p:childTnLst>
                                    <p:set>
                                      <p:cBhvr>
                                        <p:cTn id="15" dur="1" fill="hold">
                                          <p:stCondLst>
                                            <p:cond delay="0"/>
                                          </p:stCondLst>
                                        </p:cTn>
                                        <p:tgtEl>
                                          <p:spTgt spid="9"/>
                                        </p:tgtEl>
                                        <p:attrNameLst>
                                          <p:attrName>style.visibility</p:attrName>
                                        </p:attrNameLst>
                                      </p:cBhvr>
                                      <p:to>
                                        <p:strVal val="visible"/>
                                      </p:to>
                                    </p:set>
                                    <p:anim calcmode="lin" valueType="num">
                                      <p:cBhvr additive="base">
                                        <p:cTn id="16" dur="500" fill="hold"/>
                                        <p:tgtEl>
                                          <p:spTgt spid="9"/>
                                        </p:tgtEl>
                                        <p:attrNameLst>
                                          <p:attrName>ppt_x</p:attrName>
                                        </p:attrNameLst>
                                      </p:cBhvr>
                                      <p:tavLst>
                                        <p:tav tm="0">
                                          <p:val>
                                            <p:strVal val="1+#ppt_w/2"/>
                                          </p:val>
                                        </p:tav>
                                        <p:tav tm="100000">
                                          <p:val>
                                            <p:strVal val="#ppt_x"/>
                                          </p:val>
                                        </p:tav>
                                      </p:tavLst>
                                    </p:anim>
                                    <p:anim calcmode="lin" valueType="num">
                                      <p:cBhvr additive="base">
                                        <p:cTn id="17" dur="500" fill="hold"/>
                                        <p:tgtEl>
                                          <p:spTgt spid="9"/>
                                        </p:tgtEl>
                                        <p:attrNameLst>
                                          <p:attrName>ppt_y</p:attrName>
                                        </p:attrNameLst>
                                      </p:cBhvr>
                                      <p:tavLst>
                                        <p:tav tm="0">
                                          <p:val>
                                            <p:strVal val="#ppt_y"/>
                                          </p:val>
                                        </p:tav>
                                        <p:tav tm="100000">
                                          <p:val>
                                            <p:strVal val="#ppt_y"/>
                                          </p:val>
                                        </p:tav>
                                      </p:tavLst>
                                    </p:anim>
                                  </p:childTnLst>
                                </p:cTn>
                              </p:par>
                              <p:par>
                                <p:cTn id="18" presetID="2" presetClass="entr" presetSubtype="2" fill="hold" grpId="0" nodeType="withEffect">
                                  <p:stCondLst>
                                    <p:cond delay="500"/>
                                  </p:stCondLst>
                                  <p:childTnLst>
                                    <p:set>
                                      <p:cBhvr>
                                        <p:cTn id="19" dur="1" fill="hold">
                                          <p:stCondLst>
                                            <p:cond delay="0"/>
                                          </p:stCondLst>
                                        </p:cTn>
                                        <p:tgtEl>
                                          <p:spTgt spid="10"/>
                                        </p:tgtEl>
                                        <p:attrNameLst>
                                          <p:attrName>style.visibility</p:attrName>
                                        </p:attrNameLst>
                                      </p:cBhvr>
                                      <p:to>
                                        <p:strVal val="visible"/>
                                      </p:to>
                                    </p:set>
                                    <p:anim calcmode="lin" valueType="num">
                                      <p:cBhvr additive="base">
                                        <p:cTn id="20" dur="500" fill="hold"/>
                                        <p:tgtEl>
                                          <p:spTgt spid="10"/>
                                        </p:tgtEl>
                                        <p:attrNameLst>
                                          <p:attrName>ppt_x</p:attrName>
                                        </p:attrNameLst>
                                      </p:cBhvr>
                                      <p:tavLst>
                                        <p:tav tm="0">
                                          <p:val>
                                            <p:strVal val="1+#ppt_w/2"/>
                                          </p:val>
                                        </p:tav>
                                        <p:tav tm="100000">
                                          <p:val>
                                            <p:strVal val="#ppt_x"/>
                                          </p:val>
                                        </p:tav>
                                      </p:tavLst>
                                    </p:anim>
                                    <p:anim calcmode="lin" valueType="num">
                                      <p:cBhvr additive="base">
                                        <p:cTn id="21" dur="500" fill="hold"/>
                                        <p:tgtEl>
                                          <p:spTgt spid="10"/>
                                        </p:tgtEl>
                                        <p:attrNameLst>
                                          <p:attrName>ppt_y</p:attrName>
                                        </p:attrNameLst>
                                      </p:cBhvr>
                                      <p:tavLst>
                                        <p:tav tm="0">
                                          <p:val>
                                            <p:strVal val="#ppt_y"/>
                                          </p:val>
                                        </p:tav>
                                        <p:tav tm="100000">
                                          <p:val>
                                            <p:strVal val="#ppt_y"/>
                                          </p:val>
                                        </p:tav>
                                      </p:tavLst>
                                    </p:anim>
                                  </p:childTnLst>
                                </p:cTn>
                              </p:par>
                              <p:par>
                                <p:cTn id="22" presetID="2" presetClass="entr" presetSubtype="2" fill="hold" grpId="0" nodeType="withEffect">
                                  <p:stCondLst>
                                    <p:cond delay="1000"/>
                                  </p:stCondLst>
                                  <p:childTnLst>
                                    <p:set>
                                      <p:cBhvr>
                                        <p:cTn id="23" dur="1" fill="hold">
                                          <p:stCondLst>
                                            <p:cond delay="0"/>
                                          </p:stCondLst>
                                        </p:cTn>
                                        <p:tgtEl>
                                          <p:spTgt spid="11"/>
                                        </p:tgtEl>
                                        <p:attrNameLst>
                                          <p:attrName>style.visibility</p:attrName>
                                        </p:attrNameLst>
                                      </p:cBhvr>
                                      <p:to>
                                        <p:strVal val="visible"/>
                                      </p:to>
                                    </p:set>
                                    <p:anim calcmode="lin" valueType="num">
                                      <p:cBhvr additive="base">
                                        <p:cTn id="24" dur="500" fill="hold"/>
                                        <p:tgtEl>
                                          <p:spTgt spid="11"/>
                                        </p:tgtEl>
                                        <p:attrNameLst>
                                          <p:attrName>ppt_x</p:attrName>
                                        </p:attrNameLst>
                                      </p:cBhvr>
                                      <p:tavLst>
                                        <p:tav tm="0">
                                          <p:val>
                                            <p:strVal val="1+#ppt_w/2"/>
                                          </p:val>
                                        </p:tav>
                                        <p:tav tm="100000">
                                          <p:val>
                                            <p:strVal val="#ppt_x"/>
                                          </p:val>
                                        </p:tav>
                                      </p:tavLst>
                                    </p:anim>
                                    <p:anim calcmode="lin" valueType="num">
                                      <p:cBhvr additive="base">
                                        <p:cTn id="25"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3" grpId="0"/>
      <p:bldP spid="3" grpId="1"/>
    </p:bldLst>
  </p:timing>
</p:sld>
</file>

<file path=ppt/slides/slide4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Rectangle 59"/>
          <p:cNvSpPr/>
          <p:nvPr/>
        </p:nvSpPr>
        <p:spPr>
          <a:xfrm>
            <a:off x="5127617" y="3122907"/>
            <a:ext cx="4016385" cy="973836"/>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72" tIns="137172" rIns="137172" bIns="137172" numCol="1" rtlCol="0" anchor="b" anchorCtr="0" compatLnSpc="1">
            <a:prstTxWarp prst="textNoShape">
              <a:avLst/>
            </a:prstTxWarp>
          </a:bodyPr>
          <a:lstStyle/>
          <a:p>
            <a:pPr defTabSz="685637" fontAlgn="base">
              <a:spcBef>
                <a:spcPct val="0"/>
              </a:spcBef>
              <a:spcAft>
                <a:spcPct val="0"/>
              </a:spcAft>
            </a:pPr>
            <a:r>
              <a:rPr lang="en-US" sz="2400" dirty="0">
                <a:solidFill>
                  <a:schemeClr val="bg1">
                    <a:alpha val="99000"/>
                  </a:schemeClr>
                </a:solidFill>
                <a:ea typeface="Adobe Fan Heiti Std B" pitchFamily="34" charset="-128"/>
                <a:cs typeface="Segoe UI" pitchFamily="34" charset="0"/>
              </a:rPr>
              <a:t>scales to thousands of VMs</a:t>
            </a:r>
          </a:p>
        </p:txBody>
      </p:sp>
      <p:sp>
        <p:nvSpPr>
          <p:cNvPr id="79" name="Rectangle 78"/>
          <p:cNvSpPr/>
          <p:nvPr/>
        </p:nvSpPr>
        <p:spPr>
          <a:xfrm>
            <a:off x="5127617" y="4169664"/>
            <a:ext cx="4016385" cy="973836"/>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72" tIns="137172" rIns="137172" bIns="137172" numCol="1" rtlCol="0" anchor="b" anchorCtr="0" compatLnSpc="1">
            <a:prstTxWarp prst="textNoShape">
              <a:avLst/>
            </a:prstTxWarp>
          </a:bodyPr>
          <a:lstStyle/>
          <a:p>
            <a:pPr defTabSz="685637" fontAlgn="base">
              <a:spcBef>
                <a:spcPct val="0"/>
              </a:spcBef>
              <a:spcAft>
                <a:spcPct val="0"/>
              </a:spcAft>
            </a:pPr>
            <a:r>
              <a:rPr lang="en-US" sz="2400" dirty="0">
                <a:solidFill>
                  <a:schemeClr val="bg1">
                    <a:alpha val="99000"/>
                  </a:schemeClr>
                </a:solidFill>
                <a:ea typeface="Adobe Fan Heiti Std B" pitchFamily="34" charset="-128"/>
                <a:cs typeface="Segoe UI" pitchFamily="34" charset="0"/>
              </a:rPr>
              <a:t>runs unattended</a:t>
            </a:r>
          </a:p>
        </p:txBody>
      </p:sp>
      <p:sp>
        <p:nvSpPr>
          <p:cNvPr id="9" name="TextBox 8"/>
          <p:cNvSpPr txBox="1"/>
          <p:nvPr/>
        </p:nvSpPr>
        <p:spPr>
          <a:xfrm>
            <a:off x="4289792" y="4117215"/>
            <a:ext cx="685979" cy="829818"/>
          </a:xfrm>
          <a:prstGeom prst="rect">
            <a:avLst/>
          </a:prstGeom>
          <a:noFill/>
        </p:spPr>
        <p:txBody>
          <a:bodyPr wrap="none" lIns="0" tIns="0" rIns="0" bIns="0" rtlCol="0" anchor="ctr">
            <a:noAutofit/>
          </a:bodyPr>
          <a:lstStyle/>
          <a:p>
            <a:pPr algn="ctr"/>
            <a:r>
              <a:rPr lang="en-US" sz="8600" dirty="0">
                <a:solidFill>
                  <a:schemeClr val="tx1">
                    <a:alpha val="99000"/>
                  </a:schemeClr>
                </a:solidFill>
                <a:ea typeface="Adobe Fan Heiti Std B" pitchFamily="34" charset="-128"/>
                <a:cs typeface="Segoe UI" pitchFamily="34" charset="0"/>
              </a:rPr>
              <a:t>&amp;</a:t>
            </a:r>
          </a:p>
        </p:txBody>
      </p:sp>
      <p:sp>
        <p:nvSpPr>
          <p:cNvPr id="7" name="Rectangle 6"/>
          <p:cNvSpPr/>
          <p:nvPr/>
        </p:nvSpPr>
        <p:spPr>
          <a:xfrm>
            <a:off x="0" y="2093513"/>
            <a:ext cx="9144000" cy="97383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72" tIns="137172" rIns="137172" bIns="34292" numCol="1" rtlCol="0" anchor="t" anchorCtr="0" compatLnSpc="1">
            <a:prstTxWarp prst="textNoShape">
              <a:avLst/>
            </a:prstTxWarp>
          </a:bodyPr>
          <a:lstStyle/>
          <a:p>
            <a:pPr defTabSz="685637" fontAlgn="base">
              <a:spcBef>
                <a:spcPct val="0"/>
              </a:spcBef>
              <a:spcAft>
                <a:spcPct val="0"/>
              </a:spcAft>
            </a:pPr>
            <a:endParaRPr lang="en-US" sz="1700">
              <a:gradFill>
                <a:gsLst>
                  <a:gs pos="0">
                    <a:srgbClr val="FFFFFF"/>
                  </a:gs>
                  <a:gs pos="100000">
                    <a:srgbClr val="FFFFFF"/>
                  </a:gs>
                </a:gsLst>
                <a:lin ang="5400000" scaled="0"/>
              </a:gradFill>
            </a:endParaRPr>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1496" y="2307480"/>
            <a:ext cx="17320961" cy="578644"/>
          </a:xfrm>
          <a:prstGeom prst="rect">
            <a:avLst/>
          </a:prstGeom>
        </p:spPr>
      </p:pic>
      <p:sp>
        <p:nvSpPr>
          <p:cNvPr id="8" name="Rectangle 7"/>
          <p:cNvSpPr/>
          <p:nvPr/>
        </p:nvSpPr>
        <p:spPr>
          <a:xfrm>
            <a:off x="0" y="1"/>
            <a:ext cx="9144000" cy="2076150"/>
          </a:xfrm>
          <a:prstGeom prst="rect">
            <a:avLst/>
          </a:prstGeom>
          <a:ln>
            <a:headEnd type="none" w="med" len="med"/>
            <a:tailEnd type="none" w="med" len="med"/>
          </a:ln>
        </p:spPr>
        <p:style>
          <a:lnRef idx="1">
            <a:schemeClr val="dk1"/>
          </a:lnRef>
          <a:fillRef idx="3">
            <a:schemeClr val="dk1"/>
          </a:fillRef>
          <a:effectRef idx="2">
            <a:schemeClr val="dk1"/>
          </a:effectRef>
          <a:fontRef idx="minor">
            <a:schemeClr val="lt1"/>
          </a:fontRef>
        </p:style>
        <p:txBody>
          <a:bodyPr vert="horz" wrap="square" lIns="205758" tIns="137172" rIns="137172" bIns="137172" numCol="1" rtlCol="0" anchor="b" anchorCtr="0" compatLnSpc="1">
            <a:prstTxWarp prst="textNoShape">
              <a:avLst/>
            </a:prstTxWarp>
          </a:bodyPr>
          <a:lstStyle/>
          <a:p>
            <a:pPr defTabSz="685637" fontAlgn="base">
              <a:spcBef>
                <a:spcPct val="0"/>
              </a:spcBef>
              <a:spcAft>
                <a:spcPct val="0"/>
              </a:spcAft>
            </a:pPr>
            <a:endParaRPr lang="en-US" sz="6000" dirty="0">
              <a:solidFill>
                <a:schemeClr val="bg1">
                  <a:alpha val="99000"/>
                </a:schemeClr>
              </a:solidFill>
              <a:ea typeface="Segoe UI" pitchFamily="34" charset="0"/>
              <a:cs typeface="Segoe UI" pitchFamily="34" charset="0"/>
            </a:endParaRPr>
          </a:p>
        </p:txBody>
      </p:sp>
      <p:sp>
        <p:nvSpPr>
          <p:cNvPr id="19" name="Rectangle 18"/>
          <p:cNvSpPr/>
          <p:nvPr/>
        </p:nvSpPr>
        <p:spPr>
          <a:xfrm>
            <a:off x="349044" y="1083572"/>
            <a:ext cx="8713046" cy="992579"/>
          </a:xfrm>
          <a:prstGeom prst="rect">
            <a:avLst/>
          </a:prstGeom>
        </p:spPr>
        <p:txBody>
          <a:bodyPr wrap="square" lIns="68586" tIns="34294" rIns="68586" bIns="34294">
            <a:spAutoFit/>
          </a:bodyPr>
          <a:lstStyle/>
          <a:p>
            <a:pPr defTabSz="685637" fontAlgn="base">
              <a:spcBef>
                <a:spcPct val="0"/>
              </a:spcBef>
              <a:spcAft>
                <a:spcPct val="0"/>
              </a:spcAft>
            </a:pPr>
            <a:r>
              <a:rPr lang="en-US" sz="6000" dirty="0">
                <a:solidFill>
                  <a:schemeClr val="tx1">
                    <a:alpha val="99000"/>
                  </a:schemeClr>
                </a:solidFill>
                <a:ea typeface="Adobe Fan Heiti Std B" pitchFamily="34" charset="-128"/>
                <a:cs typeface="Segoe UI" pitchFamily="34" charset="0"/>
              </a:rPr>
              <a:t>design for enterprise</a:t>
            </a:r>
          </a:p>
        </p:txBody>
      </p:sp>
      <p:sp>
        <p:nvSpPr>
          <p:cNvPr id="11"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2"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pic>
        <p:nvPicPr>
          <p:cNvPr id="13"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664015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35" presetClass="path" presetSubtype="0" accel="50000" decel="50000" fill="hold" nodeType="withEffect">
                                  <p:stCondLst>
                                    <p:cond delay="0"/>
                                  </p:stCondLst>
                                  <p:childTnLst>
                                    <p:animMotion origin="layout" path="M 2.28751 -3.33333E-6 L -0.85761 -3.33333E-6 " pathEditMode="relative" rAng="0" ptsTypes="AA">
                                      <p:cBhvr>
                                        <p:cTn id="12" dur="3500" fill="hold"/>
                                        <p:tgtEl>
                                          <p:spTgt spid="10"/>
                                        </p:tgtEl>
                                        <p:attrNameLst>
                                          <p:attrName>ppt_x</p:attrName>
                                          <p:attrName>ppt_y</p:attrName>
                                        </p:attrNameLst>
                                      </p:cBhvr>
                                      <p:rCtr x="-157256" y="0"/>
                                    </p:animMotion>
                                  </p:childTnLst>
                                </p:cTn>
                              </p:par>
                              <p:par>
                                <p:cTn id="13" presetID="10" presetClass="entr" presetSubtype="0" fill="hold" grpId="0" nodeType="withEffect">
                                  <p:stCondLst>
                                    <p:cond delay="100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500"/>
                                        <p:tgtEl>
                                          <p:spTgt spid="19"/>
                                        </p:tgtEl>
                                      </p:cBhvr>
                                    </p:animEffect>
                                  </p:childTnLst>
                                </p:cTn>
                              </p:par>
                              <p:par>
                                <p:cTn id="16" presetID="35" presetClass="path" presetSubtype="0" accel="50000" decel="50000" fill="hold" grpId="1" nodeType="withEffect">
                                  <p:stCondLst>
                                    <p:cond delay="1000"/>
                                  </p:stCondLst>
                                  <p:childTnLst>
                                    <p:animMotion origin="layout" path="M -4.55327E-6 -1.76688E-6 L -0.50729 -1.76688E-6 " pathEditMode="relative" rAng="0" ptsTypes="AA">
                                      <p:cBhvr>
                                        <p:cTn id="17" dur="1000" spd="-100000" fill="hold"/>
                                        <p:tgtEl>
                                          <p:spTgt spid="19"/>
                                        </p:tgtEl>
                                        <p:attrNameLst>
                                          <p:attrName>ppt_x</p:attrName>
                                          <p:attrName>ppt_y</p:attrName>
                                        </p:attrNameLst>
                                      </p:cBhvr>
                                      <p:rCtr x="-25371" y="0"/>
                                    </p:animMotion>
                                  </p:childTnLst>
                                </p:cTn>
                              </p:par>
                            </p:childTnLst>
                          </p:cTn>
                        </p:par>
                        <p:par>
                          <p:cTn id="18" fill="hold">
                            <p:stCondLst>
                              <p:cond delay="3500"/>
                            </p:stCondLst>
                            <p:childTnLst>
                              <p:par>
                                <p:cTn id="19" presetID="2" presetClass="entr" presetSubtype="4" fill="hold" grpId="0" nodeType="afterEffect">
                                  <p:stCondLst>
                                    <p:cond delay="0"/>
                                  </p:stCondLst>
                                  <p:childTnLst>
                                    <p:set>
                                      <p:cBhvr>
                                        <p:cTn id="20" dur="1" fill="hold">
                                          <p:stCondLst>
                                            <p:cond delay="0"/>
                                          </p:stCondLst>
                                        </p:cTn>
                                        <p:tgtEl>
                                          <p:spTgt spid="60"/>
                                        </p:tgtEl>
                                        <p:attrNameLst>
                                          <p:attrName>style.visibility</p:attrName>
                                        </p:attrNameLst>
                                      </p:cBhvr>
                                      <p:to>
                                        <p:strVal val="visible"/>
                                      </p:to>
                                    </p:set>
                                    <p:anim calcmode="lin" valueType="num">
                                      <p:cBhvr additive="base">
                                        <p:cTn id="21" dur="500" fill="hold"/>
                                        <p:tgtEl>
                                          <p:spTgt spid="60"/>
                                        </p:tgtEl>
                                        <p:attrNameLst>
                                          <p:attrName>ppt_x</p:attrName>
                                        </p:attrNameLst>
                                      </p:cBhvr>
                                      <p:tavLst>
                                        <p:tav tm="0">
                                          <p:val>
                                            <p:strVal val="#ppt_x"/>
                                          </p:val>
                                        </p:tav>
                                        <p:tav tm="100000">
                                          <p:val>
                                            <p:strVal val="#ppt_x"/>
                                          </p:val>
                                        </p:tav>
                                      </p:tavLst>
                                    </p:anim>
                                    <p:anim calcmode="lin" valueType="num">
                                      <p:cBhvr additive="base">
                                        <p:cTn id="22" dur="500" fill="hold"/>
                                        <p:tgtEl>
                                          <p:spTgt spid="60"/>
                                        </p:tgtEl>
                                        <p:attrNameLst>
                                          <p:attrName>ppt_y</p:attrName>
                                        </p:attrNameLst>
                                      </p:cBhvr>
                                      <p:tavLst>
                                        <p:tav tm="0">
                                          <p:val>
                                            <p:strVal val="1+#ppt_h/2"/>
                                          </p:val>
                                        </p:tav>
                                        <p:tav tm="100000">
                                          <p:val>
                                            <p:strVal val="#ppt_y"/>
                                          </p:val>
                                        </p:tav>
                                      </p:tavLst>
                                    </p:anim>
                                  </p:childTnLst>
                                </p:cTn>
                              </p:par>
                            </p:childTnLst>
                          </p:cTn>
                        </p:par>
                        <p:par>
                          <p:cTn id="23" fill="hold">
                            <p:stCondLst>
                              <p:cond delay="4000"/>
                            </p:stCondLst>
                            <p:childTnLst>
                              <p:par>
                                <p:cTn id="24" presetID="10" presetClass="entr" presetSubtype="0" fill="hold" grpId="0" nodeType="after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childTnLst>
                          </p:cTn>
                        </p:par>
                        <p:par>
                          <p:cTn id="27" fill="hold">
                            <p:stCondLst>
                              <p:cond delay="4500"/>
                            </p:stCondLst>
                            <p:childTnLst>
                              <p:par>
                                <p:cTn id="28" presetID="2" presetClass="entr" presetSubtype="4" fill="hold" grpId="0" nodeType="afterEffect">
                                  <p:stCondLst>
                                    <p:cond delay="0"/>
                                  </p:stCondLst>
                                  <p:childTnLst>
                                    <p:set>
                                      <p:cBhvr>
                                        <p:cTn id="29" dur="1" fill="hold">
                                          <p:stCondLst>
                                            <p:cond delay="0"/>
                                          </p:stCondLst>
                                        </p:cTn>
                                        <p:tgtEl>
                                          <p:spTgt spid="79"/>
                                        </p:tgtEl>
                                        <p:attrNameLst>
                                          <p:attrName>style.visibility</p:attrName>
                                        </p:attrNameLst>
                                      </p:cBhvr>
                                      <p:to>
                                        <p:strVal val="visible"/>
                                      </p:to>
                                    </p:set>
                                    <p:anim calcmode="lin" valueType="num">
                                      <p:cBhvr additive="base">
                                        <p:cTn id="30" dur="500" fill="hold"/>
                                        <p:tgtEl>
                                          <p:spTgt spid="79"/>
                                        </p:tgtEl>
                                        <p:attrNameLst>
                                          <p:attrName>ppt_x</p:attrName>
                                        </p:attrNameLst>
                                      </p:cBhvr>
                                      <p:tavLst>
                                        <p:tav tm="0">
                                          <p:val>
                                            <p:strVal val="#ppt_x"/>
                                          </p:val>
                                        </p:tav>
                                        <p:tav tm="100000">
                                          <p:val>
                                            <p:strVal val="#ppt_x"/>
                                          </p:val>
                                        </p:tav>
                                      </p:tavLst>
                                    </p:anim>
                                    <p:anim calcmode="lin" valueType="num">
                                      <p:cBhvr additive="base">
                                        <p:cTn id="31" dur="500" fill="hold"/>
                                        <p:tgtEl>
                                          <p:spTgt spid="79"/>
                                        </p:tgtEl>
                                        <p:attrNameLst>
                                          <p:attrName>ppt_y</p:attrName>
                                        </p:attrNameLst>
                                      </p:cBhvr>
                                      <p:tavLst>
                                        <p:tav tm="0">
                                          <p:val>
                                            <p:strVal val="1+#ppt_h/2"/>
                                          </p:val>
                                        </p:tav>
                                        <p:tav tm="100000">
                                          <p:val>
                                            <p:strVal val="#ppt_y"/>
                                          </p:val>
                                        </p:tav>
                                      </p:tavLst>
                                    </p:anim>
                                  </p:childTnLst>
                                </p:cTn>
                              </p:par>
                              <p:par>
                                <p:cTn id="32" presetID="10" presetClass="entr" presetSubtype="0" fill="hold" grpId="0" nodeType="withEffect">
                                  <p:stCondLst>
                                    <p:cond delay="150"/>
                                  </p:stCondLst>
                                  <p:childTnLst>
                                    <p:set>
                                      <p:cBhvr>
                                        <p:cTn id="33" dur="1" fill="hold">
                                          <p:stCondLst>
                                            <p:cond delay="0"/>
                                          </p:stCondLst>
                                        </p:cTn>
                                        <p:tgtEl>
                                          <p:spTgt spid="8"/>
                                        </p:tgtEl>
                                        <p:attrNameLst>
                                          <p:attrName>style.visibility</p:attrName>
                                        </p:attrNameLst>
                                      </p:cBhvr>
                                      <p:to>
                                        <p:strVal val="visible"/>
                                      </p:to>
                                    </p:set>
                                    <p:animEffect transition="in" filter="fade">
                                      <p:cBhvr>
                                        <p:cTn id="3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animBg="1"/>
      <p:bldP spid="79" grpId="0" animBg="1"/>
      <p:bldP spid="9" grpId="0"/>
      <p:bldP spid="7" grpId="0" animBg="1"/>
      <p:bldP spid="8" grpId="0" animBg="1"/>
      <p:bldP spid="19" grpId="0"/>
      <p:bldP spid="19" grpId="1"/>
    </p:bldLst>
  </p:timing>
</p:sld>
</file>

<file path=ppt/slides/slide4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0" y="853151"/>
            <a:ext cx="4016384" cy="571500"/>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37172" tIns="137172" rIns="137172" bIns="137172" numCol="1" rtlCol="0" anchor="b" anchorCtr="0" compatLnSpc="1">
            <a:prstTxWarp prst="textNoShape">
              <a:avLst/>
            </a:prstTxWarp>
          </a:bodyPr>
          <a:lstStyle/>
          <a:p>
            <a:pPr algn="r" defTabSz="685637" fontAlgn="base">
              <a:spcBef>
                <a:spcPct val="0"/>
              </a:spcBef>
              <a:spcAft>
                <a:spcPct val="0"/>
              </a:spcAft>
            </a:pPr>
            <a:r>
              <a:rPr lang="en-US" sz="2400" dirty="0">
                <a:solidFill>
                  <a:schemeClr val="tx1">
                    <a:alpha val="99000"/>
                  </a:schemeClr>
                </a:solidFill>
                <a:ea typeface="Adobe Fan Heiti Std B" pitchFamily="34" charset="-128"/>
                <a:cs typeface="Segoe UI" pitchFamily="34" charset="0"/>
              </a:rPr>
              <a:t>Virtual Machine Manager</a:t>
            </a:r>
          </a:p>
        </p:txBody>
      </p:sp>
      <p:sp>
        <p:nvSpPr>
          <p:cNvPr id="10" name="Rectangle 9"/>
          <p:cNvSpPr/>
          <p:nvPr/>
        </p:nvSpPr>
        <p:spPr>
          <a:xfrm>
            <a:off x="-1191" y="1481801"/>
            <a:ext cx="4016384" cy="571500"/>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37172" tIns="137172" rIns="137172" bIns="137172" numCol="1" rtlCol="0" anchor="b" anchorCtr="0" compatLnSpc="1">
            <a:prstTxWarp prst="textNoShape">
              <a:avLst/>
            </a:prstTxWarp>
          </a:bodyPr>
          <a:lstStyle/>
          <a:p>
            <a:pPr algn="r" defTabSz="685637" fontAlgn="base">
              <a:spcBef>
                <a:spcPct val="0"/>
              </a:spcBef>
              <a:spcAft>
                <a:spcPct val="0"/>
              </a:spcAft>
            </a:pPr>
            <a:r>
              <a:rPr lang="en-US" sz="2400" dirty="0">
                <a:solidFill>
                  <a:schemeClr val="tx1">
                    <a:alpha val="99000"/>
                  </a:schemeClr>
                </a:solidFill>
                <a:ea typeface="Adobe Fan Heiti Std B" pitchFamily="34" charset="-128"/>
                <a:cs typeface="Segoe UI" pitchFamily="34" charset="0"/>
              </a:rPr>
              <a:t>Orchestrator</a:t>
            </a:r>
          </a:p>
        </p:txBody>
      </p:sp>
      <p:sp>
        <p:nvSpPr>
          <p:cNvPr id="11" name="Rectangle 10"/>
          <p:cNvSpPr/>
          <p:nvPr/>
        </p:nvSpPr>
        <p:spPr>
          <a:xfrm>
            <a:off x="0" y="2110451"/>
            <a:ext cx="4016384" cy="571500"/>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37172" tIns="137172" rIns="137172" bIns="137172" numCol="1" rtlCol="0" anchor="b" anchorCtr="0" compatLnSpc="1">
            <a:prstTxWarp prst="textNoShape">
              <a:avLst/>
            </a:prstTxWarp>
          </a:bodyPr>
          <a:lstStyle/>
          <a:p>
            <a:pPr algn="r" defTabSz="685637" fontAlgn="base">
              <a:spcBef>
                <a:spcPct val="0"/>
              </a:spcBef>
              <a:spcAft>
                <a:spcPct val="0"/>
              </a:spcAft>
            </a:pPr>
            <a:r>
              <a:rPr lang="en-US" sz="2400" dirty="0">
                <a:solidFill>
                  <a:schemeClr val="tx1">
                    <a:alpha val="99000"/>
                  </a:schemeClr>
                </a:solidFill>
                <a:ea typeface="Adobe Fan Heiti Std B" pitchFamily="34" charset="-128"/>
                <a:cs typeface="Segoe UI" pitchFamily="34" charset="0"/>
              </a:rPr>
              <a:t>Web UI</a:t>
            </a:r>
          </a:p>
        </p:txBody>
      </p:sp>
      <p:sp>
        <p:nvSpPr>
          <p:cNvPr id="14" name="Rectangle 13"/>
          <p:cNvSpPr/>
          <p:nvPr/>
        </p:nvSpPr>
        <p:spPr bwMode="auto">
          <a:xfrm>
            <a:off x="-23380" y="228602"/>
            <a:ext cx="4039765" cy="563303"/>
          </a:xfrm>
          <a:prstGeom prst="rect">
            <a:avLst/>
          </a:prstGeom>
          <a:ln>
            <a:headEnd type="none" w="med" len="med"/>
            <a:tailEnd type="none" w="med" len="med"/>
          </a:ln>
        </p:spPr>
        <p:style>
          <a:lnRef idx="1">
            <a:schemeClr val="dk1"/>
          </a:lnRef>
          <a:fillRef idx="3">
            <a:schemeClr val="dk1"/>
          </a:fillRef>
          <a:effectRef idx="2">
            <a:schemeClr val="dk1"/>
          </a:effectRef>
          <a:fontRef idx="minor">
            <a:schemeClr val="lt1"/>
          </a:fontRef>
        </p:style>
        <p:txBody>
          <a:bodyPr vert="horz" wrap="square" lIns="137172" tIns="0" rIns="137172" bIns="0" numCol="1" rtlCol="0" anchor="ctr" anchorCtr="0" compatLnSpc="1">
            <a:prstTxWarp prst="textNoShape">
              <a:avLst/>
            </a:prstTxWarp>
          </a:bodyPr>
          <a:lstStyle/>
          <a:p>
            <a:pPr algn="ctr" defTabSz="685637" fontAlgn="base">
              <a:spcBef>
                <a:spcPct val="0"/>
              </a:spcBef>
              <a:spcAft>
                <a:spcPct val="0"/>
              </a:spcAft>
            </a:pPr>
            <a:r>
              <a:rPr lang="en-US" sz="2400" kern="1100" dirty="0">
                <a:solidFill>
                  <a:schemeClr val="tx1">
                    <a:alpha val="99000"/>
                  </a:schemeClr>
                </a:solidFill>
                <a:latin typeface="Segoe UI" pitchFamily="34" charset="0"/>
                <a:ea typeface="Segoe UI" pitchFamily="34" charset="0"/>
                <a:cs typeface="Segoe UI" pitchFamily="34" charset="0"/>
              </a:rPr>
              <a:t>Microsoft Contribution</a:t>
            </a:r>
          </a:p>
        </p:txBody>
      </p:sp>
      <p:sp>
        <p:nvSpPr>
          <p:cNvPr id="15" name="Rectangle 14"/>
          <p:cNvSpPr/>
          <p:nvPr/>
        </p:nvSpPr>
        <p:spPr>
          <a:xfrm>
            <a:off x="-1191" y="2739101"/>
            <a:ext cx="4016384" cy="571500"/>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37172" tIns="137172" rIns="137172" bIns="137172" numCol="1" rtlCol="0" anchor="b" anchorCtr="0" compatLnSpc="1">
            <a:prstTxWarp prst="textNoShape">
              <a:avLst/>
            </a:prstTxWarp>
          </a:bodyPr>
          <a:lstStyle/>
          <a:p>
            <a:pPr algn="r" defTabSz="685637" fontAlgn="base">
              <a:spcBef>
                <a:spcPct val="0"/>
              </a:spcBef>
              <a:spcAft>
                <a:spcPct val="0"/>
              </a:spcAft>
            </a:pPr>
            <a:r>
              <a:rPr lang="en-US" sz="2400" dirty="0">
                <a:solidFill>
                  <a:schemeClr val="tx1">
                    <a:alpha val="99000"/>
                  </a:schemeClr>
                </a:solidFill>
                <a:ea typeface="Adobe Fan Heiti Std B" pitchFamily="34" charset="-128"/>
                <a:cs typeface="Segoe UI" pitchFamily="34" charset="0"/>
              </a:rPr>
              <a:t>Runbooks</a:t>
            </a:r>
          </a:p>
        </p:txBody>
      </p:sp>
      <p:sp>
        <p:nvSpPr>
          <p:cNvPr id="16" name="Rectangle 15"/>
          <p:cNvSpPr/>
          <p:nvPr/>
        </p:nvSpPr>
        <p:spPr>
          <a:xfrm>
            <a:off x="5110392" y="1771650"/>
            <a:ext cx="4016384" cy="5715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137172" tIns="137172" rIns="137172" bIns="137172" numCol="1" rtlCol="0" anchor="b" anchorCtr="0" compatLnSpc="1">
            <a:prstTxWarp prst="textNoShape">
              <a:avLst/>
            </a:prstTxWarp>
          </a:bodyPr>
          <a:lstStyle/>
          <a:p>
            <a:pPr defTabSz="685637" fontAlgn="base">
              <a:spcBef>
                <a:spcPct val="0"/>
              </a:spcBef>
              <a:spcAft>
                <a:spcPct val="0"/>
              </a:spcAft>
            </a:pPr>
            <a:r>
              <a:rPr lang="en-US" sz="2400" dirty="0">
                <a:solidFill>
                  <a:schemeClr val="tx1">
                    <a:alpha val="99000"/>
                  </a:schemeClr>
                </a:solidFill>
                <a:ea typeface="Adobe Fan Heiti Std B" pitchFamily="34" charset="-128"/>
                <a:cs typeface="Segoe UI" pitchFamily="34" charset="0"/>
              </a:rPr>
              <a:t>6 month Reporter license</a:t>
            </a:r>
          </a:p>
        </p:txBody>
      </p:sp>
      <p:sp>
        <p:nvSpPr>
          <p:cNvPr id="17" name="Rectangle 16"/>
          <p:cNvSpPr/>
          <p:nvPr/>
        </p:nvSpPr>
        <p:spPr>
          <a:xfrm>
            <a:off x="5109200" y="2400300"/>
            <a:ext cx="4016384" cy="5715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137172" tIns="137172" rIns="137172" bIns="137172" numCol="1" rtlCol="0" anchor="b" anchorCtr="0" compatLnSpc="1">
            <a:prstTxWarp prst="textNoShape">
              <a:avLst/>
            </a:prstTxWarp>
          </a:bodyPr>
          <a:lstStyle/>
          <a:p>
            <a:pPr defTabSz="685637" fontAlgn="base">
              <a:spcBef>
                <a:spcPct val="0"/>
              </a:spcBef>
              <a:spcAft>
                <a:spcPct val="0"/>
              </a:spcAft>
            </a:pPr>
            <a:r>
              <a:rPr lang="en-US" sz="2400" dirty="0">
                <a:solidFill>
                  <a:schemeClr val="tx1">
                    <a:alpha val="99000"/>
                  </a:schemeClr>
                </a:solidFill>
                <a:ea typeface="Adobe Fan Heiti Std B" pitchFamily="34" charset="-128"/>
                <a:cs typeface="Segoe UI" pitchFamily="34" charset="0"/>
              </a:rPr>
              <a:t>6 month Backup license</a:t>
            </a:r>
          </a:p>
        </p:txBody>
      </p:sp>
      <p:sp>
        <p:nvSpPr>
          <p:cNvPr id="18" name="Rectangle 17"/>
          <p:cNvSpPr/>
          <p:nvPr/>
        </p:nvSpPr>
        <p:spPr>
          <a:xfrm>
            <a:off x="5110392" y="3028950"/>
            <a:ext cx="4016384" cy="5715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137172" tIns="137172" rIns="137172" bIns="137172" numCol="1" rtlCol="0" anchor="b" anchorCtr="0" compatLnSpc="1">
            <a:prstTxWarp prst="textNoShape">
              <a:avLst/>
            </a:prstTxWarp>
          </a:bodyPr>
          <a:lstStyle/>
          <a:p>
            <a:pPr defTabSz="685637" fontAlgn="base">
              <a:spcBef>
                <a:spcPct val="0"/>
              </a:spcBef>
              <a:spcAft>
                <a:spcPct val="0"/>
              </a:spcAft>
            </a:pPr>
            <a:r>
              <a:rPr lang="en-US" sz="2400" dirty="0">
                <a:solidFill>
                  <a:schemeClr val="tx1">
                    <a:alpha val="99000"/>
                  </a:schemeClr>
                </a:solidFill>
                <a:ea typeface="Adobe Fan Heiti Std B" pitchFamily="34" charset="-128"/>
                <a:cs typeface="Segoe UI" pitchFamily="34" charset="0"/>
              </a:rPr>
              <a:t>90 day </a:t>
            </a:r>
            <a:r>
              <a:rPr lang="en-US" sz="2400" dirty="0" err="1">
                <a:solidFill>
                  <a:schemeClr val="tx1">
                    <a:alpha val="99000"/>
                  </a:schemeClr>
                </a:solidFill>
                <a:ea typeface="Adobe Fan Heiti Std B" pitchFamily="34" charset="-128"/>
                <a:cs typeface="Segoe UI" pitchFamily="34" charset="0"/>
              </a:rPr>
              <a:t>eval</a:t>
            </a:r>
            <a:r>
              <a:rPr lang="en-US" sz="2400" dirty="0">
                <a:solidFill>
                  <a:schemeClr val="tx1">
                    <a:alpha val="99000"/>
                  </a:schemeClr>
                </a:solidFill>
                <a:ea typeface="Adobe Fan Heiti Std B" pitchFamily="34" charset="-128"/>
                <a:cs typeface="Segoe UI" pitchFamily="34" charset="0"/>
              </a:rPr>
              <a:t> of </a:t>
            </a:r>
            <a:r>
              <a:rPr lang="en-US" sz="2400" dirty="0" err="1">
                <a:solidFill>
                  <a:schemeClr val="tx1">
                    <a:alpha val="99000"/>
                  </a:schemeClr>
                </a:solidFill>
                <a:ea typeface="Adobe Fan Heiti Std B" pitchFamily="34" charset="-128"/>
                <a:cs typeface="Segoe UI" pitchFamily="34" charset="0"/>
              </a:rPr>
              <a:t>nWorks</a:t>
            </a:r>
            <a:r>
              <a:rPr lang="en-US" sz="2400" dirty="0">
                <a:solidFill>
                  <a:schemeClr val="tx1">
                    <a:alpha val="99000"/>
                  </a:schemeClr>
                </a:solidFill>
                <a:ea typeface="Adobe Fan Heiti Std B" pitchFamily="34" charset="-128"/>
                <a:cs typeface="Segoe UI" pitchFamily="34" charset="0"/>
              </a:rPr>
              <a:t> MP</a:t>
            </a:r>
          </a:p>
        </p:txBody>
      </p:sp>
      <p:sp>
        <p:nvSpPr>
          <p:cNvPr id="19" name="Rectangle 18"/>
          <p:cNvSpPr/>
          <p:nvPr/>
        </p:nvSpPr>
        <p:spPr bwMode="auto">
          <a:xfrm>
            <a:off x="5087012" y="1138902"/>
            <a:ext cx="4039765" cy="571500"/>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137172" tIns="0" rIns="137172" bIns="0" numCol="1" rtlCol="0" anchor="ctr" anchorCtr="0" compatLnSpc="1">
            <a:prstTxWarp prst="textNoShape">
              <a:avLst/>
            </a:prstTxWarp>
          </a:bodyPr>
          <a:lstStyle/>
          <a:p>
            <a:pPr algn="ctr" defTabSz="685637" fontAlgn="base">
              <a:spcBef>
                <a:spcPct val="0"/>
              </a:spcBef>
              <a:spcAft>
                <a:spcPct val="0"/>
              </a:spcAft>
            </a:pPr>
            <a:r>
              <a:rPr lang="en-US" sz="2400" kern="1100" dirty="0">
                <a:solidFill>
                  <a:schemeClr val="tx1">
                    <a:alpha val="99000"/>
                  </a:schemeClr>
                </a:solidFill>
                <a:latin typeface="Segoe UI" pitchFamily="34" charset="0"/>
                <a:ea typeface="Segoe UI" pitchFamily="34" charset="0"/>
                <a:cs typeface="Segoe UI" pitchFamily="34" charset="0"/>
              </a:rPr>
              <a:t>Veeam Contribution</a:t>
            </a:r>
          </a:p>
        </p:txBody>
      </p:sp>
      <p:sp>
        <p:nvSpPr>
          <p:cNvPr id="20" name="Rectangle 19"/>
          <p:cNvSpPr/>
          <p:nvPr/>
        </p:nvSpPr>
        <p:spPr>
          <a:xfrm>
            <a:off x="5110392" y="3657600"/>
            <a:ext cx="4015193" cy="5715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137172" tIns="137172" rIns="137172" bIns="137172" numCol="1" rtlCol="0" anchor="b" anchorCtr="0" compatLnSpc="1">
            <a:prstTxWarp prst="textNoShape">
              <a:avLst/>
            </a:prstTxWarp>
          </a:bodyPr>
          <a:lstStyle/>
          <a:p>
            <a:pPr defTabSz="685637" fontAlgn="base">
              <a:spcBef>
                <a:spcPct val="0"/>
              </a:spcBef>
              <a:spcAft>
                <a:spcPct val="0"/>
              </a:spcAft>
            </a:pPr>
            <a:r>
              <a:rPr lang="en-US" sz="2400" dirty="0">
                <a:solidFill>
                  <a:schemeClr val="tx1">
                    <a:alpha val="99000"/>
                  </a:schemeClr>
                </a:solidFill>
                <a:ea typeface="Adobe Fan Heiti Std B" pitchFamily="34" charset="-128"/>
                <a:cs typeface="Segoe UI" pitchFamily="34" charset="0"/>
              </a:rPr>
              <a:t>Script used by Runbooks</a:t>
            </a:r>
          </a:p>
        </p:txBody>
      </p:sp>
      <p:sp>
        <p:nvSpPr>
          <p:cNvPr id="12"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3"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
              </a:rPr>
              <a:t>www.rapidbbs.cn</a:t>
            </a:r>
            <a:endParaRPr lang="zh-CN" altLang="en-US" sz="1200" b="0">
              <a:latin typeface="Arial" charset="0"/>
              <a:ea typeface="ＭＳ Ｐゴシック" pitchFamily="34" charset="-128"/>
            </a:endParaRPr>
          </a:p>
        </p:txBody>
      </p:sp>
      <p:pic>
        <p:nvPicPr>
          <p:cNvPr id="21" name="Picture 2">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228852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50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ppt_x"/>
                                          </p:val>
                                        </p:tav>
                                        <p:tav tm="100000">
                                          <p:val>
                                            <p:strVal val="#ppt_x"/>
                                          </p:val>
                                        </p:tav>
                                      </p:tavLst>
                                    </p:anim>
                                    <p:anim calcmode="lin" valueType="num">
                                      <p:cBhvr additive="base">
                                        <p:cTn id="12" dur="500" fill="hold"/>
                                        <p:tgtEl>
                                          <p:spTgt spid="10"/>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100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500" fill="hold"/>
                                        <p:tgtEl>
                                          <p:spTgt spid="11"/>
                                        </p:tgtEl>
                                        <p:attrNameLst>
                                          <p:attrName>ppt_x</p:attrName>
                                        </p:attrNameLst>
                                      </p:cBhvr>
                                      <p:tavLst>
                                        <p:tav tm="0">
                                          <p:val>
                                            <p:strVal val="#ppt_x"/>
                                          </p:val>
                                        </p:tav>
                                        <p:tav tm="100000">
                                          <p:val>
                                            <p:strVal val="#ppt_x"/>
                                          </p:val>
                                        </p:tav>
                                      </p:tavLst>
                                    </p:anim>
                                    <p:anim calcmode="lin" valueType="num">
                                      <p:cBhvr additive="base">
                                        <p:cTn id="16" dur="500" fill="hold"/>
                                        <p:tgtEl>
                                          <p:spTgt spid="11"/>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1000"/>
                                  </p:stCondLst>
                                  <p:childTnLst>
                                    <p:set>
                                      <p:cBhvr>
                                        <p:cTn id="18" dur="1" fill="hold">
                                          <p:stCondLst>
                                            <p:cond delay="0"/>
                                          </p:stCondLst>
                                        </p:cTn>
                                        <p:tgtEl>
                                          <p:spTgt spid="15"/>
                                        </p:tgtEl>
                                        <p:attrNameLst>
                                          <p:attrName>style.visibility</p:attrName>
                                        </p:attrNameLst>
                                      </p:cBhvr>
                                      <p:to>
                                        <p:strVal val="visible"/>
                                      </p:to>
                                    </p:set>
                                    <p:anim calcmode="lin" valueType="num">
                                      <p:cBhvr additive="base">
                                        <p:cTn id="19" dur="500" fill="hold"/>
                                        <p:tgtEl>
                                          <p:spTgt spid="15"/>
                                        </p:tgtEl>
                                        <p:attrNameLst>
                                          <p:attrName>ppt_x</p:attrName>
                                        </p:attrNameLst>
                                      </p:cBhvr>
                                      <p:tavLst>
                                        <p:tav tm="0">
                                          <p:val>
                                            <p:strVal val="#ppt_x"/>
                                          </p:val>
                                        </p:tav>
                                        <p:tav tm="100000">
                                          <p:val>
                                            <p:strVal val="#ppt_x"/>
                                          </p:val>
                                        </p:tav>
                                      </p:tavLst>
                                    </p:anim>
                                    <p:anim calcmode="lin" valueType="num">
                                      <p:cBhvr additive="base">
                                        <p:cTn id="20" dur="500" fill="hold"/>
                                        <p:tgtEl>
                                          <p:spTgt spid="15"/>
                                        </p:tgtEl>
                                        <p:attrNameLst>
                                          <p:attrName>ppt_y</p:attrName>
                                        </p:attrNameLst>
                                      </p:cBhvr>
                                      <p:tavLst>
                                        <p:tav tm="0">
                                          <p:val>
                                            <p:strVal val="1+#ppt_h/2"/>
                                          </p:val>
                                        </p:tav>
                                        <p:tav tm="100000">
                                          <p:val>
                                            <p:strVal val="#ppt_y"/>
                                          </p:val>
                                        </p:tav>
                                      </p:tavLst>
                                    </p:anim>
                                  </p:childTnLst>
                                </p:cTn>
                              </p:par>
                            </p:childTnLst>
                          </p:cTn>
                        </p:par>
                        <p:par>
                          <p:cTn id="21" fill="hold">
                            <p:stCondLst>
                              <p:cond delay="1500"/>
                            </p:stCondLst>
                            <p:childTnLst>
                              <p:par>
                                <p:cTn id="22" presetID="2" presetClass="entr" presetSubtype="4" fill="hold" grpId="0" nodeType="afterEffect">
                                  <p:stCondLst>
                                    <p:cond delay="0"/>
                                  </p:stCondLst>
                                  <p:childTnLst>
                                    <p:set>
                                      <p:cBhvr>
                                        <p:cTn id="23" dur="1" fill="hold">
                                          <p:stCondLst>
                                            <p:cond delay="0"/>
                                          </p:stCondLst>
                                        </p:cTn>
                                        <p:tgtEl>
                                          <p:spTgt spid="16"/>
                                        </p:tgtEl>
                                        <p:attrNameLst>
                                          <p:attrName>style.visibility</p:attrName>
                                        </p:attrNameLst>
                                      </p:cBhvr>
                                      <p:to>
                                        <p:strVal val="visible"/>
                                      </p:to>
                                    </p:set>
                                    <p:anim calcmode="lin" valueType="num">
                                      <p:cBhvr additive="base">
                                        <p:cTn id="24" dur="500" fill="hold"/>
                                        <p:tgtEl>
                                          <p:spTgt spid="16"/>
                                        </p:tgtEl>
                                        <p:attrNameLst>
                                          <p:attrName>ppt_x</p:attrName>
                                        </p:attrNameLst>
                                      </p:cBhvr>
                                      <p:tavLst>
                                        <p:tav tm="0">
                                          <p:val>
                                            <p:strVal val="#ppt_x"/>
                                          </p:val>
                                        </p:tav>
                                        <p:tav tm="100000">
                                          <p:val>
                                            <p:strVal val="#ppt_x"/>
                                          </p:val>
                                        </p:tav>
                                      </p:tavLst>
                                    </p:anim>
                                    <p:anim calcmode="lin" valueType="num">
                                      <p:cBhvr additive="base">
                                        <p:cTn id="25" dur="500" fill="hold"/>
                                        <p:tgtEl>
                                          <p:spTgt spid="16"/>
                                        </p:tgtEl>
                                        <p:attrNameLst>
                                          <p:attrName>ppt_y</p:attrName>
                                        </p:attrNameLst>
                                      </p:cBhvr>
                                      <p:tavLst>
                                        <p:tav tm="0">
                                          <p:val>
                                            <p:strVal val="1+#ppt_h/2"/>
                                          </p:val>
                                        </p:tav>
                                        <p:tav tm="100000">
                                          <p:val>
                                            <p:strVal val="#ppt_y"/>
                                          </p:val>
                                        </p:tav>
                                      </p:tavLst>
                                    </p:anim>
                                  </p:childTnLst>
                                </p:cTn>
                              </p:par>
                              <p:par>
                                <p:cTn id="26" presetID="2" presetClass="entr" presetSubtype="4" fill="hold" grpId="0" nodeType="withEffect">
                                  <p:stCondLst>
                                    <p:cond delay="500"/>
                                  </p:stCondLst>
                                  <p:childTnLst>
                                    <p:set>
                                      <p:cBhvr>
                                        <p:cTn id="27" dur="1" fill="hold">
                                          <p:stCondLst>
                                            <p:cond delay="0"/>
                                          </p:stCondLst>
                                        </p:cTn>
                                        <p:tgtEl>
                                          <p:spTgt spid="17"/>
                                        </p:tgtEl>
                                        <p:attrNameLst>
                                          <p:attrName>style.visibility</p:attrName>
                                        </p:attrNameLst>
                                      </p:cBhvr>
                                      <p:to>
                                        <p:strVal val="visible"/>
                                      </p:to>
                                    </p:set>
                                    <p:anim calcmode="lin" valueType="num">
                                      <p:cBhvr additive="base">
                                        <p:cTn id="28" dur="500" fill="hold"/>
                                        <p:tgtEl>
                                          <p:spTgt spid="17"/>
                                        </p:tgtEl>
                                        <p:attrNameLst>
                                          <p:attrName>ppt_x</p:attrName>
                                        </p:attrNameLst>
                                      </p:cBhvr>
                                      <p:tavLst>
                                        <p:tav tm="0">
                                          <p:val>
                                            <p:strVal val="#ppt_x"/>
                                          </p:val>
                                        </p:tav>
                                        <p:tav tm="100000">
                                          <p:val>
                                            <p:strVal val="#ppt_x"/>
                                          </p:val>
                                        </p:tav>
                                      </p:tavLst>
                                    </p:anim>
                                    <p:anim calcmode="lin" valueType="num">
                                      <p:cBhvr additive="base">
                                        <p:cTn id="29" dur="500" fill="hold"/>
                                        <p:tgtEl>
                                          <p:spTgt spid="17"/>
                                        </p:tgtEl>
                                        <p:attrNameLst>
                                          <p:attrName>ppt_y</p:attrName>
                                        </p:attrNameLst>
                                      </p:cBhvr>
                                      <p:tavLst>
                                        <p:tav tm="0">
                                          <p:val>
                                            <p:strVal val="1+#ppt_h/2"/>
                                          </p:val>
                                        </p:tav>
                                        <p:tav tm="100000">
                                          <p:val>
                                            <p:strVal val="#ppt_y"/>
                                          </p:val>
                                        </p:tav>
                                      </p:tavLst>
                                    </p:anim>
                                  </p:childTnLst>
                                </p:cTn>
                              </p:par>
                              <p:par>
                                <p:cTn id="30" presetID="2" presetClass="entr" presetSubtype="4" fill="hold" grpId="0" nodeType="withEffect">
                                  <p:stCondLst>
                                    <p:cond delay="1000"/>
                                  </p:stCondLst>
                                  <p:childTnLst>
                                    <p:set>
                                      <p:cBhvr>
                                        <p:cTn id="31" dur="1" fill="hold">
                                          <p:stCondLst>
                                            <p:cond delay="0"/>
                                          </p:stCondLst>
                                        </p:cTn>
                                        <p:tgtEl>
                                          <p:spTgt spid="18"/>
                                        </p:tgtEl>
                                        <p:attrNameLst>
                                          <p:attrName>style.visibility</p:attrName>
                                        </p:attrNameLst>
                                      </p:cBhvr>
                                      <p:to>
                                        <p:strVal val="visible"/>
                                      </p:to>
                                    </p:set>
                                    <p:anim calcmode="lin" valueType="num">
                                      <p:cBhvr additive="base">
                                        <p:cTn id="32" dur="500" fill="hold"/>
                                        <p:tgtEl>
                                          <p:spTgt spid="18"/>
                                        </p:tgtEl>
                                        <p:attrNameLst>
                                          <p:attrName>ppt_x</p:attrName>
                                        </p:attrNameLst>
                                      </p:cBhvr>
                                      <p:tavLst>
                                        <p:tav tm="0">
                                          <p:val>
                                            <p:strVal val="#ppt_x"/>
                                          </p:val>
                                        </p:tav>
                                        <p:tav tm="100000">
                                          <p:val>
                                            <p:strVal val="#ppt_x"/>
                                          </p:val>
                                        </p:tav>
                                      </p:tavLst>
                                    </p:anim>
                                    <p:anim calcmode="lin" valueType="num">
                                      <p:cBhvr additive="base">
                                        <p:cTn id="33" dur="500" fill="hold"/>
                                        <p:tgtEl>
                                          <p:spTgt spid="18"/>
                                        </p:tgtEl>
                                        <p:attrNameLst>
                                          <p:attrName>ppt_y</p:attrName>
                                        </p:attrNameLst>
                                      </p:cBhvr>
                                      <p:tavLst>
                                        <p:tav tm="0">
                                          <p:val>
                                            <p:strVal val="1+#ppt_h/2"/>
                                          </p:val>
                                        </p:tav>
                                        <p:tav tm="100000">
                                          <p:val>
                                            <p:strVal val="#ppt_y"/>
                                          </p:val>
                                        </p:tav>
                                      </p:tavLst>
                                    </p:anim>
                                  </p:childTnLst>
                                </p:cTn>
                              </p:par>
                              <p:par>
                                <p:cTn id="34" presetID="2" presetClass="entr" presetSubtype="4" fill="hold" grpId="0" nodeType="withEffect">
                                  <p:stCondLst>
                                    <p:cond delay="1000"/>
                                  </p:stCondLst>
                                  <p:childTnLst>
                                    <p:set>
                                      <p:cBhvr>
                                        <p:cTn id="35" dur="1" fill="hold">
                                          <p:stCondLst>
                                            <p:cond delay="0"/>
                                          </p:stCondLst>
                                        </p:cTn>
                                        <p:tgtEl>
                                          <p:spTgt spid="20"/>
                                        </p:tgtEl>
                                        <p:attrNameLst>
                                          <p:attrName>style.visibility</p:attrName>
                                        </p:attrNameLst>
                                      </p:cBhvr>
                                      <p:to>
                                        <p:strVal val="visible"/>
                                      </p:to>
                                    </p:set>
                                    <p:anim calcmode="lin" valueType="num">
                                      <p:cBhvr additive="base">
                                        <p:cTn id="36" dur="500" fill="hold"/>
                                        <p:tgtEl>
                                          <p:spTgt spid="20"/>
                                        </p:tgtEl>
                                        <p:attrNameLst>
                                          <p:attrName>ppt_x</p:attrName>
                                        </p:attrNameLst>
                                      </p:cBhvr>
                                      <p:tavLst>
                                        <p:tav tm="0">
                                          <p:val>
                                            <p:strVal val="#ppt_x"/>
                                          </p:val>
                                        </p:tav>
                                        <p:tav tm="100000">
                                          <p:val>
                                            <p:strVal val="#ppt_x"/>
                                          </p:val>
                                        </p:tav>
                                      </p:tavLst>
                                    </p:anim>
                                    <p:anim calcmode="lin" valueType="num">
                                      <p:cBhvr additive="base">
                                        <p:cTn id="37" dur="500" fill="hold"/>
                                        <p:tgtEl>
                                          <p:spTgt spid="2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5" grpId="0" animBg="1"/>
      <p:bldP spid="16" grpId="0" animBg="1"/>
      <p:bldP spid="17" grpId="0" animBg="1"/>
      <p:bldP spid="18" grpId="0" animBg="1"/>
      <p:bldP spid="20" grpId="0" animBg="1"/>
    </p:bldLst>
  </p:timing>
</p:sld>
</file>

<file path=ppt/slides/slide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0" y="1767551"/>
            <a:ext cx="4016384" cy="571500"/>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72" tIns="137172" rIns="137172" bIns="137172" numCol="1" rtlCol="0" anchor="b" anchorCtr="0" compatLnSpc="1">
            <a:prstTxWarp prst="textNoShape">
              <a:avLst/>
            </a:prstTxWarp>
          </a:bodyPr>
          <a:lstStyle/>
          <a:p>
            <a:pPr algn="r" defTabSz="685637" fontAlgn="base">
              <a:spcBef>
                <a:spcPct val="0"/>
              </a:spcBef>
              <a:spcAft>
                <a:spcPct val="0"/>
              </a:spcAft>
            </a:pPr>
            <a:r>
              <a:rPr lang="en-US" sz="2400" dirty="0">
                <a:solidFill>
                  <a:schemeClr val="tx1">
                    <a:alpha val="99000"/>
                  </a:schemeClr>
                </a:solidFill>
                <a:ea typeface="Adobe Fan Heiti Std B" pitchFamily="34" charset="-128"/>
                <a:cs typeface="Segoe UI" pitchFamily="34" charset="0"/>
              </a:rPr>
              <a:t>Windows 2008 (all)</a:t>
            </a:r>
          </a:p>
        </p:txBody>
      </p:sp>
      <p:sp>
        <p:nvSpPr>
          <p:cNvPr id="8" name="Rectangle 7"/>
          <p:cNvSpPr/>
          <p:nvPr/>
        </p:nvSpPr>
        <p:spPr>
          <a:xfrm>
            <a:off x="-1191" y="2396201"/>
            <a:ext cx="4016384" cy="571500"/>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72" tIns="137172" rIns="137172" bIns="137172" numCol="1" rtlCol="0" anchor="b" anchorCtr="0" compatLnSpc="1">
            <a:prstTxWarp prst="textNoShape">
              <a:avLst/>
            </a:prstTxWarp>
          </a:bodyPr>
          <a:lstStyle/>
          <a:p>
            <a:pPr algn="r" defTabSz="685637" fontAlgn="base">
              <a:spcBef>
                <a:spcPct val="0"/>
              </a:spcBef>
              <a:spcAft>
                <a:spcPct val="0"/>
              </a:spcAft>
            </a:pPr>
            <a:r>
              <a:rPr lang="en-US" sz="2400" dirty="0">
                <a:solidFill>
                  <a:schemeClr val="tx1">
                    <a:alpha val="99000"/>
                  </a:schemeClr>
                </a:solidFill>
                <a:ea typeface="Adobe Fan Heiti Std B" pitchFamily="34" charset="-128"/>
                <a:cs typeface="Segoe UI" pitchFamily="34" charset="0"/>
              </a:rPr>
              <a:t>Windows 2003 SP1+ (all)</a:t>
            </a:r>
          </a:p>
        </p:txBody>
      </p:sp>
      <p:sp>
        <p:nvSpPr>
          <p:cNvPr id="12" name="Rectangle 11"/>
          <p:cNvSpPr/>
          <p:nvPr/>
        </p:nvSpPr>
        <p:spPr>
          <a:xfrm>
            <a:off x="0" y="3024851"/>
            <a:ext cx="4016384" cy="571500"/>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72" tIns="137172" rIns="137172" bIns="137172" numCol="1" rtlCol="0" anchor="b" anchorCtr="0" compatLnSpc="1">
            <a:prstTxWarp prst="textNoShape">
              <a:avLst/>
            </a:prstTxWarp>
          </a:bodyPr>
          <a:lstStyle/>
          <a:p>
            <a:pPr algn="r" defTabSz="685637" fontAlgn="base">
              <a:spcBef>
                <a:spcPct val="0"/>
              </a:spcBef>
              <a:spcAft>
                <a:spcPct val="0"/>
              </a:spcAft>
            </a:pPr>
            <a:r>
              <a:rPr lang="en-US" sz="2400" dirty="0">
                <a:solidFill>
                  <a:schemeClr val="tx1">
                    <a:alpha val="99000"/>
                  </a:schemeClr>
                </a:solidFill>
                <a:ea typeface="Adobe Fan Heiti Std B" pitchFamily="34" charset="-128"/>
                <a:cs typeface="Segoe UI" pitchFamily="34" charset="0"/>
              </a:rPr>
              <a:t>Linux (SUSE, Cent, </a:t>
            </a:r>
            <a:r>
              <a:rPr lang="en-US" sz="2400" dirty="0" err="1">
                <a:solidFill>
                  <a:schemeClr val="tx1">
                    <a:alpha val="99000"/>
                  </a:schemeClr>
                </a:solidFill>
                <a:ea typeface="Adobe Fan Heiti Std B" pitchFamily="34" charset="-128"/>
                <a:cs typeface="Segoe UI" pitchFamily="34" charset="0"/>
              </a:rPr>
              <a:t>RedHat</a:t>
            </a:r>
            <a:r>
              <a:rPr lang="en-US" sz="2400" dirty="0">
                <a:solidFill>
                  <a:schemeClr val="tx1">
                    <a:alpha val="99000"/>
                  </a:schemeClr>
                </a:solidFill>
                <a:ea typeface="Adobe Fan Heiti Std B" pitchFamily="34" charset="-128"/>
                <a:cs typeface="Segoe UI" pitchFamily="34" charset="0"/>
              </a:rPr>
              <a:t>)</a:t>
            </a:r>
          </a:p>
        </p:txBody>
      </p:sp>
      <p:sp>
        <p:nvSpPr>
          <p:cNvPr id="13" name="Rectangle 12"/>
          <p:cNvSpPr/>
          <p:nvPr/>
        </p:nvSpPr>
        <p:spPr bwMode="auto">
          <a:xfrm>
            <a:off x="-23380" y="1143002"/>
            <a:ext cx="4039765" cy="563303"/>
          </a:xfrm>
          <a:prstGeom prst="rect">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72" tIns="0" rIns="137172" bIns="0" numCol="1" rtlCol="0" anchor="ctr" anchorCtr="0" compatLnSpc="1">
            <a:prstTxWarp prst="textNoShape">
              <a:avLst/>
            </a:prstTxWarp>
          </a:bodyPr>
          <a:lstStyle/>
          <a:p>
            <a:pPr algn="ctr" defTabSz="685637" fontAlgn="base">
              <a:spcBef>
                <a:spcPct val="0"/>
              </a:spcBef>
              <a:spcAft>
                <a:spcPct val="0"/>
              </a:spcAft>
            </a:pPr>
            <a:r>
              <a:rPr lang="en-US" sz="2400" kern="1100" dirty="0">
                <a:solidFill>
                  <a:schemeClr val="tx1">
                    <a:alpha val="99000"/>
                  </a:schemeClr>
                </a:solidFill>
                <a:latin typeface="Segoe UI" pitchFamily="34" charset="0"/>
                <a:ea typeface="Segoe UI" pitchFamily="34" charset="0"/>
                <a:cs typeface="Segoe UI" pitchFamily="34" charset="0"/>
              </a:rPr>
              <a:t>Supported </a:t>
            </a:r>
          </a:p>
        </p:txBody>
      </p:sp>
      <p:sp>
        <p:nvSpPr>
          <p:cNvPr id="15" name="Rectangle 14"/>
          <p:cNvSpPr/>
          <p:nvPr/>
        </p:nvSpPr>
        <p:spPr>
          <a:xfrm>
            <a:off x="4629165" y="2114549"/>
            <a:ext cx="4514835" cy="571500"/>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37172" tIns="137172" rIns="137172" bIns="137172" numCol="1" rtlCol="0" anchor="b" anchorCtr="0" compatLnSpc="1">
            <a:prstTxWarp prst="textNoShape">
              <a:avLst/>
            </a:prstTxWarp>
          </a:bodyPr>
          <a:lstStyle/>
          <a:p>
            <a:pPr defTabSz="685637" fontAlgn="base">
              <a:spcBef>
                <a:spcPct val="0"/>
              </a:spcBef>
              <a:spcAft>
                <a:spcPct val="0"/>
              </a:spcAft>
            </a:pPr>
            <a:r>
              <a:rPr lang="en-US" sz="2100" dirty="0">
                <a:solidFill>
                  <a:schemeClr val="tx1">
                    <a:alpha val="99000"/>
                  </a:schemeClr>
                </a:solidFill>
                <a:ea typeface="Adobe Fan Heiti Std B" pitchFamily="34" charset="-128"/>
                <a:cs typeface="Segoe UI" pitchFamily="34" charset="0"/>
              </a:rPr>
              <a:t>Windows XP (All Versions)</a:t>
            </a:r>
          </a:p>
        </p:txBody>
      </p:sp>
      <p:sp>
        <p:nvSpPr>
          <p:cNvPr id="16" name="Rectangle 15"/>
          <p:cNvSpPr/>
          <p:nvPr/>
        </p:nvSpPr>
        <p:spPr>
          <a:xfrm>
            <a:off x="4629165" y="2743199"/>
            <a:ext cx="4514835" cy="571500"/>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37172" tIns="137172" rIns="137172" bIns="137172" numCol="1" rtlCol="0" anchor="b" anchorCtr="0" compatLnSpc="1">
            <a:prstTxWarp prst="textNoShape">
              <a:avLst/>
            </a:prstTxWarp>
          </a:bodyPr>
          <a:lstStyle/>
          <a:p>
            <a:pPr defTabSz="685637" fontAlgn="base">
              <a:spcBef>
                <a:spcPct val="0"/>
              </a:spcBef>
              <a:spcAft>
                <a:spcPct val="0"/>
              </a:spcAft>
            </a:pPr>
            <a:r>
              <a:rPr lang="en-US" sz="2100" dirty="0">
                <a:solidFill>
                  <a:schemeClr val="tx1">
                    <a:alpha val="99000"/>
                  </a:schemeClr>
                </a:solidFill>
                <a:ea typeface="Adobe Fan Heiti Std B" pitchFamily="34" charset="-128"/>
                <a:cs typeface="Segoe UI" pitchFamily="34" charset="0"/>
              </a:rPr>
              <a:t>Windows Vista (All Versions) *</a:t>
            </a:r>
          </a:p>
        </p:txBody>
      </p:sp>
      <p:sp>
        <p:nvSpPr>
          <p:cNvPr id="17" name="Rectangle 16"/>
          <p:cNvSpPr/>
          <p:nvPr/>
        </p:nvSpPr>
        <p:spPr>
          <a:xfrm>
            <a:off x="4629165" y="3371849"/>
            <a:ext cx="4514835" cy="571500"/>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37172" tIns="137172" rIns="137172" bIns="137172" numCol="1" rtlCol="0" anchor="b" anchorCtr="0" compatLnSpc="1">
            <a:prstTxWarp prst="textNoShape">
              <a:avLst/>
            </a:prstTxWarp>
          </a:bodyPr>
          <a:lstStyle/>
          <a:p>
            <a:pPr defTabSz="685637" fontAlgn="base">
              <a:spcBef>
                <a:spcPct val="0"/>
              </a:spcBef>
              <a:spcAft>
                <a:spcPct val="0"/>
              </a:spcAft>
            </a:pPr>
            <a:r>
              <a:rPr lang="en-US" sz="2100" dirty="0">
                <a:solidFill>
                  <a:schemeClr val="tx1">
                    <a:alpha val="99000"/>
                  </a:schemeClr>
                </a:solidFill>
                <a:ea typeface="Adobe Fan Heiti Std B" pitchFamily="34" charset="-128"/>
                <a:cs typeface="Segoe UI" pitchFamily="34" charset="0"/>
              </a:rPr>
              <a:t>Windows 7 (All Versions) *</a:t>
            </a:r>
          </a:p>
        </p:txBody>
      </p:sp>
      <p:sp>
        <p:nvSpPr>
          <p:cNvPr id="18" name="Rectangle 17"/>
          <p:cNvSpPr/>
          <p:nvPr/>
        </p:nvSpPr>
        <p:spPr bwMode="auto">
          <a:xfrm>
            <a:off x="4629165" y="1481801"/>
            <a:ext cx="4514835" cy="571500"/>
          </a:xfrm>
          <a:prstGeom prst="rect">
            <a:avLst/>
          </a:prstGeom>
          <a:ln>
            <a:headEnd type="none" w="med" len="med"/>
            <a:tailEnd type="none" w="med" len="med"/>
          </a:ln>
        </p:spPr>
        <p:style>
          <a:lnRef idx="1">
            <a:schemeClr val="dk1"/>
          </a:lnRef>
          <a:fillRef idx="3">
            <a:schemeClr val="dk1"/>
          </a:fillRef>
          <a:effectRef idx="2">
            <a:schemeClr val="dk1"/>
          </a:effectRef>
          <a:fontRef idx="minor">
            <a:schemeClr val="lt1"/>
          </a:fontRef>
        </p:style>
        <p:txBody>
          <a:bodyPr vert="horz" wrap="square" lIns="137172" tIns="0" rIns="137172" bIns="0" numCol="1" rtlCol="0" anchor="ctr" anchorCtr="0" compatLnSpc="1">
            <a:prstTxWarp prst="textNoShape">
              <a:avLst/>
            </a:prstTxWarp>
          </a:bodyPr>
          <a:lstStyle/>
          <a:p>
            <a:pPr algn="ctr" defTabSz="685637" fontAlgn="base">
              <a:spcBef>
                <a:spcPct val="0"/>
              </a:spcBef>
              <a:spcAft>
                <a:spcPct val="0"/>
              </a:spcAft>
            </a:pPr>
            <a:r>
              <a:rPr lang="en-US" sz="2400" kern="1100" dirty="0">
                <a:solidFill>
                  <a:schemeClr val="tx1">
                    <a:alpha val="99000"/>
                  </a:schemeClr>
                </a:solidFill>
                <a:latin typeface="Segoe UI" pitchFamily="34" charset="0"/>
                <a:ea typeface="Segoe UI" pitchFamily="34" charset="0"/>
                <a:cs typeface="Segoe UI" pitchFamily="34" charset="0"/>
              </a:rPr>
              <a:t>Currently Unsupported</a:t>
            </a:r>
          </a:p>
        </p:txBody>
      </p:sp>
      <p:sp>
        <p:nvSpPr>
          <p:cNvPr id="19" name="Rectangle 18"/>
          <p:cNvSpPr/>
          <p:nvPr/>
        </p:nvSpPr>
        <p:spPr>
          <a:xfrm>
            <a:off x="4629165" y="4000499"/>
            <a:ext cx="4514835" cy="571500"/>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37172" tIns="137172" rIns="137172" bIns="137172" numCol="1" rtlCol="0" anchor="b" anchorCtr="0" compatLnSpc="1">
            <a:prstTxWarp prst="textNoShape">
              <a:avLst/>
            </a:prstTxWarp>
          </a:bodyPr>
          <a:lstStyle/>
          <a:p>
            <a:pPr defTabSz="685637" fontAlgn="base">
              <a:spcBef>
                <a:spcPct val="0"/>
              </a:spcBef>
              <a:spcAft>
                <a:spcPct val="0"/>
              </a:spcAft>
            </a:pPr>
            <a:r>
              <a:rPr lang="en-US" sz="2100" dirty="0">
                <a:solidFill>
                  <a:schemeClr val="tx1">
                    <a:alpha val="99000"/>
                  </a:schemeClr>
                </a:solidFill>
                <a:ea typeface="Adobe Fan Heiti Std B" pitchFamily="34" charset="-128"/>
                <a:cs typeface="Segoe UI" pitchFamily="34" charset="0"/>
              </a:rPr>
              <a:t>Windows Server 2003 or earlier </a:t>
            </a:r>
          </a:p>
        </p:txBody>
      </p:sp>
      <p:sp>
        <p:nvSpPr>
          <p:cNvPr id="2" name="Rectangle 1"/>
          <p:cNvSpPr/>
          <p:nvPr/>
        </p:nvSpPr>
        <p:spPr>
          <a:xfrm>
            <a:off x="1739186" y="114301"/>
            <a:ext cx="5080165" cy="761747"/>
          </a:xfrm>
          <a:prstGeom prst="rect">
            <a:avLst/>
          </a:prstGeom>
        </p:spPr>
        <p:txBody>
          <a:bodyPr wrap="none" lIns="68586" tIns="34294" rIns="68586" bIns="34294">
            <a:spAutoFit/>
          </a:bodyPr>
          <a:lstStyle/>
          <a:p>
            <a:pPr defTabSz="685637" fontAlgn="base">
              <a:spcBef>
                <a:spcPct val="0"/>
              </a:spcBef>
              <a:spcAft>
                <a:spcPct val="0"/>
              </a:spcAft>
            </a:pPr>
            <a:r>
              <a:rPr lang="en-US" sz="4500" dirty="0">
                <a:solidFill>
                  <a:schemeClr val="tx1">
                    <a:alpha val="99000"/>
                  </a:schemeClr>
                </a:solidFill>
                <a:ea typeface="Adobe Fan Heiti Std B" pitchFamily="34" charset="-128"/>
                <a:cs typeface="Segoe UI" pitchFamily="34" charset="0"/>
              </a:rPr>
              <a:t> Operating Systems</a:t>
            </a:r>
          </a:p>
        </p:txBody>
      </p:sp>
      <p:sp>
        <p:nvSpPr>
          <p:cNvPr id="3" name="TextBox 2"/>
          <p:cNvSpPr txBox="1"/>
          <p:nvPr/>
        </p:nvSpPr>
        <p:spPr>
          <a:xfrm>
            <a:off x="3877148" y="4580165"/>
            <a:ext cx="5266852" cy="387799"/>
          </a:xfrm>
          <a:prstGeom prst="rect">
            <a:avLst/>
          </a:prstGeom>
          <a:noFill/>
        </p:spPr>
        <p:txBody>
          <a:bodyPr wrap="none" lIns="68586" tIns="68586" rIns="68586" bIns="68586" rtlCol="0">
            <a:spAutoFit/>
          </a:bodyPr>
          <a:lstStyle/>
          <a:p>
            <a:pPr>
              <a:lnSpc>
                <a:spcPct val="90000"/>
              </a:lnSpc>
              <a:spcBef>
                <a:spcPct val="20000"/>
              </a:spcBef>
              <a:buClr>
                <a:srgbClr val="84A8D8"/>
              </a:buClr>
              <a:buSzPct val="100000"/>
            </a:pPr>
            <a:r>
              <a:rPr lang="en-US" sz="1800" dirty="0">
                <a:solidFill>
                  <a:schemeClr val="tx1">
                    <a:alpha val="99000"/>
                  </a:schemeClr>
                </a:solidFill>
              </a:rPr>
              <a:t>*These may work but were not in scope for testing</a:t>
            </a:r>
          </a:p>
        </p:txBody>
      </p:sp>
      <p:sp>
        <p:nvSpPr>
          <p:cNvPr id="14"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0"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
              </a:rPr>
              <a:t>www.rapidbbs.cn</a:t>
            </a:r>
            <a:endParaRPr lang="zh-CN" altLang="en-US" sz="1200" b="0">
              <a:latin typeface="Arial" charset="0"/>
              <a:ea typeface="ＭＳ Ｐゴシック" pitchFamily="34" charset="-128"/>
            </a:endParaRPr>
          </a:p>
        </p:txBody>
      </p:sp>
    </p:spTree>
    <p:extLst>
      <p:ext uri="{BB962C8B-B14F-4D97-AF65-F5344CB8AC3E}">
        <p14:creationId xmlns:p14="http://schemas.microsoft.com/office/powerpoint/2010/main" val="957013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50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ppt_x"/>
                                          </p:val>
                                        </p:tav>
                                        <p:tav tm="100000">
                                          <p:val>
                                            <p:strVal val="#ppt_x"/>
                                          </p:val>
                                        </p:tav>
                                      </p:tavLst>
                                    </p:anim>
                                    <p:anim calcmode="lin" valueType="num">
                                      <p:cBhvr additive="base">
                                        <p:cTn id="12" dur="500" fill="hold"/>
                                        <p:tgtEl>
                                          <p:spTgt spid="8"/>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100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500" fill="hold"/>
                                        <p:tgtEl>
                                          <p:spTgt spid="12"/>
                                        </p:tgtEl>
                                        <p:attrNameLst>
                                          <p:attrName>ppt_x</p:attrName>
                                        </p:attrNameLst>
                                      </p:cBhvr>
                                      <p:tavLst>
                                        <p:tav tm="0">
                                          <p:val>
                                            <p:strVal val="#ppt_x"/>
                                          </p:val>
                                        </p:tav>
                                        <p:tav tm="100000">
                                          <p:val>
                                            <p:strVal val="#ppt_x"/>
                                          </p:val>
                                        </p:tav>
                                      </p:tavLst>
                                    </p:anim>
                                    <p:anim calcmode="lin" valueType="num">
                                      <p:cBhvr additive="base">
                                        <p:cTn id="16" dur="500" fill="hold"/>
                                        <p:tgtEl>
                                          <p:spTgt spid="12"/>
                                        </p:tgtEl>
                                        <p:attrNameLst>
                                          <p:attrName>ppt_y</p:attrName>
                                        </p:attrNameLst>
                                      </p:cBhvr>
                                      <p:tavLst>
                                        <p:tav tm="0">
                                          <p:val>
                                            <p:strVal val="1+#ppt_h/2"/>
                                          </p:val>
                                        </p:tav>
                                        <p:tav tm="100000">
                                          <p:val>
                                            <p:strVal val="#ppt_y"/>
                                          </p:val>
                                        </p:tav>
                                      </p:tavLst>
                                    </p:anim>
                                  </p:childTnLst>
                                </p:cTn>
                              </p:par>
                            </p:childTnLst>
                          </p:cTn>
                        </p:par>
                        <p:par>
                          <p:cTn id="17" fill="hold">
                            <p:stCondLst>
                              <p:cond delay="1500"/>
                            </p:stCondLst>
                            <p:childTnLst>
                              <p:par>
                                <p:cTn id="18" presetID="2" presetClass="entr" presetSubtype="4" fill="hold" grpId="0" nodeType="afterEffect">
                                  <p:stCondLst>
                                    <p:cond delay="0"/>
                                  </p:stCondLst>
                                  <p:childTnLst>
                                    <p:set>
                                      <p:cBhvr>
                                        <p:cTn id="19" dur="1" fill="hold">
                                          <p:stCondLst>
                                            <p:cond delay="0"/>
                                          </p:stCondLst>
                                        </p:cTn>
                                        <p:tgtEl>
                                          <p:spTgt spid="15"/>
                                        </p:tgtEl>
                                        <p:attrNameLst>
                                          <p:attrName>style.visibility</p:attrName>
                                        </p:attrNameLst>
                                      </p:cBhvr>
                                      <p:to>
                                        <p:strVal val="visible"/>
                                      </p:to>
                                    </p:set>
                                    <p:anim calcmode="lin" valueType="num">
                                      <p:cBhvr additive="base">
                                        <p:cTn id="20" dur="500" fill="hold"/>
                                        <p:tgtEl>
                                          <p:spTgt spid="15"/>
                                        </p:tgtEl>
                                        <p:attrNameLst>
                                          <p:attrName>ppt_x</p:attrName>
                                        </p:attrNameLst>
                                      </p:cBhvr>
                                      <p:tavLst>
                                        <p:tav tm="0">
                                          <p:val>
                                            <p:strVal val="#ppt_x"/>
                                          </p:val>
                                        </p:tav>
                                        <p:tav tm="100000">
                                          <p:val>
                                            <p:strVal val="#ppt_x"/>
                                          </p:val>
                                        </p:tav>
                                      </p:tavLst>
                                    </p:anim>
                                    <p:anim calcmode="lin" valueType="num">
                                      <p:cBhvr additive="base">
                                        <p:cTn id="21" dur="500" fill="hold"/>
                                        <p:tgtEl>
                                          <p:spTgt spid="15"/>
                                        </p:tgtEl>
                                        <p:attrNameLst>
                                          <p:attrName>ppt_y</p:attrName>
                                        </p:attrNameLst>
                                      </p:cBhvr>
                                      <p:tavLst>
                                        <p:tav tm="0">
                                          <p:val>
                                            <p:strVal val="1+#ppt_h/2"/>
                                          </p:val>
                                        </p:tav>
                                        <p:tav tm="100000">
                                          <p:val>
                                            <p:strVal val="#ppt_y"/>
                                          </p:val>
                                        </p:tav>
                                      </p:tavLst>
                                    </p:anim>
                                  </p:childTnLst>
                                </p:cTn>
                              </p:par>
                              <p:par>
                                <p:cTn id="22" presetID="2" presetClass="entr" presetSubtype="4" fill="hold" grpId="0" nodeType="withEffect">
                                  <p:stCondLst>
                                    <p:cond delay="500"/>
                                  </p:stCondLst>
                                  <p:childTnLst>
                                    <p:set>
                                      <p:cBhvr>
                                        <p:cTn id="23" dur="1" fill="hold">
                                          <p:stCondLst>
                                            <p:cond delay="0"/>
                                          </p:stCondLst>
                                        </p:cTn>
                                        <p:tgtEl>
                                          <p:spTgt spid="16"/>
                                        </p:tgtEl>
                                        <p:attrNameLst>
                                          <p:attrName>style.visibility</p:attrName>
                                        </p:attrNameLst>
                                      </p:cBhvr>
                                      <p:to>
                                        <p:strVal val="visible"/>
                                      </p:to>
                                    </p:set>
                                    <p:anim calcmode="lin" valueType="num">
                                      <p:cBhvr additive="base">
                                        <p:cTn id="24" dur="500" fill="hold"/>
                                        <p:tgtEl>
                                          <p:spTgt spid="16"/>
                                        </p:tgtEl>
                                        <p:attrNameLst>
                                          <p:attrName>ppt_x</p:attrName>
                                        </p:attrNameLst>
                                      </p:cBhvr>
                                      <p:tavLst>
                                        <p:tav tm="0">
                                          <p:val>
                                            <p:strVal val="#ppt_x"/>
                                          </p:val>
                                        </p:tav>
                                        <p:tav tm="100000">
                                          <p:val>
                                            <p:strVal val="#ppt_x"/>
                                          </p:val>
                                        </p:tav>
                                      </p:tavLst>
                                    </p:anim>
                                    <p:anim calcmode="lin" valueType="num">
                                      <p:cBhvr additive="base">
                                        <p:cTn id="25" dur="500" fill="hold"/>
                                        <p:tgtEl>
                                          <p:spTgt spid="16"/>
                                        </p:tgtEl>
                                        <p:attrNameLst>
                                          <p:attrName>ppt_y</p:attrName>
                                        </p:attrNameLst>
                                      </p:cBhvr>
                                      <p:tavLst>
                                        <p:tav tm="0">
                                          <p:val>
                                            <p:strVal val="1+#ppt_h/2"/>
                                          </p:val>
                                        </p:tav>
                                        <p:tav tm="100000">
                                          <p:val>
                                            <p:strVal val="#ppt_y"/>
                                          </p:val>
                                        </p:tav>
                                      </p:tavLst>
                                    </p:anim>
                                  </p:childTnLst>
                                </p:cTn>
                              </p:par>
                              <p:par>
                                <p:cTn id="26" presetID="2" presetClass="entr" presetSubtype="4" fill="hold" grpId="0" nodeType="withEffect">
                                  <p:stCondLst>
                                    <p:cond delay="1000"/>
                                  </p:stCondLst>
                                  <p:childTnLst>
                                    <p:set>
                                      <p:cBhvr>
                                        <p:cTn id="27" dur="1" fill="hold">
                                          <p:stCondLst>
                                            <p:cond delay="0"/>
                                          </p:stCondLst>
                                        </p:cTn>
                                        <p:tgtEl>
                                          <p:spTgt spid="17"/>
                                        </p:tgtEl>
                                        <p:attrNameLst>
                                          <p:attrName>style.visibility</p:attrName>
                                        </p:attrNameLst>
                                      </p:cBhvr>
                                      <p:to>
                                        <p:strVal val="visible"/>
                                      </p:to>
                                    </p:set>
                                    <p:anim calcmode="lin" valueType="num">
                                      <p:cBhvr additive="base">
                                        <p:cTn id="28" dur="500" fill="hold"/>
                                        <p:tgtEl>
                                          <p:spTgt spid="17"/>
                                        </p:tgtEl>
                                        <p:attrNameLst>
                                          <p:attrName>ppt_x</p:attrName>
                                        </p:attrNameLst>
                                      </p:cBhvr>
                                      <p:tavLst>
                                        <p:tav tm="0">
                                          <p:val>
                                            <p:strVal val="#ppt_x"/>
                                          </p:val>
                                        </p:tav>
                                        <p:tav tm="100000">
                                          <p:val>
                                            <p:strVal val="#ppt_x"/>
                                          </p:val>
                                        </p:tav>
                                      </p:tavLst>
                                    </p:anim>
                                    <p:anim calcmode="lin" valueType="num">
                                      <p:cBhvr additive="base">
                                        <p:cTn id="29" dur="500" fill="hold"/>
                                        <p:tgtEl>
                                          <p:spTgt spid="17"/>
                                        </p:tgtEl>
                                        <p:attrNameLst>
                                          <p:attrName>ppt_y</p:attrName>
                                        </p:attrNameLst>
                                      </p:cBhvr>
                                      <p:tavLst>
                                        <p:tav tm="0">
                                          <p:val>
                                            <p:strVal val="1+#ppt_h/2"/>
                                          </p:val>
                                        </p:tav>
                                        <p:tav tm="100000">
                                          <p:val>
                                            <p:strVal val="#ppt_y"/>
                                          </p:val>
                                        </p:tav>
                                      </p:tavLst>
                                    </p:anim>
                                  </p:childTnLst>
                                </p:cTn>
                              </p:par>
                              <p:par>
                                <p:cTn id="30" presetID="2" presetClass="entr" presetSubtype="4" fill="hold" grpId="0" nodeType="withEffect">
                                  <p:stCondLst>
                                    <p:cond delay="1000"/>
                                  </p:stCondLst>
                                  <p:childTnLst>
                                    <p:set>
                                      <p:cBhvr>
                                        <p:cTn id="31" dur="1" fill="hold">
                                          <p:stCondLst>
                                            <p:cond delay="0"/>
                                          </p:stCondLst>
                                        </p:cTn>
                                        <p:tgtEl>
                                          <p:spTgt spid="19"/>
                                        </p:tgtEl>
                                        <p:attrNameLst>
                                          <p:attrName>style.visibility</p:attrName>
                                        </p:attrNameLst>
                                      </p:cBhvr>
                                      <p:to>
                                        <p:strVal val="visible"/>
                                      </p:to>
                                    </p:set>
                                    <p:anim calcmode="lin" valueType="num">
                                      <p:cBhvr additive="base">
                                        <p:cTn id="32" dur="500" fill="hold"/>
                                        <p:tgtEl>
                                          <p:spTgt spid="19"/>
                                        </p:tgtEl>
                                        <p:attrNameLst>
                                          <p:attrName>ppt_x</p:attrName>
                                        </p:attrNameLst>
                                      </p:cBhvr>
                                      <p:tavLst>
                                        <p:tav tm="0">
                                          <p:val>
                                            <p:strVal val="#ppt_x"/>
                                          </p:val>
                                        </p:tav>
                                        <p:tav tm="100000">
                                          <p:val>
                                            <p:strVal val="#ppt_x"/>
                                          </p:val>
                                        </p:tav>
                                      </p:tavLst>
                                    </p:anim>
                                    <p:anim calcmode="lin" valueType="num">
                                      <p:cBhvr additive="base">
                                        <p:cTn id="33" dur="500" fill="hold"/>
                                        <p:tgtEl>
                                          <p:spTgt spid="19"/>
                                        </p:tgtEl>
                                        <p:attrNameLst>
                                          <p:attrName>ppt_y</p:attrName>
                                        </p:attrNameLst>
                                      </p:cBhvr>
                                      <p:tavLst>
                                        <p:tav tm="0">
                                          <p:val>
                                            <p:strVal val="1+#ppt_h/2"/>
                                          </p:val>
                                        </p:tav>
                                        <p:tav tm="100000">
                                          <p:val>
                                            <p:strVal val="#ppt_y"/>
                                          </p:val>
                                        </p:tav>
                                      </p:tavLst>
                                    </p:anim>
                                  </p:childTnLst>
                                </p:cTn>
                              </p:par>
                            </p:childTnLst>
                          </p:cTn>
                        </p:par>
                        <p:par>
                          <p:cTn id="34" fill="hold">
                            <p:stCondLst>
                              <p:cond delay="3000"/>
                            </p:stCondLst>
                            <p:childTnLst>
                              <p:par>
                                <p:cTn id="35" presetID="1" presetClass="entr" presetSubtype="0" fill="hold" grpId="0" nodeType="afterEffect">
                                  <p:stCondLst>
                                    <p:cond delay="0"/>
                                  </p:stCondLst>
                                  <p:childTnLst>
                                    <p:set>
                                      <p:cBhvr>
                                        <p:cTn id="3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2" grpId="0" animBg="1"/>
      <p:bldP spid="15" grpId="0" animBg="1"/>
      <p:bldP spid="16" grpId="0" animBg="1"/>
      <p:bldP spid="17" grpId="0" animBg="1"/>
      <p:bldP spid="19" grpId="0" animBg="1"/>
      <p:bldP spid="3" grpId="0"/>
    </p:bldLst>
  </p:timing>
</p:sld>
</file>

<file path=ppt/slides/slide4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2700" dirty="0"/>
              <a:t>Tweet </a:t>
            </a:r>
            <a:r>
              <a:rPr lang="en-US" dirty="0" smtClean="0"/>
              <a:t/>
            </a:r>
            <a:br>
              <a:rPr lang="en-US" dirty="0" smtClean="0"/>
            </a:br>
            <a:r>
              <a:rPr lang="en-US" sz="5400" dirty="0"/>
              <a:t>#WSV336</a:t>
            </a:r>
          </a:p>
        </p:txBody>
      </p:sp>
      <p:sp>
        <p:nvSpPr>
          <p:cNvPr id="3" name="Subtitle 2"/>
          <p:cNvSpPr>
            <a:spLocks noGrp="1"/>
          </p:cNvSpPr>
          <p:nvPr>
            <p:ph type="subTitle" idx="1"/>
          </p:nvPr>
        </p:nvSpPr>
        <p:spPr>
          <a:xfrm>
            <a:off x="3142877" y="3657601"/>
            <a:ext cx="4959201" cy="346249"/>
          </a:xfrm>
        </p:spPr>
        <p:txBody>
          <a:bodyPr/>
          <a:lstStyle/>
          <a:p>
            <a:r>
              <a:rPr lang="en-US" dirty="0" smtClean="0"/>
              <a:t>#WSV336</a:t>
            </a:r>
          </a:p>
          <a:p>
            <a:r>
              <a:rPr lang="en-US" dirty="0"/>
              <a:t>#WSV336</a:t>
            </a:r>
          </a:p>
          <a:p>
            <a:r>
              <a:rPr lang="en-US" dirty="0"/>
              <a:t>#WSV336</a:t>
            </a:r>
          </a:p>
          <a:p>
            <a:r>
              <a:rPr lang="en-US" dirty="0"/>
              <a:t>#</a:t>
            </a:r>
            <a:r>
              <a:rPr lang="en-US" dirty="0" smtClean="0"/>
              <a:t>WSV336</a:t>
            </a:r>
            <a:endParaRPr lang="en-US" dirty="0"/>
          </a:p>
        </p:txBody>
      </p:sp>
      <p:sp>
        <p:nvSpPr>
          <p:cNvPr id="4" name="Text Placeholder 3"/>
          <p:cNvSpPr>
            <a:spLocks noGrp="1"/>
          </p:cNvSpPr>
          <p:nvPr>
            <p:ph type="body" sz="quarter" idx="10"/>
          </p:nvPr>
        </p:nvSpPr>
        <p:spPr>
          <a:xfrm>
            <a:off x="227469" y="29951"/>
            <a:ext cx="8805990" cy="1033983"/>
          </a:xfrm>
        </p:spPr>
        <p:txBody>
          <a:bodyPr/>
          <a:lstStyle/>
          <a:p>
            <a:r>
              <a:rPr lang="en-US" sz="6000" dirty="0"/>
              <a:t>You start this demo…</a:t>
            </a:r>
          </a:p>
        </p:txBody>
      </p:sp>
      <p:sp>
        <p:nvSpPr>
          <p:cNvPr id="6" name="Icon-Discussion"/>
          <p:cNvSpPr>
            <a:spLocks noEditPoints="1"/>
          </p:cNvSpPr>
          <p:nvPr/>
        </p:nvSpPr>
        <p:spPr bwMode="auto">
          <a:xfrm>
            <a:off x="7373081" y="1063933"/>
            <a:ext cx="1180553" cy="780998"/>
          </a:xfrm>
          <a:custGeom>
            <a:avLst/>
            <a:gdLst>
              <a:gd name="T0" fmla="*/ 2828 w 4455"/>
              <a:gd name="T1" fmla="*/ 1011 h 2948"/>
              <a:gd name="T2" fmla="*/ 1414 w 4455"/>
              <a:gd name="T3" fmla="*/ 0 h 2948"/>
              <a:gd name="T4" fmla="*/ 0 w 4455"/>
              <a:gd name="T5" fmla="*/ 1011 h 2948"/>
              <a:gd name="T6" fmla="*/ 1179 w 4455"/>
              <a:gd name="T7" fmla="*/ 2008 h 2948"/>
              <a:gd name="T8" fmla="*/ 974 w 4455"/>
              <a:gd name="T9" fmla="*/ 2595 h 2948"/>
              <a:gd name="T10" fmla="*/ 1630 w 4455"/>
              <a:gd name="T11" fmla="*/ 2010 h 2948"/>
              <a:gd name="T12" fmla="*/ 2828 w 4455"/>
              <a:gd name="T13" fmla="*/ 1011 h 2948"/>
              <a:gd name="T14" fmla="*/ 723 w 4455"/>
              <a:gd name="T15" fmla="*/ 1206 h 2948"/>
              <a:gd name="T16" fmla="*/ 529 w 4455"/>
              <a:gd name="T17" fmla="*/ 1012 h 2948"/>
              <a:gd name="T18" fmla="*/ 723 w 4455"/>
              <a:gd name="T19" fmla="*/ 818 h 2948"/>
              <a:gd name="T20" fmla="*/ 917 w 4455"/>
              <a:gd name="T21" fmla="*/ 1012 h 2948"/>
              <a:gd name="T22" fmla="*/ 723 w 4455"/>
              <a:gd name="T23" fmla="*/ 1206 h 2948"/>
              <a:gd name="T24" fmla="*/ 1419 w 4455"/>
              <a:gd name="T25" fmla="*/ 1206 h 2948"/>
              <a:gd name="T26" fmla="*/ 1225 w 4455"/>
              <a:gd name="T27" fmla="*/ 1012 h 2948"/>
              <a:gd name="T28" fmla="*/ 1419 w 4455"/>
              <a:gd name="T29" fmla="*/ 818 h 2948"/>
              <a:gd name="T30" fmla="*/ 1613 w 4455"/>
              <a:gd name="T31" fmla="*/ 1012 h 2948"/>
              <a:gd name="T32" fmla="*/ 1419 w 4455"/>
              <a:gd name="T33" fmla="*/ 1206 h 2948"/>
              <a:gd name="T34" fmla="*/ 2115 w 4455"/>
              <a:gd name="T35" fmla="*/ 1206 h 2948"/>
              <a:gd name="T36" fmla="*/ 1921 w 4455"/>
              <a:gd name="T37" fmla="*/ 1012 h 2948"/>
              <a:gd name="T38" fmla="*/ 2115 w 4455"/>
              <a:gd name="T39" fmla="*/ 818 h 2948"/>
              <a:gd name="T40" fmla="*/ 2309 w 4455"/>
              <a:gd name="T41" fmla="*/ 1012 h 2948"/>
              <a:gd name="T42" fmla="*/ 2115 w 4455"/>
              <a:gd name="T43" fmla="*/ 1206 h 2948"/>
              <a:gd name="T44" fmla="*/ 3402 w 4455"/>
              <a:gd name="T45" fmla="*/ 2360 h 2948"/>
              <a:gd name="T46" fmla="*/ 3608 w 4455"/>
              <a:gd name="T47" fmla="*/ 2948 h 2948"/>
              <a:gd name="T48" fmla="*/ 2951 w 4455"/>
              <a:gd name="T49" fmla="*/ 2362 h 2948"/>
              <a:gd name="T50" fmla="*/ 2260 w 4455"/>
              <a:gd name="T51" fmla="*/ 2102 h 2948"/>
              <a:gd name="T52" fmla="*/ 3149 w 4455"/>
              <a:gd name="T53" fmla="*/ 1022 h 2948"/>
              <a:gd name="T54" fmla="*/ 3016 w 4455"/>
              <a:gd name="T55" fmla="*/ 547 h 2948"/>
              <a:gd name="T56" fmla="*/ 3168 w 4455"/>
              <a:gd name="T57" fmla="*/ 535 h 2948"/>
              <a:gd name="T58" fmla="*/ 4455 w 4455"/>
              <a:gd name="T59" fmla="*/ 1456 h 2948"/>
              <a:gd name="T60" fmla="*/ 3402 w 4455"/>
              <a:gd name="T61" fmla="*/ 2360 h 2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455" h="2948">
                <a:moveTo>
                  <a:pt x="2828" y="1011"/>
                </a:moveTo>
                <a:cubicBezTo>
                  <a:pt x="2828" y="453"/>
                  <a:pt x="2194" y="0"/>
                  <a:pt x="1414" y="0"/>
                </a:cubicBezTo>
                <a:cubicBezTo>
                  <a:pt x="633" y="0"/>
                  <a:pt x="0" y="453"/>
                  <a:pt x="0" y="1011"/>
                </a:cubicBezTo>
                <a:cubicBezTo>
                  <a:pt x="0" y="1513"/>
                  <a:pt x="510" y="1928"/>
                  <a:pt x="1179" y="2008"/>
                </a:cubicBezTo>
                <a:cubicBezTo>
                  <a:pt x="1173" y="2254"/>
                  <a:pt x="1094" y="2469"/>
                  <a:pt x="974" y="2595"/>
                </a:cubicBezTo>
                <a:cubicBezTo>
                  <a:pt x="1304" y="2538"/>
                  <a:pt x="1563" y="2305"/>
                  <a:pt x="1630" y="2010"/>
                </a:cubicBezTo>
                <a:cubicBezTo>
                  <a:pt x="2307" y="1935"/>
                  <a:pt x="2828" y="1517"/>
                  <a:pt x="2828" y="1011"/>
                </a:cubicBezTo>
                <a:close/>
                <a:moveTo>
                  <a:pt x="723" y="1206"/>
                </a:moveTo>
                <a:cubicBezTo>
                  <a:pt x="616" y="1206"/>
                  <a:pt x="529" y="1119"/>
                  <a:pt x="529" y="1012"/>
                </a:cubicBezTo>
                <a:cubicBezTo>
                  <a:pt x="529" y="905"/>
                  <a:pt x="616" y="818"/>
                  <a:pt x="723" y="818"/>
                </a:cubicBezTo>
                <a:cubicBezTo>
                  <a:pt x="830" y="818"/>
                  <a:pt x="917" y="905"/>
                  <a:pt x="917" y="1012"/>
                </a:cubicBezTo>
                <a:cubicBezTo>
                  <a:pt x="917" y="1119"/>
                  <a:pt x="830" y="1206"/>
                  <a:pt x="723" y="1206"/>
                </a:cubicBezTo>
                <a:close/>
                <a:moveTo>
                  <a:pt x="1419" y="1206"/>
                </a:moveTo>
                <a:cubicBezTo>
                  <a:pt x="1312" y="1206"/>
                  <a:pt x="1225" y="1119"/>
                  <a:pt x="1225" y="1012"/>
                </a:cubicBezTo>
                <a:cubicBezTo>
                  <a:pt x="1225" y="905"/>
                  <a:pt x="1312" y="818"/>
                  <a:pt x="1419" y="818"/>
                </a:cubicBezTo>
                <a:cubicBezTo>
                  <a:pt x="1526" y="818"/>
                  <a:pt x="1613" y="905"/>
                  <a:pt x="1613" y="1012"/>
                </a:cubicBezTo>
                <a:cubicBezTo>
                  <a:pt x="1613" y="1119"/>
                  <a:pt x="1526" y="1206"/>
                  <a:pt x="1419" y="1206"/>
                </a:cubicBezTo>
                <a:close/>
                <a:moveTo>
                  <a:pt x="2115" y="1206"/>
                </a:moveTo>
                <a:cubicBezTo>
                  <a:pt x="2007" y="1206"/>
                  <a:pt x="1921" y="1119"/>
                  <a:pt x="1921" y="1012"/>
                </a:cubicBezTo>
                <a:cubicBezTo>
                  <a:pt x="1921" y="905"/>
                  <a:pt x="2007" y="818"/>
                  <a:pt x="2115" y="818"/>
                </a:cubicBezTo>
                <a:cubicBezTo>
                  <a:pt x="2222" y="818"/>
                  <a:pt x="2309" y="905"/>
                  <a:pt x="2309" y="1012"/>
                </a:cubicBezTo>
                <a:cubicBezTo>
                  <a:pt x="2309" y="1119"/>
                  <a:pt x="2222" y="1206"/>
                  <a:pt x="2115" y="1206"/>
                </a:cubicBezTo>
                <a:close/>
                <a:moveTo>
                  <a:pt x="3402" y="2360"/>
                </a:moveTo>
                <a:cubicBezTo>
                  <a:pt x="3408" y="2607"/>
                  <a:pt x="3487" y="2822"/>
                  <a:pt x="3608" y="2948"/>
                </a:cubicBezTo>
                <a:cubicBezTo>
                  <a:pt x="3277" y="2891"/>
                  <a:pt x="3018" y="2658"/>
                  <a:pt x="2951" y="2362"/>
                </a:cubicBezTo>
                <a:cubicBezTo>
                  <a:pt x="2682" y="2329"/>
                  <a:pt x="2445" y="2234"/>
                  <a:pt x="2260" y="2102"/>
                </a:cubicBezTo>
                <a:cubicBezTo>
                  <a:pt x="2790" y="1891"/>
                  <a:pt x="3149" y="1487"/>
                  <a:pt x="3149" y="1022"/>
                </a:cubicBezTo>
                <a:cubicBezTo>
                  <a:pt x="3149" y="853"/>
                  <a:pt x="3102" y="693"/>
                  <a:pt x="3016" y="547"/>
                </a:cubicBezTo>
                <a:cubicBezTo>
                  <a:pt x="3067" y="542"/>
                  <a:pt x="3116" y="535"/>
                  <a:pt x="3168" y="535"/>
                </a:cubicBezTo>
                <a:cubicBezTo>
                  <a:pt x="3878" y="535"/>
                  <a:pt x="4455" y="947"/>
                  <a:pt x="4455" y="1456"/>
                </a:cubicBezTo>
                <a:cubicBezTo>
                  <a:pt x="4455" y="1907"/>
                  <a:pt x="4001" y="2281"/>
                  <a:pt x="3402" y="236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6" tIns="34294" rIns="68586" bIns="34294"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a:p>
        </p:txBody>
      </p:sp>
      <p:sp>
        <p:nvSpPr>
          <p:cNvPr id="8" name="Icon-Discussion"/>
          <p:cNvSpPr>
            <a:spLocks noEditPoints="1"/>
          </p:cNvSpPr>
          <p:nvPr/>
        </p:nvSpPr>
        <p:spPr bwMode="auto">
          <a:xfrm>
            <a:off x="4893916" y="1314451"/>
            <a:ext cx="1180553" cy="780998"/>
          </a:xfrm>
          <a:custGeom>
            <a:avLst/>
            <a:gdLst>
              <a:gd name="T0" fmla="*/ 2828 w 4455"/>
              <a:gd name="T1" fmla="*/ 1011 h 2948"/>
              <a:gd name="T2" fmla="*/ 1414 w 4455"/>
              <a:gd name="T3" fmla="*/ 0 h 2948"/>
              <a:gd name="T4" fmla="*/ 0 w 4455"/>
              <a:gd name="T5" fmla="*/ 1011 h 2948"/>
              <a:gd name="T6" fmla="*/ 1179 w 4455"/>
              <a:gd name="T7" fmla="*/ 2008 h 2948"/>
              <a:gd name="T8" fmla="*/ 974 w 4455"/>
              <a:gd name="T9" fmla="*/ 2595 h 2948"/>
              <a:gd name="T10" fmla="*/ 1630 w 4455"/>
              <a:gd name="T11" fmla="*/ 2010 h 2948"/>
              <a:gd name="T12" fmla="*/ 2828 w 4455"/>
              <a:gd name="T13" fmla="*/ 1011 h 2948"/>
              <a:gd name="T14" fmla="*/ 723 w 4455"/>
              <a:gd name="T15" fmla="*/ 1206 h 2948"/>
              <a:gd name="T16" fmla="*/ 529 w 4455"/>
              <a:gd name="T17" fmla="*/ 1012 h 2948"/>
              <a:gd name="T18" fmla="*/ 723 w 4455"/>
              <a:gd name="T19" fmla="*/ 818 h 2948"/>
              <a:gd name="T20" fmla="*/ 917 w 4455"/>
              <a:gd name="T21" fmla="*/ 1012 h 2948"/>
              <a:gd name="T22" fmla="*/ 723 w 4455"/>
              <a:gd name="T23" fmla="*/ 1206 h 2948"/>
              <a:gd name="T24" fmla="*/ 1419 w 4455"/>
              <a:gd name="T25" fmla="*/ 1206 h 2948"/>
              <a:gd name="T26" fmla="*/ 1225 w 4455"/>
              <a:gd name="T27" fmla="*/ 1012 h 2948"/>
              <a:gd name="T28" fmla="*/ 1419 w 4455"/>
              <a:gd name="T29" fmla="*/ 818 h 2948"/>
              <a:gd name="T30" fmla="*/ 1613 w 4455"/>
              <a:gd name="T31" fmla="*/ 1012 h 2948"/>
              <a:gd name="T32" fmla="*/ 1419 w 4455"/>
              <a:gd name="T33" fmla="*/ 1206 h 2948"/>
              <a:gd name="T34" fmla="*/ 2115 w 4455"/>
              <a:gd name="T35" fmla="*/ 1206 h 2948"/>
              <a:gd name="T36" fmla="*/ 1921 w 4455"/>
              <a:gd name="T37" fmla="*/ 1012 h 2948"/>
              <a:gd name="T38" fmla="*/ 2115 w 4455"/>
              <a:gd name="T39" fmla="*/ 818 h 2948"/>
              <a:gd name="T40" fmla="*/ 2309 w 4455"/>
              <a:gd name="T41" fmla="*/ 1012 h 2948"/>
              <a:gd name="T42" fmla="*/ 2115 w 4455"/>
              <a:gd name="T43" fmla="*/ 1206 h 2948"/>
              <a:gd name="T44" fmla="*/ 3402 w 4455"/>
              <a:gd name="T45" fmla="*/ 2360 h 2948"/>
              <a:gd name="T46" fmla="*/ 3608 w 4455"/>
              <a:gd name="T47" fmla="*/ 2948 h 2948"/>
              <a:gd name="T48" fmla="*/ 2951 w 4455"/>
              <a:gd name="T49" fmla="*/ 2362 h 2948"/>
              <a:gd name="T50" fmla="*/ 2260 w 4455"/>
              <a:gd name="T51" fmla="*/ 2102 h 2948"/>
              <a:gd name="T52" fmla="*/ 3149 w 4455"/>
              <a:gd name="T53" fmla="*/ 1022 h 2948"/>
              <a:gd name="T54" fmla="*/ 3016 w 4455"/>
              <a:gd name="T55" fmla="*/ 547 h 2948"/>
              <a:gd name="T56" fmla="*/ 3168 w 4455"/>
              <a:gd name="T57" fmla="*/ 535 h 2948"/>
              <a:gd name="T58" fmla="*/ 4455 w 4455"/>
              <a:gd name="T59" fmla="*/ 1456 h 2948"/>
              <a:gd name="T60" fmla="*/ 3402 w 4455"/>
              <a:gd name="T61" fmla="*/ 2360 h 2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455" h="2948">
                <a:moveTo>
                  <a:pt x="2828" y="1011"/>
                </a:moveTo>
                <a:cubicBezTo>
                  <a:pt x="2828" y="453"/>
                  <a:pt x="2194" y="0"/>
                  <a:pt x="1414" y="0"/>
                </a:cubicBezTo>
                <a:cubicBezTo>
                  <a:pt x="633" y="0"/>
                  <a:pt x="0" y="453"/>
                  <a:pt x="0" y="1011"/>
                </a:cubicBezTo>
                <a:cubicBezTo>
                  <a:pt x="0" y="1513"/>
                  <a:pt x="510" y="1928"/>
                  <a:pt x="1179" y="2008"/>
                </a:cubicBezTo>
                <a:cubicBezTo>
                  <a:pt x="1173" y="2254"/>
                  <a:pt x="1094" y="2469"/>
                  <a:pt x="974" y="2595"/>
                </a:cubicBezTo>
                <a:cubicBezTo>
                  <a:pt x="1304" y="2538"/>
                  <a:pt x="1563" y="2305"/>
                  <a:pt x="1630" y="2010"/>
                </a:cubicBezTo>
                <a:cubicBezTo>
                  <a:pt x="2307" y="1935"/>
                  <a:pt x="2828" y="1517"/>
                  <a:pt x="2828" y="1011"/>
                </a:cubicBezTo>
                <a:close/>
                <a:moveTo>
                  <a:pt x="723" y="1206"/>
                </a:moveTo>
                <a:cubicBezTo>
                  <a:pt x="616" y="1206"/>
                  <a:pt x="529" y="1119"/>
                  <a:pt x="529" y="1012"/>
                </a:cubicBezTo>
                <a:cubicBezTo>
                  <a:pt x="529" y="905"/>
                  <a:pt x="616" y="818"/>
                  <a:pt x="723" y="818"/>
                </a:cubicBezTo>
                <a:cubicBezTo>
                  <a:pt x="830" y="818"/>
                  <a:pt x="917" y="905"/>
                  <a:pt x="917" y="1012"/>
                </a:cubicBezTo>
                <a:cubicBezTo>
                  <a:pt x="917" y="1119"/>
                  <a:pt x="830" y="1206"/>
                  <a:pt x="723" y="1206"/>
                </a:cubicBezTo>
                <a:close/>
                <a:moveTo>
                  <a:pt x="1419" y="1206"/>
                </a:moveTo>
                <a:cubicBezTo>
                  <a:pt x="1312" y="1206"/>
                  <a:pt x="1225" y="1119"/>
                  <a:pt x="1225" y="1012"/>
                </a:cubicBezTo>
                <a:cubicBezTo>
                  <a:pt x="1225" y="905"/>
                  <a:pt x="1312" y="818"/>
                  <a:pt x="1419" y="818"/>
                </a:cubicBezTo>
                <a:cubicBezTo>
                  <a:pt x="1526" y="818"/>
                  <a:pt x="1613" y="905"/>
                  <a:pt x="1613" y="1012"/>
                </a:cubicBezTo>
                <a:cubicBezTo>
                  <a:pt x="1613" y="1119"/>
                  <a:pt x="1526" y="1206"/>
                  <a:pt x="1419" y="1206"/>
                </a:cubicBezTo>
                <a:close/>
                <a:moveTo>
                  <a:pt x="2115" y="1206"/>
                </a:moveTo>
                <a:cubicBezTo>
                  <a:pt x="2007" y="1206"/>
                  <a:pt x="1921" y="1119"/>
                  <a:pt x="1921" y="1012"/>
                </a:cubicBezTo>
                <a:cubicBezTo>
                  <a:pt x="1921" y="905"/>
                  <a:pt x="2007" y="818"/>
                  <a:pt x="2115" y="818"/>
                </a:cubicBezTo>
                <a:cubicBezTo>
                  <a:pt x="2222" y="818"/>
                  <a:pt x="2309" y="905"/>
                  <a:pt x="2309" y="1012"/>
                </a:cubicBezTo>
                <a:cubicBezTo>
                  <a:pt x="2309" y="1119"/>
                  <a:pt x="2222" y="1206"/>
                  <a:pt x="2115" y="1206"/>
                </a:cubicBezTo>
                <a:close/>
                <a:moveTo>
                  <a:pt x="3402" y="2360"/>
                </a:moveTo>
                <a:cubicBezTo>
                  <a:pt x="3408" y="2607"/>
                  <a:pt x="3487" y="2822"/>
                  <a:pt x="3608" y="2948"/>
                </a:cubicBezTo>
                <a:cubicBezTo>
                  <a:pt x="3277" y="2891"/>
                  <a:pt x="3018" y="2658"/>
                  <a:pt x="2951" y="2362"/>
                </a:cubicBezTo>
                <a:cubicBezTo>
                  <a:pt x="2682" y="2329"/>
                  <a:pt x="2445" y="2234"/>
                  <a:pt x="2260" y="2102"/>
                </a:cubicBezTo>
                <a:cubicBezTo>
                  <a:pt x="2790" y="1891"/>
                  <a:pt x="3149" y="1487"/>
                  <a:pt x="3149" y="1022"/>
                </a:cubicBezTo>
                <a:cubicBezTo>
                  <a:pt x="3149" y="853"/>
                  <a:pt x="3102" y="693"/>
                  <a:pt x="3016" y="547"/>
                </a:cubicBezTo>
                <a:cubicBezTo>
                  <a:pt x="3067" y="542"/>
                  <a:pt x="3116" y="535"/>
                  <a:pt x="3168" y="535"/>
                </a:cubicBezTo>
                <a:cubicBezTo>
                  <a:pt x="3878" y="535"/>
                  <a:pt x="4455" y="947"/>
                  <a:pt x="4455" y="1456"/>
                </a:cubicBezTo>
                <a:cubicBezTo>
                  <a:pt x="4455" y="1907"/>
                  <a:pt x="4001" y="2281"/>
                  <a:pt x="3402" y="236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6" tIns="34294" rIns="68586" bIns="34294"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a:p>
        </p:txBody>
      </p:sp>
      <p:sp>
        <p:nvSpPr>
          <p:cNvPr id="10" name="Icon-Discussion"/>
          <p:cNvSpPr>
            <a:spLocks noEditPoints="1"/>
          </p:cNvSpPr>
          <p:nvPr/>
        </p:nvSpPr>
        <p:spPr bwMode="auto">
          <a:xfrm>
            <a:off x="741954" y="2571751"/>
            <a:ext cx="1180553" cy="780998"/>
          </a:xfrm>
          <a:custGeom>
            <a:avLst/>
            <a:gdLst>
              <a:gd name="T0" fmla="*/ 2828 w 4455"/>
              <a:gd name="T1" fmla="*/ 1011 h 2948"/>
              <a:gd name="T2" fmla="*/ 1414 w 4455"/>
              <a:gd name="T3" fmla="*/ 0 h 2948"/>
              <a:gd name="T4" fmla="*/ 0 w 4455"/>
              <a:gd name="T5" fmla="*/ 1011 h 2948"/>
              <a:gd name="T6" fmla="*/ 1179 w 4455"/>
              <a:gd name="T7" fmla="*/ 2008 h 2948"/>
              <a:gd name="T8" fmla="*/ 974 w 4455"/>
              <a:gd name="T9" fmla="*/ 2595 h 2948"/>
              <a:gd name="T10" fmla="*/ 1630 w 4455"/>
              <a:gd name="T11" fmla="*/ 2010 h 2948"/>
              <a:gd name="T12" fmla="*/ 2828 w 4455"/>
              <a:gd name="T13" fmla="*/ 1011 h 2948"/>
              <a:gd name="T14" fmla="*/ 723 w 4455"/>
              <a:gd name="T15" fmla="*/ 1206 h 2948"/>
              <a:gd name="T16" fmla="*/ 529 w 4455"/>
              <a:gd name="T17" fmla="*/ 1012 h 2948"/>
              <a:gd name="T18" fmla="*/ 723 w 4455"/>
              <a:gd name="T19" fmla="*/ 818 h 2948"/>
              <a:gd name="T20" fmla="*/ 917 w 4455"/>
              <a:gd name="T21" fmla="*/ 1012 h 2948"/>
              <a:gd name="T22" fmla="*/ 723 w 4455"/>
              <a:gd name="T23" fmla="*/ 1206 h 2948"/>
              <a:gd name="T24" fmla="*/ 1419 w 4455"/>
              <a:gd name="T25" fmla="*/ 1206 h 2948"/>
              <a:gd name="T26" fmla="*/ 1225 w 4455"/>
              <a:gd name="T27" fmla="*/ 1012 h 2948"/>
              <a:gd name="T28" fmla="*/ 1419 w 4455"/>
              <a:gd name="T29" fmla="*/ 818 h 2948"/>
              <a:gd name="T30" fmla="*/ 1613 w 4455"/>
              <a:gd name="T31" fmla="*/ 1012 h 2948"/>
              <a:gd name="T32" fmla="*/ 1419 w 4455"/>
              <a:gd name="T33" fmla="*/ 1206 h 2948"/>
              <a:gd name="T34" fmla="*/ 2115 w 4455"/>
              <a:gd name="T35" fmla="*/ 1206 h 2948"/>
              <a:gd name="T36" fmla="*/ 1921 w 4455"/>
              <a:gd name="T37" fmla="*/ 1012 h 2948"/>
              <a:gd name="T38" fmla="*/ 2115 w 4455"/>
              <a:gd name="T39" fmla="*/ 818 h 2948"/>
              <a:gd name="T40" fmla="*/ 2309 w 4455"/>
              <a:gd name="T41" fmla="*/ 1012 h 2948"/>
              <a:gd name="T42" fmla="*/ 2115 w 4455"/>
              <a:gd name="T43" fmla="*/ 1206 h 2948"/>
              <a:gd name="T44" fmla="*/ 3402 w 4455"/>
              <a:gd name="T45" fmla="*/ 2360 h 2948"/>
              <a:gd name="T46" fmla="*/ 3608 w 4455"/>
              <a:gd name="T47" fmla="*/ 2948 h 2948"/>
              <a:gd name="T48" fmla="*/ 2951 w 4455"/>
              <a:gd name="T49" fmla="*/ 2362 h 2948"/>
              <a:gd name="T50" fmla="*/ 2260 w 4455"/>
              <a:gd name="T51" fmla="*/ 2102 h 2948"/>
              <a:gd name="T52" fmla="*/ 3149 w 4455"/>
              <a:gd name="T53" fmla="*/ 1022 h 2948"/>
              <a:gd name="T54" fmla="*/ 3016 w 4455"/>
              <a:gd name="T55" fmla="*/ 547 h 2948"/>
              <a:gd name="T56" fmla="*/ 3168 w 4455"/>
              <a:gd name="T57" fmla="*/ 535 h 2948"/>
              <a:gd name="T58" fmla="*/ 4455 w 4455"/>
              <a:gd name="T59" fmla="*/ 1456 h 2948"/>
              <a:gd name="T60" fmla="*/ 3402 w 4455"/>
              <a:gd name="T61" fmla="*/ 2360 h 2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455" h="2948">
                <a:moveTo>
                  <a:pt x="2828" y="1011"/>
                </a:moveTo>
                <a:cubicBezTo>
                  <a:pt x="2828" y="453"/>
                  <a:pt x="2194" y="0"/>
                  <a:pt x="1414" y="0"/>
                </a:cubicBezTo>
                <a:cubicBezTo>
                  <a:pt x="633" y="0"/>
                  <a:pt x="0" y="453"/>
                  <a:pt x="0" y="1011"/>
                </a:cubicBezTo>
                <a:cubicBezTo>
                  <a:pt x="0" y="1513"/>
                  <a:pt x="510" y="1928"/>
                  <a:pt x="1179" y="2008"/>
                </a:cubicBezTo>
                <a:cubicBezTo>
                  <a:pt x="1173" y="2254"/>
                  <a:pt x="1094" y="2469"/>
                  <a:pt x="974" y="2595"/>
                </a:cubicBezTo>
                <a:cubicBezTo>
                  <a:pt x="1304" y="2538"/>
                  <a:pt x="1563" y="2305"/>
                  <a:pt x="1630" y="2010"/>
                </a:cubicBezTo>
                <a:cubicBezTo>
                  <a:pt x="2307" y="1935"/>
                  <a:pt x="2828" y="1517"/>
                  <a:pt x="2828" y="1011"/>
                </a:cubicBezTo>
                <a:close/>
                <a:moveTo>
                  <a:pt x="723" y="1206"/>
                </a:moveTo>
                <a:cubicBezTo>
                  <a:pt x="616" y="1206"/>
                  <a:pt x="529" y="1119"/>
                  <a:pt x="529" y="1012"/>
                </a:cubicBezTo>
                <a:cubicBezTo>
                  <a:pt x="529" y="905"/>
                  <a:pt x="616" y="818"/>
                  <a:pt x="723" y="818"/>
                </a:cubicBezTo>
                <a:cubicBezTo>
                  <a:pt x="830" y="818"/>
                  <a:pt x="917" y="905"/>
                  <a:pt x="917" y="1012"/>
                </a:cubicBezTo>
                <a:cubicBezTo>
                  <a:pt x="917" y="1119"/>
                  <a:pt x="830" y="1206"/>
                  <a:pt x="723" y="1206"/>
                </a:cubicBezTo>
                <a:close/>
                <a:moveTo>
                  <a:pt x="1419" y="1206"/>
                </a:moveTo>
                <a:cubicBezTo>
                  <a:pt x="1312" y="1206"/>
                  <a:pt x="1225" y="1119"/>
                  <a:pt x="1225" y="1012"/>
                </a:cubicBezTo>
                <a:cubicBezTo>
                  <a:pt x="1225" y="905"/>
                  <a:pt x="1312" y="818"/>
                  <a:pt x="1419" y="818"/>
                </a:cubicBezTo>
                <a:cubicBezTo>
                  <a:pt x="1526" y="818"/>
                  <a:pt x="1613" y="905"/>
                  <a:pt x="1613" y="1012"/>
                </a:cubicBezTo>
                <a:cubicBezTo>
                  <a:pt x="1613" y="1119"/>
                  <a:pt x="1526" y="1206"/>
                  <a:pt x="1419" y="1206"/>
                </a:cubicBezTo>
                <a:close/>
                <a:moveTo>
                  <a:pt x="2115" y="1206"/>
                </a:moveTo>
                <a:cubicBezTo>
                  <a:pt x="2007" y="1206"/>
                  <a:pt x="1921" y="1119"/>
                  <a:pt x="1921" y="1012"/>
                </a:cubicBezTo>
                <a:cubicBezTo>
                  <a:pt x="1921" y="905"/>
                  <a:pt x="2007" y="818"/>
                  <a:pt x="2115" y="818"/>
                </a:cubicBezTo>
                <a:cubicBezTo>
                  <a:pt x="2222" y="818"/>
                  <a:pt x="2309" y="905"/>
                  <a:pt x="2309" y="1012"/>
                </a:cubicBezTo>
                <a:cubicBezTo>
                  <a:pt x="2309" y="1119"/>
                  <a:pt x="2222" y="1206"/>
                  <a:pt x="2115" y="1206"/>
                </a:cubicBezTo>
                <a:close/>
                <a:moveTo>
                  <a:pt x="3402" y="2360"/>
                </a:moveTo>
                <a:cubicBezTo>
                  <a:pt x="3408" y="2607"/>
                  <a:pt x="3487" y="2822"/>
                  <a:pt x="3608" y="2948"/>
                </a:cubicBezTo>
                <a:cubicBezTo>
                  <a:pt x="3277" y="2891"/>
                  <a:pt x="3018" y="2658"/>
                  <a:pt x="2951" y="2362"/>
                </a:cubicBezTo>
                <a:cubicBezTo>
                  <a:pt x="2682" y="2329"/>
                  <a:pt x="2445" y="2234"/>
                  <a:pt x="2260" y="2102"/>
                </a:cubicBezTo>
                <a:cubicBezTo>
                  <a:pt x="2790" y="1891"/>
                  <a:pt x="3149" y="1487"/>
                  <a:pt x="3149" y="1022"/>
                </a:cubicBezTo>
                <a:cubicBezTo>
                  <a:pt x="3149" y="853"/>
                  <a:pt x="3102" y="693"/>
                  <a:pt x="3016" y="547"/>
                </a:cubicBezTo>
                <a:cubicBezTo>
                  <a:pt x="3067" y="542"/>
                  <a:pt x="3116" y="535"/>
                  <a:pt x="3168" y="535"/>
                </a:cubicBezTo>
                <a:cubicBezTo>
                  <a:pt x="3878" y="535"/>
                  <a:pt x="4455" y="947"/>
                  <a:pt x="4455" y="1456"/>
                </a:cubicBezTo>
                <a:cubicBezTo>
                  <a:pt x="4455" y="1907"/>
                  <a:pt x="4001" y="2281"/>
                  <a:pt x="3402" y="236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6" tIns="34294" rIns="68586" bIns="34294"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a:p>
        </p:txBody>
      </p:sp>
      <p:sp>
        <p:nvSpPr>
          <p:cNvPr id="9"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1"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pic>
        <p:nvPicPr>
          <p:cNvPr id="12"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746912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6" name="Title 1"/>
          <p:cNvSpPr>
            <a:spLocks noGrp="1"/>
          </p:cNvSpPr>
          <p:nvPr>
            <p:ph type="title"/>
          </p:nvPr>
        </p:nvSpPr>
        <p:spPr>
          <a:xfrm>
            <a:off x="389436" y="171451"/>
            <a:ext cx="8363938" cy="914096"/>
          </a:xfrm>
        </p:spPr>
        <p:txBody>
          <a:bodyPr/>
          <a:lstStyle/>
          <a:p>
            <a:r>
              <a:rPr lang="en-US" dirty="0" smtClean="0"/>
              <a:t>Top Trends – Market Drivers</a:t>
            </a:r>
            <a:br>
              <a:rPr lang="en-US" dirty="0" smtClean="0"/>
            </a:br>
            <a:endParaRPr lang="en-US" dirty="0" smtClean="0"/>
          </a:p>
        </p:txBody>
      </p:sp>
      <p:sp>
        <p:nvSpPr>
          <p:cNvPr id="47" name="Presentation Title Rectangle"/>
          <p:cNvSpPr txBox="1">
            <a:spLocks/>
          </p:cNvSpPr>
          <p:nvPr/>
        </p:nvSpPr>
        <p:spPr>
          <a:xfrm>
            <a:off x="4454019" y="903226"/>
            <a:ext cx="2056567" cy="1521803"/>
          </a:xfrm>
          <a:prstGeom prst="rect">
            <a:avLst/>
          </a:prstGeom>
          <a:solidFill>
            <a:schemeClr val="accent1"/>
          </a:solidFill>
          <a:effectLst/>
        </p:spPr>
        <p:txBody>
          <a:bodyPr lIns="137166" tIns="34292" rIns="102875" bIns="137166" anchor="b" anchorCtr="0">
            <a:noAutofit/>
          </a:bodyPr>
          <a:lstStyle>
            <a:lvl1pPr algn="l" defTabSz="914363"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tileRect/>
                </a:gradFill>
                <a:effectLst/>
                <a:latin typeface="+mj-lt"/>
                <a:ea typeface="+mn-ea"/>
                <a:cs typeface="Arial" charset="0"/>
              </a:defRPr>
            </a:lvl1pPr>
          </a:lstStyle>
          <a:p>
            <a:pPr defTabSz="685834">
              <a:defRPr/>
            </a:pPr>
            <a:r>
              <a:rPr lang="en-US" sz="2400" b="0" kern="0" spc="0" dirty="0">
                <a:latin typeface="+mn-lt"/>
              </a:rPr>
              <a:t>73</a:t>
            </a:r>
          </a:p>
          <a:p>
            <a:pPr defTabSz="685834">
              <a:defRPr/>
            </a:pPr>
            <a:r>
              <a:rPr lang="en-US" sz="1200" b="0" kern="0" spc="0" dirty="0">
                <a:latin typeface="+mn-lt"/>
              </a:rPr>
              <a:t>Percentage of businesses either currently using, planning to use, or considering private clouds</a:t>
            </a:r>
            <a:r>
              <a:rPr lang="en-US" sz="1200" b="0" kern="0" baseline="30000" dirty="0">
                <a:latin typeface="+mn-lt"/>
              </a:rPr>
              <a:t>3</a:t>
            </a:r>
            <a:r>
              <a:rPr lang="en-US" sz="1200" b="0" kern="0" spc="0" dirty="0">
                <a:latin typeface="+mn-lt"/>
              </a:rPr>
              <a:t> </a:t>
            </a:r>
          </a:p>
        </p:txBody>
      </p:sp>
      <p:sp>
        <p:nvSpPr>
          <p:cNvPr id="48" name="Presentation Title Rectangle"/>
          <p:cNvSpPr txBox="1">
            <a:spLocks/>
          </p:cNvSpPr>
          <p:nvPr/>
        </p:nvSpPr>
        <p:spPr>
          <a:xfrm>
            <a:off x="2421320" y="903226"/>
            <a:ext cx="1963222" cy="1521803"/>
          </a:xfrm>
          <a:prstGeom prst="rect">
            <a:avLst/>
          </a:prstGeom>
          <a:solidFill>
            <a:schemeClr val="accent3">
              <a:lumMod val="75000"/>
            </a:schemeClr>
          </a:solidFill>
          <a:effectLst/>
        </p:spPr>
        <p:txBody>
          <a:bodyPr lIns="137166" tIns="34292" rIns="102875" bIns="137166" anchor="b" anchorCtr="0">
            <a:noAutofit/>
          </a:bodyPr>
          <a:lstStyle>
            <a:defPPr>
              <a:defRPr lang="en-US"/>
            </a:defPPr>
            <a:lvl1pPr marR="0" lvl="0" indent="0" defTabSz="914400" fontAlgn="auto">
              <a:lnSpc>
                <a:spcPct val="90000"/>
              </a:lnSpc>
              <a:spcBef>
                <a:spcPct val="0"/>
              </a:spcBef>
              <a:spcAft>
                <a:spcPts val="0"/>
              </a:spcAft>
              <a:buClrTx/>
              <a:buSzTx/>
              <a:buFontTx/>
              <a:buNone/>
              <a:tabLst/>
              <a:defRPr kumimoji="0" sz="2000" b="0" i="0" u="none" strike="noStrike" kern="0" cap="none" spc="0" normalizeH="0" baseline="0">
                <a:ln w="3175">
                  <a:noFill/>
                </a:ln>
                <a:gradFill flip="none" rotWithShape="1">
                  <a:gsLst>
                    <a:gs pos="4583">
                      <a:srgbClr val="FFFFFF"/>
                    </a:gs>
                    <a:gs pos="100000">
                      <a:srgbClr val="FFFFFF"/>
                    </a:gs>
                  </a:gsLst>
                  <a:lin ang="5400000" scaled="0"/>
                  <a:tileRect/>
                </a:gradFill>
                <a:effectLst/>
                <a:uLnTx/>
                <a:uFillTx/>
                <a:latin typeface="Segoe"/>
                <a:cs typeface="Arial" charset="0"/>
              </a:defRPr>
            </a:lvl1pPr>
          </a:lstStyle>
          <a:p>
            <a:r>
              <a:rPr lang="en-US" sz="2400" dirty="0">
                <a:latin typeface="+mn-lt"/>
              </a:rPr>
              <a:t>5.9</a:t>
            </a:r>
          </a:p>
          <a:p>
            <a:pPr>
              <a:defRPr/>
            </a:pPr>
            <a:r>
              <a:rPr lang="en-US" sz="1200" dirty="0">
                <a:latin typeface="+mn-lt"/>
              </a:rPr>
              <a:t>Expected total revenue – in BILLIONS – of the private cloud  hardware market by 2015</a:t>
            </a:r>
            <a:r>
              <a:rPr lang="en-US" sz="1200" baseline="30000" dirty="0">
                <a:latin typeface="+mn-lt"/>
              </a:rPr>
              <a:t>2</a:t>
            </a:r>
          </a:p>
        </p:txBody>
      </p:sp>
      <p:sp>
        <p:nvSpPr>
          <p:cNvPr id="51" name="Presentation Title Rectangle"/>
          <p:cNvSpPr txBox="1">
            <a:spLocks/>
          </p:cNvSpPr>
          <p:nvPr/>
        </p:nvSpPr>
        <p:spPr>
          <a:xfrm>
            <a:off x="388420" y="903226"/>
            <a:ext cx="1963221" cy="1521803"/>
          </a:xfrm>
          <a:prstGeom prst="rect">
            <a:avLst/>
          </a:prstGeom>
          <a:solidFill>
            <a:schemeClr val="accent2"/>
          </a:solidFill>
          <a:effectLst/>
        </p:spPr>
        <p:txBody>
          <a:bodyPr lIns="137166" tIns="34292" rIns="102875" bIns="137166" anchor="b" anchorCtr="0">
            <a:noAutofit/>
          </a:bodyPr>
          <a:lstStyle>
            <a:defPPr>
              <a:defRPr lang="en-US"/>
            </a:defPPr>
            <a:lvl1pPr>
              <a:lnSpc>
                <a:spcPct val="90000"/>
              </a:lnSpc>
              <a:spcBef>
                <a:spcPct val="0"/>
              </a:spcBef>
              <a:buNone/>
              <a:defRPr sz="1700" b="1" i="0" cap="none" spc="0" baseline="0">
                <a:ln w="3175">
                  <a:noFill/>
                </a:ln>
                <a:gradFill flip="none" rotWithShape="1">
                  <a:gsLst>
                    <a:gs pos="4583">
                      <a:srgbClr val="FFFFFF"/>
                    </a:gs>
                    <a:gs pos="100000">
                      <a:srgbClr val="FFFFFF"/>
                    </a:gs>
                  </a:gsLst>
                  <a:lin ang="5400000" scaled="0"/>
                  <a:tileRect/>
                </a:gradFill>
                <a:effectLst/>
                <a:latin typeface="+mj-lt"/>
                <a:cs typeface="Arial" charset="0"/>
              </a:defRPr>
            </a:lvl1pPr>
          </a:lstStyle>
          <a:p>
            <a:pPr defTabSz="685834">
              <a:defRPr/>
            </a:pPr>
            <a:r>
              <a:rPr lang="en-US" sz="2400" b="0" kern="0" dirty="0">
                <a:latin typeface="+mn-lt"/>
              </a:rPr>
              <a:t>43</a:t>
            </a:r>
          </a:p>
          <a:p>
            <a:pPr defTabSz="685834">
              <a:defRPr/>
            </a:pPr>
            <a:r>
              <a:rPr lang="en-US" sz="1200" b="0" kern="0" dirty="0">
                <a:latin typeface="+mn-lt"/>
              </a:rPr>
              <a:t>Percentage the private cloud market is expected to grow between 2010-2015</a:t>
            </a:r>
            <a:r>
              <a:rPr lang="en-US" sz="1200" b="0" kern="0" baseline="30000" dirty="0">
                <a:latin typeface="+mn-lt"/>
              </a:rPr>
              <a:t>1</a:t>
            </a:r>
          </a:p>
        </p:txBody>
      </p:sp>
      <p:sp>
        <p:nvSpPr>
          <p:cNvPr id="52" name="Presentation Title Rectangle"/>
          <p:cNvSpPr txBox="1">
            <a:spLocks/>
          </p:cNvSpPr>
          <p:nvPr/>
        </p:nvSpPr>
        <p:spPr>
          <a:xfrm>
            <a:off x="388420" y="2488938"/>
            <a:ext cx="1962267" cy="1529722"/>
          </a:xfrm>
          <a:prstGeom prst="rect">
            <a:avLst/>
          </a:prstGeom>
          <a:solidFill>
            <a:schemeClr val="accent3">
              <a:lumMod val="75000"/>
            </a:schemeClr>
          </a:solidFill>
          <a:effectLst/>
        </p:spPr>
        <p:txBody>
          <a:bodyPr lIns="137166" tIns="34292" rIns="102875" bIns="137166" anchor="b" anchorCtr="0">
            <a:noAutofit/>
          </a:bodyPr>
          <a:lstStyle>
            <a:lvl1pPr algn="l" defTabSz="914363"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tileRect/>
                </a:gradFill>
                <a:effectLst/>
                <a:latin typeface="+mj-lt"/>
                <a:ea typeface="+mn-ea"/>
                <a:cs typeface="Arial" charset="0"/>
              </a:defRPr>
            </a:lvl1pPr>
          </a:lstStyle>
          <a:p>
            <a:pPr defTabSz="685834">
              <a:defRPr/>
            </a:pPr>
            <a:r>
              <a:rPr lang="en-US" sz="2400" b="0" kern="0" spc="0" dirty="0">
                <a:latin typeface="+mn-lt"/>
              </a:rPr>
              <a:t>79</a:t>
            </a:r>
          </a:p>
          <a:p>
            <a:pPr defTabSz="685834">
              <a:defRPr/>
            </a:pPr>
            <a:r>
              <a:rPr lang="en-US" sz="1200" b="0" kern="0" spc="0" dirty="0">
                <a:latin typeface="+mn-lt"/>
              </a:rPr>
              <a:t>Expected total revenue </a:t>
            </a:r>
            <a:r>
              <a:rPr sz="1200" b="0" dirty="0">
                <a:latin typeface="+mn-lt"/>
              </a:rPr>
              <a:t>–</a:t>
            </a:r>
            <a:r>
              <a:rPr lang="en-US" sz="1200" b="0" kern="0" spc="0" dirty="0">
                <a:latin typeface="+mn-lt"/>
              </a:rPr>
              <a:t> in BILLIONS </a:t>
            </a:r>
            <a:r>
              <a:rPr sz="1200" b="0" dirty="0">
                <a:latin typeface="+mn-lt"/>
              </a:rPr>
              <a:t>–</a:t>
            </a:r>
            <a:r>
              <a:rPr lang="en-US" sz="1200" b="0" kern="0" spc="0" dirty="0">
                <a:latin typeface="+mn-lt"/>
              </a:rPr>
              <a:t> of the enterprise private cloud market by 2015</a:t>
            </a:r>
            <a:r>
              <a:rPr lang="en-US" sz="1200" b="0" kern="0" baseline="30000" dirty="0">
                <a:latin typeface="+mn-lt"/>
              </a:rPr>
              <a:t>5</a:t>
            </a:r>
          </a:p>
        </p:txBody>
      </p:sp>
      <p:sp>
        <p:nvSpPr>
          <p:cNvPr id="53" name="Presentation Title Rectangle"/>
          <p:cNvSpPr txBox="1">
            <a:spLocks/>
          </p:cNvSpPr>
          <p:nvPr/>
        </p:nvSpPr>
        <p:spPr>
          <a:xfrm>
            <a:off x="6585121" y="903226"/>
            <a:ext cx="2148226" cy="1521803"/>
          </a:xfrm>
          <a:prstGeom prst="rect">
            <a:avLst/>
          </a:prstGeom>
          <a:solidFill>
            <a:schemeClr val="accent2"/>
          </a:solidFill>
          <a:effectLst/>
        </p:spPr>
        <p:txBody>
          <a:bodyPr lIns="137166" tIns="34292" rIns="102875" bIns="137166" anchor="b" anchorCtr="0">
            <a:noAutofit/>
          </a:bodyPr>
          <a:lstStyle>
            <a:defPPr>
              <a:defRPr lang="en-US"/>
            </a:defPPr>
            <a:lvl1pPr>
              <a:lnSpc>
                <a:spcPct val="90000"/>
              </a:lnSpc>
              <a:spcBef>
                <a:spcPct val="0"/>
              </a:spcBef>
              <a:buNone/>
              <a:defRPr sz="1700" b="1" i="0" cap="none" spc="0" baseline="0">
                <a:ln w="3175">
                  <a:noFill/>
                </a:ln>
                <a:gradFill flip="none" rotWithShape="1">
                  <a:gsLst>
                    <a:gs pos="4583">
                      <a:srgbClr val="FFFFFF"/>
                    </a:gs>
                    <a:gs pos="100000">
                      <a:srgbClr val="FFFFFF"/>
                    </a:gs>
                  </a:gsLst>
                  <a:lin ang="5400000" scaled="0"/>
                  <a:tileRect/>
                </a:gradFill>
                <a:effectLst/>
                <a:latin typeface="+mj-lt"/>
                <a:cs typeface="Arial" charset="0"/>
              </a:defRPr>
            </a:lvl1pPr>
          </a:lstStyle>
          <a:p>
            <a:pPr defTabSz="685834">
              <a:defRPr/>
            </a:pPr>
            <a:r>
              <a:rPr lang="en-US" sz="2400" b="0" kern="0" dirty="0">
                <a:latin typeface="+mn-lt"/>
              </a:rPr>
              <a:t>69</a:t>
            </a:r>
          </a:p>
          <a:p>
            <a:pPr defTabSz="685834">
              <a:defRPr/>
            </a:pPr>
            <a:r>
              <a:rPr lang="en-US" sz="1200" b="0" kern="0" dirty="0">
                <a:latin typeface="+mn-lt"/>
              </a:rPr>
              <a:t>Percentage of workloads</a:t>
            </a:r>
          </a:p>
          <a:p>
            <a:pPr defTabSz="685834">
              <a:defRPr/>
            </a:pPr>
            <a:r>
              <a:rPr lang="en-US" sz="1200" b="0" kern="0" dirty="0">
                <a:latin typeface="+mn-lt"/>
              </a:rPr>
              <a:t>virtualized </a:t>
            </a:r>
          </a:p>
          <a:p>
            <a:pPr defTabSz="685834">
              <a:defRPr/>
            </a:pPr>
            <a:r>
              <a:rPr lang="en-US" sz="1200" b="0" kern="0" dirty="0">
                <a:latin typeface="+mn-lt"/>
              </a:rPr>
              <a:t>by 2013</a:t>
            </a:r>
            <a:r>
              <a:rPr lang="en-US" sz="1200" b="0" kern="0" baseline="30000" dirty="0">
                <a:latin typeface="+mn-lt"/>
              </a:rPr>
              <a:t>4</a:t>
            </a:r>
          </a:p>
          <a:p>
            <a:pPr defTabSz="685834">
              <a:defRPr/>
            </a:pPr>
            <a:endParaRPr lang="de-CH" sz="1400" kern="0" baseline="30000" dirty="0">
              <a:latin typeface="Segoe Light" pitchFamily="34" charset="0"/>
            </a:endParaRPr>
          </a:p>
        </p:txBody>
      </p:sp>
      <p:sp>
        <p:nvSpPr>
          <p:cNvPr id="54" name="Presentation Title Rectangle"/>
          <p:cNvSpPr txBox="1">
            <a:spLocks/>
          </p:cNvSpPr>
          <p:nvPr/>
        </p:nvSpPr>
        <p:spPr>
          <a:xfrm>
            <a:off x="2421319" y="2488938"/>
            <a:ext cx="6326171" cy="1529722"/>
          </a:xfrm>
          <a:prstGeom prst="rect">
            <a:avLst/>
          </a:prstGeom>
          <a:solidFill>
            <a:schemeClr val="accent1"/>
          </a:solidFill>
          <a:effectLst/>
        </p:spPr>
        <p:txBody>
          <a:bodyPr lIns="137166" tIns="34292" rIns="102875" bIns="137166" anchor="b" anchorCtr="0">
            <a:noAutofit/>
          </a:bodyPr>
          <a:lstStyle>
            <a:lvl1pPr algn="l" defTabSz="914363"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tileRect/>
                </a:gradFill>
                <a:effectLst/>
                <a:latin typeface="+mj-lt"/>
                <a:ea typeface="+mn-ea"/>
                <a:cs typeface="Arial" charset="0"/>
              </a:defRPr>
            </a:lvl1pPr>
          </a:lstStyle>
          <a:p>
            <a:pPr defTabSz="685834">
              <a:defRPr/>
            </a:pPr>
            <a:r>
              <a:rPr lang="en-US" sz="2400" b="0" kern="0" spc="0" dirty="0">
                <a:latin typeface="+mn-lt"/>
              </a:rPr>
              <a:t>IDC’s Predictions for 2012</a:t>
            </a:r>
            <a:r>
              <a:rPr lang="en-US" sz="1500" b="0" kern="0" baseline="60000" dirty="0">
                <a:latin typeface="+mn-lt"/>
              </a:rPr>
              <a:t>6</a:t>
            </a:r>
            <a:r>
              <a:rPr lang="en-US" sz="2400" b="0" kern="0" spc="0" dirty="0">
                <a:latin typeface="+mn-lt"/>
              </a:rPr>
              <a:t/>
            </a:r>
            <a:br>
              <a:rPr lang="en-US" sz="2400" b="0" kern="0" spc="0" dirty="0">
                <a:latin typeface="+mn-lt"/>
              </a:rPr>
            </a:br>
            <a:endParaRPr lang="en-US" sz="1100" b="0" kern="0" spc="0" dirty="0">
              <a:latin typeface="+mn-lt"/>
            </a:endParaRPr>
          </a:p>
          <a:p>
            <a:pPr marL="342871" indent="-342871" defTabSz="685834">
              <a:buFont typeface="+mj-lt"/>
              <a:buAutoNum type="arabicPeriod"/>
              <a:defRPr/>
            </a:pPr>
            <a:r>
              <a:rPr lang="en-US" sz="1200" b="0" kern="0" spc="0" dirty="0">
                <a:latin typeface="+mn-lt"/>
              </a:rPr>
              <a:t>Customers will face confusing choices as virtualization, cloud system software, and infrastructure automation software converge</a:t>
            </a:r>
          </a:p>
          <a:p>
            <a:pPr marL="342871" indent="-342871" defTabSz="685834">
              <a:buFont typeface="+mj-lt"/>
              <a:buAutoNum type="arabicPeriod"/>
              <a:defRPr/>
            </a:pPr>
            <a:r>
              <a:rPr lang="en-US" sz="1200" b="0" kern="0" spc="0" dirty="0">
                <a:latin typeface="+mn-lt"/>
              </a:rPr>
              <a:t>Private clouds will grow like gangbusters, one use case at a time</a:t>
            </a:r>
          </a:p>
          <a:p>
            <a:pPr marL="342871" indent="-342871" defTabSz="685834">
              <a:buFont typeface="+mj-lt"/>
              <a:buAutoNum type="arabicPeriod"/>
              <a:defRPr/>
            </a:pPr>
            <a:r>
              <a:rPr lang="en-US" sz="1200" b="0" kern="0" spc="0" dirty="0">
                <a:latin typeface="+mn-lt"/>
              </a:rPr>
              <a:t>2012 will be VMware's last year as king of the hill</a:t>
            </a:r>
          </a:p>
        </p:txBody>
      </p:sp>
      <p:sp>
        <p:nvSpPr>
          <p:cNvPr id="55" name="Rechteck 2"/>
          <p:cNvSpPr/>
          <p:nvPr/>
        </p:nvSpPr>
        <p:spPr>
          <a:xfrm>
            <a:off x="3936477" y="4312419"/>
            <a:ext cx="4824260" cy="715579"/>
          </a:xfrm>
          <a:prstGeom prst="rect">
            <a:avLst/>
          </a:prstGeom>
        </p:spPr>
        <p:txBody>
          <a:bodyPr wrap="square" lIns="68583" tIns="34292" rIns="68583" bIns="34292">
            <a:spAutoFit/>
          </a:bodyPr>
          <a:lstStyle/>
          <a:p>
            <a:pPr marL="85733" indent="-85733" algn="r">
              <a:buFont typeface="+mj-lt"/>
              <a:buAutoNum type="arabicPeriod"/>
            </a:pPr>
            <a:r>
              <a:rPr lang="en-US" sz="600" dirty="0"/>
              <a:t>“Worldwide Enterprise Server Cloud Computing 2010–2014 Forecast” IDC, May 2010 </a:t>
            </a:r>
          </a:p>
          <a:p>
            <a:pPr marL="85733" indent="-85733" algn="r">
              <a:buFont typeface="+mj-lt"/>
              <a:buAutoNum type="arabicPeriod"/>
            </a:pPr>
            <a:r>
              <a:rPr lang="en-US" sz="600" dirty="0"/>
              <a:t>“WW Enterprise Server Cloud Computing, 2011-2015” IDC 2011</a:t>
            </a:r>
          </a:p>
          <a:p>
            <a:pPr marL="85733" indent="-85733" algn="r">
              <a:buFont typeface="+mj-lt"/>
              <a:buAutoNum type="arabicPeriod"/>
            </a:pPr>
            <a:r>
              <a:rPr lang="en-US" sz="600" dirty="0"/>
              <a:t>“Cloud Computing Attitudes” IDC, April 2010</a:t>
            </a:r>
          </a:p>
          <a:p>
            <a:pPr marL="85733" indent="-85733" algn="r">
              <a:buFont typeface="+mj-lt"/>
              <a:buAutoNum type="arabicPeriod"/>
            </a:pPr>
            <a:r>
              <a:rPr lang="en-US" sz="600" dirty="0"/>
              <a:t>“ IDC, 2011, Market Analysis Perspective: Worldwide Datacenter Trends and Strategies”</a:t>
            </a:r>
          </a:p>
          <a:p>
            <a:pPr marL="85733" indent="-85733" algn="r">
              <a:buFont typeface="+mj-lt"/>
              <a:buAutoNum type="arabicPeriod"/>
            </a:pPr>
            <a:r>
              <a:rPr lang="en-US" sz="600" dirty="0"/>
              <a:t>“Cloud Sizing by Delivery Model and Geography” Oliver Wyman, Sep 2010”</a:t>
            </a:r>
          </a:p>
          <a:p>
            <a:pPr marL="85733" indent="-85733" algn="r">
              <a:buFont typeface="+mj-lt"/>
              <a:buAutoNum type="arabicPeriod"/>
            </a:pPr>
            <a:r>
              <a:rPr lang="en-US" sz="600" dirty="0"/>
              <a:t>“ </a:t>
            </a:r>
            <a:r>
              <a:rPr lang="de-CH" sz="600" dirty="0"/>
              <a:t>IDC WW System Infrastructure Software Predictions</a:t>
            </a:r>
            <a:r>
              <a:rPr lang="en-US" sz="600" dirty="0"/>
              <a:t>”</a:t>
            </a:r>
          </a:p>
          <a:p>
            <a:pPr algn="r"/>
            <a:endParaRPr lang="en-US" sz="600" dirty="0"/>
          </a:p>
        </p:txBody>
      </p:sp>
      <p:pic>
        <p:nvPicPr>
          <p:cNvPr id="10" name="Picture 2" descr="C:\Users\Jordan\Desktop\TechEd_2012\TechEd-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6962" y="4619593"/>
            <a:ext cx="698151" cy="322326"/>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2"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4"/>
              </a:rPr>
              <a:t>www.rapidbbs.cn</a:t>
            </a:r>
            <a:endParaRPr lang="zh-CN" altLang="en-US" sz="1200" b="0">
              <a:latin typeface="Arial" charset="0"/>
              <a:ea typeface="ＭＳ Ｐゴシック" pitchFamily="34" charset="-128"/>
            </a:endParaRPr>
          </a:p>
        </p:txBody>
      </p:sp>
      <p:pic>
        <p:nvPicPr>
          <p:cNvPr id="13" name="Picture 2">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74677316"/>
      </p:ext>
    </p:extLst>
  </p:cSld>
  <p:clrMapOvr>
    <a:masterClrMapping/>
  </p:clrMapOvr>
  <p:transition spd="slow">
    <p:wipe dir="r"/>
  </p:transition>
  <p:timing>
    <p:tnLst>
      <p:par>
        <p:cTn id="1" dur="indefinite" restart="never" nodeType="tmRoot"/>
      </p:par>
    </p:tnLst>
  </p:timing>
</p:sld>
</file>

<file path=ppt/slides/slide4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 name="Picture 46" descr="HP_InstantOn_CI.png"/>
          <p:cNvPicPr>
            <a:picLocks noChangeAspect="1"/>
          </p:cNvPicPr>
          <p:nvPr/>
        </p:nvPicPr>
        <p:blipFill>
          <a:blip r:embed="rId3" cstate="screen"/>
          <a:stretch>
            <a:fillRect/>
          </a:stretch>
        </p:blipFill>
        <p:spPr>
          <a:xfrm rot="5400000">
            <a:off x="5393985" y="1653117"/>
            <a:ext cx="1744133" cy="1295401"/>
          </a:xfrm>
          <a:prstGeom prst="rect">
            <a:avLst/>
          </a:prstGeom>
        </p:spPr>
      </p:pic>
      <p:pic>
        <p:nvPicPr>
          <p:cNvPr id="46" name="Picture 45" descr="HP_InstantOn_CI.png"/>
          <p:cNvPicPr>
            <a:picLocks noChangeAspect="1"/>
          </p:cNvPicPr>
          <p:nvPr/>
        </p:nvPicPr>
        <p:blipFill>
          <a:blip r:embed="rId3" cstate="screen"/>
          <a:stretch>
            <a:fillRect/>
          </a:stretch>
        </p:blipFill>
        <p:spPr>
          <a:xfrm rot="5400000">
            <a:off x="6234731" y="2792870"/>
            <a:ext cx="1746747" cy="1151713"/>
          </a:xfrm>
          <a:prstGeom prst="rect">
            <a:avLst/>
          </a:prstGeom>
        </p:spPr>
      </p:pic>
      <p:pic>
        <p:nvPicPr>
          <p:cNvPr id="44" name="Picture 43" descr="HP_InstantOn_CI.png"/>
          <p:cNvPicPr>
            <a:picLocks noChangeAspect="1"/>
          </p:cNvPicPr>
          <p:nvPr/>
        </p:nvPicPr>
        <p:blipFill>
          <a:blip r:embed="rId3" cstate="screen"/>
          <a:stretch>
            <a:fillRect/>
          </a:stretch>
        </p:blipFill>
        <p:spPr>
          <a:xfrm>
            <a:off x="1498572" y="2849973"/>
            <a:ext cx="1060689" cy="819623"/>
          </a:xfrm>
          <a:prstGeom prst="rect">
            <a:avLst/>
          </a:prstGeom>
        </p:spPr>
      </p:pic>
      <p:pic>
        <p:nvPicPr>
          <p:cNvPr id="43" name="Picture 42" descr="HP_InstantOn_CI.png"/>
          <p:cNvPicPr>
            <a:picLocks noChangeAspect="1"/>
          </p:cNvPicPr>
          <p:nvPr/>
        </p:nvPicPr>
        <p:blipFill>
          <a:blip r:embed="rId3" cstate="screen"/>
          <a:stretch>
            <a:fillRect/>
          </a:stretch>
        </p:blipFill>
        <p:spPr>
          <a:xfrm>
            <a:off x="2092092" y="1620539"/>
            <a:ext cx="1060689" cy="819623"/>
          </a:xfrm>
          <a:prstGeom prst="rect">
            <a:avLst/>
          </a:prstGeom>
        </p:spPr>
      </p:pic>
      <p:pic>
        <p:nvPicPr>
          <p:cNvPr id="45" name="Picture 44" descr="outward arrows.png"/>
          <p:cNvPicPr>
            <a:picLocks noChangeAspect="1"/>
          </p:cNvPicPr>
          <p:nvPr/>
        </p:nvPicPr>
        <p:blipFill>
          <a:blip r:embed="rId4" cstate="screen"/>
          <a:stretch>
            <a:fillRect/>
          </a:stretch>
        </p:blipFill>
        <p:spPr>
          <a:xfrm>
            <a:off x="4105862" y="2688875"/>
            <a:ext cx="1904918" cy="1805999"/>
          </a:xfrm>
          <a:prstGeom prst="rect">
            <a:avLst/>
          </a:prstGeom>
        </p:spPr>
      </p:pic>
      <p:pic>
        <p:nvPicPr>
          <p:cNvPr id="67" name="Picture 66" descr="plain-virt-globe.png"/>
          <p:cNvPicPr>
            <a:picLocks noChangeAspect="1"/>
          </p:cNvPicPr>
          <p:nvPr/>
        </p:nvPicPr>
        <p:blipFill>
          <a:blip r:embed="rId5" cstate="screen"/>
          <a:stretch>
            <a:fillRect/>
          </a:stretch>
        </p:blipFill>
        <p:spPr>
          <a:xfrm>
            <a:off x="5747593" y="1716610"/>
            <a:ext cx="1051755" cy="1144557"/>
          </a:xfrm>
          <a:prstGeom prst="rect">
            <a:avLst/>
          </a:prstGeom>
        </p:spPr>
      </p:pic>
      <p:pic>
        <p:nvPicPr>
          <p:cNvPr id="69" name="Picture 68" descr="plain-virt-globe.png"/>
          <p:cNvPicPr>
            <a:picLocks noChangeAspect="1"/>
          </p:cNvPicPr>
          <p:nvPr/>
        </p:nvPicPr>
        <p:blipFill>
          <a:blip r:embed="rId6" cstate="screen"/>
          <a:stretch>
            <a:fillRect/>
          </a:stretch>
        </p:blipFill>
        <p:spPr>
          <a:xfrm>
            <a:off x="6178595" y="2831581"/>
            <a:ext cx="1150744" cy="1144557"/>
          </a:xfrm>
          <a:prstGeom prst="rect">
            <a:avLst/>
          </a:prstGeom>
        </p:spPr>
      </p:pic>
      <p:pic>
        <p:nvPicPr>
          <p:cNvPr id="70" name="Picture 69" descr="plain-virt-globe.png"/>
          <p:cNvPicPr>
            <a:picLocks noChangeAspect="1"/>
          </p:cNvPicPr>
          <p:nvPr/>
        </p:nvPicPr>
        <p:blipFill>
          <a:blip r:embed="rId7" cstate="screen">
            <a:grayscl/>
            <a:lum bright="-20000" contrast="-26000"/>
          </a:blip>
          <a:stretch>
            <a:fillRect/>
          </a:stretch>
        </p:blipFill>
        <p:spPr>
          <a:xfrm>
            <a:off x="5161151" y="3916875"/>
            <a:ext cx="1262107" cy="1181678"/>
          </a:xfrm>
          <a:prstGeom prst="rect">
            <a:avLst/>
          </a:prstGeom>
        </p:spPr>
      </p:pic>
      <p:grpSp>
        <p:nvGrpSpPr>
          <p:cNvPr id="2" name="Group 81"/>
          <p:cNvGrpSpPr/>
          <p:nvPr/>
        </p:nvGrpSpPr>
        <p:grpSpPr>
          <a:xfrm>
            <a:off x="1837419" y="2288954"/>
            <a:ext cx="556958" cy="440131"/>
            <a:chOff x="820343" y="1530098"/>
            <a:chExt cx="625677" cy="494435"/>
          </a:xfrm>
        </p:grpSpPr>
        <p:sp>
          <p:nvSpPr>
            <p:cNvPr id="84" name="Oval 83"/>
            <p:cNvSpPr/>
            <p:nvPr/>
          </p:nvSpPr>
          <p:spPr bwMode="auto">
            <a:xfrm>
              <a:off x="820343" y="1792410"/>
              <a:ext cx="625677" cy="232123"/>
            </a:xfrm>
            <a:prstGeom prst="ellipse">
              <a:avLst/>
            </a:prstGeom>
            <a:solidFill>
              <a:schemeClr val="tx2">
                <a:lumMod val="50000"/>
              </a:schemeClr>
            </a:solidFill>
            <a:ln w="6350" cap="flat" cmpd="sng" algn="ctr">
              <a:noFill/>
              <a:prstDash val="solid"/>
              <a:round/>
              <a:headEnd type="none" w="med" len="med"/>
              <a:tailEnd type="none" w="med" len="med"/>
            </a:ln>
            <a:effectLst>
              <a:outerShdw blurRad="25400" dist="26940" dir="5400000" rotWithShape="0">
                <a:schemeClr val="tx1">
                  <a:alpha val="34999"/>
                </a:schemeClr>
              </a:outerShdw>
            </a:effectLst>
          </p:spPr>
          <p:txBody>
            <a:bodyPr anchor="ctr"/>
            <a:lstStyle/>
            <a:p>
              <a:pPr algn="ctr" fontAlgn="base">
                <a:lnSpc>
                  <a:spcPts val="1200"/>
                </a:lnSpc>
                <a:spcBef>
                  <a:spcPct val="0"/>
                </a:spcBef>
                <a:spcAft>
                  <a:spcPct val="0"/>
                </a:spcAft>
                <a:defRPr/>
              </a:pPr>
              <a:endParaRPr lang="en-US" sz="1200" dirty="0">
                <a:solidFill>
                  <a:prstClr val="white"/>
                </a:solidFill>
                <a:latin typeface="Futura Bk"/>
                <a:ea typeface="Arial" pitchFamily="-107" charset="0"/>
              </a:endParaRPr>
            </a:p>
          </p:txBody>
        </p:sp>
        <p:pic>
          <p:nvPicPr>
            <p:cNvPr id="86" name="Picture 85" descr="Sprawl_server_3a.png"/>
            <p:cNvPicPr>
              <a:picLocks noChangeAspect="1"/>
            </p:cNvPicPr>
            <p:nvPr/>
          </p:nvPicPr>
          <p:blipFill>
            <a:blip r:embed="rId8" cstate="email">
              <a:grayscl/>
              <a:lum bright="-22000"/>
            </a:blip>
            <a:srcRect/>
            <a:stretch>
              <a:fillRect/>
            </a:stretch>
          </p:blipFill>
          <p:spPr bwMode="auto">
            <a:xfrm>
              <a:off x="934950" y="1530098"/>
              <a:ext cx="396463" cy="484372"/>
            </a:xfrm>
            <a:prstGeom prst="rect">
              <a:avLst/>
            </a:prstGeom>
            <a:noFill/>
            <a:ln w="9525">
              <a:noFill/>
              <a:miter lim="800000"/>
              <a:headEnd/>
              <a:tailEnd/>
            </a:ln>
            <a:effectLst>
              <a:outerShdw blurRad="50800" dist="26940" dir="5400000" algn="tl" rotWithShape="0">
                <a:srgbClr val="0D0D0D">
                  <a:alpha val="42999"/>
                </a:srgbClr>
              </a:outerShdw>
            </a:effectLst>
          </p:spPr>
        </p:pic>
      </p:grpSp>
      <p:sp>
        <p:nvSpPr>
          <p:cNvPr id="88" name="TextBox 87"/>
          <p:cNvSpPr txBox="1"/>
          <p:nvPr/>
        </p:nvSpPr>
        <p:spPr>
          <a:xfrm>
            <a:off x="783847" y="2469815"/>
            <a:ext cx="981540" cy="311607"/>
          </a:xfrm>
          <a:prstGeom prst="rect">
            <a:avLst/>
          </a:prstGeom>
          <a:noFill/>
        </p:spPr>
        <p:txBody>
          <a:bodyPr wrap="square" lIns="91432" tIns="45716" rIns="91432" bIns="45716" rtlCol="0">
            <a:spAutoFit/>
          </a:bodyPr>
          <a:lstStyle/>
          <a:p>
            <a:pPr algn="r" rtl="0"/>
            <a:r>
              <a:rPr lang="en-US" dirty="0">
                <a:latin typeface="Futura Bk"/>
              </a:rPr>
              <a:t>Servers</a:t>
            </a:r>
          </a:p>
        </p:txBody>
      </p:sp>
      <p:sp>
        <p:nvSpPr>
          <p:cNvPr id="89" name="TextBox 88"/>
          <p:cNvSpPr txBox="1"/>
          <p:nvPr/>
        </p:nvSpPr>
        <p:spPr>
          <a:xfrm>
            <a:off x="1076140" y="1939169"/>
            <a:ext cx="1164062" cy="311607"/>
          </a:xfrm>
          <a:prstGeom prst="rect">
            <a:avLst/>
          </a:prstGeom>
          <a:noFill/>
        </p:spPr>
        <p:txBody>
          <a:bodyPr wrap="square" lIns="91432" tIns="45716" rIns="91432" bIns="45716" rtlCol="0">
            <a:spAutoFit/>
          </a:bodyPr>
          <a:lstStyle/>
          <a:p>
            <a:pPr algn="r" rtl="0"/>
            <a:r>
              <a:rPr lang="en-US" dirty="0">
                <a:latin typeface="Futura Bk"/>
              </a:rPr>
              <a:t>Storage</a:t>
            </a:r>
          </a:p>
        </p:txBody>
      </p:sp>
      <p:sp>
        <p:nvSpPr>
          <p:cNvPr id="90" name="TextBox 89"/>
          <p:cNvSpPr txBox="1"/>
          <p:nvPr/>
        </p:nvSpPr>
        <p:spPr>
          <a:xfrm>
            <a:off x="366135" y="3236072"/>
            <a:ext cx="1331418" cy="311607"/>
          </a:xfrm>
          <a:prstGeom prst="rect">
            <a:avLst/>
          </a:prstGeom>
          <a:noFill/>
        </p:spPr>
        <p:txBody>
          <a:bodyPr wrap="square" lIns="91432" tIns="45716" rIns="91432" bIns="45716" rtlCol="0">
            <a:spAutoFit/>
          </a:bodyPr>
          <a:lstStyle/>
          <a:p>
            <a:pPr algn="r" rtl="0"/>
            <a:r>
              <a:rPr lang="en-US" dirty="0">
                <a:latin typeface="Futura Bk"/>
              </a:rPr>
              <a:t>Networking</a:t>
            </a:r>
          </a:p>
        </p:txBody>
      </p:sp>
      <p:sp>
        <p:nvSpPr>
          <p:cNvPr id="33" name="Oval 32"/>
          <p:cNvSpPr/>
          <p:nvPr/>
        </p:nvSpPr>
        <p:spPr>
          <a:xfrm>
            <a:off x="3601022" y="2492425"/>
            <a:ext cx="1492280" cy="1492280"/>
          </a:xfrm>
          <a:prstGeom prst="ellipse">
            <a:avLst/>
          </a:prstGeom>
          <a:solidFill>
            <a:schemeClr val="tx1">
              <a:alpha val="76000"/>
            </a:schemeClr>
          </a:solidFill>
          <a:ln w="9525" cap="flat" cmpd="sng" algn="ctr">
            <a:noFill/>
            <a:prstDash val="solid"/>
            <a:miter lim="800000"/>
            <a:headEnd/>
            <a:tailEnd/>
          </a:ln>
          <a:effectLst>
            <a:softEdge rad="152400"/>
          </a:effectLst>
        </p:spPr>
        <p:txBody>
          <a:bodyPr wrap="square" lIns="91432" tIns="73146" rIns="91432" bIns="45716" rtlCol="0" anchor="ctr">
            <a:noAutofit/>
          </a:bodyPr>
          <a:lstStyle/>
          <a:p>
            <a:pPr algn="ctr" rtl="0"/>
            <a:endParaRPr lang="en-US" sz="1000" dirty="0">
              <a:solidFill>
                <a:srgbClr val="FFFFFF"/>
              </a:solidFill>
              <a:latin typeface="Futura Hv" pitchFamily="34" charset="0"/>
            </a:endParaRPr>
          </a:p>
        </p:txBody>
      </p:sp>
      <p:pic>
        <p:nvPicPr>
          <p:cNvPr id="87" name="Picture 86" descr="Systems Graphics Representations v4-05.png"/>
          <p:cNvPicPr>
            <a:picLocks noChangeAspect="1"/>
          </p:cNvPicPr>
          <p:nvPr/>
        </p:nvPicPr>
        <p:blipFill>
          <a:blip r:embed="rId9" cstate="screen"/>
          <a:stretch>
            <a:fillRect/>
          </a:stretch>
        </p:blipFill>
        <p:spPr>
          <a:xfrm>
            <a:off x="3533212" y="2560257"/>
            <a:ext cx="1416013" cy="1153124"/>
          </a:xfrm>
          <a:prstGeom prst="rect">
            <a:avLst/>
          </a:prstGeom>
        </p:spPr>
      </p:pic>
      <p:grpSp>
        <p:nvGrpSpPr>
          <p:cNvPr id="3" name="Group 70"/>
          <p:cNvGrpSpPr/>
          <p:nvPr/>
        </p:nvGrpSpPr>
        <p:grpSpPr>
          <a:xfrm>
            <a:off x="2315166" y="1729921"/>
            <a:ext cx="810977" cy="556503"/>
            <a:chOff x="1373699" y="1146780"/>
            <a:chExt cx="634076" cy="443528"/>
          </a:xfrm>
        </p:grpSpPr>
        <p:sp>
          <p:nvSpPr>
            <p:cNvPr id="72" name="Oval 71"/>
            <p:cNvSpPr/>
            <p:nvPr/>
          </p:nvSpPr>
          <p:spPr bwMode="auto">
            <a:xfrm>
              <a:off x="1373699" y="1335390"/>
              <a:ext cx="634076" cy="254918"/>
            </a:xfrm>
            <a:prstGeom prst="ellipse">
              <a:avLst/>
            </a:prstGeom>
            <a:solidFill>
              <a:schemeClr val="tx2">
                <a:lumMod val="50000"/>
              </a:schemeClr>
            </a:solidFill>
            <a:ln w="6350" cap="flat" cmpd="sng" algn="ctr">
              <a:noFill/>
              <a:prstDash val="solid"/>
              <a:round/>
              <a:headEnd type="none" w="med" len="med"/>
              <a:tailEnd type="none" w="med" len="med"/>
            </a:ln>
            <a:effectLst>
              <a:outerShdw blurRad="25400" dist="26940" dir="5400000" rotWithShape="0">
                <a:schemeClr val="tx1">
                  <a:alpha val="34999"/>
                </a:schemeClr>
              </a:outerShdw>
            </a:effectLst>
          </p:spPr>
          <p:txBody>
            <a:bodyPr anchor="ctr"/>
            <a:lstStyle/>
            <a:p>
              <a:pPr algn="ctr" fontAlgn="base">
                <a:lnSpc>
                  <a:spcPts val="1200"/>
                </a:lnSpc>
                <a:spcBef>
                  <a:spcPct val="0"/>
                </a:spcBef>
                <a:spcAft>
                  <a:spcPct val="0"/>
                </a:spcAft>
                <a:defRPr/>
              </a:pPr>
              <a:endParaRPr lang="en-US" sz="1200" dirty="0">
                <a:solidFill>
                  <a:prstClr val="white"/>
                </a:solidFill>
                <a:latin typeface="Futura Bk"/>
                <a:ea typeface="Arial" pitchFamily="-107" charset="0"/>
              </a:endParaRPr>
            </a:p>
          </p:txBody>
        </p:sp>
        <p:pic>
          <p:nvPicPr>
            <p:cNvPr id="78" name="Picture 77" descr="storage.png"/>
            <p:cNvPicPr>
              <a:picLocks noChangeAspect="1"/>
            </p:cNvPicPr>
            <p:nvPr/>
          </p:nvPicPr>
          <p:blipFill>
            <a:blip r:embed="rId10" cstate="email"/>
            <a:srcRect/>
            <a:stretch>
              <a:fillRect/>
            </a:stretch>
          </p:blipFill>
          <p:spPr bwMode="auto">
            <a:xfrm>
              <a:off x="1523683" y="1146780"/>
              <a:ext cx="334109" cy="388271"/>
            </a:xfrm>
            <a:prstGeom prst="rect">
              <a:avLst/>
            </a:prstGeom>
            <a:noFill/>
            <a:ln w="9525">
              <a:noFill/>
              <a:miter lim="800000"/>
              <a:headEnd/>
              <a:tailEnd/>
            </a:ln>
            <a:effectLst>
              <a:outerShdw dist="25400" dir="5400000" algn="tl" rotWithShape="0">
                <a:srgbClr val="0D0D0D">
                  <a:alpha val="42999"/>
                </a:srgbClr>
              </a:outerShdw>
            </a:effectLst>
          </p:spPr>
        </p:pic>
      </p:grpSp>
      <p:sp>
        <p:nvSpPr>
          <p:cNvPr id="92" name="TextBox 91"/>
          <p:cNvSpPr txBox="1"/>
          <p:nvPr/>
        </p:nvSpPr>
        <p:spPr>
          <a:xfrm>
            <a:off x="696186" y="3817583"/>
            <a:ext cx="1355636" cy="311607"/>
          </a:xfrm>
          <a:prstGeom prst="rect">
            <a:avLst/>
          </a:prstGeom>
          <a:noFill/>
        </p:spPr>
        <p:txBody>
          <a:bodyPr wrap="square" lIns="91432" tIns="45716" rIns="91432" bIns="45716" rtlCol="0">
            <a:spAutoFit/>
          </a:bodyPr>
          <a:lstStyle/>
          <a:p>
            <a:pPr algn="r" rtl="0"/>
            <a:r>
              <a:rPr lang="en-US" dirty="0">
                <a:latin typeface="Futura Bk"/>
              </a:rPr>
              <a:t>Software</a:t>
            </a:r>
          </a:p>
        </p:txBody>
      </p:sp>
      <p:grpSp>
        <p:nvGrpSpPr>
          <p:cNvPr id="4" name="Group 39"/>
          <p:cNvGrpSpPr/>
          <p:nvPr/>
        </p:nvGrpSpPr>
        <p:grpSpPr>
          <a:xfrm>
            <a:off x="2157812" y="3546241"/>
            <a:ext cx="564435" cy="506295"/>
            <a:chOff x="2361101" y="1532115"/>
            <a:chExt cx="634076" cy="568763"/>
          </a:xfrm>
        </p:grpSpPr>
        <p:sp>
          <p:nvSpPr>
            <p:cNvPr id="49" name="Oval 48"/>
            <p:cNvSpPr/>
            <p:nvPr/>
          </p:nvSpPr>
          <p:spPr bwMode="auto">
            <a:xfrm>
              <a:off x="2361101" y="1845960"/>
              <a:ext cx="634076" cy="254918"/>
            </a:xfrm>
            <a:prstGeom prst="ellipse">
              <a:avLst/>
            </a:prstGeom>
            <a:solidFill>
              <a:schemeClr val="tx2">
                <a:lumMod val="50000"/>
              </a:schemeClr>
            </a:solidFill>
            <a:ln w="6350" cap="flat" cmpd="sng" algn="ctr">
              <a:noFill/>
              <a:prstDash val="solid"/>
              <a:round/>
              <a:headEnd type="none" w="med" len="med"/>
              <a:tailEnd type="none" w="med" len="med"/>
            </a:ln>
            <a:effectLst>
              <a:outerShdw blurRad="25400" dist="26940" dir="5400000" rotWithShape="0">
                <a:schemeClr val="tx1">
                  <a:alpha val="34999"/>
                </a:schemeClr>
              </a:outerShdw>
            </a:effectLst>
          </p:spPr>
          <p:txBody>
            <a:bodyPr anchor="ctr"/>
            <a:lstStyle/>
            <a:p>
              <a:pPr algn="ctr" fontAlgn="base">
                <a:lnSpc>
                  <a:spcPts val="1200"/>
                </a:lnSpc>
                <a:spcBef>
                  <a:spcPct val="0"/>
                </a:spcBef>
                <a:spcAft>
                  <a:spcPct val="0"/>
                </a:spcAft>
                <a:defRPr/>
              </a:pPr>
              <a:endParaRPr lang="en-US" sz="1200" dirty="0">
                <a:solidFill>
                  <a:prstClr val="white"/>
                </a:solidFill>
                <a:latin typeface="Futura Bk"/>
                <a:ea typeface="Arial" pitchFamily="-107" charset="0"/>
              </a:endParaRPr>
            </a:p>
          </p:txBody>
        </p:sp>
        <p:pic>
          <p:nvPicPr>
            <p:cNvPr id="94" name="Picture 93" descr="network2.png"/>
            <p:cNvPicPr>
              <a:picLocks noChangeAspect="1"/>
            </p:cNvPicPr>
            <p:nvPr/>
          </p:nvPicPr>
          <p:blipFill>
            <a:blip r:embed="rId11" cstate="email">
              <a:grayscl/>
              <a:lum bright="-22000"/>
            </a:blip>
            <a:stretch>
              <a:fillRect/>
            </a:stretch>
          </p:blipFill>
          <p:spPr bwMode="auto">
            <a:xfrm>
              <a:off x="2411211" y="1532115"/>
              <a:ext cx="540394" cy="544640"/>
            </a:xfrm>
            <a:prstGeom prst="rect">
              <a:avLst/>
            </a:prstGeom>
            <a:noFill/>
            <a:ln w="9525">
              <a:noFill/>
              <a:miter lim="800000"/>
              <a:headEnd/>
              <a:tailEnd/>
            </a:ln>
            <a:effectLst>
              <a:outerShdw blurRad="50800" dist="26940" dir="5400000" algn="tl" rotWithShape="0">
                <a:srgbClr val="0D0D0D">
                  <a:alpha val="42999"/>
                </a:srgbClr>
              </a:outerShdw>
            </a:effectLst>
          </p:spPr>
        </p:pic>
      </p:grpSp>
      <p:grpSp>
        <p:nvGrpSpPr>
          <p:cNvPr id="5" name="Group 42"/>
          <p:cNvGrpSpPr/>
          <p:nvPr/>
        </p:nvGrpSpPr>
        <p:grpSpPr>
          <a:xfrm>
            <a:off x="1770221" y="2861390"/>
            <a:ext cx="790222" cy="674105"/>
            <a:chOff x="1164401" y="3192479"/>
            <a:chExt cx="659075" cy="548589"/>
          </a:xfrm>
        </p:grpSpPr>
        <p:sp>
          <p:nvSpPr>
            <p:cNvPr id="42" name="Oval 41"/>
            <p:cNvSpPr/>
            <p:nvPr/>
          </p:nvSpPr>
          <p:spPr bwMode="auto">
            <a:xfrm>
              <a:off x="1181100" y="3486150"/>
              <a:ext cx="634076" cy="254918"/>
            </a:xfrm>
            <a:prstGeom prst="ellipse">
              <a:avLst/>
            </a:prstGeom>
            <a:solidFill>
              <a:schemeClr val="tx2">
                <a:lumMod val="50000"/>
              </a:schemeClr>
            </a:solidFill>
            <a:ln w="6350" cap="flat" cmpd="sng" algn="ctr">
              <a:noFill/>
              <a:prstDash val="solid"/>
              <a:round/>
              <a:headEnd type="none" w="med" len="med"/>
              <a:tailEnd type="none" w="med" len="med"/>
            </a:ln>
            <a:effectLst>
              <a:outerShdw blurRad="25400" dist="26940" dir="5400000" rotWithShape="0">
                <a:schemeClr val="tx1">
                  <a:alpha val="34999"/>
                </a:schemeClr>
              </a:outerShdw>
            </a:effectLst>
          </p:spPr>
          <p:txBody>
            <a:bodyPr anchor="ctr"/>
            <a:lstStyle/>
            <a:p>
              <a:pPr algn="ctr" fontAlgn="base">
                <a:lnSpc>
                  <a:spcPts val="1200"/>
                </a:lnSpc>
                <a:spcBef>
                  <a:spcPct val="0"/>
                </a:spcBef>
                <a:spcAft>
                  <a:spcPct val="0"/>
                </a:spcAft>
                <a:defRPr/>
              </a:pPr>
              <a:endParaRPr lang="en-US" sz="1200" dirty="0">
                <a:solidFill>
                  <a:prstClr val="white"/>
                </a:solidFill>
                <a:latin typeface="Futura Bk"/>
                <a:ea typeface="Arial" pitchFamily="-107" charset="0"/>
              </a:endParaRPr>
            </a:p>
          </p:txBody>
        </p:sp>
        <p:pic>
          <p:nvPicPr>
            <p:cNvPr id="41" name="Picture 40" descr="network2.png"/>
            <p:cNvPicPr>
              <a:picLocks noChangeAspect="1"/>
            </p:cNvPicPr>
            <p:nvPr/>
          </p:nvPicPr>
          <p:blipFill>
            <a:blip r:embed="rId12" cstate="email"/>
            <a:stretch>
              <a:fillRect/>
            </a:stretch>
          </p:blipFill>
          <p:spPr bwMode="auto">
            <a:xfrm>
              <a:off x="1164401" y="3192479"/>
              <a:ext cx="659075" cy="542399"/>
            </a:xfrm>
            <a:prstGeom prst="rect">
              <a:avLst/>
            </a:prstGeom>
            <a:noFill/>
            <a:ln>
              <a:noFill/>
            </a:ln>
          </p:spPr>
        </p:pic>
      </p:grpSp>
      <p:pic>
        <p:nvPicPr>
          <p:cNvPr id="39" name="Picture 38" descr="swoosh arrows.png"/>
          <p:cNvPicPr>
            <a:picLocks noChangeAspect="1"/>
          </p:cNvPicPr>
          <p:nvPr/>
        </p:nvPicPr>
        <p:blipFill>
          <a:blip r:embed="rId13" cstate="screen"/>
          <a:stretch>
            <a:fillRect/>
          </a:stretch>
        </p:blipFill>
        <p:spPr>
          <a:xfrm>
            <a:off x="2306933" y="2153272"/>
            <a:ext cx="1449885" cy="1684467"/>
          </a:xfrm>
          <a:prstGeom prst="rect">
            <a:avLst/>
          </a:prstGeom>
        </p:spPr>
      </p:pic>
      <p:sp>
        <p:nvSpPr>
          <p:cNvPr id="36" name="TextBox 35"/>
          <p:cNvSpPr txBox="1"/>
          <p:nvPr/>
        </p:nvSpPr>
        <p:spPr>
          <a:xfrm>
            <a:off x="6450169" y="4257920"/>
            <a:ext cx="1486759" cy="311607"/>
          </a:xfrm>
          <a:prstGeom prst="rect">
            <a:avLst/>
          </a:prstGeom>
          <a:noFill/>
        </p:spPr>
        <p:txBody>
          <a:bodyPr wrap="square" lIns="91432" tIns="45716" rIns="91432" bIns="45716" rtlCol="0">
            <a:spAutoFit/>
          </a:bodyPr>
          <a:lstStyle/>
          <a:p>
            <a:pPr algn="l" rtl="0"/>
            <a:r>
              <a:rPr lang="en-US" dirty="0">
                <a:latin typeface="Futura Bk" pitchFamily="34" charset="0"/>
              </a:rPr>
              <a:t>AppSystem</a:t>
            </a:r>
          </a:p>
        </p:txBody>
      </p:sp>
      <p:sp>
        <p:nvSpPr>
          <p:cNvPr id="37" name="TextBox 36"/>
          <p:cNvSpPr txBox="1"/>
          <p:nvPr/>
        </p:nvSpPr>
        <p:spPr>
          <a:xfrm>
            <a:off x="7386351" y="3190916"/>
            <a:ext cx="1548249" cy="311607"/>
          </a:xfrm>
          <a:prstGeom prst="rect">
            <a:avLst/>
          </a:prstGeom>
          <a:noFill/>
        </p:spPr>
        <p:txBody>
          <a:bodyPr wrap="square" lIns="91432" tIns="45716" rIns="91432" bIns="45716" rtlCol="0">
            <a:spAutoFit/>
          </a:bodyPr>
          <a:lstStyle/>
          <a:p>
            <a:pPr algn="l" rtl="0"/>
            <a:r>
              <a:rPr lang="en-US" dirty="0">
                <a:latin typeface="Futura Bk" pitchFamily="34" charset="0"/>
              </a:rPr>
              <a:t>CloudSystem</a:t>
            </a:r>
          </a:p>
        </p:txBody>
      </p:sp>
      <p:sp>
        <p:nvSpPr>
          <p:cNvPr id="38" name="TextBox 37"/>
          <p:cNvSpPr txBox="1"/>
          <p:nvPr/>
        </p:nvSpPr>
        <p:spPr>
          <a:xfrm>
            <a:off x="6784326" y="2054965"/>
            <a:ext cx="1695223" cy="311607"/>
          </a:xfrm>
          <a:prstGeom prst="rect">
            <a:avLst/>
          </a:prstGeom>
          <a:noFill/>
        </p:spPr>
        <p:txBody>
          <a:bodyPr wrap="square" lIns="91432" tIns="45716" rIns="91432" bIns="45716" rtlCol="0">
            <a:spAutoFit/>
          </a:bodyPr>
          <a:lstStyle/>
          <a:p>
            <a:pPr algn="l" rtl="0"/>
            <a:r>
              <a:rPr lang="en-US" dirty="0">
                <a:latin typeface="Futura Bk" pitchFamily="34" charset="0"/>
              </a:rPr>
              <a:t>VirtualSystem </a:t>
            </a:r>
          </a:p>
        </p:txBody>
      </p:sp>
      <p:sp>
        <p:nvSpPr>
          <p:cNvPr id="8" name="Title 7"/>
          <p:cNvSpPr>
            <a:spLocks noGrp="1"/>
          </p:cNvSpPr>
          <p:nvPr>
            <p:ph type="title"/>
          </p:nvPr>
        </p:nvSpPr>
        <p:spPr>
          <a:xfrm>
            <a:off x="389436" y="171451"/>
            <a:ext cx="8363938" cy="830997"/>
          </a:xfrm>
        </p:spPr>
        <p:txBody>
          <a:bodyPr/>
          <a:lstStyle/>
          <a:p>
            <a:pPr lvl="0"/>
            <a:r>
              <a:rPr lang="en-US" dirty="0" smtClean="0"/>
              <a:t>Converged Infrastructure Solutions from HP</a:t>
            </a:r>
            <a:r>
              <a:rPr lang="en-US" sz="3000" dirty="0"/>
              <a:t/>
            </a:r>
            <a:br>
              <a:rPr lang="en-US" sz="3000" dirty="0"/>
            </a:br>
            <a:r>
              <a:rPr lang="en-US" sz="2700" dirty="0">
                <a:solidFill>
                  <a:schemeClr val="tx2"/>
                </a:solidFill>
              </a:rPr>
              <a:t>Best in class</a:t>
            </a:r>
            <a:endParaRPr lang="en-US" dirty="0">
              <a:solidFill>
                <a:schemeClr val="tx2"/>
              </a:solidFill>
            </a:endParaRPr>
          </a:p>
        </p:txBody>
      </p:sp>
      <p:pic>
        <p:nvPicPr>
          <p:cNvPr id="34" name="Picture 2" descr="C:\Users\Jordan\Desktop\TechEd_2012\TechEd-logo.pn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86962" y="4619593"/>
            <a:ext cx="698151" cy="322326"/>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40"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5"/>
              </a:rPr>
              <a:t>www.rapidbbs.cn</a:t>
            </a:r>
            <a:endParaRPr lang="zh-CN" altLang="en-US" sz="1200" b="0">
              <a:latin typeface="Arial" charset="0"/>
              <a:ea typeface="ＭＳ Ｐゴシック" pitchFamily="34" charset="-128"/>
            </a:endParaRPr>
          </a:p>
        </p:txBody>
      </p:sp>
    </p:spTree>
    <p:extLst>
      <p:ext uri="{BB962C8B-B14F-4D97-AF65-F5344CB8AC3E}">
        <p14:creationId xmlns:p14="http://schemas.microsoft.com/office/powerpoint/2010/main" val="3820044072"/>
      </p:ext>
    </p:extLst>
  </p:cSld>
  <p:clrMapOvr>
    <a:masterClrMapping/>
  </p:clrMapOvr>
  <p:transition/>
  <p:timing>
    <p:tnLst>
      <p:par>
        <p:cTn id="1" dur="indefinite" restart="never" nodeType="tmRoot"/>
      </p:par>
    </p:tnLst>
  </p:timing>
</p:sld>
</file>

<file path=ppt/slides/slide4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smtClean="0"/>
              <a:t>HP VirtualSystem for Microsoft</a:t>
            </a:r>
            <a:endParaRPr lang="en-US" dirty="0"/>
          </a:p>
        </p:txBody>
      </p:sp>
      <p:graphicFrame>
        <p:nvGraphicFramePr>
          <p:cNvPr id="26" name="Table 25"/>
          <p:cNvGraphicFramePr>
            <a:graphicFrameLocks noGrp="1"/>
          </p:cNvGraphicFramePr>
          <p:nvPr>
            <p:extLst>
              <p:ext uri="{D42A27DB-BD31-4B8C-83A1-F6EECF244321}">
                <p14:modId xmlns:p14="http://schemas.microsoft.com/office/powerpoint/2010/main" val="1208890474"/>
              </p:ext>
            </p:extLst>
          </p:nvPr>
        </p:nvGraphicFramePr>
        <p:xfrm>
          <a:off x="355325" y="1589684"/>
          <a:ext cx="8488548" cy="2981632"/>
        </p:xfrm>
        <a:graphic>
          <a:graphicData uri="http://schemas.openxmlformats.org/drawingml/2006/table">
            <a:tbl>
              <a:tblPr firstRow="1" bandRow="1">
                <a:effectLst/>
                <a:tableStyleId>{5C22544A-7EE6-4342-B048-85BDC9FD1C3A}</a:tableStyleId>
              </a:tblPr>
              <a:tblGrid>
                <a:gridCol w="2021989"/>
                <a:gridCol w="2143301"/>
                <a:gridCol w="2105395"/>
                <a:gridCol w="2217863"/>
              </a:tblGrid>
              <a:tr h="812268">
                <a:tc>
                  <a:txBody>
                    <a:bodyPr/>
                    <a:lstStyle/>
                    <a:p>
                      <a:pPr algn="ctr"/>
                      <a:r>
                        <a:rPr lang="en-US" sz="1600" b="0" dirty="0" smtClean="0">
                          <a:solidFill>
                            <a:schemeClr val="tx1"/>
                          </a:solidFill>
                          <a:latin typeface="+mn-lt"/>
                          <a:cs typeface="Futura Hv"/>
                        </a:rPr>
                        <a:t>HP Infrastructur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600" b="0" dirty="0" smtClean="0">
                          <a:solidFill>
                            <a:schemeClr val="tx1"/>
                          </a:solidFill>
                          <a:latin typeface="+mn-lt"/>
                          <a:cs typeface="Futura Hv"/>
                        </a:rPr>
                        <a:t>Deep Managemen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600" b="0" dirty="0" smtClean="0">
                          <a:solidFill>
                            <a:schemeClr val="tx1"/>
                          </a:solidFill>
                          <a:latin typeface="+mn-lt"/>
                          <a:cs typeface="Futura Hv"/>
                        </a:rPr>
                        <a:t>Microsoft</a:t>
                      </a:r>
                      <a:r>
                        <a:rPr lang="en-US" sz="1600" b="0" baseline="0" dirty="0" smtClean="0">
                          <a:solidFill>
                            <a:schemeClr val="tx1"/>
                          </a:solidFill>
                          <a:latin typeface="+mn-lt"/>
                          <a:cs typeface="Futura Hv"/>
                        </a:rPr>
                        <a:t> </a:t>
                      </a:r>
                      <a:r>
                        <a:rPr lang="en-US" sz="1600" b="0" dirty="0" smtClean="0">
                          <a:solidFill>
                            <a:schemeClr val="tx1"/>
                          </a:solidFill>
                          <a:latin typeface="+mn-lt"/>
                          <a:cs typeface="Futura Hv"/>
                        </a:rPr>
                        <a:t>Infrastructur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600" b="0" dirty="0" smtClean="0">
                          <a:solidFill>
                            <a:schemeClr val="tx1"/>
                          </a:solidFill>
                          <a:latin typeface="+mn-lt"/>
                          <a:cs typeface="Futura Hv"/>
                        </a:rPr>
                        <a:t>Service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2169364">
                <a:tc>
                  <a:txBody>
                    <a:bodyPr/>
                    <a:lstStyle/>
                    <a:p>
                      <a:pPr marL="114300" indent="-114300">
                        <a:lnSpc>
                          <a:spcPct val="100000"/>
                        </a:lnSpc>
                        <a:spcBef>
                          <a:spcPts val="0"/>
                        </a:spcBef>
                        <a:buClr>
                          <a:schemeClr val="tx2"/>
                        </a:buClr>
                        <a:buSzPct val="80000"/>
                        <a:buFont typeface="Arial" pitchFamily="34" charset="0"/>
                        <a:buChar char="•"/>
                        <a:defRPr/>
                      </a:pPr>
                      <a:r>
                        <a:rPr lang="en-US" sz="1100" dirty="0" smtClean="0">
                          <a:solidFill>
                            <a:schemeClr val="bg2"/>
                          </a:solidFill>
                          <a:latin typeface="+mn-lt"/>
                        </a:rPr>
                        <a:t>Optimized rack &amp; blade  server configurations </a:t>
                      </a:r>
                    </a:p>
                    <a:p>
                      <a:pPr marL="114300" indent="-114300">
                        <a:lnSpc>
                          <a:spcPct val="100000"/>
                        </a:lnSpc>
                        <a:spcBef>
                          <a:spcPts val="0"/>
                        </a:spcBef>
                        <a:buClr>
                          <a:schemeClr val="tx2"/>
                        </a:buClr>
                        <a:buSzPct val="80000"/>
                        <a:buFont typeface="Arial" pitchFamily="34" charset="0"/>
                        <a:buChar char="•"/>
                        <a:defRPr/>
                      </a:pPr>
                      <a:r>
                        <a:rPr lang="en-US" sz="1100" dirty="0" smtClean="0">
                          <a:solidFill>
                            <a:schemeClr val="bg2"/>
                          </a:solidFill>
                          <a:latin typeface="+mn-lt"/>
                        </a:rPr>
                        <a:t>Converged, scale-out storage</a:t>
                      </a:r>
                    </a:p>
                    <a:p>
                      <a:pPr marL="114300" indent="-114300">
                        <a:lnSpc>
                          <a:spcPct val="100000"/>
                        </a:lnSpc>
                        <a:spcBef>
                          <a:spcPts val="0"/>
                        </a:spcBef>
                        <a:buClr>
                          <a:schemeClr val="tx2"/>
                        </a:buClr>
                        <a:buSzPct val="80000"/>
                        <a:buFont typeface="Arial" pitchFamily="34" charset="0"/>
                        <a:buChar char="•"/>
                        <a:defRPr/>
                      </a:pPr>
                      <a:r>
                        <a:rPr lang="en-US" sz="1100" dirty="0" smtClean="0">
                          <a:solidFill>
                            <a:schemeClr val="bg2"/>
                          </a:solidFill>
                          <a:latin typeface="+mn-lt"/>
                        </a:rPr>
                        <a:t>High performance, secure LAN and SAN connections</a:t>
                      </a:r>
                    </a:p>
                  </a:txBody>
                  <a:tcPr marT="9144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119063" indent="-119063">
                        <a:lnSpc>
                          <a:spcPct val="100000"/>
                        </a:lnSpc>
                        <a:spcBef>
                          <a:spcPts val="300"/>
                        </a:spcBef>
                        <a:buClr>
                          <a:schemeClr val="tx2"/>
                        </a:buClr>
                        <a:buSzPct val="80000"/>
                        <a:buFont typeface="Arial" pitchFamily="34" charset="0"/>
                        <a:buChar char="•"/>
                        <a:defRPr/>
                      </a:pPr>
                      <a:r>
                        <a:rPr lang="en-US" sz="1100" dirty="0" smtClean="0">
                          <a:solidFill>
                            <a:schemeClr val="bg2"/>
                          </a:solidFill>
                          <a:latin typeface="+mn-lt"/>
                        </a:rPr>
                        <a:t>Intelligent rack &amp; power management </a:t>
                      </a:r>
                    </a:p>
                    <a:p>
                      <a:pPr marL="119063" indent="-119063">
                        <a:lnSpc>
                          <a:spcPct val="100000"/>
                        </a:lnSpc>
                        <a:spcBef>
                          <a:spcPts val="300"/>
                        </a:spcBef>
                        <a:buClr>
                          <a:schemeClr val="tx2"/>
                        </a:buClr>
                        <a:buSzPct val="80000"/>
                        <a:buFont typeface="Arial" pitchFamily="34" charset="0"/>
                        <a:buChar char="•"/>
                        <a:defRPr/>
                      </a:pPr>
                      <a:r>
                        <a:rPr lang="en-US" sz="1100" dirty="0" smtClean="0">
                          <a:solidFill>
                            <a:schemeClr val="bg2"/>
                          </a:solidFill>
                          <a:latin typeface="+mn-lt"/>
                        </a:rPr>
                        <a:t>Integrated system &amp; storage management</a:t>
                      </a:r>
                    </a:p>
                  </a:txBody>
                  <a:tcPr marT="9144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119063" marR="0" indent="-119063" algn="l" defTabSz="914400" rtl="0" eaLnBrk="1" fontAlgn="auto" latinLnBrk="0" hangingPunct="1">
                        <a:lnSpc>
                          <a:spcPct val="100000"/>
                        </a:lnSpc>
                        <a:spcBef>
                          <a:spcPts val="300"/>
                        </a:spcBef>
                        <a:spcAft>
                          <a:spcPts val="0"/>
                        </a:spcAft>
                        <a:buClr>
                          <a:schemeClr val="tx2"/>
                        </a:buClr>
                        <a:buSzPct val="80000"/>
                        <a:buFont typeface="Arial" pitchFamily="34" charset="0"/>
                        <a:buChar char="•"/>
                        <a:tabLst/>
                        <a:defRPr/>
                      </a:pPr>
                      <a:r>
                        <a:rPr lang="en-US" sz="1100" kern="1200" dirty="0" smtClean="0">
                          <a:solidFill>
                            <a:schemeClr val="bg2"/>
                          </a:solidFill>
                          <a:latin typeface="+mn-lt"/>
                          <a:ea typeface="+mn-ea"/>
                          <a:cs typeface="+mn-cs"/>
                        </a:rPr>
                        <a:t>Windows Server 2008</a:t>
                      </a:r>
                      <a:r>
                        <a:rPr lang="en-US" sz="1100" kern="1200" baseline="0" dirty="0" smtClean="0">
                          <a:solidFill>
                            <a:schemeClr val="bg2"/>
                          </a:solidFill>
                          <a:latin typeface="+mn-lt"/>
                          <a:ea typeface="+mn-ea"/>
                          <a:cs typeface="+mn-cs"/>
                        </a:rPr>
                        <a:t> R2</a:t>
                      </a:r>
                      <a:endParaRPr lang="en-US" sz="1100" kern="1200" dirty="0" smtClean="0">
                        <a:solidFill>
                          <a:schemeClr val="bg2"/>
                        </a:solidFill>
                        <a:latin typeface="+mn-lt"/>
                        <a:ea typeface="+mn-ea"/>
                        <a:cs typeface="+mn-cs"/>
                      </a:endParaRPr>
                    </a:p>
                    <a:p>
                      <a:pPr marL="119063" marR="0" indent="-119063" algn="l" defTabSz="914400" rtl="0" eaLnBrk="1" fontAlgn="auto" latinLnBrk="0" hangingPunct="1">
                        <a:lnSpc>
                          <a:spcPct val="100000"/>
                        </a:lnSpc>
                        <a:spcBef>
                          <a:spcPts val="300"/>
                        </a:spcBef>
                        <a:spcAft>
                          <a:spcPts val="0"/>
                        </a:spcAft>
                        <a:buClr>
                          <a:schemeClr val="tx2"/>
                        </a:buClr>
                        <a:buSzPct val="80000"/>
                        <a:buFont typeface="Arial" pitchFamily="34" charset="0"/>
                        <a:buChar char="•"/>
                        <a:tabLst/>
                        <a:defRPr/>
                      </a:pPr>
                      <a:r>
                        <a:rPr lang="en-US" sz="1100" kern="1200" dirty="0" smtClean="0">
                          <a:solidFill>
                            <a:schemeClr val="bg2"/>
                          </a:solidFill>
                          <a:latin typeface="+mn-lt"/>
                          <a:ea typeface="+mn-ea"/>
                          <a:cs typeface="+mn-cs"/>
                        </a:rPr>
                        <a:t>Microsoft System Center</a:t>
                      </a:r>
                      <a:r>
                        <a:rPr lang="en-US" sz="1100" kern="1200" baseline="0" dirty="0" smtClean="0">
                          <a:solidFill>
                            <a:schemeClr val="bg2"/>
                          </a:solidFill>
                          <a:latin typeface="+mn-lt"/>
                          <a:ea typeface="+mn-ea"/>
                          <a:cs typeface="+mn-cs"/>
                        </a:rPr>
                        <a:t> 2012</a:t>
                      </a:r>
                      <a:endParaRPr lang="en-US" sz="1100" kern="1200" dirty="0" smtClean="0">
                        <a:solidFill>
                          <a:schemeClr val="bg2"/>
                        </a:solidFill>
                        <a:latin typeface="+mn-lt"/>
                        <a:ea typeface="+mn-ea"/>
                        <a:cs typeface="+mn-cs"/>
                      </a:endParaRPr>
                    </a:p>
                  </a:txBody>
                  <a:tcPr marT="9144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119063" indent="-119063">
                        <a:lnSpc>
                          <a:spcPct val="100000"/>
                        </a:lnSpc>
                        <a:spcBef>
                          <a:spcPts val="300"/>
                        </a:spcBef>
                        <a:buClr>
                          <a:schemeClr val="tx2"/>
                        </a:buClr>
                        <a:buSzPct val="80000"/>
                        <a:buFont typeface="Arial" pitchFamily="34" charset="0"/>
                        <a:buChar char="•"/>
                        <a:defRPr/>
                      </a:pPr>
                      <a:r>
                        <a:rPr lang="en-US" sz="1100" kern="1200" dirty="0" smtClean="0">
                          <a:solidFill>
                            <a:schemeClr val="bg2"/>
                          </a:solidFill>
                          <a:latin typeface="+mn-lt"/>
                          <a:ea typeface="+mn-ea"/>
                          <a:cs typeface="+mn-cs"/>
                        </a:rPr>
                        <a:t>Factory integration </a:t>
                      </a:r>
                    </a:p>
                    <a:p>
                      <a:pPr marL="119063" indent="-119063">
                        <a:lnSpc>
                          <a:spcPct val="100000"/>
                        </a:lnSpc>
                        <a:spcBef>
                          <a:spcPts val="300"/>
                        </a:spcBef>
                        <a:buClr>
                          <a:schemeClr val="tx2"/>
                        </a:buClr>
                        <a:buSzPct val="80000"/>
                        <a:buFont typeface="Arial" pitchFamily="34" charset="0"/>
                        <a:buChar char="•"/>
                        <a:defRPr/>
                      </a:pPr>
                      <a:r>
                        <a:rPr lang="en-US" sz="1100" kern="1200" dirty="0" smtClean="0">
                          <a:solidFill>
                            <a:schemeClr val="bg2"/>
                          </a:solidFill>
                          <a:latin typeface="+mn-lt"/>
                          <a:ea typeface="+mn-ea"/>
                          <a:cs typeface="+mn-cs"/>
                        </a:rPr>
                        <a:t>Installation &amp; support</a:t>
                      </a:r>
                    </a:p>
                    <a:p>
                      <a:pPr marL="119063" indent="-119063">
                        <a:lnSpc>
                          <a:spcPct val="100000"/>
                        </a:lnSpc>
                        <a:spcBef>
                          <a:spcPts val="300"/>
                        </a:spcBef>
                        <a:buClr>
                          <a:schemeClr val="tx2"/>
                        </a:buClr>
                        <a:buSzPct val="80000"/>
                        <a:buFont typeface="Arial" pitchFamily="34" charset="0"/>
                        <a:buChar char="•"/>
                        <a:defRPr/>
                      </a:pPr>
                      <a:r>
                        <a:rPr lang="en-US" sz="1100" kern="1200" dirty="0" smtClean="0">
                          <a:solidFill>
                            <a:schemeClr val="bg2"/>
                          </a:solidFill>
                          <a:latin typeface="+mn-lt"/>
                          <a:ea typeface="+mn-ea"/>
                          <a:cs typeface="+mn-cs"/>
                        </a:rPr>
                        <a:t>Consulting</a:t>
                      </a:r>
                    </a:p>
                    <a:p>
                      <a:pPr marL="119063" indent="-119063">
                        <a:lnSpc>
                          <a:spcPct val="100000"/>
                        </a:lnSpc>
                        <a:spcBef>
                          <a:spcPts val="300"/>
                        </a:spcBef>
                        <a:buClr>
                          <a:schemeClr val="tx2"/>
                        </a:buClr>
                        <a:buSzPct val="80000"/>
                        <a:buFont typeface="Arial" pitchFamily="34" charset="0"/>
                        <a:buChar char="•"/>
                        <a:defRPr/>
                      </a:pPr>
                      <a:r>
                        <a:rPr lang="en-US" sz="1100" kern="1200" dirty="0" smtClean="0">
                          <a:solidFill>
                            <a:schemeClr val="bg2"/>
                          </a:solidFill>
                          <a:latin typeface="+mn-lt"/>
                          <a:ea typeface="+mn-ea"/>
                          <a:cs typeface="+mn-cs"/>
                        </a:rPr>
                        <a:t>Holistic delivery</a:t>
                      </a:r>
                    </a:p>
                  </a:txBody>
                  <a:tcPr marT="9144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bl>
          </a:graphicData>
        </a:graphic>
      </p:graphicFrame>
      <p:grpSp>
        <p:nvGrpSpPr>
          <p:cNvPr id="3" name="Group 25"/>
          <p:cNvGrpSpPr/>
          <p:nvPr/>
        </p:nvGrpSpPr>
        <p:grpSpPr>
          <a:xfrm>
            <a:off x="355326" y="3514996"/>
            <a:ext cx="8468635" cy="1080061"/>
            <a:chOff x="539741" y="3635501"/>
            <a:chExt cx="8325584" cy="1080061"/>
          </a:xfrm>
        </p:grpSpPr>
        <p:grpSp>
          <p:nvGrpSpPr>
            <p:cNvPr id="4" name="Group 24"/>
            <p:cNvGrpSpPr/>
            <p:nvPr/>
          </p:nvGrpSpPr>
          <p:grpSpPr>
            <a:xfrm>
              <a:off x="539741" y="3891664"/>
              <a:ext cx="8325584" cy="823898"/>
              <a:chOff x="539741" y="3891664"/>
              <a:chExt cx="8325584" cy="823898"/>
            </a:xfrm>
          </p:grpSpPr>
          <p:pic>
            <p:nvPicPr>
              <p:cNvPr id="40" name="Picture 39" descr="G7703032102007.jpg"/>
              <p:cNvPicPr>
                <a:picLocks/>
              </p:cNvPicPr>
              <p:nvPr/>
            </p:nvPicPr>
            <p:blipFill>
              <a:blip r:embed="rId3" cstate="email"/>
              <a:stretch>
                <a:fillRect/>
              </a:stretch>
            </p:blipFill>
            <p:spPr>
              <a:xfrm>
                <a:off x="6704091" y="3911356"/>
                <a:ext cx="2161234" cy="776598"/>
              </a:xfrm>
              <a:prstGeom prst="rect">
                <a:avLst/>
              </a:prstGeom>
            </p:spPr>
          </p:pic>
          <p:grpSp>
            <p:nvGrpSpPr>
              <p:cNvPr id="5" name="Group 22"/>
              <p:cNvGrpSpPr/>
              <p:nvPr/>
            </p:nvGrpSpPr>
            <p:grpSpPr>
              <a:xfrm>
                <a:off x="539741" y="3891664"/>
                <a:ext cx="7600963" cy="823898"/>
                <a:chOff x="539741" y="3891664"/>
                <a:chExt cx="7600963" cy="823898"/>
              </a:xfrm>
            </p:grpSpPr>
            <p:pic>
              <p:nvPicPr>
                <p:cNvPr id="42" name="Picture 6" descr="G340773102004.jpg"/>
                <p:cNvPicPr>
                  <a:picLocks noChangeAspect="1"/>
                </p:cNvPicPr>
                <p:nvPr/>
              </p:nvPicPr>
              <p:blipFill>
                <a:blip r:embed="rId4" cstate="email"/>
                <a:stretch>
                  <a:fillRect/>
                </a:stretch>
              </p:blipFill>
              <p:spPr>
                <a:xfrm>
                  <a:off x="539741" y="3910427"/>
                  <a:ext cx="1965484" cy="779207"/>
                </a:xfrm>
                <a:prstGeom prst="rect">
                  <a:avLst/>
                </a:prstGeom>
              </p:spPr>
            </p:pic>
            <p:pic>
              <p:nvPicPr>
                <p:cNvPr id="43" name="Picture 7" descr="Gdc.jpg"/>
                <p:cNvPicPr>
                  <a:picLocks noChangeAspect="1"/>
                </p:cNvPicPr>
                <p:nvPr/>
              </p:nvPicPr>
              <p:blipFill>
                <a:blip r:embed="rId5" cstate="email"/>
                <a:stretch>
                  <a:fillRect/>
                </a:stretch>
              </p:blipFill>
              <p:spPr>
                <a:xfrm>
                  <a:off x="2523954" y="3910714"/>
                  <a:ext cx="2090067" cy="777240"/>
                </a:xfrm>
                <a:prstGeom prst="rect">
                  <a:avLst/>
                </a:prstGeom>
              </p:spPr>
            </p:pic>
            <p:pic>
              <p:nvPicPr>
                <p:cNvPr id="44" name="Picture 12" descr="cylinder-02.png"/>
                <p:cNvPicPr>
                  <a:picLocks noChangeAspect="1"/>
                </p:cNvPicPr>
                <p:nvPr/>
              </p:nvPicPr>
              <p:blipFill>
                <a:blip r:embed="rId6" cstate="email">
                  <a:lum bright="-17000"/>
                </a:blip>
                <a:stretch>
                  <a:fillRect/>
                </a:stretch>
              </p:blipFill>
              <p:spPr>
                <a:xfrm>
                  <a:off x="7376611" y="3977704"/>
                  <a:ext cx="764093" cy="737858"/>
                </a:xfrm>
                <a:prstGeom prst="rect">
                  <a:avLst/>
                </a:prstGeom>
                <a:effectLst>
                  <a:outerShdw blurRad="50800" dist="38100" dir="2700000">
                    <a:srgbClr val="000000">
                      <a:alpha val="43000"/>
                    </a:srgbClr>
                  </a:outerShdw>
                </a:effectLst>
              </p:spPr>
            </p:pic>
            <p:pic>
              <p:nvPicPr>
                <p:cNvPr id="45" name="Picture 44" descr="CI globe.png"/>
                <p:cNvPicPr>
                  <a:picLocks noChangeAspect="1"/>
                </p:cNvPicPr>
                <p:nvPr/>
              </p:nvPicPr>
              <p:blipFill>
                <a:blip r:embed="rId7" cstate="email"/>
                <a:stretch>
                  <a:fillRect/>
                </a:stretch>
              </p:blipFill>
              <p:spPr>
                <a:xfrm>
                  <a:off x="1033206" y="3961797"/>
                  <a:ext cx="864639" cy="705939"/>
                </a:xfrm>
                <a:prstGeom prst="rect">
                  <a:avLst/>
                </a:prstGeom>
                <a:effectLst>
                  <a:outerShdw blurRad="127000" dist="38100" dir="2700000">
                    <a:srgbClr val="000000">
                      <a:alpha val="63000"/>
                    </a:srgbClr>
                  </a:outerShdw>
                </a:effectLst>
              </p:spPr>
            </p:pic>
            <p:pic>
              <p:nvPicPr>
                <p:cNvPr id="48" name="Picture 47" descr="management.png"/>
                <p:cNvPicPr>
                  <a:picLocks noChangeAspect="1"/>
                </p:cNvPicPr>
                <p:nvPr/>
              </p:nvPicPr>
              <p:blipFill>
                <a:blip r:embed="rId8" cstate="email"/>
                <a:srcRect t="-3667"/>
                <a:stretch>
                  <a:fillRect/>
                </a:stretch>
              </p:blipFill>
              <p:spPr>
                <a:xfrm>
                  <a:off x="3228327" y="3891664"/>
                  <a:ext cx="606118" cy="792849"/>
                </a:xfrm>
                <a:prstGeom prst="rect">
                  <a:avLst/>
                </a:prstGeom>
                <a:effectLst>
                  <a:outerShdw blurRad="127000" dist="38100" dir="2700000">
                    <a:srgbClr val="000000">
                      <a:alpha val="63000"/>
                    </a:srgbClr>
                  </a:outerShdw>
                </a:effectLst>
              </p:spPr>
            </p:pic>
            <p:pic>
              <p:nvPicPr>
                <p:cNvPr id="49" name="Picture 48" descr="hero_pattern-long-s3.jpg"/>
                <p:cNvPicPr>
                  <a:picLocks noChangeAspect="1"/>
                </p:cNvPicPr>
                <p:nvPr/>
              </p:nvPicPr>
              <p:blipFill>
                <a:blip r:embed="rId9" cstate="print"/>
                <a:srcRect l="2813" r="2455"/>
                <a:stretch>
                  <a:fillRect/>
                </a:stretch>
              </p:blipFill>
              <p:spPr>
                <a:xfrm>
                  <a:off x="4629005" y="3910714"/>
                  <a:ext cx="2056358" cy="777240"/>
                </a:xfrm>
                <a:prstGeom prst="rect">
                  <a:avLst/>
                </a:prstGeom>
              </p:spPr>
            </p:pic>
            <p:pic>
              <p:nvPicPr>
                <p:cNvPr id="50" name="Picture 49" descr="VMware top part.png"/>
                <p:cNvPicPr>
                  <a:picLocks noChangeAspect="1"/>
                </p:cNvPicPr>
                <p:nvPr/>
              </p:nvPicPr>
              <p:blipFill>
                <a:blip r:embed="rId10" cstate="email"/>
                <a:stretch>
                  <a:fillRect/>
                </a:stretch>
              </p:blipFill>
              <p:spPr bwMode="auto">
                <a:xfrm>
                  <a:off x="5284818" y="4023255"/>
                  <a:ext cx="691220" cy="599047"/>
                </a:xfrm>
                <a:prstGeom prst="rect">
                  <a:avLst/>
                </a:prstGeom>
                <a:effectLst>
                  <a:outerShdw blurRad="50800" dist="38100" dir="5880000">
                    <a:srgbClr val="000000">
                      <a:alpha val="43000"/>
                    </a:srgbClr>
                  </a:outerShdw>
                </a:effectLst>
              </p:spPr>
            </p:pic>
          </p:grpSp>
        </p:grpSp>
        <p:pic>
          <p:nvPicPr>
            <p:cNvPr id="38" name="Picture 2"/>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4702981" y="3643060"/>
              <a:ext cx="988849" cy="234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3"/>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5755057" y="3635501"/>
              <a:ext cx="898954" cy="249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17" name="Picture 2" descr="C:\Users\Jordan\Desktop\TechEd_2012\TechEd-logo.pn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86962" y="4619593"/>
            <a:ext cx="698151" cy="322326"/>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9"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4"/>
              </a:rPr>
              <a:t>www.rapidbbs.cn</a:t>
            </a:r>
            <a:endParaRPr lang="zh-CN" altLang="en-US" sz="1200" b="0">
              <a:latin typeface="Arial" charset="0"/>
              <a:ea typeface="ＭＳ Ｐゴシック" pitchFamily="34" charset="-128"/>
            </a:endParaRPr>
          </a:p>
        </p:txBody>
      </p:sp>
      <p:pic>
        <p:nvPicPr>
          <p:cNvPr id="20" name="Picture 2">
            <a:hlinkClick r:id="rId14"/>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08563017"/>
      </p:ext>
    </p:extLst>
  </p:cSld>
  <p:clrMapOvr>
    <a:masterClrMapping/>
  </p:clrMapOvr>
  <p:transition spd="slow">
    <p:wipe dir="r"/>
  </p:transition>
  <p:timing>
    <p:tnLst>
      <p:par>
        <p:cTn id="1" dur="indefinite" restart="never" nodeType="tmRoot"/>
      </p:par>
    </p:tnLst>
  </p:timing>
</p:sld>
</file>

<file path=ppt/slides/slide4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89436" y="171451"/>
            <a:ext cx="8363938" cy="457049"/>
          </a:xfrm>
        </p:spPr>
        <p:txBody>
          <a:bodyPr/>
          <a:lstStyle/>
          <a:p>
            <a:pPr lvl="0"/>
            <a:r>
              <a:rPr lang="en-US" dirty="0" smtClean="0"/>
              <a:t>Complementary Services Available</a:t>
            </a:r>
            <a:endParaRPr lang="en-US" dirty="0"/>
          </a:p>
        </p:txBody>
      </p:sp>
      <p:grpSp>
        <p:nvGrpSpPr>
          <p:cNvPr id="890" name="Group 889"/>
          <p:cNvGrpSpPr/>
          <p:nvPr/>
        </p:nvGrpSpPr>
        <p:grpSpPr>
          <a:xfrm>
            <a:off x="323394" y="1175956"/>
            <a:ext cx="8520912" cy="3236137"/>
            <a:chOff x="221932" y="882032"/>
            <a:chExt cx="8784506" cy="3236137"/>
          </a:xfrm>
        </p:grpSpPr>
        <p:sp>
          <p:nvSpPr>
            <p:cNvPr id="869" name="Pentagon 868"/>
            <p:cNvSpPr/>
            <p:nvPr/>
          </p:nvSpPr>
          <p:spPr>
            <a:xfrm rot="5400000">
              <a:off x="485524" y="989929"/>
              <a:ext cx="946766" cy="1416106"/>
            </a:xfrm>
            <a:prstGeom prst="homePlate">
              <a:avLst>
                <a:gd name="adj" fmla="val 23240"/>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en-US" sz="1200" dirty="0"/>
                <a:t>Transformation Experience Workshop</a:t>
              </a:r>
            </a:p>
          </p:txBody>
        </p:sp>
        <p:sp>
          <p:nvSpPr>
            <p:cNvPr id="870" name="Pentagon 869"/>
            <p:cNvSpPr/>
            <p:nvPr/>
          </p:nvSpPr>
          <p:spPr>
            <a:xfrm rot="5400000">
              <a:off x="1942360" y="989929"/>
              <a:ext cx="946766" cy="1416106"/>
            </a:xfrm>
            <a:prstGeom prst="homePlate">
              <a:avLst>
                <a:gd name="adj" fmla="val 23240"/>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en-US" sz="1200" dirty="0"/>
                <a:t>Virtualization Assessment</a:t>
              </a:r>
            </a:p>
          </p:txBody>
        </p:sp>
        <p:sp>
          <p:nvSpPr>
            <p:cNvPr id="871" name="Pentagon 870"/>
            <p:cNvSpPr/>
            <p:nvPr/>
          </p:nvSpPr>
          <p:spPr>
            <a:xfrm rot="5400000">
              <a:off x="3399196" y="989929"/>
              <a:ext cx="946766" cy="1416106"/>
            </a:xfrm>
            <a:prstGeom prst="homePlate">
              <a:avLst>
                <a:gd name="adj" fmla="val 23240"/>
              </a:avLst>
            </a:prstGeom>
            <a:gradFill flip="none" rotWithShape="1">
              <a:gsLst>
                <a:gs pos="0">
                  <a:schemeClr val="accent5"/>
                </a:gs>
                <a:gs pos="50000">
                  <a:schemeClr val="accent5"/>
                </a:gs>
                <a:gs pos="100000">
                  <a:schemeClr val="accent1">
                    <a:shade val="100000"/>
                    <a:satMod val="115000"/>
                  </a:schemeClr>
                </a:gs>
              </a:gsLst>
              <a:lin ang="13500000" scaled="1"/>
              <a:tileRect/>
            </a:gradFill>
            <a:ln>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en-US" sz="1200" dirty="0"/>
                <a:t>VirtualSystem, </a:t>
              </a:r>
              <a:br>
                <a:rPr lang="en-US" sz="1200" dirty="0"/>
              </a:br>
              <a:r>
                <a:rPr lang="en-US" sz="1200" dirty="0"/>
                <a:t>Start Service</a:t>
              </a:r>
            </a:p>
          </p:txBody>
        </p:sp>
        <p:sp>
          <p:nvSpPr>
            <p:cNvPr id="872" name="Pentagon 871"/>
            <p:cNvSpPr/>
            <p:nvPr/>
          </p:nvSpPr>
          <p:spPr>
            <a:xfrm rot="5400000">
              <a:off x="4856032" y="989929"/>
              <a:ext cx="946766" cy="1416106"/>
            </a:xfrm>
            <a:prstGeom prst="homePlate">
              <a:avLst>
                <a:gd name="adj" fmla="val 23240"/>
              </a:avLst>
            </a:prstGeom>
            <a:gradFill flip="none" rotWithShape="1">
              <a:gsLst>
                <a:gs pos="0">
                  <a:schemeClr val="accent5"/>
                </a:gs>
                <a:gs pos="50000">
                  <a:schemeClr val="accent5"/>
                </a:gs>
                <a:gs pos="100000">
                  <a:schemeClr val="accent1">
                    <a:shade val="100000"/>
                    <a:satMod val="115000"/>
                  </a:schemeClr>
                </a:gs>
              </a:gsLst>
              <a:lin ang="13500000" scaled="1"/>
              <a:tileRect/>
            </a:gradFill>
            <a:ln>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en-US" sz="1200" dirty="0"/>
                <a:t>Migration,</a:t>
              </a:r>
              <a:br>
                <a:rPr lang="en-US" sz="1200" dirty="0"/>
              </a:br>
              <a:r>
                <a:rPr lang="en-US" sz="1200" dirty="0"/>
                <a:t>Integration Services</a:t>
              </a:r>
            </a:p>
          </p:txBody>
        </p:sp>
        <p:sp>
          <p:nvSpPr>
            <p:cNvPr id="873" name="Pentagon 872"/>
            <p:cNvSpPr/>
            <p:nvPr/>
          </p:nvSpPr>
          <p:spPr>
            <a:xfrm rot="5400000">
              <a:off x="6312868" y="989929"/>
              <a:ext cx="946766" cy="1416106"/>
            </a:xfrm>
            <a:prstGeom prst="homePlate">
              <a:avLst>
                <a:gd name="adj" fmla="val 2324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en-US" sz="1200" dirty="0"/>
                <a:t>Services for</a:t>
              </a:r>
              <a:br>
                <a:rPr lang="en-US" sz="1200" dirty="0"/>
              </a:br>
              <a:r>
                <a:rPr lang="en-US" sz="1200" dirty="0"/>
                <a:t>partner cloud</a:t>
              </a:r>
            </a:p>
          </p:txBody>
        </p:sp>
        <p:sp>
          <p:nvSpPr>
            <p:cNvPr id="874" name="Pentagon 873"/>
            <p:cNvSpPr/>
            <p:nvPr/>
          </p:nvSpPr>
          <p:spPr>
            <a:xfrm rot="5400000">
              <a:off x="7769705" y="989929"/>
              <a:ext cx="946766" cy="1416106"/>
            </a:xfrm>
            <a:prstGeom prst="homePlate">
              <a:avLst>
                <a:gd name="adj" fmla="val 2324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en-US" sz="1200" dirty="0"/>
                <a:t>Services for Exchange </a:t>
              </a:r>
              <a:br>
                <a:rPr lang="en-US" sz="1200" dirty="0"/>
              </a:br>
              <a:r>
                <a:rPr lang="en-US" sz="1200" dirty="0"/>
                <a:t>Private Cloud</a:t>
              </a:r>
            </a:p>
          </p:txBody>
        </p:sp>
        <p:sp>
          <p:nvSpPr>
            <p:cNvPr id="875" name="TextBox 874"/>
            <p:cNvSpPr txBox="1"/>
            <p:nvPr/>
          </p:nvSpPr>
          <p:spPr>
            <a:xfrm>
              <a:off x="299406" y="882032"/>
              <a:ext cx="1269918" cy="307777"/>
            </a:xfrm>
            <a:prstGeom prst="rect">
              <a:avLst/>
            </a:prstGeom>
            <a:noFill/>
          </p:spPr>
          <p:txBody>
            <a:bodyPr wrap="none" rtlCol="0">
              <a:spAutoFit/>
            </a:bodyPr>
            <a:lstStyle/>
            <a:p>
              <a:r>
                <a:rPr lang="en-US" dirty="0"/>
                <a:t>Virtualization</a:t>
              </a:r>
            </a:p>
          </p:txBody>
        </p:sp>
        <p:sp>
          <p:nvSpPr>
            <p:cNvPr id="876" name="TextBox 875"/>
            <p:cNvSpPr txBox="1"/>
            <p:nvPr/>
          </p:nvSpPr>
          <p:spPr>
            <a:xfrm>
              <a:off x="8195883" y="882032"/>
              <a:ext cx="671283" cy="307777"/>
            </a:xfrm>
            <a:prstGeom prst="rect">
              <a:avLst/>
            </a:prstGeom>
            <a:noFill/>
          </p:spPr>
          <p:txBody>
            <a:bodyPr wrap="none" rtlCol="0">
              <a:spAutoFit/>
            </a:bodyPr>
            <a:lstStyle/>
            <a:p>
              <a:r>
                <a:rPr lang="en-US" dirty="0"/>
                <a:t>Cloud</a:t>
              </a:r>
            </a:p>
          </p:txBody>
        </p:sp>
        <p:sp>
          <p:nvSpPr>
            <p:cNvPr id="877" name="TextBox 876"/>
            <p:cNvSpPr txBox="1"/>
            <p:nvPr/>
          </p:nvSpPr>
          <p:spPr>
            <a:xfrm>
              <a:off x="634658" y="2214522"/>
              <a:ext cx="613443" cy="276999"/>
            </a:xfrm>
            <a:prstGeom prst="rect">
              <a:avLst/>
            </a:prstGeom>
            <a:noFill/>
          </p:spPr>
          <p:txBody>
            <a:bodyPr wrap="none" rtlCol="0">
              <a:spAutoFit/>
            </a:bodyPr>
            <a:lstStyle/>
            <a:p>
              <a:pPr algn="ctr"/>
              <a:r>
                <a:rPr lang="en-US" sz="1200" b="1" dirty="0"/>
                <a:t>1 Day</a:t>
              </a:r>
            </a:p>
          </p:txBody>
        </p:sp>
        <p:sp>
          <p:nvSpPr>
            <p:cNvPr id="878" name="TextBox 877"/>
            <p:cNvSpPr txBox="1"/>
            <p:nvPr/>
          </p:nvSpPr>
          <p:spPr>
            <a:xfrm>
              <a:off x="2022225" y="2213174"/>
              <a:ext cx="809176" cy="276999"/>
            </a:xfrm>
            <a:prstGeom prst="rect">
              <a:avLst/>
            </a:prstGeom>
            <a:noFill/>
          </p:spPr>
          <p:txBody>
            <a:bodyPr wrap="none" rtlCol="0">
              <a:spAutoFit/>
            </a:bodyPr>
            <a:lstStyle/>
            <a:p>
              <a:pPr algn="ctr"/>
              <a:r>
                <a:rPr lang="en-US" sz="1200" b="1" dirty="0"/>
                <a:t>4 Weeks</a:t>
              </a:r>
            </a:p>
          </p:txBody>
        </p:sp>
        <p:sp>
          <p:nvSpPr>
            <p:cNvPr id="879" name="TextBox 878"/>
            <p:cNvSpPr txBox="1"/>
            <p:nvPr/>
          </p:nvSpPr>
          <p:spPr>
            <a:xfrm>
              <a:off x="3155048" y="3518005"/>
              <a:ext cx="1425584" cy="600164"/>
            </a:xfrm>
            <a:prstGeom prst="rect">
              <a:avLst/>
            </a:prstGeom>
            <a:noFill/>
          </p:spPr>
          <p:txBody>
            <a:bodyPr wrap="square" rtlCol="0">
              <a:spAutoFit/>
            </a:bodyPr>
            <a:lstStyle/>
            <a:p>
              <a:pPr algn="ctr"/>
              <a:r>
                <a:rPr lang="en-US" sz="1100" b="1" dirty="0"/>
                <a:t>Included in VS1 and VS2 SOW needed for VS3</a:t>
              </a:r>
            </a:p>
          </p:txBody>
        </p:sp>
        <p:sp>
          <p:nvSpPr>
            <p:cNvPr id="880" name="TextBox 879"/>
            <p:cNvSpPr txBox="1"/>
            <p:nvPr/>
          </p:nvSpPr>
          <p:spPr>
            <a:xfrm>
              <a:off x="4941882" y="2210479"/>
              <a:ext cx="758275" cy="276999"/>
            </a:xfrm>
            <a:prstGeom prst="rect">
              <a:avLst/>
            </a:prstGeom>
            <a:noFill/>
          </p:spPr>
          <p:txBody>
            <a:bodyPr wrap="none" rtlCol="0">
              <a:spAutoFit/>
            </a:bodyPr>
            <a:lstStyle/>
            <a:p>
              <a:pPr algn="ctr"/>
              <a:r>
                <a:rPr lang="en-US" sz="1200" b="1" dirty="0"/>
                <a:t>Custom</a:t>
              </a:r>
            </a:p>
          </p:txBody>
        </p:sp>
        <p:sp>
          <p:nvSpPr>
            <p:cNvPr id="881" name="TextBox 880"/>
            <p:cNvSpPr txBox="1"/>
            <p:nvPr/>
          </p:nvSpPr>
          <p:spPr>
            <a:xfrm>
              <a:off x="6279888" y="2209130"/>
              <a:ext cx="1019980" cy="461665"/>
            </a:xfrm>
            <a:prstGeom prst="rect">
              <a:avLst/>
            </a:prstGeom>
            <a:noFill/>
          </p:spPr>
          <p:txBody>
            <a:bodyPr wrap="none" rtlCol="0">
              <a:spAutoFit/>
            </a:bodyPr>
            <a:lstStyle/>
            <a:p>
              <a:pPr algn="ctr"/>
              <a:r>
                <a:rPr lang="en-US" sz="1200" b="1" dirty="0"/>
                <a:t>30 Days or </a:t>
              </a:r>
              <a:br>
                <a:rPr lang="en-US" sz="1200" b="1" dirty="0"/>
              </a:br>
              <a:r>
                <a:rPr lang="en-US" sz="1200" b="1" dirty="0"/>
                <a:t>Custom</a:t>
              </a:r>
            </a:p>
          </p:txBody>
        </p:sp>
        <p:sp>
          <p:nvSpPr>
            <p:cNvPr id="882" name="TextBox 881"/>
            <p:cNvSpPr txBox="1"/>
            <p:nvPr/>
          </p:nvSpPr>
          <p:spPr>
            <a:xfrm>
              <a:off x="7750794" y="2207782"/>
              <a:ext cx="1019980" cy="461665"/>
            </a:xfrm>
            <a:prstGeom prst="rect">
              <a:avLst/>
            </a:prstGeom>
            <a:noFill/>
          </p:spPr>
          <p:txBody>
            <a:bodyPr wrap="none" rtlCol="0">
              <a:spAutoFit/>
            </a:bodyPr>
            <a:lstStyle/>
            <a:p>
              <a:pPr algn="ctr"/>
              <a:r>
                <a:rPr lang="en-US" sz="1200" b="1" dirty="0"/>
                <a:t>45 Days or </a:t>
              </a:r>
              <a:br>
                <a:rPr lang="en-US" sz="1200" b="1" dirty="0"/>
              </a:br>
              <a:r>
                <a:rPr lang="en-US" sz="1200" b="1" dirty="0"/>
                <a:t>Custom</a:t>
              </a:r>
            </a:p>
          </p:txBody>
        </p:sp>
        <p:sp>
          <p:nvSpPr>
            <p:cNvPr id="883" name="Right Arrow 882"/>
            <p:cNvSpPr/>
            <p:nvPr/>
          </p:nvSpPr>
          <p:spPr>
            <a:xfrm>
              <a:off x="1691235" y="955000"/>
              <a:ext cx="6433169" cy="161841"/>
            </a:xfrm>
            <a:prstGeom prst="rightArrow">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84" name="TextBox 883"/>
            <p:cNvSpPr txBox="1"/>
            <p:nvPr/>
          </p:nvSpPr>
          <p:spPr>
            <a:xfrm>
              <a:off x="221932" y="2593644"/>
              <a:ext cx="1463040" cy="938719"/>
            </a:xfrm>
            <a:prstGeom prst="rect">
              <a:avLst/>
            </a:prstGeom>
            <a:noFill/>
          </p:spPr>
          <p:txBody>
            <a:bodyPr wrap="square" lIns="45720" rIns="45720" rtlCol="0">
              <a:spAutoFit/>
            </a:bodyPr>
            <a:lstStyle/>
            <a:p>
              <a:pPr algn="ctr"/>
              <a:r>
                <a:rPr lang="en-US" sz="1100" dirty="0">
                  <a:cs typeface="Futura Hv"/>
                </a:rPr>
                <a:t>Executive visioning workshop to align customer strategy </a:t>
              </a:r>
            </a:p>
            <a:p>
              <a:pPr algn="ctr"/>
              <a:r>
                <a:rPr lang="en-US" sz="1100" dirty="0">
                  <a:cs typeface="Futura Hv"/>
                </a:rPr>
                <a:t>and outline the way forward</a:t>
              </a:r>
            </a:p>
          </p:txBody>
        </p:sp>
        <p:sp>
          <p:nvSpPr>
            <p:cNvPr id="885" name="TextBox 884"/>
            <p:cNvSpPr txBox="1"/>
            <p:nvPr/>
          </p:nvSpPr>
          <p:spPr>
            <a:xfrm>
              <a:off x="1629062" y="2593644"/>
              <a:ext cx="1585644" cy="938719"/>
            </a:xfrm>
            <a:prstGeom prst="rect">
              <a:avLst/>
            </a:prstGeom>
            <a:noFill/>
          </p:spPr>
          <p:txBody>
            <a:bodyPr wrap="square" lIns="45720" rIns="45720" rtlCol="0">
              <a:spAutoFit/>
            </a:bodyPr>
            <a:lstStyle/>
            <a:p>
              <a:pPr algn="ctr"/>
              <a:r>
                <a:rPr lang="en-US" sz="1100" dirty="0"/>
                <a:t>Discover and analyze current systems to understand best </a:t>
              </a:r>
              <a:br>
                <a:rPr lang="en-US" sz="1100" dirty="0"/>
              </a:br>
              <a:r>
                <a:rPr lang="en-US" sz="1100" dirty="0"/>
                <a:t>candidates for virtualization</a:t>
              </a:r>
            </a:p>
          </p:txBody>
        </p:sp>
        <p:sp>
          <p:nvSpPr>
            <p:cNvPr id="886" name="TextBox 885"/>
            <p:cNvSpPr txBox="1"/>
            <p:nvPr/>
          </p:nvSpPr>
          <p:spPr>
            <a:xfrm>
              <a:off x="3149970" y="2593644"/>
              <a:ext cx="1490472" cy="938719"/>
            </a:xfrm>
            <a:prstGeom prst="rect">
              <a:avLst/>
            </a:prstGeom>
            <a:noFill/>
          </p:spPr>
          <p:txBody>
            <a:bodyPr wrap="square" lIns="45720" rIns="45720" rtlCol="0">
              <a:spAutoFit/>
            </a:bodyPr>
            <a:lstStyle/>
            <a:p>
              <a:pPr algn="ctr"/>
              <a:r>
                <a:rPr lang="en-US" sz="1100" dirty="0"/>
                <a:t>Find a platform designed for virtual computing or build toward partner cloud solution</a:t>
              </a:r>
            </a:p>
          </p:txBody>
        </p:sp>
        <p:sp>
          <p:nvSpPr>
            <p:cNvPr id="887" name="TextBox 886"/>
            <p:cNvSpPr txBox="1"/>
            <p:nvPr/>
          </p:nvSpPr>
          <p:spPr>
            <a:xfrm>
              <a:off x="4614976" y="2593644"/>
              <a:ext cx="1490472" cy="938719"/>
            </a:xfrm>
            <a:prstGeom prst="rect">
              <a:avLst/>
            </a:prstGeom>
            <a:noFill/>
          </p:spPr>
          <p:txBody>
            <a:bodyPr wrap="square" lIns="45720" rIns="45720" rtlCol="0">
              <a:spAutoFit/>
            </a:bodyPr>
            <a:lstStyle/>
            <a:p>
              <a:pPr algn="ctr"/>
              <a:r>
                <a:rPr lang="en-US" sz="1100" dirty="0"/>
                <a:t>Migrate workloads into VirtualSystem and further </a:t>
              </a:r>
              <a:br>
                <a:rPr lang="en-US" sz="1100" dirty="0"/>
              </a:br>
              <a:r>
                <a:rPr lang="en-US" sz="1100" dirty="0"/>
                <a:t>integrate into</a:t>
              </a:r>
            </a:p>
            <a:p>
              <a:pPr algn="ctr"/>
              <a:r>
                <a:rPr lang="en-US" sz="1100" dirty="0"/>
                <a:t> the data center</a:t>
              </a:r>
            </a:p>
          </p:txBody>
        </p:sp>
        <p:sp>
          <p:nvSpPr>
            <p:cNvPr id="888" name="TextBox 887"/>
            <p:cNvSpPr txBox="1"/>
            <p:nvPr/>
          </p:nvSpPr>
          <p:spPr>
            <a:xfrm>
              <a:off x="7515966" y="2599503"/>
              <a:ext cx="1490472" cy="769441"/>
            </a:xfrm>
            <a:prstGeom prst="rect">
              <a:avLst/>
            </a:prstGeom>
            <a:noFill/>
          </p:spPr>
          <p:txBody>
            <a:bodyPr wrap="square" lIns="45720" rIns="45720" rtlCol="0">
              <a:spAutoFit/>
            </a:bodyPr>
            <a:lstStyle/>
            <a:p>
              <a:pPr marL="225407" indent="-225407" algn="ctr"/>
              <a:r>
                <a:rPr lang="en-US" sz="1100" dirty="0"/>
                <a:t>Layered on top of </a:t>
              </a:r>
            </a:p>
            <a:p>
              <a:pPr marL="225407" indent="-225407" algn="ctr"/>
              <a:r>
                <a:rPr lang="en-US" sz="1100" dirty="0"/>
                <a:t>Compute Service;</a:t>
              </a:r>
            </a:p>
            <a:p>
              <a:pPr marL="225407" indent="-225407" algn="ctr"/>
              <a:r>
                <a:rPr lang="en-US" sz="1100" dirty="0"/>
                <a:t>Based on</a:t>
              </a:r>
            </a:p>
            <a:p>
              <a:pPr marL="225407" indent="-225407" algn="ctr"/>
              <a:r>
                <a:rPr lang="en-US" sz="1100" dirty="0"/>
                <a:t>Exchange 2010*</a:t>
              </a:r>
            </a:p>
          </p:txBody>
        </p:sp>
        <p:sp>
          <p:nvSpPr>
            <p:cNvPr id="889" name="TextBox 888"/>
            <p:cNvSpPr txBox="1"/>
            <p:nvPr/>
          </p:nvSpPr>
          <p:spPr>
            <a:xfrm>
              <a:off x="6074553" y="2592196"/>
              <a:ext cx="1490472" cy="938719"/>
            </a:xfrm>
            <a:prstGeom prst="rect">
              <a:avLst/>
            </a:prstGeom>
            <a:noFill/>
          </p:spPr>
          <p:txBody>
            <a:bodyPr wrap="square" lIns="45720" rIns="45720" rtlCol="0">
              <a:spAutoFit/>
            </a:bodyPr>
            <a:lstStyle/>
            <a:p>
              <a:pPr algn="ctr"/>
              <a:r>
                <a:rPr lang="en-US" sz="1100" dirty="0"/>
                <a:t>Integration of HW, Microsoft Hyper-V, and SC Suite*</a:t>
              </a:r>
            </a:p>
            <a:p>
              <a:pPr marL="225407" indent="-225407" algn="ctr"/>
              <a:endParaRPr lang="en-US" sz="1100" dirty="0"/>
            </a:p>
            <a:p>
              <a:pPr algn="ctr"/>
              <a:endParaRPr lang="en-US" sz="1100" dirty="0"/>
            </a:p>
          </p:txBody>
        </p:sp>
      </p:grpSp>
      <p:pic>
        <p:nvPicPr>
          <p:cNvPr id="25" name="Picture 2" descr="C:\Users\Jordan\Desktop\TechEd_2012\TechEd-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6962" y="4619593"/>
            <a:ext cx="698151" cy="322326"/>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7"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4"/>
              </a:rPr>
              <a:t>www.rapidbbs.cn</a:t>
            </a:r>
            <a:endParaRPr lang="zh-CN" altLang="en-US" sz="1200" b="0">
              <a:latin typeface="Arial" charset="0"/>
              <a:ea typeface="ＭＳ Ｐゴシック" pitchFamily="34" charset="-128"/>
            </a:endParaRPr>
          </a:p>
        </p:txBody>
      </p:sp>
      <p:pic>
        <p:nvPicPr>
          <p:cNvPr id="28" name="Picture 2">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74601962"/>
      </p:ext>
    </p:extLst>
  </p:cSld>
  <p:clrMapOvr>
    <a:masterClrMapping/>
  </p:clrMapOvr>
  <p:transition spd="slow">
    <p:wipe dir="r"/>
  </p:transition>
  <p:timing>
    <p:tnLst>
      <p:par>
        <p:cTn id="1" dur="indefinite" restart="never" nodeType="tmRoot"/>
      </p:par>
    </p:tnLst>
  </p:timing>
</p:sld>
</file>

<file path=ppt/slides/slide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custDataLst>
              <p:tags r:id="rId1"/>
            </p:custDataLst>
          </p:nvPr>
        </p:nvSpPr>
        <p:spPr bwMode="auto">
          <a:xfrm>
            <a:off x="120035" y="3250240"/>
            <a:ext cx="2133600" cy="1231430"/>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24" tIns="137166" rIns="91424" bIns="45712" numCol="1" rtlCol="0" anchor="t" anchorCtr="0" compatLnSpc="1">
            <a:prstTxWarp prst="textNoShape">
              <a:avLst/>
            </a:prstTxWarp>
            <a:noAutofit/>
          </a:bodyPr>
          <a:lstStyle/>
          <a:p>
            <a:pPr defTabSz="914007" fontAlgn="base">
              <a:lnSpc>
                <a:spcPct val="90000"/>
              </a:lnSpc>
              <a:spcBef>
                <a:spcPts val="630"/>
              </a:spcBef>
              <a:spcAft>
                <a:spcPct val="0"/>
              </a:spcAft>
              <a:buClr>
                <a:srgbClr val="C2C2C2">
                  <a:lumMod val="75000"/>
                </a:srgbClr>
              </a:buClr>
              <a:buSzPct val="100000"/>
            </a:pPr>
            <a:r>
              <a:rPr lang="en-US" sz="1100" dirty="0">
                <a:ln>
                  <a:solidFill>
                    <a:srgbClr val="FFFFFF">
                      <a:alpha val="0"/>
                    </a:srgbClr>
                  </a:solidFill>
                </a:ln>
                <a:solidFill>
                  <a:srgbClr val="FFFFFF">
                    <a:alpha val="99000"/>
                  </a:srgbClr>
                </a:solidFill>
                <a:cs typeface="Segoe UI" pitchFamily="34" charset="0"/>
              </a:rPr>
              <a:t>60,000+ sustained IOPS</a:t>
            </a:r>
          </a:p>
          <a:p>
            <a:pPr defTabSz="914007" fontAlgn="base">
              <a:lnSpc>
                <a:spcPct val="90000"/>
              </a:lnSpc>
              <a:spcBef>
                <a:spcPts val="630"/>
              </a:spcBef>
              <a:spcAft>
                <a:spcPct val="0"/>
              </a:spcAft>
              <a:buClr>
                <a:srgbClr val="C2C2C2">
                  <a:lumMod val="75000"/>
                </a:srgbClr>
              </a:buClr>
              <a:buSzPct val="100000"/>
            </a:pPr>
            <a:r>
              <a:rPr lang="en-US" sz="1100" dirty="0">
                <a:ln>
                  <a:solidFill>
                    <a:srgbClr val="FFFFFF">
                      <a:alpha val="0"/>
                    </a:srgbClr>
                  </a:solidFill>
                </a:ln>
                <a:solidFill>
                  <a:srgbClr val="FFFFFF">
                    <a:alpha val="99000"/>
                  </a:srgbClr>
                </a:solidFill>
                <a:cs typeface="Segoe UI" pitchFamily="34" charset="0"/>
              </a:rPr>
              <a:t>Scale to multiple racks</a:t>
            </a:r>
          </a:p>
          <a:p>
            <a:pPr defTabSz="914007" fontAlgn="base">
              <a:lnSpc>
                <a:spcPct val="90000"/>
              </a:lnSpc>
              <a:spcBef>
                <a:spcPts val="630"/>
              </a:spcBef>
              <a:spcAft>
                <a:spcPct val="0"/>
              </a:spcAft>
              <a:buClr>
                <a:srgbClr val="C2C2C2">
                  <a:lumMod val="75000"/>
                </a:srgbClr>
              </a:buClr>
              <a:buSzPct val="100000"/>
            </a:pPr>
            <a:endParaRPr lang="en-US" sz="1100" dirty="0">
              <a:ln>
                <a:solidFill>
                  <a:srgbClr val="FFFFFF">
                    <a:alpha val="0"/>
                  </a:srgbClr>
                </a:solidFill>
              </a:ln>
              <a:solidFill>
                <a:srgbClr val="FFFFFF">
                  <a:alpha val="99000"/>
                </a:srgbClr>
              </a:solidFill>
              <a:cs typeface="Segoe UI" pitchFamily="34" charset="0"/>
            </a:endParaRPr>
          </a:p>
        </p:txBody>
      </p:sp>
      <p:sp>
        <p:nvSpPr>
          <p:cNvPr id="11" name="Rectangle 10"/>
          <p:cNvSpPr/>
          <p:nvPr>
            <p:custDataLst>
              <p:tags r:id="rId2"/>
            </p:custDataLst>
          </p:nvPr>
        </p:nvSpPr>
        <p:spPr bwMode="auto">
          <a:xfrm>
            <a:off x="2389791" y="3250240"/>
            <a:ext cx="2136422" cy="1231430"/>
          </a:xfrm>
          <a:prstGeom prst="rect">
            <a:avLst/>
          </a:prstGeom>
          <a:solidFill>
            <a:schemeClr val="accent5"/>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24" tIns="137166" rIns="91424" bIns="45712" numCol="1" rtlCol="0" anchor="t" anchorCtr="0" compatLnSpc="1">
            <a:prstTxWarp prst="textNoShape">
              <a:avLst/>
            </a:prstTxWarp>
            <a:noAutofit/>
          </a:bodyPr>
          <a:lstStyle/>
          <a:p>
            <a:pPr defTabSz="914007" fontAlgn="base">
              <a:lnSpc>
                <a:spcPct val="90000"/>
              </a:lnSpc>
              <a:spcBef>
                <a:spcPts val="630"/>
              </a:spcBef>
              <a:spcAft>
                <a:spcPct val="0"/>
              </a:spcAft>
              <a:buClr>
                <a:srgbClr val="C2C2C2">
                  <a:lumMod val="75000"/>
                </a:srgbClr>
              </a:buClr>
              <a:buSzPct val="100000"/>
            </a:pPr>
            <a:r>
              <a:rPr lang="en-US" sz="1100" dirty="0">
                <a:ln>
                  <a:solidFill>
                    <a:srgbClr val="FFFFFF">
                      <a:alpha val="0"/>
                    </a:srgbClr>
                  </a:solidFill>
                </a:ln>
                <a:solidFill>
                  <a:srgbClr val="FFFFFF">
                    <a:alpha val="99000"/>
                  </a:srgbClr>
                </a:solidFill>
                <a:cs typeface="Segoe UI" pitchFamily="34" charset="0"/>
              </a:rPr>
              <a:t>All private cloud software installed at factory</a:t>
            </a:r>
          </a:p>
          <a:p>
            <a:pPr defTabSz="914007" fontAlgn="base">
              <a:lnSpc>
                <a:spcPct val="90000"/>
              </a:lnSpc>
              <a:spcBef>
                <a:spcPts val="630"/>
              </a:spcBef>
              <a:spcAft>
                <a:spcPct val="0"/>
              </a:spcAft>
              <a:buClr>
                <a:srgbClr val="C2C2C2">
                  <a:lumMod val="75000"/>
                </a:srgbClr>
              </a:buClr>
              <a:buSzPct val="100000"/>
            </a:pPr>
            <a:r>
              <a:rPr lang="en-US" sz="1100" dirty="0">
                <a:ln>
                  <a:solidFill>
                    <a:srgbClr val="FFFFFF">
                      <a:alpha val="0"/>
                    </a:srgbClr>
                  </a:solidFill>
                </a:ln>
                <a:solidFill>
                  <a:srgbClr val="FFFFFF">
                    <a:alpha val="99000"/>
                  </a:srgbClr>
                </a:solidFill>
                <a:cs typeface="Segoe UI" pitchFamily="34" charset="0"/>
              </a:rPr>
              <a:t>Deep application insight </a:t>
            </a:r>
          </a:p>
          <a:p>
            <a:pPr defTabSz="914007" fontAlgn="base">
              <a:lnSpc>
                <a:spcPct val="90000"/>
              </a:lnSpc>
              <a:spcBef>
                <a:spcPts val="630"/>
              </a:spcBef>
              <a:spcAft>
                <a:spcPct val="0"/>
              </a:spcAft>
              <a:buClr>
                <a:srgbClr val="C2C2C2">
                  <a:lumMod val="75000"/>
                </a:srgbClr>
              </a:buClr>
              <a:buSzPct val="100000"/>
            </a:pPr>
            <a:r>
              <a:rPr lang="en-US" sz="1100" dirty="0">
                <a:ln>
                  <a:solidFill>
                    <a:srgbClr val="FFFFFF">
                      <a:alpha val="0"/>
                    </a:srgbClr>
                  </a:solidFill>
                </a:ln>
                <a:solidFill>
                  <a:srgbClr val="FFFFFF">
                    <a:alpha val="99000"/>
                  </a:srgbClr>
                </a:solidFill>
                <a:cs typeface="Segoe UI" pitchFamily="34" charset="0"/>
              </a:rPr>
              <a:t>Single pane of glass to manage</a:t>
            </a:r>
          </a:p>
        </p:txBody>
      </p:sp>
      <p:sp>
        <p:nvSpPr>
          <p:cNvPr id="12" name="Rectangle 11"/>
          <p:cNvSpPr/>
          <p:nvPr>
            <p:custDataLst>
              <p:tags r:id="rId3"/>
            </p:custDataLst>
          </p:nvPr>
        </p:nvSpPr>
        <p:spPr bwMode="auto">
          <a:xfrm>
            <a:off x="4659548" y="3250240"/>
            <a:ext cx="2133600" cy="1231430"/>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24" tIns="137166" rIns="91424" bIns="45712" numCol="1" rtlCol="0" anchor="t" anchorCtr="0" compatLnSpc="1">
            <a:prstTxWarp prst="textNoShape">
              <a:avLst/>
            </a:prstTxWarp>
            <a:noAutofit/>
          </a:bodyPr>
          <a:lstStyle/>
          <a:p>
            <a:pPr defTabSz="914007" fontAlgn="base">
              <a:lnSpc>
                <a:spcPct val="90000"/>
              </a:lnSpc>
              <a:spcBef>
                <a:spcPts val="630"/>
              </a:spcBef>
              <a:spcAft>
                <a:spcPct val="0"/>
              </a:spcAft>
              <a:buClr>
                <a:srgbClr val="C2C2C2">
                  <a:lumMod val="75000"/>
                </a:srgbClr>
              </a:buClr>
              <a:buSzPct val="100000"/>
            </a:pPr>
            <a:r>
              <a:rPr lang="en-US" sz="1100" dirty="0">
                <a:ln>
                  <a:solidFill>
                    <a:srgbClr val="FFFFFF">
                      <a:alpha val="0"/>
                    </a:srgbClr>
                  </a:solidFill>
                </a:ln>
                <a:solidFill>
                  <a:srgbClr val="FFFFFF">
                    <a:alpha val="99000"/>
                  </a:srgbClr>
                </a:solidFill>
                <a:cs typeface="Segoe UI" pitchFamily="34" charset="0"/>
              </a:rPr>
              <a:t>Load balancing based on IO</a:t>
            </a:r>
          </a:p>
          <a:p>
            <a:pPr defTabSz="914007" fontAlgn="base">
              <a:lnSpc>
                <a:spcPct val="90000"/>
              </a:lnSpc>
              <a:spcBef>
                <a:spcPts val="630"/>
              </a:spcBef>
              <a:spcAft>
                <a:spcPct val="0"/>
              </a:spcAft>
              <a:buClr>
                <a:srgbClr val="C2C2C2">
                  <a:lumMod val="75000"/>
                </a:srgbClr>
              </a:buClr>
              <a:buSzPct val="100000"/>
            </a:pPr>
            <a:r>
              <a:rPr lang="en-US" sz="1100" dirty="0">
                <a:ln>
                  <a:solidFill>
                    <a:srgbClr val="FFFFFF">
                      <a:alpha val="0"/>
                    </a:srgbClr>
                  </a:solidFill>
                </a:ln>
                <a:solidFill>
                  <a:srgbClr val="FFFFFF">
                    <a:alpha val="99000"/>
                  </a:srgbClr>
                </a:solidFill>
                <a:cs typeface="Segoe UI" pitchFamily="34" charset="0"/>
              </a:rPr>
              <a:t>Unified appliance health monitoring</a:t>
            </a:r>
          </a:p>
          <a:p>
            <a:pPr defTabSz="914007" fontAlgn="base">
              <a:lnSpc>
                <a:spcPct val="90000"/>
              </a:lnSpc>
              <a:spcBef>
                <a:spcPts val="630"/>
              </a:spcBef>
              <a:spcAft>
                <a:spcPct val="0"/>
              </a:spcAft>
              <a:buClr>
                <a:srgbClr val="C2C2C2">
                  <a:lumMod val="75000"/>
                </a:srgbClr>
              </a:buClr>
              <a:buSzPct val="100000"/>
            </a:pPr>
            <a:r>
              <a:rPr lang="en-US" sz="1100" dirty="0">
                <a:ln>
                  <a:solidFill>
                    <a:srgbClr val="FFFFFF">
                      <a:alpha val="0"/>
                    </a:srgbClr>
                  </a:solidFill>
                </a:ln>
                <a:solidFill>
                  <a:srgbClr val="FFFFFF">
                    <a:alpha val="99000"/>
                  </a:srgbClr>
                </a:solidFill>
                <a:cs typeface="Segoe UI" pitchFamily="34" charset="0"/>
              </a:rPr>
              <a:t>Optimization tools for private cloud</a:t>
            </a:r>
          </a:p>
        </p:txBody>
      </p:sp>
      <p:sp>
        <p:nvSpPr>
          <p:cNvPr id="13" name="Rectangle 12"/>
          <p:cNvSpPr/>
          <p:nvPr>
            <p:custDataLst>
              <p:tags r:id="rId4"/>
            </p:custDataLst>
          </p:nvPr>
        </p:nvSpPr>
        <p:spPr bwMode="auto">
          <a:xfrm>
            <a:off x="6929307" y="3250233"/>
            <a:ext cx="2133600" cy="1240218"/>
          </a:xfrm>
          <a:prstGeom prst="rect">
            <a:avLst/>
          </a:prstGeom>
          <a:solidFill>
            <a:schemeClr val="accent5"/>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24" tIns="137166" rIns="91424" bIns="45712" numCol="1" rtlCol="0" anchor="t" anchorCtr="0" compatLnSpc="1">
            <a:prstTxWarp prst="textNoShape">
              <a:avLst/>
            </a:prstTxWarp>
            <a:noAutofit/>
          </a:bodyPr>
          <a:lstStyle/>
          <a:p>
            <a:pPr defTabSz="914007" fontAlgn="base">
              <a:lnSpc>
                <a:spcPct val="90000"/>
              </a:lnSpc>
              <a:spcBef>
                <a:spcPts val="630"/>
              </a:spcBef>
              <a:spcAft>
                <a:spcPct val="0"/>
              </a:spcAft>
              <a:buClr>
                <a:srgbClr val="C2C2C2">
                  <a:lumMod val="75000"/>
                </a:srgbClr>
              </a:buClr>
              <a:buSzPct val="100000"/>
            </a:pPr>
            <a:r>
              <a:rPr lang="en-US" sz="1100" dirty="0">
                <a:ln>
                  <a:solidFill>
                    <a:srgbClr val="FFFFFF">
                      <a:alpha val="0"/>
                    </a:srgbClr>
                  </a:solidFill>
                </a:ln>
                <a:solidFill>
                  <a:srgbClr val="FFFFFF">
                    <a:alpha val="99000"/>
                  </a:srgbClr>
                </a:solidFill>
                <a:cs typeface="Segoe UI" pitchFamily="34" charset="0"/>
              </a:rPr>
              <a:t>For hardware and software</a:t>
            </a:r>
          </a:p>
          <a:p>
            <a:pPr defTabSz="914007" fontAlgn="base">
              <a:lnSpc>
                <a:spcPct val="90000"/>
              </a:lnSpc>
              <a:spcBef>
                <a:spcPts val="630"/>
              </a:spcBef>
              <a:spcAft>
                <a:spcPct val="0"/>
              </a:spcAft>
              <a:buClr>
                <a:srgbClr val="C2C2C2">
                  <a:lumMod val="75000"/>
                </a:srgbClr>
              </a:buClr>
              <a:buSzPct val="100000"/>
            </a:pPr>
            <a:r>
              <a:rPr lang="en-US" sz="1100" dirty="0">
                <a:ln>
                  <a:solidFill>
                    <a:srgbClr val="FFFFFF">
                      <a:alpha val="0"/>
                    </a:srgbClr>
                  </a:solidFill>
                </a:ln>
                <a:solidFill>
                  <a:srgbClr val="FFFFFF">
                    <a:alpha val="99000"/>
                  </a:srgbClr>
                </a:solidFill>
                <a:cs typeface="Segoe UI" pitchFamily="34" charset="0"/>
              </a:rPr>
              <a:t>HP Support Plus 24 and Proactive Mission Critical offerings</a:t>
            </a:r>
          </a:p>
        </p:txBody>
      </p:sp>
      <p:sp>
        <p:nvSpPr>
          <p:cNvPr id="2" name="Title 1"/>
          <p:cNvSpPr>
            <a:spLocks noGrp="1"/>
          </p:cNvSpPr>
          <p:nvPr>
            <p:ph type="title"/>
          </p:nvPr>
        </p:nvSpPr>
        <p:spPr/>
        <p:txBody>
          <a:bodyPr>
            <a:noAutofit/>
          </a:bodyPr>
          <a:lstStyle/>
          <a:p>
            <a:r>
              <a:rPr lang="en-US" sz="3000" dirty="0"/>
              <a:t>HP Solution for Database Consolidation</a:t>
            </a:r>
          </a:p>
        </p:txBody>
      </p:sp>
      <p:grpSp>
        <p:nvGrpSpPr>
          <p:cNvPr id="3" name="Group 18"/>
          <p:cNvGrpSpPr/>
          <p:nvPr/>
        </p:nvGrpSpPr>
        <p:grpSpPr>
          <a:xfrm>
            <a:off x="120035" y="1028700"/>
            <a:ext cx="2133600" cy="2130552"/>
            <a:chOff x="160003" y="1537791"/>
            <a:chExt cx="2844059" cy="2840736"/>
          </a:xfrm>
          <a:solidFill>
            <a:schemeClr val="accent5"/>
          </a:solidFill>
        </p:grpSpPr>
        <p:sp>
          <p:nvSpPr>
            <p:cNvPr id="6" name="Rectangle 5"/>
            <p:cNvSpPr/>
            <p:nvPr>
              <p:custDataLst>
                <p:tags r:id="rId8"/>
              </p:custDataLst>
            </p:nvPr>
          </p:nvSpPr>
          <p:spPr bwMode="auto">
            <a:xfrm>
              <a:off x="160003" y="1537791"/>
              <a:ext cx="2844059" cy="2840736"/>
            </a:xfrm>
            <a:prstGeom prst="rect">
              <a:avLst/>
            </a:prstGeom>
            <a:grp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1371600" rIns="91440" bIns="45720" numCol="1" rtlCol="0" anchor="ctr" anchorCtr="0" compatLnSpc="1">
              <a:prstTxWarp prst="textNoShape">
                <a:avLst/>
              </a:prstTxWarp>
              <a:noAutofit/>
            </a:bodyPr>
            <a:lstStyle/>
            <a:p>
              <a:pPr algn="ctr" defTabSz="914007" fontAlgn="base">
                <a:lnSpc>
                  <a:spcPct val="90000"/>
                </a:lnSpc>
                <a:spcBef>
                  <a:spcPts val="630"/>
                </a:spcBef>
                <a:spcAft>
                  <a:spcPct val="0"/>
                </a:spcAft>
                <a:buClr>
                  <a:srgbClr val="FFFF99"/>
                </a:buClr>
                <a:buSzPct val="120000"/>
                <a:defRPr/>
              </a:pPr>
              <a:r>
                <a:rPr lang="en-US" dirty="0">
                  <a:ln>
                    <a:solidFill>
                      <a:srgbClr val="FFFFFF">
                        <a:alpha val="0"/>
                      </a:srgbClr>
                    </a:solidFill>
                  </a:ln>
                  <a:solidFill>
                    <a:srgbClr val="FFFFFF">
                      <a:alpha val="99000"/>
                    </a:srgbClr>
                  </a:solidFill>
                  <a:cs typeface="Segoe UI" pitchFamily="34" charset="0"/>
                </a:rPr>
                <a:t>Performance and scalability</a:t>
              </a:r>
            </a:p>
          </p:txBody>
        </p:sp>
        <p:grpSp>
          <p:nvGrpSpPr>
            <p:cNvPr id="4" name="Group 13"/>
            <p:cNvGrpSpPr>
              <a:grpSpLocks noChangeAspect="1"/>
            </p:cNvGrpSpPr>
            <p:nvPr/>
          </p:nvGrpSpPr>
          <p:grpSpPr>
            <a:xfrm>
              <a:off x="541999" y="1921172"/>
              <a:ext cx="2080066" cy="1097280"/>
              <a:chOff x="379413" y="1781429"/>
              <a:chExt cx="2418136" cy="1275619"/>
            </a:xfrm>
            <a:grpFill/>
          </p:grpSpPr>
          <p:pic>
            <p:nvPicPr>
              <p:cNvPr id="42" name="Picture 41" descr="\\MAGNUM\Projects\Microsoft\Cloud Power FY12\Design\Icons\PNGs\Stop_watch.png"/>
              <p:cNvPicPr>
                <a:picLocks noChangeAspect="1" noChangeArrowheads="1"/>
              </p:cNvPicPr>
              <p:nvPr/>
            </p:nvPicPr>
            <p:blipFill>
              <a:blip r:embed="rId11" cstate="print">
                <a:lum bright="100000"/>
              </a:blip>
              <a:srcRect/>
              <a:stretch>
                <a:fillRect/>
              </a:stretch>
            </p:blipFill>
            <p:spPr bwMode="auto">
              <a:xfrm>
                <a:off x="379413" y="1781429"/>
                <a:ext cx="1275619" cy="1275619"/>
              </a:xfrm>
              <a:prstGeom prst="rect">
                <a:avLst/>
              </a:prstGeom>
              <a:grpFill/>
            </p:spPr>
          </p:pic>
          <p:pic>
            <p:nvPicPr>
              <p:cNvPr id="43" name="Picture 42" descr="\\MAGNUM\Projects\Microsoft\Cloud Power FY12\Design\Icons\PNGs\Scalable_Elastic_4.png"/>
              <p:cNvPicPr>
                <a:picLocks noChangeAspect="1" noChangeArrowheads="1"/>
              </p:cNvPicPr>
              <p:nvPr/>
            </p:nvPicPr>
            <p:blipFill>
              <a:blip r:embed="rId12" cstate="print">
                <a:lum bright="100000"/>
              </a:blip>
              <a:srcRect/>
              <a:stretch>
                <a:fillRect/>
              </a:stretch>
            </p:blipFill>
            <p:spPr bwMode="auto">
              <a:xfrm>
                <a:off x="1528162" y="1784545"/>
                <a:ext cx="1269387" cy="1269387"/>
              </a:xfrm>
              <a:prstGeom prst="rect">
                <a:avLst/>
              </a:prstGeom>
              <a:grpFill/>
            </p:spPr>
          </p:pic>
        </p:grpSp>
      </p:grpSp>
      <p:grpSp>
        <p:nvGrpSpPr>
          <p:cNvPr id="5" name="Group 19"/>
          <p:cNvGrpSpPr/>
          <p:nvPr/>
        </p:nvGrpSpPr>
        <p:grpSpPr>
          <a:xfrm>
            <a:off x="2389791" y="1028700"/>
            <a:ext cx="2133600" cy="2130552"/>
            <a:chOff x="3207208" y="1537791"/>
            <a:chExt cx="2844059" cy="2840736"/>
          </a:xfrm>
          <a:solidFill>
            <a:schemeClr val="accent1"/>
          </a:solidFill>
        </p:grpSpPr>
        <p:sp>
          <p:nvSpPr>
            <p:cNvPr id="7" name="Rectangle 6"/>
            <p:cNvSpPr/>
            <p:nvPr>
              <p:custDataLst>
                <p:tags r:id="rId7"/>
              </p:custDataLst>
            </p:nvPr>
          </p:nvSpPr>
          <p:spPr bwMode="auto">
            <a:xfrm>
              <a:off x="3207208" y="1537791"/>
              <a:ext cx="2844059" cy="2840736"/>
            </a:xfrm>
            <a:prstGeom prst="rect">
              <a:avLst/>
            </a:prstGeom>
            <a:grp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1371600" rIns="91440" bIns="45720" numCol="1" rtlCol="0" anchor="ctr" anchorCtr="0" compatLnSpc="1">
              <a:prstTxWarp prst="textNoShape">
                <a:avLst/>
              </a:prstTxWarp>
              <a:noAutofit/>
            </a:bodyPr>
            <a:lstStyle/>
            <a:p>
              <a:pPr algn="ctr" defTabSz="914007" fontAlgn="base">
                <a:lnSpc>
                  <a:spcPct val="90000"/>
                </a:lnSpc>
                <a:spcBef>
                  <a:spcPts val="630"/>
                </a:spcBef>
                <a:spcAft>
                  <a:spcPct val="0"/>
                </a:spcAft>
                <a:buClr>
                  <a:srgbClr val="FFFF99"/>
                </a:buClr>
                <a:buSzPct val="120000"/>
              </a:pPr>
              <a:r>
                <a:rPr lang="nb-NO" dirty="0">
                  <a:ln>
                    <a:solidFill>
                      <a:srgbClr val="FFFFFF">
                        <a:alpha val="0"/>
                      </a:srgbClr>
                    </a:solidFill>
                  </a:ln>
                  <a:solidFill>
                    <a:srgbClr val="FFFFFF">
                      <a:alpha val="99000"/>
                    </a:srgbClr>
                  </a:solidFill>
                  <a:cs typeface="Segoe UI" pitchFamily="34" charset="0"/>
                </a:rPr>
                <a:t>Private cloud tuned for </a:t>
              </a:r>
              <a:r>
                <a:rPr lang="nb-NO" dirty="0" smtClean="0">
                  <a:ln>
                    <a:solidFill>
                      <a:srgbClr val="FFFFFF">
                        <a:alpha val="0"/>
                      </a:srgbClr>
                    </a:solidFill>
                  </a:ln>
                  <a:solidFill>
                    <a:srgbClr val="FFFFFF">
                      <a:alpha val="99000"/>
                    </a:srgbClr>
                  </a:solidFill>
                  <a:cs typeface="Segoe UI" pitchFamily="34" charset="0"/>
                </a:rPr>
                <a:t>SQL Server</a:t>
              </a:r>
              <a:endParaRPr lang="nb-NO" dirty="0">
                <a:ln>
                  <a:solidFill>
                    <a:srgbClr val="FFFFFF">
                      <a:alpha val="0"/>
                    </a:srgbClr>
                  </a:solidFill>
                </a:ln>
                <a:solidFill>
                  <a:srgbClr val="FFFFFF">
                    <a:alpha val="99000"/>
                  </a:srgbClr>
                </a:solidFill>
                <a:cs typeface="Segoe UI" pitchFamily="34" charset="0"/>
              </a:endParaRPr>
            </a:p>
          </p:txBody>
        </p:sp>
        <p:grpSp>
          <p:nvGrpSpPr>
            <p:cNvPr id="14" name="Group 14"/>
            <p:cNvGrpSpPr>
              <a:grpSpLocks noChangeAspect="1"/>
            </p:cNvGrpSpPr>
            <p:nvPr/>
          </p:nvGrpSpPr>
          <p:grpSpPr>
            <a:xfrm>
              <a:off x="3373707" y="1646852"/>
              <a:ext cx="2564849" cy="1645920"/>
              <a:chOff x="3310871" y="1826638"/>
              <a:chExt cx="2707341" cy="1737360"/>
            </a:xfrm>
            <a:grpFill/>
          </p:grpSpPr>
          <p:pic>
            <p:nvPicPr>
              <p:cNvPr id="44" name="Picture 43" descr="\\MAGNUM\Projects\Microsoft\Cloud Power FY12\Design\ICONS_PNG\Private_Cloud.png"/>
              <p:cNvPicPr>
                <a:picLocks noChangeAspect="1" noChangeArrowheads="1"/>
              </p:cNvPicPr>
              <p:nvPr/>
            </p:nvPicPr>
            <p:blipFill>
              <a:blip r:embed="rId13" cstate="print">
                <a:lum bright="100000"/>
              </a:blip>
              <a:srcRect/>
              <a:stretch>
                <a:fillRect/>
              </a:stretch>
            </p:blipFill>
            <p:spPr bwMode="auto">
              <a:xfrm>
                <a:off x="3310871" y="1826638"/>
                <a:ext cx="1737360" cy="1737360"/>
              </a:xfrm>
              <a:prstGeom prst="rect">
                <a:avLst/>
              </a:prstGeom>
              <a:grpFill/>
            </p:spPr>
          </p:pic>
          <p:pic>
            <p:nvPicPr>
              <p:cNvPr id="45" name="Picture 44" descr="C:\Users\mitchellg\AppData\Local\Microsoft\Windows\Temporary Internet Files\Content.Outlook\DRES7FCJ\Storage_white (2).png"/>
              <p:cNvPicPr>
                <a:picLocks noChangeAspect="1" noChangeArrowheads="1"/>
              </p:cNvPicPr>
              <p:nvPr/>
            </p:nvPicPr>
            <p:blipFill>
              <a:blip r:embed="rId14" cstate="print">
                <a:lum bright="100000"/>
              </a:blip>
              <a:srcRect/>
              <a:stretch>
                <a:fillRect/>
              </a:stretch>
            </p:blipFill>
            <p:spPr bwMode="auto">
              <a:xfrm>
                <a:off x="4738052" y="2055238"/>
                <a:ext cx="1280160" cy="1280160"/>
              </a:xfrm>
              <a:prstGeom prst="rect">
                <a:avLst/>
              </a:prstGeom>
              <a:grpFill/>
            </p:spPr>
          </p:pic>
        </p:grpSp>
      </p:grpSp>
      <p:grpSp>
        <p:nvGrpSpPr>
          <p:cNvPr id="15" name="Group 63"/>
          <p:cNvGrpSpPr/>
          <p:nvPr/>
        </p:nvGrpSpPr>
        <p:grpSpPr>
          <a:xfrm>
            <a:off x="4659548" y="1028700"/>
            <a:ext cx="2133600" cy="2130552"/>
            <a:chOff x="6248568" y="1533756"/>
            <a:chExt cx="2844059" cy="2840736"/>
          </a:xfrm>
          <a:solidFill>
            <a:schemeClr val="accent5"/>
          </a:solidFill>
        </p:grpSpPr>
        <p:sp>
          <p:nvSpPr>
            <p:cNvPr id="8" name="Rectangle 7"/>
            <p:cNvSpPr/>
            <p:nvPr>
              <p:custDataLst>
                <p:tags r:id="rId6"/>
              </p:custDataLst>
            </p:nvPr>
          </p:nvSpPr>
          <p:spPr bwMode="auto">
            <a:xfrm>
              <a:off x="6248568" y="1533756"/>
              <a:ext cx="2844059" cy="2840736"/>
            </a:xfrm>
            <a:prstGeom prst="rect">
              <a:avLst/>
            </a:prstGeom>
            <a:grp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1371600" rIns="91440" bIns="45720" numCol="1" rtlCol="0" anchor="ctr" anchorCtr="0" compatLnSpc="1">
              <a:prstTxWarp prst="textNoShape">
                <a:avLst/>
              </a:prstTxWarp>
              <a:noAutofit/>
            </a:bodyPr>
            <a:lstStyle/>
            <a:p>
              <a:pPr algn="ctr" defTabSz="914007" fontAlgn="base">
                <a:lnSpc>
                  <a:spcPct val="90000"/>
                </a:lnSpc>
                <a:spcBef>
                  <a:spcPts val="630"/>
                </a:spcBef>
                <a:spcAft>
                  <a:spcPct val="0"/>
                </a:spcAft>
                <a:buClr>
                  <a:srgbClr val="FFFF99"/>
                </a:buClr>
                <a:buSzPct val="120000"/>
              </a:pPr>
              <a:r>
                <a:rPr lang="en-US" dirty="0">
                  <a:ln>
                    <a:solidFill>
                      <a:srgbClr val="FFFFFF">
                        <a:alpha val="0"/>
                      </a:srgbClr>
                    </a:solidFill>
                  </a:ln>
                  <a:solidFill>
                    <a:srgbClr val="FFFFFF">
                      <a:alpha val="99000"/>
                    </a:srgbClr>
                  </a:solidFill>
                  <a:cs typeface="Segoe UI" pitchFamily="34" charset="0"/>
                </a:rPr>
                <a:t>Unique appliance features</a:t>
              </a:r>
            </a:p>
          </p:txBody>
        </p:sp>
        <p:grpSp>
          <p:nvGrpSpPr>
            <p:cNvPr id="16" name="Group 15"/>
            <p:cNvGrpSpPr>
              <a:grpSpLocks noChangeAspect="1"/>
            </p:cNvGrpSpPr>
            <p:nvPr/>
          </p:nvGrpSpPr>
          <p:grpSpPr>
            <a:xfrm>
              <a:off x="6596901" y="1623992"/>
              <a:ext cx="1905346" cy="1691640"/>
              <a:chOff x="6429710" y="1631316"/>
              <a:chExt cx="2001115" cy="1776667"/>
            </a:xfrm>
            <a:grpFill/>
          </p:grpSpPr>
          <p:pic>
            <p:nvPicPr>
              <p:cNvPr id="46" name="Picture 45" descr="\\MAGNUM\Projects\Microsoft\Cloud Power FY12\Design\Icons\PNGs\Server_2.png"/>
              <p:cNvPicPr>
                <a:picLocks noChangeAspect="1" noChangeArrowheads="1"/>
              </p:cNvPicPr>
              <p:nvPr/>
            </p:nvPicPr>
            <p:blipFill>
              <a:blip r:embed="rId15" cstate="print">
                <a:lum bright="100000"/>
              </a:blip>
              <a:srcRect/>
              <a:stretch>
                <a:fillRect/>
              </a:stretch>
            </p:blipFill>
            <p:spPr bwMode="auto">
              <a:xfrm>
                <a:off x="6429710" y="1631316"/>
                <a:ext cx="1776667" cy="1776667"/>
              </a:xfrm>
              <a:prstGeom prst="rect">
                <a:avLst/>
              </a:prstGeom>
              <a:grpFill/>
            </p:spPr>
          </p:pic>
          <p:pic>
            <p:nvPicPr>
              <p:cNvPr id="47" name="Picture 46" descr="\\MAGNUM\Projects\Microsoft\Cloud Power FY12\Design\ICONS_PNG\Check_mark.png"/>
              <p:cNvPicPr>
                <a:picLocks noChangeAspect="1" noChangeArrowheads="1"/>
              </p:cNvPicPr>
              <p:nvPr/>
            </p:nvPicPr>
            <p:blipFill>
              <a:blip r:embed="rId16" cstate="print">
                <a:lum bright="100000"/>
              </a:blip>
              <a:srcRect/>
              <a:stretch>
                <a:fillRect/>
              </a:stretch>
            </p:blipFill>
            <p:spPr bwMode="auto">
              <a:xfrm>
                <a:off x="7670597" y="2184694"/>
                <a:ext cx="760228" cy="760228"/>
              </a:xfrm>
              <a:prstGeom prst="rect">
                <a:avLst/>
              </a:prstGeom>
              <a:grpFill/>
            </p:spPr>
          </p:pic>
        </p:grpSp>
      </p:grpSp>
      <p:grpSp>
        <p:nvGrpSpPr>
          <p:cNvPr id="17" name="Group 64"/>
          <p:cNvGrpSpPr/>
          <p:nvPr/>
        </p:nvGrpSpPr>
        <p:grpSpPr>
          <a:xfrm>
            <a:off x="6929307" y="1028700"/>
            <a:ext cx="2133600" cy="2130552"/>
            <a:chOff x="9236668" y="1539195"/>
            <a:chExt cx="2844059" cy="2840736"/>
          </a:xfrm>
          <a:solidFill>
            <a:schemeClr val="accent1"/>
          </a:solidFill>
        </p:grpSpPr>
        <p:sp>
          <p:nvSpPr>
            <p:cNvPr id="9" name="Rectangle 8"/>
            <p:cNvSpPr/>
            <p:nvPr>
              <p:custDataLst>
                <p:tags r:id="rId5"/>
              </p:custDataLst>
            </p:nvPr>
          </p:nvSpPr>
          <p:spPr bwMode="auto">
            <a:xfrm>
              <a:off x="9236668" y="1539195"/>
              <a:ext cx="2844059" cy="2840736"/>
            </a:xfrm>
            <a:prstGeom prst="rect">
              <a:avLst/>
            </a:prstGeom>
            <a:grp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1371600" rIns="91440" bIns="45720" numCol="1" rtlCol="0" anchor="ctr" anchorCtr="0" compatLnSpc="1">
              <a:prstTxWarp prst="textNoShape">
                <a:avLst/>
              </a:prstTxWarp>
              <a:noAutofit/>
            </a:bodyPr>
            <a:lstStyle/>
            <a:p>
              <a:pPr algn="ctr" defTabSz="914007" fontAlgn="base">
                <a:lnSpc>
                  <a:spcPct val="90000"/>
                </a:lnSpc>
                <a:spcBef>
                  <a:spcPts val="630"/>
                </a:spcBef>
                <a:spcAft>
                  <a:spcPct val="0"/>
                </a:spcAft>
                <a:buClr>
                  <a:srgbClr val="FFFF99"/>
                </a:buClr>
                <a:buSzPct val="120000"/>
              </a:pPr>
              <a:r>
                <a:rPr lang="en-US" dirty="0">
                  <a:ln>
                    <a:solidFill>
                      <a:srgbClr val="FFFFFF">
                        <a:alpha val="0"/>
                      </a:srgbClr>
                    </a:solidFill>
                  </a:ln>
                  <a:solidFill>
                    <a:srgbClr val="FFFFFF">
                      <a:alpha val="99000"/>
                    </a:srgbClr>
                  </a:solidFill>
                  <a:cs typeface="Segoe UI" pitchFamily="34" charset="0"/>
                </a:rPr>
                <a:t>Single point of support</a:t>
              </a:r>
            </a:p>
          </p:txBody>
        </p:sp>
        <p:pic>
          <p:nvPicPr>
            <p:cNvPr id="48" name="Picture 47" descr="\\MAGNUM\Projects\Microsoft\Cloud Power FY12\Design\ICONS_PNG\Flexible_Workspace.png"/>
            <p:cNvPicPr>
              <a:picLocks noChangeAspect="1" noChangeArrowheads="1"/>
            </p:cNvPicPr>
            <p:nvPr/>
          </p:nvPicPr>
          <p:blipFill>
            <a:blip r:embed="rId17" cstate="print">
              <a:lum bright="100000"/>
            </a:blip>
            <a:srcRect r="63636"/>
            <a:stretch>
              <a:fillRect/>
            </a:stretch>
          </p:blipFill>
          <p:spPr bwMode="auto">
            <a:xfrm>
              <a:off x="10326185" y="1555412"/>
              <a:ext cx="665025" cy="1828800"/>
            </a:xfrm>
            <a:prstGeom prst="rect">
              <a:avLst/>
            </a:prstGeom>
            <a:grpFill/>
            <a:ln>
              <a:noFill/>
            </a:ln>
          </p:spPr>
        </p:pic>
      </p:grpSp>
      <p:pic>
        <p:nvPicPr>
          <p:cNvPr id="25" name="Picture 2" descr="C:\Users\Jordan\Desktop\TechEd_2012\TechEd-logo.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386962" y="4619593"/>
            <a:ext cx="698151" cy="322326"/>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7"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9"/>
              </a:rPr>
              <a:t>www.rapidbbs.cn</a:t>
            </a:r>
            <a:endParaRPr lang="zh-CN" altLang="en-US" sz="1200" b="0">
              <a:latin typeface="Arial" charset="0"/>
              <a:ea typeface="ＭＳ Ｐゴシック" pitchFamily="34" charset="-128"/>
            </a:endParaRPr>
          </a:p>
        </p:txBody>
      </p:sp>
      <p:pic>
        <p:nvPicPr>
          <p:cNvPr id="28" name="Picture 2">
            <a:hlinkClick r:id="rId19"/>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85598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fill="hold"/>
                                        <p:tgtEl>
                                          <p:spTgt spid="3"/>
                                        </p:tgtEl>
                                        <p:attrNameLst>
                                          <p:attrName>ppt_x</p:attrName>
                                        </p:attrNameLst>
                                      </p:cBhvr>
                                      <p:tavLst>
                                        <p:tav tm="0">
                                          <p:val>
                                            <p:strVal val="#ppt_x"/>
                                          </p:val>
                                        </p:tav>
                                        <p:tav tm="100000">
                                          <p:val>
                                            <p:strVal val="#ppt_x"/>
                                          </p:val>
                                        </p:tav>
                                      </p:tavLst>
                                    </p:anim>
                                    <p:anim calcmode="lin" valueType="num">
                                      <p:cBhvr additive="base">
                                        <p:cTn id="8" dur="1000" fill="hold"/>
                                        <p:tgtEl>
                                          <p:spTgt spid="3"/>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1000" fill="hold"/>
                                        <p:tgtEl>
                                          <p:spTgt spid="10"/>
                                        </p:tgtEl>
                                        <p:attrNameLst>
                                          <p:attrName>ppt_x</p:attrName>
                                        </p:attrNameLst>
                                      </p:cBhvr>
                                      <p:tavLst>
                                        <p:tav tm="0">
                                          <p:val>
                                            <p:strVal val="#ppt_x"/>
                                          </p:val>
                                        </p:tav>
                                        <p:tav tm="100000">
                                          <p:val>
                                            <p:strVal val="#ppt_x"/>
                                          </p:val>
                                        </p:tav>
                                      </p:tavLst>
                                    </p:anim>
                                    <p:anim calcmode="lin" valueType="num">
                                      <p:cBhvr additive="base">
                                        <p:cTn id="12" dur="1000" fill="hold"/>
                                        <p:tgtEl>
                                          <p:spTgt spid="10"/>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25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1000" fill="hold"/>
                                        <p:tgtEl>
                                          <p:spTgt spid="5"/>
                                        </p:tgtEl>
                                        <p:attrNameLst>
                                          <p:attrName>ppt_x</p:attrName>
                                        </p:attrNameLst>
                                      </p:cBhvr>
                                      <p:tavLst>
                                        <p:tav tm="0">
                                          <p:val>
                                            <p:strVal val="#ppt_x"/>
                                          </p:val>
                                        </p:tav>
                                        <p:tav tm="100000">
                                          <p:val>
                                            <p:strVal val="#ppt_x"/>
                                          </p:val>
                                        </p:tav>
                                      </p:tavLst>
                                    </p:anim>
                                    <p:anim calcmode="lin" valueType="num">
                                      <p:cBhvr additive="base">
                                        <p:cTn id="16" dur="1000" fill="hold"/>
                                        <p:tgtEl>
                                          <p:spTgt spid="5"/>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250"/>
                                  </p:stCondLst>
                                  <p:childTnLst>
                                    <p:set>
                                      <p:cBhvr>
                                        <p:cTn id="18" dur="1" fill="hold">
                                          <p:stCondLst>
                                            <p:cond delay="0"/>
                                          </p:stCondLst>
                                        </p:cTn>
                                        <p:tgtEl>
                                          <p:spTgt spid="11"/>
                                        </p:tgtEl>
                                        <p:attrNameLst>
                                          <p:attrName>style.visibility</p:attrName>
                                        </p:attrNameLst>
                                      </p:cBhvr>
                                      <p:to>
                                        <p:strVal val="visible"/>
                                      </p:to>
                                    </p:set>
                                    <p:anim calcmode="lin" valueType="num">
                                      <p:cBhvr additive="base">
                                        <p:cTn id="19" dur="1000" fill="hold"/>
                                        <p:tgtEl>
                                          <p:spTgt spid="11"/>
                                        </p:tgtEl>
                                        <p:attrNameLst>
                                          <p:attrName>ppt_x</p:attrName>
                                        </p:attrNameLst>
                                      </p:cBhvr>
                                      <p:tavLst>
                                        <p:tav tm="0">
                                          <p:val>
                                            <p:strVal val="#ppt_x"/>
                                          </p:val>
                                        </p:tav>
                                        <p:tav tm="100000">
                                          <p:val>
                                            <p:strVal val="#ppt_x"/>
                                          </p:val>
                                        </p:tav>
                                      </p:tavLst>
                                    </p:anim>
                                    <p:anim calcmode="lin" valueType="num">
                                      <p:cBhvr additive="base">
                                        <p:cTn id="20" dur="1000" fill="hold"/>
                                        <p:tgtEl>
                                          <p:spTgt spid="11"/>
                                        </p:tgtEl>
                                        <p:attrNameLst>
                                          <p:attrName>ppt_y</p:attrName>
                                        </p:attrNameLst>
                                      </p:cBhvr>
                                      <p:tavLst>
                                        <p:tav tm="0">
                                          <p:val>
                                            <p:strVal val="1+#ppt_h/2"/>
                                          </p:val>
                                        </p:tav>
                                        <p:tav tm="100000">
                                          <p:val>
                                            <p:strVal val="#ppt_y"/>
                                          </p:val>
                                        </p:tav>
                                      </p:tavLst>
                                    </p:anim>
                                  </p:childTnLst>
                                </p:cTn>
                              </p:par>
                              <p:par>
                                <p:cTn id="21" presetID="2" presetClass="entr" presetSubtype="4" decel="100000" fill="hold" nodeType="withEffect">
                                  <p:stCondLst>
                                    <p:cond delay="500"/>
                                  </p:stCondLst>
                                  <p:childTnLst>
                                    <p:set>
                                      <p:cBhvr>
                                        <p:cTn id="22" dur="1" fill="hold">
                                          <p:stCondLst>
                                            <p:cond delay="0"/>
                                          </p:stCondLst>
                                        </p:cTn>
                                        <p:tgtEl>
                                          <p:spTgt spid="15"/>
                                        </p:tgtEl>
                                        <p:attrNameLst>
                                          <p:attrName>style.visibility</p:attrName>
                                        </p:attrNameLst>
                                      </p:cBhvr>
                                      <p:to>
                                        <p:strVal val="visible"/>
                                      </p:to>
                                    </p:set>
                                    <p:anim calcmode="lin" valueType="num">
                                      <p:cBhvr additive="base">
                                        <p:cTn id="23" dur="1000" fill="hold"/>
                                        <p:tgtEl>
                                          <p:spTgt spid="15"/>
                                        </p:tgtEl>
                                        <p:attrNameLst>
                                          <p:attrName>ppt_x</p:attrName>
                                        </p:attrNameLst>
                                      </p:cBhvr>
                                      <p:tavLst>
                                        <p:tav tm="0">
                                          <p:val>
                                            <p:strVal val="#ppt_x"/>
                                          </p:val>
                                        </p:tav>
                                        <p:tav tm="100000">
                                          <p:val>
                                            <p:strVal val="#ppt_x"/>
                                          </p:val>
                                        </p:tav>
                                      </p:tavLst>
                                    </p:anim>
                                    <p:anim calcmode="lin" valueType="num">
                                      <p:cBhvr additive="base">
                                        <p:cTn id="24" dur="1000" fill="hold"/>
                                        <p:tgtEl>
                                          <p:spTgt spid="15"/>
                                        </p:tgtEl>
                                        <p:attrNameLst>
                                          <p:attrName>ppt_y</p:attrName>
                                        </p:attrNameLst>
                                      </p:cBhvr>
                                      <p:tavLst>
                                        <p:tav tm="0">
                                          <p:val>
                                            <p:strVal val="1+#ppt_h/2"/>
                                          </p:val>
                                        </p:tav>
                                        <p:tav tm="100000">
                                          <p:val>
                                            <p:strVal val="#ppt_y"/>
                                          </p:val>
                                        </p:tav>
                                      </p:tavLst>
                                    </p:anim>
                                  </p:childTnLst>
                                </p:cTn>
                              </p:par>
                              <p:par>
                                <p:cTn id="25" presetID="2" presetClass="entr" presetSubtype="4" decel="100000" fill="hold" grpId="0" nodeType="withEffect">
                                  <p:stCondLst>
                                    <p:cond delay="50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1000" fill="hold"/>
                                        <p:tgtEl>
                                          <p:spTgt spid="12"/>
                                        </p:tgtEl>
                                        <p:attrNameLst>
                                          <p:attrName>ppt_x</p:attrName>
                                        </p:attrNameLst>
                                      </p:cBhvr>
                                      <p:tavLst>
                                        <p:tav tm="0">
                                          <p:val>
                                            <p:strVal val="#ppt_x"/>
                                          </p:val>
                                        </p:tav>
                                        <p:tav tm="100000">
                                          <p:val>
                                            <p:strVal val="#ppt_x"/>
                                          </p:val>
                                        </p:tav>
                                      </p:tavLst>
                                    </p:anim>
                                    <p:anim calcmode="lin" valueType="num">
                                      <p:cBhvr additive="base">
                                        <p:cTn id="28" dur="1000" fill="hold"/>
                                        <p:tgtEl>
                                          <p:spTgt spid="12"/>
                                        </p:tgtEl>
                                        <p:attrNameLst>
                                          <p:attrName>ppt_y</p:attrName>
                                        </p:attrNameLst>
                                      </p:cBhvr>
                                      <p:tavLst>
                                        <p:tav tm="0">
                                          <p:val>
                                            <p:strVal val="1+#ppt_h/2"/>
                                          </p:val>
                                        </p:tav>
                                        <p:tav tm="100000">
                                          <p:val>
                                            <p:strVal val="#ppt_y"/>
                                          </p:val>
                                        </p:tav>
                                      </p:tavLst>
                                    </p:anim>
                                  </p:childTnLst>
                                </p:cTn>
                              </p:par>
                              <p:par>
                                <p:cTn id="29" presetID="2" presetClass="entr" presetSubtype="4" decel="100000" fill="hold" nodeType="withEffect">
                                  <p:stCondLst>
                                    <p:cond delay="750"/>
                                  </p:stCondLst>
                                  <p:childTnLst>
                                    <p:set>
                                      <p:cBhvr>
                                        <p:cTn id="30" dur="1" fill="hold">
                                          <p:stCondLst>
                                            <p:cond delay="0"/>
                                          </p:stCondLst>
                                        </p:cTn>
                                        <p:tgtEl>
                                          <p:spTgt spid="17"/>
                                        </p:tgtEl>
                                        <p:attrNameLst>
                                          <p:attrName>style.visibility</p:attrName>
                                        </p:attrNameLst>
                                      </p:cBhvr>
                                      <p:to>
                                        <p:strVal val="visible"/>
                                      </p:to>
                                    </p:set>
                                    <p:anim calcmode="lin" valueType="num">
                                      <p:cBhvr additive="base">
                                        <p:cTn id="31" dur="1000" fill="hold"/>
                                        <p:tgtEl>
                                          <p:spTgt spid="17"/>
                                        </p:tgtEl>
                                        <p:attrNameLst>
                                          <p:attrName>ppt_x</p:attrName>
                                        </p:attrNameLst>
                                      </p:cBhvr>
                                      <p:tavLst>
                                        <p:tav tm="0">
                                          <p:val>
                                            <p:strVal val="#ppt_x"/>
                                          </p:val>
                                        </p:tav>
                                        <p:tav tm="100000">
                                          <p:val>
                                            <p:strVal val="#ppt_x"/>
                                          </p:val>
                                        </p:tav>
                                      </p:tavLst>
                                    </p:anim>
                                    <p:anim calcmode="lin" valueType="num">
                                      <p:cBhvr additive="base">
                                        <p:cTn id="32" dur="1000" fill="hold"/>
                                        <p:tgtEl>
                                          <p:spTgt spid="17"/>
                                        </p:tgtEl>
                                        <p:attrNameLst>
                                          <p:attrName>ppt_y</p:attrName>
                                        </p:attrNameLst>
                                      </p:cBhvr>
                                      <p:tavLst>
                                        <p:tav tm="0">
                                          <p:val>
                                            <p:strVal val="1+#ppt_h/2"/>
                                          </p:val>
                                        </p:tav>
                                        <p:tav tm="100000">
                                          <p:val>
                                            <p:strVal val="#ppt_y"/>
                                          </p:val>
                                        </p:tav>
                                      </p:tavLst>
                                    </p:anim>
                                  </p:childTnLst>
                                </p:cTn>
                              </p:par>
                              <p:par>
                                <p:cTn id="33" presetID="2" presetClass="entr" presetSubtype="4" decel="100000" fill="hold" grpId="0" nodeType="withEffect">
                                  <p:stCondLst>
                                    <p:cond delay="750"/>
                                  </p:stCondLst>
                                  <p:childTnLst>
                                    <p:set>
                                      <p:cBhvr>
                                        <p:cTn id="34" dur="1" fill="hold">
                                          <p:stCondLst>
                                            <p:cond delay="0"/>
                                          </p:stCondLst>
                                        </p:cTn>
                                        <p:tgtEl>
                                          <p:spTgt spid="13"/>
                                        </p:tgtEl>
                                        <p:attrNameLst>
                                          <p:attrName>style.visibility</p:attrName>
                                        </p:attrNameLst>
                                      </p:cBhvr>
                                      <p:to>
                                        <p:strVal val="visible"/>
                                      </p:to>
                                    </p:set>
                                    <p:anim calcmode="lin" valueType="num">
                                      <p:cBhvr additive="base">
                                        <p:cTn id="35" dur="1000" fill="hold"/>
                                        <p:tgtEl>
                                          <p:spTgt spid="13"/>
                                        </p:tgtEl>
                                        <p:attrNameLst>
                                          <p:attrName>ppt_x</p:attrName>
                                        </p:attrNameLst>
                                      </p:cBhvr>
                                      <p:tavLst>
                                        <p:tav tm="0">
                                          <p:val>
                                            <p:strVal val="#ppt_x"/>
                                          </p:val>
                                        </p:tav>
                                        <p:tav tm="100000">
                                          <p:val>
                                            <p:strVal val="#ppt_x"/>
                                          </p:val>
                                        </p:tav>
                                      </p:tavLst>
                                    </p:anim>
                                    <p:anim calcmode="lin" valueType="num">
                                      <p:cBhvr additive="base">
                                        <p:cTn id="36" dur="10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45" y="171452"/>
            <a:ext cx="8363938" cy="467436"/>
          </a:xfrm>
        </p:spPr>
        <p:txBody>
          <a:bodyPr/>
          <a:lstStyle/>
          <a:p>
            <a:r>
              <a:rPr lang="en-US" sz="3400" dirty="0"/>
              <a:t>Windows Azure Cross-Premises Connectivity</a:t>
            </a:r>
          </a:p>
        </p:txBody>
      </p:sp>
      <p:sp>
        <p:nvSpPr>
          <p:cNvPr id="112" name="Rectangle 111"/>
          <p:cNvSpPr/>
          <p:nvPr/>
        </p:nvSpPr>
        <p:spPr bwMode="auto">
          <a:xfrm>
            <a:off x="1814000" y="952343"/>
            <a:ext cx="1487118" cy="382905"/>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7062" tIns="28531" rIns="57062" bIns="28531" numCol="1" rtlCol="0" anchor="ctr" anchorCtr="0" compatLnSpc="1">
            <a:prstTxWarp prst="textNoShape">
              <a:avLst/>
            </a:prstTxWarp>
          </a:bodyPr>
          <a:lstStyle/>
          <a:p>
            <a:pPr algn="ctr" defTabSz="570501" fontAlgn="base">
              <a:spcBef>
                <a:spcPct val="0"/>
              </a:spcBef>
              <a:spcAft>
                <a:spcPct val="0"/>
              </a:spcAft>
            </a:pPr>
            <a:r>
              <a:rPr lang="en-US" dirty="0" smtClean="0">
                <a:gradFill>
                  <a:gsLst>
                    <a:gs pos="0">
                      <a:srgbClr val="FFFFFF"/>
                    </a:gs>
                    <a:gs pos="100000">
                      <a:srgbClr val="FFFFFF"/>
                    </a:gs>
                  </a:gsLst>
                  <a:lin ang="5400000" scaled="0"/>
                </a:gradFill>
              </a:rPr>
              <a:t>Cloud</a:t>
            </a:r>
            <a:endParaRPr lang="en-US" dirty="0">
              <a:gradFill>
                <a:gsLst>
                  <a:gs pos="0">
                    <a:srgbClr val="FFFFFF"/>
                  </a:gs>
                  <a:gs pos="100000">
                    <a:srgbClr val="FFFFFF"/>
                  </a:gs>
                </a:gsLst>
                <a:lin ang="5400000" scaled="0"/>
              </a:gradFill>
            </a:endParaRPr>
          </a:p>
        </p:txBody>
      </p:sp>
      <p:sp>
        <p:nvSpPr>
          <p:cNvPr id="113" name="Rectangle 112"/>
          <p:cNvSpPr/>
          <p:nvPr/>
        </p:nvSpPr>
        <p:spPr bwMode="auto">
          <a:xfrm>
            <a:off x="5846394" y="952343"/>
            <a:ext cx="1485900" cy="382905"/>
          </a:xfrm>
          <a:prstGeom prst="rect">
            <a:avLst/>
          </a:prstGeom>
          <a:solidFill>
            <a:schemeClr val="accent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7062" tIns="28531" rIns="57062" bIns="28531" numCol="1" rtlCol="0" anchor="ctr" anchorCtr="0" compatLnSpc="1">
            <a:prstTxWarp prst="textNoShape">
              <a:avLst/>
            </a:prstTxWarp>
          </a:bodyPr>
          <a:lstStyle/>
          <a:p>
            <a:pPr algn="ctr" defTabSz="570501" fontAlgn="base">
              <a:spcBef>
                <a:spcPct val="0"/>
              </a:spcBef>
              <a:spcAft>
                <a:spcPct val="0"/>
              </a:spcAft>
            </a:pPr>
            <a:r>
              <a:rPr lang="en-US" dirty="0" smtClean="0">
                <a:gradFill>
                  <a:gsLst>
                    <a:gs pos="0">
                      <a:srgbClr val="FFFFFF"/>
                    </a:gs>
                    <a:gs pos="100000">
                      <a:srgbClr val="FFFFFF"/>
                    </a:gs>
                  </a:gsLst>
                  <a:lin ang="5400000" scaled="0"/>
                </a:gradFill>
              </a:rPr>
              <a:t>Enterprise</a:t>
            </a:r>
            <a:endParaRPr lang="en-US" dirty="0">
              <a:gradFill>
                <a:gsLst>
                  <a:gs pos="0">
                    <a:srgbClr val="FFFFFF"/>
                  </a:gs>
                  <a:gs pos="100000">
                    <a:srgbClr val="FFFFFF"/>
                  </a:gs>
                </a:gsLst>
                <a:lin ang="5400000" scaled="0"/>
              </a:gradFill>
            </a:endParaRPr>
          </a:p>
        </p:txBody>
      </p:sp>
      <p:grpSp>
        <p:nvGrpSpPr>
          <p:cNvPr id="5" name="Group 4"/>
          <p:cNvGrpSpPr/>
          <p:nvPr/>
        </p:nvGrpSpPr>
        <p:grpSpPr>
          <a:xfrm>
            <a:off x="1821867" y="2908066"/>
            <a:ext cx="5510433" cy="812690"/>
            <a:chOff x="2916925" y="4017731"/>
            <a:chExt cx="8816693" cy="1300303"/>
          </a:xfrm>
        </p:grpSpPr>
        <p:sp>
          <p:nvSpPr>
            <p:cNvPr id="142" name="Freeform 141"/>
            <p:cNvSpPr/>
            <p:nvPr/>
          </p:nvSpPr>
          <p:spPr>
            <a:xfrm rot="5400000">
              <a:off x="3631131" y="3303526"/>
              <a:ext cx="950976"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5"/>
            </a:solidFill>
            <a:ln w="12700" cap="flat" cmpd="thickThin" algn="ctr">
              <a:noFill/>
              <a:prstDash val="solid"/>
            </a:ln>
            <a:effectLst/>
          </p:spPr>
          <p:txBody>
            <a:bodyPr lIns="3046613" tIns="38082" rIns="76162" bIns="38082" rtlCol="0" anchor="ctr"/>
            <a:lstStyle/>
            <a:p>
              <a:pPr marL="239331" indent="-239331" defTabSz="475342">
                <a:lnSpc>
                  <a:spcPct val="90000"/>
                </a:lnSpc>
                <a:spcBef>
                  <a:spcPct val="20000"/>
                </a:spcBef>
                <a:buSzPct val="90000"/>
                <a:buBlip>
                  <a:blip r:embed="rId3"/>
                </a:buBlip>
              </a:pPr>
              <a:endParaRPr lang="en-US" dirty="0">
                <a:gradFill>
                  <a:gsLst>
                    <a:gs pos="0">
                      <a:schemeClr val="tx1"/>
                    </a:gs>
                    <a:gs pos="86000">
                      <a:schemeClr val="tx1"/>
                    </a:gs>
                  </a:gsLst>
                  <a:lin ang="5400000" scaled="0"/>
                </a:gradFill>
              </a:endParaRPr>
            </a:p>
          </p:txBody>
        </p:sp>
        <p:sp>
          <p:nvSpPr>
            <p:cNvPr id="143" name="Freeform 142"/>
            <p:cNvSpPr/>
            <p:nvPr/>
          </p:nvSpPr>
          <p:spPr>
            <a:xfrm rot="5400000">
              <a:off x="10068436" y="3303525"/>
              <a:ext cx="950976"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12700" cap="flat" cmpd="thickThin" algn="ctr">
              <a:noFill/>
              <a:prstDash val="solid"/>
            </a:ln>
            <a:effectLst/>
          </p:spPr>
          <p:txBody>
            <a:bodyPr lIns="3046613" tIns="38082" rIns="76162" bIns="38082" rtlCol="0" anchor="ctr"/>
            <a:lstStyle/>
            <a:p>
              <a:pPr marL="239331" indent="-239331" defTabSz="475342">
                <a:lnSpc>
                  <a:spcPct val="90000"/>
                </a:lnSpc>
                <a:spcBef>
                  <a:spcPct val="20000"/>
                </a:spcBef>
                <a:buSzPct val="90000"/>
                <a:buBlip>
                  <a:blip r:embed="rId3"/>
                </a:buBlip>
              </a:pPr>
              <a:endParaRPr lang="en-US" dirty="0">
                <a:gradFill>
                  <a:gsLst>
                    <a:gs pos="0">
                      <a:schemeClr val="tx1"/>
                    </a:gs>
                    <a:gs pos="86000">
                      <a:schemeClr val="tx1"/>
                    </a:gs>
                  </a:gsLst>
                  <a:lin ang="5400000" scaled="0"/>
                </a:gradFill>
              </a:endParaRPr>
            </a:p>
          </p:txBody>
        </p:sp>
        <p:sp>
          <p:nvSpPr>
            <p:cNvPr id="106" name="Rectangle 105"/>
            <p:cNvSpPr/>
            <p:nvPr/>
          </p:nvSpPr>
          <p:spPr>
            <a:xfrm>
              <a:off x="5689768" y="4136211"/>
              <a:ext cx="3372363" cy="1181823"/>
            </a:xfrm>
            <a:prstGeom prst="rect">
              <a:avLst/>
            </a:prstGeom>
          </p:spPr>
          <p:txBody>
            <a:bodyPr wrap="square" lIns="121893" tIns="60948" rIns="121893" bIns="60948">
              <a:spAutoFit/>
            </a:bodyPr>
            <a:lstStyle/>
            <a:p>
              <a:pPr algn="ctr" defTabSz="475422" fontAlgn="base">
                <a:lnSpc>
                  <a:spcPct val="80000"/>
                </a:lnSpc>
              </a:pPr>
              <a:r>
                <a:rPr lang="en-US" dirty="0" smtClean="0">
                  <a:gradFill>
                    <a:gsLst>
                      <a:gs pos="0">
                        <a:schemeClr val="tx1"/>
                      </a:gs>
                      <a:gs pos="86000">
                        <a:schemeClr val="tx1"/>
                      </a:gs>
                    </a:gsLst>
                    <a:lin ang="5400000" scaled="0"/>
                  </a:gradFill>
                </a:rPr>
                <a:t>Application-Layer </a:t>
              </a:r>
              <a:endParaRPr lang="en-US" dirty="0">
                <a:gradFill>
                  <a:gsLst>
                    <a:gs pos="0">
                      <a:schemeClr val="tx1"/>
                    </a:gs>
                    <a:gs pos="86000">
                      <a:schemeClr val="tx1"/>
                    </a:gs>
                  </a:gsLst>
                  <a:lin ang="5400000" scaled="0"/>
                </a:gradFill>
              </a:endParaRPr>
            </a:p>
            <a:p>
              <a:pPr algn="ctr" defTabSz="475422" fontAlgn="base">
                <a:lnSpc>
                  <a:spcPct val="80000"/>
                </a:lnSpc>
              </a:pPr>
              <a:r>
                <a:rPr lang="en-US" dirty="0">
                  <a:gradFill>
                    <a:gsLst>
                      <a:gs pos="0">
                        <a:schemeClr val="tx1"/>
                      </a:gs>
                      <a:gs pos="86000">
                        <a:schemeClr val="tx1"/>
                      </a:gs>
                    </a:gsLst>
                    <a:lin ang="5400000" scaled="0"/>
                  </a:gradFill>
                </a:rPr>
                <a:t>Connectivity &amp; Messaging </a:t>
              </a:r>
            </a:p>
            <a:p>
              <a:pPr algn="ctr" defTabSz="475422" fontAlgn="base">
                <a:lnSpc>
                  <a:spcPct val="80000"/>
                </a:lnSpc>
              </a:pPr>
              <a:r>
                <a:rPr lang="en-US" sz="800" dirty="0">
                  <a:gradFill>
                    <a:gsLst>
                      <a:gs pos="0">
                        <a:schemeClr val="tx1"/>
                      </a:gs>
                      <a:gs pos="86000">
                        <a:schemeClr val="tx1"/>
                      </a:gs>
                    </a:gsLst>
                    <a:lin ang="5400000" scaled="0"/>
                  </a:gradFill>
                </a:rPr>
                <a:t>Service Bus</a:t>
              </a:r>
            </a:p>
          </p:txBody>
        </p:sp>
        <p:cxnSp>
          <p:nvCxnSpPr>
            <p:cNvPr id="107" name="Straight Connector 106"/>
            <p:cNvCxnSpPr/>
            <p:nvPr/>
          </p:nvCxnSpPr>
          <p:spPr>
            <a:xfrm>
              <a:off x="8169447" y="4493219"/>
              <a:ext cx="1418672" cy="0"/>
            </a:xfrm>
            <a:prstGeom prst="line">
              <a:avLst/>
            </a:prstGeom>
            <a:ln w="38100">
              <a:gradFill>
                <a:gsLst>
                  <a:gs pos="0">
                    <a:schemeClr val="accent2">
                      <a:lumMod val="40000"/>
                      <a:lumOff val="60000"/>
                    </a:schemeClr>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flipH="1">
              <a:off x="5093170" y="4493219"/>
              <a:ext cx="1483384" cy="0"/>
            </a:xfrm>
            <a:prstGeom prst="line">
              <a:avLst/>
            </a:prstGeom>
            <a:ln w="38100">
              <a:gradFill>
                <a:gsLst>
                  <a:gs pos="0">
                    <a:schemeClr val="accent5">
                      <a:lumMod val="40000"/>
                      <a:lumOff val="60000"/>
                    </a:schemeClr>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grpSp>
          <p:nvGrpSpPr>
            <p:cNvPr id="115" name="Group 114"/>
            <p:cNvGrpSpPr/>
            <p:nvPr/>
          </p:nvGrpSpPr>
          <p:grpSpPr bwMode="black">
            <a:xfrm>
              <a:off x="3665820" y="4199843"/>
              <a:ext cx="721231" cy="586753"/>
              <a:chOff x="5184775" y="225425"/>
              <a:chExt cx="1500188" cy="1220788"/>
            </a:xfrm>
            <a:solidFill>
              <a:srgbClr val="FFFFFF"/>
            </a:solidFill>
          </p:grpSpPr>
          <p:sp>
            <p:nvSpPr>
              <p:cNvPr id="116"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gradFill>
                    <a:gsLst>
                      <a:gs pos="0">
                        <a:schemeClr val="tx1"/>
                      </a:gs>
                      <a:gs pos="86000">
                        <a:schemeClr val="tx1"/>
                      </a:gs>
                    </a:gsLst>
                    <a:lin ang="5400000" scaled="0"/>
                  </a:gradFill>
                </a:endParaRPr>
              </a:p>
            </p:txBody>
          </p:sp>
          <p:sp>
            <p:nvSpPr>
              <p:cNvPr id="117"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gradFill>
                    <a:gsLst>
                      <a:gs pos="0">
                        <a:schemeClr val="tx1"/>
                      </a:gs>
                      <a:gs pos="86000">
                        <a:schemeClr val="tx1"/>
                      </a:gs>
                    </a:gsLst>
                    <a:lin ang="5400000" scaled="0"/>
                  </a:gradFill>
                </a:endParaRPr>
              </a:p>
            </p:txBody>
          </p:sp>
          <p:sp>
            <p:nvSpPr>
              <p:cNvPr id="118"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gradFill>
                    <a:gsLst>
                      <a:gs pos="0">
                        <a:schemeClr val="tx1"/>
                      </a:gs>
                      <a:gs pos="86000">
                        <a:schemeClr val="tx1"/>
                      </a:gs>
                    </a:gsLst>
                    <a:lin ang="5400000" scaled="0"/>
                  </a:gradFill>
                </a:endParaRPr>
              </a:p>
            </p:txBody>
          </p:sp>
        </p:grpSp>
        <p:grpSp>
          <p:nvGrpSpPr>
            <p:cNvPr id="119" name="Group 118"/>
            <p:cNvGrpSpPr/>
            <p:nvPr/>
          </p:nvGrpSpPr>
          <p:grpSpPr bwMode="black">
            <a:xfrm>
              <a:off x="10136281" y="4199843"/>
              <a:ext cx="721231" cy="586753"/>
              <a:chOff x="5184775" y="225425"/>
              <a:chExt cx="1500188" cy="1220788"/>
            </a:xfrm>
            <a:solidFill>
              <a:srgbClr val="FFFFFF"/>
            </a:solidFill>
          </p:grpSpPr>
          <p:sp>
            <p:nvSpPr>
              <p:cNvPr id="120"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gradFill>
                    <a:gsLst>
                      <a:gs pos="0">
                        <a:schemeClr val="tx1"/>
                      </a:gs>
                      <a:gs pos="86000">
                        <a:schemeClr val="tx1"/>
                      </a:gs>
                    </a:gsLst>
                    <a:lin ang="5400000" scaled="0"/>
                  </a:gradFill>
                </a:endParaRPr>
              </a:p>
            </p:txBody>
          </p:sp>
          <p:sp>
            <p:nvSpPr>
              <p:cNvPr id="121"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gradFill>
                    <a:gsLst>
                      <a:gs pos="0">
                        <a:schemeClr val="tx1"/>
                      </a:gs>
                      <a:gs pos="86000">
                        <a:schemeClr val="tx1"/>
                      </a:gs>
                    </a:gsLst>
                    <a:lin ang="5400000" scaled="0"/>
                  </a:gradFill>
                </a:endParaRPr>
              </a:p>
            </p:txBody>
          </p:sp>
          <p:sp>
            <p:nvSpPr>
              <p:cNvPr id="122"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gradFill>
                    <a:gsLst>
                      <a:gs pos="0">
                        <a:schemeClr val="tx1"/>
                      </a:gs>
                      <a:gs pos="86000">
                        <a:schemeClr val="tx1"/>
                      </a:gs>
                    </a:gsLst>
                    <a:lin ang="5400000" scaled="0"/>
                  </a:gradFill>
                </a:endParaRPr>
              </a:p>
            </p:txBody>
          </p:sp>
        </p:grpSp>
      </p:grpSp>
      <p:grpSp>
        <p:nvGrpSpPr>
          <p:cNvPr id="6" name="Group 5"/>
          <p:cNvGrpSpPr/>
          <p:nvPr/>
        </p:nvGrpSpPr>
        <p:grpSpPr>
          <a:xfrm>
            <a:off x="1821860" y="2184320"/>
            <a:ext cx="5510433" cy="594360"/>
            <a:chOff x="2916926" y="2704298"/>
            <a:chExt cx="8816692" cy="950976"/>
          </a:xfrm>
        </p:grpSpPr>
        <p:sp>
          <p:nvSpPr>
            <p:cNvPr id="97" name="Freeform 96"/>
            <p:cNvSpPr/>
            <p:nvPr/>
          </p:nvSpPr>
          <p:spPr>
            <a:xfrm rot="5400000">
              <a:off x="10068436" y="1990092"/>
              <a:ext cx="950976"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12700" cap="flat" cmpd="thickThin" algn="ctr">
              <a:noFill/>
              <a:prstDash val="solid"/>
            </a:ln>
            <a:effectLst/>
          </p:spPr>
          <p:txBody>
            <a:bodyPr lIns="3046613" tIns="38082" rIns="76162" bIns="38082" rtlCol="0" anchor="ctr"/>
            <a:lstStyle/>
            <a:p>
              <a:pPr marL="239331" indent="-239331" defTabSz="475342">
                <a:lnSpc>
                  <a:spcPct val="90000"/>
                </a:lnSpc>
                <a:spcBef>
                  <a:spcPct val="20000"/>
                </a:spcBef>
                <a:buSzPct val="90000"/>
                <a:buBlip>
                  <a:blip r:embed="rId3"/>
                </a:buBlip>
              </a:pPr>
              <a:endParaRPr lang="en-US" dirty="0">
                <a:gradFill>
                  <a:gsLst>
                    <a:gs pos="0">
                      <a:schemeClr val="tx1"/>
                    </a:gs>
                    <a:gs pos="86000">
                      <a:schemeClr val="tx1"/>
                    </a:gs>
                  </a:gsLst>
                  <a:lin ang="5400000" scaled="0"/>
                </a:gradFill>
              </a:endParaRPr>
            </a:p>
          </p:txBody>
        </p:sp>
        <p:sp>
          <p:nvSpPr>
            <p:cNvPr id="98" name="Freeform 97"/>
            <p:cNvSpPr/>
            <p:nvPr/>
          </p:nvSpPr>
          <p:spPr>
            <a:xfrm rot="5400000">
              <a:off x="3631158" y="1990092"/>
              <a:ext cx="950923"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5"/>
            </a:solidFill>
            <a:ln w="12700" cap="flat" cmpd="thickThin" algn="ctr">
              <a:noFill/>
              <a:prstDash val="solid"/>
            </a:ln>
            <a:effectLst/>
          </p:spPr>
          <p:txBody>
            <a:bodyPr lIns="3046613" tIns="38082" rIns="76162" bIns="38082" rtlCol="0" anchor="ctr"/>
            <a:lstStyle/>
            <a:p>
              <a:pPr marL="239331" indent="-239331" defTabSz="475342">
                <a:lnSpc>
                  <a:spcPct val="90000"/>
                </a:lnSpc>
                <a:spcBef>
                  <a:spcPct val="20000"/>
                </a:spcBef>
                <a:buSzPct val="90000"/>
                <a:buBlip>
                  <a:blip r:embed="rId3"/>
                </a:buBlip>
              </a:pPr>
              <a:endParaRPr lang="en-US" dirty="0">
                <a:gradFill>
                  <a:gsLst>
                    <a:gs pos="0">
                      <a:schemeClr val="tx1"/>
                    </a:gs>
                    <a:gs pos="86000">
                      <a:schemeClr val="tx1"/>
                    </a:gs>
                  </a:gsLst>
                  <a:lin ang="5400000" scaled="0"/>
                </a:gradFill>
              </a:endParaRPr>
            </a:p>
          </p:txBody>
        </p:sp>
        <p:sp>
          <p:nvSpPr>
            <p:cNvPr id="102" name="Rectangle 101"/>
            <p:cNvSpPr/>
            <p:nvPr/>
          </p:nvSpPr>
          <p:spPr>
            <a:xfrm>
              <a:off x="5689769" y="2921266"/>
              <a:ext cx="3372363" cy="630288"/>
            </a:xfrm>
            <a:prstGeom prst="rect">
              <a:avLst/>
            </a:prstGeom>
          </p:spPr>
          <p:txBody>
            <a:bodyPr wrap="square" lIns="121893" tIns="60948" rIns="121893" bIns="60948">
              <a:spAutoFit/>
            </a:bodyPr>
            <a:lstStyle/>
            <a:p>
              <a:pPr algn="ctr" defTabSz="475422" fontAlgn="base">
                <a:lnSpc>
                  <a:spcPct val="80000"/>
                </a:lnSpc>
              </a:pPr>
              <a:r>
                <a:rPr lang="en-US" dirty="0">
                  <a:gradFill>
                    <a:gsLst>
                      <a:gs pos="0">
                        <a:schemeClr val="tx1"/>
                      </a:gs>
                      <a:gs pos="86000">
                        <a:schemeClr val="tx1"/>
                      </a:gs>
                    </a:gsLst>
                    <a:lin ang="5400000" scaled="0"/>
                  </a:gradFill>
                </a:rPr>
                <a:t>Data Synchronization</a:t>
              </a:r>
            </a:p>
            <a:p>
              <a:pPr algn="ctr" defTabSz="475422" fontAlgn="base">
                <a:lnSpc>
                  <a:spcPct val="80000"/>
                </a:lnSpc>
              </a:pPr>
              <a:r>
                <a:rPr lang="en-US" sz="800" dirty="0">
                  <a:gradFill>
                    <a:gsLst>
                      <a:gs pos="0">
                        <a:schemeClr val="tx1"/>
                      </a:gs>
                      <a:gs pos="86000">
                        <a:schemeClr val="tx1"/>
                      </a:gs>
                    </a:gsLst>
                    <a:lin ang="5400000" scaled="0"/>
                  </a:gradFill>
                </a:rPr>
                <a:t>SQL Azure Data Sync</a:t>
              </a:r>
            </a:p>
          </p:txBody>
        </p:sp>
        <p:cxnSp>
          <p:nvCxnSpPr>
            <p:cNvPr id="103" name="Straight Connector 102"/>
            <p:cNvCxnSpPr/>
            <p:nvPr/>
          </p:nvCxnSpPr>
          <p:spPr>
            <a:xfrm>
              <a:off x="8169447" y="3179786"/>
              <a:ext cx="1418672" cy="0"/>
            </a:xfrm>
            <a:prstGeom prst="line">
              <a:avLst/>
            </a:prstGeom>
            <a:ln w="38100">
              <a:gradFill>
                <a:gsLst>
                  <a:gs pos="0">
                    <a:schemeClr val="accent2">
                      <a:lumMod val="40000"/>
                      <a:lumOff val="60000"/>
                    </a:schemeClr>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flipH="1">
              <a:off x="5093170" y="3179786"/>
              <a:ext cx="1483384" cy="0"/>
            </a:xfrm>
            <a:prstGeom prst="line">
              <a:avLst/>
            </a:prstGeom>
            <a:ln w="38100">
              <a:gradFill>
                <a:gsLst>
                  <a:gs pos="0">
                    <a:schemeClr val="accent5">
                      <a:lumMod val="40000"/>
                      <a:lumOff val="60000"/>
                    </a:schemeClr>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10155906" y="2902417"/>
              <a:ext cx="745986" cy="554738"/>
              <a:chOff x="10155906" y="2935554"/>
              <a:chExt cx="745986" cy="554738"/>
            </a:xfrm>
          </p:grpSpPr>
          <p:pic>
            <p:nvPicPr>
              <p:cNvPr id="123" name="Picture 2"/>
              <p:cNvPicPr>
                <a:picLocks noChangeAspect="1" noChangeArrowheads="1"/>
              </p:cNvPicPr>
              <p:nvPr/>
            </p:nvPicPr>
            <p:blipFill>
              <a:blip r:embed="rId4">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10155906" y="2935554"/>
                <a:ext cx="444334" cy="403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4" name="Picture 2"/>
              <p:cNvPicPr>
                <a:picLocks noChangeAspect="1" noChangeArrowheads="1"/>
              </p:cNvPicPr>
              <p:nvPr/>
            </p:nvPicPr>
            <p:blipFill>
              <a:blip r:embed="rId4">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10457558" y="3086848"/>
                <a:ext cx="444334" cy="403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1" name="Group 10"/>
            <p:cNvGrpSpPr/>
            <p:nvPr/>
          </p:nvGrpSpPr>
          <p:grpSpPr>
            <a:xfrm>
              <a:off x="3687523" y="2902417"/>
              <a:ext cx="745986" cy="554738"/>
              <a:chOff x="3687523" y="2946854"/>
              <a:chExt cx="745986" cy="554738"/>
            </a:xfrm>
          </p:grpSpPr>
          <p:pic>
            <p:nvPicPr>
              <p:cNvPr id="125" name="Picture 2"/>
              <p:cNvPicPr>
                <a:picLocks noChangeAspect="1" noChangeArrowheads="1"/>
              </p:cNvPicPr>
              <p:nvPr/>
            </p:nvPicPr>
            <p:blipFill>
              <a:blip r:embed="rId4">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3687523" y="2946854"/>
                <a:ext cx="444334" cy="403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6" name="Picture 2"/>
              <p:cNvPicPr>
                <a:picLocks noChangeAspect="1" noChangeArrowheads="1"/>
              </p:cNvPicPr>
              <p:nvPr/>
            </p:nvPicPr>
            <p:blipFill>
              <a:blip r:embed="rId4">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3989175" y="3098148"/>
                <a:ext cx="444334" cy="403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4" name="Group 3"/>
          <p:cNvGrpSpPr/>
          <p:nvPr/>
        </p:nvGrpSpPr>
        <p:grpSpPr>
          <a:xfrm>
            <a:off x="1821867" y="3623680"/>
            <a:ext cx="5510433" cy="634241"/>
            <a:chOff x="2916925" y="5310944"/>
            <a:chExt cx="8816693" cy="1014786"/>
          </a:xfrm>
        </p:grpSpPr>
        <p:sp>
          <p:nvSpPr>
            <p:cNvPr id="99" name="Freeform 98"/>
            <p:cNvSpPr/>
            <p:nvPr/>
          </p:nvSpPr>
          <p:spPr>
            <a:xfrm rot="5400000">
              <a:off x="10068436" y="4611610"/>
              <a:ext cx="950976"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lumMod val="75000"/>
              </a:schemeClr>
            </a:solidFill>
            <a:ln w="12700" cap="flat" cmpd="thickThin" algn="ctr">
              <a:noFill/>
              <a:prstDash val="solid"/>
            </a:ln>
            <a:effectLst/>
          </p:spPr>
          <p:txBody>
            <a:bodyPr lIns="3046613" tIns="38082" rIns="76162" bIns="38082" rtlCol="0" anchor="ctr"/>
            <a:lstStyle/>
            <a:p>
              <a:pPr marL="239331" indent="-239331" defTabSz="475342">
                <a:lnSpc>
                  <a:spcPct val="90000"/>
                </a:lnSpc>
                <a:spcBef>
                  <a:spcPct val="20000"/>
                </a:spcBef>
                <a:buSzPct val="90000"/>
                <a:buBlip>
                  <a:blip r:embed="rId3"/>
                </a:buBlip>
              </a:pPr>
              <a:endParaRPr lang="en-US" dirty="0">
                <a:gradFill>
                  <a:gsLst>
                    <a:gs pos="0">
                      <a:schemeClr val="tx1"/>
                    </a:gs>
                    <a:gs pos="86000">
                      <a:schemeClr val="tx1"/>
                    </a:gs>
                  </a:gsLst>
                  <a:lin ang="5400000" scaled="0"/>
                </a:gradFill>
              </a:endParaRPr>
            </a:p>
          </p:txBody>
        </p:sp>
        <p:sp>
          <p:nvSpPr>
            <p:cNvPr id="100" name="Freeform 99"/>
            <p:cNvSpPr/>
            <p:nvPr/>
          </p:nvSpPr>
          <p:spPr>
            <a:xfrm rot="5400000">
              <a:off x="3631131" y="4611610"/>
              <a:ext cx="950976"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5">
                <a:lumMod val="75000"/>
              </a:schemeClr>
            </a:solidFill>
            <a:ln w="12700" cap="flat" cmpd="thickThin" algn="ctr">
              <a:noFill/>
              <a:prstDash val="solid"/>
            </a:ln>
            <a:effectLst/>
          </p:spPr>
          <p:txBody>
            <a:bodyPr lIns="3046613" tIns="38082" rIns="76162" bIns="38082" rtlCol="0" anchor="ctr"/>
            <a:lstStyle/>
            <a:p>
              <a:pPr marL="239331" indent="-239331" defTabSz="475342">
                <a:lnSpc>
                  <a:spcPct val="90000"/>
                </a:lnSpc>
                <a:spcBef>
                  <a:spcPct val="20000"/>
                </a:spcBef>
                <a:buSzPct val="90000"/>
                <a:buBlip>
                  <a:blip r:embed="rId3"/>
                </a:buBlip>
              </a:pPr>
              <a:endParaRPr lang="en-US" dirty="0">
                <a:gradFill>
                  <a:gsLst>
                    <a:gs pos="0">
                      <a:schemeClr val="tx1"/>
                    </a:gs>
                    <a:gs pos="86000">
                      <a:schemeClr val="tx1"/>
                    </a:gs>
                  </a:gsLst>
                  <a:lin ang="5400000" scaled="0"/>
                </a:gradFill>
              </a:endParaRPr>
            </a:p>
          </p:txBody>
        </p:sp>
        <p:pic>
          <p:nvPicPr>
            <p:cNvPr id="131" name="Picture 6" descr="\\magnum\Projects\Microsoft\Cloud Power FY12\Design\Icons\PNGs\Server_2.png"/>
            <p:cNvPicPr>
              <a:picLocks noChangeAspect="1" noChangeArrowheads="1"/>
            </p:cNvPicPr>
            <p:nvPr/>
          </p:nvPicPr>
          <p:blipFill>
            <a:blip r:embed="rId5" cstate="print">
              <a:lum bright="100000"/>
            </a:blip>
            <a:srcRect/>
            <a:stretch>
              <a:fillRect/>
            </a:stretch>
          </p:blipFill>
          <p:spPr bwMode="auto">
            <a:xfrm>
              <a:off x="3496267" y="5369813"/>
              <a:ext cx="560869" cy="560868"/>
            </a:xfrm>
            <a:prstGeom prst="rect">
              <a:avLst/>
            </a:prstGeom>
            <a:noFill/>
          </p:spPr>
        </p:pic>
        <p:sp>
          <p:nvSpPr>
            <p:cNvPr id="132" name="Isosceles Triangle 131"/>
            <p:cNvSpPr/>
            <p:nvPr/>
          </p:nvSpPr>
          <p:spPr bwMode="auto">
            <a:xfrm rot="5668901">
              <a:off x="3940697" y="5499429"/>
              <a:ext cx="302773" cy="442107"/>
            </a:xfrm>
            <a:prstGeom prst="triangle">
              <a:avLst>
                <a:gd name="adj" fmla="val 100000"/>
              </a:avLst>
            </a:prstGeom>
            <a:gradFill>
              <a:gsLst>
                <a:gs pos="0">
                  <a:schemeClr val="tx1">
                    <a:alpha val="0"/>
                  </a:schemeClr>
                </a:gs>
                <a:gs pos="100000">
                  <a:schemeClr val="tx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570501">
                <a:defRPr/>
              </a:pPr>
              <a:endParaRPr lang="en-US" sz="1100" kern="0" dirty="0">
                <a:gradFill>
                  <a:gsLst>
                    <a:gs pos="0">
                      <a:schemeClr val="tx1"/>
                    </a:gs>
                    <a:gs pos="86000">
                      <a:schemeClr val="tx1"/>
                    </a:gs>
                  </a:gsLst>
                  <a:lin ang="5400000" scaled="0"/>
                </a:gradFill>
              </a:endParaRPr>
            </a:p>
          </p:txBody>
        </p:sp>
        <p:pic>
          <p:nvPicPr>
            <p:cNvPr id="133" name="Picture 132"/>
            <p:cNvPicPr>
              <a:picLocks noChangeAspect="1"/>
            </p:cNvPicPr>
            <p:nvPr/>
          </p:nvPicPr>
          <p:blipFill>
            <a:blip r:embed="rId6" cstate="print">
              <a:lum bright="100000" contrast="100000"/>
            </a:blip>
            <a:stretch>
              <a:fillRect/>
            </a:stretch>
          </p:blipFill>
          <p:spPr>
            <a:xfrm>
              <a:off x="3809488" y="5846817"/>
              <a:ext cx="620880" cy="302812"/>
            </a:xfrm>
            <a:prstGeom prst="rect">
              <a:avLst/>
            </a:prstGeom>
            <a:noFill/>
            <a:ln>
              <a:noFill/>
            </a:ln>
            <a:effectLst/>
          </p:spPr>
        </p:pic>
        <p:pic>
          <p:nvPicPr>
            <p:cNvPr id="135" name="Picture 6" descr="\\magnum\Projects\Microsoft\Cloud Power FY12\Design\Icons\PNGs\Server_2.png"/>
            <p:cNvPicPr>
              <a:picLocks noChangeAspect="1" noChangeArrowheads="1"/>
            </p:cNvPicPr>
            <p:nvPr/>
          </p:nvPicPr>
          <p:blipFill>
            <a:blip r:embed="rId5" cstate="print">
              <a:lum bright="100000"/>
            </a:blip>
            <a:srcRect/>
            <a:stretch>
              <a:fillRect/>
            </a:stretch>
          </p:blipFill>
          <p:spPr bwMode="auto">
            <a:xfrm>
              <a:off x="10053562" y="5310944"/>
              <a:ext cx="980722" cy="980720"/>
            </a:xfrm>
            <a:prstGeom prst="rect">
              <a:avLst/>
            </a:prstGeom>
            <a:noFill/>
          </p:spPr>
        </p:pic>
        <p:sp>
          <p:nvSpPr>
            <p:cNvPr id="136" name="Rectangle 135"/>
            <p:cNvSpPr/>
            <p:nvPr/>
          </p:nvSpPr>
          <p:spPr>
            <a:xfrm>
              <a:off x="5689768" y="5419674"/>
              <a:ext cx="3372363" cy="906056"/>
            </a:xfrm>
            <a:prstGeom prst="rect">
              <a:avLst/>
            </a:prstGeom>
          </p:spPr>
          <p:txBody>
            <a:bodyPr wrap="square" lIns="121893" tIns="60948" rIns="121893" bIns="60948">
              <a:spAutoFit/>
            </a:bodyPr>
            <a:lstStyle/>
            <a:p>
              <a:pPr algn="ctr" defTabSz="475422" fontAlgn="base">
                <a:lnSpc>
                  <a:spcPct val="80000"/>
                </a:lnSpc>
              </a:pPr>
              <a:r>
                <a:rPr lang="en-US" dirty="0">
                  <a:gradFill>
                    <a:gsLst>
                      <a:gs pos="0">
                        <a:schemeClr val="tx1"/>
                      </a:gs>
                      <a:gs pos="86000">
                        <a:schemeClr val="tx1"/>
                      </a:gs>
                    </a:gsLst>
                    <a:lin ang="5400000" scaled="0"/>
                  </a:gradFill>
                </a:rPr>
                <a:t>Secure Machine-to-Machine </a:t>
              </a:r>
              <a:r>
                <a:rPr lang="en-US" dirty="0" smtClean="0">
                  <a:gradFill>
                    <a:gsLst>
                      <a:gs pos="0">
                        <a:schemeClr val="tx1"/>
                      </a:gs>
                      <a:gs pos="86000">
                        <a:schemeClr val="tx1"/>
                      </a:gs>
                    </a:gsLst>
                    <a:lin ang="5400000" scaled="0"/>
                  </a:gradFill>
                </a:rPr>
                <a:t>Connectivity</a:t>
              </a:r>
              <a:r>
                <a:rPr lang="en-US" sz="800" dirty="0">
                  <a:gradFill>
                    <a:gsLst>
                      <a:gs pos="0">
                        <a:schemeClr val="tx1"/>
                      </a:gs>
                      <a:gs pos="86000">
                        <a:schemeClr val="tx1"/>
                      </a:gs>
                    </a:gsLst>
                    <a:lin ang="5400000" scaled="0"/>
                  </a:gradFill>
                </a:rPr>
                <a:t/>
              </a:r>
              <a:br>
                <a:rPr lang="en-US" sz="800" dirty="0">
                  <a:gradFill>
                    <a:gsLst>
                      <a:gs pos="0">
                        <a:schemeClr val="tx1"/>
                      </a:gs>
                      <a:gs pos="86000">
                        <a:schemeClr val="tx1"/>
                      </a:gs>
                    </a:gsLst>
                    <a:lin ang="5400000" scaled="0"/>
                  </a:gradFill>
                </a:rPr>
              </a:br>
              <a:r>
                <a:rPr lang="en-US" sz="800" dirty="0">
                  <a:gradFill>
                    <a:gsLst>
                      <a:gs pos="0">
                        <a:schemeClr val="tx1"/>
                      </a:gs>
                      <a:gs pos="86000">
                        <a:schemeClr val="tx1"/>
                      </a:gs>
                    </a:gsLst>
                    <a:lin ang="5400000" scaled="0"/>
                  </a:gradFill>
                </a:rPr>
                <a:t>Windows Azure Connect</a:t>
              </a:r>
              <a:endParaRPr lang="en-US" dirty="0">
                <a:gradFill>
                  <a:gsLst>
                    <a:gs pos="0">
                      <a:schemeClr val="tx1"/>
                    </a:gs>
                    <a:gs pos="86000">
                      <a:schemeClr val="tx1"/>
                    </a:gs>
                  </a:gsLst>
                  <a:lin ang="5400000" scaled="0"/>
                </a:gradFill>
              </a:endParaRPr>
            </a:p>
          </p:txBody>
        </p:sp>
        <p:cxnSp>
          <p:nvCxnSpPr>
            <p:cNvPr id="137" name="Straight Connector 136"/>
            <p:cNvCxnSpPr/>
            <p:nvPr/>
          </p:nvCxnSpPr>
          <p:spPr>
            <a:xfrm>
              <a:off x="8169447" y="5801304"/>
              <a:ext cx="1418672" cy="0"/>
            </a:xfrm>
            <a:prstGeom prst="line">
              <a:avLst/>
            </a:prstGeom>
            <a:ln w="38100">
              <a:gradFill>
                <a:gsLst>
                  <a:gs pos="0">
                    <a:schemeClr val="accent2">
                      <a:lumMod val="40000"/>
                      <a:lumOff val="60000"/>
                    </a:schemeClr>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flipH="1">
              <a:off x="5093170" y="5801304"/>
              <a:ext cx="1483384" cy="0"/>
            </a:xfrm>
            <a:prstGeom prst="line">
              <a:avLst/>
            </a:prstGeom>
            <a:ln w="38100">
              <a:gradFill>
                <a:gsLst>
                  <a:gs pos="0">
                    <a:schemeClr val="accent5">
                      <a:lumMod val="40000"/>
                      <a:lumOff val="60000"/>
                    </a:schemeClr>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grpSp>
      <p:grpSp>
        <p:nvGrpSpPr>
          <p:cNvPr id="3" name="Group 2"/>
          <p:cNvGrpSpPr/>
          <p:nvPr/>
        </p:nvGrpSpPr>
        <p:grpSpPr>
          <a:xfrm>
            <a:off x="1821867" y="4322415"/>
            <a:ext cx="5510433" cy="667734"/>
            <a:chOff x="2916925" y="6625847"/>
            <a:chExt cx="8816693" cy="1068374"/>
          </a:xfrm>
        </p:grpSpPr>
        <p:sp>
          <p:nvSpPr>
            <p:cNvPr id="144" name="Freeform 143"/>
            <p:cNvSpPr/>
            <p:nvPr/>
          </p:nvSpPr>
          <p:spPr>
            <a:xfrm rot="5400000">
              <a:off x="10068436" y="5970340"/>
              <a:ext cx="950976"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lumMod val="75000"/>
              </a:schemeClr>
            </a:solidFill>
            <a:ln w="12700" cap="flat" cmpd="thickThin" algn="ctr">
              <a:noFill/>
              <a:prstDash val="solid"/>
            </a:ln>
            <a:effectLst/>
          </p:spPr>
          <p:txBody>
            <a:bodyPr lIns="3046613" tIns="38082" rIns="76162" bIns="38082" rtlCol="0" anchor="ctr"/>
            <a:lstStyle/>
            <a:p>
              <a:pPr marL="239331" indent="-239331" defTabSz="475342">
                <a:lnSpc>
                  <a:spcPct val="90000"/>
                </a:lnSpc>
                <a:spcBef>
                  <a:spcPct val="20000"/>
                </a:spcBef>
                <a:buSzPct val="90000"/>
                <a:buBlip>
                  <a:blip r:embed="rId3"/>
                </a:buBlip>
              </a:pPr>
              <a:endParaRPr lang="en-US" dirty="0">
                <a:gradFill>
                  <a:gsLst>
                    <a:gs pos="0">
                      <a:schemeClr val="tx1"/>
                    </a:gs>
                    <a:gs pos="86000">
                      <a:schemeClr val="tx1"/>
                    </a:gs>
                  </a:gsLst>
                  <a:lin ang="5400000" scaled="0"/>
                </a:gradFill>
              </a:endParaRPr>
            </a:p>
          </p:txBody>
        </p:sp>
        <p:sp>
          <p:nvSpPr>
            <p:cNvPr id="145" name="Freeform 144"/>
            <p:cNvSpPr/>
            <p:nvPr/>
          </p:nvSpPr>
          <p:spPr>
            <a:xfrm rot="5400000">
              <a:off x="3631131" y="5970340"/>
              <a:ext cx="950976"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5">
                <a:lumMod val="75000"/>
              </a:schemeClr>
            </a:solidFill>
            <a:ln w="12700" cap="flat" cmpd="thickThin" algn="ctr">
              <a:noFill/>
              <a:prstDash val="solid"/>
            </a:ln>
            <a:effectLst/>
          </p:spPr>
          <p:txBody>
            <a:bodyPr lIns="3046613" tIns="38082" rIns="76162" bIns="38082" rtlCol="0" anchor="ctr"/>
            <a:lstStyle/>
            <a:p>
              <a:pPr marL="239331" indent="-239331" defTabSz="475342">
                <a:lnSpc>
                  <a:spcPct val="90000"/>
                </a:lnSpc>
                <a:spcBef>
                  <a:spcPct val="20000"/>
                </a:spcBef>
                <a:buSzPct val="90000"/>
                <a:buBlip>
                  <a:blip r:embed="rId3"/>
                </a:buBlip>
              </a:pPr>
              <a:endParaRPr lang="en-US" dirty="0">
                <a:gradFill>
                  <a:gsLst>
                    <a:gs pos="0">
                      <a:schemeClr val="tx1"/>
                    </a:gs>
                    <a:gs pos="86000">
                      <a:schemeClr val="tx1"/>
                    </a:gs>
                  </a:gsLst>
                  <a:lin ang="5400000" scaled="0"/>
                </a:gradFill>
              </a:endParaRPr>
            </a:p>
          </p:txBody>
        </p:sp>
        <p:grpSp>
          <p:nvGrpSpPr>
            <p:cNvPr id="127" name="Group 126"/>
            <p:cNvGrpSpPr/>
            <p:nvPr/>
          </p:nvGrpSpPr>
          <p:grpSpPr>
            <a:xfrm>
              <a:off x="3665820" y="6704453"/>
              <a:ext cx="815716" cy="804086"/>
              <a:chOff x="5293615" y="2178868"/>
              <a:chExt cx="1522938" cy="1834511"/>
            </a:xfrm>
          </p:grpSpPr>
          <p:pic>
            <p:nvPicPr>
              <p:cNvPr id="128" name="Picture 2"/>
              <p:cNvPicPr>
                <a:picLocks noChangeAspect="1" noChangeArrowheads="1"/>
              </p:cNvPicPr>
              <p:nvPr/>
            </p:nvPicPr>
            <p:blipFill>
              <a:blip r:embed="rId7" cstate="print">
                <a:lum bright="100000" contrast="100000"/>
              </a:blip>
              <a:srcRect/>
              <a:stretch>
                <a:fillRect/>
              </a:stretch>
            </p:blipFill>
            <p:spPr bwMode="auto">
              <a:xfrm>
                <a:off x="5293615" y="2178868"/>
                <a:ext cx="1178385" cy="1079716"/>
              </a:xfrm>
              <a:prstGeom prst="rect">
                <a:avLst/>
              </a:prstGeom>
              <a:noFill/>
              <a:ln w="9525">
                <a:noFill/>
                <a:miter lim="800000"/>
                <a:headEnd/>
                <a:tailEnd/>
              </a:ln>
              <a:effectLst/>
            </p:spPr>
          </p:pic>
          <p:sp>
            <p:nvSpPr>
              <p:cNvPr id="129" name="Isosceles Triangle 128"/>
              <p:cNvSpPr/>
              <p:nvPr/>
            </p:nvSpPr>
            <p:spPr bwMode="auto">
              <a:xfrm rot="9180217">
                <a:off x="5900777" y="2938035"/>
                <a:ext cx="582163" cy="729241"/>
              </a:xfrm>
              <a:prstGeom prst="triangle">
                <a:avLst>
                  <a:gd name="adj" fmla="val 64317"/>
                </a:avLst>
              </a:prstGeom>
              <a:gradFill rotWithShape="1">
                <a:gsLst>
                  <a:gs pos="0">
                    <a:sysClr val="window" lastClr="FFFFFF">
                      <a:lumMod val="95000"/>
                      <a:alpha val="0"/>
                    </a:sysClr>
                  </a:gs>
                  <a:gs pos="50000">
                    <a:schemeClr val="tx1">
                      <a:alpha val="46000"/>
                    </a:schemeClr>
                  </a:gs>
                  <a:gs pos="100000">
                    <a:schemeClr val="tx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570501">
                  <a:defRPr/>
                </a:pPr>
                <a:endParaRPr lang="en-US" sz="1100" kern="0" dirty="0">
                  <a:gradFill>
                    <a:gsLst>
                      <a:gs pos="0">
                        <a:schemeClr val="tx1"/>
                      </a:gs>
                      <a:gs pos="86000">
                        <a:schemeClr val="tx1"/>
                      </a:gs>
                    </a:gsLst>
                    <a:lin ang="5400000" scaled="0"/>
                  </a:gradFill>
                </a:endParaRPr>
              </a:p>
            </p:txBody>
          </p:sp>
          <p:pic>
            <p:nvPicPr>
              <p:cNvPr id="130" name="Picture 129"/>
              <p:cNvPicPr>
                <a:picLocks noChangeAspect="1"/>
              </p:cNvPicPr>
              <p:nvPr/>
            </p:nvPicPr>
            <p:blipFill>
              <a:blip r:embed="rId6" cstate="print">
                <a:lum bright="100000" contrast="100000"/>
              </a:blip>
              <a:stretch>
                <a:fillRect/>
              </a:stretch>
            </p:blipFill>
            <p:spPr>
              <a:xfrm>
                <a:off x="5657373" y="3322518"/>
                <a:ext cx="1159180" cy="690861"/>
              </a:xfrm>
              <a:prstGeom prst="rect">
                <a:avLst/>
              </a:prstGeom>
              <a:noFill/>
              <a:ln>
                <a:noFill/>
              </a:ln>
              <a:effectLst/>
            </p:spPr>
          </p:pic>
        </p:grpSp>
        <p:pic>
          <p:nvPicPr>
            <p:cNvPr id="134" name="Picture 2"/>
            <p:cNvPicPr>
              <a:picLocks noChangeAspect="1" noChangeArrowheads="1"/>
            </p:cNvPicPr>
            <p:nvPr/>
          </p:nvPicPr>
          <p:blipFill>
            <a:blip r:embed="rId7" cstate="print">
              <a:lum bright="100000" contrast="100000"/>
            </a:blip>
            <a:srcRect/>
            <a:stretch>
              <a:fillRect/>
            </a:stretch>
          </p:blipFill>
          <p:spPr bwMode="auto">
            <a:xfrm>
              <a:off x="10021663" y="6625847"/>
              <a:ext cx="1166007" cy="1068374"/>
            </a:xfrm>
            <a:prstGeom prst="rect">
              <a:avLst/>
            </a:prstGeom>
            <a:noFill/>
            <a:ln w="9525">
              <a:noFill/>
              <a:miter lim="800000"/>
              <a:headEnd/>
              <a:tailEnd/>
            </a:ln>
            <a:effectLst/>
          </p:spPr>
        </p:pic>
        <p:cxnSp>
          <p:nvCxnSpPr>
            <p:cNvPr id="139" name="Straight Connector 138"/>
            <p:cNvCxnSpPr/>
            <p:nvPr/>
          </p:nvCxnSpPr>
          <p:spPr>
            <a:xfrm flipH="1">
              <a:off x="5109933" y="7160034"/>
              <a:ext cx="1483384" cy="0"/>
            </a:xfrm>
            <a:prstGeom prst="line">
              <a:avLst/>
            </a:prstGeom>
            <a:ln w="38100">
              <a:gradFill>
                <a:gsLst>
                  <a:gs pos="0">
                    <a:schemeClr val="accent5">
                      <a:lumMod val="40000"/>
                      <a:lumOff val="60000"/>
                    </a:schemeClr>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140" name="Rectangle 139"/>
            <p:cNvSpPr/>
            <p:nvPr/>
          </p:nvSpPr>
          <p:spPr>
            <a:xfrm>
              <a:off x="5689768" y="6778404"/>
              <a:ext cx="3372363" cy="906056"/>
            </a:xfrm>
            <a:prstGeom prst="rect">
              <a:avLst/>
            </a:prstGeom>
          </p:spPr>
          <p:txBody>
            <a:bodyPr wrap="square" lIns="121893" tIns="60948" rIns="121893" bIns="60948">
              <a:spAutoFit/>
            </a:bodyPr>
            <a:lstStyle/>
            <a:p>
              <a:pPr algn="ctr" defTabSz="475422" fontAlgn="base">
                <a:lnSpc>
                  <a:spcPct val="80000"/>
                </a:lnSpc>
              </a:pPr>
              <a:r>
                <a:rPr lang="en-US" dirty="0">
                  <a:gradFill>
                    <a:gsLst>
                      <a:gs pos="0">
                        <a:schemeClr val="tx1"/>
                      </a:gs>
                      <a:gs pos="86000">
                        <a:schemeClr val="tx1"/>
                      </a:gs>
                    </a:gsLst>
                    <a:lin ang="5400000" scaled="0"/>
                  </a:gradFill>
                </a:rPr>
                <a:t>Secure Site-to-Site </a:t>
              </a:r>
            </a:p>
            <a:p>
              <a:pPr algn="ctr" defTabSz="475422" fontAlgn="base">
                <a:lnSpc>
                  <a:spcPct val="80000"/>
                </a:lnSpc>
              </a:pPr>
              <a:r>
                <a:rPr lang="en-US" dirty="0">
                  <a:gradFill>
                    <a:gsLst>
                      <a:gs pos="0">
                        <a:schemeClr val="tx1"/>
                      </a:gs>
                      <a:gs pos="86000">
                        <a:schemeClr val="tx1"/>
                      </a:gs>
                    </a:gsLst>
                    <a:lin ang="5400000" scaled="0"/>
                  </a:gradFill>
                </a:rPr>
                <a:t>Network Connectivity</a:t>
              </a:r>
            </a:p>
            <a:p>
              <a:pPr algn="ctr" defTabSz="475422" fontAlgn="base">
                <a:lnSpc>
                  <a:spcPct val="80000"/>
                </a:lnSpc>
              </a:pPr>
              <a:r>
                <a:rPr lang="en-US" sz="800" dirty="0">
                  <a:gradFill>
                    <a:gsLst>
                      <a:gs pos="0">
                        <a:schemeClr val="tx1"/>
                      </a:gs>
                      <a:gs pos="86000">
                        <a:schemeClr val="tx1"/>
                      </a:gs>
                    </a:gsLst>
                    <a:lin ang="5400000" scaled="0"/>
                  </a:gradFill>
                </a:rPr>
                <a:t>Virtual Network</a:t>
              </a:r>
            </a:p>
          </p:txBody>
        </p:sp>
        <p:cxnSp>
          <p:nvCxnSpPr>
            <p:cNvPr id="141" name="Straight Connector 140"/>
            <p:cNvCxnSpPr/>
            <p:nvPr/>
          </p:nvCxnSpPr>
          <p:spPr>
            <a:xfrm>
              <a:off x="8186210" y="7160034"/>
              <a:ext cx="1418672" cy="0"/>
            </a:xfrm>
            <a:prstGeom prst="line">
              <a:avLst/>
            </a:prstGeom>
            <a:ln w="38100">
              <a:gradFill>
                <a:gsLst>
                  <a:gs pos="0">
                    <a:schemeClr val="accent2">
                      <a:lumMod val="40000"/>
                      <a:lumOff val="60000"/>
                    </a:schemeClr>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grpSp>
      <p:grpSp>
        <p:nvGrpSpPr>
          <p:cNvPr id="7" name="Group 6"/>
          <p:cNvGrpSpPr/>
          <p:nvPr/>
        </p:nvGrpSpPr>
        <p:grpSpPr>
          <a:xfrm>
            <a:off x="1814005" y="1461228"/>
            <a:ext cx="5510433" cy="701890"/>
            <a:chOff x="2418036" y="1948304"/>
            <a:chExt cx="7345330" cy="935853"/>
          </a:xfrm>
        </p:grpSpPr>
        <p:grpSp>
          <p:nvGrpSpPr>
            <p:cNvPr id="53" name="Group 52"/>
            <p:cNvGrpSpPr/>
            <p:nvPr/>
          </p:nvGrpSpPr>
          <p:grpSpPr>
            <a:xfrm>
              <a:off x="2418036" y="1948304"/>
              <a:ext cx="7345330" cy="935853"/>
              <a:chOff x="2916926" y="2704298"/>
              <a:chExt cx="8816692" cy="1123023"/>
            </a:xfrm>
          </p:grpSpPr>
          <p:sp>
            <p:nvSpPr>
              <p:cNvPr id="54" name="Freeform 53"/>
              <p:cNvSpPr/>
              <p:nvPr/>
            </p:nvSpPr>
            <p:spPr>
              <a:xfrm rot="5400000">
                <a:off x="10068436" y="1990092"/>
                <a:ext cx="950976"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12700" cap="flat" cmpd="thickThin" algn="ctr">
                <a:noFill/>
                <a:prstDash val="solid"/>
              </a:ln>
              <a:effectLst/>
            </p:spPr>
            <p:txBody>
              <a:bodyPr lIns="3046613" tIns="38082" rIns="76162" bIns="38082" rtlCol="0" anchor="ctr"/>
              <a:lstStyle/>
              <a:p>
                <a:pPr marL="239331" indent="-239331" defTabSz="475342">
                  <a:lnSpc>
                    <a:spcPct val="90000"/>
                  </a:lnSpc>
                  <a:spcBef>
                    <a:spcPct val="20000"/>
                  </a:spcBef>
                  <a:buSzPct val="90000"/>
                  <a:buBlip>
                    <a:blip r:embed="rId3"/>
                  </a:buBlip>
                </a:pPr>
                <a:endParaRPr lang="en-US" dirty="0">
                  <a:gradFill>
                    <a:gsLst>
                      <a:gs pos="0">
                        <a:schemeClr val="tx1"/>
                      </a:gs>
                      <a:gs pos="86000">
                        <a:schemeClr val="tx1"/>
                      </a:gs>
                    </a:gsLst>
                    <a:lin ang="5400000" scaled="0"/>
                  </a:gradFill>
                </a:endParaRPr>
              </a:p>
            </p:txBody>
          </p:sp>
          <p:sp>
            <p:nvSpPr>
              <p:cNvPr id="55" name="Freeform 54"/>
              <p:cNvSpPr/>
              <p:nvPr/>
            </p:nvSpPr>
            <p:spPr>
              <a:xfrm rot="5400000">
                <a:off x="3631158" y="1990092"/>
                <a:ext cx="950923"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5"/>
              </a:solidFill>
              <a:ln w="12700" cap="flat" cmpd="thickThin" algn="ctr">
                <a:noFill/>
                <a:prstDash val="solid"/>
              </a:ln>
              <a:effectLst/>
            </p:spPr>
            <p:txBody>
              <a:bodyPr lIns="3046613" tIns="38082" rIns="76162" bIns="38082" rtlCol="0" anchor="ctr"/>
              <a:lstStyle/>
              <a:p>
                <a:pPr defTabSz="475342">
                  <a:lnSpc>
                    <a:spcPct val="90000"/>
                  </a:lnSpc>
                  <a:spcBef>
                    <a:spcPct val="20000"/>
                  </a:spcBef>
                  <a:buSzPct val="90000"/>
                </a:pPr>
                <a:endParaRPr lang="en-US" dirty="0">
                  <a:gradFill>
                    <a:gsLst>
                      <a:gs pos="0">
                        <a:schemeClr val="tx1"/>
                      </a:gs>
                      <a:gs pos="86000">
                        <a:schemeClr val="tx1"/>
                      </a:gs>
                    </a:gsLst>
                    <a:lin ang="5400000" scaled="0"/>
                  </a:gradFill>
                </a:endParaRPr>
              </a:p>
            </p:txBody>
          </p:sp>
          <p:sp>
            <p:nvSpPr>
              <p:cNvPr id="56" name="Rectangle 55"/>
              <p:cNvSpPr/>
              <p:nvPr/>
            </p:nvSpPr>
            <p:spPr>
              <a:xfrm>
                <a:off x="5689769" y="2921266"/>
                <a:ext cx="3372363" cy="906055"/>
              </a:xfrm>
              <a:prstGeom prst="rect">
                <a:avLst/>
              </a:prstGeom>
            </p:spPr>
            <p:txBody>
              <a:bodyPr wrap="square" lIns="121893" tIns="60948" rIns="121893" bIns="60948">
                <a:spAutoFit/>
              </a:bodyPr>
              <a:lstStyle/>
              <a:p>
                <a:pPr algn="ctr" defTabSz="475422" fontAlgn="base">
                  <a:lnSpc>
                    <a:spcPct val="80000"/>
                  </a:lnSpc>
                </a:pPr>
                <a:r>
                  <a:rPr lang="en-US" dirty="0" smtClean="0">
                    <a:gradFill>
                      <a:gsLst>
                        <a:gs pos="0">
                          <a:schemeClr val="tx1"/>
                        </a:gs>
                        <a:gs pos="86000">
                          <a:schemeClr val="tx1"/>
                        </a:gs>
                      </a:gsLst>
                      <a:lin ang="5400000" scaled="0"/>
                    </a:gradFill>
                  </a:rPr>
                  <a:t>App Monitoring &amp; Management</a:t>
                </a:r>
                <a:endParaRPr lang="en-US" dirty="0">
                  <a:gradFill>
                    <a:gsLst>
                      <a:gs pos="0">
                        <a:schemeClr val="tx1"/>
                      </a:gs>
                      <a:gs pos="86000">
                        <a:schemeClr val="tx1"/>
                      </a:gs>
                    </a:gsLst>
                    <a:lin ang="5400000" scaled="0"/>
                  </a:gradFill>
                </a:endParaRPr>
              </a:p>
              <a:p>
                <a:pPr algn="ctr" defTabSz="475422" fontAlgn="base">
                  <a:lnSpc>
                    <a:spcPct val="80000"/>
                  </a:lnSpc>
                </a:pPr>
                <a:r>
                  <a:rPr lang="en-US" sz="800" dirty="0">
                    <a:gradFill>
                      <a:gsLst>
                        <a:gs pos="0">
                          <a:schemeClr val="tx1"/>
                        </a:gs>
                        <a:gs pos="86000">
                          <a:schemeClr val="tx1"/>
                        </a:gs>
                      </a:gsLst>
                      <a:lin ang="5400000" scaled="0"/>
                    </a:gradFill>
                  </a:rPr>
                  <a:t>System Center</a:t>
                </a:r>
              </a:p>
            </p:txBody>
          </p:sp>
          <p:cxnSp>
            <p:nvCxnSpPr>
              <p:cNvPr id="57" name="Straight Connector 56"/>
              <p:cNvCxnSpPr/>
              <p:nvPr/>
            </p:nvCxnSpPr>
            <p:spPr>
              <a:xfrm>
                <a:off x="8169447" y="3179786"/>
                <a:ext cx="1418672" cy="0"/>
              </a:xfrm>
              <a:prstGeom prst="line">
                <a:avLst/>
              </a:prstGeom>
              <a:ln w="38100">
                <a:gradFill>
                  <a:gsLst>
                    <a:gs pos="0">
                      <a:schemeClr val="accent2">
                        <a:lumMod val="40000"/>
                        <a:lumOff val="60000"/>
                      </a:schemeClr>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5093170" y="3179786"/>
                <a:ext cx="1483384" cy="0"/>
              </a:xfrm>
              <a:prstGeom prst="line">
                <a:avLst/>
              </a:prstGeom>
              <a:ln w="38100">
                <a:gradFill>
                  <a:gsLst>
                    <a:gs pos="0">
                      <a:schemeClr val="accent5">
                        <a:lumMod val="40000"/>
                        <a:lumOff val="60000"/>
                      </a:schemeClr>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grpSp>
        <p:sp>
          <p:nvSpPr>
            <p:cNvPr id="59" name="Freeform 79"/>
            <p:cNvSpPr>
              <a:spLocks noEditPoints="1"/>
            </p:cNvSpPr>
            <p:nvPr/>
          </p:nvSpPr>
          <p:spPr bwMode="auto">
            <a:xfrm>
              <a:off x="3053455" y="2045860"/>
              <a:ext cx="649975" cy="597365"/>
            </a:xfrm>
            <a:custGeom>
              <a:avLst/>
              <a:gdLst>
                <a:gd name="T0" fmla="*/ 406 w 413"/>
                <a:gd name="T1" fmla="*/ 0 h 380"/>
                <a:gd name="T2" fmla="*/ 7 w 413"/>
                <a:gd name="T3" fmla="*/ 0 h 380"/>
                <a:gd name="T4" fmla="*/ 0 w 413"/>
                <a:gd name="T5" fmla="*/ 7 h 380"/>
                <a:gd name="T6" fmla="*/ 0 w 413"/>
                <a:gd name="T7" fmla="*/ 273 h 380"/>
                <a:gd name="T8" fmla="*/ 7 w 413"/>
                <a:gd name="T9" fmla="*/ 281 h 380"/>
                <a:gd name="T10" fmla="*/ 133 w 413"/>
                <a:gd name="T11" fmla="*/ 281 h 380"/>
                <a:gd name="T12" fmla="*/ 133 w 413"/>
                <a:gd name="T13" fmla="*/ 332 h 380"/>
                <a:gd name="T14" fmla="*/ 73 w 413"/>
                <a:gd name="T15" fmla="*/ 332 h 380"/>
                <a:gd name="T16" fmla="*/ 65 w 413"/>
                <a:gd name="T17" fmla="*/ 340 h 380"/>
                <a:gd name="T18" fmla="*/ 65 w 413"/>
                <a:gd name="T19" fmla="*/ 373 h 380"/>
                <a:gd name="T20" fmla="*/ 73 w 413"/>
                <a:gd name="T21" fmla="*/ 380 h 380"/>
                <a:gd name="T22" fmla="*/ 339 w 413"/>
                <a:gd name="T23" fmla="*/ 380 h 380"/>
                <a:gd name="T24" fmla="*/ 346 w 413"/>
                <a:gd name="T25" fmla="*/ 373 h 380"/>
                <a:gd name="T26" fmla="*/ 346 w 413"/>
                <a:gd name="T27" fmla="*/ 340 h 380"/>
                <a:gd name="T28" fmla="*/ 339 w 413"/>
                <a:gd name="T29" fmla="*/ 332 h 380"/>
                <a:gd name="T30" fmla="*/ 280 w 413"/>
                <a:gd name="T31" fmla="*/ 332 h 380"/>
                <a:gd name="T32" fmla="*/ 280 w 413"/>
                <a:gd name="T33" fmla="*/ 281 h 380"/>
                <a:gd name="T34" fmla="*/ 406 w 413"/>
                <a:gd name="T35" fmla="*/ 281 h 380"/>
                <a:gd name="T36" fmla="*/ 413 w 413"/>
                <a:gd name="T37" fmla="*/ 273 h 380"/>
                <a:gd name="T38" fmla="*/ 413 w 413"/>
                <a:gd name="T39" fmla="*/ 7 h 380"/>
                <a:gd name="T40" fmla="*/ 406 w 413"/>
                <a:gd name="T41" fmla="*/ 0 h 380"/>
                <a:gd name="T42" fmla="*/ 331 w 413"/>
                <a:gd name="T43" fmla="*/ 366 h 380"/>
                <a:gd name="T44" fmla="*/ 80 w 413"/>
                <a:gd name="T45" fmla="*/ 366 h 380"/>
                <a:gd name="T46" fmla="*/ 80 w 413"/>
                <a:gd name="T47" fmla="*/ 347 h 380"/>
                <a:gd name="T48" fmla="*/ 331 w 413"/>
                <a:gd name="T49" fmla="*/ 347 h 380"/>
                <a:gd name="T50" fmla="*/ 331 w 413"/>
                <a:gd name="T51" fmla="*/ 366 h 380"/>
                <a:gd name="T52" fmla="*/ 266 w 413"/>
                <a:gd name="T53" fmla="*/ 332 h 380"/>
                <a:gd name="T54" fmla="*/ 148 w 413"/>
                <a:gd name="T55" fmla="*/ 332 h 380"/>
                <a:gd name="T56" fmla="*/ 148 w 413"/>
                <a:gd name="T57" fmla="*/ 281 h 380"/>
                <a:gd name="T58" fmla="*/ 266 w 413"/>
                <a:gd name="T59" fmla="*/ 281 h 380"/>
                <a:gd name="T60" fmla="*/ 266 w 413"/>
                <a:gd name="T61" fmla="*/ 332 h 380"/>
                <a:gd name="T62" fmla="*/ 399 w 413"/>
                <a:gd name="T63" fmla="*/ 266 h 380"/>
                <a:gd name="T64" fmla="*/ 15 w 413"/>
                <a:gd name="T65" fmla="*/ 266 h 380"/>
                <a:gd name="T66" fmla="*/ 15 w 413"/>
                <a:gd name="T67" fmla="*/ 15 h 380"/>
                <a:gd name="T68" fmla="*/ 399 w 413"/>
                <a:gd name="T69" fmla="*/ 15 h 380"/>
                <a:gd name="T70" fmla="*/ 399 w 413"/>
                <a:gd name="T71" fmla="*/ 266 h 380"/>
                <a:gd name="T72" fmla="*/ 40 w 413"/>
                <a:gd name="T73" fmla="*/ 247 h 380"/>
                <a:gd name="T74" fmla="*/ 373 w 413"/>
                <a:gd name="T75" fmla="*/ 247 h 380"/>
                <a:gd name="T76" fmla="*/ 381 w 413"/>
                <a:gd name="T77" fmla="*/ 240 h 380"/>
                <a:gd name="T78" fmla="*/ 381 w 413"/>
                <a:gd name="T79" fmla="*/ 41 h 380"/>
                <a:gd name="T80" fmla="*/ 373 w 413"/>
                <a:gd name="T81" fmla="*/ 33 h 380"/>
                <a:gd name="T82" fmla="*/ 40 w 413"/>
                <a:gd name="T83" fmla="*/ 33 h 380"/>
                <a:gd name="T84" fmla="*/ 33 w 413"/>
                <a:gd name="T85" fmla="*/ 41 h 380"/>
                <a:gd name="T86" fmla="*/ 33 w 413"/>
                <a:gd name="T87" fmla="*/ 240 h 380"/>
                <a:gd name="T88" fmla="*/ 40 w 413"/>
                <a:gd name="T89" fmla="*/ 247 h 380"/>
                <a:gd name="T90" fmla="*/ 47 w 413"/>
                <a:gd name="T91" fmla="*/ 48 h 380"/>
                <a:gd name="T92" fmla="*/ 366 w 413"/>
                <a:gd name="T93" fmla="*/ 48 h 380"/>
                <a:gd name="T94" fmla="*/ 366 w 413"/>
                <a:gd name="T95" fmla="*/ 233 h 380"/>
                <a:gd name="T96" fmla="*/ 47 w 413"/>
                <a:gd name="T97" fmla="*/ 233 h 380"/>
                <a:gd name="T98" fmla="*/ 47 w 413"/>
                <a:gd name="T99" fmla="*/ 48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3" h="380">
                  <a:moveTo>
                    <a:pt x="406" y="0"/>
                  </a:moveTo>
                  <a:cubicBezTo>
                    <a:pt x="7" y="0"/>
                    <a:pt x="7" y="0"/>
                    <a:pt x="7" y="0"/>
                  </a:cubicBezTo>
                  <a:cubicBezTo>
                    <a:pt x="3" y="0"/>
                    <a:pt x="0" y="3"/>
                    <a:pt x="0" y="7"/>
                  </a:cubicBezTo>
                  <a:cubicBezTo>
                    <a:pt x="0" y="273"/>
                    <a:pt x="0" y="273"/>
                    <a:pt x="0" y="273"/>
                  </a:cubicBezTo>
                  <a:cubicBezTo>
                    <a:pt x="0" y="277"/>
                    <a:pt x="3" y="281"/>
                    <a:pt x="7" y="281"/>
                  </a:cubicBezTo>
                  <a:cubicBezTo>
                    <a:pt x="133" y="281"/>
                    <a:pt x="133" y="281"/>
                    <a:pt x="133" y="281"/>
                  </a:cubicBezTo>
                  <a:cubicBezTo>
                    <a:pt x="133" y="332"/>
                    <a:pt x="133" y="332"/>
                    <a:pt x="133" y="332"/>
                  </a:cubicBezTo>
                  <a:cubicBezTo>
                    <a:pt x="73" y="332"/>
                    <a:pt x="73" y="332"/>
                    <a:pt x="73" y="332"/>
                  </a:cubicBezTo>
                  <a:cubicBezTo>
                    <a:pt x="69" y="332"/>
                    <a:pt x="65" y="336"/>
                    <a:pt x="65" y="340"/>
                  </a:cubicBezTo>
                  <a:cubicBezTo>
                    <a:pt x="65" y="373"/>
                    <a:pt x="65" y="373"/>
                    <a:pt x="65" y="373"/>
                  </a:cubicBezTo>
                  <a:cubicBezTo>
                    <a:pt x="65" y="377"/>
                    <a:pt x="69" y="380"/>
                    <a:pt x="73" y="380"/>
                  </a:cubicBezTo>
                  <a:cubicBezTo>
                    <a:pt x="339" y="380"/>
                    <a:pt x="339" y="380"/>
                    <a:pt x="339" y="380"/>
                  </a:cubicBezTo>
                  <a:cubicBezTo>
                    <a:pt x="343" y="380"/>
                    <a:pt x="346" y="377"/>
                    <a:pt x="346" y="373"/>
                  </a:cubicBezTo>
                  <a:cubicBezTo>
                    <a:pt x="346" y="340"/>
                    <a:pt x="346" y="340"/>
                    <a:pt x="346" y="340"/>
                  </a:cubicBezTo>
                  <a:cubicBezTo>
                    <a:pt x="346" y="336"/>
                    <a:pt x="343" y="332"/>
                    <a:pt x="339" y="332"/>
                  </a:cubicBezTo>
                  <a:cubicBezTo>
                    <a:pt x="280" y="332"/>
                    <a:pt x="280" y="332"/>
                    <a:pt x="280" y="332"/>
                  </a:cubicBezTo>
                  <a:cubicBezTo>
                    <a:pt x="280" y="281"/>
                    <a:pt x="280" y="281"/>
                    <a:pt x="280" y="281"/>
                  </a:cubicBezTo>
                  <a:cubicBezTo>
                    <a:pt x="406" y="281"/>
                    <a:pt x="406" y="281"/>
                    <a:pt x="406" y="281"/>
                  </a:cubicBezTo>
                  <a:cubicBezTo>
                    <a:pt x="410" y="281"/>
                    <a:pt x="413" y="277"/>
                    <a:pt x="413" y="273"/>
                  </a:cubicBezTo>
                  <a:cubicBezTo>
                    <a:pt x="413" y="7"/>
                    <a:pt x="413" y="7"/>
                    <a:pt x="413" y="7"/>
                  </a:cubicBezTo>
                  <a:cubicBezTo>
                    <a:pt x="413" y="3"/>
                    <a:pt x="410" y="0"/>
                    <a:pt x="406" y="0"/>
                  </a:cubicBezTo>
                  <a:close/>
                  <a:moveTo>
                    <a:pt x="331" y="366"/>
                  </a:moveTo>
                  <a:cubicBezTo>
                    <a:pt x="80" y="366"/>
                    <a:pt x="80" y="366"/>
                    <a:pt x="80" y="366"/>
                  </a:cubicBezTo>
                  <a:cubicBezTo>
                    <a:pt x="80" y="347"/>
                    <a:pt x="80" y="347"/>
                    <a:pt x="80" y="347"/>
                  </a:cubicBezTo>
                  <a:cubicBezTo>
                    <a:pt x="331" y="347"/>
                    <a:pt x="331" y="347"/>
                    <a:pt x="331" y="347"/>
                  </a:cubicBezTo>
                  <a:lnTo>
                    <a:pt x="331" y="366"/>
                  </a:lnTo>
                  <a:close/>
                  <a:moveTo>
                    <a:pt x="266" y="332"/>
                  </a:moveTo>
                  <a:cubicBezTo>
                    <a:pt x="148" y="332"/>
                    <a:pt x="148" y="332"/>
                    <a:pt x="148" y="332"/>
                  </a:cubicBezTo>
                  <a:cubicBezTo>
                    <a:pt x="148" y="281"/>
                    <a:pt x="148" y="281"/>
                    <a:pt x="148" y="281"/>
                  </a:cubicBezTo>
                  <a:cubicBezTo>
                    <a:pt x="266" y="281"/>
                    <a:pt x="266" y="281"/>
                    <a:pt x="266" y="281"/>
                  </a:cubicBezTo>
                  <a:lnTo>
                    <a:pt x="266" y="332"/>
                  </a:lnTo>
                  <a:close/>
                  <a:moveTo>
                    <a:pt x="399" y="266"/>
                  </a:moveTo>
                  <a:cubicBezTo>
                    <a:pt x="15" y="266"/>
                    <a:pt x="15" y="266"/>
                    <a:pt x="15" y="266"/>
                  </a:cubicBezTo>
                  <a:cubicBezTo>
                    <a:pt x="15" y="15"/>
                    <a:pt x="15" y="15"/>
                    <a:pt x="15" y="15"/>
                  </a:cubicBezTo>
                  <a:cubicBezTo>
                    <a:pt x="399" y="15"/>
                    <a:pt x="399" y="15"/>
                    <a:pt x="399" y="15"/>
                  </a:cubicBezTo>
                  <a:lnTo>
                    <a:pt x="399" y="266"/>
                  </a:lnTo>
                  <a:close/>
                  <a:moveTo>
                    <a:pt x="40" y="247"/>
                  </a:moveTo>
                  <a:cubicBezTo>
                    <a:pt x="373" y="247"/>
                    <a:pt x="373" y="247"/>
                    <a:pt x="373" y="247"/>
                  </a:cubicBezTo>
                  <a:cubicBezTo>
                    <a:pt x="377" y="247"/>
                    <a:pt x="381" y="244"/>
                    <a:pt x="381" y="240"/>
                  </a:cubicBezTo>
                  <a:cubicBezTo>
                    <a:pt x="381" y="41"/>
                    <a:pt x="381" y="41"/>
                    <a:pt x="381" y="41"/>
                  </a:cubicBezTo>
                  <a:cubicBezTo>
                    <a:pt x="381" y="37"/>
                    <a:pt x="377" y="33"/>
                    <a:pt x="373" y="33"/>
                  </a:cubicBezTo>
                  <a:cubicBezTo>
                    <a:pt x="40" y="33"/>
                    <a:pt x="40" y="33"/>
                    <a:pt x="40" y="33"/>
                  </a:cubicBezTo>
                  <a:cubicBezTo>
                    <a:pt x="36" y="33"/>
                    <a:pt x="33" y="37"/>
                    <a:pt x="33" y="41"/>
                  </a:cubicBezTo>
                  <a:cubicBezTo>
                    <a:pt x="33" y="240"/>
                    <a:pt x="33" y="240"/>
                    <a:pt x="33" y="240"/>
                  </a:cubicBezTo>
                  <a:cubicBezTo>
                    <a:pt x="33" y="244"/>
                    <a:pt x="36" y="247"/>
                    <a:pt x="40" y="247"/>
                  </a:cubicBezTo>
                  <a:close/>
                  <a:moveTo>
                    <a:pt x="47" y="48"/>
                  </a:moveTo>
                  <a:cubicBezTo>
                    <a:pt x="366" y="48"/>
                    <a:pt x="366" y="48"/>
                    <a:pt x="366" y="48"/>
                  </a:cubicBezTo>
                  <a:cubicBezTo>
                    <a:pt x="366" y="233"/>
                    <a:pt x="366" y="233"/>
                    <a:pt x="366" y="233"/>
                  </a:cubicBezTo>
                  <a:cubicBezTo>
                    <a:pt x="47" y="233"/>
                    <a:pt x="47" y="233"/>
                    <a:pt x="47" y="233"/>
                  </a:cubicBezTo>
                  <a:lnTo>
                    <a:pt x="47" y="4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0" name="Freeform 79"/>
            <p:cNvSpPr>
              <a:spLocks noEditPoints="1"/>
            </p:cNvSpPr>
            <p:nvPr/>
          </p:nvSpPr>
          <p:spPr bwMode="auto">
            <a:xfrm>
              <a:off x="8393972" y="2045861"/>
              <a:ext cx="649975" cy="597365"/>
            </a:xfrm>
            <a:custGeom>
              <a:avLst/>
              <a:gdLst>
                <a:gd name="T0" fmla="*/ 406 w 413"/>
                <a:gd name="T1" fmla="*/ 0 h 380"/>
                <a:gd name="T2" fmla="*/ 7 w 413"/>
                <a:gd name="T3" fmla="*/ 0 h 380"/>
                <a:gd name="T4" fmla="*/ 0 w 413"/>
                <a:gd name="T5" fmla="*/ 7 h 380"/>
                <a:gd name="T6" fmla="*/ 0 w 413"/>
                <a:gd name="T7" fmla="*/ 273 h 380"/>
                <a:gd name="T8" fmla="*/ 7 w 413"/>
                <a:gd name="T9" fmla="*/ 281 h 380"/>
                <a:gd name="T10" fmla="*/ 133 w 413"/>
                <a:gd name="T11" fmla="*/ 281 h 380"/>
                <a:gd name="T12" fmla="*/ 133 w 413"/>
                <a:gd name="T13" fmla="*/ 332 h 380"/>
                <a:gd name="T14" fmla="*/ 73 w 413"/>
                <a:gd name="T15" fmla="*/ 332 h 380"/>
                <a:gd name="T16" fmla="*/ 65 w 413"/>
                <a:gd name="T17" fmla="*/ 340 h 380"/>
                <a:gd name="T18" fmla="*/ 65 w 413"/>
                <a:gd name="T19" fmla="*/ 373 h 380"/>
                <a:gd name="T20" fmla="*/ 73 w 413"/>
                <a:gd name="T21" fmla="*/ 380 h 380"/>
                <a:gd name="T22" fmla="*/ 339 w 413"/>
                <a:gd name="T23" fmla="*/ 380 h 380"/>
                <a:gd name="T24" fmla="*/ 346 w 413"/>
                <a:gd name="T25" fmla="*/ 373 h 380"/>
                <a:gd name="T26" fmla="*/ 346 w 413"/>
                <a:gd name="T27" fmla="*/ 340 h 380"/>
                <a:gd name="T28" fmla="*/ 339 w 413"/>
                <a:gd name="T29" fmla="*/ 332 h 380"/>
                <a:gd name="T30" fmla="*/ 280 w 413"/>
                <a:gd name="T31" fmla="*/ 332 h 380"/>
                <a:gd name="T32" fmla="*/ 280 w 413"/>
                <a:gd name="T33" fmla="*/ 281 h 380"/>
                <a:gd name="T34" fmla="*/ 406 w 413"/>
                <a:gd name="T35" fmla="*/ 281 h 380"/>
                <a:gd name="T36" fmla="*/ 413 w 413"/>
                <a:gd name="T37" fmla="*/ 273 h 380"/>
                <a:gd name="T38" fmla="*/ 413 w 413"/>
                <a:gd name="T39" fmla="*/ 7 h 380"/>
                <a:gd name="T40" fmla="*/ 406 w 413"/>
                <a:gd name="T41" fmla="*/ 0 h 380"/>
                <a:gd name="T42" fmla="*/ 331 w 413"/>
                <a:gd name="T43" fmla="*/ 366 h 380"/>
                <a:gd name="T44" fmla="*/ 80 w 413"/>
                <a:gd name="T45" fmla="*/ 366 h 380"/>
                <a:gd name="T46" fmla="*/ 80 w 413"/>
                <a:gd name="T47" fmla="*/ 347 h 380"/>
                <a:gd name="T48" fmla="*/ 331 w 413"/>
                <a:gd name="T49" fmla="*/ 347 h 380"/>
                <a:gd name="T50" fmla="*/ 331 w 413"/>
                <a:gd name="T51" fmla="*/ 366 h 380"/>
                <a:gd name="T52" fmla="*/ 266 w 413"/>
                <a:gd name="T53" fmla="*/ 332 h 380"/>
                <a:gd name="T54" fmla="*/ 148 w 413"/>
                <a:gd name="T55" fmla="*/ 332 h 380"/>
                <a:gd name="T56" fmla="*/ 148 w 413"/>
                <a:gd name="T57" fmla="*/ 281 h 380"/>
                <a:gd name="T58" fmla="*/ 266 w 413"/>
                <a:gd name="T59" fmla="*/ 281 h 380"/>
                <a:gd name="T60" fmla="*/ 266 w 413"/>
                <a:gd name="T61" fmla="*/ 332 h 380"/>
                <a:gd name="T62" fmla="*/ 399 w 413"/>
                <a:gd name="T63" fmla="*/ 266 h 380"/>
                <a:gd name="T64" fmla="*/ 15 w 413"/>
                <a:gd name="T65" fmla="*/ 266 h 380"/>
                <a:gd name="T66" fmla="*/ 15 w 413"/>
                <a:gd name="T67" fmla="*/ 15 h 380"/>
                <a:gd name="T68" fmla="*/ 399 w 413"/>
                <a:gd name="T69" fmla="*/ 15 h 380"/>
                <a:gd name="T70" fmla="*/ 399 w 413"/>
                <a:gd name="T71" fmla="*/ 266 h 380"/>
                <a:gd name="T72" fmla="*/ 40 w 413"/>
                <a:gd name="T73" fmla="*/ 247 h 380"/>
                <a:gd name="T74" fmla="*/ 373 w 413"/>
                <a:gd name="T75" fmla="*/ 247 h 380"/>
                <a:gd name="T76" fmla="*/ 381 w 413"/>
                <a:gd name="T77" fmla="*/ 240 h 380"/>
                <a:gd name="T78" fmla="*/ 381 w 413"/>
                <a:gd name="T79" fmla="*/ 41 h 380"/>
                <a:gd name="T80" fmla="*/ 373 w 413"/>
                <a:gd name="T81" fmla="*/ 33 h 380"/>
                <a:gd name="T82" fmla="*/ 40 w 413"/>
                <a:gd name="T83" fmla="*/ 33 h 380"/>
                <a:gd name="T84" fmla="*/ 33 w 413"/>
                <a:gd name="T85" fmla="*/ 41 h 380"/>
                <a:gd name="T86" fmla="*/ 33 w 413"/>
                <a:gd name="T87" fmla="*/ 240 h 380"/>
                <a:gd name="T88" fmla="*/ 40 w 413"/>
                <a:gd name="T89" fmla="*/ 247 h 380"/>
                <a:gd name="T90" fmla="*/ 47 w 413"/>
                <a:gd name="T91" fmla="*/ 48 h 380"/>
                <a:gd name="T92" fmla="*/ 366 w 413"/>
                <a:gd name="T93" fmla="*/ 48 h 380"/>
                <a:gd name="T94" fmla="*/ 366 w 413"/>
                <a:gd name="T95" fmla="*/ 233 h 380"/>
                <a:gd name="T96" fmla="*/ 47 w 413"/>
                <a:gd name="T97" fmla="*/ 233 h 380"/>
                <a:gd name="T98" fmla="*/ 47 w 413"/>
                <a:gd name="T99" fmla="*/ 48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3" h="380">
                  <a:moveTo>
                    <a:pt x="406" y="0"/>
                  </a:moveTo>
                  <a:cubicBezTo>
                    <a:pt x="7" y="0"/>
                    <a:pt x="7" y="0"/>
                    <a:pt x="7" y="0"/>
                  </a:cubicBezTo>
                  <a:cubicBezTo>
                    <a:pt x="3" y="0"/>
                    <a:pt x="0" y="3"/>
                    <a:pt x="0" y="7"/>
                  </a:cubicBezTo>
                  <a:cubicBezTo>
                    <a:pt x="0" y="273"/>
                    <a:pt x="0" y="273"/>
                    <a:pt x="0" y="273"/>
                  </a:cubicBezTo>
                  <a:cubicBezTo>
                    <a:pt x="0" y="277"/>
                    <a:pt x="3" y="281"/>
                    <a:pt x="7" y="281"/>
                  </a:cubicBezTo>
                  <a:cubicBezTo>
                    <a:pt x="133" y="281"/>
                    <a:pt x="133" y="281"/>
                    <a:pt x="133" y="281"/>
                  </a:cubicBezTo>
                  <a:cubicBezTo>
                    <a:pt x="133" y="332"/>
                    <a:pt x="133" y="332"/>
                    <a:pt x="133" y="332"/>
                  </a:cubicBezTo>
                  <a:cubicBezTo>
                    <a:pt x="73" y="332"/>
                    <a:pt x="73" y="332"/>
                    <a:pt x="73" y="332"/>
                  </a:cubicBezTo>
                  <a:cubicBezTo>
                    <a:pt x="69" y="332"/>
                    <a:pt x="65" y="336"/>
                    <a:pt x="65" y="340"/>
                  </a:cubicBezTo>
                  <a:cubicBezTo>
                    <a:pt x="65" y="373"/>
                    <a:pt x="65" y="373"/>
                    <a:pt x="65" y="373"/>
                  </a:cubicBezTo>
                  <a:cubicBezTo>
                    <a:pt x="65" y="377"/>
                    <a:pt x="69" y="380"/>
                    <a:pt x="73" y="380"/>
                  </a:cubicBezTo>
                  <a:cubicBezTo>
                    <a:pt x="339" y="380"/>
                    <a:pt x="339" y="380"/>
                    <a:pt x="339" y="380"/>
                  </a:cubicBezTo>
                  <a:cubicBezTo>
                    <a:pt x="343" y="380"/>
                    <a:pt x="346" y="377"/>
                    <a:pt x="346" y="373"/>
                  </a:cubicBezTo>
                  <a:cubicBezTo>
                    <a:pt x="346" y="340"/>
                    <a:pt x="346" y="340"/>
                    <a:pt x="346" y="340"/>
                  </a:cubicBezTo>
                  <a:cubicBezTo>
                    <a:pt x="346" y="336"/>
                    <a:pt x="343" y="332"/>
                    <a:pt x="339" y="332"/>
                  </a:cubicBezTo>
                  <a:cubicBezTo>
                    <a:pt x="280" y="332"/>
                    <a:pt x="280" y="332"/>
                    <a:pt x="280" y="332"/>
                  </a:cubicBezTo>
                  <a:cubicBezTo>
                    <a:pt x="280" y="281"/>
                    <a:pt x="280" y="281"/>
                    <a:pt x="280" y="281"/>
                  </a:cubicBezTo>
                  <a:cubicBezTo>
                    <a:pt x="406" y="281"/>
                    <a:pt x="406" y="281"/>
                    <a:pt x="406" y="281"/>
                  </a:cubicBezTo>
                  <a:cubicBezTo>
                    <a:pt x="410" y="281"/>
                    <a:pt x="413" y="277"/>
                    <a:pt x="413" y="273"/>
                  </a:cubicBezTo>
                  <a:cubicBezTo>
                    <a:pt x="413" y="7"/>
                    <a:pt x="413" y="7"/>
                    <a:pt x="413" y="7"/>
                  </a:cubicBezTo>
                  <a:cubicBezTo>
                    <a:pt x="413" y="3"/>
                    <a:pt x="410" y="0"/>
                    <a:pt x="406" y="0"/>
                  </a:cubicBezTo>
                  <a:close/>
                  <a:moveTo>
                    <a:pt x="331" y="366"/>
                  </a:moveTo>
                  <a:cubicBezTo>
                    <a:pt x="80" y="366"/>
                    <a:pt x="80" y="366"/>
                    <a:pt x="80" y="366"/>
                  </a:cubicBezTo>
                  <a:cubicBezTo>
                    <a:pt x="80" y="347"/>
                    <a:pt x="80" y="347"/>
                    <a:pt x="80" y="347"/>
                  </a:cubicBezTo>
                  <a:cubicBezTo>
                    <a:pt x="331" y="347"/>
                    <a:pt x="331" y="347"/>
                    <a:pt x="331" y="347"/>
                  </a:cubicBezTo>
                  <a:lnTo>
                    <a:pt x="331" y="366"/>
                  </a:lnTo>
                  <a:close/>
                  <a:moveTo>
                    <a:pt x="266" y="332"/>
                  </a:moveTo>
                  <a:cubicBezTo>
                    <a:pt x="148" y="332"/>
                    <a:pt x="148" y="332"/>
                    <a:pt x="148" y="332"/>
                  </a:cubicBezTo>
                  <a:cubicBezTo>
                    <a:pt x="148" y="281"/>
                    <a:pt x="148" y="281"/>
                    <a:pt x="148" y="281"/>
                  </a:cubicBezTo>
                  <a:cubicBezTo>
                    <a:pt x="266" y="281"/>
                    <a:pt x="266" y="281"/>
                    <a:pt x="266" y="281"/>
                  </a:cubicBezTo>
                  <a:lnTo>
                    <a:pt x="266" y="332"/>
                  </a:lnTo>
                  <a:close/>
                  <a:moveTo>
                    <a:pt x="399" y="266"/>
                  </a:moveTo>
                  <a:cubicBezTo>
                    <a:pt x="15" y="266"/>
                    <a:pt x="15" y="266"/>
                    <a:pt x="15" y="266"/>
                  </a:cubicBezTo>
                  <a:cubicBezTo>
                    <a:pt x="15" y="15"/>
                    <a:pt x="15" y="15"/>
                    <a:pt x="15" y="15"/>
                  </a:cubicBezTo>
                  <a:cubicBezTo>
                    <a:pt x="399" y="15"/>
                    <a:pt x="399" y="15"/>
                    <a:pt x="399" y="15"/>
                  </a:cubicBezTo>
                  <a:lnTo>
                    <a:pt x="399" y="266"/>
                  </a:lnTo>
                  <a:close/>
                  <a:moveTo>
                    <a:pt x="40" y="247"/>
                  </a:moveTo>
                  <a:cubicBezTo>
                    <a:pt x="373" y="247"/>
                    <a:pt x="373" y="247"/>
                    <a:pt x="373" y="247"/>
                  </a:cubicBezTo>
                  <a:cubicBezTo>
                    <a:pt x="377" y="247"/>
                    <a:pt x="381" y="244"/>
                    <a:pt x="381" y="240"/>
                  </a:cubicBezTo>
                  <a:cubicBezTo>
                    <a:pt x="381" y="41"/>
                    <a:pt x="381" y="41"/>
                    <a:pt x="381" y="41"/>
                  </a:cubicBezTo>
                  <a:cubicBezTo>
                    <a:pt x="381" y="37"/>
                    <a:pt x="377" y="33"/>
                    <a:pt x="373" y="33"/>
                  </a:cubicBezTo>
                  <a:cubicBezTo>
                    <a:pt x="40" y="33"/>
                    <a:pt x="40" y="33"/>
                    <a:pt x="40" y="33"/>
                  </a:cubicBezTo>
                  <a:cubicBezTo>
                    <a:pt x="36" y="33"/>
                    <a:pt x="33" y="37"/>
                    <a:pt x="33" y="41"/>
                  </a:cubicBezTo>
                  <a:cubicBezTo>
                    <a:pt x="33" y="240"/>
                    <a:pt x="33" y="240"/>
                    <a:pt x="33" y="240"/>
                  </a:cubicBezTo>
                  <a:cubicBezTo>
                    <a:pt x="33" y="244"/>
                    <a:pt x="36" y="247"/>
                    <a:pt x="40" y="247"/>
                  </a:cubicBezTo>
                  <a:close/>
                  <a:moveTo>
                    <a:pt x="47" y="48"/>
                  </a:moveTo>
                  <a:cubicBezTo>
                    <a:pt x="366" y="48"/>
                    <a:pt x="366" y="48"/>
                    <a:pt x="366" y="48"/>
                  </a:cubicBezTo>
                  <a:cubicBezTo>
                    <a:pt x="366" y="233"/>
                    <a:pt x="366" y="233"/>
                    <a:pt x="366" y="233"/>
                  </a:cubicBezTo>
                  <a:cubicBezTo>
                    <a:pt x="47" y="233"/>
                    <a:pt x="47" y="233"/>
                    <a:pt x="47" y="233"/>
                  </a:cubicBezTo>
                  <a:lnTo>
                    <a:pt x="47" y="4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61"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62"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8"/>
              </a:rPr>
              <a:t>www.rapidbbs.cn</a:t>
            </a:r>
            <a:endParaRPr lang="zh-CN" altLang="en-US" sz="1200" b="0">
              <a:latin typeface="Arial" charset="0"/>
              <a:ea typeface="ＭＳ Ｐゴシック" pitchFamily="34" charset="-128"/>
            </a:endParaRPr>
          </a:p>
        </p:txBody>
      </p:sp>
      <p:pic>
        <p:nvPicPr>
          <p:cNvPr id="63" name="Picture 2">
            <a:hlinkClick r:id="rId8"/>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134315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outVertical)">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37"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barn(outVertical)">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37"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barn(outVertical)">
                                      <p:cBhvr>
                                        <p:cTn id="17" dur="50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16" presetClass="entr" presetSubtype="37" fill="hold" nodeType="click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barn(outVertical)">
                                      <p:cBhvr>
                                        <p:cTn id="22" dur="500"/>
                                        <p:tgtEl>
                                          <p:spTgt spid="6"/>
                                        </p:tgtEl>
                                      </p:cBhvr>
                                    </p:animEffect>
                                  </p:childTnLst>
                                </p:cTn>
                              </p:par>
                            </p:childTnLst>
                          </p:cTn>
                        </p:par>
                      </p:childTnLst>
                    </p:cTn>
                  </p:par>
                  <p:par>
                    <p:cTn id="23" fill="hold">
                      <p:stCondLst>
                        <p:cond delay="indefinite"/>
                      </p:stCondLst>
                      <p:childTnLst>
                        <p:par>
                          <p:cTn id="24" fill="hold">
                            <p:stCondLst>
                              <p:cond delay="0"/>
                            </p:stCondLst>
                            <p:childTnLst>
                              <p:par>
                                <p:cTn id="25" presetID="16" presetClass="entr" presetSubtype="37" fill="hold" nodeType="click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barn(outVertical)">
                                      <p:cBhvr>
                                        <p:cTn id="2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indows PowerShell 3.0 Themes</a:t>
            </a:r>
            <a:endParaRPr lang="en-US" dirty="0"/>
          </a:p>
        </p:txBody>
      </p:sp>
      <p:grpSp>
        <p:nvGrpSpPr>
          <p:cNvPr id="47" name="Group 46"/>
          <p:cNvGrpSpPr/>
          <p:nvPr/>
        </p:nvGrpSpPr>
        <p:grpSpPr>
          <a:xfrm>
            <a:off x="507624" y="1012374"/>
            <a:ext cx="2620438" cy="1872234"/>
            <a:chOff x="676656" y="1349832"/>
            <a:chExt cx="3493008" cy="2496312"/>
          </a:xfrm>
        </p:grpSpPr>
        <p:sp>
          <p:nvSpPr>
            <p:cNvPr id="8" name="Light Blue"/>
            <p:cNvSpPr/>
            <p:nvPr/>
          </p:nvSpPr>
          <p:spPr bwMode="auto">
            <a:xfrm>
              <a:off x="676656" y="1349832"/>
              <a:ext cx="3493008" cy="2496312"/>
            </a:xfrm>
            <a:prstGeom prst="roundRect">
              <a:avLst>
                <a:gd name="adj" fmla="val 0"/>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a:r>
                <a:rPr lang="en-US" sz="1700" dirty="0">
                  <a:solidFill>
                    <a:schemeClr val="tx1">
                      <a:alpha val="99000"/>
                    </a:schemeClr>
                  </a:solidFill>
                  <a:latin typeface="Segoe UI" pitchFamily="34" charset="0"/>
                  <a:ea typeface="Segoe UI" pitchFamily="34" charset="0"/>
                  <a:cs typeface="Segoe UI" pitchFamily="34" charset="0"/>
                </a:rPr>
                <a:t>Simple &amp; Easy</a:t>
              </a:r>
            </a:p>
          </p:txBody>
        </p:sp>
        <p:pic>
          <p:nvPicPr>
            <p:cNvPr id="10" name="Picture 35" descr="C:\Users\sakuu\Documents\Ballmer WPC\AI\Vacation.png"/>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879962" y="1637864"/>
              <a:ext cx="1086396" cy="144249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2" name="Group 51"/>
          <p:cNvGrpSpPr/>
          <p:nvPr/>
        </p:nvGrpSpPr>
        <p:grpSpPr>
          <a:xfrm>
            <a:off x="6016977" y="3011804"/>
            <a:ext cx="2620438" cy="1872234"/>
            <a:chOff x="8045452" y="3949024"/>
            <a:chExt cx="3493008" cy="2496312"/>
          </a:xfrm>
        </p:grpSpPr>
        <p:sp>
          <p:nvSpPr>
            <p:cNvPr id="5" name="Red"/>
            <p:cNvSpPr/>
            <p:nvPr/>
          </p:nvSpPr>
          <p:spPr bwMode="auto">
            <a:xfrm>
              <a:off x="8045452" y="3949024"/>
              <a:ext cx="3493008" cy="2496312"/>
            </a:xfrm>
            <a:prstGeom prst="roundRect">
              <a:avLst>
                <a:gd name="adj" fmla="val 0"/>
              </a:avLst>
            </a:prstGeom>
            <a:solidFill>
              <a:schemeClr val="accent5"/>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r>
                <a:rPr lang="en-US" sz="1700" dirty="0">
                  <a:solidFill>
                    <a:schemeClr val="tx1">
                      <a:alpha val="99000"/>
                    </a:schemeClr>
                  </a:solidFill>
                  <a:latin typeface="Segoe UI" pitchFamily="34" charset="0"/>
                  <a:ea typeface="Segoe UI" pitchFamily="34" charset="0"/>
                  <a:cs typeface="Segoe UI" pitchFamily="34" charset="0"/>
                </a:rPr>
                <a:t>PS 3.0  -</a:t>
              </a:r>
              <a:r>
                <a:rPr lang="en-US" sz="1700" dirty="0" err="1">
                  <a:solidFill>
                    <a:schemeClr val="tx1">
                      <a:alpha val="99000"/>
                    </a:schemeClr>
                  </a:solidFill>
                  <a:latin typeface="Segoe UI" pitchFamily="34" charset="0"/>
                  <a:ea typeface="Segoe UI" pitchFamily="34" charset="0"/>
                  <a:cs typeface="Segoe UI" pitchFamily="34" charset="0"/>
                </a:rPr>
                <a:t>gt</a:t>
              </a:r>
              <a:r>
                <a:rPr lang="en-US" sz="1700" dirty="0">
                  <a:solidFill>
                    <a:schemeClr val="tx1">
                      <a:alpha val="99000"/>
                    </a:schemeClr>
                  </a:solidFill>
                  <a:latin typeface="Segoe UI" pitchFamily="34" charset="0"/>
                  <a:ea typeface="Segoe UI" pitchFamily="34" charset="0"/>
                  <a:cs typeface="Segoe UI" pitchFamily="34" charset="0"/>
                </a:rPr>
                <a:t>  PS 2.0</a:t>
              </a:r>
            </a:p>
          </p:txBody>
        </p:sp>
        <p:grpSp>
          <p:nvGrpSpPr>
            <p:cNvPr id="11" name="Group 10"/>
            <p:cNvGrpSpPr/>
            <p:nvPr/>
          </p:nvGrpSpPr>
          <p:grpSpPr bwMode="black">
            <a:xfrm>
              <a:off x="9458640" y="4405080"/>
              <a:ext cx="666632" cy="1137216"/>
              <a:chOff x="3233738" y="168276"/>
              <a:chExt cx="2651125" cy="6480174"/>
            </a:xfrm>
          </p:grpSpPr>
          <p:sp>
            <p:nvSpPr>
              <p:cNvPr id="12"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13"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14"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grpSp>
      <p:grpSp>
        <p:nvGrpSpPr>
          <p:cNvPr id="49" name="Group 48"/>
          <p:cNvGrpSpPr/>
          <p:nvPr/>
        </p:nvGrpSpPr>
        <p:grpSpPr>
          <a:xfrm>
            <a:off x="6016977" y="1012374"/>
            <a:ext cx="2620438" cy="1872234"/>
            <a:chOff x="8045452" y="1349832"/>
            <a:chExt cx="3493008" cy="2496312"/>
          </a:xfrm>
        </p:grpSpPr>
        <p:sp>
          <p:nvSpPr>
            <p:cNvPr id="4" name="Green"/>
            <p:cNvSpPr/>
            <p:nvPr/>
          </p:nvSpPr>
          <p:spPr bwMode="auto">
            <a:xfrm>
              <a:off x="8045452" y="1349832"/>
              <a:ext cx="3493008" cy="2496312"/>
            </a:xfrm>
            <a:prstGeom prst="roundRect">
              <a:avLst>
                <a:gd name="adj" fmla="val 0"/>
              </a:avLst>
            </a:prstGeom>
            <a:solidFill>
              <a:schemeClr val="accent6"/>
            </a:soli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r>
                <a:rPr lang="en-US" sz="1700" dirty="0">
                  <a:solidFill>
                    <a:schemeClr val="tx1">
                      <a:alpha val="99000"/>
                    </a:schemeClr>
                  </a:solidFill>
                  <a:latin typeface="Segoe UI" pitchFamily="34" charset="0"/>
                  <a:ea typeface="Segoe UI" pitchFamily="34" charset="0"/>
                  <a:cs typeface="Segoe UI" pitchFamily="34" charset="0"/>
                </a:rPr>
                <a:t>Robust &amp; Scalable</a:t>
              </a:r>
            </a:p>
          </p:txBody>
        </p:sp>
        <p:sp>
          <p:nvSpPr>
            <p:cNvPr id="15" name="Freeform 35"/>
            <p:cNvSpPr>
              <a:spLocks/>
            </p:cNvSpPr>
            <p:nvPr/>
          </p:nvSpPr>
          <p:spPr bwMode="black">
            <a:xfrm>
              <a:off x="9024221" y="1750933"/>
              <a:ext cx="1535470" cy="1305668"/>
            </a:xfrm>
            <a:custGeom>
              <a:avLst/>
              <a:gdLst>
                <a:gd name="T0" fmla="*/ 120 w 191"/>
                <a:gd name="T1" fmla="*/ 32 h 197"/>
                <a:gd name="T2" fmla="*/ 83 w 191"/>
                <a:gd name="T3" fmla="*/ 3 h 197"/>
                <a:gd name="T4" fmla="*/ 47 w 191"/>
                <a:gd name="T5" fmla="*/ 5 h 197"/>
                <a:gd name="T6" fmla="*/ 44 w 191"/>
                <a:gd name="T7" fmla="*/ 27 h 197"/>
                <a:gd name="T8" fmla="*/ 40 w 191"/>
                <a:gd name="T9" fmla="*/ 29 h 197"/>
                <a:gd name="T10" fmla="*/ 40 w 191"/>
                <a:gd name="T11" fmla="*/ 33 h 197"/>
                <a:gd name="T12" fmla="*/ 45 w 191"/>
                <a:gd name="T13" fmla="*/ 40 h 197"/>
                <a:gd name="T14" fmla="*/ 88 w 191"/>
                <a:gd name="T15" fmla="*/ 44 h 197"/>
                <a:gd name="T16" fmla="*/ 118 w 191"/>
                <a:gd name="T17" fmla="*/ 113 h 197"/>
                <a:gd name="T18" fmla="*/ 144 w 191"/>
                <a:gd name="T19" fmla="*/ 129 h 197"/>
                <a:gd name="T20" fmla="*/ 112 w 191"/>
                <a:gd name="T21" fmla="*/ 109 h 197"/>
                <a:gd name="T22" fmla="*/ 65 w 191"/>
                <a:gd name="T23" fmla="*/ 115 h 197"/>
                <a:gd name="T24" fmla="*/ 0 w 191"/>
                <a:gd name="T25" fmla="*/ 116 h 197"/>
                <a:gd name="T26" fmla="*/ 26 w 191"/>
                <a:gd name="T27" fmla="*/ 174 h 197"/>
                <a:gd name="T28" fmla="*/ 61 w 191"/>
                <a:gd name="T29" fmla="*/ 136 h 197"/>
                <a:gd name="T30" fmla="*/ 57 w 191"/>
                <a:gd name="T31" fmla="*/ 148 h 197"/>
                <a:gd name="T32" fmla="*/ 126 w 191"/>
                <a:gd name="T33" fmla="*/ 140 h 197"/>
                <a:gd name="T34" fmla="*/ 55 w 191"/>
                <a:gd name="T35" fmla="*/ 153 h 197"/>
                <a:gd name="T36" fmla="*/ 30 w 191"/>
                <a:gd name="T37" fmla="*/ 180 h 197"/>
                <a:gd name="T38" fmla="*/ 32 w 191"/>
                <a:gd name="T39" fmla="*/ 182 h 197"/>
                <a:gd name="T40" fmla="*/ 180 w 191"/>
                <a:gd name="T41" fmla="*/ 159 h 197"/>
                <a:gd name="T42" fmla="*/ 185 w 191"/>
                <a:gd name="T43" fmla="*/ 129 h 197"/>
                <a:gd name="T44" fmla="*/ 120 w 191"/>
                <a:gd name="T45" fmla="*/ 32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1" h="197">
                  <a:moveTo>
                    <a:pt x="120" y="32"/>
                  </a:moveTo>
                  <a:cubicBezTo>
                    <a:pt x="112" y="23"/>
                    <a:pt x="99" y="9"/>
                    <a:pt x="83" y="3"/>
                  </a:cubicBezTo>
                  <a:cubicBezTo>
                    <a:pt x="72" y="0"/>
                    <a:pt x="47" y="5"/>
                    <a:pt x="47" y="5"/>
                  </a:cubicBezTo>
                  <a:cubicBezTo>
                    <a:pt x="44" y="27"/>
                    <a:pt x="44" y="27"/>
                    <a:pt x="44" y="27"/>
                  </a:cubicBezTo>
                  <a:cubicBezTo>
                    <a:pt x="40" y="29"/>
                    <a:pt x="40" y="29"/>
                    <a:pt x="40" y="29"/>
                  </a:cubicBezTo>
                  <a:cubicBezTo>
                    <a:pt x="40" y="33"/>
                    <a:pt x="40" y="33"/>
                    <a:pt x="40" y="33"/>
                  </a:cubicBezTo>
                  <a:cubicBezTo>
                    <a:pt x="40" y="33"/>
                    <a:pt x="40" y="37"/>
                    <a:pt x="45" y="40"/>
                  </a:cubicBezTo>
                  <a:cubicBezTo>
                    <a:pt x="50" y="42"/>
                    <a:pt x="73" y="53"/>
                    <a:pt x="88" y="44"/>
                  </a:cubicBezTo>
                  <a:cubicBezTo>
                    <a:pt x="118" y="60"/>
                    <a:pt x="105" y="91"/>
                    <a:pt x="118" y="113"/>
                  </a:cubicBezTo>
                  <a:cubicBezTo>
                    <a:pt x="123" y="120"/>
                    <a:pt x="131" y="127"/>
                    <a:pt x="144" y="129"/>
                  </a:cubicBezTo>
                  <a:cubicBezTo>
                    <a:pt x="144" y="129"/>
                    <a:pt x="115" y="131"/>
                    <a:pt x="112" y="109"/>
                  </a:cubicBezTo>
                  <a:cubicBezTo>
                    <a:pt x="101" y="104"/>
                    <a:pt x="82" y="99"/>
                    <a:pt x="65" y="115"/>
                  </a:cubicBezTo>
                  <a:cubicBezTo>
                    <a:pt x="51" y="100"/>
                    <a:pt x="14" y="100"/>
                    <a:pt x="0" y="116"/>
                  </a:cubicBezTo>
                  <a:cubicBezTo>
                    <a:pt x="6" y="141"/>
                    <a:pt x="18" y="163"/>
                    <a:pt x="26" y="174"/>
                  </a:cubicBezTo>
                  <a:cubicBezTo>
                    <a:pt x="52" y="156"/>
                    <a:pt x="61" y="136"/>
                    <a:pt x="61" y="136"/>
                  </a:cubicBezTo>
                  <a:cubicBezTo>
                    <a:pt x="60" y="140"/>
                    <a:pt x="59" y="144"/>
                    <a:pt x="57" y="148"/>
                  </a:cubicBezTo>
                  <a:cubicBezTo>
                    <a:pt x="103" y="167"/>
                    <a:pt x="126" y="140"/>
                    <a:pt x="126" y="140"/>
                  </a:cubicBezTo>
                  <a:cubicBezTo>
                    <a:pt x="107" y="171"/>
                    <a:pt x="63" y="157"/>
                    <a:pt x="55" y="153"/>
                  </a:cubicBezTo>
                  <a:cubicBezTo>
                    <a:pt x="48" y="166"/>
                    <a:pt x="38" y="175"/>
                    <a:pt x="30" y="180"/>
                  </a:cubicBezTo>
                  <a:cubicBezTo>
                    <a:pt x="32" y="181"/>
                    <a:pt x="32" y="182"/>
                    <a:pt x="32" y="182"/>
                  </a:cubicBezTo>
                  <a:cubicBezTo>
                    <a:pt x="88" y="197"/>
                    <a:pt x="154" y="177"/>
                    <a:pt x="180" y="159"/>
                  </a:cubicBezTo>
                  <a:cubicBezTo>
                    <a:pt x="191" y="151"/>
                    <a:pt x="188" y="138"/>
                    <a:pt x="185" y="129"/>
                  </a:cubicBezTo>
                  <a:cubicBezTo>
                    <a:pt x="172" y="91"/>
                    <a:pt x="134" y="49"/>
                    <a:pt x="120" y="3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dirty="0"/>
            </a:p>
          </p:txBody>
        </p:sp>
      </p:grpSp>
      <p:grpSp>
        <p:nvGrpSpPr>
          <p:cNvPr id="53" name="Group 52"/>
          <p:cNvGrpSpPr/>
          <p:nvPr/>
        </p:nvGrpSpPr>
        <p:grpSpPr>
          <a:xfrm>
            <a:off x="3264841" y="1012374"/>
            <a:ext cx="2620438" cy="1872234"/>
            <a:chOff x="4351988" y="1349832"/>
            <a:chExt cx="3493008" cy="2496312"/>
          </a:xfrm>
        </p:grpSpPr>
        <p:sp>
          <p:nvSpPr>
            <p:cNvPr id="6" name="Yellow"/>
            <p:cNvSpPr/>
            <p:nvPr/>
          </p:nvSpPr>
          <p:spPr bwMode="auto">
            <a:xfrm>
              <a:off x="4351988" y="1349832"/>
              <a:ext cx="3493008" cy="2496312"/>
            </a:xfrm>
            <a:prstGeom prst="roundRect">
              <a:avLst>
                <a:gd name="adj" fmla="val 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spc="-15"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endParaRPr lang="en-US" sz="1700" spc="-15"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endParaRPr lang="en-US" sz="1700" spc="-15"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endParaRPr lang="en-US" sz="1700" spc="-15"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r>
                <a:rPr lang="en-US" sz="1700" spc="-45" dirty="0">
                  <a:solidFill>
                    <a:schemeClr val="tx1">
                      <a:alpha val="99000"/>
                    </a:schemeClr>
                  </a:solidFill>
                  <a:latin typeface="Segoe UI" pitchFamily="34" charset="0"/>
                  <a:ea typeface="Segoe UI" pitchFamily="34" charset="0"/>
                  <a:cs typeface="Segoe UI" pitchFamily="34" charset="0"/>
                </a:rPr>
                <a:t>Comprehensive Coverage</a:t>
              </a:r>
            </a:p>
          </p:txBody>
        </p:sp>
        <p:grpSp>
          <p:nvGrpSpPr>
            <p:cNvPr id="16" name="Group 15"/>
            <p:cNvGrpSpPr>
              <a:grpSpLocks noChangeAspect="1"/>
            </p:cNvGrpSpPr>
            <p:nvPr/>
          </p:nvGrpSpPr>
          <p:grpSpPr bwMode="black">
            <a:xfrm>
              <a:off x="5356809" y="1736438"/>
              <a:ext cx="1483366" cy="1287850"/>
              <a:chOff x="2462213" y="1598613"/>
              <a:chExt cx="4222750" cy="3667125"/>
            </a:xfrm>
          </p:grpSpPr>
          <p:sp>
            <p:nvSpPr>
              <p:cNvPr id="17" name="Rectangle 6"/>
              <p:cNvSpPr>
                <a:spLocks noChangeArrowheads="1"/>
              </p:cNvSpPr>
              <p:nvPr/>
            </p:nvSpPr>
            <p:spPr bwMode="black">
              <a:xfrm>
                <a:off x="5564188"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18" name="Rectangle 7"/>
              <p:cNvSpPr>
                <a:spLocks noChangeArrowheads="1"/>
              </p:cNvSpPr>
              <p:nvPr/>
            </p:nvSpPr>
            <p:spPr bwMode="black">
              <a:xfrm>
                <a:off x="5795963" y="3346451"/>
                <a:ext cx="112713"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19" name="Rectangle 8"/>
              <p:cNvSpPr>
                <a:spLocks noChangeArrowheads="1"/>
              </p:cNvSpPr>
              <p:nvPr/>
            </p:nvSpPr>
            <p:spPr bwMode="black">
              <a:xfrm>
                <a:off x="3092451"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0" name="Rectangle 9"/>
              <p:cNvSpPr>
                <a:spLocks noChangeArrowheads="1"/>
              </p:cNvSpPr>
              <p:nvPr/>
            </p:nvSpPr>
            <p:spPr bwMode="black">
              <a:xfrm>
                <a:off x="3324226" y="3346451"/>
                <a:ext cx="117475"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1" name="Freeform 10"/>
              <p:cNvSpPr>
                <a:spLocks/>
              </p:cNvSpPr>
              <p:nvPr/>
            </p:nvSpPr>
            <p:spPr bwMode="black">
              <a:xfrm>
                <a:off x="3902076" y="2506663"/>
                <a:ext cx="101600" cy="123825"/>
              </a:xfrm>
              <a:custGeom>
                <a:avLst/>
                <a:gdLst>
                  <a:gd name="T0" fmla="*/ 36 w 64"/>
                  <a:gd name="T1" fmla="*/ 78 h 78"/>
                  <a:gd name="T2" fmla="*/ 64 w 64"/>
                  <a:gd name="T3" fmla="*/ 64 h 78"/>
                  <a:gd name="T4" fmla="*/ 26 w 64"/>
                  <a:gd name="T5" fmla="*/ 0 h 78"/>
                  <a:gd name="T6" fmla="*/ 0 w 64"/>
                  <a:gd name="T7" fmla="*/ 17 h 78"/>
                  <a:gd name="T8" fmla="*/ 36 w 64"/>
                  <a:gd name="T9" fmla="*/ 78 h 78"/>
                </a:gdLst>
                <a:ahLst/>
                <a:cxnLst>
                  <a:cxn ang="0">
                    <a:pos x="T0" y="T1"/>
                  </a:cxn>
                  <a:cxn ang="0">
                    <a:pos x="T2" y="T3"/>
                  </a:cxn>
                  <a:cxn ang="0">
                    <a:pos x="T4" y="T5"/>
                  </a:cxn>
                  <a:cxn ang="0">
                    <a:pos x="T6" y="T7"/>
                  </a:cxn>
                  <a:cxn ang="0">
                    <a:pos x="T8" y="T9"/>
                  </a:cxn>
                </a:cxnLst>
                <a:rect l="0" t="0" r="r" b="b"/>
                <a:pathLst>
                  <a:path w="64" h="78">
                    <a:moveTo>
                      <a:pt x="36" y="78"/>
                    </a:moveTo>
                    <a:lnTo>
                      <a:pt x="64" y="64"/>
                    </a:lnTo>
                    <a:lnTo>
                      <a:pt x="26" y="0"/>
                    </a:lnTo>
                    <a:lnTo>
                      <a:pt x="0" y="17"/>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2" name="Freeform 11"/>
              <p:cNvSpPr>
                <a:spLocks/>
              </p:cNvSpPr>
              <p:nvPr/>
            </p:nvSpPr>
            <p:spPr bwMode="black">
              <a:xfrm>
                <a:off x="4017963" y="2709863"/>
                <a:ext cx="98425" cy="123825"/>
              </a:xfrm>
              <a:custGeom>
                <a:avLst/>
                <a:gdLst>
                  <a:gd name="T0" fmla="*/ 36 w 62"/>
                  <a:gd name="T1" fmla="*/ 78 h 78"/>
                  <a:gd name="T2" fmla="*/ 62 w 62"/>
                  <a:gd name="T3" fmla="*/ 61 h 78"/>
                  <a:gd name="T4" fmla="*/ 26 w 62"/>
                  <a:gd name="T5" fmla="*/ 0 h 78"/>
                  <a:gd name="T6" fmla="*/ 0 w 62"/>
                  <a:gd name="T7" fmla="*/ 14 h 78"/>
                  <a:gd name="T8" fmla="*/ 36 w 62"/>
                  <a:gd name="T9" fmla="*/ 78 h 78"/>
                </a:gdLst>
                <a:ahLst/>
                <a:cxnLst>
                  <a:cxn ang="0">
                    <a:pos x="T0" y="T1"/>
                  </a:cxn>
                  <a:cxn ang="0">
                    <a:pos x="T2" y="T3"/>
                  </a:cxn>
                  <a:cxn ang="0">
                    <a:pos x="T4" y="T5"/>
                  </a:cxn>
                  <a:cxn ang="0">
                    <a:pos x="T6" y="T7"/>
                  </a:cxn>
                  <a:cxn ang="0">
                    <a:pos x="T8" y="T9"/>
                  </a:cxn>
                </a:cxnLst>
                <a:rect l="0" t="0" r="r" b="b"/>
                <a:pathLst>
                  <a:path w="62" h="78">
                    <a:moveTo>
                      <a:pt x="36" y="78"/>
                    </a:moveTo>
                    <a:lnTo>
                      <a:pt x="62" y="61"/>
                    </a:lnTo>
                    <a:lnTo>
                      <a:pt x="26" y="0"/>
                    </a:lnTo>
                    <a:lnTo>
                      <a:pt x="0" y="14"/>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3" name="Freeform 12"/>
              <p:cNvSpPr>
                <a:spLocks/>
              </p:cNvSpPr>
              <p:nvPr/>
            </p:nvSpPr>
            <p:spPr bwMode="black">
              <a:xfrm>
                <a:off x="4873626" y="2709863"/>
                <a:ext cx="98425" cy="123825"/>
              </a:xfrm>
              <a:custGeom>
                <a:avLst/>
                <a:gdLst>
                  <a:gd name="T0" fmla="*/ 26 w 62"/>
                  <a:gd name="T1" fmla="*/ 78 h 78"/>
                  <a:gd name="T2" fmla="*/ 62 w 62"/>
                  <a:gd name="T3" fmla="*/ 14 h 78"/>
                  <a:gd name="T4" fmla="*/ 36 w 62"/>
                  <a:gd name="T5" fmla="*/ 0 h 78"/>
                  <a:gd name="T6" fmla="*/ 0 w 62"/>
                  <a:gd name="T7" fmla="*/ 61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4"/>
                    </a:lnTo>
                    <a:lnTo>
                      <a:pt x="36" y="0"/>
                    </a:lnTo>
                    <a:lnTo>
                      <a:pt x="0" y="61"/>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4" name="Freeform 13"/>
              <p:cNvSpPr>
                <a:spLocks/>
              </p:cNvSpPr>
              <p:nvPr/>
            </p:nvSpPr>
            <p:spPr bwMode="black">
              <a:xfrm>
                <a:off x="4989513" y="2506663"/>
                <a:ext cx="98425" cy="123825"/>
              </a:xfrm>
              <a:custGeom>
                <a:avLst/>
                <a:gdLst>
                  <a:gd name="T0" fmla="*/ 26 w 62"/>
                  <a:gd name="T1" fmla="*/ 78 h 78"/>
                  <a:gd name="T2" fmla="*/ 62 w 62"/>
                  <a:gd name="T3" fmla="*/ 17 h 78"/>
                  <a:gd name="T4" fmla="*/ 36 w 62"/>
                  <a:gd name="T5" fmla="*/ 0 h 78"/>
                  <a:gd name="T6" fmla="*/ 0 w 62"/>
                  <a:gd name="T7" fmla="*/ 64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7"/>
                    </a:lnTo>
                    <a:lnTo>
                      <a:pt x="36" y="0"/>
                    </a:lnTo>
                    <a:lnTo>
                      <a:pt x="0" y="64"/>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5" name="Freeform 14"/>
              <p:cNvSpPr>
                <a:spLocks/>
              </p:cNvSpPr>
              <p:nvPr/>
            </p:nvSpPr>
            <p:spPr bwMode="black">
              <a:xfrm>
                <a:off x="4017963" y="3990976"/>
                <a:ext cx="98425" cy="123825"/>
              </a:xfrm>
              <a:custGeom>
                <a:avLst/>
                <a:gdLst>
                  <a:gd name="T0" fmla="*/ 0 w 62"/>
                  <a:gd name="T1" fmla="*/ 64 h 78"/>
                  <a:gd name="T2" fmla="*/ 26 w 62"/>
                  <a:gd name="T3" fmla="*/ 78 h 78"/>
                  <a:gd name="T4" fmla="*/ 62 w 62"/>
                  <a:gd name="T5" fmla="*/ 14 h 78"/>
                  <a:gd name="T6" fmla="*/ 36 w 62"/>
                  <a:gd name="T7" fmla="*/ 0 h 78"/>
                  <a:gd name="T8" fmla="*/ 0 w 62"/>
                  <a:gd name="T9" fmla="*/ 64 h 78"/>
                </a:gdLst>
                <a:ahLst/>
                <a:cxnLst>
                  <a:cxn ang="0">
                    <a:pos x="T0" y="T1"/>
                  </a:cxn>
                  <a:cxn ang="0">
                    <a:pos x="T2" y="T3"/>
                  </a:cxn>
                  <a:cxn ang="0">
                    <a:pos x="T4" y="T5"/>
                  </a:cxn>
                  <a:cxn ang="0">
                    <a:pos x="T6" y="T7"/>
                  </a:cxn>
                  <a:cxn ang="0">
                    <a:pos x="T8" y="T9"/>
                  </a:cxn>
                </a:cxnLst>
                <a:rect l="0" t="0" r="r" b="b"/>
                <a:pathLst>
                  <a:path w="62" h="78">
                    <a:moveTo>
                      <a:pt x="0" y="64"/>
                    </a:moveTo>
                    <a:lnTo>
                      <a:pt x="26" y="78"/>
                    </a:lnTo>
                    <a:lnTo>
                      <a:pt x="62" y="14"/>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6" name="Freeform 15"/>
              <p:cNvSpPr>
                <a:spLocks/>
              </p:cNvSpPr>
              <p:nvPr/>
            </p:nvSpPr>
            <p:spPr bwMode="black">
              <a:xfrm>
                <a:off x="3902076" y="4189413"/>
                <a:ext cx="101600" cy="128588"/>
              </a:xfrm>
              <a:custGeom>
                <a:avLst/>
                <a:gdLst>
                  <a:gd name="T0" fmla="*/ 0 w 64"/>
                  <a:gd name="T1" fmla="*/ 64 h 81"/>
                  <a:gd name="T2" fmla="*/ 26 w 64"/>
                  <a:gd name="T3" fmla="*/ 81 h 81"/>
                  <a:gd name="T4" fmla="*/ 64 w 64"/>
                  <a:gd name="T5" fmla="*/ 17 h 81"/>
                  <a:gd name="T6" fmla="*/ 36 w 64"/>
                  <a:gd name="T7" fmla="*/ 0 h 81"/>
                  <a:gd name="T8" fmla="*/ 0 w 64"/>
                  <a:gd name="T9" fmla="*/ 64 h 81"/>
                </a:gdLst>
                <a:ahLst/>
                <a:cxnLst>
                  <a:cxn ang="0">
                    <a:pos x="T0" y="T1"/>
                  </a:cxn>
                  <a:cxn ang="0">
                    <a:pos x="T2" y="T3"/>
                  </a:cxn>
                  <a:cxn ang="0">
                    <a:pos x="T4" y="T5"/>
                  </a:cxn>
                  <a:cxn ang="0">
                    <a:pos x="T6" y="T7"/>
                  </a:cxn>
                  <a:cxn ang="0">
                    <a:pos x="T8" y="T9"/>
                  </a:cxn>
                </a:cxnLst>
                <a:rect l="0" t="0" r="r" b="b"/>
                <a:pathLst>
                  <a:path w="64" h="81">
                    <a:moveTo>
                      <a:pt x="0" y="64"/>
                    </a:moveTo>
                    <a:lnTo>
                      <a:pt x="26" y="81"/>
                    </a:lnTo>
                    <a:lnTo>
                      <a:pt x="64" y="17"/>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7" name="Freeform 16"/>
              <p:cNvSpPr>
                <a:spLocks/>
              </p:cNvSpPr>
              <p:nvPr/>
            </p:nvSpPr>
            <p:spPr bwMode="black">
              <a:xfrm>
                <a:off x="4989513" y="4189413"/>
                <a:ext cx="98425" cy="128588"/>
              </a:xfrm>
              <a:custGeom>
                <a:avLst/>
                <a:gdLst>
                  <a:gd name="T0" fmla="*/ 26 w 62"/>
                  <a:gd name="T1" fmla="*/ 0 h 81"/>
                  <a:gd name="T2" fmla="*/ 0 w 62"/>
                  <a:gd name="T3" fmla="*/ 17 h 81"/>
                  <a:gd name="T4" fmla="*/ 36 w 62"/>
                  <a:gd name="T5" fmla="*/ 81 h 81"/>
                  <a:gd name="T6" fmla="*/ 62 w 62"/>
                  <a:gd name="T7" fmla="*/ 64 h 81"/>
                  <a:gd name="T8" fmla="*/ 26 w 62"/>
                  <a:gd name="T9" fmla="*/ 0 h 81"/>
                </a:gdLst>
                <a:ahLst/>
                <a:cxnLst>
                  <a:cxn ang="0">
                    <a:pos x="T0" y="T1"/>
                  </a:cxn>
                  <a:cxn ang="0">
                    <a:pos x="T2" y="T3"/>
                  </a:cxn>
                  <a:cxn ang="0">
                    <a:pos x="T4" y="T5"/>
                  </a:cxn>
                  <a:cxn ang="0">
                    <a:pos x="T6" y="T7"/>
                  </a:cxn>
                  <a:cxn ang="0">
                    <a:pos x="T8" y="T9"/>
                  </a:cxn>
                </a:cxnLst>
                <a:rect l="0" t="0" r="r" b="b"/>
                <a:pathLst>
                  <a:path w="62" h="81">
                    <a:moveTo>
                      <a:pt x="26" y="0"/>
                    </a:moveTo>
                    <a:lnTo>
                      <a:pt x="0" y="17"/>
                    </a:lnTo>
                    <a:lnTo>
                      <a:pt x="36" y="81"/>
                    </a:lnTo>
                    <a:lnTo>
                      <a:pt x="62" y="64"/>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8" name="Freeform 17"/>
              <p:cNvSpPr>
                <a:spLocks/>
              </p:cNvSpPr>
              <p:nvPr/>
            </p:nvSpPr>
            <p:spPr bwMode="black">
              <a:xfrm>
                <a:off x="4873626" y="3990976"/>
                <a:ext cx="98425" cy="123825"/>
              </a:xfrm>
              <a:custGeom>
                <a:avLst/>
                <a:gdLst>
                  <a:gd name="T0" fmla="*/ 0 w 62"/>
                  <a:gd name="T1" fmla="*/ 14 h 78"/>
                  <a:gd name="T2" fmla="*/ 36 w 62"/>
                  <a:gd name="T3" fmla="*/ 78 h 78"/>
                  <a:gd name="T4" fmla="*/ 62 w 62"/>
                  <a:gd name="T5" fmla="*/ 64 h 78"/>
                  <a:gd name="T6" fmla="*/ 26 w 62"/>
                  <a:gd name="T7" fmla="*/ 0 h 78"/>
                  <a:gd name="T8" fmla="*/ 0 w 62"/>
                  <a:gd name="T9" fmla="*/ 14 h 78"/>
                </a:gdLst>
                <a:ahLst/>
                <a:cxnLst>
                  <a:cxn ang="0">
                    <a:pos x="T0" y="T1"/>
                  </a:cxn>
                  <a:cxn ang="0">
                    <a:pos x="T2" y="T3"/>
                  </a:cxn>
                  <a:cxn ang="0">
                    <a:pos x="T4" y="T5"/>
                  </a:cxn>
                  <a:cxn ang="0">
                    <a:pos x="T6" y="T7"/>
                  </a:cxn>
                  <a:cxn ang="0">
                    <a:pos x="T8" y="T9"/>
                  </a:cxn>
                </a:cxnLst>
                <a:rect l="0" t="0" r="r" b="b"/>
                <a:pathLst>
                  <a:path w="62" h="78">
                    <a:moveTo>
                      <a:pt x="0" y="14"/>
                    </a:moveTo>
                    <a:lnTo>
                      <a:pt x="36" y="78"/>
                    </a:lnTo>
                    <a:lnTo>
                      <a:pt x="62" y="64"/>
                    </a:lnTo>
                    <a:lnTo>
                      <a:pt x="26" y="0"/>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9" name="Freeform 18"/>
              <p:cNvSpPr>
                <a:spLocks/>
              </p:cNvSpPr>
              <p:nvPr/>
            </p:nvSpPr>
            <p:spPr bwMode="black">
              <a:xfrm>
                <a:off x="3579813" y="2892426"/>
                <a:ext cx="1833563" cy="1068388"/>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0" name="Freeform 19"/>
              <p:cNvSpPr>
                <a:spLocks noEditPoints="1"/>
              </p:cNvSpPr>
              <p:nvPr/>
            </p:nvSpPr>
            <p:spPr bwMode="black">
              <a:xfrm>
                <a:off x="3321051" y="1598613"/>
                <a:ext cx="750888" cy="522288"/>
              </a:xfrm>
              <a:custGeom>
                <a:avLst/>
                <a:gdLst>
                  <a:gd name="T0" fmla="*/ 174 w 200"/>
                  <a:gd name="T1" fmla="*/ 0 h 139"/>
                  <a:gd name="T2" fmla="*/ 26 w 200"/>
                  <a:gd name="T3" fmla="*/ 0 h 139"/>
                  <a:gd name="T4" fmla="*/ 0 w 200"/>
                  <a:gd name="T5" fmla="*/ 27 h 139"/>
                  <a:gd name="T6" fmla="*/ 0 w 200"/>
                  <a:gd name="T7" fmla="*/ 113 h 139"/>
                  <a:gd name="T8" fmla="*/ 26 w 200"/>
                  <a:gd name="T9" fmla="*/ 139 h 139"/>
                  <a:gd name="T10" fmla="*/ 174 w 200"/>
                  <a:gd name="T11" fmla="*/ 139 h 139"/>
                  <a:gd name="T12" fmla="*/ 200 w 200"/>
                  <a:gd name="T13" fmla="*/ 113 h 139"/>
                  <a:gd name="T14" fmla="*/ 200 w 200"/>
                  <a:gd name="T15" fmla="*/ 27 h 139"/>
                  <a:gd name="T16" fmla="*/ 174 w 200"/>
                  <a:gd name="T17" fmla="*/ 0 h 139"/>
                  <a:gd name="T18" fmla="*/ 185 w 200"/>
                  <a:gd name="T19" fmla="*/ 113 h 139"/>
                  <a:gd name="T20" fmla="*/ 174 w 200"/>
                  <a:gd name="T21" fmla="*/ 124 h 139"/>
                  <a:gd name="T22" fmla="*/ 26 w 200"/>
                  <a:gd name="T23" fmla="*/ 124 h 139"/>
                  <a:gd name="T24" fmla="*/ 15 w 200"/>
                  <a:gd name="T25" fmla="*/ 113 h 139"/>
                  <a:gd name="T26" fmla="*/ 15 w 200"/>
                  <a:gd name="T27" fmla="*/ 27 h 139"/>
                  <a:gd name="T28" fmla="*/ 26 w 200"/>
                  <a:gd name="T29" fmla="*/ 16 h 139"/>
                  <a:gd name="T30" fmla="*/ 174 w 200"/>
                  <a:gd name="T31" fmla="*/ 16 h 139"/>
                  <a:gd name="T32" fmla="*/ 185 w 200"/>
                  <a:gd name="T33" fmla="*/ 27 h 139"/>
                  <a:gd name="T34" fmla="*/ 185 w 200"/>
                  <a:gd name="T35" fmla="*/ 11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39">
                    <a:moveTo>
                      <a:pt x="174" y="0"/>
                    </a:moveTo>
                    <a:cubicBezTo>
                      <a:pt x="26" y="0"/>
                      <a:pt x="26" y="0"/>
                      <a:pt x="26" y="0"/>
                    </a:cubicBezTo>
                    <a:cubicBezTo>
                      <a:pt x="12" y="0"/>
                      <a:pt x="0" y="12"/>
                      <a:pt x="0" y="27"/>
                    </a:cubicBezTo>
                    <a:cubicBezTo>
                      <a:pt x="0" y="113"/>
                      <a:pt x="0" y="113"/>
                      <a:pt x="0" y="113"/>
                    </a:cubicBezTo>
                    <a:cubicBezTo>
                      <a:pt x="0" y="127"/>
                      <a:pt x="12" y="139"/>
                      <a:pt x="26" y="139"/>
                    </a:cubicBezTo>
                    <a:cubicBezTo>
                      <a:pt x="174" y="139"/>
                      <a:pt x="174" y="139"/>
                      <a:pt x="174" y="139"/>
                    </a:cubicBezTo>
                    <a:cubicBezTo>
                      <a:pt x="188" y="139"/>
                      <a:pt x="200" y="127"/>
                      <a:pt x="200" y="113"/>
                    </a:cubicBezTo>
                    <a:cubicBezTo>
                      <a:pt x="200" y="27"/>
                      <a:pt x="200" y="27"/>
                      <a:pt x="200" y="27"/>
                    </a:cubicBezTo>
                    <a:cubicBezTo>
                      <a:pt x="200" y="12"/>
                      <a:pt x="188" y="0"/>
                      <a:pt x="174" y="0"/>
                    </a:cubicBezTo>
                    <a:moveTo>
                      <a:pt x="185" y="113"/>
                    </a:moveTo>
                    <a:cubicBezTo>
                      <a:pt x="185" y="119"/>
                      <a:pt x="180" y="124"/>
                      <a:pt x="174" y="124"/>
                    </a:cubicBezTo>
                    <a:cubicBezTo>
                      <a:pt x="26" y="124"/>
                      <a:pt x="26" y="124"/>
                      <a:pt x="26" y="124"/>
                    </a:cubicBezTo>
                    <a:cubicBezTo>
                      <a:pt x="20" y="124"/>
                      <a:pt x="15" y="119"/>
                      <a:pt x="15" y="113"/>
                    </a:cubicBezTo>
                    <a:cubicBezTo>
                      <a:pt x="15" y="27"/>
                      <a:pt x="15" y="27"/>
                      <a:pt x="15" y="27"/>
                    </a:cubicBezTo>
                    <a:cubicBezTo>
                      <a:pt x="15" y="21"/>
                      <a:pt x="20" y="16"/>
                      <a:pt x="26" y="16"/>
                    </a:cubicBezTo>
                    <a:cubicBezTo>
                      <a:pt x="174" y="16"/>
                      <a:pt x="174" y="16"/>
                      <a:pt x="174" y="16"/>
                    </a:cubicBezTo>
                    <a:cubicBezTo>
                      <a:pt x="180" y="16"/>
                      <a:pt x="185" y="21"/>
                      <a:pt x="185" y="27"/>
                    </a:cubicBezTo>
                    <a:lnTo>
                      <a:pt x="185" y="1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1" name="Freeform 20"/>
              <p:cNvSpPr>
                <a:spLocks/>
              </p:cNvSpPr>
              <p:nvPr/>
            </p:nvSpPr>
            <p:spPr bwMode="black">
              <a:xfrm>
                <a:off x="3178176" y="2154238"/>
                <a:ext cx="1035050" cy="239713"/>
              </a:xfrm>
              <a:custGeom>
                <a:avLst/>
                <a:gdLst>
                  <a:gd name="T0" fmla="*/ 7 w 276"/>
                  <a:gd name="T1" fmla="*/ 64 h 64"/>
                  <a:gd name="T2" fmla="*/ 269 w 276"/>
                  <a:gd name="T3" fmla="*/ 64 h 64"/>
                  <a:gd name="T4" fmla="*/ 276 w 276"/>
                  <a:gd name="T5" fmla="*/ 57 h 64"/>
                  <a:gd name="T6" fmla="*/ 276 w 276"/>
                  <a:gd name="T7" fmla="*/ 54 h 64"/>
                  <a:gd name="T8" fmla="*/ 272 w 276"/>
                  <a:gd name="T9" fmla="*/ 42 h 64"/>
                  <a:gd name="T10" fmla="*/ 240 w 276"/>
                  <a:gd name="T11" fmla="*/ 5 h 64"/>
                  <a:gd name="T12" fmla="*/ 229 w 276"/>
                  <a:gd name="T13" fmla="*/ 0 h 64"/>
                  <a:gd name="T14" fmla="*/ 47 w 276"/>
                  <a:gd name="T15" fmla="*/ 0 h 64"/>
                  <a:gd name="T16" fmla="*/ 36 w 276"/>
                  <a:gd name="T17" fmla="*/ 5 h 64"/>
                  <a:gd name="T18" fmla="*/ 4 w 276"/>
                  <a:gd name="T19" fmla="*/ 42 h 64"/>
                  <a:gd name="T20" fmla="*/ 0 w 276"/>
                  <a:gd name="T21" fmla="*/ 54 h 64"/>
                  <a:gd name="T22" fmla="*/ 0 w 276"/>
                  <a:gd name="T23" fmla="*/ 57 h 64"/>
                  <a:gd name="T24" fmla="*/ 7 w 27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6" h="64">
                    <a:moveTo>
                      <a:pt x="7" y="64"/>
                    </a:moveTo>
                    <a:cubicBezTo>
                      <a:pt x="269" y="64"/>
                      <a:pt x="269" y="64"/>
                      <a:pt x="269" y="64"/>
                    </a:cubicBezTo>
                    <a:cubicBezTo>
                      <a:pt x="273" y="64"/>
                      <a:pt x="276" y="61"/>
                      <a:pt x="276" y="57"/>
                    </a:cubicBezTo>
                    <a:cubicBezTo>
                      <a:pt x="276" y="54"/>
                      <a:pt x="276" y="54"/>
                      <a:pt x="276" y="54"/>
                    </a:cubicBezTo>
                    <a:cubicBezTo>
                      <a:pt x="276" y="50"/>
                      <a:pt x="274" y="45"/>
                      <a:pt x="272" y="42"/>
                    </a:cubicBezTo>
                    <a:cubicBezTo>
                      <a:pt x="240" y="5"/>
                      <a:pt x="240" y="5"/>
                      <a:pt x="240" y="5"/>
                    </a:cubicBezTo>
                    <a:cubicBezTo>
                      <a:pt x="238" y="2"/>
                      <a:pt x="233" y="0"/>
                      <a:pt x="229" y="0"/>
                    </a:cubicBezTo>
                    <a:cubicBezTo>
                      <a:pt x="47" y="0"/>
                      <a:pt x="47" y="0"/>
                      <a:pt x="47" y="0"/>
                    </a:cubicBezTo>
                    <a:cubicBezTo>
                      <a:pt x="43" y="0"/>
                      <a:pt x="38" y="2"/>
                      <a:pt x="36" y="5"/>
                    </a:cubicBezTo>
                    <a:cubicBezTo>
                      <a:pt x="4" y="42"/>
                      <a:pt x="4" y="42"/>
                      <a:pt x="4" y="42"/>
                    </a:cubicBezTo>
                    <a:cubicBezTo>
                      <a:pt x="2" y="45"/>
                      <a:pt x="0" y="50"/>
                      <a:pt x="0" y="54"/>
                    </a:cubicBezTo>
                    <a:cubicBezTo>
                      <a:pt x="0" y="57"/>
                      <a:pt x="0" y="57"/>
                      <a:pt x="0" y="57"/>
                    </a:cubicBezTo>
                    <a:cubicBezTo>
                      <a:pt x="0" y="61"/>
                      <a:pt x="3" y="64"/>
                      <a:pt x="7"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2" name="Freeform 21"/>
              <p:cNvSpPr>
                <a:spLocks noEditPoints="1"/>
              </p:cNvSpPr>
              <p:nvPr/>
            </p:nvSpPr>
            <p:spPr bwMode="black">
              <a:xfrm>
                <a:off x="4730751" y="1639888"/>
                <a:ext cx="781050" cy="608013"/>
              </a:xfrm>
              <a:custGeom>
                <a:avLst/>
                <a:gdLst>
                  <a:gd name="T0" fmla="*/ 177 w 208"/>
                  <a:gd name="T1" fmla="*/ 0 h 162"/>
                  <a:gd name="T2" fmla="*/ 31 w 208"/>
                  <a:gd name="T3" fmla="*/ 0 h 162"/>
                  <a:gd name="T4" fmla="*/ 0 w 208"/>
                  <a:gd name="T5" fmla="*/ 31 h 162"/>
                  <a:gd name="T6" fmla="*/ 0 w 208"/>
                  <a:gd name="T7" fmla="*/ 131 h 162"/>
                  <a:gd name="T8" fmla="*/ 31 w 208"/>
                  <a:gd name="T9" fmla="*/ 162 h 162"/>
                  <a:gd name="T10" fmla="*/ 177 w 208"/>
                  <a:gd name="T11" fmla="*/ 162 h 162"/>
                  <a:gd name="T12" fmla="*/ 208 w 208"/>
                  <a:gd name="T13" fmla="*/ 131 h 162"/>
                  <a:gd name="T14" fmla="*/ 208 w 208"/>
                  <a:gd name="T15" fmla="*/ 31 h 162"/>
                  <a:gd name="T16" fmla="*/ 177 w 208"/>
                  <a:gd name="T17" fmla="*/ 0 h 162"/>
                  <a:gd name="T18" fmla="*/ 190 w 208"/>
                  <a:gd name="T19" fmla="*/ 131 h 162"/>
                  <a:gd name="T20" fmla="*/ 177 w 208"/>
                  <a:gd name="T21" fmla="*/ 144 h 162"/>
                  <a:gd name="T22" fmla="*/ 31 w 208"/>
                  <a:gd name="T23" fmla="*/ 144 h 162"/>
                  <a:gd name="T24" fmla="*/ 18 w 208"/>
                  <a:gd name="T25" fmla="*/ 131 h 162"/>
                  <a:gd name="T26" fmla="*/ 18 w 208"/>
                  <a:gd name="T27" fmla="*/ 31 h 162"/>
                  <a:gd name="T28" fmla="*/ 31 w 208"/>
                  <a:gd name="T29" fmla="*/ 18 h 162"/>
                  <a:gd name="T30" fmla="*/ 177 w 208"/>
                  <a:gd name="T31" fmla="*/ 18 h 162"/>
                  <a:gd name="T32" fmla="*/ 190 w 208"/>
                  <a:gd name="T33" fmla="*/ 31 h 162"/>
                  <a:gd name="T34" fmla="*/ 190 w 208"/>
                  <a:gd name="T35" fmla="*/ 13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 h="162">
                    <a:moveTo>
                      <a:pt x="177" y="0"/>
                    </a:moveTo>
                    <a:cubicBezTo>
                      <a:pt x="31" y="0"/>
                      <a:pt x="31" y="0"/>
                      <a:pt x="31" y="0"/>
                    </a:cubicBezTo>
                    <a:cubicBezTo>
                      <a:pt x="14" y="0"/>
                      <a:pt x="0" y="14"/>
                      <a:pt x="0" y="31"/>
                    </a:cubicBezTo>
                    <a:cubicBezTo>
                      <a:pt x="0" y="131"/>
                      <a:pt x="0" y="131"/>
                      <a:pt x="0" y="131"/>
                    </a:cubicBezTo>
                    <a:cubicBezTo>
                      <a:pt x="0" y="148"/>
                      <a:pt x="14" y="162"/>
                      <a:pt x="31" y="162"/>
                    </a:cubicBezTo>
                    <a:cubicBezTo>
                      <a:pt x="177" y="162"/>
                      <a:pt x="177" y="162"/>
                      <a:pt x="177" y="162"/>
                    </a:cubicBezTo>
                    <a:cubicBezTo>
                      <a:pt x="194" y="162"/>
                      <a:pt x="208" y="148"/>
                      <a:pt x="208" y="131"/>
                    </a:cubicBezTo>
                    <a:cubicBezTo>
                      <a:pt x="208" y="31"/>
                      <a:pt x="208" y="31"/>
                      <a:pt x="208" y="31"/>
                    </a:cubicBezTo>
                    <a:cubicBezTo>
                      <a:pt x="208" y="14"/>
                      <a:pt x="194" y="0"/>
                      <a:pt x="177" y="0"/>
                    </a:cubicBezTo>
                    <a:moveTo>
                      <a:pt x="190" y="131"/>
                    </a:moveTo>
                    <a:cubicBezTo>
                      <a:pt x="190" y="138"/>
                      <a:pt x="184" y="144"/>
                      <a:pt x="177" y="144"/>
                    </a:cubicBezTo>
                    <a:cubicBezTo>
                      <a:pt x="31" y="144"/>
                      <a:pt x="31" y="144"/>
                      <a:pt x="31" y="144"/>
                    </a:cubicBezTo>
                    <a:cubicBezTo>
                      <a:pt x="24" y="144"/>
                      <a:pt x="18" y="138"/>
                      <a:pt x="18" y="131"/>
                    </a:cubicBezTo>
                    <a:cubicBezTo>
                      <a:pt x="18" y="31"/>
                      <a:pt x="18" y="31"/>
                      <a:pt x="18" y="31"/>
                    </a:cubicBezTo>
                    <a:cubicBezTo>
                      <a:pt x="18" y="24"/>
                      <a:pt x="24" y="18"/>
                      <a:pt x="31" y="18"/>
                    </a:cubicBezTo>
                    <a:cubicBezTo>
                      <a:pt x="177" y="18"/>
                      <a:pt x="177" y="18"/>
                      <a:pt x="177" y="18"/>
                    </a:cubicBezTo>
                    <a:cubicBezTo>
                      <a:pt x="184" y="18"/>
                      <a:pt x="190" y="24"/>
                      <a:pt x="190" y="31"/>
                    </a:cubicBezTo>
                    <a:lnTo>
                      <a:pt x="190" y="1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3" name="Freeform 22"/>
              <p:cNvSpPr>
                <a:spLocks/>
              </p:cNvSpPr>
              <p:nvPr/>
            </p:nvSpPr>
            <p:spPr bwMode="black">
              <a:xfrm>
                <a:off x="4911726" y="2289176"/>
                <a:ext cx="419100" cy="104775"/>
              </a:xfrm>
              <a:custGeom>
                <a:avLst/>
                <a:gdLst>
                  <a:gd name="T0" fmla="*/ 112 w 112"/>
                  <a:gd name="T1" fmla="*/ 25 h 28"/>
                  <a:gd name="T2" fmla="*/ 112 w 112"/>
                  <a:gd name="T3" fmla="*/ 23 h 28"/>
                  <a:gd name="T4" fmla="*/ 110 w 112"/>
                  <a:gd name="T5" fmla="*/ 18 h 28"/>
                  <a:gd name="T6" fmla="*/ 96 w 112"/>
                  <a:gd name="T7" fmla="*/ 2 h 28"/>
                  <a:gd name="T8" fmla="*/ 91 w 112"/>
                  <a:gd name="T9" fmla="*/ 0 h 28"/>
                  <a:gd name="T10" fmla="*/ 21 w 112"/>
                  <a:gd name="T11" fmla="*/ 0 h 28"/>
                  <a:gd name="T12" fmla="*/ 16 w 112"/>
                  <a:gd name="T13" fmla="*/ 2 h 28"/>
                  <a:gd name="T14" fmla="*/ 2 w 112"/>
                  <a:gd name="T15" fmla="*/ 18 h 28"/>
                  <a:gd name="T16" fmla="*/ 0 w 112"/>
                  <a:gd name="T17" fmla="*/ 23 h 28"/>
                  <a:gd name="T18" fmla="*/ 0 w 112"/>
                  <a:gd name="T19" fmla="*/ 25 h 28"/>
                  <a:gd name="T20" fmla="*/ 3 w 112"/>
                  <a:gd name="T21" fmla="*/ 28 h 28"/>
                  <a:gd name="T22" fmla="*/ 109 w 112"/>
                  <a:gd name="T23" fmla="*/ 28 h 28"/>
                  <a:gd name="T24" fmla="*/ 112 w 112"/>
                  <a:gd name="T25"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28">
                    <a:moveTo>
                      <a:pt x="112" y="25"/>
                    </a:moveTo>
                    <a:cubicBezTo>
                      <a:pt x="112" y="23"/>
                      <a:pt x="112" y="23"/>
                      <a:pt x="112" y="23"/>
                    </a:cubicBezTo>
                    <a:cubicBezTo>
                      <a:pt x="112" y="22"/>
                      <a:pt x="111" y="20"/>
                      <a:pt x="110" y="18"/>
                    </a:cubicBezTo>
                    <a:cubicBezTo>
                      <a:pt x="96" y="2"/>
                      <a:pt x="96" y="2"/>
                      <a:pt x="96" y="2"/>
                    </a:cubicBezTo>
                    <a:cubicBezTo>
                      <a:pt x="95" y="1"/>
                      <a:pt x="93" y="0"/>
                      <a:pt x="91" y="0"/>
                    </a:cubicBezTo>
                    <a:cubicBezTo>
                      <a:pt x="21" y="0"/>
                      <a:pt x="21" y="0"/>
                      <a:pt x="21" y="0"/>
                    </a:cubicBezTo>
                    <a:cubicBezTo>
                      <a:pt x="19" y="0"/>
                      <a:pt x="17" y="1"/>
                      <a:pt x="16" y="2"/>
                    </a:cubicBezTo>
                    <a:cubicBezTo>
                      <a:pt x="2" y="18"/>
                      <a:pt x="2" y="18"/>
                      <a:pt x="2" y="18"/>
                    </a:cubicBezTo>
                    <a:cubicBezTo>
                      <a:pt x="1" y="20"/>
                      <a:pt x="0" y="22"/>
                      <a:pt x="0" y="23"/>
                    </a:cubicBezTo>
                    <a:cubicBezTo>
                      <a:pt x="0" y="25"/>
                      <a:pt x="0" y="25"/>
                      <a:pt x="0" y="25"/>
                    </a:cubicBezTo>
                    <a:cubicBezTo>
                      <a:pt x="0" y="26"/>
                      <a:pt x="1" y="28"/>
                      <a:pt x="3" y="28"/>
                    </a:cubicBezTo>
                    <a:cubicBezTo>
                      <a:pt x="109" y="28"/>
                      <a:pt x="109" y="28"/>
                      <a:pt x="109" y="28"/>
                    </a:cubicBezTo>
                    <a:cubicBezTo>
                      <a:pt x="111" y="28"/>
                      <a:pt x="112" y="26"/>
                      <a:pt x="112" y="2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4" name="Freeform 23"/>
              <p:cNvSpPr>
                <a:spLocks noEditPoints="1"/>
              </p:cNvSpPr>
              <p:nvPr/>
            </p:nvSpPr>
            <p:spPr bwMode="black">
              <a:xfrm>
                <a:off x="5586413" y="1639888"/>
                <a:ext cx="385763" cy="754063"/>
              </a:xfrm>
              <a:custGeom>
                <a:avLst/>
                <a:gdLst>
                  <a:gd name="T0" fmla="*/ 89 w 103"/>
                  <a:gd name="T1" fmla="*/ 0 h 201"/>
                  <a:gd name="T2" fmla="*/ 13 w 103"/>
                  <a:gd name="T3" fmla="*/ 0 h 201"/>
                  <a:gd name="T4" fmla="*/ 0 w 103"/>
                  <a:gd name="T5" fmla="*/ 13 h 201"/>
                  <a:gd name="T6" fmla="*/ 0 w 103"/>
                  <a:gd name="T7" fmla="*/ 187 h 201"/>
                  <a:gd name="T8" fmla="*/ 13 w 103"/>
                  <a:gd name="T9" fmla="*/ 201 h 201"/>
                  <a:gd name="T10" fmla="*/ 89 w 103"/>
                  <a:gd name="T11" fmla="*/ 201 h 201"/>
                  <a:gd name="T12" fmla="*/ 103 w 103"/>
                  <a:gd name="T13" fmla="*/ 187 h 201"/>
                  <a:gd name="T14" fmla="*/ 103 w 103"/>
                  <a:gd name="T15" fmla="*/ 13 h 201"/>
                  <a:gd name="T16" fmla="*/ 89 w 103"/>
                  <a:gd name="T17" fmla="*/ 0 h 201"/>
                  <a:gd name="T18" fmla="*/ 52 w 103"/>
                  <a:gd name="T19" fmla="*/ 187 h 201"/>
                  <a:gd name="T20" fmla="*/ 40 w 103"/>
                  <a:gd name="T21" fmla="*/ 175 h 201"/>
                  <a:gd name="T22" fmla="*/ 52 w 103"/>
                  <a:gd name="T23" fmla="*/ 163 h 201"/>
                  <a:gd name="T24" fmla="*/ 63 w 103"/>
                  <a:gd name="T25" fmla="*/ 175 h 201"/>
                  <a:gd name="T26" fmla="*/ 52 w 103"/>
                  <a:gd name="T27" fmla="*/ 18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201">
                    <a:moveTo>
                      <a:pt x="89" y="0"/>
                    </a:moveTo>
                    <a:cubicBezTo>
                      <a:pt x="13" y="0"/>
                      <a:pt x="13" y="0"/>
                      <a:pt x="13" y="0"/>
                    </a:cubicBezTo>
                    <a:cubicBezTo>
                      <a:pt x="6" y="0"/>
                      <a:pt x="0" y="6"/>
                      <a:pt x="0" y="13"/>
                    </a:cubicBezTo>
                    <a:cubicBezTo>
                      <a:pt x="0" y="187"/>
                      <a:pt x="0" y="187"/>
                      <a:pt x="0" y="187"/>
                    </a:cubicBezTo>
                    <a:cubicBezTo>
                      <a:pt x="0" y="195"/>
                      <a:pt x="6" y="201"/>
                      <a:pt x="13" y="201"/>
                    </a:cubicBezTo>
                    <a:cubicBezTo>
                      <a:pt x="89" y="201"/>
                      <a:pt x="89" y="201"/>
                      <a:pt x="89" y="201"/>
                    </a:cubicBezTo>
                    <a:cubicBezTo>
                      <a:pt x="97" y="201"/>
                      <a:pt x="103" y="195"/>
                      <a:pt x="103" y="187"/>
                    </a:cubicBezTo>
                    <a:cubicBezTo>
                      <a:pt x="103" y="13"/>
                      <a:pt x="103" y="13"/>
                      <a:pt x="103" y="13"/>
                    </a:cubicBezTo>
                    <a:cubicBezTo>
                      <a:pt x="103" y="6"/>
                      <a:pt x="97" y="0"/>
                      <a:pt x="89" y="0"/>
                    </a:cubicBezTo>
                    <a:moveTo>
                      <a:pt x="52" y="187"/>
                    </a:moveTo>
                    <a:cubicBezTo>
                      <a:pt x="45" y="187"/>
                      <a:pt x="40" y="181"/>
                      <a:pt x="40" y="175"/>
                    </a:cubicBezTo>
                    <a:cubicBezTo>
                      <a:pt x="40" y="168"/>
                      <a:pt x="45" y="163"/>
                      <a:pt x="52" y="163"/>
                    </a:cubicBezTo>
                    <a:cubicBezTo>
                      <a:pt x="58" y="163"/>
                      <a:pt x="63" y="168"/>
                      <a:pt x="63" y="175"/>
                    </a:cubicBezTo>
                    <a:cubicBezTo>
                      <a:pt x="63" y="181"/>
                      <a:pt x="58" y="187"/>
                      <a:pt x="52" y="18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5" name="Freeform 24"/>
              <p:cNvSpPr>
                <a:spLocks noEditPoints="1"/>
              </p:cNvSpPr>
              <p:nvPr/>
            </p:nvSpPr>
            <p:spPr bwMode="black">
              <a:xfrm>
                <a:off x="2462213" y="3032126"/>
                <a:ext cx="525463" cy="804863"/>
              </a:xfrm>
              <a:custGeom>
                <a:avLst/>
                <a:gdLst>
                  <a:gd name="T0" fmla="*/ 109 w 140"/>
                  <a:gd name="T1" fmla="*/ 0 h 215"/>
                  <a:gd name="T2" fmla="*/ 31 w 140"/>
                  <a:gd name="T3" fmla="*/ 0 h 215"/>
                  <a:gd name="T4" fmla="*/ 0 w 140"/>
                  <a:gd name="T5" fmla="*/ 30 h 215"/>
                  <a:gd name="T6" fmla="*/ 0 w 140"/>
                  <a:gd name="T7" fmla="*/ 184 h 215"/>
                  <a:gd name="T8" fmla="*/ 31 w 140"/>
                  <a:gd name="T9" fmla="*/ 215 h 215"/>
                  <a:gd name="T10" fmla="*/ 109 w 140"/>
                  <a:gd name="T11" fmla="*/ 215 h 215"/>
                  <a:gd name="T12" fmla="*/ 140 w 140"/>
                  <a:gd name="T13" fmla="*/ 184 h 215"/>
                  <a:gd name="T14" fmla="*/ 140 w 140"/>
                  <a:gd name="T15" fmla="*/ 30 h 215"/>
                  <a:gd name="T16" fmla="*/ 109 w 140"/>
                  <a:gd name="T17" fmla="*/ 0 h 215"/>
                  <a:gd name="T18" fmla="*/ 122 w 140"/>
                  <a:gd name="T19" fmla="*/ 177 h 215"/>
                  <a:gd name="T20" fmla="*/ 109 w 140"/>
                  <a:gd name="T21" fmla="*/ 195 h 215"/>
                  <a:gd name="T22" fmla="*/ 31 w 140"/>
                  <a:gd name="T23" fmla="*/ 195 h 215"/>
                  <a:gd name="T24" fmla="*/ 18 w 140"/>
                  <a:gd name="T25" fmla="*/ 177 h 215"/>
                  <a:gd name="T26" fmla="*/ 18 w 140"/>
                  <a:gd name="T27" fmla="*/ 35 h 215"/>
                  <a:gd name="T28" fmla="*/ 31 w 140"/>
                  <a:gd name="T29" fmla="*/ 18 h 215"/>
                  <a:gd name="T30" fmla="*/ 109 w 140"/>
                  <a:gd name="T31" fmla="*/ 18 h 215"/>
                  <a:gd name="T32" fmla="*/ 122 w 140"/>
                  <a:gd name="T33" fmla="*/ 35 h 215"/>
                  <a:gd name="T34" fmla="*/ 122 w 140"/>
                  <a:gd name="T35" fmla="*/ 17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215">
                    <a:moveTo>
                      <a:pt x="109" y="0"/>
                    </a:moveTo>
                    <a:cubicBezTo>
                      <a:pt x="31" y="0"/>
                      <a:pt x="31" y="0"/>
                      <a:pt x="31" y="0"/>
                    </a:cubicBezTo>
                    <a:cubicBezTo>
                      <a:pt x="14" y="0"/>
                      <a:pt x="0" y="13"/>
                      <a:pt x="0" y="30"/>
                    </a:cubicBezTo>
                    <a:cubicBezTo>
                      <a:pt x="0" y="184"/>
                      <a:pt x="0" y="184"/>
                      <a:pt x="0" y="184"/>
                    </a:cubicBezTo>
                    <a:cubicBezTo>
                      <a:pt x="0" y="201"/>
                      <a:pt x="14" y="215"/>
                      <a:pt x="31" y="215"/>
                    </a:cubicBezTo>
                    <a:cubicBezTo>
                      <a:pt x="109" y="215"/>
                      <a:pt x="109" y="215"/>
                      <a:pt x="109" y="215"/>
                    </a:cubicBezTo>
                    <a:cubicBezTo>
                      <a:pt x="126" y="215"/>
                      <a:pt x="140" y="201"/>
                      <a:pt x="140" y="184"/>
                    </a:cubicBezTo>
                    <a:cubicBezTo>
                      <a:pt x="140" y="30"/>
                      <a:pt x="140" y="30"/>
                      <a:pt x="140" y="30"/>
                    </a:cubicBezTo>
                    <a:cubicBezTo>
                      <a:pt x="140" y="13"/>
                      <a:pt x="126" y="0"/>
                      <a:pt x="109" y="0"/>
                    </a:cubicBezTo>
                    <a:moveTo>
                      <a:pt x="122" y="177"/>
                    </a:moveTo>
                    <a:cubicBezTo>
                      <a:pt x="122" y="187"/>
                      <a:pt x="116" y="195"/>
                      <a:pt x="109" y="195"/>
                    </a:cubicBezTo>
                    <a:cubicBezTo>
                      <a:pt x="31" y="195"/>
                      <a:pt x="31" y="195"/>
                      <a:pt x="31" y="195"/>
                    </a:cubicBezTo>
                    <a:cubicBezTo>
                      <a:pt x="24" y="195"/>
                      <a:pt x="18" y="187"/>
                      <a:pt x="18" y="177"/>
                    </a:cubicBezTo>
                    <a:cubicBezTo>
                      <a:pt x="18" y="35"/>
                      <a:pt x="18" y="35"/>
                      <a:pt x="18" y="35"/>
                    </a:cubicBezTo>
                    <a:cubicBezTo>
                      <a:pt x="18" y="26"/>
                      <a:pt x="24" y="18"/>
                      <a:pt x="31" y="18"/>
                    </a:cubicBezTo>
                    <a:cubicBezTo>
                      <a:pt x="109" y="18"/>
                      <a:pt x="109" y="18"/>
                      <a:pt x="109" y="18"/>
                    </a:cubicBezTo>
                    <a:cubicBezTo>
                      <a:pt x="116" y="18"/>
                      <a:pt x="122" y="26"/>
                      <a:pt x="122" y="35"/>
                    </a:cubicBezTo>
                    <a:lnTo>
                      <a:pt x="122" y="1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6" name="Freeform 25"/>
              <p:cNvSpPr>
                <a:spLocks noEditPoints="1"/>
              </p:cNvSpPr>
              <p:nvPr/>
            </p:nvSpPr>
            <p:spPr bwMode="black">
              <a:xfrm>
                <a:off x="5049838" y="4411663"/>
                <a:ext cx="739775" cy="854075"/>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7" name="Freeform 26"/>
              <p:cNvSpPr>
                <a:spLocks noEditPoints="1"/>
              </p:cNvSpPr>
              <p:nvPr/>
            </p:nvSpPr>
            <p:spPr bwMode="black">
              <a:xfrm>
                <a:off x="6043613" y="2960688"/>
                <a:ext cx="641350" cy="876300"/>
              </a:xfrm>
              <a:custGeom>
                <a:avLst/>
                <a:gdLst>
                  <a:gd name="T0" fmla="*/ 146 w 171"/>
                  <a:gd name="T1" fmla="*/ 0 h 234"/>
                  <a:gd name="T2" fmla="*/ 25 w 171"/>
                  <a:gd name="T3" fmla="*/ 0 h 234"/>
                  <a:gd name="T4" fmla="*/ 0 w 171"/>
                  <a:gd name="T5" fmla="*/ 25 h 234"/>
                  <a:gd name="T6" fmla="*/ 0 w 171"/>
                  <a:gd name="T7" fmla="*/ 209 h 234"/>
                  <a:gd name="T8" fmla="*/ 25 w 171"/>
                  <a:gd name="T9" fmla="*/ 234 h 234"/>
                  <a:gd name="T10" fmla="*/ 146 w 171"/>
                  <a:gd name="T11" fmla="*/ 234 h 234"/>
                  <a:gd name="T12" fmla="*/ 171 w 171"/>
                  <a:gd name="T13" fmla="*/ 209 h 234"/>
                  <a:gd name="T14" fmla="*/ 171 w 171"/>
                  <a:gd name="T15" fmla="*/ 25 h 234"/>
                  <a:gd name="T16" fmla="*/ 146 w 171"/>
                  <a:gd name="T17" fmla="*/ 0 h 234"/>
                  <a:gd name="T18" fmla="*/ 157 w 171"/>
                  <a:gd name="T19" fmla="*/ 183 h 234"/>
                  <a:gd name="T20" fmla="*/ 146 w 171"/>
                  <a:gd name="T21" fmla="*/ 193 h 234"/>
                  <a:gd name="T22" fmla="*/ 25 w 171"/>
                  <a:gd name="T23" fmla="*/ 193 h 234"/>
                  <a:gd name="T24" fmla="*/ 15 w 171"/>
                  <a:gd name="T25" fmla="*/ 183 h 234"/>
                  <a:gd name="T26" fmla="*/ 15 w 171"/>
                  <a:gd name="T27" fmla="*/ 25 h 234"/>
                  <a:gd name="T28" fmla="*/ 25 w 171"/>
                  <a:gd name="T29" fmla="*/ 14 h 234"/>
                  <a:gd name="T30" fmla="*/ 146 w 171"/>
                  <a:gd name="T31" fmla="*/ 14 h 234"/>
                  <a:gd name="T32" fmla="*/ 157 w 171"/>
                  <a:gd name="T33" fmla="*/ 25 h 234"/>
                  <a:gd name="T34" fmla="*/ 157 w 171"/>
                  <a:gd name="T35" fmla="*/ 18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234">
                    <a:moveTo>
                      <a:pt x="146" y="0"/>
                    </a:moveTo>
                    <a:cubicBezTo>
                      <a:pt x="25" y="0"/>
                      <a:pt x="25" y="0"/>
                      <a:pt x="25" y="0"/>
                    </a:cubicBezTo>
                    <a:cubicBezTo>
                      <a:pt x="11" y="0"/>
                      <a:pt x="0" y="11"/>
                      <a:pt x="0" y="25"/>
                    </a:cubicBezTo>
                    <a:cubicBezTo>
                      <a:pt x="0" y="209"/>
                      <a:pt x="0" y="209"/>
                      <a:pt x="0" y="209"/>
                    </a:cubicBezTo>
                    <a:cubicBezTo>
                      <a:pt x="0" y="223"/>
                      <a:pt x="11" y="234"/>
                      <a:pt x="25" y="234"/>
                    </a:cubicBezTo>
                    <a:cubicBezTo>
                      <a:pt x="146" y="234"/>
                      <a:pt x="146" y="234"/>
                      <a:pt x="146" y="234"/>
                    </a:cubicBezTo>
                    <a:cubicBezTo>
                      <a:pt x="160" y="234"/>
                      <a:pt x="171" y="223"/>
                      <a:pt x="171" y="209"/>
                    </a:cubicBezTo>
                    <a:cubicBezTo>
                      <a:pt x="171" y="25"/>
                      <a:pt x="171" y="25"/>
                      <a:pt x="171" y="25"/>
                    </a:cubicBezTo>
                    <a:cubicBezTo>
                      <a:pt x="171" y="11"/>
                      <a:pt x="160" y="0"/>
                      <a:pt x="146" y="0"/>
                    </a:cubicBezTo>
                    <a:moveTo>
                      <a:pt x="157" y="183"/>
                    </a:moveTo>
                    <a:cubicBezTo>
                      <a:pt x="157" y="188"/>
                      <a:pt x="152" y="193"/>
                      <a:pt x="146" y="193"/>
                    </a:cubicBezTo>
                    <a:cubicBezTo>
                      <a:pt x="25" y="193"/>
                      <a:pt x="25" y="193"/>
                      <a:pt x="25" y="193"/>
                    </a:cubicBezTo>
                    <a:cubicBezTo>
                      <a:pt x="19" y="193"/>
                      <a:pt x="15" y="188"/>
                      <a:pt x="15" y="183"/>
                    </a:cubicBezTo>
                    <a:cubicBezTo>
                      <a:pt x="15" y="25"/>
                      <a:pt x="15" y="25"/>
                      <a:pt x="15" y="25"/>
                    </a:cubicBezTo>
                    <a:cubicBezTo>
                      <a:pt x="15" y="19"/>
                      <a:pt x="19" y="14"/>
                      <a:pt x="25" y="14"/>
                    </a:cubicBezTo>
                    <a:cubicBezTo>
                      <a:pt x="146" y="14"/>
                      <a:pt x="146" y="14"/>
                      <a:pt x="146" y="14"/>
                    </a:cubicBezTo>
                    <a:cubicBezTo>
                      <a:pt x="152" y="14"/>
                      <a:pt x="157" y="19"/>
                      <a:pt x="157" y="25"/>
                    </a:cubicBezTo>
                    <a:lnTo>
                      <a:pt x="157" y="1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8" name="Oval 27"/>
              <p:cNvSpPr>
                <a:spLocks noChangeArrowheads="1"/>
              </p:cNvSpPr>
              <p:nvPr/>
            </p:nvSpPr>
            <p:spPr bwMode="black">
              <a:xfrm>
                <a:off x="62245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9" name="Oval 28"/>
              <p:cNvSpPr>
                <a:spLocks noChangeArrowheads="1"/>
              </p:cNvSpPr>
              <p:nvPr/>
            </p:nvSpPr>
            <p:spPr bwMode="black">
              <a:xfrm>
                <a:off x="64531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0" name="Oval 29"/>
              <p:cNvSpPr>
                <a:spLocks noChangeArrowheads="1"/>
              </p:cNvSpPr>
              <p:nvPr/>
            </p:nvSpPr>
            <p:spPr bwMode="black">
              <a:xfrm>
                <a:off x="6340476"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1" name="Freeform 30"/>
              <p:cNvSpPr>
                <a:spLocks/>
              </p:cNvSpPr>
              <p:nvPr/>
            </p:nvSpPr>
            <p:spPr bwMode="black">
              <a:xfrm>
                <a:off x="3425826" y="4279901"/>
                <a:ext cx="442913" cy="16192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2" name="Freeform 31"/>
              <p:cNvSpPr>
                <a:spLocks noEditPoints="1"/>
              </p:cNvSpPr>
              <p:nvPr/>
            </p:nvSpPr>
            <p:spPr bwMode="black">
              <a:xfrm>
                <a:off x="3414713" y="4456113"/>
                <a:ext cx="476250" cy="80962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grpSp>
      <p:grpSp>
        <p:nvGrpSpPr>
          <p:cNvPr id="50" name="Group 49"/>
          <p:cNvGrpSpPr/>
          <p:nvPr/>
        </p:nvGrpSpPr>
        <p:grpSpPr>
          <a:xfrm>
            <a:off x="507624" y="3011804"/>
            <a:ext cx="2620438" cy="1872234"/>
            <a:chOff x="676656" y="3949024"/>
            <a:chExt cx="3493008" cy="2496312"/>
          </a:xfrm>
        </p:grpSpPr>
        <p:sp>
          <p:nvSpPr>
            <p:cNvPr id="9" name="Dark Blue"/>
            <p:cNvSpPr/>
            <p:nvPr/>
          </p:nvSpPr>
          <p:spPr bwMode="auto">
            <a:xfrm>
              <a:off x="676656" y="3949024"/>
              <a:ext cx="3493008" cy="2496312"/>
            </a:xfrm>
            <a:prstGeom prst="roundRect">
              <a:avLst>
                <a:gd name="adj" fmla="val 0"/>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a:p>
              <a:pPr algn="ctr" defTabSz="685637"/>
              <a:r>
                <a:rPr lang="en-US" sz="1700" dirty="0">
                  <a:solidFill>
                    <a:srgbClr val="FFFFFF">
                      <a:alpha val="98824"/>
                    </a:srgbClr>
                  </a:solidFill>
                  <a:latin typeface="Segoe UI" pitchFamily="34" charset="0"/>
                  <a:ea typeface="Segoe UI" pitchFamily="34" charset="0"/>
                  <a:cs typeface="Segoe UI" pitchFamily="34" charset="0"/>
                </a:rPr>
                <a:t>Rich Platform</a:t>
              </a:r>
            </a:p>
          </p:txBody>
        </p:sp>
        <p:grpSp>
          <p:nvGrpSpPr>
            <p:cNvPr id="43" name="Group 42"/>
            <p:cNvGrpSpPr>
              <a:grpSpLocks noChangeAspect="1"/>
            </p:cNvGrpSpPr>
            <p:nvPr/>
          </p:nvGrpSpPr>
          <p:grpSpPr bwMode="black">
            <a:xfrm>
              <a:off x="1767586" y="4527235"/>
              <a:ext cx="1311149" cy="1014057"/>
              <a:chOff x="813584" y="4312262"/>
              <a:chExt cx="478309" cy="370027"/>
            </a:xfrm>
          </p:grpSpPr>
          <p:sp>
            <p:nvSpPr>
              <p:cNvPr id="44" name="Freeform 79"/>
              <p:cNvSpPr>
                <a:spLocks/>
              </p:cNvSpPr>
              <p:nvPr/>
            </p:nvSpPr>
            <p:spPr bwMode="black">
              <a:xfrm>
                <a:off x="813584" y="4503897"/>
                <a:ext cx="478309" cy="178392"/>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200" dirty="0"/>
              </a:p>
            </p:txBody>
          </p:sp>
          <p:sp>
            <p:nvSpPr>
              <p:cNvPr id="45" name="Freeform 80"/>
              <p:cNvSpPr>
                <a:spLocks noEditPoints="1"/>
              </p:cNvSpPr>
              <p:nvPr/>
            </p:nvSpPr>
            <p:spPr bwMode="black">
              <a:xfrm>
                <a:off x="813584" y="4312262"/>
                <a:ext cx="478309" cy="176834"/>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200" dirty="0"/>
              </a:p>
            </p:txBody>
          </p:sp>
        </p:grpSp>
      </p:grpSp>
      <p:grpSp>
        <p:nvGrpSpPr>
          <p:cNvPr id="51" name="Group 50"/>
          <p:cNvGrpSpPr/>
          <p:nvPr/>
        </p:nvGrpSpPr>
        <p:grpSpPr>
          <a:xfrm>
            <a:off x="3265259" y="3011804"/>
            <a:ext cx="2620438" cy="1872234"/>
            <a:chOff x="4366220" y="3949024"/>
            <a:chExt cx="3493008" cy="2496312"/>
          </a:xfrm>
        </p:grpSpPr>
        <p:sp>
          <p:nvSpPr>
            <p:cNvPr id="7" name="Orange"/>
            <p:cNvSpPr/>
            <p:nvPr/>
          </p:nvSpPr>
          <p:spPr bwMode="auto">
            <a:xfrm>
              <a:off x="4366220" y="3949024"/>
              <a:ext cx="3493008" cy="2496312"/>
            </a:xfrm>
            <a:prstGeom prst="roundRect">
              <a:avLst>
                <a:gd name="adj" fmla="val 0"/>
              </a:avLst>
            </a:prstGeom>
            <a:solidFill>
              <a:schemeClr val="accent3"/>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a:r>
                <a:rPr lang="en-US" sz="1700" dirty="0">
                  <a:solidFill>
                    <a:schemeClr val="tx1">
                      <a:alpha val="99000"/>
                    </a:schemeClr>
                  </a:solidFill>
                  <a:latin typeface="Segoe UI" pitchFamily="34" charset="0"/>
                  <a:ea typeface="Segoe UI" pitchFamily="34" charset="0"/>
                  <a:cs typeface="Segoe UI" pitchFamily="34" charset="0"/>
                </a:rPr>
                <a:t>Standards-based</a:t>
              </a:r>
            </a:p>
          </p:txBody>
        </p:sp>
        <p:sp>
          <p:nvSpPr>
            <p:cNvPr id="46" name="Freeform 15"/>
            <p:cNvSpPr>
              <a:spLocks noChangeAspect="1" noEditPoints="1"/>
            </p:cNvSpPr>
            <p:nvPr/>
          </p:nvSpPr>
          <p:spPr bwMode="black">
            <a:xfrm>
              <a:off x="5519047" y="4352572"/>
              <a:ext cx="1187354" cy="1188720"/>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dirty="0"/>
            </a:p>
          </p:txBody>
        </p:sp>
      </p:grpSp>
      <p:sp>
        <p:nvSpPr>
          <p:cNvPr id="54"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55"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4"/>
              </a:rPr>
              <a:t>www.rapidbbs.cn</a:t>
            </a:r>
            <a:endParaRPr lang="zh-CN" altLang="en-US" sz="1200" b="0">
              <a:latin typeface="Arial" charset="0"/>
              <a:ea typeface="ＭＳ Ｐゴシック" pitchFamily="34" charset="-128"/>
            </a:endParaRPr>
          </a:p>
        </p:txBody>
      </p:sp>
      <p:pic>
        <p:nvPicPr>
          <p:cNvPr id="56" name="Picture 2">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228927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457049"/>
          </a:xfrm>
        </p:spPr>
        <p:txBody>
          <a:bodyPr/>
          <a:lstStyle/>
          <a:p>
            <a:r>
              <a:rPr lang="en-US" dirty="0" smtClean="0"/>
              <a:t>Windows PowerShell 3.0 Features</a:t>
            </a:r>
            <a:endParaRPr lang="en-US" dirty="0">
              <a:solidFill>
                <a:srgbClr val="FF0000"/>
              </a:solidFill>
            </a:endParaRPr>
          </a:p>
        </p:txBody>
      </p:sp>
      <p:sp>
        <p:nvSpPr>
          <p:cNvPr id="3" name="Text Placeholder 2"/>
          <p:cNvSpPr>
            <a:spLocks noGrp="1"/>
          </p:cNvSpPr>
          <p:nvPr>
            <p:ph type="body" sz="quarter" idx="10"/>
          </p:nvPr>
        </p:nvSpPr>
        <p:spPr>
          <a:xfrm>
            <a:off x="173355" y="789553"/>
            <a:ext cx="2507942" cy="4308872"/>
          </a:xfrm>
        </p:spPr>
        <p:txBody>
          <a:bodyPr/>
          <a:lstStyle/>
          <a:p>
            <a:pPr marL="0" indent="0">
              <a:lnSpc>
                <a:spcPts val="1200"/>
              </a:lnSpc>
              <a:spcBef>
                <a:spcPts val="0"/>
              </a:spcBef>
              <a:buNone/>
            </a:pPr>
            <a:r>
              <a:rPr lang="en-US" sz="1000" dirty="0"/>
              <a:t>Windows PowerShell Workflow</a:t>
            </a:r>
          </a:p>
          <a:p>
            <a:pPr marL="0" indent="0">
              <a:lnSpc>
                <a:spcPts val="1200"/>
              </a:lnSpc>
              <a:spcBef>
                <a:spcPts val="0"/>
              </a:spcBef>
              <a:buNone/>
            </a:pPr>
            <a:r>
              <a:rPr lang="en-US" sz="1000" dirty="0"/>
              <a:t>.NET Framework 4 support</a:t>
            </a:r>
          </a:p>
          <a:p>
            <a:pPr marL="0" indent="0">
              <a:lnSpc>
                <a:spcPts val="1200"/>
              </a:lnSpc>
              <a:spcBef>
                <a:spcPts val="0"/>
              </a:spcBef>
              <a:buNone/>
            </a:pPr>
            <a:r>
              <a:rPr lang="en-US" sz="1000" dirty="0"/>
              <a:t>Add-Member improvements</a:t>
            </a:r>
          </a:p>
          <a:p>
            <a:pPr marL="0" indent="0">
              <a:lnSpc>
                <a:spcPts val="1200"/>
              </a:lnSpc>
              <a:spcBef>
                <a:spcPts val="0"/>
              </a:spcBef>
              <a:buNone/>
            </a:pPr>
            <a:r>
              <a:rPr lang="en-US" sz="1000" dirty="0"/>
              <a:t>Computer cmdlets</a:t>
            </a:r>
          </a:p>
          <a:p>
            <a:pPr marL="0" indent="0">
              <a:lnSpc>
                <a:spcPts val="1200"/>
              </a:lnSpc>
              <a:spcBef>
                <a:spcPts val="0"/>
              </a:spcBef>
              <a:buNone/>
            </a:pPr>
            <a:r>
              <a:rPr lang="en-US" sz="1000" dirty="0"/>
              <a:t>CSV handling improvements</a:t>
            </a:r>
          </a:p>
          <a:p>
            <a:pPr marL="0" indent="0">
              <a:lnSpc>
                <a:spcPts val="1200"/>
              </a:lnSpc>
              <a:spcBef>
                <a:spcPts val="0"/>
              </a:spcBef>
              <a:buNone/>
            </a:pPr>
            <a:r>
              <a:rPr lang="en-US" sz="1000" dirty="0"/>
              <a:t>Get-ChildItem attributes</a:t>
            </a:r>
          </a:p>
          <a:p>
            <a:pPr marL="0" indent="0">
              <a:lnSpc>
                <a:spcPts val="1200"/>
              </a:lnSpc>
              <a:spcBef>
                <a:spcPts val="0"/>
              </a:spcBef>
              <a:buNone/>
            </a:pPr>
            <a:r>
              <a:rPr lang="en-US" sz="1000" dirty="0"/>
              <a:t>Get-Command improvements</a:t>
            </a:r>
          </a:p>
          <a:p>
            <a:pPr marL="0" indent="0">
              <a:lnSpc>
                <a:spcPts val="1200"/>
              </a:lnSpc>
              <a:spcBef>
                <a:spcPts val="0"/>
              </a:spcBef>
              <a:buNone/>
            </a:pPr>
            <a:r>
              <a:rPr lang="en-US" sz="1000" dirty="0"/>
              <a:t>Get-Content -Tail</a:t>
            </a:r>
          </a:p>
          <a:p>
            <a:pPr marL="0" indent="0">
              <a:lnSpc>
                <a:spcPts val="1200"/>
              </a:lnSpc>
              <a:spcBef>
                <a:spcPts val="0"/>
              </a:spcBef>
              <a:buNone/>
            </a:pPr>
            <a:r>
              <a:rPr lang="en-US" sz="1000" dirty="0"/>
              <a:t>Disconnected sessions</a:t>
            </a:r>
          </a:p>
          <a:p>
            <a:pPr marL="0" indent="0">
              <a:lnSpc>
                <a:spcPts val="1200"/>
              </a:lnSpc>
              <a:spcBef>
                <a:spcPts val="0"/>
              </a:spcBef>
              <a:buNone/>
            </a:pPr>
            <a:r>
              <a:rPr lang="en-US" sz="1000" dirty="0"/>
              <a:t>Better history support</a:t>
            </a:r>
          </a:p>
          <a:p>
            <a:pPr marL="0" indent="0">
              <a:lnSpc>
                <a:spcPts val="1200"/>
              </a:lnSpc>
              <a:spcBef>
                <a:spcPts val="0"/>
              </a:spcBef>
              <a:buNone/>
            </a:pPr>
            <a:r>
              <a:rPr lang="en-US" sz="1000" dirty="0"/>
              <a:t>Security cmdlet fixes</a:t>
            </a:r>
          </a:p>
          <a:p>
            <a:pPr marL="0" indent="0">
              <a:lnSpc>
                <a:spcPts val="1200"/>
              </a:lnSpc>
              <a:spcBef>
                <a:spcPts val="0"/>
              </a:spcBef>
              <a:buNone/>
            </a:pPr>
            <a:r>
              <a:rPr lang="en-US" sz="1000" dirty="0"/>
              <a:t>Select-Object optimizations</a:t>
            </a:r>
          </a:p>
          <a:p>
            <a:pPr marL="0" indent="0">
              <a:lnSpc>
                <a:spcPts val="1200"/>
              </a:lnSpc>
              <a:spcBef>
                <a:spcPts val="0"/>
              </a:spcBef>
              <a:buNone/>
            </a:pPr>
            <a:r>
              <a:rPr lang="en-US" sz="1000" dirty="0"/>
              <a:t>Select-String improvements</a:t>
            </a:r>
          </a:p>
          <a:p>
            <a:pPr marL="0" indent="0">
              <a:lnSpc>
                <a:spcPts val="1200"/>
              </a:lnSpc>
              <a:spcBef>
                <a:spcPts val="0"/>
              </a:spcBef>
              <a:buNone/>
            </a:pPr>
            <a:r>
              <a:rPr lang="en-US" sz="1000" dirty="0"/>
              <a:t>Tee-Object -Append</a:t>
            </a:r>
          </a:p>
          <a:p>
            <a:pPr marL="0" indent="0">
              <a:lnSpc>
                <a:spcPts val="1200"/>
              </a:lnSpc>
              <a:spcBef>
                <a:spcPts val="0"/>
              </a:spcBef>
              <a:buNone/>
            </a:pPr>
            <a:r>
              <a:rPr lang="en-US" sz="1000" dirty="0"/>
              <a:t>Idle timeout &amp; server buffering control</a:t>
            </a:r>
          </a:p>
          <a:p>
            <a:pPr marL="0" indent="0">
              <a:lnSpc>
                <a:spcPts val="1200"/>
              </a:lnSpc>
              <a:spcBef>
                <a:spcPts val="0"/>
              </a:spcBef>
              <a:buNone/>
            </a:pPr>
            <a:r>
              <a:rPr lang="en-US" sz="1000" dirty="0"/>
              <a:t>Invoke-Command in disconnected sessions</a:t>
            </a:r>
          </a:p>
          <a:p>
            <a:pPr marL="0" indent="0">
              <a:lnSpc>
                <a:spcPts val="1200"/>
              </a:lnSpc>
              <a:spcBef>
                <a:spcPts val="0"/>
              </a:spcBef>
              <a:buNone/>
            </a:pPr>
            <a:r>
              <a:rPr lang="en-US" sz="1000" dirty="0"/>
              <a:t>Disconnected jobs</a:t>
            </a:r>
          </a:p>
          <a:p>
            <a:pPr marL="0" indent="0">
              <a:lnSpc>
                <a:spcPts val="1200"/>
              </a:lnSpc>
              <a:spcBef>
                <a:spcPts val="0"/>
              </a:spcBef>
              <a:buNone/>
            </a:pPr>
            <a:r>
              <a:rPr lang="en-US" sz="1000" dirty="0"/>
              <a:t>STA mode by default</a:t>
            </a:r>
          </a:p>
          <a:p>
            <a:pPr marL="0" indent="0">
              <a:lnSpc>
                <a:spcPts val="1200"/>
              </a:lnSpc>
              <a:spcBef>
                <a:spcPts val="0"/>
              </a:spcBef>
              <a:buNone/>
            </a:pPr>
            <a:r>
              <a:rPr lang="en-US" sz="1000" dirty="0"/>
              <a:t>Run with PowerShell context menu</a:t>
            </a:r>
          </a:p>
          <a:p>
            <a:pPr marL="0" indent="0">
              <a:lnSpc>
                <a:spcPts val="1200"/>
              </a:lnSpc>
              <a:spcBef>
                <a:spcPts val="0"/>
              </a:spcBef>
              <a:buNone/>
            </a:pPr>
            <a:r>
              <a:rPr lang="en-US" sz="1000" dirty="0"/>
              <a:t>Updated console font &amp; branding</a:t>
            </a:r>
          </a:p>
          <a:p>
            <a:pPr marL="0" indent="0">
              <a:lnSpc>
                <a:spcPts val="1200"/>
              </a:lnSpc>
              <a:spcBef>
                <a:spcPts val="0"/>
              </a:spcBef>
              <a:buNone/>
            </a:pPr>
            <a:r>
              <a:rPr lang="en-US" sz="1000" dirty="0"/>
              <a:t>Console host start perf improvements</a:t>
            </a:r>
          </a:p>
          <a:p>
            <a:pPr marL="0" indent="0">
              <a:lnSpc>
                <a:spcPts val="1200"/>
              </a:lnSpc>
              <a:spcBef>
                <a:spcPts val="0"/>
              </a:spcBef>
              <a:buNone/>
            </a:pPr>
            <a:r>
              <a:rPr lang="en-US" sz="1000" dirty="0"/>
              <a:t>ETW logging and tracing</a:t>
            </a:r>
          </a:p>
          <a:p>
            <a:pPr marL="0" indent="0">
              <a:lnSpc>
                <a:spcPts val="1200"/>
              </a:lnSpc>
              <a:spcBef>
                <a:spcPts val="0"/>
              </a:spcBef>
              <a:buNone/>
            </a:pPr>
            <a:r>
              <a:rPr lang="en-US" sz="1000" dirty="0"/>
              <a:t>Scheduled jobs</a:t>
            </a:r>
          </a:p>
          <a:p>
            <a:pPr marL="0" indent="0">
              <a:lnSpc>
                <a:spcPts val="1200"/>
              </a:lnSpc>
              <a:spcBef>
                <a:spcPts val="0"/>
              </a:spcBef>
              <a:buNone/>
            </a:pPr>
            <a:r>
              <a:rPr lang="en-US" sz="1000" dirty="0"/>
              <a:t>New Group Policy settings</a:t>
            </a:r>
          </a:p>
          <a:p>
            <a:pPr marL="0" indent="0">
              <a:lnSpc>
                <a:spcPts val="1200"/>
              </a:lnSpc>
              <a:spcBef>
                <a:spcPts val="0"/>
              </a:spcBef>
              <a:buNone/>
            </a:pPr>
            <a:r>
              <a:rPr lang="en-US" sz="1000" dirty="0"/>
              <a:t>Output redirection for all streams</a:t>
            </a:r>
          </a:p>
          <a:p>
            <a:pPr marL="0" indent="0">
              <a:lnSpc>
                <a:spcPts val="1200"/>
              </a:lnSpc>
              <a:spcBef>
                <a:spcPts val="0"/>
              </a:spcBef>
              <a:buNone/>
            </a:pPr>
            <a:r>
              <a:rPr lang="en-US" sz="1000" dirty="0"/>
              <a:t>Dynamic types &amp; formats</a:t>
            </a:r>
          </a:p>
          <a:p>
            <a:pPr marL="0" indent="0">
              <a:lnSpc>
                <a:spcPts val="1200"/>
              </a:lnSpc>
              <a:spcBef>
                <a:spcPts val="0"/>
              </a:spcBef>
              <a:buNone/>
            </a:pPr>
            <a:r>
              <a:rPr lang="en-US" sz="1000" dirty="0"/>
              <a:t>Word wrap</a:t>
            </a:r>
          </a:p>
          <a:p>
            <a:pPr marL="0" indent="0">
              <a:lnSpc>
                <a:spcPts val="1200"/>
              </a:lnSpc>
              <a:spcBef>
                <a:spcPts val="0"/>
              </a:spcBef>
              <a:buNone/>
            </a:pPr>
            <a:r>
              <a:rPr lang="en-US" sz="1000" dirty="0"/>
              <a:t>Default properties on custom objects</a:t>
            </a:r>
          </a:p>
        </p:txBody>
      </p:sp>
      <p:sp>
        <p:nvSpPr>
          <p:cNvPr id="4" name="Text Placeholder 2"/>
          <p:cNvSpPr txBox="1">
            <a:spLocks/>
          </p:cNvSpPr>
          <p:nvPr/>
        </p:nvSpPr>
        <p:spPr>
          <a:xfrm>
            <a:off x="2658278" y="789553"/>
            <a:ext cx="2507942" cy="4308872"/>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90000"/>
              <a:buFontTx/>
              <a:buBlip>
                <a:blip r:embed="rId2"/>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2"/>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2"/>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1200"/>
              </a:lnSpc>
              <a:spcBef>
                <a:spcPts val="0"/>
              </a:spcBef>
              <a:buNone/>
            </a:pPr>
            <a:r>
              <a:rPr lang="en-US" sz="1000" dirty="0"/>
              <a:t>Updatable help system</a:t>
            </a:r>
          </a:p>
          <a:p>
            <a:pPr marL="0" indent="0">
              <a:lnSpc>
                <a:spcPts val="1200"/>
              </a:lnSpc>
              <a:spcBef>
                <a:spcPts val="0"/>
              </a:spcBef>
              <a:buNone/>
            </a:pPr>
            <a:r>
              <a:rPr lang="en-US" sz="1000" dirty="0"/>
              <a:t>Method overload discovery</a:t>
            </a:r>
          </a:p>
          <a:p>
            <a:pPr marL="0" indent="0">
              <a:lnSpc>
                <a:spcPts val="1200"/>
              </a:lnSpc>
              <a:spcBef>
                <a:spcPts val="0"/>
              </a:spcBef>
              <a:buNone/>
            </a:pPr>
            <a:r>
              <a:rPr lang="en-US" sz="1000" dirty="0" err="1"/>
              <a:t>HelpUri</a:t>
            </a:r>
            <a:r>
              <a:rPr lang="en-US" sz="1000" dirty="0"/>
              <a:t> attribute support</a:t>
            </a:r>
          </a:p>
          <a:p>
            <a:pPr marL="0" indent="0">
              <a:lnSpc>
                <a:spcPts val="1200"/>
              </a:lnSpc>
              <a:spcBef>
                <a:spcPts val="0"/>
              </a:spcBef>
              <a:buNone/>
            </a:pPr>
            <a:r>
              <a:rPr lang="en-US" sz="1000" dirty="0" err="1"/>
              <a:t>HelpFile</a:t>
            </a:r>
            <a:r>
              <a:rPr lang="en-US" sz="1000" dirty="0"/>
              <a:t> property on </a:t>
            </a:r>
            <a:r>
              <a:rPr lang="en-US" sz="1000" dirty="0" err="1"/>
              <a:t>FunctionInfo</a:t>
            </a:r>
            <a:endParaRPr lang="en-US" sz="1000" dirty="0"/>
          </a:p>
          <a:p>
            <a:pPr marL="0" indent="0">
              <a:lnSpc>
                <a:spcPts val="1200"/>
              </a:lnSpc>
              <a:spcBef>
                <a:spcPts val="0"/>
              </a:spcBef>
              <a:buNone/>
            </a:pPr>
            <a:r>
              <a:rPr lang="en-US" sz="1000" dirty="0"/>
              <a:t>Custom parameter value defaults</a:t>
            </a:r>
          </a:p>
          <a:p>
            <a:pPr marL="0" indent="0">
              <a:lnSpc>
                <a:spcPts val="1200"/>
              </a:lnSpc>
              <a:spcBef>
                <a:spcPts val="0"/>
              </a:spcBef>
              <a:buNone/>
            </a:pPr>
            <a:r>
              <a:rPr lang="en-US" sz="1000" dirty="0"/>
              <a:t>Simplified Where and </a:t>
            </a:r>
            <a:r>
              <a:rPr lang="en-US" sz="1000" dirty="0" err="1"/>
              <a:t>ForEach</a:t>
            </a:r>
            <a:endParaRPr lang="en-US" sz="1000" dirty="0"/>
          </a:p>
          <a:p>
            <a:pPr marL="0" indent="0">
              <a:lnSpc>
                <a:spcPts val="1200"/>
              </a:lnSpc>
              <a:spcBef>
                <a:spcPts val="0"/>
              </a:spcBef>
              <a:buNone/>
            </a:pPr>
            <a:r>
              <a:rPr lang="en-US" sz="1000" dirty="0"/>
              <a:t>Remoting local variables via $using</a:t>
            </a:r>
          </a:p>
          <a:p>
            <a:pPr marL="0" indent="0">
              <a:lnSpc>
                <a:spcPts val="1200"/>
              </a:lnSpc>
              <a:spcBef>
                <a:spcPts val="0"/>
              </a:spcBef>
              <a:buNone/>
            </a:pPr>
            <a:r>
              <a:rPr lang="en-US" sz="1000" dirty="0"/>
              <a:t>Array syntax for scalars</a:t>
            </a:r>
          </a:p>
          <a:p>
            <a:pPr marL="0" indent="0">
              <a:lnSpc>
                <a:spcPts val="1200"/>
              </a:lnSpc>
              <a:spcBef>
                <a:spcPts val="0"/>
              </a:spcBef>
              <a:buNone/>
            </a:pPr>
            <a:r>
              <a:rPr lang="en-US" sz="1000" dirty="0"/>
              <a:t>New parser built on DLR</a:t>
            </a:r>
          </a:p>
          <a:p>
            <a:pPr marL="0" indent="0">
              <a:lnSpc>
                <a:spcPts val="1200"/>
              </a:lnSpc>
              <a:spcBef>
                <a:spcPts val="0"/>
              </a:spcBef>
              <a:buNone/>
            </a:pPr>
            <a:r>
              <a:rPr lang="en-US" sz="1000" dirty="0"/>
              <a:t>Generic method invocation</a:t>
            </a:r>
          </a:p>
          <a:p>
            <a:pPr marL="0" indent="0">
              <a:lnSpc>
                <a:spcPts val="1200"/>
              </a:lnSpc>
              <a:spcBef>
                <a:spcPts val="0"/>
              </a:spcBef>
              <a:buNone/>
            </a:pPr>
            <a:r>
              <a:rPr lang="en-US" sz="1000" dirty="0"/>
              <a:t>Typecasting </a:t>
            </a:r>
            <a:r>
              <a:rPr lang="en-US" sz="1000" dirty="0" err="1"/>
              <a:t>deserialized</a:t>
            </a:r>
            <a:r>
              <a:rPr lang="en-US" sz="1000" dirty="0"/>
              <a:t> objects</a:t>
            </a:r>
          </a:p>
          <a:p>
            <a:pPr marL="0" indent="0">
              <a:lnSpc>
                <a:spcPts val="1200"/>
              </a:lnSpc>
              <a:spcBef>
                <a:spcPts val="0"/>
              </a:spcBef>
              <a:buNone/>
            </a:pPr>
            <a:r>
              <a:rPr lang="en-US" sz="1000" dirty="0"/>
              <a:t>Improved method overload selection</a:t>
            </a:r>
          </a:p>
          <a:p>
            <a:pPr marL="0" indent="0">
              <a:lnSpc>
                <a:spcPts val="1200"/>
              </a:lnSpc>
              <a:spcBef>
                <a:spcPts val="0"/>
              </a:spcBef>
              <a:buNone/>
            </a:pPr>
            <a:r>
              <a:rPr lang="en-US" sz="1000" dirty="0"/>
              <a:t>New objects from hash tables</a:t>
            </a:r>
          </a:p>
          <a:p>
            <a:pPr marL="0" indent="0">
              <a:lnSpc>
                <a:spcPts val="1200"/>
              </a:lnSpc>
              <a:spcBef>
                <a:spcPts val="0"/>
              </a:spcBef>
              <a:buNone/>
            </a:pPr>
            <a:r>
              <a:rPr lang="en-US" sz="1000" dirty="0"/>
              <a:t>Ordered hash tables</a:t>
            </a:r>
          </a:p>
          <a:p>
            <a:pPr marL="0" indent="0">
              <a:lnSpc>
                <a:spcPts val="1200"/>
              </a:lnSpc>
              <a:spcBef>
                <a:spcPts val="0"/>
              </a:spcBef>
              <a:buNone/>
            </a:pPr>
            <a:r>
              <a:rPr lang="en-US" sz="1000" dirty="0"/>
              <a:t>Typecasting for parameter values</a:t>
            </a:r>
          </a:p>
          <a:p>
            <a:pPr marL="0" indent="0">
              <a:lnSpc>
                <a:spcPts val="1200"/>
              </a:lnSpc>
              <a:spcBef>
                <a:spcPts val="0"/>
              </a:spcBef>
              <a:buNone/>
            </a:pPr>
            <a:r>
              <a:rPr lang="en-US" sz="1000" dirty="0"/>
              <a:t>Pipeline paging APIs</a:t>
            </a:r>
          </a:p>
          <a:p>
            <a:pPr marL="0" indent="0">
              <a:lnSpc>
                <a:spcPts val="1200"/>
              </a:lnSpc>
              <a:spcBef>
                <a:spcPts val="0"/>
              </a:spcBef>
              <a:buNone/>
            </a:pPr>
            <a:r>
              <a:rPr lang="en-US" sz="1000" dirty="0"/>
              <a:t>Nested pipeline APIs</a:t>
            </a:r>
          </a:p>
          <a:p>
            <a:pPr marL="0" indent="0">
              <a:lnSpc>
                <a:spcPts val="1200"/>
              </a:lnSpc>
              <a:spcBef>
                <a:spcPts val="0"/>
              </a:spcBef>
              <a:buNone/>
            </a:pPr>
            <a:r>
              <a:rPr lang="en-US" sz="1000" dirty="0"/>
              <a:t>$</a:t>
            </a:r>
            <a:r>
              <a:rPr lang="en-US" sz="1000" dirty="0" err="1"/>
              <a:t>PSScriptRoot</a:t>
            </a:r>
            <a:r>
              <a:rPr lang="en-US" sz="1000" dirty="0"/>
              <a:t> and $</a:t>
            </a:r>
            <a:r>
              <a:rPr lang="en-US" sz="1000" dirty="0" err="1"/>
              <a:t>PSCommandPath</a:t>
            </a:r>
            <a:endParaRPr lang="en-US" sz="1000" dirty="0"/>
          </a:p>
          <a:p>
            <a:pPr marL="0" indent="0">
              <a:lnSpc>
                <a:spcPts val="1200"/>
              </a:lnSpc>
              <a:spcBef>
                <a:spcPts val="0"/>
              </a:spcBef>
              <a:buNone/>
            </a:pPr>
            <a:r>
              <a:rPr lang="en-US" sz="1000" dirty="0"/>
              <a:t>Improved module discovery &amp; import</a:t>
            </a:r>
          </a:p>
          <a:p>
            <a:pPr marL="0" indent="0">
              <a:lnSpc>
                <a:spcPts val="1200"/>
              </a:lnSpc>
              <a:spcBef>
                <a:spcPts val="0"/>
              </a:spcBef>
              <a:buNone/>
            </a:pPr>
            <a:r>
              <a:rPr lang="en-US" sz="1000" dirty="0"/>
              <a:t>New module manifest keys</a:t>
            </a:r>
          </a:p>
          <a:p>
            <a:pPr marL="0" indent="0">
              <a:lnSpc>
                <a:spcPts val="1200"/>
              </a:lnSpc>
              <a:spcBef>
                <a:spcPts val="0"/>
              </a:spcBef>
              <a:buNone/>
            </a:pPr>
            <a:r>
              <a:rPr lang="en-US" sz="1000" dirty="0"/>
              <a:t>Public abstract syntax tree</a:t>
            </a:r>
          </a:p>
          <a:p>
            <a:pPr marL="0" indent="0">
              <a:lnSpc>
                <a:spcPts val="1200"/>
              </a:lnSpc>
              <a:spcBef>
                <a:spcPts val="0"/>
              </a:spcBef>
              <a:buNone/>
            </a:pPr>
            <a:r>
              <a:rPr lang="en-US" sz="1000" dirty="0"/>
              <a:t>Runspace pool cleanup API</a:t>
            </a:r>
          </a:p>
          <a:p>
            <a:pPr marL="0" indent="0">
              <a:lnSpc>
                <a:spcPts val="1200"/>
              </a:lnSpc>
              <a:spcBef>
                <a:spcPts val="0"/>
              </a:spcBef>
              <a:buNone/>
            </a:pPr>
            <a:r>
              <a:rPr lang="en-US" sz="1000" dirty="0"/>
              <a:t>Public tab completion</a:t>
            </a:r>
          </a:p>
          <a:p>
            <a:pPr marL="0" indent="0">
              <a:lnSpc>
                <a:spcPts val="1200"/>
              </a:lnSpc>
              <a:spcBef>
                <a:spcPts val="0"/>
              </a:spcBef>
              <a:buNone/>
            </a:pPr>
            <a:r>
              <a:rPr lang="en-US" sz="1000" dirty="0"/>
              <a:t>Windows RT API support</a:t>
            </a:r>
          </a:p>
          <a:p>
            <a:pPr marL="0" indent="0">
              <a:lnSpc>
                <a:spcPts val="1200"/>
              </a:lnSpc>
              <a:spcBef>
                <a:spcPts val="0"/>
              </a:spcBef>
              <a:buNone/>
            </a:pPr>
            <a:r>
              <a:rPr lang="en-US" sz="1000" dirty="0"/>
              <a:t>Obsolete cmdlet attribute</a:t>
            </a:r>
          </a:p>
          <a:p>
            <a:pPr marL="0" indent="0">
              <a:lnSpc>
                <a:spcPts val="1200"/>
              </a:lnSpc>
              <a:spcBef>
                <a:spcPts val="0"/>
              </a:spcBef>
              <a:buNone/>
            </a:pPr>
            <a:r>
              <a:rPr lang="en-US" sz="1000" dirty="0"/>
              <a:t>Verb &amp; noun on </a:t>
            </a:r>
            <a:r>
              <a:rPr lang="en-US" sz="1000" dirty="0" err="1"/>
              <a:t>FunctionInfo</a:t>
            </a:r>
            <a:endParaRPr lang="en-US" sz="1000" dirty="0"/>
          </a:p>
          <a:p>
            <a:pPr marL="0" indent="0">
              <a:lnSpc>
                <a:spcPts val="1200"/>
              </a:lnSpc>
              <a:spcBef>
                <a:spcPts val="0"/>
              </a:spcBef>
              <a:buNone/>
            </a:pPr>
            <a:r>
              <a:rPr lang="en-US" sz="1000" dirty="0"/>
              <a:t>Web &amp; REST cmdlets</a:t>
            </a:r>
          </a:p>
          <a:p>
            <a:pPr marL="0" indent="0">
              <a:lnSpc>
                <a:spcPts val="1200"/>
              </a:lnSpc>
              <a:spcBef>
                <a:spcPts val="0"/>
              </a:spcBef>
              <a:buNone/>
            </a:pPr>
            <a:r>
              <a:rPr lang="en-US" sz="1000" dirty="0"/>
              <a:t>JSON cmdlets</a:t>
            </a:r>
          </a:p>
        </p:txBody>
      </p:sp>
      <p:sp>
        <p:nvSpPr>
          <p:cNvPr id="5" name="Text Placeholder 2"/>
          <p:cNvSpPr txBox="1">
            <a:spLocks/>
          </p:cNvSpPr>
          <p:nvPr/>
        </p:nvSpPr>
        <p:spPr>
          <a:xfrm>
            <a:off x="4873101" y="789553"/>
            <a:ext cx="2507942" cy="4462760"/>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90000"/>
              <a:buFontTx/>
              <a:buBlip>
                <a:blip r:embed="rId2"/>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2"/>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2"/>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1200"/>
              </a:lnSpc>
              <a:spcBef>
                <a:spcPts val="0"/>
              </a:spcBef>
              <a:buNone/>
            </a:pPr>
            <a:r>
              <a:rPr lang="en-US" sz="1000" dirty="0"/>
              <a:t>CIM cmdlet authoring from WMI v2</a:t>
            </a:r>
          </a:p>
          <a:p>
            <a:pPr marL="0" indent="0">
              <a:lnSpc>
                <a:spcPts val="1200"/>
              </a:lnSpc>
              <a:spcBef>
                <a:spcPts val="0"/>
              </a:spcBef>
              <a:buNone/>
            </a:pPr>
            <a:r>
              <a:rPr lang="en-US" sz="1000" dirty="0"/>
              <a:t>CIM .NET APIs</a:t>
            </a:r>
          </a:p>
          <a:p>
            <a:pPr marL="0" indent="0">
              <a:lnSpc>
                <a:spcPts val="1200"/>
              </a:lnSpc>
              <a:spcBef>
                <a:spcPts val="0"/>
              </a:spcBef>
              <a:buNone/>
            </a:pPr>
            <a:r>
              <a:rPr lang="en-US" sz="1000" dirty="0"/>
              <a:t>Core CIM cmdlets</a:t>
            </a:r>
          </a:p>
          <a:p>
            <a:pPr marL="0" indent="0">
              <a:lnSpc>
                <a:spcPts val="1200"/>
              </a:lnSpc>
              <a:spcBef>
                <a:spcPts val="0"/>
              </a:spcBef>
              <a:buNone/>
            </a:pPr>
            <a:r>
              <a:rPr lang="en-US" sz="1000" dirty="0"/>
              <a:t>Runtime script compilation</a:t>
            </a:r>
          </a:p>
          <a:p>
            <a:pPr marL="0" indent="0">
              <a:lnSpc>
                <a:spcPts val="1200"/>
              </a:lnSpc>
              <a:spcBef>
                <a:spcPts val="0"/>
              </a:spcBef>
              <a:buNone/>
            </a:pPr>
            <a:r>
              <a:rPr lang="en-US" sz="1000" dirty="0"/>
              <a:t>Engine reliability improvements</a:t>
            </a:r>
          </a:p>
          <a:p>
            <a:pPr marL="0" indent="0">
              <a:lnSpc>
                <a:spcPts val="1200"/>
              </a:lnSpc>
              <a:spcBef>
                <a:spcPts val="0"/>
              </a:spcBef>
              <a:buNone/>
            </a:pPr>
            <a:r>
              <a:rPr lang="en-US" sz="1000" dirty="0"/>
              <a:t>Better Get-ChildItem network perf</a:t>
            </a:r>
          </a:p>
          <a:p>
            <a:pPr marL="0" indent="0">
              <a:lnSpc>
                <a:spcPts val="1200"/>
              </a:lnSpc>
              <a:spcBef>
                <a:spcPts val="0"/>
              </a:spcBef>
              <a:buNone/>
            </a:pPr>
            <a:r>
              <a:rPr lang="en-US" sz="1000" dirty="0"/>
              <a:t>Cmdlet definition files</a:t>
            </a:r>
          </a:p>
          <a:p>
            <a:pPr marL="0" indent="0">
              <a:lnSpc>
                <a:spcPts val="1200"/>
              </a:lnSpc>
              <a:spcBef>
                <a:spcPts val="0"/>
              </a:spcBef>
              <a:buNone/>
            </a:pPr>
            <a:r>
              <a:rPr lang="en-US" sz="1000" dirty="0"/>
              <a:t>Certificate provider improvements</a:t>
            </a:r>
          </a:p>
          <a:p>
            <a:pPr marL="0" indent="0">
              <a:lnSpc>
                <a:spcPts val="1200"/>
              </a:lnSpc>
              <a:spcBef>
                <a:spcPts val="0"/>
              </a:spcBef>
              <a:buNone/>
            </a:pPr>
            <a:r>
              <a:rPr lang="en-US" sz="1000" dirty="0"/>
              <a:t>Credentials for </a:t>
            </a:r>
            <a:r>
              <a:rPr lang="en-US" sz="1000" dirty="0" err="1"/>
              <a:t>FileSystem</a:t>
            </a:r>
            <a:r>
              <a:rPr lang="en-US" sz="1000" dirty="0"/>
              <a:t> provider</a:t>
            </a:r>
          </a:p>
          <a:p>
            <a:pPr marL="0" indent="0">
              <a:lnSpc>
                <a:spcPts val="1200"/>
              </a:lnSpc>
              <a:spcBef>
                <a:spcPts val="0"/>
              </a:spcBef>
              <a:buNone/>
            </a:pPr>
            <a:r>
              <a:rPr lang="en-US" sz="1000" dirty="0"/>
              <a:t>Alternate NTFS data stream support</a:t>
            </a:r>
          </a:p>
          <a:p>
            <a:pPr marL="0" indent="0">
              <a:lnSpc>
                <a:spcPts val="1200"/>
              </a:lnSpc>
              <a:spcBef>
                <a:spcPts val="0"/>
              </a:spcBef>
              <a:buNone/>
            </a:pPr>
            <a:r>
              <a:rPr lang="en-US" sz="1000" dirty="0"/>
              <a:t>Move-Item across drives</a:t>
            </a:r>
          </a:p>
          <a:p>
            <a:pPr marL="0" indent="0">
              <a:lnSpc>
                <a:spcPts val="1200"/>
              </a:lnSpc>
              <a:spcBef>
                <a:spcPts val="0"/>
              </a:spcBef>
              <a:buNone/>
            </a:pPr>
            <a:r>
              <a:rPr lang="en-US" sz="1000" dirty="0"/>
              <a:t>Remote module discovery &amp; import</a:t>
            </a:r>
          </a:p>
          <a:p>
            <a:pPr marL="0" indent="0">
              <a:lnSpc>
                <a:spcPts val="1200"/>
              </a:lnSpc>
              <a:spcBef>
                <a:spcPts val="0"/>
              </a:spcBef>
              <a:buNone/>
            </a:pPr>
            <a:r>
              <a:rPr lang="en-US" sz="1000" dirty="0"/>
              <a:t>Remote session </a:t>
            </a:r>
            <a:r>
              <a:rPr lang="en-US" sz="1000" dirty="0" err="1"/>
              <a:t>autodisconnect</a:t>
            </a:r>
            <a:r>
              <a:rPr lang="en-US" sz="1000" dirty="0"/>
              <a:t> &amp; retry</a:t>
            </a:r>
          </a:p>
          <a:p>
            <a:pPr marL="0" indent="0">
              <a:lnSpc>
                <a:spcPts val="1200"/>
              </a:lnSpc>
              <a:spcBef>
                <a:spcPts val="0"/>
              </a:spcBef>
              <a:buNone/>
            </a:pPr>
            <a:r>
              <a:rPr lang="en-US" sz="1000" dirty="0"/>
              <a:t>Transport options for remote sessions</a:t>
            </a:r>
          </a:p>
          <a:p>
            <a:pPr marL="0" indent="0">
              <a:lnSpc>
                <a:spcPts val="1200"/>
              </a:lnSpc>
              <a:spcBef>
                <a:spcPts val="0"/>
              </a:spcBef>
              <a:buNone/>
            </a:pPr>
            <a:r>
              <a:rPr lang="en-US" sz="1000" dirty="0"/>
              <a:t>Module logging</a:t>
            </a:r>
          </a:p>
          <a:p>
            <a:pPr marL="0" indent="0">
              <a:lnSpc>
                <a:spcPts val="1200"/>
              </a:lnSpc>
              <a:spcBef>
                <a:spcPts val="0"/>
              </a:spcBef>
              <a:buNone/>
            </a:pPr>
            <a:r>
              <a:rPr lang="en-US" sz="1000" dirty="0"/>
              <a:t>RunAs and SharedHost support</a:t>
            </a:r>
          </a:p>
          <a:p>
            <a:pPr marL="0" indent="0">
              <a:lnSpc>
                <a:spcPts val="1200"/>
              </a:lnSpc>
              <a:spcBef>
                <a:spcPts val="0"/>
              </a:spcBef>
              <a:buNone/>
            </a:pPr>
            <a:r>
              <a:rPr lang="en-US" sz="1000" dirty="0"/>
              <a:t>Job integration with Task Scheduler</a:t>
            </a:r>
          </a:p>
          <a:p>
            <a:pPr marL="0" indent="0">
              <a:lnSpc>
                <a:spcPts val="1200"/>
              </a:lnSpc>
              <a:spcBef>
                <a:spcPts val="0"/>
              </a:spcBef>
              <a:buNone/>
            </a:pPr>
            <a:r>
              <a:rPr lang="en-US" sz="1000" dirty="0"/>
              <a:t>Alternate credential support for jobs</a:t>
            </a:r>
          </a:p>
          <a:p>
            <a:pPr marL="0" indent="0">
              <a:lnSpc>
                <a:spcPts val="1200"/>
              </a:lnSpc>
              <a:spcBef>
                <a:spcPts val="0"/>
              </a:spcBef>
              <a:buNone/>
            </a:pPr>
            <a:r>
              <a:rPr lang="en-US" sz="1000" dirty="0"/>
              <a:t>Module </a:t>
            </a:r>
            <a:r>
              <a:rPr lang="en-US" sz="1000" dirty="0" err="1"/>
              <a:t>autoloading</a:t>
            </a:r>
            <a:endParaRPr lang="en-US" sz="1000" dirty="0"/>
          </a:p>
          <a:p>
            <a:pPr marL="0" indent="0">
              <a:lnSpc>
                <a:spcPts val="1200"/>
              </a:lnSpc>
              <a:spcBef>
                <a:spcPts val="0"/>
              </a:spcBef>
              <a:buNone/>
            </a:pPr>
            <a:r>
              <a:rPr lang="en-US" sz="1000" dirty="0"/>
              <a:t>Command discovery improvements</a:t>
            </a:r>
          </a:p>
          <a:p>
            <a:pPr marL="0" indent="0">
              <a:lnSpc>
                <a:spcPts val="1200"/>
              </a:lnSpc>
              <a:spcBef>
                <a:spcPts val="0"/>
              </a:spcBef>
              <a:buNone/>
            </a:pPr>
            <a:r>
              <a:rPr lang="en-US" sz="1000" dirty="0"/>
              <a:t>Special character handling</a:t>
            </a:r>
          </a:p>
          <a:p>
            <a:pPr marL="0" indent="0">
              <a:lnSpc>
                <a:spcPts val="1200"/>
              </a:lnSpc>
              <a:spcBef>
                <a:spcPts val="0"/>
              </a:spcBef>
              <a:buNone/>
            </a:pPr>
            <a:r>
              <a:rPr lang="en-US" sz="1000" dirty="0" err="1"/>
              <a:t>LiteralPath</a:t>
            </a:r>
            <a:r>
              <a:rPr lang="en-US" sz="1000" dirty="0"/>
              <a:t> support for core cmdlets</a:t>
            </a:r>
          </a:p>
          <a:p>
            <a:pPr marL="0" indent="0">
              <a:lnSpc>
                <a:spcPts val="1200"/>
              </a:lnSpc>
              <a:spcBef>
                <a:spcPts val="0"/>
              </a:spcBef>
              <a:buNone/>
            </a:pPr>
            <a:r>
              <a:rPr lang="en-US" sz="1000" dirty="0"/>
              <a:t>Improved tab completion</a:t>
            </a:r>
          </a:p>
          <a:p>
            <a:pPr marL="0" indent="0">
              <a:lnSpc>
                <a:spcPts val="1200"/>
              </a:lnSpc>
              <a:spcBef>
                <a:spcPts val="0"/>
              </a:spcBef>
              <a:buNone/>
            </a:pPr>
            <a:r>
              <a:rPr lang="en-US" sz="1000" dirty="0"/>
              <a:t>Session configuration files</a:t>
            </a:r>
          </a:p>
          <a:p>
            <a:pPr marL="0" indent="0">
              <a:lnSpc>
                <a:spcPts val="1200"/>
              </a:lnSpc>
              <a:spcBef>
                <a:spcPts val="0"/>
              </a:spcBef>
              <a:buNone/>
            </a:pPr>
            <a:r>
              <a:rPr lang="en-US" sz="1000" dirty="0"/>
              <a:t>Intellisense</a:t>
            </a:r>
          </a:p>
          <a:p>
            <a:pPr marL="0" indent="0">
              <a:lnSpc>
                <a:spcPts val="1200"/>
              </a:lnSpc>
              <a:spcBef>
                <a:spcPts val="0"/>
              </a:spcBef>
              <a:buNone/>
            </a:pPr>
            <a:r>
              <a:rPr lang="en-US" sz="1000" dirty="0"/>
              <a:t>Windows Management Framework 3.0</a:t>
            </a:r>
          </a:p>
          <a:p>
            <a:pPr marL="0" indent="0">
              <a:lnSpc>
                <a:spcPts val="1200"/>
              </a:lnSpc>
              <a:spcBef>
                <a:spcPts val="0"/>
              </a:spcBef>
              <a:buNone/>
            </a:pPr>
            <a:r>
              <a:rPr lang="en-US" sz="1000" dirty="0"/>
              <a:t>WinPE support</a:t>
            </a:r>
          </a:p>
          <a:p>
            <a:pPr marL="0" indent="0">
              <a:lnSpc>
                <a:spcPts val="1200"/>
              </a:lnSpc>
              <a:spcBef>
                <a:spcPts val="0"/>
              </a:spcBef>
              <a:buNone/>
            </a:pPr>
            <a:r>
              <a:rPr lang="en-US" sz="1000" dirty="0"/>
              <a:t>Windows RT support</a:t>
            </a:r>
          </a:p>
        </p:txBody>
      </p:sp>
      <p:sp>
        <p:nvSpPr>
          <p:cNvPr id="6" name="Text Placeholder 2"/>
          <p:cNvSpPr txBox="1">
            <a:spLocks/>
          </p:cNvSpPr>
          <p:nvPr/>
        </p:nvSpPr>
        <p:spPr>
          <a:xfrm>
            <a:off x="7164963" y="789553"/>
            <a:ext cx="1948036" cy="4308872"/>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90000"/>
              <a:buFontTx/>
              <a:buBlip>
                <a:blip r:embed="rId2"/>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2"/>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2"/>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1200"/>
              </a:lnSpc>
              <a:spcBef>
                <a:spcPts val="0"/>
              </a:spcBef>
              <a:buNone/>
            </a:pPr>
            <a:r>
              <a:rPr lang="en-US" sz="1000" dirty="0"/>
              <a:t>Windows PowerShell Web Access</a:t>
            </a:r>
          </a:p>
          <a:p>
            <a:pPr marL="0" indent="0">
              <a:lnSpc>
                <a:spcPts val="1200"/>
              </a:lnSpc>
              <a:spcBef>
                <a:spcPts val="0"/>
              </a:spcBef>
              <a:buNone/>
            </a:pPr>
            <a:r>
              <a:rPr lang="en-US" sz="1000" dirty="0"/>
              <a:t>XAML-based workflows</a:t>
            </a:r>
          </a:p>
          <a:p>
            <a:pPr marL="0" indent="0">
              <a:lnSpc>
                <a:spcPts val="1200"/>
              </a:lnSpc>
              <a:spcBef>
                <a:spcPts val="0"/>
              </a:spcBef>
              <a:buNone/>
            </a:pPr>
            <a:r>
              <a:rPr lang="en-US" sz="1000" dirty="0"/>
              <a:t>Script-based workflows</a:t>
            </a:r>
          </a:p>
          <a:p>
            <a:pPr marL="0" indent="0">
              <a:lnSpc>
                <a:spcPts val="1200"/>
              </a:lnSpc>
              <a:spcBef>
                <a:spcPts val="0"/>
              </a:spcBef>
              <a:buNone/>
            </a:pPr>
            <a:r>
              <a:rPr lang="en-US" sz="1000" dirty="0"/>
              <a:t>Control Panel cmdlets</a:t>
            </a:r>
          </a:p>
          <a:p>
            <a:pPr marL="0" indent="0">
              <a:lnSpc>
                <a:spcPts val="1200"/>
              </a:lnSpc>
              <a:spcBef>
                <a:spcPts val="0"/>
              </a:spcBef>
              <a:buNone/>
            </a:pPr>
            <a:r>
              <a:rPr lang="en-US" sz="1000" dirty="0"/>
              <a:t>Unblock-File cmdlet</a:t>
            </a:r>
          </a:p>
          <a:p>
            <a:pPr marL="0" indent="0">
              <a:lnSpc>
                <a:spcPts val="1200"/>
              </a:lnSpc>
              <a:spcBef>
                <a:spcPts val="0"/>
              </a:spcBef>
              <a:buNone/>
            </a:pPr>
            <a:r>
              <a:rPr lang="en-US" sz="1000" dirty="0"/>
              <a:t>Workflow help</a:t>
            </a:r>
          </a:p>
          <a:p>
            <a:pPr marL="0" indent="0">
              <a:lnSpc>
                <a:spcPts val="1200"/>
              </a:lnSpc>
              <a:spcBef>
                <a:spcPts val="0"/>
              </a:spcBef>
              <a:buNone/>
            </a:pPr>
            <a:r>
              <a:rPr lang="en-US" sz="1000" dirty="0"/>
              <a:t>Cmdlet to activity conversion</a:t>
            </a:r>
          </a:p>
          <a:p>
            <a:pPr marL="0" indent="0">
              <a:lnSpc>
                <a:spcPts val="1200"/>
              </a:lnSpc>
              <a:spcBef>
                <a:spcPts val="0"/>
              </a:spcBef>
              <a:buNone/>
            </a:pPr>
            <a:r>
              <a:rPr lang="en-US" sz="1000" dirty="0"/>
              <a:t>Workflow persistence</a:t>
            </a:r>
          </a:p>
          <a:p>
            <a:pPr marL="0" indent="0">
              <a:lnSpc>
                <a:spcPts val="1200"/>
              </a:lnSpc>
              <a:spcBef>
                <a:spcPts val="0"/>
              </a:spcBef>
              <a:buNone/>
            </a:pPr>
            <a:r>
              <a:rPr lang="en-US" sz="1000" dirty="0"/>
              <a:t>Improved WMI object formatting</a:t>
            </a:r>
          </a:p>
          <a:p>
            <a:pPr marL="0" indent="0">
              <a:lnSpc>
                <a:spcPts val="1200"/>
              </a:lnSpc>
              <a:spcBef>
                <a:spcPts val="0"/>
              </a:spcBef>
              <a:buNone/>
            </a:pPr>
            <a:r>
              <a:rPr lang="en-US" sz="1000" dirty="0"/>
              <a:t>Heterogeneous object formatting</a:t>
            </a:r>
          </a:p>
          <a:p>
            <a:pPr marL="0" indent="0">
              <a:lnSpc>
                <a:spcPts val="1200"/>
              </a:lnSpc>
              <a:spcBef>
                <a:spcPts val="0"/>
              </a:spcBef>
              <a:buNone/>
            </a:pPr>
            <a:r>
              <a:rPr lang="en-US" sz="1000" dirty="0"/>
              <a:t>Workflow logging</a:t>
            </a:r>
          </a:p>
          <a:p>
            <a:pPr marL="0" indent="0">
              <a:lnSpc>
                <a:spcPts val="1200"/>
              </a:lnSpc>
              <a:spcBef>
                <a:spcPts val="0"/>
              </a:spcBef>
              <a:buNone/>
            </a:pPr>
            <a:r>
              <a:rPr lang="en-US" sz="1000" dirty="0"/>
              <a:t>Workflow extensibility</a:t>
            </a:r>
          </a:p>
          <a:p>
            <a:pPr marL="0" indent="0">
              <a:lnSpc>
                <a:spcPts val="1200"/>
              </a:lnSpc>
              <a:spcBef>
                <a:spcPts val="0"/>
              </a:spcBef>
              <a:buNone/>
            </a:pPr>
            <a:r>
              <a:rPr lang="en-US" sz="1000" dirty="0"/>
              <a:t>Common workflow parameters</a:t>
            </a:r>
          </a:p>
          <a:p>
            <a:pPr marL="0" indent="0">
              <a:lnSpc>
                <a:spcPts val="1200"/>
              </a:lnSpc>
              <a:spcBef>
                <a:spcPts val="0"/>
              </a:spcBef>
              <a:buNone/>
            </a:pPr>
            <a:r>
              <a:rPr lang="en-US" sz="1000" dirty="0"/>
              <a:t>Workflow execution environment</a:t>
            </a:r>
          </a:p>
          <a:p>
            <a:pPr marL="0" indent="0">
              <a:lnSpc>
                <a:spcPts val="1200"/>
              </a:lnSpc>
              <a:spcBef>
                <a:spcPts val="0"/>
              </a:spcBef>
              <a:buNone/>
            </a:pPr>
            <a:r>
              <a:rPr lang="en-US" sz="1000" dirty="0"/>
              <a:t>Windows PowerShell Web Services</a:t>
            </a:r>
          </a:p>
          <a:p>
            <a:pPr marL="0" indent="0">
              <a:lnSpc>
                <a:spcPts val="1200"/>
              </a:lnSpc>
              <a:spcBef>
                <a:spcPts val="0"/>
              </a:spcBef>
              <a:buNone/>
            </a:pPr>
            <a:r>
              <a:rPr lang="en-US" sz="1000" dirty="0"/>
              <a:t>Snippets</a:t>
            </a:r>
          </a:p>
          <a:p>
            <a:pPr marL="0" indent="0">
              <a:lnSpc>
                <a:spcPts val="1200"/>
              </a:lnSpc>
              <a:spcBef>
                <a:spcPts val="0"/>
              </a:spcBef>
              <a:buNone/>
            </a:pPr>
            <a:r>
              <a:rPr lang="en-US" sz="1000" dirty="0"/>
              <a:t>ISE Add-ons</a:t>
            </a:r>
          </a:p>
          <a:p>
            <a:pPr marL="0" indent="0">
              <a:lnSpc>
                <a:spcPts val="1200"/>
              </a:lnSpc>
              <a:spcBef>
                <a:spcPts val="0"/>
              </a:spcBef>
              <a:buNone/>
            </a:pPr>
            <a:r>
              <a:rPr lang="en-US" sz="1000" dirty="0"/>
              <a:t>IntelliSense support</a:t>
            </a:r>
          </a:p>
          <a:p>
            <a:pPr marL="0" indent="0">
              <a:lnSpc>
                <a:spcPts val="1200"/>
              </a:lnSpc>
              <a:spcBef>
                <a:spcPts val="0"/>
              </a:spcBef>
              <a:buNone/>
            </a:pPr>
            <a:r>
              <a:rPr lang="en-US" sz="1000" dirty="0"/>
              <a:t>Show-Command</a:t>
            </a:r>
          </a:p>
          <a:p>
            <a:pPr marL="0" indent="0">
              <a:lnSpc>
                <a:spcPts val="1200"/>
              </a:lnSpc>
              <a:spcBef>
                <a:spcPts val="0"/>
              </a:spcBef>
              <a:buNone/>
            </a:pPr>
            <a:r>
              <a:rPr lang="en-US" sz="1000" dirty="0"/>
              <a:t>Get-Help -ShowWindow</a:t>
            </a:r>
          </a:p>
          <a:p>
            <a:pPr marL="0" indent="0">
              <a:lnSpc>
                <a:spcPts val="1200"/>
              </a:lnSpc>
              <a:spcBef>
                <a:spcPts val="0"/>
              </a:spcBef>
              <a:buNone/>
            </a:pPr>
            <a:r>
              <a:rPr lang="en-US" sz="1000" dirty="0"/>
              <a:t>Restart Manager support</a:t>
            </a:r>
          </a:p>
          <a:p>
            <a:pPr marL="0" indent="0">
              <a:lnSpc>
                <a:spcPts val="1200"/>
              </a:lnSpc>
              <a:spcBef>
                <a:spcPts val="0"/>
              </a:spcBef>
              <a:buNone/>
            </a:pPr>
            <a:r>
              <a:rPr lang="en-US" sz="1000" dirty="0"/>
              <a:t>Script </a:t>
            </a:r>
            <a:r>
              <a:rPr lang="en-US" sz="1000" dirty="0" err="1"/>
              <a:t>autosave</a:t>
            </a:r>
            <a:r>
              <a:rPr lang="en-US" sz="1000" dirty="0"/>
              <a:t> support</a:t>
            </a:r>
          </a:p>
          <a:p>
            <a:pPr marL="0" indent="0">
              <a:lnSpc>
                <a:spcPts val="1200"/>
              </a:lnSpc>
              <a:spcBef>
                <a:spcPts val="0"/>
              </a:spcBef>
              <a:buNone/>
            </a:pPr>
            <a:r>
              <a:rPr lang="en-US" sz="1000" dirty="0"/>
              <a:t>Out-GridView -</a:t>
            </a:r>
            <a:r>
              <a:rPr lang="en-US" sz="1000" dirty="0" err="1"/>
              <a:t>PassThru</a:t>
            </a:r>
            <a:endParaRPr lang="en-US" sz="1000" dirty="0"/>
          </a:p>
          <a:p>
            <a:pPr marL="0" indent="0">
              <a:lnSpc>
                <a:spcPts val="1200"/>
              </a:lnSpc>
              <a:spcBef>
                <a:spcPts val="0"/>
              </a:spcBef>
              <a:buNone/>
            </a:pPr>
            <a:r>
              <a:rPr lang="en-US" sz="1000" dirty="0"/>
              <a:t>XML syntax highlighting</a:t>
            </a:r>
          </a:p>
          <a:p>
            <a:pPr marL="0" indent="0">
              <a:lnSpc>
                <a:spcPts val="1200"/>
              </a:lnSpc>
              <a:spcBef>
                <a:spcPts val="0"/>
              </a:spcBef>
              <a:buNone/>
            </a:pPr>
            <a:r>
              <a:rPr lang="en-US" sz="1000" dirty="0"/>
              <a:t>Block select</a:t>
            </a:r>
          </a:p>
          <a:p>
            <a:pPr marL="0" indent="0">
              <a:lnSpc>
                <a:spcPts val="1200"/>
              </a:lnSpc>
              <a:spcBef>
                <a:spcPts val="0"/>
              </a:spcBef>
              <a:buNone/>
            </a:pPr>
            <a:r>
              <a:rPr lang="en-US" sz="1000" dirty="0"/>
              <a:t>Collapsible regions</a:t>
            </a:r>
          </a:p>
          <a:p>
            <a:pPr marL="0" indent="0">
              <a:lnSpc>
                <a:spcPts val="1200"/>
              </a:lnSpc>
              <a:spcBef>
                <a:spcPts val="0"/>
              </a:spcBef>
              <a:buNone/>
            </a:pPr>
            <a:r>
              <a:rPr lang="en-US" sz="1000" dirty="0"/>
              <a:t>Contextual F1 support</a:t>
            </a:r>
          </a:p>
          <a:p>
            <a:pPr marL="0" indent="0">
              <a:lnSpc>
                <a:spcPts val="1200"/>
              </a:lnSpc>
              <a:spcBef>
                <a:spcPts val="0"/>
              </a:spcBef>
              <a:buNone/>
            </a:pPr>
            <a:r>
              <a:rPr lang="en-US" sz="1000" dirty="0"/>
              <a:t>Script Explorer</a:t>
            </a:r>
          </a:p>
        </p:txBody>
      </p:sp>
      <p:grpSp>
        <p:nvGrpSpPr>
          <p:cNvPr id="22" name="Group 21"/>
          <p:cNvGrpSpPr/>
          <p:nvPr/>
        </p:nvGrpSpPr>
        <p:grpSpPr>
          <a:xfrm>
            <a:off x="88335" y="735546"/>
            <a:ext cx="2484923" cy="378042"/>
            <a:chOff x="117748" y="980728"/>
            <a:chExt cx="3312368" cy="504056"/>
          </a:xfrm>
        </p:grpSpPr>
        <p:sp>
          <p:nvSpPr>
            <p:cNvPr id="7" name="Rectangle 6"/>
            <p:cNvSpPr/>
            <p:nvPr/>
          </p:nvSpPr>
          <p:spPr bwMode="auto">
            <a:xfrm>
              <a:off x="117748" y="980728"/>
              <a:ext cx="3312368" cy="50405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91436" tIns="45718" rIns="91436" bIns="45718" numCol="1" rtlCol="0" anchor="ctr" anchorCtr="0" compatLnSpc="1">
              <a:prstTxWarp prst="textNoShape">
                <a:avLst/>
              </a:prstTxWarp>
            </a:bodyPr>
            <a:lstStyle/>
            <a:p>
              <a:pPr defTabSz="685637"/>
              <a:r>
                <a:rPr lang="en-US" b="1" dirty="0" smtClean="0">
                  <a:solidFill>
                    <a:srgbClr val="FFFFFF">
                      <a:alpha val="98824"/>
                    </a:srgbClr>
                  </a:solidFill>
                  <a:latin typeface="Segoe UI" pitchFamily="34" charset="0"/>
                  <a:ea typeface="Segoe UI" pitchFamily="34" charset="0"/>
                  <a:cs typeface="Segoe UI" pitchFamily="34" charset="0"/>
                </a:rPr>
                <a:t>DEMO:</a:t>
              </a:r>
              <a:r>
                <a:rPr lang="en-US" dirty="0" smtClean="0">
                  <a:solidFill>
                    <a:srgbClr val="FFFFFF">
                      <a:alpha val="98824"/>
                    </a:srgbClr>
                  </a:solidFill>
                  <a:latin typeface="Segoe UI" pitchFamily="34" charset="0"/>
                  <a:ea typeface="Segoe UI" pitchFamily="34" charset="0"/>
                  <a:cs typeface="Segoe UI" pitchFamily="34" charset="0"/>
                </a:rPr>
                <a:t>  PowerShell Workflow</a:t>
              </a:r>
            </a:p>
          </p:txBody>
        </p:sp>
        <p:sp>
          <p:nvSpPr>
            <p:cNvPr id="19" name="Rectangle 18"/>
            <p:cNvSpPr/>
            <p:nvPr/>
          </p:nvSpPr>
          <p:spPr bwMode="auto">
            <a:xfrm>
              <a:off x="117748" y="980728"/>
              <a:ext cx="864096" cy="50405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91436" tIns="45718" rIns="91436" bIns="45718" numCol="1" rtlCol="0" anchor="ctr" anchorCtr="0" compatLnSpc="1">
              <a:prstTxWarp prst="textNoShape">
                <a:avLst/>
              </a:prstTxWarp>
            </a:bodyPr>
            <a:lstStyle/>
            <a:p>
              <a:pPr algn="ctr" defTabSz="685637"/>
              <a:r>
                <a:rPr lang="en-US" b="1" dirty="0" smtClean="0">
                  <a:solidFill>
                    <a:srgbClr val="FFFFFF">
                      <a:alpha val="98824"/>
                    </a:srgbClr>
                  </a:solidFill>
                  <a:latin typeface="Segoe UI" pitchFamily="34" charset="0"/>
                  <a:ea typeface="Segoe UI" pitchFamily="34" charset="0"/>
                  <a:cs typeface="Segoe UI" pitchFamily="34" charset="0"/>
                </a:rPr>
                <a:t>DEMO</a:t>
              </a:r>
            </a:p>
          </p:txBody>
        </p:sp>
      </p:grpSp>
      <p:grpSp>
        <p:nvGrpSpPr>
          <p:cNvPr id="23" name="Group 22"/>
          <p:cNvGrpSpPr/>
          <p:nvPr/>
        </p:nvGrpSpPr>
        <p:grpSpPr>
          <a:xfrm>
            <a:off x="105961" y="1923678"/>
            <a:ext cx="2484923" cy="378042"/>
            <a:chOff x="117748" y="980728"/>
            <a:chExt cx="3312368" cy="504056"/>
          </a:xfrm>
        </p:grpSpPr>
        <p:sp>
          <p:nvSpPr>
            <p:cNvPr id="24" name="Rectangle 23"/>
            <p:cNvSpPr/>
            <p:nvPr/>
          </p:nvSpPr>
          <p:spPr bwMode="auto">
            <a:xfrm>
              <a:off x="117748" y="980728"/>
              <a:ext cx="3312368" cy="50405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91436" tIns="45718" rIns="91436" bIns="45718" numCol="1" rtlCol="0" anchor="ctr" anchorCtr="0" compatLnSpc="1">
              <a:prstTxWarp prst="textNoShape">
                <a:avLst/>
              </a:prstTxWarp>
            </a:bodyPr>
            <a:lstStyle/>
            <a:p>
              <a:pPr defTabSz="685637"/>
              <a:r>
                <a:rPr lang="en-US" b="1" dirty="0" smtClean="0">
                  <a:solidFill>
                    <a:srgbClr val="FFFFFF">
                      <a:alpha val="98824"/>
                    </a:srgbClr>
                  </a:solidFill>
                  <a:latin typeface="Segoe UI" pitchFamily="34" charset="0"/>
                  <a:ea typeface="Segoe UI" pitchFamily="34" charset="0"/>
                  <a:cs typeface="Segoe UI" pitchFamily="34" charset="0"/>
                </a:rPr>
                <a:t>DEMO:</a:t>
              </a:r>
              <a:r>
                <a:rPr lang="en-US" dirty="0" smtClean="0">
                  <a:solidFill>
                    <a:srgbClr val="FFFFFF">
                      <a:alpha val="98824"/>
                    </a:srgbClr>
                  </a:solidFill>
                  <a:latin typeface="Segoe UI" pitchFamily="34" charset="0"/>
                  <a:ea typeface="Segoe UI" pitchFamily="34" charset="0"/>
                  <a:cs typeface="Segoe UI" pitchFamily="34" charset="0"/>
                </a:rPr>
                <a:t>  Disconnected Sessions</a:t>
              </a:r>
            </a:p>
          </p:txBody>
        </p:sp>
        <p:sp>
          <p:nvSpPr>
            <p:cNvPr id="25" name="Rectangle 24"/>
            <p:cNvSpPr/>
            <p:nvPr/>
          </p:nvSpPr>
          <p:spPr bwMode="auto">
            <a:xfrm>
              <a:off x="117748" y="980728"/>
              <a:ext cx="864096" cy="50405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91436" tIns="45718" rIns="91436" bIns="45718" numCol="1" rtlCol="0" anchor="ctr" anchorCtr="0" compatLnSpc="1">
              <a:prstTxWarp prst="textNoShape">
                <a:avLst/>
              </a:prstTxWarp>
            </a:bodyPr>
            <a:lstStyle/>
            <a:p>
              <a:pPr algn="ctr" defTabSz="685637"/>
              <a:r>
                <a:rPr lang="en-US" b="1" dirty="0" smtClean="0">
                  <a:solidFill>
                    <a:srgbClr val="FFFFFF">
                      <a:alpha val="98824"/>
                    </a:srgbClr>
                  </a:solidFill>
                  <a:latin typeface="Segoe UI" pitchFamily="34" charset="0"/>
                  <a:ea typeface="Segoe UI" pitchFamily="34" charset="0"/>
                  <a:cs typeface="Segoe UI" pitchFamily="34" charset="0"/>
                </a:rPr>
                <a:t>DEMO</a:t>
              </a:r>
            </a:p>
          </p:txBody>
        </p:sp>
      </p:grpSp>
      <p:grpSp>
        <p:nvGrpSpPr>
          <p:cNvPr id="26" name="Group 25"/>
          <p:cNvGrpSpPr/>
          <p:nvPr/>
        </p:nvGrpSpPr>
        <p:grpSpPr>
          <a:xfrm>
            <a:off x="88335" y="4029912"/>
            <a:ext cx="2484923" cy="378042"/>
            <a:chOff x="117748" y="980728"/>
            <a:chExt cx="3312368" cy="504056"/>
          </a:xfrm>
        </p:grpSpPr>
        <p:sp>
          <p:nvSpPr>
            <p:cNvPr id="27" name="Rectangle 26"/>
            <p:cNvSpPr/>
            <p:nvPr/>
          </p:nvSpPr>
          <p:spPr bwMode="auto">
            <a:xfrm>
              <a:off x="117748" y="980728"/>
              <a:ext cx="3312368" cy="50405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91436" tIns="45718" rIns="91436" bIns="45718" numCol="1" rtlCol="0" anchor="ctr" anchorCtr="0" compatLnSpc="1">
              <a:prstTxWarp prst="textNoShape">
                <a:avLst/>
              </a:prstTxWarp>
            </a:bodyPr>
            <a:lstStyle/>
            <a:p>
              <a:pPr defTabSz="685637"/>
              <a:r>
                <a:rPr lang="en-US" b="1" dirty="0" smtClean="0">
                  <a:solidFill>
                    <a:srgbClr val="FFFFFF">
                      <a:alpha val="98824"/>
                    </a:srgbClr>
                  </a:solidFill>
                  <a:latin typeface="Segoe UI" pitchFamily="34" charset="0"/>
                  <a:ea typeface="Segoe UI" pitchFamily="34" charset="0"/>
                  <a:cs typeface="Segoe UI" pitchFamily="34" charset="0"/>
                </a:rPr>
                <a:t>DEMO:</a:t>
              </a:r>
              <a:r>
                <a:rPr lang="en-US" dirty="0" smtClean="0">
                  <a:solidFill>
                    <a:srgbClr val="FFFFFF">
                      <a:alpha val="98824"/>
                    </a:srgbClr>
                  </a:solidFill>
                  <a:latin typeface="Segoe UI" pitchFamily="34" charset="0"/>
                  <a:ea typeface="Segoe UI" pitchFamily="34" charset="0"/>
                  <a:cs typeface="Segoe UI" pitchFamily="34" charset="0"/>
                </a:rPr>
                <a:t>  Scheduled Jobs</a:t>
              </a:r>
            </a:p>
          </p:txBody>
        </p:sp>
        <p:sp>
          <p:nvSpPr>
            <p:cNvPr id="28" name="Rectangle 27"/>
            <p:cNvSpPr/>
            <p:nvPr/>
          </p:nvSpPr>
          <p:spPr bwMode="auto">
            <a:xfrm>
              <a:off x="117748" y="980728"/>
              <a:ext cx="864096" cy="50405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91436" tIns="45718" rIns="91436" bIns="45718" numCol="1" rtlCol="0" anchor="ctr" anchorCtr="0" compatLnSpc="1">
              <a:prstTxWarp prst="textNoShape">
                <a:avLst/>
              </a:prstTxWarp>
            </a:bodyPr>
            <a:lstStyle/>
            <a:p>
              <a:pPr algn="ctr" defTabSz="685637"/>
              <a:r>
                <a:rPr lang="en-US" b="1" dirty="0" smtClean="0">
                  <a:solidFill>
                    <a:srgbClr val="FFFFFF">
                      <a:alpha val="98824"/>
                    </a:srgbClr>
                  </a:solidFill>
                  <a:latin typeface="Segoe UI" pitchFamily="34" charset="0"/>
                  <a:ea typeface="Segoe UI" pitchFamily="34" charset="0"/>
                  <a:cs typeface="Segoe UI" pitchFamily="34" charset="0"/>
                </a:rPr>
                <a:t>DEMO</a:t>
              </a:r>
            </a:p>
          </p:txBody>
        </p:sp>
      </p:grpSp>
      <p:grpSp>
        <p:nvGrpSpPr>
          <p:cNvPr id="9" name="Group 8"/>
          <p:cNvGrpSpPr/>
          <p:nvPr/>
        </p:nvGrpSpPr>
        <p:grpSpPr>
          <a:xfrm>
            <a:off x="2573257" y="2645914"/>
            <a:ext cx="2299844" cy="378042"/>
            <a:chOff x="3430116" y="3527885"/>
            <a:chExt cx="3065660" cy="504056"/>
          </a:xfrm>
        </p:grpSpPr>
        <p:sp>
          <p:nvSpPr>
            <p:cNvPr id="14" name="Rectangle 13"/>
            <p:cNvSpPr/>
            <p:nvPr/>
          </p:nvSpPr>
          <p:spPr bwMode="auto">
            <a:xfrm>
              <a:off x="3430116" y="3527885"/>
              <a:ext cx="3065660" cy="50405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91436" tIns="45718" rIns="91436" bIns="45718" numCol="1" rtlCol="0" anchor="ctr" anchorCtr="0" compatLnSpc="1">
              <a:prstTxWarp prst="textNoShape">
                <a:avLst/>
              </a:prstTxWarp>
            </a:bodyPr>
            <a:lstStyle/>
            <a:p>
              <a:pPr defTabSz="685637"/>
              <a:r>
                <a:rPr lang="en-US" b="1" dirty="0" smtClean="0">
                  <a:solidFill>
                    <a:srgbClr val="FFFFFF">
                      <a:alpha val="98824"/>
                    </a:srgbClr>
                  </a:solidFill>
                  <a:latin typeface="Segoe UI" pitchFamily="34" charset="0"/>
                  <a:ea typeface="Segoe UI" pitchFamily="34" charset="0"/>
                  <a:cs typeface="Segoe UI" pitchFamily="34" charset="0"/>
                </a:rPr>
                <a:t>DEMO:  </a:t>
              </a:r>
              <a:r>
                <a:rPr lang="en-US" dirty="0" smtClean="0">
                  <a:solidFill>
                    <a:srgbClr val="FFFFFF">
                      <a:alpha val="98824"/>
                    </a:srgbClr>
                  </a:solidFill>
                  <a:latin typeface="Segoe UI" pitchFamily="34" charset="0"/>
                  <a:ea typeface="Segoe UI" pitchFamily="34" charset="0"/>
                  <a:cs typeface="Segoe UI" pitchFamily="34" charset="0"/>
                </a:rPr>
                <a:t>Ordered Hash tables</a:t>
              </a:r>
            </a:p>
          </p:txBody>
        </p:sp>
        <p:sp>
          <p:nvSpPr>
            <p:cNvPr id="29" name="Rectangle 28"/>
            <p:cNvSpPr/>
            <p:nvPr/>
          </p:nvSpPr>
          <p:spPr bwMode="auto">
            <a:xfrm>
              <a:off x="3430116" y="3527885"/>
              <a:ext cx="864096" cy="50405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91436" tIns="45718" rIns="91436" bIns="45718" numCol="1" rtlCol="0" anchor="ctr" anchorCtr="0" compatLnSpc="1">
              <a:prstTxWarp prst="textNoShape">
                <a:avLst/>
              </a:prstTxWarp>
            </a:bodyPr>
            <a:lstStyle/>
            <a:p>
              <a:pPr algn="ctr" defTabSz="685637"/>
              <a:r>
                <a:rPr lang="en-US" b="1" dirty="0" smtClean="0">
                  <a:solidFill>
                    <a:srgbClr val="FFFFFF">
                      <a:alpha val="98824"/>
                    </a:srgbClr>
                  </a:solidFill>
                  <a:latin typeface="Segoe UI" pitchFamily="34" charset="0"/>
                  <a:ea typeface="Segoe UI" pitchFamily="34" charset="0"/>
                  <a:cs typeface="Segoe UI" pitchFamily="34" charset="0"/>
                </a:rPr>
                <a:t>DEMO</a:t>
              </a:r>
            </a:p>
          </p:txBody>
        </p:sp>
      </p:grpSp>
      <p:grpSp>
        <p:nvGrpSpPr>
          <p:cNvPr id="31" name="Group 30"/>
          <p:cNvGrpSpPr/>
          <p:nvPr/>
        </p:nvGrpSpPr>
        <p:grpSpPr>
          <a:xfrm>
            <a:off x="2573258" y="3435846"/>
            <a:ext cx="2214823" cy="378042"/>
            <a:chOff x="3430116" y="2276872"/>
            <a:chExt cx="2952328" cy="504056"/>
          </a:xfrm>
        </p:grpSpPr>
        <p:sp>
          <p:nvSpPr>
            <p:cNvPr id="32" name="Rectangle 31"/>
            <p:cNvSpPr/>
            <p:nvPr/>
          </p:nvSpPr>
          <p:spPr bwMode="auto">
            <a:xfrm>
              <a:off x="3430116" y="2276872"/>
              <a:ext cx="2952328" cy="50405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91436" tIns="45718" rIns="91436" bIns="45718" numCol="1" rtlCol="0" anchor="ctr" anchorCtr="0" compatLnSpc="1">
              <a:prstTxWarp prst="textNoShape">
                <a:avLst/>
              </a:prstTxWarp>
            </a:bodyPr>
            <a:lstStyle/>
            <a:p>
              <a:pPr defTabSz="685637"/>
              <a:r>
                <a:rPr lang="en-US" b="1" dirty="0" smtClean="0">
                  <a:solidFill>
                    <a:srgbClr val="FFFFFF">
                      <a:alpha val="98824"/>
                    </a:srgbClr>
                  </a:solidFill>
                  <a:latin typeface="Segoe UI" pitchFamily="34" charset="0"/>
                  <a:ea typeface="Segoe UI" pitchFamily="34" charset="0"/>
                  <a:cs typeface="Segoe UI" pitchFamily="34" charset="0"/>
                </a:rPr>
                <a:t>DEMO:  </a:t>
              </a:r>
              <a:r>
                <a:rPr lang="en-US" dirty="0" smtClean="0">
                  <a:solidFill>
                    <a:srgbClr val="FFFFFF">
                      <a:alpha val="98824"/>
                    </a:srgbClr>
                  </a:solidFill>
                  <a:latin typeface="Segoe UI" pitchFamily="34" charset="0"/>
                  <a:ea typeface="Segoe UI" pitchFamily="34" charset="0"/>
                  <a:cs typeface="Segoe UI" pitchFamily="34" charset="0"/>
                </a:rPr>
                <a:t>Modules</a:t>
              </a:r>
            </a:p>
          </p:txBody>
        </p:sp>
        <p:sp>
          <p:nvSpPr>
            <p:cNvPr id="33" name="Rectangle 32"/>
            <p:cNvSpPr/>
            <p:nvPr/>
          </p:nvSpPr>
          <p:spPr bwMode="auto">
            <a:xfrm>
              <a:off x="3430116" y="2276872"/>
              <a:ext cx="864096" cy="50405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91436" tIns="45718" rIns="91436" bIns="45718" numCol="1" rtlCol="0" anchor="ctr" anchorCtr="0" compatLnSpc="1">
              <a:prstTxWarp prst="textNoShape">
                <a:avLst/>
              </a:prstTxWarp>
            </a:bodyPr>
            <a:lstStyle/>
            <a:p>
              <a:pPr algn="ctr" defTabSz="685637"/>
              <a:r>
                <a:rPr lang="en-US" b="1" dirty="0" smtClean="0">
                  <a:solidFill>
                    <a:srgbClr val="FFFFFF">
                      <a:alpha val="98824"/>
                    </a:srgbClr>
                  </a:solidFill>
                  <a:latin typeface="Segoe UI" pitchFamily="34" charset="0"/>
                  <a:ea typeface="Segoe UI" pitchFamily="34" charset="0"/>
                  <a:cs typeface="Segoe UI" pitchFamily="34" charset="0"/>
                </a:rPr>
                <a:t>DEMO</a:t>
              </a:r>
            </a:p>
          </p:txBody>
        </p:sp>
      </p:grpSp>
      <p:grpSp>
        <p:nvGrpSpPr>
          <p:cNvPr id="43" name="Group 42"/>
          <p:cNvGrpSpPr/>
          <p:nvPr/>
        </p:nvGrpSpPr>
        <p:grpSpPr>
          <a:xfrm>
            <a:off x="4842101" y="2949792"/>
            <a:ext cx="2221189" cy="378042"/>
            <a:chOff x="6454452" y="1284318"/>
            <a:chExt cx="2960814" cy="504056"/>
          </a:xfrm>
        </p:grpSpPr>
        <p:sp>
          <p:nvSpPr>
            <p:cNvPr id="44" name="Rectangle 43"/>
            <p:cNvSpPr/>
            <p:nvPr/>
          </p:nvSpPr>
          <p:spPr bwMode="auto">
            <a:xfrm>
              <a:off x="6462938" y="1284318"/>
              <a:ext cx="2952328" cy="50405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91436" tIns="45718" rIns="91436" bIns="45718" numCol="1" rtlCol="0" anchor="ctr" anchorCtr="0" compatLnSpc="1">
              <a:prstTxWarp prst="textNoShape">
                <a:avLst/>
              </a:prstTxWarp>
            </a:bodyPr>
            <a:lstStyle/>
            <a:p>
              <a:pPr defTabSz="685637"/>
              <a:r>
                <a:rPr lang="en-US" b="1" dirty="0" smtClean="0">
                  <a:solidFill>
                    <a:srgbClr val="FFFFFF">
                      <a:alpha val="98824"/>
                    </a:srgbClr>
                  </a:solidFill>
                  <a:latin typeface="Segoe UI" pitchFamily="34" charset="0"/>
                  <a:ea typeface="Segoe UI" pitchFamily="34" charset="0"/>
                  <a:cs typeface="Segoe UI" pitchFamily="34" charset="0"/>
                </a:rPr>
                <a:t>DEMO: </a:t>
              </a:r>
              <a:r>
                <a:rPr lang="en-US" dirty="0" smtClean="0">
                  <a:solidFill>
                    <a:srgbClr val="FFFFFF">
                      <a:alpha val="98824"/>
                    </a:srgbClr>
                  </a:solidFill>
                  <a:latin typeface="Segoe UI" pitchFamily="34" charset="0"/>
                  <a:ea typeface="Segoe UI" pitchFamily="34" charset="0"/>
                  <a:cs typeface="Segoe UI" pitchFamily="34" charset="0"/>
                </a:rPr>
                <a:t> RunAs Support</a:t>
              </a:r>
            </a:p>
          </p:txBody>
        </p:sp>
        <p:sp>
          <p:nvSpPr>
            <p:cNvPr id="45" name="Rectangle 44"/>
            <p:cNvSpPr/>
            <p:nvPr/>
          </p:nvSpPr>
          <p:spPr bwMode="auto">
            <a:xfrm>
              <a:off x="6454452" y="1284318"/>
              <a:ext cx="864096" cy="50405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91436" tIns="45718" rIns="91436" bIns="45718" numCol="1" rtlCol="0" anchor="ctr" anchorCtr="0" compatLnSpc="1">
              <a:prstTxWarp prst="textNoShape">
                <a:avLst/>
              </a:prstTxWarp>
            </a:bodyPr>
            <a:lstStyle/>
            <a:p>
              <a:pPr algn="ctr" defTabSz="685637"/>
              <a:r>
                <a:rPr lang="en-US" b="1" dirty="0" smtClean="0">
                  <a:solidFill>
                    <a:srgbClr val="FFFFFF">
                      <a:alpha val="98824"/>
                    </a:srgbClr>
                  </a:solidFill>
                  <a:latin typeface="Segoe UI" pitchFamily="34" charset="0"/>
                  <a:ea typeface="Segoe UI" pitchFamily="34" charset="0"/>
                  <a:cs typeface="Segoe UI" pitchFamily="34" charset="0"/>
                </a:rPr>
                <a:t>DEMO</a:t>
              </a:r>
            </a:p>
          </p:txBody>
        </p:sp>
      </p:grpSp>
      <p:grpSp>
        <p:nvGrpSpPr>
          <p:cNvPr id="46" name="Group 45"/>
          <p:cNvGrpSpPr/>
          <p:nvPr/>
        </p:nvGrpSpPr>
        <p:grpSpPr>
          <a:xfrm>
            <a:off x="4835735" y="4162114"/>
            <a:ext cx="2221189" cy="378042"/>
            <a:chOff x="6454452" y="1284318"/>
            <a:chExt cx="2960814" cy="504056"/>
          </a:xfrm>
        </p:grpSpPr>
        <p:sp>
          <p:nvSpPr>
            <p:cNvPr id="47" name="Rectangle 46"/>
            <p:cNvSpPr/>
            <p:nvPr/>
          </p:nvSpPr>
          <p:spPr bwMode="auto">
            <a:xfrm>
              <a:off x="6462938" y="1284318"/>
              <a:ext cx="2952328" cy="50405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91436" tIns="45718" rIns="91436" bIns="45718" numCol="1" rtlCol="0" anchor="ctr" anchorCtr="0" compatLnSpc="1">
              <a:prstTxWarp prst="textNoShape">
                <a:avLst/>
              </a:prstTxWarp>
            </a:bodyPr>
            <a:lstStyle/>
            <a:p>
              <a:pPr defTabSz="685637"/>
              <a:r>
                <a:rPr lang="en-US" b="1" dirty="0" smtClean="0">
                  <a:solidFill>
                    <a:srgbClr val="FFFFFF">
                      <a:alpha val="98824"/>
                    </a:srgbClr>
                  </a:solidFill>
                  <a:latin typeface="Segoe UI" pitchFamily="34" charset="0"/>
                  <a:ea typeface="Segoe UI" pitchFamily="34" charset="0"/>
                  <a:cs typeface="Segoe UI" pitchFamily="34" charset="0"/>
                </a:rPr>
                <a:t>DEMO: </a:t>
              </a:r>
              <a:r>
                <a:rPr lang="en-US" dirty="0" smtClean="0">
                  <a:solidFill>
                    <a:srgbClr val="FFFFFF">
                      <a:alpha val="98824"/>
                    </a:srgbClr>
                  </a:solidFill>
                  <a:latin typeface="Segoe UI" pitchFamily="34" charset="0"/>
                  <a:ea typeface="Segoe UI" pitchFamily="34" charset="0"/>
                  <a:cs typeface="Segoe UI" pitchFamily="34" charset="0"/>
                </a:rPr>
                <a:t> Session Config Files</a:t>
              </a:r>
            </a:p>
          </p:txBody>
        </p:sp>
        <p:sp>
          <p:nvSpPr>
            <p:cNvPr id="48" name="Rectangle 47"/>
            <p:cNvSpPr/>
            <p:nvPr/>
          </p:nvSpPr>
          <p:spPr bwMode="auto">
            <a:xfrm>
              <a:off x="6454452" y="1284318"/>
              <a:ext cx="864096" cy="50405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91436" tIns="45718" rIns="91436" bIns="45718" numCol="1" rtlCol="0" anchor="ctr" anchorCtr="0" compatLnSpc="1">
              <a:prstTxWarp prst="textNoShape">
                <a:avLst/>
              </a:prstTxWarp>
            </a:bodyPr>
            <a:lstStyle/>
            <a:p>
              <a:pPr algn="ctr" defTabSz="685637"/>
              <a:r>
                <a:rPr lang="en-US" b="1" dirty="0" smtClean="0">
                  <a:solidFill>
                    <a:srgbClr val="FFFFFF">
                      <a:alpha val="98824"/>
                    </a:srgbClr>
                  </a:solidFill>
                  <a:latin typeface="Segoe UI" pitchFamily="34" charset="0"/>
                  <a:ea typeface="Segoe UI" pitchFamily="34" charset="0"/>
                  <a:cs typeface="Segoe UI" pitchFamily="34" charset="0"/>
                </a:rPr>
                <a:t>DEMO</a:t>
              </a:r>
            </a:p>
          </p:txBody>
        </p:sp>
      </p:grpSp>
      <p:grpSp>
        <p:nvGrpSpPr>
          <p:cNvPr id="53" name="Group 52"/>
          <p:cNvGrpSpPr/>
          <p:nvPr/>
        </p:nvGrpSpPr>
        <p:grpSpPr>
          <a:xfrm>
            <a:off x="7116058" y="735546"/>
            <a:ext cx="1998743" cy="378042"/>
            <a:chOff x="9485605" y="980728"/>
            <a:chExt cx="2664296" cy="504056"/>
          </a:xfrm>
        </p:grpSpPr>
        <p:sp>
          <p:nvSpPr>
            <p:cNvPr id="10" name="Rectangle 9"/>
            <p:cNvSpPr/>
            <p:nvPr/>
          </p:nvSpPr>
          <p:spPr bwMode="auto">
            <a:xfrm>
              <a:off x="9485605" y="980728"/>
              <a:ext cx="2664296" cy="50405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91436" tIns="45718" rIns="91436" bIns="45718" numCol="1" rtlCol="0" anchor="ctr" anchorCtr="0" compatLnSpc="1">
              <a:prstTxWarp prst="textNoShape">
                <a:avLst/>
              </a:prstTxWarp>
            </a:bodyPr>
            <a:lstStyle/>
            <a:p>
              <a:pPr defTabSz="685637"/>
              <a:r>
                <a:rPr lang="en-US" b="1" dirty="0" smtClean="0">
                  <a:solidFill>
                    <a:srgbClr val="FFFFFF">
                      <a:alpha val="98824"/>
                    </a:srgbClr>
                  </a:solidFill>
                  <a:latin typeface="Segoe UI" pitchFamily="34" charset="0"/>
                  <a:ea typeface="Segoe UI" pitchFamily="34" charset="0"/>
                  <a:cs typeface="Segoe UI" pitchFamily="34" charset="0"/>
                </a:rPr>
                <a:t>DEMO:  </a:t>
              </a:r>
              <a:r>
                <a:rPr lang="en-US" dirty="0" smtClean="0">
                  <a:solidFill>
                    <a:srgbClr val="FFFFFF">
                      <a:alpha val="98824"/>
                    </a:srgbClr>
                  </a:solidFill>
                  <a:latin typeface="Segoe UI" pitchFamily="34" charset="0"/>
                  <a:ea typeface="Segoe UI" pitchFamily="34" charset="0"/>
                  <a:cs typeface="Segoe UI" pitchFamily="34" charset="0"/>
                </a:rPr>
                <a:t>PS Web Access</a:t>
              </a:r>
            </a:p>
          </p:txBody>
        </p:sp>
        <p:sp>
          <p:nvSpPr>
            <p:cNvPr id="52" name="Rectangle 51"/>
            <p:cNvSpPr/>
            <p:nvPr/>
          </p:nvSpPr>
          <p:spPr bwMode="auto">
            <a:xfrm>
              <a:off x="9485605" y="980728"/>
              <a:ext cx="864096" cy="50405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91436" tIns="45718" rIns="91436" bIns="45718" numCol="1" rtlCol="0" anchor="ctr" anchorCtr="0" compatLnSpc="1">
              <a:prstTxWarp prst="textNoShape">
                <a:avLst/>
              </a:prstTxWarp>
            </a:bodyPr>
            <a:lstStyle/>
            <a:p>
              <a:pPr algn="ctr" defTabSz="685637"/>
              <a:r>
                <a:rPr lang="en-US" b="1" dirty="0" smtClean="0">
                  <a:solidFill>
                    <a:srgbClr val="FFFFFF">
                      <a:alpha val="98824"/>
                    </a:srgbClr>
                  </a:solidFill>
                  <a:latin typeface="Segoe UI" pitchFamily="34" charset="0"/>
                  <a:ea typeface="Segoe UI" pitchFamily="34" charset="0"/>
                  <a:cs typeface="Segoe UI" pitchFamily="34" charset="0"/>
                </a:rPr>
                <a:t>DEMO</a:t>
              </a:r>
            </a:p>
          </p:txBody>
        </p:sp>
      </p:grpSp>
      <p:grpSp>
        <p:nvGrpSpPr>
          <p:cNvPr id="54" name="Group 53"/>
          <p:cNvGrpSpPr/>
          <p:nvPr/>
        </p:nvGrpSpPr>
        <p:grpSpPr>
          <a:xfrm>
            <a:off x="7110944" y="2787774"/>
            <a:ext cx="1998743" cy="378042"/>
            <a:chOff x="9485605" y="980728"/>
            <a:chExt cx="2664296" cy="504056"/>
          </a:xfrm>
        </p:grpSpPr>
        <p:sp>
          <p:nvSpPr>
            <p:cNvPr id="55" name="Rectangle 54"/>
            <p:cNvSpPr/>
            <p:nvPr/>
          </p:nvSpPr>
          <p:spPr bwMode="auto">
            <a:xfrm>
              <a:off x="9485605" y="980728"/>
              <a:ext cx="2664296" cy="50405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91436" tIns="45718" rIns="91436" bIns="45718" numCol="1" rtlCol="0" anchor="ctr" anchorCtr="0" compatLnSpc="1">
              <a:prstTxWarp prst="textNoShape">
                <a:avLst/>
              </a:prstTxWarp>
            </a:bodyPr>
            <a:lstStyle/>
            <a:p>
              <a:pPr defTabSz="685637"/>
              <a:r>
                <a:rPr lang="en-US" b="1" dirty="0" smtClean="0">
                  <a:solidFill>
                    <a:srgbClr val="FFFFFF">
                      <a:alpha val="98824"/>
                    </a:srgbClr>
                  </a:solidFill>
                  <a:latin typeface="Segoe UI" pitchFamily="34" charset="0"/>
                  <a:ea typeface="Segoe UI" pitchFamily="34" charset="0"/>
                  <a:cs typeface="Segoe UI" pitchFamily="34" charset="0"/>
                </a:rPr>
                <a:t>DEMO:  </a:t>
              </a:r>
              <a:r>
                <a:rPr lang="en-US" dirty="0" smtClean="0">
                  <a:solidFill>
                    <a:srgbClr val="FFFFFF">
                      <a:alpha val="98824"/>
                    </a:srgbClr>
                  </a:solidFill>
                  <a:latin typeface="Segoe UI" pitchFamily="34" charset="0"/>
                  <a:ea typeface="Segoe UI" pitchFamily="34" charset="0"/>
                  <a:cs typeface="Segoe UI" pitchFamily="34" charset="0"/>
                </a:rPr>
                <a:t>PS Web Services</a:t>
              </a:r>
            </a:p>
          </p:txBody>
        </p:sp>
        <p:sp>
          <p:nvSpPr>
            <p:cNvPr id="56" name="Rectangle 55"/>
            <p:cNvSpPr/>
            <p:nvPr/>
          </p:nvSpPr>
          <p:spPr bwMode="auto">
            <a:xfrm>
              <a:off x="9485605" y="980728"/>
              <a:ext cx="864096" cy="50405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91436" tIns="45718" rIns="91436" bIns="45718" numCol="1" rtlCol="0" anchor="ctr" anchorCtr="0" compatLnSpc="1">
              <a:prstTxWarp prst="textNoShape">
                <a:avLst/>
              </a:prstTxWarp>
            </a:bodyPr>
            <a:lstStyle/>
            <a:p>
              <a:pPr algn="ctr" defTabSz="685637"/>
              <a:r>
                <a:rPr lang="en-US" b="1" dirty="0" smtClean="0">
                  <a:solidFill>
                    <a:srgbClr val="FFFFFF">
                      <a:alpha val="98824"/>
                    </a:srgbClr>
                  </a:solidFill>
                  <a:latin typeface="Segoe UI" pitchFamily="34" charset="0"/>
                  <a:ea typeface="Segoe UI" pitchFamily="34" charset="0"/>
                  <a:cs typeface="Segoe UI" pitchFamily="34" charset="0"/>
                </a:rPr>
                <a:t>DEMO</a:t>
              </a:r>
            </a:p>
          </p:txBody>
        </p:sp>
      </p:grpSp>
      <p:grpSp>
        <p:nvGrpSpPr>
          <p:cNvPr id="8" name="Group 7"/>
          <p:cNvGrpSpPr/>
          <p:nvPr/>
        </p:nvGrpSpPr>
        <p:grpSpPr>
          <a:xfrm>
            <a:off x="2571174" y="1337324"/>
            <a:ext cx="2195107" cy="378042"/>
            <a:chOff x="3430116" y="1700808"/>
            <a:chExt cx="2279448" cy="504056"/>
          </a:xfrm>
        </p:grpSpPr>
        <p:sp>
          <p:nvSpPr>
            <p:cNvPr id="50" name="Rectangle 49"/>
            <p:cNvSpPr/>
            <p:nvPr/>
          </p:nvSpPr>
          <p:spPr bwMode="auto">
            <a:xfrm>
              <a:off x="3430116" y="1700808"/>
              <a:ext cx="2279448" cy="50405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91436" tIns="45718" rIns="91436" bIns="45718" numCol="1" rtlCol="0" anchor="ctr" anchorCtr="0" compatLnSpc="1">
              <a:prstTxWarp prst="textNoShape">
                <a:avLst/>
              </a:prstTxWarp>
            </a:bodyPr>
            <a:lstStyle/>
            <a:p>
              <a:pPr defTabSz="685637"/>
              <a:r>
                <a:rPr lang="en-US" b="1" dirty="0" smtClean="0">
                  <a:solidFill>
                    <a:srgbClr val="FFFFFF">
                      <a:alpha val="98824"/>
                    </a:srgbClr>
                  </a:solidFill>
                  <a:latin typeface="Segoe UI" pitchFamily="34" charset="0"/>
                  <a:ea typeface="Segoe UI" pitchFamily="34" charset="0"/>
                  <a:cs typeface="Segoe UI" pitchFamily="34" charset="0"/>
                </a:rPr>
                <a:t>DEMO:  </a:t>
              </a:r>
              <a:r>
                <a:rPr lang="en-US" dirty="0" smtClean="0">
                  <a:solidFill>
                    <a:srgbClr val="FFFFFF">
                      <a:alpha val="98824"/>
                    </a:srgbClr>
                  </a:solidFill>
                  <a:latin typeface="Segoe UI" pitchFamily="34" charset="0"/>
                  <a:ea typeface="Segoe UI" pitchFamily="34" charset="0"/>
                  <a:cs typeface="Segoe UI" pitchFamily="34" charset="0"/>
                </a:rPr>
                <a:t>Parameter Defaults</a:t>
              </a:r>
            </a:p>
          </p:txBody>
        </p:sp>
        <p:sp>
          <p:nvSpPr>
            <p:cNvPr id="51" name="Rectangle 50"/>
            <p:cNvSpPr/>
            <p:nvPr/>
          </p:nvSpPr>
          <p:spPr bwMode="auto">
            <a:xfrm>
              <a:off x="3430117" y="1700808"/>
              <a:ext cx="740223" cy="50405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91436" tIns="45718" rIns="91436" bIns="45718" numCol="1" rtlCol="0" anchor="ctr" anchorCtr="0" compatLnSpc="1">
              <a:prstTxWarp prst="textNoShape">
                <a:avLst/>
              </a:prstTxWarp>
            </a:bodyPr>
            <a:lstStyle/>
            <a:p>
              <a:pPr algn="ctr" defTabSz="685637"/>
              <a:r>
                <a:rPr lang="en-US" b="1" dirty="0" smtClean="0">
                  <a:solidFill>
                    <a:srgbClr val="FFFFFF">
                      <a:alpha val="98824"/>
                    </a:srgbClr>
                  </a:solidFill>
                  <a:latin typeface="Segoe UI" pitchFamily="34" charset="0"/>
                  <a:ea typeface="Segoe UI" pitchFamily="34" charset="0"/>
                  <a:cs typeface="Segoe UI" pitchFamily="34" charset="0"/>
                </a:rPr>
                <a:t>DEMO</a:t>
              </a:r>
            </a:p>
          </p:txBody>
        </p:sp>
      </p:grpSp>
      <p:sp>
        <p:nvSpPr>
          <p:cNvPr id="37"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8"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pic>
        <p:nvPicPr>
          <p:cNvPr id="39"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666401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14:presetBounceEnd="20000">
                                      <p:stCondLst>
                                        <p:cond delay="0"/>
                                      </p:stCondLst>
                                      <p:childTnLst>
                                        <p:set>
                                          <p:cBhvr>
                                            <p:cTn id="6" dur="1" fill="hold">
                                              <p:stCondLst>
                                                <p:cond delay="0"/>
                                              </p:stCondLst>
                                            </p:cTn>
                                            <p:tgtEl>
                                              <p:spTgt spid="22"/>
                                            </p:tgtEl>
                                            <p:attrNameLst>
                                              <p:attrName>style.visibility</p:attrName>
                                            </p:attrNameLst>
                                          </p:cBhvr>
                                          <p:to>
                                            <p:strVal val="visible"/>
                                          </p:to>
                                        </p:set>
                                        <p:anim calcmode="lin" valueType="num" p14:bounceEnd="20000">
                                          <p:cBhvr additive="base">
                                            <p:cTn id="7" dur="500" fill="hold"/>
                                            <p:tgtEl>
                                              <p:spTgt spid="22"/>
                                            </p:tgtEl>
                                            <p:attrNameLst>
                                              <p:attrName>ppt_x</p:attrName>
                                            </p:attrNameLst>
                                          </p:cBhvr>
                                          <p:tavLst>
                                            <p:tav tm="0">
                                              <p:val>
                                                <p:strVal val="0-#ppt_w/2"/>
                                              </p:val>
                                            </p:tav>
                                            <p:tav tm="100000">
                                              <p:val>
                                                <p:strVal val="#ppt_x"/>
                                              </p:val>
                                            </p:tav>
                                          </p:tavLst>
                                        </p:anim>
                                        <p:anim calcmode="lin" valueType="num" p14:bounceEnd="20000">
                                          <p:cBhvr additive="base">
                                            <p:cTn id="8" dur="500" fill="hold"/>
                                            <p:tgtEl>
                                              <p:spTgt spid="22"/>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14:presetBounceEnd="20000">
                                      <p:stCondLst>
                                        <p:cond delay="0"/>
                                      </p:stCondLst>
                                      <p:childTnLst>
                                        <p:set>
                                          <p:cBhvr>
                                            <p:cTn id="10" dur="1" fill="hold">
                                              <p:stCondLst>
                                                <p:cond delay="0"/>
                                              </p:stCondLst>
                                            </p:cTn>
                                            <p:tgtEl>
                                              <p:spTgt spid="23"/>
                                            </p:tgtEl>
                                            <p:attrNameLst>
                                              <p:attrName>style.visibility</p:attrName>
                                            </p:attrNameLst>
                                          </p:cBhvr>
                                          <p:to>
                                            <p:strVal val="visible"/>
                                          </p:to>
                                        </p:set>
                                        <p:anim calcmode="lin" valueType="num" p14:bounceEnd="20000">
                                          <p:cBhvr additive="base">
                                            <p:cTn id="11" dur="500" fill="hold"/>
                                            <p:tgtEl>
                                              <p:spTgt spid="23"/>
                                            </p:tgtEl>
                                            <p:attrNameLst>
                                              <p:attrName>ppt_x</p:attrName>
                                            </p:attrNameLst>
                                          </p:cBhvr>
                                          <p:tavLst>
                                            <p:tav tm="0">
                                              <p:val>
                                                <p:strVal val="0-#ppt_w/2"/>
                                              </p:val>
                                            </p:tav>
                                            <p:tav tm="100000">
                                              <p:val>
                                                <p:strVal val="#ppt_x"/>
                                              </p:val>
                                            </p:tav>
                                          </p:tavLst>
                                        </p:anim>
                                        <p:anim calcmode="lin" valueType="num" p14:bounceEnd="20000">
                                          <p:cBhvr additive="base">
                                            <p:cTn id="12" dur="500" fill="hold"/>
                                            <p:tgtEl>
                                              <p:spTgt spid="23"/>
                                            </p:tgtEl>
                                            <p:attrNameLst>
                                              <p:attrName>ppt_y</p:attrName>
                                            </p:attrNameLst>
                                          </p:cBhvr>
                                          <p:tavLst>
                                            <p:tav tm="0">
                                              <p:val>
                                                <p:strVal val="#ppt_y"/>
                                              </p:val>
                                            </p:tav>
                                            <p:tav tm="100000">
                                              <p:val>
                                                <p:strVal val="#ppt_y"/>
                                              </p:val>
                                            </p:tav>
                                          </p:tavLst>
                                        </p:anim>
                                      </p:childTnLst>
                                    </p:cTn>
                                  </p:par>
                                  <p:par>
                                    <p:cTn id="13" presetID="2" presetClass="entr" presetSubtype="8" fill="hold" nodeType="withEffect" p14:presetBounceEnd="20000">
                                      <p:stCondLst>
                                        <p:cond delay="0"/>
                                      </p:stCondLst>
                                      <p:childTnLst>
                                        <p:set>
                                          <p:cBhvr>
                                            <p:cTn id="14" dur="1" fill="hold">
                                              <p:stCondLst>
                                                <p:cond delay="0"/>
                                              </p:stCondLst>
                                            </p:cTn>
                                            <p:tgtEl>
                                              <p:spTgt spid="26"/>
                                            </p:tgtEl>
                                            <p:attrNameLst>
                                              <p:attrName>style.visibility</p:attrName>
                                            </p:attrNameLst>
                                          </p:cBhvr>
                                          <p:to>
                                            <p:strVal val="visible"/>
                                          </p:to>
                                        </p:set>
                                        <p:anim calcmode="lin" valueType="num" p14:bounceEnd="20000">
                                          <p:cBhvr additive="base">
                                            <p:cTn id="15" dur="500" fill="hold"/>
                                            <p:tgtEl>
                                              <p:spTgt spid="26"/>
                                            </p:tgtEl>
                                            <p:attrNameLst>
                                              <p:attrName>ppt_x</p:attrName>
                                            </p:attrNameLst>
                                          </p:cBhvr>
                                          <p:tavLst>
                                            <p:tav tm="0">
                                              <p:val>
                                                <p:strVal val="0-#ppt_w/2"/>
                                              </p:val>
                                            </p:tav>
                                            <p:tav tm="100000">
                                              <p:val>
                                                <p:strVal val="#ppt_x"/>
                                              </p:val>
                                            </p:tav>
                                          </p:tavLst>
                                        </p:anim>
                                        <p:anim calcmode="lin" valueType="num" p14:bounceEnd="20000">
                                          <p:cBhvr additive="base">
                                            <p:cTn id="16" dur="500" fill="hold"/>
                                            <p:tgtEl>
                                              <p:spTgt spid="26"/>
                                            </p:tgtEl>
                                            <p:attrNameLst>
                                              <p:attrName>ppt_y</p:attrName>
                                            </p:attrNameLst>
                                          </p:cBhvr>
                                          <p:tavLst>
                                            <p:tav tm="0">
                                              <p:val>
                                                <p:strVal val="#ppt_y"/>
                                              </p:val>
                                            </p:tav>
                                            <p:tav tm="100000">
                                              <p:val>
                                                <p:strVal val="#ppt_y"/>
                                              </p:val>
                                            </p:tav>
                                          </p:tavLst>
                                        </p:anim>
                                      </p:childTnLst>
                                    </p:cTn>
                                  </p:par>
                                  <p:par>
                                    <p:cTn id="17" presetID="2" presetClass="entr" presetSubtype="8" fill="hold" nodeType="withEffect" p14:presetBounceEnd="20000">
                                      <p:stCondLst>
                                        <p:cond delay="0"/>
                                      </p:stCondLst>
                                      <p:childTnLst>
                                        <p:set>
                                          <p:cBhvr>
                                            <p:cTn id="18" dur="1" fill="hold">
                                              <p:stCondLst>
                                                <p:cond delay="0"/>
                                              </p:stCondLst>
                                            </p:cTn>
                                            <p:tgtEl>
                                              <p:spTgt spid="31"/>
                                            </p:tgtEl>
                                            <p:attrNameLst>
                                              <p:attrName>style.visibility</p:attrName>
                                            </p:attrNameLst>
                                          </p:cBhvr>
                                          <p:to>
                                            <p:strVal val="visible"/>
                                          </p:to>
                                        </p:set>
                                        <p:anim calcmode="lin" valueType="num" p14:bounceEnd="20000">
                                          <p:cBhvr additive="base">
                                            <p:cTn id="19" dur="500" fill="hold"/>
                                            <p:tgtEl>
                                              <p:spTgt spid="31"/>
                                            </p:tgtEl>
                                            <p:attrNameLst>
                                              <p:attrName>ppt_x</p:attrName>
                                            </p:attrNameLst>
                                          </p:cBhvr>
                                          <p:tavLst>
                                            <p:tav tm="0">
                                              <p:val>
                                                <p:strVal val="0-#ppt_w/2"/>
                                              </p:val>
                                            </p:tav>
                                            <p:tav tm="100000">
                                              <p:val>
                                                <p:strVal val="#ppt_x"/>
                                              </p:val>
                                            </p:tav>
                                          </p:tavLst>
                                        </p:anim>
                                        <p:anim calcmode="lin" valueType="num" p14:bounceEnd="20000">
                                          <p:cBhvr additive="base">
                                            <p:cTn id="20" dur="500" fill="hold"/>
                                            <p:tgtEl>
                                              <p:spTgt spid="31"/>
                                            </p:tgtEl>
                                            <p:attrNameLst>
                                              <p:attrName>ppt_y</p:attrName>
                                            </p:attrNameLst>
                                          </p:cBhvr>
                                          <p:tavLst>
                                            <p:tav tm="0">
                                              <p:val>
                                                <p:strVal val="#ppt_y"/>
                                              </p:val>
                                            </p:tav>
                                            <p:tav tm="100000">
                                              <p:val>
                                                <p:strVal val="#ppt_y"/>
                                              </p:val>
                                            </p:tav>
                                          </p:tavLst>
                                        </p:anim>
                                      </p:childTnLst>
                                    </p:cTn>
                                  </p:par>
                                  <p:par>
                                    <p:cTn id="21" presetID="2" presetClass="entr" presetSubtype="8" fill="hold" nodeType="withEffect" p14:presetBounceEnd="20000">
                                      <p:stCondLst>
                                        <p:cond delay="0"/>
                                      </p:stCondLst>
                                      <p:childTnLst>
                                        <p:set>
                                          <p:cBhvr>
                                            <p:cTn id="22" dur="1" fill="hold">
                                              <p:stCondLst>
                                                <p:cond delay="0"/>
                                              </p:stCondLst>
                                            </p:cTn>
                                            <p:tgtEl>
                                              <p:spTgt spid="46"/>
                                            </p:tgtEl>
                                            <p:attrNameLst>
                                              <p:attrName>style.visibility</p:attrName>
                                            </p:attrNameLst>
                                          </p:cBhvr>
                                          <p:to>
                                            <p:strVal val="visible"/>
                                          </p:to>
                                        </p:set>
                                        <p:anim calcmode="lin" valueType="num" p14:bounceEnd="20000">
                                          <p:cBhvr additive="base">
                                            <p:cTn id="23" dur="500" fill="hold"/>
                                            <p:tgtEl>
                                              <p:spTgt spid="46"/>
                                            </p:tgtEl>
                                            <p:attrNameLst>
                                              <p:attrName>ppt_x</p:attrName>
                                            </p:attrNameLst>
                                          </p:cBhvr>
                                          <p:tavLst>
                                            <p:tav tm="0">
                                              <p:val>
                                                <p:strVal val="0-#ppt_w/2"/>
                                              </p:val>
                                            </p:tav>
                                            <p:tav tm="100000">
                                              <p:val>
                                                <p:strVal val="#ppt_x"/>
                                              </p:val>
                                            </p:tav>
                                          </p:tavLst>
                                        </p:anim>
                                        <p:anim calcmode="lin" valueType="num" p14:bounceEnd="20000">
                                          <p:cBhvr additive="base">
                                            <p:cTn id="24" dur="500" fill="hold"/>
                                            <p:tgtEl>
                                              <p:spTgt spid="46"/>
                                            </p:tgtEl>
                                            <p:attrNameLst>
                                              <p:attrName>ppt_y</p:attrName>
                                            </p:attrNameLst>
                                          </p:cBhvr>
                                          <p:tavLst>
                                            <p:tav tm="0">
                                              <p:val>
                                                <p:strVal val="#ppt_y"/>
                                              </p:val>
                                            </p:tav>
                                            <p:tav tm="100000">
                                              <p:val>
                                                <p:strVal val="#ppt_y"/>
                                              </p:val>
                                            </p:tav>
                                          </p:tavLst>
                                        </p:anim>
                                      </p:childTnLst>
                                    </p:cTn>
                                  </p:par>
                                  <p:par>
                                    <p:cTn id="25" presetID="2" presetClass="entr" presetSubtype="8" fill="hold" nodeType="withEffect" p14:presetBounceEnd="20000">
                                      <p:stCondLst>
                                        <p:cond delay="0"/>
                                      </p:stCondLst>
                                      <p:childTnLst>
                                        <p:set>
                                          <p:cBhvr>
                                            <p:cTn id="26" dur="1" fill="hold">
                                              <p:stCondLst>
                                                <p:cond delay="0"/>
                                              </p:stCondLst>
                                            </p:cTn>
                                            <p:tgtEl>
                                              <p:spTgt spid="43"/>
                                            </p:tgtEl>
                                            <p:attrNameLst>
                                              <p:attrName>style.visibility</p:attrName>
                                            </p:attrNameLst>
                                          </p:cBhvr>
                                          <p:to>
                                            <p:strVal val="visible"/>
                                          </p:to>
                                        </p:set>
                                        <p:anim calcmode="lin" valueType="num" p14:bounceEnd="20000">
                                          <p:cBhvr additive="base">
                                            <p:cTn id="27" dur="500" fill="hold"/>
                                            <p:tgtEl>
                                              <p:spTgt spid="43"/>
                                            </p:tgtEl>
                                            <p:attrNameLst>
                                              <p:attrName>ppt_x</p:attrName>
                                            </p:attrNameLst>
                                          </p:cBhvr>
                                          <p:tavLst>
                                            <p:tav tm="0">
                                              <p:val>
                                                <p:strVal val="0-#ppt_w/2"/>
                                              </p:val>
                                            </p:tav>
                                            <p:tav tm="100000">
                                              <p:val>
                                                <p:strVal val="#ppt_x"/>
                                              </p:val>
                                            </p:tav>
                                          </p:tavLst>
                                        </p:anim>
                                        <p:anim calcmode="lin" valueType="num" p14:bounceEnd="20000">
                                          <p:cBhvr additive="base">
                                            <p:cTn id="28" dur="500" fill="hold"/>
                                            <p:tgtEl>
                                              <p:spTgt spid="43"/>
                                            </p:tgtEl>
                                            <p:attrNameLst>
                                              <p:attrName>ppt_y</p:attrName>
                                            </p:attrNameLst>
                                          </p:cBhvr>
                                          <p:tavLst>
                                            <p:tav tm="0">
                                              <p:val>
                                                <p:strVal val="#ppt_y"/>
                                              </p:val>
                                            </p:tav>
                                            <p:tav tm="100000">
                                              <p:val>
                                                <p:strVal val="#ppt_y"/>
                                              </p:val>
                                            </p:tav>
                                          </p:tavLst>
                                        </p:anim>
                                      </p:childTnLst>
                                    </p:cTn>
                                  </p:par>
                                  <p:par>
                                    <p:cTn id="29" presetID="2" presetClass="entr" presetSubtype="8" fill="hold" nodeType="withEffect" p14:presetBounceEnd="20000">
                                      <p:stCondLst>
                                        <p:cond delay="0"/>
                                      </p:stCondLst>
                                      <p:childTnLst>
                                        <p:set>
                                          <p:cBhvr>
                                            <p:cTn id="30" dur="1" fill="hold">
                                              <p:stCondLst>
                                                <p:cond delay="0"/>
                                              </p:stCondLst>
                                            </p:cTn>
                                            <p:tgtEl>
                                              <p:spTgt spid="53"/>
                                            </p:tgtEl>
                                            <p:attrNameLst>
                                              <p:attrName>style.visibility</p:attrName>
                                            </p:attrNameLst>
                                          </p:cBhvr>
                                          <p:to>
                                            <p:strVal val="visible"/>
                                          </p:to>
                                        </p:set>
                                        <p:anim calcmode="lin" valueType="num" p14:bounceEnd="20000">
                                          <p:cBhvr additive="base">
                                            <p:cTn id="31" dur="500" fill="hold"/>
                                            <p:tgtEl>
                                              <p:spTgt spid="53"/>
                                            </p:tgtEl>
                                            <p:attrNameLst>
                                              <p:attrName>ppt_x</p:attrName>
                                            </p:attrNameLst>
                                          </p:cBhvr>
                                          <p:tavLst>
                                            <p:tav tm="0">
                                              <p:val>
                                                <p:strVal val="0-#ppt_w/2"/>
                                              </p:val>
                                            </p:tav>
                                            <p:tav tm="100000">
                                              <p:val>
                                                <p:strVal val="#ppt_x"/>
                                              </p:val>
                                            </p:tav>
                                          </p:tavLst>
                                        </p:anim>
                                        <p:anim calcmode="lin" valueType="num" p14:bounceEnd="20000">
                                          <p:cBhvr additive="base">
                                            <p:cTn id="32" dur="500" fill="hold"/>
                                            <p:tgtEl>
                                              <p:spTgt spid="53"/>
                                            </p:tgtEl>
                                            <p:attrNameLst>
                                              <p:attrName>ppt_y</p:attrName>
                                            </p:attrNameLst>
                                          </p:cBhvr>
                                          <p:tavLst>
                                            <p:tav tm="0">
                                              <p:val>
                                                <p:strVal val="#ppt_y"/>
                                              </p:val>
                                            </p:tav>
                                            <p:tav tm="100000">
                                              <p:val>
                                                <p:strVal val="#ppt_y"/>
                                              </p:val>
                                            </p:tav>
                                          </p:tavLst>
                                        </p:anim>
                                      </p:childTnLst>
                                    </p:cTn>
                                  </p:par>
                                  <p:par>
                                    <p:cTn id="33" presetID="2" presetClass="entr" presetSubtype="8" fill="hold" nodeType="withEffect" p14:presetBounceEnd="20000">
                                      <p:stCondLst>
                                        <p:cond delay="0"/>
                                      </p:stCondLst>
                                      <p:childTnLst>
                                        <p:set>
                                          <p:cBhvr>
                                            <p:cTn id="34" dur="1" fill="hold">
                                              <p:stCondLst>
                                                <p:cond delay="0"/>
                                              </p:stCondLst>
                                            </p:cTn>
                                            <p:tgtEl>
                                              <p:spTgt spid="54"/>
                                            </p:tgtEl>
                                            <p:attrNameLst>
                                              <p:attrName>style.visibility</p:attrName>
                                            </p:attrNameLst>
                                          </p:cBhvr>
                                          <p:to>
                                            <p:strVal val="visible"/>
                                          </p:to>
                                        </p:set>
                                        <p:anim calcmode="lin" valueType="num" p14:bounceEnd="20000">
                                          <p:cBhvr additive="base">
                                            <p:cTn id="35" dur="500" fill="hold"/>
                                            <p:tgtEl>
                                              <p:spTgt spid="54"/>
                                            </p:tgtEl>
                                            <p:attrNameLst>
                                              <p:attrName>ppt_x</p:attrName>
                                            </p:attrNameLst>
                                          </p:cBhvr>
                                          <p:tavLst>
                                            <p:tav tm="0">
                                              <p:val>
                                                <p:strVal val="0-#ppt_w/2"/>
                                              </p:val>
                                            </p:tav>
                                            <p:tav tm="100000">
                                              <p:val>
                                                <p:strVal val="#ppt_x"/>
                                              </p:val>
                                            </p:tav>
                                          </p:tavLst>
                                        </p:anim>
                                        <p:anim calcmode="lin" valueType="num" p14:bounceEnd="20000">
                                          <p:cBhvr additive="base">
                                            <p:cTn id="36" dur="500" fill="hold"/>
                                            <p:tgtEl>
                                              <p:spTgt spid="54"/>
                                            </p:tgtEl>
                                            <p:attrNameLst>
                                              <p:attrName>ppt_y</p:attrName>
                                            </p:attrNameLst>
                                          </p:cBhvr>
                                          <p:tavLst>
                                            <p:tav tm="0">
                                              <p:val>
                                                <p:strVal val="#ppt_y"/>
                                              </p:val>
                                            </p:tav>
                                            <p:tav tm="100000">
                                              <p:val>
                                                <p:strVal val="#ppt_y"/>
                                              </p:val>
                                            </p:tav>
                                          </p:tavLst>
                                        </p:anim>
                                      </p:childTnLst>
                                    </p:cTn>
                                  </p:par>
                                  <p:par>
                                    <p:cTn id="37" presetID="2" presetClass="entr" presetSubtype="8" fill="hold" nodeType="withEffect">
                                      <p:stCondLst>
                                        <p:cond delay="0"/>
                                      </p:stCondLst>
                                      <p:childTnLst>
                                        <p:set>
                                          <p:cBhvr>
                                            <p:cTn id="38" dur="1" fill="hold">
                                              <p:stCondLst>
                                                <p:cond delay="0"/>
                                              </p:stCondLst>
                                            </p:cTn>
                                            <p:tgtEl>
                                              <p:spTgt spid="8"/>
                                            </p:tgtEl>
                                            <p:attrNameLst>
                                              <p:attrName>style.visibility</p:attrName>
                                            </p:attrNameLst>
                                          </p:cBhvr>
                                          <p:to>
                                            <p:strVal val="visible"/>
                                          </p:to>
                                        </p:set>
                                        <p:anim calcmode="lin" valueType="num">
                                          <p:cBhvr additive="base">
                                            <p:cTn id="39" dur="500" fill="hold"/>
                                            <p:tgtEl>
                                              <p:spTgt spid="8"/>
                                            </p:tgtEl>
                                            <p:attrNameLst>
                                              <p:attrName>ppt_x</p:attrName>
                                            </p:attrNameLst>
                                          </p:cBhvr>
                                          <p:tavLst>
                                            <p:tav tm="0">
                                              <p:val>
                                                <p:strVal val="0-#ppt_w/2"/>
                                              </p:val>
                                            </p:tav>
                                            <p:tav tm="100000">
                                              <p:val>
                                                <p:strVal val="#ppt_x"/>
                                              </p:val>
                                            </p:tav>
                                          </p:tavLst>
                                        </p:anim>
                                        <p:anim calcmode="lin" valueType="num">
                                          <p:cBhvr additive="base">
                                            <p:cTn id="40" dur="500" fill="hold"/>
                                            <p:tgtEl>
                                              <p:spTgt spid="8"/>
                                            </p:tgtEl>
                                            <p:attrNameLst>
                                              <p:attrName>ppt_y</p:attrName>
                                            </p:attrNameLst>
                                          </p:cBhvr>
                                          <p:tavLst>
                                            <p:tav tm="0">
                                              <p:val>
                                                <p:strVal val="#ppt_y"/>
                                              </p:val>
                                            </p:tav>
                                            <p:tav tm="100000">
                                              <p:val>
                                                <p:strVal val="#ppt_y"/>
                                              </p:val>
                                            </p:tav>
                                          </p:tavLst>
                                        </p:anim>
                                      </p:childTnLst>
                                    </p:cTn>
                                  </p:par>
                                  <p:par>
                                    <p:cTn id="41" presetID="2" presetClass="entr" presetSubtype="8" fill="hold" nodeType="withEffect">
                                      <p:stCondLst>
                                        <p:cond delay="0"/>
                                      </p:stCondLst>
                                      <p:childTnLst>
                                        <p:set>
                                          <p:cBhvr>
                                            <p:cTn id="42" dur="1" fill="hold">
                                              <p:stCondLst>
                                                <p:cond delay="0"/>
                                              </p:stCondLst>
                                            </p:cTn>
                                            <p:tgtEl>
                                              <p:spTgt spid="9"/>
                                            </p:tgtEl>
                                            <p:attrNameLst>
                                              <p:attrName>style.visibility</p:attrName>
                                            </p:attrNameLst>
                                          </p:cBhvr>
                                          <p:to>
                                            <p:strVal val="visible"/>
                                          </p:to>
                                        </p:set>
                                        <p:anim calcmode="lin" valueType="num">
                                          <p:cBhvr additive="base">
                                            <p:cTn id="43" dur="500" fill="hold"/>
                                            <p:tgtEl>
                                              <p:spTgt spid="9"/>
                                            </p:tgtEl>
                                            <p:attrNameLst>
                                              <p:attrName>ppt_x</p:attrName>
                                            </p:attrNameLst>
                                          </p:cBhvr>
                                          <p:tavLst>
                                            <p:tav tm="0">
                                              <p:val>
                                                <p:strVal val="0-#ppt_w/2"/>
                                              </p:val>
                                            </p:tav>
                                            <p:tav tm="100000">
                                              <p:val>
                                                <p:strVal val="#ppt_x"/>
                                              </p:val>
                                            </p:tav>
                                          </p:tavLst>
                                        </p:anim>
                                        <p:anim calcmode="lin" valueType="num">
                                          <p:cBhvr additive="base">
                                            <p:cTn id="44"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 calcmode="lin" valueType="num">
                                          <p:cBhvr additive="base">
                                            <p:cTn id="7" dur="500" fill="hold"/>
                                            <p:tgtEl>
                                              <p:spTgt spid="22"/>
                                            </p:tgtEl>
                                            <p:attrNameLst>
                                              <p:attrName>ppt_x</p:attrName>
                                            </p:attrNameLst>
                                          </p:cBhvr>
                                          <p:tavLst>
                                            <p:tav tm="0">
                                              <p:val>
                                                <p:strVal val="0-#ppt_w/2"/>
                                              </p:val>
                                            </p:tav>
                                            <p:tav tm="100000">
                                              <p:val>
                                                <p:strVal val="#ppt_x"/>
                                              </p:val>
                                            </p:tav>
                                          </p:tavLst>
                                        </p:anim>
                                        <p:anim calcmode="lin" valueType="num">
                                          <p:cBhvr additive="base">
                                            <p:cTn id="8" dur="500" fill="hold"/>
                                            <p:tgtEl>
                                              <p:spTgt spid="22"/>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23"/>
                                            </p:tgtEl>
                                            <p:attrNameLst>
                                              <p:attrName>style.visibility</p:attrName>
                                            </p:attrNameLst>
                                          </p:cBhvr>
                                          <p:to>
                                            <p:strVal val="visible"/>
                                          </p:to>
                                        </p:set>
                                        <p:anim calcmode="lin" valueType="num">
                                          <p:cBhvr additive="base">
                                            <p:cTn id="11" dur="500" fill="hold"/>
                                            <p:tgtEl>
                                              <p:spTgt spid="23"/>
                                            </p:tgtEl>
                                            <p:attrNameLst>
                                              <p:attrName>ppt_x</p:attrName>
                                            </p:attrNameLst>
                                          </p:cBhvr>
                                          <p:tavLst>
                                            <p:tav tm="0">
                                              <p:val>
                                                <p:strVal val="0-#ppt_w/2"/>
                                              </p:val>
                                            </p:tav>
                                            <p:tav tm="100000">
                                              <p:val>
                                                <p:strVal val="#ppt_x"/>
                                              </p:val>
                                            </p:tav>
                                          </p:tavLst>
                                        </p:anim>
                                        <p:anim calcmode="lin" valueType="num">
                                          <p:cBhvr additive="base">
                                            <p:cTn id="12" dur="500" fill="hold"/>
                                            <p:tgtEl>
                                              <p:spTgt spid="23"/>
                                            </p:tgtEl>
                                            <p:attrNameLst>
                                              <p:attrName>ppt_y</p:attrName>
                                            </p:attrNameLst>
                                          </p:cBhvr>
                                          <p:tavLst>
                                            <p:tav tm="0">
                                              <p:val>
                                                <p:strVal val="#ppt_y"/>
                                              </p:val>
                                            </p:tav>
                                            <p:tav tm="100000">
                                              <p:val>
                                                <p:strVal val="#ppt_y"/>
                                              </p:val>
                                            </p:tav>
                                          </p:tavLst>
                                        </p:anim>
                                      </p:childTnLst>
                                    </p:cTn>
                                  </p:par>
                                  <p:par>
                                    <p:cTn id="13" presetID="2" presetClass="entr" presetSubtype="8" fill="hold" nodeType="withEffect">
                                      <p:stCondLst>
                                        <p:cond delay="0"/>
                                      </p:stCondLst>
                                      <p:childTnLst>
                                        <p:set>
                                          <p:cBhvr>
                                            <p:cTn id="14" dur="1" fill="hold">
                                              <p:stCondLst>
                                                <p:cond delay="0"/>
                                              </p:stCondLst>
                                            </p:cTn>
                                            <p:tgtEl>
                                              <p:spTgt spid="26"/>
                                            </p:tgtEl>
                                            <p:attrNameLst>
                                              <p:attrName>style.visibility</p:attrName>
                                            </p:attrNameLst>
                                          </p:cBhvr>
                                          <p:to>
                                            <p:strVal val="visible"/>
                                          </p:to>
                                        </p:set>
                                        <p:anim calcmode="lin" valueType="num">
                                          <p:cBhvr additive="base">
                                            <p:cTn id="15" dur="500" fill="hold"/>
                                            <p:tgtEl>
                                              <p:spTgt spid="26"/>
                                            </p:tgtEl>
                                            <p:attrNameLst>
                                              <p:attrName>ppt_x</p:attrName>
                                            </p:attrNameLst>
                                          </p:cBhvr>
                                          <p:tavLst>
                                            <p:tav tm="0">
                                              <p:val>
                                                <p:strVal val="0-#ppt_w/2"/>
                                              </p:val>
                                            </p:tav>
                                            <p:tav tm="100000">
                                              <p:val>
                                                <p:strVal val="#ppt_x"/>
                                              </p:val>
                                            </p:tav>
                                          </p:tavLst>
                                        </p:anim>
                                        <p:anim calcmode="lin" valueType="num">
                                          <p:cBhvr additive="base">
                                            <p:cTn id="16" dur="500" fill="hold"/>
                                            <p:tgtEl>
                                              <p:spTgt spid="26"/>
                                            </p:tgtEl>
                                            <p:attrNameLst>
                                              <p:attrName>ppt_y</p:attrName>
                                            </p:attrNameLst>
                                          </p:cBhvr>
                                          <p:tavLst>
                                            <p:tav tm="0">
                                              <p:val>
                                                <p:strVal val="#ppt_y"/>
                                              </p:val>
                                            </p:tav>
                                            <p:tav tm="100000">
                                              <p:val>
                                                <p:strVal val="#ppt_y"/>
                                              </p:val>
                                            </p:tav>
                                          </p:tavLst>
                                        </p:anim>
                                      </p:childTnLst>
                                    </p:cTn>
                                  </p:par>
                                  <p:par>
                                    <p:cTn id="17" presetID="2" presetClass="entr" presetSubtype="8" fill="hold" nodeType="withEffect">
                                      <p:stCondLst>
                                        <p:cond delay="0"/>
                                      </p:stCondLst>
                                      <p:childTnLst>
                                        <p:set>
                                          <p:cBhvr>
                                            <p:cTn id="18" dur="1" fill="hold">
                                              <p:stCondLst>
                                                <p:cond delay="0"/>
                                              </p:stCondLst>
                                            </p:cTn>
                                            <p:tgtEl>
                                              <p:spTgt spid="31"/>
                                            </p:tgtEl>
                                            <p:attrNameLst>
                                              <p:attrName>style.visibility</p:attrName>
                                            </p:attrNameLst>
                                          </p:cBhvr>
                                          <p:to>
                                            <p:strVal val="visible"/>
                                          </p:to>
                                        </p:set>
                                        <p:anim calcmode="lin" valueType="num">
                                          <p:cBhvr additive="base">
                                            <p:cTn id="19" dur="500" fill="hold"/>
                                            <p:tgtEl>
                                              <p:spTgt spid="31"/>
                                            </p:tgtEl>
                                            <p:attrNameLst>
                                              <p:attrName>ppt_x</p:attrName>
                                            </p:attrNameLst>
                                          </p:cBhvr>
                                          <p:tavLst>
                                            <p:tav tm="0">
                                              <p:val>
                                                <p:strVal val="0-#ppt_w/2"/>
                                              </p:val>
                                            </p:tav>
                                            <p:tav tm="100000">
                                              <p:val>
                                                <p:strVal val="#ppt_x"/>
                                              </p:val>
                                            </p:tav>
                                          </p:tavLst>
                                        </p:anim>
                                        <p:anim calcmode="lin" valueType="num">
                                          <p:cBhvr additive="base">
                                            <p:cTn id="20" dur="500" fill="hold"/>
                                            <p:tgtEl>
                                              <p:spTgt spid="31"/>
                                            </p:tgtEl>
                                            <p:attrNameLst>
                                              <p:attrName>ppt_y</p:attrName>
                                            </p:attrNameLst>
                                          </p:cBhvr>
                                          <p:tavLst>
                                            <p:tav tm="0">
                                              <p:val>
                                                <p:strVal val="#ppt_y"/>
                                              </p:val>
                                            </p:tav>
                                            <p:tav tm="100000">
                                              <p:val>
                                                <p:strVal val="#ppt_y"/>
                                              </p:val>
                                            </p:tav>
                                          </p:tavLst>
                                        </p:anim>
                                      </p:childTnLst>
                                    </p:cTn>
                                  </p:par>
                                  <p:par>
                                    <p:cTn id="21" presetID="2" presetClass="entr" presetSubtype="8" fill="hold" nodeType="withEffect">
                                      <p:stCondLst>
                                        <p:cond delay="0"/>
                                      </p:stCondLst>
                                      <p:childTnLst>
                                        <p:set>
                                          <p:cBhvr>
                                            <p:cTn id="22" dur="1" fill="hold">
                                              <p:stCondLst>
                                                <p:cond delay="0"/>
                                              </p:stCondLst>
                                            </p:cTn>
                                            <p:tgtEl>
                                              <p:spTgt spid="46"/>
                                            </p:tgtEl>
                                            <p:attrNameLst>
                                              <p:attrName>style.visibility</p:attrName>
                                            </p:attrNameLst>
                                          </p:cBhvr>
                                          <p:to>
                                            <p:strVal val="visible"/>
                                          </p:to>
                                        </p:set>
                                        <p:anim calcmode="lin" valueType="num">
                                          <p:cBhvr additive="base">
                                            <p:cTn id="23" dur="500" fill="hold"/>
                                            <p:tgtEl>
                                              <p:spTgt spid="46"/>
                                            </p:tgtEl>
                                            <p:attrNameLst>
                                              <p:attrName>ppt_x</p:attrName>
                                            </p:attrNameLst>
                                          </p:cBhvr>
                                          <p:tavLst>
                                            <p:tav tm="0">
                                              <p:val>
                                                <p:strVal val="0-#ppt_w/2"/>
                                              </p:val>
                                            </p:tav>
                                            <p:tav tm="100000">
                                              <p:val>
                                                <p:strVal val="#ppt_x"/>
                                              </p:val>
                                            </p:tav>
                                          </p:tavLst>
                                        </p:anim>
                                        <p:anim calcmode="lin" valueType="num">
                                          <p:cBhvr additive="base">
                                            <p:cTn id="24" dur="500" fill="hold"/>
                                            <p:tgtEl>
                                              <p:spTgt spid="46"/>
                                            </p:tgtEl>
                                            <p:attrNameLst>
                                              <p:attrName>ppt_y</p:attrName>
                                            </p:attrNameLst>
                                          </p:cBhvr>
                                          <p:tavLst>
                                            <p:tav tm="0">
                                              <p:val>
                                                <p:strVal val="#ppt_y"/>
                                              </p:val>
                                            </p:tav>
                                            <p:tav tm="100000">
                                              <p:val>
                                                <p:strVal val="#ppt_y"/>
                                              </p:val>
                                            </p:tav>
                                          </p:tavLst>
                                        </p:anim>
                                      </p:childTnLst>
                                    </p:cTn>
                                  </p:par>
                                  <p:par>
                                    <p:cTn id="25" presetID="2" presetClass="entr" presetSubtype="8" fill="hold" nodeType="withEffect">
                                      <p:stCondLst>
                                        <p:cond delay="0"/>
                                      </p:stCondLst>
                                      <p:childTnLst>
                                        <p:set>
                                          <p:cBhvr>
                                            <p:cTn id="26" dur="1" fill="hold">
                                              <p:stCondLst>
                                                <p:cond delay="0"/>
                                              </p:stCondLst>
                                            </p:cTn>
                                            <p:tgtEl>
                                              <p:spTgt spid="43"/>
                                            </p:tgtEl>
                                            <p:attrNameLst>
                                              <p:attrName>style.visibility</p:attrName>
                                            </p:attrNameLst>
                                          </p:cBhvr>
                                          <p:to>
                                            <p:strVal val="visible"/>
                                          </p:to>
                                        </p:set>
                                        <p:anim calcmode="lin" valueType="num">
                                          <p:cBhvr additive="base">
                                            <p:cTn id="27" dur="500" fill="hold"/>
                                            <p:tgtEl>
                                              <p:spTgt spid="43"/>
                                            </p:tgtEl>
                                            <p:attrNameLst>
                                              <p:attrName>ppt_x</p:attrName>
                                            </p:attrNameLst>
                                          </p:cBhvr>
                                          <p:tavLst>
                                            <p:tav tm="0">
                                              <p:val>
                                                <p:strVal val="0-#ppt_w/2"/>
                                              </p:val>
                                            </p:tav>
                                            <p:tav tm="100000">
                                              <p:val>
                                                <p:strVal val="#ppt_x"/>
                                              </p:val>
                                            </p:tav>
                                          </p:tavLst>
                                        </p:anim>
                                        <p:anim calcmode="lin" valueType="num">
                                          <p:cBhvr additive="base">
                                            <p:cTn id="28" dur="500" fill="hold"/>
                                            <p:tgtEl>
                                              <p:spTgt spid="43"/>
                                            </p:tgtEl>
                                            <p:attrNameLst>
                                              <p:attrName>ppt_y</p:attrName>
                                            </p:attrNameLst>
                                          </p:cBhvr>
                                          <p:tavLst>
                                            <p:tav tm="0">
                                              <p:val>
                                                <p:strVal val="#ppt_y"/>
                                              </p:val>
                                            </p:tav>
                                            <p:tav tm="100000">
                                              <p:val>
                                                <p:strVal val="#ppt_y"/>
                                              </p:val>
                                            </p:tav>
                                          </p:tavLst>
                                        </p:anim>
                                      </p:childTnLst>
                                    </p:cTn>
                                  </p:par>
                                  <p:par>
                                    <p:cTn id="29" presetID="2" presetClass="entr" presetSubtype="8" fill="hold" nodeType="withEffect">
                                      <p:stCondLst>
                                        <p:cond delay="0"/>
                                      </p:stCondLst>
                                      <p:childTnLst>
                                        <p:set>
                                          <p:cBhvr>
                                            <p:cTn id="30" dur="1" fill="hold">
                                              <p:stCondLst>
                                                <p:cond delay="0"/>
                                              </p:stCondLst>
                                            </p:cTn>
                                            <p:tgtEl>
                                              <p:spTgt spid="53"/>
                                            </p:tgtEl>
                                            <p:attrNameLst>
                                              <p:attrName>style.visibility</p:attrName>
                                            </p:attrNameLst>
                                          </p:cBhvr>
                                          <p:to>
                                            <p:strVal val="visible"/>
                                          </p:to>
                                        </p:set>
                                        <p:anim calcmode="lin" valueType="num">
                                          <p:cBhvr additive="base">
                                            <p:cTn id="31" dur="500" fill="hold"/>
                                            <p:tgtEl>
                                              <p:spTgt spid="53"/>
                                            </p:tgtEl>
                                            <p:attrNameLst>
                                              <p:attrName>ppt_x</p:attrName>
                                            </p:attrNameLst>
                                          </p:cBhvr>
                                          <p:tavLst>
                                            <p:tav tm="0">
                                              <p:val>
                                                <p:strVal val="0-#ppt_w/2"/>
                                              </p:val>
                                            </p:tav>
                                            <p:tav tm="100000">
                                              <p:val>
                                                <p:strVal val="#ppt_x"/>
                                              </p:val>
                                            </p:tav>
                                          </p:tavLst>
                                        </p:anim>
                                        <p:anim calcmode="lin" valueType="num">
                                          <p:cBhvr additive="base">
                                            <p:cTn id="32" dur="500" fill="hold"/>
                                            <p:tgtEl>
                                              <p:spTgt spid="53"/>
                                            </p:tgtEl>
                                            <p:attrNameLst>
                                              <p:attrName>ppt_y</p:attrName>
                                            </p:attrNameLst>
                                          </p:cBhvr>
                                          <p:tavLst>
                                            <p:tav tm="0">
                                              <p:val>
                                                <p:strVal val="#ppt_y"/>
                                              </p:val>
                                            </p:tav>
                                            <p:tav tm="100000">
                                              <p:val>
                                                <p:strVal val="#ppt_y"/>
                                              </p:val>
                                            </p:tav>
                                          </p:tavLst>
                                        </p:anim>
                                      </p:childTnLst>
                                    </p:cTn>
                                  </p:par>
                                  <p:par>
                                    <p:cTn id="33" presetID="2" presetClass="entr" presetSubtype="8" fill="hold" nodeType="withEffect">
                                      <p:stCondLst>
                                        <p:cond delay="0"/>
                                      </p:stCondLst>
                                      <p:childTnLst>
                                        <p:set>
                                          <p:cBhvr>
                                            <p:cTn id="34" dur="1" fill="hold">
                                              <p:stCondLst>
                                                <p:cond delay="0"/>
                                              </p:stCondLst>
                                            </p:cTn>
                                            <p:tgtEl>
                                              <p:spTgt spid="54"/>
                                            </p:tgtEl>
                                            <p:attrNameLst>
                                              <p:attrName>style.visibility</p:attrName>
                                            </p:attrNameLst>
                                          </p:cBhvr>
                                          <p:to>
                                            <p:strVal val="visible"/>
                                          </p:to>
                                        </p:set>
                                        <p:anim calcmode="lin" valueType="num">
                                          <p:cBhvr additive="base">
                                            <p:cTn id="35" dur="500" fill="hold"/>
                                            <p:tgtEl>
                                              <p:spTgt spid="54"/>
                                            </p:tgtEl>
                                            <p:attrNameLst>
                                              <p:attrName>ppt_x</p:attrName>
                                            </p:attrNameLst>
                                          </p:cBhvr>
                                          <p:tavLst>
                                            <p:tav tm="0">
                                              <p:val>
                                                <p:strVal val="0-#ppt_w/2"/>
                                              </p:val>
                                            </p:tav>
                                            <p:tav tm="100000">
                                              <p:val>
                                                <p:strVal val="#ppt_x"/>
                                              </p:val>
                                            </p:tav>
                                          </p:tavLst>
                                        </p:anim>
                                        <p:anim calcmode="lin" valueType="num">
                                          <p:cBhvr additive="base">
                                            <p:cTn id="36" dur="500" fill="hold"/>
                                            <p:tgtEl>
                                              <p:spTgt spid="54"/>
                                            </p:tgtEl>
                                            <p:attrNameLst>
                                              <p:attrName>ppt_y</p:attrName>
                                            </p:attrNameLst>
                                          </p:cBhvr>
                                          <p:tavLst>
                                            <p:tav tm="0">
                                              <p:val>
                                                <p:strVal val="#ppt_y"/>
                                              </p:val>
                                            </p:tav>
                                            <p:tav tm="100000">
                                              <p:val>
                                                <p:strVal val="#ppt_y"/>
                                              </p:val>
                                            </p:tav>
                                          </p:tavLst>
                                        </p:anim>
                                      </p:childTnLst>
                                    </p:cTn>
                                  </p:par>
                                  <p:par>
                                    <p:cTn id="37" presetID="2" presetClass="entr" presetSubtype="8" fill="hold" nodeType="withEffect">
                                      <p:stCondLst>
                                        <p:cond delay="0"/>
                                      </p:stCondLst>
                                      <p:childTnLst>
                                        <p:set>
                                          <p:cBhvr>
                                            <p:cTn id="38" dur="1" fill="hold">
                                              <p:stCondLst>
                                                <p:cond delay="0"/>
                                              </p:stCondLst>
                                            </p:cTn>
                                            <p:tgtEl>
                                              <p:spTgt spid="8"/>
                                            </p:tgtEl>
                                            <p:attrNameLst>
                                              <p:attrName>style.visibility</p:attrName>
                                            </p:attrNameLst>
                                          </p:cBhvr>
                                          <p:to>
                                            <p:strVal val="visible"/>
                                          </p:to>
                                        </p:set>
                                        <p:anim calcmode="lin" valueType="num">
                                          <p:cBhvr additive="base">
                                            <p:cTn id="39" dur="500" fill="hold"/>
                                            <p:tgtEl>
                                              <p:spTgt spid="8"/>
                                            </p:tgtEl>
                                            <p:attrNameLst>
                                              <p:attrName>ppt_x</p:attrName>
                                            </p:attrNameLst>
                                          </p:cBhvr>
                                          <p:tavLst>
                                            <p:tav tm="0">
                                              <p:val>
                                                <p:strVal val="0-#ppt_w/2"/>
                                              </p:val>
                                            </p:tav>
                                            <p:tav tm="100000">
                                              <p:val>
                                                <p:strVal val="#ppt_x"/>
                                              </p:val>
                                            </p:tav>
                                          </p:tavLst>
                                        </p:anim>
                                        <p:anim calcmode="lin" valueType="num">
                                          <p:cBhvr additive="base">
                                            <p:cTn id="40" dur="500" fill="hold"/>
                                            <p:tgtEl>
                                              <p:spTgt spid="8"/>
                                            </p:tgtEl>
                                            <p:attrNameLst>
                                              <p:attrName>ppt_y</p:attrName>
                                            </p:attrNameLst>
                                          </p:cBhvr>
                                          <p:tavLst>
                                            <p:tav tm="0">
                                              <p:val>
                                                <p:strVal val="#ppt_y"/>
                                              </p:val>
                                            </p:tav>
                                            <p:tav tm="100000">
                                              <p:val>
                                                <p:strVal val="#ppt_y"/>
                                              </p:val>
                                            </p:tav>
                                          </p:tavLst>
                                        </p:anim>
                                      </p:childTnLst>
                                    </p:cTn>
                                  </p:par>
                                  <p:par>
                                    <p:cTn id="41" presetID="2" presetClass="entr" presetSubtype="8" fill="hold" nodeType="withEffect">
                                      <p:stCondLst>
                                        <p:cond delay="0"/>
                                      </p:stCondLst>
                                      <p:childTnLst>
                                        <p:set>
                                          <p:cBhvr>
                                            <p:cTn id="42" dur="1" fill="hold">
                                              <p:stCondLst>
                                                <p:cond delay="0"/>
                                              </p:stCondLst>
                                            </p:cTn>
                                            <p:tgtEl>
                                              <p:spTgt spid="9"/>
                                            </p:tgtEl>
                                            <p:attrNameLst>
                                              <p:attrName>style.visibility</p:attrName>
                                            </p:attrNameLst>
                                          </p:cBhvr>
                                          <p:to>
                                            <p:strVal val="visible"/>
                                          </p:to>
                                        </p:set>
                                        <p:anim calcmode="lin" valueType="num">
                                          <p:cBhvr additive="base">
                                            <p:cTn id="43" dur="500" fill="hold"/>
                                            <p:tgtEl>
                                              <p:spTgt spid="9"/>
                                            </p:tgtEl>
                                            <p:attrNameLst>
                                              <p:attrName>ppt_x</p:attrName>
                                            </p:attrNameLst>
                                          </p:cBhvr>
                                          <p:tavLst>
                                            <p:tav tm="0">
                                              <p:val>
                                                <p:strVal val="0-#ppt_w/2"/>
                                              </p:val>
                                            </p:tav>
                                            <p:tav tm="100000">
                                              <p:val>
                                                <p:strVal val="#ppt_x"/>
                                              </p:val>
                                            </p:tav>
                                          </p:tavLst>
                                        </p:anim>
                                        <p:anim calcmode="lin" valueType="num">
                                          <p:cBhvr additive="base">
                                            <p:cTn id="44"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
</file>

<file path=ppt/slides/slide4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indows PowerShell 3.0 Themes</a:t>
            </a:r>
            <a:endParaRPr lang="en-US" dirty="0"/>
          </a:p>
        </p:txBody>
      </p:sp>
      <p:grpSp>
        <p:nvGrpSpPr>
          <p:cNvPr id="47" name="Group 46"/>
          <p:cNvGrpSpPr/>
          <p:nvPr/>
        </p:nvGrpSpPr>
        <p:grpSpPr>
          <a:xfrm>
            <a:off x="507624" y="1012374"/>
            <a:ext cx="2620438" cy="1872234"/>
            <a:chOff x="676656" y="1349832"/>
            <a:chExt cx="3493008" cy="2496312"/>
          </a:xfrm>
        </p:grpSpPr>
        <p:sp>
          <p:nvSpPr>
            <p:cNvPr id="8" name="Light Blue"/>
            <p:cNvSpPr/>
            <p:nvPr/>
          </p:nvSpPr>
          <p:spPr bwMode="auto">
            <a:xfrm>
              <a:off x="676656" y="1349832"/>
              <a:ext cx="3493008" cy="2496312"/>
            </a:xfrm>
            <a:prstGeom prst="roundRect">
              <a:avLst>
                <a:gd name="adj" fmla="val 0"/>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a:r>
                <a:rPr lang="en-US" sz="1700" dirty="0">
                  <a:solidFill>
                    <a:schemeClr val="tx1">
                      <a:alpha val="99000"/>
                    </a:schemeClr>
                  </a:solidFill>
                  <a:latin typeface="Segoe UI" pitchFamily="34" charset="0"/>
                  <a:ea typeface="Segoe UI" pitchFamily="34" charset="0"/>
                  <a:cs typeface="Segoe UI" pitchFamily="34" charset="0"/>
                </a:rPr>
                <a:t>Simple &amp; Easy</a:t>
              </a:r>
            </a:p>
          </p:txBody>
        </p:sp>
        <p:pic>
          <p:nvPicPr>
            <p:cNvPr id="10" name="Picture 35" descr="C:\Users\sakuu\Documents\Ballmer WPC\AI\Vacation.png"/>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879962" y="1637864"/>
              <a:ext cx="1086396" cy="144249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2" name="Group 51"/>
          <p:cNvGrpSpPr/>
          <p:nvPr/>
        </p:nvGrpSpPr>
        <p:grpSpPr>
          <a:xfrm>
            <a:off x="6016977" y="3011804"/>
            <a:ext cx="2620438" cy="1872234"/>
            <a:chOff x="8045452" y="3949024"/>
            <a:chExt cx="3493008" cy="2496312"/>
          </a:xfrm>
        </p:grpSpPr>
        <p:sp>
          <p:nvSpPr>
            <p:cNvPr id="5" name="Red"/>
            <p:cNvSpPr/>
            <p:nvPr/>
          </p:nvSpPr>
          <p:spPr bwMode="auto">
            <a:xfrm>
              <a:off x="8045452" y="3949024"/>
              <a:ext cx="3493008" cy="2496312"/>
            </a:xfrm>
            <a:prstGeom prst="roundRect">
              <a:avLst>
                <a:gd name="adj" fmla="val 0"/>
              </a:avLst>
            </a:prstGeom>
            <a:solidFill>
              <a:schemeClr val="bg1">
                <a:lumMod val="40000"/>
                <a:lumOff val="60000"/>
              </a:schemeClr>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r>
                <a:rPr lang="en-US" sz="1700" dirty="0">
                  <a:solidFill>
                    <a:schemeClr val="tx1">
                      <a:alpha val="99000"/>
                    </a:schemeClr>
                  </a:solidFill>
                  <a:latin typeface="Segoe UI" pitchFamily="34" charset="0"/>
                  <a:ea typeface="Segoe UI" pitchFamily="34" charset="0"/>
                  <a:cs typeface="Segoe UI" pitchFamily="34" charset="0"/>
                </a:rPr>
                <a:t>PS 3.0  -</a:t>
              </a:r>
              <a:r>
                <a:rPr lang="en-US" sz="1700" dirty="0" err="1">
                  <a:solidFill>
                    <a:schemeClr val="tx1">
                      <a:alpha val="99000"/>
                    </a:schemeClr>
                  </a:solidFill>
                  <a:latin typeface="Segoe UI" pitchFamily="34" charset="0"/>
                  <a:ea typeface="Segoe UI" pitchFamily="34" charset="0"/>
                  <a:cs typeface="Segoe UI" pitchFamily="34" charset="0"/>
                </a:rPr>
                <a:t>gt</a:t>
              </a:r>
              <a:r>
                <a:rPr lang="en-US" sz="1700" dirty="0">
                  <a:solidFill>
                    <a:schemeClr val="tx1">
                      <a:alpha val="99000"/>
                    </a:schemeClr>
                  </a:solidFill>
                  <a:latin typeface="Segoe UI" pitchFamily="34" charset="0"/>
                  <a:ea typeface="Segoe UI" pitchFamily="34" charset="0"/>
                  <a:cs typeface="Segoe UI" pitchFamily="34" charset="0"/>
                </a:rPr>
                <a:t>  PS 2.0</a:t>
              </a:r>
            </a:p>
          </p:txBody>
        </p:sp>
        <p:grpSp>
          <p:nvGrpSpPr>
            <p:cNvPr id="11" name="Group 10"/>
            <p:cNvGrpSpPr/>
            <p:nvPr/>
          </p:nvGrpSpPr>
          <p:grpSpPr bwMode="black">
            <a:xfrm>
              <a:off x="9458640" y="4405080"/>
              <a:ext cx="666632" cy="1137216"/>
              <a:chOff x="3233738" y="168276"/>
              <a:chExt cx="2651125" cy="6480174"/>
            </a:xfrm>
          </p:grpSpPr>
          <p:sp>
            <p:nvSpPr>
              <p:cNvPr id="12"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grpSp>
        <p:nvGrpSpPr>
          <p:cNvPr id="49" name="Group 48"/>
          <p:cNvGrpSpPr/>
          <p:nvPr/>
        </p:nvGrpSpPr>
        <p:grpSpPr>
          <a:xfrm>
            <a:off x="6016977" y="1012374"/>
            <a:ext cx="2620438" cy="1872234"/>
            <a:chOff x="8045452" y="1349832"/>
            <a:chExt cx="3493008" cy="2496312"/>
          </a:xfrm>
        </p:grpSpPr>
        <p:sp>
          <p:nvSpPr>
            <p:cNvPr id="4" name="Green"/>
            <p:cNvSpPr/>
            <p:nvPr/>
          </p:nvSpPr>
          <p:spPr bwMode="auto">
            <a:xfrm>
              <a:off x="8045452" y="1349832"/>
              <a:ext cx="3493008" cy="2496312"/>
            </a:xfrm>
            <a:prstGeom prst="roundRect">
              <a:avLst>
                <a:gd name="adj" fmla="val 0"/>
              </a:avLst>
            </a:prstGeom>
            <a:solidFill>
              <a:schemeClr val="bg1">
                <a:lumMod val="40000"/>
                <a:lumOff val="60000"/>
              </a:schemeClr>
            </a:soli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r>
                <a:rPr lang="en-US" sz="1700" dirty="0">
                  <a:solidFill>
                    <a:schemeClr val="tx1">
                      <a:alpha val="99000"/>
                    </a:schemeClr>
                  </a:solidFill>
                  <a:latin typeface="Segoe UI" pitchFamily="34" charset="0"/>
                  <a:ea typeface="Segoe UI" pitchFamily="34" charset="0"/>
                  <a:cs typeface="Segoe UI" pitchFamily="34" charset="0"/>
                </a:rPr>
                <a:t>Robust &amp; Scalable</a:t>
              </a:r>
            </a:p>
          </p:txBody>
        </p:sp>
        <p:sp>
          <p:nvSpPr>
            <p:cNvPr id="15" name="Freeform 35"/>
            <p:cNvSpPr>
              <a:spLocks/>
            </p:cNvSpPr>
            <p:nvPr/>
          </p:nvSpPr>
          <p:spPr bwMode="black">
            <a:xfrm>
              <a:off x="9024221" y="1750933"/>
              <a:ext cx="1535470" cy="1305668"/>
            </a:xfrm>
            <a:custGeom>
              <a:avLst/>
              <a:gdLst>
                <a:gd name="T0" fmla="*/ 120 w 191"/>
                <a:gd name="T1" fmla="*/ 32 h 197"/>
                <a:gd name="T2" fmla="*/ 83 w 191"/>
                <a:gd name="T3" fmla="*/ 3 h 197"/>
                <a:gd name="T4" fmla="*/ 47 w 191"/>
                <a:gd name="T5" fmla="*/ 5 h 197"/>
                <a:gd name="T6" fmla="*/ 44 w 191"/>
                <a:gd name="T7" fmla="*/ 27 h 197"/>
                <a:gd name="T8" fmla="*/ 40 w 191"/>
                <a:gd name="T9" fmla="*/ 29 h 197"/>
                <a:gd name="T10" fmla="*/ 40 w 191"/>
                <a:gd name="T11" fmla="*/ 33 h 197"/>
                <a:gd name="T12" fmla="*/ 45 w 191"/>
                <a:gd name="T13" fmla="*/ 40 h 197"/>
                <a:gd name="T14" fmla="*/ 88 w 191"/>
                <a:gd name="T15" fmla="*/ 44 h 197"/>
                <a:gd name="T16" fmla="*/ 118 w 191"/>
                <a:gd name="T17" fmla="*/ 113 h 197"/>
                <a:gd name="T18" fmla="*/ 144 w 191"/>
                <a:gd name="T19" fmla="*/ 129 h 197"/>
                <a:gd name="T20" fmla="*/ 112 w 191"/>
                <a:gd name="T21" fmla="*/ 109 h 197"/>
                <a:gd name="T22" fmla="*/ 65 w 191"/>
                <a:gd name="T23" fmla="*/ 115 h 197"/>
                <a:gd name="T24" fmla="*/ 0 w 191"/>
                <a:gd name="T25" fmla="*/ 116 h 197"/>
                <a:gd name="T26" fmla="*/ 26 w 191"/>
                <a:gd name="T27" fmla="*/ 174 h 197"/>
                <a:gd name="T28" fmla="*/ 61 w 191"/>
                <a:gd name="T29" fmla="*/ 136 h 197"/>
                <a:gd name="T30" fmla="*/ 57 w 191"/>
                <a:gd name="T31" fmla="*/ 148 h 197"/>
                <a:gd name="T32" fmla="*/ 126 w 191"/>
                <a:gd name="T33" fmla="*/ 140 h 197"/>
                <a:gd name="T34" fmla="*/ 55 w 191"/>
                <a:gd name="T35" fmla="*/ 153 h 197"/>
                <a:gd name="T36" fmla="*/ 30 w 191"/>
                <a:gd name="T37" fmla="*/ 180 h 197"/>
                <a:gd name="T38" fmla="*/ 32 w 191"/>
                <a:gd name="T39" fmla="*/ 182 h 197"/>
                <a:gd name="T40" fmla="*/ 180 w 191"/>
                <a:gd name="T41" fmla="*/ 159 h 197"/>
                <a:gd name="T42" fmla="*/ 185 w 191"/>
                <a:gd name="T43" fmla="*/ 129 h 197"/>
                <a:gd name="T44" fmla="*/ 120 w 191"/>
                <a:gd name="T45" fmla="*/ 32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1" h="197">
                  <a:moveTo>
                    <a:pt x="120" y="32"/>
                  </a:moveTo>
                  <a:cubicBezTo>
                    <a:pt x="112" y="23"/>
                    <a:pt x="99" y="9"/>
                    <a:pt x="83" y="3"/>
                  </a:cubicBezTo>
                  <a:cubicBezTo>
                    <a:pt x="72" y="0"/>
                    <a:pt x="47" y="5"/>
                    <a:pt x="47" y="5"/>
                  </a:cubicBezTo>
                  <a:cubicBezTo>
                    <a:pt x="44" y="27"/>
                    <a:pt x="44" y="27"/>
                    <a:pt x="44" y="27"/>
                  </a:cubicBezTo>
                  <a:cubicBezTo>
                    <a:pt x="40" y="29"/>
                    <a:pt x="40" y="29"/>
                    <a:pt x="40" y="29"/>
                  </a:cubicBezTo>
                  <a:cubicBezTo>
                    <a:pt x="40" y="33"/>
                    <a:pt x="40" y="33"/>
                    <a:pt x="40" y="33"/>
                  </a:cubicBezTo>
                  <a:cubicBezTo>
                    <a:pt x="40" y="33"/>
                    <a:pt x="40" y="37"/>
                    <a:pt x="45" y="40"/>
                  </a:cubicBezTo>
                  <a:cubicBezTo>
                    <a:pt x="50" y="42"/>
                    <a:pt x="73" y="53"/>
                    <a:pt x="88" y="44"/>
                  </a:cubicBezTo>
                  <a:cubicBezTo>
                    <a:pt x="118" y="60"/>
                    <a:pt x="105" y="91"/>
                    <a:pt x="118" y="113"/>
                  </a:cubicBezTo>
                  <a:cubicBezTo>
                    <a:pt x="123" y="120"/>
                    <a:pt x="131" y="127"/>
                    <a:pt x="144" y="129"/>
                  </a:cubicBezTo>
                  <a:cubicBezTo>
                    <a:pt x="144" y="129"/>
                    <a:pt x="115" y="131"/>
                    <a:pt x="112" y="109"/>
                  </a:cubicBezTo>
                  <a:cubicBezTo>
                    <a:pt x="101" y="104"/>
                    <a:pt x="82" y="99"/>
                    <a:pt x="65" y="115"/>
                  </a:cubicBezTo>
                  <a:cubicBezTo>
                    <a:pt x="51" y="100"/>
                    <a:pt x="14" y="100"/>
                    <a:pt x="0" y="116"/>
                  </a:cubicBezTo>
                  <a:cubicBezTo>
                    <a:pt x="6" y="141"/>
                    <a:pt x="18" y="163"/>
                    <a:pt x="26" y="174"/>
                  </a:cubicBezTo>
                  <a:cubicBezTo>
                    <a:pt x="52" y="156"/>
                    <a:pt x="61" y="136"/>
                    <a:pt x="61" y="136"/>
                  </a:cubicBezTo>
                  <a:cubicBezTo>
                    <a:pt x="60" y="140"/>
                    <a:pt x="59" y="144"/>
                    <a:pt x="57" y="148"/>
                  </a:cubicBezTo>
                  <a:cubicBezTo>
                    <a:pt x="103" y="167"/>
                    <a:pt x="126" y="140"/>
                    <a:pt x="126" y="140"/>
                  </a:cubicBezTo>
                  <a:cubicBezTo>
                    <a:pt x="107" y="171"/>
                    <a:pt x="63" y="157"/>
                    <a:pt x="55" y="153"/>
                  </a:cubicBezTo>
                  <a:cubicBezTo>
                    <a:pt x="48" y="166"/>
                    <a:pt x="38" y="175"/>
                    <a:pt x="30" y="180"/>
                  </a:cubicBezTo>
                  <a:cubicBezTo>
                    <a:pt x="32" y="181"/>
                    <a:pt x="32" y="182"/>
                    <a:pt x="32" y="182"/>
                  </a:cubicBezTo>
                  <a:cubicBezTo>
                    <a:pt x="88" y="197"/>
                    <a:pt x="154" y="177"/>
                    <a:pt x="180" y="159"/>
                  </a:cubicBezTo>
                  <a:cubicBezTo>
                    <a:pt x="191" y="151"/>
                    <a:pt x="188" y="138"/>
                    <a:pt x="185" y="129"/>
                  </a:cubicBezTo>
                  <a:cubicBezTo>
                    <a:pt x="172" y="91"/>
                    <a:pt x="134" y="49"/>
                    <a:pt x="120" y="3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grpSp>
        <p:nvGrpSpPr>
          <p:cNvPr id="48" name="Group 47"/>
          <p:cNvGrpSpPr/>
          <p:nvPr/>
        </p:nvGrpSpPr>
        <p:grpSpPr>
          <a:xfrm>
            <a:off x="3264841" y="1012374"/>
            <a:ext cx="2620438" cy="1872234"/>
            <a:chOff x="4366220" y="1349832"/>
            <a:chExt cx="3493008" cy="2496312"/>
          </a:xfrm>
        </p:grpSpPr>
        <p:sp>
          <p:nvSpPr>
            <p:cNvPr id="6" name="Yellow"/>
            <p:cNvSpPr/>
            <p:nvPr/>
          </p:nvSpPr>
          <p:spPr bwMode="auto">
            <a:xfrm>
              <a:off x="4366220" y="1349832"/>
              <a:ext cx="3493008" cy="2496312"/>
            </a:xfrm>
            <a:prstGeom prst="roundRect">
              <a:avLst>
                <a:gd name="adj" fmla="val 0"/>
              </a:avLst>
            </a:prstGeom>
            <a:solidFill>
              <a:schemeClr val="bg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spc="-15"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endParaRPr lang="en-US" sz="1700" spc="-15"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endParaRPr lang="en-US" sz="1700" spc="-15"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endParaRPr lang="en-US" sz="1700" spc="-15"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r>
                <a:rPr lang="en-US" sz="1700" spc="-45" dirty="0">
                  <a:solidFill>
                    <a:schemeClr val="tx1">
                      <a:alpha val="99000"/>
                    </a:schemeClr>
                  </a:solidFill>
                  <a:latin typeface="Segoe UI" pitchFamily="34" charset="0"/>
                  <a:ea typeface="Segoe UI" pitchFamily="34" charset="0"/>
                  <a:cs typeface="Segoe UI" pitchFamily="34" charset="0"/>
                </a:rPr>
                <a:t>Comprehensive Coverage</a:t>
              </a:r>
            </a:p>
          </p:txBody>
        </p:sp>
        <p:grpSp>
          <p:nvGrpSpPr>
            <p:cNvPr id="16" name="Group 15"/>
            <p:cNvGrpSpPr>
              <a:grpSpLocks noChangeAspect="1"/>
            </p:cNvGrpSpPr>
            <p:nvPr/>
          </p:nvGrpSpPr>
          <p:grpSpPr bwMode="black">
            <a:xfrm>
              <a:off x="5371041" y="1736438"/>
              <a:ext cx="1483366" cy="1287850"/>
              <a:chOff x="2462213" y="1598613"/>
              <a:chExt cx="4222750" cy="3667125"/>
            </a:xfrm>
          </p:grpSpPr>
          <p:sp>
            <p:nvSpPr>
              <p:cNvPr id="17" name="Rectangle 6"/>
              <p:cNvSpPr>
                <a:spLocks noChangeArrowheads="1"/>
              </p:cNvSpPr>
              <p:nvPr/>
            </p:nvSpPr>
            <p:spPr bwMode="black">
              <a:xfrm>
                <a:off x="5564188"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8" name="Rectangle 7"/>
              <p:cNvSpPr>
                <a:spLocks noChangeArrowheads="1"/>
              </p:cNvSpPr>
              <p:nvPr/>
            </p:nvSpPr>
            <p:spPr bwMode="black">
              <a:xfrm>
                <a:off x="5795963" y="3346451"/>
                <a:ext cx="112713"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9" name="Rectangle 8"/>
              <p:cNvSpPr>
                <a:spLocks noChangeArrowheads="1"/>
              </p:cNvSpPr>
              <p:nvPr/>
            </p:nvSpPr>
            <p:spPr bwMode="black">
              <a:xfrm>
                <a:off x="3092451"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0" name="Rectangle 9"/>
              <p:cNvSpPr>
                <a:spLocks noChangeArrowheads="1"/>
              </p:cNvSpPr>
              <p:nvPr/>
            </p:nvSpPr>
            <p:spPr bwMode="black">
              <a:xfrm>
                <a:off x="3324226" y="3346451"/>
                <a:ext cx="117475"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1" name="Freeform 10"/>
              <p:cNvSpPr>
                <a:spLocks/>
              </p:cNvSpPr>
              <p:nvPr/>
            </p:nvSpPr>
            <p:spPr bwMode="black">
              <a:xfrm>
                <a:off x="3902076" y="2506663"/>
                <a:ext cx="101600" cy="123825"/>
              </a:xfrm>
              <a:custGeom>
                <a:avLst/>
                <a:gdLst>
                  <a:gd name="T0" fmla="*/ 36 w 64"/>
                  <a:gd name="T1" fmla="*/ 78 h 78"/>
                  <a:gd name="T2" fmla="*/ 64 w 64"/>
                  <a:gd name="T3" fmla="*/ 64 h 78"/>
                  <a:gd name="T4" fmla="*/ 26 w 64"/>
                  <a:gd name="T5" fmla="*/ 0 h 78"/>
                  <a:gd name="T6" fmla="*/ 0 w 64"/>
                  <a:gd name="T7" fmla="*/ 17 h 78"/>
                  <a:gd name="T8" fmla="*/ 36 w 64"/>
                  <a:gd name="T9" fmla="*/ 78 h 78"/>
                </a:gdLst>
                <a:ahLst/>
                <a:cxnLst>
                  <a:cxn ang="0">
                    <a:pos x="T0" y="T1"/>
                  </a:cxn>
                  <a:cxn ang="0">
                    <a:pos x="T2" y="T3"/>
                  </a:cxn>
                  <a:cxn ang="0">
                    <a:pos x="T4" y="T5"/>
                  </a:cxn>
                  <a:cxn ang="0">
                    <a:pos x="T6" y="T7"/>
                  </a:cxn>
                  <a:cxn ang="0">
                    <a:pos x="T8" y="T9"/>
                  </a:cxn>
                </a:cxnLst>
                <a:rect l="0" t="0" r="r" b="b"/>
                <a:pathLst>
                  <a:path w="64" h="78">
                    <a:moveTo>
                      <a:pt x="36" y="78"/>
                    </a:moveTo>
                    <a:lnTo>
                      <a:pt x="64" y="64"/>
                    </a:lnTo>
                    <a:lnTo>
                      <a:pt x="26" y="0"/>
                    </a:lnTo>
                    <a:lnTo>
                      <a:pt x="0" y="17"/>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2" name="Freeform 11"/>
              <p:cNvSpPr>
                <a:spLocks/>
              </p:cNvSpPr>
              <p:nvPr/>
            </p:nvSpPr>
            <p:spPr bwMode="black">
              <a:xfrm>
                <a:off x="4017963" y="2709863"/>
                <a:ext cx="98425" cy="123825"/>
              </a:xfrm>
              <a:custGeom>
                <a:avLst/>
                <a:gdLst>
                  <a:gd name="T0" fmla="*/ 36 w 62"/>
                  <a:gd name="T1" fmla="*/ 78 h 78"/>
                  <a:gd name="T2" fmla="*/ 62 w 62"/>
                  <a:gd name="T3" fmla="*/ 61 h 78"/>
                  <a:gd name="T4" fmla="*/ 26 w 62"/>
                  <a:gd name="T5" fmla="*/ 0 h 78"/>
                  <a:gd name="T6" fmla="*/ 0 w 62"/>
                  <a:gd name="T7" fmla="*/ 14 h 78"/>
                  <a:gd name="T8" fmla="*/ 36 w 62"/>
                  <a:gd name="T9" fmla="*/ 78 h 78"/>
                </a:gdLst>
                <a:ahLst/>
                <a:cxnLst>
                  <a:cxn ang="0">
                    <a:pos x="T0" y="T1"/>
                  </a:cxn>
                  <a:cxn ang="0">
                    <a:pos x="T2" y="T3"/>
                  </a:cxn>
                  <a:cxn ang="0">
                    <a:pos x="T4" y="T5"/>
                  </a:cxn>
                  <a:cxn ang="0">
                    <a:pos x="T6" y="T7"/>
                  </a:cxn>
                  <a:cxn ang="0">
                    <a:pos x="T8" y="T9"/>
                  </a:cxn>
                </a:cxnLst>
                <a:rect l="0" t="0" r="r" b="b"/>
                <a:pathLst>
                  <a:path w="62" h="78">
                    <a:moveTo>
                      <a:pt x="36" y="78"/>
                    </a:moveTo>
                    <a:lnTo>
                      <a:pt x="62" y="61"/>
                    </a:lnTo>
                    <a:lnTo>
                      <a:pt x="26" y="0"/>
                    </a:lnTo>
                    <a:lnTo>
                      <a:pt x="0" y="14"/>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3" name="Freeform 12"/>
              <p:cNvSpPr>
                <a:spLocks/>
              </p:cNvSpPr>
              <p:nvPr/>
            </p:nvSpPr>
            <p:spPr bwMode="black">
              <a:xfrm>
                <a:off x="4873626" y="2709863"/>
                <a:ext cx="98425" cy="123825"/>
              </a:xfrm>
              <a:custGeom>
                <a:avLst/>
                <a:gdLst>
                  <a:gd name="T0" fmla="*/ 26 w 62"/>
                  <a:gd name="T1" fmla="*/ 78 h 78"/>
                  <a:gd name="T2" fmla="*/ 62 w 62"/>
                  <a:gd name="T3" fmla="*/ 14 h 78"/>
                  <a:gd name="T4" fmla="*/ 36 w 62"/>
                  <a:gd name="T5" fmla="*/ 0 h 78"/>
                  <a:gd name="T6" fmla="*/ 0 w 62"/>
                  <a:gd name="T7" fmla="*/ 61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4"/>
                    </a:lnTo>
                    <a:lnTo>
                      <a:pt x="36" y="0"/>
                    </a:lnTo>
                    <a:lnTo>
                      <a:pt x="0" y="61"/>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4" name="Freeform 13"/>
              <p:cNvSpPr>
                <a:spLocks/>
              </p:cNvSpPr>
              <p:nvPr/>
            </p:nvSpPr>
            <p:spPr bwMode="black">
              <a:xfrm>
                <a:off x="4989513" y="2506663"/>
                <a:ext cx="98425" cy="123825"/>
              </a:xfrm>
              <a:custGeom>
                <a:avLst/>
                <a:gdLst>
                  <a:gd name="T0" fmla="*/ 26 w 62"/>
                  <a:gd name="T1" fmla="*/ 78 h 78"/>
                  <a:gd name="T2" fmla="*/ 62 w 62"/>
                  <a:gd name="T3" fmla="*/ 17 h 78"/>
                  <a:gd name="T4" fmla="*/ 36 w 62"/>
                  <a:gd name="T5" fmla="*/ 0 h 78"/>
                  <a:gd name="T6" fmla="*/ 0 w 62"/>
                  <a:gd name="T7" fmla="*/ 64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7"/>
                    </a:lnTo>
                    <a:lnTo>
                      <a:pt x="36" y="0"/>
                    </a:lnTo>
                    <a:lnTo>
                      <a:pt x="0" y="64"/>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5" name="Freeform 14"/>
              <p:cNvSpPr>
                <a:spLocks/>
              </p:cNvSpPr>
              <p:nvPr/>
            </p:nvSpPr>
            <p:spPr bwMode="black">
              <a:xfrm>
                <a:off x="4017963" y="3990976"/>
                <a:ext cx="98425" cy="123825"/>
              </a:xfrm>
              <a:custGeom>
                <a:avLst/>
                <a:gdLst>
                  <a:gd name="T0" fmla="*/ 0 w 62"/>
                  <a:gd name="T1" fmla="*/ 64 h 78"/>
                  <a:gd name="T2" fmla="*/ 26 w 62"/>
                  <a:gd name="T3" fmla="*/ 78 h 78"/>
                  <a:gd name="T4" fmla="*/ 62 w 62"/>
                  <a:gd name="T5" fmla="*/ 14 h 78"/>
                  <a:gd name="T6" fmla="*/ 36 w 62"/>
                  <a:gd name="T7" fmla="*/ 0 h 78"/>
                  <a:gd name="T8" fmla="*/ 0 w 62"/>
                  <a:gd name="T9" fmla="*/ 64 h 78"/>
                </a:gdLst>
                <a:ahLst/>
                <a:cxnLst>
                  <a:cxn ang="0">
                    <a:pos x="T0" y="T1"/>
                  </a:cxn>
                  <a:cxn ang="0">
                    <a:pos x="T2" y="T3"/>
                  </a:cxn>
                  <a:cxn ang="0">
                    <a:pos x="T4" y="T5"/>
                  </a:cxn>
                  <a:cxn ang="0">
                    <a:pos x="T6" y="T7"/>
                  </a:cxn>
                  <a:cxn ang="0">
                    <a:pos x="T8" y="T9"/>
                  </a:cxn>
                </a:cxnLst>
                <a:rect l="0" t="0" r="r" b="b"/>
                <a:pathLst>
                  <a:path w="62" h="78">
                    <a:moveTo>
                      <a:pt x="0" y="64"/>
                    </a:moveTo>
                    <a:lnTo>
                      <a:pt x="26" y="78"/>
                    </a:lnTo>
                    <a:lnTo>
                      <a:pt x="62" y="14"/>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6" name="Freeform 15"/>
              <p:cNvSpPr>
                <a:spLocks/>
              </p:cNvSpPr>
              <p:nvPr/>
            </p:nvSpPr>
            <p:spPr bwMode="black">
              <a:xfrm>
                <a:off x="3902076" y="4189413"/>
                <a:ext cx="101600" cy="128588"/>
              </a:xfrm>
              <a:custGeom>
                <a:avLst/>
                <a:gdLst>
                  <a:gd name="T0" fmla="*/ 0 w 64"/>
                  <a:gd name="T1" fmla="*/ 64 h 81"/>
                  <a:gd name="T2" fmla="*/ 26 w 64"/>
                  <a:gd name="T3" fmla="*/ 81 h 81"/>
                  <a:gd name="T4" fmla="*/ 64 w 64"/>
                  <a:gd name="T5" fmla="*/ 17 h 81"/>
                  <a:gd name="T6" fmla="*/ 36 w 64"/>
                  <a:gd name="T7" fmla="*/ 0 h 81"/>
                  <a:gd name="T8" fmla="*/ 0 w 64"/>
                  <a:gd name="T9" fmla="*/ 64 h 81"/>
                </a:gdLst>
                <a:ahLst/>
                <a:cxnLst>
                  <a:cxn ang="0">
                    <a:pos x="T0" y="T1"/>
                  </a:cxn>
                  <a:cxn ang="0">
                    <a:pos x="T2" y="T3"/>
                  </a:cxn>
                  <a:cxn ang="0">
                    <a:pos x="T4" y="T5"/>
                  </a:cxn>
                  <a:cxn ang="0">
                    <a:pos x="T6" y="T7"/>
                  </a:cxn>
                  <a:cxn ang="0">
                    <a:pos x="T8" y="T9"/>
                  </a:cxn>
                </a:cxnLst>
                <a:rect l="0" t="0" r="r" b="b"/>
                <a:pathLst>
                  <a:path w="64" h="81">
                    <a:moveTo>
                      <a:pt x="0" y="64"/>
                    </a:moveTo>
                    <a:lnTo>
                      <a:pt x="26" y="81"/>
                    </a:lnTo>
                    <a:lnTo>
                      <a:pt x="64" y="17"/>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7" name="Freeform 16"/>
              <p:cNvSpPr>
                <a:spLocks/>
              </p:cNvSpPr>
              <p:nvPr/>
            </p:nvSpPr>
            <p:spPr bwMode="black">
              <a:xfrm>
                <a:off x="4989513" y="4189413"/>
                <a:ext cx="98425" cy="128588"/>
              </a:xfrm>
              <a:custGeom>
                <a:avLst/>
                <a:gdLst>
                  <a:gd name="T0" fmla="*/ 26 w 62"/>
                  <a:gd name="T1" fmla="*/ 0 h 81"/>
                  <a:gd name="T2" fmla="*/ 0 w 62"/>
                  <a:gd name="T3" fmla="*/ 17 h 81"/>
                  <a:gd name="T4" fmla="*/ 36 w 62"/>
                  <a:gd name="T5" fmla="*/ 81 h 81"/>
                  <a:gd name="T6" fmla="*/ 62 w 62"/>
                  <a:gd name="T7" fmla="*/ 64 h 81"/>
                  <a:gd name="T8" fmla="*/ 26 w 62"/>
                  <a:gd name="T9" fmla="*/ 0 h 81"/>
                </a:gdLst>
                <a:ahLst/>
                <a:cxnLst>
                  <a:cxn ang="0">
                    <a:pos x="T0" y="T1"/>
                  </a:cxn>
                  <a:cxn ang="0">
                    <a:pos x="T2" y="T3"/>
                  </a:cxn>
                  <a:cxn ang="0">
                    <a:pos x="T4" y="T5"/>
                  </a:cxn>
                  <a:cxn ang="0">
                    <a:pos x="T6" y="T7"/>
                  </a:cxn>
                  <a:cxn ang="0">
                    <a:pos x="T8" y="T9"/>
                  </a:cxn>
                </a:cxnLst>
                <a:rect l="0" t="0" r="r" b="b"/>
                <a:pathLst>
                  <a:path w="62" h="81">
                    <a:moveTo>
                      <a:pt x="26" y="0"/>
                    </a:moveTo>
                    <a:lnTo>
                      <a:pt x="0" y="17"/>
                    </a:lnTo>
                    <a:lnTo>
                      <a:pt x="36" y="81"/>
                    </a:lnTo>
                    <a:lnTo>
                      <a:pt x="62" y="64"/>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8" name="Freeform 17"/>
              <p:cNvSpPr>
                <a:spLocks/>
              </p:cNvSpPr>
              <p:nvPr/>
            </p:nvSpPr>
            <p:spPr bwMode="black">
              <a:xfrm>
                <a:off x="4873626" y="3990976"/>
                <a:ext cx="98425" cy="123825"/>
              </a:xfrm>
              <a:custGeom>
                <a:avLst/>
                <a:gdLst>
                  <a:gd name="T0" fmla="*/ 0 w 62"/>
                  <a:gd name="T1" fmla="*/ 14 h 78"/>
                  <a:gd name="T2" fmla="*/ 36 w 62"/>
                  <a:gd name="T3" fmla="*/ 78 h 78"/>
                  <a:gd name="T4" fmla="*/ 62 w 62"/>
                  <a:gd name="T5" fmla="*/ 64 h 78"/>
                  <a:gd name="T6" fmla="*/ 26 w 62"/>
                  <a:gd name="T7" fmla="*/ 0 h 78"/>
                  <a:gd name="T8" fmla="*/ 0 w 62"/>
                  <a:gd name="T9" fmla="*/ 14 h 78"/>
                </a:gdLst>
                <a:ahLst/>
                <a:cxnLst>
                  <a:cxn ang="0">
                    <a:pos x="T0" y="T1"/>
                  </a:cxn>
                  <a:cxn ang="0">
                    <a:pos x="T2" y="T3"/>
                  </a:cxn>
                  <a:cxn ang="0">
                    <a:pos x="T4" y="T5"/>
                  </a:cxn>
                  <a:cxn ang="0">
                    <a:pos x="T6" y="T7"/>
                  </a:cxn>
                  <a:cxn ang="0">
                    <a:pos x="T8" y="T9"/>
                  </a:cxn>
                </a:cxnLst>
                <a:rect l="0" t="0" r="r" b="b"/>
                <a:pathLst>
                  <a:path w="62" h="78">
                    <a:moveTo>
                      <a:pt x="0" y="14"/>
                    </a:moveTo>
                    <a:lnTo>
                      <a:pt x="36" y="78"/>
                    </a:lnTo>
                    <a:lnTo>
                      <a:pt x="62" y="64"/>
                    </a:lnTo>
                    <a:lnTo>
                      <a:pt x="26" y="0"/>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9" name="Freeform 18"/>
              <p:cNvSpPr>
                <a:spLocks/>
              </p:cNvSpPr>
              <p:nvPr/>
            </p:nvSpPr>
            <p:spPr bwMode="black">
              <a:xfrm>
                <a:off x="3579813" y="2892426"/>
                <a:ext cx="1833563" cy="1068388"/>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0" name="Freeform 19"/>
              <p:cNvSpPr>
                <a:spLocks noEditPoints="1"/>
              </p:cNvSpPr>
              <p:nvPr/>
            </p:nvSpPr>
            <p:spPr bwMode="black">
              <a:xfrm>
                <a:off x="3321051" y="1598613"/>
                <a:ext cx="750888" cy="522288"/>
              </a:xfrm>
              <a:custGeom>
                <a:avLst/>
                <a:gdLst>
                  <a:gd name="T0" fmla="*/ 174 w 200"/>
                  <a:gd name="T1" fmla="*/ 0 h 139"/>
                  <a:gd name="T2" fmla="*/ 26 w 200"/>
                  <a:gd name="T3" fmla="*/ 0 h 139"/>
                  <a:gd name="T4" fmla="*/ 0 w 200"/>
                  <a:gd name="T5" fmla="*/ 27 h 139"/>
                  <a:gd name="T6" fmla="*/ 0 w 200"/>
                  <a:gd name="T7" fmla="*/ 113 h 139"/>
                  <a:gd name="T8" fmla="*/ 26 w 200"/>
                  <a:gd name="T9" fmla="*/ 139 h 139"/>
                  <a:gd name="T10" fmla="*/ 174 w 200"/>
                  <a:gd name="T11" fmla="*/ 139 h 139"/>
                  <a:gd name="T12" fmla="*/ 200 w 200"/>
                  <a:gd name="T13" fmla="*/ 113 h 139"/>
                  <a:gd name="T14" fmla="*/ 200 w 200"/>
                  <a:gd name="T15" fmla="*/ 27 h 139"/>
                  <a:gd name="T16" fmla="*/ 174 w 200"/>
                  <a:gd name="T17" fmla="*/ 0 h 139"/>
                  <a:gd name="T18" fmla="*/ 185 w 200"/>
                  <a:gd name="T19" fmla="*/ 113 h 139"/>
                  <a:gd name="T20" fmla="*/ 174 w 200"/>
                  <a:gd name="T21" fmla="*/ 124 h 139"/>
                  <a:gd name="T22" fmla="*/ 26 w 200"/>
                  <a:gd name="T23" fmla="*/ 124 h 139"/>
                  <a:gd name="T24" fmla="*/ 15 w 200"/>
                  <a:gd name="T25" fmla="*/ 113 h 139"/>
                  <a:gd name="T26" fmla="*/ 15 w 200"/>
                  <a:gd name="T27" fmla="*/ 27 h 139"/>
                  <a:gd name="T28" fmla="*/ 26 w 200"/>
                  <a:gd name="T29" fmla="*/ 16 h 139"/>
                  <a:gd name="T30" fmla="*/ 174 w 200"/>
                  <a:gd name="T31" fmla="*/ 16 h 139"/>
                  <a:gd name="T32" fmla="*/ 185 w 200"/>
                  <a:gd name="T33" fmla="*/ 27 h 139"/>
                  <a:gd name="T34" fmla="*/ 185 w 200"/>
                  <a:gd name="T35" fmla="*/ 11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39">
                    <a:moveTo>
                      <a:pt x="174" y="0"/>
                    </a:moveTo>
                    <a:cubicBezTo>
                      <a:pt x="26" y="0"/>
                      <a:pt x="26" y="0"/>
                      <a:pt x="26" y="0"/>
                    </a:cubicBezTo>
                    <a:cubicBezTo>
                      <a:pt x="12" y="0"/>
                      <a:pt x="0" y="12"/>
                      <a:pt x="0" y="27"/>
                    </a:cubicBezTo>
                    <a:cubicBezTo>
                      <a:pt x="0" y="113"/>
                      <a:pt x="0" y="113"/>
                      <a:pt x="0" y="113"/>
                    </a:cubicBezTo>
                    <a:cubicBezTo>
                      <a:pt x="0" y="127"/>
                      <a:pt x="12" y="139"/>
                      <a:pt x="26" y="139"/>
                    </a:cubicBezTo>
                    <a:cubicBezTo>
                      <a:pt x="174" y="139"/>
                      <a:pt x="174" y="139"/>
                      <a:pt x="174" y="139"/>
                    </a:cubicBezTo>
                    <a:cubicBezTo>
                      <a:pt x="188" y="139"/>
                      <a:pt x="200" y="127"/>
                      <a:pt x="200" y="113"/>
                    </a:cubicBezTo>
                    <a:cubicBezTo>
                      <a:pt x="200" y="27"/>
                      <a:pt x="200" y="27"/>
                      <a:pt x="200" y="27"/>
                    </a:cubicBezTo>
                    <a:cubicBezTo>
                      <a:pt x="200" y="12"/>
                      <a:pt x="188" y="0"/>
                      <a:pt x="174" y="0"/>
                    </a:cubicBezTo>
                    <a:moveTo>
                      <a:pt x="185" y="113"/>
                    </a:moveTo>
                    <a:cubicBezTo>
                      <a:pt x="185" y="119"/>
                      <a:pt x="180" y="124"/>
                      <a:pt x="174" y="124"/>
                    </a:cubicBezTo>
                    <a:cubicBezTo>
                      <a:pt x="26" y="124"/>
                      <a:pt x="26" y="124"/>
                      <a:pt x="26" y="124"/>
                    </a:cubicBezTo>
                    <a:cubicBezTo>
                      <a:pt x="20" y="124"/>
                      <a:pt x="15" y="119"/>
                      <a:pt x="15" y="113"/>
                    </a:cubicBezTo>
                    <a:cubicBezTo>
                      <a:pt x="15" y="27"/>
                      <a:pt x="15" y="27"/>
                      <a:pt x="15" y="27"/>
                    </a:cubicBezTo>
                    <a:cubicBezTo>
                      <a:pt x="15" y="21"/>
                      <a:pt x="20" y="16"/>
                      <a:pt x="26" y="16"/>
                    </a:cubicBezTo>
                    <a:cubicBezTo>
                      <a:pt x="174" y="16"/>
                      <a:pt x="174" y="16"/>
                      <a:pt x="174" y="16"/>
                    </a:cubicBezTo>
                    <a:cubicBezTo>
                      <a:pt x="180" y="16"/>
                      <a:pt x="185" y="21"/>
                      <a:pt x="185" y="27"/>
                    </a:cubicBezTo>
                    <a:lnTo>
                      <a:pt x="185" y="1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1" name="Freeform 20"/>
              <p:cNvSpPr>
                <a:spLocks/>
              </p:cNvSpPr>
              <p:nvPr/>
            </p:nvSpPr>
            <p:spPr bwMode="black">
              <a:xfrm>
                <a:off x="3178176" y="2154238"/>
                <a:ext cx="1035050" cy="239713"/>
              </a:xfrm>
              <a:custGeom>
                <a:avLst/>
                <a:gdLst>
                  <a:gd name="T0" fmla="*/ 7 w 276"/>
                  <a:gd name="T1" fmla="*/ 64 h 64"/>
                  <a:gd name="T2" fmla="*/ 269 w 276"/>
                  <a:gd name="T3" fmla="*/ 64 h 64"/>
                  <a:gd name="T4" fmla="*/ 276 w 276"/>
                  <a:gd name="T5" fmla="*/ 57 h 64"/>
                  <a:gd name="T6" fmla="*/ 276 w 276"/>
                  <a:gd name="T7" fmla="*/ 54 h 64"/>
                  <a:gd name="T8" fmla="*/ 272 w 276"/>
                  <a:gd name="T9" fmla="*/ 42 h 64"/>
                  <a:gd name="T10" fmla="*/ 240 w 276"/>
                  <a:gd name="T11" fmla="*/ 5 h 64"/>
                  <a:gd name="T12" fmla="*/ 229 w 276"/>
                  <a:gd name="T13" fmla="*/ 0 h 64"/>
                  <a:gd name="T14" fmla="*/ 47 w 276"/>
                  <a:gd name="T15" fmla="*/ 0 h 64"/>
                  <a:gd name="T16" fmla="*/ 36 w 276"/>
                  <a:gd name="T17" fmla="*/ 5 h 64"/>
                  <a:gd name="T18" fmla="*/ 4 w 276"/>
                  <a:gd name="T19" fmla="*/ 42 h 64"/>
                  <a:gd name="T20" fmla="*/ 0 w 276"/>
                  <a:gd name="T21" fmla="*/ 54 h 64"/>
                  <a:gd name="T22" fmla="*/ 0 w 276"/>
                  <a:gd name="T23" fmla="*/ 57 h 64"/>
                  <a:gd name="T24" fmla="*/ 7 w 27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6" h="64">
                    <a:moveTo>
                      <a:pt x="7" y="64"/>
                    </a:moveTo>
                    <a:cubicBezTo>
                      <a:pt x="269" y="64"/>
                      <a:pt x="269" y="64"/>
                      <a:pt x="269" y="64"/>
                    </a:cubicBezTo>
                    <a:cubicBezTo>
                      <a:pt x="273" y="64"/>
                      <a:pt x="276" y="61"/>
                      <a:pt x="276" y="57"/>
                    </a:cubicBezTo>
                    <a:cubicBezTo>
                      <a:pt x="276" y="54"/>
                      <a:pt x="276" y="54"/>
                      <a:pt x="276" y="54"/>
                    </a:cubicBezTo>
                    <a:cubicBezTo>
                      <a:pt x="276" y="50"/>
                      <a:pt x="274" y="45"/>
                      <a:pt x="272" y="42"/>
                    </a:cubicBezTo>
                    <a:cubicBezTo>
                      <a:pt x="240" y="5"/>
                      <a:pt x="240" y="5"/>
                      <a:pt x="240" y="5"/>
                    </a:cubicBezTo>
                    <a:cubicBezTo>
                      <a:pt x="238" y="2"/>
                      <a:pt x="233" y="0"/>
                      <a:pt x="229" y="0"/>
                    </a:cubicBezTo>
                    <a:cubicBezTo>
                      <a:pt x="47" y="0"/>
                      <a:pt x="47" y="0"/>
                      <a:pt x="47" y="0"/>
                    </a:cubicBezTo>
                    <a:cubicBezTo>
                      <a:pt x="43" y="0"/>
                      <a:pt x="38" y="2"/>
                      <a:pt x="36" y="5"/>
                    </a:cubicBezTo>
                    <a:cubicBezTo>
                      <a:pt x="4" y="42"/>
                      <a:pt x="4" y="42"/>
                      <a:pt x="4" y="42"/>
                    </a:cubicBezTo>
                    <a:cubicBezTo>
                      <a:pt x="2" y="45"/>
                      <a:pt x="0" y="50"/>
                      <a:pt x="0" y="54"/>
                    </a:cubicBezTo>
                    <a:cubicBezTo>
                      <a:pt x="0" y="57"/>
                      <a:pt x="0" y="57"/>
                      <a:pt x="0" y="57"/>
                    </a:cubicBezTo>
                    <a:cubicBezTo>
                      <a:pt x="0" y="61"/>
                      <a:pt x="3" y="64"/>
                      <a:pt x="7"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2" name="Freeform 21"/>
              <p:cNvSpPr>
                <a:spLocks noEditPoints="1"/>
              </p:cNvSpPr>
              <p:nvPr/>
            </p:nvSpPr>
            <p:spPr bwMode="black">
              <a:xfrm>
                <a:off x="4730751" y="1639888"/>
                <a:ext cx="781050" cy="608013"/>
              </a:xfrm>
              <a:custGeom>
                <a:avLst/>
                <a:gdLst>
                  <a:gd name="T0" fmla="*/ 177 w 208"/>
                  <a:gd name="T1" fmla="*/ 0 h 162"/>
                  <a:gd name="T2" fmla="*/ 31 w 208"/>
                  <a:gd name="T3" fmla="*/ 0 h 162"/>
                  <a:gd name="T4" fmla="*/ 0 w 208"/>
                  <a:gd name="T5" fmla="*/ 31 h 162"/>
                  <a:gd name="T6" fmla="*/ 0 w 208"/>
                  <a:gd name="T7" fmla="*/ 131 h 162"/>
                  <a:gd name="T8" fmla="*/ 31 w 208"/>
                  <a:gd name="T9" fmla="*/ 162 h 162"/>
                  <a:gd name="T10" fmla="*/ 177 w 208"/>
                  <a:gd name="T11" fmla="*/ 162 h 162"/>
                  <a:gd name="T12" fmla="*/ 208 w 208"/>
                  <a:gd name="T13" fmla="*/ 131 h 162"/>
                  <a:gd name="T14" fmla="*/ 208 w 208"/>
                  <a:gd name="T15" fmla="*/ 31 h 162"/>
                  <a:gd name="T16" fmla="*/ 177 w 208"/>
                  <a:gd name="T17" fmla="*/ 0 h 162"/>
                  <a:gd name="T18" fmla="*/ 190 w 208"/>
                  <a:gd name="T19" fmla="*/ 131 h 162"/>
                  <a:gd name="T20" fmla="*/ 177 w 208"/>
                  <a:gd name="T21" fmla="*/ 144 h 162"/>
                  <a:gd name="T22" fmla="*/ 31 w 208"/>
                  <a:gd name="T23" fmla="*/ 144 h 162"/>
                  <a:gd name="T24" fmla="*/ 18 w 208"/>
                  <a:gd name="T25" fmla="*/ 131 h 162"/>
                  <a:gd name="T26" fmla="*/ 18 w 208"/>
                  <a:gd name="T27" fmla="*/ 31 h 162"/>
                  <a:gd name="T28" fmla="*/ 31 w 208"/>
                  <a:gd name="T29" fmla="*/ 18 h 162"/>
                  <a:gd name="T30" fmla="*/ 177 w 208"/>
                  <a:gd name="T31" fmla="*/ 18 h 162"/>
                  <a:gd name="T32" fmla="*/ 190 w 208"/>
                  <a:gd name="T33" fmla="*/ 31 h 162"/>
                  <a:gd name="T34" fmla="*/ 190 w 208"/>
                  <a:gd name="T35" fmla="*/ 13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 h="162">
                    <a:moveTo>
                      <a:pt x="177" y="0"/>
                    </a:moveTo>
                    <a:cubicBezTo>
                      <a:pt x="31" y="0"/>
                      <a:pt x="31" y="0"/>
                      <a:pt x="31" y="0"/>
                    </a:cubicBezTo>
                    <a:cubicBezTo>
                      <a:pt x="14" y="0"/>
                      <a:pt x="0" y="14"/>
                      <a:pt x="0" y="31"/>
                    </a:cubicBezTo>
                    <a:cubicBezTo>
                      <a:pt x="0" y="131"/>
                      <a:pt x="0" y="131"/>
                      <a:pt x="0" y="131"/>
                    </a:cubicBezTo>
                    <a:cubicBezTo>
                      <a:pt x="0" y="148"/>
                      <a:pt x="14" y="162"/>
                      <a:pt x="31" y="162"/>
                    </a:cubicBezTo>
                    <a:cubicBezTo>
                      <a:pt x="177" y="162"/>
                      <a:pt x="177" y="162"/>
                      <a:pt x="177" y="162"/>
                    </a:cubicBezTo>
                    <a:cubicBezTo>
                      <a:pt x="194" y="162"/>
                      <a:pt x="208" y="148"/>
                      <a:pt x="208" y="131"/>
                    </a:cubicBezTo>
                    <a:cubicBezTo>
                      <a:pt x="208" y="31"/>
                      <a:pt x="208" y="31"/>
                      <a:pt x="208" y="31"/>
                    </a:cubicBezTo>
                    <a:cubicBezTo>
                      <a:pt x="208" y="14"/>
                      <a:pt x="194" y="0"/>
                      <a:pt x="177" y="0"/>
                    </a:cubicBezTo>
                    <a:moveTo>
                      <a:pt x="190" y="131"/>
                    </a:moveTo>
                    <a:cubicBezTo>
                      <a:pt x="190" y="138"/>
                      <a:pt x="184" y="144"/>
                      <a:pt x="177" y="144"/>
                    </a:cubicBezTo>
                    <a:cubicBezTo>
                      <a:pt x="31" y="144"/>
                      <a:pt x="31" y="144"/>
                      <a:pt x="31" y="144"/>
                    </a:cubicBezTo>
                    <a:cubicBezTo>
                      <a:pt x="24" y="144"/>
                      <a:pt x="18" y="138"/>
                      <a:pt x="18" y="131"/>
                    </a:cubicBezTo>
                    <a:cubicBezTo>
                      <a:pt x="18" y="31"/>
                      <a:pt x="18" y="31"/>
                      <a:pt x="18" y="31"/>
                    </a:cubicBezTo>
                    <a:cubicBezTo>
                      <a:pt x="18" y="24"/>
                      <a:pt x="24" y="18"/>
                      <a:pt x="31" y="18"/>
                    </a:cubicBezTo>
                    <a:cubicBezTo>
                      <a:pt x="177" y="18"/>
                      <a:pt x="177" y="18"/>
                      <a:pt x="177" y="18"/>
                    </a:cubicBezTo>
                    <a:cubicBezTo>
                      <a:pt x="184" y="18"/>
                      <a:pt x="190" y="24"/>
                      <a:pt x="190" y="31"/>
                    </a:cubicBezTo>
                    <a:lnTo>
                      <a:pt x="190" y="1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3" name="Freeform 22"/>
              <p:cNvSpPr>
                <a:spLocks/>
              </p:cNvSpPr>
              <p:nvPr/>
            </p:nvSpPr>
            <p:spPr bwMode="black">
              <a:xfrm>
                <a:off x="4911726" y="2289176"/>
                <a:ext cx="419100" cy="104775"/>
              </a:xfrm>
              <a:custGeom>
                <a:avLst/>
                <a:gdLst>
                  <a:gd name="T0" fmla="*/ 112 w 112"/>
                  <a:gd name="T1" fmla="*/ 25 h 28"/>
                  <a:gd name="T2" fmla="*/ 112 w 112"/>
                  <a:gd name="T3" fmla="*/ 23 h 28"/>
                  <a:gd name="T4" fmla="*/ 110 w 112"/>
                  <a:gd name="T5" fmla="*/ 18 h 28"/>
                  <a:gd name="T6" fmla="*/ 96 w 112"/>
                  <a:gd name="T7" fmla="*/ 2 h 28"/>
                  <a:gd name="T8" fmla="*/ 91 w 112"/>
                  <a:gd name="T9" fmla="*/ 0 h 28"/>
                  <a:gd name="T10" fmla="*/ 21 w 112"/>
                  <a:gd name="T11" fmla="*/ 0 h 28"/>
                  <a:gd name="T12" fmla="*/ 16 w 112"/>
                  <a:gd name="T13" fmla="*/ 2 h 28"/>
                  <a:gd name="T14" fmla="*/ 2 w 112"/>
                  <a:gd name="T15" fmla="*/ 18 h 28"/>
                  <a:gd name="T16" fmla="*/ 0 w 112"/>
                  <a:gd name="T17" fmla="*/ 23 h 28"/>
                  <a:gd name="T18" fmla="*/ 0 w 112"/>
                  <a:gd name="T19" fmla="*/ 25 h 28"/>
                  <a:gd name="T20" fmla="*/ 3 w 112"/>
                  <a:gd name="T21" fmla="*/ 28 h 28"/>
                  <a:gd name="T22" fmla="*/ 109 w 112"/>
                  <a:gd name="T23" fmla="*/ 28 h 28"/>
                  <a:gd name="T24" fmla="*/ 112 w 112"/>
                  <a:gd name="T25"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28">
                    <a:moveTo>
                      <a:pt x="112" y="25"/>
                    </a:moveTo>
                    <a:cubicBezTo>
                      <a:pt x="112" y="23"/>
                      <a:pt x="112" y="23"/>
                      <a:pt x="112" y="23"/>
                    </a:cubicBezTo>
                    <a:cubicBezTo>
                      <a:pt x="112" y="22"/>
                      <a:pt x="111" y="20"/>
                      <a:pt x="110" y="18"/>
                    </a:cubicBezTo>
                    <a:cubicBezTo>
                      <a:pt x="96" y="2"/>
                      <a:pt x="96" y="2"/>
                      <a:pt x="96" y="2"/>
                    </a:cubicBezTo>
                    <a:cubicBezTo>
                      <a:pt x="95" y="1"/>
                      <a:pt x="93" y="0"/>
                      <a:pt x="91" y="0"/>
                    </a:cubicBezTo>
                    <a:cubicBezTo>
                      <a:pt x="21" y="0"/>
                      <a:pt x="21" y="0"/>
                      <a:pt x="21" y="0"/>
                    </a:cubicBezTo>
                    <a:cubicBezTo>
                      <a:pt x="19" y="0"/>
                      <a:pt x="17" y="1"/>
                      <a:pt x="16" y="2"/>
                    </a:cubicBezTo>
                    <a:cubicBezTo>
                      <a:pt x="2" y="18"/>
                      <a:pt x="2" y="18"/>
                      <a:pt x="2" y="18"/>
                    </a:cubicBezTo>
                    <a:cubicBezTo>
                      <a:pt x="1" y="20"/>
                      <a:pt x="0" y="22"/>
                      <a:pt x="0" y="23"/>
                    </a:cubicBezTo>
                    <a:cubicBezTo>
                      <a:pt x="0" y="25"/>
                      <a:pt x="0" y="25"/>
                      <a:pt x="0" y="25"/>
                    </a:cubicBezTo>
                    <a:cubicBezTo>
                      <a:pt x="0" y="26"/>
                      <a:pt x="1" y="28"/>
                      <a:pt x="3" y="28"/>
                    </a:cubicBezTo>
                    <a:cubicBezTo>
                      <a:pt x="109" y="28"/>
                      <a:pt x="109" y="28"/>
                      <a:pt x="109" y="28"/>
                    </a:cubicBezTo>
                    <a:cubicBezTo>
                      <a:pt x="111" y="28"/>
                      <a:pt x="112" y="26"/>
                      <a:pt x="112" y="2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4" name="Freeform 23"/>
              <p:cNvSpPr>
                <a:spLocks noEditPoints="1"/>
              </p:cNvSpPr>
              <p:nvPr/>
            </p:nvSpPr>
            <p:spPr bwMode="black">
              <a:xfrm>
                <a:off x="5586413" y="1639888"/>
                <a:ext cx="385763" cy="754063"/>
              </a:xfrm>
              <a:custGeom>
                <a:avLst/>
                <a:gdLst>
                  <a:gd name="T0" fmla="*/ 89 w 103"/>
                  <a:gd name="T1" fmla="*/ 0 h 201"/>
                  <a:gd name="T2" fmla="*/ 13 w 103"/>
                  <a:gd name="T3" fmla="*/ 0 h 201"/>
                  <a:gd name="T4" fmla="*/ 0 w 103"/>
                  <a:gd name="T5" fmla="*/ 13 h 201"/>
                  <a:gd name="T6" fmla="*/ 0 w 103"/>
                  <a:gd name="T7" fmla="*/ 187 h 201"/>
                  <a:gd name="T8" fmla="*/ 13 w 103"/>
                  <a:gd name="T9" fmla="*/ 201 h 201"/>
                  <a:gd name="T10" fmla="*/ 89 w 103"/>
                  <a:gd name="T11" fmla="*/ 201 h 201"/>
                  <a:gd name="T12" fmla="*/ 103 w 103"/>
                  <a:gd name="T13" fmla="*/ 187 h 201"/>
                  <a:gd name="T14" fmla="*/ 103 w 103"/>
                  <a:gd name="T15" fmla="*/ 13 h 201"/>
                  <a:gd name="T16" fmla="*/ 89 w 103"/>
                  <a:gd name="T17" fmla="*/ 0 h 201"/>
                  <a:gd name="T18" fmla="*/ 52 w 103"/>
                  <a:gd name="T19" fmla="*/ 187 h 201"/>
                  <a:gd name="T20" fmla="*/ 40 w 103"/>
                  <a:gd name="T21" fmla="*/ 175 h 201"/>
                  <a:gd name="T22" fmla="*/ 52 w 103"/>
                  <a:gd name="T23" fmla="*/ 163 h 201"/>
                  <a:gd name="T24" fmla="*/ 63 w 103"/>
                  <a:gd name="T25" fmla="*/ 175 h 201"/>
                  <a:gd name="T26" fmla="*/ 52 w 103"/>
                  <a:gd name="T27" fmla="*/ 18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201">
                    <a:moveTo>
                      <a:pt x="89" y="0"/>
                    </a:moveTo>
                    <a:cubicBezTo>
                      <a:pt x="13" y="0"/>
                      <a:pt x="13" y="0"/>
                      <a:pt x="13" y="0"/>
                    </a:cubicBezTo>
                    <a:cubicBezTo>
                      <a:pt x="6" y="0"/>
                      <a:pt x="0" y="6"/>
                      <a:pt x="0" y="13"/>
                    </a:cubicBezTo>
                    <a:cubicBezTo>
                      <a:pt x="0" y="187"/>
                      <a:pt x="0" y="187"/>
                      <a:pt x="0" y="187"/>
                    </a:cubicBezTo>
                    <a:cubicBezTo>
                      <a:pt x="0" y="195"/>
                      <a:pt x="6" y="201"/>
                      <a:pt x="13" y="201"/>
                    </a:cubicBezTo>
                    <a:cubicBezTo>
                      <a:pt x="89" y="201"/>
                      <a:pt x="89" y="201"/>
                      <a:pt x="89" y="201"/>
                    </a:cubicBezTo>
                    <a:cubicBezTo>
                      <a:pt x="97" y="201"/>
                      <a:pt x="103" y="195"/>
                      <a:pt x="103" y="187"/>
                    </a:cubicBezTo>
                    <a:cubicBezTo>
                      <a:pt x="103" y="13"/>
                      <a:pt x="103" y="13"/>
                      <a:pt x="103" y="13"/>
                    </a:cubicBezTo>
                    <a:cubicBezTo>
                      <a:pt x="103" y="6"/>
                      <a:pt x="97" y="0"/>
                      <a:pt x="89" y="0"/>
                    </a:cubicBezTo>
                    <a:moveTo>
                      <a:pt x="52" y="187"/>
                    </a:moveTo>
                    <a:cubicBezTo>
                      <a:pt x="45" y="187"/>
                      <a:pt x="40" y="181"/>
                      <a:pt x="40" y="175"/>
                    </a:cubicBezTo>
                    <a:cubicBezTo>
                      <a:pt x="40" y="168"/>
                      <a:pt x="45" y="163"/>
                      <a:pt x="52" y="163"/>
                    </a:cubicBezTo>
                    <a:cubicBezTo>
                      <a:pt x="58" y="163"/>
                      <a:pt x="63" y="168"/>
                      <a:pt x="63" y="175"/>
                    </a:cubicBezTo>
                    <a:cubicBezTo>
                      <a:pt x="63" y="181"/>
                      <a:pt x="58" y="187"/>
                      <a:pt x="52" y="18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5" name="Freeform 24"/>
              <p:cNvSpPr>
                <a:spLocks noEditPoints="1"/>
              </p:cNvSpPr>
              <p:nvPr/>
            </p:nvSpPr>
            <p:spPr bwMode="black">
              <a:xfrm>
                <a:off x="2462213" y="3032126"/>
                <a:ext cx="525463" cy="804863"/>
              </a:xfrm>
              <a:custGeom>
                <a:avLst/>
                <a:gdLst>
                  <a:gd name="T0" fmla="*/ 109 w 140"/>
                  <a:gd name="T1" fmla="*/ 0 h 215"/>
                  <a:gd name="T2" fmla="*/ 31 w 140"/>
                  <a:gd name="T3" fmla="*/ 0 h 215"/>
                  <a:gd name="T4" fmla="*/ 0 w 140"/>
                  <a:gd name="T5" fmla="*/ 30 h 215"/>
                  <a:gd name="T6" fmla="*/ 0 w 140"/>
                  <a:gd name="T7" fmla="*/ 184 h 215"/>
                  <a:gd name="T8" fmla="*/ 31 w 140"/>
                  <a:gd name="T9" fmla="*/ 215 h 215"/>
                  <a:gd name="T10" fmla="*/ 109 w 140"/>
                  <a:gd name="T11" fmla="*/ 215 h 215"/>
                  <a:gd name="T12" fmla="*/ 140 w 140"/>
                  <a:gd name="T13" fmla="*/ 184 h 215"/>
                  <a:gd name="T14" fmla="*/ 140 w 140"/>
                  <a:gd name="T15" fmla="*/ 30 h 215"/>
                  <a:gd name="T16" fmla="*/ 109 w 140"/>
                  <a:gd name="T17" fmla="*/ 0 h 215"/>
                  <a:gd name="T18" fmla="*/ 122 w 140"/>
                  <a:gd name="T19" fmla="*/ 177 h 215"/>
                  <a:gd name="T20" fmla="*/ 109 w 140"/>
                  <a:gd name="T21" fmla="*/ 195 h 215"/>
                  <a:gd name="T22" fmla="*/ 31 w 140"/>
                  <a:gd name="T23" fmla="*/ 195 h 215"/>
                  <a:gd name="T24" fmla="*/ 18 w 140"/>
                  <a:gd name="T25" fmla="*/ 177 h 215"/>
                  <a:gd name="T26" fmla="*/ 18 w 140"/>
                  <a:gd name="T27" fmla="*/ 35 h 215"/>
                  <a:gd name="T28" fmla="*/ 31 w 140"/>
                  <a:gd name="T29" fmla="*/ 18 h 215"/>
                  <a:gd name="T30" fmla="*/ 109 w 140"/>
                  <a:gd name="T31" fmla="*/ 18 h 215"/>
                  <a:gd name="T32" fmla="*/ 122 w 140"/>
                  <a:gd name="T33" fmla="*/ 35 h 215"/>
                  <a:gd name="T34" fmla="*/ 122 w 140"/>
                  <a:gd name="T35" fmla="*/ 17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215">
                    <a:moveTo>
                      <a:pt x="109" y="0"/>
                    </a:moveTo>
                    <a:cubicBezTo>
                      <a:pt x="31" y="0"/>
                      <a:pt x="31" y="0"/>
                      <a:pt x="31" y="0"/>
                    </a:cubicBezTo>
                    <a:cubicBezTo>
                      <a:pt x="14" y="0"/>
                      <a:pt x="0" y="13"/>
                      <a:pt x="0" y="30"/>
                    </a:cubicBezTo>
                    <a:cubicBezTo>
                      <a:pt x="0" y="184"/>
                      <a:pt x="0" y="184"/>
                      <a:pt x="0" y="184"/>
                    </a:cubicBezTo>
                    <a:cubicBezTo>
                      <a:pt x="0" y="201"/>
                      <a:pt x="14" y="215"/>
                      <a:pt x="31" y="215"/>
                    </a:cubicBezTo>
                    <a:cubicBezTo>
                      <a:pt x="109" y="215"/>
                      <a:pt x="109" y="215"/>
                      <a:pt x="109" y="215"/>
                    </a:cubicBezTo>
                    <a:cubicBezTo>
                      <a:pt x="126" y="215"/>
                      <a:pt x="140" y="201"/>
                      <a:pt x="140" y="184"/>
                    </a:cubicBezTo>
                    <a:cubicBezTo>
                      <a:pt x="140" y="30"/>
                      <a:pt x="140" y="30"/>
                      <a:pt x="140" y="30"/>
                    </a:cubicBezTo>
                    <a:cubicBezTo>
                      <a:pt x="140" y="13"/>
                      <a:pt x="126" y="0"/>
                      <a:pt x="109" y="0"/>
                    </a:cubicBezTo>
                    <a:moveTo>
                      <a:pt x="122" y="177"/>
                    </a:moveTo>
                    <a:cubicBezTo>
                      <a:pt x="122" y="187"/>
                      <a:pt x="116" y="195"/>
                      <a:pt x="109" y="195"/>
                    </a:cubicBezTo>
                    <a:cubicBezTo>
                      <a:pt x="31" y="195"/>
                      <a:pt x="31" y="195"/>
                      <a:pt x="31" y="195"/>
                    </a:cubicBezTo>
                    <a:cubicBezTo>
                      <a:pt x="24" y="195"/>
                      <a:pt x="18" y="187"/>
                      <a:pt x="18" y="177"/>
                    </a:cubicBezTo>
                    <a:cubicBezTo>
                      <a:pt x="18" y="35"/>
                      <a:pt x="18" y="35"/>
                      <a:pt x="18" y="35"/>
                    </a:cubicBezTo>
                    <a:cubicBezTo>
                      <a:pt x="18" y="26"/>
                      <a:pt x="24" y="18"/>
                      <a:pt x="31" y="18"/>
                    </a:cubicBezTo>
                    <a:cubicBezTo>
                      <a:pt x="109" y="18"/>
                      <a:pt x="109" y="18"/>
                      <a:pt x="109" y="18"/>
                    </a:cubicBezTo>
                    <a:cubicBezTo>
                      <a:pt x="116" y="18"/>
                      <a:pt x="122" y="26"/>
                      <a:pt x="122" y="35"/>
                    </a:cubicBezTo>
                    <a:lnTo>
                      <a:pt x="122" y="1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6" name="Freeform 25"/>
              <p:cNvSpPr>
                <a:spLocks noEditPoints="1"/>
              </p:cNvSpPr>
              <p:nvPr/>
            </p:nvSpPr>
            <p:spPr bwMode="black">
              <a:xfrm>
                <a:off x="5049838" y="4411663"/>
                <a:ext cx="739775" cy="854075"/>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7" name="Freeform 26"/>
              <p:cNvSpPr>
                <a:spLocks noEditPoints="1"/>
              </p:cNvSpPr>
              <p:nvPr/>
            </p:nvSpPr>
            <p:spPr bwMode="black">
              <a:xfrm>
                <a:off x="6043613" y="2960688"/>
                <a:ext cx="641350" cy="876300"/>
              </a:xfrm>
              <a:custGeom>
                <a:avLst/>
                <a:gdLst>
                  <a:gd name="T0" fmla="*/ 146 w 171"/>
                  <a:gd name="T1" fmla="*/ 0 h 234"/>
                  <a:gd name="T2" fmla="*/ 25 w 171"/>
                  <a:gd name="T3" fmla="*/ 0 h 234"/>
                  <a:gd name="T4" fmla="*/ 0 w 171"/>
                  <a:gd name="T5" fmla="*/ 25 h 234"/>
                  <a:gd name="T6" fmla="*/ 0 w 171"/>
                  <a:gd name="T7" fmla="*/ 209 h 234"/>
                  <a:gd name="T8" fmla="*/ 25 w 171"/>
                  <a:gd name="T9" fmla="*/ 234 h 234"/>
                  <a:gd name="T10" fmla="*/ 146 w 171"/>
                  <a:gd name="T11" fmla="*/ 234 h 234"/>
                  <a:gd name="T12" fmla="*/ 171 w 171"/>
                  <a:gd name="T13" fmla="*/ 209 h 234"/>
                  <a:gd name="T14" fmla="*/ 171 w 171"/>
                  <a:gd name="T15" fmla="*/ 25 h 234"/>
                  <a:gd name="T16" fmla="*/ 146 w 171"/>
                  <a:gd name="T17" fmla="*/ 0 h 234"/>
                  <a:gd name="T18" fmla="*/ 157 w 171"/>
                  <a:gd name="T19" fmla="*/ 183 h 234"/>
                  <a:gd name="T20" fmla="*/ 146 w 171"/>
                  <a:gd name="T21" fmla="*/ 193 h 234"/>
                  <a:gd name="T22" fmla="*/ 25 w 171"/>
                  <a:gd name="T23" fmla="*/ 193 h 234"/>
                  <a:gd name="T24" fmla="*/ 15 w 171"/>
                  <a:gd name="T25" fmla="*/ 183 h 234"/>
                  <a:gd name="T26" fmla="*/ 15 w 171"/>
                  <a:gd name="T27" fmla="*/ 25 h 234"/>
                  <a:gd name="T28" fmla="*/ 25 w 171"/>
                  <a:gd name="T29" fmla="*/ 14 h 234"/>
                  <a:gd name="T30" fmla="*/ 146 w 171"/>
                  <a:gd name="T31" fmla="*/ 14 h 234"/>
                  <a:gd name="T32" fmla="*/ 157 w 171"/>
                  <a:gd name="T33" fmla="*/ 25 h 234"/>
                  <a:gd name="T34" fmla="*/ 157 w 171"/>
                  <a:gd name="T35" fmla="*/ 18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234">
                    <a:moveTo>
                      <a:pt x="146" y="0"/>
                    </a:moveTo>
                    <a:cubicBezTo>
                      <a:pt x="25" y="0"/>
                      <a:pt x="25" y="0"/>
                      <a:pt x="25" y="0"/>
                    </a:cubicBezTo>
                    <a:cubicBezTo>
                      <a:pt x="11" y="0"/>
                      <a:pt x="0" y="11"/>
                      <a:pt x="0" y="25"/>
                    </a:cubicBezTo>
                    <a:cubicBezTo>
                      <a:pt x="0" y="209"/>
                      <a:pt x="0" y="209"/>
                      <a:pt x="0" y="209"/>
                    </a:cubicBezTo>
                    <a:cubicBezTo>
                      <a:pt x="0" y="223"/>
                      <a:pt x="11" y="234"/>
                      <a:pt x="25" y="234"/>
                    </a:cubicBezTo>
                    <a:cubicBezTo>
                      <a:pt x="146" y="234"/>
                      <a:pt x="146" y="234"/>
                      <a:pt x="146" y="234"/>
                    </a:cubicBezTo>
                    <a:cubicBezTo>
                      <a:pt x="160" y="234"/>
                      <a:pt x="171" y="223"/>
                      <a:pt x="171" y="209"/>
                    </a:cubicBezTo>
                    <a:cubicBezTo>
                      <a:pt x="171" y="25"/>
                      <a:pt x="171" y="25"/>
                      <a:pt x="171" y="25"/>
                    </a:cubicBezTo>
                    <a:cubicBezTo>
                      <a:pt x="171" y="11"/>
                      <a:pt x="160" y="0"/>
                      <a:pt x="146" y="0"/>
                    </a:cubicBezTo>
                    <a:moveTo>
                      <a:pt x="157" y="183"/>
                    </a:moveTo>
                    <a:cubicBezTo>
                      <a:pt x="157" y="188"/>
                      <a:pt x="152" y="193"/>
                      <a:pt x="146" y="193"/>
                    </a:cubicBezTo>
                    <a:cubicBezTo>
                      <a:pt x="25" y="193"/>
                      <a:pt x="25" y="193"/>
                      <a:pt x="25" y="193"/>
                    </a:cubicBezTo>
                    <a:cubicBezTo>
                      <a:pt x="19" y="193"/>
                      <a:pt x="15" y="188"/>
                      <a:pt x="15" y="183"/>
                    </a:cubicBezTo>
                    <a:cubicBezTo>
                      <a:pt x="15" y="25"/>
                      <a:pt x="15" y="25"/>
                      <a:pt x="15" y="25"/>
                    </a:cubicBezTo>
                    <a:cubicBezTo>
                      <a:pt x="15" y="19"/>
                      <a:pt x="19" y="14"/>
                      <a:pt x="25" y="14"/>
                    </a:cubicBezTo>
                    <a:cubicBezTo>
                      <a:pt x="146" y="14"/>
                      <a:pt x="146" y="14"/>
                      <a:pt x="146" y="14"/>
                    </a:cubicBezTo>
                    <a:cubicBezTo>
                      <a:pt x="152" y="14"/>
                      <a:pt x="157" y="19"/>
                      <a:pt x="157" y="25"/>
                    </a:cubicBezTo>
                    <a:lnTo>
                      <a:pt x="157" y="1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8" name="Oval 27"/>
              <p:cNvSpPr>
                <a:spLocks noChangeArrowheads="1"/>
              </p:cNvSpPr>
              <p:nvPr/>
            </p:nvSpPr>
            <p:spPr bwMode="black">
              <a:xfrm>
                <a:off x="62245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9" name="Oval 28"/>
              <p:cNvSpPr>
                <a:spLocks noChangeArrowheads="1"/>
              </p:cNvSpPr>
              <p:nvPr/>
            </p:nvSpPr>
            <p:spPr bwMode="black">
              <a:xfrm>
                <a:off x="64531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0" name="Oval 29"/>
              <p:cNvSpPr>
                <a:spLocks noChangeArrowheads="1"/>
              </p:cNvSpPr>
              <p:nvPr/>
            </p:nvSpPr>
            <p:spPr bwMode="black">
              <a:xfrm>
                <a:off x="6340476"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1" name="Freeform 30"/>
              <p:cNvSpPr>
                <a:spLocks/>
              </p:cNvSpPr>
              <p:nvPr/>
            </p:nvSpPr>
            <p:spPr bwMode="black">
              <a:xfrm>
                <a:off x="3425826" y="4279901"/>
                <a:ext cx="442913" cy="16192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2" name="Freeform 31"/>
              <p:cNvSpPr>
                <a:spLocks noEditPoints="1"/>
              </p:cNvSpPr>
              <p:nvPr/>
            </p:nvSpPr>
            <p:spPr bwMode="black">
              <a:xfrm>
                <a:off x="3414713" y="4456113"/>
                <a:ext cx="476250" cy="80962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grpSp>
        <p:nvGrpSpPr>
          <p:cNvPr id="50" name="Group 49"/>
          <p:cNvGrpSpPr/>
          <p:nvPr/>
        </p:nvGrpSpPr>
        <p:grpSpPr>
          <a:xfrm>
            <a:off x="507624" y="3011804"/>
            <a:ext cx="2620438" cy="1872234"/>
            <a:chOff x="676656" y="3949024"/>
            <a:chExt cx="3493008" cy="2496312"/>
          </a:xfrm>
        </p:grpSpPr>
        <p:sp>
          <p:nvSpPr>
            <p:cNvPr id="9" name="Dark Blue"/>
            <p:cNvSpPr/>
            <p:nvPr/>
          </p:nvSpPr>
          <p:spPr bwMode="auto">
            <a:xfrm>
              <a:off x="676656" y="3949024"/>
              <a:ext cx="3493008" cy="2496312"/>
            </a:xfrm>
            <a:prstGeom prst="roundRect">
              <a:avLst>
                <a:gd name="adj" fmla="val 0"/>
              </a:avLst>
            </a:prstGeom>
            <a:solidFill>
              <a:schemeClr val="bg1">
                <a:lumMod val="40000"/>
                <a:lumOff val="6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a:p>
              <a:pPr algn="ctr" defTabSz="685637"/>
              <a:r>
                <a:rPr lang="en-US" sz="1700" dirty="0">
                  <a:solidFill>
                    <a:srgbClr val="FFFFFF">
                      <a:alpha val="98824"/>
                    </a:srgbClr>
                  </a:solidFill>
                  <a:latin typeface="Segoe UI" pitchFamily="34" charset="0"/>
                  <a:ea typeface="Segoe UI" pitchFamily="34" charset="0"/>
                  <a:cs typeface="Segoe UI" pitchFamily="34" charset="0"/>
                </a:rPr>
                <a:t>Rich Platform</a:t>
              </a:r>
            </a:p>
          </p:txBody>
        </p:sp>
        <p:grpSp>
          <p:nvGrpSpPr>
            <p:cNvPr id="43" name="Group 42"/>
            <p:cNvGrpSpPr>
              <a:grpSpLocks noChangeAspect="1"/>
            </p:cNvGrpSpPr>
            <p:nvPr/>
          </p:nvGrpSpPr>
          <p:grpSpPr bwMode="black">
            <a:xfrm>
              <a:off x="1767586" y="4527235"/>
              <a:ext cx="1311149" cy="1014057"/>
              <a:chOff x="813584" y="4312262"/>
              <a:chExt cx="478309" cy="370027"/>
            </a:xfrm>
          </p:grpSpPr>
          <p:sp>
            <p:nvSpPr>
              <p:cNvPr id="44" name="Freeform 79"/>
              <p:cNvSpPr>
                <a:spLocks/>
              </p:cNvSpPr>
              <p:nvPr/>
            </p:nvSpPr>
            <p:spPr bwMode="black">
              <a:xfrm>
                <a:off x="813584" y="4503897"/>
                <a:ext cx="478309" cy="178392"/>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200"/>
              </a:p>
            </p:txBody>
          </p:sp>
          <p:sp>
            <p:nvSpPr>
              <p:cNvPr id="45" name="Freeform 80"/>
              <p:cNvSpPr>
                <a:spLocks noEditPoints="1"/>
              </p:cNvSpPr>
              <p:nvPr/>
            </p:nvSpPr>
            <p:spPr bwMode="black">
              <a:xfrm>
                <a:off x="813584" y="4312262"/>
                <a:ext cx="478309" cy="176834"/>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200"/>
              </a:p>
            </p:txBody>
          </p:sp>
        </p:grpSp>
      </p:grpSp>
      <p:grpSp>
        <p:nvGrpSpPr>
          <p:cNvPr id="51" name="Group 50"/>
          <p:cNvGrpSpPr/>
          <p:nvPr/>
        </p:nvGrpSpPr>
        <p:grpSpPr>
          <a:xfrm>
            <a:off x="3265259" y="3011804"/>
            <a:ext cx="2620438" cy="1872234"/>
            <a:chOff x="4366220" y="3949024"/>
            <a:chExt cx="3493008" cy="2496312"/>
          </a:xfrm>
        </p:grpSpPr>
        <p:sp>
          <p:nvSpPr>
            <p:cNvPr id="7" name="Orange"/>
            <p:cNvSpPr/>
            <p:nvPr/>
          </p:nvSpPr>
          <p:spPr bwMode="auto">
            <a:xfrm>
              <a:off x="4366220" y="3949024"/>
              <a:ext cx="3493008" cy="2496312"/>
            </a:xfrm>
            <a:prstGeom prst="roundRect">
              <a:avLst>
                <a:gd name="adj" fmla="val 0"/>
              </a:avLst>
            </a:prstGeom>
            <a:solidFill>
              <a:schemeClr val="bg1">
                <a:lumMod val="40000"/>
                <a:lumOff val="60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a:r>
                <a:rPr lang="en-US" sz="1700" dirty="0">
                  <a:solidFill>
                    <a:schemeClr val="tx1">
                      <a:alpha val="99000"/>
                    </a:schemeClr>
                  </a:solidFill>
                  <a:latin typeface="Segoe UI" pitchFamily="34" charset="0"/>
                  <a:ea typeface="Segoe UI" pitchFamily="34" charset="0"/>
                  <a:cs typeface="Segoe UI" pitchFamily="34" charset="0"/>
                </a:rPr>
                <a:t>Standards-based</a:t>
              </a:r>
            </a:p>
          </p:txBody>
        </p:sp>
        <p:sp>
          <p:nvSpPr>
            <p:cNvPr id="46" name="Freeform 15"/>
            <p:cNvSpPr>
              <a:spLocks noChangeAspect="1" noEditPoints="1"/>
            </p:cNvSpPr>
            <p:nvPr/>
          </p:nvSpPr>
          <p:spPr bwMode="black">
            <a:xfrm>
              <a:off x="5519047" y="4352572"/>
              <a:ext cx="1187354" cy="1188720"/>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53"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54"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4"/>
              </a:rPr>
              <a:t>www.rapidbbs.cn</a:t>
            </a:r>
            <a:endParaRPr lang="zh-CN" altLang="en-US" sz="1200" b="0">
              <a:latin typeface="Arial" charset="0"/>
              <a:ea typeface="ＭＳ Ｐゴシック" pitchFamily="34" charset="-128"/>
            </a:endParaRPr>
          </a:p>
        </p:txBody>
      </p:sp>
      <p:pic>
        <p:nvPicPr>
          <p:cNvPr id="55" name="Picture 2">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132046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indows PowerShell 3.0 Themes</a:t>
            </a:r>
            <a:endParaRPr lang="en-US" dirty="0"/>
          </a:p>
        </p:txBody>
      </p:sp>
      <p:grpSp>
        <p:nvGrpSpPr>
          <p:cNvPr id="47" name="Group 46"/>
          <p:cNvGrpSpPr/>
          <p:nvPr/>
        </p:nvGrpSpPr>
        <p:grpSpPr>
          <a:xfrm>
            <a:off x="507624" y="1012374"/>
            <a:ext cx="2620438" cy="1872234"/>
            <a:chOff x="676656" y="1349832"/>
            <a:chExt cx="3493008" cy="2496312"/>
          </a:xfrm>
        </p:grpSpPr>
        <p:sp>
          <p:nvSpPr>
            <p:cNvPr id="8" name="Light Blue"/>
            <p:cNvSpPr/>
            <p:nvPr/>
          </p:nvSpPr>
          <p:spPr bwMode="auto">
            <a:xfrm>
              <a:off x="676656" y="1349832"/>
              <a:ext cx="3493008" cy="2496312"/>
            </a:xfrm>
            <a:prstGeom prst="roundRect">
              <a:avLst>
                <a:gd name="adj" fmla="val 0"/>
              </a:avLst>
            </a:prstGeom>
            <a:solidFill>
              <a:schemeClr val="bg1">
                <a:lumMod val="40000"/>
                <a:lumOff val="6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a:r>
                <a:rPr lang="en-US" sz="1700" dirty="0">
                  <a:solidFill>
                    <a:schemeClr val="tx1">
                      <a:alpha val="99000"/>
                    </a:schemeClr>
                  </a:solidFill>
                  <a:latin typeface="Segoe UI" pitchFamily="34" charset="0"/>
                  <a:ea typeface="Segoe UI" pitchFamily="34" charset="0"/>
                  <a:cs typeface="Segoe UI" pitchFamily="34" charset="0"/>
                </a:rPr>
                <a:t>Simple &amp; Easy</a:t>
              </a:r>
            </a:p>
          </p:txBody>
        </p:sp>
        <p:pic>
          <p:nvPicPr>
            <p:cNvPr id="10" name="Picture 35" descr="C:\Users\sakuu\Documents\Ballmer WPC\AI\Vacation.png"/>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879962" y="1637864"/>
              <a:ext cx="1086396" cy="144249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2" name="Group 51"/>
          <p:cNvGrpSpPr/>
          <p:nvPr/>
        </p:nvGrpSpPr>
        <p:grpSpPr>
          <a:xfrm>
            <a:off x="6016977" y="3011804"/>
            <a:ext cx="2620438" cy="1872234"/>
            <a:chOff x="8045452" y="3949024"/>
            <a:chExt cx="3493008" cy="2496312"/>
          </a:xfrm>
        </p:grpSpPr>
        <p:sp>
          <p:nvSpPr>
            <p:cNvPr id="5" name="Red"/>
            <p:cNvSpPr/>
            <p:nvPr/>
          </p:nvSpPr>
          <p:spPr bwMode="auto">
            <a:xfrm>
              <a:off x="8045452" y="3949024"/>
              <a:ext cx="3493008" cy="2496312"/>
            </a:xfrm>
            <a:prstGeom prst="roundRect">
              <a:avLst>
                <a:gd name="adj" fmla="val 0"/>
              </a:avLst>
            </a:prstGeom>
            <a:solidFill>
              <a:schemeClr val="bg1">
                <a:lumMod val="40000"/>
                <a:lumOff val="60000"/>
              </a:schemeClr>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r>
                <a:rPr lang="en-US" sz="1700" dirty="0">
                  <a:solidFill>
                    <a:schemeClr val="tx1">
                      <a:alpha val="99000"/>
                    </a:schemeClr>
                  </a:solidFill>
                  <a:latin typeface="Segoe UI" pitchFamily="34" charset="0"/>
                  <a:ea typeface="Segoe UI" pitchFamily="34" charset="0"/>
                  <a:cs typeface="Segoe UI" pitchFamily="34" charset="0"/>
                </a:rPr>
                <a:t>PS 3.0  -</a:t>
              </a:r>
              <a:r>
                <a:rPr lang="en-US" sz="1700" dirty="0" err="1">
                  <a:solidFill>
                    <a:schemeClr val="tx1">
                      <a:alpha val="99000"/>
                    </a:schemeClr>
                  </a:solidFill>
                  <a:latin typeface="Segoe UI" pitchFamily="34" charset="0"/>
                  <a:ea typeface="Segoe UI" pitchFamily="34" charset="0"/>
                  <a:cs typeface="Segoe UI" pitchFamily="34" charset="0"/>
                </a:rPr>
                <a:t>gt</a:t>
              </a:r>
              <a:r>
                <a:rPr lang="en-US" sz="1700" dirty="0">
                  <a:solidFill>
                    <a:schemeClr val="tx1">
                      <a:alpha val="99000"/>
                    </a:schemeClr>
                  </a:solidFill>
                  <a:latin typeface="Segoe UI" pitchFamily="34" charset="0"/>
                  <a:ea typeface="Segoe UI" pitchFamily="34" charset="0"/>
                  <a:cs typeface="Segoe UI" pitchFamily="34" charset="0"/>
                </a:rPr>
                <a:t>  PS 2.0</a:t>
              </a:r>
            </a:p>
          </p:txBody>
        </p:sp>
        <p:grpSp>
          <p:nvGrpSpPr>
            <p:cNvPr id="11" name="Group 10"/>
            <p:cNvGrpSpPr/>
            <p:nvPr/>
          </p:nvGrpSpPr>
          <p:grpSpPr bwMode="black">
            <a:xfrm>
              <a:off x="9458640" y="4405080"/>
              <a:ext cx="666632" cy="1137216"/>
              <a:chOff x="3233738" y="168276"/>
              <a:chExt cx="2651125" cy="6480174"/>
            </a:xfrm>
          </p:grpSpPr>
          <p:sp>
            <p:nvSpPr>
              <p:cNvPr id="12"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grpSp>
        <p:nvGrpSpPr>
          <p:cNvPr id="49" name="Group 48"/>
          <p:cNvGrpSpPr/>
          <p:nvPr/>
        </p:nvGrpSpPr>
        <p:grpSpPr>
          <a:xfrm>
            <a:off x="6016977" y="1012374"/>
            <a:ext cx="2620438" cy="1872234"/>
            <a:chOff x="8045452" y="1349832"/>
            <a:chExt cx="3493008" cy="2496312"/>
          </a:xfrm>
        </p:grpSpPr>
        <p:sp>
          <p:nvSpPr>
            <p:cNvPr id="4" name="Green"/>
            <p:cNvSpPr/>
            <p:nvPr/>
          </p:nvSpPr>
          <p:spPr bwMode="auto">
            <a:xfrm>
              <a:off x="8045452" y="1349832"/>
              <a:ext cx="3493008" cy="2496312"/>
            </a:xfrm>
            <a:prstGeom prst="roundRect">
              <a:avLst>
                <a:gd name="adj" fmla="val 0"/>
              </a:avLst>
            </a:prstGeom>
            <a:solidFill>
              <a:schemeClr val="bg1">
                <a:lumMod val="40000"/>
                <a:lumOff val="60000"/>
              </a:schemeClr>
            </a:soli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r>
                <a:rPr lang="en-US" sz="1700" dirty="0">
                  <a:solidFill>
                    <a:schemeClr val="tx1">
                      <a:alpha val="99000"/>
                    </a:schemeClr>
                  </a:solidFill>
                  <a:latin typeface="Segoe UI" pitchFamily="34" charset="0"/>
                  <a:ea typeface="Segoe UI" pitchFamily="34" charset="0"/>
                  <a:cs typeface="Segoe UI" pitchFamily="34" charset="0"/>
                </a:rPr>
                <a:t>Robust &amp; Scalable</a:t>
              </a:r>
            </a:p>
          </p:txBody>
        </p:sp>
        <p:sp>
          <p:nvSpPr>
            <p:cNvPr id="15" name="Freeform 35"/>
            <p:cNvSpPr>
              <a:spLocks/>
            </p:cNvSpPr>
            <p:nvPr/>
          </p:nvSpPr>
          <p:spPr bwMode="black">
            <a:xfrm>
              <a:off x="9024221" y="1750933"/>
              <a:ext cx="1535470" cy="1305668"/>
            </a:xfrm>
            <a:custGeom>
              <a:avLst/>
              <a:gdLst>
                <a:gd name="T0" fmla="*/ 120 w 191"/>
                <a:gd name="T1" fmla="*/ 32 h 197"/>
                <a:gd name="T2" fmla="*/ 83 w 191"/>
                <a:gd name="T3" fmla="*/ 3 h 197"/>
                <a:gd name="T4" fmla="*/ 47 w 191"/>
                <a:gd name="T5" fmla="*/ 5 h 197"/>
                <a:gd name="T6" fmla="*/ 44 w 191"/>
                <a:gd name="T7" fmla="*/ 27 h 197"/>
                <a:gd name="T8" fmla="*/ 40 w 191"/>
                <a:gd name="T9" fmla="*/ 29 h 197"/>
                <a:gd name="T10" fmla="*/ 40 w 191"/>
                <a:gd name="T11" fmla="*/ 33 h 197"/>
                <a:gd name="T12" fmla="*/ 45 w 191"/>
                <a:gd name="T13" fmla="*/ 40 h 197"/>
                <a:gd name="T14" fmla="*/ 88 w 191"/>
                <a:gd name="T15" fmla="*/ 44 h 197"/>
                <a:gd name="T16" fmla="*/ 118 w 191"/>
                <a:gd name="T17" fmla="*/ 113 h 197"/>
                <a:gd name="T18" fmla="*/ 144 w 191"/>
                <a:gd name="T19" fmla="*/ 129 h 197"/>
                <a:gd name="T20" fmla="*/ 112 w 191"/>
                <a:gd name="T21" fmla="*/ 109 h 197"/>
                <a:gd name="T22" fmla="*/ 65 w 191"/>
                <a:gd name="T23" fmla="*/ 115 h 197"/>
                <a:gd name="T24" fmla="*/ 0 w 191"/>
                <a:gd name="T25" fmla="*/ 116 h 197"/>
                <a:gd name="T26" fmla="*/ 26 w 191"/>
                <a:gd name="T27" fmla="*/ 174 h 197"/>
                <a:gd name="T28" fmla="*/ 61 w 191"/>
                <a:gd name="T29" fmla="*/ 136 h 197"/>
                <a:gd name="T30" fmla="*/ 57 w 191"/>
                <a:gd name="T31" fmla="*/ 148 h 197"/>
                <a:gd name="T32" fmla="*/ 126 w 191"/>
                <a:gd name="T33" fmla="*/ 140 h 197"/>
                <a:gd name="T34" fmla="*/ 55 w 191"/>
                <a:gd name="T35" fmla="*/ 153 h 197"/>
                <a:gd name="T36" fmla="*/ 30 w 191"/>
                <a:gd name="T37" fmla="*/ 180 h 197"/>
                <a:gd name="T38" fmla="*/ 32 w 191"/>
                <a:gd name="T39" fmla="*/ 182 h 197"/>
                <a:gd name="T40" fmla="*/ 180 w 191"/>
                <a:gd name="T41" fmla="*/ 159 h 197"/>
                <a:gd name="T42" fmla="*/ 185 w 191"/>
                <a:gd name="T43" fmla="*/ 129 h 197"/>
                <a:gd name="T44" fmla="*/ 120 w 191"/>
                <a:gd name="T45" fmla="*/ 32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1" h="197">
                  <a:moveTo>
                    <a:pt x="120" y="32"/>
                  </a:moveTo>
                  <a:cubicBezTo>
                    <a:pt x="112" y="23"/>
                    <a:pt x="99" y="9"/>
                    <a:pt x="83" y="3"/>
                  </a:cubicBezTo>
                  <a:cubicBezTo>
                    <a:pt x="72" y="0"/>
                    <a:pt x="47" y="5"/>
                    <a:pt x="47" y="5"/>
                  </a:cubicBezTo>
                  <a:cubicBezTo>
                    <a:pt x="44" y="27"/>
                    <a:pt x="44" y="27"/>
                    <a:pt x="44" y="27"/>
                  </a:cubicBezTo>
                  <a:cubicBezTo>
                    <a:pt x="40" y="29"/>
                    <a:pt x="40" y="29"/>
                    <a:pt x="40" y="29"/>
                  </a:cubicBezTo>
                  <a:cubicBezTo>
                    <a:pt x="40" y="33"/>
                    <a:pt x="40" y="33"/>
                    <a:pt x="40" y="33"/>
                  </a:cubicBezTo>
                  <a:cubicBezTo>
                    <a:pt x="40" y="33"/>
                    <a:pt x="40" y="37"/>
                    <a:pt x="45" y="40"/>
                  </a:cubicBezTo>
                  <a:cubicBezTo>
                    <a:pt x="50" y="42"/>
                    <a:pt x="73" y="53"/>
                    <a:pt x="88" y="44"/>
                  </a:cubicBezTo>
                  <a:cubicBezTo>
                    <a:pt x="118" y="60"/>
                    <a:pt x="105" y="91"/>
                    <a:pt x="118" y="113"/>
                  </a:cubicBezTo>
                  <a:cubicBezTo>
                    <a:pt x="123" y="120"/>
                    <a:pt x="131" y="127"/>
                    <a:pt x="144" y="129"/>
                  </a:cubicBezTo>
                  <a:cubicBezTo>
                    <a:pt x="144" y="129"/>
                    <a:pt x="115" y="131"/>
                    <a:pt x="112" y="109"/>
                  </a:cubicBezTo>
                  <a:cubicBezTo>
                    <a:pt x="101" y="104"/>
                    <a:pt x="82" y="99"/>
                    <a:pt x="65" y="115"/>
                  </a:cubicBezTo>
                  <a:cubicBezTo>
                    <a:pt x="51" y="100"/>
                    <a:pt x="14" y="100"/>
                    <a:pt x="0" y="116"/>
                  </a:cubicBezTo>
                  <a:cubicBezTo>
                    <a:pt x="6" y="141"/>
                    <a:pt x="18" y="163"/>
                    <a:pt x="26" y="174"/>
                  </a:cubicBezTo>
                  <a:cubicBezTo>
                    <a:pt x="52" y="156"/>
                    <a:pt x="61" y="136"/>
                    <a:pt x="61" y="136"/>
                  </a:cubicBezTo>
                  <a:cubicBezTo>
                    <a:pt x="60" y="140"/>
                    <a:pt x="59" y="144"/>
                    <a:pt x="57" y="148"/>
                  </a:cubicBezTo>
                  <a:cubicBezTo>
                    <a:pt x="103" y="167"/>
                    <a:pt x="126" y="140"/>
                    <a:pt x="126" y="140"/>
                  </a:cubicBezTo>
                  <a:cubicBezTo>
                    <a:pt x="107" y="171"/>
                    <a:pt x="63" y="157"/>
                    <a:pt x="55" y="153"/>
                  </a:cubicBezTo>
                  <a:cubicBezTo>
                    <a:pt x="48" y="166"/>
                    <a:pt x="38" y="175"/>
                    <a:pt x="30" y="180"/>
                  </a:cubicBezTo>
                  <a:cubicBezTo>
                    <a:pt x="32" y="181"/>
                    <a:pt x="32" y="182"/>
                    <a:pt x="32" y="182"/>
                  </a:cubicBezTo>
                  <a:cubicBezTo>
                    <a:pt x="88" y="197"/>
                    <a:pt x="154" y="177"/>
                    <a:pt x="180" y="159"/>
                  </a:cubicBezTo>
                  <a:cubicBezTo>
                    <a:pt x="191" y="151"/>
                    <a:pt x="188" y="138"/>
                    <a:pt x="185" y="129"/>
                  </a:cubicBezTo>
                  <a:cubicBezTo>
                    <a:pt x="172" y="91"/>
                    <a:pt x="134" y="49"/>
                    <a:pt x="120" y="3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grpSp>
        <p:nvGrpSpPr>
          <p:cNvPr id="48" name="Group 47"/>
          <p:cNvGrpSpPr/>
          <p:nvPr/>
        </p:nvGrpSpPr>
        <p:grpSpPr>
          <a:xfrm>
            <a:off x="3264841" y="1012374"/>
            <a:ext cx="2620438" cy="1872234"/>
            <a:chOff x="4366220" y="1349832"/>
            <a:chExt cx="3493008" cy="2496312"/>
          </a:xfrm>
        </p:grpSpPr>
        <p:sp>
          <p:nvSpPr>
            <p:cNvPr id="6" name="Yellow"/>
            <p:cNvSpPr/>
            <p:nvPr/>
          </p:nvSpPr>
          <p:spPr bwMode="auto">
            <a:xfrm>
              <a:off x="4366220" y="1349832"/>
              <a:ext cx="3493008" cy="2496312"/>
            </a:xfrm>
            <a:prstGeom prst="roundRect">
              <a:avLst>
                <a:gd name="adj" fmla="val 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spc="-15"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endParaRPr lang="en-US" sz="1700" spc="-15"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endParaRPr lang="en-US" sz="1700" spc="-15"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endParaRPr lang="en-US" sz="1700" spc="-15"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r>
                <a:rPr lang="en-US" sz="1700" spc="-45" dirty="0">
                  <a:solidFill>
                    <a:schemeClr val="tx1">
                      <a:alpha val="99000"/>
                    </a:schemeClr>
                  </a:solidFill>
                  <a:latin typeface="Segoe UI" pitchFamily="34" charset="0"/>
                  <a:ea typeface="Segoe UI" pitchFamily="34" charset="0"/>
                  <a:cs typeface="Segoe UI" pitchFamily="34" charset="0"/>
                </a:rPr>
                <a:t>Comprehensive Coverage</a:t>
              </a:r>
            </a:p>
          </p:txBody>
        </p:sp>
        <p:grpSp>
          <p:nvGrpSpPr>
            <p:cNvPr id="16" name="Group 15"/>
            <p:cNvGrpSpPr>
              <a:grpSpLocks noChangeAspect="1"/>
            </p:cNvGrpSpPr>
            <p:nvPr/>
          </p:nvGrpSpPr>
          <p:grpSpPr bwMode="black">
            <a:xfrm>
              <a:off x="5371041" y="1736438"/>
              <a:ext cx="1483366" cy="1287850"/>
              <a:chOff x="2462213" y="1598613"/>
              <a:chExt cx="4222750" cy="3667125"/>
            </a:xfrm>
          </p:grpSpPr>
          <p:sp>
            <p:nvSpPr>
              <p:cNvPr id="17" name="Rectangle 6"/>
              <p:cNvSpPr>
                <a:spLocks noChangeArrowheads="1"/>
              </p:cNvSpPr>
              <p:nvPr/>
            </p:nvSpPr>
            <p:spPr bwMode="black">
              <a:xfrm>
                <a:off x="5564188"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8" name="Rectangle 7"/>
              <p:cNvSpPr>
                <a:spLocks noChangeArrowheads="1"/>
              </p:cNvSpPr>
              <p:nvPr/>
            </p:nvSpPr>
            <p:spPr bwMode="black">
              <a:xfrm>
                <a:off x="5795963" y="3346451"/>
                <a:ext cx="112713"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9" name="Rectangle 8"/>
              <p:cNvSpPr>
                <a:spLocks noChangeArrowheads="1"/>
              </p:cNvSpPr>
              <p:nvPr/>
            </p:nvSpPr>
            <p:spPr bwMode="black">
              <a:xfrm>
                <a:off x="3092451"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0" name="Rectangle 9"/>
              <p:cNvSpPr>
                <a:spLocks noChangeArrowheads="1"/>
              </p:cNvSpPr>
              <p:nvPr/>
            </p:nvSpPr>
            <p:spPr bwMode="black">
              <a:xfrm>
                <a:off x="3324226" y="3346451"/>
                <a:ext cx="117475"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1" name="Freeform 10"/>
              <p:cNvSpPr>
                <a:spLocks/>
              </p:cNvSpPr>
              <p:nvPr/>
            </p:nvSpPr>
            <p:spPr bwMode="black">
              <a:xfrm>
                <a:off x="3902076" y="2506663"/>
                <a:ext cx="101600" cy="123825"/>
              </a:xfrm>
              <a:custGeom>
                <a:avLst/>
                <a:gdLst>
                  <a:gd name="T0" fmla="*/ 36 w 64"/>
                  <a:gd name="T1" fmla="*/ 78 h 78"/>
                  <a:gd name="T2" fmla="*/ 64 w 64"/>
                  <a:gd name="T3" fmla="*/ 64 h 78"/>
                  <a:gd name="T4" fmla="*/ 26 w 64"/>
                  <a:gd name="T5" fmla="*/ 0 h 78"/>
                  <a:gd name="T6" fmla="*/ 0 w 64"/>
                  <a:gd name="T7" fmla="*/ 17 h 78"/>
                  <a:gd name="T8" fmla="*/ 36 w 64"/>
                  <a:gd name="T9" fmla="*/ 78 h 78"/>
                </a:gdLst>
                <a:ahLst/>
                <a:cxnLst>
                  <a:cxn ang="0">
                    <a:pos x="T0" y="T1"/>
                  </a:cxn>
                  <a:cxn ang="0">
                    <a:pos x="T2" y="T3"/>
                  </a:cxn>
                  <a:cxn ang="0">
                    <a:pos x="T4" y="T5"/>
                  </a:cxn>
                  <a:cxn ang="0">
                    <a:pos x="T6" y="T7"/>
                  </a:cxn>
                  <a:cxn ang="0">
                    <a:pos x="T8" y="T9"/>
                  </a:cxn>
                </a:cxnLst>
                <a:rect l="0" t="0" r="r" b="b"/>
                <a:pathLst>
                  <a:path w="64" h="78">
                    <a:moveTo>
                      <a:pt x="36" y="78"/>
                    </a:moveTo>
                    <a:lnTo>
                      <a:pt x="64" y="64"/>
                    </a:lnTo>
                    <a:lnTo>
                      <a:pt x="26" y="0"/>
                    </a:lnTo>
                    <a:lnTo>
                      <a:pt x="0" y="17"/>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2" name="Freeform 11"/>
              <p:cNvSpPr>
                <a:spLocks/>
              </p:cNvSpPr>
              <p:nvPr/>
            </p:nvSpPr>
            <p:spPr bwMode="black">
              <a:xfrm>
                <a:off x="4017963" y="2709863"/>
                <a:ext cx="98425" cy="123825"/>
              </a:xfrm>
              <a:custGeom>
                <a:avLst/>
                <a:gdLst>
                  <a:gd name="T0" fmla="*/ 36 w 62"/>
                  <a:gd name="T1" fmla="*/ 78 h 78"/>
                  <a:gd name="T2" fmla="*/ 62 w 62"/>
                  <a:gd name="T3" fmla="*/ 61 h 78"/>
                  <a:gd name="T4" fmla="*/ 26 w 62"/>
                  <a:gd name="T5" fmla="*/ 0 h 78"/>
                  <a:gd name="T6" fmla="*/ 0 w 62"/>
                  <a:gd name="T7" fmla="*/ 14 h 78"/>
                  <a:gd name="T8" fmla="*/ 36 w 62"/>
                  <a:gd name="T9" fmla="*/ 78 h 78"/>
                </a:gdLst>
                <a:ahLst/>
                <a:cxnLst>
                  <a:cxn ang="0">
                    <a:pos x="T0" y="T1"/>
                  </a:cxn>
                  <a:cxn ang="0">
                    <a:pos x="T2" y="T3"/>
                  </a:cxn>
                  <a:cxn ang="0">
                    <a:pos x="T4" y="T5"/>
                  </a:cxn>
                  <a:cxn ang="0">
                    <a:pos x="T6" y="T7"/>
                  </a:cxn>
                  <a:cxn ang="0">
                    <a:pos x="T8" y="T9"/>
                  </a:cxn>
                </a:cxnLst>
                <a:rect l="0" t="0" r="r" b="b"/>
                <a:pathLst>
                  <a:path w="62" h="78">
                    <a:moveTo>
                      <a:pt x="36" y="78"/>
                    </a:moveTo>
                    <a:lnTo>
                      <a:pt x="62" y="61"/>
                    </a:lnTo>
                    <a:lnTo>
                      <a:pt x="26" y="0"/>
                    </a:lnTo>
                    <a:lnTo>
                      <a:pt x="0" y="14"/>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3" name="Freeform 12"/>
              <p:cNvSpPr>
                <a:spLocks/>
              </p:cNvSpPr>
              <p:nvPr/>
            </p:nvSpPr>
            <p:spPr bwMode="black">
              <a:xfrm>
                <a:off x="4873626" y="2709863"/>
                <a:ext cx="98425" cy="123825"/>
              </a:xfrm>
              <a:custGeom>
                <a:avLst/>
                <a:gdLst>
                  <a:gd name="T0" fmla="*/ 26 w 62"/>
                  <a:gd name="T1" fmla="*/ 78 h 78"/>
                  <a:gd name="T2" fmla="*/ 62 w 62"/>
                  <a:gd name="T3" fmla="*/ 14 h 78"/>
                  <a:gd name="T4" fmla="*/ 36 w 62"/>
                  <a:gd name="T5" fmla="*/ 0 h 78"/>
                  <a:gd name="T6" fmla="*/ 0 w 62"/>
                  <a:gd name="T7" fmla="*/ 61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4"/>
                    </a:lnTo>
                    <a:lnTo>
                      <a:pt x="36" y="0"/>
                    </a:lnTo>
                    <a:lnTo>
                      <a:pt x="0" y="61"/>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4" name="Freeform 13"/>
              <p:cNvSpPr>
                <a:spLocks/>
              </p:cNvSpPr>
              <p:nvPr/>
            </p:nvSpPr>
            <p:spPr bwMode="black">
              <a:xfrm>
                <a:off x="4989513" y="2506663"/>
                <a:ext cx="98425" cy="123825"/>
              </a:xfrm>
              <a:custGeom>
                <a:avLst/>
                <a:gdLst>
                  <a:gd name="T0" fmla="*/ 26 w 62"/>
                  <a:gd name="T1" fmla="*/ 78 h 78"/>
                  <a:gd name="T2" fmla="*/ 62 w 62"/>
                  <a:gd name="T3" fmla="*/ 17 h 78"/>
                  <a:gd name="T4" fmla="*/ 36 w 62"/>
                  <a:gd name="T5" fmla="*/ 0 h 78"/>
                  <a:gd name="T6" fmla="*/ 0 w 62"/>
                  <a:gd name="T7" fmla="*/ 64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7"/>
                    </a:lnTo>
                    <a:lnTo>
                      <a:pt x="36" y="0"/>
                    </a:lnTo>
                    <a:lnTo>
                      <a:pt x="0" y="64"/>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5" name="Freeform 14"/>
              <p:cNvSpPr>
                <a:spLocks/>
              </p:cNvSpPr>
              <p:nvPr/>
            </p:nvSpPr>
            <p:spPr bwMode="black">
              <a:xfrm>
                <a:off x="4017963" y="3990976"/>
                <a:ext cx="98425" cy="123825"/>
              </a:xfrm>
              <a:custGeom>
                <a:avLst/>
                <a:gdLst>
                  <a:gd name="T0" fmla="*/ 0 w 62"/>
                  <a:gd name="T1" fmla="*/ 64 h 78"/>
                  <a:gd name="T2" fmla="*/ 26 w 62"/>
                  <a:gd name="T3" fmla="*/ 78 h 78"/>
                  <a:gd name="T4" fmla="*/ 62 w 62"/>
                  <a:gd name="T5" fmla="*/ 14 h 78"/>
                  <a:gd name="T6" fmla="*/ 36 w 62"/>
                  <a:gd name="T7" fmla="*/ 0 h 78"/>
                  <a:gd name="T8" fmla="*/ 0 w 62"/>
                  <a:gd name="T9" fmla="*/ 64 h 78"/>
                </a:gdLst>
                <a:ahLst/>
                <a:cxnLst>
                  <a:cxn ang="0">
                    <a:pos x="T0" y="T1"/>
                  </a:cxn>
                  <a:cxn ang="0">
                    <a:pos x="T2" y="T3"/>
                  </a:cxn>
                  <a:cxn ang="0">
                    <a:pos x="T4" y="T5"/>
                  </a:cxn>
                  <a:cxn ang="0">
                    <a:pos x="T6" y="T7"/>
                  </a:cxn>
                  <a:cxn ang="0">
                    <a:pos x="T8" y="T9"/>
                  </a:cxn>
                </a:cxnLst>
                <a:rect l="0" t="0" r="r" b="b"/>
                <a:pathLst>
                  <a:path w="62" h="78">
                    <a:moveTo>
                      <a:pt x="0" y="64"/>
                    </a:moveTo>
                    <a:lnTo>
                      <a:pt x="26" y="78"/>
                    </a:lnTo>
                    <a:lnTo>
                      <a:pt x="62" y="14"/>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6" name="Freeform 15"/>
              <p:cNvSpPr>
                <a:spLocks/>
              </p:cNvSpPr>
              <p:nvPr/>
            </p:nvSpPr>
            <p:spPr bwMode="black">
              <a:xfrm>
                <a:off x="3902076" y="4189413"/>
                <a:ext cx="101600" cy="128588"/>
              </a:xfrm>
              <a:custGeom>
                <a:avLst/>
                <a:gdLst>
                  <a:gd name="T0" fmla="*/ 0 w 64"/>
                  <a:gd name="T1" fmla="*/ 64 h 81"/>
                  <a:gd name="T2" fmla="*/ 26 w 64"/>
                  <a:gd name="T3" fmla="*/ 81 h 81"/>
                  <a:gd name="T4" fmla="*/ 64 w 64"/>
                  <a:gd name="T5" fmla="*/ 17 h 81"/>
                  <a:gd name="T6" fmla="*/ 36 w 64"/>
                  <a:gd name="T7" fmla="*/ 0 h 81"/>
                  <a:gd name="T8" fmla="*/ 0 w 64"/>
                  <a:gd name="T9" fmla="*/ 64 h 81"/>
                </a:gdLst>
                <a:ahLst/>
                <a:cxnLst>
                  <a:cxn ang="0">
                    <a:pos x="T0" y="T1"/>
                  </a:cxn>
                  <a:cxn ang="0">
                    <a:pos x="T2" y="T3"/>
                  </a:cxn>
                  <a:cxn ang="0">
                    <a:pos x="T4" y="T5"/>
                  </a:cxn>
                  <a:cxn ang="0">
                    <a:pos x="T6" y="T7"/>
                  </a:cxn>
                  <a:cxn ang="0">
                    <a:pos x="T8" y="T9"/>
                  </a:cxn>
                </a:cxnLst>
                <a:rect l="0" t="0" r="r" b="b"/>
                <a:pathLst>
                  <a:path w="64" h="81">
                    <a:moveTo>
                      <a:pt x="0" y="64"/>
                    </a:moveTo>
                    <a:lnTo>
                      <a:pt x="26" y="81"/>
                    </a:lnTo>
                    <a:lnTo>
                      <a:pt x="64" y="17"/>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7" name="Freeform 16"/>
              <p:cNvSpPr>
                <a:spLocks/>
              </p:cNvSpPr>
              <p:nvPr/>
            </p:nvSpPr>
            <p:spPr bwMode="black">
              <a:xfrm>
                <a:off x="4989513" y="4189413"/>
                <a:ext cx="98425" cy="128588"/>
              </a:xfrm>
              <a:custGeom>
                <a:avLst/>
                <a:gdLst>
                  <a:gd name="T0" fmla="*/ 26 w 62"/>
                  <a:gd name="T1" fmla="*/ 0 h 81"/>
                  <a:gd name="T2" fmla="*/ 0 w 62"/>
                  <a:gd name="T3" fmla="*/ 17 h 81"/>
                  <a:gd name="T4" fmla="*/ 36 w 62"/>
                  <a:gd name="T5" fmla="*/ 81 h 81"/>
                  <a:gd name="T6" fmla="*/ 62 w 62"/>
                  <a:gd name="T7" fmla="*/ 64 h 81"/>
                  <a:gd name="T8" fmla="*/ 26 w 62"/>
                  <a:gd name="T9" fmla="*/ 0 h 81"/>
                </a:gdLst>
                <a:ahLst/>
                <a:cxnLst>
                  <a:cxn ang="0">
                    <a:pos x="T0" y="T1"/>
                  </a:cxn>
                  <a:cxn ang="0">
                    <a:pos x="T2" y="T3"/>
                  </a:cxn>
                  <a:cxn ang="0">
                    <a:pos x="T4" y="T5"/>
                  </a:cxn>
                  <a:cxn ang="0">
                    <a:pos x="T6" y="T7"/>
                  </a:cxn>
                  <a:cxn ang="0">
                    <a:pos x="T8" y="T9"/>
                  </a:cxn>
                </a:cxnLst>
                <a:rect l="0" t="0" r="r" b="b"/>
                <a:pathLst>
                  <a:path w="62" h="81">
                    <a:moveTo>
                      <a:pt x="26" y="0"/>
                    </a:moveTo>
                    <a:lnTo>
                      <a:pt x="0" y="17"/>
                    </a:lnTo>
                    <a:lnTo>
                      <a:pt x="36" y="81"/>
                    </a:lnTo>
                    <a:lnTo>
                      <a:pt x="62" y="64"/>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8" name="Freeform 17"/>
              <p:cNvSpPr>
                <a:spLocks/>
              </p:cNvSpPr>
              <p:nvPr/>
            </p:nvSpPr>
            <p:spPr bwMode="black">
              <a:xfrm>
                <a:off x="4873626" y="3990976"/>
                <a:ext cx="98425" cy="123825"/>
              </a:xfrm>
              <a:custGeom>
                <a:avLst/>
                <a:gdLst>
                  <a:gd name="T0" fmla="*/ 0 w 62"/>
                  <a:gd name="T1" fmla="*/ 14 h 78"/>
                  <a:gd name="T2" fmla="*/ 36 w 62"/>
                  <a:gd name="T3" fmla="*/ 78 h 78"/>
                  <a:gd name="T4" fmla="*/ 62 w 62"/>
                  <a:gd name="T5" fmla="*/ 64 h 78"/>
                  <a:gd name="T6" fmla="*/ 26 w 62"/>
                  <a:gd name="T7" fmla="*/ 0 h 78"/>
                  <a:gd name="T8" fmla="*/ 0 w 62"/>
                  <a:gd name="T9" fmla="*/ 14 h 78"/>
                </a:gdLst>
                <a:ahLst/>
                <a:cxnLst>
                  <a:cxn ang="0">
                    <a:pos x="T0" y="T1"/>
                  </a:cxn>
                  <a:cxn ang="0">
                    <a:pos x="T2" y="T3"/>
                  </a:cxn>
                  <a:cxn ang="0">
                    <a:pos x="T4" y="T5"/>
                  </a:cxn>
                  <a:cxn ang="0">
                    <a:pos x="T6" y="T7"/>
                  </a:cxn>
                  <a:cxn ang="0">
                    <a:pos x="T8" y="T9"/>
                  </a:cxn>
                </a:cxnLst>
                <a:rect l="0" t="0" r="r" b="b"/>
                <a:pathLst>
                  <a:path w="62" h="78">
                    <a:moveTo>
                      <a:pt x="0" y="14"/>
                    </a:moveTo>
                    <a:lnTo>
                      <a:pt x="36" y="78"/>
                    </a:lnTo>
                    <a:lnTo>
                      <a:pt x="62" y="64"/>
                    </a:lnTo>
                    <a:lnTo>
                      <a:pt x="26" y="0"/>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9" name="Freeform 18"/>
              <p:cNvSpPr>
                <a:spLocks/>
              </p:cNvSpPr>
              <p:nvPr/>
            </p:nvSpPr>
            <p:spPr bwMode="black">
              <a:xfrm>
                <a:off x="3579813" y="2892426"/>
                <a:ext cx="1833563" cy="1068388"/>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0" name="Freeform 19"/>
              <p:cNvSpPr>
                <a:spLocks noEditPoints="1"/>
              </p:cNvSpPr>
              <p:nvPr/>
            </p:nvSpPr>
            <p:spPr bwMode="black">
              <a:xfrm>
                <a:off x="3321051" y="1598613"/>
                <a:ext cx="750888" cy="522288"/>
              </a:xfrm>
              <a:custGeom>
                <a:avLst/>
                <a:gdLst>
                  <a:gd name="T0" fmla="*/ 174 w 200"/>
                  <a:gd name="T1" fmla="*/ 0 h 139"/>
                  <a:gd name="T2" fmla="*/ 26 w 200"/>
                  <a:gd name="T3" fmla="*/ 0 h 139"/>
                  <a:gd name="T4" fmla="*/ 0 w 200"/>
                  <a:gd name="T5" fmla="*/ 27 h 139"/>
                  <a:gd name="T6" fmla="*/ 0 w 200"/>
                  <a:gd name="T7" fmla="*/ 113 h 139"/>
                  <a:gd name="T8" fmla="*/ 26 w 200"/>
                  <a:gd name="T9" fmla="*/ 139 h 139"/>
                  <a:gd name="T10" fmla="*/ 174 w 200"/>
                  <a:gd name="T11" fmla="*/ 139 h 139"/>
                  <a:gd name="T12" fmla="*/ 200 w 200"/>
                  <a:gd name="T13" fmla="*/ 113 h 139"/>
                  <a:gd name="T14" fmla="*/ 200 w 200"/>
                  <a:gd name="T15" fmla="*/ 27 h 139"/>
                  <a:gd name="T16" fmla="*/ 174 w 200"/>
                  <a:gd name="T17" fmla="*/ 0 h 139"/>
                  <a:gd name="T18" fmla="*/ 185 w 200"/>
                  <a:gd name="T19" fmla="*/ 113 h 139"/>
                  <a:gd name="T20" fmla="*/ 174 w 200"/>
                  <a:gd name="T21" fmla="*/ 124 h 139"/>
                  <a:gd name="T22" fmla="*/ 26 w 200"/>
                  <a:gd name="T23" fmla="*/ 124 h 139"/>
                  <a:gd name="T24" fmla="*/ 15 w 200"/>
                  <a:gd name="T25" fmla="*/ 113 h 139"/>
                  <a:gd name="T26" fmla="*/ 15 w 200"/>
                  <a:gd name="T27" fmla="*/ 27 h 139"/>
                  <a:gd name="T28" fmla="*/ 26 w 200"/>
                  <a:gd name="T29" fmla="*/ 16 h 139"/>
                  <a:gd name="T30" fmla="*/ 174 w 200"/>
                  <a:gd name="T31" fmla="*/ 16 h 139"/>
                  <a:gd name="T32" fmla="*/ 185 w 200"/>
                  <a:gd name="T33" fmla="*/ 27 h 139"/>
                  <a:gd name="T34" fmla="*/ 185 w 200"/>
                  <a:gd name="T35" fmla="*/ 11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39">
                    <a:moveTo>
                      <a:pt x="174" y="0"/>
                    </a:moveTo>
                    <a:cubicBezTo>
                      <a:pt x="26" y="0"/>
                      <a:pt x="26" y="0"/>
                      <a:pt x="26" y="0"/>
                    </a:cubicBezTo>
                    <a:cubicBezTo>
                      <a:pt x="12" y="0"/>
                      <a:pt x="0" y="12"/>
                      <a:pt x="0" y="27"/>
                    </a:cubicBezTo>
                    <a:cubicBezTo>
                      <a:pt x="0" y="113"/>
                      <a:pt x="0" y="113"/>
                      <a:pt x="0" y="113"/>
                    </a:cubicBezTo>
                    <a:cubicBezTo>
                      <a:pt x="0" y="127"/>
                      <a:pt x="12" y="139"/>
                      <a:pt x="26" y="139"/>
                    </a:cubicBezTo>
                    <a:cubicBezTo>
                      <a:pt x="174" y="139"/>
                      <a:pt x="174" y="139"/>
                      <a:pt x="174" y="139"/>
                    </a:cubicBezTo>
                    <a:cubicBezTo>
                      <a:pt x="188" y="139"/>
                      <a:pt x="200" y="127"/>
                      <a:pt x="200" y="113"/>
                    </a:cubicBezTo>
                    <a:cubicBezTo>
                      <a:pt x="200" y="27"/>
                      <a:pt x="200" y="27"/>
                      <a:pt x="200" y="27"/>
                    </a:cubicBezTo>
                    <a:cubicBezTo>
                      <a:pt x="200" y="12"/>
                      <a:pt x="188" y="0"/>
                      <a:pt x="174" y="0"/>
                    </a:cubicBezTo>
                    <a:moveTo>
                      <a:pt x="185" y="113"/>
                    </a:moveTo>
                    <a:cubicBezTo>
                      <a:pt x="185" y="119"/>
                      <a:pt x="180" y="124"/>
                      <a:pt x="174" y="124"/>
                    </a:cubicBezTo>
                    <a:cubicBezTo>
                      <a:pt x="26" y="124"/>
                      <a:pt x="26" y="124"/>
                      <a:pt x="26" y="124"/>
                    </a:cubicBezTo>
                    <a:cubicBezTo>
                      <a:pt x="20" y="124"/>
                      <a:pt x="15" y="119"/>
                      <a:pt x="15" y="113"/>
                    </a:cubicBezTo>
                    <a:cubicBezTo>
                      <a:pt x="15" y="27"/>
                      <a:pt x="15" y="27"/>
                      <a:pt x="15" y="27"/>
                    </a:cubicBezTo>
                    <a:cubicBezTo>
                      <a:pt x="15" y="21"/>
                      <a:pt x="20" y="16"/>
                      <a:pt x="26" y="16"/>
                    </a:cubicBezTo>
                    <a:cubicBezTo>
                      <a:pt x="174" y="16"/>
                      <a:pt x="174" y="16"/>
                      <a:pt x="174" y="16"/>
                    </a:cubicBezTo>
                    <a:cubicBezTo>
                      <a:pt x="180" y="16"/>
                      <a:pt x="185" y="21"/>
                      <a:pt x="185" y="27"/>
                    </a:cubicBezTo>
                    <a:lnTo>
                      <a:pt x="185" y="1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1" name="Freeform 20"/>
              <p:cNvSpPr>
                <a:spLocks/>
              </p:cNvSpPr>
              <p:nvPr/>
            </p:nvSpPr>
            <p:spPr bwMode="black">
              <a:xfrm>
                <a:off x="3178176" y="2154238"/>
                <a:ext cx="1035050" cy="239713"/>
              </a:xfrm>
              <a:custGeom>
                <a:avLst/>
                <a:gdLst>
                  <a:gd name="T0" fmla="*/ 7 w 276"/>
                  <a:gd name="T1" fmla="*/ 64 h 64"/>
                  <a:gd name="T2" fmla="*/ 269 w 276"/>
                  <a:gd name="T3" fmla="*/ 64 h 64"/>
                  <a:gd name="T4" fmla="*/ 276 w 276"/>
                  <a:gd name="T5" fmla="*/ 57 h 64"/>
                  <a:gd name="T6" fmla="*/ 276 w 276"/>
                  <a:gd name="T7" fmla="*/ 54 h 64"/>
                  <a:gd name="T8" fmla="*/ 272 w 276"/>
                  <a:gd name="T9" fmla="*/ 42 h 64"/>
                  <a:gd name="T10" fmla="*/ 240 w 276"/>
                  <a:gd name="T11" fmla="*/ 5 h 64"/>
                  <a:gd name="T12" fmla="*/ 229 w 276"/>
                  <a:gd name="T13" fmla="*/ 0 h 64"/>
                  <a:gd name="T14" fmla="*/ 47 w 276"/>
                  <a:gd name="T15" fmla="*/ 0 h 64"/>
                  <a:gd name="T16" fmla="*/ 36 w 276"/>
                  <a:gd name="T17" fmla="*/ 5 h 64"/>
                  <a:gd name="T18" fmla="*/ 4 w 276"/>
                  <a:gd name="T19" fmla="*/ 42 h 64"/>
                  <a:gd name="T20" fmla="*/ 0 w 276"/>
                  <a:gd name="T21" fmla="*/ 54 h 64"/>
                  <a:gd name="T22" fmla="*/ 0 w 276"/>
                  <a:gd name="T23" fmla="*/ 57 h 64"/>
                  <a:gd name="T24" fmla="*/ 7 w 27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6" h="64">
                    <a:moveTo>
                      <a:pt x="7" y="64"/>
                    </a:moveTo>
                    <a:cubicBezTo>
                      <a:pt x="269" y="64"/>
                      <a:pt x="269" y="64"/>
                      <a:pt x="269" y="64"/>
                    </a:cubicBezTo>
                    <a:cubicBezTo>
                      <a:pt x="273" y="64"/>
                      <a:pt x="276" y="61"/>
                      <a:pt x="276" y="57"/>
                    </a:cubicBezTo>
                    <a:cubicBezTo>
                      <a:pt x="276" y="54"/>
                      <a:pt x="276" y="54"/>
                      <a:pt x="276" y="54"/>
                    </a:cubicBezTo>
                    <a:cubicBezTo>
                      <a:pt x="276" y="50"/>
                      <a:pt x="274" y="45"/>
                      <a:pt x="272" y="42"/>
                    </a:cubicBezTo>
                    <a:cubicBezTo>
                      <a:pt x="240" y="5"/>
                      <a:pt x="240" y="5"/>
                      <a:pt x="240" y="5"/>
                    </a:cubicBezTo>
                    <a:cubicBezTo>
                      <a:pt x="238" y="2"/>
                      <a:pt x="233" y="0"/>
                      <a:pt x="229" y="0"/>
                    </a:cubicBezTo>
                    <a:cubicBezTo>
                      <a:pt x="47" y="0"/>
                      <a:pt x="47" y="0"/>
                      <a:pt x="47" y="0"/>
                    </a:cubicBezTo>
                    <a:cubicBezTo>
                      <a:pt x="43" y="0"/>
                      <a:pt x="38" y="2"/>
                      <a:pt x="36" y="5"/>
                    </a:cubicBezTo>
                    <a:cubicBezTo>
                      <a:pt x="4" y="42"/>
                      <a:pt x="4" y="42"/>
                      <a:pt x="4" y="42"/>
                    </a:cubicBezTo>
                    <a:cubicBezTo>
                      <a:pt x="2" y="45"/>
                      <a:pt x="0" y="50"/>
                      <a:pt x="0" y="54"/>
                    </a:cubicBezTo>
                    <a:cubicBezTo>
                      <a:pt x="0" y="57"/>
                      <a:pt x="0" y="57"/>
                      <a:pt x="0" y="57"/>
                    </a:cubicBezTo>
                    <a:cubicBezTo>
                      <a:pt x="0" y="61"/>
                      <a:pt x="3" y="64"/>
                      <a:pt x="7"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2" name="Freeform 21"/>
              <p:cNvSpPr>
                <a:spLocks noEditPoints="1"/>
              </p:cNvSpPr>
              <p:nvPr/>
            </p:nvSpPr>
            <p:spPr bwMode="black">
              <a:xfrm>
                <a:off x="4730751" y="1639888"/>
                <a:ext cx="781050" cy="608013"/>
              </a:xfrm>
              <a:custGeom>
                <a:avLst/>
                <a:gdLst>
                  <a:gd name="T0" fmla="*/ 177 w 208"/>
                  <a:gd name="T1" fmla="*/ 0 h 162"/>
                  <a:gd name="T2" fmla="*/ 31 w 208"/>
                  <a:gd name="T3" fmla="*/ 0 h 162"/>
                  <a:gd name="T4" fmla="*/ 0 w 208"/>
                  <a:gd name="T5" fmla="*/ 31 h 162"/>
                  <a:gd name="T6" fmla="*/ 0 w 208"/>
                  <a:gd name="T7" fmla="*/ 131 h 162"/>
                  <a:gd name="T8" fmla="*/ 31 w 208"/>
                  <a:gd name="T9" fmla="*/ 162 h 162"/>
                  <a:gd name="T10" fmla="*/ 177 w 208"/>
                  <a:gd name="T11" fmla="*/ 162 h 162"/>
                  <a:gd name="T12" fmla="*/ 208 w 208"/>
                  <a:gd name="T13" fmla="*/ 131 h 162"/>
                  <a:gd name="T14" fmla="*/ 208 w 208"/>
                  <a:gd name="T15" fmla="*/ 31 h 162"/>
                  <a:gd name="T16" fmla="*/ 177 w 208"/>
                  <a:gd name="T17" fmla="*/ 0 h 162"/>
                  <a:gd name="T18" fmla="*/ 190 w 208"/>
                  <a:gd name="T19" fmla="*/ 131 h 162"/>
                  <a:gd name="T20" fmla="*/ 177 w 208"/>
                  <a:gd name="T21" fmla="*/ 144 h 162"/>
                  <a:gd name="T22" fmla="*/ 31 w 208"/>
                  <a:gd name="T23" fmla="*/ 144 h 162"/>
                  <a:gd name="T24" fmla="*/ 18 w 208"/>
                  <a:gd name="T25" fmla="*/ 131 h 162"/>
                  <a:gd name="T26" fmla="*/ 18 w 208"/>
                  <a:gd name="T27" fmla="*/ 31 h 162"/>
                  <a:gd name="T28" fmla="*/ 31 w 208"/>
                  <a:gd name="T29" fmla="*/ 18 h 162"/>
                  <a:gd name="T30" fmla="*/ 177 w 208"/>
                  <a:gd name="T31" fmla="*/ 18 h 162"/>
                  <a:gd name="T32" fmla="*/ 190 w 208"/>
                  <a:gd name="T33" fmla="*/ 31 h 162"/>
                  <a:gd name="T34" fmla="*/ 190 w 208"/>
                  <a:gd name="T35" fmla="*/ 13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 h="162">
                    <a:moveTo>
                      <a:pt x="177" y="0"/>
                    </a:moveTo>
                    <a:cubicBezTo>
                      <a:pt x="31" y="0"/>
                      <a:pt x="31" y="0"/>
                      <a:pt x="31" y="0"/>
                    </a:cubicBezTo>
                    <a:cubicBezTo>
                      <a:pt x="14" y="0"/>
                      <a:pt x="0" y="14"/>
                      <a:pt x="0" y="31"/>
                    </a:cubicBezTo>
                    <a:cubicBezTo>
                      <a:pt x="0" y="131"/>
                      <a:pt x="0" y="131"/>
                      <a:pt x="0" y="131"/>
                    </a:cubicBezTo>
                    <a:cubicBezTo>
                      <a:pt x="0" y="148"/>
                      <a:pt x="14" y="162"/>
                      <a:pt x="31" y="162"/>
                    </a:cubicBezTo>
                    <a:cubicBezTo>
                      <a:pt x="177" y="162"/>
                      <a:pt x="177" y="162"/>
                      <a:pt x="177" y="162"/>
                    </a:cubicBezTo>
                    <a:cubicBezTo>
                      <a:pt x="194" y="162"/>
                      <a:pt x="208" y="148"/>
                      <a:pt x="208" y="131"/>
                    </a:cubicBezTo>
                    <a:cubicBezTo>
                      <a:pt x="208" y="31"/>
                      <a:pt x="208" y="31"/>
                      <a:pt x="208" y="31"/>
                    </a:cubicBezTo>
                    <a:cubicBezTo>
                      <a:pt x="208" y="14"/>
                      <a:pt x="194" y="0"/>
                      <a:pt x="177" y="0"/>
                    </a:cubicBezTo>
                    <a:moveTo>
                      <a:pt x="190" y="131"/>
                    </a:moveTo>
                    <a:cubicBezTo>
                      <a:pt x="190" y="138"/>
                      <a:pt x="184" y="144"/>
                      <a:pt x="177" y="144"/>
                    </a:cubicBezTo>
                    <a:cubicBezTo>
                      <a:pt x="31" y="144"/>
                      <a:pt x="31" y="144"/>
                      <a:pt x="31" y="144"/>
                    </a:cubicBezTo>
                    <a:cubicBezTo>
                      <a:pt x="24" y="144"/>
                      <a:pt x="18" y="138"/>
                      <a:pt x="18" y="131"/>
                    </a:cubicBezTo>
                    <a:cubicBezTo>
                      <a:pt x="18" y="31"/>
                      <a:pt x="18" y="31"/>
                      <a:pt x="18" y="31"/>
                    </a:cubicBezTo>
                    <a:cubicBezTo>
                      <a:pt x="18" y="24"/>
                      <a:pt x="24" y="18"/>
                      <a:pt x="31" y="18"/>
                    </a:cubicBezTo>
                    <a:cubicBezTo>
                      <a:pt x="177" y="18"/>
                      <a:pt x="177" y="18"/>
                      <a:pt x="177" y="18"/>
                    </a:cubicBezTo>
                    <a:cubicBezTo>
                      <a:pt x="184" y="18"/>
                      <a:pt x="190" y="24"/>
                      <a:pt x="190" y="31"/>
                    </a:cubicBezTo>
                    <a:lnTo>
                      <a:pt x="190" y="1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3" name="Freeform 22"/>
              <p:cNvSpPr>
                <a:spLocks/>
              </p:cNvSpPr>
              <p:nvPr/>
            </p:nvSpPr>
            <p:spPr bwMode="black">
              <a:xfrm>
                <a:off x="4911726" y="2289176"/>
                <a:ext cx="419100" cy="104775"/>
              </a:xfrm>
              <a:custGeom>
                <a:avLst/>
                <a:gdLst>
                  <a:gd name="T0" fmla="*/ 112 w 112"/>
                  <a:gd name="T1" fmla="*/ 25 h 28"/>
                  <a:gd name="T2" fmla="*/ 112 w 112"/>
                  <a:gd name="T3" fmla="*/ 23 h 28"/>
                  <a:gd name="T4" fmla="*/ 110 w 112"/>
                  <a:gd name="T5" fmla="*/ 18 h 28"/>
                  <a:gd name="T6" fmla="*/ 96 w 112"/>
                  <a:gd name="T7" fmla="*/ 2 h 28"/>
                  <a:gd name="T8" fmla="*/ 91 w 112"/>
                  <a:gd name="T9" fmla="*/ 0 h 28"/>
                  <a:gd name="T10" fmla="*/ 21 w 112"/>
                  <a:gd name="T11" fmla="*/ 0 h 28"/>
                  <a:gd name="T12" fmla="*/ 16 w 112"/>
                  <a:gd name="T13" fmla="*/ 2 h 28"/>
                  <a:gd name="T14" fmla="*/ 2 w 112"/>
                  <a:gd name="T15" fmla="*/ 18 h 28"/>
                  <a:gd name="T16" fmla="*/ 0 w 112"/>
                  <a:gd name="T17" fmla="*/ 23 h 28"/>
                  <a:gd name="T18" fmla="*/ 0 w 112"/>
                  <a:gd name="T19" fmla="*/ 25 h 28"/>
                  <a:gd name="T20" fmla="*/ 3 w 112"/>
                  <a:gd name="T21" fmla="*/ 28 h 28"/>
                  <a:gd name="T22" fmla="*/ 109 w 112"/>
                  <a:gd name="T23" fmla="*/ 28 h 28"/>
                  <a:gd name="T24" fmla="*/ 112 w 112"/>
                  <a:gd name="T25"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28">
                    <a:moveTo>
                      <a:pt x="112" y="25"/>
                    </a:moveTo>
                    <a:cubicBezTo>
                      <a:pt x="112" y="23"/>
                      <a:pt x="112" y="23"/>
                      <a:pt x="112" y="23"/>
                    </a:cubicBezTo>
                    <a:cubicBezTo>
                      <a:pt x="112" y="22"/>
                      <a:pt x="111" y="20"/>
                      <a:pt x="110" y="18"/>
                    </a:cubicBezTo>
                    <a:cubicBezTo>
                      <a:pt x="96" y="2"/>
                      <a:pt x="96" y="2"/>
                      <a:pt x="96" y="2"/>
                    </a:cubicBezTo>
                    <a:cubicBezTo>
                      <a:pt x="95" y="1"/>
                      <a:pt x="93" y="0"/>
                      <a:pt x="91" y="0"/>
                    </a:cubicBezTo>
                    <a:cubicBezTo>
                      <a:pt x="21" y="0"/>
                      <a:pt x="21" y="0"/>
                      <a:pt x="21" y="0"/>
                    </a:cubicBezTo>
                    <a:cubicBezTo>
                      <a:pt x="19" y="0"/>
                      <a:pt x="17" y="1"/>
                      <a:pt x="16" y="2"/>
                    </a:cubicBezTo>
                    <a:cubicBezTo>
                      <a:pt x="2" y="18"/>
                      <a:pt x="2" y="18"/>
                      <a:pt x="2" y="18"/>
                    </a:cubicBezTo>
                    <a:cubicBezTo>
                      <a:pt x="1" y="20"/>
                      <a:pt x="0" y="22"/>
                      <a:pt x="0" y="23"/>
                    </a:cubicBezTo>
                    <a:cubicBezTo>
                      <a:pt x="0" y="25"/>
                      <a:pt x="0" y="25"/>
                      <a:pt x="0" y="25"/>
                    </a:cubicBezTo>
                    <a:cubicBezTo>
                      <a:pt x="0" y="26"/>
                      <a:pt x="1" y="28"/>
                      <a:pt x="3" y="28"/>
                    </a:cubicBezTo>
                    <a:cubicBezTo>
                      <a:pt x="109" y="28"/>
                      <a:pt x="109" y="28"/>
                      <a:pt x="109" y="28"/>
                    </a:cubicBezTo>
                    <a:cubicBezTo>
                      <a:pt x="111" y="28"/>
                      <a:pt x="112" y="26"/>
                      <a:pt x="112" y="2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4" name="Freeform 23"/>
              <p:cNvSpPr>
                <a:spLocks noEditPoints="1"/>
              </p:cNvSpPr>
              <p:nvPr/>
            </p:nvSpPr>
            <p:spPr bwMode="black">
              <a:xfrm>
                <a:off x="5586413" y="1639888"/>
                <a:ext cx="385763" cy="754063"/>
              </a:xfrm>
              <a:custGeom>
                <a:avLst/>
                <a:gdLst>
                  <a:gd name="T0" fmla="*/ 89 w 103"/>
                  <a:gd name="T1" fmla="*/ 0 h 201"/>
                  <a:gd name="T2" fmla="*/ 13 w 103"/>
                  <a:gd name="T3" fmla="*/ 0 h 201"/>
                  <a:gd name="T4" fmla="*/ 0 w 103"/>
                  <a:gd name="T5" fmla="*/ 13 h 201"/>
                  <a:gd name="T6" fmla="*/ 0 w 103"/>
                  <a:gd name="T7" fmla="*/ 187 h 201"/>
                  <a:gd name="T8" fmla="*/ 13 w 103"/>
                  <a:gd name="T9" fmla="*/ 201 h 201"/>
                  <a:gd name="T10" fmla="*/ 89 w 103"/>
                  <a:gd name="T11" fmla="*/ 201 h 201"/>
                  <a:gd name="T12" fmla="*/ 103 w 103"/>
                  <a:gd name="T13" fmla="*/ 187 h 201"/>
                  <a:gd name="T14" fmla="*/ 103 w 103"/>
                  <a:gd name="T15" fmla="*/ 13 h 201"/>
                  <a:gd name="T16" fmla="*/ 89 w 103"/>
                  <a:gd name="T17" fmla="*/ 0 h 201"/>
                  <a:gd name="T18" fmla="*/ 52 w 103"/>
                  <a:gd name="T19" fmla="*/ 187 h 201"/>
                  <a:gd name="T20" fmla="*/ 40 w 103"/>
                  <a:gd name="T21" fmla="*/ 175 h 201"/>
                  <a:gd name="T22" fmla="*/ 52 w 103"/>
                  <a:gd name="T23" fmla="*/ 163 h 201"/>
                  <a:gd name="T24" fmla="*/ 63 w 103"/>
                  <a:gd name="T25" fmla="*/ 175 h 201"/>
                  <a:gd name="T26" fmla="*/ 52 w 103"/>
                  <a:gd name="T27" fmla="*/ 18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201">
                    <a:moveTo>
                      <a:pt x="89" y="0"/>
                    </a:moveTo>
                    <a:cubicBezTo>
                      <a:pt x="13" y="0"/>
                      <a:pt x="13" y="0"/>
                      <a:pt x="13" y="0"/>
                    </a:cubicBezTo>
                    <a:cubicBezTo>
                      <a:pt x="6" y="0"/>
                      <a:pt x="0" y="6"/>
                      <a:pt x="0" y="13"/>
                    </a:cubicBezTo>
                    <a:cubicBezTo>
                      <a:pt x="0" y="187"/>
                      <a:pt x="0" y="187"/>
                      <a:pt x="0" y="187"/>
                    </a:cubicBezTo>
                    <a:cubicBezTo>
                      <a:pt x="0" y="195"/>
                      <a:pt x="6" y="201"/>
                      <a:pt x="13" y="201"/>
                    </a:cubicBezTo>
                    <a:cubicBezTo>
                      <a:pt x="89" y="201"/>
                      <a:pt x="89" y="201"/>
                      <a:pt x="89" y="201"/>
                    </a:cubicBezTo>
                    <a:cubicBezTo>
                      <a:pt x="97" y="201"/>
                      <a:pt x="103" y="195"/>
                      <a:pt x="103" y="187"/>
                    </a:cubicBezTo>
                    <a:cubicBezTo>
                      <a:pt x="103" y="13"/>
                      <a:pt x="103" y="13"/>
                      <a:pt x="103" y="13"/>
                    </a:cubicBezTo>
                    <a:cubicBezTo>
                      <a:pt x="103" y="6"/>
                      <a:pt x="97" y="0"/>
                      <a:pt x="89" y="0"/>
                    </a:cubicBezTo>
                    <a:moveTo>
                      <a:pt x="52" y="187"/>
                    </a:moveTo>
                    <a:cubicBezTo>
                      <a:pt x="45" y="187"/>
                      <a:pt x="40" y="181"/>
                      <a:pt x="40" y="175"/>
                    </a:cubicBezTo>
                    <a:cubicBezTo>
                      <a:pt x="40" y="168"/>
                      <a:pt x="45" y="163"/>
                      <a:pt x="52" y="163"/>
                    </a:cubicBezTo>
                    <a:cubicBezTo>
                      <a:pt x="58" y="163"/>
                      <a:pt x="63" y="168"/>
                      <a:pt x="63" y="175"/>
                    </a:cubicBezTo>
                    <a:cubicBezTo>
                      <a:pt x="63" y="181"/>
                      <a:pt x="58" y="187"/>
                      <a:pt x="52" y="18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5" name="Freeform 24"/>
              <p:cNvSpPr>
                <a:spLocks noEditPoints="1"/>
              </p:cNvSpPr>
              <p:nvPr/>
            </p:nvSpPr>
            <p:spPr bwMode="black">
              <a:xfrm>
                <a:off x="2462213" y="3032126"/>
                <a:ext cx="525463" cy="804863"/>
              </a:xfrm>
              <a:custGeom>
                <a:avLst/>
                <a:gdLst>
                  <a:gd name="T0" fmla="*/ 109 w 140"/>
                  <a:gd name="T1" fmla="*/ 0 h 215"/>
                  <a:gd name="T2" fmla="*/ 31 w 140"/>
                  <a:gd name="T3" fmla="*/ 0 h 215"/>
                  <a:gd name="T4" fmla="*/ 0 w 140"/>
                  <a:gd name="T5" fmla="*/ 30 h 215"/>
                  <a:gd name="T6" fmla="*/ 0 w 140"/>
                  <a:gd name="T7" fmla="*/ 184 h 215"/>
                  <a:gd name="T8" fmla="*/ 31 w 140"/>
                  <a:gd name="T9" fmla="*/ 215 h 215"/>
                  <a:gd name="T10" fmla="*/ 109 w 140"/>
                  <a:gd name="T11" fmla="*/ 215 h 215"/>
                  <a:gd name="T12" fmla="*/ 140 w 140"/>
                  <a:gd name="T13" fmla="*/ 184 h 215"/>
                  <a:gd name="T14" fmla="*/ 140 w 140"/>
                  <a:gd name="T15" fmla="*/ 30 h 215"/>
                  <a:gd name="T16" fmla="*/ 109 w 140"/>
                  <a:gd name="T17" fmla="*/ 0 h 215"/>
                  <a:gd name="T18" fmla="*/ 122 w 140"/>
                  <a:gd name="T19" fmla="*/ 177 h 215"/>
                  <a:gd name="T20" fmla="*/ 109 w 140"/>
                  <a:gd name="T21" fmla="*/ 195 h 215"/>
                  <a:gd name="T22" fmla="*/ 31 w 140"/>
                  <a:gd name="T23" fmla="*/ 195 h 215"/>
                  <a:gd name="T24" fmla="*/ 18 w 140"/>
                  <a:gd name="T25" fmla="*/ 177 h 215"/>
                  <a:gd name="T26" fmla="*/ 18 w 140"/>
                  <a:gd name="T27" fmla="*/ 35 h 215"/>
                  <a:gd name="T28" fmla="*/ 31 w 140"/>
                  <a:gd name="T29" fmla="*/ 18 h 215"/>
                  <a:gd name="T30" fmla="*/ 109 w 140"/>
                  <a:gd name="T31" fmla="*/ 18 h 215"/>
                  <a:gd name="T32" fmla="*/ 122 w 140"/>
                  <a:gd name="T33" fmla="*/ 35 h 215"/>
                  <a:gd name="T34" fmla="*/ 122 w 140"/>
                  <a:gd name="T35" fmla="*/ 17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215">
                    <a:moveTo>
                      <a:pt x="109" y="0"/>
                    </a:moveTo>
                    <a:cubicBezTo>
                      <a:pt x="31" y="0"/>
                      <a:pt x="31" y="0"/>
                      <a:pt x="31" y="0"/>
                    </a:cubicBezTo>
                    <a:cubicBezTo>
                      <a:pt x="14" y="0"/>
                      <a:pt x="0" y="13"/>
                      <a:pt x="0" y="30"/>
                    </a:cubicBezTo>
                    <a:cubicBezTo>
                      <a:pt x="0" y="184"/>
                      <a:pt x="0" y="184"/>
                      <a:pt x="0" y="184"/>
                    </a:cubicBezTo>
                    <a:cubicBezTo>
                      <a:pt x="0" y="201"/>
                      <a:pt x="14" y="215"/>
                      <a:pt x="31" y="215"/>
                    </a:cubicBezTo>
                    <a:cubicBezTo>
                      <a:pt x="109" y="215"/>
                      <a:pt x="109" y="215"/>
                      <a:pt x="109" y="215"/>
                    </a:cubicBezTo>
                    <a:cubicBezTo>
                      <a:pt x="126" y="215"/>
                      <a:pt x="140" y="201"/>
                      <a:pt x="140" y="184"/>
                    </a:cubicBezTo>
                    <a:cubicBezTo>
                      <a:pt x="140" y="30"/>
                      <a:pt x="140" y="30"/>
                      <a:pt x="140" y="30"/>
                    </a:cubicBezTo>
                    <a:cubicBezTo>
                      <a:pt x="140" y="13"/>
                      <a:pt x="126" y="0"/>
                      <a:pt x="109" y="0"/>
                    </a:cubicBezTo>
                    <a:moveTo>
                      <a:pt x="122" y="177"/>
                    </a:moveTo>
                    <a:cubicBezTo>
                      <a:pt x="122" y="187"/>
                      <a:pt x="116" y="195"/>
                      <a:pt x="109" y="195"/>
                    </a:cubicBezTo>
                    <a:cubicBezTo>
                      <a:pt x="31" y="195"/>
                      <a:pt x="31" y="195"/>
                      <a:pt x="31" y="195"/>
                    </a:cubicBezTo>
                    <a:cubicBezTo>
                      <a:pt x="24" y="195"/>
                      <a:pt x="18" y="187"/>
                      <a:pt x="18" y="177"/>
                    </a:cubicBezTo>
                    <a:cubicBezTo>
                      <a:pt x="18" y="35"/>
                      <a:pt x="18" y="35"/>
                      <a:pt x="18" y="35"/>
                    </a:cubicBezTo>
                    <a:cubicBezTo>
                      <a:pt x="18" y="26"/>
                      <a:pt x="24" y="18"/>
                      <a:pt x="31" y="18"/>
                    </a:cubicBezTo>
                    <a:cubicBezTo>
                      <a:pt x="109" y="18"/>
                      <a:pt x="109" y="18"/>
                      <a:pt x="109" y="18"/>
                    </a:cubicBezTo>
                    <a:cubicBezTo>
                      <a:pt x="116" y="18"/>
                      <a:pt x="122" y="26"/>
                      <a:pt x="122" y="35"/>
                    </a:cubicBezTo>
                    <a:lnTo>
                      <a:pt x="122" y="1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6" name="Freeform 25"/>
              <p:cNvSpPr>
                <a:spLocks noEditPoints="1"/>
              </p:cNvSpPr>
              <p:nvPr/>
            </p:nvSpPr>
            <p:spPr bwMode="black">
              <a:xfrm>
                <a:off x="5049838" y="4411663"/>
                <a:ext cx="739775" cy="854075"/>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7" name="Freeform 26"/>
              <p:cNvSpPr>
                <a:spLocks noEditPoints="1"/>
              </p:cNvSpPr>
              <p:nvPr/>
            </p:nvSpPr>
            <p:spPr bwMode="black">
              <a:xfrm>
                <a:off x="6043613" y="2960688"/>
                <a:ext cx="641350" cy="876300"/>
              </a:xfrm>
              <a:custGeom>
                <a:avLst/>
                <a:gdLst>
                  <a:gd name="T0" fmla="*/ 146 w 171"/>
                  <a:gd name="T1" fmla="*/ 0 h 234"/>
                  <a:gd name="T2" fmla="*/ 25 w 171"/>
                  <a:gd name="T3" fmla="*/ 0 h 234"/>
                  <a:gd name="T4" fmla="*/ 0 w 171"/>
                  <a:gd name="T5" fmla="*/ 25 h 234"/>
                  <a:gd name="T6" fmla="*/ 0 w 171"/>
                  <a:gd name="T7" fmla="*/ 209 h 234"/>
                  <a:gd name="T8" fmla="*/ 25 w 171"/>
                  <a:gd name="T9" fmla="*/ 234 h 234"/>
                  <a:gd name="T10" fmla="*/ 146 w 171"/>
                  <a:gd name="T11" fmla="*/ 234 h 234"/>
                  <a:gd name="T12" fmla="*/ 171 w 171"/>
                  <a:gd name="T13" fmla="*/ 209 h 234"/>
                  <a:gd name="T14" fmla="*/ 171 w 171"/>
                  <a:gd name="T15" fmla="*/ 25 h 234"/>
                  <a:gd name="T16" fmla="*/ 146 w 171"/>
                  <a:gd name="T17" fmla="*/ 0 h 234"/>
                  <a:gd name="T18" fmla="*/ 157 w 171"/>
                  <a:gd name="T19" fmla="*/ 183 h 234"/>
                  <a:gd name="T20" fmla="*/ 146 w 171"/>
                  <a:gd name="T21" fmla="*/ 193 h 234"/>
                  <a:gd name="T22" fmla="*/ 25 w 171"/>
                  <a:gd name="T23" fmla="*/ 193 h 234"/>
                  <a:gd name="T24" fmla="*/ 15 w 171"/>
                  <a:gd name="T25" fmla="*/ 183 h 234"/>
                  <a:gd name="T26" fmla="*/ 15 w 171"/>
                  <a:gd name="T27" fmla="*/ 25 h 234"/>
                  <a:gd name="T28" fmla="*/ 25 w 171"/>
                  <a:gd name="T29" fmla="*/ 14 h 234"/>
                  <a:gd name="T30" fmla="*/ 146 w 171"/>
                  <a:gd name="T31" fmla="*/ 14 h 234"/>
                  <a:gd name="T32" fmla="*/ 157 w 171"/>
                  <a:gd name="T33" fmla="*/ 25 h 234"/>
                  <a:gd name="T34" fmla="*/ 157 w 171"/>
                  <a:gd name="T35" fmla="*/ 18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234">
                    <a:moveTo>
                      <a:pt x="146" y="0"/>
                    </a:moveTo>
                    <a:cubicBezTo>
                      <a:pt x="25" y="0"/>
                      <a:pt x="25" y="0"/>
                      <a:pt x="25" y="0"/>
                    </a:cubicBezTo>
                    <a:cubicBezTo>
                      <a:pt x="11" y="0"/>
                      <a:pt x="0" y="11"/>
                      <a:pt x="0" y="25"/>
                    </a:cubicBezTo>
                    <a:cubicBezTo>
                      <a:pt x="0" y="209"/>
                      <a:pt x="0" y="209"/>
                      <a:pt x="0" y="209"/>
                    </a:cubicBezTo>
                    <a:cubicBezTo>
                      <a:pt x="0" y="223"/>
                      <a:pt x="11" y="234"/>
                      <a:pt x="25" y="234"/>
                    </a:cubicBezTo>
                    <a:cubicBezTo>
                      <a:pt x="146" y="234"/>
                      <a:pt x="146" y="234"/>
                      <a:pt x="146" y="234"/>
                    </a:cubicBezTo>
                    <a:cubicBezTo>
                      <a:pt x="160" y="234"/>
                      <a:pt x="171" y="223"/>
                      <a:pt x="171" y="209"/>
                    </a:cubicBezTo>
                    <a:cubicBezTo>
                      <a:pt x="171" y="25"/>
                      <a:pt x="171" y="25"/>
                      <a:pt x="171" y="25"/>
                    </a:cubicBezTo>
                    <a:cubicBezTo>
                      <a:pt x="171" y="11"/>
                      <a:pt x="160" y="0"/>
                      <a:pt x="146" y="0"/>
                    </a:cubicBezTo>
                    <a:moveTo>
                      <a:pt x="157" y="183"/>
                    </a:moveTo>
                    <a:cubicBezTo>
                      <a:pt x="157" y="188"/>
                      <a:pt x="152" y="193"/>
                      <a:pt x="146" y="193"/>
                    </a:cubicBezTo>
                    <a:cubicBezTo>
                      <a:pt x="25" y="193"/>
                      <a:pt x="25" y="193"/>
                      <a:pt x="25" y="193"/>
                    </a:cubicBezTo>
                    <a:cubicBezTo>
                      <a:pt x="19" y="193"/>
                      <a:pt x="15" y="188"/>
                      <a:pt x="15" y="183"/>
                    </a:cubicBezTo>
                    <a:cubicBezTo>
                      <a:pt x="15" y="25"/>
                      <a:pt x="15" y="25"/>
                      <a:pt x="15" y="25"/>
                    </a:cubicBezTo>
                    <a:cubicBezTo>
                      <a:pt x="15" y="19"/>
                      <a:pt x="19" y="14"/>
                      <a:pt x="25" y="14"/>
                    </a:cubicBezTo>
                    <a:cubicBezTo>
                      <a:pt x="146" y="14"/>
                      <a:pt x="146" y="14"/>
                      <a:pt x="146" y="14"/>
                    </a:cubicBezTo>
                    <a:cubicBezTo>
                      <a:pt x="152" y="14"/>
                      <a:pt x="157" y="19"/>
                      <a:pt x="157" y="25"/>
                    </a:cubicBezTo>
                    <a:lnTo>
                      <a:pt x="157" y="1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8" name="Oval 27"/>
              <p:cNvSpPr>
                <a:spLocks noChangeArrowheads="1"/>
              </p:cNvSpPr>
              <p:nvPr/>
            </p:nvSpPr>
            <p:spPr bwMode="black">
              <a:xfrm>
                <a:off x="62245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9" name="Oval 28"/>
              <p:cNvSpPr>
                <a:spLocks noChangeArrowheads="1"/>
              </p:cNvSpPr>
              <p:nvPr/>
            </p:nvSpPr>
            <p:spPr bwMode="black">
              <a:xfrm>
                <a:off x="64531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0" name="Oval 29"/>
              <p:cNvSpPr>
                <a:spLocks noChangeArrowheads="1"/>
              </p:cNvSpPr>
              <p:nvPr/>
            </p:nvSpPr>
            <p:spPr bwMode="black">
              <a:xfrm>
                <a:off x="6340476"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1" name="Freeform 30"/>
              <p:cNvSpPr>
                <a:spLocks/>
              </p:cNvSpPr>
              <p:nvPr/>
            </p:nvSpPr>
            <p:spPr bwMode="black">
              <a:xfrm>
                <a:off x="3425826" y="4279901"/>
                <a:ext cx="442913" cy="16192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2" name="Freeform 31"/>
              <p:cNvSpPr>
                <a:spLocks noEditPoints="1"/>
              </p:cNvSpPr>
              <p:nvPr/>
            </p:nvSpPr>
            <p:spPr bwMode="black">
              <a:xfrm>
                <a:off x="3414713" y="4456113"/>
                <a:ext cx="476250" cy="80962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grpSp>
        <p:nvGrpSpPr>
          <p:cNvPr id="50" name="Group 49"/>
          <p:cNvGrpSpPr/>
          <p:nvPr/>
        </p:nvGrpSpPr>
        <p:grpSpPr>
          <a:xfrm>
            <a:off x="507624" y="3011804"/>
            <a:ext cx="2620438" cy="1872234"/>
            <a:chOff x="676656" y="3949024"/>
            <a:chExt cx="3493008" cy="2496312"/>
          </a:xfrm>
        </p:grpSpPr>
        <p:sp>
          <p:nvSpPr>
            <p:cNvPr id="9" name="Dark Blue"/>
            <p:cNvSpPr/>
            <p:nvPr/>
          </p:nvSpPr>
          <p:spPr bwMode="auto">
            <a:xfrm>
              <a:off x="676656" y="3949024"/>
              <a:ext cx="3493008" cy="2496312"/>
            </a:xfrm>
            <a:prstGeom prst="roundRect">
              <a:avLst>
                <a:gd name="adj" fmla="val 0"/>
              </a:avLst>
            </a:prstGeom>
            <a:solidFill>
              <a:schemeClr val="bg1">
                <a:lumMod val="40000"/>
                <a:lumOff val="6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a:p>
              <a:pPr algn="ctr" defTabSz="685637"/>
              <a:r>
                <a:rPr lang="en-US" sz="1700" dirty="0">
                  <a:solidFill>
                    <a:srgbClr val="FFFFFF">
                      <a:alpha val="98824"/>
                    </a:srgbClr>
                  </a:solidFill>
                  <a:latin typeface="Segoe UI" pitchFamily="34" charset="0"/>
                  <a:ea typeface="Segoe UI" pitchFamily="34" charset="0"/>
                  <a:cs typeface="Segoe UI" pitchFamily="34" charset="0"/>
                </a:rPr>
                <a:t>Rich Platform</a:t>
              </a:r>
            </a:p>
          </p:txBody>
        </p:sp>
        <p:grpSp>
          <p:nvGrpSpPr>
            <p:cNvPr id="43" name="Group 42"/>
            <p:cNvGrpSpPr>
              <a:grpSpLocks noChangeAspect="1"/>
            </p:cNvGrpSpPr>
            <p:nvPr/>
          </p:nvGrpSpPr>
          <p:grpSpPr bwMode="black">
            <a:xfrm>
              <a:off x="1767586" y="4527235"/>
              <a:ext cx="1311149" cy="1014057"/>
              <a:chOff x="813584" y="4312262"/>
              <a:chExt cx="478309" cy="370027"/>
            </a:xfrm>
          </p:grpSpPr>
          <p:sp>
            <p:nvSpPr>
              <p:cNvPr id="44" name="Freeform 79"/>
              <p:cNvSpPr>
                <a:spLocks/>
              </p:cNvSpPr>
              <p:nvPr/>
            </p:nvSpPr>
            <p:spPr bwMode="black">
              <a:xfrm>
                <a:off x="813584" y="4503897"/>
                <a:ext cx="478309" cy="178392"/>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200"/>
              </a:p>
            </p:txBody>
          </p:sp>
          <p:sp>
            <p:nvSpPr>
              <p:cNvPr id="45" name="Freeform 80"/>
              <p:cNvSpPr>
                <a:spLocks noEditPoints="1"/>
              </p:cNvSpPr>
              <p:nvPr/>
            </p:nvSpPr>
            <p:spPr bwMode="black">
              <a:xfrm>
                <a:off x="813584" y="4312262"/>
                <a:ext cx="478309" cy="176834"/>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200"/>
              </a:p>
            </p:txBody>
          </p:sp>
        </p:grpSp>
      </p:grpSp>
      <p:grpSp>
        <p:nvGrpSpPr>
          <p:cNvPr id="51" name="Group 50"/>
          <p:cNvGrpSpPr/>
          <p:nvPr/>
        </p:nvGrpSpPr>
        <p:grpSpPr>
          <a:xfrm>
            <a:off x="3265259" y="3011804"/>
            <a:ext cx="2620438" cy="1872234"/>
            <a:chOff x="4366220" y="3949024"/>
            <a:chExt cx="3493008" cy="2496312"/>
          </a:xfrm>
        </p:grpSpPr>
        <p:sp>
          <p:nvSpPr>
            <p:cNvPr id="7" name="Orange"/>
            <p:cNvSpPr/>
            <p:nvPr/>
          </p:nvSpPr>
          <p:spPr bwMode="auto">
            <a:xfrm>
              <a:off x="4366220" y="3949024"/>
              <a:ext cx="3493008" cy="2496312"/>
            </a:xfrm>
            <a:prstGeom prst="roundRect">
              <a:avLst>
                <a:gd name="adj" fmla="val 0"/>
              </a:avLst>
            </a:prstGeom>
            <a:solidFill>
              <a:schemeClr val="bg1">
                <a:lumMod val="40000"/>
                <a:lumOff val="60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a:r>
                <a:rPr lang="en-US" sz="1700" dirty="0">
                  <a:solidFill>
                    <a:schemeClr val="tx1">
                      <a:alpha val="99000"/>
                    </a:schemeClr>
                  </a:solidFill>
                  <a:latin typeface="Segoe UI" pitchFamily="34" charset="0"/>
                  <a:ea typeface="Segoe UI" pitchFamily="34" charset="0"/>
                  <a:cs typeface="Segoe UI" pitchFamily="34" charset="0"/>
                </a:rPr>
                <a:t>Standards-based</a:t>
              </a:r>
            </a:p>
          </p:txBody>
        </p:sp>
        <p:sp>
          <p:nvSpPr>
            <p:cNvPr id="46" name="Freeform 15"/>
            <p:cNvSpPr>
              <a:spLocks noChangeAspect="1" noEditPoints="1"/>
            </p:cNvSpPr>
            <p:nvPr/>
          </p:nvSpPr>
          <p:spPr bwMode="black">
            <a:xfrm>
              <a:off x="5519047" y="4352572"/>
              <a:ext cx="1187354" cy="1188720"/>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53"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54"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4"/>
              </a:rPr>
              <a:t>www.rapidbbs.cn</a:t>
            </a:r>
            <a:endParaRPr lang="zh-CN" altLang="en-US" sz="1200" b="0">
              <a:latin typeface="Arial" charset="0"/>
              <a:ea typeface="ＭＳ Ｐゴシック" pitchFamily="34" charset="-128"/>
            </a:endParaRPr>
          </a:p>
        </p:txBody>
      </p:sp>
      <p:pic>
        <p:nvPicPr>
          <p:cNvPr id="55" name="Picture 2">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577071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indows PowerShell 3.0 Themes</a:t>
            </a:r>
            <a:endParaRPr lang="en-US" dirty="0"/>
          </a:p>
        </p:txBody>
      </p:sp>
      <p:grpSp>
        <p:nvGrpSpPr>
          <p:cNvPr id="47" name="Group 46"/>
          <p:cNvGrpSpPr/>
          <p:nvPr/>
        </p:nvGrpSpPr>
        <p:grpSpPr>
          <a:xfrm>
            <a:off x="507624" y="1012374"/>
            <a:ext cx="2620438" cy="1872234"/>
            <a:chOff x="676656" y="1349832"/>
            <a:chExt cx="3493008" cy="2496312"/>
          </a:xfrm>
        </p:grpSpPr>
        <p:sp>
          <p:nvSpPr>
            <p:cNvPr id="8" name="Light Blue"/>
            <p:cNvSpPr/>
            <p:nvPr/>
          </p:nvSpPr>
          <p:spPr bwMode="auto">
            <a:xfrm>
              <a:off x="676656" y="1349832"/>
              <a:ext cx="3493008" cy="2496312"/>
            </a:xfrm>
            <a:prstGeom prst="roundRect">
              <a:avLst>
                <a:gd name="adj" fmla="val 0"/>
              </a:avLst>
            </a:prstGeom>
            <a:solidFill>
              <a:schemeClr val="bg1">
                <a:lumMod val="40000"/>
                <a:lumOff val="6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a:r>
                <a:rPr lang="en-US" sz="1700" dirty="0">
                  <a:solidFill>
                    <a:schemeClr val="tx1">
                      <a:alpha val="99000"/>
                    </a:schemeClr>
                  </a:solidFill>
                  <a:latin typeface="Segoe UI" pitchFamily="34" charset="0"/>
                  <a:ea typeface="Segoe UI" pitchFamily="34" charset="0"/>
                  <a:cs typeface="Segoe UI" pitchFamily="34" charset="0"/>
                </a:rPr>
                <a:t>Simple &amp; Easy</a:t>
              </a:r>
            </a:p>
          </p:txBody>
        </p:sp>
        <p:pic>
          <p:nvPicPr>
            <p:cNvPr id="10" name="Picture 35" descr="C:\Users\sakuu\Documents\Ballmer WPC\AI\Vacation.png"/>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879962" y="1637864"/>
              <a:ext cx="1086396" cy="144249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2" name="Group 51"/>
          <p:cNvGrpSpPr/>
          <p:nvPr/>
        </p:nvGrpSpPr>
        <p:grpSpPr>
          <a:xfrm>
            <a:off x="6016977" y="3011804"/>
            <a:ext cx="2620438" cy="1872234"/>
            <a:chOff x="8045452" y="3949024"/>
            <a:chExt cx="3493008" cy="2496312"/>
          </a:xfrm>
        </p:grpSpPr>
        <p:sp>
          <p:nvSpPr>
            <p:cNvPr id="5" name="Red"/>
            <p:cNvSpPr/>
            <p:nvPr/>
          </p:nvSpPr>
          <p:spPr bwMode="auto">
            <a:xfrm>
              <a:off x="8045452" y="3949024"/>
              <a:ext cx="3493008" cy="2496312"/>
            </a:xfrm>
            <a:prstGeom prst="roundRect">
              <a:avLst>
                <a:gd name="adj" fmla="val 0"/>
              </a:avLst>
            </a:prstGeom>
            <a:solidFill>
              <a:schemeClr val="bg1">
                <a:lumMod val="40000"/>
                <a:lumOff val="60000"/>
              </a:schemeClr>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r>
                <a:rPr lang="en-US" sz="1700" dirty="0">
                  <a:solidFill>
                    <a:schemeClr val="tx1">
                      <a:alpha val="99000"/>
                    </a:schemeClr>
                  </a:solidFill>
                  <a:latin typeface="Segoe UI" pitchFamily="34" charset="0"/>
                  <a:ea typeface="Segoe UI" pitchFamily="34" charset="0"/>
                  <a:cs typeface="Segoe UI" pitchFamily="34" charset="0"/>
                </a:rPr>
                <a:t>PS 3.0  -</a:t>
              </a:r>
              <a:r>
                <a:rPr lang="en-US" sz="1700" dirty="0" err="1">
                  <a:solidFill>
                    <a:schemeClr val="tx1">
                      <a:alpha val="99000"/>
                    </a:schemeClr>
                  </a:solidFill>
                  <a:latin typeface="Segoe UI" pitchFamily="34" charset="0"/>
                  <a:ea typeface="Segoe UI" pitchFamily="34" charset="0"/>
                  <a:cs typeface="Segoe UI" pitchFamily="34" charset="0"/>
                </a:rPr>
                <a:t>gt</a:t>
              </a:r>
              <a:r>
                <a:rPr lang="en-US" sz="1700" dirty="0">
                  <a:solidFill>
                    <a:schemeClr val="tx1">
                      <a:alpha val="99000"/>
                    </a:schemeClr>
                  </a:solidFill>
                  <a:latin typeface="Segoe UI" pitchFamily="34" charset="0"/>
                  <a:ea typeface="Segoe UI" pitchFamily="34" charset="0"/>
                  <a:cs typeface="Segoe UI" pitchFamily="34" charset="0"/>
                </a:rPr>
                <a:t>  PS 2.0</a:t>
              </a:r>
            </a:p>
          </p:txBody>
        </p:sp>
        <p:grpSp>
          <p:nvGrpSpPr>
            <p:cNvPr id="11" name="Group 10"/>
            <p:cNvGrpSpPr/>
            <p:nvPr/>
          </p:nvGrpSpPr>
          <p:grpSpPr bwMode="black">
            <a:xfrm>
              <a:off x="9458640" y="4405080"/>
              <a:ext cx="666632" cy="1137216"/>
              <a:chOff x="3233738" y="168276"/>
              <a:chExt cx="2651125" cy="6480174"/>
            </a:xfrm>
          </p:grpSpPr>
          <p:sp>
            <p:nvSpPr>
              <p:cNvPr id="12"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13"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14"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grpSp>
      <p:grpSp>
        <p:nvGrpSpPr>
          <p:cNvPr id="49" name="Group 48"/>
          <p:cNvGrpSpPr/>
          <p:nvPr/>
        </p:nvGrpSpPr>
        <p:grpSpPr>
          <a:xfrm>
            <a:off x="6016977" y="1012374"/>
            <a:ext cx="2620438" cy="1872234"/>
            <a:chOff x="8045452" y="1349832"/>
            <a:chExt cx="3493008" cy="2496312"/>
          </a:xfrm>
        </p:grpSpPr>
        <p:sp>
          <p:nvSpPr>
            <p:cNvPr id="4" name="Green"/>
            <p:cNvSpPr/>
            <p:nvPr/>
          </p:nvSpPr>
          <p:spPr bwMode="auto">
            <a:xfrm>
              <a:off x="8045452" y="1349832"/>
              <a:ext cx="3493008" cy="2496312"/>
            </a:xfrm>
            <a:prstGeom prst="roundRect">
              <a:avLst>
                <a:gd name="adj" fmla="val 0"/>
              </a:avLst>
            </a:prstGeom>
            <a:solidFill>
              <a:schemeClr val="accent6"/>
            </a:soli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r>
                <a:rPr lang="en-US" sz="1700" dirty="0">
                  <a:solidFill>
                    <a:schemeClr val="tx1">
                      <a:alpha val="99000"/>
                    </a:schemeClr>
                  </a:solidFill>
                  <a:latin typeface="Segoe UI" pitchFamily="34" charset="0"/>
                  <a:ea typeface="Segoe UI" pitchFamily="34" charset="0"/>
                  <a:cs typeface="Segoe UI" pitchFamily="34" charset="0"/>
                </a:rPr>
                <a:t>Robust &amp; Scalable</a:t>
              </a:r>
            </a:p>
          </p:txBody>
        </p:sp>
        <p:sp>
          <p:nvSpPr>
            <p:cNvPr id="15" name="Freeform 35"/>
            <p:cNvSpPr>
              <a:spLocks/>
            </p:cNvSpPr>
            <p:nvPr/>
          </p:nvSpPr>
          <p:spPr bwMode="black">
            <a:xfrm>
              <a:off x="9024221" y="1750933"/>
              <a:ext cx="1535470" cy="1305668"/>
            </a:xfrm>
            <a:custGeom>
              <a:avLst/>
              <a:gdLst>
                <a:gd name="T0" fmla="*/ 120 w 191"/>
                <a:gd name="T1" fmla="*/ 32 h 197"/>
                <a:gd name="T2" fmla="*/ 83 w 191"/>
                <a:gd name="T3" fmla="*/ 3 h 197"/>
                <a:gd name="T4" fmla="*/ 47 w 191"/>
                <a:gd name="T5" fmla="*/ 5 h 197"/>
                <a:gd name="T6" fmla="*/ 44 w 191"/>
                <a:gd name="T7" fmla="*/ 27 h 197"/>
                <a:gd name="T8" fmla="*/ 40 w 191"/>
                <a:gd name="T9" fmla="*/ 29 h 197"/>
                <a:gd name="T10" fmla="*/ 40 w 191"/>
                <a:gd name="T11" fmla="*/ 33 h 197"/>
                <a:gd name="T12" fmla="*/ 45 w 191"/>
                <a:gd name="T13" fmla="*/ 40 h 197"/>
                <a:gd name="T14" fmla="*/ 88 w 191"/>
                <a:gd name="T15" fmla="*/ 44 h 197"/>
                <a:gd name="T16" fmla="*/ 118 w 191"/>
                <a:gd name="T17" fmla="*/ 113 h 197"/>
                <a:gd name="T18" fmla="*/ 144 w 191"/>
                <a:gd name="T19" fmla="*/ 129 h 197"/>
                <a:gd name="T20" fmla="*/ 112 w 191"/>
                <a:gd name="T21" fmla="*/ 109 h 197"/>
                <a:gd name="T22" fmla="*/ 65 w 191"/>
                <a:gd name="T23" fmla="*/ 115 h 197"/>
                <a:gd name="T24" fmla="*/ 0 w 191"/>
                <a:gd name="T25" fmla="*/ 116 h 197"/>
                <a:gd name="T26" fmla="*/ 26 w 191"/>
                <a:gd name="T27" fmla="*/ 174 h 197"/>
                <a:gd name="T28" fmla="*/ 61 w 191"/>
                <a:gd name="T29" fmla="*/ 136 h 197"/>
                <a:gd name="T30" fmla="*/ 57 w 191"/>
                <a:gd name="T31" fmla="*/ 148 h 197"/>
                <a:gd name="T32" fmla="*/ 126 w 191"/>
                <a:gd name="T33" fmla="*/ 140 h 197"/>
                <a:gd name="T34" fmla="*/ 55 w 191"/>
                <a:gd name="T35" fmla="*/ 153 h 197"/>
                <a:gd name="T36" fmla="*/ 30 w 191"/>
                <a:gd name="T37" fmla="*/ 180 h 197"/>
                <a:gd name="T38" fmla="*/ 32 w 191"/>
                <a:gd name="T39" fmla="*/ 182 h 197"/>
                <a:gd name="T40" fmla="*/ 180 w 191"/>
                <a:gd name="T41" fmla="*/ 159 h 197"/>
                <a:gd name="T42" fmla="*/ 185 w 191"/>
                <a:gd name="T43" fmla="*/ 129 h 197"/>
                <a:gd name="T44" fmla="*/ 120 w 191"/>
                <a:gd name="T45" fmla="*/ 32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1" h="197">
                  <a:moveTo>
                    <a:pt x="120" y="32"/>
                  </a:moveTo>
                  <a:cubicBezTo>
                    <a:pt x="112" y="23"/>
                    <a:pt x="99" y="9"/>
                    <a:pt x="83" y="3"/>
                  </a:cubicBezTo>
                  <a:cubicBezTo>
                    <a:pt x="72" y="0"/>
                    <a:pt x="47" y="5"/>
                    <a:pt x="47" y="5"/>
                  </a:cubicBezTo>
                  <a:cubicBezTo>
                    <a:pt x="44" y="27"/>
                    <a:pt x="44" y="27"/>
                    <a:pt x="44" y="27"/>
                  </a:cubicBezTo>
                  <a:cubicBezTo>
                    <a:pt x="40" y="29"/>
                    <a:pt x="40" y="29"/>
                    <a:pt x="40" y="29"/>
                  </a:cubicBezTo>
                  <a:cubicBezTo>
                    <a:pt x="40" y="33"/>
                    <a:pt x="40" y="33"/>
                    <a:pt x="40" y="33"/>
                  </a:cubicBezTo>
                  <a:cubicBezTo>
                    <a:pt x="40" y="33"/>
                    <a:pt x="40" y="37"/>
                    <a:pt x="45" y="40"/>
                  </a:cubicBezTo>
                  <a:cubicBezTo>
                    <a:pt x="50" y="42"/>
                    <a:pt x="73" y="53"/>
                    <a:pt x="88" y="44"/>
                  </a:cubicBezTo>
                  <a:cubicBezTo>
                    <a:pt x="118" y="60"/>
                    <a:pt x="105" y="91"/>
                    <a:pt x="118" y="113"/>
                  </a:cubicBezTo>
                  <a:cubicBezTo>
                    <a:pt x="123" y="120"/>
                    <a:pt x="131" y="127"/>
                    <a:pt x="144" y="129"/>
                  </a:cubicBezTo>
                  <a:cubicBezTo>
                    <a:pt x="144" y="129"/>
                    <a:pt x="115" y="131"/>
                    <a:pt x="112" y="109"/>
                  </a:cubicBezTo>
                  <a:cubicBezTo>
                    <a:pt x="101" y="104"/>
                    <a:pt x="82" y="99"/>
                    <a:pt x="65" y="115"/>
                  </a:cubicBezTo>
                  <a:cubicBezTo>
                    <a:pt x="51" y="100"/>
                    <a:pt x="14" y="100"/>
                    <a:pt x="0" y="116"/>
                  </a:cubicBezTo>
                  <a:cubicBezTo>
                    <a:pt x="6" y="141"/>
                    <a:pt x="18" y="163"/>
                    <a:pt x="26" y="174"/>
                  </a:cubicBezTo>
                  <a:cubicBezTo>
                    <a:pt x="52" y="156"/>
                    <a:pt x="61" y="136"/>
                    <a:pt x="61" y="136"/>
                  </a:cubicBezTo>
                  <a:cubicBezTo>
                    <a:pt x="60" y="140"/>
                    <a:pt x="59" y="144"/>
                    <a:pt x="57" y="148"/>
                  </a:cubicBezTo>
                  <a:cubicBezTo>
                    <a:pt x="103" y="167"/>
                    <a:pt x="126" y="140"/>
                    <a:pt x="126" y="140"/>
                  </a:cubicBezTo>
                  <a:cubicBezTo>
                    <a:pt x="107" y="171"/>
                    <a:pt x="63" y="157"/>
                    <a:pt x="55" y="153"/>
                  </a:cubicBezTo>
                  <a:cubicBezTo>
                    <a:pt x="48" y="166"/>
                    <a:pt x="38" y="175"/>
                    <a:pt x="30" y="180"/>
                  </a:cubicBezTo>
                  <a:cubicBezTo>
                    <a:pt x="32" y="181"/>
                    <a:pt x="32" y="182"/>
                    <a:pt x="32" y="182"/>
                  </a:cubicBezTo>
                  <a:cubicBezTo>
                    <a:pt x="88" y="197"/>
                    <a:pt x="154" y="177"/>
                    <a:pt x="180" y="159"/>
                  </a:cubicBezTo>
                  <a:cubicBezTo>
                    <a:pt x="191" y="151"/>
                    <a:pt x="188" y="138"/>
                    <a:pt x="185" y="129"/>
                  </a:cubicBezTo>
                  <a:cubicBezTo>
                    <a:pt x="172" y="91"/>
                    <a:pt x="134" y="49"/>
                    <a:pt x="120" y="3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dirty="0"/>
            </a:p>
          </p:txBody>
        </p:sp>
      </p:grpSp>
      <p:grpSp>
        <p:nvGrpSpPr>
          <p:cNvPr id="48" name="Group 47"/>
          <p:cNvGrpSpPr/>
          <p:nvPr/>
        </p:nvGrpSpPr>
        <p:grpSpPr>
          <a:xfrm>
            <a:off x="3264841" y="1012374"/>
            <a:ext cx="2620438" cy="1872234"/>
            <a:chOff x="4366220" y="1349832"/>
            <a:chExt cx="3493008" cy="2496312"/>
          </a:xfrm>
        </p:grpSpPr>
        <p:sp>
          <p:nvSpPr>
            <p:cNvPr id="6" name="Yellow"/>
            <p:cNvSpPr/>
            <p:nvPr/>
          </p:nvSpPr>
          <p:spPr bwMode="auto">
            <a:xfrm>
              <a:off x="4366220" y="1349832"/>
              <a:ext cx="3493008" cy="2496312"/>
            </a:xfrm>
            <a:prstGeom prst="roundRect">
              <a:avLst>
                <a:gd name="adj" fmla="val 0"/>
              </a:avLst>
            </a:prstGeom>
            <a:solidFill>
              <a:schemeClr val="bg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spc="-15"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endParaRPr lang="en-US" sz="1700" spc="-15"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endParaRPr lang="en-US" sz="1700" spc="-15"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endParaRPr lang="en-US" sz="1700" spc="-15"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r>
                <a:rPr lang="en-US" sz="1700" spc="-45" dirty="0">
                  <a:solidFill>
                    <a:schemeClr val="tx1">
                      <a:alpha val="99000"/>
                    </a:schemeClr>
                  </a:solidFill>
                  <a:latin typeface="Segoe UI" pitchFamily="34" charset="0"/>
                  <a:ea typeface="Segoe UI" pitchFamily="34" charset="0"/>
                  <a:cs typeface="Segoe UI" pitchFamily="34" charset="0"/>
                </a:rPr>
                <a:t>Comprehensive Coverage</a:t>
              </a:r>
            </a:p>
          </p:txBody>
        </p:sp>
        <p:grpSp>
          <p:nvGrpSpPr>
            <p:cNvPr id="16" name="Group 15"/>
            <p:cNvGrpSpPr>
              <a:grpSpLocks noChangeAspect="1"/>
            </p:cNvGrpSpPr>
            <p:nvPr/>
          </p:nvGrpSpPr>
          <p:grpSpPr bwMode="black">
            <a:xfrm>
              <a:off x="5371041" y="1736438"/>
              <a:ext cx="1483366" cy="1287850"/>
              <a:chOff x="2462213" y="1598613"/>
              <a:chExt cx="4222750" cy="3667125"/>
            </a:xfrm>
          </p:grpSpPr>
          <p:sp>
            <p:nvSpPr>
              <p:cNvPr id="17" name="Rectangle 6"/>
              <p:cNvSpPr>
                <a:spLocks noChangeArrowheads="1"/>
              </p:cNvSpPr>
              <p:nvPr/>
            </p:nvSpPr>
            <p:spPr bwMode="black">
              <a:xfrm>
                <a:off x="5564188"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18" name="Rectangle 7"/>
              <p:cNvSpPr>
                <a:spLocks noChangeArrowheads="1"/>
              </p:cNvSpPr>
              <p:nvPr/>
            </p:nvSpPr>
            <p:spPr bwMode="black">
              <a:xfrm>
                <a:off x="5795963" y="3346451"/>
                <a:ext cx="112713"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19" name="Rectangle 8"/>
              <p:cNvSpPr>
                <a:spLocks noChangeArrowheads="1"/>
              </p:cNvSpPr>
              <p:nvPr/>
            </p:nvSpPr>
            <p:spPr bwMode="black">
              <a:xfrm>
                <a:off x="3092451"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0" name="Rectangle 9"/>
              <p:cNvSpPr>
                <a:spLocks noChangeArrowheads="1"/>
              </p:cNvSpPr>
              <p:nvPr/>
            </p:nvSpPr>
            <p:spPr bwMode="black">
              <a:xfrm>
                <a:off x="3324226" y="3346451"/>
                <a:ext cx="117475"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1" name="Freeform 10"/>
              <p:cNvSpPr>
                <a:spLocks/>
              </p:cNvSpPr>
              <p:nvPr/>
            </p:nvSpPr>
            <p:spPr bwMode="black">
              <a:xfrm>
                <a:off x="3902076" y="2506663"/>
                <a:ext cx="101600" cy="123825"/>
              </a:xfrm>
              <a:custGeom>
                <a:avLst/>
                <a:gdLst>
                  <a:gd name="T0" fmla="*/ 36 w 64"/>
                  <a:gd name="T1" fmla="*/ 78 h 78"/>
                  <a:gd name="T2" fmla="*/ 64 w 64"/>
                  <a:gd name="T3" fmla="*/ 64 h 78"/>
                  <a:gd name="T4" fmla="*/ 26 w 64"/>
                  <a:gd name="T5" fmla="*/ 0 h 78"/>
                  <a:gd name="T6" fmla="*/ 0 w 64"/>
                  <a:gd name="T7" fmla="*/ 17 h 78"/>
                  <a:gd name="T8" fmla="*/ 36 w 64"/>
                  <a:gd name="T9" fmla="*/ 78 h 78"/>
                </a:gdLst>
                <a:ahLst/>
                <a:cxnLst>
                  <a:cxn ang="0">
                    <a:pos x="T0" y="T1"/>
                  </a:cxn>
                  <a:cxn ang="0">
                    <a:pos x="T2" y="T3"/>
                  </a:cxn>
                  <a:cxn ang="0">
                    <a:pos x="T4" y="T5"/>
                  </a:cxn>
                  <a:cxn ang="0">
                    <a:pos x="T6" y="T7"/>
                  </a:cxn>
                  <a:cxn ang="0">
                    <a:pos x="T8" y="T9"/>
                  </a:cxn>
                </a:cxnLst>
                <a:rect l="0" t="0" r="r" b="b"/>
                <a:pathLst>
                  <a:path w="64" h="78">
                    <a:moveTo>
                      <a:pt x="36" y="78"/>
                    </a:moveTo>
                    <a:lnTo>
                      <a:pt x="64" y="64"/>
                    </a:lnTo>
                    <a:lnTo>
                      <a:pt x="26" y="0"/>
                    </a:lnTo>
                    <a:lnTo>
                      <a:pt x="0" y="17"/>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2" name="Freeform 11"/>
              <p:cNvSpPr>
                <a:spLocks/>
              </p:cNvSpPr>
              <p:nvPr/>
            </p:nvSpPr>
            <p:spPr bwMode="black">
              <a:xfrm>
                <a:off x="4017963" y="2709863"/>
                <a:ext cx="98425" cy="123825"/>
              </a:xfrm>
              <a:custGeom>
                <a:avLst/>
                <a:gdLst>
                  <a:gd name="T0" fmla="*/ 36 w 62"/>
                  <a:gd name="T1" fmla="*/ 78 h 78"/>
                  <a:gd name="T2" fmla="*/ 62 w 62"/>
                  <a:gd name="T3" fmla="*/ 61 h 78"/>
                  <a:gd name="T4" fmla="*/ 26 w 62"/>
                  <a:gd name="T5" fmla="*/ 0 h 78"/>
                  <a:gd name="T6" fmla="*/ 0 w 62"/>
                  <a:gd name="T7" fmla="*/ 14 h 78"/>
                  <a:gd name="T8" fmla="*/ 36 w 62"/>
                  <a:gd name="T9" fmla="*/ 78 h 78"/>
                </a:gdLst>
                <a:ahLst/>
                <a:cxnLst>
                  <a:cxn ang="0">
                    <a:pos x="T0" y="T1"/>
                  </a:cxn>
                  <a:cxn ang="0">
                    <a:pos x="T2" y="T3"/>
                  </a:cxn>
                  <a:cxn ang="0">
                    <a:pos x="T4" y="T5"/>
                  </a:cxn>
                  <a:cxn ang="0">
                    <a:pos x="T6" y="T7"/>
                  </a:cxn>
                  <a:cxn ang="0">
                    <a:pos x="T8" y="T9"/>
                  </a:cxn>
                </a:cxnLst>
                <a:rect l="0" t="0" r="r" b="b"/>
                <a:pathLst>
                  <a:path w="62" h="78">
                    <a:moveTo>
                      <a:pt x="36" y="78"/>
                    </a:moveTo>
                    <a:lnTo>
                      <a:pt x="62" y="61"/>
                    </a:lnTo>
                    <a:lnTo>
                      <a:pt x="26" y="0"/>
                    </a:lnTo>
                    <a:lnTo>
                      <a:pt x="0" y="14"/>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3" name="Freeform 12"/>
              <p:cNvSpPr>
                <a:spLocks/>
              </p:cNvSpPr>
              <p:nvPr/>
            </p:nvSpPr>
            <p:spPr bwMode="black">
              <a:xfrm>
                <a:off x="4873626" y="2709863"/>
                <a:ext cx="98425" cy="123825"/>
              </a:xfrm>
              <a:custGeom>
                <a:avLst/>
                <a:gdLst>
                  <a:gd name="T0" fmla="*/ 26 w 62"/>
                  <a:gd name="T1" fmla="*/ 78 h 78"/>
                  <a:gd name="T2" fmla="*/ 62 w 62"/>
                  <a:gd name="T3" fmla="*/ 14 h 78"/>
                  <a:gd name="T4" fmla="*/ 36 w 62"/>
                  <a:gd name="T5" fmla="*/ 0 h 78"/>
                  <a:gd name="T6" fmla="*/ 0 w 62"/>
                  <a:gd name="T7" fmla="*/ 61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4"/>
                    </a:lnTo>
                    <a:lnTo>
                      <a:pt x="36" y="0"/>
                    </a:lnTo>
                    <a:lnTo>
                      <a:pt x="0" y="61"/>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4" name="Freeform 13"/>
              <p:cNvSpPr>
                <a:spLocks/>
              </p:cNvSpPr>
              <p:nvPr/>
            </p:nvSpPr>
            <p:spPr bwMode="black">
              <a:xfrm>
                <a:off x="4989513" y="2506663"/>
                <a:ext cx="98425" cy="123825"/>
              </a:xfrm>
              <a:custGeom>
                <a:avLst/>
                <a:gdLst>
                  <a:gd name="T0" fmla="*/ 26 w 62"/>
                  <a:gd name="T1" fmla="*/ 78 h 78"/>
                  <a:gd name="T2" fmla="*/ 62 w 62"/>
                  <a:gd name="T3" fmla="*/ 17 h 78"/>
                  <a:gd name="T4" fmla="*/ 36 w 62"/>
                  <a:gd name="T5" fmla="*/ 0 h 78"/>
                  <a:gd name="T6" fmla="*/ 0 w 62"/>
                  <a:gd name="T7" fmla="*/ 64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7"/>
                    </a:lnTo>
                    <a:lnTo>
                      <a:pt x="36" y="0"/>
                    </a:lnTo>
                    <a:lnTo>
                      <a:pt x="0" y="64"/>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5" name="Freeform 14"/>
              <p:cNvSpPr>
                <a:spLocks/>
              </p:cNvSpPr>
              <p:nvPr/>
            </p:nvSpPr>
            <p:spPr bwMode="black">
              <a:xfrm>
                <a:off x="4017963" y="3990976"/>
                <a:ext cx="98425" cy="123825"/>
              </a:xfrm>
              <a:custGeom>
                <a:avLst/>
                <a:gdLst>
                  <a:gd name="T0" fmla="*/ 0 w 62"/>
                  <a:gd name="T1" fmla="*/ 64 h 78"/>
                  <a:gd name="T2" fmla="*/ 26 w 62"/>
                  <a:gd name="T3" fmla="*/ 78 h 78"/>
                  <a:gd name="T4" fmla="*/ 62 w 62"/>
                  <a:gd name="T5" fmla="*/ 14 h 78"/>
                  <a:gd name="T6" fmla="*/ 36 w 62"/>
                  <a:gd name="T7" fmla="*/ 0 h 78"/>
                  <a:gd name="T8" fmla="*/ 0 w 62"/>
                  <a:gd name="T9" fmla="*/ 64 h 78"/>
                </a:gdLst>
                <a:ahLst/>
                <a:cxnLst>
                  <a:cxn ang="0">
                    <a:pos x="T0" y="T1"/>
                  </a:cxn>
                  <a:cxn ang="0">
                    <a:pos x="T2" y="T3"/>
                  </a:cxn>
                  <a:cxn ang="0">
                    <a:pos x="T4" y="T5"/>
                  </a:cxn>
                  <a:cxn ang="0">
                    <a:pos x="T6" y="T7"/>
                  </a:cxn>
                  <a:cxn ang="0">
                    <a:pos x="T8" y="T9"/>
                  </a:cxn>
                </a:cxnLst>
                <a:rect l="0" t="0" r="r" b="b"/>
                <a:pathLst>
                  <a:path w="62" h="78">
                    <a:moveTo>
                      <a:pt x="0" y="64"/>
                    </a:moveTo>
                    <a:lnTo>
                      <a:pt x="26" y="78"/>
                    </a:lnTo>
                    <a:lnTo>
                      <a:pt x="62" y="14"/>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6" name="Freeform 15"/>
              <p:cNvSpPr>
                <a:spLocks/>
              </p:cNvSpPr>
              <p:nvPr/>
            </p:nvSpPr>
            <p:spPr bwMode="black">
              <a:xfrm>
                <a:off x="3902076" y="4189413"/>
                <a:ext cx="101600" cy="128588"/>
              </a:xfrm>
              <a:custGeom>
                <a:avLst/>
                <a:gdLst>
                  <a:gd name="T0" fmla="*/ 0 w 64"/>
                  <a:gd name="T1" fmla="*/ 64 h 81"/>
                  <a:gd name="T2" fmla="*/ 26 w 64"/>
                  <a:gd name="T3" fmla="*/ 81 h 81"/>
                  <a:gd name="T4" fmla="*/ 64 w 64"/>
                  <a:gd name="T5" fmla="*/ 17 h 81"/>
                  <a:gd name="T6" fmla="*/ 36 w 64"/>
                  <a:gd name="T7" fmla="*/ 0 h 81"/>
                  <a:gd name="T8" fmla="*/ 0 w 64"/>
                  <a:gd name="T9" fmla="*/ 64 h 81"/>
                </a:gdLst>
                <a:ahLst/>
                <a:cxnLst>
                  <a:cxn ang="0">
                    <a:pos x="T0" y="T1"/>
                  </a:cxn>
                  <a:cxn ang="0">
                    <a:pos x="T2" y="T3"/>
                  </a:cxn>
                  <a:cxn ang="0">
                    <a:pos x="T4" y="T5"/>
                  </a:cxn>
                  <a:cxn ang="0">
                    <a:pos x="T6" y="T7"/>
                  </a:cxn>
                  <a:cxn ang="0">
                    <a:pos x="T8" y="T9"/>
                  </a:cxn>
                </a:cxnLst>
                <a:rect l="0" t="0" r="r" b="b"/>
                <a:pathLst>
                  <a:path w="64" h="81">
                    <a:moveTo>
                      <a:pt x="0" y="64"/>
                    </a:moveTo>
                    <a:lnTo>
                      <a:pt x="26" y="81"/>
                    </a:lnTo>
                    <a:lnTo>
                      <a:pt x="64" y="17"/>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7" name="Freeform 16"/>
              <p:cNvSpPr>
                <a:spLocks/>
              </p:cNvSpPr>
              <p:nvPr/>
            </p:nvSpPr>
            <p:spPr bwMode="black">
              <a:xfrm>
                <a:off x="4989513" y="4189413"/>
                <a:ext cx="98425" cy="128588"/>
              </a:xfrm>
              <a:custGeom>
                <a:avLst/>
                <a:gdLst>
                  <a:gd name="T0" fmla="*/ 26 w 62"/>
                  <a:gd name="T1" fmla="*/ 0 h 81"/>
                  <a:gd name="T2" fmla="*/ 0 w 62"/>
                  <a:gd name="T3" fmla="*/ 17 h 81"/>
                  <a:gd name="T4" fmla="*/ 36 w 62"/>
                  <a:gd name="T5" fmla="*/ 81 h 81"/>
                  <a:gd name="T6" fmla="*/ 62 w 62"/>
                  <a:gd name="T7" fmla="*/ 64 h 81"/>
                  <a:gd name="T8" fmla="*/ 26 w 62"/>
                  <a:gd name="T9" fmla="*/ 0 h 81"/>
                </a:gdLst>
                <a:ahLst/>
                <a:cxnLst>
                  <a:cxn ang="0">
                    <a:pos x="T0" y="T1"/>
                  </a:cxn>
                  <a:cxn ang="0">
                    <a:pos x="T2" y="T3"/>
                  </a:cxn>
                  <a:cxn ang="0">
                    <a:pos x="T4" y="T5"/>
                  </a:cxn>
                  <a:cxn ang="0">
                    <a:pos x="T6" y="T7"/>
                  </a:cxn>
                  <a:cxn ang="0">
                    <a:pos x="T8" y="T9"/>
                  </a:cxn>
                </a:cxnLst>
                <a:rect l="0" t="0" r="r" b="b"/>
                <a:pathLst>
                  <a:path w="62" h="81">
                    <a:moveTo>
                      <a:pt x="26" y="0"/>
                    </a:moveTo>
                    <a:lnTo>
                      <a:pt x="0" y="17"/>
                    </a:lnTo>
                    <a:lnTo>
                      <a:pt x="36" y="81"/>
                    </a:lnTo>
                    <a:lnTo>
                      <a:pt x="62" y="64"/>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8" name="Freeform 17"/>
              <p:cNvSpPr>
                <a:spLocks/>
              </p:cNvSpPr>
              <p:nvPr/>
            </p:nvSpPr>
            <p:spPr bwMode="black">
              <a:xfrm>
                <a:off x="4873626" y="3990976"/>
                <a:ext cx="98425" cy="123825"/>
              </a:xfrm>
              <a:custGeom>
                <a:avLst/>
                <a:gdLst>
                  <a:gd name="T0" fmla="*/ 0 w 62"/>
                  <a:gd name="T1" fmla="*/ 14 h 78"/>
                  <a:gd name="T2" fmla="*/ 36 w 62"/>
                  <a:gd name="T3" fmla="*/ 78 h 78"/>
                  <a:gd name="T4" fmla="*/ 62 w 62"/>
                  <a:gd name="T5" fmla="*/ 64 h 78"/>
                  <a:gd name="T6" fmla="*/ 26 w 62"/>
                  <a:gd name="T7" fmla="*/ 0 h 78"/>
                  <a:gd name="T8" fmla="*/ 0 w 62"/>
                  <a:gd name="T9" fmla="*/ 14 h 78"/>
                </a:gdLst>
                <a:ahLst/>
                <a:cxnLst>
                  <a:cxn ang="0">
                    <a:pos x="T0" y="T1"/>
                  </a:cxn>
                  <a:cxn ang="0">
                    <a:pos x="T2" y="T3"/>
                  </a:cxn>
                  <a:cxn ang="0">
                    <a:pos x="T4" y="T5"/>
                  </a:cxn>
                  <a:cxn ang="0">
                    <a:pos x="T6" y="T7"/>
                  </a:cxn>
                  <a:cxn ang="0">
                    <a:pos x="T8" y="T9"/>
                  </a:cxn>
                </a:cxnLst>
                <a:rect l="0" t="0" r="r" b="b"/>
                <a:pathLst>
                  <a:path w="62" h="78">
                    <a:moveTo>
                      <a:pt x="0" y="14"/>
                    </a:moveTo>
                    <a:lnTo>
                      <a:pt x="36" y="78"/>
                    </a:lnTo>
                    <a:lnTo>
                      <a:pt x="62" y="64"/>
                    </a:lnTo>
                    <a:lnTo>
                      <a:pt x="26" y="0"/>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9" name="Freeform 18"/>
              <p:cNvSpPr>
                <a:spLocks/>
              </p:cNvSpPr>
              <p:nvPr/>
            </p:nvSpPr>
            <p:spPr bwMode="black">
              <a:xfrm>
                <a:off x="3579813" y="2892426"/>
                <a:ext cx="1833563" cy="1068388"/>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0" name="Freeform 19"/>
              <p:cNvSpPr>
                <a:spLocks noEditPoints="1"/>
              </p:cNvSpPr>
              <p:nvPr/>
            </p:nvSpPr>
            <p:spPr bwMode="black">
              <a:xfrm>
                <a:off x="3321051" y="1598613"/>
                <a:ext cx="750888" cy="522288"/>
              </a:xfrm>
              <a:custGeom>
                <a:avLst/>
                <a:gdLst>
                  <a:gd name="T0" fmla="*/ 174 w 200"/>
                  <a:gd name="T1" fmla="*/ 0 h 139"/>
                  <a:gd name="T2" fmla="*/ 26 w 200"/>
                  <a:gd name="T3" fmla="*/ 0 h 139"/>
                  <a:gd name="T4" fmla="*/ 0 w 200"/>
                  <a:gd name="T5" fmla="*/ 27 h 139"/>
                  <a:gd name="T6" fmla="*/ 0 w 200"/>
                  <a:gd name="T7" fmla="*/ 113 h 139"/>
                  <a:gd name="T8" fmla="*/ 26 w 200"/>
                  <a:gd name="T9" fmla="*/ 139 h 139"/>
                  <a:gd name="T10" fmla="*/ 174 w 200"/>
                  <a:gd name="T11" fmla="*/ 139 h 139"/>
                  <a:gd name="T12" fmla="*/ 200 w 200"/>
                  <a:gd name="T13" fmla="*/ 113 h 139"/>
                  <a:gd name="T14" fmla="*/ 200 w 200"/>
                  <a:gd name="T15" fmla="*/ 27 h 139"/>
                  <a:gd name="T16" fmla="*/ 174 w 200"/>
                  <a:gd name="T17" fmla="*/ 0 h 139"/>
                  <a:gd name="T18" fmla="*/ 185 w 200"/>
                  <a:gd name="T19" fmla="*/ 113 h 139"/>
                  <a:gd name="T20" fmla="*/ 174 w 200"/>
                  <a:gd name="T21" fmla="*/ 124 h 139"/>
                  <a:gd name="T22" fmla="*/ 26 w 200"/>
                  <a:gd name="T23" fmla="*/ 124 h 139"/>
                  <a:gd name="T24" fmla="*/ 15 w 200"/>
                  <a:gd name="T25" fmla="*/ 113 h 139"/>
                  <a:gd name="T26" fmla="*/ 15 w 200"/>
                  <a:gd name="T27" fmla="*/ 27 h 139"/>
                  <a:gd name="T28" fmla="*/ 26 w 200"/>
                  <a:gd name="T29" fmla="*/ 16 h 139"/>
                  <a:gd name="T30" fmla="*/ 174 w 200"/>
                  <a:gd name="T31" fmla="*/ 16 h 139"/>
                  <a:gd name="T32" fmla="*/ 185 w 200"/>
                  <a:gd name="T33" fmla="*/ 27 h 139"/>
                  <a:gd name="T34" fmla="*/ 185 w 200"/>
                  <a:gd name="T35" fmla="*/ 11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39">
                    <a:moveTo>
                      <a:pt x="174" y="0"/>
                    </a:moveTo>
                    <a:cubicBezTo>
                      <a:pt x="26" y="0"/>
                      <a:pt x="26" y="0"/>
                      <a:pt x="26" y="0"/>
                    </a:cubicBezTo>
                    <a:cubicBezTo>
                      <a:pt x="12" y="0"/>
                      <a:pt x="0" y="12"/>
                      <a:pt x="0" y="27"/>
                    </a:cubicBezTo>
                    <a:cubicBezTo>
                      <a:pt x="0" y="113"/>
                      <a:pt x="0" y="113"/>
                      <a:pt x="0" y="113"/>
                    </a:cubicBezTo>
                    <a:cubicBezTo>
                      <a:pt x="0" y="127"/>
                      <a:pt x="12" y="139"/>
                      <a:pt x="26" y="139"/>
                    </a:cubicBezTo>
                    <a:cubicBezTo>
                      <a:pt x="174" y="139"/>
                      <a:pt x="174" y="139"/>
                      <a:pt x="174" y="139"/>
                    </a:cubicBezTo>
                    <a:cubicBezTo>
                      <a:pt x="188" y="139"/>
                      <a:pt x="200" y="127"/>
                      <a:pt x="200" y="113"/>
                    </a:cubicBezTo>
                    <a:cubicBezTo>
                      <a:pt x="200" y="27"/>
                      <a:pt x="200" y="27"/>
                      <a:pt x="200" y="27"/>
                    </a:cubicBezTo>
                    <a:cubicBezTo>
                      <a:pt x="200" y="12"/>
                      <a:pt x="188" y="0"/>
                      <a:pt x="174" y="0"/>
                    </a:cubicBezTo>
                    <a:moveTo>
                      <a:pt x="185" y="113"/>
                    </a:moveTo>
                    <a:cubicBezTo>
                      <a:pt x="185" y="119"/>
                      <a:pt x="180" y="124"/>
                      <a:pt x="174" y="124"/>
                    </a:cubicBezTo>
                    <a:cubicBezTo>
                      <a:pt x="26" y="124"/>
                      <a:pt x="26" y="124"/>
                      <a:pt x="26" y="124"/>
                    </a:cubicBezTo>
                    <a:cubicBezTo>
                      <a:pt x="20" y="124"/>
                      <a:pt x="15" y="119"/>
                      <a:pt x="15" y="113"/>
                    </a:cubicBezTo>
                    <a:cubicBezTo>
                      <a:pt x="15" y="27"/>
                      <a:pt x="15" y="27"/>
                      <a:pt x="15" y="27"/>
                    </a:cubicBezTo>
                    <a:cubicBezTo>
                      <a:pt x="15" y="21"/>
                      <a:pt x="20" y="16"/>
                      <a:pt x="26" y="16"/>
                    </a:cubicBezTo>
                    <a:cubicBezTo>
                      <a:pt x="174" y="16"/>
                      <a:pt x="174" y="16"/>
                      <a:pt x="174" y="16"/>
                    </a:cubicBezTo>
                    <a:cubicBezTo>
                      <a:pt x="180" y="16"/>
                      <a:pt x="185" y="21"/>
                      <a:pt x="185" y="27"/>
                    </a:cubicBezTo>
                    <a:lnTo>
                      <a:pt x="185" y="1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1" name="Freeform 20"/>
              <p:cNvSpPr>
                <a:spLocks/>
              </p:cNvSpPr>
              <p:nvPr/>
            </p:nvSpPr>
            <p:spPr bwMode="black">
              <a:xfrm>
                <a:off x="3178176" y="2154238"/>
                <a:ext cx="1035050" cy="239713"/>
              </a:xfrm>
              <a:custGeom>
                <a:avLst/>
                <a:gdLst>
                  <a:gd name="T0" fmla="*/ 7 w 276"/>
                  <a:gd name="T1" fmla="*/ 64 h 64"/>
                  <a:gd name="T2" fmla="*/ 269 w 276"/>
                  <a:gd name="T3" fmla="*/ 64 h 64"/>
                  <a:gd name="T4" fmla="*/ 276 w 276"/>
                  <a:gd name="T5" fmla="*/ 57 h 64"/>
                  <a:gd name="T6" fmla="*/ 276 w 276"/>
                  <a:gd name="T7" fmla="*/ 54 h 64"/>
                  <a:gd name="T8" fmla="*/ 272 w 276"/>
                  <a:gd name="T9" fmla="*/ 42 h 64"/>
                  <a:gd name="T10" fmla="*/ 240 w 276"/>
                  <a:gd name="T11" fmla="*/ 5 h 64"/>
                  <a:gd name="T12" fmla="*/ 229 w 276"/>
                  <a:gd name="T13" fmla="*/ 0 h 64"/>
                  <a:gd name="T14" fmla="*/ 47 w 276"/>
                  <a:gd name="T15" fmla="*/ 0 h 64"/>
                  <a:gd name="T16" fmla="*/ 36 w 276"/>
                  <a:gd name="T17" fmla="*/ 5 h 64"/>
                  <a:gd name="T18" fmla="*/ 4 w 276"/>
                  <a:gd name="T19" fmla="*/ 42 h 64"/>
                  <a:gd name="T20" fmla="*/ 0 w 276"/>
                  <a:gd name="T21" fmla="*/ 54 h 64"/>
                  <a:gd name="T22" fmla="*/ 0 w 276"/>
                  <a:gd name="T23" fmla="*/ 57 h 64"/>
                  <a:gd name="T24" fmla="*/ 7 w 27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6" h="64">
                    <a:moveTo>
                      <a:pt x="7" y="64"/>
                    </a:moveTo>
                    <a:cubicBezTo>
                      <a:pt x="269" y="64"/>
                      <a:pt x="269" y="64"/>
                      <a:pt x="269" y="64"/>
                    </a:cubicBezTo>
                    <a:cubicBezTo>
                      <a:pt x="273" y="64"/>
                      <a:pt x="276" y="61"/>
                      <a:pt x="276" y="57"/>
                    </a:cubicBezTo>
                    <a:cubicBezTo>
                      <a:pt x="276" y="54"/>
                      <a:pt x="276" y="54"/>
                      <a:pt x="276" y="54"/>
                    </a:cubicBezTo>
                    <a:cubicBezTo>
                      <a:pt x="276" y="50"/>
                      <a:pt x="274" y="45"/>
                      <a:pt x="272" y="42"/>
                    </a:cubicBezTo>
                    <a:cubicBezTo>
                      <a:pt x="240" y="5"/>
                      <a:pt x="240" y="5"/>
                      <a:pt x="240" y="5"/>
                    </a:cubicBezTo>
                    <a:cubicBezTo>
                      <a:pt x="238" y="2"/>
                      <a:pt x="233" y="0"/>
                      <a:pt x="229" y="0"/>
                    </a:cubicBezTo>
                    <a:cubicBezTo>
                      <a:pt x="47" y="0"/>
                      <a:pt x="47" y="0"/>
                      <a:pt x="47" y="0"/>
                    </a:cubicBezTo>
                    <a:cubicBezTo>
                      <a:pt x="43" y="0"/>
                      <a:pt x="38" y="2"/>
                      <a:pt x="36" y="5"/>
                    </a:cubicBezTo>
                    <a:cubicBezTo>
                      <a:pt x="4" y="42"/>
                      <a:pt x="4" y="42"/>
                      <a:pt x="4" y="42"/>
                    </a:cubicBezTo>
                    <a:cubicBezTo>
                      <a:pt x="2" y="45"/>
                      <a:pt x="0" y="50"/>
                      <a:pt x="0" y="54"/>
                    </a:cubicBezTo>
                    <a:cubicBezTo>
                      <a:pt x="0" y="57"/>
                      <a:pt x="0" y="57"/>
                      <a:pt x="0" y="57"/>
                    </a:cubicBezTo>
                    <a:cubicBezTo>
                      <a:pt x="0" y="61"/>
                      <a:pt x="3" y="64"/>
                      <a:pt x="7"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2" name="Freeform 21"/>
              <p:cNvSpPr>
                <a:spLocks noEditPoints="1"/>
              </p:cNvSpPr>
              <p:nvPr/>
            </p:nvSpPr>
            <p:spPr bwMode="black">
              <a:xfrm>
                <a:off x="4730751" y="1639888"/>
                <a:ext cx="781050" cy="608013"/>
              </a:xfrm>
              <a:custGeom>
                <a:avLst/>
                <a:gdLst>
                  <a:gd name="T0" fmla="*/ 177 w 208"/>
                  <a:gd name="T1" fmla="*/ 0 h 162"/>
                  <a:gd name="T2" fmla="*/ 31 w 208"/>
                  <a:gd name="T3" fmla="*/ 0 h 162"/>
                  <a:gd name="T4" fmla="*/ 0 w 208"/>
                  <a:gd name="T5" fmla="*/ 31 h 162"/>
                  <a:gd name="T6" fmla="*/ 0 w 208"/>
                  <a:gd name="T7" fmla="*/ 131 h 162"/>
                  <a:gd name="T8" fmla="*/ 31 w 208"/>
                  <a:gd name="T9" fmla="*/ 162 h 162"/>
                  <a:gd name="T10" fmla="*/ 177 w 208"/>
                  <a:gd name="T11" fmla="*/ 162 h 162"/>
                  <a:gd name="T12" fmla="*/ 208 w 208"/>
                  <a:gd name="T13" fmla="*/ 131 h 162"/>
                  <a:gd name="T14" fmla="*/ 208 w 208"/>
                  <a:gd name="T15" fmla="*/ 31 h 162"/>
                  <a:gd name="T16" fmla="*/ 177 w 208"/>
                  <a:gd name="T17" fmla="*/ 0 h 162"/>
                  <a:gd name="T18" fmla="*/ 190 w 208"/>
                  <a:gd name="T19" fmla="*/ 131 h 162"/>
                  <a:gd name="T20" fmla="*/ 177 w 208"/>
                  <a:gd name="T21" fmla="*/ 144 h 162"/>
                  <a:gd name="T22" fmla="*/ 31 w 208"/>
                  <a:gd name="T23" fmla="*/ 144 h 162"/>
                  <a:gd name="T24" fmla="*/ 18 w 208"/>
                  <a:gd name="T25" fmla="*/ 131 h 162"/>
                  <a:gd name="T26" fmla="*/ 18 w 208"/>
                  <a:gd name="T27" fmla="*/ 31 h 162"/>
                  <a:gd name="T28" fmla="*/ 31 w 208"/>
                  <a:gd name="T29" fmla="*/ 18 h 162"/>
                  <a:gd name="T30" fmla="*/ 177 w 208"/>
                  <a:gd name="T31" fmla="*/ 18 h 162"/>
                  <a:gd name="T32" fmla="*/ 190 w 208"/>
                  <a:gd name="T33" fmla="*/ 31 h 162"/>
                  <a:gd name="T34" fmla="*/ 190 w 208"/>
                  <a:gd name="T35" fmla="*/ 13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 h="162">
                    <a:moveTo>
                      <a:pt x="177" y="0"/>
                    </a:moveTo>
                    <a:cubicBezTo>
                      <a:pt x="31" y="0"/>
                      <a:pt x="31" y="0"/>
                      <a:pt x="31" y="0"/>
                    </a:cubicBezTo>
                    <a:cubicBezTo>
                      <a:pt x="14" y="0"/>
                      <a:pt x="0" y="14"/>
                      <a:pt x="0" y="31"/>
                    </a:cubicBezTo>
                    <a:cubicBezTo>
                      <a:pt x="0" y="131"/>
                      <a:pt x="0" y="131"/>
                      <a:pt x="0" y="131"/>
                    </a:cubicBezTo>
                    <a:cubicBezTo>
                      <a:pt x="0" y="148"/>
                      <a:pt x="14" y="162"/>
                      <a:pt x="31" y="162"/>
                    </a:cubicBezTo>
                    <a:cubicBezTo>
                      <a:pt x="177" y="162"/>
                      <a:pt x="177" y="162"/>
                      <a:pt x="177" y="162"/>
                    </a:cubicBezTo>
                    <a:cubicBezTo>
                      <a:pt x="194" y="162"/>
                      <a:pt x="208" y="148"/>
                      <a:pt x="208" y="131"/>
                    </a:cubicBezTo>
                    <a:cubicBezTo>
                      <a:pt x="208" y="31"/>
                      <a:pt x="208" y="31"/>
                      <a:pt x="208" y="31"/>
                    </a:cubicBezTo>
                    <a:cubicBezTo>
                      <a:pt x="208" y="14"/>
                      <a:pt x="194" y="0"/>
                      <a:pt x="177" y="0"/>
                    </a:cubicBezTo>
                    <a:moveTo>
                      <a:pt x="190" y="131"/>
                    </a:moveTo>
                    <a:cubicBezTo>
                      <a:pt x="190" y="138"/>
                      <a:pt x="184" y="144"/>
                      <a:pt x="177" y="144"/>
                    </a:cubicBezTo>
                    <a:cubicBezTo>
                      <a:pt x="31" y="144"/>
                      <a:pt x="31" y="144"/>
                      <a:pt x="31" y="144"/>
                    </a:cubicBezTo>
                    <a:cubicBezTo>
                      <a:pt x="24" y="144"/>
                      <a:pt x="18" y="138"/>
                      <a:pt x="18" y="131"/>
                    </a:cubicBezTo>
                    <a:cubicBezTo>
                      <a:pt x="18" y="31"/>
                      <a:pt x="18" y="31"/>
                      <a:pt x="18" y="31"/>
                    </a:cubicBezTo>
                    <a:cubicBezTo>
                      <a:pt x="18" y="24"/>
                      <a:pt x="24" y="18"/>
                      <a:pt x="31" y="18"/>
                    </a:cubicBezTo>
                    <a:cubicBezTo>
                      <a:pt x="177" y="18"/>
                      <a:pt x="177" y="18"/>
                      <a:pt x="177" y="18"/>
                    </a:cubicBezTo>
                    <a:cubicBezTo>
                      <a:pt x="184" y="18"/>
                      <a:pt x="190" y="24"/>
                      <a:pt x="190" y="31"/>
                    </a:cubicBezTo>
                    <a:lnTo>
                      <a:pt x="190" y="1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3" name="Freeform 22"/>
              <p:cNvSpPr>
                <a:spLocks/>
              </p:cNvSpPr>
              <p:nvPr/>
            </p:nvSpPr>
            <p:spPr bwMode="black">
              <a:xfrm>
                <a:off x="4911726" y="2289176"/>
                <a:ext cx="419100" cy="104775"/>
              </a:xfrm>
              <a:custGeom>
                <a:avLst/>
                <a:gdLst>
                  <a:gd name="T0" fmla="*/ 112 w 112"/>
                  <a:gd name="T1" fmla="*/ 25 h 28"/>
                  <a:gd name="T2" fmla="*/ 112 w 112"/>
                  <a:gd name="T3" fmla="*/ 23 h 28"/>
                  <a:gd name="T4" fmla="*/ 110 w 112"/>
                  <a:gd name="T5" fmla="*/ 18 h 28"/>
                  <a:gd name="T6" fmla="*/ 96 w 112"/>
                  <a:gd name="T7" fmla="*/ 2 h 28"/>
                  <a:gd name="T8" fmla="*/ 91 w 112"/>
                  <a:gd name="T9" fmla="*/ 0 h 28"/>
                  <a:gd name="T10" fmla="*/ 21 w 112"/>
                  <a:gd name="T11" fmla="*/ 0 h 28"/>
                  <a:gd name="T12" fmla="*/ 16 w 112"/>
                  <a:gd name="T13" fmla="*/ 2 h 28"/>
                  <a:gd name="T14" fmla="*/ 2 w 112"/>
                  <a:gd name="T15" fmla="*/ 18 h 28"/>
                  <a:gd name="T16" fmla="*/ 0 w 112"/>
                  <a:gd name="T17" fmla="*/ 23 h 28"/>
                  <a:gd name="T18" fmla="*/ 0 w 112"/>
                  <a:gd name="T19" fmla="*/ 25 h 28"/>
                  <a:gd name="T20" fmla="*/ 3 w 112"/>
                  <a:gd name="T21" fmla="*/ 28 h 28"/>
                  <a:gd name="T22" fmla="*/ 109 w 112"/>
                  <a:gd name="T23" fmla="*/ 28 h 28"/>
                  <a:gd name="T24" fmla="*/ 112 w 112"/>
                  <a:gd name="T25"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28">
                    <a:moveTo>
                      <a:pt x="112" y="25"/>
                    </a:moveTo>
                    <a:cubicBezTo>
                      <a:pt x="112" y="23"/>
                      <a:pt x="112" y="23"/>
                      <a:pt x="112" y="23"/>
                    </a:cubicBezTo>
                    <a:cubicBezTo>
                      <a:pt x="112" y="22"/>
                      <a:pt x="111" y="20"/>
                      <a:pt x="110" y="18"/>
                    </a:cubicBezTo>
                    <a:cubicBezTo>
                      <a:pt x="96" y="2"/>
                      <a:pt x="96" y="2"/>
                      <a:pt x="96" y="2"/>
                    </a:cubicBezTo>
                    <a:cubicBezTo>
                      <a:pt x="95" y="1"/>
                      <a:pt x="93" y="0"/>
                      <a:pt x="91" y="0"/>
                    </a:cubicBezTo>
                    <a:cubicBezTo>
                      <a:pt x="21" y="0"/>
                      <a:pt x="21" y="0"/>
                      <a:pt x="21" y="0"/>
                    </a:cubicBezTo>
                    <a:cubicBezTo>
                      <a:pt x="19" y="0"/>
                      <a:pt x="17" y="1"/>
                      <a:pt x="16" y="2"/>
                    </a:cubicBezTo>
                    <a:cubicBezTo>
                      <a:pt x="2" y="18"/>
                      <a:pt x="2" y="18"/>
                      <a:pt x="2" y="18"/>
                    </a:cubicBezTo>
                    <a:cubicBezTo>
                      <a:pt x="1" y="20"/>
                      <a:pt x="0" y="22"/>
                      <a:pt x="0" y="23"/>
                    </a:cubicBezTo>
                    <a:cubicBezTo>
                      <a:pt x="0" y="25"/>
                      <a:pt x="0" y="25"/>
                      <a:pt x="0" y="25"/>
                    </a:cubicBezTo>
                    <a:cubicBezTo>
                      <a:pt x="0" y="26"/>
                      <a:pt x="1" y="28"/>
                      <a:pt x="3" y="28"/>
                    </a:cubicBezTo>
                    <a:cubicBezTo>
                      <a:pt x="109" y="28"/>
                      <a:pt x="109" y="28"/>
                      <a:pt x="109" y="28"/>
                    </a:cubicBezTo>
                    <a:cubicBezTo>
                      <a:pt x="111" y="28"/>
                      <a:pt x="112" y="26"/>
                      <a:pt x="112" y="2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4" name="Freeform 23"/>
              <p:cNvSpPr>
                <a:spLocks noEditPoints="1"/>
              </p:cNvSpPr>
              <p:nvPr/>
            </p:nvSpPr>
            <p:spPr bwMode="black">
              <a:xfrm>
                <a:off x="5586413" y="1639888"/>
                <a:ext cx="385763" cy="754063"/>
              </a:xfrm>
              <a:custGeom>
                <a:avLst/>
                <a:gdLst>
                  <a:gd name="T0" fmla="*/ 89 w 103"/>
                  <a:gd name="T1" fmla="*/ 0 h 201"/>
                  <a:gd name="T2" fmla="*/ 13 w 103"/>
                  <a:gd name="T3" fmla="*/ 0 h 201"/>
                  <a:gd name="T4" fmla="*/ 0 w 103"/>
                  <a:gd name="T5" fmla="*/ 13 h 201"/>
                  <a:gd name="T6" fmla="*/ 0 w 103"/>
                  <a:gd name="T7" fmla="*/ 187 h 201"/>
                  <a:gd name="T8" fmla="*/ 13 w 103"/>
                  <a:gd name="T9" fmla="*/ 201 h 201"/>
                  <a:gd name="T10" fmla="*/ 89 w 103"/>
                  <a:gd name="T11" fmla="*/ 201 h 201"/>
                  <a:gd name="T12" fmla="*/ 103 w 103"/>
                  <a:gd name="T13" fmla="*/ 187 h 201"/>
                  <a:gd name="T14" fmla="*/ 103 w 103"/>
                  <a:gd name="T15" fmla="*/ 13 h 201"/>
                  <a:gd name="T16" fmla="*/ 89 w 103"/>
                  <a:gd name="T17" fmla="*/ 0 h 201"/>
                  <a:gd name="T18" fmla="*/ 52 w 103"/>
                  <a:gd name="T19" fmla="*/ 187 h 201"/>
                  <a:gd name="T20" fmla="*/ 40 w 103"/>
                  <a:gd name="T21" fmla="*/ 175 h 201"/>
                  <a:gd name="T22" fmla="*/ 52 w 103"/>
                  <a:gd name="T23" fmla="*/ 163 h 201"/>
                  <a:gd name="T24" fmla="*/ 63 w 103"/>
                  <a:gd name="T25" fmla="*/ 175 h 201"/>
                  <a:gd name="T26" fmla="*/ 52 w 103"/>
                  <a:gd name="T27" fmla="*/ 18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201">
                    <a:moveTo>
                      <a:pt x="89" y="0"/>
                    </a:moveTo>
                    <a:cubicBezTo>
                      <a:pt x="13" y="0"/>
                      <a:pt x="13" y="0"/>
                      <a:pt x="13" y="0"/>
                    </a:cubicBezTo>
                    <a:cubicBezTo>
                      <a:pt x="6" y="0"/>
                      <a:pt x="0" y="6"/>
                      <a:pt x="0" y="13"/>
                    </a:cubicBezTo>
                    <a:cubicBezTo>
                      <a:pt x="0" y="187"/>
                      <a:pt x="0" y="187"/>
                      <a:pt x="0" y="187"/>
                    </a:cubicBezTo>
                    <a:cubicBezTo>
                      <a:pt x="0" y="195"/>
                      <a:pt x="6" y="201"/>
                      <a:pt x="13" y="201"/>
                    </a:cubicBezTo>
                    <a:cubicBezTo>
                      <a:pt x="89" y="201"/>
                      <a:pt x="89" y="201"/>
                      <a:pt x="89" y="201"/>
                    </a:cubicBezTo>
                    <a:cubicBezTo>
                      <a:pt x="97" y="201"/>
                      <a:pt x="103" y="195"/>
                      <a:pt x="103" y="187"/>
                    </a:cubicBezTo>
                    <a:cubicBezTo>
                      <a:pt x="103" y="13"/>
                      <a:pt x="103" y="13"/>
                      <a:pt x="103" y="13"/>
                    </a:cubicBezTo>
                    <a:cubicBezTo>
                      <a:pt x="103" y="6"/>
                      <a:pt x="97" y="0"/>
                      <a:pt x="89" y="0"/>
                    </a:cubicBezTo>
                    <a:moveTo>
                      <a:pt x="52" y="187"/>
                    </a:moveTo>
                    <a:cubicBezTo>
                      <a:pt x="45" y="187"/>
                      <a:pt x="40" y="181"/>
                      <a:pt x="40" y="175"/>
                    </a:cubicBezTo>
                    <a:cubicBezTo>
                      <a:pt x="40" y="168"/>
                      <a:pt x="45" y="163"/>
                      <a:pt x="52" y="163"/>
                    </a:cubicBezTo>
                    <a:cubicBezTo>
                      <a:pt x="58" y="163"/>
                      <a:pt x="63" y="168"/>
                      <a:pt x="63" y="175"/>
                    </a:cubicBezTo>
                    <a:cubicBezTo>
                      <a:pt x="63" y="181"/>
                      <a:pt x="58" y="187"/>
                      <a:pt x="52" y="18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5" name="Freeform 24"/>
              <p:cNvSpPr>
                <a:spLocks noEditPoints="1"/>
              </p:cNvSpPr>
              <p:nvPr/>
            </p:nvSpPr>
            <p:spPr bwMode="black">
              <a:xfrm>
                <a:off x="2462213" y="3032126"/>
                <a:ext cx="525463" cy="804863"/>
              </a:xfrm>
              <a:custGeom>
                <a:avLst/>
                <a:gdLst>
                  <a:gd name="T0" fmla="*/ 109 w 140"/>
                  <a:gd name="T1" fmla="*/ 0 h 215"/>
                  <a:gd name="T2" fmla="*/ 31 w 140"/>
                  <a:gd name="T3" fmla="*/ 0 h 215"/>
                  <a:gd name="T4" fmla="*/ 0 w 140"/>
                  <a:gd name="T5" fmla="*/ 30 h 215"/>
                  <a:gd name="T6" fmla="*/ 0 w 140"/>
                  <a:gd name="T7" fmla="*/ 184 h 215"/>
                  <a:gd name="T8" fmla="*/ 31 w 140"/>
                  <a:gd name="T9" fmla="*/ 215 h 215"/>
                  <a:gd name="T10" fmla="*/ 109 w 140"/>
                  <a:gd name="T11" fmla="*/ 215 h 215"/>
                  <a:gd name="T12" fmla="*/ 140 w 140"/>
                  <a:gd name="T13" fmla="*/ 184 h 215"/>
                  <a:gd name="T14" fmla="*/ 140 w 140"/>
                  <a:gd name="T15" fmla="*/ 30 h 215"/>
                  <a:gd name="T16" fmla="*/ 109 w 140"/>
                  <a:gd name="T17" fmla="*/ 0 h 215"/>
                  <a:gd name="T18" fmla="*/ 122 w 140"/>
                  <a:gd name="T19" fmla="*/ 177 h 215"/>
                  <a:gd name="T20" fmla="*/ 109 w 140"/>
                  <a:gd name="T21" fmla="*/ 195 h 215"/>
                  <a:gd name="T22" fmla="*/ 31 w 140"/>
                  <a:gd name="T23" fmla="*/ 195 h 215"/>
                  <a:gd name="T24" fmla="*/ 18 w 140"/>
                  <a:gd name="T25" fmla="*/ 177 h 215"/>
                  <a:gd name="T26" fmla="*/ 18 w 140"/>
                  <a:gd name="T27" fmla="*/ 35 h 215"/>
                  <a:gd name="T28" fmla="*/ 31 w 140"/>
                  <a:gd name="T29" fmla="*/ 18 h 215"/>
                  <a:gd name="T30" fmla="*/ 109 w 140"/>
                  <a:gd name="T31" fmla="*/ 18 h 215"/>
                  <a:gd name="T32" fmla="*/ 122 w 140"/>
                  <a:gd name="T33" fmla="*/ 35 h 215"/>
                  <a:gd name="T34" fmla="*/ 122 w 140"/>
                  <a:gd name="T35" fmla="*/ 17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215">
                    <a:moveTo>
                      <a:pt x="109" y="0"/>
                    </a:moveTo>
                    <a:cubicBezTo>
                      <a:pt x="31" y="0"/>
                      <a:pt x="31" y="0"/>
                      <a:pt x="31" y="0"/>
                    </a:cubicBezTo>
                    <a:cubicBezTo>
                      <a:pt x="14" y="0"/>
                      <a:pt x="0" y="13"/>
                      <a:pt x="0" y="30"/>
                    </a:cubicBezTo>
                    <a:cubicBezTo>
                      <a:pt x="0" y="184"/>
                      <a:pt x="0" y="184"/>
                      <a:pt x="0" y="184"/>
                    </a:cubicBezTo>
                    <a:cubicBezTo>
                      <a:pt x="0" y="201"/>
                      <a:pt x="14" y="215"/>
                      <a:pt x="31" y="215"/>
                    </a:cubicBezTo>
                    <a:cubicBezTo>
                      <a:pt x="109" y="215"/>
                      <a:pt x="109" y="215"/>
                      <a:pt x="109" y="215"/>
                    </a:cubicBezTo>
                    <a:cubicBezTo>
                      <a:pt x="126" y="215"/>
                      <a:pt x="140" y="201"/>
                      <a:pt x="140" y="184"/>
                    </a:cubicBezTo>
                    <a:cubicBezTo>
                      <a:pt x="140" y="30"/>
                      <a:pt x="140" y="30"/>
                      <a:pt x="140" y="30"/>
                    </a:cubicBezTo>
                    <a:cubicBezTo>
                      <a:pt x="140" y="13"/>
                      <a:pt x="126" y="0"/>
                      <a:pt x="109" y="0"/>
                    </a:cubicBezTo>
                    <a:moveTo>
                      <a:pt x="122" y="177"/>
                    </a:moveTo>
                    <a:cubicBezTo>
                      <a:pt x="122" y="187"/>
                      <a:pt x="116" y="195"/>
                      <a:pt x="109" y="195"/>
                    </a:cubicBezTo>
                    <a:cubicBezTo>
                      <a:pt x="31" y="195"/>
                      <a:pt x="31" y="195"/>
                      <a:pt x="31" y="195"/>
                    </a:cubicBezTo>
                    <a:cubicBezTo>
                      <a:pt x="24" y="195"/>
                      <a:pt x="18" y="187"/>
                      <a:pt x="18" y="177"/>
                    </a:cubicBezTo>
                    <a:cubicBezTo>
                      <a:pt x="18" y="35"/>
                      <a:pt x="18" y="35"/>
                      <a:pt x="18" y="35"/>
                    </a:cubicBezTo>
                    <a:cubicBezTo>
                      <a:pt x="18" y="26"/>
                      <a:pt x="24" y="18"/>
                      <a:pt x="31" y="18"/>
                    </a:cubicBezTo>
                    <a:cubicBezTo>
                      <a:pt x="109" y="18"/>
                      <a:pt x="109" y="18"/>
                      <a:pt x="109" y="18"/>
                    </a:cubicBezTo>
                    <a:cubicBezTo>
                      <a:pt x="116" y="18"/>
                      <a:pt x="122" y="26"/>
                      <a:pt x="122" y="35"/>
                    </a:cubicBezTo>
                    <a:lnTo>
                      <a:pt x="122" y="1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6" name="Freeform 25"/>
              <p:cNvSpPr>
                <a:spLocks noEditPoints="1"/>
              </p:cNvSpPr>
              <p:nvPr/>
            </p:nvSpPr>
            <p:spPr bwMode="black">
              <a:xfrm>
                <a:off x="5049838" y="4411663"/>
                <a:ext cx="739775" cy="854075"/>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7" name="Freeform 26"/>
              <p:cNvSpPr>
                <a:spLocks noEditPoints="1"/>
              </p:cNvSpPr>
              <p:nvPr/>
            </p:nvSpPr>
            <p:spPr bwMode="black">
              <a:xfrm>
                <a:off x="6043613" y="2960688"/>
                <a:ext cx="641350" cy="876300"/>
              </a:xfrm>
              <a:custGeom>
                <a:avLst/>
                <a:gdLst>
                  <a:gd name="T0" fmla="*/ 146 w 171"/>
                  <a:gd name="T1" fmla="*/ 0 h 234"/>
                  <a:gd name="T2" fmla="*/ 25 w 171"/>
                  <a:gd name="T3" fmla="*/ 0 h 234"/>
                  <a:gd name="T4" fmla="*/ 0 w 171"/>
                  <a:gd name="T5" fmla="*/ 25 h 234"/>
                  <a:gd name="T6" fmla="*/ 0 w 171"/>
                  <a:gd name="T7" fmla="*/ 209 h 234"/>
                  <a:gd name="T8" fmla="*/ 25 w 171"/>
                  <a:gd name="T9" fmla="*/ 234 h 234"/>
                  <a:gd name="T10" fmla="*/ 146 w 171"/>
                  <a:gd name="T11" fmla="*/ 234 h 234"/>
                  <a:gd name="T12" fmla="*/ 171 w 171"/>
                  <a:gd name="T13" fmla="*/ 209 h 234"/>
                  <a:gd name="T14" fmla="*/ 171 w 171"/>
                  <a:gd name="T15" fmla="*/ 25 h 234"/>
                  <a:gd name="T16" fmla="*/ 146 w 171"/>
                  <a:gd name="T17" fmla="*/ 0 h 234"/>
                  <a:gd name="T18" fmla="*/ 157 w 171"/>
                  <a:gd name="T19" fmla="*/ 183 h 234"/>
                  <a:gd name="T20" fmla="*/ 146 w 171"/>
                  <a:gd name="T21" fmla="*/ 193 h 234"/>
                  <a:gd name="T22" fmla="*/ 25 w 171"/>
                  <a:gd name="T23" fmla="*/ 193 h 234"/>
                  <a:gd name="T24" fmla="*/ 15 w 171"/>
                  <a:gd name="T25" fmla="*/ 183 h 234"/>
                  <a:gd name="T26" fmla="*/ 15 w 171"/>
                  <a:gd name="T27" fmla="*/ 25 h 234"/>
                  <a:gd name="T28" fmla="*/ 25 w 171"/>
                  <a:gd name="T29" fmla="*/ 14 h 234"/>
                  <a:gd name="T30" fmla="*/ 146 w 171"/>
                  <a:gd name="T31" fmla="*/ 14 h 234"/>
                  <a:gd name="T32" fmla="*/ 157 w 171"/>
                  <a:gd name="T33" fmla="*/ 25 h 234"/>
                  <a:gd name="T34" fmla="*/ 157 w 171"/>
                  <a:gd name="T35" fmla="*/ 18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234">
                    <a:moveTo>
                      <a:pt x="146" y="0"/>
                    </a:moveTo>
                    <a:cubicBezTo>
                      <a:pt x="25" y="0"/>
                      <a:pt x="25" y="0"/>
                      <a:pt x="25" y="0"/>
                    </a:cubicBezTo>
                    <a:cubicBezTo>
                      <a:pt x="11" y="0"/>
                      <a:pt x="0" y="11"/>
                      <a:pt x="0" y="25"/>
                    </a:cubicBezTo>
                    <a:cubicBezTo>
                      <a:pt x="0" y="209"/>
                      <a:pt x="0" y="209"/>
                      <a:pt x="0" y="209"/>
                    </a:cubicBezTo>
                    <a:cubicBezTo>
                      <a:pt x="0" y="223"/>
                      <a:pt x="11" y="234"/>
                      <a:pt x="25" y="234"/>
                    </a:cubicBezTo>
                    <a:cubicBezTo>
                      <a:pt x="146" y="234"/>
                      <a:pt x="146" y="234"/>
                      <a:pt x="146" y="234"/>
                    </a:cubicBezTo>
                    <a:cubicBezTo>
                      <a:pt x="160" y="234"/>
                      <a:pt x="171" y="223"/>
                      <a:pt x="171" y="209"/>
                    </a:cubicBezTo>
                    <a:cubicBezTo>
                      <a:pt x="171" y="25"/>
                      <a:pt x="171" y="25"/>
                      <a:pt x="171" y="25"/>
                    </a:cubicBezTo>
                    <a:cubicBezTo>
                      <a:pt x="171" y="11"/>
                      <a:pt x="160" y="0"/>
                      <a:pt x="146" y="0"/>
                    </a:cubicBezTo>
                    <a:moveTo>
                      <a:pt x="157" y="183"/>
                    </a:moveTo>
                    <a:cubicBezTo>
                      <a:pt x="157" y="188"/>
                      <a:pt x="152" y="193"/>
                      <a:pt x="146" y="193"/>
                    </a:cubicBezTo>
                    <a:cubicBezTo>
                      <a:pt x="25" y="193"/>
                      <a:pt x="25" y="193"/>
                      <a:pt x="25" y="193"/>
                    </a:cubicBezTo>
                    <a:cubicBezTo>
                      <a:pt x="19" y="193"/>
                      <a:pt x="15" y="188"/>
                      <a:pt x="15" y="183"/>
                    </a:cubicBezTo>
                    <a:cubicBezTo>
                      <a:pt x="15" y="25"/>
                      <a:pt x="15" y="25"/>
                      <a:pt x="15" y="25"/>
                    </a:cubicBezTo>
                    <a:cubicBezTo>
                      <a:pt x="15" y="19"/>
                      <a:pt x="19" y="14"/>
                      <a:pt x="25" y="14"/>
                    </a:cubicBezTo>
                    <a:cubicBezTo>
                      <a:pt x="146" y="14"/>
                      <a:pt x="146" y="14"/>
                      <a:pt x="146" y="14"/>
                    </a:cubicBezTo>
                    <a:cubicBezTo>
                      <a:pt x="152" y="14"/>
                      <a:pt x="157" y="19"/>
                      <a:pt x="157" y="25"/>
                    </a:cubicBezTo>
                    <a:lnTo>
                      <a:pt x="157" y="1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8" name="Oval 27"/>
              <p:cNvSpPr>
                <a:spLocks noChangeArrowheads="1"/>
              </p:cNvSpPr>
              <p:nvPr/>
            </p:nvSpPr>
            <p:spPr bwMode="black">
              <a:xfrm>
                <a:off x="62245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9" name="Oval 28"/>
              <p:cNvSpPr>
                <a:spLocks noChangeArrowheads="1"/>
              </p:cNvSpPr>
              <p:nvPr/>
            </p:nvSpPr>
            <p:spPr bwMode="black">
              <a:xfrm>
                <a:off x="64531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0" name="Oval 29"/>
              <p:cNvSpPr>
                <a:spLocks noChangeArrowheads="1"/>
              </p:cNvSpPr>
              <p:nvPr/>
            </p:nvSpPr>
            <p:spPr bwMode="black">
              <a:xfrm>
                <a:off x="6340476"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1" name="Freeform 30"/>
              <p:cNvSpPr>
                <a:spLocks/>
              </p:cNvSpPr>
              <p:nvPr/>
            </p:nvSpPr>
            <p:spPr bwMode="black">
              <a:xfrm>
                <a:off x="3425826" y="4279901"/>
                <a:ext cx="442913" cy="16192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2" name="Freeform 31"/>
              <p:cNvSpPr>
                <a:spLocks noEditPoints="1"/>
              </p:cNvSpPr>
              <p:nvPr/>
            </p:nvSpPr>
            <p:spPr bwMode="black">
              <a:xfrm>
                <a:off x="3414713" y="4456113"/>
                <a:ext cx="476250" cy="80962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grpSp>
      <p:grpSp>
        <p:nvGrpSpPr>
          <p:cNvPr id="50" name="Group 49"/>
          <p:cNvGrpSpPr/>
          <p:nvPr/>
        </p:nvGrpSpPr>
        <p:grpSpPr>
          <a:xfrm>
            <a:off x="507624" y="3011804"/>
            <a:ext cx="2620438" cy="1872234"/>
            <a:chOff x="676656" y="3949024"/>
            <a:chExt cx="3493008" cy="2496312"/>
          </a:xfrm>
        </p:grpSpPr>
        <p:sp>
          <p:nvSpPr>
            <p:cNvPr id="9" name="Dark Blue"/>
            <p:cNvSpPr/>
            <p:nvPr/>
          </p:nvSpPr>
          <p:spPr bwMode="auto">
            <a:xfrm>
              <a:off x="676656" y="3949024"/>
              <a:ext cx="3493008" cy="2496312"/>
            </a:xfrm>
            <a:prstGeom prst="roundRect">
              <a:avLst>
                <a:gd name="adj" fmla="val 0"/>
              </a:avLst>
            </a:prstGeom>
            <a:solidFill>
              <a:schemeClr val="bg1">
                <a:lumMod val="40000"/>
                <a:lumOff val="6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a:p>
              <a:pPr algn="ctr" defTabSz="685637"/>
              <a:r>
                <a:rPr lang="en-US" sz="1700" dirty="0">
                  <a:solidFill>
                    <a:srgbClr val="FFFFFF">
                      <a:alpha val="98824"/>
                    </a:srgbClr>
                  </a:solidFill>
                  <a:latin typeface="Segoe UI" pitchFamily="34" charset="0"/>
                  <a:ea typeface="Segoe UI" pitchFamily="34" charset="0"/>
                  <a:cs typeface="Segoe UI" pitchFamily="34" charset="0"/>
                </a:rPr>
                <a:t>Rich Platform</a:t>
              </a:r>
            </a:p>
          </p:txBody>
        </p:sp>
        <p:grpSp>
          <p:nvGrpSpPr>
            <p:cNvPr id="43" name="Group 42"/>
            <p:cNvGrpSpPr>
              <a:grpSpLocks noChangeAspect="1"/>
            </p:cNvGrpSpPr>
            <p:nvPr/>
          </p:nvGrpSpPr>
          <p:grpSpPr bwMode="black">
            <a:xfrm>
              <a:off x="1767586" y="4527235"/>
              <a:ext cx="1311149" cy="1014057"/>
              <a:chOff x="813584" y="4312262"/>
              <a:chExt cx="478309" cy="370027"/>
            </a:xfrm>
          </p:grpSpPr>
          <p:sp>
            <p:nvSpPr>
              <p:cNvPr id="44" name="Freeform 79"/>
              <p:cNvSpPr>
                <a:spLocks/>
              </p:cNvSpPr>
              <p:nvPr/>
            </p:nvSpPr>
            <p:spPr bwMode="black">
              <a:xfrm>
                <a:off x="813584" y="4503897"/>
                <a:ext cx="478309" cy="178392"/>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200" dirty="0"/>
              </a:p>
            </p:txBody>
          </p:sp>
          <p:sp>
            <p:nvSpPr>
              <p:cNvPr id="45" name="Freeform 80"/>
              <p:cNvSpPr>
                <a:spLocks noEditPoints="1"/>
              </p:cNvSpPr>
              <p:nvPr/>
            </p:nvSpPr>
            <p:spPr bwMode="black">
              <a:xfrm>
                <a:off x="813584" y="4312262"/>
                <a:ext cx="478309" cy="176834"/>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200" dirty="0"/>
              </a:p>
            </p:txBody>
          </p:sp>
        </p:grpSp>
      </p:grpSp>
      <p:grpSp>
        <p:nvGrpSpPr>
          <p:cNvPr id="51" name="Group 50"/>
          <p:cNvGrpSpPr/>
          <p:nvPr/>
        </p:nvGrpSpPr>
        <p:grpSpPr>
          <a:xfrm>
            <a:off x="3265259" y="3011804"/>
            <a:ext cx="2620438" cy="1872234"/>
            <a:chOff x="4366220" y="3949024"/>
            <a:chExt cx="3493008" cy="2496312"/>
          </a:xfrm>
        </p:grpSpPr>
        <p:sp>
          <p:nvSpPr>
            <p:cNvPr id="7" name="Orange"/>
            <p:cNvSpPr/>
            <p:nvPr/>
          </p:nvSpPr>
          <p:spPr bwMode="auto">
            <a:xfrm>
              <a:off x="4366220" y="3949024"/>
              <a:ext cx="3493008" cy="2496312"/>
            </a:xfrm>
            <a:prstGeom prst="roundRect">
              <a:avLst>
                <a:gd name="adj" fmla="val 0"/>
              </a:avLst>
            </a:prstGeom>
            <a:solidFill>
              <a:schemeClr val="bg1">
                <a:lumMod val="40000"/>
                <a:lumOff val="60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a:r>
                <a:rPr lang="en-US" sz="1700" dirty="0">
                  <a:solidFill>
                    <a:schemeClr val="tx1">
                      <a:alpha val="99000"/>
                    </a:schemeClr>
                  </a:solidFill>
                  <a:latin typeface="Segoe UI" pitchFamily="34" charset="0"/>
                  <a:ea typeface="Segoe UI" pitchFamily="34" charset="0"/>
                  <a:cs typeface="Segoe UI" pitchFamily="34" charset="0"/>
                </a:rPr>
                <a:t>Standards-based</a:t>
              </a:r>
            </a:p>
          </p:txBody>
        </p:sp>
        <p:sp>
          <p:nvSpPr>
            <p:cNvPr id="46" name="Freeform 15"/>
            <p:cNvSpPr>
              <a:spLocks noChangeAspect="1" noEditPoints="1"/>
            </p:cNvSpPr>
            <p:nvPr/>
          </p:nvSpPr>
          <p:spPr bwMode="black">
            <a:xfrm>
              <a:off x="5519047" y="4352572"/>
              <a:ext cx="1187354" cy="1188720"/>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dirty="0"/>
            </a:p>
          </p:txBody>
        </p:sp>
      </p:grpSp>
      <p:sp>
        <p:nvSpPr>
          <p:cNvPr id="53"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54"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4"/>
              </a:rPr>
              <a:t>www.rapidbbs.cn</a:t>
            </a:r>
            <a:endParaRPr lang="zh-CN" altLang="en-US" sz="1200" b="0">
              <a:latin typeface="Arial" charset="0"/>
              <a:ea typeface="ＭＳ Ｐゴシック" pitchFamily="34" charset="-128"/>
            </a:endParaRPr>
          </a:p>
        </p:txBody>
      </p:sp>
    </p:spTree>
    <p:extLst>
      <p:ext uri="{BB962C8B-B14F-4D97-AF65-F5344CB8AC3E}">
        <p14:creationId xmlns:p14="http://schemas.microsoft.com/office/powerpoint/2010/main" val="8643020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indows PowerShell 3.0 Themes</a:t>
            </a:r>
            <a:endParaRPr lang="en-US" dirty="0"/>
          </a:p>
        </p:txBody>
      </p:sp>
      <p:grpSp>
        <p:nvGrpSpPr>
          <p:cNvPr id="47" name="Group 46"/>
          <p:cNvGrpSpPr/>
          <p:nvPr/>
        </p:nvGrpSpPr>
        <p:grpSpPr>
          <a:xfrm>
            <a:off x="507624" y="1012374"/>
            <a:ext cx="2620438" cy="1872234"/>
            <a:chOff x="676656" y="1349832"/>
            <a:chExt cx="3493008" cy="2496312"/>
          </a:xfrm>
        </p:grpSpPr>
        <p:sp>
          <p:nvSpPr>
            <p:cNvPr id="8" name="Light Blue"/>
            <p:cNvSpPr/>
            <p:nvPr/>
          </p:nvSpPr>
          <p:spPr bwMode="auto">
            <a:xfrm>
              <a:off x="676656" y="1349832"/>
              <a:ext cx="3493008" cy="2496312"/>
            </a:xfrm>
            <a:prstGeom prst="roundRect">
              <a:avLst>
                <a:gd name="adj" fmla="val 0"/>
              </a:avLst>
            </a:prstGeom>
            <a:solidFill>
              <a:schemeClr val="bg1">
                <a:lumMod val="40000"/>
                <a:lumOff val="6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a:r>
                <a:rPr lang="en-US" sz="1700" dirty="0">
                  <a:solidFill>
                    <a:schemeClr val="tx1">
                      <a:alpha val="99000"/>
                    </a:schemeClr>
                  </a:solidFill>
                  <a:latin typeface="Segoe UI" pitchFamily="34" charset="0"/>
                  <a:ea typeface="Segoe UI" pitchFamily="34" charset="0"/>
                  <a:cs typeface="Segoe UI" pitchFamily="34" charset="0"/>
                </a:rPr>
                <a:t>Simple &amp; Easy</a:t>
              </a:r>
            </a:p>
          </p:txBody>
        </p:sp>
        <p:pic>
          <p:nvPicPr>
            <p:cNvPr id="10" name="Picture 35" descr="C:\Users\sakuu\Documents\Ballmer WPC\AI\Vacation.png"/>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879962" y="1637864"/>
              <a:ext cx="1086396" cy="144249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2" name="Group 51"/>
          <p:cNvGrpSpPr/>
          <p:nvPr/>
        </p:nvGrpSpPr>
        <p:grpSpPr>
          <a:xfrm>
            <a:off x="6016977" y="3011804"/>
            <a:ext cx="2620438" cy="1872234"/>
            <a:chOff x="8045452" y="3949024"/>
            <a:chExt cx="3493008" cy="2496312"/>
          </a:xfrm>
        </p:grpSpPr>
        <p:sp>
          <p:nvSpPr>
            <p:cNvPr id="5" name="Red"/>
            <p:cNvSpPr/>
            <p:nvPr/>
          </p:nvSpPr>
          <p:spPr bwMode="auto">
            <a:xfrm>
              <a:off x="8045452" y="3949024"/>
              <a:ext cx="3493008" cy="2496312"/>
            </a:xfrm>
            <a:prstGeom prst="roundRect">
              <a:avLst>
                <a:gd name="adj" fmla="val 0"/>
              </a:avLst>
            </a:prstGeom>
            <a:solidFill>
              <a:schemeClr val="bg1">
                <a:lumMod val="40000"/>
                <a:lumOff val="60000"/>
              </a:schemeClr>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r>
                <a:rPr lang="en-US" sz="1700" dirty="0">
                  <a:solidFill>
                    <a:schemeClr val="tx1">
                      <a:alpha val="99000"/>
                    </a:schemeClr>
                  </a:solidFill>
                  <a:latin typeface="Segoe UI" pitchFamily="34" charset="0"/>
                  <a:ea typeface="Segoe UI" pitchFamily="34" charset="0"/>
                  <a:cs typeface="Segoe UI" pitchFamily="34" charset="0"/>
                </a:rPr>
                <a:t>PS 3.0  -</a:t>
              </a:r>
              <a:r>
                <a:rPr lang="en-US" sz="1700" dirty="0" err="1">
                  <a:solidFill>
                    <a:schemeClr val="tx1">
                      <a:alpha val="99000"/>
                    </a:schemeClr>
                  </a:solidFill>
                  <a:latin typeface="Segoe UI" pitchFamily="34" charset="0"/>
                  <a:ea typeface="Segoe UI" pitchFamily="34" charset="0"/>
                  <a:cs typeface="Segoe UI" pitchFamily="34" charset="0"/>
                </a:rPr>
                <a:t>gt</a:t>
              </a:r>
              <a:r>
                <a:rPr lang="en-US" sz="1700" dirty="0">
                  <a:solidFill>
                    <a:schemeClr val="tx1">
                      <a:alpha val="99000"/>
                    </a:schemeClr>
                  </a:solidFill>
                  <a:latin typeface="Segoe UI" pitchFamily="34" charset="0"/>
                  <a:ea typeface="Segoe UI" pitchFamily="34" charset="0"/>
                  <a:cs typeface="Segoe UI" pitchFamily="34" charset="0"/>
                </a:rPr>
                <a:t>  PS 2.0</a:t>
              </a:r>
            </a:p>
          </p:txBody>
        </p:sp>
        <p:grpSp>
          <p:nvGrpSpPr>
            <p:cNvPr id="11" name="Group 10"/>
            <p:cNvGrpSpPr/>
            <p:nvPr/>
          </p:nvGrpSpPr>
          <p:grpSpPr bwMode="black">
            <a:xfrm>
              <a:off x="9458640" y="4405080"/>
              <a:ext cx="666632" cy="1137216"/>
              <a:chOff x="3233738" y="168276"/>
              <a:chExt cx="2651125" cy="6480174"/>
            </a:xfrm>
          </p:grpSpPr>
          <p:sp>
            <p:nvSpPr>
              <p:cNvPr id="12"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13"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14"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grpSp>
      <p:grpSp>
        <p:nvGrpSpPr>
          <p:cNvPr id="49" name="Group 48"/>
          <p:cNvGrpSpPr/>
          <p:nvPr/>
        </p:nvGrpSpPr>
        <p:grpSpPr>
          <a:xfrm>
            <a:off x="6016977" y="1012374"/>
            <a:ext cx="2620438" cy="1872234"/>
            <a:chOff x="8045452" y="1349832"/>
            <a:chExt cx="3493008" cy="2496312"/>
          </a:xfrm>
        </p:grpSpPr>
        <p:sp>
          <p:nvSpPr>
            <p:cNvPr id="4" name="Green"/>
            <p:cNvSpPr/>
            <p:nvPr/>
          </p:nvSpPr>
          <p:spPr bwMode="auto">
            <a:xfrm>
              <a:off x="8045452" y="1349832"/>
              <a:ext cx="3493008" cy="2496312"/>
            </a:xfrm>
            <a:prstGeom prst="roundRect">
              <a:avLst>
                <a:gd name="adj" fmla="val 0"/>
              </a:avLst>
            </a:prstGeom>
            <a:solidFill>
              <a:schemeClr val="bg1">
                <a:lumMod val="40000"/>
                <a:lumOff val="60000"/>
              </a:schemeClr>
            </a:soli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r>
                <a:rPr lang="en-US" sz="1700" dirty="0">
                  <a:solidFill>
                    <a:schemeClr val="tx1">
                      <a:alpha val="99000"/>
                    </a:schemeClr>
                  </a:solidFill>
                  <a:latin typeface="Segoe UI" pitchFamily="34" charset="0"/>
                  <a:ea typeface="Segoe UI" pitchFamily="34" charset="0"/>
                  <a:cs typeface="Segoe UI" pitchFamily="34" charset="0"/>
                </a:rPr>
                <a:t>Robust &amp; Scalable</a:t>
              </a:r>
            </a:p>
          </p:txBody>
        </p:sp>
        <p:sp>
          <p:nvSpPr>
            <p:cNvPr id="15" name="Freeform 35"/>
            <p:cNvSpPr>
              <a:spLocks/>
            </p:cNvSpPr>
            <p:nvPr/>
          </p:nvSpPr>
          <p:spPr bwMode="black">
            <a:xfrm>
              <a:off x="9024221" y="1750933"/>
              <a:ext cx="1535470" cy="1305668"/>
            </a:xfrm>
            <a:custGeom>
              <a:avLst/>
              <a:gdLst>
                <a:gd name="T0" fmla="*/ 120 w 191"/>
                <a:gd name="T1" fmla="*/ 32 h 197"/>
                <a:gd name="T2" fmla="*/ 83 w 191"/>
                <a:gd name="T3" fmla="*/ 3 h 197"/>
                <a:gd name="T4" fmla="*/ 47 w 191"/>
                <a:gd name="T5" fmla="*/ 5 h 197"/>
                <a:gd name="T6" fmla="*/ 44 w 191"/>
                <a:gd name="T7" fmla="*/ 27 h 197"/>
                <a:gd name="T8" fmla="*/ 40 w 191"/>
                <a:gd name="T9" fmla="*/ 29 h 197"/>
                <a:gd name="T10" fmla="*/ 40 w 191"/>
                <a:gd name="T11" fmla="*/ 33 h 197"/>
                <a:gd name="T12" fmla="*/ 45 w 191"/>
                <a:gd name="T13" fmla="*/ 40 h 197"/>
                <a:gd name="T14" fmla="*/ 88 w 191"/>
                <a:gd name="T15" fmla="*/ 44 h 197"/>
                <a:gd name="T16" fmla="*/ 118 w 191"/>
                <a:gd name="T17" fmla="*/ 113 h 197"/>
                <a:gd name="T18" fmla="*/ 144 w 191"/>
                <a:gd name="T19" fmla="*/ 129 h 197"/>
                <a:gd name="T20" fmla="*/ 112 w 191"/>
                <a:gd name="T21" fmla="*/ 109 h 197"/>
                <a:gd name="T22" fmla="*/ 65 w 191"/>
                <a:gd name="T23" fmla="*/ 115 h 197"/>
                <a:gd name="T24" fmla="*/ 0 w 191"/>
                <a:gd name="T25" fmla="*/ 116 h 197"/>
                <a:gd name="T26" fmla="*/ 26 w 191"/>
                <a:gd name="T27" fmla="*/ 174 h 197"/>
                <a:gd name="T28" fmla="*/ 61 w 191"/>
                <a:gd name="T29" fmla="*/ 136 h 197"/>
                <a:gd name="T30" fmla="*/ 57 w 191"/>
                <a:gd name="T31" fmla="*/ 148 h 197"/>
                <a:gd name="T32" fmla="*/ 126 w 191"/>
                <a:gd name="T33" fmla="*/ 140 h 197"/>
                <a:gd name="T34" fmla="*/ 55 w 191"/>
                <a:gd name="T35" fmla="*/ 153 h 197"/>
                <a:gd name="T36" fmla="*/ 30 w 191"/>
                <a:gd name="T37" fmla="*/ 180 h 197"/>
                <a:gd name="T38" fmla="*/ 32 w 191"/>
                <a:gd name="T39" fmla="*/ 182 h 197"/>
                <a:gd name="T40" fmla="*/ 180 w 191"/>
                <a:gd name="T41" fmla="*/ 159 h 197"/>
                <a:gd name="T42" fmla="*/ 185 w 191"/>
                <a:gd name="T43" fmla="*/ 129 h 197"/>
                <a:gd name="T44" fmla="*/ 120 w 191"/>
                <a:gd name="T45" fmla="*/ 32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1" h="197">
                  <a:moveTo>
                    <a:pt x="120" y="32"/>
                  </a:moveTo>
                  <a:cubicBezTo>
                    <a:pt x="112" y="23"/>
                    <a:pt x="99" y="9"/>
                    <a:pt x="83" y="3"/>
                  </a:cubicBezTo>
                  <a:cubicBezTo>
                    <a:pt x="72" y="0"/>
                    <a:pt x="47" y="5"/>
                    <a:pt x="47" y="5"/>
                  </a:cubicBezTo>
                  <a:cubicBezTo>
                    <a:pt x="44" y="27"/>
                    <a:pt x="44" y="27"/>
                    <a:pt x="44" y="27"/>
                  </a:cubicBezTo>
                  <a:cubicBezTo>
                    <a:pt x="40" y="29"/>
                    <a:pt x="40" y="29"/>
                    <a:pt x="40" y="29"/>
                  </a:cubicBezTo>
                  <a:cubicBezTo>
                    <a:pt x="40" y="33"/>
                    <a:pt x="40" y="33"/>
                    <a:pt x="40" y="33"/>
                  </a:cubicBezTo>
                  <a:cubicBezTo>
                    <a:pt x="40" y="33"/>
                    <a:pt x="40" y="37"/>
                    <a:pt x="45" y="40"/>
                  </a:cubicBezTo>
                  <a:cubicBezTo>
                    <a:pt x="50" y="42"/>
                    <a:pt x="73" y="53"/>
                    <a:pt x="88" y="44"/>
                  </a:cubicBezTo>
                  <a:cubicBezTo>
                    <a:pt x="118" y="60"/>
                    <a:pt x="105" y="91"/>
                    <a:pt x="118" y="113"/>
                  </a:cubicBezTo>
                  <a:cubicBezTo>
                    <a:pt x="123" y="120"/>
                    <a:pt x="131" y="127"/>
                    <a:pt x="144" y="129"/>
                  </a:cubicBezTo>
                  <a:cubicBezTo>
                    <a:pt x="144" y="129"/>
                    <a:pt x="115" y="131"/>
                    <a:pt x="112" y="109"/>
                  </a:cubicBezTo>
                  <a:cubicBezTo>
                    <a:pt x="101" y="104"/>
                    <a:pt x="82" y="99"/>
                    <a:pt x="65" y="115"/>
                  </a:cubicBezTo>
                  <a:cubicBezTo>
                    <a:pt x="51" y="100"/>
                    <a:pt x="14" y="100"/>
                    <a:pt x="0" y="116"/>
                  </a:cubicBezTo>
                  <a:cubicBezTo>
                    <a:pt x="6" y="141"/>
                    <a:pt x="18" y="163"/>
                    <a:pt x="26" y="174"/>
                  </a:cubicBezTo>
                  <a:cubicBezTo>
                    <a:pt x="52" y="156"/>
                    <a:pt x="61" y="136"/>
                    <a:pt x="61" y="136"/>
                  </a:cubicBezTo>
                  <a:cubicBezTo>
                    <a:pt x="60" y="140"/>
                    <a:pt x="59" y="144"/>
                    <a:pt x="57" y="148"/>
                  </a:cubicBezTo>
                  <a:cubicBezTo>
                    <a:pt x="103" y="167"/>
                    <a:pt x="126" y="140"/>
                    <a:pt x="126" y="140"/>
                  </a:cubicBezTo>
                  <a:cubicBezTo>
                    <a:pt x="107" y="171"/>
                    <a:pt x="63" y="157"/>
                    <a:pt x="55" y="153"/>
                  </a:cubicBezTo>
                  <a:cubicBezTo>
                    <a:pt x="48" y="166"/>
                    <a:pt x="38" y="175"/>
                    <a:pt x="30" y="180"/>
                  </a:cubicBezTo>
                  <a:cubicBezTo>
                    <a:pt x="32" y="181"/>
                    <a:pt x="32" y="182"/>
                    <a:pt x="32" y="182"/>
                  </a:cubicBezTo>
                  <a:cubicBezTo>
                    <a:pt x="88" y="197"/>
                    <a:pt x="154" y="177"/>
                    <a:pt x="180" y="159"/>
                  </a:cubicBezTo>
                  <a:cubicBezTo>
                    <a:pt x="191" y="151"/>
                    <a:pt x="188" y="138"/>
                    <a:pt x="185" y="129"/>
                  </a:cubicBezTo>
                  <a:cubicBezTo>
                    <a:pt x="172" y="91"/>
                    <a:pt x="134" y="49"/>
                    <a:pt x="120" y="3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dirty="0"/>
            </a:p>
          </p:txBody>
        </p:sp>
      </p:grpSp>
      <p:grpSp>
        <p:nvGrpSpPr>
          <p:cNvPr id="48" name="Group 47"/>
          <p:cNvGrpSpPr/>
          <p:nvPr/>
        </p:nvGrpSpPr>
        <p:grpSpPr>
          <a:xfrm>
            <a:off x="3264841" y="1012374"/>
            <a:ext cx="2620438" cy="1872234"/>
            <a:chOff x="4366220" y="1349832"/>
            <a:chExt cx="3493008" cy="2496312"/>
          </a:xfrm>
        </p:grpSpPr>
        <p:sp>
          <p:nvSpPr>
            <p:cNvPr id="6" name="Yellow"/>
            <p:cNvSpPr/>
            <p:nvPr/>
          </p:nvSpPr>
          <p:spPr bwMode="auto">
            <a:xfrm>
              <a:off x="4366220" y="1349832"/>
              <a:ext cx="3493008" cy="2496312"/>
            </a:xfrm>
            <a:prstGeom prst="roundRect">
              <a:avLst>
                <a:gd name="adj" fmla="val 0"/>
              </a:avLst>
            </a:prstGeom>
            <a:solidFill>
              <a:schemeClr val="bg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spc="-15"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endParaRPr lang="en-US" sz="1700" spc="-15"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endParaRPr lang="en-US" sz="1700" spc="-15"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endParaRPr lang="en-US" sz="1700" spc="-15"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r>
                <a:rPr lang="en-US" sz="1700" spc="-45" dirty="0">
                  <a:solidFill>
                    <a:schemeClr val="tx1">
                      <a:alpha val="99000"/>
                    </a:schemeClr>
                  </a:solidFill>
                  <a:latin typeface="Segoe UI" pitchFamily="34" charset="0"/>
                  <a:ea typeface="Segoe UI" pitchFamily="34" charset="0"/>
                  <a:cs typeface="Segoe UI" pitchFamily="34" charset="0"/>
                </a:rPr>
                <a:t>Comprehensive Coverage</a:t>
              </a:r>
            </a:p>
          </p:txBody>
        </p:sp>
        <p:grpSp>
          <p:nvGrpSpPr>
            <p:cNvPr id="16" name="Group 15"/>
            <p:cNvGrpSpPr>
              <a:grpSpLocks noChangeAspect="1"/>
            </p:cNvGrpSpPr>
            <p:nvPr/>
          </p:nvGrpSpPr>
          <p:grpSpPr bwMode="black">
            <a:xfrm>
              <a:off x="5371041" y="1736438"/>
              <a:ext cx="1483366" cy="1287850"/>
              <a:chOff x="2462213" y="1598613"/>
              <a:chExt cx="4222750" cy="3667125"/>
            </a:xfrm>
          </p:grpSpPr>
          <p:sp>
            <p:nvSpPr>
              <p:cNvPr id="17" name="Rectangle 6"/>
              <p:cNvSpPr>
                <a:spLocks noChangeArrowheads="1"/>
              </p:cNvSpPr>
              <p:nvPr/>
            </p:nvSpPr>
            <p:spPr bwMode="black">
              <a:xfrm>
                <a:off x="5564188"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18" name="Rectangle 7"/>
              <p:cNvSpPr>
                <a:spLocks noChangeArrowheads="1"/>
              </p:cNvSpPr>
              <p:nvPr/>
            </p:nvSpPr>
            <p:spPr bwMode="black">
              <a:xfrm>
                <a:off x="5795963" y="3346451"/>
                <a:ext cx="112713"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19" name="Rectangle 8"/>
              <p:cNvSpPr>
                <a:spLocks noChangeArrowheads="1"/>
              </p:cNvSpPr>
              <p:nvPr/>
            </p:nvSpPr>
            <p:spPr bwMode="black">
              <a:xfrm>
                <a:off x="3092451"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0" name="Rectangle 9"/>
              <p:cNvSpPr>
                <a:spLocks noChangeArrowheads="1"/>
              </p:cNvSpPr>
              <p:nvPr/>
            </p:nvSpPr>
            <p:spPr bwMode="black">
              <a:xfrm>
                <a:off x="3324226" y="3346451"/>
                <a:ext cx="117475"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1" name="Freeform 10"/>
              <p:cNvSpPr>
                <a:spLocks/>
              </p:cNvSpPr>
              <p:nvPr/>
            </p:nvSpPr>
            <p:spPr bwMode="black">
              <a:xfrm>
                <a:off x="3902076" y="2506663"/>
                <a:ext cx="101600" cy="123825"/>
              </a:xfrm>
              <a:custGeom>
                <a:avLst/>
                <a:gdLst>
                  <a:gd name="T0" fmla="*/ 36 w 64"/>
                  <a:gd name="T1" fmla="*/ 78 h 78"/>
                  <a:gd name="T2" fmla="*/ 64 w 64"/>
                  <a:gd name="T3" fmla="*/ 64 h 78"/>
                  <a:gd name="T4" fmla="*/ 26 w 64"/>
                  <a:gd name="T5" fmla="*/ 0 h 78"/>
                  <a:gd name="T6" fmla="*/ 0 w 64"/>
                  <a:gd name="T7" fmla="*/ 17 h 78"/>
                  <a:gd name="T8" fmla="*/ 36 w 64"/>
                  <a:gd name="T9" fmla="*/ 78 h 78"/>
                </a:gdLst>
                <a:ahLst/>
                <a:cxnLst>
                  <a:cxn ang="0">
                    <a:pos x="T0" y="T1"/>
                  </a:cxn>
                  <a:cxn ang="0">
                    <a:pos x="T2" y="T3"/>
                  </a:cxn>
                  <a:cxn ang="0">
                    <a:pos x="T4" y="T5"/>
                  </a:cxn>
                  <a:cxn ang="0">
                    <a:pos x="T6" y="T7"/>
                  </a:cxn>
                  <a:cxn ang="0">
                    <a:pos x="T8" y="T9"/>
                  </a:cxn>
                </a:cxnLst>
                <a:rect l="0" t="0" r="r" b="b"/>
                <a:pathLst>
                  <a:path w="64" h="78">
                    <a:moveTo>
                      <a:pt x="36" y="78"/>
                    </a:moveTo>
                    <a:lnTo>
                      <a:pt x="64" y="64"/>
                    </a:lnTo>
                    <a:lnTo>
                      <a:pt x="26" y="0"/>
                    </a:lnTo>
                    <a:lnTo>
                      <a:pt x="0" y="17"/>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2" name="Freeform 11"/>
              <p:cNvSpPr>
                <a:spLocks/>
              </p:cNvSpPr>
              <p:nvPr/>
            </p:nvSpPr>
            <p:spPr bwMode="black">
              <a:xfrm>
                <a:off x="4017963" y="2709863"/>
                <a:ext cx="98425" cy="123825"/>
              </a:xfrm>
              <a:custGeom>
                <a:avLst/>
                <a:gdLst>
                  <a:gd name="T0" fmla="*/ 36 w 62"/>
                  <a:gd name="T1" fmla="*/ 78 h 78"/>
                  <a:gd name="T2" fmla="*/ 62 w 62"/>
                  <a:gd name="T3" fmla="*/ 61 h 78"/>
                  <a:gd name="T4" fmla="*/ 26 w 62"/>
                  <a:gd name="T5" fmla="*/ 0 h 78"/>
                  <a:gd name="T6" fmla="*/ 0 w 62"/>
                  <a:gd name="T7" fmla="*/ 14 h 78"/>
                  <a:gd name="T8" fmla="*/ 36 w 62"/>
                  <a:gd name="T9" fmla="*/ 78 h 78"/>
                </a:gdLst>
                <a:ahLst/>
                <a:cxnLst>
                  <a:cxn ang="0">
                    <a:pos x="T0" y="T1"/>
                  </a:cxn>
                  <a:cxn ang="0">
                    <a:pos x="T2" y="T3"/>
                  </a:cxn>
                  <a:cxn ang="0">
                    <a:pos x="T4" y="T5"/>
                  </a:cxn>
                  <a:cxn ang="0">
                    <a:pos x="T6" y="T7"/>
                  </a:cxn>
                  <a:cxn ang="0">
                    <a:pos x="T8" y="T9"/>
                  </a:cxn>
                </a:cxnLst>
                <a:rect l="0" t="0" r="r" b="b"/>
                <a:pathLst>
                  <a:path w="62" h="78">
                    <a:moveTo>
                      <a:pt x="36" y="78"/>
                    </a:moveTo>
                    <a:lnTo>
                      <a:pt x="62" y="61"/>
                    </a:lnTo>
                    <a:lnTo>
                      <a:pt x="26" y="0"/>
                    </a:lnTo>
                    <a:lnTo>
                      <a:pt x="0" y="14"/>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3" name="Freeform 12"/>
              <p:cNvSpPr>
                <a:spLocks/>
              </p:cNvSpPr>
              <p:nvPr/>
            </p:nvSpPr>
            <p:spPr bwMode="black">
              <a:xfrm>
                <a:off x="4873626" y="2709863"/>
                <a:ext cx="98425" cy="123825"/>
              </a:xfrm>
              <a:custGeom>
                <a:avLst/>
                <a:gdLst>
                  <a:gd name="T0" fmla="*/ 26 w 62"/>
                  <a:gd name="T1" fmla="*/ 78 h 78"/>
                  <a:gd name="T2" fmla="*/ 62 w 62"/>
                  <a:gd name="T3" fmla="*/ 14 h 78"/>
                  <a:gd name="T4" fmla="*/ 36 w 62"/>
                  <a:gd name="T5" fmla="*/ 0 h 78"/>
                  <a:gd name="T6" fmla="*/ 0 w 62"/>
                  <a:gd name="T7" fmla="*/ 61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4"/>
                    </a:lnTo>
                    <a:lnTo>
                      <a:pt x="36" y="0"/>
                    </a:lnTo>
                    <a:lnTo>
                      <a:pt x="0" y="61"/>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4" name="Freeform 13"/>
              <p:cNvSpPr>
                <a:spLocks/>
              </p:cNvSpPr>
              <p:nvPr/>
            </p:nvSpPr>
            <p:spPr bwMode="black">
              <a:xfrm>
                <a:off x="4989513" y="2506663"/>
                <a:ext cx="98425" cy="123825"/>
              </a:xfrm>
              <a:custGeom>
                <a:avLst/>
                <a:gdLst>
                  <a:gd name="T0" fmla="*/ 26 w 62"/>
                  <a:gd name="T1" fmla="*/ 78 h 78"/>
                  <a:gd name="T2" fmla="*/ 62 w 62"/>
                  <a:gd name="T3" fmla="*/ 17 h 78"/>
                  <a:gd name="T4" fmla="*/ 36 w 62"/>
                  <a:gd name="T5" fmla="*/ 0 h 78"/>
                  <a:gd name="T6" fmla="*/ 0 w 62"/>
                  <a:gd name="T7" fmla="*/ 64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7"/>
                    </a:lnTo>
                    <a:lnTo>
                      <a:pt x="36" y="0"/>
                    </a:lnTo>
                    <a:lnTo>
                      <a:pt x="0" y="64"/>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5" name="Freeform 14"/>
              <p:cNvSpPr>
                <a:spLocks/>
              </p:cNvSpPr>
              <p:nvPr/>
            </p:nvSpPr>
            <p:spPr bwMode="black">
              <a:xfrm>
                <a:off x="4017963" y="3990976"/>
                <a:ext cx="98425" cy="123825"/>
              </a:xfrm>
              <a:custGeom>
                <a:avLst/>
                <a:gdLst>
                  <a:gd name="T0" fmla="*/ 0 w 62"/>
                  <a:gd name="T1" fmla="*/ 64 h 78"/>
                  <a:gd name="T2" fmla="*/ 26 w 62"/>
                  <a:gd name="T3" fmla="*/ 78 h 78"/>
                  <a:gd name="T4" fmla="*/ 62 w 62"/>
                  <a:gd name="T5" fmla="*/ 14 h 78"/>
                  <a:gd name="T6" fmla="*/ 36 w 62"/>
                  <a:gd name="T7" fmla="*/ 0 h 78"/>
                  <a:gd name="T8" fmla="*/ 0 w 62"/>
                  <a:gd name="T9" fmla="*/ 64 h 78"/>
                </a:gdLst>
                <a:ahLst/>
                <a:cxnLst>
                  <a:cxn ang="0">
                    <a:pos x="T0" y="T1"/>
                  </a:cxn>
                  <a:cxn ang="0">
                    <a:pos x="T2" y="T3"/>
                  </a:cxn>
                  <a:cxn ang="0">
                    <a:pos x="T4" y="T5"/>
                  </a:cxn>
                  <a:cxn ang="0">
                    <a:pos x="T6" y="T7"/>
                  </a:cxn>
                  <a:cxn ang="0">
                    <a:pos x="T8" y="T9"/>
                  </a:cxn>
                </a:cxnLst>
                <a:rect l="0" t="0" r="r" b="b"/>
                <a:pathLst>
                  <a:path w="62" h="78">
                    <a:moveTo>
                      <a:pt x="0" y="64"/>
                    </a:moveTo>
                    <a:lnTo>
                      <a:pt x="26" y="78"/>
                    </a:lnTo>
                    <a:lnTo>
                      <a:pt x="62" y="14"/>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6" name="Freeform 15"/>
              <p:cNvSpPr>
                <a:spLocks/>
              </p:cNvSpPr>
              <p:nvPr/>
            </p:nvSpPr>
            <p:spPr bwMode="black">
              <a:xfrm>
                <a:off x="3902076" y="4189413"/>
                <a:ext cx="101600" cy="128588"/>
              </a:xfrm>
              <a:custGeom>
                <a:avLst/>
                <a:gdLst>
                  <a:gd name="T0" fmla="*/ 0 w 64"/>
                  <a:gd name="T1" fmla="*/ 64 h 81"/>
                  <a:gd name="T2" fmla="*/ 26 w 64"/>
                  <a:gd name="T3" fmla="*/ 81 h 81"/>
                  <a:gd name="T4" fmla="*/ 64 w 64"/>
                  <a:gd name="T5" fmla="*/ 17 h 81"/>
                  <a:gd name="T6" fmla="*/ 36 w 64"/>
                  <a:gd name="T7" fmla="*/ 0 h 81"/>
                  <a:gd name="T8" fmla="*/ 0 w 64"/>
                  <a:gd name="T9" fmla="*/ 64 h 81"/>
                </a:gdLst>
                <a:ahLst/>
                <a:cxnLst>
                  <a:cxn ang="0">
                    <a:pos x="T0" y="T1"/>
                  </a:cxn>
                  <a:cxn ang="0">
                    <a:pos x="T2" y="T3"/>
                  </a:cxn>
                  <a:cxn ang="0">
                    <a:pos x="T4" y="T5"/>
                  </a:cxn>
                  <a:cxn ang="0">
                    <a:pos x="T6" y="T7"/>
                  </a:cxn>
                  <a:cxn ang="0">
                    <a:pos x="T8" y="T9"/>
                  </a:cxn>
                </a:cxnLst>
                <a:rect l="0" t="0" r="r" b="b"/>
                <a:pathLst>
                  <a:path w="64" h="81">
                    <a:moveTo>
                      <a:pt x="0" y="64"/>
                    </a:moveTo>
                    <a:lnTo>
                      <a:pt x="26" y="81"/>
                    </a:lnTo>
                    <a:lnTo>
                      <a:pt x="64" y="17"/>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7" name="Freeform 16"/>
              <p:cNvSpPr>
                <a:spLocks/>
              </p:cNvSpPr>
              <p:nvPr/>
            </p:nvSpPr>
            <p:spPr bwMode="black">
              <a:xfrm>
                <a:off x="4989513" y="4189413"/>
                <a:ext cx="98425" cy="128588"/>
              </a:xfrm>
              <a:custGeom>
                <a:avLst/>
                <a:gdLst>
                  <a:gd name="T0" fmla="*/ 26 w 62"/>
                  <a:gd name="T1" fmla="*/ 0 h 81"/>
                  <a:gd name="T2" fmla="*/ 0 w 62"/>
                  <a:gd name="T3" fmla="*/ 17 h 81"/>
                  <a:gd name="T4" fmla="*/ 36 w 62"/>
                  <a:gd name="T5" fmla="*/ 81 h 81"/>
                  <a:gd name="T6" fmla="*/ 62 w 62"/>
                  <a:gd name="T7" fmla="*/ 64 h 81"/>
                  <a:gd name="T8" fmla="*/ 26 w 62"/>
                  <a:gd name="T9" fmla="*/ 0 h 81"/>
                </a:gdLst>
                <a:ahLst/>
                <a:cxnLst>
                  <a:cxn ang="0">
                    <a:pos x="T0" y="T1"/>
                  </a:cxn>
                  <a:cxn ang="0">
                    <a:pos x="T2" y="T3"/>
                  </a:cxn>
                  <a:cxn ang="0">
                    <a:pos x="T4" y="T5"/>
                  </a:cxn>
                  <a:cxn ang="0">
                    <a:pos x="T6" y="T7"/>
                  </a:cxn>
                  <a:cxn ang="0">
                    <a:pos x="T8" y="T9"/>
                  </a:cxn>
                </a:cxnLst>
                <a:rect l="0" t="0" r="r" b="b"/>
                <a:pathLst>
                  <a:path w="62" h="81">
                    <a:moveTo>
                      <a:pt x="26" y="0"/>
                    </a:moveTo>
                    <a:lnTo>
                      <a:pt x="0" y="17"/>
                    </a:lnTo>
                    <a:lnTo>
                      <a:pt x="36" y="81"/>
                    </a:lnTo>
                    <a:lnTo>
                      <a:pt x="62" y="64"/>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8" name="Freeform 17"/>
              <p:cNvSpPr>
                <a:spLocks/>
              </p:cNvSpPr>
              <p:nvPr/>
            </p:nvSpPr>
            <p:spPr bwMode="black">
              <a:xfrm>
                <a:off x="4873626" y="3990976"/>
                <a:ext cx="98425" cy="123825"/>
              </a:xfrm>
              <a:custGeom>
                <a:avLst/>
                <a:gdLst>
                  <a:gd name="T0" fmla="*/ 0 w 62"/>
                  <a:gd name="T1" fmla="*/ 14 h 78"/>
                  <a:gd name="T2" fmla="*/ 36 w 62"/>
                  <a:gd name="T3" fmla="*/ 78 h 78"/>
                  <a:gd name="T4" fmla="*/ 62 w 62"/>
                  <a:gd name="T5" fmla="*/ 64 h 78"/>
                  <a:gd name="T6" fmla="*/ 26 w 62"/>
                  <a:gd name="T7" fmla="*/ 0 h 78"/>
                  <a:gd name="T8" fmla="*/ 0 w 62"/>
                  <a:gd name="T9" fmla="*/ 14 h 78"/>
                </a:gdLst>
                <a:ahLst/>
                <a:cxnLst>
                  <a:cxn ang="0">
                    <a:pos x="T0" y="T1"/>
                  </a:cxn>
                  <a:cxn ang="0">
                    <a:pos x="T2" y="T3"/>
                  </a:cxn>
                  <a:cxn ang="0">
                    <a:pos x="T4" y="T5"/>
                  </a:cxn>
                  <a:cxn ang="0">
                    <a:pos x="T6" y="T7"/>
                  </a:cxn>
                  <a:cxn ang="0">
                    <a:pos x="T8" y="T9"/>
                  </a:cxn>
                </a:cxnLst>
                <a:rect l="0" t="0" r="r" b="b"/>
                <a:pathLst>
                  <a:path w="62" h="78">
                    <a:moveTo>
                      <a:pt x="0" y="14"/>
                    </a:moveTo>
                    <a:lnTo>
                      <a:pt x="36" y="78"/>
                    </a:lnTo>
                    <a:lnTo>
                      <a:pt x="62" y="64"/>
                    </a:lnTo>
                    <a:lnTo>
                      <a:pt x="26" y="0"/>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9" name="Freeform 18"/>
              <p:cNvSpPr>
                <a:spLocks/>
              </p:cNvSpPr>
              <p:nvPr/>
            </p:nvSpPr>
            <p:spPr bwMode="black">
              <a:xfrm>
                <a:off x="3579813" y="2892426"/>
                <a:ext cx="1833563" cy="1068388"/>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0" name="Freeform 19"/>
              <p:cNvSpPr>
                <a:spLocks noEditPoints="1"/>
              </p:cNvSpPr>
              <p:nvPr/>
            </p:nvSpPr>
            <p:spPr bwMode="black">
              <a:xfrm>
                <a:off x="3321051" y="1598613"/>
                <a:ext cx="750888" cy="522288"/>
              </a:xfrm>
              <a:custGeom>
                <a:avLst/>
                <a:gdLst>
                  <a:gd name="T0" fmla="*/ 174 w 200"/>
                  <a:gd name="T1" fmla="*/ 0 h 139"/>
                  <a:gd name="T2" fmla="*/ 26 w 200"/>
                  <a:gd name="T3" fmla="*/ 0 h 139"/>
                  <a:gd name="T4" fmla="*/ 0 w 200"/>
                  <a:gd name="T5" fmla="*/ 27 h 139"/>
                  <a:gd name="T6" fmla="*/ 0 w 200"/>
                  <a:gd name="T7" fmla="*/ 113 h 139"/>
                  <a:gd name="T8" fmla="*/ 26 w 200"/>
                  <a:gd name="T9" fmla="*/ 139 h 139"/>
                  <a:gd name="T10" fmla="*/ 174 w 200"/>
                  <a:gd name="T11" fmla="*/ 139 h 139"/>
                  <a:gd name="T12" fmla="*/ 200 w 200"/>
                  <a:gd name="T13" fmla="*/ 113 h 139"/>
                  <a:gd name="T14" fmla="*/ 200 w 200"/>
                  <a:gd name="T15" fmla="*/ 27 h 139"/>
                  <a:gd name="T16" fmla="*/ 174 w 200"/>
                  <a:gd name="T17" fmla="*/ 0 h 139"/>
                  <a:gd name="T18" fmla="*/ 185 w 200"/>
                  <a:gd name="T19" fmla="*/ 113 h 139"/>
                  <a:gd name="T20" fmla="*/ 174 w 200"/>
                  <a:gd name="T21" fmla="*/ 124 h 139"/>
                  <a:gd name="T22" fmla="*/ 26 w 200"/>
                  <a:gd name="T23" fmla="*/ 124 h 139"/>
                  <a:gd name="T24" fmla="*/ 15 w 200"/>
                  <a:gd name="T25" fmla="*/ 113 h 139"/>
                  <a:gd name="T26" fmla="*/ 15 w 200"/>
                  <a:gd name="T27" fmla="*/ 27 h 139"/>
                  <a:gd name="T28" fmla="*/ 26 w 200"/>
                  <a:gd name="T29" fmla="*/ 16 h 139"/>
                  <a:gd name="T30" fmla="*/ 174 w 200"/>
                  <a:gd name="T31" fmla="*/ 16 h 139"/>
                  <a:gd name="T32" fmla="*/ 185 w 200"/>
                  <a:gd name="T33" fmla="*/ 27 h 139"/>
                  <a:gd name="T34" fmla="*/ 185 w 200"/>
                  <a:gd name="T35" fmla="*/ 11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39">
                    <a:moveTo>
                      <a:pt x="174" y="0"/>
                    </a:moveTo>
                    <a:cubicBezTo>
                      <a:pt x="26" y="0"/>
                      <a:pt x="26" y="0"/>
                      <a:pt x="26" y="0"/>
                    </a:cubicBezTo>
                    <a:cubicBezTo>
                      <a:pt x="12" y="0"/>
                      <a:pt x="0" y="12"/>
                      <a:pt x="0" y="27"/>
                    </a:cubicBezTo>
                    <a:cubicBezTo>
                      <a:pt x="0" y="113"/>
                      <a:pt x="0" y="113"/>
                      <a:pt x="0" y="113"/>
                    </a:cubicBezTo>
                    <a:cubicBezTo>
                      <a:pt x="0" y="127"/>
                      <a:pt x="12" y="139"/>
                      <a:pt x="26" y="139"/>
                    </a:cubicBezTo>
                    <a:cubicBezTo>
                      <a:pt x="174" y="139"/>
                      <a:pt x="174" y="139"/>
                      <a:pt x="174" y="139"/>
                    </a:cubicBezTo>
                    <a:cubicBezTo>
                      <a:pt x="188" y="139"/>
                      <a:pt x="200" y="127"/>
                      <a:pt x="200" y="113"/>
                    </a:cubicBezTo>
                    <a:cubicBezTo>
                      <a:pt x="200" y="27"/>
                      <a:pt x="200" y="27"/>
                      <a:pt x="200" y="27"/>
                    </a:cubicBezTo>
                    <a:cubicBezTo>
                      <a:pt x="200" y="12"/>
                      <a:pt x="188" y="0"/>
                      <a:pt x="174" y="0"/>
                    </a:cubicBezTo>
                    <a:moveTo>
                      <a:pt x="185" y="113"/>
                    </a:moveTo>
                    <a:cubicBezTo>
                      <a:pt x="185" y="119"/>
                      <a:pt x="180" y="124"/>
                      <a:pt x="174" y="124"/>
                    </a:cubicBezTo>
                    <a:cubicBezTo>
                      <a:pt x="26" y="124"/>
                      <a:pt x="26" y="124"/>
                      <a:pt x="26" y="124"/>
                    </a:cubicBezTo>
                    <a:cubicBezTo>
                      <a:pt x="20" y="124"/>
                      <a:pt x="15" y="119"/>
                      <a:pt x="15" y="113"/>
                    </a:cubicBezTo>
                    <a:cubicBezTo>
                      <a:pt x="15" y="27"/>
                      <a:pt x="15" y="27"/>
                      <a:pt x="15" y="27"/>
                    </a:cubicBezTo>
                    <a:cubicBezTo>
                      <a:pt x="15" y="21"/>
                      <a:pt x="20" y="16"/>
                      <a:pt x="26" y="16"/>
                    </a:cubicBezTo>
                    <a:cubicBezTo>
                      <a:pt x="174" y="16"/>
                      <a:pt x="174" y="16"/>
                      <a:pt x="174" y="16"/>
                    </a:cubicBezTo>
                    <a:cubicBezTo>
                      <a:pt x="180" y="16"/>
                      <a:pt x="185" y="21"/>
                      <a:pt x="185" y="27"/>
                    </a:cubicBezTo>
                    <a:lnTo>
                      <a:pt x="185" y="1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1" name="Freeform 20"/>
              <p:cNvSpPr>
                <a:spLocks/>
              </p:cNvSpPr>
              <p:nvPr/>
            </p:nvSpPr>
            <p:spPr bwMode="black">
              <a:xfrm>
                <a:off x="3178176" y="2154238"/>
                <a:ext cx="1035050" cy="239713"/>
              </a:xfrm>
              <a:custGeom>
                <a:avLst/>
                <a:gdLst>
                  <a:gd name="T0" fmla="*/ 7 w 276"/>
                  <a:gd name="T1" fmla="*/ 64 h 64"/>
                  <a:gd name="T2" fmla="*/ 269 w 276"/>
                  <a:gd name="T3" fmla="*/ 64 h 64"/>
                  <a:gd name="T4" fmla="*/ 276 w 276"/>
                  <a:gd name="T5" fmla="*/ 57 h 64"/>
                  <a:gd name="T6" fmla="*/ 276 w 276"/>
                  <a:gd name="T7" fmla="*/ 54 h 64"/>
                  <a:gd name="T8" fmla="*/ 272 w 276"/>
                  <a:gd name="T9" fmla="*/ 42 h 64"/>
                  <a:gd name="T10" fmla="*/ 240 w 276"/>
                  <a:gd name="T11" fmla="*/ 5 h 64"/>
                  <a:gd name="T12" fmla="*/ 229 w 276"/>
                  <a:gd name="T13" fmla="*/ 0 h 64"/>
                  <a:gd name="T14" fmla="*/ 47 w 276"/>
                  <a:gd name="T15" fmla="*/ 0 h 64"/>
                  <a:gd name="T16" fmla="*/ 36 w 276"/>
                  <a:gd name="T17" fmla="*/ 5 h 64"/>
                  <a:gd name="T18" fmla="*/ 4 w 276"/>
                  <a:gd name="T19" fmla="*/ 42 h 64"/>
                  <a:gd name="T20" fmla="*/ 0 w 276"/>
                  <a:gd name="T21" fmla="*/ 54 h 64"/>
                  <a:gd name="T22" fmla="*/ 0 w 276"/>
                  <a:gd name="T23" fmla="*/ 57 h 64"/>
                  <a:gd name="T24" fmla="*/ 7 w 27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6" h="64">
                    <a:moveTo>
                      <a:pt x="7" y="64"/>
                    </a:moveTo>
                    <a:cubicBezTo>
                      <a:pt x="269" y="64"/>
                      <a:pt x="269" y="64"/>
                      <a:pt x="269" y="64"/>
                    </a:cubicBezTo>
                    <a:cubicBezTo>
                      <a:pt x="273" y="64"/>
                      <a:pt x="276" y="61"/>
                      <a:pt x="276" y="57"/>
                    </a:cubicBezTo>
                    <a:cubicBezTo>
                      <a:pt x="276" y="54"/>
                      <a:pt x="276" y="54"/>
                      <a:pt x="276" y="54"/>
                    </a:cubicBezTo>
                    <a:cubicBezTo>
                      <a:pt x="276" y="50"/>
                      <a:pt x="274" y="45"/>
                      <a:pt x="272" y="42"/>
                    </a:cubicBezTo>
                    <a:cubicBezTo>
                      <a:pt x="240" y="5"/>
                      <a:pt x="240" y="5"/>
                      <a:pt x="240" y="5"/>
                    </a:cubicBezTo>
                    <a:cubicBezTo>
                      <a:pt x="238" y="2"/>
                      <a:pt x="233" y="0"/>
                      <a:pt x="229" y="0"/>
                    </a:cubicBezTo>
                    <a:cubicBezTo>
                      <a:pt x="47" y="0"/>
                      <a:pt x="47" y="0"/>
                      <a:pt x="47" y="0"/>
                    </a:cubicBezTo>
                    <a:cubicBezTo>
                      <a:pt x="43" y="0"/>
                      <a:pt x="38" y="2"/>
                      <a:pt x="36" y="5"/>
                    </a:cubicBezTo>
                    <a:cubicBezTo>
                      <a:pt x="4" y="42"/>
                      <a:pt x="4" y="42"/>
                      <a:pt x="4" y="42"/>
                    </a:cubicBezTo>
                    <a:cubicBezTo>
                      <a:pt x="2" y="45"/>
                      <a:pt x="0" y="50"/>
                      <a:pt x="0" y="54"/>
                    </a:cubicBezTo>
                    <a:cubicBezTo>
                      <a:pt x="0" y="57"/>
                      <a:pt x="0" y="57"/>
                      <a:pt x="0" y="57"/>
                    </a:cubicBezTo>
                    <a:cubicBezTo>
                      <a:pt x="0" y="61"/>
                      <a:pt x="3" y="64"/>
                      <a:pt x="7"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2" name="Freeform 21"/>
              <p:cNvSpPr>
                <a:spLocks noEditPoints="1"/>
              </p:cNvSpPr>
              <p:nvPr/>
            </p:nvSpPr>
            <p:spPr bwMode="black">
              <a:xfrm>
                <a:off x="4730751" y="1639888"/>
                <a:ext cx="781050" cy="608013"/>
              </a:xfrm>
              <a:custGeom>
                <a:avLst/>
                <a:gdLst>
                  <a:gd name="T0" fmla="*/ 177 w 208"/>
                  <a:gd name="T1" fmla="*/ 0 h 162"/>
                  <a:gd name="T2" fmla="*/ 31 w 208"/>
                  <a:gd name="T3" fmla="*/ 0 h 162"/>
                  <a:gd name="T4" fmla="*/ 0 w 208"/>
                  <a:gd name="T5" fmla="*/ 31 h 162"/>
                  <a:gd name="T6" fmla="*/ 0 w 208"/>
                  <a:gd name="T7" fmla="*/ 131 h 162"/>
                  <a:gd name="T8" fmla="*/ 31 w 208"/>
                  <a:gd name="T9" fmla="*/ 162 h 162"/>
                  <a:gd name="T10" fmla="*/ 177 w 208"/>
                  <a:gd name="T11" fmla="*/ 162 h 162"/>
                  <a:gd name="T12" fmla="*/ 208 w 208"/>
                  <a:gd name="T13" fmla="*/ 131 h 162"/>
                  <a:gd name="T14" fmla="*/ 208 w 208"/>
                  <a:gd name="T15" fmla="*/ 31 h 162"/>
                  <a:gd name="T16" fmla="*/ 177 w 208"/>
                  <a:gd name="T17" fmla="*/ 0 h 162"/>
                  <a:gd name="T18" fmla="*/ 190 w 208"/>
                  <a:gd name="T19" fmla="*/ 131 h 162"/>
                  <a:gd name="T20" fmla="*/ 177 w 208"/>
                  <a:gd name="T21" fmla="*/ 144 h 162"/>
                  <a:gd name="T22" fmla="*/ 31 w 208"/>
                  <a:gd name="T23" fmla="*/ 144 h 162"/>
                  <a:gd name="T24" fmla="*/ 18 w 208"/>
                  <a:gd name="T25" fmla="*/ 131 h 162"/>
                  <a:gd name="T26" fmla="*/ 18 w 208"/>
                  <a:gd name="T27" fmla="*/ 31 h 162"/>
                  <a:gd name="T28" fmla="*/ 31 w 208"/>
                  <a:gd name="T29" fmla="*/ 18 h 162"/>
                  <a:gd name="T30" fmla="*/ 177 w 208"/>
                  <a:gd name="T31" fmla="*/ 18 h 162"/>
                  <a:gd name="T32" fmla="*/ 190 w 208"/>
                  <a:gd name="T33" fmla="*/ 31 h 162"/>
                  <a:gd name="T34" fmla="*/ 190 w 208"/>
                  <a:gd name="T35" fmla="*/ 13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 h="162">
                    <a:moveTo>
                      <a:pt x="177" y="0"/>
                    </a:moveTo>
                    <a:cubicBezTo>
                      <a:pt x="31" y="0"/>
                      <a:pt x="31" y="0"/>
                      <a:pt x="31" y="0"/>
                    </a:cubicBezTo>
                    <a:cubicBezTo>
                      <a:pt x="14" y="0"/>
                      <a:pt x="0" y="14"/>
                      <a:pt x="0" y="31"/>
                    </a:cubicBezTo>
                    <a:cubicBezTo>
                      <a:pt x="0" y="131"/>
                      <a:pt x="0" y="131"/>
                      <a:pt x="0" y="131"/>
                    </a:cubicBezTo>
                    <a:cubicBezTo>
                      <a:pt x="0" y="148"/>
                      <a:pt x="14" y="162"/>
                      <a:pt x="31" y="162"/>
                    </a:cubicBezTo>
                    <a:cubicBezTo>
                      <a:pt x="177" y="162"/>
                      <a:pt x="177" y="162"/>
                      <a:pt x="177" y="162"/>
                    </a:cubicBezTo>
                    <a:cubicBezTo>
                      <a:pt x="194" y="162"/>
                      <a:pt x="208" y="148"/>
                      <a:pt x="208" y="131"/>
                    </a:cubicBezTo>
                    <a:cubicBezTo>
                      <a:pt x="208" y="31"/>
                      <a:pt x="208" y="31"/>
                      <a:pt x="208" y="31"/>
                    </a:cubicBezTo>
                    <a:cubicBezTo>
                      <a:pt x="208" y="14"/>
                      <a:pt x="194" y="0"/>
                      <a:pt x="177" y="0"/>
                    </a:cubicBezTo>
                    <a:moveTo>
                      <a:pt x="190" y="131"/>
                    </a:moveTo>
                    <a:cubicBezTo>
                      <a:pt x="190" y="138"/>
                      <a:pt x="184" y="144"/>
                      <a:pt x="177" y="144"/>
                    </a:cubicBezTo>
                    <a:cubicBezTo>
                      <a:pt x="31" y="144"/>
                      <a:pt x="31" y="144"/>
                      <a:pt x="31" y="144"/>
                    </a:cubicBezTo>
                    <a:cubicBezTo>
                      <a:pt x="24" y="144"/>
                      <a:pt x="18" y="138"/>
                      <a:pt x="18" y="131"/>
                    </a:cubicBezTo>
                    <a:cubicBezTo>
                      <a:pt x="18" y="31"/>
                      <a:pt x="18" y="31"/>
                      <a:pt x="18" y="31"/>
                    </a:cubicBezTo>
                    <a:cubicBezTo>
                      <a:pt x="18" y="24"/>
                      <a:pt x="24" y="18"/>
                      <a:pt x="31" y="18"/>
                    </a:cubicBezTo>
                    <a:cubicBezTo>
                      <a:pt x="177" y="18"/>
                      <a:pt x="177" y="18"/>
                      <a:pt x="177" y="18"/>
                    </a:cubicBezTo>
                    <a:cubicBezTo>
                      <a:pt x="184" y="18"/>
                      <a:pt x="190" y="24"/>
                      <a:pt x="190" y="31"/>
                    </a:cubicBezTo>
                    <a:lnTo>
                      <a:pt x="190" y="1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3" name="Freeform 22"/>
              <p:cNvSpPr>
                <a:spLocks/>
              </p:cNvSpPr>
              <p:nvPr/>
            </p:nvSpPr>
            <p:spPr bwMode="black">
              <a:xfrm>
                <a:off x="4911726" y="2289176"/>
                <a:ext cx="419100" cy="104775"/>
              </a:xfrm>
              <a:custGeom>
                <a:avLst/>
                <a:gdLst>
                  <a:gd name="T0" fmla="*/ 112 w 112"/>
                  <a:gd name="T1" fmla="*/ 25 h 28"/>
                  <a:gd name="T2" fmla="*/ 112 w 112"/>
                  <a:gd name="T3" fmla="*/ 23 h 28"/>
                  <a:gd name="T4" fmla="*/ 110 w 112"/>
                  <a:gd name="T5" fmla="*/ 18 h 28"/>
                  <a:gd name="T6" fmla="*/ 96 w 112"/>
                  <a:gd name="T7" fmla="*/ 2 h 28"/>
                  <a:gd name="T8" fmla="*/ 91 w 112"/>
                  <a:gd name="T9" fmla="*/ 0 h 28"/>
                  <a:gd name="T10" fmla="*/ 21 w 112"/>
                  <a:gd name="T11" fmla="*/ 0 h 28"/>
                  <a:gd name="T12" fmla="*/ 16 w 112"/>
                  <a:gd name="T13" fmla="*/ 2 h 28"/>
                  <a:gd name="T14" fmla="*/ 2 w 112"/>
                  <a:gd name="T15" fmla="*/ 18 h 28"/>
                  <a:gd name="T16" fmla="*/ 0 w 112"/>
                  <a:gd name="T17" fmla="*/ 23 h 28"/>
                  <a:gd name="T18" fmla="*/ 0 w 112"/>
                  <a:gd name="T19" fmla="*/ 25 h 28"/>
                  <a:gd name="T20" fmla="*/ 3 w 112"/>
                  <a:gd name="T21" fmla="*/ 28 h 28"/>
                  <a:gd name="T22" fmla="*/ 109 w 112"/>
                  <a:gd name="T23" fmla="*/ 28 h 28"/>
                  <a:gd name="T24" fmla="*/ 112 w 112"/>
                  <a:gd name="T25"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28">
                    <a:moveTo>
                      <a:pt x="112" y="25"/>
                    </a:moveTo>
                    <a:cubicBezTo>
                      <a:pt x="112" y="23"/>
                      <a:pt x="112" y="23"/>
                      <a:pt x="112" y="23"/>
                    </a:cubicBezTo>
                    <a:cubicBezTo>
                      <a:pt x="112" y="22"/>
                      <a:pt x="111" y="20"/>
                      <a:pt x="110" y="18"/>
                    </a:cubicBezTo>
                    <a:cubicBezTo>
                      <a:pt x="96" y="2"/>
                      <a:pt x="96" y="2"/>
                      <a:pt x="96" y="2"/>
                    </a:cubicBezTo>
                    <a:cubicBezTo>
                      <a:pt x="95" y="1"/>
                      <a:pt x="93" y="0"/>
                      <a:pt x="91" y="0"/>
                    </a:cubicBezTo>
                    <a:cubicBezTo>
                      <a:pt x="21" y="0"/>
                      <a:pt x="21" y="0"/>
                      <a:pt x="21" y="0"/>
                    </a:cubicBezTo>
                    <a:cubicBezTo>
                      <a:pt x="19" y="0"/>
                      <a:pt x="17" y="1"/>
                      <a:pt x="16" y="2"/>
                    </a:cubicBezTo>
                    <a:cubicBezTo>
                      <a:pt x="2" y="18"/>
                      <a:pt x="2" y="18"/>
                      <a:pt x="2" y="18"/>
                    </a:cubicBezTo>
                    <a:cubicBezTo>
                      <a:pt x="1" y="20"/>
                      <a:pt x="0" y="22"/>
                      <a:pt x="0" y="23"/>
                    </a:cubicBezTo>
                    <a:cubicBezTo>
                      <a:pt x="0" y="25"/>
                      <a:pt x="0" y="25"/>
                      <a:pt x="0" y="25"/>
                    </a:cubicBezTo>
                    <a:cubicBezTo>
                      <a:pt x="0" y="26"/>
                      <a:pt x="1" y="28"/>
                      <a:pt x="3" y="28"/>
                    </a:cubicBezTo>
                    <a:cubicBezTo>
                      <a:pt x="109" y="28"/>
                      <a:pt x="109" y="28"/>
                      <a:pt x="109" y="28"/>
                    </a:cubicBezTo>
                    <a:cubicBezTo>
                      <a:pt x="111" y="28"/>
                      <a:pt x="112" y="26"/>
                      <a:pt x="112" y="2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4" name="Freeform 23"/>
              <p:cNvSpPr>
                <a:spLocks noEditPoints="1"/>
              </p:cNvSpPr>
              <p:nvPr/>
            </p:nvSpPr>
            <p:spPr bwMode="black">
              <a:xfrm>
                <a:off x="5586413" y="1639888"/>
                <a:ext cx="385763" cy="754063"/>
              </a:xfrm>
              <a:custGeom>
                <a:avLst/>
                <a:gdLst>
                  <a:gd name="T0" fmla="*/ 89 w 103"/>
                  <a:gd name="T1" fmla="*/ 0 h 201"/>
                  <a:gd name="T2" fmla="*/ 13 w 103"/>
                  <a:gd name="T3" fmla="*/ 0 h 201"/>
                  <a:gd name="T4" fmla="*/ 0 w 103"/>
                  <a:gd name="T5" fmla="*/ 13 h 201"/>
                  <a:gd name="T6" fmla="*/ 0 w 103"/>
                  <a:gd name="T7" fmla="*/ 187 h 201"/>
                  <a:gd name="T8" fmla="*/ 13 w 103"/>
                  <a:gd name="T9" fmla="*/ 201 h 201"/>
                  <a:gd name="T10" fmla="*/ 89 w 103"/>
                  <a:gd name="T11" fmla="*/ 201 h 201"/>
                  <a:gd name="T12" fmla="*/ 103 w 103"/>
                  <a:gd name="T13" fmla="*/ 187 h 201"/>
                  <a:gd name="T14" fmla="*/ 103 w 103"/>
                  <a:gd name="T15" fmla="*/ 13 h 201"/>
                  <a:gd name="T16" fmla="*/ 89 w 103"/>
                  <a:gd name="T17" fmla="*/ 0 h 201"/>
                  <a:gd name="T18" fmla="*/ 52 w 103"/>
                  <a:gd name="T19" fmla="*/ 187 h 201"/>
                  <a:gd name="T20" fmla="*/ 40 w 103"/>
                  <a:gd name="T21" fmla="*/ 175 h 201"/>
                  <a:gd name="T22" fmla="*/ 52 w 103"/>
                  <a:gd name="T23" fmla="*/ 163 h 201"/>
                  <a:gd name="T24" fmla="*/ 63 w 103"/>
                  <a:gd name="T25" fmla="*/ 175 h 201"/>
                  <a:gd name="T26" fmla="*/ 52 w 103"/>
                  <a:gd name="T27" fmla="*/ 18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201">
                    <a:moveTo>
                      <a:pt x="89" y="0"/>
                    </a:moveTo>
                    <a:cubicBezTo>
                      <a:pt x="13" y="0"/>
                      <a:pt x="13" y="0"/>
                      <a:pt x="13" y="0"/>
                    </a:cubicBezTo>
                    <a:cubicBezTo>
                      <a:pt x="6" y="0"/>
                      <a:pt x="0" y="6"/>
                      <a:pt x="0" y="13"/>
                    </a:cubicBezTo>
                    <a:cubicBezTo>
                      <a:pt x="0" y="187"/>
                      <a:pt x="0" y="187"/>
                      <a:pt x="0" y="187"/>
                    </a:cubicBezTo>
                    <a:cubicBezTo>
                      <a:pt x="0" y="195"/>
                      <a:pt x="6" y="201"/>
                      <a:pt x="13" y="201"/>
                    </a:cubicBezTo>
                    <a:cubicBezTo>
                      <a:pt x="89" y="201"/>
                      <a:pt x="89" y="201"/>
                      <a:pt x="89" y="201"/>
                    </a:cubicBezTo>
                    <a:cubicBezTo>
                      <a:pt x="97" y="201"/>
                      <a:pt x="103" y="195"/>
                      <a:pt x="103" y="187"/>
                    </a:cubicBezTo>
                    <a:cubicBezTo>
                      <a:pt x="103" y="13"/>
                      <a:pt x="103" y="13"/>
                      <a:pt x="103" y="13"/>
                    </a:cubicBezTo>
                    <a:cubicBezTo>
                      <a:pt x="103" y="6"/>
                      <a:pt x="97" y="0"/>
                      <a:pt x="89" y="0"/>
                    </a:cubicBezTo>
                    <a:moveTo>
                      <a:pt x="52" y="187"/>
                    </a:moveTo>
                    <a:cubicBezTo>
                      <a:pt x="45" y="187"/>
                      <a:pt x="40" y="181"/>
                      <a:pt x="40" y="175"/>
                    </a:cubicBezTo>
                    <a:cubicBezTo>
                      <a:pt x="40" y="168"/>
                      <a:pt x="45" y="163"/>
                      <a:pt x="52" y="163"/>
                    </a:cubicBezTo>
                    <a:cubicBezTo>
                      <a:pt x="58" y="163"/>
                      <a:pt x="63" y="168"/>
                      <a:pt x="63" y="175"/>
                    </a:cubicBezTo>
                    <a:cubicBezTo>
                      <a:pt x="63" y="181"/>
                      <a:pt x="58" y="187"/>
                      <a:pt x="52" y="18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5" name="Freeform 24"/>
              <p:cNvSpPr>
                <a:spLocks noEditPoints="1"/>
              </p:cNvSpPr>
              <p:nvPr/>
            </p:nvSpPr>
            <p:spPr bwMode="black">
              <a:xfrm>
                <a:off x="2462213" y="3032126"/>
                <a:ext cx="525463" cy="804863"/>
              </a:xfrm>
              <a:custGeom>
                <a:avLst/>
                <a:gdLst>
                  <a:gd name="T0" fmla="*/ 109 w 140"/>
                  <a:gd name="T1" fmla="*/ 0 h 215"/>
                  <a:gd name="T2" fmla="*/ 31 w 140"/>
                  <a:gd name="T3" fmla="*/ 0 h 215"/>
                  <a:gd name="T4" fmla="*/ 0 w 140"/>
                  <a:gd name="T5" fmla="*/ 30 h 215"/>
                  <a:gd name="T6" fmla="*/ 0 w 140"/>
                  <a:gd name="T7" fmla="*/ 184 h 215"/>
                  <a:gd name="T8" fmla="*/ 31 w 140"/>
                  <a:gd name="T9" fmla="*/ 215 h 215"/>
                  <a:gd name="T10" fmla="*/ 109 w 140"/>
                  <a:gd name="T11" fmla="*/ 215 h 215"/>
                  <a:gd name="T12" fmla="*/ 140 w 140"/>
                  <a:gd name="T13" fmla="*/ 184 h 215"/>
                  <a:gd name="T14" fmla="*/ 140 w 140"/>
                  <a:gd name="T15" fmla="*/ 30 h 215"/>
                  <a:gd name="T16" fmla="*/ 109 w 140"/>
                  <a:gd name="T17" fmla="*/ 0 h 215"/>
                  <a:gd name="T18" fmla="*/ 122 w 140"/>
                  <a:gd name="T19" fmla="*/ 177 h 215"/>
                  <a:gd name="T20" fmla="*/ 109 w 140"/>
                  <a:gd name="T21" fmla="*/ 195 h 215"/>
                  <a:gd name="T22" fmla="*/ 31 w 140"/>
                  <a:gd name="T23" fmla="*/ 195 h 215"/>
                  <a:gd name="T24" fmla="*/ 18 w 140"/>
                  <a:gd name="T25" fmla="*/ 177 h 215"/>
                  <a:gd name="T26" fmla="*/ 18 w 140"/>
                  <a:gd name="T27" fmla="*/ 35 h 215"/>
                  <a:gd name="T28" fmla="*/ 31 w 140"/>
                  <a:gd name="T29" fmla="*/ 18 h 215"/>
                  <a:gd name="T30" fmla="*/ 109 w 140"/>
                  <a:gd name="T31" fmla="*/ 18 h 215"/>
                  <a:gd name="T32" fmla="*/ 122 w 140"/>
                  <a:gd name="T33" fmla="*/ 35 h 215"/>
                  <a:gd name="T34" fmla="*/ 122 w 140"/>
                  <a:gd name="T35" fmla="*/ 17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215">
                    <a:moveTo>
                      <a:pt x="109" y="0"/>
                    </a:moveTo>
                    <a:cubicBezTo>
                      <a:pt x="31" y="0"/>
                      <a:pt x="31" y="0"/>
                      <a:pt x="31" y="0"/>
                    </a:cubicBezTo>
                    <a:cubicBezTo>
                      <a:pt x="14" y="0"/>
                      <a:pt x="0" y="13"/>
                      <a:pt x="0" y="30"/>
                    </a:cubicBezTo>
                    <a:cubicBezTo>
                      <a:pt x="0" y="184"/>
                      <a:pt x="0" y="184"/>
                      <a:pt x="0" y="184"/>
                    </a:cubicBezTo>
                    <a:cubicBezTo>
                      <a:pt x="0" y="201"/>
                      <a:pt x="14" y="215"/>
                      <a:pt x="31" y="215"/>
                    </a:cubicBezTo>
                    <a:cubicBezTo>
                      <a:pt x="109" y="215"/>
                      <a:pt x="109" y="215"/>
                      <a:pt x="109" y="215"/>
                    </a:cubicBezTo>
                    <a:cubicBezTo>
                      <a:pt x="126" y="215"/>
                      <a:pt x="140" y="201"/>
                      <a:pt x="140" y="184"/>
                    </a:cubicBezTo>
                    <a:cubicBezTo>
                      <a:pt x="140" y="30"/>
                      <a:pt x="140" y="30"/>
                      <a:pt x="140" y="30"/>
                    </a:cubicBezTo>
                    <a:cubicBezTo>
                      <a:pt x="140" y="13"/>
                      <a:pt x="126" y="0"/>
                      <a:pt x="109" y="0"/>
                    </a:cubicBezTo>
                    <a:moveTo>
                      <a:pt x="122" y="177"/>
                    </a:moveTo>
                    <a:cubicBezTo>
                      <a:pt x="122" y="187"/>
                      <a:pt x="116" y="195"/>
                      <a:pt x="109" y="195"/>
                    </a:cubicBezTo>
                    <a:cubicBezTo>
                      <a:pt x="31" y="195"/>
                      <a:pt x="31" y="195"/>
                      <a:pt x="31" y="195"/>
                    </a:cubicBezTo>
                    <a:cubicBezTo>
                      <a:pt x="24" y="195"/>
                      <a:pt x="18" y="187"/>
                      <a:pt x="18" y="177"/>
                    </a:cubicBezTo>
                    <a:cubicBezTo>
                      <a:pt x="18" y="35"/>
                      <a:pt x="18" y="35"/>
                      <a:pt x="18" y="35"/>
                    </a:cubicBezTo>
                    <a:cubicBezTo>
                      <a:pt x="18" y="26"/>
                      <a:pt x="24" y="18"/>
                      <a:pt x="31" y="18"/>
                    </a:cubicBezTo>
                    <a:cubicBezTo>
                      <a:pt x="109" y="18"/>
                      <a:pt x="109" y="18"/>
                      <a:pt x="109" y="18"/>
                    </a:cubicBezTo>
                    <a:cubicBezTo>
                      <a:pt x="116" y="18"/>
                      <a:pt x="122" y="26"/>
                      <a:pt x="122" y="35"/>
                    </a:cubicBezTo>
                    <a:lnTo>
                      <a:pt x="122" y="1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6" name="Freeform 25"/>
              <p:cNvSpPr>
                <a:spLocks noEditPoints="1"/>
              </p:cNvSpPr>
              <p:nvPr/>
            </p:nvSpPr>
            <p:spPr bwMode="black">
              <a:xfrm>
                <a:off x="5049838" y="4411663"/>
                <a:ext cx="739775" cy="854075"/>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7" name="Freeform 26"/>
              <p:cNvSpPr>
                <a:spLocks noEditPoints="1"/>
              </p:cNvSpPr>
              <p:nvPr/>
            </p:nvSpPr>
            <p:spPr bwMode="black">
              <a:xfrm>
                <a:off x="6043613" y="2960688"/>
                <a:ext cx="641350" cy="876300"/>
              </a:xfrm>
              <a:custGeom>
                <a:avLst/>
                <a:gdLst>
                  <a:gd name="T0" fmla="*/ 146 w 171"/>
                  <a:gd name="T1" fmla="*/ 0 h 234"/>
                  <a:gd name="T2" fmla="*/ 25 w 171"/>
                  <a:gd name="T3" fmla="*/ 0 h 234"/>
                  <a:gd name="T4" fmla="*/ 0 w 171"/>
                  <a:gd name="T5" fmla="*/ 25 h 234"/>
                  <a:gd name="T6" fmla="*/ 0 w 171"/>
                  <a:gd name="T7" fmla="*/ 209 h 234"/>
                  <a:gd name="T8" fmla="*/ 25 w 171"/>
                  <a:gd name="T9" fmla="*/ 234 h 234"/>
                  <a:gd name="T10" fmla="*/ 146 w 171"/>
                  <a:gd name="T11" fmla="*/ 234 h 234"/>
                  <a:gd name="T12" fmla="*/ 171 w 171"/>
                  <a:gd name="T13" fmla="*/ 209 h 234"/>
                  <a:gd name="T14" fmla="*/ 171 w 171"/>
                  <a:gd name="T15" fmla="*/ 25 h 234"/>
                  <a:gd name="T16" fmla="*/ 146 w 171"/>
                  <a:gd name="T17" fmla="*/ 0 h 234"/>
                  <a:gd name="T18" fmla="*/ 157 w 171"/>
                  <a:gd name="T19" fmla="*/ 183 h 234"/>
                  <a:gd name="T20" fmla="*/ 146 w 171"/>
                  <a:gd name="T21" fmla="*/ 193 h 234"/>
                  <a:gd name="T22" fmla="*/ 25 w 171"/>
                  <a:gd name="T23" fmla="*/ 193 h 234"/>
                  <a:gd name="T24" fmla="*/ 15 w 171"/>
                  <a:gd name="T25" fmla="*/ 183 h 234"/>
                  <a:gd name="T26" fmla="*/ 15 w 171"/>
                  <a:gd name="T27" fmla="*/ 25 h 234"/>
                  <a:gd name="T28" fmla="*/ 25 w 171"/>
                  <a:gd name="T29" fmla="*/ 14 h 234"/>
                  <a:gd name="T30" fmla="*/ 146 w 171"/>
                  <a:gd name="T31" fmla="*/ 14 h 234"/>
                  <a:gd name="T32" fmla="*/ 157 w 171"/>
                  <a:gd name="T33" fmla="*/ 25 h 234"/>
                  <a:gd name="T34" fmla="*/ 157 w 171"/>
                  <a:gd name="T35" fmla="*/ 18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234">
                    <a:moveTo>
                      <a:pt x="146" y="0"/>
                    </a:moveTo>
                    <a:cubicBezTo>
                      <a:pt x="25" y="0"/>
                      <a:pt x="25" y="0"/>
                      <a:pt x="25" y="0"/>
                    </a:cubicBezTo>
                    <a:cubicBezTo>
                      <a:pt x="11" y="0"/>
                      <a:pt x="0" y="11"/>
                      <a:pt x="0" y="25"/>
                    </a:cubicBezTo>
                    <a:cubicBezTo>
                      <a:pt x="0" y="209"/>
                      <a:pt x="0" y="209"/>
                      <a:pt x="0" y="209"/>
                    </a:cubicBezTo>
                    <a:cubicBezTo>
                      <a:pt x="0" y="223"/>
                      <a:pt x="11" y="234"/>
                      <a:pt x="25" y="234"/>
                    </a:cubicBezTo>
                    <a:cubicBezTo>
                      <a:pt x="146" y="234"/>
                      <a:pt x="146" y="234"/>
                      <a:pt x="146" y="234"/>
                    </a:cubicBezTo>
                    <a:cubicBezTo>
                      <a:pt x="160" y="234"/>
                      <a:pt x="171" y="223"/>
                      <a:pt x="171" y="209"/>
                    </a:cubicBezTo>
                    <a:cubicBezTo>
                      <a:pt x="171" y="25"/>
                      <a:pt x="171" y="25"/>
                      <a:pt x="171" y="25"/>
                    </a:cubicBezTo>
                    <a:cubicBezTo>
                      <a:pt x="171" y="11"/>
                      <a:pt x="160" y="0"/>
                      <a:pt x="146" y="0"/>
                    </a:cubicBezTo>
                    <a:moveTo>
                      <a:pt x="157" y="183"/>
                    </a:moveTo>
                    <a:cubicBezTo>
                      <a:pt x="157" y="188"/>
                      <a:pt x="152" y="193"/>
                      <a:pt x="146" y="193"/>
                    </a:cubicBezTo>
                    <a:cubicBezTo>
                      <a:pt x="25" y="193"/>
                      <a:pt x="25" y="193"/>
                      <a:pt x="25" y="193"/>
                    </a:cubicBezTo>
                    <a:cubicBezTo>
                      <a:pt x="19" y="193"/>
                      <a:pt x="15" y="188"/>
                      <a:pt x="15" y="183"/>
                    </a:cubicBezTo>
                    <a:cubicBezTo>
                      <a:pt x="15" y="25"/>
                      <a:pt x="15" y="25"/>
                      <a:pt x="15" y="25"/>
                    </a:cubicBezTo>
                    <a:cubicBezTo>
                      <a:pt x="15" y="19"/>
                      <a:pt x="19" y="14"/>
                      <a:pt x="25" y="14"/>
                    </a:cubicBezTo>
                    <a:cubicBezTo>
                      <a:pt x="146" y="14"/>
                      <a:pt x="146" y="14"/>
                      <a:pt x="146" y="14"/>
                    </a:cubicBezTo>
                    <a:cubicBezTo>
                      <a:pt x="152" y="14"/>
                      <a:pt x="157" y="19"/>
                      <a:pt x="157" y="25"/>
                    </a:cubicBezTo>
                    <a:lnTo>
                      <a:pt x="157" y="1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8" name="Oval 27"/>
              <p:cNvSpPr>
                <a:spLocks noChangeArrowheads="1"/>
              </p:cNvSpPr>
              <p:nvPr/>
            </p:nvSpPr>
            <p:spPr bwMode="black">
              <a:xfrm>
                <a:off x="62245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9" name="Oval 28"/>
              <p:cNvSpPr>
                <a:spLocks noChangeArrowheads="1"/>
              </p:cNvSpPr>
              <p:nvPr/>
            </p:nvSpPr>
            <p:spPr bwMode="black">
              <a:xfrm>
                <a:off x="64531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0" name="Oval 29"/>
              <p:cNvSpPr>
                <a:spLocks noChangeArrowheads="1"/>
              </p:cNvSpPr>
              <p:nvPr/>
            </p:nvSpPr>
            <p:spPr bwMode="black">
              <a:xfrm>
                <a:off x="6340476"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1" name="Freeform 30"/>
              <p:cNvSpPr>
                <a:spLocks/>
              </p:cNvSpPr>
              <p:nvPr/>
            </p:nvSpPr>
            <p:spPr bwMode="black">
              <a:xfrm>
                <a:off x="3425826" y="4279901"/>
                <a:ext cx="442913" cy="16192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2" name="Freeform 31"/>
              <p:cNvSpPr>
                <a:spLocks noEditPoints="1"/>
              </p:cNvSpPr>
              <p:nvPr/>
            </p:nvSpPr>
            <p:spPr bwMode="black">
              <a:xfrm>
                <a:off x="3414713" y="4456113"/>
                <a:ext cx="476250" cy="80962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grpSp>
      <p:grpSp>
        <p:nvGrpSpPr>
          <p:cNvPr id="2" name="Group 1"/>
          <p:cNvGrpSpPr/>
          <p:nvPr/>
        </p:nvGrpSpPr>
        <p:grpSpPr>
          <a:xfrm>
            <a:off x="507624" y="3011804"/>
            <a:ext cx="2620438" cy="1872234"/>
            <a:chOff x="676656" y="4015738"/>
            <a:chExt cx="3493008" cy="2496312"/>
          </a:xfrm>
        </p:grpSpPr>
        <p:sp>
          <p:nvSpPr>
            <p:cNvPr id="9" name="Dark Blue"/>
            <p:cNvSpPr/>
            <p:nvPr/>
          </p:nvSpPr>
          <p:spPr bwMode="auto">
            <a:xfrm>
              <a:off x="676656" y="4015738"/>
              <a:ext cx="3493008" cy="2496312"/>
            </a:xfrm>
            <a:prstGeom prst="roundRect">
              <a:avLst>
                <a:gd name="adj" fmla="val 0"/>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a:p>
              <a:pPr algn="ctr" defTabSz="685637"/>
              <a:r>
                <a:rPr lang="en-US" sz="1700" dirty="0">
                  <a:solidFill>
                    <a:srgbClr val="FFFFFF">
                      <a:alpha val="98824"/>
                    </a:srgbClr>
                  </a:solidFill>
                  <a:latin typeface="Segoe UI" pitchFamily="34" charset="0"/>
                  <a:ea typeface="Segoe UI" pitchFamily="34" charset="0"/>
                  <a:cs typeface="Segoe UI" pitchFamily="34" charset="0"/>
                </a:rPr>
                <a:t>Rich Platform</a:t>
              </a:r>
            </a:p>
          </p:txBody>
        </p:sp>
        <p:grpSp>
          <p:nvGrpSpPr>
            <p:cNvPr id="43" name="Group 42"/>
            <p:cNvGrpSpPr>
              <a:grpSpLocks noChangeAspect="1"/>
            </p:cNvGrpSpPr>
            <p:nvPr/>
          </p:nvGrpSpPr>
          <p:grpSpPr bwMode="black">
            <a:xfrm>
              <a:off x="1767586" y="4593949"/>
              <a:ext cx="1311149" cy="1014057"/>
              <a:chOff x="813584" y="4312262"/>
              <a:chExt cx="478309" cy="370027"/>
            </a:xfrm>
          </p:grpSpPr>
          <p:sp>
            <p:nvSpPr>
              <p:cNvPr id="44" name="Freeform 79"/>
              <p:cNvSpPr>
                <a:spLocks/>
              </p:cNvSpPr>
              <p:nvPr/>
            </p:nvSpPr>
            <p:spPr bwMode="black">
              <a:xfrm>
                <a:off x="813584" y="4503897"/>
                <a:ext cx="478309" cy="178392"/>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200" dirty="0"/>
              </a:p>
            </p:txBody>
          </p:sp>
          <p:sp>
            <p:nvSpPr>
              <p:cNvPr id="45" name="Freeform 80"/>
              <p:cNvSpPr>
                <a:spLocks noEditPoints="1"/>
              </p:cNvSpPr>
              <p:nvPr/>
            </p:nvSpPr>
            <p:spPr bwMode="black">
              <a:xfrm>
                <a:off x="813584" y="4312262"/>
                <a:ext cx="478309" cy="176834"/>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200" dirty="0"/>
              </a:p>
            </p:txBody>
          </p:sp>
        </p:grpSp>
      </p:grpSp>
      <p:grpSp>
        <p:nvGrpSpPr>
          <p:cNvPr id="51" name="Group 50"/>
          <p:cNvGrpSpPr/>
          <p:nvPr/>
        </p:nvGrpSpPr>
        <p:grpSpPr>
          <a:xfrm>
            <a:off x="3265259" y="3011804"/>
            <a:ext cx="2620438" cy="1872234"/>
            <a:chOff x="4366220" y="3949024"/>
            <a:chExt cx="3493008" cy="2496312"/>
          </a:xfrm>
        </p:grpSpPr>
        <p:sp>
          <p:nvSpPr>
            <p:cNvPr id="7" name="Orange"/>
            <p:cNvSpPr/>
            <p:nvPr/>
          </p:nvSpPr>
          <p:spPr bwMode="auto">
            <a:xfrm>
              <a:off x="4366220" y="3949024"/>
              <a:ext cx="3493008" cy="2496312"/>
            </a:xfrm>
            <a:prstGeom prst="roundRect">
              <a:avLst>
                <a:gd name="adj" fmla="val 0"/>
              </a:avLst>
            </a:prstGeom>
            <a:solidFill>
              <a:schemeClr val="bg1">
                <a:lumMod val="40000"/>
                <a:lumOff val="60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a:r>
                <a:rPr lang="en-US" sz="1700" dirty="0">
                  <a:solidFill>
                    <a:schemeClr val="tx1">
                      <a:alpha val="99000"/>
                    </a:schemeClr>
                  </a:solidFill>
                  <a:latin typeface="Segoe UI" pitchFamily="34" charset="0"/>
                  <a:ea typeface="Segoe UI" pitchFamily="34" charset="0"/>
                  <a:cs typeface="Segoe UI" pitchFamily="34" charset="0"/>
                </a:rPr>
                <a:t>Standards-based</a:t>
              </a:r>
            </a:p>
          </p:txBody>
        </p:sp>
        <p:sp>
          <p:nvSpPr>
            <p:cNvPr id="46" name="Freeform 15"/>
            <p:cNvSpPr>
              <a:spLocks noChangeAspect="1" noEditPoints="1"/>
            </p:cNvSpPr>
            <p:nvPr/>
          </p:nvSpPr>
          <p:spPr bwMode="black">
            <a:xfrm>
              <a:off x="5519047" y="4352572"/>
              <a:ext cx="1187354" cy="1188720"/>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dirty="0"/>
            </a:p>
          </p:txBody>
        </p:sp>
      </p:grpSp>
      <p:sp>
        <p:nvSpPr>
          <p:cNvPr id="53"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54"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4"/>
              </a:rPr>
              <a:t>www.rapidbbs.cn</a:t>
            </a:r>
            <a:endParaRPr lang="zh-CN" altLang="en-US" sz="1200" b="0">
              <a:latin typeface="Arial" charset="0"/>
              <a:ea typeface="ＭＳ Ｐゴシック" pitchFamily="34" charset="-128"/>
            </a:endParaRPr>
          </a:p>
        </p:txBody>
      </p:sp>
      <p:pic>
        <p:nvPicPr>
          <p:cNvPr id="55" name="Picture 2">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706108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indows PowerShell 3.0 Themes</a:t>
            </a:r>
            <a:endParaRPr lang="en-US" dirty="0"/>
          </a:p>
        </p:txBody>
      </p:sp>
      <p:grpSp>
        <p:nvGrpSpPr>
          <p:cNvPr id="47" name="Group 46"/>
          <p:cNvGrpSpPr/>
          <p:nvPr/>
        </p:nvGrpSpPr>
        <p:grpSpPr>
          <a:xfrm>
            <a:off x="507624" y="1012374"/>
            <a:ext cx="2620438" cy="1872234"/>
            <a:chOff x="676656" y="1349832"/>
            <a:chExt cx="3493008" cy="2496312"/>
          </a:xfrm>
        </p:grpSpPr>
        <p:sp>
          <p:nvSpPr>
            <p:cNvPr id="8" name="Light Blue"/>
            <p:cNvSpPr/>
            <p:nvPr/>
          </p:nvSpPr>
          <p:spPr bwMode="auto">
            <a:xfrm>
              <a:off x="676656" y="1349832"/>
              <a:ext cx="3493008" cy="2496312"/>
            </a:xfrm>
            <a:prstGeom prst="roundRect">
              <a:avLst>
                <a:gd name="adj" fmla="val 0"/>
              </a:avLst>
            </a:prstGeom>
            <a:solidFill>
              <a:schemeClr val="bg1">
                <a:lumMod val="40000"/>
                <a:lumOff val="6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a:r>
                <a:rPr lang="en-US" sz="1700" dirty="0">
                  <a:solidFill>
                    <a:schemeClr val="tx1">
                      <a:alpha val="99000"/>
                    </a:schemeClr>
                  </a:solidFill>
                  <a:latin typeface="Segoe UI" pitchFamily="34" charset="0"/>
                  <a:ea typeface="Segoe UI" pitchFamily="34" charset="0"/>
                  <a:cs typeface="Segoe UI" pitchFamily="34" charset="0"/>
                </a:rPr>
                <a:t>Simple &amp; Easy</a:t>
              </a:r>
            </a:p>
          </p:txBody>
        </p:sp>
        <p:pic>
          <p:nvPicPr>
            <p:cNvPr id="10" name="Picture 35" descr="C:\Users\sakuu\Documents\Ballmer WPC\AI\Vacation.png"/>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879962" y="1637864"/>
              <a:ext cx="1086396" cy="144249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2" name="Group 51"/>
          <p:cNvGrpSpPr/>
          <p:nvPr/>
        </p:nvGrpSpPr>
        <p:grpSpPr>
          <a:xfrm>
            <a:off x="6016977" y="3011804"/>
            <a:ext cx="2620438" cy="1872234"/>
            <a:chOff x="8045452" y="3949024"/>
            <a:chExt cx="3493008" cy="2496312"/>
          </a:xfrm>
        </p:grpSpPr>
        <p:sp>
          <p:nvSpPr>
            <p:cNvPr id="5" name="Red"/>
            <p:cNvSpPr/>
            <p:nvPr/>
          </p:nvSpPr>
          <p:spPr bwMode="auto">
            <a:xfrm>
              <a:off x="8045452" y="3949024"/>
              <a:ext cx="3493008" cy="2496312"/>
            </a:xfrm>
            <a:prstGeom prst="roundRect">
              <a:avLst>
                <a:gd name="adj" fmla="val 0"/>
              </a:avLst>
            </a:prstGeom>
            <a:solidFill>
              <a:schemeClr val="bg1">
                <a:lumMod val="40000"/>
                <a:lumOff val="60000"/>
              </a:schemeClr>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r>
                <a:rPr lang="en-US" sz="1700" dirty="0">
                  <a:solidFill>
                    <a:schemeClr val="tx1">
                      <a:alpha val="99000"/>
                    </a:schemeClr>
                  </a:solidFill>
                  <a:latin typeface="Segoe UI" pitchFamily="34" charset="0"/>
                  <a:ea typeface="Segoe UI" pitchFamily="34" charset="0"/>
                  <a:cs typeface="Segoe UI" pitchFamily="34" charset="0"/>
                </a:rPr>
                <a:t>PS 3.0  -</a:t>
              </a:r>
              <a:r>
                <a:rPr lang="en-US" sz="1700" dirty="0" err="1">
                  <a:solidFill>
                    <a:schemeClr val="tx1">
                      <a:alpha val="99000"/>
                    </a:schemeClr>
                  </a:solidFill>
                  <a:latin typeface="Segoe UI" pitchFamily="34" charset="0"/>
                  <a:ea typeface="Segoe UI" pitchFamily="34" charset="0"/>
                  <a:cs typeface="Segoe UI" pitchFamily="34" charset="0"/>
                </a:rPr>
                <a:t>gt</a:t>
              </a:r>
              <a:r>
                <a:rPr lang="en-US" sz="1700" dirty="0">
                  <a:solidFill>
                    <a:schemeClr val="tx1">
                      <a:alpha val="99000"/>
                    </a:schemeClr>
                  </a:solidFill>
                  <a:latin typeface="Segoe UI" pitchFamily="34" charset="0"/>
                  <a:ea typeface="Segoe UI" pitchFamily="34" charset="0"/>
                  <a:cs typeface="Segoe UI" pitchFamily="34" charset="0"/>
                </a:rPr>
                <a:t>  PS 2.0</a:t>
              </a:r>
            </a:p>
          </p:txBody>
        </p:sp>
        <p:grpSp>
          <p:nvGrpSpPr>
            <p:cNvPr id="11" name="Group 10"/>
            <p:cNvGrpSpPr/>
            <p:nvPr/>
          </p:nvGrpSpPr>
          <p:grpSpPr bwMode="black">
            <a:xfrm>
              <a:off x="9458640" y="4405080"/>
              <a:ext cx="666632" cy="1137216"/>
              <a:chOff x="3233738" y="168276"/>
              <a:chExt cx="2651125" cy="6480174"/>
            </a:xfrm>
          </p:grpSpPr>
          <p:sp>
            <p:nvSpPr>
              <p:cNvPr id="12"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13"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14"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grpSp>
      <p:grpSp>
        <p:nvGrpSpPr>
          <p:cNvPr id="49" name="Group 48"/>
          <p:cNvGrpSpPr/>
          <p:nvPr/>
        </p:nvGrpSpPr>
        <p:grpSpPr>
          <a:xfrm>
            <a:off x="6016977" y="1012374"/>
            <a:ext cx="2620438" cy="1872234"/>
            <a:chOff x="8045452" y="1349832"/>
            <a:chExt cx="3493008" cy="2496312"/>
          </a:xfrm>
        </p:grpSpPr>
        <p:sp>
          <p:nvSpPr>
            <p:cNvPr id="4" name="Green"/>
            <p:cNvSpPr/>
            <p:nvPr/>
          </p:nvSpPr>
          <p:spPr bwMode="auto">
            <a:xfrm>
              <a:off x="8045452" y="1349832"/>
              <a:ext cx="3493008" cy="2496312"/>
            </a:xfrm>
            <a:prstGeom prst="roundRect">
              <a:avLst>
                <a:gd name="adj" fmla="val 0"/>
              </a:avLst>
            </a:prstGeom>
            <a:solidFill>
              <a:schemeClr val="bg1">
                <a:lumMod val="40000"/>
                <a:lumOff val="60000"/>
              </a:schemeClr>
            </a:soli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r>
                <a:rPr lang="en-US" sz="1700" dirty="0">
                  <a:solidFill>
                    <a:schemeClr val="tx1">
                      <a:alpha val="99000"/>
                    </a:schemeClr>
                  </a:solidFill>
                  <a:latin typeface="Segoe UI" pitchFamily="34" charset="0"/>
                  <a:ea typeface="Segoe UI" pitchFamily="34" charset="0"/>
                  <a:cs typeface="Segoe UI" pitchFamily="34" charset="0"/>
                </a:rPr>
                <a:t>Robust &amp; Scalable</a:t>
              </a:r>
            </a:p>
          </p:txBody>
        </p:sp>
        <p:sp>
          <p:nvSpPr>
            <p:cNvPr id="15" name="Freeform 35"/>
            <p:cNvSpPr>
              <a:spLocks/>
            </p:cNvSpPr>
            <p:nvPr/>
          </p:nvSpPr>
          <p:spPr bwMode="black">
            <a:xfrm>
              <a:off x="9024221" y="1750933"/>
              <a:ext cx="1535470" cy="1305668"/>
            </a:xfrm>
            <a:custGeom>
              <a:avLst/>
              <a:gdLst>
                <a:gd name="T0" fmla="*/ 120 w 191"/>
                <a:gd name="T1" fmla="*/ 32 h 197"/>
                <a:gd name="T2" fmla="*/ 83 w 191"/>
                <a:gd name="T3" fmla="*/ 3 h 197"/>
                <a:gd name="T4" fmla="*/ 47 w 191"/>
                <a:gd name="T5" fmla="*/ 5 h 197"/>
                <a:gd name="T6" fmla="*/ 44 w 191"/>
                <a:gd name="T7" fmla="*/ 27 h 197"/>
                <a:gd name="T8" fmla="*/ 40 w 191"/>
                <a:gd name="T9" fmla="*/ 29 h 197"/>
                <a:gd name="T10" fmla="*/ 40 w 191"/>
                <a:gd name="T11" fmla="*/ 33 h 197"/>
                <a:gd name="T12" fmla="*/ 45 w 191"/>
                <a:gd name="T13" fmla="*/ 40 h 197"/>
                <a:gd name="T14" fmla="*/ 88 w 191"/>
                <a:gd name="T15" fmla="*/ 44 h 197"/>
                <a:gd name="T16" fmla="*/ 118 w 191"/>
                <a:gd name="T17" fmla="*/ 113 h 197"/>
                <a:gd name="T18" fmla="*/ 144 w 191"/>
                <a:gd name="T19" fmla="*/ 129 h 197"/>
                <a:gd name="T20" fmla="*/ 112 w 191"/>
                <a:gd name="T21" fmla="*/ 109 h 197"/>
                <a:gd name="T22" fmla="*/ 65 w 191"/>
                <a:gd name="T23" fmla="*/ 115 h 197"/>
                <a:gd name="T24" fmla="*/ 0 w 191"/>
                <a:gd name="T25" fmla="*/ 116 h 197"/>
                <a:gd name="T26" fmla="*/ 26 w 191"/>
                <a:gd name="T27" fmla="*/ 174 h 197"/>
                <a:gd name="T28" fmla="*/ 61 w 191"/>
                <a:gd name="T29" fmla="*/ 136 h 197"/>
                <a:gd name="T30" fmla="*/ 57 w 191"/>
                <a:gd name="T31" fmla="*/ 148 h 197"/>
                <a:gd name="T32" fmla="*/ 126 w 191"/>
                <a:gd name="T33" fmla="*/ 140 h 197"/>
                <a:gd name="T34" fmla="*/ 55 w 191"/>
                <a:gd name="T35" fmla="*/ 153 h 197"/>
                <a:gd name="T36" fmla="*/ 30 w 191"/>
                <a:gd name="T37" fmla="*/ 180 h 197"/>
                <a:gd name="T38" fmla="*/ 32 w 191"/>
                <a:gd name="T39" fmla="*/ 182 h 197"/>
                <a:gd name="T40" fmla="*/ 180 w 191"/>
                <a:gd name="T41" fmla="*/ 159 h 197"/>
                <a:gd name="T42" fmla="*/ 185 w 191"/>
                <a:gd name="T43" fmla="*/ 129 h 197"/>
                <a:gd name="T44" fmla="*/ 120 w 191"/>
                <a:gd name="T45" fmla="*/ 32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1" h="197">
                  <a:moveTo>
                    <a:pt x="120" y="32"/>
                  </a:moveTo>
                  <a:cubicBezTo>
                    <a:pt x="112" y="23"/>
                    <a:pt x="99" y="9"/>
                    <a:pt x="83" y="3"/>
                  </a:cubicBezTo>
                  <a:cubicBezTo>
                    <a:pt x="72" y="0"/>
                    <a:pt x="47" y="5"/>
                    <a:pt x="47" y="5"/>
                  </a:cubicBezTo>
                  <a:cubicBezTo>
                    <a:pt x="44" y="27"/>
                    <a:pt x="44" y="27"/>
                    <a:pt x="44" y="27"/>
                  </a:cubicBezTo>
                  <a:cubicBezTo>
                    <a:pt x="40" y="29"/>
                    <a:pt x="40" y="29"/>
                    <a:pt x="40" y="29"/>
                  </a:cubicBezTo>
                  <a:cubicBezTo>
                    <a:pt x="40" y="33"/>
                    <a:pt x="40" y="33"/>
                    <a:pt x="40" y="33"/>
                  </a:cubicBezTo>
                  <a:cubicBezTo>
                    <a:pt x="40" y="33"/>
                    <a:pt x="40" y="37"/>
                    <a:pt x="45" y="40"/>
                  </a:cubicBezTo>
                  <a:cubicBezTo>
                    <a:pt x="50" y="42"/>
                    <a:pt x="73" y="53"/>
                    <a:pt x="88" y="44"/>
                  </a:cubicBezTo>
                  <a:cubicBezTo>
                    <a:pt x="118" y="60"/>
                    <a:pt x="105" y="91"/>
                    <a:pt x="118" y="113"/>
                  </a:cubicBezTo>
                  <a:cubicBezTo>
                    <a:pt x="123" y="120"/>
                    <a:pt x="131" y="127"/>
                    <a:pt x="144" y="129"/>
                  </a:cubicBezTo>
                  <a:cubicBezTo>
                    <a:pt x="144" y="129"/>
                    <a:pt x="115" y="131"/>
                    <a:pt x="112" y="109"/>
                  </a:cubicBezTo>
                  <a:cubicBezTo>
                    <a:pt x="101" y="104"/>
                    <a:pt x="82" y="99"/>
                    <a:pt x="65" y="115"/>
                  </a:cubicBezTo>
                  <a:cubicBezTo>
                    <a:pt x="51" y="100"/>
                    <a:pt x="14" y="100"/>
                    <a:pt x="0" y="116"/>
                  </a:cubicBezTo>
                  <a:cubicBezTo>
                    <a:pt x="6" y="141"/>
                    <a:pt x="18" y="163"/>
                    <a:pt x="26" y="174"/>
                  </a:cubicBezTo>
                  <a:cubicBezTo>
                    <a:pt x="52" y="156"/>
                    <a:pt x="61" y="136"/>
                    <a:pt x="61" y="136"/>
                  </a:cubicBezTo>
                  <a:cubicBezTo>
                    <a:pt x="60" y="140"/>
                    <a:pt x="59" y="144"/>
                    <a:pt x="57" y="148"/>
                  </a:cubicBezTo>
                  <a:cubicBezTo>
                    <a:pt x="103" y="167"/>
                    <a:pt x="126" y="140"/>
                    <a:pt x="126" y="140"/>
                  </a:cubicBezTo>
                  <a:cubicBezTo>
                    <a:pt x="107" y="171"/>
                    <a:pt x="63" y="157"/>
                    <a:pt x="55" y="153"/>
                  </a:cubicBezTo>
                  <a:cubicBezTo>
                    <a:pt x="48" y="166"/>
                    <a:pt x="38" y="175"/>
                    <a:pt x="30" y="180"/>
                  </a:cubicBezTo>
                  <a:cubicBezTo>
                    <a:pt x="32" y="181"/>
                    <a:pt x="32" y="182"/>
                    <a:pt x="32" y="182"/>
                  </a:cubicBezTo>
                  <a:cubicBezTo>
                    <a:pt x="88" y="197"/>
                    <a:pt x="154" y="177"/>
                    <a:pt x="180" y="159"/>
                  </a:cubicBezTo>
                  <a:cubicBezTo>
                    <a:pt x="191" y="151"/>
                    <a:pt x="188" y="138"/>
                    <a:pt x="185" y="129"/>
                  </a:cubicBezTo>
                  <a:cubicBezTo>
                    <a:pt x="172" y="91"/>
                    <a:pt x="134" y="49"/>
                    <a:pt x="120" y="3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dirty="0"/>
            </a:p>
          </p:txBody>
        </p:sp>
      </p:grpSp>
      <p:grpSp>
        <p:nvGrpSpPr>
          <p:cNvPr id="48" name="Group 47"/>
          <p:cNvGrpSpPr/>
          <p:nvPr/>
        </p:nvGrpSpPr>
        <p:grpSpPr>
          <a:xfrm>
            <a:off x="3264841" y="1012374"/>
            <a:ext cx="2620438" cy="1872234"/>
            <a:chOff x="4366220" y="1349832"/>
            <a:chExt cx="3493008" cy="2496312"/>
          </a:xfrm>
        </p:grpSpPr>
        <p:sp>
          <p:nvSpPr>
            <p:cNvPr id="6" name="Yellow"/>
            <p:cNvSpPr/>
            <p:nvPr/>
          </p:nvSpPr>
          <p:spPr bwMode="auto">
            <a:xfrm>
              <a:off x="4366220" y="1349832"/>
              <a:ext cx="3493008" cy="2496312"/>
            </a:xfrm>
            <a:prstGeom prst="roundRect">
              <a:avLst>
                <a:gd name="adj" fmla="val 0"/>
              </a:avLst>
            </a:prstGeom>
            <a:solidFill>
              <a:schemeClr val="bg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spc="-15"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endParaRPr lang="en-US" sz="1700" spc="-15"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endParaRPr lang="en-US" sz="1700" spc="-15"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endParaRPr lang="en-US" sz="1700" spc="-15"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r>
                <a:rPr lang="en-US" sz="1700" spc="-45" dirty="0">
                  <a:solidFill>
                    <a:schemeClr val="tx1">
                      <a:alpha val="99000"/>
                    </a:schemeClr>
                  </a:solidFill>
                  <a:latin typeface="Segoe UI" pitchFamily="34" charset="0"/>
                  <a:ea typeface="Segoe UI" pitchFamily="34" charset="0"/>
                  <a:cs typeface="Segoe UI" pitchFamily="34" charset="0"/>
                </a:rPr>
                <a:t>Comprehensive Coverage</a:t>
              </a:r>
            </a:p>
          </p:txBody>
        </p:sp>
        <p:grpSp>
          <p:nvGrpSpPr>
            <p:cNvPr id="16" name="Group 15"/>
            <p:cNvGrpSpPr>
              <a:grpSpLocks noChangeAspect="1"/>
            </p:cNvGrpSpPr>
            <p:nvPr/>
          </p:nvGrpSpPr>
          <p:grpSpPr bwMode="black">
            <a:xfrm>
              <a:off x="5371041" y="1736438"/>
              <a:ext cx="1483366" cy="1287850"/>
              <a:chOff x="2462213" y="1598613"/>
              <a:chExt cx="4222750" cy="3667125"/>
            </a:xfrm>
          </p:grpSpPr>
          <p:sp>
            <p:nvSpPr>
              <p:cNvPr id="17" name="Rectangle 6"/>
              <p:cNvSpPr>
                <a:spLocks noChangeArrowheads="1"/>
              </p:cNvSpPr>
              <p:nvPr/>
            </p:nvSpPr>
            <p:spPr bwMode="black">
              <a:xfrm>
                <a:off x="5564188"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18" name="Rectangle 7"/>
              <p:cNvSpPr>
                <a:spLocks noChangeArrowheads="1"/>
              </p:cNvSpPr>
              <p:nvPr/>
            </p:nvSpPr>
            <p:spPr bwMode="black">
              <a:xfrm>
                <a:off x="5795963" y="3346451"/>
                <a:ext cx="112713"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19" name="Rectangle 8"/>
              <p:cNvSpPr>
                <a:spLocks noChangeArrowheads="1"/>
              </p:cNvSpPr>
              <p:nvPr/>
            </p:nvSpPr>
            <p:spPr bwMode="black">
              <a:xfrm>
                <a:off x="3092451"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0" name="Rectangle 9"/>
              <p:cNvSpPr>
                <a:spLocks noChangeArrowheads="1"/>
              </p:cNvSpPr>
              <p:nvPr/>
            </p:nvSpPr>
            <p:spPr bwMode="black">
              <a:xfrm>
                <a:off x="3324226" y="3346451"/>
                <a:ext cx="117475"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1" name="Freeform 10"/>
              <p:cNvSpPr>
                <a:spLocks/>
              </p:cNvSpPr>
              <p:nvPr/>
            </p:nvSpPr>
            <p:spPr bwMode="black">
              <a:xfrm>
                <a:off x="3902076" y="2506663"/>
                <a:ext cx="101600" cy="123825"/>
              </a:xfrm>
              <a:custGeom>
                <a:avLst/>
                <a:gdLst>
                  <a:gd name="T0" fmla="*/ 36 w 64"/>
                  <a:gd name="T1" fmla="*/ 78 h 78"/>
                  <a:gd name="T2" fmla="*/ 64 w 64"/>
                  <a:gd name="T3" fmla="*/ 64 h 78"/>
                  <a:gd name="T4" fmla="*/ 26 w 64"/>
                  <a:gd name="T5" fmla="*/ 0 h 78"/>
                  <a:gd name="T6" fmla="*/ 0 w 64"/>
                  <a:gd name="T7" fmla="*/ 17 h 78"/>
                  <a:gd name="T8" fmla="*/ 36 w 64"/>
                  <a:gd name="T9" fmla="*/ 78 h 78"/>
                </a:gdLst>
                <a:ahLst/>
                <a:cxnLst>
                  <a:cxn ang="0">
                    <a:pos x="T0" y="T1"/>
                  </a:cxn>
                  <a:cxn ang="0">
                    <a:pos x="T2" y="T3"/>
                  </a:cxn>
                  <a:cxn ang="0">
                    <a:pos x="T4" y="T5"/>
                  </a:cxn>
                  <a:cxn ang="0">
                    <a:pos x="T6" y="T7"/>
                  </a:cxn>
                  <a:cxn ang="0">
                    <a:pos x="T8" y="T9"/>
                  </a:cxn>
                </a:cxnLst>
                <a:rect l="0" t="0" r="r" b="b"/>
                <a:pathLst>
                  <a:path w="64" h="78">
                    <a:moveTo>
                      <a:pt x="36" y="78"/>
                    </a:moveTo>
                    <a:lnTo>
                      <a:pt x="64" y="64"/>
                    </a:lnTo>
                    <a:lnTo>
                      <a:pt x="26" y="0"/>
                    </a:lnTo>
                    <a:lnTo>
                      <a:pt x="0" y="17"/>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2" name="Freeform 11"/>
              <p:cNvSpPr>
                <a:spLocks/>
              </p:cNvSpPr>
              <p:nvPr/>
            </p:nvSpPr>
            <p:spPr bwMode="black">
              <a:xfrm>
                <a:off x="4017963" y="2709863"/>
                <a:ext cx="98425" cy="123825"/>
              </a:xfrm>
              <a:custGeom>
                <a:avLst/>
                <a:gdLst>
                  <a:gd name="T0" fmla="*/ 36 w 62"/>
                  <a:gd name="T1" fmla="*/ 78 h 78"/>
                  <a:gd name="T2" fmla="*/ 62 w 62"/>
                  <a:gd name="T3" fmla="*/ 61 h 78"/>
                  <a:gd name="T4" fmla="*/ 26 w 62"/>
                  <a:gd name="T5" fmla="*/ 0 h 78"/>
                  <a:gd name="T6" fmla="*/ 0 w 62"/>
                  <a:gd name="T7" fmla="*/ 14 h 78"/>
                  <a:gd name="T8" fmla="*/ 36 w 62"/>
                  <a:gd name="T9" fmla="*/ 78 h 78"/>
                </a:gdLst>
                <a:ahLst/>
                <a:cxnLst>
                  <a:cxn ang="0">
                    <a:pos x="T0" y="T1"/>
                  </a:cxn>
                  <a:cxn ang="0">
                    <a:pos x="T2" y="T3"/>
                  </a:cxn>
                  <a:cxn ang="0">
                    <a:pos x="T4" y="T5"/>
                  </a:cxn>
                  <a:cxn ang="0">
                    <a:pos x="T6" y="T7"/>
                  </a:cxn>
                  <a:cxn ang="0">
                    <a:pos x="T8" y="T9"/>
                  </a:cxn>
                </a:cxnLst>
                <a:rect l="0" t="0" r="r" b="b"/>
                <a:pathLst>
                  <a:path w="62" h="78">
                    <a:moveTo>
                      <a:pt x="36" y="78"/>
                    </a:moveTo>
                    <a:lnTo>
                      <a:pt x="62" y="61"/>
                    </a:lnTo>
                    <a:lnTo>
                      <a:pt x="26" y="0"/>
                    </a:lnTo>
                    <a:lnTo>
                      <a:pt x="0" y="14"/>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3" name="Freeform 12"/>
              <p:cNvSpPr>
                <a:spLocks/>
              </p:cNvSpPr>
              <p:nvPr/>
            </p:nvSpPr>
            <p:spPr bwMode="black">
              <a:xfrm>
                <a:off x="4873626" y="2709863"/>
                <a:ext cx="98425" cy="123825"/>
              </a:xfrm>
              <a:custGeom>
                <a:avLst/>
                <a:gdLst>
                  <a:gd name="T0" fmla="*/ 26 w 62"/>
                  <a:gd name="T1" fmla="*/ 78 h 78"/>
                  <a:gd name="T2" fmla="*/ 62 w 62"/>
                  <a:gd name="T3" fmla="*/ 14 h 78"/>
                  <a:gd name="T4" fmla="*/ 36 w 62"/>
                  <a:gd name="T5" fmla="*/ 0 h 78"/>
                  <a:gd name="T6" fmla="*/ 0 w 62"/>
                  <a:gd name="T7" fmla="*/ 61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4"/>
                    </a:lnTo>
                    <a:lnTo>
                      <a:pt x="36" y="0"/>
                    </a:lnTo>
                    <a:lnTo>
                      <a:pt x="0" y="61"/>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4" name="Freeform 13"/>
              <p:cNvSpPr>
                <a:spLocks/>
              </p:cNvSpPr>
              <p:nvPr/>
            </p:nvSpPr>
            <p:spPr bwMode="black">
              <a:xfrm>
                <a:off x="4989513" y="2506663"/>
                <a:ext cx="98425" cy="123825"/>
              </a:xfrm>
              <a:custGeom>
                <a:avLst/>
                <a:gdLst>
                  <a:gd name="T0" fmla="*/ 26 w 62"/>
                  <a:gd name="T1" fmla="*/ 78 h 78"/>
                  <a:gd name="T2" fmla="*/ 62 w 62"/>
                  <a:gd name="T3" fmla="*/ 17 h 78"/>
                  <a:gd name="T4" fmla="*/ 36 w 62"/>
                  <a:gd name="T5" fmla="*/ 0 h 78"/>
                  <a:gd name="T6" fmla="*/ 0 w 62"/>
                  <a:gd name="T7" fmla="*/ 64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7"/>
                    </a:lnTo>
                    <a:lnTo>
                      <a:pt x="36" y="0"/>
                    </a:lnTo>
                    <a:lnTo>
                      <a:pt x="0" y="64"/>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5" name="Freeform 14"/>
              <p:cNvSpPr>
                <a:spLocks/>
              </p:cNvSpPr>
              <p:nvPr/>
            </p:nvSpPr>
            <p:spPr bwMode="black">
              <a:xfrm>
                <a:off x="4017963" y="3990976"/>
                <a:ext cx="98425" cy="123825"/>
              </a:xfrm>
              <a:custGeom>
                <a:avLst/>
                <a:gdLst>
                  <a:gd name="T0" fmla="*/ 0 w 62"/>
                  <a:gd name="T1" fmla="*/ 64 h 78"/>
                  <a:gd name="T2" fmla="*/ 26 w 62"/>
                  <a:gd name="T3" fmla="*/ 78 h 78"/>
                  <a:gd name="T4" fmla="*/ 62 w 62"/>
                  <a:gd name="T5" fmla="*/ 14 h 78"/>
                  <a:gd name="T6" fmla="*/ 36 w 62"/>
                  <a:gd name="T7" fmla="*/ 0 h 78"/>
                  <a:gd name="T8" fmla="*/ 0 w 62"/>
                  <a:gd name="T9" fmla="*/ 64 h 78"/>
                </a:gdLst>
                <a:ahLst/>
                <a:cxnLst>
                  <a:cxn ang="0">
                    <a:pos x="T0" y="T1"/>
                  </a:cxn>
                  <a:cxn ang="0">
                    <a:pos x="T2" y="T3"/>
                  </a:cxn>
                  <a:cxn ang="0">
                    <a:pos x="T4" y="T5"/>
                  </a:cxn>
                  <a:cxn ang="0">
                    <a:pos x="T6" y="T7"/>
                  </a:cxn>
                  <a:cxn ang="0">
                    <a:pos x="T8" y="T9"/>
                  </a:cxn>
                </a:cxnLst>
                <a:rect l="0" t="0" r="r" b="b"/>
                <a:pathLst>
                  <a:path w="62" h="78">
                    <a:moveTo>
                      <a:pt x="0" y="64"/>
                    </a:moveTo>
                    <a:lnTo>
                      <a:pt x="26" y="78"/>
                    </a:lnTo>
                    <a:lnTo>
                      <a:pt x="62" y="14"/>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6" name="Freeform 15"/>
              <p:cNvSpPr>
                <a:spLocks/>
              </p:cNvSpPr>
              <p:nvPr/>
            </p:nvSpPr>
            <p:spPr bwMode="black">
              <a:xfrm>
                <a:off x="3902076" y="4189413"/>
                <a:ext cx="101600" cy="128588"/>
              </a:xfrm>
              <a:custGeom>
                <a:avLst/>
                <a:gdLst>
                  <a:gd name="T0" fmla="*/ 0 w 64"/>
                  <a:gd name="T1" fmla="*/ 64 h 81"/>
                  <a:gd name="T2" fmla="*/ 26 w 64"/>
                  <a:gd name="T3" fmla="*/ 81 h 81"/>
                  <a:gd name="T4" fmla="*/ 64 w 64"/>
                  <a:gd name="T5" fmla="*/ 17 h 81"/>
                  <a:gd name="T6" fmla="*/ 36 w 64"/>
                  <a:gd name="T7" fmla="*/ 0 h 81"/>
                  <a:gd name="T8" fmla="*/ 0 w 64"/>
                  <a:gd name="T9" fmla="*/ 64 h 81"/>
                </a:gdLst>
                <a:ahLst/>
                <a:cxnLst>
                  <a:cxn ang="0">
                    <a:pos x="T0" y="T1"/>
                  </a:cxn>
                  <a:cxn ang="0">
                    <a:pos x="T2" y="T3"/>
                  </a:cxn>
                  <a:cxn ang="0">
                    <a:pos x="T4" y="T5"/>
                  </a:cxn>
                  <a:cxn ang="0">
                    <a:pos x="T6" y="T7"/>
                  </a:cxn>
                  <a:cxn ang="0">
                    <a:pos x="T8" y="T9"/>
                  </a:cxn>
                </a:cxnLst>
                <a:rect l="0" t="0" r="r" b="b"/>
                <a:pathLst>
                  <a:path w="64" h="81">
                    <a:moveTo>
                      <a:pt x="0" y="64"/>
                    </a:moveTo>
                    <a:lnTo>
                      <a:pt x="26" y="81"/>
                    </a:lnTo>
                    <a:lnTo>
                      <a:pt x="64" y="17"/>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7" name="Freeform 16"/>
              <p:cNvSpPr>
                <a:spLocks/>
              </p:cNvSpPr>
              <p:nvPr/>
            </p:nvSpPr>
            <p:spPr bwMode="black">
              <a:xfrm>
                <a:off x="4989513" y="4189413"/>
                <a:ext cx="98425" cy="128588"/>
              </a:xfrm>
              <a:custGeom>
                <a:avLst/>
                <a:gdLst>
                  <a:gd name="T0" fmla="*/ 26 w 62"/>
                  <a:gd name="T1" fmla="*/ 0 h 81"/>
                  <a:gd name="T2" fmla="*/ 0 w 62"/>
                  <a:gd name="T3" fmla="*/ 17 h 81"/>
                  <a:gd name="T4" fmla="*/ 36 w 62"/>
                  <a:gd name="T5" fmla="*/ 81 h 81"/>
                  <a:gd name="T6" fmla="*/ 62 w 62"/>
                  <a:gd name="T7" fmla="*/ 64 h 81"/>
                  <a:gd name="T8" fmla="*/ 26 w 62"/>
                  <a:gd name="T9" fmla="*/ 0 h 81"/>
                </a:gdLst>
                <a:ahLst/>
                <a:cxnLst>
                  <a:cxn ang="0">
                    <a:pos x="T0" y="T1"/>
                  </a:cxn>
                  <a:cxn ang="0">
                    <a:pos x="T2" y="T3"/>
                  </a:cxn>
                  <a:cxn ang="0">
                    <a:pos x="T4" y="T5"/>
                  </a:cxn>
                  <a:cxn ang="0">
                    <a:pos x="T6" y="T7"/>
                  </a:cxn>
                  <a:cxn ang="0">
                    <a:pos x="T8" y="T9"/>
                  </a:cxn>
                </a:cxnLst>
                <a:rect l="0" t="0" r="r" b="b"/>
                <a:pathLst>
                  <a:path w="62" h="81">
                    <a:moveTo>
                      <a:pt x="26" y="0"/>
                    </a:moveTo>
                    <a:lnTo>
                      <a:pt x="0" y="17"/>
                    </a:lnTo>
                    <a:lnTo>
                      <a:pt x="36" y="81"/>
                    </a:lnTo>
                    <a:lnTo>
                      <a:pt x="62" y="64"/>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8" name="Freeform 17"/>
              <p:cNvSpPr>
                <a:spLocks/>
              </p:cNvSpPr>
              <p:nvPr/>
            </p:nvSpPr>
            <p:spPr bwMode="black">
              <a:xfrm>
                <a:off x="4873626" y="3990976"/>
                <a:ext cx="98425" cy="123825"/>
              </a:xfrm>
              <a:custGeom>
                <a:avLst/>
                <a:gdLst>
                  <a:gd name="T0" fmla="*/ 0 w 62"/>
                  <a:gd name="T1" fmla="*/ 14 h 78"/>
                  <a:gd name="T2" fmla="*/ 36 w 62"/>
                  <a:gd name="T3" fmla="*/ 78 h 78"/>
                  <a:gd name="T4" fmla="*/ 62 w 62"/>
                  <a:gd name="T5" fmla="*/ 64 h 78"/>
                  <a:gd name="T6" fmla="*/ 26 w 62"/>
                  <a:gd name="T7" fmla="*/ 0 h 78"/>
                  <a:gd name="T8" fmla="*/ 0 w 62"/>
                  <a:gd name="T9" fmla="*/ 14 h 78"/>
                </a:gdLst>
                <a:ahLst/>
                <a:cxnLst>
                  <a:cxn ang="0">
                    <a:pos x="T0" y="T1"/>
                  </a:cxn>
                  <a:cxn ang="0">
                    <a:pos x="T2" y="T3"/>
                  </a:cxn>
                  <a:cxn ang="0">
                    <a:pos x="T4" y="T5"/>
                  </a:cxn>
                  <a:cxn ang="0">
                    <a:pos x="T6" y="T7"/>
                  </a:cxn>
                  <a:cxn ang="0">
                    <a:pos x="T8" y="T9"/>
                  </a:cxn>
                </a:cxnLst>
                <a:rect l="0" t="0" r="r" b="b"/>
                <a:pathLst>
                  <a:path w="62" h="78">
                    <a:moveTo>
                      <a:pt x="0" y="14"/>
                    </a:moveTo>
                    <a:lnTo>
                      <a:pt x="36" y="78"/>
                    </a:lnTo>
                    <a:lnTo>
                      <a:pt x="62" y="64"/>
                    </a:lnTo>
                    <a:lnTo>
                      <a:pt x="26" y="0"/>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9" name="Freeform 18"/>
              <p:cNvSpPr>
                <a:spLocks/>
              </p:cNvSpPr>
              <p:nvPr/>
            </p:nvSpPr>
            <p:spPr bwMode="black">
              <a:xfrm>
                <a:off x="3579813" y="2892426"/>
                <a:ext cx="1833563" cy="1068388"/>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0" name="Freeform 19"/>
              <p:cNvSpPr>
                <a:spLocks noEditPoints="1"/>
              </p:cNvSpPr>
              <p:nvPr/>
            </p:nvSpPr>
            <p:spPr bwMode="black">
              <a:xfrm>
                <a:off x="3321051" y="1598613"/>
                <a:ext cx="750888" cy="522288"/>
              </a:xfrm>
              <a:custGeom>
                <a:avLst/>
                <a:gdLst>
                  <a:gd name="T0" fmla="*/ 174 w 200"/>
                  <a:gd name="T1" fmla="*/ 0 h 139"/>
                  <a:gd name="T2" fmla="*/ 26 w 200"/>
                  <a:gd name="T3" fmla="*/ 0 h 139"/>
                  <a:gd name="T4" fmla="*/ 0 w 200"/>
                  <a:gd name="T5" fmla="*/ 27 h 139"/>
                  <a:gd name="T6" fmla="*/ 0 w 200"/>
                  <a:gd name="T7" fmla="*/ 113 h 139"/>
                  <a:gd name="T8" fmla="*/ 26 w 200"/>
                  <a:gd name="T9" fmla="*/ 139 h 139"/>
                  <a:gd name="T10" fmla="*/ 174 w 200"/>
                  <a:gd name="T11" fmla="*/ 139 h 139"/>
                  <a:gd name="T12" fmla="*/ 200 w 200"/>
                  <a:gd name="T13" fmla="*/ 113 h 139"/>
                  <a:gd name="T14" fmla="*/ 200 w 200"/>
                  <a:gd name="T15" fmla="*/ 27 h 139"/>
                  <a:gd name="T16" fmla="*/ 174 w 200"/>
                  <a:gd name="T17" fmla="*/ 0 h 139"/>
                  <a:gd name="T18" fmla="*/ 185 w 200"/>
                  <a:gd name="T19" fmla="*/ 113 h 139"/>
                  <a:gd name="T20" fmla="*/ 174 w 200"/>
                  <a:gd name="T21" fmla="*/ 124 h 139"/>
                  <a:gd name="T22" fmla="*/ 26 w 200"/>
                  <a:gd name="T23" fmla="*/ 124 h 139"/>
                  <a:gd name="T24" fmla="*/ 15 w 200"/>
                  <a:gd name="T25" fmla="*/ 113 h 139"/>
                  <a:gd name="T26" fmla="*/ 15 w 200"/>
                  <a:gd name="T27" fmla="*/ 27 h 139"/>
                  <a:gd name="T28" fmla="*/ 26 w 200"/>
                  <a:gd name="T29" fmla="*/ 16 h 139"/>
                  <a:gd name="T30" fmla="*/ 174 w 200"/>
                  <a:gd name="T31" fmla="*/ 16 h 139"/>
                  <a:gd name="T32" fmla="*/ 185 w 200"/>
                  <a:gd name="T33" fmla="*/ 27 h 139"/>
                  <a:gd name="T34" fmla="*/ 185 w 200"/>
                  <a:gd name="T35" fmla="*/ 11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39">
                    <a:moveTo>
                      <a:pt x="174" y="0"/>
                    </a:moveTo>
                    <a:cubicBezTo>
                      <a:pt x="26" y="0"/>
                      <a:pt x="26" y="0"/>
                      <a:pt x="26" y="0"/>
                    </a:cubicBezTo>
                    <a:cubicBezTo>
                      <a:pt x="12" y="0"/>
                      <a:pt x="0" y="12"/>
                      <a:pt x="0" y="27"/>
                    </a:cubicBezTo>
                    <a:cubicBezTo>
                      <a:pt x="0" y="113"/>
                      <a:pt x="0" y="113"/>
                      <a:pt x="0" y="113"/>
                    </a:cubicBezTo>
                    <a:cubicBezTo>
                      <a:pt x="0" y="127"/>
                      <a:pt x="12" y="139"/>
                      <a:pt x="26" y="139"/>
                    </a:cubicBezTo>
                    <a:cubicBezTo>
                      <a:pt x="174" y="139"/>
                      <a:pt x="174" y="139"/>
                      <a:pt x="174" y="139"/>
                    </a:cubicBezTo>
                    <a:cubicBezTo>
                      <a:pt x="188" y="139"/>
                      <a:pt x="200" y="127"/>
                      <a:pt x="200" y="113"/>
                    </a:cubicBezTo>
                    <a:cubicBezTo>
                      <a:pt x="200" y="27"/>
                      <a:pt x="200" y="27"/>
                      <a:pt x="200" y="27"/>
                    </a:cubicBezTo>
                    <a:cubicBezTo>
                      <a:pt x="200" y="12"/>
                      <a:pt x="188" y="0"/>
                      <a:pt x="174" y="0"/>
                    </a:cubicBezTo>
                    <a:moveTo>
                      <a:pt x="185" y="113"/>
                    </a:moveTo>
                    <a:cubicBezTo>
                      <a:pt x="185" y="119"/>
                      <a:pt x="180" y="124"/>
                      <a:pt x="174" y="124"/>
                    </a:cubicBezTo>
                    <a:cubicBezTo>
                      <a:pt x="26" y="124"/>
                      <a:pt x="26" y="124"/>
                      <a:pt x="26" y="124"/>
                    </a:cubicBezTo>
                    <a:cubicBezTo>
                      <a:pt x="20" y="124"/>
                      <a:pt x="15" y="119"/>
                      <a:pt x="15" y="113"/>
                    </a:cubicBezTo>
                    <a:cubicBezTo>
                      <a:pt x="15" y="27"/>
                      <a:pt x="15" y="27"/>
                      <a:pt x="15" y="27"/>
                    </a:cubicBezTo>
                    <a:cubicBezTo>
                      <a:pt x="15" y="21"/>
                      <a:pt x="20" y="16"/>
                      <a:pt x="26" y="16"/>
                    </a:cubicBezTo>
                    <a:cubicBezTo>
                      <a:pt x="174" y="16"/>
                      <a:pt x="174" y="16"/>
                      <a:pt x="174" y="16"/>
                    </a:cubicBezTo>
                    <a:cubicBezTo>
                      <a:pt x="180" y="16"/>
                      <a:pt x="185" y="21"/>
                      <a:pt x="185" y="27"/>
                    </a:cubicBezTo>
                    <a:lnTo>
                      <a:pt x="185" y="1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1" name="Freeform 20"/>
              <p:cNvSpPr>
                <a:spLocks/>
              </p:cNvSpPr>
              <p:nvPr/>
            </p:nvSpPr>
            <p:spPr bwMode="black">
              <a:xfrm>
                <a:off x="3178176" y="2154238"/>
                <a:ext cx="1035050" cy="239713"/>
              </a:xfrm>
              <a:custGeom>
                <a:avLst/>
                <a:gdLst>
                  <a:gd name="T0" fmla="*/ 7 w 276"/>
                  <a:gd name="T1" fmla="*/ 64 h 64"/>
                  <a:gd name="T2" fmla="*/ 269 w 276"/>
                  <a:gd name="T3" fmla="*/ 64 h 64"/>
                  <a:gd name="T4" fmla="*/ 276 w 276"/>
                  <a:gd name="T5" fmla="*/ 57 h 64"/>
                  <a:gd name="T6" fmla="*/ 276 w 276"/>
                  <a:gd name="T7" fmla="*/ 54 h 64"/>
                  <a:gd name="T8" fmla="*/ 272 w 276"/>
                  <a:gd name="T9" fmla="*/ 42 h 64"/>
                  <a:gd name="T10" fmla="*/ 240 w 276"/>
                  <a:gd name="T11" fmla="*/ 5 h 64"/>
                  <a:gd name="T12" fmla="*/ 229 w 276"/>
                  <a:gd name="T13" fmla="*/ 0 h 64"/>
                  <a:gd name="T14" fmla="*/ 47 w 276"/>
                  <a:gd name="T15" fmla="*/ 0 h 64"/>
                  <a:gd name="T16" fmla="*/ 36 w 276"/>
                  <a:gd name="T17" fmla="*/ 5 h 64"/>
                  <a:gd name="T18" fmla="*/ 4 w 276"/>
                  <a:gd name="T19" fmla="*/ 42 h 64"/>
                  <a:gd name="T20" fmla="*/ 0 w 276"/>
                  <a:gd name="T21" fmla="*/ 54 h 64"/>
                  <a:gd name="T22" fmla="*/ 0 w 276"/>
                  <a:gd name="T23" fmla="*/ 57 h 64"/>
                  <a:gd name="T24" fmla="*/ 7 w 27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6" h="64">
                    <a:moveTo>
                      <a:pt x="7" y="64"/>
                    </a:moveTo>
                    <a:cubicBezTo>
                      <a:pt x="269" y="64"/>
                      <a:pt x="269" y="64"/>
                      <a:pt x="269" y="64"/>
                    </a:cubicBezTo>
                    <a:cubicBezTo>
                      <a:pt x="273" y="64"/>
                      <a:pt x="276" y="61"/>
                      <a:pt x="276" y="57"/>
                    </a:cubicBezTo>
                    <a:cubicBezTo>
                      <a:pt x="276" y="54"/>
                      <a:pt x="276" y="54"/>
                      <a:pt x="276" y="54"/>
                    </a:cubicBezTo>
                    <a:cubicBezTo>
                      <a:pt x="276" y="50"/>
                      <a:pt x="274" y="45"/>
                      <a:pt x="272" y="42"/>
                    </a:cubicBezTo>
                    <a:cubicBezTo>
                      <a:pt x="240" y="5"/>
                      <a:pt x="240" y="5"/>
                      <a:pt x="240" y="5"/>
                    </a:cubicBezTo>
                    <a:cubicBezTo>
                      <a:pt x="238" y="2"/>
                      <a:pt x="233" y="0"/>
                      <a:pt x="229" y="0"/>
                    </a:cubicBezTo>
                    <a:cubicBezTo>
                      <a:pt x="47" y="0"/>
                      <a:pt x="47" y="0"/>
                      <a:pt x="47" y="0"/>
                    </a:cubicBezTo>
                    <a:cubicBezTo>
                      <a:pt x="43" y="0"/>
                      <a:pt x="38" y="2"/>
                      <a:pt x="36" y="5"/>
                    </a:cubicBezTo>
                    <a:cubicBezTo>
                      <a:pt x="4" y="42"/>
                      <a:pt x="4" y="42"/>
                      <a:pt x="4" y="42"/>
                    </a:cubicBezTo>
                    <a:cubicBezTo>
                      <a:pt x="2" y="45"/>
                      <a:pt x="0" y="50"/>
                      <a:pt x="0" y="54"/>
                    </a:cubicBezTo>
                    <a:cubicBezTo>
                      <a:pt x="0" y="57"/>
                      <a:pt x="0" y="57"/>
                      <a:pt x="0" y="57"/>
                    </a:cubicBezTo>
                    <a:cubicBezTo>
                      <a:pt x="0" y="61"/>
                      <a:pt x="3" y="64"/>
                      <a:pt x="7"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2" name="Freeform 21"/>
              <p:cNvSpPr>
                <a:spLocks noEditPoints="1"/>
              </p:cNvSpPr>
              <p:nvPr/>
            </p:nvSpPr>
            <p:spPr bwMode="black">
              <a:xfrm>
                <a:off x="4730751" y="1639888"/>
                <a:ext cx="781050" cy="608013"/>
              </a:xfrm>
              <a:custGeom>
                <a:avLst/>
                <a:gdLst>
                  <a:gd name="T0" fmla="*/ 177 w 208"/>
                  <a:gd name="T1" fmla="*/ 0 h 162"/>
                  <a:gd name="T2" fmla="*/ 31 w 208"/>
                  <a:gd name="T3" fmla="*/ 0 h 162"/>
                  <a:gd name="T4" fmla="*/ 0 w 208"/>
                  <a:gd name="T5" fmla="*/ 31 h 162"/>
                  <a:gd name="T6" fmla="*/ 0 w 208"/>
                  <a:gd name="T7" fmla="*/ 131 h 162"/>
                  <a:gd name="T8" fmla="*/ 31 w 208"/>
                  <a:gd name="T9" fmla="*/ 162 h 162"/>
                  <a:gd name="T10" fmla="*/ 177 w 208"/>
                  <a:gd name="T11" fmla="*/ 162 h 162"/>
                  <a:gd name="T12" fmla="*/ 208 w 208"/>
                  <a:gd name="T13" fmla="*/ 131 h 162"/>
                  <a:gd name="T14" fmla="*/ 208 w 208"/>
                  <a:gd name="T15" fmla="*/ 31 h 162"/>
                  <a:gd name="T16" fmla="*/ 177 w 208"/>
                  <a:gd name="T17" fmla="*/ 0 h 162"/>
                  <a:gd name="T18" fmla="*/ 190 w 208"/>
                  <a:gd name="T19" fmla="*/ 131 h 162"/>
                  <a:gd name="T20" fmla="*/ 177 w 208"/>
                  <a:gd name="T21" fmla="*/ 144 h 162"/>
                  <a:gd name="T22" fmla="*/ 31 w 208"/>
                  <a:gd name="T23" fmla="*/ 144 h 162"/>
                  <a:gd name="T24" fmla="*/ 18 w 208"/>
                  <a:gd name="T25" fmla="*/ 131 h 162"/>
                  <a:gd name="T26" fmla="*/ 18 w 208"/>
                  <a:gd name="T27" fmla="*/ 31 h 162"/>
                  <a:gd name="T28" fmla="*/ 31 w 208"/>
                  <a:gd name="T29" fmla="*/ 18 h 162"/>
                  <a:gd name="T30" fmla="*/ 177 w 208"/>
                  <a:gd name="T31" fmla="*/ 18 h 162"/>
                  <a:gd name="T32" fmla="*/ 190 w 208"/>
                  <a:gd name="T33" fmla="*/ 31 h 162"/>
                  <a:gd name="T34" fmla="*/ 190 w 208"/>
                  <a:gd name="T35" fmla="*/ 13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 h="162">
                    <a:moveTo>
                      <a:pt x="177" y="0"/>
                    </a:moveTo>
                    <a:cubicBezTo>
                      <a:pt x="31" y="0"/>
                      <a:pt x="31" y="0"/>
                      <a:pt x="31" y="0"/>
                    </a:cubicBezTo>
                    <a:cubicBezTo>
                      <a:pt x="14" y="0"/>
                      <a:pt x="0" y="14"/>
                      <a:pt x="0" y="31"/>
                    </a:cubicBezTo>
                    <a:cubicBezTo>
                      <a:pt x="0" y="131"/>
                      <a:pt x="0" y="131"/>
                      <a:pt x="0" y="131"/>
                    </a:cubicBezTo>
                    <a:cubicBezTo>
                      <a:pt x="0" y="148"/>
                      <a:pt x="14" y="162"/>
                      <a:pt x="31" y="162"/>
                    </a:cubicBezTo>
                    <a:cubicBezTo>
                      <a:pt x="177" y="162"/>
                      <a:pt x="177" y="162"/>
                      <a:pt x="177" y="162"/>
                    </a:cubicBezTo>
                    <a:cubicBezTo>
                      <a:pt x="194" y="162"/>
                      <a:pt x="208" y="148"/>
                      <a:pt x="208" y="131"/>
                    </a:cubicBezTo>
                    <a:cubicBezTo>
                      <a:pt x="208" y="31"/>
                      <a:pt x="208" y="31"/>
                      <a:pt x="208" y="31"/>
                    </a:cubicBezTo>
                    <a:cubicBezTo>
                      <a:pt x="208" y="14"/>
                      <a:pt x="194" y="0"/>
                      <a:pt x="177" y="0"/>
                    </a:cubicBezTo>
                    <a:moveTo>
                      <a:pt x="190" y="131"/>
                    </a:moveTo>
                    <a:cubicBezTo>
                      <a:pt x="190" y="138"/>
                      <a:pt x="184" y="144"/>
                      <a:pt x="177" y="144"/>
                    </a:cubicBezTo>
                    <a:cubicBezTo>
                      <a:pt x="31" y="144"/>
                      <a:pt x="31" y="144"/>
                      <a:pt x="31" y="144"/>
                    </a:cubicBezTo>
                    <a:cubicBezTo>
                      <a:pt x="24" y="144"/>
                      <a:pt x="18" y="138"/>
                      <a:pt x="18" y="131"/>
                    </a:cubicBezTo>
                    <a:cubicBezTo>
                      <a:pt x="18" y="31"/>
                      <a:pt x="18" y="31"/>
                      <a:pt x="18" y="31"/>
                    </a:cubicBezTo>
                    <a:cubicBezTo>
                      <a:pt x="18" y="24"/>
                      <a:pt x="24" y="18"/>
                      <a:pt x="31" y="18"/>
                    </a:cubicBezTo>
                    <a:cubicBezTo>
                      <a:pt x="177" y="18"/>
                      <a:pt x="177" y="18"/>
                      <a:pt x="177" y="18"/>
                    </a:cubicBezTo>
                    <a:cubicBezTo>
                      <a:pt x="184" y="18"/>
                      <a:pt x="190" y="24"/>
                      <a:pt x="190" y="31"/>
                    </a:cubicBezTo>
                    <a:lnTo>
                      <a:pt x="190" y="1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3" name="Freeform 22"/>
              <p:cNvSpPr>
                <a:spLocks/>
              </p:cNvSpPr>
              <p:nvPr/>
            </p:nvSpPr>
            <p:spPr bwMode="black">
              <a:xfrm>
                <a:off x="4911726" y="2289176"/>
                <a:ext cx="419100" cy="104775"/>
              </a:xfrm>
              <a:custGeom>
                <a:avLst/>
                <a:gdLst>
                  <a:gd name="T0" fmla="*/ 112 w 112"/>
                  <a:gd name="T1" fmla="*/ 25 h 28"/>
                  <a:gd name="T2" fmla="*/ 112 w 112"/>
                  <a:gd name="T3" fmla="*/ 23 h 28"/>
                  <a:gd name="T4" fmla="*/ 110 w 112"/>
                  <a:gd name="T5" fmla="*/ 18 h 28"/>
                  <a:gd name="T6" fmla="*/ 96 w 112"/>
                  <a:gd name="T7" fmla="*/ 2 h 28"/>
                  <a:gd name="T8" fmla="*/ 91 w 112"/>
                  <a:gd name="T9" fmla="*/ 0 h 28"/>
                  <a:gd name="T10" fmla="*/ 21 w 112"/>
                  <a:gd name="T11" fmla="*/ 0 h 28"/>
                  <a:gd name="T12" fmla="*/ 16 w 112"/>
                  <a:gd name="T13" fmla="*/ 2 h 28"/>
                  <a:gd name="T14" fmla="*/ 2 w 112"/>
                  <a:gd name="T15" fmla="*/ 18 h 28"/>
                  <a:gd name="T16" fmla="*/ 0 w 112"/>
                  <a:gd name="T17" fmla="*/ 23 h 28"/>
                  <a:gd name="T18" fmla="*/ 0 w 112"/>
                  <a:gd name="T19" fmla="*/ 25 h 28"/>
                  <a:gd name="T20" fmla="*/ 3 w 112"/>
                  <a:gd name="T21" fmla="*/ 28 h 28"/>
                  <a:gd name="T22" fmla="*/ 109 w 112"/>
                  <a:gd name="T23" fmla="*/ 28 h 28"/>
                  <a:gd name="T24" fmla="*/ 112 w 112"/>
                  <a:gd name="T25"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28">
                    <a:moveTo>
                      <a:pt x="112" y="25"/>
                    </a:moveTo>
                    <a:cubicBezTo>
                      <a:pt x="112" y="23"/>
                      <a:pt x="112" y="23"/>
                      <a:pt x="112" y="23"/>
                    </a:cubicBezTo>
                    <a:cubicBezTo>
                      <a:pt x="112" y="22"/>
                      <a:pt x="111" y="20"/>
                      <a:pt x="110" y="18"/>
                    </a:cubicBezTo>
                    <a:cubicBezTo>
                      <a:pt x="96" y="2"/>
                      <a:pt x="96" y="2"/>
                      <a:pt x="96" y="2"/>
                    </a:cubicBezTo>
                    <a:cubicBezTo>
                      <a:pt x="95" y="1"/>
                      <a:pt x="93" y="0"/>
                      <a:pt x="91" y="0"/>
                    </a:cubicBezTo>
                    <a:cubicBezTo>
                      <a:pt x="21" y="0"/>
                      <a:pt x="21" y="0"/>
                      <a:pt x="21" y="0"/>
                    </a:cubicBezTo>
                    <a:cubicBezTo>
                      <a:pt x="19" y="0"/>
                      <a:pt x="17" y="1"/>
                      <a:pt x="16" y="2"/>
                    </a:cubicBezTo>
                    <a:cubicBezTo>
                      <a:pt x="2" y="18"/>
                      <a:pt x="2" y="18"/>
                      <a:pt x="2" y="18"/>
                    </a:cubicBezTo>
                    <a:cubicBezTo>
                      <a:pt x="1" y="20"/>
                      <a:pt x="0" y="22"/>
                      <a:pt x="0" y="23"/>
                    </a:cubicBezTo>
                    <a:cubicBezTo>
                      <a:pt x="0" y="25"/>
                      <a:pt x="0" y="25"/>
                      <a:pt x="0" y="25"/>
                    </a:cubicBezTo>
                    <a:cubicBezTo>
                      <a:pt x="0" y="26"/>
                      <a:pt x="1" y="28"/>
                      <a:pt x="3" y="28"/>
                    </a:cubicBezTo>
                    <a:cubicBezTo>
                      <a:pt x="109" y="28"/>
                      <a:pt x="109" y="28"/>
                      <a:pt x="109" y="28"/>
                    </a:cubicBezTo>
                    <a:cubicBezTo>
                      <a:pt x="111" y="28"/>
                      <a:pt x="112" y="26"/>
                      <a:pt x="112" y="2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4" name="Freeform 23"/>
              <p:cNvSpPr>
                <a:spLocks noEditPoints="1"/>
              </p:cNvSpPr>
              <p:nvPr/>
            </p:nvSpPr>
            <p:spPr bwMode="black">
              <a:xfrm>
                <a:off x="5586413" y="1639888"/>
                <a:ext cx="385763" cy="754063"/>
              </a:xfrm>
              <a:custGeom>
                <a:avLst/>
                <a:gdLst>
                  <a:gd name="T0" fmla="*/ 89 w 103"/>
                  <a:gd name="T1" fmla="*/ 0 h 201"/>
                  <a:gd name="T2" fmla="*/ 13 w 103"/>
                  <a:gd name="T3" fmla="*/ 0 h 201"/>
                  <a:gd name="T4" fmla="*/ 0 w 103"/>
                  <a:gd name="T5" fmla="*/ 13 h 201"/>
                  <a:gd name="T6" fmla="*/ 0 w 103"/>
                  <a:gd name="T7" fmla="*/ 187 h 201"/>
                  <a:gd name="T8" fmla="*/ 13 w 103"/>
                  <a:gd name="T9" fmla="*/ 201 h 201"/>
                  <a:gd name="T10" fmla="*/ 89 w 103"/>
                  <a:gd name="T11" fmla="*/ 201 h 201"/>
                  <a:gd name="T12" fmla="*/ 103 w 103"/>
                  <a:gd name="T13" fmla="*/ 187 h 201"/>
                  <a:gd name="T14" fmla="*/ 103 w 103"/>
                  <a:gd name="T15" fmla="*/ 13 h 201"/>
                  <a:gd name="T16" fmla="*/ 89 w 103"/>
                  <a:gd name="T17" fmla="*/ 0 h 201"/>
                  <a:gd name="T18" fmla="*/ 52 w 103"/>
                  <a:gd name="T19" fmla="*/ 187 h 201"/>
                  <a:gd name="T20" fmla="*/ 40 w 103"/>
                  <a:gd name="T21" fmla="*/ 175 h 201"/>
                  <a:gd name="T22" fmla="*/ 52 w 103"/>
                  <a:gd name="T23" fmla="*/ 163 h 201"/>
                  <a:gd name="T24" fmla="*/ 63 w 103"/>
                  <a:gd name="T25" fmla="*/ 175 h 201"/>
                  <a:gd name="T26" fmla="*/ 52 w 103"/>
                  <a:gd name="T27" fmla="*/ 18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201">
                    <a:moveTo>
                      <a:pt x="89" y="0"/>
                    </a:moveTo>
                    <a:cubicBezTo>
                      <a:pt x="13" y="0"/>
                      <a:pt x="13" y="0"/>
                      <a:pt x="13" y="0"/>
                    </a:cubicBezTo>
                    <a:cubicBezTo>
                      <a:pt x="6" y="0"/>
                      <a:pt x="0" y="6"/>
                      <a:pt x="0" y="13"/>
                    </a:cubicBezTo>
                    <a:cubicBezTo>
                      <a:pt x="0" y="187"/>
                      <a:pt x="0" y="187"/>
                      <a:pt x="0" y="187"/>
                    </a:cubicBezTo>
                    <a:cubicBezTo>
                      <a:pt x="0" y="195"/>
                      <a:pt x="6" y="201"/>
                      <a:pt x="13" y="201"/>
                    </a:cubicBezTo>
                    <a:cubicBezTo>
                      <a:pt x="89" y="201"/>
                      <a:pt x="89" y="201"/>
                      <a:pt x="89" y="201"/>
                    </a:cubicBezTo>
                    <a:cubicBezTo>
                      <a:pt x="97" y="201"/>
                      <a:pt x="103" y="195"/>
                      <a:pt x="103" y="187"/>
                    </a:cubicBezTo>
                    <a:cubicBezTo>
                      <a:pt x="103" y="13"/>
                      <a:pt x="103" y="13"/>
                      <a:pt x="103" y="13"/>
                    </a:cubicBezTo>
                    <a:cubicBezTo>
                      <a:pt x="103" y="6"/>
                      <a:pt x="97" y="0"/>
                      <a:pt x="89" y="0"/>
                    </a:cubicBezTo>
                    <a:moveTo>
                      <a:pt x="52" y="187"/>
                    </a:moveTo>
                    <a:cubicBezTo>
                      <a:pt x="45" y="187"/>
                      <a:pt x="40" y="181"/>
                      <a:pt x="40" y="175"/>
                    </a:cubicBezTo>
                    <a:cubicBezTo>
                      <a:pt x="40" y="168"/>
                      <a:pt x="45" y="163"/>
                      <a:pt x="52" y="163"/>
                    </a:cubicBezTo>
                    <a:cubicBezTo>
                      <a:pt x="58" y="163"/>
                      <a:pt x="63" y="168"/>
                      <a:pt x="63" y="175"/>
                    </a:cubicBezTo>
                    <a:cubicBezTo>
                      <a:pt x="63" y="181"/>
                      <a:pt x="58" y="187"/>
                      <a:pt x="52" y="18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5" name="Freeform 24"/>
              <p:cNvSpPr>
                <a:spLocks noEditPoints="1"/>
              </p:cNvSpPr>
              <p:nvPr/>
            </p:nvSpPr>
            <p:spPr bwMode="black">
              <a:xfrm>
                <a:off x="2462213" y="3032126"/>
                <a:ext cx="525463" cy="804863"/>
              </a:xfrm>
              <a:custGeom>
                <a:avLst/>
                <a:gdLst>
                  <a:gd name="T0" fmla="*/ 109 w 140"/>
                  <a:gd name="T1" fmla="*/ 0 h 215"/>
                  <a:gd name="T2" fmla="*/ 31 w 140"/>
                  <a:gd name="T3" fmla="*/ 0 h 215"/>
                  <a:gd name="T4" fmla="*/ 0 w 140"/>
                  <a:gd name="T5" fmla="*/ 30 h 215"/>
                  <a:gd name="T6" fmla="*/ 0 w 140"/>
                  <a:gd name="T7" fmla="*/ 184 h 215"/>
                  <a:gd name="T8" fmla="*/ 31 w 140"/>
                  <a:gd name="T9" fmla="*/ 215 h 215"/>
                  <a:gd name="T10" fmla="*/ 109 w 140"/>
                  <a:gd name="T11" fmla="*/ 215 h 215"/>
                  <a:gd name="T12" fmla="*/ 140 w 140"/>
                  <a:gd name="T13" fmla="*/ 184 h 215"/>
                  <a:gd name="T14" fmla="*/ 140 w 140"/>
                  <a:gd name="T15" fmla="*/ 30 h 215"/>
                  <a:gd name="T16" fmla="*/ 109 w 140"/>
                  <a:gd name="T17" fmla="*/ 0 h 215"/>
                  <a:gd name="T18" fmla="*/ 122 w 140"/>
                  <a:gd name="T19" fmla="*/ 177 h 215"/>
                  <a:gd name="T20" fmla="*/ 109 w 140"/>
                  <a:gd name="T21" fmla="*/ 195 h 215"/>
                  <a:gd name="T22" fmla="*/ 31 w 140"/>
                  <a:gd name="T23" fmla="*/ 195 h 215"/>
                  <a:gd name="T24" fmla="*/ 18 w 140"/>
                  <a:gd name="T25" fmla="*/ 177 h 215"/>
                  <a:gd name="T26" fmla="*/ 18 w 140"/>
                  <a:gd name="T27" fmla="*/ 35 h 215"/>
                  <a:gd name="T28" fmla="*/ 31 w 140"/>
                  <a:gd name="T29" fmla="*/ 18 h 215"/>
                  <a:gd name="T30" fmla="*/ 109 w 140"/>
                  <a:gd name="T31" fmla="*/ 18 h 215"/>
                  <a:gd name="T32" fmla="*/ 122 w 140"/>
                  <a:gd name="T33" fmla="*/ 35 h 215"/>
                  <a:gd name="T34" fmla="*/ 122 w 140"/>
                  <a:gd name="T35" fmla="*/ 17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215">
                    <a:moveTo>
                      <a:pt x="109" y="0"/>
                    </a:moveTo>
                    <a:cubicBezTo>
                      <a:pt x="31" y="0"/>
                      <a:pt x="31" y="0"/>
                      <a:pt x="31" y="0"/>
                    </a:cubicBezTo>
                    <a:cubicBezTo>
                      <a:pt x="14" y="0"/>
                      <a:pt x="0" y="13"/>
                      <a:pt x="0" y="30"/>
                    </a:cubicBezTo>
                    <a:cubicBezTo>
                      <a:pt x="0" y="184"/>
                      <a:pt x="0" y="184"/>
                      <a:pt x="0" y="184"/>
                    </a:cubicBezTo>
                    <a:cubicBezTo>
                      <a:pt x="0" y="201"/>
                      <a:pt x="14" y="215"/>
                      <a:pt x="31" y="215"/>
                    </a:cubicBezTo>
                    <a:cubicBezTo>
                      <a:pt x="109" y="215"/>
                      <a:pt x="109" y="215"/>
                      <a:pt x="109" y="215"/>
                    </a:cubicBezTo>
                    <a:cubicBezTo>
                      <a:pt x="126" y="215"/>
                      <a:pt x="140" y="201"/>
                      <a:pt x="140" y="184"/>
                    </a:cubicBezTo>
                    <a:cubicBezTo>
                      <a:pt x="140" y="30"/>
                      <a:pt x="140" y="30"/>
                      <a:pt x="140" y="30"/>
                    </a:cubicBezTo>
                    <a:cubicBezTo>
                      <a:pt x="140" y="13"/>
                      <a:pt x="126" y="0"/>
                      <a:pt x="109" y="0"/>
                    </a:cubicBezTo>
                    <a:moveTo>
                      <a:pt x="122" y="177"/>
                    </a:moveTo>
                    <a:cubicBezTo>
                      <a:pt x="122" y="187"/>
                      <a:pt x="116" y="195"/>
                      <a:pt x="109" y="195"/>
                    </a:cubicBezTo>
                    <a:cubicBezTo>
                      <a:pt x="31" y="195"/>
                      <a:pt x="31" y="195"/>
                      <a:pt x="31" y="195"/>
                    </a:cubicBezTo>
                    <a:cubicBezTo>
                      <a:pt x="24" y="195"/>
                      <a:pt x="18" y="187"/>
                      <a:pt x="18" y="177"/>
                    </a:cubicBezTo>
                    <a:cubicBezTo>
                      <a:pt x="18" y="35"/>
                      <a:pt x="18" y="35"/>
                      <a:pt x="18" y="35"/>
                    </a:cubicBezTo>
                    <a:cubicBezTo>
                      <a:pt x="18" y="26"/>
                      <a:pt x="24" y="18"/>
                      <a:pt x="31" y="18"/>
                    </a:cubicBezTo>
                    <a:cubicBezTo>
                      <a:pt x="109" y="18"/>
                      <a:pt x="109" y="18"/>
                      <a:pt x="109" y="18"/>
                    </a:cubicBezTo>
                    <a:cubicBezTo>
                      <a:pt x="116" y="18"/>
                      <a:pt x="122" y="26"/>
                      <a:pt x="122" y="35"/>
                    </a:cubicBezTo>
                    <a:lnTo>
                      <a:pt x="122" y="1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6" name="Freeform 25"/>
              <p:cNvSpPr>
                <a:spLocks noEditPoints="1"/>
              </p:cNvSpPr>
              <p:nvPr/>
            </p:nvSpPr>
            <p:spPr bwMode="black">
              <a:xfrm>
                <a:off x="5049838" y="4411663"/>
                <a:ext cx="739775" cy="854075"/>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7" name="Freeform 26"/>
              <p:cNvSpPr>
                <a:spLocks noEditPoints="1"/>
              </p:cNvSpPr>
              <p:nvPr/>
            </p:nvSpPr>
            <p:spPr bwMode="black">
              <a:xfrm>
                <a:off x="6043613" y="2960688"/>
                <a:ext cx="641350" cy="876300"/>
              </a:xfrm>
              <a:custGeom>
                <a:avLst/>
                <a:gdLst>
                  <a:gd name="T0" fmla="*/ 146 w 171"/>
                  <a:gd name="T1" fmla="*/ 0 h 234"/>
                  <a:gd name="T2" fmla="*/ 25 w 171"/>
                  <a:gd name="T3" fmla="*/ 0 h 234"/>
                  <a:gd name="T4" fmla="*/ 0 w 171"/>
                  <a:gd name="T5" fmla="*/ 25 h 234"/>
                  <a:gd name="T6" fmla="*/ 0 w 171"/>
                  <a:gd name="T7" fmla="*/ 209 h 234"/>
                  <a:gd name="T8" fmla="*/ 25 w 171"/>
                  <a:gd name="T9" fmla="*/ 234 h 234"/>
                  <a:gd name="T10" fmla="*/ 146 w 171"/>
                  <a:gd name="T11" fmla="*/ 234 h 234"/>
                  <a:gd name="T12" fmla="*/ 171 w 171"/>
                  <a:gd name="T13" fmla="*/ 209 h 234"/>
                  <a:gd name="T14" fmla="*/ 171 w 171"/>
                  <a:gd name="T15" fmla="*/ 25 h 234"/>
                  <a:gd name="T16" fmla="*/ 146 w 171"/>
                  <a:gd name="T17" fmla="*/ 0 h 234"/>
                  <a:gd name="T18" fmla="*/ 157 w 171"/>
                  <a:gd name="T19" fmla="*/ 183 h 234"/>
                  <a:gd name="T20" fmla="*/ 146 w 171"/>
                  <a:gd name="T21" fmla="*/ 193 h 234"/>
                  <a:gd name="T22" fmla="*/ 25 w 171"/>
                  <a:gd name="T23" fmla="*/ 193 h 234"/>
                  <a:gd name="T24" fmla="*/ 15 w 171"/>
                  <a:gd name="T25" fmla="*/ 183 h 234"/>
                  <a:gd name="T26" fmla="*/ 15 w 171"/>
                  <a:gd name="T27" fmla="*/ 25 h 234"/>
                  <a:gd name="T28" fmla="*/ 25 w 171"/>
                  <a:gd name="T29" fmla="*/ 14 h 234"/>
                  <a:gd name="T30" fmla="*/ 146 w 171"/>
                  <a:gd name="T31" fmla="*/ 14 h 234"/>
                  <a:gd name="T32" fmla="*/ 157 w 171"/>
                  <a:gd name="T33" fmla="*/ 25 h 234"/>
                  <a:gd name="T34" fmla="*/ 157 w 171"/>
                  <a:gd name="T35" fmla="*/ 18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234">
                    <a:moveTo>
                      <a:pt x="146" y="0"/>
                    </a:moveTo>
                    <a:cubicBezTo>
                      <a:pt x="25" y="0"/>
                      <a:pt x="25" y="0"/>
                      <a:pt x="25" y="0"/>
                    </a:cubicBezTo>
                    <a:cubicBezTo>
                      <a:pt x="11" y="0"/>
                      <a:pt x="0" y="11"/>
                      <a:pt x="0" y="25"/>
                    </a:cubicBezTo>
                    <a:cubicBezTo>
                      <a:pt x="0" y="209"/>
                      <a:pt x="0" y="209"/>
                      <a:pt x="0" y="209"/>
                    </a:cubicBezTo>
                    <a:cubicBezTo>
                      <a:pt x="0" y="223"/>
                      <a:pt x="11" y="234"/>
                      <a:pt x="25" y="234"/>
                    </a:cubicBezTo>
                    <a:cubicBezTo>
                      <a:pt x="146" y="234"/>
                      <a:pt x="146" y="234"/>
                      <a:pt x="146" y="234"/>
                    </a:cubicBezTo>
                    <a:cubicBezTo>
                      <a:pt x="160" y="234"/>
                      <a:pt x="171" y="223"/>
                      <a:pt x="171" y="209"/>
                    </a:cubicBezTo>
                    <a:cubicBezTo>
                      <a:pt x="171" y="25"/>
                      <a:pt x="171" y="25"/>
                      <a:pt x="171" y="25"/>
                    </a:cubicBezTo>
                    <a:cubicBezTo>
                      <a:pt x="171" y="11"/>
                      <a:pt x="160" y="0"/>
                      <a:pt x="146" y="0"/>
                    </a:cubicBezTo>
                    <a:moveTo>
                      <a:pt x="157" y="183"/>
                    </a:moveTo>
                    <a:cubicBezTo>
                      <a:pt x="157" y="188"/>
                      <a:pt x="152" y="193"/>
                      <a:pt x="146" y="193"/>
                    </a:cubicBezTo>
                    <a:cubicBezTo>
                      <a:pt x="25" y="193"/>
                      <a:pt x="25" y="193"/>
                      <a:pt x="25" y="193"/>
                    </a:cubicBezTo>
                    <a:cubicBezTo>
                      <a:pt x="19" y="193"/>
                      <a:pt x="15" y="188"/>
                      <a:pt x="15" y="183"/>
                    </a:cubicBezTo>
                    <a:cubicBezTo>
                      <a:pt x="15" y="25"/>
                      <a:pt x="15" y="25"/>
                      <a:pt x="15" y="25"/>
                    </a:cubicBezTo>
                    <a:cubicBezTo>
                      <a:pt x="15" y="19"/>
                      <a:pt x="19" y="14"/>
                      <a:pt x="25" y="14"/>
                    </a:cubicBezTo>
                    <a:cubicBezTo>
                      <a:pt x="146" y="14"/>
                      <a:pt x="146" y="14"/>
                      <a:pt x="146" y="14"/>
                    </a:cubicBezTo>
                    <a:cubicBezTo>
                      <a:pt x="152" y="14"/>
                      <a:pt x="157" y="19"/>
                      <a:pt x="157" y="25"/>
                    </a:cubicBezTo>
                    <a:lnTo>
                      <a:pt x="157" y="1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8" name="Oval 27"/>
              <p:cNvSpPr>
                <a:spLocks noChangeArrowheads="1"/>
              </p:cNvSpPr>
              <p:nvPr/>
            </p:nvSpPr>
            <p:spPr bwMode="black">
              <a:xfrm>
                <a:off x="62245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9" name="Oval 28"/>
              <p:cNvSpPr>
                <a:spLocks noChangeArrowheads="1"/>
              </p:cNvSpPr>
              <p:nvPr/>
            </p:nvSpPr>
            <p:spPr bwMode="black">
              <a:xfrm>
                <a:off x="64531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0" name="Oval 29"/>
              <p:cNvSpPr>
                <a:spLocks noChangeArrowheads="1"/>
              </p:cNvSpPr>
              <p:nvPr/>
            </p:nvSpPr>
            <p:spPr bwMode="black">
              <a:xfrm>
                <a:off x="6340476"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1" name="Freeform 30"/>
              <p:cNvSpPr>
                <a:spLocks/>
              </p:cNvSpPr>
              <p:nvPr/>
            </p:nvSpPr>
            <p:spPr bwMode="black">
              <a:xfrm>
                <a:off x="3425826" y="4279901"/>
                <a:ext cx="442913" cy="16192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2" name="Freeform 31"/>
              <p:cNvSpPr>
                <a:spLocks noEditPoints="1"/>
              </p:cNvSpPr>
              <p:nvPr/>
            </p:nvSpPr>
            <p:spPr bwMode="black">
              <a:xfrm>
                <a:off x="3414713" y="4456113"/>
                <a:ext cx="476250" cy="80962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grpSp>
      <p:grpSp>
        <p:nvGrpSpPr>
          <p:cNvPr id="50" name="Group 49"/>
          <p:cNvGrpSpPr/>
          <p:nvPr/>
        </p:nvGrpSpPr>
        <p:grpSpPr>
          <a:xfrm>
            <a:off x="507624" y="3011804"/>
            <a:ext cx="2620438" cy="1872234"/>
            <a:chOff x="676656" y="3949024"/>
            <a:chExt cx="3493008" cy="2496312"/>
          </a:xfrm>
        </p:grpSpPr>
        <p:sp>
          <p:nvSpPr>
            <p:cNvPr id="9" name="Dark Blue"/>
            <p:cNvSpPr/>
            <p:nvPr/>
          </p:nvSpPr>
          <p:spPr bwMode="auto">
            <a:xfrm>
              <a:off x="676656" y="3949024"/>
              <a:ext cx="3493008" cy="2496312"/>
            </a:xfrm>
            <a:prstGeom prst="roundRect">
              <a:avLst>
                <a:gd name="adj" fmla="val 0"/>
              </a:avLst>
            </a:prstGeom>
            <a:solidFill>
              <a:schemeClr val="bg1">
                <a:lumMod val="40000"/>
                <a:lumOff val="6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a:p>
              <a:pPr algn="ctr" defTabSz="685637"/>
              <a:r>
                <a:rPr lang="en-US" sz="1700" dirty="0">
                  <a:solidFill>
                    <a:srgbClr val="FFFFFF">
                      <a:alpha val="98824"/>
                    </a:srgbClr>
                  </a:solidFill>
                  <a:latin typeface="Segoe UI" pitchFamily="34" charset="0"/>
                  <a:ea typeface="Segoe UI" pitchFamily="34" charset="0"/>
                  <a:cs typeface="Segoe UI" pitchFamily="34" charset="0"/>
                </a:rPr>
                <a:t>Rich Platform</a:t>
              </a:r>
            </a:p>
          </p:txBody>
        </p:sp>
        <p:grpSp>
          <p:nvGrpSpPr>
            <p:cNvPr id="43" name="Group 42"/>
            <p:cNvGrpSpPr>
              <a:grpSpLocks noChangeAspect="1"/>
            </p:cNvGrpSpPr>
            <p:nvPr/>
          </p:nvGrpSpPr>
          <p:grpSpPr bwMode="black">
            <a:xfrm>
              <a:off x="1767586" y="4527235"/>
              <a:ext cx="1311149" cy="1014057"/>
              <a:chOff x="813584" y="4312262"/>
              <a:chExt cx="478309" cy="370027"/>
            </a:xfrm>
          </p:grpSpPr>
          <p:sp>
            <p:nvSpPr>
              <p:cNvPr id="44" name="Freeform 79"/>
              <p:cNvSpPr>
                <a:spLocks/>
              </p:cNvSpPr>
              <p:nvPr/>
            </p:nvSpPr>
            <p:spPr bwMode="black">
              <a:xfrm>
                <a:off x="813584" y="4503897"/>
                <a:ext cx="478309" cy="178392"/>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200" dirty="0"/>
              </a:p>
            </p:txBody>
          </p:sp>
          <p:sp>
            <p:nvSpPr>
              <p:cNvPr id="45" name="Freeform 80"/>
              <p:cNvSpPr>
                <a:spLocks noEditPoints="1"/>
              </p:cNvSpPr>
              <p:nvPr/>
            </p:nvSpPr>
            <p:spPr bwMode="black">
              <a:xfrm>
                <a:off x="813584" y="4312262"/>
                <a:ext cx="478309" cy="176834"/>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200" dirty="0"/>
              </a:p>
            </p:txBody>
          </p:sp>
        </p:grpSp>
      </p:grpSp>
      <p:grpSp>
        <p:nvGrpSpPr>
          <p:cNvPr id="2" name="Group 1"/>
          <p:cNvGrpSpPr/>
          <p:nvPr/>
        </p:nvGrpSpPr>
        <p:grpSpPr>
          <a:xfrm>
            <a:off x="3265259" y="3011804"/>
            <a:ext cx="2620438" cy="1872234"/>
            <a:chOff x="4352544" y="4015738"/>
            <a:chExt cx="3493008" cy="2496312"/>
          </a:xfrm>
        </p:grpSpPr>
        <p:sp>
          <p:nvSpPr>
            <p:cNvPr id="7" name="Orange"/>
            <p:cNvSpPr/>
            <p:nvPr/>
          </p:nvSpPr>
          <p:spPr bwMode="auto">
            <a:xfrm>
              <a:off x="4352544" y="4015738"/>
              <a:ext cx="3493008" cy="2496312"/>
            </a:xfrm>
            <a:prstGeom prst="roundRect">
              <a:avLst>
                <a:gd name="adj" fmla="val 0"/>
              </a:avLst>
            </a:prstGeom>
            <a:solidFill>
              <a:schemeClr val="accent3"/>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a:r>
                <a:rPr lang="en-US" sz="1700" dirty="0">
                  <a:solidFill>
                    <a:schemeClr val="tx1">
                      <a:alpha val="99000"/>
                    </a:schemeClr>
                  </a:solidFill>
                  <a:latin typeface="Segoe UI" pitchFamily="34" charset="0"/>
                  <a:ea typeface="Segoe UI" pitchFamily="34" charset="0"/>
                  <a:cs typeface="Segoe UI" pitchFamily="34" charset="0"/>
                </a:rPr>
                <a:t>Standards-based</a:t>
              </a:r>
            </a:p>
          </p:txBody>
        </p:sp>
        <p:sp>
          <p:nvSpPr>
            <p:cNvPr id="46" name="Freeform 15"/>
            <p:cNvSpPr>
              <a:spLocks noChangeAspect="1" noEditPoints="1"/>
            </p:cNvSpPr>
            <p:nvPr/>
          </p:nvSpPr>
          <p:spPr bwMode="black">
            <a:xfrm>
              <a:off x="5505371" y="4419286"/>
              <a:ext cx="1187354" cy="1188720"/>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dirty="0"/>
            </a:p>
          </p:txBody>
        </p:sp>
      </p:grpSp>
      <p:sp>
        <p:nvSpPr>
          <p:cNvPr id="53"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54"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4"/>
              </a:rPr>
              <a:t>www.rapidbbs.cn</a:t>
            </a:r>
            <a:endParaRPr lang="zh-CN" altLang="en-US" sz="1200" b="0">
              <a:latin typeface="Arial" charset="0"/>
              <a:ea typeface="ＭＳ Ｐゴシック" pitchFamily="34" charset="-128"/>
            </a:endParaRPr>
          </a:p>
        </p:txBody>
      </p:sp>
      <p:pic>
        <p:nvPicPr>
          <p:cNvPr id="55" name="Picture 2">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916795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indows PowerShell 3.0 Themes</a:t>
            </a:r>
            <a:endParaRPr lang="en-US" dirty="0"/>
          </a:p>
        </p:txBody>
      </p:sp>
      <p:grpSp>
        <p:nvGrpSpPr>
          <p:cNvPr id="47" name="Group 46"/>
          <p:cNvGrpSpPr/>
          <p:nvPr/>
        </p:nvGrpSpPr>
        <p:grpSpPr>
          <a:xfrm>
            <a:off x="507624" y="1012374"/>
            <a:ext cx="2620438" cy="1872234"/>
            <a:chOff x="676656" y="1349832"/>
            <a:chExt cx="3493008" cy="2496312"/>
          </a:xfrm>
        </p:grpSpPr>
        <p:sp>
          <p:nvSpPr>
            <p:cNvPr id="8" name="Light Blue"/>
            <p:cNvSpPr/>
            <p:nvPr/>
          </p:nvSpPr>
          <p:spPr bwMode="auto">
            <a:xfrm>
              <a:off x="676656" y="1349832"/>
              <a:ext cx="3493008" cy="2496312"/>
            </a:xfrm>
            <a:prstGeom prst="roundRect">
              <a:avLst>
                <a:gd name="adj" fmla="val 0"/>
              </a:avLst>
            </a:prstGeom>
            <a:solidFill>
              <a:schemeClr val="bg1">
                <a:lumMod val="40000"/>
                <a:lumOff val="6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a:r>
                <a:rPr lang="en-US" sz="1700" dirty="0">
                  <a:solidFill>
                    <a:schemeClr val="tx1">
                      <a:alpha val="99000"/>
                    </a:schemeClr>
                  </a:solidFill>
                  <a:latin typeface="Segoe UI" pitchFamily="34" charset="0"/>
                  <a:ea typeface="Segoe UI" pitchFamily="34" charset="0"/>
                  <a:cs typeface="Segoe UI" pitchFamily="34" charset="0"/>
                </a:rPr>
                <a:t>Simple &amp; Easy</a:t>
              </a:r>
            </a:p>
          </p:txBody>
        </p:sp>
        <p:pic>
          <p:nvPicPr>
            <p:cNvPr id="10" name="Picture 35" descr="C:\Users\sakuu\Documents\Ballmer WPC\AI\Vacation.png"/>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879962" y="1637864"/>
              <a:ext cx="1086396" cy="144249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 name="Group 1"/>
          <p:cNvGrpSpPr/>
          <p:nvPr/>
        </p:nvGrpSpPr>
        <p:grpSpPr>
          <a:xfrm>
            <a:off x="6016977" y="3011804"/>
            <a:ext cx="2620438" cy="1872234"/>
            <a:chOff x="8020546" y="4015738"/>
            <a:chExt cx="3493008" cy="2496312"/>
          </a:xfrm>
        </p:grpSpPr>
        <p:sp>
          <p:nvSpPr>
            <p:cNvPr id="5" name="Red"/>
            <p:cNvSpPr/>
            <p:nvPr/>
          </p:nvSpPr>
          <p:spPr bwMode="auto">
            <a:xfrm>
              <a:off x="8020546" y="4015738"/>
              <a:ext cx="3493008" cy="2496312"/>
            </a:xfrm>
            <a:prstGeom prst="roundRect">
              <a:avLst>
                <a:gd name="adj" fmla="val 0"/>
              </a:avLst>
            </a:prstGeom>
            <a:solidFill>
              <a:schemeClr val="accent5"/>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r>
                <a:rPr lang="en-US" sz="1700" dirty="0">
                  <a:solidFill>
                    <a:schemeClr val="tx1">
                      <a:alpha val="99000"/>
                    </a:schemeClr>
                  </a:solidFill>
                  <a:latin typeface="Segoe UI" pitchFamily="34" charset="0"/>
                  <a:ea typeface="Segoe UI" pitchFamily="34" charset="0"/>
                  <a:cs typeface="Segoe UI" pitchFamily="34" charset="0"/>
                </a:rPr>
                <a:t>PS 3.0  -</a:t>
              </a:r>
              <a:r>
                <a:rPr lang="en-US" sz="1700" dirty="0" err="1">
                  <a:solidFill>
                    <a:schemeClr val="tx1">
                      <a:alpha val="99000"/>
                    </a:schemeClr>
                  </a:solidFill>
                  <a:latin typeface="Segoe UI" pitchFamily="34" charset="0"/>
                  <a:ea typeface="Segoe UI" pitchFamily="34" charset="0"/>
                  <a:cs typeface="Segoe UI" pitchFamily="34" charset="0"/>
                </a:rPr>
                <a:t>gt</a:t>
              </a:r>
              <a:r>
                <a:rPr lang="en-US" sz="1700" dirty="0">
                  <a:solidFill>
                    <a:schemeClr val="tx1">
                      <a:alpha val="99000"/>
                    </a:schemeClr>
                  </a:solidFill>
                  <a:latin typeface="Segoe UI" pitchFamily="34" charset="0"/>
                  <a:ea typeface="Segoe UI" pitchFamily="34" charset="0"/>
                  <a:cs typeface="Segoe UI" pitchFamily="34" charset="0"/>
                </a:rPr>
                <a:t>  PS 2.0</a:t>
              </a:r>
            </a:p>
          </p:txBody>
        </p:sp>
        <p:grpSp>
          <p:nvGrpSpPr>
            <p:cNvPr id="11" name="Group 10"/>
            <p:cNvGrpSpPr/>
            <p:nvPr/>
          </p:nvGrpSpPr>
          <p:grpSpPr bwMode="black">
            <a:xfrm>
              <a:off x="9433734" y="4471794"/>
              <a:ext cx="666632" cy="1137216"/>
              <a:chOff x="3233738" y="168276"/>
              <a:chExt cx="2651125" cy="6480174"/>
            </a:xfrm>
          </p:grpSpPr>
          <p:sp>
            <p:nvSpPr>
              <p:cNvPr id="12"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grpSp>
        <p:nvGrpSpPr>
          <p:cNvPr id="49" name="Group 48"/>
          <p:cNvGrpSpPr/>
          <p:nvPr/>
        </p:nvGrpSpPr>
        <p:grpSpPr>
          <a:xfrm>
            <a:off x="6016977" y="1012374"/>
            <a:ext cx="2620438" cy="1872234"/>
            <a:chOff x="8045452" y="1349832"/>
            <a:chExt cx="3493008" cy="2496312"/>
          </a:xfrm>
        </p:grpSpPr>
        <p:sp>
          <p:nvSpPr>
            <p:cNvPr id="4" name="Green"/>
            <p:cNvSpPr/>
            <p:nvPr/>
          </p:nvSpPr>
          <p:spPr bwMode="auto">
            <a:xfrm>
              <a:off x="8045452" y="1349832"/>
              <a:ext cx="3493008" cy="2496312"/>
            </a:xfrm>
            <a:prstGeom prst="roundRect">
              <a:avLst>
                <a:gd name="adj" fmla="val 0"/>
              </a:avLst>
            </a:prstGeom>
            <a:solidFill>
              <a:schemeClr val="bg1">
                <a:lumMod val="40000"/>
                <a:lumOff val="60000"/>
              </a:schemeClr>
            </a:soli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r>
                <a:rPr lang="en-US" sz="1700" dirty="0">
                  <a:solidFill>
                    <a:schemeClr val="tx1">
                      <a:alpha val="99000"/>
                    </a:schemeClr>
                  </a:solidFill>
                  <a:latin typeface="Segoe UI" pitchFamily="34" charset="0"/>
                  <a:ea typeface="Segoe UI" pitchFamily="34" charset="0"/>
                  <a:cs typeface="Segoe UI" pitchFamily="34" charset="0"/>
                </a:rPr>
                <a:t>Robust &amp; Scalable</a:t>
              </a:r>
            </a:p>
          </p:txBody>
        </p:sp>
        <p:sp>
          <p:nvSpPr>
            <p:cNvPr id="15" name="Freeform 35"/>
            <p:cNvSpPr>
              <a:spLocks/>
            </p:cNvSpPr>
            <p:nvPr/>
          </p:nvSpPr>
          <p:spPr bwMode="black">
            <a:xfrm>
              <a:off x="9024221" y="1750933"/>
              <a:ext cx="1535470" cy="1305668"/>
            </a:xfrm>
            <a:custGeom>
              <a:avLst/>
              <a:gdLst>
                <a:gd name="T0" fmla="*/ 120 w 191"/>
                <a:gd name="T1" fmla="*/ 32 h 197"/>
                <a:gd name="T2" fmla="*/ 83 w 191"/>
                <a:gd name="T3" fmla="*/ 3 h 197"/>
                <a:gd name="T4" fmla="*/ 47 w 191"/>
                <a:gd name="T5" fmla="*/ 5 h 197"/>
                <a:gd name="T6" fmla="*/ 44 w 191"/>
                <a:gd name="T7" fmla="*/ 27 h 197"/>
                <a:gd name="T8" fmla="*/ 40 w 191"/>
                <a:gd name="T9" fmla="*/ 29 h 197"/>
                <a:gd name="T10" fmla="*/ 40 w 191"/>
                <a:gd name="T11" fmla="*/ 33 h 197"/>
                <a:gd name="T12" fmla="*/ 45 w 191"/>
                <a:gd name="T13" fmla="*/ 40 h 197"/>
                <a:gd name="T14" fmla="*/ 88 w 191"/>
                <a:gd name="T15" fmla="*/ 44 h 197"/>
                <a:gd name="T16" fmla="*/ 118 w 191"/>
                <a:gd name="T17" fmla="*/ 113 h 197"/>
                <a:gd name="T18" fmla="*/ 144 w 191"/>
                <a:gd name="T19" fmla="*/ 129 h 197"/>
                <a:gd name="T20" fmla="*/ 112 w 191"/>
                <a:gd name="T21" fmla="*/ 109 h 197"/>
                <a:gd name="T22" fmla="*/ 65 w 191"/>
                <a:gd name="T23" fmla="*/ 115 h 197"/>
                <a:gd name="T24" fmla="*/ 0 w 191"/>
                <a:gd name="T25" fmla="*/ 116 h 197"/>
                <a:gd name="T26" fmla="*/ 26 w 191"/>
                <a:gd name="T27" fmla="*/ 174 h 197"/>
                <a:gd name="T28" fmla="*/ 61 w 191"/>
                <a:gd name="T29" fmla="*/ 136 h 197"/>
                <a:gd name="T30" fmla="*/ 57 w 191"/>
                <a:gd name="T31" fmla="*/ 148 h 197"/>
                <a:gd name="T32" fmla="*/ 126 w 191"/>
                <a:gd name="T33" fmla="*/ 140 h 197"/>
                <a:gd name="T34" fmla="*/ 55 w 191"/>
                <a:gd name="T35" fmla="*/ 153 h 197"/>
                <a:gd name="T36" fmla="*/ 30 w 191"/>
                <a:gd name="T37" fmla="*/ 180 h 197"/>
                <a:gd name="T38" fmla="*/ 32 w 191"/>
                <a:gd name="T39" fmla="*/ 182 h 197"/>
                <a:gd name="T40" fmla="*/ 180 w 191"/>
                <a:gd name="T41" fmla="*/ 159 h 197"/>
                <a:gd name="T42" fmla="*/ 185 w 191"/>
                <a:gd name="T43" fmla="*/ 129 h 197"/>
                <a:gd name="T44" fmla="*/ 120 w 191"/>
                <a:gd name="T45" fmla="*/ 32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1" h="197">
                  <a:moveTo>
                    <a:pt x="120" y="32"/>
                  </a:moveTo>
                  <a:cubicBezTo>
                    <a:pt x="112" y="23"/>
                    <a:pt x="99" y="9"/>
                    <a:pt x="83" y="3"/>
                  </a:cubicBezTo>
                  <a:cubicBezTo>
                    <a:pt x="72" y="0"/>
                    <a:pt x="47" y="5"/>
                    <a:pt x="47" y="5"/>
                  </a:cubicBezTo>
                  <a:cubicBezTo>
                    <a:pt x="44" y="27"/>
                    <a:pt x="44" y="27"/>
                    <a:pt x="44" y="27"/>
                  </a:cubicBezTo>
                  <a:cubicBezTo>
                    <a:pt x="40" y="29"/>
                    <a:pt x="40" y="29"/>
                    <a:pt x="40" y="29"/>
                  </a:cubicBezTo>
                  <a:cubicBezTo>
                    <a:pt x="40" y="33"/>
                    <a:pt x="40" y="33"/>
                    <a:pt x="40" y="33"/>
                  </a:cubicBezTo>
                  <a:cubicBezTo>
                    <a:pt x="40" y="33"/>
                    <a:pt x="40" y="37"/>
                    <a:pt x="45" y="40"/>
                  </a:cubicBezTo>
                  <a:cubicBezTo>
                    <a:pt x="50" y="42"/>
                    <a:pt x="73" y="53"/>
                    <a:pt x="88" y="44"/>
                  </a:cubicBezTo>
                  <a:cubicBezTo>
                    <a:pt x="118" y="60"/>
                    <a:pt x="105" y="91"/>
                    <a:pt x="118" y="113"/>
                  </a:cubicBezTo>
                  <a:cubicBezTo>
                    <a:pt x="123" y="120"/>
                    <a:pt x="131" y="127"/>
                    <a:pt x="144" y="129"/>
                  </a:cubicBezTo>
                  <a:cubicBezTo>
                    <a:pt x="144" y="129"/>
                    <a:pt x="115" y="131"/>
                    <a:pt x="112" y="109"/>
                  </a:cubicBezTo>
                  <a:cubicBezTo>
                    <a:pt x="101" y="104"/>
                    <a:pt x="82" y="99"/>
                    <a:pt x="65" y="115"/>
                  </a:cubicBezTo>
                  <a:cubicBezTo>
                    <a:pt x="51" y="100"/>
                    <a:pt x="14" y="100"/>
                    <a:pt x="0" y="116"/>
                  </a:cubicBezTo>
                  <a:cubicBezTo>
                    <a:pt x="6" y="141"/>
                    <a:pt x="18" y="163"/>
                    <a:pt x="26" y="174"/>
                  </a:cubicBezTo>
                  <a:cubicBezTo>
                    <a:pt x="52" y="156"/>
                    <a:pt x="61" y="136"/>
                    <a:pt x="61" y="136"/>
                  </a:cubicBezTo>
                  <a:cubicBezTo>
                    <a:pt x="60" y="140"/>
                    <a:pt x="59" y="144"/>
                    <a:pt x="57" y="148"/>
                  </a:cubicBezTo>
                  <a:cubicBezTo>
                    <a:pt x="103" y="167"/>
                    <a:pt x="126" y="140"/>
                    <a:pt x="126" y="140"/>
                  </a:cubicBezTo>
                  <a:cubicBezTo>
                    <a:pt x="107" y="171"/>
                    <a:pt x="63" y="157"/>
                    <a:pt x="55" y="153"/>
                  </a:cubicBezTo>
                  <a:cubicBezTo>
                    <a:pt x="48" y="166"/>
                    <a:pt x="38" y="175"/>
                    <a:pt x="30" y="180"/>
                  </a:cubicBezTo>
                  <a:cubicBezTo>
                    <a:pt x="32" y="181"/>
                    <a:pt x="32" y="182"/>
                    <a:pt x="32" y="182"/>
                  </a:cubicBezTo>
                  <a:cubicBezTo>
                    <a:pt x="88" y="197"/>
                    <a:pt x="154" y="177"/>
                    <a:pt x="180" y="159"/>
                  </a:cubicBezTo>
                  <a:cubicBezTo>
                    <a:pt x="191" y="151"/>
                    <a:pt x="188" y="138"/>
                    <a:pt x="185" y="129"/>
                  </a:cubicBezTo>
                  <a:cubicBezTo>
                    <a:pt x="172" y="91"/>
                    <a:pt x="134" y="49"/>
                    <a:pt x="120" y="3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grpSp>
        <p:nvGrpSpPr>
          <p:cNvPr id="48" name="Group 47"/>
          <p:cNvGrpSpPr/>
          <p:nvPr/>
        </p:nvGrpSpPr>
        <p:grpSpPr>
          <a:xfrm>
            <a:off x="3264841" y="1012374"/>
            <a:ext cx="2620438" cy="1872234"/>
            <a:chOff x="4366220" y="1349832"/>
            <a:chExt cx="3493008" cy="2496312"/>
          </a:xfrm>
        </p:grpSpPr>
        <p:sp>
          <p:nvSpPr>
            <p:cNvPr id="6" name="Yellow"/>
            <p:cNvSpPr/>
            <p:nvPr/>
          </p:nvSpPr>
          <p:spPr bwMode="auto">
            <a:xfrm>
              <a:off x="4366220" y="1349832"/>
              <a:ext cx="3493008" cy="2496312"/>
            </a:xfrm>
            <a:prstGeom prst="roundRect">
              <a:avLst>
                <a:gd name="adj" fmla="val 0"/>
              </a:avLst>
            </a:prstGeom>
            <a:solidFill>
              <a:schemeClr val="bg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spc="-15"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endParaRPr lang="en-US" sz="1700" spc="-15"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endParaRPr lang="en-US" sz="1700" spc="-15"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endParaRPr lang="en-US" sz="1700" spc="-15" dirty="0">
                <a:solidFill>
                  <a:schemeClr val="tx1">
                    <a:alpha val="99000"/>
                  </a:schemeClr>
                </a:solidFill>
                <a:latin typeface="Segoe UI" pitchFamily="34" charset="0"/>
                <a:ea typeface="Segoe UI" pitchFamily="34" charset="0"/>
                <a:cs typeface="Segoe UI" pitchFamily="34" charset="0"/>
              </a:endParaRPr>
            </a:p>
            <a:p>
              <a:pPr algn="ctr" defTabSz="685637" fontAlgn="base">
                <a:spcBef>
                  <a:spcPct val="0"/>
                </a:spcBef>
                <a:spcAft>
                  <a:spcPct val="0"/>
                </a:spcAft>
              </a:pPr>
              <a:r>
                <a:rPr lang="en-US" sz="1700" spc="-45" dirty="0">
                  <a:solidFill>
                    <a:schemeClr val="tx1">
                      <a:alpha val="99000"/>
                    </a:schemeClr>
                  </a:solidFill>
                  <a:latin typeface="Segoe UI" pitchFamily="34" charset="0"/>
                  <a:ea typeface="Segoe UI" pitchFamily="34" charset="0"/>
                  <a:cs typeface="Segoe UI" pitchFamily="34" charset="0"/>
                </a:rPr>
                <a:t>Comprehensive Coverage</a:t>
              </a:r>
            </a:p>
          </p:txBody>
        </p:sp>
        <p:grpSp>
          <p:nvGrpSpPr>
            <p:cNvPr id="16" name="Group 15"/>
            <p:cNvGrpSpPr>
              <a:grpSpLocks noChangeAspect="1"/>
            </p:cNvGrpSpPr>
            <p:nvPr/>
          </p:nvGrpSpPr>
          <p:grpSpPr bwMode="black">
            <a:xfrm>
              <a:off x="5371041" y="1736438"/>
              <a:ext cx="1483366" cy="1287850"/>
              <a:chOff x="2462213" y="1598613"/>
              <a:chExt cx="4222750" cy="3667125"/>
            </a:xfrm>
          </p:grpSpPr>
          <p:sp>
            <p:nvSpPr>
              <p:cNvPr id="17" name="Rectangle 6"/>
              <p:cNvSpPr>
                <a:spLocks noChangeArrowheads="1"/>
              </p:cNvSpPr>
              <p:nvPr/>
            </p:nvSpPr>
            <p:spPr bwMode="black">
              <a:xfrm>
                <a:off x="5564188"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8" name="Rectangle 7"/>
              <p:cNvSpPr>
                <a:spLocks noChangeArrowheads="1"/>
              </p:cNvSpPr>
              <p:nvPr/>
            </p:nvSpPr>
            <p:spPr bwMode="black">
              <a:xfrm>
                <a:off x="5795963" y="3346451"/>
                <a:ext cx="112713"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9" name="Rectangle 8"/>
              <p:cNvSpPr>
                <a:spLocks noChangeArrowheads="1"/>
              </p:cNvSpPr>
              <p:nvPr/>
            </p:nvSpPr>
            <p:spPr bwMode="black">
              <a:xfrm>
                <a:off x="3092451"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0" name="Rectangle 9"/>
              <p:cNvSpPr>
                <a:spLocks noChangeArrowheads="1"/>
              </p:cNvSpPr>
              <p:nvPr/>
            </p:nvSpPr>
            <p:spPr bwMode="black">
              <a:xfrm>
                <a:off x="3324226" y="3346451"/>
                <a:ext cx="117475"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1" name="Freeform 10"/>
              <p:cNvSpPr>
                <a:spLocks/>
              </p:cNvSpPr>
              <p:nvPr/>
            </p:nvSpPr>
            <p:spPr bwMode="black">
              <a:xfrm>
                <a:off x="3902076" y="2506663"/>
                <a:ext cx="101600" cy="123825"/>
              </a:xfrm>
              <a:custGeom>
                <a:avLst/>
                <a:gdLst>
                  <a:gd name="T0" fmla="*/ 36 w 64"/>
                  <a:gd name="T1" fmla="*/ 78 h 78"/>
                  <a:gd name="T2" fmla="*/ 64 w 64"/>
                  <a:gd name="T3" fmla="*/ 64 h 78"/>
                  <a:gd name="T4" fmla="*/ 26 w 64"/>
                  <a:gd name="T5" fmla="*/ 0 h 78"/>
                  <a:gd name="T6" fmla="*/ 0 w 64"/>
                  <a:gd name="T7" fmla="*/ 17 h 78"/>
                  <a:gd name="T8" fmla="*/ 36 w 64"/>
                  <a:gd name="T9" fmla="*/ 78 h 78"/>
                </a:gdLst>
                <a:ahLst/>
                <a:cxnLst>
                  <a:cxn ang="0">
                    <a:pos x="T0" y="T1"/>
                  </a:cxn>
                  <a:cxn ang="0">
                    <a:pos x="T2" y="T3"/>
                  </a:cxn>
                  <a:cxn ang="0">
                    <a:pos x="T4" y="T5"/>
                  </a:cxn>
                  <a:cxn ang="0">
                    <a:pos x="T6" y="T7"/>
                  </a:cxn>
                  <a:cxn ang="0">
                    <a:pos x="T8" y="T9"/>
                  </a:cxn>
                </a:cxnLst>
                <a:rect l="0" t="0" r="r" b="b"/>
                <a:pathLst>
                  <a:path w="64" h="78">
                    <a:moveTo>
                      <a:pt x="36" y="78"/>
                    </a:moveTo>
                    <a:lnTo>
                      <a:pt x="64" y="64"/>
                    </a:lnTo>
                    <a:lnTo>
                      <a:pt x="26" y="0"/>
                    </a:lnTo>
                    <a:lnTo>
                      <a:pt x="0" y="17"/>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2" name="Freeform 11"/>
              <p:cNvSpPr>
                <a:spLocks/>
              </p:cNvSpPr>
              <p:nvPr/>
            </p:nvSpPr>
            <p:spPr bwMode="black">
              <a:xfrm>
                <a:off x="4017963" y="2709863"/>
                <a:ext cx="98425" cy="123825"/>
              </a:xfrm>
              <a:custGeom>
                <a:avLst/>
                <a:gdLst>
                  <a:gd name="T0" fmla="*/ 36 w 62"/>
                  <a:gd name="T1" fmla="*/ 78 h 78"/>
                  <a:gd name="T2" fmla="*/ 62 w 62"/>
                  <a:gd name="T3" fmla="*/ 61 h 78"/>
                  <a:gd name="T4" fmla="*/ 26 w 62"/>
                  <a:gd name="T5" fmla="*/ 0 h 78"/>
                  <a:gd name="T6" fmla="*/ 0 w 62"/>
                  <a:gd name="T7" fmla="*/ 14 h 78"/>
                  <a:gd name="T8" fmla="*/ 36 w 62"/>
                  <a:gd name="T9" fmla="*/ 78 h 78"/>
                </a:gdLst>
                <a:ahLst/>
                <a:cxnLst>
                  <a:cxn ang="0">
                    <a:pos x="T0" y="T1"/>
                  </a:cxn>
                  <a:cxn ang="0">
                    <a:pos x="T2" y="T3"/>
                  </a:cxn>
                  <a:cxn ang="0">
                    <a:pos x="T4" y="T5"/>
                  </a:cxn>
                  <a:cxn ang="0">
                    <a:pos x="T6" y="T7"/>
                  </a:cxn>
                  <a:cxn ang="0">
                    <a:pos x="T8" y="T9"/>
                  </a:cxn>
                </a:cxnLst>
                <a:rect l="0" t="0" r="r" b="b"/>
                <a:pathLst>
                  <a:path w="62" h="78">
                    <a:moveTo>
                      <a:pt x="36" y="78"/>
                    </a:moveTo>
                    <a:lnTo>
                      <a:pt x="62" y="61"/>
                    </a:lnTo>
                    <a:lnTo>
                      <a:pt x="26" y="0"/>
                    </a:lnTo>
                    <a:lnTo>
                      <a:pt x="0" y="14"/>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3" name="Freeform 12"/>
              <p:cNvSpPr>
                <a:spLocks/>
              </p:cNvSpPr>
              <p:nvPr/>
            </p:nvSpPr>
            <p:spPr bwMode="black">
              <a:xfrm>
                <a:off x="4873626" y="2709863"/>
                <a:ext cx="98425" cy="123825"/>
              </a:xfrm>
              <a:custGeom>
                <a:avLst/>
                <a:gdLst>
                  <a:gd name="T0" fmla="*/ 26 w 62"/>
                  <a:gd name="T1" fmla="*/ 78 h 78"/>
                  <a:gd name="T2" fmla="*/ 62 w 62"/>
                  <a:gd name="T3" fmla="*/ 14 h 78"/>
                  <a:gd name="T4" fmla="*/ 36 w 62"/>
                  <a:gd name="T5" fmla="*/ 0 h 78"/>
                  <a:gd name="T6" fmla="*/ 0 w 62"/>
                  <a:gd name="T7" fmla="*/ 61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4"/>
                    </a:lnTo>
                    <a:lnTo>
                      <a:pt x="36" y="0"/>
                    </a:lnTo>
                    <a:lnTo>
                      <a:pt x="0" y="61"/>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4" name="Freeform 13"/>
              <p:cNvSpPr>
                <a:spLocks/>
              </p:cNvSpPr>
              <p:nvPr/>
            </p:nvSpPr>
            <p:spPr bwMode="black">
              <a:xfrm>
                <a:off x="4989513" y="2506663"/>
                <a:ext cx="98425" cy="123825"/>
              </a:xfrm>
              <a:custGeom>
                <a:avLst/>
                <a:gdLst>
                  <a:gd name="T0" fmla="*/ 26 w 62"/>
                  <a:gd name="T1" fmla="*/ 78 h 78"/>
                  <a:gd name="T2" fmla="*/ 62 w 62"/>
                  <a:gd name="T3" fmla="*/ 17 h 78"/>
                  <a:gd name="T4" fmla="*/ 36 w 62"/>
                  <a:gd name="T5" fmla="*/ 0 h 78"/>
                  <a:gd name="T6" fmla="*/ 0 w 62"/>
                  <a:gd name="T7" fmla="*/ 64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7"/>
                    </a:lnTo>
                    <a:lnTo>
                      <a:pt x="36" y="0"/>
                    </a:lnTo>
                    <a:lnTo>
                      <a:pt x="0" y="64"/>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5" name="Freeform 14"/>
              <p:cNvSpPr>
                <a:spLocks/>
              </p:cNvSpPr>
              <p:nvPr/>
            </p:nvSpPr>
            <p:spPr bwMode="black">
              <a:xfrm>
                <a:off x="4017963" y="3990976"/>
                <a:ext cx="98425" cy="123825"/>
              </a:xfrm>
              <a:custGeom>
                <a:avLst/>
                <a:gdLst>
                  <a:gd name="T0" fmla="*/ 0 w 62"/>
                  <a:gd name="T1" fmla="*/ 64 h 78"/>
                  <a:gd name="T2" fmla="*/ 26 w 62"/>
                  <a:gd name="T3" fmla="*/ 78 h 78"/>
                  <a:gd name="T4" fmla="*/ 62 w 62"/>
                  <a:gd name="T5" fmla="*/ 14 h 78"/>
                  <a:gd name="T6" fmla="*/ 36 w 62"/>
                  <a:gd name="T7" fmla="*/ 0 h 78"/>
                  <a:gd name="T8" fmla="*/ 0 w 62"/>
                  <a:gd name="T9" fmla="*/ 64 h 78"/>
                </a:gdLst>
                <a:ahLst/>
                <a:cxnLst>
                  <a:cxn ang="0">
                    <a:pos x="T0" y="T1"/>
                  </a:cxn>
                  <a:cxn ang="0">
                    <a:pos x="T2" y="T3"/>
                  </a:cxn>
                  <a:cxn ang="0">
                    <a:pos x="T4" y="T5"/>
                  </a:cxn>
                  <a:cxn ang="0">
                    <a:pos x="T6" y="T7"/>
                  </a:cxn>
                  <a:cxn ang="0">
                    <a:pos x="T8" y="T9"/>
                  </a:cxn>
                </a:cxnLst>
                <a:rect l="0" t="0" r="r" b="b"/>
                <a:pathLst>
                  <a:path w="62" h="78">
                    <a:moveTo>
                      <a:pt x="0" y="64"/>
                    </a:moveTo>
                    <a:lnTo>
                      <a:pt x="26" y="78"/>
                    </a:lnTo>
                    <a:lnTo>
                      <a:pt x="62" y="14"/>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6" name="Freeform 15"/>
              <p:cNvSpPr>
                <a:spLocks/>
              </p:cNvSpPr>
              <p:nvPr/>
            </p:nvSpPr>
            <p:spPr bwMode="black">
              <a:xfrm>
                <a:off x="3902076" y="4189413"/>
                <a:ext cx="101600" cy="128588"/>
              </a:xfrm>
              <a:custGeom>
                <a:avLst/>
                <a:gdLst>
                  <a:gd name="T0" fmla="*/ 0 w 64"/>
                  <a:gd name="T1" fmla="*/ 64 h 81"/>
                  <a:gd name="T2" fmla="*/ 26 w 64"/>
                  <a:gd name="T3" fmla="*/ 81 h 81"/>
                  <a:gd name="T4" fmla="*/ 64 w 64"/>
                  <a:gd name="T5" fmla="*/ 17 h 81"/>
                  <a:gd name="T6" fmla="*/ 36 w 64"/>
                  <a:gd name="T7" fmla="*/ 0 h 81"/>
                  <a:gd name="T8" fmla="*/ 0 w 64"/>
                  <a:gd name="T9" fmla="*/ 64 h 81"/>
                </a:gdLst>
                <a:ahLst/>
                <a:cxnLst>
                  <a:cxn ang="0">
                    <a:pos x="T0" y="T1"/>
                  </a:cxn>
                  <a:cxn ang="0">
                    <a:pos x="T2" y="T3"/>
                  </a:cxn>
                  <a:cxn ang="0">
                    <a:pos x="T4" y="T5"/>
                  </a:cxn>
                  <a:cxn ang="0">
                    <a:pos x="T6" y="T7"/>
                  </a:cxn>
                  <a:cxn ang="0">
                    <a:pos x="T8" y="T9"/>
                  </a:cxn>
                </a:cxnLst>
                <a:rect l="0" t="0" r="r" b="b"/>
                <a:pathLst>
                  <a:path w="64" h="81">
                    <a:moveTo>
                      <a:pt x="0" y="64"/>
                    </a:moveTo>
                    <a:lnTo>
                      <a:pt x="26" y="81"/>
                    </a:lnTo>
                    <a:lnTo>
                      <a:pt x="64" y="17"/>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7" name="Freeform 16"/>
              <p:cNvSpPr>
                <a:spLocks/>
              </p:cNvSpPr>
              <p:nvPr/>
            </p:nvSpPr>
            <p:spPr bwMode="black">
              <a:xfrm>
                <a:off x="4989513" y="4189413"/>
                <a:ext cx="98425" cy="128588"/>
              </a:xfrm>
              <a:custGeom>
                <a:avLst/>
                <a:gdLst>
                  <a:gd name="T0" fmla="*/ 26 w 62"/>
                  <a:gd name="T1" fmla="*/ 0 h 81"/>
                  <a:gd name="T2" fmla="*/ 0 w 62"/>
                  <a:gd name="T3" fmla="*/ 17 h 81"/>
                  <a:gd name="T4" fmla="*/ 36 w 62"/>
                  <a:gd name="T5" fmla="*/ 81 h 81"/>
                  <a:gd name="T6" fmla="*/ 62 w 62"/>
                  <a:gd name="T7" fmla="*/ 64 h 81"/>
                  <a:gd name="T8" fmla="*/ 26 w 62"/>
                  <a:gd name="T9" fmla="*/ 0 h 81"/>
                </a:gdLst>
                <a:ahLst/>
                <a:cxnLst>
                  <a:cxn ang="0">
                    <a:pos x="T0" y="T1"/>
                  </a:cxn>
                  <a:cxn ang="0">
                    <a:pos x="T2" y="T3"/>
                  </a:cxn>
                  <a:cxn ang="0">
                    <a:pos x="T4" y="T5"/>
                  </a:cxn>
                  <a:cxn ang="0">
                    <a:pos x="T6" y="T7"/>
                  </a:cxn>
                  <a:cxn ang="0">
                    <a:pos x="T8" y="T9"/>
                  </a:cxn>
                </a:cxnLst>
                <a:rect l="0" t="0" r="r" b="b"/>
                <a:pathLst>
                  <a:path w="62" h="81">
                    <a:moveTo>
                      <a:pt x="26" y="0"/>
                    </a:moveTo>
                    <a:lnTo>
                      <a:pt x="0" y="17"/>
                    </a:lnTo>
                    <a:lnTo>
                      <a:pt x="36" y="81"/>
                    </a:lnTo>
                    <a:lnTo>
                      <a:pt x="62" y="64"/>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8" name="Freeform 17"/>
              <p:cNvSpPr>
                <a:spLocks/>
              </p:cNvSpPr>
              <p:nvPr/>
            </p:nvSpPr>
            <p:spPr bwMode="black">
              <a:xfrm>
                <a:off x="4873626" y="3990976"/>
                <a:ext cx="98425" cy="123825"/>
              </a:xfrm>
              <a:custGeom>
                <a:avLst/>
                <a:gdLst>
                  <a:gd name="T0" fmla="*/ 0 w 62"/>
                  <a:gd name="T1" fmla="*/ 14 h 78"/>
                  <a:gd name="T2" fmla="*/ 36 w 62"/>
                  <a:gd name="T3" fmla="*/ 78 h 78"/>
                  <a:gd name="T4" fmla="*/ 62 w 62"/>
                  <a:gd name="T5" fmla="*/ 64 h 78"/>
                  <a:gd name="T6" fmla="*/ 26 w 62"/>
                  <a:gd name="T7" fmla="*/ 0 h 78"/>
                  <a:gd name="T8" fmla="*/ 0 w 62"/>
                  <a:gd name="T9" fmla="*/ 14 h 78"/>
                </a:gdLst>
                <a:ahLst/>
                <a:cxnLst>
                  <a:cxn ang="0">
                    <a:pos x="T0" y="T1"/>
                  </a:cxn>
                  <a:cxn ang="0">
                    <a:pos x="T2" y="T3"/>
                  </a:cxn>
                  <a:cxn ang="0">
                    <a:pos x="T4" y="T5"/>
                  </a:cxn>
                  <a:cxn ang="0">
                    <a:pos x="T6" y="T7"/>
                  </a:cxn>
                  <a:cxn ang="0">
                    <a:pos x="T8" y="T9"/>
                  </a:cxn>
                </a:cxnLst>
                <a:rect l="0" t="0" r="r" b="b"/>
                <a:pathLst>
                  <a:path w="62" h="78">
                    <a:moveTo>
                      <a:pt x="0" y="14"/>
                    </a:moveTo>
                    <a:lnTo>
                      <a:pt x="36" y="78"/>
                    </a:lnTo>
                    <a:lnTo>
                      <a:pt x="62" y="64"/>
                    </a:lnTo>
                    <a:lnTo>
                      <a:pt x="26" y="0"/>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9" name="Freeform 18"/>
              <p:cNvSpPr>
                <a:spLocks/>
              </p:cNvSpPr>
              <p:nvPr/>
            </p:nvSpPr>
            <p:spPr bwMode="black">
              <a:xfrm>
                <a:off x="3579813" y="2892426"/>
                <a:ext cx="1833563" cy="1068388"/>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0" name="Freeform 19"/>
              <p:cNvSpPr>
                <a:spLocks noEditPoints="1"/>
              </p:cNvSpPr>
              <p:nvPr/>
            </p:nvSpPr>
            <p:spPr bwMode="black">
              <a:xfrm>
                <a:off x="3321051" y="1598613"/>
                <a:ext cx="750888" cy="522288"/>
              </a:xfrm>
              <a:custGeom>
                <a:avLst/>
                <a:gdLst>
                  <a:gd name="T0" fmla="*/ 174 w 200"/>
                  <a:gd name="T1" fmla="*/ 0 h 139"/>
                  <a:gd name="T2" fmla="*/ 26 w 200"/>
                  <a:gd name="T3" fmla="*/ 0 h 139"/>
                  <a:gd name="T4" fmla="*/ 0 w 200"/>
                  <a:gd name="T5" fmla="*/ 27 h 139"/>
                  <a:gd name="T6" fmla="*/ 0 w 200"/>
                  <a:gd name="T7" fmla="*/ 113 h 139"/>
                  <a:gd name="T8" fmla="*/ 26 w 200"/>
                  <a:gd name="T9" fmla="*/ 139 h 139"/>
                  <a:gd name="T10" fmla="*/ 174 w 200"/>
                  <a:gd name="T11" fmla="*/ 139 h 139"/>
                  <a:gd name="T12" fmla="*/ 200 w 200"/>
                  <a:gd name="T13" fmla="*/ 113 h 139"/>
                  <a:gd name="T14" fmla="*/ 200 w 200"/>
                  <a:gd name="T15" fmla="*/ 27 h 139"/>
                  <a:gd name="T16" fmla="*/ 174 w 200"/>
                  <a:gd name="T17" fmla="*/ 0 h 139"/>
                  <a:gd name="T18" fmla="*/ 185 w 200"/>
                  <a:gd name="T19" fmla="*/ 113 h 139"/>
                  <a:gd name="T20" fmla="*/ 174 w 200"/>
                  <a:gd name="T21" fmla="*/ 124 h 139"/>
                  <a:gd name="T22" fmla="*/ 26 w 200"/>
                  <a:gd name="T23" fmla="*/ 124 h 139"/>
                  <a:gd name="T24" fmla="*/ 15 w 200"/>
                  <a:gd name="T25" fmla="*/ 113 h 139"/>
                  <a:gd name="T26" fmla="*/ 15 w 200"/>
                  <a:gd name="T27" fmla="*/ 27 h 139"/>
                  <a:gd name="T28" fmla="*/ 26 w 200"/>
                  <a:gd name="T29" fmla="*/ 16 h 139"/>
                  <a:gd name="T30" fmla="*/ 174 w 200"/>
                  <a:gd name="T31" fmla="*/ 16 h 139"/>
                  <a:gd name="T32" fmla="*/ 185 w 200"/>
                  <a:gd name="T33" fmla="*/ 27 h 139"/>
                  <a:gd name="T34" fmla="*/ 185 w 200"/>
                  <a:gd name="T35" fmla="*/ 11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39">
                    <a:moveTo>
                      <a:pt x="174" y="0"/>
                    </a:moveTo>
                    <a:cubicBezTo>
                      <a:pt x="26" y="0"/>
                      <a:pt x="26" y="0"/>
                      <a:pt x="26" y="0"/>
                    </a:cubicBezTo>
                    <a:cubicBezTo>
                      <a:pt x="12" y="0"/>
                      <a:pt x="0" y="12"/>
                      <a:pt x="0" y="27"/>
                    </a:cubicBezTo>
                    <a:cubicBezTo>
                      <a:pt x="0" y="113"/>
                      <a:pt x="0" y="113"/>
                      <a:pt x="0" y="113"/>
                    </a:cubicBezTo>
                    <a:cubicBezTo>
                      <a:pt x="0" y="127"/>
                      <a:pt x="12" y="139"/>
                      <a:pt x="26" y="139"/>
                    </a:cubicBezTo>
                    <a:cubicBezTo>
                      <a:pt x="174" y="139"/>
                      <a:pt x="174" y="139"/>
                      <a:pt x="174" y="139"/>
                    </a:cubicBezTo>
                    <a:cubicBezTo>
                      <a:pt x="188" y="139"/>
                      <a:pt x="200" y="127"/>
                      <a:pt x="200" y="113"/>
                    </a:cubicBezTo>
                    <a:cubicBezTo>
                      <a:pt x="200" y="27"/>
                      <a:pt x="200" y="27"/>
                      <a:pt x="200" y="27"/>
                    </a:cubicBezTo>
                    <a:cubicBezTo>
                      <a:pt x="200" y="12"/>
                      <a:pt x="188" y="0"/>
                      <a:pt x="174" y="0"/>
                    </a:cubicBezTo>
                    <a:moveTo>
                      <a:pt x="185" y="113"/>
                    </a:moveTo>
                    <a:cubicBezTo>
                      <a:pt x="185" y="119"/>
                      <a:pt x="180" y="124"/>
                      <a:pt x="174" y="124"/>
                    </a:cubicBezTo>
                    <a:cubicBezTo>
                      <a:pt x="26" y="124"/>
                      <a:pt x="26" y="124"/>
                      <a:pt x="26" y="124"/>
                    </a:cubicBezTo>
                    <a:cubicBezTo>
                      <a:pt x="20" y="124"/>
                      <a:pt x="15" y="119"/>
                      <a:pt x="15" y="113"/>
                    </a:cubicBezTo>
                    <a:cubicBezTo>
                      <a:pt x="15" y="27"/>
                      <a:pt x="15" y="27"/>
                      <a:pt x="15" y="27"/>
                    </a:cubicBezTo>
                    <a:cubicBezTo>
                      <a:pt x="15" y="21"/>
                      <a:pt x="20" y="16"/>
                      <a:pt x="26" y="16"/>
                    </a:cubicBezTo>
                    <a:cubicBezTo>
                      <a:pt x="174" y="16"/>
                      <a:pt x="174" y="16"/>
                      <a:pt x="174" y="16"/>
                    </a:cubicBezTo>
                    <a:cubicBezTo>
                      <a:pt x="180" y="16"/>
                      <a:pt x="185" y="21"/>
                      <a:pt x="185" y="27"/>
                    </a:cubicBezTo>
                    <a:lnTo>
                      <a:pt x="185" y="1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1" name="Freeform 20"/>
              <p:cNvSpPr>
                <a:spLocks/>
              </p:cNvSpPr>
              <p:nvPr/>
            </p:nvSpPr>
            <p:spPr bwMode="black">
              <a:xfrm>
                <a:off x="3178176" y="2154238"/>
                <a:ext cx="1035050" cy="239713"/>
              </a:xfrm>
              <a:custGeom>
                <a:avLst/>
                <a:gdLst>
                  <a:gd name="T0" fmla="*/ 7 w 276"/>
                  <a:gd name="T1" fmla="*/ 64 h 64"/>
                  <a:gd name="T2" fmla="*/ 269 w 276"/>
                  <a:gd name="T3" fmla="*/ 64 h 64"/>
                  <a:gd name="T4" fmla="*/ 276 w 276"/>
                  <a:gd name="T5" fmla="*/ 57 h 64"/>
                  <a:gd name="T6" fmla="*/ 276 w 276"/>
                  <a:gd name="T7" fmla="*/ 54 h 64"/>
                  <a:gd name="T8" fmla="*/ 272 w 276"/>
                  <a:gd name="T9" fmla="*/ 42 h 64"/>
                  <a:gd name="T10" fmla="*/ 240 w 276"/>
                  <a:gd name="T11" fmla="*/ 5 h 64"/>
                  <a:gd name="T12" fmla="*/ 229 w 276"/>
                  <a:gd name="T13" fmla="*/ 0 h 64"/>
                  <a:gd name="T14" fmla="*/ 47 w 276"/>
                  <a:gd name="T15" fmla="*/ 0 h 64"/>
                  <a:gd name="T16" fmla="*/ 36 w 276"/>
                  <a:gd name="T17" fmla="*/ 5 h 64"/>
                  <a:gd name="T18" fmla="*/ 4 w 276"/>
                  <a:gd name="T19" fmla="*/ 42 h 64"/>
                  <a:gd name="T20" fmla="*/ 0 w 276"/>
                  <a:gd name="T21" fmla="*/ 54 h 64"/>
                  <a:gd name="T22" fmla="*/ 0 w 276"/>
                  <a:gd name="T23" fmla="*/ 57 h 64"/>
                  <a:gd name="T24" fmla="*/ 7 w 27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6" h="64">
                    <a:moveTo>
                      <a:pt x="7" y="64"/>
                    </a:moveTo>
                    <a:cubicBezTo>
                      <a:pt x="269" y="64"/>
                      <a:pt x="269" y="64"/>
                      <a:pt x="269" y="64"/>
                    </a:cubicBezTo>
                    <a:cubicBezTo>
                      <a:pt x="273" y="64"/>
                      <a:pt x="276" y="61"/>
                      <a:pt x="276" y="57"/>
                    </a:cubicBezTo>
                    <a:cubicBezTo>
                      <a:pt x="276" y="54"/>
                      <a:pt x="276" y="54"/>
                      <a:pt x="276" y="54"/>
                    </a:cubicBezTo>
                    <a:cubicBezTo>
                      <a:pt x="276" y="50"/>
                      <a:pt x="274" y="45"/>
                      <a:pt x="272" y="42"/>
                    </a:cubicBezTo>
                    <a:cubicBezTo>
                      <a:pt x="240" y="5"/>
                      <a:pt x="240" y="5"/>
                      <a:pt x="240" y="5"/>
                    </a:cubicBezTo>
                    <a:cubicBezTo>
                      <a:pt x="238" y="2"/>
                      <a:pt x="233" y="0"/>
                      <a:pt x="229" y="0"/>
                    </a:cubicBezTo>
                    <a:cubicBezTo>
                      <a:pt x="47" y="0"/>
                      <a:pt x="47" y="0"/>
                      <a:pt x="47" y="0"/>
                    </a:cubicBezTo>
                    <a:cubicBezTo>
                      <a:pt x="43" y="0"/>
                      <a:pt x="38" y="2"/>
                      <a:pt x="36" y="5"/>
                    </a:cubicBezTo>
                    <a:cubicBezTo>
                      <a:pt x="4" y="42"/>
                      <a:pt x="4" y="42"/>
                      <a:pt x="4" y="42"/>
                    </a:cubicBezTo>
                    <a:cubicBezTo>
                      <a:pt x="2" y="45"/>
                      <a:pt x="0" y="50"/>
                      <a:pt x="0" y="54"/>
                    </a:cubicBezTo>
                    <a:cubicBezTo>
                      <a:pt x="0" y="57"/>
                      <a:pt x="0" y="57"/>
                      <a:pt x="0" y="57"/>
                    </a:cubicBezTo>
                    <a:cubicBezTo>
                      <a:pt x="0" y="61"/>
                      <a:pt x="3" y="64"/>
                      <a:pt x="7"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2" name="Freeform 21"/>
              <p:cNvSpPr>
                <a:spLocks noEditPoints="1"/>
              </p:cNvSpPr>
              <p:nvPr/>
            </p:nvSpPr>
            <p:spPr bwMode="black">
              <a:xfrm>
                <a:off x="4730751" y="1639888"/>
                <a:ext cx="781050" cy="608013"/>
              </a:xfrm>
              <a:custGeom>
                <a:avLst/>
                <a:gdLst>
                  <a:gd name="T0" fmla="*/ 177 w 208"/>
                  <a:gd name="T1" fmla="*/ 0 h 162"/>
                  <a:gd name="T2" fmla="*/ 31 w 208"/>
                  <a:gd name="T3" fmla="*/ 0 h 162"/>
                  <a:gd name="T4" fmla="*/ 0 w 208"/>
                  <a:gd name="T5" fmla="*/ 31 h 162"/>
                  <a:gd name="T6" fmla="*/ 0 w 208"/>
                  <a:gd name="T7" fmla="*/ 131 h 162"/>
                  <a:gd name="T8" fmla="*/ 31 w 208"/>
                  <a:gd name="T9" fmla="*/ 162 h 162"/>
                  <a:gd name="T10" fmla="*/ 177 w 208"/>
                  <a:gd name="T11" fmla="*/ 162 h 162"/>
                  <a:gd name="T12" fmla="*/ 208 w 208"/>
                  <a:gd name="T13" fmla="*/ 131 h 162"/>
                  <a:gd name="T14" fmla="*/ 208 w 208"/>
                  <a:gd name="T15" fmla="*/ 31 h 162"/>
                  <a:gd name="T16" fmla="*/ 177 w 208"/>
                  <a:gd name="T17" fmla="*/ 0 h 162"/>
                  <a:gd name="T18" fmla="*/ 190 w 208"/>
                  <a:gd name="T19" fmla="*/ 131 h 162"/>
                  <a:gd name="T20" fmla="*/ 177 w 208"/>
                  <a:gd name="T21" fmla="*/ 144 h 162"/>
                  <a:gd name="T22" fmla="*/ 31 w 208"/>
                  <a:gd name="T23" fmla="*/ 144 h 162"/>
                  <a:gd name="T24" fmla="*/ 18 w 208"/>
                  <a:gd name="T25" fmla="*/ 131 h 162"/>
                  <a:gd name="T26" fmla="*/ 18 w 208"/>
                  <a:gd name="T27" fmla="*/ 31 h 162"/>
                  <a:gd name="T28" fmla="*/ 31 w 208"/>
                  <a:gd name="T29" fmla="*/ 18 h 162"/>
                  <a:gd name="T30" fmla="*/ 177 w 208"/>
                  <a:gd name="T31" fmla="*/ 18 h 162"/>
                  <a:gd name="T32" fmla="*/ 190 w 208"/>
                  <a:gd name="T33" fmla="*/ 31 h 162"/>
                  <a:gd name="T34" fmla="*/ 190 w 208"/>
                  <a:gd name="T35" fmla="*/ 13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 h="162">
                    <a:moveTo>
                      <a:pt x="177" y="0"/>
                    </a:moveTo>
                    <a:cubicBezTo>
                      <a:pt x="31" y="0"/>
                      <a:pt x="31" y="0"/>
                      <a:pt x="31" y="0"/>
                    </a:cubicBezTo>
                    <a:cubicBezTo>
                      <a:pt x="14" y="0"/>
                      <a:pt x="0" y="14"/>
                      <a:pt x="0" y="31"/>
                    </a:cubicBezTo>
                    <a:cubicBezTo>
                      <a:pt x="0" y="131"/>
                      <a:pt x="0" y="131"/>
                      <a:pt x="0" y="131"/>
                    </a:cubicBezTo>
                    <a:cubicBezTo>
                      <a:pt x="0" y="148"/>
                      <a:pt x="14" y="162"/>
                      <a:pt x="31" y="162"/>
                    </a:cubicBezTo>
                    <a:cubicBezTo>
                      <a:pt x="177" y="162"/>
                      <a:pt x="177" y="162"/>
                      <a:pt x="177" y="162"/>
                    </a:cubicBezTo>
                    <a:cubicBezTo>
                      <a:pt x="194" y="162"/>
                      <a:pt x="208" y="148"/>
                      <a:pt x="208" y="131"/>
                    </a:cubicBezTo>
                    <a:cubicBezTo>
                      <a:pt x="208" y="31"/>
                      <a:pt x="208" y="31"/>
                      <a:pt x="208" y="31"/>
                    </a:cubicBezTo>
                    <a:cubicBezTo>
                      <a:pt x="208" y="14"/>
                      <a:pt x="194" y="0"/>
                      <a:pt x="177" y="0"/>
                    </a:cubicBezTo>
                    <a:moveTo>
                      <a:pt x="190" y="131"/>
                    </a:moveTo>
                    <a:cubicBezTo>
                      <a:pt x="190" y="138"/>
                      <a:pt x="184" y="144"/>
                      <a:pt x="177" y="144"/>
                    </a:cubicBezTo>
                    <a:cubicBezTo>
                      <a:pt x="31" y="144"/>
                      <a:pt x="31" y="144"/>
                      <a:pt x="31" y="144"/>
                    </a:cubicBezTo>
                    <a:cubicBezTo>
                      <a:pt x="24" y="144"/>
                      <a:pt x="18" y="138"/>
                      <a:pt x="18" y="131"/>
                    </a:cubicBezTo>
                    <a:cubicBezTo>
                      <a:pt x="18" y="31"/>
                      <a:pt x="18" y="31"/>
                      <a:pt x="18" y="31"/>
                    </a:cubicBezTo>
                    <a:cubicBezTo>
                      <a:pt x="18" y="24"/>
                      <a:pt x="24" y="18"/>
                      <a:pt x="31" y="18"/>
                    </a:cubicBezTo>
                    <a:cubicBezTo>
                      <a:pt x="177" y="18"/>
                      <a:pt x="177" y="18"/>
                      <a:pt x="177" y="18"/>
                    </a:cubicBezTo>
                    <a:cubicBezTo>
                      <a:pt x="184" y="18"/>
                      <a:pt x="190" y="24"/>
                      <a:pt x="190" y="31"/>
                    </a:cubicBezTo>
                    <a:lnTo>
                      <a:pt x="190" y="1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3" name="Freeform 22"/>
              <p:cNvSpPr>
                <a:spLocks/>
              </p:cNvSpPr>
              <p:nvPr/>
            </p:nvSpPr>
            <p:spPr bwMode="black">
              <a:xfrm>
                <a:off x="4911726" y="2289176"/>
                <a:ext cx="419100" cy="104775"/>
              </a:xfrm>
              <a:custGeom>
                <a:avLst/>
                <a:gdLst>
                  <a:gd name="T0" fmla="*/ 112 w 112"/>
                  <a:gd name="T1" fmla="*/ 25 h 28"/>
                  <a:gd name="T2" fmla="*/ 112 w 112"/>
                  <a:gd name="T3" fmla="*/ 23 h 28"/>
                  <a:gd name="T4" fmla="*/ 110 w 112"/>
                  <a:gd name="T5" fmla="*/ 18 h 28"/>
                  <a:gd name="T6" fmla="*/ 96 w 112"/>
                  <a:gd name="T7" fmla="*/ 2 h 28"/>
                  <a:gd name="T8" fmla="*/ 91 w 112"/>
                  <a:gd name="T9" fmla="*/ 0 h 28"/>
                  <a:gd name="T10" fmla="*/ 21 w 112"/>
                  <a:gd name="T11" fmla="*/ 0 h 28"/>
                  <a:gd name="T12" fmla="*/ 16 w 112"/>
                  <a:gd name="T13" fmla="*/ 2 h 28"/>
                  <a:gd name="T14" fmla="*/ 2 w 112"/>
                  <a:gd name="T15" fmla="*/ 18 h 28"/>
                  <a:gd name="T16" fmla="*/ 0 w 112"/>
                  <a:gd name="T17" fmla="*/ 23 h 28"/>
                  <a:gd name="T18" fmla="*/ 0 w 112"/>
                  <a:gd name="T19" fmla="*/ 25 h 28"/>
                  <a:gd name="T20" fmla="*/ 3 w 112"/>
                  <a:gd name="T21" fmla="*/ 28 h 28"/>
                  <a:gd name="T22" fmla="*/ 109 w 112"/>
                  <a:gd name="T23" fmla="*/ 28 h 28"/>
                  <a:gd name="T24" fmla="*/ 112 w 112"/>
                  <a:gd name="T25"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28">
                    <a:moveTo>
                      <a:pt x="112" y="25"/>
                    </a:moveTo>
                    <a:cubicBezTo>
                      <a:pt x="112" y="23"/>
                      <a:pt x="112" y="23"/>
                      <a:pt x="112" y="23"/>
                    </a:cubicBezTo>
                    <a:cubicBezTo>
                      <a:pt x="112" y="22"/>
                      <a:pt x="111" y="20"/>
                      <a:pt x="110" y="18"/>
                    </a:cubicBezTo>
                    <a:cubicBezTo>
                      <a:pt x="96" y="2"/>
                      <a:pt x="96" y="2"/>
                      <a:pt x="96" y="2"/>
                    </a:cubicBezTo>
                    <a:cubicBezTo>
                      <a:pt x="95" y="1"/>
                      <a:pt x="93" y="0"/>
                      <a:pt x="91" y="0"/>
                    </a:cubicBezTo>
                    <a:cubicBezTo>
                      <a:pt x="21" y="0"/>
                      <a:pt x="21" y="0"/>
                      <a:pt x="21" y="0"/>
                    </a:cubicBezTo>
                    <a:cubicBezTo>
                      <a:pt x="19" y="0"/>
                      <a:pt x="17" y="1"/>
                      <a:pt x="16" y="2"/>
                    </a:cubicBezTo>
                    <a:cubicBezTo>
                      <a:pt x="2" y="18"/>
                      <a:pt x="2" y="18"/>
                      <a:pt x="2" y="18"/>
                    </a:cubicBezTo>
                    <a:cubicBezTo>
                      <a:pt x="1" y="20"/>
                      <a:pt x="0" y="22"/>
                      <a:pt x="0" y="23"/>
                    </a:cubicBezTo>
                    <a:cubicBezTo>
                      <a:pt x="0" y="25"/>
                      <a:pt x="0" y="25"/>
                      <a:pt x="0" y="25"/>
                    </a:cubicBezTo>
                    <a:cubicBezTo>
                      <a:pt x="0" y="26"/>
                      <a:pt x="1" y="28"/>
                      <a:pt x="3" y="28"/>
                    </a:cubicBezTo>
                    <a:cubicBezTo>
                      <a:pt x="109" y="28"/>
                      <a:pt x="109" y="28"/>
                      <a:pt x="109" y="28"/>
                    </a:cubicBezTo>
                    <a:cubicBezTo>
                      <a:pt x="111" y="28"/>
                      <a:pt x="112" y="26"/>
                      <a:pt x="112" y="2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4" name="Freeform 23"/>
              <p:cNvSpPr>
                <a:spLocks noEditPoints="1"/>
              </p:cNvSpPr>
              <p:nvPr/>
            </p:nvSpPr>
            <p:spPr bwMode="black">
              <a:xfrm>
                <a:off x="5586413" y="1639888"/>
                <a:ext cx="385763" cy="754063"/>
              </a:xfrm>
              <a:custGeom>
                <a:avLst/>
                <a:gdLst>
                  <a:gd name="T0" fmla="*/ 89 w 103"/>
                  <a:gd name="T1" fmla="*/ 0 h 201"/>
                  <a:gd name="T2" fmla="*/ 13 w 103"/>
                  <a:gd name="T3" fmla="*/ 0 h 201"/>
                  <a:gd name="T4" fmla="*/ 0 w 103"/>
                  <a:gd name="T5" fmla="*/ 13 h 201"/>
                  <a:gd name="T6" fmla="*/ 0 w 103"/>
                  <a:gd name="T7" fmla="*/ 187 h 201"/>
                  <a:gd name="T8" fmla="*/ 13 w 103"/>
                  <a:gd name="T9" fmla="*/ 201 h 201"/>
                  <a:gd name="T10" fmla="*/ 89 w 103"/>
                  <a:gd name="T11" fmla="*/ 201 h 201"/>
                  <a:gd name="T12" fmla="*/ 103 w 103"/>
                  <a:gd name="T13" fmla="*/ 187 h 201"/>
                  <a:gd name="T14" fmla="*/ 103 w 103"/>
                  <a:gd name="T15" fmla="*/ 13 h 201"/>
                  <a:gd name="T16" fmla="*/ 89 w 103"/>
                  <a:gd name="T17" fmla="*/ 0 h 201"/>
                  <a:gd name="T18" fmla="*/ 52 w 103"/>
                  <a:gd name="T19" fmla="*/ 187 h 201"/>
                  <a:gd name="T20" fmla="*/ 40 w 103"/>
                  <a:gd name="T21" fmla="*/ 175 h 201"/>
                  <a:gd name="T22" fmla="*/ 52 w 103"/>
                  <a:gd name="T23" fmla="*/ 163 h 201"/>
                  <a:gd name="T24" fmla="*/ 63 w 103"/>
                  <a:gd name="T25" fmla="*/ 175 h 201"/>
                  <a:gd name="T26" fmla="*/ 52 w 103"/>
                  <a:gd name="T27" fmla="*/ 18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201">
                    <a:moveTo>
                      <a:pt x="89" y="0"/>
                    </a:moveTo>
                    <a:cubicBezTo>
                      <a:pt x="13" y="0"/>
                      <a:pt x="13" y="0"/>
                      <a:pt x="13" y="0"/>
                    </a:cubicBezTo>
                    <a:cubicBezTo>
                      <a:pt x="6" y="0"/>
                      <a:pt x="0" y="6"/>
                      <a:pt x="0" y="13"/>
                    </a:cubicBezTo>
                    <a:cubicBezTo>
                      <a:pt x="0" y="187"/>
                      <a:pt x="0" y="187"/>
                      <a:pt x="0" y="187"/>
                    </a:cubicBezTo>
                    <a:cubicBezTo>
                      <a:pt x="0" y="195"/>
                      <a:pt x="6" y="201"/>
                      <a:pt x="13" y="201"/>
                    </a:cubicBezTo>
                    <a:cubicBezTo>
                      <a:pt x="89" y="201"/>
                      <a:pt x="89" y="201"/>
                      <a:pt x="89" y="201"/>
                    </a:cubicBezTo>
                    <a:cubicBezTo>
                      <a:pt x="97" y="201"/>
                      <a:pt x="103" y="195"/>
                      <a:pt x="103" y="187"/>
                    </a:cubicBezTo>
                    <a:cubicBezTo>
                      <a:pt x="103" y="13"/>
                      <a:pt x="103" y="13"/>
                      <a:pt x="103" y="13"/>
                    </a:cubicBezTo>
                    <a:cubicBezTo>
                      <a:pt x="103" y="6"/>
                      <a:pt x="97" y="0"/>
                      <a:pt x="89" y="0"/>
                    </a:cubicBezTo>
                    <a:moveTo>
                      <a:pt x="52" y="187"/>
                    </a:moveTo>
                    <a:cubicBezTo>
                      <a:pt x="45" y="187"/>
                      <a:pt x="40" y="181"/>
                      <a:pt x="40" y="175"/>
                    </a:cubicBezTo>
                    <a:cubicBezTo>
                      <a:pt x="40" y="168"/>
                      <a:pt x="45" y="163"/>
                      <a:pt x="52" y="163"/>
                    </a:cubicBezTo>
                    <a:cubicBezTo>
                      <a:pt x="58" y="163"/>
                      <a:pt x="63" y="168"/>
                      <a:pt x="63" y="175"/>
                    </a:cubicBezTo>
                    <a:cubicBezTo>
                      <a:pt x="63" y="181"/>
                      <a:pt x="58" y="187"/>
                      <a:pt x="52" y="18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5" name="Freeform 24"/>
              <p:cNvSpPr>
                <a:spLocks noEditPoints="1"/>
              </p:cNvSpPr>
              <p:nvPr/>
            </p:nvSpPr>
            <p:spPr bwMode="black">
              <a:xfrm>
                <a:off x="2462213" y="3032126"/>
                <a:ext cx="525463" cy="804863"/>
              </a:xfrm>
              <a:custGeom>
                <a:avLst/>
                <a:gdLst>
                  <a:gd name="T0" fmla="*/ 109 w 140"/>
                  <a:gd name="T1" fmla="*/ 0 h 215"/>
                  <a:gd name="T2" fmla="*/ 31 w 140"/>
                  <a:gd name="T3" fmla="*/ 0 h 215"/>
                  <a:gd name="T4" fmla="*/ 0 w 140"/>
                  <a:gd name="T5" fmla="*/ 30 h 215"/>
                  <a:gd name="T6" fmla="*/ 0 w 140"/>
                  <a:gd name="T7" fmla="*/ 184 h 215"/>
                  <a:gd name="T8" fmla="*/ 31 w 140"/>
                  <a:gd name="T9" fmla="*/ 215 h 215"/>
                  <a:gd name="T10" fmla="*/ 109 w 140"/>
                  <a:gd name="T11" fmla="*/ 215 h 215"/>
                  <a:gd name="T12" fmla="*/ 140 w 140"/>
                  <a:gd name="T13" fmla="*/ 184 h 215"/>
                  <a:gd name="T14" fmla="*/ 140 w 140"/>
                  <a:gd name="T15" fmla="*/ 30 h 215"/>
                  <a:gd name="T16" fmla="*/ 109 w 140"/>
                  <a:gd name="T17" fmla="*/ 0 h 215"/>
                  <a:gd name="T18" fmla="*/ 122 w 140"/>
                  <a:gd name="T19" fmla="*/ 177 h 215"/>
                  <a:gd name="T20" fmla="*/ 109 w 140"/>
                  <a:gd name="T21" fmla="*/ 195 h 215"/>
                  <a:gd name="T22" fmla="*/ 31 w 140"/>
                  <a:gd name="T23" fmla="*/ 195 h 215"/>
                  <a:gd name="T24" fmla="*/ 18 w 140"/>
                  <a:gd name="T25" fmla="*/ 177 h 215"/>
                  <a:gd name="T26" fmla="*/ 18 w 140"/>
                  <a:gd name="T27" fmla="*/ 35 h 215"/>
                  <a:gd name="T28" fmla="*/ 31 w 140"/>
                  <a:gd name="T29" fmla="*/ 18 h 215"/>
                  <a:gd name="T30" fmla="*/ 109 w 140"/>
                  <a:gd name="T31" fmla="*/ 18 h 215"/>
                  <a:gd name="T32" fmla="*/ 122 w 140"/>
                  <a:gd name="T33" fmla="*/ 35 h 215"/>
                  <a:gd name="T34" fmla="*/ 122 w 140"/>
                  <a:gd name="T35" fmla="*/ 17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215">
                    <a:moveTo>
                      <a:pt x="109" y="0"/>
                    </a:moveTo>
                    <a:cubicBezTo>
                      <a:pt x="31" y="0"/>
                      <a:pt x="31" y="0"/>
                      <a:pt x="31" y="0"/>
                    </a:cubicBezTo>
                    <a:cubicBezTo>
                      <a:pt x="14" y="0"/>
                      <a:pt x="0" y="13"/>
                      <a:pt x="0" y="30"/>
                    </a:cubicBezTo>
                    <a:cubicBezTo>
                      <a:pt x="0" y="184"/>
                      <a:pt x="0" y="184"/>
                      <a:pt x="0" y="184"/>
                    </a:cubicBezTo>
                    <a:cubicBezTo>
                      <a:pt x="0" y="201"/>
                      <a:pt x="14" y="215"/>
                      <a:pt x="31" y="215"/>
                    </a:cubicBezTo>
                    <a:cubicBezTo>
                      <a:pt x="109" y="215"/>
                      <a:pt x="109" y="215"/>
                      <a:pt x="109" y="215"/>
                    </a:cubicBezTo>
                    <a:cubicBezTo>
                      <a:pt x="126" y="215"/>
                      <a:pt x="140" y="201"/>
                      <a:pt x="140" y="184"/>
                    </a:cubicBezTo>
                    <a:cubicBezTo>
                      <a:pt x="140" y="30"/>
                      <a:pt x="140" y="30"/>
                      <a:pt x="140" y="30"/>
                    </a:cubicBezTo>
                    <a:cubicBezTo>
                      <a:pt x="140" y="13"/>
                      <a:pt x="126" y="0"/>
                      <a:pt x="109" y="0"/>
                    </a:cubicBezTo>
                    <a:moveTo>
                      <a:pt x="122" y="177"/>
                    </a:moveTo>
                    <a:cubicBezTo>
                      <a:pt x="122" y="187"/>
                      <a:pt x="116" y="195"/>
                      <a:pt x="109" y="195"/>
                    </a:cubicBezTo>
                    <a:cubicBezTo>
                      <a:pt x="31" y="195"/>
                      <a:pt x="31" y="195"/>
                      <a:pt x="31" y="195"/>
                    </a:cubicBezTo>
                    <a:cubicBezTo>
                      <a:pt x="24" y="195"/>
                      <a:pt x="18" y="187"/>
                      <a:pt x="18" y="177"/>
                    </a:cubicBezTo>
                    <a:cubicBezTo>
                      <a:pt x="18" y="35"/>
                      <a:pt x="18" y="35"/>
                      <a:pt x="18" y="35"/>
                    </a:cubicBezTo>
                    <a:cubicBezTo>
                      <a:pt x="18" y="26"/>
                      <a:pt x="24" y="18"/>
                      <a:pt x="31" y="18"/>
                    </a:cubicBezTo>
                    <a:cubicBezTo>
                      <a:pt x="109" y="18"/>
                      <a:pt x="109" y="18"/>
                      <a:pt x="109" y="18"/>
                    </a:cubicBezTo>
                    <a:cubicBezTo>
                      <a:pt x="116" y="18"/>
                      <a:pt x="122" y="26"/>
                      <a:pt x="122" y="35"/>
                    </a:cubicBezTo>
                    <a:lnTo>
                      <a:pt x="122" y="1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6" name="Freeform 25"/>
              <p:cNvSpPr>
                <a:spLocks noEditPoints="1"/>
              </p:cNvSpPr>
              <p:nvPr/>
            </p:nvSpPr>
            <p:spPr bwMode="black">
              <a:xfrm>
                <a:off x="5049838" y="4411663"/>
                <a:ext cx="739775" cy="854075"/>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7" name="Freeform 26"/>
              <p:cNvSpPr>
                <a:spLocks noEditPoints="1"/>
              </p:cNvSpPr>
              <p:nvPr/>
            </p:nvSpPr>
            <p:spPr bwMode="black">
              <a:xfrm>
                <a:off x="6043613" y="2960688"/>
                <a:ext cx="641350" cy="876300"/>
              </a:xfrm>
              <a:custGeom>
                <a:avLst/>
                <a:gdLst>
                  <a:gd name="T0" fmla="*/ 146 w 171"/>
                  <a:gd name="T1" fmla="*/ 0 h 234"/>
                  <a:gd name="T2" fmla="*/ 25 w 171"/>
                  <a:gd name="T3" fmla="*/ 0 h 234"/>
                  <a:gd name="T4" fmla="*/ 0 w 171"/>
                  <a:gd name="T5" fmla="*/ 25 h 234"/>
                  <a:gd name="T6" fmla="*/ 0 w 171"/>
                  <a:gd name="T7" fmla="*/ 209 h 234"/>
                  <a:gd name="T8" fmla="*/ 25 w 171"/>
                  <a:gd name="T9" fmla="*/ 234 h 234"/>
                  <a:gd name="T10" fmla="*/ 146 w 171"/>
                  <a:gd name="T11" fmla="*/ 234 h 234"/>
                  <a:gd name="T12" fmla="*/ 171 w 171"/>
                  <a:gd name="T13" fmla="*/ 209 h 234"/>
                  <a:gd name="T14" fmla="*/ 171 w 171"/>
                  <a:gd name="T15" fmla="*/ 25 h 234"/>
                  <a:gd name="T16" fmla="*/ 146 w 171"/>
                  <a:gd name="T17" fmla="*/ 0 h 234"/>
                  <a:gd name="T18" fmla="*/ 157 w 171"/>
                  <a:gd name="T19" fmla="*/ 183 h 234"/>
                  <a:gd name="T20" fmla="*/ 146 w 171"/>
                  <a:gd name="T21" fmla="*/ 193 h 234"/>
                  <a:gd name="T22" fmla="*/ 25 w 171"/>
                  <a:gd name="T23" fmla="*/ 193 h 234"/>
                  <a:gd name="T24" fmla="*/ 15 w 171"/>
                  <a:gd name="T25" fmla="*/ 183 h 234"/>
                  <a:gd name="T26" fmla="*/ 15 w 171"/>
                  <a:gd name="T27" fmla="*/ 25 h 234"/>
                  <a:gd name="T28" fmla="*/ 25 w 171"/>
                  <a:gd name="T29" fmla="*/ 14 h 234"/>
                  <a:gd name="T30" fmla="*/ 146 w 171"/>
                  <a:gd name="T31" fmla="*/ 14 h 234"/>
                  <a:gd name="T32" fmla="*/ 157 w 171"/>
                  <a:gd name="T33" fmla="*/ 25 h 234"/>
                  <a:gd name="T34" fmla="*/ 157 w 171"/>
                  <a:gd name="T35" fmla="*/ 18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234">
                    <a:moveTo>
                      <a:pt x="146" y="0"/>
                    </a:moveTo>
                    <a:cubicBezTo>
                      <a:pt x="25" y="0"/>
                      <a:pt x="25" y="0"/>
                      <a:pt x="25" y="0"/>
                    </a:cubicBezTo>
                    <a:cubicBezTo>
                      <a:pt x="11" y="0"/>
                      <a:pt x="0" y="11"/>
                      <a:pt x="0" y="25"/>
                    </a:cubicBezTo>
                    <a:cubicBezTo>
                      <a:pt x="0" y="209"/>
                      <a:pt x="0" y="209"/>
                      <a:pt x="0" y="209"/>
                    </a:cubicBezTo>
                    <a:cubicBezTo>
                      <a:pt x="0" y="223"/>
                      <a:pt x="11" y="234"/>
                      <a:pt x="25" y="234"/>
                    </a:cubicBezTo>
                    <a:cubicBezTo>
                      <a:pt x="146" y="234"/>
                      <a:pt x="146" y="234"/>
                      <a:pt x="146" y="234"/>
                    </a:cubicBezTo>
                    <a:cubicBezTo>
                      <a:pt x="160" y="234"/>
                      <a:pt x="171" y="223"/>
                      <a:pt x="171" y="209"/>
                    </a:cubicBezTo>
                    <a:cubicBezTo>
                      <a:pt x="171" y="25"/>
                      <a:pt x="171" y="25"/>
                      <a:pt x="171" y="25"/>
                    </a:cubicBezTo>
                    <a:cubicBezTo>
                      <a:pt x="171" y="11"/>
                      <a:pt x="160" y="0"/>
                      <a:pt x="146" y="0"/>
                    </a:cubicBezTo>
                    <a:moveTo>
                      <a:pt x="157" y="183"/>
                    </a:moveTo>
                    <a:cubicBezTo>
                      <a:pt x="157" y="188"/>
                      <a:pt x="152" y="193"/>
                      <a:pt x="146" y="193"/>
                    </a:cubicBezTo>
                    <a:cubicBezTo>
                      <a:pt x="25" y="193"/>
                      <a:pt x="25" y="193"/>
                      <a:pt x="25" y="193"/>
                    </a:cubicBezTo>
                    <a:cubicBezTo>
                      <a:pt x="19" y="193"/>
                      <a:pt x="15" y="188"/>
                      <a:pt x="15" y="183"/>
                    </a:cubicBezTo>
                    <a:cubicBezTo>
                      <a:pt x="15" y="25"/>
                      <a:pt x="15" y="25"/>
                      <a:pt x="15" y="25"/>
                    </a:cubicBezTo>
                    <a:cubicBezTo>
                      <a:pt x="15" y="19"/>
                      <a:pt x="19" y="14"/>
                      <a:pt x="25" y="14"/>
                    </a:cubicBezTo>
                    <a:cubicBezTo>
                      <a:pt x="146" y="14"/>
                      <a:pt x="146" y="14"/>
                      <a:pt x="146" y="14"/>
                    </a:cubicBezTo>
                    <a:cubicBezTo>
                      <a:pt x="152" y="14"/>
                      <a:pt x="157" y="19"/>
                      <a:pt x="157" y="25"/>
                    </a:cubicBezTo>
                    <a:lnTo>
                      <a:pt x="157" y="1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8" name="Oval 27"/>
              <p:cNvSpPr>
                <a:spLocks noChangeArrowheads="1"/>
              </p:cNvSpPr>
              <p:nvPr/>
            </p:nvSpPr>
            <p:spPr bwMode="black">
              <a:xfrm>
                <a:off x="62245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9" name="Oval 28"/>
              <p:cNvSpPr>
                <a:spLocks noChangeArrowheads="1"/>
              </p:cNvSpPr>
              <p:nvPr/>
            </p:nvSpPr>
            <p:spPr bwMode="black">
              <a:xfrm>
                <a:off x="64531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0" name="Oval 29"/>
              <p:cNvSpPr>
                <a:spLocks noChangeArrowheads="1"/>
              </p:cNvSpPr>
              <p:nvPr/>
            </p:nvSpPr>
            <p:spPr bwMode="black">
              <a:xfrm>
                <a:off x="6340476"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1" name="Freeform 30"/>
              <p:cNvSpPr>
                <a:spLocks/>
              </p:cNvSpPr>
              <p:nvPr/>
            </p:nvSpPr>
            <p:spPr bwMode="black">
              <a:xfrm>
                <a:off x="3425826" y="4279901"/>
                <a:ext cx="442913" cy="16192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2" name="Freeform 31"/>
              <p:cNvSpPr>
                <a:spLocks noEditPoints="1"/>
              </p:cNvSpPr>
              <p:nvPr/>
            </p:nvSpPr>
            <p:spPr bwMode="black">
              <a:xfrm>
                <a:off x="3414713" y="4456113"/>
                <a:ext cx="476250" cy="80962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grpSp>
        <p:nvGrpSpPr>
          <p:cNvPr id="50" name="Group 49"/>
          <p:cNvGrpSpPr/>
          <p:nvPr/>
        </p:nvGrpSpPr>
        <p:grpSpPr>
          <a:xfrm>
            <a:off x="507624" y="3011804"/>
            <a:ext cx="2620438" cy="1872234"/>
            <a:chOff x="676656" y="3949024"/>
            <a:chExt cx="3493008" cy="2496312"/>
          </a:xfrm>
        </p:grpSpPr>
        <p:sp>
          <p:nvSpPr>
            <p:cNvPr id="9" name="Dark Blue"/>
            <p:cNvSpPr/>
            <p:nvPr/>
          </p:nvSpPr>
          <p:spPr bwMode="auto">
            <a:xfrm>
              <a:off x="676656" y="3949024"/>
              <a:ext cx="3493008" cy="2496312"/>
            </a:xfrm>
            <a:prstGeom prst="roundRect">
              <a:avLst>
                <a:gd name="adj" fmla="val 0"/>
              </a:avLst>
            </a:prstGeom>
            <a:solidFill>
              <a:schemeClr val="bg1">
                <a:lumMod val="40000"/>
                <a:lumOff val="6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a:p>
              <a:pPr algn="ctr" defTabSz="685637"/>
              <a:r>
                <a:rPr lang="en-US" sz="1700" dirty="0">
                  <a:solidFill>
                    <a:srgbClr val="FFFFFF">
                      <a:alpha val="98824"/>
                    </a:srgbClr>
                  </a:solidFill>
                  <a:latin typeface="Segoe UI" pitchFamily="34" charset="0"/>
                  <a:ea typeface="Segoe UI" pitchFamily="34" charset="0"/>
                  <a:cs typeface="Segoe UI" pitchFamily="34" charset="0"/>
                </a:rPr>
                <a:t>Rich Platform</a:t>
              </a:r>
            </a:p>
          </p:txBody>
        </p:sp>
        <p:grpSp>
          <p:nvGrpSpPr>
            <p:cNvPr id="43" name="Group 42"/>
            <p:cNvGrpSpPr>
              <a:grpSpLocks noChangeAspect="1"/>
            </p:cNvGrpSpPr>
            <p:nvPr/>
          </p:nvGrpSpPr>
          <p:grpSpPr bwMode="black">
            <a:xfrm>
              <a:off x="1767586" y="4527235"/>
              <a:ext cx="1311149" cy="1014057"/>
              <a:chOff x="813584" y="4312262"/>
              <a:chExt cx="478309" cy="370027"/>
            </a:xfrm>
          </p:grpSpPr>
          <p:sp>
            <p:nvSpPr>
              <p:cNvPr id="44" name="Freeform 79"/>
              <p:cNvSpPr>
                <a:spLocks/>
              </p:cNvSpPr>
              <p:nvPr/>
            </p:nvSpPr>
            <p:spPr bwMode="black">
              <a:xfrm>
                <a:off x="813584" y="4503897"/>
                <a:ext cx="478309" cy="178392"/>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200"/>
              </a:p>
            </p:txBody>
          </p:sp>
          <p:sp>
            <p:nvSpPr>
              <p:cNvPr id="45" name="Freeform 80"/>
              <p:cNvSpPr>
                <a:spLocks noEditPoints="1"/>
              </p:cNvSpPr>
              <p:nvPr/>
            </p:nvSpPr>
            <p:spPr bwMode="black">
              <a:xfrm>
                <a:off x="813584" y="4312262"/>
                <a:ext cx="478309" cy="176834"/>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200"/>
              </a:p>
            </p:txBody>
          </p:sp>
        </p:grpSp>
      </p:grpSp>
      <p:grpSp>
        <p:nvGrpSpPr>
          <p:cNvPr id="51" name="Group 50"/>
          <p:cNvGrpSpPr/>
          <p:nvPr/>
        </p:nvGrpSpPr>
        <p:grpSpPr>
          <a:xfrm>
            <a:off x="3265259" y="3011804"/>
            <a:ext cx="2620438" cy="1872234"/>
            <a:chOff x="4366220" y="3949024"/>
            <a:chExt cx="3493008" cy="2496312"/>
          </a:xfrm>
        </p:grpSpPr>
        <p:sp>
          <p:nvSpPr>
            <p:cNvPr id="7" name="Orange"/>
            <p:cNvSpPr/>
            <p:nvPr/>
          </p:nvSpPr>
          <p:spPr bwMode="auto">
            <a:xfrm>
              <a:off x="4366220" y="3949024"/>
              <a:ext cx="3493008" cy="2496312"/>
            </a:xfrm>
            <a:prstGeom prst="roundRect">
              <a:avLst>
                <a:gd name="adj" fmla="val 0"/>
              </a:avLst>
            </a:prstGeom>
            <a:solidFill>
              <a:schemeClr val="bg1">
                <a:lumMod val="40000"/>
                <a:lumOff val="60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a:p>
              <a:pPr algn="ctr" defTabSz="685637"/>
              <a:r>
                <a:rPr lang="en-US" sz="1700" dirty="0">
                  <a:solidFill>
                    <a:schemeClr val="tx1">
                      <a:alpha val="99000"/>
                    </a:schemeClr>
                  </a:solidFill>
                  <a:latin typeface="Segoe UI" pitchFamily="34" charset="0"/>
                  <a:ea typeface="Segoe UI" pitchFamily="34" charset="0"/>
                  <a:cs typeface="Segoe UI" pitchFamily="34" charset="0"/>
                </a:rPr>
                <a:t>Standards-based</a:t>
              </a:r>
            </a:p>
          </p:txBody>
        </p:sp>
        <p:sp>
          <p:nvSpPr>
            <p:cNvPr id="46" name="Freeform 15"/>
            <p:cNvSpPr>
              <a:spLocks noChangeAspect="1" noEditPoints="1"/>
            </p:cNvSpPr>
            <p:nvPr/>
          </p:nvSpPr>
          <p:spPr bwMode="black">
            <a:xfrm>
              <a:off x="5519047" y="4352572"/>
              <a:ext cx="1187354" cy="1188720"/>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52"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53"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4"/>
              </a:rPr>
              <a:t>www.rapidbbs.cn</a:t>
            </a:r>
            <a:endParaRPr lang="zh-CN" altLang="en-US" sz="1200" b="0">
              <a:latin typeface="Arial" charset="0"/>
              <a:ea typeface="ＭＳ Ｐゴシック" pitchFamily="34" charset="-128"/>
            </a:endParaRPr>
          </a:p>
        </p:txBody>
      </p:sp>
      <p:pic>
        <p:nvPicPr>
          <p:cNvPr id="54" name="Picture 2">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598659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velopment Trends</a:t>
            </a:r>
            <a:endParaRPr lang="en-US" dirty="0"/>
          </a:p>
        </p:txBody>
      </p:sp>
      <p:grpSp>
        <p:nvGrpSpPr>
          <p:cNvPr id="51" name="Group 50"/>
          <p:cNvGrpSpPr/>
          <p:nvPr/>
        </p:nvGrpSpPr>
        <p:grpSpPr>
          <a:xfrm>
            <a:off x="4625782" y="1823906"/>
            <a:ext cx="2004144" cy="2003622"/>
            <a:chOff x="6166103" y="2431875"/>
            <a:chExt cx="2671496" cy="2671496"/>
          </a:xfrm>
        </p:grpSpPr>
        <p:sp>
          <p:nvSpPr>
            <p:cNvPr id="5" name="Rectangle 4"/>
            <p:cNvSpPr/>
            <p:nvPr/>
          </p:nvSpPr>
          <p:spPr bwMode="auto">
            <a:xfrm>
              <a:off x="6166103" y="2431875"/>
              <a:ext cx="2671496" cy="2671496"/>
            </a:xfrm>
            <a:prstGeom prst="rect">
              <a:avLst/>
            </a:prstGeom>
            <a:solidFill>
              <a:schemeClr val="tx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dirty="0" err="1">
                <a:gradFill>
                  <a:gsLst>
                    <a:gs pos="0">
                      <a:srgbClr val="FFFFFF"/>
                    </a:gs>
                    <a:gs pos="100000">
                      <a:srgbClr val="FFFFFF"/>
                    </a:gs>
                  </a:gsLst>
                  <a:lin ang="5400000" scaled="0"/>
                </a:gradFill>
              </a:endParaRPr>
            </a:p>
          </p:txBody>
        </p:sp>
        <p:sp>
          <p:nvSpPr>
            <p:cNvPr id="9" name="TextBox 8"/>
            <p:cNvSpPr txBox="1"/>
            <p:nvPr/>
          </p:nvSpPr>
          <p:spPr>
            <a:xfrm>
              <a:off x="6275561" y="2607174"/>
              <a:ext cx="2452580" cy="553998"/>
            </a:xfrm>
            <a:prstGeom prst="rect">
              <a:avLst/>
            </a:prstGeom>
            <a:noFill/>
          </p:spPr>
          <p:txBody>
            <a:bodyPr wrap="square" lIns="0" tIns="0" rIns="0" bIns="0" rtlCol="0">
              <a:spAutoFit/>
            </a:bodyPr>
            <a:lstStyle/>
            <a:p>
              <a:r>
                <a:rPr lang="en-US" sz="2700" dirty="0">
                  <a:solidFill>
                    <a:schemeClr val="bg2"/>
                  </a:solidFill>
                  <a:latin typeface="Segoe UI Light" pitchFamily="34" charset="0"/>
                </a:rPr>
                <a:t>Team</a:t>
              </a:r>
            </a:p>
          </p:txBody>
        </p:sp>
        <p:sp>
          <p:nvSpPr>
            <p:cNvPr id="10" name="Freeform 741"/>
            <p:cNvSpPr>
              <a:spLocks noChangeAspect="1"/>
            </p:cNvSpPr>
            <p:nvPr/>
          </p:nvSpPr>
          <p:spPr bwMode="auto">
            <a:xfrm>
              <a:off x="8119091" y="4311349"/>
              <a:ext cx="347545" cy="696721"/>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solidFill>
              <a:schemeClr val="bg2"/>
            </a:solidFill>
            <a:ln>
              <a:noFill/>
            </a:ln>
            <a:extLst/>
          </p:spPr>
          <p:txBody>
            <a:bodyPr vert="horz" wrap="square" lIns="91440" tIns="274320" rIns="91440" bIns="45720" numCol="1" anchor="t" anchorCtr="0" compatLnSpc="1">
              <a:prstTxWarp prst="textNoShape">
                <a:avLst/>
              </a:prstTxWarp>
            </a:bodyPr>
            <a:lstStyle/>
            <a:p>
              <a:endParaRPr lang="en-US"/>
            </a:p>
          </p:txBody>
        </p:sp>
        <p:sp>
          <p:nvSpPr>
            <p:cNvPr id="11" name="Oval 742"/>
            <p:cNvSpPr>
              <a:spLocks noChangeAspect="1" noChangeArrowheads="1"/>
            </p:cNvSpPr>
            <p:nvPr/>
          </p:nvSpPr>
          <p:spPr bwMode="auto">
            <a:xfrm>
              <a:off x="8175220" y="4128603"/>
              <a:ext cx="207221" cy="208853"/>
            </a:xfrm>
            <a:prstGeom prst="ellipse">
              <a:avLst/>
            </a:prstGeom>
            <a:solidFill>
              <a:schemeClr val="bg2"/>
            </a:solidFill>
            <a:ln>
              <a:noFill/>
            </a:ln>
            <a:extLst/>
          </p:spPr>
          <p:txBody>
            <a:bodyPr vert="horz" wrap="square" lIns="91440" tIns="274320" rIns="91440" bIns="45720" numCol="1" anchor="t" anchorCtr="0" compatLnSpc="1">
              <a:prstTxWarp prst="textNoShape">
                <a:avLst/>
              </a:prstTxWarp>
            </a:bodyPr>
            <a:lstStyle/>
            <a:p>
              <a:endParaRPr lang="en-US"/>
            </a:p>
          </p:txBody>
        </p:sp>
        <p:sp>
          <p:nvSpPr>
            <p:cNvPr id="12" name="Freeform 743"/>
            <p:cNvSpPr>
              <a:spLocks noChangeAspect="1"/>
            </p:cNvSpPr>
            <p:nvPr/>
          </p:nvSpPr>
          <p:spPr bwMode="auto">
            <a:xfrm>
              <a:off x="8483575" y="4332234"/>
              <a:ext cx="292069" cy="593926"/>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7 w 76"/>
                <a:gd name="T15" fmla="*/ 154 h 154"/>
                <a:gd name="T16" fmla="*/ 48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7" y="154"/>
                  </a:cubicBezTo>
                  <a:cubicBezTo>
                    <a:pt x="48" y="154"/>
                    <a:pt x="48" y="154"/>
                    <a:pt x="48"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solidFill>
              <a:schemeClr val="bg2"/>
            </a:solidFill>
            <a:ln>
              <a:noFill/>
            </a:ln>
            <a:extLst/>
          </p:spPr>
          <p:txBody>
            <a:bodyPr vert="horz" wrap="square" lIns="91440" tIns="274320" rIns="91440" bIns="45720" numCol="1" anchor="t" anchorCtr="0" compatLnSpc="1">
              <a:prstTxWarp prst="textNoShape">
                <a:avLst/>
              </a:prstTxWarp>
            </a:bodyPr>
            <a:lstStyle/>
            <a:p>
              <a:endParaRPr lang="en-US"/>
            </a:p>
          </p:txBody>
        </p:sp>
        <p:sp>
          <p:nvSpPr>
            <p:cNvPr id="13" name="Oval 744"/>
            <p:cNvSpPr>
              <a:spLocks noChangeAspect="1" noChangeArrowheads="1"/>
            </p:cNvSpPr>
            <p:nvPr/>
          </p:nvSpPr>
          <p:spPr bwMode="auto">
            <a:xfrm>
              <a:off x="8529262" y="4175595"/>
              <a:ext cx="177851" cy="176220"/>
            </a:xfrm>
            <a:prstGeom prst="ellipse">
              <a:avLst/>
            </a:prstGeom>
            <a:solidFill>
              <a:schemeClr val="bg2"/>
            </a:solidFill>
            <a:ln>
              <a:noFill/>
            </a:ln>
            <a:extLst/>
          </p:spPr>
          <p:txBody>
            <a:bodyPr vert="horz" wrap="square" lIns="91440" tIns="274320" rIns="91440" bIns="45720" numCol="1" anchor="t" anchorCtr="0" compatLnSpc="1">
              <a:prstTxWarp prst="textNoShape">
                <a:avLst/>
              </a:prstTxWarp>
            </a:bodyPr>
            <a:lstStyle/>
            <a:p>
              <a:endParaRPr lang="en-US"/>
            </a:p>
          </p:txBody>
        </p:sp>
        <p:sp>
          <p:nvSpPr>
            <p:cNvPr id="14" name="Freeform 745"/>
            <p:cNvSpPr>
              <a:spLocks noChangeAspect="1"/>
            </p:cNvSpPr>
            <p:nvPr/>
          </p:nvSpPr>
          <p:spPr bwMode="auto">
            <a:xfrm>
              <a:off x="7798988" y="4332234"/>
              <a:ext cx="292069" cy="593926"/>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solidFill>
              <a:schemeClr val="bg2"/>
            </a:solidFill>
            <a:ln>
              <a:noFill/>
            </a:ln>
            <a:extLst/>
          </p:spPr>
          <p:txBody>
            <a:bodyPr vert="horz" wrap="square" lIns="91440" tIns="274320" rIns="91440" bIns="45720" numCol="1" anchor="t" anchorCtr="0" compatLnSpc="1">
              <a:prstTxWarp prst="textNoShape">
                <a:avLst/>
              </a:prstTxWarp>
            </a:bodyPr>
            <a:lstStyle/>
            <a:p>
              <a:endParaRPr lang="en-US"/>
            </a:p>
          </p:txBody>
        </p:sp>
        <p:sp>
          <p:nvSpPr>
            <p:cNvPr id="15" name="Oval 746"/>
            <p:cNvSpPr>
              <a:spLocks noChangeAspect="1" noChangeArrowheads="1"/>
            </p:cNvSpPr>
            <p:nvPr/>
          </p:nvSpPr>
          <p:spPr bwMode="auto">
            <a:xfrm>
              <a:off x="7844675" y="4175595"/>
              <a:ext cx="177851" cy="176220"/>
            </a:xfrm>
            <a:prstGeom prst="ellipse">
              <a:avLst/>
            </a:prstGeom>
            <a:solidFill>
              <a:schemeClr val="bg2"/>
            </a:solidFill>
            <a:ln>
              <a:noFill/>
            </a:ln>
            <a:extLst/>
          </p:spPr>
          <p:txBody>
            <a:bodyPr vert="horz" wrap="square" lIns="91440" tIns="274320" rIns="91440" bIns="45720" numCol="1" anchor="t" anchorCtr="0" compatLnSpc="1">
              <a:prstTxWarp prst="textNoShape">
                <a:avLst/>
              </a:prstTxWarp>
            </a:bodyPr>
            <a:lstStyle/>
            <a:p>
              <a:endParaRPr lang="en-US"/>
            </a:p>
          </p:txBody>
        </p:sp>
      </p:grpSp>
      <p:grpSp>
        <p:nvGrpSpPr>
          <p:cNvPr id="50" name="Group 49"/>
          <p:cNvGrpSpPr/>
          <p:nvPr/>
        </p:nvGrpSpPr>
        <p:grpSpPr>
          <a:xfrm>
            <a:off x="2509310" y="1819294"/>
            <a:ext cx="2004144" cy="2003622"/>
            <a:chOff x="3344876" y="2425725"/>
            <a:chExt cx="2671496" cy="2671496"/>
          </a:xfrm>
        </p:grpSpPr>
        <p:sp>
          <p:nvSpPr>
            <p:cNvPr id="4" name="Rectangle 3"/>
            <p:cNvSpPr/>
            <p:nvPr/>
          </p:nvSpPr>
          <p:spPr bwMode="auto">
            <a:xfrm>
              <a:off x="3344876" y="2425725"/>
              <a:ext cx="2671496" cy="2671496"/>
            </a:xfrm>
            <a:prstGeom prst="rect">
              <a:avLst/>
            </a:prstGeom>
            <a:solidFill>
              <a:schemeClr val="tx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dirty="0" err="1">
                <a:gradFill>
                  <a:gsLst>
                    <a:gs pos="0">
                      <a:srgbClr val="FFFFFF"/>
                    </a:gs>
                    <a:gs pos="100000">
                      <a:srgbClr val="FFFFFF"/>
                    </a:gs>
                  </a:gsLst>
                  <a:lin ang="5400000" scaled="0"/>
                </a:gradFill>
              </a:endParaRPr>
            </a:p>
          </p:txBody>
        </p:sp>
        <p:sp>
          <p:nvSpPr>
            <p:cNvPr id="8" name="TextBox 7"/>
            <p:cNvSpPr txBox="1"/>
            <p:nvPr/>
          </p:nvSpPr>
          <p:spPr>
            <a:xfrm>
              <a:off x="3454334" y="2607174"/>
              <a:ext cx="2452580" cy="553998"/>
            </a:xfrm>
            <a:prstGeom prst="rect">
              <a:avLst/>
            </a:prstGeom>
            <a:noFill/>
          </p:spPr>
          <p:txBody>
            <a:bodyPr wrap="square" lIns="0" tIns="0" rIns="0" bIns="0" rtlCol="0">
              <a:spAutoFit/>
            </a:bodyPr>
            <a:lstStyle/>
            <a:p>
              <a:r>
                <a:rPr lang="en-US" sz="2700" dirty="0">
                  <a:solidFill>
                    <a:schemeClr val="bg2"/>
                  </a:solidFill>
                  <a:latin typeface="Segoe UI Light" pitchFamily="34" charset="0"/>
                </a:rPr>
                <a:t>Innovation</a:t>
              </a:r>
            </a:p>
          </p:txBody>
        </p:sp>
        <p:grpSp>
          <p:nvGrpSpPr>
            <p:cNvPr id="17" name="Group 16"/>
            <p:cNvGrpSpPr>
              <a:grpSpLocks noChangeAspect="1"/>
            </p:cNvGrpSpPr>
            <p:nvPr/>
          </p:nvGrpSpPr>
          <p:grpSpPr bwMode="black">
            <a:xfrm>
              <a:off x="5470595" y="4057866"/>
              <a:ext cx="370526" cy="905206"/>
              <a:chOff x="3233738" y="168276"/>
              <a:chExt cx="2651125" cy="6480174"/>
            </a:xfrm>
            <a:solidFill>
              <a:schemeClr val="bg2"/>
            </a:solidFill>
          </p:grpSpPr>
          <p:sp>
            <p:nvSpPr>
              <p:cNvPr id="18"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9"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0"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grpSp>
        <p:nvGrpSpPr>
          <p:cNvPr id="49" name="Group 48"/>
          <p:cNvGrpSpPr/>
          <p:nvPr/>
        </p:nvGrpSpPr>
        <p:grpSpPr>
          <a:xfrm>
            <a:off x="392839" y="1819294"/>
            <a:ext cx="2004144" cy="2003622"/>
            <a:chOff x="523649" y="2425725"/>
            <a:chExt cx="2671496" cy="2671496"/>
          </a:xfrm>
        </p:grpSpPr>
        <p:sp>
          <p:nvSpPr>
            <p:cNvPr id="3" name="Rectangle 2"/>
            <p:cNvSpPr/>
            <p:nvPr/>
          </p:nvSpPr>
          <p:spPr bwMode="auto">
            <a:xfrm>
              <a:off x="523649" y="2425725"/>
              <a:ext cx="2671496" cy="2671496"/>
            </a:xfrm>
            <a:prstGeom prst="rect">
              <a:avLst/>
            </a:prstGeom>
            <a:solidFill>
              <a:schemeClr val="tx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dirty="0" err="1">
                <a:gradFill>
                  <a:gsLst>
                    <a:gs pos="0">
                      <a:srgbClr val="FFFFFF"/>
                    </a:gs>
                    <a:gs pos="100000">
                      <a:srgbClr val="FFFFFF"/>
                    </a:gs>
                  </a:gsLst>
                  <a:lin ang="5400000" scaled="0"/>
                </a:gradFill>
              </a:endParaRPr>
            </a:p>
          </p:txBody>
        </p:sp>
        <p:sp>
          <p:nvSpPr>
            <p:cNvPr id="7" name="TextBox 6"/>
            <p:cNvSpPr txBox="1"/>
            <p:nvPr/>
          </p:nvSpPr>
          <p:spPr>
            <a:xfrm>
              <a:off x="627233" y="2607174"/>
              <a:ext cx="2452580" cy="553998"/>
            </a:xfrm>
            <a:prstGeom prst="rect">
              <a:avLst/>
            </a:prstGeom>
            <a:noFill/>
          </p:spPr>
          <p:txBody>
            <a:bodyPr wrap="square" lIns="0" tIns="0" rIns="0" bIns="0" rtlCol="0">
              <a:spAutoFit/>
            </a:bodyPr>
            <a:lstStyle/>
            <a:p>
              <a:r>
                <a:rPr lang="en-US" sz="2700" dirty="0">
                  <a:solidFill>
                    <a:schemeClr val="bg2"/>
                  </a:solidFill>
                  <a:latin typeface="Segoe UI Light" pitchFamily="34" charset="0"/>
                </a:rPr>
                <a:t>Growth</a:t>
              </a:r>
            </a:p>
          </p:txBody>
        </p:sp>
        <p:sp>
          <p:nvSpPr>
            <p:cNvPr id="21" name="Freeform 20"/>
            <p:cNvSpPr>
              <a:spLocks noEditPoints="1"/>
            </p:cNvSpPr>
            <p:nvPr/>
          </p:nvSpPr>
          <p:spPr bwMode="black">
            <a:xfrm>
              <a:off x="2023779" y="4100688"/>
              <a:ext cx="994928" cy="862384"/>
            </a:xfrm>
            <a:custGeom>
              <a:avLst/>
              <a:gdLst>
                <a:gd name="T0" fmla="*/ 243 w 708"/>
                <a:gd name="T1" fmla="*/ 484 h 614"/>
                <a:gd name="T2" fmla="*/ 243 w 708"/>
                <a:gd name="T3" fmla="*/ 614 h 614"/>
                <a:gd name="T4" fmla="*/ 0 w 708"/>
                <a:gd name="T5" fmla="*/ 614 h 614"/>
                <a:gd name="T6" fmla="*/ 104 w 708"/>
                <a:gd name="T7" fmla="*/ 437 h 614"/>
                <a:gd name="T8" fmla="*/ 174 w 708"/>
                <a:gd name="T9" fmla="*/ 437 h 614"/>
                <a:gd name="T10" fmla="*/ 134 w 708"/>
                <a:gd name="T11" fmla="*/ 484 h 614"/>
                <a:gd name="T12" fmla="*/ 243 w 708"/>
                <a:gd name="T13" fmla="*/ 484 h 614"/>
                <a:gd name="T14" fmla="*/ 574 w 708"/>
                <a:gd name="T15" fmla="*/ 484 h 614"/>
                <a:gd name="T16" fmla="*/ 465 w 708"/>
                <a:gd name="T17" fmla="*/ 484 h 614"/>
                <a:gd name="T18" fmla="*/ 465 w 708"/>
                <a:gd name="T19" fmla="*/ 614 h 614"/>
                <a:gd name="T20" fmla="*/ 465 w 708"/>
                <a:gd name="T21" fmla="*/ 614 h 614"/>
                <a:gd name="T22" fmla="*/ 708 w 708"/>
                <a:gd name="T23" fmla="*/ 614 h 614"/>
                <a:gd name="T24" fmla="*/ 604 w 708"/>
                <a:gd name="T25" fmla="*/ 437 h 614"/>
                <a:gd name="T26" fmla="*/ 533 w 708"/>
                <a:gd name="T27" fmla="*/ 437 h 614"/>
                <a:gd name="T28" fmla="*/ 574 w 708"/>
                <a:gd name="T29" fmla="*/ 484 h 614"/>
                <a:gd name="T30" fmla="*/ 354 w 708"/>
                <a:gd name="T31" fmla="*/ 229 h 614"/>
                <a:gd name="T32" fmla="*/ 507 w 708"/>
                <a:gd name="T33" fmla="*/ 408 h 614"/>
                <a:gd name="T34" fmla="*/ 590 w 708"/>
                <a:gd name="T35" fmla="*/ 408 h 614"/>
                <a:gd name="T36" fmla="*/ 486 w 708"/>
                <a:gd name="T37" fmla="*/ 229 h 614"/>
                <a:gd name="T38" fmla="*/ 222 w 708"/>
                <a:gd name="T39" fmla="*/ 229 h 614"/>
                <a:gd name="T40" fmla="*/ 118 w 708"/>
                <a:gd name="T41" fmla="*/ 408 h 614"/>
                <a:gd name="T42" fmla="*/ 200 w 708"/>
                <a:gd name="T43" fmla="*/ 408 h 614"/>
                <a:gd name="T44" fmla="*/ 354 w 708"/>
                <a:gd name="T45" fmla="*/ 229 h 614"/>
                <a:gd name="T46" fmla="*/ 354 w 708"/>
                <a:gd name="T47" fmla="*/ 0 h 614"/>
                <a:gd name="T48" fmla="*/ 238 w 708"/>
                <a:gd name="T49" fmla="*/ 200 h 614"/>
                <a:gd name="T50" fmla="*/ 470 w 708"/>
                <a:gd name="T51" fmla="*/ 200 h 614"/>
                <a:gd name="T52" fmla="*/ 354 w 708"/>
                <a:gd name="T53" fmla="*/ 0 h 614"/>
                <a:gd name="T54" fmla="*/ 354 w 708"/>
                <a:gd name="T55" fmla="*/ 274 h 614"/>
                <a:gd name="T56" fmla="*/ 196 w 708"/>
                <a:gd name="T57" fmla="*/ 463 h 614"/>
                <a:gd name="T58" fmla="*/ 278 w 708"/>
                <a:gd name="T59" fmla="*/ 463 h 614"/>
                <a:gd name="T60" fmla="*/ 278 w 708"/>
                <a:gd name="T61" fmla="*/ 614 h 614"/>
                <a:gd name="T62" fmla="*/ 430 w 708"/>
                <a:gd name="T63" fmla="*/ 614 h 614"/>
                <a:gd name="T64" fmla="*/ 430 w 708"/>
                <a:gd name="T65" fmla="*/ 463 h 614"/>
                <a:gd name="T66" fmla="*/ 515 w 708"/>
                <a:gd name="T67" fmla="*/ 463 h 614"/>
                <a:gd name="T68" fmla="*/ 354 w 708"/>
                <a:gd name="T69" fmla="*/ 274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614">
                  <a:moveTo>
                    <a:pt x="243" y="484"/>
                  </a:moveTo>
                  <a:lnTo>
                    <a:pt x="243" y="614"/>
                  </a:lnTo>
                  <a:lnTo>
                    <a:pt x="0" y="614"/>
                  </a:lnTo>
                  <a:lnTo>
                    <a:pt x="104" y="437"/>
                  </a:lnTo>
                  <a:lnTo>
                    <a:pt x="174" y="437"/>
                  </a:lnTo>
                  <a:lnTo>
                    <a:pt x="134" y="484"/>
                  </a:lnTo>
                  <a:lnTo>
                    <a:pt x="243" y="484"/>
                  </a:lnTo>
                  <a:close/>
                  <a:moveTo>
                    <a:pt x="574" y="484"/>
                  </a:moveTo>
                  <a:lnTo>
                    <a:pt x="465" y="484"/>
                  </a:lnTo>
                  <a:lnTo>
                    <a:pt x="465" y="614"/>
                  </a:lnTo>
                  <a:lnTo>
                    <a:pt x="465" y="614"/>
                  </a:lnTo>
                  <a:lnTo>
                    <a:pt x="708" y="614"/>
                  </a:lnTo>
                  <a:lnTo>
                    <a:pt x="604" y="437"/>
                  </a:lnTo>
                  <a:lnTo>
                    <a:pt x="533" y="437"/>
                  </a:lnTo>
                  <a:lnTo>
                    <a:pt x="574" y="484"/>
                  </a:lnTo>
                  <a:close/>
                  <a:moveTo>
                    <a:pt x="354" y="229"/>
                  </a:moveTo>
                  <a:lnTo>
                    <a:pt x="507" y="408"/>
                  </a:lnTo>
                  <a:lnTo>
                    <a:pt x="590" y="408"/>
                  </a:lnTo>
                  <a:lnTo>
                    <a:pt x="486" y="229"/>
                  </a:lnTo>
                  <a:lnTo>
                    <a:pt x="222" y="229"/>
                  </a:lnTo>
                  <a:lnTo>
                    <a:pt x="118" y="408"/>
                  </a:lnTo>
                  <a:lnTo>
                    <a:pt x="200" y="408"/>
                  </a:lnTo>
                  <a:lnTo>
                    <a:pt x="354" y="229"/>
                  </a:lnTo>
                  <a:close/>
                  <a:moveTo>
                    <a:pt x="354" y="0"/>
                  </a:moveTo>
                  <a:lnTo>
                    <a:pt x="238" y="200"/>
                  </a:lnTo>
                  <a:lnTo>
                    <a:pt x="470" y="200"/>
                  </a:lnTo>
                  <a:lnTo>
                    <a:pt x="354" y="0"/>
                  </a:lnTo>
                  <a:close/>
                  <a:moveTo>
                    <a:pt x="354" y="274"/>
                  </a:moveTo>
                  <a:lnTo>
                    <a:pt x="196" y="463"/>
                  </a:lnTo>
                  <a:lnTo>
                    <a:pt x="278" y="463"/>
                  </a:lnTo>
                  <a:lnTo>
                    <a:pt x="278" y="614"/>
                  </a:lnTo>
                  <a:lnTo>
                    <a:pt x="430" y="614"/>
                  </a:lnTo>
                  <a:lnTo>
                    <a:pt x="430" y="463"/>
                  </a:lnTo>
                  <a:lnTo>
                    <a:pt x="515" y="463"/>
                  </a:lnTo>
                  <a:lnTo>
                    <a:pt x="354" y="274"/>
                  </a:lnTo>
                  <a:close/>
                </a:path>
              </a:pathLst>
            </a:custGeom>
            <a:solidFill>
              <a:schemeClr val="bg2"/>
            </a:solidFill>
            <a:ln>
              <a:noFill/>
            </a:ln>
            <a:extLst/>
          </p:spPr>
          <p:txBody>
            <a:bodyPr vert="horz" wrap="square" lIns="82305" tIns="41153" rIns="82305" bIns="41153" numCol="1" anchor="t" anchorCtr="0" compatLnSpc="1">
              <a:prstTxWarp prst="textNoShape">
                <a:avLst/>
              </a:prstTxWarp>
            </a:bodyPr>
            <a:lstStyle/>
            <a:p>
              <a:endParaRPr lang="en-US" sz="1200"/>
            </a:p>
          </p:txBody>
        </p:sp>
      </p:grpSp>
      <p:grpSp>
        <p:nvGrpSpPr>
          <p:cNvPr id="52" name="Group 51"/>
          <p:cNvGrpSpPr/>
          <p:nvPr/>
        </p:nvGrpSpPr>
        <p:grpSpPr>
          <a:xfrm>
            <a:off x="6742254" y="1823906"/>
            <a:ext cx="2004144" cy="2003622"/>
            <a:chOff x="8987331" y="2431875"/>
            <a:chExt cx="2671496" cy="2671496"/>
          </a:xfrm>
        </p:grpSpPr>
        <p:sp>
          <p:nvSpPr>
            <p:cNvPr id="6" name="Rectangle 5"/>
            <p:cNvSpPr/>
            <p:nvPr/>
          </p:nvSpPr>
          <p:spPr bwMode="auto">
            <a:xfrm>
              <a:off x="8987331" y="2431875"/>
              <a:ext cx="2671496" cy="2671496"/>
            </a:xfrm>
            <a:prstGeom prst="rect">
              <a:avLst/>
            </a:prstGeom>
            <a:solidFill>
              <a:schemeClr val="tx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dirty="0" err="1">
                <a:gradFill>
                  <a:gsLst>
                    <a:gs pos="0">
                      <a:srgbClr val="FFFFFF"/>
                    </a:gs>
                    <a:gs pos="100000">
                      <a:srgbClr val="FFFFFF"/>
                    </a:gs>
                  </a:gsLst>
                  <a:lin ang="5400000" scaled="0"/>
                </a:gradFill>
              </a:endParaRPr>
            </a:p>
          </p:txBody>
        </p:sp>
        <p:sp>
          <p:nvSpPr>
            <p:cNvPr id="16" name="TextBox 15"/>
            <p:cNvSpPr txBox="1"/>
            <p:nvPr/>
          </p:nvSpPr>
          <p:spPr>
            <a:xfrm>
              <a:off x="9096789" y="2607174"/>
              <a:ext cx="2452580" cy="553998"/>
            </a:xfrm>
            <a:prstGeom prst="rect">
              <a:avLst/>
            </a:prstGeom>
            <a:noFill/>
          </p:spPr>
          <p:txBody>
            <a:bodyPr wrap="square" lIns="0" tIns="0" rIns="0" bIns="0" rtlCol="0">
              <a:spAutoFit/>
            </a:bodyPr>
            <a:lstStyle/>
            <a:p>
              <a:r>
                <a:rPr lang="en-US" sz="2700" dirty="0">
                  <a:solidFill>
                    <a:schemeClr val="bg2"/>
                  </a:solidFill>
                  <a:latin typeface="Segoe UI Light" pitchFamily="34" charset="0"/>
                </a:rPr>
                <a:t>Cloud</a:t>
              </a:r>
            </a:p>
          </p:txBody>
        </p:sp>
        <p:grpSp>
          <p:nvGrpSpPr>
            <p:cNvPr id="22" name="Group 21"/>
            <p:cNvGrpSpPr>
              <a:grpSpLocks noChangeAspect="1"/>
            </p:cNvGrpSpPr>
            <p:nvPr/>
          </p:nvGrpSpPr>
          <p:grpSpPr bwMode="black">
            <a:xfrm>
              <a:off x="10268798" y="3892594"/>
              <a:ext cx="1190786" cy="1033566"/>
              <a:chOff x="2462213" y="1598613"/>
              <a:chExt cx="4222750" cy="3667125"/>
            </a:xfrm>
            <a:solidFill>
              <a:schemeClr val="bg2"/>
            </a:solidFill>
          </p:grpSpPr>
          <p:sp>
            <p:nvSpPr>
              <p:cNvPr id="23" name="Rectangle 6"/>
              <p:cNvSpPr>
                <a:spLocks noChangeArrowheads="1"/>
              </p:cNvSpPr>
              <p:nvPr/>
            </p:nvSpPr>
            <p:spPr bwMode="black">
              <a:xfrm>
                <a:off x="5564188" y="3346451"/>
                <a:ext cx="115888"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4" name="Rectangle 7"/>
              <p:cNvSpPr>
                <a:spLocks noChangeArrowheads="1"/>
              </p:cNvSpPr>
              <p:nvPr/>
            </p:nvSpPr>
            <p:spPr bwMode="black">
              <a:xfrm>
                <a:off x="5795963" y="3346451"/>
                <a:ext cx="11271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5" name="Rectangle 8"/>
              <p:cNvSpPr>
                <a:spLocks noChangeArrowheads="1"/>
              </p:cNvSpPr>
              <p:nvPr/>
            </p:nvSpPr>
            <p:spPr bwMode="black">
              <a:xfrm>
                <a:off x="3092451" y="3346451"/>
                <a:ext cx="115888"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6" name="Rectangle 9"/>
              <p:cNvSpPr>
                <a:spLocks noChangeArrowheads="1"/>
              </p:cNvSpPr>
              <p:nvPr/>
            </p:nvSpPr>
            <p:spPr bwMode="black">
              <a:xfrm>
                <a:off x="3324226" y="3346451"/>
                <a:ext cx="117475"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7" name="Freeform 10"/>
              <p:cNvSpPr>
                <a:spLocks/>
              </p:cNvSpPr>
              <p:nvPr/>
            </p:nvSpPr>
            <p:spPr bwMode="black">
              <a:xfrm>
                <a:off x="3902076" y="2506663"/>
                <a:ext cx="101600" cy="123825"/>
              </a:xfrm>
              <a:custGeom>
                <a:avLst/>
                <a:gdLst>
                  <a:gd name="T0" fmla="*/ 36 w 64"/>
                  <a:gd name="T1" fmla="*/ 78 h 78"/>
                  <a:gd name="T2" fmla="*/ 64 w 64"/>
                  <a:gd name="T3" fmla="*/ 64 h 78"/>
                  <a:gd name="T4" fmla="*/ 26 w 64"/>
                  <a:gd name="T5" fmla="*/ 0 h 78"/>
                  <a:gd name="T6" fmla="*/ 0 w 64"/>
                  <a:gd name="T7" fmla="*/ 17 h 78"/>
                  <a:gd name="T8" fmla="*/ 36 w 64"/>
                  <a:gd name="T9" fmla="*/ 78 h 78"/>
                </a:gdLst>
                <a:ahLst/>
                <a:cxnLst>
                  <a:cxn ang="0">
                    <a:pos x="T0" y="T1"/>
                  </a:cxn>
                  <a:cxn ang="0">
                    <a:pos x="T2" y="T3"/>
                  </a:cxn>
                  <a:cxn ang="0">
                    <a:pos x="T4" y="T5"/>
                  </a:cxn>
                  <a:cxn ang="0">
                    <a:pos x="T6" y="T7"/>
                  </a:cxn>
                  <a:cxn ang="0">
                    <a:pos x="T8" y="T9"/>
                  </a:cxn>
                </a:cxnLst>
                <a:rect l="0" t="0" r="r" b="b"/>
                <a:pathLst>
                  <a:path w="64" h="78">
                    <a:moveTo>
                      <a:pt x="36" y="78"/>
                    </a:moveTo>
                    <a:lnTo>
                      <a:pt x="64" y="64"/>
                    </a:lnTo>
                    <a:lnTo>
                      <a:pt x="26" y="0"/>
                    </a:lnTo>
                    <a:lnTo>
                      <a:pt x="0" y="17"/>
                    </a:lnTo>
                    <a:lnTo>
                      <a:pt x="3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8" name="Freeform 11"/>
              <p:cNvSpPr>
                <a:spLocks/>
              </p:cNvSpPr>
              <p:nvPr/>
            </p:nvSpPr>
            <p:spPr bwMode="black">
              <a:xfrm>
                <a:off x="4017963" y="2709863"/>
                <a:ext cx="98425" cy="123825"/>
              </a:xfrm>
              <a:custGeom>
                <a:avLst/>
                <a:gdLst>
                  <a:gd name="T0" fmla="*/ 36 w 62"/>
                  <a:gd name="T1" fmla="*/ 78 h 78"/>
                  <a:gd name="T2" fmla="*/ 62 w 62"/>
                  <a:gd name="T3" fmla="*/ 61 h 78"/>
                  <a:gd name="T4" fmla="*/ 26 w 62"/>
                  <a:gd name="T5" fmla="*/ 0 h 78"/>
                  <a:gd name="T6" fmla="*/ 0 w 62"/>
                  <a:gd name="T7" fmla="*/ 14 h 78"/>
                  <a:gd name="T8" fmla="*/ 36 w 62"/>
                  <a:gd name="T9" fmla="*/ 78 h 78"/>
                </a:gdLst>
                <a:ahLst/>
                <a:cxnLst>
                  <a:cxn ang="0">
                    <a:pos x="T0" y="T1"/>
                  </a:cxn>
                  <a:cxn ang="0">
                    <a:pos x="T2" y="T3"/>
                  </a:cxn>
                  <a:cxn ang="0">
                    <a:pos x="T4" y="T5"/>
                  </a:cxn>
                  <a:cxn ang="0">
                    <a:pos x="T6" y="T7"/>
                  </a:cxn>
                  <a:cxn ang="0">
                    <a:pos x="T8" y="T9"/>
                  </a:cxn>
                </a:cxnLst>
                <a:rect l="0" t="0" r="r" b="b"/>
                <a:pathLst>
                  <a:path w="62" h="78">
                    <a:moveTo>
                      <a:pt x="36" y="78"/>
                    </a:moveTo>
                    <a:lnTo>
                      <a:pt x="62" y="61"/>
                    </a:lnTo>
                    <a:lnTo>
                      <a:pt x="26" y="0"/>
                    </a:lnTo>
                    <a:lnTo>
                      <a:pt x="0" y="14"/>
                    </a:lnTo>
                    <a:lnTo>
                      <a:pt x="3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9" name="Freeform 12"/>
              <p:cNvSpPr>
                <a:spLocks/>
              </p:cNvSpPr>
              <p:nvPr/>
            </p:nvSpPr>
            <p:spPr bwMode="black">
              <a:xfrm>
                <a:off x="4873626" y="2709863"/>
                <a:ext cx="98425" cy="123825"/>
              </a:xfrm>
              <a:custGeom>
                <a:avLst/>
                <a:gdLst>
                  <a:gd name="T0" fmla="*/ 26 w 62"/>
                  <a:gd name="T1" fmla="*/ 78 h 78"/>
                  <a:gd name="T2" fmla="*/ 62 w 62"/>
                  <a:gd name="T3" fmla="*/ 14 h 78"/>
                  <a:gd name="T4" fmla="*/ 36 w 62"/>
                  <a:gd name="T5" fmla="*/ 0 h 78"/>
                  <a:gd name="T6" fmla="*/ 0 w 62"/>
                  <a:gd name="T7" fmla="*/ 61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4"/>
                    </a:lnTo>
                    <a:lnTo>
                      <a:pt x="36" y="0"/>
                    </a:lnTo>
                    <a:lnTo>
                      <a:pt x="0" y="61"/>
                    </a:lnTo>
                    <a:lnTo>
                      <a:pt x="2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0" name="Freeform 13"/>
              <p:cNvSpPr>
                <a:spLocks/>
              </p:cNvSpPr>
              <p:nvPr/>
            </p:nvSpPr>
            <p:spPr bwMode="black">
              <a:xfrm>
                <a:off x="4989513" y="2506663"/>
                <a:ext cx="98425" cy="123825"/>
              </a:xfrm>
              <a:custGeom>
                <a:avLst/>
                <a:gdLst>
                  <a:gd name="T0" fmla="*/ 26 w 62"/>
                  <a:gd name="T1" fmla="*/ 78 h 78"/>
                  <a:gd name="T2" fmla="*/ 62 w 62"/>
                  <a:gd name="T3" fmla="*/ 17 h 78"/>
                  <a:gd name="T4" fmla="*/ 36 w 62"/>
                  <a:gd name="T5" fmla="*/ 0 h 78"/>
                  <a:gd name="T6" fmla="*/ 0 w 62"/>
                  <a:gd name="T7" fmla="*/ 64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7"/>
                    </a:lnTo>
                    <a:lnTo>
                      <a:pt x="36" y="0"/>
                    </a:lnTo>
                    <a:lnTo>
                      <a:pt x="0" y="64"/>
                    </a:lnTo>
                    <a:lnTo>
                      <a:pt x="2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1" name="Freeform 14"/>
              <p:cNvSpPr>
                <a:spLocks/>
              </p:cNvSpPr>
              <p:nvPr/>
            </p:nvSpPr>
            <p:spPr bwMode="black">
              <a:xfrm>
                <a:off x="4017963" y="3990976"/>
                <a:ext cx="98425" cy="123825"/>
              </a:xfrm>
              <a:custGeom>
                <a:avLst/>
                <a:gdLst>
                  <a:gd name="T0" fmla="*/ 0 w 62"/>
                  <a:gd name="T1" fmla="*/ 64 h 78"/>
                  <a:gd name="T2" fmla="*/ 26 w 62"/>
                  <a:gd name="T3" fmla="*/ 78 h 78"/>
                  <a:gd name="T4" fmla="*/ 62 w 62"/>
                  <a:gd name="T5" fmla="*/ 14 h 78"/>
                  <a:gd name="T6" fmla="*/ 36 w 62"/>
                  <a:gd name="T7" fmla="*/ 0 h 78"/>
                  <a:gd name="T8" fmla="*/ 0 w 62"/>
                  <a:gd name="T9" fmla="*/ 64 h 78"/>
                </a:gdLst>
                <a:ahLst/>
                <a:cxnLst>
                  <a:cxn ang="0">
                    <a:pos x="T0" y="T1"/>
                  </a:cxn>
                  <a:cxn ang="0">
                    <a:pos x="T2" y="T3"/>
                  </a:cxn>
                  <a:cxn ang="0">
                    <a:pos x="T4" y="T5"/>
                  </a:cxn>
                  <a:cxn ang="0">
                    <a:pos x="T6" y="T7"/>
                  </a:cxn>
                  <a:cxn ang="0">
                    <a:pos x="T8" y="T9"/>
                  </a:cxn>
                </a:cxnLst>
                <a:rect l="0" t="0" r="r" b="b"/>
                <a:pathLst>
                  <a:path w="62" h="78">
                    <a:moveTo>
                      <a:pt x="0" y="64"/>
                    </a:moveTo>
                    <a:lnTo>
                      <a:pt x="26" y="78"/>
                    </a:lnTo>
                    <a:lnTo>
                      <a:pt x="62" y="14"/>
                    </a:lnTo>
                    <a:lnTo>
                      <a:pt x="36" y="0"/>
                    </a:lnTo>
                    <a:lnTo>
                      <a:pt x="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2" name="Freeform 15"/>
              <p:cNvSpPr>
                <a:spLocks/>
              </p:cNvSpPr>
              <p:nvPr/>
            </p:nvSpPr>
            <p:spPr bwMode="black">
              <a:xfrm>
                <a:off x="3902076" y="4189413"/>
                <a:ext cx="101600" cy="128588"/>
              </a:xfrm>
              <a:custGeom>
                <a:avLst/>
                <a:gdLst>
                  <a:gd name="T0" fmla="*/ 0 w 64"/>
                  <a:gd name="T1" fmla="*/ 64 h 81"/>
                  <a:gd name="T2" fmla="*/ 26 w 64"/>
                  <a:gd name="T3" fmla="*/ 81 h 81"/>
                  <a:gd name="T4" fmla="*/ 64 w 64"/>
                  <a:gd name="T5" fmla="*/ 17 h 81"/>
                  <a:gd name="T6" fmla="*/ 36 w 64"/>
                  <a:gd name="T7" fmla="*/ 0 h 81"/>
                  <a:gd name="T8" fmla="*/ 0 w 64"/>
                  <a:gd name="T9" fmla="*/ 64 h 81"/>
                </a:gdLst>
                <a:ahLst/>
                <a:cxnLst>
                  <a:cxn ang="0">
                    <a:pos x="T0" y="T1"/>
                  </a:cxn>
                  <a:cxn ang="0">
                    <a:pos x="T2" y="T3"/>
                  </a:cxn>
                  <a:cxn ang="0">
                    <a:pos x="T4" y="T5"/>
                  </a:cxn>
                  <a:cxn ang="0">
                    <a:pos x="T6" y="T7"/>
                  </a:cxn>
                  <a:cxn ang="0">
                    <a:pos x="T8" y="T9"/>
                  </a:cxn>
                </a:cxnLst>
                <a:rect l="0" t="0" r="r" b="b"/>
                <a:pathLst>
                  <a:path w="64" h="81">
                    <a:moveTo>
                      <a:pt x="0" y="64"/>
                    </a:moveTo>
                    <a:lnTo>
                      <a:pt x="26" y="81"/>
                    </a:lnTo>
                    <a:lnTo>
                      <a:pt x="64" y="17"/>
                    </a:lnTo>
                    <a:lnTo>
                      <a:pt x="36" y="0"/>
                    </a:lnTo>
                    <a:lnTo>
                      <a:pt x="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3" name="Freeform 16"/>
              <p:cNvSpPr>
                <a:spLocks/>
              </p:cNvSpPr>
              <p:nvPr/>
            </p:nvSpPr>
            <p:spPr bwMode="black">
              <a:xfrm>
                <a:off x="4989513" y="4189413"/>
                <a:ext cx="98425" cy="128588"/>
              </a:xfrm>
              <a:custGeom>
                <a:avLst/>
                <a:gdLst>
                  <a:gd name="T0" fmla="*/ 26 w 62"/>
                  <a:gd name="T1" fmla="*/ 0 h 81"/>
                  <a:gd name="T2" fmla="*/ 0 w 62"/>
                  <a:gd name="T3" fmla="*/ 17 h 81"/>
                  <a:gd name="T4" fmla="*/ 36 w 62"/>
                  <a:gd name="T5" fmla="*/ 81 h 81"/>
                  <a:gd name="T6" fmla="*/ 62 w 62"/>
                  <a:gd name="T7" fmla="*/ 64 h 81"/>
                  <a:gd name="T8" fmla="*/ 26 w 62"/>
                  <a:gd name="T9" fmla="*/ 0 h 81"/>
                </a:gdLst>
                <a:ahLst/>
                <a:cxnLst>
                  <a:cxn ang="0">
                    <a:pos x="T0" y="T1"/>
                  </a:cxn>
                  <a:cxn ang="0">
                    <a:pos x="T2" y="T3"/>
                  </a:cxn>
                  <a:cxn ang="0">
                    <a:pos x="T4" y="T5"/>
                  </a:cxn>
                  <a:cxn ang="0">
                    <a:pos x="T6" y="T7"/>
                  </a:cxn>
                  <a:cxn ang="0">
                    <a:pos x="T8" y="T9"/>
                  </a:cxn>
                </a:cxnLst>
                <a:rect l="0" t="0" r="r" b="b"/>
                <a:pathLst>
                  <a:path w="62" h="81">
                    <a:moveTo>
                      <a:pt x="26" y="0"/>
                    </a:moveTo>
                    <a:lnTo>
                      <a:pt x="0" y="17"/>
                    </a:lnTo>
                    <a:lnTo>
                      <a:pt x="36" y="81"/>
                    </a:lnTo>
                    <a:lnTo>
                      <a:pt x="62" y="64"/>
                    </a:ln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4" name="Freeform 17"/>
              <p:cNvSpPr>
                <a:spLocks/>
              </p:cNvSpPr>
              <p:nvPr/>
            </p:nvSpPr>
            <p:spPr bwMode="black">
              <a:xfrm>
                <a:off x="4873626" y="3990976"/>
                <a:ext cx="98425" cy="123825"/>
              </a:xfrm>
              <a:custGeom>
                <a:avLst/>
                <a:gdLst>
                  <a:gd name="T0" fmla="*/ 0 w 62"/>
                  <a:gd name="T1" fmla="*/ 14 h 78"/>
                  <a:gd name="T2" fmla="*/ 36 w 62"/>
                  <a:gd name="T3" fmla="*/ 78 h 78"/>
                  <a:gd name="T4" fmla="*/ 62 w 62"/>
                  <a:gd name="T5" fmla="*/ 64 h 78"/>
                  <a:gd name="T6" fmla="*/ 26 w 62"/>
                  <a:gd name="T7" fmla="*/ 0 h 78"/>
                  <a:gd name="T8" fmla="*/ 0 w 62"/>
                  <a:gd name="T9" fmla="*/ 14 h 78"/>
                </a:gdLst>
                <a:ahLst/>
                <a:cxnLst>
                  <a:cxn ang="0">
                    <a:pos x="T0" y="T1"/>
                  </a:cxn>
                  <a:cxn ang="0">
                    <a:pos x="T2" y="T3"/>
                  </a:cxn>
                  <a:cxn ang="0">
                    <a:pos x="T4" y="T5"/>
                  </a:cxn>
                  <a:cxn ang="0">
                    <a:pos x="T6" y="T7"/>
                  </a:cxn>
                  <a:cxn ang="0">
                    <a:pos x="T8" y="T9"/>
                  </a:cxn>
                </a:cxnLst>
                <a:rect l="0" t="0" r="r" b="b"/>
                <a:pathLst>
                  <a:path w="62" h="78">
                    <a:moveTo>
                      <a:pt x="0" y="14"/>
                    </a:moveTo>
                    <a:lnTo>
                      <a:pt x="36" y="78"/>
                    </a:lnTo>
                    <a:lnTo>
                      <a:pt x="62" y="64"/>
                    </a:lnTo>
                    <a:lnTo>
                      <a:pt x="26" y="0"/>
                    </a:lnTo>
                    <a:lnTo>
                      <a:pt x="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5" name="Freeform 18"/>
              <p:cNvSpPr>
                <a:spLocks/>
              </p:cNvSpPr>
              <p:nvPr/>
            </p:nvSpPr>
            <p:spPr bwMode="black">
              <a:xfrm>
                <a:off x="3579813" y="2892426"/>
                <a:ext cx="1833563" cy="1068388"/>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6" name="Freeform 19"/>
              <p:cNvSpPr>
                <a:spLocks noEditPoints="1"/>
              </p:cNvSpPr>
              <p:nvPr/>
            </p:nvSpPr>
            <p:spPr bwMode="black">
              <a:xfrm>
                <a:off x="3321051" y="1598613"/>
                <a:ext cx="750888" cy="522288"/>
              </a:xfrm>
              <a:custGeom>
                <a:avLst/>
                <a:gdLst>
                  <a:gd name="T0" fmla="*/ 174 w 200"/>
                  <a:gd name="T1" fmla="*/ 0 h 139"/>
                  <a:gd name="T2" fmla="*/ 26 w 200"/>
                  <a:gd name="T3" fmla="*/ 0 h 139"/>
                  <a:gd name="T4" fmla="*/ 0 w 200"/>
                  <a:gd name="T5" fmla="*/ 27 h 139"/>
                  <a:gd name="T6" fmla="*/ 0 w 200"/>
                  <a:gd name="T7" fmla="*/ 113 h 139"/>
                  <a:gd name="T8" fmla="*/ 26 w 200"/>
                  <a:gd name="T9" fmla="*/ 139 h 139"/>
                  <a:gd name="T10" fmla="*/ 174 w 200"/>
                  <a:gd name="T11" fmla="*/ 139 h 139"/>
                  <a:gd name="T12" fmla="*/ 200 w 200"/>
                  <a:gd name="T13" fmla="*/ 113 h 139"/>
                  <a:gd name="T14" fmla="*/ 200 w 200"/>
                  <a:gd name="T15" fmla="*/ 27 h 139"/>
                  <a:gd name="T16" fmla="*/ 174 w 200"/>
                  <a:gd name="T17" fmla="*/ 0 h 139"/>
                  <a:gd name="T18" fmla="*/ 185 w 200"/>
                  <a:gd name="T19" fmla="*/ 113 h 139"/>
                  <a:gd name="T20" fmla="*/ 174 w 200"/>
                  <a:gd name="T21" fmla="*/ 124 h 139"/>
                  <a:gd name="T22" fmla="*/ 26 w 200"/>
                  <a:gd name="T23" fmla="*/ 124 h 139"/>
                  <a:gd name="T24" fmla="*/ 15 w 200"/>
                  <a:gd name="T25" fmla="*/ 113 h 139"/>
                  <a:gd name="T26" fmla="*/ 15 w 200"/>
                  <a:gd name="T27" fmla="*/ 27 h 139"/>
                  <a:gd name="T28" fmla="*/ 26 w 200"/>
                  <a:gd name="T29" fmla="*/ 16 h 139"/>
                  <a:gd name="T30" fmla="*/ 174 w 200"/>
                  <a:gd name="T31" fmla="*/ 16 h 139"/>
                  <a:gd name="T32" fmla="*/ 185 w 200"/>
                  <a:gd name="T33" fmla="*/ 27 h 139"/>
                  <a:gd name="T34" fmla="*/ 185 w 200"/>
                  <a:gd name="T35" fmla="*/ 11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39">
                    <a:moveTo>
                      <a:pt x="174" y="0"/>
                    </a:moveTo>
                    <a:cubicBezTo>
                      <a:pt x="26" y="0"/>
                      <a:pt x="26" y="0"/>
                      <a:pt x="26" y="0"/>
                    </a:cubicBezTo>
                    <a:cubicBezTo>
                      <a:pt x="12" y="0"/>
                      <a:pt x="0" y="12"/>
                      <a:pt x="0" y="27"/>
                    </a:cubicBezTo>
                    <a:cubicBezTo>
                      <a:pt x="0" y="113"/>
                      <a:pt x="0" y="113"/>
                      <a:pt x="0" y="113"/>
                    </a:cubicBezTo>
                    <a:cubicBezTo>
                      <a:pt x="0" y="127"/>
                      <a:pt x="12" y="139"/>
                      <a:pt x="26" y="139"/>
                    </a:cubicBezTo>
                    <a:cubicBezTo>
                      <a:pt x="174" y="139"/>
                      <a:pt x="174" y="139"/>
                      <a:pt x="174" y="139"/>
                    </a:cubicBezTo>
                    <a:cubicBezTo>
                      <a:pt x="188" y="139"/>
                      <a:pt x="200" y="127"/>
                      <a:pt x="200" y="113"/>
                    </a:cubicBezTo>
                    <a:cubicBezTo>
                      <a:pt x="200" y="27"/>
                      <a:pt x="200" y="27"/>
                      <a:pt x="200" y="27"/>
                    </a:cubicBezTo>
                    <a:cubicBezTo>
                      <a:pt x="200" y="12"/>
                      <a:pt x="188" y="0"/>
                      <a:pt x="174" y="0"/>
                    </a:cubicBezTo>
                    <a:moveTo>
                      <a:pt x="185" y="113"/>
                    </a:moveTo>
                    <a:cubicBezTo>
                      <a:pt x="185" y="119"/>
                      <a:pt x="180" y="124"/>
                      <a:pt x="174" y="124"/>
                    </a:cubicBezTo>
                    <a:cubicBezTo>
                      <a:pt x="26" y="124"/>
                      <a:pt x="26" y="124"/>
                      <a:pt x="26" y="124"/>
                    </a:cubicBezTo>
                    <a:cubicBezTo>
                      <a:pt x="20" y="124"/>
                      <a:pt x="15" y="119"/>
                      <a:pt x="15" y="113"/>
                    </a:cubicBezTo>
                    <a:cubicBezTo>
                      <a:pt x="15" y="27"/>
                      <a:pt x="15" y="27"/>
                      <a:pt x="15" y="27"/>
                    </a:cubicBezTo>
                    <a:cubicBezTo>
                      <a:pt x="15" y="21"/>
                      <a:pt x="20" y="16"/>
                      <a:pt x="26" y="16"/>
                    </a:cubicBezTo>
                    <a:cubicBezTo>
                      <a:pt x="174" y="16"/>
                      <a:pt x="174" y="16"/>
                      <a:pt x="174" y="16"/>
                    </a:cubicBezTo>
                    <a:cubicBezTo>
                      <a:pt x="180" y="16"/>
                      <a:pt x="185" y="21"/>
                      <a:pt x="185" y="27"/>
                    </a:cubicBezTo>
                    <a:lnTo>
                      <a:pt x="185"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7" name="Freeform 20"/>
              <p:cNvSpPr>
                <a:spLocks/>
              </p:cNvSpPr>
              <p:nvPr/>
            </p:nvSpPr>
            <p:spPr bwMode="black">
              <a:xfrm>
                <a:off x="3178176" y="2154238"/>
                <a:ext cx="1035050" cy="239713"/>
              </a:xfrm>
              <a:custGeom>
                <a:avLst/>
                <a:gdLst>
                  <a:gd name="T0" fmla="*/ 7 w 276"/>
                  <a:gd name="T1" fmla="*/ 64 h 64"/>
                  <a:gd name="T2" fmla="*/ 269 w 276"/>
                  <a:gd name="T3" fmla="*/ 64 h 64"/>
                  <a:gd name="T4" fmla="*/ 276 w 276"/>
                  <a:gd name="T5" fmla="*/ 57 h 64"/>
                  <a:gd name="T6" fmla="*/ 276 w 276"/>
                  <a:gd name="T7" fmla="*/ 54 h 64"/>
                  <a:gd name="T8" fmla="*/ 272 w 276"/>
                  <a:gd name="T9" fmla="*/ 42 h 64"/>
                  <a:gd name="T10" fmla="*/ 240 w 276"/>
                  <a:gd name="T11" fmla="*/ 5 h 64"/>
                  <a:gd name="T12" fmla="*/ 229 w 276"/>
                  <a:gd name="T13" fmla="*/ 0 h 64"/>
                  <a:gd name="T14" fmla="*/ 47 w 276"/>
                  <a:gd name="T15" fmla="*/ 0 h 64"/>
                  <a:gd name="T16" fmla="*/ 36 w 276"/>
                  <a:gd name="T17" fmla="*/ 5 h 64"/>
                  <a:gd name="T18" fmla="*/ 4 w 276"/>
                  <a:gd name="T19" fmla="*/ 42 h 64"/>
                  <a:gd name="T20" fmla="*/ 0 w 276"/>
                  <a:gd name="T21" fmla="*/ 54 h 64"/>
                  <a:gd name="T22" fmla="*/ 0 w 276"/>
                  <a:gd name="T23" fmla="*/ 57 h 64"/>
                  <a:gd name="T24" fmla="*/ 7 w 27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6" h="64">
                    <a:moveTo>
                      <a:pt x="7" y="64"/>
                    </a:moveTo>
                    <a:cubicBezTo>
                      <a:pt x="269" y="64"/>
                      <a:pt x="269" y="64"/>
                      <a:pt x="269" y="64"/>
                    </a:cubicBezTo>
                    <a:cubicBezTo>
                      <a:pt x="273" y="64"/>
                      <a:pt x="276" y="61"/>
                      <a:pt x="276" y="57"/>
                    </a:cubicBezTo>
                    <a:cubicBezTo>
                      <a:pt x="276" y="54"/>
                      <a:pt x="276" y="54"/>
                      <a:pt x="276" y="54"/>
                    </a:cubicBezTo>
                    <a:cubicBezTo>
                      <a:pt x="276" y="50"/>
                      <a:pt x="274" y="45"/>
                      <a:pt x="272" y="42"/>
                    </a:cubicBezTo>
                    <a:cubicBezTo>
                      <a:pt x="240" y="5"/>
                      <a:pt x="240" y="5"/>
                      <a:pt x="240" y="5"/>
                    </a:cubicBezTo>
                    <a:cubicBezTo>
                      <a:pt x="238" y="2"/>
                      <a:pt x="233" y="0"/>
                      <a:pt x="229" y="0"/>
                    </a:cubicBezTo>
                    <a:cubicBezTo>
                      <a:pt x="47" y="0"/>
                      <a:pt x="47" y="0"/>
                      <a:pt x="47" y="0"/>
                    </a:cubicBezTo>
                    <a:cubicBezTo>
                      <a:pt x="43" y="0"/>
                      <a:pt x="38" y="2"/>
                      <a:pt x="36" y="5"/>
                    </a:cubicBezTo>
                    <a:cubicBezTo>
                      <a:pt x="4" y="42"/>
                      <a:pt x="4" y="42"/>
                      <a:pt x="4" y="42"/>
                    </a:cubicBezTo>
                    <a:cubicBezTo>
                      <a:pt x="2" y="45"/>
                      <a:pt x="0" y="50"/>
                      <a:pt x="0" y="54"/>
                    </a:cubicBezTo>
                    <a:cubicBezTo>
                      <a:pt x="0" y="57"/>
                      <a:pt x="0" y="57"/>
                      <a:pt x="0" y="57"/>
                    </a:cubicBezTo>
                    <a:cubicBezTo>
                      <a:pt x="0" y="61"/>
                      <a:pt x="3" y="64"/>
                      <a:pt x="7" y="6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8" name="Freeform 21"/>
              <p:cNvSpPr>
                <a:spLocks noEditPoints="1"/>
              </p:cNvSpPr>
              <p:nvPr/>
            </p:nvSpPr>
            <p:spPr bwMode="black">
              <a:xfrm>
                <a:off x="4730751" y="1639888"/>
                <a:ext cx="781050" cy="608013"/>
              </a:xfrm>
              <a:custGeom>
                <a:avLst/>
                <a:gdLst>
                  <a:gd name="T0" fmla="*/ 177 w 208"/>
                  <a:gd name="T1" fmla="*/ 0 h 162"/>
                  <a:gd name="T2" fmla="*/ 31 w 208"/>
                  <a:gd name="T3" fmla="*/ 0 h 162"/>
                  <a:gd name="T4" fmla="*/ 0 w 208"/>
                  <a:gd name="T5" fmla="*/ 31 h 162"/>
                  <a:gd name="T6" fmla="*/ 0 w 208"/>
                  <a:gd name="T7" fmla="*/ 131 h 162"/>
                  <a:gd name="T8" fmla="*/ 31 w 208"/>
                  <a:gd name="T9" fmla="*/ 162 h 162"/>
                  <a:gd name="T10" fmla="*/ 177 w 208"/>
                  <a:gd name="T11" fmla="*/ 162 h 162"/>
                  <a:gd name="T12" fmla="*/ 208 w 208"/>
                  <a:gd name="T13" fmla="*/ 131 h 162"/>
                  <a:gd name="T14" fmla="*/ 208 w 208"/>
                  <a:gd name="T15" fmla="*/ 31 h 162"/>
                  <a:gd name="T16" fmla="*/ 177 w 208"/>
                  <a:gd name="T17" fmla="*/ 0 h 162"/>
                  <a:gd name="T18" fmla="*/ 190 w 208"/>
                  <a:gd name="T19" fmla="*/ 131 h 162"/>
                  <a:gd name="T20" fmla="*/ 177 w 208"/>
                  <a:gd name="T21" fmla="*/ 144 h 162"/>
                  <a:gd name="T22" fmla="*/ 31 w 208"/>
                  <a:gd name="T23" fmla="*/ 144 h 162"/>
                  <a:gd name="T24" fmla="*/ 18 w 208"/>
                  <a:gd name="T25" fmla="*/ 131 h 162"/>
                  <a:gd name="T26" fmla="*/ 18 w 208"/>
                  <a:gd name="T27" fmla="*/ 31 h 162"/>
                  <a:gd name="T28" fmla="*/ 31 w 208"/>
                  <a:gd name="T29" fmla="*/ 18 h 162"/>
                  <a:gd name="T30" fmla="*/ 177 w 208"/>
                  <a:gd name="T31" fmla="*/ 18 h 162"/>
                  <a:gd name="T32" fmla="*/ 190 w 208"/>
                  <a:gd name="T33" fmla="*/ 31 h 162"/>
                  <a:gd name="T34" fmla="*/ 190 w 208"/>
                  <a:gd name="T35" fmla="*/ 13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 h="162">
                    <a:moveTo>
                      <a:pt x="177" y="0"/>
                    </a:moveTo>
                    <a:cubicBezTo>
                      <a:pt x="31" y="0"/>
                      <a:pt x="31" y="0"/>
                      <a:pt x="31" y="0"/>
                    </a:cubicBezTo>
                    <a:cubicBezTo>
                      <a:pt x="14" y="0"/>
                      <a:pt x="0" y="14"/>
                      <a:pt x="0" y="31"/>
                    </a:cubicBezTo>
                    <a:cubicBezTo>
                      <a:pt x="0" y="131"/>
                      <a:pt x="0" y="131"/>
                      <a:pt x="0" y="131"/>
                    </a:cubicBezTo>
                    <a:cubicBezTo>
                      <a:pt x="0" y="148"/>
                      <a:pt x="14" y="162"/>
                      <a:pt x="31" y="162"/>
                    </a:cubicBezTo>
                    <a:cubicBezTo>
                      <a:pt x="177" y="162"/>
                      <a:pt x="177" y="162"/>
                      <a:pt x="177" y="162"/>
                    </a:cubicBezTo>
                    <a:cubicBezTo>
                      <a:pt x="194" y="162"/>
                      <a:pt x="208" y="148"/>
                      <a:pt x="208" y="131"/>
                    </a:cubicBezTo>
                    <a:cubicBezTo>
                      <a:pt x="208" y="31"/>
                      <a:pt x="208" y="31"/>
                      <a:pt x="208" y="31"/>
                    </a:cubicBezTo>
                    <a:cubicBezTo>
                      <a:pt x="208" y="14"/>
                      <a:pt x="194" y="0"/>
                      <a:pt x="177" y="0"/>
                    </a:cubicBezTo>
                    <a:moveTo>
                      <a:pt x="190" y="131"/>
                    </a:moveTo>
                    <a:cubicBezTo>
                      <a:pt x="190" y="138"/>
                      <a:pt x="184" y="144"/>
                      <a:pt x="177" y="144"/>
                    </a:cubicBezTo>
                    <a:cubicBezTo>
                      <a:pt x="31" y="144"/>
                      <a:pt x="31" y="144"/>
                      <a:pt x="31" y="144"/>
                    </a:cubicBezTo>
                    <a:cubicBezTo>
                      <a:pt x="24" y="144"/>
                      <a:pt x="18" y="138"/>
                      <a:pt x="18" y="131"/>
                    </a:cubicBezTo>
                    <a:cubicBezTo>
                      <a:pt x="18" y="31"/>
                      <a:pt x="18" y="31"/>
                      <a:pt x="18" y="31"/>
                    </a:cubicBezTo>
                    <a:cubicBezTo>
                      <a:pt x="18" y="24"/>
                      <a:pt x="24" y="18"/>
                      <a:pt x="31" y="18"/>
                    </a:cubicBezTo>
                    <a:cubicBezTo>
                      <a:pt x="177" y="18"/>
                      <a:pt x="177" y="18"/>
                      <a:pt x="177" y="18"/>
                    </a:cubicBezTo>
                    <a:cubicBezTo>
                      <a:pt x="184" y="18"/>
                      <a:pt x="190" y="24"/>
                      <a:pt x="190" y="31"/>
                    </a:cubicBezTo>
                    <a:lnTo>
                      <a:pt x="190" y="1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9" name="Freeform 22"/>
              <p:cNvSpPr>
                <a:spLocks/>
              </p:cNvSpPr>
              <p:nvPr/>
            </p:nvSpPr>
            <p:spPr bwMode="black">
              <a:xfrm>
                <a:off x="4911726" y="2289176"/>
                <a:ext cx="419100" cy="104775"/>
              </a:xfrm>
              <a:custGeom>
                <a:avLst/>
                <a:gdLst>
                  <a:gd name="T0" fmla="*/ 112 w 112"/>
                  <a:gd name="T1" fmla="*/ 25 h 28"/>
                  <a:gd name="T2" fmla="*/ 112 w 112"/>
                  <a:gd name="T3" fmla="*/ 23 h 28"/>
                  <a:gd name="T4" fmla="*/ 110 w 112"/>
                  <a:gd name="T5" fmla="*/ 18 h 28"/>
                  <a:gd name="T6" fmla="*/ 96 w 112"/>
                  <a:gd name="T7" fmla="*/ 2 h 28"/>
                  <a:gd name="T8" fmla="*/ 91 w 112"/>
                  <a:gd name="T9" fmla="*/ 0 h 28"/>
                  <a:gd name="T10" fmla="*/ 21 w 112"/>
                  <a:gd name="T11" fmla="*/ 0 h 28"/>
                  <a:gd name="T12" fmla="*/ 16 w 112"/>
                  <a:gd name="T13" fmla="*/ 2 h 28"/>
                  <a:gd name="T14" fmla="*/ 2 w 112"/>
                  <a:gd name="T15" fmla="*/ 18 h 28"/>
                  <a:gd name="T16" fmla="*/ 0 w 112"/>
                  <a:gd name="T17" fmla="*/ 23 h 28"/>
                  <a:gd name="T18" fmla="*/ 0 w 112"/>
                  <a:gd name="T19" fmla="*/ 25 h 28"/>
                  <a:gd name="T20" fmla="*/ 3 w 112"/>
                  <a:gd name="T21" fmla="*/ 28 h 28"/>
                  <a:gd name="T22" fmla="*/ 109 w 112"/>
                  <a:gd name="T23" fmla="*/ 28 h 28"/>
                  <a:gd name="T24" fmla="*/ 112 w 112"/>
                  <a:gd name="T25"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28">
                    <a:moveTo>
                      <a:pt x="112" y="25"/>
                    </a:moveTo>
                    <a:cubicBezTo>
                      <a:pt x="112" y="23"/>
                      <a:pt x="112" y="23"/>
                      <a:pt x="112" y="23"/>
                    </a:cubicBezTo>
                    <a:cubicBezTo>
                      <a:pt x="112" y="22"/>
                      <a:pt x="111" y="20"/>
                      <a:pt x="110" y="18"/>
                    </a:cubicBezTo>
                    <a:cubicBezTo>
                      <a:pt x="96" y="2"/>
                      <a:pt x="96" y="2"/>
                      <a:pt x="96" y="2"/>
                    </a:cubicBezTo>
                    <a:cubicBezTo>
                      <a:pt x="95" y="1"/>
                      <a:pt x="93" y="0"/>
                      <a:pt x="91" y="0"/>
                    </a:cubicBezTo>
                    <a:cubicBezTo>
                      <a:pt x="21" y="0"/>
                      <a:pt x="21" y="0"/>
                      <a:pt x="21" y="0"/>
                    </a:cubicBezTo>
                    <a:cubicBezTo>
                      <a:pt x="19" y="0"/>
                      <a:pt x="17" y="1"/>
                      <a:pt x="16" y="2"/>
                    </a:cubicBezTo>
                    <a:cubicBezTo>
                      <a:pt x="2" y="18"/>
                      <a:pt x="2" y="18"/>
                      <a:pt x="2" y="18"/>
                    </a:cubicBezTo>
                    <a:cubicBezTo>
                      <a:pt x="1" y="20"/>
                      <a:pt x="0" y="22"/>
                      <a:pt x="0" y="23"/>
                    </a:cubicBezTo>
                    <a:cubicBezTo>
                      <a:pt x="0" y="25"/>
                      <a:pt x="0" y="25"/>
                      <a:pt x="0" y="25"/>
                    </a:cubicBezTo>
                    <a:cubicBezTo>
                      <a:pt x="0" y="26"/>
                      <a:pt x="1" y="28"/>
                      <a:pt x="3" y="28"/>
                    </a:cubicBezTo>
                    <a:cubicBezTo>
                      <a:pt x="109" y="28"/>
                      <a:pt x="109" y="28"/>
                      <a:pt x="109" y="28"/>
                    </a:cubicBezTo>
                    <a:cubicBezTo>
                      <a:pt x="111" y="28"/>
                      <a:pt x="112" y="26"/>
                      <a:pt x="112"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0" name="Freeform 23"/>
              <p:cNvSpPr>
                <a:spLocks noEditPoints="1"/>
              </p:cNvSpPr>
              <p:nvPr/>
            </p:nvSpPr>
            <p:spPr bwMode="black">
              <a:xfrm>
                <a:off x="5586413" y="1639888"/>
                <a:ext cx="385763" cy="754063"/>
              </a:xfrm>
              <a:custGeom>
                <a:avLst/>
                <a:gdLst>
                  <a:gd name="T0" fmla="*/ 89 w 103"/>
                  <a:gd name="T1" fmla="*/ 0 h 201"/>
                  <a:gd name="T2" fmla="*/ 13 w 103"/>
                  <a:gd name="T3" fmla="*/ 0 h 201"/>
                  <a:gd name="T4" fmla="*/ 0 w 103"/>
                  <a:gd name="T5" fmla="*/ 13 h 201"/>
                  <a:gd name="T6" fmla="*/ 0 w 103"/>
                  <a:gd name="T7" fmla="*/ 187 h 201"/>
                  <a:gd name="T8" fmla="*/ 13 w 103"/>
                  <a:gd name="T9" fmla="*/ 201 h 201"/>
                  <a:gd name="T10" fmla="*/ 89 w 103"/>
                  <a:gd name="T11" fmla="*/ 201 h 201"/>
                  <a:gd name="T12" fmla="*/ 103 w 103"/>
                  <a:gd name="T13" fmla="*/ 187 h 201"/>
                  <a:gd name="T14" fmla="*/ 103 w 103"/>
                  <a:gd name="T15" fmla="*/ 13 h 201"/>
                  <a:gd name="T16" fmla="*/ 89 w 103"/>
                  <a:gd name="T17" fmla="*/ 0 h 201"/>
                  <a:gd name="T18" fmla="*/ 52 w 103"/>
                  <a:gd name="T19" fmla="*/ 187 h 201"/>
                  <a:gd name="T20" fmla="*/ 40 w 103"/>
                  <a:gd name="T21" fmla="*/ 175 h 201"/>
                  <a:gd name="T22" fmla="*/ 52 w 103"/>
                  <a:gd name="T23" fmla="*/ 163 h 201"/>
                  <a:gd name="T24" fmla="*/ 63 w 103"/>
                  <a:gd name="T25" fmla="*/ 175 h 201"/>
                  <a:gd name="T26" fmla="*/ 52 w 103"/>
                  <a:gd name="T27" fmla="*/ 18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201">
                    <a:moveTo>
                      <a:pt x="89" y="0"/>
                    </a:moveTo>
                    <a:cubicBezTo>
                      <a:pt x="13" y="0"/>
                      <a:pt x="13" y="0"/>
                      <a:pt x="13" y="0"/>
                    </a:cubicBezTo>
                    <a:cubicBezTo>
                      <a:pt x="6" y="0"/>
                      <a:pt x="0" y="6"/>
                      <a:pt x="0" y="13"/>
                    </a:cubicBezTo>
                    <a:cubicBezTo>
                      <a:pt x="0" y="187"/>
                      <a:pt x="0" y="187"/>
                      <a:pt x="0" y="187"/>
                    </a:cubicBezTo>
                    <a:cubicBezTo>
                      <a:pt x="0" y="195"/>
                      <a:pt x="6" y="201"/>
                      <a:pt x="13" y="201"/>
                    </a:cubicBezTo>
                    <a:cubicBezTo>
                      <a:pt x="89" y="201"/>
                      <a:pt x="89" y="201"/>
                      <a:pt x="89" y="201"/>
                    </a:cubicBezTo>
                    <a:cubicBezTo>
                      <a:pt x="97" y="201"/>
                      <a:pt x="103" y="195"/>
                      <a:pt x="103" y="187"/>
                    </a:cubicBezTo>
                    <a:cubicBezTo>
                      <a:pt x="103" y="13"/>
                      <a:pt x="103" y="13"/>
                      <a:pt x="103" y="13"/>
                    </a:cubicBezTo>
                    <a:cubicBezTo>
                      <a:pt x="103" y="6"/>
                      <a:pt x="97" y="0"/>
                      <a:pt x="89" y="0"/>
                    </a:cubicBezTo>
                    <a:moveTo>
                      <a:pt x="52" y="187"/>
                    </a:moveTo>
                    <a:cubicBezTo>
                      <a:pt x="45" y="187"/>
                      <a:pt x="40" y="181"/>
                      <a:pt x="40" y="175"/>
                    </a:cubicBezTo>
                    <a:cubicBezTo>
                      <a:pt x="40" y="168"/>
                      <a:pt x="45" y="163"/>
                      <a:pt x="52" y="163"/>
                    </a:cubicBezTo>
                    <a:cubicBezTo>
                      <a:pt x="58" y="163"/>
                      <a:pt x="63" y="168"/>
                      <a:pt x="63" y="175"/>
                    </a:cubicBezTo>
                    <a:cubicBezTo>
                      <a:pt x="63" y="181"/>
                      <a:pt x="58" y="187"/>
                      <a:pt x="52" y="18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1" name="Freeform 24"/>
              <p:cNvSpPr>
                <a:spLocks noEditPoints="1"/>
              </p:cNvSpPr>
              <p:nvPr/>
            </p:nvSpPr>
            <p:spPr bwMode="black">
              <a:xfrm>
                <a:off x="2462213" y="3032126"/>
                <a:ext cx="525463" cy="804863"/>
              </a:xfrm>
              <a:custGeom>
                <a:avLst/>
                <a:gdLst>
                  <a:gd name="T0" fmla="*/ 109 w 140"/>
                  <a:gd name="T1" fmla="*/ 0 h 215"/>
                  <a:gd name="T2" fmla="*/ 31 w 140"/>
                  <a:gd name="T3" fmla="*/ 0 h 215"/>
                  <a:gd name="T4" fmla="*/ 0 w 140"/>
                  <a:gd name="T5" fmla="*/ 30 h 215"/>
                  <a:gd name="T6" fmla="*/ 0 w 140"/>
                  <a:gd name="T7" fmla="*/ 184 h 215"/>
                  <a:gd name="T8" fmla="*/ 31 w 140"/>
                  <a:gd name="T9" fmla="*/ 215 h 215"/>
                  <a:gd name="T10" fmla="*/ 109 w 140"/>
                  <a:gd name="T11" fmla="*/ 215 h 215"/>
                  <a:gd name="T12" fmla="*/ 140 w 140"/>
                  <a:gd name="T13" fmla="*/ 184 h 215"/>
                  <a:gd name="T14" fmla="*/ 140 w 140"/>
                  <a:gd name="T15" fmla="*/ 30 h 215"/>
                  <a:gd name="T16" fmla="*/ 109 w 140"/>
                  <a:gd name="T17" fmla="*/ 0 h 215"/>
                  <a:gd name="T18" fmla="*/ 122 w 140"/>
                  <a:gd name="T19" fmla="*/ 177 h 215"/>
                  <a:gd name="T20" fmla="*/ 109 w 140"/>
                  <a:gd name="T21" fmla="*/ 195 h 215"/>
                  <a:gd name="T22" fmla="*/ 31 w 140"/>
                  <a:gd name="T23" fmla="*/ 195 h 215"/>
                  <a:gd name="T24" fmla="*/ 18 w 140"/>
                  <a:gd name="T25" fmla="*/ 177 h 215"/>
                  <a:gd name="T26" fmla="*/ 18 w 140"/>
                  <a:gd name="T27" fmla="*/ 35 h 215"/>
                  <a:gd name="T28" fmla="*/ 31 w 140"/>
                  <a:gd name="T29" fmla="*/ 18 h 215"/>
                  <a:gd name="T30" fmla="*/ 109 w 140"/>
                  <a:gd name="T31" fmla="*/ 18 h 215"/>
                  <a:gd name="T32" fmla="*/ 122 w 140"/>
                  <a:gd name="T33" fmla="*/ 35 h 215"/>
                  <a:gd name="T34" fmla="*/ 122 w 140"/>
                  <a:gd name="T35" fmla="*/ 17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215">
                    <a:moveTo>
                      <a:pt x="109" y="0"/>
                    </a:moveTo>
                    <a:cubicBezTo>
                      <a:pt x="31" y="0"/>
                      <a:pt x="31" y="0"/>
                      <a:pt x="31" y="0"/>
                    </a:cubicBezTo>
                    <a:cubicBezTo>
                      <a:pt x="14" y="0"/>
                      <a:pt x="0" y="13"/>
                      <a:pt x="0" y="30"/>
                    </a:cubicBezTo>
                    <a:cubicBezTo>
                      <a:pt x="0" y="184"/>
                      <a:pt x="0" y="184"/>
                      <a:pt x="0" y="184"/>
                    </a:cubicBezTo>
                    <a:cubicBezTo>
                      <a:pt x="0" y="201"/>
                      <a:pt x="14" y="215"/>
                      <a:pt x="31" y="215"/>
                    </a:cubicBezTo>
                    <a:cubicBezTo>
                      <a:pt x="109" y="215"/>
                      <a:pt x="109" y="215"/>
                      <a:pt x="109" y="215"/>
                    </a:cubicBezTo>
                    <a:cubicBezTo>
                      <a:pt x="126" y="215"/>
                      <a:pt x="140" y="201"/>
                      <a:pt x="140" y="184"/>
                    </a:cubicBezTo>
                    <a:cubicBezTo>
                      <a:pt x="140" y="30"/>
                      <a:pt x="140" y="30"/>
                      <a:pt x="140" y="30"/>
                    </a:cubicBezTo>
                    <a:cubicBezTo>
                      <a:pt x="140" y="13"/>
                      <a:pt x="126" y="0"/>
                      <a:pt x="109" y="0"/>
                    </a:cubicBezTo>
                    <a:moveTo>
                      <a:pt x="122" y="177"/>
                    </a:moveTo>
                    <a:cubicBezTo>
                      <a:pt x="122" y="187"/>
                      <a:pt x="116" y="195"/>
                      <a:pt x="109" y="195"/>
                    </a:cubicBezTo>
                    <a:cubicBezTo>
                      <a:pt x="31" y="195"/>
                      <a:pt x="31" y="195"/>
                      <a:pt x="31" y="195"/>
                    </a:cubicBezTo>
                    <a:cubicBezTo>
                      <a:pt x="24" y="195"/>
                      <a:pt x="18" y="187"/>
                      <a:pt x="18" y="177"/>
                    </a:cubicBezTo>
                    <a:cubicBezTo>
                      <a:pt x="18" y="35"/>
                      <a:pt x="18" y="35"/>
                      <a:pt x="18" y="35"/>
                    </a:cubicBezTo>
                    <a:cubicBezTo>
                      <a:pt x="18" y="26"/>
                      <a:pt x="24" y="18"/>
                      <a:pt x="31" y="18"/>
                    </a:cubicBezTo>
                    <a:cubicBezTo>
                      <a:pt x="109" y="18"/>
                      <a:pt x="109" y="18"/>
                      <a:pt x="109" y="18"/>
                    </a:cubicBezTo>
                    <a:cubicBezTo>
                      <a:pt x="116" y="18"/>
                      <a:pt x="122" y="26"/>
                      <a:pt x="122" y="35"/>
                    </a:cubicBezTo>
                    <a:lnTo>
                      <a:pt x="122" y="1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2" name="Freeform 25"/>
              <p:cNvSpPr>
                <a:spLocks noEditPoints="1"/>
              </p:cNvSpPr>
              <p:nvPr/>
            </p:nvSpPr>
            <p:spPr bwMode="black">
              <a:xfrm>
                <a:off x="5049838" y="4411663"/>
                <a:ext cx="739775" cy="854075"/>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3" name="Freeform 26"/>
              <p:cNvSpPr>
                <a:spLocks noEditPoints="1"/>
              </p:cNvSpPr>
              <p:nvPr/>
            </p:nvSpPr>
            <p:spPr bwMode="black">
              <a:xfrm>
                <a:off x="6043613" y="2960688"/>
                <a:ext cx="641350" cy="876300"/>
              </a:xfrm>
              <a:custGeom>
                <a:avLst/>
                <a:gdLst>
                  <a:gd name="T0" fmla="*/ 146 w 171"/>
                  <a:gd name="T1" fmla="*/ 0 h 234"/>
                  <a:gd name="T2" fmla="*/ 25 w 171"/>
                  <a:gd name="T3" fmla="*/ 0 h 234"/>
                  <a:gd name="T4" fmla="*/ 0 w 171"/>
                  <a:gd name="T5" fmla="*/ 25 h 234"/>
                  <a:gd name="T6" fmla="*/ 0 w 171"/>
                  <a:gd name="T7" fmla="*/ 209 h 234"/>
                  <a:gd name="T8" fmla="*/ 25 w 171"/>
                  <a:gd name="T9" fmla="*/ 234 h 234"/>
                  <a:gd name="T10" fmla="*/ 146 w 171"/>
                  <a:gd name="T11" fmla="*/ 234 h 234"/>
                  <a:gd name="T12" fmla="*/ 171 w 171"/>
                  <a:gd name="T13" fmla="*/ 209 h 234"/>
                  <a:gd name="T14" fmla="*/ 171 w 171"/>
                  <a:gd name="T15" fmla="*/ 25 h 234"/>
                  <a:gd name="T16" fmla="*/ 146 w 171"/>
                  <a:gd name="T17" fmla="*/ 0 h 234"/>
                  <a:gd name="T18" fmla="*/ 157 w 171"/>
                  <a:gd name="T19" fmla="*/ 183 h 234"/>
                  <a:gd name="T20" fmla="*/ 146 w 171"/>
                  <a:gd name="T21" fmla="*/ 193 h 234"/>
                  <a:gd name="T22" fmla="*/ 25 w 171"/>
                  <a:gd name="T23" fmla="*/ 193 h 234"/>
                  <a:gd name="T24" fmla="*/ 15 w 171"/>
                  <a:gd name="T25" fmla="*/ 183 h 234"/>
                  <a:gd name="T26" fmla="*/ 15 w 171"/>
                  <a:gd name="T27" fmla="*/ 25 h 234"/>
                  <a:gd name="T28" fmla="*/ 25 w 171"/>
                  <a:gd name="T29" fmla="*/ 14 h 234"/>
                  <a:gd name="T30" fmla="*/ 146 w 171"/>
                  <a:gd name="T31" fmla="*/ 14 h 234"/>
                  <a:gd name="T32" fmla="*/ 157 w 171"/>
                  <a:gd name="T33" fmla="*/ 25 h 234"/>
                  <a:gd name="T34" fmla="*/ 157 w 171"/>
                  <a:gd name="T35" fmla="*/ 18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234">
                    <a:moveTo>
                      <a:pt x="146" y="0"/>
                    </a:moveTo>
                    <a:cubicBezTo>
                      <a:pt x="25" y="0"/>
                      <a:pt x="25" y="0"/>
                      <a:pt x="25" y="0"/>
                    </a:cubicBezTo>
                    <a:cubicBezTo>
                      <a:pt x="11" y="0"/>
                      <a:pt x="0" y="11"/>
                      <a:pt x="0" y="25"/>
                    </a:cubicBezTo>
                    <a:cubicBezTo>
                      <a:pt x="0" y="209"/>
                      <a:pt x="0" y="209"/>
                      <a:pt x="0" y="209"/>
                    </a:cubicBezTo>
                    <a:cubicBezTo>
                      <a:pt x="0" y="223"/>
                      <a:pt x="11" y="234"/>
                      <a:pt x="25" y="234"/>
                    </a:cubicBezTo>
                    <a:cubicBezTo>
                      <a:pt x="146" y="234"/>
                      <a:pt x="146" y="234"/>
                      <a:pt x="146" y="234"/>
                    </a:cubicBezTo>
                    <a:cubicBezTo>
                      <a:pt x="160" y="234"/>
                      <a:pt x="171" y="223"/>
                      <a:pt x="171" y="209"/>
                    </a:cubicBezTo>
                    <a:cubicBezTo>
                      <a:pt x="171" y="25"/>
                      <a:pt x="171" y="25"/>
                      <a:pt x="171" y="25"/>
                    </a:cubicBezTo>
                    <a:cubicBezTo>
                      <a:pt x="171" y="11"/>
                      <a:pt x="160" y="0"/>
                      <a:pt x="146" y="0"/>
                    </a:cubicBezTo>
                    <a:moveTo>
                      <a:pt x="157" y="183"/>
                    </a:moveTo>
                    <a:cubicBezTo>
                      <a:pt x="157" y="188"/>
                      <a:pt x="152" y="193"/>
                      <a:pt x="146" y="193"/>
                    </a:cubicBezTo>
                    <a:cubicBezTo>
                      <a:pt x="25" y="193"/>
                      <a:pt x="25" y="193"/>
                      <a:pt x="25" y="193"/>
                    </a:cubicBezTo>
                    <a:cubicBezTo>
                      <a:pt x="19" y="193"/>
                      <a:pt x="15" y="188"/>
                      <a:pt x="15" y="183"/>
                    </a:cubicBezTo>
                    <a:cubicBezTo>
                      <a:pt x="15" y="25"/>
                      <a:pt x="15" y="25"/>
                      <a:pt x="15" y="25"/>
                    </a:cubicBezTo>
                    <a:cubicBezTo>
                      <a:pt x="15" y="19"/>
                      <a:pt x="19" y="14"/>
                      <a:pt x="25" y="14"/>
                    </a:cubicBezTo>
                    <a:cubicBezTo>
                      <a:pt x="146" y="14"/>
                      <a:pt x="146" y="14"/>
                      <a:pt x="146" y="14"/>
                    </a:cubicBezTo>
                    <a:cubicBezTo>
                      <a:pt x="152" y="14"/>
                      <a:pt x="157" y="19"/>
                      <a:pt x="157" y="25"/>
                    </a:cubicBezTo>
                    <a:lnTo>
                      <a:pt x="157" y="1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4" name="Oval 27"/>
              <p:cNvSpPr>
                <a:spLocks noChangeArrowheads="1"/>
              </p:cNvSpPr>
              <p:nvPr/>
            </p:nvSpPr>
            <p:spPr bwMode="black">
              <a:xfrm>
                <a:off x="6224588" y="3725863"/>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5" name="Oval 28"/>
              <p:cNvSpPr>
                <a:spLocks noChangeArrowheads="1"/>
              </p:cNvSpPr>
              <p:nvPr/>
            </p:nvSpPr>
            <p:spPr bwMode="black">
              <a:xfrm>
                <a:off x="6453188" y="3725863"/>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6" name="Oval 29"/>
              <p:cNvSpPr>
                <a:spLocks noChangeArrowheads="1"/>
              </p:cNvSpPr>
              <p:nvPr/>
            </p:nvSpPr>
            <p:spPr bwMode="black">
              <a:xfrm>
                <a:off x="6340476" y="3725863"/>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7" name="Freeform 30"/>
              <p:cNvSpPr>
                <a:spLocks/>
              </p:cNvSpPr>
              <p:nvPr/>
            </p:nvSpPr>
            <p:spPr bwMode="black">
              <a:xfrm>
                <a:off x="3425826" y="4279901"/>
                <a:ext cx="442913" cy="16192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8" name="Freeform 31"/>
              <p:cNvSpPr>
                <a:spLocks noEditPoints="1"/>
              </p:cNvSpPr>
              <p:nvPr/>
            </p:nvSpPr>
            <p:spPr bwMode="black">
              <a:xfrm>
                <a:off x="3414713" y="4456113"/>
                <a:ext cx="476250" cy="80962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sp>
        <p:nvSpPr>
          <p:cNvPr id="53"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54"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
              </a:rPr>
              <a:t>www.rapidbbs.cn</a:t>
            </a:r>
            <a:endParaRPr lang="zh-CN" altLang="en-US" sz="1200" b="0">
              <a:latin typeface="Arial" charset="0"/>
              <a:ea typeface="ＭＳ Ｐゴシック" pitchFamily="34" charset="-128"/>
            </a:endParaRPr>
          </a:p>
        </p:txBody>
      </p:sp>
      <p:pic>
        <p:nvPicPr>
          <p:cNvPr id="55" name="Picture 2">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112956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 calcmode="lin" valueType="num">
                                      <p:cBhvr>
                                        <p:cTn id="7" dur="500" fill="hold"/>
                                        <p:tgtEl>
                                          <p:spTgt spid="49"/>
                                        </p:tgtEl>
                                        <p:attrNameLst>
                                          <p:attrName>ppt_w</p:attrName>
                                        </p:attrNameLst>
                                      </p:cBhvr>
                                      <p:tavLst>
                                        <p:tav tm="0">
                                          <p:val>
                                            <p:fltVal val="0"/>
                                          </p:val>
                                        </p:tav>
                                        <p:tav tm="100000">
                                          <p:val>
                                            <p:strVal val="#ppt_w"/>
                                          </p:val>
                                        </p:tav>
                                      </p:tavLst>
                                    </p:anim>
                                    <p:anim calcmode="lin" valueType="num">
                                      <p:cBhvr>
                                        <p:cTn id="8" dur="500" fill="hold"/>
                                        <p:tgtEl>
                                          <p:spTgt spid="49"/>
                                        </p:tgtEl>
                                        <p:attrNameLst>
                                          <p:attrName>ppt_h</p:attrName>
                                        </p:attrNameLst>
                                      </p:cBhvr>
                                      <p:tavLst>
                                        <p:tav tm="0">
                                          <p:val>
                                            <p:fltVal val="0"/>
                                          </p:val>
                                        </p:tav>
                                        <p:tav tm="100000">
                                          <p:val>
                                            <p:strVal val="#ppt_h"/>
                                          </p:val>
                                        </p:tav>
                                      </p:tavLst>
                                    </p:anim>
                                    <p:animEffect transition="in" filter="fade">
                                      <p:cBhvr>
                                        <p:cTn id="9" dur="500"/>
                                        <p:tgtEl>
                                          <p:spTgt spid="49"/>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nodeType="clickEffect">
                                  <p:stCondLst>
                                    <p:cond delay="0"/>
                                  </p:stCondLst>
                                  <p:childTnLst>
                                    <p:set>
                                      <p:cBhvr>
                                        <p:cTn id="13" dur="1" fill="hold">
                                          <p:stCondLst>
                                            <p:cond delay="0"/>
                                          </p:stCondLst>
                                        </p:cTn>
                                        <p:tgtEl>
                                          <p:spTgt spid="50"/>
                                        </p:tgtEl>
                                        <p:attrNameLst>
                                          <p:attrName>style.visibility</p:attrName>
                                        </p:attrNameLst>
                                      </p:cBhvr>
                                      <p:to>
                                        <p:strVal val="visible"/>
                                      </p:to>
                                    </p:set>
                                    <p:anim calcmode="lin" valueType="num">
                                      <p:cBhvr>
                                        <p:cTn id="14" dur="500" fill="hold"/>
                                        <p:tgtEl>
                                          <p:spTgt spid="50"/>
                                        </p:tgtEl>
                                        <p:attrNameLst>
                                          <p:attrName>ppt_w</p:attrName>
                                        </p:attrNameLst>
                                      </p:cBhvr>
                                      <p:tavLst>
                                        <p:tav tm="0">
                                          <p:val>
                                            <p:fltVal val="0"/>
                                          </p:val>
                                        </p:tav>
                                        <p:tav tm="100000">
                                          <p:val>
                                            <p:strVal val="#ppt_w"/>
                                          </p:val>
                                        </p:tav>
                                      </p:tavLst>
                                    </p:anim>
                                    <p:anim calcmode="lin" valueType="num">
                                      <p:cBhvr>
                                        <p:cTn id="15" dur="500" fill="hold"/>
                                        <p:tgtEl>
                                          <p:spTgt spid="50"/>
                                        </p:tgtEl>
                                        <p:attrNameLst>
                                          <p:attrName>ppt_h</p:attrName>
                                        </p:attrNameLst>
                                      </p:cBhvr>
                                      <p:tavLst>
                                        <p:tav tm="0">
                                          <p:val>
                                            <p:fltVal val="0"/>
                                          </p:val>
                                        </p:tav>
                                        <p:tav tm="100000">
                                          <p:val>
                                            <p:strVal val="#ppt_h"/>
                                          </p:val>
                                        </p:tav>
                                      </p:tavLst>
                                    </p:anim>
                                    <p:animEffect transition="in" filter="fade">
                                      <p:cBhvr>
                                        <p:cTn id="16" dur="500"/>
                                        <p:tgtEl>
                                          <p:spTgt spid="50"/>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nodeType="clickEffect">
                                  <p:stCondLst>
                                    <p:cond delay="0"/>
                                  </p:stCondLst>
                                  <p:childTnLst>
                                    <p:set>
                                      <p:cBhvr>
                                        <p:cTn id="20" dur="1" fill="hold">
                                          <p:stCondLst>
                                            <p:cond delay="0"/>
                                          </p:stCondLst>
                                        </p:cTn>
                                        <p:tgtEl>
                                          <p:spTgt spid="51"/>
                                        </p:tgtEl>
                                        <p:attrNameLst>
                                          <p:attrName>style.visibility</p:attrName>
                                        </p:attrNameLst>
                                      </p:cBhvr>
                                      <p:to>
                                        <p:strVal val="visible"/>
                                      </p:to>
                                    </p:set>
                                    <p:anim calcmode="lin" valueType="num">
                                      <p:cBhvr>
                                        <p:cTn id="21" dur="500" fill="hold"/>
                                        <p:tgtEl>
                                          <p:spTgt spid="51"/>
                                        </p:tgtEl>
                                        <p:attrNameLst>
                                          <p:attrName>ppt_w</p:attrName>
                                        </p:attrNameLst>
                                      </p:cBhvr>
                                      <p:tavLst>
                                        <p:tav tm="0">
                                          <p:val>
                                            <p:fltVal val="0"/>
                                          </p:val>
                                        </p:tav>
                                        <p:tav tm="100000">
                                          <p:val>
                                            <p:strVal val="#ppt_w"/>
                                          </p:val>
                                        </p:tav>
                                      </p:tavLst>
                                    </p:anim>
                                    <p:anim calcmode="lin" valueType="num">
                                      <p:cBhvr>
                                        <p:cTn id="22" dur="500" fill="hold"/>
                                        <p:tgtEl>
                                          <p:spTgt spid="51"/>
                                        </p:tgtEl>
                                        <p:attrNameLst>
                                          <p:attrName>ppt_h</p:attrName>
                                        </p:attrNameLst>
                                      </p:cBhvr>
                                      <p:tavLst>
                                        <p:tav tm="0">
                                          <p:val>
                                            <p:fltVal val="0"/>
                                          </p:val>
                                        </p:tav>
                                        <p:tav tm="100000">
                                          <p:val>
                                            <p:strVal val="#ppt_h"/>
                                          </p:val>
                                        </p:tav>
                                      </p:tavLst>
                                    </p:anim>
                                    <p:animEffect transition="in" filter="fade">
                                      <p:cBhvr>
                                        <p:cTn id="23" dur="500"/>
                                        <p:tgtEl>
                                          <p:spTgt spid="51"/>
                                        </p:tgtEl>
                                      </p:cBhvr>
                                    </p:animEffect>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nodeType="clickEffect">
                                  <p:stCondLst>
                                    <p:cond delay="0"/>
                                  </p:stCondLst>
                                  <p:childTnLst>
                                    <p:set>
                                      <p:cBhvr>
                                        <p:cTn id="27" dur="1" fill="hold">
                                          <p:stCondLst>
                                            <p:cond delay="0"/>
                                          </p:stCondLst>
                                        </p:cTn>
                                        <p:tgtEl>
                                          <p:spTgt spid="52"/>
                                        </p:tgtEl>
                                        <p:attrNameLst>
                                          <p:attrName>style.visibility</p:attrName>
                                        </p:attrNameLst>
                                      </p:cBhvr>
                                      <p:to>
                                        <p:strVal val="visible"/>
                                      </p:to>
                                    </p:set>
                                    <p:anim calcmode="lin" valueType="num">
                                      <p:cBhvr>
                                        <p:cTn id="28" dur="500" fill="hold"/>
                                        <p:tgtEl>
                                          <p:spTgt spid="52"/>
                                        </p:tgtEl>
                                        <p:attrNameLst>
                                          <p:attrName>ppt_w</p:attrName>
                                        </p:attrNameLst>
                                      </p:cBhvr>
                                      <p:tavLst>
                                        <p:tav tm="0">
                                          <p:val>
                                            <p:fltVal val="0"/>
                                          </p:val>
                                        </p:tav>
                                        <p:tav tm="100000">
                                          <p:val>
                                            <p:strVal val="#ppt_w"/>
                                          </p:val>
                                        </p:tav>
                                      </p:tavLst>
                                    </p:anim>
                                    <p:anim calcmode="lin" valueType="num">
                                      <p:cBhvr>
                                        <p:cTn id="29" dur="500" fill="hold"/>
                                        <p:tgtEl>
                                          <p:spTgt spid="52"/>
                                        </p:tgtEl>
                                        <p:attrNameLst>
                                          <p:attrName>ppt_h</p:attrName>
                                        </p:attrNameLst>
                                      </p:cBhvr>
                                      <p:tavLst>
                                        <p:tav tm="0">
                                          <p:val>
                                            <p:fltVal val="0"/>
                                          </p:val>
                                        </p:tav>
                                        <p:tav tm="100000">
                                          <p:val>
                                            <p:strVal val="#ppt_h"/>
                                          </p:val>
                                        </p:tav>
                                      </p:tavLst>
                                    </p:anim>
                                    <p:animEffect transition="in" filter="fade">
                                      <p:cBhvr>
                                        <p:cTn id="30"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dustry Trends</a:t>
            </a:r>
            <a:endParaRPr lang="en-US" dirty="0"/>
          </a:p>
        </p:txBody>
      </p:sp>
      <p:sp>
        <p:nvSpPr>
          <p:cNvPr id="5" name="Rectangle 4"/>
          <p:cNvSpPr/>
          <p:nvPr/>
        </p:nvSpPr>
        <p:spPr>
          <a:xfrm>
            <a:off x="6396047" y="3229839"/>
            <a:ext cx="1777760" cy="5063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r>
              <a:rPr lang="en-US" sz="1200" b="1" dirty="0">
                <a:solidFill>
                  <a:schemeClr val="accent1"/>
                </a:solidFill>
                <a:latin typeface="Segoe UI Light" pitchFamily="34" charset="0"/>
              </a:rPr>
              <a:t>IT</a:t>
            </a:r>
            <a:br>
              <a:rPr lang="en-US" sz="1200" b="1" dirty="0">
                <a:solidFill>
                  <a:schemeClr val="accent1"/>
                </a:solidFill>
                <a:latin typeface="Segoe UI Light" pitchFamily="34" charset="0"/>
              </a:rPr>
            </a:br>
            <a:r>
              <a:rPr lang="en-US" sz="1200" b="1" dirty="0">
                <a:solidFill>
                  <a:schemeClr val="accent1"/>
                </a:solidFill>
                <a:latin typeface="Segoe UI Light" pitchFamily="34" charset="0"/>
              </a:rPr>
              <a:t>CONSTRAINTS</a:t>
            </a:r>
            <a:endParaRPr lang="en-US" sz="1200" b="1" dirty="0">
              <a:solidFill>
                <a:schemeClr val="accent1"/>
              </a:solidFill>
              <a:latin typeface="Segoe UI Light" pitchFamily="34" charset="0"/>
            </a:endParaRPr>
          </a:p>
        </p:txBody>
      </p:sp>
      <p:sp>
        <p:nvSpPr>
          <p:cNvPr id="6" name="Rectangle 5"/>
          <p:cNvSpPr/>
          <p:nvPr/>
        </p:nvSpPr>
        <p:spPr>
          <a:xfrm>
            <a:off x="4585884" y="3229839"/>
            <a:ext cx="1776350" cy="5063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r>
              <a:rPr lang="en-US" sz="1200" b="1" dirty="0">
                <a:solidFill>
                  <a:schemeClr val="accent1"/>
                </a:solidFill>
                <a:latin typeface="Segoe UI Light" pitchFamily="34" charset="0"/>
              </a:rPr>
              <a:t>BUDGET</a:t>
            </a:r>
            <a:br>
              <a:rPr lang="en-US" sz="1200" b="1" dirty="0">
                <a:solidFill>
                  <a:schemeClr val="accent1"/>
                </a:solidFill>
                <a:latin typeface="Segoe UI Light" pitchFamily="34" charset="0"/>
              </a:rPr>
            </a:br>
            <a:r>
              <a:rPr lang="en-US" sz="1200" b="1" dirty="0">
                <a:solidFill>
                  <a:schemeClr val="accent1"/>
                </a:solidFill>
                <a:latin typeface="Segoe UI Light" pitchFamily="34" charset="0"/>
              </a:rPr>
              <a:t>REDUCTIONS</a:t>
            </a:r>
            <a:endParaRPr lang="en-US" sz="1200" b="1" dirty="0">
              <a:solidFill>
                <a:schemeClr val="accent1"/>
              </a:solidFill>
              <a:latin typeface="Segoe UI Light" pitchFamily="34" charset="0"/>
            </a:endParaRPr>
          </a:p>
        </p:txBody>
      </p:sp>
      <p:sp>
        <p:nvSpPr>
          <p:cNvPr id="7" name="Rectangle 6"/>
          <p:cNvSpPr/>
          <p:nvPr/>
        </p:nvSpPr>
        <p:spPr>
          <a:xfrm>
            <a:off x="2781072" y="3229839"/>
            <a:ext cx="1776350" cy="5063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r>
              <a:rPr lang="en-US" sz="1200" b="1" dirty="0">
                <a:solidFill>
                  <a:schemeClr val="accent1"/>
                </a:solidFill>
                <a:latin typeface="Segoe UI Light" pitchFamily="34" charset="0"/>
              </a:rPr>
              <a:t>PROLIFERATION</a:t>
            </a:r>
            <a:br>
              <a:rPr lang="en-US" sz="1200" b="1" dirty="0">
                <a:solidFill>
                  <a:schemeClr val="accent1"/>
                </a:solidFill>
                <a:latin typeface="Segoe UI Light" pitchFamily="34" charset="0"/>
              </a:rPr>
            </a:br>
            <a:r>
              <a:rPr lang="en-US" sz="1200" b="1" dirty="0">
                <a:solidFill>
                  <a:schemeClr val="accent1"/>
                </a:solidFill>
                <a:latin typeface="Segoe UI Light" pitchFamily="34" charset="0"/>
              </a:rPr>
              <a:t>OF DEVICES</a:t>
            </a:r>
          </a:p>
        </p:txBody>
      </p:sp>
      <p:sp>
        <p:nvSpPr>
          <p:cNvPr id="8" name="Rectangle 7"/>
          <p:cNvSpPr/>
          <p:nvPr/>
        </p:nvSpPr>
        <p:spPr>
          <a:xfrm>
            <a:off x="960190" y="3229839"/>
            <a:ext cx="1792300" cy="5063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r>
              <a:rPr lang="en-US" sz="1200" b="1" dirty="0">
                <a:solidFill>
                  <a:schemeClr val="accent1"/>
                </a:solidFill>
                <a:latin typeface="Segoe UI Light" pitchFamily="34" charset="0"/>
              </a:rPr>
              <a:t>EXPLOSIVE </a:t>
            </a:r>
            <a:br>
              <a:rPr lang="en-US" sz="1200" b="1" dirty="0">
                <a:solidFill>
                  <a:schemeClr val="accent1"/>
                </a:solidFill>
                <a:latin typeface="Segoe UI Light" pitchFamily="34" charset="0"/>
              </a:rPr>
            </a:br>
            <a:r>
              <a:rPr lang="en-US" sz="1200" b="1" dirty="0">
                <a:solidFill>
                  <a:schemeClr val="accent1"/>
                </a:solidFill>
                <a:latin typeface="Segoe UI Light" pitchFamily="34" charset="0"/>
              </a:rPr>
              <a:t>DATA GROWTH</a:t>
            </a:r>
            <a:endParaRPr lang="en-US" sz="1200" b="1" dirty="0">
              <a:solidFill>
                <a:schemeClr val="accent1"/>
              </a:solidFill>
              <a:latin typeface="Segoe UI Light" pitchFamily="34" charset="0"/>
            </a:endParaRPr>
          </a:p>
        </p:txBody>
      </p:sp>
      <p:sp>
        <p:nvSpPr>
          <p:cNvPr id="9" name="Rectangle 8"/>
          <p:cNvSpPr/>
          <p:nvPr/>
        </p:nvSpPr>
        <p:spPr>
          <a:xfrm>
            <a:off x="950612" y="1372415"/>
            <a:ext cx="7213618" cy="18574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endParaRPr lang="en-US" dirty="0"/>
          </a:p>
        </p:txBody>
      </p:sp>
      <p:cxnSp>
        <p:nvCxnSpPr>
          <p:cNvPr id="10" name="Straight Connector 9"/>
          <p:cNvCxnSpPr/>
          <p:nvPr/>
        </p:nvCxnSpPr>
        <p:spPr>
          <a:xfrm>
            <a:off x="2752489" y="1372414"/>
            <a:ext cx="11104" cy="184440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stCxn id="9" idx="0"/>
          </p:cNvCxnSpPr>
          <p:nvPr/>
        </p:nvCxnSpPr>
        <p:spPr>
          <a:xfrm>
            <a:off x="4557423" y="1372413"/>
            <a:ext cx="13387" cy="184436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6362236" y="1372414"/>
            <a:ext cx="8167" cy="1844906"/>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bwMode="black">
          <a:xfrm>
            <a:off x="5144576" y="1993348"/>
            <a:ext cx="628814" cy="764192"/>
            <a:chOff x="2499075" y="5550068"/>
            <a:chExt cx="440138" cy="535176"/>
          </a:xfrm>
        </p:grpSpPr>
        <p:sp>
          <p:nvSpPr>
            <p:cNvPr id="14" name="Freeform 13"/>
            <p:cNvSpPr>
              <a:spLocks/>
            </p:cNvSpPr>
            <p:nvPr/>
          </p:nvSpPr>
          <p:spPr bwMode="black">
            <a:xfrm>
              <a:off x="2499075" y="5550068"/>
              <a:ext cx="440138" cy="351331"/>
            </a:xfrm>
            <a:custGeom>
              <a:avLst/>
              <a:gdLst>
                <a:gd name="T0" fmla="*/ 208 w 239"/>
                <a:gd name="T1" fmla="*/ 0 h 191"/>
                <a:gd name="T2" fmla="*/ 184 w 239"/>
                <a:gd name="T3" fmla="*/ 6 h 191"/>
                <a:gd name="T4" fmla="*/ 133 w 239"/>
                <a:gd name="T5" fmla="*/ 6 h 191"/>
                <a:gd name="T6" fmla="*/ 109 w 239"/>
                <a:gd name="T7" fmla="*/ 0 h 191"/>
                <a:gd name="T8" fmla="*/ 78 w 239"/>
                <a:gd name="T9" fmla="*/ 17 h 191"/>
                <a:gd name="T10" fmla="*/ 109 w 239"/>
                <a:gd name="T11" fmla="*/ 35 h 191"/>
                <a:gd name="T12" fmla="*/ 134 w 239"/>
                <a:gd name="T13" fmla="*/ 27 h 191"/>
                <a:gd name="T14" fmla="*/ 145 w 239"/>
                <a:gd name="T15" fmla="*/ 27 h 191"/>
                <a:gd name="T16" fmla="*/ 145 w 239"/>
                <a:gd name="T17" fmla="*/ 52 h 191"/>
                <a:gd name="T18" fmla="*/ 116 w 239"/>
                <a:gd name="T19" fmla="*/ 90 h 191"/>
                <a:gd name="T20" fmla="*/ 116 w 239"/>
                <a:gd name="T21" fmla="*/ 96 h 191"/>
                <a:gd name="T22" fmla="*/ 40 w 239"/>
                <a:gd name="T23" fmla="*/ 96 h 191"/>
                <a:gd name="T24" fmla="*/ 0 w 239"/>
                <a:gd name="T25" fmla="*/ 131 h 191"/>
                <a:gd name="T26" fmla="*/ 0 w 239"/>
                <a:gd name="T27" fmla="*/ 191 h 191"/>
                <a:gd name="T28" fmla="*/ 50 w 239"/>
                <a:gd name="T29" fmla="*/ 191 h 191"/>
                <a:gd name="T30" fmla="*/ 50 w 239"/>
                <a:gd name="T31" fmla="*/ 161 h 191"/>
                <a:gd name="T32" fmla="*/ 66 w 239"/>
                <a:gd name="T33" fmla="*/ 146 h 191"/>
                <a:gd name="T34" fmla="*/ 202 w 239"/>
                <a:gd name="T35" fmla="*/ 146 h 191"/>
                <a:gd name="T36" fmla="*/ 200 w 239"/>
                <a:gd name="T37" fmla="*/ 96 h 191"/>
                <a:gd name="T38" fmla="*/ 193 w 239"/>
                <a:gd name="T39" fmla="*/ 96 h 191"/>
                <a:gd name="T40" fmla="*/ 194 w 239"/>
                <a:gd name="T41" fmla="*/ 90 h 191"/>
                <a:gd name="T42" fmla="*/ 167 w 239"/>
                <a:gd name="T43" fmla="*/ 53 h 191"/>
                <a:gd name="T44" fmla="*/ 167 w 239"/>
                <a:gd name="T45" fmla="*/ 27 h 191"/>
                <a:gd name="T46" fmla="*/ 182 w 239"/>
                <a:gd name="T47" fmla="*/ 27 h 191"/>
                <a:gd name="T48" fmla="*/ 208 w 239"/>
                <a:gd name="T49" fmla="*/ 35 h 191"/>
                <a:gd name="T50" fmla="*/ 239 w 239"/>
                <a:gd name="T51" fmla="*/ 17 h 191"/>
                <a:gd name="T52" fmla="*/ 208 w 239"/>
                <a:gd name="T53"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9" h="191">
                  <a:moveTo>
                    <a:pt x="208" y="0"/>
                  </a:moveTo>
                  <a:cubicBezTo>
                    <a:pt x="198" y="0"/>
                    <a:pt x="189" y="2"/>
                    <a:pt x="184" y="6"/>
                  </a:cubicBezTo>
                  <a:cubicBezTo>
                    <a:pt x="133" y="6"/>
                    <a:pt x="133" y="6"/>
                    <a:pt x="133" y="6"/>
                  </a:cubicBezTo>
                  <a:cubicBezTo>
                    <a:pt x="127" y="2"/>
                    <a:pt x="118" y="0"/>
                    <a:pt x="109" y="0"/>
                  </a:cubicBezTo>
                  <a:cubicBezTo>
                    <a:pt x="92" y="0"/>
                    <a:pt x="78" y="8"/>
                    <a:pt x="78" y="17"/>
                  </a:cubicBezTo>
                  <a:cubicBezTo>
                    <a:pt x="78" y="27"/>
                    <a:pt x="92" y="35"/>
                    <a:pt x="109" y="35"/>
                  </a:cubicBezTo>
                  <a:cubicBezTo>
                    <a:pt x="119" y="35"/>
                    <a:pt x="129" y="32"/>
                    <a:pt x="134" y="27"/>
                  </a:cubicBezTo>
                  <a:cubicBezTo>
                    <a:pt x="145" y="27"/>
                    <a:pt x="145" y="27"/>
                    <a:pt x="145" y="27"/>
                  </a:cubicBezTo>
                  <a:cubicBezTo>
                    <a:pt x="145" y="52"/>
                    <a:pt x="145" y="52"/>
                    <a:pt x="145" y="52"/>
                  </a:cubicBezTo>
                  <a:cubicBezTo>
                    <a:pt x="128" y="56"/>
                    <a:pt x="116" y="71"/>
                    <a:pt x="116" y="90"/>
                  </a:cubicBezTo>
                  <a:cubicBezTo>
                    <a:pt x="116" y="92"/>
                    <a:pt x="116" y="94"/>
                    <a:pt x="116" y="96"/>
                  </a:cubicBezTo>
                  <a:cubicBezTo>
                    <a:pt x="83" y="96"/>
                    <a:pt x="49" y="96"/>
                    <a:pt x="40" y="96"/>
                  </a:cubicBezTo>
                  <a:cubicBezTo>
                    <a:pt x="20" y="96"/>
                    <a:pt x="0" y="108"/>
                    <a:pt x="0" y="131"/>
                  </a:cubicBezTo>
                  <a:cubicBezTo>
                    <a:pt x="0" y="154"/>
                    <a:pt x="0" y="191"/>
                    <a:pt x="0" y="191"/>
                  </a:cubicBezTo>
                  <a:cubicBezTo>
                    <a:pt x="50" y="191"/>
                    <a:pt x="50" y="191"/>
                    <a:pt x="50" y="191"/>
                  </a:cubicBezTo>
                  <a:cubicBezTo>
                    <a:pt x="50" y="191"/>
                    <a:pt x="50" y="169"/>
                    <a:pt x="50" y="161"/>
                  </a:cubicBezTo>
                  <a:cubicBezTo>
                    <a:pt x="50" y="154"/>
                    <a:pt x="53" y="146"/>
                    <a:pt x="66" y="146"/>
                  </a:cubicBezTo>
                  <a:cubicBezTo>
                    <a:pt x="78" y="146"/>
                    <a:pt x="202" y="146"/>
                    <a:pt x="202" y="146"/>
                  </a:cubicBezTo>
                  <a:cubicBezTo>
                    <a:pt x="200" y="96"/>
                    <a:pt x="200" y="96"/>
                    <a:pt x="200" y="96"/>
                  </a:cubicBezTo>
                  <a:cubicBezTo>
                    <a:pt x="200" y="96"/>
                    <a:pt x="198" y="96"/>
                    <a:pt x="193" y="96"/>
                  </a:cubicBezTo>
                  <a:cubicBezTo>
                    <a:pt x="193" y="94"/>
                    <a:pt x="194" y="92"/>
                    <a:pt x="194" y="90"/>
                  </a:cubicBezTo>
                  <a:cubicBezTo>
                    <a:pt x="194" y="72"/>
                    <a:pt x="182" y="58"/>
                    <a:pt x="167" y="53"/>
                  </a:cubicBezTo>
                  <a:cubicBezTo>
                    <a:pt x="167" y="27"/>
                    <a:pt x="167" y="27"/>
                    <a:pt x="167" y="27"/>
                  </a:cubicBezTo>
                  <a:cubicBezTo>
                    <a:pt x="182" y="27"/>
                    <a:pt x="182" y="27"/>
                    <a:pt x="182" y="27"/>
                  </a:cubicBezTo>
                  <a:cubicBezTo>
                    <a:pt x="187" y="32"/>
                    <a:pt x="197" y="35"/>
                    <a:pt x="208" y="35"/>
                  </a:cubicBezTo>
                  <a:cubicBezTo>
                    <a:pt x="225" y="35"/>
                    <a:pt x="239" y="27"/>
                    <a:pt x="239" y="17"/>
                  </a:cubicBezTo>
                  <a:cubicBezTo>
                    <a:pt x="239" y="8"/>
                    <a:pt x="225" y="0"/>
                    <a:pt x="208" y="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200" dirty="0"/>
            </a:p>
          </p:txBody>
        </p:sp>
        <p:sp>
          <p:nvSpPr>
            <p:cNvPr id="15" name="Freeform 14"/>
            <p:cNvSpPr>
              <a:spLocks/>
            </p:cNvSpPr>
            <p:nvPr/>
          </p:nvSpPr>
          <p:spPr bwMode="black">
            <a:xfrm>
              <a:off x="2499075" y="5925548"/>
              <a:ext cx="103608" cy="159696"/>
            </a:xfrm>
            <a:custGeom>
              <a:avLst/>
              <a:gdLst>
                <a:gd name="T0" fmla="*/ 0 w 56"/>
                <a:gd name="T1" fmla="*/ 54 h 87"/>
                <a:gd name="T2" fmla="*/ 28 w 56"/>
                <a:gd name="T3" fmla="*/ 87 h 87"/>
                <a:gd name="T4" fmla="*/ 56 w 56"/>
                <a:gd name="T5" fmla="*/ 54 h 87"/>
                <a:gd name="T6" fmla="*/ 28 w 56"/>
                <a:gd name="T7" fmla="*/ 1 h 87"/>
                <a:gd name="T8" fmla="*/ 0 w 56"/>
                <a:gd name="T9" fmla="*/ 54 h 87"/>
              </a:gdLst>
              <a:ahLst/>
              <a:cxnLst>
                <a:cxn ang="0">
                  <a:pos x="T0" y="T1"/>
                </a:cxn>
                <a:cxn ang="0">
                  <a:pos x="T2" y="T3"/>
                </a:cxn>
                <a:cxn ang="0">
                  <a:pos x="T4" y="T5"/>
                </a:cxn>
                <a:cxn ang="0">
                  <a:pos x="T6" y="T7"/>
                </a:cxn>
                <a:cxn ang="0">
                  <a:pos x="T8" y="T9"/>
                </a:cxn>
              </a:cxnLst>
              <a:rect l="0" t="0" r="r" b="b"/>
              <a:pathLst>
                <a:path w="56" h="87">
                  <a:moveTo>
                    <a:pt x="0" y="54"/>
                  </a:moveTo>
                  <a:cubicBezTo>
                    <a:pt x="0" y="79"/>
                    <a:pt x="10" y="87"/>
                    <a:pt x="28" y="87"/>
                  </a:cubicBezTo>
                  <a:cubicBezTo>
                    <a:pt x="46" y="87"/>
                    <a:pt x="56" y="74"/>
                    <a:pt x="56" y="54"/>
                  </a:cubicBezTo>
                  <a:cubicBezTo>
                    <a:pt x="56" y="37"/>
                    <a:pt x="28" y="1"/>
                    <a:pt x="28" y="1"/>
                  </a:cubicBezTo>
                  <a:cubicBezTo>
                    <a:pt x="28" y="0"/>
                    <a:pt x="0" y="36"/>
                    <a:pt x="0" y="5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200" dirty="0"/>
            </a:p>
          </p:txBody>
        </p:sp>
      </p:grpSp>
      <p:pic>
        <p:nvPicPr>
          <p:cNvPr id="16" name="Picture 15"/>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bwMode="auto">
          <a:xfrm>
            <a:off x="1375990" y="1914614"/>
            <a:ext cx="971803" cy="971550"/>
          </a:xfrm>
          <a:prstGeom prst="rect">
            <a:avLst/>
          </a:prstGeom>
          <a:noFill/>
        </p:spPr>
      </p:pic>
      <p:sp>
        <p:nvSpPr>
          <p:cNvPr id="17" name="Oval 16"/>
          <p:cNvSpPr/>
          <p:nvPr/>
        </p:nvSpPr>
        <p:spPr>
          <a:xfrm>
            <a:off x="6777962" y="1991351"/>
            <a:ext cx="914638" cy="48622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endParaRPr lang="en-US" dirty="0"/>
          </a:p>
        </p:txBody>
      </p:sp>
      <p:sp>
        <p:nvSpPr>
          <p:cNvPr id="18" name="Freeform 17"/>
          <p:cNvSpPr/>
          <p:nvPr/>
        </p:nvSpPr>
        <p:spPr>
          <a:xfrm>
            <a:off x="7241681" y="2224525"/>
            <a:ext cx="428737" cy="325755"/>
          </a:xfrm>
          <a:custGeom>
            <a:avLst/>
            <a:gdLst>
              <a:gd name="connsiteX0" fmla="*/ 624840 w 624840"/>
              <a:gd name="connsiteY0" fmla="*/ 3810 h 278130"/>
              <a:gd name="connsiteX1" fmla="*/ 0 w 624840"/>
              <a:gd name="connsiteY1" fmla="*/ 0 h 278130"/>
              <a:gd name="connsiteX2" fmla="*/ 518160 w 624840"/>
              <a:gd name="connsiteY2" fmla="*/ 278130 h 278130"/>
              <a:gd name="connsiteX3" fmla="*/ 624840 w 624840"/>
              <a:gd name="connsiteY3" fmla="*/ 3810 h 278130"/>
              <a:gd name="connsiteX0" fmla="*/ 624840 w 624840"/>
              <a:gd name="connsiteY0" fmla="*/ 3810 h 384810"/>
              <a:gd name="connsiteX1" fmla="*/ 0 w 624840"/>
              <a:gd name="connsiteY1" fmla="*/ 0 h 384810"/>
              <a:gd name="connsiteX2" fmla="*/ 163830 w 624840"/>
              <a:gd name="connsiteY2" fmla="*/ 384810 h 384810"/>
              <a:gd name="connsiteX3" fmla="*/ 624840 w 624840"/>
              <a:gd name="connsiteY3" fmla="*/ 3810 h 384810"/>
              <a:gd name="connsiteX0" fmla="*/ 438150 w 438150"/>
              <a:gd name="connsiteY0" fmla="*/ 297180 h 384810"/>
              <a:gd name="connsiteX1" fmla="*/ 0 w 438150"/>
              <a:gd name="connsiteY1" fmla="*/ 0 h 384810"/>
              <a:gd name="connsiteX2" fmla="*/ 163830 w 438150"/>
              <a:gd name="connsiteY2" fmla="*/ 384810 h 384810"/>
              <a:gd name="connsiteX3" fmla="*/ 438150 w 438150"/>
              <a:gd name="connsiteY3" fmla="*/ 297180 h 384810"/>
              <a:gd name="connsiteX0" fmla="*/ 491490 w 491490"/>
              <a:gd name="connsiteY0" fmla="*/ 266700 h 384810"/>
              <a:gd name="connsiteX1" fmla="*/ 0 w 491490"/>
              <a:gd name="connsiteY1" fmla="*/ 0 h 384810"/>
              <a:gd name="connsiteX2" fmla="*/ 163830 w 491490"/>
              <a:gd name="connsiteY2" fmla="*/ 384810 h 384810"/>
              <a:gd name="connsiteX3" fmla="*/ 491490 w 491490"/>
              <a:gd name="connsiteY3" fmla="*/ 266700 h 384810"/>
              <a:gd name="connsiteX0" fmla="*/ 491490 w 491490"/>
              <a:gd name="connsiteY0" fmla="*/ 266700 h 453390"/>
              <a:gd name="connsiteX1" fmla="*/ 0 w 491490"/>
              <a:gd name="connsiteY1" fmla="*/ 0 h 453390"/>
              <a:gd name="connsiteX2" fmla="*/ 247650 w 491490"/>
              <a:gd name="connsiteY2" fmla="*/ 453390 h 453390"/>
              <a:gd name="connsiteX3" fmla="*/ 491490 w 491490"/>
              <a:gd name="connsiteY3" fmla="*/ 266700 h 453390"/>
              <a:gd name="connsiteX0" fmla="*/ 491490 w 491490"/>
              <a:gd name="connsiteY0" fmla="*/ 266700 h 464820"/>
              <a:gd name="connsiteX1" fmla="*/ 0 w 491490"/>
              <a:gd name="connsiteY1" fmla="*/ 0 h 464820"/>
              <a:gd name="connsiteX2" fmla="*/ 228600 w 491490"/>
              <a:gd name="connsiteY2" fmla="*/ 464820 h 464820"/>
              <a:gd name="connsiteX3" fmla="*/ 491490 w 491490"/>
              <a:gd name="connsiteY3" fmla="*/ 266700 h 464820"/>
              <a:gd name="connsiteX0" fmla="*/ 541020 w 541020"/>
              <a:gd name="connsiteY0" fmla="*/ 228600 h 464820"/>
              <a:gd name="connsiteX1" fmla="*/ 0 w 541020"/>
              <a:gd name="connsiteY1" fmla="*/ 0 h 464820"/>
              <a:gd name="connsiteX2" fmla="*/ 228600 w 541020"/>
              <a:gd name="connsiteY2" fmla="*/ 464820 h 464820"/>
              <a:gd name="connsiteX3" fmla="*/ 541020 w 541020"/>
              <a:gd name="connsiteY3" fmla="*/ 228600 h 464820"/>
              <a:gd name="connsiteX0" fmla="*/ 556260 w 556260"/>
              <a:gd name="connsiteY0" fmla="*/ 205740 h 464820"/>
              <a:gd name="connsiteX1" fmla="*/ 0 w 556260"/>
              <a:gd name="connsiteY1" fmla="*/ 0 h 464820"/>
              <a:gd name="connsiteX2" fmla="*/ 228600 w 556260"/>
              <a:gd name="connsiteY2" fmla="*/ 464820 h 464820"/>
              <a:gd name="connsiteX3" fmla="*/ 556260 w 556260"/>
              <a:gd name="connsiteY3" fmla="*/ 205740 h 464820"/>
              <a:gd name="connsiteX0" fmla="*/ 552450 w 552450"/>
              <a:gd name="connsiteY0" fmla="*/ 180975 h 440055"/>
              <a:gd name="connsiteX1" fmla="*/ 0 w 552450"/>
              <a:gd name="connsiteY1" fmla="*/ 0 h 440055"/>
              <a:gd name="connsiteX2" fmla="*/ 224790 w 552450"/>
              <a:gd name="connsiteY2" fmla="*/ 440055 h 440055"/>
              <a:gd name="connsiteX3" fmla="*/ 552450 w 552450"/>
              <a:gd name="connsiteY3" fmla="*/ 180975 h 440055"/>
              <a:gd name="connsiteX0" fmla="*/ 571500 w 571500"/>
              <a:gd name="connsiteY0" fmla="*/ 175260 h 434340"/>
              <a:gd name="connsiteX1" fmla="*/ 0 w 571500"/>
              <a:gd name="connsiteY1" fmla="*/ 0 h 434340"/>
              <a:gd name="connsiteX2" fmla="*/ 243840 w 571500"/>
              <a:gd name="connsiteY2" fmla="*/ 434340 h 434340"/>
              <a:gd name="connsiteX3" fmla="*/ 571500 w 571500"/>
              <a:gd name="connsiteY3" fmla="*/ 175260 h 434340"/>
            </a:gdLst>
            <a:ahLst/>
            <a:cxnLst>
              <a:cxn ang="0">
                <a:pos x="connsiteX0" y="connsiteY0"/>
              </a:cxn>
              <a:cxn ang="0">
                <a:pos x="connsiteX1" y="connsiteY1"/>
              </a:cxn>
              <a:cxn ang="0">
                <a:pos x="connsiteX2" y="connsiteY2"/>
              </a:cxn>
              <a:cxn ang="0">
                <a:pos x="connsiteX3" y="connsiteY3"/>
              </a:cxn>
            </a:cxnLst>
            <a:rect l="l" t="t" r="r" b="b"/>
            <a:pathLst>
              <a:path w="571500" h="434340">
                <a:moveTo>
                  <a:pt x="571500" y="175260"/>
                </a:moveTo>
                <a:lnTo>
                  <a:pt x="0" y="0"/>
                </a:lnTo>
                <a:lnTo>
                  <a:pt x="243840" y="434340"/>
                </a:lnTo>
                <a:lnTo>
                  <a:pt x="571500" y="17526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endParaRPr lang="en-US" dirty="0"/>
          </a:p>
        </p:txBody>
      </p:sp>
      <p:sp>
        <p:nvSpPr>
          <p:cNvPr id="19" name="TextBox 18"/>
          <p:cNvSpPr txBox="1"/>
          <p:nvPr/>
        </p:nvSpPr>
        <p:spPr>
          <a:xfrm>
            <a:off x="7290225" y="2317940"/>
            <a:ext cx="762343" cy="300083"/>
          </a:xfrm>
          <a:prstGeom prst="rect">
            <a:avLst/>
          </a:prstGeom>
          <a:noFill/>
          <a:ln>
            <a:noFill/>
          </a:ln>
        </p:spPr>
        <p:txBody>
          <a:bodyPr wrap="square" lIns="68586" tIns="34294" rIns="68586" bIns="34294" rtlCol="0">
            <a:spAutoFit/>
          </a:bodyPr>
          <a:lstStyle/>
          <a:p>
            <a:pPr algn="ctr"/>
            <a:r>
              <a:rPr lang="en-US" sz="1500" dirty="0">
                <a:ln w="12700">
                  <a:noFill/>
                </a:ln>
                <a:latin typeface="Segoe WP Light"/>
              </a:rPr>
              <a:t>20%</a:t>
            </a:r>
            <a:endParaRPr lang="en-US" sz="1500" dirty="0">
              <a:ln w="12700">
                <a:noFill/>
              </a:ln>
              <a:latin typeface="Segoe WP Light"/>
            </a:endParaRPr>
          </a:p>
        </p:txBody>
      </p:sp>
      <p:cxnSp>
        <p:nvCxnSpPr>
          <p:cNvPr id="20" name="Straight Connector 19"/>
          <p:cNvCxnSpPr/>
          <p:nvPr/>
        </p:nvCxnSpPr>
        <p:spPr>
          <a:xfrm>
            <a:off x="7245969" y="2230240"/>
            <a:ext cx="7146" cy="324319"/>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1" name="Group 20"/>
          <p:cNvGrpSpPr/>
          <p:nvPr/>
        </p:nvGrpSpPr>
        <p:grpSpPr>
          <a:xfrm>
            <a:off x="6555638" y="1708052"/>
            <a:ext cx="631165" cy="409547"/>
            <a:chOff x="8951676" y="1534400"/>
            <a:chExt cx="841334" cy="546061"/>
          </a:xfrm>
        </p:grpSpPr>
        <p:sp>
          <p:nvSpPr>
            <p:cNvPr id="22" name="TextBox 21"/>
            <p:cNvSpPr txBox="1"/>
            <p:nvPr/>
          </p:nvSpPr>
          <p:spPr>
            <a:xfrm>
              <a:off x="8951676" y="1534400"/>
              <a:ext cx="841334" cy="430885"/>
            </a:xfrm>
            <a:prstGeom prst="rect">
              <a:avLst/>
            </a:prstGeom>
            <a:noFill/>
          </p:spPr>
          <p:txBody>
            <a:bodyPr wrap="square" rtlCol="0">
              <a:spAutoFit/>
            </a:bodyPr>
            <a:lstStyle/>
            <a:p>
              <a:pPr algn="ctr"/>
              <a:r>
                <a:rPr lang="en-US" sz="1500" dirty="0">
                  <a:latin typeface="Segoe WP Light"/>
                </a:rPr>
                <a:t>66%</a:t>
              </a:r>
              <a:endParaRPr lang="en-US" sz="900" dirty="0">
                <a:latin typeface="Segoe WP Light"/>
              </a:endParaRPr>
            </a:p>
          </p:txBody>
        </p:sp>
        <p:sp>
          <p:nvSpPr>
            <p:cNvPr id="23" name="TextBox 22"/>
            <p:cNvSpPr txBox="1"/>
            <p:nvPr/>
          </p:nvSpPr>
          <p:spPr>
            <a:xfrm>
              <a:off x="9072604" y="1731649"/>
              <a:ext cx="603207" cy="348812"/>
            </a:xfrm>
            <a:prstGeom prst="rect">
              <a:avLst/>
            </a:prstGeom>
            <a:noFill/>
          </p:spPr>
          <p:txBody>
            <a:bodyPr wrap="square" rtlCol="0">
              <a:spAutoFit/>
            </a:bodyPr>
            <a:lstStyle/>
            <a:p>
              <a:r>
                <a:rPr lang="en-US" sz="1100" dirty="0"/>
                <a:t>run</a:t>
              </a:r>
              <a:endParaRPr lang="en-US" sz="1100" dirty="0"/>
            </a:p>
          </p:txBody>
        </p:sp>
      </p:grpSp>
      <p:sp>
        <p:nvSpPr>
          <p:cNvPr id="24" name="TextBox 23"/>
          <p:cNvSpPr txBox="1"/>
          <p:nvPr/>
        </p:nvSpPr>
        <p:spPr>
          <a:xfrm>
            <a:off x="7548456" y="2466688"/>
            <a:ext cx="542614" cy="242372"/>
          </a:xfrm>
          <a:prstGeom prst="rect">
            <a:avLst/>
          </a:prstGeom>
          <a:noFill/>
        </p:spPr>
        <p:txBody>
          <a:bodyPr wrap="square" lIns="68586" tIns="34294" rIns="68586" bIns="34294" rtlCol="0">
            <a:spAutoFit/>
          </a:bodyPr>
          <a:lstStyle/>
          <a:p>
            <a:r>
              <a:rPr lang="en-US" sz="1100" dirty="0"/>
              <a:t>grow</a:t>
            </a:r>
            <a:endParaRPr lang="en-US" sz="1100" dirty="0"/>
          </a:p>
        </p:txBody>
      </p:sp>
      <p:grpSp>
        <p:nvGrpSpPr>
          <p:cNvPr id="25" name="Group 24"/>
          <p:cNvGrpSpPr/>
          <p:nvPr/>
        </p:nvGrpSpPr>
        <p:grpSpPr>
          <a:xfrm>
            <a:off x="6665666" y="2463499"/>
            <a:ext cx="1124632" cy="426739"/>
            <a:chOff x="8760989" y="2879180"/>
            <a:chExt cx="1499119" cy="568985"/>
          </a:xfrm>
        </p:grpSpPr>
        <p:sp>
          <p:nvSpPr>
            <p:cNvPr id="26" name="TextBox 25"/>
            <p:cNvSpPr txBox="1"/>
            <p:nvPr/>
          </p:nvSpPr>
          <p:spPr>
            <a:xfrm>
              <a:off x="8760989" y="2879180"/>
              <a:ext cx="931036" cy="430886"/>
            </a:xfrm>
            <a:prstGeom prst="rect">
              <a:avLst/>
            </a:prstGeom>
            <a:noFill/>
          </p:spPr>
          <p:txBody>
            <a:bodyPr wrap="square" rtlCol="0">
              <a:spAutoFit/>
            </a:bodyPr>
            <a:lstStyle/>
            <a:p>
              <a:pPr algn="ctr"/>
              <a:r>
                <a:rPr lang="en-US" sz="1500" dirty="0">
                  <a:latin typeface="Segoe WP Light"/>
                </a:rPr>
                <a:t>14%</a:t>
              </a:r>
              <a:endParaRPr lang="en-US" sz="1500" dirty="0">
                <a:latin typeface="Segoe WP Light"/>
              </a:endParaRPr>
            </a:p>
          </p:txBody>
        </p:sp>
        <p:sp>
          <p:nvSpPr>
            <p:cNvPr id="27" name="TextBox 26"/>
            <p:cNvSpPr txBox="1"/>
            <p:nvPr/>
          </p:nvSpPr>
          <p:spPr>
            <a:xfrm>
              <a:off x="9011478" y="3099352"/>
              <a:ext cx="1248630" cy="348813"/>
            </a:xfrm>
            <a:prstGeom prst="rect">
              <a:avLst/>
            </a:prstGeom>
            <a:noFill/>
          </p:spPr>
          <p:txBody>
            <a:bodyPr wrap="square" rtlCol="0">
              <a:spAutoFit/>
            </a:bodyPr>
            <a:lstStyle/>
            <a:p>
              <a:r>
                <a:rPr lang="en-US" sz="1100" dirty="0"/>
                <a:t>transform</a:t>
              </a:r>
              <a:endParaRPr lang="en-US" sz="1100" dirty="0"/>
            </a:p>
          </p:txBody>
        </p:sp>
      </p:grpSp>
      <p:grpSp>
        <p:nvGrpSpPr>
          <p:cNvPr id="28" name="Group 27"/>
          <p:cNvGrpSpPr/>
          <p:nvPr/>
        </p:nvGrpSpPr>
        <p:grpSpPr>
          <a:xfrm>
            <a:off x="945114" y="1257301"/>
            <a:ext cx="7213617" cy="115112"/>
            <a:chOff x="1259822" y="566905"/>
            <a:chExt cx="9615651" cy="675150"/>
          </a:xfrm>
        </p:grpSpPr>
        <p:sp>
          <p:nvSpPr>
            <p:cNvPr id="29" name="Rectangle 28"/>
            <p:cNvSpPr/>
            <p:nvPr/>
          </p:nvSpPr>
          <p:spPr>
            <a:xfrm>
              <a:off x="8505744" y="566905"/>
              <a:ext cx="2369729" cy="6751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ectangle 29"/>
            <p:cNvSpPr/>
            <p:nvPr/>
          </p:nvSpPr>
          <p:spPr>
            <a:xfrm>
              <a:off x="6092824" y="566905"/>
              <a:ext cx="2367850" cy="6751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30"/>
            <p:cNvSpPr/>
            <p:nvPr/>
          </p:nvSpPr>
          <p:spPr>
            <a:xfrm>
              <a:off x="3687034" y="566905"/>
              <a:ext cx="2367850" cy="6751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p:cNvSpPr/>
            <p:nvPr/>
          </p:nvSpPr>
          <p:spPr>
            <a:xfrm>
              <a:off x="1259822" y="566905"/>
              <a:ext cx="2389111" cy="6751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3" name="Group 32"/>
          <p:cNvGrpSpPr/>
          <p:nvPr/>
        </p:nvGrpSpPr>
        <p:grpSpPr>
          <a:xfrm>
            <a:off x="3321666" y="1965793"/>
            <a:ext cx="665009" cy="853208"/>
            <a:chOff x="2038650" y="2124327"/>
            <a:chExt cx="886448" cy="1137611"/>
          </a:xfrm>
        </p:grpSpPr>
        <p:grpSp>
          <p:nvGrpSpPr>
            <p:cNvPr id="34" name="Group 33"/>
            <p:cNvGrpSpPr/>
            <p:nvPr/>
          </p:nvGrpSpPr>
          <p:grpSpPr>
            <a:xfrm>
              <a:off x="2605502" y="2124327"/>
              <a:ext cx="319596" cy="371126"/>
              <a:chOff x="2605502" y="2124327"/>
              <a:chExt cx="319596" cy="371126"/>
            </a:xfrm>
          </p:grpSpPr>
          <p:sp>
            <p:nvSpPr>
              <p:cNvPr id="50" name="Freeform 12"/>
              <p:cNvSpPr>
                <a:spLocks/>
              </p:cNvSpPr>
              <p:nvPr/>
            </p:nvSpPr>
            <p:spPr bwMode="black">
              <a:xfrm>
                <a:off x="2605502" y="2458245"/>
                <a:ext cx="29583" cy="37208"/>
              </a:xfrm>
              <a:custGeom>
                <a:avLst/>
                <a:gdLst>
                  <a:gd name="T0" fmla="*/ 26 w 62"/>
                  <a:gd name="T1" fmla="*/ 78 h 78"/>
                  <a:gd name="T2" fmla="*/ 62 w 62"/>
                  <a:gd name="T3" fmla="*/ 14 h 78"/>
                  <a:gd name="T4" fmla="*/ 36 w 62"/>
                  <a:gd name="T5" fmla="*/ 0 h 78"/>
                  <a:gd name="T6" fmla="*/ 0 w 62"/>
                  <a:gd name="T7" fmla="*/ 61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4"/>
                    </a:lnTo>
                    <a:lnTo>
                      <a:pt x="36" y="0"/>
                    </a:lnTo>
                    <a:lnTo>
                      <a:pt x="0" y="61"/>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51" name="Freeform 13"/>
              <p:cNvSpPr>
                <a:spLocks/>
              </p:cNvSpPr>
              <p:nvPr/>
            </p:nvSpPr>
            <p:spPr bwMode="black">
              <a:xfrm>
                <a:off x="2640334" y="2397185"/>
                <a:ext cx="29583" cy="37208"/>
              </a:xfrm>
              <a:custGeom>
                <a:avLst/>
                <a:gdLst>
                  <a:gd name="T0" fmla="*/ 26 w 62"/>
                  <a:gd name="T1" fmla="*/ 78 h 78"/>
                  <a:gd name="T2" fmla="*/ 62 w 62"/>
                  <a:gd name="T3" fmla="*/ 17 h 78"/>
                  <a:gd name="T4" fmla="*/ 36 w 62"/>
                  <a:gd name="T5" fmla="*/ 0 h 78"/>
                  <a:gd name="T6" fmla="*/ 0 w 62"/>
                  <a:gd name="T7" fmla="*/ 64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7"/>
                    </a:lnTo>
                    <a:lnTo>
                      <a:pt x="36" y="0"/>
                    </a:lnTo>
                    <a:lnTo>
                      <a:pt x="0" y="64"/>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52" name="Freeform 19"/>
              <p:cNvSpPr>
                <a:spLocks noEditPoints="1"/>
              </p:cNvSpPr>
              <p:nvPr/>
            </p:nvSpPr>
            <p:spPr bwMode="black">
              <a:xfrm>
                <a:off x="2656941" y="2124327"/>
                <a:ext cx="225691" cy="156941"/>
              </a:xfrm>
              <a:custGeom>
                <a:avLst/>
                <a:gdLst>
                  <a:gd name="T0" fmla="*/ 174 w 200"/>
                  <a:gd name="T1" fmla="*/ 0 h 139"/>
                  <a:gd name="T2" fmla="*/ 26 w 200"/>
                  <a:gd name="T3" fmla="*/ 0 h 139"/>
                  <a:gd name="T4" fmla="*/ 0 w 200"/>
                  <a:gd name="T5" fmla="*/ 27 h 139"/>
                  <a:gd name="T6" fmla="*/ 0 w 200"/>
                  <a:gd name="T7" fmla="*/ 113 h 139"/>
                  <a:gd name="T8" fmla="*/ 26 w 200"/>
                  <a:gd name="T9" fmla="*/ 139 h 139"/>
                  <a:gd name="T10" fmla="*/ 174 w 200"/>
                  <a:gd name="T11" fmla="*/ 139 h 139"/>
                  <a:gd name="T12" fmla="*/ 200 w 200"/>
                  <a:gd name="T13" fmla="*/ 113 h 139"/>
                  <a:gd name="T14" fmla="*/ 200 w 200"/>
                  <a:gd name="T15" fmla="*/ 27 h 139"/>
                  <a:gd name="T16" fmla="*/ 174 w 200"/>
                  <a:gd name="T17" fmla="*/ 0 h 139"/>
                  <a:gd name="T18" fmla="*/ 185 w 200"/>
                  <a:gd name="T19" fmla="*/ 113 h 139"/>
                  <a:gd name="T20" fmla="*/ 174 w 200"/>
                  <a:gd name="T21" fmla="*/ 124 h 139"/>
                  <a:gd name="T22" fmla="*/ 26 w 200"/>
                  <a:gd name="T23" fmla="*/ 124 h 139"/>
                  <a:gd name="T24" fmla="*/ 15 w 200"/>
                  <a:gd name="T25" fmla="*/ 113 h 139"/>
                  <a:gd name="T26" fmla="*/ 15 w 200"/>
                  <a:gd name="T27" fmla="*/ 27 h 139"/>
                  <a:gd name="T28" fmla="*/ 26 w 200"/>
                  <a:gd name="T29" fmla="*/ 16 h 139"/>
                  <a:gd name="T30" fmla="*/ 174 w 200"/>
                  <a:gd name="T31" fmla="*/ 16 h 139"/>
                  <a:gd name="T32" fmla="*/ 185 w 200"/>
                  <a:gd name="T33" fmla="*/ 27 h 139"/>
                  <a:gd name="T34" fmla="*/ 185 w 200"/>
                  <a:gd name="T35" fmla="*/ 11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39">
                    <a:moveTo>
                      <a:pt x="174" y="0"/>
                    </a:moveTo>
                    <a:cubicBezTo>
                      <a:pt x="26" y="0"/>
                      <a:pt x="26" y="0"/>
                      <a:pt x="26" y="0"/>
                    </a:cubicBezTo>
                    <a:cubicBezTo>
                      <a:pt x="12" y="0"/>
                      <a:pt x="0" y="12"/>
                      <a:pt x="0" y="27"/>
                    </a:cubicBezTo>
                    <a:cubicBezTo>
                      <a:pt x="0" y="113"/>
                      <a:pt x="0" y="113"/>
                      <a:pt x="0" y="113"/>
                    </a:cubicBezTo>
                    <a:cubicBezTo>
                      <a:pt x="0" y="127"/>
                      <a:pt x="12" y="139"/>
                      <a:pt x="26" y="139"/>
                    </a:cubicBezTo>
                    <a:cubicBezTo>
                      <a:pt x="174" y="139"/>
                      <a:pt x="174" y="139"/>
                      <a:pt x="174" y="139"/>
                    </a:cubicBezTo>
                    <a:cubicBezTo>
                      <a:pt x="188" y="139"/>
                      <a:pt x="200" y="127"/>
                      <a:pt x="200" y="113"/>
                    </a:cubicBezTo>
                    <a:cubicBezTo>
                      <a:pt x="200" y="27"/>
                      <a:pt x="200" y="27"/>
                      <a:pt x="200" y="27"/>
                    </a:cubicBezTo>
                    <a:cubicBezTo>
                      <a:pt x="200" y="12"/>
                      <a:pt x="188" y="0"/>
                      <a:pt x="174" y="0"/>
                    </a:cubicBezTo>
                    <a:moveTo>
                      <a:pt x="185" y="113"/>
                    </a:moveTo>
                    <a:cubicBezTo>
                      <a:pt x="185" y="119"/>
                      <a:pt x="180" y="124"/>
                      <a:pt x="174" y="124"/>
                    </a:cubicBezTo>
                    <a:cubicBezTo>
                      <a:pt x="26" y="124"/>
                      <a:pt x="26" y="124"/>
                      <a:pt x="26" y="124"/>
                    </a:cubicBezTo>
                    <a:cubicBezTo>
                      <a:pt x="20" y="124"/>
                      <a:pt x="15" y="119"/>
                      <a:pt x="15" y="113"/>
                    </a:cubicBezTo>
                    <a:cubicBezTo>
                      <a:pt x="15" y="27"/>
                      <a:pt x="15" y="27"/>
                      <a:pt x="15" y="27"/>
                    </a:cubicBezTo>
                    <a:cubicBezTo>
                      <a:pt x="15" y="21"/>
                      <a:pt x="20" y="16"/>
                      <a:pt x="26" y="16"/>
                    </a:cubicBezTo>
                    <a:cubicBezTo>
                      <a:pt x="174" y="16"/>
                      <a:pt x="174" y="16"/>
                      <a:pt x="174" y="16"/>
                    </a:cubicBezTo>
                    <a:cubicBezTo>
                      <a:pt x="180" y="16"/>
                      <a:pt x="185" y="21"/>
                      <a:pt x="185" y="27"/>
                    </a:cubicBezTo>
                    <a:lnTo>
                      <a:pt x="185" y="1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53" name="Freeform 20"/>
              <p:cNvSpPr>
                <a:spLocks/>
              </p:cNvSpPr>
              <p:nvPr/>
            </p:nvSpPr>
            <p:spPr bwMode="black">
              <a:xfrm>
                <a:off x="2613997" y="2291286"/>
                <a:ext cx="311101" cy="72031"/>
              </a:xfrm>
              <a:custGeom>
                <a:avLst/>
                <a:gdLst>
                  <a:gd name="T0" fmla="*/ 7 w 276"/>
                  <a:gd name="T1" fmla="*/ 64 h 64"/>
                  <a:gd name="T2" fmla="*/ 269 w 276"/>
                  <a:gd name="T3" fmla="*/ 64 h 64"/>
                  <a:gd name="T4" fmla="*/ 276 w 276"/>
                  <a:gd name="T5" fmla="*/ 57 h 64"/>
                  <a:gd name="T6" fmla="*/ 276 w 276"/>
                  <a:gd name="T7" fmla="*/ 54 h 64"/>
                  <a:gd name="T8" fmla="*/ 272 w 276"/>
                  <a:gd name="T9" fmla="*/ 42 h 64"/>
                  <a:gd name="T10" fmla="*/ 240 w 276"/>
                  <a:gd name="T11" fmla="*/ 5 h 64"/>
                  <a:gd name="T12" fmla="*/ 229 w 276"/>
                  <a:gd name="T13" fmla="*/ 0 h 64"/>
                  <a:gd name="T14" fmla="*/ 47 w 276"/>
                  <a:gd name="T15" fmla="*/ 0 h 64"/>
                  <a:gd name="T16" fmla="*/ 36 w 276"/>
                  <a:gd name="T17" fmla="*/ 5 h 64"/>
                  <a:gd name="T18" fmla="*/ 4 w 276"/>
                  <a:gd name="T19" fmla="*/ 42 h 64"/>
                  <a:gd name="T20" fmla="*/ 0 w 276"/>
                  <a:gd name="T21" fmla="*/ 54 h 64"/>
                  <a:gd name="T22" fmla="*/ 0 w 276"/>
                  <a:gd name="T23" fmla="*/ 57 h 64"/>
                  <a:gd name="T24" fmla="*/ 7 w 27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6" h="64">
                    <a:moveTo>
                      <a:pt x="7" y="64"/>
                    </a:moveTo>
                    <a:cubicBezTo>
                      <a:pt x="269" y="64"/>
                      <a:pt x="269" y="64"/>
                      <a:pt x="269" y="64"/>
                    </a:cubicBezTo>
                    <a:cubicBezTo>
                      <a:pt x="273" y="64"/>
                      <a:pt x="276" y="61"/>
                      <a:pt x="276" y="57"/>
                    </a:cubicBezTo>
                    <a:cubicBezTo>
                      <a:pt x="276" y="54"/>
                      <a:pt x="276" y="54"/>
                      <a:pt x="276" y="54"/>
                    </a:cubicBezTo>
                    <a:cubicBezTo>
                      <a:pt x="276" y="50"/>
                      <a:pt x="274" y="45"/>
                      <a:pt x="272" y="42"/>
                    </a:cubicBezTo>
                    <a:cubicBezTo>
                      <a:pt x="240" y="5"/>
                      <a:pt x="240" y="5"/>
                      <a:pt x="240" y="5"/>
                    </a:cubicBezTo>
                    <a:cubicBezTo>
                      <a:pt x="238" y="2"/>
                      <a:pt x="233" y="0"/>
                      <a:pt x="229" y="0"/>
                    </a:cubicBezTo>
                    <a:cubicBezTo>
                      <a:pt x="47" y="0"/>
                      <a:pt x="47" y="0"/>
                      <a:pt x="47" y="0"/>
                    </a:cubicBezTo>
                    <a:cubicBezTo>
                      <a:pt x="43" y="0"/>
                      <a:pt x="38" y="2"/>
                      <a:pt x="36" y="5"/>
                    </a:cubicBezTo>
                    <a:cubicBezTo>
                      <a:pt x="4" y="42"/>
                      <a:pt x="4" y="42"/>
                      <a:pt x="4" y="42"/>
                    </a:cubicBezTo>
                    <a:cubicBezTo>
                      <a:pt x="2" y="45"/>
                      <a:pt x="0" y="50"/>
                      <a:pt x="0" y="54"/>
                    </a:cubicBezTo>
                    <a:cubicBezTo>
                      <a:pt x="0" y="57"/>
                      <a:pt x="0" y="57"/>
                      <a:pt x="0" y="57"/>
                    </a:cubicBezTo>
                    <a:cubicBezTo>
                      <a:pt x="0" y="61"/>
                      <a:pt x="3" y="64"/>
                      <a:pt x="7"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grpSp>
          <p:nvGrpSpPr>
            <p:cNvPr id="35" name="Group 34"/>
            <p:cNvGrpSpPr/>
            <p:nvPr/>
          </p:nvGrpSpPr>
          <p:grpSpPr>
            <a:xfrm>
              <a:off x="2038650" y="2843203"/>
              <a:ext cx="373129" cy="387480"/>
              <a:chOff x="2038650" y="2843203"/>
              <a:chExt cx="373129" cy="387480"/>
            </a:xfrm>
          </p:grpSpPr>
          <p:sp>
            <p:nvSpPr>
              <p:cNvPr id="45" name="Freeform 14"/>
              <p:cNvSpPr>
                <a:spLocks/>
              </p:cNvSpPr>
              <p:nvPr/>
            </p:nvSpPr>
            <p:spPr bwMode="black">
              <a:xfrm>
                <a:off x="2348319" y="2843203"/>
                <a:ext cx="29583" cy="37208"/>
              </a:xfrm>
              <a:custGeom>
                <a:avLst/>
                <a:gdLst>
                  <a:gd name="T0" fmla="*/ 0 w 62"/>
                  <a:gd name="T1" fmla="*/ 64 h 78"/>
                  <a:gd name="T2" fmla="*/ 26 w 62"/>
                  <a:gd name="T3" fmla="*/ 78 h 78"/>
                  <a:gd name="T4" fmla="*/ 62 w 62"/>
                  <a:gd name="T5" fmla="*/ 14 h 78"/>
                  <a:gd name="T6" fmla="*/ 36 w 62"/>
                  <a:gd name="T7" fmla="*/ 0 h 78"/>
                  <a:gd name="T8" fmla="*/ 0 w 62"/>
                  <a:gd name="T9" fmla="*/ 64 h 78"/>
                </a:gdLst>
                <a:ahLst/>
                <a:cxnLst>
                  <a:cxn ang="0">
                    <a:pos x="T0" y="T1"/>
                  </a:cxn>
                  <a:cxn ang="0">
                    <a:pos x="T2" y="T3"/>
                  </a:cxn>
                  <a:cxn ang="0">
                    <a:pos x="T4" y="T5"/>
                  </a:cxn>
                  <a:cxn ang="0">
                    <a:pos x="T6" y="T7"/>
                  </a:cxn>
                  <a:cxn ang="0">
                    <a:pos x="T8" y="T9"/>
                  </a:cxn>
                </a:cxnLst>
                <a:rect l="0" t="0" r="r" b="b"/>
                <a:pathLst>
                  <a:path w="62" h="78">
                    <a:moveTo>
                      <a:pt x="0" y="64"/>
                    </a:moveTo>
                    <a:lnTo>
                      <a:pt x="26" y="78"/>
                    </a:lnTo>
                    <a:lnTo>
                      <a:pt x="62" y="14"/>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6" name="Freeform 15"/>
              <p:cNvSpPr>
                <a:spLocks/>
              </p:cNvSpPr>
              <p:nvPr/>
            </p:nvSpPr>
            <p:spPr bwMode="black">
              <a:xfrm>
                <a:off x="2313487" y="2902830"/>
                <a:ext cx="30537" cy="38640"/>
              </a:xfrm>
              <a:custGeom>
                <a:avLst/>
                <a:gdLst>
                  <a:gd name="T0" fmla="*/ 0 w 64"/>
                  <a:gd name="T1" fmla="*/ 64 h 81"/>
                  <a:gd name="T2" fmla="*/ 26 w 64"/>
                  <a:gd name="T3" fmla="*/ 81 h 81"/>
                  <a:gd name="T4" fmla="*/ 64 w 64"/>
                  <a:gd name="T5" fmla="*/ 17 h 81"/>
                  <a:gd name="T6" fmla="*/ 36 w 64"/>
                  <a:gd name="T7" fmla="*/ 0 h 81"/>
                  <a:gd name="T8" fmla="*/ 0 w 64"/>
                  <a:gd name="T9" fmla="*/ 64 h 81"/>
                </a:gdLst>
                <a:ahLst/>
                <a:cxnLst>
                  <a:cxn ang="0">
                    <a:pos x="T0" y="T1"/>
                  </a:cxn>
                  <a:cxn ang="0">
                    <a:pos x="T2" y="T3"/>
                  </a:cxn>
                  <a:cxn ang="0">
                    <a:pos x="T4" y="T5"/>
                  </a:cxn>
                  <a:cxn ang="0">
                    <a:pos x="T6" y="T7"/>
                  </a:cxn>
                  <a:cxn ang="0">
                    <a:pos x="T8" y="T9"/>
                  </a:cxn>
                </a:cxnLst>
                <a:rect l="0" t="0" r="r" b="b"/>
                <a:pathLst>
                  <a:path w="64" h="81">
                    <a:moveTo>
                      <a:pt x="0" y="64"/>
                    </a:moveTo>
                    <a:lnTo>
                      <a:pt x="26" y="81"/>
                    </a:lnTo>
                    <a:lnTo>
                      <a:pt x="64" y="17"/>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7" name="Freeform 21"/>
              <p:cNvSpPr>
                <a:spLocks noEditPoints="1"/>
              </p:cNvSpPr>
              <p:nvPr/>
            </p:nvSpPr>
            <p:spPr bwMode="black">
              <a:xfrm>
                <a:off x="2038650" y="3004096"/>
                <a:ext cx="234757" cy="182701"/>
              </a:xfrm>
              <a:custGeom>
                <a:avLst/>
                <a:gdLst>
                  <a:gd name="T0" fmla="*/ 177 w 208"/>
                  <a:gd name="T1" fmla="*/ 0 h 162"/>
                  <a:gd name="T2" fmla="*/ 31 w 208"/>
                  <a:gd name="T3" fmla="*/ 0 h 162"/>
                  <a:gd name="T4" fmla="*/ 0 w 208"/>
                  <a:gd name="T5" fmla="*/ 31 h 162"/>
                  <a:gd name="T6" fmla="*/ 0 w 208"/>
                  <a:gd name="T7" fmla="*/ 131 h 162"/>
                  <a:gd name="T8" fmla="*/ 31 w 208"/>
                  <a:gd name="T9" fmla="*/ 162 h 162"/>
                  <a:gd name="T10" fmla="*/ 177 w 208"/>
                  <a:gd name="T11" fmla="*/ 162 h 162"/>
                  <a:gd name="T12" fmla="*/ 208 w 208"/>
                  <a:gd name="T13" fmla="*/ 131 h 162"/>
                  <a:gd name="T14" fmla="*/ 208 w 208"/>
                  <a:gd name="T15" fmla="*/ 31 h 162"/>
                  <a:gd name="T16" fmla="*/ 177 w 208"/>
                  <a:gd name="T17" fmla="*/ 0 h 162"/>
                  <a:gd name="T18" fmla="*/ 190 w 208"/>
                  <a:gd name="T19" fmla="*/ 131 h 162"/>
                  <a:gd name="T20" fmla="*/ 177 w 208"/>
                  <a:gd name="T21" fmla="*/ 144 h 162"/>
                  <a:gd name="T22" fmla="*/ 31 w 208"/>
                  <a:gd name="T23" fmla="*/ 144 h 162"/>
                  <a:gd name="T24" fmla="*/ 18 w 208"/>
                  <a:gd name="T25" fmla="*/ 131 h 162"/>
                  <a:gd name="T26" fmla="*/ 18 w 208"/>
                  <a:gd name="T27" fmla="*/ 31 h 162"/>
                  <a:gd name="T28" fmla="*/ 31 w 208"/>
                  <a:gd name="T29" fmla="*/ 18 h 162"/>
                  <a:gd name="T30" fmla="*/ 177 w 208"/>
                  <a:gd name="T31" fmla="*/ 18 h 162"/>
                  <a:gd name="T32" fmla="*/ 190 w 208"/>
                  <a:gd name="T33" fmla="*/ 31 h 162"/>
                  <a:gd name="T34" fmla="*/ 190 w 208"/>
                  <a:gd name="T35" fmla="*/ 13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 h="162">
                    <a:moveTo>
                      <a:pt x="177" y="0"/>
                    </a:moveTo>
                    <a:cubicBezTo>
                      <a:pt x="31" y="0"/>
                      <a:pt x="31" y="0"/>
                      <a:pt x="31" y="0"/>
                    </a:cubicBezTo>
                    <a:cubicBezTo>
                      <a:pt x="14" y="0"/>
                      <a:pt x="0" y="14"/>
                      <a:pt x="0" y="31"/>
                    </a:cubicBezTo>
                    <a:cubicBezTo>
                      <a:pt x="0" y="131"/>
                      <a:pt x="0" y="131"/>
                      <a:pt x="0" y="131"/>
                    </a:cubicBezTo>
                    <a:cubicBezTo>
                      <a:pt x="0" y="148"/>
                      <a:pt x="14" y="162"/>
                      <a:pt x="31" y="162"/>
                    </a:cubicBezTo>
                    <a:cubicBezTo>
                      <a:pt x="177" y="162"/>
                      <a:pt x="177" y="162"/>
                      <a:pt x="177" y="162"/>
                    </a:cubicBezTo>
                    <a:cubicBezTo>
                      <a:pt x="194" y="162"/>
                      <a:pt x="208" y="148"/>
                      <a:pt x="208" y="131"/>
                    </a:cubicBezTo>
                    <a:cubicBezTo>
                      <a:pt x="208" y="31"/>
                      <a:pt x="208" y="31"/>
                      <a:pt x="208" y="31"/>
                    </a:cubicBezTo>
                    <a:cubicBezTo>
                      <a:pt x="208" y="14"/>
                      <a:pt x="194" y="0"/>
                      <a:pt x="177" y="0"/>
                    </a:cubicBezTo>
                    <a:moveTo>
                      <a:pt x="190" y="131"/>
                    </a:moveTo>
                    <a:cubicBezTo>
                      <a:pt x="190" y="138"/>
                      <a:pt x="184" y="144"/>
                      <a:pt x="177" y="144"/>
                    </a:cubicBezTo>
                    <a:cubicBezTo>
                      <a:pt x="31" y="144"/>
                      <a:pt x="31" y="144"/>
                      <a:pt x="31" y="144"/>
                    </a:cubicBezTo>
                    <a:cubicBezTo>
                      <a:pt x="24" y="144"/>
                      <a:pt x="18" y="138"/>
                      <a:pt x="18" y="131"/>
                    </a:cubicBezTo>
                    <a:cubicBezTo>
                      <a:pt x="18" y="31"/>
                      <a:pt x="18" y="31"/>
                      <a:pt x="18" y="31"/>
                    </a:cubicBezTo>
                    <a:cubicBezTo>
                      <a:pt x="18" y="24"/>
                      <a:pt x="24" y="18"/>
                      <a:pt x="31" y="18"/>
                    </a:cubicBezTo>
                    <a:cubicBezTo>
                      <a:pt x="177" y="18"/>
                      <a:pt x="177" y="18"/>
                      <a:pt x="177" y="18"/>
                    </a:cubicBezTo>
                    <a:cubicBezTo>
                      <a:pt x="184" y="18"/>
                      <a:pt x="190" y="24"/>
                      <a:pt x="190" y="31"/>
                    </a:cubicBezTo>
                    <a:lnTo>
                      <a:pt x="190" y="1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8" name="Freeform 22"/>
              <p:cNvSpPr>
                <a:spLocks/>
              </p:cNvSpPr>
              <p:nvPr/>
            </p:nvSpPr>
            <p:spPr bwMode="black">
              <a:xfrm>
                <a:off x="2093045" y="3199199"/>
                <a:ext cx="125967" cy="31483"/>
              </a:xfrm>
              <a:custGeom>
                <a:avLst/>
                <a:gdLst>
                  <a:gd name="T0" fmla="*/ 112 w 112"/>
                  <a:gd name="T1" fmla="*/ 25 h 28"/>
                  <a:gd name="T2" fmla="*/ 112 w 112"/>
                  <a:gd name="T3" fmla="*/ 23 h 28"/>
                  <a:gd name="T4" fmla="*/ 110 w 112"/>
                  <a:gd name="T5" fmla="*/ 18 h 28"/>
                  <a:gd name="T6" fmla="*/ 96 w 112"/>
                  <a:gd name="T7" fmla="*/ 2 h 28"/>
                  <a:gd name="T8" fmla="*/ 91 w 112"/>
                  <a:gd name="T9" fmla="*/ 0 h 28"/>
                  <a:gd name="T10" fmla="*/ 21 w 112"/>
                  <a:gd name="T11" fmla="*/ 0 h 28"/>
                  <a:gd name="T12" fmla="*/ 16 w 112"/>
                  <a:gd name="T13" fmla="*/ 2 h 28"/>
                  <a:gd name="T14" fmla="*/ 2 w 112"/>
                  <a:gd name="T15" fmla="*/ 18 h 28"/>
                  <a:gd name="T16" fmla="*/ 0 w 112"/>
                  <a:gd name="T17" fmla="*/ 23 h 28"/>
                  <a:gd name="T18" fmla="*/ 0 w 112"/>
                  <a:gd name="T19" fmla="*/ 25 h 28"/>
                  <a:gd name="T20" fmla="*/ 3 w 112"/>
                  <a:gd name="T21" fmla="*/ 28 h 28"/>
                  <a:gd name="T22" fmla="*/ 109 w 112"/>
                  <a:gd name="T23" fmla="*/ 28 h 28"/>
                  <a:gd name="T24" fmla="*/ 112 w 112"/>
                  <a:gd name="T25"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28">
                    <a:moveTo>
                      <a:pt x="112" y="25"/>
                    </a:moveTo>
                    <a:cubicBezTo>
                      <a:pt x="112" y="23"/>
                      <a:pt x="112" y="23"/>
                      <a:pt x="112" y="23"/>
                    </a:cubicBezTo>
                    <a:cubicBezTo>
                      <a:pt x="112" y="22"/>
                      <a:pt x="111" y="20"/>
                      <a:pt x="110" y="18"/>
                    </a:cubicBezTo>
                    <a:cubicBezTo>
                      <a:pt x="96" y="2"/>
                      <a:pt x="96" y="2"/>
                      <a:pt x="96" y="2"/>
                    </a:cubicBezTo>
                    <a:cubicBezTo>
                      <a:pt x="95" y="1"/>
                      <a:pt x="93" y="0"/>
                      <a:pt x="91" y="0"/>
                    </a:cubicBezTo>
                    <a:cubicBezTo>
                      <a:pt x="21" y="0"/>
                      <a:pt x="21" y="0"/>
                      <a:pt x="21" y="0"/>
                    </a:cubicBezTo>
                    <a:cubicBezTo>
                      <a:pt x="19" y="0"/>
                      <a:pt x="17" y="1"/>
                      <a:pt x="16" y="2"/>
                    </a:cubicBezTo>
                    <a:cubicBezTo>
                      <a:pt x="2" y="18"/>
                      <a:pt x="2" y="18"/>
                      <a:pt x="2" y="18"/>
                    </a:cubicBezTo>
                    <a:cubicBezTo>
                      <a:pt x="1" y="20"/>
                      <a:pt x="0" y="22"/>
                      <a:pt x="0" y="23"/>
                    </a:cubicBezTo>
                    <a:cubicBezTo>
                      <a:pt x="0" y="25"/>
                      <a:pt x="0" y="25"/>
                      <a:pt x="0" y="25"/>
                    </a:cubicBezTo>
                    <a:cubicBezTo>
                      <a:pt x="0" y="26"/>
                      <a:pt x="1" y="28"/>
                      <a:pt x="3" y="28"/>
                    </a:cubicBezTo>
                    <a:cubicBezTo>
                      <a:pt x="109" y="28"/>
                      <a:pt x="109" y="28"/>
                      <a:pt x="109" y="28"/>
                    </a:cubicBezTo>
                    <a:cubicBezTo>
                      <a:pt x="111" y="28"/>
                      <a:pt x="112" y="26"/>
                      <a:pt x="112" y="2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9" name="Freeform 23"/>
              <p:cNvSpPr>
                <a:spLocks noEditPoints="1"/>
              </p:cNvSpPr>
              <p:nvPr/>
            </p:nvSpPr>
            <p:spPr bwMode="black">
              <a:xfrm>
                <a:off x="2295832" y="3004096"/>
                <a:ext cx="115947" cy="226587"/>
              </a:xfrm>
              <a:custGeom>
                <a:avLst/>
                <a:gdLst>
                  <a:gd name="T0" fmla="*/ 89 w 103"/>
                  <a:gd name="T1" fmla="*/ 0 h 201"/>
                  <a:gd name="T2" fmla="*/ 13 w 103"/>
                  <a:gd name="T3" fmla="*/ 0 h 201"/>
                  <a:gd name="T4" fmla="*/ 0 w 103"/>
                  <a:gd name="T5" fmla="*/ 13 h 201"/>
                  <a:gd name="T6" fmla="*/ 0 w 103"/>
                  <a:gd name="T7" fmla="*/ 187 h 201"/>
                  <a:gd name="T8" fmla="*/ 13 w 103"/>
                  <a:gd name="T9" fmla="*/ 201 h 201"/>
                  <a:gd name="T10" fmla="*/ 89 w 103"/>
                  <a:gd name="T11" fmla="*/ 201 h 201"/>
                  <a:gd name="T12" fmla="*/ 103 w 103"/>
                  <a:gd name="T13" fmla="*/ 187 h 201"/>
                  <a:gd name="T14" fmla="*/ 103 w 103"/>
                  <a:gd name="T15" fmla="*/ 13 h 201"/>
                  <a:gd name="T16" fmla="*/ 89 w 103"/>
                  <a:gd name="T17" fmla="*/ 0 h 201"/>
                  <a:gd name="T18" fmla="*/ 52 w 103"/>
                  <a:gd name="T19" fmla="*/ 187 h 201"/>
                  <a:gd name="T20" fmla="*/ 40 w 103"/>
                  <a:gd name="T21" fmla="*/ 175 h 201"/>
                  <a:gd name="T22" fmla="*/ 52 w 103"/>
                  <a:gd name="T23" fmla="*/ 163 h 201"/>
                  <a:gd name="T24" fmla="*/ 63 w 103"/>
                  <a:gd name="T25" fmla="*/ 175 h 201"/>
                  <a:gd name="T26" fmla="*/ 52 w 103"/>
                  <a:gd name="T27" fmla="*/ 18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201">
                    <a:moveTo>
                      <a:pt x="89" y="0"/>
                    </a:moveTo>
                    <a:cubicBezTo>
                      <a:pt x="13" y="0"/>
                      <a:pt x="13" y="0"/>
                      <a:pt x="13" y="0"/>
                    </a:cubicBezTo>
                    <a:cubicBezTo>
                      <a:pt x="6" y="0"/>
                      <a:pt x="0" y="6"/>
                      <a:pt x="0" y="13"/>
                    </a:cubicBezTo>
                    <a:cubicBezTo>
                      <a:pt x="0" y="187"/>
                      <a:pt x="0" y="187"/>
                      <a:pt x="0" y="187"/>
                    </a:cubicBezTo>
                    <a:cubicBezTo>
                      <a:pt x="0" y="195"/>
                      <a:pt x="6" y="201"/>
                      <a:pt x="13" y="201"/>
                    </a:cubicBezTo>
                    <a:cubicBezTo>
                      <a:pt x="89" y="201"/>
                      <a:pt x="89" y="201"/>
                      <a:pt x="89" y="201"/>
                    </a:cubicBezTo>
                    <a:cubicBezTo>
                      <a:pt x="97" y="201"/>
                      <a:pt x="103" y="195"/>
                      <a:pt x="103" y="187"/>
                    </a:cubicBezTo>
                    <a:cubicBezTo>
                      <a:pt x="103" y="13"/>
                      <a:pt x="103" y="13"/>
                      <a:pt x="103" y="13"/>
                    </a:cubicBezTo>
                    <a:cubicBezTo>
                      <a:pt x="103" y="6"/>
                      <a:pt x="97" y="0"/>
                      <a:pt x="89" y="0"/>
                    </a:cubicBezTo>
                    <a:moveTo>
                      <a:pt x="52" y="187"/>
                    </a:moveTo>
                    <a:cubicBezTo>
                      <a:pt x="45" y="187"/>
                      <a:pt x="40" y="181"/>
                      <a:pt x="40" y="175"/>
                    </a:cubicBezTo>
                    <a:cubicBezTo>
                      <a:pt x="40" y="168"/>
                      <a:pt x="45" y="163"/>
                      <a:pt x="52" y="163"/>
                    </a:cubicBezTo>
                    <a:cubicBezTo>
                      <a:pt x="58" y="163"/>
                      <a:pt x="63" y="168"/>
                      <a:pt x="63" y="175"/>
                    </a:cubicBezTo>
                    <a:cubicBezTo>
                      <a:pt x="63" y="181"/>
                      <a:pt x="58" y="187"/>
                      <a:pt x="52" y="18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grpSp>
          <p:nvGrpSpPr>
            <p:cNvPr id="36" name="Group 35"/>
            <p:cNvGrpSpPr/>
            <p:nvPr/>
          </p:nvGrpSpPr>
          <p:grpSpPr>
            <a:xfrm>
              <a:off x="2104698" y="2128022"/>
              <a:ext cx="273204" cy="367431"/>
              <a:chOff x="2104698" y="2128022"/>
              <a:chExt cx="273204" cy="367431"/>
            </a:xfrm>
          </p:grpSpPr>
          <p:sp>
            <p:nvSpPr>
              <p:cNvPr id="42" name="Freeform 10"/>
              <p:cNvSpPr>
                <a:spLocks/>
              </p:cNvSpPr>
              <p:nvPr/>
            </p:nvSpPr>
            <p:spPr bwMode="black">
              <a:xfrm>
                <a:off x="2313487" y="2397185"/>
                <a:ext cx="30537" cy="37208"/>
              </a:xfrm>
              <a:custGeom>
                <a:avLst/>
                <a:gdLst>
                  <a:gd name="T0" fmla="*/ 36 w 64"/>
                  <a:gd name="T1" fmla="*/ 78 h 78"/>
                  <a:gd name="T2" fmla="*/ 64 w 64"/>
                  <a:gd name="T3" fmla="*/ 64 h 78"/>
                  <a:gd name="T4" fmla="*/ 26 w 64"/>
                  <a:gd name="T5" fmla="*/ 0 h 78"/>
                  <a:gd name="T6" fmla="*/ 0 w 64"/>
                  <a:gd name="T7" fmla="*/ 17 h 78"/>
                  <a:gd name="T8" fmla="*/ 36 w 64"/>
                  <a:gd name="T9" fmla="*/ 78 h 78"/>
                </a:gdLst>
                <a:ahLst/>
                <a:cxnLst>
                  <a:cxn ang="0">
                    <a:pos x="T0" y="T1"/>
                  </a:cxn>
                  <a:cxn ang="0">
                    <a:pos x="T2" y="T3"/>
                  </a:cxn>
                  <a:cxn ang="0">
                    <a:pos x="T4" y="T5"/>
                  </a:cxn>
                  <a:cxn ang="0">
                    <a:pos x="T6" y="T7"/>
                  </a:cxn>
                  <a:cxn ang="0">
                    <a:pos x="T8" y="T9"/>
                  </a:cxn>
                </a:cxnLst>
                <a:rect l="0" t="0" r="r" b="b"/>
                <a:pathLst>
                  <a:path w="64" h="78">
                    <a:moveTo>
                      <a:pt x="36" y="78"/>
                    </a:moveTo>
                    <a:lnTo>
                      <a:pt x="64" y="64"/>
                    </a:lnTo>
                    <a:lnTo>
                      <a:pt x="26" y="0"/>
                    </a:lnTo>
                    <a:lnTo>
                      <a:pt x="0" y="17"/>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3" name="Freeform 11"/>
              <p:cNvSpPr>
                <a:spLocks/>
              </p:cNvSpPr>
              <p:nvPr/>
            </p:nvSpPr>
            <p:spPr bwMode="black">
              <a:xfrm>
                <a:off x="2348319" y="2458245"/>
                <a:ext cx="29583" cy="37208"/>
              </a:xfrm>
              <a:custGeom>
                <a:avLst/>
                <a:gdLst>
                  <a:gd name="T0" fmla="*/ 36 w 62"/>
                  <a:gd name="T1" fmla="*/ 78 h 78"/>
                  <a:gd name="T2" fmla="*/ 62 w 62"/>
                  <a:gd name="T3" fmla="*/ 61 h 78"/>
                  <a:gd name="T4" fmla="*/ 26 w 62"/>
                  <a:gd name="T5" fmla="*/ 0 h 78"/>
                  <a:gd name="T6" fmla="*/ 0 w 62"/>
                  <a:gd name="T7" fmla="*/ 14 h 78"/>
                  <a:gd name="T8" fmla="*/ 36 w 62"/>
                  <a:gd name="T9" fmla="*/ 78 h 78"/>
                </a:gdLst>
                <a:ahLst/>
                <a:cxnLst>
                  <a:cxn ang="0">
                    <a:pos x="T0" y="T1"/>
                  </a:cxn>
                  <a:cxn ang="0">
                    <a:pos x="T2" y="T3"/>
                  </a:cxn>
                  <a:cxn ang="0">
                    <a:pos x="T4" y="T5"/>
                  </a:cxn>
                  <a:cxn ang="0">
                    <a:pos x="T6" y="T7"/>
                  </a:cxn>
                  <a:cxn ang="0">
                    <a:pos x="T8" y="T9"/>
                  </a:cxn>
                </a:cxnLst>
                <a:rect l="0" t="0" r="r" b="b"/>
                <a:pathLst>
                  <a:path w="62" h="78">
                    <a:moveTo>
                      <a:pt x="36" y="78"/>
                    </a:moveTo>
                    <a:lnTo>
                      <a:pt x="62" y="61"/>
                    </a:lnTo>
                    <a:lnTo>
                      <a:pt x="26" y="0"/>
                    </a:lnTo>
                    <a:lnTo>
                      <a:pt x="0" y="14"/>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4" name="Freeform 24"/>
              <p:cNvSpPr>
                <a:spLocks noEditPoints="1"/>
              </p:cNvSpPr>
              <p:nvPr/>
            </p:nvSpPr>
            <p:spPr bwMode="black">
              <a:xfrm>
                <a:off x="2104698" y="2128022"/>
                <a:ext cx="157937" cy="241852"/>
              </a:xfrm>
              <a:custGeom>
                <a:avLst/>
                <a:gdLst>
                  <a:gd name="T0" fmla="*/ 109 w 140"/>
                  <a:gd name="T1" fmla="*/ 0 h 215"/>
                  <a:gd name="T2" fmla="*/ 31 w 140"/>
                  <a:gd name="T3" fmla="*/ 0 h 215"/>
                  <a:gd name="T4" fmla="*/ 0 w 140"/>
                  <a:gd name="T5" fmla="*/ 30 h 215"/>
                  <a:gd name="T6" fmla="*/ 0 w 140"/>
                  <a:gd name="T7" fmla="*/ 184 h 215"/>
                  <a:gd name="T8" fmla="*/ 31 w 140"/>
                  <a:gd name="T9" fmla="*/ 215 h 215"/>
                  <a:gd name="T10" fmla="*/ 109 w 140"/>
                  <a:gd name="T11" fmla="*/ 215 h 215"/>
                  <a:gd name="T12" fmla="*/ 140 w 140"/>
                  <a:gd name="T13" fmla="*/ 184 h 215"/>
                  <a:gd name="T14" fmla="*/ 140 w 140"/>
                  <a:gd name="T15" fmla="*/ 30 h 215"/>
                  <a:gd name="T16" fmla="*/ 109 w 140"/>
                  <a:gd name="T17" fmla="*/ 0 h 215"/>
                  <a:gd name="T18" fmla="*/ 122 w 140"/>
                  <a:gd name="T19" fmla="*/ 177 h 215"/>
                  <a:gd name="T20" fmla="*/ 109 w 140"/>
                  <a:gd name="T21" fmla="*/ 195 h 215"/>
                  <a:gd name="T22" fmla="*/ 31 w 140"/>
                  <a:gd name="T23" fmla="*/ 195 h 215"/>
                  <a:gd name="T24" fmla="*/ 18 w 140"/>
                  <a:gd name="T25" fmla="*/ 177 h 215"/>
                  <a:gd name="T26" fmla="*/ 18 w 140"/>
                  <a:gd name="T27" fmla="*/ 35 h 215"/>
                  <a:gd name="T28" fmla="*/ 31 w 140"/>
                  <a:gd name="T29" fmla="*/ 18 h 215"/>
                  <a:gd name="T30" fmla="*/ 109 w 140"/>
                  <a:gd name="T31" fmla="*/ 18 h 215"/>
                  <a:gd name="T32" fmla="*/ 122 w 140"/>
                  <a:gd name="T33" fmla="*/ 35 h 215"/>
                  <a:gd name="T34" fmla="*/ 122 w 140"/>
                  <a:gd name="T35" fmla="*/ 17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215">
                    <a:moveTo>
                      <a:pt x="109" y="0"/>
                    </a:moveTo>
                    <a:cubicBezTo>
                      <a:pt x="31" y="0"/>
                      <a:pt x="31" y="0"/>
                      <a:pt x="31" y="0"/>
                    </a:cubicBezTo>
                    <a:cubicBezTo>
                      <a:pt x="14" y="0"/>
                      <a:pt x="0" y="13"/>
                      <a:pt x="0" y="30"/>
                    </a:cubicBezTo>
                    <a:cubicBezTo>
                      <a:pt x="0" y="184"/>
                      <a:pt x="0" y="184"/>
                      <a:pt x="0" y="184"/>
                    </a:cubicBezTo>
                    <a:cubicBezTo>
                      <a:pt x="0" y="201"/>
                      <a:pt x="14" y="215"/>
                      <a:pt x="31" y="215"/>
                    </a:cubicBezTo>
                    <a:cubicBezTo>
                      <a:pt x="109" y="215"/>
                      <a:pt x="109" y="215"/>
                      <a:pt x="109" y="215"/>
                    </a:cubicBezTo>
                    <a:cubicBezTo>
                      <a:pt x="126" y="215"/>
                      <a:pt x="140" y="201"/>
                      <a:pt x="140" y="184"/>
                    </a:cubicBezTo>
                    <a:cubicBezTo>
                      <a:pt x="140" y="30"/>
                      <a:pt x="140" y="30"/>
                      <a:pt x="140" y="30"/>
                    </a:cubicBezTo>
                    <a:cubicBezTo>
                      <a:pt x="140" y="13"/>
                      <a:pt x="126" y="0"/>
                      <a:pt x="109" y="0"/>
                    </a:cubicBezTo>
                    <a:moveTo>
                      <a:pt x="122" y="177"/>
                    </a:moveTo>
                    <a:cubicBezTo>
                      <a:pt x="122" y="187"/>
                      <a:pt x="116" y="195"/>
                      <a:pt x="109" y="195"/>
                    </a:cubicBezTo>
                    <a:cubicBezTo>
                      <a:pt x="31" y="195"/>
                      <a:pt x="31" y="195"/>
                      <a:pt x="31" y="195"/>
                    </a:cubicBezTo>
                    <a:cubicBezTo>
                      <a:pt x="24" y="195"/>
                      <a:pt x="18" y="187"/>
                      <a:pt x="18" y="177"/>
                    </a:cubicBezTo>
                    <a:cubicBezTo>
                      <a:pt x="18" y="35"/>
                      <a:pt x="18" y="35"/>
                      <a:pt x="18" y="35"/>
                    </a:cubicBezTo>
                    <a:cubicBezTo>
                      <a:pt x="18" y="26"/>
                      <a:pt x="24" y="18"/>
                      <a:pt x="31" y="18"/>
                    </a:cubicBezTo>
                    <a:cubicBezTo>
                      <a:pt x="109" y="18"/>
                      <a:pt x="109" y="18"/>
                      <a:pt x="109" y="18"/>
                    </a:cubicBezTo>
                    <a:cubicBezTo>
                      <a:pt x="116" y="18"/>
                      <a:pt x="122" y="26"/>
                      <a:pt x="122" y="35"/>
                    </a:cubicBezTo>
                    <a:lnTo>
                      <a:pt x="122" y="1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grpSp>
          <p:nvGrpSpPr>
            <p:cNvPr id="37" name="Group 36"/>
            <p:cNvGrpSpPr/>
            <p:nvPr/>
          </p:nvGrpSpPr>
          <p:grpSpPr>
            <a:xfrm>
              <a:off x="2605502" y="2843203"/>
              <a:ext cx="290571" cy="418735"/>
              <a:chOff x="2605502" y="2843203"/>
              <a:chExt cx="290571" cy="418735"/>
            </a:xfrm>
          </p:grpSpPr>
          <p:sp>
            <p:nvSpPr>
              <p:cNvPr id="39" name="Freeform 16"/>
              <p:cNvSpPr>
                <a:spLocks/>
              </p:cNvSpPr>
              <p:nvPr/>
            </p:nvSpPr>
            <p:spPr bwMode="black">
              <a:xfrm>
                <a:off x="2640334" y="2902830"/>
                <a:ext cx="29583" cy="38640"/>
              </a:xfrm>
              <a:custGeom>
                <a:avLst/>
                <a:gdLst>
                  <a:gd name="T0" fmla="*/ 26 w 62"/>
                  <a:gd name="T1" fmla="*/ 0 h 81"/>
                  <a:gd name="T2" fmla="*/ 0 w 62"/>
                  <a:gd name="T3" fmla="*/ 17 h 81"/>
                  <a:gd name="T4" fmla="*/ 36 w 62"/>
                  <a:gd name="T5" fmla="*/ 81 h 81"/>
                  <a:gd name="T6" fmla="*/ 62 w 62"/>
                  <a:gd name="T7" fmla="*/ 64 h 81"/>
                  <a:gd name="T8" fmla="*/ 26 w 62"/>
                  <a:gd name="T9" fmla="*/ 0 h 81"/>
                </a:gdLst>
                <a:ahLst/>
                <a:cxnLst>
                  <a:cxn ang="0">
                    <a:pos x="T0" y="T1"/>
                  </a:cxn>
                  <a:cxn ang="0">
                    <a:pos x="T2" y="T3"/>
                  </a:cxn>
                  <a:cxn ang="0">
                    <a:pos x="T4" y="T5"/>
                  </a:cxn>
                  <a:cxn ang="0">
                    <a:pos x="T6" y="T7"/>
                  </a:cxn>
                  <a:cxn ang="0">
                    <a:pos x="T8" y="T9"/>
                  </a:cxn>
                </a:cxnLst>
                <a:rect l="0" t="0" r="r" b="b"/>
                <a:pathLst>
                  <a:path w="62" h="81">
                    <a:moveTo>
                      <a:pt x="26" y="0"/>
                    </a:moveTo>
                    <a:lnTo>
                      <a:pt x="0" y="17"/>
                    </a:lnTo>
                    <a:lnTo>
                      <a:pt x="36" y="81"/>
                    </a:lnTo>
                    <a:lnTo>
                      <a:pt x="62" y="64"/>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0" name="Freeform 17"/>
              <p:cNvSpPr>
                <a:spLocks/>
              </p:cNvSpPr>
              <p:nvPr/>
            </p:nvSpPr>
            <p:spPr bwMode="black">
              <a:xfrm>
                <a:off x="2605502" y="2843203"/>
                <a:ext cx="29583" cy="37208"/>
              </a:xfrm>
              <a:custGeom>
                <a:avLst/>
                <a:gdLst>
                  <a:gd name="T0" fmla="*/ 0 w 62"/>
                  <a:gd name="T1" fmla="*/ 14 h 78"/>
                  <a:gd name="T2" fmla="*/ 36 w 62"/>
                  <a:gd name="T3" fmla="*/ 78 h 78"/>
                  <a:gd name="T4" fmla="*/ 62 w 62"/>
                  <a:gd name="T5" fmla="*/ 64 h 78"/>
                  <a:gd name="T6" fmla="*/ 26 w 62"/>
                  <a:gd name="T7" fmla="*/ 0 h 78"/>
                  <a:gd name="T8" fmla="*/ 0 w 62"/>
                  <a:gd name="T9" fmla="*/ 14 h 78"/>
                </a:gdLst>
                <a:ahLst/>
                <a:cxnLst>
                  <a:cxn ang="0">
                    <a:pos x="T0" y="T1"/>
                  </a:cxn>
                  <a:cxn ang="0">
                    <a:pos x="T2" y="T3"/>
                  </a:cxn>
                  <a:cxn ang="0">
                    <a:pos x="T4" y="T5"/>
                  </a:cxn>
                  <a:cxn ang="0">
                    <a:pos x="T6" y="T7"/>
                  </a:cxn>
                  <a:cxn ang="0">
                    <a:pos x="T8" y="T9"/>
                  </a:cxn>
                </a:cxnLst>
                <a:rect l="0" t="0" r="r" b="b"/>
                <a:pathLst>
                  <a:path w="62" h="78">
                    <a:moveTo>
                      <a:pt x="0" y="14"/>
                    </a:moveTo>
                    <a:lnTo>
                      <a:pt x="36" y="78"/>
                    </a:lnTo>
                    <a:lnTo>
                      <a:pt x="62" y="64"/>
                    </a:lnTo>
                    <a:lnTo>
                      <a:pt x="26" y="0"/>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1" name="Freeform 26"/>
              <p:cNvSpPr>
                <a:spLocks noEditPoints="1"/>
              </p:cNvSpPr>
              <p:nvPr/>
            </p:nvSpPr>
            <p:spPr bwMode="black">
              <a:xfrm>
                <a:off x="2703305" y="2998621"/>
                <a:ext cx="192768" cy="263317"/>
              </a:xfrm>
              <a:custGeom>
                <a:avLst/>
                <a:gdLst>
                  <a:gd name="T0" fmla="*/ 146 w 171"/>
                  <a:gd name="T1" fmla="*/ 0 h 234"/>
                  <a:gd name="T2" fmla="*/ 25 w 171"/>
                  <a:gd name="T3" fmla="*/ 0 h 234"/>
                  <a:gd name="T4" fmla="*/ 0 w 171"/>
                  <a:gd name="T5" fmla="*/ 25 h 234"/>
                  <a:gd name="T6" fmla="*/ 0 w 171"/>
                  <a:gd name="T7" fmla="*/ 209 h 234"/>
                  <a:gd name="T8" fmla="*/ 25 w 171"/>
                  <a:gd name="T9" fmla="*/ 234 h 234"/>
                  <a:gd name="T10" fmla="*/ 146 w 171"/>
                  <a:gd name="T11" fmla="*/ 234 h 234"/>
                  <a:gd name="T12" fmla="*/ 171 w 171"/>
                  <a:gd name="T13" fmla="*/ 209 h 234"/>
                  <a:gd name="T14" fmla="*/ 171 w 171"/>
                  <a:gd name="T15" fmla="*/ 25 h 234"/>
                  <a:gd name="T16" fmla="*/ 146 w 171"/>
                  <a:gd name="T17" fmla="*/ 0 h 234"/>
                  <a:gd name="T18" fmla="*/ 157 w 171"/>
                  <a:gd name="T19" fmla="*/ 183 h 234"/>
                  <a:gd name="T20" fmla="*/ 146 w 171"/>
                  <a:gd name="T21" fmla="*/ 193 h 234"/>
                  <a:gd name="T22" fmla="*/ 25 w 171"/>
                  <a:gd name="T23" fmla="*/ 193 h 234"/>
                  <a:gd name="T24" fmla="*/ 15 w 171"/>
                  <a:gd name="T25" fmla="*/ 183 h 234"/>
                  <a:gd name="T26" fmla="*/ 15 w 171"/>
                  <a:gd name="T27" fmla="*/ 25 h 234"/>
                  <a:gd name="T28" fmla="*/ 25 w 171"/>
                  <a:gd name="T29" fmla="*/ 14 h 234"/>
                  <a:gd name="T30" fmla="*/ 146 w 171"/>
                  <a:gd name="T31" fmla="*/ 14 h 234"/>
                  <a:gd name="T32" fmla="*/ 157 w 171"/>
                  <a:gd name="T33" fmla="*/ 25 h 234"/>
                  <a:gd name="T34" fmla="*/ 157 w 171"/>
                  <a:gd name="T35" fmla="*/ 18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234">
                    <a:moveTo>
                      <a:pt x="146" y="0"/>
                    </a:moveTo>
                    <a:cubicBezTo>
                      <a:pt x="25" y="0"/>
                      <a:pt x="25" y="0"/>
                      <a:pt x="25" y="0"/>
                    </a:cubicBezTo>
                    <a:cubicBezTo>
                      <a:pt x="11" y="0"/>
                      <a:pt x="0" y="11"/>
                      <a:pt x="0" y="25"/>
                    </a:cubicBezTo>
                    <a:cubicBezTo>
                      <a:pt x="0" y="209"/>
                      <a:pt x="0" y="209"/>
                      <a:pt x="0" y="209"/>
                    </a:cubicBezTo>
                    <a:cubicBezTo>
                      <a:pt x="0" y="223"/>
                      <a:pt x="11" y="234"/>
                      <a:pt x="25" y="234"/>
                    </a:cubicBezTo>
                    <a:cubicBezTo>
                      <a:pt x="146" y="234"/>
                      <a:pt x="146" y="234"/>
                      <a:pt x="146" y="234"/>
                    </a:cubicBezTo>
                    <a:cubicBezTo>
                      <a:pt x="160" y="234"/>
                      <a:pt x="171" y="223"/>
                      <a:pt x="171" y="209"/>
                    </a:cubicBezTo>
                    <a:cubicBezTo>
                      <a:pt x="171" y="25"/>
                      <a:pt x="171" y="25"/>
                      <a:pt x="171" y="25"/>
                    </a:cubicBezTo>
                    <a:cubicBezTo>
                      <a:pt x="171" y="11"/>
                      <a:pt x="160" y="0"/>
                      <a:pt x="146" y="0"/>
                    </a:cubicBezTo>
                    <a:moveTo>
                      <a:pt x="157" y="183"/>
                    </a:moveTo>
                    <a:cubicBezTo>
                      <a:pt x="157" y="188"/>
                      <a:pt x="152" y="193"/>
                      <a:pt x="146" y="193"/>
                    </a:cubicBezTo>
                    <a:cubicBezTo>
                      <a:pt x="25" y="193"/>
                      <a:pt x="25" y="193"/>
                      <a:pt x="25" y="193"/>
                    </a:cubicBezTo>
                    <a:cubicBezTo>
                      <a:pt x="19" y="193"/>
                      <a:pt x="15" y="188"/>
                      <a:pt x="15" y="183"/>
                    </a:cubicBezTo>
                    <a:cubicBezTo>
                      <a:pt x="15" y="25"/>
                      <a:pt x="15" y="25"/>
                      <a:pt x="15" y="25"/>
                    </a:cubicBezTo>
                    <a:cubicBezTo>
                      <a:pt x="15" y="19"/>
                      <a:pt x="19" y="14"/>
                      <a:pt x="25" y="14"/>
                    </a:cubicBezTo>
                    <a:cubicBezTo>
                      <a:pt x="146" y="14"/>
                      <a:pt x="146" y="14"/>
                      <a:pt x="146" y="14"/>
                    </a:cubicBezTo>
                    <a:cubicBezTo>
                      <a:pt x="152" y="14"/>
                      <a:pt x="157" y="19"/>
                      <a:pt x="157" y="25"/>
                    </a:cubicBezTo>
                    <a:lnTo>
                      <a:pt x="157" y="1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pic>
          <p:nvPicPr>
            <p:cNvPr id="38" name="Picture 7" descr="e:\Users\mvesely\Desktop\Metro\man.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407008" y="2466307"/>
              <a:ext cx="184854" cy="436523"/>
            </a:xfrm>
            <a:prstGeom prst="rect">
              <a:avLst/>
            </a:prstGeom>
            <a:noFill/>
            <a:extLst>
              <a:ext uri="{909E8E84-426E-40DD-AFC4-6F175D3DCCD1}">
                <a14:hiddenFill xmlns:a14="http://schemas.microsoft.com/office/drawing/2010/main">
                  <a:solidFill>
                    <a:srgbClr val="FFFFFF"/>
                  </a:solidFill>
                </a14:hiddenFill>
              </a:ext>
            </a:extLst>
          </p:spPr>
        </p:pic>
      </p:grpSp>
      <p:sp>
        <p:nvSpPr>
          <p:cNvPr id="54" name="TextBox 53"/>
          <p:cNvSpPr txBox="1"/>
          <p:nvPr/>
        </p:nvSpPr>
        <p:spPr>
          <a:xfrm>
            <a:off x="960189" y="3980824"/>
            <a:ext cx="7213616" cy="392415"/>
          </a:xfrm>
          <a:prstGeom prst="rect">
            <a:avLst/>
          </a:prstGeom>
          <a:noFill/>
        </p:spPr>
        <p:txBody>
          <a:bodyPr wrap="square" lIns="68586" tIns="34294" rIns="68586" bIns="34294" rtlCol="0">
            <a:spAutoFit/>
          </a:bodyPr>
          <a:lstStyle/>
          <a:p>
            <a:pPr algn="ctr"/>
            <a:r>
              <a:rPr lang="en-US" sz="2100" dirty="0">
                <a:latin typeface="Segoe UI Light" pitchFamily="34" charset="0"/>
              </a:rPr>
              <a:t>Companies are under pressure to do more with less</a:t>
            </a:r>
            <a:endParaRPr lang="en-US" sz="2100" dirty="0">
              <a:latin typeface="Segoe UI Light" pitchFamily="34" charset="0"/>
            </a:endParaRPr>
          </a:p>
        </p:txBody>
      </p:sp>
      <p:sp>
        <p:nvSpPr>
          <p:cNvPr id="55"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56"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6"/>
              </a:rPr>
              <a:t>www.rapidbbs.cn</a:t>
            </a:r>
            <a:endParaRPr lang="zh-CN" altLang="en-US" sz="1200" b="0">
              <a:latin typeface="Arial" charset="0"/>
              <a:ea typeface="ＭＳ Ｐゴシック" pitchFamily="34" charset="-128"/>
            </a:endParaRPr>
          </a:p>
        </p:txBody>
      </p:sp>
      <p:pic>
        <p:nvPicPr>
          <p:cNvPr id="57" name="Picture 2">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49799075"/>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to make money?</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185150779"/>
              </p:ext>
            </p:extLst>
          </p:nvPr>
        </p:nvGraphicFramePr>
        <p:xfrm>
          <a:off x="457200" y="1200151"/>
          <a:ext cx="8229600" cy="33944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6"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7"/>
              </a:rPr>
              <a:t>www.rapidbbs.cn</a:t>
            </a:r>
            <a:endParaRPr lang="zh-CN" altLang="en-US" sz="1200" b="0">
              <a:latin typeface="Arial" charset="0"/>
              <a:ea typeface="ＭＳ Ｐゴシック" pitchFamily="34" charset="-128"/>
            </a:endParaRPr>
          </a:p>
        </p:txBody>
      </p:sp>
      <p:pic>
        <p:nvPicPr>
          <p:cNvPr id="7" name="Picture 2">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89573596"/>
      </p:ext>
    </p:extLst>
  </p:cSld>
  <p:clrMapOvr>
    <a:masterClrMapping/>
  </p:clrMapOvr>
  <p:transition>
    <p:fade/>
  </p:transition>
  <p:timing>
    <p:tnLst>
      <p:par>
        <p:cTn id="1" dur="indefinite" restart="never" nodeType="tmRoot"/>
      </p:par>
    </p:tnLst>
  </p:timing>
</p:sld>
</file>

<file path=ppt/slides/slide4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cess Challenges</a:t>
            </a:r>
            <a:endParaRPr lang="en-US" dirty="0"/>
          </a:p>
        </p:txBody>
      </p:sp>
      <p:sp>
        <p:nvSpPr>
          <p:cNvPr id="4" name="Rectangle 3"/>
          <p:cNvSpPr/>
          <p:nvPr/>
        </p:nvSpPr>
        <p:spPr>
          <a:xfrm>
            <a:off x="950612" y="1315265"/>
            <a:ext cx="7213618" cy="18574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endParaRPr lang="en-US" dirty="0"/>
          </a:p>
        </p:txBody>
      </p:sp>
      <p:sp>
        <p:nvSpPr>
          <p:cNvPr id="5" name="Rectangle 4"/>
          <p:cNvSpPr/>
          <p:nvPr/>
        </p:nvSpPr>
        <p:spPr>
          <a:xfrm>
            <a:off x="6396047" y="3172689"/>
            <a:ext cx="1777760" cy="5063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r>
              <a:rPr lang="en-US" sz="1200" b="1" dirty="0">
                <a:solidFill>
                  <a:schemeClr val="accent1"/>
                </a:solidFill>
                <a:latin typeface="Segoe UI Light" pitchFamily="34" charset="0"/>
              </a:rPr>
              <a:t>ALLOW CUSTOMERS</a:t>
            </a:r>
            <a:br>
              <a:rPr lang="en-US" sz="1200" b="1" dirty="0">
                <a:solidFill>
                  <a:schemeClr val="accent1"/>
                </a:solidFill>
                <a:latin typeface="Segoe UI Light" pitchFamily="34" charset="0"/>
              </a:rPr>
            </a:br>
            <a:r>
              <a:rPr lang="en-US" sz="1200" b="1" dirty="0">
                <a:solidFill>
                  <a:schemeClr val="accent1"/>
                </a:solidFill>
                <a:latin typeface="Segoe UI Light" pitchFamily="34" charset="0"/>
              </a:rPr>
              <a:t>&amp; PARTNERS</a:t>
            </a:r>
          </a:p>
        </p:txBody>
      </p:sp>
      <p:sp>
        <p:nvSpPr>
          <p:cNvPr id="6" name="Rectangle 5"/>
          <p:cNvSpPr/>
          <p:nvPr/>
        </p:nvSpPr>
        <p:spPr>
          <a:xfrm>
            <a:off x="4585884" y="3172689"/>
            <a:ext cx="1776350" cy="5063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r>
              <a:rPr lang="en-US" sz="1200" b="1" dirty="0">
                <a:solidFill>
                  <a:schemeClr val="accent1"/>
                </a:solidFill>
                <a:latin typeface="Segoe UI Light" pitchFamily="34" charset="0"/>
              </a:rPr>
              <a:t>ROLE &amp; DEVICE</a:t>
            </a:r>
            <a:br>
              <a:rPr lang="en-US" sz="1200" b="1" dirty="0">
                <a:solidFill>
                  <a:schemeClr val="accent1"/>
                </a:solidFill>
                <a:latin typeface="Segoe UI Light" pitchFamily="34" charset="0"/>
              </a:rPr>
            </a:br>
            <a:r>
              <a:rPr lang="en-US" sz="1200" b="1" dirty="0">
                <a:solidFill>
                  <a:schemeClr val="accent1"/>
                </a:solidFill>
                <a:latin typeface="Segoe UI Light" pitchFamily="34" charset="0"/>
              </a:rPr>
              <a:t>DRIVEN PRIVILEGES</a:t>
            </a:r>
            <a:endParaRPr lang="en-US" sz="1200" b="1" dirty="0">
              <a:solidFill>
                <a:schemeClr val="accent1"/>
              </a:solidFill>
              <a:latin typeface="Segoe UI Light" pitchFamily="34" charset="0"/>
            </a:endParaRPr>
          </a:p>
        </p:txBody>
      </p:sp>
      <p:sp>
        <p:nvSpPr>
          <p:cNvPr id="7" name="Rectangle 6"/>
          <p:cNvSpPr/>
          <p:nvPr/>
        </p:nvSpPr>
        <p:spPr>
          <a:xfrm>
            <a:off x="2781072" y="3172689"/>
            <a:ext cx="1776350" cy="5063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r>
              <a:rPr lang="en-US" sz="1200" b="1" dirty="0">
                <a:solidFill>
                  <a:schemeClr val="accent1"/>
                </a:solidFill>
                <a:latin typeface="Segoe UI Light" pitchFamily="34" charset="0"/>
              </a:rPr>
              <a:t>AVAILABILITY</a:t>
            </a:r>
          </a:p>
        </p:txBody>
      </p:sp>
      <p:sp>
        <p:nvSpPr>
          <p:cNvPr id="8" name="Rectangle 7"/>
          <p:cNvSpPr/>
          <p:nvPr/>
        </p:nvSpPr>
        <p:spPr>
          <a:xfrm>
            <a:off x="960190" y="3172689"/>
            <a:ext cx="1792300" cy="5063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r>
              <a:rPr lang="en-US" sz="1200" b="1" dirty="0">
                <a:solidFill>
                  <a:schemeClr val="accent1"/>
                </a:solidFill>
                <a:latin typeface="Segoe UI Light" pitchFamily="34" charset="0"/>
              </a:rPr>
              <a:t>ENABLING</a:t>
            </a:r>
          </a:p>
          <a:p>
            <a:pPr algn="ctr"/>
            <a:r>
              <a:rPr lang="en-US" sz="1200" b="1" dirty="0">
                <a:solidFill>
                  <a:schemeClr val="accent1"/>
                </a:solidFill>
                <a:latin typeface="Segoe UI Light" pitchFamily="34" charset="0"/>
              </a:rPr>
              <a:t>DEVICES</a:t>
            </a:r>
            <a:endParaRPr lang="en-US" sz="1200" b="1" dirty="0">
              <a:solidFill>
                <a:schemeClr val="accent1"/>
              </a:solidFill>
              <a:latin typeface="Segoe UI Light" pitchFamily="34" charset="0"/>
            </a:endParaRPr>
          </a:p>
        </p:txBody>
      </p:sp>
      <p:cxnSp>
        <p:nvCxnSpPr>
          <p:cNvPr id="9" name="Straight Connector 8"/>
          <p:cNvCxnSpPr/>
          <p:nvPr/>
        </p:nvCxnSpPr>
        <p:spPr>
          <a:xfrm>
            <a:off x="2752489" y="1315264"/>
            <a:ext cx="11104" cy="184440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stCxn id="4" idx="0"/>
          </p:cNvCxnSpPr>
          <p:nvPr/>
        </p:nvCxnSpPr>
        <p:spPr>
          <a:xfrm>
            <a:off x="4557423" y="1315263"/>
            <a:ext cx="13387" cy="184436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6362236" y="1315264"/>
            <a:ext cx="8167" cy="1844906"/>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2" name="Group 11"/>
          <p:cNvGrpSpPr/>
          <p:nvPr/>
        </p:nvGrpSpPr>
        <p:grpSpPr>
          <a:xfrm>
            <a:off x="945114" y="1200151"/>
            <a:ext cx="7213617" cy="115112"/>
            <a:chOff x="1259822" y="566905"/>
            <a:chExt cx="9615651" cy="675150"/>
          </a:xfrm>
        </p:grpSpPr>
        <p:sp>
          <p:nvSpPr>
            <p:cNvPr id="13" name="Rectangle 12"/>
            <p:cNvSpPr/>
            <p:nvPr/>
          </p:nvSpPr>
          <p:spPr>
            <a:xfrm>
              <a:off x="8505744" y="566905"/>
              <a:ext cx="2369729" cy="6751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p:nvSpPr>
          <p:spPr>
            <a:xfrm>
              <a:off x="6092824" y="566905"/>
              <a:ext cx="2367850" cy="6751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p:cNvSpPr/>
            <p:nvPr/>
          </p:nvSpPr>
          <p:spPr>
            <a:xfrm>
              <a:off x="3687034" y="566905"/>
              <a:ext cx="2367850" cy="6751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p:cNvSpPr/>
            <p:nvPr/>
          </p:nvSpPr>
          <p:spPr>
            <a:xfrm>
              <a:off x="1259822" y="566905"/>
              <a:ext cx="2389111" cy="6751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17" name="Picture 16" descr="C:\Users\sakuu\Documents\Ballmer WPC\AI\work.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713276" y="2159934"/>
            <a:ext cx="171495" cy="273794"/>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7" descr="e:\Users\mvesely\Desktop\Metro\man.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360451" y="2165712"/>
            <a:ext cx="228986" cy="540598"/>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Group 18"/>
          <p:cNvGrpSpPr/>
          <p:nvPr/>
        </p:nvGrpSpPr>
        <p:grpSpPr>
          <a:xfrm>
            <a:off x="1439328" y="1983922"/>
            <a:ext cx="766673" cy="665448"/>
            <a:chOff x="1822601" y="2720182"/>
            <a:chExt cx="1148778" cy="997363"/>
          </a:xfrm>
        </p:grpSpPr>
        <p:sp>
          <p:nvSpPr>
            <p:cNvPr id="20" name="Rectangle 6"/>
            <p:cNvSpPr>
              <a:spLocks noChangeArrowheads="1"/>
            </p:cNvSpPr>
            <p:nvPr/>
          </p:nvSpPr>
          <p:spPr bwMode="black">
            <a:xfrm>
              <a:off x="2666477" y="3195549"/>
              <a:ext cx="31527" cy="1338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1" name="Rectangle 7"/>
            <p:cNvSpPr>
              <a:spLocks noChangeArrowheads="1"/>
            </p:cNvSpPr>
            <p:nvPr/>
          </p:nvSpPr>
          <p:spPr bwMode="black">
            <a:xfrm>
              <a:off x="2729531" y="3195549"/>
              <a:ext cx="30663" cy="1338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2" name="Rectangle 8"/>
            <p:cNvSpPr>
              <a:spLocks noChangeArrowheads="1"/>
            </p:cNvSpPr>
            <p:nvPr/>
          </p:nvSpPr>
          <p:spPr bwMode="black">
            <a:xfrm>
              <a:off x="1994054" y="3195549"/>
              <a:ext cx="31527" cy="1338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3" name="Rectangle 9"/>
            <p:cNvSpPr>
              <a:spLocks noChangeArrowheads="1"/>
            </p:cNvSpPr>
            <p:nvPr/>
          </p:nvSpPr>
          <p:spPr bwMode="black">
            <a:xfrm>
              <a:off x="2057108" y="3195549"/>
              <a:ext cx="31958" cy="1338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4" name="Freeform 10"/>
            <p:cNvSpPr>
              <a:spLocks/>
            </p:cNvSpPr>
            <p:nvPr/>
          </p:nvSpPr>
          <p:spPr bwMode="black">
            <a:xfrm>
              <a:off x="2214308" y="2967148"/>
              <a:ext cx="27639" cy="33677"/>
            </a:xfrm>
            <a:custGeom>
              <a:avLst/>
              <a:gdLst>
                <a:gd name="T0" fmla="*/ 36 w 64"/>
                <a:gd name="T1" fmla="*/ 78 h 78"/>
                <a:gd name="T2" fmla="*/ 64 w 64"/>
                <a:gd name="T3" fmla="*/ 64 h 78"/>
                <a:gd name="T4" fmla="*/ 26 w 64"/>
                <a:gd name="T5" fmla="*/ 0 h 78"/>
                <a:gd name="T6" fmla="*/ 0 w 64"/>
                <a:gd name="T7" fmla="*/ 17 h 78"/>
                <a:gd name="T8" fmla="*/ 36 w 64"/>
                <a:gd name="T9" fmla="*/ 78 h 78"/>
              </a:gdLst>
              <a:ahLst/>
              <a:cxnLst>
                <a:cxn ang="0">
                  <a:pos x="T0" y="T1"/>
                </a:cxn>
                <a:cxn ang="0">
                  <a:pos x="T2" y="T3"/>
                </a:cxn>
                <a:cxn ang="0">
                  <a:pos x="T4" y="T5"/>
                </a:cxn>
                <a:cxn ang="0">
                  <a:pos x="T6" y="T7"/>
                </a:cxn>
                <a:cxn ang="0">
                  <a:pos x="T8" y="T9"/>
                </a:cxn>
              </a:cxnLst>
              <a:rect l="0" t="0" r="r" b="b"/>
              <a:pathLst>
                <a:path w="64" h="78">
                  <a:moveTo>
                    <a:pt x="36" y="78"/>
                  </a:moveTo>
                  <a:lnTo>
                    <a:pt x="64" y="64"/>
                  </a:lnTo>
                  <a:lnTo>
                    <a:pt x="26" y="0"/>
                  </a:lnTo>
                  <a:lnTo>
                    <a:pt x="0" y="17"/>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5" name="Freeform 11"/>
            <p:cNvSpPr>
              <a:spLocks/>
            </p:cNvSpPr>
            <p:nvPr/>
          </p:nvSpPr>
          <p:spPr bwMode="black">
            <a:xfrm>
              <a:off x="2245835" y="3022414"/>
              <a:ext cx="26776" cy="33677"/>
            </a:xfrm>
            <a:custGeom>
              <a:avLst/>
              <a:gdLst>
                <a:gd name="T0" fmla="*/ 36 w 62"/>
                <a:gd name="T1" fmla="*/ 78 h 78"/>
                <a:gd name="T2" fmla="*/ 62 w 62"/>
                <a:gd name="T3" fmla="*/ 61 h 78"/>
                <a:gd name="T4" fmla="*/ 26 w 62"/>
                <a:gd name="T5" fmla="*/ 0 h 78"/>
                <a:gd name="T6" fmla="*/ 0 w 62"/>
                <a:gd name="T7" fmla="*/ 14 h 78"/>
                <a:gd name="T8" fmla="*/ 36 w 62"/>
                <a:gd name="T9" fmla="*/ 78 h 78"/>
              </a:gdLst>
              <a:ahLst/>
              <a:cxnLst>
                <a:cxn ang="0">
                  <a:pos x="T0" y="T1"/>
                </a:cxn>
                <a:cxn ang="0">
                  <a:pos x="T2" y="T3"/>
                </a:cxn>
                <a:cxn ang="0">
                  <a:pos x="T4" y="T5"/>
                </a:cxn>
                <a:cxn ang="0">
                  <a:pos x="T6" y="T7"/>
                </a:cxn>
                <a:cxn ang="0">
                  <a:pos x="T8" y="T9"/>
                </a:cxn>
              </a:cxnLst>
              <a:rect l="0" t="0" r="r" b="b"/>
              <a:pathLst>
                <a:path w="62" h="78">
                  <a:moveTo>
                    <a:pt x="36" y="78"/>
                  </a:moveTo>
                  <a:lnTo>
                    <a:pt x="62" y="61"/>
                  </a:lnTo>
                  <a:lnTo>
                    <a:pt x="26" y="0"/>
                  </a:lnTo>
                  <a:lnTo>
                    <a:pt x="0" y="14"/>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6" name="Freeform 12"/>
            <p:cNvSpPr>
              <a:spLocks/>
            </p:cNvSpPr>
            <p:nvPr/>
          </p:nvSpPr>
          <p:spPr bwMode="black">
            <a:xfrm>
              <a:off x="2478614" y="3022414"/>
              <a:ext cx="26776" cy="33677"/>
            </a:xfrm>
            <a:custGeom>
              <a:avLst/>
              <a:gdLst>
                <a:gd name="T0" fmla="*/ 26 w 62"/>
                <a:gd name="T1" fmla="*/ 78 h 78"/>
                <a:gd name="T2" fmla="*/ 62 w 62"/>
                <a:gd name="T3" fmla="*/ 14 h 78"/>
                <a:gd name="T4" fmla="*/ 36 w 62"/>
                <a:gd name="T5" fmla="*/ 0 h 78"/>
                <a:gd name="T6" fmla="*/ 0 w 62"/>
                <a:gd name="T7" fmla="*/ 61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4"/>
                  </a:lnTo>
                  <a:lnTo>
                    <a:pt x="36" y="0"/>
                  </a:lnTo>
                  <a:lnTo>
                    <a:pt x="0" y="61"/>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7" name="Freeform 13"/>
            <p:cNvSpPr>
              <a:spLocks/>
            </p:cNvSpPr>
            <p:nvPr/>
          </p:nvSpPr>
          <p:spPr bwMode="black">
            <a:xfrm>
              <a:off x="2510141" y="2967148"/>
              <a:ext cx="26776" cy="33677"/>
            </a:xfrm>
            <a:custGeom>
              <a:avLst/>
              <a:gdLst>
                <a:gd name="T0" fmla="*/ 26 w 62"/>
                <a:gd name="T1" fmla="*/ 78 h 78"/>
                <a:gd name="T2" fmla="*/ 62 w 62"/>
                <a:gd name="T3" fmla="*/ 17 h 78"/>
                <a:gd name="T4" fmla="*/ 36 w 62"/>
                <a:gd name="T5" fmla="*/ 0 h 78"/>
                <a:gd name="T6" fmla="*/ 0 w 62"/>
                <a:gd name="T7" fmla="*/ 64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7"/>
                  </a:lnTo>
                  <a:lnTo>
                    <a:pt x="36" y="0"/>
                  </a:lnTo>
                  <a:lnTo>
                    <a:pt x="0" y="64"/>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8" name="Freeform 14"/>
            <p:cNvSpPr>
              <a:spLocks/>
            </p:cNvSpPr>
            <p:nvPr/>
          </p:nvSpPr>
          <p:spPr bwMode="black">
            <a:xfrm>
              <a:off x="2245835" y="3370843"/>
              <a:ext cx="26776" cy="33677"/>
            </a:xfrm>
            <a:custGeom>
              <a:avLst/>
              <a:gdLst>
                <a:gd name="T0" fmla="*/ 0 w 62"/>
                <a:gd name="T1" fmla="*/ 64 h 78"/>
                <a:gd name="T2" fmla="*/ 26 w 62"/>
                <a:gd name="T3" fmla="*/ 78 h 78"/>
                <a:gd name="T4" fmla="*/ 62 w 62"/>
                <a:gd name="T5" fmla="*/ 14 h 78"/>
                <a:gd name="T6" fmla="*/ 36 w 62"/>
                <a:gd name="T7" fmla="*/ 0 h 78"/>
                <a:gd name="T8" fmla="*/ 0 w 62"/>
                <a:gd name="T9" fmla="*/ 64 h 78"/>
              </a:gdLst>
              <a:ahLst/>
              <a:cxnLst>
                <a:cxn ang="0">
                  <a:pos x="T0" y="T1"/>
                </a:cxn>
                <a:cxn ang="0">
                  <a:pos x="T2" y="T3"/>
                </a:cxn>
                <a:cxn ang="0">
                  <a:pos x="T4" y="T5"/>
                </a:cxn>
                <a:cxn ang="0">
                  <a:pos x="T6" y="T7"/>
                </a:cxn>
                <a:cxn ang="0">
                  <a:pos x="T8" y="T9"/>
                </a:cxn>
              </a:cxnLst>
              <a:rect l="0" t="0" r="r" b="b"/>
              <a:pathLst>
                <a:path w="62" h="78">
                  <a:moveTo>
                    <a:pt x="0" y="64"/>
                  </a:moveTo>
                  <a:lnTo>
                    <a:pt x="26" y="78"/>
                  </a:lnTo>
                  <a:lnTo>
                    <a:pt x="62" y="14"/>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9" name="Freeform 15"/>
            <p:cNvSpPr>
              <a:spLocks/>
            </p:cNvSpPr>
            <p:nvPr/>
          </p:nvSpPr>
          <p:spPr bwMode="black">
            <a:xfrm>
              <a:off x="2214308" y="3424812"/>
              <a:ext cx="27639" cy="34973"/>
            </a:xfrm>
            <a:custGeom>
              <a:avLst/>
              <a:gdLst>
                <a:gd name="T0" fmla="*/ 0 w 64"/>
                <a:gd name="T1" fmla="*/ 64 h 81"/>
                <a:gd name="T2" fmla="*/ 26 w 64"/>
                <a:gd name="T3" fmla="*/ 81 h 81"/>
                <a:gd name="T4" fmla="*/ 64 w 64"/>
                <a:gd name="T5" fmla="*/ 17 h 81"/>
                <a:gd name="T6" fmla="*/ 36 w 64"/>
                <a:gd name="T7" fmla="*/ 0 h 81"/>
                <a:gd name="T8" fmla="*/ 0 w 64"/>
                <a:gd name="T9" fmla="*/ 64 h 81"/>
              </a:gdLst>
              <a:ahLst/>
              <a:cxnLst>
                <a:cxn ang="0">
                  <a:pos x="T0" y="T1"/>
                </a:cxn>
                <a:cxn ang="0">
                  <a:pos x="T2" y="T3"/>
                </a:cxn>
                <a:cxn ang="0">
                  <a:pos x="T4" y="T5"/>
                </a:cxn>
                <a:cxn ang="0">
                  <a:pos x="T6" y="T7"/>
                </a:cxn>
                <a:cxn ang="0">
                  <a:pos x="T8" y="T9"/>
                </a:cxn>
              </a:cxnLst>
              <a:rect l="0" t="0" r="r" b="b"/>
              <a:pathLst>
                <a:path w="64" h="81">
                  <a:moveTo>
                    <a:pt x="0" y="64"/>
                  </a:moveTo>
                  <a:lnTo>
                    <a:pt x="26" y="81"/>
                  </a:lnTo>
                  <a:lnTo>
                    <a:pt x="64" y="17"/>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0" name="Freeform 16"/>
            <p:cNvSpPr>
              <a:spLocks/>
            </p:cNvSpPr>
            <p:nvPr/>
          </p:nvSpPr>
          <p:spPr bwMode="black">
            <a:xfrm>
              <a:off x="2510141" y="3424812"/>
              <a:ext cx="26776" cy="34973"/>
            </a:xfrm>
            <a:custGeom>
              <a:avLst/>
              <a:gdLst>
                <a:gd name="T0" fmla="*/ 26 w 62"/>
                <a:gd name="T1" fmla="*/ 0 h 81"/>
                <a:gd name="T2" fmla="*/ 0 w 62"/>
                <a:gd name="T3" fmla="*/ 17 h 81"/>
                <a:gd name="T4" fmla="*/ 36 w 62"/>
                <a:gd name="T5" fmla="*/ 81 h 81"/>
                <a:gd name="T6" fmla="*/ 62 w 62"/>
                <a:gd name="T7" fmla="*/ 64 h 81"/>
                <a:gd name="T8" fmla="*/ 26 w 62"/>
                <a:gd name="T9" fmla="*/ 0 h 81"/>
              </a:gdLst>
              <a:ahLst/>
              <a:cxnLst>
                <a:cxn ang="0">
                  <a:pos x="T0" y="T1"/>
                </a:cxn>
                <a:cxn ang="0">
                  <a:pos x="T2" y="T3"/>
                </a:cxn>
                <a:cxn ang="0">
                  <a:pos x="T4" y="T5"/>
                </a:cxn>
                <a:cxn ang="0">
                  <a:pos x="T6" y="T7"/>
                </a:cxn>
                <a:cxn ang="0">
                  <a:pos x="T8" y="T9"/>
                </a:cxn>
              </a:cxnLst>
              <a:rect l="0" t="0" r="r" b="b"/>
              <a:pathLst>
                <a:path w="62" h="81">
                  <a:moveTo>
                    <a:pt x="26" y="0"/>
                  </a:moveTo>
                  <a:lnTo>
                    <a:pt x="0" y="17"/>
                  </a:lnTo>
                  <a:lnTo>
                    <a:pt x="36" y="81"/>
                  </a:lnTo>
                  <a:lnTo>
                    <a:pt x="62" y="64"/>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1" name="Freeform 17"/>
            <p:cNvSpPr>
              <a:spLocks/>
            </p:cNvSpPr>
            <p:nvPr/>
          </p:nvSpPr>
          <p:spPr bwMode="black">
            <a:xfrm>
              <a:off x="2478614" y="3370843"/>
              <a:ext cx="26776" cy="33677"/>
            </a:xfrm>
            <a:custGeom>
              <a:avLst/>
              <a:gdLst>
                <a:gd name="T0" fmla="*/ 0 w 62"/>
                <a:gd name="T1" fmla="*/ 14 h 78"/>
                <a:gd name="T2" fmla="*/ 36 w 62"/>
                <a:gd name="T3" fmla="*/ 78 h 78"/>
                <a:gd name="T4" fmla="*/ 62 w 62"/>
                <a:gd name="T5" fmla="*/ 64 h 78"/>
                <a:gd name="T6" fmla="*/ 26 w 62"/>
                <a:gd name="T7" fmla="*/ 0 h 78"/>
                <a:gd name="T8" fmla="*/ 0 w 62"/>
                <a:gd name="T9" fmla="*/ 14 h 78"/>
              </a:gdLst>
              <a:ahLst/>
              <a:cxnLst>
                <a:cxn ang="0">
                  <a:pos x="T0" y="T1"/>
                </a:cxn>
                <a:cxn ang="0">
                  <a:pos x="T2" y="T3"/>
                </a:cxn>
                <a:cxn ang="0">
                  <a:pos x="T4" y="T5"/>
                </a:cxn>
                <a:cxn ang="0">
                  <a:pos x="T6" y="T7"/>
                </a:cxn>
                <a:cxn ang="0">
                  <a:pos x="T8" y="T9"/>
                </a:cxn>
              </a:cxnLst>
              <a:rect l="0" t="0" r="r" b="b"/>
              <a:pathLst>
                <a:path w="62" h="78">
                  <a:moveTo>
                    <a:pt x="0" y="14"/>
                  </a:moveTo>
                  <a:lnTo>
                    <a:pt x="36" y="78"/>
                  </a:lnTo>
                  <a:lnTo>
                    <a:pt x="62" y="64"/>
                  </a:lnTo>
                  <a:lnTo>
                    <a:pt x="26" y="0"/>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2" name="Freeform 19"/>
            <p:cNvSpPr>
              <a:spLocks noEditPoints="1"/>
            </p:cNvSpPr>
            <p:nvPr/>
          </p:nvSpPr>
          <p:spPr bwMode="black">
            <a:xfrm>
              <a:off x="2056244" y="2720182"/>
              <a:ext cx="204275" cy="142049"/>
            </a:xfrm>
            <a:custGeom>
              <a:avLst/>
              <a:gdLst>
                <a:gd name="T0" fmla="*/ 174 w 200"/>
                <a:gd name="T1" fmla="*/ 0 h 139"/>
                <a:gd name="T2" fmla="*/ 26 w 200"/>
                <a:gd name="T3" fmla="*/ 0 h 139"/>
                <a:gd name="T4" fmla="*/ 0 w 200"/>
                <a:gd name="T5" fmla="*/ 27 h 139"/>
                <a:gd name="T6" fmla="*/ 0 w 200"/>
                <a:gd name="T7" fmla="*/ 113 h 139"/>
                <a:gd name="T8" fmla="*/ 26 w 200"/>
                <a:gd name="T9" fmla="*/ 139 h 139"/>
                <a:gd name="T10" fmla="*/ 174 w 200"/>
                <a:gd name="T11" fmla="*/ 139 h 139"/>
                <a:gd name="T12" fmla="*/ 200 w 200"/>
                <a:gd name="T13" fmla="*/ 113 h 139"/>
                <a:gd name="T14" fmla="*/ 200 w 200"/>
                <a:gd name="T15" fmla="*/ 27 h 139"/>
                <a:gd name="T16" fmla="*/ 174 w 200"/>
                <a:gd name="T17" fmla="*/ 0 h 139"/>
                <a:gd name="T18" fmla="*/ 185 w 200"/>
                <a:gd name="T19" fmla="*/ 113 h 139"/>
                <a:gd name="T20" fmla="*/ 174 w 200"/>
                <a:gd name="T21" fmla="*/ 124 h 139"/>
                <a:gd name="T22" fmla="*/ 26 w 200"/>
                <a:gd name="T23" fmla="*/ 124 h 139"/>
                <a:gd name="T24" fmla="*/ 15 w 200"/>
                <a:gd name="T25" fmla="*/ 113 h 139"/>
                <a:gd name="T26" fmla="*/ 15 w 200"/>
                <a:gd name="T27" fmla="*/ 27 h 139"/>
                <a:gd name="T28" fmla="*/ 26 w 200"/>
                <a:gd name="T29" fmla="*/ 16 h 139"/>
                <a:gd name="T30" fmla="*/ 174 w 200"/>
                <a:gd name="T31" fmla="*/ 16 h 139"/>
                <a:gd name="T32" fmla="*/ 185 w 200"/>
                <a:gd name="T33" fmla="*/ 27 h 139"/>
                <a:gd name="T34" fmla="*/ 185 w 200"/>
                <a:gd name="T35" fmla="*/ 11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39">
                  <a:moveTo>
                    <a:pt x="174" y="0"/>
                  </a:moveTo>
                  <a:cubicBezTo>
                    <a:pt x="26" y="0"/>
                    <a:pt x="26" y="0"/>
                    <a:pt x="26" y="0"/>
                  </a:cubicBezTo>
                  <a:cubicBezTo>
                    <a:pt x="12" y="0"/>
                    <a:pt x="0" y="12"/>
                    <a:pt x="0" y="27"/>
                  </a:cubicBezTo>
                  <a:cubicBezTo>
                    <a:pt x="0" y="113"/>
                    <a:pt x="0" y="113"/>
                    <a:pt x="0" y="113"/>
                  </a:cubicBezTo>
                  <a:cubicBezTo>
                    <a:pt x="0" y="127"/>
                    <a:pt x="12" y="139"/>
                    <a:pt x="26" y="139"/>
                  </a:cubicBezTo>
                  <a:cubicBezTo>
                    <a:pt x="174" y="139"/>
                    <a:pt x="174" y="139"/>
                    <a:pt x="174" y="139"/>
                  </a:cubicBezTo>
                  <a:cubicBezTo>
                    <a:pt x="188" y="139"/>
                    <a:pt x="200" y="127"/>
                    <a:pt x="200" y="113"/>
                  </a:cubicBezTo>
                  <a:cubicBezTo>
                    <a:pt x="200" y="27"/>
                    <a:pt x="200" y="27"/>
                    <a:pt x="200" y="27"/>
                  </a:cubicBezTo>
                  <a:cubicBezTo>
                    <a:pt x="200" y="12"/>
                    <a:pt x="188" y="0"/>
                    <a:pt x="174" y="0"/>
                  </a:cubicBezTo>
                  <a:moveTo>
                    <a:pt x="185" y="113"/>
                  </a:moveTo>
                  <a:cubicBezTo>
                    <a:pt x="185" y="119"/>
                    <a:pt x="180" y="124"/>
                    <a:pt x="174" y="124"/>
                  </a:cubicBezTo>
                  <a:cubicBezTo>
                    <a:pt x="26" y="124"/>
                    <a:pt x="26" y="124"/>
                    <a:pt x="26" y="124"/>
                  </a:cubicBezTo>
                  <a:cubicBezTo>
                    <a:pt x="20" y="124"/>
                    <a:pt x="15" y="119"/>
                    <a:pt x="15" y="113"/>
                  </a:cubicBezTo>
                  <a:cubicBezTo>
                    <a:pt x="15" y="27"/>
                    <a:pt x="15" y="27"/>
                    <a:pt x="15" y="27"/>
                  </a:cubicBezTo>
                  <a:cubicBezTo>
                    <a:pt x="15" y="21"/>
                    <a:pt x="20" y="16"/>
                    <a:pt x="26" y="16"/>
                  </a:cubicBezTo>
                  <a:cubicBezTo>
                    <a:pt x="174" y="16"/>
                    <a:pt x="174" y="16"/>
                    <a:pt x="174" y="16"/>
                  </a:cubicBezTo>
                  <a:cubicBezTo>
                    <a:pt x="180" y="16"/>
                    <a:pt x="185" y="21"/>
                    <a:pt x="185" y="27"/>
                  </a:cubicBezTo>
                  <a:lnTo>
                    <a:pt x="185" y="1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3" name="Freeform 20"/>
            <p:cNvSpPr>
              <a:spLocks/>
            </p:cNvSpPr>
            <p:nvPr/>
          </p:nvSpPr>
          <p:spPr bwMode="black">
            <a:xfrm>
              <a:off x="2017375" y="2871298"/>
              <a:ext cx="281580" cy="65196"/>
            </a:xfrm>
            <a:custGeom>
              <a:avLst/>
              <a:gdLst>
                <a:gd name="T0" fmla="*/ 7 w 276"/>
                <a:gd name="T1" fmla="*/ 64 h 64"/>
                <a:gd name="T2" fmla="*/ 269 w 276"/>
                <a:gd name="T3" fmla="*/ 64 h 64"/>
                <a:gd name="T4" fmla="*/ 276 w 276"/>
                <a:gd name="T5" fmla="*/ 57 h 64"/>
                <a:gd name="T6" fmla="*/ 276 w 276"/>
                <a:gd name="T7" fmla="*/ 54 h 64"/>
                <a:gd name="T8" fmla="*/ 272 w 276"/>
                <a:gd name="T9" fmla="*/ 42 h 64"/>
                <a:gd name="T10" fmla="*/ 240 w 276"/>
                <a:gd name="T11" fmla="*/ 5 h 64"/>
                <a:gd name="T12" fmla="*/ 229 w 276"/>
                <a:gd name="T13" fmla="*/ 0 h 64"/>
                <a:gd name="T14" fmla="*/ 47 w 276"/>
                <a:gd name="T15" fmla="*/ 0 h 64"/>
                <a:gd name="T16" fmla="*/ 36 w 276"/>
                <a:gd name="T17" fmla="*/ 5 h 64"/>
                <a:gd name="T18" fmla="*/ 4 w 276"/>
                <a:gd name="T19" fmla="*/ 42 h 64"/>
                <a:gd name="T20" fmla="*/ 0 w 276"/>
                <a:gd name="T21" fmla="*/ 54 h 64"/>
                <a:gd name="T22" fmla="*/ 0 w 276"/>
                <a:gd name="T23" fmla="*/ 57 h 64"/>
                <a:gd name="T24" fmla="*/ 7 w 27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6" h="64">
                  <a:moveTo>
                    <a:pt x="7" y="64"/>
                  </a:moveTo>
                  <a:cubicBezTo>
                    <a:pt x="269" y="64"/>
                    <a:pt x="269" y="64"/>
                    <a:pt x="269" y="64"/>
                  </a:cubicBezTo>
                  <a:cubicBezTo>
                    <a:pt x="273" y="64"/>
                    <a:pt x="276" y="61"/>
                    <a:pt x="276" y="57"/>
                  </a:cubicBezTo>
                  <a:cubicBezTo>
                    <a:pt x="276" y="54"/>
                    <a:pt x="276" y="54"/>
                    <a:pt x="276" y="54"/>
                  </a:cubicBezTo>
                  <a:cubicBezTo>
                    <a:pt x="276" y="50"/>
                    <a:pt x="274" y="45"/>
                    <a:pt x="272" y="42"/>
                  </a:cubicBezTo>
                  <a:cubicBezTo>
                    <a:pt x="240" y="5"/>
                    <a:pt x="240" y="5"/>
                    <a:pt x="240" y="5"/>
                  </a:cubicBezTo>
                  <a:cubicBezTo>
                    <a:pt x="238" y="2"/>
                    <a:pt x="233" y="0"/>
                    <a:pt x="229" y="0"/>
                  </a:cubicBezTo>
                  <a:cubicBezTo>
                    <a:pt x="47" y="0"/>
                    <a:pt x="47" y="0"/>
                    <a:pt x="47" y="0"/>
                  </a:cubicBezTo>
                  <a:cubicBezTo>
                    <a:pt x="43" y="0"/>
                    <a:pt x="38" y="2"/>
                    <a:pt x="36" y="5"/>
                  </a:cubicBezTo>
                  <a:cubicBezTo>
                    <a:pt x="4" y="42"/>
                    <a:pt x="4" y="42"/>
                    <a:pt x="4" y="42"/>
                  </a:cubicBezTo>
                  <a:cubicBezTo>
                    <a:pt x="2" y="45"/>
                    <a:pt x="0" y="50"/>
                    <a:pt x="0" y="54"/>
                  </a:cubicBezTo>
                  <a:cubicBezTo>
                    <a:pt x="0" y="57"/>
                    <a:pt x="0" y="57"/>
                    <a:pt x="0" y="57"/>
                  </a:cubicBezTo>
                  <a:cubicBezTo>
                    <a:pt x="0" y="61"/>
                    <a:pt x="3" y="64"/>
                    <a:pt x="7"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4" name="Freeform 21"/>
            <p:cNvSpPr>
              <a:spLocks noEditPoints="1"/>
            </p:cNvSpPr>
            <p:nvPr/>
          </p:nvSpPr>
          <p:spPr bwMode="black">
            <a:xfrm>
              <a:off x="2439746" y="2731408"/>
              <a:ext cx="212481" cy="165364"/>
            </a:xfrm>
            <a:custGeom>
              <a:avLst/>
              <a:gdLst>
                <a:gd name="T0" fmla="*/ 177 w 208"/>
                <a:gd name="T1" fmla="*/ 0 h 162"/>
                <a:gd name="T2" fmla="*/ 31 w 208"/>
                <a:gd name="T3" fmla="*/ 0 h 162"/>
                <a:gd name="T4" fmla="*/ 0 w 208"/>
                <a:gd name="T5" fmla="*/ 31 h 162"/>
                <a:gd name="T6" fmla="*/ 0 w 208"/>
                <a:gd name="T7" fmla="*/ 131 h 162"/>
                <a:gd name="T8" fmla="*/ 31 w 208"/>
                <a:gd name="T9" fmla="*/ 162 h 162"/>
                <a:gd name="T10" fmla="*/ 177 w 208"/>
                <a:gd name="T11" fmla="*/ 162 h 162"/>
                <a:gd name="T12" fmla="*/ 208 w 208"/>
                <a:gd name="T13" fmla="*/ 131 h 162"/>
                <a:gd name="T14" fmla="*/ 208 w 208"/>
                <a:gd name="T15" fmla="*/ 31 h 162"/>
                <a:gd name="T16" fmla="*/ 177 w 208"/>
                <a:gd name="T17" fmla="*/ 0 h 162"/>
                <a:gd name="T18" fmla="*/ 190 w 208"/>
                <a:gd name="T19" fmla="*/ 131 h 162"/>
                <a:gd name="T20" fmla="*/ 177 w 208"/>
                <a:gd name="T21" fmla="*/ 144 h 162"/>
                <a:gd name="T22" fmla="*/ 31 w 208"/>
                <a:gd name="T23" fmla="*/ 144 h 162"/>
                <a:gd name="T24" fmla="*/ 18 w 208"/>
                <a:gd name="T25" fmla="*/ 131 h 162"/>
                <a:gd name="T26" fmla="*/ 18 w 208"/>
                <a:gd name="T27" fmla="*/ 31 h 162"/>
                <a:gd name="T28" fmla="*/ 31 w 208"/>
                <a:gd name="T29" fmla="*/ 18 h 162"/>
                <a:gd name="T30" fmla="*/ 177 w 208"/>
                <a:gd name="T31" fmla="*/ 18 h 162"/>
                <a:gd name="T32" fmla="*/ 190 w 208"/>
                <a:gd name="T33" fmla="*/ 31 h 162"/>
                <a:gd name="T34" fmla="*/ 190 w 208"/>
                <a:gd name="T35" fmla="*/ 13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 h="162">
                  <a:moveTo>
                    <a:pt x="177" y="0"/>
                  </a:moveTo>
                  <a:cubicBezTo>
                    <a:pt x="31" y="0"/>
                    <a:pt x="31" y="0"/>
                    <a:pt x="31" y="0"/>
                  </a:cubicBezTo>
                  <a:cubicBezTo>
                    <a:pt x="14" y="0"/>
                    <a:pt x="0" y="14"/>
                    <a:pt x="0" y="31"/>
                  </a:cubicBezTo>
                  <a:cubicBezTo>
                    <a:pt x="0" y="131"/>
                    <a:pt x="0" y="131"/>
                    <a:pt x="0" y="131"/>
                  </a:cubicBezTo>
                  <a:cubicBezTo>
                    <a:pt x="0" y="148"/>
                    <a:pt x="14" y="162"/>
                    <a:pt x="31" y="162"/>
                  </a:cubicBezTo>
                  <a:cubicBezTo>
                    <a:pt x="177" y="162"/>
                    <a:pt x="177" y="162"/>
                    <a:pt x="177" y="162"/>
                  </a:cubicBezTo>
                  <a:cubicBezTo>
                    <a:pt x="194" y="162"/>
                    <a:pt x="208" y="148"/>
                    <a:pt x="208" y="131"/>
                  </a:cubicBezTo>
                  <a:cubicBezTo>
                    <a:pt x="208" y="31"/>
                    <a:pt x="208" y="31"/>
                    <a:pt x="208" y="31"/>
                  </a:cubicBezTo>
                  <a:cubicBezTo>
                    <a:pt x="208" y="14"/>
                    <a:pt x="194" y="0"/>
                    <a:pt x="177" y="0"/>
                  </a:cubicBezTo>
                  <a:moveTo>
                    <a:pt x="190" y="131"/>
                  </a:moveTo>
                  <a:cubicBezTo>
                    <a:pt x="190" y="138"/>
                    <a:pt x="184" y="144"/>
                    <a:pt x="177" y="144"/>
                  </a:cubicBezTo>
                  <a:cubicBezTo>
                    <a:pt x="31" y="144"/>
                    <a:pt x="31" y="144"/>
                    <a:pt x="31" y="144"/>
                  </a:cubicBezTo>
                  <a:cubicBezTo>
                    <a:pt x="24" y="144"/>
                    <a:pt x="18" y="138"/>
                    <a:pt x="18" y="131"/>
                  </a:cubicBezTo>
                  <a:cubicBezTo>
                    <a:pt x="18" y="31"/>
                    <a:pt x="18" y="31"/>
                    <a:pt x="18" y="31"/>
                  </a:cubicBezTo>
                  <a:cubicBezTo>
                    <a:pt x="18" y="24"/>
                    <a:pt x="24" y="18"/>
                    <a:pt x="31" y="18"/>
                  </a:cubicBezTo>
                  <a:cubicBezTo>
                    <a:pt x="177" y="18"/>
                    <a:pt x="177" y="18"/>
                    <a:pt x="177" y="18"/>
                  </a:cubicBezTo>
                  <a:cubicBezTo>
                    <a:pt x="184" y="18"/>
                    <a:pt x="190" y="24"/>
                    <a:pt x="190" y="31"/>
                  </a:cubicBezTo>
                  <a:lnTo>
                    <a:pt x="190" y="1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5" name="Freeform 22"/>
            <p:cNvSpPr>
              <a:spLocks/>
            </p:cNvSpPr>
            <p:nvPr/>
          </p:nvSpPr>
          <p:spPr bwMode="black">
            <a:xfrm>
              <a:off x="2488979" y="2907997"/>
              <a:ext cx="114014" cy="28496"/>
            </a:xfrm>
            <a:custGeom>
              <a:avLst/>
              <a:gdLst>
                <a:gd name="T0" fmla="*/ 112 w 112"/>
                <a:gd name="T1" fmla="*/ 25 h 28"/>
                <a:gd name="T2" fmla="*/ 112 w 112"/>
                <a:gd name="T3" fmla="*/ 23 h 28"/>
                <a:gd name="T4" fmla="*/ 110 w 112"/>
                <a:gd name="T5" fmla="*/ 18 h 28"/>
                <a:gd name="T6" fmla="*/ 96 w 112"/>
                <a:gd name="T7" fmla="*/ 2 h 28"/>
                <a:gd name="T8" fmla="*/ 91 w 112"/>
                <a:gd name="T9" fmla="*/ 0 h 28"/>
                <a:gd name="T10" fmla="*/ 21 w 112"/>
                <a:gd name="T11" fmla="*/ 0 h 28"/>
                <a:gd name="T12" fmla="*/ 16 w 112"/>
                <a:gd name="T13" fmla="*/ 2 h 28"/>
                <a:gd name="T14" fmla="*/ 2 w 112"/>
                <a:gd name="T15" fmla="*/ 18 h 28"/>
                <a:gd name="T16" fmla="*/ 0 w 112"/>
                <a:gd name="T17" fmla="*/ 23 h 28"/>
                <a:gd name="T18" fmla="*/ 0 w 112"/>
                <a:gd name="T19" fmla="*/ 25 h 28"/>
                <a:gd name="T20" fmla="*/ 3 w 112"/>
                <a:gd name="T21" fmla="*/ 28 h 28"/>
                <a:gd name="T22" fmla="*/ 109 w 112"/>
                <a:gd name="T23" fmla="*/ 28 h 28"/>
                <a:gd name="T24" fmla="*/ 112 w 112"/>
                <a:gd name="T25"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28">
                  <a:moveTo>
                    <a:pt x="112" y="25"/>
                  </a:moveTo>
                  <a:cubicBezTo>
                    <a:pt x="112" y="23"/>
                    <a:pt x="112" y="23"/>
                    <a:pt x="112" y="23"/>
                  </a:cubicBezTo>
                  <a:cubicBezTo>
                    <a:pt x="112" y="22"/>
                    <a:pt x="111" y="20"/>
                    <a:pt x="110" y="18"/>
                  </a:cubicBezTo>
                  <a:cubicBezTo>
                    <a:pt x="96" y="2"/>
                    <a:pt x="96" y="2"/>
                    <a:pt x="96" y="2"/>
                  </a:cubicBezTo>
                  <a:cubicBezTo>
                    <a:pt x="95" y="1"/>
                    <a:pt x="93" y="0"/>
                    <a:pt x="91" y="0"/>
                  </a:cubicBezTo>
                  <a:cubicBezTo>
                    <a:pt x="21" y="0"/>
                    <a:pt x="21" y="0"/>
                    <a:pt x="21" y="0"/>
                  </a:cubicBezTo>
                  <a:cubicBezTo>
                    <a:pt x="19" y="0"/>
                    <a:pt x="17" y="1"/>
                    <a:pt x="16" y="2"/>
                  </a:cubicBezTo>
                  <a:cubicBezTo>
                    <a:pt x="2" y="18"/>
                    <a:pt x="2" y="18"/>
                    <a:pt x="2" y="18"/>
                  </a:cubicBezTo>
                  <a:cubicBezTo>
                    <a:pt x="1" y="20"/>
                    <a:pt x="0" y="22"/>
                    <a:pt x="0" y="23"/>
                  </a:cubicBezTo>
                  <a:cubicBezTo>
                    <a:pt x="0" y="25"/>
                    <a:pt x="0" y="25"/>
                    <a:pt x="0" y="25"/>
                  </a:cubicBezTo>
                  <a:cubicBezTo>
                    <a:pt x="0" y="26"/>
                    <a:pt x="1" y="28"/>
                    <a:pt x="3" y="28"/>
                  </a:cubicBezTo>
                  <a:cubicBezTo>
                    <a:pt x="109" y="28"/>
                    <a:pt x="109" y="28"/>
                    <a:pt x="109" y="28"/>
                  </a:cubicBezTo>
                  <a:cubicBezTo>
                    <a:pt x="111" y="28"/>
                    <a:pt x="112" y="26"/>
                    <a:pt x="112" y="2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6" name="Freeform 23"/>
            <p:cNvSpPr>
              <a:spLocks noEditPoints="1"/>
            </p:cNvSpPr>
            <p:nvPr/>
          </p:nvSpPr>
          <p:spPr bwMode="black">
            <a:xfrm>
              <a:off x="2672524" y="2731408"/>
              <a:ext cx="104945" cy="205086"/>
            </a:xfrm>
            <a:custGeom>
              <a:avLst/>
              <a:gdLst>
                <a:gd name="T0" fmla="*/ 89 w 103"/>
                <a:gd name="T1" fmla="*/ 0 h 201"/>
                <a:gd name="T2" fmla="*/ 13 w 103"/>
                <a:gd name="T3" fmla="*/ 0 h 201"/>
                <a:gd name="T4" fmla="*/ 0 w 103"/>
                <a:gd name="T5" fmla="*/ 13 h 201"/>
                <a:gd name="T6" fmla="*/ 0 w 103"/>
                <a:gd name="T7" fmla="*/ 187 h 201"/>
                <a:gd name="T8" fmla="*/ 13 w 103"/>
                <a:gd name="T9" fmla="*/ 201 h 201"/>
                <a:gd name="T10" fmla="*/ 89 w 103"/>
                <a:gd name="T11" fmla="*/ 201 h 201"/>
                <a:gd name="T12" fmla="*/ 103 w 103"/>
                <a:gd name="T13" fmla="*/ 187 h 201"/>
                <a:gd name="T14" fmla="*/ 103 w 103"/>
                <a:gd name="T15" fmla="*/ 13 h 201"/>
                <a:gd name="T16" fmla="*/ 89 w 103"/>
                <a:gd name="T17" fmla="*/ 0 h 201"/>
                <a:gd name="T18" fmla="*/ 52 w 103"/>
                <a:gd name="T19" fmla="*/ 187 h 201"/>
                <a:gd name="T20" fmla="*/ 40 w 103"/>
                <a:gd name="T21" fmla="*/ 175 h 201"/>
                <a:gd name="T22" fmla="*/ 52 w 103"/>
                <a:gd name="T23" fmla="*/ 163 h 201"/>
                <a:gd name="T24" fmla="*/ 63 w 103"/>
                <a:gd name="T25" fmla="*/ 175 h 201"/>
                <a:gd name="T26" fmla="*/ 52 w 103"/>
                <a:gd name="T27" fmla="*/ 18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201">
                  <a:moveTo>
                    <a:pt x="89" y="0"/>
                  </a:moveTo>
                  <a:cubicBezTo>
                    <a:pt x="13" y="0"/>
                    <a:pt x="13" y="0"/>
                    <a:pt x="13" y="0"/>
                  </a:cubicBezTo>
                  <a:cubicBezTo>
                    <a:pt x="6" y="0"/>
                    <a:pt x="0" y="6"/>
                    <a:pt x="0" y="13"/>
                  </a:cubicBezTo>
                  <a:cubicBezTo>
                    <a:pt x="0" y="187"/>
                    <a:pt x="0" y="187"/>
                    <a:pt x="0" y="187"/>
                  </a:cubicBezTo>
                  <a:cubicBezTo>
                    <a:pt x="0" y="195"/>
                    <a:pt x="6" y="201"/>
                    <a:pt x="13" y="201"/>
                  </a:cubicBezTo>
                  <a:cubicBezTo>
                    <a:pt x="89" y="201"/>
                    <a:pt x="89" y="201"/>
                    <a:pt x="89" y="201"/>
                  </a:cubicBezTo>
                  <a:cubicBezTo>
                    <a:pt x="97" y="201"/>
                    <a:pt x="103" y="195"/>
                    <a:pt x="103" y="187"/>
                  </a:cubicBezTo>
                  <a:cubicBezTo>
                    <a:pt x="103" y="13"/>
                    <a:pt x="103" y="13"/>
                    <a:pt x="103" y="13"/>
                  </a:cubicBezTo>
                  <a:cubicBezTo>
                    <a:pt x="103" y="6"/>
                    <a:pt x="97" y="0"/>
                    <a:pt x="89" y="0"/>
                  </a:cubicBezTo>
                  <a:moveTo>
                    <a:pt x="52" y="187"/>
                  </a:moveTo>
                  <a:cubicBezTo>
                    <a:pt x="45" y="187"/>
                    <a:pt x="40" y="181"/>
                    <a:pt x="40" y="175"/>
                  </a:cubicBezTo>
                  <a:cubicBezTo>
                    <a:pt x="40" y="168"/>
                    <a:pt x="45" y="163"/>
                    <a:pt x="52" y="163"/>
                  </a:cubicBezTo>
                  <a:cubicBezTo>
                    <a:pt x="58" y="163"/>
                    <a:pt x="63" y="168"/>
                    <a:pt x="63" y="175"/>
                  </a:cubicBezTo>
                  <a:cubicBezTo>
                    <a:pt x="63" y="181"/>
                    <a:pt x="58" y="187"/>
                    <a:pt x="52" y="18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7" name="Freeform 24"/>
            <p:cNvSpPr>
              <a:spLocks noEditPoints="1"/>
            </p:cNvSpPr>
            <p:nvPr/>
          </p:nvSpPr>
          <p:spPr bwMode="black">
            <a:xfrm>
              <a:off x="1822601" y="3110061"/>
              <a:ext cx="142950" cy="218902"/>
            </a:xfrm>
            <a:custGeom>
              <a:avLst/>
              <a:gdLst>
                <a:gd name="T0" fmla="*/ 109 w 140"/>
                <a:gd name="T1" fmla="*/ 0 h 215"/>
                <a:gd name="T2" fmla="*/ 31 w 140"/>
                <a:gd name="T3" fmla="*/ 0 h 215"/>
                <a:gd name="T4" fmla="*/ 0 w 140"/>
                <a:gd name="T5" fmla="*/ 30 h 215"/>
                <a:gd name="T6" fmla="*/ 0 w 140"/>
                <a:gd name="T7" fmla="*/ 184 h 215"/>
                <a:gd name="T8" fmla="*/ 31 w 140"/>
                <a:gd name="T9" fmla="*/ 215 h 215"/>
                <a:gd name="T10" fmla="*/ 109 w 140"/>
                <a:gd name="T11" fmla="*/ 215 h 215"/>
                <a:gd name="T12" fmla="*/ 140 w 140"/>
                <a:gd name="T13" fmla="*/ 184 h 215"/>
                <a:gd name="T14" fmla="*/ 140 w 140"/>
                <a:gd name="T15" fmla="*/ 30 h 215"/>
                <a:gd name="T16" fmla="*/ 109 w 140"/>
                <a:gd name="T17" fmla="*/ 0 h 215"/>
                <a:gd name="T18" fmla="*/ 122 w 140"/>
                <a:gd name="T19" fmla="*/ 177 h 215"/>
                <a:gd name="T20" fmla="*/ 109 w 140"/>
                <a:gd name="T21" fmla="*/ 195 h 215"/>
                <a:gd name="T22" fmla="*/ 31 w 140"/>
                <a:gd name="T23" fmla="*/ 195 h 215"/>
                <a:gd name="T24" fmla="*/ 18 w 140"/>
                <a:gd name="T25" fmla="*/ 177 h 215"/>
                <a:gd name="T26" fmla="*/ 18 w 140"/>
                <a:gd name="T27" fmla="*/ 35 h 215"/>
                <a:gd name="T28" fmla="*/ 31 w 140"/>
                <a:gd name="T29" fmla="*/ 18 h 215"/>
                <a:gd name="T30" fmla="*/ 109 w 140"/>
                <a:gd name="T31" fmla="*/ 18 h 215"/>
                <a:gd name="T32" fmla="*/ 122 w 140"/>
                <a:gd name="T33" fmla="*/ 35 h 215"/>
                <a:gd name="T34" fmla="*/ 122 w 140"/>
                <a:gd name="T35" fmla="*/ 17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215">
                  <a:moveTo>
                    <a:pt x="109" y="0"/>
                  </a:moveTo>
                  <a:cubicBezTo>
                    <a:pt x="31" y="0"/>
                    <a:pt x="31" y="0"/>
                    <a:pt x="31" y="0"/>
                  </a:cubicBezTo>
                  <a:cubicBezTo>
                    <a:pt x="14" y="0"/>
                    <a:pt x="0" y="13"/>
                    <a:pt x="0" y="30"/>
                  </a:cubicBezTo>
                  <a:cubicBezTo>
                    <a:pt x="0" y="184"/>
                    <a:pt x="0" y="184"/>
                    <a:pt x="0" y="184"/>
                  </a:cubicBezTo>
                  <a:cubicBezTo>
                    <a:pt x="0" y="201"/>
                    <a:pt x="14" y="215"/>
                    <a:pt x="31" y="215"/>
                  </a:cubicBezTo>
                  <a:cubicBezTo>
                    <a:pt x="109" y="215"/>
                    <a:pt x="109" y="215"/>
                    <a:pt x="109" y="215"/>
                  </a:cubicBezTo>
                  <a:cubicBezTo>
                    <a:pt x="126" y="215"/>
                    <a:pt x="140" y="201"/>
                    <a:pt x="140" y="184"/>
                  </a:cubicBezTo>
                  <a:cubicBezTo>
                    <a:pt x="140" y="30"/>
                    <a:pt x="140" y="30"/>
                    <a:pt x="140" y="30"/>
                  </a:cubicBezTo>
                  <a:cubicBezTo>
                    <a:pt x="140" y="13"/>
                    <a:pt x="126" y="0"/>
                    <a:pt x="109" y="0"/>
                  </a:cubicBezTo>
                  <a:moveTo>
                    <a:pt x="122" y="177"/>
                  </a:moveTo>
                  <a:cubicBezTo>
                    <a:pt x="122" y="187"/>
                    <a:pt x="116" y="195"/>
                    <a:pt x="109" y="195"/>
                  </a:cubicBezTo>
                  <a:cubicBezTo>
                    <a:pt x="31" y="195"/>
                    <a:pt x="31" y="195"/>
                    <a:pt x="31" y="195"/>
                  </a:cubicBezTo>
                  <a:cubicBezTo>
                    <a:pt x="24" y="195"/>
                    <a:pt x="18" y="187"/>
                    <a:pt x="18" y="177"/>
                  </a:cubicBezTo>
                  <a:cubicBezTo>
                    <a:pt x="18" y="35"/>
                    <a:pt x="18" y="35"/>
                    <a:pt x="18" y="35"/>
                  </a:cubicBezTo>
                  <a:cubicBezTo>
                    <a:pt x="18" y="26"/>
                    <a:pt x="24" y="18"/>
                    <a:pt x="31" y="18"/>
                  </a:cubicBezTo>
                  <a:cubicBezTo>
                    <a:pt x="109" y="18"/>
                    <a:pt x="109" y="18"/>
                    <a:pt x="109" y="18"/>
                  </a:cubicBezTo>
                  <a:cubicBezTo>
                    <a:pt x="116" y="18"/>
                    <a:pt x="122" y="26"/>
                    <a:pt x="122" y="35"/>
                  </a:cubicBezTo>
                  <a:lnTo>
                    <a:pt x="122" y="1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8" name="Freeform 25"/>
            <p:cNvSpPr>
              <a:spLocks noEditPoints="1"/>
            </p:cNvSpPr>
            <p:nvPr/>
          </p:nvSpPr>
          <p:spPr bwMode="black">
            <a:xfrm>
              <a:off x="2526552" y="3485258"/>
              <a:ext cx="201252" cy="232287"/>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9" name="Freeform 26"/>
            <p:cNvSpPr>
              <a:spLocks noEditPoints="1"/>
            </p:cNvSpPr>
            <p:nvPr/>
          </p:nvSpPr>
          <p:spPr bwMode="black">
            <a:xfrm>
              <a:off x="2796903" y="3090631"/>
              <a:ext cx="174476" cy="238331"/>
            </a:xfrm>
            <a:custGeom>
              <a:avLst/>
              <a:gdLst>
                <a:gd name="T0" fmla="*/ 146 w 171"/>
                <a:gd name="T1" fmla="*/ 0 h 234"/>
                <a:gd name="T2" fmla="*/ 25 w 171"/>
                <a:gd name="T3" fmla="*/ 0 h 234"/>
                <a:gd name="T4" fmla="*/ 0 w 171"/>
                <a:gd name="T5" fmla="*/ 25 h 234"/>
                <a:gd name="T6" fmla="*/ 0 w 171"/>
                <a:gd name="T7" fmla="*/ 209 h 234"/>
                <a:gd name="T8" fmla="*/ 25 w 171"/>
                <a:gd name="T9" fmla="*/ 234 h 234"/>
                <a:gd name="T10" fmla="*/ 146 w 171"/>
                <a:gd name="T11" fmla="*/ 234 h 234"/>
                <a:gd name="T12" fmla="*/ 171 w 171"/>
                <a:gd name="T13" fmla="*/ 209 h 234"/>
                <a:gd name="T14" fmla="*/ 171 w 171"/>
                <a:gd name="T15" fmla="*/ 25 h 234"/>
                <a:gd name="T16" fmla="*/ 146 w 171"/>
                <a:gd name="T17" fmla="*/ 0 h 234"/>
                <a:gd name="T18" fmla="*/ 157 w 171"/>
                <a:gd name="T19" fmla="*/ 183 h 234"/>
                <a:gd name="T20" fmla="*/ 146 w 171"/>
                <a:gd name="T21" fmla="*/ 193 h 234"/>
                <a:gd name="T22" fmla="*/ 25 w 171"/>
                <a:gd name="T23" fmla="*/ 193 h 234"/>
                <a:gd name="T24" fmla="*/ 15 w 171"/>
                <a:gd name="T25" fmla="*/ 183 h 234"/>
                <a:gd name="T26" fmla="*/ 15 w 171"/>
                <a:gd name="T27" fmla="*/ 25 h 234"/>
                <a:gd name="T28" fmla="*/ 25 w 171"/>
                <a:gd name="T29" fmla="*/ 14 h 234"/>
                <a:gd name="T30" fmla="*/ 146 w 171"/>
                <a:gd name="T31" fmla="*/ 14 h 234"/>
                <a:gd name="T32" fmla="*/ 157 w 171"/>
                <a:gd name="T33" fmla="*/ 25 h 234"/>
                <a:gd name="T34" fmla="*/ 157 w 171"/>
                <a:gd name="T35" fmla="*/ 18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234">
                  <a:moveTo>
                    <a:pt x="146" y="0"/>
                  </a:moveTo>
                  <a:cubicBezTo>
                    <a:pt x="25" y="0"/>
                    <a:pt x="25" y="0"/>
                    <a:pt x="25" y="0"/>
                  </a:cubicBezTo>
                  <a:cubicBezTo>
                    <a:pt x="11" y="0"/>
                    <a:pt x="0" y="11"/>
                    <a:pt x="0" y="25"/>
                  </a:cubicBezTo>
                  <a:cubicBezTo>
                    <a:pt x="0" y="209"/>
                    <a:pt x="0" y="209"/>
                    <a:pt x="0" y="209"/>
                  </a:cubicBezTo>
                  <a:cubicBezTo>
                    <a:pt x="0" y="223"/>
                    <a:pt x="11" y="234"/>
                    <a:pt x="25" y="234"/>
                  </a:cubicBezTo>
                  <a:cubicBezTo>
                    <a:pt x="146" y="234"/>
                    <a:pt x="146" y="234"/>
                    <a:pt x="146" y="234"/>
                  </a:cubicBezTo>
                  <a:cubicBezTo>
                    <a:pt x="160" y="234"/>
                    <a:pt x="171" y="223"/>
                    <a:pt x="171" y="209"/>
                  </a:cubicBezTo>
                  <a:cubicBezTo>
                    <a:pt x="171" y="25"/>
                    <a:pt x="171" y="25"/>
                    <a:pt x="171" y="25"/>
                  </a:cubicBezTo>
                  <a:cubicBezTo>
                    <a:pt x="171" y="11"/>
                    <a:pt x="160" y="0"/>
                    <a:pt x="146" y="0"/>
                  </a:cubicBezTo>
                  <a:moveTo>
                    <a:pt x="157" y="183"/>
                  </a:moveTo>
                  <a:cubicBezTo>
                    <a:pt x="157" y="188"/>
                    <a:pt x="152" y="193"/>
                    <a:pt x="146" y="193"/>
                  </a:cubicBezTo>
                  <a:cubicBezTo>
                    <a:pt x="25" y="193"/>
                    <a:pt x="25" y="193"/>
                    <a:pt x="25" y="193"/>
                  </a:cubicBezTo>
                  <a:cubicBezTo>
                    <a:pt x="19" y="193"/>
                    <a:pt x="15" y="188"/>
                    <a:pt x="15" y="183"/>
                  </a:cubicBezTo>
                  <a:cubicBezTo>
                    <a:pt x="15" y="25"/>
                    <a:pt x="15" y="25"/>
                    <a:pt x="15" y="25"/>
                  </a:cubicBezTo>
                  <a:cubicBezTo>
                    <a:pt x="15" y="19"/>
                    <a:pt x="19" y="14"/>
                    <a:pt x="25" y="14"/>
                  </a:cubicBezTo>
                  <a:cubicBezTo>
                    <a:pt x="146" y="14"/>
                    <a:pt x="146" y="14"/>
                    <a:pt x="146" y="14"/>
                  </a:cubicBezTo>
                  <a:cubicBezTo>
                    <a:pt x="152" y="14"/>
                    <a:pt x="157" y="19"/>
                    <a:pt x="157" y="25"/>
                  </a:cubicBezTo>
                  <a:lnTo>
                    <a:pt x="157" y="1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0" name="Oval 27"/>
            <p:cNvSpPr>
              <a:spLocks noChangeArrowheads="1"/>
            </p:cNvSpPr>
            <p:nvPr/>
          </p:nvSpPr>
          <p:spPr bwMode="black">
            <a:xfrm>
              <a:off x="2846137" y="3298739"/>
              <a:ext cx="14252" cy="1424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1" name="Oval 28"/>
            <p:cNvSpPr>
              <a:spLocks noChangeArrowheads="1"/>
            </p:cNvSpPr>
            <p:nvPr/>
          </p:nvSpPr>
          <p:spPr bwMode="black">
            <a:xfrm>
              <a:off x="2908326" y="3298739"/>
              <a:ext cx="14252" cy="1424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2" name="Oval 29"/>
            <p:cNvSpPr>
              <a:spLocks noChangeArrowheads="1"/>
            </p:cNvSpPr>
            <p:nvPr/>
          </p:nvSpPr>
          <p:spPr bwMode="black">
            <a:xfrm>
              <a:off x="2877663" y="3298739"/>
              <a:ext cx="14252" cy="1424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3" name="Freeform 30"/>
            <p:cNvSpPr>
              <a:spLocks/>
            </p:cNvSpPr>
            <p:nvPr/>
          </p:nvSpPr>
          <p:spPr bwMode="black">
            <a:xfrm>
              <a:off x="2084747" y="3449423"/>
              <a:ext cx="120492" cy="44039"/>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4" name="Freeform 31"/>
            <p:cNvSpPr>
              <a:spLocks noEditPoints="1"/>
            </p:cNvSpPr>
            <p:nvPr/>
          </p:nvSpPr>
          <p:spPr bwMode="black">
            <a:xfrm>
              <a:off x="2081723" y="3497348"/>
              <a:ext cx="129561" cy="220197"/>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pic>
        <p:nvPicPr>
          <p:cNvPr id="45" name="Picture 44" descr="C:\Users\sakuu\Documents\Ballmer WPC\PNGS\Timer.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black">
          <a:xfrm rot="1800000">
            <a:off x="3473843" y="1940142"/>
            <a:ext cx="473091" cy="712412"/>
          </a:xfrm>
          <a:prstGeom prst="rect">
            <a:avLst/>
          </a:prstGeom>
          <a:noFill/>
          <a:extLst>
            <a:ext uri="{909E8E84-426E-40DD-AFC4-6F175D3DCCD1}">
              <a14:hiddenFill xmlns:a14="http://schemas.microsoft.com/office/drawing/2010/main">
                <a:solidFill>
                  <a:srgbClr val="FFFFFF"/>
                </a:solidFill>
              </a14:hiddenFill>
            </a:ext>
          </a:extLst>
        </p:spPr>
      </p:pic>
      <p:sp>
        <p:nvSpPr>
          <p:cNvPr id="46" name="Rectangle 8"/>
          <p:cNvSpPr>
            <a:spLocks noChangeArrowheads="1"/>
          </p:cNvSpPr>
          <p:nvPr/>
        </p:nvSpPr>
        <p:spPr bwMode="black">
          <a:xfrm>
            <a:off x="1642237" y="2539002"/>
            <a:ext cx="21041" cy="893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6" tIns="34294" rIns="68586" bIns="34294" numCol="1" anchor="t" anchorCtr="0" compatLnSpc="1">
            <a:prstTxWarp prst="textNoShape">
              <a:avLst/>
            </a:prstTxWarp>
          </a:bodyPr>
          <a:lstStyle/>
          <a:p>
            <a:endParaRPr lang="en-US" sz="1200" dirty="0"/>
          </a:p>
        </p:txBody>
      </p:sp>
      <p:sp>
        <p:nvSpPr>
          <p:cNvPr id="47" name="Rectangle 9"/>
          <p:cNvSpPr>
            <a:spLocks noChangeArrowheads="1"/>
          </p:cNvSpPr>
          <p:nvPr/>
        </p:nvSpPr>
        <p:spPr bwMode="black">
          <a:xfrm>
            <a:off x="1684318" y="2539002"/>
            <a:ext cx="21328" cy="893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6" tIns="34294" rIns="68586" bIns="34294" numCol="1" anchor="t" anchorCtr="0" compatLnSpc="1">
            <a:prstTxWarp prst="textNoShape">
              <a:avLst/>
            </a:prstTxWarp>
          </a:bodyPr>
          <a:lstStyle/>
          <a:p>
            <a:endParaRPr lang="en-US" sz="1200" dirty="0"/>
          </a:p>
        </p:txBody>
      </p:sp>
      <p:sp>
        <p:nvSpPr>
          <p:cNvPr id="48" name="Rectangle 8"/>
          <p:cNvSpPr>
            <a:spLocks noChangeArrowheads="1"/>
          </p:cNvSpPr>
          <p:nvPr/>
        </p:nvSpPr>
        <p:spPr bwMode="black">
          <a:xfrm>
            <a:off x="1911582" y="2538426"/>
            <a:ext cx="21041" cy="893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6" tIns="34294" rIns="68586" bIns="34294" numCol="1" anchor="t" anchorCtr="0" compatLnSpc="1">
            <a:prstTxWarp prst="textNoShape">
              <a:avLst/>
            </a:prstTxWarp>
          </a:bodyPr>
          <a:lstStyle/>
          <a:p>
            <a:endParaRPr lang="en-US" sz="1200" dirty="0"/>
          </a:p>
        </p:txBody>
      </p:sp>
      <p:sp>
        <p:nvSpPr>
          <p:cNvPr id="49" name="Rectangle 9"/>
          <p:cNvSpPr>
            <a:spLocks noChangeArrowheads="1"/>
          </p:cNvSpPr>
          <p:nvPr/>
        </p:nvSpPr>
        <p:spPr bwMode="black">
          <a:xfrm>
            <a:off x="1953662" y="2538426"/>
            <a:ext cx="21328" cy="893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6" tIns="34294" rIns="68586" bIns="34294" numCol="1" anchor="t" anchorCtr="0" compatLnSpc="1">
            <a:prstTxWarp prst="textNoShape">
              <a:avLst/>
            </a:prstTxWarp>
          </a:bodyPr>
          <a:lstStyle/>
          <a:p>
            <a:endParaRPr lang="en-US" sz="1200" dirty="0"/>
          </a:p>
        </p:txBody>
      </p:sp>
      <p:pic>
        <p:nvPicPr>
          <p:cNvPr id="50" name="Picture 49" descr="C:\Users\sakuu\Documents\Ballmer WPC\AI\work.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6801430" y="1979513"/>
            <a:ext cx="470284" cy="750815"/>
          </a:xfrm>
          <a:prstGeom prst="rect">
            <a:avLst/>
          </a:prstGeom>
          <a:noFill/>
          <a:extLst>
            <a:ext uri="{909E8E84-426E-40DD-AFC4-6F175D3DCCD1}">
              <a14:hiddenFill xmlns:a14="http://schemas.microsoft.com/office/drawing/2010/main">
                <a:solidFill>
                  <a:srgbClr val="FFFFFF"/>
                </a:solidFill>
              </a14:hiddenFill>
            </a:ext>
          </a:extLst>
        </p:spPr>
      </p:pic>
      <p:sp>
        <p:nvSpPr>
          <p:cNvPr id="51" name="TextBox 50"/>
          <p:cNvSpPr txBox="1"/>
          <p:nvPr/>
        </p:nvSpPr>
        <p:spPr>
          <a:xfrm>
            <a:off x="856282" y="3923674"/>
            <a:ext cx="7479443" cy="392415"/>
          </a:xfrm>
          <a:prstGeom prst="rect">
            <a:avLst/>
          </a:prstGeom>
          <a:noFill/>
        </p:spPr>
        <p:txBody>
          <a:bodyPr wrap="square" lIns="68586" tIns="34294" rIns="68586" bIns="34294" rtlCol="0">
            <a:spAutoFit/>
          </a:bodyPr>
          <a:lstStyle/>
          <a:p>
            <a:pPr algn="ctr"/>
            <a:r>
              <a:rPr lang="en-US" sz="2100" dirty="0">
                <a:latin typeface="Segoe UI Light" pitchFamily="34" charset="0"/>
              </a:rPr>
              <a:t>Companies must facilitate productivity without impacting security</a:t>
            </a:r>
          </a:p>
        </p:txBody>
      </p:sp>
      <p:grpSp>
        <p:nvGrpSpPr>
          <p:cNvPr id="52" name="Group 51"/>
          <p:cNvGrpSpPr/>
          <p:nvPr/>
        </p:nvGrpSpPr>
        <p:grpSpPr>
          <a:xfrm>
            <a:off x="5066146" y="2004757"/>
            <a:ext cx="903813" cy="411613"/>
            <a:chOff x="6629089" y="2161378"/>
            <a:chExt cx="941511" cy="428893"/>
          </a:xfrm>
        </p:grpSpPr>
        <p:grpSp>
          <p:nvGrpSpPr>
            <p:cNvPr id="53" name="Group 52"/>
            <p:cNvGrpSpPr/>
            <p:nvPr/>
          </p:nvGrpSpPr>
          <p:grpSpPr>
            <a:xfrm>
              <a:off x="7040701" y="2293237"/>
              <a:ext cx="529899" cy="297034"/>
              <a:chOff x="6649145" y="2175368"/>
              <a:chExt cx="1295400" cy="726135"/>
            </a:xfrm>
          </p:grpSpPr>
          <p:sp>
            <p:nvSpPr>
              <p:cNvPr id="55" name="Rectangle 54"/>
              <p:cNvSpPr/>
              <p:nvPr/>
            </p:nvSpPr>
            <p:spPr>
              <a:xfrm>
                <a:off x="6649145" y="2175368"/>
                <a:ext cx="1295400" cy="72613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Isosceles Triangle 55"/>
              <p:cNvSpPr/>
              <p:nvPr/>
            </p:nvSpPr>
            <p:spPr>
              <a:xfrm>
                <a:off x="6858489" y="2313357"/>
                <a:ext cx="111322" cy="10409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Oval 56"/>
              <p:cNvSpPr/>
              <p:nvPr/>
            </p:nvSpPr>
            <p:spPr>
              <a:xfrm>
                <a:off x="6729036" y="2254330"/>
                <a:ext cx="129453" cy="129453"/>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58" name="Straight Connector 57"/>
              <p:cNvCxnSpPr/>
              <p:nvPr/>
            </p:nvCxnSpPr>
            <p:spPr>
              <a:xfrm>
                <a:off x="7010889" y="2487635"/>
                <a:ext cx="60752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7010889" y="2565739"/>
                <a:ext cx="60752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7010888" y="2640035"/>
                <a:ext cx="60752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7542212" y="2791558"/>
                <a:ext cx="303762"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6793762" y="2794196"/>
                <a:ext cx="303762"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4" name="Freeform 53"/>
            <p:cNvSpPr/>
            <p:nvPr/>
          </p:nvSpPr>
          <p:spPr>
            <a:xfrm>
              <a:off x="6629089" y="2161378"/>
              <a:ext cx="661706" cy="408355"/>
            </a:xfrm>
            <a:custGeom>
              <a:avLst/>
              <a:gdLst>
                <a:gd name="connsiteX0" fmla="*/ 114300 w 944880"/>
                <a:gd name="connsiteY0" fmla="*/ 201930 h 647700"/>
                <a:gd name="connsiteX1" fmla="*/ 422910 w 944880"/>
                <a:gd name="connsiteY1" fmla="*/ 26670 h 647700"/>
                <a:gd name="connsiteX2" fmla="*/ 811530 w 944880"/>
                <a:gd name="connsiteY2" fmla="*/ 0 h 647700"/>
                <a:gd name="connsiteX3" fmla="*/ 944880 w 944880"/>
                <a:gd name="connsiteY3" fmla="*/ 152400 h 647700"/>
                <a:gd name="connsiteX4" fmla="*/ 518160 w 944880"/>
                <a:gd name="connsiteY4" fmla="*/ 160020 h 647700"/>
                <a:gd name="connsiteX5" fmla="*/ 430530 w 944880"/>
                <a:gd name="connsiteY5" fmla="*/ 342900 h 647700"/>
                <a:gd name="connsiteX6" fmla="*/ 742950 w 944880"/>
                <a:gd name="connsiteY6" fmla="*/ 323850 h 647700"/>
                <a:gd name="connsiteX7" fmla="*/ 933450 w 944880"/>
                <a:gd name="connsiteY7" fmla="*/ 358140 h 647700"/>
                <a:gd name="connsiteX8" fmla="*/ 941070 w 944880"/>
                <a:gd name="connsiteY8" fmla="*/ 510540 h 647700"/>
                <a:gd name="connsiteX9" fmla="*/ 739140 w 944880"/>
                <a:gd name="connsiteY9" fmla="*/ 556260 h 647700"/>
                <a:gd name="connsiteX10" fmla="*/ 422910 w 944880"/>
                <a:gd name="connsiteY10" fmla="*/ 52197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22910 w 944880"/>
                <a:gd name="connsiteY1" fmla="*/ 26670 h 647700"/>
                <a:gd name="connsiteX2" fmla="*/ 811530 w 944880"/>
                <a:gd name="connsiteY2" fmla="*/ 0 h 647700"/>
                <a:gd name="connsiteX3" fmla="*/ 944880 w 944880"/>
                <a:gd name="connsiteY3" fmla="*/ 152400 h 647700"/>
                <a:gd name="connsiteX4" fmla="*/ 518160 w 944880"/>
                <a:gd name="connsiteY4" fmla="*/ 160020 h 647700"/>
                <a:gd name="connsiteX5" fmla="*/ 430530 w 944880"/>
                <a:gd name="connsiteY5" fmla="*/ 342900 h 647700"/>
                <a:gd name="connsiteX6" fmla="*/ 742950 w 944880"/>
                <a:gd name="connsiteY6" fmla="*/ 323850 h 647700"/>
                <a:gd name="connsiteX7" fmla="*/ 933450 w 944880"/>
                <a:gd name="connsiteY7" fmla="*/ 358140 h 647700"/>
                <a:gd name="connsiteX8" fmla="*/ 941070 w 944880"/>
                <a:gd name="connsiteY8" fmla="*/ 510540 h 647700"/>
                <a:gd name="connsiteX9" fmla="*/ 739140 w 944880"/>
                <a:gd name="connsiteY9" fmla="*/ 55626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22910 w 944880"/>
                <a:gd name="connsiteY1" fmla="*/ 26670 h 647700"/>
                <a:gd name="connsiteX2" fmla="*/ 811530 w 944880"/>
                <a:gd name="connsiteY2" fmla="*/ 0 h 647700"/>
                <a:gd name="connsiteX3" fmla="*/ 944880 w 944880"/>
                <a:gd name="connsiteY3" fmla="*/ 152400 h 647700"/>
                <a:gd name="connsiteX4" fmla="*/ 518160 w 944880"/>
                <a:gd name="connsiteY4" fmla="*/ 160020 h 647700"/>
                <a:gd name="connsiteX5" fmla="*/ 449580 w 944880"/>
                <a:gd name="connsiteY5" fmla="*/ 316230 h 647700"/>
                <a:gd name="connsiteX6" fmla="*/ 742950 w 944880"/>
                <a:gd name="connsiteY6" fmla="*/ 323850 h 647700"/>
                <a:gd name="connsiteX7" fmla="*/ 933450 w 944880"/>
                <a:gd name="connsiteY7" fmla="*/ 358140 h 647700"/>
                <a:gd name="connsiteX8" fmla="*/ 941070 w 944880"/>
                <a:gd name="connsiteY8" fmla="*/ 510540 h 647700"/>
                <a:gd name="connsiteX9" fmla="*/ 739140 w 944880"/>
                <a:gd name="connsiteY9" fmla="*/ 55626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22910 w 944880"/>
                <a:gd name="connsiteY1" fmla="*/ 2667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742950 w 944880"/>
                <a:gd name="connsiteY6" fmla="*/ 323850 h 647700"/>
                <a:gd name="connsiteX7" fmla="*/ 933450 w 944880"/>
                <a:gd name="connsiteY7" fmla="*/ 358140 h 647700"/>
                <a:gd name="connsiteX8" fmla="*/ 941070 w 944880"/>
                <a:gd name="connsiteY8" fmla="*/ 510540 h 647700"/>
                <a:gd name="connsiteX9" fmla="*/ 739140 w 944880"/>
                <a:gd name="connsiteY9" fmla="*/ 55626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742950 w 944880"/>
                <a:gd name="connsiteY6" fmla="*/ 323850 h 647700"/>
                <a:gd name="connsiteX7" fmla="*/ 933450 w 944880"/>
                <a:gd name="connsiteY7" fmla="*/ 358140 h 647700"/>
                <a:gd name="connsiteX8" fmla="*/ 941070 w 944880"/>
                <a:gd name="connsiteY8" fmla="*/ 510540 h 647700"/>
                <a:gd name="connsiteX9" fmla="*/ 739140 w 944880"/>
                <a:gd name="connsiteY9" fmla="*/ 55626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742950 w 944880"/>
                <a:gd name="connsiteY6" fmla="*/ 323850 h 647700"/>
                <a:gd name="connsiteX7" fmla="*/ 933450 w 944880"/>
                <a:gd name="connsiteY7" fmla="*/ 358140 h 647700"/>
                <a:gd name="connsiteX8" fmla="*/ 941070 w 944880"/>
                <a:gd name="connsiteY8" fmla="*/ 510540 h 647700"/>
                <a:gd name="connsiteX9" fmla="*/ 693420 w 944880"/>
                <a:gd name="connsiteY9" fmla="*/ 52578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742950 w 944880"/>
                <a:gd name="connsiteY6" fmla="*/ 323850 h 647700"/>
                <a:gd name="connsiteX7" fmla="*/ 933450 w 944880"/>
                <a:gd name="connsiteY7" fmla="*/ 358140 h 647700"/>
                <a:gd name="connsiteX8" fmla="*/ 868680 w 944880"/>
                <a:gd name="connsiteY8" fmla="*/ 506730 h 647700"/>
                <a:gd name="connsiteX9" fmla="*/ 693420 w 944880"/>
                <a:gd name="connsiteY9" fmla="*/ 52578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742950 w 944880"/>
                <a:gd name="connsiteY6" fmla="*/ 323850 h 647700"/>
                <a:gd name="connsiteX7" fmla="*/ 861060 w 944880"/>
                <a:gd name="connsiteY7" fmla="*/ 346710 h 647700"/>
                <a:gd name="connsiteX8" fmla="*/ 868680 w 944880"/>
                <a:gd name="connsiteY8" fmla="*/ 506730 h 647700"/>
                <a:gd name="connsiteX9" fmla="*/ 693420 w 944880"/>
                <a:gd name="connsiteY9" fmla="*/ 52578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632460 w 944880"/>
                <a:gd name="connsiteY6" fmla="*/ 323850 h 647700"/>
                <a:gd name="connsiteX7" fmla="*/ 861060 w 944880"/>
                <a:gd name="connsiteY7" fmla="*/ 346710 h 647700"/>
                <a:gd name="connsiteX8" fmla="*/ 868680 w 944880"/>
                <a:gd name="connsiteY8" fmla="*/ 506730 h 647700"/>
                <a:gd name="connsiteX9" fmla="*/ 693420 w 944880"/>
                <a:gd name="connsiteY9" fmla="*/ 52578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632460 w 944880"/>
                <a:gd name="connsiteY6" fmla="*/ 323850 h 647700"/>
                <a:gd name="connsiteX7" fmla="*/ 861060 w 944880"/>
                <a:gd name="connsiteY7" fmla="*/ 346710 h 647700"/>
                <a:gd name="connsiteX8" fmla="*/ 868680 w 944880"/>
                <a:gd name="connsiteY8" fmla="*/ 506730 h 647700"/>
                <a:gd name="connsiteX9" fmla="*/ 693420 w 944880"/>
                <a:gd name="connsiteY9" fmla="*/ 52578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632460 w 944880"/>
                <a:gd name="connsiteY6" fmla="*/ 323850 h 647700"/>
                <a:gd name="connsiteX7" fmla="*/ 861060 w 944880"/>
                <a:gd name="connsiteY7" fmla="*/ 346710 h 647700"/>
                <a:gd name="connsiteX8" fmla="*/ 868680 w 944880"/>
                <a:gd name="connsiteY8" fmla="*/ 506730 h 647700"/>
                <a:gd name="connsiteX9" fmla="*/ 693420 w 944880"/>
                <a:gd name="connsiteY9" fmla="*/ 52578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17220"/>
                <a:gd name="connsiteX1" fmla="*/ 441960 w 944880"/>
                <a:gd name="connsiteY1" fmla="*/ 7620 h 617220"/>
                <a:gd name="connsiteX2" fmla="*/ 811530 w 944880"/>
                <a:gd name="connsiteY2" fmla="*/ 0 h 617220"/>
                <a:gd name="connsiteX3" fmla="*/ 944880 w 944880"/>
                <a:gd name="connsiteY3" fmla="*/ 152400 h 617220"/>
                <a:gd name="connsiteX4" fmla="*/ 521970 w 944880"/>
                <a:gd name="connsiteY4" fmla="*/ 156210 h 617220"/>
                <a:gd name="connsiteX5" fmla="*/ 449580 w 944880"/>
                <a:gd name="connsiteY5" fmla="*/ 316230 h 617220"/>
                <a:gd name="connsiteX6" fmla="*/ 632460 w 944880"/>
                <a:gd name="connsiteY6" fmla="*/ 323850 h 617220"/>
                <a:gd name="connsiteX7" fmla="*/ 861060 w 944880"/>
                <a:gd name="connsiteY7" fmla="*/ 346710 h 617220"/>
                <a:gd name="connsiteX8" fmla="*/ 868680 w 944880"/>
                <a:gd name="connsiteY8" fmla="*/ 506730 h 617220"/>
                <a:gd name="connsiteX9" fmla="*/ 693420 w 944880"/>
                <a:gd name="connsiteY9" fmla="*/ 525780 h 617220"/>
                <a:gd name="connsiteX10" fmla="*/ 468630 w 944880"/>
                <a:gd name="connsiteY10" fmla="*/ 525780 h 617220"/>
                <a:gd name="connsiteX11" fmla="*/ 377190 w 944880"/>
                <a:gd name="connsiteY11" fmla="*/ 617220 h 617220"/>
                <a:gd name="connsiteX12" fmla="*/ 201930 w 944880"/>
                <a:gd name="connsiteY12" fmla="*/ 609600 h 617220"/>
                <a:gd name="connsiteX13" fmla="*/ 7620 w 944880"/>
                <a:gd name="connsiteY13" fmla="*/ 582930 h 617220"/>
                <a:gd name="connsiteX14" fmla="*/ 0 w 944880"/>
                <a:gd name="connsiteY14" fmla="*/ 205740 h 617220"/>
                <a:gd name="connsiteX15" fmla="*/ 114300 w 944880"/>
                <a:gd name="connsiteY15" fmla="*/ 201930 h 617220"/>
                <a:gd name="connsiteX0" fmla="*/ 114300 w 944880"/>
                <a:gd name="connsiteY0" fmla="*/ 201930 h 609600"/>
                <a:gd name="connsiteX1" fmla="*/ 441960 w 944880"/>
                <a:gd name="connsiteY1" fmla="*/ 7620 h 609600"/>
                <a:gd name="connsiteX2" fmla="*/ 811530 w 944880"/>
                <a:gd name="connsiteY2" fmla="*/ 0 h 609600"/>
                <a:gd name="connsiteX3" fmla="*/ 944880 w 944880"/>
                <a:gd name="connsiteY3" fmla="*/ 152400 h 609600"/>
                <a:gd name="connsiteX4" fmla="*/ 521970 w 944880"/>
                <a:gd name="connsiteY4" fmla="*/ 156210 h 609600"/>
                <a:gd name="connsiteX5" fmla="*/ 449580 w 944880"/>
                <a:gd name="connsiteY5" fmla="*/ 316230 h 609600"/>
                <a:gd name="connsiteX6" fmla="*/ 632460 w 944880"/>
                <a:gd name="connsiteY6" fmla="*/ 323850 h 609600"/>
                <a:gd name="connsiteX7" fmla="*/ 861060 w 944880"/>
                <a:gd name="connsiteY7" fmla="*/ 346710 h 609600"/>
                <a:gd name="connsiteX8" fmla="*/ 868680 w 944880"/>
                <a:gd name="connsiteY8" fmla="*/ 506730 h 609600"/>
                <a:gd name="connsiteX9" fmla="*/ 693420 w 944880"/>
                <a:gd name="connsiteY9" fmla="*/ 525780 h 609600"/>
                <a:gd name="connsiteX10" fmla="*/ 468630 w 944880"/>
                <a:gd name="connsiteY10" fmla="*/ 525780 h 609600"/>
                <a:gd name="connsiteX11" fmla="*/ 365760 w 944880"/>
                <a:gd name="connsiteY11" fmla="*/ 601980 h 609600"/>
                <a:gd name="connsiteX12" fmla="*/ 201930 w 944880"/>
                <a:gd name="connsiteY12" fmla="*/ 609600 h 609600"/>
                <a:gd name="connsiteX13" fmla="*/ 7620 w 944880"/>
                <a:gd name="connsiteY13" fmla="*/ 582930 h 609600"/>
                <a:gd name="connsiteX14" fmla="*/ 0 w 944880"/>
                <a:gd name="connsiteY14" fmla="*/ 205740 h 609600"/>
                <a:gd name="connsiteX15" fmla="*/ 114300 w 944880"/>
                <a:gd name="connsiteY15" fmla="*/ 201930 h 609600"/>
                <a:gd name="connsiteX0" fmla="*/ 114300 w 944880"/>
                <a:gd name="connsiteY0" fmla="*/ 201930 h 601980"/>
                <a:gd name="connsiteX1" fmla="*/ 441960 w 944880"/>
                <a:gd name="connsiteY1" fmla="*/ 7620 h 601980"/>
                <a:gd name="connsiteX2" fmla="*/ 811530 w 944880"/>
                <a:gd name="connsiteY2" fmla="*/ 0 h 601980"/>
                <a:gd name="connsiteX3" fmla="*/ 944880 w 944880"/>
                <a:gd name="connsiteY3" fmla="*/ 152400 h 601980"/>
                <a:gd name="connsiteX4" fmla="*/ 521970 w 944880"/>
                <a:gd name="connsiteY4" fmla="*/ 156210 h 601980"/>
                <a:gd name="connsiteX5" fmla="*/ 449580 w 944880"/>
                <a:gd name="connsiteY5" fmla="*/ 316230 h 601980"/>
                <a:gd name="connsiteX6" fmla="*/ 632460 w 944880"/>
                <a:gd name="connsiteY6" fmla="*/ 323850 h 601980"/>
                <a:gd name="connsiteX7" fmla="*/ 861060 w 944880"/>
                <a:gd name="connsiteY7" fmla="*/ 346710 h 601980"/>
                <a:gd name="connsiteX8" fmla="*/ 868680 w 944880"/>
                <a:gd name="connsiteY8" fmla="*/ 506730 h 601980"/>
                <a:gd name="connsiteX9" fmla="*/ 693420 w 944880"/>
                <a:gd name="connsiteY9" fmla="*/ 525780 h 601980"/>
                <a:gd name="connsiteX10" fmla="*/ 468630 w 944880"/>
                <a:gd name="connsiteY10" fmla="*/ 525780 h 601980"/>
                <a:gd name="connsiteX11" fmla="*/ 365760 w 944880"/>
                <a:gd name="connsiteY11" fmla="*/ 601980 h 601980"/>
                <a:gd name="connsiteX12" fmla="*/ 194310 w 944880"/>
                <a:gd name="connsiteY12" fmla="*/ 586740 h 601980"/>
                <a:gd name="connsiteX13" fmla="*/ 7620 w 944880"/>
                <a:gd name="connsiteY13" fmla="*/ 582930 h 601980"/>
                <a:gd name="connsiteX14" fmla="*/ 0 w 944880"/>
                <a:gd name="connsiteY14" fmla="*/ 205740 h 601980"/>
                <a:gd name="connsiteX15" fmla="*/ 114300 w 944880"/>
                <a:gd name="connsiteY15" fmla="*/ 201930 h 60198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468630 w 944880"/>
                <a:gd name="connsiteY10" fmla="*/ 525780 h 586740"/>
                <a:gd name="connsiteX11" fmla="*/ 36195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499110 w 944880"/>
                <a:gd name="connsiteY10" fmla="*/ 521970 h 586740"/>
                <a:gd name="connsiteX11" fmla="*/ 36195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499110 w 944880"/>
                <a:gd name="connsiteY10" fmla="*/ 521970 h 586740"/>
                <a:gd name="connsiteX11" fmla="*/ 36195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499110 w 944880"/>
                <a:gd name="connsiteY10" fmla="*/ 521970 h 586740"/>
                <a:gd name="connsiteX11" fmla="*/ 36195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499110 w 944880"/>
                <a:gd name="connsiteY10" fmla="*/ 521970 h 586740"/>
                <a:gd name="connsiteX11" fmla="*/ 36195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499110 w 944880"/>
                <a:gd name="connsiteY10" fmla="*/ 52197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1915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1915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1915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1915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3820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3820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3820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38200 w 944880"/>
                <a:gd name="connsiteY7" fmla="*/ 339090 h 586740"/>
                <a:gd name="connsiteX8" fmla="*/ 807720 w 944880"/>
                <a:gd name="connsiteY8" fmla="*/ 49149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38200 w 944880"/>
                <a:gd name="connsiteY7" fmla="*/ 339090 h 586740"/>
                <a:gd name="connsiteX8" fmla="*/ 807720 w 944880"/>
                <a:gd name="connsiteY8" fmla="*/ 49149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27660 h 586740"/>
                <a:gd name="connsiteX7" fmla="*/ 838200 w 944880"/>
                <a:gd name="connsiteY7" fmla="*/ 339090 h 586740"/>
                <a:gd name="connsiteX8" fmla="*/ 807720 w 944880"/>
                <a:gd name="connsiteY8" fmla="*/ 49149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27660 h 586740"/>
                <a:gd name="connsiteX7" fmla="*/ 838200 w 944880"/>
                <a:gd name="connsiteY7" fmla="*/ 339090 h 586740"/>
                <a:gd name="connsiteX8" fmla="*/ 807720 w 944880"/>
                <a:gd name="connsiteY8" fmla="*/ 49149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27660 h 586740"/>
                <a:gd name="connsiteX7" fmla="*/ 838200 w 944880"/>
                <a:gd name="connsiteY7" fmla="*/ 339090 h 586740"/>
                <a:gd name="connsiteX8" fmla="*/ 807720 w 944880"/>
                <a:gd name="connsiteY8" fmla="*/ 49149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194310 h 579120"/>
                <a:gd name="connsiteX1" fmla="*/ 441960 w 944880"/>
                <a:gd name="connsiteY1" fmla="*/ 0 h 579120"/>
                <a:gd name="connsiteX2" fmla="*/ 803910 w 944880"/>
                <a:gd name="connsiteY2" fmla="*/ 19050 h 579120"/>
                <a:gd name="connsiteX3" fmla="*/ 944880 w 944880"/>
                <a:gd name="connsiteY3" fmla="*/ 144780 h 579120"/>
                <a:gd name="connsiteX4" fmla="*/ 521970 w 944880"/>
                <a:gd name="connsiteY4" fmla="*/ 148590 h 579120"/>
                <a:gd name="connsiteX5" fmla="*/ 449580 w 944880"/>
                <a:gd name="connsiteY5" fmla="*/ 308610 h 579120"/>
                <a:gd name="connsiteX6" fmla="*/ 628650 w 944880"/>
                <a:gd name="connsiteY6" fmla="*/ 320040 h 579120"/>
                <a:gd name="connsiteX7" fmla="*/ 838200 w 944880"/>
                <a:gd name="connsiteY7" fmla="*/ 331470 h 579120"/>
                <a:gd name="connsiteX8" fmla="*/ 807720 w 944880"/>
                <a:gd name="connsiteY8" fmla="*/ 483870 h 579120"/>
                <a:gd name="connsiteX9" fmla="*/ 685800 w 944880"/>
                <a:gd name="connsiteY9" fmla="*/ 495300 h 579120"/>
                <a:gd name="connsiteX10" fmla="*/ 502920 w 944880"/>
                <a:gd name="connsiteY10" fmla="*/ 499110 h 579120"/>
                <a:gd name="connsiteX11" fmla="*/ 339090 w 944880"/>
                <a:gd name="connsiteY11" fmla="*/ 575310 h 579120"/>
                <a:gd name="connsiteX12" fmla="*/ 194310 w 944880"/>
                <a:gd name="connsiteY12" fmla="*/ 579120 h 579120"/>
                <a:gd name="connsiteX13" fmla="*/ 7620 w 944880"/>
                <a:gd name="connsiteY13" fmla="*/ 575310 h 579120"/>
                <a:gd name="connsiteX14" fmla="*/ 0 w 944880"/>
                <a:gd name="connsiteY14" fmla="*/ 198120 h 579120"/>
                <a:gd name="connsiteX15" fmla="*/ 114300 w 944880"/>
                <a:gd name="connsiteY15" fmla="*/ 194310 h 579120"/>
                <a:gd name="connsiteX0" fmla="*/ 114300 w 944880"/>
                <a:gd name="connsiteY0" fmla="*/ 194310 h 579120"/>
                <a:gd name="connsiteX1" fmla="*/ 441960 w 944880"/>
                <a:gd name="connsiteY1" fmla="*/ 0 h 579120"/>
                <a:gd name="connsiteX2" fmla="*/ 803910 w 944880"/>
                <a:gd name="connsiteY2" fmla="*/ 19050 h 579120"/>
                <a:gd name="connsiteX3" fmla="*/ 876300 w 944880"/>
                <a:gd name="connsiteY3" fmla="*/ 60960 h 579120"/>
                <a:gd name="connsiteX4" fmla="*/ 944880 w 944880"/>
                <a:gd name="connsiteY4" fmla="*/ 144780 h 579120"/>
                <a:gd name="connsiteX5" fmla="*/ 521970 w 944880"/>
                <a:gd name="connsiteY5" fmla="*/ 148590 h 579120"/>
                <a:gd name="connsiteX6" fmla="*/ 449580 w 944880"/>
                <a:gd name="connsiteY6" fmla="*/ 308610 h 579120"/>
                <a:gd name="connsiteX7" fmla="*/ 628650 w 944880"/>
                <a:gd name="connsiteY7" fmla="*/ 320040 h 579120"/>
                <a:gd name="connsiteX8" fmla="*/ 838200 w 944880"/>
                <a:gd name="connsiteY8" fmla="*/ 331470 h 579120"/>
                <a:gd name="connsiteX9" fmla="*/ 807720 w 944880"/>
                <a:gd name="connsiteY9" fmla="*/ 483870 h 579120"/>
                <a:gd name="connsiteX10" fmla="*/ 685800 w 944880"/>
                <a:gd name="connsiteY10" fmla="*/ 495300 h 579120"/>
                <a:gd name="connsiteX11" fmla="*/ 502920 w 944880"/>
                <a:gd name="connsiteY11" fmla="*/ 499110 h 579120"/>
                <a:gd name="connsiteX12" fmla="*/ 339090 w 944880"/>
                <a:gd name="connsiteY12" fmla="*/ 575310 h 579120"/>
                <a:gd name="connsiteX13" fmla="*/ 194310 w 944880"/>
                <a:gd name="connsiteY13" fmla="*/ 579120 h 579120"/>
                <a:gd name="connsiteX14" fmla="*/ 7620 w 944880"/>
                <a:gd name="connsiteY14" fmla="*/ 575310 h 579120"/>
                <a:gd name="connsiteX15" fmla="*/ 0 w 944880"/>
                <a:gd name="connsiteY15" fmla="*/ 198120 h 579120"/>
                <a:gd name="connsiteX16" fmla="*/ 114300 w 944880"/>
                <a:gd name="connsiteY16" fmla="*/ 194310 h 579120"/>
                <a:gd name="connsiteX0" fmla="*/ 114300 w 944880"/>
                <a:gd name="connsiteY0" fmla="*/ 194310 h 579120"/>
                <a:gd name="connsiteX1" fmla="*/ 441960 w 944880"/>
                <a:gd name="connsiteY1" fmla="*/ 0 h 579120"/>
                <a:gd name="connsiteX2" fmla="*/ 803910 w 944880"/>
                <a:gd name="connsiteY2" fmla="*/ 19050 h 579120"/>
                <a:gd name="connsiteX3" fmla="*/ 876300 w 944880"/>
                <a:gd name="connsiteY3" fmla="*/ 60960 h 579120"/>
                <a:gd name="connsiteX4" fmla="*/ 944880 w 944880"/>
                <a:gd name="connsiteY4" fmla="*/ 144780 h 579120"/>
                <a:gd name="connsiteX5" fmla="*/ 521970 w 944880"/>
                <a:gd name="connsiteY5" fmla="*/ 148590 h 579120"/>
                <a:gd name="connsiteX6" fmla="*/ 449580 w 944880"/>
                <a:gd name="connsiteY6" fmla="*/ 308610 h 579120"/>
                <a:gd name="connsiteX7" fmla="*/ 628650 w 944880"/>
                <a:gd name="connsiteY7" fmla="*/ 320040 h 579120"/>
                <a:gd name="connsiteX8" fmla="*/ 838200 w 944880"/>
                <a:gd name="connsiteY8" fmla="*/ 331470 h 579120"/>
                <a:gd name="connsiteX9" fmla="*/ 807720 w 944880"/>
                <a:gd name="connsiteY9" fmla="*/ 483870 h 579120"/>
                <a:gd name="connsiteX10" fmla="*/ 685800 w 944880"/>
                <a:gd name="connsiteY10" fmla="*/ 495300 h 579120"/>
                <a:gd name="connsiteX11" fmla="*/ 502920 w 944880"/>
                <a:gd name="connsiteY11" fmla="*/ 499110 h 579120"/>
                <a:gd name="connsiteX12" fmla="*/ 339090 w 944880"/>
                <a:gd name="connsiteY12" fmla="*/ 575310 h 579120"/>
                <a:gd name="connsiteX13" fmla="*/ 194310 w 944880"/>
                <a:gd name="connsiteY13" fmla="*/ 579120 h 579120"/>
                <a:gd name="connsiteX14" fmla="*/ 7620 w 944880"/>
                <a:gd name="connsiteY14" fmla="*/ 575310 h 579120"/>
                <a:gd name="connsiteX15" fmla="*/ 0 w 944880"/>
                <a:gd name="connsiteY15" fmla="*/ 198120 h 579120"/>
                <a:gd name="connsiteX16" fmla="*/ 114300 w 944880"/>
                <a:gd name="connsiteY16" fmla="*/ 194310 h 579120"/>
                <a:gd name="connsiteX0" fmla="*/ 114300 w 944880"/>
                <a:gd name="connsiteY0" fmla="*/ 203244 h 588054"/>
                <a:gd name="connsiteX1" fmla="*/ 441960 w 944880"/>
                <a:gd name="connsiteY1" fmla="*/ 8934 h 588054"/>
                <a:gd name="connsiteX2" fmla="*/ 803910 w 944880"/>
                <a:gd name="connsiteY2" fmla="*/ 27984 h 588054"/>
                <a:gd name="connsiteX3" fmla="*/ 876300 w 944880"/>
                <a:gd name="connsiteY3" fmla="*/ 69894 h 588054"/>
                <a:gd name="connsiteX4" fmla="*/ 944880 w 944880"/>
                <a:gd name="connsiteY4" fmla="*/ 153714 h 588054"/>
                <a:gd name="connsiteX5" fmla="*/ 521970 w 944880"/>
                <a:gd name="connsiteY5" fmla="*/ 157524 h 588054"/>
                <a:gd name="connsiteX6" fmla="*/ 449580 w 944880"/>
                <a:gd name="connsiteY6" fmla="*/ 317544 h 588054"/>
                <a:gd name="connsiteX7" fmla="*/ 628650 w 944880"/>
                <a:gd name="connsiteY7" fmla="*/ 328974 h 588054"/>
                <a:gd name="connsiteX8" fmla="*/ 838200 w 944880"/>
                <a:gd name="connsiteY8" fmla="*/ 340404 h 588054"/>
                <a:gd name="connsiteX9" fmla="*/ 807720 w 944880"/>
                <a:gd name="connsiteY9" fmla="*/ 492804 h 588054"/>
                <a:gd name="connsiteX10" fmla="*/ 685800 w 944880"/>
                <a:gd name="connsiteY10" fmla="*/ 504234 h 588054"/>
                <a:gd name="connsiteX11" fmla="*/ 502920 w 944880"/>
                <a:gd name="connsiteY11" fmla="*/ 508044 h 588054"/>
                <a:gd name="connsiteX12" fmla="*/ 339090 w 944880"/>
                <a:gd name="connsiteY12" fmla="*/ 584244 h 588054"/>
                <a:gd name="connsiteX13" fmla="*/ 194310 w 944880"/>
                <a:gd name="connsiteY13" fmla="*/ 588054 h 588054"/>
                <a:gd name="connsiteX14" fmla="*/ 7620 w 944880"/>
                <a:gd name="connsiteY14" fmla="*/ 584244 h 588054"/>
                <a:gd name="connsiteX15" fmla="*/ 0 w 944880"/>
                <a:gd name="connsiteY15" fmla="*/ 207054 h 588054"/>
                <a:gd name="connsiteX16" fmla="*/ 114300 w 944880"/>
                <a:gd name="connsiteY16" fmla="*/ 203244 h 588054"/>
                <a:gd name="connsiteX0" fmla="*/ 114300 w 944880"/>
                <a:gd name="connsiteY0" fmla="*/ 203244 h 588054"/>
                <a:gd name="connsiteX1" fmla="*/ 441960 w 944880"/>
                <a:gd name="connsiteY1" fmla="*/ 8934 h 588054"/>
                <a:gd name="connsiteX2" fmla="*/ 803910 w 944880"/>
                <a:gd name="connsiteY2" fmla="*/ 27984 h 588054"/>
                <a:gd name="connsiteX3" fmla="*/ 876300 w 944880"/>
                <a:gd name="connsiteY3" fmla="*/ 69894 h 588054"/>
                <a:gd name="connsiteX4" fmla="*/ 944880 w 944880"/>
                <a:gd name="connsiteY4" fmla="*/ 153714 h 588054"/>
                <a:gd name="connsiteX5" fmla="*/ 521970 w 944880"/>
                <a:gd name="connsiteY5" fmla="*/ 157524 h 588054"/>
                <a:gd name="connsiteX6" fmla="*/ 449580 w 944880"/>
                <a:gd name="connsiteY6" fmla="*/ 317544 h 588054"/>
                <a:gd name="connsiteX7" fmla="*/ 628650 w 944880"/>
                <a:gd name="connsiteY7" fmla="*/ 328974 h 588054"/>
                <a:gd name="connsiteX8" fmla="*/ 838200 w 944880"/>
                <a:gd name="connsiteY8" fmla="*/ 340404 h 588054"/>
                <a:gd name="connsiteX9" fmla="*/ 807720 w 944880"/>
                <a:gd name="connsiteY9" fmla="*/ 492804 h 588054"/>
                <a:gd name="connsiteX10" fmla="*/ 685800 w 944880"/>
                <a:gd name="connsiteY10" fmla="*/ 504234 h 588054"/>
                <a:gd name="connsiteX11" fmla="*/ 502920 w 944880"/>
                <a:gd name="connsiteY11" fmla="*/ 508044 h 588054"/>
                <a:gd name="connsiteX12" fmla="*/ 339090 w 944880"/>
                <a:gd name="connsiteY12" fmla="*/ 584244 h 588054"/>
                <a:gd name="connsiteX13" fmla="*/ 194310 w 944880"/>
                <a:gd name="connsiteY13" fmla="*/ 588054 h 588054"/>
                <a:gd name="connsiteX14" fmla="*/ 7620 w 944880"/>
                <a:gd name="connsiteY14" fmla="*/ 584244 h 588054"/>
                <a:gd name="connsiteX15" fmla="*/ 0 w 944880"/>
                <a:gd name="connsiteY15" fmla="*/ 207054 h 588054"/>
                <a:gd name="connsiteX16" fmla="*/ 114300 w 944880"/>
                <a:gd name="connsiteY16" fmla="*/ 203244 h 588054"/>
                <a:gd name="connsiteX0" fmla="*/ 160020 w 944880"/>
                <a:gd name="connsiteY0" fmla="*/ 203244 h 588054"/>
                <a:gd name="connsiteX1" fmla="*/ 441960 w 944880"/>
                <a:gd name="connsiteY1" fmla="*/ 8934 h 588054"/>
                <a:gd name="connsiteX2" fmla="*/ 803910 w 944880"/>
                <a:gd name="connsiteY2" fmla="*/ 27984 h 588054"/>
                <a:gd name="connsiteX3" fmla="*/ 876300 w 944880"/>
                <a:gd name="connsiteY3" fmla="*/ 69894 h 588054"/>
                <a:gd name="connsiteX4" fmla="*/ 944880 w 944880"/>
                <a:gd name="connsiteY4" fmla="*/ 153714 h 588054"/>
                <a:gd name="connsiteX5" fmla="*/ 521970 w 944880"/>
                <a:gd name="connsiteY5" fmla="*/ 157524 h 588054"/>
                <a:gd name="connsiteX6" fmla="*/ 449580 w 944880"/>
                <a:gd name="connsiteY6" fmla="*/ 317544 h 588054"/>
                <a:gd name="connsiteX7" fmla="*/ 628650 w 944880"/>
                <a:gd name="connsiteY7" fmla="*/ 328974 h 588054"/>
                <a:gd name="connsiteX8" fmla="*/ 838200 w 944880"/>
                <a:gd name="connsiteY8" fmla="*/ 340404 h 588054"/>
                <a:gd name="connsiteX9" fmla="*/ 807720 w 944880"/>
                <a:gd name="connsiteY9" fmla="*/ 492804 h 588054"/>
                <a:gd name="connsiteX10" fmla="*/ 685800 w 944880"/>
                <a:gd name="connsiteY10" fmla="*/ 504234 h 588054"/>
                <a:gd name="connsiteX11" fmla="*/ 502920 w 944880"/>
                <a:gd name="connsiteY11" fmla="*/ 508044 h 588054"/>
                <a:gd name="connsiteX12" fmla="*/ 339090 w 944880"/>
                <a:gd name="connsiteY12" fmla="*/ 584244 h 588054"/>
                <a:gd name="connsiteX13" fmla="*/ 194310 w 944880"/>
                <a:gd name="connsiteY13" fmla="*/ 588054 h 588054"/>
                <a:gd name="connsiteX14" fmla="*/ 7620 w 944880"/>
                <a:gd name="connsiteY14" fmla="*/ 584244 h 588054"/>
                <a:gd name="connsiteX15" fmla="*/ 0 w 944880"/>
                <a:gd name="connsiteY15" fmla="*/ 207054 h 588054"/>
                <a:gd name="connsiteX16" fmla="*/ 160020 w 944880"/>
                <a:gd name="connsiteY16" fmla="*/ 203244 h 588054"/>
                <a:gd name="connsiteX0" fmla="*/ 167640 w 944880"/>
                <a:gd name="connsiteY0" fmla="*/ 165144 h 588054"/>
                <a:gd name="connsiteX1" fmla="*/ 441960 w 944880"/>
                <a:gd name="connsiteY1" fmla="*/ 8934 h 588054"/>
                <a:gd name="connsiteX2" fmla="*/ 803910 w 944880"/>
                <a:gd name="connsiteY2" fmla="*/ 27984 h 588054"/>
                <a:gd name="connsiteX3" fmla="*/ 876300 w 944880"/>
                <a:gd name="connsiteY3" fmla="*/ 69894 h 588054"/>
                <a:gd name="connsiteX4" fmla="*/ 944880 w 944880"/>
                <a:gd name="connsiteY4" fmla="*/ 153714 h 588054"/>
                <a:gd name="connsiteX5" fmla="*/ 521970 w 944880"/>
                <a:gd name="connsiteY5" fmla="*/ 157524 h 588054"/>
                <a:gd name="connsiteX6" fmla="*/ 449580 w 944880"/>
                <a:gd name="connsiteY6" fmla="*/ 317544 h 588054"/>
                <a:gd name="connsiteX7" fmla="*/ 628650 w 944880"/>
                <a:gd name="connsiteY7" fmla="*/ 328974 h 588054"/>
                <a:gd name="connsiteX8" fmla="*/ 838200 w 944880"/>
                <a:gd name="connsiteY8" fmla="*/ 340404 h 588054"/>
                <a:gd name="connsiteX9" fmla="*/ 807720 w 944880"/>
                <a:gd name="connsiteY9" fmla="*/ 492804 h 588054"/>
                <a:gd name="connsiteX10" fmla="*/ 685800 w 944880"/>
                <a:gd name="connsiteY10" fmla="*/ 504234 h 588054"/>
                <a:gd name="connsiteX11" fmla="*/ 502920 w 944880"/>
                <a:gd name="connsiteY11" fmla="*/ 508044 h 588054"/>
                <a:gd name="connsiteX12" fmla="*/ 339090 w 944880"/>
                <a:gd name="connsiteY12" fmla="*/ 584244 h 588054"/>
                <a:gd name="connsiteX13" fmla="*/ 194310 w 944880"/>
                <a:gd name="connsiteY13" fmla="*/ 588054 h 588054"/>
                <a:gd name="connsiteX14" fmla="*/ 7620 w 944880"/>
                <a:gd name="connsiteY14" fmla="*/ 584244 h 588054"/>
                <a:gd name="connsiteX15" fmla="*/ 0 w 944880"/>
                <a:gd name="connsiteY15" fmla="*/ 207054 h 588054"/>
                <a:gd name="connsiteX16" fmla="*/ 167640 w 944880"/>
                <a:gd name="connsiteY16" fmla="*/ 165144 h 588054"/>
                <a:gd name="connsiteX0" fmla="*/ 167640 w 944880"/>
                <a:gd name="connsiteY0" fmla="*/ 165144 h 588054"/>
                <a:gd name="connsiteX1" fmla="*/ 441960 w 944880"/>
                <a:gd name="connsiteY1" fmla="*/ 8934 h 588054"/>
                <a:gd name="connsiteX2" fmla="*/ 803910 w 944880"/>
                <a:gd name="connsiteY2" fmla="*/ 27984 h 588054"/>
                <a:gd name="connsiteX3" fmla="*/ 876300 w 944880"/>
                <a:gd name="connsiteY3" fmla="*/ 69894 h 588054"/>
                <a:gd name="connsiteX4" fmla="*/ 944880 w 944880"/>
                <a:gd name="connsiteY4" fmla="*/ 153714 h 588054"/>
                <a:gd name="connsiteX5" fmla="*/ 521970 w 944880"/>
                <a:gd name="connsiteY5" fmla="*/ 157524 h 588054"/>
                <a:gd name="connsiteX6" fmla="*/ 449580 w 944880"/>
                <a:gd name="connsiteY6" fmla="*/ 317544 h 588054"/>
                <a:gd name="connsiteX7" fmla="*/ 628650 w 944880"/>
                <a:gd name="connsiteY7" fmla="*/ 328974 h 588054"/>
                <a:gd name="connsiteX8" fmla="*/ 838200 w 944880"/>
                <a:gd name="connsiteY8" fmla="*/ 340404 h 588054"/>
                <a:gd name="connsiteX9" fmla="*/ 807720 w 944880"/>
                <a:gd name="connsiteY9" fmla="*/ 492804 h 588054"/>
                <a:gd name="connsiteX10" fmla="*/ 685800 w 944880"/>
                <a:gd name="connsiteY10" fmla="*/ 504234 h 588054"/>
                <a:gd name="connsiteX11" fmla="*/ 502920 w 944880"/>
                <a:gd name="connsiteY11" fmla="*/ 508044 h 588054"/>
                <a:gd name="connsiteX12" fmla="*/ 339090 w 944880"/>
                <a:gd name="connsiteY12" fmla="*/ 584244 h 588054"/>
                <a:gd name="connsiteX13" fmla="*/ 194310 w 944880"/>
                <a:gd name="connsiteY13" fmla="*/ 588054 h 588054"/>
                <a:gd name="connsiteX14" fmla="*/ 7620 w 944880"/>
                <a:gd name="connsiteY14" fmla="*/ 584244 h 588054"/>
                <a:gd name="connsiteX15" fmla="*/ 0 w 944880"/>
                <a:gd name="connsiteY15" fmla="*/ 207054 h 588054"/>
                <a:gd name="connsiteX16" fmla="*/ 167640 w 944880"/>
                <a:gd name="connsiteY16" fmla="*/ 165144 h 588054"/>
                <a:gd name="connsiteX0" fmla="*/ 167640 w 944880"/>
                <a:gd name="connsiteY0" fmla="*/ 165144 h 584244"/>
                <a:gd name="connsiteX1" fmla="*/ 441960 w 944880"/>
                <a:gd name="connsiteY1" fmla="*/ 8934 h 584244"/>
                <a:gd name="connsiteX2" fmla="*/ 803910 w 944880"/>
                <a:gd name="connsiteY2" fmla="*/ 27984 h 584244"/>
                <a:gd name="connsiteX3" fmla="*/ 876300 w 944880"/>
                <a:gd name="connsiteY3" fmla="*/ 69894 h 584244"/>
                <a:gd name="connsiteX4" fmla="*/ 944880 w 944880"/>
                <a:gd name="connsiteY4" fmla="*/ 153714 h 584244"/>
                <a:gd name="connsiteX5" fmla="*/ 521970 w 944880"/>
                <a:gd name="connsiteY5" fmla="*/ 157524 h 584244"/>
                <a:gd name="connsiteX6" fmla="*/ 449580 w 944880"/>
                <a:gd name="connsiteY6" fmla="*/ 317544 h 584244"/>
                <a:gd name="connsiteX7" fmla="*/ 628650 w 944880"/>
                <a:gd name="connsiteY7" fmla="*/ 328974 h 584244"/>
                <a:gd name="connsiteX8" fmla="*/ 838200 w 944880"/>
                <a:gd name="connsiteY8" fmla="*/ 340404 h 584244"/>
                <a:gd name="connsiteX9" fmla="*/ 807720 w 944880"/>
                <a:gd name="connsiteY9" fmla="*/ 492804 h 584244"/>
                <a:gd name="connsiteX10" fmla="*/ 685800 w 944880"/>
                <a:gd name="connsiteY10" fmla="*/ 504234 h 584244"/>
                <a:gd name="connsiteX11" fmla="*/ 502920 w 944880"/>
                <a:gd name="connsiteY11" fmla="*/ 508044 h 584244"/>
                <a:gd name="connsiteX12" fmla="*/ 339090 w 944880"/>
                <a:gd name="connsiteY12" fmla="*/ 584244 h 584244"/>
                <a:gd name="connsiteX13" fmla="*/ 7620 w 944880"/>
                <a:gd name="connsiteY13" fmla="*/ 584244 h 584244"/>
                <a:gd name="connsiteX14" fmla="*/ 0 w 944880"/>
                <a:gd name="connsiteY14" fmla="*/ 207054 h 584244"/>
                <a:gd name="connsiteX15" fmla="*/ 167640 w 944880"/>
                <a:gd name="connsiteY15" fmla="*/ 165144 h 584244"/>
                <a:gd name="connsiteX0" fmla="*/ 167640 w 944880"/>
                <a:gd name="connsiteY0" fmla="*/ 165144 h 594404"/>
                <a:gd name="connsiteX1" fmla="*/ 441960 w 944880"/>
                <a:gd name="connsiteY1" fmla="*/ 8934 h 594404"/>
                <a:gd name="connsiteX2" fmla="*/ 803910 w 944880"/>
                <a:gd name="connsiteY2" fmla="*/ 27984 h 594404"/>
                <a:gd name="connsiteX3" fmla="*/ 876300 w 944880"/>
                <a:gd name="connsiteY3" fmla="*/ 69894 h 594404"/>
                <a:gd name="connsiteX4" fmla="*/ 944880 w 944880"/>
                <a:gd name="connsiteY4" fmla="*/ 153714 h 594404"/>
                <a:gd name="connsiteX5" fmla="*/ 521970 w 944880"/>
                <a:gd name="connsiteY5" fmla="*/ 157524 h 594404"/>
                <a:gd name="connsiteX6" fmla="*/ 449580 w 944880"/>
                <a:gd name="connsiteY6" fmla="*/ 317544 h 594404"/>
                <a:gd name="connsiteX7" fmla="*/ 628650 w 944880"/>
                <a:gd name="connsiteY7" fmla="*/ 328974 h 594404"/>
                <a:gd name="connsiteX8" fmla="*/ 838200 w 944880"/>
                <a:gd name="connsiteY8" fmla="*/ 340404 h 594404"/>
                <a:gd name="connsiteX9" fmla="*/ 807720 w 944880"/>
                <a:gd name="connsiteY9" fmla="*/ 492804 h 594404"/>
                <a:gd name="connsiteX10" fmla="*/ 685800 w 944880"/>
                <a:gd name="connsiteY10" fmla="*/ 504234 h 594404"/>
                <a:gd name="connsiteX11" fmla="*/ 502920 w 944880"/>
                <a:gd name="connsiteY11" fmla="*/ 508044 h 594404"/>
                <a:gd name="connsiteX12" fmla="*/ 339090 w 944880"/>
                <a:gd name="connsiteY12" fmla="*/ 584244 h 594404"/>
                <a:gd name="connsiteX13" fmla="*/ 7620 w 944880"/>
                <a:gd name="connsiteY13" fmla="*/ 584244 h 594404"/>
                <a:gd name="connsiteX14" fmla="*/ 0 w 944880"/>
                <a:gd name="connsiteY14" fmla="*/ 207054 h 594404"/>
                <a:gd name="connsiteX15" fmla="*/ 167640 w 944880"/>
                <a:gd name="connsiteY15" fmla="*/ 165144 h 594404"/>
                <a:gd name="connsiteX0" fmla="*/ 167640 w 944880"/>
                <a:gd name="connsiteY0" fmla="*/ 165144 h 594404"/>
                <a:gd name="connsiteX1" fmla="*/ 441960 w 944880"/>
                <a:gd name="connsiteY1" fmla="*/ 8934 h 594404"/>
                <a:gd name="connsiteX2" fmla="*/ 803910 w 944880"/>
                <a:gd name="connsiteY2" fmla="*/ 27984 h 594404"/>
                <a:gd name="connsiteX3" fmla="*/ 876300 w 944880"/>
                <a:gd name="connsiteY3" fmla="*/ 69894 h 594404"/>
                <a:gd name="connsiteX4" fmla="*/ 944880 w 944880"/>
                <a:gd name="connsiteY4" fmla="*/ 153714 h 594404"/>
                <a:gd name="connsiteX5" fmla="*/ 521970 w 944880"/>
                <a:gd name="connsiteY5" fmla="*/ 157524 h 594404"/>
                <a:gd name="connsiteX6" fmla="*/ 449580 w 944880"/>
                <a:gd name="connsiteY6" fmla="*/ 317544 h 594404"/>
                <a:gd name="connsiteX7" fmla="*/ 628650 w 944880"/>
                <a:gd name="connsiteY7" fmla="*/ 328974 h 594404"/>
                <a:gd name="connsiteX8" fmla="*/ 838200 w 944880"/>
                <a:gd name="connsiteY8" fmla="*/ 340404 h 594404"/>
                <a:gd name="connsiteX9" fmla="*/ 807720 w 944880"/>
                <a:gd name="connsiteY9" fmla="*/ 492804 h 594404"/>
                <a:gd name="connsiteX10" fmla="*/ 685800 w 944880"/>
                <a:gd name="connsiteY10" fmla="*/ 504234 h 594404"/>
                <a:gd name="connsiteX11" fmla="*/ 502920 w 944880"/>
                <a:gd name="connsiteY11" fmla="*/ 508044 h 594404"/>
                <a:gd name="connsiteX12" fmla="*/ 339090 w 944880"/>
                <a:gd name="connsiteY12" fmla="*/ 584244 h 594404"/>
                <a:gd name="connsiteX13" fmla="*/ 7620 w 944880"/>
                <a:gd name="connsiteY13" fmla="*/ 584244 h 594404"/>
                <a:gd name="connsiteX14" fmla="*/ 0 w 944880"/>
                <a:gd name="connsiteY14" fmla="*/ 207054 h 594404"/>
                <a:gd name="connsiteX15" fmla="*/ 167640 w 944880"/>
                <a:gd name="connsiteY15" fmla="*/ 165144 h 594404"/>
                <a:gd name="connsiteX0" fmla="*/ 167640 w 944880"/>
                <a:gd name="connsiteY0" fmla="*/ 165144 h 584244"/>
                <a:gd name="connsiteX1" fmla="*/ 441960 w 944880"/>
                <a:gd name="connsiteY1" fmla="*/ 8934 h 584244"/>
                <a:gd name="connsiteX2" fmla="*/ 803910 w 944880"/>
                <a:gd name="connsiteY2" fmla="*/ 27984 h 584244"/>
                <a:gd name="connsiteX3" fmla="*/ 876300 w 944880"/>
                <a:gd name="connsiteY3" fmla="*/ 69894 h 584244"/>
                <a:gd name="connsiteX4" fmla="*/ 944880 w 944880"/>
                <a:gd name="connsiteY4" fmla="*/ 153714 h 584244"/>
                <a:gd name="connsiteX5" fmla="*/ 521970 w 944880"/>
                <a:gd name="connsiteY5" fmla="*/ 157524 h 584244"/>
                <a:gd name="connsiteX6" fmla="*/ 449580 w 944880"/>
                <a:gd name="connsiteY6" fmla="*/ 317544 h 584244"/>
                <a:gd name="connsiteX7" fmla="*/ 628650 w 944880"/>
                <a:gd name="connsiteY7" fmla="*/ 328974 h 584244"/>
                <a:gd name="connsiteX8" fmla="*/ 838200 w 944880"/>
                <a:gd name="connsiteY8" fmla="*/ 340404 h 584244"/>
                <a:gd name="connsiteX9" fmla="*/ 807720 w 944880"/>
                <a:gd name="connsiteY9" fmla="*/ 492804 h 584244"/>
                <a:gd name="connsiteX10" fmla="*/ 685800 w 944880"/>
                <a:gd name="connsiteY10" fmla="*/ 504234 h 584244"/>
                <a:gd name="connsiteX11" fmla="*/ 502920 w 944880"/>
                <a:gd name="connsiteY11" fmla="*/ 508044 h 584244"/>
                <a:gd name="connsiteX12" fmla="*/ 331470 w 944880"/>
                <a:gd name="connsiteY12" fmla="*/ 561384 h 584244"/>
                <a:gd name="connsiteX13" fmla="*/ 7620 w 944880"/>
                <a:gd name="connsiteY13" fmla="*/ 584244 h 584244"/>
                <a:gd name="connsiteX14" fmla="*/ 0 w 944880"/>
                <a:gd name="connsiteY14" fmla="*/ 207054 h 584244"/>
                <a:gd name="connsiteX15" fmla="*/ 167640 w 944880"/>
                <a:gd name="connsiteY15" fmla="*/ 165144 h 584244"/>
                <a:gd name="connsiteX0" fmla="*/ 167640 w 944880"/>
                <a:gd name="connsiteY0" fmla="*/ 165144 h 568207"/>
                <a:gd name="connsiteX1" fmla="*/ 441960 w 944880"/>
                <a:gd name="connsiteY1" fmla="*/ 8934 h 568207"/>
                <a:gd name="connsiteX2" fmla="*/ 803910 w 944880"/>
                <a:gd name="connsiteY2" fmla="*/ 27984 h 568207"/>
                <a:gd name="connsiteX3" fmla="*/ 876300 w 944880"/>
                <a:gd name="connsiteY3" fmla="*/ 69894 h 568207"/>
                <a:gd name="connsiteX4" fmla="*/ 944880 w 944880"/>
                <a:gd name="connsiteY4" fmla="*/ 153714 h 568207"/>
                <a:gd name="connsiteX5" fmla="*/ 521970 w 944880"/>
                <a:gd name="connsiteY5" fmla="*/ 157524 h 568207"/>
                <a:gd name="connsiteX6" fmla="*/ 449580 w 944880"/>
                <a:gd name="connsiteY6" fmla="*/ 317544 h 568207"/>
                <a:gd name="connsiteX7" fmla="*/ 628650 w 944880"/>
                <a:gd name="connsiteY7" fmla="*/ 328974 h 568207"/>
                <a:gd name="connsiteX8" fmla="*/ 838200 w 944880"/>
                <a:gd name="connsiteY8" fmla="*/ 340404 h 568207"/>
                <a:gd name="connsiteX9" fmla="*/ 807720 w 944880"/>
                <a:gd name="connsiteY9" fmla="*/ 492804 h 568207"/>
                <a:gd name="connsiteX10" fmla="*/ 685800 w 944880"/>
                <a:gd name="connsiteY10" fmla="*/ 504234 h 568207"/>
                <a:gd name="connsiteX11" fmla="*/ 502920 w 944880"/>
                <a:gd name="connsiteY11" fmla="*/ 508044 h 568207"/>
                <a:gd name="connsiteX12" fmla="*/ 331470 w 944880"/>
                <a:gd name="connsiteY12" fmla="*/ 561384 h 568207"/>
                <a:gd name="connsiteX13" fmla="*/ 3810 w 944880"/>
                <a:gd name="connsiteY13" fmla="*/ 542334 h 568207"/>
                <a:gd name="connsiteX14" fmla="*/ 0 w 944880"/>
                <a:gd name="connsiteY14" fmla="*/ 207054 h 568207"/>
                <a:gd name="connsiteX15" fmla="*/ 167640 w 944880"/>
                <a:gd name="connsiteY15" fmla="*/ 165144 h 568207"/>
                <a:gd name="connsiteX0" fmla="*/ 167640 w 944880"/>
                <a:gd name="connsiteY0" fmla="*/ 165144 h 568207"/>
                <a:gd name="connsiteX1" fmla="*/ 441960 w 944880"/>
                <a:gd name="connsiteY1" fmla="*/ 8934 h 568207"/>
                <a:gd name="connsiteX2" fmla="*/ 803910 w 944880"/>
                <a:gd name="connsiteY2" fmla="*/ 27984 h 568207"/>
                <a:gd name="connsiteX3" fmla="*/ 876300 w 944880"/>
                <a:gd name="connsiteY3" fmla="*/ 69894 h 568207"/>
                <a:gd name="connsiteX4" fmla="*/ 944880 w 944880"/>
                <a:gd name="connsiteY4" fmla="*/ 153714 h 568207"/>
                <a:gd name="connsiteX5" fmla="*/ 521970 w 944880"/>
                <a:gd name="connsiteY5" fmla="*/ 157524 h 568207"/>
                <a:gd name="connsiteX6" fmla="*/ 449580 w 944880"/>
                <a:gd name="connsiteY6" fmla="*/ 317544 h 568207"/>
                <a:gd name="connsiteX7" fmla="*/ 628650 w 944880"/>
                <a:gd name="connsiteY7" fmla="*/ 328974 h 568207"/>
                <a:gd name="connsiteX8" fmla="*/ 838200 w 944880"/>
                <a:gd name="connsiteY8" fmla="*/ 340404 h 568207"/>
                <a:gd name="connsiteX9" fmla="*/ 807720 w 944880"/>
                <a:gd name="connsiteY9" fmla="*/ 492804 h 568207"/>
                <a:gd name="connsiteX10" fmla="*/ 685800 w 944880"/>
                <a:gd name="connsiteY10" fmla="*/ 504234 h 568207"/>
                <a:gd name="connsiteX11" fmla="*/ 502920 w 944880"/>
                <a:gd name="connsiteY11" fmla="*/ 508044 h 568207"/>
                <a:gd name="connsiteX12" fmla="*/ 331470 w 944880"/>
                <a:gd name="connsiteY12" fmla="*/ 561384 h 568207"/>
                <a:gd name="connsiteX13" fmla="*/ 3810 w 944880"/>
                <a:gd name="connsiteY13" fmla="*/ 542334 h 568207"/>
                <a:gd name="connsiteX14" fmla="*/ 0 w 944880"/>
                <a:gd name="connsiteY14" fmla="*/ 207054 h 568207"/>
                <a:gd name="connsiteX15" fmla="*/ 167640 w 944880"/>
                <a:gd name="connsiteY15" fmla="*/ 165144 h 568207"/>
                <a:gd name="connsiteX0" fmla="*/ 167640 w 944880"/>
                <a:gd name="connsiteY0" fmla="*/ 165144 h 568207"/>
                <a:gd name="connsiteX1" fmla="*/ 441960 w 944880"/>
                <a:gd name="connsiteY1" fmla="*/ 8934 h 568207"/>
                <a:gd name="connsiteX2" fmla="*/ 803910 w 944880"/>
                <a:gd name="connsiteY2" fmla="*/ 27984 h 568207"/>
                <a:gd name="connsiteX3" fmla="*/ 876300 w 944880"/>
                <a:gd name="connsiteY3" fmla="*/ 69894 h 568207"/>
                <a:gd name="connsiteX4" fmla="*/ 944880 w 944880"/>
                <a:gd name="connsiteY4" fmla="*/ 153714 h 568207"/>
                <a:gd name="connsiteX5" fmla="*/ 521970 w 944880"/>
                <a:gd name="connsiteY5" fmla="*/ 157524 h 568207"/>
                <a:gd name="connsiteX6" fmla="*/ 449580 w 944880"/>
                <a:gd name="connsiteY6" fmla="*/ 317544 h 568207"/>
                <a:gd name="connsiteX7" fmla="*/ 628650 w 944880"/>
                <a:gd name="connsiteY7" fmla="*/ 328974 h 568207"/>
                <a:gd name="connsiteX8" fmla="*/ 838200 w 944880"/>
                <a:gd name="connsiteY8" fmla="*/ 340404 h 568207"/>
                <a:gd name="connsiteX9" fmla="*/ 807720 w 944880"/>
                <a:gd name="connsiteY9" fmla="*/ 492804 h 568207"/>
                <a:gd name="connsiteX10" fmla="*/ 685800 w 944880"/>
                <a:gd name="connsiteY10" fmla="*/ 504234 h 568207"/>
                <a:gd name="connsiteX11" fmla="*/ 502920 w 944880"/>
                <a:gd name="connsiteY11" fmla="*/ 508044 h 568207"/>
                <a:gd name="connsiteX12" fmla="*/ 331470 w 944880"/>
                <a:gd name="connsiteY12" fmla="*/ 561384 h 568207"/>
                <a:gd name="connsiteX13" fmla="*/ 3810 w 944880"/>
                <a:gd name="connsiteY13" fmla="*/ 542334 h 568207"/>
                <a:gd name="connsiteX14" fmla="*/ 0 w 944880"/>
                <a:gd name="connsiteY14" fmla="*/ 207054 h 568207"/>
                <a:gd name="connsiteX15" fmla="*/ 167640 w 944880"/>
                <a:gd name="connsiteY15" fmla="*/ 165144 h 568207"/>
                <a:gd name="connsiteX0" fmla="*/ 167640 w 944880"/>
                <a:gd name="connsiteY0" fmla="*/ 165144 h 568207"/>
                <a:gd name="connsiteX1" fmla="*/ 441960 w 944880"/>
                <a:gd name="connsiteY1" fmla="*/ 8934 h 568207"/>
                <a:gd name="connsiteX2" fmla="*/ 803910 w 944880"/>
                <a:gd name="connsiteY2" fmla="*/ 27984 h 568207"/>
                <a:gd name="connsiteX3" fmla="*/ 876300 w 944880"/>
                <a:gd name="connsiteY3" fmla="*/ 69894 h 568207"/>
                <a:gd name="connsiteX4" fmla="*/ 944880 w 944880"/>
                <a:gd name="connsiteY4" fmla="*/ 153714 h 568207"/>
                <a:gd name="connsiteX5" fmla="*/ 521970 w 944880"/>
                <a:gd name="connsiteY5" fmla="*/ 157524 h 568207"/>
                <a:gd name="connsiteX6" fmla="*/ 449580 w 944880"/>
                <a:gd name="connsiteY6" fmla="*/ 317544 h 568207"/>
                <a:gd name="connsiteX7" fmla="*/ 628650 w 944880"/>
                <a:gd name="connsiteY7" fmla="*/ 328974 h 568207"/>
                <a:gd name="connsiteX8" fmla="*/ 838200 w 944880"/>
                <a:gd name="connsiteY8" fmla="*/ 340404 h 568207"/>
                <a:gd name="connsiteX9" fmla="*/ 807720 w 944880"/>
                <a:gd name="connsiteY9" fmla="*/ 492804 h 568207"/>
                <a:gd name="connsiteX10" fmla="*/ 685800 w 944880"/>
                <a:gd name="connsiteY10" fmla="*/ 504234 h 568207"/>
                <a:gd name="connsiteX11" fmla="*/ 502920 w 944880"/>
                <a:gd name="connsiteY11" fmla="*/ 508044 h 568207"/>
                <a:gd name="connsiteX12" fmla="*/ 331470 w 944880"/>
                <a:gd name="connsiteY12" fmla="*/ 561384 h 568207"/>
                <a:gd name="connsiteX13" fmla="*/ 3810 w 944880"/>
                <a:gd name="connsiteY13" fmla="*/ 542334 h 568207"/>
                <a:gd name="connsiteX14" fmla="*/ 0 w 944880"/>
                <a:gd name="connsiteY14" fmla="*/ 207054 h 568207"/>
                <a:gd name="connsiteX15" fmla="*/ 167640 w 944880"/>
                <a:gd name="connsiteY15" fmla="*/ 165144 h 568207"/>
                <a:gd name="connsiteX0" fmla="*/ 167640 w 944880"/>
                <a:gd name="connsiteY0" fmla="*/ 165144 h 568207"/>
                <a:gd name="connsiteX1" fmla="*/ 441960 w 944880"/>
                <a:gd name="connsiteY1" fmla="*/ 8934 h 568207"/>
                <a:gd name="connsiteX2" fmla="*/ 803910 w 944880"/>
                <a:gd name="connsiteY2" fmla="*/ 27984 h 568207"/>
                <a:gd name="connsiteX3" fmla="*/ 876300 w 944880"/>
                <a:gd name="connsiteY3" fmla="*/ 69894 h 568207"/>
                <a:gd name="connsiteX4" fmla="*/ 944880 w 944880"/>
                <a:gd name="connsiteY4" fmla="*/ 153714 h 568207"/>
                <a:gd name="connsiteX5" fmla="*/ 521970 w 944880"/>
                <a:gd name="connsiteY5" fmla="*/ 149890 h 568207"/>
                <a:gd name="connsiteX6" fmla="*/ 449580 w 944880"/>
                <a:gd name="connsiteY6" fmla="*/ 317544 h 568207"/>
                <a:gd name="connsiteX7" fmla="*/ 628650 w 944880"/>
                <a:gd name="connsiteY7" fmla="*/ 328974 h 568207"/>
                <a:gd name="connsiteX8" fmla="*/ 838200 w 944880"/>
                <a:gd name="connsiteY8" fmla="*/ 340404 h 568207"/>
                <a:gd name="connsiteX9" fmla="*/ 807720 w 944880"/>
                <a:gd name="connsiteY9" fmla="*/ 492804 h 568207"/>
                <a:gd name="connsiteX10" fmla="*/ 685800 w 944880"/>
                <a:gd name="connsiteY10" fmla="*/ 504234 h 568207"/>
                <a:gd name="connsiteX11" fmla="*/ 502920 w 944880"/>
                <a:gd name="connsiteY11" fmla="*/ 508044 h 568207"/>
                <a:gd name="connsiteX12" fmla="*/ 331470 w 944880"/>
                <a:gd name="connsiteY12" fmla="*/ 561384 h 568207"/>
                <a:gd name="connsiteX13" fmla="*/ 3810 w 944880"/>
                <a:gd name="connsiteY13" fmla="*/ 542334 h 568207"/>
                <a:gd name="connsiteX14" fmla="*/ 0 w 944880"/>
                <a:gd name="connsiteY14" fmla="*/ 207054 h 568207"/>
                <a:gd name="connsiteX15" fmla="*/ 167640 w 944880"/>
                <a:gd name="connsiteY15" fmla="*/ 165144 h 568207"/>
                <a:gd name="connsiteX0" fmla="*/ 167640 w 934702"/>
                <a:gd name="connsiteY0" fmla="*/ 165144 h 568207"/>
                <a:gd name="connsiteX1" fmla="*/ 441960 w 934702"/>
                <a:gd name="connsiteY1" fmla="*/ 8934 h 568207"/>
                <a:gd name="connsiteX2" fmla="*/ 803910 w 934702"/>
                <a:gd name="connsiteY2" fmla="*/ 27984 h 568207"/>
                <a:gd name="connsiteX3" fmla="*/ 876300 w 934702"/>
                <a:gd name="connsiteY3" fmla="*/ 69894 h 568207"/>
                <a:gd name="connsiteX4" fmla="*/ 934702 w 934702"/>
                <a:gd name="connsiteY4" fmla="*/ 146081 h 568207"/>
                <a:gd name="connsiteX5" fmla="*/ 521970 w 934702"/>
                <a:gd name="connsiteY5" fmla="*/ 149890 h 568207"/>
                <a:gd name="connsiteX6" fmla="*/ 449580 w 934702"/>
                <a:gd name="connsiteY6" fmla="*/ 317544 h 568207"/>
                <a:gd name="connsiteX7" fmla="*/ 628650 w 934702"/>
                <a:gd name="connsiteY7" fmla="*/ 328974 h 568207"/>
                <a:gd name="connsiteX8" fmla="*/ 838200 w 934702"/>
                <a:gd name="connsiteY8" fmla="*/ 340404 h 568207"/>
                <a:gd name="connsiteX9" fmla="*/ 807720 w 934702"/>
                <a:gd name="connsiteY9" fmla="*/ 492804 h 568207"/>
                <a:gd name="connsiteX10" fmla="*/ 685800 w 934702"/>
                <a:gd name="connsiteY10" fmla="*/ 504234 h 568207"/>
                <a:gd name="connsiteX11" fmla="*/ 502920 w 934702"/>
                <a:gd name="connsiteY11" fmla="*/ 508044 h 568207"/>
                <a:gd name="connsiteX12" fmla="*/ 331470 w 934702"/>
                <a:gd name="connsiteY12" fmla="*/ 561384 h 568207"/>
                <a:gd name="connsiteX13" fmla="*/ 3810 w 934702"/>
                <a:gd name="connsiteY13" fmla="*/ 542334 h 568207"/>
                <a:gd name="connsiteX14" fmla="*/ 0 w 934702"/>
                <a:gd name="connsiteY14" fmla="*/ 207054 h 568207"/>
                <a:gd name="connsiteX15" fmla="*/ 167640 w 934702"/>
                <a:gd name="connsiteY15" fmla="*/ 165144 h 568207"/>
                <a:gd name="connsiteX0" fmla="*/ 167640 w 934702"/>
                <a:gd name="connsiteY0" fmla="*/ 165144 h 568207"/>
                <a:gd name="connsiteX1" fmla="*/ 441960 w 934702"/>
                <a:gd name="connsiteY1" fmla="*/ 8934 h 568207"/>
                <a:gd name="connsiteX2" fmla="*/ 803910 w 934702"/>
                <a:gd name="connsiteY2" fmla="*/ 27984 h 568207"/>
                <a:gd name="connsiteX3" fmla="*/ 876300 w 934702"/>
                <a:gd name="connsiteY3" fmla="*/ 69894 h 568207"/>
                <a:gd name="connsiteX4" fmla="*/ 934702 w 934702"/>
                <a:gd name="connsiteY4" fmla="*/ 146081 h 568207"/>
                <a:gd name="connsiteX5" fmla="*/ 527059 w 934702"/>
                <a:gd name="connsiteY5" fmla="*/ 137168 h 568207"/>
                <a:gd name="connsiteX6" fmla="*/ 449580 w 934702"/>
                <a:gd name="connsiteY6" fmla="*/ 317544 h 568207"/>
                <a:gd name="connsiteX7" fmla="*/ 628650 w 934702"/>
                <a:gd name="connsiteY7" fmla="*/ 328974 h 568207"/>
                <a:gd name="connsiteX8" fmla="*/ 838200 w 934702"/>
                <a:gd name="connsiteY8" fmla="*/ 340404 h 568207"/>
                <a:gd name="connsiteX9" fmla="*/ 807720 w 934702"/>
                <a:gd name="connsiteY9" fmla="*/ 492804 h 568207"/>
                <a:gd name="connsiteX10" fmla="*/ 685800 w 934702"/>
                <a:gd name="connsiteY10" fmla="*/ 504234 h 568207"/>
                <a:gd name="connsiteX11" fmla="*/ 502920 w 934702"/>
                <a:gd name="connsiteY11" fmla="*/ 508044 h 568207"/>
                <a:gd name="connsiteX12" fmla="*/ 331470 w 934702"/>
                <a:gd name="connsiteY12" fmla="*/ 561384 h 568207"/>
                <a:gd name="connsiteX13" fmla="*/ 3810 w 934702"/>
                <a:gd name="connsiteY13" fmla="*/ 542334 h 568207"/>
                <a:gd name="connsiteX14" fmla="*/ 0 w 934702"/>
                <a:gd name="connsiteY14" fmla="*/ 207054 h 568207"/>
                <a:gd name="connsiteX15" fmla="*/ 167640 w 934702"/>
                <a:gd name="connsiteY15" fmla="*/ 165144 h 568207"/>
                <a:gd name="connsiteX0" fmla="*/ 167640 w 934702"/>
                <a:gd name="connsiteY0" fmla="*/ 165144 h 568207"/>
                <a:gd name="connsiteX1" fmla="*/ 441960 w 934702"/>
                <a:gd name="connsiteY1" fmla="*/ 8934 h 568207"/>
                <a:gd name="connsiteX2" fmla="*/ 803910 w 934702"/>
                <a:gd name="connsiteY2" fmla="*/ 27984 h 568207"/>
                <a:gd name="connsiteX3" fmla="*/ 876300 w 934702"/>
                <a:gd name="connsiteY3" fmla="*/ 69894 h 568207"/>
                <a:gd name="connsiteX4" fmla="*/ 934702 w 934702"/>
                <a:gd name="connsiteY4" fmla="*/ 146081 h 568207"/>
                <a:gd name="connsiteX5" fmla="*/ 527059 w 934702"/>
                <a:gd name="connsiteY5" fmla="*/ 142257 h 568207"/>
                <a:gd name="connsiteX6" fmla="*/ 449580 w 934702"/>
                <a:gd name="connsiteY6" fmla="*/ 317544 h 568207"/>
                <a:gd name="connsiteX7" fmla="*/ 628650 w 934702"/>
                <a:gd name="connsiteY7" fmla="*/ 328974 h 568207"/>
                <a:gd name="connsiteX8" fmla="*/ 838200 w 934702"/>
                <a:gd name="connsiteY8" fmla="*/ 340404 h 568207"/>
                <a:gd name="connsiteX9" fmla="*/ 807720 w 934702"/>
                <a:gd name="connsiteY9" fmla="*/ 492804 h 568207"/>
                <a:gd name="connsiteX10" fmla="*/ 685800 w 934702"/>
                <a:gd name="connsiteY10" fmla="*/ 504234 h 568207"/>
                <a:gd name="connsiteX11" fmla="*/ 502920 w 934702"/>
                <a:gd name="connsiteY11" fmla="*/ 508044 h 568207"/>
                <a:gd name="connsiteX12" fmla="*/ 331470 w 934702"/>
                <a:gd name="connsiteY12" fmla="*/ 561384 h 568207"/>
                <a:gd name="connsiteX13" fmla="*/ 3810 w 934702"/>
                <a:gd name="connsiteY13" fmla="*/ 542334 h 568207"/>
                <a:gd name="connsiteX14" fmla="*/ 0 w 934702"/>
                <a:gd name="connsiteY14" fmla="*/ 207054 h 568207"/>
                <a:gd name="connsiteX15" fmla="*/ 167640 w 934702"/>
                <a:gd name="connsiteY15" fmla="*/ 165144 h 568207"/>
                <a:gd name="connsiteX0" fmla="*/ 167640 w 919435"/>
                <a:gd name="connsiteY0" fmla="*/ 165144 h 568207"/>
                <a:gd name="connsiteX1" fmla="*/ 441960 w 919435"/>
                <a:gd name="connsiteY1" fmla="*/ 8934 h 568207"/>
                <a:gd name="connsiteX2" fmla="*/ 803910 w 919435"/>
                <a:gd name="connsiteY2" fmla="*/ 27984 h 568207"/>
                <a:gd name="connsiteX3" fmla="*/ 876300 w 919435"/>
                <a:gd name="connsiteY3" fmla="*/ 69894 h 568207"/>
                <a:gd name="connsiteX4" fmla="*/ 919435 w 919435"/>
                <a:gd name="connsiteY4" fmla="*/ 133359 h 568207"/>
                <a:gd name="connsiteX5" fmla="*/ 527059 w 919435"/>
                <a:gd name="connsiteY5" fmla="*/ 142257 h 568207"/>
                <a:gd name="connsiteX6" fmla="*/ 449580 w 919435"/>
                <a:gd name="connsiteY6" fmla="*/ 317544 h 568207"/>
                <a:gd name="connsiteX7" fmla="*/ 628650 w 919435"/>
                <a:gd name="connsiteY7" fmla="*/ 328974 h 568207"/>
                <a:gd name="connsiteX8" fmla="*/ 838200 w 919435"/>
                <a:gd name="connsiteY8" fmla="*/ 340404 h 568207"/>
                <a:gd name="connsiteX9" fmla="*/ 807720 w 919435"/>
                <a:gd name="connsiteY9" fmla="*/ 492804 h 568207"/>
                <a:gd name="connsiteX10" fmla="*/ 685800 w 919435"/>
                <a:gd name="connsiteY10" fmla="*/ 504234 h 568207"/>
                <a:gd name="connsiteX11" fmla="*/ 502920 w 919435"/>
                <a:gd name="connsiteY11" fmla="*/ 508044 h 568207"/>
                <a:gd name="connsiteX12" fmla="*/ 331470 w 919435"/>
                <a:gd name="connsiteY12" fmla="*/ 561384 h 568207"/>
                <a:gd name="connsiteX13" fmla="*/ 3810 w 919435"/>
                <a:gd name="connsiteY13" fmla="*/ 542334 h 568207"/>
                <a:gd name="connsiteX14" fmla="*/ 0 w 919435"/>
                <a:gd name="connsiteY14" fmla="*/ 207054 h 568207"/>
                <a:gd name="connsiteX15" fmla="*/ 167640 w 919435"/>
                <a:gd name="connsiteY15" fmla="*/ 165144 h 568207"/>
                <a:gd name="connsiteX0" fmla="*/ 167640 w 914346"/>
                <a:gd name="connsiteY0" fmla="*/ 165144 h 568207"/>
                <a:gd name="connsiteX1" fmla="*/ 441960 w 914346"/>
                <a:gd name="connsiteY1" fmla="*/ 8934 h 568207"/>
                <a:gd name="connsiteX2" fmla="*/ 803910 w 914346"/>
                <a:gd name="connsiteY2" fmla="*/ 27984 h 568207"/>
                <a:gd name="connsiteX3" fmla="*/ 876300 w 914346"/>
                <a:gd name="connsiteY3" fmla="*/ 69894 h 568207"/>
                <a:gd name="connsiteX4" fmla="*/ 914346 w 914346"/>
                <a:gd name="connsiteY4" fmla="*/ 138448 h 568207"/>
                <a:gd name="connsiteX5" fmla="*/ 527059 w 914346"/>
                <a:gd name="connsiteY5" fmla="*/ 142257 h 568207"/>
                <a:gd name="connsiteX6" fmla="*/ 449580 w 914346"/>
                <a:gd name="connsiteY6" fmla="*/ 317544 h 568207"/>
                <a:gd name="connsiteX7" fmla="*/ 628650 w 914346"/>
                <a:gd name="connsiteY7" fmla="*/ 328974 h 568207"/>
                <a:gd name="connsiteX8" fmla="*/ 838200 w 914346"/>
                <a:gd name="connsiteY8" fmla="*/ 340404 h 568207"/>
                <a:gd name="connsiteX9" fmla="*/ 807720 w 914346"/>
                <a:gd name="connsiteY9" fmla="*/ 492804 h 568207"/>
                <a:gd name="connsiteX10" fmla="*/ 685800 w 914346"/>
                <a:gd name="connsiteY10" fmla="*/ 504234 h 568207"/>
                <a:gd name="connsiteX11" fmla="*/ 502920 w 914346"/>
                <a:gd name="connsiteY11" fmla="*/ 508044 h 568207"/>
                <a:gd name="connsiteX12" fmla="*/ 331470 w 914346"/>
                <a:gd name="connsiteY12" fmla="*/ 561384 h 568207"/>
                <a:gd name="connsiteX13" fmla="*/ 3810 w 914346"/>
                <a:gd name="connsiteY13" fmla="*/ 542334 h 568207"/>
                <a:gd name="connsiteX14" fmla="*/ 0 w 914346"/>
                <a:gd name="connsiteY14" fmla="*/ 207054 h 568207"/>
                <a:gd name="connsiteX15" fmla="*/ 167640 w 914346"/>
                <a:gd name="connsiteY15" fmla="*/ 165144 h 568207"/>
                <a:gd name="connsiteX0" fmla="*/ 167640 w 928153"/>
                <a:gd name="connsiteY0" fmla="*/ 165144 h 568207"/>
                <a:gd name="connsiteX1" fmla="*/ 441960 w 928153"/>
                <a:gd name="connsiteY1" fmla="*/ 8934 h 568207"/>
                <a:gd name="connsiteX2" fmla="*/ 803910 w 928153"/>
                <a:gd name="connsiteY2" fmla="*/ 27984 h 568207"/>
                <a:gd name="connsiteX3" fmla="*/ 914346 w 928153"/>
                <a:gd name="connsiteY3" fmla="*/ 138448 h 568207"/>
                <a:gd name="connsiteX4" fmla="*/ 527059 w 928153"/>
                <a:gd name="connsiteY4" fmla="*/ 142257 h 568207"/>
                <a:gd name="connsiteX5" fmla="*/ 449580 w 928153"/>
                <a:gd name="connsiteY5" fmla="*/ 317544 h 568207"/>
                <a:gd name="connsiteX6" fmla="*/ 628650 w 928153"/>
                <a:gd name="connsiteY6" fmla="*/ 328974 h 568207"/>
                <a:gd name="connsiteX7" fmla="*/ 838200 w 928153"/>
                <a:gd name="connsiteY7" fmla="*/ 340404 h 568207"/>
                <a:gd name="connsiteX8" fmla="*/ 807720 w 928153"/>
                <a:gd name="connsiteY8" fmla="*/ 492804 h 568207"/>
                <a:gd name="connsiteX9" fmla="*/ 685800 w 928153"/>
                <a:gd name="connsiteY9" fmla="*/ 504234 h 568207"/>
                <a:gd name="connsiteX10" fmla="*/ 502920 w 928153"/>
                <a:gd name="connsiteY10" fmla="*/ 508044 h 568207"/>
                <a:gd name="connsiteX11" fmla="*/ 331470 w 928153"/>
                <a:gd name="connsiteY11" fmla="*/ 561384 h 568207"/>
                <a:gd name="connsiteX12" fmla="*/ 3810 w 928153"/>
                <a:gd name="connsiteY12" fmla="*/ 542334 h 568207"/>
                <a:gd name="connsiteX13" fmla="*/ 0 w 928153"/>
                <a:gd name="connsiteY13" fmla="*/ 207054 h 568207"/>
                <a:gd name="connsiteX14" fmla="*/ 167640 w 928153"/>
                <a:gd name="connsiteY14" fmla="*/ 165144 h 568207"/>
                <a:gd name="connsiteX0" fmla="*/ 167640 w 901970"/>
                <a:gd name="connsiteY0" fmla="*/ 165144 h 568207"/>
                <a:gd name="connsiteX1" fmla="*/ 441960 w 901970"/>
                <a:gd name="connsiteY1" fmla="*/ 8934 h 568207"/>
                <a:gd name="connsiteX2" fmla="*/ 803910 w 901970"/>
                <a:gd name="connsiteY2" fmla="*/ 27984 h 568207"/>
                <a:gd name="connsiteX3" fmla="*/ 883813 w 901970"/>
                <a:gd name="connsiteY3" fmla="*/ 138448 h 568207"/>
                <a:gd name="connsiteX4" fmla="*/ 527059 w 901970"/>
                <a:gd name="connsiteY4" fmla="*/ 142257 h 568207"/>
                <a:gd name="connsiteX5" fmla="*/ 449580 w 901970"/>
                <a:gd name="connsiteY5" fmla="*/ 317544 h 568207"/>
                <a:gd name="connsiteX6" fmla="*/ 628650 w 901970"/>
                <a:gd name="connsiteY6" fmla="*/ 328974 h 568207"/>
                <a:gd name="connsiteX7" fmla="*/ 838200 w 901970"/>
                <a:gd name="connsiteY7" fmla="*/ 340404 h 568207"/>
                <a:gd name="connsiteX8" fmla="*/ 807720 w 901970"/>
                <a:gd name="connsiteY8" fmla="*/ 492804 h 568207"/>
                <a:gd name="connsiteX9" fmla="*/ 685800 w 901970"/>
                <a:gd name="connsiteY9" fmla="*/ 504234 h 568207"/>
                <a:gd name="connsiteX10" fmla="*/ 502920 w 901970"/>
                <a:gd name="connsiteY10" fmla="*/ 508044 h 568207"/>
                <a:gd name="connsiteX11" fmla="*/ 331470 w 901970"/>
                <a:gd name="connsiteY11" fmla="*/ 561384 h 568207"/>
                <a:gd name="connsiteX12" fmla="*/ 3810 w 901970"/>
                <a:gd name="connsiteY12" fmla="*/ 542334 h 568207"/>
                <a:gd name="connsiteX13" fmla="*/ 0 w 901970"/>
                <a:gd name="connsiteY13" fmla="*/ 207054 h 568207"/>
                <a:gd name="connsiteX14" fmla="*/ 167640 w 901970"/>
                <a:gd name="connsiteY14" fmla="*/ 165144 h 568207"/>
                <a:gd name="connsiteX0" fmla="*/ 167640 w 883813"/>
                <a:gd name="connsiteY0" fmla="*/ 165144 h 568207"/>
                <a:gd name="connsiteX1" fmla="*/ 441960 w 883813"/>
                <a:gd name="connsiteY1" fmla="*/ 8934 h 568207"/>
                <a:gd name="connsiteX2" fmla="*/ 803910 w 883813"/>
                <a:gd name="connsiteY2" fmla="*/ 27984 h 568207"/>
                <a:gd name="connsiteX3" fmla="*/ 883813 w 883813"/>
                <a:gd name="connsiteY3" fmla="*/ 138448 h 568207"/>
                <a:gd name="connsiteX4" fmla="*/ 527059 w 883813"/>
                <a:gd name="connsiteY4" fmla="*/ 142257 h 568207"/>
                <a:gd name="connsiteX5" fmla="*/ 449580 w 883813"/>
                <a:gd name="connsiteY5" fmla="*/ 317544 h 568207"/>
                <a:gd name="connsiteX6" fmla="*/ 628650 w 883813"/>
                <a:gd name="connsiteY6" fmla="*/ 328974 h 568207"/>
                <a:gd name="connsiteX7" fmla="*/ 838200 w 883813"/>
                <a:gd name="connsiteY7" fmla="*/ 340404 h 568207"/>
                <a:gd name="connsiteX8" fmla="*/ 807720 w 883813"/>
                <a:gd name="connsiteY8" fmla="*/ 492804 h 568207"/>
                <a:gd name="connsiteX9" fmla="*/ 685800 w 883813"/>
                <a:gd name="connsiteY9" fmla="*/ 504234 h 568207"/>
                <a:gd name="connsiteX10" fmla="*/ 502920 w 883813"/>
                <a:gd name="connsiteY10" fmla="*/ 508044 h 568207"/>
                <a:gd name="connsiteX11" fmla="*/ 331470 w 883813"/>
                <a:gd name="connsiteY11" fmla="*/ 561384 h 568207"/>
                <a:gd name="connsiteX12" fmla="*/ 3810 w 883813"/>
                <a:gd name="connsiteY12" fmla="*/ 542334 h 568207"/>
                <a:gd name="connsiteX13" fmla="*/ 0 w 883813"/>
                <a:gd name="connsiteY13" fmla="*/ 207054 h 568207"/>
                <a:gd name="connsiteX14" fmla="*/ 167640 w 883813"/>
                <a:gd name="connsiteY14" fmla="*/ 165144 h 568207"/>
                <a:gd name="connsiteX0" fmla="*/ 167640 w 883813"/>
                <a:gd name="connsiteY0" fmla="*/ 165760 h 568823"/>
                <a:gd name="connsiteX1" fmla="*/ 441960 w 883813"/>
                <a:gd name="connsiteY1" fmla="*/ 9550 h 568823"/>
                <a:gd name="connsiteX2" fmla="*/ 763199 w 883813"/>
                <a:gd name="connsiteY2" fmla="*/ 26055 h 568823"/>
                <a:gd name="connsiteX3" fmla="*/ 883813 w 883813"/>
                <a:gd name="connsiteY3" fmla="*/ 139064 h 568823"/>
                <a:gd name="connsiteX4" fmla="*/ 527059 w 883813"/>
                <a:gd name="connsiteY4" fmla="*/ 142873 h 568823"/>
                <a:gd name="connsiteX5" fmla="*/ 449580 w 883813"/>
                <a:gd name="connsiteY5" fmla="*/ 318160 h 568823"/>
                <a:gd name="connsiteX6" fmla="*/ 628650 w 883813"/>
                <a:gd name="connsiteY6" fmla="*/ 329590 h 568823"/>
                <a:gd name="connsiteX7" fmla="*/ 838200 w 883813"/>
                <a:gd name="connsiteY7" fmla="*/ 341020 h 568823"/>
                <a:gd name="connsiteX8" fmla="*/ 807720 w 883813"/>
                <a:gd name="connsiteY8" fmla="*/ 493420 h 568823"/>
                <a:gd name="connsiteX9" fmla="*/ 685800 w 883813"/>
                <a:gd name="connsiteY9" fmla="*/ 504850 h 568823"/>
                <a:gd name="connsiteX10" fmla="*/ 502920 w 883813"/>
                <a:gd name="connsiteY10" fmla="*/ 508660 h 568823"/>
                <a:gd name="connsiteX11" fmla="*/ 331470 w 883813"/>
                <a:gd name="connsiteY11" fmla="*/ 562000 h 568823"/>
                <a:gd name="connsiteX12" fmla="*/ 3810 w 883813"/>
                <a:gd name="connsiteY12" fmla="*/ 542950 h 568823"/>
                <a:gd name="connsiteX13" fmla="*/ 0 w 883813"/>
                <a:gd name="connsiteY13" fmla="*/ 207670 h 568823"/>
                <a:gd name="connsiteX14" fmla="*/ 167640 w 883813"/>
                <a:gd name="connsiteY14" fmla="*/ 165760 h 568823"/>
                <a:gd name="connsiteX0" fmla="*/ 167640 w 883813"/>
                <a:gd name="connsiteY0" fmla="*/ 168085 h 571148"/>
                <a:gd name="connsiteX1" fmla="*/ 441960 w 883813"/>
                <a:gd name="connsiteY1" fmla="*/ 11875 h 571148"/>
                <a:gd name="connsiteX2" fmla="*/ 796277 w 883813"/>
                <a:gd name="connsiteY2" fmla="*/ 20746 h 571148"/>
                <a:gd name="connsiteX3" fmla="*/ 883813 w 883813"/>
                <a:gd name="connsiteY3" fmla="*/ 141389 h 571148"/>
                <a:gd name="connsiteX4" fmla="*/ 527059 w 883813"/>
                <a:gd name="connsiteY4" fmla="*/ 145198 h 571148"/>
                <a:gd name="connsiteX5" fmla="*/ 449580 w 883813"/>
                <a:gd name="connsiteY5" fmla="*/ 320485 h 571148"/>
                <a:gd name="connsiteX6" fmla="*/ 628650 w 883813"/>
                <a:gd name="connsiteY6" fmla="*/ 331915 h 571148"/>
                <a:gd name="connsiteX7" fmla="*/ 838200 w 883813"/>
                <a:gd name="connsiteY7" fmla="*/ 343345 h 571148"/>
                <a:gd name="connsiteX8" fmla="*/ 807720 w 883813"/>
                <a:gd name="connsiteY8" fmla="*/ 495745 h 571148"/>
                <a:gd name="connsiteX9" fmla="*/ 685800 w 883813"/>
                <a:gd name="connsiteY9" fmla="*/ 507175 h 571148"/>
                <a:gd name="connsiteX10" fmla="*/ 502920 w 883813"/>
                <a:gd name="connsiteY10" fmla="*/ 510985 h 571148"/>
                <a:gd name="connsiteX11" fmla="*/ 331470 w 883813"/>
                <a:gd name="connsiteY11" fmla="*/ 564325 h 571148"/>
                <a:gd name="connsiteX12" fmla="*/ 3810 w 883813"/>
                <a:gd name="connsiteY12" fmla="*/ 545275 h 571148"/>
                <a:gd name="connsiteX13" fmla="*/ 0 w 883813"/>
                <a:gd name="connsiteY13" fmla="*/ 209995 h 571148"/>
                <a:gd name="connsiteX14" fmla="*/ 167640 w 883813"/>
                <a:gd name="connsiteY14" fmla="*/ 168085 h 571148"/>
                <a:gd name="connsiteX0" fmla="*/ 167640 w 883813"/>
                <a:gd name="connsiteY0" fmla="*/ 163591 h 566654"/>
                <a:gd name="connsiteX1" fmla="*/ 441960 w 883813"/>
                <a:gd name="connsiteY1" fmla="*/ 7381 h 566654"/>
                <a:gd name="connsiteX2" fmla="*/ 796277 w 883813"/>
                <a:gd name="connsiteY2" fmla="*/ 16252 h 566654"/>
                <a:gd name="connsiteX3" fmla="*/ 883813 w 883813"/>
                <a:gd name="connsiteY3" fmla="*/ 136895 h 566654"/>
                <a:gd name="connsiteX4" fmla="*/ 527059 w 883813"/>
                <a:gd name="connsiteY4" fmla="*/ 140704 h 566654"/>
                <a:gd name="connsiteX5" fmla="*/ 449580 w 883813"/>
                <a:gd name="connsiteY5" fmla="*/ 315991 h 566654"/>
                <a:gd name="connsiteX6" fmla="*/ 628650 w 883813"/>
                <a:gd name="connsiteY6" fmla="*/ 327421 h 566654"/>
                <a:gd name="connsiteX7" fmla="*/ 838200 w 883813"/>
                <a:gd name="connsiteY7" fmla="*/ 338851 h 566654"/>
                <a:gd name="connsiteX8" fmla="*/ 807720 w 883813"/>
                <a:gd name="connsiteY8" fmla="*/ 491251 h 566654"/>
                <a:gd name="connsiteX9" fmla="*/ 685800 w 883813"/>
                <a:gd name="connsiteY9" fmla="*/ 502681 h 566654"/>
                <a:gd name="connsiteX10" fmla="*/ 502920 w 883813"/>
                <a:gd name="connsiteY10" fmla="*/ 506491 h 566654"/>
                <a:gd name="connsiteX11" fmla="*/ 331470 w 883813"/>
                <a:gd name="connsiteY11" fmla="*/ 559831 h 566654"/>
                <a:gd name="connsiteX12" fmla="*/ 3810 w 883813"/>
                <a:gd name="connsiteY12" fmla="*/ 540781 h 566654"/>
                <a:gd name="connsiteX13" fmla="*/ 0 w 883813"/>
                <a:gd name="connsiteY13" fmla="*/ 205501 h 566654"/>
                <a:gd name="connsiteX14" fmla="*/ 167640 w 883813"/>
                <a:gd name="connsiteY14" fmla="*/ 163591 h 56665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27059 w 883813"/>
                <a:gd name="connsiteY4" fmla="*/ 141564 h 567514"/>
                <a:gd name="connsiteX5" fmla="*/ 449580 w 883813"/>
                <a:gd name="connsiteY5" fmla="*/ 316851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04159 w 883813"/>
                <a:gd name="connsiteY4" fmla="*/ 139020 h 567514"/>
                <a:gd name="connsiteX5" fmla="*/ 449580 w 883813"/>
                <a:gd name="connsiteY5" fmla="*/ 316851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04159 w 883813"/>
                <a:gd name="connsiteY4" fmla="*/ 139020 h 567514"/>
                <a:gd name="connsiteX5" fmla="*/ 449580 w 883813"/>
                <a:gd name="connsiteY5" fmla="*/ 316851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04159 w 883813"/>
                <a:gd name="connsiteY4" fmla="*/ 139020 h 567514"/>
                <a:gd name="connsiteX5" fmla="*/ 472480 w 883813"/>
                <a:gd name="connsiteY5" fmla="*/ 316851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04159 w 883813"/>
                <a:gd name="connsiteY4" fmla="*/ 139020 h 567514"/>
                <a:gd name="connsiteX5" fmla="*/ 472480 w 883813"/>
                <a:gd name="connsiteY5" fmla="*/ 316851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04159 w 883813"/>
                <a:gd name="connsiteY4" fmla="*/ 139020 h 567514"/>
                <a:gd name="connsiteX5" fmla="*/ 495380 w 883813"/>
                <a:gd name="connsiteY5" fmla="*/ 321940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04159 w 883813"/>
                <a:gd name="connsiteY4" fmla="*/ 139020 h 567514"/>
                <a:gd name="connsiteX5" fmla="*/ 495380 w 883813"/>
                <a:gd name="connsiteY5" fmla="*/ 321940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16881 w 883813"/>
                <a:gd name="connsiteY4" fmla="*/ 128842 h 567514"/>
                <a:gd name="connsiteX5" fmla="*/ 495380 w 883813"/>
                <a:gd name="connsiteY5" fmla="*/ 321940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16881 w 883813"/>
                <a:gd name="connsiteY4" fmla="*/ 139020 h 567514"/>
                <a:gd name="connsiteX5" fmla="*/ 495380 w 883813"/>
                <a:gd name="connsiteY5" fmla="*/ 321940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16881 w 883813"/>
                <a:gd name="connsiteY4" fmla="*/ 139020 h 567514"/>
                <a:gd name="connsiteX5" fmla="*/ 495380 w 883813"/>
                <a:gd name="connsiteY5" fmla="*/ 321940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16881 w 883813"/>
                <a:gd name="connsiteY4" fmla="*/ 139020 h 567514"/>
                <a:gd name="connsiteX5" fmla="*/ 495380 w 883813"/>
                <a:gd name="connsiteY5" fmla="*/ 321940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4795"/>
                <a:gd name="connsiteX1" fmla="*/ 441960 w 883813"/>
                <a:gd name="connsiteY1" fmla="*/ 8241 h 564795"/>
                <a:gd name="connsiteX2" fmla="*/ 796277 w 883813"/>
                <a:gd name="connsiteY2" fmla="*/ 17112 h 564795"/>
                <a:gd name="connsiteX3" fmla="*/ 883813 w 883813"/>
                <a:gd name="connsiteY3" fmla="*/ 137755 h 564795"/>
                <a:gd name="connsiteX4" fmla="*/ 516881 w 883813"/>
                <a:gd name="connsiteY4" fmla="*/ 139020 h 564795"/>
                <a:gd name="connsiteX5" fmla="*/ 495380 w 883813"/>
                <a:gd name="connsiteY5" fmla="*/ 321940 h 564795"/>
                <a:gd name="connsiteX6" fmla="*/ 628650 w 883813"/>
                <a:gd name="connsiteY6" fmla="*/ 328281 h 564795"/>
                <a:gd name="connsiteX7" fmla="*/ 838200 w 883813"/>
                <a:gd name="connsiteY7" fmla="*/ 339711 h 564795"/>
                <a:gd name="connsiteX8" fmla="*/ 807720 w 883813"/>
                <a:gd name="connsiteY8" fmla="*/ 492111 h 564795"/>
                <a:gd name="connsiteX9" fmla="*/ 685800 w 883813"/>
                <a:gd name="connsiteY9" fmla="*/ 503541 h 564795"/>
                <a:gd name="connsiteX10" fmla="*/ 502920 w 883813"/>
                <a:gd name="connsiteY10" fmla="*/ 507351 h 564795"/>
                <a:gd name="connsiteX11" fmla="*/ 331470 w 883813"/>
                <a:gd name="connsiteY11" fmla="*/ 560691 h 564795"/>
                <a:gd name="connsiteX12" fmla="*/ 3811 w 883813"/>
                <a:gd name="connsiteY12" fmla="*/ 503474 h 564795"/>
                <a:gd name="connsiteX13" fmla="*/ 0 w 883813"/>
                <a:gd name="connsiteY13" fmla="*/ 206361 h 564795"/>
                <a:gd name="connsiteX14" fmla="*/ 167640 w 883813"/>
                <a:gd name="connsiteY14" fmla="*/ 164451 h 564795"/>
                <a:gd name="connsiteX0" fmla="*/ 167640 w 883813"/>
                <a:gd name="connsiteY0" fmla="*/ 164451 h 550307"/>
                <a:gd name="connsiteX1" fmla="*/ 441960 w 883813"/>
                <a:gd name="connsiteY1" fmla="*/ 8241 h 550307"/>
                <a:gd name="connsiteX2" fmla="*/ 796277 w 883813"/>
                <a:gd name="connsiteY2" fmla="*/ 17112 h 550307"/>
                <a:gd name="connsiteX3" fmla="*/ 883813 w 883813"/>
                <a:gd name="connsiteY3" fmla="*/ 137755 h 550307"/>
                <a:gd name="connsiteX4" fmla="*/ 516881 w 883813"/>
                <a:gd name="connsiteY4" fmla="*/ 139020 h 550307"/>
                <a:gd name="connsiteX5" fmla="*/ 495380 w 883813"/>
                <a:gd name="connsiteY5" fmla="*/ 321940 h 550307"/>
                <a:gd name="connsiteX6" fmla="*/ 628650 w 883813"/>
                <a:gd name="connsiteY6" fmla="*/ 328281 h 550307"/>
                <a:gd name="connsiteX7" fmla="*/ 838200 w 883813"/>
                <a:gd name="connsiteY7" fmla="*/ 339711 h 550307"/>
                <a:gd name="connsiteX8" fmla="*/ 807720 w 883813"/>
                <a:gd name="connsiteY8" fmla="*/ 492111 h 550307"/>
                <a:gd name="connsiteX9" fmla="*/ 685800 w 883813"/>
                <a:gd name="connsiteY9" fmla="*/ 503541 h 550307"/>
                <a:gd name="connsiteX10" fmla="*/ 502920 w 883813"/>
                <a:gd name="connsiteY10" fmla="*/ 507351 h 550307"/>
                <a:gd name="connsiteX11" fmla="*/ 331470 w 883813"/>
                <a:gd name="connsiteY11" fmla="*/ 545424 h 550307"/>
                <a:gd name="connsiteX12" fmla="*/ 3811 w 883813"/>
                <a:gd name="connsiteY12" fmla="*/ 503474 h 550307"/>
                <a:gd name="connsiteX13" fmla="*/ 0 w 883813"/>
                <a:gd name="connsiteY13" fmla="*/ 206361 h 550307"/>
                <a:gd name="connsiteX14" fmla="*/ 167640 w 883813"/>
                <a:gd name="connsiteY14" fmla="*/ 164451 h 550307"/>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5800 w 883813"/>
                <a:gd name="connsiteY9" fmla="*/ 503541 h 545424"/>
                <a:gd name="connsiteX10" fmla="*/ 502920 w 883813"/>
                <a:gd name="connsiteY10" fmla="*/ 507351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5800 w 883813"/>
                <a:gd name="connsiteY9" fmla="*/ 503541 h 545424"/>
                <a:gd name="connsiteX10" fmla="*/ 502920 w 883813"/>
                <a:gd name="connsiteY10" fmla="*/ 507351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5800 w 883813"/>
                <a:gd name="connsiteY9" fmla="*/ 503541 h 545424"/>
                <a:gd name="connsiteX10" fmla="*/ 523276 w 883813"/>
                <a:gd name="connsiteY10" fmla="*/ 507351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5800 w 883813"/>
                <a:gd name="connsiteY9" fmla="*/ 503541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5800 w 883813"/>
                <a:gd name="connsiteY9" fmla="*/ 495908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3256 w 883813"/>
                <a:gd name="connsiteY9" fmla="*/ 506086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43548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33370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33370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33370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33370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33370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33370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83813" h="545424">
                  <a:moveTo>
                    <a:pt x="167640" y="164451"/>
                  </a:moveTo>
                  <a:cubicBezTo>
                    <a:pt x="295910" y="118731"/>
                    <a:pt x="336550" y="46341"/>
                    <a:pt x="441960" y="8241"/>
                  </a:cubicBezTo>
                  <a:cubicBezTo>
                    <a:pt x="490220" y="-12079"/>
                    <a:pt x="676879" y="10788"/>
                    <a:pt x="796277" y="17112"/>
                  </a:cubicBezTo>
                  <a:cubicBezTo>
                    <a:pt x="875008" y="38698"/>
                    <a:pt x="868888" y="98354"/>
                    <a:pt x="883813" y="137755"/>
                  </a:cubicBezTo>
                  <a:cubicBezTo>
                    <a:pt x="757262" y="138177"/>
                    <a:pt x="645976" y="130964"/>
                    <a:pt x="516881" y="139020"/>
                  </a:cubicBezTo>
                  <a:cubicBezTo>
                    <a:pt x="486489" y="202525"/>
                    <a:pt x="491588" y="264791"/>
                    <a:pt x="495380" y="321940"/>
                  </a:cubicBezTo>
                  <a:cubicBezTo>
                    <a:pt x="555070" y="343530"/>
                    <a:pt x="555027" y="339703"/>
                    <a:pt x="631195" y="333370"/>
                  </a:cubicBezTo>
                  <a:cubicBezTo>
                    <a:pt x="725175" y="327020"/>
                    <a:pt x="772169" y="327025"/>
                    <a:pt x="838200" y="339711"/>
                  </a:cubicBezTo>
                  <a:cubicBezTo>
                    <a:pt x="901700" y="354951"/>
                    <a:pt x="888974" y="487036"/>
                    <a:pt x="807720" y="492111"/>
                  </a:cubicBezTo>
                  <a:cubicBezTo>
                    <a:pt x="760295" y="501009"/>
                    <a:pt x="735770" y="507366"/>
                    <a:pt x="688345" y="503542"/>
                  </a:cubicBezTo>
                  <a:cubicBezTo>
                    <a:pt x="624845" y="504825"/>
                    <a:pt x="609636" y="494638"/>
                    <a:pt x="523276" y="499718"/>
                  </a:cubicBezTo>
                  <a:cubicBezTo>
                    <a:pt x="428026" y="520038"/>
                    <a:pt x="417887" y="542889"/>
                    <a:pt x="331470" y="545424"/>
                  </a:cubicBezTo>
                  <a:cubicBezTo>
                    <a:pt x="238738" y="545384"/>
                    <a:pt x="114301" y="503474"/>
                    <a:pt x="3811" y="503474"/>
                  </a:cubicBezTo>
                  <a:cubicBezTo>
                    <a:pt x="2541" y="404436"/>
                    <a:pt x="1270" y="305399"/>
                    <a:pt x="0" y="206361"/>
                  </a:cubicBezTo>
                  <a:lnTo>
                    <a:pt x="167640" y="164451"/>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3"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64"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7"/>
              </a:rPr>
              <a:t>www.rapidbbs.cn</a:t>
            </a:r>
            <a:endParaRPr lang="zh-CN" altLang="en-US" sz="1200" b="0">
              <a:latin typeface="Arial" charset="0"/>
              <a:ea typeface="ＭＳ Ｐゴシック" pitchFamily="34" charset="-128"/>
            </a:endParaRPr>
          </a:p>
        </p:txBody>
      </p:sp>
      <p:pic>
        <p:nvPicPr>
          <p:cNvPr id="65" name="Picture 2">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24609205"/>
      </p:ext>
    </p:extLst>
  </p:cSld>
  <p:clrMapOvr>
    <a:masterClrMapping/>
  </p:clrMapOvr>
  <p:transition>
    <p:fade/>
  </p:transition>
  <p:timing>
    <p:tnLst>
      <p:par>
        <p:cTn id="1" dur="indefinite" restart="never" nodeType="tmRoot"/>
      </p:par>
    </p:tnLst>
  </p:timing>
</p:sld>
</file>

<file path=ppt/slides/slide4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nagement Challenges</a:t>
            </a:r>
            <a:endParaRPr lang="en-US" dirty="0"/>
          </a:p>
        </p:txBody>
      </p:sp>
      <p:sp>
        <p:nvSpPr>
          <p:cNvPr id="4" name="Rectangle 3"/>
          <p:cNvSpPr/>
          <p:nvPr/>
        </p:nvSpPr>
        <p:spPr>
          <a:xfrm>
            <a:off x="6396047" y="3142851"/>
            <a:ext cx="1777760" cy="5063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r>
              <a:rPr lang="en-US" sz="1200" b="1" dirty="0">
                <a:solidFill>
                  <a:schemeClr val="accent1"/>
                </a:solidFill>
                <a:latin typeface="Segoe UI Light" pitchFamily="34" charset="0"/>
              </a:rPr>
              <a:t>PROLIFERATION OF</a:t>
            </a:r>
          </a:p>
          <a:p>
            <a:pPr algn="ctr"/>
            <a:r>
              <a:rPr lang="en-US" sz="1200" b="1" dirty="0">
                <a:solidFill>
                  <a:schemeClr val="accent1"/>
                </a:solidFill>
                <a:latin typeface="Segoe UI Light" pitchFamily="34" charset="0"/>
              </a:rPr>
              <a:t>GROUPS &amp; USERS</a:t>
            </a:r>
          </a:p>
        </p:txBody>
      </p:sp>
      <p:sp>
        <p:nvSpPr>
          <p:cNvPr id="5" name="Rectangle 4"/>
          <p:cNvSpPr/>
          <p:nvPr/>
        </p:nvSpPr>
        <p:spPr>
          <a:xfrm>
            <a:off x="4585884" y="3142851"/>
            <a:ext cx="1776350" cy="5063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r>
              <a:rPr lang="en-US" sz="1200" b="1" dirty="0">
                <a:solidFill>
                  <a:schemeClr val="accent1"/>
                </a:solidFill>
                <a:latin typeface="Segoe UI Light" pitchFamily="34" charset="0"/>
              </a:rPr>
              <a:t>MERGERS &amp;</a:t>
            </a:r>
            <a:br>
              <a:rPr lang="en-US" sz="1200" b="1" dirty="0">
                <a:solidFill>
                  <a:schemeClr val="accent1"/>
                </a:solidFill>
                <a:latin typeface="Segoe UI Light" pitchFamily="34" charset="0"/>
              </a:rPr>
            </a:br>
            <a:r>
              <a:rPr lang="en-US" sz="1200" b="1" dirty="0">
                <a:solidFill>
                  <a:schemeClr val="accent1"/>
                </a:solidFill>
                <a:latin typeface="Segoe UI Light" pitchFamily="34" charset="0"/>
              </a:rPr>
              <a:t>ACQUISITIONS</a:t>
            </a:r>
          </a:p>
        </p:txBody>
      </p:sp>
      <p:sp>
        <p:nvSpPr>
          <p:cNvPr id="6" name="Rectangle 5"/>
          <p:cNvSpPr/>
          <p:nvPr/>
        </p:nvSpPr>
        <p:spPr>
          <a:xfrm>
            <a:off x="2781072" y="3142851"/>
            <a:ext cx="1776350" cy="5063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r>
              <a:rPr lang="en-US" sz="1200" b="1" dirty="0">
                <a:solidFill>
                  <a:schemeClr val="accent1"/>
                </a:solidFill>
                <a:latin typeface="Segoe UI Light" pitchFamily="34" charset="0"/>
              </a:rPr>
              <a:t>RAPID ON-BOARDING</a:t>
            </a:r>
          </a:p>
          <a:p>
            <a:pPr algn="ctr"/>
            <a:r>
              <a:rPr lang="en-US" sz="1200" b="1" dirty="0">
                <a:solidFill>
                  <a:schemeClr val="accent1"/>
                </a:solidFill>
                <a:latin typeface="Segoe UI Light" pitchFamily="34" charset="0"/>
              </a:rPr>
              <a:t>OF SERVICES</a:t>
            </a:r>
          </a:p>
        </p:txBody>
      </p:sp>
      <p:sp>
        <p:nvSpPr>
          <p:cNvPr id="7" name="Rectangle 6"/>
          <p:cNvSpPr/>
          <p:nvPr/>
        </p:nvSpPr>
        <p:spPr>
          <a:xfrm>
            <a:off x="960190" y="3142851"/>
            <a:ext cx="1792300" cy="5063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r>
              <a:rPr lang="en-US" sz="1200" b="1" dirty="0">
                <a:solidFill>
                  <a:schemeClr val="accent1"/>
                </a:solidFill>
                <a:latin typeface="Segoe UI Light" pitchFamily="34" charset="0"/>
              </a:rPr>
              <a:t>ADAPTING TO</a:t>
            </a:r>
            <a:br>
              <a:rPr lang="en-US" sz="1200" b="1" dirty="0">
                <a:solidFill>
                  <a:schemeClr val="accent1"/>
                </a:solidFill>
                <a:latin typeface="Segoe UI Light" pitchFamily="34" charset="0"/>
              </a:rPr>
            </a:br>
            <a:r>
              <a:rPr lang="en-US" sz="1200" b="1" dirty="0">
                <a:solidFill>
                  <a:schemeClr val="accent1"/>
                </a:solidFill>
                <a:latin typeface="Segoe UI Light" pitchFamily="34" charset="0"/>
              </a:rPr>
              <a:t>CLOUD</a:t>
            </a:r>
          </a:p>
        </p:txBody>
      </p:sp>
      <p:sp>
        <p:nvSpPr>
          <p:cNvPr id="8" name="Rectangle 7"/>
          <p:cNvSpPr/>
          <p:nvPr/>
        </p:nvSpPr>
        <p:spPr>
          <a:xfrm>
            <a:off x="950612" y="1285427"/>
            <a:ext cx="7213618" cy="18574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endParaRPr lang="en-US" dirty="0"/>
          </a:p>
        </p:txBody>
      </p:sp>
      <p:cxnSp>
        <p:nvCxnSpPr>
          <p:cNvPr id="9" name="Straight Connector 8"/>
          <p:cNvCxnSpPr/>
          <p:nvPr/>
        </p:nvCxnSpPr>
        <p:spPr>
          <a:xfrm>
            <a:off x="2752489" y="1285426"/>
            <a:ext cx="11104" cy="184440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stCxn id="8" idx="0"/>
          </p:cNvCxnSpPr>
          <p:nvPr/>
        </p:nvCxnSpPr>
        <p:spPr>
          <a:xfrm>
            <a:off x="4557423" y="1285425"/>
            <a:ext cx="13387" cy="184436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6362236" y="1285426"/>
            <a:ext cx="8167" cy="1844906"/>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2" name="Group 11"/>
          <p:cNvGrpSpPr/>
          <p:nvPr/>
        </p:nvGrpSpPr>
        <p:grpSpPr>
          <a:xfrm>
            <a:off x="945114" y="1170313"/>
            <a:ext cx="7213617" cy="115112"/>
            <a:chOff x="1259822" y="566905"/>
            <a:chExt cx="9615651" cy="675150"/>
          </a:xfrm>
        </p:grpSpPr>
        <p:sp>
          <p:nvSpPr>
            <p:cNvPr id="13" name="Rectangle 12"/>
            <p:cNvSpPr/>
            <p:nvPr/>
          </p:nvSpPr>
          <p:spPr>
            <a:xfrm>
              <a:off x="8505744" y="566905"/>
              <a:ext cx="2369729" cy="6751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p:nvSpPr>
          <p:spPr>
            <a:xfrm>
              <a:off x="6092824" y="566905"/>
              <a:ext cx="2367850" cy="6751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p:cNvSpPr/>
            <p:nvPr/>
          </p:nvSpPr>
          <p:spPr>
            <a:xfrm>
              <a:off x="3687034" y="566905"/>
              <a:ext cx="2367850" cy="6751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p:cNvSpPr/>
            <p:nvPr/>
          </p:nvSpPr>
          <p:spPr>
            <a:xfrm>
              <a:off x="1259822" y="566905"/>
              <a:ext cx="2389111" cy="6751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7" name="TextBox 16"/>
          <p:cNvSpPr txBox="1"/>
          <p:nvPr/>
        </p:nvSpPr>
        <p:spPr>
          <a:xfrm>
            <a:off x="960189" y="3893836"/>
            <a:ext cx="7213616" cy="392415"/>
          </a:xfrm>
          <a:prstGeom prst="rect">
            <a:avLst/>
          </a:prstGeom>
          <a:noFill/>
        </p:spPr>
        <p:txBody>
          <a:bodyPr wrap="square" lIns="68586" tIns="34294" rIns="68586" bIns="34294" rtlCol="0">
            <a:spAutoFit/>
          </a:bodyPr>
          <a:lstStyle/>
          <a:p>
            <a:pPr algn="ctr"/>
            <a:r>
              <a:rPr lang="en-US" sz="2100" dirty="0">
                <a:latin typeface="Segoe UI Light" pitchFamily="34" charset="0"/>
              </a:rPr>
              <a:t>Management must adapt </a:t>
            </a:r>
            <a:r>
              <a:rPr lang="en-US" sz="2100" dirty="0">
                <a:latin typeface="Segoe UI Light" pitchFamily="34" charset="0"/>
              </a:rPr>
              <a:t>rapidly to changing business needs</a:t>
            </a:r>
            <a:endParaRPr lang="en-US" sz="2100" dirty="0">
              <a:latin typeface="Segoe UI Light" pitchFamily="34" charset="0"/>
            </a:endParaRPr>
          </a:p>
        </p:txBody>
      </p:sp>
      <p:grpSp>
        <p:nvGrpSpPr>
          <p:cNvPr id="18" name="Group 17"/>
          <p:cNvGrpSpPr/>
          <p:nvPr/>
        </p:nvGrpSpPr>
        <p:grpSpPr>
          <a:xfrm>
            <a:off x="6822703" y="1806455"/>
            <a:ext cx="937716" cy="775869"/>
            <a:chOff x="2932100" y="5740389"/>
            <a:chExt cx="750022" cy="620732"/>
          </a:xfrm>
        </p:grpSpPr>
        <p:pic>
          <p:nvPicPr>
            <p:cNvPr id="19" name="Picture 3" descr="\\MAGNUM\Projects\Microsoft\Cloud Power FY12\Design\ICONS_PNG\User.png"/>
            <p:cNvPicPr>
              <a:picLocks noChangeAspect="1" noChangeArrowheads="1"/>
            </p:cNvPicPr>
            <p:nvPr/>
          </p:nvPicPr>
          <p:blipFill>
            <a:blip r:embed="rId3" cstate="print">
              <a:lum bright="100000"/>
            </a:blip>
            <a:srcRect/>
            <a:stretch>
              <a:fillRect/>
            </a:stretch>
          </p:blipFill>
          <p:spPr bwMode="auto">
            <a:xfrm>
              <a:off x="2932100" y="5740389"/>
              <a:ext cx="618565" cy="618565"/>
            </a:xfrm>
            <a:prstGeom prst="rect">
              <a:avLst/>
            </a:prstGeom>
            <a:noFill/>
          </p:spPr>
        </p:pic>
        <p:pic>
          <p:nvPicPr>
            <p:cNvPr id="20" name="Picture 3" descr="\\MAGNUM\Projects\Microsoft\Cloud Power FY12\Design\ICONS_PNG\User.png"/>
            <p:cNvPicPr>
              <a:picLocks noChangeAspect="1" noChangeArrowheads="1"/>
            </p:cNvPicPr>
            <p:nvPr/>
          </p:nvPicPr>
          <p:blipFill>
            <a:blip r:embed="rId3" cstate="print">
              <a:lum bright="100000"/>
            </a:blip>
            <a:srcRect/>
            <a:stretch>
              <a:fillRect/>
            </a:stretch>
          </p:blipFill>
          <p:spPr bwMode="auto">
            <a:xfrm flipH="1">
              <a:off x="3063557" y="5742556"/>
              <a:ext cx="618565" cy="618565"/>
            </a:xfrm>
            <a:prstGeom prst="rect">
              <a:avLst/>
            </a:prstGeom>
            <a:noFill/>
          </p:spPr>
        </p:pic>
      </p:grpSp>
      <p:grpSp>
        <p:nvGrpSpPr>
          <p:cNvPr id="21" name="Group 20"/>
          <p:cNvGrpSpPr/>
          <p:nvPr/>
        </p:nvGrpSpPr>
        <p:grpSpPr>
          <a:xfrm>
            <a:off x="1322411" y="1767745"/>
            <a:ext cx="1007496" cy="748404"/>
            <a:chOff x="1384256" y="3386216"/>
            <a:chExt cx="1399985" cy="1040230"/>
          </a:xfrm>
        </p:grpSpPr>
        <p:sp>
          <p:nvSpPr>
            <p:cNvPr id="22" name="Freeform 21"/>
            <p:cNvSpPr>
              <a:spLocks noEditPoints="1"/>
            </p:cNvSpPr>
            <p:nvPr/>
          </p:nvSpPr>
          <p:spPr bwMode="black">
            <a:xfrm>
              <a:off x="2010274" y="4086986"/>
              <a:ext cx="488266" cy="33946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305" tIns="41153" rIns="82305" bIns="4115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700" dirty="0">
                <a:solidFill>
                  <a:schemeClr val="bg1"/>
                </a:solidFill>
              </a:endParaRPr>
            </a:p>
          </p:txBody>
        </p:sp>
        <p:sp>
          <p:nvSpPr>
            <p:cNvPr id="23" name="Freeform 22"/>
            <p:cNvSpPr>
              <a:spLocks noEditPoints="1"/>
            </p:cNvSpPr>
            <p:nvPr/>
          </p:nvSpPr>
          <p:spPr bwMode="black">
            <a:xfrm>
              <a:off x="1854626" y="3998247"/>
              <a:ext cx="155737" cy="314055"/>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555606"/>
              <a:endParaRPr lang="en-US" spc="-92" dirty="0">
                <a:solidFill>
                  <a:schemeClr val="bg1"/>
                </a:solidFill>
                <a:latin typeface="Segoe Light" pitchFamily="34" charset="0"/>
              </a:endParaRPr>
            </a:p>
          </p:txBody>
        </p:sp>
        <p:sp>
          <p:nvSpPr>
            <p:cNvPr id="24" name="Freeform 23"/>
            <p:cNvSpPr>
              <a:spLocks noEditPoints="1"/>
            </p:cNvSpPr>
            <p:nvPr/>
          </p:nvSpPr>
          <p:spPr bwMode="black">
            <a:xfrm>
              <a:off x="1384256" y="3935262"/>
              <a:ext cx="444627" cy="377040"/>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555606"/>
              <a:endParaRPr lang="en-US" spc="-92" dirty="0">
                <a:solidFill>
                  <a:schemeClr val="bg1"/>
                </a:solidFill>
                <a:latin typeface="Segoe Light" pitchFamily="34" charset="0"/>
              </a:endParaRPr>
            </a:p>
          </p:txBody>
        </p:sp>
        <p:sp>
          <p:nvSpPr>
            <p:cNvPr id="25" name="Freeform 24"/>
            <p:cNvSpPr>
              <a:spLocks/>
            </p:cNvSpPr>
            <p:nvPr/>
          </p:nvSpPr>
          <p:spPr bwMode="black">
            <a:xfrm>
              <a:off x="2129825" y="3386216"/>
              <a:ext cx="654416" cy="381216"/>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dirty="0">
                <a:solidFill>
                  <a:schemeClr val="bg1"/>
                </a:solidFill>
              </a:endParaRPr>
            </a:p>
          </p:txBody>
        </p:sp>
        <p:cxnSp>
          <p:nvCxnSpPr>
            <p:cNvPr id="26" name="Straight Connector 25"/>
            <p:cNvCxnSpPr/>
            <p:nvPr/>
          </p:nvCxnSpPr>
          <p:spPr>
            <a:xfrm flipV="1">
              <a:off x="1633399" y="3694072"/>
              <a:ext cx="531491" cy="196794"/>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flipV="1">
              <a:off x="2254407" y="3792470"/>
              <a:ext cx="62883" cy="250796"/>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grpSp>
      <p:pic>
        <p:nvPicPr>
          <p:cNvPr id="28" name="Picture 27" descr="\\MAGNUM\Projects\Microsoft\Cloud Power FY12\Design\ICONS_PNG\Application.png"/>
          <p:cNvPicPr>
            <a:picLocks noChangeAspect="1" noChangeArrowheads="1"/>
          </p:cNvPicPr>
          <p:nvPr/>
        </p:nvPicPr>
        <p:blipFill rotWithShape="1">
          <a:blip r:embed="rId4" cstate="print">
            <a:biLevel thresh="25000"/>
          </a:blip>
          <a:srcRect l="30174" t="36465" r="28608" b="29915"/>
          <a:stretch/>
        </p:blipFill>
        <p:spPr bwMode="auto">
          <a:xfrm>
            <a:off x="3214559" y="1725484"/>
            <a:ext cx="1059229" cy="832926"/>
          </a:xfrm>
          <a:prstGeom prst="rect">
            <a:avLst/>
          </a:prstGeom>
          <a:noFill/>
          <a:ln>
            <a:noFill/>
          </a:ln>
        </p:spPr>
      </p:pic>
      <p:grpSp>
        <p:nvGrpSpPr>
          <p:cNvPr id="29" name="Group 28"/>
          <p:cNvGrpSpPr/>
          <p:nvPr/>
        </p:nvGrpSpPr>
        <p:grpSpPr>
          <a:xfrm>
            <a:off x="4954325" y="1787000"/>
            <a:ext cx="1120786" cy="750815"/>
            <a:chOff x="6350984" y="2691750"/>
            <a:chExt cx="1181603" cy="791762"/>
          </a:xfrm>
        </p:grpSpPr>
        <p:pic>
          <p:nvPicPr>
            <p:cNvPr id="30" name="Picture 29" descr="C:\Users\sakuu\Documents\Ballmer WPC\AI\work.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6350984" y="2691750"/>
              <a:ext cx="495803" cy="791762"/>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30" descr="C:\Users\sakuu\Documents\Ballmer WPC\AI\work.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7036784" y="2691750"/>
              <a:ext cx="495803" cy="791762"/>
            </a:xfrm>
            <a:prstGeom prst="rect">
              <a:avLst/>
            </a:prstGeom>
            <a:noFill/>
            <a:extLst>
              <a:ext uri="{909E8E84-426E-40DD-AFC4-6F175D3DCCD1}">
                <a14:hiddenFill xmlns:a14="http://schemas.microsoft.com/office/drawing/2010/main">
                  <a:solidFill>
                    <a:srgbClr val="FFFFFF"/>
                  </a:solidFill>
                </a14:hiddenFill>
              </a:ext>
            </a:extLst>
          </p:spPr>
        </p:pic>
      </p:grpSp>
      <p:sp>
        <p:nvSpPr>
          <p:cNvPr id="32" name="Right Arrow 31"/>
          <p:cNvSpPr/>
          <p:nvPr/>
        </p:nvSpPr>
        <p:spPr>
          <a:xfrm>
            <a:off x="3091668" y="2253884"/>
            <a:ext cx="457319" cy="283929"/>
          </a:xfrm>
          <a:prstGeom prst="rightArrow">
            <a:avLst>
              <a:gd name="adj1" fmla="val 50000"/>
              <a:gd name="adj2" fmla="val 7767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endParaRPr lang="en-US" dirty="0"/>
          </a:p>
        </p:txBody>
      </p:sp>
      <p:sp>
        <p:nvSpPr>
          <p:cNvPr id="33"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4"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7"/>
              </a:rPr>
              <a:t>www.rapidbbs.cn</a:t>
            </a:r>
            <a:endParaRPr lang="zh-CN" altLang="en-US" sz="1200" b="0">
              <a:latin typeface="Arial" charset="0"/>
              <a:ea typeface="ＭＳ Ｐゴシック" pitchFamily="34" charset="-128"/>
            </a:endParaRPr>
          </a:p>
        </p:txBody>
      </p:sp>
      <p:pic>
        <p:nvPicPr>
          <p:cNvPr id="35" name="Picture 2">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02478440"/>
      </p:ext>
    </p:extLst>
  </p:cSld>
  <p:clrMapOvr>
    <a:masterClrMapping/>
  </p:clrMapOvr>
  <p:transition>
    <p:fade/>
  </p:transition>
  <p:timing>
    <p:tnLst>
      <p:par>
        <p:cTn id="1" dur="indefinite" restart="never" nodeType="tmRoot"/>
      </p:par>
    </p:tnLst>
  </p:timing>
</p:sld>
</file>

<file path=ppt/slides/slide4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curity Challenges</a:t>
            </a:r>
            <a:endParaRPr lang="en-US" dirty="0"/>
          </a:p>
        </p:txBody>
      </p:sp>
      <p:sp>
        <p:nvSpPr>
          <p:cNvPr id="4" name="Rectangle 3"/>
          <p:cNvSpPr/>
          <p:nvPr/>
        </p:nvSpPr>
        <p:spPr>
          <a:xfrm>
            <a:off x="6396047" y="3142851"/>
            <a:ext cx="1777760" cy="5063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r>
              <a:rPr lang="en-US" sz="1200" b="1" dirty="0">
                <a:solidFill>
                  <a:schemeClr val="accent1"/>
                </a:solidFill>
                <a:latin typeface="Segoe UI Light" pitchFamily="34" charset="0"/>
              </a:rPr>
              <a:t>REPORT &amp; AUDIT</a:t>
            </a:r>
          </a:p>
        </p:txBody>
      </p:sp>
      <p:sp>
        <p:nvSpPr>
          <p:cNvPr id="5" name="Rectangle 4"/>
          <p:cNvSpPr/>
          <p:nvPr/>
        </p:nvSpPr>
        <p:spPr>
          <a:xfrm>
            <a:off x="4585884" y="3142851"/>
            <a:ext cx="1776350" cy="5063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r>
              <a:rPr lang="en-US" sz="1200" b="1" dirty="0">
                <a:solidFill>
                  <a:schemeClr val="accent1"/>
                </a:solidFill>
                <a:latin typeface="Segoe UI Light" pitchFamily="34" charset="0"/>
              </a:rPr>
              <a:t>CENTRALIZE &amp; STANDARDIZE </a:t>
            </a:r>
            <a:endParaRPr lang="en-US" sz="1200" b="1" dirty="0">
              <a:solidFill>
                <a:schemeClr val="accent1"/>
              </a:solidFill>
              <a:latin typeface="Segoe UI Light" pitchFamily="34" charset="0"/>
            </a:endParaRPr>
          </a:p>
        </p:txBody>
      </p:sp>
      <p:sp>
        <p:nvSpPr>
          <p:cNvPr id="6" name="Rectangle 5"/>
          <p:cNvSpPr/>
          <p:nvPr/>
        </p:nvSpPr>
        <p:spPr>
          <a:xfrm>
            <a:off x="2781072" y="3142851"/>
            <a:ext cx="1776350" cy="5063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r>
              <a:rPr lang="en-US" sz="1200" b="1" dirty="0">
                <a:solidFill>
                  <a:schemeClr val="accent1"/>
                </a:solidFill>
                <a:latin typeface="Segoe UI Light" pitchFamily="34" charset="0"/>
              </a:rPr>
              <a:t>PROTECT</a:t>
            </a:r>
            <a:br>
              <a:rPr lang="en-US" sz="1200" b="1" dirty="0">
                <a:solidFill>
                  <a:schemeClr val="accent1"/>
                </a:solidFill>
                <a:latin typeface="Segoe UI Light" pitchFamily="34" charset="0"/>
              </a:rPr>
            </a:br>
            <a:r>
              <a:rPr lang="en-US" sz="1200" b="1" dirty="0">
                <a:solidFill>
                  <a:schemeClr val="accent1"/>
                </a:solidFill>
                <a:latin typeface="Segoe UI Light" pitchFamily="34" charset="0"/>
              </a:rPr>
              <a:t>WHILE EXTENDING</a:t>
            </a:r>
          </a:p>
        </p:txBody>
      </p:sp>
      <p:sp>
        <p:nvSpPr>
          <p:cNvPr id="7" name="Rectangle 6"/>
          <p:cNvSpPr/>
          <p:nvPr/>
        </p:nvSpPr>
        <p:spPr>
          <a:xfrm>
            <a:off x="960190" y="3142851"/>
            <a:ext cx="1792300" cy="5063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r>
              <a:rPr lang="en-US" sz="1200" b="1" dirty="0">
                <a:solidFill>
                  <a:schemeClr val="accent1"/>
                </a:solidFill>
                <a:latin typeface="Segoe UI Light" pitchFamily="34" charset="0"/>
              </a:rPr>
              <a:t>RAPID RESPONSE</a:t>
            </a:r>
            <a:endParaRPr lang="en-US" sz="1200" b="1" dirty="0">
              <a:solidFill>
                <a:schemeClr val="accent1"/>
              </a:solidFill>
              <a:latin typeface="Segoe UI Light" pitchFamily="34" charset="0"/>
            </a:endParaRPr>
          </a:p>
        </p:txBody>
      </p:sp>
      <p:sp>
        <p:nvSpPr>
          <p:cNvPr id="8" name="Rectangle 7"/>
          <p:cNvSpPr/>
          <p:nvPr/>
        </p:nvSpPr>
        <p:spPr>
          <a:xfrm>
            <a:off x="950612" y="1285427"/>
            <a:ext cx="7213618" cy="18574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endParaRPr lang="en-US" dirty="0"/>
          </a:p>
        </p:txBody>
      </p:sp>
      <p:cxnSp>
        <p:nvCxnSpPr>
          <p:cNvPr id="9" name="Straight Connector 8"/>
          <p:cNvCxnSpPr/>
          <p:nvPr/>
        </p:nvCxnSpPr>
        <p:spPr>
          <a:xfrm>
            <a:off x="2752489" y="1285426"/>
            <a:ext cx="11104" cy="184440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stCxn id="8" idx="0"/>
          </p:cNvCxnSpPr>
          <p:nvPr/>
        </p:nvCxnSpPr>
        <p:spPr>
          <a:xfrm>
            <a:off x="4557423" y="1285425"/>
            <a:ext cx="13387" cy="184436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6362236" y="1285426"/>
            <a:ext cx="8167" cy="1844906"/>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2" name="Group 11"/>
          <p:cNvGrpSpPr/>
          <p:nvPr/>
        </p:nvGrpSpPr>
        <p:grpSpPr>
          <a:xfrm>
            <a:off x="945114" y="1170313"/>
            <a:ext cx="7213617" cy="115112"/>
            <a:chOff x="1259822" y="566905"/>
            <a:chExt cx="9615651" cy="675150"/>
          </a:xfrm>
        </p:grpSpPr>
        <p:sp>
          <p:nvSpPr>
            <p:cNvPr id="13" name="Rectangle 12"/>
            <p:cNvSpPr/>
            <p:nvPr/>
          </p:nvSpPr>
          <p:spPr>
            <a:xfrm>
              <a:off x="8505744" y="566905"/>
              <a:ext cx="2369729" cy="6751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p:nvSpPr>
          <p:spPr>
            <a:xfrm>
              <a:off x="6092824" y="566905"/>
              <a:ext cx="2367850" cy="6751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p:cNvSpPr/>
            <p:nvPr/>
          </p:nvSpPr>
          <p:spPr>
            <a:xfrm>
              <a:off x="3687034" y="566905"/>
              <a:ext cx="2367850" cy="6751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p:cNvSpPr/>
            <p:nvPr/>
          </p:nvSpPr>
          <p:spPr>
            <a:xfrm>
              <a:off x="1259822" y="566905"/>
              <a:ext cx="2389111" cy="6751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7" name="TextBox 16"/>
          <p:cNvSpPr txBox="1"/>
          <p:nvPr/>
        </p:nvSpPr>
        <p:spPr>
          <a:xfrm>
            <a:off x="960189" y="3893836"/>
            <a:ext cx="7213616" cy="392415"/>
          </a:xfrm>
          <a:prstGeom prst="rect">
            <a:avLst/>
          </a:prstGeom>
          <a:noFill/>
        </p:spPr>
        <p:txBody>
          <a:bodyPr wrap="square" lIns="68586" tIns="34294" rIns="68586" bIns="34294" rtlCol="0">
            <a:spAutoFit/>
          </a:bodyPr>
          <a:lstStyle/>
          <a:p>
            <a:pPr algn="ctr"/>
            <a:r>
              <a:rPr lang="en-US" sz="2100" dirty="0">
                <a:latin typeface="Segoe UI Light" pitchFamily="34" charset="0"/>
              </a:rPr>
              <a:t>Companies need an integrated security strategy</a:t>
            </a:r>
          </a:p>
        </p:txBody>
      </p:sp>
      <p:sp>
        <p:nvSpPr>
          <p:cNvPr id="18" name="Freeform 17"/>
          <p:cNvSpPr>
            <a:spLocks noEditPoints="1"/>
          </p:cNvSpPr>
          <p:nvPr/>
        </p:nvSpPr>
        <p:spPr bwMode="black">
          <a:xfrm rot="900000">
            <a:off x="6964499" y="1892383"/>
            <a:ext cx="615210" cy="750355"/>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FFFFFF"/>
          </a:solidFill>
          <a:ln>
            <a:noFill/>
          </a:ln>
        </p:spPr>
        <p:txBody>
          <a:bodyPr vert="horz" wrap="square" lIns="61735" tIns="30867" rIns="61735" bIns="30867"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200" dirty="0"/>
          </a:p>
        </p:txBody>
      </p:sp>
      <p:pic>
        <p:nvPicPr>
          <p:cNvPr id="19" name="Picture 2" descr="C:\Users\mnguyen\Pictures\Graphics\Cloud Power\Blue\Secure.png"/>
          <p:cNvPicPr>
            <a:picLocks noChangeAspect="1" noChangeArrowheads="1"/>
          </p:cNvPicPr>
          <p:nvPr/>
        </p:nvPicPr>
        <p:blipFill>
          <a:blip r:embed="rId3" cstate="email">
            <a:biLevel thresh="25000"/>
            <a:extLst>
              <a:ext uri="{28A0092B-C50C-407E-A947-70E740481C1C}">
                <a14:useLocalDpi xmlns:a14="http://schemas.microsoft.com/office/drawing/2010/main"/>
              </a:ext>
            </a:extLst>
          </a:blip>
          <a:srcRect/>
          <a:stretch>
            <a:fillRect/>
          </a:stretch>
        </p:blipFill>
        <p:spPr bwMode="auto">
          <a:xfrm>
            <a:off x="3085712" y="1668334"/>
            <a:ext cx="1086133" cy="108585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0" name="TextBox 19"/>
          <p:cNvSpPr txBox="1"/>
          <p:nvPr/>
        </p:nvSpPr>
        <p:spPr>
          <a:xfrm>
            <a:off x="1355361" y="1645028"/>
            <a:ext cx="971803" cy="1177245"/>
          </a:xfrm>
          <a:prstGeom prst="rect">
            <a:avLst/>
          </a:prstGeom>
          <a:noFill/>
        </p:spPr>
        <p:txBody>
          <a:bodyPr wrap="square" lIns="68586" tIns="34294" rIns="68586" bIns="34294" rtlCol="0">
            <a:spAutoFit/>
          </a:bodyPr>
          <a:lstStyle/>
          <a:p>
            <a:r>
              <a:rPr lang="en-US" sz="7200" dirty="0">
                <a:latin typeface="Webdings" pitchFamily="18" charset="2"/>
              </a:rPr>
              <a:t>f</a:t>
            </a:r>
            <a:endParaRPr lang="en-US" sz="7200" dirty="0">
              <a:latin typeface="Webdings" pitchFamily="18" charset="2"/>
            </a:endParaRPr>
          </a:p>
        </p:txBody>
      </p:sp>
      <p:grpSp>
        <p:nvGrpSpPr>
          <p:cNvPr id="21" name="Group 20"/>
          <p:cNvGrpSpPr/>
          <p:nvPr/>
        </p:nvGrpSpPr>
        <p:grpSpPr>
          <a:xfrm>
            <a:off x="4923564" y="1793187"/>
            <a:ext cx="850750" cy="852413"/>
            <a:chOff x="6563042" y="1919069"/>
            <a:chExt cx="1134038" cy="1136551"/>
          </a:xfrm>
        </p:grpSpPr>
        <p:grpSp>
          <p:nvGrpSpPr>
            <p:cNvPr id="22" name="Group 21"/>
            <p:cNvGrpSpPr/>
            <p:nvPr/>
          </p:nvGrpSpPr>
          <p:grpSpPr>
            <a:xfrm>
              <a:off x="6851824" y="1919069"/>
              <a:ext cx="845256" cy="916435"/>
              <a:chOff x="7000705" y="1812217"/>
              <a:chExt cx="914400" cy="991402"/>
            </a:xfrm>
          </p:grpSpPr>
          <p:sp>
            <p:nvSpPr>
              <p:cNvPr id="34" name="Oval 33"/>
              <p:cNvSpPr/>
              <p:nvPr/>
            </p:nvSpPr>
            <p:spPr>
              <a:xfrm>
                <a:off x="7192225" y="2251319"/>
                <a:ext cx="155418" cy="147836"/>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Trapezoid 34"/>
              <p:cNvSpPr/>
              <p:nvPr/>
            </p:nvSpPr>
            <p:spPr>
              <a:xfrm>
                <a:off x="7193281" y="2374325"/>
                <a:ext cx="154362" cy="258385"/>
              </a:xfrm>
              <a:prstGeom prst="trapezoid">
                <a:avLst>
                  <a:gd name="adj" fmla="val 16772"/>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Rectangle 35"/>
              <p:cNvSpPr/>
              <p:nvPr/>
            </p:nvSpPr>
            <p:spPr>
              <a:xfrm rot="900000">
                <a:off x="7000705" y="2157056"/>
                <a:ext cx="914400" cy="646563"/>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7" name="Straight Connector 36"/>
              <p:cNvCxnSpPr/>
              <p:nvPr/>
            </p:nvCxnSpPr>
            <p:spPr>
              <a:xfrm>
                <a:off x="7147560" y="2514600"/>
                <a:ext cx="547052" cy="1524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Oval 37"/>
              <p:cNvSpPr/>
              <p:nvPr/>
            </p:nvSpPr>
            <p:spPr>
              <a:xfrm>
                <a:off x="7121576" y="2341282"/>
                <a:ext cx="310345" cy="310345"/>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9" name="Straight Connector 38"/>
              <p:cNvCxnSpPr/>
              <p:nvPr/>
            </p:nvCxnSpPr>
            <p:spPr>
              <a:xfrm flipV="1">
                <a:off x="7574280" y="2538095"/>
                <a:ext cx="32068" cy="927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V="1">
                <a:off x="7685404" y="2569210"/>
                <a:ext cx="32068" cy="927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V="1">
                <a:off x="7457905" y="2505075"/>
                <a:ext cx="32068" cy="927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V="1">
                <a:off x="7344309" y="2472627"/>
                <a:ext cx="32068" cy="927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a:off x="7147560" y="2209800"/>
                <a:ext cx="89852" cy="3048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4" name="Rectangle 43"/>
              <p:cNvSpPr/>
              <p:nvPr/>
            </p:nvSpPr>
            <p:spPr>
              <a:xfrm rot="900000">
                <a:off x="7387126" y="2674459"/>
                <a:ext cx="228600" cy="113155"/>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5" name="Straight Connector 44"/>
              <p:cNvCxnSpPr/>
              <p:nvPr/>
            </p:nvCxnSpPr>
            <p:spPr>
              <a:xfrm>
                <a:off x="7296845" y="2209800"/>
                <a:ext cx="566995" cy="164525"/>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46" name="Freeform 45"/>
              <p:cNvSpPr/>
              <p:nvPr/>
            </p:nvSpPr>
            <p:spPr>
              <a:xfrm rot="20700000">
                <a:off x="7451777" y="1812217"/>
                <a:ext cx="334954" cy="626744"/>
              </a:xfrm>
              <a:custGeom>
                <a:avLst/>
                <a:gdLst>
                  <a:gd name="connsiteX0" fmla="*/ 142875 w 472440"/>
                  <a:gd name="connsiteY0" fmla="*/ 240030 h 967740"/>
                  <a:gd name="connsiteX1" fmla="*/ 0 w 472440"/>
                  <a:gd name="connsiteY1" fmla="*/ 923925 h 967740"/>
                  <a:gd name="connsiteX2" fmla="*/ 205740 w 472440"/>
                  <a:gd name="connsiteY2" fmla="*/ 375285 h 967740"/>
                  <a:gd name="connsiteX3" fmla="*/ 472440 w 472440"/>
                  <a:gd name="connsiteY3" fmla="*/ 967740 h 967740"/>
                  <a:gd name="connsiteX4" fmla="*/ 228600 w 472440"/>
                  <a:gd name="connsiteY4" fmla="*/ 251460 h 967740"/>
                  <a:gd name="connsiteX5" fmla="*/ 360045 w 472440"/>
                  <a:gd name="connsiteY5" fmla="*/ 125730 h 967740"/>
                  <a:gd name="connsiteX6" fmla="*/ 209550 w 472440"/>
                  <a:gd name="connsiteY6" fmla="*/ 0 h 967740"/>
                  <a:gd name="connsiteX7" fmla="*/ 49530 w 472440"/>
                  <a:gd name="connsiteY7" fmla="*/ 102870 h 967740"/>
                  <a:gd name="connsiteX8" fmla="*/ 142875 w 472440"/>
                  <a:gd name="connsiteY8" fmla="*/ 240030 h 967740"/>
                  <a:gd name="connsiteX0" fmla="*/ 142875 w 472440"/>
                  <a:gd name="connsiteY0" fmla="*/ 240030 h 967740"/>
                  <a:gd name="connsiteX1" fmla="*/ 0 w 472440"/>
                  <a:gd name="connsiteY1" fmla="*/ 923925 h 967740"/>
                  <a:gd name="connsiteX2" fmla="*/ 205740 w 472440"/>
                  <a:gd name="connsiteY2" fmla="*/ 375285 h 967740"/>
                  <a:gd name="connsiteX3" fmla="*/ 472440 w 472440"/>
                  <a:gd name="connsiteY3" fmla="*/ 967740 h 967740"/>
                  <a:gd name="connsiteX4" fmla="*/ 228600 w 472440"/>
                  <a:gd name="connsiteY4" fmla="*/ 251460 h 967740"/>
                  <a:gd name="connsiteX5" fmla="*/ 360045 w 472440"/>
                  <a:gd name="connsiteY5" fmla="*/ 125730 h 967740"/>
                  <a:gd name="connsiteX6" fmla="*/ 209550 w 472440"/>
                  <a:gd name="connsiteY6" fmla="*/ 0 h 967740"/>
                  <a:gd name="connsiteX7" fmla="*/ 49530 w 472440"/>
                  <a:gd name="connsiteY7" fmla="*/ 102870 h 967740"/>
                  <a:gd name="connsiteX8" fmla="*/ 142875 w 472440"/>
                  <a:gd name="connsiteY8" fmla="*/ 240030 h 967740"/>
                  <a:gd name="connsiteX0" fmla="*/ 142875 w 472440"/>
                  <a:gd name="connsiteY0" fmla="*/ 240030 h 967740"/>
                  <a:gd name="connsiteX1" fmla="*/ 0 w 472440"/>
                  <a:gd name="connsiteY1" fmla="*/ 923925 h 967740"/>
                  <a:gd name="connsiteX2" fmla="*/ 205740 w 472440"/>
                  <a:gd name="connsiteY2" fmla="*/ 375285 h 967740"/>
                  <a:gd name="connsiteX3" fmla="*/ 472440 w 472440"/>
                  <a:gd name="connsiteY3" fmla="*/ 967740 h 967740"/>
                  <a:gd name="connsiteX4" fmla="*/ 228600 w 472440"/>
                  <a:gd name="connsiteY4" fmla="*/ 251460 h 967740"/>
                  <a:gd name="connsiteX5" fmla="*/ 360045 w 472440"/>
                  <a:gd name="connsiteY5" fmla="*/ 125730 h 967740"/>
                  <a:gd name="connsiteX6" fmla="*/ 209550 w 472440"/>
                  <a:gd name="connsiteY6" fmla="*/ 0 h 967740"/>
                  <a:gd name="connsiteX7" fmla="*/ 49530 w 472440"/>
                  <a:gd name="connsiteY7" fmla="*/ 102870 h 967740"/>
                  <a:gd name="connsiteX8" fmla="*/ 142875 w 472440"/>
                  <a:gd name="connsiteY8" fmla="*/ 240030 h 967740"/>
                  <a:gd name="connsiteX0" fmla="*/ 142875 w 472440"/>
                  <a:gd name="connsiteY0" fmla="*/ 240030 h 967740"/>
                  <a:gd name="connsiteX1" fmla="*/ 0 w 472440"/>
                  <a:gd name="connsiteY1" fmla="*/ 923925 h 967740"/>
                  <a:gd name="connsiteX2" fmla="*/ 205740 w 472440"/>
                  <a:gd name="connsiteY2" fmla="*/ 375285 h 967740"/>
                  <a:gd name="connsiteX3" fmla="*/ 472440 w 472440"/>
                  <a:gd name="connsiteY3" fmla="*/ 967740 h 967740"/>
                  <a:gd name="connsiteX4" fmla="*/ 228600 w 472440"/>
                  <a:gd name="connsiteY4" fmla="*/ 251460 h 967740"/>
                  <a:gd name="connsiteX5" fmla="*/ 360045 w 472440"/>
                  <a:gd name="connsiteY5" fmla="*/ 125730 h 967740"/>
                  <a:gd name="connsiteX6" fmla="*/ 209550 w 472440"/>
                  <a:gd name="connsiteY6" fmla="*/ 0 h 967740"/>
                  <a:gd name="connsiteX7" fmla="*/ 49530 w 472440"/>
                  <a:gd name="connsiteY7" fmla="*/ 102870 h 967740"/>
                  <a:gd name="connsiteX8" fmla="*/ 142875 w 472440"/>
                  <a:gd name="connsiteY8" fmla="*/ 240030 h 967740"/>
                  <a:gd name="connsiteX0" fmla="*/ 142875 w 472440"/>
                  <a:gd name="connsiteY0" fmla="*/ 240030 h 967740"/>
                  <a:gd name="connsiteX1" fmla="*/ 0 w 472440"/>
                  <a:gd name="connsiteY1" fmla="*/ 923925 h 967740"/>
                  <a:gd name="connsiteX2" fmla="*/ 205740 w 472440"/>
                  <a:gd name="connsiteY2" fmla="*/ 375285 h 967740"/>
                  <a:gd name="connsiteX3" fmla="*/ 472440 w 472440"/>
                  <a:gd name="connsiteY3" fmla="*/ 967740 h 967740"/>
                  <a:gd name="connsiteX4" fmla="*/ 228600 w 472440"/>
                  <a:gd name="connsiteY4" fmla="*/ 251460 h 967740"/>
                  <a:gd name="connsiteX5" fmla="*/ 360045 w 472440"/>
                  <a:gd name="connsiteY5" fmla="*/ 125730 h 967740"/>
                  <a:gd name="connsiteX6" fmla="*/ 209550 w 472440"/>
                  <a:gd name="connsiteY6" fmla="*/ 0 h 967740"/>
                  <a:gd name="connsiteX7" fmla="*/ 49530 w 472440"/>
                  <a:gd name="connsiteY7" fmla="*/ 102870 h 967740"/>
                  <a:gd name="connsiteX8" fmla="*/ 142875 w 472440"/>
                  <a:gd name="connsiteY8" fmla="*/ 240030 h 967740"/>
                  <a:gd name="connsiteX0" fmla="*/ 142875 w 472440"/>
                  <a:gd name="connsiteY0" fmla="*/ 240030 h 967740"/>
                  <a:gd name="connsiteX1" fmla="*/ 0 w 472440"/>
                  <a:gd name="connsiteY1" fmla="*/ 923925 h 967740"/>
                  <a:gd name="connsiteX2" fmla="*/ 205740 w 472440"/>
                  <a:gd name="connsiteY2" fmla="*/ 375285 h 967740"/>
                  <a:gd name="connsiteX3" fmla="*/ 472440 w 472440"/>
                  <a:gd name="connsiteY3" fmla="*/ 967740 h 967740"/>
                  <a:gd name="connsiteX4" fmla="*/ 228600 w 472440"/>
                  <a:gd name="connsiteY4" fmla="*/ 251460 h 967740"/>
                  <a:gd name="connsiteX5" fmla="*/ 360045 w 472440"/>
                  <a:gd name="connsiteY5" fmla="*/ 125730 h 967740"/>
                  <a:gd name="connsiteX6" fmla="*/ 209550 w 472440"/>
                  <a:gd name="connsiteY6" fmla="*/ 0 h 967740"/>
                  <a:gd name="connsiteX7" fmla="*/ 49530 w 472440"/>
                  <a:gd name="connsiteY7" fmla="*/ 102870 h 967740"/>
                  <a:gd name="connsiteX8" fmla="*/ 142875 w 472440"/>
                  <a:gd name="connsiteY8" fmla="*/ 240030 h 967740"/>
                  <a:gd name="connsiteX0" fmla="*/ 142875 w 472440"/>
                  <a:gd name="connsiteY0" fmla="*/ 241137 h 968847"/>
                  <a:gd name="connsiteX1" fmla="*/ 0 w 472440"/>
                  <a:gd name="connsiteY1" fmla="*/ 925032 h 968847"/>
                  <a:gd name="connsiteX2" fmla="*/ 205740 w 472440"/>
                  <a:gd name="connsiteY2" fmla="*/ 376392 h 968847"/>
                  <a:gd name="connsiteX3" fmla="*/ 472440 w 472440"/>
                  <a:gd name="connsiteY3" fmla="*/ 968847 h 968847"/>
                  <a:gd name="connsiteX4" fmla="*/ 228600 w 472440"/>
                  <a:gd name="connsiteY4" fmla="*/ 252567 h 968847"/>
                  <a:gd name="connsiteX5" fmla="*/ 360045 w 472440"/>
                  <a:gd name="connsiteY5" fmla="*/ 126837 h 968847"/>
                  <a:gd name="connsiteX6" fmla="*/ 209550 w 472440"/>
                  <a:gd name="connsiteY6" fmla="*/ 1107 h 968847"/>
                  <a:gd name="connsiteX7" fmla="*/ 49530 w 472440"/>
                  <a:gd name="connsiteY7" fmla="*/ 103977 h 968847"/>
                  <a:gd name="connsiteX8" fmla="*/ 142875 w 472440"/>
                  <a:gd name="connsiteY8" fmla="*/ 241137 h 968847"/>
                  <a:gd name="connsiteX0" fmla="*/ 142875 w 472440"/>
                  <a:gd name="connsiteY0" fmla="*/ 241836 h 969546"/>
                  <a:gd name="connsiteX1" fmla="*/ 0 w 472440"/>
                  <a:gd name="connsiteY1" fmla="*/ 925731 h 969546"/>
                  <a:gd name="connsiteX2" fmla="*/ 205740 w 472440"/>
                  <a:gd name="connsiteY2" fmla="*/ 377091 h 969546"/>
                  <a:gd name="connsiteX3" fmla="*/ 472440 w 472440"/>
                  <a:gd name="connsiteY3" fmla="*/ 969546 h 969546"/>
                  <a:gd name="connsiteX4" fmla="*/ 228600 w 472440"/>
                  <a:gd name="connsiteY4" fmla="*/ 253266 h 969546"/>
                  <a:gd name="connsiteX5" fmla="*/ 360045 w 472440"/>
                  <a:gd name="connsiteY5" fmla="*/ 127536 h 969546"/>
                  <a:gd name="connsiteX6" fmla="*/ 209550 w 472440"/>
                  <a:gd name="connsiteY6" fmla="*/ 1806 h 969546"/>
                  <a:gd name="connsiteX7" fmla="*/ 49530 w 472440"/>
                  <a:gd name="connsiteY7" fmla="*/ 104676 h 969546"/>
                  <a:gd name="connsiteX8" fmla="*/ 142875 w 472440"/>
                  <a:gd name="connsiteY8" fmla="*/ 241836 h 969546"/>
                  <a:gd name="connsiteX0" fmla="*/ 142875 w 472440"/>
                  <a:gd name="connsiteY0" fmla="*/ 241836 h 969546"/>
                  <a:gd name="connsiteX1" fmla="*/ 0 w 472440"/>
                  <a:gd name="connsiteY1" fmla="*/ 925731 h 969546"/>
                  <a:gd name="connsiteX2" fmla="*/ 205740 w 472440"/>
                  <a:gd name="connsiteY2" fmla="*/ 377091 h 969546"/>
                  <a:gd name="connsiteX3" fmla="*/ 472440 w 472440"/>
                  <a:gd name="connsiteY3" fmla="*/ 969546 h 969546"/>
                  <a:gd name="connsiteX4" fmla="*/ 228600 w 472440"/>
                  <a:gd name="connsiteY4" fmla="*/ 253266 h 969546"/>
                  <a:gd name="connsiteX5" fmla="*/ 360045 w 472440"/>
                  <a:gd name="connsiteY5" fmla="*/ 127536 h 969546"/>
                  <a:gd name="connsiteX6" fmla="*/ 209550 w 472440"/>
                  <a:gd name="connsiteY6" fmla="*/ 1806 h 969546"/>
                  <a:gd name="connsiteX7" fmla="*/ 49530 w 472440"/>
                  <a:gd name="connsiteY7" fmla="*/ 104676 h 969546"/>
                  <a:gd name="connsiteX8" fmla="*/ 142875 w 472440"/>
                  <a:gd name="connsiteY8" fmla="*/ 241836 h 969546"/>
                  <a:gd name="connsiteX0" fmla="*/ 142875 w 472440"/>
                  <a:gd name="connsiteY0" fmla="*/ 241836 h 969546"/>
                  <a:gd name="connsiteX1" fmla="*/ 0 w 472440"/>
                  <a:gd name="connsiteY1" fmla="*/ 925731 h 969546"/>
                  <a:gd name="connsiteX2" fmla="*/ 205740 w 472440"/>
                  <a:gd name="connsiteY2" fmla="*/ 377091 h 969546"/>
                  <a:gd name="connsiteX3" fmla="*/ 472440 w 472440"/>
                  <a:gd name="connsiteY3" fmla="*/ 969546 h 969546"/>
                  <a:gd name="connsiteX4" fmla="*/ 228600 w 472440"/>
                  <a:gd name="connsiteY4" fmla="*/ 253266 h 969546"/>
                  <a:gd name="connsiteX5" fmla="*/ 360045 w 472440"/>
                  <a:gd name="connsiteY5" fmla="*/ 127536 h 969546"/>
                  <a:gd name="connsiteX6" fmla="*/ 209550 w 472440"/>
                  <a:gd name="connsiteY6" fmla="*/ 1806 h 969546"/>
                  <a:gd name="connsiteX7" fmla="*/ 49530 w 472440"/>
                  <a:gd name="connsiteY7" fmla="*/ 104676 h 969546"/>
                  <a:gd name="connsiteX8" fmla="*/ 142875 w 472440"/>
                  <a:gd name="connsiteY8" fmla="*/ 241836 h 969546"/>
                  <a:gd name="connsiteX0" fmla="*/ 142875 w 472440"/>
                  <a:gd name="connsiteY0" fmla="*/ 241836 h 969546"/>
                  <a:gd name="connsiteX1" fmla="*/ 0 w 472440"/>
                  <a:gd name="connsiteY1" fmla="*/ 925731 h 969546"/>
                  <a:gd name="connsiteX2" fmla="*/ 198120 w 472440"/>
                  <a:gd name="connsiteY2" fmla="*/ 375186 h 969546"/>
                  <a:gd name="connsiteX3" fmla="*/ 472440 w 472440"/>
                  <a:gd name="connsiteY3" fmla="*/ 969546 h 969546"/>
                  <a:gd name="connsiteX4" fmla="*/ 228600 w 472440"/>
                  <a:gd name="connsiteY4" fmla="*/ 253266 h 969546"/>
                  <a:gd name="connsiteX5" fmla="*/ 360045 w 472440"/>
                  <a:gd name="connsiteY5" fmla="*/ 127536 h 969546"/>
                  <a:gd name="connsiteX6" fmla="*/ 209550 w 472440"/>
                  <a:gd name="connsiteY6" fmla="*/ 1806 h 969546"/>
                  <a:gd name="connsiteX7" fmla="*/ 49530 w 472440"/>
                  <a:gd name="connsiteY7" fmla="*/ 104676 h 969546"/>
                  <a:gd name="connsiteX8" fmla="*/ 142875 w 472440"/>
                  <a:gd name="connsiteY8" fmla="*/ 241836 h 969546"/>
                  <a:gd name="connsiteX0" fmla="*/ 142875 w 472440"/>
                  <a:gd name="connsiteY0" fmla="*/ 241836 h 969546"/>
                  <a:gd name="connsiteX1" fmla="*/ 0 w 472440"/>
                  <a:gd name="connsiteY1" fmla="*/ 925731 h 969546"/>
                  <a:gd name="connsiteX2" fmla="*/ 198120 w 472440"/>
                  <a:gd name="connsiteY2" fmla="*/ 375186 h 969546"/>
                  <a:gd name="connsiteX3" fmla="*/ 472440 w 472440"/>
                  <a:gd name="connsiteY3" fmla="*/ 969546 h 969546"/>
                  <a:gd name="connsiteX4" fmla="*/ 228600 w 472440"/>
                  <a:gd name="connsiteY4" fmla="*/ 253266 h 969546"/>
                  <a:gd name="connsiteX5" fmla="*/ 344805 w 472440"/>
                  <a:gd name="connsiteY5" fmla="*/ 127536 h 969546"/>
                  <a:gd name="connsiteX6" fmla="*/ 209550 w 472440"/>
                  <a:gd name="connsiteY6" fmla="*/ 1806 h 969546"/>
                  <a:gd name="connsiteX7" fmla="*/ 49530 w 472440"/>
                  <a:gd name="connsiteY7" fmla="*/ 104676 h 969546"/>
                  <a:gd name="connsiteX8" fmla="*/ 142875 w 472440"/>
                  <a:gd name="connsiteY8" fmla="*/ 241836 h 969546"/>
                  <a:gd name="connsiteX0" fmla="*/ 142875 w 472440"/>
                  <a:gd name="connsiteY0" fmla="*/ 241836 h 969546"/>
                  <a:gd name="connsiteX1" fmla="*/ 0 w 472440"/>
                  <a:gd name="connsiteY1" fmla="*/ 925731 h 969546"/>
                  <a:gd name="connsiteX2" fmla="*/ 198120 w 472440"/>
                  <a:gd name="connsiteY2" fmla="*/ 375186 h 969546"/>
                  <a:gd name="connsiteX3" fmla="*/ 472440 w 472440"/>
                  <a:gd name="connsiteY3" fmla="*/ 969546 h 969546"/>
                  <a:gd name="connsiteX4" fmla="*/ 323850 w 472440"/>
                  <a:gd name="connsiteY4" fmla="*/ 539017 h 969546"/>
                  <a:gd name="connsiteX5" fmla="*/ 228600 w 472440"/>
                  <a:gd name="connsiteY5" fmla="*/ 253266 h 969546"/>
                  <a:gd name="connsiteX6" fmla="*/ 344805 w 472440"/>
                  <a:gd name="connsiteY6" fmla="*/ 127536 h 969546"/>
                  <a:gd name="connsiteX7" fmla="*/ 209550 w 472440"/>
                  <a:gd name="connsiteY7" fmla="*/ 1806 h 969546"/>
                  <a:gd name="connsiteX8" fmla="*/ 49530 w 472440"/>
                  <a:gd name="connsiteY8" fmla="*/ 104676 h 969546"/>
                  <a:gd name="connsiteX9" fmla="*/ 142875 w 472440"/>
                  <a:gd name="connsiteY9" fmla="*/ 241836 h 969546"/>
                  <a:gd name="connsiteX0" fmla="*/ 142875 w 472440"/>
                  <a:gd name="connsiteY0" fmla="*/ 241836 h 969546"/>
                  <a:gd name="connsiteX1" fmla="*/ 0 w 472440"/>
                  <a:gd name="connsiteY1" fmla="*/ 925731 h 969546"/>
                  <a:gd name="connsiteX2" fmla="*/ 198120 w 472440"/>
                  <a:gd name="connsiteY2" fmla="*/ 375186 h 969546"/>
                  <a:gd name="connsiteX3" fmla="*/ 472440 w 472440"/>
                  <a:gd name="connsiteY3" fmla="*/ 969546 h 969546"/>
                  <a:gd name="connsiteX4" fmla="*/ 333375 w 472440"/>
                  <a:gd name="connsiteY4" fmla="*/ 573307 h 969546"/>
                  <a:gd name="connsiteX5" fmla="*/ 323850 w 472440"/>
                  <a:gd name="connsiteY5" fmla="*/ 539017 h 969546"/>
                  <a:gd name="connsiteX6" fmla="*/ 228600 w 472440"/>
                  <a:gd name="connsiteY6" fmla="*/ 253266 h 969546"/>
                  <a:gd name="connsiteX7" fmla="*/ 344805 w 472440"/>
                  <a:gd name="connsiteY7" fmla="*/ 127536 h 969546"/>
                  <a:gd name="connsiteX8" fmla="*/ 209550 w 472440"/>
                  <a:gd name="connsiteY8" fmla="*/ 1806 h 969546"/>
                  <a:gd name="connsiteX9" fmla="*/ 49530 w 472440"/>
                  <a:gd name="connsiteY9" fmla="*/ 104676 h 969546"/>
                  <a:gd name="connsiteX10" fmla="*/ 142875 w 472440"/>
                  <a:gd name="connsiteY10" fmla="*/ 241836 h 969546"/>
                  <a:gd name="connsiteX0" fmla="*/ 142875 w 472440"/>
                  <a:gd name="connsiteY0" fmla="*/ 241836 h 969546"/>
                  <a:gd name="connsiteX1" fmla="*/ 0 w 472440"/>
                  <a:gd name="connsiteY1" fmla="*/ 925731 h 969546"/>
                  <a:gd name="connsiteX2" fmla="*/ 198120 w 472440"/>
                  <a:gd name="connsiteY2" fmla="*/ 375186 h 969546"/>
                  <a:gd name="connsiteX3" fmla="*/ 472440 w 472440"/>
                  <a:gd name="connsiteY3" fmla="*/ 969546 h 969546"/>
                  <a:gd name="connsiteX4" fmla="*/ 333375 w 472440"/>
                  <a:gd name="connsiteY4" fmla="*/ 573307 h 969546"/>
                  <a:gd name="connsiteX5" fmla="*/ 323850 w 472440"/>
                  <a:gd name="connsiteY5" fmla="*/ 539017 h 969546"/>
                  <a:gd name="connsiteX6" fmla="*/ 312420 w 472440"/>
                  <a:gd name="connsiteY6" fmla="*/ 502822 h 969546"/>
                  <a:gd name="connsiteX7" fmla="*/ 228600 w 472440"/>
                  <a:gd name="connsiteY7" fmla="*/ 253266 h 969546"/>
                  <a:gd name="connsiteX8" fmla="*/ 344805 w 472440"/>
                  <a:gd name="connsiteY8" fmla="*/ 127536 h 969546"/>
                  <a:gd name="connsiteX9" fmla="*/ 209550 w 472440"/>
                  <a:gd name="connsiteY9" fmla="*/ 1806 h 969546"/>
                  <a:gd name="connsiteX10" fmla="*/ 49530 w 472440"/>
                  <a:gd name="connsiteY10" fmla="*/ 104676 h 969546"/>
                  <a:gd name="connsiteX11" fmla="*/ 142875 w 472440"/>
                  <a:gd name="connsiteY11" fmla="*/ 241836 h 969546"/>
                  <a:gd name="connsiteX0" fmla="*/ 142875 w 472440"/>
                  <a:gd name="connsiteY0" fmla="*/ 241836 h 969546"/>
                  <a:gd name="connsiteX1" fmla="*/ 0 w 472440"/>
                  <a:gd name="connsiteY1" fmla="*/ 925731 h 969546"/>
                  <a:gd name="connsiteX2" fmla="*/ 198120 w 472440"/>
                  <a:gd name="connsiteY2" fmla="*/ 375186 h 969546"/>
                  <a:gd name="connsiteX3" fmla="*/ 472440 w 472440"/>
                  <a:gd name="connsiteY3" fmla="*/ 969546 h 969546"/>
                  <a:gd name="connsiteX4" fmla="*/ 339090 w 472440"/>
                  <a:gd name="connsiteY4" fmla="*/ 594262 h 969546"/>
                  <a:gd name="connsiteX5" fmla="*/ 333375 w 472440"/>
                  <a:gd name="connsiteY5" fmla="*/ 573307 h 969546"/>
                  <a:gd name="connsiteX6" fmla="*/ 323850 w 472440"/>
                  <a:gd name="connsiteY6" fmla="*/ 539017 h 969546"/>
                  <a:gd name="connsiteX7" fmla="*/ 312420 w 472440"/>
                  <a:gd name="connsiteY7" fmla="*/ 502822 h 969546"/>
                  <a:gd name="connsiteX8" fmla="*/ 228600 w 472440"/>
                  <a:gd name="connsiteY8" fmla="*/ 253266 h 969546"/>
                  <a:gd name="connsiteX9" fmla="*/ 344805 w 472440"/>
                  <a:gd name="connsiteY9" fmla="*/ 127536 h 969546"/>
                  <a:gd name="connsiteX10" fmla="*/ 209550 w 472440"/>
                  <a:gd name="connsiteY10" fmla="*/ 1806 h 969546"/>
                  <a:gd name="connsiteX11" fmla="*/ 49530 w 472440"/>
                  <a:gd name="connsiteY11" fmla="*/ 104676 h 969546"/>
                  <a:gd name="connsiteX12" fmla="*/ 142875 w 472440"/>
                  <a:gd name="connsiteY12" fmla="*/ 241836 h 969546"/>
                  <a:gd name="connsiteX0" fmla="*/ 142875 w 472440"/>
                  <a:gd name="connsiteY0" fmla="*/ 241836 h 969546"/>
                  <a:gd name="connsiteX1" fmla="*/ 0 w 472440"/>
                  <a:gd name="connsiteY1" fmla="*/ 925731 h 969546"/>
                  <a:gd name="connsiteX2" fmla="*/ 198120 w 472440"/>
                  <a:gd name="connsiteY2" fmla="*/ 375186 h 969546"/>
                  <a:gd name="connsiteX3" fmla="*/ 472440 w 472440"/>
                  <a:gd name="connsiteY3" fmla="*/ 969546 h 969546"/>
                  <a:gd name="connsiteX4" fmla="*/ 339090 w 472440"/>
                  <a:gd name="connsiteY4" fmla="*/ 594262 h 969546"/>
                  <a:gd name="connsiteX5" fmla="*/ 468630 w 472440"/>
                  <a:gd name="connsiteY5" fmla="*/ 548542 h 969546"/>
                  <a:gd name="connsiteX6" fmla="*/ 323850 w 472440"/>
                  <a:gd name="connsiteY6" fmla="*/ 539017 h 969546"/>
                  <a:gd name="connsiteX7" fmla="*/ 312420 w 472440"/>
                  <a:gd name="connsiteY7" fmla="*/ 502822 h 969546"/>
                  <a:gd name="connsiteX8" fmla="*/ 228600 w 472440"/>
                  <a:gd name="connsiteY8" fmla="*/ 253266 h 969546"/>
                  <a:gd name="connsiteX9" fmla="*/ 344805 w 472440"/>
                  <a:gd name="connsiteY9" fmla="*/ 127536 h 969546"/>
                  <a:gd name="connsiteX10" fmla="*/ 209550 w 472440"/>
                  <a:gd name="connsiteY10" fmla="*/ 1806 h 969546"/>
                  <a:gd name="connsiteX11" fmla="*/ 49530 w 472440"/>
                  <a:gd name="connsiteY11" fmla="*/ 104676 h 969546"/>
                  <a:gd name="connsiteX12" fmla="*/ 142875 w 472440"/>
                  <a:gd name="connsiteY12" fmla="*/ 241836 h 969546"/>
                  <a:gd name="connsiteX0" fmla="*/ 142875 w 472440"/>
                  <a:gd name="connsiteY0" fmla="*/ 241836 h 969546"/>
                  <a:gd name="connsiteX1" fmla="*/ 0 w 472440"/>
                  <a:gd name="connsiteY1" fmla="*/ 925731 h 969546"/>
                  <a:gd name="connsiteX2" fmla="*/ 198120 w 472440"/>
                  <a:gd name="connsiteY2" fmla="*/ 375186 h 969546"/>
                  <a:gd name="connsiteX3" fmla="*/ 472440 w 472440"/>
                  <a:gd name="connsiteY3" fmla="*/ 969546 h 969546"/>
                  <a:gd name="connsiteX4" fmla="*/ 339090 w 472440"/>
                  <a:gd name="connsiteY4" fmla="*/ 594262 h 969546"/>
                  <a:gd name="connsiteX5" fmla="*/ 468630 w 472440"/>
                  <a:gd name="connsiteY5" fmla="*/ 548542 h 969546"/>
                  <a:gd name="connsiteX6" fmla="*/ 470535 w 472440"/>
                  <a:gd name="connsiteY6" fmla="*/ 516157 h 969546"/>
                  <a:gd name="connsiteX7" fmla="*/ 312420 w 472440"/>
                  <a:gd name="connsiteY7" fmla="*/ 502822 h 969546"/>
                  <a:gd name="connsiteX8" fmla="*/ 228600 w 472440"/>
                  <a:gd name="connsiteY8" fmla="*/ 253266 h 969546"/>
                  <a:gd name="connsiteX9" fmla="*/ 344805 w 472440"/>
                  <a:gd name="connsiteY9" fmla="*/ 127536 h 969546"/>
                  <a:gd name="connsiteX10" fmla="*/ 209550 w 472440"/>
                  <a:gd name="connsiteY10" fmla="*/ 1806 h 969546"/>
                  <a:gd name="connsiteX11" fmla="*/ 49530 w 472440"/>
                  <a:gd name="connsiteY11" fmla="*/ 104676 h 969546"/>
                  <a:gd name="connsiteX12" fmla="*/ 142875 w 472440"/>
                  <a:gd name="connsiteY12" fmla="*/ 241836 h 969546"/>
                  <a:gd name="connsiteX0" fmla="*/ 142875 w 472440"/>
                  <a:gd name="connsiteY0" fmla="*/ 241836 h 969546"/>
                  <a:gd name="connsiteX1" fmla="*/ 0 w 472440"/>
                  <a:gd name="connsiteY1" fmla="*/ 925731 h 969546"/>
                  <a:gd name="connsiteX2" fmla="*/ 198120 w 472440"/>
                  <a:gd name="connsiteY2" fmla="*/ 375186 h 969546"/>
                  <a:gd name="connsiteX3" fmla="*/ 472440 w 472440"/>
                  <a:gd name="connsiteY3" fmla="*/ 969546 h 969546"/>
                  <a:gd name="connsiteX4" fmla="*/ 329565 w 472440"/>
                  <a:gd name="connsiteY4" fmla="*/ 542827 h 969546"/>
                  <a:gd name="connsiteX5" fmla="*/ 468630 w 472440"/>
                  <a:gd name="connsiteY5" fmla="*/ 548542 h 969546"/>
                  <a:gd name="connsiteX6" fmla="*/ 470535 w 472440"/>
                  <a:gd name="connsiteY6" fmla="*/ 516157 h 969546"/>
                  <a:gd name="connsiteX7" fmla="*/ 312420 w 472440"/>
                  <a:gd name="connsiteY7" fmla="*/ 502822 h 969546"/>
                  <a:gd name="connsiteX8" fmla="*/ 228600 w 472440"/>
                  <a:gd name="connsiteY8" fmla="*/ 253266 h 969546"/>
                  <a:gd name="connsiteX9" fmla="*/ 344805 w 472440"/>
                  <a:gd name="connsiteY9" fmla="*/ 127536 h 969546"/>
                  <a:gd name="connsiteX10" fmla="*/ 209550 w 472440"/>
                  <a:gd name="connsiteY10" fmla="*/ 1806 h 969546"/>
                  <a:gd name="connsiteX11" fmla="*/ 49530 w 472440"/>
                  <a:gd name="connsiteY11" fmla="*/ 104676 h 969546"/>
                  <a:gd name="connsiteX12" fmla="*/ 142875 w 472440"/>
                  <a:gd name="connsiteY12" fmla="*/ 241836 h 969546"/>
                  <a:gd name="connsiteX0" fmla="*/ 142875 w 472440"/>
                  <a:gd name="connsiteY0" fmla="*/ 241836 h 969546"/>
                  <a:gd name="connsiteX1" fmla="*/ 0 w 472440"/>
                  <a:gd name="connsiteY1" fmla="*/ 925731 h 969546"/>
                  <a:gd name="connsiteX2" fmla="*/ 198120 w 472440"/>
                  <a:gd name="connsiteY2" fmla="*/ 375186 h 969546"/>
                  <a:gd name="connsiteX3" fmla="*/ 472440 w 472440"/>
                  <a:gd name="connsiteY3" fmla="*/ 969546 h 969546"/>
                  <a:gd name="connsiteX4" fmla="*/ 329565 w 472440"/>
                  <a:gd name="connsiteY4" fmla="*/ 542827 h 969546"/>
                  <a:gd name="connsiteX5" fmla="*/ 468630 w 472440"/>
                  <a:gd name="connsiteY5" fmla="*/ 548542 h 969546"/>
                  <a:gd name="connsiteX6" fmla="*/ 453390 w 472440"/>
                  <a:gd name="connsiteY6" fmla="*/ 499012 h 969546"/>
                  <a:gd name="connsiteX7" fmla="*/ 312420 w 472440"/>
                  <a:gd name="connsiteY7" fmla="*/ 502822 h 969546"/>
                  <a:gd name="connsiteX8" fmla="*/ 228600 w 472440"/>
                  <a:gd name="connsiteY8" fmla="*/ 253266 h 969546"/>
                  <a:gd name="connsiteX9" fmla="*/ 344805 w 472440"/>
                  <a:gd name="connsiteY9" fmla="*/ 127536 h 969546"/>
                  <a:gd name="connsiteX10" fmla="*/ 209550 w 472440"/>
                  <a:gd name="connsiteY10" fmla="*/ 1806 h 969546"/>
                  <a:gd name="connsiteX11" fmla="*/ 49530 w 472440"/>
                  <a:gd name="connsiteY11" fmla="*/ 104676 h 969546"/>
                  <a:gd name="connsiteX12" fmla="*/ 142875 w 472440"/>
                  <a:gd name="connsiteY12" fmla="*/ 241836 h 969546"/>
                  <a:gd name="connsiteX0" fmla="*/ 142875 w 472440"/>
                  <a:gd name="connsiteY0" fmla="*/ 241836 h 969546"/>
                  <a:gd name="connsiteX1" fmla="*/ 0 w 472440"/>
                  <a:gd name="connsiteY1" fmla="*/ 925731 h 969546"/>
                  <a:gd name="connsiteX2" fmla="*/ 198120 w 472440"/>
                  <a:gd name="connsiteY2" fmla="*/ 375186 h 969546"/>
                  <a:gd name="connsiteX3" fmla="*/ 472440 w 472440"/>
                  <a:gd name="connsiteY3" fmla="*/ 969546 h 969546"/>
                  <a:gd name="connsiteX4" fmla="*/ 329565 w 472440"/>
                  <a:gd name="connsiteY4" fmla="*/ 542827 h 969546"/>
                  <a:gd name="connsiteX5" fmla="*/ 457200 w 472440"/>
                  <a:gd name="connsiteY5" fmla="*/ 539017 h 969546"/>
                  <a:gd name="connsiteX6" fmla="*/ 453390 w 472440"/>
                  <a:gd name="connsiteY6" fmla="*/ 499012 h 969546"/>
                  <a:gd name="connsiteX7" fmla="*/ 312420 w 472440"/>
                  <a:gd name="connsiteY7" fmla="*/ 502822 h 969546"/>
                  <a:gd name="connsiteX8" fmla="*/ 228600 w 472440"/>
                  <a:gd name="connsiteY8" fmla="*/ 253266 h 969546"/>
                  <a:gd name="connsiteX9" fmla="*/ 344805 w 472440"/>
                  <a:gd name="connsiteY9" fmla="*/ 127536 h 969546"/>
                  <a:gd name="connsiteX10" fmla="*/ 209550 w 472440"/>
                  <a:gd name="connsiteY10" fmla="*/ 1806 h 969546"/>
                  <a:gd name="connsiteX11" fmla="*/ 49530 w 472440"/>
                  <a:gd name="connsiteY11" fmla="*/ 104676 h 969546"/>
                  <a:gd name="connsiteX12" fmla="*/ 142875 w 472440"/>
                  <a:gd name="connsiteY12" fmla="*/ 241836 h 969546"/>
                  <a:gd name="connsiteX0" fmla="*/ 142875 w 472440"/>
                  <a:gd name="connsiteY0" fmla="*/ 241836 h 969546"/>
                  <a:gd name="connsiteX1" fmla="*/ 0 w 472440"/>
                  <a:gd name="connsiteY1" fmla="*/ 925731 h 969546"/>
                  <a:gd name="connsiteX2" fmla="*/ 198120 w 472440"/>
                  <a:gd name="connsiteY2" fmla="*/ 375186 h 969546"/>
                  <a:gd name="connsiteX3" fmla="*/ 472440 w 472440"/>
                  <a:gd name="connsiteY3" fmla="*/ 969546 h 969546"/>
                  <a:gd name="connsiteX4" fmla="*/ 321945 w 472440"/>
                  <a:gd name="connsiteY4" fmla="*/ 533302 h 969546"/>
                  <a:gd name="connsiteX5" fmla="*/ 457200 w 472440"/>
                  <a:gd name="connsiteY5" fmla="*/ 539017 h 969546"/>
                  <a:gd name="connsiteX6" fmla="*/ 453390 w 472440"/>
                  <a:gd name="connsiteY6" fmla="*/ 499012 h 969546"/>
                  <a:gd name="connsiteX7" fmla="*/ 312420 w 472440"/>
                  <a:gd name="connsiteY7" fmla="*/ 502822 h 969546"/>
                  <a:gd name="connsiteX8" fmla="*/ 228600 w 472440"/>
                  <a:gd name="connsiteY8" fmla="*/ 253266 h 969546"/>
                  <a:gd name="connsiteX9" fmla="*/ 344805 w 472440"/>
                  <a:gd name="connsiteY9" fmla="*/ 127536 h 969546"/>
                  <a:gd name="connsiteX10" fmla="*/ 209550 w 472440"/>
                  <a:gd name="connsiteY10" fmla="*/ 1806 h 969546"/>
                  <a:gd name="connsiteX11" fmla="*/ 49530 w 472440"/>
                  <a:gd name="connsiteY11" fmla="*/ 104676 h 969546"/>
                  <a:gd name="connsiteX12" fmla="*/ 142875 w 472440"/>
                  <a:gd name="connsiteY12" fmla="*/ 241836 h 969546"/>
                  <a:gd name="connsiteX0" fmla="*/ 142875 w 472440"/>
                  <a:gd name="connsiteY0" fmla="*/ 241836 h 969546"/>
                  <a:gd name="connsiteX1" fmla="*/ 0 w 472440"/>
                  <a:gd name="connsiteY1" fmla="*/ 925731 h 969546"/>
                  <a:gd name="connsiteX2" fmla="*/ 198120 w 472440"/>
                  <a:gd name="connsiteY2" fmla="*/ 375186 h 969546"/>
                  <a:gd name="connsiteX3" fmla="*/ 472440 w 472440"/>
                  <a:gd name="connsiteY3" fmla="*/ 969546 h 969546"/>
                  <a:gd name="connsiteX4" fmla="*/ 331470 w 472440"/>
                  <a:gd name="connsiteY4" fmla="*/ 537112 h 969546"/>
                  <a:gd name="connsiteX5" fmla="*/ 457200 w 472440"/>
                  <a:gd name="connsiteY5" fmla="*/ 539017 h 969546"/>
                  <a:gd name="connsiteX6" fmla="*/ 453390 w 472440"/>
                  <a:gd name="connsiteY6" fmla="*/ 499012 h 969546"/>
                  <a:gd name="connsiteX7" fmla="*/ 312420 w 472440"/>
                  <a:gd name="connsiteY7" fmla="*/ 502822 h 969546"/>
                  <a:gd name="connsiteX8" fmla="*/ 228600 w 472440"/>
                  <a:gd name="connsiteY8" fmla="*/ 253266 h 969546"/>
                  <a:gd name="connsiteX9" fmla="*/ 344805 w 472440"/>
                  <a:gd name="connsiteY9" fmla="*/ 127536 h 969546"/>
                  <a:gd name="connsiteX10" fmla="*/ 209550 w 472440"/>
                  <a:gd name="connsiteY10" fmla="*/ 1806 h 969546"/>
                  <a:gd name="connsiteX11" fmla="*/ 49530 w 472440"/>
                  <a:gd name="connsiteY11" fmla="*/ 104676 h 969546"/>
                  <a:gd name="connsiteX12" fmla="*/ 142875 w 472440"/>
                  <a:gd name="connsiteY12" fmla="*/ 241836 h 969546"/>
                  <a:gd name="connsiteX0" fmla="*/ 142875 w 472440"/>
                  <a:gd name="connsiteY0" fmla="*/ 241836 h 969546"/>
                  <a:gd name="connsiteX1" fmla="*/ 0 w 472440"/>
                  <a:gd name="connsiteY1" fmla="*/ 925731 h 969546"/>
                  <a:gd name="connsiteX2" fmla="*/ 198120 w 472440"/>
                  <a:gd name="connsiteY2" fmla="*/ 375186 h 969546"/>
                  <a:gd name="connsiteX3" fmla="*/ 472440 w 472440"/>
                  <a:gd name="connsiteY3" fmla="*/ 969546 h 969546"/>
                  <a:gd name="connsiteX4" fmla="*/ 331470 w 472440"/>
                  <a:gd name="connsiteY4" fmla="*/ 537112 h 969546"/>
                  <a:gd name="connsiteX5" fmla="*/ 457200 w 472440"/>
                  <a:gd name="connsiteY5" fmla="*/ 533302 h 969546"/>
                  <a:gd name="connsiteX6" fmla="*/ 453390 w 472440"/>
                  <a:gd name="connsiteY6" fmla="*/ 499012 h 969546"/>
                  <a:gd name="connsiteX7" fmla="*/ 312420 w 472440"/>
                  <a:gd name="connsiteY7" fmla="*/ 502822 h 969546"/>
                  <a:gd name="connsiteX8" fmla="*/ 228600 w 472440"/>
                  <a:gd name="connsiteY8" fmla="*/ 253266 h 969546"/>
                  <a:gd name="connsiteX9" fmla="*/ 344805 w 472440"/>
                  <a:gd name="connsiteY9" fmla="*/ 127536 h 969546"/>
                  <a:gd name="connsiteX10" fmla="*/ 209550 w 472440"/>
                  <a:gd name="connsiteY10" fmla="*/ 1806 h 969546"/>
                  <a:gd name="connsiteX11" fmla="*/ 49530 w 472440"/>
                  <a:gd name="connsiteY11" fmla="*/ 104676 h 969546"/>
                  <a:gd name="connsiteX12" fmla="*/ 142875 w 472440"/>
                  <a:gd name="connsiteY12" fmla="*/ 241836 h 969546"/>
                  <a:gd name="connsiteX0" fmla="*/ 142875 w 472440"/>
                  <a:gd name="connsiteY0" fmla="*/ 241836 h 969546"/>
                  <a:gd name="connsiteX1" fmla="*/ 0 w 472440"/>
                  <a:gd name="connsiteY1" fmla="*/ 925731 h 969546"/>
                  <a:gd name="connsiteX2" fmla="*/ 198120 w 472440"/>
                  <a:gd name="connsiteY2" fmla="*/ 375186 h 969546"/>
                  <a:gd name="connsiteX3" fmla="*/ 472440 w 472440"/>
                  <a:gd name="connsiteY3" fmla="*/ 969546 h 969546"/>
                  <a:gd name="connsiteX4" fmla="*/ 331470 w 472440"/>
                  <a:gd name="connsiteY4" fmla="*/ 537112 h 969546"/>
                  <a:gd name="connsiteX5" fmla="*/ 457200 w 472440"/>
                  <a:gd name="connsiteY5" fmla="*/ 533302 h 969546"/>
                  <a:gd name="connsiteX6" fmla="*/ 451485 w 472440"/>
                  <a:gd name="connsiteY6" fmla="*/ 504727 h 969546"/>
                  <a:gd name="connsiteX7" fmla="*/ 312420 w 472440"/>
                  <a:gd name="connsiteY7" fmla="*/ 502822 h 969546"/>
                  <a:gd name="connsiteX8" fmla="*/ 228600 w 472440"/>
                  <a:gd name="connsiteY8" fmla="*/ 253266 h 969546"/>
                  <a:gd name="connsiteX9" fmla="*/ 344805 w 472440"/>
                  <a:gd name="connsiteY9" fmla="*/ 127536 h 969546"/>
                  <a:gd name="connsiteX10" fmla="*/ 209550 w 472440"/>
                  <a:gd name="connsiteY10" fmla="*/ 1806 h 969546"/>
                  <a:gd name="connsiteX11" fmla="*/ 49530 w 472440"/>
                  <a:gd name="connsiteY11" fmla="*/ 104676 h 969546"/>
                  <a:gd name="connsiteX12" fmla="*/ 142875 w 472440"/>
                  <a:gd name="connsiteY12" fmla="*/ 241836 h 969546"/>
                  <a:gd name="connsiteX0" fmla="*/ 142875 w 472440"/>
                  <a:gd name="connsiteY0" fmla="*/ 241836 h 969546"/>
                  <a:gd name="connsiteX1" fmla="*/ 81915 w 472440"/>
                  <a:gd name="connsiteY1" fmla="*/ 537112 h 969546"/>
                  <a:gd name="connsiteX2" fmla="*/ 0 w 472440"/>
                  <a:gd name="connsiteY2" fmla="*/ 925731 h 969546"/>
                  <a:gd name="connsiteX3" fmla="*/ 198120 w 472440"/>
                  <a:gd name="connsiteY3" fmla="*/ 375186 h 969546"/>
                  <a:gd name="connsiteX4" fmla="*/ 472440 w 472440"/>
                  <a:gd name="connsiteY4" fmla="*/ 969546 h 969546"/>
                  <a:gd name="connsiteX5" fmla="*/ 331470 w 472440"/>
                  <a:gd name="connsiteY5" fmla="*/ 537112 h 969546"/>
                  <a:gd name="connsiteX6" fmla="*/ 457200 w 472440"/>
                  <a:gd name="connsiteY6" fmla="*/ 533302 h 969546"/>
                  <a:gd name="connsiteX7" fmla="*/ 451485 w 472440"/>
                  <a:gd name="connsiteY7" fmla="*/ 504727 h 969546"/>
                  <a:gd name="connsiteX8" fmla="*/ 312420 w 472440"/>
                  <a:gd name="connsiteY8" fmla="*/ 502822 h 969546"/>
                  <a:gd name="connsiteX9" fmla="*/ 228600 w 472440"/>
                  <a:gd name="connsiteY9" fmla="*/ 253266 h 969546"/>
                  <a:gd name="connsiteX10" fmla="*/ 344805 w 472440"/>
                  <a:gd name="connsiteY10" fmla="*/ 127536 h 969546"/>
                  <a:gd name="connsiteX11" fmla="*/ 209550 w 472440"/>
                  <a:gd name="connsiteY11" fmla="*/ 1806 h 969546"/>
                  <a:gd name="connsiteX12" fmla="*/ 49530 w 472440"/>
                  <a:gd name="connsiteY12" fmla="*/ 104676 h 969546"/>
                  <a:gd name="connsiteX13" fmla="*/ 142875 w 472440"/>
                  <a:gd name="connsiteY13" fmla="*/ 241836 h 969546"/>
                  <a:gd name="connsiteX0" fmla="*/ 142875 w 472440"/>
                  <a:gd name="connsiteY0" fmla="*/ 241836 h 969546"/>
                  <a:gd name="connsiteX1" fmla="*/ 83820 w 472440"/>
                  <a:gd name="connsiteY1" fmla="*/ 512347 h 969546"/>
                  <a:gd name="connsiteX2" fmla="*/ 81915 w 472440"/>
                  <a:gd name="connsiteY2" fmla="*/ 537112 h 969546"/>
                  <a:gd name="connsiteX3" fmla="*/ 0 w 472440"/>
                  <a:gd name="connsiteY3" fmla="*/ 925731 h 969546"/>
                  <a:gd name="connsiteX4" fmla="*/ 198120 w 472440"/>
                  <a:gd name="connsiteY4" fmla="*/ 375186 h 969546"/>
                  <a:gd name="connsiteX5" fmla="*/ 472440 w 472440"/>
                  <a:gd name="connsiteY5" fmla="*/ 969546 h 969546"/>
                  <a:gd name="connsiteX6" fmla="*/ 331470 w 472440"/>
                  <a:gd name="connsiteY6" fmla="*/ 537112 h 969546"/>
                  <a:gd name="connsiteX7" fmla="*/ 457200 w 472440"/>
                  <a:gd name="connsiteY7" fmla="*/ 533302 h 969546"/>
                  <a:gd name="connsiteX8" fmla="*/ 451485 w 472440"/>
                  <a:gd name="connsiteY8" fmla="*/ 504727 h 969546"/>
                  <a:gd name="connsiteX9" fmla="*/ 312420 w 472440"/>
                  <a:gd name="connsiteY9" fmla="*/ 502822 h 969546"/>
                  <a:gd name="connsiteX10" fmla="*/ 228600 w 472440"/>
                  <a:gd name="connsiteY10" fmla="*/ 253266 h 969546"/>
                  <a:gd name="connsiteX11" fmla="*/ 344805 w 472440"/>
                  <a:gd name="connsiteY11" fmla="*/ 127536 h 969546"/>
                  <a:gd name="connsiteX12" fmla="*/ 209550 w 472440"/>
                  <a:gd name="connsiteY12" fmla="*/ 1806 h 969546"/>
                  <a:gd name="connsiteX13" fmla="*/ 49530 w 472440"/>
                  <a:gd name="connsiteY13" fmla="*/ 104676 h 969546"/>
                  <a:gd name="connsiteX14" fmla="*/ 142875 w 472440"/>
                  <a:gd name="connsiteY14" fmla="*/ 241836 h 969546"/>
                  <a:gd name="connsiteX0" fmla="*/ 142875 w 472440"/>
                  <a:gd name="connsiteY0" fmla="*/ 241836 h 969546"/>
                  <a:gd name="connsiteX1" fmla="*/ 85725 w 472440"/>
                  <a:gd name="connsiteY1" fmla="*/ 495202 h 969546"/>
                  <a:gd name="connsiteX2" fmla="*/ 83820 w 472440"/>
                  <a:gd name="connsiteY2" fmla="*/ 512347 h 969546"/>
                  <a:gd name="connsiteX3" fmla="*/ 81915 w 472440"/>
                  <a:gd name="connsiteY3" fmla="*/ 537112 h 969546"/>
                  <a:gd name="connsiteX4" fmla="*/ 0 w 472440"/>
                  <a:gd name="connsiteY4" fmla="*/ 925731 h 969546"/>
                  <a:gd name="connsiteX5" fmla="*/ 198120 w 472440"/>
                  <a:gd name="connsiteY5" fmla="*/ 375186 h 969546"/>
                  <a:gd name="connsiteX6" fmla="*/ 472440 w 472440"/>
                  <a:gd name="connsiteY6" fmla="*/ 969546 h 969546"/>
                  <a:gd name="connsiteX7" fmla="*/ 331470 w 472440"/>
                  <a:gd name="connsiteY7" fmla="*/ 537112 h 969546"/>
                  <a:gd name="connsiteX8" fmla="*/ 457200 w 472440"/>
                  <a:gd name="connsiteY8" fmla="*/ 533302 h 969546"/>
                  <a:gd name="connsiteX9" fmla="*/ 451485 w 472440"/>
                  <a:gd name="connsiteY9" fmla="*/ 504727 h 969546"/>
                  <a:gd name="connsiteX10" fmla="*/ 312420 w 472440"/>
                  <a:gd name="connsiteY10" fmla="*/ 502822 h 969546"/>
                  <a:gd name="connsiteX11" fmla="*/ 228600 w 472440"/>
                  <a:gd name="connsiteY11" fmla="*/ 253266 h 969546"/>
                  <a:gd name="connsiteX12" fmla="*/ 344805 w 472440"/>
                  <a:gd name="connsiteY12" fmla="*/ 127536 h 969546"/>
                  <a:gd name="connsiteX13" fmla="*/ 209550 w 472440"/>
                  <a:gd name="connsiteY13" fmla="*/ 1806 h 969546"/>
                  <a:gd name="connsiteX14" fmla="*/ 49530 w 472440"/>
                  <a:gd name="connsiteY14" fmla="*/ 104676 h 969546"/>
                  <a:gd name="connsiteX15" fmla="*/ 142875 w 472440"/>
                  <a:gd name="connsiteY15" fmla="*/ 241836 h 969546"/>
                  <a:gd name="connsiteX0" fmla="*/ 142875 w 472440"/>
                  <a:gd name="connsiteY0" fmla="*/ 241836 h 969546"/>
                  <a:gd name="connsiteX1" fmla="*/ 91440 w 472440"/>
                  <a:gd name="connsiteY1" fmla="*/ 468532 h 969546"/>
                  <a:gd name="connsiteX2" fmla="*/ 85725 w 472440"/>
                  <a:gd name="connsiteY2" fmla="*/ 495202 h 969546"/>
                  <a:gd name="connsiteX3" fmla="*/ 83820 w 472440"/>
                  <a:gd name="connsiteY3" fmla="*/ 512347 h 969546"/>
                  <a:gd name="connsiteX4" fmla="*/ 81915 w 472440"/>
                  <a:gd name="connsiteY4" fmla="*/ 537112 h 969546"/>
                  <a:gd name="connsiteX5" fmla="*/ 0 w 472440"/>
                  <a:gd name="connsiteY5" fmla="*/ 925731 h 969546"/>
                  <a:gd name="connsiteX6" fmla="*/ 198120 w 472440"/>
                  <a:gd name="connsiteY6" fmla="*/ 375186 h 969546"/>
                  <a:gd name="connsiteX7" fmla="*/ 472440 w 472440"/>
                  <a:gd name="connsiteY7" fmla="*/ 969546 h 969546"/>
                  <a:gd name="connsiteX8" fmla="*/ 331470 w 472440"/>
                  <a:gd name="connsiteY8" fmla="*/ 537112 h 969546"/>
                  <a:gd name="connsiteX9" fmla="*/ 457200 w 472440"/>
                  <a:gd name="connsiteY9" fmla="*/ 533302 h 969546"/>
                  <a:gd name="connsiteX10" fmla="*/ 451485 w 472440"/>
                  <a:gd name="connsiteY10" fmla="*/ 504727 h 969546"/>
                  <a:gd name="connsiteX11" fmla="*/ 312420 w 472440"/>
                  <a:gd name="connsiteY11" fmla="*/ 502822 h 969546"/>
                  <a:gd name="connsiteX12" fmla="*/ 228600 w 472440"/>
                  <a:gd name="connsiteY12" fmla="*/ 253266 h 969546"/>
                  <a:gd name="connsiteX13" fmla="*/ 344805 w 472440"/>
                  <a:gd name="connsiteY13" fmla="*/ 127536 h 969546"/>
                  <a:gd name="connsiteX14" fmla="*/ 209550 w 472440"/>
                  <a:gd name="connsiteY14" fmla="*/ 1806 h 969546"/>
                  <a:gd name="connsiteX15" fmla="*/ 49530 w 472440"/>
                  <a:gd name="connsiteY15" fmla="*/ 104676 h 969546"/>
                  <a:gd name="connsiteX16" fmla="*/ 142875 w 472440"/>
                  <a:gd name="connsiteY16" fmla="*/ 241836 h 969546"/>
                  <a:gd name="connsiteX0" fmla="*/ 215265 w 544830"/>
                  <a:gd name="connsiteY0" fmla="*/ 241836 h 969546"/>
                  <a:gd name="connsiteX1" fmla="*/ 163830 w 544830"/>
                  <a:gd name="connsiteY1" fmla="*/ 468532 h 969546"/>
                  <a:gd name="connsiteX2" fmla="*/ 0 w 544830"/>
                  <a:gd name="connsiteY2" fmla="*/ 481867 h 969546"/>
                  <a:gd name="connsiteX3" fmla="*/ 156210 w 544830"/>
                  <a:gd name="connsiteY3" fmla="*/ 512347 h 969546"/>
                  <a:gd name="connsiteX4" fmla="*/ 154305 w 544830"/>
                  <a:gd name="connsiteY4" fmla="*/ 537112 h 969546"/>
                  <a:gd name="connsiteX5" fmla="*/ 72390 w 544830"/>
                  <a:gd name="connsiteY5" fmla="*/ 925731 h 969546"/>
                  <a:gd name="connsiteX6" fmla="*/ 270510 w 544830"/>
                  <a:gd name="connsiteY6" fmla="*/ 375186 h 969546"/>
                  <a:gd name="connsiteX7" fmla="*/ 544830 w 544830"/>
                  <a:gd name="connsiteY7" fmla="*/ 969546 h 969546"/>
                  <a:gd name="connsiteX8" fmla="*/ 403860 w 544830"/>
                  <a:gd name="connsiteY8" fmla="*/ 537112 h 969546"/>
                  <a:gd name="connsiteX9" fmla="*/ 529590 w 544830"/>
                  <a:gd name="connsiteY9" fmla="*/ 533302 h 969546"/>
                  <a:gd name="connsiteX10" fmla="*/ 523875 w 544830"/>
                  <a:gd name="connsiteY10" fmla="*/ 504727 h 969546"/>
                  <a:gd name="connsiteX11" fmla="*/ 384810 w 544830"/>
                  <a:gd name="connsiteY11" fmla="*/ 502822 h 969546"/>
                  <a:gd name="connsiteX12" fmla="*/ 300990 w 544830"/>
                  <a:gd name="connsiteY12" fmla="*/ 253266 h 969546"/>
                  <a:gd name="connsiteX13" fmla="*/ 417195 w 544830"/>
                  <a:gd name="connsiteY13" fmla="*/ 127536 h 969546"/>
                  <a:gd name="connsiteX14" fmla="*/ 281940 w 544830"/>
                  <a:gd name="connsiteY14" fmla="*/ 1806 h 969546"/>
                  <a:gd name="connsiteX15" fmla="*/ 121920 w 544830"/>
                  <a:gd name="connsiteY15" fmla="*/ 104676 h 969546"/>
                  <a:gd name="connsiteX16" fmla="*/ 215265 w 544830"/>
                  <a:gd name="connsiteY16" fmla="*/ 241836 h 969546"/>
                  <a:gd name="connsiteX0" fmla="*/ 215265 w 544830"/>
                  <a:gd name="connsiteY0" fmla="*/ 241836 h 969546"/>
                  <a:gd name="connsiteX1" fmla="*/ 163830 w 544830"/>
                  <a:gd name="connsiteY1" fmla="*/ 468532 h 969546"/>
                  <a:gd name="connsiteX2" fmla="*/ 0 w 544830"/>
                  <a:gd name="connsiteY2" fmla="*/ 481867 h 969546"/>
                  <a:gd name="connsiteX3" fmla="*/ 19050 w 544830"/>
                  <a:gd name="connsiteY3" fmla="*/ 531397 h 969546"/>
                  <a:gd name="connsiteX4" fmla="*/ 154305 w 544830"/>
                  <a:gd name="connsiteY4" fmla="*/ 537112 h 969546"/>
                  <a:gd name="connsiteX5" fmla="*/ 72390 w 544830"/>
                  <a:gd name="connsiteY5" fmla="*/ 925731 h 969546"/>
                  <a:gd name="connsiteX6" fmla="*/ 270510 w 544830"/>
                  <a:gd name="connsiteY6" fmla="*/ 375186 h 969546"/>
                  <a:gd name="connsiteX7" fmla="*/ 544830 w 544830"/>
                  <a:gd name="connsiteY7" fmla="*/ 969546 h 969546"/>
                  <a:gd name="connsiteX8" fmla="*/ 403860 w 544830"/>
                  <a:gd name="connsiteY8" fmla="*/ 537112 h 969546"/>
                  <a:gd name="connsiteX9" fmla="*/ 529590 w 544830"/>
                  <a:gd name="connsiteY9" fmla="*/ 533302 h 969546"/>
                  <a:gd name="connsiteX10" fmla="*/ 523875 w 544830"/>
                  <a:gd name="connsiteY10" fmla="*/ 504727 h 969546"/>
                  <a:gd name="connsiteX11" fmla="*/ 384810 w 544830"/>
                  <a:gd name="connsiteY11" fmla="*/ 502822 h 969546"/>
                  <a:gd name="connsiteX12" fmla="*/ 300990 w 544830"/>
                  <a:gd name="connsiteY12" fmla="*/ 253266 h 969546"/>
                  <a:gd name="connsiteX13" fmla="*/ 417195 w 544830"/>
                  <a:gd name="connsiteY13" fmla="*/ 127536 h 969546"/>
                  <a:gd name="connsiteX14" fmla="*/ 281940 w 544830"/>
                  <a:gd name="connsiteY14" fmla="*/ 1806 h 969546"/>
                  <a:gd name="connsiteX15" fmla="*/ 121920 w 544830"/>
                  <a:gd name="connsiteY15" fmla="*/ 104676 h 969546"/>
                  <a:gd name="connsiteX16" fmla="*/ 215265 w 544830"/>
                  <a:gd name="connsiteY16" fmla="*/ 241836 h 969546"/>
                  <a:gd name="connsiteX0" fmla="*/ 215265 w 544830"/>
                  <a:gd name="connsiteY0" fmla="*/ 241836 h 969546"/>
                  <a:gd name="connsiteX1" fmla="*/ 165735 w 544830"/>
                  <a:gd name="connsiteY1" fmla="*/ 499012 h 969546"/>
                  <a:gd name="connsiteX2" fmla="*/ 0 w 544830"/>
                  <a:gd name="connsiteY2" fmla="*/ 481867 h 969546"/>
                  <a:gd name="connsiteX3" fmla="*/ 19050 w 544830"/>
                  <a:gd name="connsiteY3" fmla="*/ 531397 h 969546"/>
                  <a:gd name="connsiteX4" fmla="*/ 154305 w 544830"/>
                  <a:gd name="connsiteY4" fmla="*/ 537112 h 969546"/>
                  <a:gd name="connsiteX5" fmla="*/ 72390 w 544830"/>
                  <a:gd name="connsiteY5" fmla="*/ 925731 h 969546"/>
                  <a:gd name="connsiteX6" fmla="*/ 270510 w 544830"/>
                  <a:gd name="connsiteY6" fmla="*/ 375186 h 969546"/>
                  <a:gd name="connsiteX7" fmla="*/ 544830 w 544830"/>
                  <a:gd name="connsiteY7" fmla="*/ 969546 h 969546"/>
                  <a:gd name="connsiteX8" fmla="*/ 403860 w 544830"/>
                  <a:gd name="connsiteY8" fmla="*/ 537112 h 969546"/>
                  <a:gd name="connsiteX9" fmla="*/ 529590 w 544830"/>
                  <a:gd name="connsiteY9" fmla="*/ 533302 h 969546"/>
                  <a:gd name="connsiteX10" fmla="*/ 523875 w 544830"/>
                  <a:gd name="connsiteY10" fmla="*/ 504727 h 969546"/>
                  <a:gd name="connsiteX11" fmla="*/ 384810 w 544830"/>
                  <a:gd name="connsiteY11" fmla="*/ 502822 h 969546"/>
                  <a:gd name="connsiteX12" fmla="*/ 300990 w 544830"/>
                  <a:gd name="connsiteY12" fmla="*/ 253266 h 969546"/>
                  <a:gd name="connsiteX13" fmla="*/ 417195 w 544830"/>
                  <a:gd name="connsiteY13" fmla="*/ 127536 h 969546"/>
                  <a:gd name="connsiteX14" fmla="*/ 281940 w 544830"/>
                  <a:gd name="connsiteY14" fmla="*/ 1806 h 969546"/>
                  <a:gd name="connsiteX15" fmla="*/ 121920 w 544830"/>
                  <a:gd name="connsiteY15" fmla="*/ 104676 h 969546"/>
                  <a:gd name="connsiteX16" fmla="*/ 215265 w 544830"/>
                  <a:gd name="connsiteY16" fmla="*/ 241836 h 969546"/>
                  <a:gd name="connsiteX0" fmla="*/ 215265 w 544830"/>
                  <a:gd name="connsiteY0" fmla="*/ 241836 h 969546"/>
                  <a:gd name="connsiteX1" fmla="*/ 165735 w 544830"/>
                  <a:gd name="connsiteY1" fmla="*/ 499012 h 969546"/>
                  <a:gd name="connsiteX2" fmla="*/ 0 w 544830"/>
                  <a:gd name="connsiteY2" fmla="*/ 481867 h 969546"/>
                  <a:gd name="connsiteX3" fmla="*/ 19050 w 544830"/>
                  <a:gd name="connsiteY3" fmla="*/ 531397 h 969546"/>
                  <a:gd name="connsiteX4" fmla="*/ 158115 w 544830"/>
                  <a:gd name="connsiteY4" fmla="*/ 529492 h 969546"/>
                  <a:gd name="connsiteX5" fmla="*/ 72390 w 544830"/>
                  <a:gd name="connsiteY5" fmla="*/ 925731 h 969546"/>
                  <a:gd name="connsiteX6" fmla="*/ 270510 w 544830"/>
                  <a:gd name="connsiteY6" fmla="*/ 375186 h 969546"/>
                  <a:gd name="connsiteX7" fmla="*/ 544830 w 544830"/>
                  <a:gd name="connsiteY7" fmla="*/ 969546 h 969546"/>
                  <a:gd name="connsiteX8" fmla="*/ 403860 w 544830"/>
                  <a:gd name="connsiteY8" fmla="*/ 537112 h 969546"/>
                  <a:gd name="connsiteX9" fmla="*/ 529590 w 544830"/>
                  <a:gd name="connsiteY9" fmla="*/ 533302 h 969546"/>
                  <a:gd name="connsiteX10" fmla="*/ 523875 w 544830"/>
                  <a:gd name="connsiteY10" fmla="*/ 504727 h 969546"/>
                  <a:gd name="connsiteX11" fmla="*/ 384810 w 544830"/>
                  <a:gd name="connsiteY11" fmla="*/ 502822 h 969546"/>
                  <a:gd name="connsiteX12" fmla="*/ 300990 w 544830"/>
                  <a:gd name="connsiteY12" fmla="*/ 253266 h 969546"/>
                  <a:gd name="connsiteX13" fmla="*/ 417195 w 544830"/>
                  <a:gd name="connsiteY13" fmla="*/ 127536 h 969546"/>
                  <a:gd name="connsiteX14" fmla="*/ 281940 w 544830"/>
                  <a:gd name="connsiteY14" fmla="*/ 1806 h 969546"/>
                  <a:gd name="connsiteX15" fmla="*/ 121920 w 544830"/>
                  <a:gd name="connsiteY15" fmla="*/ 104676 h 969546"/>
                  <a:gd name="connsiteX16" fmla="*/ 215265 w 544830"/>
                  <a:gd name="connsiteY16" fmla="*/ 241836 h 969546"/>
                  <a:gd name="connsiteX0" fmla="*/ 215265 w 544830"/>
                  <a:gd name="connsiteY0" fmla="*/ 241836 h 969546"/>
                  <a:gd name="connsiteX1" fmla="*/ 165735 w 544830"/>
                  <a:gd name="connsiteY1" fmla="*/ 499012 h 969546"/>
                  <a:gd name="connsiteX2" fmla="*/ 0 w 544830"/>
                  <a:gd name="connsiteY2" fmla="*/ 481867 h 969546"/>
                  <a:gd name="connsiteX3" fmla="*/ 19050 w 544830"/>
                  <a:gd name="connsiteY3" fmla="*/ 514252 h 969546"/>
                  <a:gd name="connsiteX4" fmla="*/ 158115 w 544830"/>
                  <a:gd name="connsiteY4" fmla="*/ 529492 h 969546"/>
                  <a:gd name="connsiteX5" fmla="*/ 72390 w 544830"/>
                  <a:gd name="connsiteY5" fmla="*/ 925731 h 969546"/>
                  <a:gd name="connsiteX6" fmla="*/ 270510 w 544830"/>
                  <a:gd name="connsiteY6" fmla="*/ 375186 h 969546"/>
                  <a:gd name="connsiteX7" fmla="*/ 544830 w 544830"/>
                  <a:gd name="connsiteY7" fmla="*/ 969546 h 969546"/>
                  <a:gd name="connsiteX8" fmla="*/ 403860 w 544830"/>
                  <a:gd name="connsiteY8" fmla="*/ 537112 h 969546"/>
                  <a:gd name="connsiteX9" fmla="*/ 529590 w 544830"/>
                  <a:gd name="connsiteY9" fmla="*/ 533302 h 969546"/>
                  <a:gd name="connsiteX10" fmla="*/ 523875 w 544830"/>
                  <a:gd name="connsiteY10" fmla="*/ 504727 h 969546"/>
                  <a:gd name="connsiteX11" fmla="*/ 384810 w 544830"/>
                  <a:gd name="connsiteY11" fmla="*/ 502822 h 969546"/>
                  <a:gd name="connsiteX12" fmla="*/ 300990 w 544830"/>
                  <a:gd name="connsiteY12" fmla="*/ 253266 h 969546"/>
                  <a:gd name="connsiteX13" fmla="*/ 417195 w 544830"/>
                  <a:gd name="connsiteY13" fmla="*/ 127536 h 969546"/>
                  <a:gd name="connsiteX14" fmla="*/ 281940 w 544830"/>
                  <a:gd name="connsiteY14" fmla="*/ 1806 h 969546"/>
                  <a:gd name="connsiteX15" fmla="*/ 121920 w 544830"/>
                  <a:gd name="connsiteY15" fmla="*/ 104676 h 969546"/>
                  <a:gd name="connsiteX16" fmla="*/ 215265 w 544830"/>
                  <a:gd name="connsiteY16" fmla="*/ 241836 h 969546"/>
                  <a:gd name="connsiteX0" fmla="*/ 196215 w 525780"/>
                  <a:gd name="connsiteY0" fmla="*/ 241836 h 969546"/>
                  <a:gd name="connsiteX1" fmla="*/ 146685 w 525780"/>
                  <a:gd name="connsiteY1" fmla="*/ 499012 h 969546"/>
                  <a:gd name="connsiteX2" fmla="*/ 7620 w 525780"/>
                  <a:gd name="connsiteY2" fmla="*/ 487582 h 969546"/>
                  <a:gd name="connsiteX3" fmla="*/ 0 w 525780"/>
                  <a:gd name="connsiteY3" fmla="*/ 514252 h 969546"/>
                  <a:gd name="connsiteX4" fmla="*/ 139065 w 525780"/>
                  <a:gd name="connsiteY4" fmla="*/ 529492 h 969546"/>
                  <a:gd name="connsiteX5" fmla="*/ 53340 w 525780"/>
                  <a:gd name="connsiteY5" fmla="*/ 925731 h 969546"/>
                  <a:gd name="connsiteX6" fmla="*/ 251460 w 525780"/>
                  <a:gd name="connsiteY6" fmla="*/ 375186 h 969546"/>
                  <a:gd name="connsiteX7" fmla="*/ 525780 w 525780"/>
                  <a:gd name="connsiteY7" fmla="*/ 969546 h 969546"/>
                  <a:gd name="connsiteX8" fmla="*/ 384810 w 525780"/>
                  <a:gd name="connsiteY8" fmla="*/ 537112 h 969546"/>
                  <a:gd name="connsiteX9" fmla="*/ 510540 w 525780"/>
                  <a:gd name="connsiteY9" fmla="*/ 533302 h 969546"/>
                  <a:gd name="connsiteX10" fmla="*/ 504825 w 525780"/>
                  <a:gd name="connsiteY10" fmla="*/ 504727 h 969546"/>
                  <a:gd name="connsiteX11" fmla="*/ 365760 w 525780"/>
                  <a:gd name="connsiteY11" fmla="*/ 502822 h 969546"/>
                  <a:gd name="connsiteX12" fmla="*/ 281940 w 525780"/>
                  <a:gd name="connsiteY12" fmla="*/ 253266 h 969546"/>
                  <a:gd name="connsiteX13" fmla="*/ 398145 w 525780"/>
                  <a:gd name="connsiteY13" fmla="*/ 127536 h 969546"/>
                  <a:gd name="connsiteX14" fmla="*/ 262890 w 525780"/>
                  <a:gd name="connsiteY14" fmla="*/ 1806 h 969546"/>
                  <a:gd name="connsiteX15" fmla="*/ 102870 w 525780"/>
                  <a:gd name="connsiteY15" fmla="*/ 104676 h 969546"/>
                  <a:gd name="connsiteX16" fmla="*/ 196215 w 525780"/>
                  <a:gd name="connsiteY16" fmla="*/ 241836 h 969546"/>
                  <a:gd name="connsiteX0" fmla="*/ 188595 w 518160"/>
                  <a:gd name="connsiteY0" fmla="*/ 241836 h 969546"/>
                  <a:gd name="connsiteX1" fmla="*/ 139065 w 518160"/>
                  <a:gd name="connsiteY1" fmla="*/ 499012 h 969546"/>
                  <a:gd name="connsiteX2" fmla="*/ 0 w 518160"/>
                  <a:gd name="connsiteY2" fmla="*/ 487582 h 969546"/>
                  <a:gd name="connsiteX3" fmla="*/ 0 w 518160"/>
                  <a:gd name="connsiteY3" fmla="*/ 527587 h 969546"/>
                  <a:gd name="connsiteX4" fmla="*/ 131445 w 518160"/>
                  <a:gd name="connsiteY4" fmla="*/ 529492 h 969546"/>
                  <a:gd name="connsiteX5" fmla="*/ 45720 w 518160"/>
                  <a:gd name="connsiteY5" fmla="*/ 925731 h 969546"/>
                  <a:gd name="connsiteX6" fmla="*/ 243840 w 518160"/>
                  <a:gd name="connsiteY6" fmla="*/ 375186 h 969546"/>
                  <a:gd name="connsiteX7" fmla="*/ 518160 w 518160"/>
                  <a:gd name="connsiteY7" fmla="*/ 969546 h 969546"/>
                  <a:gd name="connsiteX8" fmla="*/ 377190 w 518160"/>
                  <a:gd name="connsiteY8" fmla="*/ 537112 h 969546"/>
                  <a:gd name="connsiteX9" fmla="*/ 502920 w 518160"/>
                  <a:gd name="connsiteY9" fmla="*/ 533302 h 969546"/>
                  <a:gd name="connsiteX10" fmla="*/ 497205 w 518160"/>
                  <a:gd name="connsiteY10" fmla="*/ 504727 h 969546"/>
                  <a:gd name="connsiteX11" fmla="*/ 358140 w 518160"/>
                  <a:gd name="connsiteY11" fmla="*/ 502822 h 969546"/>
                  <a:gd name="connsiteX12" fmla="*/ 274320 w 518160"/>
                  <a:gd name="connsiteY12" fmla="*/ 253266 h 969546"/>
                  <a:gd name="connsiteX13" fmla="*/ 390525 w 518160"/>
                  <a:gd name="connsiteY13" fmla="*/ 127536 h 969546"/>
                  <a:gd name="connsiteX14" fmla="*/ 255270 w 518160"/>
                  <a:gd name="connsiteY14" fmla="*/ 1806 h 969546"/>
                  <a:gd name="connsiteX15" fmla="*/ 95250 w 518160"/>
                  <a:gd name="connsiteY15" fmla="*/ 104676 h 969546"/>
                  <a:gd name="connsiteX16" fmla="*/ 188595 w 518160"/>
                  <a:gd name="connsiteY16" fmla="*/ 241836 h 969546"/>
                  <a:gd name="connsiteX0" fmla="*/ 188595 w 518160"/>
                  <a:gd name="connsiteY0" fmla="*/ 241836 h 969546"/>
                  <a:gd name="connsiteX1" fmla="*/ 139065 w 518160"/>
                  <a:gd name="connsiteY1" fmla="*/ 499012 h 969546"/>
                  <a:gd name="connsiteX2" fmla="*/ 3810 w 518160"/>
                  <a:gd name="connsiteY2" fmla="*/ 499012 h 969546"/>
                  <a:gd name="connsiteX3" fmla="*/ 0 w 518160"/>
                  <a:gd name="connsiteY3" fmla="*/ 527587 h 969546"/>
                  <a:gd name="connsiteX4" fmla="*/ 131445 w 518160"/>
                  <a:gd name="connsiteY4" fmla="*/ 529492 h 969546"/>
                  <a:gd name="connsiteX5" fmla="*/ 45720 w 518160"/>
                  <a:gd name="connsiteY5" fmla="*/ 925731 h 969546"/>
                  <a:gd name="connsiteX6" fmla="*/ 243840 w 518160"/>
                  <a:gd name="connsiteY6" fmla="*/ 375186 h 969546"/>
                  <a:gd name="connsiteX7" fmla="*/ 518160 w 518160"/>
                  <a:gd name="connsiteY7" fmla="*/ 969546 h 969546"/>
                  <a:gd name="connsiteX8" fmla="*/ 377190 w 518160"/>
                  <a:gd name="connsiteY8" fmla="*/ 537112 h 969546"/>
                  <a:gd name="connsiteX9" fmla="*/ 502920 w 518160"/>
                  <a:gd name="connsiteY9" fmla="*/ 533302 h 969546"/>
                  <a:gd name="connsiteX10" fmla="*/ 497205 w 518160"/>
                  <a:gd name="connsiteY10" fmla="*/ 504727 h 969546"/>
                  <a:gd name="connsiteX11" fmla="*/ 358140 w 518160"/>
                  <a:gd name="connsiteY11" fmla="*/ 502822 h 969546"/>
                  <a:gd name="connsiteX12" fmla="*/ 274320 w 518160"/>
                  <a:gd name="connsiteY12" fmla="*/ 253266 h 969546"/>
                  <a:gd name="connsiteX13" fmla="*/ 390525 w 518160"/>
                  <a:gd name="connsiteY13" fmla="*/ 127536 h 969546"/>
                  <a:gd name="connsiteX14" fmla="*/ 255270 w 518160"/>
                  <a:gd name="connsiteY14" fmla="*/ 1806 h 969546"/>
                  <a:gd name="connsiteX15" fmla="*/ 95250 w 518160"/>
                  <a:gd name="connsiteY15" fmla="*/ 104676 h 969546"/>
                  <a:gd name="connsiteX16" fmla="*/ 188595 w 518160"/>
                  <a:gd name="connsiteY16" fmla="*/ 241836 h 969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18160" h="969546">
                    <a:moveTo>
                      <a:pt x="188595" y="241836"/>
                    </a:moveTo>
                    <a:lnTo>
                      <a:pt x="139065" y="499012"/>
                    </a:lnTo>
                    <a:lnTo>
                      <a:pt x="3810" y="499012"/>
                    </a:lnTo>
                    <a:lnTo>
                      <a:pt x="0" y="527587"/>
                    </a:lnTo>
                    <a:lnTo>
                      <a:pt x="131445" y="529492"/>
                    </a:lnTo>
                    <a:lnTo>
                      <a:pt x="45720" y="925731"/>
                    </a:lnTo>
                    <a:lnTo>
                      <a:pt x="243840" y="375186"/>
                    </a:lnTo>
                    <a:lnTo>
                      <a:pt x="518160" y="969546"/>
                    </a:lnTo>
                    <a:lnTo>
                      <a:pt x="377190" y="537112"/>
                    </a:lnTo>
                    <a:lnTo>
                      <a:pt x="502920" y="533302"/>
                    </a:lnTo>
                    <a:lnTo>
                      <a:pt x="497205" y="504727"/>
                    </a:lnTo>
                    <a:lnTo>
                      <a:pt x="358140" y="502822"/>
                    </a:lnTo>
                    <a:lnTo>
                      <a:pt x="274320" y="253266"/>
                    </a:lnTo>
                    <a:cubicBezTo>
                      <a:pt x="340995" y="249456"/>
                      <a:pt x="382905" y="182781"/>
                      <a:pt x="390525" y="127536"/>
                    </a:cubicBezTo>
                    <a:cubicBezTo>
                      <a:pt x="386080" y="38001"/>
                      <a:pt x="307340" y="7521"/>
                      <a:pt x="255270" y="1806"/>
                    </a:cubicBezTo>
                    <a:cubicBezTo>
                      <a:pt x="203835" y="-9624"/>
                      <a:pt x="106680" y="34191"/>
                      <a:pt x="95250" y="104676"/>
                    </a:cubicBezTo>
                    <a:cubicBezTo>
                      <a:pt x="78740" y="171351"/>
                      <a:pt x="130810" y="222786"/>
                      <a:pt x="188595" y="241836"/>
                    </a:cubicBezTo>
                    <a:close/>
                  </a:path>
                </a:pathLst>
              </a:custGeom>
              <a:solidFill>
                <a:schemeClr val="accent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3" name="Freeform 22"/>
            <p:cNvSpPr/>
            <p:nvPr/>
          </p:nvSpPr>
          <p:spPr>
            <a:xfrm>
              <a:off x="6563042" y="2228850"/>
              <a:ext cx="605790" cy="826770"/>
            </a:xfrm>
            <a:custGeom>
              <a:avLst/>
              <a:gdLst>
                <a:gd name="connsiteX0" fmla="*/ 163830 w 617220"/>
                <a:gd name="connsiteY0" fmla="*/ 114300 h 815340"/>
                <a:gd name="connsiteX1" fmla="*/ 521970 w 617220"/>
                <a:gd name="connsiteY1" fmla="*/ 815340 h 815340"/>
                <a:gd name="connsiteX2" fmla="*/ 617220 w 617220"/>
                <a:gd name="connsiteY2" fmla="*/ 765810 h 815340"/>
                <a:gd name="connsiteX3" fmla="*/ 266700 w 617220"/>
                <a:gd name="connsiteY3" fmla="*/ 102870 h 815340"/>
                <a:gd name="connsiteX4" fmla="*/ 434340 w 617220"/>
                <a:gd name="connsiteY4" fmla="*/ 45720 h 815340"/>
                <a:gd name="connsiteX5" fmla="*/ 300990 w 617220"/>
                <a:gd name="connsiteY5" fmla="*/ 0 h 815340"/>
                <a:gd name="connsiteX6" fmla="*/ 45720 w 617220"/>
                <a:gd name="connsiteY6" fmla="*/ 76200 h 815340"/>
                <a:gd name="connsiteX7" fmla="*/ 0 w 617220"/>
                <a:gd name="connsiteY7" fmla="*/ 160020 h 815340"/>
                <a:gd name="connsiteX8" fmla="*/ 163830 w 617220"/>
                <a:gd name="connsiteY8" fmla="*/ 114300 h 815340"/>
                <a:gd name="connsiteX0" fmla="*/ 160020 w 613410"/>
                <a:gd name="connsiteY0" fmla="*/ 114300 h 815340"/>
                <a:gd name="connsiteX1" fmla="*/ 518160 w 613410"/>
                <a:gd name="connsiteY1" fmla="*/ 815340 h 815340"/>
                <a:gd name="connsiteX2" fmla="*/ 613410 w 613410"/>
                <a:gd name="connsiteY2" fmla="*/ 765810 h 815340"/>
                <a:gd name="connsiteX3" fmla="*/ 262890 w 613410"/>
                <a:gd name="connsiteY3" fmla="*/ 102870 h 815340"/>
                <a:gd name="connsiteX4" fmla="*/ 430530 w 613410"/>
                <a:gd name="connsiteY4" fmla="*/ 45720 h 815340"/>
                <a:gd name="connsiteX5" fmla="*/ 297180 w 613410"/>
                <a:gd name="connsiteY5" fmla="*/ 0 h 815340"/>
                <a:gd name="connsiteX6" fmla="*/ 41910 w 613410"/>
                <a:gd name="connsiteY6" fmla="*/ 76200 h 815340"/>
                <a:gd name="connsiteX7" fmla="*/ 0 w 613410"/>
                <a:gd name="connsiteY7" fmla="*/ 167640 h 815340"/>
                <a:gd name="connsiteX8" fmla="*/ 160020 w 613410"/>
                <a:gd name="connsiteY8" fmla="*/ 114300 h 815340"/>
                <a:gd name="connsiteX0" fmla="*/ 179070 w 613410"/>
                <a:gd name="connsiteY0" fmla="*/ 137160 h 815340"/>
                <a:gd name="connsiteX1" fmla="*/ 518160 w 613410"/>
                <a:gd name="connsiteY1" fmla="*/ 815340 h 815340"/>
                <a:gd name="connsiteX2" fmla="*/ 613410 w 613410"/>
                <a:gd name="connsiteY2" fmla="*/ 765810 h 815340"/>
                <a:gd name="connsiteX3" fmla="*/ 262890 w 613410"/>
                <a:gd name="connsiteY3" fmla="*/ 102870 h 815340"/>
                <a:gd name="connsiteX4" fmla="*/ 430530 w 613410"/>
                <a:gd name="connsiteY4" fmla="*/ 45720 h 815340"/>
                <a:gd name="connsiteX5" fmla="*/ 297180 w 613410"/>
                <a:gd name="connsiteY5" fmla="*/ 0 h 815340"/>
                <a:gd name="connsiteX6" fmla="*/ 41910 w 613410"/>
                <a:gd name="connsiteY6" fmla="*/ 76200 h 815340"/>
                <a:gd name="connsiteX7" fmla="*/ 0 w 613410"/>
                <a:gd name="connsiteY7" fmla="*/ 167640 h 815340"/>
                <a:gd name="connsiteX8" fmla="*/ 179070 w 613410"/>
                <a:gd name="connsiteY8" fmla="*/ 137160 h 815340"/>
                <a:gd name="connsiteX0" fmla="*/ 171450 w 605790"/>
                <a:gd name="connsiteY0" fmla="*/ 137160 h 815340"/>
                <a:gd name="connsiteX1" fmla="*/ 510540 w 605790"/>
                <a:gd name="connsiteY1" fmla="*/ 815340 h 815340"/>
                <a:gd name="connsiteX2" fmla="*/ 605790 w 605790"/>
                <a:gd name="connsiteY2" fmla="*/ 765810 h 815340"/>
                <a:gd name="connsiteX3" fmla="*/ 255270 w 605790"/>
                <a:gd name="connsiteY3" fmla="*/ 102870 h 815340"/>
                <a:gd name="connsiteX4" fmla="*/ 422910 w 605790"/>
                <a:gd name="connsiteY4" fmla="*/ 45720 h 815340"/>
                <a:gd name="connsiteX5" fmla="*/ 289560 w 605790"/>
                <a:gd name="connsiteY5" fmla="*/ 0 h 815340"/>
                <a:gd name="connsiteX6" fmla="*/ 34290 w 605790"/>
                <a:gd name="connsiteY6" fmla="*/ 76200 h 815340"/>
                <a:gd name="connsiteX7" fmla="*/ 0 w 605790"/>
                <a:gd name="connsiteY7" fmla="*/ 190500 h 815340"/>
                <a:gd name="connsiteX8" fmla="*/ 171450 w 605790"/>
                <a:gd name="connsiteY8" fmla="*/ 137160 h 815340"/>
                <a:gd name="connsiteX0" fmla="*/ 171450 w 605790"/>
                <a:gd name="connsiteY0" fmla="*/ 137160 h 815340"/>
                <a:gd name="connsiteX1" fmla="*/ 510540 w 605790"/>
                <a:gd name="connsiteY1" fmla="*/ 815340 h 815340"/>
                <a:gd name="connsiteX2" fmla="*/ 605790 w 605790"/>
                <a:gd name="connsiteY2" fmla="*/ 765810 h 815340"/>
                <a:gd name="connsiteX3" fmla="*/ 255270 w 605790"/>
                <a:gd name="connsiteY3" fmla="*/ 102870 h 815340"/>
                <a:gd name="connsiteX4" fmla="*/ 422910 w 605790"/>
                <a:gd name="connsiteY4" fmla="*/ 45720 h 815340"/>
                <a:gd name="connsiteX5" fmla="*/ 289560 w 605790"/>
                <a:gd name="connsiteY5" fmla="*/ 0 h 815340"/>
                <a:gd name="connsiteX6" fmla="*/ 34290 w 605790"/>
                <a:gd name="connsiteY6" fmla="*/ 91440 h 815340"/>
                <a:gd name="connsiteX7" fmla="*/ 0 w 605790"/>
                <a:gd name="connsiteY7" fmla="*/ 190500 h 815340"/>
                <a:gd name="connsiteX8" fmla="*/ 171450 w 605790"/>
                <a:gd name="connsiteY8" fmla="*/ 137160 h 815340"/>
                <a:gd name="connsiteX0" fmla="*/ 171450 w 605790"/>
                <a:gd name="connsiteY0" fmla="*/ 137160 h 815340"/>
                <a:gd name="connsiteX1" fmla="*/ 510540 w 605790"/>
                <a:gd name="connsiteY1" fmla="*/ 815340 h 815340"/>
                <a:gd name="connsiteX2" fmla="*/ 605790 w 605790"/>
                <a:gd name="connsiteY2" fmla="*/ 765810 h 815340"/>
                <a:gd name="connsiteX3" fmla="*/ 255270 w 605790"/>
                <a:gd name="connsiteY3" fmla="*/ 102870 h 815340"/>
                <a:gd name="connsiteX4" fmla="*/ 422910 w 605790"/>
                <a:gd name="connsiteY4" fmla="*/ 45720 h 815340"/>
                <a:gd name="connsiteX5" fmla="*/ 289560 w 605790"/>
                <a:gd name="connsiteY5" fmla="*/ 0 h 815340"/>
                <a:gd name="connsiteX6" fmla="*/ 11430 w 605790"/>
                <a:gd name="connsiteY6" fmla="*/ 83820 h 815340"/>
                <a:gd name="connsiteX7" fmla="*/ 0 w 605790"/>
                <a:gd name="connsiteY7" fmla="*/ 190500 h 815340"/>
                <a:gd name="connsiteX8" fmla="*/ 171450 w 605790"/>
                <a:gd name="connsiteY8" fmla="*/ 137160 h 815340"/>
                <a:gd name="connsiteX0" fmla="*/ 171450 w 605790"/>
                <a:gd name="connsiteY0" fmla="*/ 137160 h 815340"/>
                <a:gd name="connsiteX1" fmla="*/ 510540 w 605790"/>
                <a:gd name="connsiteY1" fmla="*/ 815340 h 815340"/>
                <a:gd name="connsiteX2" fmla="*/ 605790 w 605790"/>
                <a:gd name="connsiteY2" fmla="*/ 765810 h 815340"/>
                <a:gd name="connsiteX3" fmla="*/ 255270 w 605790"/>
                <a:gd name="connsiteY3" fmla="*/ 102870 h 815340"/>
                <a:gd name="connsiteX4" fmla="*/ 422910 w 605790"/>
                <a:gd name="connsiteY4" fmla="*/ 45720 h 815340"/>
                <a:gd name="connsiteX5" fmla="*/ 289560 w 605790"/>
                <a:gd name="connsiteY5" fmla="*/ 0 h 815340"/>
                <a:gd name="connsiteX6" fmla="*/ 11430 w 605790"/>
                <a:gd name="connsiteY6" fmla="*/ 106680 h 815340"/>
                <a:gd name="connsiteX7" fmla="*/ 0 w 605790"/>
                <a:gd name="connsiteY7" fmla="*/ 190500 h 815340"/>
                <a:gd name="connsiteX8" fmla="*/ 171450 w 605790"/>
                <a:gd name="connsiteY8" fmla="*/ 137160 h 815340"/>
                <a:gd name="connsiteX0" fmla="*/ 171450 w 605790"/>
                <a:gd name="connsiteY0" fmla="*/ 137160 h 815340"/>
                <a:gd name="connsiteX1" fmla="*/ 510540 w 605790"/>
                <a:gd name="connsiteY1" fmla="*/ 815340 h 815340"/>
                <a:gd name="connsiteX2" fmla="*/ 605790 w 605790"/>
                <a:gd name="connsiteY2" fmla="*/ 765810 h 815340"/>
                <a:gd name="connsiteX3" fmla="*/ 255270 w 605790"/>
                <a:gd name="connsiteY3" fmla="*/ 102870 h 815340"/>
                <a:gd name="connsiteX4" fmla="*/ 422910 w 605790"/>
                <a:gd name="connsiteY4" fmla="*/ 45720 h 815340"/>
                <a:gd name="connsiteX5" fmla="*/ 289560 w 605790"/>
                <a:gd name="connsiteY5" fmla="*/ 0 h 815340"/>
                <a:gd name="connsiteX6" fmla="*/ 11430 w 605790"/>
                <a:gd name="connsiteY6" fmla="*/ 95250 h 815340"/>
                <a:gd name="connsiteX7" fmla="*/ 0 w 605790"/>
                <a:gd name="connsiteY7" fmla="*/ 190500 h 815340"/>
                <a:gd name="connsiteX8" fmla="*/ 171450 w 605790"/>
                <a:gd name="connsiteY8" fmla="*/ 137160 h 815340"/>
                <a:gd name="connsiteX0" fmla="*/ 171450 w 605790"/>
                <a:gd name="connsiteY0" fmla="*/ 137160 h 822960"/>
                <a:gd name="connsiteX1" fmla="*/ 502920 w 605790"/>
                <a:gd name="connsiteY1" fmla="*/ 822960 h 822960"/>
                <a:gd name="connsiteX2" fmla="*/ 605790 w 605790"/>
                <a:gd name="connsiteY2" fmla="*/ 765810 h 822960"/>
                <a:gd name="connsiteX3" fmla="*/ 255270 w 605790"/>
                <a:gd name="connsiteY3" fmla="*/ 102870 h 822960"/>
                <a:gd name="connsiteX4" fmla="*/ 422910 w 605790"/>
                <a:gd name="connsiteY4" fmla="*/ 45720 h 822960"/>
                <a:gd name="connsiteX5" fmla="*/ 289560 w 605790"/>
                <a:gd name="connsiteY5" fmla="*/ 0 h 822960"/>
                <a:gd name="connsiteX6" fmla="*/ 11430 w 605790"/>
                <a:gd name="connsiteY6" fmla="*/ 95250 h 822960"/>
                <a:gd name="connsiteX7" fmla="*/ 0 w 605790"/>
                <a:gd name="connsiteY7" fmla="*/ 190500 h 822960"/>
                <a:gd name="connsiteX8" fmla="*/ 171450 w 605790"/>
                <a:gd name="connsiteY8" fmla="*/ 137160 h 822960"/>
                <a:gd name="connsiteX0" fmla="*/ 171450 w 605790"/>
                <a:gd name="connsiteY0" fmla="*/ 140970 h 826770"/>
                <a:gd name="connsiteX1" fmla="*/ 502920 w 605790"/>
                <a:gd name="connsiteY1" fmla="*/ 826770 h 826770"/>
                <a:gd name="connsiteX2" fmla="*/ 605790 w 605790"/>
                <a:gd name="connsiteY2" fmla="*/ 769620 h 826770"/>
                <a:gd name="connsiteX3" fmla="*/ 255270 w 605790"/>
                <a:gd name="connsiteY3" fmla="*/ 106680 h 826770"/>
                <a:gd name="connsiteX4" fmla="*/ 422910 w 605790"/>
                <a:gd name="connsiteY4" fmla="*/ 49530 h 826770"/>
                <a:gd name="connsiteX5" fmla="*/ 331470 w 605790"/>
                <a:gd name="connsiteY5" fmla="*/ 0 h 826770"/>
                <a:gd name="connsiteX6" fmla="*/ 11430 w 605790"/>
                <a:gd name="connsiteY6" fmla="*/ 99060 h 826770"/>
                <a:gd name="connsiteX7" fmla="*/ 0 w 605790"/>
                <a:gd name="connsiteY7" fmla="*/ 194310 h 826770"/>
                <a:gd name="connsiteX8" fmla="*/ 171450 w 605790"/>
                <a:gd name="connsiteY8" fmla="*/ 140970 h 826770"/>
                <a:gd name="connsiteX0" fmla="*/ 171450 w 605790"/>
                <a:gd name="connsiteY0" fmla="*/ 140970 h 826770"/>
                <a:gd name="connsiteX1" fmla="*/ 502920 w 605790"/>
                <a:gd name="connsiteY1" fmla="*/ 826770 h 826770"/>
                <a:gd name="connsiteX2" fmla="*/ 605790 w 605790"/>
                <a:gd name="connsiteY2" fmla="*/ 769620 h 826770"/>
                <a:gd name="connsiteX3" fmla="*/ 255270 w 605790"/>
                <a:gd name="connsiteY3" fmla="*/ 106680 h 826770"/>
                <a:gd name="connsiteX4" fmla="*/ 422910 w 605790"/>
                <a:gd name="connsiteY4" fmla="*/ 49530 h 826770"/>
                <a:gd name="connsiteX5" fmla="*/ 320040 w 605790"/>
                <a:gd name="connsiteY5" fmla="*/ 0 h 826770"/>
                <a:gd name="connsiteX6" fmla="*/ 11430 w 605790"/>
                <a:gd name="connsiteY6" fmla="*/ 99060 h 826770"/>
                <a:gd name="connsiteX7" fmla="*/ 0 w 605790"/>
                <a:gd name="connsiteY7" fmla="*/ 194310 h 826770"/>
                <a:gd name="connsiteX8" fmla="*/ 171450 w 605790"/>
                <a:gd name="connsiteY8" fmla="*/ 140970 h 826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5790" h="826770">
                  <a:moveTo>
                    <a:pt x="171450" y="140970"/>
                  </a:moveTo>
                  <a:lnTo>
                    <a:pt x="502920" y="826770"/>
                  </a:lnTo>
                  <a:lnTo>
                    <a:pt x="605790" y="769620"/>
                  </a:lnTo>
                  <a:lnTo>
                    <a:pt x="255270" y="106680"/>
                  </a:lnTo>
                  <a:lnTo>
                    <a:pt x="422910" y="49530"/>
                  </a:lnTo>
                  <a:lnTo>
                    <a:pt x="320040" y="0"/>
                  </a:lnTo>
                  <a:lnTo>
                    <a:pt x="11430" y="99060"/>
                  </a:lnTo>
                  <a:lnTo>
                    <a:pt x="0" y="194310"/>
                  </a:lnTo>
                  <a:lnTo>
                    <a:pt x="171450" y="140970"/>
                  </a:lnTo>
                  <a:close/>
                </a:path>
              </a:pathLst>
            </a:custGeom>
            <a:solidFill>
              <a:schemeClr val="accent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4" name="Straight Connector 23"/>
            <p:cNvCxnSpPr/>
            <p:nvPr/>
          </p:nvCxnSpPr>
          <p:spPr>
            <a:xfrm flipH="1">
              <a:off x="6788880" y="2363002"/>
              <a:ext cx="41910" cy="1714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H="1">
              <a:off x="6820997" y="2424456"/>
              <a:ext cx="41910" cy="1714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6854162" y="2487153"/>
              <a:ext cx="41910" cy="1714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flipH="1">
              <a:off x="6896072" y="2551567"/>
              <a:ext cx="41910" cy="1714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H="1">
              <a:off x="6925500" y="2610247"/>
              <a:ext cx="41910" cy="1714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a:off x="6949725" y="2667185"/>
              <a:ext cx="41910" cy="1714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H="1">
              <a:off x="6981285" y="2724952"/>
              <a:ext cx="41910" cy="1714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H="1">
              <a:off x="7004145" y="2780197"/>
              <a:ext cx="41910" cy="1714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H="1">
              <a:off x="7032720" y="2841157"/>
              <a:ext cx="41910" cy="1714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a:off x="7068915" y="2902117"/>
              <a:ext cx="41910" cy="1714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7"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48"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4"/>
              </a:rPr>
              <a:t>www.rapidbbs.cn</a:t>
            </a:r>
            <a:endParaRPr lang="zh-CN" altLang="en-US" sz="1200" b="0">
              <a:latin typeface="Arial" charset="0"/>
              <a:ea typeface="ＭＳ Ｐゴシック" pitchFamily="34" charset="-128"/>
            </a:endParaRPr>
          </a:p>
        </p:txBody>
      </p:sp>
      <p:pic>
        <p:nvPicPr>
          <p:cNvPr id="49" name="Picture 2">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70453857"/>
      </p:ext>
    </p:extLst>
  </p:cSld>
  <p:clrMapOvr>
    <a:masterClrMapping/>
  </p:clrMapOvr>
  <p:transition>
    <p:fade/>
  </p:transition>
  <p:timing>
    <p:tnLst>
      <p:par>
        <p:cTn id="1" dur="indefinite" restart="never" nodeType="tmRoot"/>
      </p:par>
    </p:tnLst>
  </p:timing>
</p:sld>
</file>

<file path=ppt/slides/slide4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mportance of Identity</a:t>
            </a:r>
            <a:endParaRPr lang="en-US" dirty="0"/>
          </a:p>
        </p:txBody>
      </p:sp>
      <p:sp>
        <p:nvSpPr>
          <p:cNvPr id="4" name="TextBox 3"/>
          <p:cNvSpPr txBox="1"/>
          <p:nvPr/>
        </p:nvSpPr>
        <p:spPr>
          <a:xfrm>
            <a:off x="398963" y="3866524"/>
            <a:ext cx="8403238" cy="392415"/>
          </a:xfrm>
          <a:prstGeom prst="rect">
            <a:avLst/>
          </a:prstGeom>
          <a:noFill/>
          <a:effectLst/>
        </p:spPr>
        <p:txBody>
          <a:bodyPr wrap="square" lIns="68586" tIns="34294" rIns="68586" bIns="34294" rtlCol="0">
            <a:spAutoFit/>
          </a:bodyPr>
          <a:lstStyle/>
          <a:p>
            <a:pPr algn="ctr"/>
            <a:r>
              <a:rPr lang="en-US" sz="2100" dirty="0">
                <a:latin typeface="Segoe UI Light" pitchFamily="34" charset="0"/>
              </a:rPr>
              <a:t>Incorporating Identity into your environment can transform your business</a:t>
            </a:r>
            <a:endParaRPr lang="en-US" sz="2100" dirty="0">
              <a:latin typeface="Segoe UI Light" pitchFamily="34" charset="0"/>
            </a:endParaRPr>
          </a:p>
        </p:txBody>
      </p:sp>
      <p:grpSp>
        <p:nvGrpSpPr>
          <p:cNvPr id="5" name="Group 4"/>
          <p:cNvGrpSpPr/>
          <p:nvPr/>
        </p:nvGrpSpPr>
        <p:grpSpPr>
          <a:xfrm>
            <a:off x="1868095" y="1143001"/>
            <a:ext cx="5407810" cy="2478901"/>
            <a:chOff x="3687033" y="1088571"/>
            <a:chExt cx="7208536" cy="3305201"/>
          </a:xfrm>
        </p:grpSpPr>
        <p:sp>
          <p:nvSpPr>
            <p:cNvPr id="6" name="Rectangle 5"/>
            <p:cNvSpPr/>
            <p:nvPr/>
          </p:nvSpPr>
          <p:spPr>
            <a:xfrm>
              <a:off x="8525840" y="3718622"/>
              <a:ext cx="2369729" cy="6751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accent1"/>
                  </a:solidFill>
                  <a:latin typeface="Segoe UI Light" pitchFamily="34" charset="0"/>
                </a:rPr>
                <a:t>PLAN FOR</a:t>
              </a:r>
            </a:p>
            <a:p>
              <a:pPr algn="ctr"/>
              <a:r>
                <a:rPr lang="en-US" sz="1200" b="1" dirty="0">
                  <a:solidFill>
                    <a:schemeClr val="accent1"/>
                  </a:solidFill>
                  <a:latin typeface="Segoe UI Light" pitchFamily="34" charset="0"/>
                </a:rPr>
                <a:t>THE FUTURE</a:t>
              </a:r>
              <a:endParaRPr lang="en-US" sz="1200" b="1" dirty="0">
                <a:solidFill>
                  <a:schemeClr val="accent1"/>
                </a:solidFill>
                <a:latin typeface="Segoe UI Light" pitchFamily="34" charset="0"/>
              </a:endParaRPr>
            </a:p>
          </p:txBody>
        </p:sp>
        <p:sp>
          <p:nvSpPr>
            <p:cNvPr id="7" name="Rectangle 6"/>
            <p:cNvSpPr/>
            <p:nvPr/>
          </p:nvSpPr>
          <p:spPr>
            <a:xfrm>
              <a:off x="6112920" y="3718622"/>
              <a:ext cx="2367850" cy="6751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accent1"/>
                  </a:solidFill>
                  <a:latin typeface="Segoe UI Light" pitchFamily="34" charset="0"/>
                </a:rPr>
                <a:t>TAKE </a:t>
              </a:r>
              <a:br>
                <a:rPr lang="en-US" sz="1200" b="1" dirty="0">
                  <a:solidFill>
                    <a:schemeClr val="accent1"/>
                  </a:solidFill>
                  <a:latin typeface="Segoe UI Light" pitchFamily="34" charset="0"/>
                </a:rPr>
              </a:br>
              <a:r>
                <a:rPr lang="en-US" sz="1200" b="1" dirty="0">
                  <a:solidFill>
                    <a:schemeClr val="accent1"/>
                  </a:solidFill>
                  <a:latin typeface="Segoe UI Light" pitchFamily="34" charset="0"/>
                </a:rPr>
                <a:t>CONTROL</a:t>
              </a:r>
              <a:endParaRPr lang="en-US" sz="1200" b="1" dirty="0">
                <a:solidFill>
                  <a:schemeClr val="accent1"/>
                </a:solidFill>
                <a:latin typeface="Segoe UI Light" pitchFamily="34" charset="0"/>
              </a:endParaRPr>
            </a:p>
          </p:txBody>
        </p:sp>
        <p:sp>
          <p:nvSpPr>
            <p:cNvPr id="8" name="Rectangle 7"/>
            <p:cNvSpPr/>
            <p:nvPr/>
          </p:nvSpPr>
          <p:spPr>
            <a:xfrm>
              <a:off x="3707130" y="3718622"/>
              <a:ext cx="2367850" cy="6751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accent1"/>
                  </a:solidFill>
                  <a:latin typeface="Segoe UI Light" pitchFamily="34" charset="0"/>
                </a:rPr>
                <a:t>EMPOWER</a:t>
              </a:r>
              <a:br>
                <a:rPr lang="en-US" sz="1200" b="1" dirty="0">
                  <a:solidFill>
                    <a:schemeClr val="accent1"/>
                  </a:solidFill>
                  <a:latin typeface="Segoe UI Light" pitchFamily="34" charset="0"/>
                </a:rPr>
              </a:br>
              <a:r>
                <a:rPr lang="en-US" sz="1200" b="1" dirty="0">
                  <a:solidFill>
                    <a:schemeClr val="accent1"/>
                  </a:solidFill>
                  <a:latin typeface="Segoe UI Light" pitchFamily="34" charset="0"/>
                </a:rPr>
                <a:t>USERS</a:t>
              </a:r>
              <a:endParaRPr lang="en-US" sz="1200" b="1" dirty="0">
                <a:solidFill>
                  <a:schemeClr val="accent1"/>
                </a:solidFill>
                <a:latin typeface="Segoe UI Light" pitchFamily="34" charset="0"/>
              </a:endParaRPr>
            </a:p>
          </p:txBody>
        </p:sp>
        <p:sp>
          <p:nvSpPr>
            <p:cNvPr id="9" name="Rectangle 8"/>
            <p:cNvSpPr/>
            <p:nvPr/>
          </p:nvSpPr>
          <p:spPr>
            <a:xfrm>
              <a:off x="3687033" y="1242055"/>
              <a:ext cx="7195771" cy="24765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0" name="Straight Connector 9"/>
            <p:cNvCxnSpPr/>
            <p:nvPr/>
          </p:nvCxnSpPr>
          <p:spPr>
            <a:xfrm>
              <a:off x="8480770" y="1242055"/>
              <a:ext cx="10887" cy="2459875"/>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8505744" y="1088571"/>
              <a:ext cx="2369729" cy="15348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p:cNvSpPr/>
            <p:nvPr/>
          </p:nvSpPr>
          <p:spPr>
            <a:xfrm>
              <a:off x="6092824" y="1088571"/>
              <a:ext cx="2367850" cy="15348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p:nvSpPr>
          <p:spPr>
            <a:xfrm>
              <a:off x="3687034" y="1088571"/>
              <a:ext cx="2367850" cy="15348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Connector 13"/>
            <p:cNvCxnSpPr/>
            <p:nvPr/>
          </p:nvCxnSpPr>
          <p:spPr>
            <a:xfrm>
              <a:off x="6072915" y="1238388"/>
              <a:ext cx="10887" cy="2459875"/>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Freeform 81"/>
            <p:cNvSpPr>
              <a:spLocks/>
            </p:cNvSpPr>
            <p:nvPr/>
          </p:nvSpPr>
          <p:spPr bwMode="black">
            <a:xfrm>
              <a:off x="6913890" y="1864783"/>
              <a:ext cx="856922" cy="1166804"/>
            </a:xfrm>
            <a:custGeom>
              <a:avLst/>
              <a:gdLst>
                <a:gd name="T0" fmla="*/ 230 w 256"/>
                <a:gd name="T1" fmla="*/ 221 h 349"/>
                <a:gd name="T2" fmla="*/ 256 w 256"/>
                <a:gd name="T3" fmla="*/ 202 h 349"/>
                <a:gd name="T4" fmla="*/ 232 w 256"/>
                <a:gd name="T5" fmla="*/ 184 h 349"/>
                <a:gd name="T6" fmla="*/ 239 w 256"/>
                <a:gd name="T7" fmla="*/ 170 h 349"/>
                <a:gd name="T8" fmla="*/ 217 w 256"/>
                <a:gd name="T9" fmla="*/ 152 h 349"/>
                <a:gd name="T10" fmla="*/ 187 w 256"/>
                <a:gd name="T11" fmla="*/ 152 h 349"/>
                <a:gd name="T12" fmla="*/ 187 w 256"/>
                <a:gd name="T13" fmla="*/ 91 h 349"/>
                <a:gd name="T14" fmla="*/ 217 w 256"/>
                <a:gd name="T15" fmla="*/ 45 h 349"/>
                <a:gd name="T16" fmla="*/ 203 w 256"/>
                <a:gd name="T17" fmla="*/ 10 h 349"/>
                <a:gd name="T18" fmla="*/ 166 w 256"/>
                <a:gd name="T19" fmla="*/ 58 h 349"/>
                <a:gd name="T20" fmla="*/ 130 w 256"/>
                <a:gd name="T21" fmla="*/ 10 h 349"/>
                <a:gd name="T22" fmla="*/ 116 w 256"/>
                <a:gd name="T23" fmla="*/ 45 h 349"/>
                <a:gd name="T24" fmla="*/ 146 w 256"/>
                <a:gd name="T25" fmla="*/ 91 h 349"/>
                <a:gd name="T26" fmla="*/ 146 w 256"/>
                <a:gd name="T27" fmla="*/ 121 h 349"/>
                <a:gd name="T28" fmla="*/ 143 w 256"/>
                <a:gd name="T29" fmla="*/ 119 h 349"/>
                <a:gd name="T30" fmla="*/ 99 w 256"/>
                <a:gd name="T31" fmla="*/ 126 h 349"/>
                <a:gd name="T32" fmla="*/ 45 w 256"/>
                <a:gd name="T33" fmla="*/ 162 h 349"/>
                <a:gd name="T34" fmla="*/ 0 w 256"/>
                <a:gd name="T35" fmla="*/ 162 h 349"/>
                <a:gd name="T36" fmla="*/ 0 w 256"/>
                <a:gd name="T37" fmla="*/ 272 h 349"/>
                <a:gd name="T38" fmla="*/ 70 w 256"/>
                <a:gd name="T39" fmla="*/ 277 h 349"/>
                <a:gd name="T40" fmla="*/ 132 w 256"/>
                <a:gd name="T41" fmla="*/ 286 h 349"/>
                <a:gd name="T42" fmla="*/ 127 w 256"/>
                <a:gd name="T43" fmla="*/ 273 h 349"/>
                <a:gd name="T44" fmla="*/ 139 w 256"/>
                <a:gd name="T45" fmla="*/ 255 h 349"/>
                <a:gd name="T46" fmla="*/ 125 w 256"/>
                <a:gd name="T47" fmla="*/ 237 h 349"/>
                <a:gd name="T48" fmla="*/ 140 w 256"/>
                <a:gd name="T49" fmla="*/ 219 h 349"/>
                <a:gd name="T50" fmla="*/ 125 w 256"/>
                <a:gd name="T51" fmla="*/ 201 h 349"/>
                <a:gd name="T52" fmla="*/ 138 w 256"/>
                <a:gd name="T53" fmla="*/ 185 h 349"/>
                <a:gd name="T54" fmla="*/ 125 w 256"/>
                <a:gd name="T55" fmla="*/ 167 h 349"/>
                <a:gd name="T56" fmla="*/ 146 w 256"/>
                <a:gd name="T57" fmla="*/ 148 h 349"/>
                <a:gd name="T58" fmla="*/ 146 w 256"/>
                <a:gd name="T59" fmla="*/ 155 h 349"/>
                <a:gd name="T60" fmla="*/ 137 w 256"/>
                <a:gd name="T61" fmla="*/ 170 h 349"/>
                <a:gd name="T62" fmla="*/ 146 w 256"/>
                <a:gd name="T63" fmla="*/ 185 h 349"/>
                <a:gd name="T64" fmla="*/ 146 w 256"/>
                <a:gd name="T65" fmla="*/ 188 h 349"/>
                <a:gd name="T66" fmla="*/ 137 w 256"/>
                <a:gd name="T67" fmla="*/ 202 h 349"/>
                <a:gd name="T68" fmla="*/ 146 w 256"/>
                <a:gd name="T69" fmla="*/ 216 h 349"/>
                <a:gd name="T70" fmla="*/ 146 w 256"/>
                <a:gd name="T71" fmla="*/ 224 h 349"/>
                <a:gd name="T72" fmla="*/ 137 w 256"/>
                <a:gd name="T73" fmla="*/ 239 h 349"/>
                <a:gd name="T74" fmla="*/ 146 w 256"/>
                <a:gd name="T75" fmla="*/ 254 h 349"/>
                <a:gd name="T76" fmla="*/ 146 w 256"/>
                <a:gd name="T77" fmla="*/ 261 h 349"/>
                <a:gd name="T78" fmla="*/ 139 w 256"/>
                <a:gd name="T79" fmla="*/ 276 h 349"/>
                <a:gd name="T80" fmla="*/ 146 w 256"/>
                <a:gd name="T81" fmla="*/ 291 h 349"/>
                <a:gd name="T82" fmla="*/ 146 w 256"/>
                <a:gd name="T83" fmla="*/ 324 h 349"/>
                <a:gd name="T84" fmla="*/ 167 w 256"/>
                <a:gd name="T85" fmla="*/ 349 h 349"/>
                <a:gd name="T86" fmla="*/ 187 w 256"/>
                <a:gd name="T87" fmla="*/ 324 h 349"/>
                <a:gd name="T88" fmla="*/ 187 w 256"/>
                <a:gd name="T89" fmla="*/ 294 h 349"/>
                <a:gd name="T90" fmla="*/ 207 w 256"/>
                <a:gd name="T91" fmla="*/ 294 h 349"/>
                <a:gd name="T92" fmla="*/ 226 w 256"/>
                <a:gd name="T93" fmla="*/ 276 h 349"/>
                <a:gd name="T94" fmla="*/ 207 w 256"/>
                <a:gd name="T95" fmla="*/ 257 h 349"/>
                <a:gd name="T96" fmla="*/ 187 w 256"/>
                <a:gd name="T97" fmla="*/ 257 h 349"/>
                <a:gd name="T98" fmla="*/ 187 w 256"/>
                <a:gd name="T99" fmla="*/ 257 h 349"/>
                <a:gd name="T100" fmla="*/ 217 w 256"/>
                <a:gd name="T101" fmla="*/ 257 h 349"/>
                <a:gd name="T102" fmla="*/ 239 w 256"/>
                <a:gd name="T103" fmla="*/ 239 h 349"/>
                <a:gd name="T104" fmla="*/ 217 w 256"/>
                <a:gd name="T105" fmla="*/ 221 h 349"/>
                <a:gd name="T106" fmla="*/ 187 w 256"/>
                <a:gd name="T107" fmla="*/ 221 h 349"/>
                <a:gd name="T108" fmla="*/ 187 w 256"/>
                <a:gd name="T109" fmla="*/ 221 h 349"/>
                <a:gd name="T110" fmla="*/ 230 w 256"/>
                <a:gd name="T111" fmla="*/ 221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49">
                  <a:moveTo>
                    <a:pt x="230" y="221"/>
                  </a:moveTo>
                  <a:cubicBezTo>
                    <a:pt x="245" y="221"/>
                    <a:pt x="256" y="212"/>
                    <a:pt x="256" y="202"/>
                  </a:cubicBezTo>
                  <a:cubicBezTo>
                    <a:pt x="256" y="192"/>
                    <a:pt x="245" y="184"/>
                    <a:pt x="232" y="184"/>
                  </a:cubicBezTo>
                  <a:cubicBezTo>
                    <a:pt x="236" y="180"/>
                    <a:pt x="239" y="175"/>
                    <a:pt x="239" y="170"/>
                  </a:cubicBezTo>
                  <a:cubicBezTo>
                    <a:pt x="239" y="160"/>
                    <a:pt x="229" y="152"/>
                    <a:pt x="217" y="152"/>
                  </a:cubicBezTo>
                  <a:cubicBezTo>
                    <a:pt x="187" y="152"/>
                    <a:pt x="187" y="152"/>
                    <a:pt x="187" y="152"/>
                  </a:cubicBezTo>
                  <a:cubicBezTo>
                    <a:pt x="187" y="91"/>
                    <a:pt x="187" y="91"/>
                    <a:pt x="187" y="91"/>
                  </a:cubicBezTo>
                  <a:cubicBezTo>
                    <a:pt x="205" y="83"/>
                    <a:pt x="217" y="66"/>
                    <a:pt x="217" y="45"/>
                  </a:cubicBezTo>
                  <a:cubicBezTo>
                    <a:pt x="217" y="31"/>
                    <a:pt x="203" y="0"/>
                    <a:pt x="203" y="10"/>
                  </a:cubicBezTo>
                  <a:cubicBezTo>
                    <a:pt x="204" y="24"/>
                    <a:pt x="195" y="58"/>
                    <a:pt x="166" y="58"/>
                  </a:cubicBezTo>
                  <a:cubicBezTo>
                    <a:pt x="140" y="58"/>
                    <a:pt x="129" y="30"/>
                    <a:pt x="130" y="10"/>
                  </a:cubicBezTo>
                  <a:cubicBezTo>
                    <a:pt x="130" y="3"/>
                    <a:pt x="116" y="32"/>
                    <a:pt x="116" y="45"/>
                  </a:cubicBezTo>
                  <a:cubicBezTo>
                    <a:pt x="116" y="66"/>
                    <a:pt x="129" y="84"/>
                    <a:pt x="146" y="91"/>
                  </a:cubicBezTo>
                  <a:cubicBezTo>
                    <a:pt x="146" y="121"/>
                    <a:pt x="146" y="121"/>
                    <a:pt x="146" y="121"/>
                  </a:cubicBezTo>
                  <a:cubicBezTo>
                    <a:pt x="143" y="119"/>
                    <a:pt x="143" y="119"/>
                    <a:pt x="143" y="119"/>
                  </a:cubicBezTo>
                  <a:cubicBezTo>
                    <a:pt x="143" y="119"/>
                    <a:pt x="110" y="122"/>
                    <a:pt x="99" y="126"/>
                  </a:cubicBezTo>
                  <a:cubicBezTo>
                    <a:pt x="87" y="131"/>
                    <a:pt x="63" y="162"/>
                    <a:pt x="45" y="162"/>
                  </a:cubicBezTo>
                  <a:cubicBezTo>
                    <a:pt x="26" y="162"/>
                    <a:pt x="0" y="162"/>
                    <a:pt x="0" y="162"/>
                  </a:cubicBezTo>
                  <a:cubicBezTo>
                    <a:pt x="0" y="272"/>
                    <a:pt x="0" y="272"/>
                    <a:pt x="0" y="272"/>
                  </a:cubicBezTo>
                  <a:cubicBezTo>
                    <a:pt x="0" y="272"/>
                    <a:pt x="47" y="272"/>
                    <a:pt x="70" y="277"/>
                  </a:cubicBezTo>
                  <a:cubicBezTo>
                    <a:pt x="86" y="280"/>
                    <a:pt x="110" y="284"/>
                    <a:pt x="132" y="286"/>
                  </a:cubicBezTo>
                  <a:cubicBezTo>
                    <a:pt x="129" y="283"/>
                    <a:pt x="127" y="278"/>
                    <a:pt x="127" y="273"/>
                  </a:cubicBezTo>
                  <a:cubicBezTo>
                    <a:pt x="127" y="265"/>
                    <a:pt x="132" y="258"/>
                    <a:pt x="139" y="255"/>
                  </a:cubicBezTo>
                  <a:cubicBezTo>
                    <a:pt x="131" y="252"/>
                    <a:pt x="125" y="245"/>
                    <a:pt x="125" y="237"/>
                  </a:cubicBezTo>
                  <a:cubicBezTo>
                    <a:pt x="125" y="229"/>
                    <a:pt x="131" y="222"/>
                    <a:pt x="140" y="219"/>
                  </a:cubicBezTo>
                  <a:cubicBezTo>
                    <a:pt x="131" y="216"/>
                    <a:pt x="125" y="209"/>
                    <a:pt x="125" y="201"/>
                  </a:cubicBezTo>
                  <a:cubicBezTo>
                    <a:pt x="125" y="194"/>
                    <a:pt x="130" y="188"/>
                    <a:pt x="138" y="185"/>
                  </a:cubicBezTo>
                  <a:cubicBezTo>
                    <a:pt x="130" y="182"/>
                    <a:pt x="125" y="175"/>
                    <a:pt x="125" y="167"/>
                  </a:cubicBezTo>
                  <a:cubicBezTo>
                    <a:pt x="125" y="157"/>
                    <a:pt x="135" y="148"/>
                    <a:pt x="146" y="148"/>
                  </a:cubicBezTo>
                  <a:cubicBezTo>
                    <a:pt x="146" y="155"/>
                    <a:pt x="146" y="155"/>
                    <a:pt x="146" y="155"/>
                  </a:cubicBezTo>
                  <a:cubicBezTo>
                    <a:pt x="141" y="158"/>
                    <a:pt x="137" y="164"/>
                    <a:pt x="137" y="170"/>
                  </a:cubicBezTo>
                  <a:cubicBezTo>
                    <a:pt x="137" y="176"/>
                    <a:pt x="141" y="182"/>
                    <a:pt x="146" y="185"/>
                  </a:cubicBezTo>
                  <a:cubicBezTo>
                    <a:pt x="146" y="188"/>
                    <a:pt x="146" y="188"/>
                    <a:pt x="146" y="188"/>
                  </a:cubicBezTo>
                  <a:cubicBezTo>
                    <a:pt x="141" y="191"/>
                    <a:pt x="137" y="196"/>
                    <a:pt x="137" y="202"/>
                  </a:cubicBezTo>
                  <a:cubicBezTo>
                    <a:pt x="137" y="208"/>
                    <a:pt x="141" y="213"/>
                    <a:pt x="146" y="216"/>
                  </a:cubicBezTo>
                  <a:cubicBezTo>
                    <a:pt x="146" y="224"/>
                    <a:pt x="146" y="224"/>
                    <a:pt x="146" y="224"/>
                  </a:cubicBezTo>
                  <a:cubicBezTo>
                    <a:pt x="141" y="227"/>
                    <a:pt x="137" y="233"/>
                    <a:pt x="137" y="239"/>
                  </a:cubicBezTo>
                  <a:cubicBezTo>
                    <a:pt x="137" y="245"/>
                    <a:pt x="141" y="251"/>
                    <a:pt x="146" y="254"/>
                  </a:cubicBezTo>
                  <a:cubicBezTo>
                    <a:pt x="146" y="261"/>
                    <a:pt x="146" y="261"/>
                    <a:pt x="146" y="261"/>
                  </a:cubicBezTo>
                  <a:cubicBezTo>
                    <a:pt x="142" y="264"/>
                    <a:pt x="139" y="270"/>
                    <a:pt x="139" y="276"/>
                  </a:cubicBezTo>
                  <a:cubicBezTo>
                    <a:pt x="139" y="282"/>
                    <a:pt x="142" y="287"/>
                    <a:pt x="146" y="291"/>
                  </a:cubicBezTo>
                  <a:cubicBezTo>
                    <a:pt x="146" y="324"/>
                    <a:pt x="146" y="324"/>
                    <a:pt x="146" y="324"/>
                  </a:cubicBezTo>
                  <a:cubicBezTo>
                    <a:pt x="146" y="338"/>
                    <a:pt x="156" y="349"/>
                    <a:pt x="167" y="349"/>
                  </a:cubicBezTo>
                  <a:cubicBezTo>
                    <a:pt x="178" y="349"/>
                    <a:pt x="187" y="338"/>
                    <a:pt x="187" y="324"/>
                  </a:cubicBezTo>
                  <a:cubicBezTo>
                    <a:pt x="187" y="294"/>
                    <a:pt x="187" y="294"/>
                    <a:pt x="187" y="294"/>
                  </a:cubicBezTo>
                  <a:cubicBezTo>
                    <a:pt x="207" y="294"/>
                    <a:pt x="207" y="294"/>
                    <a:pt x="207" y="294"/>
                  </a:cubicBezTo>
                  <a:cubicBezTo>
                    <a:pt x="217" y="294"/>
                    <a:pt x="226" y="286"/>
                    <a:pt x="226" y="276"/>
                  </a:cubicBezTo>
                  <a:cubicBezTo>
                    <a:pt x="226" y="266"/>
                    <a:pt x="217" y="257"/>
                    <a:pt x="207" y="257"/>
                  </a:cubicBezTo>
                  <a:cubicBezTo>
                    <a:pt x="187" y="257"/>
                    <a:pt x="187" y="257"/>
                    <a:pt x="187" y="257"/>
                  </a:cubicBezTo>
                  <a:cubicBezTo>
                    <a:pt x="187" y="257"/>
                    <a:pt x="187" y="257"/>
                    <a:pt x="187" y="257"/>
                  </a:cubicBezTo>
                  <a:cubicBezTo>
                    <a:pt x="217" y="257"/>
                    <a:pt x="217" y="257"/>
                    <a:pt x="217" y="257"/>
                  </a:cubicBezTo>
                  <a:cubicBezTo>
                    <a:pt x="229" y="257"/>
                    <a:pt x="239" y="249"/>
                    <a:pt x="239" y="239"/>
                  </a:cubicBezTo>
                  <a:cubicBezTo>
                    <a:pt x="239" y="229"/>
                    <a:pt x="229" y="221"/>
                    <a:pt x="217" y="221"/>
                  </a:cubicBezTo>
                  <a:cubicBezTo>
                    <a:pt x="187" y="221"/>
                    <a:pt x="187" y="221"/>
                    <a:pt x="187" y="221"/>
                  </a:cubicBezTo>
                  <a:cubicBezTo>
                    <a:pt x="187" y="221"/>
                    <a:pt x="187" y="221"/>
                    <a:pt x="187" y="221"/>
                  </a:cubicBezTo>
                  <a:lnTo>
                    <a:pt x="230" y="221"/>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algn="ctr"/>
              <a:endParaRPr lang="en-US" sz="1200" dirty="0"/>
            </a:p>
          </p:txBody>
        </p:sp>
        <p:grpSp>
          <p:nvGrpSpPr>
            <p:cNvPr id="16" name="Group 15"/>
            <p:cNvGrpSpPr/>
            <p:nvPr/>
          </p:nvGrpSpPr>
          <p:grpSpPr>
            <a:xfrm>
              <a:off x="9142412" y="1687134"/>
              <a:ext cx="1257626" cy="1319053"/>
              <a:chOff x="9323442" y="1877006"/>
              <a:chExt cx="1076596" cy="1129181"/>
            </a:xfrm>
          </p:grpSpPr>
          <p:pic>
            <p:nvPicPr>
              <p:cNvPr id="27" name="Picture 26" descr="C:\Users\chrisw\Desktop\Cloud Services 3.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9748814" y="1877006"/>
                <a:ext cx="651224" cy="44903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descr="C:\Users\sakuu\Documents\Ballmer WPC\AI\work.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9323442" y="2226117"/>
                <a:ext cx="488481" cy="7800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 name="Group 16"/>
            <p:cNvGrpSpPr/>
            <p:nvPr/>
          </p:nvGrpSpPr>
          <p:grpSpPr>
            <a:xfrm>
              <a:off x="4370996" y="1775696"/>
              <a:ext cx="1040118" cy="1128362"/>
              <a:chOff x="4741482" y="1930938"/>
              <a:chExt cx="869048" cy="942778"/>
            </a:xfrm>
          </p:grpSpPr>
          <p:sp>
            <p:nvSpPr>
              <p:cNvPr id="18" name="Freeform 5"/>
              <p:cNvSpPr>
                <a:spLocks/>
              </p:cNvSpPr>
              <p:nvPr/>
            </p:nvSpPr>
            <p:spPr bwMode="auto">
              <a:xfrm>
                <a:off x="4894221" y="2239331"/>
                <a:ext cx="449076" cy="634385"/>
              </a:xfrm>
              <a:custGeom>
                <a:avLst/>
                <a:gdLst>
                  <a:gd name="T0" fmla="*/ 854 w 1201"/>
                  <a:gd name="T1" fmla="*/ 727 h 1700"/>
                  <a:gd name="T2" fmla="*/ 974 w 1201"/>
                  <a:gd name="T3" fmla="*/ 801 h 1700"/>
                  <a:gd name="T4" fmla="*/ 1074 w 1201"/>
                  <a:gd name="T5" fmla="*/ 905 h 1700"/>
                  <a:gd name="T6" fmla="*/ 1147 w 1201"/>
                  <a:gd name="T7" fmla="*/ 1035 h 1700"/>
                  <a:gd name="T8" fmla="*/ 1192 w 1201"/>
                  <a:gd name="T9" fmla="*/ 1189 h 1700"/>
                  <a:gd name="T10" fmla="*/ 1200 w 1201"/>
                  <a:gd name="T11" fmla="*/ 1365 h 1700"/>
                  <a:gd name="T12" fmla="*/ 1190 w 1201"/>
                  <a:gd name="T13" fmla="*/ 1435 h 1700"/>
                  <a:gd name="T14" fmla="*/ 1161 w 1201"/>
                  <a:gd name="T15" fmla="*/ 1526 h 1700"/>
                  <a:gd name="T16" fmla="*/ 1111 w 1201"/>
                  <a:gd name="T17" fmla="*/ 1599 h 1700"/>
                  <a:gd name="T18" fmla="*/ 1041 w 1201"/>
                  <a:gd name="T19" fmla="*/ 1651 h 1700"/>
                  <a:gd name="T20" fmla="*/ 948 w 1201"/>
                  <a:gd name="T21" fmla="*/ 1684 h 1700"/>
                  <a:gd name="T22" fmla="*/ 875 w 1201"/>
                  <a:gd name="T23" fmla="*/ 1696 h 1700"/>
                  <a:gd name="T24" fmla="*/ 713 w 1201"/>
                  <a:gd name="T25" fmla="*/ 1698 h 1700"/>
                  <a:gd name="T26" fmla="*/ 543 w 1201"/>
                  <a:gd name="T27" fmla="*/ 1684 h 1700"/>
                  <a:gd name="T28" fmla="*/ 435 w 1201"/>
                  <a:gd name="T29" fmla="*/ 1667 h 1700"/>
                  <a:gd name="T30" fmla="*/ 295 w 1201"/>
                  <a:gd name="T31" fmla="*/ 1630 h 1700"/>
                  <a:gd name="T32" fmla="*/ 183 w 1201"/>
                  <a:gd name="T33" fmla="*/ 1580 h 1700"/>
                  <a:gd name="T34" fmla="*/ 135 w 1201"/>
                  <a:gd name="T35" fmla="*/ 1543 h 1700"/>
                  <a:gd name="T36" fmla="*/ 116 w 1201"/>
                  <a:gd name="T37" fmla="*/ 1516 h 1700"/>
                  <a:gd name="T38" fmla="*/ 104 w 1201"/>
                  <a:gd name="T39" fmla="*/ 1450 h 1700"/>
                  <a:gd name="T40" fmla="*/ 102 w 1201"/>
                  <a:gd name="T41" fmla="*/ 1379 h 1700"/>
                  <a:gd name="T42" fmla="*/ 93 w 1201"/>
                  <a:gd name="T43" fmla="*/ 1330 h 1700"/>
                  <a:gd name="T44" fmla="*/ 58 w 1201"/>
                  <a:gd name="T45" fmla="*/ 1400 h 1700"/>
                  <a:gd name="T46" fmla="*/ 31 w 1201"/>
                  <a:gd name="T47" fmla="*/ 1450 h 1700"/>
                  <a:gd name="T48" fmla="*/ 8 w 1201"/>
                  <a:gd name="T49" fmla="*/ 1423 h 1700"/>
                  <a:gd name="T50" fmla="*/ 2 w 1201"/>
                  <a:gd name="T51" fmla="*/ 1294 h 1700"/>
                  <a:gd name="T52" fmla="*/ 27 w 1201"/>
                  <a:gd name="T53" fmla="*/ 1166 h 1700"/>
                  <a:gd name="T54" fmla="*/ 73 w 1201"/>
                  <a:gd name="T55" fmla="*/ 1042 h 1700"/>
                  <a:gd name="T56" fmla="*/ 129 w 1201"/>
                  <a:gd name="T57" fmla="*/ 936 h 1700"/>
                  <a:gd name="T58" fmla="*/ 191 w 1201"/>
                  <a:gd name="T59" fmla="*/ 849 h 1700"/>
                  <a:gd name="T60" fmla="*/ 243 w 1201"/>
                  <a:gd name="T61" fmla="*/ 797 h 1700"/>
                  <a:gd name="T62" fmla="*/ 334 w 1201"/>
                  <a:gd name="T63" fmla="*/ 737 h 1700"/>
                  <a:gd name="T64" fmla="*/ 440 w 1201"/>
                  <a:gd name="T65" fmla="*/ 698 h 1700"/>
                  <a:gd name="T66" fmla="*/ 419 w 1201"/>
                  <a:gd name="T67" fmla="*/ 675 h 1700"/>
                  <a:gd name="T68" fmla="*/ 353 w 1201"/>
                  <a:gd name="T69" fmla="*/ 617 h 1700"/>
                  <a:gd name="T70" fmla="*/ 321 w 1201"/>
                  <a:gd name="T71" fmla="*/ 574 h 1700"/>
                  <a:gd name="T72" fmla="*/ 278 w 1201"/>
                  <a:gd name="T73" fmla="*/ 472 h 1700"/>
                  <a:gd name="T74" fmla="*/ 268 w 1201"/>
                  <a:gd name="T75" fmla="*/ 368 h 1700"/>
                  <a:gd name="T76" fmla="*/ 286 w 1201"/>
                  <a:gd name="T77" fmla="*/ 265 h 1700"/>
                  <a:gd name="T78" fmla="*/ 324 w 1201"/>
                  <a:gd name="T79" fmla="*/ 174 h 1700"/>
                  <a:gd name="T80" fmla="*/ 382 w 1201"/>
                  <a:gd name="T81" fmla="*/ 101 h 1700"/>
                  <a:gd name="T82" fmla="*/ 429 w 1201"/>
                  <a:gd name="T83" fmla="*/ 64 h 1700"/>
                  <a:gd name="T84" fmla="*/ 504 w 1201"/>
                  <a:gd name="T85" fmla="*/ 23 h 1700"/>
                  <a:gd name="T86" fmla="*/ 583 w 1201"/>
                  <a:gd name="T87" fmla="*/ 4 h 1700"/>
                  <a:gd name="T88" fmla="*/ 663 w 1201"/>
                  <a:gd name="T89" fmla="*/ 2 h 1700"/>
                  <a:gd name="T90" fmla="*/ 742 w 1201"/>
                  <a:gd name="T91" fmla="*/ 18 h 1700"/>
                  <a:gd name="T92" fmla="*/ 815 w 1201"/>
                  <a:gd name="T93" fmla="*/ 49 h 1700"/>
                  <a:gd name="T94" fmla="*/ 883 w 1201"/>
                  <a:gd name="T95" fmla="*/ 93 h 1700"/>
                  <a:gd name="T96" fmla="*/ 939 w 1201"/>
                  <a:gd name="T97" fmla="*/ 151 h 1700"/>
                  <a:gd name="T98" fmla="*/ 981 w 1201"/>
                  <a:gd name="T99" fmla="*/ 221 h 1700"/>
                  <a:gd name="T100" fmla="*/ 1006 w 1201"/>
                  <a:gd name="T101" fmla="*/ 300 h 1700"/>
                  <a:gd name="T102" fmla="*/ 1014 w 1201"/>
                  <a:gd name="T103" fmla="*/ 391 h 1700"/>
                  <a:gd name="T104" fmla="*/ 1008 w 1201"/>
                  <a:gd name="T105" fmla="*/ 447 h 1700"/>
                  <a:gd name="T106" fmla="*/ 987 w 1201"/>
                  <a:gd name="T107" fmla="*/ 520 h 1700"/>
                  <a:gd name="T108" fmla="*/ 952 w 1201"/>
                  <a:gd name="T109" fmla="*/ 582 h 1700"/>
                  <a:gd name="T110" fmla="*/ 906 w 1201"/>
                  <a:gd name="T111" fmla="*/ 634 h 1700"/>
                  <a:gd name="T112" fmla="*/ 811 w 1201"/>
                  <a:gd name="T113" fmla="*/ 710 h 1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01" h="1700">
                    <a:moveTo>
                      <a:pt x="811" y="710"/>
                    </a:moveTo>
                    <a:lnTo>
                      <a:pt x="811" y="710"/>
                    </a:lnTo>
                    <a:lnTo>
                      <a:pt x="854" y="727"/>
                    </a:lnTo>
                    <a:lnTo>
                      <a:pt x="896" y="748"/>
                    </a:lnTo>
                    <a:lnTo>
                      <a:pt x="935" y="774"/>
                    </a:lnTo>
                    <a:lnTo>
                      <a:pt x="974" y="801"/>
                    </a:lnTo>
                    <a:lnTo>
                      <a:pt x="1008" y="832"/>
                    </a:lnTo>
                    <a:lnTo>
                      <a:pt x="1043" y="866"/>
                    </a:lnTo>
                    <a:lnTo>
                      <a:pt x="1074" y="905"/>
                    </a:lnTo>
                    <a:lnTo>
                      <a:pt x="1101" y="946"/>
                    </a:lnTo>
                    <a:lnTo>
                      <a:pt x="1126" y="988"/>
                    </a:lnTo>
                    <a:lnTo>
                      <a:pt x="1147" y="1035"/>
                    </a:lnTo>
                    <a:lnTo>
                      <a:pt x="1167" y="1085"/>
                    </a:lnTo>
                    <a:lnTo>
                      <a:pt x="1180" y="1135"/>
                    </a:lnTo>
                    <a:lnTo>
                      <a:pt x="1192" y="1189"/>
                    </a:lnTo>
                    <a:lnTo>
                      <a:pt x="1198" y="1245"/>
                    </a:lnTo>
                    <a:lnTo>
                      <a:pt x="1201" y="1305"/>
                    </a:lnTo>
                    <a:lnTo>
                      <a:pt x="1200" y="1365"/>
                    </a:lnTo>
                    <a:lnTo>
                      <a:pt x="1200" y="1365"/>
                    </a:lnTo>
                    <a:lnTo>
                      <a:pt x="1196" y="1402"/>
                    </a:lnTo>
                    <a:lnTo>
                      <a:pt x="1190" y="1435"/>
                    </a:lnTo>
                    <a:lnTo>
                      <a:pt x="1182" y="1468"/>
                    </a:lnTo>
                    <a:lnTo>
                      <a:pt x="1172" y="1499"/>
                    </a:lnTo>
                    <a:lnTo>
                      <a:pt x="1161" y="1526"/>
                    </a:lnTo>
                    <a:lnTo>
                      <a:pt x="1145" y="1553"/>
                    </a:lnTo>
                    <a:lnTo>
                      <a:pt x="1130" y="1576"/>
                    </a:lnTo>
                    <a:lnTo>
                      <a:pt x="1111" y="1599"/>
                    </a:lnTo>
                    <a:lnTo>
                      <a:pt x="1089" y="1618"/>
                    </a:lnTo>
                    <a:lnTo>
                      <a:pt x="1066" y="1636"/>
                    </a:lnTo>
                    <a:lnTo>
                      <a:pt x="1041" y="1651"/>
                    </a:lnTo>
                    <a:lnTo>
                      <a:pt x="1012" y="1665"/>
                    </a:lnTo>
                    <a:lnTo>
                      <a:pt x="981" y="1676"/>
                    </a:lnTo>
                    <a:lnTo>
                      <a:pt x="948" y="1684"/>
                    </a:lnTo>
                    <a:lnTo>
                      <a:pt x="914" y="1692"/>
                    </a:lnTo>
                    <a:lnTo>
                      <a:pt x="875" y="1696"/>
                    </a:lnTo>
                    <a:lnTo>
                      <a:pt x="875" y="1696"/>
                    </a:lnTo>
                    <a:lnTo>
                      <a:pt x="823" y="1698"/>
                    </a:lnTo>
                    <a:lnTo>
                      <a:pt x="769" y="1700"/>
                    </a:lnTo>
                    <a:lnTo>
                      <a:pt x="713" y="1698"/>
                    </a:lnTo>
                    <a:lnTo>
                      <a:pt x="657" y="1696"/>
                    </a:lnTo>
                    <a:lnTo>
                      <a:pt x="601" y="1690"/>
                    </a:lnTo>
                    <a:lnTo>
                      <a:pt x="543" y="1684"/>
                    </a:lnTo>
                    <a:lnTo>
                      <a:pt x="489" y="1676"/>
                    </a:lnTo>
                    <a:lnTo>
                      <a:pt x="435" y="1667"/>
                    </a:lnTo>
                    <a:lnTo>
                      <a:pt x="435" y="1667"/>
                    </a:lnTo>
                    <a:lnTo>
                      <a:pt x="392" y="1657"/>
                    </a:lnTo>
                    <a:lnTo>
                      <a:pt x="344" y="1646"/>
                    </a:lnTo>
                    <a:lnTo>
                      <a:pt x="295" y="1630"/>
                    </a:lnTo>
                    <a:lnTo>
                      <a:pt x="247" y="1613"/>
                    </a:lnTo>
                    <a:lnTo>
                      <a:pt x="203" y="1591"/>
                    </a:lnTo>
                    <a:lnTo>
                      <a:pt x="183" y="1580"/>
                    </a:lnTo>
                    <a:lnTo>
                      <a:pt x="164" y="1568"/>
                    </a:lnTo>
                    <a:lnTo>
                      <a:pt x="149" y="1557"/>
                    </a:lnTo>
                    <a:lnTo>
                      <a:pt x="135" y="1543"/>
                    </a:lnTo>
                    <a:lnTo>
                      <a:pt x="124" y="1530"/>
                    </a:lnTo>
                    <a:lnTo>
                      <a:pt x="116" y="1516"/>
                    </a:lnTo>
                    <a:lnTo>
                      <a:pt x="116" y="1516"/>
                    </a:lnTo>
                    <a:lnTo>
                      <a:pt x="108" y="1495"/>
                    </a:lnTo>
                    <a:lnTo>
                      <a:pt x="106" y="1472"/>
                    </a:lnTo>
                    <a:lnTo>
                      <a:pt x="104" y="1450"/>
                    </a:lnTo>
                    <a:lnTo>
                      <a:pt x="104" y="1425"/>
                    </a:lnTo>
                    <a:lnTo>
                      <a:pt x="104" y="1402"/>
                    </a:lnTo>
                    <a:lnTo>
                      <a:pt x="102" y="1379"/>
                    </a:lnTo>
                    <a:lnTo>
                      <a:pt x="100" y="1354"/>
                    </a:lnTo>
                    <a:lnTo>
                      <a:pt x="93" y="1330"/>
                    </a:lnTo>
                    <a:lnTo>
                      <a:pt x="93" y="1330"/>
                    </a:lnTo>
                    <a:lnTo>
                      <a:pt x="81" y="1346"/>
                    </a:lnTo>
                    <a:lnTo>
                      <a:pt x="73" y="1363"/>
                    </a:lnTo>
                    <a:lnTo>
                      <a:pt x="58" y="1400"/>
                    </a:lnTo>
                    <a:lnTo>
                      <a:pt x="50" y="1417"/>
                    </a:lnTo>
                    <a:lnTo>
                      <a:pt x="41" y="1435"/>
                    </a:lnTo>
                    <a:lnTo>
                      <a:pt x="31" y="1450"/>
                    </a:lnTo>
                    <a:lnTo>
                      <a:pt x="17" y="1464"/>
                    </a:lnTo>
                    <a:lnTo>
                      <a:pt x="17" y="1464"/>
                    </a:lnTo>
                    <a:lnTo>
                      <a:pt x="8" y="1423"/>
                    </a:lnTo>
                    <a:lnTo>
                      <a:pt x="2" y="1381"/>
                    </a:lnTo>
                    <a:lnTo>
                      <a:pt x="0" y="1338"/>
                    </a:lnTo>
                    <a:lnTo>
                      <a:pt x="2" y="1294"/>
                    </a:lnTo>
                    <a:lnTo>
                      <a:pt x="8" y="1251"/>
                    </a:lnTo>
                    <a:lnTo>
                      <a:pt x="15" y="1209"/>
                    </a:lnTo>
                    <a:lnTo>
                      <a:pt x="27" y="1166"/>
                    </a:lnTo>
                    <a:lnTo>
                      <a:pt x="41" y="1124"/>
                    </a:lnTo>
                    <a:lnTo>
                      <a:pt x="56" y="1083"/>
                    </a:lnTo>
                    <a:lnTo>
                      <a:pt x="73" y="1042"/>
                    </a:lnTo>
                    <a:lnTo>
                      <a:pt x="91" y="1006"/>
                    </a:lnTo>
                    <a:lnTo>
                      <a:pt x="110" y="969"/>
                    </a:lnTo>
                    <a:lnTo>
                      <a:pt x="129" y="936"/>
                    </a:lnTo>
                    <a:lnTo>
                      <a:pt x="151" y="903"/>
                    </a:lnTo>
                    <a:lnTo>
                      <a:pt x="172" y="874"/>
                    </a:lnTo>
                    <a:lnTo>
                      <a:pt x="191" y="849"/>
                    </a:lnTo>
                    <a:lnTo>
                      <a:pt x="191" y="849"/>
                    </a:lnTo>
                    <a:lnTo>
                      <a:pt x="216" y="822"/>
                    </a:lnTo>
                    <a:lnTo>
                      <a:pt x="243" y="797"/>
                    </a:lnTo>
                    <a:lnTo>
                      <a:pt x="270" y="774"/>
                    </a:lnTo>
                    <a:lnTo>
                      <a:pt x="301" y="754"/>
                    </a:lnTo>
                    <a:lnTo>
                      <a:pt x="334" y="737"/>
                    </a:lnTo>
                    <a:lnTo>
                      <a:pt x="369" y="721"/>
                    </a:lnTo>
                    <a:lnTo>
                      <a:pt x="404" y="708"/>
                    </a:lnTo>
                    <a:lnTo>
                      <a:pt x="440" y="698"/>
                    </a:lnTo>
                    <a:lnTo>
                      <a:pt x="440" y="698"/>
                    </a:lnTo>
                    <a:lnTo>
                      <a:pt x="431" y="687"/>
                    </a:lnTo>
                    <a:lnTo>
                      <a:pt x="419" y="675"/>
                    </a:lnTo>
                    <a:lnTo>
                      <a:pt x="394" y="652"/>
                    </a:lnTo>
                    <a:lnTo>
                      <a:pt x="365" y="631"/>
                    </a:lnTo>
                    <a:lnTo>
                      <a:pt x="353" y="617"/>
                    </a:lnTo>
                    <a:lnTo>
                      <a:pt x="342" y="605"/>
                    </a:lnTo>
                    <a:lnTo>
                      <a:pt x="342" y="605"/>
                    </a:lnTo>
                    <a:lnTo>
                      <a:pt x="321" y="574"/>
                    </a:lnTo>
                    <a:lnTo>
                      <a:pt x="301" y="542"/>
                    </a:lnTo>
                    <a:lnTo>
                      <a:pt x="288" y="507"/>
                    </a:lnTo>
                    <a:lnTo>
                      <a:pt x="278" y="472"/>
                    </a:lnTo>
                    <a:lnTo>
                      <a:pt x="272" y="437"/>
                    </a:lnTo>
                    <a:lnTo>
                      <a:pt x="268" y="402"/>
                    </a:lnTo>
                    <a:lnTo>
                      <a:pt x="268" y="368"/>
                    </a:lnTo>
                    <a:lnTo>
                      <a:pt x="270" y="333"/>
                    </a:lnTo>
                    <a:lnTo>
                      <a:pt x="276" y="298"/>
                    </a:lnTo>
                    <a:lnTo>
                      <a:pt x="286" y="265"/>
                    </a:lnTo>
                    <a:lnTo>
                      <a:pt x="295" y="232"/>
                    </a:lnTo>
                    <a:lnTo>
                      <a:pt x="309" y="203"/>
                    </a:lnTo>
                    <a:lnTo>
                      <a:pt x="324" y="174"/>
                    </a:lnTo>
                    <a:lnTo>
                      <a:pt x="342" y="147"/>
                    </a:lnTo>
                    <a:lnTo>
                      <a:pt x="361" y="122"/>
                    </a:lnTo>
                    <a:lnTo>
                      <a:pt x="382" y="101"/>
                    </a:lnTo>
                    <a:lnTo>
                      <a:pt x="382" y="101"/>
                    </a:lnTo>
                    <a:lnTo>
                      <a:pt x="406" y="81"/>
                    </a:lnTo>
                    <a:lnTo>
                      <a:pt x="429" y="64"/>
                    </a:lnTo>
                    <a:lnTo>
                      <a:pt x="452" y="49"/>
                    </a:lnTo>
                    <a:lnTo>
                      <a:pt x="477" y="35"/>
                    </a:lnTo>
                    <a:lnTo>
                      <a:pt x="504" y="23"/>
                    </a:lnTo>
                    <a:lnTo>
                      <a:pt x="529" y="16"/>
                    </a:lnTo>
                    <a:lnTo>
                      <a:pt x="556" y="10"/>
                    </a:lnTo>
                    <a:lnTo>
                      <a:pt x="583" y="4"/>
                    </a:lnTo>
                    <a:lnTo>
                      <a:pt x="610" y="2"/>
                    </a:lnTo>
                    <a:lnTo>
                      <a:pt x="635" y="0"/>
                    </a:lnTo>
                    <a:lnTo>
                      <a:pt x="663" y="2"/>
                    </a:lnTo>
                    <a:lnTo>
                      <a:pt x="690" y="6"/>
                    </a:lnTo>
                    <a:lnTo>
                      <a:pt x="717" y="10"/>
                    </a:lnTo>
                    <a:lnTo>
                      <a:pt x="742" y="18"/>
                    </a:lnTo>
                    <a:lnTo>
                      <a:pt x="767" y="25"/>
                    </a:lnTo>
                    <a:lnTo>
                      <a:pt x="792" y="35"/>
                    </a:lnTo>
                    <a:lnTo>
                      <a:pt x="815" y="49"/>
                    </a:lnTo>
                    <a:lnTo>
                      <a:pt x="838" y="62"/>
                    </a:lnTo>
                    <a:lnTo>
                      <a:pt x="861" y="76"/>
                    </a:lnTo>
                    <a:lnTo>
                      <a:pt x="883" y="93"/>
                    </a:lnTo>
                    <a:lnTo>
                      <a:pt x="902" y="110"/>
                    </a:lnTo>
                    <a:lnTo>
                      <a:pt x="921" y="130"/>
                    </a:lnTo>
                    <a:lnTo>
                      <a:pt x="939" y="151"/>
                    </a:lnTo>
                    <a:lnTo>
                      <a:pt x="954" y="172"/>
                    </a:lnTo>
                    <a:lnTo>
                      <a:pt x="968" y="196"/>
                    </a:lnTo>
                    <a:lnTo>
                      <a:pt x="981" y="221"/>
                    </a:lnTo>
                    <a:lnTo>
                      <a:pt x="991" y="246"/>
                    </a:lnTo>
                    <a:lnTo>
                      <a:pt x="1001" y="273"/>
                    </a:lnTo>
                    <a:lnTo>
                      <a:pt x="1006" y="300"/>
                    </a:lnTo>
                    <a:lnTo>
                      <a:pt x="1012" y="329"/>
                    </a:lnTo>
                    <a:lnTo>
                      <a:pt x="1014" y="360"/>
                    </a:lnTo>
                    <a:lnTo>
                      <a:pt x="1014" y="391"/>
                    </a:lnTo>
                    <a:lnTo>
                      <a:pt x="1014" y="391"/>
                    </a:lnTo>
                    <a:lnTo>
                      <a:pt x="1012" y="420"/>
                    </a:lnTo>
                    <a:lnTo>
                      <a:pt x="1008" y="447"/>
                    </a:lnTo>
                    <a:lnTo>
                      <a:pt x="1002" y="472"/>
                    </a:lnTo>
                    <a:lnTo>
                      <a:pt x="995" y="497"/>
                    </a:lnTo>
                    <a:lnTo>
                      <a:pt x="987" y="520"/>
                    </a:lnTo>
                    <a:lnTo>
                      <a:pt x="975" y="542"/>
                    </a:lnTo>
                    <a:lnTo>
                      <a:pt x="964" y="563"/>
                    </a:lnTo>
                    <a:lnTo>
                      <a:pt x="952" y="582"/>
                    </a:lnTo>
                    <a:lnTo>
                      <a:pt x="937" y="600"/>
                    </a:lnTo>
                    <a:lnTo>
                      <a:pt x="921" y="617"/>
                    </a:lnTo>
                    <a:lnTo>
                      <a:pt x="906" y="634"/>
                    </a:lnTo>
                    <a:lnTo>
                      <a:pt x="889" y="650"/>
                    </a:lnTo>
                    <a:lnTo>
                      <a:pt x="852" y="681"/>
                    </a:lnTo>
                    <a:lnTo>
                      <a:pt x="811" y="710"/>
                    </a:lnTo>
                    <a:lnTo>
                      <a:pt x="811" y="710"/>
                    </a:lnTo>
                    <a:close/>
                  </a:path>
                </a:pathLst>
              </a:custGeom>
              <a:solidFill>
                <a:schemeClr val="tx1"/>
              </a:solidFill>
              <a:ln w="3175">
                <a:noFill/>
                <a:round/>
                <a:headEnd/>
                <a:tailEnd/>
              </a:ln>
              <a:effectLst/>
            </p:spPr>
            <p:txBody>
              <a:bodyPr vert="horz" wrap="square" lIns="91440" tIns="45720" rIns="91440" bIns="45720" numCol="1" anchor="t" anchorCtr="0" compatLnSpc="1">
                <a:prstTxWarp prst="textNoShape">
                  <a:avLst/>
                </a:prstTxWarp>
              </a:bodyPr>
              <a:lstStyle/>
              <a:p>
                <a:pPr algn="ctr"/>
                <a:endParaRPr lang="en-US" dirty="0"/>
              </a:p>
            </p:txBody>
          </p:sp>
          <p:cxnSp>
            <p:nvCxnSpPr>
              <p:cNvPr id="19" name="Straight Connector 18"/>
              <p:cNvCxnSpPr/>
              <p:nvPr/>
            </p:nvCxnSpPr>
            <p:spPr>
              <a:xfrm>
                <a:off x="5343296" y="2448582"/>
                <a:ext cx="145136" cy="17956"/>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4741482" y="2446777"/>
                <a:ext cx="224277" cy="84401"/>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V="1">
                <a:off x="5169432" y="1930938"/>
                <a:ext cx="40491" cy="263054"/>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V="1">
                <a:off x="5275434" y="2125382"/>
                <a:ext cx="87309" cy="108188"/>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5337156" y="2272618"/>
                <a:ext cx="273374" cy="41501"/>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4741482" y="2084274"/>
                <a:ext cx="246664" cy="160567"/>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4780984" y="2322893"/>
                <a:ext cx="163507" cy="10156"/>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flipV="1">
                <a:off x="4988146" y="2049969"/>
                <a:ext cx="77653" cy="144024"/>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9"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0"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7"/>
              </a:rPr>
              <a:t>www.rapidbbs.cn</a:t>
            </a:r>
            <a:endParaRPr lang="zh-CN" altLang="en-US" sz="1200" b="0">
              <a:latin typeface="Arial" charset="0"/>
              <a:ea typeface="ＭＳ Ｐゴシック" pitchFamily="34" charset="-128"/>
            </a:endParaRPr>
          </a:p>
        </p:txBody>
      </p:sp>
      <p:pic>
        <p:nvPicPr>
          <p:cNvPr id="31" name="Picture 2">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03063031"/>
      </p:ext>
    </p:extLst>
  </p:cSld>
  <p:clrMapOvr>
    <a:masterClrMapping/>
  </p:clrMapOvr>
  <p:transition>
    <p:fade/>
  </p:transition>
  <p:timing>
    <p:tnLst>
      <p:par>
        <p:cTn id="1" dur="indefinite" restart="never" nodeType="tmRoot"/>
      </p:par>
    </p:tnLst>
  </p:timing>
</p:sld>
</file>

<file path=ppt/slides/slide4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Microsoft Views Identity</a:t>
            </a:r>
            <a:endParaRPr lang="en-US" dirty="0"/>
          </a:p>
        </p:txBody>
      </p:sp>
      <p:sp>
        <p:nvSpPr>
          <p:cNvPr id="4" name="Rectangle 3"/>
          <p:cNvSpPr/>
          <p:nvPr/>
        </p:nvSpPr>
        <p:spPr>
          <a:xfrm>
            <a:off x="6401683" y="3928372"/>
            <a:ext cx="1833391" cy="30072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r>
              <a:rPr lang="en-US" sz="1200" b="1" dirty="0">
                <a:solidFill>
                  <a:schemeClr val="accent1"/>
                </a:solidFill>
                <a:latin typeface="Segoe UI Light" pitchFamily="34" charset="0"/>
              </a:rPr>
              <a:t>AUDITING</a:t>
            </a:r>
          </a:p>
        </p:txBody>
      </p:sp>
      <p:sp>
        <p:nvSpPr>
          <p:cNvPr id="5" name="Rectangle 4"/>
          <p:cNvSpPr/>
          <p:nvPr/>
        </p:nvSpPr>
        <p:spPr>
          <a:xfrm>
            <a:off x="4546820" y="3928372"/>
            <a:ext cx="1833391" cy="30072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r>
              <a:rPr lang="en-US" sz="1200" b="1" dirty="0">
                <a:solidFill>
                  <a:schemeClr val="accent1"/>
                </a:solidFill>
                <a:latin typeface="Segoe UI Light" pitchFamily="34" charset="0"/>
              </a:rPr>
              <a:t>AUTHORIZATION</a:t>
            </a:r>
          </a:p>
        </p:txBody>
      </p:sp>
      <p:sp>
        <p:nvSpPr>
          <p:cNvPr id="6" name="Rectangle 5"/>
          <p:cNvSpPr/>
          <p:nvPr/>
        </p:nvSpPr>
        <p:spPr>
          <a:xfrm>
            <a:off x="2691957" y="3928372"/>
            <a:ext cx="1833391" cy="30072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r>
              <a:rPr lang="en-US" sz="1200" b="1" dirty="0">
                <a:solidFill>
                  <a:schemeClr val="accent1"/>
                </a:solidFill>
                <a:latin typeface="Segoe UI Light" pitchFamily="34" charset="0"/>
              </a:rPr>
              <a:t>AUTHENTICATION</a:t>
            </a:r>
          </a:p>
        </p:txBody>
      </p:sp>
      <p:sp>
        <p:nvSpPr>
          <p:cNvPr id="7" name="Rectangle 6"/>
          <p:cNvSpPr/>
          <p:nvPr/>
        </p:nvSpPr>
        <p:spPr>
          <a:xfrm>
            <a:off x="837093" y="3928372"/>
            <a:ext cx="1833391" cy="30072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r>
              <a:rPr lang="en-US" sz="1200" b="1" dirty="0">
                <a:solidFill>
                  <a:schemeClr val="accent1"/>
                </a:solidFill>
                <a:latin typeface="Segoe UI Light" pitchFamily="34" charset="0"/>
              </a:rPr>
              <a:t>ADMINISTRATION</a:t>
            </a:r>
          </a:p>
        </p:txBody>
      </p:sp>
      <p:sp>
        <p:nvSpPr>
          <p:cNvPr id="8" name="Rectangle 7"/>
          <p:cNvSpPr/>
          <p:nvPr/>
        </p:nvSpPr>
        <p:spPr bwMode="auto">
          <a:xfrm>
            <a:off x="837093" y="1391350"/>
            <a:ext cx="7397981" cy="2534314"/>
          </a:xfrm>
          <a:prstGeom prst="rect">
            <a:avLst/>
          </a:prstGeom>
          <a:solidFill>
            <a:schemeClr val="accent1"/>
          </a:solidFill>
          <a:ln w="28575" cap="flat" cmpd="sng" algn="ctr">
            <a:noFill/>
            <a:prstDash val="solid"/>
            <a:headEnd type="none" w="med" len="med"/>
            <a:tailEnd type="none" w="med" len="med"/>
          </a:ln>
          <a:effectLst/>
        </p:spPr>
        <p:txBody>
          <a:bodyPr rot="0" spcFirstLastPara="0" vertOverflow="overflow" horzOverflow="overflow" vert="horz" wrap="square" lIns="51460" tIns="25730" rIns="25730" bIns="51460" numCol="1" spcCol="0" rtlCol="0" fromWordArt="0" anchor="t" anchorCtr="0" forceAA="0" compatLnSpc="1">
            <a:prstTxWarp prst="textNoShape">
              <a:avLst/>
            </a:prstTxWarp>
            <a:noAutofit/>
          </a:bodyPr>
          <a:lstStyle/>
          <a:p>
            <a:pPr marL="214332" indent="-214332">
              <a:buFont typeface="Arial" pitchFamily="34" charset="0"/>
              <a:buChar char="•"/>
            </a:pPr>
            <a:endParaRPr lang="en-US" dirty="0" smtClean="0"/>
          </a:p>
        </p:txBody>
      </p:sp>
      <p:sp>
        <p:nvSpPr>
          <p:cNvPr id="9" name="Rectangle 8"/>
          <p:cNvSpPr/>
          <p:nvPr/>
        </p:nvSpPr>
        <p:spPr bwMode="auto">
          <a:xfrm>
            <a:off x="6401683" y="1443124"/>
            <a:ext cx="1833391" cy="1381904"/>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51460" tIns="25730" rIns="25730" bIns="51460" numCol="1" spcCol="0" rtlCol="0" fromWordArt="0" anchor="t" anchorCtr="0" forceAA="0" compatLnSpc="1">
            <a:prstTxWarp prst="textNoShape">
              <a:avLst/>
            </a:prstTxWarp>
            <a:noAutofit/>
          </a:bodyPr>
          <a:lstStyle/>
          <a:p>
            <a:pPr marL="214332" indent="-214332">
              <a:buFont typeface="Courier New" pitchFamily="49" charset="0"/>
              <a:buChar char="o"/>
            </a:pPr>
            <a:r>
              <a:rPr lang="en-US" sz="1200" dirty="0">
                <a:latin typeface="Segoe UI Light" pitchFamily="34" charset="0"/>
              </a:rPr>
              <a:t>Track who does what, </a:t>
            </a:r>
            <a:r>
              <a:rPr lang="en-US" sz="1200" dirty="0">
                <a:latin typeface="Segoe UI Light" pitchFamily="34" charset="0"/>
              </a:rPr>
              <a:t>when, where </a:t>
            </a:r>
            <a:r>
              <a:rPr lang="en-US" sz="1200" dirty="0">
                <a:latin typeface="Segoe UI Light" pitchFamily="34" charset="0"/>
              </a:rPr>
              <a:t>and how</a:t>
            </a:r>
          </a:p>
          <a:p>
            <a:pPr marL="214332" indent="-214332">
              <a:buFont typeface="Courier New" pitchFamily="49" charset="0"/>
              <a:buChar char="o"/>
            </a:pPr>
            <a:r>
              <a:rPr lang="en-US" sz="1200" dirty="0">
                <a:latin typeface="Segoe UI Light" pitchFamily="34" charset="0"/>
              </a:rPr>
              <a:t>Focused Alerting</a:t>
            </a:r>
            <a:endParaRPr lang="en-US" sz="1200" dirty="0">
              <a:latin typeface="Segoe UI Light" pitchFamily="34" charset="0"/>
            </a:endParaRPr>
          </a:p>
          <a:p>
            <a:pPr marL="214332" indent="-214332">
              <a:buFont typeface="Courier New" pitchFamily="49" charset="0"/>
              <a:buChar char="o"/>
            </a:pPr>
            <a:r>
              <a:rPr lang="en-US" sz="1200" dirty="0">
                <a:latin typeface="Segoe UI Light" pitchFamily="34" charset="0"/>
              </a:rPr>
              <a:t>In-Depth Collated </a:t>
            </a:r>
            <a:r>
              <a:rPr lang="en-US" sz="1200" dirty="0">
                <a:latin typeface="Segoe UI Light" pitchFamily="34" charset="0"/>
              </a:rPr>
              <a:t>Reporting</a:t>
            </a:r>
          </a:p>
          <a:p>
            <a:pPr marL="214332" indent="-214332">
              <a:buFont typeface="Courier New" pitchFamily="49" charset="0"/>
              <a:buChar char="o"/>
            </a:pPr>
            <a:r>
              <a:rPr lang="en-US" sz="1200" dirty="0">
                <a:latin typeface="Segoe UI Light" pitchFamily="34" charset="0"/>
              </a:rPr>
              <a:t>Governance</a:t>
            </a:r>
            <a:endParaRPr lang="en-US" sz="1200" dirty="0">
              <a:latin typeface="Segoe UI Light" pitchFamily="34" charset="0"/>
            </a:endParaRPr>
          </a:p>
        </p:txBody>
      </p:sp>
      <p:sp>
        <p:nvSpPr>
          <p:cNvPr id="10" name="Rectangle 9"/>
          <p:cNvSpPr/>
          <p:nvPr/>
        </p:nvSpPr>
        <p:spPr bwMode="auto">
          <a:xfrm>
            <a:off x="837092" y="1443125"/>
            <a:ext cx="1833390" cy="2763809"/>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51460" tIns="25730" rIns="25730" bIns="51460" numCol="1" spcCol="0" rtlCol="0" fromWordArt="0" anchor="t" anchorCtr="0" forceAA="0" compatLnSpc="1">
            <a:prstTxWarp prst="textNoShape">
              <a:avLst/>
            </a:prstTxWarp>
            <a:noAutofit/>
          </a:bodyPr>
          <a:lstStyle/>
          <a:p>
            <a:pPr marL="214332" indent="-214332">
              <a:buFont typeface="Courier New" pitchFamily="49" charset="0"/>
              <a:buChar char="o"/>
            </a:pPr>
            <a:r>
              <a:rPr lang="en-US" sz="1200" dirty="0">
                <a:latin typeface="Segoe UI Light" pitchFamily="34" charset="0"/>
              </a:rPr>
              <a:t>Single View Mgmt.</a:t>
            </a:r>
          </a:p>
          <a:p>
            <a:pPr marL="214332" indent="-214332">
              <a:buFont typeface="Courier New" pitchFamily="49" charset="0"/>
              <a:buChar char="o"/>
            </a:pPr>
            <a:r>
              <a:rPr lang="en-US" sz="1200" dirty="0">
                <a:latin typeface="Segoe UI Light" pitchFamily="34" charset="0"/>
              </a:rPr>
              <a:t>Application of Business Rules</a:t>
            </a:r>
            <a:endParaRPr lang="en-US" sz="1200" dirty="0">
              <a:latin typeface="Segoe UI Light" pitchFamily="34" charset="0"/>
            </a:endParaRPr>
          </a:p>
          <a:p>
            <a:pPr marL="214332" indent="-214332">
              <a:buFont typeface="Courier New" pitchFamily="49" charset="0"/>
              <a:buChar char="o"/>
            </a:pPr>
            <a:r>
              <a:rPr lang="en-US" sz="1200" dirty="0">
                <a:latin typeface="Segoe UI Light" pitchFamily="34" charset="0"/>
              </a:rPr>
              <a:t>Automated Requests, Approvals, and </a:t>
            </a:r>
            <a:r>
              <a:rPr lang="en-US" sz="1200" dirty="0">
                <a:latin typeface="Segoe UI Light" pitchFamily="34" charset="0"/>
              </a:rPr>
              <a:t>Access Assignment</a:t>
            </a:r>
            <a:endParaRPr lang="en-US" sz="1200" dirty="0">
              <a:latin typeface="Segoe UI Light" pitchFamily="34" charset="0"/>
            </a:endParaRPr>
          </a:p>
        </p:txBody>
      </p:sp>
      <p:sp>
        <p:nvSpPr>
          <p:cNvPr id="11" name="Rectangle 10"/>
          <p:cNvSpPr/>
          <p:nvPr/>
        </p:nvSpPr>
        <p:spPr bwMode="auto">
          <a:xfrm>
            <a:off x="2717073" y="1443124"/>
            <a:ext cx="1740597" cy="1209842"/>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51460" tIns="25730" rIns="25730" bIns="51460" numCol="1" spcCol="0" rtlCol="0" fromWordArt="0" anchor="t" anchorCtr="0" forceAA="0" compatLnSpc="1">
            <a:prstTxWarp prst="textNoShape">
              <a:avLst/>
            </a:prstTxWarp>
            <a:noAutofit/>
          </a:bodyPr>
          <a:lstStyle/>
          <a:p>
            <a:pPr marL="214332" indent="-214332">
              <a:buFont typeface="Courier New" pitchFamily="49" charset="0"/>
              <a:buChar char="o"/>
            </a:pPr>
            <a:r>
              <a:rPr lang="en-US" sz="1200" dirty="0">
                <a:latin typeface="Segoe UI Light" pitchFamily="34" charset="0"/>
              </a:rPr>
              <a:t>User Sign-on Experience</a:t>
            </a:r>
            <a:endParaRPr lang="en-US" sz="1200" dirty="0">
              <a:latin typeface="Segoe UI Light" pitchFamily="34" charset="0"/>
            </a:endParaRPr>
          </a:p>
          <a:p>
            <a:pPr marL="214332" indent="-214332">
              <a:buFont typeface="Courier New" pitchFamily="49" charset="0"/>
              <a:buChar char="o"/>
            </a:pPr>
            <a:r>
              <a:rPr lang="en-US" sz="1200" dirty="0">
                <a:latin typeface="Segoe UI Light" pitchFamily="34" charset="0"/>
              </a:rPr>
              <a:t>Trusted Source</a:t>
            </a:r>
            <a:endParaRPr lang="en-US" sz="1200" dirty="0">
              <a:latin typeface="Segoe UI Light" pitchFamily="34" charset="0"/>
            </a:endParaRPr>
          </a:p>
          <a:p>
            <a:pPr marL="214332" indent="-214332">
              <a:buFont typeface="Courier New" pitchFamily="49" charset="0"/>
              <a:buChar char="o"/>
            </a:pPr>
            <a:r>
              <a:rPr lang="en-US" sz="1200" dirty="0">
                <a:latin typeface="Segoe UI Light" pitchFamily="34" charset="0"/>
              </a:rPr>
              <a:t>Standard and Secure Protocols</a:t>
            </a:r>
            <a:endParaRPr lang="en-US" sz="1200" dirty="0">
              <a:latin typeface="Segoe UI Light" pitchFamily="34" charset="0"/>
            </a:endParaRPr>
          </a:p>
          <a:p>
            <a:pPr marL="214332" indent="-214332">
              <a:buFont typeface="Courier New" pitchFamily="49" charset="0"/>
              <a:buChar char="o"/>
            </a:pPr>
            <a:r>
              <a:rPr lang="en-US" sz="1200" dirty="0">
                <a:latin typeface="Segoe UI Light" pitchFamily="34" charset="0"/>
              </a:rPr>
              <a:t>Level of Assurance</a:t>
            </a:r>
            <a:endParaRPr lang="en-US" sz="1200" dirty="0">
              <a:latin typeface="Segoe UI Light" pitchFamily="34" charset="0"/>
            </a:endParaRPr>
          </a:p>
        </p:txBody>
      </p:sp>
      <p:sp>
        <p:nvSpPr>
          <p:cNvPr id="12" name="Rectangle 11"/>
          <p:cNvSpPr/>
          <p:nvPr/>
        </p:nvSpPr>
        <p:spPr bwMode="auto">
          <a:xfrm>
            <a:off x="4546820" y="1443124"/>
            <a:ext cx="1833390" cy="1381904"/>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51460" tIns="25730" rIns="25730" bIns="51460" numCol="1" spcCol="0" rtlCol="0" fromWordArt="0" anchor="t" anchorCtr="0" forceAA="0" compatLnSpc="1">
            <a:prstTxWarp prst="textNoShape">
              <a:avLst/>
            </a:prstTxWarp>
            <a:noAutofit/>
          </a:bodyPr>
          <a:lstStyle/>
          <a:p>
            <a:pPr marL="214332" indent="-214332">
              <a:buFont typeface="Courier New" pitchFamily="49" charset="0"/>
              <a:buChar char="o"/>
            </a:pPr>
            <a:r>
              <a:rPr lang="en-US" sz="1200" dirty="0">
                <a:latin typeface="Segoe UI Light" pitchFamily="34" charset="0"/>
              </a:rPr>
              <a:t>How and where are authorizations handled</a:t>
            </a:r>
          </a:p>
          <a:p>
            <a:pPr marL="214332" indent="-214332">
              <a:buFont typeface="Courier New" pitchFamily="49" charset="0"/>
              <a:buChar char="o"/>
            </a:pPr>
            <a:r>
              <a:rPr lang="en-US" sz="1200" dirty="0">
                <a:latin typeface="Segoe UI Light" pitchFamily="34" charset="0"/>
              </a:rPr>
              <a:t>Can a user access the resource and what can they do when they access it?</a:t>
            </a:r>
            <a:endParaRPr lang="en-US" dirty="0" smtClean="0"/>
          </a:p>
          <a:p>
            <a:endParaRPr lang="en-US" dirty="0"/>
          </a:p>
        </p:txBody>
      </p:sp>
      <p:sp>
        <p:nvSpPr>
          <p:cNvPr id="13" name="Freeform 81"/>
          <p:cNvSpPr>
            <a:spLocks/>
          </p:cNvSpPr>
          <p:nvPr/>
        </p:nvSpPr>
        <p:spPr bwMode="black">
          <a:xfrm>
            <a:off x="1430635" y="2825030"/>
            <a:ext cx="645409" cy="796817"/>
          </a:xfrm>
          <a:custGeom>
            <a:avLst/>
            <a:gdLst>
              <a:gd name="T0" fmla="*/ 230 w 256"/>
              <a:gd name="T1" fmla="*/ 221 h 349"/>
              <a:gd name="T2" fmla="*/ 256 w 256"/>
              <a:gd name="T3" fmla="*/ 202 h 349"/>
              <a:gd name="T4" fmla="*/ 232 w 256"/>
              <a:gd name="T5" fmla="*/ 184 h 349"/>
              <a:gd name="T6" fmla="*/ 239 w 256"/>
              <a:gd name="T7" fmla="*/ 170 h 349"/>
              <a:gd name="T8" fmla="*/ 217 w 256"/>
              <a:gd name="T9" fmla="*/ 152 h 349"/>
              <a:gd name="T10" fmla="*/ 187 w 256"/>
              <a:gd name="T11" fmla="*/ 152 h 349"/>
              <a:gd name="T12" fmla="*/ 187 w 256"/>
              <a:gd name="T13" fmla="*/ 91 h 349"/>
              <a:gd name="T14" fmla="*/ 217 w 256"/>
              <a:gd name="T15" fmla="*/ 45 h 349"/>
              <a:gd name="T16" fmla="*/ 203 w 256"/>
              <a:gd name="T17" fmla="*/ 10 h 349"/>
              <a:gd name="T18" fmla="*/ 166 w 256"/>
              <a:gd name="T19" fmla="*/ 58 h 349"/>
              <a:gd name="T20" fmla="*/ 130 w 256"/>
              <a:gd name="T21" fmla="*/ 10 h 349"/>
              <a:gd name="T22" fmla="*/ 116 w 256"/>
              <a:gd name="T23" fmla="*/ 45 h 349"/>
              <a:gd name="T24" fmla="*/ 146 w 256"/>
              <a:gd name="T25" fmla="*/ 91 h 349"/>
              <a:gd name="T26" fmla="*/ 146 w 256"/>
              <a:gd name="T27" fmla="*/ 121 h 349"/>
              <a:gd name="T28" fmla="*/ 143 w 256"/>
              <a:gd name="T29" fmla="*/ 119 h 349"/>
              <a:gd name="T30" fmla="*/ 99 w 256"/>
              <a:gd name="T31" fmla="*/ 126 h 349"/>
              <a:gd name="T32" fmla="*/ 45 w 256"/>
              <a:gd name="T33" fmla="*/ 162 h 349"/>
              <a:gd name="T34" fmla="*/ 0 w 256"/>
              <a:gd name="T35" fmla="*/ 162 h 349"/>
              <a:gd name="T36" fmla="*/ 0 w 256"/>
              <a:gd name="T37" fmla="*/ 272 h 349"/>
              <a:gd name="T38" fmla="*/ 70 w 256"/>
              <a:gd name="T39" fmla="*/ 277 h 349"/>
              <a:gd name="T40" fmla="*/ 132 w 256"/>
              <a:gd name="T41" fmla="*/ 286 h 349"/>
              <a:gd name="T42" fmla="*/ 127 w 256"/>
              <a:gd name="T43" fmla="*/ 273 h 349"/>
              <a:gd name="T44" fmla="*/ 139 w 256"/>
              <a:gd name="T45" fmla="*/ 255 h 349"/>
              <a:gd name="T46" fmla="*/ 125 w 256"/>
              <a:gd name="T47" fmla="*/ 237 h 349"/>
              <a:gd name="T48" fmla="*/ 140 w 256"/>
              <a:gd name="T49" fmla="*/ 219 h 349"/>
              <a:gd name="T50" fmla="*/ 125 w 256"/>
              <a:gd name="T51" fmla="*/ 201 h 349"/>
              <a:gd name="T52" fmla="*/ 138 w 256"/>
              <a:gd name="T53" fmla="*/ 185 h 349"/>
              <a:gd name="T54" fmla="*/ 125 w 256"/>
              <a:gd name="T55" fmla="*/ 167 h 349"/>
              <a:gd name="T56" fmla="*/ 146 w 256"/>
              <a:gd name="T57" fmla="*/ 148 h 349"/>
              <a:gd name="T58" fmla="*/ 146 w 256"/>
              <a:gd name="T59" fmla="*/ 155 h 349"/>
              <a:gd name="T60" fmla="*/ 137 w 256"/>
              <a:gd name="T61" fmla="*/ 170 h 349"/>
              <a:gd name="T62" fmla="*/ 146 w 256"/>
              <a:gd name="T63" fmla="*/ 185 h 349"/>
              <a:gd name="T64" fmla="*/ 146 w 256"/>
              <a:gd name="T65" fmla="*/ 188 h 349"/>
              <a:gd name="T66" fmla="*/ 137 w 256"/>
              <a:gd name="T67" fmla="*/ 202 h 349"/>
              <a:gd name="T68" fmla="*/ 146 w 256"/>
              <a:gd name="T69" fmla="*/ 216 h 349"/>
              <a:gd name="T70" fmla="*/ 146 w 256"/>
              <a:gd name="T71" fmla="*/ 224 h 349"/>
              <a:gd name="T72" fmla="*/ 137 w 256"/>
              <a:gd name="T73" fmla="*/ 239 h 349"/>
              <a:gd name="T74" fmla="*/ 146 w 256"/>
              <a:gd name="T75" fmla="*/ 254 h 349"/>
              <a:gd name="T76" fmla="*/ 146 w 256"/>
              <a:gd name="T77" fmla="*/ 261 h 349"/>
              <a:gd name="T78" fmla="*/ 139 w 256"/>
              <a:gd name="T79" fmla="*/ 276 h 349"/>
              <a:gd name="T80" fmla="*/ 146 w 256"/>
              <a:gd name="T81" fmla="*/ 291 h 349"/>
              <a:gd name="T82" fmla="*/ 146 w 256"/>
              <a:gd name="T83" fmla="*/ 324 h 349"/>
              <a:gd name="T84" fmla="*/ 167 w 256"/>
              <a:gd name="T85" fmla="*/ 349 h 349"/>
              <a:gd name="T86" fmla="*/ 187 w 256"/>
              <a:gd name="T87" fmla="*/ 324 h 349"/>
              <a:gd name="T88" fmla="*/ 187 w 256"/>
              <a:gd name="T89" fmla="*/ 294 h 349"/>
              <a:gd name="T90" fmla="*/ 207 w 256"/>
              <a:gd name="T91" fmla="*/ 294 h 349"/>
              <a:gd name="T92" fmla="*/ 226 w 256"/>
              <a:gd name="T93" fmla="*/ 276 h 349"/>
              <a:gd name="T94" fmla="*/ 207 w 256"/>
              <a:gd name="T95" fmla="*/ 257 h 349"/>
              <a:gd name="T96" fmla="*/ 187 w 256"/>
              <a:gd name="T97" fmla="*/ 257 h 349"/>
              <a:gd name="T98" fmla="*/ 187 w 256"/>
              <a:gd name="T99" fmla="*/ 257 h 349"/>
              <a:gd name="T100" fmla="*/ 217 w 256"/>
              <a:gd name="T101" fmla="*/ 257 h 349"/>
              <a:gd name="T102" fmla="*/ 239 w 256"/>
              <a:gd name="T103" fmla="*/ 239 h 349"/>
              <a:gd name="T104" fmla="*/ 217 w 256"/>
              <a:gd name="T105" fmla="*/ 221 h 349"/>
              <a:gd name="T106" fmla="*/ 187 w 256"/>
              <a:gd name="T107" fmla="*/ 221 h 349"/>
              <a:gd name="T108" fmla="*/ 187 w 256"/>
              <a:gd name="T109" fmla="*/ 221 h 349"/>
              <a:gd name="T110" fmla="*/ 230 w 256"/>
              <a:gd name="T111" fmla="*/ 221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49">
                <a:moveTo>
                  <a:pt x="230" y="221"/>
                </a:moveTo>
                <a:cubicBezTo>
                  <a:pt x="245" y="221"/>
                  <a:pt x="256" y="212"/>
                  <a:pt x="256" y="202"/>
                </a:cubicBezTo>
                <a:cubicBezTo>
                  <a:pt x="256" y="192"/>
                  <a:pt x="245" y="184"/>
                  <a:pt x="232" y="184"/>
                </a:cubicBezTo>
                <a:cubicBezTo>
                  <a:pt x="236" y="180"/>
                  <a:pt x="239" y="175"/>
                  <a:pt x="239" y="170"/>
                </a:cubicBezTo>
                <a:cubicBezTo>
                  <a:pt x="239" y="160"/>
                  <a:pt x="229" y="152"/>
                  <a:pt x="217" y="152"/>
                </a:cubicBezTo>
                <a:cubicBezTo>
                  <a:pt x="187" y="152"/>
                  <a:pt x="187" y="152"/>
                  <a:pt x="187" y="152"/>
                </a:cubicBezTo>
                <a:cubicBezTo>
                  <a:pt x="187" y="91"/>
                  <a:pt x="187" y="91"/>
                  <a:pt x="187" y="91"/>
                </a:cubicBezTo>
                <a:cubicBezTo>
                  <a:pt x="205" y="83"/>
                  <a:pt x="217" y="66"/>
                  <a:pt x="217" y="45"/>
                </a:cubicBezTo>
                <a:cubicBezTo>
                  <a:pt x="217" y="31"/>
                  <a:pt x="203" y="0"/>
                  <a:pt x="203" y="10"/>
                </a:cubicBezTo>
                <a:cubicBezTo>
                  <a:pt x="204" y="24"/>
                  <a:pt x="195" y="58"/>
                  <a:pt x="166" y="58"/>
                </a:cubicBezTo>
                <a:cubicBezTo>
                  <a:pt x="140" y="58"/>
                  <a:pt x="129" y="30"/>
                  <a:pt x="130" y="10"/>
                </a:cubicBezTo>
                <a:cubicBezTo>
                  <a:pt x="130" y="3"/>
                  <a:pt x="116" y="32"/>
                  <a:pt x="116" y="45"/>
                </a:cubicBezTo>
                <a:cubicBezTo>
                  <a:pt x="116" y="66"/>
                  <a:pt x="129" y="84"/>
                  <a:pt x="146" y="91"/>
                </a:cubicBezTo>
                <a:cubicBezTo>
                  <a:pt x="146" y="121"/>
                  <a:pt x="146" y="121"/>
                  <a:pt x="146" y="121"/>
                </a:cubicBezTo>
                <a:cubicBezTo>
                  <a:pt x="143" y="119"/>
                  <a:pt x="143" y="119"/>
                  <a:pt x="143" y="119"/>
                </a:cubicBezTo>
                <a:cubicBezTo>
                  <a:pt x="143" y="119"/>
                  <a:pt x="110" y="122"/>
                  <a:pt x="99" y="126"/>
                </a:cubicBezTo>
                <a:cubicBezTo>
                  <a:pt x="87" y="131"/>
                  <a:pt x="63" y="162"/>
                  <a:pt x="45" y="162"/>
                </a:cubicBezTo>
                <a:cubicBezTo>
                  <a:pt x="26" y="162"/>
                  <a:pt x="0" y="162"/>
                  <a:pt x="0" y="162"/>
                </a:cubicBezTo>
                <a:cubicBezTo>
                  <a:pt x="0" y="272"/>
                  <a:pt x="0" y="272"/>
                  <a:pt x="0" y="272"/>
                </a:cubicBezTo>
                <a:cubicBezTo>
                  <a:pt x="0" y="272"/>
                  <a:pt x="47" y="272"/>
                  <a:pt x="70" y="277"/>
                </a:cubicBezTo>
                <a:cubicBezTo>
                  <a:pt x="86" y="280"/>
                  <a:pt x="110" y="284"/>
                  <a:pt x="132" y="286"/>
                </a:cubicBezTo>
                <a:cubicBezTo>
                  <a:pt x="129" y="283"/>
                  <a:pt x="127" y="278"/>
                  <a:pt x="127" y="273"/>
                </a:cubicBezTo>
                <a:cubicBezTo>
                  <a:pt x="127" y="265"/>
                  <a:pt x="132" y="258"/>
                  <a:pt x="139" y="255"/>
                </a:cubicBezTo>
                <a:cubicBezTo>
                  <a:pt x="131" y="252"/>
                  <a:pt x="125" y="245"/>
                  <a:pt x="125" y="237"/>
                </a:cubicBezTo>
                <a:cubicBezTo>
                  <a:pt x="125" y="229"/>
                  <a:pt x="131" y="222"/>
                  <a:pt x="140" y="219"/>
                </a:cubicBezTo>
                <a:cubicBezTo>
                  <a:pt x="131" y="216"/>
                  <a:pt x="125" y="209"/>
                  <a:pt x="125" y="201"/>
                </a:cubicBezTo>
                <a:cubicBezTo>
                  <a:pt x="125" y="194"/>
                  <a:pt x="130" y="188"/>
                  <a:pt x="138" y="185"/>
                </a:cubicBezTo>
                <a:cubicBezTo>
                  <a:pt x="130" y="182"/>
                  <a:pt x="125" y="175"/>
                  <a:pt x="125" y="167"/>
                </a:cubicBezTo>
                <a:cubicBezTo>
                  <a:pt x="125" y="157"/>
                  <a:pt x="135" y="148"/>
                  <a:pt x="146" y="148"/>
                </a:cubicBezTo>
                <a:cubicBezTo>
                  <a:pt x="146" y="155"/>
                  <a:pt x="146" y="155"/>
                  <a:pt x="146" y="155"/>
                </a:cubicBezTo>
                <a:cubicBezTo>
                  <a:pt x="141" y="158"/>
                  <a:pt x="137" y="164"/>
                  <a:pt x="137" y="170"/>
                </a:cubicBezTo>
                <a:cubicBezTo>
                  <a:pt x="137" y="176"/>
                  <a:pt x="141" y="182"/>
                  <a:pt x="146" y="185"/>
                </a:cubicBezTo>
                <a:cubicBezTo>
                  <a:pt x="146" y="188"/>
                  <a:pt x="146" y="188"/>
                  <a:pt x="146" y="188"/>
                </a:cubicBezTo>
                <a:cubicBezTo>
                  <a:pt x="141" y="191"/>
                  <a:pt x="137" y="196"/>
                  <a:pt x="137" y="202"/>
                </a:cubicBezTo>
                <a:cubicBezTo>
                  <a:pt x="137" y="208"/>
                  <a:pt x="141" y="213"/>
                  <a:pt x="146" y="216"/>
                </a:cubicBezTo>
                <a:cubicBezTo>
                  <a:pt x="146" y="224"/>
                  <a:pt x="146" y="224"/>
                  <a:pt x="146" y="224"/>
                </a:cubicBezTo>
                <a:cubicBezTo>
                  <a:pt x="141" y="227"/>
                  <a:pt x="137" y="233"/>
                  <a:pt x="137" y="239"/>
                </a:cubicBezTo>
                <a:cubicBezTo>
                  <a:pt x="137" y="245"/>
                  <a:pt x="141" y="251"/>
                  <a:pt x="146" y="254"/>
                </a:cubicBezTo>
                <a:cubicBezTo>
                  <a:pt x="146" y="261"/>
                  <a:pt x="146" y="261"/>
                  <a:pt x="146" y="261"/>
                </a:cubicBezTo>
                <a:cubicBezTo>
                  <a:pt x="142" y="264"/>
                  <a:pt x="139" y="270"/>
                  <a:pt x="139" y="276"/>
                </a:cubicBezTo>
                <a:cubicBezTo>
                  <a:pt x="139" y="282"/>
                  <a:pt x="142" y="287"/>
                  <a:pt x="146" y="291"/>
                </a:cubicBezTo>
                <a:cubicBezTo>
                  <a:pt x="146" y="324"/>
                  <a:pt x="146" y="324"/>
                  <a:pt x="146" y="324"/>
                </a:cubicBezTo>
                <a:cubicBezTo>
                  <a:pt x="146" y="338"/>
                  <a:pt x="156" y="349"/>
                  <a:pt x="167" y="349"/>
                </a:cubicBezTo>
                <a:cubicBezTo>
                  <a:pt x="178" y="349"/>
                  <a:pt x="187" y="338"/>
                  <a:pt x="187" y="324"/>
                </a:cubicBezTo>
                <a:cubicBezTo>
                  <a:pt x="187" y="294"/>
                  <a:pt x="187" y="294"/>
                  <a:pt x="187" y="294"/>
                </a:cubicBezTo>
                <a:cubicBezTo>
                  <a:pt x="207" y="294"/>
                  <a:pt x="207" y="294"/>
                  <a:pt x="207" y="294"/>
                </a:cubicBezTo>
                <a:cubicBezTo>
                  <a:pt x="217" y="294"/>
                  <a:pt x="226" y="286"/>
                  <a:pt x="226" y="276"/>
                </a:cubicBezTo>
                <a:cubicBezTo>
                  <a:pt x="226" y="266"/>
                  <a:pt x="217" y="257"/>
                  <a:pt x="207" y="257"/>
                </a:cubicBezTo>
                <a:cubicBezTo>
                  <a:pt x="187" y="257"/>
                  <a:pt x="187" y="257"/>
                  <a:pt x="187" y="257"/>
                </a:cubicBezTo>
                <a:cubicBezTo>
                  <a:pt x="187" y="257"/>
                  <a:pt x="187" y="257"/>
                  <a:pt x="187" y="257"/>
                </a:cubicBezTo>
                <a:cubicBezTo>
                  <a:pt x="217" y="257"/>
                  <a:pt x="217" y="257"/>
                  <a:pt x="217" y="257"/>
                </a:cubicBezTo>
                <a:cubicBezTo>
                  <a:pt x="229" y="257"/>
                  <a:pt x="239" y="249"/>
                  <a:pt x="239" y="239"/>
                </a:cubicBezTo>
                <a:cubicBezTo>
                  <a:pt x="239" y="229"/>
                  <a:pt x="229" y="221"/>
                  <a:pt x="217" y="221"/>
                </a:cubicBezTo>
                <a:cubicBezTo>
                  <a:pt x="187" y="221"/>
                  <a:pt x="187" y="221"/>
                  <a:pt x="187" y="221"/>
                </a:cubicBezTo>
                <a:cubicBezTo>
                  <a:pt x="187" y="221"/>
                  <a:pt x="187" y="221"/>
                  <a:pt x="187" y="221"/>
                </a:cubicBezTo>
                <a:lnTo>
                  <a:pt x="230" y="221"/>
                </a:lnTo>
                <a:close/>
              </a:path>
            </a:pathLst>
          </a:custGeom>
          <a:solidFill>
            <a:srgbClr val="FFFFFF"/>
          </a:solidFill>
          <a:ln>
            <a:noFill/>
          </a:ln>
        </p:spPr>
        <p:txBody>
          <a:bodyPr vert="horz" wrap="square" lIns="61735" tIns="30867" rIns="61735" bIns="30867" numCol="1" anchor="t" anchorCtr="0" compatLnSpc="1">
            <a:prstTxWarp prst="textNoShape">
              <a:avLst/>
            </a:prstTxWarp>
          </a:bodyPr>
          <a:lstStyle/>
          <a:p>
            <a:endParaRPr lang="en-US" sz="1200" dirty="0"/>
          </a:p>
        </p:txBody>
      </p:sp>
      <p:sp>
        <p:nvSpPr>
          <p:cNvPr id="14" name="Freeform 13"/>
          <p:cNvSpPr>
            <a:spLocks noEditPoints="1"/>
          </p:cNvSpPr>
          <p:nvPr/>
        </p:nvSpPr>
        <p:spPr bwMode="black">
          <a:xfrm rot="900000">
            <a:off x="7022488" y="2945375"/>
            <a:ext cx="590879" cy="724457"/>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FFFFFF"/>
          </a:solidFill>
          <a:ln>
            <a:noFill/>
          </a:ln>
        </p:spPr>
        <p:txBody>
          <a:bodyPr vert="horz" wrap="square" lIns="61735" tIns="30867" rIns="61735" bIns="30867"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200" dirty="0"/>
          </a:p>
        </p:txBody>
      </p:sp>
      <p:sp>
        <p:nvSpPr>
          <p:cNvPr id="15" name="Freeform 14"/>
          <p:cNvSpPr>
            <a:spLocks noEditPoints="1"/>
          </p:cNvSpPr>
          <p:nvPr/>
        </p:nvSpPr>
        <p:spPr bwMode="black">
          <a:xfrm>
            <a:off x="5053097" y="2927920"/>
            <a:ext cx="819939" cy="682133"/>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61735" tIns="30867" rIns="61735" bIns="30867"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200" dirty="0"/>
          </a:p>
        </p:txBody>
      </p:sp>
      <p:sp>
        <p:nvSpPr>
          <p:cNvPr id="16" name="Freeform 15"/>
          <p:cNvSpPr>
            <a:spLocks noEditPoints="1"/>
          </p:cNvSpPr>
          <p:nvPr/>
        </p:nvSpPr>
        <p:spPr bwMode="black">
          <a:xfrm>
            <a:off x="3272789" y="2875848"/>
            <a:ext cx="567280" cy="786275"/>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p:spPr>
        <p:txBody>
          <a:bodyPr vert="horz" wrap="square" lIns="61735" tIns="30867" rIns="61735" bIns="30867"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200" dirty="0"/>
          </a:p>
        </p:txBody>
      </p:sp>
      <p:sp>
        <p:nvSpPr>
          <p:cNvPr id="17" name="Rectangle 16"/>
          <p:cNvSpPr/>
          <p:nvPr/>
        </p:nvSpPr>
        <p:spPr>
          <a:xfrm>
            <a:off x="6401235" y="1232844"/>
            <a:ext cx="1833391" cy="15036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endParaRPr lang="en-US" dirty="0">
              <a:solidFill>
                <a:schemeClr val="bg1">
                  <a:lumMod val="85000"/>
                  <a:lumOff val="15000"/>
                </a:schemeClr>
              </a:solidFill>
            </a:endParaRPr>
          </a:p>
        </p:txBody>
      </p:sp>
      <p:sp>
        <p:nvSpPr>
          <p:cNvPr id="18" name="Rectangle 17"/>
          <p:cNvSpPr/>
          <p:nvPr/>
        </p:nvSpPr>
        <p:spPr>
          <a:xfrm>
            <a:off x="4546371" y="1232844"/>
            <a:ext cx="1833391" cy="15036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endParaRPr lang="en-US" dirty="0">
              <a:solidFill>
                <a:schemeClr val="bg1">
                  <a:lumMod val="85000"/>
                  <a:lumOff val="15000"/>
                </a:schemeClr>
              </a:solidFill>
            </a:endParaRPr>
          </a:p>
        </p:txBody>
      </p:sp>
      <p:sp>
        <p:nvSpPr>
          <p:cNvPr id="19" name="Rectangle 18"/>
          <p:cNvSpPr/>
          <p:nvPr/>
        </p:nvSpPr>
        <p:spPr>
          <a:xfrm>
            <a:off x="2691508" y="1232844"/>
            <a:ext cx="1833391" cy="15036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endParaRPr lang="en-US" dirty="0">
              <a:solidFill>
                <a:schemeClr val="bg1">
                  <a:lumMod val="85000"/>
                  <a:lumOff val="15000"/>
                </a:schemeClr>
              </a:solidFill>
            </a:endParaRPr>
          </a:p>
        </p:txBody>
      </p:sp>
      <p:sp>
        <p:nvSpPr>
          <p:cNvPr id="20" name="Rectangle 19"/>
          <p:cNvSpPr/>
          <p:nvPr/>
        </p:nvSpPr>
        <p:spPr>
          <a:xfrm>
            <a:off x="836645" y="1232844"/>
            <a:ext cx="1833391" cy="15036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endParaRPr lang="en-US" dirty="0">
              <a:solidFill>
                <a:schemeClr val="bg1">
                  <a:lumMod val="85000"/>
                  <a:lumOff val="15000"/>
                </a:schemeClr>
              </a:solidFill>
            </a:endParaRPr>
          </a:p>
        </p:txBody>
      </p:sp>
      <p:cxnSp>
        <p:nvCxnSpPr>
          <p:cNvPr id="21" name="Straight Connector 20"/>
          <p:cNvCxnSpPr/>
          <p:nvPr/>
        </p:nvCxnSpPr>
        <p:spPr>
          <a:xfrm>
            <a:off x="2678191" y="1388100"/>
            <a:ext cx="0" cy="254027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4535413" y="1382831"/>
            <a:ext cx="0" cy="254027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6393974" y="1382829"/>
            <a:ext cx="0" cy="254027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5"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
              </a:rPr>
              <a:t>www.rapidbbs.cn</a:t>
            </a:r>
            <a:endParaRPr lang="zh-CN" altLang="en-US" sz="1200" b="0">
              <a:latin typeface="Arial" charset="0"/>
              <a:ea typeface="ＭＳ Ｐゴシック" pitchFamily="34" charset="-128"/>
            </a:endParaRPr>
          </a:p>
        </p:txBody>
      </p:sp>
      <p:pic>
        <p:nvPicPr>
          <p:cNvPr id="26" name="Picture 2">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8436756"/>
      </p:ext>
    </p:extLst>
  </p:cSld>
  <p:clrMapOvr>
    <a:masterClrMapping/>
  </p:clrMapOvr>
  <p:transition>
    <p:fade/>
  </p:transition>
  <p:timing>
    <p:tnLst>
      <p:par>
        <p:cTn id="1" dur="indefinite" restart="never" nodeType="tmRoot"/>
      </p:par>
    </p:tnLst>
  </p:timing>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911310" y="1333386"/>
            <a:ext cx="4376544" cy="28940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6" tIns="34294" rIns="34294" bIns="68586" numCol="1" spcCol="0" rtlCol="0" fromWordArt="0" anchor="b" anchorCtr="0" forceAA="0" compatLnSpc="1">
            <a:prstTxWarp prst="textNoShape">
              <a:avLst/>
            </a:prstTxWarp>
            <a:noAutofit/>
          </a:bodyPr>
          <a:lstStyle/>
          <a:p>
            <a:pPr defTabSz="685637" fontAlgn="base">
              <a:spcBef>
                <a:spcPct val="0"/>
              </a:spcBef>
              <a:spcAft>
                <a:spcPct val="0"/>
              </a:spcAft>
            </a:pPr>
            <a:r>
              <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rPr>
              <a:t>Multiple form factors</a:t>
            </a: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3" name="Title 12"/>
          <p:cNvSpPr>
            <a:spLocks noGrp="1"/>
          </p:cNvSpPr>
          <p:nvPr>
            <p:ph type="title"/>
          </p:nvPr>
        </p:nvSpPr>
        <p:spPr>
          <a:xfrm>
            <a:off x="389436" y="171451"/>
            <a:ext cx="8363938" cy="567848"/>
          </a:xfrm>
        </p:spPr>
        <p:txBody>
          <a:bodyPr/>
          <a:lstStyle/>
          <a:p>
            <a:r>
              <a:rPr lang="en-US" sz="4100" dirty="0">
                <a:latin typeface="Segoe UI Light" pitchFamily="34" charset="0"/>
                <a:ea typeface="Segoe UI" pitchFamily="34" charset="0"/>
                <a:cs typeface="Segoe UI" pitchFamily="34" charset="0"/>
              </a:rPr>
              <a:t>Understanding modern apps</a:t>
            </a:r>
            <a:endParaRPr lang="en-US" sz="4100" dirty="0">
              <a:latin typeface="Segoe UI Light" pitchFamily="34" charset="0"/>
              <a:ea typeface="Segoe UI" pitchFamily="34" charset="0"/>
              <a:cs typeface="Segoe UI" pitchFamily="34" charset="0"/>
            </a:endParaRPr>
          </a:p>
        </p:txBody>
      </p:sp>
      <p:sp>
        <p:nvSpPr>
          <p:cNvPr id="28" name="Rectangle 27"/>
          <p:cNvSpPr/>
          <p:nvPr/>
        </p:nvSpPr>
        <p:spPr bwMode="auto">
          <a:xfrm>
            <a:off x="6851994" y="2819612"/>
            <a:ext cx="1408218" cy="140785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6" tIns="34294" rIns="34294" bIns="68586" numCol="1" spcCol="0" rtlCol="0" fromWordArt="0" anchor="b" anchorCtr="0" forceAA="0" compatLnSpc="1">
            <a:prstTxWarp prst="textNoShape">
              <a:avLst/>
            </a:prstTxWarp>
            <a:noAutofit/>
          </a:bodyPr>
          <a:lstStyle/>
          <a:p>
            <a:pPr defTabSz="685637" fontAlgn="base">
              <a:spcBef>
                <a:spcPct val="0"/>
              </a:spcBef>
              <a:spcAft>
                <a:spcPct val="0"/>
              </a:spcAft>
            </a:pPr>
            <a:r>
              <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rPr>
              <a:t>Social</a:t>
            </a: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9" name="Rectangle 28"/>
          <p:cNvSpPr/>
          <p:nvPr/>
        </p:nvSpPr>
        <p:spPr bwMode="auto">
          <a:xfrm>
            <a:off x="5366719" y="2819612"/>
            <a:ext cx="1408218" cy="140785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6" tIns="34294" rIns="34294" bIns="68586" numCol="1" spcCol="0" rtlCol="0" fromWordArt="0" anchor="b" anchorCtr="0" forceAA="0" compatLnSpc="1">
            <a:prstTxWarp prst="textNoShape">
              <a:avLst/>
            </a:prstTxWarp>
            <a:noAutofit/>
          </a:bodyPr>
          <a:lstStyle/>
          <a:p>
            <a:pPr defTabSz="685637" fontAlgn="base">
              <a:spcBef>
                <a:spcPct val="0"/>
              </a:spcBef>
              <a:spcAft>
                <a:spcPct val="0"/>
              </a:spcAft>
            </a:pPr>
            <a:r>
              <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rPr>
              <a:t>Identity</a:t>
            </a: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7" name="Rectangle 26"/>
          <p:cNvSpPr/>
          <p:nvPr/>
        </p:nvSpPr>
        <p:spPr bwMode="auto">
          <a:xfrm>
            <a:off x="6851994" y="1330651"/>
            <a:ext cx="1408218" cy="140785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6" tIns="34294" rIns="34294" bIns="68586" numCol="1" spcCol="0" rtlCol="0" fromWordArt="0" anchor="b" anchorCtr="0" forceAA="0" compatLnSpc="1">
            <a:prstTxWarp prst="textNoShape">
              <a:avLst/>
            </a:prstTxWarp>
            <a:noAutofit/>
          </a:bodyPr>
          <a:lstStyle/>
          <a:p>
            <a:pPr defTabSz="685637" fontAlgn="base">
              <a:spcBef>
                <a:spcPct val="0"/>
              </a:spcBef>
              <a:spcAft>
                <a:spcPct val="0"/>
              </a:spcAft>
            </a:pPr>
            <a:r>
              <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rPr>
              <a:t>Choice</a:t>
            </a: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0" name="Rectangle 29"/>
          <p:cNvSpPr/>
          <p:nvPr/>
        </p:nvSpPr>
        <p:spPr bwMode="auto">
          <a:xfrm>
            <a:off x="5366719" y="1330651"/>
            <a:ext cx="1408218" cy="140785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6" tIns="34294" rIns="34294" bIns="68586" numCol="1" spcCol="0" rtlCol="0" fromWordArt="0" anchor="b" anchorCtr="0" forceAA="0" compatLnSpc="1">
            <a:prstTxWarp prst="textNoShape">
              <a:avLst/>
            </a:prstTxWarp>
            <a:noAutofit/>
          </a:bodyPr>
          <a:lstStyle/>
          <a:p>
            <a:pPr defTabSz="685637" fontAlgn="base">
              <a:spcBef>
                <a:spcPct val="0"/>
              </a:spcBef>
              <a:spcAft>
                <a:spcPct val="0"/>
              </a:spcAft>
            </a:pPr>
            <a:r>
              <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rPr>
              <a:t>Anytime access</a:t>
            </a: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7" name="Freeform 154"/>
          <p:cNvSpPr>
            <a:spLocks noEditPoints="1"/>
          </p:cNvSpPr>
          <p:nvPr/>
        </p:nvSpPr>
        <p:spPr bwMode="black">
          <a:xfrm>
            <a:off x="5643111" y="3014162"/>
            <a:ext cx="872494" cy="872039"/>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1735" tIns="30867" rIns="61735" bIns="30867" numCol="1" anchor="t" anchorCtr="0" compatLnSpc="1">
            <a:prstTxWarp prst="textNoShape">
              <a:avLst/>
            </a:prstTxWarp>
          </a:bodyPr>
          <a:lstStyle/>
          <a:p>
            <a:endParaRPr lang="en-US" sz="1200"/>
          </a:p>
        </p:txBody>
      </p:sp>
      <p:pic>
        <p:nvPicPr>
          <p:cNvPr id="18" name="Picture 39" descr="C:\Users\sakuu\Documents\Ballmer WPC\PNGS\Timer.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5772462" y="1459706"/>
            <a:ext cx="586671" cy="883445"/>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p:cNvGrpSpPr/>
          <p:nvPr/>
        </p:nvGrpSpPr>
        <p:grpSpPr>
          <a:xfrm>
            <a:off x="1142108" y="2102314"/>
            <a:ext cx="3980089" cy="1326686"/>
            <a:chOff x="2396675" y="2712766"/>
            <a:chExt cx="1208329" cy="402878"/>
          </a:xfrm>
        </p:grpSpPr>
        <p:grpSp>
          <p:nvGrpSpPr>
            <p:cNvPr id="25" name="Group 24"/>
            <p:cNvGrpSpPr/>
            <p:nvPr/>
          </p:nvGrpSpPr>
          <p:grpSpPr bwMode="black">
            <a:xfrm>
              <a:off x="2396675" y="2712766"/>
              <a:ext cx="408356" cy="402878"/>
              <a:chOff x="2916435" y="3914152"/>
              <a:chExt cx="930763" cy="918513"/>
            </a:xfrm>
          </p:grpSpPr>
          <p:pic>
            <p:nvPicPr>
              <p:cNvPr id="26" name="Picture 25"/>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31"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40" tIns="45720" rIns="91440" bIns="45720" numCol="1" anchor="t" anchorCtr="0" compatLnSpc="1">
                <a:prstTxWarp prst="textNoShape">
                  <a:avLst/>
                </a:prstTxWarp>
              </a:bodyPr>
              <a:lstStyle/>
              <a:p>
                <a:endParaRPr lang="en-US" sz="700" dirty="0">
                  <a:solidFill>
                    <a:srgbClr val="FFFFFF"/>
                  </a:solidFill>
                </a:endParaRPr>
              </a:p>
            </p:txBody>
          </p:sp>
        </p:grpSp>
        <p:sp>
          <p:nvSpPr>
            <p:cNvPr id="32" name="Freeform 20"/>
            <p:cNvSpPr>
              <a:spLocks noEditPoints="1"/>
            </p:cNvSpPr>
            <p:nvPr/>
          </p:nvSpPr>
          <p:spPr bwMode="black">
            <a:xfrm>
              <a:off x="2862843" y="2719324"/>
              <a:ext cx="508115" cy="35326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305" tIns="41153" rIns="82305" bIns="41153" numCol="1" anchor="t" anchorCtr="0" compatLnSpc="1">
              <a:prstTxWarp prst="textNoShape">
                <a:avLst/>
              </a:prstTxWarp>
            </a:bodyPr>
            <a:lstStyle/>
            <a:p>
              <a:endParaRPr lang="en-US" sz="700" dirty="0">
                <a:solidFill>
                  <a:srgbClr val="FFFFFF"/>
                </a:solidFill>
              </a:endParaRPr>
            </a:p>
          </p:txBody>
        </p:sp>
        <p:pic>
          <p:nvPicPr>
            <p:cNvPr id="34" name="Picture 33"/>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3421089" y="2719323"/>
              <a:ext cx="183915" cy="353259"/>
            </a:xfrm>
            <a:prstGeom prst="rect">
              <a:avLst/>
            </a:prstGeom>
          </p:spPr>
        </p:pic>
      </p:grpSp>
      <p:pic>
        <p:nvPicPr>
          <p:cNvPr id="35" name="Picture 50" descr="C:\Users\sakuu\Documents\Ballmer MGX 2011\Tile Icons\Road Fork.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black">
          <a:xfrm>
            <a:off x="7209889" y="1608694"/>
            <a:ext cx="734840" cy="734457"/>
          </a:xfrm>
          <a:prstGeom prst="rect">
            <a:avLst/>
          </a:prstGeom>
          <a:noFill/>
          <a:extLst>
            <a:ext uri="{909E8E84-426E-40DD-AFC4-6F175D3DCCD1}">
              <a14:hiddenFill xmlns:a14="http://schemas.microsoft.com/office/drawing/2010/main">
                <a:solidFill>
                  <a:srgbClr val="FFFFFF"/>
                </a:solidFill>
              </a14:hiddenFill>
            </a:ext>
          </a:extLst>
        </p:spPr>
      </p:pic>
      <p:sp>
        <p:nvSpPr>
          <p:cNvPr id="36" name="Freeform 14"/>
          <p:cNvSpPr>
            <a:spLocks noEditPoints="1"/>
          </p:cNvSpPr>
          <p:nvPr/>
        </p:nvSpPr>
        <p:spPr bwMode="black">
          <a:xfrm>
            <a:off x="7201584" y="3009202"/>
            <a:ext cx="666862" cy="705548"/>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1732" tIns="30866" rIns="61732" bIns="30866" numCol="1" rtlCol="0" anchor="ctr" anchorCtr="0" compatLnSpc="1">
            <a:prstTxWarp prst="textNoShape">
              <a:avLst/>
            </a:prstTxWarp>
          </a:bodyPr>
          <a:lstStyle/>
          <a:p>
            <a:pPr defTabSz="555606"/>
            <a:endParaRPr lang="en-US" spc="-92">
              <a:solidFill>
                <a:schemeClr val="tx1">
                  <a:lumMod val="50000"/>
                </a:schemeClr>
              </a:solidFill>
              <a:latin typeface="Segoe Light" pitchFamily="34" charset="0"/>
            </a:endParaRPr>
          </a:p>
        </p:txBody>
      </p:sp>
      <p:sp>
        <p:nvSpPr>
          <p:cNvPr id="19"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0"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9"/>
              </a:rPr>
              <a:t>www.rapidbbs.cn</a:t>
            </a:r>
            <a:endParaRPr lang="zh-CN" altLang="en-US" sz="1200" b="0">
              <a:latin typeface="Arial" charset="0"/>
              <a:ea typeface="ＭＳ Ｐゴシック" pitchFamily="34" charset="-128"/>
            </a:endParaRPr>
          </a:p>
        </p:txBody>
      </p:sp>
      <p:pic>
        <p:nvPicPr>
          <p:cNvPr id="21" name="Picture 2">
            <a:hlinkClick r:id="rId9"/>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38382280"/>
      </p:ext>
    </p:extLst>
  </p:cSld>
  <p:clrMapOvr>
    <a:masterClrMapping/>
  </p:clrMapOvr>
  <p:transition spd="slow">
    <p:wipe dir="r"/>
  </p:transition>
  <p:timing>
    <p:tnLst>
      <p:par>
        <p:cTn id="1" dur="indefinite" restart="never" nodeType="tmRoot"/>
      </p:par>
    </p:tnLst>
  </p:timing>
</p:sld>
</file>

<file path=ppt/slides/slide4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atency Shifts</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4257515933"/>
              </p:ext>
            </p:extLst>
          </p:nvPr>
        </p:nvGraphicFramePr>
        <p:xfrm>
          <a:off x="2" y="742950"/>
          <a:ext cx="8916531" cy="3714750"/>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p:cNvSpPr txBox="1"/>
          <p:nvPr/>
        </p:nvSpPr>
        <p:spPr>
          <a:xfrm>
            <a:off x="-235780" y="4348876"/>
            <a:ext cx="691908" cy="288539"/>
          </a:xfrm>
          <a:prstGeom prst="rect">
            <a:avLst/>
          </a:prstGeom>
          <a:noFill/>
        </p:spPr>
        <p:txBody>
          <a:bodyPr wrap="square" lIns="68586" tIns="34294" rIns="68586" bIns="34294" rtlCol="0" anchor="ctr">
            <a:spAutoFit/>
          </a:bodyPr>
          <a:lstStyle/>
          <a:p>
            <a:pPr algn="ctr" defTabSz="685835"/>
            <a:r>
              <a:rPr lang="en-US" dirty="0">
                <a:solidFill>
                  <a:srgbClr val="FFFFFF"/>
                </a:solidFill>
              </a:rPr>
              <a:t>0</a:t>
            </a:r>
          </a:p>
        </p:txBody>
      </p:sp>
      <p:sp>
        <p:nvSpPr>
          <p:cNvPr id="6" name="TextBox 5"/>
          <p:cNvSpPr txBox="1"/>
          <p:nvPr/>
        </p:nvSpPr>
        <p:spPr>
          <a:xfrm>
            <a:off x="784691" y="4337632"/>
            <a:ext cx="822192" cy="288539"/>
          </a:xfrm>
          <a:prstGeom prst="rect">
            <a:avLst/>
          </a:prstGeom>
          <a:noFill/>
        </p:spPr>
        <p:txBody>
          <a:bodyPr wrap="square" lIns="68586" tIns="34294" rIns="68586" bIns="34294" rtlCol="0" anchor="ctr">
            <a:spAutoFit/>
          </a:bodyPr>
          <a:lstStyle/>
          <a:p>
            <a:pPr algn="ctr" defTabSz="685835"/>
            <a:r>
              <a:rPr lang="en-US" dirty="0">
                <a:solidFill>
                  <a:srgbClr val="FFFFFF"/>
                </a:solidFill>
              </a:rPr>
              <a:t>m</a:t>
            </a:r>
            <a:r>
              <a:rPr lang="en-US" dirty="0" smtClean="0">
                <a:solidFill>
                  <a:srgbClr val="FFFFFF"/>
                </a:solidFill>
              </a:rPr>
              <a:t>icro-</a:t>
            </a:r>
          </a:p>
        </p:txBody>
      </p:sp>
      <p:sp>
        <p:nvSpPr>
          <p:cNvPr id="7" name="TextBox 6"/>
          <p:cNvSpPr txBox="1"/>
          <p:nvPr/>
        </p:nvSpPr>
        <p:spPr>
          <a:xfrm>
            <a:off x="1857910" y="4337632"/>
            <a:ext cx="822192" cy="288539"/>
          </a:xfrm>
          <a:prstGeom prst="rect">
            <a:avLst/>
          </a:prstGeom>
          <a:noFill/>
        </p:spPr>
        <p:txBody>
          <a:bodyPr wrap="square" lIns="68586" tIns="34294" rIns="68586" bIns="34294" rtlCol="0" anchor="ctr">
            <a:spAutoFit/>
          </a:bodyPr>
          <a:lstStyle/>
          <a:p>
            <a:pPr algn="ctr" defTabSz="685835"/>
            <a:r>
              <a:rPr lang="en-US" dirty="0" err="1">
                <a:solidFill>
                  <a:srgbClr val="FFFFFF"/>
                </a:solidFill>
              </a:rPr>
              <a:t>milli</a:t>
            </a:r>
            <a:r>
              <a:rPr lang="en-US" dirty="0">
                <a:solidFill>
                  <a:srgbClr val="FFFFFF"/>
                </a:solidFill>
              </a:rPr>
              <a:t>-</a:t>
            </a:r>
          </a:p>
        </p:txBody>
      </p:sp>
      <p:sp>
        <p:nvSpPr>
          <p:cNvPr id="8" name="TextBox 7"/>
          <p:cNvSpPr txBox="1"/>
          <p:nvPr/>
        </p:nvSpPr>
        <p:spPr>
          <a:xfrm>
            <a:off x="2978840" y="4337632"/>
            <a:ext cx="822192" cy="288539"/>
          </a:xfrm>
          <a:prstGeom prst="rect">
            <a:avLst/>
          </a:prstGeom>
          <a:noFill/>
        </p:spPr>
        <p:txBody>
          <a:bodyPr wrap="square" lIns="68586" tIns="34294" rIns="68586" bIns="34294" rtlCol="0" anchor="ctr">
            <a:spAutoFit/>
          </a:bodyPr>
          <a:lstStyle/>
          <a:p>
            <a:pPr algn="ctr" defTabSz="685835"/>
            <a:r>
              <a:rPr lang="en-US" dirty="0">
                <a:solidFill>
                  <a:srgbClr val="FFFFFF"/>
                </a:solidFill>
              </a:rPr>
              <a:t>second</a:t>
            </a:r>
          </a:p>
        </p:txBody>
      </p:sp>
      <p:sp>
        <p:nvSpPr>
          <p:cNvPr id="9" name="TextBox 8"/>
          <p:cNvSpPr txBox="1"/>
          <p:nvPr/>
        </p:nvSpPr>
        <p:spPr>
          <a:xfrm>
            <a:off x="4035148" y="4337632"/>
            <a:ext cx="822192" cy="288539"/>
          </a:xfrm>
          <a:prstGeom prst="rect">
            <a:avLst/>
          </a:prstGeom>
          <a:noFill/>
        </p:spPr>
        <p:txBody>
          <a:bodyPr wrap="square" lIns="68586" tIns="34294" rIns="68586" bIns="34294" rtlCol="0" anchor="ctr">
            <a:spAutoFit/>
          </a:bodyPr>
          <a:lstStyle/>
          <a:p>
            <a:pPr algn="ctr" defTabSz="685835"/>
            <a:r>
              <a:rPr lang="en-US" dirty="0">
                <a:solidFill>
                  <a:srgbClr val="FFFFFF"/>
                </a:solidFill>
              </a:rPr>
              <a:t>minute</a:t>
            </a:r>
          </a:p>
        </p:txBody>
      </p:sp>
      <p:sp>
        <p:nvSpPr>
          <p:cNvPr id="10" name="TextBox 9"/>
          <p:cNvSpPr txBox="1"/>
          <p:nvPr/>
        </p:nvSpPr>
        <p:spPr>
          <a:xfrm>
            <a:off x="5121280" y="4337632"/>
            <a:ext cx="822192" cy="288539"/>
          </a:xfrm>
          <a:prstGeom prst="rect">
            <a:avLst/>
          </a:prstGeom>
          <a:noFill/>
        </p:spPr>
        <p:txBody>
          <a:bodyPr wrap="square" lIns="68586" tIns="34294" rIns="68586" bIns="34294" rtlCol="0" anchor="ctr">
            <a:spAutoFit/>
          </a:bodyPr>
          <a:lstStyle/>
          <a:p>
            <a:pPr algn="ctr" defTabSz="685835"/>
            <a:r>
              <a:rPr lang="en-US" dirty="0">
                <a:solidFill>
                  <a:srgbClr val="FFFFFF"/>
                </a:solidFill>
              </a:rPr>
              <a:t>hour</a:t>
            </a:r>
          </a:p>
        </p:txBody>
      </p:sp>
      <p:sp>
        <p:nvSpPr>
          <p:cNvPr id="11" name="TextBox 10"/>
          <p:cNvSpPr txBox="1"/>
          <p:nvPr/>
        </p:nvSpPr>
        <p:spPr>
          <a:xfrm>
            <a:off x="6214870" y="4337632"/>
            <a:ext cx="822192" cy="288539"/>
          </a:xfrm>
          <a:prstGeom prst="rect">
            <a:avLst/>
          </a:prstGeom>
          <a:noFill/>
        </p:spPr>
        <p:txBody>
          <a:bodyPr wrap="square" lIns="68586" tIns="34294" rIns="68586" bIns="34294" rtlCol="0" anchor="ctr">
            <a:spAutoFit/>
          </a:bodyPr>
          <a:lstStyle/>
          <a:p>
            <a:pPr algn="ctr" defTabSz="685835"/>
            <a:r>
              <a:rPr lang="en-US" dirty="0">
                <a:solidFill>
                  <a:srgbClr val="FFFFFF"/>
                </a:solidFill>
              </a:rPr>
              <a:t>day</a:t>
            </a:r>
          </a:p>
        </p:txBody>
      </p:sp>
      <p:sp>
        <p:nvSpPr>
          <p:cNvPr id="12" name="TextBox 11"/>
          <p:cNvSpPr txBox="1"/>
          <p:nvPr/>
        </p:nvSpPr>
        <p:spPr>
          <a:xfrm>
            <a:off x="7281118" y="4337632"/>
            <a:ext cx="822192" cy="288539"/>
          </a:xfrm>
          <a:prstGeom prst="rect">
            <a:avLst/>
          </a:prstGeom>
          <a:noFill/>
        </p:spPr>
        <p:txBody>
          <a:bodyPr wrap="square" lIns="68586" tIns="34294" rIns="68586" bIns="34294" rtlCol="0" anchor="ctr">
            <a:spAutoFit/>
          </a:bodyPr>
          <a:lstStyle/>
          <a:p>
            <a:pPr algn="ctr" defTabSz="685835"/>
            <a:r>
              <a:rPr lang="en-US" dirty="0">
                <a:solidFill>
                  <a:srgbClr val="FFFFFF"/>
                </a:solidFill>
              </a:rPr>
              <a:t>week</a:t>
            </a:r>
          </a:p>
        </p:txBody>
      </p:sp>
      <p:sp>
        <p:nvSpPr>
          <p:cNvPr id="13" name="TextBox 12"/>
          <p:cNvSpPr txBox="1"/>
          <p:nvPr/>
        </p:nvSpPr>
        <p:spPr>
          <a:xfrm>
            <a:off x="8365251" y="4337632"/>
            <a:ext cx="822192" cy="288539"/>
          </a:xfrm>
          <a:prstGeom prst="rect">
            <a:avLst/>
          </a:prstGeom>
          <a:noFill/>
        </p:spPr>
        <p:txBody>
          <a:bodyPr wrap="square" lIns="68586" tIns="34294" rIns="68586" bIns="34294" rtlCol="0" anchor="ctr">
            <a:spAutoFit/>
          </a:bodyPr>
          <a:lstStyle/>
          <a:p>
            <a:pPr algn="ctr" defTabSz="685835"/>
            <a:r>
              <a:rPr lang="en-US" dirty="0">
                <a:solidFill>
                  <a:srgbClr val="FFFFFF"/>
                </a:solidFill>
              </a:rPr>
              <a:t>month</a:t>
            </a:r>
          </a:p>
        </p:txBody>
      </p:sp>
      <p:sp>
        <p:nvSpPr>
          <p:cNvPr id="14"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5"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pic>
        <p:nvPicPr>
          <p:cNvPr id="16"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99531340"/>
      </p:ext>
    </p:extLst>
  </p:cSld>
  <p:clrMapOvr>
    <a:masterClrMapping/>
  </p:clrMapOvr>
  <p:transition spd="slow">
    <p:wipe dir="r"/>
  </p:transition>
  <p:timing>
    <p:tnLst>
      <p:par>
        <p:cTn id="1" dur="indefinite" restart="never" nodeType="tmRoot"/>
      </p:par>
    </p:tnLst>
  </p:timing>
</p:sld>
</file>

<file path=ppt/slides/slide4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heduling a service call</a:t>
            </a:r>
            <a:endParaRPr lang="en-US" dirty="0"/>
          </a:p>
        </p:txBody>
      </p:sp>
      <p:sp>
        <p:nvSpPr>
          <p:cNvPr id="2054" name="Rectangle 2053"/>
          <p:cNvSpPr/>
          <p:nvPr>
            <p:custDataLst>
              <p:tags r:id="rId1"/>
            </p:custDataLst>
          </p:nvPr>
        </p:nvSpPr>
        <p:spPr bwMode="auto">
          <a:xfrm>
            <a:off x="6374628" y="1076938"/>
            <a:ext cx="2617709" cy="3075398"/>
          </a:xfrm>
          <a:prstGeom prst="rect">
            <a:avLst/>
          </a:prstGeom>
          <a:solidFill>
            <a:srgbClr val="FF8C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51440" tIns="34294" rIns="51440" bIns="34294" numCol="1" rtlCol="0" anchor="b" anchorCtr="0" compatLnSpc="1">
            <a:prstTxWarp prst="textNoShape">
              <a:avLst/>
            </a:prstTxWarp>
          </a:bodyPr>
          <a:lstStyle/>
          <a:p>
            <a:pPr defTabSz="685637"/>
            <a:endParaRPr lang="en-US" sz="1100" dirty="0">
              <a:solidFill>
                <a:srgbClr val="000000">
                  <a:alpha val="98824"/>
                </a:srgbClr>
              </a:solidFill>
              <a:latin typeface="Segoe UI" pitchFamily="34" charset="0"/>
              <a:ea typeface="Segoe UI" pitchFamily="34" charset="0"/>
              <a:cs typeface="Segoe UI" pitchFamily="34" charset="0"/>
            </a:endParaRPr>
          </a:p>
        </p:txBody>
      </p:sp>
      <p:sp>
        <p:nvSpPr>
          <p:cNvPr id="86" name="Rectangle 85"/>
          <p:cNvSpPr/>
          <p:nvPr>
            <p:custDataLst>
              <p:tags r:id="rId2"/>
            </p:custDataLst>
          </p:nvPr>
        </p:nvSpPr>
        <p:spPr bwMode="auto">
          <a:xfrm>
            <a:off x="6444167" y="2485460"/>
            <a:ext cx="1143298" cy="746439"/>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51440" tIns="34294" rIns="51440" bIns="34294" numCol="1" rtlCol="0" anchor="b" anchorCtr="0" compatLnSpc="1">
            <a:prstTxWarp prst="textNoShape">
              <a:avLst/>
            </a:prstTxWarp>
          </a:bodyPr>
          <a:lstStyle/>
          <a:p>
            <a:pPr defTabSz="685637"/>
            <a:r>
              <a:rPr lang="en-US" sz="1100" dirty="0">
                <a:solidFill>
                  <a:schemeClr val="tx1">
                    <a:alpha val="98824"/>
                  </a:schemeClr>
                </a:solidFill>
                <a:latin typeface="Segoe UI" pitchFamily="34" charset="0"/>
                <a:ea typeface="Segoe UI" pitchFamily="34" charset="0"/>
                <a:cs typeface="Segoe UI" pitchFamily="34" charset="0"/>
              </a:rPr>
              <a:t>Event processing Alert Generation</a:t>
            </a:r>
          </a:p>
        </p:txBody>
      </p:sp>
      <p:sp>
        <p:nvSpPr>
          <p:cNvPr id="87" name="Rectangle 86"/>
          <p:cNvSpPr/>
          <p:nvPr>
            <p:custDataLst>
              <p:tags r:id="rId3"/>
            </p:custDataLst>
          </p:nvPr>
        </p:nvSpPr>
        <p:spPr bwMode="auto">
          <a:xfrm>
            <a:off x="6458441" y="3302249"/>
            <a:ext cx="1143298" cy="795057"/>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51440" tIns="34294" rIns="51440" bIns="34294" numCol="1" rtlCol="0" anchor="b" anchorCtr="0" compatLnSpc="1">
            <a:prstTxWarp prst="textNoShape">
              <a:avLst/>
            </a:prstTxWarp>
          </a:bodyPr>
          <a:lstStyle/>
          <a:p>
            <a:pPr defTabSz="685637"/>
            <a:r>
              <a:rPr lang="en-US" sz="1100" dirty="0">
                <a:solidFill>
                  <a:schemeClr val="tx1">
                    <a:alpha val="98824"/>
                  </a:schemeClr>
                </a:solidFill>
                <a:latin typeface="Segoe UI" pitchFamily="34" charset="0"/>
                <a:ea typeface="Segoe UI" pitchFamily="34" charset="0"/>
                <a:cs typeface="Segoe UI" pitchFamily="34" charset="0"/>
              </a:rPr>
              <a:t>Analysis: Near real-time + historic processing</a:t>
            </a:r>
          </a:p>
        </p:txBody>
      </p:sp>
      <p:sp>
        <p:nvSpPr>
          <p:cNvPr id="88" name="Rectangle 87"/>
          <p:cNvSpPr/>
          <p:nvPr>
            <p:custDataLst>
              <p:tags r:id="rId4"/>
            </p:custDataLst>
          </p:nvPr>
        </p:nvSpPr>
        <p:spPr bwMode="auto">
          <a:xfrm>
            <a:off x="6444167" y="1657041"/>
            <a:ext cx="1143298" cy="773068"/>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51440" tIns="34294" rIns="51440" bIns="34294" numCol="1" rtlCol="0" anchor="b" anchorCtr="0" compatLnSpc="1">
            <a:prstTxWarp prst="textNoShape">
              <a:avLst/>
            </a:prstTxWarp>
          </a:bodyPr>
          <a:lstStyle/>
          <a:p>
            <a:pPr defTabSz="685637"/>
            <a:r>
              <a:rPr lang="en-US" sz="1100" dirty="0">
                <a:solidFill>
                  <a:schemeClr val="tx1">
                    <a:alpha val="98824"/>
                  </a:schemeClr>
                </a:solidFill>
                <a:latin typeface="Segoe UI" pitchFamily="34" charset="0"/>
                <a:ea typeface="Segoe UI" pitchFamily="34" charset="0"/>
                <a:cs typeface="Segoe UI" pitchFamily="34" charset="0"/>
              </a:rPr>
              <a:t>Fleet scheduling</a:t>
            </a:r>
          </a:p>
        </p:txBody>
      </p:sp>
      <p:sp>
        <p:nvSpPr>
          <p:cNvPr id="96" name="Rectangle 95"/>
          <p:cNvSpPr/>
          <p:nvPr>
            <p:custDataLst>
              <p:tags r:id="rId5"/>
            </p:custDataLst>
          </p:nvPr>
        </p:nvSpPr>
        <p:spPr bwMode="auto">
          <a:xfrm>
            <a:off x="3028548" y="1076938"/>
            <a:ext cx="1953108" cy="3075398"/>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51440" tIns="34294" rIns="51440" bIns="34294" numCol="1" rtlCol="0" anchor="b" anchorCtr="0" compatLnSpc="1">
            <a:prstTxWarp prst="textNoShape">
              <a:avLst/>
            </a:prstTxWarp>
          </a:bodyPr>
          <a:lstStyle/>
          <a:p>
            <a:pPr defTabSz="685637"/>
            <a:endParaRPr lang="en-US" sz="1100" dirty="0">
              <a:solidFill>
                <a:srgbClr val="FFFFFF">
                  <a:alpha val="98824"/>
                </a:srgbClr>
              </a:solidFill>
              <a:latin typeface="Segoe UI" pitchFamily="34" charset="0"/>
              <a:ea typeface="Segoe UI" pitchFamily="34" charset="0"/>
              <a:cs typeface="Segoe UI" pitchFamily="34" charset="0"/>
            </a:endParaRPr>
          </a:p>
        </p:txBody>
      </p:sp>
      <p:sp>
        <p:nvSpPr>
          <p:cNvPr id="2058" name="Rectangle 2057"/>
          <p:cNvSpPr/>
          <p:nvPr>
            <p:custDataLst>
              <p:tags r:id="rId6"/>
            </p:custDataLst>
          </p:nvPr>
        </p:nvSpPr>
        <p:spPr bwMode="auto">
          <a:xfrm>
            <a:off x="197219" y="1076938"/>
            <a:ext cx="1493301" cy="3075398"/>
          </a:xfrm>
          <a:prstGeom prst="rect">
            <a:avLst/>
          </a:prstGeom>
          <a:solidFill>
            <a:srgbClr val="00BCF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51440" tIns="34294" rIns="51440" bIns="34294" numCol="1" rtlCol="0" anchor="b" anchorCtr="0" compatLnSpc="1">
            <a:prstTxWarp prst="textNoShape">
              <a:avLst/>
            </a:prstTxWarp>
          </a:bodyPr>
          <a:lstStyle/>
          <a:p>
            <a:pPr defTabSz="685637"/>
            <a:endParaRPr lang="en-US" sz="1100" dirty="0">
              <a:solidFill>
                <a:srgbClr val="000000">
                  <a:alpha val="98824"/>
                </a:srgbClr>
              </a:solidFill>
              <a:latin typeface="Segoe UI" pitchFamily="34" charset="0"/>
              <a:ea typeface="Segoe UI" pitchFamily="34" charset="0"/>
              <a:cs typeface="Segoe UI" pitchFamily="34" charset="0"/>
            </a:endParaRPr>
          </a:p>
        </p:txBody>
      </p:sp>
      <p:pic>
        <p:nvPicPr>
          <p:cNvPr id="2084" name="Picture 36" descr="C:\Users\v-jtobey.REDMOND\AppData\Local\MetroStyleAddIn\Icons\Passion.wmf"/>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08698" y="3512036"/>
            <a:ext cx="323627" cy="617673"/>
          </a:xfrm>
          <a:prstGeom prst="rect">
            <a:avLst/>
          </a:prstGeom>
          <a:noFill/>
          <a:extLst>
            <a:ext uri="{909E8E84-426E-40DD-AFC4-6F175D3DCCD1}">
              <a14:hiddenFill xmlns:a14="http://schemas.microsoft.com/office/drawing/2010/main">
                <a:solidFill>
                  <a:srgbClr val="FFFFFF"/>
                </a:solidFill>
              </a14:hiddenFill>
            </a:ext>
          </a:extLst>
        </p:spPr>
      </p:pic>
      <p:sp>
        <p:nvSpPr>
          <p:cNvPr id="102" name="TextBox 101"/>
          <p:cNvSpPr txBox="1"/>
          <p:nvPr/>
        </p:nvSpPr>
        <p:spPr>
          <a:xfrm>
            <a:off x="749398" y="3632297"/>
            <a:ext cx="884825" cy="470898"/>
          </a:xfrm>
          <a:prstGeom prst="rect">
            <a:avLst/>
          </a:prstGeom>
          <a:noFill/>
        </p:spPr>
        <p:txBody>
          <a:bodyPr wrap="square" lIns="68586" tIns="68586" rIns="68586" bIns="68586" rtlCol="0">
            <a:spAutoFit/>
          </a:bodyPr>
          <a:lstStyle/>
          <a:p>
            <a:pPr>
              <a:lnSpc>
                <a:spcPct val="90000"/>
              </a:lnSpc>
              <a:spcBef>
                <a:spcPct val="20000"/>
              </a:spcBef>
              <a:buSzPct val="90000"/>
            </a:pPr>
            <a:r>
              <a:rPr lang="en-US" sz="1200" dirty="0">
                <a:solidFill>
                  <a:schemeClr val="tx1">
                    <a:alpha val="99000"/>
                  </a:schemeClr>
                </a:solidFill>
              </a:rPr>
              <a:t>Happy customers</a:t>
            </a:r>
          </a:p>
        </p:txBody>
      </p:sp>
      <p:sp>
        <p:nvSpPr>
          <p:cNvPr id="126" name="Freeform 87"/>
          <p:cNvSpPr>
            <a:spLocks noEditPoints="1"/>
          </p:cNvSpPr>
          <p:nvPr/>
        </p:nvSpPr>
        <p:spPr bwMode="auto">
          <a:xfrm rot="10800000">
            <a:off x="1713756" y="2628901"/>
            <a:ext cx="1235580" cy="223735"/>
          </a:xfrm>
          <a:custGeom>
            <a:avLst/>
            <a:gdLst>
              <a:gd name="T0" fmla="*/ 0 w 385"/>
              <a:gd name="T1" fmla="*/ 46 h 107"/>
              <a:gd name="T2" fmla="*/ 37 w 385"/>
              <a:gd name="T3" fmla="*/ 46 h 107"/>
              <a:gd name="T4" fmla="*/ 37 w 385"/>
              <a:gd name="T5" fmla="*/ 61 h 107"/>
              <a:gd name="T6" fmla="*/ 0 w 385"/>
              <a:gd name="T7" fmla="*/ 61 h 107"/>
              <a:gd name="T8" fmla="*/ 0 w 385"/>
              <a:gd name="T9" fmla="*/ 46 h 107"/>
              <a:gd name="T10" fmla="*/ 74 w 385"/>
              <a:gd name="T11" fmla="*/ 61 h 107"/>
              <a:gd name="T12" fmla="*/ 111 w 385"/>
              <a:gd name="T13" fmla="*/ 61 h 107"/>
              <a:gd name="T14" fmla="*/ 111 w 385"/>
              <a:gd name="T15" fmla="*/ 46 h 107"/>
              <a:gd name="T16" fmla="*/ 74 w 385"/>
              <a:gd name="T17" fmla="*/ 46 h 107"/>
              <a:gd name="T18" fmla="*/ 74 w 385"/>
              <a:gd name="T19" fmla="*/ 61 h 107"/>
              <a:gd name="T20" fmla="*/ 222 w 385"/>
              <a:gd name="T21" fmla="*/ 61 h 107"/>
              <a:gd name="T22" fmla="*/ 259 w 385"/>
              <a:gd name="T23" fmla="*/ 61 h 107"/>
              <a:gd name="T24" fmla="*/ 259 w 385"/>
              <a:gd name="T25" fmla="*/ 46 h 107"/>
              <a:gd name="T26" fmla="*/ 222 w 385"/>
              <a:gd name="T27" fmla="*/ 46 h 107"/>
              <a:gd name="T28" fmla="*/ 222 w 385"/>
              <a:gd name="T29" fmla="*/ 61 h 107"/>
              <a:gd name="T30" fmla="*/ 148 w 385"/>
              <a:gd name="T31" fmla="*/ 61 h 107"/>
              <a:gd name="T32" fmla="*/ 185 w 385"/>
              <a:gd name="T33" fmla="*/ 61 h 107"/>
              <a:gd name="T34" fmla="*/ 185 w 385"/>
              <a:gd name="T35" fmla="*/ 46 h 107"/>
              <a:gd name="T36" fmla="*/ 148 w 385"/>
              <a:gd name="T37" fmla="*/ 46 h 107"/>
              <a:gd name="T38" fmla="*/ 148 w 385"/>
              <a:gd name="T39" fmla="*/ 61 h 107"/>
              <a:gd name="T40" fmla="*/ 382 w 385"/>
              <a:gd name="T41" fmla="*/ 48 h 107"/>
              <a:gd name="T42" fmla="*/ 334 w 385"/>
              <a:gd name="T43" fmla="*/ 0 h 107"/>
              <a:gd name="T44" fmla="*/ 324 w 385"/>
              <a:gd name="T45" fmla="*/ 11 h 107"/>
              <a:gd name="T46" fmla="*/ 359 w 385"/>
              <a:gd name="T47" fmla="*/ 46 h 107"/>
              <a:gd name="T48" fmla="*/ 296 w 385"/>
              <a:gd name="T49" fmla="*/ 46 h 107"/>
              <a:gd name="T50" fmla="*/ 296 w 385"/>
              <a:gd name="T51" fmla="*/ 61 h 107"/>
              <a:gd name="T52" fmla="*/ 359 w 385"/>
              <a:gd name="T53" fmla="*/ 61 h 107"/>
              <a:gd name="T54" fmla="*/ 324 w 385"/>
              <a:gd name="T55" fmla="*/ 96 h 107"/>
              <a:gd name="T56" fmla="*/ 334 w 385"/>
              <a:gd name="T57" fmla="*/ 107 h 107"/>
              <a:gd name="T58" fmla="*/ 382 w 385"/>
              <a:gd name="T59" fmla="*/ 59 h 107"/>
              <a:gd name="T60" fmla="*/ 382 w 385"/>
              <a:gd name="T61" fmla="*/ 4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5" h="107">
                <a:moveTo>
                  <a:pt x="0" y="46"/>
                </a:moveTo>
                <a:cubicBezTo>
                  <a:pt x="37" y="46"/>
                  <a:pt x="37" y="46"/>
                  <a:pt x="37" y="46"/>
                </a:cubicBezTo>
                <a:cubicBezTo>
                  <a:pt x="37" y="61"/>
                  <a:pt x="37" y="61"/>
                  <a:pt x="37" y="61"/>
                </a:cubicBezTo>
                <a:cubicBezTo>
                  <a:pt x="0" y="61"/>
                  <a:pt x="0" y="61"/>
                  <a:pt x="0" y="61"/>
                </a:cubicBezTo>
                <a:lnTo>
                  <a:pt x="0" y="46"/>
                </a:lnTo>
                <a:close/>
                <a:moveTo>
                  <a:pt x="74" y="61"/>
                </a:moveTo>
                <a:cubicBezTo>
                  <a:pt x="111" y="61"/>
                  <a:pt x="111" y="61"/>
                  <a:pt x="111" y="61"/>
                </a:cubicBezTo>
                <a:cubicBezTo>
                  <a:pt x="111" y="46"/>
                  <a:pt x="111" y="46"/>
                  <a:pt x="111" y="46"/>
                </a:cubicBezTo>
                <a:cubicBezTo>
                  <a:pt x="74" y="46"/>
                  <a:pt x="74" y="46"/>
                  <a:pt x="74" y="46"/>
                </a:cubicBezTo>
                <a:lnTo>
                  <a:pt x="74" y="61"/>
                </a:lnTo>
                <a:close/>
                <a:moveTo>
                  <a:pt x="222" y="61"/>
                </a:moveTo>
                <a:cubicBezTo>
                  <a:pt x="259" y="61"/>
                  <a:pt x="259" y="61"/>
                  <a:pt x="259" y="61"/>
                </a:cubicBezTo>
                <a:cubicBezTo>
                  <a:pt x="259" y="46"/>
                  <a:pt x="259" y="46"/>
                  <a:pt x="259" y="46"/>
                </a:cubicBezTo>
                <a:cubicBezTo>
                  <a:pt x="222" y="46"/>
                  <a:pt x="222" y="46"/>
                  <a:pt x="222" y="46"/>
                </a:cubicBezTo>
                <a:lnTo>
                  <a:pt x="222" y="61"/>
                </a:lnTo>
                <a:close/>
                <a:moveTo>
                  <a:pt x="148" y="61"/>
                </a:moveTo>
                <a:cubicBezTo>
                  <a:pt x="185" y="61"/>
                  <a:pt x="185" y="61"/>
                  <a:pt x="185" y="61"/>
                </a:cubicBezTo>
                <a:cubicBezTo>
                  <a:pt x="185" y="46"/>
                  <a:pt x="185" y="46"/>
                  <a:pt x="185" y="46"/>
                </a:cubicBezTo>
                <a:cubicBezTo>
                  <a:pt x="148" y="46"/>
                  <a:pt x="148" y="46"/>
                  <a:pt x="148" y="46"/>
                </a:cubicBezTo>
                <a:lnTo>
                  <a:pt x="148" y="61"/>
                </a:lnTo>
                <a:close/>
                <a:moveTo>
                  <a:pt x="382" y="48"/>
                </a:moveTo>
                <a:cubicBezTo>
                  <a:pt x="334" y="0"/>
                  <a:pt x="334" y="0"/>
                  <a:pt x="334" y="0"/>
                </a:cubicBezTo>
                <a:cubicBezTo>
                  <a:pt x="324" y="11"/>
                  <a:pt x="324" y="11"/>
                  <a:pt x="324" y="11"/>
                </a:cubicBezTo>
                <a:cubicBezTo>
                  <a:pt x="359" y="46"/>
                  <a:pt x="359" y="46"/>
                  <a:pt x="359" y="46"/>
                </a:cubicBezTo>
                <a:cubicBezTo>
                  <a:pt x="296" y="46"/>
                  <a:pt x="296" y="46"/>
                  <a:pt x="296" y="46"/>
                </a:cubicBezTo>
                <a:cubicBezTo>
                  <a:pt x="296" y="61"/>
                  <a:pt x="296" y="61"/>
                  <a:pt x="296" y="61"/>
                </a:cubicBezTo>
                <a:cubicBezTo>
                  <a:pt x="359" y="61"/>
                  <a:pt x="359" y="61"/>
                  <a:pt x="359" y="61"/>
                </a:cubicBezTo>
                <a:cubicBezTo>
                  <a:pt x="324" y="96"/>
                  <a:pt x="324" y="96"/>
                  <a:pt x="324" y="96"/>
                </a:cubicBezTo>
                <a:cubicBezTo>
                  <a:pt x="334" y="107"/>
                  <a:pt x="334" y="107"/>
                  <a:pt x="334" y="107"/>
                </a:cubicBezTo>
                <a:cubicBezTo>
                  <a:pt x="382" y="59"/>
                  <a:pt x="382" y="59"/>
                  <a:pt x="382" y="59"/>
                </a:cubicBezTo>
                <a:cubicBezTo>
                  <a:pt x="385" y="56"/>
                  <a:pt x="385" y="51"/>
                  <a:pt x="382" y="48"/>
                </a:cubicBezTo>
                <a:close/>
              </a:path>
            </a:pathLst>
          </a:custGeom>
          <a:solidFill>
            <a:schemeClr val="tx1"/>
          </a:solidFill>
          <a:ln>
            <a:noFill/>
          </a:ln>
        </p:spPr>
        <p:txBody>
          <a:bodyPr vert="horz" wrap="square" lIns="68586" tIns="34294" rIns="68586" bIns="34294" numCol="1" anchor="t" anchorCtr="0" compatLnSpc="1">
            <a:prstTxWarp prst="textNoShape">
              <a:avLst/>
            </a:prstTxWarp>
          </a:bodyPr>
          <a:lstStyle/>
          <a:p>
            <a:endParaRPr lang="en-US"/>
          </a:p>
        </p:txBody>
      </p:sp>
      <p:sp>
        <p:nvSpPr>
          <p:cNvPr id="2067" name="TextBox 2066"/>
          <p:cNvSpPr txBox="1"/>
          <p:nvPr/>
        </p:nvSpPr>
        <p:spPr>
          <a:xfrm>
            <a:off x="1828086" y="2833688"/>
            <a:ext cx="1250779" cy="304699"/>
          </a:xfrm>
          <a:prstGeom prst="rect">
            <a:avLst/>
          </a:prstGeom>
          <a:noFill/>
        </p:spPr>
        <p:txBody>
          <a:bodyPr wrap="square" lIns="68586" tIns="68586" rIns="68586" bIns="68586" rtlCol="0">
            <a:spAutoFit/>
          </a:bodyPr>
          <a:lstStyle/>
          <a:p>
            <a:pPr>
              <a:lnSpc>
                <a:spcPct val="90000"/>
              </a:lnSpc>
              <a:spcBef>
                <a:spcPct val="20000"/>
              </a:spcBef>
              <a:buSzPct val="90000"/>
            </a:pPr>
            <a:r>
              <a:rPr lang="en-US" sz="1200" dirty="0"/>
              <a:t>6. Notification</a:t>
            </a:r>
          </a:p>
        </p:txBody>
      </p:sp>
      <p:sp>
        <p:nvSpPr>
          <p:cNvPr id="135" name="Freeform 87"/>
          <p:cNvSpPr>
            <a:spLocks noEditPoints="1"/>
          </p:cNvSpPr>
          <p:nvPr/>
        </p:nvSpPr>
        <p:spPr bwMode="auto">
          <a:xfrm>
            <a:off x="1735803" y="1485901"/>
            <a:ext cx="1235580" cy="223735"/>
          </a:xfrm>
          <a:custGeom>
            <a:avLst/>
            <a:gdLst>
              <a:gd name="T0" fmla="*/ 0 w 385"/>
              <a:gd name="T1" fmla="*/ 46 h 107"/>
              <a:gd name="T2" fmla="*/ 37 w 385"/>
              <a:gd name="T3" fmla="*/ 46 h 107"/>
              <a:gd name="T4" fmla="*/ 37 w 385"/>
              <a:gd name="T5" fmla="*/ 61 h 107"/>
              <a:gd name="T6" fmla="*/ 0 w 385"/>
              <a:gd name="T7" fmla="*/ 61 h 107"/>
              <a:gd name="T8" fmla="*/ 0 w 385"/>
              <a:gd name="T9" fmla="*/ 46 h 107"/>
              <a:gd name="T10" fmla="*/ 74 w 385"/>
              <a:gd name="T11" fmla="*/ 61 h 107"/>
              <a:gd name="T12" fmla="*/ 111 w 385"/>
              <a:gd name="T13" fmla="*/ 61 h 107"/>
              <a:gd name="T14" fmla="*/ 111 w 385"/>
              <a:gd name="T15" fmla="*/ 46 h 107"/>
              <a:gd name="T16" fmla="*/ 74 w 385"/>
              <a:gd name="T17" fmla="*/ 46 h 107"/>
              <a:gd name="T18" fmla="*/ 74 w 385"/>
              <a:gd name="T19" fmla="*/ 61 h 107"/>
              <a:gd name="T20" fmla="*/ 222 w 385"/>
              <a:gd name="T21" fmla="*/ 61 h 107"/>
              <a:gd name="T22" fmla="*/ 259 w 385"/>
              <a:gd name="T23" fmla="*/ 61 h 107"/>
              <a:gd name="T24" fmla="*/ 259 w 385"/>
              <a:gd name="T25" fmla="*/ 46 h 107"/>
              <a:gd name="T26" fmla="*/ 222 w 385"/>
              <a:gd name="T27" fmla="*/ 46 h 107"/>
              <a:gd name="T28" fmla="*/ 222 w 385"/>
              <a:gd name="T29" fmla="*/ 61 h 107"/>
              <a:gd name="T30" fmla="*/ 148 w 385"/>
              <a:gd name="T31" fmla="*/ 61 h 107"/>
              <a:gd name="T32" fmla="*/ 185 w 385"/>
              <a:gd name="T33" fmla="*/ 61 h 107"/>
              <a:gd name="T34" fmla="*/ 185 w 385"/>
              <a:gd name="T35" fmla="*/ 46 h 107"/>
              <a:gd name="T36" fmla="*/ 148 w 385"/>
              <a:gd name="T37" fmla="*/ 46 h 107"/>
              <a:gd name="T38" fmla="*/ 148 w 385"/>
              <a:gd name="T39" fmla="*/ 61 h 107"/>
              <a:gd name="T40" fmla="*/ 382 w 385"/>
              <a:gd name="T41" fmla="*/ 48 h 107"/>
              <a:gd name="T42" fmla="*/ 334 w 385"/>
              <a:gd name="T43" fmla="*/ 0 h 107"/>
              <a:gd name="T44" fmla="*/ 324 w 385"/>
              <a:gd name="T45" fmla="*/ 11 h 107"/>
              <a:gd name="T46" fmla="*/ 359 w 385"/>
              <a:gd name="T47" fmla="*/ 46 h 107"/>
              <a:gd name="T48" fmla="*/ 296 w 385"/>
              <a:gd name="T49" fmla="*/ 46 h 107"/>
              <a:gd name="T50" fmla="*/ 296 w 385"/>
              <a:gd name="T51" fmla="*/ 61 h 107"/>
              <a:gd name="T52" fmla="*/ 359 w 385"/>
              <a:gd name="T53" fmla="*/ 61 h 107"/>
              <a:gd name="T54" fmla="*/ 324 w 385"/>
              <a:gd name="T55" fmla="*/ 96 h 107"/>
              <a:gd name="T56" fmla="*/ 334 w 385"/>
              <a:gd name="T57" fmla="*/ 107 h 107"/>
              <a:gd name="T58" fmla="*/ 382 w 385"/>
              <a:gd name="T59" fmla="*/ 59 h 107"/>
              <a:gd name="T60" fmla="*/ 382 w 385"/>
              <a:gd name="T61" fmla="*/ 4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5" h="107">
                <a:moveTo>
                  <a:pt x="0" y="46"/>
                </a:moveTo>
                <a:cubicBezTo>
                  <a:pt x="37" y="46"/>
                  <a:pt x="37" y="46"/>
                  <a:pt x="37" y="46"/>
                </a:cubicBezTo>
                <a:cubicBezTo>
                  <a:pt x="37" y="61"/>
                  <a:pt x="37" y="61"/>
                  <a:pt x="37" y="61"/>
                </a:cubicBezTo>
                <a:cubicBezTo>
                  <a:pt x="0" y="61"/>
                  <a:pt x="0" y="61"/>
                  <a:pt x="0" y="61"/>
                </a:cubicBezTo>
                <a:lnTo>
                  <a:pt x="0" y="46"/>
                </a:lnTo>
                <a:close/>
                <a:moveTo>
                  <a:pt x="74" y="61"/>
                </a:moveTo>
                <a:cubicBezTo>
                  <a:pt x="111" y="61"/>
                  <a:pt x="111" y="61"/>
                  <a:pt x="111" y="61"/>
                </a:cubicBezTo>
                <a:cubicBezTo>
                  <a:pt x="111" y="46"/>
                  <a:pt x="111" y="46"/>
                  <a:pt x="111" y="46"/>
                </a:cubicBezTo>
                <a:cubicBezTo>
                  <a:pt x="74" y="46"/>
                  <a:pt x="74" y="46"/>
                  <a:pt x="74" y="46"/>
                </a:cubicBezTo>
                <a:lnTo>
                  <a:pt x="74" y="61"/>
                </a:lnTo>
                <a:close/>
                <a:moveTo>
                  <a:pt x="222" y="61"/>
                </a:moveTo>
                <a:cubicBezTo>
                  <a:pt x="259" y="61"/>
                  <a:pt x="259" y="61"/>
                  <a:pt x="259" y="61"/>
                </a:cubicBezTo>
                <a:cubicBezTo>
                  <a:pt x="259" y="46"/>
                  <a:pt x="259" y="46"/>
                  <a:pt x="259" y="46"/>
                </a:cubicBezTo>
                <a:cubicBezTo>
                  <a:pt x="222" y="46"/>
                  <a:pt x="222" y="46"/>
                  <a:pt x="222" y="46"/>
                </a:cubicBezTo>
                <a:lnTo>
                  <a:pt x="222" y="61"/>
                </a:lnTo>
                <a:close/>
                <a:moveTo>
                  <a:pt x="148" y="61"/>
                </a:moveTo>
                <a:cubicBezTo>
                  <a:pt x="185" y="61"/>
                  <a:pt x="185" y="61"/>
                  <a:pt x="185" y="61"/>
                </a:cubicBezTo>
                <a:cubicBezTo>
                  <a:pt x="185" y="46"/>
                  <a:pt x="185" y="46"/>
                  <a:pt x="185" y="46"/>
                </a:cubicBezTo>
                <a:cubicBezTo>
                  <a:pt x="148" y="46"/>
                  <a:pt x="148" y="46"/>
                  <a:pt x="148" y="46"/>
                </a:cubicBezTo>
                <a:lnTo>
                  <a:pt x="148" y="61"/>
                </a:lnTo>
                <a:close/>
                <a:moveTo>
                  <a:pt x="382" y="48"/>
                </a:moveTo>
                <a:cubicBezTo>
                  <a:pt x="334" y="0"/>
                  <a:pt x="334" y="0"/>
                  <a:pt x="334" y="0"/>
                </a:cubicBezTo>
                <a:cubicBezTo>
                  <a:pt x="324" y="11"/>
                  <a:pt x="324" y="11"/>
                  <a:pt x="324" y="11"/>
                </a:cubicBezTo>
                <a:cubicBezTo>
                  <a:pt x="359" y="46"/>
                  <a:pt x="359" y="46"/>
                  <a:pt x="359" y="46"/>
                </a:cubicBezTo>
                <a:cubicBezTo>
                  <a:pt x="296" y="46"/>
                  <a:pt x="296" y="46"/>
                  <a:pt x="296" y="46"/>
                </a:cubicBezTo>
                <a:cubicBezTo>
                  <a:pt x="296" y="61"/>
                  <a:pt x="296" y="61"/>
                  <a:pt x="296" y="61"/>
                </a:cubicBezTo>
                <a:cubicBezTo>
                  <a:pt x="359" y="61"/>
                  <a:pt x="359" y="61"/>
                  <a:pt x="359" y="61"/>
                </a:cubicBezTo>
                <a:cubicBezTo>
                  <a:pt x="324" y="96"/>
                  <a:pt x="324" y="96"/>
                  <a:pt x="324" y="96"/>
                </a:cubicBezTo>
                <a:cubicBezTo>
                  <a:pt x="334" y="107"/>
                  <a:pt x="334" y="107"/>
                  <a:pt x="334" y="107"/>
                </a:cubicBezTo>
                <a:cubicBezTo>
                  <a:pt x="382" y="59"/>
                  <a:pt x="382" y="59"/>
                  <a:pt x="382" y="59"/>
                </a:cubicBezTo>
                <a:cubicBezTo>
                  <a:pt x="385" y="56"/>
                  <a:pt x="385" y="51"/>
                  <a:pt x="382" y="48"/>
                </a:cubicBezTo>
                <a:close/>
              </a:path>
            </a:pathLst>
          </a:custGeom>
          <a:solidFill>
            <a:schemeClr val="tx1"/>
          </a:solidFill>
          <a:ln>
            <a:noFill/>
          </a:ln>
        </p:spPr>
        <p:txBody>
          <a:bodyPr vert="horz" wrap="square" lIns="68586" tIns="34294" rIns="68586" bIns="34294" numCol="1" anchor="t" anchorCtr="0" compatLnSpc="1">
            <a:prstTxWarp prst="textNoShape">
              <a:avLst/>
            </a:prstTxWarp>
          </a:bodyPr>
          <a:lstStyle/>
          <a:p>
            <a:endParaRPr lang="en-US"/>
          </a:p>
        </p:txBody>
      </p:sp>
      <p:sp>
        <p:nvSpPr>
          <p:cNvPr id="2073" name="TextBox 2072"/>
          <p:cNvSpPr txBox="1"/>
          <p:nvPr/>
        </p:nvSpPr>
        <p:spPr>
          <a:xfrm>
            <a:off x="1630297" y="1671586"/>
            <a:ext cx="1569747" cy="304699"/>
          </a:xfrm>
          <a:prstGeom prst="rect">
            <a:avLst/>
          </a:prstGeom>
          <a:noFill/>
          <a:ln>
            <a:noFill/>
          </a:ln>
        </p:spPr>
        <p:txBody>
          <a:bodyPr wrap="square" lIns="68586" tIns="68586" rIns="68586" bIns="68586" rtlCol="0">
            <a:spAutoFit/>
          </a:bodyPr>
          <a:lstStyle/>
          <a:p>
            <a:pPr>
              <a:lnSpc>
                <a:spcPct val="90000"/>
              </a:lnSpc>
              <a:spcBef>
                <a:spcPct val="20000"/>
              </a:spcBef>
              <a:buSzPct val="90000"/>
            </a:pPr>
            <a:r>
              <a:rPr lang="en-US" sz="1200" dirty="0"/>
              <a:t>1. Schedule service</a:t>
            </a:r>
          </a:p>
        </p:txBody>
      </p:sp>
      <p:sp>
        <p:nvSpPr>
          <p:cNvPr id="134" name="Freeform 87"/>
          <p:cNvSpPr>
            <a:spLocks noEditPoints="1"/>
          </p:cNvSpPr>
          <p:nvPr/>
        </p:nvSpPr>
        <p:spPr bwMode="auto">
          <a:xfrm>
            <a:off x="4972154" y="1259686"/>
            <a:ext cx="1402474" cy="223735"/>
          </a:xfrm>
          <a:custGeom>
            <a:avLst/>
            <a:gdLst>
              <a:gd name="T0" fmla="*/ 0 w 385"/>
              <a:gd name="T1" fmla="*/ 46 h 107"/>
              <a:gd name="T2" fmla="*/ 37 w 385"/>
              <a:gd name="T3" fmla="*/ 46 h 107"/>
              <a:gd name="T4" fmla="*/ 37 w 385"/>
              <a:gd name="T5" fmla="*/ 61 h 107"/>
              <a:gd name="T6" fmla="*/ 0 w 385"/>
              <a:gd name="T7" fmla="*/ 61 h 107"/>
              <a:gd name="T8" fmla="*/ 0 w 385"/>
              <a:gd name="T9" fmla="*/ 46 h 107"/>
              <a:gd name="T10" fmla="*/ 74 w 385"/>
              <a:gd name="T11" fmla="*/ 61 h 107"/>
              <a:gd name="T12" fmla="*/ 111 w 385"/>
              <a:gd name="T13" fmla="*/ 61 h 107"/>
              <a:gd name="T14" fmla="*/ 111 w 385"/>
              <a:gd name="T15" fmla="*/ 46 h 107"/>
              <a:gd name="T16" fmla="*/ 74 w 385"/>
              <a:gd name="T17" fmla="*/ 46 h 107"/>
              <a:gd name="T18" fmla="*/ 74 w 385"/>
              <a:gd name="T19" fmla="*/ 61 h 107"/>
              <a:gd name="T20" fmla="*/ 222 w 385"/>
              <a:gd name="T21" fmla="*/ 61 h 107"/>
              <a:gd name="T22" fmla="*/ 259 w 385"/>
              <a:gd name="T23" fmla="*/ 61 h 107"/>
              <a:gd name="T24" fmla="*/ 259 w 385"/>
              <a:gd name="T25" fmla="*/ 46 h 107"/>
              <a:gd name="T26" fmla="*/ 222 w 385"/>
              <a:gd name="T27" fmla="*/ 46 h 107"/>
              <a:gd name="T28" fmla="*/ 222 w 385"/>
              <a:gd name="T29" fmla="*/ 61 h 107"/>
              <a:gd name="T30" fmla="*/ 148 w 385"/>
              <a:gd name="T31" fmla="*/ 61 h 107"/>
              <a:gd name="T32" fmla="*/ 185 w 385"/>
              <a:gd name="T33" fmla="*/ 61 h 107"/>
              <a:gd name="T34" fmla="*/ 185 w 385"/>
              <a:gd name="T35" fmla="*/ 46 h 107"/>
              <a:gd name="T36" fmla="*/ 148 w 385"/>
              <a:gd name="T37" fmla="*/ 46 h 107"/>
              <a:gd name="T38" fmla="*/ 148 w 385"/>
              <a:gd name="T39" fmla="*/ 61 h 107"/>
              <a:gd name="T40" fmla="*/ 382 w 385"/>
              <a:gd name="T41" fmla="*/ 48 h 107"/>
              <a:gd name="T42" fmla="*/ 334 w 385"/>
              <a:gd name="T43" fmla="*/ 0 h 107"/>
              <a:gd name="T44" fmla="*/ 324 w 385"/>
              <a:gd name="T45" fmla="*/ 11 h 107"/>
              <a:gd name="T46" fmla="*/ 359 w 385"/>
              <a:gd name="T47" fmla="*/ 46 h 107"/>
              <a:gd name="T48" fmla="*/ 296 w 385"/>
              <a:gd name="T49" fmla="*/ 46 h 107"/>
              <a:gd name="T50" fmla="*/ 296 w 385"/>
              <a:gd name="T51" fmla="*/ 61 h 107"/>
              <a:gd name="T52" fmla="*/ 359 w 385"/>
              <a:gd name="T53" fmla="*/ 61 h 107"/>
              <a:gd name="T54" fmla="*/ 324 w 385"/>
              <a:gd name="T55" fmla="*/ 96 h 107"/>
              <a:gd name="T56" fmla="*/ 334 w 385"/>
              <a:gd name="T57" fmla="*/ 107 h 107"/>
              <a:gd name="T58" fmla="*/ 382 w 385"/>
              <a:gd name="T59" fmla="*/ 59 h 107"/>
              <a:gd name="T60" fmla="*/ 382 w 385"/>
              <a:gd name="T61" fmla="*/ 4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5" h="107">
                <a:moveTo>
                  <a:pt x="0" y="46"/>
                </a:moveTo>
                <a:cubicBezTo>
                  <a:pt x="37" y="46"/>
                  <a:pt x="37" y="46"/>
                  <a:pt x="37" y="46"/>
                </a:cubicBezTo>
                <a:cubicBezTo>
                  <a:pt x="37" y="61"/>
                  <a:pt x="37" y="61"/>
                  <a:pt x="37" y="61"/>
                </a:cubicBezTo>
                <a:cubicBezTo>
                  <a:pt x="0" y="61"/>
                  <a:pt x="0" y="61"/>
                  <a:pt x="0" y="61"/>
                </a:cubicBezTo>
                <a:lnTo>
                  <a:pt x="0" y="46"/>
                </a:lnTo>
                <a:close/>
                <a:moveTo>
                  <a:pt x="74" y="61"/>
                </a:moveTo>
                <a:cubicBezTo>
                  <a:pt x="111" y="61"/>
                  <a:pt x="111" y="61"/>
                  <a:pt x="111" y="61"/>
                </a:cubicBezTo>
                <a:cubicBezTo>
                  <a:pt x="111" y="46"/>
                  <a:pt x="111" y="46"/>
                  <a:pt x="111" y="46"/>
                </a:cubicBezTo>
                <a:cubicBezTo>
                  <a:pt x="74" y="46"/>
                  <a:pt x="74" y="46"/>
                  <a:pt x="74" y="46"/>
                </a:cubicBezTo>
                <a:lnTo>
                  <a:pt x="74" y="61"/>
                </a:lnTo>
                <a:close/>
                <a:moveTo>
                  <a:pt x="222" y="61"/>
                </a:moveTo>
                <a:cubicBezTo>
                  <a:pt x="259" y="61"/>
                  <a:pt x="259" y="61"/>
                  <a:pt x="259" y="61"/>
                </a:cubicBezTo>
                <a:cubicBezTo>
                  <a:pt x="259" y="46"/>
                  <a:pt x="259" y="46"/>
                  <a:pt x="259" y="46"/>
                </a:cubicBezTo>
                <a:cubicBezTo>
                  <a:pt x="222" y="46"/>
                  <a:pt x="222" y="46"/>
                  <a:pt x="222" y="46"/>
                </a:cubicBezTo>
                <a:lnTo>
                  <a:pt x="222" y="61"/>
                </a:lnTo>
                <a:close/>
                <a:moveTo>
                  <a:pt x="148" y="61"/>
                </a:moveTo>
                <a:cubicBezTo>
                  <a:pt x="185" y="61"/>
                  <a:pt x="185" y="61"/>
                  <a:pt x="185" y="61"/>
                </a:cubicBezTo>
                <a:cubicBezTo>
                  <a:pt x="185" y="46"/>
                  <a:pt x="185" y="46"/>
                  <a:pt x="185" y="46"/>
                </a:cubicBezTo>
                <a:cubicBezTo>
                  <a:pt x="148" y="46"/>
                  <a:pt x="148" y="46"/>
                  <a:pt x="148" y="46"/>
                </a:cubicBezTo>
                <a:lnTo>
                  <a:pt x="148" y="61"/>
                </a:lnTo>
                <a:close/>
                <a:moveTo>
                  <a:pt x="382" y="48"/>
                </a:moveTo>
                <a:cubicBezTo>
                  <a:pt x="334" y="0"/>
                  <a:pt x="334" y="0"/>
                  <a:pt x="334" y="0"/>
                </a:cubicBezTo>
                <a:cubicBezTo>
                  <a:pt x="324" y="11"/>
                  <a:pt x="324" y="11"/>
                  <a:pt x="324" y="11"/>
                </a:cubicBezTo>
                <a:cubicBezTo>
                  <a:pt x="359" y="46"/>
                  <a:pt x="359" y="46"/>
                  <a:pt x="359" y="46"/>
                </a:cubicBezTo>
                <a:cubicBezTo>
                  <a:pt x="296" y="46"/>
                  <a:pt x="296" y="46"/>
                  <a:pt x="296" y="46"/>
                </a:cubicBezTo>
                <a:cubicBezTo>
                  <a:pt x="296" y="61"/>
                  <a:pt x="296" y="61"/>
                  <a:pt x="296" y="61"/>
                </a:cubicBezTo>
                <a:cubicBezTo>
                  <a:pt x="359" y="61"/>
                  <a:pt x="359" y="61"/>
                  <a:pt x="359" y="61"/>
                </a:cubicBezTo>
                <a:cubicBezTo>
                  <a:pt x="324" y="96"/>
                  <a:pt x="324" y="96"/>
                  <a:pt x="324" y="96"/>
                </a:cubicBezTo>
                <a:cubicBezTo>
                  <a:pt x="334" y="107"/>
                  <a:pt x="334" y="107"/>
                  <a:pt x="334" y="107"/>
                </a:cubicBezTo>
                <a:cubicBezTo>
                  <a:pt x="382" y="59"/>
                  <a:pt x="382" y="59"/>
                  <a:pt x="382" y="59"/>
                </a:cubicBezTo>
                <a:cubicBezTo>
                  <a:pt x="385" y="56"/>
                  <a:pt x="385" y="51"/>
                  <a:pt x="382" y="48"/>
                </a:cubicBezTo>
                <a:close/>
              </a:path>
            </a:pathLst>
          </a:custGeom>
          <a:solidFill>
            <a:schemeClr val="tx1"/>
          </a:solidFill>
          <a:ln>
            <a:noFill/>
          </a:ln>
        </p:spPr>
        <p:txBody>
          <a:bodyPr vert="horz" wrap="square" lIns="68586" tIns="34294" rIns="68586" bIns="34294" numCol="1" anchor="t" anchorCtr="0" compatLnSpc="1">
            <a:prstTxWarp prst="textNoShape">
              <a:avLst/>
            </a:prstTxWarp>
          </a:bodyPr>
          <a:lstStyle/>
          <a:p>
            <a:endParaRPr lang="en-US"/>
          </a:p>
        </p:txBody>
      </p:sp>
      <p:sp>
        <p:nvSpPr>
          <p:cNvPr id="2075" name="TextBox 2074"/>
          <p:cNvSpPr txBox="1"/>
          <p:nvPr/>
        </p:nvSpPr>
        <p:spPr>
          <a:xfrm>
            <a:off x="5108532" y="1466953"/>
            <a:ext cx="1193177" cy="304699"/>
          </a:xfrm>
          <a:prstGeom prst="rect">
            <a:avLst/>
          </a:prstGeom>
          <a:noFill/>
        </p:spPr>
        <p:txBody>
          <a:bodyPr wrap="square" lIns="68586" tIns="68586" rIns="68586" bIns="68586" rtlCol="0">
            <a:spAutoFit/>
          </a:bodyPr>
          <a:lstStyle/>
          <a:p>
            <a:pPr>
              <a:lnSpc>
                <a:spcPct val="90000"/>
              </a:lnSpc>
              <a:spcBef>
                <a:spcPct val="20000"/>
              </a:spcBef>
              <a:buSzPct val="90000"/>
            </a:pPr>
            <a:r>
              <a:rPr lang="en-US" sz="1200" dirty="0"/>
              <a:t>2. Service call</a:t>
            </a:r>
          </a:p>
        </p:txBody>
      </p:sp>
      <p:sp>
        <p:nvSpPr>
          <p:cNvPr id="125" name="Freeform 87"/>
          <p:cNvSpPr>
            <a:spLocks noEditPoints="1"/>
          </p:cNvSpPr>
          <p:nvPr/>
        </p:nvSpPr>
        <p:spPr bwMode="auto">
          <a:xfrm rot="10800000">
            <a:off x="4981657" y="2126451"/>
            <a:ext cx="1392971" cy="223735"/>
          </a:xfrm>
          <a:custGeom>
            <a:avLst/>
            <a:gdLst>
              <a:gd name="T0" fmla="*/ 0 w 385"/>
              <a:gd name="T1" fmla="*/ 46 h 107"/>
              <a:gd name="T2" fmla="*/ 37 w 385"/>
              <a:gd name="T3" fmla="*/ 46 h 107"/>
              <a:gd name="T4" fmla="*/ 37 w 385"/>
              <a:gd name="T5" fmla="*/ 61 h 107"/>
              <a:gd name="T6" fmla="*/ 0 w 385"/>
              <a:gd name="T7" fmla="*/ 61 h 107"/>
              <a:gd name="T8" fmla="*/ 0 w 385"/>
              <a:gd name="T9" fmla="*/ 46 h 107"/>
              <a:gd name="T10" fmla="*/ 74 w 385"/>
              <a:gd name="T11" fmla="*/ 61 h 107"/>
              <a:gd name="T12" fmla="*/ 111 w 385"/>
              <a:gd name="T13" fmla="*/ 61 h 107"/>
              <a:gd name="T14" fmla="*/ 111 w 385"/>
              <a:gd name="T15" fmla="*/ 46 h 107"/>
              <a:gd name="T16" fmla="*/ 74 w 385"/>
              <a:gd name="T17" fmla="*/ 46 h 107"/>
              <a:gd name="T18" fmla="*/ 74 w 385"/>
              <a:gd name="T19" fmla="*/ 61 h 107"/>
              <a:gd name="T20" fmla="*/ 222 w 385"/>
              <a:gd name="T21" fmla="*/ 61 h 107"/>
              <a:gd name="T22" fmla="*/ 259 w 385"/>
              <a:gd name="T23" fmla="*/ 61 h 107"/>
              <a:gd name="T24" fmla="*/ 259 w 385"/>
              <a:gd name="T25" fmla="*/ 46 h 107"/>
              <a:gd name="T26" fmla="*/ 222 w 385"/>
              <a:gd name="T27" fmla="*/ 46 h 107"/>
              <a:gd name="T28" fmla="*/ 222 w 385"/>
              <a:gd name="T29" fmla="*/ 61 h 107"/>
              <a:gd name="T30" fmla="*/ 148 w 385"/>
              <a:gd name="T31" fmla="*/ 61 h 107"/>
              <a:gd name="T32" fmla="*/ 185 w 385"/>
              <a:gd name="T33" fmla="*/ 61 h 107"/>
              <a:gd name="T34" fmla="*/ 185 w 385"/>
              <a:gd name="T35" fmla="*/ 46 h 107"/>
              <a:gd name="T36" fmla="*/ 148 w 385"/>
              <a:gd name="T37" fmla="*/ 46 h 107"/>
              <a:gd name="T38" fmla="*/ 148 w 385"/>
              <a:gd name="T39" fmla="*/ 61 h 107"/>
              <a:gd name="T40" fmla="*/ 382 w 385"/>
              <a:gd name="T41" fmla="*/ 48 h 107"/>
              <a:gd name="T42" fmla="*/ 334 w 385"/>
              <a:gd name="T43" fmla="*/ 0 h 107"/>
              <a:gd name="T44" fmla="*/ 324 w 385"/>
              <a:gd name="T45" fmla="*/ 11 h 107"/>
              <a:gd name="T46" fmla="*/ 359 w 385"/>
              <a:gd name="T47" fmla="*/ 46 h 107"/>
              <a:gd name="T48" fmla="*/ 296 w 385"/>
              <a:gd name="T49" fmla="*/ 46 h 107"/>
              <a:gd name="T50" fmla="*/ 296 w 385"/>
              <a:gd name="T51" fmla="*/ 61 h 107"/>
              <a:gd name="T52" fmla="*/ 359 w 385"/>
              <a:gd name="T53" fmla="*/ 61 h 107"/>
              <a:gd name="T54" fmla="*/ 324 w 385"/>
              <a:gd name="T55" fmla="*/ 96 h 107"/>
              <a:gd name="T56" fmla="*/ 334 w 385"/>
              <a:gd name="T57" fmla="*/ 107 h 107"/>
              <a:gd name="T58" fmla="*/ 382 w 385"/>
              <a:gd name="T59" fmla="*/ 59 h 107"/>
              <a:gd name="T60" fmla="*/ 382 w 385"/>
              <a:gd name="T61" fmla="*/ 4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5" h="107">
                <a:moveTo>
                  <a:pt x="0" y="46"/>
                </a:moveTo>
                <a:cubicBezTo>
                  <a:pt x="37" y="46"/>
                  <a:pt x="37" y="46"/>
                  <a:pt x="37" y="46"/>
                </a:cubicBezTo>
                <a:cubicBezTo>
                  <a:pt x="37" y="61"/>
                  <a:pt x="37" y="61"/>
                  <a:pt x="37" y="61"/>
                </a:cubicBezTo>
                <a:cubicBezTo>
                  <a:pt x="0" y="61"/>
                  <a:pt x="0" y="61"/>
                  <a:pt x="0" y="61"/>
                </a:cubicBezTo>
                <a:lnTo>
                  <a:pt x="0" y="46"/>
                </a:lnTo>
                <a:close/>
                <a:moveTo>
                  <a:pt x="74" y="61"/>
                </a:moveTo>
                <a:cubicBezTo>
                  <a:pt x="111" y="61"/>
                  <a:pt x="111" y="61"/>
                  <a:pt x="111" y="61"/>
                </a:cubicBezTo>
                <a:cubicBezTo>
                  <a:pt x="111" y="46"/>
                  <a:pt x="111" y="46"/>
                  <a:pt x="111" y="46"/>
                </a:cubicBezTo>
                <a:cubicBezTo>
                  <a:pt x="74" y="46"/>
                  <a:pt x="74" y="46"/>
                  <a:pt x="74" y="46"/>
                </a:cubicBezTo>
                <a:lnTo>
                  <a:pt x="74" y="61"/>
                </a:lnTo>
                <a:close/>
                <a:moveTo>
                  <a:pt x="222" y="61"/>
                </a:moveTo>
                <a:cubicBezTo>
                  <a:pt x="259" y="61"/>
                  <a:pt x="259" y="61"/>
                  <a:pt x="259" y="61"/>
                </a:cubicBezTo>
                <a:cubicBezTo>
                  <a:pt x="259" y="46"/>
                  <a:pt x="259" y="46"/>
                  <a:pt x="259" y="46"/>
                </a:cubicBezTo>
                <a:cubicBezTo>
                  <a:pt x="222" y="46"/>
                  <a:pt x="222" y="46"/>
                  <a:pt x="222" y="46"/>
                </a:cubicBezTo>
                <a:lnTo>
                  <a:pt x="222" y="61"/>
                </a:lnTo>
                <a:close/>
                <a:moveTo>
                  <a:pt x="148" y="61"/>
                </a:moveTo>
                <a:cubicBezTo>
                  <a:pt x="185" y="61"/>
                  <a:pt x="185" y="61"/>
                  <a:pt x="185" y="61"/>
                </a:cubicBezTo>
                <a:cubicBezTo>
                  <a:pt x="185" y="46"/>
                  <a:pt x="185" y="46"/>
                  <a:pt x="185" y="46"/>
                </a:cubicBezTo>
                <a:cubicBezTo>
                  <a:pt x="148" y="46"/>
                  <a:pt x="148" y="46"/>
                  <a:pt x="148" y="46"/>
                </a:cubicBezTo>
                <a:lnTo>
                  <a:pt x="148" y="61"/>
                </a:lnTo>
                <a:close/>
                <a:moveTo>
                  <a:pt x="382" y="48"/>
                </a:moveTo>
                <a:cubicBezTo>
                  <a:pt x="334" y="0"/>
                  <a:pt x="334" y="0"/>
                  <a:pt x="334" y="0"/>
                </a:cubicBezTo>
                <a:cubicBezTo>
                  <a:pt x="324" y="11"/>
                  <a:pt x="324" y="11"/>
                  <a:pt x="324" y="11"/>
                </a:cubicBezTo>
                <a:cubicBezTo>
                  <a:pt x="359" y="46"/>
                  <a:pt x="359" y="46"/>
                  <a:pt x="359" y="46"/>
                </a:cubicBezTo>
                <a:cubicBezTo>
                  <a:pt x="296" y="46"/>
                  <a:pt x="296" y="46"/>
                  <a:pt x="296" y="46"/>
                </a:cubicBezTo>
                <a:cubicBezTo>
                  <a:pt x="296" y="61"/>
                  <a:pt x="296" y="61"/>
                  <a:pt x="296" y="61"/>
                </a:cubicBezTo>
                <a:cubicBezTo>
                  <a:pt x="359" y="61"/>
                  <a:pt x="359" y="61"/>
                  <a:pt x="359" y="61"/>
                </a:cubicBezTo>
                <a:cubicBezTo>
                  <a:pt x="324" y="96"/>
                  <a:pt x="324" y="96"/>
                  <a:pt x="324" y="96"/>
                </a:cubicBezTo>
                <a:cubicBezTo>
                  <a:pt x="334" y="107"/>
                  <a:pt x="334" y="107"/>
                  <a:pt x="334" y="107"/>
                </a:cubicBezTo>
                <a:cubicBezTo>
                  <a:pt x="382" y="59"/>
                  <a:pt x="382" y="59"/>
                  <a:pt x="382" y="59"/>
                </a:cubicBezTo>
                <a:cubicBezTo>
                  <a:pt x="385" y="56"/>
                  <a:pt x="385" y="51"/>
                  <a:pt x="382" y="48"/>
                </a:cubicBezTo>
                <a:close/>
              </a:path>
            </a:pathLst>
          </a:custGeom>
          <a:solidFill>
            <a:schemeClr val="tx1"/>
          </a:solidFill>
          <a:ln>
            <a:noFill/>
          </a:ln>
        </p:spPr>
        <p:txBody>
          <a:bodyPr vert="horz" wrap="square" lIns="68586" tIns="34294" rIns="68586" bIns="34294" numCol="1" anchor="t" anchorCtr="0" compatLnSpc="1">
            <a:prstTxWarp prst="textNoShape">
              <a:avLst/>
            </a:prstTxWarp>
          </a:bodyPr>
          <a:lstStyle/>
          <a:p>
            <a:endParaRPr lang="en-US"/>
          </a:p>
        </p:txBody>
      </p:sp>
      <p:sp>
        <p:nvSpPr>
          <p:cNvPr id="2071" name="TextBox 2070"/>
          <p:cNvSpPr txBox="1"/>
          <p:nvPr/>
        </p:nvSpPr>
        <p:spPr>
          <a:xfrm>
            <a:off x="4937358" y="2324203"/>
            <a:ext cx="1501549" cy="304699"/>
          </a:xfrm>
          <a:prstGeom prst="rect">
            <a:avLst/>
          </a:prstGeom>
          <a:noFill/>
        </p:spPr>
        <p:txBody>
          <a:bodyPr wrap="square" lIns="68586" tIns="68586" rIns="68586" bIns="68586" rtlCol="0">
            <a:spAutoFit/>
          </a:bodyPr>
          <a:lstStyle/>
          <a:p>
            <a:pPr>
              <a:lnSpc>
                <a:spcPct val="90000"/>
              </a:lnSpc>
              <a:spcBef>
                <a:spcPct val="20000"/>
              </a:spcBef>
              <a:buSzPct val="90000"/>
            </a:pPr>
            <a:r>
              <a:rPr lang="en-US" sz="1200" dirty="0"/>
              <a:t>3. Dynamic dispatch</a:t>
            </a:r>
          </a:p>
        </p:txBody>
      </p:sp>
      <p:sp>
        <p:nvSpPr>
          <p:cNvPr id="124" name="Freeform 87"/>
          <p:cNvSpPr>
            <a:spLocks noEditPoints="1"/>
          </p:cNvSpPr>
          <p:nvPr/>
        </p:nvSpPr>
        <p:spPr bwMode="auto">
          <a:xfrm>
            <a:off x="4981657" y="2692268"/>
            <a:ext cx="1392971" cy="223735"/>
          </a:xfrm>
          <a:custGeom>
            <a:avLst/>
            <a:gdLst>
              <a:gd name="T0" fmla="*/ 0 w 385"/>
              <a:gd name="T1" fmla="*/ 46 h 107"/>
              <a:gd name="T2" fmla="*/ 37 w 385"/>
              <a:gd name="T3" fmla="*/ 46 h 107"/>
              <a:gd name="T4" fmla="*/ 37 w 385"/>
              <a:gd name="T5" fmla="*/ 61 h 107"/>
              <a:gd name="T6" fmla="*/ 0 w 385"/>
              <a:gd name="T7" fmla="*/ 61 h 107"/>
              <a:gd name="T8" fmla="*/ 0 w 385"/>
              <a:gd name="T9" fmla="*/ 46 h 107"/>
              <a:gd name="T10" fmla="*/ 74 w 385"/>
              <a:gd name="T11" fmla="*/ 61 h 107"/>
              <a:gd name="T12" fmla="*/ 111 w 385"/>
              <a:gd name="T13" fmla="*/ 61 h 107"/>
              <a:gd name="T14" fmla="*/ 111 w 385"/>
              <a:gd name="T15" fmla="*/ 46 h 107"/>
              <a:gd name="T16" fmla="*/ 74 w 385"/>
              <a:gd name="T17" fmla="*/ 46 h 107"/>
              <a:gd name="T18" fmla="*/ 74 w 385"/>
              <a:gd name="T19" fmla="*/ 61 h 107"/>
              <a:gd name="T20" fmla="*/ 222 w 385"/>
              <a:gd name="T21" fmla="*/ 61 h 107"/>
              <a:gd name="T22" fmla="*/ 259 w 385"/>
              <a:gd name="T23" fmla="*/ 61 h 107"/>
              <a:gd name="T24" fmla="*/ 259 w 385"/>
              <a:gd name="T25" fmla="*/ 46 h 107"/>
              <a:gd name="T26" fmla="*/ 222 w 385"/>
              <a:gd name="T27" fmla="*/ 46 h 107"/>
              <a:gd name="T28" fmla="*/ 222 w 385"/>
              <a:gd name="T29" fmla="*/ 61 h 107"/>
              <a:gd name="T30" fmla="*/ 148 w 385"/>
              <a:gd name="T31" fmla="*/ 61 h 107"/>
              <a:gd name="T32" fmla="*/ 185 w 385"/>
              <a:gd name="T33" fmla="*/ 61 h 107"/>
              <a:gd name="T34" fmla="*/ 185 w 385"/>
              <a:gd name="T35" fmla="*/ 46 h 107"/>
              <a:gd name="T36" fmla="*/ 148 w 385"/>
              <a:gd name="T37" fmla="*/ 46 h 107"/>
              <a:gd name="T38" fmla="*/ 148 w 385"/>
              <a:gd name="T39" fmla="*/ 61 h 107"/>
              <a:gd name="T40" fmla="*/ 382 w 385"/>
              <a:gd name="T41" fmla="*/ 48 h 107"/>
              <a:gd name="T42" fmla="*/ 334 w 385"/>
              <a:gd name="T43" fmla="*/ 0 h 107"/>
              <a:gd name="T44" fmla="*/ 324 w 385"/>
              <a:gd name="T45" fmla="*/ 11 h 107"/>
              <a:gd name="T46" fmla="*/ 359 w 385"/>
              <a:gd name="T47" fmla="*/ 46 h 107"/>
              <a:gd name="T48" fmla="*/ 296 w 385"/>
              <a:gd name="T49" fmla="*/ 46 h 107"/>
              <a:gd name="T50" fmla="*/ 296 w 385"/>
              <a:gd name="T51" fmla="*/ 61 h 107"/>
              <a:gd name="T52" fmla="*/ 359 w 385"/>
              <a:gd name="T53" fmla="*/ 61 h 107"/>
              <a:gd name="T54" fmla="*/ 324 w 385"/>
              <a:gd name="T55" fmla="*/ 96 h 107"/>
              <a:gd name="T56" fmla="*/ 334 w 385"/>
              <a:gd name="T57" fmla="*/ 107 h 107"/>
              <a:gd name="T58" fmla="*/ 382 w 385"/>
              <a:gd name="T59" fmla="*/ 59 h 107"/>
              <a:gd name="T60" fmla="*/ 382 w 385"/>
              <a:gd name="T61" fmla="*/ 4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5" h="107">
                <a:moveTo>
                  <a:pt x="0" y="46"/>
                </a:moveTo>
                <a:cubicBezTo>
                  <a:pt x="37" y="46"/>
                  <a:pt x="37" y="46"/>
                  <a:pt x="37" y="46"/>
                </a:cubicBezTo>
                <a:cubicBezTo>
                  <a:pt x="37" y="61"/>
                  <a:pt x="37" y="61"/>
                  <a:pt x="37" y="61"/>
                </a:cubicBezTo>
                <a:cubicBezTo>
                  <a:pt x="0" y="61"/>
                  <a:pt x="0" y="61"/>
                  <a:pt x="0" y="61"/>
                </a:cubicBezTo>
                <a:lnTo>
                  <a:pt x="0" y="46"/>
                </a:lnTo>
                <a:close/>
                <a:moveTo>
                  <a:pt x="74" y="61"/>
                </a:moveTo>
                <a:cubicBezTo>
                  <a:pt x="111" y="61"/>
                  <a:pt x="111" y="61"/>
                  <a:pt x="111" y="61"/>
                </a:cubicBezTo>
                <a:cubicBezTo>
                  <a:pt x="111" y="46"/>
                  <a:pt x="111" y="46"/>
                  <a:pt x="111" y="46"/>
                </a:cubicBezTo>
                <a:cubicBezTo>
                  <a:pt x="74" y="46"/>
                  <a:pt x="74" y="46"/>
                  <a:pt x="74" y="46"/>
                </a:cubicBezTo>
                <a:lnTo>
                  <a:pt x="74" y="61"/>
                </a:lnTo>
                <a:close/>
                <a:moveTo>
                  <a:pt x="222" y="61"/>
                </a:moveTo>
                <a:cubicBezTo>
                  <a:pt x="259" y="61"/>
                  <a:pt x="259" y="61"/>
                  <a:pt x="259" y="61"/>
                </a:cubicBezTo>
                <a:cubicBezTo>
                  <a:pt x="259" y="46"/>
                  <a:pt x="259" y="46"/>
                  <a:pt x="259" y="46"/>
                </a:cubicBezTo>
                <a:cubicBezTo>
                  <a:pt x="222" y="46"/>
                  <a:pt x="222" y="46"/>
                  <a:pt x="222" y="46"/>
                </a:cubicBezTo>
                <a:lnTo>
                  <a:pt x="222" y="61"/>
                </a:lnTo>
                <a:close/>
                <a:moveTo>
                  <a:pt x="148" y="61"/>
                </a:moveTo>
                <a:cubicBezTo>
                  <a:pt x="185" y="61"/>
                  <a:pt x="185" y="61"/>
                  <a:pt x="185" y="61"/>
                </a:cubicBezTo>
                <a:cubicBezTo>
                  <a:pt x="185" y="46"/>
                  <a:pt x="185" y="46"/>
                  <a:pt x="185" y="46"/>
                </a:cubicBezTo>
                <a:cubicBezTo>
                  <a:pt x="148" y="46"/>
                  <a:pt x="148" y="46"/>
                  <a:pt x="148" y="46"/>
                </a:cubicBezTo>
                <a:lnTo>
                  <a:pt x="148" y="61"/>
                </a:lnTo>
                <a:close/>
                <a:moveTo>
                  <a:pt x="382" y="48"/>
                </a:moveTo>
                <a:cubicBezTo>
                  <a:pt x="334" y="0"/>
                  <a:pt x="334" y="0"/>
                  <a:pt x="334" y="0"/>
                </a:cubicBezTo>
                <a:cubicBezTo>
                  <a:pt x="324" y="11"/>
                  <a:pt x="324" y="11"/>
                  <a:pt x="324" y="11"/>
                </a:cubicBezTo>
                <a:cubicBezTo>
                  <a:pt x="359" y="46"/>
                  <a:pt x="359" y="46"/>
                  <a:pt x="359" y="46"/>
                </a:cubicBezTo>
                <a:cubicBezTo>
                  <a:pt x="296" y="46"/>
                  <a:pt x="296" y="46"/>
                  <a:pt x="296" y="46"/>
                </a:cubicBezTo>
                <a:cubicBezTo>
                  <a:pt x="296" y="61"/>
                  <a:pt x="296" y="61"/>
                  <a:pt x="296" y="61"/>
                </a:cubicBezTo>
                <a:cubicBezTo>
                  <a:pt x="359" y="61"/>
                  <a:pt x="359" y="61"/>
                  <a:pt x="359" y="61"/>
                </a:cubicBezTo>
                <a:cubicBezTo>
                  <a:pt x="324" y="96"/>
                  <a:pt x="324" y="96"/>
                  <a:pt x="324" y="96"/>
                </a:cubicBezTo>
                <a:cubicBezTo>
                  <a:pt x="334" y="107"/>
                  <a:pt x="334" y="107"/>
                  <a:pt x="334" y="107"/>
                </a:cubicBezTo>
                <a:cubicBezTo>
                  <a:pt x="382" y="59"/>
                  <a:pt x="382" y="59"/>
                  <a:pt x="382" y="59"/>
                </a:cubicBezTo>
                <a:cubicBezTo>
                  <a:pt x="385" y="56"/>
                  <a:pt x="385" y="51"/>
                  <a:pt x="382" y="48"/>
                </a:cubicBezTo>
                <a:close/>
              </a:path>
            </a:pathLst>
          </a:custGeom>
          <a:solidFill>
            <a:schemeClr val="tx1"/>
          </a:solidFill>
          <a:ln>
            <a:noFill/>
          </a:ln>
        </p:spPr>
        <p:txBody>
          <a:bodyPr vert="horz" wrap="square" lIns="68586" tIns="34294" rIns="68586" bIns="34294" numCol="1" anchor="t" anchorCtr="0" compatLnSpc="1">
            <a:prstTxWarp prst="textNoShape">
              <a:avLst/>
            </a:prstTxWarp>
          </a:bodyPr>
          <a:lstStyle/>
          <a:p>
            <a:endParaRPr lang="en-US"/>
          </a:p>
        </p:txBody>
      </p:sp>
      <p:sp>
        <p:nvSpPr>
          <p:cNvPr id="2077" name="TextBox 2076"/>
          <p:cNvSpPr txBox="1"/>
          <p:nvPr/>
        </p:nvSpPr>
        <p:spPr>
          <a:xfrm>
            <a:off x="5051366" y="2895703"/>
            <a:ext cx="1349910" cy="304699"/>
          </a:xfrm>
          <a:prstGeom prst="rect">
            <a:avLst/>
          </a:prstGeom>
          <a:noFill/>
        </p:spPr>
        <p:txBody>
          <a:bodyPr wrap="square" lIns="68586" tIns="68586" rIns="68586" bIns="68586" rtlCol="0">
            <a:spAutoFit/>
          </a:bodyPr>
          <a:lstStyle/>
          <a:p>
            <a:pPr>
              <a:lnSpc>
                <a:spcPct val="90000"/>
              </a:lnSpc>
              <a:spcBef>
                <a:spcPct val="20000"/>
              </a:spcBef>
              <a:buSzPct val="90000"/>
            </a:pPr>
            <a:r>
              <a:rPr lang="en-US" sz="1200" dirty="0"/>
              <a:t>4. GPS Telemetry</a:t>
            </a:r>
          </a:p>
        </p:txBody>
      </p:sp>
      <p:sp>
        <p:nvSpPr>
          <p:cNvPr id="123" name="Freeform 87"/>
          <p:cNvSpPr>
            <a:spLocks noEditPoints="1"/>
          </p:cNvSpPr>
          <p:nvPr/>
        </p:nvSpPr>
        <p:spPr bwMode="auto">
          <a:xfrm rot="10800000">
            <a:off x="4981654" y="3566783"/>
            <a:ext cx="1392973" cy="223735"/>
          </a:xfrm>
          <a:custGeom>
            <a:avLst/>
            <a:gdLst>
              <a:gd name="T0" fmla="*/ 0 w 385"/>
              <a:gd name="T1" fmla="*/ 46 h 107"/>
              <a:gd name="T2" fmla="*/ 37 w 385"/>
              <a:gd name="T3" fmla="*/ 46 h 107"/>
              <a:gd name="T4" fmla="*/ 37 w 385"/>
              <a:gd name="T5" fmla="*/ 61 h 107"/>
              <a:gd name="T6" fmla="*/ 0 w 385"/>
              <a:gd name="T7" fmla="*/ 61 h 107"/>
              <a:gd name="T8" fmla="*/ 0 w 385"/>
              <a:gd name="T9" fmla="*/ 46 h 107"/>
              <a:gd name="T10" fmla="*/ 74 w 385"/>
              <a:gd name="T11" fmla="*/ 61 h 107"/>
              <a:gd name="T12" fmla="*/ 111 w 385"/>
              <a:gd name="T13" fmla="*/ 61 h 107"/>
              <a:gd name="T14" fmla="*/ 111 w 385"/>
              <a:gd name="T15" fmla="*/ 46 h 107"/>
              <a:gd name="T16" fmla="*/ 74 w 385"/>
              <a:gd name="T17" fmla="*/ 46 h 107"/>
              <a:gd name="T18" fmla="*/ 74 w 385"/>
              <a:gd name="T19" fmla="*/ 61 h 107"/>
              <a:gd name="T20" fmla="*/ 222 w 385"/>
              <a:gd name="T21" fmla="*/ 61 h 107"/>
              <a:gd name="T22" fmla="*/ 259 w 385"/>
              <a:gd name="T23" fmla="*/ 61 h 107"/>
              <a:gd name="T24" fmla="*/ 259 w 385"/>
              <a:gd name="T25" fmla="*/ 46 h 107"/>
              <a:gd name="T26" fmla="*/ 222 w 385"/>
              <a:gd name="T27" fmla="*/ 46 h 107"/>
              <a:gd name="T28" fmla="*/ 222 w 385"/>
              <a:gd name="T29" fmla="*/ 61 h 107"/>
              <a:gd name="T30" fmla="*/ 148 w 385"/>
              <a:gd name="T31" fmla="*/ 61 h 107"/>
              <a:gd name="T32" fmla="*/ 185 w 385"/>
              <a:gd name="T33" fmla="*/ 61 h 107"/>
              <a:gd name="T34" fmla="*/ 185 w 385"/>
              <a:gd name="T35" fmla="*/ 46 h 107"/>
              <a:gd name="T36" fmla="*/ 148 w 385"/>
              <a:gd name="T37" fmla="*/ 46 h 107"/>
              <a:gd name="T38" fmla="*/ 148 w 385"/>
              <a:gd name="T39" fmla="*/ 61 h 107"/>
              <a:gd name="T40" fmla="*/ 382 w 385"/>
              <a:gd name="T41" fmla="*/ 48 h 107"/>
              <a:gd name="T42" fmla="*/ 334 w 385"/>
              <a:gd name="T43" fmla="*/ 0 h 107"/>
              <a:gd name="T44" fmla="*/ 324 w 385"/>
              <a:gd name="T45" fmla="*/ 11 h 107"/>
              <a:gd name="T46" fmla="*/ 359 w 385"/>
              <a:gd name="T47" fmla="*/ 46 h 107"/>
              <a:gd name="T48" fmla="*/ 296 w 385"/>
              <a:gd name="T49" fmla="*/ 46 h 107"/>
              <a:gd name="T50" fmla="*/ 296 w 385"/>
              <a:gd name="T51" fmla="*/ 61 h 107"/>
              <a:gd name="T52" fmla="*/ 359 w 385"/>
              <a:gd name="T53" fmla="*/ 61 h 107"/>
              <a:gd name="T54" fmla="*/ 324 w 385"/>
              <a:gd name="T55" fmla="*/ 96 h 107"/>
              <a:gd name="T56" fmla="*/ 334 w 385"/>
              <a:gd name="T57" fmla="*/ 107 h 107"/>
              <a:gd name="T58" fmla="*/ 382 w 385"/>
              <a:gd name="T59" fmla="*/ 59 h 107"/>
              <a:gd name="T60" fmla="*/ 382 w 385"/>
              <a:gd name="T61" fmla="*/ 4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5" h="107">
                <a:moveTo>
                  <a:pt x="0" y="46"/>
                </a:moveTo>
                <a:cubicBezTo>
                  <a:pt x="37" y="46"/>
                  <a:pt x="37" y="46"/>
                  <a:pt x="37" y="46"/>
                </a:cubicBezTo>
                <a:cubicBezTo>
                  <a:pt x="37" y="61"/>
                  <a:pt x="37" y="61"/>
                  <a:pt x="37" y="61"/>
                </a:cubicBezTo>
                <a:cubicBezTo>
                  <a:pt x="0" y="61"/>
                  <a:pt x="0" y="61"/>
                  <a:pt x="0" y="61"/>
                </a:cubicBezTo>
                <a:lnTo>
                  <a:pt x="0" y="46"/>
                </a:lnTo>
                <a:close/>
                <a:moveTo>
                  <a:pt x="74" y="61"/>
                </a:moveTo>
                <a:cubicBezTo>
                  <a:pt x="111" y="61"/>
                  <a:pt x="111" y="61"/>
                  <a:pt x="111" y="61"/>
                </a:cubicBezTo>
                <a:cubicBezTo>
                  <a:pt x="111" y="46"/>
                  <a:pt x="111" y="46"/>
                  <a:pt x="111" y="46"/>
                </a:cubicBezTo>
                <a:cubicBezTo>
                  <a:pt x="74" y="46"/>
                  <a:pt x="74" y="46"/>
                  <a:pt x="74" y="46"/>
                </a:cubicBezTo>
                <a:lnTo>
                  <a:pt x="74" y="61"/>
                </a:lnTo>
                <a:close/>
                <a:moveTo>
                  <a:pt x="222" y="61"/>
                </a:moveTo>
                <a:cubicBezTo>
                  <a:pt x="259" y="61"/>
                  <a:pt x="259" y="61"/>
                  <a:pt x="259" y="61"/>
                </a:cubicBezTo>
                <a:cubicBezTo>
                  <a:pt x="259" y="46"/>
                  <a:pt x="259" y="46"/>
                  <a:pt x="259" y="46"/>
                </a:cubicBezTo>
                <a:cubicBezTo>
                  <a:pt x="222" y="46"/>
                  <a:pt x="222" y="46"/>
                  <a:pt x="222" y="46"/>
                </a:cubicBezTo>
                <a:lnTo>
                  <a:pt x="222" y="61"/>
                </a:lnTo>
                <a:close/>
                <a:moveTo>
                  <a:pt x="148" y="61"/>
                </a:moveTo>
                <a:cubicBezTo>
                  <a:pt x="185" y="61"/>
                  <a:pt x="185" y="61"/>
                  <a:pt x="185" y="61"/>
                </a:cubicBezTo>
                <a:cubicBezTo>
                  <a:pt x="185" y="46"/>
                  <a:pt x="185" y="46"/>
                  <a:pt x="185" y="46"/>
                </a:cubicBezTo>
                <a:cubicBezTo>
                  <a:pt x="148" y="46"/>
                  <a:pt x="148" y="46"/>
                  <a:pt x="148" y="46"/>
                </a:cubicBezTo>
                <a:lnTo>
                  <a:pt x="148" y="61"/>
                </a:lnTo>
                <a:close/>
                <a:moveTo>
                  <a:pt x="382" y="48"/>
                </a:moveTo>
                <a:cubicBezTo>
                  <a:pt x="334" y="0"/>
                  <a:pt x="334" y="0"/>
                  <a:pt x="334" y="0"/>
                </a:cubicBezTo>
                <a:cubicBezTo>
                  <a:pt x="324" y="11"/>
                  <a:pt x="324" y="11"/>
                  <a:pt x="324" y="11"/>
                </a:cubicBezTo>
                <a:cubicBezTo>
                  <a:pt x="359" y="46"/>
                  <a:pt x="359" y="46"/>
                  <a:pt x="359" y="46"/>
                </a:cubicBezTo>
                <a:cubicBezTo>
                  <a:pt x="296" y="46"/>
                  <a:pt x="296" y="46"/>
                  <a:pt x="296" y="46"/>
                </a:cubicBezTo>
                <a:cubicBezTo>
                  <a:pt x="296" y="61"/>
                  <a:pt x="296" y="61"/>
                  <a:pt x="296" y="61"/>
                </a:cubicBezTo>
                <a:cubicBezTo>
                  <a:pt x="359" y="61"/>
                  <a:pt x="359" y="61"/>
                  <a:pt x="359" y="61"/>
                </a:cubicBezTo>
                <a:cubicBezTo>
                  <a:pt x="324" y="96"/>
                  <a:pt x="324" y="96"/>
                  <a:pt x="324" y="96"/>
                </a:cubicBezTo>
                <a:cubicBezTo>
                  <a:pt x="334" y="107"/>
                  <a:pt x="334" y="107"/>
                  <a:pt x="334" y="107"/>
                </a:cubicBezTo>
                <a:cubicBezTo>
                  <a:pt x="382" y="59"/>
                  <a:pt x="382" y="59"/>
                  <a:pt x="382" y="59"/>
                </a:cubicBezTo>
                <a:cubicBezTo>
                  <a:pt x="385" y="56"/>
                  <a:pt x="385" y="51"/>
                  <a:pt x="382" y="48"/>
                </a:cubicBezTo>
                <a:close/>
              </a:path>
            </a:pathLst>
          </a:custGeom>
          <a:solidFill>
            <a:schemeClr val="tx1"/>
          </a:solidFill>
          <a:ln>
            <a:noFill/>
          </a:ln>
        </p:spPr>
        <p:txBody>
          <a:bodyPr vert="horz" wrap="square" lIns="68586" tIns="34294" rIns="68586" bIns="34294" numCol="1" anchor="t" anchorCtr="0" compatLnSpc="1">
            <a:prstTxWarp prst="textNoShape">
              <a:avLst/>
            </a:prstTxWarp>
          </a:bodyPr>
          <a:lstStyle/>
          <a:p>
            <a:endParaRPr lang="en-US"/>
          </a:p>
        </p:txBody>
      </p:sp>
      <p:sp>
        <p:nvSpPr>
          <p:cNvPr id="2079" name="TextBox 2078"/>
          <p:cNvSpPr txBox="1"/>
          <p:nvPr/>
        </p:nvSpPr>
        <p:spPr>
          <a:xfrm>
            <a:off x="4917783" y="3752953"/>
            <a:ext cx="1456845" cy="304699"/>
          </a:xfrm>
          <a:prstGeom prst="rect">
            <a:avLst/>
          </a:prstGeom>
          <a:noFill/>
        </p:spPr>
        <p:txBody>
          <a:bodyPr wrap="square" lIns="68586" tIns="68586" rIns="68586" bIns="68586" rtlCol="0">
            <a:spAutoFit/>
          </a:bodyPr>
          <a:lstStyle/>
          <a:p>
            <a:pPr>
              <a:lnSpc>
                <a:spcPct val="90000"/>
              </a:lnSpc>
              <a:spcBef>
                <a:spcPct val="20000"/>
              </a:spcBef>
              <a:buSzPct val="90000"/>
            </a:pPr>
            <a:r>
              <a:rPr lang="en-US" sz="1200" dirty="0"/>
              <a:t>5. Notification</a:t>
            </a:r>
          </a:p>
        </p:txBody>
      </p:sp>
      <p:grpSp>
        <p:nvGrpSpPr>
          <p:cNvPr id="44" name="Group 43"/>
          <p:cNvGrpSpPr>
            <a:grpSpLocks noChangeAspect="1"/>
          </p:cNvGrpSpPr>
          <p:nvPr/>
        </p:nvGrpSpPr>
        <p:grpSpPr bwMode="black">
          <a:xfrm>
            <a:off x="456129" y="1257300"/>
            <a:ext cx="958997" cy="577356"/>
            <a:chOff x="8843608" y="828600"/>
            <a:chExt cx="925448" cy="557448"/>
          </a:xfrm>
        </p:grpSpPr>
        <p:sp>
          <p:nvSpPr>
            <p:cNvPr id="45" name="Rectangle 44"/>
            <p:cNvSpPr/>
            <p:nvPr/>
          </p:nvSpPr>
          <p:spPr bwMode="black">
            <a:xfrm>
              <a:off x="8857595" y="835151"/>
              <a:ext cx="623646" cy="459637"/>
            </a:xfrm>
            <a:prstGeom prst="rect">
              <a:avLst/>
            </a:prstGeom>
            <a:solidFill>
              <a:srgbClr val="0087FF"/>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17143" fontAlgn="base">
                <a:spcBef>
                  <a:spcPct val="0"/>
                </a:spcBef>
                <a:spcAft>
                  <a:spcPct val="0"/>
                </a:spcAft>
              </a:pPr>
              <a:endParaRPr lang="en-US" sz="900" dirty="0">
                <a:gradFill>
                  <a:gsLst>
                    <a:gs pos="0">
                      <a:srgbClr val="FFFFFF"/>
                    </a:gs>
                    <a:gs pos="100000">
                      <a:srgbClr val="FFFFFF"/>
                    </a:gs>
                  </a:gsLst>
                  <a:lin ang="5400000" scaled="0"/>
                </a:gradFill>
              </a:endParaRPr>
            </a:p>
          </p:txBody>
        </p:sp>
        <p:grpSp>
          <p:nvGrpSpPr>
            <p:cNvPr id="46" name="Group 45"/>
            <p:cNvGrpSpPr/>
            <p:nvPr/>
          </p:nvGrpSpPr>
          <p:grpSpPr bwMode="black">
            <a:xfrm>
              <a:off x="8843608" y="828600"/>
              <a:ext cx="925448" cy="557448"/>
              <a:chOff x="863600" y="2393157"/>
              <a:chExt cx="876300" cy="527844"/>
            </a:xfrm>
            <a:solidFill>
              <a:schemeClr val="tx1"/>
            </a:solidFill>
          </p:grpSpPr>
          <p:sp>
            <p:nvSpPr>
              <p:cNvPr id="47" name="Freeform 46"/>
              <p:cNvSpPr>
                <a:spLocks noEditPoints="1"/>
              </p:cNvSpPr>
              <p:nvPr/>
            </p:nvSpPr>
            <p:spPr bwMode="black">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606"/>
                <a:endParaRPr lang="en-US" spc="-92" dirty="0">
                  <a:solidFill>
                    <a:schemeClr val="tx1">
                      <a:lumMod val="50000"/>
                    </a:schemeClr>
                  </a:solidFill>
                  <a:latin typeface="Segoe Light" pitchFamily="34" charset="0"/>
                </a:endParaRPr>
              </a:p>
            </p:txBody>
          </p:sp>
          <p:sp>
            <p:nvSpPr>
              <p:cNvPr id="48" name="Freeform 88"/>
              <p:cNvSpPr>
                <a:spLocks noEditPoints="1"/>
              </p:cNvSpPr>
              <p:nvPr/>
            </p:nvSpPr>
            <p:spPr bwMode="black">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606"/>
                <a:endParaRPr lang="en-US" spc="-92" dirty="0">
                  <a:solidFill>
                    <a:schemeClr val="tx1">
                      <a:lumMod val="50000"/>
                    </a:schemeClr>
                  </a:solidFill>
                  <a:latin typeface="Segoe Light" pitchFamily="34" charset="0"/>
                </a:endParaRPr>
              </a:p>
            </p:txBody>
          </p:sp>
        </p:grpSp>
      </p:grpSp>
      <p:pic>
        <p:nvPicPr>
          <p:cNvPr id="49" name="Picture 48"/>
          <p:cNvPicPr>
            <a:picLocks noChangeAspect="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677712" y="2403992"/>
            <a:ext cx="407231" cy="781995"/>
          </a:xfrm>
          <a:prstGeom prst="rect">
            <a:avLst/>
          </a:prstGeom>
        </p:spPr>
      </p:pic>
      <p:grpSp>
        <p:nvGrpSpPr>
          <p:cNvPr id="50" name="Group 49"/>
          <p:cNvGrpSpPr/>
          <p:nvPr/>
        </p:nvGrpSpPr>
        <p:grpSpPr bwMode="black">
          <a:xfrm>
            <a:off x="4114681" y="2125285"/>
            <a:ext cx="800308" cy="789367"/>
            <a:chOff x="2916435" y="3914152"/>
            <a:chExt cx="930763" cy="918513"/>
          </a:xfrm>
        </p:grpSpPr>
        <p:pic>
          <p:nvPicPr>
            <p:cNvPr id="51" name="Picture 50"/>
            <p:cNvPicPr>
              <a:picLocks noChangeAspect="1"/>
            </p:cNvPicPr>
            <p:nvPr/>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52"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40" tIns="45720" rIns="91440" bIns="45720" numCol="1" anchor="t" anchorCtr="0" compatLnSpc="1">
              <a:prstTxWarp prst="textNoShape">
                <a:avLst/>
              </a:prstTxWarp>
            </a:bodyPr>
            <a:lstStyle/>
            <a:p>
              <a:endParaRPr lang="en-US" sz="700" dirty="0">
                <a:solidFill>
                  <a:srgbClr val="FFFFFF"/>
                </a:solidFill>
              </a:endParaRPr>
            </a:p>
          </p:txBody>
        </p:sp>
      </p:grpSp>
      <p:pic>
        <p:nvPicPr>
          <p:cNvPr id="53" name="Picture 2" descr="C:\Users\chrisw\Desktop\Cloud Services 3.png"/>
          <p:cNvPicPr>
            <a:picLocks noChangeAspect="1" noChangeArrowheads="1"/>
          </p:cNvPicPr>
          <p:nvPr/>
        </p:nvPicPr>
        <p:blipFill>
          <a:blip r:embed="rId14">
            <a:extLst>
              <a:ext uri="{BEBA8EAE-BF5A-486C-A8C5-ECC9F3942E4B}">
                <a14:imgProps xmlns:a14="http://schemas.microsoft.com/office/drawing/2010/main">
                  <a14:imgLayer r:embed="rId1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3437204" y="1085851"/>
            <a:ext cx="1134797" cy="782258"/>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36" descr="C:\Users\sakuu\Documents\Ballmer WPC\AI\work.png"/>
          <p:cNvPicPr>
            <a:picLocks noChangeAspect="1" noChangeArrowheads="1"/>
          </p:cNvPicPr>
          <p:nvPr/>
        </p:nvPicPr>
        <p:blipFill>
          <a:blip r:embed="rId16" cstate="print">
            <a:extLst>
              <a:ext uri="{BEBA8EAE-BF5A-486C-A8C5-ECC9F3942E4B}">
                <a14:imgProps xmlns:a14="http://schemas.microsoft.com/office/drawing/2010/main">
                  <a14:imgLayer r:embed="rId1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8383342" y="1555918"/>
            <a:ext cx="492987" cy="787063"/>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2" descr="C:\Users\chrisw\Desktop\Cloud Services 3.png"/>
          <p:cNvPicPr>
            <a:picLocks noChangeAspect="1" noChangeArrowheads="1"/>
          </p:cNvPicPr>
          <p:nvPr/>
        </p:nvPicPr>
        <p:blipFill>
          <a:blip r:embed="rId14">
            <a:extLst>
              <a:ext uri="{BEBA8EAE-BF5A-486C-A8C5-ECC9F3942E4B}">
                <a14:imgProps xmlns:a14="http://schemas.microsoft.com/office/drawing/2010/main">
                  <a14:imgLayer r:embed="rId1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8010601" y="2485459"/>
            <a:ext cx="885984" cy="610742"/>
          </a:xfrm>
          <a:prstGeom prst="rect">
            <a:avLst/>
          </a:prstGeom>
          <a:noFill/>
          <a:extLst>
            <a:ext uri="{909E8E84-426E-40DD-AFC4-6F175D3DCCD1}">
              <a14:hiddenFill xmlns:a14="http://schemas.microsoft.com/office/drawing/2010/main">
                <a:solidFill>
                  <a:srgbClr val="FFFFFF"/>
                </a:solidFill>
              </a14:hiddenFill>
            </a:ext>
          </a:extLst>
        </p:spPr>
      </p:pic>
      <p:sp>
        <p:nvSpPr>
          <p:cNvPr id="56" name="Freeform 84"/>
          <p:cNvSpPr>
            <a:spLocks noEditPoints="1"/>
          </p:cNvSpPr>
          <p:nvPr/>
        </p:nvSpPr>
        <p:spPr bwMode="black">
          <a:xfrm>
            <a:off x="8254452" y="3276512"/>
            <a:ext cx="572589" cy="684304"/>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FFFFF"/>
          </a:solidFill>
          <a:ln>
            <a:noFill/>
          </a:ln>
        </p:spPr>
        <p:txBody>
          <a:bodyPr vert="horz" wrap="square" lIns="61735" tIns="30867" rIns="61735" bIns="30867" numCol="1" anchor="t" anchorCtr="0" compatLnSpc="1">
            <a:prstTxWarp prst="textNoShape">
              <a:avLst/>
            </a:prstTxWarp>
          </a:bodyPr>
          <a:lstStyle/>
          <a:p>
            <a:endParaRPr lang="en-US" sz="1200"/>
          </a:p>
        </p:txBody>
      </p:sp>
      <p:sp>
        <p:nvSpPr>
          <p:cNvPr id="36"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7"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8"/>
              </a:rPr>
              <a:t>www.rapidbbs.cn</a:t>
            </a:r>
            <a:endParaRPr lang="zh-CN" altLang="en-US" sz="1200" b="0">
              <a:latin typeface="Arial" charset="0"/>
              <a:ea typeface="ＭＳ Ｐゴシック" pitchFamily="34" charset="-128"/>
            </a:endParaRPr>
          </a:p>
        </p:txBody>
      </p:sp>
      <p:pic>
        <p:nvPicPr>
          <p:cNvPr id="38" name="Picture 2">
            <a:hlinkClick r:id="rId18"/>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01948629"/>
      </p:ext>
    </p:extLst>
  </p:cSld>
  <p:clrMapOvr>
    <a:masterClrMapping/>
  </p:clrMapOvr>
  <p:transition spd="slow" advClick="0">
    <p:wipe dir="r"/>
  </p:transition>
  <p:timing>
    <p:tnLst>
      <p:par>
        <p:cTn id="1" dur="indefinite" restart="never" nodeType="tmRoot"/>
      </p:par>
    </p:tnLst>
  </p:timing>
</p:sld>
</file>

<file path=ppt/slides/slide4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jor external factors</a:t>
            </a:r>
            <a:endParaRPr lang="en-US" dirty="0"/>
          </a:p>
        </p:txBody>
      </p:sp>
      <p:sp>
        <p:nvSpPr>
          <p:cNvPr id="5" name="Rectangle 4"/>
          <p:cNvSpPr/>
          <p:nvPr/>
        </p:nvSpPr>
        <p:spPr bwMode="auto">
          <a:xfrm>
            <a:off x="392839" y="1819294"/>
            <a:ext cx="2004144" cy="200362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68583" tIns="34292" rIns="68583" bIns="34292" numCol="1" rtlCol="0" anchor="b" anchorCtr="0" compatLnSpc="1">
            <a:prstTxWarp prst="textNoShape">
              <a:avLst/>
            </a:prstTxWarp>
          </a:bodyPr>
          <a:lstStyle/>
          <a:p>
            <a:pPr defTabSz="685637" fontAlgn="base">
              <a:spcBef>
                <a:spcPct val="0"/>
              </a:spcBef>
              <a:spcAft>
                <a:spcPct val="0"/>
              </a:spcAft>
            </a:pPr>
            <a:r>
              <a:rPr lang="en-US" dirty="0" smtClean="0">
                <a:gradFill>
                  <a:gsLst>
                    <a:gs pos="0">
                      <a:srgbClr val="FFFFFF"/>
                    </a:gs>
                    <a:gs pos="100000">
                      <a:srgbClr val="FFFFFF"/>
                    </a:gs>
                  </a:gsLst>
                  <a:lin ang="5400000" scaled="0"/>
                </a:gradFill>
              </a:rPr>
              <a:t>3</a:t>
            </a:r>
            <a:r>
              <a:rPr lang="en-US" baseline="30000" dirty="0" smtClean="0">
                <a:gradFill>
                  <a:gsLst>
                    <a:gs pos="0">
                      <a:srgbClr val="FFFFFF"/>
                    </a:gs>
                    <a:gs pos="100000">
                      <a:srgbClr val="FFFFFF"/>
                    </a:gs>
                  </a:gsLst>
                  <a:lin ang="5400000" scaled="0"/>
                </a:gradFill>
              </a:rPr>
              <a:t>rd</a:t>
            </a:r>
            <a:r>
              <a:rPr lang="en-US" dirty="0" smtClean="0">
                <a:gradFill>
                  <a:gsLst>
                    <a:gs pos="0">
                      <a:srgbClr val="FFFFFF"/>
                    </a:gs>
                    <a:gs pos="100000">
                      <a:srgbClr val="FFFFFF"/>
                    </a:gs>
                  </a:gsLst>
                  <a:lin ang="5400000" scaled="0"/>
                </a:gradFill>
              </a:rPr>
              <a:t> Data discontinuity</a:t>
            </a:r>
          </a:p>
        </p:txBody>
      </p:sp>
      <p:sp>
        <p:nvSpPr>
          <p:cNvPr id="6" name="Rectangle 5"/>
          <p:cNvSpPr/>
          <p:nvPr/>
        </p:nvSpPr>
        <p:spPr bwMode="auto">
          <a:xfrm>
            <a:off x="2509310" y="1819294"/>
            <a:ext cx="2004144" cy="200362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68583" tIns="34292" rIns="68583" bIns="34292" numCol="1" rtlCol="0" anchor="b" anchorCtr="0" compatLnSpc="1">
            <a:prstTxWarp prst="textNoShape">
              <a:avLst/>
            </a:prstTxWarp>
          </a:bodyPr>
          <a:lstStyle/>
          <a:p>
            <a:pPr defTabSz="685637" fontAlgn="base">
              <a:spcBef>
                <a:spcPct val="0"/>
              </a:spcBef>
              <a:spcAft>
                <a:spcPct val="0"/>
              </a:spcAft>
            </a:pPr>
            <a:r>
              <a:rPr lang="en-US" dirty="0" smtClean="0">
                <a:gradFill>
                  <a:gsLst>
                    <a:gs pos="0">
                      <a:srgbClr val="FFFFFF"/>
                    </a:gs>
                    <a:gs pos="100000">
                      <a:srgbClr val="FFFFFF"/>
                    </a:gs>
                  </a:gsLst>
                  <a:lin ang="5400000" scaled="0"/>
                </a:gradFill>
              </a:rPr>
              <a:t>Supply and value chains</a:t>
            </a:r>
          </a:p>
        </p:txBody>
      </p:sp>
      <p:sp>
        <p:nvSpPr>
          <p:cNvPr id="7" name="Rectangle 6"/>
          <p:cNvSpPr/>
          <p:nvPr/>
        </p:nvSpPr>
        <p:spPr bwMode="auto">
          <a:xfrm>
            <a:off x="4625782" y="1823906"/>
            <a:ext cx="2004144" cy="200362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68583" tIns="34292" rIns="68583" bIns="34292" numCol="1" rtlCol="0" anchor="b" anchorCtr="0" compatLnSpc="1">
            <a:prstTxWarp prst="textNoShape">
              <a:avLst/>
            </a:prstTxWarp>
          </a:bodyPr>
          <a:lstStyle/>
          <a:p>
            <a:pPr defTabSz="685637" fontAlgn="base">
              <a:spcBef>
                <a:spcPct val="0"/>
              </a:spcBef>
              <a:spcAft>
                <a:spcPct val="0"/>
              </a:spcAft>
            </a:pPr>
            <a:r>
              <a:rPr lang="en-US" dirty="0" smtClean="0">
                <a:gradFill>
                  <a:gsLst>
                    <a:gs pos="0">
                      <a:srgbClr val="FFFFFF"/>
                    </a:gs>
                    <a:gs pos="100000">
                      <a:srgbClr val="FFFFFF"/>
                    </a:gs>
                  </a:gsLst>
                  <a:lin ang="5400000" scaled="0"/>
                </a:gradFill>
              </a:rPr>
              <a:t>Apps across platforms</a:t>
            </a:r>
          </a:p>
        </p:txBody>
      </p:sp>
      <p:sp>
        <p:nvSpPr>
          <p:cNvPr id="8" name="Rectangle 7"/>
          <p:cNvSpPr/>
          <p:nvPr/>
        </p:nvSpPr>
        <p:spPr bwMode="auto">
          <a:xfrm>
            <a:off x="6742254" y="1823906"/>
            <a:ext cx="2004144" cy="200362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68583" tIns="34292" rIns="68583" bIns="34292" numCol="1" rtlCol="0" anchor="b" anchorCtr="0" compatLnSpc="1">
            <a:prstTxWarp prst="textNoShape">
              <a:avLst/>
            </a:prstTxWarp>
          </a:bodyPr>
          <a:lstStyle/>
          <a:p>
            <a:pPr defTabSz="685637" fontAlgn="base">
              <a:spcBef>
                <a:spcPct val="0"/>
              </a:spcBef>
              <a:spcAft>
                <a:spcPct val="0"/>
              </a:spcAft>
            </a:pPr>
            <a:r>
              <a:rPr lang="en-US" dirty="0" smtClean="0">
                <a:gradFill>
                  <a:gsLst>
                    <a:gs pos="0">
                      <a:srgbClr val="FFFFFF"/>
                    </a:gs>
                    <a:gs pos="100000">
                      <a:srgbClr val="FFFFFF"/>
                    </a:gs>
                  </a:gsLst>
                  <a:lin ang="5400000" scaled="0"/>
                </a:gradFill>
              </a:rPr>
              <a:t>New architecture</a:t>
            </a:r>
          </a:p>
        </p:txBody>
      </p:sp>
      <p:sp>
        <p:nvSpPr>
          <p:cNvPr id="42" name="Freeform 81"/>
          <p:cNvSpPr>
            <a:spLocks noEditPoints="1"/>
          </p:cNvSpPr>
          <p:nvPr/>
        </p:nvSpPr>
        <p:spPr bwMode="black">
          <a:xfrm>
            <a:off x="627623" y="2286000"/>
            <a:ext cx="1498356" cy="914400"/>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rgbClr val="FFFFFF"/>
          </a:solidFill>
          <a:ln>
            <a:noFill/>
          </a:ln>
        </p:spPr>
        <p:txBody>
          <a:bodyPr vert="horz" wrap="square" lIns="61735" tIns="30867" rIns="61735" bIns="30867" numCol="1" anchor="t" anchorCtr="0" compatLnSpc="1">
            <a:prstTxWarp prst="textNoShape">
              <a:avLst/>
            </a:prstTxWarp>
          </a:bodyPr>
          <a:lstStyle/>
          <a:p>
            <a:endParaRPr lang="en-US" sz="1200"/>
          </a:p>
        </p:txBody>
      </p:sp>
      <p:sp>
        <p:nvSpPr>
          <p:cNvPr id="44" name="Freeform 73"/>
          <p:cNvSpPr>
            <a:spLocks noEditPoints="1"/>
          </p:cNvSpPr>
          <p:nvPr/>
        </p:nvSpPr>
        <p:spPr bwMode="black">
          <a:xfrm>
            <a:off x="2914219" y="2089922"/>
            <a:ext cx="1150619" cy="111047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61735" tIns="30867" rIns="61735" bIns="30867" numCol="1" anchor="t" anchorCtr="0" compatLnSpc="1">
            <a:prstTxWarp prst="textNoShape">
              <a:avLst/>
            </a:prstTxWarp>
          </a:bodyPr>
          <a:lstStyle/>
          <a:p>
            <a:endParaRPr lang="en-US" sz="1200"/>
          </a:p>
        </p:txBody>
      </p:sp>
      <p:grpSp>
        <p:nvGrpSpPr>
          <p:cNvPr id="45" name="Group 44"/>
          <p:cNvGrpSpPr/>
          <p:nvPr/>
        </p:nvGrpSpPr>
        <p:grpSpPr>
          <a:xfrm>
            <a:off x="4743494" y="2457452"/>
            <a:ext cx="1795692" cy="598559"/>
            <a:chOff x="2396675" y="2712766"/>
            <a:chExt cx="1208329" cy="402878"/>
          </a:xfrm>
        </p:grpSpPr>
        <p:grpSp>
          <p:nvGrpSpPr>
            <p:cNvPr id="46" name="Group 45"/>
            <p:cNvGrpSpPr/>
            <p:nvPr/>
          </p:nvGrpSpPr>
          <p:grpSpPr bwMode="black">
            <a:xfrm>
              <a:off x="2396675" y="2712766"/>
              <a:ext cx="408356" cy="402878"/>
              <a:chOff x="2916435" y="3914152"/>
              <a:chExt cx="930763" cy="918513"/>
            </a:xfrm>
          </p:grpSpPr>
          <p:pic>
            <p:nvPicPr>
              <p:cNvPr id="49" name="Picture 48"/>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50"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40" tIns="45720" rIns="91440" bIns="45720" numCol="1" anchor="t" anchorCtr="0" compatLnSpc="1">
                <a:prstTxWarp prst="textNoShape">
                  <a:avLst/>
                </a:prstTxWarp>
              </a:bodyPr>
              <a:lstStyle/>
              <a:p>
                <a:endParaRPr lang="en-US" sz="700" dirty="0">
                  <a:solidFill>
                    <a:srgbClr val="FFFFFF"/>
                  </a:solidFill>
                </a:endParaRPr>
              </a:p>
            </p:txBody>
          </p:sp>
        </p:grpSp>
        <p:sp>
          <p:nvSpPr>
            <p:cNvPr id="47" name="Freeform 20"/>
            <p:cNvSpPr>
              <a:spLocks noEditPoints="1"/>
            </p:cNvSpPr>
            <p:nvPr/>
          </p:nvSpPr>
          <p:spPr bwMode="black">
            <a:xfrm>
              <a:off x="2862843" y="2719324"/>
              <a:ext cx="508115" cy="35326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305" tIns="41153" rIns="82305" bIns="41153" numCol="1" anchor="t" anchorCtr="0" compatLnSpc="1">
              <a:prstTxWarp prst="textNoShape">
                <a:avLst/>
              </a:prstTxWarp>
            </a:bodyPr>
            <a:lstStyle/>
            <a:p>
              <a:endParaRPr lang="en-US" sz="700" dirty="0">
                <a:solidFill>
                  <a:srgbClr val="FFFFFF"/>
                </a:solidFill>
              </a:endParaRPr>
            </a:p>
          </p:txBody>
        </p:sp>
        <p:pic>
          <p:nvPicPr>
            <p:cNvPr id="48" name="Picture 47"/>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3421089" y="2719323"/>
              <a:ext cx="183915" cy="353259"/>
            </a:xfrm>
            <a:prstGeom prst="rect">
              <a:avLst/>
            </a:prstGeom>
          </p:spPr>
        </p:pic>
      </p:grpSp>
      <p:grpSp>
        <p:nvGrpSpPr>
          <p:cNvPr id="51" name="Group 50"/>
          <p:cNvGrpSpPr/>
          <p:nvPr/>
        </p:nvGrpSpPr>
        <p:grpSpPr bwMode="black">
          <a:xfrm>
            <a:off x="7087256" y="2209924"/>
            <a:ext cx="1272829" cy="1104776"/>
            <a:chOff x="2462213" y="1598613"/>
            <a:chExt cx="4222750" cy="3667125"/>
          </a:xfrm>
        </p:grpSpPr>
        <p:sp>
          <p:nvSpPr>
            <p:cNvPr id="52" name="Rectangle 6"/>
            <p:cNvSpPr>
              <a:spLocks noChangeArrowheads="1"/>
            </p:cNvSpPr>
            <p:nvPr/>
          </p:nvSpPr>
          <p:spPr bwMode="black">
            <a:xfrm>
              <a:off x="5564188"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3" name="Rectangle 7"/>
            <p:cNvSpPr>
              <a:spLocks noChangeArrowheads="1"/>
            </p:cNvSpPr>
            <p:nvPr/>
          </p:nvSpPr>
          <p:spPr bwMode="black">
            <a:xfrm>
              <a:off x="5795963" y="3346451"/>
              <a:ext cx="112713"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4" name="Rectangle 8"/>
            <p:cNvSpPr>
              <a:spLocks noChangeArrowheads="1"/>
            </p:cNvSpPr>
            <p:nvPr/>
          </p:nvSpPr>
          <p:spPr bwMode="black">
            <a:xfrm>
              <a:off x="3092451"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5" name="Rectangle 9"/>
            <p:cNvSpPr>
              <a:spLocks noChangeArrowheads="1"/>
            </p:cNvSpPr>
            <p:nvPr/>
          </p:nvSpPr>
          <p:spPr bwMode="black">
            <a:xfrm>
              <a:off x="3324226" y="3346451"/>
              <a:ext cx="117475"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6" name="Freeform 10"/>
            <p:cNvSpPr>
              <a:spLocks/>
            </p:cNvSpPr>
            <p:nvPr/>
          </p:nvSpPr>
          <p:spPr bwMode="black">
            <a:xfrm>
              <a:off x="3902076" y="2506663"/>
              <a:ext cx="101600" cy="123825"/>
            </a:xfrm>
            <a:custGeom>
              <a:avLst/>
              <a:gdLst>
                <a:gd name="T0" fmla="*/ 36 w 64"/>
                <a:gd name="T1" fmla="*/ 78 h 78"/>
                <a:gd name="T2" fmla="*/ 64 w 64"/>
                <a:gd name="T3" fmla="*/ 64 h 78"/>
                <a:gd name="T4" fmla="*/ 26 w 64"/>
                <a:gd name="T5" fmla="*/ 0 h 78"/>
                <a:gd name="T6" fmla="*/ 0 w 64"/>
                <a:gd name="T7" fmla="*/ 17 h 78"/>
                <a:gd name="T8" fmla="*/ 36 w 64"/>
                <a:gd name="T9" fmla="*/ 78 h 78"/>
              </a:gdLst>
              <a:ahLst/>
              <a:cxnLst>
                <a:cxn ang="0">
                  <a:pos x="T0" y="T1"/>
                </a:cxn>
                <a:cxn ang="0">
                  <a:pos x="T2" y="T3"/>
                </a:cxn>
                <a:cxn ang="0">
                  <a:pos x="T4" y="T5"/>
                </a:cxn>
                <a:cxn ang="0">
                  <a:pos x="T6" y="T7"/>
                </a:cxn>
                <a:cxn ang="0">
                  <a:pos x="T8" y="T9"/>
                </a:cxn>
              </a:cxnLst>
              <a:rect l="0" t="0" r="r" b="b"/>
              <a:pathLst>
                <a:path w="64" h="78">
                  <a:moveTo>
                    <a:pt x="36" y="78"/>
                  </a:moveTo>
                  <a:lnTo>
                    <a:pt x="64" y="64"/>
                  </a:lnTo>
                  <a:lnTo>
                    <a:pt x="26" y="0"/>
                  </a:lnTo>
                  <a:lnTo>
                    <a:pt x="0" y="17"/>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7" name="Freeform 11"/>
            <p:cNvSpPr>
              <a:spLocks/>
            </p:cNvSpPr>
            <p:nvPr/>
          </p:nvSpPr>
          <p:spPr bwMode="black">
            <a:xfrm>
              <a:off x="4017963" y="2709863"/>
              <a:ext cx="98425" cy="123825"/>
            </a:xfrm>
            <a:custGeom>
              <a:avLst/>
              <a:gdLst>
                <a:gd name="T0" fmla="*/ 36 w 62"/>
                <a:gd name="T1" fmla="*/ 78 h 78"/>
                <a:gd name="T2" fmla="*/ 62 w 62"/>
                <a:gd name="T3" fmla="*/ 61 h 78"/>
                <a:gd name="T4" fmla="*/ 26 w 62"/>
                <a:gd name="T5" fmla="*/ 0 h 78"/>
                <a:gd name="T6" fmla="*/ 0 w 62"/>
                <a:gd name="T7" fmla="*/ 14 h 78"/>
                <a:gd name="T8" fmla="*/ 36 w 62"/>
                <a:gd name="T9" fmla="*/ 78 h 78"/>
              </a:gdLst>
              <a:ahLst/>
              <a:cxnLst>
                <a:cxn ang="0">
                  <a:pos x="T0" y="T1"/>
                </a:cxn>
                <a:cxn ang="0">
                  <a:pos x="T2" y="T3"/>
                </a:cxn>
                <a:cxn ang="0">
                  <a:pos x="T4" y="T5"/>
                </a:cxn>
                <a:cxn ang="0">
                  <a:pos x="T6" y="T7"/>
                </a:cxn>
                <a:cxn ang="0">
                  <a:pos x="T8" y="T9"/>
                </a:cxn>
              </a:cxnLst>
              <a:rect l="0" t="0" r="r" b="b"/>
              <a:pathLst>
                <a:path w="62" h="78">
                  <a:moveTo>
                    <a:pt x="36" y="78"/>
                  </a:moveTo>
                  <a:lnTo>
                    <a:pt x="62" y="61"/>
                  </a:lnTo>
                  <a:lnTo>
                    <a:pt x="26" y="0"/>
                  </a:lnTo>
                  <a:lnTo>
                    <a:pt x="0" y="14"/>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8" name="Freeform 12"/>
            <p:cNvSpPr>
              <a:spLocks/>
            </p:cNvSpPr>
            <p:nvPr/>
          </p:nvSpPr>
          <p:spPr bwMode="black">
            <a:xfrm>
              <a:off x="4873626" y="2709863"/>
              <a:ext cx="98425" cy="123825"/>
            </a:xfrm>
            <a:custGeom>
              <a:avLst/>
              <a:gdLst>
                <a:gd name="T0" fmla="*/ 26 w 62"/>
                <a:gd name="T1" fmla="*/ 78 h 78"/>
                <a:gd name="T2" fmla="*/ 62 w 62"/>
                <a:gd name="T3" fmla="*/ 14 h 78"/>
                <a:gd name="T4" fmla="*/ 36 w 62"/>
                <a:gd name="T5" fmla="*/ 0 h 78"/>
                <a:gd name="T6" fmla="*/ 0 w 62"/>
                <a:gd name="T7" fmla="*/ 61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4"/>
                  </a:lnTo>
                  <a:lnTo>
                    <a:pt x="36" y="0"/>
                  </a:lnTo>
                  <a:lnTo>
                    <a:pt x="0" y="61"/>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9" name="Freeform 13"/>
            <p:cNvSpPr>
              <a:spLocks/>
            </p:cNvSpPr>
            <p:nvPr/>
          </p:nvSpPr>
          <p:spPr bwMode="black">
            <a:xfrm>
              <a:off x="4989513" y="2506663"/>
              <a:ext cx="98425" cy="123825"/>
            </a:xfrm>
            <a:custGeom>
              <a:avLst/>
              <a:gdLst>
                <a:gd name="T0" fmla="*/ 26 w 62"/>
                <a:gd name="T1" fmla="*/ 78 h 78"/>
                <a:gd name="T2" fmla="*/ 62 w 62"/>
                <a:gd name="T3" fmla="*/ 17 h 78"/>
                <a:gd name="T4" fmla="*/ 36 w 62"/>
                <a:gd name="T5" fmla="*/ 0 h 78"/>
                <a:gd name="T6" fmla="*/ 0 w 62"/>
                <a:gd name="T7" fmla="*/ 64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7"/>
                  </a:lnTo>
                  <a:lnTo>
                    <a:pt x="36" y="0"/>
                  </a:lnTo>
                  <a:lnTo>
                    <a:pt x="0" y="64"/>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0" name="Freeform 14"/>
            <p:cNvSpPr>
              <a:spLocks/>
            </p:cNvSpPr>
            <p:nvPr/>
          </p:nvSpPr>
          <p:spPr bwMode="black">
            <a:xfrm>
              <a:off x="4017963" y="3990976"/>
              <a:ext cx="98425" cy="123825"/>
            </a:xfrm>
            <a:custGeom>
              <a:avLst/>
              <a:gdLst>
                <a:gd name="T0" fmla="*/ 0 w 62"/>
                <a:gd name="T1" fmla="*/ 64 h 78"/>
                <a:gd name="T2" fmla="*/ 26 w 62"/>
                <a:gd name="T3" fmla="*/ 78 h 78"/>
                <a:gd name="T4" fmla="*/ 62 w 62"/>
                <a:gd name="T5" fmla="*/ 14 h 78"/>
                <a:gd name="T6" fmla="*/ 36 w 62"/>
                <a:gd name="T7" fmla="*/ 0 h 78"/>
                <a:gd name="T8" fmla="*/ 0 w 62"/>
                <a:gd name="T9" fmla="*/ 64 h 78"/>
              </a:gdLst>
              <a:ahLst/>
              <a:cxnLst>
                <a:cxn ang="0">
                  <a:pos x="T0" y="T1"/>
                </a:cxn>
                <a:cxn ang="0">
                  <a:pos x="T2" y="T3"/>
                </a:cxn>
                <a:cxn ang="0">
                  <a:pos x="T4" y="T5"/>
                </a:cxn>
                <a:cxn ang="0">
                  <a:pos x="T6" y="T7"/>
                </a:cxn>
                <a:cxn ang="0">
                  <a:pos x="T8" y="T9"/>
                </a:cxn>
              </a:cxnLst>
              <a:rect l="0" t="0" r="r" b="b"/>
              <a:pathLst>
                <a:path w="62" h="78">
                  <a:moveTo>
                    <a:pt x="0" y="64"/>
                  </a:moveTo>
                  <a:lnTo>
                    <a:pt x="26" y="78"/>
                  </a:lnTo>
                  <a:lnTo>
                    <a:pt x="62" y="14"/>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1" name="Freeform 15"/>
            <p:cNvSpPr>
              <a:spLocks/>
            </p:cNvSpPr>
            <p:nvPr/>
          </p:nvSpPr>
          <p:spPr bwMode="black">
            <a:xfrm>
              <a:off x="3902076" y="4189413"/>
              <a:ext cx="101600" cy="128588"/>
            </a:xfrm>
            <a:custGeom>
              <a:avLst/>
              <a:gdLst>
                <a:gd name="T0" fmla="*/ 0 w 64"/>
                <a:gd name="T1" fmla="*/ 64 h 81"/>
                <a:gd name="T2" fmla="*/ 26 w 64"/>
                <a:gd name="T3" fmla="*/ 81 h 81"/>
                <a:gd name="T4" fmla="*/ 64 w 64"/>
                <a:gd name="T5" fmla="*/ 17 h 81"/>
                <a:gd name="T6" fmla="*/ 36 w 64"/>
                <a:gd name="T7" fmla="*/ 0 h 81"/>
                <a:gd name="T8" fmla="*/ 0 w 64"/>
                <a:gd name="T9" fmla="*/ 64 h 81"/>
              </a:gdLst>
              <a:ahLst/>
              <a:cxnLst>
                <a:cxn ang="0">
                  <a:pos x="T0" y="T1"/>
                </a:cxn>
                <a:cxn ang="0">
                  <a:pos x="T2" y="T3"/>
                </a:cxn>
                <a:cxn ang="0">
                  <a:pos x="T4" y="T5"/>
                </a:cxn>
                <a:cxn ang="0">
                  <a:pos x="T6" y="T7"/>
                </a:cxn>
                <a:cxn ang="0">
                  <a:pos x="T8" y="T9"/>
                </a:cxn>
              </a:cxnLst>
              <a:rect l="0" t="0" r="r" b="b"/>
              <a:pathLst>
                <a:path w="64" h="81">
                  <a:moveTo>
                    <a:pt x="0" y="64"/>
                  </a:moveTo>
                  <a:lnTo>
                    <a:pt x="26" y="81"/>
                  </a:lnTo>
                  <a:lnTo>
                    <a:pt x="64" y="17"/>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2" name="Freeform 16"/>
            <p:cNvSpPr>
              <a:spLocks/>
            </p:cNvSpPr>
            <p:nvPr/>
          </p:nvSpPr>
          <p:spPr bwMode="black">
            <a:xfrm>
              <a:off x="4989513" y="4189413"/>
              <a:ext cx="98425" cy="128588"/>
            </a:xfrm>
            <a:custGeom>
              <a:avLst/>
              <a:gdLst>
                <a:gd name="T0" fmla="*/ 26 w 62"/>
                <a:gd name="T1" fmla="*/ 0 h 81"/>
                <a:gd name="T2" fmla="*/ 0 w 62"/>
                <a:gd name="T3" fmla="*/ 17 h 81"/>
                <a:gd name="T4" fmla="*/ 36 w 62"/>
                <a:gd name="T5" fmla="*/ 81 h 81"/>
                <a:gd name="T6" fmla="*/ 62 w 62"/>
                <a:gd name="T7" fmla="*/ 64 h 81"/>
                <a:gd name="T8" fmla="*/ 26 w 62"/>
                <a:gd name="T9" fmla="*/ 0 h 81"/>
              </a:gdLst>
              <a:ahLst/>
              <a:cxnLst>
                <a:cxn ang="0">
                  <a:pos x="T0" y="T1"/>
                </a:cxn>
                <a:cxn ang="0">
                  <a:pos x="T2" y="T3"/>
                </a:cxn>
                <a:cxn ang="0">
                  <a:pos x="T4" y="T5"/>
                </a:cxn>
                <a:cxn ang="0">
                  <a:pos x="T6" y="T7"/>
                </a:cxn>
                <a:cxn ang="0">
                  <a:pos x="T8" y="T9"/>
                </a:cxn>
              </a:cxnLst>
              <a:rect l="0" t="0" r="r" b="b"/>
              <a:pathLst>
                <a:path w="62" h="81">
                  <a:moveTo>
                    <a:pt x="26" y="0"/>
                  </a:moveTo>
                  <a:lnTo>
                    <a:pt x="0" y="17"/>
                  </a:lnTo>
                  <a:lnTo>
                    <a:pt x="36" y="81"/>
                  </a:lnTo>
                  <a:lnTo>
                    <a:pt x="62" y="64"/>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3" name="Freeform 17"/>
            <p:cNvSpPr>
              <a:spLocks/>
            </p:cNvSpPr>
            <p:nvPr/>
          </p:nvSpPr>
          <p:spPr bwMode="black">
            <a:xfrm>
              <a:off x="4873626" y="3990976"/>
              <a:ext cx="98425" cy="123825"/>
            </a:xfrm>
            <a:custGeom>
              <a:avLst/>
              <a:gdLst>
                <a:gd name="T0" fmla="*/ 0 w 62"/>
                <a:gd name="T1" fmla="*/ 14 h 78"/>
                <a:gd name="T2" fmla="*/ 36 w 62"/>
                <a:gd name="T3" fmla="*/ 78 h 78"/>
                <a:gd name="T4" fmla="*/ 62 w 62"/>
                <a:gd name="T5" fmla="*/ 64 h 78"/>
                <a:gd name="T6" fmla="*/ 26 w 62"/>
                <a:gd name="T7" fmla="*/ 0 h 78"/>
                <a:gd name="T8" fmla="*/ 0 w 62"/>
                <a:gd name="T9" fmla="*/ 14 h 78"/>
              </a:gdLst>
              <a:ahLst/>
              <a:cxnLst>
                <a:cxn ang="0">
                  <a:pos x="T0" y="T1"/>
                </a:cxn>
                <a:cxn ang="0">
                  <a:pos x="T2" y="T3"/>
                </a:cxn>
                <a:cxn ang="0">
                  <a:pos x="T4" y="T5"/>
                </a:cxn>
                <a:cxn ang="0">
                  <a:pos x="T6" y="T7"/>
                </a:cxn>
                <a:cxn ang="0">
                  <a:pos x="T8" y="T9"/>
                </a:cxn>
              </a:cxnLst>
              <a:rect l="0" t="0" r="r" b="b"/>
              <a:pathLst>
                <a:path w="62" h="78">
                  <a:moveTo>
                    <a:pt x="0" y="14"/>
                  </a:moveTo>
                  <a:lnTo>
                    <a:pt x="36" y="78"/>
                  </a:lnTo>
                  <a:lnTo>
                    <a:pt x="62" y="64"/>
                  </a:lnTo>
                  <a:lnTo>
                    <a:pt x="26" y="0"/>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4" name="Freeform 18"/>
            <p:cNvSpPr>
              <a:spLocks/>
            </p:cNvSpPr>
            <p:nvPr/>
          </p:nvSpPr>
          <p:spPr bwMode="black">
            <a:xfrm>
              <a:off x="3579813" y="2892426"/>
              <a:ext cx="1833563" cy="1068388"/>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5" name="Freeform 19"/>
            <p:cNvSpPr>
              <a:spLocks noEditPoints="1"/>
            </p:cNvSpPr>
            <p:nvPr/>
          </p:nvSpPr>
          <p:spPr bwMode="black">
            <a:xfrm>
              <a:off x="3321051" y="1598613"/>
              <a:ext cx="750888" cy="522288"/>
            </a:xfrm>
            <a:custGeom>
              <a:avLst/>
              <a:gdLst>
                <a:gd name="T0" fmla="*/ 174 w 200"/>
                <a:gd name="T1" fmla="*/ 0 h 139"/>
                <a:gd name="T2" fmla="*/ 26 w 200"/>
                <a:gd name="T3" fmla="*/ 0 h 139"/>
                <a:gd name="T4" fmla="*/ 0 w 200"/>
                <a:gd name="T5" fmla="*/ 27 h 139"/>
                <a:gd name="T6" fmla="*/ 0 w 200"/>
                <a:gd name="T7" fmla="*/ 113 h 139"/>
                <a:gd name="T8" fmla="*/ 26 w 200"/>
                <a:gd name="T9" fmla="*/ 139 h 139"/>
                <a:gd name="T10" fmla="*/ 174 w 200"/>
                <a:gd name="T11" fmla="*/ 139 h 139"/>
                <a:gd name="T12" fmla="*/ 200 w 200"/>
                <a:gd name="T13" fmla="*/ 113 h 139"/>
                <a:gd name="T14" fmla="*/ 200 w 200"/>
                <a:gd name="T15" fmla="*/ 27 h 139"/>
                <a:gd name="T16" fmla="*/ 174 w 200"/>
                <a:gd name="T17" fmla="*/ 0 h 139"/>
                <a:gd name="T18" fmla="*/ 185 w 200"/>
                <a:gd name="T19" fmla="*/ 113 h 139"/>
                <a:gd name="T20" fmla="*/ 174 w 200"/>
                <a:gd name="T21" fmla="*/ 124 h 139"/>
                <a:gd name="T22" fmla="*/ 26 w 200"/>
                <a:gd name="T23" fmla="*/ 124 h 139"/>
                <a:gd name="T24" fmla="*/ 15 w 200"/>
                <a:gd name="T25" fmla="*/ 113 h 139"/>
                <a:gd name="T26" fmla="*/ 15 w 200"/>
                <a:gd name="T27" fmla="*/ 27 h 139"/>
                <a:gd name="T28" fmla="*/ 26 w 200"/>
                <a:gd name="T29" fmla="*/ 16 h 139"/>
                <a:gd name="T30" fmla="*/ 174 w 200"/>
                <a:gd name="T31" fmla="*/ 16 h 139"/>
                <a:gd name="T32" fmla="*/ 185 w 200"/>
                <a:gd name="T33" fmla="*/ 27 h 139"/>
                <a:gd name="T34" fmla="*/ 185 w 200"/>
                <a:gd name="T35" fmla="*/ 11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39">
                  <a:moveTo>
                    <a:pt x="174" y="0"/>
                  </a:moveTo>
                  <a:cubicBezTo>
                    <a:pt x="26" y="0"/>
                    <a:pt x="26" y="0"/>
                    <a:pt x="26" y="0"/>
                  </a:cubicBezTo>
                  <a:cubicBezTo>
                    <a:pt x="12" y="0"/>
                    <a:pt x="0" y="12"/>
                    <a:pt x="0" y="27"/>
                  </a:cubicBezTo>
                  <a:cubicBezTo>
                    <a:pt x="0" y="113"/>
                    <a:pt x="0" y="113"/>
                    <a:pt x="0" y="113"/>
                  </a:cubicBezTo>
                  <a:cubicBezTo>
                    <a:pt x="0" y="127"/>
                    <a:pt x="12" y="139"/>
                    <a:pt x="26" y="139"/>
                  </a:cubicBezTo>
                  <a:cubicBezTo>
                    <a:pt x="174" y="139"/>
                    <a:pt x="174" y="139"/>
                    <a:pt x="174" y="139"/>
                  </a:cubicBezTo>
                  <a:cubicBezTo>
                    <a:pt x="188" y="139"/>
                    <a:pt x="200" y="127"/>
                    <a:pt x="200" y="113"/>
                  </a:cubicBezTo>
                  <a:cubicBezTo>
                    <a:pt x="200" y="27"/>
                    <a:pt x="200" y="27"/>
                    <a:pt x="200" y="27"/>
                  </a:cubicBezTo>
                  <a:cubicBezTo>
                    <a:pt x="200" y="12"/>
                    <a:pt x="188" y="0"/>
                    <a:pt x="174" y="0"/>
                  </a:cubicBezTo>
                  <a:moveTo>
                    <a:pt x="185" y="113"/>
                  </a:moveTo>
                  <a:cubicBezTo>
                    <a:pt x="185" y="119"/>
                    <a:pt x="180" y="124"/>
                    <a:pt x="174" y="124"/>
                  </a:cubicBezTo>
                  <a:cubicBezTo>
                    <a:pt x="26" y="124"/>
                    <a:pt x="26" y="124"/>
                    <a:pt x="26" y="124"/>
                  </a:cubicBezTo>
                  <a:cubicBezTo>
                    <a:pt x="20" y="124"/>
                    <a:pt x="15" y="119"/>
                    <a:pt x="15" y="113"/>
                  </a:cubicBezTo>
                  <a:cubicBezTo>
                    <a:pt x="15" y="27"/>
                    <a:pt x="15" y="27"/>
                    <a:pt x="15" y="27"/>
                  </a:cubicBezTo>
                  <a:cubicBezTo>
                    <a:pt x="15" y="21"/>
                    <a:pt x="20" y="16"/>
                    <a:pt x="26" y="16"/>
                  </a:cubicBezTo>
                  <a:cubicBezTo>
                    <a:pt x="174" y="16"/>
                    <a:pt x="174" y="16"/>
                    <a:pt x="174" y="16"/>
                  </a:cubicBezTo>
                  <a:cubicBezTo>
                    <a:pt x="180" y="16"/>
                    <a:pt x="185" y="21"/>
                    <a:pt x="185" y="27"/>
                  </a:cubicBezTo>
                  <a:lnTo>
                    <a:pt x="185" y="1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6" name="Freeform 20"/>
            <p:cNvSpPr>
              <a:spLocks/>
            </p:cNvSpPr>
            <p:nvPr/>
          </p:nvSpPr>
          <p:spPr bwMode="black">
            <a:xfrm>
              <a:off x="3178176" y="2154238"/>
              <a:ext cx="1035050" cy="239713"/>
            </a:xfrm>
            <a:custGeom>
              <a:avLst/>
              <a:gdLst>
                <a:gd name="T0" fmla="*/ 7 w 276"/>
                <a:gd name="T1" fmla="*/ 64 h 64"/>
                <a:gd name="T2" fmla="*/ 269 w 276"/>
                <a:gd name="T3" fmla="*/ 64 h 64"/>
                <a:gd name="T4" fmla="*/ 276 w 276"/>
                <a:gd name="T5" fmla="*/ 57 h 64"/>
                <a:gd name="T6" fmla="*/ 276 w 276"/>
                <a:gd name="T7" fmla="*/ 54 h 64"/>
                <a:gd name="T8" fmla="*/ 272 w 276"/>
                <a:gd name="T9" fmla="*/ 42 h 64"/>
                <a:gd name="T10" fmla="*/ 240 w 276"/>
                <a:gd name="T11" fmla="*/ 5 h 64"/>
                <a:gd name="T12" fmla="*/ 229 w 276"/>
                <a:gd name="T13" fmla="*/ 0 h 64"/>
                <a:gd name="T14" fmla="*/ 47 w 276"/>
                <a:gd name="T15" fmla="*/ 0 h 64"/>
                <a:gd name="T16" fmla="*/ 36 w 276"/>
                <a:gd name="T17" fmla="*/ 5 h 64"/>
                <a:gd name="T18" fmla="*/ 4 w 276"/>
                <a:gd name="T19" fmla="*/ 42 h 64"/>
                <a:gd name="T20" fmla="*/ 0 w 276"/>
                <a:gd name="T21" fmla="*/ 54 h 64"/>
                <a:gd name="T22" fmla="*/ 0 w 276"/>
                <a:gd name="T23" fmla="*/ 57 h 64"/>
                <a:gd name="T24" fmla="*/ 7 w 27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6" h="64">
                  <a:moveTo>
                    <a:pt x="7" y="64"/>
                  </a:moveTo>
                  <a:cubicBezTo>
                    <a:pt x="269" y="64"/>
                    <a:pt x="269" y="64"/>
                    <a:pt x="269" y="64"/>
                  </a:cubicBezTo>
                  <a:cubicBezTo>
                    <a:pt x="273" y="64"/>
                    <a:pt x="276" y="61"/>
                    <a:pt x="276" y="57"/>
                  </a:cubicBezTo>
                  <a:cubicBezTo>
                    <a:pt x="276" y="54"/>
                    <a:pt x="276" y="54"/>
                    <a:pt x="276" y="54"/>
                  </a:cubicBezTo>
                  <a:cubicBezTo>
                    <a:pt x="276" y="50"/>
                    <a:pt x="274" y="45"/>
                    <a:pt x="272" y="42"/>
                  </a:cubicBezTo>
                  <a:cubicBezTo>
                    <a:pt x="240" y="5"/>
                    <a:pt x="240" y="5"/>
                    <a:pt x="240" y="5"/>
                  </a:cubicBezTo>
                  <a:cubicBezTo>
                    <a:pt x="238" y="2"/>
                    <a:pt x="233" y="0"/>
                    <a:pt x="229" y="0"/>
                  </a:cubicBezTo>
                  <a:cubicBezTo>
                    <a:pt x="47" y="0"/>
                    <a:pt x="47" y="0"/>
                    <a:pt x="47" y="0"/>
                  </a:cubicBezTo>
                  <a:cubicBezTo>
                    <a:pt x="43" y="0"/>
                    <a:pt x="38" y="2"/>
                    <a:pt x="36" y="5"/>
                  </a:cubicBezTo>
                  <a:cubicBezTo>
                    <a:pt x="4" y="42"/>
                    <a:pt x="4" y="42"/>
                    <a:pt x="4" y="42"/>
                  </a:cubicBezTo>
                  <a:cubicBezTo>
                    <a:pt x="2" y="45"/>
                    <a:pt x="0" y="50"/>
                    <a:pt x="0" y="54"/>
                  </a:cubicBezTo>
                  <a:cubicBezTo>
                    <a:pt x="0" y="57"/>
                    <a:pt x="0" y="57"/>
                    <a:pt x="0" y="57"/>
                  </a:cubicBezTo>
                  <a:cubicBezTo>
                    <a:pt x="0" y="61"/>
                    <a:pt x="3" y="64"/>
                    <a:pt x="7"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7" name="Freeform 21"/>
            <p:cNvSpPr>
              <a:spLocks noEditPoints="1"/>
            </p:cNvSpPr>
            <p:nvPr/>
          </p:nvSpPr>
          <p:spPr bwMode="black">
            <a:xfrm>
              <a:off x="4730751" y="1639888"/>
              <a:ext cx="781050" cy="608013"/>
            </a:xfrm>
            <a:custGeom>
              <a:avLst/>
              <a:gdLst>
                <a:gd name="T0" fmla="*/ 177 w 208"/>
                <a:gd name="T1" fmla="*/ 0 h 162"/>
                <a:gd name="T2" fmla="*/ 31 w 208"/>
                <a:gd name="T3" fmla="*/ 0 h 162"/>
                <a:gd name="T4" fmla="*/ 0 w 208"/>
                <a:gd name="T5" fmla="*/ 31 h 162"/>
                <a:gd name="T6" fmla="*/ 0 w 208"/>
                <a:gd name="T7" fmla="*/ 131 h 162"/>
                <a:gd name="T8" fmla="*/ 31 w 208"/>
                <a:gd name="T9" fmla="*/ 162 h 162"/>
                <a:gd name="T10" fmla="*/ 177 w 208"/>
                <a:gd name="T11" fmla="*/ 162 h 162"/>
                <a:gd name="T12" fmla="*/ 208 w 208"/>
                <a:gd name="T13" fmla="*/ 131 h 162"/>
                <a:gd name="T14" fmla="*/ 208 w 208"/>
                <a:gd name="T15" fmla="*/ 31 h 162"/>
                <a:gd name="T16" fmla="*/ 177 w 208"/>
                <a:gd name="T17" fmla="*/ 0 h 162"/>
                <a:gd name="T18" fmla="*/ 190 w 208"/>
                <a:gd name="T19" fmla="*/ 131 h 162"/>
                <a:gd name="T20" fmla="*/ 177 w 208"/>
                <a:gd name="T21" fmla="*/ 144 h 162"/>
                <a:gd name="T22" fmla="*/ 31 w 208"/>
                <a:gd name="T23" fmla="*/ 144 h 162"/>
                <a:gd name="T24" fmla="*/ 18 w 208"/>
                <a:gd name="T25" fmla="*/ 131 h 162"/>
                <a:gd name="T26" fmla="*/ 18 w 208"/>
                <a:gd name="T27" fmla="*/ 31 h 162"/>
                <a:gd name="T28" fmla="*/ 31 w 208"/>
                <a:gd name="T29" fmla="*/ 18 h 162"/>
                <a:gd name="T30" fmla="*/ 177 w 208"/>
                <a:gd name="T31" fmla="*/ 18 h 162"/>
                <a:gd name="T32" fmla="*/ 190 w 208"/>
                <a:gd name="T33" fmla="*/ 31 h 162"/>
                <a:gd name="T34" fmla="*/ 190 w 208"/>
                <a:gd name="T35" fmla="*/ 13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 h="162">
                  <a:moveTo>
                    <a:pt x="177" y="0"/>
                  </a:moveTo>
                  <a:cubicBezTo>
                    <a:pt x="31" y="0"/>
                    <a:pt x="31" y="0"/>
                    <a:pt x="31" y="0"/>
                  </a:cubicBezTo>
                  <a:cubicBezTo>
                    <a:pt x="14" y="0"/>
                    <a:pt x="0" y="14"/>
                    <a:pt x="0" y="31"/>
                  </a:cubicBezTo>
                  <a:cubicBezTo>
                    <a:pt x="0" y="131"/>
                    <a:pt x="0" y="131"/>
                    <a:pt x="0" y="131"/>
                  </a:cubicBezTo>
                  <a:cubicBezTo>
                    <a:pt x="0" y="148"/>
                    <a:pt x="14" y="162"/>
                    <a:pt x="31" y="162"/>
                  </a:cubicBezTo>
                  <a:cubicBezTo>
                    <a:pt x="177" y="162"/>
                    <a:pt x="177" y="162"/>
                    <a:pt x="177" y="162"/>
                  </a:cubicBezTo>
                  <a:cubicBezTo>
                    <a:pt x="194" y="162"/>
                    <a:pt x="208" y="148"/>
                    <a:pt x="208" y="131"/>
                  </a:cubicBezTo>
                  <a:cubicBezTo>
                    <a:pt x="208" y="31"/>
                    <a:pt x="208" y="31"/>
                    <a:pt x="208" y="31"/>
                  </a:cubicBezTo>
                  <a:cubicBezTo>
                    <a:pt x="208" y="14"/>
                    <a:pt x="194" y="0"/>
                    <a:pt x="177" y="0"/>
                  </a:cubicBezTo>
                  <a:moveTo>
                    <a:pt x="190" y="131"/>
                  </a:moveTo>
                  <a:cubicBezTo>
                    <a:pt x="190" y="138"/>
                    <a:pt x="184" y="144"/>
                    <a:pt x="177" y="144"/>
                  </a:cubicBezTo>
                  <a:cubicBezTo>
                    <a:pt x="31" y="144"/>
                    <a:pt x="31" y="144"/>
                    <a:pt x="31" y="144"/>
                  </a:cubicBezTo>
                  <a:cubicBezTo>
                    <a:pt x="24" y="144"/>
                    <a:pt x="18" y="138"/>
                    <a:pt x="18" y="131"/>
                  </a:cubicBezTo>
                  <a:cubicBezTo>
                    <a:pt x="18" y="31"/>
                    <a:pt x="18" y="31"/>
                    <a:pt x="18" y="31"/>
                  </a:cubicBezTo>
                  <a:cubicBezTo>
                    <a:pt x="18" y="24"/>
                    <a:pt x="24" y="18"/>
                    <a:pt x="31" y="18"/>
                  </a:cubicBezTo>
                  <a:cubicBezTo>
                    <a:pt x="177" y="18"/>
                    <a:pt x="177" y="18"/>
                    <a:pt x="177" y="18"/>
                  </a:cubicBezTo>
                  <a:cubicBezTo>
                    <a:pt x="184" y="18"/>
                    <a:pt x="190" y="24"/>
                    <a:pt x="190" y="31"/>
                  </a:cubicBezTo>
                  <a:lnTo>
                    <a:pt x="190" y="1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8" name="Freeform 22"/>
            <p:cNvSpPr>
              <a:spLocks/>
            </p:cNvSpPr>
            <p:nvPr/>
          </p:nvSpPr>
          <p:spPr bwMode="black">
            <a:xfrm>
              <a:off x="4911726" y="2289176"/>
              <a:ext cx="419100" cy="104775"/>
            </a:xfrm>
            <a:custGeom>
              <a:avLst/>
              <a:gdLst>
                <a:gd name="T0" fmla="*/ 112 w 112"/>
                <a:gd name="T1" fmla="*/ 25 h 28"/>
                <a:gd name="T2" fmla="*/ 112 w 112"/>
                <a:gd name="T3" fmla="*/ 23 h 28"/>
                <a:gd name="T4" fmla="*/ 110 w 112"/>
                <a:gd name="T5" fmla="*/ 18 h 28"/>
                <a:gd name="T6" fmla="*/ 96 w 112"/>
                <a:gd name="T7" fmla="*/ 2 h 28"/>
                <a:gd name="T8" fmla="*/ 91 w 112"/>
                <a:gd name="T9" fmla="*/ 0 h 28"/>
                <a:gd name="T10" fmla="*/ 21 w 112"/>
                <a:gd name="T11" fmla="*/ 0 h 28"/>
                <a:gd name="T12" fmla="*/ 16 w 112"/>
                <a:gd name="T13" fmla="*/ 2 h 28"/>
                <a:gd name="T14" fmla="*/ 2 w 112"/>
                <a:gd name="T15" fmla="*/ 18 h 28"/>
                <a:gd name="T16" fmla="*/ 0 w 112"/>
                <a:gd name="T17" fmla="*/ 23 h 28"/>
                <a:gd name="T18" fmla="*/ 0 w 112"/>
                <a:gd name="T19" fmla="*/ 25 h 28"/>
                <a:gd name="T20" fmla="*/ 3 w 112"/>
                <a:gd name="T21" fmla="*/ 28 h 28"/>
                <a:gd name="T22" fmla="*/ 109 w 112"/>
                <a:gd name="T23" fmla="*/ 28 h 28"/>
                <a:gd name="T24" fmla="*/ 112 w 112"/>
                <a:gd name="T25"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28">
                  <a:moveTo>
                    <a:pt x="112" y="25"/>
                  </a:moveTo>
                  <a:cubicBezTo>
                    <a:pt x="112" y="23"/>
                    <a:pt x="112" y="23"/>
                    <a:pt x="112" y="23"/>
                  </a:cubicBezTo>
                  <a:cubicBezTo>
                    <a:pt x="112" y="22"/>
                    <a:pt x="111" y="20"/>
                    <a:pt x="110" y="18"/>
                  </a:cubicBezTo>
                  <a:cubicBezTo>
                    <a:pt x="96" y="2"/>
                    <a:pt x="96" y="2"/>
                    <a:pt x="96" y="2"/>
                  </a:cubicBezTo>
                  <a:cubicBezTo>
                    <a:pt x="95" y="1"/>
                    <a:pt x="93" y="0"/>
                    <a:pt x="91" y="0"/>
                  </a:cubicBezTo>
                  <a:cubicBezTo>
                    <a:pt x="21" y="0"/>
                    <a:pt x="21" y="0"/>
                    <a:pt x="21" y="0"/>
                  </a:cubicBezTo>
                  <a:cubicBezTo>
                    <a:pt x="19" y="0"/>
                    <a:pt x="17" y="1"/>
                    <a:pt x="16" y="2"/>
                  </a:cubicBezTo>
                  <a:cubicBezTo>
                    <a:pt x="2" y="18"/>
                    <a:pt x="2" y="18"/>
                    <a:pt x="2" y="18"/>
                  </a:cubicBezTo>
                  <a:cubicBezTo>
                    <a:pt x="1" y="20"/>
                    <a:pt x="0" y="22"/>
                    <a:pt x="0" y="23"/>
                  </a:cubicBezTo>
                  <a:cubicBezTo>
                    <a:pt x="0" y="25"/>
                    <a:pt x="0" y="25"/>
                    <a:pt x="0" y="25"/>
                  </a:cubicBezTo>
                  <a:cubicBezTo>
                    <a:pt x="0" y="26"/>
                    <a:pt x="1" y="28"/>
                    <a:pt x="3" y="28"/>
                  </a:cubicBezTo>
                  <a:cubicBezTo>
                    <a:pt x="109" y="28"/>
                    <a:pt x="109" y="28"/>
                    <a:pt x="109" y="28"/>
                  </a:cubicBezTo>
                  <a:cubicBezTo>
                    <a:pt x="111" y="28"/>
                    <a:pt x="112" y="26"/>
                    <a:pt x="112" y="2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23"/>
            <p:cNvSpPr>
              <a:spLocks noEditPoints="1"/>
            </p:cNvSpPr>
            <p:nvPr/>
          </p:nvSpPr>
          <p:spPr bwMode="black">
            <a:xfrm>
              <a:off x="5586413" y="1639888"/>
              <a:ext cx="385763" cy="754063"/>
            </a:xfrm>
            <a:custGeom>
              <a:avLst/>
              <a:gdLst>
                <a:gd name="T0" fmla="*/ 89 w 103"/>
                <a:gd name="T1" fmla="*/ 0 h 201"/>
                <a:gd name="T2" fmla="*/ 13 w 103"/>
                <a:gd name="T3" fmla="*/ 0 h 201"/>
                <a:gd name="T4" fmla="*/ 0 w 103"/>
                <a:gd name="T5" fmla="*/ 13 h 201"/>
                <a:gd name="T6" fmla="*/ 0 w 103"/>
                <a:gd name="T7" fmla="*/ 187 h 201"/>
                <a:gd name="T8" fmla="*/ 13 w 103"/>
                <a:gd name="T9" fmla="*/ 201 h 201"/>
                <a:gd name="T10" fmla="*/ 89 w 103"/>
                <a:gd name="T11" fmla="*/ 201 h 201"/>
                <a:gd name="T12" fmla="*/ 103 w 103"/>
                <a:gd name="T13" fmla="*/ 187 h 201"/>
                <a:gd name="T14" fmla="*/ 103 w 103"/>
                <a:gd name="T15" fmla="*/ 13 h 201"/>
                <a:gd name="T16" fmla="*/ 89 w 103"/>
                <a:gd name="T17" fmla="*/ 0 h 201"/>
                <a:gd name="T18" fmla="*/ 52 w 103"/>
                <a:gd name="T19" fmla="*/ 187 h 201"/>
                <a:gd name="T20" fmla="*/ 40 w 103"/>
                <a:gd name="T21" fmla="*/ 175 h 201"/>
                <a:gd name="T22" fmla="*/ 52 w 103"/>
                <a:gd name="T23" fmla="*/ 163 h 201"/>
                <a:gd name="T24" fmla="*/ 63 w 103"/>
                <a:gd name="T25" fmla="*/ 175 h 201"/>
                <a:gd name="T26" fmla="*/ 52 w 103"/>
                <a:gd name="T27" fmla="*/ 18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201">
                  <a:moveTo>
                    <a:pt x="89" y="0"/>
                  </a:moveTo>
                  <a:cubicBezTo>
                    <a:pt x="13" y="0"/>
                    <a:pt x="13" y="0"/>
                    <a:pt x="13" y="0"/>
                  </a:cubicBezTo>
                  <a:cubicBezTo>
                    <a:pt x="6" y="0"/>
                    <a:pt x="0" y="6"/>
                    <a:pt x="0" y="13"/>
                  </a:cubicBezTo>
                  <a:cubicBezTo>
                    <a:pt x="0" y="187"/>
                    <a:pt x="0" y="187"/>
                    <a:pt x="0" y="187"/>
                  </a:cubicBezTo>
                  <a:cubicBezTo>
                    <a:pt x="0" y="195"/>
                    <a:pt x="6" y="201"/>
                    <a:pt x="13" y="201"/>
                  </a:cubicBezTo>
                  <a:cubicBezTo>
                    <a:pt x="89" y="201"/>
                    <a:pt x="89" y="201"/>
                    <a:pt x="89" y="201"/>
                  </a:cubicBezTo>
                  <a:cubicBezTo>
                    <a:pt x="97" y="201"/>
                    <a:pt x="103" y="195"/>
                    <a:pt x="103" y="187"/>
                  </a:cubicBezTo>
                  <a:cubicBezTo>
                    <a:pt x="103" y="13"/>
                    <a:pt x="103" y="13"/>
                    <a:pt x="103" y="13"/>
                  </a:cubicBezTo>
                  <a:cubicBezTo>
                    <a:pt x="103" y="6"/>
                    <a:pt x="97" y="0"/>
                    <a:pt x="89" y="0"/>
                  </a:cubicBezTo>
                  <a:moveTo>
                    <a:pt x="52" y="187"/>
                  </a:moveTo>
                  <a:cubicBezTo>
                    <a:pt x="45" y="187"/>
                    <a:pt x="40" y="181"/>
                    <a:pt x="40" y="175"/>
                  </a:cubicBezTo>
                  <a:cubicBezTo>
                    <a:pt x="40" y="168"/>
                    <a:pt x="45" y="163"/>
                    <a:pt x="52" y="163"/>
                  </a:cubicBezTo>
                  <a:cubicBezTo>
                    <a:pt x="58" y="163"/>
                    <a:pt x="63" y="168"/>
                    <a:pt x="63" y="175"/>
                  </a:cubicBezTo>
                  <a:cubicBezTo>
                    <a:pt x="63" y="181"/>
                    <a:pt x="58" y="187"/>
                    <a:pt x="52" y="18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24"/>
            <p:cNvSpPr>
              <a:spLocks noEditPoints="1"/>
            </p:cNvSpPr>
            <p:nvPr/>
          </p:nvSpPr>
          <p:spPr bwMode="black">
            <a:xfrm>
              <a:off x="2462213" y="3032126"/>
              <a:ext cx="525463" cy="804863"/>
            </a:xfrm>
            <a:custGeom>
              <a:avLst/>
              <a:gdLst>
                <a:gd name="T0" fmla="*/ 109 w 140"/>
                <a:gd name="T1" fmla="*/ 0 h 215"/>
                <a:gd name="T2" fmla="*/ 31 w 140"/>
                <a:gd name="T3" fmla="*/ 0 h 215"/>
                <a:gd name="T4" fmla="*/ 0 w 140"/>
                <a:gd name="T5" fmla="*/ 30 h 215"/>
                <a:gd name="T6" fmla="*/ 0 w 140"/>
                <a:gd name="T7" fmla="*/ 184 h 215"/>
                <a:gd name="T8" fmla="*/ 31 w 140"/>
                <a:gd name="T9" fmla="*/ 215 h 215"/>
                <a:gd name="T10" fmla="*/ 109 w 140"/>
                <a:gd name="T11" fmla="*/ 215 h 215"/>
                <a:gd name="T12" fmla="*/ 140 w 140"/>
                <a:gd name="T13" fmla="*/ 184 h 215"/>
                <a:gd name="T14" fmla="*/ 140 w 140"/>
                <a:gd name="T15" fmla="*/ 30 h 215"/>
                <a:gd name="T16" fmla="*/ 109 w 140"/>
                <a:gd name="T17" fmla="*/ 0 h 215"/>
                <a:gd name="T18" fmla="*/ 122 w 140"/>
                <a:gd name="T19" fmla="*/ 177 h 215"/>
                <a:gd name="T20" fmla="*/ 109 w 140"/>
                <a:gd name="T21" fmla="*/ 195 h 215"/>
                <a:gd name="T22" fmla="*/ 31 w 140"/>
                <a:gd name="T23" fmla="*/ 195 h 215"/>
                <a:gd name="T24" fmla="*/ 18 w 140"/>
                <a:gd name="T25" fmla="*/ 177 h 215"/>
                <a:gd name="T26" fmla="*/ 18 w 140"/>
                <a:gd name="T27" fmla="*/ 35 h 215"/>
                <a:gd name="T28" fmla="*/ 31 w 140"/>
                <a:gd name="T29" fmla="*/ 18 h 215"/>
                <a:gd name="T30" fmla="*/ 109 w 140"/>
                <a:gd name="T31" fmla="*/ 18 h 215"/>
                <a:gd name="T32" fmla="*/ 122 w 140"/>
                <a:gd name="T33" fmla="*/ 35 h 215"/>
                <a:gd name="T34" fmla="*/ 122 w 140"/>
                <a:gd name="T35" fmla="*/ 17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215">
                  <a:moveTo>
                    <a:pt x="109" y="0"/>
                  </a:moveTo>
                  <a:cubicBezTo>
                    <a:pt x="31" y="0"/>
                    <a:pt x="31" y="0"/>
                    <a:pt x="31" y="0"/>
                  </a:cubicBezTo>
                  <a:cubicBezTo>
                    <a:pt x="14" y="0"/>
                    <a:pt x="0" y="13"/>
                    <a:pt x="0" y="30"/>
                  </a:cubicBezTo>
                  <a:cubicBezTo>
                    <a:pt x="0" y="184"/>
                    <a:pt x="0" y="184"/>
                    <a:pt x="0" y="184"/>
                  </a:cubicBezTo>
                  <a:cubicBezTo>
                    <a:pt x="0" y="201"/>
                    <a:pt x="14" y="215"/>
                    <a:pt x="31" y="215"/>
                  </a:cubicBezTo>
                  <a:cubicBezTo>
                    <a:pt x="109" y="215"/>
                    <a:pt x="109" y="215"/>
                    <a:pt x="109" y="215"/>
                  </a:cubicBezTo>
                  <a:cubicBezTo>
                    <a:pt x="126" y="215"/>
                    <a:pt x="140" y="201"/>
                    <a:pt x="140" y="184"/>
                  </a:cubicBezTo>
                  <a:cubicBezTo>
                    <a:pt x="140" y="30"/>
                    <a:pt x="140" y="30"/>
                    <a:pt x="140" y="30"/>
                  </a:cubicBezTo>
                  <a:cubicBezTo>
                    <a:pt x="140" y="13"/>
                    <a:pt x="126" y="0"/>
                    <a:pt x="109" y="0"/>
                  </a:cubicBezTo>
                  <a:moveTo>
                    <a:pt x="122" y="177"/>
                  </a:moveTo>
                  <a:cubicBezTo>
                    <a:pt x="122" y="187"/>
                    <a:pt x="116" y="195"/>
                    <a:pt x="109" y="195"/>
                  </a:cubicBezTo>
                  <a:cubicBezTo>
                    <a:pt x="31" y="195"/>
                    <a:pt x="31" y="195"/>
                    <a:pt x="31" y="195"/>
                  </a:cubicBezTo>
                  <a:cubicBezTo>
                    <a:pt x="24" y="195"/>
                    <a:pt x="18" y="187"/>
                    <a:pt x="18" y="177"/>
                  </a:cubicBezTo>
                  <a:cubicBezTo>
                    <a:pt x="18" y="35"/>
                    <a:pt x="18" y="35"/>
                    <a:pt x="18" y="35"/>
                  </a:cubicBezTo>
                  <a:cubicBezTo>
                    <a:pt x="18" y="26"/>
                    <a:pt x="24" y="18"/>
                    <a:pt x="31" y="18"/>
                  </a:cubicBezTo>
                  <a:cubicBezTo>
                    <a:pt x="109" y="18"/>
                    <a:pt x="109" y="18"/>
                    <a:pt x="109" y="18"/>
                  </a:cubicBezTo>
                  <a:cubicBezTo>
                    <a:pt x="116" y="18"/>
                    <a:pt x="122" y="26"/>
                    <a:pt x="122" y="35"/>
                  </a:cubicBezTo>
                  <a:lnTo>
                    <a:pt x="122" y="1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25"/>
            <p:cNvSpPr>
              <a:spLocks noEditPoints="1"/>
            </p:cNvSpPr>
            <p:nvPr/>
          </p:nvSpPr>
          <p:spPr bwMode="black">
            <a:xfrm>
              <a:off x="5049838" y="4411663"/>
              <a:ext cx="739775" cy="854075"/>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26"/>
            <p:cNvSpPr>
              <a:spLocks noEditPoints="1"/>
            </p:cNvSpPr>
            <p:nvPr/>
          </p:nvSpPr>
          <p:spPr bwMode="black">
            <a:xfrm>
              <a:off x="6043613" y="2960688"/>
              <a:ext cx="641350" cy="876300"/>
            </a:xfrm>
            <a:custGeom>
              <a:avLst/>
              <a:gdLst>
                <a:gd name="T0" fmla="*/ 146 w 171"/>
                <a:gd name="T1" fmla="*/ 0 h 234"/>
                <a:gd name="T2" fmla="*/ 25 w 171"/>
                <a:gd name="T3" fmla="*/ 0 h 234"/>
                <a:gd name="T4" fmla="*/ 0 w 171"/>
                <a:gd name="T5" fmla="*/ 25 h 234"/>
                <a:gd name="T6" fmla="*/ 0 w 171"/>
                <a:gd name="T7" fmla="*/ 209 h 234"/>
                <a:gd name="T8" fmla="*/ 25 w 171"/>
                <a:gd name="T9" fmla="*/ 234 h 234"/>
                <a:gd name="T10" fmla="*/ 146 w 171"/>
                <a:gd name="T11" fmla="*/ 234 h 234"/>
                <a:gd name="T12" fmla="*/ 171 w 171"/>
                <a:gd name="T13" fmla="*/ 209 h 234"/>
                <a:gd name="T14" fmla="*/ 171 w 171"/>
                <a:gd name="T15" fmla="*/ 25 h 234"/>
                <a:gd name="T16" fmla="*/ 146 w 171"/>
                <a:gd name="T17" fmla="*/ 0 h 234"/>
                <a:gd name="T18" fmla="*/ 157 w 171"/>
                <a:gd name="T19" fmla="*/ 183 h 234"/>
                <a:gd name="T20" fmla="*/ 146 w 171"/>
                <a:gd name="T21" fmla="*/ 193 h 234"/>
                <a:gd name="T22" fmla="*/ 25 w 171"/>
                <a:gd name="T23" fmla="*/ 193 h 234"/>
                <a:gd name="T24" fmla="*/ 15 w 171"/>
                <a:gd name="T25" fmla="*/ 183 h 234"/>
                <a:gd name="T26" fmla="*/ 15 w 171"/>
                <a:gd name="T27" fmla="*/ 25 h 234"/>
                <a:gd name="T28" fmla="*/ 25 w 171"/>
                <a:gd name="T29" fmla="*/ 14 h 234"/>
                <a:gd name="T30" fmla="*/ 146 w 171"/>
                <a:gd name="T31" fmla="*/ 14 h 234"/>
                <a:gd name="T32" fmla="*/ 157 w 171"/>
                <a:gd name="T33" fmla="*/ 25 h 234"/>
                <a:gd name="T34" fmla="*/ 157 w 171"/>
                <a:gd name="T35" fmla="*/ 18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234">
                  <a:moveTo>
                    <a:pt x="146" y="0"/>
                  </a:moveTo>
                  <a:cubicBezTo>
                    <a:pt x="25" y="0"/>
                    <a:pt x="25" y="0"/>
                    <a:pt x="25" y="0"/>
                  </a:cubicBezTo>
                  <a:cubicBezTo>
                    <a:pt x="11" y="0"/>
                    <a:pt x="0" y="11"/>
                    <a:pt x="0" y="25"/>
                  </a:cubicBezTo>
                  <a:cubicBezTo>
                    <a:pt x="0" y="209"/>
                    <a:pt x="0" y="209"/>
                    <a:pt x="0" y="209"/>
                  </a:cubicBezTo>
                  <a:cubicBezTo>
                    <a:pt x="0" y="223"/>
                    <a:pt x="11" y="234"/>
                    <a:pt x="25" y="234"/>
                  </a:cubicBezTo>
                  <a:cubicBezTo>
                    <a:pt x="146" y="234"/>
                    <a:pt x="146" y="234"/>
                    <a:pt x="146" y="234"/>
                  </a:cubicBezTo>
                  <a:cubicBezTo>
                    <a:pt x="160" y="234"/>
                    <a:pt x="171" y="223"/>
                    <a:pt x="171" y="209"/>
                  </a:cubicBezTo>
                  <a:cubicBezTo>
                    <a:pt x="171" y="25"/>
                    <a:pt x="171" y="25"/>
                    <a:pt x="171" y="25"/>
                  </a:cubicBezTo>
                  <a:cubicBezTo>
                    <a:pt x="171" y="11"/>
                    <a:pt x="160" y="0"/>
                    <a:pt x="146" y="0"/>
                  </a:cubicBezTo>
                  <a:moveTo>
                    <a:pt x="157" y="183"/>
                  </a:moveTo>
                  <a:cubicBezTo>
                    <a:pt x="157" y="188"/>
                    <a:pt x="152" y="193"/>
                    <a:pt x="146" y="193"/>
                  </a:cubicBezTo>
                  <a:cubicBezTo>
                    <a:pt x="25" y="193"/>
                    <a:pt x="25" y="193"/>
                    <a:pt x="25" y="193"/>
                  </a:cubicBezTo>
                  <a:cubicBezTo>
                    <a:pt x="19" y="193"/>
                    <a:pt x="15" y="188"/>
                    <a:pt x="15" y="183"/>
                  </a:cubicBezTo>
                  <a:cubicBezTo>
                    <a:pt x="15" y="25"/>
                    <a:pt x="15" y="25"/>
                    <a:pt x="15" y="25"/>
                  </a:cubicBezTo>
                  <a:cubicBezTo>
                    <a:pt x="15" y="19"/>
                    <a:pt x="19" y="14"/>
                    <a:pt x="25" y="14"/>
                  </a:cubicBezTo>
                  <a:cubicBezTo>
                    <a:pt x="146" y="14"/>
                    <a:pt x="146" y="14"/>
                    <a:pt x="146" y="14"/>
                  </a:cubicBezTo>
                  <a:cubicBezTo>
                    <a:pt x="152" y="14"/>
                    <a:pt x="157" y="19"/>
                    <a:pt x="157" y="25"/>
                  </a:cubicBezTo>
                  <a:lnTo>
                    <a:pt x="157" y="1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Oval 27"/>
            <p:cNvSpPr>
              <a:spLocks noChangeArrowheads="1"/>
            </p:cNvSpPr>
            <p:nvPr/>
          </p:nvSpPr>
          <p:spPr bwMode="black">
            <a:xfrm>
              <a:off x="62245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Oval 28"/>
            <p:cNvSpPr>
              <a:spLocks noChangeArrowheads="1"/>
            </p:cNvSpPr>
            <p:nvPr/>
          </p:nvSpPr>
          <p:spPr bwMode="black">
            <a:xfrm>
              <a:off x="64531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Oval 29"/>
            <p:cNvSpPr>
              <a:spLocks noChangeArrowheads="1"/>
            </p:cNvSpPr>
            <p:nvPr/>
          </p:nvSpPr>
          <p:spPr bwMode="black">
            <a:xfrm>
              <a:off x="6340476"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6" name="Freeform 30"/>
            <p:cNvSpPr>
              <a:spLocks/>
            </p:cNvSpPr>
            <p:nvPr/>
          </p:nvSpPr>
          <p:spPr bwMode="black">
            <a:xfrm>
              <a:off x="3425826" y="4279901"/>
              <a:ext cx="442913" cy="16192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7" name="Freeform 31"/>
            <p:cNvSpPr>
              <a:spLocks noEditPoints="1"/>
            </p:cNvSpPr>
            <p:nvPr/>
          </p:nvSpPr>
          <p:spPr bwMode="black">
            <a:xfrm>
              <a:off x="3414713" y="4456113"/>
              <a:ext cx="476250" cy="80962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
        <p:nvSpPr>
          <p:cNvPr id="43"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78"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6"/>
              </a:rPr>
              <a:t>www.rapidbbs.cn</a:t>
            </a:r>
            <a:endParaRPr lang="zh-CN" altLang="en-US" sz="1200" b="0">
              <a:latin typeface="Arial" charset="0"/>
              <a:ea typeface="ＭＳ Ｐゴシック" pitchFamily="34" charset="-128"/>
            </a:endParaRPr>
          </a:p>
        </p:txBody>
      </p:sp>
    </p:spTree>
    <p:extLst>
      <p:ext uri="{BB962C8B-B14F-4D97-AF65-F5344CB8AC3E}">
        <p14:creationId xmlns:p14="http://schemas.microsoft.com/office/powerpoint/2010/main" val="2567819185"/>
      </p:ext>
    </p:extLst>
  </p:cSld>
  <p:clrMapOvr>
    <a:masterClrMapping/>
  </p:clrMapOvr>
  <p:transition spd="slow">
    <p:wipe dir="r"/>
  </p:transition>
  <p:timing>
    <p:tnLst>
      <p:par>
        <p:cTn id="1" dur="indefinite" restart="never" nodeType="tmRoot"/>
      </p:par>
    </p:tnLst>
  </p:timing>
</p:sld>
</file>

<file path=ppt/slides/slide4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395772" y="1334421"/>
            <a:ext cx="2901690" cy="2898724"/>
          </a:xfrm>
          <a:prstGeom prst="rect">
            <a:avLst/>
          </a:prstGeom>
        </p:spPr>
      </p:pic>
      <p:sp>
        <p:nvSpPr>
          <p:cNvPr id="18" name="Rectangle 17"/>
          <p:cNvSpPr/>
          <p:nvPr/>
        </p:nvSpPr>
        <p:spPr bwMode="auto">
          <a:xfrm>
            <a:off x="6858596" y="1334420"/>
            <a:ext cx="1409147" cy="140878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6" tIns="34294" rIns="34294" bIns="68586" numCol="1" spcCol="0" rtlCol="0" fromWordArt="0" anchor="b" anchorCtr="0" forceAA="0" compatLnSpc="1">
            <a:prstTxWarp prst="textNoShape">
              <a:avLst/>
            </a:prstTxWarp>
            <a:noAutofit/>
          </a:bodyPr>
          <a:lstStyle/>
          <a:p>
            <a:pPr defTabSz="685637" fontAlgn="base">
              <a:spcBef>
                <a:spcPct val="0"/>
              </a:spcBef>
              <a:spcAft>
                <a:spcPct val="0"/>
              </a:spcAft>
            </a:pPr>
            <a:r>
              <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rPr>
              <a:t>Resiliency</a:t>
            </a: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6" name="Rectangle 35"/>
          <p:cNvSpPr/>
          <p:nvPr/>
        </p:nvSpPr>
        <p:spPr bwMode="auto">
          <a:xfrm>
            <a:off x="909931" y="2820607"/>
            <a:ext cx="1410051" cy="14096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6" tIns="34294" rIns="34294" bIns="68586" numCol="1" spcCol="0" rtlCol="0" fromWordArt="0" anchor="b" anchorCtr="0" forceAA="0" compatLnSpc="1">
            <a:prstTxWarp prst="textNoShape">
              <a:avLst/>
            </a:prstTxWarp>
            <a:noAutofit/>
          </a:bodyPr>
          <a:lstStyle/>
          <a:p>
            <a:pPr defTabSz="685637" fontAlgn="base">
              <a:spcBef>
                <a:spcPct val="0"/>
              </a:spcBef>
              <a:spcAft>
                <a:spcPct val="0"/>
              </a:spcAft>
            </a:pPr>
            <a:r>
              <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rPr>
              <a:t>Elasticity</a:t>
            </a: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7" name="Rectangle 36"/>
          <p:cNvSpPr/>
          <p:nvPr/>
        </p:nvSpPr>
        <p:spPr bwMode="auto">
          <a:xfrm>
            <a:off x="909931" y="1329706"/>
            <a:ext cx="1410051" cy="14096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6" tIns="34294" rIns="34294" bIns="68586" numCol="1" spcCol="0" rtlCol="0" fromWordArt="0" anchor="b" anchorCtr="0" forceAA="0" compatLnSpc="1">
            <a:prstTxWarp prst="textNoShape">
              <a:avLst/>
            </a:prstTxWarp>
            <a:noAutofit/>
          </a:bodyPr>
          <a:lstStyle/>
          <a:p>
            <a:pPr defTabSz="685637" fontAlgn="base">
              <a:spcBef>
                <a:spcPct val="0"/>
              </a:spcBef>
              <a:spcAft>
                <a:spcPct val="0"/>
              </a:spcAft>
            </a:pPr>
            <a:r>
              <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rPr>
              <a:t>Virtualization</a:t>
            </a: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3" name="Title 12"/>
          <p:cNvSpPr>
            <a:spLocks noGrp="1"/>
          </p:cNvSpPr>
          <p:nvPr>
            <p:ph type="title"/>
          </p:nvPr>
        </p:nvSpPr>
        <p:spPr/>
        <p:txBody>
          <a:bodyPr/>
          <a:lstStyle/>
          <a:p>
            <a:r>
              <a:rPr lang="en-US" dirty="0" smtClean="0"/>
              <a:t>Key concepts</a:t>
            </a:r>
            <a:endParaRPr lang="en-US" dirty="0">
              <a:gradFill flip="none" rotWithShape="1">
                <a:gsLst>
                  <a:gs pos="0">
                    <a:schemeClr val="accent2"/>
                  </a:gs>
                  <a:gs pos="100000">
                    <a:schemeClr val="accent2"/>
                  </a:gs>
                </a:gsLst>
                <a:lin ang="5400000" scaled="0"/>
                <a:tileRect/>
              </a:gradFill>
            </a:endParaRPr>
          </a:p>
        </p:txBody>
      </p:sp>
      <p:sp>
        <p:nvSpPr>
          <p:cNvPr id="6" name="Rectangle 5"/>
          <p:cNvSpPr/>
          <p:nvPr/>
        </p:nvSpPr>
        <p:spPr bwMode="auto">
          <a:xfrm>
            <a:off x="6859708" y="2818708"/>
            <a:ext cx="1409147" cy="140878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6" tIns="34294" rIns="34294" bIns="68586" numCol="1" spcCol="0" rtlCol="0" fromWordArt="0" anchor="b" anchorCtr="0" forceAA="0" compatLnSpc="1">
            <a:prstTxWarp prst="textNoShape">
              <a:avLst/>
            </a:prstTxWarp>
            <a:noAutofit/>
          </a:bodyPr>
          <a:lstStyle/>
          <a:p>
            <a:pPr defTabSz="685637" fontAlgn="base">
              <a:spcBef>
                <a:spcPct val="0"/>
              </a:spcBef>
              <a:spcAft>
                <a:spcPct val="0"/>
              </a:spcAft>
            </a:pPr>
            <a:r>
              <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rPr>
              <a:t>Automation</a:t>
            </a: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7" name="Rectangle 6"/>
          <p:cNvSpPr/>
          <p:nvPr/>
        </p:nvSpPr>
        <p:spPr bwMode="auto">
          <a:xfrm>
            <a:off x="5373454" y="1328765"/>
            <a:ext cx="1409147" cy="140878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6" tIns="34294" rIns="34294" bIns="68586" numCol="1" spcCol="0" rtlCol="0" fromWordArt="0" anchor="b" anchorCtr="0" forceAA="0" compatLnSpc="1">
            <a:prstTxWarp prst="textNoShape">
              <a:avLst/>
            </a:prstTxWarp>
            <a:noAutofit/>
          </a:bodyPr>
          <a:lstStyle/>
          <a:p>
            <a:pPr defTabSz="685637" fontAlgn="base">
              <a:spcBef>
                <a:spcPct val="0"/>
              </a:spcBef>
              <a:spcAft>
                <a:spcPct val="0"/>
              </a:spcAft>
            </a:pPr>
            <a:r>
              <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rPr>
              <a:t>Homogenization</a:t>
            </a: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8" name="Rectangle 7"/>
          <p:cNvSpPr/>
          <p:nvPr/>
        </p:nvSpPr>
        <p:spPr bwMode="auto">
          <a:xfrm>
            <a:off x="5373454" y="2818709"/>
            <a:ext cx="1409147" cy="140878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6" tIns="34294" rIns="34294" bIns="68586" numCol="1" spcCol="0" rtlCol="0" fromWordArt="0" anchor="b" anchorCtr="0" forceAA="0" compatLnSpc="1">
            <a:prstTxWarp prst="textNoShape">
              <a:avLst/>
            </a:prstTxWarp>
            <a:noAutofit/>
          </a:bodyPr>
          <a:lstStyle/>
          <a:p>
            <a:pPr defTabSz="685637" fontAlgn="base">
              <a:spcBef>
                <a:spcPct val="0"/>
              </a:spcBef>
              <a:spcAft>
                <a:spcPct val="0"/>
              </a:spcAft>
            </a:pPr>
            <a:r>
              <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rPr>
              <a:t>Real-time Health</a:t>
            </a: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0"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1"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4"/>
              </a:rPr>
              <a:t>www.rapidbbs.cn</a:t>
            </a:r>
            <a:endParaRPr lang="zh-CN" altLang="en-US" sz="1200" b="0">
              <a:latin typeface="Arial" charset="0"/>
              <a:ea typeface="ＭＳ Ｐゴシック" pitchFamily="34" charset="-128"/>
            </a:endParaRPr>
          </a:p>
        </p:txBody>
      </p:sp>
      <p:pic>
        <p:nvPicPr>
          <p:cNvPr id="12" name="Picture 2">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67166375"/>
      </p:ext>
    </p:extLst>
  </p:cSld>
  <p:clrMapOvr>
    <a:masterClrMapping/>
  </p:clrMapOvr>
  <p:transition spd="slow">
    <p:wipe dir="r"/>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78751" y="1956534"/>
            <a:ext cx="3573422" cy="457048"/>
          </a:xfrm>
        </p:spPr>
        <p:txBody>
          <a:bodyPr/>
          <a:lstStyle/>
          <a:p>
            <a:pPr algn="r"/>
            <a:r>
              <a:rPr lang="en-US" dirty="0">
                <a:solidFill>
                  <a:schemeClr val="tx1"/>
                </a:solidFill>
              </a:rPr>
              <a:t>cloud data services</a:t>
            </a:r>
            <a:endParaRPr lang="en-US" dirty="0">
              <a:solidFill>
                <a:schemeClr val="bg1"/>
              </a:solidFill>
            </a:endParaRPr>
          </a:p>
        </p:txBody>
      </p:sp>
      <p:grpSp>
        <p:nvGrpSpPr>
          <p:cNvPr id="37" name="Group 36"/>
          <p:cNvGrpSpPr/>
          <p:nvPr/>
        </p:nvGrpSpPr>
        <p:grpSpPr>
          <a:xfrm>
            <a:off x="4265208" y="467038"/>
            <a:ext cx="1422788" cy="1329482"/>
            <a:chOff x="5665775" y="2466267"/>
            <a:chExt cx="1896557" cy="1772642"/>
          </a:xfrm>
          <a:solidFill>
            <a:schemeClr val="accent1"/>
          </a:solidFill>
        </p:grpSpPr>
        <p:sp>
          <p:nvSpPr>
            <p:cNvPr id="17" name="Rectangle 16"/>
            <p:cNvSpPr/>
            <p:nvPr/>
          </p:nvSpPr>
          <p:spPr bwMode="auto">
            <a:xfrm>
              <a:off x="5665775" y="2466267"/>
              <a:ext cx="1896557" cy="177264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495" fontAlgn="base">
                <a:spcBef>
                  <a:spcPct val="0"/>
                </a:spcBef>
                <a:spcAft>
                  <a:spcPct val="0"/>
                </a:spcAft>
              </a:pPr>
              <a:r>
                <a:rPr lang="en-US" dirty="0" smtClean="0">
                  <a:gradFill>
                    <a:gsLst>
                      <a:gs pos="0">
                        <a:srgbClr val="FFFFFF"/>
                      </a:gs>
                      <a:gs pos="100000">
                        <a:srgbClr val="FFFFFF"/>
                      </a:gs>
                    </a:gsLst>
                    <a:lin ang="5400000" scaled="0"/>
                  </a:gradFill>
                </a:rPr>
                <a:t>storage</a:t>
              </a:r>
            </a:p>
          </p:txBody>
        </p:sp>
        <p:pic>
          <p:nvPicPr>
            <p:cNvPr id="1026" name="Picture 2" descr="C:\Users\Jonahs\Dropbox\Projects SCOTT\MEET Windows Azure\source\Background\tile-icon-storag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88309" y="2751666"/>
              <a:ext cx="851488" cy="851488"/>
            </a:xfrm>
            <a:prstGeom prst="rect">
              <a:avLst/>
            </a:prstGeom>
            <a:grpFill/>
            <a:extLst/>
          </p:spPr>
        </p:pic>
      </p:grpSp>
      <p:grpSp>
        <p:nvGrpSpPr>
          <p:cNvPr id="2" name="Group 1"/>
          <p:cNvGrpSpPr/>
          <p:nvPr/>
        </p:nvGrpSpPr>
        <p:grpSpPr>
          <a:xfrm>
            <a:off x="1303596" y="467038"/>
            <a:ext cx="1422788" cy="1329482"/>
            <a:chOff x="1685919" y="596839"/>
            <a:chExt cx="1896557" cy="1772642"/>
          </a:xfrm>
          <a:solidFill>
            <a:schemeClr val="accent1"/>
          </a:solidFill>
        </p:grpSpPr>
        <p:sp>
          <p:nvSpPr>
            <p:cNvPr id="8" name="Rectangle 7"/>
            <p:cNvSpPr/>
            <p:nvPr/>
          </p:nvSpPr>
          <p:spPr bwMode="auto">
            <a:xfrm>
              <a:off x="1685919" y="596839"/>
              <a:ext cx="1896557" cy="177264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495" fontAlgn="base">
                <a:spcBef>
                  <a:spcPct val="0"/>
                </a:spcBef>
                <a:spcAft>
                  <a:spcPct val="0"/>
                </a:spcAft>
              </a:pPr>
              <a:r>
                <a:rPr lang="en-US" dirty="0" smtClean="0">
                  <a:gradFill>
                    <a:gsLst>
                      <a:gs pos="0">
                        <a:srgbClr val="FFFFFF"/>
                      </a:gs>
                      <a:gs pos="100000">
                        <a:srgbClr val="FFFFFF"/>
                      </a:gs>
                    </a:gsLst>
                    <a:lin ang="5400000" scaled="0"/>
                  </a:gradFill>
                </a:rPr>
                <a:t>big data</a:t>
              </a:r>
            </a:p>
          </p:txBody>
        </p:sp>
        <p:pic>
          <p:nvPicPr>
            <p:cNvPr id="1027" name="Picture 3" descr="C:\Users\Jonahs\Dropbox\Projects SCOTT\MEET Windows Azure\source\Background\tile-icon-bigdata.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52075" y="926787"/>
              <a:ext cx="851488" cy="851488"/>
            </a:xfrm>
            <a:prstGeom prst="rect">
              <a:avLst/>
            </a:prstGeom>
            <a:grpFill/>
            <a:extLst/>
          </p:spPr>
        </p:pic>
      </p:grpSp>
      <p:grpSp>
        <p:nvGrpSpPr>
          <p:cNvPr id="36" name="Group 35"/>
          <p:cNvGrpSpPr/>
          <p:nvPr/>
        </p:nvGrpSpPr>
        <p:grpSpPr>
          <a:xfrm>
            <a:off x="4265208" y="1850974"/>
            <a:ext cx="1422788" cy="1329482"/>
            <a:chOff x="3671322" y="4341709"/>
            <a:chExt cx="1896557" cy="1772642"/>
          </a:xfrm>
        </p:grpSpPr>
        <p:sp>
          <p:nvSpPr>
            <p:cNvPr id="26" name="Rectangle 25"/>
            <p:cNvSpPr/>
            <p:nvPr/>
          </p:nvSpPr>
          <p:spPr bwMode="auto">
            <a:xfrm>
              <a:off x="3671322" y="4341709"/>
              <a:ext cx="1896557" cy="1772642"/>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182880" tIns="91440" rIns="91436" bIns="182880" numCol="1" rtlCol="0" anchor="b" anchorCtr="0" compatLnSpc="1">
              <a:prstTxWarp prst="textNoShape">
                <a:avLst/>
              </a:prstTxWarp>
            </a:bodyPr>
            <a:lstStyle/>
            <a:p>
              <a:pPr algn="ctr" defTabSz="685495" fontAlgn="base">
                <a:spcBef>
                  <a:spcPct val="0"/>
                </a:spcBef>
                <a:spcAft>
                  <a:spcPct val="0"/>
                </a:spcAft>
              </a:pPr>
              <a:r>
                <a:rPr lang="en-US" dirty="0" smtClean="0">
                  <a:gradFill>
                    <a:gsLst>
                      <a:gs pos="0">
                        <a:srgbClr val="FFFFFF"/>
                      </a:gs>
                      <a:gs pos="100000">
                        <a:srgbClr val="FFFFFF"/>
                      </a:gs>
                    </a:gsLst>
                    <a:lin ang="5400000" scaled="0"/>
                  </a:gradFill>
                </a:rPr>
                <a:t>caching</a:t>
              </a:r>
            </a:p>
          </p:txBody>
        </p:sp>
        <p:pic>
          <p:nvPicPr>
            <p:cNvPr id="1028" name="Picture 4" descr="C:\Users\Jonahs\Dropbox\Projects SCOTT\MEET Windows Azure\source\Background\tile-icon-cach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93856" y="464308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oup 37"/>
          <p:cNvGrpSpPr/>
          <p:nvPr/>
        </p:nvGrpSpPr>
        <p:grpSpPr>
          <a:xfrm>
            <a:off x="4265208" y="3236875"/>
            <a:ext cx="1422788" cy="1329482"/>
            <a:chOff x="5656726" y="4341709"/>
            <a:chExt cx="1896557" cy="1772642"/>
          </a:xfrm>
        </p:grpSpPr>
        <p:sp>
          <p:nvSpPr>
            <p:cNvPr id="29" name="Rectangle 28"/>
            <p:cNvSpPr/>
            <p:nvPr/>
          </p:nvSpPr>
          <p:spPr bwMode="auto">
            <a:xfrm>
              <a:off x="5656726" y="4341709"/>
              <a:ext cx="1896557" cy="1772642"/>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182880" tIns="91440" rIns="91436" bIns="182880" numCol="1" rtlCol="0" anchor="b" anchorCtr="0" compatLnSpc="1">
              <a:prstTxWarp prst="textNoShape">
                <a:avLst/>
              </a:prstTxWarp>
            </a:bodyPr>
            <a:lstStyle/>
            <a:p>
              <a:pPr algn="ctr" defTabSz="685495" fontAlgn="base">
                <a:spcBef>
                  <a:spcPct val="0"/>
                </a:spcBef>
                <a:spcAft>
                  <a:spcPct val="0"/>
                </a:spcAft>
              </a:pPr>
              <a:r>
                <a:rPr lang="en-US" dirty="0" smtClean="0">
                  <a:gradFill>
                    <a:gsLst>
                      <a:gs pos="0">
                        <a:srgbClr val="FFFFFF"/>
                      </a:gs>
                      <a:gs pos="100000">
                        <a:srgbClr val="FFFFFF"/>
                      </a:gs>
                    </a:gsLst>
                    <a:lin ang="5400000" scaled="0"/>
                  </a:gradFill>
                </a:rPr>
                <a:t>CDN</a:t>
              </a:r>
            </a:p>
          </p:txBody>
        </p:sp>
        <p:pic>
          <p:nvPicPr>
            <p:cNvPr id="1029" name="Picture 5" descr="C:\Users\Jonahs\Dropbox\Projects SCOTT\MEET Windows Azure\source\Background\tile-icon-CDN.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79260"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p:cNvGrpSpPr/>
          <p:nvPr/>
        </p:nvGrpSpPr>
        <p:grpSpPr>
          <a:xfrm>
            <a:off x="2784402" y="467038"/>
            <a:ext cx="1422788" cy="1329482"/>
            <a:chOff x="3671323" y="596839"/>
            <a:chExt cx="1896557" cy="1772642"/>
          </a:xfrm>
          <a:solidFill>
            <a:schemeClr val="accent1"/>
          </a:solidFill>
        </p:grpSpPr>
        <p:sp>
          <p:nvSpPr>
            <p:cNvPr id="11" name="Rectangle 10"/>
            <p:cNvSpPr/>
            <p:nvPr/>
          </p:nvSpPr>
          <p:spPr bwMode="auto">
            <a:xfrm>
              <a:off x="3671323" y="596839"/>
              <a:ext cx="1896557" cy="177264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495" fontAlgn="base">
                <a:spcBef>
                  <a:spcPct val="0"/>
                </a:spcBef>
                <a:spcAft>
                  <a:spcPct val="0"/>
                </a:spcAft>
              </a:pPr>
              <a:r>
                <a:rPr lang="en-US" dirty="0" smtClean="0">
                  <a:gradFill>
                    <a:gsLst>
                      <a:gs pos="0">
                        <a:srgbClr val="FFFFFF"/>
                      </a:gs>
                      <a:gs pos="100000">
                        <a:srgbClr val="FFFFFF"/>
                      </a:gs>
                    </a:gsLst>
                    <a:lin ang="5400000" scaled="0"/>
                  </a:gradFill>
                </a:rPr>
                <a:t>database</a:t>
              </a:r>
            </a:p>
          </p:txBody>
        </p:sp>
        <p:pic>
          <p:nvPicPr>
            <p:cNvPr id="1030" name="Picture 6" descr="C:\Users\Jonahs\Dropbox\Projects SCOTT\MEET Windows Azure\source\Background\tile-icon-database.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93856" y="926787"/>
              <a:ext cx="851488" cy="851488"/>
            </a:xfrm>
            <a:prstGeom prst="rect">
              <a:avLst/>
            </a:prstGeom>
            <a:grpFill/>
            <a:extLst/>
          </p:spPr>
        </p:pic>
      </p:grpSp>
      <p:grpSp>
        <p:nvGrpSpPr>
          <p:cNvPr id="6" name="Group 5"/>
          <p:cNvGrpSpPr/>
          <p:nvPr/>
        </p:nvGrpSpPr>
        <p:grpSpPr>
          <a:xfrm>
            <a:off x="7223167" y="1850974"/>
            <a:ext cx="1422788" cy="1329482"/>
            <a:chOff x="9645631" y="2476591"/>
            <a:chExt cx="1896557" cy="1772642"/>
          </a:xfrm>
        </p:grpSpPr>
        <p:sp>
          <p:nvSpPr>
            <p:cNvPr id="23" name="Rectangle 22"/>
            <p:cNvSpPr/>
            <p:nvPr/>
          </p:nvSpPr>
          <p:spPr bwMode="auto">
            <a:xfrm>
              <a:off x="9645631" y="2476591"/>
              <a:ext cx="1896557" cy="1772642"/>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182880" tIns="91440" rIns="91436" bIns="182880" numCol="1" rtlCol="0" anchor="b" anchorCtr="0" compatLnSpc="1">
              <a:prstTxWarp prst="textNoShape">
                <a:avLst/>
              </a:prstTxWarp>
            </a:bodyPr>
            <a:lstStyle/>
            <a:p>
              <a:pPr algn="ctr" defTabSz="685495" fontAlgn="base">
                <a:spcBef>
                  <a:spcPct val="0"/>
                </a:spcBef>
                <a:spcAft>
                  <a:spcPct val="0"/>
                </a:spcAft>
              </a:pPr>
              <a:r>
                <a:rPr lang="en-US" dirty="0" smtClean="0">
                  <a:gradFill>
                    <a:gsLst>
                      <a:gs pos="0">
                        <a:srgbClr val="FFFFFF"/>
                      </a:gs>
                      <a:gs pos="100000">
                        <a:srgbClr val="FFFFFF"/>
                      </a:gs>
                    </a:gsLst>
                    <a:lin ang="5400000" scaled="0"/>
                  </a:gradFill>
                </a:rPr>
                <a:t>identity</a:t>
              </a:r>
            </a:p>
          </p:txBody>
        </p:sp>
        <p:pic>
          <p:nvPicPr>
            <p:cNvPr id="1031" name="Picture 7" descr="C:\Users\Jonahs\Dropbox\Projects SCOTT\MEET Windows Azure\source\Background\tile-icon-identity.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168165" y="270556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Group 4"/>
          <p:cNvGrpSpPr/>
          <p:nvPr/>
        </p:nvGrpSpPr>
        <p:grpSpPr>
          <a:xfrm>
            <a:off x="2784402" y="3236875"/>
            <a:ext cx="1422788" cy="1329482"/>
            <a:chOff x="5665775" y="596839"/>
            <a:chExt cx="1896557" cy="1772642"/>
          </a:xfrm>
        </p:grpSpPr>
        <p:sp>
          <p:nvSpPr>
            <p:cNvPr id="14" name="Rectangle 13"/>
            <p:cNvSpPr/>
            <p:nvPr/>
          </p:nvSpPr>
          <p:spPr bwMode="auto">
            <a:xfrm>
              <a:off x="5665775" y="596839"/>
              <a:ext cx="1896557" cy="1772642"/>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182880" tIns="91440" rIns="91436" bIns="182880" numCol="1" rtlCol="0" anchor="b" anchorCtr="0" compatLnSpc="1">
              <a:prstTxWarp prst="textNoShape">
                <a:avLst/>
              </a:prstTxWarp>
            </a:bodyPr>
            <a:lstStyle/>
            <a:p>
              <a:pPr algn="ctr" defTabSz="685495" fontAlgn="base">
                <a:spcBef>
                  <a:spcPct val="0"/>
                </a:spcBef>
                <a:spcAft>
                  <a:spcPct val="0"/>
                </a:spcAft>
              </a:pPr>
              <a:r>
                <a:rPr lang="en-US" dirty="0" smtClean="0">
                  <a:gradFill>
                    <a:gsLst>
                      <a:gs pos="0">
                        <a:srgbClr val="FFFFFF"/>
                      </a:gs>
                      <a:gs pos="100000">
                        <a:srgbClr val="FFFFFF"/>
                      </a:gs>
                    </a:gsLst>
                    <a:lin ang="5400000" scaled="0"/>
                  </a:gradFill>
                </a:rPr>
                <a:t>media</a:t>
              </a:r>
            </a:p>
          </p:txBody>
        </p:sp>
        <p:pic>
          <p:nvPicPr>
            <p:cNvPr id="1032" name="Picture 8" descr="C:\Users\Jonahs\Dropbox\Projects SCOTT\MEET Windows Azure\source\Background\tile-icon-media.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88309" y="89821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5" name="Group 34"/>
          <p:cNvGrpSpPr/>
          <p:nvPr/>
        </p:nvGrpSpPr>
        <p:grpSpPr>
          <a:xfrm>
            <a:off x="5746015" y="1849702"/>
            <a:ext cx="1422788" cy="1329482"/>
            <a:chOff x="7651179" y="2466267"/>
            <a:chExt cx="1896557" cy="1772642"/>
          </a:xfrm>
        </p:grpSpPr>
        <p:sp>
          <p:nvSpPr>
            <p:cNvPr id="20" name="Rectangle 19"/>
            <p:cNvSpPr/>
            <p:nvPr/>
          </p:nvSpPr>
          <p:spPr bwMode="auto">
            <a:xfrm>
              <a:off x="7651179" y="2466267"/>
              <a:ext cx="1896557" cy="1772642"/>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182880" tIns="91440" rIns="91436" bIns="182880" numCol="1" rtlCol="0" anchor="b" anchorCtr="0" compatLnSpc="1">
              <a:prstTxWarp prst="textNoShape">
                <a:avLst/>
              </a:prstTxWarp>
            </a:bodyPr>
            <a:lstStyle/>
            <a:p>
              <a:pPr algn="ctr" defTabSz="685495" fontAlgn="base">
                <a:spcBef>
                  <a:spcPct val="0"/>
                </a:spcBef>
                <a:spcAft>
                  <a:spcPct val="0"/>
                </a:spcAft>
              </a:pPr>
              <a:r>
                <a:rPr lang="en-US" dirty="0" smtClean="0">
                  <a:gradFill>
                    <a:gsLst>
                      <a:gs pos="0">
                        <a:srgbClr val="FFFFFF"/>
                      </a:gs>
                      <a:gs pos="100000">
                        <a:srgbClr val="FFFFFF"/>
                      </a:gs>
                    </a:gsLst>
                    <a:lin ang="5400000" scaled="0"/>
                  </a:gradFill>
                </a:rPr>
                <a:t>messaging</a:t>
              </a:r>
            </a:p>
          </p:txBody>
        </p:sp>
        <p:pic>
          <p:nvPicPr>
            <p:cNvPr id="1033" name="Picture 9" descr="C:\Users\Jonahs\Dropbox\Projects SCOTT\MEET Windows Azure\source\Background\tile-icon-messaging.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173712"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4" name="Group 33"/>
          <p:cNvGrpSpPr/>
          <p:nvPr/>
        </p:nvGrpSpPr>
        <p:grpSpPr>
          <a:xfrm>
            <a:off x="5746015" y="3236875"/>
            <a:ext cx="1422788" cy="1329482"/>
            <a:chOff x="7651178" y="4341709"/>
            <a:chExt cx="1896557" cy="1772642"/>
          </a:xfrm>
        </p:grpSpPr>
        <p:sp>
          <p:nvSpPr>
            <p:cNvPr id="32" name="Rectangle 31"/>
            <p:cNvSpPr/>
            <p:nvPr/>
          </p:nvSpPr>
          <p:spPr bwMode="auto">
            <a:xfrm>
              <a:off x="7651178" y="4341709"/>
              <a:ext cx="1896557" cy="1772642"/>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182880" tIns="91440" rIns="91436" bIns="182880" numCol="1" rtlCol="0" anchor="b" anchorCtr="0" compatLnSpc="1">
              <a:prstTxWarp prst="textNoShape">
                <a:avLst/>
              </a:prstTxWarp>
            </a:bodyPr>
            <a:lstStyle/>
            <a:p>
              <a:pPr algn="ctr" defTabSz="685495" fontAlgn="base">
                <a:spcBef>
                  <a:spcPct val="0"/>
                </a:spcBef>
                <a:spcAft>
                  <a:spcPct val="0"/>
                </a:spcAft>
              </a:pPr>
              <a:r>
                <a:rPr lang="en-US" dirty="0" smtClean="0">
                  <a:gradFill>
                    <a:gsLst>
                      <a:gs pos="0">
                        <a:srgbClr val="FFFFFF"/>
                      </a:gs>
                      <a:gs pos="100000">
                        <a:srgbClr val="FFFFFF"/>
                      </a:gs>
                    </a:gsLst>
                    <a:lin ang="5400000" scaled="0"/>
                  </a:gradFill>
                </a:rPr>
                <a:t>networking</a:t>
              </a:r>
            </a:p>
          </p:txBody>
        </p:sp>
        <p:pic>
          <p:nvPicPr>
            <p:cNvPr id="1034" name="Picture 10" descr="C:\Users\Jonahs\Dropbox\Projects SCOTT\MEET Windows Azure\source\Background\tile-icon-network.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173712"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oup 29"/>
          <p:cNvGrpSpPr/>
          <p:nvPr/>
        </p:nvGrpSpPr>
        <p:grpSpPr>
          <a:xfrm>
            <a:off x="5746015" y="467038"/>
            <a:ext cx="1422788" cy="1329482"/>
            <a:chOff x="5665775" y="2466267"/>
            <a:chExt cx="1896557" cy="1772642"/>
          </a:xfrm>
        </p:grpSpPr>
        <p:sp>
          <p:nvSpPr>
            <p:cNvPr id="31" name="Rectangle 30"/>
            <p:cNvSpPr/>
            <p:nvPr/>
          </p:nvSpPr>
          <p:spPr bwMode="auto">
            <a:xfrm>
              <a:off x="5665775" y="2466267"/>
              <a:ext cx="1896557" cy="1772642"/>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182880" tIns="91440" rIns="91436" bIns="182880" numCol="1" rtlCol="0" anchor="b" anchorCtr="0" compatLnSpc="1">
              <a:prstTxWarp prst="textNoShape">
                <a:avLst/>
              </a:prstTxWarp>
            </a:bodyPr>
            <a:lstStyle/>
            <a:p>
              <a:pPr algn="ctr" defTabSz="685495" fontAlgn="base">
                <a:spcBef>
                  <a:spcPct val="0"/>
                </a:spcBef>
                <a:spcAft>
                  <a:spcPct val="0"/>
                </a:spcAft>
              </a:pPr>
              <a:r>
                <a:rPr lang="en-US" dirty="0" smtClean="0">
                  <a:gradFill>
                    <a:gsLst>
                      <a:gs pos="0">
                        <a:srgbClr val="FFFFFF"/>
                      </a:gs>
                      <a:gs pos="100000">
                        <a:srgbClr val="FFFFFF"/>
                      </a:gs>
                    </a:gsLst>
                    <a:lin ang="5400000" scaled="0"/>
                  </a:gradFill>
                </a:rPr>
                <a:t>traffic</a:t>
              </a:r>
            </a:p>
          </p:txBody>
        </p:sp>
        <p:pic>
          <p:nvPicPr>
            <p:cNvPr id="33" name="Picture 2"/>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sp>
        <p:nvSpPr>
          <p:cNvPr id="39"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40"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3"/>
              </a:rPr>
              <a:t>www.rapidbbs.cn</a:t>
            </a:r>
            <a:endParaRPr lang="zh-CN" altLang="en-US" sz="1200" b="0">
              <a:latin typeface="Arial" charset="0"/>
              <a:ea typeface="ＭＳ Ｐゴシック" pitchFamily="34" charset="-128"/>
            </a:endParaRPr>
          </a:p>
        </p:txBody>
      </p:sp>
      <p:pic>
        <p:nvPicPr>
          <p:cNvPr id="41" name="Picture 2">
            <a:hlinkClick r:id="rId13"/>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25984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nodeType="withEffect">
                                  <p:stCondLst>
                                    <p:cond delay="10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nodeType="withEffect">
                                  <p:stCondLst>
                                    <p:cond delay="1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nodeType="withEffect">
                                  <p:stCondLst>
                                    <p:cond delay="20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nodeType="withEffect">
                                  <p:stCondLst>
                                    <p:cond delay="25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10" presetClass="entr" presetSubtype="0" fill="hold" nodeType="withEffect">
                                  <p:stCondLst>
                                    <p:cond delay="300"/>
                                  </p:stCondLst>
                                  <p:childTnLst>
                                    <p:set>
                                      <p:cBhvr>
                                        <p:cTn id="21" dur="1" fill="hold">
                                          <p:stCondLst>
                                            <p:cond delay="0"/>
                                          </p:stCondLst>
                                        </p:cTn>
                                        <p:tgtEl>
                                          <p:spTgt spid="34"/>
                                        </p:tgtEl>
                                        <p:attrNameLst>
                                          <p:attrName>style.visibility</p:attrName>
                                        </p:attrNameLst>
                                      </p:cBhvr>
                                      <p:to>
                                        <p:strVal val="visible"/>
                                      </p:to>
                                    </p:set>
                                    <p:animEffect transition="in" filter="fade">
                                      <p:cBhvr>
                                        <p:cTn id="22" dur="500"/>
                                        <p:tgtEl>
                                          <p:spTgt spid="34"/>
                                        </p:tgtEl>
                                      </p:cBhvr>
                                    </p:animEffect>
                                  </p:childTnLst>
                                </p:cTn>
                              </p:par>
                              <p:par>
                                <p:cTn id="23" presetID="10" presetClass="entr" presetSubtype="0" fill="hold" nodeType="withEffect">
                                  <p:stCondLst>
                                    <p:cond delay="35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par>
                                <p:cTn id="26" presetID="10" presetClass="entr" presetSubtype="0" fill="hold" nodeType="withEffect">
                                  <p:stCondLst>
                                    <p:cond delay="400"/>
                                  </p:stCondLst>
                                  <p:childTnLst>
                                    <p:set>
                                      <p:cBhvr>
                                        <p:cTn id="27" dur="1" fill="hold">
                                          <p:stCondLst>
                                            <p:cond delay="0"/>
                                          </p:stCondLst>
                                        </p:cTn>
                                        <p:tgtEl>
                                          <p:spTgt spid="36"/>
                                        </p:tgtEl>
                                        <p:attrNameLst>
                                          <p:attrName>style.visibility</p:attrName>
                                        </p:attrNameLst>
                                      </p:cBhvr>
                                      <p:to>
                                        <p:strVal val="visible"/>
                                      </p:to>
                                    </p:set>
                                    <p:animEffect transition="in" filter="fade">
                                      <p:cBhvr>
                                        <p:cTn id="28" dur="500"/>
                                        <p:tgtEl>
                                          <p:spTgt spid="36"/>
                                        </p:tgtEl>
                                      </p:cBhvr>
                                    </p:animEffect>
                                  </p:childTnLst>
                                </p:cTn>
                              </p:par>
                              <p:par>
                                <p:cTn id="29" presetID="10" presetClass="entr" presetSubtype="0" fill="hold" nodeType="withEffect">
                                  <p:stCondLst>
                                    <p:cond delay="45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nodeType="withEffect">
                                  <p:stCondLst>
                                    <p:cond delay="500"/>
                                  </p:stCondLst>
                                  <p:childTnLst>
                                    <p:set>
                                      <p:cBhvr>
                                        <p:cTn id="33" dur="1" fill="hold">
                                          <p:stCondLst>
                                            <p:cond delay="0"/>
                                          </p:stCondLst>
                                        </p:cTn>
                                        <p:tgtEl>
                                          <p:spTgt spid="30"/>
                                        </p:tgtEl>
                                        <p:attrNameLst>
                                          <p:attrName>style.visibility</p:attrName>
                                        </p:attrNameLst>
                                      </p:cBhvr>
                                      <p:to>
                                        <p:strVal val="visible"/>
                                      </p:to>
                                    </p:set>
                                    <p:animEffect transition="in" filter="fade">
                                      <p:cBhvr>
                                        <p:cTn id="34"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bwMode="auto">
          <a:xfrm>
            <a:off x="6859708" y="1327861"/>
            <a:ext cx="1409147" cy="140878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6" tIns="34294" rIns="34294" bIns="68586" numCol="1" spcCol="0" rtlCol="0" fromWordArt="0" anchor="b" anchorCtr="0" forceAA="0" compatLnSpc="1">
            <a:prstTxWarp prst="textNoShape">
              <a:avLst/>
            </a:prstTxWarp>
            <a:noAutofit/>
          </a:bodyPr>
          <a:lstStyle/>
          <a:p>
            <a:pPr defTabSz="685637" fontAlgn="base">
              <a:spcBef>
                <a:spcPct val="0"/>
              </a:spcBef>
              <a:spcAft>
                <a:spcPct val="0"/>
              </a:spcAft>
            </a:pPr>
            <a:r>
              <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rPr>
              <a:t>Unified management</a:t>
            </a: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6" name="Rectangle 35"/>
          <p:cNvSpPr/>
          <p:nvPr/>
        </p:nvSpPr>
        <p:spPr bwMode="auto">
          <a:xfrm>
            <a:off x="909931" y="2820607"/>
            <a:ext cx="1410051" cy="14096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6" tIns="34294" rIns="34294" bIns="68586" numCol="1" spcCol="0" rtlCol="0" fromWordArt="0" anchor="b" anchorCtr="0" forceAA="0" compatLnSpc="1">
            <a:prstTxWarp prst="textNoShape">
              <a:avLst/>
            </a:prstTxWarp>
            <a:noAutofit/>
          </a:bodyPr>
          <a:lstStyle/>
          <a:p>
            <a:pPr defTabSz="685637" fontAlgn="base">
              <a:spcBef>
                <a:spcPct val="0"/>
              </a:spcBef>
              <a:spcAft>
                <a:spcPct val="0"/>
              </a:spcAft>
            </a:pPr>
            <a:r>
              <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rPr>
              <a:t>Personalized devices</a:t>
            </a: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7" name="Rectangle 36"/>
          <p:cNvSpPr/>
          <p:nvPr/>
        </p:nvSpPr>
        <p:spPr bwMode="auto">
          <a:xfrm>
            <a:off x="909931" y="1329706"/>
            <a:ext cx="1410051" cy="14096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6" tIns="34294" rIns="34294" bIns="68586" numCol="1" spcCol="0" rtlCol="0" fromWordArt="0" anchor="b" anchorCtr="0" forceAA="0" compatLnSpc="1">
            <a:prstTxWarp prst="textNoShape">
              <a:avLst/>
            </a:prstTxWarp>
            <a:noAutofit/>
          </a:bodyPr>
          <a:lstStyle/>
          <a:p>
            <a:pPr defTabSz="685637" fontAlgn="base">
              <a:spcBef>
                <a:spcPct val="0"/>
              </a:spcBef>
              <a:spcAft>
                <a:spcPct val="0"/>
              </a:spcAft>
            </a:pPr>
            <a:r>
              <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rPr>
              <a:t>Anywhere connection</a:t>
            </a: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3" name="Title 12"/>
          <p:cNvSpPr>
            <a:spLocks noGrp="1"/>
          </p:cNvSpPr>
          <p:nvPr>
            <p:ph type="title"/>
          </p:nvPr>
        </p:nvSpPr>
        <p:spPr/>
        <p:txBody>
          <a:bodyPr/>
          <a:lstStyle/>
          <a:p>
            <a:r>
              <a:rPr lang="en-US" dirty="0" smtClean="0"/>
              <a:t>Flexible </a:t>
            </a:r>
            <a:r>
              <a:rPr lang="en-US" dirty="0" err="1" smtClean="0"/>
              <a:t>workstyle</a:t>
            </a:r>
            <a:r>
              <a:rPr lang="en-US" dirty="0" smtClean="0"/>
              <a:t> solutions</a:t>
            </a:r>
            <a:endParaRPr lang="en-US" dirty="0">
              <a:gradFill flip="none" rotWithShape="1">
                <a:gsLst>
                  <a:gs pos="0">
                    <a:schemeClr val="accent2"/>
                  </a:gs>
                  <a:gs pos="100000">
                    <a:schemeClr val="accent2"/>
                  </a:gs>
                </a:gsLst>
                <a:lin ang="5400000" scaled="0"/>
                <a:tileRect/>
              </a:gradFill>
            </a:endParaRPr>
          </a:p>
        </p:txBody>
      </p:sp>
      <p:sp>
        <p:nvSpPr>
          <p:cNvPr id="6" name="Rectangle 5"/>
          <p:cNvSpPr/>
          <p:nvPr/>
        </p:nvSpPr>
        <p:spPr bwMode="auto">
          <a:xfrm>
            <a:off x="6859708" y="2818708"/>
            <a:ext cx="1409147" cy="140878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6" tIns="34294" rIns="34294" bIns="68586" numCol="1" spcCol="0" rtlCol="0" fromWordArt="0" anchor="b" anchorCtr="0" forceAA="0" compatLnSpc="1">
            <a:prstTxWarp prst="textNoShape">
              <a:avLst/>
            </a:prstTxWarp>
            <a:noAutofit/>
          </a:bodyPr>
          <a:lstStyle/>
          <a:p>
            <a:pPr defTabSz="685637" fontAlgn="base">
              <a:spcBef>
                <a:spcPct val="0"/>
              </a:spcBef>
              <a:spcAft>
                <a:spcPct val="0"/>
              </a:spcAft>
            </a:pPr>
            <a:r>
              <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rPr>
              <a:t>VDI optimized</a:t>
            </a: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7" name="Rectangle 6"/>
          <p:cNvSpPr/>
          <p:nvPr/>
        </p:nvSpPr>
        <p:spPr bwMode="auto">
          <a:xfrm>
            <a:off x="5373454" y="1328765"/>
            <a:ext cx="1409147" cy="140878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6" tIns="34294" rIns="34294" bIns="68586" numCol="1" spcCol="0" rtlCol="0" fromWordArt="0" anchor="b" anchorCtr="0" forceAA="0" compatLnSpc="1">
            <a:prstTxWarp prst="textNoShape">
              <a:avLst/>
            </a:prstTxWarp>
            <a:noAutofit/>
          </a:bodyPr>
          <a:lstStyle/>
          <a:p>
            <a:pPr defTabSz="685637" fontAlgn="base">
              <a:spcBef>
                <a:spcPct val="0"/>
              </a:spcBef>
              <a:spcAft>
                <a:spcPct val="0"/>
              </a:spcAft>
            </a:pPr>
            <a:r>
              <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rPr>
              <a:t>Cloud management</a:t>
            </a: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8" name="Rectangle 7"/>
          <p:cNvSpPr/>
          <p:nvPr/>
        </p:nvSpPr>
        <p:spPr bwMode="auto">
          <a:xfrm>
            <a:off x="5373454" y="2818709"/>
            <a:ext cx="1409147" cy="140878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6" tIns="34294" rIns="34294" bIns="68586" numCol="1" spcCol="0" rtlCol="0" fromWordArt="0" anchor="b" anchorCtr="0" forceAA="0" compatLnSpc="1">
            <a:prstTxWarp prst="textNoShape">
              <a:avLst/>
            </a:prstTxWarp>
            <a:noAutofit/>
          </a:bodyPr>
          <a:lstStyle/>
          <a:p>
            <a:pPr defTabSz="685637" fontAlgn="base">
              <a:spcBef>
                <a:spcPct val="0"/>
              </a:spcBef>
              <a:spcAft>
                <a:spcPct val="0"/>
              </a:spcAft>
            </a:pPr>
            <a:r>
              <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rPr>
              <a:t>On your phone</a:t>
            </a: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8" name="Rectangle 17"/>
          <p:cNvSpPr/>
          <p:nvPr/>
        </p:nvSpPr>
        <p:spPr bwMode="auto">
          <a:xfrm>
            <a:off x="2395773" y="1329845"/>
            <a:ext cx="1410051" cy="14096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6" tIns="34294" rIns="34294" bIns="68586" numCol="1" spcCol="0" rtlCol="0" fromWordArt="0" anchor="b" anchorCtr="0" forceAA="0" compatLnSpc="1">
            <a:prstTxWarp prst="textNoShape">
              <a:avLst/>
            </a:prstTxWarp>
            <a:noAutofit/>
          </a:bodyPr>
          <a:lstStyle/>
          <a:p>
            <a:pPr defTabSz="685637" fontAlgn="base">
              <a:spcBef>
                <a:spcPct val="0"/>
              </a:spcBef>
              <a:spcAft>
                <a:spcPct val="0"/>
              </a:spcAft>
            </a:pPr>
            <a:r>
              <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rPr>
              <a:t>Personalized experience</a:t>
            </a: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9" name="Rectangle 18"/>
          <p:cNvSpPr/>
          <p:nvPr/>
        </p:nvSpPr>
        <p:spPr bwMode="auto">
          <a:xfrm>
            <a:off x="3887412" y="1327861"/>
            <a:ext cx="1410051" cy="14096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6" tIns="34294" rIns="34294" bIns="68586" numCol="1" spcCol="0" rtlCol="0" fromWordArt="0" anchor="b" anchorCtr="0" forceAA="0" compatLnSpc="1">
            <a:prstTxWarp prst="textNoShape">
              <a:avLst/>
            </a:prstTxWarp>
            <a:noAutofit/>
          </a:bodyPr>
          <a:lstStyle/>
          <a:p>
            <a:pPr defTabSz="685637" fontAlgn="base">
              <a:spcBef>
                <a:spcPct val="0"/>
              </a:spcBef>
              <a:spcAft>
                <a:spcPct val="0"/>
              </a:spcAft>
            </a:pPr>
            <a:r>
              <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rPr>
              <a:t>Intelligent infrastructure</a:t>
            </a: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0" name="Rectangle 19"/>
          <p:cNvSpPr/>
          <p:nvPr/>
        </p:nvSpPr>
        <p:spPr bwMode="auto">
          <a:xfrm>
            <a:off x="2395773" y="2820955"/>
            <a:ext cx="1410051" cy="14096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6" tIns="34294" rIns="34294" bIns="68586" numCol="1" spcCol="0" rtlCol="0" fromWordArt="0" anchor="b" anchorCtr="0" forceAA="0" compatLnSpc="1">
            <a:prstTxWarp prst="textNoShape">
              <a:avLst/>
            </a:prstTxWarp>
            <a:noAutofit/>
          </a:bodyPr>
          <a:lstStyle/>
          <a:p>
            <a:pPr defTabSz="685637" fontAlgn="base">
              <a:spcBef>
                <a:spcPct val="0"/>
              </a:spcBef>
              <a:spcAft>
                <a:spcPct val="0"/>
              </a:spcAft>
            </a:pPr>
            <a:r>
              <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rPr>
              <a:t>On the road</a:t>
            </a: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1" name="Rectangle 20"/>
          <p:cNvSpPr/>
          <p:nvPr/>
        </p:nvSpPr>
        <p:spPr bwMode="auto">
          <a:xfrm>
            <a:off x="3887412" y="2817803"/>
            <a:ext cx="1410051" cy="14096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6" tIns="34294" rIns="34294" bIns="68586" numCol="1" spcCol="0" rtlCol="0" fromWordArt="0" anchor="b" anchorCtr="0" forceAA="0" compatLnSpc="1">
            <a:prstTxWarp prst="textNoShape">
              <a:avLst/>
            </a:prstTxWarp>
            <a:noAutofit/>
          </a:bodyPr>
          <a:lstStyle/>
          <a:p>
            <a:pPr defTabSz="685637" fontAlgn="base">
              <a:spcBef>
                <a:spcPct val="0"/>
              </a:spcBef>
              <a:spcAft>
                <a:spcPct val="0"/>
              </a:spcAft>
            </a:pPr>
            <a:r>
              <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rPr>
              <a:t>On your device</a:t>
            </a: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pic>
        <p:nvPicPr>
          <p:cNvPr id="30" name="Picture 29"/>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5892573" y="2976770"/>
            <a:ext cx="416660" cy="800100"/>
          </a:xfrm>
          <a:prstGeom prst="rect">
            <a:avLst/>
          </a:prstGeom>
        </p:spPr>
      </p:pic>
      <p:pic>
        <p:nvPicPr>
          <p:cNvPr id="35" name="Picture 3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271989" y="2977138"/>
            <a:ext cx="643001" cy="794762"/>
          </a:xfrm>
          <a:prstGeom prst="rect">
            <a:avLst/>
          </a:prstGeom>
        </p:spPr>
      </p:pic>
      <p:pic>
        <p:nvPicPr>
          <p:cNvPr id="40" name="Picture 39"/>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69361" y="2934526"/>
            <a:ext cx="1091188" cy="723075"/>
          </a:xfrm>
          <a:prstGeom prst="rect">
            <a:avLst/>
          </a:prstGeom>
        </p:spPr>
      </p:pic>
      <p:sp>
        <p:nvSpPr>
          <p:cNvPr id="41" name="Freeform 74"/>
          <p:cNvSpPr>
            <a:spLocks noEditPoints="1"/>
          </p:cNvSpPr>
          <p:nvPr/>
        </p:nvSpPr>
        <p:spPr bwMode="black">
          <a:xfrm>
            <a:off x="5658134" y="1485900"/>
            <a:ext cx="801946" cy="685800"/>
          </a:xfrm>
          <a:custGeom>
            <a:avLst/>
            <a:gdLst>
              <a:gd name="T0" fmla="*/ 2004 w 2444"/>
              <a:gd name="T1" fmla="*/ 326 h 2090"/>
              <a:gd name="T2" fmla="*/ 1774 w 2444"/>
              <a:gd name="T3" fmla="*/ 391 h 2090"/>
              <a:gd name="T4" fmla="*/ 1156 w 2444"/>
              <a:gd name="T5" fmla="*/ 0 h 2090"/>
              <a:gd name="T6" fmla="*/ 489 w 2444"/>
              <a:gd name="T7" fmla="*/ 535 h 2090"/>
              <a:gd name="T8" fmla="*/ 350 w 2444"/>
              <a:gd name="T9" fmla="*/ 506 h 2090"/>
              <a:gd name="T10" fmla="*/ 0 w 2444"/>
              <a:gd name="T11" fmla="*/ 856 h 2090"/>
              <a:gd name="T12" fmla="*/ 350 w 2444"/>
              <a:gd name="T13" fmla="*/ 1206 h 2090"/>
              <a:gd name="T14" fmla="*/ 2004 w 2444"/>
              <a:gd name="T15" fmla="*/ 1206 h 2090"/>
              <a:gd name="T16" fmla="*/ 2444 w 2444"/>
              <a:gd name="T17" fmla="*/ 766 h 2090"/>
              <a:gd name="T18" fmla="*/ 2004 w 2444"/>
              <a:gd name="T19" fmla="*/ 326 h 2090"/>
              <a:gd name="T20" fmla="*/ 1590 w 2444"/>
              <a:gd name="T21" fmla="*/ 1326 h 2090"/>
              <a:gd name="T22" fmla="*/ 1465 w 2444"/>
              <a:gd name="T23" fmla="*/ 1326 h 2090"/>
              <a:gd name="T24" fmla="*/ 1465 w 2444"/>
              <a:gd name="T25" fmla="*/ 1743 h 2090"/>
              <a:gd name="T26" fmla="*/ 1222 w 2444"/>
              <a:gd name="T27" fmla="*/ 1934 h 2090"/>
              <a:gd name="T28" fmla="*/ 980 w 2444"/>
              <a:gd name="T29" fmla="*/ 1743 h 2090"/>
              <a:gd name="T30" fmla="*/ 980 w 2444"/>
              <a:gd name="T31" fmla="*/ 1326 h 2090"/>
              <a:gd name="T32" fmla="*/ 854 w 2444"/>
              <a:gd name="T33" fmla="*/ 1326 h 2090"/>
              <a:gd name="T34" fmla="*/ 854 w 2444"/>
              <a:gd name="T35" fmla="*/ 1656 h 2090"/>
              <a:gd name="T36" fmla="*/ 666 w 2444"/>
              <a:gd name="T37" fmla="*/ 1656 h 2090"/>
              <a:gd name="T38" fmla="*/ 1222 w 2444"/>
              <a:gd name="T39" fmla="*/ 2090 h 2090"/>
              <a:gd name="T40" fmla="*/ 1779 w 2444"/>
              <a:gd name="T41" fmla="*/ 1656 h 2090"/>
              <a:gd name="T42" fmla="*/ 1590 w 2444"/>
              <a:gd name="T43" fmla="*/ 1656 h 2090"/>
              <a:gd name="T44" fmla="*/ 1590 w 2444"/>
              <a:gd name="T45" fmla="*/ 1326 h 2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44" h="2090">
                <a:moveTo>
                  <a:pt x="2004" y="326"/>
                </a:moveTo>
                <a:cubicBezTo>
                  <a:pt x="1920" y="326"/>
                  <a:pt x="1841" y="350"/>
                  <a:pt x="1774" y="391"/>
                </a:cubicBezTo>
                <a:cubicBezTo>
                  <a:pt x="1665" y="160"/>
                  <a:pt x="1429" y="0"/>
                  <a:pt x="1156" y="0"/>
                </a:cubicBezTo>
                <a:cubicBezTo>
                  <a:pt x="830" y="0"/>
                  <a:pt x="557" y="229"/>
                  <a:pt x="489" y="535"/>
                </a:cubicBezTo>
                <a:cubicBezTo>
                  <a:pt x="446" y="516"/>
                  <a:pt x="399" y="506"/>
                  <a:pt x="350" y="506"/>
                </a:cubicBezTo>
                <a:cubicBezTo>
                  <a:pt x="157" y="506"/>
                  <a:pt x="0" y="663"/>
                  <a:pt x="0" y="856"/>
                </a:cubicBezTo>
                <a:cubicBezTo>
                  <a:pt x="0" y="1049"/>
                  <a:pt x="157" y="1206"/>
                  <a:pt x="350" y="1206"/>
                </a:cubicBezTo>
                <a:cubicBezTo>
                  <a:pt x="2004" y="1206"/>
                  <a:pt x="2004" y="1206"/>
                  <a:pt x="2004" y="1206"/>
                </a:cubicBezTo>
                <a:cubicBezTo>
                  <a:pt x="2247" y="1206"/>
                  <a:pt x="2444" y="1009"/>
                  <a:pt x="2444" y="766"/>
                </a:cubicBezTo>
                <a:cubicBezTo>
                  <a:pt x="2444" y="523"/>
                  <a:pt x="2247" y="326"/>
                  <a:pt x="2004" y="326"/>
                </a:cubicBezTo>
                <a:close/>
                <a:moveTo>
                  <a:pt x="1590" y="1326"/>
                </a:moveTo>
                <a:cubicBezTo>
                  <a:pt x="1465" y="1326"/>
                  <a:pt x="1465" y="1326"/>
                  <a:pt x="1465" y="1326"/>
                </a:cubicBezTo>
                <a:cubicBezTo>
                  <a:pt x="1465" y="1743"/>
                  <a:pt x="1465" y="1743"/>
                  <a:pt x="1465" y="1743"/>
                </a:cubicBezTo>
                <a:cubicBezTo>
                  <a:pt x="1222" y="1934"/>
                  <a:pt x="1222" y="1934"/>
                  <a:pt x="1222" y="1934"/>
                </a:cubicBezTo>
                <a:cubicBezTo>
                  <a:pt x="980" y="1743"/>
                  <a:pt x="980" y="1743"/>
                  <a:pt x="980" y="1743"/>
                </a:cubicBezTo>
                <a:cubicBezTo>
                  <a:pt x="980" y="1326"/>
                  <a:pt x="980" y="1326"/>
                  <a:pt x="980" y="1326"/>
                </a:cubicBezTo>
                <a:cubicBezTo>
                  <a:pt x="854" y="1326"/>
                  <a:pt x="854" y="1326"/>
                  <a:pt x="854" y="1326"/>
                </a:cubicBezTo>
                <a:cubicBezTo>
                  <a:pt x="854" y="1656"/>
                  <a:pt x="854" y="1656"/>
                  <a:pt x="854" y="1656"/>
                </a:cubicBezTo>
                <a:cubicBezTo>
                  <a:pt x="666" y="1656"/>
                  <a:pt x="666" y="1656"/>
                  <a:pt x="666" y="1656"/>
                </a:cubicBezTo>
                <a:cubicBezTo>
                  <a:pt x="1222" y="2090"/>
                  <a:pt x="1222" y="2090"/>
                  <a:pt x="1222" y="2090"/>
                </a:cubicBezTo>
                <a:cubicBezTo>
                  <a:pt x="1779" y="1656"/>
                  <a:pt x="1779" y="1656"/>
                  <a:pt x="1779" y="1656"/>
                </a:cubicBezTo>
                <a:cubicBezTo>
                  <a:pt x="1590" y="1656"/>
                  <a:pt x="1590" y="1656"/>
                  <a:pt x="1590" y="1656"/>
                </a:cubicBezTo>
                <a:lnTo>
                  <a:pt x="1590" y="1326"/>
                </a:lnTo>
                <a:close/>
              </a:path>
            </a:pathLst>
          </a:custGeom>
          <a:solidFill>
            <a:srgbClr val="FFFFFF"/>
          </a:solidFill>
          <a:ln>
            <a:noFill/>
          </a:ln>
        </p:spPr>
        <p:txBody>
          <a:bodyPr vert="horz" wrap="square" lIns="61735" tIns="30867" rIns="61735" bIns="30867" numCol="1" anchor="t" anchorCtr="0" compatLnSpc="1">
            <a:prstTxWarp prst="textNoShape">
              <a:avLst/>
            </a:prstTxWarp>
          </a:bodyPr>
          <a:lstStyle/>
          <a:p>
            <a:endParaRPr lang="en-US" sz="1200"/>
          </a:p>
        </p:txBody>
      </p:sp>
      <p:grpSp>
        <p:nvGrpSpPr>
          <p:cNvPr id="45" name="Group 44"/>
          <p:cNvGrpSpPr/>
          <p:nvPr/>
        </p:nvGrpSpPr>
        <p:grpSpPr bwMode="black">
          <a:xfrm>
            <a:off x="7051873" y="3038722"/>
            <a:ext cx="950020" cy="733178"/>
            <a:chOff x="7010400" y="2133600"/>
            <a:chExt cx="1379538" cy="1065213"/>
          </a:xfrm>
        </p:grpSpPr>
        <p:sp>
          <p:nvSpPr>
            <p:cNvPr id="46"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7"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8"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9"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0"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1"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2"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3"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4"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5"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6"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7"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8"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9"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0"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1"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2"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3"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4"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5"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6"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7"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8"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6"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7"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8"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9"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0"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1"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2"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3"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4"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5"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6"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7"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8"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9"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0"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1"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2"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
        <p:nvSpPr>
          <p:cNvPr id="93" name="Freeform 78"/>
          <p:cNvSpPr>
            <a:spLocks noEditPoints="1"/>
          </p:cNvSpPr>
          <p:nvPr/>
        </p:nvSpPr>
        <p:spPr bwMode="black">
          <a:xfrm>
            <a:off x="4215369" y="1459857"/>
            <a:ext cx="754134" cy="721529"/>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61735" tIns="30867" rIns="61735" bIns="30867" numCol="1" anchor="t" anchorCtr="0" compatLnSpc="1">
            <a:prstTxWarp prst="textNoShape">
              <a:avLst/>
            </a:prstTxWarp>
          </a:bodyPr>
          <a:lstStyle/>
          <a:p>
            <a:endParaRPr lang="en-US" sz="1200"/>
          </a:p>
        </p:txBody>
      </p:sp>
      <p:sp>
        <p:nvSpPr>
          <p:cNvPr id="94" name="Freeform 89"/>
          <p:cNvSpPr>
            <a:spLocks noEditPoints="1"/>
          </p:cNvSpPr>
          <p:nvPr/>
        </p:nvSpPr>
        <p:spPr bwMode="black">
          <a:xfrm>
            <a:off x="1069360" y="1449916"/>
            <a:ext cx="1089136" cy="700922"/>
          </a:xfrm>
          <a:custGeom>
            <a:avLst/>
            <a:gdLst>
              <a:gd name="T0" fmla="*/ 350 w 3153"/>
              <a:gd name="T1" fmla="*/ 935 h 2031"/>
              <a:gd name="T2" fmla="*/ 788 w 3153"/>
              <a:gd name="T3" fmla="*/ 0 h 2031"/>
              <a:gd name="T4" fmla="*/ 2918 w 3153"/>
              <a:gd name="T5" fmla="*/ 1882 h 2031"/>
              <a:gd name="T6" fmla="*/ 2403 w 3153"/>
              <a:gd name="T7" fmla="*/ 1493 h 2031"/>
              <a:gd name="T8" fmla="*/ 2244 w 3153"/>
              <a:gd name="T9" fmla="*/ 1424 h 2031"/>
              <a:gd name="T10" fmla="*/ 2391 w 3153"/>
              <a:gd name="T11" fmla="*/ 1458 h 2031"/>
              <a:gd name="T12" fmla="*/ 1437 w 3153"/>
              <a:gd name="T13" fmla="*/ 1486 h 2031"/>
              <a:gd name="T14" fmla="*/ 1460 w 3153"/>
              <a:gd name="T15" fmla="*/ 1427 h 2031"/>
              <a:gd name="T16" fmla="*/ 1588 w 3153"/>
              <a:gd name="T17" fmla="*/ 1440 h 2031"/>
              <a:gd name="T18" fmla="*/ 1563 w 3153"/>
              <a:gd name="T19" fmla="*/ 1636 h 2031"/>
              <a:gd name="T20" fmla="*/ 1421 w 3153"/>
              <a:gd name="T21" fmla="*/ 1612 h 2031"/>
              <a:gd name="T22" fmla="*/ 1170 w 3153"/>
              <a:gd name="T23" fmla="*/ 1604 h 2031"/>
              <a:gd name="T24" fmla="*/ 1340 w 3153"/>
              <a:gd name="T25" fmla="*/ 1589 h 2031"/>
              <a:gd name="T26" fmla="*/ 1175 w 3153"/>
              <a:gd name="T27" fmla="*/ 1631 h 2031"/>
              <a:gd name="T28" fmla="*/ 1228 w 3153"/>
              <a:gd name="T29" fmla="*/ 1433 h 2031"/>
              <a:gd name="T30" fmla="*/ 1366 w 3153"/>
              <a:gd name="T31" fmla="*/ 1441 h 2031"/>
              <a:gd name="T32" fmla="*/ 916 w 3153"/>
              <a:gd name="T33" fmla="*/ 1607 h 2031"/>
              <a:gd name="T34" fmla="*/ 1099 w 3153"/>
              <a:gd name="T35" fmla="*/ 1564 h 2031"/>
              <a:gd name="T36" fmla="*/ 911 w 3153"/>
              <a:gd name="T37" fmla="*/ 1624 h 2031"/>
              <a:gd name="T38" fmla="*/ 832 w 3153"/>
              <a:gd name="T39" fmla="*/ 1503 h 2031"/>
              <a:gd name="T40" fmla="*/ 922 w 3153"/>
              <a:gd name="T41" fmla="*/ 1437 h 2031"/>
              <a:gd name="T42" fmla="*/ 999 w 3153"/>
              <a:gd name="T43" fmla="*/ 1440 h 2031"/>
              <a:gd name="T44" fmla="*/ 1143 w 3153"/>
              <a:gd name="T45" fmla="*/ 1436 h 2031"/>
              <a:gd name="T46" fmla="*/ 1113 w 3153"/>
              <a:gd name="T47" fmla="*/ 1496 h 2031"/>
              <a:gd name="T48" fmla="*/ 692 w 3153"/>
              <a:gd name="T49" fmla="*/ 1804 h 2031"/>
              <a:gd name="T50" fmla="*/ 574 w 3153"/>
              <a:gd name="T51" fmla="*/ 1739 h 2031"/>
              <a:gd name="T52" fmla="*/ 656 w 3153"/>
              <a:gd name="T53" fmla="*/ 1687 h 2031"/>
              <a:gd name="T54" fmla="*/ 823 w 3153"/>
              <a:gd name="T55" fmla="*/ 1619 h 2031"/>
              <a:gd name="T56" fmla="*/ 669 w 3153"/>
              <a:gd name="T57" fmla="*/ 1638 h 2031"/>
              <a:gd name="T58" fmla="*/ 713 w 3153"/>
              <a:gd name="T59" fmla="*/ 1551 h 2031"/>
              <a:gd name="T60" fmla="*/ 828 w 3153"/>
              <a:gd name="T61" fmla="*/ 1613 h 2031"/>
              <a:gd name="T62" fmla="*/ 1570 w 3153"/>
              <a:gd name="T63" fmla="*/ 1798 h 2031"/>
              <a:gd name="T64" fmla="*/ 850 w 3153"/>
              <a:gd name="T65" fmla="*/ 1803 h 2031"/>
              <a:gd name="T66" fmla="*/ 882 w 3153"/>
              <a:gd name="T67" fmla="*/ 1698 h 2031"/>
              <a:gd name="T68" fmla="*/ 1563 w 3153"/>
              <a:gd name="T69" fmla="*/ 1687 h 2031"/>
              <a:gd name="T70" fmla="*/ 1670 w 3153"/>
              <a:gd name="T71" fmla="*/ 1489 h 2031"/>
              <a:gd name="T72" fmla="*/ 1693 w 3153"/>
              <a:gd name="T73" fmla="*/ 1424 h 2031"/>
              <a:gd name="T74" fmla="*/ 1793 w 3153"/>
              <a:gd name="T75" fmla="*/ 1500 h 2031"/>
              <a:gd name="T76" fmla="*/ 1675 w 3153"/>
              <a:gd name="T77" fmla="*/ 1612 h 2031"/>
              <a:gd name="T78" fmla="*/ 1843 w 3153"/>
              <a:gd name="T79" fmla="*/ 1621 h 2031"/>
              <a:gd name="T80" fmla="*/ 1804 w 3153"/>
              <a:gd name="T81" fmla="*/ 1637 h 2031"/>
              <a:gd name="T82" fmla="*/ 1866 w 3153"/>
              <a:gd name="T83" fmla="*/ 1793 h 2031"/>
              <a:gd name="T84" fmla="*/ 1690 w 3153"/>
              <a:gd name="T85" fmla="*/ 1778 h 2031"/>
              <a:gd name="T86" fmla="*/ 1686 w 3153"/>
              <a:gd name="T87" fmla="*/ 1702 h 2031"/>
              <a:gd name="T88" fmla="*/ 1724 w 3153"/>
              <a:gd name="T89" fmla="*/ 1685 h 2031"/>
              <a:gd name="T90" fmla="*/ 1843 w 3153"/>
              <a:gd name="T91" fmla="*/ 1691 h 2031"/>
              <a:gd name="T92" fmla="*/ 2009 w 3153"/>
              <a:gd name="T93" fmla="*/ 1439 h 2031"/>
              <a:gd name="T94" fmla="*/ 2140 w 3153"/>
              <a:gd name="T95" fmla="*/ 1428 h 2031"/>
              <a:gd name="T96" fmla="*/ 2161 w 3153"/>
              <a:gd name="T97" fmla="*/ 1499 h 2031"/>
              <a:gd name="T98" fmla="*/ 2064 w 3153"/>
              <a:gd name="T99" fmla="*/ 1588 h 2031"/>
              <a:gd name="T100" fmla="*/ 2218 w 3153"/>
              <a:gd name="T101" fmla="*/ 1565 h 2031"/>
              <a:gd name="T102" fmla="*/ 2225 w 3153"/>
              <a:gd name="T103" fmla="*/ 1634 h 2031"/>
              <a:gd name="T104" fmla="*/ 2319 w 3153"/>
              <a:gd name="T105" fmla="*/ 1790 h 2031"/>
              <a:gd name="T106" fmla="*/ 2131 w 3153"/>
              <a:gd name="T107" fmla="*/ 1770 h 2031"/>
              <a:gd name="T108" fmla="*/ 2145 w 3153"/>
              <a:gd name="T109" fmla="*/ 1683 h 2031"/>
              <a:gd name="T110" fmla="*/ 2340 w 3153"/>
              <a:gd name="T111" fmla="*/ 1624 h 2031"/>
              <a:gd name="T112" fmla="*/ 2463 w 3153"/>
              <a:gd name="T113" fmla="*/ 1564 h 2031"/>
              <a:gd name="T114" fmla="*/ 2434 w 3153"/>
              <a:gd name="T115" fmla="*/ 1636 h 2031"/>
              <a:gd name="T116" fmla="*/ 2415 w 3153"/>
              <a:gd name="T117" fmla="*/ 1769 h 2031"/>
              <a:gd name="T118" fmla="*/ 2500 w 3153"/>
              <a:gd name="T119" fmla="*/ 1683 h 2031"/>
              <a:gd name="T120" fmla="*/ 2605 w 3153"/>
              <a:gd name="T121" fmla="*/ 1791 h 2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53" h="2031">
                <a:moveTo>
                  <a:pt x="448" y="830"/>
                </a:moveTo>
                <a:cubicBezTo>
                  <a:pt x="368" y="755"/>
                  <a:pt x="368" y="615"/>
                  <a:pt x="448" y="539"/>
                </a:cubicBezTo>
                <a:cubicBezTo>
                  <a:pt x="393" y="549"/>
                  <a:pt x="339" y="610"/>
                  <a:pt x="339" y="685"/>
                </a:cubicBezTo>
                <a:cubicBezTo>
                  <a:pt x="339" y="759"/>
                  <a:pt x="393" y="820"/>
                  <a:pt x="448" y="830"/>
                </a:cubicBezTo>
                <a:close/>
                <a:moveTo>
                  <a:pt x="2814" y="685"/>
                </a:moveTo>
                <a:cubicBezTo>
                  <a:pt x="2815" y="610"/>
                  <a:pt x="2761" y="549"/>
                  <a:pt x="2706" y="539"/>
                </a:cubicBezTo>
                <a:cubicBezTo>
                  <a:pt x="2786" y="615"/>
                  <a:pt x="2786" y="755"/>
                  <a:pt x="2706" y="830"/>
                </a:cubicBezTo>
                <a:cubicBezTo>
                  <a:pt x="2761" y="820"/>
                  <a:pt x="2815" y="759"/>
                  <a:pt x="2814" y="685"/>
                </a:cubicBezTo>
                <a:close/>
                <a:moveTo>
                  <a:pt x="2804" y="935"/>
                </a:moveTo>
                <a:cubicBezTo>
                  <a:pt x="2886" y="904"/>
                  <a:pt x="2970" y="808"/>
                  <a:pt x="2969" y="685"/>
                </a:cubicBezTo>
                <a:cubicBezTo>
                  <a:pt x="2970" y="561"/>
                  <a:pt x="2886" y="465"/>
                  <a:pt x="2804" y="434"/>
                </a:cubicBezTo>
                <a:cubicBezTo>
                  <a:pt x="2871" y="501"/>
                  <a:pt x="2915" y="591"/>
                  <a:pt x="2914" y="685"/>
                </a:cubicBezTo>
                <a:cubicBezTo>
                  <a:pt x="2915" y="778"/>
                  <a:pt x="2871" y="868"/>
                  <a:pt x="2804" y="935"/>
                </a:cubicBezTo>
                <a:close/>
                <a:moveTo>
                  <a:pt x="350" y="935"/>
                </a:moveTo>
                <a:cubicBezTo>
                  <a:pt x="282" y="868"/>
                  <a:pt x="239" y="778"/>
                  <a:pt x="239" y="685"/>
                </a:cubicBezTo>
                <a:cubicBezTo>
                  <a:pt x="239" y="591"/>
                  <a:pt x="282" y="501"/>
                  <a:pt x="350" y="434"/>
                </a:cubicBezTo>
                <a:cubicBezTo>
                  <a:pt x="267" y="465"/>
                  <a:pt x="183" y="561"/>
                  <a:pt x="184" y="685"/>
                </a:cubicBezTo>
                <a:cubicBezTo>
                  <a:pt x="183" y="808"/>
                  <a:pt x="267" y="904"/>
                  <a:pt x="350" y="935"/>
                </a:cubicBezTo>
                <a:close/>
                <a:moveTo>
                  <a:pt x="2877" y="1804"/>
                </a:moveTo>
                <a:cubicBezTo>
                  <a:pt x="2844" y="1765"/>
                  <a:pt x="2811" y="1726"/>
                  <a:pt x="2778" y="1687"/>
                </a:cubicBezTo>
                <a:cubicBezTo>
                  <a:pt x="2705" y="1601"/>
                  <a:pt x="2633" y="1516"/>
                  <a:pt x="2560" y="1430"/>
                </a:cubicBezTo>
                <a:cubicBezTo>
                  <a:pt x="2557" y="1426"/>
                  <a:pt x="2553" y="1421"/>
                  <a:pt x="2549" y="1417"/>
                </a:cubicBezTo>
                <a:cubicBezTo>
                  <a:pt x="2534" y="1399"/>
                  <a:pt x="2511" y="1389"/>
                  <a:pt x="2489" y="1381"/>
                </a:cubicBezTo>
                <a:cubicBezTo>
                  <a:pt x="2466" y="1373"/>
                  <a:pt x="2441" y="1368"/>
                  <a:pt x="2416" y="1367"/>
                </a:cubicBezTo>
                <a:cubicBezTo>
                  <a:pt x="2503" y="1344"/>
                  <a:pt x="2567" y="1266"/>
                  <a:pt x="2567" y="1172"/>
                </a:cubicBezTo>
                <a:cubicBezTo>
                  <a:pt x="2567" y="202"/>
                  <a:pt x="2567" y="202"/>
                  <a:pt x="2567" y="202"/>
                </a:cubicBezTo>
                <a:cubicBezTo>
                  <a:pt x="2567" y="90"/>
                  <a:pt x="2476" y="0"/>
                  <a:pt x="2365" y="0"/>
                </a:cubicBezTo>
                <a:cubicBezTo>
                  <a:pt x="788" y="0"/>
                  <a:pt x="788" y="0"/>
                  <a:pt x="788" y="0"/>
                </a:cubicBezTo>
                <a:cubicBezTo>
                  <a:pt x="677" y="0"/>
                  <a:pt x="586" y="90"/>
                  <a:pt x="586" y="202"/>
                </a:cubicBezTo>
                <a:cubicBezTo>
                  <a:pt x="586" y="1172"/>
                  <a:pt x="586" y="1172"/>
                  <a:pt x="586" y="1172"/>
                </a:cubicBezTo>
                <a:cubicBezTo>
                  <a:pt x="586" y="1266"/>
                  <a:pt x="651" y="1345"/>
                  <a:pt x="738" y="1368"/>
                </a:cubicBezTo>
                <a:cubicBezTo>
                  <a:pt x="689" y="1370"/>
                  <a:pt x="633" y="1388"/>
                  <a:pt x="600" y="1426"/>
                </a:cubicBezTo>
                <a:cubicBezTo>
                  <a:pt x="575" y="1457"/>
                  <a:pt x="549" y="1487"/>
                  <a:pt x="524" y="1518"/>
                </a:cubicBezTo>
                <a:cubicBezTo>
                  <a:pt x="446" y="1610"/>
                  <a:pt x="368" y="1703"/>
                  <a:pt x="290" y="1796"/>
                </a:cubicBezTo>
                <a:cubicBezTo>
                  <a:pt x="271" y="1819"/>
                  <a:pt x="235" y="1852"/>
                  <a:pt x="235" y="1884"/>
                </a:cubicBezTo>
                <a:cubicBezTo>
                  <a:pt x="235" y="1971"/>
                  <a:pt x="235" y="1971"/>
                  <a:pt x="235" y="1971"/>
                </a:cubicBezTo>
                <a:cubicBezTo>
                  <a:pt x="236" y="1982"/>
                  <a:pt x="238" y="1993"/>
                  <a:pt x="244" y="2002"/>
                </a:cubicBezTo>
                <a:cubicBezTo>
                  <a:pt x="264" y="2030"/>
                  <a:pt x="304" y="2031"/>
                  <a:pt x="336" y="2031"/>
                </a:cubicBezTo>
                <a:cubicBezTo>
                  <a:pt x="380" y="2031"/>
                  <a:pt x="2688" y="2031"/>
                  <a:pt x="2758" y="2031"/>
                </a:cubicBezTo>
                <a:cubicBezTo>
                  <a:pt x="2792" y="2031"/>
                  <a:pt x="2831" y="2027"/>
                  <a:pt x="2865" y="2020"/>
                </a:cubicBezTo>
                <a:cubicBezTo>
                  <a:pt x="2888" y="2016"/>
                  <a:pt x="2915" y="2003"/>
                  <a:pt x="2918" y="1976"/>
                </a:cubicBezTo>
                <a:cubicBezTo>
                  <a:pt x="2918" y="1882"/>
                  <a:pt x="2918" y="1882"/>
                  <a:pt x="2918" y="1882"/>
                </a:cubicBezTo>
                <a:cubicBezTo>
                  <a:pt x="2921" y="1861"/>
                  <a:pt x="2909" y="1841"/>
                  <a:pt x="2896" y="1826"/>
                </a:cubicBezTo>
                <a:cubicBezTo>
                  <a:pt x="2889" y="1818"/>
                  <a:pt x="2883" y="1811"/>
                  <a:pt x="2877" y="1804"/>
                </a:cubicBezTo>
                <a:close/>
                <a:moveTo>
                  <a:pt x="705" y="1159"/>
                </a:moveTo>
                <a:cubicBezTo>
                  <a:pt x="705" y="215"/>
                  <a:pt x="705" y="215"/>
                  <a:pt x="705" y="215"/>
                </a:cubicBezTo>
                <a:cubicBezTo>
                  <a:pt x="705" y="157"/>
                  <a:pt x="752" y="111"/>
                  <a:pt x="809" y="111"/>
                </a:cubicBezTo>
                <a:cubicBezTo>
                  <a:pt x="2344" y="111"/>
                  <a:pt x="2344" y="111"/>
                  <a:pt x="2344" y="111"/>
                </a:cubicBezTo>
                <a:cubicBezTo>
                  <a:pt x="2401" y="111"/>
                  <a:pt x="2448" y="157"/>
                  <a:pt x="2448" y="215"/>
                </a:cubicBezTo>
                <a:cubicBezTo>
                  <a:pt x="2448" y="1159"/>
                  <a:pt x="2448" y="1159"/>
                  <a:pt x="2448" y="1159"/>
                </a:cubicBezTo>
                <a:cubicBezTo>
                  <a:pt x="2448" y="1216"/>
                  <a:pt x="2401" y="1263"/>
                  <a:pt x="2344" y="1263"/>
                </a:cubicBezTo>
                <a:cubicBezTo>
                  <a:pt x="809" y="1263"/>
                  <a:pt x="809" y="1263"/>
                  <a:pt x="809" y="1263"/>
                </a:cubicBezTo>
                <a:cubicBezTo>
                  <a:pt x="752" y="1263"/>
                  <a:pt x="705" y="1216"/>
                  <a:pt x="705" y="1159"/>
                </a:cubicBezTo>
                <a:close/>
                <a:moveTo>
                  <a:pt x="2407" y="1487"/>
                </a:moveTo>
                <a:cubicBezTo>
                  <a:pt x="2407" y="1489"/>
                  <a:pt x="2406" y="1491"/>
                  <a:pt x="2404" y="1493"/>
                </a:cubicBezTo>
                <a:cubicBezTo>
                  <a:pt x="2404" y="1493"/>
                  <a:pt x="2403" y="1493"/>
                  <a:pt x="2403" y="1493"/>
                </a:cubicBezTo>
                <a:cubicBezTo>
                  <a:pt x="2403" y="1493"/>
                  <a:pt x="2403" y="1493"/>
                  <a:pt x="2403" y="1493"/>
                </a:cubicBezTo>
                <a:cubicBezTo>
                  <a:pt x="2403" y="1494"/>
                  <a:pt x="2403" y="1494"/>
                  <a:pt x="2402" y="1494"/>
                </a:cubicBezTo>
                <a:cubicBezTo>
                  <a:pt x="2402" y="1494"/>
                  <a:pt x="2402" y="1494"/>
                  <a:pt x="2401" y="1495"/>
                </a:cubicBezTo>
                <a:cubicBezTo>
                  <a:pt x="2401" y="1495"/>
                  <a:pt x="2400" y="1495"/>
                  <a:pt x="2400" y="1496"/>
                </a:cubicBezTo>
                <a:cubicBezTo>
                  <a:pt x="2399" y="1496"/>
                  <a:pt x="2399" y="1496"/>
                  <a:pt x="2398" y="1496"/>
                </a:cubicBezTo>
                <a:cubicBezTo>
                  <a:pt x="2388" y="1501"/>
                  <a:pt x="2374" y="1500"/>
                  <a:pt x="2362" y="1500"/>
                </a:cubicBezTo>
                <a:cubicBezTo>
                  <a:pt x="2304" y="1500"/>
                  <a:pt x="2304" y="1500"/>
                  <a:pt x="2304" y="1500"/>
                </a:cubicBezTo>
                <a:cubicBezTo>
                  <a:pt x="2293" y="1500"/>
                  <a:pt x="2281" y="1498"/>
                  <a:pt x="2271" y="1493"/>
                </a:cubicBezTo>
                <a:cubicBezTo>
                  <a:pt x="2267" y="1491"/>
                  <a:pt x="2263" y="1489"/>
                  <a:pt x="2260" y="1487"/>
                </a:cubicBezTo>
                <a:cubicBezTo>
                  <a:pt x="2257" y="1484"/>
                  <a:pt x="2254" y="1482"/>
                  <a:pt x="2252" y="1479"/>
                </a:cubicBezTo>
                <a:cubicBezTo>
                  <a:pt x="2250" y="1474"/>
                  <a:pt x="2250" y="1474"/>
                  <a:pt x="2250" y="1474"/>
                </a:cubicBezTo>
                <a:cubicBezTo>
                  <a:pt x="2244" y="1463"/>
                  <a:pt x="2236" y="1453"/>
                  <a:pt x="2231" y="1441"/>
                </a:cubicBezTo>
                <a:cubicBezTo>
                  <a:pt x="2227" y="1433"/>
                  <a:pt x="2231" y="1429"/>
                  <a:pt x="2238" y="1426"/>
                </a:cubicBezTo>
                <a:cubicBezTo>
                  <a:pt x="2240" y="1425"/>
                  <a:pt x="2242" y="1424"/>
                  <a:pt x="2244" y="1424"/>
                </a:cubicBezTo>
                <a:cubicBezTo>
                  <a:pt x="2248" y="1423"/>
                  <a:pt x="2253" y="1422"/>
                  <a:pt x="2258" y="1422"/>
                </a:cubicBezTo>
                <a:cubicBezTo>
                  <a:pt x="2266" y="1422"/>
                  <a:pt x="2266" y="1422"/>
                  <a:pt x="2266" y="1422"/>
                </a:cubicBezTo>
                <a:cubicBezTo>
                  <a:pt x="2266" y="1422"/>
                  <a:pt x="2266" y="1422"/>
                  <a:pt x="2266" y="1422"/>
                </a:cubicBezTo>
                <a:cubicBezTo>
                  <a:pt x="2282" y="1422"/>
                  <a:pt x="2297" y="1422"/>
                  <a:pt x="2312" y="1422"/>
                </a:cubicBezTo>
                <a:cubicBezTo>
                  <a:pt x="2313" y="1422"/>
                  <a:pt x="2313" y="1422"/>
                  <a:pt x="2313" y="1422"/>
                </a:cubicBezTo>
                <a:cubicBezTo>
                  <a:pt x="2328" y="1422"/>
                  <a:pt x="2328" y="1422"/>
                  <a:pt x="2328" y="1422"/>
                </a:cubicBezTo>
                <a:cubicBezTo>
                  <a:pt x="2333" y="1422"/>
                  <a:pt x="2339" y="1422"/>
                  <a:pt x="2344" y="1423"/>
                </a:cubicBezTo>
                <a:cubicBezTo>
                  <a:pt x="2347" y="1424"/>
                  <a:pt x="2351" y="1425"/>
                  <a:pt x="2354" y="1426"/>
                </a:cubicBezTo>
                <a:cubicBezTo>
                  <a:pt x="2355" y="1426"/>
                  <a:pt x="2355" y="1426"/>
                  <a:pt x="2356" y="1426"/>
                </a:cubicBezTo>
                <a:cubicBezTo>
                  <a:pt x="2356" y="1427"/>
                  <a:pt x="2356" y="1427"/>
                  <a:pt x="2357" y="1427"/>
                </a:cubicBezTo>
                <a:cubicBezTo>
                  <a:pt x="2357" y="1427"/>
                  <a:pt x="2358" y="1427"/>
                  <a:pt x="2358" y="1427"/>
                </a:cubicBezTo>
                <a:cubicBezTo>
                  <a:pt x="2363" y="1429"/>
                  <a:pt x="2367" y="1431"/>
                  <a:pt x="2371" y="1433"/>
                </a:cubicBezTo>
                <a:cubicBezTo>
                  <a:pt x="2374" y="1436"/>
                  <a:pt x="2377" y="1438"/>
                  <a:pt x="2379" y="1441"/>
                </a:cubicBezTo>
                <a:cubicBezTo>
                  <a:pt x="2391" y="1458"/>
                  <a:pt x="2391" y="1458"/>
                  <a:pt x="2391" y="1458"/>
                </a:cubicBezTo>
                <a:cubicBezTo>
                  <a:pt x="2394" y="1463"/>
                  <a:pt x="2401" y="1471"/>
                  <a:pt x="2404" y="1478"/>
                </a:cubicBezTo>
                <a:cubicBezTo>
                  <a:pt x="2404" y="1478"/>
                  <a:pt x="2404" y="1478"/>
                  <a:pt x="2404" y="1478"/>
                </a:cubicBezTo>
                <a:cubicBezTo>
                  <a:pt x="2406" y="1481"/>
                  <a:pt x="2407" y="1484"/>
                  <a:pt x="2407" y="1487"/>
                </a:cubicBezTo>
                <a:close/>
                <a:moveTo>
                  <a:pt x="1589" y="1480"/>
                </a:moveTo>
                <a:cubicBezTo>
                  <a:pt x="1589" y="1483"/>
                  <a:pt x="1588" y="1485"/>
                  <a:pt x="1587" y="1487"/>
                </a:cubicBezTo>
                <a:cubicBezTo>
                  <a:pt x="1576" y="1507"/>
                  <a:pt x="1525" y="1502"/>
                  <a:pt x="1507" y="1502"/>
                </a:cubicBezTo>
                <a:cubicBezTo>
                  <a:pt x="1496" y="1502"/>
                  <a:pt x="1485" y="1502"/>
                  <a:pt x="1474" y="1502"/>
                </a:cubicBezTo>
                <a:cubicBezTo>
                  <a:pt x="1464" y="1502"/>
                  <a:pt x="1451" y="1500"/>
                  <a:pt x="1442" y="1493"/>
                </a:cubicBezTo>
                <a:cubicBezTo>
                  <a:pt x="1442" y="1493"/>
                  <a:pt x="1441" y="1492"/>
                  <a:pt x="1441" y="1492"/>
                </a:cubicBezTo>
                <a:cubicBezTo>
                  <a:pt x="1441" y="1492"/>
                  <a:pt x="1440" y="1491"/>
                  <a:pt x="1440" y="1491"/>
                </a:cubicBezTo>
                <a:cubicBezTo>
                  <a:pt x="1439" y="1490"/>
                  <a:pt x="1439" y="1490"/>
                  <a:pt x="1439" y="1489"/>
                </a:cubicBezTo>
                <a:cubicBezTo>
                  <a:pt x="1439" y="1489"/>
                  <a:pt x="1439" y="1489"/>
                  <a:pt x="1438" y="1489"/>
                </a:cubicBezTo>
                <a:cubicBezTo>
                  <a:pt x="1438" y="1489"/>
                  <a:pt x="1438" y="1489"/>
                  <a:pt x="1438" y="1489"/>
                </a:cubicBezTo>
                <a:cubicBezTo>
                  <a:pt x="1438" y="1488"/>
                  <a:pt x="1437" y="1487"/>
                  <a:pt x="1437" y="1486"/>
                </a:cubicBezTo>
                <a:cubicBezTo>
                  <a:pt x="1436" y="1484"/>
                  <a:pt x="1436" y="1483"/>
                  <a:pt x="1436" y="1481"/>
                </a:cubicBezTo>
                <a:cubicBezTo>
                  <a:pt x="1436" y="1479"/>
                  <a:pt x="1436" y="1479"/>
                  <a:pt x="1436" y="1479"/>
                </a:cubicBezTo>
                <a:cubicBezTo>
                  <a:pt x="1437" y="1477"/>
                  <a:pt x="1437" y="1474"/>
                  <a:pt x="1437" y="1472"/>
                </a:cubicBezTo>
                <a:cubicBezTo>
                  <a:pt x="1437" y="1471"/>
                  <a:pt x="1437" y="1471"/>
                  <a:pt x="1437" y="1471"/>
                </a:cubicBezTo>
                <a:cubicBezTo>
                  <a:pt x="1438" y="1463"/>
                  <a:pt x="1438" y="1454"/>
                  <a:pt x="1440" y="1446"/>
                </a:cubicBezTo>
                <a:cubicBezTo>
                  <a:pt x="1440" y="1443"/>
                  <a:pt x="1440" y="1443"/>
                  <a:pt x="1440" y="1443"/>
                </a:cubicBezTo>
                <a:cubicBezTo>
                  <a:pt x="1441" y="1441"/>
                  <a:pt x="1442" y="1438"/>
                  <a:pt x="1444" y="1436"/>
                </a:cubicBezTo>
                <a:cubicBezTo>
                  <a:pt x="1446" y="1434"/>
                  <a:pt x="1448" y="1433"/>
                  <a:pt x="1450" y="1431"/>
                </a:cubicBezTo>
                <a:cubicBezTo>
                  <a:pt x="1450" y="1431"/>
                  <a:pt x="1450" y="1431"/>
                  <a:pt x="1450" y="1431"/>
                </a:cubicBezTo>
                <a:cubicBezTo>
                  <a:pt x="1451" y="1431"/>
                  <a:pt x="1451" y="1430"/>
                  <a:pt x="1452" y="1430"/>
                </a:cubicBezTo>
                <a:cubicBezTo>
                  <a:pt x="1452" y="1430"/>
                  <a:pt x="1453" y="1430"/>
                  <a:pt x="1453" y="1429"/>
                </a:cubicBezTo>
                <a:cubicBezTo>
                  <a:pt x="1453" y="1429"/>
                  <a:pt x="1454" y="1429"/>
                  <a:pt x="1454" y="1429"/>
                </a:cubicBezTo>
                <a:cubicBezTo>
                  <a:pt x="1455" y="1428"/>
                  <a:pt x="1457" y="1428"/>
                  <a:pt x="1458" y="1427"/>
                </a:cubicBezTo>
                <a:cubicBezTo>
                  <a:pt x="1459" y="1427"/>
                  <a:pt x="1459" y="1427"/>
                  <a:pt x="1460" y="1427"/>
                </a:cubicBezTo>
                <a:cubicBezTo>
                  <a:pt x="1461" y="1426"/>
                  <a:pt x="1463" y="1426"/>
                  <a:pt x="1464" y="1426"/>
                </a:cubicBezTo>
                <a:cubicBezTo>
                  <a:pt x="1465" y="1426"/>
                  <a:pt x="1465" y="1425"/>
                  <a:pt x="1466" y="1425"/>
                </a:cubicBezTo>
                <a:cubicBezTo>
                  <a:pt x="1466" y="1425"/>
                  <a:pt x="1466" y="1425"/>
                  <a:pt x="1466" y="1425"/>
                </a:cubicBezTo>
                <a:cubicBezTo>
                  <a:pt x="1467" y="1425"/>
                  <a:pt x="1468" y="1425"/>
                  <a:pt x="1468" y="1425"/>
                </a:cubicBezTo>
                <a:cubicBezTo>
                  <a:pt x="1472" y="1424"/>
                  <a:pt x="1476" y="1424"/>
                  <a:pt x="1480" y="1424"/>
                </a:cubicBezTo>
                <a:cubicBezTo>
                  <a:pt x="1483" y="1424"/>
                  <a:pt x="1483" y="1424"/>
                  <a:pt x="1483" y="1424"/>
                </a:cubicBezTo>
                <a:cubicBezTo>
                  <a:pt x="1487" y="1424"/>
                  <a:pt x="1492" y="1424"/>
                  <a:pt x="1496" y="1424"/>
                </a:cubicBezTo>
                <a:cubicBezTo>
                  <a:pt x="1550" y="1424"/>
                  <a:pt x="1550" y="1424"/>
                  <a:pt x="1550" y="1424"/>
                </a:cubicBezTo>
                <a:cubicBezTo>
                  <a:pt x="1551" y="1424"/>
                  <a:pt x="1552" y="1424"/>
                  <a:pt x="1554" y="1424"/>
                </a:cubicBezTo>
                <a:cubicBezTo>
                  <a:pt x="1554" y="1424"/>
                  <a:pt x="1555" y="1424"/>
                  <a:pt x="1555" y="1424"/>
                </a:cubicBezTo>
                <a:cubicBezTo>
                  <a:pt x="1556" y="1424"/>
                  <a:pt x="1558" y="1424"/>
                  <a:pt x="1559" y="1424"/>
                </a:cubicBezTo>
                <a:cubicBezTo>
                  <a:pt x="1570" y="1425"/>
                  <a:pt x="1582" y="1428"/>
                  <a:pt x="1586" y="1438"/>
                </a:cubicBezTo>
                <a:cubicBezTo>
                  <a:pt x="1587" y="1438"/>
                  <a:pt x="1587" y="1439"/>
                  <a:pt x="1587" y="1440"/>
                </a:cubicBezTo>
                <a:cubicBezTo>
                  <a:pt x="1588" y="1440"/>
                  <a:pt x="1588" y="1440"/>
                  <a:pt x="1588" y="1440"/>
                </a:cubicBezTo>
                <a:cubicBezTo>
                  <a:pt x="1591" y="1452"/>
                  <a:pt x="1588" y="1466"/>
                  <a:pt x="1589" y="1478"/>
                </a:cubicBezTo>
                <a:lnTo>
                  <a:pt x="1589" y="1480"/>
                </a:lnTo>
                <a:close/>
                <a:moveTo>
                  <a:pt x="1511" y="1543"/>
                </a:moveTo>
                <a:cubicBezTo>
                  <a:pt x="1531" y="1543"/>
                  <a:pt x="1577" y="1537"/>
                  <a:pt x="1588" y="1559"/>
                </a:cubicBezTo>
                <a:cubicBezTo>
                  <a:pt x="1589" y="1561"/>
                  <a:pt x="1590" y="1563"/>
                  <a:pt x="1590" y="1566"/>
                </a:cubicBezTo>
                <a:cubicBezTo>
                  <a:pt x="1590" y="1589"/>
                  <a:pt x="1590" y="1589"/>
                  <a:pt x="1590" y="1589"/>
                </a:cubicBezTo>
                <a:cubicBezTo>
                  <a:pt x="1590" y="1595"/>
                  <a:pt x="1590" y="1602"/>
                  <a:pt x="1590" y="1609"/>
                </a:cubicBezTo>
                <a:cubicBezTo>
                  <a:pt x="1590" y="1609"/>
                  <a:pt x="1590" y="1609"/>
                  <a:pt x="1590" y="1609"/>
                </a:cubicBezTo>
                <a:cubicBezTo>
                  <a:pt x="1590" y="1612"/>
                  <a:pt x="1590" y="1612"/>
                  <a:pt x="1590" y="1612"/>
                </a:cubicBezTo>
                <a:cubicBezTo>
                  <a:pt x="1590" y="1615"/>
                  <a:pt x="1589" y="1619"/>
                  <a:pt x="1587" y="1622"/>
                </a:cubicBezTo>
                <a:cubicBezTo>
                  <a:pt x="1587" y="1622"/>
                  <a:pt x="1586" y="1623"/>
                  <a:pt x="1586" y="1623"/>
                </a:cubicBezTo>
                <a:cubicBezTo>
                  <a:pt x="1585" y="1624"/>
                  <a:pt x="1584" y="1625"/>
                  <a:pt x="1583" y="1626"/>
                </a:cubicBezTo>
                <a:cubicBezTo>
                  <a:pt x="1583" y="1626"/>
                  <a:pt x="1583" y="1626"/>
                  <a:pt x="1583" y="1626"/>
                </a:cubicBezTo>
                <a:cubicBezTo>
                  <a:pt x="1578" y="1631"/>
                  <a:pt x="1571" y="1634"/>
                  <a:pt x="1563" y="1636"/>
                </a:cubicBezTo>
                <a:cubicBezTo>
                  <a:pt x="1563" y="1636"/>
                  <a:pt x="1563" y="1636"/>
                  <a:pt x="1563" y="1636"/>
                </a:cubicBezTo>
                <a:cubicBezTo>
                  <a:pt x="1563" y="1636"/>
                  <a:pt x="1563" y="1636"/>
                  <a:pt x="1563" y="1636"/>
                </a:cubicBezTo>
                <a:cubicBezTo>
                  <a:pt x="1560" y="1637"/>
                  <a:pt x="1558" y="1637"/>
                  <a:pt x="1556" y="1637"/>
                </a:cubicBezTo>
                <a:cubicBezTo>
                  <a:pt x="1555" y="1637"/>
                  <a:pt x="1554" y="1637"/>
                  <a:pt x="1554" y="1638"/>
                </a:cubicBezTo>
                <a:cubicBezTo>
                  <a:pt x="1551" y="1638"/>
                  <a:pt x="1548" y="1638"/>
                  <a:pt x="1546" y="1638"/>
                </a:cubicBezTo>
                <a:cubicBezTo>
                  <a:pt x="1546" y="1638"/>
                  <a:pt x="1546" y="1638"/>
                  <a:pt x="1546" y="1638"/>
                </a:cubicBezTo>
                <a:cubicBezTo>
                  <a:pt x="1463" y="1638"/>
                  <a:pt x="1463" y="1638"/>
                  <a:pt x="1463" y="1638"/>
                </a:cubicBezTo>
                <a:cubicBezTo>
                  <a:pt x="1453" y="1638"/>
                  <a:pt x="1441" y="1636"/>
                  <a:pt x="1432" y="1631"/>
                </a:cubicBezTo>
                <a:cubicBezTo>
                  <a:pt x="1432" y="1631"/>
                  <a:pt x="1432" y="1631"/>
                  <a:pt x="1432" y="1631"/>
                </a:cubicBezTo>
                <a:cubicBezTo>
                  <a:pt x="1432" y="1631"/>
                  <a:pt x="1432" y="1630"/>
                  <a:pt x="1432" y="1630"/>
                </a:cubicBezTo>
                <a:cubicBezTo>
                  <a:pt x="1431" y="1629"/>
                  <a:pt x="1429" y="1628"/>
                  <a:pt x="1427" y="1627"/>
                </a:cubicBezTo>
                <a:cubicBezTo>
                  <a:pt x="1426" y="1626"/>
                  <a:pt x="1425" y="1624"/>
                  <a:pt x="1424" y="1623"/>
                </a:cubicBezTo>
                <a:cubicBezTo>
                  <a:pt x="1424" y="1623"/>
                  <a:pt x="1424" y="1623"/>
                  <a:pt x="1424" y="1622"/>
                </a:cubicBezTo>
                <a:cubicBezTo>
                  <a:pt x="1422" y="1619"/>
                  <a:pt x="1421" y="1616"/>
                  <a:pt x="1421" y="1612"/>
                </a:cubicBezTo>
                <a:cubicBezTo>
                  <a:pt x="1422" y="1606"/>
                  <a:pt x="1422" y="1606"/>
                  <a:pt x="1422" y="1606"/>
                </a:cubicBezTo>
                <a:cubicBezTo>
                  <a:pt x="1422" y="1606"/>
                  <a:pt x="1422" y="1606"/>
                  <a:pt x="1422" y="1606"/>
                </a:cubicBezTo>
                <a:cubicBezTo>
                  <a:pt x="1424" y="1593"/>
                  <a:pt x="1425" y="1580"/>
                  <a:pt x="1427" y="1567"/>
                </a:cubicBezTo>
                <a:cubicBezTo>
                  <a:pt x="1427" y="1566"/>
                  <a:pt x="1427" y="1566"/>
                  <a:pt x="1427" y="1566"/>
                </a:cubicBezTo>
                <a:cubicBezTo>
                  <a:pt x="1427" y="1566"/>
                  <a:pt x="1427" y="1566"/>
                  <a:pt x="1427" y="1565"/>
                </a:cubicBezTo>
                <a:cubicBezTo>
                  <a:pt x="1432" y="1536"/>
                  <a:pt x="1490" y="1543"/>
                  <a:pt x="1511" y="1543"/>
                </a:cubicBezTo>
                <a:close/>
                <a:moveTo>
                  <a:pt x="1175" y="1631"/>
                </a:moveTo>
                <a:cubicBezTo>
                  <a:pt x="1173" y="1630"/>
                  <a:pt x="1172" y="1629"/>
                  <a:pt x="1170" y="1627"/>
                </a:cubicBezTo>
                <a:cubicBezTo>
                  <a:pt x="1169" y="1626"/>
                  <a:pt x="1169" y="1625"/>
                  <a:pt x="1168" y="1624"/>
                </a:cubicBezTo>
                <a:cubicBezTo>
                  <a:pt x="1168" y="1623"/>
                  <a:pt x="1168" y="1623"/>
                  <a:pt x="1168" y="1623"/>
                </a:cubicBezTo>
                <a:cubicBezTo>
                  <a:pt x="1166" y="1620"/>
                  <a:pt x="1166" y="1616"/>
                  <a:pt x="1167" y="1613"/>
                </a:cubicBezTo>
                <a:cubicBezTo>
                  <a:pt x="1169" y="1607"/>
                  <a:pt x="1169" y="1607"/>
                  <a:pt x="1169" y="1607"/>
                </a:cubicBezTo>
                <a:cubicBezTo>
                  <a:pt x="1169" y="1607"/>
                  <a:pt x="1169" y="1607"/>
                  <a:pt x="1169" y="1607"/>
                </a:cubicBezTo>
                <a:cubicBezTo>
                  <a:pt x="1169" y="1606"/>
                  <a:pt x="1169" y="1605"/>
                  <a:pt x="1170" y="1604"/>
                </a:cubicBezTo>
                <a:cubicBezTo>
                  <a:pt x="1181" y="1567"/>
                  <a:pt x="1181" y="1567"/>
                  <a:pt x="1181" y="1567"/>
                </a:cubicBezTo>
                <a:cubicBezTo>
                  <a:pt x="1181" y="1566"/>
                  <a:pt x="1181" y="1566"/>
                  <a:pt x="1182" y="1565"/>
                </a:cubicBezTo>
                <a:cubicBezTo>
                  <a:pt x="1193" y="1537"/>
                  <a:pt x="1244" y="1543"/>
                  <a:pt x="1268" y="1543"/>
                </a:cubicBezTo>
                <a:cubicBezTo>
                  <a:pt x="1278" y="1543"/>
                  <a:pt x="1297" y="1542"/>
                  <a:pt x="1314" y="1543"/>
                </a:cubicBezTo>
                <a:cubicBezTo>
                  <a:pt x="1317" y="1544"/>
                  <a:pt x="1320" y="1544"/>
                  <a:pt x="1323" y="1545"/>
                </a:cubicBezTo>
                <a:cubicBezTo>
                  <a:pt x="1323" y="1545"/>
                  <a:pt x="1323" y="1545"/>
                  <a:pt x="1324" y="1545"/>
                </a:cubicBezTo>
                <a:cubicBezTo>
                  <a:pt x="1332" y="1547"/>
                  <a:pt x="1339" y="1551"/>
                  <a:pt x="1342" y="1556"/>
                </a:cubicBezTo>
                <a:cubicBezTo>
                  <a:pt x="1342" y="1557"/>
                  <a:pt x="1342" y="1557"/>
                  <a:pt x="1343" y="1557"/>
                </a:cubicBezTo>
                <a:cubicBezTo>
                  <a:pt x="1343" y="1558"/>
                  <a:pt x="1343" y="1558"/>
                  <a:pt x="1343" y="1558"/>
                </a:cubicBezTo>
                <a:cubicBezTo>
                  <a:pt x="1343" y="1558"/>
                  <a:pt x="1343" y="1559"/>
                  <a:pt x="1343" y="1559"/>
                </a:cubicBezTo>
                <a:cubicBezTo>
                  <a:pt x="1344" y="1561"/>
                  <a:pt x="1345" y="1564"/>
                  <a:pt x="1344" y="1567"/>
                </a:cubicBezTo>
                <a:cubicBezTo>
                  <a:pt x="1344" y="1569"/>
                  <a:pt x="1344" y="1569"/>
                  <a:pt x="1344" y="1569"/>
                </a:cubicBezTo>
                <a:cubicBezTo>
                  <a:pt x="1344" y="1569"/>
                  <a:pt x="1344" y="1569"/>
                  <a:pt x="1344" y="1569"/>
                </a:cubicBezTo>
                <a:cubicBezTo>
                  <a:pt x="1343" y="1576"/>
                  <a:pt x="1341" y="1583"/>
                  <a:pt x="1340" y="1589"/>
                </a:cubicBezTo>
                <a:cubicBezTo>
                  <a:pt x="1336" y="1612"/>
                  <a:pt x="1336" y="1612"/>
                  <a:pt x="1336" y="1612"/>
                </a:cubicBezTo>
                <a:cubicBezTo>
                  <a:pt x="1336" y="1616"/>
                  <a:pt x="1334" y="1619"/>
                  <a:pt x="1331" y="1622"/>
                </a:cubicBezTo>
                <a:cubicBezTo>
                  <a:pt x="1331" y="1623"/>
                  <a:pt x="1330" y="1623"/>
                  <a:pt x="1330" y="1623"/>
                </a:cubicBezTo>
                <a:cubicBezTo>
                  <a:pt x="1330" y="1624"/>
                  <a:pt x="1329" y="1624"/>
                  <a:pt x="1329" y="1624"/>
                </a:cubicBezTo>
                <a:cubicBezTo>
                  <a:pt x="1328" y="1625"/>
                  <a:pt x="1327" y="1626"/>
                  <a:pt x="1326" y="1627"/>
                </a:cubicBezTo>
                <a:cubicBezTo>
                  <a:pt x="1320" y="1632"/>
                  <a:pt x="1312" y="1635"/>
                  <a:pt x="1305" y="1636"/>
                </a:cubicBezTo>
                <a:cubicBezTo>
                  <a:pt x="1305" y="1637"/>
                  <a:pt x="1305" y="1637"/>
                  <a:pt x="1305" y="1637"/>
                </a:cubicBezTo>
                <a:cubicBezTo>
                  <a:pt x="1304" y="1637"/>
                  <a:pt x="1304" y="1637"/>
                  <a:pt x="1304" y="1637"/>
                </a:cubicBezTo>
                <a:cubicBezTo>
                  <a:pt x="1302" y="1637"/>
                  <a:pt x="1300" y="1638"/>
                  <a:pt x="1297" y="1638"/>
                </a:cubicBezTo>
                <a:cubicBezTo>
                  <a:pt x="1297" y="1638"/>
                  <a:pt x="1296" y="1638"/>
                  <a:pt x="1295" y="1638"/>
                </a:cubicBezTo>
                <a:cubicBezTo>
                  <a:pt x="1292" y="1638"/>
                  <a:pt x="1290" y="1639"/>
                  <a:pt x="1287" y="1639"/>
                </a:cubicBezTo>
                <a:cubicBezTo>
                  <a:pt x="1287" y="1639"/>
                  <a:pt x="1287" y="1639"/>
                  <a:pt x="1287" y="1639"/>
                </a:cubicBezTo>
                <a:cubicBezTo>
                  <a:pt x="1204" y="1639"/>
                  <a:pt x="1204" y="1639"/>
                  <a:pt x="1204" y="1639"/>
                </a:cubicBezTo>
                <a:cubicBezTo>
                  <a:pt x="1194" y="1639"/>
                  <a:pt x="1183" y="1637"/>
                  <a:pt x="1175" y="1631"/>
                </a:cubicBezTo>
                <a:cubicBezTo>
                  <a:pt x="1175" y="1631"/>
                  <a:pt x="1175" y="1631"/>
                  <a:pt x="1175" y="1631"/>
                </a:cubicBezTo>
                <a:close/>
                <a:moveTo>
                  <a:pt x="1278" y="1502"/>
                </a:moveTo>
                <a:cubicBezTo>
                  <a:pt x="1266" y="1502"/>
                  <a:pt x="1253" y="1502"/>
                  <a:pt x="1241" y="1502"/>
                </a:cubicBezTo>
                <a:cubicBezTo>
                  <a:pt x="1230" y="1502"/>
                  <a:pt x="1213" y="1500"/>
                  <a:pt x="1207" y="1489"/>
                </a:cubicBezTo>
                <a:cubicBezTo>
                  <a:pt x="1207" y="1488"/>
                  <a:pt x="1207" y="1487"/>
                  <a:pt x="1207" y="1486"/>
                </a:cubicBezTo>
                <a:cubicBezTo>
                  <a:pt x="1206" y="1486"/>
                  <a:pt x="1206" y="1485"/>
                  <a:pt x="1206" y="1484"/>
                </a:cubicBezTo>
                <a:cubicBezTo>
                  <a:pt x="1206" y="1483"/>
                  <a:pt x="1207" y="1482"/>
                  <a:pt x="1207" y="1481"/>
                </a:cubicBezTo>
                <a:cubicBezTo>
                  <a:pt x="1207" y="1481"/>
                  <a:pt x="1207" y="1481"/>
                  <a:pt x="1207" y="1481"/>
                </a:cubicBezTo>
                <a:cubicBezTo>
                  <a:pt x="1207" y="1481"/>
                  <a:pt x="1207" y="1481"/>
                  <a:pt x="1207" y="1481"/>
                </a:cubicBezTo>
                <a:cubicBezTo>
                  <a:pt x="1207" y="1478"/>
                  <a:pt x="1209" y="1474"/>
                  <a:pt x="1210" y="1472"/>
                </a:cubicBezTo>
                <a:cubicBezTo>
                  <a:pt x="1212" y="1463"/>
                  <a:pt x="1214" y="1453"/>
                  <a:pt x="1218" y="1445"/>
                </a:cubicBezTo>
                <a:cubicBezTo>
                  <a:pt x="1218" y="1444"/>
                  <a:pt x="1218" y="1444"/>
                  <a:pt x="1218" y="1444"/>
                </a:cubicBezTo>
                <a:cubicBezTo>
                  <a:pt x="1219" y="1441"/>
                  <a:pt x="1221" y="1438"/>
                  <a:pt x="1223" y="1436"/>
                </a:cubicBezTo>
                <a:cubicBezTo>
                  <a:pt x="1225" y="1435"/>
                  <a:pt x="1226" y="1434"/>
                  <a:pt x="1228" y="1433"/>
                </a:cubicBezTo>
                <a:cubicBezTo>
                  <a:pt x="1233" y="1429"/>
                  <a:pt x="1239" y="1427"/>
                  <a:pt x="1245" y="1426"/>
                </a:cubicBezTo>
                <a:cubicBezTo>
                  <a:pt x="1246" y="1426"/>
                  <a:pt x="1246" y="1426"/>
                  <a:pt x="1247" y="1426"/>
                </a:cubicBezTo>
                <a:cubicBezTo>
                  <a:pt x="1251" y="1425"/>
                  <a:pt x="1257" y="1424"/>
                  <a:pt x="1262" y="1424"/>
                </a:cubicBezTo>
                <a:cubicBezTo>
                  <a:pt x="1269" y="1424"/>
                  <a:pt x="1269" y="1424"/>
                  <a:pt x="1269" y="1424"/>
                </a:cubicBezTo>
                <a:cubicBezTo>
                  <a:pt x="1271" y="1424"/>
                  <a:pt x="1274" y="1424"/>
                  <a:pt x="1276" y="1424"/>
                </a:cubicBezTo>
                <a:cubicBezTo>
                  <a:pt x="1291" y="1424"/>
                  <a:pt x="1307" y="1424"/>
                  <a:pt x="1322" y="1424"/>
                </a:cubicBezTo>
                <a:cubicBezTo>
                  <a:pt x="1324" y="1424"/>
                  <a:pt x="1326" y="1424"/>
                  <a:pt x="1329" y="1424"/>
                </a:cubicBezTo>
                <a:cubicBezTo>
                  <a:pt x="1331" y="1424"/>
                  <a:pt x="1331" y="1424"/>
                  <a:pt x="1331" y="1424"/>
                </a:cubicBezTo>
                <a:cubicBezTo>
                  <a:pt x="1332" y="1424"/>
                  <a:pt x="1332" y="1424"/>
                  <a:pt x="1333" y="1424"/>
                </a:cubicBezTo>
                <a:cubicBezTo>
                  <a:pt x="1335" y="1424"/>
                  <a:pt x="1337" y="1424"/>
                  <a:pt x="1339" y="1425"/>
                </a:cubicBezTo>
                <a:cubicBezTo>
                  <a:pt x="1339" y="1425"/>
                  <a:pt x="1339" y="1425"/>
                  <a:pt x="1339" y="1425"/>
                </a:cubicBezTo>
                <a:cubicBezTo>
                  <a:pt x="1351" y="1426"/>
                  <a:pt x="1364" y="1429"/>
                  <a:pt x="1366" y="1439"/>
                </a:cubicBezTo>
                <a:cubicBezTo>
                  <a:pt x="1366" y="1439"/>
                  <a:pt x="1366" y="1440"/>
                  <a:pt x="1366" y="1440"/>
                </a:cubicBezTo>
                <a:cubicBezTo>
                  <a:pt x="1366" y="1440"/>
                  <a:pt x="1366" y="1440"/>
                  <a:pt x="1366" y="1441"/>
                </a:cubicBezTo>
                <a:cubicBezTo>
                  <a:pt x="1367" y="1452"/>
                  <a:pt x="1362" y="1467"/>
                  <a:pt x="1360" y="1478"/>
                </a:cubicBezTo>
                <a:cubicBezTo>
                  <a:pt x="1360" y="1478"/>
                  <a:pt x="1360" y="1478"/>
                  <a:pt x="1360" y="1478"/>
                </a:cubicBezTo>
                <a:cubicBezTo>
                  <a:pt x="1359" y="1481"/>
                  <a:pt x="1359" y="1481"/>
                  <a:pt x="1359" y="1481"/>
                </a:cubicBezTo>
                <a:cubicBezTo>
                  <a:pt x="1359" y="1483"/>
                  <a:pt x="1358" y="1485"/>
                  <a:pt x="1356" y="1487"/>
                </a:cubicBezTo>
                <a:cubicBezTo>
                  <a:pt x="1356" y="1488"/>
                  <a:pt x="1355" y="1488"/>
                  <a:pt x="1355" y="1489"/>
                </a:cubicBezTo>
                <a:cubicBezTo>
                  <a:pt x="1355" y="1489"/>
                  <a:pt x="1355" y="1489"/>
                  <a:pt x="1355" y="1489"/>
                </a:cubicBezTo>
                <a:cubicBezTo>
                  <a:pt x="1355" y="1489"/>
                  <a:pt x="1355" y="1489"/>
                  <a:pt x="1354" y="1489"/>
                </a:cubicBezTo>
                <a:cubicBezTo>
                  <a:pt x="1339" y="1507"/>
                  <a:pt x="1298" y="1502"/>
                  <a:pt x="1278" y="1502"/>
                </a:cubicBezTo>
                <a:close/>
                <a:moveTo>
                  <a:pt x="911" y="1620"/>
                </a:moveTo>
                <a:cubicBezTo>
                  <a:pt x="911" y="1619"/>
                  <a:pt x="911" y="1618"/>
                  <a:pt x="911" y="1618"/>
                </a:cubicBezTo>
                <a:cubicBezTo>
                  <a:pt x="912" y="1616"/>
                  <a:pt x="912" y="1615"/>
                  <a:pt x="913" y="1614"/>
                </a:cubicBezTo>
                <a:cubicBezTo>
                  <a:pt x="913" y="1614"/>
                  <a:pt x="913" y="1614"/>
                  <a:pt x="913" y="1613"/>
                </a:cubicBezTo>
                <a:cubicBezTo>
                  <a:pt x="913" y="1612"/>
                  <a:pt x="913" y="1612"/>
                  <a:pt x="913" y="1612"/>
                </a:cubicBezTo>
                <a:cubicBezTo>
                  <a:pt x="914" y="1611"/>
                  <a:pt x="915" y="1609"/>
                  <a:pt x="916" y="1607"/>
                </a:cubicBezTo>
                <a:cubicBezTo>
                  <a:pt x="922" y="1594"/>
                  <a:pt x="928" y="1582"/>
                  <a:pt x="935" y="1569"/>
                </a:cubicBezTo>
                <a:cubicBezTo>
                  <a:pt x="935" y="1569"/>
                  <a:pt x="935" y="1569"/>
                  <a:pt x="935" y="1569"/>
                </a:cubicBezTo>
                <a:cubicBezTo>
                  <a:pt x="935" y="1568"/>
                  <a:pt x="935" y="1568"/>
                  <a:pt x="935" y="1568"/>
                </a:cubicBezTo>
                <a:cubicBezTo>
                  <a:pt x="936" y="1567"/>
                  <a:pt x="936" y="1566"/>
                  <a:pt x="937" y="1566"/>
                </a:cubicBezTo>
                <a:cubicBezTo>
                  <a:pt x="937" y="1565"/>
                  <a:pt x="938" y="1564"/>
                  <a:pt x="938" y="1563"/>
                </a:cubicBezTo>
                <a:cubicBezTo>
                  <a:pt x="938" y="1563"/>
                  <a:pt x="938" y="1563"/>
                  <a:pt x="939" y="1563"/>
                </a:cubicBezTo>
                <a:cubicBezTo>
                  <a:pt x="956" y="1539"/>
                  <a:pt x="997" y="1544"/>
                  <a:pt x="1023" y="1544"/>
                </a:cubicBezTo>
                <a:cubicBezTo>
                  <a:pt x="1023" y="1544"/>
                  <a:pt x="1023" y="1544"/>
                  <a:pt x="1023" y="1544"/>
                </a:cubicBezTo>
                <a:cubicBezTo>
                  <a:pt x="1030" y="1544"/>
                  <a:pt x="1049" y="1542"/>
                  <a:pt x="1066" y="1544"/>
                </a:cubicBezTo>
                <a:cubicBezTo>
                  <a:pt x="1071" y="1544"/>
                  <a:pt x="1077" y="1544"/>
                  <a:pt x="1081" y="1545"/>
                </a:cubicBezTo>
                <a:cubicBezTo>
                  <a:pt x="1084" y="1546"/>
                  <a:pt x="1087" y="1547"/>
                  <a:pt x="1089" y="1548"/>
                </a:cubicBezTo>
                <a:cubicBezTo>
                  <a:pt x="1095" y="1551"/>
                  <a:pt x="1099" y="1556"/>
                  <a:pt x="1099" y="1562"/>
                </a:cubicBezTo>
                <a:cubicBezTo>
                  <a:pt x="1099" y="1562"/>
                  <a:pt x="1099" y="1562"/>
                  <a:pt x="1099" y="1562"/>
                </a:cubicBezTo>
                <a:cubicBezTo>
                  <a:pt x="1099" y="1563"/>
                  <a:pt x="1099" y="1563"/>
                  <a:pt x="1099" y="1564"/>
                </a:cubicBezTo>
                <a:cubicBezTo>
                  <a:pt x="1099" y="1565"/>
                  <a:pt x="1099" y="1566"/>
                  <a:pt x="1099" y="1567"/>
                </a:cubicBezTo>
                <a:cubicBezTo>
                  <a:pt x="1082" y="1613"/>
                  <a:pt x="1082" y="1613"/>
                  <a:pt x="1082" y="1613"/>
                </a:cubicBezTo>
                <a:cubicBezTo>
                  <a:pt x="1081" y="1617"/>
                  <a:pt x="1078" y="1620"/>
                  <a:pt x="1075" y="1623"/>
                </a:cubicBezTo>
                <a:cubicBezTo>
                  <a:pt x="1071" y="1626"/>
                  <a:pt x="1067" y="1629"/>
                  <a:pt x="1062" y="1631"/>
                </a:cubicBezTo>
                <a:cubicBezTo>
                  <a:pt x="1062" y="1632"/>
                  <a:pt x="1061" y="1632"/>
                  <a:pt x="1061" y="1632"/>
                </a:cubicBezTo>
                <a:cubicBezTo>
                  <a:pt x="1054" y="1635"/>
                  <a:pt x="1047" y="1637"/>
                  <a:pt x="1039" y="1639"/>
                </a:cubicBezTo>
                <a:cubicBezTo>
                  <a:pt x="1038" y="1639"/>
                  <a:pt x="1038" y="1639"/>
                  <a:pt x="1038" y="1639"/>
                </a:cubicBezTo>
                <a:cubicBezTo>
                  <a:pt x="1036" y="1639"/>
                  <a:pt x="1035" y="1639"/>
                  <a:pt x="1034" y="1639"/>
                </a:cubicBezTo>
                <a:cubicBezTo>
                  <a:pt x="1020" y="1640"/>
                  <a:pt x="1005" y="1639"/>
                  <a:pt x="990" y="1639"/>
                </a:cubicBezTo>
                <a:cubicBezTo>
                  <a:pt x="975" y="1639"/>
                  <a:pt x="960" y="1640"/>
                  <a:pt x="945" y="1640"/>
                </a:cubicBezTo>
                <a:cubicBezTo>
                  <a:pt x="935" y="1640"/>
                  <a:pt x="920" y="1638"/>
                  <a:pt x="914" y="1628"/>
                </a:cubicBezTo>
                <a:cubicBezTo>
                  <a:pt x="913" y="1628"/>
                  <a:pt x="913" y="1628"/>
                  <a:pt x="913" y="1627"/>
                </a:cubicBezTo>
                <a:cubicBezTo>
                  <a:pt x="913" y="1627"/>
                  <a:pt x="912" y="1626"/>
                  <a:pt x="912" y="1626"/>
                </a:cubicBezTo>
                <a:cubicBezTo>
                  <a:pt x="912" y="1625"/>
                  <a:pt x="912" y="1624"/>
                  <a:pt x="911" y="1624"/>
                </a:cubicBezTo>
                <a:cubicBezTo>
                  <a:pt x="911" y="1624"/>
                  <a:pt x="911" y="1624"/>
                  <a:pt x="911" y="1624"/>
                </a:cubicBezTo>
                <a:cubicBezTo>
                  <a:pt x="911" y="1623"/>
                  <a:pt x="911" y="1623"/>
                  <a:pt x="911" y="1623"/>
                </a:cubicBezTo>
                <a:cubicBezTo>
                  <a:pt x="911" y="1622"/>
                  <a:pt x="911" y="1621"/>
                  <a:pt x="911" y="1620"/>
                </a:cubicBezTo>
                <a:close/>
                <a:moveTo>
                  <a:pt x="910" y="1465"/>
                </a:moveTo>
                <a:cubicBezTo>
                  <a:pt x="910" y="1465"/>
                  <a:pt x="910" y="1465"/>
                  <a:pt x="910" y="1465"/>
                </a:cubicBezTo>
                <a:cubicBezTo>
                  <a:pt x="900" y="1482"/>
                  <a:pt x="900" y="1482"/>
                  <a:pt x="900" y="1482"/>
                </a:cubicBezTo>
                <a:cubicBezTo>
                  <a:pt x="899" y="1485"/>
                  <a:pt x="896" y="1488"/>
                  <a:pt x="893" y="1490"/>
                </a:cubicBezTo>
                <a:cubicBezTo>
                  <a:pt x="889" y="1493"/>
                  <a:pt x="885" y="1495"/>
                  <a:pt x="880" y="1497"/>
                </a:cubicBezTo>
                <a:cubicBezTo>
                  <a:pt x="879" y="1497"/>
                  <a:pt x="878" y="1498"/>
                  <a:pt x="876" y="1498"/>
                </a:cubicBezTo>
                <a:cubicBezTo>
                  <a:pt x="876" y="1499"/>
                  <a:pt x="875" y="1499"/>
                  <a:pt x="874" y="1499"/>
                </a:cubicBezTo>
                <a:cubicBezTo>
                  <a:pt x="874" y="1499"/>
                  <a:pt x="874" y="1499"/>
                  <a:pt x="874" y="1499"/>
                </a:cubicBezTo>
                <a:cubicBezTo>
                  <a:pt x="871" y="1500"/>
                  <a:pt x="868" y="1501"/>
                  <a:pt x="865" y="1502"/>
                </a:cubicBezTo>
                <a:cubicBezTo>
                  <a:pt x="859" y="1503"/>
                  <a:pt x="854" y="1503"/>
                  <a:pt x="848" y="1503"/>
                </a:cubicBezTo>
                <a:cubicBezTo>
                  <a:pt x="832" y="1503"/>
                  <a:pt x="832" y="1503"/>
                  <a:pt x="832" y="1503"/>
                </a:cubicBezTo>
                <a:cubicBezTo>
                  <a:pt x="832" y="1503"/>
                  <a:pt x="832" y="1503"/>
                  <a:pt x="832" y="1503"/>
                </a:cubicBezTo>
                <a:cubicBezTo>
                  <a:pt x="812" y="1503"/>
                  <a:pt x="793" y="1504"/>
                  <a:pt x="774" y="1504"/>
                </a:cubicBezTo>
                <a:cubicBezTo>
                  <a:pt x="765" y="1504"/>
                  <a:pt x="747" y="1502"/>
                  <a:pt x="745" y="1491"/>
                </a:cubicBezTo>
                <a:cubicBezTo>
                  <a:pt x="745" y="1489"/>
                  <a:pt x="745" y="1488"/>
                  <a:pt x="746" y="1486"/>
                </a:cubicBezTo>
                <a:cubicBezTo>
                  <a:pt x="747" y="1482"/>
                  <a:pt x="751" y="1478"/>
                  <a:pt x="753" y="1475"/>
                </a:cubicBezTo>
                <a:cubicBezTo>
                  <a:pt x="760" y="1464"/>
                  <a:pt x="766" y="1452"/>
                  <a:pt x="775" y="1443"/>
                </a:cubicBezTo>
                <a:cubicBezTo>
                  <a:pt x="775" y="1442"/>
                  <a:pt x="776" y="1442"/>
                  <a:pt x="776" y="1441"/>
                </a:cubicBezTo>
                <a:cubicBezTo>
                  <a:pt x="776" y="1441"/>
                  <a:pt x="777" y="1441"/>
                  <a:pt x="777" y="1441"/>
                </a:cubicBezTo>
                <a:cubicBezTo>
                  <a:pt x="799" y="1419"/>
                  <a:pt x="845" y="1425"/>
                  <a:pt x="873" y="1425"/>
                </a:cubicBezTo>
                <a:cubicBezTo>
                  <a:pt x="886" y="1425"/>
                  <a:pt x="901" y="1423"/>
                  <a:pt x="913" y="1428"/>
                </a:cubicBezTo>
                <a:cubicBezTo>
                  <a:pt x="913" y="1428"/>
                  <a:pt x="913" y="1428"/>
                  <a:pt x="913" y="1428"/>
                </a:cubicBezTo>
                <a:cubicBezTo>
                  <a:pt x="915" y="1429"/>
                  <a:pt x="916" y="1430"/>
                  <a:pt x="917" y="1430"/>
                </a:cubicBezTo>
                <a:cubicBezTo>
                  <a:pt x="917" y="1430"/>
                  <a:pt x="917" y="1431"/>
                  <a:pt x="918" y="1431"/>
                </a:cubicBezTo>
                <a:cubicBezTo>
                  <a:pt x="920" y="1432"/>
                  <a:pt x="922" y="1435"/>
                  <a:pt x="922" y="1437"/>
                </a:cubicBezTo>
                <a:cubicBezTo>
                  <a:pt x="923" y="1439"/>
                  <a:pt x="923" y="1442"/>
                  <a:pt x="921" y="1444"/>
                </a:cubicBezTo>
                <a:cubicBezTo>
                  <a:pt x="920" y="1446"/>
                  <a:pt x="920" y="1446"/>
                  <a:pt x="920" y="1446"/>
                </a:cubicBezTo>
                <a:cubicBezTo>
                  <a:pt x="918" y="1452"/>
                  <a:pt x="913" y="1460"/>
                  <a:pt x="910" y="1465"/>
                </a:cubicBezTo>
                <a:close/>
                <a:moveTo>
                  <a:pt x="1095" y="1502"/>
                </a:moveTo>
                <a:cubicBezTo>
                  <a:pt x="1093" y="1502"/>
                  <a:pt x="1091" y="1502"/>
                  <a:pt x="1089" y="1502"/>
                </a:cubicBezTo>
                <a:cubicBezTo>
                  <a:pt x="1089" y="1502"/>
                  <a:pt x="1089" y="1503"/>
                  <a:pt x="1088" y="1503"/>
                </a:cubicBezTo>
                <a:cubicBezTo>
                  <a:pt x="1077" y="1504"/>
                  <a:pt x="1066" y="1503"/>
                  <a:pt x="1054" y="1503"/>
                </a:cubicBezTo>
                <a:cubicBezTo>
                  <a:pt x="1007" y="1503"/>
                  <a:pt x="1007" y="1503"/>
                  <a:pt x="1007" y="1503"/>
                </a:cubicBezTo>
                <a:cubicBezTo>
                  <a:pt x="997" y="1503"/>
                  <a:pt x="980" y="1501"/>
                  <a:pt x="976" y="1490"/>
                </a:cubicBezTo>
                <a:cubicBezTo>
                  <a:pt x="976" y="1489"/>
                  <a:pt x="976" y="1488"/>
                  <a:pt x="976" y="1487"/>
                </a:cubicBezTo>
                <a:cubicBezTo>
                  <a:pt x="976" y="1486"/>
                  <a:pt x="976" y="1486"/>
                  <a:pt x="976" y="1485"/>
                </a:cubicBezTo>
                <a:cubicBezTo>
                  <a:pt x="977" y="1481"/>
                  <a:pt x="980" y="1477"/>
                  <a:pt x="982" y="1473"/>
                </a:cubicBezTo>
                <a:cubicBezTo>
                  <a:pt x="986" y="1463"/>
                  <a:pt x="990" y="1449"/>
                  <a:pt x="998" y="1441"/>
                </a:cubicBezTo>
                <a:cubicBezTo>
                  <a:pt x="998" y="1440"/>
                  <a:pt x="999" y="1440"/>
                  <a:pt x="999" y="1440"/>
                </a:cubicBezTo>
                <a:cubicBezTo>
                  <a:pt x="1000" y="1439"/>
                  <a:pt x="1000" y="1439"/>
                  <a:pt x="1000" y="1438"/>
                </a:cubicBezTo>
                <a:cubicBezTo>
                  <a:pt x="1001" y="1438"/>
                  <a:pt x="1001" y="1438"/>
                  <a:pt x="1001" y="1438"/>
                </a:cubicBezTo>
                <a:cubicBezTo>
                  <a:pt x="1002" y="1437"/>
                  <a:pt x="1002" y="1437"/>
                  <a:pt x="1002" y="1437"/>
                </a:cubicBezTo>
                <a:cubicBezTo>
                  <a:pt x="1003" y="1436"/>
                  <a:pt x="1003" y="1436"/>
                  <a:pt x="1003" y="1436"/>
                </a:cubicBezTo>
                <a:cubicBezTo>
                  <a:pt x="1010" y="1431"/>
                  <a:pt x="1018" y="1428"/>
                  <a:pt x="1027" y="1427"/>
                </a:cubicBezTo>
                <a:cubicBezTo>
                  <a:pt x="1027" y="1427"/>
                  <a:pt x="1027" y="1426"/>
                  <a:pt x="1028" y="1426"/>
                </a:cubicBezTo>
                <a:cubicBezTo>
                  <a:pt x="1033" y="1425"/>
                  <a:pt x="1038" y="1425"/>
                  <a:pt x="1043" y="1425"/>
                </a:cubicBezTo>
                <a:cubicBezTo>
                  <a:pt x="1072" y="1425"/>
                  <a:pt x="1072" y="1425"/>
                  <a:pt x="1072" y="1425"/>
                </a:cubicBezTo>
                <a:cubicBezTo>
                  <a:pt x="1081" y="1425"/>
                  <a:pt x="1090" y="1425"/>
                  <a:pt x="1099" y="1425"/>
                </a:cubicBezTo>
                <a:cubicBezTo>
                  <a:pt x="1112" y="1425"/>
                  <a:pt x="1130" y="1423"/>
                  <a:pt x="1140" y="1432"/>
                </a:cubicBezTo>
                <a:cubicBezTo>
                  <a:pt x="1140" y="1433"/>
                  <a:pt x="1141" y="1433"/>
                  <a:pt x="1141" y="1434"/>
                </a:cubicBezTo>
                <a:cubicBezTo>
                  <a:pt x="1142" y="1434"/>
                  <a:pt x="1142" y="1434"/>
                  <a:pt x="1142" y="1434"/>
                </a:cubicBezTo>
                <a:cubicBezTo>
                  <a:pt x="1142" y="1434"/>
                  <a:pt x="1142" y="1435"/>
                  <a:pt x="1142" y="1435"/>
                </a:cubicBezTo>
                <a:cubicBezTo>
                  <a:pt x="1143" y="1435"/>
                  <a:pt x="1143" y="1436"/>
                  <a:pt x="1143" y="1436"/>
                </a:cubicBezTo>
                <a:cubicBezTo>
                  <a:pt x="1144" y="1438"/>
                  <a:pt x="1144" y="1440"/>
                  <a:pt x="1144" y="1442"/>
                </a:cubicBezTo>
                <a:cubicBezTo>
                  <a:pt x="1143" y="1452"/>
                  <a:pt x="1135" y="1467"/>
                  <a:pt x="1133" y="1473"/>
                </a:cubicBezTo>
                <a:cubicBezTo>
                  <a:pt x="1133" y="1474"/>
                  <a:pt x="1133" y="1474"/>
                  <a:pt x="1133" y="1474"/>
                </a:cubicBezTo>
                <a:cubicBezTo>
                  <a:pt x="1132" y="1476"/>
                  <a:pt x="1131" y="1478"/>
                  <a:pt x="1130" y="1480"/>
                </a:cubicBezTo>
                <a:cubicBezTo>
                  <a:pt x="1130" y="1481"/>
                  <a:pt x="1130" y="1481"/>
                  <a:pt x="1130" y="1481"/>
                </a:cubicBezTo>
                <a:cubicBezTo>
                  <a:pt x="1130" y="1482"/>
                  <a:pt x="1129" y="1483"/>
                  <a:pt x="1129" y="1483"/>
                </a:cubicBezTo>
                <a:cubicBezTo>
                  <a:pt x="1129" y="1484"/>
                  <a:pt x="1128" y="1484"/>
                  <a:pt x="1128" y="1485"/>
                </a:cubicBezTo>
                <a:cubicBezTo>
                  <a:pt x="1128" y="1485"/>
                  <a:pt x="1127" y="1486"/>
                  <a:pt x="1127" y="1487"/>
                </a:cubicBezTo>
                <a:cubicBezTo>
                  <a:pt x="1126" y="1487"/>
                  <a:pt x="1126" y="1487"/>
                  <a:pt x="1126" y="1488"/>
                </a:cubicBezTo>
                <a:cubicBezTo>
                  <a:pt x="1125" y="1488"/>
                  <a:pt x="1125" y="1488"/>
                  <a:pt x="1125" y="1488"/>
                </a:cubicBezTo>
                <a:cubicBezTo>
                  <a:pt x="1124" y="1489"/>
                  <a:pt x="1124" y="1489"/>
                  <a:pt x="1124" y="1490"/>
                </a:cubicBezTo>
                <a:cubicBezTo>
                  <a:pt x="1122" y="1491"/>
                  <a:pt x="1121" y="1492"/>
                  <a:pt x="1119" y="1493"/>
                </a:cubicBezTo>
                <a:cubicBezTo>
                  <a:pt x="1117" y="1494"/>
                  <a:pt x="1115" y="1495"/>
                  <a:pt x="1114" y="1496"/>
                </a:cubicBezTo>
                <a:cubicBezTo>
                  <a:pt x="1113" y="1496"/>
                  <a:pt x="1113" y="1496"/>
                  <a:pt x="1113" y="1496"/>
                </a:cubicBezTo>
                <a:cubicBezTo>
                  <a:pt x="1112" y="1497"/>
                  <a:pt x="1112" y="1497"/>
                  <a:pt x="1112" y="1497"/>
                </a:cubicBezTo>
                <a:cubicBezTo>
                  <a:pt x="1106" y="1499"/>
                  <a:pt x="1100" y="1501"/>
                  <a:pt x="1095" y="1502"/>
                </a:cubicBezTo>
                <a:close/>
                <a:moveTo>
                  <a:pt x="773" y="1710"/>
                </a:moveTo>
                <a:cubicBezTo>
                  <a:pt x="773" y="1710"/>
                  <a:pt x="773" y="1710"/>
                  <a:pt x="773" y="1710"/>
                </a:cubicBezTo>
                <a:cubicBezTo>
                  <a:pt x="771" y="1721"/>
                  <a:pt x="762" y="1732"/>
                  <a:pt x="756" y="1742"/>
                </a:cubicBezTo>
                <a:cubicBezTo>
                  <a:pt x="756" y="1742"/>
                  <a:pt x="756" y="1742"/>
                  <a:pt x="756" y="1742"/>
                </a:cubicBezTo>
                <a:cubicBezTo>
                  <a:pt x="750" y="1753"/>
                  <a:pt x="744" y="1767"/>
                  <a:pt x="736" y="1777"/>
                </a:cubicBezTo>
                <a:cubicBezTo>
                  <a:pt x="735" y="1778"/>
                  <a:pt x="735" y="1779"/>
                  <a:pt x="734" y="1781"/>
                </a:cubicBezTo>
                <a:cubicBezTo>
                  <a:pt x="734" y="1781"/>
                  <a:pt x="733" y="1781"/>
                  <a:pt x="733" y="1781"/>
                </a:cubicBezTo>
                <a:cubicBezTo>
                  <a:pt x="732" y="1782"/>
                  <a:pt x="731" y="1783"/>
                  <a:pt x="730" y="1784"/>
                </a:cubicBezTo>
                <a:cubicBezTo>
                  <a:pt x="729" y="1785"/>
                  <a:pt x="729" y="1785"/>
                  <a:pt x="728" y="1786"/>
                </a:cubicBezTo>
                <a:cubicBezTo>
                  <a:pt x="728" y="1786"/>
                  <a:pt x="728" y="1786"/>
                  <a:pt x="728" y="1786"/>
                </a:cubicBezTo>
                <a:cubicBezTo>
                  <a:pt x="719" y="1794"/>
                  <a:pt x="708" y="1799"/>
                  <a:pt x="696" y="1802"/>
                </a:cubicBezTo>
                <a:cubicBezTo>
                  <a:pt x="695" y="1803"/>
                  <a:pt x="693" y="1803"/>
                  <a:pt x="692" y="1804"/>
                </a:cubicBezTo>
                <a:cubicBezTo>
                  <a:pt x="685" y="1805"/>
                  <a:pt x="678" y="1806"/>
                  <a:pt x="671" y="1806"/>
                </a:cubicBezTo>
                <a:cubicBezTo>
                  <a:pt x="665" y="1806"/>
                  <a:pt x="665" y="1806"/>
                  <a:pt x="665" y="1806"/>
                </a:cubicBezTo>
                <a:cubicBezTo>
                  <a:pt x="665" y="1806"/>
                  <a:pt x="665" y="1806"/>
                  <a:pt x="665" y="1806"/>
                </a:cubicBezTo>
                <a:cubicBezTo>
                  <a:pt x="636" y="1806"/>
                  <a:pt x="607" y="1807"/>
                  <a:pt x="578" y="1807"/>
                </a:cubicBezTo>
                <a:cubicBezTo>
                  <a:pt x="575" y="1807"/>
                  <a:pt x="573" y="1806"/>
                  <a:pt x="571" y="1806"/>
                </a:cubicBezTo>
                <a:cubicBezTo>
                  <a:pt x="567" y="1806"/>
                  <a:pt x="563" y="1805"/>
                  <a:pt x="560" y="1804"/>
                </a:cubicBezTo>
                <a:cubicBezTo>
                  <a:pt x="555" y="1802"/>
                  <a:pt x="551" y="1800"/>
                  <a:pt x="549" y="1797"/>
                </a:cubicBezTo>
                <a:cubicBezTo>
                  <a:pt x="546" y="1794"/>
                  <a:pt x="545" y="1790"/>
                  <a:pt x="545" y="1786"/>
                </a:cubicBezTo>
                <a:cubicBezTo>
                  <a:pt x="545" y="1783"/>
                  <a:pt x="546" y="1780"/>
                  <a:pt x="548" y="1777"/>
                </a:cubicBezTo>
                <a:cubicBezTo>
                  <a:pt x="548" y="1776"/>
                  <a:pt x="549" y="1776"/>
                  <a:pt x="549" y="1776"/>
                </a:cubicBezTo>
                <a:cubicBezTo>
                  <a:pt x="549" y="1775"/>
                  <a:pt x="549" y="1774"/>
                  <a:pt x="550" y="1774"/>
                </a:cubicBezTo>
                <a:cubicBezTo>
                  <a:pt x="551" y="1772"/>
                  <a:pt x="551" y="1772"/>
                  <a:pt x="551" y="1772"/>
                </a:cubicBezTo>
                <a:cubicBezTo>
                  <a:pt x="551" y="1772"/>
                  <a:pt x="551" y="1772"/>
                  <a:pt x="551" y="1772"/>
                </a:cubicBezTo>
                <a:cubicBezTo>
                  <a:pt x="558" y="1761"/>
                  <a:pt x="566" y="1750"/>
                  <a:pt x="574" y="1739"/>
                </a:cubicBezTo>
                <a:cubicBezTo>
                  <a:pt x="579" y="1730"/>
                  <a:pt x="585" y="1720"/>
                  <a:pt x="592" y="1713"/>
                </a:cubicBezTo>
                <a:cubicBezTo>
                  <a:pt x="593" y="1712"/>
                  <a:pt x="593" y="1711"/>
                  <a:pt x="594" y="1710"/>
                </a:cubicBezTo>
                <a:cubicBezTo>
                  <a:pt x="594" y="1710"/>
                  <a:pt x="595" y="1710"/>
                  <a:pt x="595" y="1710"/>
                </a:cubicBezTo>
                <a:cubicBezTo>
                  <a:pt x="596" y="1708"/>
                  <a:pt x="598" y="1707"/>
                  <a:pt x="600" y="1705"/>
                </a:cubicBezTo>
                <a:cubicBezTo>
                  <a:pt x="600" y="1705"/>
                  <a:pt x="600" y="1705"/>
                  <a:pt x="600" y="1705"/>
                </a:cubicBezTo>
                <a:cubicBezTo>
                  <a:pt x="600" y="1705"/>
                  <a:pt x="600" y="1705"/>
                  <a:pt x="600" y="1705"/>
                </a:cubicBezTo>
                <a:cubicBezTo>
                  <a:pt x="610" y="1697"/>
                  <a:pt x="622" y="1692"/>
                  <a:pt x="635" y="1690"/>
                </a:cubicBezTo>
                <a:cubicBezTo>
                  <a:pt x="635" y="1690"/>
                  <a:pt x="635" y="1690"/>
                  <a:pt x="635" y="1690"/>
                </a:cubicBezTo>
                <a:cubicBezTo>
                  <a:pt x="636" y="1690"/>
                  <a:pt x="636" y="1690"/>
                  <a:pt x="636" y="1690"/>
                </a:cubicBezTo>
                <a:cubicBezTo>
                  <a:pt x="638" y="1689"/>
                  <a:pt x="640" y="1689"/>
                  <a:pt x="643" y="1688"/>
                </a:cubicBezTo>
                <a:cubicBezTo>
                  <a:pt x="644" y="1688"/>
                  <a:pt x="646" y="1688"/>
                  <a:pt x="647" y="1688"/>
                </a:cubicBezTo>
                <a:cubicBezTo>
                  <a:pt x="649" y="1688"/>
                  <a:pt x="650" y="1688"/>
                  <a:pt x="652" y="1688"/>
                </a:cubicBezTo>
                <a:cubicBezTo>
                  <a:pt x="653" y="1687"/>
                  <a:pt x="654" y="1687"/>
                  <a:pt x="655" y="1687"/>
                </a:cubicBezTo>
                <a:cubicBezTo>
                  <a:pt x="656" y="1687"/>
                  <a:pt x="656" y="1687"/>
                  <a:pt x="656" y="1687"/>
                </a:cubicBezTo>
                <a:cubicBezTo>
                  <a:pt x="656" y="1687"/>
                  <a:pt x="656" y="1687"/>
                  <a:pt x="656" y="1687"/>
                </a:cubicBezTo>
                <a:cubicBezTo>
                  <a:pt x="683" y="1687"/>
                  <a:pt x="709" y="1687"/>
                  <a:pt x="736" y="1687"/>
                </a:cubicBezTo>
                <a:cubicBezTo>
                  <a:pt x="736" y="1687"/>
                  <a:pt x="736" y="1687"/>
                  <a:pt x="736" y="1687"/>
                </a:cubicBezTo>
                <a:cubicBezTo>
                  <a:pt x="740" y="1687"/>
                  <a:pt x="740" y="1687"/>
                  <a:pt x="740" y="1687"/>
                </a:cubicBezTo>
                <a:cubicBezTo>
                  <a:pt x="747" y="1687"/>
                  <a:pt x="753" y="1688"/>
                  <a:pt x="757" y="1689"/>
                </a:cubicBezTo>
                <a:cubicBezTo>
                  <a:pt x="759" y="1690"/>
                  <a:pt x="760" y="1690"/>
                  <a:pt x="761" y="1691"/>
                </a:cubicBezTo>
                <a:cubicBezTo>
                  <a:pt x="761" y="1691"/>
                  <a:pt x="762" y="1691"/>
                  <a:pt x="763" y="1691"/>
                </a:cubicBezTo>
                <a:cubicBezTo>
                  <a:pt x="763" y="1692"/>
                  <a:pt x="763" y="1692"/>
                  <a:pt x="764" y="1692"/>
                </a:cubicBezTo>
                <a:cubicBezTo>
                  <a:pt x="771" y="1695"/>
                  <a:pt x="775" y="1701"/>
                  <a:pt x="773" y="1710"/>
                </a:cubicBezTo>
                <a:close/>
                <a:moveTo>
                  <a:pt x="828" y="1613"/>
                </a:moveTo>
                <a:cubicBezTo>
                  <a:pt x="827" y="1614"/>
                  <a:pt x="827" y="1614"/>
                  <a:pt x="827" y="1614"/>
                </a:cubicBezTo>
                <a:cubicBezTo>
                  <a:pt x="827" y="1614"/>
                  <a:pt x="827" y="1614"/>
                  <a:pt x="827" y="1614"/>
                </a:cubicBezTo>
                <a:cubicBezTo>
                  <a:pt x="826" y="1616"/>
                  <a:pt x="825" y="1617"/>
                  <a:pt x="824" y="1619"/>
                </a:cubicBezTo>
                <a:cubicBezTo>
                  <a:pt x="824" y="1619"/>
                  <a:pt x="824" y="1619"/>
                  <a:pt x="823" y="1619"/>
                </a:cubicBezTo>
                <a:cubicBezTo>
                  <a:pt x="817" y="1627"/>
                  <a:pt x="807" y="1632"/>
                  <a:pt x="797" y="1635"/>
                </a:cubicBezTo>
                <a:cubicBezTo>
                  <a:pt x="797" y="1635"/>
                  <a:pt x="797" y="1635"/>
                  <a:pt x="797" y="1635"/>
                </a:cubicBezTo>
                <a:cubicBezTo>
                  <a:pt x="795" y="1636"/>
                  <a:pt x="794" y="1636"/>
                  <a:pt x="792" y="1636"/>
                </a:cubicBezTo>
                <a:cubicBezTo>
                  <a:pt x="791" y="1637"/>
                  <a:pt x="790" y="1637"/>
                  <a:pt x="789" y="1637"/>
                </a:cubicBezTo>
                <a:cubicBezTo>
                  <a:pt x="788" y="1637"/>
                  <a:pt x="788" y="1638"/>
                  <a:pt x="787" y="1638"/>
                </a:cubicBezTo>
                <a:cubicBezTo>
                  <a:pt x="781" y="1639"/>
                  <a:pt x="774" y="1640"/>
                  <a:pt x="768" y="1640"/>
                </a:cubicBezTo>
                <a:cubicBezTo>
                  <a:pt x="767" y="1640"/>
                  <a:pt x="767" y="1640"/>
                  <a:pt x="767" y="1640"/>
                </a:cubicBezTo>
                <a:cubicBezTo>
                  <a:pt x="756" y="1641"/>
                  <a:pt x="745" y="1640"/>
                  <a:pt x="735" y="1640"/>
                </a:cubicBezTo>
                <a:cubicBezTo>
                  <a:pt x="718" y="1640"/>
                  <a:pt x="702" y="1640"/>
                  <a:pt x="685" y="1640"/>
                </a:cubicBezTo>
                <a:cubicBezTo>
                  <a:pt x="683" y="1640"/>
                  <a:pt x="680" y="1640"/>
                  <a:pt x="677" y="1640"/>
                </a:cubicBezTo>
                <a:cubicBezTo>
                  <a:pt x="677" y="1640"/>
                  <a:pt x="677" y="1640"/>
                  <a:pt x="676" y="1640"/>
                </a:cubicBezTo>
                <a:cubicBezTo>
                  <a:pt x="674" y="1639"/>
                  <a:pt x="672" y="1639"/>
                  <a:pt x="669" y="1638"/>
                </a:cubicBezTo>
                <a:cubicBezTo>
                  <a:pt x="669" y="1638"/>
                  <a:pt x="669" y="1638"/>
                  <a:pt x="669" y="1638"/>
                </a:cubicBezTo>
                <a:cubicBezTo>
                  <a:pt x="669" y="1638"/>
                  <a:pt x="669" y="1638"/>
                  <a:pt x="669" y="1638"/>
                </a:cubicBezTo>
                <a:cubicBezTo>
                  <a:pt x="662" y="1636"/>
                  <a:pt x="655" y="1632"/>
                  <a:pt x="655" y="1624"/>
                </a:cubicBezTo>
                <a:cubicBezTo>
                  <a:pt x="655" y="1623"/>
                  <a:pt x="655" y="1621"/>
                  <a:pt x="656" y="1620"/>
                </a:cubicBezTo>
                <a:cubicBezTo>
                  <a:pt x="656" y="1619"/>
                  <a:pt x="656" y="1619"/>
                  <a:pt x="656" y="1618"/>
                </a:cubicBezTo>
                <a:cubicBezTo>
                  <a:pt x="657" y="1617"/>
                  <a:pt x="657" y="1616"/>
                  <a:pt x="658" y="1614"/>
                </a:cubicBezTo>
                <a:cubicBezTo>
                  <a:pt x="658" y="1614"/>
                  <a:pt x="658" y="1614"/>
                  <a:pt x="658" y="1614"/>
                </a:cubicBezTo>
                <a:cubicBezTo>
                  <a:pt x="659" y="1613"/>
                  <a:pt x="659" y="1613"/>
                  <a:pt x="659" y="1613"/>
                </a:cubicBezTo>
                <a:cubicBezTo>
                  <a:pt x="660" y="1612"/>
                  <a:pt x="661" y="1610"/>
                  <a:pt x="662" y="1609"/>
                </a:cubicBezTo>
                <a:cubicBezTo>
                  <a:pt x="670" y="1597"/>
                  <a:pt x="678" y="1585"/>
                  <a:pt x="686" y="1572"/>
                </a:cubicBezTo>
                <a:cubicBezTo>
                  <a:pt x="687" y="1572"/>
                  <a:pt x="687" y="1572"/>
                  <a:pt x="687" y="1572"/>
                </a:cubicBezTo>
                <a:cubicBezTo>
                  <a:pt x="689" y="1568"/>
                  <a:pt x="689" y="1568"/>
                  <a:pt x="689" y="1568"/>
                </a:cubicBezTo>
                <a:cubicBezTo>
                  <a:pt x="692" y="1565"/>
                  <a:pt x="695" y="1562"/>
                  <a:pt x="699" y="1559"/>
                </a:cubicBezTo>
                <a:cubicBezTo>
                  <a:pt x="702" y="1557"/>
                  <a:pt x="705" y="1555"/>
                  <a:pt x="708" y="1554"/>
                </a:cubicBezTo>
                <a:cubicBezTo>
                  <a:pt x="709" y="1553"/>
                  <a:pt x="710" y="1553"/>
                  <a:pt x="711" y="1552"/>
                </a:cubicBezTo>
                <a:cubicBezTo>
                  <a:pt x="712" y="1552"/>
                  <a:pt x="712" y="1552"/>
                  <a:pt x="713" y="1551"/>
                </a:cubicBezTo>
                <a:cubicBezTo>
                  <a:pt x="713" y="1551"/>
                  <a:pt x="714" y="1551"/>
                  <a:pt x="714" y="1551"/>
                </a:cubicBezTo>
                <a:cubicBezTo>
                  <a:pt x="715" y="1551"/>
                  <a:pt x="715" y="1551"/>
                  <a:pt x="716" y="1550"/>
                </a:cubicBezTo>
                <a:cubicBezTo>
                  <a:pt x="720" y="1549"/>
                  <a:pt x="725" y="1547"/>
                  <a:pt x="730" y="1546"/>
                </a:cubicBezTo>
                <a:cubicBezTo>
                  <a:pt x="735" y="1545"/>
                  <a:pt x="741" y="1544"/>
                  <a:pt x="747" y="1544"/>
                </a:cubicBezTo>
                <a:cubicBezTo>
                  <a:pt x="763" y="1544"/>
                  <a:pt x="763" y="1544"/>
                  <a:pt x="763" y="1544"/>
                </a:cubicBezTo>
                <a:cubicBezTo>
                  <a:pt x="767" y="1544"/>
                  <a:pt x="770" y="1544"/>
                  <a:pt x="774" y="1544"/>
                </a:cubicBezTo>
                <a:cubicBezTo>
                  <a:pt x="789" y="1544"/>
                  <a:pt x="803" y="1544"/>
                  <a:pt x="818" y="1544"/>
                </a:cubicBezTo>
                <a:cubicBezTo>
                  <a:pt x="818" y="1544"/>
                  <a:pt x="818" y="1544"/>
                  <a:pt x="818" y="1544"/>
                </a:cubicBezTo>
                <a:cubicBezTo>
                  <a:pt x="824" y="1544"/>
                  <a:pt x="824" y="1544"/>
                  <a:pt x="824" y="1544"/>
                </a:cubicBezTo>
                <a:cubicBezTo>
                  <a:pt x="830" y="1544"/>
                  <a:pt x="835" y="1545"/>
                  <a:pt x="839" y="1546"/>
                </a:cubicBezTo>
                <a:cubicBezTo>
                  <a:pt x="843" y="1547"/>
                  <a:pt x="845" y="1548"/>
                  <a:pt x="847" y="1549"/>
                </a:cubicBezTo>
                <a:cubicBezTo>
                  <a:pt x="854" y="1553"/>
                  <a:pt x="858" y="1559"/>
                  <a:pt x="853" y="1568"/>
                </a:cubicBezTo>
                <a:cubicBezTo>
                  <a:pt x="848" y="1579"/>
                  <a:pt x="841" y="1590"/>
                  <a:pt x="835" y="1600"/>
                </a:cubicBezTo>
                <a:cubicBezTo>
                  <a:pt x="828" y="1613"/>
                  <a:pt x="828" y="1613"/>
                  <a:pt x="828" y="1613"/>
                </a:cubicBezTo>
                <a:cubicBezTo>
                  <a:pt x="828" y="1613"/>
                  <a:pt x="828" y="1613"/>
                  <a:pt x="828" y="1613"/>
                </a:cubicBezTo>
                <a:close/>
                <a:moveTo>
                  <a:pt x="1592" y="1771"/>
                </a:moveTo>
                <a:cubicBezTo>
                  <a:pt x="1592" y="1773"/>
                  <a:pt x="1592" y="1775"/>
                  <a:pt x="1591" y="1777"/>
                </a:cubicBezTo>
                <a:cubicBezTo>
                  <a:pt x="1591" y="1778"/>
                  <a:pt x="1591" y="1778"/>
                  <a:pt x="1591" y="1778"/>
                </a:cubicBezTo>
                <a:cubicBezTo>
                  <a:pt x="1590" y="1780"/>
                  <a:pt x="1590" y="1782"/>
                  <a:pt x="1589" y="1783"/>
                </a:cubicBezTo>
                <a:cubicBezTo>
                  <a:pt x="1589" y="1783"/>
                  <a:pt x="1589" y="1783"/>
                  <a:pt x="1589" y="1784"/>
                </a:cubicBezTo>
                <a:cubicBezTo>
                  <a:pt x="1588" y="1784"/>
                  <a:pt x="1588" y="1784"/>
                  <a:pt x="1588" y="1784"/>
                </a:cubicBezTo>
                <a:cubicBezTo>
                  <a:pt x="1587" y="1786"/>
                  <a:pt x="1586" y="1788"/>
                  <a:pt x="1584" y="1789"/>
                </a:cubicBezTo>
                <a:cubicBezTo>
                  <a:pt x="1584" y="1789"/>
                  <a:pt x="1584" y="1789"/>
                  <a:pt x="1584" y="1789"/>
                </a:cubicBezTo>
                <a:cubicBezTo>
                  <a:pt x="1582" y="1791"/>
                  <a:pt x="1581" y="1792"/>
                  <a:pt x="1579" y="1794"/>
                </a:cubicBezTo>
                <a:cubicBezTo>
                  <a:pt x="1578" y="1794"/>
                  <a:pt x="1578" y="1794"/>
                  <a:pt x="1578" y="1794"/>
                </a:cubicBezTo>
                <a:cubicBezTo>
                  <a:pt x="1578" y="1794"/>
                  <a:pt x="1577" y="1795"/>
                  <a:pt x="1577" y="1795"/>
                </a:cubicBezTo>
                <a:cubicBezTo>
                  <a:pt x="1575" y="1796"/>
                  <a:pt x="1573" y="1797"/>
                  <a:pt x="1571" y="1798"/>
                </a:cubicBezTo>
                <a:cubicBezTo>
                  <a:pt x="1571" y="1798"/>
                  <a:pt x="1571" y="1798"/>
                  <a:pt x="1570" y="1798"/>
                </a:cubicBezTo>
                <a:cubicBezTo>
                  <a:pt x="1569" y="1799"/>
                  <a:pt x="1567" y="1800"/>
                  <a:pt x="1566" y="1800"/>
                </a:cubicBezTo>
                <a:cubicBezTo>
                  <a:pt x="1565" y="1800"/>
                  <a:pt x="1564" y="1801"/>
                  <a:pt x="1563" y="1801"/>
                </a:cubicBezTo>
                <a:cubicBezTo>
                  <a:pt x="1563" y="1801"/>
                  <a:pt x="1563" y="1801"/>
                  <a:pt x="1562" y="1801"/>
                </a:cubicBezTo>
                <a:cubicBezTo>
                  <a:pt x="1562" y="1801"/>
                  <a:pt x="1561" y="1801"/>
                  <a:pt x="1561" y="1802"/>
                </a:cubicBezTo>
                <a:cubicBezTo>
                  <a:pt x="1559" y="1802"/>
                  <a:pt x="1557" y="1802"/>
                  <a:pt x="1555" y="1803"/>
                </a:cubicBezTo>
                <a:cubicBezTo>
                  <a:pt x="1553" y="1803"/>
                  <a:pt x="1551" y="1803"/>
                  <a:pt x="1550" y="1803"/>
                </a:cubicBezTo>
                <a:cubicBezTo>
                  <a:pt x="1548" y="1804"/>
                  <a:pt x="1546" y="1804"/>
                  <a:pt x="1544" y="1804"/>
                </a:cubicBezTo>
                <a:cubicBezTo>
                  <a:pt x="1544" y="1804"/>
                  <a:pt x="1543" y="1804"/>
                  <a:pt x="1542" y="1804"/>
                </a:cubicBezTo>
                <a:cubicBezTo>
                  <a:pt x="1540" y="1804"/>
                  <a:pt x="1540" y="1804"/>
                  <a:pt x="1540" y="1804"/>
                </a:cubicBezTo>
                <a:cubicBezTo>
                  <a:pt x="1540" y="1804"/>
                  <a:pt x="1540" y="1804"/>
                  <a:pt x="1540" y="1804"/>
                </a:cubicBezTo>
                <a:cubicBezTo>
                  <a:pt x="1530" y="1804"/>
                  <a:pt x="1519" y="1804"/>
                  <a:pt x="1509" y="1804"/>
                </a:cubicBezTo>
                <a:cubicBezTo>
                  <a:pt x="1461" y="1804"/>
                  <a:pt x="908" y="1806"/>
                  <a:pt x="869" y="1806"/>
                </a:cubicBezTo>
                <a:cubicBezTo>
                  <a:pt x="866" y="1806"/>
                  <a:pt x="863" y="1806"/>
                  <a:pt x="861" y="1805"/>
                </a:cubicBezTo>
                <a:cubicBezTo>
                  <a:pt x="857" y="1805"/>
                  <a:pt x="853" y="1804"/>
                  <a:pt x="850" y="1803"/>
                </a:cubicBezTo>
                <a:cubicBezTo>
                  <a:pt x="845" y="1802"/>
                  <a:pt x="841" y="1799"/>
                  <a:pt x="838" y="1796"/>
                </a:cubicBezTo>
                <a:cubicBezTo>
                  <a:pt x="835" y="1793"/>
                  <a:pt x="833" y="1790"/>
                  <a:pt x="832" y="1786"/>
                </a:cubicBezTo>
                <a:cubicBezTo>
                  <a:pt x="832" y="1782"/>
                  <a:pt x="832" y="1778"/>
                  <a:pt x="834" y="1773"/>
                </a:cubicBezTo>
                <a:cubicBezTo>
                  <a:pt x="836" y="1771"/>
                  <a:pt x="836" y="1771"/>
                  <a:pt x="836" y="1771"/>
                </a:cubicBezTo>
                <a:cubicBezTo>
                  <a:pt x="836" y="1771"/>
                  <a:pt x="836" y="1771"/>
                  <a:pt x="836" y="1771"/>
                </a:cubicBezTo>
                <a:cubicBezTo>
                  <a:pt x="842" y="1758"/>
                  <a:pt x="848" y="1745"/>
                  <a:pt x="854" y="1732"/>
                </a:cubicBezTo>
                <a:cubicBezTo>
                  <a:pt x="856" y="1730"/>
                  <a:pt x="857" y="1728"/>
                  <a:pt x="858" y="1726"/>
                </a:cubicBezTo>
                <a:cubicBezTo>
                  <a:pt x="862" y="1716"/>
                  <a:pt x="862" y="1716"/>
                  <a:pt x="862" y="1716"/>
                </a:cubicBezTo>
                <a:cubicBezTo>
                  <a:pt x="864" y="1712"/>
                  <a:pt x="868" y="1708"/>
                  <a:pt x="872" y="1704"/>
                </a:cubicBezTo>
                <a:cubicBezTo>
                  <a:pt x="873" y="1704"/>
                  <a:pt x="874" y="1703"/>
                  <a:pt x="875" y="1702"/>
                </a:cubicBezTo>
                <a:cubicBezTo>
                  <a:pt x="875" y="1702"/>
                  <a:pt x="876" y="1701"/>
                  <a:pt x="877" y="1701"/>
                </a:cubicBezTo>
                <a:cubicBezTo>
                  <a:pt x="878" y="1700"/>
                  <a:pt x="878" y="1700"/>
                  <a:pt x="879" y="1699"/>
                </a:cubicBezTo>
                <a:cubicBezTo>
                  <a:pt x="880" y="1699"/>
                  <a:pt x="880" y="1699"/>
                  <a:pt x="880" y="1699"/>
                </a:cubicBezTo>
                <a:cubicBezTo>
                  <a:pt x="881" y="1698"/>
                  <a:pt x="881" y="1698"/>
                  <a:pt x="882" y="1698"/>
                </a:cubicBezTo>
                <a:cubicBezTo>
                  <a:pt x="883" y="1697"/>
                  <a:pt x="885" y="1696"/>
                  <a:pt x="886" y="1695"/>
                </a:cubicBezTo>
                <a:cubicBezTo>
                  <a:pt x="887" y="1695"/>
                  <a:pt x="888" y="1695"/>
                  <a:pt x="889" y="1694"/>
                </a:cubicBezTo>
                <a:cubicBezTo>
                  <a:pt x="890" y="1694"/>
                  <a:pt x="891" y="1693"/>
                  <a:pt x="893" y="1693"/>
                </a:cubicBezTo>
                <a:cubicBezTo>
                  <a:pt x="895" y="1692"/>
                  <a:pt x="897" y="1691"/>
                  <a:pt x="899" y="1690"/>
                </a:cubicBezTo>
                <a:cubicBezTo>
                  <a:pt x="900" y="1690"/>
                  <a:pt x="901" y="1690"/>
                  <a:pt x="903" y="1689"/>
                </a:cubicBezTo>
                <a:cubicBezTo>
                  <a:pt x="903" y="1689"/>
                  <a:pt x="904" y="1689"/>
                  <a:pt x="904" y="1689"/>
                </a:cubicBezTo>
                <a:cubicBezTo>
                  <a:pt x="910" y="1687"/>
                  <a:pt x="917" y="1687"/>
                  <a:pt x="923" y="1687"/>
                </a:cubicBezTo>
                <a:cubicBezTo>
                  <a:pt x="923" y="1687"/>
                  <a:pt x="1503" y="1685"/>
                  <a:pt x="1525" y="1685"/>
                </a:cubicBezTo>
                <a:cubicBezTo>
                  <a:pt x="1531" y="1685"/>
                  <a:pt x="1538" y="1685"/>
                  <a:pt x="1545" y="1685"/>
                </a:cubicBezTo>
                <a:cubicBezTo>
                  <a:pt x="1548" y="1685"/>
                  <a:pt x="1551" y="1685"/>
                  <a:pt x="1554" y="1686"/>
                </a:cubicBezTo>
                <a:cubicBezTo>
                  <a:pt x="1554" y="1686"/>
                  <a:pt x="1555" y="1686"/>
                  <a:pt x="1555" y="1686"/>
                </a:cubicBezTo>
                <a:cubicBezTo>
                  <a:pt x="1557" y="1686"/>
                  <a:pt x="1560" y="1686"/>
                  <a:pt x="1562" y="1687"/>
                </a:cubicBezTo>
                <a:cubicBezTo>
                  <a:pt x="1562" y="1687"/>
                  <a:pt x="1563" y="1687"/>
                  <a:pt x="1563" y="1687"/>
                </a:cubicBezTo>
                <a:cubicBezTo>
                  <a:pt x="1563" y="1687"/>
                  <a:pt x="1563" y="1687"/>
                  <a:pt x="1563" y="1687"/>
                </a:cubicBezTo>
                <a:cubicBezTo>
                  <a:pt x="1566" y="1688"/>
                  <a:pt x="1568" y="1689"/>
                  <a:pt x="1570" y="1690"/>
                </a:cubicBezTo>
                <a:cubicBezTo>
                  <a:pt x="1570" y="1690"/>
                  <a:pt x="1571" y="1690"/>
                  <a:pt x="1571" y="1690"/>
                </a:cubicBezTo>
                <a:cubicBezTo>
                  <a:pt x="1573" y="1691"/>
                  <a:pt x="1575" y="1692"/>
                  <a:pt x="1577" y="1693"/>
                </a:cubicBezTo>
                <a:cubicBezTo>
                  <a:pt x="1577" y="1693"/>
                  <a:pt x="1577" y="1693"/>
                  <a:pt x="1578" y="1693"/>
                </a:cubicBezTo>
                <a:cubicBezTo>
                  <a:pt x="1578" y="1694"/>
                  <a:pt x="1578" y="1694"/>
                  <a:pt x="1578" y="1694"/>
                </a:cubicBezTo>
                <a:cubicBezTo>
                  <a:pt x="1580" y="1695"/>
                  <a:pt x="1581" y="1696"/>
                  <a:pt x="1582" y="1697"/>
                </a:cubicBezTo>
                <a:cubicBezTo>
                  <a:pt x="1584" y="1698"/>
                  <a:pt x="1586" y="1700"/>
                  <a:pt x="1588" y="1703"/>
                </a:cubicBezTo>
                <a:cubicBezTo>
                  <a:pt x="1590" y="1706"/>
                  <a:pt x="1592" y="1710"/>
                  <a:pt x="1592" y="1714"/>
                </a:cubicBezTo>
                <a:cubicBezTo>
                  <a:pt x="1592" y="1717"/>
                  <a:pt x="1592" y="1717"/>
                  <a:pt x="1592" y="1717"/>
                </a:cubicBezTo>
                <a:cubicBezTo>
                  <a:pt x="1592" y="1717"/>
                  <a:pt x="1592" y="1717"/>
                  <a:pt x="1592" y="1717"/>
                </a:cubicBezTo>
                <a:cubicBezTo>
                  <a:pt x="1592" y="1731"/>
                  <a:pt x="1592" y="1746"/>
                  <a:pt x="1592" y="1760"/>
                </a:cubicBezTo>
                <a:cubicBezTo>
                  <a:pt x="1592" y="1764"/>
                  <a:pt x="1593" y="1767"/>
                  <a:pt x="1592" y="1771"/>
                </a:cubicBezTo>
                <a:close/>
                <a:moveTo>
                  <a:pt x="1671" y="1490"/>
                </a:moveTo>
                <a:cubicBezTo>
                  <a:pt x="1671" y="1490"/>
                  <a:pt x="1670" y="1489"/>
                  <a:pt x="1670" y="1489"/>
                </a:cubicBezTo>
                <a:cubicBezTo>
                  <a:pt x="1670" y="1489"/>
                  <a:pt x="1669" y="1489"/>
                  <a:pt x="1669" y="1488"/>
                </a:cubicBezTo>
                <a:cubicBezTo>
                  <a:pt x="1667" y="1486"/>
                  <a:pt x="1666" y="1483"/>
                  <a:pt x="1665" y="1480"/>
                </a:cubicBezTo>
                <a:cubicBezTo>
                  <a:pt x="1665" y="1477"/>
                  <a:pt x="1665" y="1477"/>
                  <a:pt x="1665" y="1477"/>
                </a:cubicBezTo>
                <a:cubicBezTo>
                  <a:pt x="1665" y="1475"/>
                  <a:pt x="1665" y="1473"/>
                  <a:pt x="1665" y="1471"/>
                </a:cubicBezTo>
                <a:cubicBezTo>
                  <a:pt x="1665" y="1471"/>
                  <a:pt x="1665" y="1471"/>
                  <a:pt x="1665" y="1471"/>
                </a:cubicBezTo>
                <a:cubicBezTo>
                  <a:pt x="1664" y="1463"/>
                  <a:pt x="1662" y="1454"/>
                  <a:pt x="1663" y="1445"/>
                </a:cubicBezTo>
                <a:cubicBezTo>
                  <a:pt x="1663" y="1443"/>
                  <a:pt x="1663" y="1443"/>
                  <a:pt x="1663" y="1443"/>
                </a:cubicBezTo>
                <a:cubicBezTo>
                  <a:pt x="1662" y="1440"/>
                  <a:pt x="1663" y="1437"/>
                  <a:pt x="1665" y="1435"/>
                </a:cubicBezTo>
                <a:cubicBezTo>
                  <a:pt x="1667" y="1433"/>
                  <a:pt x="1669" y="1431"/>
                  <a:pt x="1673" y="1429"/>
                </a:cubicBezTo>
                <a:cubicBezTo>
                  <a:pt x="1676" y="1427"/>
                  <a:pt x="1680" y="1426"/>
                  <a:pt x="1684" y="1425"/>
                </a:cubicBezTo>
                <a:cubicBezTo>
                  <a:pt x="1684" y="1425"/>
                  <a:pt x="1684" y="1425"/>
                  <a:pt x="1684" y="1425"/>
                </a:cubicBezTo>
                <a:cubicBezTo>
                  <a:pt x="1685" y="1425"/>
                  <a:pt x="1685" y="1425"/>
                  <a:pt x="1685" y="1425"/>
                </a:cubicBezTo>
                <a:cubicBezTo>
                  <a:pt x="1687" y="1424"/>
                  <a:pt x="1689" y="1424"/>
                  <a:pt x="1690" y="1424"/>
                </a:cubicBezTo>
                <a:cubicBezTo>
                  <a:pt x="1691" y="1424"/>
                  <a:pt x="1692" y="1424"/>
                  <a:pt x="1693" y="1424"/>
                </a:cubicBezTo>
                <a:cubicBezTo>
                  <a:pt x="1700" y="1423"/>
                  <a:pt x="1708" y="1423"/>
                  <a:pt x="1716" y="1423"/>
                </a:cubicBezTo>
                <a:cubicBezTo>
                  <a:pt x="1769" y="1423"/>
                  <a:pt x="1769" y="1423"/>
                  <a:pt x="1769" y="1423"/>
                </a:cubicBezTo>
                <a:cubicBezTo>
                  <a:pt x="1772" y="1423"/>
                  <a:pt x="1775" y="1423"/>
                  <a:pt x="1778" y="1424"/>
                </a:cubicBezTo>
                <a:cubicBezTo>
                  <a:pt x="1792" y="1425"/>
                  <a:pt x="1808" y="1429"/>
                  <a:pt x="1810" y="1442"/>
                </a:cubicBezTo>
                <a:cubicBezTo>
                  <a:pt x="1814" y="1454"/>
                  <a:pt x="1815" y="1466"/>
                  <a:pt x="1817" y="1478"/>
                </a:cubicBezTo>
                <a:cubicBezTo>
                  <a:pt x="1818" y="1480"/>
                  <a:pt x="1818" y="1480"/>
                  <a:pt x="1818" y="1480"/>
                </a:cubicBezTo>
                <a:cubicBezTo>
                  <a:pt x="1818" y="1482"/>
                  <a:pt x="1818" y="1485"/>
                  <a:pt x="1817" y="1487"/>
                </a:cubicBezTo>
                <a:cubicBezTo>
                  <a:pt x="1817" y="1487"/>
                  <a:pt x="1817" y="1488"/>
                  <a:pt x="1816" y="1488"/>
                </a:cubicBezTo>
                <a:cubicBezTo>
                  <a:pt x="1816" y="1488"/>
                  <a:pt x="1816" y="1488"/>
                  <a:pt x="1816" y="1488"/>
                </a:cubicBezTo>
                <a:cubicBezTo>
                  <a:pt x="1816" y="1488"/>
                  <a:pt x="1816" y="1488"/>
                  <a:pt x="1816" y="1488"/>
                </a:cubicBezTo>
                <a:cubicBezTo>
                  <a:pt x="1813" y="1494"/>
                  <a:pt x="1807" y="1497"/>
                  <a:pt x="1799" y="1499"/>
                </a:cubicBezTo>
                <a:cubicBezTo>
                  <a:pt x="1798" y="1499"/>
                  <a:pt x="1798" y="1499"/>
                  <a:pt x="1797" y="1499"/>
                </a:cubicBezTo>
                <a:cubicBezTo>
                  <a:pt x="1796" y="1500"/>
                  <a:pt x="1796" y="1500"/>
                  <a:pt x="1795" y="1500"/>
                </a:cubicBezTo>
                <a:cubicBezTo>
                  <a:pt x="1794" y="1500"/>
                  <a:pt x="1794" y="1500"/>
                  <a:pt x="1793" y="1500"/>
                </a:cubicBezTo>
                <a:cubicBezTo>
                  <a:pt x="1792" y="1500"/>
                  <a:pt x="1790" y="1501"/>
                  <a:pt x="1789" y="1501"/>
                </a:cubicBezTo>
                <a:cubicBezTo>
                  <a:pt x="1771" y="1503"/>
                  <a:pt x="1750" y="1501"/>
                  <a:pt x="1741" y="1501"/>
                </a:cubicBezTo>
                <a:cubicBezTo>
                  <a:pt x="1707" y="1501"/>
                  <a:pt x="1707" y="1501"/>
                  <a:pt x="1707" y="1501"/>
                </a:cubicBezTo>
                <a:cubicBezTo>
                  <a:pt x="1704" y="1501"/>
                  <a:pt x="1702" y="1501"/>
                  <a:pt x="1699" y="1501"/>
                </a:cubicBezTo>
                <a:cubicBezTo>
                  <a:pt x="1697" y="1501"/>
                  <a:pt x="1695" y="1500"/>
                  <a:pt x="1693" y="1500"/>
                </a:cubicBezTo>
                <a:cubicBezTo>
                  <a:pt x="1693" y="1500"/>
                  <a:pt x="1692" y="1500"/>
                  <a:pt x="1692" y="1500"/>
                </a:cubicBezTo>
                <a:cubicBezTo>
                  <a:pt x="1691" y="1500"/>
                  <a:pt x="1691" y="1500"/>
                  <a:pt x="1691" y="1500"/>
                </a:cubicBezTo>
                <a:cubicBezTo>
                  <a:pt x="1689" y="1499"/>
                  <a:pt x="1687" y="1499"/>
                  <a:pt x="1685" y="1498"/>
                </a:cubicBezTo>
                <a:cubicBezTo>
                  <a:pt x="1684" y="1498"/>
                  <a:pt x="1684" y="1497"/>
                  <a:pt x="1683" y="1497"/>
                </a:cubicBezTo>
                <a:cubicBezTo>
                  <a:pt x="1681" y="1496"/>
                  <a:pt x="1680" y="1496"/>
                  <a:pt x="1678" y="1495"/>
                </a:cubicBezTo>
                <a:cubicBezTo>
                  <a:pt x="1676" y="1494"/>
                  <a:pt x="1674" y="1492"/>
                  <a:pt x="1672" y="1491"/>
                </a:cubicBezTo>
                <a:cubicBezTo>
                  <a:pt x="1672" y="1491"/>
                  <a:pt x="1671" y="1490"/>
                  <a:pt x="1671" y="1490"/>
                </a:cubicBezTo>
                <a:close/>
                <a:moveTo>
                  <a:pt x="1680" y="1622"/>
                </a:moveTo>
                <a:cubicBezTo>
                  <a:pt x="1677" y="1618"/>
                  <a:pt x="1676" y="1615"/>
                  <a:pt x="1675" y="1612"/>
                </a:cubicBezTo>
                <a:cubicBezTo>
                  <a:pt x="1675" y="1607"/>
                  <a:pt x="1675" y="1607"/>
                  <a:pt x="1675" y="1607"/>
                </a:cubicBezTo>
                <a:cubicBezTo>
                  <a:pt x="1675" y="1607"/>
                  <a:pt x="1675" y="1607"/>
                  <a:pt x="1675" y="1607"/>
                </a:cubicBezTo>
                <a:cubicBezTo>
                  <a:pt x="1674" y="1593"/>
                  <a:pt x="1673" y="1580"/>
                  <a:pt x="1672" y="1567"/>
                </a:cubicBezTo>
                <a:cubicBezTo>
                  <a:pt x="1672" y="1567"/>
                  <a:pt x="1672" y="1567"/>
                  <a:pt x="1672" y="1567"/>
                </a:cubicBezTo>
                <a:cubicBezTo>
                  <a:pt x="1672" y="1566"/>
                  <a:pt x="1672" y="1566"/>
                  <a:pt x="1672" y="1566"/>
                </a:cubicBezTo>
                <a:cubicBezTo>
                  <a:pt x="1672" y="1565"/>
                  <a:pt x="1672" y="1564"/>
                  <a:pt x="1672" y="1563"/>
                </a:cubicBezTo>
                <a:cubicBezTo>
                  <a:pt x="1675" y="1535"/>
                  <a:pt x="1735" y="1542"/>
                  <a:pt x="1754" y="1542"/>
                </a:cubicBezTo>
                <a:cubicBezTo>
                  <a:pt x="1776" y="1542"/>
                  <a:pt x="1819" y="1537"/>
                  <a:pt x="1832" y="1559"/>
                </a:cubicBezTo>
                <a:cubicBezTo>
                  <a:pt x="1833" y="1561"/>
                  <a:pt x="1835" y="1563"/>
                  <a:pt x="1835" y="1565"/>
                </a:cubicBezTo>
                <a:cubicBezTo>
                  <a:pt x="1836" y="1568"/>
                  <a:pt x="1836" y="1568"/>
                  <a:pt x="1836" y="1568"/>
                </a:cubicBezTo>
                <a:cubicBezTo>
                  <a:pt x="1836" y="1568"/>
                  <a:pt x="1836" y="1568"/>
                  <a:pt x="1836" y="1568"/>
                </a:cubicBezTo>
                <a:cubicBezTo>
                  <a:pt x="1837" y="1575"/>
                  <a:pt x="1838" y="1581"/>
                  <a:pt x="1840" y="1588"/>
                </a:cubicBezTo>
                <a:cubicBezTo>
                  <a:pt x="1844" y="1611"/>
                  <a:pt x="1844" y="1611"/>
                  <a:pt x="1844" y="1611"/>
                </a:cubicBezTo>
                <a:cubicBezTo>
                  <a:pt x="1845" y="1615"/>
                  <a:pt x="1844" y="1618"/>
                  <a:pt x="1843" y="1621"/>
                </a:cubicBezTo>
                <a:cubicBezTo>
                  <a:pt x="1842" y="1623"/>
                  <a:pt x="1840" y="1625"/>
                  <a:pt x="1838" y="1627"/>
                </a:cubicBezTo>
                <a:cubicBezTo>
                  <a:pt x="1838" y="1627"/>
                  <a:pt x="1837" y="1628"/>
                  <a:pt x="1836" y="1629"/>
                </a:cubicBezTo>
                <a:cubicBezTo>
                  <a:pt x="1836" y="1629"/>
                  <a:pt x="1835" y="1629"/>
                  <a:pt x="1835" y="1630"/>
                </a:cubicBezTo>
                <a:cubicBezTo>
                  <a:pt x="1835" y="1630"/>
                  <a:pt x="1834" y="1630"/>
                  <a:pt x="1834" y="1630"/>
                </a:cubicBezTo>
                <a:cubicBezTo>
                  <a:pt x="1833" y="1631"/>
                  <a:pt x="1832" y="1631"/>
                  <a:pt x="1830" y="1632"/>
                </a:cubicBezTo>
                <a:cubicBezTo>
                  <a:pt x="1829" y="1633"/>
                  <a:pt x="1828" y="1633"/>
                  <a:pt x="1827" y="1634"/>
                </a:cubicBezTo>
                <a:cubicBezTo>
                  <a:pt x="1826" y="1634"/>
                  <a:pt x="1825" y="1634"/>
                  <a:pt x="1825" y="1634"/>
                </a:cubicBezTo>
                <a:cubicBezTo>
                  <a:pt x="1824" y="1635"/>
                  <a:pt x="1823" y="1635"/>
                  <a:pt x="1822" y="1635"/>
                </a:cubicBezTo>
                <a:cubicBezTo>
                  <a:pt x="1821" y="1635"/>
                  <a:pt x="1820" y="1636"/>
                  <a:pt x="1819" y="1636"/>
                </a:cubicBezTo>
                <a:cubicBezTo>
                  <a:pt x="1818" y="1636"/>
                  <a:pt x="1818" y="1636"/>
                  <a:pt x="1818" y="1636"/>
                </a:cubicBezTo>
                <a:cubicBezTo>
                  <a:pt x="1816" y="1636"/>
                  <a:pt x="1814" y="1637"/>
                  <a:pt x="1812" y="1637"/>
                </a:cubicBezTo>
                <a:cubicBezTo>
                  <a:pt x="1809" y="1637"/>
                  <a:pt x="1807" y="1637"/>
                  <a:pt x="1805" y="1637"/>
                </a:cubicBezTo>
                <a:cubicBezTo>
                  <a:pt x="1805" y="1637"/>
                  <a:pt x="1805" y="1637"/>
                  <a:pt x="1805" y="1637"/>
                </a:cubicBezTo>
                <a:cubicBezTo>
                  <a:pt x="1804" y="1637"/>
                  <a:pt x="1804" y="1637"/>
                  <a:pt x="1804" y="1637"/>
                </a:cubicBezTo>
                <a:cubicBezTo>
                  <a:pt x="1804" y="1637"/>
                  <a:pt x="1804" y="1637"/>
                  <a:pt x="1804" y="1637"/>
                </a:cubicBezTo>
                <a:cubicBezTo>
                  <a:pt x="1777" y="1637"/>
                  <a:pt x="1750" y="1637"/>
                  <a:pt x="1722" y="1638"/>
                </a:cubicBezTo>
                <a:cubicBezTo>
                  <a:pt x="1719" y="1638"/>
                  <a:pt x="1716" y="1637"/>
                  <a:pt x="1714" y="1637"/>
                </a:cubicBezTo>
                <a:cubicBezTo>
                  <a:pt x="1713" y="1637"/>
                  <a:pt x="1712" y="1637"/>
                  <a:pt x="1712" y="1637"/>
                </a:cubicBezTo>
                <a:cubicBezTo>
                  <a:pt x="1709" y="1636"/>
                  <a:pt x="1707" y="1636"/>
                  <a:pt x="1705" y="1636"/>
                </a:cubicBezTo>
                <a:cubicBezTo>
                  <a:pt x="1705" y="1636"/>
                  <a:pt x="1705" y="1636"/>
                  <a:pt x="1705" y="1636"/>
                </a:cubicBezTo>
                <a:cubicBezTo>
                  <a:pt x="1704" y="1635"/>
                  <a:pt x="1704" y="1635"/>
                  <a:pt x="1704" y="1635"/>
                </a:cubicBezTo>
                <a:cubicBezTo>
                  <a:pt x="1701" y="1635"/>
                  <a:pt x="1699" y="1634"/>
                  <a:pt x="1697" y="1633"/>
                </a:cubicBezTo>
                <a:cubicBezTo>
                  <a:pt x="1696" y="1633"/>
                  <a:pt x="1695" y="1632"/>
                  <a:pt x="1695" y="1632"/>
                </a:cubicBezTo>
                <a:cubicBezTo>
                  <a:pt x="1693" y="1632"/>
                  <a:pt x="1692" y="1631"/>
                  <a:pt x="1691" y="1630"/>
                </a:cubicBezTo>
                <a:cubicBezTo>
                  <a:pt x="1691" y="1630"/>
                  <a:pt x="1690" y="1630"/>
                  <a:pt x="1690" y="1630"/>
                </a:cubicBezTo>
                <a:cubicBezTo>
                  <a:pt x="1686" y="1628"/>
                  <a:pt x="1682" y="1625"/>
                  <a:pt x="1680" y="1622"/>
                </a:cubicBezTo>
                <a:close/>
                <a:moveTo>
                  <a:pt x="1875" y="1783"/>
                </a:moveTo>
                <a:cubicBezTo>
                  <a:pt x="1873" y="1787"/>
                  <a:pt x="1870" y="1790"/>
                  <a:pt x="1866" y="1793"/>
                </a:cubicBezTo>
                <a:cubicBezTo>
                  <a:pt x="1862" y="1796"/>
                  <a:pt x="1858" y="1799"/>
                  <a:pt x="1852" y="1800"/>
                </a:cubicBezTo>
                <a:cubicBezTo>
                  <a:pt x="1846" y="1802"/>
                  <a:pt x="1840" y="1803"/>
                  <a:pt x="1833" y="1803"/>
                </a:cubicBezTo>
                <a:cubicBezTo>
                  <a:pt x="1815" y="1803"/>
                  <a:pt x="1815" y="1803"/>
                  <a:pt x="1815" y="1803"/>
                </a:cubicBezTo>
                <a:cubicBezTo>
                  <a:pt x="1814" y="1803"/>
                  <a:pt x="1814" y="1803"/>
                  <a:pt x="1814" y="1803"/>
                </a:cubicBezTo>
                <a:cubicBezTo>
                  <a:pt x="1789" y="1803"/>
                  <a:pt x="1765" y="1803"/>
                  <a:pt x="1740" y="1803"/>
                </a:cubicBezTo>
                <a:cubicBezTo>
                  <a:pt x="1737" y="1803"/>
                  <a:pt x="1734" y="1803"/>
                  <a:pt x="1731" y="1803"/>
                </a:cubicBezTo>
                <a:cubicBezTo>
                  <a:pt x="1730" y="1803"/>
                  <a:pt x="1730" y="1803"/>
                  <a:pt x="1729" y="1803"/>
                </a:cubicBezTo>
                <a:cubicBezTo>
                  <a:pt x="1726" y="1802"/>
                  <a:pt x="1724" y="1802"/>
                  <a:pt x="1721" y="1801"/>
                </a:cubicBezTo>
                <a:cubicBezTo>
                  <a:pt x="1721" y="1801"/>
                  <a:pt x="1721" y="1801"/>
                  <a:pt x="1720" y="1801"/>
                </a:cubicBezTo>
                <a:cubicBezTo>
                  <a:pt x="1720" y="1801"/>
                  <a:pt x="1720" y="1801"/>
                  <a:pt x="1720" y="1801"/>
                </a:cubicBezTo>
                <a:cubicBezTo>
                  <a:pt x="1709" y="1798"/>
                  <a:pt x="1698" y="1792"/>
                  <a:pt x="1692" y="1783"/>
                </a:cubicBezTo>
                <a:cubicBezTo>
                  <a:pt x="1692" y="1783"/>
                  <a:pt x="1692" y="1783"/>
                  <a:pt x="1692" y="1783"/>
                </a:cubicBezTo>
                <a:cubicBezTo>
                  <a:pt x="1692" y="1783"/>
                  <a:pt x="1692" y="1783"/>
                  <a:pt x="1692" y="1783"/>
                </a:cubicBezTo>
                <a:cubicBezTo>
                  <a:pt x="1691" y="1782"/>
                  <a:pt x="1690" y="1780"/>
                  <a:pt x="1690" y="1778"/>
                </a:cubicBezTo>
                <a:cubicBezTo>
                  <a:pt x="1689" y="1777"/>
                  <a:pt x="1689" y="1776"/>
                  <a:pt x="1689" y="1775"/>
                </a:cubicBezTo>
                <a:cubicBezTo>
                  <a:pt x="1688" y="1774"/>
                  <a:pt x="1688" y="1773"/>
                  <a:pt x="1688" y="1772"/>
                </a:cubicBezTo>
                <a:cubicBezTo>
                  <a:pt x="1688" y="1772"/>
                  <a:pt x="1688" y="1771"/>
                  <a:pt x="1688" y="1771"/>
                </a:cubicBezTo>
                <a:cubicBezTo>
                  <a:pt x="1687" y="1769"/>
                  <a:pt x="1687" y="1769"/>
                  <a:pt x="1687" y="1769"/>
                </a:cubicBezTo>
                <a:cubicBezTo>
                  <a:pt x="1687" y="1769"/>
                  <a:pt x="1687" y="1769"/>
                  <a:pt x="1687" y="1769"/>
                </a:cubicBezTo>
                <a:cubicBezTo>
                  <a:pt x="1686" y="1756"/>
                  <a:pt x="1685" y="1742"/>
                  <a:pt x="1684" y="1728"/>
                </a:cubicBezTo>
                <a:cubicBezTo>
                  <a:pt x="1684" y="1725"/>
                  <a:pt x="1684" y="1723"/>
                  <a:pt x="1684" y="1721"/>
                </a:cubicBezTo>
                <a:cubicBezTo>
                  <a:pt x="1683" y="1714"/>
                  <a:pt x="1683" y="1714"/>
                  <a:pt x="1683" y="1714"/>
                </a:cubicBezTo>
                <a:cubicBezTo>
                  <a:pt x="1683" y="1713"/>
                  <a:pt x="1683" y="1713"/>
                  <a:pt x="1683" y="1713"/>
                </a:cubicBezTo>
                <a:cubicBezTo>
                  <a:pt x="1683" y="1711"/>
                  <a:pt x="1683" y="1710"/>
                  <a:pt x="1684" y="1709"/>
                </a:cubicBezTo>
                <a:cubicBezTo>
                  <a:pt x="1684" y="1708"/>
                  <a:pt x="1684" y="1707"/>
                  <a:pt x="1684" y="1707"/>
                </a:cubicBezTo>
                <a:cubicBezTo>
                  <a:pt x="1685" y="1706"/>
                  <a:pt x="1685" y="1705"/>
                  <a:pt x="1685" y="1704"/>
                </a:cubicBezTo>
                <a:cubicBezTo>
                  <a:pt x="1686" y="1703"/>
                  <a:pt x="1686" y="1703"/>
                  <a:pt x="1686" y="1702"/>
                </a:cubicBezTo>
                <a:cubicBezTo>
                  <a:pt x="1686" y="1702"/>
                  <a:pt x="1686" y="1702"/>
                  <a:pt x="1686" y="1702"/>
                </a:cubicBezTo>
                <a:cubicBezTo>
                  <a:pt x="1687" y="1700"/>
                  <a:pt x="1688" y="1699"/>
                  <a:pt x="1689" y="1698"/>
                </a:cubicBezTo>
                <a:cubicBezTo>
                  <a:pt x="1690" y="1697"/>
                  <a:pt x="1691" y="1697"/>
                  <a:pt x="1691" y="1696"/>
                </a:cubicBezTo>
                <a:cubicBezTo>
                  <a:pt x="1692" y="1695"/>
                  <a:pt x="1693" y="1695"/>
                  <a:pt x="1694" y="1694"/>
                </a:cubicBezTo>
                <a:cubicBezTo>
                  <a:pt x="1695" y="1694"/>
                  <a:pt x="1695" y="1693"/>
                  <a:pt x="1695" y="1693"/>
                </a:cubicBezTo>
                <a:cubicBezTo>
                  <a:pt x="1695" y="1693"/>
                  <a:pt x="1696" y="1693"/>
                  <a:pt x="1696" y="1693"/>
                </a:cubicBezTo>
                <a:cubicBezTo>
                  <a:pt x="1698" y="1692"/>
                  <a:pt x="1699" y="1691"/>
                  <a:pt x="1701" y="1690"/>
                </a:cubicBezTo>
                <a:cubicBezTo>
                  <a:pt x="1702" y="1690"/>
                  <a:pt x="1702" y="1689"/>
                  <a:pt x="1702" y="1689"/>
                </a:cubicBezTo>
                <a:cubicBezTo>
                  <a:pt x="1703" y="1689"/>
                  <a:pt x="1703" y="1689"/>
                  <a:pt x="1703" y="1689"/>
                </a:cubicBezTo>
                <a:cubicBezTo>
                  <a:pt x="1704" y="1689"/>
                  <a:pt x="1704" y="1689"/>
                  <a:pt x="1705" y="1688"/>
                </a:cubicBezTo>
                <a:cubicBezTo>
                  <a:pt x="1706" y="1688"/>
                  <a:pt x="1708" y="1687"/>
                  <a:pt x="1709" y="1687"/>
                </a:cubicBezTo>
                <a:cubicBezTo>
                  <a:pt x="1710" y="1687"/>
                  <a:pt x="1711" y="1686"/>
                  <a:pt x="1712" y="1686"/>
                </a:cubicBezTo>
                <a:cubicBezTo>
                  <a:pt x="1713" y="1686"/>
                  <a:pt x="1714" y="1686"/>
                  <a:pt x="1714" y="1686"/>
                </a:cubicBezTo>
                <a:cubicBezTo>
                  <a:pt x="1717" y="1685"/>
                  <a:pt x="1720" y="1685"/>
                  <a:pt x="1723" y="1685"/>
                </a:cubicBezTo>
                <a:cubicBezTo>
                  <a:pt x="1723" y="1685"/>
                  <a:pt x="1724" y="1685"/>
                  <a:pt x="1724" y="1685"/>
                </a:cubicBezTo>
                <a:cubicBezTo>
                  <a:pt x="1725" y="1685"/>
                  <a:pt x="1726" y="1685"/>
                  <a:pt x="1727" y="1685"/>
                </a:cubicBezTo>
                <a:cubicBezTo>
                  <a:pt x="1731" y="1685"/>
                  <a:pt x="1731" y="1685"/>
                  <a:pt x="1731" y="1685"/>
                </a:cubicBezTo>
                <a:cubicBezTo>
                  <a:pt x="1736" y="1684"/>
                  <a:pt x="1740" y="1684"/>
                  <a:pt x="1744" y="1684"/>
                </a:cubicBezTo>
                <a:cubicBezTo>
                  <a:pt x="1748" y="1684"/>
                  <a:pt x="1752" y="1684"/>
                  <a:pt x="1755" y="1684"/>
                </a:cubicBezTo>
                <a:cubicBezTo>
                  <a:pt x="1791" y="1684"/>
                  <a:pt x="1791" y="1684"/>
                  <a:pt x="1791" y="1684"/>
                </a:cubicBezTo>
                <a:cubicBezTo>
                  <a:pt x="1801" y="1684"/>
                  <a:pt x="1811" y="1684"/>
                  <a:pt x="1820" y="1685"/>
                </a:cubicBezTo>
                <a:cubicBezTo>
                  <a:pt x="1822" y="1685"/>
                  <a:pt x="1823" y="1685"/>
                  <a:pt x="1825" y="1685"/>
                </a:cubicBezTo>
                <a:cubicBezTo>
                  <a:pt x="1826" y="1686"/>
                  <a:pt x="1827" y="1686"/>
                  <a:pt x="1828" y="1686"/>
                </a:cubicBezTo>
                <a:cubicBezTo>
                  <a:pt x="1828" y="1686"/>
                  <a:pt x="1829" y="1686"/>
                  <a:pt x="1830" y="1686"/>
                </a:cubicBezTo>
                <a:cubicBezTo>
                  <a:pt x="1830" y="1686"/>
                  <a:pt x="1831" y="1686"/>
                  <a:pt x="1831" y="1687"/>
                </a:cubicBezTo>
                <a:cubicBezTo>
                  <a:pt x="1832" y="1687"/>
                  <a:pt x="1832" y="1687"/>
                  <a:pt x="1833" y="1687"/>
                </a:cubicBezTo>
                <a:cubicBezTo>
                  <a:pt x="1834" y="1687"/>
                  <a:pt x="1836" y="1688"/>
                  <a:pt x="1838" y="1689"/>
                </a:cubicBezTo>
                <a:cubicBezTo>
                  <a:pt x="1839" y="1689"/>
                  <a:pt x="1840" y="1689"/>
                  <a:pt x="1841" y="1690"/>
                </a:cubicBezTo>
                <a:cubicBezTo>
                  <a:pt x="1842" y="1690"/>
                  <a:pt x="1842" y="1690"/>
                  <a:pt x="1843" y="1691"/>
                </a:cubicBezTo>
                <a:cubicBezTo>
                  <a:pt x="1845" y="1691"/>
                  <a:pt x="1846" y="1692"/>
                  <a:pt x="1847" y="1693"/>
                </a:cubicBezTo>
                <a:cubicBezTo>
                  <a:pt x="1852" y="1695"/>
                  <a:pt x="1856" y="1698"/>
                  <a:pt x="1859" y="1702"/>
                </a:cubicBezTo>
                <a:cubicBezTo>
                  <a:pt x="1862" y="1705"/>
                  <a:pt x="1864" y="1709"/>
                  <a:pt x="1865" y="1713"/>
                </a:cubicBezTo>
                <a:cubicBezTo>
                  <a:pt x="1870" y="1736"/>
                  <a:pt x="1870" y="1736"/>
                  <a:pt x="1870" y="1736"/>
                </a:cubicBezTo>
                <a:cubicBezTo>
                  <a:pt x="1871" y="1746"/>
                  <a:pt x="1873" y="1755"/>
                  <a:pt x="1875" y="1764"/>
                </a:cubicBezTo>
                <a:cubicBezTo>
                  <a:pt x="1875" y="1764"/>
                  <a:pt x="1875" y="1764"/>
                  <a:pt x="1875" y="1764"/>
                </a:cubicBezTo>
                <a:cubicBezTo>
                  <a:pt x="1876" y="1770"/>
                  <a:pt x="1876" y="1770"/>
                  <a:pt x="1876" y="1770"/>
                </a:cubicBezTo>
                <a:cubicBezTo>
                  <a:pt x="1877" y="1775"/>
                  <a:pt x="1877" y="1779"/>
                  <a:pt x="1875" y="1783"/>
                </a:cubicBezTo>
                <a:close/>
                <a:moveTo>
                  <a:pt x="2041" y="1494"/>
                </a:moveTo>
                <a:cubicBezTo>
                  <a:pt x="2036" y="1492"/>
                  <a:pt x="2032" y="1490"/>
                  <a:pt x="2030" y="1487"/>
                </a:cubicBezTo>
                <a:cubicBezTo>
                  <a:pt x="2027" y="1485"/>
                  <a:pt x="2024" y="1482"/>
                  <a:pt x="2023" y="1479"/>
                </a:cubicBezTo>
                <a:cubicBezTo>
                  <a:pt x="2021" y="1474"/>
                  <a:pt x="2021" y="1474"/>
                  <a:pt x="2021" y="1474"/>
                </a:cubicBezTo>
                <a:cubicBezTo>
                  <a:pt x="2019" y="1467"/>
                  <a:pt x="2016" y="1460"/>
                  <a:pt x="2014" y="1453"/>
                </a:cubicBezTo>
                <a:cubicBezTo>
                  <a:pt x="2012" y="1449"/>
                  <a:pt x="2009" y="1444"/>
                  <a:pt x="2009" y="1439"/>
                </a:cubicBezTo>
                <a:cubicBezTo>
                  <a:pt x="2009" y="1439"/>
                  <a:pt x="2009" y="1438"/>
                  <a:pt x="2009" y="1437"/>
                </a:cubicBezTo>
                <a:cubicBezTo>
                  <a:pt x="2009" y="1437"/>
                  <a:pt x="2009" y="1437"/>
                  <a:pt x="2009" y="1437"/>
                </a:cubicBezTo>
                <a:cubicBezTo>
                  <a:pt x="2009" y="1436"/>
                  <a:pt x="2009" y="1436"/>
                  <a:pt x="2009" y="1436"/>
                </a:cubicBezTo>
                <a:cubicBezTo>
                  <a:pt x="2010" y="1435"/>
                  <a:pt x="2009" y="1435"/>
                  <a:pt x="2010" y="1434"/>
                </a:cubicBezTo>
                <a:cubicBezTo>
                  <a:pt x="2010" y="1434"/>
                  <a:pt x="2010" y="1434"/>
                  <a:pt x="2010" y="1434"/>
                </a:cubicBezTo>
                <a:cubicBezTo>
                  <a:pt x="2016" y="1421"/>
                  <a:pt x="2039" y="1423"/>
                  <a:pt x="2051" y="1423"/>
                </a:cubicBezTo>
                <a:cubicBezTo>
                  <a:pt x="2110" y="1422"/>
                  <a:pt x="2110" y="1422"/>
                  <a:pt x="2110" y="1422"/>
                </a:cubicBezTo>
                <a:cubicBezTo>
                  <a:pt x="2115" y="1422"/>
                  <a:pt x="2120" y="1423"/>
                  <a:pt x="2125" y="1424"/>
                </a:cubicBezTo>
                <a:cubicBezTo>
                  <a:pt x="2126" y="1424"/>
                  <a:pt x="2128" y="1424"/>
                  <a:pt x="2129" y="1425"/>
                </a:cubicBezTo>
                <a:cubicBezTo>
                  <a:pt x="2129" y="1425"/>
                  <a:pt x="2130" y="1425"/>
                  <a:pt x="2131" y="1425"/>
                </a:cubicBezTo>
                <a:cubicBezTo>
                  <a:pt x="2132" y="1425"/>
                  <a:pt x="2133" y="1426"/>
                  <a:pt x="2133" y="1426"/>
                </a:cubicBezTo>
                <a:cubicBezTo>
                  <a:pt x="2135" y="1426"/>
                  <a:pt x="2137" y="1427"/>
                  <a:pt x="2138" y="1428"/>
                </a:cubicBezTo>
                <a:cubicBezTo>
                  <a:pt x="2139" y="1428"/>
                  <a:pt x="2139" y="1428"/>
                  <a:pt x="2139" y="1428"/>
                </a:cubicBezTo>
                <a:cubicBezTo>
                  <a:pt x="2139" y="1428"/>
                  <a:pt x="2139" y="1428"/>
                  <a:pt x="2140" y="1428"/>
                </a:cubicBezTo>
                <a:cubicBezTo>
                  <a:pt x="2141" y="1429"/>
                  <a:pt x="2142" y="1429"/>
                  <a:pt x="2144" y="1430"/>
                </a:cubicBezTo>
                <a:cubicBezTo>
                  <a:pt x="2145" y="1431"/>
                  <a:pt x="2146" y="1431"/>
                  <a:pt x="2146" y="1431"/>
                </a:cubicBezTo>
                <a:cubicBezTo>
                  <a:pt x="2147" y="1432"/>
                  <a:pt x="2147" y="1432"/>
                  <a:pt x="2148" y="1432"/>
                </a:cubicBezTo>
                <a:cubicBezTo>
                  <a:pt x="2148" y="1433"/>
                  <a:pt x="2148" y="1433"/>
                  <a:pt x="2149" y="1433"/>
                </a:cubicBezTo>
                <a:cubicBezTo>
                  <a:pt x="2149" y="1433"/>
                  <a:pt x="2150" y="1434"/>
                  <a:pt x="2150" y="1434"/>
                </a:cubicBezTo>
                <a:cubicBezTo>
                  <a:pt x="2153" y="1436"/>
                  <a:pt x="2156" y="1439"/>
                  <a:pt x="2157" y="1442"/>
                </a:cubicBezTo>
                <a:cubicBezTo>
                  <a:pt x="2157" y="1442"/>
                  <a:pt x="2157" y="1442"/>
                  <a:pt x="2157" y="1442"/>
                </a:cubicBezTo>
                <a:cubicBezTo>
                  <a:pt x="2163" y="1450"/>
                  <a:pt x="2166" y="1460"/>
                  <a:pt x="2170" y="1468"/>
                </a:cubicBezTo>
                <a:cubicBezTo>
                  <a:pt x="2170" y="1468"/>
                  <a:pt x="2170" y="1468"/>
                  <a:pt x="2170" y="1468"/>
                </a:cubicBezTo>
                <a:cubicBezTo>
                  <a:pt x="2172" y="1473"/>
                  <a:pt x="2176" y="1477"/>
                  <a:pt x="2177" y="1482"/>
                </a:cubicBezTo>
                <a:cubicBezTo>
                  <a:pt x="2177" y="1482"/>
                  <a:pt x="2177" y="1483"/>
                  <a:pt x="2177" y="1483"/>
                </a:cubicBezTo>
                <a:cubicBezTo>
                  <a:pt x="2177" y="1483"/>
                  <a:pt x="2177" y="1483"/>
                  <a:pt x="2177" y="1483"/>
                </a:cubicBezTo>
                <a:cubicBezTo>
                  <a:pt x="2178" y="1492"/>
                  <a:pt x="2170" y="1496"/>
                  <a:pt x="2162" y="1498"/>
                </a:cubicBezTo>
                <a:cubicBezTo>
                  <a:pt x="2161" y="1498"/>
                  <a:pt x="2161" y="1498"/>
                  <a:pt x="2161" y="1499"/>
                </a:cubicBezTo>
                <a:cubicBezTo>
                  <a:pt x="2160" y="1499"/>
                  <a:pt x="2160" y="1499"/>
                  <a:pt x="2159" y="1499"/>
                </a:cubicBezTo>
                <a:cubicBezTo>
                  <a:pt x="2158" y="1499"/>
                  <a:pt x="2156" y="1499"/>
                  <a:pt x="2155" y="1500"/>
                </a:cubicBezTo>
                <a:cubicBezTo>
                  <a:pt x="2154" y="1500"/>
                  <a:pt x="2154" y="1500"/>
                  <a:pt x="2153" y="1500"/>
                </a:cubicBezTo>
                <a:cubicBezTo>
                  <a:pt x="2152" y="1500"/>
                  <a:pt x="2150" y="1500"/>
                  <a:pt x="2149" y="1500"/>
                </a:cubicBezTo>
                <a:cubicBezTo>
                  <a:pt x="2148" y="1500"/>
                  <a:pt x="2147" y="1500"/>
                  <a:pt x="2146" y="1500"/>
                </a:cubicBezTo>
                <a:cubicBezTo>
                  <a:pt x="2146" y="1500"/>
                  <a:pt x="2146" y="1500"/>
                  <a:pt x="2146" y="1500"/>
                </a:cubicBezTo>
                <a:cubicBezTo>
                  <a:pt x="2144" y="1500"/>
                  <a:pt x="2144" y="1500"/>
                  <a:pt x="2144" y="1500"/>
                </a:cubicBezTo>
                <a:cubicBezTo>
                  <a:pt x="2135" y="1500"/>
                  <a:pt x="2126" y="1500"/>
                  <a:pt x="2117" y="1500"/>
                </a:cubicBezTo>
                <a:cubicBezTo>
                  <a:pt x="2102" y="1500"/>
                  <a:pt x="2087" y="1500"/>
                  <a:pt x="2072" y="1500"/>
                </a:cubicBezTo>
                <a:cubicBezTo>
                  <a:pt x="2061" y="1500"/>
                  <a:pt x="2050" y="1499"/>
                  <a:pt x="2041" y="1494"/>
                </a:cubicBezTo>
                <a:cubicBezTo>
                  <a:pt x="2041" y="1494"/>
                  <a:pt x="2041" y="1494"/>
                  <a:pt x="2041" y="1494"/>
                </a:cubicBezTo>
                <a:close/>
                <a:moveTo>
                  <a:pt x="2079" y="1621"/>
                </a:moveTo>
                <a:cubicBezTo>
                  <a:pt x="2076" y="1617"/>
                  <a:pt x="2073" y="1614"/>
                  <a:pt x="2072" y="1611"/>
                </a:cubicBezTo>
                <a:cubicBezTo>
                  <a:pt x="2064" y="1588"/>
                  <a:pt x="2064" y="1588"/>
                  <a:pt x="2064" y="1588"/>
                </a:cubicBezTo>
                <a:cubicBezTo>
                  <a:pt x="2061" y="1581"/>
                  <a:pt x="2059" y="1575"/>
                  <a:pt x="2056" y="1568"/>
                </a:cubicBezTo>
                <a:cubicBezTo>
                  <a:pt x="2056" y="1568"/>
                  <a:pt x="2056" y="1568"/>
                  <a:pt x="2056" y="1568"/>
                </a:cubicBezTo>
                <a:cubicBezTo>
                  <a:pt x="2055" y="1565"/>
                  <a:pt x="2055" y="1565"/>
                  <a:pt x="2055" y="1565"/>
                </a:cubicBezTo>
                <a:cubicBezTo>
                  <a:pt x="2054" y="1561"/>
                  <a:pt x="2054" y="1558"/>
                  <a:pt x="2055" y="1555"/>
                </a:cubicBezTo>
                <a:cubicBezTo>
                  <a:pt x="2056" y="1553"/>
                  <a:pt x="2057" y="1552"/>
                  <a:pt x="2059" y="1550"/>
                </a:cubicBezTo>
                <a:cubicBezTo>
                  <a:pt x="2059" y="1550"/>
                  <a:pt x="2059" y="1550"/>
                  <a:pt x="2060" y="1549"/>
                </a:cubicBezTo>
                <a:cubicBezTo>
                  <a:pt x="2060" y="1549"/>
                  <a:pt x="2061" y="1548"/>
                  <a:pt x="2061" y="1548"/>
                </a:cubicBezTo>
                <a:cubicBezTo>
                  <a:pt x="2064" y="1546"/>
                  <a:pt x="2068" y="1544"/>
                  <a:pt x="2072" y="1543"/>
                </a:cubicBezTo>
                <a:cubicBezTo>
                  <a:pt x="2076" y="1542"/>
                  <a:pt x="2080" y="1542"/>
                  <a:pt x="2084" y="1541"/>
                </a:cubicBezTo>
                <a:cubicBezTo>
                  <a:pt x="2100" y="1540"/>
                  <a:pt x="2117" y="1541"/>
                  <a:pt x="2125" y="1541"/>
                </a:cubicBezTo>
                <a:cubicBezTo>
                  <a:pt x="2153" y="1541"/>
                  <a:pt x="2202" y="1535"/>
                  <a:pt x="2218" y="1564"/>
                </a:cubicBezTo>
                <a:cubicBezTo>
                  <a:pt x="2218" y="1564"/>
                  <a:pt x="2218" y="1564"/>
                  <a:pt x="2218" y="1564"/>
                </a:cubicBezTo>
                <a:cubicBezTo>
                  <a:pt x="2218" y="1565"/>
                  <a:pt x="2218" y="1565"/>
                  <a:pt x="2218" y="1565"/>
                </a:cubicBezTo>
                <a:cubicBezTo>
                  <a:pt x="2218" y="1565"/>
                  <a:pt x="2218" y="1565"/>
                  <a:pt x="2218" y="1565"/>
                </a:cubicBezTo>
                <a:cubicBezTo>
                  <a:pt x="2224" y="1577"/>
                  <a:pt x="2230" y="1589"/>
                  <a:pt x="2236" y="1601"/>
                </a:cubicBezTo>
                <a:cubicBezTo>
                  <a:pt x="2238" y="1605"/>
                  <a:pt x="2241" y="1609"/>
                  <a:pt x="2242" y="1614"/>
                </a:cubicBezTo>
                <a:cubicBezTo>
                  <a:pt x="2242" y="1614"/>
                  <a:pt x="2242" y="1614"/>
                  <a:pt x="2242" y="1614"/>
                </a:cubicBezTo>
                <a:cubicBezTo>
                  <a:pt x="2242" y="1615"/>
                  <a:pt x="2242" y="1616"/>
                  <a:pt x="2242" y="1617"/>
                </a:cubicBezTo>
                <a:cubicBezTo>
                  <a:pt x="2242" y="1618"/>
                  <a:pt x="2242" y="1619"/>
                  <a:pt x="2242" y="1620"/>
                </a:cubicBezTo>
                <a:cubicBezTo>
                  <a:pt x="2242" y="1620"/>
                  <a:pt x="2242" y="1620"/>
                  <a:pt x="2242" y="1620"/>
                </a:cubicBezTo>
                <a:cubicBezTo>
                  <a:pt x="2242" y="1620"/>
                  <a:pt x="2242" y="1621"/>
                  <a:pt x="2242" y="1621"/>
                </a:cubicBezTo>
                <a:cubicBezTo>
                  <a:pt x="2242" y="1622"/>
                  <a:pt x="2241" y="1623"/>
                  <a:pt x="2240" y="1624"/>
                </a:cubicBezTo>
                <a:cubicBezTo>
                  <a:pt x="2240" y="1625"/>
                  <a:pt x="2240" y="1625"/>
                  <a:pt x="2240" y="1625"/>
                </a:cubicBezTo>
                <a:cubicBezTo>
                  <a:pt x="2239" y="1626"/>
                  <a:pt x="2238" y="1627"/>
                  <a:pt x="2237" y="1628"/>
                </a:cubicBezTo>
                <a:cubicBezTo>
                  <a:pt x="2237" y="1628"/>
                  <a:pt x="2237" y="1628"/>
                  <a:pt x="2237" y="1628"/>
                </a:cubicBezTo>
                <a:cubicBezTo>
                  <a:pt x="2236" y="1629"/>
                  <a:pt x="2236" y="1629"/>
                  <a:pt x="2236" y="1629"/>
                </a:cubicBezTo>
                <a:cubicBezTo>
                  <a:pt x="2235" y="1630"/>
                  <a:pt x="2234" y="1630"/>
                  <a:pt x="2234" y="1630"/>
                </a:cubicBezTo>
                <a:cubicBezTo>
                  <a:pt x="2231" y="1632"/>
                  <a:pt x="2229" y="1633"/>
                  <a:pt x="2225" y="1634"/>
                </a:cubicBezTo>
                <a:cubicBezTo>
                  <a:pt x="2225" y="1634"/>
                  <a:pt x="2224" y="1635"/>
                  <a:pt x="2223" y="1635"/>
                </a:cubicBezTo>
                <a:cubicBezTo>
                  <a:pt x="2221" y="1635"/>
                  <a:pt x="2220" y="1635"/>
                  <a:pt x="2219" y="1636"/>
                </a:cubicBezTo>
                <a:cubicBezTo>
                  <a:pt x="2218" y="1636"/>
                  <a:pt x="2218" y="1636"/>
                  <a:pt x="2217" y="1636"/>
                </a:cubicBezTo>
                <a:cubicBezTo>
                  <a:pt x="2217" y="1636"/>
                  <a:pt x="2216" y="1636"/>
                  <a:pt x="2216" y="1636"/>
                </a:cubicBezTo>
                <a:cubicBezTo>
                  <a:pt x="2187" y="1639"/>
                  <a:pt x="2156" y="1636"/>
                  <a:pt x="2126" y="1637"/>
                </a:cubicBezTo>
                <a:cubicBezTo>
                  <a:pt x="2123" y="1637"/>
                  <a:pt x="2120" y="1636"/>
                  <a:pt x="2117" y="1636"/>
                </a:cubicBezTo>
                <a:cubicBezTo>
                  <a:pt x="2117" y="1636"/>
                  <a:pt x="2117" y="1636"/>
                  <a:pt x="2117" y="1636"/>
                </a:cubicBezTo>
                <a:cubicBezTo>
                  <a:pt x="2106" y="1635"/>
                  <a:pt x="2095" y="1631"/>
                  <a:pt x="2086" y="1625"/>
                </a:cubicBezTo>
                <a:cubicBezTo>
                  <a:pt x="2083" y="1624"/>
                  <a:pt x="2081" y="1622"/>
                  <a:pt x="2079" y="1621"/>
                </a:cubicBezTo>
                <a:close/>
                <a:moveTo>
                  <a:pt x="2322" y="1782"/>
                </a:moveTo>
                <a:cubicBezTo>
                  <a:pt x="2322" y="1783"/>
                  <a:pt x="2321" y="1783"/>
                  <a:pt x="2321" y="1784"/>
                </a:cubicBezTo>
                <a:cubicBezTo>
                  <a:pt x="2321" y="1785"/>
                  <a:pt x="2321" y="1785"/>
                  <a:pt x="2321" y="1786"/>
                </a:cubicBezTo>
                <a:cubicBezTo>
                  <a:pt x="2320" y="1787"/>
                  <a:pt x="2320" y="1788"/>
                  <a:pt x="2319" y="1789"/>
                </a:cubicBezTo>
                <a:cubicBezTo>
                  <a:pt x="2319" y="1789"/>
                  <a:pt x="2319" y="1789"/>
                  <a:pt x="2319" y="1790"/>
                </a:cubicBezTo>
                <a:cubicBezTo>
                  <a:pt x="2318" y="1790"/>
                  <a:pt x="2318" y="1791"/>
                  <a:pt x="2317" y="1791"/>
                </a:cubicBezTo>
                <a:cubicBezTo>
                  <a:pt x="2317" y="1791"/>
                  <a:pt x="2317" y="1792"/>
                  <a:pt x="2316" y="1792"/>
                </a:cubicBezTo>
                <a:cubicBezTo>
                  <a:pt x="2316" y="1792"/>
                  <a:pt x="2316" y="1792"/>
                  <a:pt x="2316" y="1793"/>
                </a:cubicBezTo>
                <a:cubicBezTo>
                  <a:pt x="2310" y="1798"/>
                  <a:pt x="2303" y="1800"/>
                  <a:pt x="2296" y="1801"/>
                </a:cubicBezTo>
                <a:cubicBezTo>
                  <a:pt x="2296" y="1801"/>
                  <a:pt x="2295" y="1801"/>
                  <a:pt x="2295" y="1801"/>
                </a:cubicBezTo>
                <a:cubicBezTo>
                  <a:pt x="2292" y="1802"/>
                  <a:pt x="2289" y="1802"/>
                  <a:pt x="2286" y="1802"/>
                </a:cubicBezTo>
                <a:cubicBezTo>
                  <a:pt x="2286" y="1802"/>
                  <a:pt x="2286" y="1802"/>
                  <a:pt x="2286" y="1802"/>
                </a:cubicBezTo>
                <a:cubicBezTo>
                  <a:pt x="2283" y="1802"/>
                  <a:pt x="2283" y="1802"/>
                  <a:pt x="2283" y="1802"/>
                </a:cubicBezTo>
                <a:cubicBezTo>
                  <a:pt x="2280" y="1802"/>
                  <a:pt x="2277" y="1802"/>
                  <a:pt x="2275" y="1802"/>
                </a:cubicBezTo>
                <a:cubicBezTo>
                  <a:pt x="2193" y="1802"/>
                  <a:pt x="2193" y="1802"/>
                  <a:pt x="2193" y="1802"/>
                </a:cubicBezTo>
                <a:cubicBezTo>
                  <a:pt x="2190" y="1802"/>
                  <a:pt x="2187" y="1802"/>
                  <a:pt x="2184" y="1802"/>
                </a:cubicBezTo>
                <a:cubicBezTo>
                  <a:pt x="2183" y="1801"/>
                  <a:pt x="2182" y="1801"/>
                  <a:pt x="2181" y="1801"/>
                </a:cubicBezTo>
                <a:cubicBezTo>
                  <a:pt x="2164" y="1799"/>
                  <a:pt x="2144" y="1791"/>
                  <a:pt x="2135" y="1776"/>
                </a:cubicBezTo>
                <a:cubicBezTo>
                  <a:pt x="2133" y="1774"/>
                  <a:pt x="2132" y="1772"/>
                  <a:pt x="2131" y="1770"/>
                </a:cubicBezTo>
                <a:cubicBezTo>
                  <a:pt x="2131" y="1769"/>
                  <a:pt x="2131" y="1769"/>
                  <a:pt x="2131" y="1769"/>
                </a:cubicBezTo>
                <a:cubicBezTo>
                  <a:pt x="2131" y="1769"/>
                  <a:pt x="2131" y="1769"/>
                  <a:pt x="2131" y="1769"/>
                </a:cubicBezTo>
                <a:cubicBezTo>
                  <a:pt x="2127" y="1757"/>
                  <a:pt x="2122" y="1746"/>
                  <a:pt x="2118" y="1734"/>
                </a:cubicBezTo>
                <a:cubicBezTo>
                  <a:pt x="2116" y="1728"/>
                  <a:pt x="2112" y="1720"/>
                  <a:pt x="2110" y="1713"/>
                </a:cubicBezTo>
                <a:cubicBezTo>
                  <a:pt x="2110" y="1713"/>
                  <a:pt x="2110" y="1713"/>
                  <a:pt x="2110" y="1713"/>
                </a:cubicBezTo>
                <a:cubicBezTo>
                  <a:pt x="2110" y="1713"/>
                  <a:pt x="2110" y="1712"/>
                  <a:pt x="2110" y="1712"/>
                </a:cubicBezTo>
                <a:cubicBezTo>
                  <a:pt x="2110" y="1712"/>
                  <a:pt x="2109" y="1711"/>
                  <a:pt x="2109" y="1710"/>
                </a:cubicBezTo>
                <a:cubicBezTo>
                  <a:pt x="2109" y="1707"/>
                  <a:pt x="2109" y="1704"/>
                  <a:pt x="2109" y="1701"/>
                </a:cubicBezTo>
                <a:cubicBezTo>
                  <a:pt x="2110" y="1699"/>
                  <a:pt x="2111" y="1698"/>
                  <a:pt x="2112" y="1696"/>
                </a:cubicBezTo>
                <a:cubicBezTo>
                  <a:pt x="2112" y="1696"/>
                  <a:pt x="2112" y="1696"/>
                  <a:pt x="2112" y="1696"/>
                </a:cubicBezTo>
                <a:cubicBezTo>
                  <a:pt x="2117" y="1688"/>
                  <a:pt x="2126" y="1685"/>
                  <a:pt x="2136" y="1684"/>
                </a:cubicBezTo>
                <a:cubicBezTo>
                  <a:pt x="2136" y="1684"/>
                  <a:pt x="2136" y="1684"/>
                  <a:pt x="2137" y="1684"/>
                </a:cubicBezTo>
                <a:cubicBezTo>
                  <a:pt x="2139" y="1684"/>
                  <a:pt x="2141" y="1684"/>
                  <a:pt x="2144" y="1684"/>
                </a:cubicBezTo>
                <a:cubicBezTo>
                  <a:pt x="2144" y="1684"/>
                  <a:pt x="2145" y="1683"/>
                  <a:pt x="2145" y="1683"/>
                </a:cubicBezTo>
                <a:cubicBezTo>
                  <a:pt x="2151" y="1683"/>
                  <a:pt x="2151" y="1683"/>
                  <a:pt x="2151" y="1683"/>
                </a:cubicBezTo>
                <a:cubicBezTo>
                  <a:pt x="2152" y="1683"/>
                  <a:pt x="2153" y="1683"/>
                  <a:pt x="2155" y="1683"/>
                </a:cubicBezTo>
                <a:cubicBezTo>
                  <a:pt x="2180" y="1683"/>
                  <a:pt x="2205" y="1683"/>
                  <a:pt x="2231" y="1683"/>
                </a:cubicBezTo>
                <a:cubicBezTo>
                  <a:pt x="2231" y="1683"/>
                  <a:pt x="2231" y="1683"/>
                  <a:pt x="2231" y="1683"/>
                </a:cubicBezTo>
                <a:cubicBezTo>
                  <a:pt x="2231" y="1683"/>
                  <a:pt x="2231" y="1683"/>
                  <a:pt x="2231" y="1683"/>
                </a:cubicBezTo>
                <a:cubicBezTo>
                  <a:pt x="2234" y="1683"/>
                  <a:pt x="2237" y="1683"/>
                  <a:pt x="2240" y="1684"/>
                </a:cubicBezTo>
                <a:cubicBezTo>
                  <a:pt x="2240" y="1684"/>
                  <a:pt x="2241" y="1684"/>
                  <a:pt x="2241" y="1684"/>
                </a:cubicBezTo>
                <a:cubicBezTo>
                  <a:pt x="2258" y="1686"/>
                  <a:pt x="2277" y="1693"/>
                  <a:pt x="2287" y="1706"/>
                </a:cubicBezTo>
                <a:cubicBezTo>
                  <a:pt x="2289" y="1708"/>
                  <a:pt x="2290" y="1710"/>
                  <a:pt x="2291" y="1712"/>
                </a:cubicBezTo>
                <a:cubicBezTo>
                  <a:pt x="2294" y="1717"/>
                  <a:pt x="2294" y="1717"/>
                  <a:pt x="2294" y="1717"/>
                </a:cubicBezTo>
                <a:cubicBezTo>
                  <a:pt x="2299" y="1727"/>
                  <a:pt x="2304" y="1737"/>
                  <a:pt x="2309" y="1748"/>
                </a:cubicBezTo>
                <a:cubicBezTo>
                  <a:pt x="2312" y="1754"/>
                  <a:pt x="2318" y="1762"/>
                  <a:pt x="2320" y="1771"/>
                </a:cubicBezTo>
                <a:cubicBezTo>
                  <a:pt x="2322" y="1775"/>
                  <a:pt x="2323" y="1778"/>
                  <a:pt x="2322" y="1782"/>
                </a:cubicBezTo>
                <a:close/>
                <a:moveTo>
                  <a:pt x="2340" y="1624"/>
                </a:moveTo>
                <a:cubicBezTo>
                  <a:pt x="2338" y="1622"/>
                  <a:pt x="2337" y="1621"/>
                  <a:pt x="2335" y="1620"/>
                </a:cubicBezTo>
                <a:cubicBezTo>
                  <a:pt x="2331" y="1617"/>
                  <a:pt x="2328" y="1613"/>
                  <a:pt x="2326" y="1610"/>
                </a:cubicBezTo>
                <a:cubicBezTo>
                  <a:pt x="2324" y="1607"/>
                  <a:pt x="2324" y="1607"/>
                  <a:pt x="2324" y="1607"/>
                </a:cubicBezTo>
                <a:cubicBezTo>
                  <a:pt x="2324" y="1607"/>
                  <a:pt x="2324" y="1607"/>
                  <a:pt x="2324" y="1607"/>
                </a:cubicBezTo>
                <a:cubicBezTo>
                  <a:pt x="2317" y="1594"/>
                  <a:pt x="2310" y="1582"/>
                  <a:pt x="2303" y="1569"/>
                </a:cubicBezTo>
                <a:cubicBezTo>
                  <a:pt x="2303" y="1569"/>
                  <a:pt x="2303" y="1569"/>
                  <a:pt x="2303" y="1569"/>
                </a:cubicBezTo>
                <a:cubicBezTo>
                  <a:pt x="2300" y="1564"/>
                  <a:pt x="2300" y="1564"/>
                  <a:pt x="2300" y="1564"/>
                </a:cubicBezTo>
                <a:cubicBezTo>
                  <a:pt x="2298" y="1561"/>
                  <a:pt x="2298" y="1558"/>
                  <a:pt x="2298" y="1555"/>
                </a:cubicBezTo>
                <a:cubicBezTo>
                  <a:pt x="2299" y="1552"/>
                  <a:pt x="2300" y="1550"/>
                  <a:pt x="2303" y="1547"/>
                </a:cubicBezTo>
                <a:cubicBezTo>
                  <a:pt x="2306" y="1545"/>
                  <a:pt x="2309" y="1544"/>
                  <a:pt x="2313" y="1542"/>
                </a:cubicBezTo>
                <a:cubicBezTo>
                  <a:pt x="2318" y="1541"/>
                  <a:pt x="2323" y="1541"/>
                  <a:pt x="2329" y="1541"/>
                </a:cubicBezTo>
                <a:cubicBezTo>
                  <a:pt x="2330" y="1541"/>
                  <a:pt x="2330" y="1541"/>
                  <a:pt x="2330" y="1541"/>
                </a:cubicBezTo>
                <a:cubicBezTo>
                  <a:pt x="2342" y="1540"/>
                  <a:pt x="2356" y="1540"/>
                  <a:pt x="2363" y="1540"/>
                </a:cubicBezTo>
                <a:cubicBezTo>
                  <a:pt x="2394" y="1540"/>
                  <a:pt x="2443" y="1534"/>
                  <a:pt x="2463" y="1564"/>
                </a:cubicBezTo>
                <a:cubicBezTo>
                  <a:pt x="2470" y="1573"/>
                  <a:pt x="2476" y="1583"/>
                  <a:pt x="2483" y="1593"/>
                </a:cubicBezTo>
                <a:cubicBezTo>
                  <a:pt x="2486" y="1598"/>
                  <a:pt x="2492" y="1605"/>
                  <a:pt x="2495" y="1611"/>
                </a:cubicBezTo>
                <a:cubicBezTo>
                  <a:pt x="2497" y="1614"/>
                  <a:pt x="2498" y="1617"/>
                  <a:pt x="2498" y="1620"/>
                </a:cubicBezTo>
                <a:cubicBezTo>
                  <a:pt x="2498" y="1621"/>
                  <a:pt x="2497" y="1623"/>
                  <a:pt x="2496" y="1625"/>
                </a:cubicBezTo>
                <a:cubicBezTo>
                  <a:pt x="2496" y="1626"/>
                  <a:pt x="2495" y="1627"/>
                  <a:pt x="2494" y="1628"/>
                </a:cubicBezTo>
                <a:cubicBezTo>
                  <a:pt x="2494" y="1628"/>
                  <a:pt x="2494" y="1628"/>
                  <a:pt x="2494" y="1628"/>
                </a:cubicBezTo>
                <a:cubicBezTo>
                  <a:pt x="2494" y="1628"/>
                  <a:pt x="2494" y="1628"/>
                  <a:pt x="2494" y="1628"/>
                </a:cubicBezTo>
                <a:cubicBezTo>
                  <a:pt x="2493" y="1629"/>
                  <a:pt x="2493" y="1629"/>
                  <a:pt x="2492" y="1630"/>
                </a:cubicBezTo>
                <a:cubicBezTo>
                  <a:pt x="2492" y="1630"/>
                  <a:pt x="2491" y="1630"/>
                  <a:pt x="2491" y="1630"/>
                </a:cubicBezTo>
                <a:cubicBezTo>
                  <a:pt x="2490" y="1631"/>
                  <a:pt x="2489" y="1631"/>
                  <a:pt x="2488" y="1632"/>
                </a:cubicBezTo>
                <a:cubicBezTo>
                  <a:pt x="2487" y="1632"/>
                  <a:pt x="2485" y="1633"/>
                  <a:pt x="2484" y="1633"/>
                </a:cubicBezTo>
                <a:cubicBezTo>
                  <a:pt x="2484" y="1633"/>
                  <a:pt x="2484" y="1634"/>
                  <a:pt x="2484" y="1634"/>
                </a:cubicBezTo>
                <a:cubicBezTo>
                  <a:pt x="2484" y="1634"/>
                  <a:pt x="2483" y="1634"/>
                  <a:pt x="2483" y="1634"/>
                </a:cubicBezTo>
                <a:cubicBezTo>
                  <a:pt x="2469" y="1638"/>
                  <a:pt x="2448" y="1636"/>
                  <a:pt x="2434" y="1636"/>
                </a:cubicBezTo>
                <a:cubicBezTo>
                  <a:pt x="2418" y="1636"/>
                  <a:pt x="2401" y="1636"/>
                  <a:pt x="2385" y="1636"/>
                </a:cubicBezTo>
                <a:cubicBezTo>
                  <a:pt x="2370" y="1636"/>
                  <a:pt x="2353" y="1632"/>
                  <a:pt x="2340" y="1624"/>
                </a:cubicBezTo>
                <a:close/>
                <a:moveTo>
                  <a:pt x="2605" y="1791"/>
                </a:moveTo>
                <a:cubicBezTo>
                  <a:pt x="2605" y="1791"/>
                  <a:pt x="2605" y="1791"/>
                  <a:pt x="2604" y="1791"/>
                </a:cubicBezTo>
                <a:cubicBezTo>
                  <a:pt x="2602" y="1794"/>
                  <a:pt x="2598" y="1797"/>
                  <a:pt x="2593" y="1798"/>
                </a:cubicBezTo>
                <a:cubicBezTo>
                  <a:pt x="2589" y="1800"/>
                  <a:pt x="2583" y="1801"/>
                  <a:pt x="2576" y="1801"/>
                </a:cubicBezTo>
                <a:cubicBezTo>
                  <a:pt x="2569" y="1801"/>
                  <a:pt x="2569" y="1801"/>
                  <a:pt x="2569" y="1801"/>
                </a:cubicBezTo>
                <a:cubicBezTo>
                  <a:pt x="2569" y="1801"/>
                  <a:pt x="2569" y="1801"/>
                  <a:pt x="2569" y="1801"/>
                </a:cubicBezTo>
                <a:cubicBezTo>
                  <a:pt x="2541" y="1801"/>
                  <a:pt x="2512" y="1801"/>
                  <a:pt x="2483" y="1801"/>
                </a:cubicBezTo>
                <a:cubicBezTo>
                  <a:pt x="2480" y="1801"/>
                  <a:pt x="2476" y="1801"/>
                  <a:pt x="2473" y="1801"/>
                </a:cubicBezTo>
                <a:cubicBezTo>
                  <a:pt x="2473" y="1801"/>
                  <a:pt x="2473" y="1801"/>
                  <a:pt x="2473" y="1801"/>
                </a:cubicBezTo>
                <a:cubicBezTo>
                  <a:pt x="2453" y="1799"/>
                  <a:pt x="2432" y="1790"/>
                  <a:pt x="2419" y="1775"/>
                </a:cubicBezTo>
                <a:cubicBezTo>
                  <a:pt x="2418" y="1773"/>
                  <a:pt x="2416" y="1771"/>
                  <a:pt x="2415" y="1769"/>
                </a:cubicBezTo>
                <a:cubicBezTo>
                  <a:pt x="2415" y="1769"/>
                  <a:pt x="2415" y="1769"/>
                  <a:pt x="2415" y="1769"/>
                </a:cubicBezTo>
                <a:cubicBezTo>
                  <a:pt x="2415" y="1769"/>
                  <a:pt x="2415" y="1769"/>
                  <a:pt x="2415" y="1769"/>
                </a:cubicBezTo>
                <a:cubicBezTo>
                  <a:pt x="2409" y="1758"/>
                  <a:pt x="2402" y="1747"/>
                  <a:pt x="2396" y="1736"/>
                </a:cubicBezTo>
                <a:cubicBezTo>
                  <a:pt x="2392" y="1728"/>
                  <a:pt x="2383" y="1716"/>
                  <a:pt x="2381" y="1706"/>
                </a:cubicBezTo>
                <a:cubicBezTo>
                  <a:pt x="2381" y="1706"/>
                  <a:pt x="2381" y="1706"/>
                  <a:pt x="2381" y="1706"/>
                </a:cubicBezTo>
                <a:cubicBezTo>
                  <a:pt x="2380" y="1705"/>
                  <a:pt x="2380" y="1704"/>
                  <a:pt x="2380" y="1703"/>
                </a:cubicBezTo>
                <a:cubicBezTo>
                  <a:pt x="2379" y="1693"/>
                  <a:pt x="2387" y="1688"/>
                  <a:pt x="2396" y="1685"/>
                </a:cubicBezTo>
                <a:cubicBezTo>
                  <a:pt x="2396" y="1685"/>
                  <a:pt x="2396" y="1685"/>
                  <a:pt x="2396" y="1685"/>
                </a:cubicBezTo>
                <a:cubicBezTo>
                  <a:pt x="2396" y="1685"/>
                  <a:pt x="2397" y="1685"/>
                  <a:pt x="2397" y="1685"/>
                </a:cubicBezTo>
                <a:cubicBezTo>
                  <a:pt x="2398" y="1685"/>
                  <a:pt x="2398" y="1685"/>
                  <a:pt x="2399" y="1684"/>
                </a:cubicBezTo>
                <a:cubicBezTo>
                  <a:pt x="2403" y="1683"/>
                  <a:pt x="2408" y="1683"/>
                  <a:pt x="2413" y="1683"/>
                </a:cubicBezTo>
                <a:cubicBezTo>
                  <a:pt x="2470" y="1683"/>
                  <a:pt x="2470" y="1683"/>
                  <a:pt x="2470" y="1683"/>
                </a:cubicBezTo>
                <a:cubicBezTo>
                  <a:pt x="2479" y="1683"/>
                  <a:pt x="2489" y="1683"/>
                  <a:pt x="2498" y="1683"/>
                </a:cubicBezTo>
                <a:cubicBezTo>
                  <a:pt x="2498" y="1683"/>
                  <a:pt x="2498" y="1683"/>
                  <a:pt x="2498" y="1683"/>
                </a:cubicBezTo>
                <a:cubicBezTo>
                  <a:pt x="2499" y="1683"/>
                  <a:pt x="2499" y="1683"/>
                  <a:pt x="2500" y="1683"/>
                </a:cubicBezTo>
                <a:cubicBezTo>
                  <a:pt x="2502" y="1683"/>
                  <a:pt x="2505" y="1683"/>
                  <a:pt x="2507" y="1683"/>
                </a:cubicBezTo>
                <a:cubicBezTo>
                  <a:pt x="2508" y="1683"/>
                  <a:pt x="2508" y="1683"/>
                  <a:pt x="2509" y="1683"/>
                </a:cubicBezTo>
                <a:cubicBezTo>
                  <a:pt x="2527" y="1685"/>
                  <a:pt x="2546" y="1692"/>
                  <a:pt x="2558" y="1705"/>
                </a:cubicBezTo>
                <a:cubicBezTo>
                  <a:pt x="2559" y="1705"/>
                  <a:pt x="2560" y="1706"/>
                  <a:pt x="2561" y="1707"/>
                </a:cubicBezTo>
                <a:cubicBezTo>
                  <a:pt x="2561" y="1708"/>
                  <a:pt x="2562" y="1708"/>
                  <a:pt x="2562" y="1709"/>
                </a:cubicBezTo>
                <a:cubicBezTo>
                  <a:pt x="2563" y="1710"/>
                  <a:pt x="2563" y="1710"/>
                  <a:pt x="2564" y="1711"/>
                </a:cubicBezTo>
                <a:cubicBezTo>
                  <a:pt x="2564" y="1711"/>
                  <a:pt x="2564" y="1711"/>
                  <a:pt x="2564" y="1711"/>
                </a:cubicBezTo>
                <a:cubicBezTo>
                  <a:pt x="2566" y="1713"/>
                  <a:pt x="2566" y="1713"/>
                  <a:pt x="2566" y="1713"/>
                </a:cubicBezTo>
                <a:cubicBezTo>
                  <a:pt x="2571" y="1721"/>
                  <a:pt x="2576" y="1729"/>
                  <a:pt x="2582" y="1737"/>
                </a:cubicBezTo>
                <a:cubicBezTo>
                  <a:pt x="2582" y="1737"/>
                  <a:pt x="2582" y="1737"/>
                  <a:pt x="2582" y="1737"/>
                </a:cubicBezTo>
                <a:cubicBezTo>
                  <a:pt x="2589" y="1748"/>
                  <a:pt x="2599" y="1759"/>
                  <a:pt x="2605" y="1772"/>
                </a:cubicBezTo>
                <a:cubicBezTo>
                  <a:pt x="2606" y="1773"/>
                  <a:pt x="2606" y="1773"/>
                  <a:pt x="2606" y="1774"/>
                </a:cubicBezTo>
                <a:cubicBezTo>
                  <a:pt x="2607" y="1775"/>
                  <a:pt x="2607" y="1775"/>
                  <a:pt x="2607" y="1775"/>
                </a:cubicBezTo>
                <a:cubicBezTo>
                  <a:pt x="2609" y="1782"/>
                  <a:pt x="2608" y="1787"/>
                  <a:pt x="2605" y="1791"/>
                </a:cubicBezTo>
                <a:close/>
                <a:moveTo>
                  <a:pt x="2937" y="318"/>
                </a:moveTo>
                <a:cubicBezTo>
                  <a:pt x="3034" y="414"/>
                  <a:pt x="3089" y="549"/>
                  <a:pt x="3089" y="685"/>
                </a:cubicBezTo>
                <a:cubicBezTo>
                  <a:pt x="3089" y="821"/>
                  <a:pt x="3034" y="955"/>
                  <a:pt x="2937" y="1051"/>
                </a:cubicBezTo>
                <a:cubicBezTo>
                  <a:pt x="3050" y="999"/>
                  <a:pt x="3153" y="855"/>
                  <a:pt x="3152" y="685"/>
                </a:cubicBezTo>
                <a:cubicBezTo>
                  <a:pt x="3153" y="514"/>
                  <a:pt x="3050" y="371"/>
                  <a:pt x="2937" y="318"/>
                </a:cubicBezTo>
                <a:close/>
                <a:moveTo>
                  <a:pt x="216" y="318"/>
                </a:moveTo>
                <a:cubicBezTo>
                  <a:pt x="104" y="371"/>
                  <a:pt x="0" y="514"/>
                  <a:pt x="2" y="685"/>
                </a:cubicBezTo>
                <a:cubicBezTo>
                  <a:pt x="0" y="855"/>
                  <a:pt x="104" y="999"/>
                  <a:pt x="216" y="1051"/>
                </a:cubicBezTo>
                <a:cubicBezTo>
                  <a:pt x="120" y="955"/>
                  <a:pt x="64" y="821"/>
                  <a:pt x="65" y="685"/>
                </a:cubicBezTo>
                <a:cubicBezTo>
                  <a:pt x="64" y="549"/>
                  <a:pt x="120" y="414"/>
                  <a:pt x="216" y="318"/>
                </a:cubicBezTo>
                <a:close/>
              </a:path>
            </a:pathLst>
          </a:custGeom>
          <a:solidFill>
            <a:srgbClr val="FFFFFF"/>
          </a:solidFill>
          <a:ln>
            <a:noFill/>
          </a:ln>
        </p:spPr>
        <p:txBody>
          <a:bodyPr vert="horz" wrap="square" lIns="61735" tIns="30867" rIns="61735" bIns="30867" numCol="1" anchor="t" anchorCtr="0" compatLnSpc="1">
            <a:prstTxWarp prst="textNoShape">
              <a:avLst/>
            </a:prstTxWarp>
          </a:bodyPr>
          <a:lstStyle/>
          <a:p>
            <a:endParaRPr lang="en-US" sz="1200"/>
          </a:p>
        </p:txBody>
      </p:sp>
      <p:grpSp>
        <p:nvGrpSpPr>
          <p:cNvPr id="95" name="Group 94"/>
          <p:cNvGrpSpPr/>
          <p:nvPr/>
        </p:nvGrpSpPr>
        <p:grpSpPr bwMode="black">
          <a:xfrm>
            <a:off x="7144421" y="1485901"/>
            <a:ext cx="831195" cy="721451"/>
            <a:chOff x="2462213" y="1598613"/>
            <a:chExt cx="4222750" cy="3667125"/>
          </a:xfrm>
        </p:grpSpPr>
        <p:sp>
          <p:nvSpPr>
            <p:cNvPr id="96" name="Rectangle 6"/>
            <p:cNvSpPr>
              <a:spLocks noChangeArrowheads="1"/>
            </p:cNvSpPr>
            <p:nvPr/>
          </p:nvSpPr>
          <p:spPr bwMode="black">
            <a:xfrm>
              <a:off x="5564188"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7" name="Rectangle 7"/>
            <p:cNvSpPr>
              <a:spLocks noChangeArrowheads="1"/>
            </p:cNvSpPr>
            <p:nvPr/>
          </p:nvSpPr>
          <p:spPr bwMode="black">
            <a:xfrm>
              <a:off x="5795963" y="3346451"/>
              <a:ext cx="112713"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8" name="Rectangle 8"/>
            <p:cNvSpPr>
              <a:spLocks noChangeArrowheads="1"/>
            </p:cNvSpPr>
            <p:nvPr/>
          </p:nvSpPr>
          <p:spPr bwMode="black">
            <a:xfrm>
              <a:off x="3092451"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9" name="Rectangle 9"/>
            <p:cNvSpPr>
              <a:spLocks noChangeArrowheads="1"/>
            </p:cNvSpPr>
            <p:nvPr/>
          </p:nvSpPr>
          <p:spPr bwMode="black">
            <a:xfrm>
              <a:off x="3324226" y="3346451"/>
              <a:ext cx="117475"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0" name="Freeform 10"/>
            <p:cNvSpPr>
              <a:spLocks/>
            </p:cNvSpPr>
            <p:nvPr/>
          </p:nvSpPr>
          <p:spPr bwMode="black">
            <a:xfrm>
              <a:off x="3902076" y="2506663"/>
              <a:ext cx="101600" cy="123825"/>
            </a:xfrm>
            <a:custGeom>
              <a:avLst/>
              <a:gdLst>
                <a:gd name="T0" fmla="*/ 36 w 64"/>
                <a:gd name="T1" fmla="*/ 78 h 78"/>
                <a:gd name="T2" fmla="*/ 64 w 64"/>
                <a:gd name="T3" fmla="*/ 64 h 78"/>
                <a:gd name="T4" fmla="*/ 26 w 64"/>
                <a:gd name="T5" fmla="*/ 0 h 78"/>
                <a:gd name="T6" fmla="*/ 0 w 64"/>
                <a:gd name="T7" fmla="*/ 17 h 78"/>
                <a:gd name="T8" fmla="*/ 36 w 64"/>
                <a:gd name="T9" fmla="*/ 78 h 78"/>
              </a:gdLst>
              <a:ahLst/>
              <a:cxnLst>
                <a:cxn ang="0">
                  <a:pos x="T0" y="T1"/>
                </a:cxn>
                <a:cxn ang="0">
                  <a:pos x="T2" y="T3"/>
                </a:cxn>
                <a:cxn ang="0">
                  <a:pos x="T4" y="T5"/>
                </a:cxn>
                <a:cxn ang="0">
                  <a:pos x="T6" y="T7"/>
                </a:cxn>
                <a:cxn ang="0">
                  <a:pos x="T8" y="T9"/>
                </a:cxn>
              </a:cxnLst>
              <a:rect l="0" t="0" r="r" b="b"/>
              <a:pathLst>
                <a:path w="64" h="78">
                  <a:moveTo>
                    <a:pt x="36" y="78"/>
                  </a:moveTo>
                  <a:lnTo>
                    <a:pt x="64" y="64"/>
                  </a:lnTo>
                  <a:lnTo>
                    <a:pt x="26" y="0"/>
                  </a:lnTo>
                  <a:lnTo>
                    <a:pt x="0" y="17"/>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1" name="Freeform 11"/>
            <p:cNvSpPr>
              <a:spLocks/>
            </p:cNvSpPr>
            <p:nvPr/>
          </p:nvSpPr>
          <p:spPr bwMode="black">
            <a:xfrm>
              <a:off x="4017963" y="2709863"/>
              <a:ext cx="98425" cy="123825"/>
            </a:xfrm>
            <a:custGeom>
              <a:avLst/>
              <a:gdLst>
                <a:gd name="T0" fmla="*/ 36 w 62"/>
                <a:gd name="T1" fmla="*/ 78 h 78"/>
                <a:gd name="T2" fmla="*/ 62 w 62"/>
                <a:gd name="T3" fmla="*/ 61 h 78"/>
                <a:gd name="T4" fmla="*/ 26 w 62"/>
                <a:gd name="T5" fmla="*/ 0 h 78"/>
                <a:gd name="T6" fmla="*/ 0 w 62"/>
                <a:gd name="T7" fmla="*/ 14 h 78"/>
                <a:gd name="T8" fmla="*/ 36 w 62"/>
                <a:gd name="T9" fmla="*/ 78 h 78"/>
              </a:gdLst>
              <a:ahLst/>
              <a:cxnLst>
                <a:cxn ang="0">
                  <a:pos x="T0" y="T1"/>
                </a:cxn>
                <a:cxn ang="0">
                  <a:pos x="T2" y="T3"/>
                </a:cxn>
                <a:cxn ang="0">
                  <a:pos x="T4" y="T5"/>
                </a:cxn>
                <a:cxn ang="0">
                  <a:pos x="T6" y="T7"/>
                </a:cxn>
                <a:cxn ang="0">
                  <a:pos x="T8" y="T9"/>
                </a:cxn>
              </a:cxnLst>
              <a:rect l="0" t="0" r="r" b="b"/>
              <a:pathLst>
                <a:path w="62" h="78">
                  <a:moveTo>
                    <a:pt x="36" y="78"/>
                  </a:moveTo>
                  <a:lnTo>
                    <a:pt x="62" y="61"/>
                  </a:lnTo>
                  <a:lnTo>
                    <a:pt x="26" y="0"/>
                  </a:lnTo>
                  <a:lnTo>
                    <a:pt x="0" y="14"/>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2" name="Freeform 12"/>
            <p:cNvSpPr>
              <a:spLocks/>
            </p:cNvSpPr>
            <p:nvPr/>
          </p:nvSpPr>
          <p:spPr bwMode="black">
            <a:xfrm>
              <a:off x="4873626" y="2709863"/>
              <a:ext cx="98425" cy="123825"/>
            </a:xfrm>
            <a:custGeom>
              <a:avLst/>
              <a:gdLst>
                <a:gd name="T0" fmla="*/ 26 w 62"/>
                <a:gd name="T1" fmla="*/ 78 h 78"/>
                <a:gd name="T2" fmla="*/ 62 w 62"/>
                <a:gd name="T3" fmla="*/ 14 h 78"/>
                <a:gd name="T4" fmla="*/ 36 w 62"/>
                <a:gd name="T5" fmla="*/ 0 h 78"/>
                <a:gd name="T6" fmla="*/ 0 w 62"/>
                <a:gd name="T7" fmla="*/ 61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4"/>
                  </a:lnTo>
                  <a:lnTo>
                    <a:pt x="36" y="0"/>
                  </a:lnTo>
                  <a:lnTo>
                    <a:pt x="0" y="61"/>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3" name="Freeform 13"/>
            <p:cNvSpPr>
              <a:spLocks/>
            </p:cNvSpPr>
            <p:nvPr/>
          </p:nvSpPr>
          <p:spPr bwMode="black">
            <a:xfrm>
              <a:off x="4989513" y="2506663"/>
              <a:ext cx="98425" cy="123825"/>
            </a:xfrm>
            <a:custGeom>
              <a:avLst/>
              <a:gdLst>
                <a:gd name="T0" fmla="*/ 26 w 62"/>
                <a:gd name="T1" fmla="*/ 78 h 78"/>
                <a:gd name="T2" fmla="*/ 62 w 62"/>
                <a:gd name="T3" fmla="*/ 17 h 78"/>
                <a:gd name="T4" fmla="*/ 36 w 62"/>
                <a:gd name="T5" fmla="*/ 0 h 78"/>
                <a:gd name="T6" fmla="*/ 0 w 62"/>
                <a:gd name="T7" fmla="*/ 64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7"/>
                  </a:lnTo>
                  <a:lnTo>
                    <a:pt x="36" y="0"/>
                  </a:lnTo>
                  <a:lnTo>
                    <a:pt x="0" y="64"/>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4" name="Freeform 14"/>
            <p:cNvSpPr>
              <a:spLocks/>
            </p:cNvSpPr>
            <p:nvPr/>
          </p:nvSpPr>
          <p:spPr bwMode="black">
            <a:xfrm>
              <a:off x="4017963" y="3990976"/>
              <a:ext cx="98425" cy="123825"/>
            </a:xfrm>
            <a:custGeom>
              <a:avLst/>
              <a:gdLst>
                <a:gd name="T0" fmla="*/ 0 w 62"/>
                <a:gd name="T1" fmla="*/ 64 h 78"/>
                <a:gd name="T2" fmla="*/ 26 w 62"/>
                <a:gd name="T3" fmla="*/ 78 h 78"/>
                <a:gd name="T4" fmla="*/ 62 w 62"/>
                <a:gd name="T5" fmla="*/ 14 h 78"/>
                <a:gd name="T6" fmla="*/ 36 w 62"/>
                <a:gd name="T7" fmla="*/ 0 h 78"/>
                <a:gd name="T8" fmla="*/ 0 w 62"/>
                <a:gd name="T9" fmla="*/ 64 h 78"/>
              </a:gdLst>
              <a:ahLst/>
              <a:cxnLst>
                <a:cxn ang="0">
                  <a:pos x="T0" y="T1"/>
                </a:cxn>
                <a:cxn ang="0">
                  <a:pos x="T2" y="T3"/>
                </a:cxn>
                <a:cxn ang="0">
                  <a:pos x="T4" y="T5"/>
                </a:cxn>
                <a:cxn ang="0">
                  <a:pos x="T6" y="T7"/>
                </a:cxn>
                <a:cxn ang="0">
                  <a:pos x="T8" y="T9"/>
                </a:cxn>
              </a:cxnLst>
              <a:rect l="0" t="0" r="r" b="b"/>
              <a:pathLst>
                <a:path w="62" h="78">
                  <a:moveTo>
                    <a:pt x="0" y="64"/>
                  </a:moveTo>
                  <a:lnTo>
                    <a:pt x="26" y="78"/>
                  </a:lnTo>
                  <a:lnTo>
                    <a:pt x="62" y="14"/>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5" name="Freeform 15"/>
            <p:cNvSpPr>
              <a:spLocks/>
            </p:cNvSpPr>
            <p:nvPr/>
          </p:nvSpPr>
          <p:spPr bwMode="black">
            <a:xfrm>
              <a:off x="3902076" y="4189413"/>
              <a:ext cx="101600" cy="128588"/>
            </a:xfrm>
            <a:custGeom>
              <a:avLst/>
              <a:gdLst>
                <a:gd name="T0" fmla="*/ 0 w 64"/>
                <a:gd name="T1" fmla="*/ 64 h 81"/>
                <a:gd name="T2" fmla="*/ 26 w 64"/>
                <a:gd name="T3" fmla="*/ 81 h 81"/>
                <a:gd name="T4" fmla="*/ 64 w 64"/>
                <a:gd name="T5" fmla="*/ 17 h 81"/>
                <a:gd name="T6" fmla="*/ 36 w 64"/>
                <a:gd name="T7" fmla="*/ 0 h 81"/>
                <a:gd name="T8" fmla="*/ 0 w 64"/>
                <a:gd name="T9" fmla="*/ 64 h 81"/>
              </a:gdLst>
              <a:ahLst/>
              <a:cxnLst>
                <a:cxn ang="0">
                  <a:pos x="T0" y="T1"/>
                </a:cxn>
                <a:cxn ang="0">
                  <a:pos x="T2" y="T3"/>
                </a:cxn>
                <a:cxn ang="0">
                  <a:pos x="T4" y="T5"/>
                </a:cxn>
                <a:cxn ang="0">
                  <a:pos x="T6" y="T7"/>
                </a:cxn>
                <a:cxn ang="0">
                  <a:pos x="T8" y="T9"/>
                </a:cxn>
              </a:cxnLst>
              <a:rect l="0" t="0" r="r" b="b"/>
              <a:pathLst>
                <a:path w="64" h="81">
                  <a:moveTo>
                    <a:pt x="0" y="64"/>
                  </a:moveTo>
                  <a:lnTo>
                    <a:pt x="26" y="81"/>
                  </a:lnTo>
                  <a:lnTo>
                    <a:pt x="64" y="17"/>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6" name="Freeform 16"/>
            <p:cNvSpPr>
              <a:spLocks/>
            </p:cNvSpPr>
            <p:nvPr/>
          </p:nvSpPr>
          <p:spPr bwMode="black">
            <a:xfrm>
              <a:off x="4989513" y="4189413"/>
              <a:ext cx="98425" cy="128588"/>
            </a:xfrm>
            <a:custGeom>
              <a:avLst/>
              <a:gdLst>
                <a:gd name="T0" fmla="*/ 26 w 62"/>
                <a:gd name="T1" fmla="*/ 0 h 81"/>
                <a:gd name="T2" fmla="*/ 0 w 62"/>
                <a:gd name="T3" fmla="*/ 17 h 81"/>
                <a:gd name="T4" fmla="*/ 36 w 62"/>
                <a:gd name="T5" fmla="*/ 81 h 81"/>
                <a:gd name="T6" fmla="*/ 62 w 62"/>
                <a:gd name="T7" fmla="*/ 64 h 81"/>
                <a:gd name="T8" fmla="*/ 26 w 62"/>
                <a:gd name="T9" fmla="*/ 0 h 81"/>
              </a:gdLst>
              <a:ahLst/>
              <a:cxnLst>
                <a:cxn ang="0">
                  <a:pos x="T0" y="T1"/>
                </a:cxn>
                <a:cxn ang="0">
                  <a:pos x="T2" y="T3"/>
                </a:cxn>
                <a:cxn ang="0">
                  <a:pos x="T4" y="T5"/>
                </a:cxn>
                <a:cxn ang="0">
                  <a:pos x="T6" y="T7"/>
                </a:cxn>
                <a:cxn ang="0">
                  <a:pos x="T8" y="T9"/>
                </a:cxn>
              </a:cxnLst>
              <a:rect l="0" t="0" r="r" b="b"/>
              <a:pathLst>
                <a:path w="62" h="81">
                  <a:moveTo>
                    <a:pt x="26" y="0"/>
                  </a:moveTo>
                  <a:lnTo>
                    <a:pt x="0" y="17"/>
                  </a:lnTo>
                  <a:lnTo>
                    <a:pt x="36" y="81"/>
                  </a:lnTo>
                  <a:lnTo>
                    <a:pt x="62" y="64"/>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7" name="Freeform 17"/>
            <p:cNvSpPr>
              <a:spLocks/>
            </p:cNvSpPr>
            <p:nvPr/>
          </p:nvSpPr>
          <p:spPr bwMode="black">
            <a:xfrm>
              <a:off x="4873626" y="3990976"/>
              <a:ext cx="98425" cy="123825"/>
            </a:xfrm>
            <a:custGeom>
              <a:avLst/>
              <a:gdLst>
                <a:gd name="T0" fmla="*/ 0 w 62"/>
                <a:gd name="T1" fmla="*/ 14 h 78"/>
                <a:gd name="T2" fmla="*/ 36 w 62"/>
                <a:gd name="T3" fmla="*/ 78 h 78"/>
                <a:gd name="T4" fmla="*/ 62 w 62"/>
                <a:gd name="T5" fmla="*/ 64 h 78"/>
                <a:gd name="T6" fmla="*/ 26 w 62"/>
                <a:gd name="T7" fmla="*/ 0 h 78"/>
                <a:gd name="T8" fmla="*/ 0 w 62"/>
                <a:gd name="T9" fmla="*/ 14 h 78"/>
              </a:gdLst>
              <a:ahLst/>
              <a:cxnLst>
                <a:cxn ang="0">
                  <a:pos x="T0" y="T1"/>
                </a:cxn>
                <a:cxn ang="0">
                  <a:pos x="T2" y="T3"/>
                </a:cxn>
                <a:cxn ang="0">
                  <a:pos x="T4" y="T5"/>
                </a:cxn>
                <a:cxn ang="0">
                  <a:pos x="T6" y="T7"/>
                </a:cxn>
                <a:cxn ang="0">
                  <a:pos x="T8" y="T9"/>
                </a:cxn>
              </a:cxnLst>
              <a:rect l="0" t="0" r="r" b="b"/>
              <a:pathLst>
                <a:path w="62" h="78">
                  <a:moveTo>
                    <a:pt x="0" y="14"/>
                  </a:moveTo>
                  <a:lnTo>
                    <a:pt x="36" y="78"/>
                  </a:lnTo>
                  <a:lnTo>
                    <a:pt x="62" y="64"/>
                  </a:lnTo>
                  <a:lnTo>
                    <a:pt x="26" y="0"/>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8" name="Freeform 18"/>
            <p:cNvSpPr>
              <a:spLocks/>
            </p:cNvSpPr>
            <p:nvPr/>
          </p:nvSpPr>
          <p:spPr bwMode="black">
            <a:xfrm>
              <a:off x="3579813" y="2892426"/>
              <a:ext cx="1833563" cy="1068388"/>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9" name="Freeform 19"/>
            <p:cNvSpPr>
              <a:spLocks noEditPoints="1"/>
            </p:cNvSpPr>
            <p:nvPr/>
          </p:nvSpPr>
          <p:spPr bwMode="black">
            <a:xfrm>
              <a:off x="3321051" y="1598613"/>
              <a:ext cx="750888" cy="522288"/>
            </a:xfrm>
            <a:custGeom>
              <a:avLst/>
              <a:gdLst>
                <a:gd name="T0" fmla="*/ 174 w 200"/>
                <a:gd name="T1" fmla="*/ 0 h 139"/>
                <a:gd name="T2" fmla="*/ 26 w 200"/>
                <a:gd name="T3" fmla="*/ 0 h 139"/>
                <a:gd name="T4" fmla="*/ 0 w 200"/>
                <a:gd name="T5" fmla="*/ 27 h 139"/>
                <a:gd name="T6" fmla="*/ 0 w 200"/>
                <a:gd name="T7" fmla="*/ 113 h 139"/>
                <a:gd name="T8" fmla="*/ 26 w 200"/>
                <a:gd name="T9" fmla="*/ 139 h 139"/>
                <a:gd name="T10" fmla="*/ 174 w 200"/>
                <a:gd name="T11" fmla="*/ 139 h 139"/>
                <a:gd name="T12" fmla="*/ 200 w 200"/>
                <a:gd name="T13" fmla="*/ 113 h 139"/>
                <a:gd name="T14" fmla="*/ 200 w 200"/>
                <a:gd name="T15" fmla="*/ 27 h 139"/>
                <a:gd name="T16" fmla="*/ 174 w 200"/>
                <a:gd name="T17" fmla="*/ 0 h 139"/>
                <a:gd name="T18" fmla="*/ 185 w 200"/>
                <a:gd name="T19" fmla="*/ 113 h 139"/>
                <a:gd name="T20" fmla="*/ 174 w 200"/>
                <a:gd name="T21" fmla="*/ 124 h 139"/>
                <a:gd name="T22" fmla="*/ 26 w 200"/>
                <a:gd name="T23" fmla="*/ 124 h 139"/>
                <a:gd name="T24" fmla="*/ 15 w 200"/>
                <a:gd name="T25" fmla="*/ 113 h 139"/>
                <a:gd name="T26" fmla="*/ 15 w 200"/>
                <a:gd name="T27" fmla="*/ 27 h 139"/>
                <a:gd name="T28" fmla="*/ 26 w 200"/>
                <a:gd name="T29" fmla="*/ 16 h 139"/>
                <a:gd name="T30" fmla="*/ 174 w 200"/>
                <a:gd name="T31" fmla="*/ 16 h 139"/>
                <a:gd name="T32" fmla="*/ 185 w 200"/>
                <a:gd name="T33" fmla="*/ 27 h 139"/>
                <a:gd name="T34" fmla="*/ 185 w 200"/>
                <a:gd name="T35" fmla="*/ 11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39">
                  <a:moveTo>
                    <a:pt x="174" y="0"/>
                  </a:moveTo>
                  <a:cubicBezTo>
                    <a:pt x="26" y="0"/>
                    <a:pt x="26" y="0"/>
                    <a:pt x="26" y="0"/>
                  </a:cubicBezTo>
                  <a:cubicBezTo>
                    <a:pt x="12" y="0"/>
                    <a:pt x="0" y="12"/>
                    <a:pt x="0" y="27"/>
                  </a:cubicBezTo>
                  <a:cubicBezTo>
                    <a:pt x="0" y="113"/>
                    <a:pt x="0" y="113"/>
                    <a:pt x="0" y="113"/>
                  </a:cubicBezTo>
                  <a:cubicBezTo>
                    <a:pt x="0" y="127"/>
                    <a:pt x="12" y="139"/>
                    <a:pt x="26" y="139"/>
                  </a:cubicBezTo>
                  <a:cubicBezTo>
                    <a:pt x="174" y="139"/>
                    <a:pt x="174" y="139"/>
                    <a:pt x="174" y="139"/>
                  </a:cubicBezTo>
                  <a:cubicBezTo>
                    <a:pt x="188" y="139"/>
                    <a:pt x="200" y="127"/>
                    <a:pt x="200" y="113"/>
                  </a:cubicBezTo>
                  <a:cubicBezTo>
                    <a:pt x="200" y="27"/>
                    <a:pt x="200" y="27"/>
                    <a:pt x="200" y="27"/>
                  </a:cubicBezTo>
                  <a:cubicBezTo>
                    <a:pt x="200" y="12"/>
                    <a:pt x="188" y="0"/>
                    <a:pt x="174" y="0"/>
                  </a:cubicBezTo>
                  <a:moveTo>
                    <a:pt x="185" y="113"/>
                  </a:moveTo>
                  <a:cubicBezTo>
                    <a:pt x="185" y="119"/>
                    <a:pt x="180" y="124"/>
                    <a:pt x="174" y="124"/>
                  </a:cubicBezTo>
                  <a:cubicBezTo>
                    <a:pt x="26" y="124"/>
                    <a:pt x="26" y="124"/>
                    <a:pt x="26" y="124"/>
                  </a:cubicBezTo>
                  <a:cubicBezTo>
                    <a:pt x="20" y="124"/>
                    <a:pt x="15" y="119"/>
                    <a:pt x="15" y="113"/>
                  </a:cubicBezTo>
                  <a:cubicBezTo>
                    <a:pt x="15" y="27"/>
                    <a:pt x="15" y="27"/>
                    <a:pt x="15" y="27"/>
                  </a:cubicBezTo>
                  <a:cubicBezTo>
                    <a:pt x="15" y="21"/>
                    <a:pt x="20" y="16"/>
                    <a:pt x="26" y="16"/>
                  </a:cubicBezTo>
                  <a:cubicBezTo>
                    <a:pt x="174" y="16"/>
                    <a:pt x="174" y="16"/>
                    <a:pt x="174" y="16"/>
                  </a:cubicBezTo>
                  <a:cubicBezTo>
                    <a:pt x="180" y="16"/>
                    <a:pt x="185" y="21"/>
                    <a:pt x="185" y="27"/>
                  </a:cubicBezTo>
                  <a:lnTo>
                    <a:pt x="185" y="1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0" name="Freeform 20"/>
            <p:cNvSpPr>
              <a:spLocks/>
            </p:cNvSpPr>
            <p:nvPr/>
          </p:nvSpPr>
          <p:spPr bwMode="black">
            <a:xfrm>
              <a:off x="3178176" y="2154238"/>
              <a:ext cx="1035050" cy="239713"/>
            </a:xfrm>
            <a:custGeom>
              <a:avLst/>
              <a:gdLst>
                <a:gd name="T0" fmla="*/ 7 w 276"/>
                <a:gd name="T1" fmla="*/ 64 h 64"/>
                <a:gd name="T2" fmla="*/ 269 w 276"/>
                <a:gd name="T3" fmla="*/ 64 h 64"/>
                <a:gd name="T4" fmla="*/ 276 w 276"/>
                <a:gd name="T5" fmla="*/ 57 h 64"/>
                <a:gd name="T6" fmla="*/ 276 w 276"/>
                <a:gd name="T7" fmla="*/ 54 h 64"/>
                <a:gd name="T8" fmla="*/ 272 w 276"/>
                <a:gd name="T9" fmla="*/ 42 h 64"/>
                <a:gd name="T10" fmla="*/ 240 w 276"/>
                <a:gd name="T11" fmla="*/ 5 h 64"/>
                <a:gd name="T12" fmla="*/ 229 w 276"/>
                <a:gd name="T13" fmla="*/ 0 h 64"/>
                <a:gd name="T14" fmla="*/ 47 w 276"/>
                <a:gd name="T15" fmla="*/ 0 h 64"/>
                <a:gd name="T16" fmla="*/ 36 w 276"/>
                <a:gd name="T17" fmla="*/ 5 h 64"/>
                <a:gd name="T18" fmla="*/ 4 w 276"/>
                <a:gd name="T19" fmla="*/ 42 h 64"/>
                <a:gd name="T20" fmla="*/ 0 w 276"/>
                <a:gd name="T21" fmla="*/ 54 h 64"/>
                <a:gd name="T22" fmla="*/ 0 w 276"/>
                <a:gd name="T23" fmla="*/ 57 h 64"/>
                <a:gd name="T24" fmla="*/ 7 w 27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6" h="64">
                  <a:moveTo>
                    <a:pt x="7" y="64"/>
                  </a:moveTo>
                  <a:cubicBezTo>
                    <a:pt x="269" y="64"/>
                    <a:pt x="269" y="64"/>
                    <a:pt x="269" y="64"/>
                  </a:cubicBezTo>
                  <a:cubicBezTo>
                    <a:pt x="273" y="64"/>
                    <a:pt x="276" y="61"/>
                    <a:pt x="276" y="57"/>
                  </a:cubicBezTo>
                  <a:cubicBezTo>
                    <a:pt x="276" y="54"/>
                    <a:pt x="276" y="54"/>
                    <a:pt x="276" y="54"/>
                  </a:cubicBezTo>
                  <a:cubicBezTo>
                    <a:pt x="276" y="50"/>
                    <a:pt x="274" y="45"/>
                    <a:pt x="272" y="42"/>
                  </a:cubicBezTo>
                  <a:cubicBezTo>
                    <a:pt x="240" y="5"/>
                    <a:pt x="240" y="5"/>
                    <a:pt x="240" y="5"/>
                  </a:cubicBezTo>
                  <a:cubicBezTo>
                    <a:pt x="238" y="2"/>
                    <a:pt x="233" y="0"/>
                    <a:pt x="229" y="0"/>
                  </a:cubicBezTo>
                  <a:cubicBezTo>
                    <a:pt x="47" y="0"/>
                    <a:pt x="47" y="0"/>
                    <a:pt x="47" y="0"/>
                  </a:cubicBezTo>
                  <a:cubicBezTo>
                    <a:pt x="43" y="0"/>
                    <a:pt x="38" y="2"/>
                    <a:pt x="36" y="5"/>
                  </a:cubicBezTo>
                  <a:cubicBezTo>
                    <a:pt x="4" y="42"/>
                    <a:pt x="4" y="42"/>
                    <a:pt x="4" y="42"/>
                  </a:cubicBezTo>
                  <a:cubicBezTo>
                    <a:pt x="2" y="45"/>
                    <a:pt x="0" y="50"/>
                    <a:pt x="0" y="54"/>
                  </a:cubicBezTo>
                  <a:cubicBezTo>
                    <a:pt x="0" y="57"/>
                    <a:pt x="0" y="57"/>
                    <a:pt x="0" y="57"/>
                  </a:cubicBezTo>
                  <a:cubicBezTo>
                    <a:pt x="0" y="61"/>
                    <a:pt x="3" y="64"/>
                    <a:pt x="7"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1" name="Freeform 21"/>
            <p:cNvSpPr>
              <a:spLocks noEditPoints="1"/>
            </p:cNvSpPr>
            <p:nvPr/>
          </p:nvSpPr>
          <p:spPr bwMode="black">
            <a:xfrm>
              <a:off x="4730751" y="1639888"/>
              <a:ext cx="781050" cy="608013"/>
            </a:xfrm>
            <a:custGeom>
              <a:avLst/>
              <a:gdLst>
                <a:gd name="T0" fmla="*/ 177 w 208"/>
                <a:gd name="T1" fmla="*/ 0 h 162"/>
                <a:gd name="T2" fmla="*/ 31 w 208"/>
                <a:gd name="T3" fmla="*/ 0 h 162"/>
                <a:gd name="T4" fmla="*/ 0 w 208"/>
                <a:gd name="T5" fmla="*/ 31 h 162"/>
                <a:gd name="T6" fmla="*/ 0 w 208"/>
                <a:gd name="T7" fmla="*/ 131 h 162"/>
                <a:gd name="T8" fmla="*/ 31 w 208"/>
                <a:gd name="T9" fmla="*/ 162 h 162"/>
                <a:gd name="T10" fmla="*/ 177 w 208"/>
                <a:gd name="T11" fmla="*/ 162 h 162"/>
                <a:gd name="T12" fmla="*/ 208 w 208"/>
                <a:gd name="T13" fmla="*/ 131 h 162"/>
                <a:gd name="T14" fmla="*/ 208 w 208"/>
                <a:gd name="T15" fmla="*/ 31 h 162"/>
                <a:gd name="T16" fmla="*/ 177 w 208"/>
                <a:gd name="T17" fmla="*/ 0 h 162"/>
                <a:gd name="T18" fmla="*/ 190 w 208"/>
                <a:gd name="T19" fmla="*/ 131 h 162"/>
                <a:gd name="T20" fmla="*/ 177 w 208"/>
                <a:gd name="T21" fmla="*/ 144 h 162"/>
                <a:gd name="T22" fmla="*/ 31 w 208"/>
                <a:gd name="T23" fmla="*/ 144 h 162"/>
                <a:gd name="T24" fmla="*/ 18 w 208"/>
                <a:gd name="T25" fmla="*/ 131 h 162"/>
                <a:gd name="T26" fmla="*/ 18 w 208"/>
                <a:gd name="T27" fmla="*/ 31 h 162"/>
                <a:gd name="T28" fmla="*/ 31 w 208"/>
                <a:gd name="T29" fmla="*/ 18 h 162"/>
                <a:gd name="T30" fmla="*/ 177 w 208"/>
                <a:gd name="T31" fmla="*/ 18 h 162"/>
                <a:gd name="T32" fmla="*/ 190 w 208"/>
                <a:gd name="T33" fmla="*/ 31 h 162"/>
                <a:gd name="T34" fmla="*/ 190 w 208"/>
                <a:gd name="T35" fmla="*/ 13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 h="162">
                  <a:moveTo>
                    <a:pt x="177" y="0"/>
                  </a:moveTo>
                  <a:cubicBezTo>
                    <a:pt x="31" y="0"/>
                    <a:pt x="31" y="0"/>
                    <a:pt x="31" y="0"/>
                  </a:cubicBezTo>
                  <a:cubicBezTo>
                    <a:pt x="14" y="0"/>
                    <a:pt x="0" y="14"/>
                    <a:pt x="0" y="31"/>
                  </a:cubicBezTo>
                  <a:cubicBezTo>
                    <a:pt x="0" y="131"/>
                    <a:pt x="0" y="131"/>
                    <a:pt x="0" y="131"/>
                  </a:cubicBezTo>
                  <a:cubicBezTo>
                    <a:pt x="0" y="148"/>
                    <a:pt x="14" y="162"/>
                    <a:pt x="31" y="162"/>
                  </a:cubicBezTo>
                  <a:cubicBezTo>
                    <a:pt x="177" y="162"/>
                    <a:pt x="177" y="162"/>
                    <a:pt x="177" y="162"/>
                  </a:cubicBezTo>
                  <a:cubicBezTo>
                    <a:pt x="194" y="162"/>
                    <a:pt x="208" y="148"/>
                    <a:pt x="208" y="131"/>
                  </a:cubicBezTo>
                  <a:cubicBezTo>
                    <a:pt x="208" y="31"/>
                    <a:pt x="208" y="31"/>
                    <a:pt x="208" y="31"/>
                  </a:cubicBezTo>
                  <a:cubicBezTo>
                    <a:pt x="208" y="14"/>
                    <a:pt x="194" y="0"/>
                    <a:pt x="177" y="0"/>
                  </a:cubicBezTo>
                  <a:moveTo>
                    <a:pt x="190" y="131"/>
                  </a:moveTo>
                  <a:cubicBezTo>
                    <a:pt x="190" y="138"/>
                    <a:pt x="184" y="144"/>
                    <a:pt x="177" y="144"/>
                  </a:cubicBezTo>
                  <a:cubicBezTo>
                    <a:pt x="31" y="144"/>
                    <a:pt x="31" y="144"/>
                    <a:pt x="31" y="144"/>
                  </a:cubicBezTo>
                  <a:cubicBezTo>
                    <a:pt x="24" y="144"/>
                    <a:pt x="18" y="138"/>
                    <a:pt x="18" y="131"/>
                  </a:cubicBezTo>
                  <a:cubicBezTo>
                    <a:pt x="18" y="31"/>
                    <a:pt x="18" y="31"/>
                    <a:pt x="18" y="31"/>
                  </a:cubicBezTo>
                  <a:cubicBezTo>
                    <a:pt x="18" y="24"/>
                    <a:pt x="24" y="18"/>
                    <a:pt x="31" y="18"/>
                  </a:cubicBezTo>
                  <a:cubicBezTo>
                    <a:pt x="177" y="18"/>
                    <a:pt x="177" y="18"/>
                    <a:pt x="177" y="18"/>
                  </a:cubicBezTo>
                  <a:cubicBezTo>
                    <a:pt x="184" y="18"/>
                    <a:pt x="190" y="24"/>
                    <a:pt x="190" y="31"/>
                  </a:cubicBezTo>
                  <a:lnTo>
                    <a:pt x="190" y="1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2" name="Freeform 22"/>
            <p:cNvSpPr>
              <a:spLocks/>
            </p:cNvSpPr>
            <p:nvPr/>
          </p:nvSpPr>
          <p:spPr bwMode="black">
            <a:xfrm>
              <a:off x="4911726" y="2289176"/>
              <a:ext cx="419100" cy="104775"/>
            </a:xfrm>
            <a:custGeom>
              <a:avLst/>
              <a:gdLst>
                <a:gd name="T0" fmla="*/ 112 w 112"/>
                <a:gd name="T1" fmla="*/ 25 h 28"/>
                <a:gd name="T2" fmla="*/ 112 w 112"/>
                <a:gd name="T3" fmla="*/ 23 h 28"/>
                <a:gd name="T4" fmla="*/ 110 w 112"/>
                <a:gd name="T5" fmla="*/ 18 h 28"/>
                <a:gd name="T6" fmla="*/ 96 w 112"/>
                <a:gd name="T7" fmla="*/ 2 h 28"/>
                <a:gd name="T8" fmla="*/ 91 w 112"/>
                <a:gd name="T9" fmla="*/ 0 h 28"/>
                <a:gd name="T10" fmla="*/ 21 w 112"/>
                <a:gd name="T11" fmla="*/ 0 h 28"/>
                <a:gd name="T12" fmla="*/ 16 w 112"/>
                <a:gd name="T13" fmla="*/ 2 h 28"/>
                <a:gd name="T14" fmla="*/ 2 w 112"/>
                <a:gd name="T15" fmla="*/ 18 h 28"/>
                <a:gd name="T16" fmla="*/ 0 w 112"/>
                <a:gd name="T17" fmla="*/ 23 h 28"/>
                <a:gd name="T18" fmla="*/ 0 w 112"/>
                <a:gd name="T19" fmla="*/ 25 h 28"/>
                <a:gd name="T20" fmla="*/ 3 w 112"/>
                <a:gd name="T21" fmla="*/ 28 h 28"/>
                <a:gd name="T22" fmla="*/ 109 w 112"/>
                <a:gd name="T23" fmla="*/ 28 h 28"/>
                <a:gd name="T24" fmla="*/ 112 w 112"/>
                <a:gd name="T25"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28">
                  <a:moveTo>
                    <a:pt x="112" y="25"/>
                  </a:moveTo>
                  <a:cubicBezTo>
                    <a:pt x="112" y="23"/>
                    <a:pt x="112" y="23"/>
                    <a:pt x="112" y="23"/>
                  </a:cubicBezTo>
                  <a:cubicBezTo>
                    <a:pt x="112" y="22"/>
                    <a:pt x="111" y="20"/>
                    <a:pt x="110" y="18"/>
                  </a:cubicBezTo>
                  <a:cubicBezTo>
                    <a:pt x="96" y="2"/>
                    <a:pt x="96" y="2"/>
                    <a:pt x="96" y="2"/>
                  </a:cubicBezTo>
                  <a:cubicBezTo>
                    <a:pt x="95" y="1"/>
                    <a:pt x="93" y="0"/>
                    <a:pt x="91" y="0"/>
                  </a:cubicBezTo>
                  <a:cubicBezTo>
                    <a:pt x="21" y="0"/>
                    <a:pt x="21" y="0"/>
                    <a:pt x="21" y="0"/>
                  </a:cubicBezTo>
                  <a:cubicBezTo>
                    <a:pt x="19" y="0"/>
                    <a:pt x="17" y="1"/>
                    <a:pt x="16" y="2"/>
                  </a:cubicBezTo>
                  <a:cubicBezTo>
                    <a:pt x="2" y="18"/>
                    <a:pt x="2" y="18"/>
                    <a:pt x="2" y="18"/>
                  </a:cubicBezTo>
                  <a:cubicBezTo>
                    <a:pt x="1" y="20"/>
                    <a:pt x="0" y="22"/>
                    <a:pt x="0" y="23"/>
                  </a:cubicBezTo>
                  <a:cubicBezTo>
                    <a:pt x="0" y="25"/>
                    <a:pt x="0" y="25"/>
                    <a:pt x="0" y="25"/>
                  </a:cubicBezTo>
                  <a:cubicBezTo>
                    <a:pt x="0" y="26"/>
                    <a:pt x="1" y="28"/>
                    <a:pt x="3" y="28"/>
                  </a:cubicBezTo>
                  <a:cubicBezTo>
                    <a:pt x="109" y="28"/>
                    <a:pt x="109" y="28"/>
                    <a:pt x="109" y="28"/>
                  </a:cubicBezTo>
                  <a:cubicBezTo>
                    <a:pt x="111" y="28"/>
                    <a:pt x="112" y="26"/>
                    <a:pt x="112" y="2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3" name="Freeform 23"/>
            <p:cNvSpPr>
              <a:spLocks noEditPoints="1"/>
            </p:cNvSpPr>
            <p:nvPr/>
          </p:nvSpPr>
          <p:spPr bwMode="black">
            <a:xfrm>
              <a:off x="5586413" y="1639888"/>
              <a:ext cx="385763" cy="754063"/>
            </a:xfrm>
            <a:custGeom>
              <a:avLst/>
              <a:gdLst>
                <a:gd name="T0" fmla="*/ 89 w 103"/>
                <a:gd name="T1" fmla="*/ 0 h 201"/>
                <a:gd name="T2" fmla="*/ 13 w 103"/>
                <a:gd name="T3" fmla="*/ 0 h 201"/>
                <a:gd name="T4" fmla="*/ 0 w 103"/>
                <a:gd name="T5" fmla="*/ 13 h 201"/>
                <a:gd name="T6" fmla="*/ 0 w 103"/>
                <a:gd name="T7" fmla="*/ 187 h 201"/>
                <a:gd name="T8" fmla="*/ 13 w 103"/>
                <a:gd name="T9" fmla="*/ 201 h 201"/>
                <a:gd name="T10" fmla="*/ 89 w 103"/>
                <a:gd name="T11" fmla="*/ 201 h 201"/>
                <a:gd name="T12" fmla="*/ 103 w 103"/>
                <a:gd name="T13" fmla="*/ 187 h 201"/>
                <a:gd name="T14" fmla="*/ 103 w 103"/>
                <a:gd name="T15" fmla="*/ 13 h 201"/>
                <a:gd name="T16" fmla="*/ 89 w 103"/>
                <a:gd name="T17" fmla="*/ 0 h 201"/>
                <a:gd name="T18" fmla="*/ 52 w 103"/>
                <a:gd name="T19" fmla="*/ 187 h 201"/>
                <a:gd name="T20" fmla="*/ 40 w 103"/>
                <a:gd name="T21" fmla="*/ 175 h 201"/>
                <a:gd name="T22" fmla="*/ 52 w 103"/>
                <a:gd name="T23" fmla="*/ 163 h 201"/>
                <a:gd name="T24" fmla="*/ 63 w 103"/>
                <a:gd name="T25" fmla="*/ 175 h 201"/>
                <a:gd name="T26" fmla="*/ 52 w 103"/>
                <a:gd name="T27" fmla="*/ 18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201">
                  <a:moveTo>
                    <a:pt x="89" y="0"/>
                  </a:moveTo>
                  <a:cubicBezTo>
                    <a:pt x="13" y="0"/>
                    <a:pt x="13" y="0"/>
                    <a:pt x="13" y="0"/>
                  </a:cubicBezTo>
                  <a:cubicBezTo>
                    <a:pt x="6" y="0"/>
                    <a:pt x="0" y="6"/>
                    <a:pt x="0" y="13"/>
                  </a:cubicBezTo>
                  <a:cubicBezTo>
                    <a:pt x="0" y="187"/>
                    <a:pt x="0" y="187"/>
                    <a:pt x="0" y="187"/>
                  </a:cubicBezTo>
                  <a:cubicBezTo>
                    <a:pt x="0" y="195"/>
                    <a:pt x="6" y="201"/>
                    <a:pt x="13" y="201"/>
                  </a:cubicBezTo>
                  <a:cubicBezTo>
                    <a:pt x="89" y="201"/>
                    <a:pt x="89" y="201"/>
                    <a:pt x="89" y="201"/>
                  </a:cubicBezTo>
                  <a:cubicBezTo>
                    <a:pt x="97" y="201"/>
                    <a:pt x="103" y="195"/>
                    <a:pt x="103" y="187"/>
                  </a:cubicBezTo>
                  <a:cubicBezTo>
                    <a:pt x="103" y="13"/>
                    <a:pt x="103" y="13"/>
                    <a:pt x="103" y="13"/>
                  </a:cubicBezTo>
                  <a:cubicBezTo>
                    <a:pt x="103" y="6"/>
                    <a:pt x="97" y="0"/>
                    <a:pt x="89" y="0"/>
                  </a:cubicBezTo>
                  <a:moveTo>
                    <a:pt x="52" y="187"/>
                  </a:moveTo>
                  <a:cubicBezTo>
                    <a:pt x="45" y="187"/>
                    <a:pt x="40" y="181"/>
                    <a:pt x="40" y="175"/>
                  </a:cubicBezTo>
                  <a:cubicBezTo>
                    <a:pt x="40" y="168"/>
                    <a:pt x="45" y="163"/>
                    <a:pt x="52" y="163"/>
                  </a:cubicBezTo>
                  <a:cubicBezTo>
                    <a:pt x="58" y="163"/>
                    <a:pt x="63" y="168"/>
                    <a:pt x="63" y="175"/>
                  </a:cubicBezTo>
                  <a:cubicBezTo>
                    <a:pt x="63" y="181"/>
                    <a:pt x="58" y="187"/>
                    <a:pt x="52" y="18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4" name="Freeform 24"/>
            <p:cNvSpPr>
              <a:spLocks noEditPoints="1"/>
            </p:cNvSpPr>
            <p:nvPr/>
          </p:nvSpPr>
          <p:spPr bwMode="black">
            <a:xfrm>
              <a:off x="2462213" y="3032126"/>
              <a:ext cx="525463" cy="804863"/>
            </a:xfrm>
            <a:custGeom>
              <a:avLst/>
              <a:gdLst>
                <a:gd name="T0" fmla="*/ 109 w 140"/>
                <a:gd name="T1" fmla="*/ 0 h 215"/>
                <a:gd name="T2" fmla="*/ 31 w 140"/>
                <a:gd name="T3" fmla="*/ 0 h 215"/>
                <a:gd name="T4" fmla="*/ 0 w 140"/>
                <a:gd name="T5" fmla="*/ 30 h 215"/>
                <a:gd name="T6" fmla="*/ 0 w 140"/>
                <a:gd name="T7" fmla="*/ 184 h 215"/>
                <a:gd name="T8" fmla="*/ 31 w 140"/>
                <a:gd name="T9" fmla="*/ 215 h 215"/>
                <a:gd name="T10" fmla="*/ 109 w 140"/>
                <a:gd name="T11" fmla="*/ 215 h 215"/>
                <a:gd name="T12" fmla="*/ 140 w 140"/>
                <a:gd name="T13" fmla="*/ 184 h 215"/>
                <a:gd name="T14" fmla="*/ 140 w 140"/>
                <a:gd name="T15" fmla="*/ 30 h 215"/>
                <a:gd name="T16" fmla="*/ 109 w 140"/>
                <a:gd name="T17" fmla="*/ 0 h 215"/>
                <a:gd name="T18" fmla="*/ 122 w 140"/>
                <a:gd name="T19" fmla="*/ 177 h 215"/>
                <a:gd name="T20" fmla="*/ 109 w 140"/>
                <a:gd name="T21" fmla="*/ 195 h 215"/>
                <a:gd name="T22" fmla="*/ 31 w 140"/>
                <a:gd name="T23" fmla="*/ 195 h 215"/>
                <a:gd name="T24" fmla="*/ 18 w 140"/>
                <a:gd name="T25" fmla="*/ 177 h 215"/>
                <a:gd name="T26" fmla="*/ 18 w 140"/>
                <a:gd name="T27" fmla="*/ 35 h 215"/>
                <a:gd name="T28" fmla="*/ 31 w 140"/>
                <a:gd name="T29" fmla="*/ 18 h 215"/>
                <a:gd name="T30" fmla="*/ 109 w 140"/>
                <a:gd name="T31" fmla="*/ 18 h 215"/>
                <a:gd name="T32" fmla="*/ 122 w 140"/>
                <a:gd name="T33" fmla="*/ 35 h 215"/>
                <a:gd name="T34" fmla="*/ 122 w 140"/>
                <a:gd name="T35" fmla="*/ 17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215">
                  <a:moveTo>
                    <a:pt x="109" y="0"/>
                  </a:moveTo>
                  <a:cubicBezTo>
                    <a:pt x="31" y="0"/>
                    <a:pt x="31" y="0"/>
                    <a:pt x="31" y="0"/>
                  </a:cubicBezTo>
                  <a:cubicBezTo>
                    <a:pt x="14" y="0"/>
                    <a:pt x="0" y="13"/>
                    <a:pt x="0" y="30"/>
                  </a:cubicBezTo>
                  <a:cubicBezTo>
                    <a:pt x="0" y="184"/>
                    <a:pt x="0" y="184"/>
                    <a:pt x="0" y="184"/>
                  </a:cubicBezTo>
                  <a:cubicBezTo>
                    <a:pt x="0" y="201"/>
                    <a:pt x="14" y="215"/>
                    <a:pt x="31" y="215"/>
                  </a:cubicBezTo>
                  <a:cubicBezTo>
                    <a:pt x="109" y="215"/>
                    <a:pt x="109" y="215"/>
                    <a:pt x="109" y="215"/>
                  </a:cubicBezTo>
                  <a:cubicBezTo>
                    <a:pt x="126" y="215"/>
                    <a:pt x="140" y="201"/>
                    <a:pt x="140" y="184"/>
                  </a:cubicBezTo>
                  <a:cubicBezTo>
                    <a:pt x="140" y="30"/>
                    <a:pt x="140" y="30"/>
                    <a:pt x="140" y="30"/>
                  </a:cubicBezTo>
                  <a:cubicBezTo>
                    <a:pt x="140" y="13"/>
                    <a:pt x="126" y="0"/>
                    <a:pt x="109" y="0"/>
                  </a:cubicBezTo>
                  <a:moveTo>
                    <a:pt x="122" y="177"/>
                  </a:moveTo>
                  <a:cubicBezTo>
                    <a:pt x="122" y="187"/>
                    <a:pt x="116" y="195"/>
                    <a:pt x="109" y="195"/>
                  </a:cubicBezTo>
                  <a:cubicBezTo>
                    <a:pt x="31" y="195"/>
                    <a:pt x="31" y="195"/>
                    <a:pt x="31" y="195"/>
                  </a:cubicBezTo>
                  <a:cubicBezTo>
                    <a:pt x="24" y="195"/>
                    <a:pt x="18" y="187"/>
                    <a:pt x="18" y="177"/>
                  </a:cubicBezTo>
                  <a:cubicBezTo>
                    <a:pt x="18" y="35"/>
                    <a:pt x="18" y="35"/>
                    <a:pt x="18" y="35"/>
                  </a:cubicBezTo>
                  <a:cubicBezTo>
                    <a:pt x="18" y="26"/>
                    <a:pt x="24" y="18"/>
                    <a:pt x="31" y="18"/>
                  </a:cubicBezTo>
                  <a:cubicBezTo>
                    <a:pt x="109" y="18"/>
                    <a:pt x="109" y="18"/>
                    <a:pt x="109" y="18"/>
                  </a:cubicBezTo>
                  <a:cubicBezTo>
                    <a:pt x="116" y="18"/>
                    <a:pt x="122" y="26"/>
                    <a:pt x="122" y="35"/>
                  </a:cubicBezTo>
                  <a:lnTo>
                    <a:pt x="122" y="1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5" name="Freeform 25"/>
            <p:cNvSpPr>
              <a:spLocks noEditPoints="1"/>
            </p:cNvSpPr>
            <p:nvPr/>
          </p:nvSpPr>
          <p:spPr bwMode="black">
            <a:xfrm>
              <a:off x="5049838" y="4411663"/>
              <a:ext cx="739775" cy="854075"/>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6" name="Freeform 26"/>
            <p:cNvSpPr>
              <a:spLocks noEditPoints="1"/>
            </p:cNvSpPr>
            <p:nvPr/>
          </p:nvSpPr>
          <p:spPr bwMode="black">
            <a:xfrm>
              <a:off x="6043613" y="2960688"/>
              <a:ext cx="641350" cy="876300"/>
            </a:xfrm>
            <a:custGeom>
              <a:avLst/>
              <a:gdLst>
                <a:gd name="T0" fmla="*/ 146 w 171"/>
                <a:gd name="T1" fmla="*/ 0 h 234"/>
                <a:gd name="T2" fmla="*/ 25 w 171"/>
                <a:gd name="T3" fmla="*/ 0 h 234"/>
                <a:gd name="T4" fmla="*/ 0 w 171"/>
                <a:gd name="T5" fmla="*/ 25 h 234"/>
                <a:gd name="T6" fmla="*/ 0 w 171"/>
                <a:gd name="T7" fmla="*/ 209 h 234"/>
                <a:gd name="T8" fmla="*/ 25 w 171"/>
                <a:gd name="T9" fmla="*/ 234 h 234"/>
                <a:gd name="T10" fmla="*/ 146 w 171"/>
                <a:gd name="T11" fmla="*/ 234 h 234"/>
                <a:gd name="T12" fmla="*/ 171 w 171"/>
                <a:gd name="T13" fmla="*/ 209 h 234"/>
                <a:gd name="T14" fmla="*/ 171 w 171"/>
                <a:gd name="T15" fmla="*/ 25 h 234"/>
                <a:gd name="T16" fmla="*/ 146 w 171"/>
                <a:gd name="T17" fmla="*/ 0 h 234"/>
                <a:gd name="T18" fmla="*/ 157 w 171"/>
                <a:gd name="T19" fmla="*/ 183 h 234"/>
                <a:gd name="T20" fmla="*/ 146 w 171"/>
                <a:gd name="T21" fmla="*/ 193 h 234"/>
                <a:gd name="T22" fmla="*/ 25 w 171"/>
                <a:gd name="T23" fmla="*/ 193 h 234"/>
                <a:gd name="T24" fmla="*/ 15 w 171"/>
                <a:gd name="T25" fmla="*/ 183 h 234"/>
                <a:gd name="T26" fmla="*/ 15 w 171"/>
                <a:gd name="T27" fmla="*/ 25 h 234"/>
                <a:gd name="T28" fmla="*/ 25 w 171"/>
                <a:gd name="T29" fmla="*/ 14 h 234"/>
                <a:gd name="T30" fmla="*/ 146 w 171"/>
                <a:gd name="T31" fmla="*/ 14 h 234"/>
                <a:gd name="T32" fmla="*/ 157 w 171"/>
                <a:gd name="T33" fmla="*/ 25 h 234"/>
                <a:gd name="T34" fmla="*/ 157 w 171"/>
                <a:gd name="T35" fmla="*/ 18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234">
                  <a:moveTo>
                    <a:pt x="146" y="0"/>
                  </a:moveTo>
                  <a:cubicBezTo>
                    <a:pt x="25" y="0"/>
                    <a:pt x="25" y="0"/>
                    <a:pt x="25" y="0"/>
                  </a:cubicBezTo>
                  <a:cubicBezTo>
                    <a:pt x="11" y="0"/>
                    <a:pt x="0" y="11"/>
                    <a:pt x="0" y="25"/>
                  </a:cubicBezTo>
                  <a:cubicBezTo>
                    <a:pt x="0" y="209"/>
                    <a:pt x="0" y="209"/>
                    <a:pt x="0" y="209"/>
                  </a:cubicBezTo>
                  <a:cubicBezTo>
                    <a:pt x="0" y="223"/>
                    <a:pt x="11" y="234"/>
                    <a:pt x="25" y="234"/>
                  </a:cubicBezTo>
                  <a:cubicBezTo>
                    <a:pt x="146" y="234"/>
                    <a:pt x="146" y="234"/>
                    <a:pt x="146" y="234"/>
                  </a:cubicBezTo>
                  <a:cubicBezTo>
                    <a:pt x="160" y="234"/>
                    <a:pt x="171" y="223"/>
                    <a:pt x="171" y="209"/>
                  </a:cubicBezTo>
                  <a:cubicBezTo>
                    <a:pt x="171" y="25"/>
                    <a:pt x="171" y="25"/>
                    <a:pt x="171" y="25"/>
                  </a:cubicBezTo>
                  <a:cubicBezTo>
                    <a:pt x="171" y="11"/>
                    <a:pt x="160" y="0"/>
                    <a:pt x="146" y="0"/>
                  </a:cubicBezTo>
                  <a:moveTo>
                    <a:pt x="157" y="183"/>
                  </a:moveTo>
                  <a:cubicBezTo>
                    <a:pt x="157" y="188"/>
                    <a:pt x="152" y="193"/>
                    <a:pt x="146" y="193"/>
                  </a:cubicBezTo>
                  <a:cubicBezTo>
                    <a:pt x="25" y="193"/>
                    <a:pt x="25" y="193"/>
                    <a:pt x="25" y="193"/>
                  </a:cubicBezTo>
                  <a:cubicBezTo>
                    <a:pt x="19" y="193"/>
                    <a:pt x="15" y="188"/>
                    <a:pt x="15" y="183"/>
                  </a:cubicBezTo>
                  <a:cubicBezTo>
                    <a:pt x="15" y="25"/>
                    <a:pt x="15" y="25"/>
                    <a:pt x="15" y="25"/>
                  </a:cubicBezTo>
                  <a:cubicBezTo>
                    <a:pt x="15" y="19"/>
                    <a:pt x="19" y="14"/>
                    <a:pt x="25" y="14"/>
                  </a:cubicBezTo>
                  <a:cubicBezTo>
                    <a:pt x="146" y="14"/>
                    <a:pt x="146" y="14"/>
                    <a:pt x="146" y="14"/>
                  </a:cubicBezTo>
                  <a:cubicBezTo>
                    <a:pt x="152" y="14"/>
                    <a:pt x="157" y="19"/>
                    <a:pt x="157" y="25"/>
                  </a:cubicBezTo>
                  <a:lnTo>
                    <a:pt x="157" y="1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7" name="Oval 27"/>
            <p:cNvSpPr>
              <a:spLocks noChangeArrowheads="1"/>
            </p:cNvSpPr>
            <p:nvPr/>
          </p:nvSpPr>
          <p:spPr bwMode="black">
            <a:xfrm>
              <a:off x="62245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8" name="Oval 28"/>
            <p:cNvSpPr>
              <a:spLocks noChangeArrowheads="1"/>
            </p:cNvSpPr>
            <p:nvPr/>
          </p:nvSpPr>
          <p:spPr bwMode="black">
            <a:xfrm>
              <a:off x="64531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9" name="Oval 29"/>
            <p:cNvSpPr>
              <a:spLocks noChangeArrowheads="1"/>
            </p:cNvSpPr>
            <p:nvPr/>
          </p:nvSpPr>
          <p:spPr bwMode="black">
            <a:xfrm>
              <a:off x="6340476"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0" name="Freeform 30"/>
            <p:cNvSpPr>
              <a:spLocks/>
            </p:cNvSpPr>
            <p:nvPr/>
          </p:nvSpPr>
          <p:spPr bwMode="black">
            <a:xfrm>
              <a:off x="3425826" y="4279901"/>
              <a:ext cx="442913" cy="16192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1" name="Freeform 31"/>
            <p:cNvSpPr>
              <a:spLocks noEditPoints="1"/>
            </p:cNvSpPr>
            <p:nvPr/>
          </p:nvSpPr>
          <p:spPr bwMode="black">
            <a:xfrm>
              <a:off x="3414713" y="4456113"/>
              <a:ext cx="476250" cy="80962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pic>
        <p:nvPicPr>
          <p:cNvPr id="124" name="Picture 123"/>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571229" y="2946675"/>
            <a:ext cx="962711" cy="754996"/>
          </a:xfrm>
          <a:prstGeom prst="rect">
            <a:avLst/>
          </a:prstGeom>
        </p:spPr>
      </p:pic>
      <p:sp>
        <p:nvSpPr>
          <p:cNvPr id="125" name="Freeform 164"/>
          <p:cNvSpPr>
            <a:spLocks noEditPoints="1"/>
          </p:cNvSpPr>
          <p:nvPr/>
        </p:nvSpPr>
        <p:spPr bwMode="black">
          <a:xfrm>
            <a:off x="2766759" y="1450929"/>
            <a:ext cx="571649" cy="792331"/>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1735" tIns="30867" rIns="61735" bIns="30867" numCol="1" anchor="t" anchorCtr="0" compatLnSpc="1">
            <a:prstTxWarp prst="textNoShape">
              <a:avLst/>
            </a:prstTxWarp>
          </a:bodyPr>
          <a:lstStyle/>
          <a:p>
            <a:endParaRPr lang="en-US" sz="1200"/>
          </a:p>
        </p:txBody>
      </p:sp>
      <p:sp>
        <p:nvSpPr>
          <p:cNvPr id="122"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23"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8"/>
              </a:rPr>
              <a:t>www.rapidbbs.cn</a:t>
            </a:r>
            <a:endParaRPr lang="zh-CN" altLang="en-US" sz="1200" b="0">
              <a:latin typeface="Arial" charset="0"/>
              <a:ea typeface="ＭＳ Ｐゴシック" pitchFamily="34" charset="-128"/>
            </a:endParaRPr>
          </a:p>
        </p:txBody>
      </p:sp>
      <p:pic>
        <p:nvPicPr>
          <p:cNvPr id="126" name="Picture 2">
            <a:hlinkClick r:id="rId8"/>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81308937"/>
      </p:ext>
    </p:extLst>
  </p:cSld>
  <p:clrMapOvr>
    <a:masterClrMapping/>
  </p:clrMapOvr>
  <p:transition spd="slow">
    <p:wipe dir="r"/>
  </p:transition>
  <p:timing>
    <p:tnLst>
      <p:par>
        <p:cTn id="1" dur="indefinite" restart="never" nodeType="tmRoot"/>
      </p:par>
    </p:tnLst>
  </p:timing>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Today’s Talk</a:t>
            </a:r>
            <a:endParaRPr lang="en-US" b="1" dirty="0"/>
          </a:p>
        </p:txBody>
      </p:sp>
      <p:sp>
        <p:nvSpPr>
          <p:cNvPr id="4" name="Rectangle 3"/>
          <p:cNvSpPr/>
          <p:nvPr/>
        </p:nvSpPr>
        <p:spPr bwMode="auto">
          <a:xfrm>
            <a:off x="0" y="757992"/>
            <a:ext cx="8382000" cy="581698"/>
          </a:xfrm>
          <a:prstGeom prst="rect">
            <a:avLst/>
          </a:prstGeom>
          <a:solidFill>
            <a:schemeClr val="accent1"/>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3" tIns="102880" rIns="68583" bIns="102880" numCol="1" rtlCol="0" anchor="t" anchorCtr="0" compatLnSpc="1">
            <a:prstTxWarp prst="textNoShape">
              <a:avLst/>
            </a:prstTxWarp>
            <a:spAutoFit/>
          </a:bodyPr>
          <a:lstStyle/>
          <a:p>
            <a:pPr marL="345312" indent="-345312">
              <a:lnSpc>
                <a:spcPct val="90000"/>
              </a:lnSpc>
              <a:spcBef>
                <a:spcPct val="20000"/>
              </a:spcBef>
              <a:buSzPct val="90000"/>
              <a:buBlip>
                <a:blip r:embed="rId3"/>
              </a:buBlip>
            </a:pPr>
            <a:r>
              <a:rPr lang="en-US" sz="2700" b="1" dirty="0">
                <a:gradFill>
                  <a:gsLst>
                    <a:gs pos="0">
                      <a:schemeClr val="tx1"/>
                    </a:gs>
                    <a:gs pos="100000">
                      <a:schemeClr val="tx1"/>
                    </a:gs>
                  </a:gsLst>
                  <a:lin ang="5400000" scaled="0"/>
                </a:gradFill>
              </a:rPr>
              <a:t>Why </a:t>
            </a:r>
            <a:r>
              <a:rPr lang="en-US" sz="2700" b="1" dirty="0" err="1">
                <a:gradFill>
                  <a:gsLst>
                    <a:gs pos="0">
                      <a:schemeClr val="tx1"/>
                    </a:gs>
                    <a:gs pos="100000">
                      <a:schemeClr val="tx1"/>
                    </a:gs>
                  </a:gsLst>
                  <a:lin ang="5400000" scaled="0"/>
                </a:gradFill>
              </a:rPr>
              <a:t>Iaas</a:t>
            </a:r>
            <a:r>
              <a:rPr lang="en-US" sz="2700" b="1" dirty="0">
                <a:gradFill>
                  <a:gsLst>
                    <a:gs pos="0">
                      <a:schemeClr val="tx1"/>
                    </a:gs>
                    <a:gs pos="100000">
                      <a:schemeClr val="tx1"/>
                    </a:gs>
                  </a:gsLst>
                  <a:lin ang="5400000" scaled="0"/>
                </a:gradFill>
              </a:rPr>
              <a:t>?</a:t>
            </a:r>
            <a:endParaRPr lang="en-US" sz="2700" b="1" dirty="0">
              <a:gradFill>
                <a:gsLst>
                  <a:gs pos="0">
                    <a:schemeClr val="tx1"/>
                  </a:gs>
                  <a:gs pos="100000">
                    <a:schemeClr val="tx1"/>
                  </a:gs>
                </a:gsLst>
                <a:lin ang="5400000" scaled="0"/>
              </a:gradFill>
            </a:endParaRPr>
          </a:p>
        </p:txBody>
      </p:sp>
      <p:sp>
        <p:nvSpPr>
          <p:cNvPr id="7" name="Rectangle 6"/>
          <p:cNvSpPr/>
          <p:nvPr/>
        </p:nvSpPr>
        <p:spPr bwMode="auto">
          <a:xfrm>
            <a:off x="-15609" y="1495841"/>
            <a:ext cx="8382000" cy="581698"/>
          </a:xfrm>
          <a:prstGeom prst="rect">
            <a:avLst/>
          </a:prstGeom>
          <a:solidFill>
            <a:schemeClr val="accent5">
              <a:lumMod val="75000"/>
            </a:schemeClr>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3" tIns="102880" rIns="68583" bIns="102880" numCol="1" rtlCol="0" anchor="t" anchorCtr="0" compatLnSpc="1">
            <a:prstTxWarp prst="textNoShape">
              <a:avLst/>
            </a:prstTxWarp>
            <a:spAutoFit/>
          </a:bodyPr>
          <a:lstStyle/>
          <a:p>
            <a:pPr marL="345312" indent="-345312">
              <a:lnSpc>
                <a:spcPct val="90000"/>
              </a:lnSpc>
              <a:spcBef>
                <a:spcPct val="20000"/>
              </a:spcBef>
              <a:buSzPct val="90000"/>
              <a:buBlip>
                <a:blip r:embed="rId3"/>
              </a:buBlip>
            </a:pPr>
            <a:r>
              <a:rPr lang="en-US" sz="2700" b="1" dirty="0">
                <a:gradFill>
                  <a:gsLst>
                    <a:gs pos="0">
                      <a:schemeClr val="tx1"/>
                    </a:gs>
                    <a:gs pos="100000">
                      <a:schemeClr val="tx1"/>
                    </a:gs>
                  </a:gsLst>
                  <a:lin ang="5400000" scaled="0"/>
                </a:gradFill>
              </a:rPr>
              <a:t>Applications</a:t>
            </a:r>
            <a:endParaRPr lang="en-US" sz="2700" b="1" dirty="0">
              <a:gradFill>
                <a:gsLst>
                  <a:gs pos="0">
                    <a:schemeClr val="tx1"/>
                  </a:gs>
                  <a:gs pos="100000">
                    <a:schemeClr val="tx1"/>
                  </a:gs>
                </a:gsLst>
                <a:lin ang="5400000" scaled="0"/>
              </a:gradFill>
            </a:endParaRPr>
          </a:p>
        </p:txBody>
      </p:sp>
      <p:sp>
        <p:nvSpPr>
          <p:cNvPr id="8" name="Rectangle 7"/>
          <p:cNvSpPr/>
          <p:nvPr/>
        </p:nvSpPr>
        <p:spPr bwMode="auto">
          <a:xfrm>
            <a:off x="0" y="2247816"/>
            <a:ext cx="8382000" cy="581698"/>
          </a:xfrm>
          <a:prstGeom prst="rect">
            <a:avLst/>
          </a:prstGeom>
          <a:solidFill>
            <a:schemeClr val="accent3">
              <a:lumMod val="75000"/>
            </a:schemeClr>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3" tIns="102880" rIns="68583" bIns="102880" numCol="1" rtlCol="0" anchor="t" anchorCtr="0" compatLnSpc="1">
            <a:prstTxWarp prst="textNoShape">
              <a:avLst/>
            </a:prstTxWarp>
            <a:spAutoFit/>
          </a:bodyPr>
          <a:lstStyle/>
          <a:p>
            <a:pPr marL="345312" indent="-345312">
              <a:lnSpc>
                <a:spcPct val="90000"/>
              </a:lnSpc>
              <a:spcBef>
                <a:spcPct val="20000"/>
              </a:spcBef>
              <a:buSzPct val="90000"/>
              <a:buBlip>
                <a:blip r:embed="rId3"/>
              </a:buBlip>
            </a:pPr>
            <a:r>
              <a:rPr lang="en-US" sz="2700" b="1" dirty="0">
                <a:gradFill>
                  <a:gsLst>
                    <a:gs pos="0">
                      <a:schemeClr val="tx1"/>
                    </a:gs>
                    <a:gs pos="100000">
                      <a:schemeClr val="tx1"/>
                    </a:gs>
                  </a:gsLst>
                  <a:lin ang="5400000" scaled="0"/>
                </a:gradFill>
              </a:rPr>
              <a:t>What is </a:t>
            </a:r>
            <a:r>
              <a:rPr lang="en-US" sz="2700" b="1" dirty="0">
                <a:gradFill>
                  <a:gsLst>
                    <a:gs pos="0">
                      <a:schemeClr val="tx1"/>
                    </a:gs>
                    <a:gs pos="100000">
                      <a:schemeClr val="tx1"/>
                    </a:gs>
                  </a:gsLst>
                  <a:lin ang="5400000" scaled="0"/>
                </a:gradFill>
              </a:rPr>
              <a:t>persistence</a:t>
            </a:r>
            <a:r>
              <a:rPr lang="en-US" sz="2700" b="1" dirty="0">
                <a:gradFill>
                  <a:gsLst>
                    <a:gs pos="0">
                      <a:schemeClr val="tx1"/>
                    </a:gs>
                    <a:gs pos="100000">
                      <a:schemeClr val="tx1"/>
                    </a:gs>
                  </a:gsLst>
                  <a:lin ang="5400000" scaled="0"/>
                </a:gradFill>
              </a:rPr>
              <a:t>?</a:t>
            </a:r>
          </a:p>
        </p:txBody>
      </p:sp>
      <p:sp>
        <p:nvSpPr>
          <p:cNvPr id="9" name="Rectangle 8"/>
          <p:cNvSpPr/>
          <p:nvPr/>
        </p:nvSpPr>
        <p:spPr bwMode="auto">
          <a:xfrm>
            <a:off x="0" y="2981012"/>
            <a:ext cx="8382000" cy="581698"/>
          </a:xfrm>
          <a:prstGeom prst="rect">
            <a:avLst/>
          </a:prstGeom>
          <a:solidFill>
            <a:srgbClr val="660066"/>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3" tIns="102880" rIns="68583" bIns="102880" numCol="1" rtlCol="0" anchor="t" anchorCtr="0" compatLnSpc="1">
            <a:prstTxWarp prst="textNoShape">
              <a:avLst/>
            </a:prstTxWarp>
            <a:spAutoFit/>
          </a:bodyPr>
          <a:lstStyle/>
          <a:p>
            <a:pPr marL="345312" indent="-345312">
              <a:lnSpc>
                <a:spcPct val="90000"/>
              </a:lnSpc>
              <a:spcBef>
                <a:spcPct val="20000"/>
              </a:spcBef>
              <a:buSzPct val="90000"/>
              <a:buBlip>
                <a:blip r:embed="rId3"/>
              </a:buBlip>
            </a:pPr>
            <a:r>
              <a:rPr lang="en-US" sz="2700" b="1" dirty="0">
                <a:gradFill>
                  <a:gsLst>
                    <a:gs pos="0">
                      <a:schemeClr val="tx1"/>
                    </a:gs>
                    <a:gs pos="100000">
                      <a:schemeClr val="tx1"/>
                    </a:gs>
                  </a:gsLst>
                  <a:lin ang="5400000" scaled="0"/>
                </a:gradFill>
              </a:rPr>
              <a:t>How do disks </a:t>
            </a:r>
            <a:r>
              <a:rPr lang="en-US" sz="2700" b="1" dirty="0">
                <a:gradFill>
                  <a:gsLst>
                    <a:gs pos="0">
                      <a:schemeClr val="tx1"/>
                    </a:gs>
                    <a:gs pos="100000">
                      <a:schemeClr val="tx1"/>
                    </a:gs>
                  </a:gsLst>
                  <a:lin ang="5400000" scaled="0"/>
                </a:gradFill>
              </a:rPr>
              <a:t>work?</a:t>
            </a:r>
            <a:endParaRPr lang="en-US" sz="2700" b="1" dirty="0">
              <a:gradFill>
                <a:gsLst>
                  <a:gs pos="0">
                    <a:schemeClr val="tx1"/>
                  </a:gs>
                  <a:gs pos="100000">
                    <a:schemeClr val="tx1"/>
                  </a:gs>
                </a:gsLst>
                <a:lin ang="5400000" scaled="0"/>
              </a:gradFill>
            </a:endParaRPr>
          </a:p>
        </p:txBody>
      </p:sp>
      <p:sp>
        <p:nvSpPr>
          <p:cNvPr id="10" name="Rectangle 9"/>
          <p:cNvSpPr/>
          <p:nvPr/>
        </p:nvSpPr>
        <p:spPr bwMode="auto">
          <a:xfrm>
            <a:off x="0" y="3720845"/>
            <a:ext cx="8382000" cy="581698"/>
          </a:xfrm>
          <a:prstGeom prst="rect">
            <a:avLst/>
          </a:prstGeom>
          <a:solidFill>
            <a:schemeClr val="accent6">
              <a:lumMod val="75000"/>
            </a:schemeClr>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3" tIns="102880" rIns="68583" bIns="102880" numCol="1" rtlCol="0" anchor="t" anchorCtr="0" compatLnSpc="1">
            <a:prstTxWarp prst="textNoShape">
              <a:avLst/>
            </a:prstTxWarp>
            <a:spAutoFit/>
          </a:bodyPr>
          <a:lstStyle/>
          <a:p>
            <a:pPr marL="345312" indent="-345312">
              <a:lnSpc>
                <a:spcPct val="90000"/>
              </a:lnSpc>
              <a:spcBef>
                <a:spcPct val="20000"/>
              </a:spcBef>
              <a:buSzPct val="90000"/>
              <a:buBlip>
                <a:blip r:embed="rId3"/>
              </a:buBlip>
            </a:pPr>
            <a:r>
              <a:rPr lang="en-US" sz="2700" b="1" dirty="0">
                <a:gradFill>
                  <a:gsLst>
                    <a:gs pos="0">
                      <a:schemeClr val="tx1"/>
                    </a:gs>
                    <a:gs pos="100000">
                      <a:schemeClr val="tx1"/>
                    </a:gs>
                  </a:gsLst>
                  <a:lin ang="5400000" scaled="0"/>
                </a:gradFill>
              </a:rPr>
              <a:t>Now, how do I use it?</a:t>
            </a:r>
            <a:endParaRPr lang="en-US" sz="2700" b="1" dirty="0">
              <a:gradFill>
                <a:gsLst>
                  <a:gs pos="0">
                    <a:schemeClr val="tx1"/>
                  </a:gs>
                  <a:gs pos="100000">
                    <a:schemeClr val="tx1"/>
                  </a:gs>
                </a:gsLst>
                <a:lin ang="5400000" scaled="0"/>
              </a:gradFill>
            </a:endParaRPr>
          </a:p>
        </p:txBody>
      </p:sp>
      <p:sp>
        <p:nvSpPr>
          <p:cNvPr id="11" name="Rectangle 10"/>
          <p:cNvSpPr/>
          <p:nvPr/>
        </p:nvSpPr>
        <p:spPr bwMode="auto">
          <a:xfrm>
            <a:off x="0" y="4470648"/>
            <a:ext cx="8382000" cy="581698"/>
          </a:xfrm>
          <a:prstGeom prst="rect">
            <a:avLst/>
          </a:prstGeom>
          <a:solidFill>
            <a:srgbClr val="000000"/>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3" tIns="102880" rIns="68583" bIns="102880" numCol="1" rtlCol="0" anchor="t" anchorCtr="0" compatLnSpc="1">
            <a:prstTxWarp prst="textNoShape">
              <a:avLst/>
            </a:prstTxWarp>
            <a:spAutoFit/>
          </a:bodyPr>
          <a:lstStyle/>
          <a:p>
            <a:pPr marL="345312" indent="-345312">
              <a:lnSpc>
                <a:spcPct val="90000"/>
              </a:lnSpc>
              <a:spcBef>
                <a:spcPct val="20000"/>
              </a:spcBef>
              <a:buSzPct val="90000"/>
              <a:buBlip>
                <a:blip r:embed="rId3"/>
              </a:buBlip>
            </a:pPr>
            <a:r>
              <a:rPr lang="en-US" sz="2700" b="1" dirty="0">
                <a:gradFill>
                  <a:gsLst>
                    <a:gs pos="0">
                      <a:schemeClr val="tx1"/>
                    </a:gs>
                    <a:gs pos="100000">
                      <a:schemeClr val="tx1"/>
                    </a:gs>
                  </a:gsLst>
                  <a:lin ang="5400000" scaled="0"/>
                </a:gradFill>
              </a:rPr>
              <a:t>Back to the applications…</a:t>
            </a:r>
            <a:endParaRPr lang="en-US" sz="2700" b="1" dirty="0">
              <a:gradFill>
                <a:gsLst>
                  <a:gs pos="0">
                    <a:schemeClr val="tx1"/>
                  </a:gs>
                  <a:gs pos="100000">
                    <a:schemeClr val="tx1"/>
                  </a:gs>
                </a:gsLst>
                <a:lin ang="5400000" scaled="0"/>
              </a:gradFill>
            </a:endParaRPr>
          </a:p>
        </p:txBody>
      </p:sp>
      <p:sp>
        <p:nvSpPr>
          <p:cNvPr id="12"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3"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4"/>
              </a:rPr>
              <a:t>www.rapidbbs.cn</a:t>
            </a:r>
            <a:endParaRPr lang="zh-CN" altLang="en-US" sz="1200" b="0">
              <a:latin typeface="Arial" charset="0"/>
              <a:ea typeface="ＭＳ Ｐゴシック" pitchFamily="34" charset="-128"/>
            </a:endParaRPr>
          </a:p>
        </p:txBody>
      </p:sp>
      <p:pic>
        <p:nvPicPr>
          <p:cNvPr id="14" name="Picture 2">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90726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500" fill="hold"/>
                                        <p:tgtEl>
                                          <p:spTgt spid="8"/>
                                        </p:tgtEl>
                                        <p:attrNameLst>
                                          <p:attrName>ppt_x</p:attrName>
                                        </p:attrNameLst>
                                      </p:cBhvr>
                                      <p:tavLst>
                                        <p:tav tm="0">
                                          <p:val>
                                            <p:strVal val="#ppt_x"/>
                                          </p:val>
                                        </p:tav>
                                        <p:tav tm="100000">
                                          <p:val>
                                            <p:strVal val="#ppt_x"/>
                                          </p:val>
                                        </p:tav>
                                      </p:tavLst>
                                    </p:anim>
                                    <p:anim calcmode="lin" valueType="num">
                                      <p:cBhvr additive="base">
                                        <p:cTn id="16" dur="500" fill="hold"/>
                                        <p:tgtEl>
                                          <p:spTgt spid="8"/>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additive="base">
                                        <p:cTn id="19" dur="500" fill="hold"/>
                                        <p:tgtEl>
                                          <p:spTgt spid="9"/>
                                        </p:tgtEl>
                                        <p:attrNameLst>
                                          <p:attrName>ppt_x</p:attrName>
                                        </p:attrNameLst>
                                      </p:cBhvr>
                                      <p:tavLst>
                                        <p:tav tm="0">
                                          <p:val>
                                            <p:strVal val="#ppt_x"/>
                                          </p:val>
                                        </p:tav>
                                        <p:tav tm="100000">
                                          <p:val>
                                            <p:strVal val="#ppt_x"/>
                                          </p:val>
                                        </p:tav>
                                      </p:tavLst>
                                    </p:anim>
                                    <p:anim calcmode="lin" valueType="num">
                                      <p:cBhvr additive="base">
                                        <p:cTn id="20" dur="500" fill="hold"/>
                                        <p:tgtEl>
                                          <p:spTgt spid="9"/>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10"/>
                                        </p:tgtEl>
                                        <p:attrNameLst>
                                          <p:attrName>style.visibility</p:attrName>
                                        </p:attrNameLst>
                                      </p:cBhvr>
                                      <p:to>
                                        <p:strVal val="visible"/>
                                      </p:to>
                                    </p:set>
                                    <p:anim calcmode="lin" valueType="num">
                                      <p:cBhvr additive="base">
                                        <p:cTn id="23" dur="500" fill="hold"/>
                                        <p:tgtEl>
                                          <p:spTgt spid="10"/>
                                        </p:tgtEl>
                                        <p:attrNameLst>
                                          <p:attrName>ppt_x</p:attrName>
                                        </p:attrNameLst>
                                      </p:cBhvr>
                                      <p:tavLst>
                                        <p:tav tm="0">
                                          <p:val>
                                            <p:strVal val="#ppt_x"/>
                                          </p:val>
                                        </p:tav>
                                        <p:tav tm="100000">
                                          <p:val>
                                            <p:strVal val="#ppt_x"/>
                                          </p:val>
                                        </p:tav>
                                      </p:tavLst>
                                    </p:anim>
                                    <p:anim calcmode="lin" valueType="num">
                                      <p:cBhvr additive="base">
                                        <p:cTn id="24" dur="500" fill="hold"/>
                                        <p:tgtEl>
                                          <p:spTgt spid="10"/>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11"/>
                                        </p:tgtEl>
                                        <p:attrNameLst>
                                          <p:attrName>style.visibility</p:attrName>
                                        </p:attrNameLst>
                                      </p:cBhvr>
                                      <p:to>
                                        <p:strVal val="visible"/>
                                      </p:to>
                                    </p:set>
                                    <p:anim calcmode="lin" valueType="num">
                                      <p:cBhvr additive="base">
                                        <p:cTn id="27" dur="500" fill="hold"/>
                                        <p:tgtEl>
                                          <p:spTgt spid="11"/>
                                        </p:tgtEl>
                                        <p:attrNameLst>
                                          <p:attrName>ppt_x</p:attrName>
                                        </p:attrNameLst>
                                      </p:cBhvr>
                                      <p:tavLst>
                                        <p:tav tm="0">
                                          <p:val>
                                            <p:strVal val="#ppt_x"/>
                                          </p:val>
                                        </p:tav>
                                        <p:tav tm="100000">
                                          <p:val>
                                            <p:strVal val="#ppt_x"/>
                                          </p:val>
                                        </p:tav>
                                      </p:tavLst>
                                    </p:anim>
                                    <p:anim calcmode="lin" valueType="num">
                                      <p:cBhvr additive="base">
                                        <p:cTn id="28"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animBg="1"/>
      <p:bldP spid="8" grpId="0" animBg="1"/>
      <p:bldP spid="9" grpId="0" animBg="1"/>
      <p:bldP spid="10" grpId="0" animBg="1"/>
      <p:bldP spid="11" grpId="0" animBg="1"/>
    </p:bldLst>
  </p:timing>
</p:sld>
</file>

<file path=ppt/slides/slide4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ybrid solutions in Windows Azure</a:t>
            </a:r>
          </a:p>
        </p:txBody>
      </p:sp>
      <p:sp>
        <p:nvSpPr>
          <p:cNvPr id="48" name="Rectangle 47"/>
          <p:cNvSpPr/>
          <p:nvPr/>
        </p:nvSpPr>
        <p:spPr>
          <a:xfrm>
            <a:off x="3307462" y="3840405"/>
            <a:ext cx="2529931" cy="535525"/>
          </a:xfrm>
          <a:prstGeom prst="rect">
            <a:avLst/>
          </a:prstGeom>
        </p:spPr>
        <p:txBody>
          <a:bodyPr wrap="square" lIns="91424" tIns="45713" rIns="91424" bIns="45713">
            <a:spAutoFit/>
          </a:bodyPr>
          <a:lstStyle/>
          <a:p>
            <a:pPr algn="ctr" defTabSz="571345" fontAlgn="base">
              <a:lnSpc>
                <a:spcPct val="80000"/>
              </a:lnSpc>
            </a:pPr>
            <a:r>
              <a:rPr lang="en-US" dirty="0">
                <a:gradFill>
                  <a:gsLst>
                    <a:gs pos="0">
                      <a:srgbClr val="FFFFFF"/>
                    </a:gs>
                    <a:gs pos="100000">
                      <a:srgbClr val="FFFFFF"/>
                    </a:gs>
                  </a:gsLst>
                  <a:lin ang="5400000" scaled="0"/>
                </a:gradFill>
              </a:rPr>
              <a:t>Secure Site-to-Site </a:t>
            </a:r>
          </a:p>
          <a:p>
            <a:pPr algn="ctr" defTabSz="571345" fontAlgn="base">
              <a:lnSpc>
                <a:spcPct val="80000"/>
              </a:lnSpc>
            </a:pPr>
            <a:r>
              <a:rPr lang="en-US" dirty="0">
                <a:gradFill>
                  <a:gsLst>
                    <a:gs pos="0">
                      <a:srgbClr val="FFFFFF"/>
                    </a:gs>
                    <a:gs pos="100000">
                      <a:srgbClr val="FFFFFF"/>
                    </a:gs>
                  </a:gsLst>
                  <a:lin ang="5400000" scaled="0"/>
                </a:gradFill>
              </a:rPr>
              <a:t>Network Connectivity</a:t>
            </a:r>
          </a:p>
          <a:p>
            <a:pPr algn="ctr" defTabSz="571345" fontAlgn="base">
              <a:lnSpc>
                <a:spcPct val="80000"/>
              </a:lnSpc>
            </a:pPr>
            <a:r>
              <a:rPr lang="en-US" sz="700" dirty="0">
                <a:gradFill>
                  <a:gsLst>
                    <a:gs pos="0">
                      <a:srgbClr val="FFFFFF"/>
                    </a:gs>
                    <a:gs pos="100000">
                      <a:srgbClr val="FFFFFF"/>
                    </a:gs>
                  </a:gsLst>
                  <a:lin ang="5400000" scaled="0"/>
                </a:gradFill>
              </a:rPr>
              <a:t>Windows Azure Virtual Network</a:t>
            </a:r>
          </a:p>
        </p:txBody>
      </p:sp>
      <p:grpSp>
        <p:nvGrpSpPr>
          <p:cNvPr id="57" name="Group 56"/>
          <p:cNvGrpSpPr/>
          <p:nvPr/>
        </p:nvGrpSpPr>
        <p:grpSpPr>
          <a:xfrm>
            <a:off x="6085487" y="3765266"/>
            <a:ext cx="1783544" cy="685800"/>
            <a:chOff x="8111868" y="4860859"/>
            <a:chExt cx="2377439" cy="914400"/>
          </a:xfrm>
        </p:grpSpPr>
        <p:sp>
          <p:nvSpPr>
            <p:cNvPr id="59" name="Freeform 58"/>
            <p:cNvSpPr/>
            <p:nvPr/>
          </p:nvSpPr>
          <p:spPr>
            <a:xfrm>
              <a:off x="8111868" y="4860859"/>
              <a:ext cx="2377439"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685609"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64" name="Freeform 17"/>
            <p:cNvSpPr>
              <a:spLocks noEditPoints="1"/>
            </p:cNvSpPr>
            <p:nvPr/>
          </p:nvSpPr>
          <p:spPr bwMode="auto">
            <a:xfrm>
              <a:off x="8975363" y="4990019"/>
              <a:ext cx="650449" cy="656080"/>
            </a:xfrm>
            <a:custGeom>
              <a:avLst/>
              <a:gdLst>
                <a:gd name="T0" fmla="*/ 57 w 293"/>
                <a:gd name="T1" fmla="*/ 195 h 296"/>
                <a:gd name="T2" fmla="*/ 112 w 293"/>
                <a:gd name="T3" fmla="*/ 187 h 296"/>
                <a:gd name="T4" fmla="*/ 229 w 293"/>
                <a:gd name="T5" fmla="*/ 213 h 296"/>
                <a:gd name="T6" fmla="*/ 44 w 293"/>
                <a:gd name="T7" fmla="*/ 120 h 296"/>
                <a:gd name="T8" fmla="*/ 61 w 293"/>
                <a:gd name="T9" fmla="*/ 101 h 296"/>
                <a:gd name="T10" fmla="*/ 44 w 293"/>
                <a:gd name="T11" fmla="*/ 217 h 296"/>
                <a:gd name="T12" fmla="*/ 52 w 293"/>
                <a:gd name="T13" fmla="*/ 236 h 296"/>
                <a:gd name="T14" fmla="*/ 183 w 293"/>
                <a:gd name="T15" fmla="*/ 236 h 296"/>
                <a:gd name="T16" fmla="*/ 223 w 293"/>
                <a:gd name="T17" fmla="*/ 244 h 296"/>
                <a:gd name="T18" fmla="*/ 229 w 293"/>
                <a:gd name="T19" fmla="*/ 179 h 296"/>
                <a:gd name="T20" fmla="*/ 223 w 293"/>
                <a:gd name="T21" fmla="*/ 143 h 296"/>
                <a:gd name="T22" fmla="*/ 32 w 293"/>
                <a:gd name="T23" fmla="*/ 139 h 296"/>
                <a:gd name="T24" fmla="*/ 56 w 293"/>
                <a:gd name="T25" fmla="*/ 142 h 296"/>
                <a:gd name="T26" fmla="*/ 179 w 293"/>
                <a:gd name="T27" fmla="*/ 150 h 296"/>
                <a:gd name="T28" fmla="*/ 57 w 293"/>
                <a:gd name="T29" fmla="*/ 60 h 296"/>
                <a:gd name="T30" fmla="*/ 112 w 293"/>
                <a:gd name="T31" fmla="*/ 52 h 296"/>
                <a:gd name="T32" fmla="*/ 261 w 293"/>
                <a:gd name="T33" fmla="*/ 194 h 296"/>
                <a:gd name="T34" fmla="*/ 277 w 293"/>
                <a:gd name="T35" fmla="*/ 147 h 296"/>
                <a:gd name="T36" fmla="*/ 246 w 293"/>
                <a:gd name="T37" fmla="*/ 279 h 296"/>
                <a:gd name="T38" fmla="*/ 261 w 293"/>
                <a:gd name="T39" fmla="*/ 254 h 296"/>
                <a:gd name="T40" fmla="*/ 223 w 293"/>
                <a:gd name="T41" fmla="*/ 87 h 296"/>
                <a:gd name="T42" fmla="*/ 253 w 293"/>
                <a:gd name="T43" fmla="*/ 254 h 296"/>
                <a:gd name="T44" fmla="*/ 79 w 293"/>
                <a:gd name="T45" fmla="*/ 272 h 296"/>
                <a:gd name="T46" fmla="*/ 43 w 293"/>
                <a:gd name="T47" fmla="*/ 23 h 296"/>
                <a:gd name="T48" fmla="*/ 226 w 293"/>
                <a:gd name="T49" fmla="*/ 109 h 296"/>
                <a:gd name="T50" fmla="*/ 4 w 293"/>
                <a:gd name="T51" fmla="*/ 96 h 296"/>
                <a:gd name="T52" fmla="*/ 61 w 293"/>
                <a:gd name="T53" fmla="*/ 4 h 296"/>
                <a:gd name="T54" fmla="*/ 4 w 293"/>
                <a:gd name="T55" fmla="*/ 24 h 296"/>
                <a:gd name="T56" fmla="*/ 69 w 293"/>
                <a:gd name="T57" fmla="*/ 0 h 296"/>
                <a:gd name="T58" fmla="*/ 0 w 293"/>
                <a:gd name="T59" fmla="*/ 56 h 296"/>
                <a:gd name="T60" fmla="*/ 4 w 293"/>
                <a:gd name="T61" fmla="*/ 42 h 296"/>
                <a:gd name="T62" fmla="*/ 4 w 293"/>
                <a:gd name="T63" fmla="*/ 72 h 296"/>
                <a:gd name="T64" fmla="*/ 109 w 293"/>
                <a:gd name="T65" fmla="*/ 0 h 296"/>
                <a:gd name="T66" fmla="*/ 259 w 293"/>
                <a:gd name="T67" fmla="*/ 61 h 296"/>
                <a:gd name="T68" fmla="*/ 274 w 293"/>
                <a:gd name="T69" fmla="*/ 89 h 296"/>
                <a:gd name="T70" fmla="*/ 243 w 293"/>
                <a:gd name="T71" fmla="*/ 33 h 296"/>
                <a:gd name="T72" fmla="*/ 205 w 293"/>
                <a:gd name="T73" fmla="*/ 4 h 296"/>
                <a:gd name="T74" fmla="*/ 172 w 293"/>
                <a:gd name="T75" fmla="*/ 0 h 296"/>
                <a:gd name="T76" fmla="*/ 210 w 293"/>
                <a:gd name="T77" fmla="*/ 11 h 296"/>
                <a:gd name="T78" fmla="*/ 291 w 293"/>
                <a:gd name="T79" fmla="*/ 142 h 296"/>
                <a:gd name="T80" fmla="*/ 234 w 293"/>
                <a:gd name="T81" fmla="*/ 292 h 296"/>
                <a:gd name="T82" fmla="*/ 218 w 293"/>
                <a:gd name="T83" fmla="*/ 292 h 296"/>
                <a:gd name="T84" fmla="*/ 171 w 293"/>
                <a:gd name="T85" fmla="*/ 292 h 296"/>
                <a:gd name="T86" fmla="*/ 203 w 293"/>
                <a:gd name="T87" fmla="*/ 292 h 296"/>
                <a:gd name="T88" fmla="*/ 281 w 293"/>
                <a:gd name="T89" fmla="*/ 284 h 296"/>
                <a:gd name="T90" fmla="*/ 293 w 293"/>
                <a:gd name="T91" fmla="*/ 175 h 296"/>
                <a:gd name="T92" fmla="*/ 282 w 293"/>
                <a:gd name="T93" fmla="*/ 120 h 296"/>
                <a:gd name="T94" fmla="*/ 283 w 293"/>
                <a:gd name="T95" fmla="*/ 276 h 296"/>
                <a:gd name="T96" fmla="*/ 288 w 293"/>
                <a:gd name="T97" fmla="*/ 262 h 296"/>
                <a:gd name="T98" fmla="*/ 289 w 293"/>
                <a:gd name="T99" fmla="*/ 246 h 296"/>
                <a:gd name="T100" fmla="*/ 4 w 293"/>
                <a:gd name="T101" fmla="*/ 215 h 296"/>
                <a:gd name="T102" fmla="*/ 4 w 293"/>
                <a:gd name="T103" fmla="*/ 247 h 296"/>
                <a:gd name="T104" fmla="*/ 4 w 293"/>
                <a:gd name="T105" fmla="*/ 183 h 296"/>
                <a:gd name="T106" fmla="*/ 4 w 293"/>
                <a:gd name="T107" fmla="*/ 104 h 296"/>
                <a:gd name="T108" fmla="*/ 4 w 293"/>
                <a:gd name="T109" fmla="*/ 151 h 296"/>
                <a:gd name="T110" fmla="*/ 51 w 293"/>
                <a:gd name="T111" fmla="*/ 296 h 296"/>
                <a:gd name="T112" fmla="*/ 67 w 293"/>
                <a:gd name="T113" fmla="*/ 296 h 296"/>
                <a:gd name="T114" fmla="*/ 20 w 293"/>
                <a:gd name="T115" fmla="*/ 290 h 296"/>
                <a:gd name="T116" fmla="*/ 43 w 293"/>
                <a:gd name="T117" fmla="*/ 29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3" h="296">
                  <a:moveTo>
                    <a:pt x="187" y="172"/>
                  </a:moveTo>
                  <a:cubicBezTo>
                    <a:pt x="44" y="172"/>
                    <a:pt x="44" y="172"/>
                    <a:pt x="44" y="172"/>
                  </a:cubicBezTo>
                  <a:cubicBezTo>
                    <a:pt x="38" y="172"/>
                    <a:pt x="32" y="178"/>
                    <a:pt x="32" y="184"/>
                  </a:cubicBezTo>
                  <a:cubicBezTo>
                    <a:pt x="32" y="198"/>
                    <a:pt x="32" y="198"/>
                    <a:pt x="32" y="198"/>
                  </a:cubicBezTo>
                  <a:cubicBezTo>
                    <a:pt x="32" y="205"/>
                    <a:pt x="38" y="210"/>
                    <a:pt x="44" y="210"/>
                  </a:cubicBezTo>
                  <a:cubicBezTo>
                    <a:pt x="187" y="210"/>
                    <a:pt x="187" y="210"/>
                    <a:pt x="187" y="210"/>
                  </a:cubicBezTo>
                  <a:cubicBezTo>
                    <a:pt x="194" y="210"/>
                    <a:pt x="199" y="205"/>
                    <a:pt x="199" y="198"/>
                  </a:cubicBezTo>
                  <a:cubicBezTo>
                    <a:pt x="199" y="184"/>
                    <a:pt x="199" y="184"/>
                    <a:pt x="199" y="184"/>
                  </a:cubicBezTo>
                  <a:cubicBezTo>
                    <a:pt x="199" y="178"/>
                    <a:pt x="194" y="172"/>
                    <a:pt x="187" y="172"/>
                  </a:cubicBezTo>
                  <a:close/>
                  <a:moveTo>
                    <a:pt x="57" y="195"/>
                  </a:moveTo>
                  <a:cubicBezTo>
                    <a:pt x="56" y="195"/>
                    <a:pt x="56" y="195"/>
                    <a:pt x="56" y="195"/>
                  </a:cubicBezTo>
                  <a:cubicBezTo>
                    <a:pt x="54" y="195"/>
                    <a:pt x="52" y="193"/>
                    <a:pt x="52" y="191"/>
                  </a:cubicBezTo>
                  <a:cubicBezTo>
                    <a:pt x="52" y="189"/>
                    <a:pt x="54" y="187"/>
                    <a:pt x="56" y="187"/>
                  </a:cubicBezTo>
                  <a:cubicBezTo>
                    <a:pt x="57" y="187"/>
                    <a:pt x="57" y="187"/>
                    <a:pt x="57" y="187"/>
                  </a:cubicBezTo>
                  <a:cubicBezTo>
                    <a:pt x="59" y="187"/>
                    <a:pt x="61" y="189"/>
                    <a:pt x="61" y="191"/>
                  </a:cubicBezTo>
                  <a:cubicBezTo>
                    <a:pt x="61" y="193"/>
                    <a:pt x="59" y="195"/>
                    <a:pt x="57" y="195"/>
                  </a:cubicBezTo>
                  <a:close/>
                  <a:moveTo>
                    <a:pt x="179" y="195"/>
                  </a:moveTo>
                  <a:cubicBezTo>
                    <a:pt x="112" y="195"/>
                    <a:pt x="112" y="195"/>
                    <a:pt x="112" y="195"/>
                  </a:cubicBezTo>
                  <a:cubicBezTo>
                    <a:pt x="110" y="195"/>
                    <a:pt x="108" y="193"/>
                    <a:pt x="108" y="191"/>
                  </a:cubicBezTo>
                  <a:cubicBezTo>
                    <a:pt x="108" y="189"/>
                    <a:pt x="110" y="187"/>
                    <a:pt x="112" y="187"/>
                  </a:cubicBezTo>
                  <a:cubicBezTo>
                    <a:pt x="179" y="187"/>
                    <a:pt x="179" y="187"/>
                    <a:pt x="179" y="187"/>
                  </a:cubicBezTo>
                  <a:cubicBezTo>
                    <a:pt x="181" y="187"/>
                    <a:pt x="183" y="189"/>
                    <a:pt x="183" y="191"/>
                  </a:cubicBezTo>
                  <a:cubicBezTo>
                    <a:pt x="183" y="193"/>
                    <a:pt x="181" y="195"/>
                    <a:pt x="179" y="195"/>
                  </a:cubicBezTo>
                  <a:close/>
                  <a:moveTo>
                    <a:pt x="241" y="218"/>
                  </a:moveTo>
                  <a:cubicBezTo>
                    <a:pt x="241" y="208"/>
                    <a:pt x="241" y="208"/>
                    <a:pt x="241" y="208"/>
                  </a:cubicBezTo>
                  <a:cubicBezTo>
                    <a:pt x="241" y="203"/>
                    <a:pt x="237" y="199"/>
                    <a:pt x="232" y="199"/>
                  </a:cubicBezTo>
                  <a:cubicBezTo>
                    <a:pt x="223" y="199"/>
                    <a:pt x="223" y="199"/>
                    <a:pt x="223" y="199"/>
                  </a:cubicBezTo>
                  <a:cubicBezTo>
                    <a:pt x="223" y="210"/>
                    <a:pt x="223" y="210"/>
                    <a:pt x="223" y="210"/>
                  </a:cubicBezTo>
                  <a:cubicBezTo>
                    <a:pt x="226" y="210"/>
                    <a:pt x="226" y="210"/>
                    <a:pt x="226" y="210"/>
                  </a:cubicBezTo>
                  <a:cubicBezTo>
                    <a:pt x="228" y="210"/>
                    <a:pt x="229" y="212"/>
                    <a:pt x="229" y="213"/>
                  </a:cubicBezTo>
                  <a:cubicBezTo>
                    <a:pt x="229" y="215"/>
                    <a:pt x="228" y="216"/>
                    <a:pt x="226" y="216"/>
                  </a:cubicBezTo>
                  <a:cubicBezTo>
                    <a:pt x="223" y="216"/>
                    <a:pt x="223" y="216"/>
                    <a:pt x="223" y="216"/>
                  </a:cubicBezTo>
                  <a:cubicBezTo>
                    <a:pt x="223" y="227"/>
                    <a:pt x="223" y="227"/>
                    <a:pt x="223" y="227"/>
                  </a:cubicBezTo>
                  <a:cubicBezTo>
                    <a:pt x="232" y="227"/>
                    <a:pt x="232" y="227"/>
                    <a:pt x="232" y="227"/>
                  </a:cubicBezTo>
                  <a:cubicBezTo>
                    <a:pt x="237" y="227"/>
                    <a:pt x="241" y="223"/>
                    <a:pt x="241" y="218"/>
                  </a:cubicBezTo>
                  <a:close/>
                  <a:moveTo>
                    <a:pt x="187" y="82"/>
                  </a:moveTo>
                  <a:cubicBezTo>
                    <a:pt x="44" y="82"/>
                    <a:pt x="44" y="82"/>
                    <a:pt x="44" y="82"/>
                  </a:cubicBezTo>
                  <a:cubicBezTo>
                    <a:pt x="38" y="82"/>
                    <a:pt x="32" y="88"/>
                    <a:pt x="32" y="94"/>
                  </a:cubicBezTo>
                  <a:cubicBezTo>
                    <a:pt x="32" y="108"/>
                    <a:pt x="32" y="108"/>
                    <a:pt x="32" y="108"/>
                  </a:cubicBezTo>
                  <a:cubicBezTo>
                    <a:pt x="32" y="115"/>
                    <a:pt x="38" y="120"/>
                    <a:pt x="44" y="120"/>
                  </a:cubicBezTo>
                  <a:cubicBezTo>
                    <a:pt x="187" y="120"/>
                    <a:pt x="187" y="120"/>
                    <a:pt x="187" y="120"/>
                  </a:cubicBezTo>
                  <a:cubicBezTo>
                    <a:pt x="194" y="120"/>
                    <a:pt x="199" y="115"/>
                    <a:pt x="199" y="108"/>
                  </a:cubicBezTo>
                  <a:cubicBezTo>
                    <a:pt x="199" y="94"/>
                    <a:pt x="199" y="94"/>
                    <a:pt x="199" y="94"/>
                  </a:cubicBezTo>
                  <a:cubicBezTo>
                    <a:pt x="199" y="88"/>
                    <a:pt x="194" y="82"/>
                    <a:pt x="187" y="82"/>
                  </a:cubicBezTo>
                  <a:close/>
                  <a:moveTo>
                    <a:pt x="57" y="105"/>
                  </a:moveTo>
                  <a:cubicBezTo>
                    <a:pt x="56" y="105"/>
                    <a:pt x="56" y="105"/>
                    <a:pt x="56" y="105"/>
                  </a:cubicBezTo>
                  <a:cubicBezTo>
                    <a:pt x="54" y="105"/>
                    <a:pt x="52" y="103"/>
                    <a:pt x="52" y="101"/>
                  </a:cubicBezTo>
                  <a:cubicBezTo>
                    <a:pt x="52" y="99"/>
                    <a:pt x="54" y="97"/>
                    <a:pt x="56" y="97"/>
                  </a:cubicBezTo>
                  <a:cubicBezTo>
                    <a:pt x="57" y="97"/>
                    <a:pt x="57" y="97"/>
                    <a:pt x="57" y="97"/>
                  </a:cubicBezTo>
                  <a:cubicBezTo>
                    <a:pt x="59" y="97"/>
                    <a:pt x="61" y="99"/>
                    <a:pt x="61" y="101"/>
                  </a:cubicBezTo>
                  <a:cubicBezTo>
                    <a:pt x="61" y="103"/>
                    <a:pt x="59" y="105"/>
                    <a:pt x="57" y="105"/>
                  </a:cubicBezTo>
                  <a:close/>
                  <a:moveTo>
                    <a:pt x="179" y="105"/>
                  </a:moveTo>
                  <a:cubicBezTo>
                    <a:pt x="112" y="105"/>
                    <a:pt x="112" y="105"/>
                    <a:pt x="112" y="105"/>
                  </a:cubicBezTo>
                  <a:cubicBezTo>
                    <a:pt x="110" y="105"/>
                    <a:pt x="108" y="103"/>
                    <a:pt x="108" y="101"/>
                  </a:cubicBezTo>
                  <a:cubicBezTo>
                    <a:pt x="108" y="99"/>
                    <a:pt x="110" y="97"/>
                    <a:pt x="112" y="97"/>
                  </a:cubicBezTo>
                  <a:cubicBezTo>
                    <a:pt x="179" y="97"/>
                    <a:pt x="179" y="97"/>
                    <a:pt x="179" y="97"/>
                  </a:cubicBezTo>
                  <a:cubicBezTo>
                    <a:pt x="181" y="97"/>
                    <a:pt x="183" y="99"/>
                    <a:pt x="183" y="101"/>
                  </a:cubicBezTo>
                  <a:cubicBezTo>
                    <a:pt x="183" y="103"/>
                    <a:pt x="181" y="105"/>
                    <a:pt x="179" y="105"/>
                  </a:cubicBezTo>
                  <a:close/>
                  <a:moveTo>
                    <a:pt x="187" y="217"/>
                  </a:moveTo>
                  <a:cubicBezTo>
                    <a:pt x="44" y="217"/>
                    <a:pt x="44" y="217"/>
                    <a:pt x="44" y="217"/>
                  </a:cubicBezTo>
                  <a:cubicBezTo>
                    <a:pt x="38" y="217"/>
                    <a:pt x="32" y="223"/>
                    <a:pt x="32" y="229"/>
                  </a:cubicBezTo>
                  <a:cubicBezTo>
                    <a:pt x="32" y="243"/>
                    <a:pt x="32" y="243"/>
                    <a:pt x="32" y="243"/>
                  </a:cubicBezTo>
                  <a:cubicBezTo>
                    <a:pt x="32" y="250"/>
                    <a:pt x="38" y="255"/>
                    <a:pt x="44" y="255"/>
                  </a:cubicBezTo>
                  <a:cubicBezTo>
                    <a:pt x="187" y="255"/>
                    <a:pt x="187" y="255"/>
                    <a:pt x="187" y="255"/>
                  </a:cubicBezTo>
                  <a:cubicBezTo>
                    <a:pt x="194" y="255"/>
                    <a:pt x="199" y="250"/>
                    <a:pt x="199" y="243"/>
                  </a:cubicBezTo>
                  <a:cubicBezTo>
                    <a:pt x="199" y="229"/>
                    <a:pt x="199" y="229"/>
                    <a:pt x="199" y="229"/>
                  </a:cubicBezTo>
                  <a:cubicBezTo>
                    <a:pt x="199" y="223"/>
                    <a:pt x="194" y="217"/>
                    <a:pt x="187" y="217"/>
                  </a:cubicBezTo>
                  <a:close/>
                  <a:moveTo>
                    <a:pt x="57" y="240"/>
                  </a:moveTo>
                  <a:cubicBezTo>
                    <a:pt x="56" y="240"/>
                    <a:pt x="56" y="240"/>
                    <a:pt x="56" y="240"/>
                  </a:cubicBezTo>
                  <a:cubicBezTo>
                    <a:pt x="54" y="240"/>
                    <a:pt x="52" y="238"/>
                    <a:pt x="52" y="236"/>
                  </a:cubicBezTo>
                  <a:cubicBezTo>
                    <a:pt x="52" y="234"/>
                    <a:pt x="54" y="232"/>
                    <a:pt x="56" y="232"/>
                  </a:cubicBezTo>
                  <a:cubicBezTo>
                    <a:pt x="57" y="232"/>
                    <a:pt x="57" y="232"/>
                    <a:pt x="57" y="232"/>
                  </a:cubicBezTo>
                  <a:cubicBezTo>
                    <a:pt x="59" y="232"/>
                    <a:pt x="61" y="234"/>
                    <a:pt x="61" y="236"/>
                  </a:cubicBezTo>
                  <a:cubicBezTo>
                    <a:pt x="61" y="238"/>
                    <a:pt x="59" y="240"/>
                    <a:pt x="57" y="240"/>
                  </a:cubicBezTo>
                  <a:close/>
                  <a:moveTo>
                    <a:pt x="179" y="240"/>
                  </a:moveTo>
                  <a:cubicBezTo>
                    <a:pt x="112" y="240"/>
                    <a:pt x="112" y="240"/>
                    <a:pt x="112" y="240"/>
                  </a:cubicBezTo>
                  <a:cubicBezTo>
                    <a:pt x="110" y="240"/>
                    <a:pt x="108" y="238"/>
                    <a:pt x="108" y="236"/>
                  </a:cubicBezTo>
                  <a:cubicBezTo>
                    <a:pt x="108" y="234"/>
                    <a:pt x="110" y="232"/>
                    <a:pt x="112" y="232"/>
                  </a:cubicBezTo>
                  <a:cubicBezTo>
                    <a:pt x="179" y="232"/>
                    <a:pt x="179" y="232"/>
                    <a:pt x="179" y="232"/>
                  </a:cubicBezTo>
                  <a:cubicBezTo>
                    <a:pt x="181" y="232"/>
                    <a:pt x="183" y="234"/>
                    <a:pt x="183" y="236"/>
                  </a:cubicBezTo>
                  <a:cubicBezTo>
                    <a:pt x="183" y="238"/>
                    <a:pt x="181" y="240"/>
                    <a:pt x="179" y="240"/>
                  </a:cubicBezTo>
                  <a:close/>
                  <a:moveTo>
                    <a:pt x="226" y="250"/>
                  </a:moveTo>
                  <a:cubicBezTo>
                    <a:pt x="223" y="250"/>
                    <a:pt x="223" y="250"/>
                    <a:pt x="223" y="250"/>
                  </a:cubicBezTo>
                  <a:cubicBezTo>
                    <a:pt x="222" y="254"/>
                    <a:pt x="221" y="258"/>
                    <a:pt x="219" y="261"/>
                  </a:cubicBezTo>
                  <a:cubicBezTo>
                    <a:pt x="232" y="261"/>
                    <a:pt x="232" y="261"/>
                    <a:pt x="232" y="261"/>
                  </a:cubicBezTo>
                  <a:cubicBezTo>
                    <a:pt x="237" y="261"/>
                    <a:pt x="241" y="257"/>
                    <a:pt x="241" y="252"/>
                  </a:cubicBezTo>
                  <a:cubicBezTo>
                    <a:pt x="241" y="242"/>
                    <a:pt x="241" y="242"/>
                    <a:pt x="241" y="242"/>
                  </a:cubicBezTo>
                  <a:cubicBezTo>
                    <a:pt x="241" y="237"/>
                    <a:pt x="237" y="233"/>
                    <a:pt x="232" y="233"/>
                  </a:cubicBezTo>
                  <a:cubicBezTo>
                    <a:pt x="223" y="233"/>
                    <a:pt x="223" y="233"/>
                    <a:pt x="223" y="233"/>
                  </a:cubicBezTo>
                  <a:cubicBezTo>
                    <a:pt x="223" y="244"/>
                    <a:pt x="223" y="244"/>
                    <a:pt x="223" y="244"/>
                  </a:cubicBezTo>
                  <a:cubicBezTo>
                    <a:pt x="226" y="244"/>
                    <a:pt x="226" y="244"/>
                    <a:pt x="226" y="244"/>
                  </a:cubicBezTo>
                  <a:cubicBezTo>
                    <a:pt x="228" y="244"/>
                    <a:pt x="229" y="245"/>
                    <a:pt x="229" y="247"/>
                  </a:cubicBezTo>
                  <a:cubicBezTo>
                    <a:pt x="229" y="249"/>
                    <a:pt x="228" y="250"/>
                    <a:pt x="226" y="250"/>
                  </a:cubicBezTo>
                  <a:close/>
                  <a:moveTo>
                    <a:pt x="241" y="185"/>
                  </a:moveTo>
                  <a:cubicBezTo>
                    <a:pt x="241" y="174"/>
                    <a:pt x="241" y="174"/>
                    <a:pt x="241" y="174"/>
                  </a:cubicBezTo>
                  <a:cubicBezTo>
                    <a:pt x="241" y="169"/>
                    <a:pt x="237" y="165"/>
                    <a:pt x="232" y="165"/>
                  </a:cubicBezTo>
                  <a:cubicBezTo>
                    <a:pt x="223" y="165"/>
                    <a:pt x="223" y="165"/>
                    <a:pt x="223" y="165"/>
                  </a:cubicBezTo>
                  <a:cubicBezTo>
                    <a:pt x="223" y="176"/>
                    <a:pt x="223" y="176"/>
                    <a:pt x="223" y="176"/>
                  </a:cubicBezTo>
                  <a:cubicBezTo>
                    <a:pt x="226" y="176"/>
                    <a:pt x="226" y="176"/>
                    <a:pt x="226" y="176"/>
                  </a:cubicBezTo>
                  <a:cubicBezTo>
                    <a:pt x="228" y="176"/>
                    <a:pt x="229" y="178"/>
                    <a:pt x="229" y="179"/>
                  </a:cubicBezTo>
                  <a:cubicBezTo>
                    <a:pt x="229" y="181"/>
                    <a:pt x="228" y="182"/>
                    <a:pt x="226" y="182"/>
                  </a:cubicBezTo>
                  <a:cubicBezTo>
                    <a:pt x="223" y="182"/>
                    <a:pt x="223" y="182"/>
                    <a:pt x="223" y="182"/>
                  </a:cubicBezTo>
                  <a:cubicBezTo>
                    <a:pt x="223" y="194"/>
                    <a:pt x="223" y="194"/>
                    <a:pt x="223" y="194"/>
                  </a:cubicBezTo>
                  <a:cubicBezTo>
                    <a:pt x="232" y="194"/>
                    <a:pt x="232" y="194"/>
                    <a:pt x="232" y="194"/>
                  </a:cubicBezTo>
                  <a:cubicBezTo>
                    <a:pt x="237" y="194"/>
                    <a:pt x="241" y="190"/>
                    <a:pt x="241" y="185"/>
                  </a:cubicBezTo>
                  <a:close/>
                  <a:moveTo>
                    <a:pt x="241" y="151"/>
                  </a:moveTo>
                  <a:cubicBezTo>
                    <a:pt x="241" y="141"/>
                    <a:pt x="241" y="141"/>
                    <a:pt x="241" y="141"/>
                  </a:cubicBezTo>
                  <a:cubicBezTo>
                    <a:pt x="241" y="136"/>
                    <a:pt x="237" y="132"/>
                    <a:pt x="232" y="132"/>
                  </a:cubicBezTo>
                  <a:cubicBezTo>
                    <a:pt x="223" y="132"/>
                    <a:pt x="223" y="132"/>
                    <a:pt x="223" y="132"/>
                  </a:cubicBezTo>
                  <a:cubicBezTo>
                    <a:pt x="223" y="143"/>
                    <a:pt x="223" y="143"/>
                    <a:pt x="223" y="143"/>
                  </a:cubicBezTo>
                  <a:cubicBezTo>
                    <a:pt x="226" y="143"/>
                    <a:pt x="226" y="143"/>
                    <a:pt x="226" y="143"/>
                  </a:cubicBezTo>
                  <a:cubicBezTo>
                    <a:pt x="228" y="143"/>
                    <a:pt x="229" y="144"/>
                    <a:pt x="229" y="146"/>
                  </a:cubicBezTo>
                  <a:cubicBezTo>
                    <a:pt x="229" y="147"/>
                    <a:pt x="228" y="149"/>
                    <a:pt x="226" y="149"/>
                  </a:cubicBezTo>
                  <a:cubicBezTo>
                    <a:pt x="223" y="149"/>
                    <a:pt x="223" y="149"/>
                    <a:pt x="223" y="149"/>
                  </a:cubicBezTo>
                  <a:cubicBezTo>
                    <a:pt x="223" y="160"/>
                    <a:pt x="223" y="160"/>
                    <a:pt x="223" y="160"/>
                  </a:cubicBezTo>
                  <a:cubicBezTo>
                    <a:pt x="232" y="160"/>
                    <a:pt x="232" y="160"/>
                    <a:pt x="232" y="160"/>
                  </a:cubicBezTo>
                  <a:cubicBezTo>
                    <a:pt x="237" y="160"/>
                    <a:pt x="241" y="156"/>
                    <a:pt x="241" y="151"/>
                  </a:cubicBezTo>
                  <a:close/>
                  <a:moveTo>
                    <a:pt x="187" y="127"/>
                  </a:moveTo>
                  <a:cubicBezTo>
                    <a:pt x="44" y="127"/>
                    <a:pt x="44" y="127"/>
                    <a:pt x="44" y="127"/>
                  </a:cubicBezTo>
                  <a:cubicBezTo>
                    <a:pt x="38" y="127"/>
                    <a:pt x="32" y="133"/>
                    <a:pt x="32" y="139"/>
                  </a:cubicBezTo>
                  <a:cubicBezTo>
                    <a:pt x="32" y="153"/>
                    <a:pt x="32" y="153"/>
                    <a:pt x="32" y="153"/>
                  </a:cubicBezTo>
                  <a:cubicBezTo>
                    <a:pt x="32" y="160"/>
                    <a:pt x="38" y="165"/>
                    <a:pt x="44" y="165"/>
                  </a:cubicBezTo>
                  <a:cubicBezTo>
                    <a:pt x="187" y="165"/>
                    <a:pt x="187" y="165"/>
                    <a:pt x="187" y="165"/>
                  </a:cubicBezTo>
                  <a:cubicBezTo>
                    <a:pt x="194" y="165"/>
                    <a:pt x="199" y="160"/>
                    <a:pt x="199" y="153"/>
                  </a:cubicBezTo>
                  <a:cubicBezTo>
                    <a:pt x="199" y="139"/>
                    <a:pt x="199" y="139"/>
                    <a:pt x="199" y="139"/>
                  </a:cubicBezTo>
                  <a:cubicBezTo>
                    <a:pt x="199" y="133"/>
                    <a:pt x="194" y="127"/>
                    <a:pt x="187" y="127"/>
                  </a:cubicBezTo>
                  <a:close/>
                  <a:moveTo>
                    <a:pt x="57" y="150"/>
                  </a:moveTo>
                  <a:cubicBezTo>
                    <a:pt x="56" y="150"/>
                    <a:pt x="56" y="150"/>
                    <a:pt x="56" y="150"/>
                  </a:cubicBezTo>
                  <a:cubicBezTo>
                    <a:pt x="54" y="150"/>
                    <a:pt x="52" y="148"/>
                    <a:pt x="52" y="146"/>
                  </a:cubicBezTo>
                  <a:cubicBezTo>
                    <a:pt x="52" y="144"/>
                    <a:pt x="54" y="142"/>
                    <a:pt x="56" y="142"/>
                  </a:cubicBezTo>
                  <a:cubicBezTo>
                    <a:pt x="57" y="142"/>
                    <a:pt x="57" y="142"/>
                    <a:pt x="57" y="142"/>
                  </a:cubicBezTo>
                  <a:cubicBezTo>
                    <a:pt x="59" y="142"/>
                    <a:pt x="61" y="144"/>
                    <a:pt x="61" y="146"/>
                  </a:cubicBezTo>
                  <a:cubicBezTo>
                    <a:pt x="61" y="148"/>
                    <a:pt x="59" y="150"/>
                    <a:pt x="57" y="150"/>
                  </a:cubicBezTo>
                  <a:close/>
                  <a:moveTo>
                    <a:pt x="179" y="150"/>
                  </a:moveTo>
                  <a:cubicBezTo>
                    <a:pt x="112" y="150"/>
                    <a:pt x="112" y="150"/>
                    <a:pt x="112" y="150"/>
                  </a:cubicBezTo>
                  <a:cubicBezTo>
                    <a:pt x="110" y="150"/>
                    <a:pt x="108" y="148"/>
                    <a:pt x="108" y="146"/>
                  </a:cubicBezTo>
                  <a:cubicBezTo>
                    <a:pt x="108" y="144"/>
                    <a:pt x="110" y="142"/>
                    <a:pt x="112" y="142"/>
                  </a:cubicBezTo>
                  <a:cubicBezTo>
                    <a:pt x="179" y="142"/>
                    <a:pt x="179" y="142"/>
                    <a:pt x="179" y="142"/>
                  </a:cubicBezTo>
                  <a:cubicBezTo>
                    <a:pt x="181" y="142"/>
                    <a:pt x="183" y="144"/>
                    <a:pt x="183" y="146"/>
                  </a:cubicBezTo>
                  <a:cubicBezTo>
                    <a:pt x="183" y="148"/>
                    <a:pt x="181" y="150"/>
                    <a:pt x="179" y="150"/>
                  </a:cubicBezTo>
                  <a:close/>
                  <a:moveTo>
                    <a:pt x="187" y="37"/>
                  </a:moveTo>
                  <a:cubicBezTo>
                    <a:pt x="44" y="37"/>
                    <a:pt x="44" y="37"/>
                    <a:pt x="44" y="37"/>
                  </a:cubicBezTo>
                  <a:cubicBezTo>
                    <a:pt x="38" y="37"/>
                    <a:pt x="32" y="43"/>
                    <a:pt x="32" y="49"/>
                  </a:cubicBezTo>
                  <a:cubicBezTo>
                    <a:pt x="32" y="63"/>
                    <a:pt x="32" y="63"/>
                    <a:pt x="32" y="63"/>
                  </a:cubicBezTo>
                  <a:cubicBezTo>
                    <a:pt x="32" y="70"/>
                    <a:pt x="38" y="75"/>
                    <a:pt x="44" y="75"/>
                  </a:cubicBezTo>
                  <a:cubicBezTo>
                    <a:pt x="187" y="75"/>
                    <a:pt x="187" y="75"/>
                    <a:pt x="187" y="75"/>
                  </a:cubicBezTo>
                  <a:cubicBezTo>
                    <a:pt x="194" y="75"/>
                    <a:pt x="199" y="70"/>
                    <a:pt x="199" y="63"/>
                  </a:cubicBezTo>
                  <a:cubicBezTo>
                    <a:pt x="199" y="49"/>
                    <a:pt x="199" y="49"/>
                    <a:pt x="199" y="49"/>
                  </a:cubicBezTo>
                  <a:cubicBezTo>
                    <a:pt x="199" y="43"/>
                    <a:pt x="194" y="37"/>
                    <a:pt x="187" y="37"/>
                  </a:cubicBezTo>
                  <a:close/>
                  <a:moveTo>
                    <a:pt x="57" y="60"/>
                  </a:moveTo>
                  <a:cubicBezTo>
                    <a:pt x="56" y="60"/>
                    <a:pt x="56" y="60"/>
                    <a:pt x="56" y="60"/>
                  </a:cubicBezTo>
                  <a:cubicBezTo>
                    <a:pt x="54" y="60"/>
                    <a:pt x="52" y="58"/>
                    <a:pt x="52" y="56"/>
                  </a:cubicBezTo>
                  <a:cubicBezTo>
                    <a:pt x="52" y="54"/>
                    <a:pt x="54" y="52"/>
                    <a:pt x="56" y="52"/>
                  </a:cubicBezTo>
                  <a:cubicBezTo>
                    <a:pt x="57" y="52"/>
                    <a:pt x="57" y="52"/>
                    <a:pt x="57" y="52"/>
                  </a:cubicBezTo>
                  <a:cubicBezTo>
                    <a:pt x="59" y="52"/>
                    <a:pt x="61" y="54"/>
                    <a:pt x="61" y="56"/>
                  </a:cubicBezTo>
                  <a:cubicBezTo>
                    <a:pt x="61" y="58"/>
                    <a:pt x="59" y="60"/>
                    <a:pt x="57" y="60"/>
                  </a:cubicBezTo>
                  <a:close/>
                  <a:moveTo>
                    <a:pt x="179" y="60"/>
                  </a:moveTo>
                  <a:cubicBezTo>
                    <a:pt x="112" y="60"/>
                    <a:pt x="112" y="60"/>
                    <a:pt x="112" y="60"/>
                  </a:cubicBezTo>
                  <a:cubicBezTo>
                    <a:pt x="110" y="60"/>
                    <a:pt x="108" y="58"/>
                    <a:pt x="108" y="56"/>
                  </a:cubicBezTo>
                  <a:cubicBezTo>
                    <a:pt x="108" y="54"/>
                    <a:pt x="110" y="52"/>
                    <a:pt x="112" y="52"/>
                  </a:cubicBezTo>
                  <a:cubicBezTo>
                    <a:pt x="179" y="52"/>
                    <a:pt x="179" y="52"/>
                    <a:pt x="179" y="52"/>
                  </a:cubicBezTo>
                  <a:cubicBezTo>
                    <a:pt x="181" y="52"/>
                    <a:pt x="183" y="54"/>
                    <a:pt x="183" y="56"/>
                  </a:cubicBezTo>
                  <a:cubicBezTo>
                    <a:pt x="183" y="58"/>
                    <a:pt x="181" y="60"/>
                    <a:pt x="179" y="60"/>
                  </a:cubicBezTo>
                  <a:close/>
                  <a:moveTo>
                    <a:pt x="268" y="175"/>
                  </a:moveTo>
                  <a:cubicBezTo>
                    <a:pt x="268" y="172"/>
                    <a:pt x="265" y="169"/>
                    <a:pt x="261" y="169"/>
                  </a:cubicBezTo>
                  <a:cubicBezTo>
                    <a:pt x="261" y="190"/>
                    <a:pt x="261" y="190"/>
                    <a:pt x="261" y="190"/>
                  </a:cubicBezTo>
                  <a:cubicBezTo>
                    <a:pt x="265" y="189"/>
                    <a:pt x="268" y="187"/>
                    <a:pt x="268" y="183"/>
                  </a:cubicBezTo>
                  <a:lnTo>
                    <a:pt x="268" y="175"/>
                  </a:lnTo>
                  <a:close/>
                  <a:moveTo>
                    <a:pt x="268" y="201"/>
                  </a:moveTo>
                  <a:cubicBezTo>
                    <a:pt x="268" y="197"/>
                    <a:pt x="265" y="194"/>
                    <a:pt x="261" y="194"/>
                  </a:cubicBezTo>
                  <a:cubicBezTo>
                    <a:pt x="261" y="215"/>
                    <a:pt x="261" y="215"/>
                    <a:pt x="261" y="215"/>
                  </a:cubicBezTo>
                  <a:cubicBezTo>
                    <a:pt x="265" y="215"/>
                    <a:pt x="268" y="212"/>
                    <a:pt x="268" y="208"/>
                  </a:cubicBezTo>
                  <a:lnTo>
                    <a:pt x="268" y="201"/>
                  </a:lnTo>
                  <a:close/>
                  <a:moveTo>
                    <a:pt x="268" y="150"/>
                  </a:moveTo>
                  <a:cubicBezTo>
                    <a:pt x="268" y="146"/>
                    <a:pt x="265" y="143"/>
                    <a:pt x="261" y="143"/>
                  </a:cubicBezTo>
                  <a:cubicBezTo>
                    <a:pt x="261" y="164"/>
                    <a:pt x="261" y="164"/>
                    <a:pt x="261" y="164"/>
                  </a:cubicBezTo>
                  <a:cubicBezTo>
                    <a:pt x="265" y="164"/>
                    <a:pt x="268" y="161"/>
                    <a:pt x="268" y="158"/>
                  </a:cubicBezTo>
                  <a:lnTo>
                    <a:pt x="268" y="150"/>
                  </a:lnTo>
                  <a:close/>
                  <a:moveTo>
                    <a:pt x="277" y="260"/>
                  </a:moveTo>
                  <a:cubicBezTo>
                    <a:pt x="277" y="147"/>
                    <a:pt x="277" y="147"/>
                    <a:pt x="277" y="147"/>
                  </a:cubicBezTo>
                  <a:cubicBezTo>
                    <a:pt x="277" y="139"/>
                    <a:pt x="270" y="132"/>
                    <a:pt x="261" y="132"/>
                  </a:cubicBezTo>
                  <a:cubicBezTo>
                    <a:pt x="261" y="132"/>
                    <a:pt x="261" y="132"/>
                    <a:pt x="261" y="132"/>
                  </a:cubicBezTo>
                  <a:cubicBezTo>
                    <a:pt x="261" y="135"/>
                    <a:pt x="261" y="135"/>
                    <a:pt x="261" y="135"/>
                  </a:cubicBezTo>
                  <a:cubicBezTo>
                    <a:pt x="261" y="135"/>
                    <a:pt x="261" y="135"/>
                    <a:pt x="261" y="135"/>
                  </a:cubicBezTo>
                  <a:cubicBezTo>
                    <a:pt x="268" y="135"/>
                    <a:pt x="273" y="141"/>
                    <a:pt x="273" y="147"/>
                  </a:cubicBezTo>
                  <a:cubicBezTo>
                    <a:pt x="273" y="260"/>
                    <a:pt x="273" y="260"/>
                    <a:pt x="273" y="260"/>
                  </a:cubicBezTo>
                  <a:cubicBezTo>
                    <a:pt x="273" y="267"/>
                    <a:pt x="268" y="272"/>
                    <a:pt x="261" y="272"/>
                  </a:cubicBezTo>
                  <a:cubicBezTo>
                    <a:pt x="254" y="272"/>
                    <a:pt x="254" y="272"/>
                    <a:pt x="254" y="272"/>
                  </a:cubicBezTo>
                  <a:cubicBezTo>
                    <a:pt x="252" y="275"/>
                    <a:pt x="249" y="277"/>
                    <a:pt x="246" y="279"/>
                  </a:cubicBezTo>
                  <a:cubicBezTo>
                    <a:pt x="246" y="279"/>
                    <a:pt x="246" y="279"/>
                    <a:pt x="246" y="279"/>
                  </a:cubicBezTo>
                  <a:cubicBezTo>
                    <a:pt x="264" y="279"/>
                    <a:pt x="264" y="279"/>
                    <a:pt x="264" y="279"/>
                  </a:cubicBezTo>
                  <a:cubicBezTo>
                    <a:pt x="267" y="274"/>
                    <a:pt x="267" y="274"/>
                    <a:pt x="267" y="274"/>
                  </a:cubicBezTo>
                  <a:cubicBezTo>
                    <a:pt x="273" y="272"/>
                    <a:pt x="277" y="267"/>
                    <a:pt x="277" y="260"/>
                  </a:cubicBezTo>
                  <a:close/>
                  <a:moveTo>
                    <a:pt x="268" y="226"/>
                  </a:moveTo>
                  <a:cubicBezTo>
                    <a:pt x="268" y="222"/>
                    <a:pt x="265" y="219"/>
                    <a:pt x="261" y="219"/>
                  </a:cubicBezTo>
                  <a:cubicBezTo>
                    <a:pt x="261" y="240"/>
                    <a:pt x="261" y="240"/>
                    <a:pt x="261" y="240"/>
                  </a:cubicBezTo>
                  <a:cubicBezTo>
                    <a:pt x="265" y="240"/>
                    <a:pt x="268" y="237"/>
                    <a:pt x="268" y="234"/>
                  </a:cubicBezTo>
                  <a:lnTo>
                    <a:pt x="268" y="226"/>
                  </a:lnTo>
                  <a:close/>
                  <a:moveTo>
                    <a:pt x="261" y="245"/>
                  </a:moveTo>
                  <a:cubicBezTo>
                    <a:pt x="261" y="254"/>
                    <a:pt x="261" y="254"/>
                    <a:pt x="261" y="254"/>
                  </a:cubicBezTo>
                  <a:cubicBezTo>
                    <a:pt x="261" y="258"/>
                    <a:pt x="260" y="262"/>
                    <a:pt x="259" y="266"/>
                  </a:cubicBezTo>
                  <a:cubicBezTo>
                    <a:pt x="261" y="266"/>
                    <a:pt x="261" y="266"/>
                    <a:pt x="261" y="266"/>
                  </a:cubicBezTo>
                  <a:cubicBezTo>
                    <a:pt x="265" y="266"/>
                    <a:pt x="268" y="263"/>
                    <a:pt x="268" y="259"/>
                  </a:cubicBezTo>
                  <a:cubicBezTo>
                    <a:pt x="268" y="251"/>
                    <a:pt x="268" y="251"/>
                    <a:pt x="268" y="251"/>
                  </a:cubicBezTo>
                  <a:cubicBezTo>
                    <a:pt x="268" y="248"/>
                    <a:pt x="265" y="245"/>
                    <a:pt x="261" y="245"/>
                  </a:cubicBezTo>
                  <a:close/>
                  <a:moveTo>
                    <a:pt x="253" y="254"/>
                  </a:moveTo>
                  <a:cubicBezTo>
                    <a:pt x="253" y="103"/>
                    <a:pt x="253" y="103"/>
                    <a:pt x="253" y="103"/>
                  </a:cubicBezTo>
                  <a:cubicBezTo>
                    <a:pt x="253" y="92"/>
                    <a:pt x="244" y="83"/>
                    <a:pt x="233" y="83"/>
                  </a:cubicBezTo>
                  <a:cubicBezTo>
                    <a:pt x="223" y="83"/>
                    <a:pt x="223" y="83"/>
                    <a:pt x="223" y="83"/>
                  </a:cubicBezTo>
                  <a:cubicBezTo>
                    <a:pt x="223" y="87"/>
                    <a:pt x="223" y="87"/>
                    <a:pt x="223" y="87"/>
                  </a:cubicBezTo>
                  <a:cubicBezTo>
                    <a:pt x="233" y="87"/>
                    <a:pt x="233" y="87"/>
                    <a:pt x="233" y="87"/>
                  </a:cubicBezTo>
                  <a:cubicBezTo>
                    <a:pt x="242" y="87"/>
                    <a:pt x="249" y="94"/>
                    <a:pt x="249" y="103"/>
                  </a:cubicBezTo>
                  <a:cubicBezTo>
                    <a:pt x="249" y="254"/>
                    <a:pt x="249" y="254"/>
                    <a:pt x="249" y="254"/>
                  </a:cubicBezTo>
                  <a:cubicBezTo>
                    <a:pt x="249" y="262"/>
                    <a:pt x="242" y="269"/>
                    <a:pt x="233" y="269"/>
                  </a:cubicBezTo>
                  <a:cubicBezTo>
                    <a:pt x="213" y="269"/>
                    <a:pt x="213" y="269"/>
                    <a:pt x="213" y="269"/>
                  </a:cubicBezTo>
                  <a:cubicBezTo>
                    <a:pt x="211" y="271"/>
                    <a:pt x="209" y="273"/>
                    <a:pt x="207" y="275"/>
                  </a:cubicBezTo>
                  <a:cubicBezTo>
                    <a:pt x="209" y="279"/>
                    <a:pt x="209" y="279"/>
                    <a:pt x="209" y="279"/>
                  </a:cubicBezTo>
                  <a:cubicBezTo>
                    <a:pt x="237" y="279"/>
                    <a:pt x="237" y="279"/>
                    <a:pt x="237" y="279"/>
                  </a:cubicBezTo>
                  <a:cubicBezTo>
                    <a:pt x="240" y="273"/>
                    <a:pt x="240" y="273"/>
                    <a:pt x="240" y="273"/>
                  </a:cubicBezTo>
                  <a:cubicBezTo>
                    <a:pt x="248" y="270"/>
                    <a:pt x="253" y="262"/>
                    <a:pt x="253" y="254"/>
                  </a:cubicBezTo>
                  <a:close/>
                  <a:moveTo>
                    <a:pt x="215" y="245"/>
                  </a:moveTo>
                  <a:cubicBezTo>
                    <a:pt x="215" y="44"/>
                    <a:pt x="215" y="44"/>
                    <a:pt x="215" y="44"/>
                  </a:cubicBezTo>
                  <a:cubicBezTo>
                    <a:pt x="215" y="29"/>
                    <a:pt x="203" y="17"/>
                    <a:pt x="188" y="17"/>
                  </a:cubicBezTo>
                  <a:cubicBezTo>
                    <a:pt x="43" y="17"/>
                    <a:pt x="43" y="17"/>
                    <a:pt x="43" y="17"/>
                  </a:cubicBezTo>
                  <a:cubicBezTo>
                    <a:pt x="28" y="17"/>
                    <a:pt x="16" y="29"/>
                    <a:pt x="16" y="44"/>
                  </a:cubicBezTo>
                  <a:cubicBezTo>
                    <a:pt x="16" y="245"/>
                    <a:pt x="16" y="245"/>
                    <a:pt x="16" y="245"/>
                  </a:cubicBezTo>
                  <a:cubicBezTo>
                    <a:pt x="16" y="257"/>
                    <a:pt x="24" y="266"/>
                    <a:pt x="34" y="270"/>
                  </a:cubicBezTo>
                  <a:cubicBezTo>
                    <a:pt x="38" y="279"/>
                    <a:pt x="38" y="279"/>
                    <a:pt x="38" y="279"/>
                  </a:cubicBezTo>
                  <a:cubicBezTo>
                    <a:pt x="75" y="279"/>
                    <a:pt x="75" y="279"/>
                    <a:pt x="75" y="279"/>
                  </a:cubicBezTo>
                  <a:cubicBezTo>
                    <a:pt x="79" y="272"/>
                    <a:pt x="79" y="272"/>
                    <a:pt x="79" y="272"/>
                  </a:cubicBezTo>
                  <a:cubicBezTo>
                    <a:pt x="153" y="272"/>
                    <a:pt x="153" y="272"/>
                    <a:pt x="153" y="272"/>
                  </a:cubicBezTo>
                  <a:cubicBezTo>
                    <a:pt x="156" y="279"/>
                    <a:pt x="156" y="279"/>
                    <a:pt x="156" y="279"/>
                  </a:cubicBezTo>
                  <a:cubicBezTo>
                    <a:pt x="193" y="279"/>
                    <a:pt x="193" y="279"/>
                    <a:pt x="193" y="279"/>
                  </a:cubicBezTo>
                  <a:cubicBezTo>
                    <a:pt x="198" y="270"/>
                    <a:pt x="198" y="270"/>
                    <a:pt x="198" y="270"/>
                  </a:cubicBezTo>
                  <a:cubicBezTo>
                    <a:pt x="208" y="266"/>
                    <a:pt x="215" y="257"/>
                    <a:pt x="215" y="245"/>
                  </a:cubicBezTo>
                  <a:close/>
                  <a:moveTo>
                    <a:pt x="188" y="266"/>
                  </a:moveTo>
                  <a:cubicBezTo>
                    <a:pt x="43" y="266"/>
                    <a:pt x="43" y="266"/>
                    <a:pt x="43" y="266"/>
                  </a:cubicBezTo>
                  <a:cubicBezTo>
                    <a:pt x="32" y="266"/>
                    <a:pt x="22" y="257"/>
                    <a:pt x="22" y="245"/>
                  </a:cubicBezTo>
                  <a:cubicBezTo>
                    <a:pt x="22" y="44"/>
                    <a:pt x="22" y="44"/>
                    <a:pt x="22" y="44"/>
                  </a:cubicBezTo>
                  <a:cubicBezTo>
                    <a:pt x="22" y="32"/>
                    <a:pt x="32" y="23"/>
                    <a:pt x="43" y="23"/>
                  </a:cubicBezTo>
                  <a:cubicBezTo>
                    <a:pt x="188" y="23"/>
                    <a:pt x="188" y="23"/>
                    <a:pt x="188" y="23"/>
                  </a:cubicBezTo>
                  <a:cubicBezTo>
                    <a:pt x="200" y="23"/>
                    <a:pt x="209" y="32"/>
                    <a:pt x="209" y="44"/>
                  </a:cubicBezTo>
                  <a:cubicBezTo>
                    <a:pt x="209" y="245"/>
                    <a:pt x="209" y="245"/>
                    <a:pt x="209" y="245"/>
                  </a:cubicBezTo>
                  <a:cubicBezTo>
                    <a:pt x="209" y="257"/>
                    <a:pt x="200" y="266"/>
                    <a:pt x="188" y="266"/>
                  </a:cubicBezTo>
                  <a:close/>
                  <a:moveTo>
                    <a:pt x="241" y="117"/>
                  </a:moveTo>
                  <a:cubicBezTo>
                    <a:pt x="241" y="107"/>
                    <a:pt x="241" y="107"/>
                    <a:pt x="241" y="107"/>
                  </a:cubicBezTo>
                  <a:cubicBezTo>
                    <a:pt x="241" y="102"/>
                    <a:pt x="237" y="98"/>
                    <a:pt x="232" y="98"/>
                  </a:cubicBezTo>
                  <a:cubicBezTo>
                    <a:pt x="223" y="98"/>
                    <a:pt x="223" y="98"/>
                    <a:pt x="223" y="98"/>
                  </a:cubicBezTo>
                  <a:cubicBezTo>
                    <a:pt x="223" y="109"/>
                    <a:pt x="223" y="109"/>
                    <a:pt x="223" y="109"/>
                  </a:cubicBezTo>
                  <a:cubicBezTo>
                    <a:pt x="226" y="109"/>
                    <a:pt x="226" y="109"/>
                    <a:pt x="226" y="109"/>
                  </a:cubicBezTo>
                  <a:cubicBezTo>
                    <a:pt x="228" y="109"/>
                    <a:pt x="229" y="110"/>
                    <a:pt x="229" y="112"/>
                  </a:cubicBezTo>
                  <a:cubicBezTo>
                    <a:pt x="229" y="114"/>
                    <a:pt x="228" y="115"/>
                    <a:pt x="226" y="115"/>
                  </a:cubicBezTo>
                  <a:cubicBezTo>
                    <a:pt x="223" y="115"/>
                    <a:pt x="223" y="115"/>
                    <a:pt x="223" y="115"/>
                  </a:cubicBezTo>
                  <a:cubicBezTo>
                    <a:pt x="223" y="126"/>
                    <a:pt x="223" y="126"/>
                    <a:pt x="223" y="126"/>
                  </a:cubicBezTo>
                  <a:cubicBezTo>
                    <a:pt x="232" y="126"/>
                    <a:pt x="232" y="126"/>
                    <a:pt x="232" y="126"/>
                  </a:cubicBezTo>
                  <a:cubicBezTo>
                    <a:pt x="237" y="126"/>
                    <a:pt x="241" y="122"/>
                    <a:pt x="241" y="117"/>
                  </a:cubicBezTo>
                  <a:close/>
                  <a:moveTo>
                    <a:pt x="4" y="88"/>
                  </a:moveTo>
                  <a:cubicBezTo>
                    <a:pt x="0" y="88"/>
                    <a:pt x="0" y="88"/>
                    <a:pt x="0" y="88"/>
                  </a:cubicBezTo>
                  <a:cubicBezTo>
                    <a:pt x="0" y="96"/>
                    <a:pt x="0" y="96"/>
                    <a:pt x="0" y="96"/>
                  </a:cubicBezTo>
                  <a:cubicBezTo>
                    <a:pt x="4" y="96"/>
                    <a:pt x="4" y="96"/>
                    <a:pt x="4" y="96"/>
                  </a:cubicBezTo>
                  <a:lnTo>
                    <a:pt x="4" y="88"/>
                  </a:lnTo>
                  <a:close/>
                  <a:moveTo>
                    <a:pt x="125" y="0"/>
                  </a:moveTo>
                  <a:cubicBezTo>
                    <a:pt x="117" y="0"/>
                    <a:pt x="117" y="0"/>
                    <a:pt x="117" y="0"/>
                  </a:cubicBezTo>
                  <a:cubicBezTo>
                    <a:pt x="117" y="4"/>
                    <a:pt x="117" y="4"/>
                    <a:pt x="117" y="4"/>
                  </a:cubicBezTo>
                  <a:cubicBezTo>
                    <a:pt x="125" y="4"/>
                    <a:pt x="125" y="4"/>
                    <a:pt x="125" y="4"/>
                  </a:cubicBezTo>
                  <a:lnTo>
                    <a:pt x="125" y="0"/>
                  </a:lnTo>
                  <a:close/>
                  <a:moveTo>
                    <a:pt x="61" y="0"/>
                  </a:moveTo>
                  <a:cubicBezTo>
                    <a:pt x="53" y="0"/>
                    <a:pt x="53" y="0"/>
                    <a:pt x="53" y="0"/>
                  </a:cubicBezTo>
                  <a:cubicBezTo>
                    <a:pt x="53" y="4"/>
                    <a:pt x="53" y="4"/>
                    <a:pt x="53" y="4"/>
                  </a:cubicBezTo>
                  <a:cubicBezTo>
                    <a:pt x="61" y="4"/>
                    <a:pt x="61" y="4"/>
                    <a:pt x="61" y="4"/>
                  </a:cubicBezTo>
                  <a:lnTo>
                    <a:pt x="61" y="0"/>
                  </a:lnTo>
                  <a:close/>
                  <a:moveTo>
                    <a:pt x="42" y="4"/>
                  </a:moveTo>
                  <a:cubicBezTo>
                    <a:pt x="45" y="4"/>
                    <a:pt x="45" y="4"/>
                    <a:pt x="45" y="4"/>
                  </a:cubicBezTo>
                  <a:cubicBezTo>
                    <a:pt x="45" y="0"/>
                    <a:pt x="45" y="0"/>
                    <a:pt x="45" y="0"/>
                  </a:cubicBezTo>
                  <a:cubicBezTo>
                    <a:pt x="42" y="0"/>
                    <a:pt x="42" y="0"/>
                    <a:pt x="42" y="0"/>
                  </a:cubicBezTo>
                  <a:cubicBezTo>
                    <a:pt x="40" y="0"/>
                    <a:pt x="39" y="0"/>
                    <a:pt x="37" y="1"/>
                  </a:cubicBezTo>
                  <a:cubicBezTo>
                    <a:pt x="37" y="5"/>
                    <a:pt x="37" y="5"/>
                    <a:pt x="37" y="5"/>
                  </a:cubicBezTo>
                  <a:cubicBezTo>
                    <a:pt x="39" y="4"/>
                    <a:pt x="40" y="4"/>
                    <a:pt x="42" y="4"/>
                  </a:cubicBezTo>
                  <a:close/>
                  <a:moveTo>
                    <a:pt x="8" y="25"/>
                  </a:moveTo>
                  <a:cubicBezTo>
                    <a:pt x="4" y="24"/>
                    <a:pt x="4" y="24"/>
                    <a:pt x="4" y="24"/>
                  </a:cubicBezTo>
                  <a:cubicBezTo>
                    <a:pt x="3" y="26"/>
                    <a:pt x="2" y="29"/>
                    <a:pt x="1" y="32"/>
                  </a:cubicBezTo>
                  <a:cubicBezTo>
                    <a:pt x="5" y="33"/>
                    <a:pt x="5" y="33"/>
                    <a:pt x="5" y="33"/>
                  </a:cubicBezTo>
                  <a:cubicBezTo>
                    <a:pt x="6" y="30"/>
                    <a:pt x="7" y="28"/>
                    <a:pt x="8" y="25"/>
                  </a:cubicBezTo>
                  <a:close/>
                  <a:moveTo>
                    <a:pt x="93" y="0"/>
                  </a:moveTo>
                  <a:cubicBezTo>
                    <a:pt x="85" y="0"/>
                    <a:pt x="85" y="0"/>
                    <a:pt x="85" y="0"/>
                  </a:cubicBezTo>
                  <a:cubicBezTo>
                    <a:pt x="85" y="4"/>
                    <a:pt x="85" y="4"/>
                    <a:pt x="85" y="4"/>
                  </a:cubicBezTo>
                  <a:cubicBezTo>
                    <a:pt x="93" y="4"/>
                    <a:pt x="93" y="4"/>
                    <a:pt x="93" y="4"/>
                  </a:cubicBezTo>
                  <a:lnTo>
                    <a:pt x="93" y="0"/>
                  </a:lnTo>
                  <a:close/>
                  <a:moveTo>
                    <a:pt x="77" y="0"/>
                  </a:moveTo>
                  <a:cubicBezTo>
                    <a:pt x="69" y="0"/>
                    <a:pt x="69" y="0"/>
                    <a:pt x="69" y="0"/>
                  </a:cubicBezTo>
                  <a:cubicBezTo>
                    <a:pt x="69" y="4"/>
                    <a:pt x="69" y="4"/>
                    <a:pt x="69" y="4"/>
                  </a:cubicBezTo>
                  <a:cubicBezTo>
                    <a:pt x="77" y="4"/>
                    <a:pt x="77" y="4"/>
                    <a:pt x="77" y="4"/>
                  </a:cubicBezTo>
                  <a:lnTo>
                    <a:pt x="77" y="0"/>
                  </a:lnTo>
                  <a:close/>
                  <a:moveTo>
                    <a:pt x="141" y="0"/>
                  </a:moveTo>
                  <a:cubicBezTo>
                    <a:pt x="133" y="0"/>
                    <a:pt x="133" y="0"/>
                    <a:pt x="133" y="0"/>
                  </a:cubicBezTo>
                  <a:cubicBezTo>
                    <a:pt x="133" y="4"/>
                    <a:pt x="133" y="4"/>
                    <a:pt x="133" y="4"/>
                  </a:cubicBezTo>
                  <a:cubicBezTo>
                    <a:pt x="141" y="4"/>
                    <a:pt x="141" y="4"/>
                    <a:pt x="141" y="4"/>
                  </a:cubicBezTo>
                  <a:lnTo>
                    <a:pt x="141" y="0"/>
                  </a:lnTo>
                  <a:close/>
                  <a:moveTo>
                    <a:pt x="4" y="56"/>
                  </a:moveTo>
                  <a:cubicBezTo>
                    <a:pt x="0" y="56"/>
                    <a:pt x="0" y="56"/>
                    <a:pt x="0" y="56"/>
                  </a:cubicBezTo>
                  <a:cubicBezTo>
                    <a:pt x="0" y="64"/>
                    <a:pt x="0" y="64"/>
                    <a:pt x="0" y="64"/>
                  </a:cubicBezTo>
                  <a:cubicBezTo>
                    <a:pt x="4" y="64"/>
                    <a:pt x="4" y="64"/>
                    <a:pt x="4" y="64"/>
                  </a:cubicBezTo>
                  <a:lnTo>
                    <a:pt x="4" y="56"/>
                  </a:lnTo>
                  <a:close/>
                  <a:moveTo>
                    <a:pt x="4" y="42"/>
                  </a:moveTo>
                  <a:cubicBezTo>
                    <a:pt x="4" y="42"/>
                    <a:pt x="4" y="41"/>
                    <a:pt x="4" y="40"/>
                  </a:cubicBezTo>
                  <a:cubicBezTo>
                    <a:pt x="0" y="40"/>
                    <a:pt x="0" y="40"/>
                    <a:pt x="0" y="40"/>
                  </a:cubicBezTo>
                  <a:cubicBezTo>
                    <a:pt x="0" y="41"/>
                    <a:pt x="0" y="41"/>
                    <a:pt x="0" y="42"/>
                  </a:cubicBezTo>
                  <a:cubicBezTo>
                    <a:pt x="0" y="48"/>
                    <a:pt x="0" y="48"/>
                    <a:pt x="0" y="48"/>
                  </a:cubicBezTo>
                  <a:cubicBezTo>
                    <a:pt x="4" y="48"/>
                    <a:pt x="4" y="48"/>
                    <a:pt x="4" y="48"/>
                  </a:cubicBezTo>
                  <a:lnTo>
                    <a:pt x="4" y="42"/>
                  </a:lnTo>
                  <a:close/>
                  <a:moveTo>
                    <a:pt x="17" y="14"/>
                  </a:moveTo>
                  <a:cubicBezTo>
                    <a:pt x="14" y="11"/>
                    <a:pt x="14" y="11"/>
                    <a:pt x="14" y="11"/>
                  </a:cubicBezTo>
                  <a:cubicBezTo>
                    <a:pt x="12" y="12"/>
                    <a:pt x="10" y="14"/>
                    <a:pt x="9" y="17"/>
                  </a:cubicBezTo>
                  <a:cubicBezTo>
                    <a:pt x="12" y="19"/>
                    <a:pt x="12" y="19"/>
                    <a:pt x="12" y="19"/>
                  </a:cubicBezTo>
                  <a:cubicBezTo>
                    <a:pt x="13" y="17"/>
                    <a:pt x="15" y="15"/>
                    <a:pt x="17" y="14"/>
                  </a:cubicBezTo>
                  <a:close/>
                  <a:moveTo>
                    <a:pt x="4" y="72"/>
                  </a:moveTo>
                  <a:cubicBezTo>
                    <a:pt x="0" y="72"/>
                    <a:pt x="0" y="72"/>
                    <a:pt x="0" y="72"/>
                  </a:cubicBezTo>
                  <a:cubicBezTo>
                    <a:pt x="0" y="80"/>
                    <a:pt x="0" y="80"/>
                    <a:pt x="0" y="80"/>
                  </a:cubicBezTo>
                  <a:cubicBezTo>
                    <a:pt x="4" y="80"/>
                    <a:pt x="4" y="80"/>
                    <a:pt x="4" y="80"/>
                  </a:cubicBezTo>
                  <a:lnTo>
                    <a:pt x="4" y="72"/>
                  </a:lnTo>
                  <a:close/>
                  <a:moveTo>
                    <a:pt x="30" y="6"/>
                  </a:moveTo>
                  <a:cubicBezTo>
                    <a:pt x="29" y="2"/>
                    <a:pt x="29" y="2"/>
                    <a:pt x="29" y="2"/>
                  </a:cubicBezTo>
                  <a:cubicBezTo>
                    <a:pt x="26" y="3"/>
                    <a:pt x="24" y="4"/>
                    <a:pt x="21" y="6"/>
                  </a:cubicBezTo>
                  <a:cubicBezTo>
                    <a:pt x="23" y="9"/>
                    <a:pt x="23" y="9"/>
                    <a:pt x="23" y="9"/>
                  </a:cubicBezTo>
                  <a:cubicBezTo>
                    <a:pt x="25" y="8"/>
                    <a:pt x="28" y="7"/>
                    <a:pt x="30" y="6"/>
                  </a:cubicBezTo>
                  <a:close/>
                  <a:moveTo>
                    <a:pt x="109" y="0"/>
                  </a:moveTo>
                  <a:cubicBezTo>
                    <a:pt x="101" y="0"/>
                    <a:pt x="101" y="0"/>
                    <a:pt x="101" y="0"/>
                  </a:cubicBezTo>
                  <a:cubicBezTo>
                    <a:pt x="101" y="4"/>
                    <a:pt x="101" y="4"/>
                    <a:pt x="101" y="4"/>
                  </a:cubicBezTo>
                  <a:cubicBezTo>
                    <a:pt x="109" y="4"/>
                    <a:pt x="109" y="4"/>
                    <a:pt x="109" y="4"/>
                  </a:cubicBezTo>
                  <a:lnTo>
                    <a:pt x="109" y="0"/>
                  </a:lnTo>
                  <a:close/>
                  <a:moveTo>
                    <a:pt x="251" y="47"/>
                  </a:moveTo>
                  <a:cubicBezTo>
                    <a:pt x="247" y="40"/>
                    <a:pt x="247" y="40"/>
                    <a:pt x="247" y="40"/>
                  </a:cubicBezTo>
                  <a:cubicBezTo>
                    <a:pt x="244" y="42"/>
                    <a:pt x="244" y="42"/>
                    <a:pt x="244" y="42"/>
                  </a:cubicBezTo>
                  <a:cubicBezTo>
                    <a:pt x="247" y="49"/>
                    <a:pt x="247" y="49"/>
                    <a:pt x="247" y="49"/>
                  </a:cubicBezTo>
                  <a:lnTo>
                    <a:pt x="251" y="47"/>
                  </a:lnTo>
                  <a:close/>
                  <a:moveTo>
                    <a:pt x="259" y="61"/>
                  </a:moveTo>
                  <a:cubicBezTo>
                    <a:pt x="255" y="54"/>
                    <a:pt x="255" y="54"/>
                    <a:pt x="255" y="54"/>
                  </a:cubicBezTo>
                  <a:cubicBezTo>
                    <a:pt x="251" y="56"/>
                    <a:pt x="251" y="56"/>
                    <a:pt x="251" y="56"/>
                  </a:cubicBezTo>
                  <a:cubicBezTo>
                    <a:pt x="255" y="63"/>
                    <a:pt x="255" y="63"/>
                    <a:pt x="255" y="63"/>
                  </a:cubicBezTo>
                  <a:lnTo>
                    <a:pt x="259" y="61"/>
                  </a:lnTo>
                  <a:close/>
                  <a:moveTo>
                    <a:pt x="266" y="75"/>
                  </a:moveTo>
                  <a:cubicBezTo>
                    <a:pt x="262" y="68"/>
                    <a:pt x="262" y="68"/>
                    <a:pt x="262" y="68"/>
                  </a:cubicBezTo>
                  <a:cubicBezTo>
                    <a:pt x="259" y="70"/>
                    <a:pt x="259" y="70"/>
                    <a:pt x="259" y="70"/>
                  </a:cubicBezTo>
                  <a:cubicBezTo>
                    <a:pt x="263" y="77"/>
                    <a:pt x="263" y="77"/>
                    <a:pt x="263" y="77"/>
                  </a:cubicBezTo>
                  <a:lnTo>
                    <a:pt x="266" y="75"/>
                  </a:lnTo>
                  <a:close/>
                  <a:moveTo>
                    <a:pt x="274" y="89"/>
                  </a:moveTo>
                  <a:cubicBezTo>
                    <a:pt x="270" y="82"/>
                    <a:pt x="270" y="82"/>
                    <a:pt x="270" y="82"/>
                  </a:cubicBezTo>
                  <a:cubicBezTo>
                    <a:pt x="266" y="84"/>
                    <a:pt x="266" y="84"/>
                    <a:pt x="266" y="84"/>
                  </a:cubicBezTo>
                  <a:cubicBezTo>
                    <a:pt x="270" y="91"/>
                    <a:pt x="270" y="91"/>
                    <a:pt x="270" y="91"/>
                  </a:cubicBezTo>
                  <a:lnTo>
                    <a:pt x="274" y="89"/>
                  </a:lnTo>
                  <a:close/>
                  <a:moveTo>
                    <a:pt x="232" y="20"/>
                  </a:moveTo>
                  <a:cubicBezTo>
                    <a:pt x="231" y="19"/>
                    <a:pt x="228" y="17"/>
                    <a:pt x="226" y="15"/>
                  </a:cubicBezTo>
                  <a:cubicBezTo>
                    <a:pt x="224" y="19"/>
                    <a:pt x="224" y="19"/>
                    <a:pt x="224" y="19"/>
                  </a:cubicBezTo>
                  <a:cubicBezTo>
                    <a:pt x="226" y="20"/>
                    <a:pt x="228" y="22"/>
                    <a:pt x="230" y="23"/>
                  </a:cubicBezTo>
                  <a:lnTo>
                    <a:pt x="232" y="20"/>
                  </a:lnTo>
                  <a:close/>
                  <a:moveTo>
                    <a:pt x="243" y="33"/>
                  </a:moveTo>
                  <a:cubicBezTo>
                    <a:pt x="242" y="31"/>
                    <a:pt x="240" y="28"/>
                    <a:pt x="238" y="26"/>
                  </a:cubicBezTo>
                  <a:cubicBezTo>
                    <a:pt x="235" y="29"/>
                    <a:pt x="235" y="29"/>
                    <a:pt x="235" y="29"/>
                  </a:cubicBezTo>
                  <a:cubicBezTo>
                    <a:pt x="237" y="31"/>
                    <a:pt x="239" y="33"/>
                    <a:pt x="240" y="35"/>
                  </a:cubicBezTo>
                  <a:lnTo>
                    <a:pt x="243" y="33"/>
                  </a:lnTo>
                  <a:close/>
                  <a:moveTo>
                    <a:pt x="277" y="105"/>
                  </a:moveTo>
                  <a:cubicBezTo>
                    <a:pt x="280" y="104"/>
                    <a:pt x="280" y="104"/>
                    <a:pt x="280" y="104"/>
                  </a:cubicBezTo>
                  <a:cubicBezTo>
                    <a:pt x="279" y="101"/>
                    <a:pt x="278" y="99"/>
                    <a:pt x="277" y="96"/>
                  </a:cubicBezTo>
                  <a:cubicBezTo>
                    <a:pt x="274" y="98"/>
                    <a:pt x="274" y="98"/>
                    <a:pt x="274" y="98"/>
                  </a:cubicBezTo>
                  <a:cubicBezTo>
                    <a:pt x="275" y="100"/>
                    <a:pt x="276" y="103"/>
                    <a:pt x="277" y="105"/>
                  </a:cubicBezTo>
                  <a:close/>
                  <a:moveTo>
                    <a:pt x="205" y="4"/>
                  </a:moveTo>
                  <a:cubicBezTo>
                    <a:pt x="202" y="3"/>
                    <a:pt x="199" y="2"/>
                    <a:pt x="197" y="2"/>
                  </a:cubicBezTo>
                  <a:cubicBezTo>
                    <a:pt x="196" y="6"/>
                    <a:pt x="196" y="6"/>
                    <a:pt x="196" y="6"/>
                  </a:cubicBezTo>
                  <a:cubicBezTo>
                    <a:pt x="198" y="6"/>
                    <a:pt x="201" y="7"/>
                    <a:pt x="203" y="8"/>
                  </a:cubicBezTo>
                  <a:lnTo>
                    <a:pt x="205" y="4"/>
                  </a:lnTo>
                  <a:close/>
                  <a:moveTo>
                    <a:pt x="157" y="0"/>
                  </a:moveTo>
                  <a:cubicBezTo>
                    <a:pt x="149" y="0"/>
                    <a:pt x="149" y="0"/>
                    <a:pt x="149" y="0"/>
                  </a:cubicBezTo>
                  <a:cubicBezTo>
                    <a:pt x="149" y="4"/>
                    <a:pt x="149" y="4"/>
                    <a:pt x="149" y="4"/>
                  </a:cubicBezTo>
                  <a:cubicBezTo>
                    <a:pt x="157" y="4"/>
                    <a:pt x="157" y="4"/>
                    <a:pt x="157" y="4"/>
                  </a:cubicBezTo>
                  <a:lnTo>
                    <a:pt x="157" y="0"/>
                  </a:lnTo>
                  <a:close/>
                  <a:moveTo>
                    <a:pt x="172" y="0"/>
                  </a:moveTo>
                  <a:cubicBezTo>
                    <a:pt x="165" y="0"/>
                    <a:pt x="165" y="0"/>
                    <a:pt x="165" y="0"/>
                  </a:cubicBezTo>
                  <a:cubicBezTo>
                    <a:pt x="165" y="4"/>
                    <a:pt x="165" y="4"/>
                    <a:pt x="165" y="4"/>
                  </a:cubicBezTo>
                  <a:cubicBezTo>
                    <a:pt x="172" y="4"/>
                    <a:pt x="172" y="4"/>
                    <a:pt x="172" y="4"/>
                  </a:cubicBezTo>
                  <a:lnTo>
                    <a:pt x="172" y="0"/>
                  </a:lnTo>
                  <a:close/>
                  <a:moveTo>
                    <a:pt x="188" y="4"/>
                  </a:moveTo>
                  <a:cubicBezTo>
                    <a:pt x="189" y="0"/>
                    <a:pt x="189" y="0"/>
                    <a:pt x="189" y="0"/>
                  </a:cubicBezTo>
                  <a:cubicBezTo>
                    <a:pt x="187" y="0"/>
                    <a:pt x="186" y="0"/>
                    <a:pt x="185" y="0"/>
                  </a:cubicBezTo>
                  <a:cubicBezTo>
                    <a:pt x="180" y="0"/>
                    <a:pt x="180" y="0"/>
                    <a:pt x="180" y="0"/>
                  </a:cubicBezTo>
                  <a:cubicBezTo>
                    <a:pt x="180" y="4"/>
                    <a:pt x="180" y="4"/>
                    <a:pt x="180" y="4"/>
                  </a:cubicBezTo>
                  <a:cubicBezTo>
                    <a:pt x="185" y="4"/>
                    <a:pt x="185" y="4"/>
                    <a:pt x="185" y="4"/>
                  </a:cubicBezTo>
                  <a:cubicBezTo>
                    <a:pt x="186" y="4"/>
                    <a:pt x="187" y="4"/>
                    <a:pt x="188" y="4"/>
                  </a:cubicBezTo>
                  <a:close/>
                  <a:moveTo>
                    <a:pt x="219" y="11"/>
                  </a:moveTo>
                  <a:cubicBezTo>
                    <a:pt x="217" y="9"/>
                    <a:pt x="215" y="8"/>
                    <a:pt x="212" y="7"/>
                  </a:cubicBezTo>
                  <a:cubicBezTo>
                    <a:pt x="210" y="11"/>
                    <a:pt x="210" y="11"/>
                    <a:pt x="210" y="11"/>
                  </a:cubicBezTo>
                  <a:cubicBezTo>
                    <a:pt x="213" y="12"/>
                    <a:pt x="215" y="13"/>
                    <a:pt x="217" y="14"/>
                  </a:cubicBezTo>
                  <a:lnTo>
                    <a:pt x="219" y="11"/>
                  </a:lnTo>
                  <a:close/>
                  <a:moveTo>
                    <a:pt x="285" y="135"/>
                  </a:moveTo>
                  <a:cubicBezTo>
                    <a:pt x="289" y="135"/>
                    <a:pt x="289" y="135"/>
                    <a:pt x="289" y="135"/>
                  </a:cubicBezTo>
                  <a:cubicBezTo>
                    <a:pt x="289" y="132"/>
                    <a:pt x="288" y="129"/>
                    <a:pt x="288" y="127"/>
                  </a:cubicBezTo>
                  <a:cubicBezTo>
                    <a:pt x="284" y="128"/>
                    <a:pt x="284" y="128"/>
                    <a:pt x="284" y="128"/>
                  </a:cubicBezTo>
                  <a:cubicBezTo>
                    <a:pt x="284" y="130"/>
                    <a:pt x="285" y="133"/>
                    <a:pt x="285" y="135"/>
                  </a:cubicBezTo>
                  <a:close/>
                  <a:moveTo>
                    <a:pt x="288" y="151"/>
                  </a:moveTo>
                  <a:cubicBezTo>
                    <a:pt x="292" y="150"/>
                    <a:pt x="292" y="150"/>
                    <a:pt x="292" y="150"/>
                  </a:cubicBezTo>
                  <a:cubicBezTo>
                    <a:pt x="292" y="148"/>
                    <a:pt x="291" y="145"/>
                    <a:pt x="291" y="142"/>
                  </a:cubicBezTo>
                  <a:cubicBezTo>
                    <a:pt x="287" y="143"/>
                    <a:pt x="287" y="143"/>
                    <a:pt x="287" y="143"/>
                  </a:cubicBezTo>
                  <a:cubicBezTo>
                    <a:pt x="287" y="146"/>
                    <a:pt x="288" y="148"/>
                    <a:pt x="288" y="151"/>
                  </a:cubicBezTo>
                  <a:close/>
                  <a:moveTo>
                    <a:pt x="242" y="296"/>
                  </a:moveTo>
                  <a:cubicBezTo>
                    <a:pt x="250" y="296"/>
                    <a:pt x="250" y="296"/>
                    <a:pt x="250" y="296"/>
                  </a:cubicBezTo>
                  <a:cubicBezTo>
                    <a:pt x="250" y="292"/>
                    <a:pt x="250" y="292"/>
                    <a:pt x="250" y="292"/>
                  </a:cubicBezTo>
                  <a:cubicBezTo>
                    <a:pt x="242" y="292"/>
                    <a:pt x="242" y="292"/>
                    <a:pt x="242" y="292"/>
                  </a:cubicBezTo>
                  <a:lnTo>
                    <a:pt x="242" y="296"/>
                  </a:lnTo>
                  <a:close/>
                  <a:moveTo>
                    <a:pt x="226" y="296"/>
                  </a:moveTo>
                  <a:cubicBezTo>
                    <a:pt x="234" y="296"/>
                    <a:pt x="234" y="296"/>
                    <a:pt x="234" y="296"/>
                  </a:cubicBezTo>
                  <a:cubicBezTo>
                    <a:pt x="234" y="292"/>
                    <a:pt x="234" y="292"/>
                    <a:pt x="234" y="292"/>
                  </a:cubicBezTo>
                  <a:cubicBezTo>
                    <a:pt x="226" y="292"/>
                    <a:pt x="226" y="292"/>
                    <a:pt x="226" y="292"/>
                  </a:cubicBezTo>
                  <a:lnTo>
                    <a:pt x="226" y="296"/>
                  </a:lnTo>
                  <a:close/>
                  <a:moveTo>
                    <a:pt x="258" y="292"/>
                  </a:moveTo>
                  <a:cubicBezTo>
                    <a:pt x="259" y="296"/>
                    <a:pt x="259" y="296"/>
                    <a:pt x="259" y="296"/>
                  </a:cubicBezTo>
                  <a:cubicBezTo>
                    <a:pt x="261" y="295"/>
                    <a:pt x="264" y="294"/>
                    <a:pt x="267" y="293"/>
                  </a:cubicBezTo>
                  <a:cubicBezTo>
                    <a:pt x="265" y="290"/>
                    <a:pt x="265" y="290"/>
                    <a:pt x="265" y="290"/>
                  </a:cubicBezTo>
                  <a:cubicBezTo>
                    <a:pt x="263" y="291"/>
                    <a:pt x="260" y="291"/>
                    <a:pt x="258" y="292"/>
                  </a:cubicBezTo>
                  <a:close/>
                  <a:moveTo>
                    <a:pt x="210" y="296"/>
                  </a:moveTo>
                  <a:cubicBezTo>
                    <a:pt x="218" y="296"/>
                    <a:pt x="218" y="296"/>
                    <a:pt x="218" y="296"/>
                  </a:cubicBezTo>
                  <a:cubicBezTo>
                    <a:pt x="218" y="292"/>
                    <a:pt x="218" y="292"/>
                    <a:pt x="218" y="292"/>
                  </a:cubicBezTo>
                  <a:cubicBezTo>
                    <a:pt x="210" y="292"/>
                    <a:pt x="210" y="292"/>
                    <a:pt x="210" y="292"/>
                  </a:cubicBezTo>
                  <a:lnTo>
                    <a:pt x="210" y="296"/>
                  </a:lnTo>
                  <a:close/>
                  <a:moveTo>
                    <a:pt x="179" y="296"/>
                  </a:moveTo>
                  <a:cubicBezTo>
                    <a:pt x="187" y="296"/>
                    <a:pt x="187" y="296"/>
                    <a:pt x="187" y="296"/>
                  </a:cubicBezTo>
                  <a:cubicBezTo>
                    <a:pt x="187" y="292"/>
                    <a:pt x="187" y="292"/>
                    <a:pt x="187" y="292"/>
                  </a:cubicBezTo>
                  <a:cubicBezTo>
                    <a:pt x="179" y="292"/>
                    <a:pt x="179" y="292"/>
                    <a:pt x="179" y="292"/>
                  </a:cubicBezTo>
                  <a:lnTo>
                    <a:pt x="179" y="296"/>
                  </a:lnTo>
                  <a:close/>
                  <a:moveTo>
                    <a:pt x="163" y="296"/>
                  </a:moveTo>
                  <a:cubicBezTo>
                    <a:pt x="171" y="296"/>
                    <a:pt x="171" y="296"/>
                    <a:pt x="171" y="296"/>
                  </a:cubicBezTo>
                  <a:cubicBezTo>
                    <a:pt x="171" y="292"/>
                    <a:pt x="171" y="292"/>
                    <a:pt x="171" y="292"/>
                  </a:cubicBezTo>
                  <a:cubicBezTo>
                    <a:pt x="163" y="292"/>
                    <a:pt x="163" y="292"/>
                    <a:pt x="163" y="292"/>
                  </a:cubicBezTo>
                  <a:lnTo>
                    <a:pt x="163" y="296"/>
                  </a:lnTo>
                  <a:close/>
                  <a:moveTo>
                    <a:pt x="147" y="296"/>
                  </a:moveTo>
                  <a:cubicBezTo>
                    <a:pt x="155" y="296"/>
                    <a:pt x="155" y="296"/>
                    <a:pt x="155" y="296"/>
                  </a:cubicBezTo>
                  <a:cubicBezTo>
                    <a:pt x="155" y="292"/>
                    <a:pt x="155" y="292"/>
                    <a:pt x="155" y="292"/>
                  </a:cubicBezTo>
                  <a:cubicBezTo>
                    <a:pt x="147" y="292"/>
                    <a:pt x="147" y="292"/>
                    <a:pt x="147" y="292"/>
                  </a:cubicBezTo>
                  <a:lnTo>
                    <a:pt x="147" y="296"/>
                  </a:lnTo>
                  <a:close/>
                  <a:moveTo>
                    <a:pt x="195" y="296"/>
                  </a:moveTo>
                  <a:cubicBezTo>
                    <a:pt x="203" y="296"/>
                    <a:pt x="203" y="296"/>
                    <a:pt x="203" y="296"/>
                  </a:cubicBezTo>
                  <a:cubicBezTo>
                    <a:pt x="203" y="292"/>
                    <a:pt x="203" y="292"/>
                    <a:pt x="203" y="292"/>
                  </a:cubicBezTo>
                  <a:cubicBezTo>
                    <a:pt x="195" y="292"/>
                    <a:pt x="195" y="292"/>
                    <a:pt x="195" y="292"/>
                  </a:cubicBezTo>
                  <a:lnTo>
                    <a:pt x="195" y="296"/>
                  </a:lnTo>
                  <a:close/>
                  <a:moveTo>
                    <a:pt x="131" y="296"/>
                  </a:moveTo>
                  <a:cubicBezTo>
                    <a:pt x="139" y="296"/>
                    <a:pt x="139" y="296"/>
                    <a:pt x="139" y="296"/>
                  </a:cubicBezTo>
                  <a:cubicBezTo>
                    <a:pt x="139" y="292"/>
                    <a:pt x="139" y="292"/>
                    <a:pt x="139" y="292"/>
                  </a:cubicBezTo>
                  <a:cubicBezTo>
                    <a:pt x="131" y="292"/>
                    <a:pt x="131" y="292"/>
                    <a:pt x="131" y="292"/>
                  </a:cubicBezTo>
                  <a:lnTo>
                    <a:pt x="131" y="296"/>
                  </a:lnTo>
                  <a:close/>
                  <a:moveTo>
                    <a:pt x="272" y="286"/>
                  </a:moveTo>
                  <a:cubicBezTo>
                    <a:pt x="274" y="289"/>
                    <a:pt x="274" y="289"/>
                    <a:pt x="274" y="289"/>
                  </a:cubicBezTo>
                  <a:cubicBezTo>
                    <a:pt x="276" y="288"/>
                    <a:pt x="279" y="286"/>
                    <a:pt x="281" y="284"/>
                  </a:cubicBezTo>
                  <a:cubicBezTo>
                    <a:pt x="278" y="281"/>
                    <a:pt x="278" y="281"/>
                    <a:pt x="278" y="281"/>
                  </a:cubicBezTo>
                  <a:cubicBezTo>
                    <a:pt x="276" y="283"/>
                    <a:pt x="274" y="285"/>
                    <a:pt x="272" y="286"/>
                  </a:cubicBezTo>
                  <a:close/>
                  <a:moveTo>
                    <a:pt x="289" y="214"/>
                  </a:moveTo>
                  <a:cubicBezTo>
                    <a:pt x="293" y="214"/>
                    <a:pt x="293" y="214"/>
                    <a:pt x="293" y="214"/>
                  </a:cubicBezTo>
                  <a:cubicBezTo>
                    <a:pt x="293" y="206"/>
                    <a:pt x="293" y="206"/>
                    <a:pt x="293" y="206"/>
                  </a:cubicBezTo>
                  <a:cubicBezTo>
                    <a:pt x="289" y="206"/>
                    <a:pt x="289" y="206"/>
                    <a:pt x="289" y="206"/>
                  </a:cubicBezTo>
                  <a:lnTo>
                    <a:pt x="289" y="214"/>
                  </a:lnTo>
                  <a:close/>
                  <a:moveTo>
                    <a:pt x="289" y="182"/>
                  </a:moveTo>
                  <a:cubicBezTo>
                    <a:pt x="293" y="182"/>
                    <a:pt x="293" y="182"/>
                    <a:pt x="293" y="182"/>
                  </a:cubicBezTo>
                  <a:cubicBezTo>
                    <a:pt x="293" y="175"/>
                    <a:pt x="293" y="175"/>
                    <a:pt x="293" y="175"/>
                  </a:cubicBezTo>
                  <a:cubicBezTo>
                    <a:pt x="289" y="175"/>
                    <a:pt x="289" y="175"/>
                    <a:pt x="289" y="175"/>
                  </a:cubicBezTo>
                  <a:lnTo>
                    <a:pt x="289" y="182"/>
                  </a:lnTo>
                  <a:close/>
                  <a:moveTo>
                    <a:pt x="289" y="198"/>
                  </a:moveTo>
                  <a:cubicBezTo>
                    <a:pt x="293" y="198"/>
                    <a:pt x="293" y="198"/>
                    <a:pt x="293" y="198"/>
                  </a:cubicBezTo>
                  <a:cubicBezTo>
                    <a:pt x="293" y="190"/>
                    <a:pt x="293" y="190"/>
                    <a:pt x="293" y="190"/>
                  </a:cubicBezTo>
                  <a:cubicBezTo>
                    <a:pt x="289" y="190"/>
                    <a:pt x="289" y="190"/>
                    <a:pt x="289" y="190"/>
                  </a:cubicBezTo>
                  <a:lnTo>
                    <a:pt x="289" y="198"/>
                  </a:lnTo>
                  <a:close/>
                  <a:moveTo>
                    <a:pt x="283" y="111"/>
                  </a:moveTo>
                  <a:cubicBezTo>
                    <a:pt x="279" y="113"/>
                    <a:pt x="279" y="113"/>
                    <a:pt x="279" y="113"/>
                  </a:cubicBezTo>
                  <a:cubicBezTo>
                    <a:pt x="280" y="115"/>
                    <a:pt x="281" y="118"/>
                    <a:pt x="282" y="120"/>
                  </a:cubicBezTo>
                  <a:cubicBezTo>
                    <a:pt x="285" y="119"/>
                    <a:pt x="285" y="119"/>
                    <a:pt x="285" y="119"/>
                  </a:cubicBezTo>
                  <a:cubicBezTo>
                    <a:pt x="285" y="116"/>
                    <a:pt x="284" y="114"/>
                    <a:pt x="283" y="111"/>
                  </a:cubicBezTo>
                  <a:close/>
                  <a:moveTo>
                    <a:pt x="293" y="158"/>
                  </a:moveTo>
                  <a:cubicBezTo>
                    <a:pt x="289" y="159"/>
                    <a:pt x="289" y="159"/>
                    <a:pt x="289" y="159"/>
                  </a:cubicBezTo>
                  <a:cubicBezTo>
                    <a:pt x="289" y="161"/>
                    <a:pt x="289" y="163"/>
                    <a:pt x="289" y="166"/>
                  </a:cubicBezTo>
                  <a:cubicBezTo>
                    <a:pt x="289" y="167"/>
                    <a:pt x="289" y="167"/>
                    <a:pt x="289" y="167"/>
                  </a:cubicBezTo>
                  <a:cubicBezTo>
                    <a:pt x="293" y="167"/>
                    <a:pt x="293" y="167"/>
                    <a:pt x="293" y="167"/>
                  </a:cubicBezTo>
                  <a:cubicBezTo>
                    <a:pt x="293" y="166"/>
                    <a:pt x="293" y="166"/>
                    <a:pt x="293" y="166"/>
                  </a:cubicBezTo>
                  <a:cubicBezTo>
                    <a:pt x="293" y="163"/>
                    <a:pt x="293" y="161"/>
                    <a:pt x="293" y="158"/>
                  </a:cubicBezTo>
                  <a:close/>
                  <a:moveTo>
                    <a:pt x="283" y="276"/>
                  </a:moveTo>
                  <a:cubicBezTo>
                    <a:pt x="286" y="278"/>
                    <a:pt x="286" y="278"/>
                    <a:pt x="286" y="278"/>
                  </a:cubicBezTo>
                  <a:cubicBezTo>
                    <a:pt x="287" y="276"/>
                    <a:pt x="289" y="273"/>
                    <a:pt x="290" y="271"/>
                  </a:cubicBezTo>
                  <a:cubicBezTo>
                    <a:pt x="286" y="269"/>
                    <a:pt x="286" y="269"/>
                    <a:pt x="286" y="269"/>
                  </a:cubicBezTo>
                  <a:cubicBezTo>
                    <a:pt x="285" y="271"/>
                    <a:pt x="284" y="274"/>
                    <a:pt x="283" y="276"/>
                  </a:cubicBezTo>
                  <a:close/>
                  <a:moveTo>
                    <a:pt x="288" y="262"/>
                  </a:moveTo>
                  <a:cubicBezTo>
                    <a:pt x="292" y="263"/>
                    <a:pt x="292" y="263"/>
                    <a:pt x="292" y="263"/>
                  </a:cubicBezTo>
                  <a:cubicBezTo>
                    <a:pt x="293" y="260"/>
                    <a:pt x="293" y="257"/>
                    <a:pt x="293" y="254"/>
                  </a:cubicBezTo>
                  <a:cubicBezTo>
                    <a:pt x="293" y="254"/>
                    <a:pt x="293" y="254"/>
                    <a:pt x="293" y="254"/>
                  </a:cubicBezTo>
                  <a:cubicBezTo>
                    <a:pt x="289" y="254"/>
                    <a:pt x="289" y="254"/>
                    <a:pt x="289" y="254"/>
                  </a:cubicBezTo>
                  <a:cubicBezTo>
                    <a:pt x="289" y="257"/>
                    <a:pt x="289" y="259"/>
                    <a:pt x="288" y="262"/>
                  </a:cubicBezTo>
                  <a:close/>
                  <a:moveTo>
                    <a:pt x="289" y="230"/>
                  </a:moveTo>
                  <a:cubicBezTo>
                    <a:pt x="293" y="230"/>
                    <a:pt x="293" y="230"/>
                    <a:pt x="293" y="230"/>
                  </a:cubicBezTo>
                  <a:cubicBezTo>
                    <a:pt x="293" y="222"/>
                    <a:pt x="293" y="222"/>
                    <a:pt x="293" y="222"/>
                  </a:cubicBezTo>
                  <a:cubicBezTo>
                    <a:pt x="289" y="222"/>
                    <a:pt x="289" y="222"/>
                    <a:pt x="289" y="222"/>
                  </a:cubicBezTo>
                  <a:lnTo>
                    <a:pt x="289" y="230"/>
                  </a:lnTo>
                  <a:close/>
                  <a:moveTo>
                    <a:pt x="289" y="246"/>
                  </a:moveTo>
                  <a:cubicBezTo>
                    <a:pt x="293" y="246"/>
                    <a:pt x="293" y="246"/>
                    <a:pt x="293" y="246"/>
                  </a:cubicBezTo>
                  <a:cubicBezTo>
                    <a:pt x="293" y="238"/>
                    <a:pt x="293" y="238"/>
                    <a:pt x="293" y="238"/>
                  </a:cubicBezTo>
                  <a:cubicBezTo>
                    <a:pt x="289" y="238"/>
                    <a:pt x="289" y="238"/>
                    <a:pt x="289" y="238"/>
                  </a:cubicBezTo>
                  <a:lnTo>
                    <a:pt x="289" y="246"/>
                  </a:lnTo>
                  <a:close/>
                  <a:moveTo>
                    <a:pt x="4" y="119"/>
                  </a:moveTo>
                  <a:cubicBezTo>
                    <a:pt x="0" y="119"/>
                    <a:pt x="0" y="119"/>
                    <a:pt x="0" y="119"/>
                  </a:cubicBezTo>
                  <a:cubicBezTo>
                    <a:pt x="0" y="127"/>
                    <a:pt x="0" y="127"/>
                    <a:pt x="0" y="127"/>
                  </a:cubicBezTo>
                  <a:cubicBezTo>
                    <a:pt x="4" y="127"/>
                    <a:pt x="4" y="127"/>
                    <a:pt x="4" y="127"/>
                  </a:cubicBezTo>
                  <a:lnTo>
                    <a:pt x="4" y="119"/>
                  </a:lnTo>
                  <a:close/>
                  <a:moveTo>
                    <a:pt x="4" y="215"/>
                  </a:moveTo>
                  <a:cubicBezTo>
                    <a:pt x="0" y="215"/>
                    <a:pt x="0" y="215"/>
                    <a:pt x="0" y="215"/>
                  </a:cubicBezTo>
                  <a:cubicBezTo>
                    <a:pt x="0" y="223"/>
                    <a:pt x="0" y="223"/>
                    <a:pt x="0" y="223"/>
                  </a:cubicBezTo>
                  <a:cubicBezTo>
                    <a:pt x="4" y="223"/>
                    <a:pt x="4" y="223"/>
                    <a:pt x="4" y="223"/>
                  </a:cubicBezTo>
                  <a:lnTo>
                    <a:pt x="4" y="215"/>
                  </a:lnTo>
                  <a:close/>
                  <a:moveTo>
                    <a:pt x="115" y="296"/>
                  </a:moveTo>
                  <a:cubicBezTo>
                    <a:pt x="123" y="296"/>
                    <a:pt x="123" y="296"/>
                    <a:pt x="123" y="296"/>
                  </a:cubicBezTo>
                  <a:cubicBezTo>
                    <a:pt x="123" y="292"/>
                    <a:pt x="123" y="292"/>
                    <a:pt x="123" y="292"/>
                  </a:cubicBezTo>
                  <a:cubicBezTo>
                    <a:pt x="115" y="292"/>
                    <a:pt x="115" y="292"/>
                    <a:pt x="115" y="292"/>
                  </a:cubicBezTo>
                  <a:lnTo>
                    <a:pt x="115" y="296"/>
                  </a:lnTo>
                  <a:close/>
                  <a:moveTo>
                    <a:pt x="4" y="247"/>
                  </a:moveTo>
                  <a:cubicBezTo>
                    <a:pt x="0" y="247"/>
                    <a:pt x="0" y="247"/>
                    <a:pt x="0" y="247"/>
                  </a:cubicBezTo>
                  <a:cubicBezTo>
                    <a:pt x="0" y="255"/>
                    <a:pt x="0" y="255"/>
                    <a:pt x="0" y="255"/>
                  </a:cubicBezTo>
                  <a:cubicBezTo>
                    <a:pt x="4" y="255"/>
                    <a:pt x="4" y="255"/>
                    <a:pt x="4" y="255"/>
                  </a:cubicBezTo>
                  <a:lnTo>
                    <a:pt x="4" y="247"/>
                  </a:lnTo>
                  <a:close/>
                  <a:moveTo>
                    <a:pt x="4" y="231"/>
                  </a:moveTo>
                  <a:cubicBezTo>
                    <a:pt x="0" y="231"/>
                    <a:pt x="0" y="231"/>
                    <a:pt x="0" y="231"/>
                  </a:cubicBezTo>
                  <a:cubicBezTo>
                    <a:pt x="0" y="239"/>
                    <a:pt x="0" y="239"/>
                    <a:pt x="0" y="239"/>
                  </a:cubicBezTo>
                  <a:cubicBezTo>
                    <a:pt x="4" y="239"/>
                    <a:pt x="4" y="239"/>
                    <a:pt x="4" y="239"/>
                  </a:cubicBezTo>
                  <a:lnTo>
                    <a:pt x="4" y="231"/>
                  </a:lnTo>
                  <a:close/>
                  <a:moveTo>
                    <a:pt x="4" y="183"/>
                  </a:moveTo>
                  <a:cubicBezTo>
                    <a:pt x="0" y="183"/>
                    <a:pt x="0" y="183"/>
                    <a:pt x="0" y="183"/>
                  </a:cubicBezTo>
                  <a:cubicBezTo>
                    <a:pt x="0" y="191"/>
                    <a:pt x="0" y="191"/>
                    <a:pt x="0" y="191"/>
                  </a:cubicBezTo>
                  <a:cubicBezTo>
                    <a:pt x="4" y="191"/>
                    <a:pt x="4" y="191"/>
                    <a:pt x="4" y="191"/>
                  </a:cubicBezTo>
                  <a:lnTo>
                    <a:pt x="4" y="183"/>
                  </a:lnTo>
                  <a:close/>
                  <a:moveTo>
                    <a:pt x="4" y="135"/>
                  </a:moveTo>
                  <a:cubicBezTo>
                    <a:pt x="0" y="135"/>
                    <a:pt x="0" y="135"/>
                    <a:pt x="0" y="135"/>
                  </a:cubicBezTo>
                  <a:cubicBezTo>
                    <a:pt x="0" y="143"/>
                    <a:pt x="0" y="143"/>
                    <a:pt x="0" y="143"/>
                  </a:cubicBezTo>
                  <a:cubicBezTo>
                    <a:pt x="4" y="143"/>
                    <a:pt x="4" y="143"/>
                    <a:pt x="4" y="143"/>
                  </a:cubicBezTo>
                  <a:lnTo>
                    <a:pt x="4" y="135"/>
                  </a:lnTo>
                  <a:close/>
                  <a:moveTo>
                    <a:pt x="4" y="104"/>
                  </a:moveTo>
                  <a:cubicBezTo>
                    <a:pt x="0" y="104"/>
                    <a:pt x="0" y="104"/>
                    <a:pt x="0" y="104"/>
                  </a:cubicBezTo>
                  <a:cubicBezTo>
                    <a:pt x="0" y="112"/>
                    <a:pt x="0" y="112"/>
                    <a:pt x="0" y="112"/>
                  </a:cubicBezTo>
                  <a:cubicBezTo>
                    <a:pt x="4" y="112"/>
                    <a:pt x="4" y="112"/>
                    <a:pt x="4" y="112"/>
                  </a:cubicBezTo>
                  <a:lnTo>
                    <a:pt x="4" y="104"/>
                  </a:lnTo>
                  <a:close/>
                  <a:moveTo>
                    <a:pt x="4" y="167"/>
                  </a:moveTo>
                  <a:cubicBezTo>
                    <a:pt x="0" y="167"/>
                    <a:pt x="0" y="167"/>
                    <a:pt x="0" y="167"/>
                  </a:cubicBezTo>
                  <a:cubicBezTo>
                    <a:pt x="0" y="175"/>
                    <a:pt x="0" y="175"/>
                    <a:pt x="0" y="175"/>
                  </a:cubicBezTo>
                  <a:cubicBezTo>
                    <a:pt x="4" y="175"/>
                    <a:pt x="4" y="175"/>
                    <a:pt x="4" y="175"/>
                  </a:cubicBezTo>
                  <a:lnTo>
                    <a:pt x="4" y="167"/>
                  </a:lnTo>
                  <a:close/>
                  <a:moveTo>
                    <a:pt x="4" y="151"/>
                  </a:moveTo>
                  <a:cubicBezTo>
                    <a:pt x="0" y="151"/>
                    <a:pt x="0" y="151"/>
                    <a:pt x="0" y="151"/>
                  </a:cubicBezTo>
                  <a:cubicBezTo>
                    <a:pt x="0" y="159"/>
                    <a:pt x="0" y="159"/>
                    <a:pt x="0" y="159"/>
                  </a:cubicBezTo>
                  <a:cubicBezTo>
                    <a:pt x="4" y="159"/>
                    <a:pt x="4" y="159"/>
                    <a:pt x="4" y="159"/>
                  </a:cubicBezTo>
                  <a:lnTo>
                    <a:pt x="4" y="151"/>
                  </a:lnTo>
                  <a:close/>
                  <a:moveTo>
                    <a:pt x="4" y="199"/>
                  </a:moveTo>
                  <a:cubicBezTo>
                    <a:pt x="0" y="199"/>
                    <a:pt x="0" y="199"/>
                    <a:pt x="0" y="199"/>
                  </a:cubicBezTo>
                  <a:cubicBezTo>
                    <a:pt x="0" y="207"/>
                    <a:pt x="0" y="207"/>
                    <a:pt x="0" y="207"/>
                  </a:cubicBezTo>
                  <a:cubicBezTo>
                    <a:pt x="4" y="207"/>
                    <a:pt x="4" y="207"/>
                    <a:pt x="4" y="207"/>
                  </a:cubicBezTo>
                  <a:lnTo>
                    <a:pt x="4" y="199"/>
                  </a:lnTo>
                  <a:close/>
                  <a:moveTo>
                    <a:pt x="51" y="296"/>
                  </a:moveTo>
                  <a:cubicBezTo>
                    <a:pt x="59" y="296"/>
                    <a:pt x="59" y="296"/>
                    <a:pt x="59" y="296"/>
                  </a:cubicBezTo>
                  <a:cubicBezTo>
                    <a:pt x="59" y="292"/>
                    <a:pt x="59" y="292"/>
                    <a:pt x="59" y="292"/>
                  </a:cubicBezTo>
                  <a:cubicBezTo>
                    <a:pt x="51" y="292"/>
                    <a:pt x="51" y="292"/>
                    <a:pt x="51" y="292"/>
                  </a:cubicBezTo>
                  <a:lnTo>
                    <a:pt x="51" y="296"/>
                  </a:lnTo>
                  <a:close/>
                  <a:moveTo>
                    <a:pt x="83" y="296"/>
                  </a:moveTo>
                  <a:cubicBezTo>
                    <a:pt x="91" y="296"/>
                    <a:pt x="91" y="296"/>
                    <a:pt x="91" y="296"/>
                  </a:cubicBezTo>
                  <a:cubicBezTo>
                    <a:pt x="91" y="292"/>
                    <a:pt x="91" y="292"/>
                    <a:pt x="91" y="292"/>
                  </a:cubicBezTo>
                  <a:cubicBezTo>
                    <a:pt x="83" y="292"/>
                    <a:pt x="83" y="292"/>
                    <a:pt x="83" y="292"/>
                  </a:cubicBezTo>
                  <a:lnTo>
                    <a:pt x="83" y="296"/>
                  </a:lnTo>
                  <a:close/>
                  <a:moveTo>
                    <a:pt x="67" y="296"/>
                  </a:moveTo>
                  <a:cubicBezTo>
                    <a:pt x="75" y="296"/>
                    <a:pt x="75" y="296"/>
                    <a:pt x="75" y="296"/>
                  </a:cubicBezTo>
                  <a:cubicBezTo>
                    <a:pt x="75" y="292"/>
                    <a:pt x="75" y="292"/>
                    <a:pt x="75" y="292"/>
                  </a:cubicBezTo>
                  <a:cubicBezTo>
                    <a:pt x="67" y="292"/>
                    <a:pt x="67" y="292"/>
                    <a:pt x="67" y="292"/>
                  </a:cubicBezTo>
                  <a:lnTo>
                    <a:pt x="67" y="296"/>
                  </a:lnTo>
                  <a:close/>
                  <a:moveTo>
                    <a:pt x="99" y="296"/>
                  </a:moveTo>
                  <a:cubicBezTo>
                    <a:pt x="107" y="296"/>
                    <a:pt x="107" y="296"/>
                    <a:pt x="107" y="296"/>
                  </a:cubicBezTo>
                  <a:cubicBezTo>
                    <a:pt x="107" y="292"/>
                    <a:pt x="107" y="292"/>
                    <a:pt x="107" y="292"/>
                  </a:cubicBezTo>
                  <a:cubicBezTo>
                    <a:pt x="99" y="292"/>
                    <a:pt x="99" y="292"/>
                    <a:pt x="99" y="292"/>
                  </a:cubicBezTo>
                  <a:lnTo>
                    <a:pt x="99" y="296"/>
                  </a:lnTo>
                  <a:close/>
                  <a:moveTo>
                    <a:pt x="20" y="290"/>
                  </a:moveTo>
                  <a:cubicBezTo>
                    <a:pt x="22" y="291"/>
                    <a:pt x="24" y="293"/>
                    <a:pt x="27" y="294"/>
                  </a:cubicBezTo>
                  <a:cubicBezTo>
                    <a:pt x="28" y="290"/>
                    <a:pt x="28" y="290"/>
                    <a:pt x="28" y="290"/>
                  </a:cubicBezTo>
                  <a:cubicBezTo>
                    <a:pt x="26" y="289"/>
                    <a:pt x="24" y="288"/>
                    <a:pt x="22" y="286"/>
                  </a:cubicBezTo>
                  <a:lnTo>
                    <a:pt x="20" y="290"/>
                  </a:lnTo>
                  <a:close/>
                  <a:moveTo>
                    <a:pt x="7" y="278"/>
                  </a:moveTo>
                  <a:cubicBezTo>
                    <a:pt x="9" y="281"/>
                    <a:pt x="11" y="283"/>
                    <a:pt x="13" y="285"/>
                  </a:cubicBezTo>
                  <a:cubicBezTo>
                    <a:pt x="16" y="282"/>
                    <a:pt x="16" y="282"/>
                    <a:pt x="16" y="282"/>
                  </a:cubicBezTo>
                  <a:cubicBezTo>
                    <a:pt x="14" y="280"/>
                    <a:pt x="12" y="278"/>
                    <a:pt x="11" y="276"/>
                  </a:cubicBezTo>
                  <a:lnTo>
                    <a:pt x="7" y="278"/>
                  </a:lnTo>
                  <a:close/>
                  <a:moveTo>
                    <a:pt x="36" y="292"/>
                  </a:moveTo>
                  <a:cubicBezTo>
                    <a:pt x="35" y="296"/>
                    <a:pt x="35" y="296"/>
                    <a:pt x="35" y="296"/>
                  </a:cubicBezTo>
                  <a:cubicBezTo>
                    <a:pt x="37" y="296"/>
                    <a:pt x="40" y="296"/>
                    <a:pt x="42" y="296"/>
                  </a:cubicBezTo>
                  <a:cubicBezTo>
                    <a:pt x="43" y="296"/>
                    <a:pt x="43" y="296"/>
                    <a:pt x="43" y="296"/>
                  </a:cubicBezTo>
                  <a:cubicBezTo>
                    <a:pt x="43" y="292"/>
                    <a:pt x="43" y="292"/>
                    <a:pt x="43" y="292"/>
                  </a:cubicBezTo>
                  <a:cubicBezTo>
                    <a:pt x="42" y="292"/>
                    <a:pt x="42" y="292"/>
                    <a:pt x="42" y="292"/>
                  </a:cubicBezTo>
                  <a:cubicBezTo>
                    <a:pt x="40" y="292"/>
                    <a:pt x="38" y="292"/>
                    <a:pt x="36" y="292"/>
                  </a:cubicBezTo>
                  <a:close/>
                  <a:moveTo>
                    <a:pt x="1" y="263"/>
                  </a:moveTo>
                  <a:cubicBezTo>
                    <a:pt x="1" y="266"/>
                    <a:pt x="2" y="269"/>
                    <a:pt x="3" y="271"/>
                  </a:cubicBezTo>
                  <a:cubicBezTo>
                    <a:pt x="7" y="269"/>
                    <a:pt x="7" y="269"/>
                    <a:pt x="7" y="269"/>
                  </a:cubicBezTo>
                  <a:cubicBezTo>
                    <a:pt x="6" y="267"/>
                    <a:pt x="5" y="265"/>
                    <a:pt x="5" y="262"/>
                  </a:cubicBezTo>
                  <a:lnTo>
                    <a:pt x="1" y="26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65" name="Group 64"/>
          <p:cNvGrpSpPr/>
          <p:nvPr/>
        </p:nvGrpSpPr>
        <p:grpSpPr>
          <a:xfrm>
            <a:off x="1275091" y="3765266"/>
            <a:ext cx="1785007" cy="685800"/>
            <a:chOff x="1699678" y="4860859"/>
            <a:chExt cx="2379390" cy="914400"/>
          </a:xfrm>
        </p:grpSpPr>
        <p:sp>
          <p:nvSpPr>
            <p:cNvPr id="66" name="Freeform 65"/>
            <p:cNvSpPr/>
            <p:nvPr/>
          </p:nvSpPr>
          <p:spPr>
            <a:xfrm>
              <a:off x="1699678" y="4860859"/>
              <a:ext cx="2379390"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685609" fontAlgn="base">
                <a:spcBef>
                  <a:spcPct val="0"/>
                </a:spcBef>
                <a:spcAft>
                  <a:spcPct val="0"/>
                </a:spcAft>
              </a:pPr>
              <a:endParaRPr lang="en-US" sz="1500" dirty="0">
                <a:gradFill>
                  <a:gsLst>
                    <a:gs pos="0">
                      <a:srgbClr val="FFFFFF"/>
                    </a:gs>
                    <a:gs pos="100000">
                      <a:srgbClr val="FFFFFF"/>
                    </a:gs>
                  </a:gsLst>
                  <a:lin ang="5400000" scaled="0"/>
                </a:gradFill>
              </a:endParaRPr>
            </a:p>
          </p:txBody>
        </p:sp>
        <p:grpSp>
          <p:nvGrpSpPr>
            <p:cNvPr id="67" name="Group 66"/>
            <p:cNvGrpSpPr/>
            <p:nvPr/>
          </p:nvGrpSpPr>
          <p:grpSpPr>
            <a:xfrm>
              <a:off x="2496910" y="4922508"/>
              <a:ext cx="784927" cy="791107"/>
              <a:chOff x="2361279" y="4922508"/>
              <a:chExt cx="784927" cy="791107"/>
            </a:xfrm>
          </p:grpSpPr>
          <p:sp>
            <p:nvSpPr>
              <p:cNvPr id="68" name="Freeform 17"/>
              <p:cNvSpPr>
                <a:spLocks noChangeAspect="1" noEditPoints="1"/>
              </p:cNvSpPr>
              <p:nvPr/>
            </p:nvSpPr>
            <p:spPr bwMode="auto">
              <a:xfrm>
                <a:off x="2361279" y="4922508"/>
                <a:ext cx="386858" cy="390210"/>
              </a:xfrm>
              <a:custGeom>
                <a:avLst/>
                <a:gdLst>
                  <a:gd name="T0" fmla="*/ 57 w 293"/>
                  <a:gd name="T1" fmla="*/ 195 h 296"/>
                  <a:gd name="T2" fmla="*/ 112 w 293"/>
                  <a:gd name="T3" fmla="*/ 187 h 296"/>
                  <a:gd name="T4" fmla="*/ 229 w 293"/>
                  <a:gd name="T5" fmla="*/ 213 h 296"/>
                  <a:gd name="T6" fmla="*/ 44 w 293"/>
                  <a:gd name="T7" fmla="*/ 120 h 296"/>
                  <a:gd name="T8" fmla="*/ 61 w 293"/>
                  <a:gd name="T9" fmla="*/ 101 h 296"/>
                  <a:gd name="T10" fmla="*/ 44 w 293"/>
                  <a:gd name="T11" fmla="*/ 217 h 296"/>
                  <a:gd name="T12" fmla="*/ 52 w 293"/>
                  <a:gd name="T13" fmla="*/ 236 h 296"/>
                  <a:gd name="T14" fmla="*/ 183 w 293"/>
                  <a:gd name="T15" fmla="*/ 236 h 296"/>
                  <a:gd name="T16" fmla="*/ 223 w 293"/>
                  <a:gd name="T17" fmla="*/ 244 h 296"/>
                  <a:gd name="T18" fmla="*/ 229 w 293"/>
                  <a:gd name="T19" fmla="*/ 179 h 296"/>
                  <a:gd name="T20" fmla="*/ 223 w 293"/>
                  <a:gd name="T21" fmla="*/ 143 h 296"/>
                  <a:gd name="T22" fmla="*/ 32 w 293"/>
                  <a:gd name="T23" fmla="*/ 139 h 296"/>
                  <a:gd name="T24" fmla="*/ 56 w 293"/>
                  <a:gd name="T25" fmla="*/ 142 h 296"/>
                  <a:gd name="T26" fmla="*/ 179 w 293"/>
                  <a:gd name="T27" fmla="*/ 150 h 296"/>
                  <a:gd name="T28" fmla="*/ 57 w 293"/>
                  <a:gd name="T29" fmla="*/ 60 h 296"/>
                  <a:gd name="T30" fmla="*/ 112 w 293"/>
                  <a:gd name="T31" fmla="*/ 52 h 296"/>
                  <a:gd name="T32" fmla="*/ 261 w 293"/>
                  <a:gd name="T33" fmla="*/ 194 h 296"/>
                  <a:gd name="T34" fmla="*/ 277 w 293"/>
                  <a:gd name="T35" fmla="*/ 147 h 296"/>
                  <a:gd name="T36" fmla="*/ 246 w 293"/>
                  <a:gd name="T37" fmla="*/ 279 h 296"/>
                  <a:gd name="T38" fmla="*/ 261 w 293"/>
                  <a:gd name="T39" fmla="*/ 254 h 296"/>
                  <a:gd name="T40" fmla="*/ 223 w 293"/>
                  <a:gd name="T41" fmla="*/ 87 h 296"/>
                  <a:gd name="T42" fmla="*/ 253 w 293"/>
                  <a:gd name="T43" fmla="*/ 254 h 296"/>
                  <a:gd name="T44" fmla="*/ 79 w 293"/>
                  <a:gd name="T45" fmla="*/ 272 h 296"/>
                  <a:gd name="T46" fmla="*/ 43 w 293"/>
                  <a:gd name="T47" fmla="*/ 23 h 296"/>
                  <a:gd name="T48" fmla="*/ 226 w 293"/>
                  <a:gd name="T49" fmla="*/ 109 h 296"/>
                  <a:gd name="T50" fmla="*/ 4 w 293"/>
                  <a:gd name="T51" fmla="*/ 96 h 296"/>
                  <a:gd name="T52" fmla="*/ 61 w 293"/>
                  <a:gd name="T53" fmla="*/ 4 h 296"/>
                  <a:gd name="T54" fmla="*/ 4 w 293"/>
                  <a:gd name="T55" fmla="*/ 24 h 296"/>
                  <a:gd name="T56" fmla="*/ 69 w 293"/>
                  <a:gd name="T57" fmla="*/ 0 h 296"/>
                  <a:gd name="T58" fmla="*/ 0 w 293"/>
                  <a:gd name="T59" fmla="*/ 56 h 296"/>
                  <a:gd name="T60" fmla="*/ 4 w 293"/>
                  <a:gd name="T61" fmla="*/ 42 h 296"/>
                  <a:gd name="T62" fmla="*/ 4 w 293"/>
                  <a:gd name="T63" fmla="*/ 72 h 296"/>
                  <a:gd name="T64" fmla="*/ 109 w 293"/>
                  <a:gd name="T65" fmla="*/ 0 h 296"/>
                  <a:gd name="T66" fmla="*/ 259 w 293"/>
                  <a:gd name="T67" fmla="*/ 61 h 296"/>
                  <a:gd name="T68" fmla="*/ 274 w 293"/>
                  <a:gd name="T69" fmla="*/ 89 h 296"/>
                  <a:gd name="T70" fmla="*/ 243 w 293"/>
                  <a:gd name="T71" fmla="*/ 33 h 296"/>
                  <a:gd name="T72" fmla="*/ 205 w 293"/>
                  <a:gd name="T73" fmla="*/ 4 h 296"/>
                  <a:gd name="T74" fmla="*/ 172 w 293"/>
                  <a:gd name="T75" fmla="*/ 0 h 296"/>
                  <a:gd name="T76" fmla="*/ 210 w 293"/>
                  <a:gd name="T77" fmla="*/ 11 h 296"/>
                  <a:gd name="T78" fmla="*/ 291 w 293"/>
                  <a:gd name="T79" fmla="*/ 142 h 296"/>
                  <a:gd name="T80" fmla="*/ 234 w 293"/>
                  <a:gd name="T81" fmla="*/ 292 h 296"/>
                  <a:gd name="T82" fmla="*/ 218 w 293"/>
                  <a:gd name="T83" fmla="*/ 292 h 296"/>
                  <a:gd name="T84" fmla="*/ 171 w 293"/>
                  <a:gd name="T85" fmla="*/ 292 h 296"/>
                  <a:gd name="T86" fmla="*/ 203 w 293"/>
                  <a:gd name="T87" fmla="*/ 292 h 296"/>
                  <a:gd name="T88" fmla="*/ 281 w 293"/>
                  <a:gd name="T89" fmla="*/ 284 h 296"/>
                  <a:gd name="T90" fmla="*/ 293 w 293"/>
                  <a:gd name="T91" fmla="*/ 175 h 296"/>
                  <a:gd name="T92" fmla="*/ 282 w 293"/>
                  <a:gd name="T93" fmla="*/ 120 h 296"/>
                  <a:gd name="T94" fmla="*/ 283 w 293"/>
                  <a:gd name="T95" fmla="*/ 276 h 296"/>
                  <a:gd name="T96" fmla="*/ 288 w 293"/>
                  <a:gd name="T97" fmla="*/ 262 h 296"/>
                  <a:gd name="T98" fmla="*/ 289 w 293"/>
                  <a:gd name="T99" fmla="*/ 246 h 296"/>
                  <a:gd name="T100" fmla="*/ 4 w 293"/>
                  <a:gd name="T101" fmla="*/ 215 h 296"/>
                  <a:gd name="T102" fmla="*/ 4 w 293"/>
                  <a:gd name="T103" fmla="*/ 247 h 296"/>
                  <a:gd name="T104" fmla="*/ 4 w 293"/>
                  <a:gd name="T105" fmla="*/ 183 h 296"/>
                  <a:gd name="T106" fmla="*/ 4 w 293"/>
                  <a:gd name="T107" fmla="*/ 104 h 296"/>
                  <a:gd name="T108" fmla="*/ 4 w 293"/>
                  <a:gd name="T109" fmla="*/ 151 h 296"/>
                  <a:gd name="T110" fmla="*/ 51 w 293"/>
                  <a:gd name="T111" fmla="*/ 296 h 296"/>
                  <a:gd name="T112" fmla="*/ 67 w 293"/>
                  <a:gd name="T113" fmla="*/ 296 h 296"/>
                  <a:gd name="T114" fmla="*/ 20 w 293"/>
                  <a:gd name="T115" fmla="*/ 290 h 296"/>
                  <a:gd name="T116" fmla="*/ 43 w 293"/>
                  <a:gd name="T117" fmla="*/ 29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3" h="296">
                    <a:moveTo>
                      <a:pt x="187" y="172"/>
                    </a:moveTo>
                    <a:cubicBezTo>
                      <a:pt x="44" y="172"/>
                      <a:pt x="44" y="172"/>
                      <a:pt x="44" y="172"/>
                    </a:cubicBezTo>
                    <a:cubicBezTo>
                      <a:pt x="38" y="172"/>
                      <a:pt x="32" y="178"/>
                      <a:pt x="32" y="184"/>
                    </a:cubicBezTo>
                    <a:cubicBezTo>
                      <a:pt x="32" y="198"/>
                      <a:pt x="32" y="198"/>
                      <a:pt x="32" y="198"/>
                    </a:cubicBezTo>
                    <a:cubicBezTo>
                      <a:pt x="32" y="205"/>
                      <a:pt x="38" y="210"/>
                      <a:pt x="44" y="210"/>
                    </a:cubicBezTo>
                    <a:cubicBezTo>
                      <a:pt x="187" y="210"/>
                      <a:pt x="187" y="210"/>
                      <a:pt x="187" y="210"/>
                    </a:cubicBezTo>
                    <a:cubicBezTo>
                      <a:pt x="194" y="210"/>
                      <a:pt x="199" y="205"/>
                      <a:pt x="199" y="198"/>
                    </a:cubicBezTo>
                    <a:cubicBezTo>
                      <a:pt x="199" y="184"/>
                      <a:pt x="199" y="184"/>
                      <a:pt x="199" y="184"/>
                    </a:cubicBezTo>
                    <a:cubicBezTo>
                      <a:pt x="199" y="178"/>
                      <a:pt x="194" y="172"/>
                      <a:pt x="187" y="172"/>
                    </a:cubicBezTo>
                    <a:close/>
                    <a:moveTo>
                      <a:pt x="57" y="195"/>
                    </a:moveTo>
                    <a:cubicBezTo>
                      <a:pt x="56" y="195"/>
                      <a:pt x="56" y="195"/>
                      <a:pt x="56" y="195"/>
                    </a:cubicBezTo>
                    <a:cubicBezTo>
                      <a:pt x="54" y="195"/>
                      <a:pt x="52" y="193"/>
                      <a:pt x="52" y="191"/>
                    </a:cubicBezTo>
                    <a:cubicBezTo>
                      <a:pt x="52" y="189"/>
                      <a:pt x="54" y="187"/>
                      <a:pt x="56" y="187"/>
                    </a:cubicBezTo>
                    <a:cubicBezTo>
                      <a:pt x="57" y="187"/>
                      <a:pt x="57" y="187"/>
                      <a:pt x="57" y="187"/>
                    </a:cubicBezTo>
                    <a:cubicBezTo>
                      <a:pt x="59" y="187"/>
                      <a:pt x="61" y="189"/>
                      <a:pt x="61" y="191"/>
                    </a:cubicBezTo>
                    <a:cubicBezTo>
                      <a:pt x="61" y="193"/>
                      <a:pt x="59" y="195"/>
                      <a:pt x="57" y="195"/>
                    </a:cubicBezTo>
                    <a:close/>
                    <a:moveTo>
                      <a:pt x="179" y="195"/>
                    </a:moveTo>
                    <a:cubicBezTo>
                      <a:pt x="112" y="195"/>
                      <a:pt x="112" y="195"/>
                      <a:pt x="112" y="195"/>
                    </a:cubicBezTo>
                    <a:cubicBezTo>
                      <a:pt x="110" y="195"/>
                      <a:pt x="108" y="193"/>
                      <a:pt x="108" y="191"/>
                    </a:cubicBezTo>
                    <a:cubicBezTo>
                      <a:pt x="108" y="189"/>
                      <a:pt x="110" y="187"/>
                      <a:pt x="112" y="187"/>
                    </a:cubicBezTo>
                    <a:cubicBezTo>
                      <a:pt x="179" y="187"/>
                      <a:pt x="179" y="187"/>
                      <a:pt x="179" y="187"/>
                    </a:cubicBezTo>
                    <a:cubicBezTo>
                      <a:pt x="181" y="187"/>
                      <a:pt x="183" y="189"/>
                      <a:pt x="183" y="191"/>
                    </a:cubicBezTo>
                    <a:cubicBezTo>
                      <a:pt x="183" y="193"/>
                      <a:pt x="181" y="195"/>
                      <a:pt x="179" y="195"/>
                    </a:cubicBezTo>
                    <a:close/>
                    <a:moveTo>
                      <a:pt x="241" y="218"/>
                    </a:moveTo>
                    <a:cubicBezTo>
                      <a:pt x="241" y="208"/>
                      <a:pt x="241" y="208"/>
                      <a:pt x="241" y="208"/>
                    </a:cubicBezTo>
                    <a:cubicBezTo>
                      <a:pt x="241" y="203"/>
                      <a:pt x="237" y="199"/>
                      <a:pt x="232" y="199"/>
                    </a:cubicBezTo>
                    <a:cubicBezTo>
                      <a:pt x="223" y="199"/>
                      <a:pt x="223" y="199"/>
                      <a:pt x="223" y="199"/>
                    </a:cubicBezTo>
                    <a:cubicBezTo>
                      <a:pt x="223" y="210"/>
                      <a:pt x="223" y="210"/>
                      <a:pt x="223" y="210"/>
                    </a:cubicBezTo>
                    <a:cubicBezTo>
                      <a:pt x="226" y="210"/>
                      <a:pt x="226" y="210"/>
                      <a:pt x="226" y="210"/>
                    </a:cubicBezTo>
                    <a:cubicBezTo>
                      <a:pt x="228" y="210"/>
                      <a:pt x="229" y="212"/>
                      <a:pt x="229" y="213"/>
                    </a:cubicBezTo>
                    <a:cubicBezTo>
                      <a:pt x="229" y="215"/>
                      <a:pt x="228" y="216"/>
                      <a:pt x="226" y="216"/>
                    </a:cubicBezTo>
                    <a:cubicBezTo>
                      <a:pt x="223" y="216"/>
                      <a:pt x="223" y="216"/>
                      <a:pt x="223" y="216"/>
                    </a:cubicBezTo>
                    <a:cubicBezTo>
                      <a:pt x="223" y="227"/>
                      <a:pt x="223" y="227"/>
                      <a:pt x="223" y="227"/>
                    </a:cubicBezTo>
                    <a:cubicBezTo>
                      <a:pt x="232" y="227"/>
                      <a:pt x="232" y="227"/>
                      <a:pt x="232" y="227"/>
                    </a:cubicBezTo>
                    <a:cubicBezTo>
                      <a:pt x="237" y="227"/>
                      <a:pt x="241" y="223"/>
                      <a:pt x="241" y="218"/>
                    </a:cubicBezTo>
                    <a:close/>
                    <a:moveTo>
                      <a:pt x="187" y="82"/>
                    </a:moveTo>
                    <a:cubicBezTo>
                      <a:pt x="44" y="82"/>
                      <a:pt x="44" y="82"/>
                      <a:pt x="44" y="82"/>
                    </a:cubicBezTo>
                    <a:cubicBezTo>
                      <a:pt x="38" y="82"/>
                      <a:pt x="32" y="88"/>
                      <a:pt x="32" y="94"/>
                    </a:cubicBezTo>
                    <a:cubicBezTo>
                      <a:pt x="32" y="108"/>
                      <a:pt x="32" y="108"/>
                      <a:pt x="32" y="108"/>
                    </a:cubicBezTo>
                    <a:cubicBezTo>
                      <a:pt x="32" y="115"/>
                      <a:pt x="38" y="120"/>
                      <a:pt x="44" y="120"/>
                    </a:cubicBezTo>
                    <a:cubicBezTo>
                      <a:pt x="187" y="120"/>
                      <a:pt x="187" y="120"/>
                      <a:pt x="187" y="120"/>
                    </a:cubicBezTo>
                    <a:cubicBezTo>
                      <a:pt x="194" y="120"/>
                      <a:pt x="199" y="115"/>
                      <a:pt x="199" y="108"/>
                    </a:cubicBezTo>
                    <a:cubicBezTo>
                      <a:pt x="199" y="94"/>
                      <a:pt x="199" y="94"/>
                      <a:pt x="199" y="94"/>
                    </a:cubicBezTo>
                    <a:cubicBezTo>
                      <a:pt x="199" y="88"/>
                      <a:pt x="194" y="82"/>
                      <a:pt x="187" y="82"/>
                    </a:cubicBezTo>
                    <a:close/>
                    <a:moveTo>
                      <a:pt x="57" y="105"/>
                    </a:moveTo>
                    <a:cubicBezTo>
                      <a:pt x="56" y="105"/>
                      <a:pt x="56" y="105"/>
                      <a:pt x="56" y="105"/>
                    </a:cubicBezTo>
                    <a:cubicBezTo>
                      <a:pt x="54" y="105"/>
                      <a:pt x="52" y="103"/>
                      <a:pt x="52" y="101"/>
                    </a:cubicBezTo>
                    <a:cubicBezTo>
                      <a:pt x="52" y="99"/>
                      <a:pt x="54" y="97"/>
                      <a:pt x="56" y="97"/>
                    </a:cubicBezTo>
                    <a:cubicBezTo>
                      <a:pt x="57" y="97"/>
                      <a:pt x="57" y="97"/>
                      <a:pt x="57" y="97"/>
                    </a:cubicBezTo>
                    <a:cubicBezTo>
                      <a:pt x="59" y="97"/>
                      <a:pt x="61" y="99"/>
                      <a:pt x="61" y="101"/>
                    </a:cubicBezTo>
                    <a:cubicBezTo>
                      <a:pt x="61" y="103"/>
                      <a:pt x="59" y="105"/>
                      <a:pt x="57" y="105"/>
                    </a:cubicBezTo>
                    <a:close/>
                    <a:moveTo>
                      <a:pt x="179" y="105"/>
                    </a:moveTo>
                    <a:cubicBezTo>
                      <a:pt x="112" y="105"/>
                      <a:pt x="112" y="105"/>
                      <a:pt x="112" y="105"/>
                    </a:cubicBezTo>
                    <a:cubicBezTo>
                      <a:pt x="110" y="105"/>
                      <a:pt x="108" y="103"/>
                      <a:pt x="108" y="101"/>
                    </a:cubicBezTo>
                    <a:cubicBezTo>
                      <a:pt x="108" y="99"/>
                      <a:pt x="110" y="97"/>
                      <a:pt x="112" y="97"/>
                    </a:cubicBezTo>
                    <a:cubicBezTo>
                      <a:pt x="179" y="97"/>
                      <a:pt x="179" y="97"/>
                      <a:pt x="179" y="97"/>
                    </a:cubicBezTo>
                    <a:cubicBezTo>
                      <a:pt x="181" y="97"/>
                      <a:pt x="183" y="99"/>
                      <a:pt x="183" y="101"/>
                    </a:cubicBezTo>
                    <a:cubicBezTo>
                      <a:pt x="183" y="103"/>
                      <a:pt x="181" y="105"/>
                      <a:pt x="179" y="105"/>
                    </a:cubicBezTo>
                    <a:close/>
                    <a:moveTo>
                      <a:pt x="187" y="217"/>
                    </a:moveTo>
                    <a:cubicBezTo>
                      <a:pt x="44" y="217"/>
                      <a:pt x="44" y="217"/>
                      <a:pt x="44" y="217"/>
                    </a:cubicBezTo>
                    <a:cubicBezTo>
                      <a:pt x="38" y="217"/>
                      <a:pt x="32" y="223"/>
                      <a:pt x="32" y="229"/>
                    </a:cubicBezTo>
                    <a:cubicBezTo>
                      <a:pt x="32" y="243"/>
                      <a:pt x="32" y="243"/>
                      <a:pt x="32" y="243"/>
                    </a:cubicBezTo>
                    <a:cubicBezTo>
                      <a:pt x="32" y="250"/>
                      <a:pt x="38" y="255"/>
                      <a:pt x="44" y="255"/>
                    </a:cubicBezTo>
                    <a:cubicBezTo>
                      <a:pt x="187" y="255"/>
                      <a:pt x="187" y="255"/>
                      <a:pt x="187" y="255"/>
                    </a:cubicBezTo>
                    <a:cubicBezTo>
                      <a:pt x="194" y="255"/>
                      <a:pt x="199" y="250"/>
                      <a:pt x="199" y="243"/>
                    </a:cubicBezTo>
                    <a:cubicBezTo>
                      <a:pt x="199" y="229"/>
                      <a:pt x="199" y="229"/>
                      <a:pt x="199" y="229"/>
                    </a:cubicBezTo>
                    <a:cubicBezTo>
                      <a:pt x="199" y="223"/>
                      <a:pt x="194" y="217"/>
                      <a:pt x="187" y="217"/>
                    </a:cubicBezTo>
                    <a:close/>
                    <a:moveTo>
                      <a:pt x="57" y="240"/>
                    </a:moveTo>
                    <a:cubicBezTo>
                      <a:pt x="56" y="240"/>
                      <a:pt x="56" y="240"/>
                      <a:pt x="56" y="240"/>
                    </a:cubicBezTo>
                    <a:cubicBezTo>
                      <a:pt x="54" y="240"/>
                      <a:pt x="52" y="238"/>
                      <a:pt x="52" y="236"/>
                    </a:cubicBezTo>
                    <a:cubicBezTo>
                      <a:pt x="52" y="234"/>
                      <a:pt x="54" y="232"/>
                      <a:pt x="56" y="232"/>
                    </a:cubicBezTo>
                    <a:cubicBezTo>
                      <a:pt x="57" y="232"/>
                      <a:pt x="57" y="232"/>
                      <a:pt x="57" y="232"/>
                    </a:cubicBezTo>
                    <a:cubicBezTo>
                      <a:pt x="59" y="232"/>
                      <a:pt x="61" y="234"/>
                      <a:pt x="61" y="236"/>
                    </a:cubicBezTo>
                    <a:cubicBezTo>
                      <a:pt x="61" y="238"/>
                      <a:pt x="59" y="240"/>
                      <a:pt x="57" y="240"/>
                    </a:cubicBezTo>
                    <a:close/>
                    <a:moveTo>
                      <a:pt x="179" y="240"/>
                    </a:moveTo>
                    <a:cubicBezTo>
                      <a:pt x="112" y="240"/>
                      <a:pt x="112" y="240"/>
                      <a:pt x="112" y="240"/>
                    </a:cubicBezTo>
                    <a:cubicBezTo>
                      <a:pt x="110" y="240"/>
                      <a:pt x="108" y="238"/>
                      <a:pt x="108" y="236"/>
                    </a:cubicBezTo>
                    <a:cubicBezTo>
                      <a:pt x="108" y="234"/>
                      <a:pt x="110" y="232"/>
                      <a:pt x="112" y="232"/>
                    </a:cubicBezTo>
                    <a:cubicBezTo>
                      <a:pt x="179" y="232"/>
                      <a:pt x="179" y="232"/>
                      <a:pt x="179" y="232"/>
                    </a:cubicBezTo>
                    <a:cubicBezTo>
                      <a:pt x="181" y="232"/>
                      <a:pt x="183" y="234"/>
                      <a:pt x="183" y="236"/>
                    </a:cubicBezTo>
                    <a:cubicBezTo>
                      <a:pt x="183" y="238"/>
                      <a:pt x="181" y="240"/>
                      <a:pt x="179" y="240"/>
                    </a:cubicBezTo>
                    <a:close/>
                    <a:moveTo>
                      <a:pt x="226" y="250"/>
                    </a:moveTo>
                    <a:cubicBezTo>
                      <a:pt x="223" y="250"/>
                      <a:pt x="223" y="250"/>
                      <a:pt x="223" y="250"/>
                    </a:cubicBezTo>
                    <a:cubicBezTo>
                      <a:pt x="222" y="254"/>
                      <a:pt x="221" y="258"/>
                      <a:pt x="219" y="261"/>
                    </a:cubicBezTo>
                    <a:cubicBezTo>
                      <a:pt x="232" y="261"/>
                      <a:pt x="232" y="261"/>
                      <a:pt x="232" y="261"/>
                    </a:cubicBezTo>
                    <a:cubicBezTo>
                      <a:pt x="237" y="261"/>
                      <a:pt x="241" y="257"/>
                      <a:pt x="241" y="252"/>
                    </a:cubicBezTo>
                    <a:cubicBezTo>
                      <a:pt x="241" y="242"/>
                      <a:pt x="241" y="242"/>
                      <a:pt x="241" y="242"/>
                    </a:cubicBezTo>
                    <a:cubicBezTo>
                      <a:pt x="241" y="237"/>
                      <a:pt x="237" y="233"/>
                      <a:pt x="232" y="233"/>
                    </a:cubicBezTo>
                    <a:cubicBezTo>
                      <a:pt x="223" y="233"/>
                      <a:pt x="223" y="233"/>
                      <a:pt x="223" y="233"/>
                    </a:cubicBezTo>
                    <a:cubicBezTo>
                      <a:pt x="223" y="244"/>
                      <a:pt x="223" y="244"/>
                      <a:pt x="223" y="244"/>
                    </a:cubicBezTo>
                    <a:cubicBezTo>
                      <a:pt x="226" y="244"/>
                      <a:pt x="226" y="244"/>
                      <a:pt x="226" y="244"/>
                    </a:cubicBezTo>
                    <a:cubicBezTo>
                      <a:pt x="228" y="244"/>
                      <a:pt x="229" y="245"/>
                      <a:pt x="229" y="247"/>
                    </a:cubicBezTo>
                    <a:cubicBezTo>
                      <a:pt x="229" y="249"/>
                      <a:pt x="228" y="250"/>
                      <a:pt x="226" y="250"/>
                    </a:cubicBezTo>
                    <a:close/>
                    <a:moveTo>
                      <a:pt x="241" y="185"/>
                    </a:moveTo>
                    <a:cubicBezTo>
                      <a:pt x="241" y="174"/>
                      <a:pt x="241" y="174"/>
                      <a:pt x="241" y="174"/>
                    </a:cubicBezTo>
                    <a:cubicBezTo>
                      <a:pt x="241" y="169"/>
                      <a:pt x="237" y="165"/>
                      <a:pt x="232" y="165"/>
                    </a:cubicBezTo>
                    <a:cubicBezTo>
                      <a:pt x="223" y="165"/>
                      <a:pt x="223" y="165"/>
                      <a:pt x="223" y="165"/>
                    </a:cubicBezTo>
                    <a:cubicBezTo>
                      <a:pt x="223" y="176"/>
                      <a:pt x="223" y="176"/>
                      <a:pt x="223" y="176"/>
                    </a:cubicBezTo>
                    <a:cubicBezTo>
                      <a:pt x="226" y="176"/>
                      <a:pt x="226" y="176"/>
                      <a:pt x="226" y="176"/>
                    </a:cubicBezTo>
                    <a:cubicBezTo>
                      <a:pt x="228" y="176"/>
                      <a:pt x="229" y="178"/>
                      <a:pt x="229" y="179"/>
                    </a:cubicBezTo>
                    <a:cubicBezTo>
                      <a:pt x="229" y="181"/>
                      <a:pt x="228" y="182"/>
                      <a:pt x="226" y="182"/>
                    </a:cubicBezTo>
                    <a:cubicBezTo>
                      <a:pt x="223" y="182"/>
                      <a:pt x="223" y="182"/>
                      <a:pt x="223" y="182"/>
                    </a:cubicBezTo>
                    <a:cubicBezTo>
                      <a:pt x="223" y="194"/>
                      <a:pt x="223" y="194"/>
                      <a:pt x="223" y="194"/>
                    </a:cubicBezTo>
                    <a:cubicBezTo>
                      <a:pt x="232" y="194"/>
                      <a:pt x="232" y="194"/>
                      <a:pt x="232" y="194"/>
                    </a:cubicBezTo>
                    <a:cubicBezTo>
                      <a:pt x="237" y="194"/>
                      <a:pt x="241" y="190"/>
                      <a:pt x="241" y="185"/>
                    </a:cubicBezTo>
                    <a:close/>
                    <a:moveTo>
                      <a:pt x="241" y="151"/>
                    </a:moveTo>
                    <a:cubicBezTo>
                      <a:pt x="241" y="141"/>
                      <a:pt x="241" y="141"/>
                      <a:pt x="241" y="141"/>
                    </a:cubicBezTo>
                    <a:cubicBezTo>
                      <a:pt x="241" y="136"/>
                      <a:pt x="237" y="132"/>
                      <a:pt x="232" y="132"/>
                    </a:cubicBezTo>
                    <a:cubicBezTo>
                      <a:pt x="223" y="132"/>
                      <a:pt x="223" y="132"/>
                      <a:pt x="223" y="132"/>
                    </a:cubicBezTo>
                    <a:cubicBezTo>
                      <a:pt x="223" y="143"/>
                      <a:pt x="223" y="143"/>
                      <a:pt x="223" y="143"/>
                    </a:cubicBezTo>
                    <a:cubicBezTo>
                      <a:pt x="226" y="143"/>
                      <a:pt x="226" y="143"/>
                      <a:pt x="226" y="143"/>
                    </a:cubicBezTo>
                    <a:cubicBezTo>
                      <a:pt x="228" y="143"/>
                      <a:pt x="229" y="144"/>
                      <a:pt x="229" y="146"/>
                    </a:cubicBezTo>
                    <a:cubicBezTo>
                      <a:pt x="229" y="147"/>
                      <a:pt x="228" y="149"/>
                      <a:pt x="226" y="149"/>
                    </a:cubicBezTo>
                    <a:cubicBezTo>
                      <a:pt x="223" y="149"/>
                      <a:pt x="223" y="149"/>
                      <a:pt x="223" y="149"/>
                    </a:cubicBezTo>
                    <a:cubicBezTo>
                      <a:pt x="223" y="160"/>
                      <a:pt x="223" y="160"/>
                      <a:pt x="223" y="160"/>
                    </a:cubicBezTo>
                    <a:cubicBezTo>
                      <a:pt x="232" y="160"/>
                      <a:pt x="232" y="160"/>
                      <a:pt x="232" y="160"/>
                    </a:cubicBezTo>
                    <a:cubicBezTo>
                      <a:pt x="237" y="160"/>
                      <a:pt x="241" y="156"/>
                      <a:pt x="241" y="151"/>
                    </a:cubicBezTo>
                    <a:close/>
                    <a:moveTo>
                      <a:pt x="187" y="127"/>
                    </a:moveTo>
                    <a:cubicBezTo>
                      <a:pt x="44" y="127"/>
                      <a:pt x="44" y="127"/>
                      <a:pt x="44" y="127"/>
                    </a:cubicBezTo>
                    <a:cubicBezTo>
                      <a:pt x="38" y="127"/>
                      <a:pt x="32" y="133"/>
                      <a:pt x="32" y="139"/>
                    </a:cubicBezTo>
                    <a:cubicBezTo>
                      <a:pt x="32" y="153"/>
                      <a:pt x="32" y="153"/>
                      <a:pt x="32" y="153"/>
                    </a:cubicBezTo>
                    <a:cubicBezTo>
                      <a:pt x="32" y="160"/>
                      <a:pt x="38" y="165"/>
                      <a:pt x="44" y="165"/>
                    </a:cubicBezTo>
                    <a:cubicBezTo>
                      <a:pt x="187" y="165"/>
                      <a:pt x="187" y="165"/>
                      <a:pt x="187" y="165"/>
                    </a:cubicBezTo>
                    <a:cubicBezTo>
                      <a:pt x="194" y="165"/>
                      <a:pt x="199" y="160"/>
                      <a:pt x="199" y="153"/>
                    </a:cubicBezTo>
                    <a:cubicBezTo>
                      <a:pt x="199" y="139"/>
                      <a:pt x="199" y="139"/>
                      <a:pt x="199" y="139"/>
                    </a:cubicBezTo>
                    <a:cubicBezTo>
                      <a:pt x="199" y="133"/>
                      <a:pt x="194" y="127"/>
                      <a:pt x="187" y="127"/>
                    </a:cubicBezTo>
                    <a:close/>
                    <a:moveTo>
                      <a:pt x="57" y="150"/>
                    </a:moveTo>
                    <a:cubicBezTo>
                      <a:pt x="56" y="150"/>
                      <a:pt x="56" y="150"/>
                      <a:pt x="56" y="150"/>
                    </a:cubicBezTo>
                    <a:cubicBezTo>
                      <a:pt x="54" y="150"/>
                      <a:pt x="52" y="148"/>
                      <a:pt x="52" y="146"/>
                    </a:cubicBezTo>
                    <a:cubicBezTo>
                      <a:pt x="52" y="144"/>
                      <a:pt x="54" y="142"/>
                      <a:pt x="56" y="142"/>
                    </a:cubicBezTo>
                    <a:cubicBezTo>
                      <a:pt x="57" y="142"/>
                      <a:pt x="57" y="142"/>
                      <a:pt x="57" y="142"/>
                    </a:cubicBezTo>
                    <a:cubicBezTo>
                      <a:pt x="59" y="142"/>
                      <a:pt x="61" y="144"/>
                      <a:pt x="61" y="146"/>
                    </a:cubicBezTo>
                    <a:cubicBezTo>
                      <a:pt x="61" y="148"/>
                      <a:pt x="59" y="150"/>
                      <a:pt x="57" y="150"/>
                    </a:cubicBezTo>
                    <a:close/>
                    <a:moveTo>
                      <a:pt x="179" y="150"/>
                    </a:moveTo>
                    <a:cubicBezTo>
                      <a:pt x="112" y="150"/>
                      <a:pt x="112" y="150"/>
                      <a:pt x="112" y="150"/>
                    </a:cubicBezTo>
                    <a:cubicBezTo>
                      <a:pt x="110" y="150"/>
                      <a:pt x="108" y="148"/>
                      <a:pt x="108" y="146"/>
                    </a:cubicBezTo>
                    <a:cubicBezTo>
                      <a:pt x="108" y="144"/>
                      <a:pt x="110" y="142"/>
                      <a:pt x="112" y="142"/>
                    </a:cubicBezTo>
                    <a:cubicBezTo>
                      <a:pt x="179" y="142"/>
                      <a:pt x="179" y="142"/>
                      <a:pt x="179" y="142"/>
                    </a:cubicBezTo>
                    <a:cubicBezTo>
                      <a:pt x="181" y="142"/>
                      <a:pt x="183" y="144"/>
                      <a:pt x="183" y="146"/>
                    </a:cubicBezTo>
                    <a:cubicBezTo>
                      <a:pt x="183" y="148"/>
                      <a:pt x="181" y="150"/>
                      <a:pt x="179" y="150"/>
                    </a:cubicBezTo>
                    <a:close/>
                    <a:moveTo>
                      <a:pt x="187" y="37"/>
                    </a:moveTo>
                    <a:cubicBezTo>
                      <a:pt x="44" y="37"/>
                      <a:pt x="44" y="37"/>
                      <a:pt x="44" y="37"/>
                    </a:cubicBezTo>
                    <a:cubicBezTo>
                      <a:pt x="38" y="37"/>
                      <a:pt x="32" y="43"/>
                      <a:pt x="32" y="49"/>
                    </a:cubicBezTo>
                    <a:cubicBezTo>
                      <a:pt x="32" y="63"/>
                      <a:pt x="32" y="63"/>
                      <a:pt x="32" y="63"/>
                    </a:cubicBezTo>
                    <a:cubicBezTo>
                      <a:pt x="32" y="70"/>
                      <a:pt x="38" y="75"/>
                      <a:pt x="44" y="75"/>
                    </a:cubicBezTo>
                    <a:cubicBezTo>
                      <a:pt x="187" y="75"/>
                      <a:pt x="187" y="75"/>
                      <a:pt x="187" y="75"/>
                    </a:cubicBezTo>
                    <a:cubicBezTo>
                      <a:pt x="194" y="75"/>
                      <a:pt x="199" y="70"/>
                      <a:pt x="199" y="63"/>
                    </a:cubicBezTo>
                    <a:cubicBezTo>
                      <a:pt x="199" y="49"/>
                      <a:pt x="199" y="49"/>
                      <a:pt x="199" y="49"/>
                    </a:cubicBezTo>
                    <a:cubicBezTo>
                      <a:pt x="199" y="43"/>
                      <a:pt x="194" y="37"/>
                      <a:pt x="187" y="37"/>
                    </a:cubicBezTo>
                    <a:close/>
                    <a:moveTo>
                      <a:pt x="57" y="60"/>
                    </a:moveTo>
                    <a:cubicBezTo>
                      <a:pt x="56" y="60"/>
                      <a:pt x="56" y="60"/>
                      <a:pt x="56" y="60"/>
                    </a:cubicBezTo>
                    <a:cubicBezTo>
                      <a:pt x="54" y="60"/>
                      <a:pt x="52" y="58"/>
                      <a:pt x="52" y="56"/>
                    </a:cubicBezTo>
                    <a:cubicBezTo>
                      <a:pt x="52" y="54"/>
                      <a:pt x="54" y="52"/>
                      <a:pt x="56" y="52"/>
                    </a:cubicBezTo>
                    <a:cubicBezTo>
                      <a:pt x="57" y="52"/>
                      <a:pt x="57" y="52"/>
                      <a:pt x="57" y="52"/>
                    </a:cubicBezTo>
                    <a:cubicBezTo>
                      <a:pt x="59" y="52"/>
                      <a:pt x="61" y="54"/>
                      <a:pt x="61" y="56"/>
                    </a:cubicBezTo>
                    <a:cubicBezTo>
                      <a:pt x="61" y="58"/>
                      <a:pt x="59" y="60"/>
                      <a:pt x="57" y="60"/>
                    </a:cubicBezTo>
                    <a:close/>
                    <a:moveTo>
                      <a:pt x="179" y="60"/>
                    </a:moveTo>
                    <a:cubicBezTo>
                      <a:pt x="112" y="60"/>
                      <a:pt x="112" y="60"/>
                      <a:pt x="112" y="60"/>
                    </a:cubicBezTo>
                    <a:cubicBezTo>
                      <a:pt x="110" y="60"/>
                      <a:pt x="108" y="58"/>
                      <a:pt x="108" y="56"/>
                    </a:cubicBezTo>
                    <a:cubicBezTo>
                      <a:pt x="108" y="54"/>
                      <a:pt x="110" y="52"/>
                      <a:pt x="112" y="52"/>
                    </a:cubicBezTo>
                    <a:cubicBezTo>
                      <a:pt x="179" y="52"/>
                      <a:pt x="179" y="52"/>
                      <a:pt x="179" y="52"/>
                    </a:cubicBezTo>
                    <a:cubicBezTo>
                      <a:pt x="181" y="52"/>
                      <a:pt x="183" y="54"/>
                      <a:pt x="183" y="56"/>
                    </a:cubicBezTo>
                    <a:cubicBezTo>
                      <a:pt x="183" y="58"/>
                      <a:pt x="181" y="60"/>
                      <a:pt x="179" y="60"/>
                    </a:cubicBezTo>
                    <a:close/>
                    <a:moveTo>
                      <a:pt x="268" y="175"/>
                    </a:moveTo>
                    <a:cubicBezTo>
                      <a:pt x="268" y="172"/>
                      <a:pt x="265" y="169"/>
                      <a:pt x="261" y="169"/>
                    </a:cubicBezTo>
                    <a:cubicBezTo>
                      <a:pt x="261" y="190"/>
                      <a:pt x="261" y="190"/>
                      <a:pt x="261" y="190"/>
                    </a:cubicBezTo>
                    <a:cubicBezTo>
                      <a:pt x="265" y="189"/>
                      <a:pt x="268" y="187"/>
                      <a:pt x="268" y="183"/>
                    </a:cubicBezTo>
                    <a:lnTo>
                      <a:pt x="268" y="175"/>
                    </a:lnTo>
                    <a:close/>
                    <a:moveTo>
                      <a:pt x="268" y="201"/>
                    </a:moveTo>
                    <a:cubicBezTo>
                      <a:pt x="268" y="197"/>
                      <a:pt x="265" y="194"/>
                      <a:pt x="261" y="194"/>
                    </a:cubicBezTo>
                    <a:cubicBezTo>
                      <a:pt x="261" y="215"/>
                      <a:pt x="261" y="215"/>
                      <a:pt x="261" y="215"/>
                    </a:cubicBezTo>
                    <a:cubicBezTo>
                      <a:pt x="265" y="215"/>
                      <a:pt x="268" y="212"/>
                      <a:pt x="268" y="208"/>
                    </a:cubicBezTo>
                    <a:lnTo>
                      <a:pt x="268" y="201"/>
                    </a:lnTo>
                    <a:close/>
                    <a:moveTo>
                      <a:pt x="268" y="150"/>
                    </a:moveTo>
                    <a:cubicBezTo>
                      <a:pt x="268" y="146"/>
                      <a:pt x="265" y="143"/>
                      <a:pt x="261" y="143"/>
                    </a:cubicBezTo>
                    <a:cubicBezTo>
                      <a:pt x="261" y="164"/>
                      <a:pt x="261" y="164"/>
                      <a:pt x="261" y="164"/>
                    </a:cubicBezTo>
                    <a:cubicBezTo>
                      <a:pt x="265" y="164"/>
                      <a:pt x="268" y="161"/>
                      <a:pt x="268" y="158"/>
                    </a:cubicBezTo>
                    <a:lnTo>
                      <a:pt x="268" y="150"/>
                    </a:lnTo>
                    <a:close/>
                    <a:moveTo>
                      <a:pt x="277" y="260"/>
                    </a:moveTo>
                    <a:cubicBezTo>
                      <a:pt x="277" y="147"/>
                      <a:pt x="277" y="147"/>
                      <a:pt x="277" y="147"/>
                    </a:cubicBezTo>
                    <a:cubicBezTo>
                      <a:pt x="277" y="139"/>
                      <a:pt x="270" y="132"/>
                      <a:pt x="261" y="132"/>
                    </a:cubicBezTo>
                    <a:cubicBezTo>
                      <a:pt x="261" y="132"/>
                      <a:pt x="261" y="132"/>
                      <a:pt x="261" y="132"/>
                    </a:cubicBezTo>
                    <a:cubicBezTo>
                      <a:pt x="261" y="135"/>
                      <a:pt x="261" y="135"/>
                      <a:pt x="261" y="135"/>
                    </a:cubicBezTo>
                    <a:cubicBezTo>
                      <a:pt x="261" y="135"/>
                      <a:pt x="261" y="135"/>
                      <a:pt x="261" y="135"/>
                    </a:cubicBezTo>
                    <a:cubicBezTo>
                      <a:pt x="268" y="135"/>
                      <a:pt x="273" y="141"/>
                      <a:pt x="273" y="147"/>
                    </a:cubicBezTo>
                    <a:cubicBezTo>
                      <a:pt x="273" y="260"/>
                      <a:pt x="273" y="260"/>
                      <a:pt x="273" y="260"/>
                    </a:cubicBezTo>
                    <a:cubicBezTo>
                      <a:pt x="273" y="267"/>
                      <a:pt x="268" y="272"/>
                      <a:pt x="261" y="272"/>
                    </a:cubicBezTo>
                    <a:cubicBezTo>
                      <a:pt x="254" y="272"/>
                      <a:pt x="254" y="272"/>
                      <a:pt x="254" y="272"/>
                    </a:cubicBezTo>
                    <a:cubicBezTo>
                      <a:pt x="252" y="275"/>
                      <a:pt x="249" y="277"/>
                      <a:pt x="246" y="279"/>
                    </a:cubicBezTo>
                    <a:cubicBezTo>
                      <a:pt x="246" y="279"/>
                      <a:pt x="246" y="279"/>
                      <a:pt x="246" y="279"/>
                    </a:cubicBezTo>
                    <a:cubicBezTo>
                      <a:pt x="264" y="279"/>
                      <a:pt x="264" y="279"/>
                      <a:pt x="264" y="279"/>
                    </a:cubicBezTo>
                    <a:cubicBezTo>
                      <a:pt x="267" y="274"/>
                      <a:pt x="267" y="274"/>
                      <a:pt x="267" y="274"/>
                    </a:cubicBezTo>
                    <a:cubicBezTo>
                      <a:pt x="273" y="272"/>
                      <a:pt x="277" y="267"/>
                      <a:pt x="277" y="260"/>
                    </a:cubicBezTo>
                    <a:close/>
                    <a:moveTo>
                      <a:pt x="268" y="226"/>
                    </a:moveTo>
                    <a:cubicBezTo>
                      <a:pt x="268" y="222"/>
                      <a:pt x="265" y="219"/>
                      <a:pt x="261" y="219"/>
                    </a:cubicBezTo>
                    <a:cubicBezTo>
                      <a:pt x="261" y="240"/>
                      <a:pt x="261" y="240"/>
                      <a:pt x="261" y="240"/>
                    </a:cubicBezTo>
                    <a:cubicBezTo>
                      <a:pt x="265" y="240"/>
                      <a:pt x="268" y="237"/>
                      <a:pt x="268" y="234"/>
                    </a:cubicBezTo>
                    <a:lnTo>
                      <a:pt x="268" y="226"/>
                    </a:lnTo>
                    <a:close/>
                    <a:moveTo>
                      <a:pt x="261" y="245"/>
                    </a:moveTo>
                    <a:cubicBezTo>
                      <a:pt x="261" y="254"/>
                      <a:pt x="261" y="254"/>
                      <a:pt x="261" y="254"/>
                    </a:cubicBezTo>
                    <a:cubicBezTo>
                      <a:pt x="261" y="258"/>
                      <a:pt x="260" y="262"/>
                      <a:pt x="259" y="266"/>
                    </a:cubicBezTo>
                    <a:cubicBezTo>
                      <a:pt x="261" y="266"/>
                      <a:pt x="261" y="266"/>
                      <a:pt x="261" y="266"/>
                    </a:cubicBezTo>
                    <a:cubicBezTo>
                      <a:pt x="265" y="266"/>
                      <a:pt x="268" y="263"/>
                      <a:pt x="268" y="259"/>
                    </a:cubicBezTo>
                    <a:cubicBezTo>
                      <a:pt x="268" y="251"/>
                      <a:pt x="268" y="251"/>
                      <a:pt x="268" y="251"/>
                    </a:cubicBezTo>
                    <a:cubicBezTo>
                      <a:pt x="268" y="248"/>
                      <a:pt x="265" y="245"/>
                      <a:pt x="261" y="245"/>
                    </a:cubicBezTo>
                    <a:close/>
                    <a:moveTo>
                      <a:pt x="253" y="254"/>
                    </a:moveTo>
                    <a:cubicBezTo>
                      <a:pt x="253" y="103"/>
                      <a:pt x="253" y="103"/>
                      <a:pt x="253" y="103"/>
                    </a:cubicBezTo>
                    <a:cubicBezTo>
                      <a:pt x="253" y="92"/>
                      <a:pt x="244" y="83"/>
                      <a:pt x="233" y="83"/>
                    </a:cubicBezTo>
                    <a:cubicBezTo>
                      <a:pt x="223" y="83"/>
                      <a:pt x="223" y="83"/>
                      <a:pt x="223" y="83"/>
                    </a:cubicBezTo>
                    <a:cubicBezTo>
                      <a:pt x="223" y="87"/>
                      <a:pt x="223" y="87"/>
                      <a:pt x="223" y="87"/>
                    </a:cubicBezTo>
                    <a:cubicBezTo>
                      <a:pt x="233" y="87"/>
                      <a:pt x="233" y="87"/>
                      <a:pt x="233" y="87"/>
                    </a:cubicBezTo>
                    <a:cubicBezTo>
                      <a:pt x="242" y="87"/>
                      <a:pt x="249" y="94"/>
                      <a:pt x="249" y="103"/>
                    </a:cubicBezTo>
                    <a:cubicBezTo>
                      <a:pt x="249" y="254"/>
                      <a:pt x="249" y="254"/>
                      <a:pt x="249" y="254"/>
                    </a:cubicBezTo>
                    <a:cubicBezTo>
                      <a:pt x="249" y="262"/>
                      <a:pt x="242" y="269"/>
                      <a:pt x="233" y="269"/>
                    </a:cubicBezTo>
                    <a:cubicBezTo>
                      <a:pt x="213" y="269"/>
                      <a:pt x="213" y="269"/>
                      <a:pt x="213" y="269"/>
                    </a:cubicBezTo>
                    <a:cubicBezTo>
                      <a:pt x="211" y="271"/>
                      <a:pt x="209" y="273"/>
                      <a:pt x="207" y="275"/>
                    </a:cubicBezTo>
                    <a:cubicBezTo>
                      <a:pt x="209" y="279"/>
                      <a:pt x="209" y="279"/>
                      <a:pt x="209" y="279"/>
                    </a:cubicBezTo>
                    <a:cubicBezTo>
                      <a:pt x="237" y="279"/>
                      <a:pt x="237" y="279"/>
                      <a:pt x="237" y="279"/>
                    </a:cubicBezTo>
                    <a:cubicBezTo>
                      <a:pt x="240" y="273"/>
                      <a:pt x="240" y="273"/>
                      <a:pt x="240" y="273"/>
                    </a:cubicBezTo>
                    <a:cubicBezTo>
                      <a:pt x="248" y="270"/>
                      <a:pt x="253" y="262"/>
                      <a:pt x="253" y="254"/>
                    </a:cubicBezTo>
                    <a:close/>
                    <a:moveTo>
                      <a:pt x="215" y="245"/>
                    </a:moveTo>
                    <a:cubicBezTo>
                      <a:pt x="215" y="44"/>
                      <a:pt x="215" y="44"/>
                      <a:pt x="215" y="44"/>
                    </a:cubicBezTo>
                    <a:cubicBezTo>
                      <a:pt x="215" y="29"/>
                      <a:pt x="203" y="17"/>
                      <a:pt x="188" y="17"/>
                    </a:cubicBezTo>
                    <a:cubicBezTo>
                      <a:pt x="43" y="17"/>
                      <a:pt x="43" y="17"/>
                      <a:pt x="43" y="17"/>
                    </a:cubicBezTo>
                    <a:cubicBezTo>
                      <a:pt x="28" y="17"/>
                      <a:pt x="16" y="29"/>
                      <a:pt x="16" y="44"/>
                    </a:cubicBezTo>
                    <a:cubicBezTo>
                      <a:pt x="16" y="245"/>
                      <a:pt x="16" y="245"/>
                      <a:pt x="16" y="245"/>
                    </a:cubicBezTo>
                    <a:cubicBezTo>
                      <a:pt x="16" y="257"/>
                      <a:pt x="24" y="266"/>
                      <a:pt x="34" y="270"/>
                    </a:cubicBezTo>
                    <a:cubicBezTo>
                      <a:pt x="38" y="279"/>
                      <a:pt x="38" y="279"/>
                      <a:pt x="38" y="279"/>
                    </a:cubicBezTo>
                    <a:cubicBezTo>
                      <a:pt x="75" y="279"/>
                      <a:pt x="75" y="279"/>
                      <a:pt x="75" y="279"/>
                    </a:cubicBezTo>
                    <a:cubicBezTo>
                      <a:pt x="79" y="272"/>
                      <a:pt x="79" y="272"/>
                      <a:pt x="79" y="272"/>
                    </a:cubicBezTo>
                    <a:cubicBezTo>
                      <a:pt x="153" y="272"/>
                      <a:pt x="153" y="272"/>
                      <a:pt x="153" y="272"/>
                    </a:cubicBezTo>
                    <a:cubicBezTo>
                      <a:pt x="156" y="279"/>
                      <a:pt x="156" y="279"/>
                      <a:pt x="156" y="279"/>
                    </a:cubicBezTo>
                    <a:cubicBezTo>
                      <a:pt x="193" y="279"/>
                      <a:pt x="193" y="279"/>
                      <a:pt x="193" y="279"/>
                    </a:cubicBezTo>
                    <a:cubicBezTo>
                      <a:pt x="198" y="270"/>
                      <a:pt x="198" y="270"/>
                      <a:pt x="198" y="270"/>
                    </a:cubicBezTo>
                    <a:cubicBezTo>
                      <a:pt x="208" y="266"/>
                      <a:pt x="215" y="257"/>
                      <a:pt x="215" y="245"/>
                    </a:cubicBezTo>
                    <a:close/>
                    <a:moveTo>
                      <a:pt x="188" y="266"/>
                    </a:moveTo>
                    <a:cubicBezTo>
                      <a:pt x="43" y="266"/>
                      <a:pt x="43" y="266"/>
                      <a:pt x="43" y="266"/>
                    </a:cubicBezTo>
                    <a:cubicBezTo>
                      <a:pt x="32" y="266"/>
                      <a:pt x="22" y="257"/>
                      <a:pt x="22" y="245"/>
                    </a:cubicBezTo>
                    <a:cubicBezTo>
                      <a:pt x="22" y="44"/>
                      <a:pt x="22" y="44"/>
                      <a:pt x="22" y="44"/>
                    </a:cubicBezTo>
                    <a:cubicBezTo>
                      <a:pt x="22" y="32"/>
                      <a:pt x="32" y="23"/>
                      <a:pt x="43" y="23"/>
                    </a:cubicBezTo>
                    <a:cubicBezTo>
                      <a:pt x="188" y="23"/>
                      <a:pt x="188" y="23"/>
                      <a:pt x="188" y="23"/>
                    </a:cubicBezTo>
                    <a:cubicBezTo>
                      <a:pt x="200" y="23"/>
                      <a:pt x="209" y="32"/>
                      <a:pt x="209" y="44"/>
                    </a:cubicBezTo>
                    <a:cubicBezTo>
                      <a:pt x="209" y="245"/>
                      <a:pt x="209" y="245"/>
                      <a:pt x="209" y="245"/>
                    </a:cubicBezTo>
                    <a:cubicBezTo>
                      <a:pt x="209" y="257"/>
                      <a:pt x="200" y="266"/>
                      <a:pt x="188" y="266"/>
                    </a:cubicBezTo>
                    <a:close/>
                    <a:moveTo>
                      <a:pt x="241" y="117"/>
                    </a:moveTo>
                    <a:cubicBezTo>
                      <a:pt x="241" y="107"/>
                      <a:pt x="241" y="107"/>
                      <a:pt x="241" y="107"/>
                    </a:cubicBezTo>
                    <a:cubicBezTo>
                      <a:pt x="241" y="102"/>
                      <a:pt x="237" y="98"/>
                      <a:pt x="232" y="98"/>
                    </a:cubicBezTo>
                    <a:cubicBezTo>
                      <a:pt x="223" y="98"/>
                      <a:pt x="223" y="98"/>
                      <a:pt x="223" y="98"/>
                    </a:cubicBezTo>
                    <a:cubicBezTo>
                      <a:pt x="223" y="109"/>
                      <a:pt x="223" y="109"/>
                      <a:pt x="223" y="109"/>
                    </a:cubicBezTo>
                    <a:cubicBezTo>
                      <a:pt x="226" y="109"/>
                      <a:pt x="226" y="109"/>
                      <a:pt x="226" y="109"/>
                    </a:cubicBezTo>
                    <a:cubicBezTo>
                      <a:pt x="228" y="109"/>
                      <a:pt x="229" y="110"/>
                      <a:pt x="229" y="112"/>
                    </a:cubicBezTo>
                    <a:cubicBezTo>
                      <a:pt x="229" y="114"/>
                      <a:pt x="228" y="115"/>
                      <a:pt x="226" y="115"/>
                    </a:cubicBezTo>
                    <a:cubicBezTo>
                      <a:pt x="223" y="115"/>
                      <a:pt x="223" y="115"/>
                      <a:pt x="223" y="115"/>
                    </a:cubicBezTo>
                    <a:cubicBezTo>
                      <a:pt x="223" y="126"/>
                      <a:pt x="223" y="126"/>
                      <a:pt x="223" y="126"/>
                    </a:cubicBezTo>
                    <a:cubicBezTo>
                      <a:pt x="232" y="126"/>
                      <a:pt x="232" y="126"/>
                      <a:pt x="232" y="126"/>
                    </a:cubicBezTo>
                    <a:cubicBezTo>
                      <a:pt x="237" y="126"/>
                      <a:pt x="241" y="122"/>
                      <a:pt x="241" y="117"/>
                    </a:cubicBezTo>
                    <a:close/>
                    <a:moveTo>
                      <a:pt x="4" y="88"/>
                    </a:moveTo>
                    <a:cubicBezTo>
                      <a:pt x="0" y="88"/>
                      <a:pt x="0" y="88"/>
                      <a:pt x="0" y="88"/>
                    </a:cubicBezTo>
                    <a:cubicBezTo>
                      <a:pt x="0" y="96"/>
                      <a:pt x="0" y="96"/>
                      <a:pt x="0" y="96"/>
                    </a:cubicBezTo>
                    <a:cubicBezTo>
                      <a:pt x="4" y="96"/>
                      <a:pt x="4" y="96"/>
                      <a:pt x="4" y="96"/>
                    </a:cubicBezTo>
                    <a:lnTo>
                      <a:pt x="4" y="88"/>
                    </a:lnTo>
                    <a:close/>
                    <a:moveTo>
                      <a:pt x="125" y="0"/>
                    </a:moveTo>
                    <a:cubicBezTo>
                      <a:pt x="117" y="0"/>
                      <a:pt x="117" y="0"/>
                      <a:pt x="117" y="0"/>
                    </a:cubicBezTo>
                    <a:cubicBezTo>
                      <a:pt x="117" y="4"/>
                      <a:pt x="117" y="4"/>
                      <a:pt x="117" y="4"/>
                    </a:cubicBezTo>
                    <a:cubicBezTo>
                      <a:pt x="125" y="4"/>
                      <a:pt x="125" y="4"/>
                      <a:pt x="125" y="4"/>
                    </a:cubicBezTo>
                    <a:lnTo>
                      <a:pt x="125" y="0"/>
                    </a:lnTo>
                    <a:close/>
                    <a:moveTo>
                      <a:pt x="61" y="0"/>
                    </a:moveTo>
                    <a:cubicBezTo>
                      <a:pt x="53" y="0"/>
                      <a:pt x="53" y="0"/>
                      <a:pt x="53" y="0"/>
                    </a:cubicBezTo>
                    <a:cubicBezTo>
                      <a:pt x="53" y="4"/>
                      <a:pt x="53" y="4"/>
                      <a:pt x="53" y="4"/>
                    </a:cubicBezTo>
                    <a:cubicBezTo>
                      <a:pt x="61" y="4"/>
                      <a:pt x="61" y="4"/>
                      <a:pt x="61" y="4"/>
                    </a:cubicBezTo>
                    <a:lnTo>
                      <a:pt x="61" y="0"/>
                    </a:lnTo>
                    <a:close/>
                    <a:moveTo>
                      <a:pt x="42" y="4"/>
                    </a:moveTo>
                    <a:cubicBezTo>
                      <a:pt x="45" y="4"/>
                      <a:pt x="45" y="4"/>
                      <a:pt x="45" y="4"/>
                    </a:cubicBezTo>
                    <a:cubicBezTo>
                      <a:pt x="45" y="0"/>
                      <a:pt x="45" y="0"/>
                      <a:pt x="45" y="0"/>
                    </a:cubicBezTo>
                    <a:cubicBezTo>
                      <a:pt x="42" y="0"/>
                      <a:pt x="42" y="0"/>
                      <a:pt x="42" y="0"/>
                    </a:cubicBezTo>
                    <a:cubicBezTo>
                      <a:pt x="40" y="0"/>
                      <a:pt x="39" y="0"/>
                      <a:pt x="37" y="1"/>
                    </a:cubicBezTo>
                    <a:cubicBezTo>
                      <a:pt x="37" y="5"/>
                      <a:pt x="37" y="5"/>
                      <a:pt x="37" y="5"/>
                    </a:cubicBezTo>
                    <a:cubicBezTo>
                      <a:pt x="39" y="4"/>
                      <a:pt x="40" y="4"/>
                      <a:pt x="42" y="4"/>
                    </a:cubicBezTo>
                    <a:close/>
                    <a:moveTo>
                      <a:pt x="8" y="25"/>
                    </a:moveTo>
                    <a:cubicBezTo>
                      <a:pt x="4" y="24"/>
                      <a:pt x="4" y="24"/>
                      <a:pt x="4" y="24"/>
                    </a:cubicBezTo>
                    <a:cubicBezTo>
                      <a:pt x="3" y="26"/>
                      <a:pt x="2" y="29"/>
                      <a:pt x="1" y="32"/>
                    </a:cubicBezTo>
                    <a:cubicBezTo>
                      <a:pt x="5" y="33"/>
                      <a:pt x="5" y="33"/>
                      <a:pt x="5" y="33"/>
                    </a:cubicBezTo>
                    <a:cubicBezTo>
                      <a:pt x="6" y="30"/>
                      <a:pt x="7" y="28"/>
                      <a:pt x="8" y="25"/>
                    </a:cubicBezTo>
                    <a:close/>
                    <a:moveTo>
                      <a:pt x="93" y="0"/>
                    </a:moveTo>
                    <a:cubicBezTo>
                      <a:pt x="85" y="0"/>
                      <a:pt x="85" y="0"/>
                      <a:pt x="85" y="0"/>
                    </a:cubicBezTo>
                    <a:cubicBezTo>
                      <a:pt x="85" y="4"/>
                      <a:pt x="85" y="4"/>
                      <a:pt x="85" y="4"/>
                    </a:cubicBezTo>
                    <a:cubicBezTo>
                      <a:pt x="93" y="4"/>
                      <a:pt x="93" y="4"/>
                      <a:pt x="93" y="4"/>
                    </a:cubicBezTo>
                    <a:lnTo>
                      <a:pt x="93" y="0"/>
                    </a:lnTo>
                    <a:close/>
                    <a:moveTo>
                      <a:pt x="77" y="0"/>
                    </a:moveTo>
                    <a:cubicBezTo>
                      <a:pt x="69" y="0"/>
                      <a:pt x="69" y="0"/>
                      <a:pt x="69" y="0"/>
                    </a:cubicBezTo>
                    <a:cubicBezTo>
                      <a:pt x="69" y="4"/>
                      <a:pt x="69" y="4"/>
                      <a:pt x="69" y="4"/>
                    </a:cubicBezTo>
                    <a:cubicBezTo>
                      <a:pt x="77" y="4"/>
                      <a:pt x="77" y="4"/>
                      <a:pt x="77" y="4"/>
                    </a:cubicBezTo>
                    <a:lnTo>
                      <a:pt x="77" y="0"/>
                    </a:lnTo>
                    <a:close/>
                    <a:moveTo>
                      <a:pt x="141" y="0"/>
                    </a:moveTo>
                    <a:cubicBezTo>
                      <a:pt x="133" y="0"/>
                      <a:pt x="133" y="0"/>
                      <a:pt x="133" y="0"/>
                    </a:cubicBezTo>
                    <a:cubicBezTo>
                      <a:pt x="133" y="4"/>
                      <a:pt x="133" y="4"/>
                      <a:pt x="133" y="4"/>
                    </a:cubicBezTo>
                    <a:cubicBezTo>
                      <a:pt x="141" y="4"/>
                      <a:pt x="141" y="4"/>
                      <a:pt x="141" y="4"/>
                    </a:cubicBezTo>
                    <a:lnTo>
                      <a:pt x="141" y="0"/>
                    </a:lnTo>
                    <a:close/>
                    <a:moveTo>
                      <a:pt x="4" y="56"/>
                    </a:moveTo>
                    <a:cubicBezTo>
                      <a:pt x="0" y="56"/>
                      <a:pt x="0" y="56"/>
                      <a:pt x="0" y="56"/>
                    </a:cubicBezTo>
                    <a:cubicBezTo>
                      <a:pt x="0" y="64"/>
                      <a:pt x="0" y="64"/>
                      <a:pt x="0" y="64"/>
                    </a:cubicBezTo>
                    <a:cubicBezTo>
                      <a:pt x="4" y="64"/>
                      <a:pt x="4" y="64"/>
                      <a:pt x="4" y="64"/>
                    </a:cubicBezTo>
                    <a:lnTo>
                      <a:pt x="4" y="56"/>
                    </a:lnTo>
                    <a:close/>
                    <a:moveTo>
                      <a:pt x="4" y="42"/>
                    </a:moveTo>
                    <a:cubicBezTo>
                      <a:pt x="4" y="42"/>
                      <a:pt x="4" y="41"/>
                      <a:pt x="4" y="40"/>
                    </a:cubicBezTo>
                    <a:cubicBezTo>
                      <a:pt x="0" y="40"/>
                      <a:pt x="0" y="40"/>
                      <a:pt x="0" y="40"/>
                    </a:cubicBezTo>
                    <a:cubicBezTo>
                      <a:pt x="0" y="41"/>
                      <a:pt x="0" y="41"/>
                      <a:pt x="0" y="42"/>
                    </a:cubicBezTo>
                    <a:cubicBezTo>
                      <a:pt x="0" y="48"/>
                      <a:pt x="0" y="48"/>
                      <a:pt x="0" y="48"/>
                    </a:cubicBezTo>
                    <a:cubicBezTo>
                      <a:pt x="4" y="48"/>
                      <a:pt x="4" y="48"/>
                      <a:pt x="4" y="48"/>
                    </a:cubicBezTo>
                    <a:lnTo>
                      <a:pt x="4" y="42"/>
                    </a:lnTo>
                    <a:close/>
                    <a:moveTo>
                      <a:pt x="17" y="14"/>
                    </a:moveTo>
                    <a:cubicBezTo>
                      <a:pt x="14" y="11"/>
                      <a:pt x="14" y="11"/>
                      <a:pt x="14" y="11"/>
                    </a:cubicBezTo>
                    <a:cubicBezTo>
                      <a:pt x="12" y="12"/>
                      <a:pt x="10" y="14"/>
                      <a:pt x="9" y="17"/>
                    </a:cubicBezTo>
                    <a:cubicBezTo>
                      <a:pt x="12" y="19"/>
                      <a:pt x="12" y="19"/>
                      <a:pt x="12" y="19"/>
                    </a:cubicBezTo>
                    <a:cubicBezTo>
                      <a:pt x="13" y="17"/>
                      <a:pt x="15" y="15"/>
                      <a:pt x="17" y="14"/>
                    </a:cubicBezTo>
                    <a:close/>
                    <a:moveTo>
                      <a:pt x="4" y="72"/>
                    </a:moveTo>
                    <a:cubicBezTo>
                      <a:pt x="0" y="72"/>
                      <a:pt x="0" y="72"/>
                      <a:pt x="0" y="72"/>
                    </a:cubicBezTo>
                    <a:cubicBezTo>
                      <a:pt x="0" y="80"/>
                      <a:pt x="0" y="80"/>
                      <a:pt x="0" y="80"/>
                    </a:cubicBezTo>
                    <a:cubicBezTo>
                      <a:pt x="4" y="80"/>
                      <a:pt x="4" y="80"/>
                      <a:pt x="4" y="80"/>
                    </a:cubicBezTo>
                    <a:lnTo>
                      <a:pt x="4" y="72"/>
                    </a:lnTo>
                    <a:close/>
                    <a:moveTo>
                      <a:pt x="30" y="6"/>
                    </a:moveTo>
                    <a:cubicBezTo>
                      <a:pt x="29" y="2"/>
                      <a:pt x="29" y="2"/>
                      <a:pt x="29" y="2"/>
                    </a:cubicBezTo>
                    <a:cubicBezTo>
                      <a:pt x="26" y="3"/>
                      <a:pt x="24" y="4"/>
                      <a:pt x="21" y="6"/>
                    </a:cubicBezTo>
                    <a:cubicBezTo>
                      <a:pt x="23" y="9"/>
                      <a:pt x="23" y="9"/>
                      <a:pt x="23" y="9"/>
                    </a:cubicBezTo>
                    <a:cubicBezTo>
                      <a:pt x="25" y="8"/>
                      <a:pt x="28" y="7"/>
                      <a:pt x="30" y="6"/>
                    </a:cubicBezTo>
                    <a:close/>
                    <a:moveTo>
                      <a:pt x="109" y="0"/>
                    </a:moveTo>
                    <a:cubicBezTo>
                      <a:pt x="101" y="0"/>
                      <a:pt x="101" y="0"/>
                      <a:pt x="101" y="0"/>
                    </a:cubicBezTo>
                    <a:cubicBezTo>
                      <a:pt x="101" y="4"/>
                      <a:pt x="101" y="4"/>
                      <a:pt x="101" y="4"/>
                    </a:cubicBezTo>
                    <a:cubicBezTo>
                      <a:pt x="109" y="4"/>
                      <a:pt x="109" y="4"/>
                      <a:pt x="109" y="4"/>
                    </a:cubicBezTo>
                    <a:lnTo>
                      <a:pt x="109" y="0"/>
                    </a:lnTo>
                    <a:close/>
                    <a:moveTo>
                      <a:pt x="251" y="47"/>
                    </a:moveTo>
                    <a:cubicBezTo>
                      <a:pt x="247" y="40"/>
                      <a:pt x="247" y="40"/>
                      <a:pt x="247" y="40"/>
                    </a:cubicBezTo>
                    <a:cubicBezTo>
                      <a:pt x="244" y="42"/>
                      <a:pt x="244" y="42"/>
                      <a:pt x="244" y="42"/>
                    </a:cubicBezTo>
                    <a:cubicBezTo>
                      <a:pt x="247" y="49"/>
                      <a:pt x="247" y="49"/>
                      <a:pt x="247" y="49"/>
                    </a:cubicBezTo>
                    <a:lnTo>
                      <a:pt x="251" y="47"/>
                    </a:lnTo>
                    <a:close/>
                    <a:moveTo>
                      <a:pt x="259" y="61"/>
                    </a:moveTo>
                    <a:cubicBezTo>
                      <a:pt x="255" y="54"/>
                      <a:pt x="255" y="54"/>
                      <a:pt x="255" y="54"/>
                    </a:cubicBezTo>
                    <a:cubicBezTo>
                      <a:pt x="251" y="56"/>
                      <a:pt x="251" y="56"/>
                      <a:pt x="251" y="56"/>
                    </a:cubicBezTo>
                    <a:cubicBezTo>
                      <a:pt x="255" y="63"/>
                      <a:pt x="255" y="63"/>
                      <a:pt x="255" y="63"/>
                    </a:cubicBezTo>
                    <a:lnTo>
                      <a:pt x="259" y="61"/>
                    </a:lnTo>
                    <a:close/>
                    <a:moveTo>
                      <a:pt x="266" y="75"/>
                    </a:moveTo>
                    <a:cubicBezTo>
                      <a:pt x="262" y="68"/>
                      <a:pt x="262" y="68"/>
                      <a:pt x="262" y="68"/>
                    </a:cubicBezTo>
                    <a:cubicBezTo>
                      <a:pt x="259" y="70"/>
                      <a:pt x="259" y="70"/>
                      <a:pt x="259" y="70"/>
                    </a:cubicBezTo>
                    <a:cubicBezTo>
                      <a:pt x="263" y="77"/>
                      <a:pt x="263" y="77"/>
                      <a:pt x="263" y="77"/>
                    </a:cubicBezTo>
                    <a:lnTo>
                      <a:pt x="266" y="75"/>
                    </a:lnTo>
                    <a:close/>
                    <a:moveTo>
                      <a:pt x="274" y="89"/>
                    </a:moveTo>
                    <a:cubicBezTo>
                      <a:pt x="270" y="82"/>
                      <a:pt x="270" y="82"/>
                      <a:pt x="270" y="82"/>
                    </a:cubicBezTo>
                    <a:cubicBezTo>
                      <a:pt x="266" y="84"/>
                      <a:pt x="266" y="84"/>
                      <a:pt x="266" y="84"/>
                    </a:cubicBezTo>
                    <a:cubicBezTo>
                      <a:pt x="270" y="91"/>
                      <a:pt x="270" y="91"/>
                      <a:pt x="270" y="91"/>
                    </a:cubicBezTo>
                    <a:lnTo>
                      <a:pt x="274" y="89"/>
                    </a:lnTo>
                    <a:close/>
                    <a:moveTo>
                      <a:pt x="232" y="20"/>
                    </a:moveTo>
                    <a:cubicBezTo>
                      <a:pt x="231" y="19"/>
                      <a:pt x="228" y="17"/>
                      <a:pt x="226" y="15"/>
                    </a:cubicBezTo>
                    <a:cubicBezTo>
                      <a:pt x="224" y="19"/>
                      <a:pt x="224" y="19"/>
                      <a:pt x="224" y="19"/>
                    </a:cubicBezTo>
                    <a:cubicBezTo>
                      <a:pt x="226" y="20"/>
                      <a:pt x="228" y="22"/>
                      <a:pt x="230" y="23"/>
                    </a:cubicBezTo>
                    <a:lnTo>
                      <a:pt x="232" y="20"/>
                    </a:lnTo>
                    <a:close/>
                    <a:moveTo>
                      <a:pt x="243" y="33"/>
                    </a:moveTo>
                    <a:cubicBezTo>
                      <a:pt x="242" y="31"/>
                      <a:pt x="240" y="28"/>
                      <a:pt x="238" y="26"/>
                    </a:cubicBezTo>
                    <a:cubicBezTo>
                      <a:pt x="235" y="29"/>
                      <a:pt x="235" y="29"/>
                      <a:pt x="235" y="29"/>
                    </a:cubicBezTo>
                    <a:cubicBezTo>
                      <a:pt x="237" y="31"/>
                      <a:pt x="239" y="33"/>
                      <a:pt x="240" y="35"/>
                    </a:cubicBezTo>
                    <a:lnTo>
                      <a:pt x="243" y="33"/>
                    </a:lnTo>
                    <a:close/>
                    <a:moveTo>
                      <a:pt x="277" y="105"/>
                    </a:moveTo>
                    <a:cubicBezTo>
                      <a:pt x="280" y="104"/>
                      <a:pt x="280" y="104"/>
                      <a:pt x="280" y="104"/>
                    </a:cubicBezTo>
                    <a:cubicBezTo>
                      <a:pt x="279" y="101"/>
                      <a:pt x="278" y="99"/>
                      <a:pt x="277" y="96"/>
                    </a:cubicBezTo>
                    <a:cubicBezTo>
                      <a:pt x="274" y="98"/>
                      <a:pt x="274" y="98"/>
                      <a:pt x="274" y="98"/>
                    </a:cubicBezTo>
                    <a:cubicBezTo>
                      <a:pt x="275" y="100"/>
                      <a:pt x="276" y="103"/>
                      <a:pt x="277" y="105"/>
                    </a:cubicBezTo>
                    <a:close/>
                    <a:moveTo>
                      <a:pt x="205" y="4"/>
                    </a:moveTo>
                    <a:cubicBezTo>
                      <a:pt x="202" y="3"/>
                      <a:pt x="199" y="2"/>
                      <a:pt x="197" y="2"/>
                    </a:cubicBezTo>
                    <a:cubicBezTo>
                      <a:pt x="196" y="6"/>
                      <a:pt x="196" y="6"/>
                      <a:pt x="196" y="6"/>
                    </a:cubicBezTo>
                    <a:cubicBezTo>
                      <a:pt x="198" y="6"/>
                      <a:pt x="201" y="7"/>
                      <a:pt x="203" y="8"/>
                    </a:cubicBezTo>
                    <a:lnTo>
                      <a:pt x="205" y="4"/>
                    </a:lnTo>
                    <a:close/>
                    <a:moveTo>
                      <a:pt x="157" y="0"/>
                    </a:moveTo>
                    <a:cubicBezTo>
                      <a:pt x="149" y="0"/>
                      <a:pt x="149" y="0"/>
                      <a:pt x="149" y="0"/>
                    </a:cubicBezTo>
                    <a:cubicBezTo>
                      <a:pt x="149" y="4"/>
                      <a:pt x="149" y="4"/>
                      <a:pt x="149" y="4"/>
                    </a:cubicBezTo>
                    <a:cubicBezTo>
                      <a:pt x="157" y="4"/>
                      <a:pt x="157" y="4"/>
                      <a:pt x="157" y="4"/>
                    </a:cubicBezTo>
                    <a:lnTo>
                      <a:pt x="157" y="0"/>
                    </a:lnTo>
                    <a:close/>
                    <a:moveTo>
                      <a:pt x="172" y="0"/>
                    </a:moveTo>
                    <a:cubicBezTo>
                      <a:pt x="165" y="0"/>
                      <a:pt x="165" y="0"/>
                      <a:pt x="165" y="0"/>
                    </a:cubicBezTo>
                    <a:cubicBezTo>
                      <a:pt x="165" y="4"/>
                      <a:pt x="165" y="4"/>
                      <a:pt x="165" y="4"/>
                    </a:cubicBezTo>
                    <a:cubicBezTo>
                      <a:pt x="172" y="4"/>
                      <a:pt x="172" y="4"/>
                      <a:pt x="172" y="4"/>
                    </a:cubicBezTo>
                    <a:lnTo>
                      <a:pt x="172" y="0"/>
                    </a:lnTo>
                    <a:close/>
                    <a:moveTo>
                      <a:pt x="188" y="4"/>
                    </a:moveTo>
                    <a:cubicBezTo>
                      <a:pt x="189" y="0"/>
                      <a:pt x="189" y="0"/>
                      <a:pt x="189" y="0"/>
                    </a:cubicBezTo>
                    <a:cubicBezTo>
                      <a:pt x="187" y="0"/>
                      <a:pt x="186" y="0"/>
                      <a:pt x="185" y="0"/>
                    </a:cubicBezTo>
                    <a:cubicBezTo>
                      <a:pt x="180" y="0"/>
                      <a:pt x="180" y="0"/>
                      <a:pt x="180" y="0"/>
                    </a:cubicBezTo>
                    <a:cubicBezTo>
                      <a:pt x="180" y="4"/>
                      <a:pt x="180" y="4"/>
                      <a:pt x="180" y="4"/>
                    </a:cubicBezTo>
                    <a:cubicBezTo>
                      <a:pt x="185" y="4"/>
                      <a:pt x="185" y="4"/>
                      <a:pt x="185" y="4"/>
                    </a:cubicBezTo>
                    <a:cubicBezTo>
                      <a:pt x="186" y="4"/>
                      <a:pt x="187" y="4"/>
                      <a:pt x="188" y="4"/>
                    </a:cubicBezTo>
                    <a:close/>
                    <a:moveTo>
                      <a:pt x="219" y="11"/>
                    </a:moveTo>
                    <a:cubicBezTo>
                      <a:pt x="217" y="9"/>
                      <a:pt x="215" y="8"/>
                      <a:pt x="212" y="7"/>
                    </a:cubicBezTo>
                    <a:cubicBezTo>
                      <a:pt x="210" y="11"/>
                      <a:pt x="210" y="11"/>
                      <a:pt x="210" y="11"/>
                    </a:cubicBezTo>
                    <a:cubicBezTo>
                      <a:pt x="213" y="12"/>
                      <a:pt x="215" y="13"/>
                      <a:pt x="217" y="14"/>
                    </a:cubicBezTo>
                    <a:lnTo>
                      <a:pt x="219" y="11"/>
                    </a:lnTo>
                    <a:close/>
                    <a:moveTo>
                      <a:pt x="285" y="135"/>
                    </a:moveTo>
                    <a:cubicBezTo>
                      <a:pt x="289" y="135"/>
                      <a:pt x="289" y="135"/>
                      <a:pt x="289" y="135"/>
                    </a:cubicBezTo>
                    <a:cubicBezTo>
                      <a:pt x="289" y="132"/>
                      <a:pt x="288" y="129"/>
                      <a:pt x="288" y="127"/>
                    </a:cubicBezTo>
                    <a:cubicBezTo>
                      <a:pt x="284" y="128"/>
                      <a:pt x="284" y="128"/>
                      <a:pt x="284" y="128"/>
                    </a:cubicBezTo>
                    <a:cubicBezTo>
                      <a:pt x="284" y="130"/>
                      <a:pt x="285" y="133"/>
                      <a:pt x="285" y="135"/>
                    </a:cubicBezTo>
                    <a:close/>
                    <a:moveTo>
                      <a:pt x="288" y="151"/>
                    </a:moveTo>
                    <a:cubicBezTo>
                      <a:pt x="292" y="150"/>
                      <a:pt x="292" y="150"/>
                      <a:pt x="292" y="150"/>
                    </a:cubicBezTo>
                    <a:cubicBezTo>
                      <a:pt x="292" y="148"/>
                      <a:pt x="291" y="145"/>
                      <a:pt x="291" y="142"/>
                    </a:cubicBezTo>
                    <a:cubicBezTo>
                      <a:pt x="287" y="143"/>
                      <a:pt x="287" y="143"/>
                      <a:pt x="287" y="143"/>
                    </a:cubicBezTo>
                    <a:cubicBezTo>
                      <a:pt x="287" y="146"/>
                      <a:pt x="288" y="148"/>
                      <a:pt x="288" y="151"/>
                    </a:cubicBezTo>
                    <a:close/>
                    <a:moveTo>
                      <a:pt x="242" y="296"/>
                    </a:moveTo>
                    <a:cubicBezTo>
                      <a:pt x="250" y="296"/>
                      <a:pt x="250" y="296"/>
                      <a:pt x="250" y="296"/>
                    </a:cubicBezTo>
                    <a:cubicBezTo>
                      <a:pt x="250" y="292"/>
                      <a:pt x="250" y="292"/>
                      <a:pt x="250" y="292"/>
                    </a:cubicBezTo>
                    <a:cubicBezTo>
                      <a:pt x="242" y="292"/>
                      <a:pt x="242" y="292"/>
                      <a:pt x="242" y="292"/>
                    </a:cubicBezTo>
                    <a:lnTo>
                      <a:pt x="242" y="296"/>
                    </a:lnTo>
                    <a:close/>
                    <a:moveTo>
                      <a:pt x="226" y="296"/>
                    </a:moveTo>
                    <a:cubicBezTo>
                      <a:pt x="234" y="296"/>
                      <a:pt x="234" y="296"/>
                      <a:pt x="234" y="296"/>
                    </a:cubicBezTo>
                    <a:cubicBezTo>
                      <a:pt x="234" y="292"/>
                      <a:pt x="234" y="292"/>
                      <a:pt x="234" y="292"/>
                    </a:cubicBezTo>
                    <a:cubicBezTo>
                      <a:pt x="226" y="292"/>
                      <a:pt x="226" y="292"/>
                      <a:pt x="226" y="292"/>
                    </a:cubicBezTo>
                    <a:lnTo>
                      <a:pt x="226" y="296"/>
                    </a:lnTo>
                    <a:close/>
                    <a:moveTo>
                      <a:pt x="258" y="292"/>
                    </a:moveTo>
                    <a:cubicBezTo>
                      <a:pt x="259" y="296"/>
                      <a:pt x="259" y="296"/>
                      <a:pt x="259" y="296"/>
                    </a:cubicBezTo>
                    <a:cubicBezTo>
                      <a:pt x="261" y="295"/>
                      <a:pt x="264" y="294"/>
                      <a:pt x="267" y="293"/>
                    </a:cubicBezTo>
                    <a:cubicBezTo>
                      <a:pt x="265" y="290"/>
                      <a:pt x="265" y="290"/>
                      <a:pt x="265" y="290"/>
                    </a:cubicBezTo>
                    <a:cubicBezTo>
                      <a:pt x="263" y="291"/>
                      <a:pt x="260" y="291"/>
                      <a:pt x="258" y="292"/>
                    </a:cubicBezTo>
                    <a:close/>
                    <a:moveTo>
                      <a:pt x="210" y="296"/>
                    </a:moveTo>
                    <a:cubicBezTo>
                      <a:pt x="218" y="296"/>
                      <a:pt x="218" y="296"/>
                      <a:pt x="218" y="296"/>
                    </a:cubicBezTo>
                    <a:cubicBezTo>
                      <a:pt x="218" y="292"/>
                      <a:pt x="218" y="292"/>
                      <a:pt x="218" y="292"/>
                    </a:cubicBezTo>
                    <a:cubicBezTo>
                      <a:pt x="210" y="292"/>
                      <a:pt x="210" y="292"/>
                      <a:pt x="210" y="292"/>
                    </a:cubicBezTo>
                    <a:lnTo>
                      <a:pt x="210" y="296"/>
                    </a:lnTo>
                    <a:close/>
                    <a:moveTo>
                      <a:pt x="179" y="296"/>
                    </a:moveTo>
                    <a:cubicBezTo>
                      <a:pt x="187" y="296"/>
                      <a:pt x="187" y="296"/>
                      <a:pt x="187" y="296"/>
                    </a:cubicBezTo>
                    <a:cubicBezTo>
                      <a:pt x="187" y="292"/>
                      <a:pt x="187" y="292"/>
                      <a:pt x="187" y="292"/>
                    </a:cubicBezTo>
                    <a:cubicBezTo>
                      <a:pt x="179" y="292"/>
                      <a:pt x="179" y="292"/>
                      <a:pt x="179" y="292"/>
                    </a:cubicBezTo>
                    <a:lnTo>
                      <a:pt x="179" y="296"/>
                    </a:lnTo>
                    <a:close/>
                    <a:moveTo>
                      <a:pt x="163" y="296"/>
                    </a:moveTo>
                    <a:cubicBezTo>
                      <a:pt x="171" y="296"/>
                      <a:pt x="171" y="296"/>
                      <a:pt x="171" y="296"/>
                    </a:cubicBezTo>
                    <a:cubicBezTo>
                      <a:pt x="171" y="292"/>
                      <a:pt x="171" y="292"/>
                      <a:pt x="171" y="292"/>
                    </a:cubicBezTo>
                    <a:cubicBezTo>
                      <a:pt x="163" y="292"/>
                      <a:pt x="163" y="292"/>
                      <a:pt x="163" y="292"/>
                    </a:cubicBezTo>
                    <a:lnTo>
                      <a:pt x="163" y="296"/>
                    </a:lnTo>
                    <a:close/>
                    <a:moveTo>
                      <a:pt x="147" y="296"/>
                    </a:moveTo>
                    <a:cubicBezTo>
                      <a:pt x="155" y="296"/>
                      <a:pt x="155" y="296"/>
                      <a:pt x="155" y="296"/>
                    </a:cubicBezTo>
                    <a:cubicBezTo>
                      <a:pt x="155" y="292"/>
                      <a:pt x="155" y="292"/>
                      <a:pt x="155" y="292"/>
                    </a:cubicBezTo>
                    <a:cubicBezTo>
                      <a:pt x="147" y="292"/>
                      <a:pt x="147" y="292"/>
                      <a:pt x="147" y="292"/>
                    </a:cubicBezTo>
                    <a:lnTo>
                      <a:pt x="147" y="296"/>
                    </a:lnTo>
                    <a:close/>
                    <a:moveTo>
                      <a:pt x="195" y="296"/>
                    </a:moveTo>
                    <a:cubicBezTo>
                      <a:pt x="203" y="296"/>
                      <a:pt x="203" y="296"/>
                      <a:pt x="203" y="296"/>
                    </a:cubicBezTo>
                    <a:cubicBezTo>
                      <a:pt x="203" y="292"/>
                      <a:pt x="203" y="292"/>
                      <a:pt x="203" y="292"/>
                    </a:cubicBezTo>
                    <a:cubicBezTo>
                      <a:pt x="195" y="292"/>
                      <a:pt x="195" y="292"/>
                      <a:pt x="195" y="292"/>
                    </a:cubicBezTo>
                    <a:lnTo>
                      <a:pt x="195" y="296"/>
                    </a:lnTo>
                    <a:close/>
                    <a:moveTo>
                      <a:pt x="131" y="296"/>
                    </a:moveTo>
                    <a:cubicBezTo>
                      <a:pt x="139" y="296"/>
                      <a:pt x="139" y="296"/>
                      <a:pt x="139" y="296"/>
                    </a:cubicBezTo>
                    <a:cubicBezTo>
                      <a:pt x="139" y="292"/>
                      <a:pt x="139" y="292"/>
                      <a:pt x="139" y="292"/>
                    </a:cubicBezTo>
                    <a:cubicBezTo>
                      <a:pt x="131" y="292"/>
                      <a:pt x="131" y="292"/>
                      <a:pt x="131" y="292"/>
                    </a:cubicBezTo>
                    <a:lnTo>
                      <a:pt x="131" y="296"/>
                    </a:lnTo>
                    <a:close/>
                    <a:moveTo>
                      <a:pt x="272" y="286"/>
                    </a:moveTo>
                    <a:cubicBezTo>
                      <a:pt x="274" y="289"/>
                      <a:pt x="274" y="289"/>
                      <a:pt x="274" y="289"/>
                    </a:cubicBezTo>
                    <a:cubicBezTo>
                      <a:pt x="276" y="288"/>
                      <a:pt x="279" y="286"/>
                      <a:pt x="281" y="284"/>
                    </a:cubicBezTo>
                    <a:cubicBezTo>
                      <a:pt x="278" y="281"/>
                      <a:pt x="278" y="281"/>
                      <a:pt x="278" y="281"/>
                    </a:cubicBezTo>
                    <a:cubicBezTo>
                      <a:pt x="276" y="283"/>
                      <a:pt x="274" y="285"/>
                      <a:pt x="272" y="286"/>
                    </a:cubicBezTo>
                    <a:close/>
                    <a:moveTo>
                      <a:pt x="289" y="214"/>
                    </a:moveTo>
                    <a:cubicBezTo>
                      <a:pt x="293" y="214"/>
                      <a:pt x="293" y="214"/>
                      <a:pt x="293" y="214"/>
                    </a:cubicBezTo>
                    <a:cubicBezTo>
                      <a:pt x="293" y="206"/>
                      <a:pt x="293" y="206"/>
                      <a:pt x="293" y="206"/>
                    </a:cubicBezTo>
                    <a:cubicBezTo>
                      <a:pt x="289" y="206"/>
                      <a:pt x="289" y="206"/>
                      <a:pt x="289" y="206"/>
                    </a:cubicBezTo>
                    <a:lnTo>
                      <a:pt x="289" y="214"/>
                    </a:lnTo>
                    <a:close/>
                    <a:moveTo>
                      <a:pt x="289" y="182"/>
                    </a:moveTo>
                    <a:cubicBezTo>
                      <a:pt x="293" y="182"/>
                      <a:pt x="293" y="182"/>
                      <a:pt x="293" y="182"/>
                    </a:cubicBezTo>
                    <a:cubicBezTo>
                      <a:pt x="293" y="175"/>
                      <a:pt x="293" y="175"/>
                      <a:pt x="293" y="175"/>
                    </a:cubicBezTo>
                    <a:cubicBezTo>
                      <a:pt x="289" y="175"/>
                      <a:pt x="289" y="175"/>
                      <a:pt x="289" y="175"/>
                    </a:cubicBezTo>
                    <a:lnTo>
                      <a:pt x="289" y="182"/>
                    </a:lnTo>
                    <a:close/>
                    <a:moveTo>
                      <a:pt x="289" y="198"/>
                    </a:moveTo>
                    <a:cubicBezTo>
                      <a:pt x="293" y="198"/>
                      <a:pt x="293" y="198"/>
                      <a:pt x="293" y="198"/>
                    </a:cubicBezTo>
                    <a:cubicBezTo>
                      <a:pt x="293" y="190"/>
                      <a:pt x="293" y="190"/>
                      <a:pt x="293" y="190"/>
                    </a:cubicBezTo>
                    <a:cubicBezTo>
                      <a:pt x="289" y="190"/>
                      <a:pt x="289" y="190"/>
                      <a:pt x="289" y="190"/>
                    </a:cubicBezTo>
                    <a:lnTo>
                      <a:pt x="289" y="198"/>
                    </a:lnTo>
                    <a:close/>
                    <a:moveTo>
                      <a:pt x="283" y="111"/>
                    </a:moveTo>
                    <a:cubicBezTo>
                      <a:pt x="279" y="113"/>
                      <a:pt x="279" y="113"/>
                      <a:pt x="279" y="113"/>
                    </a:cubicBezTo>
                    <a:cubicBezTo>
                      <a:pt x="280" y="115"/>
                      <a:pt x="281" y="118"/>
                      <a:pt x="282" y="120"/>
                    </a:cubicBezTo>
                    <a:cubicBezTo>
                      <a:pt x="285" y="119"/>
                      <a:pt x="285" y="119"/>
                      <a:pt x="285" y="119"/>
                    </a:cubicBezTo>
                    <a:cubicBezTo>
                      <a:pt x="285" y="116"/>
                      <a:pt x="284" y="114"/>
                      <a:pt x="283" y="111"/>
                    </a:cubicBezTo>
                    <a:close/>
                    <a:moveTo>
                      <a:pt x="293" y="158"/>
                    </a:moveTo>
                    <a:cubicBezTo>
                      <a:pt x="289" y="159"/>
                      <a:pt x="289" y="159"/>
                      <a:pt x="289" y="159"/>
                    </a:cubicBezTo>
                    <a:cubicBezTo>
                      <a:pt x="289" y="161"/>
                      <a:pt x="289" y="163"/>
                      <a:pt x="289" y="166"/>
                    </a:cubicBezTo>
                    <a:cubicBezTo>
                      <a:pt x="289" y="167"/>
                      <a:pt x="289" y="167"/>
                      <a:pt x="289" y="167"/>
                    </a:cubicBezTo>
                    <a:cubicBezTo>
                      <a:pt x="293" y="167"/>
                      <a:pt x="293" y="167"/>
                      <a:pt x="293" y="167"/>
                    </a:cubicBezTo>
                    <a:cubicBezTo>
                      <a:pt x="293" y="166"/>
                      <a:pt x="293" y="166"/>
                      <a:pt x="293" y="166"/>
                    </a:cubicBezTo>
                    <a:cubicBezTo>
                      <a:pt x="293" y="163"/>
                      <a:pt x="293" y="161"/>
                      <a:pt x="293" y="158"/>
                    </a:cubicBezTo>
                    <a:close/>
                    <a:moveTo>
                      <a:pt x="283" y="276"/>
                    </a:moveTo>
                    <a:cubicBezTo>
                      <a:pt x="286" y="278"/>
                      <a:pt x="286" y="278"/>
                      <a:pt x="286" y="278"/>
                    </a:cubicBezTo>
                    <a:cubicBezTo>
                      <a:pt x="287" y="276"/>
                      <a:pt x="289" y="273"/>
                      <a:pt x="290" y="271"/>
                    </a:cubicBezTo>
                    <a:cubicBezTo>
                      <a:pt x="286" y="269"/>
                      <a:pt x="286" y="269"/>
                      <a:pt x="286" y="269"/>
                    </a:cubicBezTo>
                    <a:cubicBezTo>
                      <a:pt x="285" y="271"/>
                      <a:pt x="284" y="274"/>
                      <a:pt x="283" y="276"/>
                    </a:cubicBezTo>
                    <a:close/>
                    <a:moveTo>
                      <a:pt x="288" y="262"/>
                    </a:moveTo>
                    <a:cubicBezTo>
                      <a:pt x="292" y="263"/>
                      <a:pt x="292" y="263"/>
                      <a:pt x="292" y="263"/>
                    </a:cubicBezTo>
                    <a:cubicBezTo>
                      <a:pt x="293" y="260"/>
                      <a:pt x="293" y="257"/>
                      <a:pt x="293" y="254"/>
                    </a:cubicBezTo>
                    <a:cubicBezTo>
                      <a:pt x="293" y="254"/>
                      <a:pt x="293" y="254"/>
                      <a:pt x="293" y="254"/>
                    </a:cubicBezTo>
                    <a:cubicBezTo>
                      <a:pt x="289" y="254"/>
                      <a:pt x="289" y="254"/>
                      <a:pt x="289" y="254"/>
                    </a:cubicBezTo>
                    <a:cubicBezTo>
                      <a:pt x="289" y="257"/>
                      <a:pt x="289" y="259"/>
                      <a:pt x="288" y="262"/>
                    </a:cubicBezTo>
                    <a:close/>
                    <a:moveTo>
                      <a:pt x="289" y="230"/>
                    </a:moveTo>
                    <a:cubicBezTo>
                      <a:pt x="293" y="230"/>
                      <a:pt x="293" y="230"/>
                      <a:pt x="293" y="230"/>
                    </a:cubicBezTo>
                    <a:cubicBezTo>
                      <a:pt x="293" y="222"/>
                      <a:pt x="293" y="222"/>
                      <a:pt x="293" y="222"/>
                    </a:cubicBezTo>
                    <a:cubicBezTo>
                      <a:pt x="289" y="222"/>
                      <a:pt x="289" y="222"/>
                      <a:pt x="289" y="222"/>
                    </a:cubicBezTo>
                    <a:lnTo>
                      <a:pt x="289" y="230"/>
                    </a:lnTo>
                    <a:close/>
                    <a:moveTo>
                      <a:pt x="289" y="246"/>
                    </a:moveTo>
                    <a:cubicBezTo>
                      <a:pt x="293" y="246"/>
                      <a:pt x="293" y="246"/>
                      <a:pt x="293" y="246"/>
                    </a:cubicBezTo>
                    <a:cubicBezTo>
                      <a:pt x="293" y="238"/>
                      <a:pt x="293" y="238"/>
                      <a:pt x="293" y="238"/>
                    </a:cubicBezTo>
                    <a:cubicBezTo>
                      <a:pt x="289" y="238"/>
                      <a:pt x="289" y="238"/>
                      <a:pt x="289" y="238"/>
                    </a:cubicBezTo>
                    <a:lnTo>
                      <a:pt x="289" y="246"/>
                    </a:lnTo>
                    <a:close/>
                    <a:moveTo>
                      <a:pt x="4" y="119"/>
                    </a:moveTo>
                    <a:cubicBezTo>
                      <a:pt x="0" y="119"/>
                      <a:pt x="0" y="119"/>
                      <a:pt x="0" y="119"/>
                    </a:cubicBezTo>
                    <a:cubicBezTo>
                      <a:pt x="0" y="127"/>
                      <a:pt x="0" y="127"/>
                      <a:pt x="0" y="127"/>
                    </a:cubicBezTo>
                    <a:cubicBezTo>
                      <a:pt x="4" y="127"/>
                      <a:pt x="4" y="127"/>
                      <a:pt x="4" y="127"/>
                    </a:cubicBezTo>
                    <a:lnTo>
                      <a:pt x="4" y="119"/>
                    </a:lnTo>
                    <a:close/>
                    <a:moveTo>
                      <a:pt x="4" y="215"/>
                    </a:moveTo>
                    <a:cubicBezTo>
                      <a:pt x="0" y="215"/>
                      <a:pt x="0" y="215"/>
                      <a:pt x="0" y="215"/>
                    </a:cubicBezTo>
                    <a:cubicBezTo>
                      <a:pt x="0" y="223"/>
                      <a:pt x="0" y="223"/>
                      <a:pt x="0" y="223"/>
                    </a:cubicBezTo>
                    <a:cubicBezTo>
                      <a:pt x="4" y="223"/>
                      <a:pt x="4" y="223"/>
                      <a:pt x="4" y="223"/>
                    </a:cubicBezTo>
                    <a:lnTo>
                      <a:pt x="4" y="215"/>
                    </a:lnTo>
                    <a:close/>
                    <a:moveTo>
                      <a:pt x="115" y="296"/>
                    </a:moveTo>
                    <a:cubicBezTo>
                      <a:pt x="123" y="296"/>
                      <a:pt x="123" y="296"/>
                      <a:pt x="123" y="296"/>
                    </a:cubicBezTo>
                    <a:cubicBezTo>
                      <a:pt x="123" y="292"/>
                      <a:pt x="123" y="292"/>
                      <a:pt x="123" y="292"/>
                    </a:cubicBezTo>
                    <a:cubicBezTo>
                      <a:pt x="115" y="292"/>
                      <a:pt x="115" y="292"/>
                      <a:pt x="115" y="292"/>
                    </a:cubicBezTo>
                    <a:lnTo>
                      <a:pt x="115" y="296"/>
                    </a:lnTo>
                    <a:close/>
                    <a:moveTo>
                      <a:pt x="4" y="247"/>
                    </a:moveTo>
                    <a:cubicBezTo>
                      <a:pt x="0" y="247"/>
                      <a:pt x="0" y="247"/>
                      <a:pt x="0" y="247"/>
                    </a:cubicBezTo>
                    <a:cubicBezTo>
                      <a:pt x="0" y="255"/>
                      <a:pt x="0" y="255"/>
                      <a:pt x="0" y="255"/>
                    </a:cubicBezTo>
                    <a:cubicBezTo>
                      <a:pt x="4" y="255"/>
                      <a:pt x="4" y="255"/>
                      <a:pt x="4" y="255"/>
                    </a:cubicBezTo>
                    <a:lnTo>
                      <a:pt x="4" y="247"/>
                    </a:lnTo>
                    <a:close/>
                    <a:moveTo>
                      <a:pt x="4" y="231"/>
                    </a:moveTo>
                    <a:cubicBezTo>
                      <a:pt x="0" y="231"/>
                      <a:pt x="0" y="231"/>
                      <a:pt x="0" y="231"/>
                    </a:cubicBezTo>
                    <a:cubicBezTo>
                      <a:pt x="0" y="239"/>
                      <a:pt x="0" y="239"/>
                      <a:pt x="0" y="239"/>
                    </a:cubicBezTo>
                    <a:cubicBezTo>
                      <a:pt x="4" y="239"/>
                      <a:pt x="4" y="239"/>
                      <a:pt x="4" y="239"/>
                    </a:cubicBezTo>
                    <a:lnTo>
                      <a:pt x="4" y="231"/>
                    </a:lnTo>
                    <a:close/>
                    <a:moveTo>
                      <a:pt x="4" y="183"/>
                    </a:moveTo>
                    <a:cubicBezTo>
                      <a:pt x="0" y="183"/>
                      <a:pt x="0" y="183"/>
                      <a:pt x="0" y="183"/>
                    </a:cubicBezTo>
                    <a:cubicBezTo>
                      <a:pt x="0" y="191"/>
                      <a:pt x="0" y="191"/>
                      <a:pt x="0" y="191"/>
                    </a:cubicBezTo>
                    <a:cubicBezTo>
                      <a:pt x="4" y="191"/>
                      <a:pt x="4" y="191"/>
                      <a:pt x="4" y="191"/>
                    </a:cubicBezTo>
                    <a:lnTo>
                      <a:pt x="4" y="183"/>
                    </a:lnTo>
                    <a:close/>
                    <a:moveTo>
                      <a:pt x="4" y="135"/>
                    </a:moveTo>
                    <a:cubicBezTo>
                      <a:pt x="0" y="135"/>
                      <a:pt x="0" y="135"/>
                      <a:pt x="0" y="135"/>
                    </a:cubicBezTo>
                    <a:cubicBezTo>
                      <a:pt x="0" y="143"/>
                      <a:pt x="0" y="143"/>
                      <a:pt x="0" y="143"/>
                    </a:cubicBezTo>
                    <a:cubicBezTo>
                      <a:pt x="4" y="143"/>
                      <a:pt x="4" y="143"/>
                      <a:pt x="4" y="143"/>
                    </a:cubicBezTo>
                    <a:lnTo>
                      <a:pt x="4" y="135"/>
                    </a:lnTo>
                    <a:close/>
                    <a:moveTo>
                      <a:pt x="4" y="104"/>
                    </a:moveTo>
                    <a:cubicBezTo>
                      <a:pt x="0" y="104"/>
                      <a:pt x="0" y="104"/>
                      <a:pt x="0" y="104"/>
                    </a:cubicBezTo>
                    <a:cubicBezTo>
                      <a:pt x="0" y="112"/>
                      <a:pt x="0" y="112"/>
                      <a:pt x="0" y="112"/>
                    </a:cubicBezTo>
                    <a:cubicBezTo>
                      <a:pt x="4" y="112"/>
                      <a:pt x="4" y="112"/>
                      <a:pt x="4" y="112"/>
                    </a:cubicBezTo>
                    <a:lnTo>
                      <a:pt x="4" y="104"/>
                    </a:lnTo>
                    <a:close/>
                    <a:moveTo>
                      <a:pt x="4" y="167"/>
                    </a:moveTo>
                    <a:cubicBezTo>
                      <a:pt x="0" y="167"/>
                      <a:pt x="0" y="167"/>
                      <a:pt x="0" y="167"/>
                    </a:cubicBezTo>
                    <a:cubicBezTo>
                      <a:pt x="0" y="175"/>
                      <a:pt x="0" y="175"/>
                      <a:pt x="0" y="175"/>
                    </a:cubicBezTo>
                    <a:cubicBezTo>
                      <a:pt x="4" y="175"/>
                      <a:pt x="4" y="175"/>
                      <a:pt x="4" y="175"/>
                    </a:cubicBezTo>
                    <a:lnTo>
                      <a:pt x="4" y="167"/>
                    </a:lnTo>
                    <a:close/>
                    <a:moveTo>
                      <a:pt x="4" y="151"/>
                    </a:moveTo>
                    <a:cubicBezTo>
                      <a:pt x="0" y="151"/>
                      <a:pt x="0" y="151"/>
                      <a:pt x="0" y="151"/>
                    </a:cubicBezTo>
                    <a:cubicBezTo>
                      <a:pt x="0" y="159"/>
                      <a:pt x="0" y="159"/>
                      <a:pt x="0" y="159"/>
                    </a:cubicBezTo>
                    <a:cubicBezTo>
                      <a:pt x="4" y="159"/>
                      <a:pt x="4" y="159"/>
                      <a:pt x="4" y="159"/>
                    </a:cubicBezTo>
                    <a:lnTo>
                      <a:pt x="4" y="151"/>
                    </a:lnTo>
                    <a:close/>
                    <a:moveTo>
                      <a:pt x="4" y="199"/>
                    </a:moveTo>
                    <a:cubicBezTo>
                      <a:pt x="0" y="199"/>
                      <a:pt x="0" y="199"/>
                      <a:pt x="0" y="199"/>
                    </a:cubicBezTo>
                    <a:cubicBezTo>
                      <a:pt x="0" y="207"/>
                      <a:pt x="0" y="207"/>
                      <a:pt x="0" y="207"/>
                    </a:cubicBezTo>
                    <a:cubicBezTo>
                      <a:pt x="4" y="207"/>
                      <a:pt x="4" y="207"/>
                      <a:pt x="4" y="207"/>
                    </a:cubicBezTo>
                    <a:lnTo>
                      <a:pt x="4" y="199"/>
                    </a:lnTo>
                    <a:close/>
                    <a:moveTo>
                      <a:pt x="51" y="296"/>
                    </a:moveTo>
                    <a:cubicBezTo>
                      <a:pt x="59" y="296"/>
                      <a:pt x="59" y="296"/>
                      <a:pt x="59" y="296"/>
                    </a:cubicBezTo>
                    <a:cubicBezTo>
                      <a:pt x="59" y="292"/>
                      <a:pt x="59" y="292"/>
                      <a:pt x="59" y="292"/>
                    </a:cubicBezTo>
                    <a:cubicBezTo>
                      <a:pt x="51" y="292"/>
                      <a:pt x="51" y="292"/>
                      <a:pt x="51" y="292"/>
                    </a:cubicBezTo>
                    <a:lnTo>
                      <a:pt x="51" y="296"/>
                    </a:lnTo>
                    <a:close/>
                    <a:moveTo>
                      <a:pt x="83" y="296"/>
                    </a:moveTo>
                    <a:cubicBezTo>
                      <a:pt x="91" y="296"/>
                      <a:pt x="91" y="296"/>
                      <a:pt x="91" y="296"/>
                    </a:cubicBezTo>
                    <a:cubicBezTo>
                      <a:pt x="91" y="292"/>
                      <a:pt x="91" y="292"/>
                      <a:pt x="91" y="292"/>
                    </a:cubicBezTo>
                    <a:cubicBezTo>
                      <a:pt x="83" y="292"/>
                      <a:pt x="83" y="292"/>
                      <a:pt x="83" y="292"/>
                    </a:cubicBezTo>
                    <a:lnTo>
                      <a:pt x="83" y="296"/>
                    </a:lnTo>
                    <a:close/>
                    <a:moveTo>
                      <a:pt x="67" y="296"/>
                    </a:moveTo>
                    <a:cubicBezTo>
                      <a:pt x="75" y="296"/>
                      <a:pt x="75" y="296"/>
                      <a:pt x="75" y="296"/>
                    </a:cubicBezTo>
                    <a:cubicBezTo>
                      <a:pt x="75" y="292"/>
                      <a:pt x="75" y="292"/>
                      <a:pt x="75" y="292"/>
                    </a:cubicBezTo>
                    <a:cubicBezTo>
                      <a:pt x="67" y="292"/>
                      <a:pt x="67" y="292"/>
                      <a:pt x="67" y="292"/>
                    </a:cubicBezTo>
                    <a:lnTo>
                      <a:pt x="67" y="296"/>
                    </a:lnTo>
                    <a:close/>
                    <a:moveTo>
                      <a:pt x="99" y="296"/>
                    </a:moveTo>
                    <a:cubicBezTo>
                      <a:pt x="107" y="296"/>
                      <a:pt x="107" y="296"/>
                      <a:pt x="107" y="296"/>
                    </a:cubicBezTo>
                    <a:cubicBezTo>
                      <a:pt x="107" y="292"/>
                      <a:pt x="107" y="292"/>
                      <a:pt x="107" y="292"/>
                    </a:cubicBezTo>
                    <a:cubicBezTo>
                      <a:pt x="99" y="292"/>
                      <a:pt x="99" y="292"/>
                      <a:pt x="99" y="292"/>
                    </a:cubicBezTo>
                    <a:lnTo>
                      <a:pt x="99" y="296"/>
                    </a:lnTo>
                    <a:close/>
                    <a:moveTo>
                      <a:pt x="20" y="290"/>
                    </a:moveTo>
                    <a:cubicBezTo>
                      <a:pt x="22" y="291"/>
                      <a:pt x="24" y="293"/>
                      <a:pt x="27" y="294"/>
                    </a:cubicBezTo>
                    <a:cubicBezTo>
                      <a:pt x="28" y="290"/>
                      <a:pt x="28" y="290"/>
                      <a:pt x="28" y="290"/>
                    </a:cubicBezTo>
                    <a:cubicBezTo>
                      <a:pt x="26" y="289"/>
                      <a:pt x="24" y="288"/>
                      <a:pt x="22" y="286"/>
                    </a:cubicBezTo>
                    <a:lnTo>
                      <a:pt x="20" y="290"/>
                    </a:lnTo>
                    <a:close/>
                    <a:moveTo>
                      <a:pt x="7" y="278"/>
                    </a:moveTo>
                    <a:cubicBezTo>
                      <a:pt x="9" y="281"/>
                      <a:pt x="11" y="283"/>
                      <a:pt x="13" y="285"/>
                    </a:cubicBezTo>
                    <a:cubicBezTo>
                      <a:pt x="16" y="282"/>
                      <a:pt x="16" y="282"/>
                      <a:pt x="16" y="282"/>
                    </a:cubicBezTo>
                    <a:cubicBezTo>
                      <a:pt x="14" y="280"/>
                      <a:pt x="12" y="278"/>
                      <a:pt x="11" y="276"/>
                    </a:cubicBezTo>
                    <a:lnTo>
                      <a:pt x="7" y="278"/>
                    </a:lnTo>
                    <a:close/>
                    <a:moveTo>
                      <a:pt x="36" y="292"/>
                    </a:moveTo>
                    <a:cubicBezTo>
                      <a:pt x="35" y="296"/>
                      <a:pt x="35" y="296"/>
                      <a:pt x="35" y="296"/>
                    </a:cubicBezTo>
                    <a:cubicBezTo>
                      <a:pt x="37" y="296"/>
                      <a:pt x="40" y="296"/>
                      <a:pt x="42" y="296"/>
                    </a:cubicBezTo>
                    <a:cubicBezTo>
                      <a:pt x="43" y="296"/>
                      <a:pt x="43" y="296"/>
                      <a:pt x="43" y="296"/>
                    </a:cubicBezTo>
                    <a:cubicBezTo>
                      <a:pt x="43" y="292"/>
                      <a:pt x="43" y="292"/>
                      <a:pt x="43" y="292"/>
                    </a:cubicBezTo>
                    <a:cubicBezTo>
                      <a:pt x="42" y="292"/>
                      <a:pt x="42" y="292"/>
                      <a:pt x="42" y="292"/>
                    </a:cubicBezTo>
                    <a:cubicBezTo>
                      <a:pt x="40" y="292"/>
                      <a:pt x="38" y="292"/>
                      <a:pt x="36" y="292"/>
                    </a:cubicBezTo>
                    <a:close/>
                    <a:moveTo>
                      <a:pt x="1" y="263"/>
                    </a:moveTo>
                    <a:cubicBezTo>
                      <a:pt x="1" y="266"/>
                      <a:pt x="2" y="269"/>
                      <a:pt x="3" y="271"/>
                    </a:cubicBezTo>
                    <a:cubicBezTo>
                      <a:pt x="7" y="269"/>
                      <a:pt x="7" y="269"/>
                      <a:pt x="7" y="269"/>
                    </a:cubicBezTo>
                    <a:cubicBezTo>
                      <a:pt x="6" y="267"/>
                      <a:pt x="5" y="265"/>
                      <a:pt x="5" y="262"/>
                    </a:cubicBezTo>
                    <a:lnTo>
                      <a:pt x="1" y="26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9" name="Freeform 37"/>
              <p:cNvSpPr>
                <a:spLocks noEditPoints="1"/>
              </p:cNvSpPr>
              <p:nvPr/>
            </p:nvSpPr>
            <p:spPr bwMode="auto">
              <a:xfrm>
                <a:off x="2649541" y="5346266"/>
                <a:ext cx="496665" cy="367349"/>
              </a:xfrm>
              <a:custGeom>
                <a:avLst/>
                <a:gdLst>
                  <a:gd name="T0" fmla="*/ 151 w 184"/>
                  <a:gd name="T1" fmla="*/ 69 h 136"/>
                  <a:gd name="T2" fmla="*/ 134 w 184"/>
                  <a:gd name="T3" fmla="*/ 74 h 136"/>
                  <a:gd name="T4" fmla="*/ 87 w 184"/>
                  <a:gd name="T5" fmla="*/ 44 h 136"/>
                  <a:gd name="T6" fmla="*/ 37 w 184"/>
                  <a:gd name="T7" fmla="*/ 85 h 136"/>
                  <a:gd name="T8" fmla="*/ 26 w 184"/>
                  <a:gd name="T9" fmla="*/ 83 h 136"/>
                  <a:gd name="T10" fmla="*/ 0 w 184"/>
                  <a:gd name="T11" fmla="*/ 109 h 136"/>
                  <a:gd name="T12" fmla="*/ 26 w 184"/>
                  <a:gd name="T13" fmla="*/ 136 h 136"/>
                  <a:gd name="T14" fmla="*/ 151 w 184"/>
                  <a:gd name="T15" fmla="*/ 136 h 136"/>
                  <a:gd name="T16" fmla="*/ 184 w 184"/>
                  <a:gd name="T17" fmla="*/ 102 h 136"/>
                  <a:gd name="T18" fmla="*/ 151 w 184"/>
                  <a:gd name="T19" fmla="*/ 69 h 136"/>
                  <a:gd name="T20" fmla="*/ 31 w 184"/>
                  <a:gd name="T21" fmla="*/ 63 h 136"/>
                  <a:gd name="T22" fmla="*/ 39 w 184"/>
                  <a:gd name="T23" fmla="*/ 58 h 136"/>
                  <a:gd name="T24" fmla="*/ 22 w 184"/>
                  <a:gd name="T25" fmla="*/ 32 h 136"/>
                  <a:gd name="T26" fmla="*/ 30 w 184"/>
                  <a:gd name="T27" fmla="*/ 10 h 136"/>
                  <a:gd name="T28" fmla="*/ 53 w 184"/>
                  <a:gd name="T29" fmla="*/ 12 h 136"/>
                  <a:gd name="T30" fmla="*/ 70 w 184"/>
                  <a:gd name="T31" fmla="*/ 38 h 136"/>
                  <a:gd name="T32" fmla="*/ 78 w 184"/>
                  <a:gd name="T33" fmla="*/ 33 h 136"/>
                  <a:gd name="T34" fmla="*/ 64 w 184"/>
                  <a:gd name="T35" fmla="*/ 12 h 136"/>
                  <a:gd name="T36" fmla="*/ 76 w 184"/>
                  <a:gd name="T37" fmla="*/ 4 h 136"/>
                  <a:gd name="T38" fmla="*/ 23 w 184"/>
                  <a:gd name="T39" fmla="*/ 0 h 136"/>
                  <a:gd name="T40" fmla="*/ 6 w 184"/>
                  <a:gd name="T41" fmla="*/ 50 h 136"/>
                  <a:gd name="T42" fmla="*/ 18 w 184"/>
                  <a:gd name="T43" fmla="*/ 42 h 136"/>
                  <a:gd name="T44" fmla="*/ 31 w 184"/>
                  <a:gd name="T45" fmla="*/ 6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4" h="136">
                    <a:moveTo>
                      <a:pt x="151" y="69"/>
                    </a:moveTo>
                    <a:cubicBezTo>
                      <a:pt x="145" y="69"/>
                      <a:pt x="139" y="71"/>
                      <a:pt x="134" y="74"/>
                    </a:cubicBezTo>
                    <a:cubicBezTo>
                      <a:pt x="125" y="56"/>
                      <a:pt x="108" y="44"/>
                      <a:pt x="87" y="44"/>
                    </a:cubicBezTo>
                    <a:cubicBezTo>
                      <a:pt x="62" y="44"/>
                      <a:pt x="42" y="62"/>
                      <a:pt x="37" y="85"/>
                    </a:cubicBezTo>
                    <a:cubicBezTo>
                      <a:pt x="33" y="83"/>
                      <a:pt x="30" y="83"/>
                      <a:pt x="26" y="83"/>
                    </a:cubicBezTo>
                    <a:cubicBezTo>
                      <a:pt x="11" y="83"/>
                      <a:pt x="0" y="94"/>
                      <a:pt x="0" y="109"/>
                    </a:cubicBezTo>
                    <a:cubicBezTo>
                      <a:pt x="0" y="124"/>
                      <a:pt x="11" y="136"/>
                      <a:pt x="26" y="136"/>
                    </a:cubicBezTo>
                    <a:cubicBezTo>
                      <a:pt x="151" y="136"/>
                      <a:pt x="151" y="136"/>
                      <a:pt x="151" y="136"/>
                    </a:cubicBezTo>
                    <a:cubicBezTo>
                      <a:pt x="169" y="136"/>
                      <a:pt x="184" y="121"/>
                      <a:pt x="184" y="102"/>
                    </a:cubicBezTo>
                    <a:cubicBezTo>
                      <a:pt x="184" y="84"/>
                      <a:pt x="169" y="69"/>
                      <a:pt x="151" y="69"/>
                    </a:cubicBezTo>
                    <a:close/>
                    <a:moveTo>
                      <a:pt x="31" y="63"/>
                    </a:moveTo>
                    <a:cubicBezTo>
                      <a:pt x="39" y="58"/>
                      <a:pt x="39" y="58"/>
                      <a:pt x="39" y="58"/>
                    </a:cubicBezTo>
                    <a:cubicBezTo>
                      <a:pt x="22" y="32"/>
                      <a:pt x="22" y="32"/>
                      <a:pt x="22" y="32"/>
                    </a:cubicBezTo>
                    <a:cubicBezTo>
                      <a:pt x="30" y="10"/>
                      <a:pt x="30" y="10"/>
                      <a:pt x="30" y="10"/>
                    </a:cubicBezTo>
                    <a:cubicBezTo>
                      <a:pt x="53" y="12"/>
                      <a:pt x="53" y="12"/>
                      <a:pt x="53" y="12"/>
                    </a:cubicBezTo>
                    <a:cubicBezTo>
                      <a:pt x="70" y="38"/>
                      <a:pt x="70" y="38"/>
                      <a:pt x="70" y="38"/>
                    </a:cubicBezTo>
                    <a:cubicBezTo>
                      <a:pt x="78" y="33"/>
                      <a:pt x="78" y="33"/>
                      <a:pt x="78" y="33"/>
                    </a:cubicBezTo>
                    <a:cubicBezTo>
                      <a:pt x="64" y="12"/>
                      <a:pt x="64" y="12"/>
                      <a:pt x="64" y="12"/>
                    </a:cubicBezTo>
                    <a:cubicBezTo>
                      <a:pt x="76" y="4"/>
                      <a:pt x="76" y="4"/>
                      <a:pt x="76" y="4"/>
                    </a:cubicBezTo>
                    <a:cubicBezTo>
                      <a:pt x="23" y="0"/>
                      <a:pt x="23" y="0"/>
                      <a:pt x="23" y="0"/>
                    </a:cubicBezTo>
                    <a:cubicBezTo>
                      <a:pt x="6" y="50"/>
                      <a:pt x="6" y="50"/>
                      <a:pt x="6" y="50"/>
                    </a:cubicBezTo>
                    <a:cubicBezTo>
                      <a:pt x="18" y="42"/>
                      <a:pt x="18" y="42"/>
                      <a:pt x="18" y="42"/>
                    </a:cubicBezTo>
                    <a:lnTo>
                      <a:pt x="31" y="6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75" name="Group 74"/>
          <p:cNvGrpSpPr/>
          <p:nvPr/>
        </p:nvGrpSpPr>
        <p:grpSpPr>
          <a:xfrm>
            <a:off x="0" y="3765266"/>
            <a:ext cx="9144000" cy="685800"/>
            <a:chOff x="-1" y="4860859"/>
            <a:chExt cx="12188825" cy="914400"/>
          </a:xfrm>
        </p:grpSpPr>
        <p:grpSp>
          <p:nvGrpSpPr>
            <p:cNvPr id="85" name="Group 84"/>
            <p:cNvGrpSpPr/>
            <p:nvPr/>
          </p:nvGrpSpPr>
          <p:grpSpPr>
            <a:xfrm>
              <a:off x="-1" y="4860859"/>
              <a:ext cx="12188825" cy="914400"/>
              <a:chOff x="-1" y="4860859"/>
              <a:chExt cx="12188825" cy="914400"/>
            </a:xfrm>
          </p:grpSpPr>
          <p:sp>
            <p:nvSpPr>
              <p:cNvPr id="98" name="Freeform 97"/>
              <p:cNvSpPr/>
              <p:nvPr/>
            </p:nvSpPr>
            <p:spPr>
              <a:xfrm>
                <a:off x="-1" y="4860859"/>
                <a:ext cx="12188825"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685609"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100" name="Rectangle 99"/>
              <p:cNvSpPr/>
              <p:nvPr/>
            </p:nvSpPr>
            <p:spPr>
              <a:xfrm>
                <a:off x="4408229" y="4961043"/>
                <a:ext cx="3372363" cy="738624"/>
              </a:xfrm>
              <a:prstGeom prst="rect">
                <a:avLst/>
              </a:prstGeom>
            </p:spPr>
            <p:txBody>
              <a:bodyPr wrap="square" lIns="121888" tIns="60945" rIns="121888" bIns="60945">
                <a:spAutoFit/>
              </a:bodyPr>
              <a:lstStyle/>
              <a:p>
                <a:pPr algn="ctr" defTabSz="571345" fontAlgn="base">
                  <a:lnSpc>
                    <a:spcPct val="80000"/>
                  </a:lnSpc>
                </a:pPr>
                <a:r>
                  <a:rPr lang="en-US" dirty="0">
                    <a:gradFill>
                      <a:gsLst>
                        <a:gs pos="0">
                          <a:schemeClr val="bg1">
                            <a:lumMod val="50000"/>
                          </a:schemeClr>
                        </a:gs>
                        <a:gs pos="100000">
                          <a:schemeClr val="bg1">
                            <a:lumMod val="50000"/>
                          </a:schemeClr>
                        </a:gs>
                      </a:gsLst>
                      <a:lin ang="5400000" scaled="0"/>
                    </a:gradFill>
                  </a:rPr>
                  <a:t>Secure Site-to-Site </a:t>
                </a:r>
              </a:p>
              <a:p>
                <a:pPr algn="ctr" defTabSz="571345" fontAlgn="base">
                  <a:lnSpc>
                    <a:spcPct val="80000"/>
                  </a:lnSpc>
                </a:pPr>
                <a:r>
                  <a:rPr lang="en-US" dirty="0">
                    <a:gradFill>
                      <a:gsLst>
                        <a:gs pos="0">
                          <a:schemeClr val="bg1">
                            <a:lumMod val="50000"/>
                          </a:schemeClr>
                        </a:gs>
                        <a:gs pos="100000">
                          <a:schemeClr val="bg1">
                            <a:lumMod val="50000"/>
                          </a:schemeClr>
                        </a:gs>
                      </a:gsLst>
                      <a:lin ang="5400000" scaled="0"/>
                    </a:gradFill>
                  </a:rPr>
                  <a:t>Network Connectivity</a:t>
                </a:r>
              </a:p>
              <a:p>
                <a:pPr algn="ctr" defTabSz="571345" fontAlgn="base">
                  <a:lnSpc>
                    <a:spcPct val="80000"/>
                  </a:lnSpc>
                </a:pPr>
                <a:r>
                  <a:rPr lang="en-US" sz="700" dirty="0">
                    <a:gradFill>
                      <a:gsLst>
                        <a:gs pos="0">
                          <a:schemeClr val="bg1">
                            <a:lumMod val="50000"/>
                          </a:schemeClr>
                        </a:gs>
                        <a:gs pos="100000">
                          <a:schemeClr val="bg1">
                            <a:lumMod val="50000"/>
                          </a:schemeClr>
                        </a:gs>
                      </a:gsLst>
                      <a:lin ang="5400000" scaled="0"/>
                    </a:gradFill>
                  </a:rPr>
                  <a:t>Windows Azure Virtual Network</a:t>
                </a:r>
              </a:p>
            </p:txBody>
          </p:sp>
        </p:grpSp>
        <p:grpSp>
          <p:nvGrpSpPr>
            <p:cNvPr id="86" name="Group 85"/>
            <p:cNvGrpSpPr/>
            <p:nvPr/>
          </p:nvGrpSpPr>
          <p:grpSpPr>
            <a:xfrm>
              <a:off x="8111868" y="4860859"/>
              <a:ext cx="2377439" cy="914400"/>
              <a:chOff x="8111868" y="4860859"/>
              <a:chExt cx="2377439" cy="914400"/>
            </a:xfrm>
          </p:grpSpPr>
          <p:sp>
            <p:nvSpPr>
              <p:cNvPr id="92" name="Freeform 91"/>
              <p:cNvSpPr/>
              <p:nvPr/>
            </p:nvSpPr>
            <p:spPr>
              <a:xfrm>
                <a:off x="8111868" y="4860859"/>
                <a:ext cx="2377439"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685609"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97" name="Freeform 17"/>
              <p:cNvSpPr>
                <a:spLocks noEditPoints="1"/>
              </p:cNvSpPr>
              <p:nvPr/>
            </p:nvSpPr>
            <p:spPr bwMode="auto">
              <a:xfrm>
                <a:off x="8975363" y="4990019"/>
                <a:ext cx="650449" cy="656080"/>
              </a:xfrm>
              <a:custGeom>
                <a:avLst/>
                <a:gdLst>
                  <a:gd name="T0" fmla="*/ 57 w 293"/>
                  <a:gd name="T1" fmla="*/ 195 h 296"/>
                  <a:gd name="T2" fmla="*/ 112 w 293"/>
                  <a:gd name="T3" fmla="*/ 187 h 296"/>
                  <a:gd name="T4" fmla="*/ 229 w 293"/>
                  <a:gd name="T5" fmla="*/ 213 h 296"/>
                  <a:gd name="T6" fmla="*/ 44 w 293"/>
                  <a:gd name="T7" fmla="*/ 120 h 296"/>
                  <a:gd name="T8" fmla="*/ 61 w 293"/>
                  <a:gd name="T9" fmla="*/ 101 h 296"/>
                  <a:gd name="T10" fmla="*/ 44 w 293"/>
                  <a:gd name="T11" fmla="*/ 217 h 296"/>
                  <a:gd name="T12" fmla="*/ 52 w 293"/>
                  <a:gd name="T13" fmla="*/ 236 h 296"/>
                  <a:gd name="T14" fmla="*/ 183 w 293"/>
                  <a:gd name="T15" fmla="*/ 236 h 296"/>
                  <a:gd name="T16" fmla="*/ 223 w 293"/>
                  <a:gd name="T17" fmla="*/ 244 h 296"/>
                  <a:gd name="T18" fmla="*/ 229 w 293"/>
                  <a:gd name="T19" fmla="*/ 179 h 296"/>
                  <a:gd name="T20" fmla="*/ 223 w 293"/>
                  <a:gd name="T21" fmla="*/ 143 h 296"/>
                  <a:gd name="T22" fmla="*/ 32 w 293"/>
                  <a:gd name="T23" fmla="*/ 139 h 296"/>
                  <a:gd name="T24" fmla="*/ 56 w 293"/>
                  <a:gd name="T25" fmla="*/ 142 h 296"/>
                  <a:gd name="T26" fmla="*/ 179 w 293"/>
                  <a:gd name="T27" fmla="*/ 150 h 296"/>
                  <a:gd name="T28" fmla="*/ 57 w 293"/>
                  <a:gd name="T29" fmla="*/ 60 h 296"/>
                  <a:gd name="T30" fmla="*/ 112 w 293"/>
                  <a:gd name="T31" fmla="*/ 52 h 296"/>
                  <a:gd name="T32" fmla="*/ 261 w 293"/>
                  <a:gd name="T33" fmla="*/ 194 h 296"/>
                  <a:gd name="T34" fmla="*/ 277 w 293"/>
                  <a:gd name="T35" fmla="*/ 147 h 296"/>
                  <a:gd name="T36" fmla="*/ 246 w 293"/>
                  <a:gd name="T37" fmla="*/ 279 h 296"/>
                  <a:gd name="T38" fmla="*/ 261 w 293"/>
                  <a:gd name="T39" fmla="*/ 254 h 296"/>
                  <a:gd name="T40" fmla="*/ 223 w 293"/>
                  <a:gd name="T41" fmla="*/ 87 h 296"/>
                  <a:gd name="T42" fmla="*/ 253 w 293"/>
                  <a:gd name="T43" fmla="*/ 254 h 296"/>
                  <a:gd name="T44" fmla="*/ 79 w 293"/>
                  <a:gd name="T45" fmla="*/ 272 h 296"/>
                  <a:gd name="T46" fmla="*/ 43 w 293"/>
                  <a:gd name="T47" fmla="*/ 23 h 296"/>
                  <a:gd name="T48" fmla="*/ 226 w 293"/>
                  <a:gd name="T49" fmla="*/ 109 h 296"/>
                  <a:gd name="T50" fmla="*/ 4 w 293"/>
                  <a:gd name="T51" fmla="*/ 96 h 296"/>
                  <a:gd name="T52" fmla="*/ 61 w 293"/>
                  <a:gd name="T53" fmla="*/ 4 h 296"/>
                  <a:gd name="T54" fmla="*/ 4 w 293"/>
                  <a:gd name="T55" fmla="*/ 24 h 296"/>
                  <a:gd name="T56" fmla="*/ 69 w 293"/>
                  <a:gd name="T57" fmla="*/ 0 h 296"/>
                  <a:gd name="T58" fmla="*/ 0 w 293"/>
                  <a:gd name="T59" fmla="*/ 56 h 296"/>
                  <a:gd name="T60" fmla="*/ 4 w 293"/>
                  <a:gd name="T61" fmla="*/ 42 h 296"/>
                  <a:gd name="T62" fmla="*/ 4 w 293"/>
                  <a:gd name="T63" fmla="*/ 72 h 296"/>
                  <a:gd name="T64" fmla="*/ 109 w 293"/>
                  <a:gd name="T65" fmla="*/ 0 h 296"/>
                  <a:gd name="T66" fmla="*/ 259 w 293"/>
                  <a:gd name="T67" fmla="*/ 61 h 296"/>
                  <a:gd name="T68" fmla="*/ 274 w 293"/>
                  <a:gd name="T69" fmla="*/ 89 h 296"/>
                  <a:gd name="T70" fmla="*/ 243 w 293"/>
                  <a:gd name="T71" fmla="*/ 33 h 296"/>
                  <a:gd name="T72" fmla="*/ 205 w 293"/>
                  <a:gd name="T73" fmla="*/ 4 h 296"/>
                  <a:gd name="T74" fmla="*/ 172 w 293"/>
                  <a:gd name="T75" fmla="*/ 0 h 296"/>
                  <a:gd name="T76" fmla="*/ 210 w 293"/>
                  <a:gd name="T77" fmla="*/ 11 h 296"/>
                  <a:gd name="T78" fmla="*/ 291 w 293"/>
                  <a:gd name="T79" fmla="*/ 142 h 296"/>
                  <a:gd name="T80" fmla="*/ 234 w 293"/>
                  <a:gd name="T81" fmla="*/ 292 h 296"/>
                  <a:gd name="T82" fmla="*/ 218 w 293"/>
                  <a:gd name="T83" fmla="*/ 292 h 296"/>
                  <a:gd name="T84" fmla="*/ 171 w 293"/>
                  <a:gd name="T85" fmla="*/ 292 h 296"/>
                  <a:gd name="T86" fmla="*/ 203 w 293"/>
                  <a:gd name="T87" fmla="*/ 292 h 296"/>
                  <a:gd name="T88" fmla="*/ 281 w 293"/>
                  <a:gd name="T89" fmla="*/ 284 h 296"/>
                  <a:gd name="T90" fmla="*/ 293 w 293"/>
                  <a:gd name="T91" fmla="*/ 175 h 296"/>
                  <a:gd name="T92" fmla="*/ 282 w 293"/>
                  <a:gd name="T93" fmla="*/ 120 h 296"/>
                  <a:gd name="T94" fmla="*/ 283 w 293"/>
                  <a:gd name="T95" fmla="*/ 276 h 296"/>
                  <a:gd name="T96" fmla="*/ 288 w 293"/>
                  <a:gd name="T97" fmla="*/ 262 h 296"/>
                  <a:gd name="T98" fmla="*/ 289 w 293"/>
                  <a:gd name="T99" fmla="*/ 246 h 296"/>
                  <a:gd name="T100" fmla="*/ 4 w 293"/>
                  <a:gd name="T101" fmla="*/ 215 h 296"/>
                  <a:gd name="T102" fmla="*/ 4 w 293"/>
                  <a:gd name="T103" fmla="*/ 247 h 296"/>
                  <a:gd name="T104" fmla="*/ 4 w 293"/>
                  <a:gd name="T105" fmla="*/ 183 h 296"/>
                  <a:gd name="T106" fmla="*/ 4 w 293"/>
                  <a:gd name="T107" fmla="*/ 104 h 296"/>
                  <a:gd name="T108" fmla="*/ 4 w 293"/>
                  <a:gd name="T109" fmla="*/ 151 h 296"/>
                  <a:gd name="T110" fmla="*/ 51 w 293"/>
                  <a:gd name="T111" fmla="*/ 296 h 296"/>
                  <a:gd name="T112" fmla="*/ 67 w 293"/>
                  <a:gd name="T113" fmla="*/ 296 h 296"/>
                  <a:gd name="T114" fmla="*/ 20 w 293"/>
                  <a:gd name="T115" fmla="*/ 290 h 296"/>
                  <a:gd name="T116" fmla="*/ 43 w 293"/>
                  <a:gd name="T117" fmla="*/ 29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3" h="296">
                    <a:moveTo>
                      <a:pt x="187" y="172"/>
                    </a:moveTo>
                    <a:cubicBezTo>
                      <a:pt x="44" y="172"/>
                      <a:pt x="44" y="172"/>
                      <a:pt x="44" y="172"/>
                    </a:cubicBezTo>
                    <a:cubicBezTo>
                      <a:pt x="38" y="172"/>
                      <a:pt x="32" y="178"/>
                      <a:pt x="32" y="184"/>
                    </a:cubicBezTo>
                    <a:cubicBezTo>
                      <a:pt x="32" y="198"/>
                      <a:pt x="32" y="198"/>
                      <a:pt x="32" y="198"/>
                    </a:cubicBezTo>
                    <a:cubicBezTo>
                      <a:pt x="32" y="205"/>
                      <a:pt x="38" y="210"/>
                      <a:pt x="44" y="210"/>
                    </a:cubicBezTo>
                    <a:cubicBezTo>
                      <a:pt x="187" y="210"/>
                      <a:pt x="187" y="210"/>
                      <a:pt x="187" y="210"/>
                    </a:cubicBezTo>
                    <a:cubicBezTo>
                      <a:pt x="194" y="210"/>
                      <a:pt x="199" y="205"/>
                      <a:pt x="199" y="198"/>
                    </a:cubicBezTo>
                    <a:cubicBezTo>
                      <a:pt x="199" y="184"/>
                      <a:pt x="199" y="184"/>
                      <a:pt x="199" y="184"/>
                    </a:cubicBezTo>
                    <a:cubicBezTo>
                      <a:pt x="199" y="178"/>
                      <a:pt x="194" y="172"/>
                      <a:pt x="187" y="172"/>
                    </a:cubicBezTo>
                    <a:close/>
                    <a:moveTo>
                      <a:pt x="57" y="195"/>
                    </a:moveTo>
                    <a:cubicBezTo>
                      <a:pt x="56" y="195"/>
                      <a:pt x="56" y="195"/>
                      <a:pt x="56" y="195"/>
                    </a:cubicBezTo>
                    <a:cubicBezTo>
                      <a:pt x="54" y="195"/>
                      <a:pt x="52" y="193"/>
                      <a:pt x="52" y="191"/>
                    </a:cubicBezTo>
                    <a:cubicBezTo>
                      <a:pt x="52" y="189"/>
                      <a:pt x="54" y="187"/>
                      <a:pt x="56" y="187"/>
                    </a:cubicBezTo>
                    <a:cubicBezTo>
                      <a:pt x="57" y="187"/>
                      <a:pt x="57" y="187"/>
                      <a:pt x="57" y="187"/>
                    </a:cubicBezTo>
                    <a:cubicBezTo>
                      <a:pt x="59" y="187"/>
                      <a:pt x="61" y="189"/>
                      <a:pt x="61" y="191"/>
                    </a:cubicBezTo>
                    <a:cubicBezTo>
                      <a:pt x="61" y="193"/>
                      <a:pt x="59" y="195"/>
                      <a:pt x="57" y="195"/>
                    </a:cubicBezTo>
                    <a:close/>
                    <a:moveTo>
                      <a:pt x="179" y="195"/>
                    </a:moveTo>
                    <a:cubicBezTo>
                      <a:pt x="112" y="195"/>
                      <a:pt x="112" y="195"/>
                      <a:pt x="112" y="195"/>
                    </a:cubicBezTo>
                    <a:cubicBezTo>
                      <a:pt x="110" y="195"/>
                      <a:pt x="108" y="193"/>
                      <a:pt x="108" y="191"/>
                    </a:cubicBezTo>
                    <a:cubicBezTo>
                      <a:pt x="108" y="189"/>
                      <a:pt x="110" y="187"/>
                      <a:pt x="112" y="187"/>
                    </a:cubicBezTo>
                    <a:cubicBezTo>
                      <a:pt x="179" y="187"/>
                      <a:pt x="179" y="187"/>
                      <a:pt x="179" y="187"/>
                    </a:cubicBezTo>
                    <a:cubicBezTo>
                      <a:pt x="181" y="187"/>
                      <a:pt x="183" y="189"/>
                      <a:pt x="183" y="191"/>
                    </a:cubicBezTo>
                    <a:cubicBezTo>
                      <a:pt x="183" y="193"/>
                      <a:pt x="181" y="195"/>
                      <a:pt x="179" y="195"/>
                    </a:cubicBezTo>
                    <a:close/>
                    <a:moveTo>
                      <a:pt x="241" y="218"/>
                    </a:moveTo>
                    <a:cubicBezTo>
                      <a:pt x="241" y="208"/>
                      <a:pt x="241" y="208"/>
                      <a:pt x="241" y="208"/>
                    </a:cubicBezTo>
                    <a:cubicBezTo>
                      <a:pt x="241" y="203"/>
                      <a:pt x="237" y="199"/>
                      <a:pt x="232" y="199"/>
                    </a:cubicBezTo>
                    <a:cubicBezTo>
                      <a:pt x="223" y="199"/>
                      <a:pt x="223" y="199"/>
                      <a:pt x="223" y="199"/>
                    </a:cubicBezTo>
                    <a:cubicBezTo>
                      <a:pt x="223" y="210"/>
                      <a:pt x="223" y="210"/>
                      <a:pt x="223" y="210"/>
                    </a:cubicBezTo>
                    <a:cubicBezTo>
                      <a:pt x="226" y="210"/>
                      <a:pt x="226" y="210"/>
                      <a:pt x="226" y="210"/>
                    </a:cubicBezTo>
                    <a:cubicBezTo>
                      <a:pt x="228" y="210"/>
                      <a:pt x="229" y="212"/>
                      <a:pt x="229" y="213"/>
                    </a:cubicBezTo>
                    <a:cubicBezTo>
                      <a:pt x="229" y="215"/>
                      <a:pt x="228" y="216"/>
                      <a:pt x="226" y="216"/>
                    </a:cubicBezTo>
                    <a:cubicBezTo>
                      <a:pt x="223" y="216"/>
                      <a:pt x="223" y="216"/>
                      <a:pt x="223" y="216"/>
                    </a:cubicBezTo>
                    <a:cubicBezTo>
                      <a:pt x="223" y="227"/>
                      <a:pt x="223" y="227"/>
                      <a:pt x="223" y="227"/>
                    </a:cubicBezTo>
                    <a:cubicBezTo>
                      <a:pt x="232" y="227"/>
                      <a:pt x="232" y="227"/>
                      <a:pt x="232" y="227"/>
                    </a:cubicBezTo>
                    <a:cubicBezTo>
                      <a:pt x="237" y="227"/>
                      <a:pt x="241" y="223"/>
                      <a:pt x="241" y="218"/>
                    </a:cubicBezTo>
                    <a:close/>
                    <a:moveTo>
                      <a:pt x="187" y="82"/>
                    </a:moveTo>
                    <a:cubicBezTo>
                      <a:pt x="44" y="82"/>
                      <a:pt x="44" y="82"/>
                      <a:pt x="44" y="82"/>
                    </a:cubicBezTo>
                    <a:cubicBezTo>
                      <a:pt x="38" y="82"/>
                      <a:pt x="32" y="88"/>
                      <a:pt x="32" y="94"/>
                    </a:cubicBezTo>
                    <a:cubicBezTo>
                      <a:pt x="32" y="108"/>
                      <a:pt x="32" y="108"/>
                      <a:pt x="32" y="108"/>
                    </a:cubicBezTo>
                    <a:cubicBezTo>
                      <a:pt x="32" y="115"/>
                      <a:pt x="38" y="120"/>
                      <a:pt x="44" y="120"/>
                    </a:cubicBezTo>
                    <a:cubicBezTo>
                      <a:pt x="187" y="120"/>
                      <a:pt x="187" y="120"/>
                      <a:pt x="187" y="120"/>
                    </a:cubicBezTo>
                    <a:cubicBezTo>
                      <a:pt x="194" y="120"/>
                      <a:pt x="199" y="115"/>
                      <a:pt x="199" y="108"/>
                    </a:cubicBezTo>
                    <a:cubicBezTo>
                      <a:pt x="199" y="94"/>
                      <a:pt x="199" y="94"/>
                      <a:pt x="199" y="94"/>
                    </a:cubicBezTo>
                    <a:cubicBezTo>
                      <a:pt x="199" y="88"/>
                      <a:pt x="194" y="82"/>
                      <a:pt x="187" y="82"/>
                    </a:cubicBezTo>
                    <a:close/>
                    <a:moveTo>
                      <a:pt x="57" y="105"/>
                    </a:moveTo>
                    <a:cubicBezTo>
                      <a:pt x="56" y="105"/>
                      <a:pt x="56" y="105"/>
                      <a:pt x="56" y="105"/>
                    </a:cubicBezTo>
                    <a:cubicBezTo>
                      <a:pt x="54" y="105"/>
                      <a:pt x="52" y="103"/>
                      <a:pt x="52" y="101"/>
                    </a:cubicBezTo>
                    <a:cubicBezTo>
                      <a:pt x="52" y="99"/>
                      <a:pt x="54" y="97"/>
                      <a:pt x="56" y="97"/>
                    </a:cubicBezTo>
                    <a:cubicBezTo>
                      <a:pt x="57" y="97"/>
                      <a:pt x="57" y="97"/>
                      <a:pt x="57" y="97"/>
                    </a:cubicBezTo>
                    <a:cubicBezTo>
                      <a:pt x="59" y="97"/>
                      <a:pt x="61" y="99"/>
                      <a:pt x="61" y="101"/>
                    </a:cubicBezTo>
                    <a:cubicBezTo>
                      <a:pt x="61" y="103"/>
                      <a:pt x="59" y="105"/>
                      <a:pt x="57" y="105"/>
                    </a:cubicBezTo>
                    <a:close/>
                    <a:moveTo>
                      <a:pt x="179" y="105"/>
                    </a:moveTo>
                    <a:cubicBezTo>
                      <a:pt x="112" y="105"/>
                      <a:pt x="112" y="105"/>
                      <a:pt x="112" y="105"/>
                    </a:cubicBezTo>
                    <a:cubicBezTo>
                      <a:pt x="110" y="105"/>
                      <a:pt x="108" y="103"/>
                      <a:pt x="108" y="101"/>
                    </a:cubicBezTo>
                    <a:cubicBezTo>
                      <a:pt x="108" y="99"/>
                      <a:pt x="110" y="97"/>
                      <a:pt x="112" y="97"/>
                    </a:cubicBezTo>
                    <a:cubicBezTo>
                      <a:pt x="179" y="97"/>
                      <a:pt x="179" y="97"/>
                      <a:pt x="179" y="97"/>
                    </a:cubicBezTo>
                    <a:cubicBezTo>
                      <a:pt x="181" y="97"/>
                      <a:pt x="183" y="99"/>
                      <a:pt x="183" y="101"/>
                    </a:cubicBezTo>
                    <a:cubicBezTo>
                      <a:pt x="183" y="103"/>
                      <a:pt x="181" y="105"/>
                      <a:pt x="179" y="105"/>
                    </a:cubicBezTo>
                    <a:close/>
                    <a:moveTo>
                      <a:pt x="187" y="217"/>
                    </a:moveTo>
                    <a:cubicBezTo>
                      <a:pt x="44" y="217"/>
                      <a:pt x="44" y="217"/>
                      <a:pt x="44" y="217"/>
                    </a:cubicBezTo>
                    <a:cubicBezTo>
                      <a:pt x="38" y="217"/>
                      <a:pt x="32" y="223"/>
                      <a:pt x="32" y="229"/>
                    </a:cubicBezTo>
                    <a:cubicBezTo>
                      <a:pt x="32" y="243"/>
                      <a:pt x="32" y="243"/>
                      <a:pt x="32" y="243"/>
                    </a:cubicBezTo>
                    <a:cubicBezTo>
                      <a:pt x="32" y="250"/>
                      <a:pt x="38" y="255"/>
                      <a:pt x="44" y="255"/>
                    </a:cubicBezTo>
                    <a:cubicBezTo>
                      <a:pt x="187" y="255"/>
                      <a:pt x="187" y="255"/>
                      <a:pt x="187" y="255"/>
                    </a:cubicBezTo>
                    <a:cubicBezTo>
                      <a:pt x="194" y="255"/>
                      <a:pt x="199" y="250"/>
                      <a:pt x="199" y="243"/>
                    </a:cubicBezTo>
                    <a:cubicBezTo>
                      <a:pt x="199" y="229"/>
                      <a:pt x="199" y="229"/>
                      <a:pt x="199" y="229"/>
                    </a:cubicBezTo>
                    <a:cubicBezTo>
                      <a:pt x="199" y="223"/>
                      <a:pt x="194" y="217"/>
                      <a:pt x="187" y="217"/>
                    </a:cubicBezTo>
                    <a:close/>
                    <a:moveTo>
                      <a:pt x="57" y="240"/>
                    </a:moveTo>
                    <a:cubicBezTo>
                      <a:pt x="56" y="240"/>
                      <a:pt x="56" y="240"/>
                      <a:pt x="56" y="240"/>
                    </a:cubicBezTo>
                    <a:cubicBezTo>
                      <a:pt x="54" y="240"/>
                      <a:pt x="52" y="238"/>
                      <a:pt x="52" y="236"/>
                    </a:cubicBezTo>
                    <a:cubicBezTo>
                      <a:pt x="52" y="234"/>
                      <a:pt x="54" y="232"/>
                      <a:pt x="56" y="232"/>
                    </a:cubicBezTo>
                    <a:cubicBezTo>
                      <a:pt x="57" y="232"/>
                      <a:pt x="57" y="232"/>
                      <a:pt x="57" y="232"/>
                    </a:cubicBezTo>
                    <a:cubicBezTo>
                      <a:pt x="59" y="232"/>
                      <a:pt x="61" y="234"/>
                      <a:pt x="61" y="236"/>
                    </a:cubicBezTo>
                    <a:cubicBezTo>
                      <a:pt x="61" y="238"/>
                      <a:pt x="59" y="240"/>
                      <a:pt x="57" y="240"/>
                    </a:cubicBezTo>
                    <a:close/>
                    <a:moveTo>
                      <a:pt x="179" y="240"/>
                    </a:moveTo>
                    <a:cubicBezTo>
                      <a:pt x="112" y="240"/>
                      <a:pt x="112" y="240"/>
                      <a:pt x="112" y="240"/>
                    </a:cubicBezTo>
                    <a:cubicBezTo>
                      <a:pt x="110" y="240"/>
                      <a:pt x="108" y="238"/>
                      <a:pt x="108" y="236"/>
                    </a:cubicBezTo>
                    <a:cubicBezTo>
                      <a:pt x="108" y="234"/>
                      <a:pt x="110" y="232"/>
                      <a:pt x="112" y="232"/>
                    </a:cubicBezTo>
                    <a:cubicBezTo>
                      <a:pt x="179" y="232"/>
                      <a:pt x="179" y="232"/>
                      <a:pt x="179" y="232"/>
                    </a:cubicBezTo>
                    <a:cubicBezTo>
                      <a:pt x="181" y="232"/>
                      <a:pt x="183" y="234"/>
                      <a:pt x="183" y="236"/>
                    </a:cubicBezTo>
                    <a:cubicBezTo>
                      <a:pt x="183" y="238"/>
                      <a:pt x="181" y="240"/>
                      <a:pt x="179" y="240"/>
                    </a:cubicBezTo>
                    <a:close/>
                    <a:moveTo>
                      <a:pt x="226" y="250"/>
                    </a:moveTo>
                    <a:cubicBezTo>
                      <a:pt x="223" y="250"/>
                      <a:pt x="223" y="250"/>
                      <a:pt x="223" y="250"/>
                    </a:cubicBezTo>
                    <a:cubicBezTo>
                      <a:pt x="222" y="254"/>
                      <a:pt x="221" y="258"/>
                      <a:pt x="219" y="261"/>
                    </a:cubicBezTo>
                    <a:cubicBezTo>
                      <a:pt x="232" y="261"/>
                      <a:pt x="232" y="261"/>
                      <a:pt x="232" y="261"/>
                    </a:cubicBezTo>
                    <a:cubicBezTo>
                      <a:pt x="237" y="261"/>
                      <a:pt x="241" y="257"/>
                      <a:pt x="241" y="252"/>
                    </a:cubicBezTo>
                    <a:cubicBezTo>
                      <a:pt x="241" y="242"/>
                      <a:pt x="241" y="242"/>
                      <a:pt x="241" y="242"/>
                    </a:cubicBezTo>
                    <a:cubicBezTo>
                      <a:pt x="241" y="237"/>
                      <a:pt x="237" y="233"/>
                      <a:pt x="232" y="233"/>
                    </a:cubicBezTo>
                    <a:cubicBezTo>
                      <a:pt x="223" y="233"/>
                      <a:pt x="223" y="233"/>
                      <a:pt x="223" y="233"/>
                    </a:cubicBezTo>
                    <a:cubicBezTo>
                      <a:pt x="223" y="244"/>
                      <a:pt x="223" y="244"/>
                      <a:pt x="223" y="244"/>
                    </a:cubicBezTo>
                    <a:cubicBezTo>
                      <a:pt x="226" y="244"/>
                      <a:pt x="226" y="244"/>
                      <a:pt x="226" y="244"/>
                    </a:cubicBezTo>
                    <a:cubicBezTo>
                      <a:pt x="228" y="244"/>
                      <a:pt x="229" y="245"/>
                      <a:pt x="229" y="247"/>
                    </a:cubicBezTo>
                    <a:cubicBezTo>
                      <a:pt x="229" y="249"/>
                      <a:pt x="228" y="250"/>
                      <a:pt x="226" y="250"/>
                    </a:cubicBezTo>
                    <a:close/>
                    <a:moveTo>
                      <a:pt x="241" y="185"/>
                    </a:moveTo>
                    <a:cubicBezTo>
                      <a:pt x="241" y="174"/>
                      <a:pt x="241" y="174"/>
                      <a:pt x="241" y="174"/>
                    </a:cubicBezTo>
                    <a:cubicBezTo>
                      <a:pt x="241" y="169"/>
                      <a:pt x="237" y="165"/>
                      <a:pt x="232" y="165"/>
                    </a:cubicBezTo>
                    <a:cubicBezTo>
                      <a:pt x="223" y="165"/>
                      <a:pt x="223" y="165"/>
                      <a:pt x="223" y="165"/>
                    </a:cubicBezTo>
                    <a:cubicBezTo>
                      <a:pt x="223" y="176"/>
                      <a:pt x="223" y="176"/>
                      <a:pt x="223" y="176"/>
                    </a:cubicBezTo>
                    <a:cubicBezTo>
                      <a:pt x="226" y="176"/>
                      <a:pt x="226" y="176"/>
                      <a:pt x="226" y="176"/>
                    </a:cubicBezTo>
                    <a:cubicBezTo>
                      <a:pt x="228" y="176"/>
                      <a:pt x="229" y="178"/>
                      <a:pt x="229" y="179"/>
                    </a:cubicBezTo>
                    <a:cubicBezTo>
                      <a:pt x="229" y="181"/>
                      <a:pt x="228" y="182"/>
                      <a:pt x="226" y="182"/>
                    </a:cubicBezTo>
                    <a:cubicBezTo>
                      <a:pt x="223" y="182"/>
                      <a:pt x="223" y="182"/>
                      <a:pt x="223" y="182"/>
                    </a:cubicBezTo>
                    <a:cubicBezTo>
                      <a:pt x="223" y="194"/>
                      <a:pt x="223" y="194"/>
                      <a:pt x="223" y="194"/>
                    </a:cubicBezTo>
                    <a:cubicBezTo>
                      <a:pt x="232" y="194"/>
                      <a:pt x="232" y="194"/>
                      <a:pt x="232" y="194"/>
                    </a:cubicBezTo>
                    <a:cubicBezTo>
                      <a:pt x="237" y="194"/>
                      <a:pt x="241" y="190"/>
                      <a:pt x="241" y="185"/>
                    </a:cubicBezTo>
                    <a:close/>
                    <a:moveTo>
                      <a:pt x="241" y="151"/>
                    </a:moveTo>
                    <a:cubicBezTo>
                      <a:pt x="241" y="141"/>
                      <a:pt x="241" y="141"/>
                      <a:pt x="241" y="141"/>
                    </a:cubicBezTo>
                    <a:cubicBezTo>
                      <a:pt x="241" y="136"/>
                      <a:pt x="237" y="132"/>
                      <a:pt x="232" y="132"/>
                    </a:cubicBezTo>
                    <a:cubicBezTo>
                      <a:pt x="223" y="132"/>
                      <a:pt x="223" y="132"/>
                      <a:pt x="223" y="132"/>
                    </a:cubicBezTo>
                    <a:cubicBezTo>
                      <a:pt x="223" y="143"/>
                      <a:pt x="223" y="143"/>
                      <a:pt x="223" y="143"/>
                    </a:cubicBezTo>
                    <a:cubicBezTo>
                      <a:pt x="226" y="143"/>
                      <a:pt x="226" y="143"/>
                      <a:pt x="226" y="143"/>
                    </a:cubicBezTo>
                    <a:cubicBezTo>
                      <a:pt x="228" y="143"/>
                      <a:pt x="229" y="144"/>
                      <a:pt x="229" y="146"/>
                    </a:cubicBezTo>
                    <a:cubicBezTo>
                      <a:pt x="229" y="147"/>
                      <a:pt x="228" y="149"/>
                      <a:pt x="226" y="149"/>
                    </a:cubicBezTo>
                    <a:cubicBezTo>
                      <a:pt x="223" y="149"/>
                      <a:pt x="223" y="149"/>
                      <a:pt x="223" y="149"/>
                    </a:cubicBezTo>
                    <a:cubicBezTo>
                      <a:pt x="223" y="160"/>
                      <a:pt x="223" y="160"/>
                      <a:pt x="223" y="160"/>
                    </a:cubicBezTo>
                    <a:cubicBezTo>
                      <a:pt x="232" y="160"/>
                      <a:pt x="232" y="160"/>
                      <a:pt x="232" y="160"/>
                    </a:cubicBezTo>
                    <a:cubicBezTo>
                      <a:pt x="237" y="160"/>
                      <a:pt x="241" y="156"/>
                      <a:pt x="241" y="151"/>
                    </a:cubicBezTo>
                    <a:close/>
                    <a:moveTo>
                      <a:pt x="187" y="127"/>
                    </a:moveTo>
                    <a:cubicBezTo>
                      <a:pt x="44" y="127"/>
                      <a:pt x="44" y="127"/>
                      <a:pt x="44" y="127"/>
                    </a:cubicBezTo>
                    <a:cubicBezTo>
                      <a:pt x="38" y="127"/>
                      <a:pt x="32" y="133"/>
                      <a:pt x="32" y="139"/>
                    </a:cubicBezTo>
                    <a:cubicBezTo>
                      <a:pt x="32" y="153"/>
                      <a:pt x="32" y="153"/>
                      <a:pt x="32" y="153"/>
                    </a:cubicBezTo>
                    <a:cubicBezTo>
                      <a:pt x="32" y="160"/>
                      <a:pt x="38" y="165"/>
                      <a:pt x="44" y="165"/>
                    </a:cubicBezTo>
                    <a:cubicBezTo>
                      <a:pt x="187" y="165"/>
                      <a:pt x="187" y="165"/>
                      <a:pt x="187" y="165"/>
                    </a:cubicBezTo>
                    <a:cubicBezTo>
                      <a:pt x="194" y="165"/>
                      <a:pt x="199" y="160"/>
                      <a:pt x="199" y="153"/>
                    </a:cubicBezTo>
                    <a:cubicBezTo>
                      <a:pt x="199" y="139"/>
                      <a:pt x="199" y="139"/>
                      <a:pt x="199" y="139"/>
                    </a:cubicBezTo>
                    <a:cubicBezTo>
                      <a:pt x="199" y="133"/>
                      <a:pt x="194" y="127"/>
                      <a:pt x="187" y="127"/>
                    </a:cubicBezTo>
                    <a:close/>
                    <a:moveTo>
                      <a:pt x="57" y="150"/>
                    </a:moveTo>
                    <a:cubicBezTo>
                      <a:pt x="56" y="150"/>
                      <a:pt x="56" y="150"/>
                      <a:pt x="56" y="150"/>
                    </a:cubicBezTo>
                    <a:cubicBezTo>
                      <a:pt x="54" y="150"/>
                      <a:pt x="52" y="148"/>
                      <a:pt x="52" y="146"/>
                    </a:cubicBezTo>
                    <a:cubicBezTo>
                      <a:pt x="52" y="144"/>
                      <a:pt x="54" y="142"/>
                      <a:pt x="56" y="142"/>
                    </a:cubicBezTo>
                    <a:cubicBezTo>
                      <a:pt x="57" y="142"/>
                      <a:pt x="57" y="142"/>
                      <a:pt x="57" y="142"/>
                    </a:cubicBezTo>
                    <a:cubicBezTo>
                      <a:pt x="59" y="142"/>
                      <a:pt x="61" y="144"/>
                      <a:pt x="61" y="146"/>
                    </a:cubicBezTo>
                    <a:cubicBezTo>
                      <a:pt x="61" y="148"/>
                      <a:pt x="59" y="150"/>
                      <a:pt x="57" y="150"/>
                    </a:cubicBezTo>
                    <a:close/>
                    <a:moveTo>
                      <a:pt x="179" y="150"/>
                    </a:moveTo>
                    <a:cubicBezTo>
                      <a:pt x="112" y="150"/>
                      <a:pt x="112" y="150"/>
                      <a:pt x="112" y="150"/>
                    </a:cubicBezTo>
                    <a:cubicBezTo>
                      <a:pt x="110" y="150"/>
                      <a:pt x="108" y="148"/>
                      <a:pt x="108" y="146"/>
                    </a:cubicBezTo>
                    <a:cubicBezTo>
                      <a:pt x="108" y="144"/>
                      <a:pt x="110" y="142"/>
                      <a:pt x="112" y="142"/>
                    </a:cubicBezTo>
                    <a:cubicBezTo>
                      <a:pt x="179" y="142"/>
                      <a:pt x="179" y="142"/>
                      <a:pt x="179" y="142"/>
                    </a:cubicBezTo>
                    <a:cubicBezTo>
                      <a:pt x="181" y="142"/>
                      <a:pt x="183" y="144"/>
                      <a:pt x="183" y="146"/>
                    </a:cubicBezTo>
                    <a:cubicBezTo>
                      <a:pt x="183" y="148"/>
                      <a:pt x="181" y="150"/>
                      <a:pt x="179" y="150"/>
                    </a:cubicBezTo>
                    <a:close/>
                    <a:moveTo>
                      <a:pt x="187" y="37"/>
                    </a:moveTo>
                    <a:cubicBezTo>
                      <a:pt x="44" y="37"/>
                      <a:pt x="44" y="37"/>
                      <a:pt x="44" y="37"/>
                    </a:cubicBezTo>
                    <a:cubicBezTo>
                      <a:pt x="38" y="37"/>
                      <a:pt x="32" y="43"/>
                      <a:pt x="32" y="49"/>
                    </a:cubicBezTo>
                    <a:cubicBezTo>
                      <a:pt x="32" y="63"/>
                      <a:pt x="32" y="63"/>
                      <a:pt x="32" y="63"/>
                    </a:cubicBezTo>
                    <a:cubicBezTo>
                      <a:pt x="32" y="70"/>
                      <a:pt x="38" y="75"/>
                      <a:pt x="44" y="75"/>
                    </a:cubicBezTo>
                    <a:cubicBezTo>
                      <a:pt x="187" y="75"/>
                      <a:pt x="187" y="75"/>
                      <a:pt x="187" y="75"/>
                    </a:cubicBezTo>
                    <a:cubicBezTo>
                      <a:pt x="194" y="75"/>
                      <a:pt x="199" y="70"/>
                      <a:pt x="199" y="63"/>
                    </a:cubicBezTo>
                    <a:cubicBezTo>
                      <a:pt x="199" y="49"/>
                      <a:pt x="199" y="49"/>
                      <a:pt x="199" y="49"/>
                    </a:cubicBezTo>
                    <a:cubicBezTo>
                      <a:pt x="199" y="43"/>
                      <a:pt x="194" y="37"/>
                      <a:pt x="187" y="37"/>
                    </a:cubicBezTo>
                    <a:close/>
                    <a:moveTo>
                      <a:pt x="57" y="60"/>
                    </a:moveTo>
                    <a:cubicBezTo>
                      <a:pt x="56" y="60"/>
                      <a:pt x="56" y="60"/>
                      <a:pt x="56" y="60"/>
                    </a:cubicBezTo>
                    <a:cubicBezTo>
                      <a:pt x="54" y="60"/>
                      <a:pt x="52" y="58"/>
                      <a:pt x="52" y="56"/>
                    </a:cubicBezTo>
                    <a:cubicBezTo>
                      <a:pt x="52" y="54"/>
                      <a:pt x="54" y="52"/>
                      <a:pt x="56" y="52"/>
                    </a:cubicBezTo>
                    <a:cubicBezTo>
                      <a:pt x="57" y="52"/>
                      <a:pt x="57" y="52"/>
                      <a:pt x="57" y="52"/>
                    </a:cubicBezTo>
                    <a:cubicBezTo>
                      <a:pt x="59" y="52"/>
                      <a:pt x="61" y="54"/>
                      <a:pt x="61" y="56"/>
                    </a:cubicBezTo>
                    <a:cubicBezTo>
                      <a:pt x="61" y="58"/>
                      <a:pt x="59" y="60"/>
                      <a:pt x="57" y="60"/>
                    </a:cubicBezTo>
                    <a:close/>
                    <a:moveTo>
                      <a:pt x="179" y="60"/>
                    </a:moveTo>
                    <a:cubicBezTo>
                      <a:pt x="112" y="60"/>
                      <a:pt x="112" y="60"/>
                      <a:pt x="112" y="60"/>
                    </a:cubicBezTo>
                    <a:cubicBezTo>
                      <a:pt x="110" y="60"/>
                      <a:pt x="108" y="58"/>
                      <a:pt x="108" y="56"/>
                    </a:cubicBezTo>
                    <a:cubicBezTo>
                      <a:pt x="108" y="54"/>
                      <a:pt x="110" y="52"/>
                      <a:pt x="112" y="52"/>
                    </a:cubicBezTo>
                    <a:cubicBezTo>
                      <a:pt x="179" y="52"/>
                      <a:pt x="179" y="52"/>
                      <a:pt x="179" y="52"/>
                    </a:cubicBezTo>
                    <a:cubicBezTo>
                      <a:pt x="181" y="52"/>
                      <a:pt x="183" y="54"/>
                      <a:pt x="183" y="56"/>
                    </a:cubicBezTo>
                    <a:cubicBezTo>
                      <a:pt x="183" y="58"/>
                      <a:pt x="181" y="60"/>
                      <a:pt x="179" y="60"/>
                    </a:cubicBezTo>
                    <a:close/>
                    <a:moveTo>
                      <a:pt x="268" y="175"/>
                    </a:moveTo>
                    <a:cubicBezTo>
                      <a:pt x="268" y="172"/>
                      <a:pt x="265" y="169"/>
                      <a:pt x="261" y="169"/>
                    </a:cubicBezTo>
                    <a:cubicBezTo>
                      <a:pt x="261" y="190"/>
                      <a:pt x="261" y="190"/>
                      <a:pt x="261" y="190"/>
                    </a:cubicBezTo>
                    <a:cubicBezTo>
                      <a:pt x="265" y="189"/>
                      <a:pt x="268" y="187"/>
                      <a:pt x="268" y="183"/>
                    </a:cubicBezTo>
                    <a:lnTo>
                      <a:pt x="268" y="175"/>
                    </a:lnTo>
                    <a:close/>
                    <a:moveTo>
                      <a:pt x="268" y="201"/>
                    </a:moveTo>
                    <a:cubicBezTo>
                      <a:pt x="268" y="197"/>
                      <a:pt x="265" y="194"/>
                      <a:pt x="261" y="194"/>
                    </a:cubicBezTo>
                    <a:cubicBezTo>
                      <a:pt x="261" y="215"/>
                      <a:pt x="261" y="215"/>
                      <a:pt x="261" y="215"/>
                    </a:cubicBezTo>
                    <a:cubicBezTo>
                      <a:pt x="265" y="215"/>
                      <a:pt x="268" y="212"/>
                      <a:pt x="268" y="208"/>
                    </a:cubicBezTo>
                    <a:lnTo>
                      <a:pt x="268" y="201"/>
                    </a:lnTo>
                    <a:close/>
                    <a:moveTo>
                      <a:pt x="268" y="150"/>
                    </a:moveTo>
                    <a:cubicBezTo>
                      <a:pt x="268" y="146"/>
                      <a:pt x="265" y="143"/>
                      <a:pt x="261" y="143"/>
                    </a:cubicBezTo>
                    <a:cubicBezTo>
                      <a:pt x="261" y="164"/>
                      <a:pt x="261" y="164"/>
                      <a:pt x="261" y="164"/>
                    </a:cubicBezTo>
                    <a:cubicBezTo>
                      <a:pt x="265" y="164"/>
                      <a:pt x="268" y="161"/>
                      <a:pt x="268" y="158"/>
                    </a:cubicBezTo>
                    <a:lnTo>
                      <a:pt x="268" y="150"/>
                    </a:lnTo>
                    <a:close/>
                    <a:moveTo>
                      <a:pt x="277" y="260"/>
                    </a:moveTo>
                    <a:cubicBezTo>
                      <a:pt x="277" y="147"/>
                      <a:pt x="277" y="147"/>
                      <a:pt x="277" y="147"/>
                    </a:cubicBezTo>
                    <a:cubicBezTo>
                      <a:pt x="277" y="139"/>
                      <a:pt x="270" y="132"/>
                      <a:pt x="261" y="132"/>
                    </a:cubicBezTo>
                    <a:cubicBezTo>
                      <a:pt x="261" y="132"/>
                      <a:pt x="261" y="132"/>
                      <a:pt x="261" y="132"/>
                    </a:cubicBezTo>
                    <a:cubicBezTo>
                      <a:pt x="261" y="135"/>
                      <a:pt x="261" y="135"/>
                      <a:pt x="261" y="135"/>
                    </a:cubicBezTo>
                    <a:cubicBezTo>
                      <a:pt x="261" y="135"/>
                      <a:pt x="261" y="135"/>
                      <a:pt x="261" y="135"/>
                    </a:cubicBezTo>
                    <a:cubicBezTo>
                      <a:pt x="268" y="135"/>
                      <a:pt x="273" y="141"/>
                      <a:pt x="273" y="147"/>
                    </a:cubicBezTo>
                    <a:cubicBezTo>
                      <a:pt x="273" y="260"/>
                      <a:pt x="273" y="260"/>
                      <a:pt x="273" y="260"/>
                    </a:cubicBezTo>
                    <a:cubicBezTo>
                      <a:pt x="273" y="267"/>
                      <a:pt x="268" y="272"/>
                      <a:pt x="261" y="272"/>
                    </a:cubicBezTo>
                    <a:cubicBezTo>
                      <a:pt x="254" y="272"/>
                      <a:pt x="254" y="272"/>
                      <a:pt x="254" y="272"/>
                    </a:cubicBezTo>
                    <a:cubicBezTo>
                      <a:pt x="252" y="275"/>
                      <a:pt x="249" y="277"/>
                      <a:pt x="246" y="279"/>
                    </a:cubicBezTo>
                    <a:cubicBezTo>
                      <a:pt x="246" y="279"/>
                      <a:pt x="246" y="279"/>
                      <a:pt x="246" y="279"/>
                    </a:cubicBezTo>
                    <a:cubicBezTo>
                      <a:pt x="264" y="279"/>
                      <a:pt x="264" y="279"/>
                      <a:pt x="264" y="279"/>
                    </a:cubicBezTo>
                    <a:cubicBezTo>
                      <a:pt x="267" y="274"/>
                      <a:pt x="267" y="274"/>
                      <a:pt x="267" y="274"/>
                    </a:cubicBezTo>
                    <a:cubicBezTo>
                      <a:pt x="273" y="272"/>
                      <a:pt x="277" y="267"/>
                      <a:pt x="277" y="260"/>
                    </a:cubicBezTo>
                    <a:close/>
                    <a:moveTo>
                      <a:pt x="268" y="226"/>
                    </a:moveTo>
                    <a:cubicBezTo>
                      <a:pt x="268" y="222"/>
                      <a:pt x="265" y="219"/>
                      <a:pt x="261" y="219"/>
                    </a:cubicBezTo>
                    <a:cubicBezTo>
                      <a:pt x="261" y="240"/>
                      <a:pt x="261" y="240"/>
                      <a:pt x="261" y="240"/>
                    </a:cubicBezTo>
                    <a:cubicBezTo>
                      <a:pt x="265" y="240"/>
                      <a:pt x="268" y="237"/>
                      <a:pt x="268" y="234"/>
                    </a:cubicBezTo>
                    <a:lnTo>
                      <a:pt x="268" y="226"/>
                    </a:lnTo>
                    <a:close/>
                    <a:moveTo>
                      <a:pt x="261" y="245"/>
                    </a:moveTo>
                    <a:cubicBezTo>
                      <a:pt x="261" y="254"/>
                      <a:pt x="261" y="254"/>
                      <a:pt x="261" y="254"/>
                    </a:cubicBezTo>
                    <a:cubicBezTo>
                      <a:pt x="261" y="258"/>
                      <a:pt x="260" y="262"/>
                      <a:pt x="259" y="266"/>
                    </a:cubicBezTo>
                    <a:cubicBezTo>
                      <a:pt x="261" y="266"/>
                      <a:pt x="261" y="266"/>
                      <a:pt x="261" y="266"/>
                    </a:cubicBezTo>
                    <a:cubicBezTo>
                      <a:pt x="265" y="266"/>
                      <a:pt x="268" y="263"/>
                      <a:pt x="268" y="259"/>
                    </a:cubicBezTo>
                    <a:cubicBezTo>
                      <a:pt x="268" y="251"/>
                      <a:pt x="268" y="251"/>
                      <a:pt x="268" y="251"/>
                    </a:cubicBezTo>
                    <a:cubicBezTo>
                      <a:pt x="268" y="248"/>
                      <a:pt x="265" y="245"/>
                      <a:pt x="261" y="245"/>
                    </a:cubicBezTo>
                    <a:close/>
                    <a:moveTo>
                      <a:pt x="253" y="254"/>
                    </a:moveTo>
                    <a:cubicBezTo>
                      <a:pt x="253" y="103"/>
                      <a:pt x="253" y="103"/>
                      <a:pt x="253" y="103"/>
                    </a:cubicBezTo>
                    <a:cubicBezTo>
                      <a:pt x="253" y="92"/>
                      <a:pt x="244" y="83"/>
                      <a:pt x="233" y="83"/>
                    </a:cubicBezTo>
                    <a:cubicBezTo>
                      <a:pt x="223" y="83"/>
                      <a:pt x="223" y="83"/>
                      <a:pt x="223" y="83"/>
                    </a:cubicBezTo>
                    <a:cubicBezTo>
                      <a:pt x="223" y="87"/>
                      <a:pt x="223" y="87"/>
                      <a:pt x="223" y="87"/>
                    </a:cubicBezTo>
                    <a:cubicBezTo>
                      <a:pt x="233" y="87"/>
                      <a:pt x="233" y="87"/>
                      <a:pt x="233" y="87"/>
                    </a:cubicBezTo>
                    <a:cubicBezTo>
                      <a:pt x="242" y="87"/>
                      <a:pt x="249" y="94"/>
                      <a:pt x="249" y="103"/>
                    </a:cubicBezTo>
                    <a:cubicBezTo>
                      <a:pt x="249" y="254"/>
                      <a:pt x="249" y="254"/>
                      <a:pt x="249" y="254"/>
                    </a:cubicBezTo>
                    <a:cubicBezTo>
                      <a:pt x="249" y="262"/>
                      <a:pt x="242" y="269"/>
                      <a:pt x="233" y="269"/>
                    </a:cubicBezTo>
                    <a:cubicBezTo>
                      <a:pt x="213" y="269"/>
                      <a:pt x="213" y="269"/>
                      <a:pt x="213" y="269"/>
                    </a:cubicBezTo>
                    <a:cubicBezTo>
                      <a:pt x="211" y="271"/>
                      <a:pt x="209" y="273"/>
                      <a:pt x="207" y="275"/>
                    </a:cubicBezTo>
                    <a:cubicBezTo>
                      <a:pt x="209" y="279"/>
                      <a:pt x="209" y="279"/>
                      <a:pt x="209" y="279"/>
                    </a:cubicBezTo>
                    <a:cubicBezTo>
                      <a:pt x="237" y="279"/>
                      <a:pt x="237" y="279"/>
                      <a:pt x="237" y="279"/>
                    </a:cubicBezTo>
                    <a:cubicBezTo>
                      <a:pt x="240" y="273"/>
                      <a:pt x="240" y="273"/>
                      <a:pt x="240" y="273"/>
                    </a:cubicBezTo>
                    <a:cubicBezTo>
                      <a:pt x="248" y="270"/>
                      <a:pt x="253" y="262"/>
                      <a:pt x="253" y="254"/>
                    </a:cubicBezTo>
                    <a:close/>
                    <a:moveTo>
                      <a:pt x="215" y="245"/>
                    </a:moveTo>
                    <a:cubicBezTo>
                      <a:pt x="215" y="44"/>
                      <a:pt x="215" y="44"/>
                      <a:pt x="215" y="44"/>
                    </a:cubicBezTo>
                    <a:cubicBezTo>
                      <a:pt x="215" y="29"/>
                      <a:pt x="203" y="17"/>
                      <a:pt x="188" y="17"/>
                    </a:cubicBezTo>
                    <a:cubicBezTo>
                      <a:pt x="43" y="17"/>
                      <a:pt x="43" y="17"/>
                      <a:pt x="43" y="17"/>
                    </a:cubicBezTo>
                    <a:cubicBezTo>
                      <a:pt x="28" y="17"/>
                      <a:pt x="16" y="29"/>
                      <a:pt x="16" y="44"/>
                    </a:cubicBezTo>
                    <a:cubicBezTo>
                      <a:pt x="16" y="245"/>
                      <a:pt x="16" y="245"/>
                      <a:pt x="16" y="245"/>
                    </a:cubicBezTo>
                    <a:cubicBezTo>
                      <a:pt x="16" y="257"/>
                      <a:pt x="24" y="266"/>
                      <a:pt x="34" y="270"/>
                    </a:cubicBezTo>
                    <a:cubicBezTo>
                      <a:pt x="38" y="279"/>
                      <a:pt x="38" y="279"/>
                      <a:pt x="38" y="279"/>
                    </a:cubicBezTo>
                    <a:cubicBezTo>
                      <a:pt x="75" y="279"/>
                      <a:pt x="75" y="279"/>
                      <a:pt x="75" y="279"/>
                    </a:cubicBezTo>
                    <a:cubicBezTo>
                      <a:pt x="79" y="272"/>
                      <a:pt x="79" y="272"/>
                      <a:pt x="79" y="272"/>
                    </a:cubicBezTo>
                    <a:cubicBezTo>
                      <a:pt x="153" y="272"/>
                      <a:pt x="153" y="272"/>
                      <a:pt x="153" y="272"/>
                    </a:cubicBezTo>
                    <a:cubicBezTo>
                      <a:pt x="156" y="279"/>
                      <a:pt x="156" y="279"/>
                      <a:pt x="156" y="279"/>
                    </a:cubicBezTo>
                    <a:cubicBezTo>
                      <a:pt x="193" y="279"/>
                      <a:pt x="193" y="279"/>
                      <a:pt x="193" y="279"/>
                    </a:cubicBezTo>
                    <a:cubicBezTo>
                      <a:pt x="198" y="270"/>
                      <a:pt x="198" y="270"/>
                      <a:pt x="198" y="270"/>
                    </a:cubicBezTo>
                    <a:cubicBezTo>
                      <a:pt x="208" y="266"/>
                      <a:pt x="215" y="257"/>
                      <a:pt x="215" y="245"/>
                    </a:cubicBezTo>
                    <a:close/>
                    <a:moveTo>
                      <a:pt x="188" y="266"/>
                    </a:moveTo>
                    <a:cubicBezTo>
                      <a:pt x="43" y="266"/>
                      <a:pt x="43" y="266"/>
                      <a:pt x="43" y="266"/>
                    </a:cubicBezTo>
                    <a:cubicBezTo>
                      <a:pt x="32" y="266"/>
                      <a:pt x="22" y="257"/>
                      <a:pt x="22" y="245"/>
                    </a:cubicBezTo>
                    <a:cubicBezTo>
                      <a:pt x="22" y="44"/>
                      <a:pt x="22" y="44"/>
                      <a:pt x="22" y="44"/>
                    </a:cubicBezTo>
                    <a:cubicBezTo>
                      <a:pt x="22" y="32"/>
                      <a:pt x="32" y="23"/>
                      <a:pt x="43" y="23"/>
                    </a:cubicBezTo>
                    <a:cubicBezTo>
                      <a:pt x="188" y="23"/>
                      <a:pt x="188" y="23"/>
                      <a:pt x="188" y="23"/>
                    </a:cubicBezTo>
                    <a:cubicBezTo>
                      <a:pt x="200" y="23"/>
                      <a:pt x="209" y="32"/>
                      <a:pt x="209" y="44"/>
                    </a:cubicBezTo>
                    <a:cubicBezTo>
                      <a:pt x="209" y="245"/>
                      <a:pt x="209" y="245"/>
                      <a:pt x="209" y="245"/>
                    </a:cubicBezTo>
                    <a:cubicBezTo>
                      <a:pt x="209" y="257"/>
                      <a:pt x="200" y="266"/>
                      <a:pt x="188" y="266"/>
                    </a:cubicBezTo>
                    <a:close/>
                    <a:moveTo>
                      <a:pt x="241" y="117"/>
                    </a:moveTo>
                    <a:cubicBezTo>
                      <a:pt x="241" y="107"/>
                      <a:pt x="241" y="107"/>
                      <a:pt x="241" y="107"/>
                    </a:cubicBezTo>
                    <a:cubicBezTo>
                      <a:pt x="241" y="102"/>
                      <a:pt x="237" y="98"/>
                      <a:pt x="232" y="98"/>
                    </a:cubicBezTo>
                    <a:cubicBezTo>
                      <a:pt x="223" y="98"/>
                      <a:pt x="223" y="98"/>
                      <a:pt x="223" y="98"/>
                    </a:cubicBezTo>
                    <a:cubicBezTo>
                      <a:pt x="223" y="109"/>
                      <a:pt x="223" y="109"/>
                      <a:pt x="223" y="109"/>
                    </a:cubicBezTo>
                    <a:cubicBezTo>
                      <a:pt x="226" y="109"/>
                      <a:pt x="226" y="109"/>
                      <a:pt x="226" y="109"/>
                    </a:cubicBezTo>
                    <a:cubicBezTo>
                      <a:pt x="228" y="109"/>
                      <a:pt x="229" y="110"/>
                      <a:pt x="229" y="112"/>
                    </a:cubicBezTo>
                    <a:cubicBezTo>
                      <a:pt x="229" y="114"/>
                      <a:pt x="228" y="115"/>
                      <a:pt x="226" y="115"/>
                    </a:cubicBezTo>
                    <a:cubicBezTo>
                      <a:pt x="223" y="115"/>
                      <a:pt x="223" y="115"/>
                      <a:pt x="223" y="115"/>
                    </a:cubicBezTo>
                    <a:cubicBezTo>
                      <a:pt x="223" y="126"/>
                      <a:pt x="223" y="126"/>
                      <a:pt x="223" y="126"/>
                    </a:cubicBezTo>
                    <a:cubicBezTo>
                      <a:pt x="232" y="126"/>
                      <a:pt x="232" y="126"/>
                      <a:pt x="232" y="126"/>
                    </a:cubicBezTo>
                    <a:cubicBezTo>
                      <a:pt x="237" y="126"/>
                      <a:pt x="241" y="122"/>
                      <a:pt x="241" y="117"/>
                    </a:cubicBezTo>
                    <a:close/>
                    <a:moveTo>
                      <a:pt x="4" y="88"/>
                    </a:moveTo>
                    <a:cubicBezTo>
                      <a:pt x="0" y="88"/>
                      <a:pt x="0" y="88"/>
                      <a:pt x="0" y="88"/>
                    </a:cubicBezTo>
                    <a:cubicBezTo>
                      <a:pt x="0" y="96"/>
                      <a:pt x="0" y="96"/>
                      <a:pt x="0" y="96"/>
                    </a:cubicBezTo>
                    <a:cubicBezTo>
                      <a:pt x="4" y="96"/>
                      <a:pt x="4" y="96"/>
                      <a:pt x="4" y="96"/>
                    </a:cubicBezTo>
                    <a:lnTo>
                      <a:pt x="4" y="88"/>
                    </a:lnTo>
                    <a:close/>
                    <a:moveTo>
                      <a:pt x="125" y="0"/>
                    </a:moveTo>
                    <a:cubicBezTo>
                      <a:pt x="117" y="0"/>
                      <a:pt x="117" y="0"/>
                      <a:pt x="117" y="0"/>
                    </a:cubicBezTo>
                    <a:cubicBezTo>
                      <a:pt x="117" y="4"/>
                      <a:pt x="117" y="4"/>
                      <a:pt x="117" y="4"/>
                    </a:cubicBezTo>
                    <a:cubicBezTo>
                      <a:pt x="125" y="4"/>
                      <a:pt x="125" y="4"/>
                      <a:pt x="125" y="4"/>
                    </a:cubicBezTo>
                    <a:lnTo>
                      <a:pt x="125" y="0"/>
                    </a:lnTo>
                    <a:close/>
                    <a:moveTo>
                      <a:pt x="61" y="0"/>
                    </a:moveTo>
                    <a:cubicBezTo>
                      <a:pt x="53" y="0"/>
                      <a:pt x="53" y="0"/>
                      <a:pt x="53" y="0"/>
                    </a:cubicBezTo>
                    <a:cubicBezTo>
                      <a:pt x="53" y="4"/>
                      <a:pt x="53" y="4"/>
                      <a:pt x="53" y="4"/>
                    </a:cubicBezTo>
                    <a:cubicBezTo>
                      <a:pt x="61" y="4"/>
                      <a:pt x="61" y="4"/>
                      <a:pt x="61" y="4"/>
                    </a:cubicBezTo>
                    <a:lnTo>
                      <a:pt x="61" y="0"/>
                    </a:lnTo>
                    <a:close/>
                    <a:moveTo>
                      <a:pt x="42" y="4"/>
                    </a:moveTo>
                    <a:cubicBezTo>
                      <a:pt x="45" y="4"/>
                      <a:pt x="45" y="4"/>
                      <a:pt x="45" y="4"/>
                    </a:cubicBezTo>
                    <a:cubicBezTo>
                      <a:pt x="45" y="0"/>
                      <a:pt x="45" y="0"/>
                      <a:pt x="45" y="0"/>
                    </a:cubicBezTo>
                    <a:cubicBezTo>
                      <a:pt x="42" y="0"/>
                      <a:pt x="42" y="0"/>
                      <a:pt x="42" y="0"/>
                    </a:cubicBezTo>
                    <a:cubicBezTo>
                      <a:pt x="40" y="0"/>
                      <a:pt x="39" y="0"/>
                      <a:pt x="37" y="1"/>
                    </a:cubicBezTo>
                    <a:cubicBezTo>
                      <a:pt x="37" y="5"/>
                      <a:pt x="37" y="5"/>
                      <a:pt x="37" y="5"/>
                    </a:cubicBezTo>
                    <a:cubicBezTo>
                      <a:pt x="39" y="4"/>
                      <a:pt x="40" y="4"/>
                      <a:pt x="42" y="4"/>
                    </a:cubicBezTo>
                    <a:close/>
                    <a:moveTo>
                      <a:pt x="8" y="25"/>
                    </a:moveTo>
                    <a:cubicBezTo>
                      <a:pt x="4" y="24"/>
                      <a:pt x="4" y="24"/>
                      <a:pt x="4" y="24"/>
                    </a:cubicBezTo>
                    <a:cubicBezTo>
                      <a:pt x="3" y="26"/>
                      <a:pt x="2" y="29"/>
                      <a:pt x="1" y="32"/>
                    </a:cubicBezTo>
                    <a:cubicBezTo>
                      <a:pt x="5" y="33"/>
                      <a:pt x="5" y="33"/>
                      <a:pt x="5" y="33"/>
                    </a:cubicBezTo>
                    <a:cubicBezTo>
                      <a:pt x="6" y="30"/>
                      <a:pt x="7" y="28"/>
                      <a:pt x="8" y="25"/>
                    </a:cubicBezTo>
                    <a:close/>
                    <a:moveTo>
                      <a:pt x="93" y="0"/>
                    </a:moveTo>
                    <a:cubicBezTo>
                      <a:pt x="85" y="0"/>
                      <a:pt x="85" y="0"/>
                      <a:pt x="85" y="0"/>
                    </a:cubicBezTo>
                    <a:cubicBezTo>
                      <a:pt x="85" y="4"/>
                      <a:pt x="85" y="4"/>
                      <a:pt x="85" y="4"/>
                    </a:cubicBezTo>
                    <a:cubicBezTo>
                      <a:pt x="93" y="4"/>
                      <a:pt x="93" y="4"/>
                      <a:pt x="93" y="4"/>
                    </a:cubicBezTo>
                    <a:lnTo>
                      <a:pt x="93" y="0"/>
                    </a:lnTo>
                    <a:close/>
                    <a:moveTo>
                      <a:pt x="77" y="0"/>
                    </a:moveTo>
                    <a:cubicBezTo>
                      <a:pt x="69" y="0"/>
                      <a:pt x="69" y="0"/>
                      <a:pt x="69" y="0"/>
                    </a:cubicBezTo>
                    <a:cubicBezTo>
                      <a:pt x="69" y="4"/>
                      <a:pt x="69" y="4"/>
                      <a:pt x="69" y="4"/>
                    </a:cubicBezTo>
                    <a:cubicBezTo>
                      <a:pt x="77" y="4"/>
                      <a:pt x="77" y="4"/>
                      <a:pt x="77" y="4"/>
                    </a:cubicBezTo>
                    <a:lnTo>
                      <a:pt x="77" y="0"/>
                    </a:lnTo>
                    <a:close/>
                    <a:moveTo>
                      <a:pt x="141" y="0"/>
                    </a:moveTo>
                    <a:cubicBezTo>
                      <a:pt x="133" y="0"/>
                      <a:pt x="133" y="0"/>
                      <a:pt x="133" y="0"/>
                    </a:cubicBezTo>
                    <a:cubicBezTo>
                      <a:pt x="133" y="4"/>
                      <a:pt x="133" y="4"/>
                      <a:pt x="133" y="4"/>
                    </a:cubicBezTo>
                    <a:cubicBezTo>
                      <a:pt x="141" y="4"/>
                      <a:pt x="141" y="4"/>
                      <a:pt x="141" y="4"/>
                    </a:cubicBezTo>
                    <a:lnTo>
                      <a:pt x="141" y="0"/>
                    </a:lnTo>
                    <a:close/>
                    <a:moveTo>
                      <a:pt x="4" y="56"/>
                    </a:moveTo>
                    <a:cubicBezTo>
                      <a:pt x="0" y="56"/>
                      <a:pt x="0" y="56"/>
                      <a:pt x="0" y="56"/>
                    </a:cubicBezTo>
                    <a:cubicBezTo>
                      <a:pt x="0" y="64"/>
                      <a:pt x="0" y="64"/>
                      <a:pt x="0" y="64"/>
                    </a:cubicBezTo>
                    <a:cubicBezTo>
                      <a:pt x="4" y="64"/>
                      <a:pt x="4" y="64"/>
                      <a:pt x="4" y="64"/>
                    </a:cubicBezTo>
                    <a:lnTo>
                      <a:pt x="4" y="56"/>
                    </a:lnTo>
                    <a:close/>
                    <a:moveTo>
                      <a:pt x="4" y="42"/>
                    </a:moveTo>
                    <a:cubicBezTo>
                      <a:pt x="4" y="42"/>
                      <a:pt x="4" y="41"/>
                      <a:pt x="4" y="40"/>
                    </a:cubicBezTo>
                    <a:cubicBezTo>
                      <a:pt x="0" y="40"/>
                      <a:pt x="0" y="40"/>
                      <a:pt x="0" y="40"/>
                    </a:cubicBezTo>
                    <a:cubicBezTo>
                      <a:pt x="0" y="41"/>
                      <a:pt x="0" y="41"/>
                      <a:pt x="0" y="42"/>
                    </a:cubicBezTo>
                    <a:cubicBezTo>
                      <a:pt x="0" y="48"/>
                      <a:pt x="0" y="48"/>
                      <a:pt x="0" y="48"/>
                    </a:cubicBezTo>
                    <a:cubicBezTo>
                      <a:pt x="4" y="48"/>
                      <a:pt x="4" y="48"/>
                      <a:pt x="4" y="48"/>
                    </a:cubicBezTo>
                    <a:lnTo>
                      <a:pt x="4" y="42"/>
                    </a:lnTo>
                    <a:close/>
                    <a:moveTo>
                      <a:pt x="17" y="14"/>
                    </a:moveTo>
                    <a:cubicBezTo>
                      <a:pt x="14" y="11"/>
                      <a:pt x="14" y="11"/>
                      <a:pt x="14" y="11"/>
                    </a:cubicBezTo>
                    <a:cubicBezTo>
                      <a:pt x="12" y="12"/>
                      <a:pt x="10" y="14"/>
                      <a:pt x="9" y="17"/>
                    </a:cubicBezTo>
                    <a:cubicBezTo>
                      <a:pt x="12" y="19"/>
                      <a:pt x="12" y="19"/>
                      <a:pt x="12" y="19"/>
                    </a:cubicBezTo>
                    <a:cubicBezTo>
                      <a:pt x="13" y="17"/>
                      <a:pt x="15" y="15"/>
                      <a:pt x="17" y="14"/>
                    </a:cubicBezTo>
                    <a:close/>
                    <a:moveTo>
                      <a:pt x="4" y="72"/>
                    </a:moveTo>
                    <a:cubicBezTo>
                      <a:pt x="0" y="72"/>
                      <a:pt x="0" y="72"/>
                      <a:pt x="0" y="72"/>
                    </a:cubicBezTo>
                    <a:cubicBezTo>
                      <a:pt x="0" y="80"/>
                      <a:pt x="0" y="80"/>
                      <a:pt x="0" y="80"/>
                    </a:cubicBezTo>
                    <a:cubicBezTo>
                      <a:pt x="4" y="80"/>
                      <a:pt x="4" y="80"/>
                      <a:pt x="4" y="80"/>
                    </a:cubicBezTo>
                    <a:lnTo>
                      <a:pt x="4" y="72"/>
                    </a:lnTo>
                    <a:close/>
                    <a:moveTo>
                      <a:pt x="30" y="6"/>
                    </a:moveTo>
                    <a:cubicBezTo>
                      <a:pt x="29" y="2"/>
                      <a:pt x="29" y="2"/>
                      <a:pt x="29" y="2"/>
                    </a:cubicBezTo>
                    <a:cubicBezTo>
                      <a:pt x="26" y="3"/>
                      <a:pt x="24" y="4"/>
                      <a:pt x="21" y="6"/>
                    </a:cubicBezTo>
                    <a:cubicBezTo>
                      <a:pt x="23" y="9"/>
                      <a:pt x="23" y="9"/>
                      <a:pt x="23" y="9"/>
                    </a:cubicBezTo>
                    <a:cubicBezTo>
                      <a:pt x="25" y="8"/>
                      <a:pt x="28" y="7"/>
                      <a:pt x="30" y="6"/>
                    </a:cubicBezTo>
                    <a:close/>
                    <a:moveTo>
                      <a:pt x="109" y="0"/>
                    </a:moveTo>
                    <a:cubicBezTo>
                      <a:pt x="101" y="0"/>
                      <a:pt x="101" y="0"/>
                      <a:pt x="101" y="0"/>
                    </a:cubicBezTo>
                    <a:cubicBezTo>
                      <a:pt x="101" y="4"/>
                      <a:pt x="101" y="4"/>
                      <a:pt x="101" y="4"/>
                    </a:cubicBezTo>
                    <a:cubicBezTo>
                      <a:pt x="109" y="4"/>
                      <a:pt x="109" y="4"/>
                      <a:pt x="109" y="4"/>
                    </a:cubicBezTo>
                    <a:lnTo>
                      <a:pt x="109" y="0"/>
                    </a:lnTo>
                    <a:close/>
                    <a:moveTo>
                      <a:pt x="251" y="47"/>
                    </a:moveTo>
                    <a:cubicBezTo>
                      <a:pt x="247" y="40"/>
                      <a:pt x="247" y="40"/>
                      <a:pt x="247" y="40"/>
                    </a:cubicBezTo>
                    <a:cubicBezTo>
                      <a:pt x="244" y="42"/>
                      <a:pt x="244" y="42"/>
                      <a:pt x="244" y="42"/>
                    </a:cubicBezTo>
                    <a:cubicBezTo>
                      <a:pt x="247" y="49"/>
                      <a:pt x="247" y="49"/>
                      <a:pt x="247" y="49"/>
                    </a:cubicBezTo>
                    <a:lnTo>
                      <a:pt x="251" y="47"/>
                    </a:lnTo>
                    <a:close/>
                    <a:moveTo>
                      <a:pt x="259" y="61"/>
                    </a:moveTo>
                    <a:cubicBezTo>
                      <a:pt x="255" y="54"/>
                      <a:pt x="255" y="54"/>
                      <a:pt x="255" y="54"/>
                    </a:cubicBezTo>
                    <a:cubicBezTo>
                      <a:pt x="251" y="56"/>
                      <a:pt x="251" y="56"/>
                      <a:pt x="251" y="56"/>
                    </a:cubicBezTo>
                    <a:cubicBezTo>
                      <a:pt x="255" y="63"/>
                      <a:pt x="255" y="63"/>
                      <a:pt x="255" y="63"/>
                    </a:cubicBezTo>
                    <a:lnTo>
                      <a:pt x="259" y="61"/>
                    </a:lnTo>
                    <a:close/>
                    <a:moveTo>
                      <a:pt x="266" y="75"/>
                    </a:moveTo>
                    <a:cubicBezTo>
                      <a:pt x="262" y="68"/>
                      <a:pt x="262" y="68"/>
                      <a:pt x="262" y="68"/>
                    </a:cubicBezTo>
                    <a:cubicBezTo>
                      <a:pt x="259" y="70"/>
                      <a:pt x="259" y="70"/>
                      <a:pt x="259" y="70"/>
                    </a:cubicBezTo>
                    <a:cubicBezTo>
                      <a:pt x="263" y="77"/>
                      <a:pt x="263" y="77"/>
                      <a:pt x="263" y="77"/>
                    </a:cubicBezTo>
                    <a:lnTo>
                      <a:pt x="266" y="75"/>
                    </a:lnTo>
                    <a:close/>
                    <a:moveTo>
                      <a:pt x="274" y="89"/>
                    </a:moveTo>
                    <a:cubicBezTo>
                      <a:pt x="270" y="82"/>
                      <a:pt x="270" y="82"/>
                      <a:pt x="270" y="82"/>
                    </a:cubicBezTo>
                    <a:cubicBezTo>
                      <a:pt x="266" y="84"/>
                      <a:pt x="266" y="84"/>
                      <a:pt x="266" y="84"/>
                    </a:cubicBezTo>
                    <a:cubicBezTo>
                      <a:pt x="270" y="91"/>
                      <a:pt x="270" y="91"/>
                      <a:pt x="270" y="91"/>
                    </a:cubicBezTo>
                    <a:lnTo>
                      <a:pt x="274" y="89"/>
                    </a:lnTo>
                    <a:close/>
                    <a:moveTo>
                      <a:pt x="232" y="20"/>
                    </a:moveTo>
                    <a:cubicBezTo>
                      <a:pt x="231" y="19"/>
                      <a:pt x="228" y="17"/>
                      <a:pt x="226" y="15"/>
                    </a:cubicBezTo>
                    <a:cubicBezTo>
                      <a:pt x="224" y="19"/>
                      <a:pt x="224" y="19"/>
                      <a:pt x="224" y="19"/>
                    </a:cubicBezTo>
                    <a:cubicBezTo>
                      <a:pt x="226" y="20"/>
                      <a:pt x="228" y="22"/>
                      <a:pt x="230" y="23"/>
                    </a:cubicBezTo>
                    <a:lnTo>
                      <a:pt x="232" y="20"/>
                    </a:lnTo>
                    <a:close/>
                    <a:moveTo>
                      <a:pt x="243" y="33"/>
                    </a:moveTo>
                    <a:cubicBezTo>
                      <a:pt x="242" y="31"/>
                      <a:pt x="240" y="28"/>
                      <a:pt x="238" y="26"/>
                    </a:cubicBezTo>
                    <a:cubicBezTo>
                      <a:pt x="235" y="29"/>
                      <a:pt x="235" y="29"/>
                      <a:pt x="235" y="29"/>
                    </a:cubicBezTo>
                    <a:cubicBezTo>
                      <a:pt x="237" y="31"/>
                      <a:pt x="239" y="33"/>
                      <a:pt x="240" y="35"/>
                    </a:cubicBezTo>
                    <a:lnTo>
                      <a:pt x="243" y="33"/>
                    </a:lnTo>
                    <a:close/>
                    <a:moveTo>
                      <a:pt x="277" y="105"/>
                    </a:moveTo>
                    <a:cubicBezTo>
                      <a:pt x="280" y="104"/>
                      <a:pt x="280" y="104"/>
                      <a:pt x="280" y="104"/>
                    </a:cubicBezTo>
                    <a:cubicBezTo>
                      <a:pt x="279" y="101"/>
                      <a:pt x="278" y="99"/>
                      <a:pt x="277" y="96"/>
                    </a:cubicBezTo>
                    <a:cubicBezTo>
                      <a:pt x="274" y="98"/>
                      <a:pt x="274" y="98"/>
                      <a:pt x="274" y="98"/>
                    </a:cubicBezTo>
                    <a:cubicBezTo>
                      <a:pt x="275" y="100"/>
                      <a:pt x="276" y="103"/>
                      <a:pt x="277" y="105"/>
                    </a:cubicBezTo>
                    <a:close/>
                    <a:moveTo>
                      <a:pt x="205" y="4"/>
                    </a:moveTo>
                    <a:cubicBezTo>
                      <a:pt x="202" y="3"/>
                      <a:pt x="199" y="2"/>
                      <a:pt x="197" y="2"/>
                    </a:cubicBezTo>
                    <a:cubicBezTo>
                      <a:pt x="196" y="6"/>
                      <a:pt x="196" y="6"/>
                      <a:pt x="196" y="6"/>
                    </a:cubicBezTo>
                    <a:cubicBezTo>
                      <a:pt x="198" y="6"/>
                      <a:pt x="201" y="7"/>
                      <a:pt x="203" y="8"/>
                    </a:cubicBezTo>
                    <a:lnTo>
                      <a:pt x="205" y="4"/>
                    </a:lnTo>
                    <a:close/>
                    <a:moveTo>
                      <a:pt x="157" y="0"/>
                    </a:moveTo>
                    <a:cubicBezTo>
                      <a:pt x="149" y="0"/>
                      <a:pt x="149" y="0"/>
                      <a:pt x="149" y="0"/>
                    </a:cubicBezTo>
                    <a:cubicBezTo>
                      <a:pt x="149" y="4"/>
                      <a:pt x="149" y="4"/>
                      <a:pt x="149" y="4"/>
                    </a:cubicBezTo>
                    <a:cubicBezTo>
                      <a:pt x="157" y="4"/>
                      <a:pt x="157" y="4"/>
                      <a:pt x="157" y="4"/>
                    </a:cubicBezTo>
                    <a:lnTo>
                      <a:pt x="157" y="0"/>
                    </a:lnTo>
                    <a:close/>
                    <a:moveTo>
                      <a:pt x="172" y="0"/>
                    </a:moveTo>
                    <a:cubicBezTo>
                      <a:pt x="165" y="0"/>
                      <a:pt x="165" y="0"/>
                      <a:pt x="165" y="0"/>
                    </a:cubicBezTo>
                    <a:cubicBezTo>
                      <a:pt x="165" y="4"/>
                      <a:pt x="165" y="4"/>
                      <a:pt x="165" y="4"/>
                    </a:cubicBezTo>
                    <a:cubicBezTo>
                      <a:pt x="172" y="4"/>
                      <a:pt x="172" y="4"/>
                      <a:pt x="172" y="4"/>
                    </a:cubicBezTo>
                    <a:lnTo>
                      <a:pt x="172" y="0"/>
                    </a:lnTo>
                    <a:close/>
                    <a:moveTo>
                      <a:pt x="188" y="4"/>
                    </a:moveTo>
                    <a:cubicBezTo>
                      <a:pt x="189" y="0"/>
                      <a:pt x="189" y="0"/>
                      <a:pt x="189" y="0"/>
                    </a:cubicBezTo>
                    <a:cubicBezTo>
                      <a:pt x="187" y="0"/>
                      <a:pt x="186" y="0"/>
                      <a:pt x="185" y="0"/>
                    </a:cubicBezTo>
                    <a:cubicBezTo>
                      <a:pt x="180" y="0"/>
                      <a:pt x="180" y="0"/>
                      <a:pt x="180" y="0"/>
                    </a:cubicBezTo>
                    <a:cubicBezTo>
                      <a:pt x="180" y="4"/>
                      <a:pt x="180" y="4"/>
                      <a:pt x="180" y="4"/>
                    </a:cubicBezTo>
                    <a:cubicBezTo>
                      <a:pt x="185" y="4"/>
                      <a:pt x="185" y="4"/>
                      <a:pt x="185" y="4"/>
                    </a:cubicBezTo>
                    <a:cubicBezTo>
                      <a:pt x="186" y="4"/>
                      <a:pt x="187" y="4"/>
                      <a:pt x="188" y="4"/>
                    </a:cubicBezTo>
                    <a:close/>
                    <a:moveTo>
                      <a:pt x="219" y="11"/>
                    </a:moveTo>
                    <a:cubicBezTo>
                      <a:pt x="217" y="9"/>
                      <a:pt x="215" y="8"/>
                      <a:pt x="212" y="7"/>
                    </a:cubicBezTo>
                    <a:cubicBezTo>
                      <a:pt x="210" y="11"/>
                      <a:pt x="210" y="11"/>
                      <a:pt x="210" y="11"/>
                    </a:cubicBezTo>
                    <a:cubicBezTo>
                      <a:pt x="213" y="12"/>
                      <a:pt x="215" y="13"/>
                      <a:pt x="217" y="14"/>
                    </a:cubicBezTo>
                    <a:lnTo>
                      <a:pt x="219" y="11"/>
                    </a:lnTo>
                    <a:close/>
                    <a:moveTo>
                      <a:pt x="285" y="135"/>
                    </a:moveTo>
                    <a:cubicBezTo>
                      <a:pt x="289" y="135"/>
                      <a:pt x="289" y="135"/>
                      <a:pt x="289" y="135"/>
                    </a:cubicBezTo>
                    <a:cubicBezTo>
                      <a:pt x="289" y="132"/>
                      <a:pt x="288" y="129"/>
                      <a:pt x="288" y="127"/>
                    </a:cubicBezTo>
                    <a:cubicBezTo>
                      <a:pt x="284" y="128"/>
                      <a:pt x="284" y="128"/>
                      <a:pt x="284" y="128"/>
                    </a:cubicBezTo>
                    <a:cubicBezTo>
                      <a:pt x="284" y="130"/>
                      <a:pt x="285" y="133"/>
                      <a:pt x="285" y="135"/>
                    </a:cubicBezTo>
                    <a:close/>
                    <a:moveTo>
                      <a:pt x="288" y="151"/>
                    </a:moveTo>
                    <a:cubicBezTo>
                      <a:pt x="292" y="150"/>
                      <a:pt x="292" y="150"/>
                      <a:pt x="292" y="150"/>
                    </a:cubicBezTo>
                    <a:cubicBezTo>
                      <a:pt x="292" y="148"/>
                      <a:pt x="291" y="145"/>
                      <a:pt x="291" y="142"/>
                    </a:cubicBezTo>
                    <a:cubicBezTo>
                      <a:pt x="287" y="143"/>
                      <a:pt x="287" y="143"/>
                      <a:pt x="287" y="143"/>
                    </a:cubicBezTo>
                    <a:cubicBezTo>
                      <a:pt x="287" y="146"/>
                      <a:pt x="288" y="148"/>
                      <a:pt x="288" y="151"/>
                    </a:cubicBezTo>
                    <a:close/>
                    <a:moveTo>
                      <a:pt x="242" y="296"/>
                    </a:moveTo>
                    <a:cubicBezTo>
                      <a:pt x="250" y="296"/>
                      <a:pt x="250" y="296"/>
                      <a:pt x="250" y="296"/>
                    </a:cubicBezTo>
                    <a:cubicBezTo>
                      <a:pt x="250" y="292"/>
                      <a:pt x="250" y="292"/>
                      <a:pt x="250" y="292"/>
                    </a:cubicBezTo>
                    <a:cubicBezTo>
                      <a:pt x="242" y="292"/>
                      <a:pt x="242" y="292"/>
                      <a:pt x="242" y="292"/>
                    </a:cubicBezTo>
                    <a:lnTo>
                      <a:pt x="242" y="296"/>
                    </a:lnTo>
                    <a:close/>
                    <a:moveTo>
                      <a:pt x="226" y="296"/>
                    </a:moveTo>
                    <a:cubicBezTo>
                      <a:pt x="234" y="296"/>
                      <a:pt x="234" y="296"/>
                      <a:pt x="234" y="296"/>
                    </a:cubicBezTo>
                    <a:cubicBezTo>
                      <a:pt x="234" y="292"/>
                      <a:pt x="234" y="292"/>
                      <a:pt x="234" y="292"/>
                    </a:cubicBezTo>
                    <a:cubicBezTo>
                      <a:pt x="226" y="292"/>
                      <a:pt x="226" y="292"/>
                      <a:pt x="226" y="292"/>
                    </a:cubicBezTo>
                    <a:lnTo>
                      <a:pt x="226" y="296"/>
                    </a:lnTo>
                    <a:close/>
                    <a:moveTo>
                      <a:pt x="258" y="292"/>
                    </a:moveTo>
                    <a:cubicBezTo>
                      <a:pt x="259" y="296"/>
                      <a:pt x="259" y="296"/>
                      <a:pt x="259" y="296"/>
                    </a:cubicBezTo>
                    <a:cubicBezTo>
                      <a:pt x="261" y="295"/>
                      <a:pt x="264" y="294"/>
                      <a:pt x="267" y="293"/>
                    </a:cubicBezTo>
                    <a:cubicBezTo>
                      <a:pt x="265" y="290"/>
                      <a:pt x="265" y="290"/>
                      <a:pt x="265" y="290"/>
                    </a:cubicBezTo>
                    <a:cubicBezTo>
                      <a:pt x="263" y="291"/>
                      <a:pt x="260" y="291"/>
                      <a:pt x="258" y="292"/>
                    </a:cubicBezTo>
                    <a:close/>
                    <a:moveTo>
                      <a:pt x="210" y="296"/>
                    </a:moveTo>
                    <a:cubicBezTo>
                      <a:pt x="218" y="296"/>
                      <a:pt x="218" y="296"/>
                      <a:pt x="218" y="296"/>
                    </a:cubicBezTo>
                    <a:cubicBezTo>
                      <a:pt x="218" y="292"/>
                      <a:pt x="218" y="292"/>
                      <a:pt x="218" y="292"/>
                    </a:cubicBezTo>
                    <a:cubicBezTo>
                      <a:pt x="210" y="292"/>
                      <a:pt x="210" y="292"/>
                      <a:pt x="210" y="292"/>
                    </a:cubicBezTo>
                    <a:lnTo>
                      <a:pt x="210" y="296"/>
                    </a:lnTo>
                    <a:close/>
                    <a:moveTo>
                      <a:pt x="179" y="296"/>
                    </a:moveTo>
                    <a:cubicBezTo>
                      <a:pt x="187" y="296"/>
                      <a:pt x="187" y="296"/>
                      <a:pt x="187" y="296"/>
                    </a:cubicBezTo>
                    <a:cubicBezTo>
                      <a:pt x="187" y="292"/>
                      <a:pt x="187" y="292"/>
                      <a:pt x="187" y="292"/>
                    </a:cubicBezTo>
                    <a:cubicBezTo>
                      <a:pt x="179" y="292"/>
                      <a:pt x="179" y="292"/>
                      <a:pt x="179" y="292"/>
                    </a:cubicBezTo>
                    <a:lnTo>
                      <a:pt x="179" y="296"/>
                    </a:lnTo>
                    <a:close/>
                    <a:moveTo>
                      <a:pt x="163" y="296"/>
                    </a:moveTo>
                    <a:cubicBezTo>
                      <a:pt x="171" y="296"/>
                      <a:pt x="171" y="296"/>
                      <a:pt x="171" y="296"/>
                    </a:cubicBezTo>
                    <a:cubicBezTo>
                      <a:pt x="171" y="292"/>
                      <a:pt x="171" y="292"/>
                      <a:pt x="171" y="292"/>
                    </a:cubicBezTo>
                    <a:cubicBezTo>
                      <a:pt x="163" y="292"/>
                      <a:pt x="163" y="292"/>
                      <a:pt x="163" y="292"/>
                    </a:cubicBezTo>
                    <a:lnTo>
                      <a:pt x="163" y="296"/>
                    </a:lnTo>
                    <a:close/>
                    <a:moveTo>
                      <a:pt x="147" y="296"/>
                    </a:moveTo>
                    <a:cubicBezTo>
                      <a:pt x="155" y="296"/>
                      <a:pt x="155" y="296"/>
                      <a:pt x="155" y="296"/>
                    </a:cubicBezTo>
                    <a:cubicBezTo>
                      <a:pt x="155" y="292"/>
                      <a:pt x="155" y="292"/>
                      <a:pt x="155" y="292"/>
                    </a:cubicBezTo>
                    <a:cubicBezTo>
                      <a:pt x="147" y="292"/>
                      <a:pt x="147" y="292"/>
                      <a:pt x="147" y="292"/>
                    </a:cubicBezTo>
                    <a:lnTo>
                      <a:pt x="147" y="296"/>
                    </a:lnTo>
                    <a:close/>
                    <a:moveTo>
                      <a:pt x="195" y="296"/>
                    </a:moveTo>
                    <a:cubicBezTo>
                      <a:pt x="203" y="296"/>
                      <a:pt x="203" y="296"/>
                      <a:pt x="203" y="296"/>
                    </a:cubicBezTo>
                    <a:cubicBezTo>
                      <a:pt x="203" y="292"/>
                      <a:pt x="203" y="292"/>
                      <a:pt x="203" y="292"/>
                    </a:cubicBezTo>
                    <a:cubicBezTo>
                      <a:pt x="195" y="292"/>
                      <a:pt x="195" y="292"/>
                      <a:pt x="195" y="292"/>
                    </a:cubicBezTo>
                    <a:lnTo>
                      <a:pt x="195" y="296"/>
                    </a:lnTo>
                    <a:close/>
                    <a:moveTo>
                      <a:pt x="131" y="296"/>
                    </a:moveTo>
                    <a:cubicBezTo>
                      <a:pt x="139" y="296"/>
                      <a:pt x="139" y="296"/>
                      <a:pt x="139" y="296"/>
                    </a:cubicBezTo>
                    <a:cubicBezTo>
                      <a:pt x="139" y="292"/>
                      <a:pt x="139" y="292"/>
                      <a:pt x="139" y="292"/>
                    </a:cubicBezTo>
                    <a:cubicBezTo>
                      <a:pt x="131" y="292"/>
                      <a:pt x="131" y="292"/>
                      <a:pt x="131" y="292"/>
                    </a:cubicBezTo>
                    <a:lnTo>
                      <a:pt x="131" y="296"/>
                    </a:lnTo>
                    <a:close/>
                    <a:moveTo>
                      <a:pt x="272" y="286"/>
                    </a:moveTo>
                    <a:cubicBezTo>
                      <a:pt x="274" y="289"/>
                      <a:pt x="274" y="289"/>
                      <a:pt x="274" y="289"/>
                    </a:cubicBezTo>
                    <a:cubicBezTo>
                      <a:pt x="276" y="288"/>
                      <a:pt x="279" y="286"/>
                      <a:pt x="281" y="284"/>
                    </a:cubicBezTo>
                    <a:cubicBezTo>
                      <a:pt x="278" y="281"/>
                      <a:pt x="278" y="281"/>
                      <a:pt x="278" y="281"/>
                    </a:cubicBezTo>
                    <a:cubicBezTo>
                      <a:pt x="276" y="283"/>
                      <a:pt x="274" y="285"/>
                      <a:pt x="272" y="286"/>
                    </a:cubicBezTo>
                    <a:close/>
                    <a:moveTo>
                      <a:pt x="289" y="214"/>
                    </a:moveTo>
                    <a:cubicBezTo>
                      <a:pt x="293" y="214"/>
                      <a:pt x="293" y="214"/>
                      <a:pt x="293" y="214"/>
                    </a:cubicBezTo>
                    <a:cubicBezTo>
                      <a:pt x="293" y="206"/>
                      <a:pt x="293" y="206"/>
                      <a:pt x="293" y="206"/>
                    </a:cubicBezTo>
                    <a:cubicBezTo>
                      <a:pt x="289" y="206"/>
                      <a:pt x="289" y="206"/>
                      <a:pt x="289" y="206"/>
                    </a:cubicBezTo>
                    <a:lnTo>
                      <a:pt x="289" y="214"/>
                    </a:lnTo>
                    <a:close/>
                    <a:moveTo>
                      <a:pt x="289" y="182"/>
                    </a:moveTo>
                    <a:cubicBezTo>
                      <a:pt x="293" y="182"/>
                      <a:pt x="293" y="182"/>
                      <a:pt x="293" y="182"/>
                    </a:cubicBezTo>
                    <a:cubicBezTo>
                      <a:pt x="293" y="175"/>
                      <a:pt x="293" y="175"/>
                      <a:pt x="293" y="175"/>
                    </a:cubicBezTo>
                    <a:cubicBezTo>
                      <a:pt x="289" y="175"/>
                      <a:pt x="289" y="175"/>
                      <a:pt x="289" y="175"/>
                    </a:cubicBezTo>
                    <a:lnTo>
                      <a:pt x="289" y="182"/>
                    </a:lnTo>
                    <a:close/>
                    <a:moveTo>
                      <a:pt x="289" y="198"/>
                    </a:moveTo>
                    <a:cubicBezTo>
                      <a:pt x="293" y="198"/>
                      <a:pt x="293" y="198"/>
                      <a:pt x="293" y="198"/>
                    </a:cubicBezTo>
                    <a:cubicBezTo>
                      <a:pt x="293" y="190"/>
                      <a:pt x="293" y="190"/>
                      <a:pt x="293" y="190"/>
                    </a:cubicBezTo>
                    <a:cubicBezTo>
                      <a:pt x="289" y="190"/>
                      <a:pt x="289" y="190"/>
                      <a:pt x="289" y="190"/>
                    </a:cubicBezTo>
                    <a:lnTo>
                      <a:pt x="289" y="198"/>
                    </a:lnTo>
                    <a:close/>
                    <a:moveTo>
                      <a:pt x="283" y="111"/>
                    </a:moveTo>
                    <a:cubicBezTo>
                      <a:pt x="279" y="113"/>
                      <a:pt x="279" y="113"/>
                      <a:pt x="279" y="113"/>
                    </a:cubicBezTo>
                    <a:cubicBezTo>
                      <a:pt x="280" y="115"/>
                      <a:pt x="281" y="118"/>
                      <a:pt x="282" y="120"/>
                    </a:cubicBezTo>
                    <a:cubicBezTo>
                      <a:pt x="285" y="119"/>
                      <a:pt x="285" y="119"/>
                      <a:pt x="285" y="119"/>
                    </a:cubicBezTo>
                    <a:cubicBezTo>
                      <a:pt x="285" y="116"/>
                      <a:pt x="284" y="114"/>
                      <a:pt x="283" y="111"/>
                    </a:cubicBezTo>
                    <a:close/>
                    <a:moveTo>
                      <a:pt x="293" y="158"/>
                    </a:moveTo>
                    <a:cubicBezTo>
                      <a:pt x="289" y="159"/>
                      <a:pt x="289" y="159"/>
                      <a:pt x="289" y="159"/>
                    </a:cubicBezTo>
                    <a:cubicBezTo>
                      <a:pt x="289" y="161"/>
                      <a:pt x="289" y="163"/>
                      <a:pt x="289" y="166"/>
                    </a:cubicBezTo>
                    <a:cubicBezTo>
                      <a:pt x="289" y="167"/>
                      <a:pt x="289" y="167"/>
                      <a:pt x="289" y="167"/>
                    </a:cubicBezTo>
                    <a:cubicBezTo>
                      <a:pt x="293" y="167"/>
                      <a:pt x="293" y="167"/>
                      <a:pt x="293" y="167"/>
                    </a:cubicBezTo>
                    <a:cubicBezTo>
                      <a:pt x="293" y="166"/>
                      <a:pt x="293" y="166"/>
                      <a:pt x="293" y="166"/>
                    </a:cubicBezTo>
                    <a:cubicBezTo>
                      <a:pt x="293" y="163"/>
                      <a:pt x="293" y="161"/>
                      <a:pt x="293" y="158"/>
                    </a:cubicBezTo>
                    <a:close/>
                    <a:moveTo>
                      <a:pt x="283" y="276"/>
                    </a:moveTo>
                    <a:cubicBezTo>
                      <a:pt x="286" y="278"/>
                      <a:pt x="286" y="278"/>
                      <a:pt x="286" y="278"/>
                    </a:cubicBezTo>
                    <a:cubicBezTo>
                      <a:pt x="287" y="276"/>
                      <a:pt x="289" y="273"/>
                      <a:pt x="290" y="271"/>
                    </a:cubicBezTo>
                    <a:cubicBezTo>
                      <a:pt x="286" y="269"/>
                      <a:pt x="286" y="269"/>
                      <a:pt x="286" y="269"/>
                    </a:cubicBezTo>
                    <a:cubicBezTo>
                      <a:pt x="285" y="271"/>
                      <a:pt x="284" y="274"/>
                      <a:pt x="283" y="276"/>
                    </a:cubicBezTo>
                    <a:close/>
                    <a:moveTo>
                      <a:pt x="288" y="262"/>
                    </a:moveTo>
                    <a:cubicBezTo>
                      <a:pt x="292" y="263"/>
                      <a:pt x="292" y="263"/>
                      <a:pt x="292" y="263"/>
                    </a:cubicBezTo>
                    <a:cubicBezTo>
                      <a:pt x="293" y="260"/>
                      <a:pt x="293" y="257"/>
                      <a:pt x="293" y="254"/>
                    </a:cubicBezTo>
                    <a:cubicBezTo>
                      <a:pt x="293" y="254"/>
                      <a:pt x="293" y="254"/>
                      <a:pt x="293" y="254"/>
                    </a:cubicBezTo>
                    <a:cubicBezTo>
                      <a:pt x="289" y="254"/>
                      <a:pt x="289" y="254"/>
                      <a:pt x="289" y="254"/>
                    </a:cubicBezTo>
                    <a:cubicBezTo>
                      <a:pt x="289" y="257"/>
                      <a:pt x="289" y="259"/>
                      <a:pt x="288" y="262"/>
                    </a:cubicBezTo>
                    <a:close/>
                    <a:moveTo>
                      <a:pt x="289" y="230"/>
                    </a:moveTo>
                    <a:cubicBezTo>
                      <a:pt x="293" y="230"/>
                      <a:pt x="293" y="230"/>
                      <a:pt x="293" y="230"/>
                    </a:cubicBezTo>
                    <a:cubicBezTo>
                      <a:pt x="293" y="222"/>
                      <a:pt x="293" y="222"/>
                      <a:pt x="293" y="222"/>
                    </a:cubicBezTo>
                    <a:cubicBezTo>
                      <a:pt x="289" y="222"/>
                      <a:pt x="289" y="222"/>
                      <a:pt x="289" y="222"/>
                    </a:cubicBezTo>
                    <a:lnTo>
                      <a:pt x="289" y="230"/>
                    </a:lnTo>
                    <a:close/>
                    <a:moveTo>
                      <a:pt x="289" y="246"/>
                    </a:moveTo>
                    <a:cubicBezTo>
                      <a:pt x="293" y="246"/>
                      <a:pt x="293" y="246"/>
                      <a:pt x="293" y="246"/>
                    </a:cubicBezTo>
                    <a:cubicBezTo>
                      <a:pt x="293" y="238"/>
                      <a:pt x="293" y="238"/>
                      <a:pt x="293" y="238"/>
                    </a:cubicBezTo>
                    <a:cubicBezTo>
                      <a:pt x="289" y="238"/>
                      <a:pt x="289" y="238"/>
                      <a:pt x="289" y="238"/>
                    </a:cubicBezTo>
                    <a:lnTo>
                      <a:pt x="289" y="246"/>
                    </a:lnTo>
                    <a:close/>
                    <a:moveTo>
                      <a:pt x="4" y="119"/>
                    </a:moveTo>
                    <a:cubicBezTo>
                      <a:pt x="0" y="119"/>
                      <a:pt x="0" y="119"/>
                      <a:pt x="0" y="119"/>
                    </a:cubicBezTo>
                    <a:cubicBezTo>
                      <a:pt x="0" y="127"/>
                      <a:pt x="0" y="127"/>
                      <a:pt x="0" y="127"/>
                    </a:cubicBezTo>
                    <a:cubicBezTo>
                      <a:pt x="4" y="127"/>
                      <a:pt x="4" y="127"/>
                      <a:pt x="4" y="127"/>
                    </a:cubicBezTo>
                    <a:lnTo>
                      <a:pt x="4" y="119"/>
                    </a:lnTo>
                    <a:close/>
                    <a:moveTo>
                      <a:pt x="4" y="215"/>
                    </a:moveTo>
                    <a:cubicBezTo>
                      <a:pt x="0" y="215"/>
                      <a:pt x="0" y="215"/>
                      <a:pt x="0" y="215"/>
                    </a:cubicBezTo>
                    <a:cubicBezTo>
                      <a:pt x="0" y="223"/>
                      <a:pt x="0" y="223"/>
                      <a:pt x="0" y="223"/>
                    </a:cubicBezTo>
                    <a:cubicBezTo>
                      <a:pt x="4" y="223"/>
                      <a:pt x="4" y="223"/>
                      <a:pt x="4" y="223"/>
                    </a:cubicBezTo>
                    <a:lnTo>
                      <a:pt x="4" y="215"/>
                    </a:lnTo>
                    <a:close/>
                    <a:moveTo>
                      <a:pt x="115" y="296"/>
                    </a:moveTo>
                    <a:cubicBezTo>
                      <a:pt x="123" y="296"/>
                      <a:pt x="123" y="296"/>
                      <a:pt x="123" y="296"/>
                    </a:cubicBezTo>
                    <a:cubicBezTo>
                      <a:pt x="123" y="292"/>
                      <a:pt x="123" y="292"/>
                      <a:pt x="123" y="292"/>
                    </a:cubicBezTo>
                    <a:cubicBezTo>
                      <a:pt x="115" y="292"/>
                      <a:pt x="115" y="292"/>
                      <a:pt x="115" y="292"/>
                    </a:cubicBezTo>
                    <a:lnTo>
                      <a:pt x="115" y="296"/>
                    </a:lnTo>
                    <a:close/>
                    <a:moveTo>
                      <a:pt x="4" y="247"/>
                    </a:moveTo>
                    <a:cubicBezTo>
                      <a:pt x="0" y="247"/>
                      <a:pt x="0" y="247"/>
                      <a:pt x="0" y="247"/>
                    </a:cubicBezTo>
                    <a:cubicBezTo>
                      <a:pt x="0" y="255"/>
                      <a:pt x="0" y="255"/>
                      <a:pt x="0" y="255"/>
                    </a:cubicBezTo>
                    <a:cubicBezTo>
                      <a:pt x="4" y="255"/>
                      <a:pt x="4" y="255"/>
                      <a:pt x="4" y="255"/>
                    </a:cubicBezTo>
                    <a:lnTo>
                      <a:pt x="4" y="247"/>
                    </a:lnTo>
                    <a:close/>
                    <a:moveTo>
                      <a:pt x="4" y="231"/>
                    </a:moveTo>
                    <a:cubicBezTo>
                      <a:pt x="0" y="231"/>
                      <a:pt x="0" y="231"/>
                      <a:pt x="0" y="231"/>
                    </a:cubicBezTo>
                    <a:cubicBezTo>
                      <a:pt x="0" y="239"/>
                      <a:pt x="0" y="239"/>
                      <a:pt x="0" y="239"/>
                    </a:cubicBezTo>
                    <a:cubicBezTo>
                      <a:pt x="4" y="239"/>
                      <a:pt x="4" y="239"/>
                      <a:pt x="4" y="239"/>
                    </a:cubicBezTo>
                    <a:lnTo>
                      <a:pt x="4" y="231"/>
                    </a:lnTo>
                    <a:close/>
                    <a:moveTo>
                      <a:pt x="4" y="183"/>
                    </a:moveTo>
                    <a:cubicBezTo>
                      <a:pt x="0" y="183"/>
                      <a:pt x="0" y="183"/>
                      <a:pt x="0" y="183"/>
                    </a:cubicBezTo>
                    <a:cubicBezTo>
                      <a:pt x="0" y="191"/>
                      <a:pt x="0" y="191"/>
                      <a:pt x="0" y="191"/>
                    </a:cubicBezTo>
                    <a:cubicBezTo>
                      <a:pt x="4" y="191"/>
                      <a:pt x="4" y="191"/>
                      <a:pt x="4" y="191"/>
                    </a:cubicBezTo>
                    <a:lnTo>
                      <a:pt x="4" y="183"/>
                    </a:lnTo>
                    <a:close/>
                    <a:moveTo>
                      <a:pt x="4" y="135"/>
                    </a:moveTo>
                    <a:cubicBezTo>
                      <a:pt x="0" y="135"/>
                      <a:pt x="0" y="135"/>
                      <a:pt x="0" y="135"/>
                    </a:cubicBezTo>
                    <a:cubicBezTo>
                      <a:pt x="0" y="143"/>
                      <a:pt x="0" y="143"/>
                      <a:pt x="0" y="143"/>
                    </a:cubicBezTo>
                    <a:cubicBezTo>
                      <a:pt x="4" y="143"/>
                      <a:pt x="4" y="143"/>
                      <a:pt x="4" y="143"/>
                    </a:cubicBezTo>
                    <a:lnTo>
                      <a:pt x="4" y="135"/>
                    </a:lnTo>
                    <a:close/>
                    <a:moveTo>
                      <a:pt x="4" y="104"/>
                    </a:moveTo>
                    <a:cubicBezTo>
                      <a:pt x="0" y="104"/>
                      <a:pt x="0" y="104"/>
                      <a:pt x="0" y="104"/>
                    </a:cubicBezTo>
                    <a:cubicBezTo>
                      <a:pt x="0" y="112"/>
                      <a:pt x="0" y="112"/>
                      <a:pt x="0" y="112"/>
                    </a:cubicBezTo>
                    <a:cubicBezTo>
                      <a:pt x="4" y="112"/>
                      <a:pt x="4" y="112"/>
                      <a:pt x="4" y="112"/>
                    </a:cubicBezTo>
                    <a:lnTo>
                      <a:pt x="4" y="104"/>
                    </a:lnTo>
                    <a:close/>
                    <a:moveTo>
                      <a:pt x="4" y="167"/>
                    </a:moveTo>
                    <a:cubicBezTo>
                      <a:pt x="0" y="167"/>
                      <a:pt x="0" y="167"/>
                      <a:pt x="0" y="167"/>
                    </a:cubicBezTo>
                    <a:cubicBezTo>
                      <a:pt x="0" y="175"/>
                      <a:pt x="0" y="175"/>
                      <a:pt x="0" y="175"/>
                    </a:cubicBezTo>
                    <a:cubicBezTo>
                      <a:pt x="4" y="175"/>
                      <a:pt x="4" y="175"/>
                      <a:pt x="4" y="175"/>
                    </a:cubicBezTo>
                    <a:lnTo>
                      <a:pt x="4" y="167"/>
                    </a:lnTo>
                    <a:close/>
                    <a:moveTo>
                      <a:pt x="4" y="151"/>
                    </a:moveTo>
                    <a:cubicBezTo>
                      <a:pt x="0" y="151"/>
                      <a:pt x="0" y="151"/>
                      <a:pt x="0" y="151"/>
                    </a:cubicBezTo>
                    <a:cubicBezTo>
                      <a:pt x="0" y="159"/>
                      <a:pt x="0" y="159"/>
                      <a:pt x="0" y="159"/>
                    </a:cubicBezTo>
                    <a:cubicBezTo>
                      <a:pt x="4" y="159"/>
                      <a:pt x="4" y="159"/>
                      <a:pt x="4" y="159"/>
                    </a:cubicBezTo>
                    <a:lnTo>
                      <a:pt x="4" y="151"/>
                    </a:lnTo>
                    <a:close/>
                    <a:moveTo>
                      <a:pt x="4" y="199"/>
                    </a:moveTo>
                    <a:cubicBezTo>
                      <a:pt x="0" y="199"/>
                      <a:pt x="0" y="199"/>
                      <a:pt x="0" y="199"/>
                    </a:cubicBezTo>
                    <a:cubicBezTo>
                      <a:pt x="0" y="207"/>
                      <a:pt x="0" y="207"/>
                      <a:pt x="0" y="207"/>
                    </a:cubicBezTo>
                    <a:cubicBezTo>
                      <a:pt x="4" y="207"/>
                      <a:pt x="4" y="207"/>
                      <a:pt x="4" y="207"/>
                    </a:cubicBezTo>
                    <a:lnTo>
                      <a:pt x="4" y="199"/>
                    </a:lnTo>
                    <a:close/>
                    <a:moveTo>
                      <a:pt x="51" y="296"/>
                    </a:moveTo>
                    <a:cubicBezTo>
                      <a:pt x="59" y="296"/>
                      <a:pt x="59" y="296"/>
                      <a:pt x="59" y="296"/>
                    </a:cubicBezTo>
                    <a:cubicBezTo>
                      <a:pt x="59" y="292"/>
                      <a:pt x="59" y="292"/>
                      <a:pt x="59" y="292"/>
                    </a:cubicBezTo>
                    <a:cubicBezTo>
                      <a:pt x="51" y="292"/>
                      <a:pt x="51" y="292"/>
                      <a:pt x="51" y="292"/>
                    </a:cubicBezTo>
                    <a:lnTo>
                      <a:pt x="51" y="296"/>
                    </a:lnTo>
                    <a:close/>
                    <a:moveTo>
                      <a:pt x="83" y="296"/>
                    </a:moveTo>
                    <a:cubicBezTo>
                      <a:pt x="91" y="296"/>
                      <a:pt x="91" y="296"/>
                      <a:pt x="91" y="296"/>
                    </a:cubicBezTo>
                    <a:cubicBezTo>
                      <a:pt x="91" y="292"/>
                      <a:pt x="91" y="292"/>
                      <a:pt x="91" y="292"/>
                    </a:cubicBezTo>
                    <a:cubicBezTo>
                      <a:pt x="83" y="292"/>
                      <a:pt x="83" y="292"/>
                      <a:pt x="83" y="292"/>
                    </a:cubicBezTo>
                    <a:lnTo>
                      <a:pt x="83" y="296"/>
                    </a:lnTo>
                    <a:close/>
                    <a:moveTo>
                      <a:pt x="67" y="296"/>
                    </a:moveTo>
                    <a:cubicBezTo>
                      <a:pt x="75" y="296"/>
                      <a:pt x="75" y="296"/>
                      <a:pt x="75" y="296"/>
                    </a:cubicBezTo>
                    <a:cubicBezTo>
                      <a:pt x="75" y="292"/>
                      <a:pt x="75" y="292"/>
                      <a:pt x="75" y="292"/>
                    </a:cubicBezTo>
                    <a:cubicBezTo>
                      <a:pt x="67" y="292"/>
                      <a:pt x="67" y="292"/>
                      <a:pt x="67" y="292"/>
                    </a:cubicBezTo>
                    <a:lnTo>
                      <a:pt x="67" y="296"/>
                    </a:lnTo>
                    <a:close/>
                    <a:moveTo>
                      <a:pt x="99" y="296"/>
                    </a:moveTo>
                    <a:cubicBezTo>
                      <a:pt x="107" y="296"/>
                      <a:pt x="107" y="296"/>
                      <a:pt x="107" y="296"/>
                    </a:cubicBezTo>
                    <a:cubicBezTo>
                      <a:pt x="107" y="292"/>
                      <a:pt x="107" y="292"/>
                      <a:pt x="107" y="292"/>
                    </a:cubicBezTo>
                    <a:cubicBezTo>
                      <a:pt x="99" y="292"/>
                      <a:pt x="99" y="292"/>
                      <a:pt x="99" y="292"/>
                    </a:cubicBezTo>
                    <a:lnTo>
                      <a:pt x="99" y="296"/>
                    </a:lnTo>
                    <a:close/>
                    <a:moveTo>
                      <a:pt x="20" y="290"/>
                    </a:moveTo>
                    <a:cubicBezTo>
                      <a:pt x="22" y="291"/>
                      <a:pt x="24" y="293"/>
                      <a:pt x="27" y="294"/>
                    </a:cubicBezTo>
                    <a:cubicBezTo>
                      <a:pt x="28" y="290"/>
                      <a:pt x="28" y="290"/>
                      <a:pt x="28" y="290"/>
                    </a:cubicBezTo>
                    <a:cubicBezTo>
                      <a:pt x="26" y="289"/>
                      <a:pt x="24" y="288"/>
                      <a:pt x="22" y="286"/>
                    </a:cubicBezTo>
                    <a:lnTo>
                      <a:pt x="20" y="290"/>
                    </a:lnTo>
                    <a:close/>
                    <a:moveTo>
                      <a:pt x="7" y="278"/>
                    </a:moveTo>
                    <a:cubicBezTo>
                      <a:pt x="9" y="281"/>
                      <a:pt x="11" y="283"/>
                      <a:pt x="13" y="285"/>
                    </a:cubicBezTo>
                    <a:cubicBezTo>
                      <a:pt x="16" y="282"/>
                      <a:pt x="16" y="282"/>
                      <a:pt x="16" y="282"/>
                    </a:cubicBezTo>
                    <a:cubicBezTo>
                      <a:pt x="14" y="280"/>
                      <a:pt x="12" y="278"/>
                      <a:pt x="11" y="276"/>
                    </a:cubicBezTo>
                    <a:lnTo>
                      <a:pt x="7" y="278"/>
                    </a:lnTo>
                    <a:close/>
                    <a:moveTo>
                      <a:pt x="36" y="292"/>
                    </a:moveTo>
                    <a:cubicBezTo>
                      <a:pt x="35" y="296"/>
                      <a:pt x="35" y="296"/>
                      <a:pt x="35" y="296"/>
                    </a:cubicBezTo>
                    <a:cubicBezTo>
                      <a:pt x="37" y="296"/>
                      <a:pt x="40" y="296"/>
                      <a:pt x="42" y="296"/>
                    </a:cubicBezTo>
                    <a:cubicBezTo>
                      <a:pt x="43" y="296"/>
                      <a:pt x="43" y="296"/>
                      <a:pt x="43" y="296"/>
                    </a:cubicBezTo>
                    <a:cubicBezTo>
                      <a:pt x="43" y="292"/>
                      <a:pt x="43" y="292"/>
                      <a:pt x="43" y="292"/>
                    </a:cubicBezTo>
                    <a:cubicBezTo>
                      <a:pt x="42" y="292"/>
                      <a:pt x="42" y="292"/>
                      <a:pt x="42" y="292"/>
                    </a:cubicBezTo>
                    <a:cubicBezTo>
                      <a:pt x="40" y="292"/>
                      <a:pt x="38" y="292"/>
                      <a:pt x="36" y="292"/>
                    </a:cubicBezTo>
                    <a:close/>
                    <a:moveTo>
                      <a:pt x="1" y="263"/>
                    </a:moveTo>
                    <a:cubicBezTo>
                      <a:pt x="1" y="266"/>
                      <a:pt x="2" y="269"/>
                      <a:pt x="3" y="271"/>
                    </a:cubicBezTo>
                    <a:cubicBezTo>
                      <a:pt x="7" y="269"/>
                      <a:pt x="7" y="269"/>
                      <a:pt x="7" y="269"/>
                    </a:cubicBezTo>
                    <a:cubicBezTo>
                      <a:pt x="6" y="267"/>
                      <a:pt x="5" y="265"/>
                      <a:pt x="5" y="262"/>
                    </a:cubicBezTo>
                    <a:lnTo>
                      <a:pt x="1" y="26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87" name="Group 86"/>
            <p:cNvGrpSpPr/>
            <p:nvPr/>
          </p:nvGrpSpPr>
          <p:grpSpPr>
            <a:xfrm>
              <a:off x="1699678" y="4860859"/>
              <a:ext cx="2379390" cy="914400"/>
              <a:chOff x="1699678" y="4860859"/>
              <a:chExt cx="2379390" cy="914400"/>
            </a:xfrm>
          </p:grpSpPr>
          <p:sp>
            <p:nvSpPr>
              <p:cNvPr id="88" name="Freeform 87"/>
              <p:cNvSpPr/>
              <p:nvPr/>
            </p:nvSpPr>
            <p:spPr>
              <a:xfrm>
                <a:off x="1699678" y="4860859"/>
                <a:ext cx="2379390"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685609" fontAlgn="base">
                  <a:spcBef>
                    <a:spcPct val="0"/>
                  </a:spcBef>
                  <a:spcAft>
                    <a:spcPct val="0"/>
                  </a:spcAft>
                </a:pPr>
                <a:endParaRPr lang="en-US" sz="1500" dirty="0">
                  <a:gradFill>
                    <a:gsLst>
                      <a:gs pos="0">
                        <a:srgbClr val="FFFFFF"/>
                      </a:gs>
                      <a:gs pos="100000">
                        <a:srgbClr val="FFFFFF"/>
                      </a:gs>
                    </a:gsLst>
                    <a:lin ang="5400000" scaled="0"/>
                  </a:gradFill>
                </a:endParaRPr>
              </a:p>
            </p:txBody>
          </p:sp>
          <p:grpSp>
            <p:nvGrpSpPr>
              <p:cNvPr id="89" name="Group 88"/>
              <p:cNvGrpSpPr/>
              <p:nvPr/>
            </p:nvGrpSpPr>
            <p:grpSpPr>
              <a:xfrm>
                <a:off x="2496910" y="4922508"/>
                <a:ext cx="784927" cy="791107"/>
                <a:chOff x="2361279" y="4922508"/>
                <a:chExt cx="784927" cy="791107"/>
              </a:xfrm>
            </p:grpSpPr>
            <p:sp>
              <p:nvSpPr>
                <p:cNvPr id="90" name="Freeform 17"/>
                <p:cNvSpPr>
                  <a:spLocks noChangeAspect="1" noEditPoints="1"/>
                </p:cNvSpPr>
                <p:nvPr/>
              </p:nvSpPr>
              <p:spPr bwMode="auto">
                <a:xfrm>
                  <a:off x="2361279" y="4922508"/>
                  <a:ext cx="386858" cy="390210"/>
                </a:xfrm>
                <a:custGeom>
                  <a:avLst/>
                  <a:gdLst>
                    <a:gd name="T0" fmla="*/ 57 w 293"/>
                    <a:gd name="T1" fmla="*/ 195 h 296"/>
                    <a:gd name="T2" fmla="*/ 112 w 293"/>
                    <a:gd name="T3" fmla="*/ 187 h 296"/>
                    <a:gd name="T4" fmla="*/ 229 w 293"/>
                    <a:gd name="T5" fmla="*/ 213 h 296"/>
                    <a:gd name="T6" fmla="*/ 44 w 293"/>
                    <a:gd name="T7" fmla="*/ 120 h 296"/>
                    <a:gd name="T8" fmla="*/ 61 w 293"/>
                    <a:gd name="T9" fmla="*/ 101 h 296"/>
                    <a:gd name="T10" fmla="*/ 44 w 293"/>
                    <a:gd name="T11" fmla="*/ 217 h 296"/>
                    <a:gd name="T12" fmla="*/ 52 w 293"/>
                    <a:gd name="T13" fmla="*/ 236 h 296"/>
                    <a:gd name="T14" fmla="*/ 183 w 293"/>
                    <a:gd name="T15" fmla="*/ 236 h 296"/>
                    <a:gd name="T16" fmla="*/ 223 w 293"/>
                    <a:gd name="T17" fmla="*/ 244 h 296"/>
                    <a:gd name="T18" fmla="*/ 229 w 293"/>
                    <a:gd name="T19" fmla="*/ 179 h 296"/>
                    <a:gd name="T20" fmla="*/ 223 w 293"/>
                    <a:gd name="T21" fmla="*/ 143 h 296"/>
                    <a:gd name="T22" fmla="*/ 32 w 293"/>
                    <a:gd name="T23" fmla="*/ 139 h 296"/>
                    <a:gd name="T24" fmla="*/ 56 w 293"/>
                    <a:gd name="T25" fmla="*/ 142 h 296"/>
                    <a:gd name="T26" fmla="*/ 179 w 293"/>
                    <a:gd name="T27" fmla="*/ 150 h 296"/>
                    <a:gd name="T28" fmla="*/ 57 w 293"/>
                    <a:gd name="T29" fmla="*/ 60 h 296"/>
                    <a:gd name="T30" fmla="*/ 112 w 293"/>
                    <a:gd name="T31" fmla="*/ 52 h 296"/>
                    <a:gd name="T32" fmla="*/ 261 w 293"/>
                    <a:gd name="T33" fmla="*/ 194 h 296"/>
                    <a:gd name="T34" fmla="*/ 277 w 293"/>
                    <a:gd name="T35" fmla="*/ 147 h 296"/>
                    <a:gd name="T36" fmla="*/ 246 w 293"/>
                    <a:gd name="T37" fmla="*/ 279 h 296"/>
                    <a:gd name="T38" fmla="*/ 261 w 293"/>
                    <a:gd name="T39" fmla="*/ 254 h 296"/>
                    <a:gd name="T40" fmla="*/ 223 w 293"/>
                    <a:gd name="T41" fmla="*/ 87 h 296"/>
                    <a:gd name="T42" fmla="*/ 253 w 293"/>
                    <a:gd name="T43" fmla="*/ 254 h 296"/>
                    <a:gd name="T44" fmla="*/ 79 w 293"/>
                    <a:gd name="T45" fmla="*/ 272 h 296"/>
                    <a:gd name="T46" fmla="*/ 43 w 293"/>
                    <a:gd name="T47" fmla="*/ 23 h 296"/>
                    <a:gd name="T48" fmla="*/ 226 w 293"/>
                    <a:gd name="T49" fmla="*/ 109 h 296"/>
                    <a:gd name="T50" fmla="*/ 4 w 293"/>
                    <a:gd name="T51" fmla="*/ 96 h 296"/>
                    <a:gd name="T52" fmla="*/ 61 w 293"/>
                    <a:gd name="T53" fmla="*/ 4 h 296"/>
                    <a:gd name="T54" fmla="*/ 4 w 293"/>
                    <a:gd name="T55" fmla="*/ 24 h 296"/>
                    <a:gd name="T56" fmla="*/ 69 w 293"/>
                    <a:gd name="T57" fmla="*/ 0 h 296"/>
                    <a:gd name="T58" fmla="*/ 0 w 293"/>
                    <a:gd name="T59" fmla="*/ 56 h 296"/>
                    <a:gd name="T60" fmla="*/ 4 w 293"/>
                    <a:gd name="T61" fmla="*/ 42 h 296"/>
                    <a:gd name="T62" fmla="*/ 4 w 293"/>
                    <a:gd name="T63" fmla="*/ 72 h 296"/>
                    <a:gd name="T64" fmla="*/ 109 w 293"/>
                    <a:gd name="T65" fmla="*/ 0 h 296"/>
                    <a:gd name="T66" fmla="*/ 259 w 293"/>
                    <a:gd name="T67" fmla="*/ 61 h 296"/>
                    <a:gd name="T68" fmla="*/ 274 w 293"/>
                    <a:gd name="T69" fmla="*/ 89 h 296"/>
                    <a:gd name="T70" fmla="*/ 243 w 293"/>
                    <a:gd name="T71" fmla="*/ 33 h 296"/>
                    <a:gd name="T72" fmla="*/ 205 w 293"/>
                    <a:gd name="T73" fmla="*/ 4 h 296"/>
                    <a:gd name="T74" fmla="*/ 172 w 293"/>
                    <a:gd name="T75" fmla="*/ 0 h 296"/>
                    <a:gd name="T76" fmla="*/ 210 w 293"/>
                    <a:gd name="T77" fmla="*/ 11 h 296"/>
                    <a:gd name="T78" fmla="*/ 291 w 293"/>
                    <a:gd name="T79" fmla="*/ 142 h 296"/>
                    <a:gd name="T80" fmla="*/ 234 w 293"/>
                    <a:gd name="T81" fmla="*/ 292 h 296"/>
                    <a:gd name="T82" fmla="*/ 218 w 293"/>
                    <a:gd name="T83" fmla="*/ 292 h 296"/>
                    <a:gd name="T84" fmla="*/ 171 w 293"/>
                    <a:gd name="T85" fmla="*/ 292 h 296"/>
                    <a:gd name="T86" fmla="*/ 203 w 293"/>
                    <a:gd name="T87" fmla="*/ 292 h 296"/>
                    <a:gd name="T88" fmla="*/ 281 w 293"/>
                    <a:gd name="T89" fmla="*/ 284 h 296"/>
                    <a:gd name="T90" fmla="*/ 293 w 293"/>
                    <a:gd name="T91" fmla="*/ 175 h 296"/>
                    <a:gd name="T92" fmla="*/ 282 w 293"/>
                    <a:gd name="T93" fmla="*/ 120 h 296"/>
                    <a:gd name="T94" fmla="*/ 283 w 293"/>
                    <a:gd name="T95" fmla="*/ 276 h 296"/>
                    <a:gd name="T96" fmla="*/ 288 w 293"/>
                    <a:gd name="T97" fmla="*/ 262 h 296"/>
                    <a:gd name="T98" fmla="*/ 289 w 293"/>
                    <a:gd name="T99" fmla="*/ 246 h 296"/>
                    <a:gd name="T100" fmla="*/ 4 w 293"/>
                    <a:gd name="T101" fmla="*/ 215 h 296"/>
                    <a:gd name="T102" fmla="*/ 4 w 293"/>
                    <a:gd name="T103" fmla="*/ 247 h 296"/>
                    <a:gd name="T104" fmla="*/ 4 w 293"/>
                    <a:gd name="T105" fmla="*/ 183 h 296"/>
                    <a:gd name="T106" fmla="*/ 4 w 293"/>
                    <a:gd name="T107" fmla="*/ 104 h 296"/>
                    <a:gd name="T108" fmla="*/ 4 w 293"/>
                    <a:gd name="T109" fmla="*/ 151 h 296"/>
                    <a:gd name="T110" fmla="*/ 51 w 293"/>
                    <a:gd name="T111" fmla="*/ 296 h 296"/>
                    <a:gd name="T112" fmla="*/ 67 w 293"/>
                    <a:gd name="T113" fmla="*/ 296 h 296"/>
                    <a:gd name="T114" fmla="*/ 20 w 293"/>
                    <a:gd name="T115" fmla="*/ 290 h 296"/>
                    <a:gd name="T116" fmla="*/ 43 w 293"/>
                    <a:gd name="T117" fmla="*/ 29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3" h="296">
                      <a:moveTo>
                        <a:pt x="187" y="172"/>
                      </a:moveTo>
                      <a:cubicBezTo>
                        <a:pt x="44" y="172"/>
                        <a:pt x="44" y="172"/>
                        <a:pt x="44" y="172"/>
                      </a:cubicBezTo>
                      <a:cubicBezTo>
                        <a:pt x="38" y="172"/>
                        <a:pt x="32" y="178"/>
                        <a:pt x="32" y="184"/>
                      </a:cubicBezTo>
                      <a:cubicBezTo>
                        <a:pt x="32" y="198"/>
                        <a:pt x="32" y="198"/>
                        <a:pt x="32" y="198"/>
                      </a:cubicBezTo>
                      <a:cubicBezTo>
                        <a:pt x="32" y="205"/>
                        <a:pt x="38" y="210"/>
                        <a:pt x="44" y="210"/>
                      </a:cubicBezTo>
                      <a:cubicBezTo>
                        <a:pt x="187" y="210"/>
                        <a:pt x="187" y="210"/>
                        <a:pt x="187" y="210"/>
                      </a:cubicBezTo>
                      <a:cubicBezTo>
                        <a:pt x="194" y="210"/>
                        <a:pt x="199" y="205"/>
                        <a:pt x="199" y="198"/>
                      </a:cubicBezTo>
                      <a:cubicBezTo>
                        <a:pt x="199" y="184"/>
                        <a:pt x="199" y="184"/>
                        <a:pt x="199" y="184"/>
                      </a:cubicBezTo>
                      <a:cubicBezTo>
                        <a:pt x="199" y="178"/>
                        <a:pt x="194" y="172"/>
                        <a:pt x="187" y="172"/>
                      </a:cubicBezTo>
                      <a:close/>
                      <a:moveTo>
                        <a:pt x="57" y="195"/>
                      </a:moveTo>
                      <a:cubicBezTo>
                        <a:pt x="56" y="195"/>
                        <a:pt x="56" y="195"/>
                        <a:pt x="56" y="195"/>
                      </a:cubicBezTo>
                      <a:cubicBezTo>
                        <a:pt x="54" y="195"/>
                        <a:pt x="52" y="193"/>
                        <a:pt x="52" y="191"/>
                      </a:cubicBezTo>
                      <a:cubicBezTo>
                        <a:pt x="52" y="189"/>
                        <a:pt x="54" y="187"/>
                        <a:pt x="56" y="187"/>
                      </a:cubicBezTo>
                      <a:cubicBezTo>
                        <a:pt x="57" y="187"/>
                        <a:pt x="57" y="187"/>
                        <a:pt x="57" y="187"/>
                      </a:cubicBezTo>
                      <a:cubicBezTo>
                        <a:pt x="59" y="187"/>
                        <a:pt x="61" y="189"/>
                        <a:pt x="61" y="191"/>
                      </a:cubicBezTo>
                      <a:cubicBezTo>
                        <a:pt x="61" y="193"/>
                        <a:pt x="59" y="195"/>
                        <a:pt x="57" y="195"/>
                      </a:cubicBezTo>
                      <a:close/>
                      <a:moveTo>
                        <a:pt x="179" y="195"/>
                      </a:moveTo>
                      <a:cubicBezTo>
                        <a:pt x="112" y="195"/>
                        <a:pt x="112" y="195"/>
                        <a:pt x="112" y="195"/>
                      </a:cubicBezTo>
                      <a:cubicBezTo>
                        <a:pt x="110" y="195"/>
                        <a:pt x="108" y="193"/>
                        <a:pt x="108" y="191"/>
                      </a:cubicBezTo>
                      <a:cubicBezTo>
                        <a:pt x="108" y="189"/>
                        <a:pt x="110" y="187"/>
                        <a:pt x="112" y="187"/>
                      </a:cubicBezTo>
                      <a:cubicBezTo>
                        <a:pt x="179" y="187"/>
                        <a:pt x="179" y="187"/>
                        <a:pt x="179" y="187"/>
                      </a:cubicBezTo>
                      <a:cubicBezTo>
                        <a:pt x="181" y="187"/>
                        <a:pt x="183" y="189"/>
                        <a:pt x="183" y="191"/>
                      </a:cubicBezTo>
                      <a:cubicBezTo>
                        <a:pt x="183" y="193"/>
                        <a:pt x="181" y="195"/>
                        <a:pt x="179" y="195"/>
                      </a:cubicBezTo>
                      <a:close/>
                      <a:moveTo>
                        <a:pt x="241" y="218"/>
                      </a:moveTo>
                      <a:cubicBezTo>
                        <a:pt x="241" y="208"/>
                        <a:pt x="241" y="208"/>
                        <a:pt x="241" y="208"/>
                      </a:cubicBezTo>
                      <a:cubicBezTo>
                        <a:pt x="241" y="203"/>
                        <a:pt x="237" y="199"/>
                        <a:pt x="232" y="199"/>
                      </a:cubicBezTo>
                      <a:cubicBezTo>
                        <a:pt x="223" y="199"/>
                        <a:pt x="223" y="199"/>
                        <a:pt x="223" y="199"/>
                      </a:cubicBezTo>
                      <a:cubicBezTo>
                        <a:pt x="223" y="210"/>
                        <a:pt x="223" y="210"/>
                        <a:pt x="223" y="210"/>
                      </a:cubicBezTo>
                      <a:cubicBezTo>
                        <a:pt x="226" y="210"/>
                        <a:pt x="226" y="210"/>
                        <a:pt x="226" y="210"/>
                      </a:cubicBezTo>
                      <a:cubicBezTo>
                        <a:pt x="228" y="210"/>
                        <a:pt x="229" y="212"/>
                        <a:pt x="229" y="213"/>
                      </a:cubicBezTo>
                      <a:cubicBezTo>
                        <a:pt x="229" y="215"/>
                        <a:pt x="228" y="216"/>
                        <a:pt x="226" y="216"/>
                      </a:cubicBezTo>
                      <a:cubicBezTo>
                        <a:pt x="223" y="216"/>
                        <a:pt x="223" y="216"/>
                        <a:pt x="223" y="216"/>
                      </a:cubicBezTo>
                      <a:cubicBezTo>
                        <a:pt x="223" y="227"/>
                        <a:pt x="223" y="227"/>
                        <a:pt x="223" y="227"/>
                      </a:cubicBezTo>
                      <a:cubicBezTo>
                        <a:pt x="232" y="227"/>
                        <a:pt x="232" y="227"/>
                        <a:pt x="232" y="227"/>
                      </a:cubicBezTo>
                      <a:cubicBezTo>
                        <a:pt x="237" y="227"/>
                        <a:pt x="241" y="223"/>
                        <a:pt x="241" y="218"/>
                      </a:cubicBezTo>
                      <a:close/>
                      <a:moveTo>
                        <a:pt x="187" y="82"/>
                      </a:moveTo>
                      <a:cubicBezTo>
                        <a:pt x="44" y="82"/>
                        <a:pt x="44" y="82"/>
                        <a:pt x="44" y="82"/>
                      </a:cubicBezTo>
                      <a:cubicBezTo>
                        <a:pt x="38" y="82"/>
                        <a:pt x="32" y="88"/>
                        <a:pt x="32" y="94"/>
                      </a:cubicBezTo>
                      <a:cubicBezTo>
                        <a:pt x="32" y="108"/>
                        <a:pt x="32" y="108"/>
                        <a:pt x="32" y="108"/>
                      </a:cubicBezTo>
                      <a:cubicBezTo>
                        <a:pt x="32" y="115"/>
                        <a:pt x="38" y="120"/>
                        <a:pt x="44" y="120"/>
                      </a:cubicBezTo>
                      <a:cubicBezTo>
                        <a:pt x="187" y="120"/>
                        <a:pt x="187" y="120"/>
                        <a:pt x="187" y="120"/>
                      </a:cubicBezTo>
                      <a:cubicBezTo>
                        <a:pt x="194" y="120"/>
                        <a:pt x="199" y="115"/>
                        <a:pt x="199" y="108"/>
                      </a:cubicBezTo>
                      <a:cubicBezTo>
                        <a:pt x="199" y="94"/>
                        <a:pt x="199" y="94"/>
                        <a:pt x="199" y="94"/>
                      </a:cubicBezTo>
                      <a:cubicBezTo>
                        <a:pt x="199" y="88"/>
                        <a:pt x="194" y="82"/>
                        <a:pt x="187" y="82"/>
                      </a:cubicBezTo>
                      <a:close/>
                      <a:moveTo>
                        <a:pt x="57" y="105"/>
                      </a:moveTo>
                      <a:cubicBezTo>
                        <a:pt x="56" y="105"/>
                        <a:pt x="56" y="105"/>
                        <a:pt x="56" y="105"/>
                      </a:cubicBezTo>
                      <a:cubicBezTo>
                        <a:pt x="54" y="105"/>
                        <a:pt x="52" y="103"/>
                        <a:pt x="52" y="101"/>
                      </a:cubicBezTo>
                      <a:cubicBezTo>
                        <a:pt x="52" y="99"/>
                        <a:pt x="54" y="97"/>
                        <a:pt x="56" y="97"/>
                      </a:cubicBezTo>
                      <a:cubicBezTo>
                        <a:pt x="57" y="97"/>
                        <a:pt x="57" y="97"/>
                        <a:pt x="57" y="97"/>
                      </a:cubicBezTo>
                      <a:cubicBezTo>
                        <a:pt x="59" y="97"/>
                        <a:pt x="61" y="99"/>
                        <a:pt x="61" y="101"/>
                      </a:cubicBezTo>
                      <a:cubicBezTo>
                        <a:pt x="61" y="103"/>
                        <a:pt x="59" y="105"/>
                        <a:pt x="57" y="105"/>
                      </a:cubicBezTo>
                      <a:close/>
                      <a:moveTo>
                        <a:pt x="179" y="105"/>
                      </a:moveTo>
                      <a:cubicBezTo>
                        <a:pt x="112" y="105"/>
                        <a:pt x="112" y="105"/>
                        <a:pt x="112" y="105"/>
                      </a:cubicBezTo>
                      <a:cubicBezTo>
                        <a:pt x="110" y="105"/>
                        <a:pt x="108" y="103"/>
                        <a:pt x="108" y="101"/>
                      </a:cubicBezTo>
                      <a:cubicBezTo>
                        <a:pt x="108" y="99"/>
                        <a:pt x="110" y="97"/>
                        <a:pt x="112" y="97"/>
                      </a:cubicBezTo>
                      <a:cubicBezTo>
                        <a:pt x="179" y="97"/>
                        <a:pt x="179" y="97"/>
                        <a:pt x="179" y="97"/>
                      </a:cubicBezTo>
                      <a:cubicBezTo>
                        <a:pt x="181" y="97"/>
                        <a:pt x="183" y="99"/>
                        <a:pt x="183" y="101"/>
                      </a:cubicBezTo>
                      <a:cubicBezTo>
                        <a:pt x="183" y="103"/>
                        <a:pt x="181" y="105"/>
                        <a:pt x="179" y="105"/>
                      </a:cubicBezTo>
                      <a:close/>
                      <a:moveTo>
                        <a:pt x="187" y="217"/>
                      </a:moveTo>
                      <a:cubicBezTo>
                        <a:pt x="44" y="217"/>
                        <a:pt x="44" y="217"/>
                        <a:pt x="44" y="217"/>
                      </a:cubicBezTo>
                      <a:cubicBezTo>
                        <a:pt x="38" y="217"/>
                        <a:pt x="32" y="223"/>
                        <a:pt x="32" y="229"/>
                      </a:cubicBezTo>
                      <a:cubicBezTo>
                        <a:pt x="32" y="243"/>
                        <a:pt x="32" y="243"/>
                        <a:pt x="32" y="243"/>
                      </a:cubicBezTo>
                      <a:cubicBezTo>
                        <a:pt x="32" y="250"/>
                        <a:pt x="38" y="255"/>
                        <a:pt x="44" y="255"/>
                      </a:cubicBezTo>
                      <a:cubicBezTo>
                        <a:pt x="187" y="255"/>
                        <a:pt x="187" y="255"/>
                        <a:pt x="187" y="255"/>
                      </a:cubicBezTo>
                      <a:cubicBezTo>
                        <a:pt x="194" y="255"/>
                        <a:pt x="199" y="250"/>
                        <a:pt x="199" y="243"/>
                      </a:cubicBezTo>
                      <a:cubicBezTo>
                        <a:pt x="199" y="229"/>
                        <a:pt x="199" y="229"/>
                        <a:pt x="199" y="229"/>
                      </a:cubicBezTo>
                      <a:cubicBezTo>
                        <a:pt x="199" y="223"/>
                        <a:pt x="194" y="217"/>
                        <a:pt x="187" y="217"/>
                      </a:cubicBezTo>
                      <a:close/>
                      <a:moveTo>
                        <a:pt x="57" y="240"/>
                      </a:moveTo>
                      <a:cubicBezTo>
                        <a:pt x="56" y="240"/>
                        <a:pt x="56" y="240"/>
                        <a:pt x="56" y="240"/>
                      </a:cubicBezTo>
                      <a:cubicBezTo>
                        <a:pt x="54" y="240"/>
                        <a:pt x="52" y="238"/>
                        <a:pt x="52" y="236"/>
                      </a:cubicBezTo>
                      <a:cubicBezTo>
                        <a:pt x="52" y="234"/>
                        <a:pt x="54" y="232"/>
                        <a:pt x="56" y="232"/>
                      </a:cubicBezTo>
                      <a:cubicBezTo>
                        <a:pt x="57" y="232"/>
                        <a:pt x="57" y="232"/>
                        <a:pt x="57" y="232"/>
                      </a:cubicBezTo>
                      <a:cubicBezTo>
                        <a:pt x="59" y="232"/>
                        <a:pt x="61" y="234"/>
                        <a:pt x="61" y="236"/>
                      </a:cubicBezTo>
                      <a:cubicBezTo>
                        <a:pt x="61" y="238"/>
                        <a:pt x="59" y="240"/>
                        <a:pt x="57" y="240"/>
                      </a:cubicBezTo>
                      <a:close/>
                      <a:moveTo>
                        <a:pt x="179" y="240"/>
                      </a:moveTo>
                      <a:cubicBezTo>
                        <a:pt x="112" y="240"/>
                        <a:pt x="112" y="240"/>
                        <a:pt x="112" y="240"/>
                      </a:cubicBezTo>
                      <a:cubicBezTo>
                        <a:pt x="110" y="240"/>
                        <a:pt x="108" y="238"/>
                        <a:pt x="108" y="236"/>
                      </a:cubicBezTo>
                      <a:cubicBezTo>
                        <a:pt x="108" y="234"/>
                        <a:pt x="110" y="232"/>
                        <a:pt x="112" y="232"/>
                      </a:cubicBezTo>
                      <a:cubicBezTo>
                        <a:pt x="179" y="232"/>
                        <a:pt x="179" y="232"/>
                        <a:pt x="179" y="232"/>
                      </a:cubicBezTo>
                      <a:cubicBezTo>
                        <a:pt x="181" y="232"/>
                        <a:pt x="183" y="234"/>
                        <a:pt x="183" y="236"/>
                      </a:cubicBezTo>
                      <a:cubicBezTo>
                        <a:pt x="183" y="238"/>
                        <a:pt x="181" y="240"/>
                        <a:pt x="179" y="240"/>
                      </a:cubicBezTo>
                      <a:close/>
                      <a:moveTo>
                        <a:pt x="226" y="250"/>
                      </a:moveTo>
                      <a:cubicBezTo>
                        <a:pt x="223" y="250"/>
                        <a:pt x="223" y="250"/>
                        <a:pt x="223" y="250"/>
                      </a:cubicBezTo>
                      <a:cubicBezTo>
                        <a:pt x="222" y="254"/>
                        <a:pt x="221" y="258"/>
                        <a:pt x="219" y="261"/>
                      </a:cubicBezTo>
                      <a:cubicBezTo>
                        <a:pt x="232" y="261"/>
                        <a:pt x="232" y="261"/>
                        <a:pt x="232" y="261"/>
                      </a:cubicBezTo>
                      <a:cubicBezTo>
                        <a:pt x="237" y="261"/>
                        <a:pt x="241" y="257"/>
                        <a:pt x="241" y="252"/>
                      </a:cubicBezTo>
                      <a:cubicBezTo>
                        <a:pt x="241" y="242"/>
                        <a:pt x="241" y="242"/>
                        <a:pt x="241" y="242"/>
                      </a:cubicBezTo>
                      <a:cubicBezTo>
                        <a:pt x="241" y="237"/>
                        <a:pt x="237" y="233"/>
                        <a:pt x="232" y="233"/>
                      </a:cubicBezTo>
                      <a:cubicBezTo>
                        <a:pt x="223" y="233"/>
                        <a:pt x="223" y="233"/>
                        <a:pt x="223" y="233"/>
                      </a:cubicBezTo>
                      <a:cubicBezTo>
                        <a:pt x="223" y="244"/>
                        <a:pt x="223" y="244"/>
                        <a:pt x="223" y="244"/>
                      </a:cubicBezTo>
                      <a:cubicBezTo>
                        <a:pt x="226" y="244"/>
                        <a:pt x="226" y="244"/>
                        <a:pt x="226" y="244"/>
                      </a:cubicBezTo>
                      <a:cubicBezTo>
                        <a:pt x="228" y="244"/>
                        <a:pt x="229" y="245"/>
                        <a:pt x="229" y="247"/>
                      </a:cubicBezTo>
                      <a:cubicBezTo>
                        <a:pt x="229" y="249"/>
                        <a:pt x="228" y="250"/>
                        <a:pt x="226" y="250"/>
                      </a:cubicBezTo>
                      <a:close/>
                      <a:moveTo>
                        <a:pt x="241" y="185"/>
                      </a:moveTo>
                      <a:cubicBezTo>
                        <a:pt x="241" y="174"/>
                        <a:pt x="241" y="174"/>
                        <a:pt x="241" y="174"/>
                      </a:cubicBezTo>
                      <a:cubicBezTo>
                        <a:pt x="241" y="169"/>
                        <a:pt x="237" y="165"/>
                        <a:pt x="232" y="165"/>
                      </a:cubicBezTo>
                      <a:cubicBezTo>
                        <a:pt x="223" y="165"/>
                        <a:pt x="223" y="165"/>
                        <a:pt x="223" y="165"/>
                      </a:cubicBezTo>
                      <a:cubicBezTo>
                        <a:pt x="223" y="176"/>
                        <a:pt x="223" y="176"/>
                        <a:pt x="223" y="176"/>
                      </a:cubicBezTo>
                      <a:cubicBezTo>
                        <a:pt x="226" y="176"/>
                        <a:pt x="226" y="176"/>
                        <a:pt x="226" y="176"/>
                      </a:cubicBezTo>
                      <a:cubicBezTo>
                        <a:pt x="228" y="176"/>
                        <a:pt x="229" y="178"/>
                        <a:pt x="229" y="179"/>
                      </a:cubicBezTo>
                      <a:cubicBezTo>
                        <a:pt x="229" y="181"/>
                        <a:pt x="228" y="182"/>
                        <a:pt x="226" y="182"/>
                      </a:cubicBezTo>
                      <a:cubicBezTo>
                        <a:pt x="223" y="182"/>
                        <a:pt x="223" y="182"/>
                        <a:pt x="223" y="182"/>
                      </a:cubicBezTo>
                      <a:cubicBezTo>
                        <a:pt x="223" y="194"/>
                        <a:pt x="223" y="194"/>
                        <a:pt x="223" y="194"/>
                      </a:cubicBezTo>
                      <a:cubicBezTo>
                        <a:pt x="232" y="194"/>
                        <a:pt x="232" y="194"/>
                        <a:pt x="232" y="194"/>
                      </a:cubicBezTo>
                      <a:cubicBezTo>
                        <a:pt x="237" y="194"/>
                        <a:pt x="241" y="190"/>
                        <a:pt x="241" y="185"/>
                      </a:cubicBezTo>
                      <a:close/>
                      <a:moveTo>
                        <a:pt x="241" y="151"/>
                      </a:moveTo>
                      <a:cubicBezTo>
                        <a:pt x="241" y="141"/>
                        <a:pt x="241" y="141"/>
                        <a:pt x="241" y="141"/>
                      </a:cubicBezTo>
                      <a:cubicBezTo>
                        <a:pt x="241" y="136"/>
                        <a:pt x="237" y="132"/>
                        <a:pt x="232" y="132"/>
                      </a:cubicBezTo>
                      <a:cubicBezTo>
                        <a:pt x="223" y="132"/>
                        <a:pt x="223" y="132"/>
                        <a:pt x="223" y="132"/>
                      </a:cubicBezTo>
                      <a:cubicBezTo>
                        <a:pt x="223" y="143"/>
                        <a:pt x="223" y="143"/>
                        <a:pt x="223" y="143"/>
                      </a:cubicBezTo>
                      <a:cubicBezTo>
                        <a:pt x="226" y="143"/>
                        <a:pt x="226" y="143"/>
                        <a:pt x="226" y="143"/>
                      </a:cubicBezTo>
                      <a:cubicBezTo>
                        <a:pt x="228" y="143"/>
                        <a:pt x="229" y="144"/>
                        <a:pt x="229" y="146"/>
                      </a:cubicBezTo>
                      <a:cubicBezTo>
                        <a:pt x="229" y="147"/>
                        <a:pt x="228" y="149"/>
                        <a:pt x="226" y="149"/>
                      </a:cubicBezTo>
                      <a:cubicBezTo>
                        <a:pt x="223" y="149"/>
                        <a:pt x="223" y="149"/>
                        <a:pt x="223" y="149"/>
                      </a:cubicBezTo>
                      <a:cubicBezTo>
                        <a:pt x="223" y="160"/>
                        <a:pt x="223" y="160"/>
                        <a:pt x="223" y="160"/>
                      </a:cubicBezTo>
                      <a:cubicBezTo>
                        <a:pt x="232" y="160"/>
                        <a:pt x="232" y="160"/>
                        <a:pt x="232" y="160"/>
                      </a:cubicBezTo>
                      <a:cubicBezTo>
                        <a:pt x="237" y="160"/>
                        <a:pt x="241" y="156"/>
                        <a:pt x="241" y="151"/>
                      </a:cubicBezTo>
                      <a:close/>
                      <a:moveTo>
                        <a:pt x="187" y="127"/>
                      </a:moveTo>
                      <a:cubicBezTo>
                        <a:pt x="44" y="127"/>
                        <a:pt x="44" y="127"/>
                        <a:pt x="44" y="127"/>
                      </a:cubicBezTo>
                      <a:cubicBezTo>
                        <a:pt x="38" y="127"/>
                        <a:pt x="32" y="133"/>
                        <a:pt x="32" y="139"/>
                      </a:cubicBezTo>
                      <a:cubicBezTo>
                        <a:pt x="32" y="153"/>
                        <a:pt x="32" y="153"/>
                        <a:pt x="32" y="153"/>
                      </a:cubicBezTo>
                      <a:cubicBezTo>
                        <a:pt x="32" y="160"/>
                        <a:pt x="38" y="165"/>
                        <a:pt x="44" y="165"/>
                      </a:cubicBezTo>
                      <a:cubicBezTo>
                        <a:pt x="187" y="165"/>
                        <a:pt x="187" y="165"/>
                        <a:pt x="187" y="165"/>
                      </a:cubicBezTo>
                      <a:cubicBezTo>
                        <a:pt x="194" y="165"/>
                        <a:pt x="199" y="160"/>
                        <a:pt x="199" y="153"/>
                      </a:cubicBezTo>
                      <a:cubicBezTo>
                        <a:pt x="199" y="139"/>
                        <a:pt x="199" y="139"/>
                        <a:pt x="199" y="139"/>
                      </a:cubicBezTo>
                      <a:cubicBezTo>
                        <a:pt x="199" y="133"/>
                        <a:pt x="194" y="127"/>
                        <a:pt x="187" y="127"/>
                      </a:cubicBezTo>
                      <a:close/>
                      <a:moveTo>
                        <a:pt x="57" y="150"/>
                      </a:moveTo>
                      <a:cubicBezTo>
                        <a:pt x="56" y="150"/>
                        <a:pt x="56" y="150"/>
                        <a:pt x="56" y="150"/>
                      </a:cubicBezTo>
                      <a:cubicBezTo>
                        <a:pt x="54" y="150"/>
                        <a:pt x="52" y="148"/>
                        <a:pt x="52" y="146"/>
                      </a:cubicBezTo>
                      <a:cubicBezTo>
                        <a:pt x="52" y="144"/>
                        <a:pt x="54" y="142"/>
                        <a:pt x="56" y="142"/>
                      </a:cubicBezTo>
                      <a:cubicBezTo>
                        <a:pt x="57" y="142"/>
                        <a:pt x="57" y="142"/>
                        <a:pt x="57" y="142"/>
                      </a:cubicBezTo>
                      <a:cubicBezTo>
                        <a:pt x="59" y="142"/>
                        <a:pt x="61" y="144"/>
                        <a:pt x="61" y="146"/>
                      </a:cubicBezTo>
                      <a:cubicBezTo>
                        <a:pt x="61" y="148"/>
                        <a:pt x="59" y="150"/>
                        <a:pt x="57" y="150"/>
                      </a:cubicBezTo>
                      <a:close/>
                      <a:moveTo>
                        <a:pt x="179" y="150"/>
                      </a:moveTo>
                      <a:cubicBezTo>
                        <a:pt x="112" y="150"/>
                        <a:pt x="112" y="150"/>
                        <a:pt x="112" y="150"/>
                      </a:cubicBezTo>
                      <a:cubicBezTo>
                        <a:pt x="110" y="150"/>
                        <a:pt x="108" y="148"/>
                        <a:pt x="108" y="146"/>
                      </a:cubicBezTo>
                      <a:cubicBezTo>
                        <a:pt x="108" y="144"/>
                        <a:pt x="110" y="142"/>
                        <a:pt x="112" y="142"/>
                      </a:cubicBezTo>
                      <a:cubicBezTo>
                        <a:pt x="179" y="142"/>
                        <a:pt x="179" y="142"/>
                        <a:pt x="179" y="142"/>
                      </a:cubicBezTo>
                      <a:cubicBezTo>
                        <a:pt x="181" y="142"/>
                        <a:pt x="183" y="144"/>
                        <a:pt x="183" y="146"/>
                      </a:cubicBezTo>
                      <a:cubicBezTo>
                        <a:pt x="183" y="148"/>
                        <a:pt x="181" y="150"/>
                        <a:pt x="179" y="150"/>
                      </a:cubicBezTo>
                      <a:close/>
                      <a:moveTo>
                        <a:pt x="187" y="37"/>
                      </a:moveTo>
                      <a:cubicBezTo>
                        <a:pt x="44" y="37"/>
                        <a:pt x="44" y="37"/>
                        <a:pt x="44" y="37"/>
                      </a:cubicBezTo>
                      <a:cubicBezTo>
                        <a:pt x="38" y="37"/>
                        <a:pt x="32" y="43"/>
                        <a:pt x="32" y="49"/>
                      </a:cubicBezTo>
                      <a:cubicBezTo>
                        <a:pt x="32" y="63"/>
                        <a:pt x="32" y="63"/>
                        <a:pt x="32" y="63"/>
                      </a:cubicBezTo>
                      <a:cubicBezTo>
                        <a:pt x="32" y="70"/>
                        <a:pt x="38" y="75"/>
                        <a:pt x="44" y="75"/>
                      </a:cubicBezTo>
                      <a:cubicBezTo>
                        <a:pt x="187" y="75"/>
                        <a:pt x="187" y="75"/>
                        <a:pt x="187" y="75"/>
                      </a:cubicBezTo>
                      <a:cubicBezTo>
                        <a:pt x="194" y="75"/>
                        <a:pt x="199" y="70"/>
                        <a:pt x="199" y="63"/>
                      </a:cubicBezTo>
                      <a:cubicBezTo>
                        <a:pt x="199" y="49"/>
                        <a:pt x="199" y="49"/>
                        <a:pt x="199" y="49"/>
                      </a:cubicBezTo>
                      <a:cubicBezTo>
                        <a:pt x="199" y="43"/>
                        <a:pt x="194" y="37"/>
                        <a:pt x="187" y="37"/>
                      </a:cubicBezTo>
                      <a:close/>
                      <a:moveTo>
                        <a:pt x="57" y="60"/>
                      </a:moveTo>
                      <a:cubicBezTo>
                        <a:pt x="56" y="60"/>
                        <a:pt x="56" y="60"/>
                        <a:pt x="56" y="60"/>
                      </a:cubicBezTo>
                      <a:cubicBezTo>
                        <a:pt x="54" y="60"/>
                        <a:pt x="52" y="58"/>
                        <a:pt x="52" y="56"/>
                      </a:cubicBezTo>
                      <a:cubicBezTo>
                        <a:pt x="52" y="54"/>
                        <a:pt x="54" y="52"/>
                        <a:pt x="56" y="52"/>
                      </a:cubicBezTo>
                      <a:cubicBezTo>
                        <a:pt x="57" y="52"/>
                        <a:pt x="57" y="52"/>
                        <a:pt x="57" y="52"/>
                      </a:cubicBezTo>
                      <a:cubicBezTo>
                        <a:pt x="59" y="52"/>
                        <a:pt x="61" y="54"/>
                        <a:pt x="61" y="56"/>
                      </a:cubicBezTo>
                      <a:cubicBezTo>
                        <a:pt x="61" y="58"/>
                        <a:pt x="59" y="60"/>
                        <a:pt x="57" y="60"/>
                      </a:cubicBezTo>
                      <a:close/>
                      <a:moveTo>
                        <a:pt x="179" y="60"/>
                      </a:moveTo>
                      <a:cubicBezTo>
                        <a:pt x="112" y="60"/>
                        <a:pt x="112" y="60"/>
                        <a:pt x="112" y="60"/>
                      </a:cubicBezTo>
                      <a:cubicBezTo>
                        <a:pt x="110" y="60"/>
                        <a:pt x="108" y="58"/>
                        <a:pt x="108" y="56"/>
                      </a:cubicBezTo>
                      <a:cubicBezTo>
                        <a:pt x="108" y="54"/>
                        <a:pt x="110" y="52"/>
                        <a:pt x="112" y="52"/>
                      </a:cubicBezTo>
                      <a:cubicBezTo>
                        <a:pt x="179" y="52"/>
                        <a:pt x="179" y="52"/>
                        <a:pt x="179" y="52"/>
                      </a:cubicBezTo>
                      <a:cubicBezTo>
                        <a:pt x="181" y="52"/>
                        <a:pt x="183" y="54"/>
                        <a:pt x="183" y="56"/>
                      </a:cubicBezTo>
                      <a:cubicBezTo>
                        <a:pt x="183" y="58"/>
                        <a:pt x="181" y="60"/>
                        <a:pt x="179" y="60"/>
                      </a:cubicBezTo>
                      <a:close/>
                      <a:moveTo>
                        <a:pt x="268" y="175"/>
                      </a:moveTo>
                      <a:cubicBezTo>
                        <a:pt x="268" y="172"/>
                        <a:pt x="265" y="169"/>
                        <a:pt x="261" y="169"/>
                      </a:cubicBezTo>
                      <a:cubicBezTo>
                        <a:pt x="261" y="190"/>
                        <a:pt x="261" y="190"/>
                        <a:pt x="261" y="190"/>
                      </a:cubicBezTo>
                      <a:cubicBezTo>
                        <a:pt x="265" y="189"/>
                        <a:pt x="268" y="187"/>
                        <a:pt x="268" y="183"/>
                      </a:cubicBezTo>
                      <a:lnTo>
                        <a:pt x="268" y="175"/>
                      </a:lnTo>
                      <a:close/>
                      <a:moveTo>
                        <a:pt x="268" y="201"/>
                      </a:moveTo>
                      <a:cubicBezTo>
                        <a:pt x="268" y="197"/>
                        <a:pt x="265" y="194"/>
                        <a:pt x="261" y="194"/>
                      </a:cubicBezTo>
                      <a:cubicBezTo>
                        <a:pt x="261" y="215"/>
                        <a:pt x="261" y="215"/>
                        <a:pt x="261" y="215"/>
                      </a:cubicBezTo>
                      <a:cubicBezTo>
                        <a:pt x="265" y="215"/>
                        <a:pt x="268" y="212"/>
                        <a:pt x="268" y="208"/>
                      </a:cubicBezTo>
                      <a:lnTo>
                        <a:pt x="268" y="201"/>
                      </a:lnTo>
                      <a:close/>
                      <a:moveTo>
                        <a:pt x="268" y="150"/>
                      </a:moveTo>
                      <a:cubicBezTo>
                        <a:pt x="268" y="146"/>
                        <a:pt x="265" y="143"/>
                        <a:pt x="261" y="143"/>
                      </a:cubicBezTo>
                      <a:cubicBezTo>
                        <a:pt x="261" y="164"/>
                        <a:pt x="261" y="164"/>
                        <a:pt x="261" y="164"/>
                      </a:cubicBezTo>
                      <a:cubicBezTo>
                        <a:pt x="265" y="164"/>
                        <a:pt x="268" y="161"/>
                        <a:pt x="268" y="158"/>
                      </a:cubicBezTo>
                      <a:lnTo>
                        <a:pt x="268" y="150"/>
                      </a:lnTo>
                      <a:close/>
                      <a:moveTo>
                        <a:pt x="277" y="260"/>
                      </a:moveTo>
                      <a:cubicBezTo>
                        <a:pt x="277" y="147"/>
                        <a:pt x="277" y="147"/>
                        <a:pt x="277" y="147"/>
                      </a:cubicBezTo>
                      <a:cubicBezTo>
                        <a:pt x="277" y="139"/>
                        <a:pt x="270" y="132"/>
                        <a:pt x="261" y="132"/>
                      </a:cubicBezTo>
                      <a:cubicBezTo>
                        <a:pt x="261" y="132"/>
                        <a:pt x="261" y="132"/>
                        <a:pt x="261" y="132"/>
                      </a:cubicBezTo>
                      <a:cubicBezTo>
                        <a:pt x="261" y="135"/>
                        <a:pt x="261" y="135"/>
                        <a:pt x="261" y="135"/>
                      </a:cubicBezTo>
                      <a:cubicBezTo>
                        <a:pt x="261" y="135"/>
                        <a:pt x="261" y="135"/>
                        <a:pt x="261" y="135"/>
                      </a:cubicBezTo>
                      <a:cubicBezTo>
                        <a:pt x="268" y="135"/>
                        <a:pt x="273" y="141"/>
                        <a:pt x="273" y="147"/>
                      </a:cubicBezTo>
                      <a:cubicBezTo>
                        <a:pt x="273" y="260"/>
                        <a:pt x="273" y="260"/>
                        <a:pt x="273" y="260"/>
                      </a:cubicBezTo>
                      <a:cubicBezTo>
                        <a:pt x="273" y="267"/>
                        <a:pt x="268" y="272"/>
                        <a:pt x="261" y="272"/>
                      </a:cubicBezTo>
                      <a:cubicBezTo>
                        <a:pt x="254" y="272"/>
                        <a:pt x="254" y="272"/>
                        <a:pt x="254" y="272"/>
                      </a:cubicBezTo>
                      <a:cubicBezTo>
                        <a:pt x="252" y="275"/>
                        <a:pt x="249" y="277"/>
                        <a:pt x="246" y="279"/>
                      </a:cubicBezTo>
                      <a:cubicBezTo>
                        <a:pt x="246" y="279"/>
                        <a:pt x="246" y="279"/>
                        <a:pt x="246" y="279"/>
                      </a:cubicBezTo>
                      <a:cubicBezTo>
                        <a:pt x="264" y="279"/>
                        <a:pt x="264" y="279"/>
                        <a:pt x="264" y="279"/>
                      </a:cubicBezTo>
                      <a:cubicBezTo>
                        <a:pt x="267" y="274"/>
                        <a:pt x="267" y="274"/>
                        <a:pt x="267" y="274"/>
                      </a:cubicBezTo>
                      <a:cubicBezTo>
                        <a:pt x="273" y="272"/>
                        <a:pt x="277" y="267"/>
                        <a:pt x="277" y="260"/>
                      </a:cubicBezTo>
                      <a:close/>
                      <a:moveTo>
                        <a:pt x="268" y="226"/>
                      </a:moveTo>
                      <a:cubicBezTo>
                        <a:pt x="268" y="222"/>
                        <a:pt x="265" y="219"/>
                        <a:pt x="261" y="219"/>
                      </a:cubicBezTo>
                      <a:cubicBezTo>
                        <a:pt x="261" y="240"/>
                        <a:pt x="261" y="240"/>
                        <a:pt x="261" y="240"/>
                      </a:cubicBezTo>
                      <a:cubicBezTo>
                        <a:pt x="265" y="240"/>
                        <a:pt x="268" y="237"/>
                        <a:pt x="268" y="234"/>
                      </a:cubicBezTo>
                      <a:lnTo>
                        <a:pt x="268" y="226"/>
                      </a:lnTo>
                      <a:close/>
                      <a:moveTo>
                        <a:pt x="261" y="245"/>
                      </a:moveTo>
                      <a:cubicBezTo>
                        <a:pt x="261" y="254"/>
                        <a:pt x="261" y="254"/>
                        <a:pt x="261" y="254"/>
                      </a:cubicBezTo>
                      <a:cubicBezTo>
                        <a:pt x="261" y="258"/>
                        <a:pt x="260" y="262"/>
                        <a:pt x="259" y="266"/>
                      </a:cubicBezTo>
                      <a:cubicBezTo>
                        <a:pt x="261" y="266"/>
                        <a:pt x="261" y="266"/>
                        <a:pt x="261" y="266"/>
                      </a:cubicBezTo>
                      <a:cubicBezTo>
                        <a:pt x="265" y="266"/>
                        <a:pt x="268" y="263"/>
                        <a:pt x="268" y="259"/>
                      </a:cubicBezTo>
                      <a:cubicBezTo>
                        <a:pt x="268" y="251"/>
                        <a:pt x="268" y="251"/>
                        <a:pt x="268" y="251"/>
                      </a:cubicBezTo>
                      <a:cubicBezTo>
                        <a:pt x="268" y="248"/>
                        <a:pt x="265" y="245"/>
                        <a:pt x="261" y="245"/>
                      </a:cubicBezTo>
                      <a:close/>
                      <a:moveTo>
                        <a:pt x="253" y="254"/>
                      </a:moveTo>
                      <a:cubicBezTo>
                        <a:pt x="253" y="103"/>
                        <a:pt x="253" y="103"/>
                        <a:pt x="253" y="103"/>
                      </a:cubicBezTo>
                      <a:cubicBezTo>
                        <a:pt x="253" y="92"/>
                        <a:pt x="244" y="83"/>
                        <a:pt x="233" y="83"/>
                      </a:cubicBezTo>
                      <a:cubicBezTo>
                        <a:pt x="223" y="83"/>
                        <a:pt x="223" y="83"/>
                        <a:pt x="223" y="83"/>
                      </a:cubicBezTo>
                      <a:cubicBezTo>
                        <a:pt x="223" y="87"/>
                        <a:pt x="223" y="87"/>
                        <a:pt x="223" y="87"/>
                      </a:cubicBezTo>
                      <a:cubicBezTo>
                        <a:pt x="233" y="87"/>
                        <a:pt x="233" y="87"/>
                        <a:pt x="233" y="87"/>
                      </a:cubicBezTo>
                      <a:cubicBezTo>
                        <a:pt x="242" y="87"/>
                        <a:pt x="249" y="94"/>
                        <a:pt x="249" y="103"/>
                      </a:cubicBezTo>
                      <a:cubicBezTo>
                        <a:pt x="249" y="254"/>
                        <a:pt x="249" y="254"/>
                        <a:pt x="249" y="254"/>
                      </a:cubicBezTo>
                      <a:cubicBezTo>
                        <a:pt x="249" y="262"/>
                        <a:pt x="242" y="269"/>
                        <a:pt x="233" y="269"/>
                      </a:cubicBezTo>
                      <a:cubicBezTo>
                        <a:pt x="213" y="269"/>
                        <a:pt x="213" y="269"/>
                        <a:pt x="213" y="269"/>
                      </a:cubicBezTo>
                      <a:cubicBezTo>
                        <a:pt x="211" y="271"/>
                        <a:pt x="209" y="273"/>
                        <a:pt x="207" y="275"/>
                      </a:cubicBezTo>
                      <a:cubicBezTo>
                        <a:pt x="209" y="279"/>
                        <a:pt x="209" y="279"/>
                        <a:pt x="209" y="279"/>
                      </a:cubicBezTo>
                      <a:cubicBezTo>
                        <a:pt x="237" y="279"/>
                        <a:pt x="237" y="279"/>
                        <a:pt x="237" y="279"/>
                      </a:cubicBezTo>
                      <a:cubicBezTo>
                        <a:pt x="240" y="273"/>
                        <a:pt x="240" y="273"/>
                        <a:pt x="240" y="273"/>
                      </a:cubicBezTo>
                      <a:cubicBezTo>
                        <a:pt x="248" y="270"/>
                        <a:pt x="253" y="262"/>
                        <a:pt x="253" y="254"/>
                      </a:cubicBezTo>
                      <a:close/>
                      <a:moveTo>
                        <a:pt x="215" y="245"/>
                      </a:moveTo>
                      <a:cubicBezTo>
                        <a:pt x="215" y="44"/>
                        <a:pt x="215" y="44"/>
                        <a:pt x="215" y="44"/>
                      </a:cubicBezTo>
                      <a:cubicBezTo>
                        <a:pt x="215" y="29"/>
                        <a:pt x="203" y="17"/>
                        <a:pt x="188" y="17"/>
                      </a:cubicBezTo>
                      <a:cubicBezTo>
                        <a:pt x="43" y="17"/>
                        <a:pt x="43" y="17"/>
                        <a:pt x="43" y="17"/>
                      </a:cubicBezTo>
                      <a:cubicBezTo>
                        <a:pt x="28" y="17"/>
                        <a:pt x="16" y="29"/>
                        <a:pt x="16" y="44"/>
                      </a:cubicBezTo>
                      <a:cubicBezTo>
                        <a:pt x="16" y="245"/>
                        <a:pt x="16" y="245"/>
                        <a:pt x="16" y="245"/>
                      </a:cubicBezTo>
                      <a:cubicBezTo>
                        <a:pt x="16" y="257"/>
                        <a:pt x="24" y="266"/>
                        <a:pt x="34" y="270"/>
                      </a:cubicBezTo>
                      <a:cubicBezTo>
                        <a:pt x="38" y="279"/>
                        <a:pt x="38" y="279"/>
                        <a:pt x="38" y="279"/>
                      </a:cubicBezTo>
                      <a:cubicBezTo>
                        <a:pt x="75" y="279"/>
                        <a:pt x="75" y="279"/>
                        <a:pt x="75" y="279"/>
                      </a:cubicBezTo>
                      <a:cubicBezTo>
                        <a:pt x="79" y="272"/>
                        <a:pt x="79" y="272"/>
                        <a:pt x="79" y="272"/>
                      </a:cubicBezTo>
                      <a:cubicBezTo>
                        <a:pt x="153" y="272"/>
                        <a:pt x="153" y="272"/>
                        <a:pt x="153" y="272"/>
                      </a:cubicBezTo>
                      <a:cubicBezTo>
                        <a:pt x="156" y="279"/>
                        <a:pt x="156" y="279"/>
                        <a:pt x="156" y="279"/>
                      </a:cubicBezTo>
                      <a:cubicBezTo>
                        <a:pt x="193" y="279"/>
                        <a:pt x="193" y="279"/>
                        <a:pt x="193" y="279"/>
                      </a:cubicBezTo>
                      <a:cubicBezTo>
                        <a:pt x="198" y="270"/>
                        <a:pt x="198" y="270"/>
                        <a:pt x="198" y="270"/>
                      </a:cubicBezTo>
                      <a:cubicBezTo>
                        <a:pt x="208" y="266"/>
                        <a:pt x="215" y="257"/>
                        <a:pt x="215" y="245"/>
                      </a:cubicBezTo>
                      <a:close/>
                      <a:moveTo>
                        <a:pt x="188" y="266"/>
                      </a:moveTo>
                      <a:cubicBezTo>
                        <a:pt x="43" y="266"/>
                        <a:pt x="43" y="266"/>
                        <a:pt x="43" y="266"/>
                      </a:cubicBezTo>
                      <a:cubicBezTo>
                        <a:pt x="32" y="266"/>
                        <a:pt x="22" y="257"/>
                        <a:pt x="22" y="245"/>
                      </a:cubicBezTo>
                      <a:cubicBezTo>
                        <a:pt x="22" y="44"/>
                        <a:pt x="22" y="44"/>
                        <a:pt x="22" y="44"/>
                      </a:cubicBezTo>
                      <a:cubicBezTo>
                        <a:pt x="22" y="32"/>
                        <a:pt x="32" y="23"/>
                        <a:pt x="43" y="23"/>
                      </a:cubicBezTo>
                      <a:cubicBezTo>
                        <a:pt x="188" y="23"/>
                        <a:pt x="188" y="23"/>
                        <a:pt x="188" y="23"/>
                      </a:cubicBezTo>
                      <a:cubicBezTo>
                        <a:pt x="200" y="23"/>
                        <a:pt x="209" y="32"/>
                        <a:pt x="209" y="44"/>
                      </a:cubicBezTo>
                      <a:cubicBezTo>
                        <a:pt x="209" y="245"/>
                        <a:pt x="209" y="245"/>
                        <a:pt x="209" y="245"/>
                      </a:cubicBezTo>
                      <a:cubicBezTo>
                        <a:pt x="209" y="257"/>
                        <a:pt x="200" y="266"/>
                        <a:pt x="188" y="266"/>
                      </a:cubicBezTo>
                      <a:close/>
                      <a:moveTo>
                        <a:pt x="241" y="117"/>
                      </a:moveTo>
                      <a:cubicBezTo>
                        <a:pt x="241" y="107"/>
                        <a:pt x="241" y="107"/>
                        <a:pt x="241" y="107"/>
                      </a:cubicBezTo>
                      <a:cubicBezTo>
                        <a:pt x="241" y="102"/>
                        <a:pt x="237" y="98"/>
                        <a:pt x="232" y="98"/>
                      </a:cubicBezTo>
                      <a:cubicBezTo>
                        <a:pt x="223" y="98"/>
                        <a:pt x="223" y="98"/>
                        <a:pt x="223" y="98"/>
                      </a:cubicBezTo>
                      <a:cubicBezTo>
                        <a:pt x="223" y="109"/>
                        <a:pt x="223" y="109"/>
                        <a:pt x="223" y="109"/>
                      </a:cubicBezTo>
                      <a:cubicBezTo>
                        <a:pt x="226" y="109"/>
                        <a:pt x="226" y="109"/>
                        <a:pt x="226" y="109"/>
                      </a:cubicBezTo>
                      <a:cubicBezTo>
                        <a:pt x="228" y="109"/>
                        <a:pt x="229" y="110"/>
                        <a:pt x="229" y="112"/>
                      </a:cubicBezTo>
                      <a:cubicBezTo>
                        <a:pt x="229" y="114"/>
                        <a:pt x="228" y="115"/>
                        <a:pt x="226" y="115"/>
                      </a:cubicBezTo>
                      <a:cubicBezTo>
                        <a:pt x="223" y="115"/>
                        <a:pt x="223" y="115"/>
                        <a:pt x="223" y="115"/>
                      </a:cubicBezTo>
                      <a:cubicBezTo>
                        <a:pt x="223" y="126"/>
                        <a:pt x="223" y="126"/>
                        <a:pt x="223" y="126"/>
                      </a:cubicBezTo>
                      <a:cubicBezTo>
                        <a:pt x="232" y="126"/>
                        <a:pt x="232" y="126"/>
                        <a:pt x="232" y="126"/>
                      </a:cubicBezTo>
                      <a:cubicBezTo>
                        <a:pt x="237" y="126"/>
                        <a:pt x="241" y="122"/>
                        <a:pt x="241" y="117"/>
                      </a:cubicBezTo>
                      <a:close/>
                      <a:moveTo>
                        <a:pt x="4" y="88"/>
                      </a:moveTo>
                      <a:cubicBezTo>
                        <a:pt x="0" y="88"/>
                        <a:pt x="0" y="88"/>
                        <a:pt x="0" y="88"/>
                      </a:cubicBezTo>
                      <a:cubicBezTo>
                        <a:pt x="0" y="96"/>
                        <a:pt x="0" y="96"/>
                        <a:pt x="0" y="96"/>
                      </a:cubicBezTo>
                      <a:cubicBezTo>
                        <a:pt x="4" y="96"/>
                        <a:pt x="4" y="96"/>
                        <a:pt x="4" y="96"/>
                      </a:cubicBezTo>
                      <a:lnTo>
                        <a:pt x="4" y="88"/>
                      </a:lnTo>
                      <a:close/>
                      <a:moveTo>
                        <a:pt x="125" y="0"/>
                      </a:moveTo>
                      <a:cubicBezTo>
                        <a:pt x="117" y="0"/>
                        <a:pt x="117" y="0"/>
                        <a:pt x="117" y="0"/>
                      </a:cubicBezTo>
                      <a:cubicBezTo>
                        <a:pt x="117" y="4"/>
                        <a:pt x="117" y="4"/>
                        <a:pt x="117" y="4"/>
                      </a:cubicBezTo>
                      <a:cubicBezTo>
                        <a:pt x="125" y="4"/>
                        <a:pt x="125" y="4"/>
                        <a:pt x="125" y="4"/>
                      </a:cubicBezTo>
                      <a:lnTo>
                        <a:pt x="125" y="0"/>
                      </a:lnTo>
                      <a:close/>
                      <a:moveTo>
                        <a:pt x="61" y="0"/>
                      </a:moveTo>
                      <a:cubicBezTo>
                        <a:pt x="53" y="0"/>
                        <a:pt x="53" y="0"/>
                        <a:pt x="53" y="0"/>
                      </a:cubicBezTo>
                      <a:cubicBezTo>
                        <a:pt x="53" y="4"/>
                        <a:pt x="53" y="4"/>
                        <a:pt x="53" y="4"/>
                      </a:cubicBezTo>
                      <a:cubicBezTo>
                        <a:pt x="61" y="4"/>
                        <a:pt x="61" y="4"/>
                        <a:pt x="61" y="4"/>
                      </a:cubicBezTo>
                      <a:lnTo>
                        <a:pt x="61" y="0"/>
                      </a:lnTo>
                      <a:close/>
                      <a:moveTo>
                        <a:pt x="42" y="4"/>
                      </a:moveTo>
                      <a:cubicBezTo>
                        <a:pt x="45" y="4"/>
                        <a:pt x="45" y="4"/>
                        <a:pt x="45" y="4"/>
                      </a:cubicBezTo>
                      <a:cubicBezTo>
                        <a:pt x="45" y="0"/>
                        <a:pt x="45" y="0"/>
                        <a:pt x="45" y="0"/>
                      </a:cubicBezTo>
                      <a:cubicBezTo>
                        <a:pt x="42" y="0"/>
                        <a:pt x="42" y="0"/>
                        <a:pt x="42" y="0"/>
                      </a:cubicBezTo>
                      <a:cubicBezTo>
                        <a:pt x="40" y="0"/>
                        <a:pt x="39" y="0"/>
                        <a:pt x="37" y="1"/>
                      </a:cubicBezTo>
                      <a:cubicBezTo>
                        <a:pt x="37" y="5"/>
                        <a:pt x="37" y="5"/>
                        <a:pt x="37" y="5"/>
                      </a:cubicBezTo>
                      <a:cubicBezTo>
                        <a:pt x="39" y="4"/>
                        <a:pt x="40" y="4"/>
                        <a:pt x="42" y="4"/>
                      </a:cubicBezTo>
                      <a:close/>
                      <a:moveTo>
                        <a:pt x="8" y="25"/>
                      </a:moveTo>
                      <a:cubicBezTo>
                        <a:pt x="4" y="24"/>
                        <a:pt x="4" y="24"/>
                        <a:pt x="4" y="24"/>
                      </a:cubicBezTo>
                      <a:cubicBezTo>
                        <a:pt x="3" y="26"/>
                        <a:pt x="2" y="29"/>
                        <a:pt x="1" y="32"/>
                      </a:cubicBezTo>
                      <a:cubicBezTo>
                        <a:pt x="5" y="33"/>
                        <a:pt x="5" y="33"/>
                        <a:pt x="5" y="33"/>
                      </a:cubicBezTo>
                      <a:cubicBezTo>
                        <a:pt x="6" y="30"/>
                        <a:pt x="7" y="28"/>
                        <a:pt x="8" y="25"/>
                      </a:cubicBezTo>
                      <a:close/>
                      <a:moveTo>
                        <a:pt x="93" y="0"/>
                      </a:moveTo>
                      <a:cubicBezTo>
                        <a:pt x="85" y="0"/>
                        <a:pt x="85" y="0"/>
                        <a:pt x="85" y="0"/>
                      </a:cubicBezTo>
                      <a:cubicBezTo>
                        <a:pt x="85" y="4"/>
                        <a:pt x="85" y="4"/>
                        <a:pt x="85" y="4"/>
                      </a:cubicBezTo>
                      <a:cubicBezTo>
                        <a:pt x="93" y="4"/>
                        <a:pt x="93" y="4"/>
                        <a:pt x="93" y="4"/>
                      </a:cubicBezTo>
                      <a:lnTo>
                        <a:pt x="93" y="0"/>
                      </a:lnTo>
                      <a:close/>
                      <a:moveTo>
                        <a:pt x="77" y="0"/>
                      </a:moveTo>
                      <a:cubicBezTo>
                        <a:pt x="69" y="0"/>
                        <a:pt x="69" y="0"/>
                        <a:pt x="69" y="0"/>
                      </a:cubicBezTo>
                      <a:cubicBezTo>
                        <a:pt x="69" y="4"/>
                        <a:pt x="69" y="4"/>
                        <a:pt x="69" y="4"/>
                      </a:cubicBezTo>
                      <a:cubicBezTo>
                        <a:pt x="77" y="4"/>
                        <a:pt x="77" y="4"/>
                        <a:pt x="77" y="4"/>
                      </a:cubicBezTo>
                      <a:lnTo>
                        <a:pt x="77" y="0"/>
                      </a:lnTo>
                      <a:close/>
                      <a:moveTo>
                        <a:pt x="141" y="0"/>
                      </a:moveTo>
                      <a:cubicBezTo>
                        <a:pt x="133" y="0"/>
                        <a:pt x="133" y="0"/>
                        <a:pt x="133" y="0"/>
                      </a:cubicBezTo>
                      <a:cubicBezTo>
                        <a:pt x="133" y="4"/>
                        <a:pt x="133" y="4"/>
                        <a:pt x="133" y="4"/>
                      </a:cubicBezTo>
                      <a:cubicBezTo>
                        <a:pt x="141" y="4"/>
                        <a:pt x="141" y="4"/>
                        <a:pt x="141" y="4"/>
                      </a:cubicBezTo>
                      <a:lnTo>
                        <a:pt x="141" y="0"/>
                      </a:lnTo>
                      <a:close/>
                      <a:moveTo>
                        <a:pt x="4" y="56"/>
                      </a:moveTo>
                      <a:cubicBezTo>
                        <a:pt x="0" y="56"/>
                        <a:pt x="0" y="56"/>
                        <a:pt x="0" y="56"/>
                      </a:cubicBezTo>
                      <a:cubicBezTo>
                        <a:pt x="0" y="64"/>
                        <a:pt x="0" y="64"/>
                        <a:pt x="0" y="64"/>
                      </a:cubicBezTo>
                      <a:cubicBezTo>
                        <a:pt x="4" y="64"/>
                        <a:pt x="4" y="64"/>
                        <a:pt x="4" y="64"/>
                      </a:cubicBezTo>
                      <a:lnTo>
                        <a:pt x="4" y="56"/>
                      </a:lnTo>
                      <a:close/>
                      <a:moveTo>
                        <a:pt x="4" y="42"/>
                      </a:moveTo>
                      <a:cubicBezTo>
                        <a:pt x="4" y="42"/>
                        <a:pt x="4" y="41"/>
                        <a:pt x="4" y="40"/>
                      </a:cubicBezTo>
                      <a:cubicBezTo>
                        <a:pt x="0" y="40"/>
                        <a:pt x="0" y="40"/>
                        <a:pt x="0" y="40"/>
                      </a:cubicBezTo>
                      <a:cubicBezTo>
                        <a:pt x="0" y="41"/>
                        <a:pt x="0" y="41"/>
                        <a:pt x="0" y="42"/>
                      </a:cubicBezTo>
                      <a:cubicBezTo>
                        <a:pt x="0" y="48"/>
                        <a:pt x="0" y="48"/>
                        <a:pt x="0" y="48"/>
                      </a:cubicBezTo>
                      <a:cubicBezTo>
                        <a:pt x="4" y="48"/>
                        <a:pt x="4" y="48"/>
                        <a:pt x="4" y="48"/>
                      </a:cubicBezTo>
                      <a:lnTo>
                        <a:pt x="4" y="42"/>
                      </a:lnTo>
                      <a:close/>
                      <a:moveTo>
                        <a:pt x="17" y="14"/>
                      </a:moveTo>
                      <a:cubicBezTo>
                        <a:pt x="14" y="11"/>
                        <a:pt x="14" y="11"/>
                        <a:pt x="14" y="11"/>
                      </a:cubicBezTo>
                      <a:cubicBezTo>
                        <a:pt x="12" y="12"/>
                        <a:pt x="10" y="14"/>
                        <a:pt x="9" y="17"/>
                      </a:cubicBezTo>
                      <a:cubicBezTo>
                        <a:pt x="12" y="19"/>
                        <a:pt x="12" y="19"/>
                        <a:pt x="12" y="19"/>
                      </a:cubicBezTo>
                      <a:cubicBezTo>
                        <a:pt x="13" y="17"/>
                        <a:pt x="15" y="15"/>
                        <a:pt x="17" y="14"/>
                      </a:cubicBezTo>
                      <a:close/>
                      <a:moveTo>
                        <a:pt x="4" y="72"/>
                      </a:moveTo>
                      <a:cubicBezTo>
                        <a:pt x="0" y="72"/>
                        <a:pt x="0" y="72"/>
                        <a:pt x="0" y="72"/>
                      </a:cubicBezTo>
                      <a:cubicBezTo>
                        <a:pt x="0" y="80"/>
                        <a:pt x="0" y="80"/>
                        <a:pt x="0" y="80"/>
                      </a:cubicBezTo>
                      <a:cubicBezTo>
                        <a:pt x="4" y="80"/>
                        <a:pt x="4" y="80"/>
                        <a:pt x="4" y="80"/>
                      </a:cubicBezTo>
                      <a:lnTo>
                        <a:pt x="4" y="72"/>
                      </a:lnTo>
                      <a:close/>
                      <a:moveTo>
                        <a:pt x="30" y="6"/>
                      </a:moveTo>
                      <a:cubicBezTo>
                        <a:pt x="29" y="2"/>
                        <a:pt x="29" y="2"/>
                        <a:pt x="29" y="2"/>
                      </a:cubicBezTo>
                      <a:cubicBezTo>
                        <a:pt x="26" y="3"/>
                        <a:pt x="24" y="4"/>
                        <a:pt x="21" y="6"/>
                      </a:cubicBezTo>
                      <a:cubicBezTo>
                        <a:pt x="23" y="9"/>
                        <a:pt x="23" y="9"/>
                        <a:pt x="23" y="9"/>
                      </a:cubicBezTo>
                      <a:cubicBezTo>
                        <a:pt x="25" y="8"/>
                        <a:pt x="28" y="7"/>
                        <a:pt x="30" y="6"/>
                      </a:cubicBezTo>
                      <a:close/>
                      <a:moveTo>
                        <a:pt x="109" y="0"/>
                      </a:moveTo>
                      <a:cubicBezTo>
                        <a:pt x="101" y="0"/>
                        <a:pt x="101" y="0"/>
                        <a:pt x="101" y="0"/>
                      </a:cubicBezTo>
                      <a:cubicBezTo>
                        <a:pt x="101" y="4"/>
                        <a:pt x="101" y="4"/>
                        <a:pt x="101" y="4"/>
                      </a:cubicBezTo>
                      <a:cubicBezTo>
                        <a:pt x="109" y="4"/>
                        <a:pt x="109" y="4"/>
                        <a:pt x="109" y="4"/>
                      </a:cubicBezTo>
                      <a:lnTo>
                        <a:pt x="109" y="0"/>
                      </a:lnTo>
                      <a:close/>
                      <a:moveTo>
                        <a:pt x="251" y="47"/>
                      </a:moveTo>
                      <a:cubicBezTo>
                        <a:pt x="247" y="40"/>
                        <a:pt x="247" y="40"/>
                        <a:pt x="247" y="40"/>
                      </a:cubicBezTo>
                      <a:cubicBezTo>
                        <a:pt x="244" y="42"/>
                        <a:pt x="244" y="42"/>
                        <a:pt x="244" y="42"/>
                      </a:cubicBezTo>
                      <a:cubicBezTo>
                        <a:pt x="247" y="49"/>
                        <a:pt x="247" y="49"/>
                        <a:pt x="247" y="49"/>
                      </a:cubicBezTo>
                      <a:lnTo>
                        <a:pt x="251" y="47"/>
                      </a:lnTo>
                      <a:close/>
                      <a:moveTo>
                        <a:pt x="259" y="61"/>
                      </a:moveTo>
                      <a:cubicBezTo>
                        <a:pt x="255" y="54"/>
                        <a:pt x="255" y="54"/>
                        <a:pt x="255" y="54"/>
                      </a:cubicBezTo>
                      <a:cubicBezTo>
                        <a:pt x="251" y="56"/>
                        <a:pt x="251" y="56"/>
                        <a:pt x="251" y="56"/>
                      </a:cubicBezTo>
                      <a:cubicBezTo>
                        <a:pt x="255" y="63"/>
                        <a:pt x="255" y="63"/>
                        <a:pt x="255" y="63"/>
                      </a:cubicBezTo>
                      <a:lnTo>
                        <a:pt x="259" y="61"/>
                      </a:lnTo>
                      <a:close/>
                      <a:moveTo>
                        <a:pt x="266" y="75"/>
                      </a:moveTo>
                      <a:cubicBezTo>
                        <a:pt x="262" y="68"/>
                        <a:pt x="262" y="68"/>
                        <a:pt x="262" y="68"/>
                      </a:cubicBezTo>
                      <a:cubicBezTo>
                        <a:pt x="259" y="70"/>
                        <a:pt x="259" y="70"/>
                        <a:pt x="259" y="70"/>
                      </a:cubicBezTo>
                      <a:cubicBezTo>
                        <a:pt x="263" y="77"/>
                        <a:pt x="263" y="77"/>
                        <a:pt x="263" y="77"/>
                      </a:cubicBezTo>
                      <a:lnTo>
                        <a:pt x="266" y="75"/>
                      </a:lnTo>
                      <a:close/>
                      <a:moveTo>
                        <a:pt x="274" y="89"/>
                      </a:moveTo>
                      <a:cubicBezTo>
                        <a:pt x="270" y="82"/>
                        <a:pt x="270" y="82"/>
                        <a:pt x="270" y="82"/>
                      </a:cubicBezTo>
                      <a:cubicBezTo>
                        <a:pt x="266" y="84"/>
                        <a:pt x="266" y="84"/>
                        <a:pt x="266" y="84"/>
                      </a:cubicBezTo>
                      <a:cubicBezTo>
                        <a:pt x="270" y="91"/>
                        <a:pt x="270" y="91"/>
                        <a:pt x="270" y="91"/>
                      </a:cubicBezTo>
                      <a:lnTo>
                        <a:pt x="274" y="89"/>
                      </a:lnTo>
                      <a:close/>
                      <a:moveTo>
                        <a:pt x="232" y="20"/>
                      </a:moveTo>
                      <a:cubicBezTo>
                        <a:pt x="231" y="19"/>
                        <a:pt x="228" y="17"/>
                        <a:pt x="226" y="15"/>
                      </a:cubicBezTo>
                      <a:cubicBezTo>
                        <a:pt x="224" y="19"/>
                        <a:pt x="224" y="19"/>
                        <a:pt x="224" y="19"/>
                      </a:cubicBezTo>
                      <a:cubicBezTo>
                        <a:pt x="226" y="20"/>
                        <a:pt x="228" y="22"/>
                        <a:pt x="230" y="23"/>
                      </a:cubicBezTo>
                      <a:lnTo>
                        <a:pt x="232" y="20"/>
                      </a:lnTo>
                      <a:close/>
                      <a:moveTo>
                        <a:pt x="243" y="33"/>
                      </a:moveTo>
                      <a:cubicBezTo>
                        <a:pt x="242" y="31"/>
                        <a:pt x="240" y="28"/>
                        <a:pt x="238" y="26"/>
                      </a:cubicBezTo>
                      <a:cubicBezTo>
                        <a:pt x="235" y="29"/>
                        <a:pt x="235" y="29"/>
                        <a:pt x="235" y="29"/>
                      </a:cubicBezTo>
                      <a:cubicBezTo>
                        <a:pt x="237" y="31"/>
                        <a:pt x="239" y="33"/>
                        <a:pt x="240" y="35"/>
                      </a:cubicBezTo>
                      <a:lnTo>
                        <a:pt x="243" y="33"/>
                      </a:lnTo>
                      <a:close/>
                      <a:moveTo>
                        <a:pt x="277" y="105"/>
                      </a:moveTo>
                      <a:cubicBezTo>
                        <a:pt x="280" y="104"/>
                        <a:pt x="280" y="104"/>
                        <a:pt x="280" y="104"/>
                      </a:cubicBezTo>
                      <a:cubicBezTo>
                        <a:pt x="279" y="101"/>
                        <a:pt x="278" y="99"/>
                        <a:pt x="277" y="96"/>
                      </a:cubicBezTo>
                      <a:cubicBezTo>
                        <a:pt x="274" y="98"/>
                        <a:pt x="274" y="98"/>
                        <a:pt x="274" y="98"/>
                      </a:cubicBezTo>
                      <a:cubicBezTo>
                        <a:pt x="275" y="100"/>
                        <a:pt x="276" y="103"/>
                        <a:pt x="277" y="105"/>
                      </a:cubicBezTo>
                      <a:close/>
                      <a:moveTo>
                        <a:pt x="205" y="4"/>
                      </a:moveTo>
                      <a:cubicBezTo>
                        <a:pt x="202" y="3"/>
                        <a:pt x="199" y="2"/>
                        <a:pt x="197" y="2"/>
                      </a:cubicBezTo>
                      <a:cubicBezTo>
                        <a:pt x="196" y="6"/>
                        <a:pt x="196" y="6"/>
                        <a:pt x="196" y="6"/>
                      </a:cubicBezTo>
                      <a:cubicBezTo>
                        <a:pt x="198" y="6"/>
                        <a:pt x="201" y="7"/>
                        <a:pt x="203" y="8"/>
                      </a:cubicBezTo>
                      <a:lnTo>
                        <a:pt x="205" y="4"/>
                      </a:lnTo>
                      <a:close/>
                      <a:moveTo>
                        <a:pt x="157" y="0"/>
                      </a:moveTo>
                      <a:cubicBezTo>
                        <a:pt x="149" y="0"/>
                        <a:pt x="149" y="0"/>
                        <a:pt x="149" y="0"/>
                      </a:cubicBezTo>
                      <a:cubicBezTo>
                        <a:pt x="149" y="4"/>
                        <a:pt x="149" y="4"/>
                        <a:pt x="149" y="4"/>
                      </a:cubicBezTo>
                      <a:cubicBezTo>
                        <a:pt x="157" y="4"/>
                        <a:pt x="157" y="4"/>
                        <a:pt x="157" y="4"/>
                      </a:cubicBezTo>
                      <a:lnTo>
                        <a:pt x="157" y="0"/>
                      </a:lnTo>
                      <a:close/>
                      <a:moveTo>
                        <a:pt x="172" y="0"/>
                      </a:moveTo>
                      <a:cubicBezTo>
                        <a:pt x="165" y="0"/>
                        <a:pt x="165" y="0"/>
                        <a:pt x="165" y="0"/>
                      </a:cubicBezTo>
                      <a:cubicBezTo>
                        <a:pt x="165" y="4"/>
                        <a:pt x="165" y="4"/>
                        <a:pt x="165" y="4"/>
                      </a:cubicBezTo>
                      <a:cubicBezTo>
                        <a:pt x="172" y="4"/>
                        <a:pt x="172" y="4"/>
                        <a:pt x="172" y="4"/>
                      </a:cubicBezTo>
                      <a:lnTo>
                        <a:pt x="172" y="0"/>
                      </a:lnTo>
                      <a:close/>
                      <a:moveTo>
                        <a:pt x="188" y="4"/>
                      </a:moveTo>
                      <a:cubicBezTo>
                        <a:pt x="189" y="0"/>
                        <a:pt x="189" y="0"/>
                        <a:pt x="189" y="0"/>
                      </a:cubicBezTo>
                      <a:cubicBezTo>
                        <a:pt x="187" y="0"/>
                        <a:pt x="186" y="0"/>
                        <a:pt x="185" y="0"/>
                      </a:cubicBezTo>
                      <a:cubicBezTo>
                        <a:pt x="180" y="0"/>
                        <a:pt x="180" y="0"/>
                        <a:pt x="180" y="0"/>
                      </a:cubicBezTo>
                      <a:cubicBezTo>
                        <a:pt x="180" y="4"/>
                        <a:pt x="180" y="4"/>
                        <a:pt x="180" y="4"/>
                      </a:cubicBezTo>
                      <a:cubicBezTo>
                        <a:pt x="185" y="4"/>
                        <a:pt x="185" y="4"/>
                        <a:pt x="185" y="4"/>
                      </a:cubicBezTo>
                      <a:cubicBezTo>
                        <a:pt x="186" y="4"/>
                        <a:pt x="187" y="4"/>
                        <a:pt x="188" y="4"/>
                      </a:cubicBezTo>
                      <a:close/>
                      <a:moveTo>
                        <a:pt x="219" y="11"/>
                      </a:moveTo>
                      <a:cubicBezTo>
                        <a:pt x="217" y="9"/>
                        <a:pt x="215" y="8"/>
                        <a:pt x="212" y="7"/>
                      </a:cubicBezTo>
                      <a:cubicBezTo>
                        <a:pt x="210" y="11"/>
                        <a:pt x="210" y="11"/>
                        <a:pt x="210" y="11"/>
                      </a:cubicBezTo>
                      <a:cubicBezTo>
                        <a:pt x="213" y="12"/>
                        <a:pt x="215" y="13"/>
                        <a:pt x="217" y="14"/>
                      </a:cubicBezTo>
                      <a:lnTo>
                        <a:pt x="219" y="11"/>
                      </a:lnTo>
                      <a:close/>
                      <a:moveTo>
                        <a:pt x="285" y="135"/>
                      </a:moveTo>
                      <a:cubicBezTo>
                        <a:pt x="289" y="135"/>
                        <a:pt x="289" y="135"/>
                        <a:pt x="289" y="135"/>
                      </a:cubicBezTo>
                      <a:cubicBezTo>
                        <a:pt x="289" y="132"/>
                        <a:pt x="288" y="129"/>
                        <a:pt x="288" y="127"/>
                      </a:cubicBezTo>
                      <a:cubicBezTo>
                        <a:pt x="284" y="128"/>
                        <a:pt x="284" y="128"/>
                        <a:pt x="284" y="128"/>
                      </a:cubicBezTo>
                      <a:cubicBezTo>
                        <a:pt x="284" y="130"/>
                        <a:pt x="285" y="133"/>
                        <a:pt x="285" y="135"/>
                      </a:cubicBezTo>
                      <a:close/>
                      <a:moveTo>
                        <a:pt x="288" y="151"/>
                      </a:moveTo>
                      <a:cubicBezTo>
                        <a:pt x="292" y="150"/>
                        <a:pt x="292" y="150"/>
                        <a:pt x="292" y="150"/>
                      </a:cubicBezTo>
                      <a:cubicBezTo>
                        <a:pt x="292" y="148"/>
                        <a:pt x="291" y="145"/>
                        <a:pt x="291" y="142"/>
                      </a:cubicBezTo>
                      <a:cubicBezTo>
                        <a:pt x="287" y="143"/>
                        <a:pt x="287" y="143"/>
                        <a:pt x="287" y="143"/>
                      </a:cubicBezTo>
                      <a:cubicBezTo>
                        <a:pt x="287" y="146"/>
                        <a:pt x="288" y="148"/>
                        <a:pt x="288" y="151"/>
                      </a:cubicBezTo>
                      <a:close/>
                      <a:moveTo>
                        <a:pt x="242" y="296"/>
                      </a:moveTo>
                      <a:cubicBezTo>
                        <a:pt x="250" y="296"/>
                        <a:pt x="250" y="296"/>
                        <a:pt x="250" y="296"/>
                      </a:cubicBezTo>
                      <a:cubicBezTo>
                        <a:pt x="250" y="292"/>
                        <a:pt x="250" y="292"/>
                        <a:pt x="250" y="292"/>
                      </a:cubicBezTo>
                      <a:cubicBezTo>
                        <a:pt x="242" y="292"/>
                        <a:pt x="242" y="292"/>
                        <a:pt x="242" y="292"/>
                      </a:cubicBezTo>
                      <a:lnTo>
                        <a:pt x="242" y="296"/>
                      </a:lnTo>
                      <a:close/>
                      <a:moveTo>
                        <a:pt x="226" y="296"/>
                      </a:moveTo>
                      <a:cubicBezTo>
                        <a:pt x="234" y="296"/>
                        <a:pt x="234" y="296"/>
                        <a:pt x="234" y="296"/>
                      </a:cubicBezTo>
                      <a:cubicBezTo>
                        <a:pt x="234" y="292"/>
                        <a:pt x="234" y="292"/>
                        <a:pt x="234" y="292"/>
                      </a:cubicBezTo>
                      <a:cubicBezTo>
                        <a:pt x="226" y="292"/>
                        <a:pt x="226" y="292"/>
                        <a:pt x="226" y="292"/>
                      </a:cubicBezTo>
                      <a:lnTo>
                        <a:pt x="226" y="296"/>
                      </a:lnTo>
                      <a:close/>
                      <a:moveTo>
                        <a:pt x="258" y="292"/>
                      </a:moveTo>
                      <a:cubicBezTo>
                        <a:pt x="259" y="296"/>
                        <a:pt x="259" y="296"/>
                        <a:pt x="259" y="296"/>
                      </a:cubicBezTo>
                      <a:cubicBezTo>
                        <a:pt x="261" y="295"/>
                        <a:pt x="264" y="294"/>
                        <a:pt x="267" y="293"/>
                      </a:cubicBezTo>
                      <a:cubicBezTo>
                        <a:pt x="265" y="290"/>
                        <a:pt x="265" y="290"/>
                        <a:pt x="265" y="290"/>
                      </a:cubicBezTo>
                      <a:cubicBezTo>
                        <a:pt x="263" y="291"/>
                        <a:pt x="260" y="291"/>
                        <a:pt x="258" y="292"/>
                      </a:cubicBezTo>
                      <a:close/>
                      <a:moveTo>
                        <a:pt x="210" y="296"/>
                      </a:moveTo>
                      <a:cubicBezTo>
                        <a:pt x="218" y="296"/>
                        <a:pt x="218" y="296"/>
                        <a:pt x="218" y="296"/>
                      </a:cubicBezTo>
                      <a:cubicBezTo>
                        <a:pt x="218" y="292"/>
                        <a:pt x="218" y="292"/>
                        <a:pt x="218" y="292"/>
                      </a:cubicBezTo>
                      <a:cubicBezTo>
                        <a:pt x="210" y="292"/>
                        <a:pt x="210" y="292"/>
                        <a:pt x="210" y="292"/>
                      </a:cubicBezTo>
                      <a:lnTo>
                        <a:pt x="210" y="296"/>
                      </a:lnTo>
                      <a:close/>
                      <a:moveTo>
                        <a:pt x="179" y="296"/>
                      </a:moveTo>
                      <a:cubicBezTo>
                        <a:pt x="187" y="296"/>
                        <a:pt x="187" y="296"/>
                        <a:pt x="187" y="296"/>
                      </a:cubicBezTo>
                      <a:cubicBezTo>
                        <a:pt x="187" y="292"/>
                        <a:pt x="187" y="292"/>
                        <a:pt x="187" y="292"/>
                      </a:cubicBezTo>
                      <a:cubicBezTo>
                        <a:pt x="179" y="292"/>
                        <a:pt x="179" y="292"/>
                        <a:pt x="179" y="292"/>
                      </a:cubicBezTo>
                      <a:lnTo>
                        <a:pt x="179" y="296"/>
                      </a:lnTo>
                      <a:close/>
                      <a:moveTo>
                        <a:pt x="163" y="296"/>
                      </a:moveTo>
                      <a:cubicBezTo>
                        <a:pt x="171" y="296"/>
                        <a:pt x="171" y="296"/>
                        <a:pt x="171" y="296"/>
                      </a:cubicBezTo>
                      <a:cubicBezTo>
                        <a:pt x="171" y="292"/>
                        <a:pt x="171" y="292"/>
                        <a:pt x="171" y="292"/>
                      </a:cubicBezTo>
                      <a:cubicBezTo>
                        <a:pt x="163" y="292"/>
                        <a:pt x="163" y="292"/>
                        <a:pt x="163" y="292"/>
                      </a:cubicBezTo>
                      <a:lnTo>
                        <a:pt x="163" y="296"/>
                      </a:lnTo>
                      <a:close/>
                      <a:moveTo>
                        <a:pt x="147" y="296"/>
                      </a:moveTo>
                      <a:cubicBezTo>
                        <a:pt x="155" y="296"/>
                        <a:pt x="155" y="296"/>
                        <a:pt x="155" y="296"/>
                      </a:cubicBezTo>
                      <a:cubicBezTo>
                        <a:pt x="155" y="292"/>
                        <a:pt x="155" y="292"/>
                        <a:pt x="155" y="292"/>
                      </a:cubicBezTo>
                      <a:cubicBezTo>
                        <a:pt x="147" y="292"/>
                        <a:pt x="147" y="292"/>
                        <a:pt x="147" y="292"/>
                      </a:cubicBezTo>
                      <a:lnTo>
                        <a:pt x="147" y="296"/>
                      </a:lnTo>
                      <a:close/>
                      <a:moveTo>
                        <a:pt x="195" y="296"/>
                      </a:moveTo>
                      <a:cubicBezTo>
                        <a:pt x="203" y="296"/>
                        <a:pt x="203" y="296"/>
                        <a:pt x="203" y="296"/>
                      </a:cubicBezTo>
                      <a:cubicBezTo>
                        <a:pt x="203" y="292"/>
                        <a:pt x="203" y="292"/>
                        <a:pt x="203" y="292"/>
                      </a:cubicBezTo>
                      <a:cubicBezTo>
                        <a:pt x="195" y="292"/>
                        <a:pt x="195" y="292"/>
                        <a:pt x="195" y="292"/>
                      </a:cubicBezTo>
                      <a:lnTo>
                        <a:pt x="195" y="296"/>
                      </a:lnTo>
                      <a:close/>
                      <a:moveTo>
                        <a:pt x="131" y="296"/>
                      </a:moveTo>
                      <a:cubicBezTo>
                        <a:pt x="139" y="296"/>
                        <a:pt x="139" y="296"/>
                        <a:pt x="139" y="296"/>
                      </a:cubicBezTo>
                      <a:cubicBezTo>
                        <a:pt x="139" y="292"/>
                        <a:pt x="139" y="292"/>
                        <a:pt x="139" y="292"/>
                      </a:cubicBezTo>
                      <a:cubicBezTo>
                        <a:pt x="131" y="292"/>
                        <a:pt x="131" y="292"/>
                        <a:pt x="131" y="292"/>
                      </a:cubicBezTo>
                      <a:lnTo>
                        <a:pt x="131" y="296"/>
                      </a:lnTo>
                      <a:close/>
                      <a:moveTo>
                        <a:pt x="272" y="286"/>
                      </a:moveTo>
                      <a:cubicBezTo>
                        <a:pt x="274" y="289"/>
                        <a:pt x="274" y="289"/>
                        <a:pt x="274" y="289"/>
                      </a:cubicBezTo>
                      <a:cubicBezTo>
                        <a:pt x="276" y="288"/>
                        <a:pt x="279" y="286"/>
                        <a:pt x="281" y="284"/>
                      </a:cubicBezTo>
                      <a:cubicBezTo>
                        <a:pt x="278" y="281"/>
                        <a:pt x="278" y="281"/>
                        <a:pt x="278" y="281"/>
                      </a:cubicBezTo>
                      <a:cubicBezTo>
                        <a:pt x="276" y="283"/>
                        <a:pt x="274" y="285"/>
                        <a:pt x="272" y="286"/>
                      </a:cubicBezTo>
                      <a:close/>
                      <a:moveTo>
                        <a:pt x="289" y="214"/>
                      </a:moveTo>
                      <a:cubicBezTo>
                        <a:pt x="293" y="214"/>
                        <a:pt x="293" y="214"/>
                        <a:pt x="293" y="214"/>
                      </a:cubicBezTo>
                      <a:cubicBezTo>
                        <a:pt x="293" y="206"/>
                        <a:pt x="293" y="206"/>
                        <a:pt x="293" y="206"/>
                      </a:cubicBezTo>
                      <a:cubicBezTo>
                        <a:pt x="289" y="206"/>
                        <a:pt x="289" y="206"/>
                        <a:pt x="289" y="206"/>
                      </a:cubicBezTo>
                      <a:lnTo>
                        <a:pt x="289" y="214"/>
                      </a:lnTo>
                      <a:close/>
                      <a:moveTo>
                        <a:pt x="289" y="182"/>
                      </a:moveTo>
                      <a:cubicBezTo>
                        <a:pt x="293" y="182"/>
                        <a:pt x="293" y="182"/>
                        <a:pt x="293" y="182"/>
                      </a:cubicBezTo>
                      <a:cubicBezTo>
                        <a:pt x="293" y="175"/>
                        <a:pt x="293" y="175"/>
                        <a:pt x="293" y="175"/>
                      </a:cubicBezTo>
                      <a:cubicBezTo>
                        <a:pt x="289" y="175"/>
                        <a:pt x="289" y="175"/>
                        <a:pt x="289" y="175"/>
                      </a:cubicBezTo>
                      <a:lnTo>
                        <a:pt x="289" y="182"/>
                      </a:lnTo>
                      <a:close/>
                      <a:moveTo>
                        <a:pt x="289" y="198"/>
                      </a:moveTo>
                      <a:cubicBezTo>
                        <a:pt x="293" y="198"/>
                        <a:pt x="293" y="198"/>
                        <a:pt x="293" y="198"/>
                      </a:cubicBezTo>
                      <a:cubicBezTo>
                        <a:pt x="293" y="190"/>
                        <a:pt x="293" y="190"/>
                        <a:pt x="293" y="190"/>
                      </a:cubicBezTo>
                      <a:cubicBezTo>
                        <a:pt x="289" y="190"/>
                        <a:pt x="289" y="190"/>
                        <a:pt x="289" y="190"/>
                      </a:cubicBezTo>
                      <a:lnTo>
                        <a:pt x="289" y="198"/>
                      </a:lnTo>
                      <a:close/>
                      <a:moveTo>
                        <a:pt x="283" y="111"/>
                      </a:moveTo>
                      <a:cubicBezTo>
                        <a:pt x="279" y="113"/>
                        <a:pt x="279" y="113"/>
                        <a:pt x="279" y="113"/>
                      </a:cubicBezTo>
                      <a:cubicBezTo>
                        <a:pt x="280" y="115"/>
                        <a:pt x="281" y="118"/>
                        <a:pt x="282" y="120"/>
                      </a:cubicBezTo>
                      <a:cubicBezTo>
                        <a:pt x="285" y="119"/>
                        <a:pt x="285" y="119"/>
                        <a:pt x="285" y="119"/>
                      </a:cubicBezTo>
                      <a:cubicBezTo>
                        <a:pt x="285" y="116"/>
                        <a:pt x="284" y="114"/>
                        <a:pt x="283" y="111"/>
                      </a:cubicBezTo>
                      <a:close/>
                      <a:moveTo>
                        <a:pt x="293" y="158"/>
                      </a:moveTo>
                      <a:cubicBezTo>
                        <a:pt x="289" y="159"/>
                        <a:pt x="289" y="159"/>
                        <a:pt x="289" y="159"/>
                      </a:cubicBezTo>
                      <a:cubicBezTo>
                        <a:pt x="289" y="161"/>
                        <a:pt x="289" y="163"/>
                        <a:pt x="289" y="166"/>
                      </a:cubicBezTo>
                      <a:cubicBezTo>
                        <a:pt x="289" y="167"/>
                        <a:pt x="289" y="167"/>
                        <a:pt x="289" y="167"/>
                      </a:cubicBezTo>
                      <a:cubicBezTo>
                        <a:pt x="293" y="167"/>
                        <a:pt x="293" y="167"/>
                        <a:pt x="293" y="167"/>
                      </a:cubicBezTo>
                      <a:cubicBezTo>
                        <a:pt x="293" y="166"/>
                        <a:pt x="293" y="166"/>
                        <a:pt x="293" y="166"/>
                      </a:cubicBezTo>
                      <a:cubicBezTo>
                        <a:pt x="293" y="163"/>
                        <a:pt x="293" y="161"/>
                        <a:pt x="293" y="158"/>
                      </a:cubicBezTo>
                      <a:close/>
                      <a:moveTo>
                        <a:pt x="283" y="276"/>
                      </a:moveTo>
                      <a:cubicBezTo>
                        <a:pt x="286" y="278"/>
                        <a:pt x="286" y="278"/>
                        <a:pt x="286" y="278"/>
                      </a:cubicBezTo>
                      <a:cubicBezTo>
                        <a:pt x="287" y="276"/>
                        <a:pt x="289" y="273"/>
                        <a:pt x="290" y="271"/>
                      </a:cubicBezTo>
                      <a:cubicBezTo>
                        <a:pt x="286" y="269"/>
                        <a:pt x="286" y="269"/>
                        <a:pt x="286" y="269"/>
                      </a:cubicBezTo>
                      <a:cubicBezTo>
                        <a:pt x="285" y="271"/>
                        <a:pt x="284" y="274"/>
                        <a:pt x="283" y="276"/>
                      </a:cubicBezTo>
                      <a:close/>
                      <a:moveTo>
                        <a:pt x="288" y="262"/>
                      </a:moveTo>
                      <a:cubicBezTo>
                        <a:pt x="292" y="263"/>
                        <a:pt x="292" y="263"/>
                        <a:pt x="292" y="263"/>
                      </a:cubicBezTo>
                      <a:cubicBezTo>
                        <a:pt x="293" y="260"/>
                        <a:pt x="293" y="257"/>
                        <a:pt x="293" y="254"/>
                      </a:cubicBezTo>
                      <a:cubicBezTo>
                        <a:pt x="293" y="254"/>
                        <a:pt x="293" y="254"/>
                        <a:pt x="293" y="254"/>
                      </a:cubicBezTo>
                      <a:cubicBezTo>
                        <a:pt x="289" y="254"/>
                        <a:pt x="289" y="254"/>
                        <a:pt x="289" y="254"/>
                      </a:cubicBezTo>
                      <a:cubicBezTo>
                        <a:pt x="289" y="257"/>
                        <a:pt x="289" y="259"/>
                        <a:pt x="288" y="262"/>
                      </a:cubicBezTo>
                      <a:close/>
                      <a:moveTo>
                        <a:pt x="289" y="230"/>
                      </a:moveTo>
                      <a:cubicBezTo>
                        <a:pt x="293" y="230"/>
                        <a:pt x="293" y="230"/>
                        <a:pt x="293" y="230"/>
                      </a:cubicBezTo>
                      <a:cubicBezTo>
                        <a:pt x="293" y="222"/>
                        <a:pt x="293" y="222"/>
                        <a:pt x="293" y="222"/>
                      </a:cubicBezTo>
                      <a:cubicBezTo>
                        <a:pt x="289" y="222"/>
                        <a:pt x="289" y="222"/>
                        <a:pt x="289" y="222"/>
                      </a:cubicBezTo>
                      <a:lnTo>
                        <a:pt x="289" y="230"/>
                      </a:lnTo>
                      <a:close/>
                      <a:moveTo>
                        <a:pt x="289" y="246"/>
                      </a:moveTo>
                      <a:cubicBezTo>
                        <a:pt x="293" y="246"/>
                        <a:pt x="293" y="246"/>
                        <a:pt x="293" y="246"/>
                      </a:cubicBezTo>
                      <a:cubicBezTo>
                        <a:pt x="293" y="238"/>
                        <a:pt x="293" y="238"/>
                        <a:pt x="293" y="238"/>
                      </a:cubicBezTo>
                      <a:cubicBezTo>
                        <a:pt x="289" y="238"/>
                        <a:pt x="289" y="238"/>
                        <a:pt x="289" y="238"/>
                      </a:cubicBezTo>
                      <a:lnTo>
                        <a:pt x="289" y="246"/>
                      </a:lnTo>
                      <a:close/>
                      <a:moveTo>
                        <a:pt x="4" y="119"/>
                      </a:moveTo>
                      <a:cubicBezTo>
                        <a:pt x="0" y="119"/>
                        <a:pt x="0" y="119"/>
                        <a:pt x="0" y="119"/>
                      </a:cubicBezTo>
                      <a:cubicBezTo>
                        <a:pt x="0" y="127"/>
                        <a:pt x="0" y="127"/>
                        <a:pt x="0" y="127"/>
                      </a:cubicBezTo>
                      <a:cubicBezTo>
                        <a:pt x="4" y="127"/>
                        <a:pt x="4" y="127"/>
                        <a:pt x="4" y="127"/>
                      </a:cubicBezTo>
                      <a:lnTo>
                        <a:pt x="4" y="119"/>
                      </a:lnTo>
                      <a:close/>
                      <a:moveTo>
                        <a:pt x="4" y="215"/>
                      </a:moveTo>
                      <a:cubicBezTo>
                        <a:pt x="0" y="215"/>
                        <a:pt x="0" y="215"/>
                        <a:pt x="0" y="215"/>
                      </a:cubicBezTo>
                      <a:cubicBezTo>
                        <a:pt x="0" y="223"/>
                        <a:pt x="0" y="223"/>
                        <a:pt x="0" y="223"/>
                      </a:cubicBezTo>
                      <a:cubicBezTo>
                        <a:pt x="4" y="223"/>
                        <a:pt x="4" y="223"/>
                        <a:pt x="4" y="223"/>
                      </a:cubicBezTo>
                      <a:lnTo>
                        <a:pt x="4" y="215"/>
                      </a:lnTo>
                      <a:close/>
                      <a:moveTo>
                        <a:pt x="115" y="296"/>
                      </a:moveTo>
                      <a:cubicBezTo>
                        <a:pt x="123" y="296"/>
                        <a:pt x="123" y="296"/>
                        <a:pt x="123" y="296"/>
                      </a:cubicBezTo>
                      <a:cubicBezTo>
                        <a:pt x="123" y="292"/>
                        <a:pt x="123" y="292"/>
                        <a:pt x="123" y="292"/>
                      </a:cubicBezTo>
                      <a:cubicBezTo>
                        <a:pt x="115" y="292"/>
                        <a:pt x="115" y="292"/>
                        <a:pt x="115" y="292"/>
                      </a:cubicBezTo>
                      <a:lnTo>
                        <a:pt x="115" y="296"/>
                      </a:lnTo>
                      <a:close/>
                      <a:moveTo>
                        <a:pt x="4" y="247"/>
                      </a:moveTo>
                      <a:cubicBezTo>
                        <a:pt x="0" y="247"/>
                        <a:pt x="0" y="247"/>
                        <a:pt x="0" y="247"/>
                      </a:cubicBezTo>
                      <a:cubicBezTo>
                        <a:pt x="0" y="255"/>
                        <a:pt x="0" y="255"/>
                        <a:pt x="0" y="255"/>
                      </a:cubicBezTo>
                      <a:cubicBezTo>
                        <a:pt x="4" y="255"/>
                        <a:pt x="4" y="255"/>
                        <a:pt x="4" y="255"/>
                      </a:cubicBezTo>
                      <a:lnTo>
                        <a:pt x="4" y="247"/>
                      </a:lnTo>
                      <a:close/>
                      <a:moveTo>
                        <a:pt x="4" y="231"/>
                      </a:moveTo>
                      <a:cubicBezTo>
                        <a:pt x="0" y="231"/>
                        <a:pt x="0" y="231"/>
                        <a:pt x="0" y="231"/>
                      </a:cubicBezTo>
                      <a:cubicBezTo>
                        <a:pt x="0" y="239"/>
                        <a:pt x="0" y="239"/>
                        <a:pt x="0" y="239"/>
                      </a:cubicBezTo>
                      <a:cubicBezTo>
                        <a:pt x="4" y="239"/>
                        <a:pt x="4" y="239"/>
                        <a:pt x="4" y="239"/>
                      </a:cubicBezTo>
                      <a:lnTo>
                        <a:pt x="4" y="231"/>
                      </a:lnTo>
                      <a:close/>
                      <a:moveTo>
                        <a:pt x="4" y="183"/>
                      </a:moveTo>
                      <a:cubicBezTo>
                        <a:pt x="0" y="183"/>
                        <a:pt x="0" y="183"/>
                        <a:pt x="0" y="183"/>
                      </a:cubicBezTo>
                      <a:cubicBezTo>
                        <a:pt x="0" y="191"/>
                        <a:pt x="0" y="191"/>
                        <a:pt x="0" y="191"/>
                      </a:cubicBezTo>
                      <a:cubicBezTo>
                        <a:pt x="4" y="191"/>
                        <a:pt x="4" y="191"/>
                        <a:pt x="4" y="191"/>
                      </a:cubicBezTo>
                      <a:lnTo>
                        <a:pt x="4" y="183"/>
                      </a:lnTo>
                      <a:close/>
                      <a:moveTo>
                        <a:pt x="4" y="135"/>
                      </a:moveTo>
                      <a:cubicBezTo>
                        <a:pt x="0" y="135"/>
                        <a:pt x="0" y="135"/>
                        <a:pt x="0" y="135"/>
                      </a:cubicBezTo>
                      <a:cubicBezTo>
                        <a:pt x="0" y="143"/>
                        <a:pt x="0" y="143"/>
                        <a:pt x="0" y="143"/>
                      </a:cubicBezTo>
                      <a:cubicBezTo>
                        <a:pt x="4" y="143"/>
                        <a:pt x="4" y="143"/>
                        <a:pt x="4" y="143"/>
                      </a:cubicBezTo>
                      <a:lnTo>
                        <a:pt x="4" y="135"/>
                      </a:lnTo>
                      <a:close/>
                      <a:moveTo>
                        <a:pt x="4" y="104"/>
                      </a:moveTo>
                      <a:cubicBezTo>
                        <a:pt x="0" y="104"/>
                        <a:pt x="0" y="104"/>
                        <a:pt x="0" y="104"/>
                      </a:cubicBezTo>
                      <a:cubicBezTo>
                        <a:pt x="0" y="112"/>
                        <a:pt x="0" y="112"/>
                        <a:pt x="0" y="112"/>
                      </a:cubicBezTo>
                      <a:cubicBezTo>
                        <a:pt x="4" y="112"/>
                        <a:pt x="4" y="112"/>
                        <a:pt x="4" y="112"/>
                      </a:cubicBezTo>
                      <a:lnTo>
                        <a:pt x="4" y="104"/>
                      </a:lnTo>
                      <a:close/>
                      <a:moveTo>
                        <a:pt x="4" y="167"/>
                      </a:moveTo>
                      <a:cubicBezTo>
                        <a:pt x="0" y="167"/>
                        <a:pt x="0" y="167"/>
                        <a:pt x="0" y="167"/>
                      </a:cubicBezTo>
                      <a:cubicBezTo>
                        <a:pt x="0" y="175"/>
                        <a:pt x="0" y="175"/>
                        <a:pt x="0" y="175"/>
                      </a:cubicBezTo>
                      <a:cubicBezTo>
                        <a:pt x="4" y="175"/>
                        <a:pt x="4" y="175"/>
                        <a:pt x="4" y="175"/>
                      </a:cubicBezTo>
                      <a:lnTo>
                        <a:pt x="4" y="167"/>
                      </a:lnTo>
                      <a:close/>
                      <a:moveTo>
                        <a:pt x="4" y="151"/>
                      </a:moveTo>
                      <a:cubicBezTo>
                        <a:pt x="0" y="151"/>
                        <a:pt x="0" y="151"/>
                        <a:pt x="0" y="151"/>
                      </a:cubicBezTo>
                      <a:cubicBezTo>
                        <a:pt x="0" y="159"/>
                        <a:pt x="0" y="159"/>
                        <a:pt x="0" y="159"/>
                      </a:cubicBezTo>
                      <a:cubicBezTo>
                        <a:pt x="4" y="159"/>
                        <a:pt x="4" y="159"/>
                        <a:pt x="4" y="159"/>
                      </a:cubicBezTo>
                      <a:lnTo>
                        <a:pt x="4" y="151"/>
                      </a:lnTo>
                      <a:close/>
                      <a:moveTo>
                        <a:pt x="4" y="199"/>
                      </a:moveTo>
                      <a:cubicBezTo>
                        <a:pt x="0" y="199"/>
                        <a:pt x="0" y="199"/>
                        <a:pt x="0" y="199"/>
                      </a:cubicBezTo>
                      <a:cubicBezTo>
                        <a:pt x="0" y="207"/>
                        <a:pt x="0" y="207"/>
                        <a:pt x="0" y="207"/>
                      </a:cubicBezTo>
                      <a:cubicBezTo>
                        <a:pt x="4" y="207"/>
                        <a:pt x="4" y="207"/>
                        <a:pt x="4" y="207"/>
                      </a:cubicBezTo>
                      <a:lnTo>
                        <a:pt x="4" y="199"/>
                      </a:lnTo>
                      <a:close/>
                      <a:moveTo>
                        <a:pt x="51" y="296"/>
                      </a:moveTo>
                      <a:cubicBezTo>
                        <a:pt x="59" y="296"/>
                        <a:pt x="59" y="296"/>
                        <a:pt x="59" y="296"/>
                      </a:cubicBezTo>
                      <a:cubicBezTo>
                        <a:pt x="59" y="292"/>
                        <a:pt x="59" y="292"/>
                        <a:pt x="59" y="292"/>
                      </a:cubicBezTo>
                      <a:cubicBezTo>
                        <a:pt x="51" y="292"/>
                        <a:pt x="51" y="292"/>
                        <a:pt x="51" y="292"/>
                      </a:cubicBezTo>
                      <a:lnTo>
                        <a:pt x="51" y="296"/>
                      </a:lnTo>
                      <a:close/>
                      <a:moveTo>
                        <a:pt x="83" y="296"/>
                      </a:moveTo>
                      <a:cubicBezTo>
                        <a:pt x="91" y="296"/>
                        <a:pt x="91" y="296"/>
                        <a:pt x="91" y="296"/>
                      </a:cubicBezTo>
                      <a:cubicBezTo>
                        <a:pt x="91" y="292"/>
                        <a:pt x="91" y="292"/>
                        <a:pt x="91" y="292"/>
                      </a:cubicBezTo>
                      <a:cubicBezTo>
                        <a:pt x="83" y="292"/>
                        <a:pt x="83" y="292"/>
                        <a:pt x="83" y="292"/>
                      </a:cubicBezTo>
                      <a:lnTo>
                        <a:pt x="83" y="296"/>
                      </a:lnTo>
                      <a:close/>
                      <a:moveTo>
                        <a:pt x="67" y="296"/>
                      </a:moveTo>
                      <a:cubicBezTo>
                        <a:pt x="75" y="296"/>
                        <a:pt x="75" y="296"/>
                        <a:pt x="75" y="296"/>
                      </a:cubicBezTo>
                      <a:cubicBezTo>
                        <a:pt x="75" y="292"/>
                        <a:pt x="75" y="292"/>
                        <a:pt x="75" y="292"/>
                      </a:cubicBezTo>
                      <a:cubicBezTo>
                        <a:pt x="67" y="292"/>
                        <a:pt x="67" y="292"/>
                        <a:pt x="67" y="292"/>
                      </a:cubicBezTo>
                      <a:lnTo>
                        <a:pt x="67" y="296"/>
                      </a:lnTo>
                      <a:close/>
                      <a:moveTo>
                        <a:pt x="99" y="296"/>
                      </a:moveTo>
                      <a:cubicBezTo>
                        <a:pt x="107" y="296"/>
                        <a:pt x="107" y="296"/>
                        <a:pt x="107" y="296"/>
                      </a:cubicBezTo>
                      <a:cubicBezTo>
                        <a:pt x="107" y="292"/>
                        <a:pt x="107" y="292"/>
                        <a:pt x="107" y="292"/>
                      </a:cubicBezTo>
                      <a:cubicBezTo>
                        <a:pt x="99" y="292"/>
                        <a:pt x="99" y="292"/>
                        <a:pt x="99" y="292"/>
                      </a:cubicBezTo>
                      <a:lnTo>
                        <a:pt x="99" y="296"/>
                      </a:lnTo>
                      <a:close/>
                      <a:moveTo>
                        <a:pt x="20" y="290"/>
                      </a:moveTo>
                      <a:cubicBezTo>
                        <a:pt x="22" y="291"/>
                        <a:pt x="24" y="293"/>
                        <a:pt x="27" y="294"/>
                      </a:cubicBezTo>
                      <a:cubicBezTo>
                        <a:pt x="28" y="290"/>
                        <a:pt x="28" y="290"/>
                        <a:pt x="28" y="290"/>
                      </a:cubicBezTo>
                      <a:cubicBezTo>
                        <a:pt x="26" y="289"/>
                        <a:pt x="24" y="288"/>
                        <a:pt x="22" y="286"/>
                      </a:cubicBezTo>
                      <a:lnTo>
                        <a:pt x="20" y="290"/>
                      </a:lnTo>
                      <a:close/>
                      <a:moveTo>
                        <a:pt x="7" y="278"/>
                      </a:moveTo>
                      <a:cubicBezTo>
                        <a:pt x="9" y="281"/>
                        <a:pt x="11" y="283"/>
                        <a:pt x="13" y="285"/>
                      </a:cubicBezTo>
                      <a:cubicBezTo>
                        <a:pt x="16" y="282"/>
                        <a:pt x="16" y="282"/>
                        <a:pt x="16" y="282"/>
                      </a:cubicBezTo>
                      <a:cubicBezTo>
                        <a:pt x="14" y="280"/>
                        <a:pt x="12" y="278"/>
                        <a:pt x="11" y="276"/>
                      </a:cubicBezTo>
                      <a:lnTo>
                        <a:pt x="7" y="278"/>
                      </a:lnTo>
                      <a:close/>
                      <a:moveTo>
                        <a:pt x="36" y="292"/>
                      </a:moveTo>
                      <a:cubicBezTo>
                        <a:pt x="35" y="296"/>
                        <a:pt x="35" y="296"/>
                        <a:pt x="35" y="296"/>
                      </a:cubicBezTo>
                      <a:cubicBezTo>
                        <a:pt x="37" y="296"/>
                        <a:pt x="40" y="296"/>
                        <a:pt x="42" y="296"/>
                      </a:cubicBezTo>
                      <a:cubicBezTo>
                        <a:pt x="43" y="296"/>
                        <a:pt x="43" y="296"/>
                        <a:pt x="43" y="296"/>
                      </a:cubicBezTo>
                      <a:cubicBezTo>
                        <a:pt x="43" y="292"/>
                        <a:pt x="43" y="292"/>
                        <a:pt x="43" y="292"/>
                      </a:cubicBezTo>
                      <a:cubicBezTo>
                        <a:pt x="42" y="292"/>
                        <a:pt x="42" y="292"/>
                        <a:pt x="42" y="292"/>
                      </a:cubicBezTo>
                      <a:cubicBezTo>
                        <a:pt x="40" y="292"/>
                        <a:pt x="38" y="292"/>
                        <a:pt x="36" y="292"/>
                      </a:cubicBezTo>
                      <a:close/>
                      <a:moveTo>
                        <a:pt x="1" y="263"/>
                      </a:moveTo>
                      <a:cubicBezTo>
                        <a:pt x="1" y="266"/>
                        <a:pt x="2" y="269"/>
                        <a:pt x="3" y="271"/>
                      </a:cubicBezTo>
                      <a:cubicBezTo>
                        <a:pt x="7" y="269"/>
                        <a:pt x="7" y="269"/>
                        <a:pt x="7" y="269"/>
                      </a:cubicBezTo>
                      <a:cubicBezTo>
                        <a:pt x="6" y="267"/>
                        <a:pt x="5" y="265"/>
                        <a:pt x="5" y="262"/>
                      </a:cubicBezTo>
                      <a:lnTo>
                        <a:pt x="1" y="263"/>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91" name="Freeform 37"/>
                <p:cNvSpPr>
                  <a:spLocks noEditPoints="1"/>
                </p:cNvSpPr>
                <p:nvPr/>
              </p:nvSpPr>
              <p:spPr bwMode="auto">
                <a:xfrm>
                  <a:off x="2649541" y="5346266"/>
                  <a:ext cx="496665" cy="367349"/>
                </a:xfrm>
                <a:custGeom>
                  <a:avLst/>
                  <a:gdLst>
                    <a:gd name="T0" fmla="*/ 151 w 184"/>
                    <a:gd name="T1" fmla="*/ 69 h 136"/>
                    <a:gd name="T2" fmla="*/ 134 w 184"/>
                    <a:gd name="T3" fmla="*/ 74 h 136"/>
                    <a:gd name="T4" fmla="*/ 87 w 184"/>
                    <a:gd name="T5" fmla="*/ 44 h 136"/>
                    <a:gd name="T6" fmla="*/ 37 w 184"/>
                    <a:gd name="T7" fmla="*/ 85 h 136"/>
                    <a:gd name="T8" fmla="*/ 26 w 184"/>
                    <a:gd name="T9" fmla="*/ 83 h 136"/>
                    <a:gd name="T10" fmla="*/ 0 w 184"/>
                    <a:gd name="T11" fmla="*/ 109 h 136"/>
                    <a:gd name="T12" fmla="*/ 26 w 184"/>
                    <a:gd name="T13" fmla="*/ 136 h 136"/>
                    <a:gd name="T14" fmla="*/ 151 w 184"/>
                    <a:gd name="T15" fmla="*/ 136 h 136"/>
                    <a:gd name="T16" fmla="*/ 184 w 184"/>
                    <a:gd name="T17" fmla="*/ 102 h 136"/>
                    <a:gd name="T18" fmla="*/ 151 w 184"/>
                    <a:gd name="T19" fmla="*/ 69 h 136"/>
                    <a:gd name="T20" fmla="*/ 31 w 184"/>
                    <a:gd name="T21" fmla="*/ 63 h 136"/>
                    <a:gd name="T22" fmla="*/ 39 w 184"/>
                    <a:gd name="T23" fmla="*/ 58 h 136"/>
                    <a:gd name="T24" fmla="*/ 22 w 184"/>
                    <a:gd name="T25" fmla="*/ 32 h 136"/>
                    <a:gd name="T26" fmla="*/ 30 w 184"/>
                    <a:gd name="T27" fmla="*/ 10 h 136"/>
                    <a:gd name="T28" fmla="*/ 53 w 184"/>
                    <a:gd name="T29" fmla="*/ 12 h 136"/>
                    <a:gd name="T30" fmla="*/ 70 w 184"/>
                    <a:gd name="T31" fmla="*/ 38 h 136"/>
                    <a:gd name="T32" fmla="*/ 78 w 184"/>
                    <a:gd name="T33" fmla="*/ 33 h 136"/>
                    <a:gd name="T34" fmla="*/ 64 w 184"/>
                    <a:gd name="T35" fmla="*/ 12 h 136"/>
                    <a:gd name="T36" fmla="*/ 76 w 184"/>
                    <a:gd name="T37" fmla="*/ 4 h 136"/>
                    <a:gd name="T38" fmla="*/ 23 w 184"/>
                    <a:gd name="T39" fmla="*/ 0 h 136"/>
                    <a:gd name="T40" fmla="*/ 6 w 184"/>
                    <a:gd name="T41" fmla="*/ 50 h 136"/>
                    <a:gd name="T42" fmla="*/ 18 w 184"/>
                    <a:gd name="T43" fmla="*/ 42 h 136"/>
                    <a:gd name="T44" fmla="*/ 31 w 184"/>
                    <a:gd name="T45" fmla="*/ 6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4" h="136">
                      <a:moveTo>
                        <a:pt x="151" y="69"/>
                      </a:moveTo>
                      <a:cubicBezTo>
                        <a:pt x="145" y="69"/>
                        <a:pt x="139" y="71"/>
                        <a:pt x="134" y="74"/>
                      </a:cubicBezTo>
                      <a:cubicBezTo>
                        <a:pt x="125" y="56"/>
                        <a:pt x="108" y="44"/>
                        <a:pt x="87" y="44"/>
                      </a:cubicBezTo>
                      <a:cubicBezTo>
                        <a:pt x="62" y="44"/>
                        <a:pt x="42" y="62"/>
                        <a:pt x="37" y="85"/>
                      </a:cubicBezTo>
                      <a:cubicBezTo>
                        <a:pt x="33" y="83"/>
                        <a:pt x="30" y="83"/>
                        <a:pt x="26" y="83"/>
                      </a:cubicBezTo>
                      <a:cubicBezTo>
                        <a:pt x="11" y="83"/>
                        <a:pt x="0" y="94"/>
                        <a:pt x="0" y="109"/>
                      </a:cubicBezTo>
                      <a:cubicBezTo>
                        <a:pt x="0" y="124"/>
                        <a:pt x="11" y="136"/>
                        <a:pt x="26" y="136"/>
                      </a:cubicBezTo>
                      <a:cubicBezTo>
                        <a:pt x="151" y="136"/>
                        <a:pt x="151" y="136"/>
                        <a:pt x="151" y="136"/>
                      </a:cubicBezTo>
                      <a:cubicBezTo>
                        <a:pt x="169" y="136"/>
                        <a:pt x="184" y="121"/>
                        <a:pt x="184" y="102"/>
                      </a:cubicBezTo>
                      <a:cubicBezTo>
                        <a:pt x="184" y="84"/>
                        <a:pt x="169" y="69"/>
                        <a:pt x="151" y="69"/>
                      </a:cubicBezTo>
                      <a:close/>
                      <a:moveTo>
                        <a:pt x="31" y="63"/>
                      </a:moveTo>
                      <a:cubicBezTo>
                        <a:pt x="39" y="58"/>
                        <a:pt x="39" y="58"/>
                        <a:pt x="39" y="58"/>
                      </a:cubicBezTo>
                      <a:cubicBezTo>
                        <a:pt x="22" y="32"/>
                        <a:pt x="22" y="32"/>
                        <a:pt x="22" y="32"/>
                      </a:cubicBezTo>
                      <a:cubicBezTo>
                        <a:pt x="30" y="10"/>
                        <a:pt x="30" y="10"/>
                        <a:pt x="30" y="10"/>
                      </a:cubicBezTo>
                      <a:cubicBezTo>
                        <a:pt x="53" y="12"/>
                        <a:pt x="53" y="12"/>
                        <a:pt x="53" y="12"/>
                      </a:cubicBezTo>
                      <a:cubicBezTo>
                        <a:pt x="70" y="38"/>
                        <a:pt x="70" y="38"/>
                        <a:pt x="70" y="38"/>
                      </a:cubicBezTo>
                      <a:cubicBezTo>
                        <a:pt x="78" y="33"/>
                        <a:pt x="78" y="33"/>
                        <a:pt x="78" y="33"/>
                      </a:cubicBezTo>
                      <a:cubicBezTo>
                        <a:pt x="64" y="12"/>
                        <a:pt x="64" y="12"/>
                        <a:pt x="64" y="12"/>
                      </a:cubicBezTo>
                      <a:cubicBezTo>
                        <a:pt x="76" y="4"/>
                        <a:pt x="76" y="4"/>
                        <a:pt x="76" y="4"/>
                      </a:cubicBezTo>
                      <a:cubicBezTo>
                        <a:pt x="23" y="0"/>
                        <a:pt x="23" y="0"/>
                        <a:pt x="23" y="0"/>
                      </a:cubicBezTo>
                      <a:cubicBezTo>
                        <a:pt x="6" y="50"/>
                        <a:pt x="6" y="50"/>
                        <a:pt x="6" y="50"/>
                      </a:cubicBezTo>
                      <a:cubicBezTo>
                        <a:pt x="18" y="42"/>
                        <a:pt x="18" y="42"/>
                        <a:pt x="18" y="42"/>
                      </a:cubicBezTo>
                      <a:lnTo>
                        <a:pt x="31" y="63"/>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grpSp>
        </p:grpSp>
      </p:grpSp>
      <p:sp>
        <p:nvSpPr>
          <p:cNvPr id="101" name="Rectangle 100"/>
          <p:cNvSpPr/>
          <p:nvPr/>
        </p:nvSpPr>
        <p:spPr bwMode="auto">
          <a:xfrm>
            <a:off x="1275091" y="1088730"/>
            <a:ext cx="1785007" cy="459486"/>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0" bIns="34291" numCol="1" rtlCol="0" anchor="ctr" anchorCtr="0" compatLnSpc="1">
            <a:prstTxWarp prst="textNoShape">
              <a:avLst/>
            </a:prstTxWarp>
          </a:bodyPr>
          <a:lstStyle/>
          <a:p>
            <a:pPr algn="ctr" defTabSz="685609" fontAlgn="base">
              <a:spcBef>
                <a:spcPct val="0"/>
              </a:spcBef>
              <a:spcAft>
                <a:spcPct val="0"/>
              </a:spcAft>
            </a:pPr>
            <a:r>
              <a:rPr lang="en-US" sz="1500" dirty="0">
                <a:gradFill>
                  <a:gsLst>
                    <a:gs pos="0">
                      <a:srgbClr val="FFFFFF"/>
                    </a:gs>
                    <a:gs pos="100000">
                      <a:srgbClr val="FFFFFF"/>
                    </a:gs>
                  </a:gsLst>
                  <a:lin ang="5400000" scaled="0"/>
                </a:gradFill>
              </a:rPr>
              <a:t>CLOUD</a:t>
            </a:r>
          </a:p>
        </p:txBody>
      </p:sp>
      <p:sp>
        <p:nvSpPr>
          <p:cNvPr id="102" name="Rectangle 101"/>
          <p:cNvSpPr/>
          <p:nvPr/>
        </p:nvSpPr>
        <p:spPr bwMode="auto">
          <a:xfrm>
            <a:off x="6085487" y="1087524"/>
            <a:ext cx="1783544" cy="45948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0" bIns="34291" numCol="1" rtlCol="0" anchor="ctr" anchorCtr="0" compatLnSpc="1">
            <a:prstTxWarp prst="textNoShape">
              <a:avLst/>
            </a:prstTxWarp>
          </a:bodyPr>
          <a:lstStyle/>
          <a:p>
            <a:pPr algn="ctr" defTabSz="685609" fontAlgn="base">
              <a:spcBef>
                <a:spcPct val="0"/>
              </a:spcBef>
              <a:spcAft>
                <a:spcPct val="0"/>
              </a:spcAft>
            </a:pPr>
            <a:r>
              <a:rPr lang="en-US" sz="1500" dirty="0">
                <a:gradFill>
                  <a:gsLst>
                    <a:gs pos="0">
                      <a:srgbClr val="FFFFFF"/>
                    </a:gs>
                    <a:gs pos="100000">
                      <a:srgbClr val="FFFFFF"/>
                    </a:gs>
                  </a:gsLst>
                  <a:lin ang="5400000" scaled="0"/>
                </a:gradFill>
              </a:rPr>
              <a:t>ENTERPRISE</a:t>
            </a:r>
          </a:p>
        </p:txBody>
      </p:sp>
      <p:grpSp>
        <p:nvGrpSpPr>
          <p:cNvPr id="103" name="Group 102"/>
          <p:cNvGrpSpPr/>
          <p:nvPr/>
        </p:nvGrpSpPr>
        <p:grpSpPr>
          <a:xfrm>
            <a:off x="1275091" y="2313840"/>
            <a:ext cx="1785007" cy="685800"/>
            <a:chOff x="1699678" y="2947732"/>
            <a:chExt cx="2379390" cy="914400"/>
          </a:xfrm>
        </p:grpSpPr>
        <p:sp>
          <p:nvSpPr>
            <p:cNvPr id="104" name="Freeform 103"/>
            <p:cNvSpPr/>
            <p:nvPr/>
          </p:nvSpPr>
          <p:spPr>
            <a:xfrm>
              <a:off x="1699678" y="2947732"/>
              <a:ext cx="2379390"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685609" fontAlgn="base">
                <a:spcBef>
                  <a:spcPct val="0"/>
                </a:spcBef>
                <a:spcAft>
                  <a:spcPct val="0"/>
                </a:spcAft>
              </a:pPr>
              <a:endParaRPr lang="en-US" sz="1500" dirty="0">
                <a:gradFill>
                  <a:gsLst>
                    <a:gs pos="0">
                      <a:srgbClr val="FFFFFF"/>
                    </a:gs>
                    <a:gs pos="100000">
                      <a:srgbClr val="FFFFFF"/>
                    </a:gs>
                  </a:gsLst>
                  <a:lin ang="5400000" scaled="0"/>
                </a:gradFill>
              </a:endParaRPr>
            </a:p>
          </p:txBody>
        </p:sp>
        <p:grpSp>
          <p:nvGrpSpPr>
            <p:cNvPr id="105" name="Group 104"/>
            <p:cNvGrpSpPr/>
            <p:nvPr/>
          </p:nvGrpSpPr>
          <p:grpSpPr bwMode="black">
            <a:xfrm>
              <a:off x="2528758" y="3090290"/>
              <a:ext cx="721231" cy="586753"/>
              <a:chOff x="5184775" y="225425"/>
              <a:chExt cx="1500188" cy="1220788"/>
            </a:xfrm>
            <a:solidFill>
              <a:srgbClr val="FFFFFF"/>
            </a:solidFill>
          </p:grpSpPr>
          <p:sp>
            <p:nvSpPr>
              <p:cNvPr id="106"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7"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grpSp>
        <p:nvGrpSpPr>
          <p:cNvPr id="113" name="Group 112"/>
          <p:cNvGrpSpPr/>
          <p:nvPr/>
        </p:nvGrpSpPr>
        <p:grpSpPr>
          <a:xfrm>
            <a:off x="6084754" y="2313237"/>
            <a:ext cx="1785006" cy="685800"/>
            <a:chOff x="8110893" y="2947732"/>
            <a:chExt cx="2379388" cy="914400"/>
          </a:xfrm>
        </p:grpSpPr>
        <p:sp>
          <p:nvSpPr>
            <p:cNvPr id="114" name="Freeform 113"/>
            <p:cNvSpPr/>
            <p:nvPr/>
          </p:nvSpPr>
          <p:spPr>
            <a:xfrm>
              <a:off x="8110893" y="2947732"/>
              <a:ext cx="2379388"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685609" fontAlgn="base">
                <a:spcBef>
                  <a:spcPct val="0"/>
                </a:spcBef>
                <a:spcAft>
                  <a:spcPct val="0"/>
                </a:spcAft>
              </a:pPr>
              <a:endParaRPr lang="en-US" sz="1500" dirty="0">
                <a:gradFill>
                  <a:gsLst>
                    <a:gs pos="0">
                      <a:srgbClr val="FFFFFF"/>
                    </a:gs>
                    <a:gs pos="100000">
                      <a:srgbClr val="FFFFFF"/>
                    </a:gs>
                  </a:gsLst>
                  <a:lin ang="5400000" scaled="0"/>
                </a:gradFill>
              </a:endParaRPr>
            </a:p>
          </p:txBody>
        </p:sp>
        <p:grpSp>
          <p:nvGrpSpPr>
            <p:cNvPr id="119" name="Group 118"/>
            <p:cNvGrpSpPr/>
            <p:nvPr/>
          </p:nvGrpSpPr>
          <p:grpSpPr bwMode="black">
            <a:xfrm>
              <a:off x="8939972" y="3090290"/>
              <a:ext cx="721231" cy="586753"/>
              <a:chOff x="5184775" y="225425"/>
              <a:chExt cx="1500188" cy="1220788"/>
            </a:xfrm>
            <a:solidFill>
              <a:srgbClr val="FFFFFF"/>
            </a:solidFill>
          </p:grpSpPr>
          <p:sp>
            <p:nvSpPr>
              <p:cNvPr id="120"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1"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2"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sp>
        <p:nvSpPr>
          <p:cNvPr id="123" name="Rectangle 122"/>
          <p:cNvSpPr/>
          <p:nvPr/>
        </p:nvSpPr>
        <p:spPr>
          <a:xfrm>
            <a:off x="3307462" y="1667890"/>
            <a:ext cx="2529931" cy="526275"/>
          </a:xfrm>
          <a:prstGeom prst="rect">
            <a:avLst/>
          </a:prstGeom>
        </p:spPr>
        <p:txBody>
          <a:bodyPr wrap="square" lIns="91424" tIns="45713" rIns="91424" bIns="45713">
            <a:spAutoFit/>
          </a:bodyPr>
          <a:lstStyle/>
          <a:p>
            <a:pPr algn="ctr" defTabSz="571345" fontAlgn="base">
              <a:lnSpc>
                <a:spcPct val="80000"/>
              </a:lnSpc>
            </a:pPr>
            <a:r>
              <a:rPr lang="en-US" dirty="0">
                <a:gradFill>
                  <a:gsLst>
                    <a:gs pos="0">
                      <a:srgbClr val="FFFFFF"/>
                    </a:gs>
                    <a:gs pos="100000">
                      <a:srgbClr val="FFFFFF"/>
                    </a:gs>
                  </a:gsLst>
                  <a:lin ang="5400000" scaled="0"/>
                </a:gradFill>
              </a:rPr>
              <a:t>Data </a:t>
            </a:r>
            <a:r>
              <a:rPr lang="en-US" dirty="0">
                <a:gradFill>
                  <a:gsLst>
                    <a:gs pos="0">
                      <a:srgbClr val="FFFFFF"/>
                    </a:gs>
                    <a:gs pos="100000">
                      <a:srgbClr val="FFFFFF"/>
                    </a:gs>
                  </a:gsLst>
                  <a:lin ang="5400000" scaled="0"/>
                </a:gradFill>
              </a:rPr>
              <a:t/>
            </a:r>
            <a:br>
              <a:rPr lang="en-US" dirty="0">
                <a:gradFill>
                  <a:gsLst>
                    <a:gs pos="0">
                      <a:srgbClr val="FFFFFF"/>
                    </a:gs>
                    <a:gs pos="100000">
                      <a:srgbClr val="FFFFFF"/>
                    </a:gs>
                  </a:gsLst>
                  <a:lin ang="5400000" scaled="0"/>
                </a:gradFill>
              </a:rPr>
            </a:br>
            <a:r>
              <a:rPr lang="en-US" dirty="0">
                <a:gradFill>
                  <a:gsLst>
                    <a:gs pos="0">
                      <a:srgbClr val="FFFFFF"/>
                    </a:gs>
                    <a:gs pos="100000">
                      <a:srgbClr val="FFFFFF"/>
                    </a:gs>
                  </a:gsLst>
                  <a:lin ang="5400000" scaled="0"/>
                </a:gradFill>
              </a:rPr>
              <a:t>Synchronization</a:t>
            </a:r>
            <a:endParaRPr lang="en-US" dirty="0">
              <a:gradFill>
                <a:gsLst>
                  <a:gs pos="0">
                    <a:srgbClr val="FFFFFF"/>
                  </a:gs>
                  <a:gs pos="100000">
                    <a:srgbClr val="FFFFFF"/>
                  </a:gs>
                </a:gsLst>
                <a:lin ang="5400000" scaled="0"/>
              </a:gradFill>
            </a:endParaRPr>
          </a:p>
          <a:p>
            <a:pPr algn="ctr" defTabSz="571345" fontAlgn="base">
              <a:lnSpc>
                <a:spcPct val="80000"/>
              </a:lnSpc>
            </a:pPr>
            <a:r>
              <a:rPr lang="en-US" sz="700" dirty="0">
                <a:gradFill>
                  <a:gsLst>
                    <a:gs pos="0">
                      <a:srgbClr val="FFFFFF"/>
                    </a:gs>
                    <a:gs pos="100000">
                      <a:srgbClr val="FFFFFF"/>
                    </a:gs>
                  </a:gsLst>
                  <a:lin ang="5400000" scaled="0"/>
                </a:gradFill>
              </a:rPr>
              <a:t>SQL Data Sync</a:t>
            </a:r>
          </a:p>
        </p:txBody>
      </p:sp>
      <p:sp>
        <p:nvSpPr>
          <p:cNvPr id="124" name="Rectangle 123"/>
          <p:cNvSpPr/>
          <p:nvPr/>
        </p:nvSpPr>
        <p:spPr>
          <a:xfrm>
            <a:off x="3307462" y="2388979"/>
            <a:ext cx="2529931" cy="535525"/>
          </a:xfrm>
          <a:prstGeom prst="rect">
            <a:avLst/>
          </a:prstGeom>
        </p:spPr>
        <p:txBody>
          <a:bodyPr wrap="square" lIns="91424" tIns="45713" rIns="91424" bIns="45713">
            <a:spAutoFit/>
          </a:bodyPr>
          <a:lstStyle/>
          <a:p>
            <a:pPr algn="ctr" defTabSz="571345" fontAlgn="base">
              <a:lnSpc>
                <a:spcPct val="80000"/>
              </a:lnSpc>
            </a:pPr>
            <a:r>
              <a:rPr lang="en-US" dirty="0">
                <a:gradFill>
                  <a:gsLst>
                    <a:gs pos="0">
                      <a:srgbClr val="FFFFFF"/>
                    </a:gs>
                    <a:gs pos="100000">
                      <a:srgbClr val="FFFFFF"/>
                    </a:gs>
                  </a:gsLst>
                  <a:lin ang="5400000" scaled="0"/>
                </a:gradFill>
              </a:rPr>
              <a:t>Application-Layer </a:t>
            </a:r>
          </a:p>
          <a:p>
            <a:pPr algn="ctr" defTabSz="571345" fontAlgn="base">
              <a:lnSpc>
                <a:spcPct val="80000"/>
              </a:lnSpc>
            </a:pPr>
            <a:r>
              <a:rPr lang="en-US" dirty="0">
                <a:gradFill>
                  <a:gsLst>
                    <a:gs pos="0">
                      <a:srgbClr val="FFFFFF"/>
                    </a:gs>
                    <a:gs pos="100000">
                      <a:srgbClr val="FFFFFF"/>
                    </a:gs>
                  </a:gsLst>
                  <a:lin ang="5400000" scaled="0"/>
                </a:gradFill>
              </a:rPr>
              <a:t>Connectivity &amp; Messaging </a:t>
            </a:r>
          </a:p>
          <a:p>
            <a:pPr algn="ctr" defTabSz="571345" fontAlgn="base">
              <a:lnSpc>
                <a:spcPct val="80000"/>
              </a:lnSpc>
            </a:pPr>
            <a:r>
              <a:rPr lang="en-US" sz="700" dirty="0">
                <a:gradFill>
                  <a:gsLst>
                    <a:gs pos="0">
                      <a:srgbClr val="FFFFFF"/>
                    </a:gs>
                    <a:gs pos="100000">
                      <a:srgbClr val="FFFFFF"/>
                    </a:gs>
                  </a:gsLst>
                  <a:lin ang="5400000" scaled="0"/>
                </a:gradFill>
              </a:rPr>
              <a:t>Service Bus</a:t>
            </a:r>
          </a:p>
        </p:txBody>
      </p:sp>
      <p:sp>
        <p:nvSpPr>
          <p:cNvPr id="125" name="Rectangle 124"/>
          <p:cNvSpPr/>
          <p:nvPr/>
        </p:nvSpPr>
        <p:spPr>
          <a:xfrm>
            <a:off x="3307462" y="3114691"/>
            <a:ext cx="2529931" cy="535525"/>
          </a:xfrm>
          <a:prstGeom prst="rect">
            <a:avLst/>
          </a:prstGeom>
        </p:spPr>
        <p:txBody>
          <a:bodyPr wrap="square" lIns="91424" tIns="45713" rIns="91424" bIns="45713">
            <a:spAutoFit/>
          </a:bodyPr>
          <a:lstStyle/>
          <a:p>
            <a:pPr algn="ctr" defTabSz="571345" fontAlgn="base">
              <a:lnSpc>
                <a:spcPct val="80000"/>
              </a:lnSpc>
            </a:pPr>
            <a:r>
              <a:rPr lang="en-US" dirty="0">
                <a:gradFill>
                  <a:gsLst>
                    <a:gs pos="0">
                      <a:srgbClr val="FFFFFF"/>
                    </a:gs>
                    <a:gs pos="100000">
                      <a:srgbClr val="FFFFFF"/>
                    </a:gs>
                  </a:gsLst>
                  <a:lin ang="5400000" scaled="0"/>
                </a:gradFill>
              </a:rPr>
              <a:t>Secure Machine-to-Machine Network Connectivity</a:t>
            </a:r>
            <a:r>
              <a:rPr lang="en-US" sz="700" dirty="0">
                <a:gradFill>
                  <a:gsLst>
                    <a:gs pos="0">
                      <a:srgbClr val="FFFFFF"/>
                    </a:gs>
                    <a:gs pos="100000">
                      <a:srgbClr val="FFFFFF"/>
                    </a:gs>
                  </a:gsLst>
                  <a:lin ang="5400000" scaled="0"/>
                </a:gradFill>
              </a:rPr>
              <a:t/>
            </a:r>
            <a:br>
              <a:rPr lang="en-US" sz="700" dirty="0">
                <a:gradFill>
                  <a:gsLst>
                    <a:gs pos="0">
                      <a:srgbClr val="FFFFFF"/>
                    </a:gs>
                    <a:gs pos="100000">
                      <a:srgbClr val="FFFFFF"/>
                    </a:gs>
                  </a:gsLst>
                  <a:lin ang="5400000" scaled="0"/>
                </a:gradFill>
              </a:rPr>
            </a:br>
            <a:r>
              <a:rPr lang="en-US" sz="700" dirty="0">
                <a:gradFill>
                  <a:gsLst>
                    <a:gs pos="0">
                      <a:srgbClr val="FFFFFF"/>
                    </a:gs>
                    <a:gs pos="100000">
                      <a:srgbClr val="FFFFFF"/>
                    </a:gs>
                  </a:gsLst>
                  <a:lin ang="5400000" scaled="0"/>
                </a:gradFill>
              </a:rPr>
              <a:t>Windows Azure Connect</a:t>
            </a:r>
            <a:endParaRPr lang="en-US" dirty="0">
              <a:gradFill>
                <a:gsLst>
                  <a:gs pos="0">
                    <a:srgbClr val="FFFFFF"/>
                  </a:gs>
                  <a:gs pos="100000">
                    <a:srgbClr val="FFFFFF"/>
                  </a:gs>
                </a:gsLst>
                <a:lin ang="5400000" scaled="0"/>
              </a:gradFill>
            </a:endParaRPr>
          </a:p>
        </p:txBody>
      </p:sp>
      <p:grpSp>
        <p:nvGrpSpPr>
          <p:cNvPr id="126" name="Group 125"/>
          <p:cNvGrpSpPr/>
          <p:nvPr/>
        </p:nvGrpSpPr>
        <p:grpSpPr>
          <a:xfrm>
            <a:off x="6085487" y="3039251"/>
            <a:ext cx="1783544" cy="685800"/>
            <a:chOff x="8111868" y="3904296"/>
            <a:chExt cx="2377439" cy="914400"/>
          </a:xfrm>
        </p:grpSpPr>
        <p:sp>
          <p:nvSpPr>
            <p:cNvPr id="127" name="Freeform 126"/>
            <p:cNvSpPr/>
            <p:nvPr/>
          </p:nvSpPr>
          <p:spPr>
            <a:xfrm>
              <a:off x="8111868" y="3904296"/>
              <a:ext cx="2377439"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685609"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128" name="Freeform 6"/>
            <p:cNvSpPr>
              <a:spLocks noEditPoints="1"/>
            </p:cNvSpPr>
            <p:nvPr/>
          </p:nvSpPr>
          <p:spPr bwMode="auto">
            <a:xfrm>
              <a:off x="9079547" y="4059205"/>
              <a:ext cx="442080" cy="580992"/>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29" name="Group 128"/>
          <p:cNvGrpSpPr/>
          <p:nvPr/>
        </p:nvGrpSpPr>
        <p:grpSpPr>
          <a:xfrm>
            <a:off x="1275091" y="1588128"/>
            <a:ext cx="1785007" cy="685800"/>
            <a:chOff x="1699678" y="1991169"/>
            <a:chExt cx="2379390" cy="914400"/>
          </a:xfrm>
        </p:grpSpPr>
        <p:sp>
          <p:nvSpPr>
            <p:cNvPr id="130" name="Freeform 129"/>
            <p:cNvSpPr/>
            <p:nvPr/>
          </p:nvSpPr>
          <p:spPr>
            <a:xfrm>
              <a:off x="1699678" y="1991169"/>
              <a:ext cx="2379390"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685609" fontAlgn="base">
                <a:spcBef>
                  <a:spcPct val="0"/>
                </a:spcBef>
                <a:spcAft>
                  <a:spcPct val="0"/>
                </a:spcAft>
              </a:pPr>
              <a:endParaRPr lang="en-US" sz="1500" dirty="0">
                <a:gradFill>
                  <a:gsLst>
                    <a:gs pos="0">
                      <a:srgbClr val="FFFFFF"/>
                    </a:gs>
                    <a:gs pos="100000">
                      <a:srgbClr val="FFFFFF"/>
                    </a:gs>
                  </a:gsLst>
                  <a:lin ang="5400000" scaled="0"/>
                </a:gradFill>
              </a:endParaRPr>
            </a:p>
          </p:txBody>
        </p:sp>
        <p:grpSp>
          <p:nvGrpSpPr>
            <p:cNvPr id="131" name="Group 130"/>
            <p:cNvGrpSpPr/>
            <p:nvPr/>
          </p:nvGrpSpPr>
          <p:grpSpPr>
            <a:xfrm flipH="1">
              <a:off x="2554696" y="2173766"/>
              <a:ext cx="669355" cy="549207"/>
              <a:chOff x="2554696" y="2173766"/>
              <a:chExt cx="669355" cy="549207"/>
            </a:xfrm>
          </p:grpSpPr>
          <p:sp>
            <p:nvSpPr>
              <p:cNvPr id="132" name="Freeform 22"/>
              <p:cNvSpPr>
                <a:spLocks noEditPoints="1"/>
              </p:cNvSpPr>
              <p:nvPr/>
            </p:nvSpPr>
            <p:spPr bwMode="auto">
              <a:xfrm>
                <a:off x="2554696" y="2173766"/>
                <a:ext cx="344689" cy="403064"/>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33" name="Group 132"/>
              <p:cNvGrpSpPr/>
              <p:nvPr/>
            </p:nvGrpSpPr>
            <p:grpSpPr>
              <a:xfrm>
                <a:off x="2879362" y="2319909"/>
                <a:ext cx="344689" cy="403064"/>
                <a:chOff x="2879362" y="2319909"/>
                <a:chExt cx="344689" cy="403064"/>
              </a:xfrm>
            </p:grpSpPr>
            <p:sp>
              <p:nvSpPr>
                <p:cNvPr id="134" name="Freeform 22"/>
                <p:cNvSpPr>
                  <a:spLocks noEditPoints="1"/>
                </p:cNvSpPr>
                <p:nvPr/>
              </p:nvSpPr>
              <p:spPr bwMode="auto">
                <a:xfrm>
                  <a:off x="2879362" y="2319909"/>
                  <a:ext cx="344689" cy="403064"/>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tx1"/>
                </a:solidFill>
                <a:ln w="50800" cap="rnd">
                  <a:solidFill>
                    <a:schemeClr val="accent3"/>
                  </a:solidFill>
                </a:ln>
              </p:spPr>
              <p:txBody>
                <a:bodyPr vert="horz" wrap="square" lIns="91440" tIns="45720" rIns="91440" bIns="45720" numCol="1" anchor="t" anchorCtr="0" compatLnSpc="1">
                  <a:prstTxWarp prst="textNoShape">
                    <a:avLst/>
                  </a:prstTxWarp>
                </a:bodyPr>
                <a:lstStyle/>
                <a:p>
                  <a:endParaRPr lang="en-US"/>
                </a:p>
              </p:txBody>
            </p:sp>
            <p:sp>
              <p:nvSpPr>
                <p:cNvPr id="135" name="Freeform 22"/>
                <p:cNvSpPr>
                  <a:spLocks noEditPoints="1"/>
                </p:cNvSpPr>
                <p:nvPr/>
              </p:nvSpPr>
              <p:spPr bwMode="auto">
                <a:xfrm>
                  <a:off x="2879362" y="2319909"/>
                  <a:ext cx="344689" cy="403064"/>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grpSp>
      </p:grpSp>
      <p:grpSp>
        <p:nvGrpSpPr>
          <p:cNvPr id="136" name="Group 135"/>
          <p:cNvGrpSpPr/>
          <p:nvPr/>
        </p:nvGrpSpPr>
        <p:grpSpPr>
          <a:xfrm>
            <a:off x="6084754" y="1587224"/>
            <a:ext cx="1785006" cy="685800"/>
            <a:chOff x="8110893" y="1991171"/>
            <a:chExt cx="2379388" cy="914400"/>
          </a:xfrm>
        </p:grpSpPr>
        <p:sp>
          <p:nvSpPr>
            <p:cNvPr id="137" name="Freeform 136"/>
            <p:cNvSpPr/>
            <p:nvPr/>
          </p:nvSpPr>
          <p:spPr>
            <a:xfrm>
              <a:off x="8110893" y="1991171"/>
              <a:ext cx="2379388"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685609" fontAlgn="base">
                <a:spcBef>
                  <a:spcPct val="0"/>
                </a:spcBef>
                <a:spcAft>
                  <a:spcPct val="0"/>
                </a:spcAft>
              </a:pPr>
              <a:endParaRPr lang="en-US" sz="1500" dirty="0">
                <a:gradFill>
                  <a:gsLst>
                    <a:gs pos="0">
                      <a:srgbClr val="FFFFFF"/>
                    </a:gs>
                    <a:gs pos="100000">
                      <a:srgbClr val="FFFFFF"/>
                    </a:gs>
                  </a:gsLst>
                  <a:lin ang="5400000" scaled="0"/>
                </a:gradFill>
              </a:endParaRPr>
            </a:p>
          </p:txBody>
        </p:sp>
        <p:grpSp>
          <p:nvGrpSpPr>
            <p:cNvPr id="138" name="Group 137"/>
            <p:cNvGrpSpPr/>
            <p:nvPr/>
          </p:nvGrpSpPr>
          <p:grpSpPr>
            <a:xfrm flipH="1">
              <a:off x="8965910" y="2173766"/>
              <a:ext cx="669355" cy="549207"/>
              <a:chOff x="2554696" y="2173766"/>
              <a:chExt cx="669355" cy="549207"/>
            </a:xfrm>
          </p:grpSpPr>
          <p:sp>
            <p:nvSpPr>
              <p:cNvPr id="139" name="Freeform 22"/>
              <p:cNvSpPr>
                <a:spLocks noEditPoints="1"/>
              </p:cNvSpPr>
              <p:nvPr/>
            </p:nvSpPr>
            <p:spPr bwMode="auto">
              <a:xfrm>
                <a:off x="2554696" y="2173766"/>
                <a:ext cx="344689" cy="403064"/>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40" name="Group 139"/>
              <p:cNvGrpSpPr/>
              <p:nvPr/>
            </p:nvGrpSpPr>
            <p:grpSpPr>
              <a:xfrm>
                <a:off x="2879362" y="2319909"/>
                <a:ext cx="344689" cy="403064"/>
                <a:chOff x="2879362" y="2319909"/>
                <a:chExt cx="344689" cy="403064"/>
              </a:xfrm>
            </p:grpSpPr>
            <p:sp>
              <p:nvSpPr>
                <p:cNvPr id="141" name="Freeform 22"/>
                <p:cNvSpPr>
                  <a:spLocks noEditPoints="1"/>
                </p:cNvSpPr>
                <p:nvPr/>
              </p:nvSpPr>
              <p:spPr bwMode="auto">
                <a:xfrm>
                  <a:off x="2879362" y="2319909"/>
                  <a:ext cx="344689" cy="403064"/>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tx1"/>
                </a:solidFill>
                <a:ln w="50800" cap="rnd">
                  <a:solidFill>
                    <a:schemeClr val="accent1"/>
                  </a:solidFill>
                </a:ln>
              </p:spPr>
              <p:txBody>
                <a:bodyPr vert="horz" wrap="square" lIns="91440" tIns="45720" rIns="91440" bIns="45720" numCol="1" anchor="t" anchorCtr="0" compatLnSpc="1">
                  <a:prstTxWarp prst="textNoShape">
                    <a:avLst/>
                  </a:prstTxWarp>
                </a:bodyPr>
                <a:lstStyle/>
                <a:p>
                  <a:endParaRPr lang="en-US"/>
                </a:p>
              </p:txBody>
            </p:sp>
            <p:sp>
              <p:nvSpPr>
                <p:cNvPr id="142" name="Freeform 22"/>
                <p:cNvSpPr>
                  <a:spLocks noEditPoints="1"/>
                </p:cNvSpPr>
                <p:nvPr/>
              </p:nvSpPr>
              <p:spPr bwMode="auto">
                <a:xfrm>
                  <a:off x="2879362" y="2319909"/>
                  <a:ext cx="344689" cy="403064"/>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grpSp>
      </p:grpSp>
      <p:grpSp>
        <p:nvGrpSpPr>
          <p:cNvPr id="143" name="Group 142"/>
          <p:cNvGrpSpPr/>
          <p:nvPr/>
        </p:nvGrpSpPr>
        <p:grpSpPr>
          <a:xfrm>
            <a:off x="1275091" y="3039552"/>
            <a:ext cx="1785007" cy="685800"/>
            <a:chOff x="1699678" y="3904295"/>
            <a:chExt cx="2379390" cy="914400"/>
          </a:xfrm>
        </p:grpSpPr>
        <p:sp>
          <p:nvSpPr>
            <p:cNvPr id="144" name="Freeform 143"/>
            <p:cNvSpPr/>
            <p:nvPr/>
          </p:nvSpPr>
          <p:spPr>
            <a:xfrm>
              <a:off x="1699678" y="3904295"/>
              <a:ext cx="2379390"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685609" fontAlgn="base">
                <a:spcBef>
                  <a:spcPct val="0"/>
                </a:spcBef>
                <a:spcAft>
                  <a:spcPct val="0"/>
                </a:spcAft>
              </a:pPr>
              <a:endParaRPr lang="en-US" sz="1500" dirty="0">
                <a:gradFill>
                  <a:gsLst>
                    <a:gs pos="0">
                      <a:srgbClr val="FFFFFF"/>
                    </a:gs>
                    <a:gs pos="100000">
                      <a:srgbClr val="FFFFFF"/>
                    </a:gs>
                  </a:gsLst>
                  <a:lin ang="5400000" scaled="0"/>
                </a:gradFill>
              </a:endParaRPr>
            </a:p>
          </p:txBody>
        </p:sp>
        <p:grpSp>
          <p:nvGrpSpPr>
            <p:cNvPr id="145" name="Group 144"/>
            <p:cNvGrpSpPr/>
            <p:nvPr/>
          </p:nvGrpSpPr>
          <p:grpSpPr>
            <a:xfrm>
              <a:off x="2528015" y="3986487"/>
              <a:ext cx="722717" cy="770564"/>
              <a:chOff x="2423489" y="3986487"/>
              <a:chExt cx="722717" cy="770564"/>
            </a:xfrm>
          </p:grpSpPr>
          <p:sp>
            <p:nvSpPr>
              <p:cNvPr id="146" name="Freeform 37"/>
              <p:cNvSpPr>
                <a:spLocks noEditPoints="1"/>
              </p:cNvSpPr>
              <p:nvPr/>
            </p:nvSpPr>
            <p:spPr bwMode="auto">
              <a:xfrm>
                <a:off x="2649541" y="4389702"/>
                <a:ext cx="496665" cy="367349"/>
              </a:xfrm>
              <a:custGeom>
                <a:avLst/>
                <a:gdLst>
                  <a:gd name="T0" fmla="*/ 151 w 184"/>
                  <a:gd name="T1" fmla="*/ 69 h 136"/>
                  <a:gd name="T2" fmla="*/ 134 w 184"/>
                  <a:gd name="T3" fmla="*/ 74 h 136"/>
                  <a:gd name="T4" fmla="*/ 87 w 184"/>
                  <a:gd name="T5" fmla="*/ 44 h 136"/>
                  <a:gd name="T6" fmla="*/ 37 w 184"/>
                  <a:gd name="T7" fmla="*/ 85 h 136"/>
                  <a:gd name="T8" fmla="*/ 26 w 184"/>
                  <a:gd name="T9" fmla="*/ 83 h 136"/>
                  <a:gd name="T10" fmla="*/ 0 w 184"/>
                  <a:gd name="T11" fmla="*/ 109 h 136"/>
                  <a:gd name="T12" fmla="*/ 26 w 184"/>
                  <a:gd name="T13" fmla="*/ 136 h 136"/>
                  <a:gd name="T14" fmla="*/ 151 w 184"/>
                  <a:gd name="T15" fmla="*/ 136 h 136"/>
                  <a:gd name="T16" fmla="*/ 184 w 184"/>
                  <a:gd name="T17" fmla="*/ 102 h 136"/>
                  <a:gd name="T18" fmla="*/ 151 w 184"/>
                  <a:gd name="T19" fmla="*/ 69 h 136"/>
                  <a:gd name="T20" fmla="*/ 31 w 184"/>
                  <a:gd name="T21" fmla="*/ 63 h 136"/>
                  <a:gd name="T22" fmla="*/ 39 w 184"/>
                  <a:gd name="T23" fmla="*/ 58 h 136"/>
                  <a:gd name="T24" fmla="*/ 22 w 184"/>
                  <a:gd name="T25" fmla="*/ 32 h 136"/>
                  <a:gd name="T26" fmla="*/ 30 w 184"/>
                  <a:gd name="T27" fmla="*/ 10 h 136"/>
                  <a:gd name="T28" fmla="*/ 53 w 184"/>
                  <a:gd name="T29" fmla="*/ 12 h 136"/>
                  <a:gd name="T30" fmla="*/ 70 w 184"/>
                  <a:gd name="T31" fmla="*/ 38 h 136"/>
                  <a:gd name="T32" fmla="*/ 78 w 184"/>
                  <a:gd name="T33" fmla="*/ 33 h 136"/>
                  <a:gd name="T34" fmla="*/ 64 w 184"/>
                  <a:gd name="T35" fmla="*/ 12 h 136"/>
                  <a:gd name="T36" fmla="*/ 76 w 184"/>
                  <a:gd name="T37" fmla="*/ 4 h 136"/>
                  <a:gd name="T38" fmla="*/ 23 w 184"/>
                  <a:gd name="T39" fmla="*/ 0 h 136"/>
                  <a:gd name="T40" fmla="*/ 6 w 184"/>
                  <a:gd name="T41" fmla="*/ 50 h 136"/>
                  <a:gd name="T42" fmla="*/ 18 w 184"/>
                  <a:gd name="T43" fmla="*/ 42 h 136"/>
                  <a:gd name="T44" fmla="*/ 31 w 184"/>
                  <a:gd name="T45" fmla="*/ 6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4" h="136">
                    <a:moveTo>
                      <a:pt x="151" y="69"/>
                    </a:moveTo>
                    <a:cubicBezTo>
                      <a:pt x="145" y="69"/>
                      <a:pt x="139" y="71"/>
                      <a:pt x="134" y="74"/>
                    </a:cubicBezTo>
                    <a:cubicBezTo>
                      <a:pt x="125" y="56"/>
                      <a:pt x="108" y="44"/>
                      <a:pt x="87" y="44"/>
                    </a:cubicBezTo>
                    <a:cubicBezTo>
                      <a:pt x="62" y="44"/>
                      <a:pt x="42" y="62"/>
                      <a:pt x="37" y="85"/>
                    </a:cubicBezTo>
                    <a:cubicBezTo>
                      <a:pt x="33" y="83"/>
                      <a:pt x="30" y="83"/>
                      <a:pt x="26" y="83"/>
                    </a:cubicBezTo>
                    <a:cubicBezTo>
                      <a:pt x="11" y="83"/>
                      <a:pt x="0" y="94"/>
                      <a:pt x="0" y="109"/>
                    </a:cubicBezTo>
                    <a:cubicBezTo>
                      <a:pt x="0" y="124"/>
                      <a:pt x="11" y="136"/>
                      <a:pt x="26" y="136"/>
                    </a:cubicBezTo>
                    <a:cubicBezTo>
                      <a:pt x="151" y="136"/>
                      <a:pt x="151" y="136"/>
                      <a:pt x="151" y="136"/>
                    </a:cubicBezTo>
                    <a:cubicBezTo>
                      <a:pt x="169" y="136"/>
                      <a:pt x="184" y="121"/>
                      <a:pt x="184" y="102"/>
                    </a:cubicBezTo>
                    <a:cubicBezTo>
                      <a:pt x="184" y="84"/>
                      <a:pt x="169" y="69"/>
                      <a:pt x="151" y="69"/>
                    </a:cubicBezTo>
                    <a:close/>
                    <a:moveTo>
                      <a:pt x="31" y="63"/>
                    </a:moveTo>
                    <a:cubicBezTo>
                      <a:pt x="39" y="58"/>
                      <a:pt x="39" y="58"/>
                      <a:pt x="39" y="58"/>
                    </a:cubicBezTo>
                    <a:cubicBezTo>
                      <a:pt x="22" y="32"/>
                      <a:pt x="22" y="32"/>
                      <a:pt x="22" y="32"/>
                    </a:cubicBezTo>
                    <a:cubicBezTo>
                      <a:pt x="30" y="10"/>
                      <a:pt x="30" y="10"/>
                      <a:pt x="30" y="10"/>
                    </a:cubicBezTo>
                    <a:cubicBezTo>
                      <a:pt x="53" y="12"/>
                      <a:pt x="53" y="12"/>
                      <a:pt x="53" y="12"/>
                    </a:cubicBezTo>
                    <a:cubicBezTo>
                      <a:pt x="70" y="38"/>
                      <a:pt x="70" y="38"/>
                      <a:pt x="70" y="38"/>
                    </a:cubicBezTo>
                    <a:cubicBezTo>
                      <a:pt x="78" y="33"/>
                      <a:pt x="78" y="33"/>
                      <a:pt x="78" y="33"/>
                    </a:cubicBezTo>
                    <a:cubicBezTo>
                      <a:pt x="64" y="12"/>
                      <a:pt x="64" y="12"/>
                      <a:pt x="64" y="12"/>
                    </a:cubicBezTo>
                    <a:cubicBezTo>
                      <a:pt x="76" y="4"/>
                      <a:pt x="76" y="4"/>
                      <a:pt x="76" y="4"/>
                    </a:cubicBezTo>
                    <a:cubicBezTo>
                      <a:pt x="23" y="0"/>
                      <a:pt x="23" y="0"/>
                      <a:pt x="23" y="0"/>
                    </a:cubicBezTo>
                    <a:cubicBezTo>
                      <a:pt x="6" y="50"/>
                      <a:pt x="6" y="50"/>
                      <a:pt x="6" y="50"/>
                    </a:cubicBezTo>
                    <a:cubicBezTo>
                      <a:pt x="18" y="42"/>
                      <a:pt x="18" y="42"/>
                      <a:pt x="18" y="42"/>
                    </a:cubicBezTo>
                    <a:lnTo>
                      <a:pt x="31" y="6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47" name="Freeform 6"/>
              <p:cNvSpPr>
                <a:spLocks noChangeAspect="1" noEditPoints="1"/>
              </p:cNvSpPr>
              <p:nvPr/>
            </p:nvSpPr>
            <p:spPr bwMode="auto">
              <a:xfrm>
                <a:off x="2423489" y="3986487"/>
                <a:ext cx="291851" cy="383561"/>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grpSp>
      <p:sp>
        <p:nvSpPr>
          <p:cNvPr id="63" name="Title 1"/>
          <p:cNvSpPr txBox="1">
            <a:spLocks/>
          </p:cNvSpPr>
          <p:nvPr/>
        </p:nvSpPr>
        <p:spPr>
          <a:xfrm>
            <a:off x="54003" y="4560060"/>
            <a:ext cx="9035994" cy="373949"/>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pPr algn="ctr"/>
            <a:r>
              <a:rPr lang="en-US" sz="2700" b="1" dirty="0">
                <a:solidFill>
                  <a:schemeClr val="accent5">
                    <a:lumMod val="60000"/>
                    <a:lumOff val="40000"/>
                  </a:schemeClr>
                </a:solidFill>
              </a:rPr>
              <a:t>AZR316: Extending Enterprise Networks to Windows Azure</a:t>
            </a:r>
            <a:endParaRPr lang="en-US" sz="2700" b="1" dirty="0">
              <a:solidFill>
                <a:schemeClr val="accent5">
                  <a:lumMod val="60000"/>
                  <a:lumOff val="40000"/>
                </a:schemeClr>
              </a:solidFill>
            </a:endParaRPr>
          </a:p>
        </p:txBody>
      </p:sp>
      <p:sp>
        <p:nvSpPr>
          <p:cNvPr id="70"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71"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pic>
        <p:nvPicPr>
          <p:cNvPr id="72"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25287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decel="100000" fill="hold" nodeType="clickEffect">
                                  <p:stCondLst>
                                    <p:cond delay="0"/>
                                  </p:stCondLst>
                                  <p:childTnLst>
                                    <p:set>
                                      <p:cBhvr>
                                        <p:cTn id="6" dur="1" fill="hold">
                                          <p:stCondLst>
                                            <p:cond delay="0"/>
                                          </p:stCondLst>
                                        </p:cTn>
                                        <p:tgtEl>
                                          <p:spTgt spid="75"/>
                                        </p:tgtEl>
                                        <p:attrNameLst>
                                          <p:attrName>style.visibility</p:attrName>
                                        </p:attrNameLst>
                                      </p:cBhvr>
                                      <p:to>
                                        <p:strVal val="visible"/>
                                      </p:to>
                                    </p:set>
                                    <p:anim calcmode="lin" valueType="num">
                                      <p:cBhvr additive="base">
                                        <p:cTn id="7" dur="1000" fill="hold"/>
                                        <p:tgtEl>
                                          <p:spTgt spid="75"/>
                                        </p:tgtEl>
                                        <p:attrNameLst>
                                          <p:attrName>ppt_x</p:attrName>
                                        </p:attrNameLst>
                                      </p:cBhvr>
                                      <p:tavLst>
                                        <p:tav tm="0">
                                          <p:val>
                                            <p:strVal val="#ppt_x"/>
                                          </p:val>
                                        </p:tav>
                                        <p:tav tm="100000">
                                          <p:val>
                                            <p:strVal val="#ppt_x"/>
                                          </p:val>
                                        </p:tav>
                                      </p:tavLst>
                                    </p:anim>
                                    <p:anim calcmode="lin" valueType="num">
                                      <p:cBhvr additive="base">
                                        <p:cTn id="8" dur="1000" fill="hold"/>
                                        <p:tgtEl>
                                          <p:spTgt spid="75"/>
                                        </p:tgtEl>
                                        <p:attrNameLst>
                                          <p:attrName>ppt_y</p:attrName>
                                        </p:attrNameLst>
                                      </p:cBhvr>
                                      <p:tavLst>
                                        <p:tav tm="0">
                                          <p:val>
                                            <p:strVal val="0-#ppt_h/2"/>
                                          </p:val>
                                        </p:tav>
                                        <p:tav tm="100000">
                                          <p:val>
                                            <p:strVal val="#ppt_y"/>
                                          </p:val>
                                        </p:tav>
                                      </p:tavLst>
                                    </p:anim>
                                  </p:childTnLst>
                                </p:cTn>
                              </p:par>
                            </p:childTnLst>
                          </p:cTn>
                        </p:par>
                        <p:par>
                          <p:cTn id="9" fill="hold">
                            <p:stCondLst>
                              <p:cond delay="1000"/>
                            </p:stCondLst>
                            <p:childTnLst>
                              <p:par>
                                <p:cTn id="10" presetID="10" presetClass="entr" presetSubtype="0" fill="hold" nodeType="afterEffect">
                                  <p:stCondLst>
                                    <p:cond delay="0"/>
                                  </p:stCondLst>
                                  <p:childTnLst>
                                    <p:set>
                                      <p:cBhvr>
                                        <p:cTn id="11" dur="1" fill="hold">
                                          <p:stCondLst>
                                            <p:cond delay="0"/>
                                          </p:stCondLst>
                                        </p:cTn>
                                        <p:tgtEl>
                                          <p:spTgt spid="63">
                                            <p:txEl>
                                              <p:pRg st="0" end="0"/>
                                            </p:txEl>
                                          </p:spTgt>
                                        </p:tgtEl>
                                        <p:attrNameLst>
                                          <p:attrName>style.visibility</p:attrName>
                                        </p:attrNameLst>
                                      </p:cBhvr>
                                      <p:to>
                                        <p:strVal val="visible"/>
                                      </p:to>
                                    </p:set>
                                    <p:animEffect transition="in" filter="fade">
                                      <p:cBhvr>
                                        <p:cTn id="12" dur="500"/>
                                        <p:tgtEl>
                                          <p:spTgt spid="6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ummary Of Networking Features</a:t>
            </a:r>
            <a:endParaRPr lang="en-US" dirty="0"/>
          </a:p>
        </p:txBody>
      </p:sp>
      <p:sp>
        <p:nvSpPr>
          <p:cNvPr id="5" name="Freeform 27"/>
          <p:cNvSpPr>
            <a:spLocks noChangeAspect="1" noEditPoints="1"/>
          </p:cNvSpPr>
          <p:nvPr/>
        </p:nvSpPr>
        <p:spPr bwMode="black">
          <a:xfrm>
            <a:off x="922021" y="901050"/>
            <a:ext cx="990385" cy="637814"/>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5"/>
          </a:solidFill>
          <a:extLst/>
        </p:spPr>
        <p:txBody>
          <a:bodyPr vert="horz" wrap="square" lIns="68586" tIns="34294" rIns="68586" bIns="34294" numCol="1" anchor="t" anchorCtr="0" compatLnSpc="1">
            <a:prstTxWarp prst="textNoShape">
              <a:avLst/>
            </a:prstTxWarp>
          </a:bodyPr>
          <a:lstStyle/>
          <a:p>
            <a:endParaRPr lang="en-US"/>
          </a:p>
        </p:txBody>
      </p:sp>
      <p:sp>
        <p:nvSpPr>
          <p:cNvPr id="6" name="Rectangle 5"/>
          <p:cNvSpPr/>
          <p:nvPr/>
        </p:nvSpPr>
        <p:spPr bwMode="auto">
          <a:xfrm>
            <a:off x="388245" y="2049909"/>
            <a:ext cx="2057936" cy="2057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9" name="Rectangle 8"/>
          <p:cNvSpPr/>
          <p:nvPr/>
        </p:nvSpPr>
        <p:spPr>
          <a:xfrm>
            <a:off x="1215061" y="2146802"/>
            <a:ext cx="404303" cy="346249"/>
          </a:xfrm>
          <a:prstGeom prst="rect">
            <a:avLst/>
          </a:prstGeom>
          <a:solidFill>
            <a:schemeClr val="tx1"/>
          </a:solidFill>
        </p:spPr>
        <p:txBody>
          <a:bodyPr wrap="none" lIns="68586" tIns="34294" rIns="68586" bIns="34294" anchor="ctr">
            <a:spAutoFit/>
          </a:bodyPr>
          <a:lstStyle/>
          <a:p>
            <a:pPr algn="ctr" defTabSz="685637" fontAlgn="base">
              <a:spcBef>
                <a:spcPct val="0"/>
              </a:spcBef>
              <a:spcAft>
                <a:spcPct val="0"/>
              </a:spcAft>
            </a:pPr>
            <a:r>
              <a:rPr lang="en-US" sz="1800" b="1" dirty="0">
                <a:solidFill>
                  <a:schemeClr val="accent5"/>
                </a:solidFill>
              </a:rPr>
              <a:t>LB</a:t>
            </a:r>
          </a:p>
        </p:txBody>
      </p:sp>
      <p:cxnSp>
        <p:nvCxnSpPr>
          <p:cNvPr id="12" name="Straight Arrow Connector 11"/>
          <p:cNvCxnSpPr>
            <a:endCxn id="9" idx="2"/>
          </p:cNvCxnSpPr>
          <p:nvPr/>
        </p:nvCxnSpPr>
        <p:spPr>
          <a:xfrm flipH="1" flipV="1">
            <a:off x="1417214" y="2493050"/>
            <a:ext cx="528931" cy="647093"/>
          </a:xfrm>
          <a:prstGeom prst="straightConnector1">
            <a:avLst/>
          </a:prstGeom>
          <a:ln w="57150">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flipV="1">
            <a:off x="922020" y="2493050"/>
            <a:ext cx="495192" cy="647093"/>
          </a:xfrm>
          <a:prstGeom prst="straightConnector1">
            <a:avLst/>
          </a:prstGeom>
          <a:ln w="57150">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H="1" flipV="1">
            <a:off x="1085804" y="3662426"/>
            <a:ext cx="662821" cy="1811"/>
          </a:xfrm>
          <a:prstGeom prst="straightConnector1">
            <a:avLst/>
          </a:prstGeom>
          <a:ln w="571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 name="Freeform 40"/>
          <p:cNvSpPr>
            <a:spLocks noEditPoints="1"/>
          </p:cNvSpPr>
          <p:nvPr/>
        </p:nvSpPr>
        <p:spPr bwMode="black">
          <a:xfrm>
            <a:off x="441406" y="4199119"/>
            <a:ext cx="650539" cy="626042"/>
          </a:xfrm>
          <a:custGeom>
            <a:avLst/>
            <a:gdLst>
              <a:gd name="T0" fmla="*/ 461 w 891"/>
              <a:gd name="T1" fmla="*/ 470 h 859"/>
              <a:gd name="T2" fmla="*/ 793 w 891"/>
              <a:gd name="T3" fmla="*/ 489 h 859"/>
              <a:gd name="T4" fmla="*/ 707 w 891"/>
              <a:gd name="T5" fmla="*/ 787 h 859"/>
              <a:gd name="T6" fmla="*/ 375 w 891"/>
              <a:gd name="T7" fmla="*/ 767 h 859"/>
              <a:gd name="T8" fmla="*/ 461 w 891"/>
              <a:gd name="T9" fmla="*/ 470 h 859"/>
              <a:gd name="T10" fmla="*/ 430 w 891"/>
              <a:gd name="T11" fmla="*/ 387 h 859"/>
              <a:gd name="T12" fmla="*/ 517 w 891"/>
              <a:gd name="T13" fmla="*/ 90 h 859"/>
              <a:gd name="T14" fmla="*/ 184 w 891"/>
              <a:gd name="T15" fmla="*/ 71 h 859"/>
              <a:gd name="T16" fmla="*/ 98 w 891"/>
              <a:gd name="T17" fmla="*/ 368 h 859"/>
              <a:gd name="T18" fmla="*/ 430 w 891"/>
              <a:gd name="T19" fmla="*/ 387 h 859"/>
              <a:gd name="T20" fmla="*/ 83 w 891"/>
              <a:gd name="T21" fmla="*/ 421 h 859"/>
              <a:gd name="T22" fmla="*/ 0 w 891"/>
              <a:gd name="T23" fmla="*/ 703 h 859"/>
              <a:gd name="T24" fmla="*/ 0 w 891"/>
              <a:gd name="T25" fmla="*/ 706 h 859"/>
              <a:gd name="T26" fmla="*/ 7 w 891"/>
              <a:gd name="T27" fmla="*/ 712 h 859"/>
              <a:gd name="T28" fmla="*/ 9 w 891"/>
              <a:gd name="T29" fmla="*/ 712 h 859"/>
              <a:gd name="T30" fmla="*/ 329 w 891"/>
              <a:gd name="T31" fmla="*/ 737 h 859"/>
              <a:gd name="T32" fmla="*/ 415 w 891"/>
              <a:gd name="T33" fmla="*/ 440 h 859"/>
              <a:gd name="T34" fmla="*/ 83 w 891"/>
              <a:gd name="T35" fmla="*/ 421 h 859"/>
              <a:gd name="T36" fmla="*/ 883 w 891"/>
              <a:gd name="T37" fmla="*/ 147 h 859"/>
              <a:gd name="T38" fmla="*/ 882 w 891"/>
              <a:gd name="T39" fmla="*/ 147 h 859"/>
              <a:gd name="T40" fmla="*/ 561 w 891"/>
              <a:gd name="T41" fmla="*/ 122 h 859"/>
              <a:gd name="T42" fmla="*/ 475 w 891"/>
              <a:gd name="T43" fmla="*/ 419 h 859"/>
              <a:gd name="T44" fmla="*/ 808 w 891"/>
              <a:gd name="T45" fmla="*/ 438 h 859"/>
              <a:gd name="T46" fmla="*/ 891 w 891"/>
              <a:gd name="T47" fmla="*/ 154 h 859"/>
              <a:gd name="T48" fmla="*/ 891 w 891"/>
              <a:gd name="T49" fmla="*/ 153 h 859"/>
              <a:gd name="T50" fmla="*/ 883 w 891"/>
              <a:gd name="T51" fmla="*/ 147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91" h="859">
                <a:moveTo>
                  <a:pt x="461" y="470"/>
                </a:moveTo>
                <a:cubicBezTo>
                  <a:pt x="535" y="522"/>
                  <a:pt x="620" y="562"/>
                  <a:pt x="793" y="489"/>
                </a:cubicBezTo>
                <a:cubicBezTo>
                  <a:pt x="793" y="489"/>
                  <a:pt x="793" y="489"/>
                  <a:pt x="707" y="787"/>
                </a:cubicBezTo>
                <a:cubicBezTo>
                  <a:pt x="534" y="859"/>
                  <a:pt x="449" y="818"/>
                  <a:pt x="375" y="767"/>
                </a:cubicBezTo>
                <a:cubicBezTo>
                  <a:pt x="375" y="767"/>
                  <a:pt x="375" y="767"/>
                  <a:pt x="461" y="470"/>
                </a:cubicBezTo>
                <a:close/>
                <a:moveTo>
                  <a:pt x="430" y="387"/>
                </a:moveTo>
                <a:cubicBezTo>
                  <a:pt x="517" y="90"/>
                  <a:pt x="517" y="90"/>
                  <a:pt x="517" y="90"/>
                </a:cubicBezTo>
                <a:cubicBezTo>
                  <a:pt x="441" y="41"/>
                  <a:pt x="357" y="0"/>
                  <a:pt x="184" y="71"/>
                </a:cubicBezTo>
                <a:cubicBezTo>
                  <a:pt x="98" y="368"/>
                  <a:pt x="98" y="368"/>
                  <a:pt x="98" y="368"/>
                </a:cubicBezTo>
                <a:cubicBezTo>
                  <a:pt x="271" y="297"/>
                  <a:pt x="354" y="337"/>
                  <a:pt x="430" y="387"/>
                </a:cubicBezTo>
                <a:close/>
                <a:moveTo>
                  <a:pt x="83" y="421"/>
                </a:moveTo>
                <a:cubicBezTo>
                  <a:pt x="0" y="703"/>
                  <a:pt x="0" y="703"/>
                  <a:pt x="0" y="703"/>
                </a:cubicBezTo>
                <a:cubicBezTo>
                  <a:pt x="0" y="704"/>
                  <a:pt x="0" y="704"/>
                  <a:pt x="0" y="706"/>
                </a:cubicBezTo>
                <a:cubicBezTo>
                  <a:pt x="0" y="709"/>
                  <a:pt x="3" y="712"/>
                  <a:pt x="7" y="712"/>
                </a:cubicBezTo>
                <a:cubicBezTo>
                  <a:pt x="9" y="712"/>
                  <a:pt x="9" y="712"/>
                  <a:pt x="9" y="712"/>
                </a:cubicBezTo>
                <a:cubicBezTo>
                  <a:pt x="175" y="646"/>
                  <a:pt x="256" y="687"/>
                  <a:pt x="329" y="737"/>
                </a:cubicBezTo>
                <a:cubicBezTo>
                  <a:pt x="415" y="440"/>
                  <a:pt x="415" y="440"/>
                  <a:pt x="415" y="440"/>
                </a:cubicBezTo>
                <a:cubicBezTo>
                  <a:pt x="339" y="389"/>
                  <a:pt x="256" y="348"/>
                  <a:pt x="83" y="421"/>
                </a:cubicBezTo>
                <a:close/>
                <a:moveTo>
                  <a:pt x="883" y="147"/>
                </a:moveTo>
                <a:cubicBezTo>
                  <a:pt x="882" y="147"/>
                  <a:pt x="882" y="147"/>
                  <a:pt x="882" y="147"/>
                </a:cubicBezTo>
                <a:cubicBezTo>
                  <a:pt x="716" y="212"/>
                  <a:pt x="634" y="172"/>
                  <a:pt x="561" y="122"/>
                </a:cubicBezTo>
                <a:cubicBezTo>
                  <a:pt x="475" y="419"/>
                  <a:pt x="475" y="419"/>
                  <a:pt x="475" y="419"/>
                </a:cubicBezTo>
                <a:cubicBezTo>
                  <a:pt x="551" y="468"/>
                  <a:pt x="634" y="509"/>
                  <a:pt x="808" y="438"/>
                </a:cubicBezTo>
                <a:cubicBezTo>
                  <a:pt x="891" y="154"/>
                  <a:pt x="891" y="154"/>
                  <a:pt x="891" y="154"/>
                </a:cubicBezTo>
                <a:cubicBezTo>
                  <a:pt x="891" y="153"/>
                  <a:pt x="891" y="153"/>
                  <a:pt x="891" y="153"/>
                </a:cubicBezTo>
                <a:cubicBezTo>
                  <a:pt x="891" y="150"/>
                  <a:pt x="888" y="147"/>
                  <a:pt x="883" y="147"/>
                </a:cubicBezTo>
                <a:close/>
              </a:path>
            </a:pathLst>
          </a:custGeom>
          <a:solidFill>
            <a:schemeClr val="accent5"/>
          </a:solidFill>
          <a:ln>
            <a:noFill/>
          </a:ln>
          <a:extLst/>
        </p:spPr>
        <p:txBody>
          <a:bodyPr vert="horz" wrap="square" lIns="68586" tIns="34294" rIns="68586" bIns="34294" numCol="1" anchor="t" anchorCtr="0" compatLnSpc="1">
            <a:prstTxWarp prst="textNoShape">
              <a:avLst/>
            </a:prstTxWarp>
          </a:bodyPr>
          <a:lstStyle/>
          <a:p>
            <a:endParaRPr lang="en-US"/>
          </a:p>
        </p:txBody>
      </p:sp>
      <p:cxnSp>
        <p:nvCxnSpPr>
          <p:cNvPr id="28" name="Straight Arrow Connector 27"/>
          <p:cNvCxnSpPr/>
          <p:nvPr/>
        </p:nvCxnSpPr>
        <p:spPr>
          <a:xfrm flipV="1">
            <a:off x="1417213" y="1577062"/>
            <a:ext cx="0" cy="434648"/>
          </a:xfrm>
          <a:prstGeom prst="straightConnector1">
            <a:avLst/>
          </a:prstGeom>
          <a:ln w="57150">
            <a:solidFill>
              <a:schemeClr val="tx1"/>
            </a:solidFill>
            <a:headEnd type="triangle" w="med" len="med"/>
            <a:tailEnd type="none"/>
          </a:ln>
        </p:spPr>
        <p:style>
          <a:lnRef idx="1">
            <a:schemeClr val="accent1"/>
          </a:lnRef>
          <a:fillRef idx="0">
            <a:schemeClr val="accent1"/>
          </a:fillRef>
          <a:effectRef idx="0">
            <a:schemeClr val="accent1"/>
          </a:effectRef>
          <a:fontRef idx="minor">
            <a:schemeClr val="tx1"/>
          </a:fontRef>
        </p:style>
      </p:cxnSp>
      <p:sp>
        <p:nvSpPr>
          <p:cNvPr id="14" name="Freeform 6"/>
          <p:cNvSpPr>
            <a:spLocks noEditPoints="1"/>
          </p:cNvSpPr>
          <p:nvPr/>
        </p:nvSpPr>
        <p:spPr bwMode="auto">
          <a:xfrm>
            <a:off x="1859527" y="3399288"/>
            <a:ext cx="434215" cy="570508"/>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tx1"/>
          </a:solidFill>
          <a:ln>
            <a:noFill/>
          </a:ln>
        </p:spPr>
        <p:txBody>
          <a:bodyPr vert="horz" wrap="square" lIns="68586" tIns="34294" rIns="68586" bIns="34294" numCol="1" anchor="t" anchorCtr="0" compatLnSpc="1">
            <a:prstTxWarp prst="textNoShape">
              <a:avLst/>
            </a:prstTxWarp>
          </a:bodyPr>
          <a:lstStyle/>
          <a:p>
            <a:endParaRPr lang="en-US"/>
          </a:p>
        </p:txBody>
      </p:sp>
      <p:sp>
        <p:nvSpPr>
          <p:cNvPr id="16" name="Freeform 6"/>
          <p:cNvSpPr>
            <a:spLocks noEditPoints="1"/>
          </p:cNvSpPr>
          <p:nvPr/>
        </p:nvSpPr>
        <p:spPr bwMode="auto">
          <a:xfrm>
            <a:off x="574516" y="3399288"/>
            <a:ext cx="434215" cy="570508"/>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tx1"/>
          </a:solidFill>
          <a:ln>
            <a:noFill/>
          </a:ln>
        </p:spPr>
        <p:txBody>
          <a:bodyPr vert="horz" wrap="square" lIns="68586" tIns="34294" rIns="68586" bIns="34294" numCol="1" anchor="t" anchorCtr="0" compatLnSpc="1">
            <a:prstTxWarp prst="textNoShape">
              <a:avLst/>
            </a:prstTxWarp>
          </a:bodyPr>
          <a:lstStyle/>
          <a:p>
            <a:endParaRPr lang="en-US"/>
          </a:p>
        </p:txBody>
      </p:sp>
      <p:grpSp>
        <p:nvGrpSpPr>
          <p:cNvPr id="2" name="Group 1"/>
          <p:cNvGrpSpPr/>
          <p:nvPr/>
        </p:nvGrpSpPr>
        <p:grpSpPr>
          <a:xfrm>
            <a:off x="2704746" y="848213"/>
            <a:ext cx="3026035" cy="1138611"/>
            <a:chOff x="3605388" y="1130949"/>
            <a:chExt cx="4033662" cy="1518147"/>
          </a:xfrm>
        </p:grpSpPr>
        <p:sp>
          <p:nvSpPr>
            <p:cNvPr id="19" name="Content Placeholder 2"/>
            <p:cNvSpPr txBox="1">
              <a:spLocks/>
            </p:cNvSpPr>
            <p:nvPr/>
          </p:nvSpPr>
          <p:spPr>
            <a:xfrm>
              <a:off x="3605388" y="1826307"/>
              <a:ext cx="4033662" cy="822789"/>
            </a:xfrm>
            <a:prstGeom prst="rect">
              <a:avLst/>
            </a:prstGeom>
          </p:spPr>
          <p:txBody>
            <a:bodyPr vert="horz" wrap="square" lIns="0" tIns="91440" rIns="0" bIns="0" rtlCol="0">
              <a:spAutoFit/>
            </a:bodyPr>
            <a:lstStyle>
              <a:lvl1pPr marL="460375" indent="-460375" algn="l" defTabSz="914363" rtl="0" eaLnBrk="1" latinLnBrk="0" hangingPunct="1">
                <a:lnSpc>
                  <a:spcPct val="90000"/>
                </a:lnSpc>
                <a:spcBef>
                  <a:spcPct val="20000"/>
                </a:spcBef>
                <a:buSzPct val="90000"/>
                <a:buFontTx/>
                <a:buBlip>
                  <a:blip r:embed="rId2"/>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2"/>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2"/>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15523" indent="-215523"/>
              <a:r>
                <a:rPr lang="en-US" sz="1100" spc="-23" dirty="0"/>
                <a:t>Supported protocols: HTTP, HTTPS, TCP, </a:t>
              </a:r>
              <a:r>
                <a:rPr lang="en-US" sz="1100" b="1" spc="-23" dirty="0">
                  <a:solidFill>
                    <a:schemeClr val="tx1"/>
                  </a:solidFill>
                </a:rPr>
                <a:t>UDP</a:t>
              </a:r>
            </a:p>
            <a:p>
              <a:pPr marL="215523" indent="-215523"/>
              <a:r>
                <a:rPr lang="en-US" sz="1100" b="1" spc="-23" dirty="0">
                  <a:solidFill>
                    <a:schemeClr val="tx1"/>
                  </a:solidFill>
                </a:rPr>
                <a:t>Loadbalancing </a:t>
              </a:r>
              <a:r>
                <a:rPr lang="en-US" sz="1100" b="1" spc="-23" dirty="0">
                  <a:solidFill>
                    <a:schemeClr val="tx1"/>
                  </a:solidFill>
                </a:rPr>
                <a:t>for </a:t>
              </a:r>
              <a:r>
                <a:rPr lang="en-US" sz="1100" b="1" spc="-23" dirty="0">
                  <a:solidFill>
                    <a:schemeClr val="tx1"/>
                  </a:solidFill>
                </a:rPr>
                <a:t>virtual machines</a:t>
              </a:r>
            </a:p>
            <a:p>
              <a:pPr marL="215523" indent="-215523"/>
              <a:r>
                <a:rPr lang="en-US" sz="1100" b="1" spc="-23" dirty="0">
                  <a:solidFill>
                    <a:schemeClr val="tx1"/>
                  </a:solidFill>
                </a:rPr>
                <a:t>Custom </a:t>
              </a:r>
              <a:r>
                <a:rPr lang="en-US" sz="1100" b="1" spc="-23" dirty="0" err="1">
                  <a:solidFill>
                    <a:schemeClr val="tx1"/>
                  </a:solidFill>
                </a:rPr>
                <a:t>loadbalancer</a:t>
              </a:r>
              <a:r>
                <a:rPr lang="en-US" sz="1100" b="1" spc="-23" dirty="0">
                  <a:solidFill>
                    <a:schemeClr val="tx1"/>
                  </a:solidFill>
                </a:rPr>
                <a:t> probes</a:t>
              </a:r>
            </a:p>
          </p:txBody>
        </p:sp>
        <p:sp>
          <p:nvSpPr>
            <p:cNvPr id="21" name="Content Placeholder 5"/>
            <p:cNvSpPr txBox="1">
              <a:spLocks/>
            </p:cNvSpPr>
            <p:nvPr/>
          </p:nvSpPr>
          <p:spPr>
            <a:xfrm>
              <a:off x="3605389" y="1130949"/>
              <a:ext cx="4033661" cy="695357"/>
            </a:xfrm>
            <a:prstGeom prst="rect">
              <a:avLst/>
            </a:prstGeom>
            <a:solidFill>
              <a:schemeClr val="accent3"/>
            </a:solidFill>
          </p:spPr>
          <p:txBody>
            <a:bodyPr vert="horz" wrap="square" lIns="91440" tIns="91440" rIns="91440" bIns="91440" rtlCol="0" anchor="ctr" anchorCtr="0">
              <a:noAutofit/>
            </a:bodyPr>
            <a:lstStyle>
              <a:lvl1pPr marL="460375" indent="-460375" algn="l" defTabSz="914363" rtl="0" eaLnBrk="1" latinLnBrk="0" hangingPunct="1">
                <a:lnSpc>
                  <a:spcPct val="90000"/>
                </a:lnSpc>
                <a:spcBef>
                  <a:spcPct val="20000"/>
                </a:spcBef>
                <a:buSzPct val="90000"/>
                <a:buFontTx/>
                <a:buBlip>
                  <a:blip r:embed="rId2"/>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2"/>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2"/>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spc="-53" dirty="0"/>
                <a:t>Input Endpoint</a:t>
              </a:r>
            </a:p>
          </p:txBody>
        </p:sp>
      </p:grpSp>
      <p:sp>
        <p:nvSpPr>
          <p:cNvPr id="24" name="Content Placeholder 5"/>
          <p:cNvSpPr txBox="1">
            <a:spLocks/>
          </p:cNvSpPr>
          <p:nvPr/>
        </p:nvSpPr>
        <p:spPr>
          <a:xfrm>
            <a:off x="2704746" y="3801584"/>
            <a:ext cx="3026034" cy="521519"/>
          </a:xfrm>
          <a:prstGeom prst="rect">
            <a:avLst/>
          </a:prstGeom>
          <a:solidFill>
            <a:schemeClr val="accent1"/>
          </a:solidFill>
        </p:spPr>
        <p:txBody>
          <a:bodyPr vert="horz" wrap="square" lIns="68586" tIns="68586" rIns="68586" bIns="68586" rtlCol="0" anchor="ctr" anchorCtr="0">
            <a:noAutofit/>
          </a:bodyPr>
          <a:lstStyle>
            <a:lvl1pPr marL="460375" indent="-460375" algn="l" defTabSz="914363" rtl="0" eaLnBrk="1" latinLnBrk="0" hangingPunct="1">
              <a:lnSpc>
                <a:spcPct val="90000"/>
              </a:lnSpc>
              <a:spcBef>
                <a:spcPct val="20000"/>
              </a:spcBef>
              <a:buSzPct val="90000"/>
              <a:buFontTx/>
              <a:buBlip>
                <a:blip r:embed="rId2"/>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2"/>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2"/>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spc="-53" dirty="0"/>
              <a:t>Windows Azure Traffic Manager</a:t>
            </a:r>
            <a:endParaRPr lang="en-US" sz="1800" spc="-53" dirty="0"/>
          </a:p>
        </p:txBody>
      </p:sp>
      <p:grpSp>
        <p:nvGrpSpPr>
          <p:cNvPr id="25" name="Group 24"/>
          <p:cNvGrpSpPr/>
          <p:nvPr/>
        </p:nvGrpSpPr>
        <p:grpSpPr>
          <a:xfrm>
            <a:off x="2704746" y="2201320"/>
            <a:ext cx="6048628" cy="1508348"/>
            <a:chOff x="671512" y="1600199"/>
            <a:chExt cx="5498917" cy="2188207"/>
          </a:xfrm>
        </p:grpSpPr>
        <p:sp>
          <p:nvSpPr>
            <p:cNvPr id="26" name="Content Placeholder 2"/>
            <p:cNvSpPr txBox="1">
              <a:spLocks/>
            </p:cNvSpPr>
            <p:nvPr/>
          </p:nvSpPr>
          <p:spPr>
            <a:xfrm>
              <a:off x="671512" y="2352905"/>
              <a:ext cx="5498917" cy="1435501"/>
            </a:xfrm>
            <a:prstGeom prst="rect">
              <a:avLst/>
            </a:prstGeom>
          </p:spPr>
          <p:txBody>
            <a:bodyPr vert="horz" wrap="square" lIns="0" tIns="91440" rIns="0" bIns="0" rtlCol="0">
              <a:spAutoFit/>
            </a:bodyPr>
            <a:lstStyle>
              <a:lvl1pPr marL="460375" indent="-460375" algn="l" defTabSz="914363" rtl="0" eaLnBrk="1" latinLnBrk="0" hangingPunct="1">
                <a:lnSpc>
                  <a:spcPct val="90000"/>
                </a:lnSpc>
                <a:spcBef>
                  <a:spcPct val="20000"/>
                </a:spcBef>
                <a:buSzPct val="90000"/>
                <a:buFontTx/>
                <a:buBlip>
                  <a:blip r:embed="rId2"/>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2"/>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2"/>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15523" indent="-215523"/>
              <a:r>
                <a:rPr lang="en-US" sz="1100" spc="-23" dirty="0"/>
                <a:t>Windows Azure DNS service for service-level  name resolution</a:t>
              </a:r>
            </a:p>
            <a:p>
              <a:pPr marL="215523" indent="-215523"/>
              <a:r>
                <a:rPr lang="en-US" sz="1100" spc="-23" dirty="0"/>
                <a:t>Runtime APIs for instance identification</a:t>
              </a:r>
            </a:p>
            <a:p>
              <a:pPr marL="215523" indent="-215523"/>
              <a:r>
                <a:rPr lang="en-US" sz="1100" spc="-23" dirty="0"/>
                <a:t>Windows Azure-provided DNS service for service-level  name resolution</a:t>
              </a:r>
            </a:p>
            <a:p>
              <a:pPr marL="215523" indent="-215523"/>
              <a:r>
                <a:rPr lang="en-US" sz="1100" b="1" spc="-23" dirty="0"/>
                <a:t>Windows Azure-provided DNS for </a:t>
              </a:r>
              <a:r>
                <a:rPr lang="en-US" sz="1100" b="1" spc="-23" dirty="0" err="1"/>
                <a:t>vm</a:t>
              </a:r>
              <a:r>
                <a:rPr lang="en-US" sz="1100" b="1" spc="-23" dirty="0"/>
                <a:t>-level name resolution</a:t>
              </a:r>
            </a:p>
            <a:p>
              <a:pPr marL="215523" indent="-215523"/>
              <a:r>
                <a:rPr lang="en-US" sz="1100" b="1" spc="-23" dirty="0"/>
                <a:t>Using your DNS servers for name resolution</a:t>
              </a:r>
            </a:p>
          </p:txBody>
        </p:sp>
        <p:sp>
          <p:nvSpPr>
            <p:cNvPr id="27" name="Content Placeholder 5"/>
            <p:cNvSpPr txBox="1">
              <a:spLocks/>
            </p:cNvSpPr>
            <p:nvPr/>
          </p:nvSpPr>
          <p:spPr>
            <a:xfrm>
              <a:off x="671513" y="1600199"/>
              <a:ext cx="5498916" cy="760073"/>
            </a:xfrm>
            <a:prstGeom prst="rect">
              <a:avLst/>
            </a:prstGeom>
            <a:solidFill>
              <a:schemeClr val="accent5"/>
            </a:solidFill>
          </p:spPr>
          <p:txBody>
            <a:bodyPr vert="horz" wrap="square" lIns="91440" tIns="91440" rIns="91440" bIns="91440" rtlCol="0" anchor="ctr" anchorCtr="0">
              <a:noAutofit/>
            </a:bodyPr>
            <a:lstStyle>
              <a:lvl1pPr marL="460375" indent="-460375" algn="l" defTabSz="914363" rtl="0" eaLnBrk="1" latinLnBrk="0" hangingPunct="1">
                <a:lnSpc>
                  <a:spcPct val="90000"/>
                </a:lnSpc>
                <a:spcBef>
                  <a:spcPct val="20000"/>
                </a:spcBef>
                <a:buSzPct val="90000"/>
                <a:buFontTx/>
                <a:buBlip>
                  <a:blip r:embed="rId2"/>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2"/>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2"/>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spc="-53" dirty="0"/>
                <a:t>Name Resolution</a:t>
              </a:r>
              <a:endParaRPr lang="en-US" sz="1800" spc="-53" dirty="0"/>
            </a:p>
          </p:txBody>
        </p:sp>
      </p:grpSp>
      <p:grpSp>
        <p:nvGrpSpPr>
          <p:cNvPr id="7" name="Group 6"/>
          <p:cNvGrpSpPr/>
          <p:nvPr/>
        </p:nvGrpSpPr>
        <p:grpSpPr>
          <a:xfrm>
            <a:off x="5789025" y="848212"/>
            <a:ext cx="3026035" cy="1104756"/>
            <a:chOff x="7716689" y="1130949"/>
            <a:chExt cx="4033662" cy="1473008"/>
          </a:xfrm>
        </p:grpSpPr>
        <p:sp>
          <p:nvSpPr>
            <p:cNvPr id="38" name="Content Placeholder 2"/>
            <p:cNvSpPr txBox="1">
              <a:spLocks/>
            </p:cNvSpPr>
            <p:nvPr/>
          </p:nvSpPr>
          <p:spPr>
            <a:xfrm>
              <a:off x="7716689" y="1826308"/>
              <a:ext cx="4033662" cy="777649"/>
            </a:xfrm>
            <a:prstGeom prst="rect">
              <a:avLst/>
            </a:prstGeom>
          </p:spPr>
          <p:txBody>
            <a:bodyPr vert="horz" wrap="square" lIns="0" tIns="91440" rIns="0" bIns="0" rtlCol="0">
              <a:spAutoFit/>
            </a:bodyPr>
            <a:lstStyle>
              <a:lvl1pPr marL="460375" indent="-460375" algn="l" defTabSz="914363" rtl="0" eaLnBrk="1" latinLnBrk="0" hangingPunct="1">
                <a:lnSpc>
                  <a:spcPct val="90000"/>
                </a:lnSpc>
                <a:spcBef>
                  <a:spcPct val="20000"/>
                </a:spcBef>
                <a:buSzPct val="90000"/>
                <a:buFontTx/>
                <a:buBlip>
                  <a:blip r:embed="rId2"/>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2"/>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2"/>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15523" indent="-215523"/>
              <a:r>
                <a:rPr lang="en-US" sz="1100" spc="-23" dirty="0"/>
                <a:t>Instance-to-instance communication</a:t>
              </a:r>
            </a:p>
            <a:p>
              <a:pPr marL="215523" indent="-215523"/>
              <a:r>
                <a:rPr lang="en-US" sz="1100" spc="-23" dirty="0"/>
                <a:t>Supported Protocols: TCP, </a:t>
              </a:r>
              <a:r>
                <a:rPr lang="en-US" sz="1100" b="1" spc="-23" dirty="0"/>
                <a:t>UDP, ANY IP based protocol</a:t>
              </a:r>
            </a:p>
          </p:txBody>
        </p:sp>
        <p:sp>
          <p:nvSpPr>
            <p:cNvPr id="31" name="Content Placeholder 5"/>
            <p:cNvSpPr txBox="1">
              <a:spLocks/>
            </p:cNvSpPr>
            <p:nvPr/>
          </p:nvSpPr>
          <p:spPr>
            <a:xfrm>
              <a:off x="7716689" y="1130949"/>
              <a:ext cx="4033661" cy="695357"/>
            </a:xfrm>
            <a:prstGeom prst="rect">
              <a:avLst/>
            </a:prstGeom>
            <a:solidFill>
              <a:schemeClr val="accent4"/>
            </a:solidFill>
          </p:spPr>
          <p:txBody>
            <a:bodyPr vert="horz" wrap="square" lIns="91440" tIns="91440" rIns="91440" bIns="91440" rtlCol="0" anchor="ctr" anchorCtr="0">
              <a:noAutofit/>
            </a:bodyPr>
            <a:lstStyle>
              <a:lvl1pPr marL="460375" indent="-460375" algn="l" defTabSz="914363" rtl="0" eaLnBrk="1" latinLnBrk="0" hangingPunct="1">
                <a:lnSpc>
                  <a:spcPct val="90000"/>
                </a:lnSpc>
                <a:spcBef>
                  <a:spcPct val="20000"/>
                </a:spcBef>
                <a:buSzPct val="90000"/>
                <a:buFontTx/>
                <a:buBlip>
                  <a:blip r:embed="rId2"/>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2"/>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2"/>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spc="-53" dirty="0"/>
                <a:t>Internal Endpoint</a:t>
              </a:r>
            </a:p>
          </p:txBody>
        </p:sp>
      </p:grpSp>
      <p:sp>
        <p:nvSpPr>
          <p:cNvPr id="34" name="Content Placeholder 5"/>
          <p:cNvSpPr txBox="1">
            <a:spLocks/>
          </p:cNvSpPr>
          <p:nvPr/>
        </p:nvSpPr>
        <p:spPr>
          <a:xfrm>
            <a:off x="5789025" y="3801585"/>
            <a:ext cx="3026034" cy="521519"/>
          </a:xfrm>
          <a:prstGeom prst="rect">
            <a:avLst/>
          </a:prstGeom>
          <a:solidFill>
            <a:schemeClr val="accent2"/>
          </a:solidFill>
        </p:spPr>
        <p:txBody>
          <a:bodyPr vert="horz" wrap="square" lIns="68586" tIns="68586" rIns="68586" bIns="68586" rtlCol="0" anchor="ctr" anchorCtr="0">
            <a:noAutofit/>
          </a:bodyPr>
          <a:lstStyle>
            <a:lvl1pPr marL="460375" indent="-460375" algn="l" defTabSz="914363" rtl="0" eaLnBrk="1" latinLnBrk="0" hangingPunct="1">
              <a:lnSpc>
                <a:spcPct val="90000"/>
              </a:lnSpc>
              <a:spcBef>
                <a:spcPct val="20000"/>
              </a:spcBef>
              <a:buSzPct val="90000"/>
              <a:buFontTx/>
              <a:buBlip>
                <a:blip r:embed="rId2"/>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2"/>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2"/>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spc="-53" dirty="0"/>
              <a:t>Windows Azure Virtual Network for Hybrid scenarios</a:t>
            </a:r>
          </a:p>
        </p:txBody>
      </p:sp>
      <p:sp>
        <p:nvSpPr>
          <p:cNvPr id="29"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0"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pic>
        <p:nvPicPr>
          <p:cNvPr id="32"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569774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500"/>
                                        <p:tgtEl>
                                          <p:spTgt spid="2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34"/>
                                        </p:tgtEl>
                                        <p:attrNameLst>
                                          <p:attrName>style.visibility</p:attrName>
                                        </p:attrNameLst>
                                      </p:cBhvr>
                                      <p:to>
                                        <p:strVal val="visible"/>
                                      </p:to>
                                    </p:set>
                                    <p:animEffect transition="in" filter="fade">
                                      <p:cBhvr>
                                        <p:cTn id="27"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34" grpId="0" animBg="1"/>
    </p:bldLst>
  </p:timing>
</p:sld>
</file>

<file path=ppt/slides/slide4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6075135" y="828676"/>
            <a:ext cx="2687866" cy="3876674"/>
            <a:chOff x="6075135" y="828676"/>
            <a:chExt cx="2687866" cy="3876674"/>
          </a:xfrm>
        </p:grpSpPr>
        <p:sp>
          <p:nvSpPr>
            <p:cNvPr id="5" name="Rectangle 4"/>
            <p:cNvSpPr/>
            <p:nvPr/>
          </p:nvSpPr>
          <p:spPr bwMode="auto">
            <a:xfrm>
              <a:off x="6075135" y="828676"/>
              <a:ext cx="2687866" cy="752474"/>
            </a:xfrm>
            <a:prstGeom prst="rect">
              <a:avLst/>
            </a:prstGeom>
            <a:solidFill>
              <a:schemeClr val="accent6"/>
            </a:solid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23"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8" name="Can 47"/>
            <p:cNvSpPr/>
            <p:nvPr>
              <p:custDataLst>
                <p:tags r:id="rId2"/>
              </p:custDataLst>
            </p:nvPr>
          </p:nvSpPr>
          <p:spPr>
            <a:xfrm>
              <a:off x="6317980" y="2876550"/>
              <a:ext cx="819758" cy="862368"/>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fontAlgn="base">
                <a:lnSpc>
                  <a:spcPct val="90000"/>
                </a:lnSpc>
                <a:spcBef>
                  <a:spcPct val="0"/>
                </a:spcBef>
                <a:spcAft>
                  <a:spcPct val="0"/>
                </a:spcAft>
                <a:buSzPct val="90000"/>
                <a:defRPr/>
              </a:pPr>
              <a:r>
                <a:rPr lang="en-US" kern="0" dirty="0">
                  <a:gradFill>
                    <a:gsLst>
                      <a:gs pos="85000">
                        <a:srgbClr val="FFFFFF"/>
                      </a:gs>
                      <a:gs pos="0">
                        <a:srgbClr val="FFFFFF"/>
                      </a:gs>
                    </a:gsLst>
                    <a:lin ang="5400000" scaled="0"/>
                  </a:gradFill>
                  <a:ea typeface="Segoe UI" pitchFamily="34" charset="0"/>
                  <a:cs typeface="Segoe UI" pitchFamily="34" charset="0"/>
                </a:rPr>
                <a:t>Blob Storage</a:t>
              </a:r>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1600" dirty="0">
                  <a:solidFill>
                    <a:schemeClr val="accent6">
                      <a:alpha val="99000"/>
                    </a:schemeClr>
                  </a:solidFill>
                  <a:latin typeface="+mn-lt"/>
                </a:rPr>
                <a:t>Cloud</a:t>
              </a:r>
            </a:p>
          </p:txBody>
        </p:sp>
      </p:grpSp>
      <p:sp>
        <p:nvSpPr>
          <p:cNvPr id="2" name="Title 1"/>
          <p:cNvSpPr>
            <a:spLocks noGrp="1"/>
          </p:cNvSpPr>
          <p:nvPr>
            <p:ph type="title"/>
          </p:nvPr>
        </p:nvSpPr>
        <p:spPr/>
        <p:txBody>
          <a:bodyPr/>
          <a:lstStyle/>
          <a:p>
            <a:r>
              <a:rPr lang="en-US" dirty="0"/>
              <a:t>Cloud </a:t>
            </a:r>
            <a:r>
              <a:rPr lang="en-US" dirty="0" smtClean="0"/>
              <a:t>Provisioning</a:t>
            </a:r>
            <a:endParaRPr lang="en-US" dirty="0"/>
          </a:p>
        </p:txBody>
      </p:sp>
      <p:grpSp>
        <p:nvGrpSpPr>
          <p:cNvPr id="45" name="Group 44"/>
          <p:cNvGrpSpPr/>
          <p:nvPr/>
        </p:nvGrpSpPr>
        <p:grpSpPr>
          <a:xfrm>
            <a:off x="3232143" y="828676"/>
            <a:ext cx="2688146" cy="3876674"/>
            <a:chOff x="3232143" y="828676"/>
            <a:chExt cx="2688146" cy="3876674"/>
          </a:xfrm>
        </p:grpSpPr>
        <p:sp>
          <p:nvSpPr>
            <p:cNvPr id="4" name="Rectangle 3"/>
            <p:cNvSpPr/>
            <p:nvPr/>
          </p:nvSpPr>
          <p:spPr bwMode="auto">
            <a:xfrm>
              <a:off x="3232423" y="828676"/>
              <a:ext cx="2687866" cy="752474"/>
            </a:xfrm>
            <a:prstGeom prst="rect">
              <a:avLst/>
            </a:prstGeom>
            <a:solidFill>
              <a:schemeClr val="tx2"/>
            </a:solid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lvl="0">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3232143" y="1581150"/>
              <a:ext cx="2683791" cy="3124200"/>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23"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0" name="Picture 3"/>
            <p:cNvPicPr>
              <a:picLocks noChangeAspect="1" noChangeArrowheads="1"/>
            </p:cNvPicPr>
            <p:nvPr>
              <p:custDataLst>
                <p:tags r:id="rId1"/>
              </p:custDataLst>
            </p:nvPr>
          </p:nvPicPr>
          <p:blipFill rotWithShape="1">
            <a:blip r:embed="rId5" cstate="print">
              <a:extLst>
                <a:ext uri="{28A0092B-C50C-407E-A947-70E740481C1C}">
                  <a14:useLocalDpi xmlns:a14="http://schemas.microsoft.com/office/drawing/2010/main" val="0"/>
                </a:ext>
              </a:extLst>
            </a:blip>
            <a:srcRect l="-268" r="1352" b="14748"/>
            <a:stretch/>
          </p:blipFill>
          <p:spPr bwMode="auto">
            <a:xfrm>
              <a:off x="3873584" y="1701746"/>
              <a:ext cx="1872987" cy="38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5" descr="New Windows 8 logo"/>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873584" y="2369359"/>
              <a:ext cx="1265955" cy="28484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9" descr="http://t3.gstatic.com/images?q=tbn:ANd9GcQtFqt1pk-YGmPWhTtB3AsZDmra-Et1fd8-nPSkBdNd8MPUBbvJulvWio_A4A"/>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873584" y="2952750"/>
              <a:ext cx="1045714" cy="398368"/>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4" descr="https://wiki.ubuntu.com/Brand?action=AttachFile&amp;do=get&amp;target=blackeubuntulogo.png"/>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873584" y="4267185"/>
              <a:ext cx="1163193" cy="306308"/>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05" descr="http://t0.gstatic.com/images?q=tbn:ANd9GcQrbLd7LkXlgv-V8XbX4YDBQjR-Ay7-uxppQtQx4M-BKRL8epwumHKvsj_Bjg"/>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873584" y="3528483"/>
              <a:ext cx="763882" cy="491067"/>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p:cNvGrpSpPr/>
            <p:nvPr/>
          </p:nvGrpSpPr>
          <p:grpSpPr>
            <a:xfrm>
              <a:off x="3329213" y="1729064"/>
              <a:ext cx="366984" cy="353078"/>
              <a:chOff x="2488368" y="1695452"/>
              <a:chExt cx="980990" cy="980990"/>
            </a:xfrm>
          </p:grpSpPr>
          <p:sp>
            <p:nvSpPr>
              <p:cNvPr id="16" name="Oval 15"/>
              <p:cNvSpPr/>
              <p:nvPr/>
            </p:nvSpPr>
            <p:spPr bwMode="auto">
              <a:xfrm>
                <a:off x="2488368" y="1695452"/>
                <a:ext cx="980990" cy="980990"/>
              </a:xfrm>
              <a:prstGeom prst="ellipse">
                <a:avLst/>
              </a:prstGeom>
              <a:solidFill>
                <a:schemeClr val="bg1">
                  <a:lumMod val="75000"/>
                  <a:alpha val="4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09" fontAlgn="base">
                  <a:spcBef>
                    <a:spcPts val="150"/>
                  </a:spcBef>
                  <a:spcAft>
                    <a:spcPct val="0"/>
                  </a:spcAft>
                </a:pPr>
                <a:endParaRPr lang="en-US" sz="2100" dirty="0">
                  <a:ln>
                    <a:solidFill>
                      <a:schemeClr val="bg1">
                        <a:alpha val="0"/>
                      </a:schemeClr>
                    </a:solidFill>
                  </a:ln>
                  <a:solidFill>
                    <a:schemeClr val="bg1"/>
                  </a:solidFill>
                </a:endParaRPr>
              </a:p>
            </p:txBody>
          </p:sp>
          <p:sp>
            <p:nvSpPr>
              <p:cNvPr id="17" name="Oval 16"/>
              <p:cNvSpPr/>
              <p:nvPr/>
            </p:nvSpPr>
            <p:spPr bwMode="auto">
              <a:xfrm>
                <a:off x="2856395" y="2063479"/>
                <a:ext cx="244936" cy="24493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09" fontAlgn="base">
                  <a:spcBef>
                    <a:spcPts val="150"/>
                  </a:spcBef>
                  <a:spcAft>
                    <a:spcPct val="0"/>
                  </a:spcAft>
                </a:pPr>
                <a:endParaRPr lang="en-US" sz="2100" dirty="0">
                  <a:ln>
                    <a:solidFill>
                      <a:schemeClr val="bg1">
                        <a:alpha val="0"/>
                      </a:schemeClr>
                    </a:solidFill>
                  </a:ln>
                  <a:solidFill>
                    <a:schemeClr val="bg1"/>
                  </a:solidFill>
                </a:endParaRPr>
              </a:p>
            </p:txBody>
          </p:sp>
        </p:grpSp>
        <p:grpSp>
          <p:nvGrpSpPr>
            <p:cNvPr id="18" name="Group 17"/>
            <p:cNvGrpSpPr/>
            <p:nvPr/>
          </p:nvGrpSpPr>
          <p:grpSpPr>
            <a:xfrm>
              <a:off x="3329213" y="2354862"/>
              <a:ext cx="366984" cy="353078"/>
              <a:chOff x="2488368" y="1695452"/>
              <a:chExt cx="980990" cy="980990"/>
            </a:xfrm>
          </p:grpSpPr>
          <p:sp>
            <p:nvSpPr>
              <p:cNvPr id="19" name="Oval 18"/>
              <p:cNvSpPr/>
              <p:nvPr/>
            </p:nvSpPr>
            <p:spPr bwMode="auto">
              <a:xfrm>
                <a:off x="2488368" y="1695452"/>
                <a:ext cx="980990" cy="980990"/>
              </a:xfrm>
              <a:prstGeom prst="ellipse">
                <a:avLst/>
              </a:prstGeom>
              <a:solidFill>
                <a:schemeClr val="bg1">
                  <a:lumMod val="75000"/>
                  <a:alpha val="4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09" fontAlgn="base">
                  <a:spcBef>
                    <a:spcPts val="150"/>
                  </a:spcBef>
                  <a:spcAft>
                    <a:spcPct val="0"/>
                  </a:spcAft>
                </a:pPr>
                <a:endParaRPr lang="en-US" sz="2100" dirty="0">
                  <a:ln>
                    <a:solidFill>
                      <a:schemeClr val="bg1">
                        <a:alpha val="0"/>
                      </a:schemeClr>
                    </a:solidFill>
                  </a:ln>
                  <a:solidFill>
                    <a:schemeClr val="bg1"/>
                  </a:solidFill>
                </a:endParaRPr>
              </a:p>
            </p:txBody>
          </p:sp>
          <p:sp>
            <p:nvSpPr>
              <p:cNvPr id="20" name="Oval 19"/>
              <p:cNvSpPr/>
              <p:nvPr/>
            </p:nvSpPr>
            <p:spPr bwMode="auto">
              <a:xfrm>
                <a:off x="2856395" y="2063479"/>
                <a:ext cx="244936" cy="24493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09" fontAlgn="base">
                  <a:spcBef>
                    <a:spcPts val="150"/>
                  </a:spcBef>
                  <a:spcAft>
                    <a:spcPct val="0"/>
                  </a:spcAft>
                </a:pPr>
                <a:endParaRPr lang="en-US" sz="2100" dirty="0">
                  <a:ln>
                    <a:solidFill>
                      <a:schemeClr val="bg1">
                        <a:alpha val="0"/>
                      </a:schemeClr>
                    </a:solidFill>
                  </a:ln>
                  <a:solidFill>
                    <a:schemeClr val="bg1"/>
                  </a:solidFill>
                </a:endParaRPr>
              </a:p>
            </p:txBody>
          </p:sp>
        </p:grpSp>
        <p:grpSp>
          <p:nvGrpSpPr>
            <p:cNvPr id="21" name="Group 20"/>
            <p:cNvGrpSpPr/>
            <p:nvPr/>
          </p:nvGrpSpPr>
          <p:grpSpPr>
            <a:xfrm>
              <a:off x="3329213" y="2980660"/>
              <a:ext cx="366984" cy="353078"/>
              <a:chOff x="2488368" y="1695452"/>
              <a:chExt cx="980990" cy="980990"/>
            </a:xfrm>
          </p:grpSpPr>
          <p:sp>
            <p:nvSpPr>
              <p:cNvPr id="22" name="Oval 21"/>
              <p:cNvSpPr/>
              <p:nvPr/>
            </p:nvSpPr>
            <p:spPr bwMode="auto">
              <a:xfrm>
                <a:off x="2488368" y="1695452"/>
                <a:ext cx="980990" cy="980990"/>
              </a:xfrm>
              <a:prstGeom prst="ellipse">
                <a:avLst/>
              </a:prstGeom>
              <a:solidFill>
                <a:schemeClr val="bg1">
                  <a:lumMod val="75000"/>
                  <a:alpha val="4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09" fontAlgn="base">
                  <a:spcBef>
                    <a:spcPts val="150"/>
                  </a:spcBef>
                  <a:spcAft>
                    <a:spcPct val="0"/>
                  </a:spcAft>
                </a:pPr>
                <a:endParaRPr lang="en-US" sz="2100" dirty="0">
                  <a:ln>
                    <a:solidFill>
                      <a:schemeClr val="bg1">
                        <a:alpha val="0"/>
                      </a:schemeClr>
                    </a:solidFill>
                  </a:ln>
                  <a:solidFill>
                    <a:schemeClr val="bg1"/>
                  </a:solidFill>
                </a:endParaRPr>
              </a:p>
            </p:txBody>
          </p:sp>
          <p:sp>
            <p:nvSpPr>
              <p:cNvPr id="23" name="Oval 22"/>
              <p:cNvSpPr/>
              <p:nvPr/>
            </p:nvSpPr>
            <p:spPr bwMode="auto">
              <a:xfrm>
                <a:off x="2856395" y="2063479"/>
                <a:ext cx="244936" cy="24493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09" fontAlgn="base">
                  <a:spcBef>
                    <a:spcPts val="150"/>
                  </a:spcBef>
                  <a:spcAft>
                    <a:spcPct val="0"/>
                  </a:spcAft>
                </a:pPr>
                <a:endParaRPr lang="en-US" sz="2100" dirty="0">
                  <a:ln>
                    <a:solidFill>
                      <a:schemeClr val="bg1">
                        <a:alpha val="0"/>
                      </a:schemeClr>
                    </a:solidFill>
                  </a:ln>
                  <a:solidFill>
                    <a:schemeClr val="bg1"/>
                  </a:solidFill>
                </a:endParaRPr>
              </a:p>
            </p:txBody>
          </p:sp>
        </p:grpSp>
        <p:grpSp>
          <p:nvGrpSpPr>
            <p:cNvPr id="24" name="Group 23"/>
            <p:cNvGrpSpPr/>
            <p:nvPr/>
          </p:nvGrpSpPr>
          <p:grpSpPr>
            <a:xfrm>
              <a:off x="3329213" y="3606458"/>
              <a:ext cx="366984" cy="353078"/>
              <a:chOff x="2488368" y="1695452"/>
              <a:chExt cx="980990" cy="980990"/>
            </a:xfrm>
          </p:grpSpPr>
          <p:sp>
            <p:nvSpPr>
              <p:cNvPr id="25" name="Oval 24"/>
              <p:cNvSpPr/>
              <p:nvPr/>
            </p:nvSpPr>
            <p:spPr bwMode="auto">
              <a:xfrm>
                <a:off x="2488368" y="1695452"/>
                <a:ext cx="980990" cy="980990"/>
              </a:xfrm>
              <a:prstGeom prst="ellipse">
                <a:avLst/>
              </a:prstGeom>
              <a:solidFill>
                <a:schemeClr val="bg1">
                  <a:lumMod val="75000"/>
                  <a:alpha val="4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09" fontAlgn="base">
                  <a:spcBef>
                    <a:spcPts val="150"/>
                  </a:spcBef>
                  <a:spcAft>
                    <a:spcPct val="0"/>
                  </a:spcAft>
                </a:pPr>
                <a:endParaRPr lang="en-US" sz="2100" dirty="0">
                  <a:ln>
                    <a:solidFill>
                      <a:schemeClr val="bg1">
                        <a:alpha val="0"/>
                      </a:schemeClr>
                    </a:solidFill>
                  </a:ln>
                  <a:solidFill>
                    <a:schemeClr val="bg1"/>
                  </a:solidFill>
                </a:endParaRPr>
              </a:p>
            </p:txBody>
          </p:sp>
          <p:sp>
            <p:nvSpPr>
              <p:cNvPr id="26" name="Oval 25"/>
              <p:cNvSpPr/>
              <p:nvPr/>
            </p:nvSpPr>
            <p:spPr bwMode="auto">
              <a:xfrm>
                <a:off x="2856395" y="2063479"/>
                <a:ext cx="244936" cy="24493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09" fontAlgn="base">
                  <a:spcBef>
                    <a:spcPts val="150"/>
                  </a:spcBef>
                  <a:spcAft>
                    <a:spcPct val="0"/>
                  </a:spcAft>
                </a:pPr>
                <a:endParaRPr lang="en-US" sz="2100" dirty="0">
                  <a:ln>
                    <a:solidFill>
                      <a:schemeClr val="bg1">
                        <a:alpha val="0"/>
                      </a:schemeClr>
                    </a:solidFill>
                  </a:ln>
                  <a:solidFill>
                    <a:schemeClr val="bg1"/>
                  </a:solidFill>
                </a:endParaRPr>
              </a:p>
            </p:txBody>
          </p:sp>
        </p:grpSp>
        <p:grpSp>
          <p:nvGrpSpPr>
            <p:cNvPr id="27" name="Group 26"/>
            <p:cNvGrpSpPr/>
            <p:nvPr/>
          </p:nvGrpSpPr>
          <p:grpSpPr>
            <a:xfrm>
              <a:off x="3329213" y="4232255"/>
              <a:ext cx="366984" cy="353078"/>
              <a:chOff x="2488368" y="1695452"/>
              <a:chExt cx="980990" cy="980990"/>
            </a:xfrm>
          </p:grpSpPr>
          <p:sp>
            <p:nvSpPr>
              <p:cNvPr id="28" name="Oval 27"/>
              <p:cNvSpPr/>
              <p:nvPr/>
            </p:nvSpPr>
            <p:spPr bwMode="auto">
              <a:xfrm>
                <a:off x="2488368" y="1695452"/>
                <a:ext cx="980990" cy="980990"/>
              </a:xfrm>
              <a:prstGeom prst="ellipse">
                <a:avLst/>
              </a:prstGeom>
              <a:solidFill>
                <a:schemeClr val="bg1">
                  <a:lumMod val="75000"/>
                  <a:alpha val="4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09" fontAlgn="base">
                  <a:spcBef>
                    <a:spcPts val="150"/>
                  </a:spcBef>
                  <a:spcAft>
                    <a:spcPct val="0"/>
                  </a:spcAft>
                </a:pPr>
                <a:endParaRPr lang="en-US" sz="2100" dirty="0">
                  <a:ln>
                    <a:solidFill>
                      <a:schemeClr val="bg1">
                        <a:alpha val="0"/>
                      </a:schemeClr>
                    </a:solidFill>
                  </a:ln>
                  <a:solidFill>
                    <a:schemeClr val="bg1"/>
                  </a:solidFill>
                </a:endParaRPr>
              </a:p>
            </p:txBody>
          </p:sp>
          <p:sp>
            <p:nvSpPr>
              <p:cNvPr id="29" name="Oval 28"/>
              <p:cNvSpPr/>
              <p:nvPr/>
            </p:nvSpPr>
            <p:spPr bwMode="auto">
              <a:xfrm>
                <a:off x="2856395" y="2063479"/>
                <a:ext cx="244936" cy="24493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09" fontAlgn="base">
                  <a:spcBef>
                    <a:spcPts val="150"/>
                  </a:spcBef>
                  <a:spcAft>
                    <a:spcPct val="0"/>
                  </a:spcAft>
                </a:pPr>
                <a:endParaRPr lang="en-US" sz="2100" dirty="0">
                  <a:ln>
                    <a:solidFill>
                      <a:schemeClr val="bg1">
                        <a:alpha val="0"/>
                      </a:schemeClr>
                    </a:solidFill>
                  </a:ln>
                  <a:solidFill>
                    <a:schemeClr val="bg1"/>
                  </a:solidFill>
                </a:endParaRPr>
              </a:p>
            </p:txBody>
          </p:sp>
        </p:grpSp>
      </p:grpSp>
      <p:grpSp>
        <p:nvGrpSpPr>
          <p:cNvPr id="44" name="Group 43"/>
          <p:cNvGrpSpPr/>
          <p:nvPr/>
        </p:nvGrpSpPr>
        <p:grpSpPr>
          <a:xfrm>
            <a:off x="381001" y="828676"/>
            <a:ext cx="2687866" cy="3876674"/>
            <a:chOff x="381001" y="828676"/>
            <a:chExt cx="2687866" cy="3876674"/>
          </a:xfrm>
        </p:grpSpPr>
        <p:sp>
          <p:nvSpPr>
            <p:cNvPr id="3" name="Rectangle 2"/>
            <p:cNvSpPr/>
            <p:nvPr/>
          </p:nvSpPr>
          <p:spPr bwMode="auto">
            <a:xfrm>
              <a:off x="381001" y="828676"/>
              <a:ext cx="2687866" cy="752474"/>
            </a:xfrm>
            <a:prstGeom prst="rect">
              <a:avLst/>
            </a:prstGeom>
            <a:solidFill>
              <a:schemeClr val="accent4"/>
            </a:solid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lvl="0">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23"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10"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23" fontAlgn="base">
                  <a:spcBef>
                    <a:spcPct val="0"/>
                  </a:spcBef>
                  <a:spcAft>
                    <a:spcPct val="0"/>
                  </a:spcAft>
                </a:pPr>
                <a:r>
                  <a:rPr lang="en-US" sz="2800" dirty="0">
                    <a:solidFill>
                      <a:schemeClr val="accent4">
                        <a:lumMod val="20000"/>
                        <a:lumOff val="80000"/>
                      </a:scheme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Scripting </a:t>
                </a:r>
              </a:p>
              <a:p>
                <a:pPr algn="ctr"/>
                <a:r>
                  <a:rPr lang="en-US" sz="1200" dirty="0">
                    <a:solidFill>
                      <a:schemeClr val="tx2">
                        <a:alpha val="99000"/>
                      </a:schemeClr>
                    </a:solidFill>
                    <a:latin typeface="+mn-lt"/>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REST API</a:t>
                </a:r>
              </a:p>
            </p:txBody>
          </p:sp>
        </p:grpSp>
      </p:grpSp>
      <p:grpSp>
        <p:nvGrpSpPr>
          <p:cNvPr id="52" name="Group 51"/>
          <p:cNvGrpSpPr/>
          <p:nvPr/>
        </p:nvGrpSpPr>
        <p:grpSpPr>
          <a:xfrm>
            <a:off x="6172202" y="2114552"/>
            <a:ext cx="2530615" cy="1487469"/>
            <a:chOff x="6172200" y="2114550"/>
            <a:chExt cx="2530615" cy="148746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Boot VM from New Disk</a:t>
              </a:r>
            </a:p>
          </p:txBody>
        </p:sp>
        <p:sp>
          <p:nvSpPr>
            <p:cNvPr id="49" name="Freeform 24"/>
            <p:cNvSpPr>
              <a:spLocks noEditPoints="1"/>
            </p:cNvSpPr>
            <p:nvPr/>
          </p:nvSpPr>
          <p:spPr bwMode="black">
            <a:xfrm>
              <a:off x="7812155" y="3013449"/>
              <a:ext cx="762000" cy="58857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09" fontAlgn="base">
                <a:spcBef>
                  <a:spcPts val="150"/>
                </a:spcBef>
                <a:spcAft>
                  <a:spcPct val="0"/>
                </a:spcAft>
              </a:pPr>
              <a:endParaRPr lang="en-US" sz="2100" dirty="0">
                <a:ln>
                  <a:solidFill>
                    <a:schemeClr val="bg1">
                      <a:alpha val="0"/>
                    </a:schemeClr>
                  </a:solidFill>
                </a:ln>
                <a:solidFill>
                  <a:schemeClr val="bg1"/>
                </a:solidFill>
              </a:endParaRPr>
            </a:p>
          </p:txBody>
        </p:sp>
      </p:grpSp>
      <p:sp>
        <p:nvSpPr>
          <p:cNvPr id="6" name="TextBox 5"/>
          <p:cNvSpPr txBox="1"/>
          <p:nvPr/>
        </p:nvSpPr>
        <p:spPr>
          <a:xfrm>
            <a:off x="5180721" y="2409260"/>
            <a:ext cx="739568" cy="221599"/>
          </a:xfrm>
          <a:prstGeom prst="rect">
            <a:avLst/>
          </a:prstGeom>
          <a:noFill/>
        </p:spPr>
        <p:txBody>
          <a:bodyPr wrap="square" lIns="0" tIns="0" rIns="0" bIns="0" rtlCol="0">
            <a:spAutoFit/>
          </a:bodyPr>
          <a:lstStyle/>
          <a:p>
            <a:pPr>
              <a:lnSpc>
                <a:spcPct val="90000"/>
              </a:lnSpc>
              <a:spcBef>
                <a:spcPct val="20000"/>
              </a:spcBef>
              <a:buSzPct val="80000"/>
            </a:pPr>
            <a:r>
              <a:rPr lang="en-US" sz="1600" i="1" u="sng" dirty="0">
                <a:solidFill>
                  <a:schemeClr val="accent2"/>
                </a:solidFill>
              </a:rPr>
              <a:t>Server</a:t>
            </a:r>
          </a:p>
        </p:txBody>
      </p:sp>
      <p:sp>
        <p:nvSpPr>
          <p:cNvPr id="54"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55"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1"/>
              </a:rPr>
              <a:t>www.rapidbbs.cn</a:t>
            </a:r>
            <a:endParaRPr lang="zh-CN" altLang="en-US" sz="1200" b="0">
              <a:latin typeface="Arial" charset="0"/>
              <a:ea typeface="ＭＳ Ｐゴシック" pitchFamily="34" charset="-128"/>
            </a:endParaRPr>
          </a:p>
        </p:txBody>
      </p:sp>
      <p:pic>
        <p:nvPicPr>
          <p:cNvPr id="56" name="Picture 2">
            <a:hlinkClick r:id="rId11"/>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566059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5"/>
                                        </p:tgtEl>
                                        <p:attrNameLst>
                                          <p:attrName>style.visibility</p:attrName>
                                        </p:attrNameLst>
                                      </p:cBhvr>
                                      <p:to>
                                        <p:strVal val="visible"/>
                                      </p:to>
                                    </p:set>
                                    <p:animEffect transition="in" filter="fade">
                                      <p:cBhvr>
                                        <p:cTn id="12" dur="500"/>
                                        <p:tgtEl>
                                          <p:spTgt spid="45"/>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53"/>
                                        </p:tgtEl>
                                        <p:attrNameLst>
                                          <p:attrName>style.visibility</p:attrName>
                                        </p:attrNameLst>
                                      </p:cBhvr>
                                      <p:to>
                                        <p:strVal val="visible"/>
                                      </p:to>
                                    </p:set>
                                    <p:animEffect transition="in" filter="fade">
                                      <p:cBhvr>
                                        <p:cTn id="20" dur="500"/>
                                        <p:tgtEl>
                                          <p:spTgt spid="53"/>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52"/>
                                        </p:tgtEl>
                                        <p:attrNameLst>
                                          <p:attrName>style.visibility</p:attrName>
                                        </p:attrNameLst>
                                      </p:cBhvr>
                                      <p:to>
                                        <p:strVal val="visible"/>
                                      </p:to>
                                    </p:set>
                                    <p:animEffect transition="in" filter="fade">
                                      <p:cBhvr>
                                        <p:cTn id="25"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4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350349144"/>
              </p:ext>
            </p:extLst>
          </p:nvPr>
        </p:nvGraphicFramePr>
        <p:xfrm>
          <a:off x="1" y="2"/>
          <a:ext cx="119094" cy="119063"/>
        </p:xfrm>
        <a:graphic>
          <a:graphicData uri="http://schemas.openxmlformats.org/presentationml/2006/ole">
            <mc:AlternateContent xmlns:mc="http://schemas.openxmlformats.org/markup-compatibility/2006">
              <mc:Choice xmlns:v="urn:schemas-microsoft-com:vml" Requires="v">
                <p:oleObj spid="_x0000_s27653"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 y="2"/>
                        <a:ext cx="119094" cy="119063"/>
                      </a:xfrm>
                      <a:prstGeom prst="rect">
                        <a:avLst/>
                      </a:prstGeom>
                    </p:spPr>
                  </p:pic>
                </p:oleObj>
              </mc:Fallback>
            </mc:AlternateContent>
          </a:graphicData>
        </a:graphic>
      </p:graphicFrame>
      <p:sp>
        <p:nvSpPr>
          <p:cNvPr id="4" name="Rectangle 3"/>
          <p:cNvSpPr/>
          <p:nvPr>
            <p:custDataLst>
              <p:tags r:id="rId3"/>
            </p:custDataLst>
          </p:nvPr>
        </p:nvSpPr>
        <p:spPr bwMode="auto">
          <a:xfrm>
            <a:off x="397273" y="828675"/>
            <a:ext cx="8344069" cy="19202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0" bIns="34291" numCol="1" rtlCol="0" anchor="ctr" anchorCtr="0" compatLnSpc="1">
            <a:prstTxWarp prst="textNoShape">
              <a:avLst/>
            </a:prstTxWarp>
          </a:bodyPr>
          <a:lstStyle/>
          <a:p>
            <a:pPr algn="ctr" defTabSz="685609"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3" name="Title 2"/>
          <p:cNvSpPr>
            <a:spLocks noGrp="1"/>
          </p:cNvSpPr>
          <p:nvPr>
            <p:ph type="title"/>
            <p:custDataLst>
              <p:tags r:id="rId4"/>
            </p:custDataLst>
          </p:nvPr>
        </p:nvSpPr>
        <p:spPr/>
        <p:txBody>
          <a:bodyPr/>
          <a:lstStyle/>
          <a:p>
            <a:r>
              <a:rPr lang="en-IN" dirty="0">
                <a:cs typeface="Segoe UI"/>
              </a:rPr>
              <a:t>What will work on upload…</a:t>
            </a:r>
            <a:endParaRPr lang="en-US" dirty="0">
              <a:cs typeface="Segoe UI"/>
            </a:endParaRPr>
          </a:p>
        </p:txBody>
      </p:sp>
      <p:sp>
        <p:nvSpPr>
          <p:cNvPr id="5" name="TextBox 4"/>
          <p:cNvSpPr txBox="1"/>
          <p:nvPr>
            <p:custDataLst>
              <p:tags r:id="rId5"/>
            </p:custDataLst>
          </p:nvPr>
        </p:nvSpPr>
        <p:spPr>
          <a:xfrm>
            <a:off x="3724967" y="887289"/>
            <a:ext cx="1657782" cy="373949"/>
          </a:xfrm>
          <a:prstGeom prst="rect">
            <a:avLst/>
          </a:prstGeom>
          <a:noFill/>
          <a:ln>
            <a:noFill/>
          </a:ln>
        </p:spPr>
        <p:txBody>
          <a:bodyPr wrap="square" lIns="0" tIns="0" rIns="0" bIns="0" rtlCol="0">
            <a:spAutoFit/>
          </a:bodyPr>
          <a:lstStyle/>
          <a:p>
            <a:pPr marL="2382" lvl="1" algn="ctr">
              <a:lnSpc>
                <a:spcPct val="90000"/>
              </a:lnSpc>
              <a:spcAft>
                <a:spcPts val="450"/>
              </a:spcAft>
              <a:buSzPct val="80000"/>
            </a:pPr>
            <a:r>
              <a:rPr lang="en-US" sz="2700" b="1" spc="-38" dirty="0">
                <a:gradFill>
                  <a:gsLst>
                    <a:gs pos="0">
                      <a:schemeClr val="accent2"/>
                    </a:gs>
                    <a:gs pos="100000">
                      <a:schemeClr val="accent2"/>
                    </a:gs>
                  </a:gsLst>
                  <a:lin ang="5400000" scaled="0"/>
                </a:gradFill>
                <a:cs typeface="Segoe UI" pitchFamily="34" charset="0"/>
              </a:rPr>
              <a:t>Images</a:t>
            </a:r>
          </a:p>
        </p:txBody>
      </p:sp>
      <p:sp>
        <p:nvSpPr>
          <p:cNvPr id="6" name="Rectangle 5"/>
          <p:cNvSpPr/>
          <p:nvPr>
            <p:custDataLst>
              <p:tags r:id="rId6"/>
            </p:custDataLst>
          </p:nvPr>
        </p:nvSpPr>
        <p:spPr bwMode="auto">
          <a:xfrm>
            <a:off x="389436" y="2819360"/>
            <a:ext cx="8344069" cy="192024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6" tIns="34279" rIns="68556" bIns="34279" numCol="1" spcCol="0" rtlCol="0" anchor="ctr" anchorCtr="0" compatLnSpc="1">
            <a:prstTxWarp prst="textNoShape">
              <a:avLst/>
            </a:prstTxWarp>
          </a:bodyPr>
          <a:lstStyle/>
          <a:p>
            <a:pPr algn="ctr" defTabSz="68537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7" name="TextBox 6"/>
          <p:cNvSpPr txBox="1"/>
          <p:nvPr>
            <p:custDataLst>
              <p:tags r:id="rId7"/>
            </p:custDataLst>
          </p:nvPr>
        </p:nvSpPr>
        <p:spPr>
          <a:xfrm>
            <a:off x="4011392" y="4367100"/>
            <a:ext cx="1137282" cy="373949"/>
          </a:xfrm>
          <a:prstGeom prst="rect">
            <a:avLst/>
          </a:prstGeom>
          <a:noFill/>
          <a:ln>
            <a:noFill/>
          </a:ln>
        </p:spPr>
        <p:txBody>
          <a:bodyPr wrap="square" lIns="0" tIns="0" rIns="0" bIns="0" rtlCol="0">
            <a:spAutoFit/>
          </a:bodyPr>
          <a:lstStyle/>
          <a:p>
            <a:pPr marL="2382" lvl="1" algn="ctr">
              <a:lnSpc>
                <a:spcPct val="90000"/>
              </a:lnSpc>
              <a:spcAft>
                <a:spcPts val="450"/>
              </a:spcAft>
              <a:buSzPct val="80000"/>
            </a:pPr>
            <a:r>
              <a:rPr lang="en-US" sz="2700" b="1" spc="-38" dirty="0">
                <a:gradFill>
                  <a:gsLst>
                    <a:gs pos="0">
                      <a:schemeClr val="tx2"/>
                    </a:gs>
                    <a:gs pos="86000">
                      <a:schemeClr val="tx2"/>
                    </a:gs>
                  </a:gsLst>
                  <a:lin ang="5400000" scaled="0"/>
                </a:gradFill>
                <a:cs typeface="Segoe UI" pitchFamily="34" charset="0"/>
              </a:rPr>
              <a:t>Disks</a:t>
            </a:r>
          </a:p>
        </p:txBody>
      </p:sp>
      <p:sp>
        <p:nvSpPr>
          <p:cNvPr id="8" name="Rectangle 7"/>
          <p:cNvSpPr/>
          <p:nvPr>
            <p:custDataLst>
              <p:tags r:id="rId8"/>
            </p:custDataLst>
          </p:nvPr>
        </p:nvSpPr>
        <p:spPr bwMode="auto">
          <a:xfrm>
            <a:off x="544052" y="1082590"/>
            <a:ext cx="2662008" cy="1489160"/>
          </a:xfrm>
          <a:prstGeom prst="rect">
            <a:avLst/>
          </a:prstGeom>
          <a:solidFill>
            <a:schemeClr val="accent2"/>
          </a:solidFill>
          <a:ln w="9525" cap="flat" cmpd="sng" algn="ctr">
            <a:noFill/>
            <a:prstDash val="solid"/>
          </a:ln>
          <a:effectLst/>
        </p:spPr>
        <p:txBody>
          <a:bodyPr lIns="68583" tIns="34292" rIns="68583" bIns="34292" rtlCol="0" anchor="ctr" anchorCtr="0"/>
          <a:lstStyle/>
          <a:p>
            <a:pPr defTabSz="914248"/>
            <a:r>
              <a:rPr lang="en-US" sz="1700" dirty="0" err="1">
                <a:gradFill>
                  <a:gsLst>
                    <a:gs pos="0">
                      <a:schemeClr val="tx1"/>
                    </a:gs>
                    <a:gs pos="100000">
                      <a:schemeClr val="tx1"/>
                    </a:gs>
                  </a:gsLst>
                  <a:lin ang="5400000" scaled="0"/>
                </a:gradFill>
                <a:latin typeface="Segoe UI"/>
                <a:ea typeface="Segoe UI" pitchFamily="34" charset="0"/>
                <a:cs typeface="Segoe UI" pitchFamily="34" charset="0"/>
              </a:rPr>
              <a:t>Sysprep’d</a:t>
            </a:r>
            <a:r>
              <a:rPr lang="en-US" sz="1700" dirty="0">
                <a:gradFill>
                  <a:gsLst>
                    <a:gs pos="0">
                      <a:schemeClr val="tx1"/>
                    </a:gs>
                    <a:gs pos="100000">
                      <a:schemeClr val="tx1"/>
                    </a:gs>
                  </a:gsLst>
                  <a:lin ang="5400000" scaled="0"/>
                </a:gradFill>
                <a:latin typeface="Segoe UI"/>
                <a:ea typeface="Segoe UI" pitchFamily="34" charset="0"/>
                <a:cs typeface="Segoe UI" pitchFamily="34" charset="0"/>
              </a:rPr>
              <a:t> Windows Server </a:t>
            </a:r>
          </a:p>
          <a:p>
            <a:pPr defTabSz="914248"/>
            <a:r>
              <a:rPr lang="en-US" sz="1700" dirty="0" err="1">
                <a:gradFill>
                  <a:gsLst>
                    <a:gs pos="0">
                      <a:schemeClr val="tx1"/>
                    </a:gs>
                    <a:gs pos="100000">
                      <a:schemeClr val="tx1"/>
                    </a:gs>
                  </a:gsLst>
                  <a:lin ang="5400000" scaled="0"/>
                </a:gradFill>
                <a:latin typeface="Segoe UI"/>
                <a:ea typeface="Segoe UI" pitchFamily="34" charset="0"/>
                <a:cs typeface="Segoe UI" pitchFamily="34" charset="0"/>
              </a:rPr>
              <a:t>VHD</a:t>
            </a:r>
            <a:r>
              <a:rPr lang="en-US" sz="1700" dirty="0">
                <a:gradFill>
                  <a:gsLst>
                    <a:gs pos="0">
                      <a:schemeClr val="tx1"/>
                    </a:gs>
                    <a:gs pos="100000">
                      <a:schemeClr val="tx1"/>
                    </a:gs>
                  </a:gsLst>
                  <a:lin ang="5400000" scaled="0"/>
                </a:gradFill>
                <a:latin typeface="Segoe UI"/>
                <a:ea typeface="Segoe UI" pitchFamily="34" charset="0"/>
                <a:cs typeface="Segoe UI" pitchFamily="34" charset="0"/>
              </a:rPr>
              <a:t> on Hyper-V</a:t>
            </a:r>
          </a:p>
          <a:p>
            <a:pPr defTabSz="914248"/>
            <a:endParaRPr lang="en-US" sz="1700" dirty="0">
              <a:gradFill>
                <a:gsLst>
                  <a:gs pos="0">
                    <a:schemeClr val="tx1"/>
                  </a:gs>
                  <a:gs pos="100000">
                    <a:schemeClr val="tx1"/>
                  </a:gs>
                </a:gsLst>
                <a:lin ang="5400000" scaled="0"/>
              </a:gradFill>
              <a:latin typeface="Segoe UI"/>
              <a:ea typeface="Segoe UI" pitchFamily="34" charset="0"/>
              <a:cs typeface="Segoe UI" pitchFamily="34" charset="0"/>
            </a:endParaRPr>
          </a:p>
          <a:p>
            <a:pPr defTabSz="914248"/>
            <a:r>
              <a:rPr lang="en-US" sz="1700" dirty="0">
                <a:gradFill>
                  <a:gsLst>
                    <a:gs pos="0">
                      <a:schemeClr val="tx1"/>
                    </a:gs>
                    <a:gs pos="100000">
                      <a:schemeClr val="tx1"/>
                    </a:gs>
                  </a:gsLst>
                  <a:lin ang="5400000" scaled="0"/>
                </a:gradFill>
                <a:latin typeface="Segoe UI"/>
                <a:ea typeface="Segoe UI" pitchFamily="34" charset="0"/>
                <a:cs typeface="Segoe UI" pitchFamily="34" charset="0"/>
              </a:rPr>
              <a:t>(Server 2008 R2 and Windows 8 Server)</a:t>
            </a:r>
          </a:p>
        </p:txBody>
      </p:sp>
      <p:sp>
        <p:nvSpPr>
          <p:cNvPr id="9" name="Rectangle 8"/>
          <p:cNvSpPr/>
          <p:nvPr>
            <p:custDataLst>
              <p:tags r:id="rId9"/>
            </p:custDataLst>
          </p:nvPr>
        </p:nvSpPr>
        <p:spPr bwMode="auto">
          <a:xfrm>
            <a:off x="6054089" y="1082590"/>
            <a:ext cx="2515255" cy="1489160"/>
          </a:xfrm>
          <a:prstGeom prst="rect">
            <a:avLst/>
          </a:prstGeom>
          <a:solidFill>
            <a:schemeClr val="accent2"/>
          </a:solidFill>
          <a:ln w="9525" cap="flat" cmpd="sng" algn="ctr">
            <a:noFill/>
            <a:prstDash val="solid"/>
          </a:ln>
          <a:effectLst/>
        </p:spPr>
        <p:txBody>
          <a:bodyPr lIns="68583" tIns="34292" rIns="68583" bIns="34292" rtlCol="0" anchor="ctr" anchorCtr="0"/>
          <a:lstStyle/>
          <a:p>
            <a:pPr algn="ctr" defTabSz="914248"/>
            <a:r>
              <a:rPr lang="en-US" sz="2700" dirty="0">
                <a:gradFill>
                  <a:gsLst>
                    <a:gs pos="0">
                      <a:schemeClr val="tx1"/>
                    </a:gs>
                    <a:gs pos="100000">
                      <a:schemeClr val="tx1"/>
                    </a:gs>
                  </a:gsLst>
                  <a:lin ang="5400000" scaled="0"/>
                </a:gradFill>
                <a:latin typeface="Segoe UI"/>
                <a:ea typeface="Segoe UI" pitchFamily="34" charset="0"/>
                <a:cs typeface="Segoe UI" pitchFamily="34" charset="0"/>
              </a:rPr>
              <a:t>Windows </a:t>
            </a:r>
            <a:br>
              <a:rPr lang="en-US" sz="2700" dirty="0">
                <a:gradFill>
                  <a:gsLst>
                    <a:gs pos="0">
                      <a:schemeClr val="tx1"/>
                    </a:gs>
                    <a:gs pos="100000">
                      <a:schemeClr val="tx1"/>
                    </a:gs>
                  </a:gsLst>
                  <a:lin ang="5400000" scaled="0"/>
                </a:gradFill>
                <a:latin typeface="Segoe UI"/>
                <a:ea typeface="Segoe UI" pitchFamily="34" charset="0"/>
                <a:cs typeface="Segoe UI" pitchFamily="34" charset="0"/>
              </a:rPr>
            </a:br>
            <a:r>
              <a:rPr lang="en-US" sz="2700" dirty="0">
                <a:gradFill>
                  <a:gsLst>
                    <a:gs pos="0">
                      <a:schemeClr val="tx1"/>
                    </a:gs>
                    <a:gs pos="100000">
                      <a:schemeClr val="tx1"/>
                    </a:gs>
                  </a:gsLst>
                  <a:lin ang="5400000" scaled="0"/>
                </a:gradFill>
                <a:latin typeface="Segoe UI"/>
                <a:ea typeface="Segoe UI" pitchFamily="34" charset="0"/>
                <a:cs typeface="Segoe UI" pitchFamily="34" charset="0"/>
              </a:rPr>
              <a:t>Azure Image</a:t>
            </a:r>
          </a:p>
        </p:txBody>
      </p:sp>
      <p:sp>
        <p:nvSpPr>
          <p:cNvPr id="10" name="Rectangle 9"/>
          <p:cNvSpPr/>
          <p:nvPr>
            <p:custDataLst>
              <p:tags r:id="rId10"/>
            </p:custDataLst>
          </p:nvPr>
        </p:nvSpPr>
        <p:spPr bwMode="auto">
          <a:xfrm>
            <a:off x="544052" y="3084346"/>
            <a:ext cx="2690904" cy="1489160"/>
          </a:xfrm>
          <a:prstGeom prst="rect">
            <a:avLst/>
          </a:prstGeom>
          <a:solidFill>
            <a:schemeClr val="accent1"/>
          </a:solidFill>
          <a:ln w="9525" cap="flat" cmpd="sng" algn="ctr">
            <a:noFill/>
            <a:prstDash val="solid"/>
          </a:ln>
          <a:effectLst/>
        </p:spPr>
        <p:txBody>
          <a:bodyPr lIns="68583" tIns="34292" rIns="68583" bIns="34292" rtlCol="0" anchor="ctr" anchorCtr="0"/>
          <a:lstStyle/>
          <a:p>
            <a:pPr defTabSz="914248"/>
            <a:r>
              <a:rPr lang="en-US" sz="1700" dirty="0">
                <a:gradFill>
                  <a:gsLst>
                    <a:gs pos="0">
                      <a:schemeClr val="tx1"/>
                    </a:gs>
                    <a:gs pos="100000">
                      <a:schemeClr val="tx1"/>
                    </a:gs>
                  </a:gsLst>
                  <a:lin ang="5400000" scaled="0"/>
                </a:gradFill>
                <a:latin typeface="Segoe UI"/>
                <a:ea typeface="Segoe UI" pitchFamily="34" charset="0"/>
                <a:cs typeface="Segoe UI" pitchFamily="34" charset="0"/>
              </a:rPr>
              <a:t>Windows Server </a:t>
            </a:r>
          </a:p>
          <a:p>
            <a:pPr defTabSz="914248"/>
            <a:r>
              <a:rPr lang="en-US" sz="1700" dirty="0" err="1">
                <a:gradFill>
                  <a:gsLst>
                    <a:gs pos="0">
                      <a:schemeClr val="tx1"/>
                    </a:gs>
                    <a:gs pos="100000">
                      <a:schemeClr val="tx1"/>
                    </a:gs>
                  </a:gsLst>
                  <a:lin ang="5400000" scaled="0"/>
                </a:gradFill>
                <a:latin typeface="Segoe UI"/>
                <a:ea typeface="Segoe UI" pitchFamily="34" charset="0"/>
                <a:cs typeface="Segoe UI" pitchFamily="34" charset="0"/>
              </a:rPr>
              <a:t>VHD</a:t>
            </a:r>
            <a:r>
              <a:rPr lang="en-US" sz="1700" dirty="0">
                <a:gradFill>
                  <a:gsLst>
                    <a:gs pos="0">
                      <a:schemeClr val="tx1"/>
                    </a:gs>
                    <a:gs pos="100000">
                      <a:schemeClr val="tx1"/>
                    </a:gs>
                  </a:gsLst>
                  <a:lin ang="5400000" scaled="0"/>
                </a:gradFill>
                <a:latin typeface="Segoe UI"/>
                <a:ea typeface="Segoe UI" pitchFamily="34" charset="0"/>
                <a:cs typeface="Segoe UI" pitchFamily="34" charset="0"/>
              </a:rPr>
              <a:t> on Hyper-V</a:t>
            </a:r>
          </a:p>
          <a:p>
            <a:pPr defTabSz="914248"/>
            <a:endParaRPr lang="en-US" sz="1700" dirty="0">
              <a:gradFill>
                <a:gsLst>
                  <a:gs pos="0">
                    <a:schemeClr val="tx1"/>
                  </a:gs>
                  <a:gs pos="100000">
                    <a:schemeClr val="tx1"/>
                  </a:gs>
                </a:gsLst>
                <a:lin ang="5400000" scaled="0"/>
              </a:gradFill>
              <a:latin typeface="Segoe UI"/>
              <a:ea typeface="Segoe UI" pitchFamily="34" charset="0"/>
              <a:cs typeface="Segoe UI" pitchFamily="34" charset="0"/>
            </a:endParaRPr>
          </a:p>
          <a:p>
            <a:pPr defTabSz="914248"/>
            <a:r>
              <a:rPr lang="en-US" sz="1700" dirty="0">
                <a:gradFill>
                  <a:gsLst>
                    <a:gs pos="0">
                      <a:schemeClr val="tx1"/>
                    </a:gs>
                    <a:gs pos="100000">
                      <a:schemeClr val="tx1"/>
                    </a:gs>
                  </a:gsLst>
                  <a:lin ang="5400000" scaled="0"/>
                </a:gradFill>
                <a:latin typeface="Segoe UI"/>
                <a:ea typeface="Segoe UI" pitchFamily="34" charset="0"/>
                <a:cs typeface="Segoe UI" pitchFamily="34" charset="0"/>
              </a:rPr>
              <a:t>(Server 2008 R2 and Windows 8 Server)</a:t>
            </a:r>
          </a:p>
        </p:txBody>
      </p:sp>
      <p:sp>
        <p:nvSpPr>
          <p:cNvPr id="11" name="Rectangle 10"/>
          <p:cNvSpPr/>
          <p:nvPr>
            <p:custDataLst>
              <p:tags r:id="rId11"/>
            </p:custDataLst>
          </p:nvPr>
        </p:nvSpPr>
        <p:spPr bwMode="auto">
          <a:xfrm>
            <a:off x="6054089" y="3084346"/>
            <a:ext cx="2515255" cy="1489160"/>
          </a:xfrm>
          <a:prstGeom prst="rect">
            <a:avLst/>
          </a:prstGeom>
          <a:solidFill>
            <a:schemeClr val="accent1"/>
          </a:solidFill>
          <a:ln w="9525" cap="flat" cmpd="sng" algn="ctr">
            <a:noFill/>
            <a:prstDash val="solid"/>
          </a:ln>
          <a:effectLst/>
        </p:spPr>
        <p:txBody>
          <a:bodyPr lIns="68583" tIns="34292" rIns="68583" bIns="34292" rtlCol="0" anchor="ctr" anchorCtr="0"/>
          <a:lstStyle/>
          <a:p>
            <a:pPr algn="ctr" defTabSz="914248"/>
            <a:r>
              <a:rPr lang="en-US" sz="2700" dirty="0">
                <a:gradFill>
                  <a:gsLst>
                    <a:gs pos="0">
                      <a:schemeClr val="tx1"/>
                    </a:gs>
                    <a:gs pos="100000">
                      <a:schemeClr val="tx1"/>
                    </a:gs>
                  </a:gsLst>
                  <a:lin ang="5400000" scaled="0"/>
                </a:gradFill>
                <a:latin typeface="Segoe UI"/>
                <a:ea typeface="Segoe UI" pitchFamily="34" charset="0"/>
                <a:cs typeface="Segoe UI" pitchFamily="34" charset="0"/>
              </a:rPr>
              <a:t>Windows </a:t>
            </a:r>
            <a:br>
              <a:rPr lang="en-US" sz="2700" dirty="0">
                <a:gradFill>
                  <a:gsLst>
                    <a:gs pos="0">
                      <a:schemeClr val="tx1"/>
                    </a:gs>
                    <a:gs pos="100000">
                      <a:schemeClr val="tx1"/>
                    </a:gs>
                  </a:gsLst>
                  <a:lin ang="5400000" scaled="0"/>
                </a:gradFill>
                <a:latin typeface="Segoe UI"/>
                <a:ea typeface="Segoe UI" pitchFamily="34" charset="0"/>
                <a:cs typeface="Segoe UI" pitchFamily="34" charset="0"/>
              </a:rPr>
            </a:br>
            <a:r>
              <a:rPr lang="en-US" sz="2700" dirty="0">
                <a:gradFill>
                  <a:gsLst>
                    <a:gs pos="0">
                      <a:schemeClr val="tx1"/>
                    </a:gs>
                    <a:gs pos="100000">
                      <a:schemeClr val="tx1"/>
                    </a:gs>
                  </a:gsLst>
                  <a:lin ang="5400000" scaled="0"/>
                </a:gradFill>
                <a:latin typeface="Segoe UI"/>
                <a:ea typeface="Segoe UI" pitchFamily="34" charset="0"/>
                <a:cs typeface="Segoe UI" pitchFamily="34" charset="0"/>
              </a:rPr>
              <a:t>Azure Disk</a:t>
            </a:r>
          </a:p>
        </p:txBody>
      </p:sp>
      <p:sp>
        <p:nvSpPr>
          <p:cNvPr id="12" name="Equal 11"/>
          <p:cNvSpPr/>
          <p:nvPr>
            <p:custDataLst>
              <p:tags r:id="rId12"/>
            </p:custDataLst>
          </p:nvPr>
        </p:nvSpPr>
        <p:spPr bwMode="auto">
          <a:xfrm>
            <a:off x="3381161" y="1219284"/>
            <a:ext cx="2360620" cy="1407697"/>
          </a:xfrm>
          <a:prstGeom prst="mathEqual">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0" bIns="34291" numCol="1" rtlCol="0" anchor="ctr" anchorCtr="0" compatLnSpc="1">
            <a:prstTxWarp prst="textNoShape">
              <a:avLst/>
            </a:prstTxWarp>
          </a:bodyPr>
          <a:lstStyle/>
          <a:p>
            <a:pPr algn="ctr" defTabSz="685609"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4" name="Equal 13"/>
          <p:cNvSpPr/>
          <p:nvPr>
            <p:custDataLst>
              <p:tags r:id="rId13"/>
            </p:custDataLst>
          </p:nvPr>
        </p:nvSpPr>
        <p:spPr bwMode="auto">
          <a:xfrm>
            <a:off x="3878928" y="3099512"/>
            <a:ext cx="1365091" cy="1407697"/>
          </a:xfrm>
          <a:prstGeom prst="mathEqual">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0" bIns="34291" numCol="1" rtlCol="0" anchor="ctr" anchorCtr="0" compatLnSpc="1">
            <a:prstTxWarp prst="textNoShape">
              <a:avLst/>
            </a:prstTxWarp>
          </a:bodyPr>
          <a:lstStyle/>
          <a:p>
            <a:pPr algn="ctr" defTabSz="685609" fontAlgn="base">
              <a:spcBef>
                <a:spcPct val="0"/>
              </a:spcBef>
              <a:spcAft>
                <a:spcPct val="0"/>
              </a:spcAft>
            </a:pPr>
            <a:endParaRPr lang="en-US" sz="1700" dirty="0">
              <a:gradFill>
                <a:gsLst>
                  <a:gs pos="0">
                    <a:srgbClr val="FFFFFF"/>
                  </a:gs>
                  <a:gs pos="100000">
                    <a:srgbClr val="FFFFFF"/>
                  </a:gs>
                </a:gsLst>
                <a:lin ang="5400000" scaled="0"/>
              </a:gradFill>
            </a:endParaRPr>
          </a:p>
        </p:txBody>
      </p:sp>
      <p:pic>
        <p:nvPicPr>
          <p:cNvPr id="41026" name="Picture 66"/>
          <p:cNvPicPr>
            <a:picLocks noChangeAspect="1" noChangeArrowheads="1"/>
          </p:cNvPicPr>
          <p:nvPr/>
        </p:nvPicPr>
        <p:blipFill rotWithShape="1">
          <a:blip r:embed="rId18" cstate="print">
            <a:extLst>
              <a:ext uri="{28A0092B-C50C-407E-A947-70E740481C1C}">
                <a14:useLocalDpi xmlns:a14="http://schemas.microsoft.com/office/drawing/2010/main" val="0"/>
              </a:ext>
            </a:extLst>
          </a:blip>
          <a:srcRect b="64861"/>
          <a:stretch/>
        </p:blipFill>
        <p:spPr bwMode="auto">
          <a:xfrm>
            <a:off x="3905267" y="1329974"/>
            <a:ext cx="1312411" cy="11729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 name="Picture 66"/>
          <p:cNvPicPr>
            <a:picLocks noChangeAspect="1" noChangeArrowheads="1"/>
          </p:cNvPicPr>
          <p:nvPr/>
        </p:nvPicPr>
        <p:blipFill rotWithShape="1">
          <a:blip r:embed="rId18" cstate="print">
            <a:extLst>
              <a:ext uri="{28A0092B-C50C-407E-A947-70E740481C1C}">
                <a14:useLocalDpi xmlns:a14="http://schemas.microsoft.com/office/drawing/2010/main" val="0"/>
              </a:ext>
            </a:extLst>
          </a:blip>
          <a:srcRect b="64861"/>
          <a:stretch/>
        </p:blipFill>
        <p:spPr bwMode="auto">
          <a:xfrm>
            <a:off x="3905267" y="3088256"/>
            <a:ext cx="1312411" cy="11729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Rectangle 12"/>
          <p:cNvSpPr/>
          <p:nvPr/>
        </p:nvSpPr>
        <p:spPr>
          <a:xfrm>
            <a:off x="2286597" y="2121628"/>
            <a:ext cx="4570809" cy="288539"/>
          </a:xfrm>
          <a:prstGeom prst="rect">
            <a:avLst/>
          </a:prstGeom>
        </p:spPr>
        <p:txBody>
          <a:bodyPr lIns="68586" tIns="34294" rIns="68586" bIns="34294">
            <a:spAutoFit/>
          </a:bodyPr>
          <a:lstStyle/>
          <a:p>
            <a:endParaRPr lang="en-US" dirty="0"/>
          </a:p>
        </p:txBody>
      </p:sp>
      <p:sp>
        <p:nvSpPr>
          <p:cNvPr id="17"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8"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9"/>
              </a:rPr>
              <a:t>www.rapidbbs.cn</a:t>
            </a:r>
            <a:endParaRPr lang="zh-CN" altLang="en-US" sz="1200" b="0">
              <a:latin typeface="Arial" charset="0"/>
              <a:ea typeface="ＭＳ Ｐゴシック" pitchFamily="34" charset="-128"/>
            </a:endParaRPr>
          </a:p>
        </p:txBody>
      </p:sp>
    </p:spTree>
    <p:extLst>
      <p:ext uri="{BB962C8B-B14F-4D97-AF65-F5344CB8AC3E}">
        <p14:creationId xmlns:p14="http://schemas.microsoft.com/office/powerpoint/2010/main" val="3710566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41026"/>
                                        </p:tgtEl>
                                        <p:attrNameLst>
                                          <p:attrName>style.visibility</p:attrName>
                                        </p:attrNameLst>
                                      </p:cBhvr>
                                      <p:to>
                                        <p:strVal val="visible"/>
                                      </p:to>
                                    </p:set>
                                    <p:animEffect transition="in" filter="fade">
                                      <p:cBhvr>
                                        <p:cTn id="21" dur="500"/>
                                        <p:tgtEl>
                                          <p:spTgt spid="41026"/>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xit" presetSubtype="32" fill="hold" nodeType="clickEffect">
                                  <p:stCondLst>
                                    <p:cond delay="0"/>
                                  </p:stCondLst>
                                  <p:childTnLst>
                                    <p:anim calcmode="lin" valueType="num">
                                      <p:cBhvr>
                                        <p:cTn id="25" dur="500"/>
                                        <p:tgtEl>
                                          <p:spTgt spid="41026"/>
                                        </p:tgtEl>
                                        <p:attrNameLst>
                                          <p:attrName>ppt_w</p:attrName>
                                        </p:attrNameLst>
                                      </p:cBhvr>
                                      <p:tavLst>
                                        <p:tav tm="0">
                                          <p:val>
                                            <p:strVal val="ppt_w"/>
                                          </p:val>
                                        </p:tav>
                                        <p:tav tm="100000">
                                          <p:val>
                                            <p:fltVal val="0"/>
                                          </p:val>
                                        </p:tav>
                                      </p:tavLst>
                                    </p:anim>
                                    <p:anim calcmode="lin" valueType="num">
                                      <p:cBhvr>
                                        <p:cTn id="26" dur="500"/>
                                        <p:tgtEl>
                                          <p:spTgt spid="41026"/>
                                        </p:tgtEl>
                                        <p:attrNameLst>
                                          <p:attrName>ppt_h</p:attrName>
                                        </p:attrNameLst>
                                      </p:cBhvr>
                                      <p:tavLst>
                                        <p:tav tm="0">
                                          <p:val>
                                            <p:strVal val="ppt_h"/>
                                          </p:val>
                                        </p:tav>
                                        <p:tav tm="100000">
                                          <p:val>
                                            <p:fltVal val="0"/>
                                          </p:val>
                                        </p:tav>
                                      </p:tavLst>
                                    </p:anim>
                                    <p:animEffect transition="out" filter="fade">
                                      <p:cBhvr>
                                        <p:cTn id="27" dur="500"/>
                                        <p:tgtEl>
                                          <p:spTgt spid="41026"/>
                                        </p:tgtEl>
                                      </p:cBhvr>
                                    </p:animEffect>
                                    <p:set>
                                      <p:cBhvr>
                                        <p:cTn id="28" dur="1" fill="hold">
                                          <p:stCondLst>
                                            <p:cond delay="499"/>
                                          </p:stCondLst>
                                        </p:cTn>
                                        <p:tgtEl>
                                          <p:spTgt spid="41026"/>
                                        </p:tgtEl>
                                        <p:attrNameLst>
                                          <p:attrName>style.visibility</p:attrName>
                                        </p:attrNameLst>
                                      </p:cBhvr>
                                      <p:to>
                                        <p:strVal val="hidden"/>
                                      </p:to>
                                    </p:set>
                                  </p:childTnLst>
                                </p:cTn>
                              </p:par>
                              <p:par>
                                <p:cTn id="29" presetID="10" presetClass="entr" presetSubtype="0" fill="hold" grpId="0" nodeType="with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fade">
                                      <p:cBhvr>
                                        <p:cTn id="31" dur="500"/>
                                        <p:tgtEl>
                                          <p:spTgt spid="12"/>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10"/>
                                        </p:tgtEl>
                                        <p:attrNameLst>
                                          <p:attrName>style.visibility</p:attrName>
                                        </p:attrNameLst>
                                      </p:cBhvr>
                                      <p:to>
                                        <p:strVal val="visible"/>
                                      </p:to>
                                    </p:set>
                                    <p:animEffect transition="in" filter="fade">
                                      <p:cBhvr>
                                        <p:cTn id="36" dur="500"/>
                                        <p:tgtEl>
                                          <p:spTgt spid="10"/>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6"/>
                                        </p:tgtEl>
                                        <p:attrNameLst>
                                          <p:attrName>style.visibility</p:attrName>
                                        </p:attrNameLst>
                                      </p:cBhvr>
                                      <p:to>
                                        <p:strVal val="visible"/>
                                      </p:to>
                                    </p:set>
                                    <p:animEffect transition="in" filter="fade">
                                      <p:cBhvr>
                                        <p:cTn id="39" dur="500"/>
                                        <p:tgtEl>
                                          <p:spTgt spid="6"/>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7"/>
                                        </p:tgtEl>
                                        <p:attrNameLst>
                                          <p:attrName>style.visibility</p:attrName>
                                        </p:attrNameLst>
                                      </p:cBhvr>
                                      <p:to>
                                        <p:strVal val="visible"/>
                                      </p:to>
                                    </p:set>
                                    <p:animEffect transition="in" filter="fade">
                                      <p:cBhvr>
                                        <p:cTn id="42" dur="500"/>
                                        <p:tgtEl>
                                          <p:spTgt spid="7"/>
                                        </p:tgtEl>
                                      </p:cBhvr>
                                    </p:animEffect>
                                  </p:childTnLst>
                                </p:cTn>
                              </p:par>
                            </p:childTnLst>
                          </p:cTn>
                        </p:par>
                        <p:par>
                          <p:cTn id="43" fill="hold">
                            <p:stCondLst>
                              <p:cond delay="500"/>
                            </p:stCondLst>
                            <p:childTnLst>
                              <p:par>
                                <p:cTn id="44" presetID="10" presetClass="entr" presetSubtype="0" fill="hold" grpId="0" nodeType="afterEffect">
                                  <p:stCondLst>
                                    <p:cond delay="0"/>
                                  </p:stCondLst>
                                  <p:childTnLst>
                                    <p:set>
                                      <p:cBhvr>
                                        <p:cTn id="45" dur="1" fill="hold">
                                          <p:stCondLst>
                                            <p:cond delay="0"/>
                                          </p:stCondLst>
                                        </p:cTn>
                                        <p:tgtEl>
                                          <p:spTgt spid="11"/>
                                        </p:tgtEl>
                                        <p:attrNameLst>
                                          <p:attrName>style.visibility</p:attrName>
                                        </p:attrNameLst>
                                      </p:cBhvr>
                                      <p:to>
                                        <p:strVal val="visible"/>
                                      </p:to>
                                    </p:set>
                                    <p:animEffect transition="in" filter="fade">
                                      <p:cBhvr>
                                        <p:cTn id="46" dur="500"/>
                                        <p:tgtEl>
                                          <p:spTgt spid="11"/>
                                        </p:tgtEl>
                                      </p:cBhvr>
                                    </p:animEffect>
                                  </p:childTnLst>
                                </p:cTn>
                              </p:par>
                            </p:childTnLst>
                          </p:cTn>
                        </p:par>
                        <p:par>
                          <p:cTn id="47" fill="hold">
                            <p:stCondLst>
                              <p:cond delay="1000"/>
                            </p:stCondLst>
                            <p:childTnLst>
                              <p:par>
                                <p:cTn id="48" presetID="10" presetClass="entr" presetSubtype="0" fill="hold" nodeType="afterEffect">
                                  <p:stCondLst>
                                    <p:cond delay="0"/>
                                  </p:stCondLst>
                                  <p:childTnLst>
                                    <p:set>
                                      <p:cBhvr>
                                        <p:cTn id="49" dur="1" fill="hold">
                                          <p:stCondLst>
                                            <p:cond delay="0"/>
                                          </p:stCondLst>
                                        </p:cTn>
                                        <p:tgtEl>
                                          <p:spTgt spid="25"/>
                                        </p:tgtEl>
                                        <p:attrNameLst>
                                          <p:attrName>style.visibility</p:attrName>
                                        </p:attrNameLst>
                                      </p:cBhvr>
                                      <p:to>
                                        <p:strVal val="visible"/>
                                      </p:to>
                                    </p:set>
                                    <p:animEffect transition="in" filter="fade">
                                      <p:cBhvr>
                                        <p:cTn id="50" dur="500"/>
                                        <p:tgtEl>
                                          <p:spTgt spid="25"/>
                                        </p:tgtEl>
                                      </p:cBhvr>
                                    </p:animEffect>
                                  </p:childTnLst>
                                </p:cTn>
                              </p:par>
                            </p:childTnLst>
                          </p:cTn>
                        </p:par>
                      </p:childTnLst>
                    </p:cTn>
                  </p:par>
                  <p:par>
                    <p:cTn id="51" fill="hold">
                      <p:stCondLst>
                        <p:cond delay="indefinite"/>
                      </p:stCondLst>
                      <p:childTnLst>
                        <p:par>
                          <p:cTn id="52" fill="hold">
                            <p:stCondLst>
                              <p:cond delay="0"/>
                            </p:stCondLst>
                            <p:childTnLst>
                              <p:par>
                                <p:cTn id="53" presetID="53" presetClass="exit" presetSubtype="32" fill="hold" nodeType="clickEffect">
                                  <p:stCondLst>
                                    <p:cond delay="0"/>
                                  </p:stCondLst>
                                  <p:childTnLst>
                                    <p:anim calcmode="lin" valueType="num">
                                      <p:cBhvr>
                                        <p:cTn id="54" dur="500"/>
                                        <p:tgtEl>
                                          <p:spTgt spid="25"/>
                                        </p:tgtEl>
                                        <p:attrNameLst>
                                          <p:attrName>ppt_w</p:attrName>
                                        </p:attrNameLst>
                                      </p:cBhvr>
                                      <p:tavLst>
                                        <p:tav tm="0">
                                          <p:val>
                                            <p:strVal val="ppt_w"/>
                                          </p:val>
                                        </p:tav>
                                        <p:tav tm="100000">
                                          <p:val>
                                            <p:fltVal val="0"/>
                                          </p:val>
                                        </p:tav>
                                      </p:tavLst>
                                    </p:anim>
                                    <p:anim calcmode="lin" valueType="num">
                                      <p:cBhvr>
                                        <p:cTn id="55" dur="500"/>
                                        <p:tgtEl>
                                          <p:spTgt spid="25"/>
                                        </p:tgtEl>
                                        <p:attrNameLst>
                                          <p:attrName>ppt_h</p:attrName>
                                        </p:attrNameLst>
                                      </p:cBhvr>
                                      <p:tavLst>
                                        <p:tav tm="0">
                                          <p:val>
                                            <p:strVal val="ppt_h"/>
                                          </p:val>
                                        </p:tav>
                                        <p:tav tm="100000">
                                          <p:val>
                                            <p:fltVal val="0"/>
                                          </p:val>
                                        </p:tav>
                                      </p:tavLst>
                                    </p:anim>
                                    <p:animEffect transition="out" filter="fade">
                                      <p:cBhvr>
                                        <p:cTn id="56" dur="500"/>
                                        <p:tgtEl>
                                          <p:spTgt spid="25"/>
                                        </p:tgtEl>
                                      </p:cBhvr>
                                    </p:animEffect>
                                    <p:set>
                                      <p:cBhvr>
                                        <p:cTn id="57" dur="1" fill="hold">
                                          <p:stCondLst>
                                            <p:cond delay="499"/>
                                          </p:stCondLst>
                                        </p:cTn>
                                        <p:tgtEl>
                                          <p:spTgt spid="25"/>
                                        </p:tgtEl>
                                        <p:attrNameLst>
                                          <p:attrName>style.visibility</p:attrName>
                                        </p:attrNameLst>
                                      </p:cBhvr>
                                      <p:to>
                                        <p:strVal val="hidden"/>
                                      </p:to>
                                    </p:set>
                                  </p:childTnLst>
                                </p:cTn>
                              </p:par>
                              <p:par>
                                <p:cTn id="58" presetID="10" presetClass="entr" presetSubtype="0" fill="hold" grpId="0" nodeType="withEffect">
                                  <p:stCondLst>
                                    <p:cond delay="0"/>
                                  </p:stCondLst>
                                  <p:childTnLst>
                                    <p:set>
                                      <p:cBhvr>
                                        <p:cTn id="59" dur="1" fill="hold">
                                          <p:stCondLst>
                                            <p:cond delay="0"/>
                                          </p:stCondLst>
                                        </p:cTn>
                                        <p:tgtEl>
                                          <p:spTgt spid="14"/>
                                        </p:tgtEl>
                                        <p:attrNameLst>
                                          <p:attrName>style.visibility</p:attrName>
                                        </p:attrNameLst>
                                      </p:cBhvr>
                                      <p:to>
                                        <p:strVal val="visible"/>
                                      </p:to>
                                    </p:set>
                                    <p:animEffect transition="in" filter="fade">
                                      <p:cBhvr>
                                        <p:cTn id="60"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6" grpId="0" animBg="1"/>
      <p:bldP spid="7" grpId="0"/>
      <p:bldP spid="8" grpId="0" animBg="1"/>
      <p:bldP spid="9" grpId="0" animBg="1"/>
      <p:bldP spid="10" grpId="0" animBg="1"/>
      <p:bldP spid="11" grpId="0" animBg="1"/>
      <p:bldP spid="12" grpId="0" animBg="1"/>
      <p:bldP spid="14" grpId="0" animBg="1"/>
    </p:bldLst>
  </p:timing>
</p:sld>
</file>

<file path=ppt/slides/slide4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388247" y="1308448"/>
            <a:ext cx="8371083" cy="300637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80" rIns="68559" bIns="34280" numCol="1" spcCol="0" rtlCol="0" anchor="ctr" anchorCtr="0" compatLnSpc="1">
            <a:prstTxWarp prst="textNoShape">
              <a:avLst/>
            </a:prstTxWarp>
          </a:bodyPr>
          <a:lstStyle/>
          <a:p>
            <a:pPr algn="ctr" defTabSz="685403"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2" name="Rounded Rectangle 21"/>
          <p:cNvSpPr/>
          <p:nvPr/>
        </p:nvSpPr>
        <p:spPr bwMode="auto">
          <a:xfrm>
            <a:off x="568078" y="2138786"/>
            <a:ext cx="3913413" cy="1948840"/>
          </a:xfrm>
          <a:prstGeom prst="roundRect">
            <a:avLst>
              <a:gd name="adj" fmla="val 0"/>
            </a:avLst>
          </a:prstGeom>
          <a:solidFill>
            <a:schemeClr val="accent2"/>
          </a:solidFill>
          <a:ln w="9525" cap="flat" cmpd="sng" algn="ctr">
            <a:noFill/>
            <a:prstDash val="solid"/>
          </a:ln>
          <a:effectLst/>
        </p:spPr>
        <p:txBody>
          <a:bodyPr lIns="68586" tIns="34294" rIns="68586" bIns="34294" rtlCol="0" anchor="t" anchorCtr="0"/>
          <a:lstStyle/>
          <a:p>
            <a:pPr algn="ctr" defTabSz="914286"/>
            <a:r>
              <a:rPr lang="en-US" sz="1100" dirty="0">
                <a:solidFill>
                  <a:srgbClr val="FFFFFF">
                    <a:alpha val="99000"/>
                  </a:srgbClr>
                </a:solidFill>
                <a:ea typeface="Segoe UI" pitchFamily="34" charset="0"/>
                <a:cs typeface="Segoe UI" pitchFamily="34" charset="0"/>
              </a:rPr>
              <a:t> </a:t>
            </a:r>
          </a:p>
        </p:txBody>
      </p:sp>
      <p:sp>
        <p:nvSpPr>
          <p:cNvPr id="28" name="Rounded Rectangle 27"/>
          <p:cNvSpPr/>
          <p:nvPr/>
        </p:nvSpPr>
        <p:spPr bwMode="auto">
          <a:xfrm>
            <a:off x="4666087" y="2138786"/>
            <a:ext cx="3913413" cy="1948840"/>
          </a:xfrm>
          <a:prstGeom prst="roundRect">
            <a:avLst>
              <a:gd name="adj" fmla="val 0"/>
            </a:avLst>
          </a:prstGeom>
          <a:solidFill>
            <a:schemeClr val="accent2"/>
          </a:solidFill>
          <a:ln w="9525" cap="flat" cmpd="sng" algn="ctr">
            <a:noFill/>
            <a:prstDash val="solid"/>
          </a:ln>
          <a:effectLst/>
        </p:spPr>
        <p:txBody>
          <a:bodyPr lIns="68586" tIns="34294" rIns="68586" bIns="34294" rtlCol="0" anchor="t" anchorCtr="0"/>
          <a:lstStyle/>
          <a:p>
            <a:pPr algn="ctr" defTabSz="914286"/>
            <a:r>
              <a:rPr lang="en-US" sz="1100" dirty="0">
                <a:solidFill>
                  <a:srgbClr val="FFFFFF">
                    <a:alpha val="99000"/>
                  </a:srgbClr>
                </a:solidFill>
                <a:ea typeface="Segoe UI" pitchFamily="34" charset="0"/>
                <a:cs typeface="Segoe UI" pitchFamily="34" charset="0"/>
              </a:rPr>
              <a:t> </a:t>
            </a:r>
          </a:p>
        </p:txBody>
      </p:sp>
      <p:sp>
        <p:nvSpPr>
          <p:cNvPr id="21" name="TextBox 20"/>
          <p:cNvSpPr txBox="1"/>
          <p:nvPr/>
        </p:nvSpPr>
        <p:spPr>
          <a:xfrm>
            <a:off x="958108" y="1437037"/>
            <a:ext cx="7231358" cy="530915"/>
          </a:xfrm>
          <a:prstGeom prst="rect">
            <a:avLst/>
          </a:prstGeom>
          <a:noFill/>
        </p:spPr>
        <p:txBody>
          <a:bodyPr wrap="square" lIns="68586" tIns="34294" rIns="68586" bIns="34294" rtlCol="0">
            <a:spAutoFit/>
          </a:bodyPr>
          <a:lstStyle/>
          <a:p>
            <a:pPr algn="ctr" defTabSz="914324"/>
            <a:r>
              <a:rPr lang="en-US" sz="3000" spc="-75" dirty="0">
                <a:gradFill>
                  <a:gsLst>
                    <a:gs pos="0">
                      <a:srgbClr val="595959"/>
                    </a:gs>
                    <a:gs pos="86000">
                      <a:srgbClr val="595959"/>
                    </a:gs>
                  </a:gsLst>
                  <a:lin ang="5400000" scaled="0"/>
                </a:gradFill>
                <a:latin typeface="Segoe UI Light" pitchFamily="34" charset="0"/>
              </a:rPr>
              <a:t>Two forms of communication with devices</a:t>
            </a:r>
          </a:p>
        </p:txBody>
      </p:sp>
      <p:sp>
        <p:nvSpPr>
          <p:cNvPr id="2" name="Title 1"/>
          <p:cNvSpPr>
            <a:spLocks noGrp="1"/>
          </p:cNvSpPr>
          <p:nvPr>
            <p:ph type="title"/>
          </p:nvPr>
        </p:nvSpPr>
        <p:spPr/>
        <p:txBody>
          <a:bodyPr/>
          <a:lstStyle/>
          <a:p>
            <a:r>
              <a:rPr lang="en-US" smtClean="0"/>
              <a:t>Communications</a:t>
            </a:r>
            <a:endParaRPr lang="en-US" dirty="0"/>
          </a:p>
        </p:txBody>
      </p:sp>
      <p:sp>
        <p:nvSpPr>
          <p:cNvPr id="18" name="TextBox 17"/>
          <p:cNvSpPr txBox="1"/>
          <p:nvPr/>
        </p:nvSpPr>
        <p:spPr>
          <a:xfrm>
            <a:off x="1137941" y="3605978"/>
            <a:ext cx="2616200" cy="415499"/>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p>
            <a:pPr algn="ctr" defTabSz="914324"/>
            <a:r>
              <a:rPr lang="en-US" sz="2700" dirty="0">
                <a:solidFill>
                  <a:srgbClr val="FFFFFF">
                    <a:alpha val="99000"/>
                  </a:srgbClr>
                </a:solidFill>
              </a:rPr>
              <a:t>Device-initiated</a:t>
            </a:r>
            <a:endParaRPr lang="en-US" sz="1200" dirty="0">
              <a:solidFill>
                <a:srgbClr val="FFFFFF">
                  <a:alpha val="99000"/>
                </a:srgbClr>
              </a:solidFill>
            </a:endParaRPr>
          </a:p>
        </p:txBody>
      </p:sp>
      <p:sp>
        <p:nvSpPr>
          <p:cNvPr id="27" name="TextBox 26"/>
          <p:cNvSpPr txBox="1"/>
          <p:nvPr/>
        </p:nvSpPr>
        <p:spPr>
          <a:xfrm>
            <a:off x="5235949" y="3605978"/>
            <a:ext cx="2616200" cy="415499"/>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p>
            <a:pPr algn="ctr" defTabSz="914324"/>
            <a:r>
              <a:rPr lang="en-US" sz="2700" dirty="0">
                <a:solidFill>
                  <a:srgbClr val="FFFFFF">
                    <a:alpha val="99000"/>
                  </a:srgbClr>
                </a:solidFill>
              </a:rPr>
              <a:t>Cloud-initiated</a:t>
            </a:r>
          </a:p>
        </p:txBody>
      </p:sp>
      <p:grpSp>
        <p:nvGrpSpPr>
          <p:cNvPr id="43" name="Group 42"/>
          <p:cNvGrpSpPr/>
          <p:nvPr/>
        </p:nvGrpSpPr>
        <p:grpSpPr>
          <a:xfrm>
            <a:off x="5287450" y="2399917"/>
            <a:ext cx="2670687" cy="899288"/>
            <a:chOff x="1277145" y="3199890"/>
            <a:chExt cx="3559989" cy="1199050"/>
          </a:xfrm>
        </p:grpSpPr>
        <p:sp>
          <p:nvSpPr>
            <p:cNvPr id="31" name="Freeform 7"/>
            <p:cNvSpPr>
              <a:spLocks/>
            </p:cNvSpPr>
            <p:nvPr/>
          </p:nvSpPr>
          <p:spPr bwMode="auto">
            <a:xfrm>
              <a:off x="1277145" y="3199890"/>
              <a:ext cx="2247105" cy="1199050"/>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24"/>
              <a:endParaRPr lang="en-US" sz="1800">
                <a:solidFill>
                  <a:srgbClr val="292929"/>
                </a:solidFill>
              </a:endParaRPr>
            </a:p>
          </p:txBody>
        </p:sp>
        <p:sp>
          <p:nvSpPr>
            <p:cNvPr id="32" name="Freeform 99"/>
            <p:cNvSpPr>
              <a:spLocks/>
            </p:cNvSpPr>
            <p:nvPr/>
          </p:nvSpPr>
          <p:spPr bwMode="black">
            <a:xfrm>
              <a:off x="3496114" y="3308050"/>
              <a:ext cx="1341020" cy="982729"/>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defTabSz="914324"/>
              <a:endParaRPr lang="en-US" sz="1800">
                <a:solidFill>
                  <a:srgbClr val="292929"/>
                </a:solidFill>
              </a:endParaRPr>
            </a:p>
          </p:txBody>
        </p:sp>
      </p:grpSp>
      <p:grpSp>
        <p:nvGrpSpPr>
          <p:cNvPr id="42" name="Group 41"/>
          <p:cNvGrpSpPr/>
          <p:nvPr/>
        </p:nvGrpSpPr>
        <p:grpSpPr>
          <a:xfrm>
            <a:off x="790149" y="2481037"/>
            <a:ext cx="3440689" cy="818168"/>
            <a:chOff x="6494330" y="3308050"/>
            <a:chExt cx="4586390" cy="1090890"/>
          </a:xfrm>
        </p:grpSpPr>
        <p:grpSp>
          <p:nvGrpSpPr>
            <p:cNvPr id="40" name="Group 39"/>
            <p:cNvGrpSpPr/>
            <p:nvPr/>
          </p:nvGrpSpPr>
          <p:grpSpPr>
            <a:xfrm>
              <a:off x="6494330" y="3308050"/>
              <a:ext cx="3279068" cy="1090890"/>
              <a:chOff x="2718479" y="1405333"/>
              <a:chExt cx="1210997" cy="402878"/>
            </a:xfrm>
          </p:grpSpPr>
          <p:grpSp>
            <p:nvGrpSpPr>
              <p:cNvPr id="33" name="Group 32"/>
              <p:cNvGrpSpPr/>
              <p:nvPr/>
            </p:nvGrpSpPr>
            <p:grpSpPr bwMode="black">
              <a:xfrm>
                <a:off x="2718479" y="1405333"/>
                <a:ext cx="408356" cy="402878"/>
                <a:chOff x="2916435" y="3914152"/>
                <a:chExt cx="930763" cy="918513"/>
              </a:xfrm>
            </p:grpSpPr>
            <p:pic>
              <p:nvPicPr>
                <p:cNvPr id="34" name="Picture 33"/>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35"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40" tIns="45720" rIns="91440" bIns="45720" numCol="1" anchor="t" anchorCtr="0" compatLnSpc="1">
                  <a:prstTxWarp prst="textNoShape">
                    <a:avLst/>
                  </a:prstTxWarp>
                </a:bodyPr>
                <a:lstStyle/>
                <a:p>
                  <a:pPr defTabSz="914324"/>
                  <a:endParaRPr lang="en-US" sz="700" dirty="0">
                    <a:solidFill>
                      <a:srgbClr val="FFFFFF"/>
                    </a:solidFill>
                  </a:endParaRPr>
                </a:p>
              </p:txBody>
            </p:sp>
          </p:grpSp>
          <p:sp>
            <p:nvSpPr>
              <p:cNvPr id="36" name="Freeform 20"/>
              <p:cNvSpPr>
                <a:spLocks noEditPoints="1"/>
              </p:cNvSpPr>
              <p:nvPr/>
            </p:nvSpPr>
            <p:spPr bwMode="black">
              <a:xfrm>
                <a:off x="3184647" y="1411891"/>
                <a:ext cx="508115" cy="35326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305" tIns="41153" rIns="82305" bIns="41153" numCol="1" anchor="t" anchorCtr="0" compatLnSpc="1">
                <a:prstTxWarp prst="textNoShape">
                  <a:avLst/>
                </a:prstTxWarp>
              </a:bodyPr>
              <a:lstStyle/>
              <a:p>
                <a:pPr defTabSz="914324"/>
                <a:endParaRPr lang="en-US" sz="700" dirty="0">
                  <a:solidFill>
                    <a:srgbClr val="FFFFFF"/>
                  </a:solidFill>
                </a:endParaRPr>
              </a:p>
            </p:txBody>
          </p:sp>
          <p:grpSp>
            <p:nvGrpSpPr>
              <p:cNvPr id="37" name="Group 36"/>
              <p:cNvGrpSpPr/>
              <p:nvPr/>
            </p:nvGrpSpPr>
            <p:grpSpPr>
              <a:xfrm>
                <a:off x="3745682" y="1415325"/>
                <a:ext cx="183794" cy="351019"/>
                <a:chOff x="-498475" y="1609726"/>
                <a:chExt cx="950913" cy="1816099"/>
              </a:xfrm>
            </p:grpSpPr>
            <p:sp>
              <p:nvSpPr>
                <p:cNvPr id="38" name="Freeform 17"/>
                <p:cNvSpPr>
                  <a:spLocks/>
                </p:cNvSpPr>
                <p:nvPr/>
              </p:nvSpPr>
              <p:spPr bwMode="auto">
                <a:xfrm>
                  <a:off x="247650" y="3240088"/>
                  <a:ext cx="47625" cy="44450"/>
                </a:xfrm>
                <a:custGeom>
                  <a:avLst/>
                  <a:gdLst>
                    <a:gd name="T0" fmla="*/ 7 w 12"/>
                    <a:gd name="T1" fmla="*/ 0 h 11"/>
                    <a:gd name="T2" fmla="*/ 6 w 12"/>
                    <a:gd name="T3" fmla="*/ 0 h 11"/>
                    <a:gd name="T4" fmla="*/ 1 w 12"/>
                    <a:gd name="T5" fmla="*/ 4 h 11"/>
                    <a:gd name="T6" fmla="*/ 5 w 12"/>
                    <a:gd name="T7" fmla="*/ 11 h 11"/>
                    <a:gd name="T8" fmla="*/ 6 w 12"/>
                    <a:gd name="T9" fmla="*/ 11 h 11"/>
                    <a:gd name="T10" fmla="*/ 12 w 12"/>
                    <a:gd name="T11" fmla="*/ 7 h 11"/>
                    <a:gd name="T12" fmla="*/ 11 w 12"/>
                    <a:gd name="T13" fmla="*/ 2 h 11"/>
                    <a:gd name="T14" fmla="*/ 7 w 12"/>
                    <a:gd name="T15" fmla="*/ 0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1">
                      <a:moveTo>
                        <a:pt x="7" y="0"/>
                      </a:moveTo>
                      <a:cubicBezTo>
                        <a:pt x="7" y="0"/>
                        <a:pt x="7" y="0"/>
                        <a:pt x="6" y="0"/>
                      </a:cubicBezTo>
                      <a:cubicBezTo>
                        <a:pt x="4" y="0"/>
                        <a:pt x="1" y="2"/>
                        <a:pt x="1" y="4"/>
                      </a:cubicBezTo>
                      <a:cubicBezTo>
                        <a:pt x="0" y="7"/>
                        <a:pt x="2" y="10"/>
                        <a:pt x="5" y="11"/>
                      </a:cubicBezTo>
                      <a:cubicBezTo>
                        <a:pt x="5" y="11"/>
                        <a:pt x="6" y="11"/>
                        <a:pt x="6" y="11"/>
                      </a:cubicBezTo>
                      <a:cubicBezTo>
                        <a:pt x="9" y="11"/>
                        <a:pt x="11" y="9"/>
                        <a:pt x="12" y="7"/>
                      </a:cubicBezTo>
                      <a:cubicBezTo>
                        <a:pt x="12" y="5"/>
                        <a:pt x="12" y="4"/>
                        <a:pt x="11" y="2"/>
                      </a:cubicBezTo>
                      <a:cubicBezTo>
                        <a:pt x="10" y="1"/>
                        <a:pt x="9" y="0"/>
                        <a:pt x="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24"/>
                  <a:endParaRPr lang="en-US" sz="1800">
                    <a:solidFill>
                      <a:srgbClr val="292929"/>
                    </a:solidFill>
                  </a:endParaRPr>
                </a:p>
              </p:txBody>
            </p:sp>
            <p:sp>
              <p:nvSpPr>
                <p:cNvPr id="39" name="Freeform 18"/>
                <p:cNvSpPr>
                  <a:spLocks noEditPoints="1"/>
                </p:cNvSpPr>
                <p:nvPr/>
              </p:nvSpPr>
              <p:spPr bwMode="auto">
                <a:xfrm>
                  <a:off x="-498475" y="1609726"/>
                  <a:ext cx="950913" cy="1816099"/>
                </a:xfrm>
                <a:custGeom>
                  <a:avLst/>
                  <a:gdLst>
                    <a:gd name="T0" fmla="*/ 15 w 240"/>
                    <a:gd name="T1" fmla="*/ 0 h 458"/>
                    <a:gd name="T2" fmla="*/ 0 w 240"/>
                    <a:gd name="T3" fmla="*/ 444 h 458"/>
                    <a:gd name="T4" fmla="*/ 225 w 240"/>
                    <a:gd name="T5" fmla="*/ 458 h 458"/>
                    <a:gd name="T6" fmla="*/ 240 w 240"/>
                    <a:gd name="T7" fmla="*/ 14 h 458"/>
                    <a:gd name="T8" fmla="*/ 67 w 240"/>
                    <a:gd name="T9" fmla="*/ 420 h 458"/>
                    <a:gd name="T10" fmla="*/ 57 w 240"/>
                    <a:gd name="T11" fmla="*/ 428 h 458"/>
                    <a:gd name="T12" fmla="*/ 38 w 240"/>
                    <a:gd name="T13" fmla="*/ 417 h 458"/>
                    <a:gd name="T14" fmla="*/ 57 w 240"/>
                    <a:gd name="T15" fmla="*/ 406 h 458"/>
                    <a:gd name="T16" fmla="*/ 67 w 240"/>
                    <a:gd name="T17" fmla="*/ 414 h 458"/>
                    <a:gd name="T18" fmla="*/ 106 w 240"/>
                    <a:gd name="T19" fmla="*/ 427 h 458"/>
                    <a:gd name="T20" fmla="*/ 106 w 240"/>
                    <a:gd name="T21" fmla="*/ 426 h 458"/>
                    <a:gd name="T22" fmla="*/ 109 w 240"/>
                    <a:gd name="T23" fmla="*/ 417 h 458"/>
                    <a:gd name="T24" fmla="*/ 117 w 240"/>
                    <a:gd name="T25" fmla="*/ 428 h 458"/>
                    <a:gd name="T26" fmla="*/ 109 w 240"/>
                    <a:gd name="T27" fmla="*/ 415 h 458"/>
                    <a:gd name="T28" fmla="*/ 124 w 240"/>
                    <a:gd name="T29" fmla="*/ 405 h 458"/>
                    <a:gd name="T30" fmla="*/ 109 w 240"/>
                    <a:gd name="T31" fmla="*/ 415 h 458"/>
                    <a:gd name="T32" fmla="*/ 119 w 240"/>
                    <a:gd name="T33" fmla="*/ 429 h 458"/>
                    <a:gd name="T34" fmla="*/ 133 w 240"/>
                    <a:gd name="T35" fmla="*/ 419 h 458"/>
                    <a:gd name="T36" fmla="*/ 137 w 240"/>
                    <a:gd name="T37" fmla="*/ 407 h 458"/>
                    <a:gd name="T38" fmla="*/ 122 w 240"/>
                    <a:gd name="T39" fmla="*/ 416 h 458"/>
                    <a:gd name="T40" fmla="*/ 136 w 240"/>
                    <a:gd name="T41" fmla="*/ 407 h 458"/>
                    <a:gd name="T42" fmla="*/ 137 w 240"/>
                    <a:gd name="T43" fmla="*/ 407 h 458"/>
                    <a:gd name="T44" fmla="*/ 202 w 240"/>
                    <a:gd name="T45" fmla="*/ 418 h 458"/>
                    <a:gd name="T46" fmla="*/ 192 w 240"/>
                    <a:gd name="T47" fmla="*/ 424 h 458"/>
                    <a:gd name="T48" fmla="*/ 184 w 240"/>
                    <a:gd name="T49" fmla="*/ 429 h 458"/>
                    <a:gd name="T50" fmla="*/ 181 w 240"/>
                    <a:gd name="T51" fmla="*/ 429 h 458"/>
                    <a:gd name="T52" fmla="*/ 187 w 240"/>
                    <a:gd name="T53" fmla="*/ 420 h 458"/>
                    <a:gd name="T54" fmla="*/ 194 w 240"/>
                    <a:gd name="T55" fmla="*/ 408 h 458"/>
                    <a:gd name="T56" fmla="*/ 201 w 240"/>
                    <a:gd name="T57" fmla="*/ 412 h 458"/>
                    <a:gd name="T58" fmla="*/ 217 w 240"/>
                    <a:gd name="T59" fmla="*/ 361 h 458"/>
                    <a:gd name="T60" fmla="*/ 23 w 240"/>
                    <a:gd name="T61" fmla="*/ 37 h 458"/>
                    <a:gd name="T62" fmla="*/ 217 w 240"/>
                    <a:gd name="T63" fmla="*/ 361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458">
                      <a:moveTo>
                        <a:pt x="225" y="0"/>
                      </a:moveTo>
                      <a:cubicBezTo>
                        <a:pt x="15" y="0"/>
                        <a:pt x="15" y="0"/>
                        <a:pt x="15" y="0"/>
                      </a:cubicBezTo>
                      <a:cubicBezTo>
                        <a:pt x="7" y="0"/>
                        <a:pt x="0" y="6"/>
                        <a:pt x="0" y="14"/>
                      </a:cubicBezTo>
                      <a:cubicBezTo>
                        <a:pt x="0" y="444"/>
                        <a:pt x="0" y="444"/>
                        <a:pt x="0" y="444"/>
                      </a:cubicBezTo>
                      <a:cubicBezTo>
                        <a:pt x="0" y="452"/>
                        <a:pt x="7" y="458"/>
                        <a:pt x="15" y="458"/>
                      </a:cubicBezTo>
                      <a:cubicBezTo>
                        <a:pt x="225" y="458"/>
                        <a:pt x="225" y="458"/>
                        <a:pt x="225" y="458"/>
                      </a:cubicBezTo>
                      <a:cubicBezTo>
                        <a:pt x="233" y="458"/>
                        <a:pt x="240" y="452"/>
                        <a:pt x="240" y="444"/>
                      </a:cubicBezTo>
                      <a:cubicBezTo>
                        <a:pt x="240" y="14"/>
                        <a:pt x="240" y="14"/>
                        <a:pt x="240" y="14"/>
                      </a:cubicBezTo>
                      <a:cubicBezTo>
                        <a:pt x="240" y="6"/>
                        <a:pt x="233" y="0"/>
                        <a:pt x="225" y="0"/>
                      </a:cubicBezTo>
                      <a:close/>
                      <a:moveTo>
                        <a:pt x="67" y="420"/>
                      </a:moveTo>
                      <a:cubicBezTo>
                        <a:pt x="48" y="420"/>
                        <a:pt x="48" y="420"/>
                        <a:pt x="48" y="420"/>
                      </a:cubicBezTo>
                      <a:cubicBezTo>
                        <a:pt x="57" y="428"/>
                        <a:pt x="57" y="428"/>
                        <a:pt x="57" y="428"/>
                      </a:cubicBezTo>
                      <a:cubicBezTo>
                        <a:pt x="49" y="428"/>
                        <a:pt x="49" y="428"/>
                        <a:pt x="49" y="428"/>
                      </a:cubicBezTo>
                      <a:cubicBezTo>
                        <a:pt x="38" y="417"/>
                        <a:pt x="38" y="417"/>
                        <a:pt x="38" y="417"/>
                      </a:cubicBezTo>
                      <a:cubicBezTo>
                        <a:pt x="49" y="406"/>
                        <a:pt x="49" y="406"/>
                        <a:pt x="49" y="406"/>
                      </a:cubicBezTo>
                      <a:cubicBezTo>
                        <a:pt x="57" y="406"/>
                        <a:pt x="57" y="406"/>
                        <a:pt x="57" y="406"/>
                      </a:cubicBezTo>
                      <a:cubicBezTo>
                        <a:pt x="48" y="414"/>
                        <a:pt x="48" y="414"/>
                        <a:pt x="48" y="414"/>
                      </a:cubicBezTo>
                      <a:cubicBezTo>
                        <a:pt x="67" y="414"/>
                        <a:pt x="67" y="414"/>
                        <a:pt x="67" y="414"/>
                      </a:cubicBezTo>
                      <a:lnTo>
                        <a:pt x="67" y="420"/>
                      </a:lnTo>
                      <a:close/>
                      <a:moveTo>
                        <a:pt x="106" y="427"/>
                      </a:moveTo>
                      <a:cubicBezTo>
                        <a:pt x="106" y="427"/>
                        <a:pt x="106" y="427"/>
                        <a:pt x="106" y="427"/>
                      </a:cubicBezTo>
                      <a:cubicBezTo>
                        <a:pt x="106" y="427"/>
                        <a:pt x="106" y="427"/>
                        <a:pt x="106" y="426"/>
                      </a:cubicBezTo>
                      <a:cubicBezTo>
                        <a:pt x="106" y="426"/>
                        <a:pt x="106" y="426"/>
                        <a:pt x="106" y="426"/>
                      </a:cubicBezTo>
                      <a:cubicBezTo>
                        <a:pt x="109" y="417"/>
                        <a:pt x="109" y="417"/>
                        <a:pt x="109" y="417"/>
                      </a:cubicBezTo>
                      <a:cubicBezTo>
                        <a:pt x="115" y="414"/>
                        <a:pt x="118" y="415"/>
                        <a:pt x="120" y="417"/>
                      </a:cubicBezTo>
                      <a:cubicBezTo>
                        <a:pt x="117" y="428"/>
                        <a:pt x="117" y="428"/>
                        <a:pt x="117" y="428"/>
                      </a:cubicBezTo>
                      <a:cubicBezTo>
                        <a:pt x="115" y="426"/>
                        <a:pt x="112" y="424"/>
                        <a:pt x="106" y="427"/>
                      </a:cubicBezTo>
                      <a:close/>
                      <a:moveTo>
                        <a:pt x="109" y="415"/>
                      </a:moveTo>
                      <a:cubicBezTo>
                        <a:pt x="112" y="404"/>
                        <a:pt x="112" y="404"/>
                        <a:pt x="112" y="404"/>
                      </a:cubicBezTo>
                      <a:cubicBezTo>
                        <a:pt x="118" y="402"/>
                        <a:pt x="121" y="403"/>
                        <a:pt x="124" y="405"/>
                      </a:cubicBezTo>
                      <a:cubicBezTo>
                        <a:pt x="121" y="415"/>
                        <a:pt x="121" y="415"/>
                        <a:pt x="121" y="415"/>
                      </a:cubicBezTo>
                      <a:cubicBezTo>
                        <a:pt x="118" y="414"/>
                        <a:pt x="115" y="412"/>
                        <a:pt x="109" y="415"/>
                      </a:cubicBezTo>
                      <a:close/>
                      <a:moveTo>
                        <a:pt x="130" y="429"/>
                      </a:moveTo>
                      <a:cubicBezTo>
                        <a:pt x="124" y="432"/>
                        <a:pt x="122" y="430"/>
                        <a:pt x="119" y="429"/>
                      </a:cubicBezTo>
                      <a:cubicBezTo>
                        <a:pt x="122" y="418"/>
                        <a:pt x="122" y="418"/>
                        <a:pt x="122" y="418"/>
                      </a:cubicBezTo>
                      <a:cubicBezTo>
                        <a:pt x="125" y="420"/>
                        <a:pt x="127" y="421"/>
                        <a:pt x="133" y="419"/>
                      </a:cubicBezTo>
                      <a:lnTo>
                        <a:pt x="130" y="429"/>
                      </a:lnTo>
                      <a:close/>
                      <a:moveTo>
                        <a:pt x="137" y="407"/>
                      </a:moveTo>
                      <a:cubicBezTo>
                        <a:pt x="134" y="417"/>
                        <a:pt x="134" y="417"/>
                        <a:pt x="134" y="417"/>
                      </a:cubicBezTo>
                      <a:cubicBezTo>
                        <a:pt x="128" y="420"/>
                        <a:pt x="125" y="418"/>
                        <a:pt x="122" y="416"/>
                      </a:cubicBezTo>
                      <a:cubicBezTo>
                        <a:pt x="125" y="406"/>
                        <a:pt x="125" y="406"/>
                        <a:pt x="125" y="406"/>
                      </a:cubicBezTo>
                      <a:cubicBezTo>
                        <a:pt x="128" y="408"/>
                        <a:pt x="131" y="409"/>
                        <a:pt x="136" y="407"/>
                      </a:cubicBezTo>
                      <a:cubicBezTo>
                        <a:pt x="136" y="407"/>
                        <a:pt x="137" y="407"/>
                        <a:pt x="137" y="407"/>
                      </a:cubicBezTo>
                      <a:cubicBezTo>
                        <a:pt x="137" y="407"/>
                        <a:pt x="137" y="407"/>
                        <a:pt x="137" y="407"/>
                      </a:cubicBezTo>
                      <a:cubicBezTo>
                        <a:pt x="137" y="407"/>
                        <a:pt x="137" y="407"/>
                        <a:pt x="137" y="407"/>
                      </a:cubicBezTo>
                      <a:close/>
                      <a:moveTo>
                        <a:pt x="202" y="418"/>
                      </a:moveTo>
                      <a:cubicBezTo>
                        <a:pt x="201" y="422"/>
                        <a:pt x="198" y="424"/>
                        <a:pt x="194" y="424"/>
                      </a:cubicBezTo>
                      <a:cubicBezTo>
                        <a:pt x="194" y="424"/>
                        <a:pt x="193" y="424"/>
                        <a:pt x="192" y="424"/>
                      </a:cubicBezTo>
                      <a:cubicBezTo>
                        <a:pt x="191" y="424"/>
                        <a:pt x="191" y="424"/>
                        <a:pt x="190" y="423"/>
                      </a:cubicBezTo>
                      <a:cubicBezTo>
                        <a:pt x="184" y="429"/>
                        <a:pt x="184" y="429"/>
                        <a:pt x="184" y="429"/>
                      </a:cubicBezTo>
                      <a:cubicBezTo>
                        <a:pt x="184" y="430"/>
                        <a:pt x="183" y="430"/>
                        <a:pt x="183" y="430"/>
                      </a:cubicBezTo>
                      <a:cubicBezTo>
                        <a:pt x="182" y="430"/>
                        <a:pt x="182" y="430"/>
                        <a:pt x="181" y="429"/>
                      </a:cubicBezTo>
                      <a:cubicBezTo>
                        <a:pt x="180" y="429"/>
                        <a:pt x="180" y="427"/>
                        <a:pt x="181" y="427"/>
                      </a:cubicBezTo>
                      <a:cubicBezTo>
                        <a:pt x="187" y="420"/>
                        <a:pt x="187" y="420"/>
                        <a:pt x="187" y="420"/>
                      </a:cubicBezTo>
                      <a:cubicBezTo>
                        <a:pt x="186" y="419"/>
                        <a:pt x="186" y="417"/>
                        <a:pt x="186" y="414"/>
                      </a:cubicBezTo>
                      <a:cubicBezTo>
                        <a:pt x="187" y="411"/>
                        <a:pt x="190" y="408"/>
                        <a:pt x="194" y="408"/>
                      </a:cubicBezTo>
                      <a:cubicBezTo>
                        <a:pt x="195" y="408"/>
                        <a:pt x="195" y="408"/>
                        <a:pt x="196" y="409"/>
                      </a:cubicBezTo>
                      <a:cubicBezTo>
                        <a:pt x="198" y="409"/>
                        <a:pt x="200" y="410"/>
                        <a:pt x="201" y="412"/>
                      </a:cubicBezTo>
                      <a:cubicBezTo>
                        <a:pt x="202" y="414"/>
                        <a:pt x="203" y="416"/>
                        <a:pt x="202" y="418"/>
                      </a:cubicBezTo>
                      <a:close/>
                      <a:moveTo>
                        <a:pt x="217" y="361"/>
                      </a:moveTo>
                      <a:cubicBezTo>
                        <a:pt x="23" y="361"/>
                        <a:pt x="23" y="361"/>
                        <a:pt x="23" y="361"/>
                      </a:cubicBezTo>
                      <a:cubicBezTo>
                        <a:pt x="23" y="37"/>
                        <a:pt x="23" y="37"/>
                        <a:pt x="23" y="37"/>
                      </a:cubicBezTo>
                      <a:cubicBezTo>
                        <a:pt x="217" y="37"/>
                        <a:pt x="217" y="37"/>
                        <a:pt x="217" y="37"/>
                      </a:cubicBezTo>
                      <a:lnTo>
                        <a:pt x="217" y="3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24"/>
                  <a:endParaRPr lang="en-US" sz="1800">
                    <a:solidFill>
                      <a:srgbClr val="292929"/>
                    </a:solidFill>
                  </a:endParaRPr>
                </a:p>
              </p:txBody>
            </p:sp>
          </p:grpSp>
        </p:grpSp>
        <p:sp>
          <p:nvSpPr>
            <p:cNvPr id="41" name="Freeform 99"/>
            <p:cNvSpPr>
              <a:spLocks/>
            </p:cNvSpPr>
            <p:nvPr/>
          </p:nvSpPr>
          <p:spPr bwMode="black">
            <a:xfrm>
              <a:off x="9739700" y="3308050"/>
              <a:ext cx="1341020" cy="982729"/>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defTabSz="914324"/>
              <a:endParaRPr lang="en-US" sz="1800">
                <a:solidFill>
                  <a:srgbClr val="292929"/>
                </a:solidFill>
              </a:endParaRPr>
            </a:p>
          </p:txBody>
        </p:sp>
      </p:grpSp>
      <p:sp>
        <p:nvSpPr>
          <p:cNvPr id="23"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4"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4"/>
              </a:rPr>
              <a:t>www.rapidbbs.cn</a:t>
            </a:r>
            <a:endParaRPr lang="zh-CN" altLang="en-US" sz="1200" b="0">
              <a:latin typeface="Arial" charset="0"/>
              <a:ea typeface="ＭＳ Ｐゴシック" pitchFamily="34" charset="-128"/>
            </a:endParaRPr>
          </a:p>
        </p:txBody>
      </p:sp>
      <p:pic>
        <p:nvPicPr>
          <p:cNvPr id="25" name="Picture 2">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22483560"/>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par>
    </p:tnLst>
  </p:timing>
</p:sld>
</file>

<file path=ppt/slides/slide4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p:cNvGrpSpPr/>
          <p:nvPr/>
        </p:nvGrpSpPr>
        <p:grpSpPr>
          <a:xfrm>
            <a:off x="4386625" y="467038"/>
            <a:ext cx="1422788" cy="1329482"/>
            <a:chOff x="5665775" y="2466267"/>
            <a:chExt cx="1896557" cy="1772642"/>
          </a:xfrm>
        </p:grpSpPr>
        <p:sp>
          <p:nvSpPr>
            <p:cNvPr id="17" name="Rectangle 16"/>
            <p:cNvSpPr/>
            <p:nvPr/>
          </p:nvSpPr>
          <p:spPr bwMode="auto">
            <a:xfrm>
              <a:off x="5665775" y="2466267"/>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666" fontAlgn="base">
                <a:spcBef>
                  <a:spcPct val="0"/>
                </a:spcBef>
                <a:spcAft>
                  <a:spcPct val="0"/>
                </a:spcAft>
              </a:pPr>
              <a:r>
                <a:rPr lang="en-US" dirty="0" smtClean="0">
                  <a:gradFill>
                    <a:gsLst>
                      <a:gs pos="0">
                        <a:srgbClr val="FFFFFF"/>
                      </a:gs>
                      <a:gs pos="100000">
                        <a:srgbClr val="FFFFFF"/>
                      </a:gs>
                    </a:gsLst>
                    <a:lin ang="5400000" scaled="0"/>
                  </a:gradFill>
                </a:rPr>
                <a:t>storage</a:t>
              </a:r>
            </a:p>
          </p:txBody>
        </p:sp>
        <p:pic>
          <p:nvPicPr>
            <p:cNvPr id="1026" name="Picture 2" descr="C:\Users\Jonahs\Dropbox\Projects SCOTT\MEET Windows Azure\source\Background\tile-icon-storag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 name="Group 1"/>
          <p:cNvGrpSpPr/>
          <p:nvPr/>
        </p:nvGrpSpPr>
        <p:grpSpPr>
          <a:xfrm>
            <a:off x="4379899" y="1849700"/>
            <a:ext cx="1422788" cy="1329482"/>
            <a:chOff x="1685919" y="596839"/>
            <a:chExt cx="1896557" cy="1772642"/>
          </a:xfrm>
        </p:grpSpPr>
        <p:sp>
          <p:nvSpPr>
            <p:cNvPr id="8" name="Rectangle 7"/>
            <p:cNvSpPr/>
            <p:nvPr/>
          </p:nvSpPr>
          <p:spPr bwMode="auto">
            <a:xfrm>
              <a:off x="1685919" y="596839"/>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666" fontAlgn="base">
                <a:spcBef>
                  <a:spcPct val="0"/>
                </a:spcBef>
                <a:spcAft>
                  <a:spcPct val="0"/>
                </a:spcAft>
              </a:pPr>
              <a:r>
                <a:rPr lang="en-US" dirty="0" smtClean="0">
                  <a:gradFill>
                    <a:gsLst>
                      <a:gs pos="0">
                        <a:srgbClr val="FFFFFF"/>
                      </a:gs>
                      <a:gs pos="100000">
                        <a:srgbClr val="FFFFFF"/>
                      </a:gs>
                    </a:gsLst>
                    <a:lin ang="5400000" scaled="0"/>
                  </a:gradFill>
                </a:rPr>
                <a:t>big data</a:t>
              </a:r>
            </a:p>
          </p:txBody>
        </p:sp>
        <p:pic>
          <p:nvPicPr>
            <p:cNvPr id="1027" name="Picture 3" descr="C:\Users\Jonahs\Dropbox\Projects SCOTT\MEET Windows Azure\source\Background\tile-icon-bigdata.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52075"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6" name="Group 35"/>
          <p:cNvGrpSpPr/>
          <p:nvPr/>
        </p:nvGrpSpPr>
        <p:grpSpPr>
          <a:xfrm>
            <a:off x="5856957" y="1849700"/>
            <a:ext cx="1422788" cy="1329482"/>
            <a:chOff x="3671322" y="4341709"/>
            <a:chExt cx="1896557" cy="1772642"/>
          </a:xfrm>
        </p:grpSpPr>
        <p:sp>
          <p:nvSpPr>
            <p:cNvPr id="26" name="Rectangle 25"/>
            <p:cNvSpPr/>
            <p:nvPr/>
          </p:nvSpPr>
          <p:spPr bwMode="auto">
            <a:xfrm>
              <a:off x="3671322" y="4341709"/>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666" fontAlgn="base">
                <a:spcBef>
                  <a:spcPct val="0"/>
                </a:spcBef>
                <a:spcAft>
                  <a:spcPct val="0"/>
                </a:spcAft>
              </a:pPr>
              <a:r>
                <a:rPr lang="en-US" dirty="0" smtClean="0">
                  <a:gradFill>
                    <a:gsLst>
                      <a:gs pos="0">
                        <a:srgbClr val="FFFFFF"/>
                      </a:gs>
                      <a:gs pos="100000">
                        <a:srgbClr val="FFFFFF"/>
                      </a:gs>
                    </a:gsLst>
                    <a:lin ang="5400000" scaled="0"/>
                  </a:gradFill>
                </a:rPr>
                <a:t>caching</a:t>
              </a:r>
            </a:p>
          </p:txBody>
        </p:sp>
        <p:pic>
          <p:nvPicPr>
            <p:cNvPr id="1028" name="Picture 4" descr="C:\Users\Jonahs\Dropbox\Projects SCOTT\MEET Windows Azure\source\Background\tile-icon-cach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93856" y="464308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oup 37"/>
          <p:cNvGrpSpPr/>
          <p:nvPr/>
        </p:nvGrpSpPr>
        <p:grpSpPr>
          <a:xfrm>
            <a:off x="7343218" y="3238314"/>
            <a:ext cx="1422788" cy="1329482"/>
            <a:chOff x="5656726" y="4341709"/>
            <a:chExt cx="1896557" cy="1772642"/>
          </a:xfrm>
        </p:grpSpPr>
        <p:sp>
          <p:nvSpPr>
            <p:cNvPr id="29" name="Rectangle 28"/>
            <p:cNvSpPr/>
            <p:nvPr/>
          </p:nvSpPr>
          <p:spPr bwMode="auto">
            <a:xfrm>
              <a:off x="5656726" y="4341709"/>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666" fontAlgn="base">
                <a:spcBef>
                  <a:spcPct val="0"/>
                </a:spcBef>
                <a:spcAft>
                  <a:spcPct val="0"/>
                </a:spcAft>
              </a:pPr>
              <a:r>
                <a:rPr lang="en-US" dirty="0" smtClean="0">
                  <a:gradFill>
                    <a:gsLst>
                      <a:gs pos="0">
                        <a:srgbClr val="FFFFFF"/>
                      </a:gs>
                      <a:gs pos="100000">
                        <a:srgbClr val="FFFFFF"/>
                      </a:gs>
                    </a:gsLst>
                    <a:lin ang="5400000" scaled="0"/>
                  </a:gradFill>
                </a:rPr>
                <a:t>CDN</a:t>
              </a:r>
            </a:p>
          </p:txBody>
        </p:sp>
        <p:pic>
          <p:nvPicPr>
            <p:cNvPr id="1029" name="Picture 5" descr="C:\Users\Jonahs\Dropbox\Projects SCOTT\MEET Windows Azure\source\Background\tile-icon-CDN.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79260"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p:cNvGrpSpPr/>
          <p:nvPr/>
        </p:nvGrpSpPr>
        <p:grpSpPr>
          <a:xfrm>
            <a:off x="5854114" y="3238314"/>
            <a:ext cx="1422788" cy="1329482"/>
            <a:chOff x="3671323" y="596839"/>
            <a:chExt cx="1896557" cy="1772642"/>
          </a:xfrm>
        </p:grpSpPr>
        <p:sp>
          <p:nvSpPr>
            <p:cNvPr id="11" name="Rectangle 10"/>
            <p:cNvSpPr/>
            <p:nvPr/>
          </p:nvSpPr>
          <p:spPr bwMode="auto">
            <a:xfrm>
              <a:off x="3671323" y="596839"/>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666" fontAlgn="base">
                <a:spcBef>
                  <a:spcPct val="0"/>
                </a:spcBef>
                <a:spcAft>
                  <a:spcPct val="0"/>
                </a:spcAft>
              </a:pPr>
              <a:r>
                <a:rPr lang="en-US" dirty="0" smtClean="0">
                  <a:gradFill>
                    <a:gsLst>
                      <a:gs pos="0">
                        <a:srgbClr val="FFFFFF"/>
                      </a:gs>
                      <a:gs pos="100000">
                        <a:srgbClr val="FFFFFF"/>
                      </a:gs>
                    </a:gsLst>
                    <a:lin ang="5400000" scaled="0"/>
                  </a:gradFill>
                </a:rPr>
                <a:t>database</a:t>
              </a:r>
            </a:p>
          </p:txBody>
        </p:sp>
        <p:pic>
          <p:nvPicPr>
            <p:cNvPr id="1030" name="Picture 6" descr="C:\Users\Jonahs\Dropbox\Projects SCOTT\MEET Windows Azure\source\Background\tile-icon-database.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93856"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2894727" y="472876"/>
            <a:ext cx="1422788" cy="1329482"/>
            <a:chOff x="9645631" y="2476591"/>
            <a:chExt cx="1896557" cy="1772642"/>
          </a:xfrm>
        </p:grpSpPr>
        <p:sp>
          <p:nvSpPr>
            <p:cNvPr id="23" name="Rectangle 22"/>
            <p:cNvSpPr/>
            <p:nvPr/>
          </p:nvSpPr>
          <p:spPr bwMode="auto">
            <a:xfrm>
              <a:off x="9645631" y="2476591"/>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666" fontAlgn="base">
                <a:spcBef>
                  <a:spcPct val="0"/>
                </a:spcBef>
                <a:spcAft>
                  <a:spcPct val="0"/>
                </a:spcAft>
              </a:pPr>
              <a:r>
                <a:rPr lang="en-US" dirty="0" smtClean="0">
                  <a:gradFill>
                    <a:gsLst>
                      <a:gs pos="0">
                        <a:srgbClr val="FFFFFF"/>
                      </a:gs>
                      <a:gs pos="100000">
                        <a:srgbClr val="FFFFFF"/>
                      </a:gs>
                    </a:gsLst>
                    <a:lin ang="5400000" scaled="0"/>
                  </a:gradFill>
                </a:rPr>
                <a:t>identity</a:t>
              </a:r>
            </a:p>
          </p:txBody>
        </p:sp>
        <p:pic>
          <p:nvPicPr>
            <p:cNvPr id="1031" name="Picture 7" descr="C:\Users\Jonahs\Dropbox\Projects SCOTT\MEET Windows Azure\source\Background\tile-icon-identity.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168165" y="270556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Group 4"/>
          <p:cNvGrpSpPr/>
          <p:nvPr/>
        </p:nvGrpSpPr>
        <p:grpSpPr>
          <a:xfrm>
            <a:off x="4367616" y="3238314"/>
            <a:ext cx="1422788" cy="1329482"/>
            <a:chOff x="5665775" y="596839"/>
            <a:chExt cx="1896557" cy="1772642"/>
          </a:xfrm>
        </p:grpSpPr>
        <p:sp>
          <p:nvSpPr>
            <p:cNvPr id="14" name="Rectangle 13"/>
            <p:cNvSpPr/>
            <p:nvPr/>
          </p:nvSpPr>
          <p:spPr bwMode="auto">
            <a:xfrm>
              <a:off x="5665775" y="596839"/>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666" fontAlgn="base">
                <a:spcBef>
                  <a:spcPct val="0"/>
                </a:spcBef>
                <a:spcAft>
                  <a:spcPct val="0"/>
                </a:spcAft>
              </a:pPr>
              <a:r>
                <a:rPr lang="en-US" dirty="0" smtClean="0">
                  <a:gradFill>
                    <a:gsLst>
                      <a:gs pos="0">
                        <a:srgbClr val="FFFFFF"/>
                      </a:gs>
                      <a:gs pos="100000">
                        <a:srgbClr val="FFFFFF"/>
                      </a:gs>
                    </a:gsLst>
                    <a:lin ang="5400000" scaled="0"/>
                  </a:gradFill>
                </a:rPr>
                <a:t>media</a:t>
              </a:r>
            </a:p>
          </p:txBody>
        </p:sp>
        <p:pic>
          <p:nvPicPr>
            <p:cNvPr id="1032" name="Picture 8" descr="C:\Users\Jonahs\Dropbox\Projects SCOTT\MEET Windows Azure\source\Background\tile-icon-media.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88309" y="89821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5" name="Group 34"/>
          <p:cNvGrpSpPr/>
          <p:nvPr/>
        </p:nvGrpSpPr>
        <p:grpSpPr>
          <a:xfrm>
            <a:off x="7337084" y="1849700"/>
            <a:ext cx="1422788" cy="1329482"/>
            <a:chOff x="7651179" y="2466267"/>
            <a:chExt cx="1896557" cy="1772642"/>
          </a:xfrm>
        </p:grpSpPr>
        <p:sp>
          <p:nvSpPr>
            <p:cNvPr id="20" name="Rectangle 19"/>
            <p:cNvSpPr/>
            <p:nvPr/>
          </p:nvSpPr>
          <p:spPr bwMode="auto">
            <a:xfrm>
              <a:off x="7651179" y="2466267"/>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666" fontAlgn="base">
                <a:spcBef>
                  <a:spcPct val="0"/>
                </a:spcBef>
                <a:spcAft>
                  <a:spcPct val="0"/>
                </a:spcAft>
              </a:pPr>
              <a:r>
                <a:rPr lang="en-US" dirty="0" smtClean="0">
                  <a:gradFill>
                    <a:gsLst>
                      <a:gs pos="0">
                        <a:srgbClr val="FFFFFF"/>
                      </a:gs>
                      <a:gs pos="100000">
                        <a:srgbClr val="FFFFFF"/>
                      </a:gs>
                    </a:gsLst>
                    <a:lin ang="5400000" scaled="0"/>
                  </a:gradFill>
                </a:rPr>
                <a:t>messaging</a:t>
              </a:r>
            </a:p>
          </p:txBody>
        </p:sp>
        <p:pic>
          <p:nvPicPr>
            <p:cNvPr id="1033" name="Picture 9" descr="C:\Users\Jonahs\Dropbox\Projects SCOTT\MEET Windows Azure\source\Background\tile-icon-messaging.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173712"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4" name="Group 33"/>
          <p:cNvGrpSpPr/>
          <p:nvPr/>
        </p:nvGrpSpPr>
        <p:grpSpPr>
          <a:xfrm>
            <a:off x="2896704" y="1849700"/>
            <a:ext cx="1422788" cy="1329482"/>
            <a:chOff x="7651178" y="4341709"/>
            <a:chExt cx="1896557" cy="1772642"/>
          </a:xfrm>
        </p:grpSpPr>
        <p:sp>
          <p:nvSpPr>
            <p:cNvPr id="32" name="Rectangle 31"/>
            <p:cNvSpPr/>
            <p:nvPr/>
          </p:nvSpPr>
          <p:spPr bwMode="auto">
            <a:xfrm>
              <a:off x="7651178" y="4341709"/>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666" fontAlgn="base">
                <a:spcBef>
                  <a:spcPct val="0"/>
                </a:spcBef>
                <a:spcAft>
                  <a:spcPct val="0"/>
                </a:spcAft>
              </a:pPr>
              <a:r>
                <a:rPr lang="en-US" dirty="0" smtClean="0">
                  <a:gradFill>
                    <a:gsLst>
                      <a:gs pos="0">
                        <a:srgbClr val="FFFFFF"/>
                      </a:gs>
                      <a:gs pos="100000">
                        <a:srgbClr val="FFFFFF"/>
                      </a:gs>
                    </a:gsLst>
                    <a:lin ang="5400000" scaled="0"/>
                  </a:gradFill>
                </a:rPr>
                <a:t>networking</a:t>
              </a:r>
            </a:p>
          </p:txBody>
        </p:sp>
        <p:pic>
          <p:nvPicPr>
            <p:cNvPr id="1034" name="Picture 10" descr="C:\Users\Jonahs\Dropbox\Projects SCOTT\MEET Windows Azure\source\Background\tile-icon-network.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173712"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oup 29"/>
          <p:cNvGrpSpPr/>
          <p:nvPr/>
        </p:nvGrpSpPr>
        <p:grpSpPr>
          <a:xfrm>
            <a:off x="5868284" y="467038"/>
            <a:ext cx="1422788" cy="1329482"/>
            <a:chOff x="5665775" y="2466267"/>
            <a:chExt cx="1896557" cy="1772642"/>
          </a:xfrm>
        </p:grpSpPr>
        <p:sp>
          <p:nvSpPr>
            <p:cNvPr id="31" name="Rectangle 30"/>
            <p:cNvSpPr/>
            <p:nvPr/>
          </p:nvSpPr>
          <p:spPr bwMode="auto">
            <a:xfrm>
              <a:off x="5665775" y="2466267"/>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666" fontAlgn="base">
                <a:spcBef>
                  <a:spcPct val="0"/>
                </a:spcBef>
                <a:spcAft>
                  <a:spcPct val="0"/>
                </a:spcAft>
              </a:pPr>
              <a:r>
                <a:rPr lang="en-US" dirty="0" smtClean="0">
                  <a:gradFill>
                    <a:gsLst>
                      <a:gs pos="0">
                        <a:srgbClr val="FFFFFF"/>
                      </a:gs>
                      <a:gs pos="100000">
                        <a:srgbClr val="FFFFFF"/>
                      </a:gs>
                    </a:gsLst>
                    <a:lin ang="5400000" scaled="0"/>
                  </a:gradFill>
                </a:rPr>
                <a:t>traffic</a:t>
              </a:r>
            </a:p>
          </p:txBody>
        </p:sp>
        <p:pic>
          <p:nvPicPr>
            <p:cNvPr id="33" name="Picture 2"/>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sp>
        <p:nvSpPr>
          <p:cNvPr id="39" name="Title 1"/>
          <p:cNvSpPr txBox="1">
            <a:spLocks/>
          </p:cNvSpPr>
          <p:nvPr/>
        </p:nvSpPr>
        <p:spPr>
          <a:xfrm>
            <a:off x="496662" y="3258005"/>
            <a:ext cx="3846678" cy="1384995"/>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816878" algn="l"/>
              </a:tabLst>
            </a:pPr>
            <a:r>
              <a:rPr lang="en-US" sz="5000" dirty="0">
                <a:solidFill>
                  <a:schemeClr val="tx1"/>
                </a:solidFill>
              </a:rPr>
              <a:t>application building blocks</a:t>
            </a:r>
            <a:endParaRPr lang="en-US" sz="5000" dirty="0">
              <a:solidFill>
                <a:schemeClr val="tx1"/>
              </a:solidFill>
            </a:endParaRPr>
          </a:p>
        </p:txBody>
      </p:sp>
      <p:grpSp>
        <p:nvGrpSpPr>
          <p:cNvPr id="4" name="Group 3"/>
          <p:cNvGrpSpPr/>
          <p:nvPr/>
        </p:nvGrpSpPr>
        <p:grpSpPr>
          <a:xfrm>
            <a:off x="1411721" y="472876"/>
            <a:ext cx="1422788" cy="1329482"/>
            <a:chOff x="0" y="2236359"/>
            <a:chExt cx="1896557" cy="1772642"/>
          </a:xfrm>
        </p:grpSpPr>
        <p:sp>
          <p:nvSpPr>
            <p:cNvPr id="42" name="Rectangle 41"/>
            <p:cNvSpPr/>
            <p:nvPr/>
          </p:nvSpPr>
          <p:spPr bwMode="auto">
            <a:xfrm>
              <a:off x="0" y="2236359"/>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666" fontAlgn="base">
                <a:spcBef>
                  <a:spcPct val="0"/>
                </a:spcBef>
                <a:spcAft>
                  <a:spcPct val="0"/>
                </a:spcAft>
              </a:pPr>
              <a:r>
                <a:rPr lang="en-US" sz="1200" dirty="0">
                  <a:gradFill>
                    <a:gsLst>
                      <a:gs pos="0">
                        <a:srgbClr val="FFFFFF"/>
                      </a:gs>
                      <a:gs pos="100000">
                        <a:srgbClr val="FFFFFF"/>
                      </a:gs>
                    </a:gsLst>
                    <a:lin ang="5400000" scaled="0"/>
                  </a:gradFill>
                </a:rPr>
                <a:t>virtual machines</a:t>
              </a:r>
            </a:p>
          </p:txBody>
        </p:sp>
        <p:pic>
          <p:nvPicPr>
            <p:cNvPr id="40" name="Picture 7" descr="C:\Users\jonahs\Documents\Dropbox\Projects SCOTT\MEET Windows Azure\source\Background\Service-Icon-VM.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23388" y="2504507"/>
              <a:ext cx="849779" cy="84977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 name="Group 6"/>
          <p:cNvGrpSpPr/>
          <p:nvPr/>
        </p:nvGrpSpPr>
        <p:grpSpPr>
          <a:xfrm>
            <a:off x="1416578" y="1849700"/>
            <a:ext cx="1422788" cy="1329482"/>
            <a:chOff x="764274" y="3548424"/>
            <a:chExt cx="1896557" cy="1772642"/>
          </a:xfrm>
        </p:grpSpPr>
        <p:sp>
          <p:nvSpPr>
            <p:cNvPr id="45" name="Rectangle 44"/>
            <p:cNvSpPr/>
            <p:nvPr/>
          </p:nvSpPr>
          <p:spPr bwMode="auto">
            <a:xfrm>
              <a:off x="764274" y="3548424"/>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666" fontAlgn="base">
                <a:spcBef>
                  <a:spcPct val="0"/>
                </a:spcBef>
                <a:spcAft>
                  <a:spcPct val="0"/>
                </a:spcAft>
              </a:pPr>
              <a:r>
                <a:rPr lang="en-US" dirty="0" smtClean="0">
                  <a:gradFill>
                    <a:gsLst>
                      <a:gs pos="0">
                        <a:srgbClr val="FFFFFF"/>
                      </a:gs>
                      <a:gs pos="100000">
                        <a:srgbClr val="FFFFFF"/>
                      </a:gs>
                    </a:gsLst>
                    <a:lin ang="5400000" scaled="0"/>
                  </a:gradFill>
                </a:rPr>
                <a:t>web sites</a:t>
              </a:r>
            </a:p>
          </p:txBody>
        </p:sp>
        <p:pic>
          <p:nvPicPr>
            <p:cNvPr id="48" name="Picture 8" descr="C:\Users\jonahs\Documents\Dropbox\Projects SCOTT\MEET Windows Azure\source\Background\Service-Icon-Websites.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287661" y="3796000"/>
              <a:ext cx="849779" cy="849779"/>
            </a:xfrm>
            <a:prstGeom prst="rect">
              <a:avLst/>
            </a:prstGeom>
            <a:noFill/>
            <a:extLst>
              <a:ext uri="{909E8E84-426E-40DD-AFC4-6F175D3DCCD1}">
                <a14:hiddenFill xmlns:a14="http://schemas.microsoft.com/office/drawing/2010/main">
                  <a:solidFill>
                    <a:srgbClr val="FFFFFF"/>
                  </a:solidFill>
                </a14:hiddenFill>
              </a:ext>
            </a:extLst>
          </p:spPr>
        </p:pic>
      </p:grpSp>
      <p:sp>
        <p:nvSpPr>
          <p:cNvPr id="41"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43"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5"/>
              </a:rPr>
              <a:t>www.rapidbbs.cn</a:t>
            </a:r>
            <a:endParaRPr lang="zh-CN" altLang="en-US" sz="1200" b="0">
              <a:latin typeface="Arial" charset="0"/>
              <a:ea typeface="ＭＳ Ｐゴシック" pitchFamily="34" charset="-128"/>
            </a:endParaRPr>
          </a:p>
        </p:txBody>
      </p:sp>
      <p:pic>
        <p:nvPicPr>
          <p:cNvPr id="44" name="Picture 2">
            <a:hlinkClick r:id="rId15"/>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08358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re Data From: Internet, Internet of Things</a:t>
            </a:r>
            <a:endParaRPr lang="en-US" dirty="0"/>
          </a:p>
        </p:txBody>
      </p:sp>
      <p:grpSp>
        <p:nvGrpSpPr>
          <p:cNvPr id="9" name="Group 8"/>
          <p:cNvGrpSpPr/>
          <p:nvPr/>
        </p:nvGrpSpPr>
        <p:grpSpPr>
          <a:xfrm>
            <a:off x="872396" y="1076460"/>
            <a:ext cx="4860592" cy="3718102"/>
            <a:chOff x="1162892" y="1435280"/>
            <a:chExt cx="6479102" cy="4957469"/>
          </a:xfrm>
        </p:grpSpPr>
        <p:sp>
          <p:nvSpPr>
            <p:cNvPr id="3" name="Rectangle 2"/>
            <p:cNvSpPr/>
            <p:nvPr/>
          </p:nvSpPr>
          <p:spPr bwMode="auto">
            <a:xfrm>
              <a:off x="1162892" y="149996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685637" fontAlgn="base">
                <a:lnSpc>
                  <a:spcPct val="80000"/>
                </a:lnSpc>
                <a:spcBef>
                  <a:spcPct val="0"/>
                </a:spcBef>
                <a:spcAft>
                  <a:spcPct val="0"/>
                </a:spcAft>
              </a:pPr>
              <a:r>
                <a:rPr lang="en-US" sz="2400" b="1"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Internet of </a:t>
              </a:r>
              <a:r>
                <a:rPr lang="en-US" sz="2400" b="1"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things</a:t>
              </a:r>
            </a:p>
          </p:txBody>
        </p:sp>
        <p:sp>
          <p:nvSpPr>
            <p:cNvPr id="4" name="Rectangle 3"/>
            <p:cNvSpPr/>
            <p:nvPr/>
          </p:nvSpPr>
          <p:spPr bwMode="auto">
            <a:xfrm>
              <a:off x="1162892" y="317235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37" fontAlgn="base">
                <a:lnSpc>
                  <a:spcPct val="80000"/>
                </a:lnSpc>
                <a:spcBef>
                  <a:spcPct val="0"/>
                </a:spcBef>
                <a:spcAft>
                  <a:spcPct val="0"/>
                </a:spcAft>
              </a:pP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 name="Rectangle 4"/>
            <p:cNvSpPr/>
            <p:nvPr/>
          </p:nvSpPr>
          <p:spPr bwMode="auto">
            <a:xfrm>
              <a:off x="2811346" y="149996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37" fontAlgn="base">
                <a:lnSpc>
                  <a:spcPct val="80000"/>
                </a:lnSpc>
                <a:spcBef>
                  <a:spcPct val="0"/>
                </a:spcBef>
                <a:spcAft>
                  <a:spcPct val="0"/>
                </a:spcAft>
              </a:pP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 name="Rectangle 5"/>
            <p:cNvSpPr/>
            <p:nvPr/>
          </p:nvSpPr>
          <p:spPr bwMode="auto">
            <a:xfrm>
              <a:off x="4447514" y="317235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37" fontAlgn="base">
                <a:lnSpc>
                  <a:spcPct val="80000"/>
                </a:lnSpc>
                <a:spcBef>
                  <a:spcPct val="0"/>
                </a:spcBef>
                <a:spcAft>
                  <a:spcPct val="0"/>
                </a:spcAft>
              </a:pP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7" name="Rectangle 6"/>
            <p:cNvSpPr/>
            <p:nvPr/>
          </p:nvSpPr>
          <p:spPr bwMode="auto">
            <a:xfrm>
              <a:off x="2811346" y="317235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37" fontAlgn="base">
                <a:lnSpc>
                  <a:spcPct val="80000"/>
                </a:lnSpc>
                <a:spcBef>
                  <a:spcPct val="0"/>
                </a:spcBef>
                <a:spcAft>
                  <a:spcPct val="0"/>
                </a:spcAft>
              </a:pP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8" name="Rectangle 7"/>
            <p:cNvSpPr/>
            <p:nvPr/>
          </p:nvSpPr>
          <p:spPr bwMode="auto">
            <a:xfrm>
              <a:off x="4447514" y="149996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37" fontAlgn="base">
                <a:lnSpc>
                  <a:spcPct val="80000"/>
                </a:lnSpc>
                <a:spcBef>
                  <a:spcPct val="0"/>
                </a:spcBef>
                <a:spcAft>
                  <a:spcPct val="0"/>
                </a:spcAft>
              </a:pP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8" name="Rectangle 17"/>
            <p:cNvSpPr/>
            <p:nvPr/>
          </p:nvSpPr>
          <p:spPr bwMode="auto">
            <a:xfrm>
              <a:off x="6093994" y="1502762"/>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37" fontAlgn="base">
                <a:lnSpc>
                  <a:spcPct val="80000"/>
                </a:lnSpc>
                <a:spcBef>
                  <a:spcPct val="0"/>
                </a:spcBef>
                <a:spcAft>
                  <a:spcPct val="0"/>
                </a:spcAft>
              </a:pP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7" name="Rectangle 26"/>
            <p:cNvSpPr/>
            <p:nvPr/>
          </p:nvSpPr>
          <p:spPr bwMode="auto">
            <a:xfrm>
              <a:off x="2811346" y="2543968"/>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20" tIns="45720" rIns="45720" bIns="45720" numCol="1" rtlCol="0" anchor="ctr" anchorCtr="0" compatLnSpc="1">
              <a:prstTxWarp prst="textNoShape">
                <a:avLst/>
              </a:prstTxWarp>
            </a:bodyPr>
            <a:lstStyle/>
            <a:p>
              <a:pPr algn="ctr" defTabSz="685637" fontAlgn="base">
                <a:spcBef>
                  <a:spcPct val="0"/>
                </a:spcBef>
                <a:spcAft>
                  <a:spcPct val="0"/>
                </a:spcAft>
              </a:pPr>
              <a:r>
                <a:rPr lang="en-US" sz="1200" spc="-113" dirty="0">
                  <a:solidFill>
                    <a:schemeClr val="tx1">
                      <a:alpha val="99000"/>
                    </a:schemeClr>
                  </a:solidFill>
                </a:rPr>
                <a:t>Invisible devices</a:t>
              </a:r>
            </a:p>
          </p:txBody>
        </p:sp>
        <p:grpSp>
          <p:nvGrpSpPr>
            <p:cNvPr id="30" name="Group 29"/>
            <p:cNvGrpSpPr/>
            <p:nvPr/>
          </p:nvGrpSpPr>
          <p:grpSpPr>
            <a:xfrm>
              <a:off x="2854023" y="1435280"/>
              <a:ext cx="1303325" cy="1303325"/>
              <a:chOff x="2854023" y="1435280"/>
              <a:chExt cx="1303325" cy="1303325"/>
            </a:xfrm>
          </p:grpSpPr>
          <p:pic>
            <p:nvPicPr>
              <p:cNvPr id="29" name="Picture 9" descr="\\MAGNUM\Projects\Microsoft\Cloud Power FY12\Design\Icons\PNGs\Optimized.png"/>
              <p:cNvPicPr>
                <a:picLocks noChangeAspect="1" noChangeArrowheads="1"/>
              </p:cNvPicPr>
              <p:nvPr/>
            </p:nvPicPr>
            <p:blipFill>
              <a:blip r:embed="rId3" cstate="print">
                <a:lum bright="100000"/>
              </a:blip>
              <a:stretch>
                <a:fillRect/>
              </a:stretch>
            </p:blipFill>
            <p:spPr bwMode="auto">
              <a:xfrm>
                <a:off x="2854023" y="1435280"/>
                <a:ext cx="1303325" cy="1303325"/>
              </a:xfrm>
              <a:prstGeom prst="rect">
                <a:avLst/>
              </a:prstGeom>
              <a:noFill/>
            </p:spPr>
          </p:pic>
          <p:pic>
            <p:nvPicPr>
              <p:cNvPr id="2050" name="Picture 2" descr="C:\Users\HOWARDY.REDMOND\AppData\Local\Microsoft\Windows\Temporary Internet Files\Content.IE5\R6AKOP9I\MC900013282[1].wmf"/>
              <p:cNvPicPr>
                <a:picLocks noChangeAspect="1" noChangeArrowheads="1"/>
              </p:cNvPicPr>
              <p:nvPr/>
            </p:nvPicPr>
            <p:blipFill>
              <a:blip r:embed="rId4">
                <a:biLevel thresh="25000"/>
                <a:lum bright="100000"/>
                <a:extLst>
                  <a:ext uri="{28A0092B-C50C-407E-A947-70E740481C1C}">
                    <a14:useLocalDpi xmlns:a14="http://schemas.microsoft.com/office/drawing/2010/main" val="0"/>
                  </a:ext>
                </a:extLst>
              </a:blip>
              <a:srcRect/>
              <a:stretch>
                <a:fillRect/>
              </a:stretch>
            </p:blipFill>
            <p:spPr bwMode="auto">
              <a:xfrm flipH="1">
                <a:off x="3896839" y="1899918"/>
                <a:ext cx="260509" cy="374050"/>
              </a:xfrm>
              <a:prstGeom prst="rect">
                <a:avLst/>
              </a:prstGeom>
              <a:noFill/>
              <a:extLst>
                <a:ext uri="{909E8E84-426E-40DD-AFC4-6F175D3DCCD1}">
                  <a14:hiddenFill xmlns:a14="http://schemas.microsoft.com/office/drawing/2010/main">
                    <a:solidFill>
                      <a:srgbClr val="FFFFFF"/>
                    </a:solidFill>
                  </a14:hiddenFill>
                </a:ext>
              </a:extLst>
            </p:spPr>
          </p:pic>
        </p:grpSp>
        <p:sp>
          <p:nvSpPr>
            <p:cNvPr id="33" name="Rectangle 32"/>
            <p:cNvSpPr/>
            <p:nvPr/>
          </p:nvSpPr>
          <p:spPr bwMode="auto">
            <a:xfrm>
              <a:off x="4447514" y="2539373"/>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20" tIns="45720" rIns="45720" bIns="45720" numCol="1" rtlCol="0" anchor="ctr" anchorCtr="0" compatLnSpc="1">
              <a:prstTxWarp prst="textNoShape">
                <a:avLst/>
              </a:prstTxWarp>
            </a:bodyPr>
            <a:lstStyle/>
            <a:p>
              <a:pPr algn="ctr" defTabSz="685637" fontAlgn="base">
                <a:spcBef>
                  <a:spcPct val="0"/>
                </a:spcBef>
                <a:spcAft>
                  <a:spcPct val="0"/>
                </a:spcAft>
              </a:pPr>
              <a:r>
                <a:rPr lang="en-US" sz="1200" spc="-113" dirty="0">
                  <a:solidFill>
                    <a:schemeClr val="tx1">
                      <a:alpha val="99000"/>
                    </a:schemeClr>
                  </a:solidFill>
                </a:rPr>
                <a:t>Trillions  of networked nodes</a:t>
              </a:r>
            </a:p>
          </p:txBody>
        </p:sp>
        <p:sp>
          <p:nvSpPr>
            <p:cNvPr id="34" name="Rectangle 33"/>
            <p:cNvSpPr/>
            <p:nvPr/>
          </p:nvSpPr>
          <p:spPr bwMode="auto">
            <a:xfrm>
              <a:off x="6093994" y="2535441"/>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20" tIns="45720" rIns="45720" bIns="45720" numCol="1" rtlCol="0" anchor="ctr" anchorCtr="0" compatLnSpc="1">
              <a:prstTxWarp prst="textNoShape">
                <a:avLst/>
              </a:prstTxWarp>
            </a:bodyPr>
            <a:lstStyle/>
            <a:p>
              <a:pPr algn="ctr" defTabSz="685637" fontAlgn="base">
                <a:spcBef>
                  <a:spcPct val="0"/>
                </a:spcBef>
                <a:spcAft>
                  <a:spcPct val="0"/>
                </a:spcAft>
              </a:pPr>
              <a:r>
                <a:rPr lang="en-US" sz="1200" spc="-113" dirty="0">
                  <a:solidFill>
                    <a:schemeClr val="tx1">
                      <a:alpha val="99000"/>
                    </a:schemeClr>
                  </a:solidFill>
                </a:rPr>
                <a:t>Low bandwidth last-mile connection</a:t>
              </a:r>
            </a:p>
          </p:txBody>
        </p:sp>
        <p:pic>
          <p:nvPicPr>
            <p:cNvPr id="2051" name="Picture 3" descr="C:\Users\HOWARDY.REDMOND\AppData\Local\Microsoft\Windows\Temporary Internet Files\Content.IE5\5W4A3OMT\MC900351855[1].wmf"/>
            <p:cNvPicPr>
              <a:picLocks noChangeAspect="1" noChangeArrowheads="1"/>
            </p:cNvPicPr>
            <p:nvPr/>
          </p:nvPicPr>
          <p:blipFill>
            <a:blip r:embed="rId5">
              <a:lum bright="100000"/>
              <a:extLst>
                <a:ext uri="{28A0092B-C50C-407E-A947-70E740481C1C}">
                  <a14:useLocalDpi xmlns:a14="http://schemas.microsoft.com/office/drawing/2010/main" val="0"/>
                </a:ext>
              </a:extLst>
            </a:blip>
            <a:srcRect/>
            <a:stretch>
              <a:fillRect/>
            </a:stretch>
          </p:blipFill>
          <p:spPr bwMode="auto">
            <a:xfrm>
              <a:off x="6614050" y="1586853"/>
              <a:ext cx="507888" cy="619712"/>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p:cNvSpPr txBox="1"/>
            <p:nvPr/>
          </p:nvSpPr>
          <p:spPr>
            <a:xfrm>
              <a:off x="6403924" y="2261936"/>
              <a:ext cx="846386" cy="184666"/>
            </a:xfrm>
            <a:prstGeom prst="rect">
              <a:avLst/>
            </a:prstGeom>
            <a:noFill/>
          </p:spPr>
          <p:txBody>
            <a:bodyPr wrap="none" lIns="0" tIns="0" rIns="0" bIns="0" rtlCol="0">
              <a:spAutoFit/>
            </a:bodyPr>
            <a:lstStyle/>
            <a:p>
              <a:r>
                <a:rPr lang="en-US" sz="900" b="1" dirty="0">
                  <a:gradFill>
                    <a:gsLst>
                      <a:gs pos="0">
                        <a:schemeClr val="tx1"/>
                      </a:gs>
                      <a:gs pos="86000">
                        <a:schemeClr val="tx1"/>
                      </a:gs>
                    </a:gsLst>
                    <a:lin ang="5400000" scaled="0"/>
                  </a:gradFill>
                </a:rPr>
                <a:t>100kBit/sec</a:t>
              </a:r>
            </a:p>
          </p:txBody>
        </p:sp>
        <p:sp>
          <p:nvSpPr>
            <p:cNvPr id="56" name="Rectangle 55"/>
            <p:cNvSpPr/>
            <p:nvPr/>
          </p:nvSpPr>
          <p:spPr bwMode="auto">
            <a:xfrm>
              <a:off x="1162892" y="4216358"/>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20" tIns="45720" rIns="45720" bIns="45720" numCol="1" rtlCol="0" anchor="ctr" anchorCtr="0" compatLnSpc="1">
              <a:prstTxWarp prst="textNoShape">
                <a:avLst/>
              </a:prstTxWarp>
            </a:bodyPr>
            <a:lstStyle/>
            <a:p>
              <a:pPr algn="ctr" defTabSz="685637" fontAlgn="base">
                <a:spcBef>
                  <a:spcPct val="0"/>
                </a:spcBef>
                <a:spcAft>
                  <a:spcPct val="0"/>
                </a:spcAft>
              </a:pPr>
              <a:r>
                <a:rPr lang="en-US" sz="1200" spc="-113" dirty="0">
                  <a:solidFill>
                    <a:schemeClr val="tx1">
                      <a:alpha val="99000"/>
                    </a:schemeClr>
                  </a:solidFill>
                </a:rPr>
                <a:t>Mostly addressed by local  schemes</a:t>
              </a:r>
            </a:p>
          </p:txBody>
        </p:sp>
        <p:sp>
          <p:nvSpPr>
            <p:cNvPr id="58" name="Rectangle 57"/>
            <p:cNvSpPr/>
            <p:nvPr/>
          </p:nvSpPr>
          <p:spPr bwMode="auto">
            <a:xfrm>
              <a:off x="2811346" y="4216358"/>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20" tIns="45720" rIns="45720" bIns="45720" numCol="1" rtlCol="0" anchor="ctr" anchorCtr="0" compatLnSpc="1">
              <a:prstTxWarp prst="textNoShape">
                <a:avLst/>
              </a:prstTxWarp>
            </a:bodyPr>
            <a:lstStyle/>
            <a:p>
              <a:pPr algn="ctr" defTabSz="685637" fontAlgn="base">
                <a:spcBef>
                  <a:spcPct val="0"/>
                </a:spcBef>
                <a:spcAft>
                  <a:spcPct val="0"/>
                </a:spcAft>
              </a:pPr>
              <a:r>
                <a:rPr lang="en-US" sz="1200" spc="-113" dirty="0">
                  <a:solidFill>
                    <a:schemeClr val="tx1">
                      <a:alpha val="99000"/>
                    </a:schemeClr>
                  </a:solidFill>
                </a:rPr>
                <a:t>Machine-centric</a:t>
              </a:r>
            </a:p>
          </p:txBody>
        </p:sp>
        <p:sp>
          <p:nvSpPr>
            <p:cNvPr id="60" name="Rectangle 59"/>
            <p:cNvSpPr/>
            <p:nvPr/>
          </p:nvSpPr>
          <p:spPr bwMode="auto">
            <a:xfrm>
              <a:off x="4447514" y="4216358"/>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20" tIns="45720" rIns="45720" bIns="45720" numCol="1" rtlCol="0" anchor="ctr" anchorCtr="0" compatLnSpc="1">
              <a:prstTxWarp prst="textNoShape">
                <a:avLst/>
              </a:prstTxWarp>
            </a:bodyPr>
            <a:lstStyle/>
            <a:p>
              <a:pPr algn="ctr" defTabSz="685637" fontAlgn="base">
                <a:spcBef>
                  <a:spcPct val="0"/>
                </a:spcBef>
                <a:spcAft>
                  <a:spcPct val="0"/>
                </a:spcAft>
              </a:pPr>
              <a:r>
                <a:rPr lang="en-US" sz="1200" spc="-113" dirty="0">
                  <a:solidFill>
                    <a:schemeClr val="tx1">
                      <a:alpha val="99000"/>
                    </a:schemeClr>
                  </a:solidFill>
                </a:rPr>
                <a:t>Sensing-focus</a:t>
              </a:r>
            </a:p>
          </p:txBody>
        </p:sp>
        <p:pic>
          <p:nvPicPr>
            <p:cNvPr id="63" name="Picture 8" descr="\\MAGNUM\Projects\Microsoft\Cloud Power FY12\Design\Icons\PNGs\Cross Platform.png"/>
            <p:cNvPicPr>
              <a:picLocks noChangeAspect="1" noChangeArrowheads="1"/>
            </p:cNvPicPr>
            <p:nvPr/>
          </p:nvPicPr>
          <p:blipFill>
            <a:blip r:embed="rId6" cstate="print">
              <a:lum bright="100000"/>
            </a:blip>
            <a:srcRect/>
            <a:stretch>
              <a:fillRect/>
            </a:stretch>
          </p:blipFill>
          <p:spPr bwMode="auto">
            <a:xfrm>
              <a:off x="2877330" y="2963178"/>
              <a:ext cx="1381849" cy="1482016"/>
            </a:xfrm>
            <a:prstGeom prst="rect">
              <a:avLst/>
            </a:prstGeom>
            <a:noFill/>
          </p:spPr>
        </p:pic>
        <p:pic>
          <p:nvPicPr>
            <p:cNvPr id="2078" name="Picture 30" descr="C:\Users\HOWARDY.REDMOND\AppData\Local\Microsoft\Windows\Temporary Internet Files\Content.IE5\JSHLW3M1\MC900239673[1].wmf"/>
            <p:cNvPicPr>
              <a:picLocks noChangeAspect="1" noChangeArrowheads="1"/>
            </p:cNvPicPr>
            <p:nvPr/>
          </p:nvPicPr>
          <p:blipFill>
            <a:blip r:embed="rId7">
              <a:lum bright="100000"/>
              <a:extLst>
                <a:ext uri="{28A0092B-C50C-407E-A947-70E740481C1C}">
                  <a14:useLocalDpi xmlns:a14="http://schemas.microsoft.com/office/drawing/2010/main" val="0"/>
                </a:ext>
              </a:extLst>
            </a:blip>
            <a:srcRect/>
            <a:stretch>
              <a:fillRect/>
            </a:stretch>
          </p:blipFill>
          <p:spPr bwMode="auto">
            <a:xfrm>
              <a:off x="4690416" y="3320714"/>
              <a:ext cx="1062196" cy="830597"/>
            </a:xfrm>
            <a:prstGeom prst="rect">
              <a:avLst/>
            </a:prstGeom>
            <a:noFill/>
            <a:extLst>
              <a:ext uri="{909E8E84-426E-40DD-AFC4-6F175D3DCCD1}">
                <a14:hiddenFill xmlns:a14="http://schemas.microsoft.com/office/drawing/2010/main">
                  <a:solidFill>
                    <a:srgbClr val="FFFFFF"/>
                  </a:solidFill>
                </a14:hiddenFill>
              </a:ext>
            </a:extLst>
          </p:spPr>
        </p:pic>
        <p:sp>
          <p:nvSpPr>
            <p:cNvPr id="91" name="TextBox 90"/>
            <p:cNvSpPr txBox="1"/>
            <p:nvPr/>
          </p:nvSpPr>
          <p:spPr>
            <a:xfrm>
              <a:off x="4571152" y="1578390"/>
              <a:ext cx="1290539" cy="923330"/>
            </a:xfrm>
            <a:prstGeom prst="rect">
              <a:avLst/>
            </a:prstGeom>
            <a:noFill/>
          </p:spPr>
          <p:txBody>
            <a:bodyPr wrap="square" lIns="0" tIns="0" rIns="0" bIns="0" rtlCol="0">
              <a:spAutoFit/>
            </a:bodyPr>
            <a:lstStyle/>
            <a:p>
              <a:pPr algn="ctr"/>
              <a:r>
                <a:rPr lang="en-US" sz="900" b="1" dirty="0">
                  <a:gradFill>
                    <a:gsLst>
                      <a:gs pos="0">
                        <a:schemeClr val="tx1"/>
                      </a:gs>
                      <a:gs pos="86000">
                        <a:schemeClr val="tx1"/>
                      </a:gs>
                    </a:gsLst>
                    <a:lin ang="5400000" scaled="0"/>
                  </a:gradFill>
                </a:rPr>
                <a:t>Trillions of computer-enabled devices which are part of the </a:t>
              </a:r>
              <a:r>
                <a:rPr lang="en-US" sz="900" b="1" dirty="0" err="1">
                  <a:gradFill>
                    <a:gsLst>
                      <a:gs pos="0">
                        <a:schemeClr val="tx1"/>
                      </a:gs>
                      <a:gs pos="86000">
                        <a:schemeClr val="tx1"/>
                      </a:gs>
                    </a:gsLst>
                    <a:lin ang="5400000" scaled="0"/>
                  </a:gradFill>
                </a:rPr>
                <a:t>IoT</a:t>
              </a:r>
              <a:endParaRPr lang="en-US" sz="900" b="1" dirty="0">
                <a:gradFill>
                  <a:gsLst>
                    <a:gs pos="0">
                      <a:schemeClr val="tx1"/>
                    </a:gs>
                    <a:gs pos="86000">
                      <a:schemeClr val="tx1"/>
                    </a:gs>
                  </a:gsLst>
                  <a:lin ang="5400000" scaled="0"/>
                </a:gradFill>
              </a:endParaRPr>
            </a:p>
          </p:txBody>
        </p:sp>
        <p:pic>
          <p:nvPicPr>
            <p:cNvPr id="2092" name="Picture 44" descr="C:\Users\HOWARDY.REDMOND\AppData\Local\Microsoft\Windows\Temporary Internet Files\Content.IE5\VP137ABM\MC900441462[1].png"/>
            <p:cNvPicPr>
              <a:picLocks noChangeAspect="1" noChangeArrowheads="1"/>
            </p:cNvPicPr>
            <p:nvPr/>
          </p:nvPicPr>
          <p:blipFill>
            <a:blip r:embed="rId8">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411387" y="3210507"/>
              <a:ext cx="1051009" cy="1051009"/>
            </a:xfrm>
            <a:prstGeom prst="rect">
              <a:avLst/>
            </a:prstGeom>
            <a:noFill/>
            <a:extLst>
              <a:ext uri="{909E8E84-426E-40DD-AFC4-6F175D3DCCD1}">
                <a14:hiddenFill xmlns:a14="http://schemas.microsoft.com/office/drawing/2010/main">
                  <a:solidFill>
                    <a:srgbClr val="FFFFFF"/>
                  </a:solidFill>
                </a14:hiddenFill>
              </a:ext>
            </a:extLst>
          </p:spPr>
        </p:pic>
        <p:pic>
          <p:nvPicPr>
            <p:cNvPr id="2096" name="Picture 48" descr="C:\Users\HOWARDY.REDMOND\AppData\Local\Microsoft\Windows\Temporary Internet Files\Content.IE5\KIYKZX54\MP900401814[1].jpg"/>
            <p:cNvPicPr>
              <a:picLocks noChangeAspect="1" noChangeArrowheads="1"/>
            </p:cNvPicPr>
            <p:nvPr/>
          </p:nvPicPr>
          <p:blipFill>
            <a:blip r:embed="rId10">
              <a:duotone>
                <a:schemeClr val="accent5">
                  <a:shade val="45000"/>
                  <a:satMod val="135000"/>
                </a:schemeClr>
                <a:prstClr val="white"/>
              </a:duotone>
              <a:extLst>
                <a:ext uri="{BEBA8EAE-BF5A-486C-A8C5-ECC9F3942E4B}">
                  <a14:imgProps xmlns:a14="http://schemas.microsoft.com/office/drawing/2010/main">
                    <a14:imgLayer r:embed="rId11">
                      <a14:imgEffect>
                        <a14:brightnessContrast bright="-5000"/>
                      </a14:imgEffect>
                    </a14:imgLayer>
                  </a14:imgProps>
                </a:ext>
                <a:ext uri="{28A0092B-C50C-407E-A947-70E740481C1C}">
                  <a14:useLocalDpi xmlns:a14="http://schemas.microsoft.com/office/drawing/2010/main" val="0"/>
                </a:ext>
              </a:extLst>
            </a:blip>
            <a:srcRect/>
            <a:stretch>
              <a:fillRect/>
            </a:stretch>
          </p:blipFill>
          <p:spPr bwMode="auto">
            <a:xfrm>
              <a:off x="1162892" y="4844749"/>
              <a:ext cx="3196454" cy="1548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8" name="Group 27"/>
          <p:cNvGrpSpPr/>
          <p:nvPr/>
        </p:nvGrpSpPr>
        <p:grpSpPr>
          <a:xfrm>
            <a:off x="3336505" y="1127073"/>
            <a:ext cx="4860592" cy="3667490"/>
            <a:chOff x="4447514" y="1502762"/>
            <a:chExt cx="6479102" cy="4889987"/>
          </a:xfrm>
        </p:grpSpPr>
        <p:grpSp>
          <p:nvGrpSpPr>
            <p:cNvPr id="10" name="Group 9"/>
            <p:cNvGrpSpPr/>
            <p:nvPr/>
          </p:nvGrpSpPr>
          <p:grpSpPr>
            <a:xfrm>
              <a:off x="4447514" y="4816370"/>
              <a:ext cx="6479101" cy="1576379"/>
              <a:chOff x="4447514" y="4816370"/>
              <a:chExt cx="6479101" cy="1576379"/>
            </a:xfrm>
          </p:grpSpPr>
          <p:sp>
            <p:nvSpPr>
              <p:cNvPr id="12" name="Rectangle 11"/>
              <p:cNvSpPr/>
              <p:nvPr/>
            </p:nvSpPr>
            <p:spPr bwMode="auto">
              <a:xfrm>
                <a:off x="6093994" y="484474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37" fontAlgn="base">
                  <a:lnSpc>
                    <a:spcPct val="80000"/>
                  </a:lnSpc>
                  <a:spcBef>
                    <a:spcPct val="0"/>
                  </a:spcBef>
                  <a:spcAft>
                    <a:spcPct val="0"/>
                  </a:spcAft>
                </a:pP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5" name="Rectangle 14"/>
              <p:cNvSpPr/>
              <p:nvPr/>
            </p:nvSpPr>
            <p:spPr bwMode="auto">
              <a:xfrm>
                <a:off x="7742448" y="4844749"/>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37" fontAlgn="base">
                  <a:lnSpc>
                    <a:spcPct val="80000"/>
                  </a:lnSpc>
                  <a:spcBef>
                    <a:spcPct val="0"/>
                  </a:spcBef>
                  <a:spcAft>
                    <a:spcPct val="0"/>
                  </a:spcAft>
                </a:pP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7" name="Rectangle 16"/>
              <p:cNvSpPr/>
              <p:nvPr/>
            </p:nvSpPr>
            <p:spPr bwMode="auto">
              <a:xfrm>
                <a:off x="4447514" y="484474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37" fontAlgn="base">
                  <a:lnSpc>
                    <a:spcPct val="80000"/>
                  </a:lnSpc>
                  <a:spcBef>
                    <a:spcPct val="0"/>
                  </a:spcBef>
                  <a:spcAft>
                    <a:spcPct val="0"/>
                  </a:spcAft>
                </a:pP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7" name="Rectangle 56"/>
              <p:cNvSpPr/>
              <p:nvPr/>
            </p:nvSpPr>
            <p:spPr bwMode="auto">
              <a:xfrm>
                <a:off x="4447514" y="5888749"/>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20" tIns="45720" rIns="45720" bIns="45720" numCol="1" rtlCol="0" anchor="ctr" anchorCtr="0" compatLnSpc="1">
                <a:prstTxWarp prst="textNoShape">
                  <a:avLst/>
                </a:prstTxWarp>
              </a:bodyPr>
              <a:lstStyle/>
              <a:p>
                <a:pPr algn="ctr" defTabSz="685637" fontAlgn="base">
                  <a:spcBef>
                    <a:spcPct val="0"/>
                  </a:spcBef>
                  <a:spcAft>
                    <a:spcPct val="0"/>
                  </a:spcAft>
                </a:pPr>
                <a:r>
                  <a:rPr lang="en-US" sz="1200" spc="-113" dirty="0">
                    <a:solidFill>
                      <a:schemeClr val="tx1">
                        <a:alpha val="99000"/>
                      </a:schemeClr>
                    </a:solidFill>
                  </a:rPr>
                  <a:t>Global addressing</a:t>
                </a:r>
              </a:p>
            </p:txBody>
          </p:sp>
          <p:sp>
            <p:nvSpPr>
              <p:cNvPr id="59" name="Rectangle 58"/>
              <p:cNvSpPr/>
              <p:nvPr/>
            </p:nvSpPr>
            <p:spPr bwMode="auto">
              <a:xfrm>
                <a:off x="6085086" y="5888749"/>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20" tIns="45720" rIns="45720" bIns="45720" numCol="1" rtlCol="0" anchor="ctr" anchorCtr="0" compatLnSpc="1">
                <a:prstTxWarp prst="textNoShape">
                  <a:avLst/>
                </a:prstTxWarp>
              </a:bodyPr>
              <a:lstStyle/>
              <a:p>
                <a:pPr algn="ctr" defTabSz="685637" fontAlgn="base">
                  <a:spcBef>
                    <a:spcPct val="0"/>
                  </a:spcBef>
                  <a:spcAft>
                    <a:spcPct val="0"/>
                  </a:spcAft>
                </a:pPr>
                <a:r>
                  <a:rPr lang="en-US" sz="1200" spc="-113" dirty="0">
                    <a:solidFill>
                      <a:schemeClr val="tx1">
                        <a:alpha val="99000"/>
                      </a:schemeClr>
                    </a:solidFill>
                  </a:rPr>
                  <a:t>User-centric</a:t>
                </a:r>
              </a:p>
            </p:txBody>
          </p:sp>
          <p:sp>
            <p:nvSpPr>
              <p:cNvPr id="61" name="Rectangle 60"/>
              <p:cNvSpPr/>
              <p:nvPr/>
            </p:nvSpPr>
            <p:spPr bwMode="auto">
              <a:xfrm>
                <a:off x="7742447" y="5888749"/>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20" tIns="45720" rIns="45720" bIns="45720" numCol="1" rtlCol="0" anchor="ctr" anchorCtr="0" compatLnSpc="1">
                <a:prstTxWarp prst="textNoShape">
                  <a:avLst/>
                </a:prstTxWarp>
              </a:bodyPr>
              <a:lstStyle/>
              <a:p>
                <a:pPr algn="ctr" defTabSz="685637" fontAlgn="base">
                  <a:spcBef>
                    <a:spcPct val="0"/>
                  </a:spcBef>
                  <a:spcAft>
                    <a:spcPct val="0"/>
                  </a:spcAft>
                </a:pPr>
                <a:r>
                  <a:rPr lang="en-US" sz="1200" spc="-113" dirty="0">
                    <a:solidFill>
                      <a:schemeClr val="tx1">
                        <a:alpha val="99000"/>
                      </a:schemeClr>
                    </a:solidFill>
                  </a:rPr>
                  <a:t>Communication-focus</a:t>
                </a:r>
              </a:p>
            </p:txBody>
          </p:sp>
          <p:pic>
            <p:nvPicPr>
              <p:cNvPr id="76" name="Picture 4" descr="\\MAGNUM\Projects\Microsoft\Cloud Power FY12\Design\ICONS_PNG\Open_Web_Platform.png"/>
              <p:cNvPicPr>
                <a:picLocks noChangeAspect="1" noChangeArrowheads="1"/>
              </p:cNvPicPr>
              <p:nvPr/>
            </p:nvPicPr>
            <p:blipFill>
              <a:blip r:embed="rId12" cstate="print">
                <a:lum bright="100000"/>
              </a:blip>
              <a:srcRect/>
              <a:stretch>
                <a:fillRect/>
              </a:stretch>
            </p:blipFill>
            <p:spPr bwMode="auto">
              <a:xfrm>
                <a:off x="4680233" y="4816370"/>
                <a:ext cx="1072379" cy="1072379"/>
              </a:xfrm>
              <a:prstGeom prst="rect">
                <a:avLst/>
              </a:prstGeom>
              <a:noFill/>
            </p:spPr>
          </p:pic>
          <p:pic>
            <p:nvPicPr>
              <p:cNvPr id="2081" name="Picture 33" descr="C:\Users\HOWARDY.REDMOND\AppData\Local\Microsoft\Windows\Temporary Internet Files\Content.IE5\G469HTVF\MC900442094[1].wmf"/>
              <p:cNvPicPr>
                <a:picLocks noChangeAspect="1" noChangeArrowheads="1"/>
              </p:cNvPicPr>
              <p:nvPr/>
            </p:nvPicPr>
            <p:blipFill>
              <a:blip r:embed="rId13">
                <a:lum bright="100000"/>
                <a:extLst>
                  <a:ext uri="{28A0092B-C50C-407E-A947-70E740481C1C}">
                    <a14:useLocalDpi xmlns:a14="http://schemas.microsoft.com/office/drawing/2010/main" val="0"/>
                  </a:ext>
                </a:extLst>
              </a:blip>
              <a:srcRect/>
              <a:stretch>
                <a:fillRect/>
              </a:stretch>
            </p:blipFill>
            <p:spPr bwMode="auto">
              <a:xfrm>
                <a:off x="6366042" y="5057773"/>
                <a:ext cx="986087" cy="607213"/>
              </a:xfrm>
              <a:prstGeom prst="rect">
                <a:avLst/>
              </a:prstGeom>
              <a:noFill/>
              <a:extLst>
                <a:ext uri="{909E8E84-426E-40DD-AFC4-6F175D3DCCD1}">
                  <a14:hiddenFill xmlns:a14="http://schemas.microsoft.com/office/drawing/2010/main">
                    <a:solidFill>
                      <a:srgbClr val="FFFFFF"/>
                    </a:solidFill>
                  </a14:hiddenFill>
                </a:ext>
              </a:extLst>
            </p:spPr>
          </p:pic>
          <p:pic>
            <p:nvPicPr>
              <p:cNvPr id="2083" name="Picture 35" descr="C:\Users\HOWARDY.REDMOND\AppData\Local\Microsoft\Windows\Temporary Internet Files\Content.IE5\MNDNOLUZ\MC900059703[1].wmf"/>
              <p:cNvPicPr>
                <a:picLocks noChangeAspect="1" noChangeArrowheads="1"/>
              </p:cNvPicPr>
              <p:nvPr/>
            </p:nvPicPr>
            <p:blipFill>
              <a:blip r:embed="rId14">
                <a:lum bright="100000"/>
                <a:extLst>
                  <a:ext uri="{28A0092B-C50C-407E-A947-70E740481C1C}">
                    <a14:useLocalDpi xmlns:a14="http://schemas.microsoft.com/office/drawing/2010/main" val="0"/>
                  </a:ext>
                </a:extLst>
              </a:blip>
              <a:srcRect/>
              <a:stretch>
                <a:fillRect/>
              </a:stretch>
            </p:blipFill>
            <p:spPr bwMode="auto">
              <a:xfrm>
                <a:off x="7889556" y="4972978"/>
                <a:ext cx="1253783" cy="759161"/>
              </a:xfrm>
              <a:prstGeom prst="rect">
                <a:avLst/>
              </a:prstGeom>
              <a:noFill/>
              <a:extLst>
                <a:ext uri="{909E8E84-426E-40DD-AFC4-6F175D3DCCD1}">
                  <a14:hiddenFill xmlns:a14="http://schemas.microsoft.com/office/drawing/2010/main">
                    <a:solidFill>
                      <a:srgbClr val="FFFFFF"/>
                    </a:solidFill>
                  </a14:hiddenFill>
                </a:ext>
              </a:extLst>
            </p:spPr>
          </p:pic>
          <p:sp>
            <p:nvSpPr>
              <p:cNvPr id="87" name="Rectangle 86"/>
              <p:cNvSpPr/>
              <p:nvPr/>
            </p:nvSpPr>
            <p:spPr bwMode="auto">
              <a:xfrm>
                <a:off x="9378615" y="484474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685637" fontAlgn="base">
                  <a:lnSpc>
                    <a:spcPct val="80000"/>
                  </a:lnSpc>
                  <a:spcBef>
                    <a:spcPct val="0"/>
                  </a:spcBef>
                  <a:spcAft>
                    <a:spcPct val="0"/>
                  </a:spcAft>
                </a:pPr>
                <a:r>
                  <a:rPr lang="en-US" sz="2400" b="1"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Internet</a:t>
                </a:r>
              </a:p>
            </p:txBody>
          </p:sp>
        </p:grpSp>
        <p:pic>
          <p:nvPicPr>
            <p:cNvPr id="2093" name="Picture 45" descr="C:\Users\HOWARDY.REDMOND\AppData\Local\Microsoft\Windows\Temporary Internet Files\Content.IE5\KIYKZX54\MC900433176[1].jpg"/>
            <p:cNvPicPr>
              <a:picLocks noChangeAspect="1" noChangeArrowheads="1"/>
            </p:cNvPicPr>
            <p:nvPr/>
          </p:nvPicPr>
          <p:blipFill>
            <a:blip r:embed="rId15">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742447" y="1502762"/>
              <a:ext cx="3184168" cy="1543420"/>
            </a:xfrm>
            <a:prstGeom prst="rect">
              <a:avLst/>
            </a:prstGeom>
            <a:noFill/>
            <a:extLst>
              <a:ext uri="{909E8E84-426E-40DD-AFC4-6F175D3DCCD1}">
                <a14:hiddenFill xmlns:a14="http://schemas.microsoft.com/office/drawing/2010/main">
                  <a:solidFill>
                    <a:srgbClr val="FFFFFF"/>
                  </a:solidFill>
                </a14:hiddenFill>
              </a:ext>
            </a:extLst>
          </p:spPr>
        </p:pic>
        <p:grpSp>
          <p:nvGrpSpPr>
            <p:cNvPr id="24" name="Group 23"/>
            <p:cNvGrpSpPr/>
            <p:nvPr/>
          </p:nvGrpSpPr>
          <p:grpSpPr>
            <a:xfrm>
              <a:off x="6093994" y="3012108"/>
              <a:ext cx="4832622" cy="1708250"/>
              <a:chOff x="6093994" y="3012108"/>
              <a:chExt cx="4832622" cy="1708250"/>
            </a:xfrm>
          </p:grpSpPr>
          <p:grpSp>
            <p:nvGrpSpPr>
              <p:cNvPr id="14" name="Group 13"/>
              <p:cNvGrpSpPr/>
              <p:nvPr/>
            </p:nvGrpSpPr>
            <p:grpSpPr>
              <a:xfrm>
                <a:off x="6093994" y="3172358"/>
                <a:ext cx="4832622" cy="1548000"/>
                <a:chOff x="6093994" y="3172358"/>
                <a:chExt cx="4832622" cy="1548000"/>
              </a:xfrm>
            </p:grpSpPr>
            <p:sp>
              <p:nvSpPr>
                <p:cNvPr id="11" name="Rectangle 10"/>
                <p:cNvSpPr/>
                <p:nvPr/>
              </p:nvSpPr>
              <p:spPr bwMode="auto">
                <a:xfrm>
                  <a:off x="6093994" y="317235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37" fontAlgn="base">
                    <a:lnSpc>
                      <a:spcPct val="80000"/>
                    </a:lnSpc>
                    <a:spcBef>
                      <a:spcPct val="0"/>
                    </a:spcBef>
                    <a:spcAft>
                      <a:spcPct val="0"/>
                    </a:spcAft>
                  </a:pP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3" name="Rectangle 12"/>
                <p:cNvSpPr/>
                <p:nvPr/>
              </p:nvSpPr>
              <p:spPr bwMode="auto">
                <a:xfrm>
                  <a:off x="7742448" y="317235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37" fontAlgn="base">
                    <a:lnSpc>
                      <a:spcPct val="80000"/>
                    </a:lnSpc>
                    <a:spcBef>
                      <a:spcPct val="0"/>
                    </a:spcBef>
                    <a:spcAft>
                      <a:spcPct val="0"/>
                    </a:spcAft>
                  </a:pP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6" name="Rectangle 15"/>
                <p:cNvSpPr/>
                <p:nvPr/>
              </p:nvSpPr>
              <p:spPr bwMode="auto">
                <a:xfrm>
                  <a:off x="9378616" y="317235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37" fontAlgn="base">
                    <a:lnSpc>
                      <a:spcPct val="80000"/>
                    </a:lnSpc>
                    <a:spcBef>
                      <a:spcPct val="0"/>
                    </a:spcBef>
                    <a:spcAft>
                      <a:spcPct val="0"/>
                    </a:spcAft>
                  </a:pP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25" name="Group 24"/>
                <p:cNvGrpSpPr/>
                <p:nvPr/>
              </p:nvGrpSpPr>
              <p:grpSpPr>
                <a:xfrm>
                  <a:off x="6237456" y="3466602"/>
                  <a:ext cx="1261076" cy="474211"/>
                  <a:chOff x="8926609" y="4973963"/>
                  <a:chExt cx="2164752" cy="721953"/>
                </a:xfrm>
              </p:grpSpPr>
              <p:pic>
                <p:nvPicPr>
                  <p:cNvPr id="20" name="Picture 19"/>
                  <p:cNvPicPr>
                    <a:picLocks noChangeAspect="1"/>
                  </p:cNvPicPr>
                  <p:nvPr/>
                </p:nvPicPr>
                <p:blipFill>
                  <a:blip r:embed="rId16" cstate="print">
                    <a:extLst>
                      <a:ext uri="{BEBA8EAE-BF5A-486C-A8C5-ECC9F3942E4B}">
                        <a14:imgProps xmlns:a14="http://schemas.microsoft.com/office/drawing/2010/main">
                          <a14:imgLayer r:embed="rId17">
                            <a14:imgEffect>
                              <a14:brightnessContrast bright="100000"/>
                            </a14:imgEffect>
                          </a14:imgLayer>
                        </a14:imgProps>
                      </a:ext>
                      <a:ext uri="{28A0092B-C50C-407E-A947-70E740481C1C}">
                        <a14:useLocalDpi xmlns:a14="http://schemas.microsoft.com/office/drawing/2010/main"/>
                      </a:ext>
                    </a:extLst>
                  </a:blip>
                  <a:stretch>
                    <a:fillRect/>
                  </a:stretch>
                </p:blipFill>
                <p:spPr>
                  <a:xfrm rot="2614426" flipH="1">
                    <a:off x="8926609" y="5279315"/>
                    <a:ext cx="310121" cy="416601"/>
                  </a:xfrm>
                  <a:prstGeom prst="rect">
                    <a:avLst/>
                  </a:prstGeom>
                </p:spPr>
              </p:pic>
              <p:sp>
                <p:nvSpPr>
                  <p:cNvPr id="21" name="Freeform 61"/>
                  <p:cNvSpPr>
                    <a:spLocks/>
                  </p:cNvSpPr>
                  <p:nvPr/>
                </p:nvSpPr>
                <p:spPr bwMode="auto">
                  <a:xfrm rot="10800000">
                    <a:off x="9212369" y="4973963"/>
                    <a:ext cx="445820" cy="64478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chemeClr val="tx1"/>
                  </a:solidFill>
                  <a:extLst/>
                </p:spPr>
                <p:txBody>
                  <a:bodyPr vert="horz" wrap="square" lIns="91440" tIns="45720" rIns="91440" bIns="45720" numCol="1" anchor="t" anchorCtr="0" compatLnSpc="1">
                    <a:prstTxWarp prst="textNoShape">
                      <a:avLst/>
                    </a:prstTxWarp>
                  </a:bodyPr>
                  <a:lstStyle/>
                  <a:p>
                    <a:endParaRPr lang="en-US" dirty="0">
                      <a:solidFill>
                        <a:srgbClr val="FFFFFF"/>
                      </a:solidFill>
                      <a:latin typeface="+mj-lt"/>
                    </a:endParaRPr>
                  </a:p>
                </p:txBody>
              </p:sp>
              <p:sp>
                <p:nvSpPr>
                  <p:cNvPr id="22" name="Freeform 20"/>
                  <p:cNvSpPr>
                    <a:spLocks noEditPoints="1"/>
                  </p:cNvSpPr>
                  <p:nvPr/>
                </p:nvSpPr>
                <p:spPr bwMode="auto">
                  <a:xfrm>
                    <a:off x="9761762" y="4985710"/>
                    <a:ext cx="910300" cy="633038"/>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tx1"/>
                  </a:solidFill>
                  <a:extLst/>
                </p:spPr>
                <p:txBody>
                  <a:bodyPr vert="horz" wrap="square" lIns="91440" tIns="45720" rIns="91440" bIns="45720" numCol="1" anchor="t" anchorCtr="0" compatLnSpc="1">
                    <a:prstTxWarp prst="textNoShape">
                      <a:avLst/>
                    </a:prstTxWarp>
                  </a:bodyPr>
                  <a:lstStyle/>
                  <a:p>
                    <a:endParaRPr lang="en-US" dirty="0">
                      <a:solidFill>
                        <a:srgbClr val="FFFFFF"/>
                      </a:solidFill>
                      <a:latin typeface="+mj-lt"/>
                    </a:endParaRPr>
                  </a:p>
                </p:txBody>
              </p:sp>
              <p:pic>
                <p:nvPicPr>
                  <p:cNvPr id="23" name="Picture 22"/>
                  <p:cNvPicPr>
                    <a:picLocks noChangeAspect="1"/>
                  </p:cNvPicPr>
                  <p:nvPr/>
                </p:nvPicPr>
                <p:blipFill>
                  <a:blip r:embed="rId18" cstate="print">
                    <a:extLst>
                      <a:ext uri="{BEBA8EAE-BF5A-486C-A8C5-ECC9F3942E4B}">
                        <a14:imgProps xmlns:a14="http://schemas.microsoft.com/office/drawing/2010/main">
                          <a14:imgLayer r:embed="rId19">
                            <a14:imgEffect>
                              <a14:brightnessContrast bright="100000"/>
                            </a14:imgEffect>
                          </a14:imgLayer>
                        </a14:imgProps>
                      </a:ext>
                      <a:ext uri="{28A0092B-C50C-407E-A947-70E740481C1C}">
                        <a14:useLocalDpi xmlns:a14="http://schemas.microsoft.com/office/drawing/2010/main"/>
                      </a:ext>
                    </a:extLst>
                  </a:blip>
                  <a:stretch>
                    <a:fillRect/>
                  </a:stretch>
                </p:blipFill>
                <p:spPr>
                  <a:xfrm>
                    <a:off x="10761870" y="4985711"/>
                    <a:ext cx="329491" cy="633037"/>
                  </a:xfrm>
                  <a:prstGeom prst="rect">
                    <a:avLst/>
                  </a:prstGeom>
                </p:spPr>
              </p:pic>
            </p:grpSp>
            <p:sp>
              <p:nvSpPr>
                <p:cNvPr id="26" name="Rectangle 25"/>
                <p:cNvSpPr/>
                <p:nvPr/>
              </p:nvSpPr>
              <p:spPr bwMode="auto">
                <a:xfrm>
                  <a:off x="6093994" y="4211052"/>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20" tIns="45720" rIns="45720" bIns="45720" numCol="1" rtlCol="0" anchor="ctr" anchorCtr="0" compatLnSpc="1">
                  <a:prstTxWarp prst="textNoShape">
                    <a:avLst/>
                  </a:prstTxWarp>
                </a:bodyPr>
                <a:lstStyle/>
                <a:p>
                  <a:pPr algn="ctr" defTabSz="685637" fontAlgn="base">
                    <a:spcBef>
                      <a:spcPct val="0"/>
                    </a:spcBef>
                    <a:spcAft>
                      <a:spcPct val="0"/>
                    </a:spcAft>
                  </a:pPr>
                  <a:r>
                    <a:rPr lang="en-US" sz="1200" spc="-113" dirty="0">
                      <a:solidFill>
                        <a:schemeClr val="tx1">
                          <a:alpha val="99000"/>
                        </a:schemeClr>
                      </a:solidFill>
                    </a:rPr>
                    <a:t>Laptops  / tablets  / smartphones </a:t>
                  </a:r>
                </a:p>
              </p:txBody>
            </p:sp>
            <p:sp>
              <p:nvSpPr>
                <p:cNvPr id="32" name="Rectangle 31"/>
                <p:cNvSpPr/>
                <p:nvPr/>
              </p:nvSpPr>
              <p:spPr bwMode="auto">
                <a:xfrm>
                  <a:off x="7742448" y="4216358"/>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20" tIns="45720" rIns="45720" bIns="45720" numCol="1" rtlCol="0" anchor="ctr" anchorCtr="0" compatLnSpc="1">
                  <a:prstTxWarp prst="textNoShape">
                    <a:avLst/>
                  </a:prstTxWarp>
                </a:bodyPr>
                <a:lstStyle/>
                <a:p>
                  <a:pPr algn="ctr" defTabSz="685637" fontAlgn="base">
                    <a:spcBef>
                      <a:spcPct val="0"/>
                    </a:spcBef>
                    <a:spcAft>
                      <a:spcPct val="0"/>
                    </a:spcAft>
                  </a:pPr>
                  <a:r>
                    <a:rPr lang="en-US" sz="1200" spc="-113" dirty="0">
                      <a:solidFill>
                        <a:schemeClr val="tx1">
                          <a:alpha val="99000"/>
                        </a:schemeClr>
                      </a:solidFill>
                    </a:rPr>
                    <a:t>Billions of networked devices</a:t>
                  </a:r>
                </a:p>
              </p:txBody>
            </p:sp>
            <p:sp>
              <p:nvSpPr>
                <p:cNvPr id="35" name="Rectangle 34"/>
                <p:cNvSpPr/>
                <p:nvPr/>
              </p:nvSpPr>
              <p:spPr bwMode="auto">
                <a:xfrm>
                  <a:off x="9378616" y="4211052"/>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20" tIns="45720" rIns="45720" bIns="45720" numCol="1" rtlCol="0" anchor="ctr" anchorCtr="0" compatLnSpc="1">
                  <a:prstTxWarp prst="textNoShape">
                    <a:avLst/>
                  </a:prstTxWarp>
                </a:bodyPr>
                <a:lstStyle/>
                <a:p>
                  <a:pPr algn="ctr" defTabSz="685637" fontAlgn="base">
                    <a:spcBef>
                      <a:spcPct val="0"/>
                    </a:spcBef>
                    <a:spcAft>
                      <a:spcPct val="0"/>
                    </a:spcAft>
                  </a:pPr>
                  <a:r>
                    <a:rPr lang="en-US" sz="1200" spc="-113" dirty="0">
                      <a:solidFill>
                        <a:schemeClr val="tx1">
                          <a:alpha val="99000"/>
                        </a:schemeClr>
                      </a:solidFill>
                    </a:rPr>
                    <a:t>High-bandwidth access</a:t>
                  </a:r>
                </a:p>
              </p:txBody>
            </p:sp>
            <p:sp>
              <p:nvSpPr>
                <p:cNvPr id="55" name="TextBox 54"/>
                <p:cNvSpPr txBox="1"/>
                <p:nvPr/>
              </p:nvSpPr>
              <p:spPr>
                <a:xfrm>
                  <a:off x="9378616" y="3803992"/>
                  <a:ext cx="1547999" cy="369332"/>
                </a:xfrm>
                <a:prstGeom prst="rect">
                  <a:avLst/>
                </a:prstGeom>
                <a:noFill/>
              </p:spPr>
              <p:txBody>
                <a:bodyPr wrap="square" lIns="0" tIns="0" rIns="0" bIns="0" rtlCol="0">
                  <a:spAutoFit/>
                </a:bodyPr>
                <a:lstStyle/>
                <a:p>
                  <a:pPr algn="ctr"/>
                  <a:r>
                    <a:rPr lang="en-US" sz="900" b="1" dirty="0">
                      <a:gradFill>
                        <a:gsLst>
                          <a:gs pos="0">
                            <a:schemeClr val="tx1"/>
                          </a:gs>
                          <a:gs pos="86000">
                            <a:schemeClr val="tx1"/>
                          </a:gs>
                        </a:gsLst>
                        <a:lin ang="5400000" scaled="0"/>
                      </a:gradFill>
                    </a:rPr>
                    <a:t>Cable: </a:t>
                  </a:r>
                  <a:r>
                    <a:rPr lang="en-US" sz="900" b="1" dirty="0">
                      <a:gradFill>
                        <a:gsLst>
                          <a:gs pos="0">
                            <a:schemeClr val="tx1"/>
                          </a:gs>
                          <a:gs pos="86000">
                            <a:schemeClr val="tx1"/>
                          </a:gs>
                        </a:gsLst>
                        <a:lin ang="5400000" scaled="0"/>
                      </a:gradFill>
                    </a:rPr>
                    <a:t>10Mbs</a:t>
                  </a:r>
                  <a:r>
                    <a:rPr lang="en-US" sz="900" b="1" dirty="0">
                      <a:gradFill>
                        <a:gsLst>
                          <a:gs pos="0">
                            <a:schemeClr val="tx1"/>
                          </a:gs>
                          <a:gs pos="86000">
                            <a:schemeClr val="tx1"/>
                          </a:gs>
                        </a:gsLst>
                        <a:lin ang="5400000" scaled="0"/>
                      </a:gradFill>
                    </a:rPr>
                    <a:t>+</a:t>
                  </a:r>
                </a:p>
                <a:p>
                  <a:pPr algn="ctr"/>
                  <a:r>
                    <a:rPr lang="en-US" sz="900" b="1" dirty="0">
                      <a:gradFill>
                        <a:gsLst>
                          <a:gs pos="0">
                            <a:schemeClr val="tx1"/>
                          </a:gs>
                          <a:gs pos="86000">
                            <a:schemeClr val="tx1"/>
                          </a:gs>
                        </a:gsLst>
                        <a:lin ang="5400000" scaled="0"/>
                      </a:gradFill>
                    </a:rPr>
                    <a:t>Fiber: </a:t>
                  </a:r>
                  <a:r>
                    <a:rPr lang="en-US" sz="900" b="1" dirty="0">
                      <a:gradFill>
                        <a:gsLst>
                          <a:gs pos="0">
                            <a:schemeClr val="tx1"/>
                          </a:gs>
                          <a:gs pos="86000">
                            <a:schemeClr val="tx1"/>
                          </a:gs>
                        </a:gsLst>
                        <a:lin ang="5400000" scaled="0"/>
                      </a:gradFill>
                    </a:rPr>
                    <a:t>50-100Mbs</a:t>
                  </a:r>
                  <a:endParaRPr lang="en-US" sz="900" b="1" dirty="0">
                    <a:gradFill>
                      <a:gsLst>
                        <a:gs pos="0">
                          <a:schemeClr val="tx1"/>
                        </a:gs>
                        <a:gs pos="86000">
                          <a:schemeClr val="tx1"/>
                        </a:gs>
                      </a:gsLst>
                      <a:lin ang="5400000" scaled="0"/>
                    </a:gradFill>
                  </a:endParaRPr>
                </a:p>
              </p:txBody>
            </p:sp>
            <p:sp>
              <p:nvSpPr>
                <p:cNvPr id="2048" name="TextBox 2047"/>
                <p:cNvSpPr txBox="1"/>
                <p:nvPr/>
              </p:nvSpPr>
              <p:spPr>
                <a:xfrm>
                  <a:off x="7889556" y="3312890"/>
                  <a:ext cx="1290539" cy="738664"/>
                </a:xfrm>
                <a:prstGeom prst="rect">
                  <a:avLst/>
                </a:prstGeom>
                <a:noFill/>
              </p:spPr>
              <p:txBody>
                <a:bodyPr wrap="square" lIns="0" tIns="0" rIns="0" bIns="0" rtlCol="0">
                  <a:spAutoFit/>
                </a:bodyPr>
                <a:lstStyle/>
                <a:p>
                  <a:pPr algn="ctr"/>
                  <a:r>
                    <a:rPr lang="en-US" sz="900" b="1" dirty="0">
                      <a:gradFill>
                        <a:gsLst>
                          <a:gs pos="0">
                            <a:schemeClr val="tx1"/>
                          </a:gs>
                          <a:gs pos="86000">
                            <a:schemeClr val="tx1"/>
                          </a:gs>
                        </a:gsLst>
                        <a:lin ang="5400000" scaled="0"/>
                      </a:gradFill>
                    </a:rPr>
                    <a:t>6+billion people</a:t>
                  </a:r>
                </a:p>
                <a:p>
                  <a:pPr algn="ctr"/>
                  <a:r>
                    <a:rPr lang="en-US" sz="900" b="1" dirty="0">
                      <a:gradFill>
                        <a:gsLst>
                          <a:gs pos="0">
                            <a:schemeClr val="tx1"/>
                          </a:gs>
                          <a:gs pos="86000">
                            <a:schemeClr val="tx1"/>
                          </a:gs>
                        </a:gsLst>
                        <a:lin ang="5400000" scaled="0"/>
                      </a:gradFill>
                    </a:rPr>
                    <a:t>1.5 billion use net</a:t>
                  </a:r>
                </a:p>
                <a:p>
                  <a:pPr algn="ctr"/>
                  <a:r>
                    <a:rPr lang="en-US" sz="900" b="1" dirty="0">
                      <a:gradFill>
                        <a:gsLst>
                          <a:gs pos="0">
                            <a:schemeClr val="tx1"/>
                          </a:gs>
                          <a:gs pos="86000">
                            <a:schemeClr val="tx1"/>
                          </a:gs>
                        </a:gsLst>
                        <a:lin ang="5400000" scaled="0"/>
                      </a:gradFill>
                    </a:rPr>
                    <a:t>US: 4.3 devices </a:t>
                  </a:r>
                </a:p>
                <a:p>
                  <a:pPr algn="ctr"/>
                  <a:r>
                    <a:rPr lang="en-US" sz="900" b="1" dirty="0">
                      <a:gradFill>
                        <a:gsLst>
                          <a:gs pos="0">
                            <a:schemeClr val="tx1"/>
                          </a:gs>
                          <a:gs pos="86000">
                            <a:schemeClr val="tx1"/>
                          </a:gs>
                        </a:gsLst>
                        <a:lin ang="5400000" scaled="0"/>
                      </a:gradFill>
                    </a:rPr>
                    <a:t>per adult</a:t>
                  </a:r>
                </a:p>
              </p:txBody>
            </p:sp>
          </p:grpSp>
          <p:pic>
            <p:nvPicPr>
              <p:cNvPr id="2068" name="Picture 20" descr="C:\Users\HOWARDY.REDMOND\AppData\Local\Microsoft\Windows\Temporary Internet Files\Content.IE5\D2ELR7P4\MC900432567[1].png"/>
              <p:cNvPicPr>
                <a:picLocks noChangeAspect="1" noChangeArrowheads="1"/>
              </p:cNvPicPr>
              <p:nvPr/>
            </p:nvPicPr>
            <p:blipFill>
              <a:blip r:embed="rId20">
                <a:extLst>
                  <a:ext uri="{BEBA8EAE-BF5A-486C-A8C5-ECC9F3942E4B}">
                    <a14:imgProps xmlns:a14="http://schemas.microsoft.com/office/drawing/2010/main">
                      <a14:imgLayer r:embed="rId21">
                        <a14:imgEffect>
                          <a14:brightnessContrast bright="88000"/>
                        </a14:imgEffect>
                      </a14:imgLayer>
                    </a14:imgProps>
                  </a:ext>
                  <a:ext uri="{28A0092B-C50C-407E-A947-70E740481C1C}">
                    <a14:useLocalDpi xmlns:a14="http://schemas.microsoft.com/office/drawing/2010/main" val="0"/>
                  </a:ext>
                </a:extLst>
              </a:blip>
              <a:srcRect/>
              <a:stretch>
                <a:fillRect/>
              </a:stretch>
            </p:blipFill>
            <p:spPr bwMode="auto">
              <a:xfrm>
                <a:off x="9690404" y="3012108"/>
                <a:ext cx="924422" cy="924422"/>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62"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64"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2"/>
              </a:rPr>
              <a:t>www.rapidbbs.cn</a:t>
            </a:r>
            <a:endParaRPr lang="zh-CN" altLang="en-US" sz="1200" b="0">
              <a:latin typeface="Arial" charset="0"/>
              <a:ea typeface="ＭＳ Ｐゴシック" pitchFamily="34" charset="-128"/>
            </a:endParaRPr>
          </a:p>
        </p:txBody>
      </p:sp>
      <p:pic>
        <p:nvPicPr>
          <p:cNvPr id="65" name="Picture 2">
            <a:hlinkClick r:id="rId22"/>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9382351"/>
      </p:ext>
    </p:extLst>
  </p:cSld>
  <p:clrMapOvr>
    <a:masterClrMapping/>
  </p:clrMapOvr>
  <p:transition spd="slow">
    <p:push dir="u"/>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14:presetBounceEnd="5000">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14:bounceEnd="5000">
                                          <p:cBhvr additive="base">
                                            <p:cTn id="7" dur="1000" fill="hold"/>
                                            <p:tgtEl>
                                              <p:spTgt spid="9"/>
                                            </p:tgtEl>
                                            <p:attrNameLst>
                                              <p:attrName>ppt_x</p:attrName>
                                            </p:attrNameLst>
                                          </p:cBhvr>
                                          <p:tavLst>
                                            <p:tav tm="0">
                                              <p:val>
                                                <p:strVal val="0-#ppt_w/2"/>
                                              </p:val>
                                            </p:tav>
                                            <p:tav tm="100000">
                                              <p:val>
                                                <p:strVal val="#ppt_x"/>
                                              </p:val>
                                            </p:tav>
                                          </p:tavLst>
                                        </p:anim>
                                        <p:anim calcmode="lin" valueType="num" p14:bounceEnd="5000">
                                          <p:cBhvr additive="base">
                                            <p:cTn id="8" dur="10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14:presetBounceEnd="5000">
                                      <p:stCondLst>
                                        <p:cond delay="0"/>
                                      </p:stCondLst>
                                      <p:childTnLst>
                                        <p:set>
                                          <p:cBhvr>
                                            <p:cTn id="10" dur="1" fill="hold">
                                              <p:stCondLst>
                                                <p:cond delay="0"/>
                                              </p:stCondLst>
                                            </p:cTn>
                                            <p:tgtEl>
                                              <p:spTgt spid="28"/>
                                            </p:tgtEl>
                                            <p:attrNameLst>
                                              <p:attrName>style.visibility</p:attrName>
                                            </p:attrNameLst>
                                          </p:cBhvr>
                                          <p:to>
                                            <p:strVal val="visible"/>
                                          </p:to>
                                        </p:set>
                                        <p:anim calcmode="lin" valueType="num" p14:bounceEnd="5000">
                                          <p:cBhvr additive="base">
                                            <p:cTn id="11" dur="1000" fill="hold"/>
                                            <p:tgtEl>
                                              <p:spTgt spid="28"/>
                                            </p:tgtEl>
                                            <p:attrNameLst>
                                              <p:attrName>ppt_x</p:attrName>
                                            </p:attrNameLst>
                                          </p:cBhvr>
                                          <p:tavLst>
                                            <p:tav tm="0">
                                              <p:val>
                                                <p:strVal val="1+#ppt_w/2"/>
                                              </p:val>
                                            </p:tav>
                                            <p:tav tm="100000">
                                              <p:val>
                                                <p:strVal val="#ppt_x"/>
                                              </p:val>
                                            </p:tav>
                                          </p:tavLst>
                                        </p:anim>
                                        <p:anim calcmode="lin" valueType="num" p14:bounceEnd="5000">
                                          <p:cBhvr additive="base">
                                            <p:cTn id="12" dur="1000" fill="hold"/>
                                            <p:tgtEl>
                                              <p:spTgt spid="2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1000" fill="hold"/>
                                            <p:tgtEl>
                                              <p:spTgt spid="9"/>
                                            </p:tgtEl>
                                            <p:attrNameLst>
                                              <p:attrName>ppt_x</p:attrName>
                                            </p:attrNameLst>
                                          </p:cBhvr>
                                          <p:tavLst>
                                            <p:tav tm="0">
                                              <p:val>
                                                <p:strVal val="0-#ppt_w/2"/>
                                              </p:val>
                                            </p:tav>
                                            <p:tav tm="100000">
                                              <p:val>
                                                <p:strVal val="#ppt_x"/>
                                              </p:val>
                                            </p:tav>
                                          </p:tavLst>
                                        </p:anim>
                                        <p:anim calcmode="lin" valueType="num">
                                          <p:cBhvr additive="base">
                                            <p:cTn id="8" dur="10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28"/>
                                            </p:tgtEl>
                                            <p:attrNameLst>
                                              <p:attrName>style.visibility</p:attrName>
                                            </p:attrNameLst>
                                          </p:cBhvr>
                                          <p:to>
                                            <p:strVal val="visible"/>
                                          </p:to>
                                        </p:set>
                                        <p:anim calcmode="lin" valueType="num">
                                          <p:cBhvr additive="base">
                                            <p:cTn id="11" dur="1000" fill="hold"/>
                                            <p:tgtEl>
                                              <p:spTgt spid="28"/>
                                            </p:tgtEl>
                                            <p:attrNameLst>
                                              <p:attrName>ppt_x</p:attrName>
                                            </p:attrNameLst>
                                          </p:cBhvr>
                                          <p:tavLst>
                                            <p:tav tm="0">
                                              <p:val>
                                                <p:strVal val="1+#ppt_w/2"/>
                                              </p:val>
                                            </p:tav>
                                            <p:tav tm="100000">
                                              <p:val>
                                                <p:strVal val="#ppt_x"/>
                                              </p:val>
                                            </p:tav>
                                          </p:tavLst>
                                        </p:anim>
                                        <p:anim calcmode="lin" valueType="num">
                                          <p:cBhvr additive="base">
                                            <p:cTn id="12" dur="1000" fill="hold"/>
                                            <p:tgtEl>
                                              <p:spTgt spid="2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
</file>

<file path=ppt/slides/slide4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indows Azure</a:t>
            </a:r>
            <a:endParaRPr lang="en-US" dirty="0"/>
          </a:p>
        </p:txBody>
      </p:sp>
      <p:grpSp>
        <p:nvGrpSpPr>
          <p:cNvPr id="5" name="Group 4"/>
          <p:cNvGrpSpPr/>
          <p:nvPr/>
        </p:nvGrpSpPr>
        <p:grpSpPr>
          <a:xfrm>
            <a:off x="538134" y="1497565"/>
            <a:ext cx="2603437" cy="2432705"/>
            <a:chOff x="627895" y="2692245"/>
            <a:chExt cx="2185744" cy="2042935"/>
          </a:xfrm>
        </p:grpSpPr>
        <p:sp>
          <p:nvSpPr>
            <p:cNvPr id="6" name="Rectangle 5"/>
            <p:cNvSpPr/>
            <p:nvPr/>
          </p:nvSpPr>
          <p:spPr bwMode="auto">
            <a:xfrm>
              <a:off x="627895" y="2692245"/>
              <a:ext cx="2185744" cy="2042935"/>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274320" numCol="1" rtlCol="0" anchor="b" anchorCtr="0" compatLnSpc="1">
              <a:prstTxWarp prst="textNoShape">
                <a:avLst/>
              </a:prstTxWarp>
            </a:bodyPr>
            <a:lstStyle/>
            <a:p>
              <a:pPr algn="ctr" defTabSz="685666" fontAlgn="base">
                <a:spcBef>
                  <a:spcPct val="0"/>
                </a:spcBef>
                <a:spcAft>
                  <a:spcPct val="0"/>
                </a:spcAft>
              </a:pPr>
              <a:r>
                <a:rPr lang="en-US" sz="2400" dirty="0">
                  <a:gradFill>
                    <a:gsLst>
                      <a:gs pos="0">
                        <a:srgbClr val="FFFFFF"/>
                      </a:gs>
                      <a:gs pos="100000">
                        <a:srgbClr val="FFFFFF"/>
                      </a:gs>
                    </a:gsLst>
                    <a:lin ang="5400000" scaled="0"/>
                  </a:gradFill>
                </a:rPr>
                <a:t>flexible</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13816" y="3276189"/>
              <a:ext cx="1061072" cy="646289"/>
            </a:xfrm>
            <a:prstGeom prst="rect">
              <a:avLst/>
            </a:prstGeom>
          </p:spPr>
        </p:pic>
      </p:grpSp>
      <p:grpSp>
        <p:nvGrpSpPr>
          <p:cNvPr id="8" name="Group 7"/>
          <p:cNvGrpSpPr/>
          <p:nvPr/>
        </p:nvGrpSpPr>
        <p:grpSpPr>
          <a:xfrm>
            <a:off x="3278872" y="1497565"/>
            <a:ext cx="2603437" cy="2432705"/>
            <a:chOff x="2992889" y="2692245"/>
            <a:chExt cx="2185744" cy="2042935"/>
          </a:xfrm>
        </p:grpSpPr>
        <p:sp>
          <p:nvSpPr>
            <p:cNvPr id="9" name="Rectangle 8"/>
            <p:cNvSpPr/>
            <p:nvPr/>
          </p:nvSpPr>
          <p:spPr bwMode="auto">
            <a:xfrm>
              <a:off x="2992889" y="2692245"/>
              <a:ext cx="2185744" cy="2042935"/>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274320" numCol="1" rtlCol="0" anchor="b" anchorCtr="0" compatLnSpc="1">
              <a:prstTxWarp prst="textNoShape">
                <a:avLst/>
              </a:prstTxWarp>
            </a:bodyPr>
            <a:lstStyle/>
            <a:p>
              <a:pPr algn="ctr" defTabSz="685666" fontAlgn="base">
                <a:spcBef>
                  <a:spcPct val="0"/>
                </a:spcBef>
                <a:spcAft>
                  <a:spcPct val="0"/>
                </a:spcAft>
              </a:pPr>
              <a:r>
                <a:rPr lang="en-US" sz="2400" dirty="0">
                  <a:gradFill>
                    <a:gsLst>
                      <a:gs pos="0">
                        <a:srgbClr val="FFFFFF"/>
                      </a:gs>
                      <a:gs pos="100000">
                        <a:srgbClr val="FFFFFF"/>
                      </a:gs>
                    </a:gsLst>
                    <a:lin ang="5400000" scaled="0"/>
                  </a:gradFill>
                </a:rPr>
                <a:t>open</a:t>
              </a: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73579" y="3253697"/>
              <a:ext cx="948906" cy="687139"/>
            </a:xfrm>
            <a:prstGeom prst="rect">
              <a:avLst/>
            </a:prstGeom>
          </p:spPr>
        </p:pic>
      </p:grpSp>
      <p:grpSp>
        <p:nvGrpSpPr>
          <p:cNvPr id="11" name="Group 10"/>
          <p:cNvGrpSpPr/>
          <p:nvPr/>
        </p:nvGrpSpPr>
        <p:grpSpPr>
          <a:xfrm>
            <a:off x="6019610" y="1497565"/>
            <a:ext cx="2603437" cy="2432705"/>
            <a:chOff x="5368948" y="2692245"/>
            <a:chExt cx="2185744" cy="2042935"/>
          </a:xfrm>
        </p:grpSpPr>
        <p:sp>
          <p:nvSpPr>
            <p:cNvPr id="12" name="Rectangle 11"/>
            <p:cNvSpPr/>
            <p:nvPr/>
          </p:nvSpPr>
          <p:spPr bwMode="auto">
            <a:xfrm>
              <a:off x="5368948" y="2692245"/>
              <a:ext cx="2185744" cy="2042935"/>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274320" numCol="1" rtlCol="0" anchor="b" anchorCtr="0" compatLnSpc="1">
              <a:prstTxWarp prst="textNoShape">
                <a:avLst/>
              </a:prstTxWarp>
            </a:bodyPr>
            <a:lstStyle/>
            <a:p>
              <a:pPr algn="ctr" defTabSz="685666" fontAlgn="base">
                <a:spcBef>
                  <a:spcPct val="0"/>
                </a:spcBef>
                <a:spcAft>
                  <a:spcPct val="0"/>
                </a:spcAft>
              </a:pPr>
              <a:r>
                <a:rPr lang="en-US" sz="2400" dirty="0">
                  <a:gradFill>
                    <a:gsLst>
                      <a:gs pos="0">
                        <a:srgbClr val="FFFFFF"/>
                      </a:gs>
                      <a:gs pos="100000">
                        <a:srgbClr val="FFFFFF"/>
                      </a:gs>
                    </a:gsLst>
                    <a:lin ang="5400000" scaled="0"/>
                  </a:gradFill>
                </a:rPr>
                <a:t>solid</a:t>
              </a:r>
              <a:endParaRPr lang="en-US" sz="2400" dirty="0">
                <a:gradFill>
                  <a:gsLst>
                    <a:gs pos="0">
                      <a:srgbClr val="FFFFFF"/>
                    </a:gs>
                    <a:gs pos="100000">
                      <a:srgbClr val="FFFFFF"/>
                    </a:gs>
                  </a:gsLst>
                  <a:lin ang="5400000" scaled="0"/>
                </a:gradFill>
              </a:endParaRPr>
            </a:p>
          </p:txBody>
        </p:sp>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07955" y="3210376"/>
              <a:ext cx="1196887" cy="717297"/>
            </a:xfrm>
            <a:prstGeom prst="rect">
              <a:avLst/>
            </a:prstGeom>
          </p:spPr>
        </p:pic>
      </p:grpSp>
      <p:sp>
        <p:nvSpPr>
          <p:cNvPr id="14"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5"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5"/>
              </a:rPr>
              <a:t>www.rapidbbs.cn</a:t>
            </a:r>
            <a:endParaRPr lang="zh-CN" altLang="en-US" sz="1200" b="0">
              <a:latin typeface="Arial" charset="0"/>
              <a:ea typeface="ＭＳ Ｐゴシック" pitchFamily="34" charset="-128"/>
            </a:endParaRPr>
          </a:p>
        </p:txBody>
      </p:sp>
      <p:pic>
        <p:nvPicPr>
          <p:cNvPr id="16" name="Picture 2">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744876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nodeType="withEffect">
                                  <p:stCondLst>
                                    <p:cond delay="50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nodeType="withEffect">
                                  <p:stCondLst>
                                    <p:cond delay="75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Big </a:t>
            </a:r>
            <a:r>
              <a:rPr lang="en-US" dirty="0"/>
              <a:t>Data</a:t>
            </a:r>
          </a:p>
        </p:txBody>
      </p:sp>
      <p:sp>
        <p:nvSpPr>
          <p:cNvPr id="56" name="Round Same Side Corner Rectangle 55"/>
          <p:cNvSpPr/>
          <p:nvPr/>
        </p:nvSpPr>
        <p:spPr>
          <a:xfrm>
            <a:off x="3405803" y="859550"/>
            <a:ext cx="2332327" cy="2331720"/>
          </a:xfrm>
          <a:prstGeom prst="rect">
            <a:avLst/>
          </a:prstGeom>
          <a:solidFill>
            <a:schemeClr val="accent1"/>
          </a:solidFill>
          <a:ln w="10795" cap="flat" cmpd="sng" algn="ctr">
            <a:noFill/>
            <a:prstDash val="dash"/>
          </a:ln>
          <a:effectLst/>
        </p:spPr>
        <p:txBody>
          <a:bodyPr lIns="68568" tIns="68568" rIns="68568" bIns="68568" rtlCol="0" anchor="b"/>
          <a:lstStyle/>
          <a:p>
            <a:pPr defTabSz="685691"/>
            <a:r>
              <a:rPr lang="en-US" kern="0" dirty="0">
                <a:ln>
                  <a:solidFill>
                    <a:schemeClr val="bg1">
                      <a:alpha val="0"/>
                    </a:schemeClr>
                  </a:solidFill>
                </a:ln>
                <a:cs typeface="Arial"/>
              </a:rPr>
              <a:t>l</a:t>
            </a:r>
            <a:r>
              <a:rPr lang="en-US" kern="0" dirty="0" smtClean="0">
                <a:ln>
                  <a:solidFill>
                    <a:schemeClr val="bg1">
                      <a:alpha val="0"/>
                    </a:schemeClr>
                  </a:solidFill>
                </a:ln>
                <a:cs typeface="Arial"/>
              </a:rPr>
              <a:t>arge </a:t>
            </a:r>
            <a:r>
              <a:rPr lang="en-US" kern="0" dirty="0">
                <a:ln>
                  <a:solidFill>
                    <a:schemeClr val="bg1">
                      <a:alpha val="0"/>
                    </a:schemeClr>
                  </a:solidFill>
                </a:ln>
                <a:cs typeface="Arial"/>
              </a:rPr>
              <a:t>d</a:t>
            </a:r>
            <a:r>
              <a:rPr lang="en-US" kern="0" dirty="0" smtClean="0">
                <a:ln>
                  <a:solidFill>
                    <a:schemeClr val="bg1">
                      <a:alpha val="0"/>
                    </a:schemeClr>
                  </a:solidFill>
                </a:ln>
                <a:cs typeface="Arial"/>
              </a:rPr>
              <a:t>ata volumes</a:t>
            </a:r>
            <a:endParaRPr lang="en-US" kern="0" dirty="0">
              <a:ln>
                <a:solidFill>
                  <a:schemeClr val="bg1">
                    <a:alpha val="0"/>
                  </a:schemeClr>
                </a:solidFill>
              </a:ln>
              <a:cs typeface="Arial"/>
            </a:endParaRPr>
          </a:p>
        </p:txBody>
      </p:sp>
      <p:sp>
        <p:nvSpPr>
          <p:cNvPr id="134" name="Isosceles Triangle 133"/>
          <p:cNvSpPr/>
          <p:nvPr/>
        </p:nvSpPr>
        <p:spPr bwMode="auto">
          <a:xfrm rot="10800000">
            <a:off x="996958" y="3252040"/>
            <a:ext cx="7146861" cy="429020"/>
          </a:xfrm>
          <a:prstGeom prst="triangle">
            <a:avLst/>
          </a:prstGeom>
          <a:solidFill>
            <a:schemeClr val="tx1">
              <a:lumMod val="65000"/>
            </a:schemeClr>
          </a:solidFill>
          <a:ln>
            <a:noFill/>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ctr" anchorCtr="0" compatLnSpc="1">
            <a:prstTxWarp prst="textNoShape">
              <a:avLst/>
            </a:prstTxWarp>
            <a:noAutofit/>
          </a:bodyPr>
          <a:lstStyle/>
          <a:p>
            <a:pPr algn="ctr" defTabSz="685466" fontAlgn="base">
              <a:spcBef>
                <a:spcPct val="0"/>
              </a:spcBef>
              <a:spcAft>
                <a:spcPct val="0"/>
              </a:spcAft>
            </a:pPr>
            <a:endParaRPr lang="en-US" sz="1500" dirty="0">
              <a:gradFill>
                <a:gsLst>
                  <a:gs pos="0">
                    <a:srgbClr val="FFFFFF"/>
                  </a:gs>
                  <a:gs pos="100000">
                    <a:srgbClr val="FFFFFF"/>
                  </a:gs>
                </a:gsLst>
                <a:lin ang="5400000" scaled="0"/>
              </a:gradFill>
            </a:endParaRPr>
          </a:p>
        </p:txBody>
      </p:sp>
      <p:grpSp>
        <p:nvGrpSpPr>
          <p:cNvPr id="2" name="Group 1"/>
          <p:cNvGrpSpPr/>
          <p:nvPr/>
        </p:nvGrpSpPr>
        <p:grpSpPr>
          <a:xfrm>
            <a:off x="996958" y="3733688"/>
            <a:ext cx="7146861" cy="1234440"/>
            <a:chOff x="1328932" y="4978251"/>
            <a:chExt cx="9526666" cy="1645920"/>
          </a:xfrm>
        </p:grpSpPr>
        <p:sp>
          <p:nvSpPr>
            <p:cNvPr id="135" name="Round Same Side Corner Rectangle 73"/>
            <p:cNvSpPr/>
            <p:nvPr/>
          </p:nvSpPr>
          <p:spPr>
            <a:xfrm>
              <a:off x="1328932" y="4978251"/>
              <a:ext cx="9526666" cy="1645920"/>
            </a:xfrm>
            <a:prstGeom prst="rect">
              <a:avLst/>
            </a:prstGeom>
            <a:solidFill>
              <a:schemeClr val="accent6"/>
            </a:solidFill>
            <a:ln w="10795" cap="flat" cmpd="sng" algn="ctr">
              <a:noFill/>
              <a:prstDash val="dash"/>
            </a:ln>
            <a:effectLst/>
          </p:spPr>
          <p:txBody>
            <a:bodyPr lIns="91436" tIns="91436" rIns="91436" bIns="91436" rtlCol="0" anchor="ctr" anchorCtr="0"/>
            <a:lstStyle/>
            <a:p>
              <a:pPr defTabSz="685691">
                <a:defRPr/>
              </a:pPr>
              <a:r>
                <a:rPr lang="en-US" sz="2700" kern="0" dirty="0">
                  <a:ln>
                    <a:solidFill>
                      <a:schemeClr val="bg1">
                        <a:alpha val="0"/>
                      </a:schemeClr>
                    </a:solidFill>
                  </a:ln>
                  <a:cs typeface="Arial"/>
                </a:rPr>
                <a:t>New Questions &amp; New Insights</a:t>
              </a:r>
            </a:p>
          </p:txBody>
        </p:sp>
        <p:pic>
          <p:nvPicPr>
            <p:cNvPr id="137" name="Picture 136" descr="QI.png"/>
            <p:cNvPicPr>
              <a:picLocks noChangeAspect="1"/>
            </p:cNvPicPr>
            <p:nvPr/>
          </p:nvPicPr>
          <p:blipFill>
            <a:blip r:embed="rId3" cstate="print">
              <a:biLevel thresh="25000"/>
              <a:extLst>
                <a:ext uri="{BEBA8EAE-BF5A-486C-A8C5-ECC9F3942E4B}">
                  <a14:imgProps xmlns:a14="http://schemas.microsoft.com/office/drawing/2010/main">
                    <a14:imgLayer r:embed="rId4">
                      <a14:imgEffect>
                        <a14:colorTemperature colorTemp="5300"/>
                      </a14:imgEffect>
                      <a14:imgEffect>
                        <a14:saturation sat="200000"/>
                      </a14:imgEffect>
                    </a14:imgLayer>
                  </a14:imgProps>
                </a:ext>
              </a:extLst>
            </a:blip>
            <a:stretch>
              <a:fillRect/>
            </a:stretch>
          </p:blipFill>
          <p:spPr>
            <a:xfrm>
              <a:off x="8072164" y="5069469"/>
              <a:ext cx="1799960" cy="1408035"/>
            </a:xfrm>
            <a:prstGeom prst="rect">
              <a:avLst/>
            </a:prstGeom>
            <a:effectLst/>
          </p:spPr>
        </p:pic>
      </p:grpSp>
      <p:grpSp>
        <p:nvGrpSpPr>
          <p:cNvPr id="10" name="Group 9"/>
          <p:cNvGrpSpPr/>
          <p:nvPr/>
        </p:nvGrpSpPr>
        <p:grpSpPr>
          <a:xfrm>
            <a:off x="5811499" y="859550"/>
            <a:ext cx="2332327" cy="1131570"/>
            <a:chOff x="7999409" y="1146067"/>
            <a:chExt cx="3108959" cy="1508760"/>
          </a:xfrm>
        </p:grpSpPr>
        <p:sp>
          <p:nvSpPr>
            <p:cNvPr id="48" name="Round Same Side Corner Rectangle 73"/>
            <p:cNvSpPr/>
            <p:nvPr/>
          </p:nvSpPr>
          <p:spPr>
            <a:xfrm>
              <a:off x="7999409" y="1146067"/>
              <a:ext cx="3108959" cy="1508760"/>
            </a:xfrm>
            <a:prstGeom prst="rect">
              <a:avLst/>
            </a:prstGeom>
            <a:solidFill>
              <a:schemeClr val="accent1"/>
            </a:solidFill>
            <a:ln w="10795" cap="flat" cmpd="sng" algn="ctr">
              <a:noFill/>
              <a:prstDash val="dash"/>
            </a:ln>
            <a:effectLst/>
          </p:spPr>
          <p:txBody>
            <a:bodyPr lIns="91440" tIns="91440" rIns="91440" bIns="91440" rtlCol="0" anchor="b"/>
            <a:lstStyle/>
            <a:p>
              <a:pPr defTabSz="685691">
                <a:lnSpc>
                  <a:spcPct val="80000"/>
                </a:lnSpc>
              </a:pPr>
              <a:r>
                <a:rPr lang="en-US" kern="0" dirty="0">
                  <a:ln>
                    <a:solidFill>
                      <a:schemeClr val="bg1">
                        <a:alpha val="0"/>
                      </a:schemeClr>
                    </a:solidFill>
                  </a:ln>
                  <a:cs typeface="Arial"/>
                </a:rPr>
                <a:t>n</a:t>
              </a:r>
              <a:r>
                <a:rPr lang="en-US" kern="0" dirty="0" smtClean="0">
                  <a:ln>
                    <a:solidFill>
                      <a:schemeClr val="bg1">
                        <a:alpha val="0"/>
                      </a:schemeClr>
                    </a:solidFill>
                  </a:ln>
                  <a:cs typeface="Arial"/>
                </a:rPr>
                <a:t>ew </a:t>
              </a:r>
              <a:r>
                <a:rPr lang="en-US" kern="0" dirty="0">
                  <a:ln>
                    <a:solidFill>
                      <a:schemeClr val="bg1">
                        <a:alpha val="0"/>
                      </a:schemeClr>
                    </a:solidFill>
                  </a:ln>
                  <a:cs typeface="Arial"/>
                </a:rPr>
                <a:t>t</a:t>
              </a:r>
              <a:r>
                <a:rPr lang="en-US" kern="0" dirty="0" smtClean="0">
                  <a:ln>
                    <a:solidFill>
                      <a:schemeClr val="bg1">
                        <a:alpha val="0"/>
                      </a:schemeClr>
                    </a:solidFill>
                  </a:ln>
                  <a:cs typeface="Arial"/>
                </a:rPr>
                <a:t>echnologies</a:t>
              </a:r>
              <a:endParaRPr lang="en-US" kern="0" dirty="0">
                <a:ln>
                  <a:solidFill>
                    <a:schemeClr val="bg1">
                      <a:alpha val="0"/>
                    </a:schemeClr>
                  </a:solidFill>
                </a:ln>
                <a:cs typeface="Arial"/>
              </a:endParaRPr>
            </a:p>
          </p:txBody>
        </p:sp>
        <p:sp>
          <p:nvSpPr>
            <p:cNvPr id="33" name="Freeform 84"/>
            <p:cNvSpPr>
              <a:spLocks noEditPoints="1"/>
            </p:cNvSpPr>
            <p:nvPr/>
          </p:nvSpPr>
          <p:spPr bwMode="black">
            <a:xfrm>
              <a:off x="9224918" y="1324631"/>
              <a:ext cx="657948" cy="78652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dirty="0"/>
            </a:p>
          </p:txBody>
        </p:sp>
      </p:grpSp>
      <p:sp>
        <p:nvSpPr>
          <p:cNvPr id="35" name="Freeform 83"/>
          <p:cNvSpPr>
            <a:spLocks noEditPoints="1"/>
          </p:cNvSpPr>
          <p:nvPr/>
        </p:nvSpPr>
        <p:spPr bwMode="black">
          <a:xfrm>
            <a:off x="3994348" y="1283428"/>
            <a:ext cx="1147650" cy="1211175"/>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61717" tIns="30858" rIns="61717" bIns="30858" numCol="1" anchor="t" anchorCtr="0" compatLnSpc="1">
            <a:prstTxWarp prst="textNoShape">
              <a:avLst/>
            </a:prstTxWarp>
          </a:bodyPr>
          <a:lstStyle/>
          <a:p>
            <a:endParaRPr lang="en-US" sz="1200" dirty="0"/>
          </a:p>
        </p:txBody>
      </p:sp>
      <p:grpSp>
        <p:nvGrpSpPr>
          <p:cNvPr id="8" name="Group 7"/>
          <p:cNvGrpSpPr/>
          <p:nvPr/>
        </p:nvGrpSpPr>
        <p:grpSpPr>
          <a:xfrm>
            <a:off x="996967" y="859550"/>
            <a:ext cx="2332327" cy="1131570"/>
            <a:chOff x="554233" y="1146067"/>
            <a:chExt cx="3108960" cy="1508760"/>
          </a:xfrm>
        </p:grpSpPr>
        <p:sp>
          <p:nvSpPr>
            <p:cNvPr id="45" name="Round Same Side Corner Rectangle 73"/>
            <p:cNvSpPr/>
            <p:nvPr/>
          </p:nvSpPr>
          <p:spPr>
            <a:xfrm>
              <a:off x="554233" y="1146067"/>
              <a:ext cx="3108960" cy="1508760"/>
            </a:xfrm>
            <a:prstGeom prst="rect">
              <a:avLst/>
            </a:prstGeom>
            <a:solidFill>
              <a:schemeClr val="accent1"/>
            </a:solidFill>
            <a:ln w="10795" cap="flat" cmpd="sng" algn="ctr">
              <a:noFill/>
              <a:prstDash val="dash"/>
            </a:ln>
            <a:effectLst/>
          </p:spPr>
          <p:txBody>
            <a:bodyPr lIns="91440" tIns="91440" rIns="91440" bIns="91440" rtlCol="0" anchor="b"/>
            <a:lstStyle/>
            <a:p>
              <a:pPr defTabSz="685691">
                <a:lnSpc>
                  <a:spcPct val="80000"/>
                </a:lnSpc>
              </a:pPr>
              <a:r>
                <a:rPr lang="en-US" kern="0" dirty="0">
                  <a:ln>
                    <a:solidFill>
                      <a:schemeClr val="bg1">
                        <a:alpha val="0"/>
                      </a:schemeClr>
                    </a:solidFill>
                  </a:ln>
                  <a:cs typeface="Arial"/>
                </a:rPr>
                <a:t>n</a:t>
              </a:r>
              <a:r>
                <a:rPr lang="en-US" kern="0" dirty="0" smtClean="0">
                  <a:ln>
                    <a:solidFill>
                      <a:schemeClr val="bg1">
                        <a:alpha val="0"/>
                      </a:schemeClr>
                    </a:solidFill>
                  </a:ln>
                  <a:cs typeface="Arial"/>
                </a:rPr>
                <a:t>ew </a:t>
              </a:r>
              <a:r>
                <a:rPr lang="en-US" kern="0" dirty="0">
                  <a:ln>
                    <a:solidFill>
                      <a:schemeClr val="bg1">
                        <a:alpha val="0"/>
                      </a:schemeClr>
                    </a:solidFill>
                  </a:ln>
                  <a:cs typeface="Arial"/>
                </a:rPr>
                <a:t>d</a:t>
              </a:r>
              <a:r>
                <a:rPr lang="en-US" kern="0" dirty="0" smtClean="0">
                  <a:ln>
                    <a:solidFill>
                      <a:schemeClr val="bg1">
                        <a:alpha val="0"/>
                      </a:schemeClr>
                    </a:solidFill>
                  </a:ln>
                  <a:cs typeface="Arial"/>
                </a:rPr>
                <a:t>ata </a:t>
              </a:r>
              <a:r>
                <a:rPr lang="en-US" kern="0" dirty="0">
                  <a:ln>
                    <a:solidFill>
                      <a:schemeClr val="bg1">
                        <a:alpha val="0"/>
                      </a:schemeClr>
                    </a:solidFill>
                  </a:ln>
                  <a:cs typeface="Arial"/>
                </a:rPr>
                <a:t>s</a:t>
              </a:r>
              <a:r>
                <a:rPr lang="en-US" kern="0" dirty="0" smtClean="0">
                  <a:ln>
                    <a:solidFill>
                      <a:schemeClr val="bg1">
                        <a:alpha val="0"/>
                      </a:schemeClr>
                    </a:solidFill>
                  </a:ln>
                  <a:cs typeface="Arial"/>
                </a:rPr>
                <a:t>ources </a:t>
              </a:r>
              <a:endParaRPr lang="en-US" kern="0" dirty="0">
                <a:ln>
                  <a:solidFill>
                    <a:schemeClr val="bg1">
                      <a:alpha val="0"/>
                    </a:schemeClr>
                  </a:solidFill>
                </a:ln>
                <a:cs typeface="Arial"/>
              </a:endParaRPr>
            </a:p>
          </p:txBody>
        </p:sp>
        <p:sp>
          <p:nvSpPr>
            <p:cNvPr id="36" name="Freeform 7"/>
            <p:cNvSpPr>
              <a:spLocks/>
            </p:cNvSpPr>
            <p:nvPr/>
          </p:nvSpPr>
          <p:spPr bwMode="auto">
            <a:xfrm>
              <a:off x="1545628" y="1451631"/>
              <a:ext cx="1126170" cy="600921"/>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1" name="Group 10"/>
          <p:cNvGrpSpPr/>
          <p:nvPr/>
        </p:nvGrpSpPr>
        <p:grpSpPr>
          <a:xfrm>
            <a:off x="5811499" y="2059700"/>
            <a:ext cx="2332327" cy="1131570"/>
            <a:chOff x="7999412" y="2746267"/>
            <a:chExt cx="3108960" cy="1508760"/>
          </a:xfrm>
        </p:grpSpPr>
        <p:sp>
          <p:nvSpPr>
            <p:cNvPr id="49" name="Round Same Side Corner Rectangle 73"/>
            <p:cNvSpPr/>
            <p:nvPr/>
          </p:nvSpPr>
          <p:spPr>
            <a:xfrm>
              <a:off x="7999412" y="2746267"/>
              <a:ext cx="3108960" cy="1508760"/>
            </a:xfrm>
            <a:prstGeom prst="rect">
              <a:avLst/>
            </a:prstGeom>
            <a:solidFill>
              <a:schemeClr val="accent1"/>
            </a:solidFill>
            <a:ln w="10795" cap="flat" cmpd="sng" algn="ctr">
              <a:noFill/>
              <a:prstDash val="dash"/>
            </a:ln>
            <a:effectLst/>
          </p:spPr>
          <p:txBody>
            <a:bodyPr lIns="91440" tIns="91440" rIns="0" bIns="91440" rtlCol="0" anchor="b"/>
            <a:lstStyle/>
            <a:p>
              <a:pPr defTabSz="685691">
                <a:lnSpc>
                  <a:spcPct val="80000"/>
                </a:lnSpc>
              </a:pPr>
              <a:r>
                <a:rPr lang="en-US" kern="0" dirty="0">
                  <a:ln>
                    <a:solidFill>
                      <a:schemeClr val="bg1">
                        <a:alpha val="0"/>
                      </a:schemeClr>
                    </a:solidFill>
                  </a:ln>
                  <a:cs typeface="Arial"/>
                </a:rPr>
                <a:t>n</a:t>
              </a:r>
              <a:r>
                <a:rPr lang="en-US" kern="0" dirty="0" smtClean="0">
                  <a:ln>
                    <a:solidFill>
                      <a:schemeClr val="bg1">
                        <a:alpha val="0"/>
                      </a:schemeClr>
                    </a:solidFill>
                  </a:ln>
                  <a:cs typeface="Arial"/>
                </a:rPr>
                <a:t>ew </a:t>
              </a:r>
              <a:r>
                <a:rPr lang="en-US" kern="0" dirty="0">
                  <a:ln>
                    <a:solidFill>
                      <a:schemeClr val="bg1">
                        <a:alpha val="0"/>
                      </a:schemeClr>
                    </a:solidFill>
                  </a:ln>
                  <a:cs typeface="Arial"/>
                </a:rPr>
                <a:t>e</a:t>
              </a:r>
              <a:r>
                <a:rPr lang="en-US" kern="0" dirty="0" smtClean="0">
                  <a:ln>
                    <a:solidFill>
                      <a:schemeClr val="bg1">
                        <a:alpha val="0"/>
                      </a:schemeClr>
                    </a:solidFill>
                  </a:ln>
                  <a:cs typeface="Arial"/>
                </a:rPr>
                <a:t>conomics</a:t>
              </a:r>
              <a:endParaRPr lang="en-US" kern="0" dirty="0">
                <a:ln>
                  <a:solidFill>
                    <a:schemeClr val="bg1">
                      <a:alpha val="0"/>
                    </a:schemeClr>
                  </a:solidFill>
                </a:ln>
                <a:cs typeface="Arial"/>
              </a:endParaRPr>
            </a:p>
          </p:txBody>
        </p:sp>
        <p:sp>
          <p:nvSpPr>
            <p:cNvPr id="7" name="Freeform 27"/>
            <p:cNvSpPr>
              <a:spLocks noEditPoints="1"/>
            </p:cNvSpPr>
            <p:nvPr/>
          </p:nvSpPr>
          <p:spPr bwMode="auto">
            <a:xfrm>
              <a:off x="9072620" y="3001186"/>
              <a:ext cx="962545" cy="673321"/>
            </a:xfrm>
            <a:custGeom>
              <a:avLst/>
              <a:gdLst>
                <a:gd name="T0" fmla="*/ 30 w 176"/>
                <a:gd name="T1" fmla="*/ 0 h 123"/>
                <a:gd name="T2" fmla="*/ 0 w 176"/>
                <a:gd name="T3" fmla="*/ 31 h 123"/>
                <a:gd name="T4" fmla="*/ 0 w 176"/>
                <a:gd name="T5" fmla="*/ 93 h 123"/>
                <a:gd name="T6" fmla="*/ 30 w 176"/>
                <a:gd name="T7" fmla="*/ 123 h 123"/>
                <a:gd name="T8" fmla="*/ 176 w 176"/>
                <a:gd name="T9" fmla="*/ 123 h 123"/>
                <a:gd name="T10" fmla="*/ 176 w 176"/>
                <a:gd name="T11" fmla="*/ 0 h 123"/>
                <a:gd name="T12" fmla="*/ 30 w 176"/>
                <a:gd name="T13" fmla="*/ 0 h 123"/>
                <a:gd name="T14" fmla="*/ 21 w 176"/>
                <a:gd name="T15" fmla="*/ 69 h 123"/>
                <a:gd name="T16" fmla="*/ 13 w 176"/>
                <a:gd name="T17" fmla="*/ 61 h 123"/>
                <a:gd name="T18" fmla="*/ 21 w 176"/>
                <a:gd name="T19" fmla="*/ 54 h 123"/>
                <a:gd name="T20" fmla="*/ 28 w 176"/>
                <a:gd name="T21" fmla="*/ 61 h 123"/>
                <a:gd name="T22" fmla="*/ 21 w 176"/>
                <a:gd name="T23" fmla="*/ 69 h 123"/>
                <a:gd name="T24" fmla="*/ 106 w 176"/>
                <a:gd name="T25" fmla="*/ 96 h 123"/>
                <a:gd name="T26" fmla="*/ 106 w 176"/>
                <a:gd name="T27" fmla="*/ 108 h 123"/>
                <a:gd name="T28" fmla="*/ 99 w 176"/>
                <a:gd name="T29" fmla="*/ 108 h 123"/>
                <a:gd name="T30" fmla="*/ 99 w 176"/>
                <a:gd name="T31" fmla="*/ 96 h 123"/>
                <a:gd name="T32" fmla="*/ 82 w 176"/>
                <a:gd name="T33" fmla="*/ 91 h 123"/>
                <a:gd name="T34" fmla="*/ 85 w 176"/>
                <a:gd name="T35" fmla="*/ 84 h 123"/>
                <a:gd name="T36" fmla="*/ 101 w 176"/>
                <a:gd name="T37" fmla="*/ 89 h 123"/>
                <a:gd name="T38" fmla="*/ 114 w 176"/>
                <a:gd name="T39" fmla="*/ 77 h 123"/>
                <a:gd name="T40" fmla="*/ 101 w 176"/>
                <a:gd name="T41" fmla="*/ 64 h 123"/>
                <a:gd name="T42" fmla="*/ 83 w 176"/>
                <a:gd name="T43" fmla="*/ 44 h 123"/>
                <a:gd name="T44" fmla="*/ 100 w 176"/>
                <a:gd name="T45" fmla="*/ 26 h 123"/>
                <a:gd name="T46" fmla="*/ 100 w 176"/>
                <a:gd name="T47" fmla="*/ 15 h 123"/>
                <a:gd name="T48" fmla="*/ 107 w 176"/>
                <a:gd name="T49" fmla="*/ 15 h 123"/>
                <a:gd name="T50" fmla="*/ 107 w 176"/>
                <a:gd name="T51" fmla="*/ 26 h 123"/>
                <a:gd name="T52" fmla="*/ 122 w 176"/>
                <a:gd name="T53" fmla="*/ 30 h 123"/>
                <a:gd name="T54" fmla="*/ 119 w 176"/>
                <a:gd name="T55" fmla="*/ 37 h 123"/>
                <a:gd name="T56" fmla="*/ 105 w 176"/>
                <a:gd name="T57" fmla="*/ 33 h 123"/>
                <a:gd name="T58" fmla="*/ 93 w 176"/>
                <a:gd name="T59" fmla="*/ 43 h 123"/>
                <a:gd name="T60" fmla="*/ 107 w 176"/>
                <a:gd name="T61" fmla="*/ 56 h 123"/>
                <a:gd name="T62" fmla="*/ 124 w 176"/>
                <a:gd name="T63" fmla="*/ 77 h 123"/>
                <a:gd name="T64" fmla="*/ 106 w 176"/>
                <a:gd name="T65" fmla="*/ 9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6" h="123">
                  <a:moveTo>
                    <a:pt x="30" y="0"/>
                  </a:moveTo>
                  <a:cubicBezTo>
                    <a:pt x="30" y="0"/>
                    <a:pt x="30" y="0"/>
                    <a:pt x="0" y="31"/>
                  </a:cubicBezTo>
                  <a:cubicBezTo>
                    <a:pt x="0" y="31"/>
                    <a:pt x="0" y="31"/>
                    <a:pt x="0" y="93"/>
                  </a:cubicBezTo>
                  <a:cubicBezTo>
                    <a:pt x="0" y="93"/>
                    <a:pt x="0" y="93"/>
                    <a:pt x="30" y="123"/>
                  </a:cubicBezTo>
                  <a:cubicBezTo>
                    <a:pt x="30" y="123"/>
                    <a:pt x="30" y="123"/>
                    <a:pt x="176" y="123"/>
                  </a:cubicBezTo>
                  <a:cubicBezTo>
                    <a:pt x="176" y="0"/>
                    <a:pt x="176" y="0"/>
                    <a:pt x="176" y="0"/>
                  </a:cubicBezTo>
                  <a:cubicBezTo>
                    <a:pt x="176" y="0"/>
                    <a:pt x="176" y="0"/>
                    <a:pt x="30" y="0"/>
                  </a:cubicBezTo>
                  <a:close/>
                  <a:moveTo>
                    <a:pt x="21" y="69"/>
                  </a:moveTo>
                  <a:cubicBezTo>
                    <a:pt x="16" y="69"/>
                    <a:pt x="13" y="66"/>
                    <a:pt x="13" y="61"/>
                  </a:cubicBezTo>
                  <a:cubicBezTo>
                    <a:pt x="13" y="57"/>
                    <a:pt x="16" y="54"/>
                    <a:pt x="21" y="54"/>
                  </a:cubicBezTo>
                  <a:cubicBezTo>
                    <a:pt x="25" y="54"/>
                    <a:pt x="28" y="57"/>
                    <a:pt x="28" y="61"/>
                  </a:cubicBezTo>
                  <a:cubicBezTo>
                    <a:pt x="28" y="66"/>
                    <a:pt x="25" y="69"/>
                    <a:pt x="21" y="69"/>
                  </a:cubicBezTo>
                  <a:close/>
                  <a:moveTo>
                    <a:pt x="106" y="96"/>
                  </a:moveTo>
                  <a:cubicBezTo>
                    <a:pt x="106" y="108"/>
                    <a:pt x="106" y="108"/>
                    <a:pt x="106" y="108"/>
                  </a:cubicBezTo>
                  <a:cubicBezTo>
                    <a:pt x="99" y="108"/>
                    <a:pt x="99" y="108"/>
                    <a:pt x="99" y="108"/>
                  </a:cubicBezTo>
                  <a:cubicBezTo>
                    <a:pt x="99" y="96"/>
                    <a:pt x="99" y="96"/>
                    <a:pt x="99" y="96"/>
                  </a:cubicBezTo>
                  <a:cubicBezTo>
                    <a:pt x="93" y="96"/>
                    <a:pt x="86" y="94"/>
                    <a:pt x="82" y="91"/>
                  </a:cubicBezTo>
                  <a:cubicBezTo>
                    <a:pt x="85" y="84"/>
                    <a:pt x="85" y="84"/>
                    <a:pt x="85" y="84"/>
                  </a:cubicBezTo>
                  <a:cubicBezTo>
                    <a:pt x="89" y="86"/>
                    <a:pt x="94" y="89"/>
                    <a:pt x="101" y="89"/>
                  </a:cubicBezTo>
                  <a:cubicBezTo>
                    <a:pt x="109" y="89"/>
                    <a:pt x="114" y="84"/>
                    <a:pt x="114" y="77"/>
                  </a:cubicBezTo>
                  <a:cubicBezTo>
                    <a:pt x="114" y="71"/>
                    <a:pt x="110" y="67"/>
                    <a:pt x="101" y="64"/>
                  </a:cubicBezTo>
                  <a:cubicBezTo>
                    <a:pt x="90" y="59"/>
                    <a:pt x="83" y="54"/>
                    <a:pt x="83" y="44"/>
                  </a:cubicBezTo>
                  <a:cubicBezTo>
                    <a:pt x="83" y="35"/>
                    <a:pt x="89" y="28"/>
                    <a:pt x="100" y="26"/>
                  </a:cubicBezTo>
                  <a:cubicBezTo>
                    <a:pt x="100" y="15"/>
                    <a:pt x="100" y="15"/>
                    <a:pt x="100" y="15"/>
                  </a:cubicBezTo>
                  <a:cubicBezTo>
                    <a:pt x="107" y="15"/>
                    <a:pt x="107" y="15"/>
                    <a:pt x="107" y="15"/>
                  </a:cubicBezTo>
                  <a:cubicBezTo>
                    <a:pt x="107" y="26"/>
                    <a:pt x="107" y="26"/>
                    <a:pt x="107" y="26"/>
                  </a:cubicBezTo>
                  <a:cubicBezTo>
                    <a:pt x="114" y="26"/>
                    <a:pt x="118" y="28"/>
                    <a:pt x="122" y="30"/>
                  </a:cubicBezTo>
                  <a:cubicBezTo>
                    <a:pt x="119" y="37"/>
                    <a:pt x="119" y="37"/>
                    <a:pt x="119" y="37"/>
                  </a:cubicBezTo>
                  <a:cubicBezTo>
                    <a:pt x="116" y="36"/>
                    <a:pt x="112" y="33"/>
                    <a:pt x="105" y="33"/>
                  </a:cubicBezTo>
                  <a:cubicBezTo>
                    <a:pt x="96" y="33"/>
                    <a:pt x="93" y="38"/>
                    <a:pt x="93" y="43"/>
                  </a:cubicBezTo>
                  <a:cubicBezTo>
                    <a:pt x="93" y="49"/>
                    <a:pt x="97" y="52"/>
                    <a:pt x="107" y="56"/>
                  </a:cubicBezTo>
                  <a:cubicBezTo>
                    <a:pt x="118" y="61"/>
                    <a:pt x="124" y="66"/>
                    <a:pt x="124" y="77"/>
                  </a:cubicBezTo>
                  <a:cubicBezTo>
                    <a:pt x="124" y="86"/>
                    <a:pt x="118" y="94"/>
                    <a:pt x="106"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2" name="Group 11"/>
          <p:cNvGrpSpPr/>
          <p:nvPr/>
        </p:nvGrpSpPr>
        <p:grpSpPr>
          <a:xfrm>
            <a:off x="996967" y="2059700"/>
            <a:ext cx="2332327" cy="1131570"/>
            <a:chOff x="1328935" y="2746267"/>
            <a:chExt cx="3108959" cy="1508760"/>
          </a:xfrm>
        </p:grpSpPr>
        <p:sp>
          <p:nvSpPr>
            <p:cNvPr id="74" name="Round Same Side Corner Rectangle 73"/>
            <p:cNvSpPr/>
            <p:nvPr/>
          </p:nvSpPr>
          <p:spPr>
            <a:xfrm>
              <a:off x="1328935" y="2746267"/>
              <a:ext cx="3108959" cy="1508760"/>
            </a:xfrm>
            <a:prstGeom prst="rect">
              <a:avLst/>
            </a:prstGeom>
            <a:solidFill>
              <a:schemeClr val="accent1"/>
            </a:solidFill>
            <a:ln w="10795" cap="flat" cmpd="sng" algn="ctr">
              <a:noFill/>
              <a:prstDash val="dash"/>
            </a:ln>
            <a:effectLst/>
          </p:spPr>
          <p:txBody>
            <a:bodyPr lIns="91440" tIns="91440" rIns="0" bIns="91440" rtlCol="0" anchor="b"/>
            <a:lstStyle/>
            <a:p>
              <a:pPr defTabSz="685691">
                <a:lnSpc>
                  <a:spcPct val="80000"/>
                </a:lnSpc>
              </a:pPr>
              <a:r>
                <a:rPr lang="en-US" kern="0" spc="-75" dirty="0">
                  <a:ln>
                    <a:solidFill>
                      <a:schemeClr val="bg1">
                        <a:alpha val="0"/>
                      </a:schemeClr>
                    </a:solidFill>
                  </a:ln>
                  <a:cs typeface="Arial"/>
                </a:rPr>
                <a:t>non-traditional data types</a:t>
              </a:r>
            </a:p>
          </p:txBody>
        </p:sp>
        <p:sp>
          <p:nvSpPr>
            <p:cNvPr id="6" name="Freeform 6"/>
            <p:cNvSpPr>
              <a:spLocks noEditPoints="1"/>
            </p:cNvSpPr>
            <p:nvPr/>
          </p:nvSpPr>
          <p:spPr bwMode="auto">
            <a:xfrm>
              <a:off x="2249447" y="2941100"/>
              <a:ext cx="1267936" cy="796743"/>
            </a:xfrm>
            <a:custGeom>
              <a:avLst/>
              <a:gdLst>
                <a:gd name="T0" fmla="*/ 197 w 197"/>
                <a:gd name="T1" fmla="*/ 81 h 124"/>
                <a:gd name="T2" fmla="*/ 197 w 197"/>
                <a:gd name="T3" fmla="*/ 107 h 124"/>
                <a:gd name="T4" fmla="*/ 157 w 197"/>
                <a:gd name="T5" fmla="*/ 124 h 124"/>
                <a:gd name="T6" fmla="*/ 117 w 197"/>
                <a:gd name="T7" fmla="*/ 107 h 124"/>
                <a:gd name="T8" fmla="*/ 117 w 197"/>
                <a:gd name="T9" fmla="*/ 81 h 124"/>
                <a:gd name="T10" fmla="*/ 157 w 197"/>
                <a:gd name="T11" fmla="*/ 98 h 124"/>
                <a:gd name="T12" fmla="*/ 197 w 197"/>
                <a:gd name="T13" fmla="*/ 81 h 124"/>
                <a:gd name="T14" fmla="*/ 117 w 197"/>
                <a:gd name="T15" fmla="*/ 77 h 124"/>
                <a:gd name="T16" fmla="*/ 157 w 197"/>
                <a:gd name="T17" fmla="*/ 94 h 124"/>
                <a:gd name="T18" fmla="*/ 197 w 197"/>
                <a:gd name="T19" fmla="*/ 77 h 124"/>
                <a:gd name="T20" fmla="*/ 157 w 197"/>
                <a:gd name="T21" fmla="*/ 60 h 124"/>
                <a:gd name="T22" fmla="*/ 117 w 197"/>
                <a:gd name="T23" fmla="*/ 77 h 124"/>
                <a:gd name="T24" fmla="*/ 150 w 197"/>
                <a:gd name="T25" fmla="*/ 5 h 124"/>
                <a:gd name="T26" fmla="*/ 150 w 197"/>
                <a:gd name="T27" fmla="*/ 30 h 124"/>
                <a:gd name="T28" fmla="*/ 105 w 197"/>
                <a:gd name="T29" fmla="*/ 63 h 124"/>
                <a:gd name="T30" fmla="*/ 61 w 197"/>
                <a:gd name="T31" fmla="*/ 30 h 124"/>
                <a:gd name="T32" fmla="*/ 61 w 197"/>
                <a:gd name="T33" fmla="*/ 4 h 124"/>
                <a:gd name="T34" fmla="*/ 105 w 197"/>
                <a:gd name="T35" fmla="*/ 37 h 124"/>
                <a:gd name="T36" fmla="*/ 150 w 197"/>
                <a:gd name="T37" fmla="*/ 5 h 124"/>
                <a:gd name="T38" fmla="*/ 60 w 197"/>
                <a:gd name="T39" fmla="*/ 0 h 124"/>
                <a:gd name="T40" fmla="*/ 105 w 197"/>
                <a:gd name="T41" fmla="*/ 33 h 124"/>
                <a:gd name="T42" fmla="*/ 150 w 197"/>
                <a:gd name="T43" fmla="*/ 1 h 124"/>
                <a:gd name="T44" fmla="*/ 60 w 197"/>
                <a:gd name="T45" fmla="*/ 0 h 124"/>
                <a:gd name="T46" fmla="*/ 95 w 197"/>
                <a:gd name="T47" fmla="*/ 80 h 124"/>
                <a:gd name="T48" fmla="*/ 94 w 197"/>
                <a:gd name="T49" fmla="*/ 104 h 124"/>
                <a:gd name="T50" fmla="*/ 49 w 197"/>
                <a:gd name="T51" fmla="*/ 124 h 124"/>
                <a:gd name="T52" fmla="*/ 1 w 197"/>
                <a:gd name="T53" fmla="*/ 103 h 124"/>
                <a:gd name="T54" fmla="*/ 1 w 197"/>
                <a:gd name="T55" fmla="*/ 79 h 124"/>
                <a:gd name="T56" fmla="*/ 49 w 197"/>
                <a:gd name="T57" fmla="*/ 99 h 124"/>
                <a:gd name="T58" fmla="*/ 95 w 197"/>
                <a:gd name="T59" fmla="*/ 80 h 124"/>
                <a:gd name="T60" fmla="*/ 0 w 197"/>
                <a:gd name="T61" fmla="*/ 75 h 124"/>
                <a:gd name="T62" fmla="*/ 48 w 197"/>
                <a:gd name="T63" fmla="*/ 96 h 124"/>
                <a:gd name="T64" fmla="*/ 95 w 197"/>
                <a:gd name="T65" fmla="*/ 76 h 124"/>
                <a:gd name="T66" fmla="*/ 46 w 197"/>
                <a:gd name="T67" fmla="*/ 55 h 124"/>
                <a:gd name="T68" fmla="*/ 0 w 197"/>
                <a:gd name="T69" fmla="*/ 75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7" h="124">
                  <a:moveTo>
                    <a:pt x="197" y="81"/>
                  </a:moveTo>
                  <a:cubicBezTo>
                    <a:pt x="197" y="107"/>
                    <a:pt x="197" y="107"/>
                    <a:pt x="197" y="107"/>
                  </a:cubicBezTo>
                  <a:cubicBezTo>
                    <a:pt x="197" y="116"/>
                    <a:pt x="179" y="124"/>
                    <a:pt x="157" y="124"/>
                  </a:cubicBezTo>
                  <a:cubicBezTo>
                    <a:pt x="135" y="124"/>
                    <a:pt x="117" y="116"/>
                    <a:pt x="117" y="107"/>
                  </a:cubicBezTo>
                  <a:cubicBezTo>
                    <a:pt x="117" y="81"/>
                    <a:pt x="117" y="81"/>
                    <a:pt x="117" y="81"/>
                  </a:cubicBezTo>
                  <a:cubicBezTo>
                    <a:pt x="117" y="91"/>
                    <a:pt x="135" y="98"/>
                    <a:pt x="157" y="98"/>
                  </a:cubicBezTo>
                  <a:cubicBezTo>
                    <a:pt x="179" y="98"/>
                    <a:pt x="197" y="91"/>
                    <a:pt x="197" y="81"/>
                  </a:cubicBezTo>
                  <a:close/>
                  <a:moveTo>
                    <a:pt x="117" y="77"/>
                  </a:moveTo>
                  <a:cubicBezTo>
                    <a:pt x="117" y="87"/>
                    <a:pt x="135" y="94"/>
                    <a:pt x="157" y="94"/>
                  </a:cubicBezTo>
                  <a:cubicBezTo>
                    <a:pt x="179" y="94"/>
                    <a:pt x="197" y="87"/>
                    <a:pt x="197" y="77"/>
                  </a:cubicBezTo>
                  <a:cubicBezTo>
                    <a:pt x="197" y="68"/>
                    <a:pt x="179" y="60"/>
                    <a:pt x="157" y="60"/>
                  </a:cubicBezTo>
                  <a:cubicBezTo>
                    <a:pt x="135" y="60"/>
                    <a:pt x="117" y="68"/>
                    <a:pt x="117" y="77"/>
                  </a:cubicBezTo>
                  <a:close/>
                  <a:moveTo>
                    <a:pt x="150" y="5"/>
                  </a:moveTo>
                  <a:cubicBezTo>
                    <a:pt x="150" y="30"/>
                    <a:pt x="150" y="30"/>
                    <a:pt x="150" y="30"/>
                  </a:cubicBezTo>
                  <a:cubicBezTo>
                    <a:pt x="105" y="63"/>
                    <a:pt x="105" y="63"/>
                    <a:pt x="105" y="63"/>
                  </a:cubicBezTo>
                  <a:cubicBezTo>
                    <a:pt x="61" y="30"/>
                    <a:pt x="61" y="30"/>
                    <a:pt x="61" y="30"/>
                  </a:cubicBezTo>
                  <a:cubicBezTo>
                    <a:pt x="61" y="4"/>
                    <a:pt x="61" y="4"/>
                    <a:pt x="61" y="4"/>
                  </a:cubicBezTo>
                  <a:cubicBezTo>
                    <a:pt x="105" y="37"/>
                    <a:pt x="105" y="37"/>
                    <a:pt x="105" y="37"/>
                  </a:cubicBezTo>
                  <a:lnTo>
                    <a:pt x="150" y="5"/>
                  </a:lnTo>
                  <a:close/>
                  <a:moveTo>
                    <a:pt x="60" y="0"/>
                  </a:moveTo>
                  <a:cubicBezTo>
                    <a:pt x="105" y="33"/>
                    <a:pt x="105" y="33"/>
                    <a:pt x="105" y="33"/>
                  </a:cubicBezTo>
                  <a:cubicBezTo>
                    <a:pt x="150" y="1"/>
                    <a:pt x="150" y="1"/>
                    <a:pt x="150" y="1"/>
                  </a:cubicBezTo>
                  <a:lnTo>
                    <a:pt x="60" y="0"/>
                  </a:lnTo>
                  <a:close/>
                  <a:moveTo>
                    <a:pt x="95" y="80"/>
                  </a:moveTo>
                  <a:cubicBezTo>
                    <a:pt x="94" y="104"/>
                    <a:pt x="94" y="104"/>
                    <a:pt x="94" y="104"/>
                  </a:cubicBezTo>
                  <a:cubicBezTo>
                    <a:pt x="49" y="124"/>
                    <a:pt x="49" y="124"/>
                    <a:pt x="49" y="124"/>
                  </a:cubicBezTo>
                  <a:cubicBezTo>
                    <a:pt x="1" y="103"/>
                    <a:pt x="1" y="103"/>
                    <a:pt x="1" y="103"/>
                  </a:cubicBezTo>
                  <a:cubicBezTo>
                    <a:pt x="1" y="79"/>
                    <a:pt x="1" y="79"/>
                    <a:pt x="1" y="79"/>
                  </a:cubicBezTo>
                  <a:cubicBezTo>
                    <a:pt x="49" y="99"/>
                    <a:pt x="49" y="99"/>
                    <a:pt x="49" y="99"/>
                  </a:cubicBezTo>
                  <a:lnTo>
                    <a:pt x="95" y="80"/>
                  </a:lnTo>
                  <a:close/>
                  <a:moveTo>
                    <a:pt x="0" y="75"/>
                  </a:moveTo>
                  <a:cubicBezTo>
                    <a:pt x="48" y="96"/>
                    <a:pt x="48" y="96"/>
                    <a:pt x="48" y="96"/>
                  </a:cubicBezTo>
                  <a:cubicBezTo>
                    <a:pt x="95" y="76"/>
                    <a:pt x="95" y="76"/>
                    <a:pt x="95" y="76"/>
                  </a:cubicBezTo>
                  <a:cubicBezTo>
                    <a:pt x="46" y="55"/>
                    <a:pt x="46" y="55"/>
                    <a:pt x="46" y="55"/>
                  </a:cubicBezTo>
                  <a:lnTo>
                    <a:pt x="0" y="7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1"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2"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5"/>
              </a:rPr>
              <a:t>www.rapidbbs.cn</a:t>
            </a:r>
            <a:endParaRPr lang="zh-CN" altLang="en-US" sz="1200" b="0">
              <a:latin typeface="Arial" charset="0"/>
              <a:ea typeface="ＭＳ Ｐゴシック" pitchFamily="34" charset="-128"/>
            </a:endParaRPr>
          </a:p>
        </p:txBody>
      </p:sp>
      <p:pic>
        <p:nvPicPr>
          <p:cNvPr id="23" name="Picture 2">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85911132"/>
      </p:ext>
    </p:extLst>
  </p:cSld>
  <p:clrMapOvr>
    <a:masterClrMapping/>
  </p:clrMapOvr>
  <p:transition>
    <p:fade/>
  </p:transition>
  <p:timing>
    <p:tnLst>
      <p:par>
        <p:cTn id="1" dur="indefinite" restart="never" nodeType="tmRoot"/>
      </p:par>
    </p:tnLst>
  </p:timing>
</p:sld>
</file>

<file path=ppt/slides/slide4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27051" y="405143"/>
            <a:ext cx="1212896" cy="4293494"/>
          </a:xfrm>
          <a:prstGeom prst="rect">
            <a:avLst/>
          </a:prstGeom>
        </p:spPr>
      </p:pic>
      <p:sp>
        <p:nvSpPr>
          <p:cNvPr id="4" name="Title 3"/>
          <p:cNvSpPr>
            <a:spLocks noGrp="1"/>
          </p:cNvSpPr>
          <p:nvPr>
            <p:ph type="title"/>
          </p:nvPr>
        </p:nvSpPr>
        <p:spPr>
          <a:xfrm>
            <a:off x="7031062" y="1990570"/>
            <a:ext cx="2070235" cy="997196"/>
          </a:xfrm>
        </p:spPr>
        <p:txBody>
          <a:bodyPr/>
          <a:lstStyle/>
          <a:p>
            <a:r>
              <a:rPr lang="en-US" sz="3600" dirty="0"/>
              <a:t>global footprint</a:t>
            </a:r>
            <a:endParaRPr lang="en-US" sz="3600" dirty="0">
              <a:solidFill>
                <a:schemeClr val="bg1"/>
              </a:solidFill>
            </a:endParaRPr>
          </a:p>
        </p:txBody>
      </p:sp>
      <p:grpSp>
        <p:nvGrpSpPr>
          <p:cNvPr id="3" name="Group 2"/>
          <p:cNvGrpSpPr/>
          <p:nvPr/>
        </p:nvGrpSpPr>
        <p:grpSpPr>
          <a:xfrm>
            <a:off x="160283" y="1031339"/>
            <a:ext cx="6043665" cy="3345872"/>
            <a:chOff x="395371" y="1139688"/>
            <a:chExt cx="8399866" cy="4651514"/>
          </a:xfrm>
          <a:solidFill>
            <a:schemeClr val="bg1"/>
          </a:solidFill>
        </p:grpSpPr>
        <p:sp>
          <p:nvSpPr>
            <p:cNvPr id="26" name="Oval 9"/>
            <p:cNvSpPr>
              <a:spLocks noChangeAspect="1" noChangeArrowheads="1"/>
            </p:cNvSpPr>
            <p:nvPr userDrawn="1"/>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7" name="Oval 10"/>
            <p:cNvSpPr>
              <a:spLocks noChangeAspect="1" noChangeArrowheads="1"/>
            </p:cNvSpPr>
            <p:nvPr userDrawn="1"/>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8" name="Oval 11"/>
            <p:cNvSpPr>
              <a:spLocks noChangeAspect="1" noChangeArrowheads="1"/>
            </p:cNvSpPr>
            <p:nvPr userDrawn="1"/>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9" name="Oval 12"/>
            <p:cNvSpPr>
              <a:spLocks noChangeAspect="1" noChangeArrowheads="1"/>
            </p:cNvSpPr>
            <p:nvPr userDrawn="1"/>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0" name="Oval 13"/>
            <p:cNvSpPr>
              <a:spLocks noChangeAspect="1" noChangeArrowheads="1"/>
            </p:cNvSpPr>
            <p:nvPr userDrawn="1"/>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1" name="Oval 14"/>
            <p:cNvSpPr>
              <a:spLocks noChangeAspect="1" noChangeArrowheads="1"/>
            </p:cNvSpPr>
            <p:nvPr userDrawn="1"/>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2" name="Oval 15"/>
            <p:cNvSpPr>
              <a:spLocks noChangeAspect="1" noChangeArrowheads="1"/>
            </p:cNvSpPr>
            <p:nvPr userDrawn="1"/>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3" name="Oval 16"/>
            <p:cNvSpPr>
              <a:spLocks noChangeAspect="1" noChangeArrowheads="1"/>
            </p:cNvSpPr>
            <p:nvPr userDrawn="1"/>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4" name="Oval 17"/>
            <p:cNvSpPr>
              <a:spLocks noChangeAspect="1" noChangeArrowheads="1"/>
            </p:cNvSpPr>
            <p:nvPr userDrawn="1"/>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5" name="Oval 18"/>
            <p:cNvSpPr>
              <a:spLocks noChangeAspect="1" noChangeArrowheads="1"/>
            </p:cNvSpPr>
            <p:nvPr userDrawn="1"/>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6" name="Oval 19"/>
            <p:cNvSpPr>
              <a:spLocks noChangeAspect="1" noChangeArrowheads="1"/>
            </p:cNvSpPr>
            <p:nvPr userDrawn="1"/>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7" name="Oval 20"/>
            <p:cNvSpPr>
              <a:spLocks noChangeAspect="1" noChangeArrowheads="1"/>
            </p:cNvSpPr>
            <p:nvPr userDrawn="1"/>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9" name="Oval 21"/>
            <p:cNvSpPr>
              <a:spLocks noChangeAspect="1" noChangeArrowheads="1"/>
            </p:cNvSpPr>
            <p:nvPr userDrawn="1"/>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0" name="Oval 22"/>
            <p:cNvSpPr>
              <a:spLocks noChangeAspect="1" noChangeArrowheads="1"/>
            </p:cNvSpPr>
            <p:nvPr userDrawn="1"/>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1" name="Oval 23"/>
            <p:cNvSpPr>
              <a:spLocks noChangeAspect="1" noChangeArrowheads="1"/>
            </p:cNvSpPr>
            <p:nvPr userDrawn="1"/>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2" name="Oval 24"/>
            <p:cNvSpPr>
              <a:spLocks noChangeAspect="1" noChangeArrowheads="1"/>
            </p:cNvSpPr>
            <p:nvPr userDrawn="1"/>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3" name="Oval 25"/>
            <p:cNvSpPr>
              <a:spLocks noChangeAspect="1" noChangeArrowheads="1"/>
            </p:cNvSpPr>
            <p:nvPr userDrawn="1"/>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4" name="Oval 26"/>
            <p:cNvSpPr>
              <a:spLocks noChangeAspect="1" noChangeArrowheads="1"/>
            </p:cNvSpPr>
            <p:nvPr userDrawn="1"/>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5" name="Oval 27"/>
            <p:cNvSpPr>
              <a:spLocks noChangeAspect="1" noChangeArrowheads="1"/>
            </p:cNvSpPr>
            <p:nvPr userDrawn="1"/>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6" name="Oval 28"/>
            <p:cNvSpPr>
              <a:spLocks noChangeAspect="1" noChangeArrowheads="1"/>
            </p:cNvSpPr>
            <p:nvPr userDrawn="1"/>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7" name="Oval 29"/>
            <p:cNvSpPr>
              <a:spLocks noChangeAspect="1" noChangeArrowheads="1"/>
            </p:cNvSpPr>
            <p:nvPr userDrawn="1"/>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8" name="Oval 30"/>
            <p:cNvSpPr>
              <a:spLocks noChangeAspect="1" noChangeArrowheads="1"/>
            </p:cNvSpPr>
            <p:nvPr userDrawn="1"/>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9" name="Oval 31"/>
            <p:cNvSpPr>
              <a:spLocks noChangeAspect="1" noChangeArrowheads="1"/>
            </p:cNvSpPr>
            <p:nvPr userDrawn="1"/>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0" name="Oval 32"/>
            <p:cNvSpPr>
              <a:spLocks noChangeAspect="1" noChangeArrowheads="1"/>
            </p:cNvSpPr>
            <p:nvPr userDrawn="1"/>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1" name="Oval 33"/>
            <p:cNvSpPr>
              <a:spLocks noChangeAspect="1" noChangeArrowheads="1"/>
            </p:cNvSpPr>
            <p:nvPr userDrawn="1"/>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2" name="Oval 34"/>
            <p:cNvSpPr>
              <a:spLocks noChangeAspect="1" noChangeArrowheads="1"/>
            </p:cNvSpPr>
            <p:nvPr userDrawn="1"/>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3" name="Oval 35"/>
            <p:cNvSpPr>
              <a:spLocks noChangeAspect="1" noChangeArrowheads="1"/>
            </p:cNvSpPr>
            <p:nvPr userDrawn="1"/>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4" name="Oval 36"/>
            <p:cNvSpPr>
              <a:spLocks noChangeAspect="1" noChangeArrowheads="1"/>
            </p:cNvSpPr>
            <p:nvPr userDrawn="1"/>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5" name="Oval 37"/>
            <p:cNvSpPr>
              <a:spLocks noChangeAspect="1" noChangeArrowheads="1"/>
            </p:cNvSpPr>
            <p:nvPr userDrawn="1"/>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6" name="Oval 38"/>
            <p:cNvSpPr>
              <a:spLocks noChangeAspect="1" noChangeArrowheads="1"/>
            </p:cNvSpPr>
            <p:nvPr userDrawn="1"/>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7" name="Oval 39"/>
            <p:cNvSpPr>
              <a:spLocks noChangeAspect="1" noChangeArrowheads="1"/>
            </p:cNvSpPr>
            <p:nvPr userDrawn="1"/>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8" name="Oval 40"/>
            <p:cNvSpPr>
              <a:spLocks noChangeAspect="1" noChangeArrowheads="1"/>
            </p:cNvSpPr>
            <p:nvPr userDrawn="1"/>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9" name="Oval 41"/>
            <p:cNvSpPr>
              <a:spLocks noChangeAspect="1" noChangeArrowheads="1"/>
            </p:cNvSpPr>
            <p:nvPr userDrawn="1"/>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0" name="Oval 42"/>
            <p:cNvSpPr>
              <a:spLocks noChangeAspect="1" noChangeArrowheads="1"/>
            </p:cNvSpPr>
            <p:nvPr userDrawn="1"/>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1" name="Oval 43"/>
            <p:cNvSpPr>
              <a:spLocks noChangeAspect="1" noChangeArrowheads="1"/>
            </p:cNvSpPr>
            <p:nvPr userDrawn="1"/>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2" name="Oval 44"/>
            <p:cNvSpPr>
              <a:spLocks noChangeAspect="1" noChangeArrowheads="1"/>
            </p:cNvSpPr>
            <p:nvPr userDrawn="1"/>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3" name="Oval 45"/>
            <p:cNvSpPr>
              <a:spLocks noChangeAspect="1" noChangeArrowheads="1"/>
            </p:cNvSpPr>
            <p:nvPr userDrawn="1"/>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4" name="Oval 46"/>
            <p:cNvSpPr>
              <a:spLocks noChangeAspect="1" noChangeArrowheads="1"/>
            </p:cNvSpPr>
            <p:nvPr userDrawn="1"/>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5" name="Oval 47"/>
            <p:cNvSpPr>
              <a:spLocks noChangeAspect="1" noChangeArrowheads="1"/>
            </p:cNvSpPr>
            <p:nvPr userDrawn="1"/>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6" name="Oval 48"/>
            <p:cNvSpPr>
              <a:spLocks noChangeAspect="1" noChangeArrowheads="1"/>
            </p:cNvSpPr>
            <p:nvPr userDrawn="1"/>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7" name="Oval 49"/>
            <p:cNvSpPr>
              <a:spLocks noChangeAspect="1" noChangeArrowheads="1"/>
            </p:cNvSpPr>
            <p:nvPr userDrawn="1"/>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8" name="Oval 50"/>
            <p:cNvSpPr>
              <a:spLocks noChangeAspect="1" noChangeArrowheads="1"/>
            </p:cNvSpPr>
            <p:nvPr userDrawn="1"/>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9" name="Oval 51"/>
            <p:cNvSpPr>
              <a:spLocks noChangeAspect="1" noChangeArrowheads="1"/>
            </p:cNvSpPr>
            <p:nvPr userDrawn="1"/>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0" name="Oval 52"/>
            <p:cNvSpPr>
              <a:spLocks noChangeAspect="1" noChangeArrowheads="1"/>
            </p:cNvSpPr>
            <p:nvPr userDrawn="1"/>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1" name="Oval 53"/>
            <p:cNvSpPr>
              <a:spLocks noChangeAspect="1" noChangeArrowheads="1"/>
            </p:cNvSpPr>
            <p:nvPr userDrawn="1"/>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2" name="Oval 54"/>
            <p:cNvSpPr>
              <a:spLocks noChangeAspect="1" noChangeArrowheads="1"/>
            </p:cNvSpPr>
            <p:nvPr userDrawn="1"/>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3" name="Oval 55"/>
            <p:cNvSpPr>
              <a:spLocks noChangeAspect="1" noChangeArrowheads="1"/>
            </p:cNvSpPr>
            <p:nvPr userDrawn="1"/>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4" name="Oval 56"/>
            <p:cNvSpPr>
              <a:spLocks noChangeAspect="1" noChangeArrowheads="1"/>
            </p:cNvSpPr>
            <p:nvPr userDrawn="1"/>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5" name="Oval 57"/>
            <p:cNvSpPr>
              <a:spLocks noChangeAspect="1" noChangeArrowheads="1"/>
            </p:cNvSpPr>
            <p:nvPr userDrawn="1"/>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6" name="Oval 58"/>
            <p:cNvSpPr>
              <a:spLocks noChangeAspect="1" noChangeArrowheads="1"/>
            </p:cNvSpPr>
            <p:nvPr userDrawn="1"/>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7" name="Oval 59"/>
            <p:cNvSpPr>
              <a:spLocks noChangeAspect="1" noChangeArrowheads="1"/>
            </p:cNvSpPr>
            <p:nvPr userDrawn="1"/>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8" name="Oval 60"/>
            <p:cNvSpPr>
              <a:spLocks noChangeAspect="1" noChangeArrowheads="1"/>
            </p:cNvSpPr>
            <p:nvPr userDrawn="1"/>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9" name="Oval 61"/>
            <p:cNvSpPr>
              <a:spLocks noChangeAspect="1" noChangeArrowheads="1"/>
            </p:cNvSpPr>
            <p:nvPr userDrawn="1"/>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0" name="Oval 62"/>
            <p:cNvSpPr>
              <a:spLocks noChangeAspect="1" noChangeArrowheads="1"/>
            </p:cNvSpPr>
            <p:nvPr userDrawn="1"/>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1" name="Oval 63"/>
            <p:cNvSpPr>
              <a:spLocks noChangeAspect="1" noChangeArrowheads="1"/>
            </p:cNvSpPr>
            <p:nvPr userDrawn="1"/>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2" name="Oval 64"/>
            <p:cNvSpPr>
              <a:spLocks noChangeAspect="1" noChangeArrowheads="1"/>
            </p:cNvSpPr>
            <p:nvPr userDrawn="1"/>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3" name="Oval 65"/>
            <p:cNvSpPr>
              <a:spLocks noChangeAspect="1" noChangeArrowheads="1"/>
            </p:cNvSpPr>
            <p:nvPr userDrawn="1"/>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4" name="Oval 66"/>
            <p:cNvSpPr>
              <a:spLocks noChangeAspect="1" noChangeArrowheads="1"/>
            </p:cNvSpPr>
            <p:nvPr userDrawn="1"/>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5" name="Oval 67"/>
            <p:cNvSpPr>
              <a:spLocks noChangeAspect="1" noChangeArrowheads="1"/>
            </p:cNvSpPr>
            <p:nvPr userDrawn="1"/>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6" name="Oval 68"/>
            <p:cNvSpPr>
              <a:spLocks noChangeAspect="1" noChangeArrowheads="1"/>
            </p:cNvSpPr>
            <p:nvPr userDrawn="1"/>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7" name="Oval 69"/>
            <p:cNvSpPr>
              <a:spLocks noChangeAspect="1" noChangeArrowheads="1"/>
            </p:cNvSpPr>
            <p:nvPr userDrawn="1"/>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8" name="Oval 70"/>
            <p:cNvSpPr>
              <a:spLocks noChangeAspect="1" noChangeArrowheads="1"/>
            </p:cNvSpPr>
            <p:nvPr userDrawn="1"/>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9" name="Oval 71"/>
            <p:cNvSpPr>
              <a:spLocks noChangeAspect="1" noChangeArrowheads="1"/>
            </p:cNvSpPr>
            <p:nvPr userDrawn="1"/>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0" name="Oval 72"/>
            <p:cNvSpPr>
              <a:spLocks noChangeAspect="1" noChangeArrowheads="1"/>
            </p:cNvSpPr>
            <p:nvPr userDrawn="1"/>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1" name="Oval 73"/>
            <p:cNvSpPr>
              <a:spLocks noChangeAspect="1" noChangeArrowheads="1"/>
            </p:cNvSpPr>
            <p:nvPr userDrawn="1"/>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2" name="Oval 74"/>
            <p:cNvSpPr>
              <a:spLocks noChangeAspect="1" noChangeArrowheads="1"/>
            </p:cNvSpPr>
            <p:nvPr userDrawn="1"/>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3" name="Oval 75"/>
            <p:cNvSpPr>
              <a:spLocks noChangeAspect="1" noChangeArrowheads="1"/>
            </p:cNvSpPr>
            <p:nvPr userDrawn="1"/>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4" name="Oval 76"/>
            <p:cNvSpPr>
              <a:spLocks noChangeAspect="1" noChangeArrowheads="1"/>
            </p:cNvSpPr>
            <p:nvPr userDrawn="1"/>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5" name="Oval 77"/>
            <p:cNvSpPr>
              <a:spLocks noChangeAspect="1" noChangeArrowheads="1"/>
            </p:cNvSpPr>
            <p:nvPr userDrawn="1"/>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6" name="Oval 78"/>
            <p:cNvSpPr>
              <a:spLocks noChangeAspect="1" noChangeArrowheads="1"/>
            </p:cNvSpPr>
            <p:nvPr userDrawn="1"/>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7" name="Oval 79"/>
            <p:cNvSpPr>
              <a:spLocks noChangeAspect="1" noChangeArrowheads="1"/>
            </p:cNvSpPr>
            <p:nvPr userDrawn="1"/>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8" name="Oval 80"/>
            <p:cNvSpPr>
              <a:spLocks noChangeAspect="1" noChangeArrowheads="1"/>
            </p:cNvSpPr>
            <p:nvPr userDrawn="1"/>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9" name="Oval 81"/>
            <p:cNvSpPr>
              <a:spLocks noChangeAspect="1" noChangeArrowheads="1"/>
            </p:cNvSpPr>
            <p:nvPr userDrawn="1"/>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0" name="Oval 82"/>
            <p:cNvSpPr>
              <a:spLocks noChangeAspect="1" noChangeArrowheads="1"/>
            </p:cNvSpPr>
            <p:nvPr userDrawn="1"/>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1" name="Oval 83"/>
            <p:cNvSpPr>
              <a:spLocks noChangeAspect="1" noChangeArrowheads="1"/>
            </p:cNvSpPr>
            <p:nvPr userDrawn="1"/>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2" name="Oval 84"/>
            <p:cNvSpPr>
              <a:spLocks noChangeAspect="1" noChangeArrowheads="1"/>
            </p:cNvSpPr>
            <p:nvPr userDrawn="1"/>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3" name="Oval 85"/>
            <p:cNvSpPr>
              <a:spLocks noChangeAspect="1" noChangeArrowheads="1"/>
            </p:cNvSpPr>
            <p:nvPr userDrawn="1"/>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4" name="Oval 86"/>
            <p:cNvSpPr>
              <a:spLocks noChangeAspect="1" noChangeArrowheads="1"/>
            </p:cNvSpPr>
            <p:nvPr userDrawn="1"/>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5" name="Oval 87"/>
            <p:cNvSpPr>
              <a:spLocks noChangeAspect="1" noChangeArrowheads="1"/>
            </p:cNvSpPr>
            <p:nvPr userDrawn="1"/>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6" name="Oval 88"/>
            <p:cNvSpPr>
              <a:spLocks noChangeAspect="1" noChangeArrowheads="1"/>
            </p:cNvSpPr>
            <p:nvPr userDrawn="1"/>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7" name="Oval 89"/>
            <p:cNvSpPr>
              <a:spLocks noChangeAspect="1" noChangeArrowheads="1"/>
            </p:cNvSpPr>
            <p:nvPr userDrawn="1"/>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8" name="Oval 90"/>
            <p:cNvSpPr>
              <a:spLocks noChangeAspect="1" noChangeArrowheads="1"/>
            </p:cNvSpPr>
            <p:nvPr userDrawn="1"/>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9" name="Oval 91"/>
            <p:cNvSpPr>
              <a:spLocks noChangeAspect="1" noChangeArrowheads="1"/>
            </p:cNvSpPr>
            <p:nvPr userDrawn="1"/>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30" name="Oval 92"/>
            <p:cNvSpPr>
              <a:spLocks noChangeAspect="1" noChangeArrowheads="1"/>
            </p:cNvSpPr>
            <p:nvPr userDrawn="1"/>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31" name="Oval 93"/>
            <p:cNvSpPr>
              <a:spLocks noChangeAspect="1" noChangeArrowheads="1"/>
            </p:cNvSpPr>
            <p:nvPr userDrawn="1"/>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32" name="Oval 94"/>
            <p:cNvSpPr>
              <a:spLocks noChangeAspect="1" noChangeArrowheads="1"/>
            </p:cNvSpPr>
            <p:nvPr userDrawn="1"/>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33" name="Oval 95"/>
            <p:cNvSpPr>
              <a:spLocks noChangeAspect="1" noChangeArrowheads="1"/>
            </p:cNvSpPr>
            <p:nvPr userDrawn="1"/>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34" name="Oval 96"/>
            <p:cNvSpPr>
              <a:spLocks noChangeAspect="1" noChangeArrowheads="1"/>
            </p:cNvSpPr>
            <p:nvPr userDrawn="1"/>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35" name="Oval 97"/>
            <p:cNvSpPr>
              <a:spLocks noChangeAspect="1" noChangeArrowheads="1"/>
            </p:cNvSpPr>
            <p:nvPr userDrawn="1"/>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36" name="Oval 98"/>
            <p:cNvSpPr>
              <a:spLocks noChangeAspect="1" noChangeArrowheads="1"/>
            </p:cNvSpPr>
            <p:nvPr userDrawn="1"/>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37" name="Oval 99"/>
            <p:cNvSpPr>
              <a:spLocks noChangeAspect="1" noChangeArrowheads="1"/>
            </p:cNvSpPr>
            <p:nvPr userDrawn="1"/>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38" name="Oval 100"/>
            <p:cNvSpPr>
              <a:spLocks noChangeAspect="1" noChangeArrowheads="1"/>
            </p:cNvSpPr>
            <p:nvPr userDrawn="1"/>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39" name="Oval 101"/>
            <p:cNvSpPr>
              <a:spLocks noChangeAspect="1" noChangeArrowheads="1"/>
            </p:cNvSpPr>
            <p:nvPr userDrawn="1"/>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40" name="Oval 102"/>
            <p:cNvSpPr>
              <a:spLocks noChangeAspect="1" noChangeArrowheads="1"/>
            </p:cNvSpPr>
            <p:nvPr userDrawn="1"/>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41" name="Oval 103"/>
            <p:cNvSpPr>
              <a:spLocks noChangeAspect="1" noChangeArrowheads="1"/>
            </p:cNvSpPr>
            <p:nvPr userDrawn="1"/>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42" name="Oval 104"/>
            <p:cNvSpPr>
              <a:spLocks noChangeAspect="1" noChangeArrowheads="1"/>
            </p:cNvSpPr>
            <p:nvPr userDrawn="1"/>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43" name="Oval 105"/>
            <p:cNvSpPr>
              <a:spLocks noChangeAspect="1" noChangeArrowheads="1"/>
            </p:cNvSpPr>
            <p:nvPr userDrawn="1"/>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44" name="Oval 106"/>
            <p:cNvSpPr>
              <a:spLocks noChangeAspect="1" noChangeArrowheads="1"/>
            </p:cNvSpPr>
            <p:nvPr userDrawn="1"/>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45" name="Oval 107"/>
            <p:cNvSpPr>
              <a:spLocks noChangeAspect="1" noChangeArrowheads="1"/>
            </p:cNvSpPr>
            <p:nvPr userDrawn="1"/>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46" name="Oval 108"/>
            <p:cNvSpPr>
              <a:spLocks noChangeAspect="1" noChangeArrowheads="1"/>
            </p:cNvSpPr>
            <p:nvPr userDrawn="1"/>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47" name="Oval 109"/>
            <p:cNvSpPr>
              <a:spLocks noChangeAspect="1" noChangeArrowheads="1"/>
            </p:cNvSpPr>
            <p:nvPr userDrawn="1"/>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48" name="Oval 110"/>
            <p:cNvSpPr>
              <a:spLocks noChangeAspect="1" noChangeArrowheads="1"/>
            </p:cNvSpPr>
            <p:nvPr userDrawn="1"/>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49" name="Oval 111"/>
            <p:cNvSpPr>
              <a:spLocks noChangeAspect="1" noChangeArrowheads="1"/>
            </p:cNvSpPr>
            <p:nvPr userDrawn="1"/>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50" name="Oval 112"/>
            <p:cNvSpPr>
              <a:spLocks noChangeAspect="1" noChangeArrowheads="1"/>
            </p:cNvSpPr>
            <p:nvPr userDrawn="1"/>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51" name="Oval 113"/>
            <p:cNvSpPr>
              <a:spLocks noChangeAspect="1" noChangeArrowheads="1"/>
            </p:cNvSpPr>
            <p:nvPr userDrawn="1"/>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52" name="Oval 114"/>
            <p:cNvSpPr>
              <a:spLocks noChangeAspect="1" noChangeArrowheads="1"/>
            </p:cNvSpPr>
            <p:nvPr userDrawn="1"/>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53" name="Oval 115"/>
            <p:cNvSpPr>
              <a:spLocks noChangeAspect="1" noChangeArrowheads="1"/>
            </p:cNvSpPr>
            <p:nvPr userDrawn="1"/>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54" name="Oval 116"/>
            <p:cNvSpPr>
              <a:spLocks noChangeAspect="1" noChangeArrowheads="1"/>
            </p:cNvSpPr>
            <p:nvPr userDrawn="1"/>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55" name="Oval 117"/>
            <p:cNvSpPr>
              <a:spLocks noChangeAspect="1" noChangeArrowheads="1"/>
            </p:cNvSpPr>
            <p:nvPr userDrawn="1"/>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56" name="Oval 118"/>
            <p:cNvSpPr>
              <a:spLocks noChangeAspect="1" noChangeArrowheads="1"/>
            </p:cNvSpPr>
            <p:nvPr userDrawn="1"/>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57" name="Oval 119"/>
            <p:cNvSpPr>
              <a:spLocks noChangeAspect="1" noChangeArrowheads="1"/>
            </p:cNvSpPr>
            <p:nvPr userDrawn="1"/>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58" name="Oval 120"/>
            <p:cNvSpPr>
              <a:spLocks noChangeAspect="1" noChangeArrowheads="1"/>
            </p:cNvSpPr>
            <p:nvPr userDrawn="1"/>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59" name="Oval 121"/>
            <p:cNvSpPr>
              <a:spLocks noChangeAspect="1" noChangeArrowheads="1"/>
            </p:cNvSpPr>
            <p:nvPr userDrawn="1"/>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60" name="Oval 122"/>
            <p:cNvSpPr>
              <a:spLocks noChangeAspect="1" noChangeArrowheads="1"/>
            </p:cNvSpPr>
            <p:nvPr userDrawn="1"/>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61" name="Oval 123"/>
            <p:cNvSpPr>
              <a:spLocks noChangeAspect="1" noChangeArrowheads="1"/>
            </p:cNvSpPr>
            <p:nvPr userDrawn="1"/>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62" name="Oval 124"/>
            <p:cNvSpPr>
              <a:spLocks noChangeAspect="1" noChangeArrowheads="1"/>
            </p:cNvSpPr>
            <p:nvPr userDrawn="1"/>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63" name="Oval 125"/>
            <p:cNvSpPr>
              <a:spLocks noChangeAspect="1" noChangeArrowheads="1"/>
            </p:cNvSpPr>
            <p:nvPr userDrawn="1"/>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64" name="Oval 126"/>
            <p:cNvSpPr>
              <a:spLocks noChangeAspect="1" noChangeArrowheads="1"/>
            </p:cNvSpPr>
            <p:nvPr userDrawn="1"/>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65" name="Oval 127"/>
            <p:cNvSpPr>
              <a:spLocks noChangeAspect="1" noChangeArrowheads="1"/>
            </p:cNvSpPr>
            <p:nvPr userDrawn="1"/>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66" name="Oval 128"/>
            <p:cNvSpPr>
              <a:spLocks noChangeAspect="1" noChangeArrowheads="1"/>
            </p:cNvSpPr>
            <p:nvPr userDrawn="1"/>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67" name="Oval 129"/>
            <p:cNvSpPr>
              <a:spLocks noChangeAspect="1" noChangeArrowheads="1"/>
            </p:cNvSpPr>
            <p:nvPr userDrawn="1"/>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68" name="Oval 130"/>
            <p:cNvSpPr>
              <a:spLocks noChangeAspect="1" noChangeArrowheads="1"/>
            </p:cNvSpPr>
            <p:nvPr userDrawn="1"/>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69" name="Oval 131"/>
            <p:cNvSpPr>
              <a:spLocks noChangeAspect="1" noChangeArrowheads="1"/>
            </p:cNvSpPr>
            <p:nvPr userDrawn="1"/>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70" name="Oval 132"/>
            <p:cNvSpPr>
              <a:spLocks noChangeAspect="1" noChangeArrowheads="1"/>
            </p:cNvSpPr>
            <p:nvPr userDrawn="1"/>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71" name="Oval 133"/>
            <p:cNvSpPr>
              <a:spLocks noChangeAspect="1" noChangeArrowheads="1"/>
            </p:cNvSpPr>
            <p:nvPr userDrawn="1"/>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72" name="Oval 134"/>
            <p:cNvSpPr>
              <a:spLocks noChangeAspect="1" noChangeArrowheads="1"/>
            </p:cNvSpPr>
            <p:nvPr userDrawn="1"/>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73" name="Oval 135"/>
            <p:cNvSpPr>
              <a:spLocks noChangeAspect="1" noChangeArrowheads="1"/>
            </p:cNvSpPr>
            <p:nvPr userDrawn="1"/>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74" name="Oval 136"/>
            <p:cNvSpPr>
              <a:spLocks noChangeAspect="1" noChangeArrowheads="1"/>
            </p:cNvSpPr>
            <p:nvPr userDrawn="1"/>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75" name="Oval 137"/>
            <p:cNvSpPr>
              <a:spLocks noChangeAspect="1" noChangeArrowheads="1"/>
            </p:cNvSpPr>
            <p:nvPr userDrawn="1"/>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76" name="Oval 138"/>
            <p:cNvSpPr>
              <a:spLocks noChangeAspect="1" noChangeArrowheads="1"/>
            </p:cNvSpPr>
            <p:nvPr userDrawn="1"/>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77" name="Oval 139"/>
            <p:cNvSpPr>
              <a:spLocks noChangeAspect="1" noChangeArrowheads="1"/>
            </p:cNvSpPr>
            <p:nvPr userDrawn="1"/>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78" name="Oval 140"/>
            <p:cNvSpPr>
              <a:spLocks noChangeAspect="1" noChangeArrowheads="1"/>
            </p:cNvSpPr>
            <p:nvPr userDrawn="1"/>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79" name="Oval 141"/>
            <p:cNvSpPr>
              <a:spLocks noChangeAspect="1" noChangeArrowheads="1"/>
            </p:cNvSpPr>
            <p:nvPr userDrawn="1"/>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80" name="Oval 142"/>
            <p:cNvSpPr>
              <a:spLocks noChangeAspect="1" noChangeArrowheads="1"/>
            </p:cNvSpPr>
            <p:nvPr userDrawn="1"/>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81" name="Oval 143"/>
            <p:cNvSpPr>
              <a:spLocks noChangeAspect="1" noChangeArrowheads="1"/>
            </p:cNvSpPr>
            <p:nvPr userDrawn="1"/>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82" name="Oval 144"/>
            <p:cNvSpPr>
              <a:spLocks noChangeAspect="1" noChangeArrowheads="1"/>
            </p:cNvSpPr>
            <p:nvPr userDrawn="1"/>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83" name="Oval 145"/>
            <p:cNvSpPr>
              <a:spLocks noChangeAspect="1" noChangeArrowheads="1"/>
            </p:cNvSpPr>
            <p:nvPr userDrawn="1"/>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84" name="Oval 146"/>
            <p:cNvSpPr>
              <a:spLocks noChangeAspect="1" noChangeArrowheads="1"/>
            </p:cNvSpPr>
            <p:nvPr userDrawn="1"/>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85" name="Oval 147"/>
            <p:cNvSpPr>
              <a:spLocks noChangeAspect="1" noChangeArrowheads="1"/>
            </p:cNvSpPr>
            <p:nvPr userDrawn="1"/>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86" name="Oval 148"/>
            <p:cNvSpPr>
              <a:spLocks noChangeAspect="1" noChangeArrowheads="1"/>
            </p:cNvSpPr>
            <p:nvPr userDrawn="1"/>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87" name="Oval 149"/>
            <p:cNvSpPr>
              <a:spLocks noChangeAspect="1" noChangeArrowheads="1"/>
            </p:cNvSpPr>
            <p:nvPr userDrawn="1"/>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88" name="Oval 150"/>
            <p:cNvSpPr>
              <a:spLocks noChangeAspect="1" noChangeArrowheads="1"/>
            </p:cNvSpPr>
            <p:nvPr userDrawn="1"/>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89" name="Oval 151"/>
            <p:cNvSpPr>
              <a:spLocks noChangeAspect="1" noChangeArrowheads="1"/>
            </p:cNvSpPr>
            <p:nvPr userDrawn="1"/>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90" name="Oval 152"/>
            <p:cNvSpPr>
              <a:spLocks noChangeAspect="1" noChangeArrowheads="1"/>
            </p:cNvSpPr>
            <p:nvPr userDrawn="1"/>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91" name="Oval 153"/>
            <p:cNvSpPr>
              <a:spLocks noChangeAspect="1" noChangeArrowheads="1"/>
            </p:cNvSpPr>
            <p:nvPr userDrawn="1"/>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92" name="Oval 154"/>
            <p:cNvSpPr>
              <a:spLocks noChangeAspect="1" noChangeArrowheads="1"/>
            </p:cNvSpPr>
            <p:nvPr userDrawn="1"/>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93" name="Oval 155"/>
            <p:cNvSpPr>
              <a:spLocks noChangeAspect="1" noChangeArrowheads="1"/>
            </p:cNvSpPr>
            <p:nvPr userDrawn="1"/>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94" name="Oval 156"/>
            <p:cNvSpPr>
              <a:spLocks noChangeAspect="1" noChangeArrowheads="1"/>
            </p:cNvSpPr>
            <p:nvPr userDrawn="1"/>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95" name="Oval 157"/>
            <p:cNvSpPr>
              <a:spLocks noChangeAspect="1" noChangeArrowheads="1"/>
            </p:cNvSpPr>
            <p:nvPr userDrawn="1"/>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96" name="Oval 158"/>
            <p:cNvSpPr>
              <a:spLocks noChangeAspect="1" noChangeArrowheads="1"/>
            </p:cNvSpPr>
            <p:nvPr userDrawn="1"/>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97" name="Oval 159"/>
            <p:cNvSpPr>
              <a:spLocks noChangeAspect="1" noChangeArrowheads="1"/>
            </p:cNvSpPr>
            <p:nvPr userDrawn="1"/>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98" name="Oval 160"/>
            <p:cNvSpPr>
              <a:spLocks noChangeAspect="1" noChangeArrowheads="1"/>
            </p:cNvSpPr>
            <p:nvPr userDrawn="1"/>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99" name="Oval 161"/>
            <p:cNvSpPr>
              <a:spLocks noChangeAspect="1" noChangeArrowheads="1"/>
            </p:cNvSpPr>
            <p:nvPr userDrawn="1"/>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00" name="Oval 162"/>
            <p:cNvSpPr>
              <a:spLocks noChangeAspect="1" noChangeArrowheads="1"/>
            </p:cNvSpPr>
            <p:nvPr userDrawn="1"/>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01" name="Oval 163"/>
            <p:cNvSpPr>
              <a:spLocks noChangeAspect="1" noChangeArrowheads="1"/>
            </p:cNvSpPr>
            <p:nvPr userDrawn="1"/>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02" name="Oval 164"/>
            <p:cNvSpPr>
              <a:spLocks noChangeAspect="1" noChangeArrowheads="1"/>
            </p:cNvSpPr>
            <p:nvPr userDrawn="1"/>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03" name="Oval 165"/>
            <p:cNvSpPr>
              <a:spLocks noChangeAspect="1" noChangeArrowheads="1"/>
            </p:cNvSpPr>
            <p:nvPr userDrawn="1"/>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04" name="Oval 166"/>
            <p:cNvSpPr>
              <a:spLocks noChangeAspect="1" noChangeArrowheads="1"/>
            </p:cNvSpPr>
            <p:nvPr userDrawn="1"/>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05" name="Oval 167"/>
            <p:cNvSpPr>
              <a:spLocks noChangeAspect="1" noChangeArrowheads="1"/>
            </p:cNvSpPr>
            <p:nvPr userDrawn="1"/>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06" name="Oval 168"/>
            <p:cNvSpPr>
              <a:spLocks noChangeAspect="1" noChangeArrowheads="1"/>
            </p:cNvSpPr>
            <p:nvPr userDrawn="1"/>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07" name="Oval 169"/>
            <p:cNvSpPr>
              <a:spLocks noChangeAspect="1" noChangeArrowheads="1"/>
            </p:cNvSpPr>
            <p:nvPr userDrawn="1"/>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08" name="Oval 170"/>
            <p:cNvSpPr>
              <a:spLocks noChangeAspect="1" noChangeArrowheads="1"/>
            </p:cNvSpPr>
            <p:nvPr userDrawn="1"/>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09" name="Oval 171"/>
            <p:cNvSpPr>
              <a:spLocks noChangeAspect="1" noChangeArrowheads="1"/>
            </p:cNvSpPr>
            <p:nvPr userDrawn="1"/>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10" name="Oval 172"/>
            <p:cNvSpPr>
              <a:spLocks noChangeAspect="1" noChangeArrowheads="1"/>
            </p:cNvSpPr>
            <p:nvPr userDrawn="1"/>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11" name="Oval 173"/>
            <p:cNvSpPr>
              <a:spLocks noChangeAspect="1" noChangeArrowheads="1"/>
            </p:cNvSpPr>
            <p:nvPr userDrawn="1"/>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12" name="Oval 174"/>
            <p:cNvSpPr>
              <a:spLocks noChangeAspect="1" noChangeArrowheads="1"/>
            </p:cNvSpPr>
            <p:nvPr userDrawn="1"/>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13" name="Oval 175"/>
            <p:cNvSpPr>
              <a:spLocks noChangeAspect="1" noChangeArrowheads="1"/>
            </p:cNvSpPr>
            <p:nvPr userDrawn="1"/>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14" name="Oval 176"/>
            <p:cNvSpPr>
              <a:spLocks noChangeAspect="1" noChangeArrowheads="1"/>
            </p:cNvSpPr>
            <p:nvPr userDrawn="1"/>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15" name="Oval 177"/>
            <p:cNvSpPr>
              <a:spLocks noChangeAspect="1" noChangeArrowheads="1"/>
            </p:cNvSpPr>
            <p:nvPr userDrawn="1"/>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16" name="Oval 178"/>
            <p:cNvSpPr>
              <a:spLocks noChangeAspect="1" noChangeArrowheads="1"/>
            </p:cNvSpPr>
            <p:nvPr userDrawn="1"/>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17" name="Oval 179"/>
            <p:cNvSpPr>
              <a:spLocks noChangeAspect="1" noChangeArrowheads="1"/>
            </p:cNvSpPr>
            <p:nvPr userDrawn="1"/>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18" name="Oval 180"/>
            <p:cNvSpPr>
              <a:spLocks noChangeAspect="1" noChangeArrowheads="1"/>
            </p:cNvSpPr>
            <p:nvPr userDrawn="1"/>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19" name="Oval 181"/>
            <p:cNvSpPr>
              <a:spLocks noChangeAspect="1" noChangeArrowheads="1"/>
            </p:cNvSpPr>
            <p:nvPr userDrawn="1"/>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20" name="Oval 182"/>
            <p:cNvSpPr>
              <a:spLocks noChangeAspect="1" noChangeArrowheads="1"/>
            </p:cNvSpPr>
            <p:nvPr userDrawn="1"/>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21" name="Oval 183"/>
            <p:cNvSpPr>
              <a:spLocks noChangeAspect="1" noChangeArrowheads="1"/>
            </p:cNvSpPr>
            <p:nvPr userDrawn="1"/>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22" name="Oval 184"/>
            <p:cNvSpPr>
              <a:spLocks noChangeAspect="1" noChangeArrowheads="1"/>
            </p:cNvSpPr>
            <p:nvPr userDrawn="1"/>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23" name="Oval 185"/>
            <p:cNvSpPr>
              <a:spLocks noChangeAspect="1" noChangeArrowheads="1"/>
            </p:cNvSpPr>
            <p:nvPr userDrawn="1"/>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24" name="Oval 186"/>
            <p:cNvSpPr>
              <a:spLocks noChangeAspect="1" noChangeArrowheads="1"/>
            </p:cNvSpPr>
            <p:nvPr userDrawn="1"/>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25" name="Oval 187"/>
            <p:cNvSpPr>
              <a:spLocks noChangeAspect="1" noChangeArrowheads="1"/>
            </p:cNvSpPr>
            <p:nvPr userDrawn="1"/>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26" name="Oval 188"/>
            <p:cNvSpPr>
              <a:spLocks noChangeAspect="1" noChangeArrowheads="1"/>
            </p:cNvSpPr>
            <p:nvPr userDrawn="1"/>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27" name="Oval 189"/>
            <p:cNvSpPr>
              <a:spLocks noChangeAspect="1" noChangeArrowheads="1"/>
            </p:cNvSpPr>
            <p:nvPr userDrawn="1"/>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28" name="Oval 190"/>
            <p:cNvSpPr>
              <a:spLocks noChangeAspect="1" noChangeArrowheads="1"/>
            </p:cNvSpPr>
            <p:nvPr userDrawn="1"/>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29" name="Oval 191"/>
            <p:cNvSpPr>
              <a:spLocks noChangeAspect="1" noChangeArrowheads="1"/>
            </p:cNvSpPr>
            <p:nvPr userDrawn="1"/>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30" name="Oval 192"/>
            <p:cNvSpPr>
              <a:spLocks noChangeAspect="1" noChangeArrowheads="1"/>
            </p:cNvSpPr>
            <p:nvPr userDrawn="1"/>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31" name="Oval 193"/>
            <p:cNvSpPr>
              <a:spLocks noChangeAspect="1" noChangeArrowheads="1"/>
            </p:cNvSpPr>
            <p:nvPr userDrawn="1"/>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32" name="Oval 194"/>
            <p:cNvSpPr>
              <a:spLocks noChangeAspect="1" noChangeArrowheads="1"/>
            </p:cNvSpPr>
            <p:nvPr userDrawn="1"/>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33" name="Oval 195"/>
            <p:cNvSpPr>
              <a:spLocks noChangeAspect="1" noChangeArrowheads="1"/>
            </p:cNvSpPr>
            <p:nvPr userDrawn="1"/>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34" name="Oval 196"/>
            <p:cNvSpPr>
              <a:spLocks noChangeAspect="1" noChangeArrowheads="1"/>
            </p:cNvSpPr>
            <p:nvPr userDrawn="1"/>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35" name="Oval 197"/>
            <p:cNvSpPr>
              <a:spLocks noChangeAspect="1" noChangeArrowheads="1"/>
            </p:cNvSpPr>
            <p:nvPr userDrawn="1"/>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36" name="Oval 198"/>
            <p:cNvSpPr>
              <a:spLocks noChangeAspect="1" noChangeArrowheads="1"/>
            </p:cNvSpPr>
            <p:nvPr userDrawn="1"/>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37" name="Oval 199"/>
            <p:cNvSpPr>
              <a:spLocks noChangeAspect="1" noChangeArrowheads="1"/>
            </p:cNvSpPr>
            <p:nvPr userDrawn="1"/>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38" name="Oval 200"/>
            <p:cNvSpPr>
              <a:spLocks noChangeAspect="1" noChangeArrowheads="1"/>
            </p:cNvSpPr>
            <p:nvPr userDrawn="1"/>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39" name="Oval 201"/>
            <p:cNvSpPr>
              <a:spLocks noChangeAspect="1" noChangeArrowheads="1"/>
            </p:cNvSpPr>
            <p:nvPr userDrawn="1"/>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40" name="Oval 202"/>
            <p:cNvSpPr>
              <a:spLocks noChangeAspect="1" noChangeArrowheads="1"/>
            </p:cNvSpPr>
            <p:nvPr userDrawn="1"/>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41" name="Oval 203"/>
            <p:cNvSpPr>
              <a:spLocks noChangeAspect="1" noChangeArrowheads="1"/>
            </p:cNvSpPr>
            <p:nvPr userDrawn="1"/>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42" name="Oval 204"/>
            <p:cNvSpPr>
              <a:spLocks noChangeAspect="1" noChangeArrowheads="1"/>
            </p:cNvSpPr>
            <p:nvPr userDrawn="1"/>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43" name="Oval 205"/>
            <p:cNvSpPr>
              <a:spLocks noChangeAspect="1" noChangeArrowheads="1"/>
            </p:cNvSpPr>
            <p:nvPr userDrawn="1"/>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44" name="Oval 206"/>
            <p:cNvSpPr>
              <a:spLocks noChangeAspect="1" noChangeArrowheads="1"/>
            </p:cNvSpPr>
            <p:nvPr userDrawn="1"/>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45" name="Oval 207"/>
            <p:cNvSpPr>
              <a:spLocks noChangeAspect="1" noChangeArrowheads="1"/>
            </p:cNvSpPr>
            <p:nvPr userDrawn="1"/>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46" name="Oval 208"/>
            <p:cNvSpPr>
              <a:spLocks noChangeAspect="1" noChangeArrowheads="1"/>
            </p:cNvSpPr>
            <p:nvPr userDrawn="1"/>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47" name="Oval 209"/>
            <p:cNvSpPr>
              <a:spLocks noChangeAspect="1" noChangeArrowheads="1"/>
            </p:cNvSpPr>
            <p:nvPr userDrawn="1"/>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48" name="Oval 210"/>
            <p:cNvSpPr>
              <a:spLocks noChangeAspect="1" noChangeArrowheads="1"/>
            </p:cNvSpPr>
            <p:nvPr userDrawn="1"/>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49" name="Oval 211"/>
            <p:cNvSpPr>
              <a:spLocks noChangeAspect="1" noChangeArrowheads="1"/>
            </p:cNvSpPr>
            <p:nvPr userDrawn="1"/>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50" name="Oval 212"/>
            <p:cNvSpPr>
              <a:spLocks noChangeAspect="1" noChangeArrowheads="1"/>
            </p:cNvSpPr>
            <p:nvPr userDrawn="1"/>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51" name="Oval 213"/>
            <p:cNvSpPr>
              <a:spLocks noChangeAspect="1" noChangeArrowheads="1"/>
            </p:cNvSpPr>
            <p:nvPr userDrawn="1"/>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52" name="Oval 214"/>
            <p:cNvSpPr>
              <a:spLocks noChangeAspect="1" noChangeArrowheads="1"/>
            </p:cNvSpPr>
            <p:nvPr userDrawn="1"/>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53" name="Oval 215"/>
            <p:cNvSpPr>
              <a:spLocks noChangeAspect="1" noChangeArrowheads="1"/>
            </p:cNvSpPr>
            <p:nvPr userDrawn="1"/>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54" name="Oval 216"/>
            <p:cNvSpPr>
              <a:spLocks noChangeAspect="1" noChangeArrowheads="1"/>
            </p:cNvSpPr>
            <p:nvPr userDrawn="1"/>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55" name="Oval 217"/>
            <p:cNvSpPr>
              <a:spLocks noChangeAspect="1" noChangeArrowheads="1"/>
            </p:cNvSpPr>
            <p:nvPr userDrawn="1"/>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56" name="Oval 218"/>
            <p:cNvSpPr>
              <a:spLocks noChangeAspect="1" noChangeArrowheads="1"/>
            </p:cNvSpPr>
            <p:nvPr userDrawn="1"/>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57" name="Oval 219"/>
            <p:cNvSpPr>
              <a:spLocks noChangeAspect="1" noChangeArrowheads="1"/>
            </p:cNvSpPr>
            <p:nvPr userDrawn="1"/>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58" name="Oval 220"/>
            <p:cNvSpPr>
              <a:spLocks noChangeAspect="1" noChangeArrowheads="1"/>
            </p:cNvSpPr>
            <p:nvPr userDrawn="1"/>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59" name="Oval 221"/>
            <p:cNvSpPr>
              <a:spLocks noChangeAspect="1" noChangeArrowheads="1"/>
            </p:cNvSpPr>
            <p:nvPr userDrawn="1"/>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60" name="Oval 222"/>
            <p:cNvSpPr>
              <a:spLocks noChangeAspect="1" noChangeArrowheads="1"/>
            </p:cNvSpPr>
            <p:nvPr userDrawn="1"/>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61" name="Oval 223"/>
            <p:cNvSpPr>
              <a:spLocks noChangeAspect="1" noChangeArrowheads="1"/>
            </p:cNvSpPr>
            <p:nvPr userDrawn="1"/>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62" name="Oval 224"/>
            <p:cNvSpPr>
              <a:spLocks noChangeAspect="1" noChangeArrowheads="1"/>
            </p:cNvSpPr>
            <p:nvPr userDrawn="1"/>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63" name="Oval 225"/>
            <p:cNvSpPr>
              <a:spLocks noChangeAspect="1" noChangeArrowheads="1"/>
            </p:cNvSpPr>
            <p:nvPr userDrawn="1"/>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64" name="Oval 226"/>
            <p:cNvSpPr>
              <a:spLocks noChangeAspect="1" noChangeArrowheads="1"/>
            </p:cNvSpPr>
            <p:nvPr userDrawn="1"/>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65" name="Oval 227"/>
            <p:cNvSpPr>
              <a:spLocks noChangeAspect="1" noChangeArrowheads="1"/>
            </p:cNvSpPr>
            <p:nvPr userDrawn="1"/>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66" name="Oval 228"/>
            <p:cNvSpPr>
              <a:spLocks noChangeAspect="1" noChangeArrowheads="1"/>
            </p:cNvSpPr>
            <p:nvPr userDrawn="1"/>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67" name="Oval 229"/>
            <p:cNvSpPr>
              <a:spLocks noChangeAspect="1" noChangeArrowheads="1"/>
            </p:cNvSpPr>
            <p:nvPr userDrawn="1"/>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68" name="Oval 230"/>
            <p:cNvSpPr>
              <a:spLocks noChangeAspect="1" noChangeArrowheads="1"/>
            </p:cNvSpPr>
            <p:nvPr userDrawn="1"/>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69" name="Oval 231"/>
            <p:cNvSpPr>
              <a:spLocks noChangeAspect="1" noChangeArrowheads="1"/>
            </p:cNvSpPr>
            <p:nvPr userDrawn="1"/>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70" name="Oval 232"/>
            <p:cNvSpPr>
              <a:spLocks noChangeAspect="1" noChangeArrowheads="1"/>
            </p:cNvSpPr>
            <p:nvPr userDrawn="1"/>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71" name="Oval 233"/>
            <p:cNvSpPr>
              <a:spLocks noChangeAspect="1" noChangeArrowheads="1"/>
            </p:cNvSpPr>
            <p:nvPr userDrawn="1"/>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72" name="Oval 234"/>
            <p:cNvSpPr>
              <a:spLocks noChangeAspect="1" noChangeArrowheads="1"/>
            </p:cNvSpPr>
            <p:nvPr userDrawn="1"/>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73" name="Oval 235"/>
            <p:cNvSpPr>
              <a:spLocks noChangeAspect="1" noChangeArrowheads="1"/>
            </p:cNvSpPr>
            <p:nvPr userDrawn="1"/>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74" name="Oval 236"/>
            <p:cNvSpPr>
              <a:spLocks noChangeAspect="1" noChangeArrowheads="1"/>
            </p:cNvSpPr>
            <p:nvPr userDrawn="1"/>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75" name="Oval 237"/>
            <p:cNvSpPr>
              <a:spLocks noChangeAspect="1" noChangeArrowheads="1"/>
            </p:cNvSpPr>
            <p:nvPr userDrawn="1"/>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76" name="Oval 238"/>
            <p:cNvSpPr>
              <a:spLocks noChangeAspect="1" noChangeArrowheads="1"/>
            </p:cNvSpPr>
            <p:nvPr userDrawn="1"/>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77" name="Oval 239"/>
            <p:cNvSpPr>
              <a:spLocks noChangeAspect="1" noChangeArrowheads="1"/>
            </p:cNvSpPr>
            <p:nvPr userDrawn="1"/>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78" name="Oval 240"/>
            <p:cNvSpPr>
              <a:spLocks noChangeAspect="1" noChangeArrowheads="1"/>
            </p:cNvSpPr>
            <p:nvPr userDrawn="1"/>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79" name="Oval 241"/>
            <p:cNvSpPr>
              <a:spLocks noChangeAspect="1" noChangeArrowheads="1"/>
            </p:cNvSpPr>
            <p:nvPr userDrawn="1"/>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80" name="Oval 242"/>
            <p:cNvSpPr>
              <a:spLocks noChangeAspect="1" noChangeArrowheads="1"/>
            </p:cNvSpPr>
            <p:nvPr userDrawn="1"/>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81" name="Oval 243"/>
            <p:cNvSpPr>
              <a:spLocks noChangeAspect="1" noChangeArrowheads="1"/>
            </p:cNvSpPr>
            <p:nvPr userDrawn="1"/>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82" name="Oval 244"/>
            <p:cNvSpPr>
              <a:spLocks noChangeAspect="1" noChangeArrowheads="1"/>
            </p:cNvSpPr>
            <p:nvPr userDrawn="1"/>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83" name="Oval 245"/>
            <p:cNvSpPr>
              <a:spLocks noChangeAspect="1" noChangeArrowheads="1"/>
            </p:cNvSpPr>
            <p:nvPr userDrawn="1"/>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84" name="Oval 246"/>
            <p:cNvSpPr>
              <a:spLocks noChangeAspect="1" noChangeArrowheads="1"/>
            </p:cNvSpPr>
            <p:nvPr userDrawn="1"/>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85" name="Oval 247"/>
            <p:cNvSpPr>
              <a:spLocks noChangeAspect="1" noChangeArrowheads="1"/>
            </p:cNvSpPr>
            <p:nvPr userDrawn="1"/>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86" name="Oval 248"/>
            <p:cNvSpPr>
              <a:spLocks noChangeAspect="1" noChangeArrowheads="1"/>
            </p:cNvSpPr>
            <p:nvPr userDrawn="1"/>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87" name="Oval 249"/>
            <p:cNvSpPr>
              <a:spLocks noChangeAspect="1" noChangeArrowheads="1"/>
            </p:cNvSpPr>
            <p:nvPr userDrawn="1"/>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88" name="Oval 250"/>
            <p:cNvSpPr>
              <a:spLocks noChangeAspect="1" noChangeArrowheads="1"/>
            </p:cNvSpPr>
            <p:nvPr userDrawn="1"/>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89" name="Oval 251"/>
            <p:cNvSpPr>
              <a:spLocks noChangeAspect="1" noChangeArrowheads="1"/>
            </p:cNvSpPr>
            <p:nvPr userDrawn="1"/>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90" name="Oval 252"/>
            <p:cNvSpPr>
              <a:spLocks noChangeAspect="1" noChangeArrowheads="1"/>
            </p:cNvSpPr>
            <p:nvPr userDrawn="1"/>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91" name="Oval 253"/>
            <p:cNvSpPr>
              <a:spLocks noChangeAspect="1" noChangeArrowheads="1"/>
            </p:cNvSpPr>
            <p:nvPr userDrawn="1"/>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92" name="Oval 254"/>
            <p:cNvSpPr>
              <a:spLocks noChangeAspect="1" noChangeArrowheads="1"/>
            </p:cNvSpPr>
            <p:nvPr userDrawn="1"/>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93" name="Oval 255"/>
            <p:cNvSpPr>
              <a:spLocks noChangeAspect="1" noChangeArrowheads="1"/>
            </p:cNvSpPr>
            <p:nvPr userDrawn="1"/>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94" name="Oval 256"/>
            <p:cNvSpPr>
              <a:spLocks noChangeAspect="1" noChangeArrowheads="1"/>
            </p:cNvSpPr>
            <p:nvPr userDrawn="1"/>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95" name="Oval 257"/>
            <p:cNvSpPr>
              <a:spLocks noChangeAspect="1" noChangeArrowheads="1"/>
            </p:cNvSpPr>
            <p:nvPr userDrawn="1"/>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96" name="Oval 258"/>
            <p:cNvSpPr>
              <a:spLocks noChangeAspect="1" noChangeArrowheads="1"/>
            </p:cNvSpPr>
            <p:nvPr userDrawn="1"/>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97" name="Oval 259"/>
            <p:cNvSpPr>
              <a:spLocks noChangeAspect="1" noChangeArrowheads="1"/>
            </p:cNvSpPr>
            <p:nvPr userDrawn="1"/>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98" name="Oval 260"/>
            <p:cNvSpPr>
              <a:spLocks noChangeAspect="1" noChangeArrowheads="1"/>
            </p:cNvSpPr>
            <p:nvPr userDrawn="1"/>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299" name="Oval 261"/>
            <p:cNvSpPr>
              <a:spLocks noChangeAspect="1" noChangeArrowheads="1"/>
            </p:cNvSpPr>
            <p:nvPr userDrawn="1"/>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00" name="Oval 262"/>
            <p:cNvSpPr>
              <a:spLocks noChangeAspect="1" noChangeArrowheads="1"/>
            </p:cNvSpPr>
            <p:nvPr userDrawn="1"/>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01" name="Oval 263"/>
            <p:cNvSpPr>
              <a:spLocks noChangeAspect="1" noChangeArrowheads="1"/>
            </p:cNvSpPr>
            <p:nvPr userDrawn="1"/>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02" name="Oval 264"/>
            <p:cNvSpPr>
              <a:spLocks noChangeAspect="1" noChangeArrowheads="1"/>
            </p:cNvSpPr>
            <p:nvPr userDrawn="1"/>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03" name="Oval 265"/>
            <p:cNvSpPr>
              <a:spLocks noChangeAspect="1" noChangeArrowheads="1"/>
            </p:cNvSpPr>
            <p:nvPr userDrawn="1"/>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04" name="Oval 266"/>
            <p:cNvSpPr>
              <a:spLocks noChangeAspect="1" noChangeArrowheads="1"/>
            </p:cNvSpPr>
            <p:nvPr userDrawn="1"/>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05" name="Oval 267"/>
            <p:cNvSpPr>
              <a:spLocks noChangeAspect="1" noChangeArrowheads="1"/>
            </p:cNvSpPr>
            <p:nvPr userDrawn="1"/>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06" name="Oval 268"/>
            <p:cNvSpPr>
              <a:spLocks noChangeAspect="1" noChangeArrowheads="1"/>
            </p:cNvSpPr>
            <p:nvPr userDrawn="1"/>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07" name="Oval 269"/>
            <p:cNvSpPr>
              <a:spLocks noChangeAspect="1" noChangeArrowheads="1"/>
            </p:cNvSpPr>
            <p:nvPr userDrawn="1"/>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08" name="Oval 270"/>
            <p:cNvSpPr>
              <a:spLocks noChangeAspect="1" noChangeArrowheads="1"/>
            </p:cNvSpPr>
            <p:nvPr userDrawn="1"/>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09" name="Oval 271"/>
            <p:cNvSpPr>
              <a:spLocks noChangeAspect="1" noChangeArrowheads="1"/>
            </p:cNvSpPr>
            <p:nvPr userDrawn="1"/>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10" name="Oval 272"/>
            <p:cNvSpPr>
              <a:spLocks noChangeAspect="1" noChangeArrowheads="1"/>
            </p:cNvSpPr>
            <p:nvPr userDrawn="1"/>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11" name="Oval 273"/>
            <p:cNvSpPr>
              <a:spLocks noChangeAspect="1" noChangeArrowheads="1"/>
            </p:cNvSpPr>
            <p:nvPr userDrawn="1"/>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12" name="Oval 274"/>
            <p:cNvSpPr>
              <a:spLocks noChangeAspect="1" noChangeArrowheads="1"/>
            </p:cNvSpPr>
            <p:nvPr userDrawn="1"/>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13" name="Oval 275"/>
            <p:cNvSpPr>
              <a:spLocks noChangeAspect="1" noChangeArrowheads="1"/>
            </p:cNvSpPr>
            <p:nvPr userDrawn="1"/>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14" name="Oval 276"/>
            <p:cNvSpPr>
              <a:spLocks noChangeAspect="1" noChangeArrowheads="1"/>
            </p:cNvSpPr>
            <p:nvPr userDrawn="1"/>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15" name="Oval 277"/>
            <p:cNvSpPr>
              <a:spLocks noChangeAspect="1" noChangeArrowheads="1"/>
            </p:cNvSpPr>
            <p:nvPr userDrawn="1"/>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16" name="Oval 278"/>
            <p:cNvSpPr>
              <a:spLocks noChangeAspect="1" noChangeArrowheads="1"/>
            </p:cNvSpPr>
            <p:nvPr userDrawn="1"/>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17" name="Oval 279"/>
            <p:cNvSpPr>
              <a:spLocks noChangeAspect="1" noChangeArrowheads="1"/>
            </p:cNvSpPr>
            <p:nvPr userDrawn="1"/>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18" name="Oval 280"/>
            <p:cNvSpPr>
              <a:spLocks noChangeAspect="1" noChangeArrowheads="1"/>
            </p:cNvSpPr>
            <p:nvPr userDrawn="1"/>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19" name="Oval 281"/>
            <p:cNvSpPr>
              <a:spLocks noChangeAspect="1" noChangeArrowheads="1"/>
            </p:cNvSpPr>
            <p:nvPr userDrawn="1"/>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20" name="Oval 282"/>
            <p:cNvSpPr>
              <a:spLocks noChangeAspect="1" noChangeArrowheads="1"/>
            </p:cNvSpPr>
            <p:nvPr userDrawn="1"/>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21" name="Oval 283"/>
            <p:cNvSpPr>
              <a:spLocks noChangeAspect="1" noChangeArrowheads="1"/>
            </p:cNvSpPr>
            <p:nvPr userDrawn="1"/>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22" name="Oval 284"/>
            <p:cNvSpPr>
              <a:spLocks noChangeAspect="1" noChangeArrowheads="1"/>
            </p:cNvSpPr>
            <p:nvPr userDrawn="1"/>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23" name="Oval 285"/>
            <p:cNvSpPr>
              <a:spLocks noChangeAspect="1" noChangeArrowheads="1"/>
            </p:cNvSpPr>
            <p:nvPr userDrawn="1"/>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24" name="Oval 286"/>
            <p:cNvSpPr>
              <a:spLocks noChangeAspect="1" noChangeArrowheads="1"/>
            </p:cNvSpPr>
            <p:nvPr userDrawn="1"/>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25" name="Oval 287"/>
            <p:cNvSpPr>
              <a:spLocks noChangeAspect="1" noChangeArrowheads="1"/>
            </p:cNvSpPr>
            <p:nvPr userDrawn="1"/>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26" name="Oval 288"/>
            <p:cNvSpPr>
              <a:spLocks noChangeAspect="1" noChangeArrowheads="1"/>
            </p:cNvSpPr>
            <p:nvPr userDrawn="1"/>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27" name="Oval 289"/>
            <p:cNvSpPr>
              <a:spLocks noChangeAspect="1" noChangeArrowheads="1"/>
            </p:cNvSpPr>
            <p:nvPr userDrawn="1"/>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28" name="Oval 290"/>
            <p:cNvSpPr>
              <a:spLocks noChangeAspect="1" noChangeArrowheads="1"/>
            </p:cNvSpPr>
            <p:nvPr userDrawn="1"/>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29" name="Oval 291"/>
            <p:cNvSpPr>
              <a:spLocks noChangeAspect="1" noChangeArrowheads="1"/>
            </p:cNvSpPr>
            <p:nvPr userDrawn="1"/>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30" name="Oval 292"/>
            <p:cNvSpPr>
              <a:spLocks noChangeAspect="1" noChangeArrowheads="1"/>
            </p:cNvSpPr>
            <p:nvPr userDrawn="1"/>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31" name="Oval 293"/>
            <p:cNvSpPr>
              <a:spLocks noChangeAspect="1" noChangeArrowheads="1"/>
            </p:cNvSpPr>
            <p:nvPr userDrawn="1"/>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32" name="Oval 294"/>
            <p:cNvSpPr>
              <a:spLocks noChangeAspect="1" noChangeArrowheads="1"/>
            </p:cNvSpPr>
            <p:nvPr userDrawn="1"/>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33" name="Oval 295"/>
            <p:cNvSpPr>
              <a:spLocks noChangeAspect="1" noChangeArrowheads="1"/>
            </p:cNvSpPr>
            <p:nvPr userDrawn="1"/>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34" name="Oval 296"/>
            <p:cNvSpPr>
              <a:spLocks noChangeAspect="1" noChangeArrowheads="1"/>
            </p:cNvSpPr>
            <p:nvPr userDrawn="1"/>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35" name="Oval 297"/>
            <p:cNvSpPr>
              <a:spLocks noChangeAspect="1" noChangeArrowheads="1"/>
            </p:cNvSpPr>
            <p:nvPr userDrawn="1"/>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36" name="Oval 298"/>
            <p:cNvSpPr>
              <a:spLocks noChangeAspect="1" noChangeArrowheads="1"/>
            </p:cNvSpPr>
            <p:nvPr userDrawn="1"/>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37" name="Oval 299"/>
            <p:cNvSpPr>
              <a:spLocks noChangeAspect="1" noChangeArrowheads="1"/>
            </p:cNvSpPr>
            <p:nvPr userDrawn="1"/>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38" name="Oval 300"/>
            <p:cNvSpPr>
              <a:spLocks noChangeAspect="1" noChangeArrowheads="1"/>
            </p:cNvSpPr>
            <p:nvPr userDrawn="1"/>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39" name="Oval 301"/>
            <p:cNvSpPr>
              <a:spLocks noChangeAspect="1" noChangeArrowheads="1"/>
            </p:cNvSpPr>
            <p:nvPr userDrawn="1"/>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40" name="Oval 302"/>
            <p:cNvSpPr>
              <a:spLocks noChangeAspect="1" noChangeArrowheads="1"/>
            </p:cNvSpPr>
            <p:nvPr userDrawn="1"/>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41" name="Oval 303"/>
            <p:cNvSpPr>
              <a:spLocks noChangeAspect="1" noChangeArrowheads="1"/>
            </p:cNvSpPr>
            <p:nvPr userDrawn="1"/>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42" name="Oval 304"/>
            <p:cNvSpPr>
              <a:spLocks noChangeAspect="1" noChangeArrowheads="1"/>
            </p:cNvSpPr>
            <p:nvPr userDrawn="1"/>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43" name="Oval 305"/>
            <p:cNvSpPr>
              <a:spLocks noChangeAspect="1" noChangeArrowheads="1"/>
            </p:cNvSpPr>
            <p:nvPr userDrawn="1"/>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44" name="Oval 306"/>
            <p:cNvSpPr>
              <a:spLocks noChangeAspect="1" noChangeArrowheads="1"/>
            </p:cNvSpPr>
            <p:nvPr userDrawn="1"/>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45" name="Oval 307"/>
            <p:cNvSpPr>
              <a:spLocks noChangeAspect="1" noChangeArrowheads="1"/>
            </p:cNvSpPr>
            <p:nvPr userDrawn="1"/>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46" name="Oval 308"/>
            <p:cNvSpPr>
              <a:spLocks noChangeAspect="1" noChangeArrowheads="1"/>
            </p:cNvSpPr>
            <p:nvPr userDrawn="1"/>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47" name="Oval 309"/>
            <p:cNvSpPr>
              <a:spLocks noChangeAspect="1" noChangeArrowheads="1"/>
            </p:cNvSpPr>
            <p:nvPr userDrawn="1"/>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48" name="Oval 310"/>
            <p:cNvSpPr>
              <a:spLocks noChangeAspect="1" noChangeArrowheads="1"/>
            </p:cNvSpPr>
            <p:nvPr userDrawn="1"/>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49" name="Oval 311"/>
            <p:cNvSpPr>
              <a:spLocks noChangeAspect="1" noChangeArrowheads="1"/>
            </p:cNvSpPr>
            <p:nvPr userDrawn="1"/>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50" name="Oval 312"/>
            <p:cNvSpPr>
              <a:spLocks noChangeAspect="1" noChangeArrowheads="1"/>
            </p:cNvSpPr>
            <p:nvPr userDrawn="1"/>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51" name="Oval 313"/>
            <p:cNvSpPr>
              <a:spLocks noChangeAspect="1" noChangeArrowheads="1"/>
            </p:cNvSpPr>
            <p:nvPr userDrawn="1"/>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52" name="Oval 314"/>
            <p:cNvSpPr>
              <a:spLocks noChangeAspect="1" noChangeArrowheads="1"/>
            </p:cNvSpPr>
            <p:nvPr userDrawn="1"/>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53" name="Oval 315"/>
            <p:cNvSpPr>
              <a:spLocks noChangeAspect="1" noChangeArrowheads="1"/>
            </p:cNvSpPr>
            <p:nvPr userDrawn="1"/>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54" name="Oval 316"/>
            <p:cNvSpPr>
              <a:spLocks noChangeAspect="1" noChangeArrowheads="1"/>
            </p:cNvSpPr>
            <p:nvPr userDrawn="1"/>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55" name="Oval 317"/>
            <p:cNvSpPr>
              <a:spLocks noChangeAspect="1" noChangeArrowheads="1"/>
            </p:cNvSpPr>
            <p:nvPr userDrawn="1"/>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56" name="Oval 318"/>
            <p:cNvSpPr>
              <a:spLocks noChangeAspect="1" noChangeArrowheads="1"/>
            </p:cNvSpPr>
            <p:nvPr userDrawn="1"/>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57" name="Oval 319"/>
            <p:cNvSpPr>
              <a:spLocks noChangeAspect="1" noChangeArrowheads="1"/>
            </p:cNvSpPr>
            <p:nvPr userDrawn="1"/>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58" name="Oval 320"/>
            <p:cNvSpPr>
              <a:spLocks noChangeAspect="1" noChangeArrowheads="1"/>
            </p:cNvSpPr>
            <p:nvPr userDrawn="1"/>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59" name="Oval 321"/>
            <p:cNvSpPr>
              <a:spLocks noChangeAspect="1" noChangeArrowheads="1"/>
            </p:cNvSpPr>
            <p:nvPr userDrawn="1"/>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60" name="Oval 322"/>
            <p:cNvSpPr>
              <a:spLocks noChangeAspect="1" noChangeArrowheads="1"/>
            </p:cNvSpPr>
            <p:nvPr userDrawn="1"/>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61" name="Oval 323"/>
            <p:cNvSpPr>
              <a:spLocks noChangeAspect="1" noChangeArrowheads="1"/>
            </p:cNvSpPr>
            <p:nvPr userDrawn="1"/>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62" name="Oval 324"/>
            <p:cNvSpPr>
              <a:spLocks noChangeAspect="1" noChangeArrowheads="1"/>
            </p:cNvSpPr>
            <p:nvPr userDrawn="1"/>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63" name="Oval 325"/>
            <p:cNvSpPr>
              <a:spLocks noChangeAspect="1" noChangeArrowheads="1"/>
            </p:cNvSpPr>
            <p:nvPr userDrawn="1"/>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64" name="Oval 326"/>
            <p:cNvSpPr>
              <a:spLocks noChangeAspect="1" noChangeArrowheads="1"/>
            </p:cNvSpPr>
            <p:nvPr userDrawn="1"/>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65" name="Oval 327"/>
            <p:cNvSpPr>
              <a:spLocks noChangeAspect="1" noChangeArrowheads="1"/>
            </p:cNvSpPr>
            <p:nvPr userDrawn="1"/>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66" name="Oval 328"/>
            <p:cNvSpPr>
              <a:spLocks noChangeAspect="1" noChangeArrowheads="1"/>
            </p:cNvSpPr>
            <p:nvPr userDrawn="1"/>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67" name="Oval 329"/>
            <p:cNvSpPr>
              <a:spLocks noChangeAspect="1" noChangeArrowheads="1"/>
            </p:cNvSpPr>
            <p:nvPr userDrawn="1"/>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68" name="Oval 330"/>
            <p:cNvSpPr>
              <a:spLocks noChangeAspect="1" noChangeArrowheads="1"/>
            </p:cNvSpPr>
            <p:nvPr userDrawn="1"/>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69" name="Oval 331"/>
            <p:cNvSpPr>
              <a:spLocks noChangeAspect="1" noChangeArrowheads="1"/>
            </p:cNvSpPr>
            <p:nvPr userDrawn="1"/>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70" name="Oval 332"/>
            <p:cNvSpPr>
              <a:spLocks noChangeAspect="1" noChangeArrowheads="1"/>
            </p:cNvSpPr>
            <p:nvPr userDrawn="1"/>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71" name="Oval 333"/>
            <p:cNvSpPr>
              <a:spLocks noChangeAspect="1" noChangeArrowheads="1"/>
            </p:cNvSpPr>
            <p:nvPr userDrawn="1"/>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72" name="Oval 334"/>
            <p:cNvSpPr>
              <a:spLocks noChangeAspect="1" noChangeArrowheads="1"/>
            </p:cNvSpPr>
            <p:nvPr userDrawn="1"/>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73" name="Oval 335"/>
            <p:cNvSpPr>
              <a:spLocks noChangeAspect="1" noChangeArrowheads="1"/>
            </p:cNvSpPr>
            <p:nvPr userDrawn="1"/>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74" name="Oval 336"/>
            <p:cNvSpPr>
              <a:spLocks noChangeAspect="1" noChangeArrowheads="1"/>
            </p:cNvSpPr>
            <p:nvPr userDrawn="1"/>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75" name="Oval 337"/>
            <p:cNvSpPr>
              <a:spLocks noChangeAspect="1" noChangeArrowheads="1"/>
            </p:cNvSpPr>
            <p:nvPr userDrawn="1"/>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76" name="Oval 338"/>
            <p:cNvSpPr>
              <a:spLocks noChangeAspect="1" noChangeArrowheads="1"/>
            </p:cNvSpPr>
            <p:nvPr userDrawn="1"/>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77" name="Oval 339"/>
            <p:cNvSpPr>
              <a:spLocks noChangeAspect="1" noChangeArrowheads="1"/>
            </p:cNvSpPr>
            <p:nvPr userDrawn="1"/>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78" name="Oval 340"/>
            <p:cNvSpPr>
              <a:spLocks noChangeAspect="1" noChangeArrowheads="1"/>
            </p:cNvSpPr>
            <p:nvPr userDrawn="1"/>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79" name="Oval 341"/>
            <p:cNvSpPr>
              <a:spLocks noChangeAspect="1" noChangeArrowheads="1"/>
            </p:cNvSpPr>
            <p:nvPr userDrawn="1"/>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80" name="Oval 342"/>
            <p:cNvSpPr>
              <a:spLocks noChangeAspect="1" noChangeArrowheads="1"/>
            </p:cNvSpPr>
            <p:nvPr userDrawn="1"/>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81" name="Oval 343"/>
            <p:cNvSpPr>
              <a:spLocks noChangeAspect="1" noChangeArrowheads="1"/>
            </p:cNvSpPr>
            <p:nvPr userDrawn="1"/>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82" name="Oval 344"/>
            <p:cNvSpPr>
              <a:spLocks noChangeAspect="1" noChangeArrowheads="1"/>
            </p:cNvSpPr>
            <p:nvPr userDrawn="1"/>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83" name="Oval 345"/>
            <p:cNvSpPr>
              <a:spLocks noChangeAspect="1" noChangeArrowheads="1"/>
            </p:cNvSpPr>
            <p:nvPr userDrawn="1"/>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84" name="Oval 346"/>
            <p:cNvSpPr>
              <a:spLocks noChangeAspect="1" noChangeArrowheads="1"/>
            </p:cNvSpPr>
            <p:nvPr userDrawn="1"/>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85" name="Oval 347"/>
            <p:cNvSpPr>
              <a:spLocks noChangeAspect="1" noChangeArrowheads="1"/>
            </p:cNvSpPr>
            <p:nvPr userDrawn="1"/>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86" name="Oval 348"/>
            <p:cNvSpPr>
              <a:spLocks noChangeAspect="1" noChangeArrowheads="1"/>
            </p:cNvSpPr>
            <p:nvPr userDrawn="1"/>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87" name="Oval 349"/>
            <p:cNvSpPr>
              <a:spLocks noChangeAspect="1" noChangeArrowheads="1"/>
            </p:cNvSpPr>
            <p:nvPr userDrawn="1"/>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88" name="Oval 350"/>
            <p:cNvSpPr>
              <a:spLocks noChangeAspect="1" noChangeArrowheads="1"/>
            </p:cNvSpPr>
            <p:nvPr userDrawn="1"/>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89" name="Oval 351"/>
            <p:cNvSpPr>
              <a:spLocks noChangeAspect="1" noChangeArrowheads="1"/>
            </p:cNvSpPr>
            <p:nvPr userDrawn="1"/>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90" name="Oval 352"/>
            <p:cNvSpPr>
              <a:spLocks noChangeAspect="1" noChangeArrowheads="1"/>
            </p:cNvSpPr>
            <p:nvPr userDrawn="1"/>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91" name="Oval 353"/>
            <p:cNvSpPr>
              <a:spLocks noChangeAspect="1" noChangeArrowheads="1"/>
            </p:cNvSpPr>
            <p:nvPr userDrawn="1"/>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92" name="Oval 354"/>
            <p:cNvSpPr>
              <a:spLocks noChangeAspect="1" noChangeArrowheads="1"/>
            </p:cNvSpPr>
            <p:nvPr userDrawn="1"/>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93" name="Oval 355"/>
            <p:cNvSpPr>
              <a:spLocks noChangeAspect="1" noChangeArrowheads="1"/>
            </p:cNvSpPr>
            <p:nvPr userDrawn="1"/>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94" name="Oval 356"/>
            <p:cNvSpPr>
              <a:spLocks noChangeAspect="1" noChangeArrowheads="1"/>
            </p:cNvSpPr>
            <p:nvPr userDrawn="1"/>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95" name="Oval 357"/>
            <p:cNvSpPr>
              <a:spLocks noChangeAspect="1" noChangeArrowheads="1"/>
            </p:cNvSpPr>
            <p:nvPr userDrawn="1"/>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96" name="Oval 358"/>
            <p:cNvSpPr>
              <a:spLocks noChangeAspect="1" noChangeArrowheads="1"/>
            </p:cNvSpPr>
            <p:nvPr userDrawn="1"/>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97" name="Oval 359"/>
            <p:cNvSpPr>
              <a:spLocks noChangeAspect="1" noChangeArrowheads="1"/>
            </p:cNvSpPr>
            <p:nvPr userDrawn="1"/>
          </p:nvSpPr>
          <p:spPr bwMode="auto">
            <a:xfrm>
              <a:off x="4663908" y="2074514"/>
              <a:ext cx="85943" cy="85943"/>
            </a:xfrm>
            <a:prstGeom prst="ellipse">
              <a:avLst/>
            </a:prstGeom>
            <a:grpFill/>
            <a:ln>
              <a:noFill/>
            </a:ln>
            <a:effectLst/>
          </p:spPr>
          <p:txBody>
            <a:bodyPr wrap="none" anchor="ctr"/>
            <a:lstStyle/>
            <a:p>
              <a:pPr defTabSz="914362"/>
              <a:endParaRPr lang="en-US" sz="1800" dirty="0">
                <a:solidFill>
                  <a:srgbClr val="292929"/>
                </a:solidFill>
              </a:endParaRPr>
            </a:p>
          </p:txBody>
        </p:sp>
        <p:sp>
          <p:nvSpPr>
            <p:cNvPr id="398" name="Oval 360"/>
            <p:cNvSpPr>
              <a:spLocks noChangeAspect="1" noChangeArrowheads="1"/>
            </p:cNvSpPr>
            <p:nvPr userDrawn="1"/>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399" name="Oval 361"/>
            <p:cNvSpPr>
              <a:spLocks noChangeAspect="1" noChangeArrowheads="1"/>
            </p:cNvSpPr>
            <p:nvPr userDrawn="1"/>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00" name="Oval 362"/>
            <p:cNvSpPr>
              <a:spLocks noChangeAspect="1" noChangeArrowheads="1"/>
            </p:cNvSpPr>
            <p:nvPr userDrawn="1"/>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01" name="Oval 363"/>
            <p:cNvSpPr>
              <a:spLocks noChangeAspect="1" noChangeArrowheads="1"/>
            </p:cNvSpPr>
            <p:nvPr userDrawn="1"/>
          </p:nvSpPr>
          <p:spPr bwMode="auto">
            <a:xfrm>
              <a:off x="5226311" y="2074514"/>
              <a:ext cx="85944" cy="85943"/>
            </a:xfrm>
            <a:prstGeom prst="ellipse">
              <a:avLst/>
            </a:prstGeom>
            <a:grpFill/>
            <a:ln>
              <a:noFill/>
            </a:ln>
            <a:effectLst/>
          </p:spPr>
          <p:txBody>
            <a:bodyPr wrap="none" anchor="ctr"/>
            <a:lstStyle/>
            <a:p>
              <a:pPr defTabSz="914362"/>
              <a:endParaRPr lang="en-US" sz="1800">
                <a:solidFill>
                  <a:srgbClr val="292929"/>
                </a:solidFill>
              </a:endParaRPr>
            </a:p>
          </p:txBody>
        </p:sp>
        <p:sp>
          <p:nvSpPr>
            <p:cNvPr id="402" name="Oval 364"/>
            <p:cNvSpPr>
              <a:spLocks noChangeAspect="1" noChangeArrowheads="1"/>
            </p:cNvSpPr>
            <p:nvPr userDrawn="1"/>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03" name="Oval 365"/>
            <p:cNvSpPr>
              <a:spLocks noChangeAspect="1" noChangeArrowheads="1"/>
            </p:cNvSpPr>
            <p:nvPr userDrawn="1"/>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04" name="Oval 366"/>
            <p:cNvSpPr>
              <a:spLocks noChangeAspect="1" noChangeArrowheads="1"/>
            </p:cNvSpPr>
            <p:nvPr userDrawn="1"/>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05" name="Oval 367"/>
            <p:cNvSpPr>
              <a:spLocks noChangeAspect="1" noChangeArrowheads="1"/>
            </p:cNvSpPr>
            <p:nvPr userDrawn="1"/>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06" name="Oval 368"/>
            <p:cNvSpPr>
              <a:spLocks noChangeAspect="1" noChangeArrowheads="1"/>
            </p:cNvSpPr>
            <p:nvPr userDrawn="1"/>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07" name="Oval 369"/>
            <p:cNvSpPr>
              <a:spLocks noChangeAspect="1" noChangeArrowheads="1"/>
            </p:cNvSpPr>
            <p:nvPr userDrawn="1"/>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08" name="Oval 370"/>
            <p:cNvSpPr>
              <a:spLocks noChangeAspect="1" noChangeArrowheads="1"/>
            </p:cNvSpPr>
            <p:nvPr userDrawn="1"/>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09" name="Oval 371"/>
            <p:cNvSpPr>
              <a:spLocks noChangeAspect="1" noChangeArrowheads="1"/>
            </p:cNvSpPr>
            <p:nvPr userDrawn="1"/>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10" name="Oval 372"/>
            <p:cNvSpPr>
              <a:spLocks noChangeAspect="1" noChangeArrowheads="1"/>
            </p:cNvSpPr>
            <p:nvPr userDrawn="1"/>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11" name="Oval 373"/>
            <p:cNvSpPr>
              <a:spLocks noChangeAspect="1" noChangeArrowheads="1"/>
            </p:cNvSpPr>
            <p:nvPr userDrawn="1"/>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12" name="Oval 374"/>
            <p:cNvSpPr>
              <a:spLocks noChangeAspect="1" noChangeArrowheads="1"/>
            </p:cNvSpPr>
            <p:nvPr userDrawn="1"/>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13" name="Oval 375"/>
            <p:cNvSpPr>
              <a:spLocks noChangeAspect="1" noChangeArrowheads="1"/>
            </p:cNvSpPr>
            <p:nvPr userDrawn="1"/>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14" name="Oval 376"/>
            <p:cNvSpPr>
              <a:spLocks noChangeAspect="1" noChangeArrowheads="1"/>
            </p:cNvSpPr>
            <p:nvPr userDrawn="1"/>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15" name="Oval 377"/>
            <p:cNvSpPr>
              <a:spLocks noChangeAspect="1" noChangeArrowheads="1"/>
            </p:cNvSpPr>
            <p:nvPr userDrawn="1"/>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16" name="Oval 378"/>
            <p:cNvSpPr>
              <a:spLocks noChangeAspect="1" noChangeArrowheads="1"/>
            </p:cNvSpPr>
            <p:nvPr userDrawn="1"/>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17" name="Oval 379"/>
            <p:cNvSpPr>
              <a:spLocks noChangeAspect="1" noChangeArrowheads="1"/>
            </p:cNvSpPr>
            <p:nvPr userDrawn="1"/>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18" name="Oval 380"/>
            <p:cNvSpPr>
              <a:spLocks noChangeAspect="1" noChangeArrowheads="1"/>
            </p:cNvSpPr>
            <p:nvPr userDrawn="1"/>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19" name="Oval 381"/>
            <p:cNvSpPr>
              <a:spLocks noChangeAspect="1" noChangeArrowheads="1"/>
            </p:cNvSpPr>
            <p:nvPr userDrawn="1"/>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20" name="Oval 382"/>
            <p:cNvSpPr>
              <a:spLocks noChangeAspect="1" noChangeArrowheads="1"/>
            </p:cNvSpPr>
            <p:nvPr userDrawn="1"/>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21" name="Oval 383"/>
            <p:cNvSpPr>
              <a:spLocks noChangeAspect="1" noChangeArrowheads="1"/>
            </p:cNvSpPr>
            <p:nvPr userDrawn="1"/>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22" name="Oval 384"/>
            <p:cNvSpPr>
              <a:spLocks noChangeAspect="1" noChangeArrowheads="1"/>
            </p:cNvSpPr>
            <p:nvPr userDrawn="1"/>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23" name="Oval 385"/>
            <p:cNvSpPr>
              <a:spLocks noChangeAspect="1" noChangeArrowheads="1"/>
            </p:cNvSpPr>
            <p:nvPr userDrawn="1"/>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24" name="Oval 386"/>
            <p:cNvSpPr>
              <a:spLocks noChangeAspect="1" noChangeArrowheads="1"/>
            </p:cNvSpPr>
            <p:nvPr userDrawn="1"/>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25" name="Oval 387"/>
            <p:cNvSpPr>
              <a:spLocks noChangeAspect="1" noChangeArrowheads="1"/>
            </p:cNvSpPr>
            <p:nvPr userDrawn="1"/>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26" name="Oval 388"/>
            <p:cNvSpPr>
              <a:spLocks noChangeAspect="1" noChangeArrowheads="1"/>
            </p:cNvSpPr>
            <p:nvPr userDrawn="1"/>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27" name="Oval 389"/>
            <p:cNvSpPr>
              <a:spLocks noChangeAspect="1" noChangeArrowheads="1"/>
            </p:cNvSpPr>
            <p:nvPr userDrawn="1"/>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28" name="Oval 390"/>
            <p:cNvSpPr>
              <a:spLocks noChangeAspect="1" noChangeArrowheads="1"/>
            </p:cNvSpPr>
            <p:nvPr userDrawn="1"/>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29" name="Oval 391"/>
            <p:cNvSpPr>
              <a:spLocks noChangeAspect="1" noChangeArrowheads="1"/>
            </p:cNvSpPr>
            <p:nvPr userDrawn="1"/>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30" name="Oval 392"/>
            <p:cNvSpPr>
              <a:spLocks noChangeAspect="1" noChangeArrowheads="1"/>
            </p:cNvSpPr>
            <p:nvPr userDrawn="1"/>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31" name="Oval 393"/>
            <p:cNvSpPr>
              <a:spLocks noChangeAspect="1" noChangeArrowheads="1"/>
            </p:cNvSpPr>
            <p:nvPr userDrawn="1"/>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32" name="Oval 394"/>
            <p:cNvSpPr>
              <a:spLocks noChangeAspect="1" noChangeArrowheads="1"/>
            </p:cNvSpPr>
            <p:nvPr userDrawn="1"/>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33" name="Oval 395"/>
            <p:cNvSpPr>
              <a:spLocks noChangeAspect="1" noChangeArrowheads="1"/>
            </p:cNvSpPr>
            <p:nvPr userDrawn="1"/>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34" name="Oval 396"/>
            <p:cNvSpPr>
              <a:spLocks noChangeAspect="1" noChangeArrowheads="1"/>
            </p:cNvSpPr>
            <p:nvPr userDrawn="1"/>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35" name="Oval 397"/>
            <p:cNvSpPr>
              <a:spLocks noChangeAspect="1" noChangeArrowheads="1"/>
            </p:cNvSpPr>
            <p:nvPr userDrawn="1"/>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36" name="Oval 398"/>
            <p:cNvSpPr>
              <a:spLocks noChangeAspect="1" noChangeArrowheads="1"/>
            </p:cNvSpPr>
            <p:nvPr userDrawn="1"/>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37" name="Oval 399"/>
            <p:cNvSpPr>
              <a:spLocks noChangeAspect="1" noChangeArrowheads="1"/>
            </p:cNvSpPr>
            <p:nvPr userDrawn="1"/>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38" name="Oval 400"/>
            <p:cNvSpPr>
              <a:spLocks noChangeAspect="1" noChangeArrowheads="1"/>
            </p:cNvSpPr>
            <p:nvPr userDrawn="1"/>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39" name="Oval 401"/>
            <p:cNvSpPr>
              <a:spLocks noChangeAspect="1" noChangeArrowheads="1"/>
            </p:cNvSpPr>
            <p:nvPr userDrawn="1"/>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40" name="Oval 402"/>
            <p:cNvSpPr>
              <a:spLocks noChangeAspect="1" noChangeArrowheads="1"/>
            </p:cNvSpPr>
            <p:nvPr userDrawn="1"/>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41" name="Oval 403"/>
            <p:cNvSpPr>
              <a:spLocks noChangeAspect="1" noChangeArrowheads="1"/>
            </p:cNvSpPr>
            <p:nvPr userDrawn="1"/>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42" name="Oval 404"/>
            <p:cNvSpPr>
              <a:spLocks noChangeAspect="1" noChangeArrowheads="1"/>
            </p:cNvSpPr>
            <p:nvPr userDrawn="1"/>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43" name="Oval 405"/>
            <p:cNvSpPr>
              <a:spLocks noChangeAspect="1" noChangeArrowheads="1"/>
            </p:cNvSpPr>
            <p:nvPr userDrawn="1"/>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44" name="Oval 406"/>
            <p:cNvSpPr>
              <a:spLocks noChangeAspect="1" noChangeArrowheads="1"/>
            </p:cNvSpPr>
            <p:nvPr userDrawn="1"/>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45" name="Oval 407"/>
            <p:cNvSpPr>
              <a:spLocks noChangeAspect="1" noChangeArrowheads="1"/>
            </p:cNvSpPr>
            <p:nvPr userDrawn="1"/>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46" name="Oval 408"/>
            <p:cNvSpPr>
              <a:spLocks noChangeAspect="1" noChangeArrowheads="1"/>
            </p:cNvSpPr>
            <p:nvPr userDrawn="1"/>
          </p:nvSpPr>
          <p:spPr bwMode="auto">
            <a:xfrm>
              <a:off x="4214589" y="2178551"/>
              <a:ext cx="85943" cy="85944"/>
            </a:xfrm>
            <a:prstGeom prst="ellipse">
              <a:avLst/>
            </a:prstGeom>
            <a:grpFill/>
            <a:ln>
              <a:noFill/>
            </a:ln>
            <a:effectLst/>
          </p:spPr>
          <p:txBody>
            <a:bodyPr wrap="none" anchor="ctr"/>
            <a:lstStyle/>
            <a:p>
              <a:pPr defTabSz="914362"/>
              <a:endParaRPr lang="en-US" sz="1800" dirty="0">
                <a:solidFill>
                  <a:srgbClr val="292929"/>
                </a:solidFill>
              </a:endParaRPr>
            </a:p>
          </p:txBody>
        </p:sp>
        <p:sp>
          <p:nvSpPr>
            <p:cNvPr id="447" name="Oval 409"/>
            <p:cNvSpPr>
              <a:spLocks noChangeAspect="1" noChangeArrowheads="1"/>
            </p:cNvSpPr>
            <p:nvPr userDrawn="1"/>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48" name="Oval 410"/>
            <p:cNvSpPr>
              <a:spLocks noChangeAspect="1" noChangeArrowheads="1"/>
            </p:cNvSpPr>
            <p:nvPr userDrawn="1"/>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49" name="Oval 411"/>
            <p:cNvSpPr>
              <a:spLocks noChangeAspect="1" noChangeArrowheads="1"/>
            </p:cNvSpPr>
            <p:nvPr userDrawn="1"/>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50" name="Oval 412"/>
            <p:cNvSpPr>
              <a:spLocks noChangeAspect="1" noChangeArrowheads="1"/>
            </p:cNvSpPr>
            <p:nvPr userDrawn="1"/>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51" name="Oval 413"/>
            <p:cNvSpPr>
              <a:spLocks noChangeAspect="1" noChangeArrowheads="1"/>
            </p:cNvSpPr>
            <p:nvPr userDrawn="1"/>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52" name="Oval 414"/>
            <p:cNvSpPr>
              <a:spLocks noChangeAspect="1" noChangeArrowheads="1"/>
            </p:cNvSpPr>
            <p:nvPr userDrawn="1"/>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53" name="Oval 415"/>
            <p:cNvSpPr>
              <a:spLocks noChangeAspect="1" noChangeArrowheads="1"/>
            </p:cNvSpPr>
            <p:nvPr userDrawn="1"/>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54" name="Oval 416"/>
            <p:cNvSpPr>
              <a:spLocks noChangeAspect="1" noChangeArrowheads="1"/>
            </p:cNvSpPr>
            <p:nvPr userDrawn="1"/>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55" name="Oval 417"/>
            <p:cNvSpPr>
              <a:spLocks noChangeAspect="1" noChangeArrowheads="1"/>
            </p:cNvSpPr>
            <p:nvPr userDrawn="1"/>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56" name="Oval 418"/>
            <p:cNvSpPr>
              <a:spLocks noChangeAspect="1" noChangeArrowheads="1"/>
            </p:cNvSpPr>
            <p:nvPr userDrawn="1"/>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57" name="Oval 419"/>
            <p:cNvSpPr>
              <a:spLocks noChangeAspect="1" noChangeArrowheads="1"/>
            </p:cNvSpPr>
            <p:nvPr userDrawn="1"/>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58" name="Oval 420"/>
            <p:cNvSpPr>
              <a:spLocks noChangeAspect="1" noChangeArrowheads="1"/>
            </p:cNvSpPr>
            <p:nvPr userDrawn="1"/>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59" name="Oval 421"/>
            <p:cNvSpPr>
              <a:spLocks noChangeAspect="1" noChangeArrowheads="1"/>
            </p:cNvSpPr>
            <p:nvPr userDrawn="1"/>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60" name="Oval 422"/>
            <p:cNvSpPr>
              <a:spLocks noChangeAspect="1" noChangeArrowheads="1"/>
            </p:cNvSpPr>
            <p:nvPr userDrawn="1"/>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61" name="Oval 423"/>
            <p:cNvSpPr>
              <a:spLocks noChangeAspect="1" noChangeArrowheads="1"/>
            </p:cNvSpPr>
            <p:nvPr userDrawn="1"/>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62" name="Oval 424"/>
            <p:cNvSpPr>
              <a:spLocks noChangeAspect="1" noChangeArrowheads="1"/>
            </p:cNvSpPr>
            <p:nvPr userDrawn="1"/>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63" name="Oval 425"/>
            <p:cNvSpPr>
              <a:spLocks noChangeAspect="1" noChangeArrowheads="1"/>
            </p:cNvSpPr>
            <p:nvPr userDrawn="1"/>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64" name="Oval 426"/>
            <p:cNvSpPr>
              <a:spLocks noChangeAspect="1" noChangeArrowheads="1"/>
            </p:cNvSpPr>
            <p:nvPr userDrawn="1"/>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65" name="Oval 427"/>
            <p:cNvSpPr>
              <a:spLocks noChangeAspect="1" noChangeArrowheads="1"/>
            </p:cNvSpPr>
            <p:nvPr userDrawn="1"/>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66" name="Oval 428"/>
            <p:cNvSpPr>
              <a:spLocks noChangeAspect="1" noChangeArrowheads="1"/>
            </p:cNvSpPr>
            <p:nvPr userDrawn="1"/>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67" name="Oval 429"/>
            <p:cNvSpPr>
              <a:spLocks noChangeAspect="1" noChangeArrowheads="1"/>
            </p:cNvSpPr>
            <p:nvPr userDrawn="1"/>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68" name="Oval 430"/>
            <p:cNvSpPr>
              <a:spLocks noChangeAspect="1" noChangeArrowheads="1"/>
            </p:cNvSpPr>
            <p:nvPr userDrawn="1"/>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69" name="Oval 431"/>
            <p:cNvSpPr>
              <a:spLocks noChangeAspect="1" noChangeArrowheads="1"/>
            </p:cNvSpPr>
            <p:nvPr userDrawn="1"/>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70" name="Oval 432"/>
            <p:cNvSpPr>
              <a:spLocks noChangeAspect="1" noChangeArrowheads="1"/>
            </p:cNvSpPr>
            <p:nvPr userDrawn="1"/>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71" name="Oval 433"/>
            <p:cNvSpPr>
              <a:spLocks noChangeAspect="1" noChangeArrowheads="1"/>
            </p:cNvSpPr>
            <p:nvPr userDrawn="1"/>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72" name="Oval 434"/>
            <p:cNvSpPr>
              <a:spLocks noChangeAspect="1" noChangeArrowheads="1"/>
            </p:cNvSpPr>
            <p:nvPr userDrawn="1"/>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73" name="Oval 435"/>
            <p:cNvSpPr>
              <a:spLocks noChangeAspect="1" noChangeArrowheads="1"/>
            </p:cNvSpPr>
            <p:nvPr userDrawn="1"/>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74" name="Oval 436"/>
            <p:cNvSpPr>
              <a:spLocks noChangeAspect="1" noChangeArrowheads="1"/>
            </p:cNvSpPr>
            <p:nvPr userDrawn="1"/>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75" name="Oval 437"/>
            <p:cNvSpPr>
              <a:spLocks noChangeAspect="1" noChangeArrowheads="1"/>
            </p:cNvSpPr>
            <p:nvPr userDrawn="1"/>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76" name="Oval 438"/>
            <p:cNvSpPr>
              <a:spLocks noChangeAspect="1" noChangeArrowheads="1"/>
            </p:cNvSpPr>
            <p:nvPr userDrawn="1"/>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77" name="Oval 439"/>
            <p:cNvSpPr>
              <a:spLocks noChangeAspect="1" noChangeArrowheads="1"/>
            </p:cNvSpPr>
            <p:nvPr userDrawn="1"/>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78" name="Oval 440"/>
            <p:cNvSpPr>
              <a:spLocks noChangeAspect="1" noChangeArrowheads="1"/>
            </p:cNvSpPr>
            <p:nvPr userDrawn="1"/>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79" name="Oval 441"/>
            <p:cNvSpPr>
              <a:spLocks noChangeAspect="1" noChangeArrowheads="1"/>
            </p:cNvSpPr>
            <p:nvPr userDrawn="1"/>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80" name="Oval 442"/>
            <p:cNvSpPr>
              <a:spLocks noChangeAspect="1" noChangeArrowheads="1"/>
            </p:cNvSpPr>
            <p:nvPr userDrawn="1"/>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81" name="Oval 443"/>
            <p:cNvSpPr>
              <a:spLocks noChangeAspect="1" noChangeArrowheads="1"/>
            </p:cNvSpPr>
            <p:nvPr userDrawn="1"/>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82" name="Oval 444"/>
            <p:cNvSpPr>
              <a:spLocks noChangeAspect="1" noChangeArrowheads="1"/>
            </p:cNvSpPr>
            <p:nvPr userDrawn="1"/>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83" name="Oval 445"/>
            <p:cNvSpPr>
              <a:spLocks noChangeAspect="1" noChangeArrowheads="1"/>
            </p:cNvSpPr>
            <p:nvPr userDrawn="1"/>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84" name="Oval 446"/>
            <p:cNvSpPr>
              <a:spLocks noChangeAspect="1" noChangeArrowheads="1"/>
            </p:cNvSpPr>
            <p:nvPr userDrawn="1"/>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85" name="Oval 447"/>
            <p:cNvSpPr>
              <a:spLocks noChangeAspect="1" noChangeArrowheads="1"/>
            </p:cNvSpPr>
            <p:nvPr userDrawn="1"/>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86" name="Oval 448"/>
            <p:cNvSpPr>
              <a:spLocks noChangeAspect="1" noChangeArrowheads="1"/>
            </p:cNvSpPr>
            <p:nvPr userDrawn="1"/>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87" name="Oval 449"/>
            <p:cNvSpPr>
              <a:spLocks noChangeAspect="1" noChangeArrowheads="1"/>
            </p:cNvSpPr>
            <p:nvPr userDrawn="1"/>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88" name="Oval 450"/>
            <p:cNvSpPr>
              <a:spLocks noChangeAspect="1" noChangeArrowheads="1"/>
            </p:cNvSpPr>
            <p:nvPr userDrawn="1"/>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89" name="Oval 451"/>
            <p:cNvSpPr>
              <a:spLocks noChangeAspect="1" noChangeArrowheads="1"/>
            </p:cNvSpPr>
            <p:nvPr userDrawn="1"/>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90" name="Oval 452"/>
            <p:cNvSpPr>
              <a:spLocks noChangeAspect="1" noChangeArrowheads="1"/>
            </p:cNvSpPr>
            <p:nvPr userDrawn="1"/>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91" name="Oval 453"/>
            <p:cNvSpPr>
              <a:spLocks noChangeAspect="1" noChangeArrowheads="1"/>
            </p:cNvSpPr>
            <p:nvPr userDrawn="1"/>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92" name="Oval 454"/>
            <p:cNvSpPr>
              <a:spLocks noChangeAspect="1" noChangeArrowheads="1"/>
            </p:cNvSpPr>
            <p:nvPr userDrawn="1"/>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93" name="Oval 455"/>
            <p:cNvSpPr>
              <a:spLocks noChangeAspect="1" noChangeArrowheads="1"/>
            </p:cNvSpPr>
            <p:nvPr userDrawn="1"/>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94" name="Oval 456"/>
            <p:cNvSpPr>
              <a:spLocks noChangeAspect="1" noChangeArrowheads="1"/>
            </p:cNvSpPr>
            <p:nvPr userDrawn="1"/>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95" name="Oval 457"/>
            <p:cNvSpPr>
              <a:spLocks noChangeAspect="1" noChangeArrowheads="1"/>
            </p:cNvSpPr>
            <p:nvPr userDrawn="1"/>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96" name="Oval 458"/>
            <p:cNvSpPr>
              <a:spLocks noChangeAspect="1" noChangeArrowheads="1"/>
            </p:cNvSpPr>
            <p:nvPr userDrawn="1"/>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97" name="Oval 459"/>
            <p:cNvSpPr>
              <a:spLocks noChangeAspect="1" noChangeArrowheads="1"/>
            </p:cNvSpPr>
            <p:nvPr userDrawn="1"/>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98" name="Oval 460"/>
            <p:cNvSpPr>
              <a:spLocks noChangeAspect="1" noChangeArrowheads="1"/>
            </p:cNvSpPr>
            <p:nvPr userDrawn="1"/>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499" name="Oval 461"/>
            <p:cNvSpPr>
              <a:spLocks noChangeAspect="1" noChangeArrowheads="1"/>
            </p:cNvSpPr>
            <p:nvPr userDrawn="1"/>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00" name="Oval 462"/>
            <p:cNvSpPr>
              <a:spLocks noChangeAspect="1" noChangeArrowheads="1"/>
            </p:cNvSpPr>
            <p:nvPr userDrawn="1"/>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01" name="Oval 463"/>
            <p:cNvSpPr>
              <a:spLocks noChangeAspect="1" noChangeArrowheads="1"/>
            </p:cNvSpPr>
            <p:nvPr userDrawn="1"/>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02" name="Oval 464"/>
            <p:cNvSpPr>
              <a:spLocks noChangeAspect="1" noChangeArrowheads="1"/>
            </p:cNvSpPr>
            <p:nvPr userDrawn="1"/>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03" name="Oval 465"/>
            <p:cNvSpPr>
              <a:spLocks noChangeAspect="1" noChangeArrowheads="1"/>
            </p:cNvSpPr>
            <p:nvPr userDrawn="1"/>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04" name="Oval 466"/>
            <p:cNvSpPr>
              <a:spLocks noChangeAspect="1" noChangeArrowheads="1"/>
            </p:cNvSpPr>
            <p:nvPr userDrawn="1"/>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05" name="Oval 467"/>
            <p:cNvSpPr>
              <a:spLocks noChangeAspect="1" noChangeArrowheads="1"/>
            </p:cNvSpPr>
            <p:nvPr userDrawn="1"/>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06" name="Oval 468"/>
            <p:cNvSpPr>
              <a:spLocks noChangeAspect="1" noChangeArrowheads="1"/>
            </p:cNvSpPr>
            <p:nvPr userDrawn="1"/>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07" name="Oval 469"/>
            <p:cNvSpPr>
              <a:spLocks noChangeAspect="1" noChangeArrowheads="1"/>
            </p:cNvSpPr>
            <p:nvPr userDrawn="1"/>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08" name="Oval 470"/>
            <p:cNvSpPr>
              <a:spLocks noChangeAspect="1" noChangeArrowheads="1"/>
            </p:cNvSpPr>
            <p:nvPr userDrawn="1"/>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09" name="Oval 471"/>
            <p:cNvSpPr>
              <a:spLocks noChangeAspect="1" noChangeArrowheads="1"/>
            </p:cNvSpPr>
            <p:nvPr userDrawn="1"/>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10" name="Oval 472"/>
            <p:cNvSpPr>
              <a:spLocks noChangeAspect="1" noChangeArrowheads="1"/>
            </p:cNvSpPr>
            <p:nvPr userDrawn="1"/>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11" name="Oval 473"/>
            <p:cNvSpPr>
              <a:spLocks noChangeAspect="1" noChangeArrowheads="1"/>
            </p:cNvSpPr>
            <p:nvPr userDrawn="1"/>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12" name="Oval 474"/>
            <p:cNvSpPr>
              <a:spLocks noChangeAspect="1" noChangeArrowheads="1"/>
            </p:cNvSpPr>
            <p:nvPr userDrawn="1"/>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13" name="Oval 475"/>
            <p:cNvSpPr>
              <a:spLocks noChangeAspect="1" noChangeArrowheads="1"/>
            </p:cNvSpPr>
            <p:nvPr userDrawn="1"/>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14" name="Oval 476"/>
            <p:cNvSpPr>
              <a:spLocks noChangeAspect="1" noChangeArrowheads="1"/>
            </p:cNvSpPr>
            <p:nvPr userDrawn="1"/>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15" name="Oval 477"/>
            <p:cNvSpPr>
              <a:spLocks noChangeAspect="1" noChangeArrowheads="1"/>
            </p:cNvSpPr>
            <p:nvPr userDrawn="1"/>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16" name="Oval 478"/>
            <p:cNvSpPr>
              <a:spLocks noChangeAspect="1" noChangeArrowheads="1"/>
            </p:cNvSpPr>
            <p:nvPr userDrawn="1"/>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17" name="Oval 479"/>
            <p:cNvSpPr>
              <a:spLocks noChangeAspect="1" noChangeArrowheads="1"/>
            </p:cNvSpPr>
            <p:nvPr userDrawn="1"/>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18" name="Oval 480"/>
            <p:cNvSpPr>
              <a:spLocks noChangeAspect="1" noChangeArrowheads="1"/>
            </p:cNvSpPr>
            <p:nvPr userDrawn="1"/>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19" name="Oval 481"/>
            <p:cNvSpPr>
              <a:spLocks noChangeAspect="1" noChangeArrowheads="1"/>
            </p:cNvSpPr>
            <p:nvPr userDrawn="1"/>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20" name="Oval 482"/>
            <p:cNvSpPr>
              <a:spLocks noChangeAspect="1" noChangeArrowheads="1"/>
            </p:cNvSpPr>
            <p:nvPr userDrawn="1"/>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21" name="Oval 483"/>
            <p:cNvSpPr>
              <a:spLocks noChangeAspect="1" noChangeArrowheads="1"/>
            </p:cNvSpPr>
            <p:nvPr userDrawn="1"/>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22" name="Oval 484"/>
            <p:cNvSpPr>
              <a:spLocks noChangeAspect="1" noChangeArrowheads="1"/>
            </p:cNvSpPr>
            <p:nvPr userDrawn="1"/>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23" name="Oval 485"/>
            <p:cNvSpPr>
              <a:spLocks noChangeAspect="1" noChangeArrowheads="1"/>
            </p:cNvSpPr>
            <p:nvPr userDrawn="1"/>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24" name="Oval 486"/>
            <p:cNvSpPr>
              <a:spLocks noChangeAspect="1" noChangeArrowheads="1"/>
            </p:cNvSpPr>
            <p:nvPr userDrawn="1"/>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25" name="Oval 487"/>
            <p:cNvSpPr>
              <a:spLocks noChangeAspect="1" noChangeArrowheads="1"/>
            </p:cNvSpPr>
            <p:nvPr userDrawn="1"/>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26" name="Oval 488"/>
            <p:cNvSpPr>
              <a:spLocks noChangeAspect="1" noChangeArrowheads="1"/>
            </p:cNvSpPr>
            <p:nvPr userDrawn="1"/>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27" name="Oval 489"/>
            <p:cNvSpPr>
              <a:spLocks noChangeAspect="1" noChangeArrowheads="1"/>
            </p:cNvSpPr>
            <p:nvPr userDrawn="1"/>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28" name="Oval 490"/>
            <p:cNvSpPr>
              <a:spLocks noChangeAspect="1" noChangeArrowheads="1"/>
            </p:cNvSpPr>
            <p:nvPr userDrawn="1"/>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29" name="Oval 491"/>
            <p:cNvSpPr>
              <a:spLocks noChangeAspect="1" noChangeArrowheads="1"/>
            </p:cNvSpPr>
            <p:nvPr userDrawn="1"/>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30" name="Oval 492"/>
            <p:cNvSpPr>
              <a:spLocks noChangeAspect="1" noChangeArrowheads="1"/>
            </p:cNvSpPr>
            <p:nvPr userDrawn="1"/>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31" name="Oval 493"/>
            <p:cNvSpPr>
              <a:spLocks noChangeAspect="1" noChangeArrowheads="1"/>
            </p:cNvSpPr>
            <p:nvPr userDrawn="1"/>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32" name="Oval 494"/>
            <p:cNvSpPr>
              <a:spLocks noChangeAspect="1" noChangeArrowheads="1"/>
            </p:cNvSpPr>
            <p:nvPr userDrawn="1"/>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33" name="Oval 495"/>
            <p:cNvSpPr>
              <a:spLocks noChangeAspect="1" noChangeArrowheads="1"/>
            </p:cNvSpPr>
            <p:nvPr userDrawn="1"/>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34" name="Oval 496"/>
            <p:cNvSpPr>
              <a:spLocks noChangeAspect="1" noChangeArrowheads="1"/>
            </p:cNvSpPr>
            <p:nvPr userDrawn="1"/>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35" name="Oval 497"/>
            <p:cNvSpPr>
              <a:spLocks noChangeAspect="1" noChangeArrowheads="1"/>
            </p:cNvSpPr>
            <p:nvPr userDrawn="1"/>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36" name="Oval 498"/>
            <p:cNvSpPr>
              <a:spLocks noChangeAspect="1" noChangeArrowheads="1"/>
            </p:cNvSpPr>
            <p:nvPr userDrawn="1"/>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37" name="Oval 499"/>
            <p:cNvSpPr>
              <a:spLocks noChangeAspect="1" noChangeArrowheads="1"/>
            </p:cNvSpPr>
            <p:nvPr userDrawn="1"/>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38" name="Oval 500"/>
            <p:cNvSpPr>
              <a:spLocks noChangeAspect="1" noChangeArrowheads="1"/>
            </p:cNvSpPr>
            <p:nvPr userDrawn="1"/>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39" name="Oval 501"/>
            <p:cNvSpPr>
              <a:spLocks noChangeAspect="1" noChangeArrowheads="1"/>
            </p:cNvSpPr>
            <p:nvPr userDrawn="1"/>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40" name="Oval 502"/>
            <p:cNvSpPr>
              <a:spLocks noChangeAspect="1" noChangeArrowheads="1"/>
            </p:cNvSpPr>
            <p:nvPr userDrawn="1"/>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41" name="Oval 503"/>
            <p:cNvSpPr>
              <a:spLocks noChangeAspect="1" noChangeArrowheads="1"/>
            </p:cNvSpPr>
            <p:nvPr userDrawn="1"/>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42" name="Oval 504"/>
            <p:cNvSpPr>
              <a:spLocks noChangeAspect="1" noChangeArrowheads="1"/>
            </p:cNvSpPr>
            <p:nvPr userDrawn="1"/>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43" name="Oval 505"/>
            <p:cNvSpPr>
              <a:spLocks noChangeAspect="1" noChangeArrowheads="1"/>
            </p:cNvSpPr>
            <p:nvPr userDrawn="1"/>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44" name="Oval 506"/>
            <p:cNvSpPr>
              <a:spLocks noChangeAspect="1" noChangeArrowheads="1"/>
            </p:cNvSpPr>
            <p:nvPr userDrawn="1"/>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45" name="Oval 507"/>
            <p:cNvSpPr>
              <a:spLocks noChangeAspect="1" noChangeArrowheads="1"/>
            </p:cNvSpPr>
            <p:nvPr userDrawn="1"/>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46" name="Oval 508"/>
            <p:cNvSpPr>
              <a:spLocks noChangeAspect="1" noChangeArrowheads="1"/>
            </p:cNvSpPr>
            <p:nvPr userDrawn="1"/>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47" name="Oval 509"/>
            <p:cNvSpPr>
              <a:spLocks noChangeAspect="1" noChangeArrowheads="1"/>
            </p:cNvSpPr>
            <p:nvPr userDrawn="1"/>
          </p:nvSpPr>
          <p:spPr bwMode="auto">
            <a:xfrm>
              <a:off x="4888568" y="2385118"/>
              <a:ext cx="85944" cy="85943"/>
            </a:xfrm>
            <a:prstGeom prst="ellipse">
              <a:avLst/>
            </a:prstGeom>
            <a:grpFill/>
            <a:ln>
              <a:noFill/>
            </a:ln>
            <a:effectLst/>
          </p:spPr>
          <p:txBody>
            <a:bodyPr wrap="none" anchor="ctr"/>
            <a:lstStyle/>
            <a:p>
              <a:pPr defTabSz="914362"/>
              <a:endParaRPr lang="en-US" sz="1800">
                <a:solidFill>
                  <a:srgbClr val="292929"/>
                </a:solidFill>
              </a:endParaRPr>
            </a:p>
          </p:txBody>
        </p:sp>
        <p:sp>
          <p:nvSpPr>
            <p:cNvPr id="548" name="Oval 510"/>
            <p:cNvSpPr>
              <a:spLocks noChangeAspect="1" noChangeArrowheads="1"/>
            </p:cNvSpPr>
            <p:nvPr userDrawn="1"/>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49" name="Oval 511"/>
            <p:cNvSpPr>
              <a:spLocks noChangeAspect="1" noChangeArrowheads="1"/>
            </p:cNvSpPr>
            <p:nvPr userDrawn="1"/>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50" name="Oval 512"/>
            <p:cNvSpPr>
              <a:spLocks noChangeAspect="1" noChangeArrowheads="1"/>
            </p:cNvSpPr>
            <p:nvPr userDrawn="1"/>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51" name="Oval 513"/>
            <p:cNvSpPr>
              <a:spLocks noChangeAspect="1" noChangeArrowheads="1"/>
            </p:cNvSpPr>
            <p:nvPr userDrawn="1"/>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52" name="Oval 514"/>
            <p:cNvSpPr>
              <a:spLocks noChangeAspect="1" noChangeArrowheads="1"/>
            </p:cNvSpPr>
            <p:nvPr userDrawn="1"/>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53" name="Oval 515"/>
            <p:cNvSpPr>
              <a:spLocks noChangeAspect="1" noChangeArrowheads="1"/>
            </p:cNvSpPr>
            <p:nvPr userDrawn="1"/>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54" name="Oval 516"/>
            <p:cNvSpPr>
              <a:spLocks noChangeAspect="1" noChangeArrowheads="1"/>
            </p:cNvSpPr>
            <p:nvPr userDrawn="1"/>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55" name="Oval 517"/>
            <p:cNvSpPr>
              <a:spLocks noChangeAspect="1" noChangeArrowheads="1"/>
            </p:cNvSpPr>
            <p:nvPr userDrawn="1"/>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56" name="Oval 518"/>
            <p:cNvSpPr>
              <a:spLocks noChangeAspect="1" noChangeArrowheads="1"/>
            </p:cNvSpPr>
            <p:nvPr userDrawn="1"/>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57" name="Oval 519"/>
            <p:cNvSpPr>
              <a:spLocks noChangeAspect="1" noChangeArrowheads="1"/>
            </p:cNvSpPr>
            <p:nvPr userDrawn="1"/>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58" name="Oval 520"/>
            <p:cNvSpPr>
              <a:spLocks noChangeAspect="1" noChangeArrowheads="1"/>
            </p:cNvSpPr>
            <p:nvPr userDrawn="1"/>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59" name="Oval 521"/>
            <p:cNvSpPr>
              <a:spLocks noChangeAspect="1" noChangeArrowheads="1"/>
            </p:cNvSpPr>
            <p:nvPr userDrawn="1"/>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60" name="Oval 522"/>
            <p:cNvSpPr>
              <a:spLocks noChangeAspect="1" noChangeArrowheads="1"/>
            </p:cNvSpPr>
            <p:nvPr userDrawn="1"/>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61" name="Oval 523"/>
            <p:cNvSpPr>
              <a:spLocks noChangeAspect="1" noChangeArrowheads="1"/>
            </p:cNvSpPr>
            <p:nvPr userDrawn="1"/>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62" name="Oval 524"/>
            <p:cNvSpPr>
              <a:spLocks noChangeAspect="1" noChangeArrowheads="1"/>
            </p:cNvSpPr>
            <p:nvPr userDrawn="1"/>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63" name="Oval 525"/>
            <p:cNvSpPr>
              <a:spLocks noChangeAspect="1" noChangeArrowheads="1"/>
            </p:cNvSpPr>
            <p:nvPr userDrawn="1"/>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64" name="Oval 526"/>
            <p:cNvSpPr>
              <a:spLocks noChangeAspect="1" noChangeArrowheads="1"/>
            </p:cNvSpPr>
            <p:nvPr userDrawn="1"/>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65" name="Oval 527"/>
            <p:cNvSpPr>
              <a:spLocks noChangeAspect="1" noChangeArrowheads="1"/>
            </p:cNvSpPr>
            <p:nvPr userDrawn="1"/>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66" name="Oval 528"/>
            <p:cNvSpPr>
              <a:spLocks noChangeAspect="1" noChangeArrowheads="1"/>
            </p:cNvSpPr>
            <p:nvPr userDrawn="1"/>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67" name="Oval 529"/>
            <p:cNvSpPr>
              <a:spLocks noChangeAspect="1" noChangeArrowheads="1"/>
            </p:cNvSpPr>
            <p:nvPr userDrawn="1"/>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68" name="Oval 530"/>
            <p:cNvSpPr>
              <a:spLocks noChangeAspect="1" noChangeArrowheads="1"/>
            </p:cNvSpPr>
            <p:nvPr userDrawn="1"/>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69" name="Oval 531"/>
            <p:cNvSpPr>
              <a:spLocks noChangeAspect="1" noChangeArrowheads="1"/>
            </p:cNvSpPr>
            <p:nvPr userDrawn="1"/>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70" name="Oval 532"/>
            <p:cNvSpPr>
              <a:spLocks noChangeAspect="1" noChangeArrowheads="1"/>
            </p:cNvSpPr>
            <p:nvPr userDrawn="1"/>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71" name="Oval 533"/>
            <p:cNvSpPr>
              <a:spLocks noChangeAspect="1" noChangeArrowheads="1"/>
            </p:cNvSpPr>
            <p:nvPr userDrawn="1"/>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72" name="Oval 534"/>
            <p:cNvSpPr>
              <a:spLocks noChangeAspect="1" noChangeArrowheads="1"/>
            </p:cNvSpPr>
            <p:nvPr userDrawn="1"/>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73" name="Oval 535"/>
            <p:cNvSpPr>
              <a:spLocks noChangeAspect="1" noChangeArrowheads="1"/>
            </p:cNvSpPr>
            <p:nvPr userDrawn="1"/>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74" name="Oval 536"/>
            <p:cNvSpPr>
              <a:spLocks noChangeAspect="1" noChangeArrowheads="1"/>
            </p:cNvSpPr>
            <p:nvPr userDrawn="1"/>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75" name="Oval 537"/>
            <p:cNvSpPr>
              <a:spLocks noChangeAspect="1" noChangeArrowheads="1"/>
            </p:cNvSpPr>
            <p:nvPr userDrawn="1"/>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76" name="Oval 538"/>
            <p:cNvSpPr>
              <a:spLocks noChangeAspect="1" noChangeArrowheads="1"/>
            </p:cNvSpPr>
            <p:nvPr userDrawn="1"/>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77" name="Oval 539"/>
            <p:cNvSpPr>
              <a:spLocks noChangeAspect="1" noChangeArrowheads="1"/>
            </p:cNvSpPr>
            <p:nvPr userDrawn="1"/>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78" name="Oval 540"/>
            <p:cNvSpPr>
              <a:spLocks noChangeAspect="1" noChangeArrowheads="1"/>
            </p:cNvSpPr>
            <p:nvPr userDrawn="1"/>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79" name="Oval 541"/>
            <p:cNvSpPr>
              <a:spLocks noChangeAspect="1" noChangeArrowheads="1"/>
            </p:cNvSpPr>
            <p:nvPr userDrawn="1"/>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80" name="Oval 542"/>
            <p:cNvSpPr>
              <a:spLocks noChangeAspect="1" noChangeArrowheads="1"/>
            </p:cNvSpPr>
            <p:nvPr userDrawn="1"/>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81" name="Oval 543"/>
            <p:cNvSpPr>
              <a:spLocks noChangeAspect="1" noChangeArrowheads="1"/>
            </p:cNvSpPr>
            <p:nvPr userDrawn="1"/>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82" name="Oval 544"/>
            <p:cNvSpPr>
              <a:spLocks noChangeAspect="1" noChangeArrowheads="1"/>
            </p:cNvSpPr>
            <p:nvPr userDrawn="1"/>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83" name="Oval 545"/>
            <p:cNvSpPr>
              <a:spLocks noChangeAspect="1" noChangeArrowheads="1"/>
            </p:cNvSpPr>
            <p:nvPr userDrawn="1"/>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84" name="Oval 546"/>
            <p:cNvSpPr>
              <a:spLocks noChangeAspect="1" noChangeArrowheads="1"/>
            </p:cNvSpPr>
            <p:nvPr userDrawn="1"/>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85" name="Oval 547"/>
            <p:cNvSpPr>
              <a:spLocks noChangeAspect="1" noChangeArrowheads="1"/>
            </p:cNvSpPr>
            <p:nvPr userDrawn="1"/>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86" name="Oval 548"/>
            <p:cNvSpPr>
              <a:spLocks noChangeAspect="1" noChangeArrowheads="1"/>
            </p:cNvSpPr>
            <p:nvPr userDrawn="1"/>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87" name="Oval 549"/>
            <p:cNvSpPr>
              <a:spLocks noChangeAspect="1" noChangeArrowheads="1"/>
            </p:cNvSpPr>
            <p:nvPr userDrawn="1"/>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88" name="Oval 550"/>
            <p:cNvSpPr>
              <a:spLocks noChangeAspect="1" noChangeArrowheads="1"/>
            </p:cNvSpPr>
            <p:nvPr userDrawn="1"/>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89" name="Oval 551"/>
            <p:cNvSpPr>
              <a:spLocks noChangeAspect="1" noChangeArrowheads="1"/>
            </p:cNvSpPr>
            <p:nvPr userDrawn="1"/>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90" name="Oval 552"/>
            <p:cNvSpPr>
              <a:spLocks noChangeAspect="1" noChangeArrowheads="1"/>
            </p:cNvSpPr>
            <p:nvPr userDrawn="1"/>
          </p:nvSpPr>
          <p:spPr bwMode="auto">
            <a:xfrm>
              <a:off x="4327672" y="2489154"/>
              <a:ext cx="85944" cy="85944"/>
            </a:xfrm>
            <a:prstGeom prst="ellipse">
              <a:avLst/>
            </a:prstGeom>
            <a:grpFill/>
            <a:ln>
              <a:noFill/>
            </a:ln>
            <a:effectLst/>
          </p:spPr>
          <p:txBody>
            <a:bodyPr wrap="none" anchor="ctr"/>
            <a:lstStyle/>
            <a:p>
              <a:pPr defTabSz="914362"/>
              <a:endParaRPr lang="en-US" sz="1800">
                <a:solidFill>
                  <a:srgbClr val="292929"/>
                </a:solidFill>
              </a:endParaRPr>
            </a:p>
          </p:txBody>
        </p:sp>
        <p:sp>
          <p:nvSpPr>
            <p:cNvPr id="591" name="Oval 553"/>
            <p:cNvSpPr>
              <a:spLocks noChangeAspect="1" noChangeArrowheads="1"/>
            </p:cNvSpPr>
            <p:nvPr userDrawn="1"/>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92" name="Oval 554"/>
            <p:cNvSpPr>
              <a:spLocks noChangeAspect="1" noChangeArrowheads="1"/>
            </p:cNvSpPr>
            <p:nvPr userDrawn="1"/>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93" name="Oval 555"/>
            <p:cNvSpPr>
              <a:spLocks noChangeAspect="1" noChangeArrowheads="1"/>
            </p:cNvSpPr>
            <p:nvPr userDrawn="1"/>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94" name="Oval 556"/>
            <p:cNvSpPr>
              <a:spLocks noChangeAspect="1" noChangeArrowheads="1"/>
            </p:cNvSpPr>
            <p:nvPr userDrawn="1"/>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95" name="Oval 557"/>
            <p:cNvSpPr>
              <a:spLocks noChangeAspect="1" noChangeArrowheads="1"/>
            </p:cNvSpPr>
            <p:nvPr userDrawn="1"/>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96" name="Oval 558"/>
            <p:cNvSpPr>
              <a:spLocks noChangeAspect="1" noChangeArrowheads="1"/>
            </p:cNvSpPr>
            <p:nvPr userDrawn="1"/>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97" name="Oval 559"/>
            <p:cNvSpPr>
              <a:spLocks noChangeAspect="1" noChangeArrowheads="1"/>
            </p:cNvSpPr>
            <p:nvPr userDrawn="1"/>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98" name="Oval 560"/>
            <p:cNvSpPr>
              <a:spLocks noChangeAspect="1" noChangeArrowheads="1"/>
            </p:cNvSpPr>
            <p:nvPr userDrawn="1"/>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599" name="Oval 561"/>
            <p:cNvSpPr>
              <a:spLocks noChangeAspect="1" noChangeArrowheads="1"/>
            </p:cNvSpPr>
            <p:nvPr userDrawn="1"/>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00" name="Oval 562"/>
            <p:cNvSpPr>
              <a:spLocks noChangeAspect="1" noChangeArrowheads="1"/>
            </p:cNvSpPr>
            <p:nvPr userDrawn="1"/>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01" name="Oval 563"/>
            <p:cNvSpPr>
              <a:spLocks noChangeAspect="1" noChangeArrowheads="1"/>
            </p:cNvSpPr>
            <p:nvPr userDrawn="1"/>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02" name="Oval 564"/>
            <p:cNvSpPr>
              <a:spLocks noChangeAspect="1" noChangeArrowheads="1"/>
            </p:cNvSpPr>
            <p:nvPr userDrawn="1"/>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03" name="Oval 565"/>
            <p:cNvSpPr>
              <a:spLocks noChangeAspect="1" noChangeArrowheads="1"/>
            </p:cNvSpPr>
            <p:nvPr userDrawn="1"/>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04" name="Oval 566"/>
            <p:cNvSpPr>
              <a:spLocks noChangeAspect="1" noChangeArrowheads="1"/>
            </p:cNvSpPr>
            <p:nvPr userDrawn="1"/>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05" name="Oval 567"/>
            <p:cNvSpPr>
              <a:spLocks noChangeAspect="1" noChangeArrowheads="1"/>
            </p:cNvSpPr>
            <p:nvPr userDrawn="1"/>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06" name="Oval 568"/>
            <p:cNvSpPr>
              <a:spLocks noChangeAspect="1" noChangeArrowheads="1"/>
            </p:cNvSpPr>
            <p:nvPr userDrawn="1"/>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07" name="Oval 569"/>
            <p:cNvSpPr>
              <a:spLocks noChangeAspect="1" noChangeArrowheads="1"/>
            </p:cNvSpPr>
            <p:nvPr userDrawn="1"/>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08" name="Oval 570"/>
            <p:cNvSpPr>
              <a:spLocks noChangeAspect="1" noChangeArrowheads="1"/>
            </p:cNvSpPr>
            <p:nvPr userDrawn="1"/>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09" name="Oval 571"/>
            <p:cNvSpPr>
              <a:spLocks noChangeAspect="1" noChangeArrowheads="1"/>
            </p:cNvSpPr>
            <p:nvPr userDrawn="1"/>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10" name="Oval 572"/>
            <p:cNvSpPr>
              <a:spLocks noChangeAspect="1" noChangeArrowheads="1"/>
            </p:cNvSpPr>
            <p:nvPr userDrawn="1"/>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11" name="Oval 573"/>
            <p:cNvSpPr>
              <a:spLocks noChangeAspect="1" noChangeArrowheads="1"/>
            </p:cNvSpPr>
            <p:nvPr userDrawn="1"/>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12" name="Oval 574"/>
            <p:cNvSpPr>
              <a:spLocks noChangeAspect="1" noChangeArrowheads="1"/>
            </p:cNvSpPr>
            <p:nvPr userDrawn="1"/>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13" name="Oval 575"/>
            <p:cNvSpPr>
              <a:spLocks noChangeAspect="1" noChangeArrowheads="1"/>
            </p:cNvSpPr>
            <p:nvPr userDrawn="1"/>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14" name="Oval 576"/>
            <p:cNvSpPr>
              <a:spLocks noChangeAspect="1" noChangeArrowheads="1"/>
            </p:cNvSpPr>
            <p:nvPr userDrawn="1"/>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15" name="Oval 577"/>
            <p:cNvSpPr>
              <a:spLocks noChangeAspect="1" noChangeArrowheads="1"/>
            </p:cNvSpPr>
            <p:nvPr userDrawn="1"/>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16" name="Oval 578"/>
            <p:cNvSpPr>
              <a:spLocks noChangeAspect="1" noChangeArrowheads="1"/>
            </p:cNvSpPr>
            <p:nvPr userDrawn="1"/>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17" name="Oval 579"/>
            <p:cNvSpPr>
              <a:spLocks noChangeAspect="1" noChangeArrowheads="1"/>
            </p:cNvSpPr>
            <p:nvPr userDrawn="1"/>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18" name="Oval 580"/>
            <p:cNvSpPr>
              <a:spLocks noChangeAspect="1" noChangeArrowheads="1"/>
            </p:cNvSpPr>
            <p:nvPr userDrawn="1"/>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19" name="Oval 581"/>
            <p:cNvSpPr>
              <a:spLocks noChangeAspect="1" noChangeArrowheads="1"/>
            </p:cNvSpPr>
            <p:nvPr userDrawn="1"/>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20" name="Oval 582"/>
            <p:cNvSpPr>
              <a:spLocks noChangeAspect="1" noChangeArrowheads="1"/>
            </p:cNvSpPr>
            <p:nvPr userDrawn="1"/>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21" name="Oval 583"/>
            <p:cNvSpPr>
              <a:spLocks noChangeAspect="1" noChangeArrowheads="1"/>
            </p:cNvSpPr>
            <p:nvPr userDrawn="1"/>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22" name="Oval 584"/>
            <p:cNvSpPr>
              <a:spLocks noChangeAspect="1" noChangeArrowheads="1"/>
            </p:cNvSpPr>
            <p:nvPr userDrawn="1"/>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23" name="Oval 585"/>
            <p:cNvSpPr>
              <a:spLocks noChangeAspect="1" noChangeArrowheads="1"/>
            </p:cNvSpPr>
            <p:nvPr userDrawn="1"/>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24" name="Oval 586"/>
            <p:cNvSpPr>
              <a:spLocks noChangeAspect="1" noChangeArrowheads="1"/>
            </p:cNvSpPr>
            <p:nvPr userDrawn="1"/>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25" name="Oval 587"/>
            <p:cNvSpPr>
              <a:spLocks noChangeAspect="1" noChangeArrowheads="1"/>
            </p:cNvSpPr>
            <p:nvPr userDrawn="1"/>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26" name="Oval 588"/>
            <p:cNvSpPr>
              <a:spLocks noChangeAspect="1" noChangeArrowheads="1"/>
            </p:cNvSpPr>
            <p:nvPr userDrawn="1"/>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27" name="Oval 589"/>
            <p:cNvSpPr>
              <a:spLocks noChangeAspect="1" noChangeArrowheads="1"/>
            </p:cNvSpPr>
            <p:nvPr userDrawn="1"/>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28" name="Oval 590"/>
            <p:cNvSpPr>
              <a:spLocks noChangeAspect="1" noChangeArrowheads="1"/>
            </p:cNvSpPr>
            <p:nvPr userDrawn="1"/>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29" name="Oval 591"/>
            <p:cNvSpPr>
              <a:spLocks noChangeAspect="1" noChangeArrowheads="1"/>
            </p:cNvSpPr>
            <p:nvPr userDrawn="1"/>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30" name="Oval 592"/>
            <p:cNvSpPr>
              <a:spLocks noChangeAspect="1" noChangeArrowheads="1"/>
            </p:cNvSpPr>
            <p:nvPr userDrawn="1"/>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31" name="Oval 593"/>
            <p:cNvSpPr>
              <a:spLocks noChangeAspect="1" noChangeArrowheads="1"/>
            </p:cNvSpPr>
            <p:nvPr userDrawn="1"/>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32" name="Oval 594"/>
            <p:cNvSpPr>
              <a:spLocks noChangeAspect="1" noChangeArrowheads="1"/>
            </p:cNvSpPr>
            <p:nvPr userDrawn="1"/>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33" name="Oval 595"/>
            <p:cNvSpPr>
              <a:spLocks noChangeAspect="1" noChangeArrowheads="1"/>
            </p:cNvSpPr>
            <p:nvPr userDrawn="1"/>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34" name="Oval 596"/>
            <p:cNvSpPr>
              <a:spLocks noChangeAspect="1" noChangeArrowheads="1"/>
            </p:cNvSpPr>
            <p:nvPr userDrawn="1"/>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35" name="Oval 597"/>
            <p:cNvSpPr>
              <a:spLocks noChangeAspect="1" noChangeArrowheads="1"/>
            </p:cNvSpPr>
            <p:nvPr userDrawn="1"/>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36" name="Oval 598"/>
            <p:cNvSpPr>
              <a:spLocks noChangeAspect="1" noChangeArrowheads="1"/>
            </p:cNvSpPr>
            <p:nvPr userDrawn="1"/>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37" name="Oval 599"/>
            <p:cNvSpPr>
              <a:spLocks noChangeAspect="1" noChangeArrowheads="1"/>
            </p:cNvSpPr>
            <p:nvPr userDrawn="1"/>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38" name="Oval 600"/>
            <p:cNvSpPr>
              <a:spLocks noChangeAspect="1" noChangeArrowheads="1"/>
            </p:cNvSpPr>
            <p:nvPr userDrawn="1"/>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39" name="Oval 601"/>
            <p:cNvSpPr>
              <a:spLocks noChangeAspect="1" noChangeArrowheads="1"/>
            </p:cNvSpPr>
            <p:nvPr userDrawn="1"/>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40" name="Oval 602"/>
            <p:cNvSpPr>
              <a:spLocks noChangeAspect="1" noChangeArrowheads="1"/>
            </p:cNvSpPr>
            <p:nvPr userDrawn="1"/>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41" name="Oval 603"/>
            <p:cNvSpPr>
              <a:spLocks noChangeAspect="1" noChangeArrowheads="1"/>
            </p:cNvSpPr>
            <p:nvPr userDrawn="1"/>
          </p:nvSpPr>
          <p:spPr bwMode="auto">
            <a:xfrm>
              <a:off x="4776992" y="2593192"/>
              <a:ext cx="85944" cy="85943"/>
            </a:xfrm>
            <a:prstGeom prst="ellipse">
              <a:avLst/>
            </a:prstGeom>
            <a:grpFill/>
            <a:ln>
              <a:noFill/>
            </a:ln>
            <a:effectLst/>
          </p:spPr>
          <p:txBody>
            <a:bodyPr wrap="none" anchor="ctr"/>
            <a:lstStyle/>
            <a:p>
              <a:pPr defTabSz="914362"/>
              <a:endParaRPr lang="en-US" sz="1800">
                <a:solidFill>
                  <a:srgbClr val="292929"/>
                </a:solidFill>
              </a:endParaRPr>
            </a:p>
          </p:txBody>
        </p:sp>
        <p:sp>
          <p:nvSpPr>
            <p:cNvPr id="642" name="Oval 604"/>
            <p:cNvSpPr>
              <a:spLocks noChangeAspect="1" noChangeArrowheads="1"/>
            </p:cNvSpPr>
            <p:nvPr userDrawn="1"/>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43" name="Oval 605"/>
            <p:cNvSpPr>
              <a:spLocks noChangeAspect="1" noChangeArrowheads="1"/>
            </p:cNvSpPr>
            <p:nvPr userDrawn="1"/>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44" name="Oval 606"/>
            <p:cNvSpPr>
              <a:spLocks noChangeAspect="1" noChangeArrowheads="1"/>
            </p:cNvSpPr>
            <p:nvPr userDrawn="1"/>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45" name="Oval 607"/>
            <p:cNvSpPr>
              <a:spLocks noChangeAspect="1" noChangeArrowheads="1"/>
            </p:cNvSpPr>
            <p:nvPr userDrawn="1"/>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46" name="Oval 608"/>
            <p:cNvSpPr>
              <a:spLocks noChangeAspect="1" noChangeArrowheads="1"/>
            </p:cNvSpPr>
            <p:nvPr userDrawn="1"/>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47" name="Oval 609"/>
            <p:cNvSpPr>
              <a:spLocks noChangeAspect="1" noChangeArrowheads="1"/>
            </p:cNvSpPr>
            <p:nvPr userDrawn="1"/>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48" name="Oval 610"/>
            <p:cNvSpPr>
              <a:spLocks noChangeAspect="1" noChangeArrowheads="1"/>
            </p:cNvSpPr>
            <p:nvPr userDrawn="1"/>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49" name="Oval 611"/>
            <p:cNvSpPr>
              <a:spLocks noChangeAspect="1" noChangeArrowheads="1"/>
            </p:cNvSpPr>
            <p:nvPr userDrawn="1"/>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50" name="Oval 612"/>
            <p:cNvSpPr>
              <a:spLocks noChangeAspect="1" noChangeArrowheads="1"/>
            </p:cNvSpPr>
            <p:nvPr userDrawn="1"/>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51" name="Oval 613"/>
            <p:cNvSpPr>
              <a:spLocks noChangeAspect="1" noChangeArrowheads="1"/>
            </p:cNvSpPr>
            <p:nvPr userDrawn="1"/>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52" name="Oval 614"/>
            <p:cNvSpPr>
              <a:spLocks noChangeAspect="1" noChangeArrowheads="1"/>
            </p:cNvSpPr>
            <p:nvPr userDrawn="1"/>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53" name="Oval 615"/>
            <p:cNvSpPr>
              <a:spLocks noChangeAspect="1" noChangeArrowheads="1"/>
            </p:cNvSpPr>
            <p:nvPr userDrawn="1"/>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54" name="Oval 616"/>
            <p:cNvSpPr>
              <a:spLocks noChangeAspect="1" noChangeArrowheads="1"/>
            </p:cNvSpPr>
            <p:nvPr userDrawn="1"/>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55" name="Oval 617"/>
            <p:cNvSpPr>
              <a:spLocks noChangeAspect="1" noChangeArrowheads="1"/>
            </p:cNvSpPr>
            <p:nvPr userDrawn="1"/>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56" name="Oval 618"/>
            <p:cNvSpPr>
              <a:spLocks noChangeAspect="1" noChangeArrowheads="1"/>
            </p:cNvSpPr>
            <p:nvPr userDrawn="1"/>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57" name="Oval 619"/>
            <p:cNvSpPr>
              <a:spLocks noChangeAspect="1" noChangeArrowheads="1"/>
            </p:cNvSpPr>
            <p:nvPr userDrawn="1"/>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58" name="Oval 620"/>
            <p:cNvSpPr>
              <a:spLocks noChangeAspect="1" noChangeArrowheads="1"/>
            </p:cNvSpPr>
            <p:nvPr userDrawn="1"/>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59" name="Oval 621"/>
            <p:cNvSpPr>
              <a:spLocks noChangeAspect="1" noChangeArrowheads="1"/>
            </p:cNvSpPr>
            <p:nvPr userDrawn="1"/>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60" name="Oval 622"/>
            <p:cNvSpPr>
              <a:spLocks noChangeAspect="1" noChangeArrowheads="1"/>
            </p:cNvSpPr>
            <p:nvPr userDrawn="1"/>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61" name="Oval 623"/>
            <p:cNvSpPr>
              <a:spLocks noChangeAspect="1" noChangeArrowheads="1"/>
            </p:cNvSpPr>
            <p:nvPr userDrawn="1"/>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62" name="Oval 624"/>
            <p:cNvSpPr>
              <a:spLocks noChangeAspect="1" noChangeArrowheads="1"/>
            </p:cNvSpPr>
            <p:nvPr userDrawn="1"/>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63" name="Oval 625"/>
            <p:cNvSpPr>
              <a:spLocks noChangeAspect="1" noChangeArrowheads="1"/>
            </p:cNvSpPr>
            <p:nvPr userDrawn="1"/>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64" name="Oval 626"/>
            <p:cNvSpPr>
              <a:spLocks noChangeAspect="1" noChangeArrowheads="1"/>
            </p:cNvSpPr>
            <p:nvPr userDrawn="1"/>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65" name="Oval 627"/>
            <p:cNvSpPr>
              <a:spLocks noChangeAspect="1" noChangeArrowheads="1"/>
            </p:cNvSpPr>
            <p:nvPr userDrawn="1"/>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66" name="Oval 628"/>
            <p:cNvSpPr>
              <a:spLocks noChangeAspect="1" noChangeArrowheads="1"/>
            </p:cNvSpPr>
            <p:nvPr userDrawn="1"/>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67" name="Oval 629"/>
            <p:cNvSpPr>
              <a:spLocks noChangeAspect="1" noChangeArrowheads="1"/>
            </p:cNvSpPr>
            <p:nvPr userDrawn="1"/>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68" name="Oval 630"/>
            <p:cNvSpPr>
              <a:spLocks noChangeAspect="1" noChangeArrowheads="1"/>
            </p:cNvSpPr>
            <p:nvPr userDrawn="1"/>
          </p:nvSpPr>
          <p:spPr bwMode="auto">
            <a:xfrm>
              <a:off x="7810653" y="2593192"/>
              <a:ext cx="85944" cy="85943"/>
            </a:xfrm>
            <a:prstGeom prst="ellipse">
              <a:avLst/>
            </a:prstGeom>
            <a:grpFill/>
            <a:ln>
              <a:noFill/>
            </a:ln>
            <a:effectLst/>
          </p:spPr>
          <p:txBody>
            <a:bodyPr wrap="none" anchor="ctr"/>
            <a:lstStyle/>
            <a:p>
              <a:pPr defTabSz="914362"/>
              <a:endParaRPr lang="en-US" sz="1800">
                <a:solidFill>
                  <a:srgbClr val="292929"/>
                </a:solidFill>
              </a:endParaRPr>
            </a:p>
          </p:txBody>
        </p:sp>
        <p:sp>
          <p:nvSpPr>
            <p:cNvPr id="669" name="Oval 631"/>
            <p:cNvSpPr>
              <a:spLocks noChangeAspect="1" noChangeArrowheads="1"/>
            </p:cNvSpPr>
            <p:nvPr userDrawn="1"/>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70" name="Oval 632"/>
            <p:cNvSpPr>
              <a:spLocks noChangeAspect="1" noChangeArrowheads="1"/>
            </p:cNvSpPr>
            <p:nvPr userDrawn="1"/>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71" name="Oval 633"/>
            <p:cNvSpPr>
              <a:spLocks noChangeAspect="1" noChangeArrowheads="1"/>
            </p:cNvSpPr>
            <p:nvPr userDrawn="1"/>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72" name="Oval 634"/>
            <p:cNvSpPr>
              <a:spLocks noChangeAspect="1" noChangeArrowheads="1"/>
            </p:cNvSpPr>
            <p:nvPr userDrawn="1"/>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73" name="Oval 635"/>
            <p:cNvSpPr>
              <a:spLocks noChangeAspect="1" noChangeArrowheads="1"/>
            </p:cNvSpPr>
            <p:nvPr userDrawn="1"/>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74" name="Oval 636"/>
            <p:cNvSpPr>
              <a:spLocks noChangeAspect="1" noChangeArrowheads="1"/>
            </p:cNvSpPr>
            <p:nvPr userDrawn="1"/>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75" name="Oval 637"/>
            <p:cNvSpPr>
              <a:spLocks noChangeAspect="1" noChangeArrowheads="1"/>
            </p:cNvSpPr>
            <p:nvPr userDrawn="1"/>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76" name="Oval 638"/>
            <p:cNvSpPr>
              <a:spLocks noChangeAspect="1" noChangeArrowheads="1"/>
            </p:cNvSpPr>
            <p:nvPr userDrawn="1"/>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77" name="Oval 639"/>
            <p:cNvSpPr>
              <a:spLocks noChangeAspect="1" noChangeArrowheads="1"/>
            </p:cNvSpPr>
            <p:nvPr userDrawn="1"/>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78" name="Oval 640"/>
            <p:cNvSpPr>
              <a:spLocks noChangeAspect="1" noChangeArrowheads="1"/>
            </p:cNvSpPr>
            <p:nvPr userDrawn="1"/>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79" name="Oval 641"/>
            <p:cNvSpPr>
              <a:spLocks noChangeAspect="1" noChangeArrowheads="1"/>
            </p:cNvSpPr>
            <p:nvPr userDrawn="1"/>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80" name="Oval 642"/>
            <p:cNvSpPr>
              <a:spLocks noChangeAspect="1" noChangeArrowheads="1"/>
            </p:cNvSpPr>
            <p:nvPr userDrawn="1"/>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81" name="Oval 643"/>
            <p:cNvSpPr>
              <a:spLocks noChangeAspect="1" noChangeArrowheads="1"/>
            </p:cNvSpPr>
            <p:nvPr userDrawn="1"/>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82" name="Oval 644"/>
            <p:cNvSpPr>
              <a:spLocks noChangeAspect="1" noChangeArrowheads="1"/>
            </p:cNvSpPr>
            <p:nvPr userDrawn="1"/>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83" name="Oval 645"/>
            <p:cNvSpPr>
              <a:spLocks noChangeAspect="1" noChangeArrowheads="1"/>
            </p:cNvSpPr>
            <p:nvPr userDrawn="1"/>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84" name="Oval 646"/>
            <p:cNvSpPr>
              <a:spLocks noChangeAspect="1" noChangeArrowheads="1"/>
            </p:cNvSpPr>
            <p:nvPr userDrawn="1"/>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85" name="Oval 647"/>
            <p:cNvSpPr>
              <a:spLocks noChangeAspect="1" noChangeArrowheads="1"/>
            </p:cNvSpPr>
            <p:nvPr userDrawn="1"/>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86" name="Oval 648"/>
            <p:cNvSpPr>
              <a:spLocks noChangeAspect="1" noChangeArrowheads="1"/>
            </p:cNvSpPr>
            <p:nvPr userDrawn="1"/>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87" name="Oval 649"/>
            <p:cNvSpPr>
              <a:spLocks noChangeAspect="1" noChangeArrowheads="1"/>
            </p:cNvSpPr>
            <p:nvPr userDrawn="1"/>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88" name="Oval 650"/>
            <p:cNvSpPr>
              <a:spLocks noChangeAspect="1" noChangeArrowheads="1"/>
            </p:cNvSpPr>
            <p:nvPr userDrawn="1"/>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89" name="Oval 651"/>
            <p:cNvSpPr>
              <a:spLocks noChangeAspect="1" noChangeArrowheads="1"/>
            </p:cNvSpPr>
            <p:nvPr userDrawn="1"/>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90" name="Oval 652"/>
            <p:cNvSpPr>
              <a:spLocks noChangeAspect="1" noChangeArrowheads="1"/>
            </p:cNvSpPr>
            <p:nvPr userDrawn="1"/>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91" name="Oval 653"/>
            <p:cNvSpPr>
              <a:spLocks noChangeAspect="1" noChangeArrowheads="1"/>
            </p:cNvSpPr>
            <p:nvPr userDrawn="1"/>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92" name="Oval 654"/>
            <p:cNvSpPr>
              <a:spLocks noChangeAspect="1" noChangeArrowheads="1"/>
            </p:cNvSpPr>
            <p:nvPr userDrawn="1"/>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93" name="Oval 655"/>
            <p:cNvSpPr>
              <a:spLocks noChangeAspect="1" noChangeArrowheads="1"/>
            </p:cNvSpPr>
            <p:nvPr userDrawn="1"/>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94" name="Oval 656"/>
            <p:cNvSpPr>
              <a:spLocks noChangeAspect="1" noChangeArrowheads="1"/>
            </p:cNvSpPr>
            <p:nvPr userDrawn="1"/>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95" name="Oval 657"/>
            <p:cNvSpPr>
              <a:spLocks noChangeAspect="1" noChangeArrowheads="1"/>
            </p:cNvSpPr>
            <p:nvPr userDrawn="1"/>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96" name="Oval 658"/>
            <p:cNvSpPr>
              <a:spLocks noChangeAspect="1" noChangeArrowheads="1"/>
            </p:cNvSpPr>
            <p:nvPr userDrawn="1"/>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97" name="Oval 659"/>
            <p:cNvSpPr>
              <a:spLocks noChangeAspect="1" noChangeArrowheads="1"/>
            </p:cNvSpPr>
            <p:nvPr userDrawn="1"/>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98" name="Oval 660"/>
            <p:cNvSpPr>
              <a:spLocks noChangeAspect="1" noChangeArrowheads="1"/>
            </p:cNvSpPr>
            <p:nvPr userDrawn="1"/>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699" name="Oval 661"/>
            <p:cNvSpPr>
              <a:spLocks noChangeAspect="1" noChangeArrowheads="1"/>
            </p:cNvSpPr>
            <p:nvPr userDrawn="1"/>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00" name="Oval 662"/>
            <p:cNvSpPr>
              <a:spLocks noChangeAspect="1" noChangeArrowheads="1"/>
            </p:cNvSpPr>
            <p:nvPr userDrawn="1"/>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01" name="Oval 663"/>
            <p:cNvSpPr>
              <a:spLocks noChangeAspect="1" noChangeArrowheads="1"/>
            </p:cNvSpPr>
            <p:nvPr userDrawn="1"/>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02" name="Oval 664"/>
            <p:cNvSpPr>
              <a:spLocks noChangeAspect="1" noChangeArrowheads="1"/>
            </p:cNvSpPr>
            <p:nvPr userDrawn="1"/>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03" name="Oval 665"/>
            <p:cNvSpPr>
              <a:spLocks noChangeAspect="1" noChangeArrowheads="1"/>
            </p:cNvSpPr>
            <p:nvPr userDrawn="1"/>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04" name="Oval 666"/>
            <p:cNvSpPr>
              <a:spLocks noChangeAspect="1" noChangeArrowheads="1"/>
            </p:cNvSpPr>
            <p:nvPr userDrawn="1"/>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05" name="Oval 667"/>
            <p:cNvSpPr>
              <a:spLocks noChangeAspect="1" noChangeArrowheads="1"/>
            </p:cNvSpPr>
            <p:nvPr userDrawn="1"/>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06" name="Oval 668"/>
            <p:cNvSpPr>
              <a:spLocks noChangeAspect="1" noChangeArrowheads="1"/>
            </p:cNvSpPr>
            <p:nvPr userDrawn="1"/>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07" name="Oval 669"/>
            <p:cNvSpPr>
              <a:spLocks noChangeAspect="1" noChangeArrowheads="1"/>
            </p:cNvSpPr>
            <p:nvPr userDrawn="1"/>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08" name="Oval 670"/>
            <p:cNvSpPr>
              <a:spLocks noChangeAspect="1" noChangeArrowheads="1"/>
            </p:cNvSpPr>
            <p:nvPr userDrawn="1"/>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09" name="Oval 671"/>
            <p:cNvSpPr>
              <a:spLocks noChangeAspect="1" noChangeArrowheads="1"/>
            </p:cNvSpPr>
            <p:nvPr userDrawn="1"/>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10" name="Oval 672"/>
            <p:cNvSpPr>
              <a:spLocks noChangeAspect="1" noChangeArrowheads="1"/>
            </p:cNvSpPr>
            <p:nvPr userDrawn="1"/>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11" name="Oval 673"/>
            <p:cNvSpPr>
              <a:spLocks noChangeAspect="1" noChangeArrowheads="1"/>
            </p:cNvSpPr>
            <p:nvPr userDrawn="1"/>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12" name="Oval 674"/>
            <p:cNvSpPr>
              <a:spLocks noChangeAspect="1" noChangeArrowheads="1"/>
            </p:cNvSpPr>
            <p:nvPr userDrawn="1"/>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13" name="Oval 675"/>
            <p:cNvSpPr>
              <a:spLocks noChangeAspect="1" noChangeArrowheads="1"/>
            </p:cNvSpPr>
            <p:nvPr userDrawn="1"/>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14" name="Oval 676"/>
            <p:cNvSpPr>
              <a:spLocks noChangeAspect="1" noChangeArrowheads="1"/>
            </p:cNvSpPr>
            <p:nvPr userDrawn="1"/>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15" name="Oval 677"/>
            <p:cNvSpPr>
              <a:spLocks noChangeAspect="1" noChangeArrowheads="1"/>
            </p:cNvSpPr>
            <p:nvPr userDrawn="1"/>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16" name="Oval 678"/>
            <p:cNvSpPr>
              <a:spLocks noChangeAspect="1" noChangeArrowheads="1"/>
            </p:cNvSpPr>
            <p:nvPr userDrawn="1"/>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17" name="Oval 679"/>
            <p:cNvSpPr>
              <a:spLocks noChangeAspect="1" noChangeArrowheads="1"/>
            </p:cNvSpPr>
            <p:nvPr userDrawn="1"/>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18" name="Oval 680"/>
            <p:cNvSpPr>
              <a:spLocks noChangeAspect="1" noChangeArrowheads="1"/>
            </p:cNvSpPr>
            <p:nvPr userDrawn="1"/>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19" name="Oval 681"/>
            <p:cNvSpPr>
              <a:spLocks noChangeAspect="1" noChangeArrowheads="1"/>
            </p:cNvSpPr>
            <p:nvPr userDrawn="1"/>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20" name="Oval 682"/>
            <p:cNvSpPr>
              <a:spLocks noChangeAspect="1" noChangeArrowheads="1"/>
            </p:cNvSpPr>
            <p:nvPr userDrawn="1"/>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21" name="Oval 683"/>
            <p:cNvSpPr>
              <a:spLocks noChangeAspect="1" noChangeArrowheads="1"/>
            </p:cNvSpPr>
            <p:nvPr userDrawn="1"/>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22" name="Oval 684"/>
            <p:cNvSpPr>
              <a:spLocks noChangeAspect="1" noChangeArrowheads="1"/>
            </p:cNvSpPr>
            <p:nvPr userDrawn="1"/>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23" name="Oval 685"/>
            <p:cNvSpPr>
              <a:spLocks noChangeAspect="1" noChangeArrowheads="1"/>
            </p:cNvSpPr>
            <p:nvPr userDrawn="1"/>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24" name="Oval 686"/>
            <p:cNvSpPr>
              <a:spLocks noChangeAspect="1" noChangeArrowheads="1"/>
            </p:cNvSpPr>
            <p:nvPr userDrawn="1"/>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25" name="Oval 687"/>
            <p:cNvSpPr>
              <a:spLocks noChangeAspect="1" noChangeArrowheads="1"/>
            </p:cNvSpPr>
            <p:nvPr userDrawn="1"/>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26" name="Oval 688"/>
            <p:cNvSpPr>
              <a:spLocks noChangeAspect="1" noChangeArrowheads="1"/>
            </p:cNvSpPr>
            <p:nvPr userDrawn="1"/>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27" name="Oval 689"/>
            <p:cNvSpPr>
              <a:spLocks noChangeAspect="1" noChangeArrowheads="1"/>
            </p:cNvSpPr>
            <p:nvPr userDrawn="1"/>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28" name="Oval 690"/>
            <p:cNvSpPr>
              <a:spLocks noChangeAspect="1" noChangeArrowheads="1"/>
            </p:cNvSpPr>
            <p:nvPr userDrawn="1"/>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29" name="Oval 691"/>
            <p:cNvSpPr>
              <a:spLocks noChangeAspect="1" noChangeArrowheads="1"/>
            </p:cNvSpPr>
            <p:nvPr userDrawn="1"/>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30" name="Oval 692"/>
            <p:cNvSpPr>
              <a:spLocks noChangeAspect="1" noChangeArrowheads="1"/>
            </p:cNvSpPr>
            <p:nvPr userDrawn="1"/>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31" name="Oval 693"/>
            <p:cNvSpPr>
              <a:spLocks noChangeAspect="1" noChangeArrowheads="1"/>
            </p:cNvSpPr>
            <p:nvPr userDrawn="1"/>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32" name="Oval 694"/>
            <p:cNvSpPr>
              <a:spLocks noChangeAspect="1" noChangeArrowheads="1"/>
            </p:cNvSpPr>
            <p:nvPr userDrawn="1"/>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33" name="Oval 695"/>
            <p:cNvSpPr>
              <a:spLocks noChangeAspect="1" noChangeArrowheads="1"/>
            </p:cNvSpPr>
            <p:nvPr userDrawn="1"/>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34" name="Oval 696"/>
            <p:cNvSpPr>
              <a:spLocks noChangeAspect="1" noChangeArrowheads="1"/>
            </p:cNvSpPr>
            <p:nvPr userDrawn="1"/>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35" name="Oval 697"/>
            <p:cNvSpPr>
              <a:spLocks noChangeAspect="1" noChangeArrowheads="1"/>
            </p:cNvSpPr>
            <p:nvPr userDrawn="1"/>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36" name="Oval 698"/>
            <p:cNvSpPr>
              <a:spLocks noChangeAspect="1" noChangeArrowheads="1"/>
            </p:cNvSpPr>
            <p:nvPr userDrawn="1"/>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37" name="Oval 699"/>
            <p:cNvSpPr>
              <a:spLocks noChangeAspect="1" noChangeArrowheads="1"/>
            </p:cNvSpPr>
            <p:nvPr userDrawn="1"/>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38" name="Oval 700"/>
            <p:cNvSpPr>
              <a:spLocks noChangeAspect="1" noChangeArrowheads="1"/>
            </p:cNvSpPr>
            <p:nvPr userDrawn="1"/>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39" name="Oval 701"/>
            <p:cNvSpPr>
              <a:spLocks noChangeAspect="1" noChangeArrowheads="1"/>
            </p:cNvSpPr>
            <p:nvPr userDrawn="1"/>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40" name="Oval 702"/>
            <p:cNvSpPr>
              <a:spLocks noChangeAspect="1" noChangeArrowheads="1"/>
            </p:cNvSpPr>
            <p:nvPr userDrawn="1"/>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41" name="Oval 703"/>
            <p:cNvSpPr>
              <a:spLocks noChangeAspect="1" noChangeArrowheads="1"/>
            </p:cNvSpPr>
            <p:nvPr userDrawn="1"/>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42" name="Oval 704"/>
            <p:cNvSpPr>
              <a:spLocks noChangeAspect="1" noChangeArrowheads="1"/>
            </p:cNvSpPr>
            <p:nvPr userDrawn="1"/>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43" name="Oval 705"/>
            <p:cNvSpPr>
              <a:spLocks noChangeAspect="1" noChangeArrowheads="1"/>
            </p:cNvSpPr>
            <p:nvPr userDrawn="1"/>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44" name="Oval 706"/>
            <p:cNvSpPr>
              <a:spLocks noChangeAspect="1" noChangeArrowheads="1"/>
            </p:cNvSpPr>
            <p:nvPr userDrawn="1"/>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45" name="Oval 707"/>
            <p:cNvSpPr>
              <a:spLocks noChangeAspect="1" noChangeArrowheads="1"/>
            </p:cNvSpPr>
            <p:nvPr userDrawn="1"/>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46" name="Oval 708"/>
            <p:cNvSpPr>
              <a:spLocks noChangeAspect="1" noChangeArrowheads="1"/>
            </p:cNvSpPr>
            <p:nvPr userDrawn="1"/>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47" name="Oval 709"/>
            <p:cNvSpPr>
              <a:spLocks noChangeAspect="1" noChangeArrowheads="1"/>
            </p:cNvSpPr>
            <p:nvPr userDrawn="1"/>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48" name="Oval 710"/>
            <p:cNvSpPr>
              <a:spLocks noChangeAspect="1" noChangeArrowheads="1"/>
            </p:cNvSpPr>
            <p:nvPr userDrawn="1"/>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49" name="Oval 711"/>
            <p:cNvSpPr>
              <a:spLocks noChangeAspect="1" noChangeArrowheads="1"/>
            </p:cNvSpPr>
            <p:nvPr userDrawn="1"/>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50" name="Oval 712"/>
            <p:cNvSpPr>
              <a:spLocks noChangeAspect="1" noChangeArrowheads="1"/>
            </p:cNvSpPr>
            <p:nvPr userDrawn="1"/>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51" name="Oval 713"/>
            <p:cNvSpPr>
              <a:spLocks noChangeAspect="1" noChangeArrowheads="1"/>
            </p:cNvSpPr>
            <p:nvPr userDrawn="1"/>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52" name="Oval 714"/>
            <p:cNvSpPr>
              <a:spLocks noChangeAspect="1" noChangeArrowheads="1"/>
            </p:cNvSpPr>
            <p:nvPr userDrawn="1"/>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53" name="Oval 715"/>
            <p:cNvSpPr>
              <a:spLocks noChangeAspect="1" noChangeArrowheads="1"/>
            </p:cNvSpPr>
            <p:nvPr userDrawn="1"/>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54" name="Oval 716"/>
            <p:cNvSpPr>
              <a:spLocks noChangeAspect="1" noChangeArrowheads="1"/>
            </p:cNvSpPr>
            <p:nvPr userDrawn="1"/>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55" name="Oval 717"/>
            <p:cNvSpPr>
              <a:spLocks noChangeAspect="1" noChangeArrowheads="1"/>
            </p:cNvSpPr>
            <p:nvPr userDrawn="1"/>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56" name="Oval 718"/>
            <p:cNvSpPr>
              <a:spLocks noChangeAspect="1" noChangeArrowheads="1"/>
            </p:cNvSpPr>
            <p:nvPr userDrawn="1"/>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57" name="Oval 719"/>
            <p:cNvSpPr>
              <a:spLocks noChangeAspect="1" noChangeArrowheads="1"/>
            </p:cNvSpPr>
            <p:nvPr userDrawn="1"/>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58" name="Oval 720"/>
            <p:cNvSpPr>
              <a:spLocks noChangeAspect="1" noChangeArrowheads="1"/>
            </p:cNvSpPr>
            <p:nvPr userDrawn="1"/>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59" name="Oval 721"/>
            <p:cNvSpPr>
              <a:spLocks noChangeAspect="1" noChangeArrowheads="1"/>
            </p:cNvSpPr>
            <p:nvPr userDrawn="1"/>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60" name="Oval 722"/>
            <p:cNvSpPr>
              <a:spLocks noChangeAspect="1" noChangeArrowheads="1"/>
            </p:cNvSpPr>
            <p:nvPr userDrawn="1"/>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61" name="Oval 723"/>
            <p:cNvSpPr>
              <a:spLocks noChangeAspect="1" noChangeArrowheads="1"/>
            </p:cNvSpPr>
            <p:nvPr userDrawn="1"/>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62" name="Oval 724"/>
            <p:cNvSpPr>
              <a:spLocks noChangeAspect="1" noChangeArrowheads="1"/>
            </p:cNvSpPr>
            <p:nvPr userDrawn="1"/>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63" name="Oval 725"/>
            <p:cNvSpPr>
              <a:spLocks noChangeAspect="1" noChangeArrowheads="1"/>
            </p:cNvSpPr>
            <p:nvPr userDrawn="1"/>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64" name="Oval 726"/>
            <p:cNvSpPr>
              <a:spLocks noChangeAspect="1" noChangeArrowheads="1"/>
            </p:cNvSpPr>
            <p:nvPr userDrawn="1"/>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65" name="Oval 727"/>
            <p:cNvSpPr>
              <a:spLocks noChangeAspect="1" noChangeArrowheads="1"/>
            </p:cNvSpPr>
            <p:nvPr userDrawn="1"/>
          </p:nvSpPr>
          <p:spPr bwMode="auto">
            <a:xfrm>
              <a:off x="5113228" y="2903796"/>
              <a:ext cx="85943" cy="85943"/>
            </a:xfrm>
            <a:prstGeom prst="ellipse">
              <a:avLst/>
            </a:prstGeom>
            <a:grpFill/>
            <a:ln>
              <a:noFill/>
            </a:ln>
            <a:effectLst/>
          </p:spPr>
          <p:txBody>
            <a:bodyPr wrap="none" anchor="ctr"/>
            <a:lstStyle/>
            <a:p>
              <a:pPr defTabSz="914362"/>
              <a:endParaRPr lang="en-US" sz="1800">
                <a:solidFill>
                  <a:srgbClr val="292929"/>
                </a:solidFill>
              </a:endParaRPr>
            </a:p>
          </p:txBody>
        </p:sp>
        <p:sp>
          <p:nvSpPr>
            <p:cNvPr id="766" name="Oval 728"/>
            <p:cNvSpPr>
              <a:spLocks noChangeAspect="1" noChangeArrowheads="1"/>
            </p:cNvSpPr>
            <p:nvPr userDrawn="1"/>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67" name="Oval 729"/>
            <p:cNvSpPr>
              <a:spLocks noChangeAspect="1" noChangeArrowheads="1"/>
            </p:cNvSpPr>
            <p:nvPr userDrawn="1"/>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68" name="Oval 730"/>
            <p:cNvSpPr>
              <a:spLocks noChangeAspect="1" noChangeArrowheads="1"/>
            </p:cNvSpPr>
            <p:nvPr userDrawn="1"/>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69" name="Oval 731"/>
            <p:cNvSpPr>
              <a:spLocks noChangeAspect="1" noChangeArrowheads="1"/>
            </p:cNvSpPr>
            <p:nvPr userDrawn="1"/>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70" name="Oval 732"/>
            <p:cNvSpPr>
              <a:spLocks noChangeAspect="1" noChangeArrowheads="1"/>
            </p:cNvSpPr>
            <p:nvPr userDrawn="1"/>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71" name="Oval 733"/>
            <p:cNvSpPr>
              <a:spLocks noChangeAspect="1" noChangeArrowheads="1"/>
            </p:cNvSpPr>
            <p:nvPr userDrawn="1"/>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72" name="Oval 734"/>
            <p:cNvSpPr>
              <a:spLocks noChangeAspect="1" noChangeArrowheads="1"/>
            </p:cNvSpPr>
            <p:nvPr userDrawn="1"/>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73" name="Oval 735"/>
            <p:cNvSpPr>
              <a:spLocks noChangeAspect="1" noChangeArrowheads="1"/>
            </p:cNvSpPr>
            <p:nvPr userDrawn="1"/>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74" name="Oval 736"/>
            <p:cNvSpPr>
              <a:spLocks noChangeAspect="1" noChangeArrowheads="1"/>
            </p:cNvSpPr>
            <p:nvPr userDrawn="1"/>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75" name="Oval 737"/>
            <p:cNvSpPr>
              <a:spLocks noChangeAspect="1" noChangeArrowheads="1"/>
            </p:cNvSpPr>
            <p:nvPr userDrawn="1"/>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76" name="Oval 738"/>
            <p:cNvSpPr>
              <a:spLocks noChangeAspect="1" noChangeArrowheads="1"/>
            </p:cNvSpPr>
            <p:nvPr userDrawn="1"/>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77" name="Oval 739"/>
            <p:cNvSpPr>
              <a:spLocks noChangeAspect="1" noChangeArrowheads="1"/>
            </p:cNvSpPr>
            <p:nvPr userDrawn="1"/>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78" name="Oval 740"/>
            <p:cNvSpPr>
              <a:spLocks noChangeAspect="1" noChangeArrowheads="1"/>
            </p:cNvSpPr>
            <p:nvPr userDrawn="1"/>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79" name="Oval 741"/>
            <p:cNvSpPr>
              <a:spLocks noChangeAspect="1" noChangeArrowheads="1"/>
            </p:cNvSpPr>
            <p:nvPr userDrawn="1"/>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80" name="Oval 742"/>
            <p:cNvSpPr>
              <a:spLocks noChangeAspect="1" noChangeArrowheads="1"/>
            </p:cNvSpPr>
            <p:nvPr userDrawn="1"/>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81" name="Oval 743"/>
            <p:cNvSpPr>
              <a:spLocks noChangeAspect="1" noChangeArrowheads="1"/>
            </p:cNvSpPr>
            <p:nvPr userDrawn="1"/>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82" name="Oval 744"/>
            <p:cNvSpPr>
              <a:spLocks noChangeAspect="1" noChangeArrowheads="1"/>
            </p:cNvSpPr>
            <p:nvPr userDrawn="1"/>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83" name="Oval 745"/>
            <p:cNvSpPr>
              <a:spLocks noChangeAspect="1" noChangeArrowheads="1"/>
            </p:cNvSpPr>
            <p:nvPr userDrawn="1"/>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84" name="Oval 746"/>
            <p:cNvSpPr>
              <a:spLocks noChangeAspect="1" noChangeArrowheads="1"/>
            </p:cNvSpPr>
            <p:nvPr userDrawn="1"/>
          </p:nvSpPr>
          <p:spPr bwMode="auto">
            <a:xfrm>
              <a:off x="7585994" y="2903796"/>
              <a:ext cx="85943" cy="85943"/>
            </a:xfrm>
            <a:prstGeom prst="ellipse">
              <a:avLst/>
            </a:prstGeom>
            <a:grpFill/>
            <a:ln>
              <a:noFill/>
            </a:ln>
            <a:effectLst/>
          </p:spPr>
          <p:txBody>
            <a:bodyPr wrap="none" anchor="ctr"/>
            <a:lstStyle/>
            <a:p>
              <a:pPr defTabSz="914362"/>
              <a:endParaRPr lang="en-US" sz="1800">
                <a:solidFill>
                  <a:srgbClr val="292929"/>
                </a:solidFill>
              </a:endParaRPr>
            </a:p>
          </p:txBody>
        </p:sp>
        <p:sp>
          <p:nvSpPr>
            <p:cNvPr id="785" name="Oval 747"/>
            <p:cNvSpPr>
              <a:spLocks noChangeAspect="1" noChangeArrowheads="1"/>
            </p:cNvSpPr>
            <p:nvPr userDrawn="1"/>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86" name="Oval 748"/>
            <p:cNvSpPr>
              <a:spLocks noChangeAspect="1" noChangeArrowheads="1"/>
            </p:cNvSpPr>
            <p:nvPr userDrawn="1"/>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87" name="Oval 749"/>
            <p:cNvSpPr>
              <a:spLocks noChangeAspect="1" noChangeArrowheads="1"/>
            </p:cNvSpPr>
            <p:nvPr userDrawn="1"/>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88" name="Oval 750"/>
            <p:cNvSpPr>
              <a:spLocks noChangeAspect="1" noChangeArrowheads="1"/>
            </p:cNvSpPr>
            <p:nvPr userDrawn="1"/>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89" name="Oval 751"/>
            <p:cNvSpPr>
              <a:spLocks noChangeAspect="1" noChangeArrowheads="1"/>
            </p:cNvSpPr>
            <p:nvPr userDrawn="1"/>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90" name="Oval 752"/>
            <p:cNvSpPr>
              <a:spLocks noChangeAspect="1" noChangeArrowheads="1"/>
            </p:cNvSpPr>
            <p:nvPr userDrawn="1"/>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91" name="Oval 753"/>
            <p:cNvSpPr>
              <a:spLocks noChangeAspect="1" noChangeArrowheads="1"/>
            </p:cNvSpPr>
            <p:nvPr userDrawn="1"/>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92" name="Oval 754"/>
            <p:cNvSpPr>
              <a:spLocks noChangeAspect="1" noChangeArrowheads="1"/>
            </p:cNvSpPr>
            <p:nvPr userDrawn="1"/>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93" name="Oval 755"/>
            <p:cNvSpPr>
              <a:spLocks noChangeAspect="1" noChangeArrowheads="1"/>
            </p:cNvSpPr>
            <p:nvPr userDrawn="1"/>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94" name="Oval 756"/>
            <p:cNvSpPr>
              <a:spLocks noChangeAspect="1" noChangeArrowheads="1"/>
            </p:cNvSpPr>
            <p:nvPr userDrawn="1"/>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95" name="Oval 757"/>
            <p:cNvSpPr>
              <a:spLocks noChangeAspect="1" noChangeArrowheads="1"/>
            </p:cNvSpPr>
            <p:nvPr userDrawn="1"/>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96" name="Oval 758"/>
            <p:cNvSpPr>
              <a:spLocks noChangeAspect="1" noChangeArrowheads="1"/>
            </p:cNvSpPr>
            <p:nvPr userDrawn="1"/>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97" name="Oval 759"/>
            <p:cNvSpPr>
              <a:spLocks noChangeAspect="1" noChangeArrowheads="1"/>
            </p:cNvSpPr>
            <p:nvPr userDrawn="1"/>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98" name="Oval 760"/>
            <p:cNvSpPr>
              <a:spLocks noChangeAspect="1" noChangeArrowheads="1"/>
            </p:cNvSpPr>
            <p:nvPr userDrawn="1"/>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799" name="Oval 761"/>
            <p:cNvSpPr>
              <a:spLocks noChangeAspect="1" noChangeArrowheads="1"/>
            </p:cNvSpPr>
            <p:nvPr userDrawn="1"/>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00" name="Oval 762"/>
            <p:cNvSpPr>
              <a:spLocks noChangeAspect="1" noChangeArrowheads="1"/>
            </p:cNvSpPr>
            <p:nvPr userDrawn="1"/>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01" name="Oval 763"/>
            <p:cNvSpPr>
              <a:spLocks noChangeAspect="1" noChangeArrowheads="1"/>
            </p:cNvSpPr>
            <p:nvPr userDrawn="1"/>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02" name="Oval 764"/>
            <p:cNvSpPr>
              <a:spLocks noChangeAspect="1" noChangeArrowheads="1"/>
            </p:cNvSpPr>
            <p:nvPr userDrawn="1"/>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03" name="Oval 765"/>
            <p:cNvSpPr>
              <a:spLocks noChangeAspect="1" noChangeArrowheads="1"/>
            </p:cNvSpPr>
            <p:nvPr userDrawn="1"/>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04" name="Oval 766"/>
            <p:cNvSpPr>
              <a:spLocks noChangeAspect="1" noChangeArrowheads="1"/>
            </p:cNvSpPr>
            <p:nvPr userDrawn="1"/>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05" name="Oval 767"/>
            <p:cNvSpPr>
              <a:spLocks noChangeAspect="1" noChangeArrowheads="1"/>
            </p:cNvSpPr>
            <p:nvPr userDrawn="1"/>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06" name="Oval 768"/>
            <p:cNvSpPr>
              <a:spLocks noChangeAspect="1" noChangeArrowheads="1"/>
            </p:cNvSpPr>
            <p:nvPr userDrawn="1"/>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07" name="Oval 769"/>
            <p:cNvSpPr>
              <a:spLocks noChangeAspect="1" noChangeArrowheads="1"/>
            </p:cNvSpPr>
            <p:nvPr userDrawn="1"/>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08" name="Oval 770"/>
            <p:cNvSpPr>
              <a:spLocks noChangeAspect="1" noChangeArrowheads="1"/>
            </p:cNvSpPr>
            <p:nvPr userDrawn="1"/>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09" name="Oval 771"/>
            <p:cNvSpPr>
              <a:spLocks noChangeAspect="1" noChangeArrowheads="1"/>
            </p:cNvSpPr>
            <p:nvPr userDrawn="1"/>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10" name="Oval 772"/>
            <p:cNvSpPr>
              <a:spLocks noChangeAspect="1" noChangeArrowheads="1"/>
            </p:cNvSpPr>
            <p:nvPr userDrawn="1"/>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11" name="Oval 773"/>
            <p:cNvSpPr>
              <a:spLocks noChangeAspect="1" noChangeArrowheads="1"/>
            </p:cNvSpPr>
            <p:nvPr userDrawn="1"/>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12" name="Oval 774"/>
            <p:cNvSpPr>
              <a:spLocks noChangeAspect="1" noChangeArrowheads="1"/>
            </p:cNvSpPr>
            <p:nvPr userDrawn="1"/>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13" name="Oval 775"/>
            <p:cNvSpPr>
              <a:spLocks noChangeAspect="1" noChangeArrowheads="1"/>
            </p:cNvSpPr>
            <p:nvPr userDrawn="1"/>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14" name="Oval 776"/>
            <p:cNvSpPr>
              <a:spLocks noChangeAspect="1" noChangeArrowheads="1"/>
            </p:cNvSpPr>
            <p:nvPr userDrawn="1"/>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15" name="Oval 777"/>
            <p:cNvSpPr>
              <a:spLocks noChangeAspect="1" noChangeArrowheads="1"/>
            </p:cNvSpPr>
            <p:nvPr userDrawn="1"/>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16" name="Oval 778"/>
            <p:cNvSpPr>
              <a:spLocks noChangeAspect="1" noChangeArrowheads="1"/>
            </p:cNvSpPr>
            <p:nvPr userDrawn="1"/>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17" name="Oval 779"/>
            <p:cNvSpPr>
              <a:spLocks noChangeAspect="1" noChangeArrowheads="1"/>
            </p:cNvSpPr>
            <p:nvPr userDrawn="1"/>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18" name="Oval 780"/>
            <p:cNvSpPr>
              <a:spLocks noChangeAspect="1" noChangeArrowheads="1"/>
            </p:cNvSpPr>
            <p:nvPr userDrawn="1"/>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19" name="Oval 781"/>
            <p:cNvSpPr>
              <a:spLocks noChangeAspect="1" noChangeArrowheads="1"/>
            </p:cNvSpPr>
            <p:nvPr userDrawn="1"/>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20" name="Oval 782"/>
            <p:cNvSpPr>
              <a:spLocks noChangeAspect="1" noChangeArrowheads="1"/>
            </p:cNvSpPr>
            <p:nvPr userDrawn="1"/>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21" name="Oval 783"/>
            <p:cNvSpPr>
              <a:spLocks noChangeAspect="1" noChangeArrowheads="1"/>
            </p:cNvSpPr>
            <p:nvPr userDrawn="1"/>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22" name="Oval 784"/>
            <p:cNvSpPr>
              <a:spLocks noChangeAspect="1" noChangeArrowheads="1"/>
            </p:cNvSpPr>
            <p:nvPr userDrawn="1"/>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23" name="Oval 785"/>
            <p:cNvSpPr>
              <a:spLocks noChangeAspect="1" noChangeArrowheads="1"/>
            </p:cNvSpPr>
            <p:nvPr userDrawn="1"/>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24" name="Oval 786"/>
            <p:cNvSpPr>
              <a:spLocks noChangeAspect="1" noChangeArrowheads="1"/>
            </p:cNvSpPr>
            <p:nvPr userDrawn="1"/>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25" name="Oval 787"/>
            <p:cNvSpPr>
              <a:spLocks noChangeAspect="1" noChangeArrowheads="1"/>
            </p:cNvSpPr>
            <p:nvPr userDrawn="1"/>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26" name="Oval 788"/>
            <p:cNvSpPr>
              <a:spLocks noChangeAspect="1" noChangeArrowheads="1"/>
            </p:cNvSpPr>
            <p:nvPr userDrawn="1"/>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27" name="Oval 789"/>
            <p:cNvSpPr>
              <a:spLocks noChangeAspect="1" noChangeArrowheads="1"/>
            </p:cNvSpPr>
            <p:nvPr userDrawn="1"/>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28" name="Oval 790"/>
            <p:cNvSpPr>
              <a:spLocks noChangeAspect="1" noChangeArrowheads="1"/>
            </p:cNvSpPr>
            <p:nvPr userDrawn="1"/>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29" name="Oval 791"/>
            <p:cNvSpPr>
              <a:spLocks noChangeAspect="1" noChangeArrowheads="1"/>
            </p:cNvSpPr>
            <p:nvPr userDrawn="1"/>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30" name="Oval 792"/>
            <p:cNvSpPr>
              <a:spLocks noChangeAspect="1" noChangeArrowheads="1"/>
            </p:cNvSpPr>
            <p:nvPr userDrawn="1"/>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31" name="Oval 793"/>
            <p:cNvSpPr>
              <a:spLocks noChangeAspect="1" noChangeArrowheads="1"/>
            </p:cNvSpPr>
            <p:nvPr userDrawn="1"/>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32" name="Oval 794"/>
            <p:cNvSpPr>
              <a:spLocks noChangeAspect="1" noChangeArrowheads="1"/>
            </p:cNvSpPr>
            <p:nvPr userDrawn="1"/>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33" name="Oval 795"/>
            <p:cNvSpPr>
              <a:spLocks noChangeAspect="1" noChangeArrowheads="1"/>
            </p:cNvSpPr>
            <p:nvPr userDrawn="1"/>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34" name="Oval 796"/>
            <p:cNvSpPr>
              <a:spLocks noChangeAspect="1" noChangeArrowheads="1"/>
            </p:cNvSpPr>
            <p:nvPr userDrawn="1"/>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35" name="Oval 797"/>
            <p:cNvSpPr>
              <a:spLocks noChangeAspect="1" noChangeArrowheads="1"/>
            </p:cNvSpPr>
            <p:nvPr userDrawn="1"/>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36" name="Oval 798"/>
            <p:cNvSpPr>
              <a:spLocks noChangeAspect="1" noChangeArrowheads="1"/>
            </p:cNvSpPr>
            <p:nvPr userDrawn="1"/>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37" name="Oval 799"/>
            <p:cNvSpPr>
              <a:spLocks noChangeAspect="1" noChangeArrowheads="1"/>
            </p:cNvSpPr>
            <p:nvPr userDrawn="1"/>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38" name="Oval 800"/>
            <p:cNvSpPr>
              <a:spLocks noChangeAspect="1" noChangeArrowheads="1"/>
            </p:cNvSpPr>
            <p:nvPr userDrawn="1"/>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39" name="Oval 801"/>
            <p:cNvSpPr>
              <a:spLocks noChangeAspect="1" noChangeArrowheads="1"/>
            </p:cNvSpPr>
            <p:nvPr userDrawn="1"/>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40" name="Oval 802"/>
            <p:cNvSpPr>
              <a:spLocks noChangeAspect="1" noChangeArrowheads="1"/>
            </p:cNvSpPr>
            <p:nvPr userDrawn="1"/>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41" name="Oval 803"/>
            <p:cNvSpPr>
              <a:spLocks noChangeAspect="1" noChangeArrowheads="1"/>
            </p:cNvSpPr>
            <p:nvPr userDrawn="1"/>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42" name="Oval 804"/>
            <p:cNvSpPr>
              <a:spLocks noChangeAspect="1" noChangeArrowheads="1"/>
            </p:cNvSpPr>
            <p:nvPr userDrawn="1"/>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43" name="Oval 805"/>
            <p:cNvSpPr>
              <a:spLocks noChangeAspect="1" noChangeArrowheads="1"/>
            </p:cNvSpPr>
            <p:nvPr userDrawn="1"/>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44" name="Oval 806"/>
            <p:cNvSpPr>
              <a:spLocks noChangeAspect="1" noChangeArrowheads="1"/>
            </p:cNvSpPr>
            <p:nvPr userDrawn="1"/>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45" name="Oval 807"/>
            <p:cNvSpPr>
              <a:spLocks noChangeAspect="1" noChangeArrowheads="1"/>
            </p:cNvSpPr>
            <p:nvPr userDrawn="1"/>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46" name="Oval 808"/>
            <p:cNvSpPr>
              <a:spLocks noChangeAspect="1" noChangeArrowheads="1"/>
            </p:cNvSpPr>
            <p:nvPr userDrawn="1"/>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47" name="Oval 809"/>
            <p:cNvSpPr>
              <a:spLocks noChangeAspect="1" noChangeArrowheads="1"/>
            </p:cNvSpPr>
            <p:nvPr userDrawn="1"/>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48" name="Oval 810"/>
            <p:cNvSpPr>
              <a:spLocks noChangeAspect="1" noChangeArrowheads="1"/>
            </p:cNvSpPr>
            <p:nvPr userDrawn="1"/>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49" name="Oval 811"/>
            <p:cNvSpPr>
              <a:spLocks noChangeAspect="1" noChangeArrowheads="1"/>
            </p:cNvSpPr>
            <p:nvPr userDrawn="1"/>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50" name="Oval 812"/>
            <p:cNvSpPr>
              <a:spLocks noChangeAspect="1" noChangeArrowheads="1"/>
            </p:cNvSpPr>
            <p:nvPr userDrawn="1"/>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51" name="Oval 813"/>
            <p:cNvSpPr>
              <a:spLocks noChangeAspect="1" noChangeArrowheads="1"/>
            </p:cNvSpPr>
            <p:nvPr userDrawn="1"/>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52" name="Oval 814"/>
            <p:cNvSpPr>
              <a:spLocks noChangeAspect="1" noChangeArrowheads="1"/>
            </p:cNvSpPr>
            <p:nvPr userDrawn="1"/>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53" name="Oval 815"/>
            <p:cNvSpPr>
              <a:spLocks noChangeAspect="1" noChangeArrowheads="1"/>
            </p:cNvSpPr>
            <p:nvPr userDrawn="1"/>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54" name="Oval 816"/>
            <p:cNvSpPr>
              <a:spLocks noChangeAspect="1" noChangeArrowheads="1"/>
            </p:cNvSpPr>
            <p:nvPr userDrawn="1"/>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55" name="Oval 817"/>
            <p:cNvSpPr>
              <a:spLocks noChangeAspect="1" noChangeArrowheads="1"/>
            </p:cNvSpPr>
            <p:nvPr userDrawn="1"/>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56" name="Oval 818"/>
            <p:cNvSpPr>
              <a:spLocks noChangeAspect="1" noChangeArrowheads="1"/>
            </p:cNvSpPr>
            <p:nvPr userDrawn="1"/>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57" name="Oval 819"/>
            <p:cNvSpPr>
              <a:spLocks noChangeAspect="1" noChangeArrowheads="1"/>
            </p:cNvSpPr>
            <p:nvPr userDrawn="1"/>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58" name="Oval 820"/>
            <p:cNvSpPr>
              <a:spLocks noChangeAspect="1" noChangeArrowheads="1"/>
            </p:cNvSpPr>
            <p:nvPr userDrawn="1"/>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59" name="Oval 821"/>
            <p:cNvSpPr>
              <a:spLocks noChangeAspect="1" noChangeArrowheads="1"/>
            </p:cNvSpPr>
            <p:nvPr userDrawn="1"/>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60" name="Oval 822"/>
            <p:cNvSpPr>
              <a:spLocks noChangeAspect="1" noChangeArrowheads="1"/>
            </p:cNvSpPr>
            <p:nvPr userDrawn="1"/>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61" name="Oval 823"/>
            <p:cNvSpPr>
              <a:spLocks noChangeAspect="1" noChangeArrowheads="1"/>
            </p:cNvSpPr>
            <p:nvPr userDrawn="1"/>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62" name="Oval 824"/>
            <p:cNvSpPr>
              <a:spLocks noChangeAspect="1" noChangeArrowheads="1"/>
            </p:cNvSpPr>
            <p:nvPr userDrawn="1"/>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63" name="Oval 825"/>
            <p:cNvSpPr>
              <a:spLocks noChangeAspect="1" noChangeArrowheads="1"/>
            </p:cNvSpPr>
            <p:nvPr userDrawn="1"/>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64" name="Oval 826"/>
            <p:cNvSpPr>
              <a:spLocks noChangeAspect="1" noChangeArrowheads="1"/>
            </p:cNvSpPr>
            <p:nvPr userDrawn="1"/>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65" name="Oval 827"/>
            <p:cNvSpPr>
              <a:spLocks noChangeAspect="1" noChangeArrowheads="1"/>
            </p:cNvSpPr>
            <p:nvPr userDrawn="1"/>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66" name="Oval 828"/>
            <p:cNvSpPr>
              <a:spLocks noChangeAspect="1" noChangeArrowheads="1"/>
            </p:cNvSpPr>
            <p:nvPr userDrawn="1"/>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67" name="Oval 829"/>
            <p:cNvSpPr>
              <a:spLocks noChangeAspect="1" noChangeArrowheads="1"/>
            </p:cNvSpPr>
            <p:nvPr userDrawn="1"/>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68" name="Oval 830"/>
            <p:cNvSpPr>
              <a:spLocks noChangeAspect="1" noChangeArrowheads="1"/>
            </p:cNvSpPr>
            <p:nvPr userDrawn="1"/>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69" name="Oval 831"/>
            <p:cNvSpPr>
              <a:spLocks noChangeAspect="1" noChangeArrowheads="1"/>
            </p:cNvSpPr>
            <p:nvPr userDrawn="1"/>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70" name="Oval 832"/>
            <p:cNvSpPr>
              <a:spLocks noChangeAspect="1" noChangeArrowheads="1"/>
            </p:cNvSpPr>
            <p:nvPr userDrawn="1"/>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71" name="Oval 833"/>
            <p:cNvSpPr>
              <a:spLocks noChangeAspect="1" noChangeArrowheads="1"/>
            </p:cNvSpPr>
            <p:nvPr userDrawn="1"/>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72" name="Oval 834"/>
            <p:cNvSpPr>
              <a:spLocks noChangeAspect="1" noChangeArrowheads="1"/>
            </p:cNvSpPr>
            <p:nvPr userDrawn="1"/>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73" name="Oval 835"/>
            <p:cNvSpPr>
              <a:spLocks noChangeAspect="1" noChangeArrowheads="1"/>
            </p:cNvSpPr>
            <p:nvPr userDrawn="1"/>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74" name="Oval 836"/>
            <p:cNvSpPr>
              <a:spLocks noChangeAspect="1" noChangeArrowheads="1"/>
            </p:cNvSpPr>
            <p:nvPr userDrawn="1"/>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75" name="Oval 837"/>
            <p:cNvSpPr>
              <a:spLocks noChangeAspect="1" noChangeArrowheads="1"/>
            </p:cNvSpPr>
            <p:nvPr userDrawn="1"/>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76" name="Oval 838"/>
            <p:cNvSpPr>
              <a:spLocks noChangeAspect="1" noChangeArrowheads="1"/>
            </p:cNvSpPr>
            <p:nvPr userDrawn="1"/>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77" name="Oval 839"/>
            <p:cNvSpPr>
              <a:spLocks noChangeAspect="1" noChangeArrowheads="1"/>
            </p:cNvSpPr>
            <p:nvPr userDrawn="1"/>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78" name="Oval 840"/>
            <p:cNvSpPr>
              <a:spLocks noChangeAspect="1" noChangeArrowheads="1"/>
            </p:cNvSpPr>
            <p:nvPr userDrawn="1"/>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79" name="Oval 841"/>
            <p:cNvSpPr>
              <a:spLocks noChangeAspect="1" noChangeArrowheads="1"/>
            </p:cNvSpPr>
            <p:nvPr userDrawn="1"/>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80" name="Oval 842"/>
            <p:cNvSpPr>
              <a:spLocks noChangeAspect="1" noChangeArrowheads="1"/>
            </p:cNvSpPr>
            <p:nvPr userDrawn="1"/>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81" name="Oval 843"/>
            <p:cNvSpPr>
              <a:spLocks noChangeAspect="1" noChangeArrowheads="1"/>
            </p:cNvSpPr>
            <p:nvPr userDrawn="1"/>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82" name="Oval 844"/>
            <p:cNvSpPr>
              <a:spLocks noChangeAspect="1" noChangeArrowheads="1"/>
            </p:cNvSpPr>
            <p:nvPr userDrawn="1"/>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83" name="Oval 845"/>
            <p:cNvSpPr>
              <a:spLocks noChangeAspect="1" noChangeArrowheads="1"/>
            </p:cNvSpPr>
            <p:nvPr userDrawn="1"/>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84" name="Oval 846"/>
            <p:cNvSpPr>
              <a:spLocks noChangeAspect="1" noChangeArrowheads="1"/>
            </p:cNvSpPr>
            <p:nvPr userDrawn="1"/>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85" name="Oval 847"/>
            <p:cNvSpPr>
              <a:spLocks noChangeAspect="1" noChangeArrowheads="1"/>
            </p:cNvSpPr>
            <p:nvPr userDrawn="1"/>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86" name="Oval 848"/>
            <p:cNvSpPr>
              <a:spLocks noChangeAspect="1" noChangeArrowheads="1"/>
            </p:cNvSpPr>
            <p:nvPr userDrawn="1"/>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87" name="Oval 849"/>
            <p:cNvSpPr>
              <a:spLocks noChangeAspect="1" noChangeArrowheads="1"/>
            </p:cNvSpPr>
            <p:nvPr userDrawn="1"/>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88" name="Oval 850"/>
            <p:cNvSpPr>
              <a:spLocks noChangeAspect="1" noChangeArrowheads="1"/>
            </p:cNvSpPr>
            <p:nvPr userDrawn="1"/>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89" name="Oval 851"/>
            <p:cNvSpPr>
              <a:spLocks noChangeAspect="1" noChangeArrowheads="1"/>
            </p:cNvSpPr>
            <p:nvPr userDrawn="1"/>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90" name="Oval 852"/>
            <p:cNvSpPr>
              <a:spLocks noChangeAspect="1" noChangeArrowheads="1"/>
            </p:cNvSpPr>
            <p:nvPr userDrawn="1"/>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91" name="Oval 853"/>
            <p:cNvSpPr>
              <a:spLocks noChangeAspect="1" noChangeArrowheads="1"/>
            </p:cNvSpPr>
            <p:nvPr userDrawn="1"/>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92" name="Oval 854"/>
            <p:cNvSpPr>
              <a:spLocks noChangeAspect="1" noChangeArrowheads="1"/>
            </p:cNvSpPr>
            <p:nvPr userDrawn="1"/>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93" name="Oval 855"/>
            <p:cNvSpPr>
              <a:spLocks noChangeAspect="1" noChangeArrowheads="1"/>
            </p:cNvSpPr>
            <p:nvPr userDrawn="1"/>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94" name="Oval 856"/>
            <p:cNvSpPr>
              <a:spLocks noChangeAspect="1" noChangeArrowheads="1"/>
            </p:cNvSpPr>
            <p:nvPr userDrawn="1"/>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95" name="Oval 857"/>
            <p:cNvSpPr>
              <a:spLocks noChangeAspect="1" noChangeArrowheads="1"/>
            </p:cNvSpPr>
            <p:nvPr userDrawn="1"/>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96" name="Oval 858"/>
            <p:cNvSpPr>
              <a:spLocks noChangeAspect="1" noChangeArrowheads="1"/>
            </p:cNvSpPr>
            <p:nvPr userDrawn="1"/>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97" name="Oval 859"/>
            <p:cNvSpPr>
              <a:spLocks noChangeAspect="1" noChangeArrowheads="1"/>
            </p:cNvSpPr>
            <p:nvPr userDrawn="1"/>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98" name="Oval 860"/>
            <p:cNvSpPr>
              <a:spLocks noChangeAspect="1" noChangeArrowheads="1"/>
            </p:cNvSpPr>
            <p:nvPr userDrawn="1"/>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899" name="Oval 861"/>
            <p:cNvSpPr>
              <a:spLocks noChangeAspect="1" noChangeArrowheads="1"/>
            </p:cNvSpPr>
            <p:nvPr userDrawn="1"/>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00" name="Oval 862"/>
            <p:cNvSpPr>
              <a:spLocks noChangeAspect="1" noChangeArrowheads="1"/>
            </p:cNvSpPr>
            <p:nvPr userDrawn="1"/>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01" name="Oval 863"/>
            <p:cNvSpPr>
              <a:spLocks noChangeAspect="1" noChangeArrowheads="1"/>
            </p:cNvSpPr>
            <p:nvPr userDrawn="1"/>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02" name="Oval 864"/>
            <p:cNvSpPr>
              <a:spLocks noChangeAspect="1" noChangeArrowheads="1"/>
            </p:cNvSpPr>
            <p:nvPr userDrawn="1"/>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03" name="Oval 865"/>
            <p:cNvSpPr>
              <a:spLocks noChangeAspect="1" noChangeArrowheads="1"/>
            </p:cNvSpPr>
            <p:nvPr userDrawn="1"/>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04" name="Oval 866"/>
            <p:cNvSpPr>
              <a:spLocks noChangeAspect="1" noChangeArrowheads="1"/>
            </p:cNvSpPr>
            <p:nvPr userDrawn="1"/>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05" name="Oval 867"/>
            <p:cNvSpPr>
              <a:spLocks noChangeAspect="1" noChangeArrowheads="1"/>
            </p:cNvSpPr>
            <p:nvPr userDrawn="1"/>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06" name="Oval 868"/>
            <p:cNvSpPr>
              <a:spLocks noChangeAspect="1" noChangeArrowheads="1"/>
            </p:cNvSpPr>
            <p:nvPr userDrawn="1"/>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07" name="Oval 869"/>
            <p:cNvSpPr>
              <a:spLocks noChangeAspect="1" noChangeArrowheads="1"/>
            </p:cNvSpPr>
            <p:nvPr userDrawn="1"/>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08" name="Oval 870"/>
            <p:cNvSpPr>
              <a:spLocks noChangeAspect="1" noChangeArrowheads="1"/>
            </p:cNvSpPr>
            <p:nvPr userDrawn="1"/>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09" name="Oval 871"/>
            <p:cNvSpPr>
              <a:spLocks noChangeAspect="1" noChangeArrowheads="1"/>
            </p:cNvSpPr>
            <p:nvPr userDrawn="1"/>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10" name="Oval 872"/>
            <p:cNvSpPr>
              <a:spLocks noChangeAspect="1" noChangeArrowheads="1"/>
            </p:cNvSpPr>
            <p:nvPr userDrawn="1"/>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11" name="Oval 873"/>
            <p:cNvSpPr>
              <a:spLocks noChangeAspect="1" noChangeArrowheads="1"/>
            </p:cNvSpPr>
            <p:nvPr userDrawn="1"/>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12" name="Oval 874"/>
            <p:cNvSpPr>
              <a:spLocks noChangeAspect="1" noChangeArrowheads="1"/>
            </p:cNvSpPr>
            <p:nvPr userDrawn="1"/>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13" name="Oval 875"/>
            <p:cNvSpPr>
              <a:spLocks noChangeAspect="1" noChangeArrowheads="1"/>
            </p:cNvSpPr>
            <p:nvPr userDrawn="1"/>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14" name="Oval 876"/>
            <p:cNvSpPr>
              <a:spLocks noChangeAspect="1" noChangeArrowheads="1"/>
            </p:cNvSpPr>
            <p:nvPr userDrawn="1"/>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15" name="Oval 877"/>
            <p:cNvSpPr>
              <a:spLocks noChangeAspect="1" noChangeArrowheads="1"/>
            </p:cNvSpPr>
            <p:nvPr userDrawn="1"/>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16" name="Oval 878"/>
            <p:cNvSpPr>
              <a:spLocks noChangeAspect="1" noChangeArrowheads="1"/>
            </p:cNvSpPr>
            <p:nvPr userDrawn="1"/>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17" name="Oval 879"/>
            <p:cNvSpPr>
              <a:spLocks noChangeAspect="1" noChangeArrowheads="1"/>
            </p:cNvSpPr>
            <p:nvPr userDrawn="1"/>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18" name="Oval 880"/>
            <p:cNvSpPr>
              <a:spLocks noChangeAspect="1" noChangeArrowheads="1"/>
            </p:cNvSpPr>
            <p:nvPr userDrawn="1"/>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19" name="Oval 881"/>
            <p:cNvSpPr>
              <a:spLocks noChangeAspect="1" noChangeArrowheads="1"/>
            </p:cNvSpPr>
            <p:nvPr userDrawn="1"/>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20" name="Oval 882"/>
            <p:cNvSpPr>
              <a:spLocks noChangeAspect="1" noChangeArrowheads="1"/>
            </p:cNvSpPr>
            <p:nvPr userDrawn="1"/>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21" name="Oval 883"/>
            <p:cNvSpPr>
              <a:spLocks noChangeAspect="1" noChangeArrowheads="1"/>
            </p:cNvSpPr>
            <p:nvPr userDrawn="1"/>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22" name="Oval 884"/>
            <p:cNvSpPr>
              <a:spLocks noChangeAspect="1" noChangeArrowheads="1"/>
            </p:cNvSpPr>
            <p:nvPr userDrawn="1"/>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23" name="Oval 885"/>
            <p:cNvSpPr>
              <a:spLocks noChangeAspect="1" noChangeArrowheads="1"/>
            </p:cNvSpPr>
            <p:nvPr userDrawn="1"/>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24" name="Oval 886"/>
            <p:cNvSpPr>
              <a:spLocks noChangeAspect="1" noChangeArrowheads="1"/>
            </p:cNvSpPr>
            <p:nvPr userDrawn="1"/>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25" name="Oval 887"/>
            <p:cNvSpPr>
              <a:spLocks noChangeAspect="1" noChangeArrowheads="1"/>
            </p:cNvSpPr>
            <p:nvPr userDrawn="1"/>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26" name="Oval 888"/>
            <p:cNvSpPr>
              <a:spLocks noChangeAspect="1" noChangeArrowheads="1"/>
            </p:cNvSpPr>
            <p:nvPr userDrawn="1"/>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27" name="Oval 889"/>
            <p:cNvSpPr>
              <a:spLocks noChangeAspect="1" noChangeArrowheads="1"/>
            </p:cNvSpPr>
            <p:nvPr userDrawn="1"/>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28" name="Oval 890"/>
            <p:cNvSpPr>
              <a:spLocks noChangeAspect="1" noChangeArrowheads="1"/>
            </p:cNvSpPr>
            <p:nvPr userDrawn="1"/>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29" name="Oval 891"/>
            <p:cNvSpPr>
              <a:spLocks noChangeAspect="1" noChangeArrowheads="1"/>
            </p:cNvSpPr>
            <p:nvPr userDrawn="1"/>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30" name="Oval 892"/>
            <p:cNvSpPr>
              <a:spLocks noChangeAspect="1" noChangeArrowheads="1"/>
            </p:cNvSpPr>
            <p:nvPr userDrawn="1"/>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31" name="Oval 893"/>
            <p:cNvSpPr>
              <a:spLocks noChangeAspect="1" noChangeArrowheads="1"/>
            </p:cNvSpPr>
            <p:nvPr userDrawn="1"/>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32" name="Oval 894"/>
            <p:cNvSpPr>
              <a:spLocks noChangeAspect="1" noChangeArrowheads="1"/>
            </p:cNvSpPr>
            <p:nvPr userDrawn="1"/>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33" name="Oval 895"/>
            <p:cNvSpPr>
              <a:spLocks noChangeAspect="1" noChangeArrowheads="1"/>
            </p:cNvSpPr>
            <p:nvPr userDrawn="1"/>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34" name="Oval 896"/>
            <p:cNvSpPr>
              <a:spLocks noChangeAspect="1" noChangeArrowheads="1"/>
            </p:cNvSpPr>
            <p:nvPr userDrawn="1"/>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35" name="Oval 897"/>
            <p:cNvSpPr>
              <a:spLocks noChangeAspect="1" noChangeArrowheads="1"/>
            </p:cNvSpPr>
            <p:nvPr userDrawn="1"/>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36" name="Oval 898"/>
            <p:cNvSpPr>
              <a:spLocks noChangeAspect="1" noChangeArrowheads="1"/>
            </p:cNvSpPr>
            <p:nvPr userDrawn="1"/>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37" name="Oval 899"/>
            <p:cNvSpPr>
              <a:spLocks noChangeAspect="1" noChangeArrowheads="1"/>
            </p:cNvSpPr>
            <p:nvPr userDrawn="1"/>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38" name="Oval 900"/>
            <p:cNvSpPr>
              <a:spLocks noChangeAspect="1" noChangeArrowheads="1"/>
            </p:cNvSpPr>
            <p:nvPr userDrawn="1"/>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39" name="Oval 901"/>
            <p:cNvSpPr>
              <a:spLocks noChangeAspect="1" noChangeArrowheads="1"/>
            </p:cNvSpPr>
            <p:nvPr userDrawn="1"/>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40" name="Oval 902"/>
            <p:cNvSpPr>
              <a:spLocks noChangeAspect="1" noChangeArrowheads="1"/>
            </p:cNvSpPr>
            <p:nvPr userDrawn="1"/>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41" name="Oval 903"/>
            <p:cNvSpPr>
              <a:spLocks noChangeAspect="1" noChangeArrowheads="1"/>
            </p:cNvSpPr>
            <p:nvPr userDrawn="1"/>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42" name="Oval 904"/>
            <p:cNvSpPr>
              <a:spLocks noChangeAspect="1" noChangeArrowheads="1"/>
            </p:cNvSpPr>
            <p:nvPr userDrawn="1"/>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43" name="Oval 905"/>
            <p:cNvSpPr>
              <a:spLocks noChangeAspect="1" noChangeArrowheads="1"/>
            </p:cNvSpPr>
            <p:nvPr userDrawn="1"/>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44" name="Oval 906"/>
            <p:cNvSpPr>
              <a:spLocks noChangeAspect="1" noChangeArrowheads="1"/>
            </p:cNvSpPr>
            <p:nvPr userDrawn="1"/>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45" name="Oval 907"/>
            <p:cNvSpPr>
              <a:spLocks noChangeAspect="1" noChangeArrowheads="1"/>
            </p:cNvSpPr>
            <p:nvPr userDrawn="1"/>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46" name="Oval 908"/>
            <p:cNvSpPr>
              <a:spLocks noChangeAspect="1" noChangeArrowheads="1"/>
            </p:cNvSpPr>
            <p:nvPr userDrawn="1"/>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47" name="Oval 909"/>
            <p:cNvSpPr>
              <a:spLocks noChangeAspect="1" noChangeArrowheads="1"/>
            </p:cNvSpPr>
            <p:nvPr userDrawn="1"/>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48" name="Oval 910"/>
            <p:cNvSpPr>
              <a:spLocks noChangeAspect="1" noChangeArrowheads="1"/>
            </p:cNvSpPr>
            <p:nvPr userDrawn="1"/>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49" name="Oval 911"/>
            <p:cNvSpPr>
              <a:spLocks noChangeAspect="1" noChangeArrowheads="1"/>
            </p:cNvSpPr>
            <p:nvPr userDrawn="1"/>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50" name="Oval 912"/>
            <p:cNvSpPr>
              <a:spLocks noChangeAspect="1" noChangeArrowheads="1"/>
            </p:cNvSpPr>
            <p:nvPr userDrawn="1"/>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51" name="Oval 913"/>
            <p:cNvSpPr>
              <a:spLocks noChangeAspect="1" noChangeArrowheads="1"/>
            </p:cNvSpPr>
            <p:nvPr userDrawn="1"/>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52" name="Oval 914"/>
            <p:cNvSpPr>
              <a:spLocks noChangeAspect="1" noChangeArrowheads="1"/>
            </p:cNvSpPr>
            <p:nvPr userDrawn="1"/>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53" name="Oval 915"/>
            <p:cNvSpPr>
              <a:spLocks noChangeAspect="1" noChangeArrowheads="1"/>
            </p:cNvSpPr>
            <p:nvPr userDrawn="1"/>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54" name="Oval 916"/>
            <p:cNvSpPr>
              <a:spLocks noChangeAspect="1" noChangeArrowheads="1"/>
            </p:cNvSpPr>
            <p:nvPr userDrawn="1"/>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55" name="Oval 917"/>
            <p:cNvSpPr>
              <a:spLocks noChangeAspect="1" noChangeArrowheads="1"/>
            </p:cNvSpPr>
            <p:nvPr userDrawn="1"/>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56" name="Oval 918"/>
            <p:cNvSpPr>
              <a:spLocks noChangeAspect="1" noChangeArrowheads="1"/>
            </p:cNvSpPr>
            <p:nvPr userDrawn="1"/>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57" name="Oval 919"/>
            <p:cNvSpPr>
              <a:spLocks noChangeAspect="1" noChangeArrowheads="1"/>
            </p:cNvSpPr>
            <p:nvPr userDrawn="1"/>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58" name="Oval 920"/>
            <p:cNvSpPr>
              <a:spLocks noChangeAspect="1" noChangeArrowheads="1"/>
            </p:cNvSpPr>
            <p:nvPr userDrawn="1"/>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59" name="Oval 921"/>
            <p:cNvSpPr>
              <a:spLocks noChangeAspect="1" noChangeArrowheads="1"/>
            </p:cNvSpPr>
            <p:nvPr userDrawn="1"/>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60" name="Oval 922"/>
            <p:cNvSpPr>
              <a:spLocks noChangeAspect="1" noChangeArrowheads="1"/>
            </p:cNvSpPr>
            <p:nvPr userDrawn="1"/>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61" name="Oval 923"/>
            <p:cNvSpPr>
              <a:spLocks noChangeAspect="1" noChangeArrowheads="1"/>
            </p:cNvSpPr>
            <p:nvPr userDrawn="1"/>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62" name="Oval 924"/>
            <p:cNvSpPr>
              <a:spLocks noChangeAspect="1" noChangeArrowheads="1"/>
            </p:cNvSpPr>
            <p:nvPr userDrawn="1"/>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63" name="Oval 925"/>
            <p:cNvSpPr>
              <a:spLocks noChangeAspect="1" noChangeArrowheads="1"/>
            </p:cNvSpPr>
            <p:nvPr userDrawn="1"/>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64" name="Oval 926"/>
            <p:cNvSpPr>
              <a:spLocks noChangeAspect="1" noChangeArrowheads="1"/>
            </p:cNvSpPr>
            <p:nvPr userDrawn="1"/>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65" name="Oval 927"/>
            <p:cNvSpPr>
              <a:spLocks noChangeAspect="1" noChangeArrowheads="1"/>
            </p:cNvSpPr>
            <p:nvPr userDrawn="1"/>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66" name="Oval 928"/>
            <p:cNvSpPr>
              <a:spLocks noChangeAspect="1" noChangeArrowheads="1"/>
            </p:cNvSpPr>
            <p:nvPr userDrawn="1"/>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67" name="Oval 929"/>
            <p:cNvSpPr>
              <a:spLocks noChangeAspect="1" noChangeArrowheads="1"/>
            </p:cNvSpPr>
            <p:nvPr userDrawn="1"/>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68" name="Oval 930"/>
            <p:cNvSpPr>
              <a:spLocks noChangeAspect="1" noChangeArrowheads="1"/>
            </p:cNvSpPr>
            <p:nvPr userDrawn="1"/>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69" name="Oval 931"/>
            <p:cNvSpPr>
              <a:spLocks noChangeAspect="1" noChangeArrowheads="1"/>
            </p:cNvSpPr>
            <p:nvPr userDrawn="1"/>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70" name="Oval 932"/>
            <p:cNvSpPr>
              <a:spLocks noChangeAspect="1" noChangeArrowheads="1"/>
            </p:cNvSpPr>
            <p:nvPr userDrawn="1"/>
          </p:nvSpPr>
          <p:spPr bwMode="auto">
            <a:xfrm>
              <a:off x="7248250" y="3526510"/>
              <a:ext cx="85943" cy="85944"/>
            </a:xfrm>
            <a:prstGeom prst="ellipse">
              <a:avLst/>
            </a:prstGeom>
            <a:grpFill/>
            <a:ln>
              <a:noFill/>
            </a:ln>
            <a:effectLst/>
          </p:spPr>
          <p:txBody>
            <a:bodyPr wrap="none" anchor="ctr"/>
            <a:lstStyle/>
            <a:p>
              <a:pPr defTabSz="914362"/>
              <a:endParaRPr lang="en-US" sz="1800">
                <a:solidFill>
                  <a:srgbClr val="292929"/>
                </a:solidFill>
              </a:endParaRPr>
            </a:p>
          </p:txBody>
        </p:sp>
        <p:sp>
          <p:nvSpPr>
            <p:cNvPr id="971" name="Oval 933"/>
            <p:cNvSpPr>
              <a:spLocks noChangeAspect="1" noChangeArrowheads="1"/>
            </p:cNvSpPr>
            <p:nvPr userDrawn="1"/>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72" name="Oval 934"/>
            <p:cNvSpPr>
              <a:spLocks noChangeAspect="1" noChangeArrowheads="1"/>
            </p:cNvSpPr>
            <p:nvPr userDrawn="1"/>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73" name="Oval 935"/>
            <p:cNvSpPr>
              <a:spLocks noChangeAspect="1" noChangeArrowheads="1"/>
            </p:cNvSpPr>
            <p:nvPr userDrawn="1"/>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74" name="Oval 936"/>
            <p:cNvSpPr>
              <a:spLocks noChangeAspect="1" noChangeArrowheads="1"/>
            </p:cNvSpPr>
            <p:nvPr userDrawn="1"/>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75" name="Oval 937"/>
            <p:cNvSpPr>
              <a:spLocks noChangeAspect="1" noChangeArrowheads="1"/>
            </p:cNvSpPr>
            <p:nvPr userDrawn="1"/>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76" name="Oval 938"/>
            <p:cNvSpPr>
              <a:spLocks noChangeAspect="1" noChangeArrowheads="1"/>
            </p:cNvSpPr>
            <p:nvPr userDrawn="1"/>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77" name="Oval 939"/>
            <p:cNvSpPr>
              <a:spLocks noChangeAspect="1" noChangeArrowheads="1"/>
            </p:cNvSpPr>
            <p:nvPr userDrawn="1"/>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78" name="Oval 940"/>
            <p:cNvSpPr>
              <a:spLocks noChangeAspect="1" noChangeArrowheads="1"/>
            </p:cNvSpPr>
            <p:nvPr userDrawn="1"/>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79" name="Oval 941"/>
            <p:cNvSpPr>
              <a:spLocks noChangeAspect="1" noChangeArrowheads="1"/>
            </p:cNvSpPr>
            <p:nvPr userDrawn="1"/>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80" name="Oval 942"/>
            <p:cNvSpPr>
              <a:spLocks noChangeAspect="1" noChangeArrowheads="1"/>
            </p:cNvSpPr>
            <p:nvPr userDrawn="1"/>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81" name="Oval 943"/>
            <p:cNvSpPr>
              <a:spLocks noChangeAspect="1" noChangeArrowheads="1"/>
            </p:cNvSpPr>
            <p:nvPr userDrawn="1"/>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82" name="Oval 944"/>
            <p:cNvSpPr>
              <a:spLocks noChangeAspect="1" noChangeArrowheads="1"/>
            </p:cNvSpPr>
            <p:nvPr userDrawn="1"/>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83" name="Oval 945"/>
            <p:cNvSpPr>
              <a:spLocks noChangeAspect="1" noChangeArrowheads="1"/>
            </p:cNvSpPr>
            <p:nvPr userDrawn="1"/>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84" name="Oval 946"/>
            <p:cNvSpPr>
              <a:spLocks noChangeAspect="1" noChangeArrowheads="1"/>
            </p:cNvSpPr>
            <p:nvPr userDrawn="1"/>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85" name="Oval 947"/>
            <p:cNvSpPr>
              <a:spLocks noChangeAspect="1" noChangeArrowheads="1"/>
            </p:cNvSpPr>
            <p:nvPr userDrawn="1"/>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86" name="Oval 948"/>
            <p:cNvSpPr>
              <a:spLocks noChangeAspect="1" noChangeArrowheads="1"/>
            </p:cNvSpPr>
            <p:nvPr userDrawn="1"/>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87" name="Oval 949"/>
            <p:cNvSpPr>
              <a:spLocks noChangeAspect="1" noChangeArrowheads="1"/>
            </p:cNvSpPr>
            <p:nvPr userDrawn="1"/>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88" name="Oval 950"/>
            <p:cNvSpPr>
              <a:spLocks noChangeAspect="1" noChangeArrowheads="1"/>
            </p:cNvSpPr>
            <p:nvPr userDrawn="1"/>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89" name="Oval 951"/>
            <p:cNvSpPr>
              <a:spLocks noChangeAspect="1" noChangeArrowheads="1"/>
            </p:cNvSpPr>
            <p:nvPr userDrawn="1"/>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90" name="Oval 952"/>
            <p:cNvSpPr>
              <a:spLocks noChangeAspect="1" noChangeArrowheads="1"/>
            </p:cNvSpPr>
            <p:nvPr userDrawn="1"/>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91" name="Oval 953"/>
            <p:cNvSpPr>
              <a:spLocks noChangeAspect="1" noChangeArrowheads="1"/>
            </p:cNvSpPr>
            <p:nvPr userDrawn="1"/>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92" name="Oval 954"/>
            <p:cNvSpPr>
              <a:spLocks noChangeAspect="1" noChangeArrowheads="1"/>
            </p:cNvSpPr>
            <p:nvPr userDrawn="1"/>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93" name="Oval 955"/>
            <p:cNvSpPr>
              <a:spLocks noChangeAspect="1" noChangeArrowheads="1"/>
            </p:cNvSpPr>
            <p:nvPr userDrawn="1"/>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94" name="Oval 956"/>
            <p:cNvSpPr>
              <a:spLocks noChangeAspect="1" noChangeArrowheads="1"/>
            </p:cNvSpPr>
            <p:nvPr userDrawn="1"/>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95" name="Oval 957"/>
            <p:cNvSpPr>
              <a:spLocks noChangeAspect="1" noChangeArrowheads="1"/>
            </p:cNvSpPr>
            <p:nvPr userDrawn="1"/>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96" name="Oval 958"/>
            <p:cNvSpPr>
              <a:spLocks noChangeAspect="1" noChangeArrowheads="1"/>
            </p:cNvSpPr>
            <p:nvPr userDrawn="1"/>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97" name="Oval 959"/>
            <p:cNvSpPr>
              <a:spLocks noChangeAspect="1" noChangeArrowheads="1"/>
            </p:cNvSpPr>
            <p:nvPr userDrawn="1"/>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98" name="Oval 960"/>
            <p:cNvSpPr>
              <a:spLocks noChangeAspect="1" noChangeArrowheads="1"/>
            </p:cNvSpPr>
            <p:nvPr userDrawn="1"/>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999" name="Oval 961"/>
            <p:cNvSpPr>
              <a:spLocks noChangeAspect="1" noChangeArrowheads="1"/>
            </p:cNvSpPr>
            <p:nvPr userDrawn="1"/>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00" name="Oval 962"/>
            <p:cNvSpPr>
              <a:spLocks noChangeAspect="1" noChangeArrowheads="1"/>
            </p:cNvSpPr>
            <p:nvPr userDrawn="1"/>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01" name="Oval 963"/>
            <p:cNvSpPr>
              <a:spLocks noChangeAspect="1" noChangeArrowheads="1"/>
            </p:cNvSpPr>
            <p:nvPr userDrawn="1"/>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02" name="Oval 964"/>
            <p:cNvSpPr>
              <a:spLocks noChangeAspect="1" noChangeArrowheads="1"/>
            </p:cNvSpPr>
            <p:nvPr userDrawn="1"/>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03" name="Oval 965"/>
            <p:cNvSpPr>
              <a:spLocks noChangeAspect="1" noChangeArrowheads="1"/>
            </p:cNvSpPr>
            <p:nvPr userDrawn="1"/>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04" name="Oval 966"/>
            <p:cNvSpPr>
              <a:spLocks noChangeAspect="1" noChangeArrowheads="1"/>
            </p:cNvSpPr>
            <p:nvPr userDrawn="1"/>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05" name="Oval 967"/>
            <p:cNvSpPr>
              <a:spLocks noChangeAspect="1" noChangeArrowheads="1"/>
            </p:cNvSpPr>
            <p:nvPr userDrawn="1"/>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06" name="Oval 968"/>
            <p:cNvSpPr>
              <a:spLocks noChangeAspect="1" noChangeArrowheads="1"/>
            </p:cNvSpPr>
            <p:nvPr userDrawn="1"/>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07" name="Oval 969"/>
            <p:cNvSpPr>
              <a:spLocks noChangeAspect="1" noChangeArrowheads="1"/>
            </p:cNvSpPr>
            <p:nvPr userDrawn="1"/>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08" name="Oval 970"/>
            <p:cNvSpPr>
              <a:spLocks noChangeAspect="1" noChangeArrowheads="1"/>
            </p:cNvSpPr>
            <p:nvPr userDrawn="1"/>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09" name="Oval 971"/>
            <p:cNvSpPr>
              <a:spLocks noChangeAspect="1" noChangeArrowheads="1"/>
            </p:cNvSpPr>
            <p:nvPr userDrawn="1"/>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10" name="Oval 972"/>
            <p:cNvSpPr>
              <a:spLocks noChangeAspect="1" noChangeArrowheads="1"/>
            </p:cNvSpPr>
            <p:nvPr userDrawn="1"/>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11" name="Oval 973"/>
            <p:cNvSpPr>
              <a:spLocks noChangeAspect="1" noChangeArrowheads="1"/>
            </p:cNvSpPr>
            <p:nvPr userDrawn="1"/>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12" name="Oval 974"/>
            <p:cNvSpPr>
              <a:spLocks noChangeAspect="1" noChangeArrowheads="1"/>
            </p:cNvSpPr>
            <p:nvPr userDrawn="1"/>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13" name="Oval 975"/>
            <p:cNvSpPr>
              <a:spLocks noChangeAspect="1" noChangeArrowheads="1"/>
            </p:cNvSpPr>
            <p:nvPr userDrawn="1"/>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14" name="Oval 976"/>
            <p:cNvSpPr>
              <a:spLocks noChangeAspect="1" noChangeArrowheads="1"/>
            </p:cNvSpPr>
            <p:nvPr userDrawn="1"/>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15" name="Oval 977"/>
            <p:cNvSpPr>
              <a:spLocks noChangeAspect="1" noChangeArrowheads="1"/>
            </p:cNvSpPr>
            <p:nvPr userDrawn="1"/>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16" name="Oval 978"/>
            <p:cNvSpPr>
              <a:spLocks noChangeAspect="1" noChangeArrowheads="1"/>
            </p:cNvSpPr>
            <p:nvPr userDrawn="1"/>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17" name="Oval 979"/>
            <p:cNvSpPr>
              <a:spLocks noChangeAspect="1" noChangeArrowheads="1"/>
            </p:cNvSpPr>
            <p:nvPr userDrawn="1"/>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18" name="Oval 980"/>
            <p:cNvSpPr>
              <a:spLocks noChangeAspect="1" noChangeArrowheads="1"/>
            </p:cNvSpPr>
            <p:nvPr userDrawn="1"/>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19" name="Oval 981"/>
            <p:cNvSpPr>
              <a:spLocks noChangeAspect="1" noChangeArrowheads="1"/>
            </p:cNvSpPr>
            <p:nvPr userDrawn="1"/>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20" name="Oval 982"/>
            <p:cNvSpPr>
              <a:spLocks noChangeAspect="1" noChangeArrowheads="1"/>
            </p:cNvSpPr>
            <p:nvPr userDrawn="1"/>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21" name="Oval 983"/>
            <p:cNvSpPr>
              <a:spLocks noChangeAspect="1" noChangeArrowheads="1"/>
            </p:cNvSpPr>
            <p:nvPr userDrawn="1"/>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22" name="Oval 984"/>
            <p:cNvSpPr>
              <a:spLocks noChangeAspect="1" noChangeArrowheads="1"/>
            </p:cNvSpPr>
            <p:nvPr userDrawn="1"/>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23" name="Oval 985"/>
            <p:cNvSpPr>
              <a:spLocks noChangeAspect="1" noChangeArrowheads="1"/>
            </p:cNvSpPr>
            <p:nvPr userDrawn="1"/>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24" name="Oval 986"/>
            <p:cNvSpPr>
              <a:spLocks noChangeAspect="1" noChangeArrowheads="1"/>
            </p:cNvSpPr>
            <p:nvPr userDrawn="1"/>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25" name="Oval 987"/>
            <p:cNvSpPr>
              <a:spLocks noChangeAspect="1" noChangeArrowheads="1"/>
            </p:cNvSpPr>
            <p:nvPr userDrawn="1"/>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26" name="Oval 988"/>
            <p:cNvSpPr>
              <a:spLocks noChangeAspect="1" noChangeArrowheads="1"/>
            </p:cNvSpPr>
            <p:nvPr userDrawn="1"/>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27" name="Oval 989"/>
            <p:cNvSpPr>
              <a:spLocks noChangeAspect="1" noChangeArrowheads="1"/>
            </p:cNvSpPr>
            <p:nvPr userDrawn="1"/>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28" name="Oval 990"/>
            <p:cNvSpPr>
              <a:spLocks noChangeAspect="1" noChangeArrowheads="1"/>
            </p:cNvSpPr>
            <p:nvPr userDrawn="1"/>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29" name="Oval 991"/>
            <p:cNvSpPr>
              <a:spLocks noChangeAspect="1" noChangeArrowheads="1"/>
            </p:cNvSpPr>
            <p:nvPr userDrawn="1"/>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30" name="Oval 992"/>
            <p:cNvSpPr>
              <a:spLocks noChangeAspect="1" noChangeArrowheads="1"/>
            </p:cNvSpPr>
            <p:nvPr userDrawn="1"/>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31" name="Oval 993"/>
            <p:cNvSpPr>
              <a:spLocks noChangeAspect="1" noChangeArrowheads="1"/>
            </p:cNvSpPr>
            <p:nvPr userDrawn="1"/>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32" name="Oval 994"/>
            <p:cNvSpPr>
              <a:spLocks noChangeAspect="1" noChangeArrowheads="1"/>
            </p:cNvSpPr>
            <p:nvPr userDrawn="1"/>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33" name="Oval 995"/>
            <p:cNvSpPr>
              <a:spLocks noChangeAspect="1" noChangeArrowheads="1"/>
            </p:cNvSpPr>
            <p:nvPr userDrawn="1"/>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34" name="Oval 996"/>
            <p:cNvSpPr>
              <a:spLocks noChangeAspect="1" noChangeArrowheads="1"/>
            </p:cNvSpPr>
            <p:nvPr userDrawn="1"/>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35" name="Oval 997"/>
            <p:cNvSpPr>
              <a:spLocks noChangeAspect="1" noChangeArrowheads="1"/>
            </p:cNvSpPr>
            <p:nvPr userDrawn="1"/>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36" name="Oval 998"/>
            <p:cNvSpPr>
              <a:spLocks noChangeAspect="1" noChangeArrowheads="1"/>
            </p:cNvSpPr>
            <p:nvPr userDrawn="1"/>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37" name="Oval 999"/>
            <p:cNvSpPr>
              <a:spLocks noChangeAspect="1" noChangeArrowheads="1"/>
            </p:cNvSpPr>
            <p:nvPr userDrawn="1"/>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38" name="Oval 1000"/>
            <p:cNvSpPr>
              <a:spLocks noChangeAspect="1" noChangeArrowheads="1"/>
            </p:cNvSpPr>
            <p:nvPr userDrawn="1"/>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39" name="Oval 1001"/>
            <p:cNvSpPr>
              <a:spLocks noChangeAspect="1" noChangeArrowheads="1"/>
            </p:cNvSpPr>
            <p:nvPr userDrawn="1"/>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40" name="Oval 1002"/>
            <p:cNvSpPr>
              <a:spLocks noChangeAspect="1" noChangeArrowheads="1"/>
            </p:cNvSpPr>
            <p:nvPr userDrawn="1"/>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41" name="Oval 1003"/>
            <p:cNvSpPr>
              <a:spLocks noChangeAspect="1" noChangeArrowheads="1"/>
            </p:cNvSpPr>
            <p:nvPr userDrawn="1"/>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42" name="Oval 1004"/>
            <p:cNvSpPr>
              <a:spLocks noChangeAspect="1" noChangeArrowheads="1"/>
            </p:cNvSpPr>
            <p:nvPr userDrawn="1"/>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43" name="Oval 1005"/>
            <p:cNvSpPr>
              <a:spLocks noChangeAspect="1" noChangeArrowheads="1"/>
            </p:cNvSpPr>
            <p:nvPr userDrawn="1"/>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44" name="Oval 1006"/>
            <p:cNvSpPr>
              <a:spLocks noChangeAspect="1" noChangeArrowheads="1"/>
            </p:cNvSpPr>
            <p:nvPr userDrawn="1"/>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45" name="Oval 1007"/>
            <p:cNvSpPr>
              <a:spLocks noChangeAspect="1" noChangeArrowheads="1"/>
            </p:cNvSpPr>
            <p:nvPr userDrawn="1"/>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46" name="Oval 1008"/>
            <p:cNvSpPr>
              <a:spLocks noChangeAspect="1" noChangeArrowheads="1"/>
            </p:cNvSpPr>
            <p:nvPr userDrawn="1"/>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47" name="Oval 1009"/>
            <p:cNvSpPr>
              <a:spLocks noChangeAspect="1" noChangeArrowheads="1"/>
            </p:cNvSpPr>
            <p:nvPr userDrawn="1"/>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48" name="Oval 1010"/>
            <p:cNvSpPr>
              <a:spLocks noChangeAspect="1" noChangeArrowheads="1"/>
            </p:cNvSpPr>
            <p:nvPr userDrawn="1"/>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49" name="Oval 1011"/>
            <p:cNvSpPr>
              <a:spLocks noChangeAspect="1" noChangeArrowheads="1"/>
            </p:cNvSpPr>
            <p:nvPr userDrawn="1"/>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50" name="Oval 1012"/>
            <p:cNvSpPr>
              <a:spLocks noChangeAspect="1" noChangeArrowheads="1"/>
            </p:cNvSpPr>
            <p:nvPr userDrawn="1"/>
          </p:nvSpPr>
          <p:spPr bwMode="auto">
            <a:xfrm>
              <a:off x="7023590" y="3941151"/>
              <a:ext cx="85944" cy="85943"/>
            </a:xfrm>
            <a:prstGeom prst="ellipse">
              <a:avLst/>
            </a:prstGeom>
            <a:grpFill/>
            <a:ln>
              <a:noFill/>
            </a:ln>
            <a:effectLst/>
          </p:spPr>
          <p:txBody>
            <a:bodyPr wrap="none" anchor="ctr"/>
            <a:lstStyle/>
            <a:p>
              <a:pPr defTabSz="914362"/>
              <a:endParaRPr lang="en-US" sz="1800">
                <a:solidFill>
                  <a:srgbClr val="292929"/>
                </a:solidFill>
              </a:endParaRPr>
            </a:p>
          </p:txBody>
        </p:sp>
        <p:sp>
          <p:nvSpPr>
            <p:cNvPr id="1051" name="Oval 1013"/>
            <p:cNvSpPr>
              <a:spLocks noChangeAspect="1" noChangeArrowheads="1"/>
            </p:cNvSpPr>
            <p:nvPr userDrawn="1"/>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52" name="Oval 1014"/>
            <p:cNvSpPr>
              <a:spLocks noChangeAspect="1" noChangeArrowheads="1"/>
            </p:cNvSpPr>
            <p:nvPr userDrawn="1"/>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53" name="Oval 1015"/>
            <p:cNvSpPr>
              <a:spLocks noChangeAspect="1" noChangeArrowheads="1"/>
            </p:cNvSpPr>
            <p:nvPr userDrawn="1"/>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54" name="Oval 1016"/>
            <p:cNvSpPr>
              <a:spLocks noChangeAspect="1" noChangeArrowheads="1"/>
            </p:cNvSpPr>
            <p:nvPr userDrawn="1"/>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55" name="Oval 1017"/>
            <p:cNvSpPr>
              <a:spLocks noChangeAspect="1" noChangeArrowheads="1"/>
            </p:cNvSpPr>
            <p:nvPr userDrawn="1"/>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56" name="Oval 1018"/>
            <p:cNvSpPr>
              <a:spLocks noChangeAspect="1" noChangeArrowheads="1"/>
            </p:cNvSpPr>
            <p:nvPr userDrawn="1"/>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57" name="Oval 1019"/>
            <p:cNvSpPr>
              <a:spLocks noChangeAspect="1" noChangeArrowheads="1"/>
            </p:cNvSpPr>
            <p:nvPr userDrawn="1"/>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58" name="Oval 1020"/>
            <p:cNvSpPr>
              <a:spLocks noChangeAspect="1" noChangeArrowheads="1"/>
            </p:cNvSpPr>
            <p:nvPr userDrawn="1"/>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59" name="Oval 1021"/>
            <p:cNvSpPr>
              <a:spLocks noChangeAspect="1" noChangeArrowheads="1"/>
            </p:cNvSpPr>
            <p:nvPr userDrawn="1"/>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60" name="Oval 1022"/>
            <p:cNvSpPr>
              <a:spLocks noChangeAspect="1" noChangeArrowheads="1"/>
            </p:cNvSpPr>
            <p:nvPr userDrawn="1"/>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61" name="Oval 1023"/>
            <p:cNvSpPr>
              <a:spLocks noChangeAspect="1" noChangeArrowheads="1"/>
            </p:cNvSpPr>
            <p:nvPr userDrawn="1"/>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62" name="Oval 1024"/>
            <p:cNvSpPr>
              <a:spLocks noChangeAspect="1" noChangeArrowheads="1"/>
            </p:cNvSpPr>
            <p:nvPr userDrawn="1"/>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63" name="Oval 1025"/>
            <p:cNvSpPr>
              <a:spLocks noChangeAspect="1" noChangeArrowheads="1"/>
            </p:cNvSpPr>
            <p:nvPr userDrawn="1"/>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64" name="Oval 1026"/>
            <p:cNvSpPr>
              <a:spLocks noChangeAspect="1" noChangeArrowheads="1"/>
            </p:cNvSpPr>
            <p:nvPr userDrawn="1"/>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65" name="Oval 1027"/>
            <p:cNvSpPr>
              <a:spLocks noChangeAspect="1" noChangeArrowheads="1"/>
            </p:cNvSpPr>
            <p:nvPr userDrawn="1"/>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66" name="Oval 1028"/>
            <p:cNvSpPr>
              <a:spLocks noChangeAspect="1" noChangeArrowheads="1"/>
            </p:cNvSpPr>
            <p:nvPr userDrawn="1"/>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67" name="Oval 1029"/>
            <p:cNvSpPr>
              <a:spLocks noChangeAspect="1" noChangeArrowheads="1"/>
            </p:cNvSpPr>
            <p:nvPr userDrawn="1"/>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68" name="Oval 1030"/>
            <p:cNvSpPr>
              <a:spLocks noChangeAspect="1" noChangeArrowheads="1"/>
            </p:cNvSpPr>
            <p:nvPr userDrawn="1"/>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69" name="Oval 1031"/>
            <p:cNvSpPr>
              <a:spLocks noChangeAspect="1" noChangeArrowheads="1"/>
            </p:cNvSpPr>
            <p:nvPr userDrawn="1"/>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70" name="Oval 1032"/>
            <p:cNvSpPr>
              <a:spLocks noChangeAspect="1" noChangeArrowheads="1"/>
            </p:cNvSpPr>
            <p:nvPr userDrawn="1"/>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71" name="Oval 1033"/>
            <p:cNvSpPr>
              <a:spLocks noChangeAspect="1" noChangeArrowheads="1"/>
            </p:cNvSpPr>
            <p:nvPr userDrawn="1"/>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72" name="Oval 1034"/>
            <p:cNvSpPr>
              <a:spLocks noChangeAspect="1" noChangeArrowheads="1"/>
            </p:cNvSpPr>
            <p:nvPr userDrawn="1"/>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73" name="Oval 1035"/>
            <p:cNvSpPr>
              <a:spLocks noChangeAspect="1" noChangeArrowheads="1"/>
            </p:cNvSpPr>
            <p:nvPr userDrawn="1"/>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74" name="Oval 1036"/>
            <p:cNvSpPr>
              <a:spLocks noChangeAspect="1" noChangeArrowheads="1"/>
            </p:cNvSpPr>
            <p:nvPr userDrawn="1"/>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75" name="Oval 1037"/>
            <p:cNvSpPr>
              <a:spLocks noChangeAspect="1" noChangeArrowheads="1"/>
            </p:cNvSpPr>
            <p:nvPr userDrawn="1"/>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76" name="Oval 1038"/>
            <p:cNvSpPr>
              <a:spLocks noChangeAspect="1" noChangeArrowheads="1"/>
            </p:cNvSpPr>
            <p:nvPr userDrawn="1"/>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77" name="Oval 1039"/>
            <p:cNvSpPr>
              <a:spLocks noChangeAspect="1" noChangeArrowheads="1"/>
            </p:cNvSpPr>
            <p:nvPr userDrawn="1"/>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78" name="Oval 1040"/>
            <p:cNvSpPr>
              <a:spLocks noChangeAspect="1" noChangeArrowheads="1"/>
            </p:cNvSpPr>
            <p:nvPr userDrawn="1"/>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79" name="Oval 1041"/>
            <p:cNvSpPr>
              <a:spLocks noChangeAspect="1" noChangeArrowheads="1"/>
            </p:cNvSpPr>
            <p:nvPr userDrawn="1"/>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80" name="Oval 1042"/>
            <p:cNvSpPr>
              <a:spLocks noChangeAspect="1" noChangeArrowheads="1"/>
            </p:cNvSpPr>
            <p:nvPr userDrawn="1"/>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81" name="Oval 1043"/>
            <p:cNvSpPr>
              <a:spLocks noChangeAspect="1" noChangeArrowheads="1"/>
            </p:cNvSpPr>
            <p:nvPr userDrawn="1"/>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82" name="Oval 1044"/>
            <p:cNvSpPr>
              <a:spLocks noChangeAspect="1" noChangeArrowheads="1"/>
            </p:cNvSpPr>
            <p:nvPr userDrawn="1"/>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83" name="Oval 1045"/>
            <p:cNvSpPr>
              <a:spLocks noChangeAspect="1" noChangeArrowheads="1"/>
            </p:cNvSpPr>
            <p:nvPr userDrawn="1"/>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84" name="Oval 1046"/>
            <p:cNvSpPr>
              <a:spLocks noChangeAspect="1" noChangeArrowheads="1"/>
            </p:cNvSpPr>
            <p:nvPr userDrawn="1"/>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85" name="Oval 1047"/>
            <p:cNvSpPr>
              <a:spLocks noChangeAspect="1" noChangeArrowheads="1"/>
            </p:cNvSpPr>
            <p:nvPr userDrawn="1"/>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86" name="Oval 1048"/>
            <p:cNvSpPr>
              <a:spLocks noChangeAspect="1" noChangeArrowheads="1"/>
            </p:cNvSpPr>
            <p:nvPr userDrawn="1"/>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87" name="Oval 1049"/>
            <p:cNvSpPr>
              <a:spLocks noChangeAspect="1" noChangeArrowheads="1"/>
            </p:cNvSpPr>
            <p:nvPr userDrawn="1"/>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88" name="Oval 1050"/>
            <p:cNvSpPr>
              <a:spLocks noChangeAspect="1" noChangeArrowheads="1"/>
            </p:cNvSpPr>
            <p:nvPr userDrawn="1"/>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89" name="Oval 1051"/>
            <p:cNvSpPr>
              <a:spLocks noChangeAspect="1" noChangeArrowheads="1"/>
            </p:cNvSpPr>
            <p:nvPr userDrawn="1"/>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90" name="Oval 1052"/>
            <p:cNvSpPr>
              <a:spLocks noChangeAspect="1" noChangeArrowheads="1"/>
            </p:cNvSpPr>
            <p:nvPr userDrawn="1"/>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91" name="Oval 1053"/>
            <p:cNvSpPr>
              <a:spLocks noChangeAspect="1" noChangeArrowheads="1"/>
            </p:cNvSpPr>
            <p:nvPr userDrawn="1"/>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92" name="Oval 1054"/>
            <p:cNvSpPr>
              <a:spLocks noChangeAspect="1" noChangeArrowheads="1"/>
            </p:cNvSpPr>
            <p:nvPr userDrawn="1"/>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93" name="Oval 1055"/>
            <p:cNvSpPr>
              <a:spLocks noChangeAspect="1" noChangeArrowheads="1"/>
            </p:cNvSpPr>
            <p:nvPr userDrawn="1"/>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94" name="Oval 1056"/>
            <p:cNvSpPr>
              <a:spLocks noChangeAspect="1" noChangeArrowheads="1"/>
            </p:cNvSpPr>
            <p:nvPr userDrawn="1"/>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95" name="Oval 1057"/>
            <p:cNvSpPr>
              <a:spLocks noChangeAspect="1" noChangeArrowheads="1"/>
            </p:cNvSpPr>
            <p:nvPr userDrawn="1"/>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96" name="Oval 1058"/>
            <p:cNvSpPr>
              <a:spLocks noChangeAspect="1" noChangeArrowheads="1"/>
            </p:cNvSpPr>
            <p:nvPr userDrawn="1"/>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97" name="Oval 1059"/>
            <p:cNvSpPr>
              <a:spLocks noChangeAspect="1" noChangeArrowheads="1"/>
            </p:cNvSpPr>
            <p:nvPr userDrawn="1"/>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98" name="Oval 1060"/>
            <p:cNvSpPr>
              <a:spLocks noChangeAspect="1" noChangeArrowheads="1"/>
            </p:cNvSpPr>
            <p:nvPr userDrawn="1"/>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099" name="Oval 1061"/>
            <p:cNvSpPr>
              <a:spLocks noChangeAspect="1" noChangeArrowheads="1"/>
            </p:cNvSpPr>
            <p:nvPr userDrawn="1"/>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00" name="Oval 1062"/>
            <p:cNvSpPr>
              <a:spLocks noChangeAspect="1" noChangeArrowheads="1"/>
            </p:cNvSpPr>
            <p:nvPr userDrawn="1"/>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01" name="Oval 1063"/>
            <p:cNvSpPr>
              <a:spLocks noChangeAspect="1" noChangeArrowheads="1"/>
            </p:cNvSpPr>
            <p:nvPr userDrawn="1"/>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02" name="Oval 1064"/>
            <p:cNvSpPr>
              <a:spLocks noChangeAspect="1" noChangeArrowheads="1"/>
            </p:cNvSpPr>
            <p:nvPr userDrawn="1"/>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03" name="Oval 1065"/>
            <p:cNvSpPr>
              <a:spLocks noChangeAspect="1" noChangeArrowheads="1"/>
            </p:cNvSpPr>
            <p:nvPr userDrawn="1"/>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04" name="Oval 1066"/>
            <p:cNvSpPr>
              <a:spLocks noChangeAspect="1" noChangeArrowheads="1"/>
            </p:cNvSpPr>
            <p:nvPr userDrawn="1"/>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05" name="Oval 1067"/>
            <p:cNvSpPr>
              <a:spLocks noChangeAspect="1" noChangeArrowheads="1"/>
            </p:cNvSpPr>
            <p:nvPr userDrawn="1"/>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06" name="Oval 1068"/>
            <p:cNvSpPr>
              <a:spLocks noChangeAspect="1" noChangeArrowheads="1"/>
            </p:cNvSpPr>
            <p:nvPr userDrawn="1"/>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07" name="Oval 1069"/>
            <p:cNvSpPr>
              <a:spLocks noChangeAspect="1" noChangeArrowheads="1"/>
            </p:cNvSpPr>
            <p:nvPr userDrawn="1"/>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08" name="Oval 1070"/>
            <p:cNvSpPr>
              <a:spLocks noChangeAspect="1" noChangeArrowheads="1"/>
            </p:cNvSpPr>
            <p:nvPr userDrawn="1"/>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09" name="Oval 1071"/>
            <p:cNvSpPr>
              <a:spLocks noChangeAspect="1" noChangeArrowheads="1"/>
            </p:cNvSpPr>
            <p:nvPr userDrawn="1"/>
          </p:nvSpPr>
          <p:spPr bwMode="auto">
            <a:xfrm>
              <a:off x="7697570" y="4253262"/>
              <a:ext cx="85943" cy="85944"/>
            </a:xfrm>
            <a:prstGeom prst="ellipse">
              <a:avLst/>
            </a:prstGeom>
            <a:grpFill/>
            <a:ln>
              <a:noFill/>
            </a:ln>
            <a:effectLst/>
          </p:spPr>
          <p:txBody>
            <a:bodyPr wrap="none" anchor="ctr"/>
            <a:lstStyle/>
            <a:p>
              <a:pPr defTabSz="914362"/>
              <a:endParaRPr lang="en-US" sz="1800">
                <a:solidFill>
                  <a:srgbClr val="292929"/>
                </a:solidFill>
              </a:endParaRPr>
            </a:p>
          </p:txBody>
        </p:sp>
        <p:sp>
          <p:nvSpPr>
            <p:cNvPr id="1110" name="Oval 1072"/>
            <p:cNvSpPr>
              <a:spLocks noChangeAspect="1" noChangeArrowheads="1"/>
            </p:cNvSpPr>
            <p:nvPr userDrawn="1"/>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11" name="Oval 1073"/>
            <p:cNvSpPr>
              <a:spLocks noChangeAspect="1" noChangeArrowheads="1"/>
            </p:cNvSpPr>
            <p:nvPr userDrawn="1"/>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12" name="Oval 1074"/>
            <p:cNvSpPr>
              <a:spLocks noChangeAspect="1" noChangeArrowheads="1"/>
            </p:cNvSpPr>
            <p:nvPr userDrawn="1"/>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13" name="Oval 1075"/>
            <p:cNvSpPr>
              <a:spLocks noChangeAspect="1" noChangeArrowheads="1"/>
            </p:cNvSpPr>
            <p:nvPr userDrawn="1"/>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14" name="Oval 1076"/>
            <p:cNvSpPr>
              <a:spLocks noChangeAspect="1" noChangeArrowheads="1"/>
            </p:cNvSpPr>
            <p:nvPr userDrawn="1"/>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15" name="Oval 1077"/>
            <p:cNvSpPr>
              <a:spLocks noChangeAspect="1" noChangeArrowheads="1"/>
            </p:cNvSpPr>
            <p:nvPr userDrawn="1"/>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16" name="Oval 1078"/>
            <p:cNvSpPr>
              <a:spLocks noChangeAspect="1" noChangeArrowheads="1"/>
            </p:cNvSpPr>
            <p:nvPr userDrawn="1"/>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17" name="Oval 1079"/>
            <p:cNvSpPr>
              <a:spLocks noChangeAspect="1" noChangeArrowheads="1"/>
            </p:cNvSpPr>
            <p:nvPr userDrawn="1"/>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18" name="Oval 1080"/>
            <p:cNvSpPr>
              <a:spLocks noChangeAspect="1" noChangeArrowheads="1"/>
            </p:cNvSpPr>
            <p:nvPr userDrawn="1"/>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19" name="Oval 1081"/>
            <p:cNvSpPr>
              <a:spLocks noChangeAspect="1" noChangeArrowheads="1"/>
            </p:cNvSpPr>
            <p:nvPr userDrawn="1"/>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20" name="Oval 1082"/>
            <p:cNvSpPr>
              <a:spLocks noChangeAspect="1" noChangeArrowheads="1"/>
            </p:cNvSpPr>
            <p:nvPr userDrawn="1"/>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21" name="Oval 1083"/>
            <p:cNvSpPr>
              <a:spLocks noChangeAspect="1" noChangeArrowheads="1"/>
            </p:cNvSpPr>
            <p:nvPr userDrawn="1"/>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22" name="Oval 1084"/>
            <p:cNvSpPr>
              <a:spLocks noChangeAspect="1" noChangeArrowheads="1"/>
            </p:cNvSpPr>
            <p:nvPr userDrawn="1"/>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23" name="Oval 1085"/>
            <p:cNvSpPr>
              <a:spLocks noChangeAspect="1" noChangeArrowheads="1"/>
            </p:cNvSpPr>
            <p:nvPr userDrawn="1"/>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24" name="Oval 1086"/>
            <p:cNvSpPr>
              <a:spLocks noChangeAspect="1" noChangeArrowheads="1"/>
            </p:cNvSpPr>
            <p:nvPr userDrawn="1"/>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25" name="Oval 1087"/>
            <p:cNvSpPr>
              <a:spLocks noChangeAspect="1" noChangeArrowheads="1"/>
            </p:cNvSpPr>
            <p:nvPr userDrawn="1"/>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26" name="Oval 1088"/>
            <p:cNvSpPr>
              <a:spLocks noChangeAspect="1" noChangeArrowheads="1"/>
            </p:cNvSpPr>
            <p:nvPr userDrawn="1"/>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27" name="Oval 1089"/>
            <p:cNvSpPr>
              <a:spLocks noChangeAspect="1" noChangeArrowheads="1"/>
            </p:cNvSpPr>
            <p:nvPr userDrawn="1"/>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28" name="Oval 1090"/>
            <p:cNvSpPr>
              <a:spLocks noChangeAspect="1" noChangeArrowheads="1"/>
            </p:cNvSpPr>
            <p:nvPr userDrawn="1"/>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29" name="Oval 1091"/>
            <p:cNvSpPr>
              <a:spLocks noChangeAspect="1" noChangeArrowheads="1"/>
            </p:cNvSpPr>
            <p:nvPr userDrawn="1"/>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30" name="Oval 1092"/>
            <p:cNvSpPr>
              <a:spLocks noChangeAspect="1" noChangeArrowheads="1"/>
            </p:cNvSpPr>
            <p:nvPr userDrawn="1"/>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31" name="Oval 1093"/>
            <p:cNvSpPr>
              <a:spLocks noChangeAspect="1" noChangeArrowheads="1"/>
            </p:cNvSpPr>
            <p:nvPr userDrawn="1"/>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32" name="Oval 1094"/>
            <p:cNvSpPr>
              <a:spLocks noChangeAspect="1" noChangeArrowheads="1"/>
            </p:cNvSpPr>
            <p:nvPr userDrawn="1"/>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33" name="Oval 1095"/>
            <p:cNvSpPr>
              <a:spLocks noChangeAspect="1" noChangeArrowheads="1"/>
            </p:cNvSpPr>
            <p:nvPr userDrawn="1"/>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34" name="Oval 1096"/>
            <p:cNvSpPr>
              <a:spLocks noChangeAspect="1" noChangeArrowheads="1"/>
            </p:cNvSpPr>
            <p:nvPr userDrawn="1"/>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35" name="Oval 1097"/>
            <p:cNvSpPr>
              <a:spLocks noChangeAspect="1" noChangeArrowheads="1"/>
            </p:cNvSpPr>
            <p:nvPr userDrawn="1"/>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36" name="Oval 1098"/>
            <p:cNvSpPr>
              <a:spLocks noChangeAspect="1" noChangeArrowheads="1"/>
            </p:cNvSpPr>
            <p:nvPr userDrawn="1"/>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37" name="Oval 1099"/>
            <p:cNvSpPr>
              <a:spLocks noChangeAspect="1" noChangeArrowheads="1"/>
            </p:cNvSpPr>
            <p:nvPr userDrawn="1"/>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38" name="Oval 1100"/>
            <p:cNvSpPr>
              <a:spLocks noChangeAspect="1" noChangeArrowheads="1"/>
            </p:cNvSpPr>
            <p:nvPr userDrawn="1"/>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39" name="Oval 1101"/>
            <p:cNvSpPr>
              <a:spLocks noChangeAspect="1" noChangeArrowheads="1"/>
            </p:cNvSpPr>
            <p:nvPr userDrawn="1"/>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40" name="Oval 1102"/>
            <p:cNvSpPr>
              <a:spLocks noChangeAspect="1" noChangeArrowheads="1"/>
            </p:cNvSpPr>
            <p:nvPr userDrawn="1"/>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41" name="Oval 1103"/>
            <p:cNvSpPr>
              <a:spLocks noChangeAspect="1" noChangeArrowheads="1"/>
            </p:cNvSpPr>
            <p:nvPr userDrawn="1"/>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42" name="Oval 1104"/>
            <p:cNvSpPr>
              <a:spLocks noChangeAspect="1" noChangeArrowheads="1"/>
            </p:cNvSpPr>
            <p:nvPr userDrawn="1"/>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43" name="Oval 1105"/>
            <p:cNvSpPr>
              <a:spLocks noChangeAspect="1" noChangeArrowheads="1"/>
            </p:cNvSpPr>
            <p:nvPr userDrawn="1"/>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44" name="Oval 1106"/>
            <p:cNvSpPr>
              <a:spLocks noChangeAspect="1" noChangeArrowheads="1"/>
            </p:cNvSpPr>
            <p:nvPr userDrawn="1"/>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45" name="Oval 1107"/>
            <p:cNvSpPr>
              <a:spLocks noChangeAspect="1" noChangeArrowheads="1"/>
            </p:cNvSpPr>
            <p:nvPr userDrawn="1"/>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46" name="Oval 1108"/>
            <p:cNvSpPr>
              <a:spLocks noChangeAspect="1" noChangeArrowheads="1"/>
            </p:cNvSpPr>
            <p:nvPr userDrawn="1"/>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47" name="Oval 1109"/>
            <p:cNvSpPr>
              <a:spLocks noChangeAspect="1" noChangeArrowheads="1"/>
            </p:cNvSpPr>
            <p:nvPr userDrawn="1"/>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48" name="Oval 1110"/>
            <p:cNvSpPr>
              <a:spLocks noChangeAspect="1" noChangeArrowheads="1"/>
            </p:cNvSpPr>
            <p:nvPr userDrawn="1"/>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49" name="Oval 1111"/>
            <p:cNvSpPr>
              <a:spLocks noChangeAspect="1" noChangeArrowheads="1"/>
            </p:cNvSpPr>
            <p:nvPr userDrawn="1"/>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50" name="Oval 1112"/>
            <p:cNvSpPr>
              <a:spLocks noChangeAspect="1" noChangeArrowheads="1"/>
            </p:cNvSpPr>
            <p:nvPr userDrawn="1"/>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51" name="Oval 1113"/>
            <p:cNvSpPr>
              <a:spLocks noChangeAspect="1" noChangeArrowheads="1"/>
            </p:cNvSpPr>
            <p:nvPr userDrawn="1"/>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52" name="Oval 1114"/>
            <p:cNvSpPr>
              <a:spLocks noChangeAspect="1" noChangeArrowheads="1"/>
            </p:cNvSpPr>
            <p:nvPr userDrawn="1"/>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53" name="Oval 1115"/>
            <p:cNvSpPr>
              <a:spLocks noChangeAspect="1" noChangeArrowheads="1"/>
            </p:cNvSpPr>
            <p:nvPr userDrawn="1"/>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54" name="Oval 1116"/>
            <p:cNvSpPr>
              <a:spLocks noChangeAspect="1" noChangeArrowheads="1"/>
            </p:cNvSpPr>
            <p:nvPr userDrawn="1"/>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55" name="Oval 1117"/>
            <p:cNvSpPr>
              <a:spLocks noChangeAspect="1" noChangeArrowheads="1"/>
            </p:cNvSpPr>
            <p:nvPr userDrawn="1"/>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56" name="Oval 1118"/>
            <p:cNvSpPr>
              <a:spLocks noChangeAspect="1" noChangeArrowheads="1"/>
            </p:cNvSpPr>
            <p:nvPr userDrawn="1"/>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57" name="Oval 1119"/>
            <p:cNvSpPr>
              <a:spLocks noChangeAspect="1" noChangeArrowheads="1"/>
            </p:cNvSpPr>
            <p:nvPr userDrawn="1"/>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58" name="Oval 1120"/>
            <p:cNvSpPr>
              <a:spLocks noChangeAspect="1" noChangeArrowheads="1"/>
            </p:cNvSpPr>
            <p:nvPr userDrawn="1"/>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59" name="Oval 1121"/>
            <p:cNvSpPr>
              <a:spLocks noChangeAspect="1" noChangeArrowheads="1"/>
            </p:cNvSpPr>
            <p:nvPr userDrawn="1"/>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60" name="Oval 1122"/>
            <p:cNvSpPr>
              <a:spLocks noChangeAspect="1" noChangeArrowheads="1"/>
            </p:cNvSpPr>
            <p:nvPr userDrawn="1"/>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61" name="Oval 1123"/>
            <p:cNvSpPr>
              <a:spLocks noChangeAspect="1" noChangeArrowheads="1"/>
            </p:cNvSpPr>
            <p:nvPr userDrawn="1"/>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62" name="Oval 1124"/>
            <p:cNvSpPr>
              <a:spLocks noChangeAspect="1" noChangeArrowheads="1"/>
            </p:cNvSpPr>
            <p:nvPr userDrawn="1"/>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63" name="Oval 1125"/>
            <p:cNvSpPr>
              <a:spLocks noChangeAspect="1" noChangeArrowheads="1"/>
            </p:cNvSpPr>
            <p:nvPr userDrawn="1"/>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64" name="Oval 1126"/>
            <p:cNvSpPr>
              <a:spLocks noChangeAspect="1" noChangeArrowheads="1"/>
            </p:cNvSpPr>
            <p:nvPr userDrawn="1"/>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65" name="Oval 1127"/>
            <p:cNvSpPr>
              <a:spLocks noChangeAspect="1" noChangeArrowheads="1"/>
            </p:cNvSpPr>
            <p:nvPr userDrawn="1"/>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66" name="Oval 1128"/>
            <p:cNvSpPr>
              <a:spLocks noChangeAspect="1" noChangeArrowheads="1"/>
            </p:cNvSpPr>
            <p:nvPr userDrawn="1"/>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67" name="Oval 1129"/>
            <p:cNvSpPr>
              <a:spLocks noChangeAspect="1" noChangeArrowheads="1"/>
            </p:cNvSpPr>
            <p:nvPr userDrawn="1"/>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68" name="Oval 1130"/>
            <p:cNvSpPr>
              <a:spLocks noChangeAspect="1" noChangeArrowheads="1"/>
            </p:cNvSpPr>
            <p:nvPr userDrawn="1"/>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69" name="Oval 1131"/>
            <p:cNvSpPr>
              <a:spLocks noChangeAspect="1" noChangeArrowheads="1"/>
            </p:cNvSpPr>
            <p:nvPr userDrawn="1"/>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70" name="Oval 1132"/>
            <p:cNvSpPr>
              <a:spLocks noChangeAspect="1" noChangeArrowheads="1"/>
            </p:cNvSpPr>
            <p:nvPr userDrawn="1"/>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71" name="Oval 1133"/>
            <p:cNvSpPr>
              <a:spLocks noChangeAspect="1" noChangeArrowheads="1"/>
            </p:cNvSpPr>
            <p:nvPr userDrawn="1"/>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72" name="Oval 1134"/>
            <p:cNvSpPr>
              <a:spLocks noChangeAspect="1" noChangeArrowheads="1"/>
            </p:cNvSpPr>
            <p:nvPr userDrawn="1"/>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73" name="Oval 1135"/>
            <p:cNvSpPr>
              <a:spLocks noChangeAspect="1" noChangeArrowheads="1"/>
            </p:cNvSpPr>
            <p:nvPr userDrawn="1"/>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74" name="Oval 1136"/>
            <p:cNvSpPr>
              <a:spLocks noChangeAspect="1" noChangeArrowheads="1"/>
            </p:cNvSpPr>
            <p:nvPr userDrawn="1"/>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75" name="Oval 1137"/>
            <p:cNvSpPr>
              <a:spLocks noChangeAspect="1" noChangeArrowheads="1"/>
            </p:cNvSpPr>
            <p:nvPr userDrawn="1"/>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76" name="Oval 1138"/>
            <p:cNvSpPr>
              <a:spLocks noChangeAspect="1" noChangeArrowheads="1"/>
            </p:cNvSpPr>
            <p:nvPr userDrawn="1"/>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77" name="Oval 1139"/>
            <p:cNvSpPr>
              <a:spLocks noChangeAspect="1" noChangeArrowheads="1"/>
            </p:cNvSpPr>
            <p:nvPr userDrawn="1"/>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78" name="Oval 1140"/>
            <p:cNvSpPr>
              <a:spLocks noChangeAspect="1" noChangeArrowheads="1"/>
            </p:cNvSpPr>
            <p:nvPr userDrawn="1"/>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79" name="Oval 1141"/>
            <p:cNvSpPr>
              <a:spLocks noChangeAspect="1" noChangeArrowheads="1"/>
            </p:cNvSpPr>
            <p:nvPr userDrawn="1"/>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80" name="Oval 1142"/>
            <p:cNvSpPr>
              <a:spLocks noChangeAspect="1" noChangeArrowheads="1"/>
            </p:cNvSpPr>
            <p:nvPr userDrawn="1"/>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81" name="Oval 1143"/>
            <p:cNvSpPr>
              <a:spLocks noChangeAspect="1" noChangeArrowheads="1"/>
            </p:cNvSpPr>
            <p:nvPr userDrawn="1"/>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82" name="Oval 1144"/>
            <p:cNvSpPr>
              <a:spLocks noChangeAspect="1" noChangeArrowheads="1"/>
            </p:cNvSpPr>
            <p:nvPr userDrawn="1"/>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83" name="Oval 1145"/>
            <p:cNvSpPr>
              <a:spLocks noChangeAspect="1" noChangeArrowheads="1"/>
            </p:cNvSpPr>
            <p:nvPr userDrawn="1"/>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84" name="Oval 1146"/>
            <p:cNvSpPr>
              <a:spLocks noChangeAspect="1" noChangeArrowheads="1"/>
            </p:cNvSpPr>
            <p:nvPr userDrawn="1"/>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85" name="Oval 1147"/>
            <p:cNvSpPr>
              <a:spLocks noChangeAspect="1" noChangeArrowheads="1"/>
            </p:cNvSpPr>
            <p:nvPr userDrawn="1"/>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86" name="Oval 1148"/>
            <p:cNvSpPr>
              <a:spLocks noChangeAspect="1" noChangeArrowheads="1"/>
            </p:cNvSpPr>
            <p:nvPr userDrawn="1"/>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87" name="Oval 1149"/>
            <p:cNvSpPr>
              <a:spLocks noChangeAspect="1" noChangeArrowheads="1"/>
            </p:cNvSpPr>
            <p:nvPr userDrawn="1"/>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88" name="Oval 1150"/>
            <p:cNvSpPr>
              <a:spLocks noChangeAspect="1" noChangeArrowheads="1"/>
            </p:cNvSpPr>
            <p:nvPr userDrawn="1"/>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89" name="Oval 1151"/>
            <p:cNvSpPr>
              <a:spLocks noChangeAspect="1" noChangeArrowheads="1"/>
            </p:cNvSpPr>
            <p:nvPr userDrawn="1"/>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90" name="Oval 1152"/>
            <p:cNvSpPr>
              <a:spLocks noChangeAspect="1" noChangeArrowheads="1"/>
            </p:cNvSpPr>
            <p:nvPr userDrawn="1"/>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91" name="Oval 1153"/>
            <p:cNvSpPr>
              <a:spLocks noChangeAspect="1" noChangeArrowheads="1"/>
            </p:cNvSpPr>
            <p:nvPr userDrawn="1"/>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92" name="Oval 1154"/>
            <p:cNvSpPr>
              <a:spLocks noChangeAspect="1" noChangeArrowheads="1"/>
            </p:cNvSpPr>
            <p:nvPr userDrawn="1"/>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93" name="Oval 1155"/>
            <p:cNvSpPr>
              <a:spLocks noChangeAspect="1" noChangeArrowheads="1"/>
            </p:cNvSpPr>
            <p:nvPr userDrawn="1"/>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94" name="Oval 1156"/>
            <p:cNvSpPr>
              <a:spLocks noChangeAspect="1" noChangeArrowheads="1"/>
            </p:cNvSpPr>
            <p:nvPr userDrawn="1"/>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95" name="Oval 1157"/>
            <p:cNvSpPr>
              <a:spLocks noChangeAspect="1" noChangeArrowheads="1"/>
            </p:cNvSpPr>
            <p:nvPr userDrawn="1"/>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96" name="Oval 1158"/>
            <p:cNvSpPr>
              <a:spLocks noChangeAspect="1" noChangeArrowheads="1"/>
            </p:cNvSpPr>
            <p:nvPr userDrawn="1"/>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97" name="Oval 1159"/>
            <p:cNvSpPr>
              <a:spLocks noChangeAspect="1" noChangeArrowheads="1"/>
            </p:cNvSpPr>
            <p:nvPr userDrawn="1"/>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98" name="Oval 1160"/>
            <p:cNvSpPr>
              <a:spLocks noChangeAspect="1" noChangeArrowheads="1"/>
            </p:cNvSpPr>
            <p:nvPr userDrawn="1"/>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199" name="Oval 1161"/>
            <p:cNvSpPr>
              <a:spLocks noChangeAspect="1" noChangeArrowheads="1"/>
            </p:cNvSpPr>
            <p:nvPr userDrawn="1"/>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00" name="Oval 1162"/>
            <p:cNvSpPr>
              <a:spLocks noChangeAspect="1" noChangeArrowheads="1"/>
            </p:cNvSpPr>
            <p:nvPr userDrawn="1"/>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01" name="Oval 1163"/>
            <p:cNvSpPr>
              <a:spLocks noChangeAspect="1" noChangeArrowheads="1"/>
            </p:cNvSpPr>
            <p:nvPr userDrawn="1"/>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02" name="Oval 1164"/>
            <p:cNvSpPr>
              <a:spLocks noChangeAspect="1" noChangeArrowheads="1"/>
            </p:cNvSpPr>
            <p:nvPr userDrawn="1"/>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03" name="Oval 1165"/>
            <p:cNvSpPr>
              <a:spLocks noChangeAspect="1" noChangeArrowheads="1"/>
            </p:cNvSpPr>
            <p:nvPr userDrawn="1"/>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04" name="Oval 1166"/>
            <p:cNvSpPr>
              <a:spLocks noChangeAspect="1" noChangeArrowheads="1"/>
            </p:cNvSpPr>
            <p:nvPr userDrawn="1"/>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05" name="Oval 1167"/>
            <p:cNvSpPr>
              <a:spLocks noChangeAspect="1" noChangeArrowheads="1"/>
            </p:cNvSpPr>
            <p:nvPr userDrawn="1"/>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06" name="Oval 1168"/>
            <p:cNvSpPr>
              <a:spLocks noChangeAspect="1" noChangeArrowheads="1"/>
            </p:cNvSpPr>
            <p:nvPr userDrawn="1"/>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07" name="Oval 1169"/>
            <p:cNvSpPr>
              <a:spLocks noChangeAspect="1" noChangeArrowheads="1"/>
            </p:cNvSpPr>
            <p:nvPr userDrawn="1"/>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08" name="Oval 1170"/>
            <p:cNvSpPr>
              <a:spLocks noChangeAspect="1" noChangeArrowheads="1"/>
            </p:cNvSpPr>
            <p:nvPr userDrawn="1"/>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09" name="Oval 1171"/>
            <p:cNvSpPr>
              <a:spLocks noChangeAspect="1" noChangeArrowheads="1"/>
            </p:cNvSpPr>
            <p:nvPr userDrawn="1"/>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10" name="Oval 1172"/>
            <p:cNvSpPr>
              <a:spLocks noChangeAspect="1" noChangeArrowheads="1"/>
            </p:cNvSpPr>
            <p:nvPr userDrawn="1"/>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11" name="Oval 1173"/>
            <p:cNvSpPr>
              <a:spLocks noChangeAspect="1" noChangeArrowheads="1"/>
            </p:cNvSpPr>
            <p:nvPr userDrawn="1"/>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12" name="Oval 1174"/>
            <p:cNvSpPr>
              <a:spLocks noChangeAspect="1" noChangeArrowheads="1"/>
            </p:cNvSpPr>
            <p:nvPr userDrawn="1"/>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13" name="Oval 1175"/>
            <p:cNvSpPr>
              <a:spLocks noChangeAspect="1" noChangeArrowheads="1"/>
            </p:cNvSpPr>
            <p:nvPr userDrawn="1"/>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14" name="Oval 1176"/>
            <p:cNvSpPr>
              <a:spLocks noChangeAspect="1" noChangeArrowheads="1"/>
            </p:cNvSpPr>
            <p:nvPr userDrawn="1"/>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15" name="Oval 1177"/>
            <p:cNvSpPr>
              <a:spLocks noChangeAspect="1" noChangeArrowheads="1"/>
            </p:cNvSpPr>
            <p:nvPr userDrawn="1"/>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16" name="Oval 1178"/>
            <p:cNvSpPr>
              <a:spLocks noChangeAspect="1" noChangeArrowheads="1"/>
            </p:cNvSpPr>
            <p:nvPr userDrawn="1"/>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17" name="Oval 1179"/>
            <p:cNvSpPr>
              <a:spLocks noChangeAspect="1" noChangeArrowheads="1"/>
            </p:cNvSpPr>
            <p:nvPr userDrawn="1"/>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18" name="Oval 1180"/>
            <p:cNvSpPr>
              <a:spLocks noChangeAspect="1" noChangeArrowheads="1"/>
            </p:cNvSpPr>
            <p:nvPr userDrawn="1"/>
          </p:nvSpPr>
          <p:spPr bwMode="auto">
            <a:xfrm>
              <a:off x="7922229" y="4875977"/>
              <a:ext cx="85944" cy="85943"/>
            </a:xfrm>
            <a:prstGeom prst="ellipse">
              <a:avLst/>
            </a:prstGeom>
            <a:grpFill/>
            <a:ln>
              <a:noFill/>
            </a:ln>
            <a:effectLst/>
          </p:spPr>
          <p:txBody>
            <a:bodyPr wrap="none" anchor="ctr"/>
            <a:lstStyle/>
            <a:p>
              <a:pPr defTabSz="914362"/>
              <a:endParaRPr lang="en-US" sz="1800">
                <a:solidFill>
                  <a:srgbClr val="292929"/>
                </a:solidFill>
              </a:endParaRPr>
            </a:p>
          </p:txBody>
        </p:sp>
        <p:sp>
          <p:nvSpPr>
            <p:cNvPr id="1219" name="Oval 1181"/>
            <p:cNvSpPr>
              <a:spLocks noChangeAspect="1" noChangeArrowheads="1"/>
            </p:cNvSpPr>
            <p:nvPr userDrawn="1"/>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20" name="Oval 1182"/>
            <p:cNvSpPr>
              <a:spLocks noChangeAspect="1" noChangeArrowheads="1"/>
            </p:cNvSpPr>
            <p:nvPr userDrawn="1"/>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21" name="Oval 1183"/>
            <p:cNvSpPr>
              <a:spLocks noChangeAspect="1" noChangeArrowheads="1"/>
            </p:cNvSpPr>
            <p:nvPr userDrawn="1"/>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22" name="Oval 1184"/>
            <p:cNvSpPr>
              <a:spLocks noChangeAspect="1" noChangeArrowheads="1"/>
            </p:cNvSpPr>
            <p:nvPr userDrawn="1"/>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23" name="Oval 1185"/>
            <p:cNvSpPr>
              <a:spLocks noChangeAspect="1" noChangeArrowheads="1"/>
            </p:cNvSpPr>
            <p:nvPr userDrawn="1"/>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24" name="Oval 1186"/>
            <p:cNvSpPr>
              <a:spLocks noChangeAspect="1" noChangeArrowheads="1"/>
            </p:cNvSpPr>
            <p:nvPr userDrawn="1"/>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25" name="Oval 1187"/>
            <p:cNvSpPr>
              <a:spLocks noChangeAspect="1" noChangeArrowheads="1"/>
            </p:cNvSpPr>
            <p:nvPr userDrawn="1"/>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26" name="Oval 1188"/>
            <p:cNvSpPr>
              <a:spLocks noChangeAspect="1" noChangeArrowheads="1"/>
            </p:cNvSpPr>
            <p:nvPr userDrawn="1"/>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27" name="Oval 1189"/>
            <p:cNvSpPr>
              <a:spLocks noChangeAspect="1" noChangeArrowheads="1"/>
            </p:cNvSpPr>
            <p:nvPr userDrawn="1"/>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28" name="Oval 1190"/>
            <p:cNvSpPr>
              <a:spLocks noChangeAspect="1" noChangeArrowheads="1"/>
            </p:cNvSpPr>
            <p:nvPr userDrawn="1"/>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29" name="Oval 1191"/>
            <p:cNvSpPr>
              <a:spLocks noChangeAspect="1" noChangeArrowheads="1"/>
            </p:cNvSpPr>
            <p:nvPr userDrawn="1"/>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30" name="Oval 1192"/>
            <p:cNvSpPr>
              <a:spLocks noChangeAspect="1" noChangeArrowheads="1"/>
            </p:cNvSpPr>
            <p:nvPr userDrawn="1"/>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31" name="Oval 1193"/>
            <p:cNvSpPr>
              <a:spLocks noChangeAspect="1" noChangeArrowheads="1"/>
            </p:cNvSpPr>
            <p:nvPr userDrawn="1"/>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32" name="Oval 1194"/>
            <p:cNvSpPr>
              <a:spLocks noChangeAspect="1" noChangeArrowheads="1"/>
            </p:cNvSpPr>
            <p:nvPr userDrawn="1"/>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33" name="Oval 1195"/>
            <p:cNvSpPr>
              <a:spLocks noChangeAspect="1" noChangeArrowheads="1"/>
            </p:cNvSpPr>
            <p:nvPr userDrawn="1"/>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34" name="Oval 1196"/>
            <p:cNvSpPr>
              <a:spLocks noChangeAspect="1" noChangeArrowheads="1"/>
            </p:cNvSpPr>
            <p:nvPr userDrawn="1"/>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35" name="Oval 1197"/>
            <p:cNvSpPr>
              <a:spLocks noChangeAspect="1" noChangeArrowheads="1"/>
            </p:cNvSpPr>
            <p:nvPr userDrawn="1"/>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36" name="Oval 1198"/>
            <p:cNvSpPr>
              <a:spLocks noChangeAspect="1" noChangeArrowheads="1"/>
            </p:cNvSpPr>
            <p:nvPr userDrawn="1"/>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37" name="Oval 1199"/>
            <p:cNvSpPr>
              <a:spLocks noChangeAspect="1" noChangeArrowheads="1"/>
            </p:cNvSpPr>
            <p:nvPr userDrawn="1"/>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38" name="Oval 1200"/>
            <p:cNvSpPr>
              <a:spLocks noChangeAspect="1" noChangeArrowheads="1"/>
            </p:cNvSpPr>
            <p:nvPr userDrawn="1"/>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39" name="Oval 1201"/>
            <p:cNvSpPr>
              <a:spLocks noChangeAspect="1" noChangeArrowheads="1"/>
            </p:cNvSpPr>
            <p:nvPr userDrawn="1"/>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40" name="Oval 1202"/>
            <p:cNvSpPr>
              <a:spLocks noChangeAspect="1" noChangeArrowheads="1"/>
            </p:cNvSpPr>
            <p:nvPr userDrawn="1"/>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41" name="Oval 1203"/>
            <p:cNvSpPr>
              <a:spLocks noChangeAspect="1" noChangeArrowheads="1"/>
            </p:cNvSpPr>
            <p:nvPr userDrawn="1"/>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42" name="Oval 1204"/>
            <p:cNvSpPr>
              <a:spLocks noChangeAspect="1" noChangeArrowheads="1"/>
            </p:cNvSpPr>
            <p:nvPr userDrawn="1"/>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43" name="Oval 1205"/>
            <p:cNvSpPr>
              <a:spLocks noChangeAspect="1" noChangeArrowheads="1"/>
            </p:cNvSpPr>
            <p:nvPr userDrawn="1"/>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44" name="Oval 1206"/>
            <p:cNvSpPr>
              <a:spLocks noChangeAspect="1" noChangeArrowheads="1"/>
            </p:cNvSpPr>
            <p:nvPr userDrawn="1"/>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45" name="Oval 1207"/>
            <p:cNvSpPr>
              <a:spLocks noChangeAspect="1" noChangeArrowheads="1"/>
            </p:cNvSpPr>
            <p:nvPr userDrawn="1"/>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46" name="Oval 1208"/>
            <p:cNvSpPr>
              <a:spLocks noChangeAspect="1" noChangeArrowheads="1"/>
            </p:cNvSpPr>
            <p:nvPr userDrawn="1"/>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47" name="Oval 1209"/>
            <p:cNvSpPr>
              <a:spLocks noChangeAspect="1" noChangeArrowheads="1"/>
            </p:cNvSpPr>
            <p:nvPr userDrawn="1"/>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48" name="Oval 1210"/>
            <p:cNvSpPr>
              <a:spLocks noChangeAspect="1" noChangeArrowheads="1"/>
            </p:cNvSpPr>
            <p:nvPr userDrawn="1"/>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49" name="Oval 1211"/>
            <p:cNvSpPr>
              <a:spLocks noChangeAspect="1" noChangeArrowheads="1"/>
            </p:cNvSpPr>
            <p:nvPr userDrawn="1"/>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50" name="Oval 1212"/>
            <p:cNvSpPr>
              <a:spLocks noChangeAspect="1" noChangeArrowheads="1"/>
            </p:cNvSpPr>
            <p:nvPr userDrawn="1"/>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51" name="Oval 1213"/>
            <p:cNvSpPr>
              <a:spLocks noChangeAspect="1" noChangeArrowheads="1"/>
            </p:cNvSpPr>
            <p:nvPr userDrawn="1"/>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52" name="Oval 1214"/>
            <p:cNvSpPr>
              <a:spLocks noChangeAspect="1" noChangeArrowheads="1"/>
            </p:cNvSpPr>
            <p:nvPr userDrawn="1"/>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53" name="Oval 1215"/>
            <p:cNvSpPr>
              <a:spLocks noChangeAspect="1" noChangeArrowheads="1"/>
            </p:cNvSpPr>
            <p:nvPr userDrawn="1"/>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54" name="Oval 1216"/>
            <p:cNvSpPr>
              <a:spLocks noChangeAspect="1" noChangeArrowheads="1"/>
            </p:cNvSpPr>
            <p:nvPr userDrawn="1"/>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55" name="Oval 1217"/>
            <p:cNvSpPr>
              <a:spLocks noChangeAspect="1" noChangeArrowheads="1"/>
            </p:cNvSpPr>
            <p:nvPr userDrawn="1"/>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56" name="Oval 1218"/>
            <p:cNvSpPr>
              <a:spLocks noChangeAspect="1" noChangeArrowheads="1"/>
            </p:cNvSpPr>
            <p:nvPr userDrawn="1"/>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57" name="Oval 1219"/>
            <p:cNvSpPr>
              <a:spLocks noChangeAspect="1" noChangeArrowheads="1"/>
            </p:cNvSpPr>
            <p:nvPr userDrawn="1"/>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58" name="Oval 1220"/>
            <p:cNvSpPr>
              <a:spLocks noChangeAspect="1" noChangeArrowheads="1"/>
            </p:cNvSpPr>
            <p:nvPr userDrawn="1"/>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59" name="Oval 1221"/>
            <p:cNvSpPr>
              <a:spLocks noChangeAspect="1" noChangeArrowheads="1"/>
            </p:cNvSpPr>
            <p:nvPr userDrawn="1"/>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60" name="Oval 1222"/>
            <p:cNvSpPr>
              <a:spLocks noChangeAspect="1" noChangeArrowheads="1"/>
            </p:cNvSpPr>
            <p:nvPr userDrawn="1"/>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sp>
          <p:nvSpPr>
            <p:cNvPr id="1261" name="Oval 1223"/>
            <p:cNvSpPr>
              <a:spLocks noChangeAspect="1" noChangeArrowheads="1"/>
            </p:cNvSpPr>
            <p:nvPr userDrawn="1"/>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62"/>
              <a:endParaRPr lang="en-US" sz="1800">
                <a:solidFill>
                  <a:srgbClr val="292929"/>
                </a:solidFill>
              </a:endParaRPr>
            </a:p>
          </p:txBody>
        </p:sp>
      </p:grpSp>
      <p:sp>
        <p:nvSpPr>
          <p:cNvPr id="1315" name="Oval 1314"/>
          <p:cNvSpPr/>
          <p:nvPr/>
        </p:nvSpPr>
        <p:spPr bwMode="auto">
          <a:xfrm>
            <a:off x="1636883" y="2207176"/>
            <a:ext cx="234447" cy="23438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319" name="Oval 1318"/>
          <p:cNvSpPr/>
          <p:nvPr/>
        </p:nvSpPr>
        <p:spPr bwMode="auto">
          <a:xfrm>
            <a:off x="866140" y="2287973"/>
            <a:ext cx="234447" cy="23438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320" name="Oval 1319"/>
          <p:cNvSpPr/>
          <p:nvPr/>
        </p:nvSpPr>
        <p:spPr bwMode="auto">
          <a:xfrm>
            <a:off x="1534377" y="2441686"/>
            <a:ext cx="234447" cy="23438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321" name="Oval 1320"/>
          <p:cNvSpPr/>
          <p:nvPr/>
        </p:nvSpPr>
        <p:spPr bwMode="auto">
          <a:xfrm>
            <a:off x="1770921" y="2114551"/>
            <a:ext cx="234447" cy="23438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322" name="Oval 1321"/>
          <p:cNvSpPr/>
          <p:nvPr/>
        </p:nvSpPr>
        <p:spPr bwMode="auto">
          <a:xfrm>
            <a:off x="799118" y="1943101"/>
            <a:ext cx="234447" cy="23438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323" name="Oval 1322"/>
          <p:cNvSpPr/>
          <p:nvPr/>
        </p:nvSpPr>
        <p:spPr bwMode="auto">
          <a:xfrm>
            <a:off x="3543032" y="1771651"/>
            <a:ext cx="234447" cy="23438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325" name="Oval 1324"/>
          <p:cNvSpPr/>
          <p:nvPr/>
        </p:nvSpPr>
        <p:spPr bwMode="auto">
          <a:xfrm>
            <a:off x="2898449" y="1990396"/>
            <a:ext cx="234447" cy="23438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326" name="Oval 1325"/>
          <p:cNvSpPr/>
          <p:nvPr/>
        </p:nvSpPr>
        <p:spPr bwMode="auto">
          <a:xfrm>
            <a:off x="3150763" y="1698736"/>
            <a:ext cx="234447" cy="23438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327" name="Oval 1326"/>
          <p:cNvSpPr/>
          <p:nvPr/>
        </p:nvSpPr>
        <p:spPr bwMode="auto">
          <a:xfrm>
            <a:off x="3241439" y="1984486"/>
            <a:ext cx="234447" cy="23438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328" name="Oval 1327"/>
          <p:cNvSpPr/>
          <p:nvPr/>
        </p:nvSpPr>
        <p:spPr bwMode="auto">
          <a:xfrm>
            <a:off x="3144851" y="2057401"/>
            <a:ext cx="234447" cy="23438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329" name="Oval 1328"/>
          <p:cNvSpPr/>
          <p:nvPr/>
        </p:nvSpPr>
        <p:spPr bwMode="auto">
          <a:xfrm>
            <a:off x="2191440" y="3354464"/>
            <a:ext cx="234447" cy="23438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330" name="Oval 1329"/>
          <p:cNvSpPr/>
          <p:nvPr/>
        </p:nvSpPr>
        <p:spPr bwMode="auto">
          <a:xfrm>
            <a:off x="4865709" y="2498836"/>
            <a:ext cx="234447" cy="23438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331" name="Oval 1330"/>
          <p:cNvSpPr/>
          <p:nvPr/>
        </p:nvSpPr>
        <p:spPr bwMode="auto">
          <a:xfrm>
            <a:off x="5086484" y="2228851"/>
            <a:ext cx="234447" cy="23438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332" name="Oval 1331"/>
          <p:cNvSpPr/>
          <p:nvPr/>
        </p:nvSpPr>
        <p:spPr bwMode="auto">
          <a:xfrm>
            <a:off x="4686330" y="3086101"/>
            <a:ext cx="234447" cy="23438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333" name="Oval 1332"/>
          <p:cNvSpPr/>
          <p:nvPr/>
        </p:nvSpPr>
        <p:spPr bwMode="auto">
          <a:xfrm>
            <a:off x="5447216" y="3716723"/>
            <a:ext cx="234447" cy="23438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334" name="Oval 1333"/>
          <p:cNvSpPr/>
          <p:nvPr/>
        </p:nvSpPr>
        <p:spPr bwMode="auto">
          <a:xfrm>
            <a:off x="5257979" y="2138198"/>
            <a:ext cx="234447" cy="23438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335" name="Oval 1334"/>
          <p:cNvSpPr/>
          <p:nvPr/>
        </p:nvSpPr>
        <p:spPr bwMode="auto">
          <a:xfrm>
            <a:off x="5299375" y="2270236"/>
            <a:ext cx="234447" cy="23438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336" name="Oval 1335"/>
          <p:cNvSpPr/>
          <p:nvPr/>
        </p:nvSpPr>
        <p:spPr bwMode="auto">
          <a:xfrm>
            <a:off x="3795345" y="2481098"/>
            <a:ext cx="234447" cy="23438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10" name="Group 9"/>
          <p:cNvGrpSpPr/>
          <p:nvPr/>
        </p:nvGrpSpPr>
        <p:grpSpPr>
          <a:xfrm>
            <a:off x="841666" y="1815928"/>
            <a:ext cx="4347531" cy="1430599"/>
            <a:chOff x="1067332" y="2443650"/>
            <a:chExt cx="5795198" cy="1907465"/>
          </a:xfrm>
        </p:grpSpPr>
        <p:sp>
          <p:nvSpPr>
            <p:cNvPr id="1269" name="Oval 1268"/>
            <p:cNvSpPr/>
            <p:nvPr/>
          </p:nvSpPr>
          <p:spPr bwMode="auto">
            <a:xfrm>
              <a:off x="1067332" y="2748760"/>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265" name="Oval 1264"/>
            <p:cNvSpPr/>
            <p:nvPr/>
          </p:nvSpPr>
          <p:spPr bwMode="auto">
            <a:xfrm>
              <a:off x="2239742" y="2864070"/>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270" name="Oval 1269"/>
            <p:cNvSpPr/>
            <p:nvPr/>
          </p:nvSpPr>
          <p:spPr bwMode="auto">
            <a:xfrm>
              <a:off x="1901814" y="2590206"/>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271" name="Oval 1270"/>
            <p:cNvSpPr/>
            <p:nvPr/>
          </p:nvSpPr>
          <p:spPr bwMode="auto">
            <a:xfrm>
              <a:off x="1614712" y="3172729"/>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273" name="Oval 1272"/>
            <p:cNvSpPr/>
            <p:nvPr/>
          </p:nvSpPr>
          <p:spPr bwMode="auto">
            <a:xfrm>
              <a:off x="3982820" y="2466847"/>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309" name="Oval 1308"/>
            <p:cNvSpPr/>
            <p:nvPr/>
          </p:nvSpPr>
          <p:spPr bwMode="auto">
            <a:xfrm>
              <a:off x="3649160" y="2443650"/>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310" name="Oval 1309"/>
            <p:cNvSpPr/>
            <p:nvPr/>
          </p:nvSpPr>
          <p:spPr bwMode="auto">
            <a:xfrm>
              <a:off x="6550015" y="3350006"/>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800" dirty="0">
                <a:solidFill>
                  <a:srgbClr val="FFFFFF"/>
                </a:solidFill>
              </a:endParaRPr>
            </a:p>
          </p:txBody>
        </p:sp>
        <p:sp>
          <p:nvSpPr>
            <p:cNvPr id="1311" name="Oval 1310"/>
            <p:cNvSpPr/>
            <p:nvPr/>
          </p:nvSpPr>
          <p:spPr bwMode="auto">
            <a:xfrm>
              <a:off x="6139082" y="4038600"/>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800" dirty="0">
                <a:solidFill>
                  <a:srgbClr val="FFFFFF"/>
                </a:solidFill>
              </a:endParaRPr>
            </a:p>
          </p:txBody>
        </p:sp>
      </p:grpSp>
      <p:sp>
        <p:nvSpPr>
          <p:cNvPr id="1262"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263"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4"/>
              </a:rPr>
              <a:t>www.rapidbbs.cn</a:t>
            </a:r>
            <a:endParaRPr lang="zh-CN" altLang="en-US" sz="1200" b="0">
              <a:latin typeface="Arial" charset="0"/>
              <a:ea typeface="ＭＳ Ｐゴシック" pitchFamily="34" charset="-128"/>
            </a:endParaRPr>
          </a:p>
        </p:txBody>
      </p:sp>
      <p:pic>
        <p:nvPicPr>
          <p:cNvPr id="1264" name="Picture 2">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20894450"/>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right)">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315"/>
                                        </p:tgtEl>
                                        <p:attrNameLst>
                                          <p:attrName>style.visibility</p:attrName>
                                        </p:attrNameLst>
                                      </p:cBhvr>
                                      <p:to>
                                        <p:strVal val="visible"/>
                                      </p:to>
                                    </p:set>
                                    <p:animEffect transition="in" filter="fade">
                                      <p:cBhvr>
                                        <p:cTn id="19" dur="250"/>
                                        <p:tgtEl>
                                          <p:spTgt spid="1315"/>
                                        </p:tgtEl>
                                      </p:cBhvr>
                                    </p:animEffect>
                                  </p:childTnLst>
                                </p:cTn>
                              </p:par>
                              <p:par>
                                <p:cTn id="20" presetID="10" presetClass="entr" presetSubtype="0" fill="hold" grpId="0" nodeType="withEffect">
                                  <p:stCondLst>
                                    <p:cond delay="350"/>
                                  </p:stCondLst>
                                  <p:childTnLst>
                                    <p:set>
                                      <p:cBhvr>
                                        <p:cTn id="21" dur="1" fill="hold">
                                          <p:stCondLst>
                                            <p:cond delay="0"/>
                                          </p:stCondLst>
                                        </p:cTn>
                                        <p:tgtEl>
                                          <p:spTgt spid="1319"/>
                                        </p:tgtEl>
                                        <p:attrNameLst>
                                          <p:attrName>style.visibility</p:attrName>
                                        </p:attrNameLst>
                                      </p:cBhvr>
                                      <p:to>
                                        <p:strVal val="visible"/>
                                      </p:to>
                                    </p:set>
                                    <p:animEffect transition="in" filter="fade">
                                      <p:cBhvr>
                                        <p:cTn id="22" dur="250"/>
                                        <p:tgtEl>
                                          <p:spTgt spid="1319"/>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1320"/>
                                        </p:tgtEl>
                                        <p:attrNameLst>
                                          <p:attrName>style.visibility</p:attrName>
                                        </p:attrNameLst>
                                      </p:cBhvr>
                                      <p:to>
                                        <p:strVal val="visible"/>
                                      </p:to>
                                    </p:set>
                                    <p:animEffect transition="in" filter="fade">
                                      <p:cBhvr>
                                        <p:cTn id="25" dur="250"/>
                                        <p:tgtEl>
                                          <p:spTgt spid="1320"/>
                                        </p:tgtEl>
                                      </p:cBhvr>
                                    </p:animEffect>
                                  </p:childTnLst>
                                </p:cTn>
                              </p:par>
                              <p:par>
                                <p:cTn id="26" presetID="10" presetClass="entr" presetSubtype="0" fill="hold" grpId="0" nodeType="withEffect">
                                  <p:stCondLst>
                                    <p:cond delay="450"/>
                                  </p:stCondLst>
                                  <p:childTnLst>
                                    <p:set>
                                      <p:cBhvr>
                                        <p:cTn id="27" dur="1" fill="hold">
                                          <p:stCondLst>
                                            <p:cond delay="0"/>
                                          </p:stCondLst>
                                        </p:cTn>
                                        <p:tgtEl>
                                          <p:spTgt spid="1321"/>
                                        </p:tgtEl>
                                        <p:attrNameLst>
                                          <p:attrName>style.visibility</p:attrName>
                                        </p:attrNameLst>
                                      </p:cBhvr>
                                      <p:to>
                                        <p:strVal val="visible"/>
                                      </p:to>
                                    </p:set>
                                    <p:animEffect transition="in" filter="fade">
                                      <p:cBhvr>
                                        <p:cTn id="28" dur="250"/>
                                        <p:tgtEl>
                                          <p:spTgt spid="1321"/>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1322"/>
                                        </p:tgtEl>
                                        <p:attrNameLst>
                                          <p:attrName>style.visibility</p:attrName>
                                        </p:attrNameLst>
                                      </p:cBhvr>
                                      <p:to>
                                        <p:strVal val="visible"/>
                                      </p:to>
                                    </p:set>
                                    <p:animEffect transition="in" filter="fade">
                                      <p:cBhvr>
                                        <p:cTn id="31" dur="250"/>
                                        <p:tgtEl>
                                          <p:spTgt spid="1322"/>
                                        </p:tgtEl>
                                      </p:cBhvr>
                                    </p:animEffect>
                                  </p:childTnLst>
                                </p:cTn>
                              </p:par>
                              <p:par>
                                <p:cTn id="32" presetID="10" presetClass="entr" presetSubtype="0" fill="hold" grpId="0" nodeType="withEffect">
                                  <p:stCondLst>
                                    <p:cond delay="550"/>
                                  </p:stCondLst>
                                  <p:childTnLst>
                                    <p:set>
                                      <p:cBhvr>
                                        <p:cTn id="33" dur="1" fill="hold">
                                          <p:stCondLst>
                                            <p:cond delay="0"/>
                                          </p:stCondLst>
                                        </p:cTn>
                                        <p:tgtEl>
                                          <p:spTgt spid="1329"/>
                                        </p:tgtEl>
                                        <p:attrNameLst>
                                          <p:attrName>style.visibility</p:attrName>
                                        </p:attrNameLst>
                                      </p:cBhvr>
                                      <p:to>
                                        <p:strVal val="visible"/>
                                      </p:to>
                                    </p:set>
                                    <p:animEffect transition="in" filter="fade">
                                      <p:cBhvr>
                                        <p:cTn id="34" dur="250"/>
                                        <p:tgtEl>
                                          <p:spTgt spid="1329"/>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323"/>
                                        </p:tgtEl>
                                        <p:attrNameLst>
                                          <p:attrName>style.visibility</p:attrName>
                                        </p:attrNameLst>
                                      </p:cBhvr>
                                      <p:to>
                                        <p:strVal val="visible"/>
                                      </p:to>
                                    </p:set>
                                    <p:animEffect transition="in" filter="fade">
                                      <p:cBhvr>
                                        <p:cTn id="37" dur="250"/>
                                        <p:tgtEl>
                                          <p:spTgt spid="1323"/>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325"/>
                                        </p:tgtEl>
                                        <p:attrNameLst>
                                          <p:attrName>style.visibility</p:attrName>
                                        </p:attrNameLst>
                                      </p:cBhvr>
                                      <p:to>
                                        <p:strVal val="visible"/>
                                      </p:to>
                                    </p:set>
                                    <p:animEffect transition="in" filter="fade">
                                      <p:cBhvr>
                                        <p:cTn id="40" dur="250"/>
                                        <p:tgtEl>
                                          <p:spTgt spid="1325"/>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326"/>
                                        </p:tgtEl>
                                        <p:attrNameLst>
                                          <p:attrName>style.visibility</p:attrName>
                                        </p:attrNameLst>
                                      </p:cBhvr>
                                      <p:to>
                                        <p:strVal val="visible"/>
                                      </p:to>
                                    </p:set>
                                    <p:animEffect transition="in" filter="fade">
                                      <p:cBhvr>
                                        <p:cTn id="43" dur="250"/>
                                        <p:tgtEl>
                                          <p:spTgt spid="1326"/>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327"/>
                                        </p:tgtEl>
                                        <p:attrNameLst>
                                          <p:attrName>style.visibility</p:attrName>
                                        </p:attrNameLst>
                                      </p:cBhvr>
                                      <p:to>
                                        <p:strVal val="visible"/>
                                      </p:to>
                                    </p:set>
                                    <p:animEffect transition="in" filter="fade">
                                      <p:cBhvr>
                                        <p:cTn id="46" dur="250"/>
                                        <p:tgtEl>
                                          <p:spTgt spid="1327"/>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328"/>
                                        </p:tgtEl>
                                        <p:attrNameLst>
                                          <p:attrName>style.visibility</p:attrName>
                                        </p:attrNameLst>
                                      </p:cBhvr>
                                      <p:to>
                                        <p:strVal val="visible"/>
                                      </p:to>
                                    </p:set>
                                    <p:animEffect transition="in" filter="fade">
                                      <p:cBhvr>
                                        <p:cTn id="49" dur="250"/>
                                        <p:tgtEl>
                                          <p:spTgt spid="1328"/>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336"/>
                                        </p:tgtEl>
                                        <p:attrNameLst>
                                          <p:attrName>style.visibility</p:attrName>
                                        </p:attrNameLst>
                                      </p:cBhvr>
                                      <p:to>
                                        <p:strVal val="visible"/>
                                      </p:to>
                                    </p:set>
                                    <p:animEffect transition="in" filter="fade">
                                      <p:cBhvr>
                                        <p:cTn id="52" dur="250"/>
                                        <p:tgtEl>
                                          <p:spTgt spid="1336"/>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330"/>
                                        </p:tgtEl>
                                        <p:attrNameLst>
                                          <p:attrName>style.visibility</p:attrName>
                                        </p:attrNameLst>
                                      </p:cBhvr>
                                      <p:to>
                                        <p:strVal val="visible"/>
                                      </p:to>
                                    </p:set>
                                    <p:animEffect transition="in" filter="fade">
                                      <p:cBhvr>
                                        <p:cTn id="55" dur="250"/>
                                        <p:tgtEl>
                                          <p:spTgt spid="1330"/>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331"/>
                                        </p:tgtEl>
                                        <p:attrNameLst>
                                          <p:attrName>style.visibility</p:attrName>
                                        </p:attrNameLst>
                                      </p:cBhvr>
                                      <p:to>
                                        <p:strVal val="visible"/>
                                      </p:to>
                                    </p:set>
                                    <p:animEffect transition="in" filter="fade">
                                      <p:cBhvr>
                                        <p:cTn id="58" dur="250"/>
                                        <p:tgtEl>
                                          <p:spTgt spid="1331"/>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332"/>
                                        </p:tgtEl>
                                        <p:attrNameLst>
                                          <p:attrName>style.visibility</p:attrName>
                                        </p:attrNameLst>
                                      </p:cBhvr>
                                      <p:to>
                                        <p:strVal val="visible"/>
                                      </p:to>
                                    </p:set>
                                    <p:animEffect transition="in" filter="fade">
                                      <p:cBhvr>
                                        <p:cTn id="61" dur="250"/>
                                        <p:tgtEl>
                                          <p:spTgt spid="1332"/>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333"/>
                                        </p:tgtEl>
                                        <p:attrNameLst>
                                          <p:attrName>style.visibility</p:attrName>
                                        </p:attrNameLst>
                                      </p:cBhvr>
                                      <p:to>
                                        <p:strVal val="visible"/>
                                      </p:to>
                                    </p:set>
                                    <p:animEffect transition="in" filter="fade">
                                      <p:cBhvr>
                                        <p:cTn id="64" dur="250"/>
                                        <p:tgtEl>
                                          <p:spTgt spid="1333"/>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334"/>
                                        </p:tgtEl>
                                        <p:attrNameLst>
                                          <p:attrName>style.visibility</p:attrName>
                                        </p:attrNameLst>
                                      </p:cBhvr>
                                      <p:to>
                                        <p:strVal val="visible"/>
                                      </p:to>
                                    </p:set>
                                    <p:animEffect transition="in" filter="fade">
                                      <p:cBhvr>
                                        <p:cTn id="67" dur="250"/>
                                        <p:tgtEl>
                                          <p:spTgt spid="1334"/>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335"/>
                                        </p:tgtEl>
                                        <p:attrNameLst>
                                          <p:attrName>style.visibility</p:attrName>
                                        </p:attrNameLst>
                                      </p:cBhvr>
                                      <p:to>
                                        <p:strVal val="visible"/>
                                      </p:to>
                                    </p:set>
                                    <p:animEffect transition="in" filter="fade">
                                      <p:cBhvr>
                                        <p:cTn id="70" dur="250"/>
                                        <p:tgtEl>
                                          <p:spTgt spid="13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1315" grpId="0" animBg="1"/>
      <p:bldP spid="1319" grpId="0" animBg="1"/>
      <p:bldP spid="1320" grpId="0" animBg="1"/>
      <p:bldP spid="1321" grpId="0" animBg="1"/>
      <p:bldP spid="1322" grpId="0" animBg="1"/>
      <p:bldP spid="1323" grpId="0" animBg="1"/>
      <p:bldP spid="1325" grpId="0" animBg="1"/>
      <p:bldP spid="1326" grpId="0" animBg="1"/>
      <p:bldP spid="1327" grpId="0" animBg="1"/>
      <p:bldP spid="1328" grpId="0" animBg="1"/>
      <p:bldP spid="1329" grpId="0" animBg="1"/>
      <p:bldP spid="1330" grpId="0" animBg="1"/>
      <p:bldP spid="1331" grpId="0" animBg="1"/>
      <p:bldP spid="1332" grpId="0" animBg="1"/>
      <p:bldP spid="1333" grpId="0" animBg="1"/>
      <p:bldP spid="1334" grpId="0" animBg="1"/>
      <p:bldP spid="1335" grpId="0" animBg="1"/>
      <p:bldP spid="1336" grpId="0" animBg="1"/>
    </p:bldLst>
  </p:timing>
</p:sld>
</file>

<file path=ppt/slides/slide4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3316556" y="1852780"/>
            <a:ext cx="5500597" cy="3260621"/>
            <a:chOff x="4420923" y="2470374"/>
            <a:chExt cx="7332220" cy="4347494"/>
          </a:xfrm>
        </p:grpSpPr>
        <p:pic>
          <p:nvPicPr>
            <p:cNvPr id="1027" name="Picture 3" descr="C:\Users\Jonahs\Dropbox\Critical Resources\Helveticons Basic\Png\512x512\Cloud 512x512.png"/>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7405649" y="2470374"/>
              <a:ext cx="4347494" cy="4347494"/>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 descr="C:\Users\Jonahs\Dropbox\Critical Resources\Helveticons Basic\Png\512x512\Cloud 512x512.png"/>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629985" y="3595997"/>
              <a:ext cx="2854135" cy="2854135"/>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 descr="C:\Users\Jonahs\Dropbox\Critical Resources\Helveticons Basic\Png\512x512\Cloud 512x512.png"/>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420923" y="4403409"/>
              <a:ext cx="1803636" cy="1803636"/>
            </a:xfrm>
            <a:prstGeom prst="rect">
              <a:avLst/>
            </a:prstGeom>
            <a:noFill/>
            <a:extLst>
              <a:ext uri="{909E8E84-426E-40DD-AFC4-6F175D3DCCD1}">
                <a14:hiddenFill xmlns:a14="http://schemas.microsoft.com/office/drawing/2010/main">
                  <a:solidFill>
                    <a:srgbClr val="FFFFFF"/>
                  </a:solidFill>
                </a14:hiddenFill>
              </a:ext>
            </a:extLst>
          </p:spPr>
        </p:pic>
      </p:grpSp>
      <p:sp>
        <p:nvSpPr>
          <p:cNvPr id="124" name="Rectangle 123"/>
          <p:cNvSpPr/>
          <p:nvPr/>
        </p:nvSpPr>
        <p:spPr>
          <a:xfrm>
            <a:off x="1276003" y="690902"/>
            <a:ext cx="1213734" cy="480060"/>
          </a:xfrm>
          <a:prstGeom prst="rect">
            <a:avLst/>
          </a:prstGeom>
          <a:noFill/>
          <a:ln w="9525" cap="flat" cmpd="sng" algn="ctr">
            <a:noFill/>
            <a:prstDash val="solid"/>
          </a:ln>
          <a:effectLst/>
        </p:spPr>
        <p:txBody>
          <a:bodyPr lIns="0" tIns="0" rIns="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914249" fontAlgn="base">
              <a:spcAft>
                <a:spcPct val="0"/>
              </a:spcAft>
            </a:pPr>
            <a:r>
              <a:rPr lang="en-US" sz="1500" dirty="0">
                <a:gradFill>
                  <a:gsLst>
                    <a:gs pos="0">
                      <a:srgbClr val="FFFFFF"/>
                    </a:gs>
                    <a:gs pos="100000">
                      <a:srgbClr val="FFFFFF"/>
                    </a:gs>
                  </a:gsLst>
                  <a:lin ang="5400000" scaled="0"/>
                </a:gradFill>
                <a:ea typeface="Kozuka Gothic Pro R" pitchFamily="34" charset="-128"/>
              </a:rPr>
              <a:t>Your Datacenter</a:t>
            </a:r>
            <a:endParaRPr lang="en-US" sz="1500" dirty="0">
              <a:gradFill>
                <a:gsLst>
                  <a:gs pos="0">
                    <a:srgbClr val="FFFFFF"/>
                  </a:gs>
                  <a:gs pos="100000">
                    <a:srgbClr val="FFFFFF"/>
                  </a:gs>
                </a:gsLst>
                <a:lin ang="5400000" scaled="0"/>
              </a:gradFill>
              <a:ea typeface="Kozuka Gothic Pro R" pitchFamily="34" charset="-128"/>
            </a:endParaRPr>
          </a:p>
        </p:txBody>
      </p:sp>
      <p:sp>
        <p:nvSpPr>
          <p:cNvPr id="128" name="Rectangle 127"/>
          <p:cNvSpPr/>
          <p:nvPr/>
        </p:nvSpPr>
        <p:spPr>
          <a:xfrm>
            <a:off x="1260737" y="2944225"/>
            <a:ext cx="1229001" cy="285750"/>
          </a:xfrm>
          <a:prstGeom prst="rect">
            <a:avLst/>
          </a:prstGeom>
          <a:solidFill>
            <a:schemeClr val="accent1"/>
          </a:solidFill>
          <a:ln w="9525" cap="flat" cmpd="sng" algn="ctr">
            <a:noFill/>
            <a:prstDash val="solid"/>
          </a:ln>
          <a:effectLst/>
        </p:spPr>
        <p:txBody>
          <a:bodyPr lIns="68589" tIns="34295" rIns="68589" bIns="34295"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24"/>
            <a:r>
              <a:rPr lang="en-US" sz="1100" dirty="0">
                <a:gradFill>
                  <a:gsLst>
                    <a:gs pos="0">
                      <a:srgbClr val="FFFFFF"/>
                    </a:gs>
                    <a:gs pos="100000">
                      <a:srgbClr val="FFFFFF"/>
                    </a:gs>
                  </a:gsLst>
                  <a:lin ang="5400000" scaled="0"/>
                </a:gradFill>
                <a:ea typeface="Segoe UI" pitchFamily="34" charset="0"/>
                <a:cs typeface="Segoe UI" pitchFamily="34" charset="0"/>
              </a:rPr>
              <a:t>Virtualization</a:t>
            </a:r>
            <a:endParaRPr lang="en-US" sz="1100" dirty="0">
              <a:gradFill>
                <a:gsLst>
                  <a:gs pos="0">
                    <a:srgbClr val="FFFFFF"/>
                  </a:gs>
                  <a:gs pos="100000">
                    <a:srgbClr val="FFFFFF"/>
                  </a:gs>
                </a:gsLst>
                <a:lin ang="5400000" scaled="0"/>
              </a:gradFill>
              <a:ea typeface="Segoe UI" pitchFamily="34" charset="0"/>
              <a:cs typeface="Segoe UI" pitchFamily="34" charset="0"/>
            </a:endParaRPr>
          </a:p>
        </p:txBody>
      </p:sp>
      <p:sp>
        <p:nvSpPr>
          <p:cNvPr id="129" name="Rectangle 128"/>
          <p:cNvSpPr/>
          <p:nvPr/>
        </p:nvSpPr>
        <p:spPr>
          <a:xfrm>
            <a:off x="1260737" y="2603111"/>
            <a:ext cx="1229001" cy="285750"/>
          </a:xfrm>
          <a:prstGeom prst="rect">
            <a:avLst/>
          </a:prstGeom>
          <a:solidFill>
            <a:schemeClr val="accent1"/>
          </a:solidFill>
          <a:ln w="9525" cap="flat" cmpd="sng" algn="ctr">
            <a:noFill/>
            <a:prstDash val="solid"/>
          </a:ln>
          <a:effectLst/>
        </p:spPr>
        <p:txBody>
          <a:bodyPr lIns="68589" tIns="34295" rIns="68589" bIns="34295"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24"/>
            <a:r>
              <a:rPr lang="en-US" sz="1100" dirty="0">
                <a:gradFill>
                  <a:gsLst>
                    <a:gs pos="0">
                      <a:srgbClr val="FFFFFF"/>
                    </a:gs>
                    <a:gs pos="100000">
                      <a:srgbClr val="FFFFFF"/>
                    </a:gs>
                  </a:gsLst>
                  <a:lin ang="5400000" scaled="0"/>
                </a:gradFill>
                <a:ea typeface="Segoe UI" pitchFamily="34" charset="0"/>
                <a:cs typeface="Segoe UI" pitchFamily="34" charset="0"/>
              </a:rPr>
              <a:t>O/S</a:t>
            </a:r>
            <a:endParaRPr lang="en-US" sz="1100" dirty="0">
              <a:gradFill>
                <a:gsLst>
                  <a:gs pos="0">
                    <a:srgbClr val="FFFFFF"/>
                  </a:gs>
                  <a:gs pos="100000">
                    <a:srgbClr val="FFFFFF"/>
                  </a:gs>
                </a:gsLst>
                <a:lin ang="5400000" scaled="0"/>
              </a:gradFill>
              <a:ea typeface="Segoe UI" pitchFamily="34" charset="0"/>
              <a:cs typeface="Segoe UI" pitchFamily="34" charset="0"/>
            </a:endParaRPr>
          </a:p>
        </p:txBody>
      </p:sp>
      <p:sp>
        <p:nvSpPr>
          <p:cNvPr id="130" name="Rectangle 129"/>
          <p:cNvSpPr/>
          <p:nvPr/>
        </p:nvSpPr>
        <p:spPr>
          <a:xfrm>
            <a:off x="1260737" y="3285338"/>
            <a:ext cx="1229001" cy="285750"/>
          </a:xfrm>
          <a:prstGeom prst="rect">
            <a:avLst/>
          </a:prstGeom>
          <a:solidFill>
            <a:schemeClr val="accent1"/>
          </a:solidFill>
          <a:ln w="9525" cap="flat" cmpd="sng" algn="ctr">
            <a:noFill/>
            <a:prstDash val="solid"/>
          </a:ln>
          <a:effectLst/>
        </p:spPr>
        <p:txBody>
          <a:bodyPr lIns="68589" tIns="34295" rIns="68589" bIns="34295"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24"/>
            <a:r>
              <a:rPr lang="en-US" sz="1100" dirty="0">
                <a:gradFill>
                  <a:gsLst>
                    <a:gs pos="0">
                      <a:srgbClr val="FFFFFF"/>
                    </a:gs>
                    <a:gs pos="100000">
                      <a:srgbClr val="FFFFFF"/>
                    </a:gs>
                  </a:gsLst>
                  <a:lin ang="5400000" scaled="0"/>
                </a:gradFill>
                <a:ea typeface="Segoe UI" pitchFamily="34" charset="0"/>
                <a:cs typeface="Segoe UI" pitchFamily="34" charset="0"/>
              </a:rPr>
              <a:t>Hardware</a:t>
            </a:r>
            <a:endParaRPr lang="en-US" sz="1100" dirty="0">
              <a:gradFill>
                <a:gsLst>
                  <a:gs pos="0">
                    <a:srgbClr val="FFFFFF"/>
                  </a:gs>
                  <a:gs pos="100000">
                    <a:srgbClr val="FFFFFF"/>
                  </a:gs>
                </a:gsLst>
                <a:lin ang="5400000" scaled="0"/>
              </a:gradFill>
              <a:ea typeface="Segoe UI" pitchFamily="34" charset="0"/>
              <a:cs typeface="Segoe UI" pitchFamily="34" charset="0"/>
            </a:endParaRPr>
          </a:p>
        </p:txBody>
      </p:sp>
      <p:sp>
        <p:nvSpPr>
          <p:cNvPr id="133" name="Rectangle 132"/>
          <p:cNvSpPr/>
          <p:nvPr/>
        </p:nvSpPr>
        <p:spPr>
          <a:xfrm>
            <a:off x="1260737" y="2261996"/>
            <a:ext cx="1229001" cy="285750"/>
          </a:xfrm>
          <a:prstGeom prst="rect">
            <a:avLst/>
          </a:prstGeom>
          <a:solidFill>
            <a:schemeClr val="accent1"/>
          </a:solidFill>
          <a:ln w="9525" cap="flat" cmpd="sng" algn="ctr">
            <a:noFill/>
            <a:prstDash val="solid"/>
          </a:ln>
          <a:effectLst/>
        </p:spPr>
        <p:txBody>
          <a:bodyPr lIns="0" tIns="34295" rIns="0" bIns="34295"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24"/>
            <a:r>
              <a:rPr lang="en-US" sz="1100" dirty="0">
                <a:gradFill>
                  <a:gsLst>
                    <a:gs pos="0">
                      <a:srgbClr val="FFFFFF"/>
                    </a:gs>
                    <a:gs pos="100000">
                      <a:srgbClr val="FFFFFF"/>
                    </a:gs>
                  </a:gsLst>
                  <a:lin ang="5400000" scaled="0"/>
                </a:gradFill>
                <a:ea typeface="Segoe UI" pitchFamily="34" charset="0"/>
                <a:cs typeface="Segoe UI" pitchFamily="34" charset="0"/>
              </a:rPr>
              <a:t>Network</a:t>
            </a:r>
            <a:endParaRPr lang="en-US" sz="1100" dirty="0">
              <a:gradFill>
                <a:gsLst>
                  <a:gs pos="0">
                    <a:srgbClr val="FFFFFF"/>
                  </a:gs>
                  <a:gs pos="100000">
                    <a:srgbClr val="FFFFFF"/>
                  </a:gs>
                </a:gsLst>
                <a:lin ang="5400000" scaled="0"/>
              </a:gradFill>
              <a:ea typeface="Segoe UI" pitchFamily="34" charset="0"/>
              <a:cs typeface="Segoe UI" pitchFamily="34" charset="0"/>
            </a:endParaRPr>
          </a:p>
        </p:txBody>
      </p:sp>
      <p:sp>
        <p:nvSpPr>
          <p:cNvPr id="134" name="Rectangle 133"/>
          <p:cNvSpPr/>
          <p:nvPr/>
        </p:nvSpPr>
        <p:spPr>
          <a:xfrm>
            <a:off x="1260737" y="1567028"/>
            <a:ext cx="1229001" cy="285750"/>
          </a:xfrm>
          <a:prstGeom prst="rect">
            <a:avLst/>
          </a:prstGeom>
          <a:solidFill>
            <a:schemeClr val="accent1"/>
          </a:solidFill>
          <a:ln w="9525" cap="flat" cmpd="sng" algn="ctr">
            <a:noFill/>
            <a:prstDash val="solid"/>
          </a:ln>
          <a:effectLst/>
        </p:spPr>
        <p:txBody>
          <a:bodyPr lIns="68589" tIns="34295" rIns="68589" bIns="34295"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24"/>
            <a:r>
              <a:rPr lang="en-US" sz="1100" dirty="0">
                <a:gradFill>
                  <a:gsLst>
                    <a:gs pos="0">
                      <a:srgbClr val="FFFFFF"/>
                    </a:gs>
                    <a:gs pos="100000">
                      <a:srgbClr val="FFFFFF"/>
                    </a:gs>
                  </a:gsLst>
                  <a:lin ang="5400000" scaled="0"/>
                </a:gradFill>
                <a:ea typeface="Segoe UI" pitchFamily="34" charset="0"/>
                <a:cs typeface="Segoe UI" pitchFamily="34" charset="0"/>
              </a:rPr>
              <a:t>Data</a:t>
            </a:r>
          </a:p>
        </p:txBody>
      </p:sp>
      <p:sp>
        <p:nvSpPr>
          <p:cNvPr id="135" name="Rectangle 134"/>
          <p:cNvSpPr/>
          <p:nvPr/>
        </p:nvSpPr>
        <p:spPr>
          <a:xfrm>
            <a:off x="1260737" y="1225914"/>
            <a:ext cx="1229001" cy="285750"/>
          </a:xfrm>
          <a:prstGeom prst="rect">
            <a:avLst/>
          </a:prstGeom>
          <a:solidFill>
            <a:schemeClr val="accent1"/>
          </a:solidFill>
          <a:ln w="9525" cap="flat" cmpd="sng" algn="ctr">
            <a:noFill/>
            <a:prstDash val="solid"/>
          </a:ln>
          <a:effectLst/>
        </p:spPr>
        <p:txBody>
          <a:bodyPr lIns="68589" tIns="34295" rIns="68589" bIns="34295"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24"/>
            <a:r>
              <a:rPr lang="en-US" sz="1100" dirty="0">
                <a:gradFill>
                  <a:gsLst>
                    <a:gs pos="0">
                      <a:srgbClr val="FFFFFF"/>
                    </a:gs>
                    <a:gs pos="100000">
                      <a:srgbClr val="FFFFFF"/>
                    </a:gs>
                  </a:gsLst>
                  <a:lin ang="5400000" scaled="0"/>
                </a:gradFill>
                <a:ea typeface="Segoe UI" pitchFamily="34" charset="0"/>
                <a:cs typeface="Segoe UI" pitchFamily="34" charset="0"/>
              </a:rPr>
              <a:t>Applications</a:t>
            </a:r>
          </a:p>
        </p:txBody>
      </p:sp>
      <p:sp>
        <p:nvSpPr>
          <p:cNvPr id="136" name="Rectangle 135"/>
          <p:cNvSpPr/>
          <p:nvPr/>
        </p:nvSpPr>
        <p:spPr>
          <a:xfrm>
            <a:off x="1260736" y="1920882"/>
            <a:ext cx="1229001" cy="285750"/>
          </a:xfrm>
          <a:prstGeom prst="rect">
            <a:avLst/>
          </a:prstGeom>
          <a:solidFill>
            <a:schemeClr val="accent1"/>
          </a:solidFill>
          <a:ln w="9525" cap="flat" cmpd="sng" algn="ctr">
            <a:noFill/>
            <a:prstDash val="solid"/>
          </a:ln>
          <a:effectLst/>
        </p:spPr>
        <p:txBody>
          <a:bodyPr lIns="68589" tIns="34295" rIns="68589" bIns="34295"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24"/>
            <a:r>
              <a:rPr lang="en-US" sz="1100" dirty="0">
                <a:gradFill>
                  <a:gsLst>
                    <a:gs pos="0">
                      <a:srgbClr val="FFFFFF"/>
                    </a:gs>
                    <a:gs pos="100000">
                      <a:srgbClr val="FFFFFF"/>
                    </a:gs>
                  </a:gsLst>
                  <a:lin ang="5400000" scaled="0"/>
                </a:gradFill>
                <a:ea typeface="Segoe UI" pitchFamily="34" charset="0"/>
                <a:cs typeface="Segoe UI" pitchFamily="34" charset="0"/>
              </a:rPr>
              <a:t>Firewall</a:t>
            </a:r>
            <a:endParaRPr lang="en-US" sz="1100" dirty="0">
              <a:gradFill>
                <a:gsLst>
                  <a:gs pos="0">
                    <a:srgbClr val="FFFFFF"/>
                  </a:gs>
                  <a:gs pos="100000">
                    <a:srgbClr val="FFFFFF"/>
                  </a:gs>
                </a:gsLst>
                <a:lin ang="5400000" scaled="0"/>
              </a:gradFill>
              <a:ea typeface="Segoe UI" pitchFamily="34" charset="0"/>
              <a:cs typeface="Segoe UI" pitchFamily="34" charset="0"/>
            </a:endParaRPr>
          </a:p>
        </p:txBody>
      </p:sp>
      <p:sp>
        <p:nvSpPr>
          <p:cNvPr id="170" name="Rectangle 169"/>
          <p:cNvSpPr/>
          <p:nvPr/>
        </p:nvSpPr>
        <p:spPr>
          <a:xfrm>
            <a:off x="7065506" y="1205266"/>
            <a:ext cx="1229000" cy="480060"/>
          </a:xfrm>
          <a:prstGeom prst="rect">
            <a:avLst/>
          </a:prstGeom>
          <a:noFill/>
          <a:ln w="9525" cap="flat" cmpd="sng" algn="ctr">
            <a:noFill/>
            <a:prstDash val="solid"/>
          </a:ln>
          <a:effectLst/>
        </p:spPr>
        <p:txBody>
          <a:bodyPr lIns="68589" tIns="0" rIns="68589"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914249" fontAlgn="base">
              <a:spcAft>
                <a:spcPct val="0"/>
              </a:spcAft>
            </a:pPr>
            <a:r>
              <a:rPr lang="en-US" sz="1500" dirty="0">
                <a:gradFill>
                  <a:gsLst>
                    <a:gs pos="0">
                      <a:srgbClr val="FFFFFF"/>
                    </a:gs>
                    <a:gs pos="100000">
                      <a:srgbClr val="FFFFFF"/>
                    </a:gs>
                  </a:gsLst>
                  <a:lin ang="5400000" scaled="0"/>
                </a:gradFill>
                <a:ea typeface="Kozuka Gothic Pro R" pitchFamily="34" charset="-128"/>
              </a:rPr>
              <a:t>Web </a:t>
            </a:r>
            <a:br>
              <a:rPr lang="en-US" sz="1500" dirty="0">
                <a:gradFill>
                  <a:gsLst>
                    <a:gs pos="0">
                      <a:srgbClr val="FFFFFF"/>
                    </a:gs>
                    <a:gs pos="100000">
                      <a:srgbClr val="FFFFFF"/>
                    </a:gs>
                  </a:gsLst>
                  <a:lin ang="5400000" scaled="0"/>
                </a:gradFill>
                <a:ea typeface="Kozuka Gothic Pro R" pitchFamily="34" charset="-128"/>
              </a:rPr>
            </a:br>
            <a:r>
              <a:rPr lang="en-US" sz="1500" dirty="0">
                <a:gradFill>
                  <a:gsLst>
                    <a:gs pos="0">
                      <a:srgbClr val="FFFFFF"/>
                    </a:gs>
                    <a:gs pos="100000">
                      <a:srgbClr val="FFFFFF"/>
                    </a:gs>
                  </a:gsLst>
                  <a:lin ang="5400000" scaled="0"/>
                </a:gradFill>
                <a:ea typeface="Kozuka Gothic Pro R" pitchFamily="34" charset="-128"/>
              </a:rPr>
              <a:t>Sites</a:t>
            </a:r>
            <a:endParaRPr lang="en-US" sz="1500" dirty="0">
              <a:gradFill>
                <a:gsLst>
                  <a:gs pos="0">
                    <a:srgbClr val="FFFFFF"/>
                  </a:gs>
                  <a:gs pos="100000">
                    <a:srgbClr val="FFFFFF"/>
                  </a:gs>
                </a:gsLst>
                <a:lin ang="5400000" scaled="0"/>
              </a:gradFill>
              <a:ea typeface="Kozuka Gothic Pro R" pitchFamily="34" charset="-128"/>
            </a:endParaRPr>
          </a:p>
        </p:txBody>
      </p:sp>
      <p:sp>
        <p:nvSpPr>
          <p:cNvPr id="180" name="Rectangle 179"/>
          <p:cNvSpPr/>
          <p:nvPr/>
        </p:nvSpPr>
        <p:spPr>
          <a:xfrm>
            <a:off x="7065505" y="1740278"/>
            <a:ext cx="1229000" cy="285750"/>
          </a:xfrm>
          <a:prstGeom prst="rect">
            <a:avLst/>
          </a:prstGeom>
          <a:solidFill>
            <a:schemeClr val="accent5"/>
          </a:solidFill>
          <a:ln w="9525" cap="flat" cmpd="sng" algn="ctr">
            <a:noFill/>
            <a:prstDash val="solid"/>
          </a:ln>
          <a:effectLst/>
        </p:spPr>
        <p:txBody>
          <a:bodyPr lIns="0" tIns="34295" rIns="0" bIns="34295" rtlCol="0" anchor="t" anchorCtr="0"/>
          <a:lstStyle/>
          <a:p>
            <a:pPr algn="ctr" defTabSz="914324"/>
            <a:r>
              <a:rPr lang="en-US" sz="1100" dirty="0">
                <a:gradFill>
                  <a:gsLst>
                    <a:gs pos="0">
                      <a:srgbClr val="FFFFFF"/>
                    </a:gs>
                    <a:gs pos="100000">
                      <a:srgbClr val="FFFFFF"/>
                    </a:gs>
                  </a:gsLst>
                  <a:lin ang="5400000" scaled="0"/>
                </a:gradFill>
                <a:ea typeface="Segoe UI" pitchFamily="34" charset="0"/>
                <a:cs typeface="Segoe UI" pitchFamily="34" charset="0"/>
              </a:rPr>
              <a:t>Applications</a:t>
            </a:r>
          </a:p>
        </p:txBody>
      </p:sp>
      <p:sp>
        <p:nvSpPr>
          <p:cNvPr id="182" name="Rectangle 181"/>
          <p:cNvSpPr/>
          <p:nvPr/>
        </p:nvSpPr>
        <p:spPr>
          <a:xfrm>
            <a:off x="7065505" y="2081392"/>
            <a:ext cx="1229000" cy="285750"/>
          </a:xfrm>
          <a:prstGeom prst="rect">
            <a:avLst/>
          </a:prstGeom>
          <a:solidFill>
            <a:schemeClr val="accent5"/>
          </a:solidFill>
          <a:ln w="9525" cap="flat" cmpd="sng" algn="ctr">
            <a:noFill/>
            <a:prstDash val="solid"/>
          </a:ln>
          <a:effectLst/>
        </p:spPr>
        <p:txBody>
          <a:bodyPr lIns="0" tIns="34295" rIns="0" bIns="34295" rtlCol="0" anchor="t" anchorCtr="0"/>
          <a:lstStyle/>
          <a:p>
            <a:pPr algn="ctr" defTabSz="914324"/>
            <a:r>
              <a:rPr lang="en-US" sz="1100" dirty="0">
                <a:gradFill>
                  <a:gsLst>
                    <a:gs pos="0">
                      <a:srgbClr val="FFFFFF"/>
                    </a:gs>
                    <a:gs pos="100000">
                      <a:srgbClr val="FFFFFF"/>
                    </a:gs>
                  </a:gsLst>
                  <a:lin ang="5400000" scaled="0"/>
                </a:gradFill>
                <a:ea typeface="Segoe UI" pitchFamily="34" charset="0"/>
                <a:cs typeface="Segoe UI" pitchFamily="34" charset="0"/>
              </a:rPr>
              <a:t>Data</a:t>
            </a:r>
          </a:p>
        </p:txBody>
      </p:sp>
      <p:sp>
        <p:nvSpPr>
          <p:cNvPr id="154" name="Rectangle 153"/>
          <p:cNvSpPr/>
          <p:nvPr/>
        </p:nvSpPr>
        <p:spPr>
          <a:xfrm>
            <a:off x="5147580" y="1205266"/>
            <a:ext cx="1229000" cy="480060"/>
          </a:xfrm>
          <a:prstGeom prst="rect">
            <a:avLst/>
          </a:prstGeom>
          <a:noFill/>
          <a:ln w="9525" cap="flat" cmpd="sng" algn="ctr">
            <a:noFill/>
            <a:prstDash val="solid"/>
          </a:ln>
          <a:effectLst/>
        </p:spPr>
        <p:txBody>
          <a:bodyPr lIns="68589" tIns="0" rIns="68589"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914249" fontAlgn="base">
              <a:spcAft>
                <a:spcPct val="0"/>
              </a:spcAft>
            </a:pPr>
            <a:r>
              <a:rPr lang="en-US" sz="1500" dirty="0">
                <a:gradFill>
                  <a:gsLst>
                    <a:gs pos="0">
                      <a:srgbClr val="FFFFFF"/>
                    </a:gs>
                    <a:gs pos="100000">
                      <a:srgbClr val="FFFFFF"/>
                    </a:gs>
                  </a:gsLst>
                  <a:lin ang="5400000" scaled="0"/>
                </a:gradFill>
                <a:ea typeface="Kozuka Gothic Pro R" pitchFamily="34" charset="-128"/>
              </a:rPr>
              <a:t>Cloud Services</a:t>
            </a:r>
            <a:endParaRPr lang="en-US" sz="1200" dirty="0">
              <a:gradFill>
                <a:gsLst>
                  <a:gs pos="0">
                    <a:srgbClr val="FFFFFF"/>
                  </a:gs>
                  <a:gs pos="100000">
                    <a:srgbClr val="FFFFFF"/>
                  </a:gs>
                </a:gsLst>
                <a:lin ang="5400000" scaled="0"/>
              </a:gradFill>
              <a:ea typeface="Kozuka Gothic Pro R" pitchFamily="34" charset="-128"/>
            </a:endParaRPr>
          </a:p>
        </p:txBody>
      </p:sp>
      <p:sp>
        <p:nvSpPr>
          <p:cNvPr id="166" name="Rectangle 165"/>
          <p:cNvSpPr/>
          <p:nvPr/>
        </p:nvSpPr>
        <p:spPr>
          <a:xfrm>
            <a:off x="5147580" y="1740280"/>
            <a:ext cx="1229000" cy="285750"/>
          </a:xfrm>
          <a:prstGeom prst="rect">
            <a:avLst/>
          </a:prstGeom>
          <a:solidFill>
            <a:schemeClr val="accent2"/>
          </a:solidFill>
          <a:ln w="9525" cap="flat" cmpd="sng" algn="ctr">
            <a:solidFill>
              <a:schemeClr val="accent2"/>
            </a:solidFill>
            <a:prstDash val="solid"/>
          </a:ln>
          <a:effectLst/>
        </p:spPr>
        <p:txBody>
          <a:bodyPr lIns="68589" tIns="34295" rIns="68589" bIns="34295" rtlCol="0" anchor="t" anchorCtr="0"/>
          <a:lstStyle/>
          <a:p>
            <a:pPr algn="ctr" defTabSz="914324"/>
            <a:r>
              <a:rPr lang="en-US" sz="1100" dirty="0">
                <a:gradFill>
                  <a:gsLst>
                    <a:gs pos="0">
                      <a:srgbClr val="FFFFFF"/>
                    </a:gs>
                    <a:gs pos="100000">
                      <a:srgbClr val="FFFFFF"/>
                    </a:gs>
                  </a:gsLst>
                  <a:lin ang="5400000" scaled="0"/>
                </a:gradFill>
                <a:ea typeface="Segoe UI" pitchFamily="34" charset="0"/>
                <a:cs typeface="Segoe UI" pitchFamily="34" charset="0"/>
              </a:rPr>
              <a:t>Applications</a:t>
            </a:r>
          </a:p>
        </p:txBody>
      </p:sp>
      <p:sp>
        <p:nvSpPr>
          <p:cNvPr id="167" name="Rectangle 166"/>
          <p:cNvSpPr/>
          <p:nvPr/>
        </p:nvSpPr>
        <p:spPr>
          <a:xfrm>
            <a:off x="5147580" y="2439658"/>
            <a:ext cx="1229000" cy="285750"/>
          </a:xfrm>
          <a:prstGeom prst="rect">
            <a:avLst/>
          </a:prstGeom>
          <a:solidFill>
            <a:schemeClr val="accent2"/>
          </a:solidFill>
          <a:ln w="9525" cap="flat" cmpd="sng" algn="ctr">
            <a:solidFill>
              <a:schemeClr val="accent2"/>
            </a:solidFill>
            <a:prstDash val="solid"/>
          </a:ln>
          <a:effectLst/>
        </p:spPr>
        <p:txBody>
          <a:bodyPr lIns="0" tIns="34295" rIns="0" bIns="34295" rtlCol="0" anchor="t" anchorCtr="0"/>
          <a:lstStyle/>
          <a:p>
            <a:pPr algn="ctr" defTabSz="914324"/>
            <a:r>
              <a:rPr lang="en-US" sz="1100" dirty="0">
                <a:gradFill>
                  <a:gsLst>
                    <a:gs pos="0">
                      <a:srgbClr val="FFFFFF"/>
                    </a:gs>
                    <a:gs pos="100000">
                      <a:srgbClr val="FFFFFF"/>
                    </a:gs>
                  </a:gsLst>
                  <a:lin ang="5400000" scaled="0"/>
                </a:gradFill>
                <a:ea typeface="Segoe UI" pitchFamily="34" charset="0"/>
                <a:cs typeface="Segoe UI" pitchFamily="34" charset="0"/>
              </a:rPr>
              <a:t>Firewall Rules</a:t>
            </a:r>
            <a:endParaRPr lang="en-US" sz="1100" dirty="0">
              <a:gradFill>
                <a:gsLst>
                  <a:gs pos="0">
                    <a:srgbClr val="FFFFFF"/>
                  </a:gs>
                  <a:gs pos="100000">
                    <a:srgbClr val="FFFFFF"/>
                  </a:gs>
                </a:gsLst>
                <a:lin ang="5400000" scaled="0"/>
              </a:gradFill>
              <a:ea typeface="Segoe UI" pitchFamily="34" charset="0"/>
              <a:cs typeface="Segoe UI" pitchFamily="34" charset="0"/>
            </a:endParaRPr>
          </a:p>
        </p:txBody>
      </p:sp>
      <p:sp>
        <p:nvSpPr>
          <p:cNvPr id="168" name="Rectangle 167"/>
          <p:cNvSpPr/>
          <p:nvPr/>
        </p:nvSpPr>
        <p:spPr>
          <a:xfrm>
            <a:off x="5147580" y="2081394"/>
            <a:ext cx="1229000" cy="285750"/>
          </a:xfrm>
          <a:prstGeom prst="rect">
            <a:avLst/>
          </a:prstGeom>
          <a:solidFill>
            <a:schemeClr val="accent2"/>
          </a:solidFill>
          <a:ln w="9525" cap="flat" cmpd="sng" algn="ctr">
            <a:solidFill>
              <a:schemeClr val="accent2"/>
            </a:solidFill>
            <a:prstDash val="solid"/>
          </a:ln>
          <a:effectLst/>
        </p:spPr>
        <p:txBody>
          <a:bodyPr lIns="68589" tIns="34295" rIns="68589" bIns="34295" rtlCol="0" anchor="t" anchorCtr="0"/>
          <a:lstStyle/>
          <a:p>
            <a:pPr algn="ctr" defTabSz="914324"/>
            <a:r>
              <a:rPr lang="en-US" sz="1100" dirty="0">
                <a:gradFill>
                  <a:gsLst>
                    <a:gs pos="0">
                      <a:srgbClr val="FFFFFF"/>
                    </a:gs>
                    <a:gs pos="100000">
                      <a:srgbClr val="FFFFFF"/>
                    </a:gs>
                  </a:gsLst>
                  <a:lin ang="5400000" scaled="0"/>
                </a:gradFill>
                <a:ea typeface="Segoe UI" pitchFamily="34" charset="0"/>
                <a:cs typeface="Segoe UI" pitchFamily="34" charset="0"/>
              </a:rPr>
              <a:t>Data</a:t>
            </a:r>
          </a:p>
        </p:txBody>
      </p:sp>
      <p:sp>
        <p:nvSpPr>
          <p:cNvPr id="77" name="Rectangle 76"/>
          <p:cNvSpPr/>
          <p:nvPr/>
        </p:nvSpPr>
        <p:spPr>
          <a:xfrm>
            <a:off x="5147580" y="2789950"/>
            <a:ext cx="1229000" cy="285750"/>
          </a:xfrm>
          <a:prstGeom prst="rect">
            <a:avLst/>
          </a:prstGeom>
          <a:solidFill>
            <a:schemeClr val="accent2"/>
          </a:solidFill>
          <a:ln w="9525" cap="flat" cmpd="sng" algn="ctr">
            <a:solidFill>
              <a:schemeClr val="accent2"/>
            </a:solidFill>
            <a:prstDash val="solid"/>
          </a:ln>
          <a:effectLst/>
        </p:spPr>
        <p:txBody>
          <a:bodyPr lIns="0" tIns="34295" rIns="0" bIns="34295" rtlCol="0" anchor="t" anchorCtr="0"/>
          <a:lstStyle/>
          <a:p>
            <a:pPr algn="ctr" defTabSz="914324"/>
            <a:r>
              <a:rPr lang="en-US" sz="1100" dirty="0">
                <a:gradFill>
                  <a:gsLst>
                    <a:gs pos="0">
                      <a:srgbClr val="FFFFFF"/>
                    </a:gs>
                    <a:gs pos="100000">
                      <a:srgbClr val="FFFFFF"/>
                    </a:gs>
                  </a:gsLst>
                  <a:lin ang="5400000" scaled="0"/>
                </a:gradFill>
                <a:ea typeface="Segoe UI" pitchFamily="34" charset="0"/>
                <a:cs typeface="Segoe UI" pitchFamily="34" charset="0"/>
              </a:rPr>
              <a:t>Virtual Network</a:t>
            </a:r>
            <a:endParaRPr lang="en-US" sz="1100" dirty="0">
              <a:gradFill>
                <a:gsLst>
                  <a:gs pos="0">
                    <a:srgbClr val="FFFFFF"/>
                  </a:gs>
                  <a:gs pos="100000">
                    <a:srgbClr val="FFFFFF"/>
                  </a:gs>
                </a:gsLst>
                <a:lin ang="5400000" scaled="0"/>
              </a:gradFill>
              <a:ea typeface="Segoe UI" pitchFamily="34" charset="0"/>
              <a:cs typeface="Segoe UI" pitchFamily="34" charset="0"/>
            </a:endParaRPr>
          </a:p>
        </p:txBody>
      </p:sp>
      <p:sp>
        <p:nvSpPr>
          <p:cNvPr id="138" name="Rectangle 137"/>
          <p:cNvSpPr/>
          <p:nvPr/>
        </p:nvSpPr>
        <p:spPr>
          <a:xfrm>
            <a:off x="3234894" y="1205266"/>
            <a:ext cx="1229001" cy="480060"/>
          </a:xfrm>
          <a:prstGeom prst="rect">
            <a:avLst/>
          </a:prstGeom>
          <a:noFill/>
          <a:ln w="9525" cap="flat" cmpd="sng" algn="ctr">
            <a:noFill/>
            <a:prstDash val="solid"/>
          </a:ln>
          <a:effectLst/>
        </p:spPr>
        <p:txBody>
          <a:bodyPr lIns="68589" tIns="0" rIns="68589"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914249" fontAlgn="base">
              <a:spcAft>
                <a:spcPct val="0"/>
              </a:spcAft>
            </a:pPr>
            <a:r>
              <a:rPr lang="en-US" sz="1500" dirty="0">
                <a:gradFill>
                  <a:gsLst>
                    <a:gs pos="0">
                      <a:srgbClr val="FFFFFF"/>
                    </a:gs>
                    <a:gs pos="100000">
                      <a:srgbClr val="FFFFFF"/>
                    </a:gs>
                  </a:gsLst>
                  <a:lin ang="5400000" scaled="0"/>
                </a:gradFill>
                <a:ea typeface="Kozuka Gothic Pro R" pitchFamily="34" charset="-128"/>
              </a:rPr>
              <a:t>Virtual Machines</a:t>
            </a:r>
            <a:endParaRPr lang="en-US" sz="1200" dirty="0">
              <a:gradFill>
                <a:gsLst>
                  <a:gs pos="0">
                    <a:srgbClr val="FFFFFF"/>
                  </a:gs>
                  <a:gs pos="100000">
                    <a:srgbClr val="FFFFFF"/>
                  </a:gs>
                </a:gsLst>
                <a:lin ang="5400000" scaled="0"/>
              </a:gradFill>
              <a:ea typeface="Kozuka Gothic Pro R" pitchFamily="34" charset="-128"/>
            </a:endParaRPr>
          </a:p>
        </p:txBody>
      </p:sp>
      <p:sp>
        <p:nvSpPr>
          <p:cNvPr id="149" name="Rectangle 148"/>
          <p:cNvSpPr/>
          <p:nvPr/>
        </p:nvSpPr>
        <p:spPr>
          <a:xfrm>
            <a:off x="3234894" y="2776359"/>
            <a:ext cx="1229001" cy="285750"/>
          </a:xfrm>
          <a:prstGeom prst="rect">
            <a:avLst/>
          </a:prstGeom>
          <a:solidFill>
            <a:schemeClr val="accent4"/>
          </a:solidFill>
          <a:ln w="9525" cap="flat" cmpd="sng" algn="ctr">
            <a:noFill/>
            <a:prstDash val="solid"/>
          </a:ln>
          <a:effectLst/>
        </p:spPr>
        <p:txBody>
          <a:bodyPr lIns="0" tIns="34295" rIns="0" bIns="34295"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324"/>
            <a:r>
              <a:rPr lang="en-US" sz="1100" dirty="0">
                <a:gradFill>
                  <a:gsLst>
                    <a:gs pos="0">
                      <a:srgbClr val="FFFFFF"/>
                    </a:gs>
                    <a:gs pos="100000">
                      <a:srgbClr val="FFFFFF"/>
                    </a:gs>
                  </a:gsLst>
                  <a:lin ang="5400000" scaled="0"/>
                </a:gradFill>
                <a:ea typeface="Segoe UI" pitchFamily="34" charset="0"/>
                <a:cs typeface="Segoe UI" pitchFamily="34" charset="0"/>
              </a:rPr>
              <a:t>Virtual Network</a:t>
            </a:r>
            <a:endParaRPr lang="en-US" sz="1100" dirty="0">
              <a:gradFill>
                <a:gsLst>
                  <a:gs pos="0">
                    <a:srgbClr val="FFFFFF"/>
                  </a:gs>
                  <a:gs pos="100000">
                    <a:srgbClr val="FFFFFF"/>
                  </a:gs>
                </a:gsLst>
                <a:lin ang="5400000" scaled="0"/>
              </a:gradFill>
              <a:ea typeface="Segoe UI" pitchFamily="34" charset="0"/>
              <a:cs typeface="Segoe UI" pitchFamily="34" charset="0"/>
            </a:endParaRPr>
          </a:p>
        </p:txBody>
      </p:sp>
      <p:sp>
        <p:nvSpPr>
          <p:cNvPr id="150" name="Rectangle 149"/>
          <p:cNvSpPr/>
          <p:nvPr/>
        </p:nvSpPr>
        <p:spPr>
          <a:xfrm>
            <a:off x="3234894" y="2081394"/>
            <a:ext cx="1229001" cy="285750"/>
          </a:xfrm>
          <a:prstGeom prst="rect">
            <a:avLst/>
          </a:prstGeom>
          <a:solidFill>
            <a:schemeClr val="accent4"/>
          </a:solidFill>
          <a:ln w="9525" cap="flat" cmpd="sng" algn="ctr">
            <a:solidFill>
              <a:schemeClr val="accent4"/>
            </a:solidFill>
            <a:prstDash val="solid"/>
          </a:ln>
          <a:effectLst/>
        </p:spPr>
        <p:txBody>
          <a:bodyPr lIns="68589" tIns="34295" rIns="68589" bIns="34295" rtlCol="0" anchor="t" anchorCtr="0"/>
          <a:lstStyle/>
          <a:p>
            <a:pPr algn="ctr" defTabSz="914324"/>
            <a:r>
              <a:rPr lang="en-US" sz="1100" dirty="0">
                <a:gradFill>
                  <a:gsLst>
                    <a:gs pos="0">
                      <a:srgbClr val="FFFFFF"/>
                    </a:gs>
                    <a:gs pos="100000">
                      <a:srgbClr val="FFFFFF"/>
                    </a:gs>
                  </a:gsLst>
                  <a:lin ang="5400000" scaled="0"/>
                </a:gradFill>
                <a:ea typeface="Segoe UI" pitchFamily="34" charset="0"/>
                <a:cs typeface="Segoe UI" pitchFamily="34" charset="0"/>
              </a:rPr>
              <a:t>Data</a:t>
            </a:r>
          </a:p>
        </p:txBody>
      </p:sp>
      <p:sp>
        <p:nvSpPr>
          <p:cNvPr id="151" name="Rectangle 150"/>
          <p:cNvSpPr/>
          <p:nvPr/>
        </p:nvSpPr>
        <p:spPr>
          <a:xfrm>
            <a:off x="3234894" y="1740281"/>
            <a:ext cx="1229001" cy="285750"/>
          </a:xfrm>
          <a:prstGeom prst="rect">
            <a:avLst/>
          </a:prstGeom>
          <a:solidFill>
            <a:schemeClr val="accent4"/>
          </a:solidFill>
          <a:ln w="9525" cap="flat" cmpd="sng" algn="ctr">
            <a:solidFill>
              <a:schemeClr val="accent4"/>
            </a:solidFill>
            <a:prstDash val="solid"/>
          </a:ln>
          <a:effectLst/>
        </p:spPr>
        <p:txBody>
          <a:bodyPr lIns="68589" tIns="34295" rIns="68589" bIns="34295" rtlCol="0" anchor="t" anchorCtr="0"/>
          <a:lstStyle/>
          <a:p>
            <a:pPr algn="ctr" defTabSz="914324"/>
            <a:r>
              <a:rPr lang="en-US" sz="1100" dirty="0">
                <a:gradFill>
                  <a:gsLst>
                    <a:gs pos="0">
                      <a:srgbClr val="FFFFFF"/>
                    </a:gs>
                    <a:gs pos="100000">
                      <a:srgbClr val="FFFFFF"/>
                    </a:gs>
                  </a:gsLst>
                  <a:lin ang="5400000" scaled="0"/>
                </a:gradFill>
                <a:ea typeface="Segoe UI" pitchFamily="34" charset="0"/>
                <a:cs typeface="Segoe UI" pitchFamily="34" charset="0"/>
              </a:rPr>
              <a:t>Applications</a:t>
            </a:r>
          </a:p>
        </p:txBody>
      </p:sp>
      <p:sp>
        <p:nvSpPr>
          <p:cNvPr id="152" name="Rectangle 151"/>
          <p:cNvSpPr/>
          <p:nvPr/>
        </p:nvSpPr>
        <p:spPr>
          <a:xfrm>
            <a:off x="3234894" y="2435246"/>
            <a:ext cx="1229001" cy="285750"/>
          </a:xfrm>
          <a:prstGeom prst="rect">
            <a:avLst/>
          </a:prstGeom>
          <a:solidFill>
            <a:schemeClr val="accent4"/>
          </a:solidFill>
          <a:ln w="9525" cap="flat" cmpd="sng" algn="ctr">
            <a:solidFill>
              <a:schemeClr val="accent4"/>
            </a:solidFill>
            <a:prstDash val="solid"/>
          </a:ln>
          <a:effectLst/>
        </p:spPr>
        <p:txBody>
          <a:bodyPr lIns="68589" tIns="34295" rIns="68589" bIns="34295" rtlCol="0" anchor="t" anchorCtr="0"/>
          <a:lstStyle/>
          <a:p>
            <a:pPr algn="ctr" defTabSz="914324"/>
            <a:r>
              <a:rPr lang="en-US" sz="1100" dirty="0">
                <a:gradFill>
                  <a:gsLst>
                    <a:gs pos="0">
                      <a:srgbClr val="FFFFFF"/>
                    </a:gs>
                    <a:gs pos="100000">
                      <a:srgbClr val="FFFFFF"/>
                    </a:gs>
                  </a:gsLst>
                  <a:lin ang="5400000" scaled="0"/>
                </a:gradFill>
                <a:ea typeface="Segoe UI" pitchFamily="34" charset="0"/>
                <a:cs typeface="Segoe UI" pitchFamily="34" charset="0"/>
              </a:rPr>
              <a:t>Firewall Rules</a:t>
            </a:r>
            <a:endParaRPr lang="en-US" sz="1100" dirty="0">
              <a:gradFill>
                <a:gsLst>
                  <a:gs pos="0">
                    <a:srgbClr val="FFFFFF"/>
                  </a:gs>
                  <a:gs pos="100000">
                    <a:srgbClr val="FFFFFF"/>
                  </a:gs>
                </a:gsLst>
                <a:lin ang="5400000" scaled="0"/>
              </a:gradFill>
              <a:ea typeface="Segoe UI" pitchFamily="34" charset="0"/>
              <a:cs typeface="Segoe UI" pitchFamily="34" charset="0"/>
            </a:endParaRPr>
          </a:p>
        </p:txBody>
      </p:sp>
      <p:sp>
        <p:nvSpPr>
          <p:cNvPr id="71" name="Rectangle 70"/>
          <p:cNvSpPr/>
          <p:nvPr/>
        </p:nvSpPr>
        <p:spPr>
          <a:xfrm>
            <a:off x="3234894" y="3117474"/>
            <a:ext cx="1229001" cy="285750"/>
          </a:xfrm>
          <a:prstGeom prst="rect">
            <a:avLst/>
          </a:prstGeom>
          <a:solidFill>
            <a:schemeClr val="accent4"/>
          </a:solidFill>
          <a:ln w="9525" cap="flat" cmpd="sng" algn="ctr">
            <a:solidFill>
              <a:schemeClr val="accent4"/>
            </a:solidFill>
            <a:prstDash val="solid"/>
          </a:ln>
          <a:effectLst/>
        </p:spPr>
        <p:txBody>
          <a:bodyPr lIns="68589" tIns="34295" rIns="68589" bIns="34295" rtlCol="0" anchor="t" anchorCtr="0"/>
          <a:lstStyle/>
          <a:p>
            <a:pPr algn="ctr" defTabSz="914324"/>
            <a:r>
              <a:rPr lang="en-US" sz="1100" dirty="0">
                <a:gradFill>
                  <a:gsLst>
                    <a:gs pos="0">
                      <a:srgbClr val="FFFFFF"/>
                    </a:gs>
                    <a:gs pos="100000">
                      <a:srgbClr val="FFFFFF"/>
                    </a:gs>
                  </a:gsLst>
                  <a:lin ang="5400000" scaled="0"/>
                </a:gradFill>
                <a:ea typeface="Segoe UI" pitchFamily="34" charset="0"/>
                <a:cs typeface="Segoe UI" pitchFamily="34" charset="0"/>
              </a:rPr>
              <a:t>O/S</a:t>
            </a:r>
            <a:endParaRPr lang="en-US" sz="11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Pentagon 40"/>
          <p:cNvSpPr/>
          <p:nvPr/>
        </p:nvSpPr>
        <p:spPr bwMode="auto">
          <a:xfrm>
            <a:off x="446805" y="4465101"/>
            <a:ext cx="8146215" cy="506949"/>
          </a:xfrm>
          <a:prstGeom prst="homePlate">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ctr" anchorCtr="0" forceAA="0" compatLnSpc="1">
            <a:prstTxWarp prst="textNoShape">
              <a:avLst/>
            </a:prstTxWarp>
            <a:noAutofit/>
          </a:bodyPr>
          <a:lstStyle/>
          <a:p>
            <a:pPr algn="ctr" defTabSz="685666" fontAlgn="base">
              <a:spcBef>
                <a:spcPct val="0"/>
              </a:spcBef>
              <a:spcAft>
                <a:spcPct val="0"/>
              </a:spcAft>
            </a:pPr>
            <a:r>
              <a:rPr lang="en-US" sz="1800" dirty="0">
                <a:gradFill>
                  <a:gsLst>
                    <a:gs pos="0">
                      <a:srgbClr val="FFFFFF"/>
                    </a:gs>
                    <a:gs pos="100000">
                      <a:srgbClr val="FFFFFF"/>
                    </a:gs>
                  </a:gsLst>
                  <a:lin ang="5400000" scaled="0"/>
                </a:gradFill>
                <a:ea typeface="Segoe UI" pitchFamily="34" charset="0"/>
                <a:cs typeface="Segoe UI" pitchFamily="34" charset="0"/>
              </a:rPr>
              <a:t>Focus on the Application</a:t>
            </a:r>
          </a:p>
        </p:txBody>
      </p:sp>
      <p:pic>
        <p:nvPicPr>
          <p:cNvPr id="1026" name="Picture 2" descr="C:\Users\Jonahs\Dropbox\Critical Resources\Helveticons Basic\Png\512x512\Company 512x512.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46805" y="3574679"/>
            <a:ext cx="769418" cy="769217"/>
          </a:xfrm>
          <a:prstGeom prst="rect">
            <a:avLst/>
          </a:prstGeom>
          <a:noFill/>
          <a:extLst>
            <a:ext uri="{909E8E84-426E-40DD-AFC4-6F175D3DCCD1}">
              <a14:hiddenFill xmlns:a14="http://schemas.microsoft.com/office/drawing/2010/main">
                <a:solidFill>
                  <a:srgbClr val="FFFFFF"/>
                </a:solidFill>
              </a14:hiddenFill>
            </a:ext>
          </a:extLst>
        </p:spPr>
      </p:pic>
      <p:cxnSp>
        <p:nvCxnSpPr>
          <p:cNvPr id="4" name="Straight Connector 3"/>
          <p:cNvCxnSpPr/>
          <p:nvPr/>
        </p:nvCxnSpPr>
        <p:spPr>
          <a:xfrm>
            <a:off x="2719415" y="690902"/>
            <a:ext cx="0" cy="3579513"/>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Left Brace 2"/>
          <p:cNvSpPr/>
          <p:nvPr/>
        </p:nvSpPr>
        <p:spPr>
          <a:xfrm rot="5400000">
            <a:off x="5547852" y="-952258"/>
            <a:ext cx="333745" cy="3930566"/>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lIns="68589" tIns="34295" rIns="68589" bIns="34295" rtlCol="0" anchor="ctr"/>
          <a:lstStyle/>
          <a:p>
            <a:pPr algn="ctr"/>
            <a:endParaRPr lang="en-US">
              <a:solidFill>
                <a:srgbClr val="FFFFFF"/>
              </a:solidFill>
            </a:endParaRPr>
          </a:p>
        </p:txBody>
      </p:sp>
      <p:sp>
        <p:nvSpPr>
          <p:cNvPr id="38" name="Rectangle 37"/>
          <p:cNvSpPr/>
          <p:nvPr/>
        </p:nvSpPr>
        <p:spPr>
          <a:xfrm>
            <a:off x="4726802" y="472231"/>
            <a:ext cx="1985990" cy="480060"/>
          </a:xfrm>
          <a:prstGeom prst="rect">
            <a:avLst/>
          </a:prstGeom>
          <a:noFill/>
          <a:ln w="9525" cap="flat" cmpd="sng" algn="ctr">
            <a:noFill/>
            <a:prstDash val="solid"/>
          </a:ln>
          <a:effectLst/>
        </p:spPr>
        <p:txBody>
          <a:bodyPr lIns="0" tIns="0" rIns="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914249" fontAlgn="base">
              <a:spcAft>
                <a:spcPct val="0"/>
              </a:spcAft>
            </a:pPr>
            <a:r>
              <a:rPr lang="en-US" sz="1500" dirty="0">
                <a:gradFill>
                  <a:gsLst>
                    <a:gs pos="0">
                      <a:srgbClr val="FFFFFF"/>
                    </a:gs>
                    <a:gs pos="100000">
                      <a:srgbClr val="FFFFFF"/>
                    </a:gs>
                  </a:gsLst>
                  <a:lin ang="5400000" scaled="0"/>
                </a:gradFill>
                <a:ea typeface="Kozuka Gothic Pro R" pitchFamily="34" charset="-128"/>
              </a:rPr>
              <a:t>Windows Azure</a:t>
            </a:r>
            <a:endParaRPr lang="en-US" sz="1500" dirty="0">
              <a:gradFill>
                <a:gsLst>
                  <a:gs pos="0">
                    <a:srgbClr val="FFFFFF"/>
                  </a:gs>
                  <a:gs pos="100000">
                    <a:srgbClr val="FFFFFF"/>
                  </a:gs>
                </a:gsLst>
                <a:lin ang="5400000" scaled="0"/>
              </a:gradFill>
              <a:ea typeface="Kozuka Gothic Pro R" pitchFamily="34" charset="-128"/>
            </a:endParaRPr>
          </a:p>
        </p:txBody>
      </p:sp>
      <p:sp>
        <p:nvSpPr>
          <p:cNvPr id="33"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6"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7"/>
              </a:rPr>
              <a:t>www.rapidbbs.cn</a:t>
            </a:r>
            <a:endParaRPr lang="zh-CN" altLang="en-US" sz="1200" b="0">
              <a:latin typeface="Arial" charset="0"/>
              <a:ea typeface="ＭＳ Ｐゴシック" pitchFamily="34" charset="-128"/>
            </a:endParaRPr>
          </a:p>
        </p:txBody>
      </p:sp>
      <p:pic>
        <p:nvPicPr>
          <p:cNvPr id="37" name="Picture 2">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67683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fade">
                                      <p:cBhvr>
                                        <p:cTn id="7" dur="500"/>
                                        <p:tgtEl>
                                          <p:spTgt spid="102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500"/>
                                        <p:tgtEl>
                                          <p:spTgt spid="2"/>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24"/>
                                        </p:tgtEl>
                                        <p:attrNameLst>
                                          <p:attrName>style.visibility</p:attrName>
                                        </p:attrNameLst>
                                      </p:cBhvr>
                                      <p:to>
                                        <p:strVal val="visible"/>
                                      </p:to>
                                    </p:set>
                                    <p:animEffect transition="in" filter="fade">
                                      <p:cBhvr>
                                        <p:cTn id="19" dur="500"/>
                                        <p:tgtEl>
                                          <p:spTgt spid="124"/>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38"/>
                                        </p:tgtEl>
                                        <p:attrNameLst>
                                          <p:attrName>style.visibility</p:attrName>
                                        </p:attrNameLst>
                                      </p:cBhvr>
                                      <p:to>
                                        <p:strVal val="visible"/>
                                      </p:to>
                                    </p:set>
                                    <p:animEffect transition="in" filter="fade">
                                      <p:cBhvr>
                                        <p:cTn id="27" dur="500"/>
                                        <p:tgtEl>
                                          <p:spTgt spid="38"/>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135"/>
                                        </p:tgtEl>
                                        <p:attrNameLst>
                                          <p:attrName>style.visibility</p:attrName>
                                        </p:attrNameLst>
                                      </p:cBhvr>
                                      <p:to>
                                        <p:strVal val="visible"/>
                                      </p:to>
                                    </p:set>
                                    <p:animEffect transition="in" filter="fade">
                                      <p:cBhvr>
                                        <p:cTn id="31" dur="500"/>
                                        <p:tgtEl>
                                          <p:spTgt spid="135"/>
                                        </p:tgtEl>
                                      </p:cBhvr>
                                    </p:animEffect>
                                  </p:childTnLst>
                                </p:cTn>
                              </p:par>
                              <p:par>
                                <p:cTn id="32" presetID="10" presetClass="entr" presetSubtype="0" fill="hold" grpId="0" nodeType="withEffect">
                                  <p:stCondLst>
                                    <p:cond delay="130"/>
                                  </p:stCondLst>
                                  <p:childTnLst>
                                    <p:set>
                                      <p:cBhvr>
                                        <p:cTn id="33" dur="1" fill="hold">
                                          <p:stCondLst>
                                            <p:cond delay="0"/>
                                          </p:stCondLst>
                                        </p:cTn>
                                        <p:tgtEl>
                                          <p:spTgt spid="134"/>
                                        </p:tgtEl>
                                        <p:attrNameLst>
                                          <p:attrName>style.visibility</p:attrName>
                                        </p:attrNameLst>
                                      </p:cBhvr>
                                      <p:to>
                                        <p:strVal val="visible"/>
                                      </p:to>
                                    </p:set>
                                    <p:animEffect transition="in" filter="fade">
                                      <p:cBhvr>
                                        <p:cTn id="34" dur="500"/>
                                        <p:tgtEl>
                                          <p:spTgt spid="134"/>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136"/>
                                        </p:tgtEl>
                                        <p:attrNameLst>
                                          <p:attrName>style.visibility</p:attrName>
                                        </p:attrNameLst>
                                      </p:cBhvr>
                                      <p:to>
                                        <p:strVal val="visible"/>
                                      </p:to>
                                    </p:set>
                                    <p:animEffect transition="in" filter="fade">
                                      <p:cBhvr>
                                        <p:cTn id="37" dur="500"/>
                                        <p:tgtEl>
                                          <p:spTgt spid="136"/>
                                        </p:tgtEl>
                                      </p:cBhvr>
                                    </p:animEffect>
                                  </p:childTnLst>
                                </p:cTn>
                              </p:par>
                              <p:par>
                                <p:cTn id="38" presetID="10" presetClass="entr" presetSubtype="0" fill="hold" grpId="0" nodeType="withEffect">
                                  <p:stCondLst>
                                    <p:cond delay="630"/>
                                  </p:stCondLst>
                                  <p:childTnLst>
                                    <p:set>
                                      <p:cBhvr>
                                        <p:cTn id="39" dur="1" fill="hold">
                                          <p:stCondLst>
                                            <p:cond delay="0"/>
                                          </p:stCondLst>
                                        </p:cTn>
                                        <p:tgtEl>
                                          <p:spTgt spid="133"/>
                                        </p:tgtEl>
                                        <p:attrNameLst>
                                          <p:attrName>style.visibility</p:attrName>
                                        </p:attrNameLst>
                                      </p:cBhvr>
                                      <p:to>
                                        <p:strVal val="visible"/>
                                      </p:to>
                                    </p:set>
                                    <p:animEffect transition="in" filter="fade">
                                      <p:cBhvr>
                                        <p:cTn id="40" dur="500"/>
                                        <p:tgtEl>
                                          <p:spTgt spid="133"/>
                                        </p:tgtEl>
                                      </p:cBhvr>
                                    </p:animEffect>
                                  </p:childTnLst>
                                </p:cTn>
                              </p:par>
                              <p:par>
                                <p:cTn id="41" presetID="10" presetClass="entr" presetSubtype="0" fill="hold" grpId="0" nodeType="withEffect">
                                  <p:stCondLst>
                                    <p:cond delay="750"/>
                                  </p:stCondLst>
                                  <p:childTnLst>
                                    <p:set>
                                      <p:cBhvr>
                                        <p:cTn id="42" dur="1" fill="hold">
                                          <p:stCondLst>
                                            <p:cond delay="0"/>
                                          </p:stCondLst>
                                        </p:cTn>
                                        <p:tgtEl>
                                          <p:spTgt spid="129"/>
                                        </p:tgtEl>
                                        <p:attrNameLst>
                                          <p:attrName>style.visibility</p:attrName>
                                        </p:attrNameLst>
                                      </p:cBhvr>
                                      <p:to>
                                        <p:strVal val="visible"/>
                                      </p:to>
                                    </p:set>
                                    <p:animEffect transition="in" filter="fade">
                                      <p:cBhvr>
                                        <p:cTn id="43" dur="500"/>
                                        <p:tgtEl>
                                          <p:spTgt spid="129"/>
                                        </p:tgtEl>
                                      </p:cBhvr>
                                    </p:animEffect>
                                  </p:childTnLst>
                                </p:cTn>
                              </p:par>
                              <p:par>
                                <p:cTn id="44" presetID="10" presetClass="entr" presetSubtype="0" fill="hold" grpId="0" nodeType="withEffect">
                                  <p:stCondLst>
                                    <p:cond delay="880"/>
                                  </p:stCondLst>
                                  <p:childTnLst>
                                    <p:set>
                                      <p:cBhvr>
                                        <p:cTn id="45" dur="1" fill="hold">
                                          <p:stCondLst>
                                            <p:cond delay="0"/>
                                          </p:stCondLst>
                                        </p:cTn>
                                        <p:tgtEl>
                                          <p:spTgt spid="128"/>
                                        </p:tgtEl>
                                        <p:attrNameLst>
                                          <p:attrName>style.visibility</p:attrName>
                                        </p:attrNameLst>
                                      </p:cBhvr>
                                      <p:to>
                                        <p:strVal val="visible"/>
                                      </p:to>
                                    </p:set>
                                    <p:animEffect transition="in" filter="fade">
                                      <p:cBhvr>
                                        <p:cTn id="46" dur="500"/>
                                        <p:tgtEl>
                                          <p:spTgt spid="128"/>
                                        </p:tgtEl>
                                      </p:cBhvr>
                                    </p:animEffect>
                                  </p:childTnLst>
                                </p:cTn>
                              </p:par>
                              <p:par>
                                <p:cTn id="47" presetID="10" presetClass="entr" presetSubtype="0" fill="hold" grpId="0" nodeType="withEffect">
                                  <p:stCondLst>
                                    <p:cond delay="1000"/>
                                  </p:stCondLst>
                                  <p:childTnLst>
                                    <p:set>
                                      <p:cBhvr>
                                        <p:cTn id="48" dur="1" fill="hold">
                                          <p:stCondLst>
                                            <p:cond delay="0"/>
                                          </p:stCondLst>
                                        </p:cTn>
                                        <p:tgtEl>
                                          <p:spTgt spid="130"/>
                                        </p:tgtEl>
                                        <p:attrNameLst>
                                          <p:attrName>style.visibility</p:attrName>
                                        </p:attrNameLst>
                                      </p:cBhvr>
                                      <p:to>
                                        <p:strVal val="visible"/>
                                      </p:to>
                                    </p:set>
                                    <p:animEffect transition="in" filter="fade">
                                      <p:cBhvr>
                                        <p:cTn id="49" dur="500"/>
                                        <p:tgtEl>
                                          <p:spTgt spid="130"/>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138"/>
                                        </p:tgtEl>
                                        <p:attrNameLst>
                                          <p:attrName>style.visibility</p:attrName>
                                        </p:attrNameLst>
                                      </p:cBhvr>
                                      <p:to>
                                        <p:strVal val="visible"/>
                                      </p:to>
                                    </p:set>
                                    <p:animEffect transition="in" filter="fade">
                                      <p:cBhvr>
                                        <p:cTn id="54" dur="500"/>
                                        <p:tgtEl>
                                          <p:spTgt spid="138"/>
                                        </p:tgtEl>
                                      </p:cBhvr>
                                    </p:animEffect>
                                  </p:childTnLst>
                                </p:cTn>
                              </p:par>
                              <p:par>
                                <p:cTn id="55" presetID="10" presetClass="entr" presetSubtype="0" fill="hold" grpId="0" nodeType="withEffect">
                                  <p:stCondLst>
                                    <p:cond delay="130"/>
                                  </p:stCondLst>
                                  <p:childTnLst>
                                    <p:set>
                                      <p:cBhvr>
                                        <p:cTn id="56" dur="1" fill="hold">
                                          <p:stCondLst>
                                            <p:cond delay="0"/>
                                          </p:stCondLst>
                                        </p:cTn>
                                        <p:tgtEl>
                                          <p:spTgt spid="151"/>
                                        </p:tgtEl>
                                        <p:attrNameLst>
                                          <p:attrName>style.visibility</p:attrName>
                                        </p:attrNameLst>
                                      </p:cBhvr>
                                      <p:to>
                                        <p:strVal val="visible"/>
                                      </p:to>
                                    </p:set>
                                    <p:animEffect transition="in" filter="fade">
                                      <p:cBhvr>
                                        <p:cTn id="57" dur="500"/>
                                        <p:tgtEl>
                                          <p:spTgt spid="151"/>
                                        </p:tgtEl>
                                      </p:cBhvr>
                                    </p:animEffect>
                                  </p:childTnLst>
                                </p:cTn>
                              </p:par>
                              <p:par>
                                <p:cTn id="58" presetID="10" presetClass="entr" presetSubtype="0" fill="hold" grpId="0" nodeType="withEffect">
                                  <p:stCondLst>
                                    <p:cond delay="250"/>
                                  </p:stCondLst>
                                  <p:childTnLst>
                                    <p:set>
                                      <p:cBhvr>
                                        <p:cTn id="59" dur="1" fill="hold">
                                          <p:stCondLst>
                                            <p:cond delay="0"/>
                                          </p:stCondLst>
                                        </p:cTn>
                                        <p:tgtEl>
                                          <p:spTgt spid="150"/>
                                        </p:tgtEl>
                                        <p:attrNameLst>
                                          <p:attrName>style.visibility</p:attrName>
                                        </p:attrNameLst>
                                      </p:cBhvr>
                                      <p:to>
                                        <p:strVal val="visible"/>
                                      </p:to>
                                    </p:set>
                                    <p:animEffect transition="in" filter="fade">
                                      <p:cBhvr>
                                        <p:cTn id="60" dur="500"/>
                                        <p:tgtEl>
                                          <p:spTgt spid="150"/>
                                        </p:tgtEl>
                                      </p:cBhvr>
                                    </p:animEffect>
                                  </p:childTnLst>
                                </p:cTn>
                              </p:par>
                              <p:par>
                                <p:cTn id="61" presetID="10" presetClass="entr" presetSubtype="0" fill="hold" grpId="0" nodeType="withEffect">
                                  <p:stCondLst>
                                    <p:cond delay="630"/>
                                  </p:stCondLst>
                                  <p:childTnLst>
                                    <p:set>
                                      <p:cBhvr>
                                        <p:cTn id="62" dur="1" fill="hold">
                                          <p:stCondLst>
                                            <p:cond delay="0"/>
                                          </p:stCondLst>
                                        </p:cTn>
                                        <p:tgtEl>
                                          <p:spTgt spid="152"/>
                                        </p:tgtEl>
                                        <p:attrNameLst>
                                          <p:attrName>style.visibility</p:attrName>
                                        </p:attrNameLst>
                                      </p:cBhvr>
                                      <p:to>
                                        <p:strVal val="visible"/>
                                      </p:to>
                                    </p:set>
                                    <p:animEffect transition="in" filter="fade">
                                      <p:cBhvr>
                                        <p:cTn id="63" dur="500"/>
                                        <p:tgtEl>
                                          <p:spTgt spid="152"/>
                                        </p:tgtEl>
                                      </p:cBhvr>
                                    </p:animEffect>
                                  </p:childTnLst>
                                </p:cTn>
                              </p:par>
                              <p:par>
                                <p:cTn id="64" presetID="10" presetClass="entr" presetSubtype="0" fill="hold" grpId="0" nodeType="withEffect">
                                  <p:stCondLst>
                                    <p:cond delay="750"/>
                                  </p:stCondLst>
                                  <p:childTnLst>
                                    <p:set>
                                      <p:cBhvr>
                                        <p:cTn id="65" dur="1" fill="hold">
                                          <p:stCondLst>
                                            <p:cond delay="0"/>
                                          </p:stCondLst>
                                        </p:cTn>
                                        <p:tgtEl>
                                          <p:spTgt spid="149"/>
                                        </p:tgtEl>
                                        <p:attrNameLst>
                                          <p:attrName>style.visibility</p:attrName>
                                        </p:attrNameLst>
                                      </p:cBhvr>
                                      <p:to>
                                        <p:strVal val="visible"/>
                                      </p:to>
                                    </p:set>
                                    <p:animEffect transition="in" filter="fade">
                                      <p:cBhvr>
                                        <p:cTn id="66" dur="500"/>
                                        <p:tgtEl>
                                          <p:spTgt spid="149"/>
                                        </p:tgtEl>
                                      </p:cBhvr>
                                    </p:animEffect>
                                  </p:childTnLst>
                                </p:cTn>
                              </p:par>
                              <p:par>
                                <p:cTn id="67" presetID="10" presetClass="entr" presetSubtype="0" fill="hold" grpId="0" nodeType="withEffect">
                                  <p:stCondLst>
                                    <p:cond delay="880"/>
                                  </p:stCondLst>
                                  <p:childTnLst>
                                    <p:set>
                                      <p:cBhvr>
                                        <p:cTn id="68" dur="1" fill="hold">
                                          <p:stCondLst>
                                            <p:cond delay="0"/>
                                          </p:stCondLst>
                                        </p:cTn>
                                        <p:tgtEl>
                                          <p:spTgt spid="71"/>
                                        </p:tgtEl>
                                        <p:attrNameLst>
                                          <p:attrName>style.visibility</p:attrName>
                                        </p:attrNameLst>
                                      </p:cBhvr>
                                      <p:to>
                                        <p:strVal val="visible"/>
                                      </p:to>
                                    </p:set>
                                    <p:animEffect transition="in" filter="fade">
                                      <p:cBhvr>
                                        <p:cTn id="69" dur="500"/>
                                        <p:tgtEl>
                                          <p:spTgt spid="71"/>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grpId="0" nodeType="clickEffect">
                                  <p:stCondLst>
                                    <p:cond delay="0"/>
                                  </p:stCondLst>
                                  <p:childTnLst>
                                    <p:set>
                                      <p:cBhvr>
                                        <p:cTn id="73" dur="1" fill="hold">
                                          <p:stCondLst>
                                            <p:cond delay="0"/>
                                          </p:stCondLst>
                                        </p:cTn>
                                        <p:tgtEl>
                                          <p:spTgt spid="154"/>
                                        </p:tgtEl>
                                        <p:attrNameLst>
                                          <p:attrName>style.visibility</p:attrName>
                                        </p:attrNameLst>
                                      </p:cBhvr>
                                      <p:to>
                                        <p:strVal val="visible"/>
                                      </p:to>
                                    </p:set>
                                    <p:animEffect transition="in" filter="fade">
                                      <p:cBhvr>
                                        <p:cTn id="74" dur="500"/>
                                        <p:tgtEl>
                                          <p:spTgt spid="154"/>
                                        </p:tgtEl>
                                      </p:cBhvr>
                                    </p:animEffect>
                                  </p:childTnLst>
                                </p:cTn>
                              </p:par>
                              <p:par>
                                <p:cTn id="75" presetID="10" presetClass="entr" presetSubtype="0" fill="hold" grpId="0" nodeType="withEffect">
                                  <p:stCondLst>
                                    <p:cond delay="130"/>
                                  </p:stCondLst>
                                  <p:childTnLst>
                                    <p:set>
                                      <p:cBhvr>
                                        <p:cTn id="76" dur="1" fill="hold">
                                          <p:stCondLst>
                                            <p:cond delay="0"/>
                                          </p:stCondLst>
                                        </p:cTn>
                                        <p:tgtEl>
                                          <p:spTgt spid="166"/>
                                        </p:tgtEl>
                                        <p:attrNameLst>
                                          <p:attrName>style.visibility</p:attrName>
                                        </p:attrNameLst>
                                      </p:cBhvr>
                                      <p:to>
                                        <p:strVal val="visible"/>
                                      </p:to>
                                    </p:set>
                                    <p:animEffect transition="in" filter="fade">
                                      <p:cBhvr>
                                        <p:cTn id="77" dur="500"/>
                                        <p:tgtEl>
                                          <p:spTgt spid="166"/>
                                        </p:tgtEl>
                                      </p:cBhvr>
                                    </p:animEffect>
                                  </p:childTnLst>
                                </p:cTn>
                              </p:par>
                              <p:par>
                                <p:cTn id="78" presetID="10" presetClass="entr" presetSubtype="0" fill="hold" grpId="0" nodeType="withEffect">
                                  <p:stCondLst>
                                    <p:cond delay="250"/>
                                  </p:stCondLst>
                                  <p:childTnLst>
                                    <p:set>
                                      <p:cBhvr>
                                        <p:cTn id="79" dur="1" fill="hold">
                                          <p:stCondLst>
                                            <p:cond delay="0"/>
                                          </p:stCondLst>
                                        </p:cTn>
                                        <p:tgtEl>
                                          <p:spTgt spid="168"/>
                                        </p:tgtEl>
                                        <p:attrNameLst>
                                          <p:attrName>style.visibility</p:attrName>
                                        </p:attrNameLst>
                                      </p:cBhvr>
                                      <p:to>
                                        <p:strVal val="visible"/>
                                      </p:to>
                                    </p:set>
                                    <p:animEffect transition="in" filter="fade">
                                      <p:cBhvr>
                                        <p:cTn id="80" dur="500"/>
                                        <p:tgtEl>
                                          <p:spTgt spid="168"/>
                                        </p:tgtEl>
                                      </p:cBhvr>
                                    </p:animEffect>
                                  </p:childTnLst>
                                </p:cTn>
                              </p:par>
                              <p:par>
                                <p:cTn id="81" presetID="10" presetClass="entr" presetSubtype="0" fill="hold" grpId="0" nodeType="withEffect">
                                  <p:stCondLst>
                                    <p:cond delay="630"/>
                                  </p:stCondLst>
                                  <p:childTnLst>
                                    <p:set>
                                      <p:cBhvr>
                                        <p:cTn id="82" dur="1" fill="hold">
                                          <p:stCondLst>
                                            <p:cond delay="0"/>
                                          </p:stCondLst>
                                        </p:cTn>
                                        <p:tgtEl>
                                          <p:spTgt spid="167"/>
                                        </p:tgtEl>
                                        <p:attrNameLst>
                                          <p:attrName>style.visibility</p:attrName>
                                        </p:attrNameLst>
                                      </p:cBhvr>
                                      <p:to>
                                        <p:strVal val="visible"/>
                                      </p:to>
                                    </p:set>
                                    <p:animEffect transition="in" filter="fade">
                                      <p:cBhvr>
                                        <p:cTn id="83" dur="500"/>
                                        <p:tgtEl>
                                          <p:spTgt spid="167"/>
                                        </p:tgtEl>
                                      </p:cBhvr>
                                    </p:animEffect>
                                  </p:childTnLst>
                                </p:cTn>
                              </p:par>
                              <p:par>
                                <p:cTn id="84" presetID="10" presetClass="entr" presetSubtype="0" fill="hold" grpId="0" nodeType="withEffect">
                                  <p:stCondLst>
                                    <p:cond delay="750"/>
                                  </p:stCondLst>
                                  <p:childTnLst>
                                    <p:set>
                                      <p:cBhvr>
                                        <p:cTn id="85" dur="1" fill="hold">
                                          <p:stCondLst>
                                            <p:cond delay="0"/>
                                          </p:stCondLst>
                                        </p:cTn>
                                        <p:tgtEl>
                                          <p:spTgt spid="77"/>
                                        </p:tgtEl>
                                        <p:attrNameLst>
                                          <p:attrName>style.visibility</p:attrName>
                                        </p:attrNameLst>
                                      </p:cBhvr>
                                      <p:to>
                                        <p:strVal val="visible"/>
                                      </p:to>
                                    </p:set>
                                    <p:animEffect transition="in" filter="fade">
                                      <p:cBhvr>
                                        <p:cTn id="86" dur="500"/>
                                        <p:tgtEl>
                                          <p:spTgt spid="77"/>
                                        </p:tgtEl>
                                      </p:cBhvr>
                                    </p:animEffec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grpId="0" nodeType="clickEffect">
                                  <p:stCondLst>
                                    <p:cond delay="0"/>
                                  </p:stCondLst>
                                  <p:childTnLst>
                                    <p:set>
                                      <p:cBhvr>
                                        <p:cTn id="90" dur="1" fill="hold">
                                          <p:stCondLst>
                                            <p:cond delay="0"/>
                                          </p:stCondLst>
                                        </p:cTn>
                                        <p:tgtEl>
                                          <p:spTgt spid="170"/>
                                        </p:tgtEl>
                                        <p:attrNameLst>
                                          <p:attrName>style.visibility</p:attrName>
                                        </p:attrNameLst>
                                      </p:cBhvr>
                                      <p:to>
                                        <p:strVal val="visible"/>
                                      </p:to>
                                    </p:set>
                                    <p:animEffect transition="in" filter="fade">
                                      <p:cBhvr>
                                        <p:cTn id="91" dur="500"/>
                                        <p:tgtEl>
                                          <p:spTgt spid="170"/>
                                        </p:tgtEl>
                                      </p:cBhvr>
                                    </p:animEffect>
                                  </p:childTnLst>
                                </p:cTn>
                              </p:par>
                              <p:par>
                                <p:cTn id="92" presetID="10" presetClass="entr" presetSubtype="0" fill="hold" grpId="0" nodeType="withEffect">
                                  <p:stCondLst>
                                    <p:cond delay="130"/>
                                  </p:stCondLst>
                                  <p:childTnLst>
                                    <p:set>
                                      <p:cBhvr>
                                        <p:cTn id="93" dur="1" fill="hold">
                                          <p:stCondLst>
                                            <p:cond delay="0"/>
                                          </p:stCondLst>
                                        </p:cTn>
                                        <p:tgtEl>
                                          <p:spTgt spid="180"/>
                                        </p:tgtEl>
                                        <p:attrNameLst>
                                          <p:attrName>style.visibility</p:attrName>
                                        </p:attrNameLst>
                                      </p:cBhvr>
                                      <p:to>
                                        <p:strVal val="visible"/>
                                      </p:to>
                                    </p:set>
                                    <p:animEffect transition="in" filter="fade">
                                      <p:cBhvr>
                                        <p:cTn id="94" dur="500"/>
                                        <p:tgtEl>
                                          <p:spTgt spid="180"/>
                                        </p:tgtEl>
                                      </p:cBhvr>
                                    </p:animEffect>
                                  </p:childTnLst>
                                </p:cTn>
                              </p:par>
                              <p:par>
                                <p:cTn id="95" presetID="10" presetClass="entr" presetSubtype="0" fill="hold" grpId="0" nodeType="withEffect">
                                  <p:stCondLst>
                                    <p:cond delay="250"/>
                                  </p:stCondLst>
                                  <p:childTnLst>
                                    <p:set>
                                      <p:cBhvr>
                                        <p:cTn id="96" dur="1" fill="hold">
                                          <p:stCondLst>
                                            <p:cond delay="0"/>
                                          </p:stCondLst>
                                        </p:cTn>
                                        <p:tgtEl>
                                          <p:spTgt spid="182"/>
                                        </p:tgtEl>
                                        <p:attrNameLst>
                                          <p:attrName>style.visibility</p:attrName>
                                        </p:attrNameLst>
                                      </p:cBhvr>
                                      <p:to>
                                        <p:strVal val="visible"/>
                                      </p:to>
                                    </p:set>
                                    <p:animEffect transition="in" filter="fade">
                                      <p:cBhvr>
                                        <p:cTn id="97" dur="500"/>
                                        <p:tgtEl>
                                          <p:spTgt spid="182"/>
                                        </p:tgtEl>
                                      </p:cBhvr>
                                    </p:animEffect>
                                  </p:childTnLst>
                                </p:cTn>
                              </p:par>
                              <p:par>
                                <p:cTn id="98" presetID="22" presetClass="entr" presetSubtype="8" fill="hold" grpId="0" nodeType="withEffect">
                                  <p:stCondLst>
                                    <p:cond delay="50"/>
                                  </p:stCondLst>
                                  <p:childTnLst>
                                    <p:set>
                                      <p:cBhvr>
                                        <p:cTn id="99" dur="1" fill="hold">
                                          <p:stCondLst>
                                            <p:cond delay="0"/>
                                          </p:stCondLst>
                                        </p:cTn>
                                        <p:tgtEl>
                                          <p:spTgt spid="41"/>
                                        </p:tgtEl>
                                        <p:attrNameLst>
                                          <p:attrName>style.visibility</p:attrName>
                                        </p:attrNameLst>
                                      </p:cBhvr>
                                      <p:to>
                                        <p:strVal val="visible"/>
                                      </p:to>
                                    </p:set>
                                    <p:animEffect transition="in" filter="wipe(left)">
                                      <p:cBhvr>
                                        <p:cTn id="100" dur="22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4" grpId="0"/>
      <p:bldP spid="128" grpId="0" animBg="1"/>
      <p:bldP spid="129" grpId="0" animBg="1"/>
      <p:bldP spid="130" grpId="0" animBg="1"/>
      <p:bldP spid="133" grpId="0" animBg="1"/>
      <p:bldP spid="134" grpId="0" animBg="1"/>
      <p:bldP spid="135" grpId="0" animBg="1"/>
      <p:bldP spid="136" grpId="0" animBg="1"/>
      <p:bldP spid="170" grpId="0"/>
      <p:bldP spid="180" grpId="0" animBg="1"/>
      <p:bldP spid="182" grpId="0" animBg="1"/>
      <p:bldP spid="154" grpId="0"/>
      <p:bldP spid="166" grpId="0" animBg="1"/>
      <p:bldP spid="167" grpId="0" animBg="1"/>
      <p:bldP spid="168" grpId="0" animBg="1"/>
      <p:bldP spid="77" grpId="0" animBg="1"/>
      <p:bldP spid="138" grpId="0"/>
      <p:bldP spid="149" grpId="0" animBg="1"/>
      <p:bldP spid="150" grpId="0" animBg="1"/>
      <p:bldP spid="151" grpId="0" animBg="1"/>
      <p:bldP spid="152" grpId="0" animBg="1"/>
      <p:bldP spid="71" grpId="0" animBg="1"/>
      <p:bldP spid="41" grpId="0" animBg="1"/>
      <p:bldP spid="3" grpId="0" animBg="1"/>
      <p:bldP spid="38" grpId="0"/>
    </p:bldLst>
  </p:timing>
</p:sld>
</file>

<file path=ppt/slides/slide4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upported Web Frameworks</a:t>
            </a:r>
            <a:endParaRPr lang="en-US" dirty="0"/>
          </a:p>
        </p:txBody>
      </p:sp>
      <p:grpSp>
        <p:nvGrpSpPr>
          <p:cNvPr id="22" name="Group 21"/>
          <p:cNvGrpSpPr/>
          <p:nvPr/>
        </p:nvGrpSpPr>
        <p:grpSpPr>
          <a:xfrm>
            <a:off x="2661370" y="1926414"/>
            <a:ext cx="1773380" cy="1503423"/>
            <a:chOff x="630873" y="3001265"/>
            <a:chExt cx="2363891" cy="2004564"/>
          </a:xfrm>
        </p:grpSpPr>
        <p:sp>
          <p:nvSpPr>
            <p:cNvPr id="8" name="Rectangle 7"/>
            <p:cNvSpPr/>
            <p:nvPr/>
          </p:nvSpPr>
          <p:spPr bwMode="auto">
            <a:xfrm>
              <a:off x="702946" y="3106738"/>
              <a:ext cx="2219746" cy="150376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91440" numCol="1" rtlCol="0" anchor="b" anchorCtr="0" compatLnSpc="1">
              <a:prstTxWarp prst="textNoShape">
                <a:avLst/>
              </a:prstTxWarp>
            </a:bodyPr>
            <a:lstStyle/>
            <a:p>
              <a:pPr defTabSz="685666" fontAlgn="base">
                <a:spcBef>
                  <a:spcPct val="0"/>
                </a:spcBef>
                <a:spcAft>
                  <a:spcPct val="0"/>
                </a:spcAft>
              </a:pPr>
              <a:endParaRPr lang="en-US" sz="2400" dirty="0">
                <a:gradFill>
                  <a:gsLst>
                    <a:gs pos="0">
                      <a:srgbClr val="FFFFFF"/>
                    </a:gs>
                    <a:gs pos="100000">
                      <a:srgbClr val="FFFFFF"/>
                    </a:gs>
                  </a:gsLst>
                  <a:lin ang="5400000" scaled="0"/>
                </a:gradFill>
              </a:endParaRPr>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45016" y="3300124"/>
              <a:ext cx="1115596" cy="1064584"/>
            </a:xfrm>
            <a:prstGeom prst="rect">
              <a:avLst/>
            </a:prstGeom>
          </p:spPr>
        </p:pic>
        <p:sp>
          <p:nvSpPr>
            <p:cNvPr id="18" name="Freeform 88"/>
            <p:cNvSpPr>
              <a:spLocks noEditPoints="1"/>
            </p:cNvSpPr>
            <p:nvPr/>
          </p:nvSpPr>
          <p:spPr bwMode="black">
            <a:xfrm>
              <a:off x="630873" y="3001265"/>
              <a:ext cx="2363891"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629"/>
              <a:endParaRPr lang="en-US" spc="-92" dirty="0">
                <a:solidFill>
                  <a:srgbClr val="FFFFFF">
                    <a:lumMod val="50000"/>
                  </a:srgbClr>
                </a:solidFill>
                <a:latin typeface="Segoe Light" pitchFamily="34" charset="0"/>
              </a:endParaRPr>
            </a:p>
          </p:txBody>
        </p:sp>
      </p:grpSp>
      <p:grpSp>
        <p:nvGrpSpPr>
          <p:cNvPr id="23" name="Group 22"/>
          <p:cNvGrpSpPr/>
          <p:nvPr/>
        </p:nvGrpSpPr>
        <p:grpSpPr>
          <a:xfrm>
            <a:off x="6919562" y="1915360"/>
            <a:ext cx="1773380" cy="1503423"/>
            <a:chOff x="3466112" y="3001265"/>
            <a:chExt cx="2363891" cy="2004564"/>
          </a:xfrm>
        </p:grpSpPr>
        <p:sp>
          <p:nvSpPr>
            <p:cNvPr id="7" name="Rectangle 6"/>
            <p:cNvSpPr/>
            <p:nvPr/>
          </p:nvSpPr>
          <p:spPr bwMode="auto">
            <a:xfrm>
              <a:off x="3538186" y="3106738"/>
              <a:ext cx="2219746" cy="150376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91440" numCol="1" rtlCol="0" anchor="b" anchorCtr="0" compatLnSpc="1">
              <a:prstTxWarp prst="textNoShape">
                <a:avLst/>
              </a:prstTxWarp>
            </a:bodyPr>
            <a:lstStyle/>
            <a:p>
              <a:pPr defTabSz="685666" fontAlgn="base">
                <a:spcBef>
                  <a:spcPct val="0"/>
                </a:spcBef>
                <a:spcAft>
                  <a:spcPct val="0"/>
                </a:spcAft>
              </a:pPr>
              <a:endParaRPr lang="en-US" sz="2400" dirty="0">
                <a:gradFill>
                  <a:gsLst>
                    <a:gs pos="0">
                      <a:srgbClr val="FFFFFF"/>
                    </a:gs>
                    <a:gs pos="100000">
                      <a:srgbClr val="FFFFFF"/>
                    </a:gs>
                  </a:gsLst>
                  <a:lin ang="5400000" scaled="0"/>
                </a:gradFill>
              </a:endParaRPr>
            </a:p>
          </p:txBody>
        </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68236" y="3626231"/>
              <a:ext cx="1730250" cy="412370"/>
            </a:xfrm>
            <a:prstGeom prst="rect">
              <a:avLst/>
            </a:prstGeom>
          </p:spPr>
        </p:pic>
        <p:sp>
          <p:nvSpPr>
            <p:cNvPr id="19" name="Freeform 88"/>
            <p:cNvSpPr>
              <a:spLocks noEditPoints="1"/>
            </p:cNvSpPr>
            <p:nvPr/>
          </p:nvSpPr>
          <p:spPr bwMode="black">
            <a:xfrm>
              <a:off x="3466112" y="3001265"/>
              <a:ext cx="2363891"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629"/>
              <a:endParaRPr lang="en-US" spc="-92" dirty="0">
                <a:solidFill>
                  <a:srgbClr val="FFFFFF">
                    <a:lumMod val="50000"/>
                  </a:srgbClr>
                </a:solidFill>
                <a:latin typeface="Segoe Light" pitchFamily="34" charset="0"/>
              </a:endParaRPr>
            </a:p>
          </p:txBody>
        </p:sp>
      </p:grpSp>
      <p:grpSp>
        <p:nvGrpSpPr>
          <p:cNvPr id="24" name="Group 23"/>
          <p:cNvGrpSpPr/>
          <p:nvPr/>
        </p:nvGrpSpPr>
        <p:grpSpPr>
          <a:xfrm>
            <a:off x="4792494" y="1926414"/>
            <a:ext cx="1773380" cy="1503423"/>
            <a:chOff x="6301352" y="3001265"/>
            <a:chExt cx="2363891" cy="2004564"/>
          </a:xfrm>
        </p:grpSpPr>
        <p:sp>
          <p:nvSpPr>
            <p:cNvPr id="5" name="Rectangle 4"/>
            <p:cNvSpPr/>
            <p:nvPr/>
          </p:nvSpPr>
          <p:spPr bwMode="auto">
            <a:xfrm>
              <a:off x="6373426" y="3106738"/>
              <a:ext cx="2219746" cy="150376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91440" numCol="1" rtlCol="0" anchor="b" anchorCtr="0" compatLnSpc="1">
              <a:prstTxWarp prst="textNoShape">
                <a:avLst/>
              </a:prstTxWarp>
            </a:bodyPr>
            <a:lstStyle/>
            <a:p>
              <a:pPr defTabSz="685666" fontAlgn="base">
                <a:spcBef>
                  <a:spcPct val="0"/>
                </a:spcBef>
                <a:spcAft>
                  <a:spcPct val="0"/>
                </a:spcAft>
              </a:pPr>
              <a:endParaRPr lang="en-US" sz="2400" dirty="0">
                <a:gradFill>
                  <a:gsLst>
                    <a:gs pos="0">
                      <a:srgbClr val="FFFFFF"/>
                    </a:gs>
                    <a:gs pos="100000">
                      <a:srgbClr val="FFFFFF"/>
                    </a:gs>
                  </a:gsLst>
                  <a:lin ang="5400000" scaled="0"/>
                </a:gradFill>
              </a:endParaRPr>
            </a:p>
          </p:txBody>
        </p:sp>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01900" y="3500034"/>
              <a:ext cx="1362798" cy="717170"/>
            </a:xfrm>
            <a:prstGeom prst="rect">
              <a:avLst/>
            </a:prstGeom>
          </p:spPr>
        </p:pic>
        <p:sp>
          <p:nvSpPr>
            <p:cNvPr id="20" name="Freeform 88"/>
            <p:cNvSpPr>
              <a:spLocks noEditPoints="1"/>
            </p:cNvSpPr>
            <p:nvPr/>
          </p:nvSpPr>
          <p:spPr bwMode="black">
            <a:xfrm>
              <a:off x="6301352" y="3001265"/>
              <a:ext cx="2363891"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629"/>
              <a:endParaRPr lang="en-US" spc="-92" dirty="0">
                <a:solidFill>
                  <a:srgbClr val="FFFFFF">
                    <a:lumMod val="50000"/>
                  </a:srgbClr>
                </a:solidFill>
                <a:latin typeface="Segoe Light" pitchFamily="34" charset="0"/>
              </a:endParaRPr>
            </a:p>
          </p:txBody>
        </p:sp>
      </p:grpSp>
      <p:grpSp>
        <p:nvGrpSpPr>
          <p:cNvPr id="25" name="Group 24"/>
          <p:cNvGrpSpPr/>
          <p:nvPr/>
        </p:nvGrpSpPr>
        <p:grpSpPr>
          <a:xfrm>
            <a:off x="454769" y="1926414"/>
            <a:ext cx="1773380" cy="1503423"/>
            <a:chOff x="9136594" y="3001265"/>
            <a:chExt cx="2363891" cy="2004564"/>
          </a:xfrm>
        </p:grpSpPr>
        <p:sp>
          <p:nvSpPr>
            <p:cNvPr id="6" name="Rectangle 5"/>
            <p:cNvSpPr/>
            <p:nvPr/>
          </p:nvSpPr>
          <p:spPr bwMode="auto">
            <a:xfrm>
              <a:off x="9208667" y="3106738"/>
              <a:ext cx="2219746" cy="1503763"/>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91440" numCol="1" rtlCol="0" anchor="b" anchorCtr="0" compatLnSpc="1">
              <a:prstTxWarp prst="textNoShape">
                <a:avLst/>
              </a:prstTxWarp>
            </a:bodyPr>
            <a:lstStyle/>
            <a:p>
              <a:pPr algn="r" defTabSz="685666"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21" name="Freeform 88"/>
            <p:cNvSpPr>
              <a:spLocks noEditPoints="1"/>
            </p:cNvSpPr>
            <p:nvPr/>
          </p:nvSpPr>
          <p:spPr bwMode="black">
            <a:xfrm>
              <a:off x="9136594" y="3001265"/>
              <a:ext cx="2363891"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r" defTabSz="555629"/>
              <a:endParaRPr lang="en-US" spc="-92" dirty="0">
                <a:solidFill>
                  <a:srgbClr val="FFFFFF">
                    <a:lumMod val="50000"/>
                  </a:srgbClr>
                </a:solidFill>
                <a:latin typeface="Segoe Light" pitchFamily="34" charset="0"/>
              </a:endParaRPr>
            </a:p>
          </p:txBody>
        </p:sp>
      </p:grpSp>
      <p:pic>
        <p:nvPicPr>
          <p:cNvPr id="9218" name="Picture 2" descr="http://www.webwiz.co.uk/kb/asp-tutorials/images/classic-asp.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5867" y="2365833"/>
            <a:ext cx="1000386" cy="407194"/>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6746831" y="4041616"/>
            <a:ext cx="1988178" cy="276999"/>
          </a:xfrm>
          <a:prstGeom prst="rect">
            <a:avLst/>
          </a:prstGeom>
          <a:noFill/>
        </p:spPr>
        <p:txBody>
          <a:bodyPr wrap="none" lIns="0" tIns="0" rIns="0" bIns="0" rtlCol="0">
            <a:spAutoFit/>
          </a:bodyPr>
          <a:lstStyle/>
          <a:p>
            <a:r>
              <a:rPr lang="en-US" sz="1800" spc="-53" dirty="0">
                <a:gradFill>
                  <a:gsLst>
                    <a:gs pos="2917">
                      <a:srgbClr val="FFFFFF"/>
                    </a:gs>
                    <a:gs pos="30000">
                      <a:srgbClr val="FFFFFF"/>
                    </a:gs>
                  </a:gsLst>
                  <a:lin ang="5400000" scaled="0"/>
                </a:gradFill>
              </a:rPr>
              <a:t>more coming soon…</a:t>
            </a:r>
          </a:p>
        </p:txBody>
      </p:sp>
      <p:sp>
        <p:nvSpPr>
          <p:cNvPr id="26"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7"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6"/>
              </a:rPr>
              <a:t>www.rapidbbs.cn</a:t>
            </a:r>
            <a:endParaRPr lang="zh-CN" altLang="en-US" sz="1200" b="0">
              <a:latin typeface="Arial" charset="0"/>
              <a:ea typeface="ＭＳ Ｐゴシック" pitchFamily="34" charset="-128"/>
            </a:endParaRPr>
          </a:p>
        </p:txBody>
      </p:sp>
      <p:pic>
        <p:nvPicPr>
          <p:cNvPr id="28" name="Picture 2">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958125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50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par>
                                <p:cTn id="8" presetID="10" presetClass="entr" presetSubtype="0" fill="hold" nodeType="withEffect">
                                  <p:stCondLst>
                                    <p:cond delay="0"/>
                                  </p:stCondLst>
                                  <p:childTnLst>
                                    <p:set>
                                      <p:cBhvr>
                                        <p:cTn id="9" dur="1" fill="hold">
                                          <p:stCondLst>
                                            <p:cond delay="0"/>
                                          </p:stCondLst>
                                        </p:cTn>
                                        <p:tgtEl>
                                          <p:spTgt spid="9218"/>
                                        </p:tgtEl>
                                        <p:attrNameLst>
                                          <p:attrName>style.visibility</p:attrName>
                                        </p:attrNameLst>
                                      </p:cBhvr>
                                      <p:to>
                                        <p:strVal val="visible"/>
                                      </p:to>
                                    </p:set>
                                    <p:animEffect transition="in" filter="fade">
                                      <p:cBhvr>
                                        <p:cTn id="10" dur="500"/>
                                        <p:tgtEl>
                                          <p:spTgt spid="9218"/>
                                        </p:tgtEl>
                                      </p:cBhvr>
                                    </p:animEffect>
                                  </p:childTnLst>
                                </p:cTn>
                              </p:par>
                            </p:childTnLst>
                          </p:cTn>
                        </p:par>
                        <p:par>
                          <p:cTn id="11" fill="hold">
                            <p:stCondLst>
                              <p:cond delay="1000"/>
                            </p:stCondLst>
                            <p:childTnLst>
                              <p:par>
                                <p:cTn id="12" presetID="10" presetClass="entr" presetSubtype="0" fill="hold" nodeType="afterEffect">
                                  <p:stCondLst>
                                    <p:cond delay="0"/>
                                  </p:stCondLst>
                                  <p:childTnLst>
                                    <p:set>
                                      <p:cBhvr>
                                        <p:cTn id="13" dur="1" fill="hold">
                                          <p:stCondLst>
                                            <p:cond delay="0"/>
                                          </p:stCondLst>
                                        </p:cTn>
                                        <p:tgtEl>
                                          <p:spTgt spid="22"/>
                                        </p:tgtEl>
                                        <p:attrNameLst>
                                          <p:attrName>style.visibility</p:attrName>
                                        </p:attrNameLst>
                                      </p:cBhvr>
                                      <p:to>
                                        <p:strVal val="visible"/>
                                      </p:to>
                                    </p:set>
                                    <p:animEffect transition="in" filter="fade">
                                      <p:cBhvr>
                                        <p:cTn id="14" dur="500"/>
                                        <p:tgtEl>
                                          <p:spTgt spid="22"/>
                                        </p:tgtEl>
                                      </p:cBhvr>
                                    </p:animEffect>
                                  </p:childTnLst>
                                </p:cTn>
                              </p:par>
                            </p:childTnLst>
                          </p:cTn>
                        </p:par>
                        <p:par>
                          <p:cTn id="15" fill="hold">
                            <p:stCondLst>
                              <p:cond delay="1500"/>
                            </p:stCondLst>
                            <p:childTnLst>
                              <p:par>
                                <p:cTn id="16" presetID="10" presetClass="entr" presetSubtype="0" fill="hold" nodeType="afterEffect">
                                  <p:stCondLst>
                                    <p:cond delay="0"/>
                                  </p:stCondLst>
                                  <p:childTnLst>
                                    <p:set>
                                      <p:cBhvr>
                                        <p:cTn id="17" dur="1" fill="hold">
                                          <p:stCondLst>
                                            <p:cond delay="0"/>
                                          </p:stCondLst>
                                        </p:cTn>
                                        <p:tgtEl>
                                          <p:spTgt spid="24"/>
                                        </p:tgtEl>
                                        <p:attrNameLst>
                                          <p:attrName>style.visibility</p:attrName>
                                        </p:attrNameLst>
                                      </p:cBhvr>
                                      <p:to>
                                        <p:strVal val="visible"/>
                                      </p:to>
                                    </p:set>
                                    <p:animEffect transition="in" filter="fade">
                                      <p:cBhvr>
                                        <p:cTn id="18" dur="500"/>
                                        <p:tgtEl>
                                          <p:spTgt spid="24"/>
                                        </p:tgtEl>
                                      </p:cBhvr>
                                    </p:animEffect>
                                  </p:childTnLst>
                                </p:cTn>
                              </p:par>
                            </p:childTnLst>
                          </p:cTn>
                        </p:par>
                        <p:par>
                          <p:cTn id="19" fill="hold">
                            <p:stCondLst>
                              <p:cond delay="2000"/>
                            </p:stCondLst>
                            <p:childTnLst>
                              <p:par>
                                <p:cTn id="20" presetID="10" presetClass="entr" presetSubtype="0" fill="hold" nodeType="after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172642"/>
            <a:ext cx="8382000" cy="457049"/>
          </a:xfrm>
        </p:spPr>
        <p:txBody>
          <a:bodyPr/>
          <a:lstStyle/>
          <a:p>
            <a:r>
              <a:rPr lang="en-US" dirty="0" smtClean="0"/>
              <a:t>Core Marketplace Services</a:t>
            </a:r>
            <a:endParaRPr lang="en-US" dirty="0">
              <a:solidFill>
                <a:schemeClr val="accent1"/>
              </a:solidFill>
            </a:endParaRPr>
          </a:p>
        </p:txBody>
      </p:sp>
      <p:pic>
        <p:nvPicPr>
          <p:cNvPr id="6" name="Picture 2" descr="C:\Users\Jordan\Desktop\TechEd_2012\TechEd-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6962" y="4619593"/>
            <a:ext cx="698151" cy="322326"/>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nvSpPr>
        <p:spPr>
          <a:xfrm>
            <a:off x="0" y="1028700"/>
            <a:ext cx="2103558" cy="138350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68589" tIns="34295" rIns="68589" bIns="34295" anchor="ctr"/>
          <a:lstStyle/>
          <a:p>
            <a:pPr algn="ctr"/>
            <a:endParaRPr lang="en-US" dirty="0">
              <a:solidFill>
                <a:srgbClr val="FFFFFF"/>
              </a:solidFill>
              <a:ea typeface="ＭＳ Ｐゴシック" charset="-128"/>
            </a:endParaRPr>
          </a:p>
        </p:txBody>
      </p:sp>
      <p:sp>
        <p:nvSpPr>
          <p:cNvPr id="10" name="Rectangle 9"/>
          <p:cNvSpPr>
            <a:spLocks noChangeArrowheads="1"/>
          </p:cNvSpPr>
          <p:nvPr/>
        </p:nvSpPr>
        <p:spPr bwMode="auto">
          <a:xfrm>
            <a:off x="7030090" y="2571755"/>
            <a:ext cx="2113910" cy="1685087"/>
          </a:xfrm>
          <a:prstGeom prst="rect">
            <a:avLst/>
          </a:prstGeom>
          <a:noFill/>
          <a:ln w="9525">
            <a:noFill/>
            <a:miter lim="800000"/>
            <a:headEnd/>
            <a:tailEnd/>
          </a:ln>
        </p:spPr>
        <p:txBody>
          <a:bodyPr wrap="square" lIns="68589" tIns="34295" rIns="68589" bIns="34295">
            <a:spAutoFit/>
          </a:bodyPr>
          <a:lstStyle/>
          <a:p>
            <a:pPr>
              <a:lnSpc>
                <a:spcPts val="1425"/>
              </a:lnSpc>
            </a:pPr>
            <a:r>
              <a:rPr lang="en-US" sz="1200" b="1" dirty="0">
                <a:solidFill>
                  <a:srgbClr val="FFFFFF"/>
                </a:solidFill>
                <a:latin typeface="Segoe UI" charset="0"/>
                <a:cs typeface="Segoe UI" charset="0"/>
              </a:rPr>
              <a:t>Infrastructure</a:t>
            </a:r>
          </a:p>
          <a:p>
            <a:pPr>
              <a:lnSpc>
                <a:spcPts val="1425"/>
              </a:lnSpc>
            </a:pPr>
            <a:endParaRPr lang="en-US" sz="1200" b="1" dirty="0">
              <a:solidFill>
                <a:srgbClr val="FFFFFF"/>
              </a:solidFill>
              <a:latin typeface="Segoe UI" charset="0"/>
              <a:cs typeface="Segoe UI" charset="0"/>
            </a:endParaRPr>
          </a:p>
          <a:p>
            <a:pPr>
              <a:lnSpc>
                <a:spcPts val="1425"/>
              </a:lnSpc>
            </a:pPr>
            <a:r>
              <a:rPr lang="en-US" sz="1100" dirty="0">
                <a:solidFill>
                  <a:srgbClr val="FFFFFF"/>
                </a:solidFill>
                <a:latin typeface="Segoe UI" charset="0"/>
                <a:cs typeface="Segoe UI" charset="0"/>
              </a:rPr>
              <a:t>Marketplace provides account management, authorization, metering, throttling, localized UI, and a variety of other services backed by Microsoft’s world-class cloud computing resources.</a:t>
            </a:r>
            <a:endParaRPr lang="en-US" sz="1100" dirty="0">
              <a:solidFill>
                <a:srgbClr val="FFFFFF"/>
              </a:solidFill>
              <a:latin typeface="Segoe UI" charset="0"/>
              <a:cs typeface="Segoe UI" charset="0"/>
            </a:endParaRPr>
          </a:p>
        </p:txBody>
      </p:sp>
      <p:sp>
        <p:nvSpPr>
          <p:cNvPr id="11" name="Rectangle 10"/>
          <p:cNvSpPr>
            <a:spLocks noChangeArrowheads="1"/>
          </p:cNvSpPr>
          <p:nvPr/>
        </p:nvSpPr>
        <p:spPr bwMode="auto">
          <a:xfrm>
            <a:off x="4686331" y="2571755"/>
            <a:ext cx="2113910" cy="1896673"/>
          </a:xfrm>
          <a:prstGeom prst="rect">
            <a:avLst/>
          </a:prstGeom>
          <a:noFill/>
          <a:ln w="9525">
            <a:noFill/>
            <a:miter lim="800000"/>
            <a:headEnd/>
            <a:tailEnd/>
          </a:ln>
        </p:spPr>
        <p:txBody>
          <a:bodyPr wrap="square" lIns="68589" tIns="34295" rIns="68589" bIns="34295">
            <a:spAutoFit/>
          </a:bodyPr>
          <a:lstStyle/>
          <a:p>
            <a:pPr>
              <a:lnSpc>
                <a:spcPts val="1425"/>
              </a:lnSpc>
            </a:pPr>
            <a:r>
              <a:rPr lang="en-US" sz="1200" b="1" dirty="0">
                <a:solidFill>
                  <a:srgbClr val="FFFFFF"/>
                </a:solidFill>
                <a:latin typeface="Segoe UI" charset="0"/>
                <a:cs typeface="Segoe UI" charset="0"/>
              </a:rPr>
              <a:t>Monetization</a:t>
            </a:r>
          </a:p>
          <a:p>
            <a:pPr>
              <a:lnSpc>
                <a:spcPts val="1425"/>
              </a:lnSpc>
            </a:pPr>
            <a:endParaRPr lang="en-US" sz="1200" b="1" dirty="0">
              <a:solidFill>
                <a:srgbClr val="FFFFFF"/>
              </a:solidFill>
              <a:latin typeface="Segoe UI" charset="0"/>
              <a:cs typeface="Segoe UI" charset="0"/>
            </a:endParaRPr>
          </a:p>
          <a:p>
            <a:pPr>
              <a:lnSpc>
                <a:spcPts val="1425"/>
              </a:lnSpc>
            </a:pPr>
            <a:r>
              <a:rPr lang="en-US" sz="1100" dirty="0">
                <a:solidFill>
                  <a:srgbClr val="FFFFFF"/>
                </a:solidFill>
                <a:latin typeface="Segoe UI" charset="0"/>
                <a:cs typeface="Segoe UI" charset="0"/>
              </a:rPr>
              <a:t>Particularly important for smaller content providers, the Marketplace manages the challenges of selling </a:t>
            </a:r>
            <a:r>
              <a:rPr lang="en-US" sz="1100" dirty="0">
                <a:solidFill>
                  <a:srgbClr val="FFFFFF"/>
                </a:solidFill>
                <a:latin typeface="Segoe UI" charset="0"/>
                <a:cs typeface="Segoe UI" charset="0"/>
              </a:rPr>
              <a:t>abroad. Marketplace eliminates the complexity of international business so Content Providers can focus on content.</a:t>
            </a:r>
            <a:endParaRPr lang="en-US" sz="1100" dirty="0">
              <a:solidFill>
                <a:srgbClr val="FFFFFF"/>
              </a:solidFill>
              <a:latin typeface="Segoe UI" charset="0"/>
              <a:cs typeface="Segoe UI" charset="0"/>
            </a:endParaRPr>
          </a:p>
        </p:txBody>
      </p:sp>
      <p:sp>
        <p:nvSpPr>
          <p:cNvPr id="12" name="Rectangle 11"/>
          <p:cNvSpPr>
            <a:spLocks noChangeArrowheads="1"/>
          </p:cNvSpPr>
          <p:nvPr/>
        </p:nvSpPr>
        <p:spPr bwMode="auto">
          <a:xfrm>
            <a:off x="2343760" y="2571754"/>
            <a:ext cx="2113910" cy="2403232"/>
          </a:xfrm>
          <a:prstGeom prst="rect">
            <a:avLst/>
          </a:prstGeom>
          <a:noFill/>
          <a:ln w="9525">
            <a:noFill/>
            <a:miter lim="800000"/>
            <a:headEnd/>
            <a:tailEnd/>
          </a:ln>
        </p:spPr>
        <p:txBody>
          <a:bodyPr wrap="square" lIns="68589" tIns="34295" rIns="68589" bIns="34295">
            <a:spAutoFit/>
          </a:bodyPr>
          <a:lstStyle/>
          <a:p>
            <a:pPr>
              <a:lnSpc>
                <a:spcPts val="1425"/>
              </a:lnSpc>
            </a:pPr>
            <a:r>
              <a:rPr lang="en-US" sz="1200" b="1" dirty="0">
                <a:solidFill>
                  <a:srgbClr val="FFFFFF"/>
                </a:solidFill>
                <a:latin typeface="Segoe UI" charset="0"/>
                <a:cs typeface="Segoe UI" charset="0"/>
              </a:rPr>
              <a:t>Ecosystem</a:t>
            </a:r>
          </a:p>
          <a:p>
            <a:pPr>
              <a:lnSpc>
                <a:spcPts val="1425"/>
              </a:lnSpc>
            </a:pPr>
            <a:endParaRPr lang="en-US" sz="1200" b="1" dirty="0">
              <a:solidFill>
                <a:srgbClr val="FFFFFF"/>
              </a:solidFill>
              <a:latin typeface="Segoe UI" charset="0"/>
              <a:cs typeface="Segoe UI" charset="0"/>
            </a:endParaRPr>
          </a:p>
          <a:p>
            <a:pPr>
              <a:lnSpc>
                <a:spcPts val="1425"/>
              </a:lnSpc>
            </a:pPr>
            <a:r>
              <a:rPr lang="en-US" sz="1100" dirty="0">
                <a:solidFill>
                  <a:srgbClr val="FFFFFF"/>
                </a:solidFill>
                <a:latin typeface="Segoe UI" charset="0"/>
                <a:cs typeface="Segoe UI" charset="0"/>
              </a:rPr>
              <a:t>Marketplace provides integration between content and the apps that depend on it. Office, SQL Server, Visual Studio, and other data apps are easily connected to Marketplace. </a:t>
            </a:r>
            <a:r>
              <a:rPr lang="en-US" sz="1100" dirty="0">
                <a:solidFill>
                  <a:srgbClr val="FFFFFF"/>
                </a:solidFill>
                <a:latin typeface="Segoe UI" charset="0"/>
                <a:cs typeface="Segoe UI" charset="0"/>
              </a:rPr>
              <a:t>The Marketplace invests in building out high-quality connections so individual content providers don’t have to.</a:t>
            </a:r>
            <a:endParaRPr lang="en-US" sz="1100" dirty="0">
              <a:solidFill>
                <a:srgbClr val="FFFFFF"/>
              </a:solidFill>
              <a:latin typeface="Segoe UI" charset="0"/>
              <a:cs typeface="Segoe UI" charset="0"/>
            </a:endParaRPr>
          </a:p>
        </p:txBody>
      </p:sp>
      <p:sp>
        <p:nvSpPr>
          <p:cNvPr id="13" name="Rectangle 12"/>
          <p:cNvSpPr>
            <a:spLocks noChangeArrowheads="1"/>
          </p:cNvSpPr>
          <p:nvPr/>
        </p:nvSpPr>
        <p:spPr bwMode="auto">
          <a:xfrm>
            <a:off x="0" y="2571755"/>
            <a:ext cx="2113910" cy="2044159"/>
          </a:xfrm>
          <a:prstGeom prst="rect">
            <a:avLst/>
          </a:prstGeom>
          <a:noFill/>
          <a:ln w="9525">
            <a:noFill/>
            <a:miter lim="800000"/>
            <a:headEnd/>
            <a:tailEnd/>
          </a:ln>
        </p:spPr>
        <p:txBody>
          <a:bodyPr wrap="square" lIns="68589" tIns="34295" rIns="68589" bIns="34295">
            <a:spAutoFit/>
          </a:bodyPr>
          <a:lstStyle/>
          <a:p>
            <a:pPr>
              <a:lnSpc>
                <a:spcPts val="1425"/>
              </a:lnSpc>
            </a:pPr>
            <a:r>
              <a:rPr lang="en-US" sz="1200" b="1" dirty="0">
                <a:solidFill>
                  <a:srgbClr val="FFFFFF"/>
                </a:solidFill>
                <a:latin typeface="Segoe UI" charset="0"/>
                <a:cs typeface="Segoe UI" charset="0"/>
              </a:rPr>
              <a:t>Discovery</a:t>
            </a:r>
          </a:p>
          <a:p>
            <a:pPr>
              <a:lnSpc>
                <a:spcPts val="1425"/>
              </a:lnSpc>
            </a:pPr>
            <a:endParaRPr lang="en-US" sz="1200" b="1" dirty="0">
              <a:solidFill>
                <a:srgbClr val="FFFFFF"/>
              </a:solidFill>
              <a:latin typeface="Segoe UI" charset="0"/>
              <a:cs typeface="Segoe UI" charset="0"/>
            </a:endParaRPr>
          </a:p>
          <a:p>
            <a:pPr>
              <a:lnSpc>
                <a:spcPts val="1425"/>
              </a:lnSpc>
            </a:pPr>
            <a:r>
              <a:rPr lang="en-US" sz="1100" dirty="0">
                <a:solidFill>
                  <a:srgbClr val="FFFFFF"/>
                </a:solidFill>
                <a:latin typeface="Segoe UI" charset="0"/>
                <a:cs typeface="Segoe UI" charset="0"/>
              </a:rPr>
              <a:t>Buyers confidently </a:t>
            </a:r>
            <a:r>
              <a:rPr lang="en-US" sz="1100" dirty="0">
                <a:solidFill>
                  <a:srgbClr val="FFFFFF"/>
                </a:solidFill>
                <a:latin typeface="Segoe UI" charset="0"/>
                <a:cs typeface="Segoe UI" charset="0"/>
              </a:rPr>
              <a:t>browse, discover, purchase, and use new content. The </a:t>
            </a:r>
            <a:r>
              <a:rPr lang="en-US" sz="1100" dirty="0">
                <a:solidFill>
                  <a:srgbClr val="FFFFFF"/>
                </a:solidFill>
                <a:latin typeface="Segoe UI" charset="0"/>
                <a:cs typeface="Segoe UI" charset="0"/>
              </a:rPr>
              <a:t>Marketplace </a:t>
            </a:r>
            <a:r>
              <a:rPr lang="en-US" sz="1100" dirty="0">
                <a:solidFill>
                  <a:srgbClr val="FFFFFF"/>
                </a:solidFill>
                <a:latin typeface="Segoe UI" charset="0"/>
                <a:cs typeface="Segoe UI" charset="0"/>
              </a:rPr>
              <a:t>is provided by a trusted brand and provides immediate access to the content consumers demand</a:t>
            </a:r>
            <a:r>
              <a:rPr lang="en-US" sz="1100" dirty="0">
                <a:solidFill>
                  <a:srgbClr val="FFFFFF"/>
                </a:solidFill>
                <a:latin typeface="Segoe UI" charset="0"/>
                <a:cs typeface="Segoe UI" charset="0"/>
              </a:rPr>
              <a:t>. No high-pressure sales pitches, no hidden strings, no hassles.</a:t>
            </a:r>
            <a:endParaRPr lang="en-US" sz="1100" dirty="0">
              <a:solidFill>
                <a:srgbClr val="FFFFFF"/>
              </a:solidFill>
              <a:latin typeface="Segoe UI" charset="0"/>
              <a:cs typeface="Segoe UI" charset="0"/>
            </a:endParaRPr>
          </a:p>
        </p:txBody>
      </p:sp>
      <p:pic>
        <p:nvPicPr>
          <p:cNvPr id="14" name="Picture 5" descr="\\MAGNUM\Projects\Microsoft\Cloud Power FY12\Design\ICONS_PNG\Consistent_Development_and_Deployment_Platform.png"/>
          <p:cNvPicPr>
            <a:picLocks noChangeAspect="1" noChangeArrowheads="1"/>
          </p:cNvPicPr>
          <p:nvPr/>
        </p:nvPicPr>
        <p:blipFill>
          <a:blip r:embed="rId4" cstate="print">
            <a:lum/>
          </a:blip>
          <a:stretch>
            <a:fillRect/>
          </a:stretch>
        </p:blipFill>
        <p:spPr bwMode="auto">
          <a:xfrm>
            <a:off x="7401066" y="1034653"/>
            <a:ext cx="1371957" cy="1371600"/>
          </a:xfrm>
          <a:prstGeom prst="rect">
            <a:avLst/>
          </a:prstGeom>
          <a:noFill/>
        </p:spPr>
      </p:pic>
      <p:pic>
        <p:nvPicPr>
          <p:cNvPr id="15" name="Picture 2" descr="\\MAGNUM\Projects\Microsoft\Cloud Power FY12\Design\ICONS_PNG\Devices.png"/>
          <p:cNvPicPr>
            <a:picLocks noChangeAspect="1" noChangeArrowheads="1"/>
          </p:cNvPicPr>
          <p:nvPr/>
        </p:nvPicPr>
        <p:blipFill>
          <a:blip r:embed="rId5" cstate="print">
            <a:lum/>
          </a:blip>
          <a:srcRect/>
          <a:stretch>
            <a:fillRect/>
          </a:stretch>
        </p:blipFill>
        <p:spPr bwMode="auto">
          <a:xfrm>
            <a:off x="2714736" y="1034653"/>
            <a:ext cx="1371957" cy="1371600"/>
          </a:xfrm>
          <a:prstGeom prst="rect">
            <a:avLst/>
          </a:prstGeom>
          <a:noFill/>
        </p:spPr>
      </p:pic>
      <p:pic>
        <p:nvPicPr>
          <p:cNvPr id="16" name="Picture 2" descr="\\MAGNUM\Projects\Microsoft\Cloud Power FY12\Design\Icons\PNGs\Marketplace.png"/>
          <p:cNvPicPr>
            <a:picLocks noChangeAspect="1" noChangeArrowheads="1"/>
          </p:cNvPicPr>
          <p:nvPr/>
        </p:nvPicPr>
        <p:blipFill>
          <a:blip r:embed="rId6" cstate="print"/>
          <a:srcRect/>
          <a:stretch>
            <a:fillRect/>
          </a:stretch>
        </p:blipFill>
        <p:spPr bwMode="auto">
          <a:xfrm>
            <a:off x="5057307" y="1034653"/>
            <a:ext cx="1371957" cy="1371600"/>
          </a:xfrm>
          <a:prstGeom prst="rect">
            <a:avLst/>
          </a:prstGeom>
          <a:noFill/>
        </p:spPr>
      </p:pic>
      <p:pic>
        <p:nvPicPr>
          <p:cNvPr id="17" name="Picture 8" descr="\\MAGNUM\Projects\Microsoft\Cloud Power FY12\Design\Icons\PNGs\Cross Platform.png"/>
          <p:cNvPicPr>
            <a:picLocks noChangeAspect="1" noChangeArrowheads="1"/>
          </p:cNvPicPr>
          <p:nvPr/>
        </p:nvPicPr>
        <p:blipFill>
          <a:blip r:embed="rId7" cstate="print"/>
          <a:stretch>
            <a:fillRect/>
          </a:stretch>
        </p:blipFill>
        <p:spPr bwMode="auto">
          <a:xfrm>
            <a:off x="365801" y="1034653"/>
            <a:ext cx="1371957" cy="1371600"/>
          </a:xfrm>
          <a:prstGeom prst="rect">
            <a:avLst/>
          </a:prstGeom>
          <a:noFill/>
        </p:spPr>
      </p:pic>
      <p:sp>
        <p:nvSpPr>
          <p:cNvPr id="18" name="Dark Gray"/>
          <p:cNvSpPr/>
          <p:nvPr/>
        </p:nvSpPr>
        <p:spPr bwMode="auto">
          <a:xfrm>
            <a:off x="6970638" y="1028700"/>
            <a:ext cx="2174552" cy="1377553"/>
          </a:xfrm>
          <a:prstGeom prst="roundRect">
            <a:avLst>
              <a:gd name="adj" fmla="val 0"/>
            </a:avLst>
          </a:prstGeom>
          <a:solidFill>
            <a:schemeClr val="tx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p:txBody>
      </p:sp>
      <p:sp>
        <p:nvSpPr>
          <p:cNvPr id="19" name="Red"/>
          <p:cNvSpPr/>
          <p:nvPr/>
        </p:nvSpPr>
        <p:spPr bwMode="auto">
          <a:xfrm>
            <a:off x="4666872" y="1028700"/>
            <a:ext cx="2174552" cy="1377553"/>
          </a:xfrm>
          <a:prstGeom prst="roundRect">
            <a:avLst>
              <a:gd name="adj" fmla="val 0"/>
            </a:avLst>
          </a:prstGeom>
          <a:solidFill>
            <a:schemeClr val="tx1"/>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p:txBody>
      </p:sp>
      <p:sp>
        <p:nvSpPr>
          <p:cNvPr id="20" name="Orange"/>
          <p:cNvSpPr/>
          <p:nvPr/>
        </p:nvSpPr>
        <p:spPr bwMode="auto">
          <a:xfrm>
            <a:off x="2342569" y="1028700"/>
            <a:ext cx="2174552" cy="1377553"/>
          </a:xfrm>
          <a:prstGeom prst="roundRect">
            <a:avLst>
              <a:gd name="adj" fmla="val 0"/>
            </a:avLst>
          </a:prstGeom>
          <a:solidFill>
            <a:schemeClr val="tx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a:endParaRPr lang="en-US" sz="1700" dirty="0">
              <a:solidFill>
                <a:schemeClr val="tx1">
                  <a:alpha val="99000"/>
                </a:schemeClr>
              </a:solidFill>
              <a:latin typeface="Segoe UI" pitchFamily="34" charset="0"/>
              <a:ea typeface="Segoe UI" pitchFamily="34" charset="0"/>
              <a:cs typeface="Segoe UI" pitchFamily="34" charset="0"/>
            </a:endParaRPr>
          </a:p>
        </p:txBody>
      </p:sp>
      <p:sp>
        <p:nvSpPr>
          <p:cNvPr id="21" name="Dark Blue"/>
          <p:cNvSpPr/>
          <p:nvPr/>
        </p:nvSpPr>
        <p:spPr bwMode="auto">
          <a:xfrm>
            <a:off x="-1191" y="1028700"/>
            <a:ext cx="2174552" cy="1377553"/>
          </a:xfrm>
          <a:prstGeom prst="roundRect">
            <a:avLst>
              <a:gd name="adj" fmla="val 0"/>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22" name="Freeform 79"/>
          <p:cNvSpPr>
            <a:spLocks noEditPoints="1"/>
          </p:cNvSpPr>
          <p:nvPr/>
        </p:nvSpPr>
        <p:spPr bwMode="auto">
          <a:xfrm>
            <a:off x="2839720" y="1185420"/>
            <a:ext cx="1181441" cy="1085531"/>
          </a:xfrm>
          <a:custGeom>
            <a:avLst/>
            <a:gdLst>
              <a:gd name="T0" fmla="*/ 406 w 413"/>
              <a:gd name="T1" fmla="*/ 0 h 380"/>
              <a:gd name="T2" fmla="*/ 7 w 413"/>
              <a:gd name="T3" fmla="*/ 0 h 380"/>
              <a:gd name="T4" fmla="*/ 0 w 413"/>
              <a:gd name="T5" fmla="*/ 7 h 380"/>
              <a:gd name="T6" fmla="*/ 0 w 413"/>
              <a:gd name="T7" fmla="*/ 273 h 380"/>
              <a:gd name="T8" fmla="*/ 7 w 413"/>
              <a:gd name="T9" fmla="*/ 281 h 380"/>
              <a:gd name="T10" fmla="*/ 133 w 413"/>
              <a:gd name="T11" fmla="*/ 281 h 380"/>
              <a:gd name="T12" fmla="*/ 133 w 413"/>
              <a:gd name="T13" fmla="*/ 332 h 380"/>
              <a:gd name="T14" fmla="*/ 73 w 413"/>
              <a:gd name="T15" fmla="*/ 332 h 380"/>
              <a:gd name="T16" fmla="*/ 65 w 413"/>
              <a:gd name="T17" fmla="*/ 340 h 380"/>
              <a:gd name="T18" fmla="*/ 65 w 413"/>
              <a:gd name="T19" fmla="*/ 373 h 380"/>
              <a:gd name="T20" fmla="*/ 73 w 413"/>
              <a:gd name="T21" fmla="*/ 380 h 380"/>
              <a:gd name="T22" fmla="*/ 339 w 413"/>
              <a:gd name="T23" fmla="*/ 380 h 380"/>
              <a:gd name="T24" fmla="*/ 346 w 413"/>
              <a:gd name="T25" fmla="*/ 373 h 380"/>
              <a:gd name="T26" fmla="*/ 346 w 413"/>
              <a:gd name="T27" fmla="*/ 340 h 380"/>
              <a:gd name="T28" fmla="*/ 339 w 413"/>
              <a:gd name="T29" fmla="*/ 332 h 380"/>
              <a:gd name="T30" fmla="*/ 280 w 413"/>
              <a:gd name="T31" fmla="*/ 332 h 380"/>
              <a:gd name="T32" fmla="*/ 280 w 413"/>
              <a:gd name="T33" fmla="*/ 281 h 380"/>
              <a:gd name="T34" fmla="*/ 406 w 413"/>
              <a:gd name="T35" fmla="*/ 281 h 380"/>
              <a:gd name="T36" fmla="*/ 413 w 413"/>
              <a:gd name="T37" fmla="*/ 273 h 380"/>
              <a:gd name="T38" fmla="*/ 413 w 413"/>
              <a:gd name="T39" fmla="*/ 7 h 380"/>
              <a:gd name="T40" fmla="*/ 406 w 413"/>
              <a:gd name="T41" fmla="*/ 0 h 380"/>
              <a:gd name="T42" fmla="*/ 331 w 413"/>
              <a:gd name="T43" fmla="*/ 366 h 380"/>
              <a:gd name="T44" fmla="*/ 80 w 413"/>
              <a:gd name="T45" fmla="*/ 366 h 380"/>
              <a:gd name="T46" fmla="*/ 80 w 413"/>
              <a:gd name="T47" fmla="*/ 347 h 380"/>
              <a:gd name="T48" fmla="*/ 331 w 413"/>
              <a:gd name="T49" fmla="*/ 347 h 380"/>
              <a:gd name="T50" fmla="*/ 331 w 413"/>
              <a:gd name="T51" fmla="*/ 366 h 380"/>
              <a:gd name="T52" fmla="*/ 266 w 413"/>
              <a:gd name="T53" fmla="*/ 332 h 380"/>
              <a:gd name="T54" fmla="*/ 148 w 413"/>
              <a:gd name="T55" fmla="*/ 332 h 380"/>
              <a:gd name="T56" fmla="*/ 148 w 413"/>
              <a:gd name="T57" fmla="*/ 281 h 380"/>
              <a:gd name="T58" fmla="*/ 266 w 413"/>
              <a:gd name="T59" fmla="*/ 281 h 380"/>
              <a:gd name="T60" fmla="*/ 266 w 413"/>
              <a:gd name="T61" fmla="*/ 332 h 380"/>
              <a:gd name="T62" fmla="*/ 399 w 413"/>
              <a:gd name="T63" fmla="*/ 266 h 380"/>
              <a:gd name="T64" fmla="*/ 15 w 413"/>
              <a:gd name="T65" fmla="*/ 266 h 380"/>
              <a:gd name="T66" fmla="*/ 15 w 413"/>
              <a:gd name="T67" fmla="*/ 15 h 380"/>
              <a:gd name="T68" fmla="*/ 399 w 413"/>
              <a:gd name="T69" fmla="*/ 15 h 380"/>
              <a:gd name="T70" fmla="*/ 399 w 413"/>
              <a:gd name="T71" fmla="*/ 266 h 380"/>
              <a:gd name="T72" fmla="*/ 40 w 413"/>
              <a:gd name="T73" fmla="*/ 247 h 380"/>
              <a:gd name="T74" fmla="*/ 373 w 413"/>
              <a:gd name="T75" fmla="*/ 247 h 380"/>
              <a:gd name="T76" fmla="*/ 381 w 413"/>
              <a:gd name="T77" fmla="*/ 240 h 380"/>
              <a:gd name="T78" fmla="*/ 381 w 413"/>
              <a:gd name="T79" fmla="*/ 41 h 380"/>
              <a:gd name="T80" fmla="*/ 373 w 413"/>
              <a:gd name="T81" fmla="*/ 33 h 380"/>
              <a:gd name="T82" fmla="*/ 40 w 413"/>
              <a:gd name="T83" fmla="*/ 33 h 380"/>
              <a:gd name="T84" fmla="*/ 33 w 413"/>
              <a:gd name="T85" fmla="*/ 41 h 380"/>
              <a:gd name="T86" fmla="*/ 33 w 413"/>
              <a:gd name="T87" fmla="*/ 240 h 380"/>
              <a:gd name="T88" fmla="*/ 40 w 413"/>
              <a:gd name="T89" fmla="*/ 247 h 380"/>
              <a:gd name="T90" fmla="*/ 47 w 413"/>
              <a:gd name="T91" fmla="*/ 48 h 380"/>
              <a:gd name="T92" fmla="*/ 366 w 413"/>
              <a:gd name="T93" fmla="*/ 48 h 380"/>
              <a:gd name="T94" fmla="*/ 366 w 413"/>
              <a:gd name="T95" fmla="*/ 233 h 380"/>
              <a:gd name="T96" fmla="*/ 47 w 413"/>
              <a:gd name="T97" fmla="*/ 233 h 380"/>
              <a:gd name="T98" fmla="*/ 47 w 413"/>
              <a:gd name="T99" fmla="*/ 48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3" h="380">
                <a:moveTo>
                  <a:pt x="406" y="0"/>
                </a:moveTo>
                <a:cubicBezTo>
                  <a:pt x="7" y="0"/>
                  <a:pt x="7" y="0"/>
                  <a:pt x="7" y="0"/>
                </a:cubicBezTo>
                <a:cubicBezTo>
                  <a:pt x="3" y="0"/>
                  <a:pt x="0" y="3"/>
                  <a:pt x="0" y="7"/>
                </a:cubicBezTo>
                <a:cubicBezTo>
                  <a:pt x="0" y="273"/>
                  <a:pt x="0" y="273"/>
                  <a:pt x="0" y="273"/>
                </a:cubicBezTo>
                <a:cubicBezTo>
                  <a:pt x="0" y="277"/>
                  <a:pt x="3" y="281"/>
                  <a:pt x="7" y="281"/>
                </a:cubicBezTo>
                <a:cubicBezTo>
                  <a:pt x="133" y="281"/>
                  <a:pt x="133" y="281"/>
                  <a:pt x="133" y="281"/>
                </a:cubicBezTo>
                <a:cubicBezTo>
                  <a:pt x="133" y="332"/>
                  <a:pt x="133" y="332"/>
                  <a:pt x="133" y="332"/>
                </a:cubicBezTo>
                <a:cubicBezTo>
                  <a:pt x="73" y="332"/>
                  <a:pt x="73" y="332"/>
                  <a:pt x="73" y="332"/>
                </a:cubicBezTo>
                <a:cubicBezTo>
                  <a:pt x="69" y="332"/>
                  <a:pt x="65" y="336"/>
                  <a:pt x="65" y="340"/>
                </a:cubicBezTo>
                <a:cubicBezTo>
                  <a:pt x="65" y="373"/>
                  <a:pt x="65" y="373"/>
                  <a:pt x="65" y="373"/>
                </a:cubicBezTo>
                <a:cubicBezTo>
                  <a:pt x="65" y="377"/>
                  <a:pt x="69" y="380"/>
                  <a:pt x="73" y="380"/>
                </a:cubicBezTo>
                <a:cubicBezTo>
                  <a:pt x="339" y="380"/>
                  <a:pt x="339" y="380"/>
                  <a:pt x="339" y="380"/>
                </a:cubicBezTo>
                <a:cubicBezTo>
                  <a:pt x="343" y="380"/>
                  <a:pt x="346" y="377"/>
                  <a:pt x="346" y="373"/>
                </a:cubicBezTo>
                <a:cubicBezTo>
                  <a:pt x="346" y="340"/>
                  <a:pt x="346" y="340"/>
                  <a:pt x="346" y="340"/>
                </a:cubicBezTo>
                <a:cubicBezTo>
                  <a:pt x="346" y="336"/>
                  <a:pt x="343" y="332"/>
                  <a:pt x="339" y="332"/>
                </a:cubicBezTo>
                <a:cubicBezTo>
                  <a:pt x="280" y="332"/>
                  <a:pt x="280" y="332"/>
                  <a:pt x="280" y="332"/>
                </a:cubicBezTo>
                <a:cubicBezTo>
                  <a:pt x="280" y="281"/>
                  <a:pt x="280" y="281"/>
                  <a:pt x="280" y="281"/>
                </a:cubicBezTo>
                <a:cubicBezTo>
                  <a:pt x="406" y="281"/>
                  <a:pt x="406" y="281"/>
                  <a:pt x="406" y="281"/>
                </a:cubicBezTo>
                <a:cubicBezTo>
                  <a:pt x="410" y="281"/>
                  <a:pt x="413" y="277"/>
                  <a:pt x="413" y="273"/>
                </a:cubicBezTo>
                <a:cubicBezTo>
                  <a:pt x="413" y="7"/>
                  <a:pt x="413" y="7"/>
                  <a:pt x="413" y="7"/>
                </a:cubicBezTo>
                <a:cubicBezTo>
                  <a:pt x="413" y="3"/>
                  <a:pt x="410" y="0"/>
                  <a:pt x="406" y="0"/>
                </a:cubicBezTo>
                <a:close/>
                <a:moveTo>
                  <a:pt x="331" y="366"/>
                </a:moveTo>
                <a:cubicBezTo>
                  <a:pt x="80" y="366"/>
                  <a:pt x="80" y="366"/>
                  <a:pt x="80" y="366"/>
                </a:cubicBezTo>
                <a:cubicBezTo>
                  <a:pt x="80" y="347"/>
                  <a:pt x="80" y="347"/>
                  <a:pt x="80" y="347"/>
                </a:cubicBezTo>
                <a:cubicBezTo>
                  <a:pt x="331" y="347"/>
                  <a:pt x="331" y="347"/>
                  <a:pt x="331" y="347"/>
                </a:cubicBezTo>
                <a:lnTo>
                  <a:pt x="331" y="366"/>
                </a:lnTo>
                <a:close/>
                <a:moveTo>
                  <a:pt x="266" y="332"/>
                </a:moveTo>
                <a:cubicBezTo>
                  <a:pt x="148" y="332"/>
                  <a:pt x="148" y="332"/>
                  <a:pt x="148" y="332"/>
                </a:cubicBezTo>
                <a:cubicBezTo>
                  <a:pt x="148" y="281"/>
                  <a:pt x="148" y="281"/>
                  <a:pt x="148" y="281"/>
                </a:cubicBezTo>
                <a:cubicBezTo>
                  <a:pt x="266" y="281"/>
                  <a:pt x="266" y="281"/>
                  <a:pt x="266" y="281"/>
                </a:cubicBezTo>
                <a:lnTo>
                  <a:pt x="266" y="332"/>
                </a:lnTo>
                <a:close/>
                <a:moveTo>
                  <a:pt x="399" y="266"/>
                </a:moveTo>
                <a:cubicBezTo>
                  <a:pt x="15" y="266"/>
                  <a:pt x="15" y="266"/>
                  <a:pt x="15" y="266"/>
                </a:cubicBezTo>
                <a:cubicBezTo>
                  <a:pt x="15" y="15"/>
                  <a:pt x="15" y="15"/>
                  <a:pt x="15" y="15"/>
                </a:cubicBezTo>
                <a:cubicBezTo>
                  <a:pt x="399" y="15"/>
                  <a:pt x="399" y="15"/>
                  <a:pt x="399" y="15"/>
                </a:cubicBezTo>
                <a:lnTo>
                  <a:pt x="399" y="266"/>
                </a:lnTo>
                <a:close/>
                <a:moveTo>
                  <a:pt x="40" y="247"/>
                </a:moveTo>
                <a:cubicBezTo>
                  <a:pt x="373" y="247"/>
                  <a:pt x="373" y="247"/>
                  <a:pt x="373" y="247"/>
                </a:cubicBezTo>
                <a:cubicBezTo>
                  <a:pt x="377" y="247"/>
                  <a:pt x="381" y="244"/>
                  <a:pt x="381" y="240"/>
                </a:cubicBezTo>
                <a:cubicBezTo>
                  <a:pt x="381" y="41"/>
                  <a:pt x="381" y="41"/>
                  <a:pt x="381" y="41"/>
                </a:cubicBezTo>
                <a:cubicBezTo>
                  <a:pt x="381" y="37"/>
                  <a:pt x="377" y="33"/>
                  <a:pt x="373" y="33"/>
                </a:cubicBezTo>
                <a:cubicBezTo>
                  <a:pt x="40" y="33"/>
                  <a:pt x="40" y="33"/>
                  <a:pt x="40" y="33"/>
                </a:cubicBezTo>
                <a:cubicBezTo>
                  <a:pt x="36" y="33"/>
                  <a:pt x="33" y="37"/>
                  <a:pt x="33" y="41"/>
                </a:cubicBezTo>
                <a:cubicBezTo>
                  <a:pt x="33" y="240"/>
                  <a:pt x="33" y="240"/>
                  <a:pt x="33" y="240"/>
                </a:cubicBezTo>
                <a:cubicBezTo>
                  <a:pt x="33" y="244"/>
                  <a:pt x="36" y="247"/>
                  <a:pt x="40" y="247"/>
                </a:cubicBezTo>
                <a:close/>
                <a:moveTo>
                  <a:pt x="47" y="48"/>
                </a:moveTo>
                <a:cubicBezTo>
                  <a:pt x="366" y="48"/>
                  <a:pt x="366" y="48"/>
                  <a:pt x="366" y="48"/>
                </a:cubicBezTo>
                <a:cubicBezTo>
                  <a:pt x="366" y="233"/>
                  <a:pt x="366" y="233"/>
                  <a:pt x="366" y="233"/>
                </a:cubicBezTo>
                <a:cubicBezTo>
                  <a:pt x="47" y="233"/>
                  <a:pt x="47" y="233"/>
                  <a:pt x="47" y="233"/>
                </a:cubicBezTo>
                <a:lnTo>
                  <a:pt x="47" y="48"/>
                </a:lnTo>
                <a:close/>
              </a:path>
            </a:pathLst>
          </a:custGeom>
          <a:solidFill>
            <a:schemeClr val="accent5"/>
          </a:solidFill>
          <a:ln>
            <a:noFill/>
          </a:ln>
        </p:spPr>
        <p:txBody>
          <a:bodyPr vert="horz" wrap="square" lIns="68589" tIns="34295" rIns="68589" bIns="34295" numCol="1" anchor="t" anchorCtr="0" compatLnSpc="1">
            <a:prstTxWarp prst="textNoShape">
              <a:avLst/>
            </a:prstTxWarp>
          </a:bodyPr>
          <a:lstStyle/>
          <a:p>
            <a:endParaRPr lang="en-US"/>
          </a:p>
        </p:txBody>
      </p:sp>
      <p:sp>
        <p:nvSpPr>
          <p:cNvPr id="23" name="Freeform 84"/>
          <p:cNvSpPr>
            <a:spLocks noEditPoints="1"/>
          </p:cNvSpPr>
          <p:nvPr/>
        </p:nvSpPr>
        <p:spPr bwMode="auto">
          <a:xfrm>
            <a:off x="513786" y="1185420"/>
            <a:ext cx="1075987" cy="1064111"/>
          </a:xfrm>
          <a:custGeom>
            <a:avLst/>
            <a:gdLst>
              <a:gd name="T0" fmla="*/ 314 w 314"/>
              <a:gd name="T1" fmla="*/ 301 h 311"/>
              <a:gd name="T2" fmla="*/ 189 w 314"/>
              <a:gd name="T3" fmla="*/ 176 h 311"/>
              <a:gd name="T4" fmla="*/ 214 w 314"/>
              <a:gd name="T5" fmla="*/ 107 h 311"/>
              <a:gd name="T6" fmla="*/ 107 w 314"/>
              <a:gd name="T7" fmla="*/ 0 h 311"/>
              <a:gd name="T8" fmla="*/ 0 w 314"/>
              <a:gd name="T9" fmla="*/ 107 h 311"/>
              <a:gd name="T10" fmla="*/ 107 w 314"/>
              <a:gd name="T11" fmla="*/ 215 h 311"/>
              <a:gd name="T12" fmla="*/ 179 w 314"/>
              <a:gd name="T13" fmla="*/ 186 h 311"/>
              <a:gd name="T14" fmla="*/ 304 w 314"/>
              <a:gd name="T15" fmla="*/ 311 h 311"/>
              <a:gd name="T16" fmla="*/ 314 w 314"/>
              <a:gd name="T17" fmla="*/ 301 h 311"/>
              <a:gd name="T18" fmla="*/ 107 w 314"/>
              <a:gd name="T19" fmla="*/ 200 h 311"/>
              <a:gd name="T20" fmla="*/ 14 w 314"/>
              <a:gd name="T21" fmla="*/ 107 h 311"/>
              <a:gd name="T22" fmla="*/ 107 w 314"/>
              <a:gd name="T23" fmla="*/ 15 h 311"/>
              <a:gd name="T24" fmla="*/ 199 w 314"/>
              <a:gd name="T25" fmla="*/ 107 h 311"/>
              <a:gd name="T26" fmla="*/ 107 w 314"/>
              <a:gd name="T27" fmla="*/ 20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4" h="311">
                <a:moveTo>
                  <a:pt x="314" y="301"/>
                </a:moveTo>
                <a:cubicBezTo>
                  <a:pt x="189" y="176"/>
                  <a:pt x="189" y="176"/>
                  <a:pt x="189" y="176"/>
                </a:cubicBezTo>
                <a:cubicBezTo>
                  <a:pt x="205" y="157"/>
                  <a:pt x="214" y="133"/>
                  <a:pt x="214" y="107"/>
                </a:cubicBezTo>
                <a:cubicBezTo>
                  <a:pt x="214" y="48"/>
                  <a:pt x="166" y="0"/>
                  <a:pt x="107" y="0"/>
                </a:cubicBezTo>
                <a:cubicBezTo>
                  <a:pt x="48" y="0"/>
                  <a:pt x="0" y="48"/>
                  <a:pt x="0" y="107"/>
                </a:cubicBezTo>
                <a:cubicBezTo>
                  <a:pt x="0" y="167"/>
                  <a:pt x="48" y="215"/>
                  <a:pt x="107" y="215"/>
                </a:cubicBezTo>
                <a:cubicBezTo>
                  <a:pt x="135" y="215"/>
                  <a:pt x="160" y="204"/>
                  <a:pt x="179" y="186"/>
                </a:cubicBezTo>
                <a:cubicBezTo>
                  <a:pt x="304" y="311"/>
                  <a:pt x="304" y="311"/>
                  <a:pt x="304" y="311"/>
                </a:cubicBezTo>
                <a:lnTo>
                  <a:pt x="314" y="301"/>
                </a:lnTo>
                <a:close/>
                <a:moveTo>
                  <a:pt x="107" y="200"/>
                </a:moveTo>
                <a:cubicBezTo>
                  <a:pt x="56" y="200"/>
                  <a:pt x="14" y="158"/>
                  <a:pt x="14" y="107"/>
                </a:cubicBezTo>
                <a:cubicBezTo>
                  <a:pt x="14" y="57"/>
                  <a:pt x="56" y="15"/>
                  <a:pt x="107" y="15"/>
                </a:cubicBezTo>
                <a:cubicBezTo>
                  <a:pt x="158" y="15"/>
                  <a:pt x="199" y="57"/>
                  <a:pt x="199" y="107"/>
                </a:cubicBezTo>
                <a:cubicBezTo>
                  <a:pt x="199" y="158"/>
                  <a:pt x="158" y="200"/>
                  <a:pt x="107" y="200"/>
                </a:cubicBezTo>
                <a:close/>
              </a:path>
            </a:pathLst>
          </a:custGeom>
          <a:solidFill>
            <a:schemeClr val="accent3"/>
          </a:solidFill>
          <a:ln>
            <a:noFill/>
          </a:ln>
        </p:spPr>
        <p:txBody>
          <a:bodyPr vert="horz" wrap="square" lIns="68589" tIns="34295" rIns="68589" bIns="34295" numCol="1" anchor="t" anchorCtr="0" compatLnSpc="1">
            <a:prstTxWarp prst="textNoShape">
              <a:avLst/>
            </a:prstTxWarp>
          </a:bodyPr>
          <a:lstStyle/>
          <a:p>
            <a:endParaRPr lang="en-US"/>
          </a:p>
        </p:txBody>
      </p:sp>
      <p:sp>
        <p:nvSpPr>
          <p:cNvPr id="24" name="Freeform 80"/>
          <p:cNvSpPr>
            <a:spLocks noEditPoints="1"/>
          </p:cNvSpPr>
          <p:nvPr/>
        </p:nvSpPr>
        <p:spPr bwMode="auto">
          <a:xfrm>
            <a:off x="5360846" y="1153508"/>
            <a:ext cx="764880" cy="1127935"/>
          </a:xfrm>
          <a:custGeom>
            <a:avLst/>
            <a:gdLst>
              <a:gd name="T0" fmla="*/ 273 w 280"/>
              <a:gd name="T1" fmla="*/ 0 h 413"/>
              <a:gd name="T2" fmla="*/ 7 w 280"/>
              <a:gd name="T3" fmla="*/ 0 h 413"/>
              <a:gd name="T4" fmla="*/ 0 w 280"/>
              <a:gd name="T5" fmla="*/ 7 h 413"/>
              <a:gd name="T6" fmla="*/ 0 w 280"/>
              <a:gd name="T7" fmla="*/ 406 h 413"/>
              <a:gd name="T8" fmla="*/ 7 w 280"/>
              <a:gd name="T9" fmla="*/ 413 h 413"/>
              <a:gd name="T10" fmla="*/ 273 w 280"/>
              <a:gd name="T11" fmla="*/ 413 h 413"/>
              <a:gd name="T12" fmla="*/ 280 w 280"/>
              <a:gd name="T13" fmla="*/ 406 h 413"/>
              <a:gd name="T14" fmla="*/ 280 w 280"/>
              <a:gd name="T15" fmla="*/ 7 h 413"/>
              <a:gd name="T16" fmla="*/ 273 w 280"/>
              <a:gd name="T17" fmla="*/ 0 h 413"/>
              <a:gd name="T18" fmla="*/ 266 w 280"/>
              <a:gd name="T19" fmla="*/ 398 h 413"/>
              <a:gd name="T20" fmla="*/ 14 w 280"/>
              <a:gd name="T21" fmla="*/ 398 h 413"/>
              <a:gd name="T22" fmla="*/ 14 w 280"/>
              <a:gd name="T23" fmla="*/ 14 h 413"/>
              <a:gd name="T24" fmla="*/ 266 w 280"/>
              <a:gd name="T25" fmla="*/ 14 h 413"/>
              <a:gd name="T26" fmla="*/ 266 w 280"/>
              <a:gd name="T27" fmla="*/ 398 h 413"/>
              <a:gd name="T28" fmla="*/ 108 w 280"/>
              <a:gd name="T29" fmla="*/ 81 h 413"/>
              <a:gd name="T30" fmla="*/ 174 w 280"/>
              <a:gd name="T31" fmla="*/ 81 h 413"/>
              <a:gd name="T32" fmla="*/ 198 w 280"/>
              <a:gd name="T33" fmla="*/ 57 h 413"/>
              <a:gd name="T34" fmla="*/ 174 w 280"/>
              <a:gd name="T35" fmla="*/ 33 h 413"/>
              <a:gd name="T36" fmla="*/ 108 w 280"/>
              <a:gd name="T37" fmla="*/ 33 h 413"/>
              <a:gd name="T38" fmla="*/ 84 w 280"/>
              <a:gd name="T39" fmla="*/ 57 h 413"/>
              <a:gd name="T40" fmla="*/ 108 w 280"/>
              <a:gd name="T41" fmla="*/ 81 h 413"/>
              <a:gd name="T42" fmla="*/ 108 w 280"/>
              <a:gd name="T43" fmla="*/ 48 h 413"/>
              <a:gd name="T44" fmla="*/ 174 w 280"/>
              <a:gd name="T45" fmla="*/ 48 h 413"/>
              <a:gd name="T46" fmla="*/ 184 w 280"/>
              <a:gd name="T47" fmla="*/ 57 h 413"/>
              <a:gd name="T48" fmla="*/ 174 w 280"/>
              <a:gd name="T49" fmla="*/ 66 h 413"/>
              <a:gd name="T50" fmla="*/ 108 w 280"/>
              <a:gd name="T51" fmla="*/ 66 h 413"/>
              <a:gd name="T52" fmla="*/ 99 w 280"/>
              <a:gd name="T53" fmla="*/ 57 h 413"/>
              <a:gd name="T54" fmla="*/ 108 w 280"/>
              <a:gd name="T55" fmla="*/ 48 h 413"/>
              <a:gd name="T56" fmla="*/ 140 w 280"/>
              <a:gd name="T57" fmla="*/ 207 h 413"/>
              <a:gd name="T58" fmla="*/ 73 w 280"/>
              <a:gd name="T59" fmla="*/ 207 h 413"/>
              <a:gd name="T60" fmla="*/ 73 w 280"/>
              <a:gd name="T61" fmla="*/ 140 h 413"/>
              <a:gd name="T62" fmla="*/ 140 w 280"/>
              <a:gd name="T63" fmla="*/ 140 h 413"/>
              <a:gd name="T64" fmla="*/ 140 w 280"/>
              <a:gd name="T65" fmla="*/ 207 h 413"/>
              <a:gd name="T66" fmla="*/ 206 w 280"/>
              <a:gd name="T67" fmla="*/ 280 h 413"/>
              <a:gd name="T68" fmla="*/ 74 w 280"/>
              <a:gd name="T69" fmla="*/ 280 h 413"/>
              <a:gd name="T70" fmla="*/ 74 w 280"/>
              <a:gd name="T71" fmla="*/ 266 h 413"/>
              <a:gd name="T72" fmla="*/ 206 w 280"/>
              <a:gd name="T73" fmla="*/ 266 h 413"/>
              <a:gd name="T74" fmla="*/ 206 w 280"/>
              <a:gd name="T75" fmla="*/ 280 h 413"/>
              <a:gd name="T76" fmla="*/ 75 w 280"/>
              <a:gd name="T77" fmla="*/ 232 h 413"/>
              <a:gd name="T78" fmla="*/ 207 w 280"/>
              <a:gd name="T79" fmla="*/ 232 h 413"/>
              <a:gd name="T80" fmla="*/ 207 w 280"/>
              <a:gd name="T81" fmla="*/ 247 h 413"/>
              <a:gd name="T82" fmla="*/ 75 w 280"/>
              <a:gd name="T83" fmla="*/ 247 h 413"/>
              <a:gd name="T84" fmla="*/ 75 w 280"/>
              <a:gd name="T85" fmla="*/ 232 h 413"/>
              <a:gd name="T86" fmla="*/ 74 w 280"/>
              <a:gd name="T87" fmla="*/ 313 h 413"/>
              <a:gd name="T88" fmla="*/ 74 w 280"/>
              <a:gd name="T89" fmla="*/ 299 h 413"/>
              <a:gd name="T90" fmla="*/ 206 w 280"/>
              <a:gd name="T91" fmla="*/ 299 h 413"/>
              <a:gd name="T92" fmla="*/ 206 w 280"/>
              <a:gd name="T93" fmla="*/ 313 h 413"/>
              <a:gd name="T94" fmla="*/ 74 w 280"/>
              <a:gd name="T95" fmla="*/ 313 h 413"/>
              <a:gd name="T96" fmla="*/ 206 w 280"/>
              <a:gd name="T97" fmla="*/ 347 h 413"/>
              <a:gd name="T98" fmla="*/ 73 w 280"/>
              <a:gd name="T99" fmla="*/ 347 h 413"/>
              <a:gd name="T100" fmla="*/ 73 w 280"/>
              <a:gd name="T101" fmla="*/ 332 h 413"/>
              <a:gd name="T102" fmla="*/ 206 w 280"/>
              <a:gd name="T103" fmla="*/ 332 h 413"/>
              <a:gd name="T104" fmla="*/ 206 w 280"/>
              <a:gd name="T105" fmla="*/ 347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0" h="413">
                <a:moveTo>
                  <a:pt x="273" y="0"/>
                </a:moveTo>
                <a:cubicBezTo>
                  <a:pt x="7" y="0"/>
                  <a:pt x="7" y="0"/>
                  <a:pt x="7" y="0"/>
                </a:cubicBezTo>
                <a:cubicBezTo>
                  <a:pt x="3" y="0"/>
                  <a:pt x="0" y="3"/>
                  <a:pt x="0" y="7"/>
                </a:cubicBezTo>
                <a:cubicBezTo>
                  <a:pt x="0" y="406"/>
                  <a:pt x="0" y="406"/>
                  <a:pt x="0" y="406"/>
                </a:cubicBezTo>
                <a:cubicBezTo>
                  <a:pt x="0" y="410"/>
                  <a:pt x="3" y="413"/>
                  <a:pt x="7" y="413"/>
                </a:cubicBezTo>
                <a:cubicBezTo>
                  <a:pt x="273" y="413"/>
                  <a:pt x="273" y="413"/>
                  <a:pt x="273" y="413"/>
                </a:cubicBezTo>
                <a:cubicBezTo>
                  <a:pt x="277" y="413"/>
                  <a:pt x="280" y="410"/>
                  <a:pt x="280" y="406"/>
                </a:cubicBezTo>
                <a:cubicBezTo>
                  <a:pt x="280" y="7"/>
                  <a:pt x="280" y="7"/>
                  <a:pt x="280" y="7"/>
                </a:cubicBezTo>
                <a:cubicBezTo>
                  <a:pt x="280" y="3"/>
                  <a:pt x="277" y="0"/>
                  <a:pt x="273" y="0"/>
                </a:cubicBezTo>
                <a:close/>
                <a:moveTo>
                  <a:pt x="266" y="398"/>
                </a:moveTo>
                <a:cubicBezTo>
                  <a:pt x="14" y="398"/>
                  <a:pt x="14" y="398"/>
                  <a:pt x="14" y="398"/>
                </a:cubicBezTo>
                <a:cubicBezTo>
                  <a:pt x="14" y="14"/>
                  <a:pt x="14" y="14"/>
                  <a:pt x="14" y="14"/>
                </a:cubicBezTo>
                <a:cubicBezTo>
                  <a:pt x="266" y="14"/>
                  <a:pt x="266" y="14"/>
                  <a:pt x="266" y="14"/>
                </a:cubicBezTo>
                <a:lnTo>
                  <a:pt x="266" y="398"/>
                </a:lnTo>
                <a:close/>
                <a:moveTo>
                  <a:pt x="108" y="81"/>
                </a:moveTo>
                <a:cubicBezTo>
                  <a:pt x="174" y="81"/>
                  <a:pt x="174" y="81"/>
                  <a:pt x="174" y="81"/>
                </a:cubicBezTo>
                <a:cubicBezTo>
                  <a:pt x="187" y="81"/>
                  <a:pt x="198" y="70"/>
                  <a:pt x="198" y="57"/>
                </a:cubicBezTo>
                <a:cubicBezTo>
                  <a:pt x="198" y="44"/>
                  <a:pt x="187" y="33"/>
                  <a:pt x="174" y="33"/>
                </a:cubicBezTo>
                <a:cubicBezTo>
                  <a:pt x="108" y="33"/>
                  <a:pt x="108" y="33"/>
                  <a:pt x="108" y="33"/>
                </a:cubicBezTo>
                <a:cubicBezTo>
                  <a:pt x="95" y="33"/>
                  <a:pt x="84" y="44"/>
                  <a:pt x="84" y="57"/>
                </a:cubicBezTo>
                <a:cubicBezTo>
                  <a:pt x="84" y="70"/>
                  <a:pt x="95" y="81"/>
                  <a:pt x="108" y="81"/>
                </a:cubicBezTo>
                <a:close/>
                <a:moveTo>
                  <a:pt x="108" y="48"/>
                </a:moveTo>
                <a:cubicBezTo>
                  <a:pt x="174" y="48"/>
                  <a:pt x="174" y="48"/>
                  <a:pt x="174" y="48"/>
                </a:cubicBezTo>
                <a:cubicBezTo>
                  <a:pt x="179" y="48"/>
                  <a:pt x="184" y="52"/>
                  <a:pt x="184" y="57"/>
                </a:cubicBezTo>
                <a:cubicBezTo>
                  <a:pt x="184" y="62"/>
                  <a:pt x="179" y="66"/>
                  <a:pt x="174" y="66"/>
                </a:cubicBezTo>
                <a:cubicBezTo>
                  <a:pt x="108" y="66"/>
                  <a:pt x="108" y="66"/>
                  <a:pt x="108" y="66"/>
                </a:cubicBezTo>
                <a:cubicBezTo>
                  <a:pt x="103" y="66"/>
                  <a:pt x="99" y="62"/>
                  <a:pt x="99" y="57"/>
                </a:cubicBezTo>
                <a:cubicBezTo>
                  <a:pt x="99" y="52"/>
                  <a:pt x="103" y="48"/>
                  <a:pt x="108" y="48"/>
                </a:cubicBezTo>
                <a:close/>
                <a:moveTo>
                  <a:pt x="140" y="207"/>
                </a:moveTo>
                <a:cubicBezTo>
                  <a:pt x="73" y="207"/>
                  <a:pt x="73" y="207"/>
                  <a:pt x="73" y="207"/>
                </a:cubicBezTo>
                <a:cubicBezTo>
                  <a:pt x="73" y="140"/>
                  <a:pt x="73" y="140"/>
                  <a:pt x="73" y="140"/>
                </a:cubicBezTo>
                <a:cubicBezTo>
                  <a:pt x="140" y="140"/>
                  <a:pt x="140" y="140"/>
                  <a:pt x="140" y="140"/>
                </a:cubicBezTo>
                <a:lnTo>
                  <a:pt x="140" y="207"/>
                </a:lnTo>
                <a:close/>
                <a:moveTo>
                  <a:pt x="206" y="280"/>
                </a:moveTo>
                <a:cubicBezTo>
                  <a:pt x="74" y="280"/>
                  <a:pt x="74" y="280"/>
                  <a:pt x="74" y="280"/>
                </a:cubicBezTo>
                <a:cubicBezTo>
                  <a:pt x="74" y="266"/>
                  <a:pt x="74" y="266"/>
                  <a:pt x="74" y="266"/>
                </a:cubicBezTo>
                <a:cubicBezTo>
                  <a:pt x="206" y="266"/>
                  <a:pt x="206" y="266"/>
                  <a:pt x="206" y="266"/>
                </a:cubicBezTo>
                <a:lnTo>
                  <a:pt x="206" y="280"/>
                </a:lnTo>
                <a:close/>
                <a:moveTo>
                  <a:pt x="75" y="232"/>
                </a:moveTo>
                <a:cubicBezTo>
                  <a:pt x="207" y="232"/>
                  <a:pt x="207" y="232"/>
                  <a:pt x="207" y="232"/>
                </a:cubicBezTo>
                <a:cubicBezTo>
                  <a:pt x="207" y="247"/>
                  <a:pt x="207" y="247"/>
                  <a:pt x="207" y="247"/>
                </a:cubicBezTo>
                <a:cubicBezTo>
                  <a:pt x="75" y="247"/>
                  <a:pt x="75" y="247"/>
                  <a:pt x="75" y="247"/>
                </a:cubicBezTo>
                <a:lnTo>
                  <a:pt x="75" y="232"/>
                </a:lnTo>
                <a:close/>
                <a:moveTo>
                  <a:pt x="74" y="313"/>
                </a:moveTo>
                <a:cubicBezTo>
                  <a:pt x="74" y="299"/>
                  <a:pt x="74" y="299"/>
                  <a:pt x="74" y="299"/>
                </a:cubicBezTo>
                <a:cubicBezTo>
                  <a:pt x="206" y="299"/>
                  <a:pt x="206" y="299"/>
                  <a:pt x="206" y="299"/>
                </a:cubicBezTo>
                <a:cubicBezTo>
                  <a:pt x="206" y="313"/>
                  <a:pt x="206" y="313"/>
                  <a:pt x="206" y="313"/>
                </a:cubicBezTo>
                <a:lnTo>
                  <a:pt x="74" y="313"/>
                </a:lnTo>
                <a:close/>
                <a:moveTo>
                  <a:pt x="206" y="347"/>
                </a:moveTo>
                <a:cubicBezTo>
                  <a:pt x="73" y="347"/>
                  <a:pt x="73" y="347"/>
                  <a:pt x="73" y="347"/>
                </a:cubicBezTo>
                <a:cubicBezTo>
                  <a:pt x="73" y="332"/>
                  <a:pt x="73" y="332"/>
                  <a:pt x="73" y="332"/>
                </a:cubicBezTo>
                <a:cubicBezTo>
                  <a:pt x="206" y="332"/>
                  <a:pt x="206" y="332"/>
                  <a:pt x="206" y="332"/>
                </a:cubicBezTo>
                <a:lnTo>
                  <a:pt x="206" y="347"/>
                </a:lnTo>
                <a:close/>
              </a:path>
            </a:pathLst>
          </a:custGeom>
          <a:solidFill>
            <a:schemeClr val="accent6"/>
          </a:solidFill>
          <a:ln>
            <a:noFill/>
          </a:ln>
        </p:spPr>
        <p:txBody>
          <a:bodyPr vert="horz" wrap="square" lIns="68589" tIns="34295" rIns="68589" bIns="34295" numCol="1" anchor="t" anchorCtr="0" compatLnSpc="1">
            <a:prstTxWarp prst="textNoShape">
              <a:avLst/>
            </a:prstTxWarp>
          </a:bodyPr>
          <a:lstStyle/>
          <a:p>
            <a:endParaRPr lang="en-US"/>
          </a:p>
        </p:txBody>
      </p:sp>
      <p:sp>
        <p:nvSpPr>
          <p:cNvPr id="25" name="Freeform 77"/>
          <p:cNvSpPr>
            <a:spLocks noEditPoints="1"/>
          </p:cNvSpPr>
          <p:nvPr/>
        </p:nvSpPr>
        <p:spPr bwMode="auto">
          <a:xfrm>
            <a:off x="7232453" y="1151228"/>
            <a:ext cx="1650922" cy="1132493"/>
          </a:xfrm>
          <a:custGeom>
            <a:avLst/>
            <a:gdLst>
              <a:gd name="T0" fmla="*/ 340 w 413"/>
              <a:gd name="T1" fmla="*/ 283 h 283"/>
              <a:gd name="T2" fmla="*/ 73 w 413"/>
              <a:gd name="T3" fmla="*/ 283 h 283"/>
              <a:gd name="T4" fmla="*/ 72 w 413"/>
              <a:gd name="T5" fmla="*/ 283 h 283"/>
              <a:gd name="T6" fmla="*/ 0 w 413"/>
              <a:gd name="T7" fmla="*/ 209 h 283"/>
              <a:gd name="T8" fmla="*/ 70 w 413"/>
              <a:gd name="T9" fmla="*/ 135 h 283"/>
              <a:gd name="T10" fmla="*/ 66 w 413"/>
              <a:gd name="T11" fmla="*/ 107 h 283"/>
              <a:gd name="T12" fmla="*/ 173 w 413"/>
              <a:gd name="T13" fmla="*/ 0 h 283"/>
              <a:gd name="T14" fmla="*/ 273 w 413"/>
              <a:gd name="T15" fmla="*/ 69 h 283"/>
              <a:gd name="T16" fmla="*/ 273 w 413"/>
              <a:gd name="T17" fmla="*/ 69 h 283"/>
              <a:gd name="T18" fmla="*/ 346 w 413"/>
              <a:gd name="T19" fmla="*/ 135 h 283"/>
              <a:gd name="T20" fmla="*/ 413 w 413"/>
              <a:gd name="T21" fmla="*/ 209 h 283"/>
              <a:gd name="T22" fmla="*/ 341 w 413"/>
              <a:gd name="T23" fmla="*/ 283 h 283"/>
              <a:gd name="T24" fmla="*/ 340 w 413"/>
              <a:gd name="T25" fmla="*/ 283 h 283"/>
              <a:gd name="T26" fmla="*/ 73 w 413"/>
              <a:gd name="T27" fmla="*/ 268 h 283"/>
              <a:gd name="T28" fmla="*/ 339 w 413"/>
              <a:gd name="T29" fmla="*/ 268 h 283"/>
              <a:gd name="T30" fmla="*/ 340 w 413"/>
              <a:gd name="T31" fmla="*/ 268 h 283"/>
              <a:gd name="T32" fmla="*/ 398 w 413"/>
              <a:gd name="T33" fmla="*/ 209 h 283"/>
              <a:gd name="T34" fmla="*/ 339 w 413"/>
              <a:gd name="T35" fmla="*/ 150 h 283"/>
              <a:gd name="T36" fmla="*/ 332 w 413"/>
              <a:gd name="T37" fmla="*/ 142 h 283"/>
              <a:gd name="T38" fmla="*/ 273 w 413"/>
              <a:gd name="T39" fmla="*/ 83 h 283"/>
              <a:gd name="T40" fmla="*/ 268 w 413"/>
              <a:gd name="T41" fmla="*/ 84 h 283"/>
              <a:gd name="T42" fmla="*/ 261 w 413"/>
              <a:gd name="T43" fmla="*/ 79 h 283"/>
              <a:gd name="T44" fmla="*/ 173 w 413"/>
              <a:gd name="T45" fmla="*/ 15 h 283"/>
              <a:gd name="T46" fmla="*/ 81 w 413"/>
              <a:gd name="T47" fmla="*/ 107 h 283"/>
              <a:gd name="T48" fmla="*/ 87 w 413"/>
              <a:gd name="T49" fmla="*/ 140 h 283"/>
              <a:gd name="T50" fmla="*/ 86 w 413"/>
              <a:gd name="T51" fmla="*/ 147 h 283"/>
              <a:gd name="T52" fmla="*/ 79 w 413"/>
              <a:gd name="T53" fmla="*/ 150 h 283"/>
              <a:gd name="T54" fmla="*/ 73 w 413"/>
              <a:gd name="T55" fmla="*/ 150 h 283"/>
              <a:gd name="T56" fmla="*/ 14 w 413"/>
              <a:gd name="T57" fmla="*/ 209 h 283"/>
              <a:gd name="T58" fmla="*/ 73 w 413"/>
              <a:gd name="T59" fmla="*/ 268 h 283"/>
              <a:gd name="T60" fmla="*/ 73 w 413"/>
              <a:gd name="T61" fmla="*/ 268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3" h="283">
                <a:moveTo>
                  <a:pt x="340" y="283"/>
                </a:moveTo>
                <a:cubicBezTo>
                  <a:pt x="73" y="283"/>
                  <a:pt x="73" y="283"/>
                  <a:pt x="73" y="283"/>
                </a:cubicBezTo>
                <a:cubicBezTo>
                  <a:pt x="73" y="283"/>
                  <a:pt x="72" y="283"/>
                  <a:pt x="72" y="283"/>
                </a:cubicBezTo>
                <a:cubicBezTo>
                  <a:pt x="32" y="282"/>
                  <a:pt x="0" y="249"/>
                  <a:pt x="0" y="209"/>
                </a:cubicBezTo>
                <a:cubicBezTo>
                  <a:pt x="0" y="169"/>
                  <a:pt x="31" y="137"/>
                  <a:pt x="70" y="135"/>
                </a:cubicBezTo>
                <a:cubicBezTo>
                  <a:pt x="67" y="126"/>
                  <a:pt x="66" y="117"/>
                  <a:pt x="66" y="107"/>
                </a:cubicBezTo>
                <a:cubicBezTo>
                  <a:pt x="66" y="48"/>
                  <a:pt x="114" y="0"/>
                  <a:pt x="173" y="0"/>
                </a:cubicBezTo>
                <a:cubicBezTo>
                  <a:pt x="217" y="0"/>
                  <a:pt x="257" y="27"/>
                  <a:pt x="273" y="69"/>
                </a:cubicBezTo>
                <a:cubicBezTo>
                  <a:pt x="273" y="69"/>
                  <a:pt x="273" y="69"/>
                  <a:pt x="273" y="69"/>
                </a:cubicBezTo>
                <a:cubicBezTo>
                  <a:pt x="311" y="69"/>
                  <a:pt x="343" y="98"/>
                  <a:pt x="346" y="135"/>
                </a:cubicBezTo>
                <a:cubicBezTo>
                  <a:pt x="384" y="139"/>
                  <a:pt x="413" y="171"/>
                  <a:pt x="413" y="209"/>
                </a:cubicBezTo>
                <a:cubicBezTo>
                  <a:pt x="413" y="249"/>
                  <a:pt x="381" y="282"/>
                  <a:pt x="341" y="283"/>
                </a:cubicBezTo>
                <a:cubicBezTo>
                  <a:pt x="340" y="283"/>
                  <a:pt x="340" y="283"/>
                  <a:pt x="340" y="283"/>
                </a:cubicBezTo>
                <a:close/>
                <a:moveTo>
                  <a:pt x="73" y="268"/>
                </a:moveTo>
                <a:cubicBezTo>
                  <a:pt x="339" y="268"/>
                  <a:pt x="339" y="268"/>
                  <a:pt x="339" y="268"/>
                </a:cubicBezTo>
                <a:cubicBezTo>
                  <a:pt x="339" y="268"/>
                  <a:pt x="340" y="268"/>
                  <a:pt x="340" y="268"/>
                </a:cubicBezTo>
                <a:cubicBezTo>
                  <a:pt x="372" y="268"/>
                  <a:pt x="398" y="241"/>
                  <a:pt x="398" y="209"/>
                </a:cubicBezTo>
                <a:cubicBezTo>
                  <a:pt x="398" y="176"/>
                  <a:pt x="372" y="150"/>
                  <a:pt x="339" y="150"/>
                </a:cubicBezTo>
                <a:cubicBezTo>
                  <a:pt x="335" y="150"/>
                  <a:pt x="332" y="146"/>
                  <a:pt x="332" y="142"/>
                </a:cubicBezTo>
                <a:cubicBezTo>
                  <a:pt x="332" y="110"/>
                  <a:pt x="305" y="83"/>
                  <a:pt x="273" y="83"/>
                </a:cubicBezTo>
                <a:cubicBezTo>
                  <a:pt x="271" y="83"/>
                  <a:pt x="270" y="83"/>
                  <a:pt x="268" y="84"/>
                </a:cubicBezTo>
                <a:cubicBezTo>
                  <a:pt x="265" y="84"/>
                  <a:pt x="262" y="82"/>
                  <a:pt x="261" y="79"/>
                </a:cubicBezTo>
                <a:cubicBezTo>
                  <a:pt x="248" y="40"/>
                  <a:pt x="213" y="15"/>
                  <a:pt x="173" y="15"/>
                </a:cubicBezTo>
                <a:cubicBezTo>
                  <a:pt x="122" y="15"/>
                  <a:pt x="81" y="56"/>
                  <a:pt x="81" y="107"/>
                </a:cubicBezTo>
                <a:cubicBezTo>
                  <a:pt x="81" y="118"/>
                  <a:pt x="83" y="129"/>
                  <a:pt x="87" y="140"/>
                </a:cubicBezTo>
                <a:cubicBezTo>
                  <a:pt x="88" y="142"/>
                  <a:pt x="87" y="145"/>
                  <a:pt x="86" y="147"/>
                </a:cubicBezTo>
                <a:cubicBezTo>
                  <a:pt x="84" y="149"/>
                  <a:pt x="82" y="150"/>
                  <a:pt x="79" y="150"/>
                </a:cubicBezTo>
                <a:cubicBezTo>
                  <a:pt x="77" y="150"/>
                  <a:pt x="75" y="150"/>
                  <a:pt x="73" y="150"/>
                </a:cubicBezTo>
                <a:cubicBezTo>
                  <a:pt x="41" y="150"/>
                  <a:pt x="14" y="176"/>
                  <a:pt x="14" y="209"/>
                </a:cubicBezTo>
                <a:cubicBezTo>
                  <a:pt x="14" y="241"/>
                  <a:pt x="41" y="268"/>
                  <a:pt x="73" y="268"/>
                </a:cubicBezTo>
                <a:cubicBezTo>
                  <a:pt x="73" y="268"/>
                  <a:pt x="73" y="268"/>
                  <a:pt x="73" y="268"/>
                </a:cubicBezTo>
                <a:close/>
              </a:path>
            </a:pathLst>
          </a:custGeom>
          <a:solidFill>
            <a:schemeClr val="accent4"/>
          </a:solidFill>
          <a:ln>
            <a:noFill/>
          </a:ln>
        </p:spPr>
        <p:txBody>
          <a:bodyPr vert="horz" wrap="square" lIns="68589" tIns="34295" rIns="68589" bIns="34295" numCol="1" anchor="t" anchorCtr="0" compatLnSpc="1">
            <a:prstTxWarp prst="textNoShape">
              <a:avLst/>
            </a:prstTxWarp>
          </a:bodyPr>
          <a:lstStyle/>
          <a:p>
            <a:endParaRPr lang="en-US"/>
          </a:p>
        </p:txBody>
      </p:sp>
      <p:sp>
        <p:nvSpPr>
          <p:cNvPr id="26"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7"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8"/>
              </a:rPr>
              <a:t>www.rapidbbs.cn</a:t>
            </a:r>
            <a:endParaRPr lang="zh-CN" altLang="en-US" sz="1200" b="0">
              <a:latin typeface="Arial" charset="0"/>
              <a:ea typeface="ＭＳ Ｐゴシック" pitchFamily="34" charset="-128"/>
            </a:endParaRPr>
          </a:p>
        </p:txBody>
      </p:sp>
      <p:pic>
        <p:nvPicPr>
          <p:cNvPr id="28" name="Picture 2">
            <a:hlinkClick r:id="rId8"/>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22097006"/>
      </p:ext>
    </p:extLst>
  </p:cSld>
  <p:clrMapOvr>
    <a:masterClrMapping/>
  </p:clrMapOvr>
  <mc:AlternateContent xmlns:mc="http://schemas.openxmlformats.org/markup-compatibility/2006" xmlns:p14="http://schemas.microsoft.com/office/powerpoint/2010/main">
    <mc:Choice Requires="p14">
      <p:transition spd="slow" p14:dur="1500">
        <p14:pan/>
      </p:transition>
    </mc:Choice>
    <mc:Fallback xmlns="">
      <p:transition spd="slow">
        <p:fade/>
      </p:transition>
    </mc:Fallback>
  </mc:AlternateContent>
  <p:timing>
    <p:tnLst>
      <p:par>
        <p:cTn id="1" dur="indefinite" restart="never" nodeType="tmRoot"/>
      </p:par>
    </p:tnLst>
  </p:timing>
</p:sld>
</file>

<file path=ppt/slides/slide4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172642"/>
            <a:ext cx="8382000" cy="457049"/>
          </a:xfrm>
        </p:spPr>
        <p:txBody>
          <a:bodyPr/>
          <a:lstStyle/>
          <a:p>
            <a:r>
              <a:rPr lang="en-US" dirty="0" smtClean="0"/>
              <a:t>Marketplace Content</a:t>
            </a:r>
            <a:endParaRPr lang="en-US" dirty="0">
              <a:solidFill>
                <a:schemeClr val="accent1"/>
              </a:solidFill>
            </a:endParaRPr>
          </a:p>
        </p:txBody>
      </p:sp>
      <p:pic>
        <p:nvPicPr>
          <p:cNvPr id="6" name="Picture 2" descr="C:\Users\Jordan\Desktop\TechEd_2012\TechEd-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6962" y="4619593"/>
            <a:ext cx="698151" cy="322326"/>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bwMode="auto">
          <a:xfrm>
            <a:off x="1" y="693332"/>
            <a:ext cx="4483909" cy="184904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205767" tIns="205767" rIns="68589" bIns="34295"/>
          <a:lstStyle/>
          <a:p>
            <a:pPr marL="2057674">
              <a:spcAft>
                <a:spcPts val="900"/>
              </a:spcAft>
            </a:pPr>
            <a:r>
              <a:rPr lang="en-US" b="1" dirty="0" smtClean="0"/>
              <a:t>Premium Data &amp; Services</a:t>
            </a:r>
          </a:p>
          <a:p>
            <a:pPr marL="2057674"/>
            <a:r>
              <a:rPr lang="en-US" sz="1200" dirty="0">
                <a:solidFill>
                  <a:srgbClr val="FFFFFF"/>
                </a:solidFill>
                <a:latin typeface="Segoe UI" pitchFamily="34" charset="0"/>
                <a:ea typeface="Segoe UI" pitchFamily="34" charset="0"/>
                <a:cs typeface="Segoe UI" pitchFamily="34" charset="0"/>
              </a:rPr>
              <a:t>The Marketplace offers more than 15 categories of high-quality curated data and data services. Publishers of premium data and Web services enjoy the full breadth of Marketplace services.</a:t>
            </a:r>
            <a:endParaRPr lang="en-US" sz="1200" dirty="0">
              <a:solidFill>
                <a:srgbClr val="FFFFFF"/>
              </a:solidFill>
              <a:latin typeface="Segoe UI" pitchFamily="34" charset="0"/>
              <a:ea typeface="Segoe UI" pitchFamily="34" charset="0"/>
              <a:cs typeface="Segoe UI" pitchFamily="34" charset="0"/>
            </a:endParaRPr>
          </a:p>
        </p:txBody>
      </p:sp>
      <p:sp>
        <p:nvSpPr>
          <p:cNvPr id="7" name="Rectangle 6"/>
          <p:cNvSpPr/>
          <p:nvPr/>
        </p:nvSpPr>
        <p:spPr bwMode="auto">
          <a:xfrm>
            <a:off x="1" y="2682874"/>
            <a:ext cx="4483909" cy="1850231"/>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lIns="205767" tIns="205767" rIns="68589" bIns="34295"/>
          <a:lstStyle/>
          <a:p>
            <a:pPr marL="2057674">
              <a:spcAft>
                <a:spcPts val="900"/>
              </a:spcAft>
            </a:pPr>
            <a:r>
              <a:rPr lang="en-US" b="1" dirty="0" smtClean="0"/>
              <a:t>Free Data &amp; Services</a:t>
            </a:r>
          </a:p>
          <a:p>
            <a:pPr marL="2057674"/>
            <a:r>
              <a:rPr lang="en-US" sz="1200" dirty="0">
                <a:solidFill>
                  <a:srgbClr val="FFFFFF"/>
                </a:solidFill>
                <a:latin typeface="Segoe UI" pitchFamily="34" charset="0"/>
                <a:ea typeface="Segoe UI" pitchFamily="34" charset="0"/>
                <a:cs typeface="Segoe UI" pitchFamily="34" charset="0"/>
              </a:rPr>
              <a:t>Premium data and services often add insight on top of publically available knowledge. The Marketplace encourages Content Providers to distribute their free data to give uniform access to our ecosystem.</a:t>
            </a:r>
          </a:p>
          <a:p>
            <a:pPr marL="2057674"/>
            <a:endParaRPr lang="en-US" b="1" dirty="0">
              <a:solidFill>
                <a:srgbClr val="FFFFFF"/>
              </a:solidFill>
              <a:latin typeface="Segoe UI" pitchFamily="34" charset="0"/>
              <a:ea typeface="Segoe UI" pitchFamily="34" charset="0"/>
              <a:cs typeface="Segoe UI" pitchFamily="34" charset="0"/>
            </a:endParaRPr>
          </a:p>
        </p:txBody>
      </p:sp>
      <p:pic>
        <p:nvPicPr>
          <p:cNvPr id="8" name="Picture 10" descr="\\MAGNUM\Projects\Microsoft\Cloud Power FY12\Design\Icons\PNGs\Cylinder.png"/>
          <p:cNvPicPr>
            <a:picLocks noChangeAspect="1" noChangeArrowheads="1"/>
          </p:cNvPicPr>
          <p:nvPr/>
        </p:nvPicPr>
        <p:blipFill>
          <a:blip r:embed="rId4" cstate="print">
            <a:lum bright="100000"/>
          </a:blip>
          <a:srcRect/>
          <a:stretch>
            <a:fillRect/>
          </a:stretch>
        </p:blipFill>
        <p:spPr bwMode="auto">
          <a:xfrm rot="16200000">
            <a:off x="350360" y="2124703"/>
            <a:ext cx="1371600" cy="2964191"/>
          </a:xfrm>
          <a:prstGeom prst="rect">
            <a:avLst/>
          </a:prstGeom>
          <a:noFill/>
        </p:spPr>
      </p:pic>
      <p:sp>
        <p:nvSpPr>
          <p:cNvPr id="9" name="Rectangle 8"/>
          <p:cNvSpPr/>
          <p:nvPr/>
        </p:nvSpPr>
        <p:spPr bwMode="auto">
          <a:xfrm>
            <a:off x="4625150" y="692151"/>
            <a:ext cx="4517244" cy="184904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205767" tIns="205767" rIns="68589" bIns="34295"/>
          <a:lstStyle/>
          <a:p>
            <a:pPr marL="2057674">
              <a:spcAft>
                <a:spcPts val="900"/>
              </a:spcAft>
            </a:pPr>
            <a:r>
              <a:rPr lang="en-US" b="1" dirty="0" smtClean="0"/>
              <a:t>Premium Cloud Apps</a:t>
            </a:r>
          </a:p>
          <a:p>
            <a:pPr marL="2057674"/>
            <a:r>
              <a:rPr lang="en-US" sz="1200" dirty="0">
                <a:solidFill>
                  <a:srgbClr val="FFFFFF"/>
                </a:solidFill>
                <a:latin typeface="Segoe UI" pitchFamily="34" charset="0"/>
                <a:ea typeface="Segoe UI" pitchFamily="34" charset="0"/>
                <a:cs typeface="Segoe UI" pitchFamily="34" charset="0"/>
              </a:rPr>
              <a:t>Cloud Application developers depend on the Marketplace to manage the business of selling access to their applications, focusing instead on giving buyers the best value from their purchases.</a:t>
            </a:r>
            <a:endParaRPr lang="en-US" sz="1200" dirty="0">
              <a:solidFill>
                <a:srgbClr val="FFFFFF"/>
              </a:solidFill>
              <a:latin typeface="Segoe UI" pitchFamily="34" charset="0"/>
              <a:ea typeface="Segoe UI" pitchFamily="34" charset="0"/>
              <a:cs typeface="Segoe UI" pitchFamily="34" charset="0"/>
            </a:endParaRPr>
          </a:p>
        </p:txBody>
      </p:sp>
      <p:sp>
        <p:nvSpPr>
          <p:cNvPr id="10" name="Rectangle 9"/>
          <p:cNvSpPr/>
          <p:nvPr/>
        </p:nvSpPr>
        <p:spPr bwMode="auto">
          <a:xfrm>
            <a:off x="4625150" y="2681683"/>
            <a:ext cx="4518850" cy="1850231"/>
          </a:xfrm>
          <a:prstGeom prst="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205767" tIns="205767" rIns="68589" bIns="34295"/>
          <a:lstStyle/>
          <a:p>
            <a:pPr marL="2057674">
              <a:spcAft>
                <a:spcPts val="900"/>
              </a:spcAft>
            </a:pPr>
            <a:r>
              <a:rPr lang="en-US" b="1" dirty="0" smtClean="0"/>
              <a:t>Catalog Apps</a:t>
            </a:r>
          </a:p>
          <a:p>
            <a:pPr marL="2057674"/>
            <a:r>
              <a:rPr lang="en-US" sz="1200" dirty="0">
                <a:solidFill>
                  <a:srgbClr val="FFFFFF"/>
                </a:solidFill>
                <a:latin typeface="Segoe UI" pitchFamily="34" charset="0"/>
                <a:ea typeface="Segoe UI" pitchFamily="34" charset="0"/>
                <a:cs typeface="Segoe UI" pitchFamily="34" charset="0"/>
              </a:rPr>
              <a:t>Apps that do not yet take advantage of Marketplace services can become more discoverable by being listed in the Marketplace’s extensive application catalog. </a:t>
            </a:r>
            <a:endParaRPr lang="en-US" sz="1200" dirty="0">
              <a:solidFill>
                <a:srgbClr val="FFFFFF"/>
              </a:solidFill>
              <a:latin typeface="Segoe UI" pitchFamily="34" charset="0"/>
              <a:ea typeface="Segoe UI" pitchFamily="34" charset="0"/>
              <a:cs typeface="Segoe UI" pitchFamily="34" charset="0"/>
            </a:endParaRPr>
          </a:p>
        </p:txBody>
      </p:sp>
      <p:pic>
        <p:nvPicPr>
          <p:cNvPr id="11" name="Picture 10" descr="\\MAGNUM\Projects\Microsoft\Cloud Power FY12\Design\Icons\PNGs\Cylinder.png"/>
          <p:cNvPicPr>
            <a:picLocks noChangeAspect="1" noChangeArrowheads="1"/>
          </p:cNvPicPr>
          <p:nvPr/>
        </p:nvPicPr>
        <p:blipFill>
          <a:blip r:embed="rId4" cstate="print">
            <a:lum bright="100000"/>
          </a:blip>
          <a:srcRect/>
          <a:stretch>
            <a:fillRect/>
          </a:stretch>
        </p:blipFill>
        <p:spPr bwMode="auto">
          <a:xfrm rot="16200000">
            <a:off x="350360" y="134575"/>
            <a:ext cx="1371600" cy="2964191"/>
          </a:xfrm>
          <a:prstGeom prst="rect">
            <a:avLst/>
          </a:prstGeom>
          <a:noFill/>
        </p:spPr>
      </p:pic>
      <p:pic>
        <p:nvPicPr>
          <p:cNvPr id="12" name="Picture 2" descr="\\MAGNUM\Projects\Microsoft\Cloud Power FY12\Design\Icons\PNGs\Marketplace.png"/>
          <p:cNvPicPr>
            <a:picLocks noChangeAspect="1" noChangeArrowheads="1"/>
          </p:cNvPicPr>
          <p:nvPr/>
        </p:nvPicPr>
        <p:blipFill>
          <a:blip r:embed="rId5" cstate="print"/>
          <a:srcRect/>
          <a:stretch>
            <a:fillRect/>
          </a:stretch>
        </p:blipFill>
        <p:spPr bwMode="auto">
          <a:xfrm>
            <a:off x="722646" y="1304420"/>
            <a:ext cx="627028" cy="626864"/>
          </a:xfrm>
          <a:prstGeom prst="rect">
            <a:avLst/>
          </a:prstGeom>
          <a:noFill/>
        </p:spPr>
      </p:pic>
      <p:pic>
        <p:nvPicPr>
          <p:cNvPr id="13" name="Picture 4" descr="\\MAGNUM\Projects\Microsoft\Cloud Power FY12\Design\ICONS_PNG\IIS-MULTI-TENANCY.png"/>
          <p:cNvPicPr>
            <a:picLocks noChangeAspect="1" noChangeArrowheads="1"/>
          </p:cNvPicPr>
          <p:nvPr/>
        </p:nvPicPr>
        <p:blipFill>
          <a:blip r:embed="rId6" cstate="print">
            <a:lum bright="100000"/>
          </a:blip>
          <a:srcRect/>
          <a:stretch>
            <a:fillRect/>
          </a:stretch>
        </p:blipFill>
        <p:spPr bwMode="auto">
          <a:xfrm>
            <a:off x="4857825" y="2681683"/>
            <a:ext cx="1850713" cy="1850231"/>
          </a:xfrm>
          <a:prstGeom prst="rect">
            <a:avLst/>
          </a:prstGeom>
          <a:noFill/>
        </p:spPr>
      </p:pic>
      <p:pic>
        <p:nvPicPr>
          <p:cNvPr id="14" name="Picture 8" descr="\\MAGNUM\Projects\Microsoft\Cloud Power FY12\Design\Icons\PNGs\Cross Platform.png"/>
          <p:cNvPicPr>
            <a:picLocks noChangeAspect="1" noChangeArrowheads="1"/>
          </p:cNvPicPr>
          <p:nvPr/>
        </p:nvPicPr>
        <p:blipFill>
          <a:blip r:embed="rId7" cstate="print">
            <a:lum bright="100000"/>
          </a:blip>
          <a:stretch>
            <a:fillRect/>
          </a:stretch>
        </p:blipFill>
        <p:spPr bwMode="auto">
          <a:xfrm>
            <a:off x="4625149" y="685800"/>
            <a:ext cx="1855874" cy="1855391"/>
          </a:xfrm>
          <a:prstGeom prst="rect">
            <a:avLst/>
          </a:prstGeom>
          <a:noFill/>
        </p:spPr>
      </p:pic>
      <p:pic>
        <p:nvPicPr>
          <p:cNvPr id="15" name="Picture 2" descr="\\MAGNUM\Projects\Microsoft\Cloud Power FY12\Design\Icons\PNGs\Marketplace.png"/>
          <p:cNvPicPr>
            <a:picLocks noChangeAspect="1" noChangeArrowheads="1"/>
          </p:cNvPicPr>
          <p:nvPr/>
        </p:nvPicPr>
        <p:blipFill>
          <a:blip r:embed="rId5" cstate="print">
            <a:lum bright="100000"/>
          </a:blip>
          <a:srcRect/>
          <a:stretch>
            <a:fillRect/>
          </a:stretch>
        </p:blipFill>
        <p:spPr bwMode="auto">
          <a:xfrm>
            <a:off x="5181213" y="1304420"/>
            <a:ext cx="743747" cy="743553"/>
          </a:xfrm>
          <a:prstGeom prst="rect">
            <a:avLst/>
          </a:prstGeom>
          <a:noFill/>
        </p:spPr>
      </p:pic>
      <p:sp>
        <p:nvSpPr>
          <p:cNvPr id="16"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7"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8"/>
              </a:rPr>
              <a:t>www.rapidbbs.cn</a:t>
            </a:r>
            <a:endParaRPr lang="zh-CN" altLang="en-US" sz="1200" b="0">
              <a:latin typeface="Arial" charset="0"/>
              <a:ea typeface="ＭＳ Ｐゴシック" pitchFamily="34" charset="-128"/>
            </a:endParaRPr>
          </a:p>
        </p:txBody>
      </p:sp>
      <p:pic>
        <p:nvPicPr>
          <p:cNvPr id="18" name="Picture 2">
            <a:hlinkClick r:id="rId8"/>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10085060"/>
      </p:ext>
    </p:extLst>
  </p:cSld>
  <p:clrMapOvr>
    <a:masterClrMapping/>
  </p:clrMapOvr>
  <mc:AlternateContent xmlns:mc="http://schemas.openxmlformats.org/markup-compatibility/2006" xmlns:p14="http://schemas.microsoft.com/office/powerpoint/2010/main">
    <mc:Choice Requires="p14">
      <p:transition spd="slow" p14:dur="1500">
        <p14:pan/>
      </p:transition>
    </mc:Choice>
    <mc:Fallback xmlns="">
      <p:transition spd="slow">
        <p:fade/>
      </p:transition>
    </mc:Fallback>
  </mc:AlternateContent>
  <p:timing>
    <p:tnLst>
      <p:par>
        <p:cTn id="1" dur="indefinite" restart="never" nodeType="tmRoot"/>
      </p:par>
    </p:tnLst>
  </p:timing>
</p:sld>
</file>

<file path=ppt/slides/slide4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1208639719"/>
              </p:ext>
            </p:ext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spid="_x0000_s28677"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0" y="0"/>
                        <a:ext cx="158750" cy="119063"/>
                      </a:xfrm>
                      <a:prstGeom prst="rect">
                        <a:avLst/>
                      </a:prstGeom>
                    </p:spPr>
                  </p:pic>
                </p:oleObj>
              </mc:Fallback>
            </mc:AlternateContent>
          </a:graphicData>
        </a:graphic>
      </p:graphicFrame>
      <p:sp>
        <p:nvSpPr>
          <p:cNvPr id="42" name="TextBox 41"/>
          <p:cNvSpPr txBox="1"/>
          <p:nvPr>
            <p:custDataLst>
              <p:tags r:id="rId3"/>
            </p:custDataLst>
          </p:nvPr>
        </p:nvSpPr>
        <p:spPr>
          <a:xfrm>
            <a:off x="273049" y="779860"/>
            <a:ext cx="2286000" cy="2743200"/>
          </a:xfrm>
          <a:prstGeom prst="rect">
            <a:avLst/>
          </a:prstGeom>
          <a:noFill/>
          <a:ln w="6350" cap="flat" cmpd="sng" algn="ctr">
            <a:solidFill>
              <a:srgbClr val="FFFFFF">
                <a:alpha val="50000"/>
              </a:srgbClr>
            </a:solidFill>
            <a:prstDash val="solid"/>
            <a:headEnd type="none" w="med" len="med"/>
            <a:tailEnd type="none" w="med" len="med"/>
          </a:ln>
          <a:effectLst/>
        </p:spPr>
        <p:txBody>
          <a:bodyPr wrap="square" lIns="68589" tIns="1303194" rIns="68589" bIns="34295" rtlCol="0" anchor="t" anchorCtr="0">
            <a:noAutofit/>
          </a:bodyPr>
          <a:lstStyle>
            <a:defPPr>
              <a:defRPr lang="en-US"/>
            </a:defPPr>
            <a:lvl1pPr indent="-396875" algn="ctr">
              <a:lnSpc>
                <a:spcPct val="90000"/>
              </a:lnSpc>
              <a:spcBef>
                <a:spcPct val="20000"/>
              </a:spcBef>
              <a:buClr>
                <a:srgbClr val="777777"/>
              </a:buClr>
              <a:defRPr sz="2000" b="1"/>
            </a:lvl1pPr>
          </a:lstStyle>
          <a:p>
            <a:pPr defTabSz="685891">
              <a:lnSpc>
                <a:spcPct val="100000"/>
              </a:lnSpc>
              <a:spcBef>
                <a:spcPts val="900"/>
              </a:spcBef>
            </a:pPr>
            <a:r>
              <a:rPr lang="en-US" sz="1200" dirty="0">
                <a:solidFill>
                  <a:srgbClr val="FF8B00"/>
                </a:solidFill>
              </a:rPr>
              <a:t>Sophisticated</a:t>
            </a:r>
            <a:r>
              <a:rPr lang="en-US" sz="1200" b="0" dirty="0">
                <a:solidFill>
                  <a:srgbClr val="FFFFFF"/>
                </a:solidFill>
              </a:rPr>
              <a:t> Design Environment</a:t>
            </a:r>
          </a:p>
          <a:p>
            <a:pPr defTabSz="685891">
              <a:lnSpc>
                <a:spcPct val="100000"/>
              </a:lnSpc>
              <a:spcBef>
                <a:spcPts val="900"/>
              </a:spcBef>
            </a:pPr>
            <a:r>
              <a:rPr lang="en-US" sz="1200" dirty="0">
                <a:solidFill>
                  <a:srgbClr val="FF8B00"/>
                </a:solidFill>
                <a:sym typeface="Wingdings" pitchFamily="2" charset="2"/>
              </a:rPr>
              <a:t>Report</a:t>
            </a:r>
            <a:r>
              <a:rPr lang="en-US" sz="1200" dirty="0">
                <a:solidFill>
                  <a:srgbClr val="FF8B00"/>
                </a:solidFill>
                <a:effectLst>
                  <a:outerShdw blurRad="711200" algn="tl">
                    <a:srgbClr val="FFFFFF">
                      <a:alpha val="39000"/>
                    </a:srgbClr>
                  </a:outerShdw>
                </a:effectLst>
                <a:sym typeface="Wingdings" pitchFamily="2" charset="2"/>
              </a:rPr>
              <a:t> </a:t>
            </a:r>
            <a:r>
              <a:rPr lang="en-US" sz="1200" dirty="0">
                <a:solidFill>
                  <a:srgbClr val="FF8B00"/>
                </a:solidFill>
                <a:sym typeface="Wingdings" pitchFamily="2" charset="2"/>
              </a:rPr>
              <a:t>Viewer</a:t>
            </a:r>
            <a:r>
              <a:rPr lang="en-US" sz="1200" dirty="0">
                <a:solidFill>
                  <a:srgbClr val="FF8B00"/>
                </a:solidFill>
                <a:effectLst>
                  <a:outerShdw blurRad="711200" algn="tl">
                    <a:srgbClr val="FFFFFF">
                      <a:alpha val="39000"/>
                    </a:srgbClr>
                  </a:outerShdw>
                </a:effectLst>
                <a:sym typeface="Wingdings" pitchFamily="2" charset="2"/>
              </a:rPr>
              <a:t> </a:t>
            </a:r>
            <a:r>
              <a:rPr lang="en-US" sz="1200" b="0" dirty="0">
                <a:solidFill>
                  <a:srgbClr val="FFFFFF"/>
                </a:solidFill>
                <a:effectLst>
                  <a:outerShdw blurRad="50800" dist="38100" dir="2700000" algn="tl" rotWithShape="0">
                    <a:prstClr val="black">
                      <a:alpha val="40000"/>
                    </a:prstClr>
                  </a:outerShdw>
                </a:effectLst>
                <a:ea typeface="Segoe UI" pitchFamily="34" charset="0"/>
                <a:cs typeface="Segoe UI" pitchFamily="34" charset="0"/>
                <a:sym typeface="Wingdings" pitchFamily="2" charset="2"/>
              </a:rPr>
              <a:t>Controls</a:t>
            </a:r>
          </a:p>
          <a:p>
            <a:pPr defTabSz="685891">
              <a:lnSpc>
                <a:spcPct val="100000"/>
              </a:lnSpc>
              <a:spcBef>
                <a:spcPts val="900"/>
              </a:spcBef>
            </a:pPr>
            <a:r>
              <a:rPr lang="en-US" sz="1200" dirty="0">
                <a:solidFill>
                  <a:srgbClr val="FF8B00"/>
                </a:solidFill>
                <a:sym typeface="Wingdings" pitchFamily="2" charset="2"/>
              </a:rPr>
              <a:t>Rich</a:t>
            </a:r>
            <a:r>
              <a:rPr lang="en-US" sz="1200" dirty="0">
                <a:solidFill>
                  <a:srgbClr val="FF8B00"/>
                </a:solidFill>
                <a:effectLst>
                  <a:outerShdw blurRad="711200" algn="tl">
                    <a:srgbClr val="FFFFFF">
                      <a:alpha val="39000"/>
                    </a:srgbClr>
                  </a:outerShdw>
                </a:effectLst>
                <a:sym typeface="Wingdings" pitchFamily="2" charset="2"/>
              </a:rPr>
              <a:t> </a:t>
            </a:r>
            <a:r>
              <a:rPr lang="en-US" sz="1200" dirty="0">
                <a:solidFill>
                  <a:srgbClr val="FF8B00"/>
                </a:solidFill>
                <a:sym typeface="Wingdings" pitchFamily="2" charset="2"/>
              </a:rPr>
              <a:t>Design</a:t>
            </a:r>
            <a:r>
              <a:rPr lang="en-US" sz="1200" dirty="0">
                <a:solidFill>
                  <a:srgbClr val="FF8B00"/>
                </a:solidFill>
                <a:effectLst>
                  <a:outerShdw blurRad="711200" algn="tl">
                    <a:srgbClr val="FFFFFF">
                      <a:alpha val="39000"/>
                    </a:srgbClr>
                  </a:outerShdw>
                </a:effectLst>
                <a:sym typeface="Wingdings" pitchFamily="2" charset="2"/>
              </a:rPr>
              <a:t> </a:t>
            </a:r>
            <a:r>
              <a:rPr lang="en-US" sz="1200" b="0" dirty="0">
                <a:solidFill>
                  <a:srgbClr val="FFFFFF"/>
                </a:solidFill>
                <a:effectLst>
                  <a:outerShdw blurRad="50800" dist="38100" dir="2700000" algn="tl" rotWithShape="0">
                    <a:prstClr val="black">
                      <a:alpha val="40000"/>
                    </a:prstClr>
                  </a:outerShdw>
                </a:effectLst>
                <a:ea typeface="Segoe UI" pitchFamily="34" charset="0"/>
                <a:cs typeface="Segoe UI" pitchFamily="34" charset="0"/>
                <a:sym typeface="Wingdings" pitchFamily="2" charset="2"/>
              </a:rPr>
              <a:t>Capabilities</a:t>
            </a:r>
            <a:endParaRPr lang="en-US" sz="1200" b="0" dirty="0">
              <a:solidFill>
                <a:srgbClr val="FFFFFF"/>
              </a:solidFill>
              <a:effectLst>
                <a:outerShdw blurRad="50800" dist="38100" dir="2700000" algn="tl" rotWithShape="0">
                  <a:prstClr val="black">
                    <a:alpha val="40000"/>
                  </a:prstClr>
                </a:outerShdw>
              </a:effectLst>
              <a:ea typeface="Segoe UI" pitchFamily="34" charset="0"/>
              <a:cs typeface="Segoe UI" pitchFamily="34" charset="0"/>
              <a:sym typeface="Wingdings" pitchFamily="2" charset="2"/>
            </a:endParaRPr>
          </a:p>
        </p:txBody>
      </p:sp>
      <p:sp>
        <p:nvSpPr>
          <p:cNvPr id="47" name="TextBox 46"/>
          <p:cNvSpPr txBox="1"/>
          <p:nvPr>
            <p:custDataLst>
              <p:tags r:id="rId4"/>
            </p:custDataLst>
          </p:nvPr>
        </p:nvSpPr>
        <p:spPr>
          <a:xfrm>
            <a:off x="2650171" y="779860"/>
            <a:ext cx="3840480" cy="2743200"/>
          </a:xfrm>
          <a:prstGeom prst="rect">
            <a:avLst/>
          </a:prstGeom>
          <a:noFill/>
          <a:ln w="6350" cap="flat" cmpd="sng" algn="ctr">
            <a:solidFill>
              <a:srgbClr val="FFFFFF">
                <a:alpha val="50000"/>
              </a:srgbClr>
            </a:solidFill>
            <a:prstDash val="solid"/>
            <a:headEnd type="none" w="med" len="med"/>
            <a:tailEnd type="none" w="med" len="med"/>
          </a:ln>
          <a:effectLst/>
        </p:spPr>
        <p:txBody>
          <a:bodyPr wrap="square" lIns="68589" tIns="1303194" rIns="68589" bIns="34295" rtlCol="0" anchor="t" anchorCtr="0">
            <a:noAutofit/>
          </a:bodyPr>
          <a:lstStyle>
            <a:defPPr>
              <a:defRPr lang="en-US"/>
            </a:defPPr>
            <a:lvl1pPr indent="-396875" algn="ctr">
              <a:lnSpc>
                <a:spcPct val="90000"/>
              </a:lnSpc>
              <a:spcBef>
                <a:spcPct val="20000"/>
              </a:spcBef>
              <a:buClr>
                <a:srgbClr val="777777"/>
              </a:buClr>
              <a:defRPr sz="2000" b="1"/>
            </a:lvl1pPr>
          </a:lstStyle>
          <a:p>
            <a:pPr defTabSz="685891">
              <a:lnSpc>
                <a:spcPct val="100000"/>
              </a:lnSpc>
              <a:spcBef>
                <a:spcPts val="900"/>
              </a:spcBef>
              <a:buClr>
                <a:srgbClr val="FFFFFF"/>
              </a:buClr>
              <a:buSzPct val="100000"/>
              <a:defRPr/>
            </a:pPr>
            <a:r>
              <a:rPr lang="en-US" sz="1200" dirty="0">
                <a:solidFill>
                  <a:srgbClr val="FF8B00"/>
                </a:solidFill>
                <a:sym typeface="Wingdings" pitchFamily="2" charset="2"/>
              </a:rPr>
              <a:t>Productive</a:t>
            </a:r>
            <a:r>
              <a:rPr lang="en-US" sz="1200" b="0" dirty="0">
                <a:solidFill>
                  <a:srgbClr val="FFFFFF"/>
                </a:solidFill>
                <a:effectLst>
                  <a:outerShdw blurRad="50800" dist="38100" dir="2700000" algn="tl" rotWithShape="0">
                    <a:prstClr val="black">
                      <a:alpha val="40000"/>
                    </a:prstClr>
                  </a:outerShdw>
                </a:effectLst>
                <a:ea typeface="Segoe UI" pitchFamily="34" charset="0"/>
                <a:cs typeface="Segoe UI" pitchFamily="34" charset="0"/>
                <a:sym typeface="Wingdings" pitchFamily="2" charset="2"/>
              </a:rPr>
              <a:t> Authoring</a:t>
            </a:r>
          </a:p>
          <a:p>
            <a:pPr defTabSz="685891">
              <a:lnSpc>
                <a:spcPct val="100000"/>
              </a:lnSpc>
              <a:spcBef>
                <a:spcPts val="900"/>
              </a:spcBef>
              <a:buClr>
                <a:srgbClr val="FFFFFF"/>
              </a:buClr>
              <a:buSzPct val="100000"/>
              <a:defRPr/>
            </a:pPr>
            <a:r>
              <a:rPr lang="en-US" sz="1200" b="0" dirty="0">
                <a:solidFill>
                  <a:srgbClr val="FFFFFF"/>
                </a:solidFill>
                <a:effectLst>
                  <a:outerShdw blurRad="50800" dist="38100" dir="2700000" algn="tl" rotWithShape="0">
                    <a:prstClr val="black">
                      <a:alpha val="40000"/>
                    </a:prstClr>
                  </a:outerShdw>
                </a:effectLst>
                <a:ea typeface="Segoe UI" pitchFamily="34" charset="0"/>
                <a:cs typeface="Segoe UI" pitchFamily="34" charset="0"/>
                <a:sym typeface="Wingdings" pitchFamily="2" charset="2"/>
              </a:rPr>
              <a:t>Re-use </a:t>
            </a:r>
            <a:r>
              <a:rPr lang="en-US" sz="1200" b="0" dirty="0">
                <a:solidFill>
                  <a:srgbClr val="FFFFFF"/>
                </a:solidFill>
                <a:effectLst>
                  <a:outerShdw blurRad="50800" dist="38100" dir="2700000" algn="tl" rotWithShape="0">
                    <a:prstClr val="black">
                      <a:alpha val="40000"/>
                    </a:prstClr>
                  </a:outerShdw>
                </a:effectLst>
                <a:ea typeface="Segoe UI" pitchFamily="34" charset="0"/>
                <a:cs typeface="Segoe UI" pitchFamily="34" charset="0"/>
                <a:sym typeface="Wingdings" pitchFamily="2" charset="2"/>
              </a:rPr>
              <a:t>of </a:t>
            </a:r>
            <a:r>
              <a:rPr lang="en-US" sz="1200" dirty="0">
                <a:solidFill>
                  <a:srgbClr val="FF8B00"/>
                </a:solidFill>
                <a:sym typeface="Wingdings" pitchFamily="2" charset="2"/>
              </a:rPr>
              <a:t>insights</a:t>
            </a:r>
          </a:p>
          <a:p>
            <a:pPr defTabSz="685891">
              <a:lnSpc>
                <a:spcPct val="100000"/>
              </a:lnSpc>
              <a:spcBef>
                <a:spcPts val="900"/>
              </a:spcBef>
              <a:buClr>
                <a:srgbClr val="FFFFFF"/>
              </a:buClr>
              <a:buSzPct val="100000"/>
              <a:defRPr/>
            </a:pPr>
            <a:r>
              <a:rPr lang="en-US" sz="1200" dirty="0">
                <a:solidFill>
                  <a:srgbClr val="FF8B00"/>
                </a:solidFill>
                <a:sym typeface="Wingdings" pitchFamily="2" charset="2"/>
              </a:rPr>
              <a:t>Flexible</a:t>
            </a:r>
            <a:r>
              <a:rPr lang="en-US" sz="1200" b="0" dirty="0">
                <a:solidFill>
                  <a:srgbClr val="FFFFFF"/>
                </a:solidFill>
                <a:effectLst>
                  <a:outerShdw blurRad="50800" dist="38100" dir="2700000" algn="tl" rotWithShape="0">
                    <a:prstClr val="black">
                      <a:alpha val="40000"/>
                    </a:prstClr>
                  </a:outerShdw>
                </a:effectLst>
                <a:ea typeface="Segoe UI" pitchFamily="34" charset="0"/>
                <a:cs typeface="Segoe UI" pitchFamily="34" charset="0"/>
                <a:sym typeface="Wingdings" pitchFamily="2" charset="2"/>
              </a:rPr>
              <a:t> layout</a:t>
            </a:r>
            <a:endParaRPr lang="en-US" sz="1200" b="0" dirty="0">
              <a:solidFill>
                <a:srgbClr val="FFFFFF"/>
              </a:solidFill>
              <a:effectLst>
                <a:outerShdw blurRad="50800" dist="38100" dir="2700000" algn="tl" rotWithShape="0">
                  <a:prstClr val="black">
                    <a:alpha val="40000"/>
                  </a:prstClr>
                </a:outerShdw>
              </a:effectLst>
              <a:ea typeface="Segoe UI" pitchFamily="34" charset="0"/>
              <a:cs typeface="Segoe UI" pitchFamily="34" charset="0"/>
              <a:sym typeface="Wingdings" pitchFamily="2" charset="2"/>
            </a:endParaRPr>
          </a:p>
        </p:txBody>
      </p:sp>
      <p:sp>
        <p:nvSpPr>
          <p:cNvPr id="48" name="TextBox 47"/>
          <p:cNvSpPr txBox="1"/>
          <p:nvPr>
            <p:custDataLst>
              <p:tags r:id="rId5"/>
            </p:custDataLst>
          </p:nvPr>
        </p:nvSpPr>
        <p:spPr>
          <a:xfrm>
            <a:off x="6581774" y="779860"/>
            <a:ext cx="2286000" cy="2743200"/>
          </a:xfrm>
          <a:prstGeom prst="rect">
            <a:avLst/>
          </a:prstGeom>
          <a:noFill/>
          <a:ln w="6350" cap="flat" cmpd="sng" algn="ctr">
            <a:solidFill>
              <a:srgbClr val="FFFFFF">
                <a:alpha val="50000"/>
              </a:srgbClr>
            </a:solidFill>
            <a:prstDash val="solid"/>
            <a:headEnd type="none" w="med" len="med"/>
            <a:tailEnd type="none" w="med" len="med"/>
          </a:ln>
          <a:effectLst/>
        </p:spPr>
        <p:txBody>
          <a:bodyPr wrap="square" lIns="68589" tIns="1303194" rIns="68589" bIns="34295" rtlCol="0" anchor="t" anchorCtr="0">
            <a:noAutofit/>
          </a:bodyPr>
          <a:lstStyle>
            <a:defPPr>
              <a:defRPr lang="en-US"/>
            </a:defPPr>
            <a:lvl1pPr indent="-396875" algn="ctr">
              <a:lnSpc>
                <a:spcPct val="90000"/>
              </a:lnSpc>
              <a:spcBef>
                <a:spcPct val="20000"/>
              </a:spcBef>
              <a:buClr>
                <a:srgbClr val="777777"/>
              </a:buClr>
              <a:defRPr sz="2000" b="1"/>
            </a:lvl1pPr>
          </a:lstStyle>
          <a:p>
            <a:pPr defTabSz="685891">
              <a:lnSpc>
                <a:spcPct val="100000"/>
              </a:lnSpc>
              <a:spcBef>
                <a:spcPts val="900"/>
              </a:spcBef>
            </a:pPr>
            <a:r>
              <a:rPr lang="en-US" sz="1200" dirty="0">
                <a:solidFill>
                  <a:srgbClr val="FF8B00"/>
                </a:solidFill>
              </a:rPr>
              <a:t>Visual</a:t>
            </a:r>
            <a:r>
              <a:rPr lang="en-US" sz="1200" b="0" dirty="0">
                <a:solidFill>
                  <a:srgbClr val="FFFFFF"/>
                </a:solidFill>
              </a:rPr>
              <a:t> </a:t>
            </a:r>
            <a:r>
              <a:rPr lang="en-US" sz="1200" dirty="0">
                <a:solidFill>
                  <a:srgbClr val="FF8B00"/>
                </a:solidFill>
              </a:rPr>
              <a:t>data</a:t>
            </a:r>
            <a:r>
              <a:rPr lang="en-US" sz="1200" b="0" dirty="0">
                <a:solidFill>
                  <a:srgbClr val="FFFFFF"/>
                </a:solidFill>
              </a:rPr>
              <a:t> representation</a:t>
            </a:r>
          </a:p>
          <a:p>
            <a:pPr defTabSz="685891">
              <a:lnSpc>
                <a:spcPct val="100000"/>
              </a:lnSpc>
              <a:spcBef>
                <a:spcPts val="900"/>
              </a:spcBef>
            </a:pPr>
            <a:r>
              <a:rPr lang="en-US" sz="1200" b="0" dirty="0">
                <a:solidFill>
                  <a:srgbClr val="FFFFFF"/>
                </a:solidFill>
                <a:effectLst>
                  <a:outerShdw blurRad="50800" dist="38100" dir="2700000" algn="tl" rotWithShape="0">
                    <a:prstClr val="black">
                      <a:alpha val="40000"/>
                    </a:prstClr>
                  </a:outerShdw>
                </a:effectLst>
                <a:ea typeface="Segoe UI" pitchFamily="34" charset="0"/>
                <a:cs typeface="Segoe UI" pitchFamily="34" charset="0"/>
                <a:sym typeface="Wingdings" pitchFamily="2" charset="2"/>
              </a:rPr>
              <a:t>Highly </a:t>
            </a:r>
            <a:r>
              <a:rPr lang="en-US" sz="1200" dirty="0">
                <a:solidFill>
                  <a:srgbClr val="FF8B00"/>
                </a:solidFill>
                <a:sym typeface="Wingdings" pitchFamily="2" charset="2"/>
              </a:rPr>
              <a:t>Interactive</a:t>
            </a:r>
          </a:p>
          <a:p>
            <a:pPr defTabSz="685891">
              <a:lnSpc>
                <a:spcPct val="100000"/>
              </a:lnSpc>
              <a:spcBef>
                <a:spcPts val="900"/>
              </a:spcBef>
            </a:pPr>
            <a:r>
              <a:rPr lang="en-US" sz="1200" dirty="0">
                <a:solidFill>
                  <a:srgbClr val="FF8B00"/>
                </a:solidFill>
                <a:sym typeface="Wingdings" pitchFamily="2" charset="2"/>
              </a:rPr>
              <a:t>Rich</a:t>
            </a:r>
            <a:r>
              <a:rPr lang="en-US" sz="1200" dirty="0">
                <a:solidFill>
                  <a:srgbClr val="FF8B00"/>
                </a:solidFill>
                <a:effectLst>
                  <a:outerShdw blurRad="711200" algn="tl">
                    <a:srgbClr val="FFFFFF">
                      <a:alpha val="39000"/>
                    </a:srgbClr>
                  </a:outerShdw>
                </a:effectLst>
                <a:sym typeface="Wingdings" pitchFamily="2" charset="2"/>
              </a:rPr>
              <a:t> </a:t>
            </a:r>
            <a:r>
              <a:rPr lang="en-US" sz="1200" dirty="0">
                <a:solidFill>
                  <a:srgbClr val="FF8B00"/>
                </a:solidFill>
                <a:sym typeface="Wingdings" pitchFamily="2" charset="2"/>
              </a:rPr>
              <a:t>Presentation</a:t>
            </a:r>
          </a:p>
        </p:txBody>
      </p:sp>
      <p:sp>
        <p:nvSpPr>
          <p:cNvPr id="3" name="Title 2"/>
          <p:cNvSpPr>
            <a:spLocks noGrp="1"/>
          </p:cNvSpPr>
          <p:nvPr>
            <p:ph type="title"/>
            <p:custDataLst>
              <p:tags r:id="rId6"/>
            </p:custDataLst>
          </p:nvPr>
        </p:nvSpPr>
        <p:spPr>
          <a:xfrm>
            <a:off x="273050" y="171450"/>
            <a:ext cx="8594725" cy="332399"/>
          </a:xfrm>
        </p:spPr>
        <p:txBody>
          <a:bodyPr/>
          <a:lstStyle/>
          <a:p>
            <a:r>
              <a:rPr lang="en-US" sz="2400" cap="all" dirty="0">
                <a:ea typeface="+mj-ea"/>
                <a:cs typeface="+mj-cs"/>
              </a:rPr>
              <a:t>Power View for All Users</a:t>
            </a:r>
          </a:p>
        </p:txBody>
      </p:sp>
      <p:sp>
        <p:nvSpPr>
          <p:cNvPr id="4" name="Left-Right Arrow 3"/>
          <p:cNvSpPr/>
          <p:nvPr>
            <p:custDataLst>
              <p:tags r:id="rId7"/>
            </p:custDataLst>
          </p:nvPr>
        </p:nvSpPr>
        <p:spPr bwMode="auto">
          <a:xfrm>
            <a:off x="1280160" y="4397692"/>
            <a:ext cx="6583680" cy="548640"/>
          </a:xfrm>
          <a:prstGeom prst="leftRightArrow">
            <a:avLst>
              <a:gd name="adj1" fmla="val 53473"/>
              <a:gd name="adj2" fmla="val 39306"/>
            </a:avLst>
          </a:prstGeom>
          <a:noFill/>
          <a:ln w="6350" cap="flat" cmpd="sng" algn="ctr">
            <a:solidFill>
              <a:srgbClr val="FFFFFF">
                <a:alpha val="50000"/>
              </a:srgbClr>
            </a:solidFill>
            <a:prstDash val="solid"/>
            <a:headEnd type="none" w="med" len="med"/>
            <a:tailEnd type="none" w="med" len="med"/>
          </a:ln>
          <a:effectLst/>
        </p:spPr>
        <p:txBody>
          <a:bodyPr wrap="square" lIns="68589" tIns="34295" rIns="68589" bIns="34295" rtlCol="0" anchor="t" anchorCtr="0">
            <a:noAutofit/>
          </a:bodyPr>
          <a:lstStyle/>
          <a:p>
            <a:pPr indent="-297696" algn="ctr">
              <a:buClr>
                <a:srgbClr val="777777"/>
              </a:buClr>
              <a:buSzPct val="80000"/>
            </a:pPr>
            <a:endParaRPr lang="en-US" sz="1800" b="1" kern="0" dirty="0">
              <a:solidFill>
                <a:srgbClr val="FF8B00"/>
              </a:solidFill>
              <a:effectLst>
                <a:outerShdw blurRad="190500" algn="ctr" rotWithShape="0">
                  <a:srgbClr val="FFFFFF">
                    <a:alpha val="40000"/>
                  </a:srgbClr>
                </a:outerShdw>
              </a:effectLst>
              <a:latin typeface="Segoe Condensed" pitchFamily="34" charset="0"/>
            </a:endParaRPr>
          </a:p>
        </p:txBody>
      </p:sp>
      <p:sp>
        <p:nvSpPr>
          <p:cNvPr id="7" name="Rectangle 6"/>
          <p:cNvSpPr/>
          <p:nvPr>
            <p:custDataLst>
              <p:tags r:id="rId8"/>
            </p:custDataLst>
          </p:nvPr>
        </p:nvSpPr>
        <p:spPr>
          <a:xfrm>
            <a:off x="2060093" y="4521970"/>
            <a:ext cx="1121159" cy="300092"/>
          </a:xfrm>
          <a:prstGeom prst="rect">
            <a:avLst/>
          </a:prstGeom>
        </p:spPr>
        <p:txBody>
          <a:bodyPr wrap="none" lIns="68589" tIns="34295" rIns="68589" bIns="34295">
            <a:spAutoFit/>
          </a:bodyPr>
          <a:lstStyle/>
          <a:p>
            <a:pPr defTabSz="685891"/>
            <a:r>
              <a:rPr lang="en-US" sz="1500" b="1" kern="0" dirty="0">
                <a:solidFill>
                  <a:srgbClr val="FFFFFF"/>
                </a:solidFill>
                <a:effectLst>
                  <a:outerShdw blurRad="190500" algn="ctr" rotWithShape="0">
                    <a:srgbClr val="FFFFFF">
                      <a:alpha val="40000"/>
                    </a:srgbClr>
                  </a:outerShdw>
                </a:effectLst>
                <a:latin typeface="Segoe Condensed" pitchFamily="34" charset="0"/>
              </a:rPr>
              <a:t>Embedded</a:t>
            </a:r>
          </a:p>
        </p:txBody>
      </p:sp>
      <p:sp>
        <p:nvSpPr>
          <p:cNvPr id="40" name="Rectangle 39"/>
          <p:cNvSpPr/>
          <p:nvPr>
            <p:custDataLst>
              <p:tags r:id="rId9"/>
            </p:custDataLst>
          </p:nvPr>
        </p:nvSpPr>
        <p:spPr>
          <a:xfrm>
            <a:off x="3920219" y="4521970"/>
            <a:ext cx="1206118" cy="300092"/>
          </a:xfrm>
          <a:prstGeom prst="rect">
            <a:avLst/>
          </a:prstGeom>
        </p:spPr>
        <p:txBody>
          <a:bodyPr wrap="none" lIns="68589" tIns="34295" rIns="68589" bIns="34295">
            <a:spAutoFit/>
          </a:bodyPr>
          <a:lstStyle/>
          <a:p>
            <a:pPr defTabSz="685891"/>
            <a:r>
              <a:rPr lang="en-US" sz="1500" b="1" kern="0" dirty="0">
                <a:solidFill>
                  <a:srgbClr val="FFFFFF"/>
                </a:solidFill>
                <a:effectLst>
                  <a:outerShdw blurRad="190500" algn="ctr" rotWithShape="0">
                    <a:srgbClr val="FFFFFF">
                      <a:alpha val="40000"/>
                    </a:srgbClr>
                  </a:outerShdw>
                </a:effectLst>
                <a:latin typeface="Segoe Condensed" pitchFamily="34" charset="0"/>
              </a:rPr>
              <a:t>Operational</a:t>
            </a:r>
          </a:p>
        </p:txBody>
      </p:sp>
      <p:sp>
        <p:nvSpPr>
          <p:cNvPr id="41" name="Rectangle 40"/>
          <p:cNvSpPr/>
          <p:nvPr>
            <p:custDataLst>
              <p:tags r:id="rId10"/>
            </p:custDataLst>
          </p:nvPr>
        </p:nvSpPr>
        <p:spPr>
          <a:xfrm>
            <a:off x="5990341" y="4521970"/>
            <a:ext cx="994521" cy="300092"/>
          </a:xfrm>
          <a:prstGeom prst="rect">
            <a:avLst/>
          </a:prstGeom>
        </p:spPr>
        <p:txBody>
          <a:bodyPr wrap="none" lIns="68589" tIns="34295" rIns="68589" bIns="34295">
            <a:spAutoFit/>
          </a:bodyPr>
          <a:lstStyle/>
          <a:p>
            <a:pPr defTabSz="685891"/>
            <a:r>
              <a:rPr lang="en-US" sz="1500" b="1" kern="0" dirty="0">
                <a:solidFill>
                  <a:srgbClr val="FFFFFF"/>
                </a:solidFill>
                <a:effectLst>
                  <a:outerShdw blurRad="190500" algn="ctr" rotWithShape="0">
                    <a:srgbClr val="FFFFFF">
                      <a:alpha val="40000"/>
                    </a:srgbClr>
                  </a:outerShdw>
                </a:effectLst>
                <a:latin typeface="Segoe Condensed" pitchFamily="34" charset="0"/>
              </a:rPr>
              <a:t>Business</a:t>
            </a:r>
          </a:p>
        </p:txBody>
      </p:sp>
      <p:sp>
        <p:nvSpPr>
          <p:cNvPr id="43" name="TextBox 42"/>
          <p:cNvSpPr txBox="1"/>
          <p:nvPr>
            <p:custDataLst>
              <p:tags r:id="rId11"/>
            </p:custDataLst>
          </p:nvPr>
        </p:nvSpPr>
        <p:spPr>
          <a:xfrm>
            <a:off x="273049" y="779860"/>
            <a:ext cx="2286000" cy="342900"/>
          </a:xfrm>
          <a:prstGeom prst="rect">
            <a:avLst/>
          </a:prstGeom>
          <a:solidFill>
            <a:schemeClr val="accent5"/>
          </a:solidFill>
          <a:ln w="3175" cap="flat" cmpd="sng" algn="ctr">
            <a:noFill/>
            <a:prstDash val="solid"/>
            <a:headEnd type="none" w="med" len="med"/>
            <a:tailEnd type="none" w="med" len="med"/>
          </a:ln>
          <a:effectLst/>
        </p:spPr>
        <p:txBody>
          <a:bodyPr spcFirstLastPara="0" vert="horz" wrap="square" lIns="68589" tIns="34295" rIns="68589" bIns="34295" numCol="1" spcCol="953" anchor="ctr" anchorCtr="0">
            <a:noAutofit/>
          </a:bodyPr>
          <a:lstStyle>
            <a:defPPr>
              <a:defRPr lang="en-US"/>
            </a:defPPr>
            <a:lvl1pPr algn="ctr">
              <a:defRPr b="1" kern="0">
                <a:ln>
                  <a:solidFill>
                    <a:srgbClr val="FFFFFF">
                      <a:alpha val="0"/>
                    </a:srgbClr>
                  </a:solidFill>
                </a:ln>
                <a:latin typeface="Segoe Condensed" pitchFamily="34" charset="0"/>
              </a:defRPr>
            </a:lvl1pPr>
          </a:lstStyle>
          <a:p>
            <a:r>
              <a:rPr lang="en-US" dirty="0">
                <a:latin typeface="+mj-lt"/>
              </a:rPr>
              <a:t>Developers</a:t>
            </a:r>
          </a:p>
        </p:txBody>
      </p:sp>
      <p:sp>
        <p:nvSpPr>
          <p:cNvPr id="44" name="TextBox 43"/>
          <p:cNvSpPr txBox="1"/>
          <p:nvPr>
            <p:custDataLst>
              <p:tags r:id="rId12"/>
            </p:custDataLst>
          </p:nvPr>
        </p:nvSpPr>
        <p:spPr>
          <a:xfrm>
            <a:off x="6581774" y="779860"/>
            <a:ext cx="2286000" cy="342900"/>
          </a:xfrm>
          <a:prstGeom prst="rect">
            <a:avLst/>
          </a:prstGeom>
          <a:solidFill>
            <a:schemeClr val="accent5"/>
          </a:solidFill>
          <a:ln w="3175" cap="flat" cmpd="sng" algn="ctr">
            <a:noFill/>
            <a:prstDash val="solid"/>
            <a:headEnd type="none" w="med" len="med"/>
            <a:tailEnd type="none" w="med" len="med"/>
          </a:ln>
          <a:effectLst/>
        </p:spPr>
        <p:txBody>
          <a:bodyPr spcFirstLastPara="0" vert="horz" wrap="square" lIns="68589" tIns="34295" rIns="68589" bIns="34295" numCol="1" spcCol="953" anchor="ctr" anchorCtr="0">
            <a:noAutofit/>
          </a:bodyPr>
          <a:lstStyle>
            <a:defPPr>
              <a:defRPr lang="en-US"/>
            </a:defPPr>
            <a:lvl1pPr algn="ctr">
              <a:defRPr b="1" kern="0">
                <a:ln>
                  <a:solidFill>
                    <a:srgbClr val="FFFFFF">
                      <a:alpha val="0"/>
                    </a:srgbClr>
                  </a:solidFill>
                </a:ln>
                <a:latin typeface="Segoe Condensed" pitchFamily="34" charset="0"/>
              </a:defRPr>
            </a:lvl1pPr>
          </a:lstStyle>
          <a:p>
            <a:r>
              <a:rPr lang="en-US" dirty="0">
                <a:latin typeface="+mj-lt"/>
              </a:rPr>
              <a:t>End Users</a:t>
            </a:r>
          </a:p>
        </p:txBody>
      </p:sp>
      <p:sp>
        <p:nvSpPr>
          <p:cNvPr id="50" name="Trapezoid 49"/>
          <p:cNvSpPr/>
          <p:nvPr/>
        </p:nvSpPr>
        <p:spPr bwMode="auto">
          <a:xfrm rot="10800000">
            <a:off x="273049" y="3540440"/>
            <a:ext cx="8595360" cy="274320"/>
          </a:xfrm>
          <a:prstGeom prst="trapezoid">
            <a:avLst>
              <a:gd name="adj" fmla="val 370833"/>
            </a:avLst>
          </a:prstGeom>
          <a:gradFill flip="none" rotWithShape="1">
            <a:gsLst>
              <a:gs pos="0">
                <a:schemeClr val="bg1">
                  <a:alpha val="0"/>
                </a:schemeClr>
              </a:gs>
              <a:gs pos="100000">
                <a:schemeClr val="tx1"/>
              </a:gs>
            </a:gsLst>
            <a:lin ang="16200000" scaled="1"/>
            <a:tileRect/>
          </a:gradFill>
          <a:ln w="12700" cap="flat" cmpd="sng" algn="ctr">
            <a:gradFill flip="none" rotWithShape="1">
              <a:gsLst>
                <a:gs pos="0">
                  <a:schemeClr val="tx1">
                    <a:alpha val="75000"/>
                  </a:schemeClr>
                </a:gs>
                <a:gs pos="50000">
                  <a:schemeClr val="tx1">
                    <a:alpha val="27000"/>
                  </a:schemeClr>
                </a:gs>
                <a:gs pos="100000">
                  <a:schemeClr val="tx1">
                    <a:alpha val="0"/>
                  </a:schemeClr>
                </a:gs>
              </a:gsLst>
              <a:lin ang="5400000" scaled="1"/>
              <a:tileRect/>
            </a:gradFill>
            <a:prstDash val="solid"/>
            <a:round/>
            <a:headEnd type="none" w="med" len="med"/>
            <a:tailEnd type="none" w="med" len="med"/>
          </a:ln>
          <a:effectLst/>
        </p:spPr>
        <p:txBody>
          <a:bodyPr vert="horz" wrap="square" lIns="34287" tIns="34287" rIns="41144" bIns="30863" numCol="1" rtlCol="0" anchor="ctr" anchorCtr="1" compatLnSpc="1">
            <a:prstTxWarp prst="textNoShape">
              <a:avLst/>
            </a:prstTxWarp>
          </a:bodyPr>
          <a:lstStyle/>
          <a:p>
            <a:pPr marL="170383" indent="-170383" algn="ctr" defTabSz="685711" fontAlgn="base">
              <a:lnSpc>
                <a:spcPct val="90000"/>
              </a:lnSpc>
              <a:spcBef>
                <a:spcPts val="473"/>
              </a:spcBef>
              <a:spcAft>
                <a:spcPct val="0"/>
              </a:spcAft>
              <a:buClr>
                <a:srgbClr val="FFFF99"/>
              </a:buClr>
              <a:buSzPct val="120000"/>
            </a:pPr>
            <a:endParaRPr lang="en-US" sz="2400" i="1" dirty="0" err="1">
              <a:solidFill>
                <a:srgbClr val="FFFFFF"/>
              </a:solidFill>
              <a:latin typeface="Segoe" pitchFamily="34" charset="0"/>
            </a:endParaRPr>
          </a:p>
        </p:txBody>
      </p:sp>
      <p:sp>
        <p:nvSpPr>
          <p:cNvPr id="51" name="TextBox 50"/>
          <p:cNvSpPr txBox="1"/>
          <p:nvPr>
            <p:custDataLst>
              <p:tags r:id="rId13"/>
            </p:custDataLst>
          </p:nvPr>
        </p:nvSpPr>
        <p:spPr>
          <a:xfrm>
            <a:off x="1645920" y="3814762"/>
            <a:ext cx="5852160" cy="480060"/>
          </a:xfrm>
          <a:prstGeom prst="rect">
            <a:avLst/>
          </a:prstGeom>
          <a:noFill/>
          <a:ln w="6350" cap="flat" cmpd="sng" algn="ctr">
            <a:solidFill>
              <a:srgbClr val="FFFFFF">
                <a:alpha val="50000"/>
              </a:srgbClr>
            </a:solidFill>
            <a:prstDash val="solid"/>
            <a:headEnd type="none" w="med" len="med"/>
            <a:tailEnd type="none" w="med" len="med"/>
          </a:ln>
          <a:effectLst/>
        </p:spPr>
        <p:txBody>
          <a:bodyPr wrap="square" lIns="68589" tIns="34295" rIns="68589" bIns="34295" rtlCol="0" anchor="t" anchorCtr="0">
            <a:noAutofit/>
          </a:bodyPr>
          <a:lstStyle>
            <a:defPPr>
              <a:defRPr lang="en-US"/>
            </a:defPPr>
            <a:lvl1pPr indent="-396875" algn="ctr">
              <a:lnSpc>
                <a:spcPct val="90000"/>
              </a:lnSpc>
              <a:spcBef>
                <a:spcPct val="20000"/>
              </a:spcBef>
              <a:buClr>
                <a:srgbClr val="777777"/>
              </a:buClr>
              <a:defRPr sz="2000" b="1"/>
            </a:lvl1pPr>
          </a:lstStyle>
          <a:p>
            <a:pPr defTabSz="685891"/>
            <a:endParaRPr lang="en-US" dirty="0">
              <a:solidFill>
                <a:srgbClr val="FFFFFF"/>
              </a:solidFill>
            </a:endParaRPr>
          </a:p>
        </p:txBody>
      </p:sp>
      <p:sp>
        <p:nvSpPr>
          <p:cNvPr id="52" name="TextBox 51"/>
          <p:cNvSpPr txBox="1"/>
          <p:nvPr>
            <p:custDataLst>
              <p:tags r:id="rId14"/>
            </p:custDataLst>
          </p:nvPr>
        </p:nvSpPr>
        <p:spPr>
          <a:xfrm>
            <a:off x="1737361" y="3883342"/>
            <a:ext cx="1828800" cy="342900"/>
          </a:xfrm>
          <a:prstGeom prst="rect">
            <a:avLst/>
          </a:prstGeom>
          <a:solidFill>
            <a:schemeClr val="bg1"/>
          </a:solidFill>
          <a:ln w="6350" cap="flat" cmpd="sng" algn="ctr">
            <a:noFill/>
            <a:prstDash val="solid"/>
            <a:headEnd type="none" w="med" len="med"/>
            <a:tailEnd type="none" w="med" len="med"/>
          </a:ln>
          <a:effectLst/>
        </p:spPr>
        <p:txBody>
          <a:bodyPr wrap="square" lIns="68589" tIns="34295" rIns="68589" bIns="34295" rtlCol="0" anchor="ctr" anchorCtr="0">
            <a:noAutofit/>
          </a:bodyPr>
          <a:lstStyle>
            <a:defPPr>
              <a:defRPr lang="en-US"/>
            </a:defPPr>
            <a:lvl1pPr indent="-396875" algn="ctr">
              <a:lnSpc>
                <a:spcPct val="90000"/>
              </a:lnSpc>
              <a:spcBef>
                <a:spcPct val="20000"/>
              </a:spcBef>
              <a:buClr>
                <a:srgbClr val="777777"/>
              </a:buClr>
              <a:defRPr sz="2000" b="1"/>
            </a:lvl1pPr>
          </a:lstStyle>
          <a:p>
            <a:pPr defTabSz="685891"/>
            <a:r>
              <a:rPr lang="en-US" sz="1200" b="0" dirty="0">
                <a:solidFill>
                  <a:srgbClr val="FFFFFF"/>
                </a:solidFill>
              </a:rPr>
              <a:t>Report Designer</a:t>
            </a:r>
          </a:p>
        </p:txBody>
      </p:sp>
      <p:sp>
        <p:nvSpPr>
          <p:cNvPr id="53" name="TextBox 52"/>
          <p:cNvSpPr txBox="1"/>
          <p:nvPr>
            <p:custDataLst>
              <p:tags r:id="rId15"/>
            </p:custDataLst>
          </p:nvPr>
        </p:nvSpPr>
        <p:spPr>
          <a:xfrm>
            <a:off x="3657600" y="3883342"/>
            <a:ext cx="1828800" cy="342900"/>
          </a:xfrm>
          <a:prstGeom prst="rect">
            <a:avLst/>
          </a:prstGeom>
          <a:solidFill>
            <a:schemeClr val="bg1"/>
          </a:solidFill>
          <a:ln w="6350" cap="flat" cmpd="sng" algn="ctr">
            <a:noFill/>
            <a:prstDash val="solid"/>
            <a:headEnd type="none" w="med" len="med"/>
            <a:tailEnd type="none" w="med" len="med"/>
          </a:ln>
          <a:effectLst/>
        </p:spPr>
        <p:txBody>
          <a:bodyPr wrap="square" lIns="68589" tIns="34295" rIns="68589" bIns="34295" rtlCol="0" anchor="ctr" anchorCtr="0">
            <a:noAutofit/>
          </a:bodyPr>
          <a:lstStyle>
            <a:defPPr>
              <a:defRPr lang="en-US"/>
            </a:defPPr>
            <a:lvl1pPr indent="-396875" algn="ctr">
              <a:lnSpc>
                <a:spcPct val="90000"/>
              </a:lnSpc>
              <a:spcBef>
                <a:spcPct val="20000"/>
              </a:spcBef>
              <a:buClr>
                <a:srgbClr val="777777"/>
              </a:buClr>
              <a:defRPr sz="2000" b="1"/>
            </a:lvl1pPr>
          </a:lstStyle>
          <a:p>
            <a:pPr defTabSz="685891"/>
            <a:r>
              <a:rPr lang="en-US" sz="1200" b="0" dirty="0">
                <a:solidFill>
                  <a:srgbClr val="FFFFFF"/>
                </a:solidFill>
              </a:rPr>
              <a:t>Report Builder</a:t>
            </a:r>
          </a:p>
        </p:txBody>
      </p:sp>
      <p:sp>
        <p:nvSpPr>
          <p:cNvPr id="55" name="TextBox 54"/>
          <p:cNvSpPr txBox="1"/>
          <p:nvPr>
            <p:custDataLst>
              <p:tags r:id="rId16"/>
            </p:custDataLst>
          </p:nvPr>
        </p:nvSpPr>
        <p:spPr>
          <a:xfrm>
            <a:off x="5577840" y="3883342"/>
            <a:ext cx="1828800" cy="342900"/>
          </a:xfrm>
          <a:prstGeom prst="rect">
            <a:avLst/>
          </a:prstGeom>
          <a:solidFill>
            <a:schemeClr val="bg1"/>
          </a:solidFill>
          <a:ln w="6350" cap="flat" cmpd="sng" algn="ctr">
            <a:noFill/>
            <a:prstDash val="solid"/>
            <a:headEnd type="none" w="med" len="med"/>
            <a:tailEnd type="none" w="med" len="med"/>
          </a:ln>
          <a:effectLst/>
        </p:spPr>
        <p:txBody>
          <a:bodyPr wrap="square" lIns="68589" tIns="34295" rIns="68589" bIns="34295" rtlCol="0" anchor="ctr" anchorCtr="0">
            <a:noAutofit/>
          </a:bodyPr>
          <a:lstStyle>
            <a:defPPr>
              <a:defRPr lang="en-US"/>
            </a:defPPr>
            <a:lvl1pPr indent="-396875" algn="ctr">
              <a:lnSpc>
                <a:spcPct val="90000"/>
              </a:lnSpc>
              <a:spcBef>
                <a:spcPct val="20000"/>
              </a:spcBef>
              <a:buClr>
                <a:srgbClr val="777777"/>
              </a:buClr>
              <a:defRPr sz="2000" b="1"/>
            </a:lvl1pPr>
          </a:lstStyle>
          <a:p>
            <a:pPr defTabSz="685891"/>
            <a:r>
              <a:rPr lang="en-US" sz="1200" b="0" dirty="0">
                <a:solidFill>
                  <a:srgbClr val="FFFFFF"/>
                </a:solidFill>
              </a:rPr>
              <a:t>Power View</a:t>
            </a:r>
          </a:p>
        </p:txBody>
      </p:sp>
      <p:grpSp>
        <p:nvGrpSpPr>
          <p:cNvPr id="22" name="Group 21"/>
          <p:cNvGrpSpPr/>
          <p:nvPr/>
        </p:nvGrpSpPr>
        <p:grpSpPr>
          <a:xfrm>
            <a:off x="944312" y="1218971"/>
            <a:ext cx="943477" cy="746864"/>
            <a:chOff x="3178605" y="1172857"/>
            <a:chExt cx="3954460" cy="4173843"/>
          </a:xfrm>
          <a:solidFill>
            <a:schemeClr val="tx1"/>
          </a:solidFill>
        </p:grpSpPr>
        <p:sp>
          <p:nvSpPr>
            <p:cNvPr id="23" name="Freeform 22"/>
            <p:cNvSpPr/>
            <p:nvPr/>
          </p:nvSpPr>
          <p:spPr>
            <a:xfrm>
              <a:off x="3178605" y="2575878"/>
              <a:ext cx="1700526" cy="2545333"/>
            </a:xfrm>
            <a:custGeom>
              <a:avLst/>
              <a:gdLst>
                <a:gd name="connsiteX0" fmla="*/ 1093358 w 1700526"/>
                <a:gd name="connsiteY0" fmla="*/ 2265997 h 2545333"/>
                <a:gd name="connsiteX1" fmla="*/ 1079070 w 1700526"/>
                <a:gd name="connsiteY1" fmla="*/ 2351722 h 2545333"/>
                <a:gd name="connsiteX2" fmla="*/ 1090574 w 1700526"/>
                <a:gd name="connsiteY2" fmla="*/ 2454957 h 2545333"/>
                <a:gd name="connsiteX3" fmla="*/ 1040168 w 1700526"/>
                <a:gd name="connsiteY3" fmla="*/ 2464240 h 2545333"/>
                <a:gd name="connsiteX4" fmla="*/ 1040970 w 1700526"/>
                <a:gd name="connsiteY4" fmla="*/ 2451735 h 2545333"/>
                <a:gd name="connsiteX5" fmla="*/ 1069545 w 1700526"/>
                <a:gd name="connsiteY5" fmla="*/ 2323147 h 2545333"/>
                <a:gd name="connsiteX6" fmla="*/ 1093358 w 1700526"/>
                <a:gd name="connsiteY6" fmla="*/ 2265997 h 2545333"/>
                <a:gd name="connsiteX7" fmla="*/ 1614375 w 1700526"/>
                <a:gd name="connsiteY7" fmla="*/ 538962 h 2545333"/>
                <a:gd name="connsiteX8" fmla="*/ 1669620 w 1700526"/>
                <a:gd name="connsiteY8" fmla="*/ 613410 h 2545333"/>
                <a:gd name="connsiteX9" fmla="*/ 1700526 w 1700526"/>
                <a:gd name="connsiteY9" fmla="*/ 648587 h 2545333"/>
                <a:gd name="connsiteX10" fmla="*/ 1700526 w 1700526"/>
                <a:gd name="connsiteY10" fmla="*/ 743556 h 2545333"/>
                <a:gd name="connsiteX11" fmla="*/ 1660095 w 1700526"/>
                <a:gd name="connsiteY11" fmla="*/ 818197 h 2545333"/>
                <a:gd name="connsiteX12" fmla="*/ 1614375 w 1700526"/>
                <a:gd name="connsiteY12" fmla="*/ 907520 h 2545333"/>
                <a:gd name="connsiteX13" fmla="*/ 1614375 w 1700526"/>
                <a:gd name="connsiteY13" fmla="*/ 538962 h 2545333"/>
                <a:gd name="connsiteX14" fmla="*/ 407558 w 1700526"/>
                <a:gd name="connsiteY14" fmla="*/ 113347 h 2545333"/>
                <a:gd name="connsiteX15" fmla="*/ 59895 w 1700526"/>
                <a:gd name="connsiteY15" fmla="*/ 132397 h 2545333"/>
                <a:gd name="connsiteX16" fmla="*/ 59895 w 1700526"/>
                <a:gd name="connsiteY16" fmla="*/ 446722 h 2545333"/>
                <a:gd name="connsiteX17" fmla="*/ 88470 w 1700526"/>
                <a:gd name="connsiteY17" fmla="*/ 156210 h 2545333"/>
                <a:gd name="connsiteX18" fmla="*/ 407558 w 1700526"/>
                <a:gd name="connsiteY18" fmla="*/ 113347 h 2545333"/>
                <a:gd name="connsiteX19" fmla="*/ 939051 w 1700526"/>
                <a:gd name="connsiteY19" fmla="*/ 52387 h 2545333"/>
                <a:gd name="connsiteX20" fmla="*/ 889044 w 1700526"/>
                <a:gd name="connsiteY20" fmla="*/ 69056 h 2545333"/>
                <a:gd name="connsiteX21" fmla="*/ 889044 w 1700526"/>
                <a:gd name="connsiteY21" fmla="*/ 103636 h 2545333"/>
                <a:gd name="connsiteX22" fmla="*/ 1209494 w 1700526"/>
                <a:gd name="connsiteY22" fmla="*/ 199929 h 2545333"/>
                <a:gd name="connsiteX23" fmla="*/ 1205751 w 1700526"/>
                <a:gd name="connsiteY23" fmla="*/ 161925 h 2545333"/>
                <a:gd name="connsiteX24" fmla="*/ 939051 w 1700526"/>
                <a:gd name="connsiteY24" fmla="*/ 52387 h 2545333"/>
                <a:gd name="connsiteX25" fmla="*/ 939051 w 1700526"/>
                <a:gd name="connsiteY25" fmla="*/ 0 h 2545333"/>
                <a:gd name="connsiteX26" fmla="*/ 1215276 w 1700526"/>
                <a:gd name="connsiteY26" fmla="*/ 119062 h 2545333"/>
                <a:gd name="connsiteX27" fmla="*/ 1255757 w 1700526"/>
                <a:gd name="connsiteY27" fmla="*/ 157163 h 2545333"/>
                <a:gd name="connsiteX28" fmla="*/ 1255757 w 1700526"/>
                <a:gd name="connsiteY28" fmla="*/ 213831 h 2545333"/>
                <a:gd name="connsiteX29" fmla="*/ 1533554 w 1700526"/>
                <a:gd name="connsiteY29" fmla="*/ 297308 h 2545333"/>
                <a:gd name="connsiteX30" fmla="*/ 1550558 w 1700526"/>
                <a:gd name="connsiteY30" fmla="*/ 375285 h 2545333"/>
                <a:gd name="connsiteX31" fmla="*/ 1562758 w 1700526"/>
                <a:gd name="connsiteY31" fmla="*/ 424788 h 2545333"/>
                <a:gd name="connsiteX32" fmla="*/ 707595 w 1700526"/>
                <a:gd name="connsiteY32" fmla="*/ 187642 h 2545333"/>
                <a:gd name="connsiteX33" fmla="*/ 1568655 w 1700526"/>
                <a:gd name="connsiteY33" fmla="*/ 469582 h 2545333"/>
                <a:gd name="connsiteX34" fmla="*/ 1582522 w 1700526"/>
                <a:gd name="connsiteY34" fmla="*/ 966472 h 2545333"/>
                <a:gd name="connsiteX35" fmla="*/ 1560083 w 1700526"/>
                <a:gd name="connsiteY35" fmla="*/ 1003935 h 2545333"/>
                <a:gd name="connsiteX36" fmla="*/ 1474358 w 1700526"/>
                <a:gd name="connsiteY36" fmla="*/ 1094422 h 2545333"/>
                <a:gd name="connsiteX37" fmla="*/ 1360058 w 1700526"/>
                <a:gd name="connsiteY37" fmla="*/ 1142047 h 2545333"/>
                <a:gd name="connsiteX38" fmla="*/ 1202895 w 1700526"/>
                <a:gd name="connsiteY38" fmla="*/ 1189672 h 2545333"/>
                <a:gd name="connsiteX39" fmla="*/ 983820 w 1700526"/>
                <a:gd name="connsiteY39" fmla="*/ 1251585 h 2545333"/>
                <a:gd name="connsiteX40" fmla="*/ 745695 w 1700526"/>
                <a:gd name="connsiteY40" fmla="*/ 1342072 h 2545333"/>
                <a:gd name="connsiteX41" fmla="*/ 621870 w 1700526"/>
                <a:gd name="connsiteY41" fmla="*/ 1427797 h 2545333"/>
                <a:gd name="connsiteX42" fmla="*/ 602819 w 1700526"/>
                <a:gd name="connsiteY42" fmla="*/ 1460905 h 2545333"/>
                <a:gd name="connsiteX43" fmla="*/ 602819 w 1700526"/>
                <a:gd name="connsiteY43" fmla="*/ 70485 h 2545333"/>
                <a:gd name="connsiteX44" fmla="*/ 579008 w 1700526"/>
                <a:gd name="connsiteY44" fmla="*/ 82391 h 2545333"/>
                <a:gd name="connsiteX45" fmla="*/ 585775 w 1700526"/>
                <a:gd name="connsiteY45" fmla="*/ 1502155 h 2545333"/>
                <a:gd name="connsiteX46" fmla="*/ 574245 w 1700526"/>
                <a:gd name="connsiteY46" fmla="*/ 1546860 h 2545333"/>
                <a:gd name="connsiteX47" fmla="*/ 559958 w 1700526"/>
                <a:gd name="connsiteY47" fmla="*/ 1732597 h 2545333"/>
                <a:gd name="connsiteX48" fmla="*/ 581017 w 1700526"/>
                <a:gd name="connsiteY48" fmla="*/ 1901895 h 2545333"/>
                <a:gd name="connsiteX49" fmla="*/ 574244 w 1700526"/>
                <a:gd name="connsiteY49" fmla="*/ 2470785 h 2545333"/>
                <a:gd name="connsiteX50" fmla="*/ 221819 w 1700526"/>
                <a:gd name="connsiteY50" fmla="*/ 2442210 h 2545333"/>
                <a:gd name="connsiteX51" fmla="*/ 602819 w 1700526"/>
                <a:gd name="connsiteY51" fmla="*/ 2499360 h 2545333"/>
                <a:gd name="connsiteX52" fmla="*/ 602819 w 1700526"/>
                <a:gd name="connsiteY52" fmla="*/ 1987531 h 2545333"/>
                <a:gd name="connsiteX53" fmla="*/ 645683 w 1700526"/>
                <a:gd name="connsiteY53" fmla="*/ 2089785 h 2545333"/>
                <a:gd name="connsiteX54" fmla="*/ 750458 w 1700526"/>
                <a:gd name="connsiteY54" fmla="*/ 2270760 h 2545333"/>
                <a:gd name="connsiteX55" fmla="*/ 869520 w 1700526"/>
                <a:gd name="connsiteY55" fmla="*/ 2423160 h 2545333"/>
                <a:gd name="connsiteX56" fmla="*/ 928437 w 1700526"/>
                <a:gd name="connsiteY56" fmla="*/ 2484818 h 2545333"/>
                <a:gd name="connsiteX57" fmla="*/ 599860 w 1700526"/>
                <a:gd name="connsiteY57" fmla="*/ 2545333 h 2545333"/>
                <a:gd name="connsiteX58" fmla="*/ 32385 w 1700526"/>
                <a:gd name="connsiteY58" fmla="*/ 2474403 h 2545333"/>
                <a:gd name="connsiteX59" fmla="*/ 2328 w 1700526"/>
                <a:gd name="connsiteY59" fmla="*/ 2443649 h 2545333"/>
                <a:gd name="connsiteX60" fmla="*/ 0 w 1700526"/>
                <a:gd name="connsiteY60" fmla="*/ 95355 h 2545333"/>
                <a:gd name="connsiteX61" fmla="*/ 30645 w 1700526"/>
                <a:gd name="connsiteY61" fmla="*/ 66357 h 2545333"/>
                <a:gd name="connsiteX62" fmla="*/ 599860 w 1700526"/>
                <a:gd name="connsiteY62" fmla="*/ 16737 h 2545333"/>
                <a:gd name="connsiteX63" fmla="*/ 839752 w 1700526"/>
                <a:gd name="connsiteY63" fmla="*/ 88823 h 2545333"/>
                <a:gd name="connsiteX64" fmla="*/ 848563 w 1700526"/>
                <a:gd name="connsiteY64" fmla="*/ 38100 h 2545333"/>
                <a:gd name="connsiteX65" fmla="*/ 939051 w 1700526"/>
                <a:gd name="connsiteY65" fmla="*/ 0 h 2545333"/>
                <a:gd name="connsiteX0" fmla="*/ 1093358 w 1700526"/>
                <a:gd name="connsiteY0" fmla="*/ 2265997 h 2545333"/>
                <a:gd name="connsiteX1" fmla="*/ 1079070 w 1700526"/>
                <a:gd name="connsiteY1" fmla="*/ 2351722 h 2545333"/>
                <a:gd name="connsiteX2" fmla="*/ 1090574 w 1700526"/>
                <a:gd name="connsiteY2" fmla="*/ 2454957 h 2545333"/>
                <a:gd name="connsiteX3" fmla="*/ 1040168 w 1700526"/>
                <a:gd name="connsiteY3" fmla="*/ 2464240 h 2545333"/>
                <a:gd name="connsiteX4" fmla="*/ 1040970 w 1700526"/>
                <a:gd name="connsiteY4" fmla="*/ 2451735 h 2545333"/>
                <a:gd name="connsiteX5" fmla="*/ 1069545 w 1700526"/>
                <a:gd name="connsiteY5" fmla="*/ 2323147 h 2545333"/>
                <a:gd name="connsiteX6" fmla="*/ 1093358 w 1700526"/>
                <a:gd name="connsiteY6" fmla="*/ 2265997 h 2545333"/>
                <a:gd name="connsiteX7" fmla="*/ 1614375 w 1700526"/>
                <a:gd name="connsiteY7" fmla="*/ 538962 h 2545333"/>
                <a:gd name="connsiteX8" fmla="*/ 1669620 w 1700526"/>
                <a:gd name="connsiteY8" fmla="*/ 613410 h 2545333"/>
                <a:gd name="connsiteX9" fmla="*/ 1700526 w 1700526"/>
                <a:gd name="connsiteY9" fmla="*/ 648587 h 2545333"/>
                <a:gd name="connsiteX10" fmla="*/ 1700526 w 1700526"/>
                <a:gd name="connsiteY10" fmla="*/ 743556 h 2545333"/>
                <a:gd name="connsiteX11" fmla="*/ 1660095 w 1700526"/>
                <a:gd name="connsiteY11" fmla="*/ 818197 h 2545333"/>
                <a:gd name="connsiteX12" fmla="*/ 1614375 w 1700526"/>
                <a:gd name="connsiteY12" fmla="*/ 907520 h 2545333"/>
                <a:gd name="connsiteX13" fmla="*/ 1614375 w 1700526"/>
                <a:gd name="connsiteY13" fmla="*/ 538962 h 2545333"/>
                <a:gd name="connsiteX14" fmla="*/ 407558 w 1700526"/>
                <a:gd name="connsiteY14" fmla="*/ 113347 h 2545333"/>
                <a:gd name="connsiteX15" fmla="*/ 59895 w 1700526"/>
                <a:gd name="connsiteY15" fmla="*/ 132397 h 2545333"/>
                <a:gd name="connsiteX16" fmla="*/ 59895 w 1700526"/>
                <a:gd name="connsiteY16" fmla="*/ 446722 h 2545333"/>
                <a:gd name="connsiteX17" fmla="*/ 88470 w 1700526"/>
                <a:gd name="connsiteY17" fmla="*/ 156210 h 2545333"/>
                <a:gd name="connsiteX18" fmla="*/ 407558 w 1700526"/>
                <a:gd name="connsiteY18" fmla="*/ 113347 h 2545333"/>
                <a:gd name="connsiteX19" fmla="*/ 939051 w 1700526"/>
                <a:gd name="connsiteY19" fmla="*/ 52387 h 2545333"/>
                <a:gd name="connsiteX20" fmla="*/ 889044 w 1700526"/>
                <a:gd name="connsiteY20" fmla="*/ 69056 h 2545333"/>
                <a:gd name="connsiteX21" fmla="*/ 889044 w 1700526"/>
                <a:gd name="connsiteY21" fmla="*/ 103636 h 2545333"/>
                <a:gd name="connsiteX22" fmla="*/ 1209494 w 1700526"/>
                <a:gd name="connsiteY22" fmla="*/ 199929 h 2545333"/>
                <a:gd name="connsiteX23" fmla="*/ 1205751 w 1700526"/>
                <a:gd name="connsiteY23" fmla="*/ 161925 h 2545333"/>
                <a:gd name="connsiteX24" fmla="*/ 939051 w 1700526"/>
                <a:gd name="connsiteY24" fmla="*/ 52387 h 2545333"/>
                <a:gd name="connsiteX25" fmla="*/ 939051 w 1700526"/>
                <a:gd name="connsiteY25" fmla="*/ 0 h 2545333"/>
                <a:gd name="connsiteX26" fmla="*/ 1215276 w 1700526"/>
                <a:gd name="connsiteY26" fmla="*/ 119062 h 2545333"/>
                <a:gd name="connsiteX27" fmla="*/ 1255757 w 1700526"/>
                <a:gd name="connsiteY27" fmla="*/ 157163 h 2545333"/>
                <a:gd name="connsiteX28" fmla="*/ 1255757 w 1700526"/>
                <a:gd name="connsiteY28" fmla="*/ 213831 h 2545333"/>
                <a:gd name="connsiteX29" fmla="*/ 1533554 w 1700526"/>
                <a:gd name="connsiteY29" fmla="*/ 297308 h 2545333"/>
                <a:gd name="connsiteX30" fmla="*/ 1550558 w 1700526"/>
                <a:gd name="connsiteY30" fmla="*/ 375285 h 2545333"/>
                <a:gd name="connsiteX31" fmla="*/ 1562758 w 1700526"/>
                <a:gd name="connsiteY31" fmla="*/ 424788 h 2545333"/>
                <a:gd name="connsiteX32" fmla="*/ 707595 w 1700526"/>
                <a:gd name="connsiteY32" fmla="*/ 187642 h 2545333"/>
                <a:gd name="connsiteX33" fmla="*/ 1568655 w 1700526"/>
                <a:gd name="connsiteY33" fmla="*/ 469582 h 2545333"/>
                <a:gd name="connsiteX34" fmla="*/ 1582522 w 1700526"/>
                <a:gd name="connsiteY34" fmla="*/ 966472 h 2545333"/>
                <a:gd name="connsiteX35" fmla="*/ 1560083 w 1700526"/>
                <a:gd name="connsiteY35" fmla="*/ 1003935 h 2545333"/>
                <a:gd name="connsiteX36" fmla="*/ 1474358 w 1700526"/>
                <a:gd name="connsiteY36" fmla="*/ 1094422 h 2545333"/>
                <a:gd name="connsiteX37" fmla="*/ 1360058 w 1700526"/>
                <a:gd name="connsiteY37" fmla="*/ 1142047 h 2545333"/>
                <a:gd name="connsiteX38" fmla="*/ 1202895 w 1700526"/>
                <a:gd name="connsiteY38" fmla="*/ 1189672 h 2545333"/>
                <a:gd name="connsiteX39" fmla="*/ 983820 w 1700526"/>
                <a:gd name="connsiteY39" fmla="*/ 1251585 h 2545333"/>
                <a:gd name="connsiteX40" fmla="*/ 745695 w 1700526"/>
                <a:gd name="connsiteY40" fmla="*/ 1342072 h 2545333"/>
                <a:gd name="connsiteX41" fmla="*/ 621870 w 1700526"/>
                <a:gd name="connsiteY41" fmla="*/ 1427797 h 2545333"/>
                <a:gd name="connsiteX42" fmla="*/ 602819 w 1700526"/>
                <a:gd name="connsiteY42" fmla="*/ 1460905 h 2545333"/>
                <a:gd name="connsiteX43" fmla="*/ 602819 w 1700526"/>
                <a:gd name="connsiteY43" fmla="*/ 70485 h 2545333"/>
                <a:gd name="connsiteX44" fmla="*/ 579008 w 1700526"/>
                <a:gd name="connsiteY44" fmla="*/ 82391 h 2545333"/>
                <a:gd name="connsiteX45" fmla="*/ 585775 w 1700526"/>
                <a:gd name="connsiteY45" fmla="*/ 1502155 h 2545333"/>
                <a:gd name="connsiteX46" fmla="*/ 574245 w 1700526"/>
                <a:gd name="connsiteY46" fmla="*/ 1546860 h 2545333"/>
                <a:gd name="connsiteX47" fmla="*/ 559958 w 1700526"/>
                <a:gd name="connsiteY47" fmla="*/ 1732597 h 2545333"/>
                <a:gd name="connsiteX48" fmla="*/ 581017 w 1700526"/>
                <a:gd name="connsiteY48" fmla="*/ 1901895 h 2545333"/>
                <a:gd name="connsiteX49" fmla="*/ 574244 w 1700526"/>
                <a:gd name="connsiteY49" fmla="*/ 2470785 h 2545333"/>
                <a:gd name="connsiteX50" fmla="*/ 221819 w 1700526"/>
                <a:gd name="connsiteY50" fmla="*/ 2442210 h 2545333"/>
                <a:gd name="connsiteX51" fmla="*/ 602819 w 1700526"/>
                <a:gd name="connsiteY51" fmla="*/ 2499360 h 2545333"/>
                <a:gd name="connsiteX52" fmla="*/ 602819 w 1700526"/>
                <a:gd name="connsiteY52" fmla="*/ 1987531 h 2545333"/>
                <a:gd name="connsiteX53" fmla="*/ 645683 w 1700526"/>
                <a:gd name="connsiteY53" fmla="*/ 2089785 h 2545333"/>
                <a:gd name="connsiteX54" fmla="*/ 750458 w 1700526"/>
                <a:gd name="connsiteY54" fmla="*/ 2270760 h 2545333"/>
                <a:gd name="connsiteX55" fmla="*/ 869520 w 1700526"/>
                <a:gd name="connsiteY55" fmla="*/ 2423160 h 2545333"/>
                <a:gd name="connsiteX56" fmla="*/ 928437 w 1700526"/>
                <a:gd name="connsiteY56" fmla="*/ 2484818 h 2545333"/>
                <a:gd name="connsiteX57" fmla="*/ 599860 w 1700526"/>
                <a:gd name="connsiteY57" fmla="*/ 2545333 h 2545333"/>
                <a:gd name="connsiteX58" fmla="*/ 32385 w 1700526"/>
                <a:gd name="connsiteY58" fmla="*/ 2474403 h 2545333"/>
                <a:gd name="connsiteX59" fmla="*/ 2328 w 1700526"/>
                <a:gd name="connsiteY59" fmla="*/ 2443649 h 2545333"/>
                <a:gd name="connsiteX60" fmla="*/ 0 w 1700526"/>
                <a:gd name="connsiteY60" fmla="*/ 95355 h 2545333"/>
                <a:gd name="connsiteX61" fmla="*/ 30645 w 1700526"/>
                <a:gd name="connsiteY61" fmla="*/ 66357 h 2545333"/>
                <a:gd name="connsiteX62" fmla="*/ 599860 w 1700526"/>
                <a:gd name="connsiteY62" fmla="*/ 16737 h 2545333"/>
                <a:gd name="connsiteX63" fmla="*/ 839752 w 1700526"/>
                <a:gd name="connsiteY63" fmla="*/ 88823 h 2545333"/>
                <a:gd name="connsiteX64" fmla="*/ 848563 w 1700526"/>
                <a:gd name="connsiteY64" fmla="*/ 38100 h 2545333"/>
                <a:gd name="connsiteX65" fmla="*/ 939051 w 1700526"/>
                <a:gd name="connsiteY65" fmla="*/ 0 h 2545333"/>
                <a:gd name="connsiteX0" fmla="*/ 1093358 w 1700526"/>
                <a:gd name="connsiteY0" fmla="*/ 2265997 h 2545333"/>
                <a:gd name="connsiteX1" fmla="*/ 1079070 w 1700526"/>
                <a:gd name="connsiteY1" fmla="*/ 2351722 h 2545333"/>
                <a:gd name="connsiteX2" fmla="*/ 1090574 w 1700526"/>
                <a:gd name="connsiteY2" fmla="*/ 2454957 h 2545333"/>
                <a:gd name="connsiteX3" fmla="*/ 1040168 w 1700526"/>
                <a:gd name="connsiteY3" fmla="*/ 2464240 h 2545333"/>
                <a:gd name="connsiteX4" fmla="*/ 1040970 w 1700526"/>
                <a:gd name="connsiteY4" fmla="*/ 2451735 h 2545333"/>
                <a:gd name="connsiteX5" fmla="*/ 1069545 w 1700526"/>
                <a:gd name="connsiteY5" fmla="*/ 2323147 h 2545333"/>
                <a:gd name="connsiteX6" fmla="*/ 1093358 w 1700526"/>
                <a:gd name="connsiteY6" fmla="*/ 2265997 h 2545333"/>
                <a:gd name="connsiteX7" fmla="*/ 1614375 w 1700526"/>
                <a:gd name="connsiteY7" fmla="*/ 538962 h 2545333"/>
                <a:gd name="connsiteX8" fmla="*/ 1669620 w 1700526"/>
                <a:gd name="connsiteY8" fmla="*/ 613410 h 2545333"/>
                <a:gd name="connsiteX9" fmla="*/ 1700526 w 1700526"/>
                <a:gd name="connsiteY9" fmla="*/ 648587 h 2545333"/>
                <a:gd name="connsiteX10" fmla="*/ 1700526 w 1700526"/>
                <a:gd name="connsiteY10" fmla="*/ 743556 h 2545333"/>
                <a:gd name="connsiteX11" fmla="*/ 1660095 w 1700526"/>
                <a:gd name="connsiteY11" fmla="*/ 818197 h 2545333"/>
                <a:gd name="connsiteX12" fmla="*/ 1614375 w 1700526"/>
                <a:gd name="connsiteY12" fmla="*/ 907520 h 2545333"/>
                <a:gd name="connsiteX13" fmla="*/ 1614375 w 1700526"/>
                <a:gd name="connsiteY13" fmla="*/ 538962 h 2545333"/>
                <a:gd name="connsiteX14" fmla="*/ 407558 w 1700526"/>
                <a:gd name="connsiteY14" fmla="*/ 113347 h 2545333"/>
                <a:gd name="connsiteX15" fmla="*/ 59895 w 1700526"/>
                <a:gd name="connsiteY15" fmla="*/ 132397 h 2545333"/>
                <a:gd name="connsiteX16" fmla="*/ 59895 w 1700526"/>
                <a:gd name="connsiteY16" fmla="*/ 446722 h 2545333"/>
                <a:gd name="connsiteX17" fmla="*/ 88470 w 1700526"/>
                <a:gd name="connsiteY17" fmla="*/ 156210 h 2545333"/>
                <a:gd name="connsiteX18" fmla="*/ 407558 w 1700526"/>
                <a:gd name="connsiteY18" fmla="*/ 113347 h 2545333"/>
                <a:gd name="connsiteX19" fmla="*/ 939051 w 1700526"/>
                <a:gd name="connsiteY19" fmla="*/ 52387 h 2545333"/>
                <a:gd name="connsiteX20" fmla="*/ 889044 w 1700526"/>
                <a:gd name="connsiteY20" fmla="*/ 69056 h 2545333"/>
                <a:gd name="connsiteX21" fmla="*/ 889044 w 1700526"/>
                <a:gd name="connsiteY21" fmla="*/ 103636 h 2545333"/>
                <a:gd name="connsiteX22" fmla="*/ 1209494 w 1700526"/>
                <a:gd name="connsiteY22" fmla="*/ 199929 h 2545333"/>
                <a:gd name="connsiteX23" fmla="*/ 1205751 w 1700526"/>
                <a:gd name="connsiteY23" fmla="*/ 161925 h 2545333"/>
                <a:gd name="connsiteX24" fmla="*/ 939051 w 1700526"/>
                <a:gd name="connsiteY24" fmla="*/ 52387 h 2545333"/>
                <a:gd name="connsiteX25" fmla="*/ 939051 w 1700526"/>
                <a:gd name="connsiteY25" fmla="*/ 0 h 2545333"/>
                <a:gd name="connsiteX26" fmla="*/ 1215276 w 1700526"/>
                <a:gd name="connsiteY26" fmla="*/ 119062 h 2545333"/>
                <a:gd name="connsiteX27" fmla="*/ 1255757 w 1700526"/>
                <a:gd name="connsiteY27" fmla="*/ 157163 h 2545333"/>
                <a:gd name="connsiteX28" fmla="*/ 1255757 w 1700526"/>
                <a:gd name="connsiteY28" fmla="*/ 213831 h 2545333"/>
                <a:gd name="connsiteX29" fmla="*/ 1533554 w 1700526"/>
                <a:gd name="connsiteY29" fmla="*/ 297308 h 2545333"/>
                <a:gd name="connsiteX30" fmla="*/ 1550558 w 1700526"/>
                <a:gd name="connsiteY30" fmla="*/ 375285 h 2545333"/>
                <a:gd name="connsiteX31" fmla="*/ 1562758 w 1700526"/>
                <a:gd name="connsiteY31" fmla="*/ 424788 h 2545333"/>
                <a:gd name="connsiteX32" fmla="*/ 707595 w 1700526"/>
                <a:gd name="connsiteY32" fmla="*/ 187642 h 2545333"/>
                <a:gd name="connsiteX33" fmla="*/ 1568655 w 1700526"/>
                <a:gd name="connsiteY33" fmla="*/ 469582 h 2545333"/>
                <a:gd name="connsiteX34" fmla="*/ 1582522 w 1700526"/>
                <a:gd name="connsiteY34" fmla="*/ 966472 h 2545333"/>
                <a:gd name="connsiteX35" fmla="*/ 1560083 w 1700526"/>
                <a:gd name="connsiteY35" fmla="*/ 1003935 h 2545333"/>
                <a:gd name="connsiteX36" fmla="*/ 1474358 w 1700526"/>
                <a:gd name="connsiteY36" fmla="*/ 1094422 h 2545333"/>
                <a:gd name="connsiteX37" fmla="*/ 1360058 w 1700526"/>
                <a:gd name="connsiteY37" fmla="*/ 1142047 h 2545333"/>
                <a:gd name="connsiteX38" fmla="*/ 1202895 w 1700526"/>
                <a:gd name="connsiteY38" fmla="*/ 1189672 h 2545333"/>
                <a:gd name="connsiteX39" fmla="*/ 983820 w 1700526"/>
                <a:gd name="connsiteY39" fmla="*/ 1251585 h 2545333"/>
                <a:gd name="connsiteX40" fmla="*/ 745695 w 1700526"/>
                <a:gd name="connsiteY40" fmla="*/ 1342072 h 2545333"/>
                <a:gd name="connsiteX41" fmla="*/ 621870 w 1700526"/>
                <a:gd name="connsiteY41" fmla="*/ 1427797 h 2545333"/>
                <a:gd name="connsiteX42" fmla="*/ 602819 w 1700526"/>
                <a:gd name="connsiteY42" fmla="*/ 1460905 h 2545333"/>
                <a:gd name="connsiteX43" fmla="*/ 602819 w 1700526"/>
                <a:gd name="connsiteY43" fmla="*/ 70485 h 2545333"/>
                <a:gd name="connsiteX44" fmla="*/ 579008 w 1700526"/>
                <a:gd name="connsiteY44" fmla="*/ 82391 h 2545333"/>
                <a:gd name="connsiteX45" fmla="*/ 585775 w 1700526"/>
                <a:gd name="connsiteY45" fmla="*/ 1502155 h 2545333"/>
                <a:gd name="connsiteX46" fmla="*/ 574245 w 1700526"/>
                <a:gd name="connsiteY46" fmla="*/ 1546860 h 2545333"/>
                <a:gd name="connsiteX47" fmla="*/ 559958 w 1700526"/>
                <a:gd name="connsiteY47" fmla="*/ 1732597 h 2545333"/>
                <a:gd name="connsiteX48" fmla="*/ 581017 w 1700526"/>
                <a:gd name="connsiteY48" fmla="*/ 1901895 h 2545333"/>
                <a:gd name="connsiteX49" fmla="*/ 574244 w 1700526"/>
                <a:gd name="connsiteY49" fmla="*/ 2470785 h 2545333"/>
                <a:gd name="connsiteX50" fmla="*/ 221819 w 1700526"/>
                <a:gd name="connsiteY50" fmla="*/ 2442210 h 2545333"/>
                <a:gd name="connsiteX51" fmla="*/ 602819 w 1700526"/>
                <a:gd name="connsiteY51" fmla="*/ 2499360 h 2545333"/>
                <a:gd name="connsiteX52" fmla="*/ 602819 w 1700526"/>
                <a:gd name="connsiteY52" fmla="*/ 1987531 h 2545333"/>
                <a:gd name="connsiteX53" fmla="*/ 645683 w 1700526"/>
                <a:gd name="connsiteY53" fmla="*/ 2089785 h 2545333"/>
                <a:gd name="connsiteX54" fmla="*/ 750458 w 1700526"/>
                <a:gd name="connsiteY54" fmla="*/ 2270760 h 2545333"/>
                <a:gd name="connsiteX55" fmla="*/ 869520 w 1700526"/>
                <a:gd name="connsiteY55" fmla="*/ 2423160 h 2545333"/>
                <a:gd name="connsiteX56" fmla="*/ 928437 w 1700526"/>
                <a:gd name="connsiteY56" fmla="*/ 2484818 h 2545333"/>
                <a:gd name="connsiteX57" fmla="*/ 599860 w 1700526"/>
                <a:gd name="connsiteY57" fmla="*/ 2545333 h 2545333"/>
                <a:gd name="connsiteX58" fmla="*/ 32385 w 1700526"/>
                <a:gd name="connsiteY58" fmla="*/ 2474403 h 2545333"/>
                <a:gd name="connsiteX59" fmla="*/ 2328 w 1700526"/>
                <a:gd name="connsiteY59" fmla="*/ 2443649 h 2545333"/>
                <a:gd name="connsiteX60" fmla="*/ 0 w 1700526"/>
                <a:gd name="connsiteY60" fmla="*/ 95355 h 2545333"/>
                <a:gd name="connsiteX61" fmla="*/ 30645 w 1700526"/>
                <a:gd name="connsiteY61" fmla="*/ 66357 h 2545333"/>
                <a:gd name="connsiteX62" fmla="*/ 599860 w 1700526"/>
                <a:gd name="connsiteY62" fmla="*/ 16737 h 2545333"/>
                <a:gd name="connsiteX63" fmla="*/ 839752 w 1700526"/>
                <a:gd name="connsiteY63" fmla="*/ 88823 h 2545333"/>
                <a:gd name="connsiteX64" fmla="*/ 848563 w 1700526"/>
                <a:gd name="connsiteY64" fmla="*/ 38100 h 2545333"/>
                <a:gd name="connsiteX65" fmla="*/ 939051 w 1700526"/>
                <a:gd name="connsiteY65" fmla="*/ 0 h 2545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700526" h="2545333">
                  <a:moveTo>
                    <a:pt x="1093358" y="2265997"/>
                  </a:moveTo>
                  <a:cubicBezTo>
                    <a:pt x="1094945" y="2270759"/>
                    <a:pt x="1075101" y="2315209"/>
                    <a:pt x="1079070" y="2351722"/>
                  </a:cubicBezTo>
                  <a:cubicBezTo>
                    <a:pt x="1081934" y="2378070"/>
                    <a:pt x="1075705" y="2423019"/>
                    <a:pt x="1090574" y="2454957"/>
                  </a:cubicBezTo>
                  <a:lnTo>
                    <a:pt x="1040168" y="2464240"/>
                  </a:lnTo>
                  <a:cubicBezTo>
                    <a:pt x="1040435" y="2460072"/>
                    <a:pt x="1040703" y="2455903"/>
                    <a:pt x="1040970" y="2451735"/>
                  </a:cubicBezTo>
                  <a:cubicBezTo>
                    <a:pt x="1047320" y="2417604"/>
                    <a:pt x="1060814" y="2354103"/>
                    <a:pt x="1069545" y="2323147"/>
                  </a:cubicBezTo>
                  <a:cubicBezTo>
                    <a:pt x="1078276" y="2292191"/>
                    <a:pt x="1091771" y="2261235"/>
                    <a:pt x="1093358" y="2265997"/>
                  </a:cubicBezTo>
                  <a:close/>
                  <a:moveTo>
                    <a:pt x="1614375" y="538962"/>
                  </a:moveTo>
                  <a:cubicBezTo>
                    <a:pt x="1631979" y="566618"/>
                    <a:pt x="1653784" y="592823"/>
                    <a:pt x="1669620" y="613410"/>
                  </a:cubicBezTo>
                  <a:cubicBezTo>
                    <a:pt x="1679518" y="626277"/>
                    <a:pt x="1690375" y="638183"/>
                    <a:pt x="1700526" y="648587"/>
                  </a:cubicBezTo>
                  <a:lnTo>
                    <a:pt x="1700526" y="743556"/>
                  </a:lnTo>
                  <a:lnTo>
                    <a:pt x="1660095" y="818197"/>
                  </a:lnTo>
                  <a:cubicBezTo>
                    <a:pt x="1660095" y="818197"/>
                    <a:pt x="1638766" y="861346"/>
                    <a:pt x="1614375" y="907520"/>
                  </a:cubicBezTo>
                  <a:lnTo>
                    <a:pt x="1614375" y="538962"/>
                  </a:lnTo>
                  <a:close/>
                  <a:moveTo>
                    <a:pt x="407558" y="113347"/>
                  </a:moveTo>
                  <a:lnTo>
                    <a:pt x="59895" y="132397"/>
                  </a:lnTo>
                  <a:lnTo>
                    <a:pt x="59895" y="446722"/>
                  </a:lnTo>
                  <a:lnTo>
                    <a:pt x="88470" y="156210"/>
                  </a:lnTo>
                  <a:lnTo>
                    <a:pt x="407558" y="113347"/>
                  </a:lnTo>
                  <a:close/>
                  <a:moveTo>
                    <a:pt x="939051" y="52387"/>
                  </a:moveTo>
                  <a:cubicBezTo>
                    <a:pt x="910476" y="55561"/>
                    <a:pt x="905713" y="63500"/>
                    <a:pt x="889044" y="69056"/>
                  </a:cubicBezTo>
                  <a:lnTo>
                    <a:pt x="889044" y="103636"/>
                  </a:lnTo>
                  <a:lnTo>
                    <a:pt x="1209494" y="199929"/>
                  </a:lnTo>
                  <a:lnTo>
                    <a:pt x="1205751" y="161925"/>
                  </a:lnTo>
                  <a:lnTo>
                    <a:pt x="939051" y="52387"/>
                  </a:lnTo>
                  <a:close/>
                  <a:moveTo>
                    <a:pt x="939051" y="0"/>
                  </a:moveTo>
                  <a:lnTo>
                    <a:pt x="1215276" y="119062"/>
                  </a:lnTo>
                  <a:cubicBezTo>
                    <a:pt x="1245439" y="134143"/>
                    <a:pt x="1237501" y="134938"/>
                    <a:pt x="1255757" y="157163"/>
                  </a:cubicBezTo>
                  <a:lnTo>
                    <a:pt x="1255757" y="213831"/>
                  </a:lnTo>
                  <a:lnTo>
                    <a:pt x="1533554" y="297308"/>
                  </a:lnTo>
                  <a:cubicBezTo>
                    <a:pt x="1537391" y="324095"/>
                    <a:pt x="1544129" y="349074"/>
                    <a:pt x="1550558" y="375285"/>
                  </a:cubicBezTo>
                  <a:cubicBezTo>
                    <a:pt x="1554623" y="391855"/>
                    <a:pt x="1558317" y="408425"/>
                    <a:pt x="1562758" y="424788"/>
                  </a:cubicBezTo>
                  <a:lnTo>
                    <a:pt x="707595" y="187642"/>
                  </a:lnTo>
                  <a:lnTo>
                    <a:pt x="1568655" y="469582"/>
                  </a:lnTo>
                  <a:lnTo>
                    <a:pt x="1582522" y="966472"/>
                  </a:lnTo>
                  <a:cubicBezTo>
                    <a:pt x="1574135" y="981530"/>
                    <a:pt x="1566333" y="994641"/>
                    <a:pt x="1560083" y="1003935"/>
                  </a:cubicBezTo>
                  <a:cubicBezTo>
                    <a:pt x="1529127" y="1049973"/>
                    <a:pt x="1507695" y="1071403"/>
                    <a:pt x="1474358" y="1094422"/>
                  </a:cubicBezTo>
                  <a:cubicBezTo>
                    <a:pt x="1441021" y="1117441"/>
                    <a:pt x="1405302" y="1126172"/>
                    <a:pt x="1360058" y="1142047"/>
                  </a:cubicBezTo>
                  <a:cubicBezTo>
                    <a:pt x="1314814" y="1157922"/>
                    <a:pt x="1265601" y="1171416"/>
                    <a:pt x="1202895" y="1189672"/>
                  </a:cubicBezTo>
                  <a:cubicBezTo>
                    <a:pt x="1140189" y="1207928"/>
                    <a:pt x="1060020" y="1226185"/>
                    <a:pt x="983820" y="1251585"/>
                  </a:cubicBezTo>
                  <a:cubicBezTo>
                    <a:pt x="907620" y="1276985"/>
                    <a:pt x="806020" y="1312703"/>
                    <a:pt x="745695" y="1342072"/>
                  </a:cubicBezTo>
                  <a:cubicBezTo>
                    <a:pt x="685370" y="1371441"/>
                    <a:pt x="650445" y="1393666"/>
                    <a:pt x="621870" y="1427797"/>
                  </a:cubicBezTo>
                  <a:cubicBezTo>
                    <a:pt x="613094" y="1438280"/>
                    <a:pt x="606189" y="1448763"/>
                    <a:pt x="602819" y="1460905"/>
                  </a:cubicBezTo>
                  <a:lnTo>
                    <a:pt x="602819" y="70485"/>
                  </a:lnTo>
                  <a:cubicBezTo>
                    <a:pt x="582182" y="66516"/>
                    <a:pt x="573451" y="69691"/>
                    <a:pt x="579008" y="82391"/>
                  </a:cubicBezTo>
                  <a:cubicBezTo>
                    <a:pt x="581264" y="555646"/>
                    <a:pt x="583519" y="1028900"/>
                    <a:pt x="585775" y="1502155"/>
                  </a:cubicBezTo>
                  <a:lnTo>
                    <a:pt x="574245" y="1546860"/>
                  </a:lnTo>
                  <a:cubicBezTo>
                    <a:pt x="563926" y="1597660"/>
                    <a:pt x="557577" y="1667510"/>
                    <a:pt x="559958" y="1732597"/>
                  </a:cubicBezTo>
                  <a:cubicBezTo>
                    <a:pt x="561892" y="1785474"/>
                    <a:pt x="570114" y="1848306"/>
                    <a:pt x="581017" y="1901895"/>
                  </a:cubicBezTo>
                  <a:cubicBezTo>
                    <a:pt x="578759" y="2091525"/>
                    <a:pt x="576502" y="2281155"/>
                    <a:pt x="574244" y="2470785"/>
                  </a:cubicBezTo>
                  <a:lnTo>
                    <a:pt x="221819" y="2442210"/>
                  </a:lnTo>
                  <a:lnTo>
                    <a:pt x="602819" y="2499360"/>
                  </a:lnTo>
                  <a:lnTo>
                    <a:pt x="602819" y="1987531"/>
                  </a:lnTo>
                  <a:cubicBezTo>
                    <a:pt x="613747" y="2021836"/>
                    <a:pt x="627073" y="2051470"/>
                    <a:pt x="645683" y="2089785"/>
                  </a:cubicBezTo>
                  <a:cubicBezTo>
                    <a:pt x="672670" y="2145347"/>
                    <a:pt x="713152" y="2215198"/>
                    <a:pt x="750458" y="2270760"/>
                  </a:cubicBezTo>
                  <a:cubicBezTo>
                    <a:pt x="787764" y="2326322"/>
                    <a:pt x="832214" y="2381091"/>
                    <a:pt x="869520" y="2423160"/>
                  </a:cubicBezTo>
                  <a:cubicBezTo>
                    <a:pt x="889064" y="2445199"/>
                    <a:pt x="909479" y="2466803"/>
                    <a:pt x="928437" y="2484818"/>
                  </a:cubicBezTo>
                  <a:lnTo>
                    <a:pt x="599860" y="2545333"/>
                  </a:lnTo>
                  <a:lnTo>
                    <a:pt x="32385" y="2474403"/>
                  </a:lnTo>
                  <a:cubicBezTo>
                    <a:pt x="19170" y="2467485"/>
                    <a:pt x="8776" y="2456854"/>
                    <a:pt x="2328" y="2443649"/>
                  </a:cubicBezTo>
                  <a:lnTo>
                    <a:pt x="0" y="95355"/>
                  </a:lnTo>
                  <a:cubicBezTo>
                    <a:pt x="6831" y="82422"/>
                    <a:pt x="17426" y="72372"/>
                    <a:pt x="30645" y="66357"/>
                  </a:cubicBezTo>
                  <a:lnTo>
                    <a:pt x="599860" y="16737"/>
                  </a:lnTo>
                  <a:lnTo>
                    <a:pt x="839752" y="88823"/>
                  </a:lnTo>
                  <a:cubicBezTo>
                    <a:pt x="840354" y="68310"/>
                    <a:pt x="843220" y="48609"/>
                    <a:pt x="848563" y="38100"/>
                  </a:cubicBezTo>
                  <a:cubicBezTo>
                    <a:pt x="869201" y="15875"/>
                    <a:pt x="894601" y="793"/>
                    <a:pt x="939051"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91"/>
              <a:endParaRPr lang="en-US">
                <a:solidFill>
                  <a:srgbClr val="FFFFFF"/>
                </a:solidFill>
              </a:endParaRPr>
            </a:p>
          </p:txBody>
        </p:sp>
        <p:sp>
          <p:nvSpPr>
            <p:cNvPr id="24" name="Freeform 23"/>
            <p:cNvSpPr/>
            <p:nvPr/>
          </p:nvSpPr>
          <p:spPr>
            <a:xfrm>
              <a:off x="3801836" y="1172857"/>
              <a:ext cx="3331229" cy="3869060"/>
            </a:xfrm>
            <a:custGeom>
              <a:avLst/>
              <a:gdLst>
                <a:gd name="connsiteX0" fmla="*/ 2716278 w 3331229"/>
                <a:gd name="connsiteY0" fmla="*/ 3664253 h 3869060"/>
                <a:gd name="connsiteX1" fmla="*/ 2155701 w 3331229"/>
                <a:gd name="connsiteY1" fmla="*/ 3678876 h 3869060"/>
                <a:gd name="connsiteX2" fmla="*/ 2209321 w 3331229"/>
                <a:gd name="connsiteY2" fmla="*/ 3708123 h 3869060"/>
                <a:gd name="connsiteX3" fmla="*/ 2716278 w 3331229"/>
                <a:gd name="connsiteY3" fmla="*/ 3664253 h 3869060"/>
                <a:gd name="connsiteX4" fmla="*/ 1508057 w 3331229"/>
                <a:gd name="connsiteY4" fmla="*/ 3611535 h 3869060"/>
                <a:gd name="connsiteX5" fmla="*/ 1495987 w 3331229"/>
                <a:gd name="connsiteY5" fmla="*/ 3703355 h 3869060"/>
                <a:gd name="connsiteX6" fmla="*/ 1440068 w 3331229"/>
                <a:gd name="connsiteY6" fmla="*/ 3680017 h 3869060"/>
                <a:gd name="connsiteX7" fmla="*/ 1463109 w 3331229"/>
                <a:gd name="connsiteY7" fmla="*/ 3619012 h 3869060"/>
                <a:gd name="connsiteX8" fmla="*/ 1508057 w 3331229"/>
                <a:gd name="connsiteY8" fmla="*/ 3611535 h 3869060"/>
                <a:gd name="connsiteX9" fmla="*/ 1861030 w 3331229"/>
                <a:gd name="connsiteY9" fmla="*/ 3550757 h 3869060"/>
                <a:gd name="connsiteX10" fmla="*/ 1906356 w 3331229"/>
                <a:gd name="connsiteY10" fmla="*/ 3869060 h 3869060"/>
                <a:gd name="connsiteX11" fmla="*/ 1892778 w 3331229"/>
                <a:gd name="connsiteY11" fmla="*/ 3868958 h 3869060"/>
                <a:gd name="connsiteX12" fmla="*/ 1538997 w 3331229"/>
                <a:gd name="connsiteY12" fmla="*/ 3721305 h 3869060"/>
                <a:gd name="connsiteX13" fmla="*/ 1551846 w 3331229"/>
                <a:gd name="connsiteY13" fmla="*/ 3602744 h 3869060"/>
                <a:gd name="connsiteX14" fmla="*/ 1644566 w 3331229"/>
                <a:gd name="connsiteY14" fmla="*/ 3574740 h 3869060"/>
                <a:gd name="connsiteX15" fmla="*/ 1813152 w 3331229"/>
                <a:gd name="connsiteY15" fmla="*/ 3564243 h 3869060"/>
                <a:gd name="connsiteX16" fmla="*/ 1861030 w 3331229"/>
                <a:gd name="connsiteY16" fmla="*/ 3550757 h 3869060"/>
                <a:gd name="connsiteX17" fmla="*/ 1840046 w 3331229"/>
                <a:gd name="connsiteY17" fmla="*/ 3403400 h 3869060"/>
                <a:gd name="connsiteX18" fmla="*/ 1854699 w 3331229"/>
                <a:gd name="connsiteY18" fmla="*/ 3506298 h 3869060"/>
                <a:gd name="connsiteX19" fmla="*/ 1703614 w 3331229"/>
                <a:gd name="connsiteY19" fmla="*/ 3549956 h 3869060"/>
                <a:gd name="connsiteX20" fmla="*/ 1693964 w 3331229"/>
                <a:gd name="connsiteY20" fmla="*/ 3552204 h 3869060"/>
                <a:gd name="connsiteX21" fmla="*/ 1840046 w 3331229"/>
                <a:gd name="connsiteY21" fmla="*/ 3403400 h 3869060"/>
                <a:gd name="connsiteX22" fmla="*/ 1838628 w 3331229"/>
                <a:gd name="connsiteY22" fmla="*/ 3182112 h 3869060"/>
                <a:gd name="connsiteX23" fmla="*/ 1867663 w 3331229"/>
                <a:gd name="connsiteY23" fmla="*/ 3336975 h 3869060"/>
                <a:gd name="connsiteX24" fmla="*/ 1838628 w 3331229"/>
                <a:gd name="connsiteY24" fmla="*/ 3182112 h 3869060"/>
                <a:gd name="connsiteX25" fmla="*/ 1601004 w 3331229"/>
                <a:gd name="connsiteY25" fmla="*/ 3149134 h 3869060"/>
                <a:gd name="connsiteX26" fmla="*/ 1807421 w 3331229"/>
                <a:gd name="connsiteY26" fmla="*/ 3174289 h 3869060"/>
                <a:gd name="connsiteX27" fmla="*/ 1839495 w 3331229"/>
                <a:gd name="connsiteY27" fmla="*/ 3399531 h 3869060"/>
                <a:gd name="connsiteX28" fmla="*/ 1765527 w 3331229"/>
                <a:gd name="connsiteY28" fmla="*/ 3468993 h 3869060"/>
                <a:gd name="connsiteX29" fmla="*/ 1556344 w 3331229"/>
                <a:gd name="connsiteY29" fmla="*/ 3561237 h 3869060"/>
                <a:gd name="connsiteX30" fmla="*/ 1601004 w 3331229"/>
                <a:gd name="connsiteY30" fmla="*/ 3149134 h 3869060"/>
                <a:gd name="connsiteX31" fmla="*/ 1895429 w 3331229"/>
                <a:gd name="connsiteY31" fmla="*/ 2774153 h 3869060"/>
                <a:gd name="connsiteX32" fmla="*/ 1923916 w 3331229"/>
                <a:gd name="connsiteY32" fmla="*/ 2802639 h 3869060"/>
                <a:gd name="connsiteX33" fmla="*/ 1895429 w 3331229"/>
                <a:gd name="connsiteY33" fmla="*/ 2831125 h 3869060"/>
                <a:gd name="connsiteX34" fmla="*/ 1866942 w 3331229"/>
                <a:gd name="connsiteY34" fmla="*/ 2802639 h 3869060"/>
                <a:gd name="connsiteX35" fmla="*/ 1895429 w 3331229"/>
                <a:gd name="connsiteY35" fmla="*/ 2774153 h 3869060"/>
                <a:gd name="connsiteX36" fmla="*/ 1478652 w 3331229"/>
                <a:gd name="connsiteY36" fmla="*/ 2774153 h 3869060"/>
                <a:gd name="connsiteX37" fmla="*/ 1507139 w 3331229"/>
                <a:gd name="connsiteY37" fmla="*/ 2802639 h 3869060"/>
                <a:gd name="connsiteX38" fmla="*/ 1478652 w 3331229"/>
                <a:gd name="connsiteY38" fmla="*/ 2831125 h 3869060"/>
                <a:gd name="connsiteX39" fmla="*/ 1450165 w 3331229"/>
                <a:gd name="connsiteY39" fmla="*/ 2802639 h 3869060"/>
                <a:gd name="connsiteX40" fmla="*/ 1478652 w 3331229"/>
                <a:gd name="connsiteY40" fmla="*/ 2774153 h 3869060"/>
                <a:gd name="connsiteX41" fmla="*/ 1894911 w 3331229"/>
                <a:gd name="connsiteY41" fmla="*/ 2757579 h 3869060"/>
                <a:gd name="connsiteX42" fmla="*/ 1853476 w 3331229"/>
                <a:gd name="connsiteY42" fmla="*/ 2799013 h 3869060"/>
                <a:gd name="connsiteX43" fmla="*/ 1894911 w 3331229"/>
                <a:gd name="connsiteY43" fmla="*/ 2840448 h 3869060"/>
                <a:gd name="connsiteX44" fmla="*/ 1936346 w 3331229"/>
                <a:gd name="connsiteY44" fmla="*/ 2799013 h 3869060"/>
                <a:gd name="connsiteX45" fmla="*/ 1894911 w 3331229"/>
                <a:gd name="connsiteY45" fmla="*/ 2757579 h 3869060"/>
                <a:gd name="connsiteX46" fmla="*/ 1478134 w 3331229"/>
                <a:gd name="connsiteY46" fmla="*/ 2757579 h 3869060"/>
                <a:gd name="connsiteX47" fmla="*/ 1436699 w 3331229"/>
                <a:gd name="connsiteY47" fmla="*/ 2799013 h 3869060"/>
                <a:gd name="connsiteX48" fmla="*/ 1478134 w 3331229"/>
                <a:gd name="connsiteY48" fmla="*/ 2840448 h 3869060"/>
                <a:gd name="connsiteX49" fmla="*/ 1519569 w 3331229"/>
                <a:gd name="connsiteY49" fmla="*/ 2799013 h 3869060"/>
                <a:gd name="connsiteX50" fmla="*/ 1478134 w 3331229"/>
                <a:gd name="connsiteY50" fmla="*/ 2757579 h 3869060"/>
                <a:gd name="connsiteX51" fmla="*/ 2428199 w 3331229"/>
                <a:gd name="connsiteY51" fmla="*/ 2540148 h 3869060"/>
                <a:gd name="connsiteX52" fmla="*/ 3330475 w 3331229"/>
                <a:gd name="connsiteY52" fmla="*/ 2967187 h 3869060"/>
                <a:gd name="connsiteX53" fmla="*/ 3115993 w 3331229"/>
                <a:gd name="connsiteY53" fmla="*/ 3662627 h 3869060"/>
                <a:gd name="connsiteX54" fmla="*/ 2869015 w 3331229"/>
                <a:gd name="connsiteY54" fmla="*/ 3363653 h 3869060"/>
                <a:gd name="connsiteX55" fmla="*/ 2986004 w 3331229"/>
                <a:gd name="connsiteY55" fmla="*/ 3805615 h 3869060"/>
                <a:gd name="connsiteX56" fmla="*/ 1967317 w 3331229"/>
                <a:gd name="connsiteY56" fmla="*/ 3868494 h 3869060"/>
                <a:gd name="connsiteX57" fmla="*/ 1905081 w 3331229"/>
                <a:gd name="connsiteY57" fmla="*/ 3536552 h 3869060"/>
                <a:gd name="connsiteX58" fmla="*/ 1970314 w 3331229"/>
                <a:gd name="connsiteY58" fmla="*/ 3502331 h 3869060"/>
                <a:gd name="connsiteX59" fmla="*/ 2098902 w 3331229"/>
                <a:gd name="connsiteY59" fmla="*/ 3378506 h 3869060"/>
                <a:gd name="connsiteX60" fmla="*/ 2113189 w 3331229"/>
                <a:gd name="connsiteY60" fmla="*/ 3245156 h 3869060"/>
                <a:gd name="connsiteX61" fmla="*/ 2060802 w 3331229"/>
                <a:gd name="connsiteY61" fmla="*/ 3130856 h 3869060"/>
                <a:gd name="connsiteX62" fmla="*/ 2051277 w 3331229"/>
                <a:gd name="connsiteY62" fmla="*/ 2987981 h 3869060"/>
                <a:gd name="connsiteX63" fmla="*/ 2103664 w 3331229"/>
                <a:gd name="connsiteY63" fmla="*/ 2926068 h 3869060"/>
                <a:gd name="connsiteX64" fmla="*/ 2275114 w 3331229"/>
                <a:gd name="connsiteY64" fmla="*/ 2807006 h 3869060"/>
                <a:gd name="connsiteX65" fmla="*/ 2408464 w 3331229"/>
                <a:gd name="connsiteY65" fmla="*/ 2635556 h 3869060"/>
                <a:gd name="connsiteX66" fmla="*/ 2428199 w 3331229"/>
                <a:gd name="connsiteY66" fmla="*/ 2540148 h 3869060"/>
                <a:gd name="connsiteX67" fmla="*/ 1821792 w 3331229"/>
                <a:gd name="connsiteY67" fmla="*/ 2496790 h 3869060"/>
                <a:gd name="connsiteX68" fmla="*/ 1721863 w 3331229"/>
                <a:gd name="connsiteY68" fmla="*/ 2750269 h 3869060"/>
                <a:gd name="connsiteX69" fmla="*/ 1660931 w 3331229"/>
                <a:gd name="connsiteY69" fmla="*/ 2774641 h 3869060"/>
                <a:gd name="connsiteX70" fmla="*/ 1734049 w 3331229"/>
                <a:gd name="connsiteY70" fmla="*/ 2767330 h 3869060"/>
                <a:gd name="connsiteX71" fmla="*/ 1821792 w 3331229"/>
                <a:gd name="connsiteY71" fmla="*/ 2496790 h 3869060"/>
                <a:gd name="connsiteX72" fmla="*/ 1035331 w 3331229"/>
                <a:gd name="connsiteY72" fmla="*/ 2449210 h 3869060"/>
                <a:gd name="connsiteX73" fmla="*/ 987425 w 3331229"/>
                <a:gd name="connsiteY73" fmla="*/ 2514927 h 3869060"/>
                <a:gd name="connsiteX74" fmla="*/ 1509102 w 3331229"/>
                <a:gd name="connsiteY74" fmla="*/ 2902193 h 3869060"/>
                <a:gd name="connsiteX75" fmla="*/ 1575625 w 3331229"/>
                <a:gd name="connsiteY75" fmla="*/ 2771023 h 3869060"/>
                <a:gd name="connsiteX76" fmla="*/ 1495098 w 3331229"/>
                <a:gd name="connsiteY76" fmla="*/ 2883454 h 3869060"/>
                <a:gd name="connsiteX77" fmla="*/ 1035331 w 3331229"/>
                <a:gd name="connsiteY77" fmla="*/ 2449210 h 3869060"/>
                <a:gd name="connsiteX78" fmla="*/ 2282794 w 3331229"/>
                <a:gd name="connsiteY78" fmla="*/ 2434797 h 3869060"/>
                <a:gd name="connsiteX79" fmla="*/ 1871350 w 3331229"/>
                <a:gd name="connsiteY79" fmla="*/ 2892444 h 3869060"/>
                <a:gd name="connsiteX80" fmla="*/ 1796607 w 3331229"/>
                <a:gd name="connsiteY80" fmla="*/ 2775454 h 3869060"/>
                <a:gd name="connsiteX81" fmla="*/ 1858351 w 3331229"/>
                <a:gd name="connsiteY81" fmla="*/ 2911942 h 3869060"/>
                <a:gd name="connsiteX82" fmla="*/ 2342560 w 3331229"/>
                <a:gd name="connsiteY82" fmla="*/ 2508976 h 3869060"/>
                <a:gd name="connsiteX83" fmla="*/ 2282794 w 3331229"/>
                <a:gd name="connsiteY83" fmla="*/ 2434797 h 3869060"/>
                <a:gd name="connsiteX84" fmla="*/ 1880855 w 3331229"/>
                <a:gd name="connsiteY84" fmla="*/ 2396344 h 3869060"/>
                <a:gd name="connsiteX85" fmla="*/ 1750879 w 3331229"/>
                <a:gd name="connsiteY85" fmla="*/ 2777224 h 3869060"/>
                <a:gd name="connsiteX86" fmla="*/ 1803263 w 3331229"/>
                <a:gd name="connsiteY86" fmla="*/ 3145093 h 3869060"/>
                <a:gd name="connsiteX87" fmla="*/ 1604470 w 3331229"/>
                <a:gd name="connsiteY87" fmla="*/ 3117148 h 3869060"/>
                <a:gd name="connsiteX88" fmla="*/ 1640912 w 3331229"/>
                <a:gd name="connsiteY88" fmla="*/ 2780880 h 3869060"/>
                <a:gd name="connsiteX89" fmla="*/ 1499951 w 3331229"/>
                <a:gd name="connsiteY89" fmla="*/ 2415404 h 3869060"/>
                <a:gd name="connsiteX90" fmla="*/ 1880855 w 3331229"/>
                <a:gd name="connsiteY90" fmla="*/ 2396344 h 3869060"/>
                <a:gd name="connsiteX91" fmla="*/ 2160575 w 3331229"/>
                <a:gd name="connsiteY91" fmla="*/ 2219751 h 3869060"/>
                <a:gd name="connsiteX92" fmla="*/ 2402834 w 3331229"/>
                <a:gd name="connsiteY92" fmla="*/ 2525763 h 3869060"/>
                <a:gd name="connsiteX93" fmla="*/ 2398939 w 3331229"/>
                <a:gd name="connsiteY93" fmla="*/ 2535543 h 3869060"/>
                <a:gd name="connsiteX94" fmla="*/ 2365602 w 3331229"/>
                <a:gd name="connsiteY94" fmla="*/ 2640318 h 3869060"/>
                <a:gd name="connsiteX95" fmla="*/ 2237014 w 3331229"/>
                <a:gd name="connsiteY95" fmla="*/ 2787956 h 3869060"/>
                <a:gd name="connsiteX96" fmla="*/ 2065564 w 3331229"/>
                <a:gd name="connsiteY96" fmla="*/ 2940356 h 3869060"/>
                <a:gd name="connsiteX97" fmla="*/ 2032227 w 3331229"/>
                <a:gd name="connsiteY97" fmla="*/ 3097518 h 3869060"/>
                <a:gd name="connsiteX98" fmla="*/ 2065564 w 3331229"/>
                <a:gd name="connsiteY98" fmla="*/ 3307068 h 3869060"/>
                <a:gd name="connsiteX99" fmla="*/ 1898877 w 3331229"/>
                <a:gd name="connsiteY99" fmla="*/ 3483281 h 3869060"/>
                <a:gd name="connsiteX100" fmla="*/ 1895430 w 3331229"/>
                <a:gd name="connsiteY100" fmla="*/ 3485077 h 3869060"/>
                <a:gd name="connsiteX101" fmla="*/ 1873960 w 3331229"/>
                <a:gd name="connsiteY101" fmla="*/ 3370564 h 3869060"/>
                <a:gd name="connsiteX102" fmla="*/ 1901259 w 3331229"/>
                <a:gd name="connsiteY102" fmla="*/ 3349931 h 3869060"/>
                <a:gd name="connsiteX103" fmla="*/ 1833269 w 3331229"/>
                <a:gd name="connsiteY103" fmla="*/ 3153532 h 3869060"/>
                <a:gd name="connsiteX104" fmla="*/ 1760860 w 3331229"/>
                <a:gd name="connsiteY104" fmla="*/ 2767328 h 3869060"/>
                <a:gd name="connsiteX105" fmla="*/ 1921924 w 3331229"/>
                <a:gd name="connsiteY105" fmla="*/ 2378228 h 3869060"/>
                <a:gd name="connsiteX106" fmla="*/ 2160575 w 3331229"/>
                <a:gd name="connsiteY106" fmla="*/ 2219751 h 3869060"/>
                <a:gd name="connsiteX107" fmla="*/ 1133664 w 3331229"/>
                <a:gd name="connsiteY107" fmla="*/ 2187254 h 3869060"/>
                <a:gd name="connsiteX108" fmla="*/ 1441077 w 3331229"/>
                <a:gd name="connsiteY108" fmla="*/ 2391954 h 3869060"/>
                <a:gd name="connsiteX109" fmla="*/ 1618521 w 3331229"/>
                <a:gd name="connsiteY109" fmla="*/ 2771228 h 3869060"/>
                <a:gd name="connsiteX110" fmla="*/ 1573489 w 3331229"/>
                <a:gd name="connsiteY110" fmla="*/ 3113795 h 3869060"/>
                <a:gd name="connsiteX111" fmla="*/ 1315471 w 3331229"/>
                <a:gd name="connsiteY111" fmla="*/ 3057037 h 3869060"/>
                <a:gd name="connsiteX112" fmla="*/ 943996 w 3331229"/>
                <a:gd name="connsiteY112" fmla="*/ 2530781 h 3869060"/>
                <a:gd name="connsiteX113" fmla="*/ 941615 w 3331229"/>
                <a:gd name="connsiteY113" fmla="*/ 2561737 h 3869060"/>
                <a:gd name="connsiteX114" fmla="*/ 1303565 w 3331229"/>
                <a:gd name="connsiteY114" fmla="*/ 3099899 h 3869060"/>
                <a:gd name="connsiteX115" fmla="*/ 1569168 w 3331229"/>
                <a:gd name="connsiteY115" fmla="*/ 3146659 h 3869060"/>
                <a:gd name="connsiteX116" fmla="*/ 1512433 w 3331229"/>
                <a:gd name="connsiteY116" fmla="*/ 3578253 h 3869060"/>
                <a:gd name="connsiteX117" fmla="*/ 1444059 w 3331229"/>
                <a:gd name="connsiteY117" fmla="*/ 3604724 h 3869060"/>
                <a:gd name="connsiteX118" fmla="*/ 1412735 w 3331229"/>
                <a:gd name="connsiteY118" fmla="*/ 3668609 h 3869060"/>
                <a:gd name="connsiteX119" fmla="*/ 1208314 w 3331229"/>
                <a:gd name="connsiteY119" fmla="*/ 3583293 h 3869060"/>
                <a:gd name="connsiteX120" fmla="*/ 534275 w 3331229"/>
                <a:gd name="connsiteY120" fmla="*/ 3797898 h 3869060"/>
                <a:gd name="connsiteX121" fmla="*/ 639706 w 3331229"/>
                <a:gd name="connsiteY121" fmla="*/ 3344155 h 3869060"/>
                <a:gd name="connsiteX122" fmla="*/ 347231 w 3331229"/>
                <a:gd name="connsiteY122" fmla="*/ 3831613 h 3869060"/>
                <a:gd name="connsiteX123" fmla="*/ 15759 w 3331229"/>
                <a:gd name="connsiteY123" fmla="*/ 2947689 h 3869060"/>
                <a:gd name="connsiteX124" fmla="*/ 932181 w 3331229"/>
                <a:gd name="connsiteY124" fmla="*/ 2525225 h 3869060"/>
                <a:gd name="connsiteX125" fmla="*/ 1133664 w 3331229"/>
                <a:gd name="connsiteY125" fmla="*/ 2187254 h 3869060"/>
                <a:gd name="connsiteX126" fmla="*/ 1577147 w 3331229"/>
                <a:gd name="connsiteY126" fmla="*/ 22 h 3869060"/>
                <a:gd name="connsiteX127" fmla="*/ 1751109 w 3331229"/>
                <a:gd name="connsiteY127" fmla="*/ 27813 h 3869060"/>
                <a:gd name="connsiteX128" fmla="*/ 1790105 w 3331229"/>
                <a:gd name="connsiteY128" fmla="*/ 105806 h 3869060"/>
                <a:gd name="connsiteX129" fmla="*/ 1911969 w 3331229"/>
                <a:gd name="connsiteY129" fmla="*/ 71683 h 3869060"/>
                <a:gd name="connsiteX130" fmla="*/ 2540790 w 3331229"/>
                <a:gd name="connsiteY130" fmla="*/ 768749 h 3869060"/>
                <a:gd name="connsiteX131" fmla="*/ 2404302 w 3331229"/>
                <a:gd name="connsiteY131" fmla="*/ 1153840 h 3869060"/>
                <a:gd name="connsiteX132" fmla="*/ 2501794 w 3331229"/>
                <a:gd name="connsiteY132" fmla="*/ 1183088 h 3869060"/>
                <a:gd name="connsiteX133" fmla="*/ 2399428 w 3331229"/>
                <a:gd name="connsiteY133" fmla="*/ 1607177 h 3869060"/>
                <a:gd name="connsiteX134" fmla="*/ 2321435 w 3331229"/>
                <a:gd name="connsiteY134" fmla="*/ 1641299 h 3869060"/>
                <a:gd name="connsiteX135" fmla="*/ 1760857 w 3331229"/>
                <a:gd name="connsiteY135" fmla="*/ 2323740 h 3869060"/>
                <a:gd name="connsiteX136" fmla="*/ 1556125 w 3331229"/>
                <a:gd name="connsiteY136" fmla="*/ 2309117 h 3869060"/>
                <a:gd name="connsiteX137" fmla="*/ 951677 w 3331229"/>
                <a:gd name="connsiteY137" fmla="*/ 1621800 h 3869060"/>
                <a:gd name="connsiteX138" fmla="*/ 771318 w 3331229"/>
                <a:gd name="connsiteY138" fmla="*/ 1202586 h 3869060"/>
                <a:gd name="connsiteX139" fmla="*/ 844436 w 3331229"/>
                <a:gd name="connsiteY139" fmla="*/ 1148966 h 3869060"/>
                <a:gd name="connsiteX140" fmla="*/ 717697 w 3331229"/>
                <a:gd name="connsiteY140" fmla="*/ 744376 h 3869060"/>
                <a:gd name="connsiteX141" fmla="*/ 1577147 w 3331229"/>
                <a:gd name="connsiteY141" fmla="*/ 22 h 3869060"/>
                <a:gd name="connsiteX0" fmla="*/ 2716278 w 3331229"/>
                <a:gd name="connsiteY0" fmla="*/ 3664253 h 3869060"/>
                <a:gd name="connsiteX1" fmla="*/ 2155701 w 3331229"/>
                <a:gd name="connsiteY1" fmla="*/ 3678876 h 3869060"/>
                <a:gd name="connsiteX2" fmla="*/ 2716278 w 3331229"/>
                <a:gd name="connsiteY2" fmla="*/ 3664253 h 3869060"/>
                <a:gd name="connsiteX3" fmla="*/ 1508057 w 3331229"/>
                <a:gd name="connsiteY3" fmla="*/ 3611535 h 3869060"/>
                <a:gd name="connsiteX4" fmla="*/ 1495987 w 3331229"/>
                <a:gd name="connsiteY4" fmla="*/ 3703355 h 3869060"/>
                <a:gd name="connsiteX5" fmla="*/ 1440068 w 3331229"/>
                <a:gd name="connsiteY5" fmla="*/ 3680017 h 3869060"/>
                <a:gd name="connsiteX6" fmla="*/ 1463109 w 3331229"/>
                <a:gd name="connsiteY6" fmla="*/ 3619012 h 3869060"/>
                <a:gd name="connsiteX7" fmla="*/ 1508057 w 3331229"/>
                <a:gd name="connsiteY7" fmla="*/ 3611535 h 3869060"/>
                <a:gd name="connsiteX8" fmla="*/ 1861030 w 3331229"/>
                <a:gd name="connsiteY8" fmla="*/ 3550757 h 3869060"/>
                <a:gd name="connsiteX9" fmla="*/ 1906356 w 3331229"/>
                <a:gd name="connsiteY9" fmla="*/ 3869060 h 3869060"/>
                <a:gd name="connsiteX10" fmla="*/ 1892778 w 3331229"/>
                <a:gd name="connsiteY10" fmla="*/ 3868958 h 3869060"/>
                <a:gd name="connsiteX11" fmla="*/ 1538997 w 3331229"/>
                <a:gd name="connsiteY11" fmla="*/ 3721305 h 3869060"/>
                <a:gd name="connsiteX12" fmla="*/ 1551846 w 3331229"/>
                <a:gd name="connsiteY12" fmla="*/ 3602744 h 3869060"/>
                <a:gd name="connsiteX13" fmla="*/ 1644566 w 3331229"/>
                <a:gd name="connsiteY13" fmla="*/ 3574740 h 3869060"/>
                <a:gd name="connsiteX14" fmla="*/ 1813152 w 3331229"/>
                <a:gd name="connsiteY14" fmla="*/ 3564243 h 3869060"/>
                <a:gd name="connsiteX15" fmla="*/ 1861030 w 3331229"/>
                <a:gd name="connsiteY15" fmla="*/ 3550757 h 3869060"/>
                <a:gd name="connsiteX16" fmla="*/ 1840046 w 3331229"/>
                <a:gd name="connsiteY16" fmla="*/ 3403400 h 3869060"/>
                <a:gd name="connsiteX17" fmla="*/ 1854699 w 3331229"/>
                <a:gd name="connsiteY17" fmla="*/ 3506298 h 3869060"/>
                <a:gd name="connsiteX18" fmla="*/ 1703614 w 3331229"/>
                <a:gd name="connsiteY18" fmla="*/ 3549956 h 3869060"/>
                <a:gd name="connsiteX19" fmla="*/ 1693964 w 3331229"/>
                <a:gd name="connsiteY19" fmla="*/ 3552204 h 3869060"/>
                <a:gd name="connsiteX20" fmla="*/ 1840046 w 3331229"/>
                <a:gd name="connsiteY20" fmla="*/ 3403400 h 3869060"/>
                <a:gd name="connsiteX21" fmla="*/ 1838628 w 3331229"/>
                <a:gd name="connsiteY21" fmla="*/ 3182112 h 3869060"/>
                <a:gd name="connsiteX22" fmla="*/ 1867663 w 3331229"/>
                <a:gd name="connsiteY22" fmla="*/ 3336975 h 3869060"/>
                <a:gd name="connsiteX23" fmla="*/ 1838628 w 3331229"/>
                <a:gd name="connsiteY23" fmla="*/ 3182112 h 3869060"/>
                <a:gd name="connsiteX24" fmla="*/ 1601004 w 3331229"/>
                <a:gd name="connsiteY24" fmla="*/ 3149134 h 3869060"/>
                <a:gd name="connsiteX25" fmla="*/ 1807421 w 3331229"/>
                <a:gd name="connsiteY25" fmla="*/ 3174289 h 3869060"/>
                <a:gd name="connsiteX26" fmla="*/ 1839495 w 3331229"/>
                <a:gd name="connsiteY26" fmla="*/ 3399531 h 3869060"/>
                <a:gd name="connsiteX27" fmla="*/ 1765527 w 3331229"/>
                <a:gd name="connsiteY27" fmla="*/ 3468993 h 3869060"/>
                <a:gd name="connsiteX28" fmla="*/ 1556344 w 3331229"/>
                <a:gd name="connsiteY28" fmla="*/ 3561237 h 3869060"/>
                <a:gd name="connsiteX29" fmla="*/ 1601004 w 3331229"/>
                <a:gd name="connsiteY29" fmla="*/ 3149134 h 3869060"/>
                <a:gd name="connsiteX30" fmla="*/ 1895429 w 3331229"/>
                <a:gd name="connsiteY30" fmla="*/ 2774153 h 3869060"/>
                <a:gd name="connsiteX31" fmla="*/ 1923916 w 3331229"/>
                <a:gd name="connsiteY31" fmla="*/ 2802639 h 3869060"/>
                <a:gd name="connsiteX32" fmla="*/ 1895429 w 3331229"/>
                <a:gd name="connsiteY32" fmla="*/ 2831125 h 3869060"/>
                <a:gd name="connsiteX33" fmla="*/ 1866942 w 3331229"/>
                <a:gd name="connsiteY33" fmla="*/ 2802639 h 3869060"/>
                <a:gd name="connsiteX34" fmla="*/ 1895429 w 3331229"/>
                <a:gd name="connsiteY34" fmla="*/ 2774153 h 3869060"/>
                <a:gd name="connsiteX35" fmla="*/ 1478652 w 3331229"/>
                <a:gd name="connsiteY35" fmla="*/ 2774153 h 3869060"/>
                <a:gd name="connsiteX36" fmla="*/ 1507139 w 3331229"/>
                <a:gd name="connsiteY36" fmla="*/ 2802639 h 3869060"/>
                <a:gd name="connsiteX37" fmla="*/ 1478652 w 3331229"/>
                <a:gd name="connsiteY37" fmla="*/ 2831125 h 3869060"/>
                <a:gd name="connsiteX38" fmla="*/ 1450165 w 3331229"/>
                <a:gd name="connsiteY38" fmla="*/ 2802639 h 3869060"/>
                <a:gd name="connsiteX39" fmla="*/ 1478652 w 3331229"/>
                <a:gd name="connsiteY39" fmla="*/ 2774153 h 3869060"/>
                <a:gd name="connsiteX40" fmla="*/ 1894911 w 3331229"/>
                <a:gd name="connsiteY40" fmla="*/ 2757579 h 3869060"/>
                <a:gd name="connsiteX41" fmla="*/ 1853476 w 3331229"/>
                <a:gd name="connsiteY41" fmla="*/ 2799013 h 3869060"/>
                <a:gd name="connsiteX42" fmla="*/ 1894911 w 3331229"/>
                <a:gd name="connsiteY42" fmla="*/ 2840448 h 3869060"/>
                <a:gd name="connsiteX43" fmla="*/ 1936346 w 3331229"/>
                <a:gd name="connsiteY43" fmla="*/ 2799013 h 3869060"/>
                <a:gd name="connsiteX44" fmla="*/ 1894911 w 3331229"/>
                <a:gd name="connsiteY44" fmla="*/ 2757579 h 3869060"/>
                <a:gd name="connsiteX45" fmla="*/ 1478134 w 3331229"/>
                <a:gd name="connsiteY45" fmla="*/ 2757579 h 3869060"/>
                <a:gd name="connsiteX46" fmla="*/ 1436699 w 3331229"/>
                <a:gd name="connsiteY46" fmla="*/ 2799013 h 3869060"/>
                <a:gd name="connsiteX47" fmla="*/ 1478134 w 3331229"/>
                <a:gd name="connsiteY47" fmla="*/ 2840448 h 3869060"/>
                <a:gd name="connsiteX48" fmla="*/ 1519569 w 3331229"/>
                <a:gd name="connsiteY48" fmla="*/ 2799013 h 3869060"/>
                <a:gd name="connsiteX49" fmla="*/ 1478134 w 3331229"/>
                <a:gd name="connsiteY49" fmla="*/ 2757579 h 3869060"/>
                <a:gd name="connsiteX50" fmla="*/ 2428199 w 3331229"/>
                <a:gd name="connsiteY50" fmla="*/ 2540148 h 3869060"/>
                <a:gd name="connsiteX51" fmla="*/ 3330475 w 3331229"/>
                <a:gd name="connsiteY51" fmla="*/ 2967187 h 3869060"/>
                <a:gd name="connsiteX52" fmla="*/ 3115993 w 3331229"/>
                <a:gd name="connsiteY52" fmla="*/ 3662627 h 3869060"/>
                <a:gd name="connsiteX53" fmla="*/ 2869015 w 3331229"/>
                <a:gd name="connsiteY53" fmla="*/ 3363653 h 3869060"/>
                <a:gd name="connsiteX54" fmla="*/ 2986004 w 3331229"/>
                <a:gd name="connsiteY54" fmla="*/ 3805615 h 3869060"/>
                <a:gd name="connsiteX55" fmla="*/ 1967317 w 3331229"/>
                <a:gd name="connsiteY55" fmla="*/ 3868494 h 3869060"/>
                <a:gd name="connsiteX56" fmla="*/ 1905081 w 3331229"/>
                <a:gd name="connsiteY56" fmla="*/ 3536552 h 3869060"/>
                <a:gd name="connsiteX57" fmla="*/ 1970314 w 3331229"/>
                <a:gd name="connsiteY57" fmla="*/ 3502331 h 3869060"/>
                <a:gd name="connsiteX58" fmla="*/ 2098902 w 3331229"/>
                <a:gd name="connsiteY58" fmla="*/ 3378506 h 3869060"/>
                <a:gd name="connsiteX59" fmla="*/ 2113189 w 3331229"/>
                <a:gd name="connsiteY59" fmla="*/ 3245156 h 3869060"/>
                <a:gd name="connsiteX60" fmla="*/ 2060802 w 3331229"/>
                <a:gd name="connsiteY60" fmla="*/ 3130856 h 3869060"/>
                <a:gd name="connsiteX61" fmla="*/ 2051277 w 3331229"/>
                <a:gd name="connsiteY61" fmla="*/ 2987981 h 3869060"/>
                <a:gd name="connsiteX62" fmla="*/ 2103664 w 3331229"/>
                <a:gd name="connsiteY62" fmla="*/ 2926068 h 3869060"/>
                <a:gd name="connsiteX63" fmla="*/ 2275114 w 3331229"/>
                <a:gd name="connsiteY63" fmla="*/ 2807006 h 3869060"/>
                <a:gd name="connsiteX64" fmla="*/ 2408464 w 3331229"/>
                <a:gd name="connsiteY64" fmla="*/ 2635556 h 3869060"/>
                <a:gd name="connsiteX65" fmla="*/ 2428199 w 3331229"/>
                <a:gd name="connsiteY65" fmla="*/ 2540148 h 3869060"/>
                <a:gd name="connsiteX66" fmla="*/ 1821792 w 3331229"/>
                <a:gd name="connsiteY66" fmla="*/ 2496790 h 3869060"/>
                <a:gd name="connsiteX67" fmla="*/ 1721863 w 3331229"/>
                <a:gd name="connsiteY67" fmla="*/ 2750269 h 3869060"/>
                <a:gd name="connsiteX68" fmla="*/ 1660931 w 3331229"/>
                <a:gd name="connsiteY68" fmla="*/ 2774641 h 3869060"/>
                <a:gd name="connsiteX69" fmla="*/ 1734049 w 3331229"/>
                <a:gd name="connsiteY69" fmla="*/ 2767330 h 3869060"/>
                <a:gd name="connsiteX70" fmla="*/ 1821792 w 3331229"/>
                <a:gd name="connsiteY70" fmla="*/ 2496790 h 3869060"/>
                <a:gd name="connsiteX71" fmla="*/ 1035331 w 3331229"/>
                <a:gd name="connsiteY71" fmla="*/ 2449210 h 3869060"/>
                <a:gd name="connsiteX72" fmla="*/ 987425 w 3331229"/>
                <a:gd name="connsiteY72" fmla="*/ 2514927 h 3869060"/>
                <a:gd name="connsiteX73" fmla="*/ 1509102 w 3331229"/>
                <a:gd name="connsiteY73" fmla="*/ 2902193 h 3869060"/>
                <a:gd name="connsiteX74" fmla="*/ 1575625 w 3331229"/>
                <a:gd name="connsiteY74" fmla="*/ 2771023 h 3869060"/>
                <a:gd name="connsiteX75" fmla="*/ 1495098 w 3331229"/>
                <a:gd name="connsiteY75" fmla="*/ 2883454 h 3869060"/>
                <a:gd name="connsiteX76" fmla="*/ 1035331 w 3331229"/>
                <a:gd name="connsiteY76" fmla="*/ 2449210 h 3869060"/>
                <a:gd name="connsiteX77" fmla="*/ 2282794 w 3331229"/>
                <a:gd name="connsiteY77" fmla="*/ 2434797 h 3869060"/>
                <a:gd name="connsiteX78" fmla="*/ 1871350 w 3331229"/>
                <a:gd name="connsiteY78" fmla="*/ 2892444 h 3869060"/>
                <a:gd name="connsiteX79" fmla="*/ 1796607 w 3331229"/>
                <a:gd name="connsiteY79" fmla="*/ 2775454 h 3869060"/>
                <a:gd name="connsiteX80" fmla="*/ 1858351 w 3331229"/>
                <a:gd name="connsiteY80" fmla="*/ 2911942 h 3869060"/>
                <a:gd name="connsiteX81" fmla="*/ 2342560 w 3331229"/>
                <a:gd name="connsiteY81" fmla="*/ 2508976 h 3869060"/>
                <a:gd name="connsiteX82" fmla="*/ 2282794 w 3331229"/>
                <a:gd name="connsiteY82" fmla="*/ 2434797 h 3869060"/>
                <a:gd name="connsiteX83" fmla="*/ 1880855 w 3331229"/>
                <a:gd name="connsiteY83" fmla="*/ 2396344 h 3869060"/>
                <a:gd name="connsiteX84" fmla="*/ 1750879 w 3331229"/>
                <a:gd name="connsiteY84" fmla="*/ 2777224 h 3869060"/>
                <a:gd name="connsiteX85" fmla="*/ 1803263 w 3331229"/>
                <a:gd name="connsiteY85" fmla="*/ 3145093 h 3869060"/>
                <a:gd name="connsiteX86" fmla="*/ 1604470 w 3331229"/>
                <a:gd name="connsiteY86" fmla="*/ 3117148 h 3869060"/>
                <a:gd name="connsiteX87" fmla="*/ 1640912 w 3331229"/>
                <a:gd name="connsiteY87" fmla="*/ 2780880 h 3869060"/>
                <a:gd name="connsiteX88" fmla="*/ 1499951 w 3331229"/>
                <a:gd name="connsiteY88" fmla="*/ 2415404 h 3869060"/>
                <a:gd name="connsiteX89" fmla="*/ 1880855 w 3331229"/>
                <a:gd name="connsiteY89" fmla="*/ 2396344 h 3869060"/>
                <a:gd name="connsiteX90" fmla="*/ 2160575 w 3331229"/>
                <a:gd name="connsiteY90" fmla="*/ 2219751 h 3869060"/>
                <a:gd name="connsiteX91" fmla="*/ 2402834 w 3331229"/>
                <a:gd name="connsiteY91" fmla="*/ 2525763 h 3869060"/>
                <a:gd name="connsiteX92" fmla="*/ 2398939 w 3331229"/>
                <a:gd name="connsiteY92" fmla="*/ 2535543 h 3869060"/>
                <a:gd name="connsiteX93" fmla="*/ 2365602 w 3331229"/>
                <a:gd name="connsiteY93" fmla="*/ 2640318 h 3869060"/>
                <a:gd name="connsiteX94" fmla="*/ 2237014 w 3331229"/>
                <a:gd name="connsiteY94" fmla="*/ 2787956 h 3869060"/>
                <a:gd name="connsiteX95" fmla="*/ 2065564 w 3331229"/>
                <a:gd name="connsiteY95" fmla="*/ 2940356 h 3869060"/>
                <a:gd name="connsiteX96" fmla="*/ 2032227 w 3331229"/>
                <a:gd name="connsiteY96" fmla="*/ 3097518 h 3869060"/>
                <a:gd name="connsiteX97" fmla="*/ 2065564 w 3331229"/>
                <a:gd name="connsiteY97" fmla="*/ 3307068 h 3869060"/>
                <a:gd name="connsiteX98" fmla="*/ 1898877 w 3331229"/>
                <a:gd name="connsiteY98" fmla="*/ 3483281 h 3869060"/>
                <a:gd name="connsiteX99" fmla="*/ 1895430 w 3331229"/>
                <a:gd name="connsiteY99" fmla="*/ 3485077 h 3869060"/>
                <a:gd name="connsiteX100" fmla="*/ 1873960 w 3331229"/>
                <a:gd name="connsiteY100" fmla="*/ 3370564 h 3869060"/>
                <a:gd name="connsiteX101" fmla="*/ 1901259 w 3331229"/>
                <a:gd name="connsiteY101" fmla="*/ 3349931 h 3869060"/>
                <a:gd name="connsiteX102" fmla="*/ 1833269 w 3331229"/>
                <a:gd name="connsiteY102" fmla="*/ 3153532 h 3869060"/>
                <a:gd name="connsiteX103" fmla="*/ 1760860 w 3331229"/>
                <a:gd name="connsiteY103" fmla="*/ 2767328 h 3869060"/>
                <a:gd name="connsiteX104" fmla="*/ 1921924 w 3331229"/>
                <a:gd name="connsiteY104" fmla="*/ 2378228 h 3869060"/>
                <a:gd name="connsiteX105" fmla="*/ 2160575 w 3331229"/>
                <a:gd name="connsiteY105" fmla="*/ 2219751 h 3869060"/>
                <a:gd name="connsiteX106" fmla="*/ 1133664 w 3331229"/>
                <a:gd name="connsiteY106" fmla="*/ 2187254 h 3869060"/>
                <a:gd name="connsiteX107" fmla="*/ 1441077 w 3331229"/>
                <a:gd name="connsiteY107" fmla="*/ 2391954 h 3869060"/>
                <a:gd name="connsiteX108" fmla="*/ 1618521 w 3331229"/>
                <a:gd name="connsiteY108" fmla="*/ 2771228 h 3869060"/>
                <a:gd name="connsiteX109" fmla="*/ 1573489 w 3331229"/>
                <a:gd name="connsiteY109" fmla="*/ 3113795 h 3869060"/>
                <a:gd name="connsiteX110" fmla="*/ 1315471 w 3331229"/>
                <a:gd name="connsiteY110" fmla="*/ 3057037 h 3869060"/>
                <a:gd name="connsiteX111" fmla="*/ 943996 w 3331229"/>
                <a:gd name="connsiteY111" fmla="*/ 2530781 h 3869060"/>
                <a:gd name="connsiteX112" fmla="*/ 941615 w 3331229"/>
                <a:gd name="connsiteY112" fmla="*/ 2561737 h 3869060"/>
                <a:gd name="connsiteX113" fmla="*/ 1303565 w 3331229"/>
                <a:gd name="connsiteY113" fmla="*/ 3099899 h 3869060"/>
                <a:gd name="connsiteX114" fmla="*/ 1569168 w 3331229"/>
                <a:gd name="connsiteY114" fmla="*/ 3146659 h 3869060"/>
                <a:gd name="connsiteX115" fmla="*/ 1512433 w 3331229"/>
                <a:gd name="connsiteY115" fmla="*/ 3578253 h 3869060"/>
                <a:gd name="connsiteX116" fmla="*/ 1444059 w 3331229"/>
                <a:gd name="connsiteY116" fmla="*/ 3604724 h 3869060"/>
                <a:gd name="connsiteX117" fmla="*/ 1412735 w 3331229"/>
                <a:gd name="connsiteY117" fmla="*/ 3668609 h 3869060"/>
                <a:gd name="connsiteX118" fmla="*/ 1208314 w 3331229"/>
                <a:gd name="connsiteY118" fmla="*/ 3583293 h 3869060"/>
                <a:gd name="connsiteX119" fmla="*/ 534275 w 3331229"/>
                <a:gd name="connsiteY119" fmla="*/ 3797898 h 3869060"/>
                <a:gd name="connsiteX120" fmla="*/ 639706 w 3331229"/>
                <a:gd name="connsiteY120" fmla="*/ 3344155 h 3869060"/>
                <a:gd name="connsiteX121" fmla="*/ 347231 w 3331229"/>
                <a:gd name="connsiteY121" fmla="*/ 3831613 h 3869060"/>
                <a:gd name="connsiteX122" fmla="*/ 15759 w 3331229"/>
                <a:gd name="connsiteY122" fmla="*/ 2947689 h 3869060"/>
                <a:gd name="connsiteX123" fmla="*/ 932181 w 3331229"/>
                <a:gd name="connsiteY123" fmla="*/ 2525225 h 3869060"/>
                <a:gd name="connsiteX124" fmla="*/ 1133664 w 3331229"/>
                <a:gd name="connsiteY124" fmla="*/ 2187254 h 3869060"/>
                <a:gd name="connsiteX125" fmla="*/ 1577147 w 3331229"/>
                <a:gd name="connsiteY125" fmla="*/ 22 h 3869060"/>
                <a:gd name="connsiteX126" fmla="*/ 1751109 w 3331229"/>
                <a:gd name="connsiteY126" fmla="*/ 27813 h 3869060"/>
                <a:gd name="connsiteX127" fmla="*/ 1790105 w 3331229"/>
                <a:gd name="connsiteY127" fmla="*/ 105806 h 3869060"/>
                <a:gd name="connsiteX128" fmla="*/ 1911969 w 3331229"/>
                <a:gd name="connsiteY128" fmla="*/ 71683 h 3869060"/>
                <a:gd name="connsiteX129" fmla="*/ 2540790 w 3331229"/>
                <a:gd name="connsiteY129" fmla="*/ 768749 h 3869060"/>
                <a:gd name="connsiteX130" fmla="*/ 2404302 w 3331229"/>
                <a:gd name="connsiteY130" fmla="*/ 1153840 h 3869060"/>
                <a:gd name="connsiteX131" fmla="*/ 2501794 w 3331229"/>
                <a:gd name="connsiteY131" fmla="*/ 1183088 h 3869060"/>
                <a:gd name="connsiteX132" fmla="*/ 2399428 w 3331229"/>
                <a:gd name="connsiteY132" fmla="*/ 1607177 h 3869060"/>
                <a:gd name="connsiteX133" fmla="*/ 2321435 w 3331229"/>
                <a:gd name="connsiteY133" fmla="*/ 1641299 h 3869060"/>
                <a:gd name="connsiteX134" fmla="*/ 1760857 w 3331229"/>
                <a:gd name="connsiteY134" fmla="*/ 2323740 h 3869060"/>
                <a:gd name="connsiteX135" fmla="*/ 1556125 w 3331229"/>
                <a:gd name="connsiteY135" fmla="*/ 2309117 h 3869060"/>
                <a:gd name="connsiteX136" fmla="*/ 951677 w 3331229"/>
                <a:gd name="connsiteY136" fmla="*/ 1621800 h 3869060"/>
                <a:gd name="connsiteX137" fmla="*/ 771318 w 3331229"/>
                <a:gd name="connsiteY137" fmla="*/ 1202586 h 3869060"/>
                <a:gd name="connsiteX138" fmla="*/ 844436 w 3331229"/>
                <a:gd name="connsiteY138" fmla="*/ 1148966 h 3869060"/>
                <a:gd name="connsiteX139" fmla="*/ 717697 w 3331229"/>
                <a:gd name="connsiteY139" fmla="*/ 744376 h 3869060"/>
                <a:gd name="connsiteX140" fmla="*/ 1577147 w 3331229"/>
                <a:gd name="connsiteY140" fmla="*/ 22 h 3869060"/>
                <a:gd name="connsiteX0" fmla="*/ 1508057 w 3331229"/>
                <a:gd name="connsiteY0" fmla="*/ 3611535 h 3869060"/>
                <a:gd name="connsiteX1" fmla="*/ 1495987 w 3331229"/>
                <a:gd name="connsiteY1" fmla="*/ 3703355 h 3869060"/>
                <a:gd name="connsiteX2" fmla="*/ 1440068 w 3331229"/>
                <a:gd name="connsiteY2" fmla="*/ 3680017 h 3869060"/>
                <a:gd name="connsiteX3" fmla="*/ 1463109 w 3331229"/>
                <a:gd name="connsiteY3" fmla="*/ 3619012 h 3869060"/>
                <a:gd name="connsiteX4" fmla="*/ 1508057 w 3331229"/>
                <a:gd name="connsiteY4" fmla="*/ 3611535 h 3869060"/>
                <a:gd name="connsiteX5" fmla="*/ 1861030 w 3331229"/>
                <a:gd name="connsiteY5" fmla="*/ 3550757 h 3869060"/>
                <a:gd name="connsiteX6" fmla="*/ 1906356 w 3331229"/>
                <a:gd name="connsiteY6" fmla="*/ 3869060 h 3869060"/>
                <a:gd name="connsiteX7" fmla="*/ 1892778 w 3331229"/>
                <a:gd name="connsiteY7" fmla="*/ 3868958 h 3869060"/>
                <a:gd name="connsiteX8" fmla="*/ 1538997 w 3331229"/>
                <a:gd name="connsiteY8" fmla="*/ 3721305 h 3869060"/>
                <a:gd name="connsiteX9" fmla="*/ 1551846 w 3331229"/>
                <a:gd name="connsiteY9" fmla="*/ 3602744 h 3869060"/>
                <a:gd name="connsiteX10" fmla="*/ 1644566 w 3331229"/>
                <a:gd name="connsiteY10" fmla="*/ 3574740 h 3869060"/>
                <a:gd name="connsiteX11" fmla="*/ 1813152 w 3331229"/>
                <a:gd name="connsiteY11" fmla="*/ 3564243 h 3869060"/>
                <a:gd name="connsiteX12" fmla="*/ 1861030 w 3331229"/>
                <a:gd name="connsiteY12" fmla="*/ 3550757 h 3869060"/>
                <a:gd name="connsiteX13" fmla="*/ 1840046 w 3331229"/>
                <a:gd name="connsiteY13" fmla="*/ 3403400 h 3869060"/>
                <a:gd name="connsiteX14" fmla="*/ 1854699 w 3331229"/>
                <a:gd name="connsiteY14" fmla="*/ 3506298 h 3869060"/>
                <a:gd name="connsiteX15" fmla="*/ 1703614 w 3331229"/>
                <a:gd name="connsiteY15" fmla="*/ 3549956 h 3869060"/>
                <a:gd name="connsiteX16" fmla="*/ 1693964 w 3331229"/>
                <a:gd name="connsiteY16" fmla="*/ 3552204 h 3869060"/>
                <a:gd name="connsiteX17" fmla="*/ 1840046 w 3331229"/>
                <a:gd name="connsiteY17" fmla="*/ 3403400 h 3869060"/>
                <a:gd name="connsiteX18" fmla="*/ 1838628 w 3331229"/>
                <a:gd name="connsiteY18" fmla="*/ 3182112 h 3869060"/>
                <a:gd name="connsiteX19" fmla="*/ 1867663 w 3331229"/>
                <a:gd name="connsiteY19" fmla="*/ 3336975 h 3869060"/>
                <a:gd name="connsiteX20" fmla="*/ 1838628 w 3331229"/>
                <a:gd name="connsiteY20" fmla="*/ 3182112 h 3869060"/>
                <a:gd name="connsiteX21" fmla="*/ 1601004 w 3331229"/>
                <a:gd name="connsiteY21" fmla="*/ 3149134 h 3869060"/>
                <a:gd name="connsiteX22" fmla="*/ 1807421 w 3331229"/>
                <a:gd name="connsiteY22" fmla="*/ 3174289 h 3869060"/>
                <a:gd name="connsiteX23" fmla="*/ 1839495 w 3331229"/>
                <a:gd name="connsiteY23" fmla="*/ 3399531 h 3869060"/>
                <a:gd name="connsiteX24" fmla="*/ 1765527 w 3331229"/>
                <a:gd name="connsiteY24" fmla="*/ 3468993 h 3869060"/>
                <a:gd name="connsiteX25" fmla="*/ 1556344 w 3331229"/>
                <a:gd name="connsiteY25" fmla="*/ 3561237 h 3869060"/>
                <a:gd name="connsiteX26" fmla="*/ 1601004 w 3331229"/>
                <a:gd name="connsiteY26" fmla="*/ 3149134 h 3869060"/>
                <a:gd name="connsiteX27" fmla="*/ 1895429 w 3331229"/>
                <a:gd name="connsiteY27" fmla="*/ 2774153 h 3869060"/>
                <a:gd name="connsiteX28" fmla="*/ 1923916 w 3331229"/>
                <a:gd name="connsiteY28" fmla="*/ 2802639 h 3869060"/>
                <a:gd name="connsiteX29" fmla="*/ 1895429 w 3331229"/>
                <a:gd name="connsiteY29" fmla="*/ 2831125 h 3869060"/>
                <a:gd name="connsiteX30" fmla="*/ 1866942 w 3331229"/>
                <a:gd name="connsiteY30" fmla="*/ 2802639 h 3869060"/>
                <a:gd name="connsiteX31" fmla="*/ 1895429 w 3331229"/>
                <a:gd name="connsiteY31" fmla="*/ 2774153 h 3869060"/>
                <a:gd name="connsiteX32" fmla="*/ 1478652 w 3331229"/>
                <a:gd name="connsiteY32" fmla="*/ 2774153 h 3869060"/>
                <a:gd name="connsiteX33" fmla="*/ 1507139 w 3331229"/>
                <a:gd name="connsiteY33" fmla="*/ 2802639 h 3869060"/>
                <a:gd name="connsiteX34" fmla="*/ 1478652 w 3331229"/>
                <a:gd name="connsiteY34" fmla="*/ 2831125 h 3869060"/>
                <a:gd name="connsiteX35" fmla="*/ 1450165 w 3331229"/>
                <a:gd name="connsiteY35" fmla="*/ 2802639 h 3869060"/>
                <a:gd name="connsiteX36" fmla="*/ 1478652 w 3331229"/>
                <a:gd name="connsiteY36" fmla="*/ 2774153 h 3869060"/>
                <a:gd name="connsiteX37" fmla="*/ 1894911 w 3331229"/>
                <a:gd name="connsiteY37" fmla="*/ 2757579 h 3869060"/>
                <a:gd name="connsiteX38" fmla="*/ 1853476 w 3331229"/>
                <a:gd name="connsiteY38" fmla="*/ 2799013 h 3869060"/>
                <a:gd name="connsiteX39" fmla="*/ 1894911 w 3331229"/>
                <a:gd name="connsiteY39" fmla="*/ 2840448 h 3869060"/>
                <a:gd name="connsiteX40" fmla="*/ 1936346 w 3331229"/>
                <a:gd name="connsiteY40" fmla="*/ 2799013 h 3869060"/>
                <a:gd name="connsiteX41" fmla="*/ 1894911 w 3331229"/>
                <a:gd name="connsiteY41" fmla="*/ 2757579 h 3869060"/>
                <a:gd name="connsiteX42" fmla="*/ 1478134 w 3331229"/>
                <a:gd name="connsiteY42" fmla="*/ 2757579 h 3869060"/>
                <a:gd name="connsiteX43" fmla="*/ 1436699 w 3331229"/>
                <a:gd name="connsiteY43" fmla="*/ 2799013 h 3869060"/>
                <a:gd name="connsiteX44" fmla="*/ 1478134 w 3331229"/>
                <a:gd name="connsiteY44" fmla="*/ 2840448 h 3869060"/>
                <a:gd name="connsiteX45" fmla="*/ 1519569 w 3331229"/>
                <a:gd name="connsiteY45" fmla="*/ 2799013 h 3869060"/>
                <a:gd name="connsiteX46" fmla="*/ 1478134 w 3331229"/>
                <a:gd name="connsiteY46" fmla="*/ 2757579 h 3869060"/>
                <a:gd name="connsiteX47" fmla="*/ 2428199 w 3331229"/>
                <a:gd name="connsiteY47" fmla="*/ 2540148 h 3869060"/>
                <a:gd name="connsiteX48" fmla="*/ 3330475 w 3331229"/>
                <a:gd name="connsiteY48" fmla="*/ 2967187 h 3869060"/>
                <a:gd name="connsiteX49" fmla="*/ 3115993 w 3331229"/>
                <a:gd name="connsiteY49" fmla="*/ 3662627 h 3869060"/>
                <a:gd name="connsiteX50" fmla="*/ 2869015 w 3331229"/>
                <a:gd name="connsiteY50" fmla="*/ 3363653 h 3869060"/>
                <a:gd name="connsiteX51" fmla="*/ 2986004 w 3331229"/>
                <a:gd name="connsiteY51" fmla="*/ 3805615 h 3869060"/>
                <a:gd name="connsiteX52" fmla="*/ 1967317 w 3331229"/>
                <a:gd name="connsiteY52" fmla="*/ 3868494 h 3869060"/>
                <a:gd name="connsiteX53" fmla="*/ 1905081 w 3331229"/>
                <a:gd name="connsiteY53" fmla="*/ 3536552 h 3869060"/>
                <a:gd name="connsiteX54" fmla="*/ 1970314 w 3331229"/>
                <a:gd name="connsiteY54" fmla="*/ 3502331 h 3869060"/>
                <a:gd name="connsiteX55" fmla="*/ 2098902 w 3331229"/>
                <a:gd name="connsiteY55" fmla="*/ 3378506 h 3869060"/>
                <a:gd name="connsiteX56" fmla="*/ 2113189 w 3331229"/>
                <a:gd name="connsiteY56" fmla="*/ 3245156 h 3869060"/>
                <a:gd name="connsiteX57" fmla="*/ 2060802 w 3331229"/>
                <a:gd name="connsiteY57" fmla="*/ 3130856 h 3869060"/>
                <a:gd name="connsiteX58" fmla="*/ 2051277 w 3331229"/>
                <a:gd name="connsiteY58" fmla="*/ 2987981 h 3869060"/>
                <a:gd name="connsiteX59" fmla="*/ 2103664 w 3331229"/>
                <a:gd name="connsiteY59" fmla="*/ 2926068 h 3869060"/>
                <a:gd name="connsiteX60" fmla="*/ 2275114 w 3331229"/>
                <a:gd name="connsiteY60" fmla="*/ 2807006 h 3869060"/>
                <a:gd name="connsiteX61" fmla="*/ 2408464 w 3331229"/>
                <a:gd name="connsiteY61" fmla="*/ 2635556 h 3869060"/>
                <a:gd name="connsiteX62" fmla="*/ 2428199 w 3331229"/>
                <a:gd name="connsiteY62" fmla="*/ 2540148 h 3869060"/>
                <a:gd name="connsiteX63" fmla="*/ 1821792 w 3331229"/>
                <a:gd name="connsiteY63" fmla="*/ 2496790 h 3869060"/>
                <a:gd name="connsiteX64" fmla="*/ 1721863 w 3331229"/>
                <a:gd name="connsiteY64" fmla="*/ 2750269 h 3869060"/>
                <a:gd name="connsiteX65" fmla="*/ 1660931 w 3331229"/>
                <a:gd name="connsiteY65" fmla="*/ 2774641 h 3869060"/>
                <a:gd name="connsiteX66" fmla="*/ 1734049 w 3331229"/>
                <a:gd name="connsiteY66" fmla="*/ 2767330 h 3869060"/>
                <a:gd name="connsiteX67" fmla="*/ 1821792 w 3331229"/>
                <a:gd name="connsiteY67" fmla="*/ 2496790 h 3869060"/>
                <a:gd name="connsiteX68" fmla="*/ 1035331 w 3331229"/>
                <a:gd name="connsiteY68" fmla="*/ 2449210 h 3869060"/>
                <a:gd name="connsiteX69" fmla="*/ 987425 w 3331229"/>
                <a:gd name="connsiteY69" fmla="*/ 2514927 h 3869060"/>
                <a:gd name="connsiteX70" fmla="*/ 1509102 w 3331229"/>
                <a:gd name="connsiteY70" fmla="*/ 2902193 h 3869060"/>
                <a:gd name="connsiteX71" fmla="*/ 1575625 w 3331229"/>
                <a:gd name="connsiteY71" fmla="*/ 2771023 h 3869060"/>
                <a:gd name="connsiteX72" fmla="*/ 1495098 w 3331229"/>
                <a:gd name="connsiteY72" fmla="*/ 2883454 h 3869060"/>
                <a:gd name="connsiteX73" fmla="*/ 1035331 w 3331229"/>
                <a:gd name="connsiteY73" fmla="*/ 2449210 h 3869060"/>
                <a:gd name="connsiteX74" fmla="*/ 2282794 w 3331229"/>
                <a:gd name="connsiteY74" fmla="*/ 2434797 h 3869060"/>
                <a:gd name="connsiteX75" fmla="*/ 1871350 w 3331229"/>
                <a:gd name="connsiteY75" fmla="*/ 2892444 h 3869060"/>
                <a:gd name="connsiteX76" fmla="*/ 1796607 w 3331229"/>
                <a:gd name="connsiteY76" fmla="*/ 2775454 h 3869060"/>
                <a:gd name="connsiteX77" fmla="*/ 1858351 w 3331229"/>
                <a:gd name="connsiteY77" fmla="*/ 2911942 h 3869060"/>
                <a:gd name="connsiteX78" fmla="*/ 2342560 w 3331229"/>
                <a:gd name="connsiteY78" fmla="*/ 2508976 h 3869060"/>
                <a:gd name="connsiteX79" fmla="*/ 2282794 w 3331229"/>
                <a:gd name="connsiteY79" fmla="*/ 2434797 h 3869060"/>
                <a:gd name="connsiteX80" fmla="*/ 1880855 w 3331229"/>
                <a:gd name="connsiteY80" fmla="*/ 2396344 h 3869060"/>
                <a:gd name="connsiteX81" fmla="*/ 1750879 w 3331229"/>
                <a:gd name="connsiteY81" fmla="*/ 2777224 h 3869060"/>
                <a:gd name="connsiteX82" fmla="*/ 1803263 w 3331229"/>
                <a:gd name="connsiteY82" fmla="*/ 3145093 h 3869060"/>
                <a:gd name="connsiteX83" fmla="*/ 1604470 w 3331229"/>
                <a:gd name="connsiteY83" fmla="*/ 3117148 h 3869060"/>
                <a:gd name="connsiteX84" fmla="*/ 1640912 w 3331229"/>
                <a:gd name="connsiteY84" fmla="*/ 2780880 h 3869060"/>
                <a:gd name="connsiteX85" fmla="*/ 1499951 w 3331229"/>
                <a:gd name="connsiteY85" fmla="*/ 2415404 h 3869060"/>
                <a:gd name="connsiteX86" fmla="*/ 1880855 w 3331229"/>
                <a:gd name="connsiteY86" fmla="*/ 2396344 h 3869060"/>
                <a:gd name="connsiteX87" fmla="*/ 2160575 w 3331229"/>
                <a:gd name="connsiteY87" fmla="*/ 2219751 h 3869060"/>
                <a:gd name="connsiteX88" fmla="*/ 2402834 w 3331229"/>
                <a:gd name="connsiteY88" fmla="*/ 2525763 h 3869060"/>
                <a:gd name="connsiteX89" fmla="*/ 2398939 w 3331229"/>
                <a:gd name="connsiteY89" fmla="*/ 2535543 h 3869060"/>
                <a:gd name="connsiteX90" fmla="*/ 2365602 w 3331229"/>
                <a:gd name="connsiteY90" fmla="*/ 2640318 h 3869060"/>
                <a:gd name="connsiteX91" fmla="*/ 2237014 w 3331229"/>
                <a:gd name="connsiteY91" fmla="*/ 2787956 h 3869060"/>
                <a:gd name="connsiteX92" fmla="*/ 2065564 w 3331229"/>
                <a:gd name="connsiteY92" fmla="*/ 2940356 h 3869060"/>
                <a:gd name="connsiteX93" fmla="*/ 2032227 w 3331229"/>
                <a:gd name="connsiteY93" fmla="*/ 3097518 h 3869060"/>
                <a:gd name="connsiteX94" fmla="*/ 2065564 w 3331229"/>
                <a:gd name="connsiteY94" fmla="*/ 3307068 h 3869060"/>
                <a:gd name="connsiteX95" fmla="*/ 1898877 w 3331229"/>
                <a:gd name="connsiteY95" fmla="*/ 3483281 h 3869060"/>
                <a:gd name="connsiteX96" fmla="*/ 1895430 w 3331229"/>
                <a:gd name="connsiteY96" fmla="*/ 3485077 h 3869060"/>
                <a:gd name="connsiteX97" fmla="*/ 1873960 w 3331229"/>
                <a:gd name="connsiteY97" fmla="*/ 3370564 h 3869060"/>
                <a:gd name="connsiteX98" fmla="*/ 1901259 w 3331229"/>
                <a:gd name="connsiteY98" fmla="*/ 3349931 h 3869060"/>
                <a:gd name="connsiteX99" fmla="*/ 1833269 w 3331229"/>
                <a:gd name="connsiteY99" fmla="*/ 3153532 h 3869060"/>
                <a:gd name="connsiteX100" fmla="*/ 1760860 w 3331229"/>
                <a:gd name="connsiteY100" fmla="*/ 2767328 h 3869060"/>
                <a:gd name="connsiteX101" fmla="*/ 1921924 w 3331229"/>
                <a:gd name="connsiteY101" fmla="*/ 2378228 h 3869060"/>
                <a:gd name="connsiteX102" fmla="*/ 2160575 w 3331229"/>
                <a:gd name="connsiteY102" fmla="*/ 2219751 h 3869060"/>
                <a:gd name="connsiteX103" fmla="*/ 1133664 w 3331229"/>
                <a:gd name="connsiteY103" fmla="*/ 2187254 h 3869060"/>
                <a:gd name="connsiteX104" fmla="*/ 1441077 w 3331229"/>
                <a:gd name="connsiteY104" fmla="*/ 2391954 h 3869060"/>
                <a:gd name="connsiteX105" fmla="*/ 1618521 w 3331229"/>
                <a:gd name="connsiteY105" fmla="*/ 2771228 h 3869060"/>
                <a:gd name="connsiteX106" fmla="*/ 1573489 w 3331229"/>
                <a:gd name="connsiteY106" fmla="*/ 3113795 h 3869060"/>
                <a:gd name="connsiteX107" fmla="*/ 1315471 w 3331229"/>
                <a:gd name="connsiteY107" fmla="*/ 3057037 h 3869060"/>
                <a:gd name="connsiteX108" fmla="*/ 943996 w 3331229"/>
                <a:gd name="connsiteY108" fmla="*/ 2530781 h 3869060"/>
                <a:gd name="connsiteX109" fmla="*/ 941615 w 3331229"/>
                <a:gd name="connsiteY109" fmla="*/ 2561737 h 3869060"/>
                <a:gd name="connsiteX110" fmla="*/ 1303565 w 3331229"/>
                <a:gd name="connsiteY110" fmla="*/ 3099899 h 3869060"/>
                <a:gd name="connsiteX111" fmla="*/ 1569168 w 3331229"/>
                <a:gd name="connsiteY111" fmla="*/ 3146659 h 3869060"/>
                <a:gd name="connsiteX112" fmla="*/ 1512433 w 3331229"/>
                <a:gd name="connsiteY112" fmla="*/ 3578253 h 3869060"/>
                <a:gd name="connsiteX113" fmla="*/ 1444059 w 3331229"/>
                <a:gd name="connsiteY113" fmla="*/ 3604724 h 3869060"/>
                <a:gd name="connsiteX114" fmla="*/ 1412735 w 3331229"/>
                <a:gd name="connsiteY114" fmla="*/ 3668609 h 3869060"/>
                <a:gd name="connsiteX115" fmla="*/ 1208314 w 3331229"/>
                <a:gd name="connsiteY115" fmla="*/ 3583293 h 3869060"/>
                <a:gd name="connsiteX116" fmla="*/ 534275 w 3331229"/>
                <a:gd name="connsiteY116" fmla="*/ 3797898 h 3869060"/>
                <a:gd name="connsiteX117" fmla="*/ 639706 w 3331229"/>
                <a:gd name="connsiteY117" fmla="*/ 3344155 h 3869060"/>
                <a:gd name="connsiteX118" fmla="*/ 347231 w 3331229"/>
                <a:gd name="connsiteY118" fmla="*/ 3831613 h 3869060"/>
                <a:gd name="connsiteX119" fmla="*/ 15759 w 3331229"/>
                <a:gd name="connsiteY119" fmla="*/ 2947689 h 3869060"/>
                <a:gd name="connsiteX120" fmla="*/ 932181 w 3331229"/>
                <a:gd name="connsiteY120" fmla="*/ 2525225 h 3869060"/>
                <a:gd name="connsiteX121" fmla="*/ 1133664 w 3331229"/>
                <a:gd name="connsiteY121" fmla="*/ 2187254 h 3869060"/>
                <a:gd name="connsiteX122" fmla="*/ 1577147 w 3331229"/>
                <a:gd name="connsiteY122" fmla="*/ 22 h 3869060"/>
                <a:gd name="connsiteX123" fmla="*/ 1751109 w 3331229"/>
                <a:gd name="connsiteY123" fmla="*/ 27813 h 3869060"/>
                <a:gd name="connsiteX124" fmla="*/ 1790105 w 3331229"/>
                <a:gd name="connsiteY124" fmla="*/ 105806 h 3869060"/>
                <a:gd name="connsiteX125" fmla="*/ 1911969 w 3331229"/>
                <a:gd name="connsiteY125" fmla="*/ 71683 h 3869060"/>
                <a:gd name="connsiteX126" fmla="*/ 2540790 w 3331229"/>
                <a:gd name="connsiteY126" fmla="*/ 768749 h 3869060"/>
                <a:gd name="connsiteX127" fmla="*/ 2404302 w 3331229"/>
                <a:gd name="connsiteY127" fmla="*/ 1153840 h 3869060"/>
                <a:gd name="connsiteX128" fmla="*/ 2501794 w 3331229"/>
                <a:gd name="connsiteY128" fmla="*/ 1183088 h 3869060"/>
                <a:gd name="connsiteX129" fmla="*/ 2399428 w 3331229"/>
                <a:gd name="connsiteY129" fmla="*/ 1607177 h 3869060"/>
                <a:gd name="connsiteX130" fmla="*/ 2321435 w 3331229"/>
                <a:gd name="connsiteY130" fmla="*/ 1641299 h 3869060"/>
                <a:gd name="connsiteX131" fmla="*/ 1760857 w 3331229"/>
                <a:gd name="connsiteY131" fmla="*/ 2323740 h 3869060"/>
                <a:gd name="connsiteX132" fmla="*/ 1556125 w 3331229"/>
                <a:gd name="connsiteY132" fmla="*/ 2309117 h 3869060"/>
                <a:gd name="connsiteX133" fmla="*/ 951677 w 3331229"/>
                <a:gd name="connsiteY133" fmla="*/ 1621800 h 3869060"/>
                <a:gd name="connsiteX134" fmla="*/ 771318 w 3331229"/>
                <a:gd name="connsiteY134" fmla="*/ 1202586 h 3869060"/>
                <a:gd name="connsiteX135" fmla="*/ 844436 w 3331229"/>
                <a:gd name="connsiteY135" fmla="*/ 1148966 h 3869060"/>
                <a:gd name="connsiteX136" fmla="*/ 717697 w 3331229"/>
                <a:gd name="connsiteY136" fmla="*/ 744376 h 3869060"/>
                <a:gd name="connsiteX137" fmla="*/ 1577147 w 3331229"/>
                <a:gd name="connsiteY137" fmla="*/ 22 h 3869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3331229" h="3869060">
                  <a:moveTo>
                    <a:pt x="1508057" y="3611535"/>
                  </a:moveTo>
                  <a:lnTo>
                    <a:pt x="1495987" y="3703355"/>
                  </a:lnTo>
                  <a:lnTo>
                    <a:pt x="1440068" y="3680017"/>
                  </a:lnTo>
                  <a:cubicBezTo>
                    <a:pt x="1436561" y="3647800"/>
                    <a:pt x="1442311" y="3633944"/>
                    <a:pt x="1463109" y="3619012"/>
                  </a:cubicBezTo>
                  <a:lnTo>
                    <a:pt x="1508057" y="3611535"/>
                  </a:lnTo>
                  <a:close/>
                  <a:moveTo>
                    <a:pt x="1861030" y="3550757"/>
                  </a:moveTo>
                  <a:lnTo>
                    <a:pt x="1906356" y="3869060"/>
                  </a:lnTo>
                  <a:lnTo>
                    <a:pt x="1892778" y="3868958"/>
                  </a:lnTo>
                  <a:lnTo>
                    <a:pt x="1538997" y="3721305"/>
                  </a:lnTo>
                  <a:lnTo>
                    <a:pt x="1551846" y="3602744"/>
                  </a:lnTo>
                  <a:cubicBezTo>
                    <a:pt x="1588171" y="3594717"/>
                    <a:pt x="1618787" y="3585571"/>
                    <a:pt x="1644566" y="3574740"/>
                  </a:cubicBezTo>
                  <a:cubicBezTo>
                    <a:pt x="1696697" y="3574680"/>
                    <a:pt x="1771960" y="3571967"/>
                    <a:pt x="1813152" y="3564243"/>
                  </a:cubicBezTo>
                  <a:cubicBezTo>
                    <a:pt x="1830482" y="3560994"/>
                    <a:pt x="1846511" y="3557213"/>
                    <a:pt x="1861030" y="3550757"/>
                  </a:cubicBezTo>
                  <a:close/>
                  <a:moveTo>
                    <a:pt x="1840046" y="3403400"/>
                  </a:moveTo>
                  <a:lnTo>
                    <a:pt x="1854699" y="3506298"/>
                  </a:lnTo>
                  <a:cubicBezTo>
                    <a:pt x="1802344" y="3529013"/>
                    <a:pt x="1743494" y="3538299"/>
                    <a:pt x="1703614" y="3549956"/>
                  </a:cubicBezTo>
                  <a:cubicBezTo>
                    <a:pt x="1700518" y="3550861"/>
                    <a:pt x="1697325" y="3551735"/>
                    <a:pt x="1693964" y="3552204"/>
                  </a:cubicBezTo>
                  <a:cubicBezTo>
                    <a:pt x="1777023" y="3507797"/>
                    <a:pt x="1798599" y="3451785"/>
                    <a:pt x="1840046" y="3403400"/>
                  </a:cubicBezTo>
                  <a:close/>
                  <a:moveTo>
                    <a:pt x="1838628" y="3182112"/>
                  </a:moveTo>
                  <a:cubicBezTo>
                    <a:pt x="1920908" y="3206476"/>
                    <a:pt x="1953276" y="3250671"/>
                    <a:pt x="1867663" y="3336975"/>
                  </a:cubicBezTo>
                  <a:lnTo>
                    <a:pt x="1838628" y="3182112"/>
                  </a:lnTo>
                  <a:close/>
                  <a:moveTo>
                    <a:pt x="1601004" y="3149134"/>
                  </a:moveTo>
                  <a:cubicBezTo>
                    <a:pt x="1675206" y="3154629"/>
                    <a:pt x="1749516" y="3160919"/>
                    <a:pt x="1807421" y="3174289"/>
                  </a:cubicBezTo>
                  <a:lnTo>
                    <a:pt x="1839495" y="3399531"/>
                  </a:lnTo>
                  <a:cubicBezTo>
                    <a:pt x="1825257" y="3421921"/>
                    <a:pt x="1801010" y="3447047"/>
                    <a:pt x="1765527" y="3468993"/>
                  </a:cubicBezTo>
                  <a:cubicBezTo>
                    <a:pt x="1716650" y="3499223"/>
                    <a:pt x="1643637" y="3527845"/>
                    <a:pt x="1556344" y="3561237"/>
                  </a:cubicBezTo>
                  <a:lnTo>
                    <a:pt x="1601004" y="3149134"/>
                  </a:lnTo>
                  <a:close/>
                  <a:moveTo>
                    <a:pt x="1895429" y="2774153"/>
                  </a:moveTo>
                  <a:cubicBezTo>
                    <a:pt x="1911162" y="2774153"/>
                    <a:pt x="1923916" y="2786906"/>
                    <a:pt x="1923916" y="2802639"/>
                  </a:cubicBezTo>
                  <a:cubicBezTo>
                    <a:pt x="1923916" y="2818371"/>
                    <a:pt x="1911162" y="2831125"/>
                    <a:pt x="1895429" y="2831125"/>
                  </a:cubicBezTo>
                  <a:cubicBezTo>
                    <a:pt x="1879696" y="2831125"/>
                    <a:pt x="1866942" y="2818371"/>
                    <a:pt x="1866942" y="2802639"/>
                  </a:cubicBezTo>
                  <a:cubicBezTo>
                    <a:pt x="1866942" y="2786906"/>
                    <a:pt x="1879696" y="2774153"/>
                    <a:pt x="1895429" y="2774153"/>
                  </a:cubicBezTo>
                  <a:close/>
                  <a:moveTo>
                    <a:pt x="1478652" y="2774153"/>
                  </a:moveTo>
                  <a:cubicBezTo>
                    <a:pt x="1494385" y="2774153"/>
                    <a:pt x="1507139" y="2786906"/>
                    <a:pt x="1507139" y="2802639"/>
                  </a:cubicBezTo>
                  <a:cubicBezTo>
                    <a:pt x="1507139" y="2818371"/>
                    <a:pt x="1494385" y="2831125"/>
                    <a:pt x="1478652" y="2831125"/>
                  </a:cubicBezTo>
                  <a:cubicBezTo>
                    <a:pt x="1462919" y="2831125"/>
                    <a:pt x="1450165" y="2818371"/>
                    <a:pt x="1450165" y="2802639"/>
                  </a:cubicBezTo>
                  <a:cubicBezTo>
                    <a:pt x="1450165" y="2786906"/>
                    <a:pt x="1462919" y="2774153"/>
                    <a:pt x="1478652" y="2774153"/>
                  </a:cubicBezTo>
                  <a:close/>
                  <a:moveTo>
                    <a:pt x="1894911" y="2757579"/>
                  </a:moveTo>
                  <a:cubicBezTo>
                    <a:pt x="1872027" y="2757579"/>
                    <a:pt x="1853476" y="2776129"/>
                    <a:pt x="1853476" y="2799013"/>
                  </a:cubicBezTo>
                  <a:cubicBezTo>
                    <a:pt x="1853476" y="2821897"/>
                    <a:pt x="1872027" y="2840448"/>
                    <a:pt x="1894911" y="2840448"/>
                  </a:cubicBezTo>
                  <a:cubicBezTo>
                    <a:pt x="1917795" y="2840448"/>
                    <a:pt x="1936346" y="2821897"/>
                    <a:pt x="1936346" y="2799013"/>
                  </a:cubicBezTo>
                  <a:cubicBezTo>
                    <a:pt x="1936346" y="2776129"/>
                    <a:pt x="1917795" y="2757579"/>
                    <a:pt x="1894911" y="2757579"/>
                  </a:cubicBezTo>
                  <a:close/>
                  <a:moveTo>
                    <a:pt x="1478134" y="2757579"/>
                  </a:moveTo>
                  <a:cubicBezTo>
                    <a:pt x="1455250" y="2757579"/>
                    <a:pt x="1436699" y="2776129"/>
                    <a:pt x="1436699" y="2799013"/>
                  </a:cubicBezTo>
                  <a:cubicBezTo>
                    <a:pt x="1436699" y="2821897"/>
                    <a:pt x="1455250" y="2840448"/>
                    <a:pt x="1478134" y="2840448"/>
                  </a:cubicBezTo>
                  <a:cubicBezTo>
                    <a:pt x="1501018" y="2840448"/>
                    <a:pt x="1519569" y="2821897"/>
                    <a:pt x="1519569" y="2799013"/>
                  </a:cubicBezTo>
                  <a:cubicBezTo>
                    <a:pt x="1519569" y="2776129"/>
                    <a:pt x="1501018" y="2757579"/>
                    <a:pt x="1478134" y="2757579"/>
                  </a:cubicBezTo>
                  <a:close/>
                  <a:moveTo>
                    <a:pt x="2428199" y="2540148"/>
                  </a:moveTo>
                  <a:cubicBezTo>
                    <a:pt x="2737422" y="2679198"/>
                    <a:pt x="3235516" y="2733606"/>
                    <a:pt x="3330475" y="2967187"/>
                  </a:cubicBezTo>
                  <a:cubicBezTo>
                    <a:pt x="3336974" y="3253596"/>
                    <a:pt x="3304477" y="3306025"/>
                    <a:pt x="3115993" y="3662627"/>
                  </a:cubicBezTo>
                  <a:cubicBezTo>
                    <a:pt x="3025868" y="3461578"/>
                    <a:pt x="2990337" y="3455512"/>
                    <a:pt x="2869015" y="3363653"/>
                  </a:cubicBezTo>
                  <a:cubicBezTo>
                    <a:pt x="2962606" y="3534371"/>
                    <a:pt x="3009402" y="3564703"/>
                    <a:pt x="2986004" y="3805615"/>
                  </a:cubicBezTo>
                  <a:cubicBezTo>
                    <a:pt x="2636669" y="3844451"/>
                    <a:pt x="2309106" y="3863952"/>
                    <a:pt x="1967317" y="3868494"/>
                  </a:cubicBezTo>
                  <a:lnTo>
                    <a:pt x="1905081" y="3536552"/>
                  </a:lnTo>
                  <a:lnTo>
                    <a:pt x="1970314" y="3502331"/>
                  </a:lnTo>
                  <a:cubicBezTo>
                    <a:pt x="2017939" y="3471375"/>
                    <a:pt x="2075090" y="3421368"/>
                    <a:pt x="2098902" y="3378506"/>
                  </a:cubicBezTo>
                  <a:cubicBezTo>
                    <a:pt x="2122715" y="3335643"/>
                    <a:pt x="2119539" y="3286431"/>
                    <a:pt x="2113189" y="3245156"/>
                  </a:cubicBezTo>
                  <a:cubicBezTo>
                    <a:pt x="2106839" y="3203881"/>
                    <a:pt x="2071121" y="3173718"/>
                    <a:pt x="2060802" y="3130856"/>
                  </a:cubicBezTo>
                  <a:cubicBezTo>
                    <a:pt x="2050483" y="3087994"/>
                    <a:pt x="2044133" y="3022112"/>
                    <a:pt x="2051277" y="2987981"/>
                  </a:cubicBezTo>
                  <a:cubicBezTo>
                    <a:pt x="2058421" y="2953850"/>
                    <a:pt x="2066358" y="2956230"/>
                    <a:pt x="2103664" y="2926068"/>
                  </a:cubicBezTo>
                  <a:cubicBezTo>
                    <a:pt x="2140970" y="2895906"/>
                    <a:pt x="2224314" y="2855425"/>
                    <a:pt x="2275114" y="2807006"/>
                  </a:cubicBezTo>
                  <a:cubicBezTo>
                    <a:pt x="2325914" y="2758587"/>
                    <a:pt x="2383064" y="2689531"/>
                    <a:pt x="2408464" y="2635556"/>
                  </a:cubicBezTo>
                  <a:cubicBezTo>
                    <a:pt x="2421925" y="2606952"/>
                    <a:pt x="2426915" y="2570545"/>
                    <a:pt x="2428199" y="2540148"/>
                  </a:cubicBezTo>
                  <a:close/>
                  <a:moveTo>
                    <a:pt x="1821792" y="2496790"/>
                  </a:moveTo>
                  <a:lnTo>
                    <a:pt x="1721863" y="2750269"/>
                  </a:lnTo>
                  <a:lnTo>
                    <a:pt x="1660931" y="2774641"/>
                  </a:lnTo>
                  <a:lnTo>
                    <a:pt x="1734049" y="2767330"/>
                  </a:lnTo>
                  <a:lnTo>
                    <a:pt x="1821792" y="2496790"/>
                  </a:lnTo>
                  <a:close/>
                  <a:moveTo>
                    <a:pt x="1035331" y="2449210"/>
                  </a:moveTo>
                  <a:cubicBezTo>
                    <a:pt x="1003820" y="2480441"/>
                    <a:pt x="1018936" y="2483696"/>
                    <a:pt x="987425" y="2514927"/>
                  </a:cubicBezTo>
                  <a:cubicBezTo>
                    <a:pt x="1085458" y="2641935"/>
                    <a:pt x="1229007" y="2797048"/>
                    <a:pt x="1509102" y="2902193"/>
                  </a:cubicBezTo>
                  <a:lnTo>
                    <a:pt x="1575625" y="2771023"/>
                  </a:lnTo>
                  <a:lnTo>
                    <a:pt x="1495098" y="2883454"/>
                  </a:lnTo>
                  <a:cubicBezTo>
                    <a:pt x="1276857" y="2757490"/>
                    <a:pt x="1168294" y="2704852"/>
                    <a:pt x="1035331" y="2449210"/>
                  </a:cubicBezTo>
                  <a:close/>
                  <a:moveTo>
                    <a:pt x="2282794" y="2434797"/>
                  </a:moveTo>
                  <a:cubicBezTo>
                    <a:pt x="2229292" y="2682720"/>
                    <a:pt x="2073916" y="2761372"/>
                    <a:pt x="1871350" y="2892444"/>
                  </a:cubicBezTo>
                  <a:lnTo>
                    <a:pt x="1796607" y="2775454"/>
                  </a:lnTo>
                  <a:lnTo>
                    <a:pt x="1858351" y="2911942"/>
                  </a:lnTo>
                  <a:cubicBezTo>
                    <a:pt x="2118329" y="2802534"/>
                    <a:pt x="2251568" y="2641132"/>
                    <a:pt x="2342560" y="2508976"/>
                  </a:cubicBezTo>
                  <a:lnTo>
                    <a:pt x="2282794" y="2434797"/>
                  </a:lnTo>
                  <a:close/>
                  <a:moveTo>
                    <a:pt x="1880855" y="2396344"/>
                  </a:moveTo>
                  <a:lnTo>
                    <a:pt x="1750879" y="2777224"/>
                  </a:lnTo>
                  <a:lnTo>
                    <a:pt x="1803263" y="3145093"/>
                  </a:lnTo>
                  <a:cubicBezTo>
                    <a:pt x="1745457" y="3131681"/>
                    <a:pt x="1675084" y="3124533"/>
                    <a:pt x="1604470" y="3117148"/>
                  </a:cubicBezTo>
                  <a:lnTo>
                    <a:pt x="1640912" y="2780880"/>
                  </a:lnTo>
                  <a:lnTo>
                    <a:pt x="1499951" y="2415404"/>
                  </a:lnTo>
                  <a:cubicBezTo>
                    <a:pt x="1618034" y="2455339"/>
                    <a:pt x="1742081" y="2454502"/>
                    <a:pt x="1880855" y="2396344"/>
                  </a:cubicBezTo>
                  <a:close/>
                  <a:moveTo>
                    <a:pt x="2160575" y="2219751"/>
                  </a:moveTo>
                  <a:lnTo>
                    <a:pt x="2402834" y="2525763"/>
                  </a:lnTo>
                  <a:lnTo>
                    <a:pt x="2398939" y="2535543"/>
                  </a:lnTo>
                  <a:cubicBezTo>
                    <a:pt x="2388620" y="2561737"/>
                    <a:pt x="2392590" y="2598249"/>
                    <a:pt x="2365602" y="2640318"/>
                  </a:cubicBezTo>
                  <a:cubicBezTo>
                    <a:pt x="2338615" y="2682387"/>
                    <a:pt x="2287020" y="2737950"/>
                    <a:pt x="2237014" y="2787956"/>
                  </a:cubicBezTo>
                  <a:cubicBezTo>
                    <a:pt x="2187008" y="2837962"/>
                    <a:pt x="2099695" y="2888762"/>
                    <a:pt x="2065564" y="2940356"/>
                  </a:cubicBezTo>
                  <a:cubicBezTo>
                    <a:pt x="2031433" y="2991950"/>
                    <a:pt x="2032227" y="3036399"/>
                    <a:pt x="2032227" y="3097518"/>
                  </a:cubicBezTo>
                  <a:cubicBezTo>
                    <a:pt x="2032227" y="3158637"/>
                    <a:pt x="2087789" y="3242774"/>
                    <a:pt x="2065564" y="3307068"/>
                  </a:cubicBezTo>
                  <a:cubicBezTo>
                    <a:pt x="2043339" y="3371362"/>
                    <a:pt x="1959202" y="3442800"/>
                    <a:pt x="1898877" y="3483281"/>
                  </a:cubicBezTo>
                  <a:cubicBezTo>
                    <a:pt x="1897807" y="3484000"/>
                    <a:pt x="1896729" y="3484709"/>
                    <a:pt x="1895430" y="3485077"/>
                  </a:cubicBezTo>
                  <a:lnTo>
                    <a:pt x="1873960" y="3370564"/>
                  </a:lnTo>
                  <a:cubicBezTo>
                    <a:pt x="1881430" y="3362619"/>
                    <a:pt x="1890744" y="3356106"/>
                    <a:pt x="1901259" y="3349931"/>
                  </a:cubicBezTo>
                  <a:cubicBezTo>
                    <a:pt x="1976783" y="3234756"/>
                    <a:pt x="1929546" y="3181711"/>
                    <a:pt x="1833269" y="3153532"/>
                  </a:cubicBezTo>
                  <a:lnTo>
                    <a:pt x="1760860" y="2767328"/>
                  </a:lnTo>
                  <a:lnTo>
                    <a:pt x="1921924" y="2378228"/>
                  </a:lnTo>
                  <a:cubicBezTo>
                    <a:pt x="1996756" y="2342621"/>
                    <a:pt x="2075774" y="2290491"/>
                    <a:pt x="2160575" y="2219751"/>
                  </a:cubicBezTo>
                  <a:close/>
                  <a:moveTo>
                    <a:pt x="1133664" y="2187254"/>
                  </a:moveTo>
                  <a:cubicBezTo>
                    <a:pt x="1237143" y="2276460"/>
                    <a:pt x="1337095" y="2349445"/>
                    <a:pt x="1441077" y="2391954"/>
                  </a:cubicBezTo>
                  <a:lnTo>
                    <a:pt x="1618521" y="2771228"/>
                  </a:lnTo>
                  <a:lnTo>
                    <a:pt x="1573489" y="3113795"/>
                  </a:lnTo>
                  <a:cubicBezTo>
                    <a:pt x="1472025" y="3103435"/>
                    <a:pt x="1373792" y="3090684"/>
                    <a:pt x="1315471" y="3057037"/>
                  </a:cubicBezTo>
                  <a:cubicBezTo>
                    <a:pt x="1239271" y="2956231"/>
                    <a:pt x="1020196" y="2631587"/>
                    <a:pt x="943996" y="2530781"/>
                  </a:cubicBezTo>
                  <a:lnTo>
                    <a:pt x="941615" y="2561737"/>
                  </a:lnTo>
                  <a:cubicBezTo>
                    <a:pt x="1117033" y="2826849"/>
                    <a:pt x="1263877" y="3087199"/>
                    <a:pt x="1303565" y="3099899"/>
                  </a:cubicBezTo>
                  <a:cubicBezTo>
                    <a:pt x="1344515" y="3130002"/>
                    <a:pt x="1453844" y="3138423"/>
                    <a:pt x="1569168" y="3146659"/>
                  </a:cubicBezTo>
                  <a:lnTo>
                    <a:pt x="1512433" y="3578253"/>
                  </a:lnTo>
                  <a:lnTo>
                    <a:pt x="1444059" y="3604724"/>
                  </a:lnTo>
                  <a:cubicBezTo>
                    <a:pt x="1418713" y="3619087"/>
                    <a:pt x="1413601" y="3642893"/>
                    <a:pt x="1412735" y="3668609"/>
                  </a:cubicBezTo>
                  <a:lnTo>
                    <a:pt x="1208314" y="3583293"/>
                  </a:lnTo>
                  <a:lnTo>
                    <a:pt x="534275" y="3797898"/>
                  </a:lnTo>
                  <a:cubicBezTo>
                    <a:pt x="504539" y="3716726"/>
                    <a:pt x="516650" y="3617611"/>
                    <a:pt x="639706" y="3344155"/>
                  </a:cubicBezTo>
                  <a:cubicBezTo>
                    <a:pt x="490218" y="3461145"/>
                    <a:pt x="418725" y="3532639"/>
                    <a:pt x="347231" y="3831613"/>
                  </a:cubicBezTo>
                  <a:cubicBezTo>
                    <a:pt x="165246" y="3575968"/>
                    <a:pt x="-62234" y="3417815"/>
                    <a:pt x="15759" y="2947689"/>
                  </a:cubicBezTo>
                  <a:cubicBezTo>
                    <a:pt x="113251" y="2729958"/>
                    <a:pt x="745864" y="2651964"/>
                    <a:pt x="932181" y="2525225"/>
                  </a:cubicBezTo>
                  <a:lnTo>
                    <a:pt x="1133664" y="2187254"/>
                  </a:lnTo>
                  <a:close/>
                  <a:moveTo>
                    <a:pt x="1577147" y="22"/>
                  </a:moveTo>
                  <a:cubicBezTo>
                    <a:pt x="1637623" y="520"/>
                    <a:pt x="1696270" y="9330"/>
                    <a:pt x="1751109" y="27813"/>
                  </a:cubicBezTo>
                  <a:cubicBezTo>
                    <a:pt x="1752734" y="79808"/>
                    <a:pt x="1763295" y="98494"/>
                    <a:pt x="1790105" y="105806"/>
                  </a:cubicBezTo>
                  <a:cubicBezTo>
                    <a:pt x="1816914" y="113118"/>
                    <a:pt x="1816103" y="86308"/>
                    <a:pt x="1911969" y="71683"/>
                  </a:cubicBezTo>
                  <a:cubicBezTo>
                    <a:pt x="2098828" y="16438"/>
                    <a:pt x="2661029" y="429153"/>
                    <a:pt x="2540790" y="768749"/>
                  </a:cubicBezTo>
                  <a:lnTo>
                    <a:pt x="2404302" y="1153840"/>
                  </a:lnTo>
                  <a:cubicBezTo>
                    <a:pt x="2456297" y="1144091"/>
                    <a:pt x="2474170" y="1119718"/>
                    <a:pt x="2501794" y="1183088"/>
                  </a:cubicBezTo>
                  <a:cubicBezTo>
                    <a:pt x="2467672" y="1324451"/>
                    <a:pt x="2457923" y="1485312"/>
                    <a:pt x="2399428" y="1607177"/>
                  </a:cubicBezTo>
                  <a:cubicBezTo>
                    <a:pt x="2378305" y="1638049"/>
                    <a:pt x="2347432" y="1629925"/>
                    <a:pt x="2321435" y="1641299"/>
                  </a:cubicBezTo>
                  <a:cubicBezTo>
                    <a:pt x="2329558" y="2000393"/>
                    <a:pt x="2040333" y="2164504"/>
                    <a:pt x="1760857" y="2323740"/>
                  </a:cubicBezTo>
                  <a:cubicBezTo>
                    <a:pt x="1668240" y="2338363"/>
                    <a:pt x="1638992" y="2348113"/>
                    <a:pt x="1556125" y="2309117"/>
                  </a:cubicBezTo>
                  <a:cubicBezTo>
                    <a:pt x="1018296" y="2084885"/>
                    <a:pt x="982549" y="1777787"/>
                    <a:pt x="951677" y="1621800"/>
                  </a:cubicBezTo>
                  <a:cubicBezTo>
                    <a:pt x="818438" y="1652672"/>
                    <a:pt x="743695" y="1210710"/>
                    <a:pt x="771318" y="1202586"/>
                  </a:cubicBezTo>
                  <a:cubicBezTo>
                    <a:pt x="795690" y="1184713"/>
                    <a:pt x="839562" y="1186338"/>
                    <a:pt x="844436" y="1148966"/>
                  </a:cubicBezTo>
                  <a:cubicBezTo>
                    <a:pt x="792441" y="1023852"/>
                    <a:pt x="735571" y="884115"/>
                    <a:pt x="717697" y="744376"/>
                  </a:cubicBezTo>
                  <a:cubicBezTo>
                    <a:pt x="640923" y="400311"/>
                    <a:pt x="1153820" y="-3467"/>
                    <a:pt x="1577147" y="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91"/>
              <a:endParaRPr lang="en-US">
                <a:solidFill>
                  <a:srgbClr val="FFFFFF"/>
                </a:solidFill>
              </a:endParaRPr>
            </a:p>
          </p:txBody>
        </p:sp>
        <p:sp>
          <p:nvSpPr>
            <p:cNvPr id="25" name="Freeform 24"/>
            <p:cNvSpPr/>
            <p:nvPr/>
          </p:nvSpPr>
          <p:spPr>
            <a:xfrm>
              <a:off x="4419600" y="4826000"/>
              <a:ext cx="1155700" cy="520700"/>
            </a:xfrm>
            <a:custGeom>
              <a:avLst/>
              <a:gdLst/>
              <a:ahLst/>
              <a:cxnLst/>
              <a:rect l="l" t="t" r="r" b="b"/>
              <a:pathLst>
                <a:path w="1155700" h="520700">
                  <a:moveTo>
                    <a:pt x="887413" y="167791"/>
                  </a:moveTo>
                  <a:lnTo>
                    <a:pt x="1026319" y="226441"/>
                  </a:lnTo>
                  <a:lnTo>
                    <a:pt x="841111" y="319045"/>
                  </a:lnTo>
                  <a:lnTo>
                    <a:pt x="692945" y="244962"/>
                  </a:lnTo>
                  <a:close/>
                  <a:moveTo>
                    <a:pt x="221455" y="158750"/>
                  </a:moveTo>
                  <a:lnTo>
                    <a:pt x="195262" y="163513"/>
                  </a:lnTo>
                  <a:cubicBezTo>
                    <a:pt x="313531" y="223838"/>
                    <a:pt x="555624" y="334169"/>
                    <a:pt x="673893" y="394494"/>
                  </a:cubicBezTo>
                  <a:lnTo>
                    <a:pt x="697705" y="387350"/>
                  </a:lnTo>
                  <a:close/>
                  <a:moveTo>
                    <a:pt x="890588" y="155047"/>
                  </a:moveTo>
                  <a:lnTo>
                    <a:pt x="657225" y="247651"/>
                  </a:lnTo>
                  <a:lnTo>
                    <a:pt x="835025" y="336551"/>
                  </a:lnTo>
                  <a:lnTo>
                    <a:pt x="1057275" y="225426"/>
                  </a:lnTo>
                  <a:close/>
                  <a:moveTo>
                    <a:pt x="504826" y="65881"/>
                  </a:moveTo>
                  <a:lnTo>
                    <a:pt x="488157" y="73025"/>
                  </a:lnTo>
                  <a:cubicBezTo>
                    <a:pt x="542926" y="102394"/>
                    <a:pt x="669132" y="157956"/>
                    <a:pt x="723901" y="187325"/>
                  </a:cubicBezTo>
                  <a:lnTo>
                    <a:pt x="754857" y="173038"/>
                  </a:lnTo>
                  <a:close/>
                  <a:moveTo>
                    <a:pt x="566738" y="46831"/>
                  </a:moveTo>
                  <a:lnTo>
                    <a:pt x="550069" y="53975"/>
                  </a:lnTo>
                  <a:cubicBezTo>
                    <a:pt x="604838" y="83344"/>
                    <a:pt x="731044" y="138906"/>
                    <a:pt x="785813" y="168275"/>
                  </a:cubicBezTo>
                  <a:lnTo>
                    <a:pt x="816769" y="153988"/>
                  </a:lnTo>
                  <a:close/>
                  <a:moveTo>
                    <a:pt x="590550" y="0"/>
                  </a:moveTo>
                  <a:lnTo>
                    <a:pt x="1155700" y="228600"/>
                  </a:lnTo>
                  <a:lnTo>
                    <a:pt x="558800" y="520700"/>
                  </a:lnTo>
                  <a:lnTo>
                    <a:pt x="0" y="18415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91"/>
              <a:endParaRPr lang="en-US">
                <a:solidFill>
                  <a:srgbClr val="FFFFFF"/>
                </a:solidFill>
              </a:endParaRPr>
            </a:p>
          </p:txBody>
        </p:sp>
        <p:sp>
          <p:nvSpPr>
            <p:cNvPr id="26" name="Freeform 17"/>
            <p:cNvSpPr>
              <a:spLocks/>
            </p:cNvSpPr>
            <p:nvPr/>
          </p:nvSpPr>
          <p:spPr bwMode="auto">
            <a:xfrm>
              <a:off x="5817393" y="4764882"/>
              <a:ext cx="181955" cy="140205"/>
            </a:xfrm>
            <a:custGeom>
              <a:avLst/>
              <a:gdLst>
                <a:gd name="T0" fmla="*/ 0 w 1168"/>
                <a:gd name="T1" fmla="*/ 900 h 900"/>
                <a:gd name="T2" fmla="*/ 198 w 1168"/>
                <a:gd name="T3" fmla="*/ 0 h 900"/>
                <a:gd name="T4" fmla="*/ 556 w 1168"/>
                <a:gd name="T5" fmla="*/ 0 h 900"/>
                <a:gd name="T6" fmla="*/ 572 w 1168"/>
                <a:gd name="T7" fmla="*/ 502 h 900"/>
                <a:gd name="T8" fmla="*/ 812 w 1168"/>
                <a:gd name="T9" fmla="*/ 0 h 900"/>
                <a:gd name="T10" fmla="*/ 1168 w 1168"/>
                <a:gd name="T11" fmla="*/ 0 h 900"/>
                <a:gd name="T12" fmla="*/ 968 w 1168"/>
                <a:gd name="T13" fmla="*/ 900 h 900"/>
                <a:gd name="T14" fmla="*/ 710 w 1168"/>
                <a:gd name="T15" fmla="*/ 900 h 900"/>
                <a:gd name="T16" fmla="*/ 816 w 1168"/>
                <a:gd name="T17" fmla="*/ 416 h 900"/>
                <a:gd name="T18" fmla="*/ 576 w 1168"/>
                <a:gd name="T19" fmla="*/ 900 h 900"/>
                <a:gd name="T20" fmla="*/ 390 w 1168"/>
                <a:gd name="T21" fmla="*/ 900 h 900"/>
                <a:gd name="T22" fmla="*/ 380 w 1168"/>
                <a:gd name="T23" fmla="*/ 416 h 900"/>
                <a:gd name="T24" fmla="*/ 260 w 1168"/>
                <a:gd name="T25" fmla="*/ 900 h 900"/>
                <a:gd name="T26" fmla="*/ 0 w 1168"/>
                <a:gd name="T27" fmla="*/ 900 h 900"/>
                <a:gd name="T28" fmla="*/ 0 w 1168"/>
                <a:gd name="T29" fmla="*/ 900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68" h="900">
                  <a:moveTo>
                    <a:pt x="0" y="900"/>
                  </a:moveTo>
                  <a:lnTo>
                    <a:pt x="198" y="0"/>
                  </a:lnTo>
                  <a:lnTo>
                    <a:pt x="556" y="0"/>
                  </a:lnTo>
                  <a:lnTo>
                    <a:pt x="572" y="502"/>
                  </a:lnTo>
                  <a:lnTo>
                    <a:pt x="812" y="0"/>
                  </a:lnTo>
                  <a:lnTo>
                    <a:pt x="1168" y="0"/>
                  </a:lnTo>
                  <a:lnTo>
                    <a:pt x="968" y="900"/>
                  </a:lnTo>
                  <a:lnTo>
                    <a:pt x="710" y="900"/>
                  </a:lnTo>
                  <a:lnTo>
                    <a:pt x="816" y="416"/>
                  </a:lnTo>
                  <a:lnTo>
                    <a:pt x="576" y="900"/>
                  </a:lnTo>
                  <a:lnTo>
                    <a:pt x="390" y="900"/>
                  </a:lnTo>
                  <a:lnTo>
                    <a:pt x="380" y="416"/>
                  </a:lnTo>
                  <a:lnTo>
                    <a:pt x="260" y="900"/>
                  </a:lnTo>
                  <a:lnTo>
                    <a:pt x="0" y="900"/>
                  </a:lnTo>
                  <a:lnTo>
                    <a:pt x="0" y="9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91"/>
              <a:endParaRPr lang="en-US">
                <a:solidFill>
                  <a:srgbClr val="FFFFFF"/>
                </a:solidFill>
              </a:endParaRPr>
            </a:p>
          </p:txBody>
        </p:sp>
        <p:sp>
          <p:nvSpPr>
            <p:cNvPr id="27" name="Freeform 18"/>
            <p:cNvSpPr>
              <a:spLocks/>
            </p:cNvSpPr>
            <p:nvPr/>
          </p:nvSpPr>
          <p:spPr bwMode="auto">
            <a:xfrm>
              <a:off x="6004334" y="4764882"/>
              <a:ext cx="42373" cy="23056"/>
            </a:xfrm>
            <a:custGeom>
              <a:avLst/>
              <a:gdLst>
                <a:gd name="T0" fmla="*/ 0 w 272"/>
                <a:gd name="T1" fmla="*/ 148 h 148"/>
                <a:gd name="T2" fmla="*/ 240 w 272"/>
                <a:gd name="T3" fmla="*/ 148 h 148"/>
                <a:gd name="T4" fmla="*/ 272 w 272"/>
                <a:gd name="T5" fmla="*/ 0 h 148"/>
                <a:gd name="T6" fmla="*/ 32 w 272"/>
                <a:gd name="T7" fmla="*/ 0 h 148"/>
                <a:gd name="T8" fmla="*/ 0 w 272"/>
                <a:gd name="T9" fmla="*/ 148 h 148"/>
                <a:gd name="T10" fmla="*/ 0 w 272"/>
                <a:gd name="T11" fmla="*/ 148 h 148"/>
              </a:gdLst>
              <a:ahLst/>
              <a:cxnLst>
                <a:cxn ang="0">
                  <a:pos x="T0" y="T1"/>
                </a:cxn>
                <a:cxn ang="0">
                  <a:pos x="T2" y="T3"/>
                </a:cxn>
                <a:cxn ang="0">
                  <a:pos x="T4" y="T5"/>
                </a:cxn>
                <a:cxn ang="0">
                  <a:pos x="T6" y="T7"/>
                </a:cxn>
                <a:cxn ang="0">
                  <a:pos x="T8" y="T9"/>
                </a:cxn>
                <a:cxn ang="0">
                  <a:pos x="T10" y="T11"/>
                </a:cxn>
              </a:cxnLst>
              <a:rect l="0" t="0" r="r" b="b"/>
              <a:pathLst>
                <a:path w="272" h="148">
                  <a:moveTo>
                    <a:pt x="0" y="148"/>
                  </a:moveTo>
                  <a:lnTo>
                    <a:pt x="240" y="148"/>
                  </a:lnTo>
                  <a:lnTo>
                    <a:pt x="272" y="0"/>
                  </a:lnTo>
                  <a:lnTo>
                    <a:pt x="32" y="0"/>
                  </a:lnTo>
                  <a:lnTo>
                    <a:pt x="0" y="148"/>
                  </a:lnTo>
                  <a:lnTo>
                    <a:pt x="0" y="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91"/>
              <a:endParaRPr lang="en-US">
                <a:solidFill>
                  <a:srgbClr val="FFFFFF"/>
                </a:solidFill>
              </a:endParaRPr>
            </a:p>
          </p:txBody>
        </p:sp>
        <p:sp>
          <p:nvSpPr>
            <p:cNvPr id="28" name="Freeform 19"/>
            <p:cNvSpPr>
              <a:spLocks/>
            </p:cNvSpPr>
            <p:nvPr/>
          </p:nvSpPr>
          <p:spPr bwMode="auto">
            <a:xfrm>
              <a:off x="5977850" y="4801335"/>
              <a:ext cx="61067" cy="103752"/>
            </a:xfrm>
            <a:custGeom>
              <a:avLst/>
              <a:gdLst>
                <a:gd name="T0" fmla="*/ 244 w 392"/>
                <a:gd name="T1" fmla="*/ 666 h 666"/>
                <a:gd name="T2" fmla="*/ 0 w 392"/>
                <a:gd name="T3" fmla="*/ 666 h 666"/>
                <a:gd name="T4" fmla="*/ 148 w 392"/>
                <a:gd name="T5" fmla="*/ 0 h 666"/>
                <a:gd name="T6" fmla="*/ 392 w 392"/>
                <a:gd name="T7" fmla="*/ 0 h 666"/>
                <a:gd name="T8" fmla="*/ 244 w 392"/>
                <a:gd name="T9" fmla="*/ 666 h 666"/>
                <a:gd name="T10" fmla="*/ 244 w 392"/>
                <a:gd name="T11" fmla="*/ 666 h 666"/>
              </a:gdLst>
              <a:ahLst/>
              <a:cxnLst>
                <a:cxn ang="0">
                  <a:pos x="T0" y="T1"/>
                </a:cxn>
                <a:cxn ang="0">
                  <a:pos x="T2" y="T3"/>
                </a:cxn>
                <a:cxn ang="0">
                  <a:pos x="T4" y="T5"/>
                </a:cxn>
                <a:cxn ang="0">
                  <a:pos x="T6" y="T7"/>
                </a:cxn>
                <a:cxn ang="0">
                  <a:pos x="T8" y="T9"/>
                </a:cxn>
                <a:cxn ang="0">
                  <a:pos x="T10" y="T11"/>
                </a:cxn>
              </a:cxnLst>
              <a:rect l="0" t="0" r="r" b="b"/>
              <a:pathLst>
                <a:path w="392" h="666">
                  <a:moveTo>
                    <a:pt x="244" y="666"/>
                  </a:moveTo>
                  <a:lnTo>
                    <a:pt x="0" y="666"/>
                  </a:lnTo>
                  <a:lnTo>
                    <a:pt x="148" y="0"/>
                  </a:lnTo>
                  <a:lnTo>
                    <a:pt x="392" y="0"/>
                  </a:lnTo>
                  <a:lnTo>
                    <a:pt x="244" y="666"/>
                  </a:lnTo>
                  <a:lnTo>
                    <a:pt x="244" y="6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91"/>
              <a:endParaRPr lang="en-US">
                <a:solidFill>
                  <a:srgbClr val="FFFFFF"/>
                </a:solidFill>
              </a:endParaRPr>
            </a:p>
          </p:txBody>
        </p:sp>
        <p:sp>
          <p:nvSpPr>
            <p:cNvPr id="29" name="Freeform 20"/>
            <p:cNvSpPr>
              <a:spLocks/>
            </p:cNvSpPr>
            <p:nvPr/>
          </p:nvSpPr>
          <p:spPr bwMode="auto">
            <a:xfrm>
              <a:off x="6135503" y="4799466"/>
              <a:ext cx="89108" cy="105621"/>
            </a:xfrm>
            <a:custGeom>
              <a:avLst/>
              <a:gdLst>
                <a:gd name="T0" fmla="*/ 150 w 572"/>
                <a:gd name="T1" fmla="*/ 12 h 678"/>
                <a:gd name="T2" fmla="*/ 366 w 572"/>
                <a:gd name="T3" fmla="*/ 12 h 678"/>
                <a:gd name="T4" fmla="*/ 348 w 572"/>
                <a:gd name="T5" fmla="*/ 94 h 678"/>
                <a:gd name="T6" fmla="*/ 348 w 572"/>
                <a:gd name="T7" fmla="*/ 94 h 678"/>
                <a:gd name="T8" fmla="*/ 358 w 572"/>
                <a:gd name="T9" fmla="*/ 80 h 678"/>
                <a:gd name="T10" fmla="*/ 370 w 572"/>
                <a:gd name="T11" fmla="*/ 68 h 678"/>
                <a:gd name="T12" fmla="*/ 384 w 572"/>
                <a:gd name="T13" fmla="*/ 58 h 678"/>
                <a:gd name="T14" fmla="*/ 398 w 572"/>
                <a:gd name="T15" fmla="*/ 48 h 678"/>
                <a:gd name="T16" fmla="*/ 412 w 572"/>
                <a:gd name="T17" fmla="*/ 40 h 678"/>
                <a:gd name="T18" fmla="*/ 426 w 572"/>
                <a:gd name="T19" fmla="*/ 32 h 678"/>
                <a:gd name="T20" fmla="*/ 458 w 572"/>
                <a:gd name="T21" fmla="*/ 18 h 678"/>
                <a:gd name="T22" fmla="*/ 458 w 572"/>
                <a:gd name="T23" fmla="*/ 18 h 678"/>
                <a:gd name="T24" fmla="*/ 486 w 572"/>
                <a:gd name="T25" fmla="*/ 10 h 678"/>
                <a:gd name="T26" fmla="*/ 514 w 572"/>
                <a:gd name="T27" fmla="*/ 6 h 678"/>
                <a:gd name="T28" fmla="*/ 542 w 572"/>
                <a:gd name="T29" fmla="*/ 2 h 678"/>
                <a:gd name="T30" fmla="*/ 572 w 572"/>
                <a:gd name="T31" fmla="*/ 0 h 678"/>
                <a:gd name="T32" fmla="*/ 516 w 572"/>
                <a:gd name="T33" fmla="*/ 218 h 678"/>
                <a:gd name="T34" fmla="*/ 516 w 572"/>
                <a:gd name="T35" fmla="*/ 218 h 678"/>
                <a:gd name="T36" fmla="*/ 504 w 572"/>
                <a:gd name="T37" fmla="*/ 216 h 678"/>
                <a:gd name="T38" fmla="*/ 482 w 572"/>
                <a:gd name="T39" fmla="*/ 216 h 678"/>
                <a:gd name="T40" fmla="*/ 466 w 572"/>
                <a:gd name="T41" fmla="*/ 218 h 678"/>
                <a:gd name="T42" fmla="*/ 450 w 572"/>
                <a:gd name="T43" fmla="*/ 220 h 678"/>
                <a:gd name="T44" fmla="*/ 432 w 572"/>
                <a:gd name="T45" fmla="*/ 226 h 678"/>
                <a:gd name="T46" fmla="*/ 414 w 572"/>
                <a:gd name="T47" fmla="*/ 234 h 678"/>
                <a:gd name="T48" fmla="*/ 394 w 572"/>
                <a:gd name="T49" fmla="*/ 244 h 678"/>
                <a:gd name="T50" fmla="*/ 376 w 572"/>
                <a:gd name="T51" fmla="*/ 258 h 678"/>
                <a:gd name="T52" fmla="*/ 356 w 572"/>
                <a:gd name="T53" fmla="*/ 276 h 678"/>
                <a:gd name="T54" fmla="*/ 338 w 572"/>
                <a:gd name="T55" fmla="*/ 298 h 678"/>
                <a:gd name="T56" fmla="*/ 322 w 572"/>
                <a:gd name="T57" fmla="*/ 326 h 678"/>
                <a:gd name="T58" fmla="*/ 306 w 572"/>
                <a:gd name="T59" fmla="*/ 358 h 678"/>
                <a:gd name="T60" fmla="*/ 294 w 572"/>
                <a:gd name="T61" fmla="*/ 396 h 678"/>
                <a:gd name="T62" fmla="*/ 282 w 572"/>
                <a:gd name="T63" fmla="*/ 440 h 678"/>
                <a:gd name="T64" fmla="*/ 228 w 572"/>
                <a:gd name="T65" fmla="*/ 678 h 678"/>
                <a:gd name="T66" fmla="*/ 0 w 572"/>
                <a:gd name="T67" fmla="*/ 678 h 678"/>
                <a:gd name="T68" fmla="*/ 150 w 572"/>
                <a:gd name="T69" fmla="*/ 12 h 678"/>
                <a:gd name="T70" fmla="*/ 150 w 572"/>
                <a:gd name="T71" fmla="*/ 12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72" h="678">
                  <a:moveTo>
                    <a:pt x="150" y="12"/>
                  </a:moveTo>
                  <a:lnTo>
                    <a:pt x="366" y="12"/>
                  </a:lnTo>
                  <a:lnTo>
                    <a:pt x="348" y="94"/>
                  </a:lnTo>
                  <a:lnTo>
                    <a:pt x="348" y="94"/>
                  </a:lnTo>
                  <a:lnTo>
                    <a:pt x="358" y="80"/>
                  </a:lnTo>
                  <a:lnTo>
                    <a:pt x="370" y="68"/>
                  </a:lnTo>
                  <a:lnTo>
                    <a:pt x="384" y="58"/>
                  </a:lnTo>
                  <a:lnTo>
                    <a:pt x="398" y="48"/>
                  </a:lnTo>
                  <a:lnTo>
                    <a:pt x="412" y="40"/>
                  </a:lnTo>
                  <a:lnTo>
                    <a:pt x="426" y="32"/>
                  </a:lnTo>
                  <a:lnTo>
                    <a:pt x="458" y="18"/>
                  </a:lnTo>
                  <a:lnTo>
                    <a:pt x="458" y="18"/>
                  </a:lnTo>
                  <a:lnTo>
                    <a:pt x="486" y="10"/>
                  </a:lnTo>
                  <a:lnTo>
                    <a:pt x="514" y="6"/>
                  </a:lnTo>
                  <a:lnTo>
                    <a:pt x="542" y="2"/>
                  </a:lnTo>
                  <a:lnTo>
                    <a:pt x="572" y="0"/>
                  </a:lnTo>
                  <a:lnTo>
                    <a:pt x="516" y="218"/>
                  </a:lnTo>
                  <a:lnTo>
                    <a:pt x="516" y="218"/>
                  </a:lnTo>
                  <a:lnTo>
                    <a:pt x="504" y="216"/>
                  </a:lnTo>
                  <a:lnTo>
                    <a:pt x="482" y="216"/>
                  </a:lnTo>
                  <a:lnTo>
                    <a:pt x="466" y="218"/>
                  </a:lnTo>
                  <a:lnTo>
                    <a:pt x="450" y="220"/>
                  </a:lnTo>
                  <a:lnTo>
                    <a:pt x="432" y="226"/>
                  </a:lnTo>
                  <a:lnTo>
                    <a:pt x="414" y="234"/>
                  </a:lnTo>
                  <a:lnTo>
                    <a:pt x="394" y="244"/>
                  </a:lnTo>
                  <a:lnTo>
                    <a:pt x="376" y="258"/>
                  </a:lnTo>
                  <a:lnTo>
                    <a:pt x="356" y="276"/>
                  </a:lnTo>
                  <a:lnTo>
                    <a:pt x="338" y="298"/>
                  </a:lnTo>
                  <a:lnTo>
                    <a:pt x="322" y="326"/>
                  </a:lnTo>
                  <a:lnTo>
                    <a:pt x="306" y="358"/>
                  </a:lnTo>
                  <a:lnTo>
                    <a:pt x="294" y="396"/>
                  </a:lnTo>
                  <a:lnTo>
                    <a:pt x="282" y="440"/>
                  </a:lnTo>
                  <a:lnTo>
                    <a:pt x="228" y="678"/>
                  </a:lnTo>
                  <a:lnTo>
                    <a:pt x="0" y="678"/>
                  </a:lnTo>
                  <a:lnTo>
                    <a:pt x="150" y="12"/>
                  </a:lnTo>
                  <a:lnTo>
                    <a:pt x="15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91"/>
              <a:endParaRPr lang="en-US">
                <a:solidFill>
                  <a:srgbClr val="FFFFFF"/>
                </a:solidFill>
              </a:endParaRPr>
            </a:p>
          </p:txBody>
        </p:sp>
        <p:sp>
          <p:nvSpPr>
            <p:cNvPr id="30" name="Freeform 21"/>
            <p:cNvSpPr>
              <a:spLocks/>
            </p:cNvSpPr>
            <p:nvPr/>
          </p:nvSpPr>
          <p:spPr bwMode="auto">
            <a:xfrm>
              <a:off x="6031440" y="4798531"/>
              <a:ext cx="113722" cy="109672"/>
            </a:xfrm>
            <a:custGeom>
              <a:avLst/>
              <a:gdLst>
                <a:gd name="T0" fmla="*/ 690 w 730"/>
                <a:gd name="T1" fmla="*/ 438 h 704"/>
                <a:gd name="T2" fmla="*/ 674 w 730"/>
                <a:gd name="T3" fmla="*/ 482 h 704"/>
                <a:gd name="T4" fmla="*/ 648 w 730"/>
                <a:gd name="T5" fmla="*/ 526 h 704"/>
                <a:gd name="T6" fmla="*/ 610 w 730"/>
                <a:gd name="T7" fmla="*/ 574 h 704"/>
                <a:gd name="T8" fmla="*/ 556 w 730"/>
                <a:gd name="T9" fmla="*/ 624 h 704"/>
                <a:gd name="T10" fmla="*/ 504 w 730"/>
                <a:gd name="T11" fmla="*/ 656 h 704"/>
                <a:gd name="T12" fmla="*/ 464 w 730"/>
                <a:gd name="T13" fmla="*/ 674 h 704"/>
                <a:gd name="T14" fmla="*/ 418 w 730"/>
                <a:gd name="T15" fmla="*/ 688 h 704"/>
                <a:gd name="T16" fmla="*/ 366 w 730"/>
                <a:gd name="T17" fmla="*/ 698 h 704"/>
                <a:gd name="T18" fmla="*/ 310 w 730"/>
                <a:gd name="T19" fmla="*/ 702 h 704"/>
                <a:gd name="T20" fmla="*/ 280 w 730"/>
                <a:gd name="T21" fmla="*/ 704 h 704"/>
                <a:gd name="T22" fmla="*/ 202 w 730"/>
                <a:gd name="T23" fmla="*/ 694 h 704"/>
                <a:gd name="T24" fmla="*/ 138 w 730"/>
                <a:gd name="T25" fmla="*/ 670 h 704"/>
                <a:gd name="T26" fmla="*/ 86 w 730"/>
                <a:gd name="T27" fmla="*/ 632 h 704"/>
                <a:gd name="T28" fmla="*/ 46 w 730"/>
                <a:gd name="T29" fmla="*/ 586 h 704"/>
                <a:gd name="T30" fmla="*/ 20 w 730"/>
                <a:gd name="T31" fmla="*/ 530 h 704"/>
                <a:gd name="T32" fmla="*/ 4 w 730"/>
                <a:gd name="T33" fmla="*/ 470 h 704"/>
                <a:gd name="T34" fmla="*/ 0 w 730"/>
                <a:gd name="T35" fmla="*/ 404 h 704"/>
                <a:gd name="T36" fmla="*/ 8 w 730"/>
                <a:gd name="T37" fmla="*/ 338 h 704"/>
                <a:gd name="T38" fmla="*/ 28 w 730"/>
                <a:gd name="T39" fmla="*/ 272 h 704"/>
                <a:gd name="T40" fmla="*/ 58 w 730"/>
                <a:gd name="T41" fmla="*/ 208 h 704"/>
                <a:gd name="T42" fmla="*/ 100 w 730"/>
                <a:gd name="T43" fmla="*/ 150 h 704"/>
                <a:gd name="T44" fmla="*/ 150 w 730"/>
                <a:gd name="T45" fmla="*/ 98 h 704"/>
                <a:gd name="T46" fmla="*/ 212 w 730"/>
                <a:gd name="T47" fmla="*/ 54 h 704"/>
                <a:gd name="T48" fmla="*/ 284 w 730"/>
                <a:gd name="T49" fmla="*/ 22 h 704"/>
                <a:gd name="T50" fmla="*/ 366 w 730"/>
                <a:gd name="T51" fmla="*/ 4 h 704"/>
                <a:gd name="T52" fmla="*/ 456 w 730"/>
                <a:gd name="T53" fmla="*/ 0 h 704"/>
                <a:gd name="T54" fmla="*/ 484 w 730"/>
                <a:gd name="T55" fmla="*/ 2 h 704"/>
                <a:gd name="T56" fmla="*/ 530 w 730"/>
                <a:gd name="T57" fmla="*/ 10 h 704"/>
                <a:gd name="T58" fmla="*/ 572 w 730"/>
                <a:gd name="T59" fmla="*/ 22 h 704"/>
                <a:gd name="T60" fmla="*/ 606 w 730"/>
                <a:gd name="T61" fmla="*/ 36 h 704"/>
                <a:gd name="T62" fmla="*/ 636 w 730"/>
                <a:gd name="T63" fmla="*/ 56 h 704"/>
                <a:gd name="T64" fmla="*/ 670 w 730"/>
                <a:gd name="T65" fmla="*/ 88 h 704"/>
                <a:gd name="T66" fmla="*/ 702 w 730"/>
                <a:gd name="T67" fmla="*/ 134 h 704"/>
                <a:gd name="T68" fmla="*/ 720 w 730"/>
                <a:gd name="T69" fmla="*/ 180 h 704"/>
                <a:gd name="T70" fmla="*/ 728 w 730"/>
                <a:gd name="T71" fmla="*/ 222 h 704"/>
                <a:gd name="T72" fmla="*/ 730 w 730"/>
                <a:gd name="T73" fmla="*/ 266 h 704"/>
                <a:gd name="T74" fmla="*/ 480 w 730"/>
                <a:gd name="T75" fmla="*/ 266 h 704"/>
                <a:gd name="T76" fmla="*/ 482 w 730"/>
                <a:gd name="T77" fmla="*/ 244 h 704"/>
                <a:gd name="T78" fmla="*/ 476 w 730"/>
                <a:gd name="T79" fmla="*/ 208 h 704"/>
                <a:gd name="T80" fmla="*/ 468 w 730"/>
                <a:gd name="T81" fmla="*/ 188 h 704"/>
                <a:gd name="T82" fmla="*/ 456 w 730"/>
                <a:gd name="T83" fmla="*/ 172 h 704"/>
                <a:gd name="T84" fmla="*/ 438 w 730"/>
                <a:gd name="T85" fmla="*/ 162 h 704"/>
                <a:gd name="T86" fmla="*/ 412 w 730"/>
                <a:gd name="T87" fmla="*/ 158 h 704"/>
                <a:gd name="T88" fmla="*/ 398 w 730"/>
                <a:gd name="T89" fmla="*/ 160 h 704"/>
                <a:gd name="T90" fmla="*/ 370 w 730"/>
                <a:gd name="T91" fmla="*/ 168 h 704"/>
                <a:gd name="T92" fmla="*/ 346 w 730"/>
                <a:gd name="T93" fmla="*/ 184 h 704"/>
                <a:gd name="T94" fmla="*/ 322 w 730"/>
                <a:gd name="T95" fmla="*/ 206 h 704"/>
                <a:gd name="T96" fmla="*/ 292 w 730"/>
                <a:gd name="T97" fmla="*/ 246 h 704"/>
                <a:gd name="T98" fmla="*/ 260 w 730"/>
                <a:gd name="T99" fmla="*/ 312 h 704"/>
                <a:gd name="T100" fmla="*/ 242 w 730"/>
                <a:gd name="T101" fmla="*/ 380 h 704"/>
                <a:gd name="T102" fmla="*/ 240 w 730"/>
                <a:gd name="T103" fmla="*/ 446 h 704"/>
                <a:gd name="T104" fmla="*/ 246 w 730"/>
                <a:gd name="T105" fmla="*/ 474 h 704"/>
                <a:gd name="T106" fmla="*/ 256 w 730"/>
                <a:gd name="T107" fmla="*/ 498 h 704"/>
                <a:gd name="T108" fmla="*/ 272 w 730"/>
                <a:gd name="T109" fmla="*/ 516 h 704"/>
                <a:gd name="T110" fmla="*/ 294 w 730"/>
                <a:gd name="T111" fmla="*/ 528 h 704"/>
                <a:gd name="T112" fmla="*/ 322 w 730"/>
                <a:gd name="T113" fmla="*/ 534 h 704"/>
                <a:gd name="T114" fmla="*/ 336 w 730"/>
                <a:gd name="T115" fmla="*/ 532 h 704"/>
                <a:gd name="T116" fmla="*/ 360 w 730"/>
                <a:gd name="T117" fmla="*/ 526 h 704"/>
                <a:gd name="T118" fmla="*/ 380 w 730"/>
                <a:gd name="T119" fmla="*/ 514 h 704"/>
                <a:gd name="T120" fmla="*/ 406 w 730"/>
                <a:gd name="T121" fmla="*/ 490 h 704"/>
                <a:gd name="T122" fmla="*/ 428 w 730"/>
                <a:gd name="T123" fmla="*/ 458 h 704"/>
                <a:gd name="T124" fmla="*/ 690 w 730"/>
                <a:gd name="T125" fmla="*/ 438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30" h="704">
                  <a:moveTo>
                    <a:pt x="690" y="438"/>
                  </a:moveTo>
                  <a:lnTo>
                    <a:pt x="690" y="438"/>
                  </a:lnTo>
                  <a:lnTo>
                    <a:pt x="686" y="450"/>
                  </a:lnTo>
                  <a:lnTo>
                    <a:pt x="674" y="482"/>
                  </a:lnTo>
                  <a:lnTo>
                    <a:pt x="662" y="502"/>
                  </a:lnTo>
                  <a:lnTo>
                    <a:pt x="648" y="526"/>
                  </a:lnTo>
                  <a:lnTo>
                    <a:pt x="632" y="550"/>
                  </a:lnTo>
                  <a:lnTo>
                    <a:pt x="610" y="574"/>
                  </a:lnTo>
                  <a:lnTo>
                    <a:pt x="586" y="600"/>
                  </a:lnTo>
                  <a:lnTo>
                    <a:pt x="556" y="624"/>
                  </a:lnTo>
                  <a:lnTo>
                    <a:pt x="524" y="646"/>
                  </a:lnTo>
                  <a:lnTo>
                    <a:pt x="504" y="656"/>
                  </a:lnTo>
                  <a:lnTo>
                    <a:pt x="484" y="666"/>
                  </a:lnTo>
                  <a:lnTo>
                    <a:pt x="464" y="674"/>
                  </a:lnTo>
                  <a:lnTo>
                    <a:pt x="442" y="682"/>
                  </a:lnTo>
                  <a:lnTo>
                    <a:pt x="418" y="688"/>
                  </a:lnTo>
                  <a:lnTo>
                    <a:pt x="394" y="694"/>
                  </a:lnTo>
                  <a:lnTo>
                    <a:pt x="366" y="698"/>
                  </a:lnTo>
                  <a:lnTo>
                    <a:pt x="340" y="702"/>
                  </a:lnTo>
                  <a:lnTo>
                    <a:pt x="310" y="702"/>
                  </a:lnTo>
                  <a:lnTo>
                    <a:pt x="280" y="704"/>
                  </a:lnTo>
                  <a:lnTo>
                    <a:pt x="280" y="704"/>
                  </a:lnTo>
                  <a:lnTo>
                    <a:pt x="240" y="700"/>
                  </a:lnTo>
                  <a:lnTo>
                    <a:pt x="202" y="694"/>
                  </a:lnTo>
                  <a:lnTo>
                    <a:pt x="168" y="682"/>
                  </a:lnTo>
                  <a:lnTo>
                    <a:pt x="138" y="670"/>
                  </a:lnTo>
                  <a:lnTo>
                    <a:pt x="110" y="652"/>
                  </a:lnTo>
                  <a:lnTo>
                    <a:pt x="86" y="632"/>
                  </a:lnTo>
                  <a:lnTo>
                    <a:pt x="64" y="610"/>
                  </a:lnTo>
                  <a:lnTo>
                    <a:pt x="46" y="586"/>
                  </a:lnTo>
                  <a:lnTo>
                    <a:pt x="32" y="558"/>
                  </a:lnTo>
                  <a:lnTo>
                    <a:pt x="20" y="530"/>
                  </a:lnTo>
                  <a:lnTo>
                    <a:pt x="10" y="500"/>
                  </a:lnTo>
                  <a:lnTo>
                    <a:pt x="4" y="470"/>
                  </a:lnTo>
                  <a:lnTo>
                    <a:pt x="0" y="438"/>
                  </a:lnTo>
                  <a:lnTo>
                    <a:pt x="0" y="404"/>
                  </a:lnTo>
                  <a:lnTo>
                    <a:pt x="4" y="372"/>
                  </a:lnTo>
                  <a:lnTo>
                    <a:pt x="8" y="338"/>
                  </a:lnTo>
                  <a:lnTo>
                    <a:pt x="16" y="304"/>
                  </a:lnTo>
                  <a:lnTo>
                    <a:pt x="28" y="272"/>
                  </a:lnTo>
                  <a:lnTo>
                    <a:pt x="42" y="240"/>
                  </a:lnTo>
                  <a:lnTo>
                    <a:pt x="58" y="208"/>
                  </a:lnTo>
                  <a:lnTo>
                    <a:pt x="78" y="178"/>
                  </a:lnTo>
                  <a:lnTo>
                    <a:pt x="100" y="150"/>
                  </a:lnTo>
                  <a:lnTo>
                    <a:pt x="124" y="122"/>
                  </a:lnTo>
                  <a:lnTo>
                    <a:pt x="150" y="98"/>
                  </a:lnTo>
                  <a:lnTo>
                    <a:pt x="180" y="74"/>
                  </a:lnTo>
                  <a:lnTo>
                    <a:pt x="212" y="54"/>
                  </a:lnTo>
                  <a:lnTo>
                    <a:pt x="248" y="36"/>
                  </a:lnTo>
                  <a:lnTo>
                    <a:pt x="284" y="22"/>
                  </a:lnTo>
                  <a:lnTo>
                    <a:pt x="324" y="10"/>
                  </a:lnTo>
                  <a:lnTo>
                    <a:pt x="366" y="4"/>
                  </a:lnTo>
                  <a:lnTo>
                    <a:pt x="410" y="0"/>
                  </a:lnTo>
                  <a:lnTo>
                    <a:pt x="456" y="0"/>
                  </a:lnTo>
                  <a:lnTo>
                    <a:pt x="456" y="0"/>
                  </a:lnTo>
                  <a:lnTo>
                    <a:pt x="484" y="2"/>
                  </a:lnTo>
                  <a:lnTo>
                    <a:pt x="508" y="6"/>
                  </a:lnTo>
                  <a:lnTo>
                    <a:pt x="530" y="10"/>
                  </a:lnTo>
                  <a:lnTo>
                    <a:pt x="552" y="14"/>
                  </a:lnTo>
                  <a:lnTo>
                    <a:pt x="572" y="22"/>
                  </a:lnTo>
                  <a:lnTo>
                    <a:pt x="590" y="28"/>
                  </a:lnTo>
                  <a:lnTo>
                    <a:pt x="606" y="36"/>
                  </a:lnTo>
                  <a:lnTo>
                    <a:pt x="622" y="46"/>
                  </a:lnTo>
                  <a:lnTo>
                    <a:pt x="636" y="56"/>
                  </a:lnTo>
                  <a:lnTo>
                    <a:pt x="648" y="66"/>
                  </a:lnTo>
                  <a:lnTo>
                    <a:pt x="670" y="88"/>
                  </a:lnTo>
                  <a:lnTo>
                    <a:pt x="688" y="110"/>
                  </a:lnTo>
                  <a:lnTo>
                    <a:pt x="702" y="134"/>
                  </a:lnTo>
                  <a:lnTo>
                    <a:pt x="712" y="158"/>
                  </a:lnTo>
                  <a:lnTo>
                    <a:pt x="720" y="180"/>
                  </a:lnTo>
                  <a:lnTo>
                    <a:pt x="726" y="202"/>
                  </a:lnTo>
                  <a:lnTo>
                    <a:pt x="728" y="222"/>
                  </a:lnTo>
                  <a:lnTo>
                    <a:pt x="730" y="252"/>
                  </a:lnTo>
                  <a:lnTo>
                    <a:pt x="730" y="266"/>
                  </a:lnTo>
                  <a:lnTo>
                    <a:pt x="480" y="266"/>
                  </a:lnTo>
                  <a:lnTo>
                    <a:pt x="480" y="266"/>
                  </a:lnTo>
                  <a:lnTo>
                    <a:pt x="480" y="258"/>
                  </a:lnTo>
                  <a:lnTo>
                    <a:pt x="482" y="244"/>
                  </a:lnTo>
                  <a:lnTo>
                    <a:pt x="480" y="226"/>
                  </a:lnTo>
                  <a:lnTo>
                    <a:pt x="476" y="208"/>
                  </a:lnTo>
                  <a:lnTo>
                    <a:pt x="474" y="198"/>
                  </a:lnTo>
                  <a:lnTo>
                    <a:pt x="468" y="188"/>
                  </a:lnTo>
                  <a:lnTo>
                    <a:pt x="464" y="180"/>
                  </a:lnTo>
                  <a:lnTo>
                    <a:pt x="456" y="172"/>
                  </a:lnTo>
                  <a:lnTo>
                    <a:pt x="448" y="166"/>
                  </a:lnTo>
                  <a:lnTo>
                    <a:pt x="438" y="162"/>
                  </a:lnTo>
                  <a:lnTo>
                    <a:pt x="426" y="160"/>
                  </a:lnTo>
                  <a:lnTo>
                    <a:pt x="412" y="158"/>
                  </a:lnTo>
                  <a:lnTo>
                    <a:pt x="412" y="158"/>
                  </a:lnTo>
                  <a:lnTo>
                    <a:pt x="398" y="160"/>
                  </a:lnTo>
                  <a:lnTo>
                    <a:pt x="384" y="164"/>
                  </a:lnTo>
                  <a:lnTo>
                    <a:pt x="370" y="168"/>
                  </a:lnTo>
                  <a:lnTo>
                    <a:pt x="358" y="176"/>
                  </a:lnTo>
                  <a:lnTo>
                    <a:pt x="346" y="184"/>
                  </a:lnTo>
                  <a:lnTo>
                    <a:pt x="334" y="194"/>
                  </a:lnTo>
                  <a:lnTo>
                    <a:pt x="322" y="206"/>
                  </a:lnTo>
                  <a:lnTo>
                    <a:pt x="312" y="218"/>
                  </a:lnTo>
                  <a:lnTo>
                    <a:pt x="292" y="246"/>
                  </a:lnTo>
                  <a:lnTo>
                    <a:pt x="274" y="278"/>
                  </a:lnTo>
                  <a:lnTo>
                    <a:pt x="260" y="312"/>
                  </a:lnTo>
                  <a:lnTo>
                    <a:pt x="250" y="346"/>
                  </a:lnTo>
                  <a:lnTo>
                    <a:pt x="242" y="380"/>
                  </a:lnTo>
                  <a:lnTo>
                    <a:pt x="238" y="414"/>
                  </a:lnTo>
                  <a:lnTo>
                    <a:pt x="240" y="446"/>
                  </a:lnTo>
                  <a:lnTo>
                    <a:pt x="242" y="460"/>
                  </a:lnTo>
                  <a:lnTo>
                    <a:pt x="246" y="474"/>
                  </a:lnTo>
                  <a:lnTo>
                    <a:pt x="250" y="486"/>
                  </a:lnTo>
                  <a:lnTo>
                    <a:pt x="256" y="498"/>
                  </a:lnTo>
                  <a:lnTo>
                    <a:pt x="264" y="508"/>
                  </a:lnTo>
                  <a:lnTo>
                    <a:pt x="272" y="516"/>
                  </a:lnTo>
                  <a:lnTo>
                    <a:pt x="282" y="524"/>
                  </a:lnTo>
                  <a:lnTo>
                    <a:pt x="294" y="528"/>
                  </a:lnTo>
                  <a:lnTo>
                    <a:pt x="306" y="532"/>
                  </a:lnTo>
                  <a:lnTo>
                    <a:pt x="322" y="534"/>
                  </a:lnTo>
                  <a:lnTo>
                    <a:pt x="322" y="534"/>
                  </a:lnTo>
                  <a:lnTo>
                    <a:pt x="336" y="532"/>
                  </a:lnTo>
                  <a:lnTo>
                    <a:pt x="348" y="530"/>
                  </a:lnTo>
                  <a:lnTo>
                    <a:pt x="360" y="526"/>
                  </a:lnTo>
                  <a:lnTo>
                    <a:pt x="370" y="522"/>
                  </a:lnTo>
                  <a:lnTo>
                    <a:pt x="380" y="514"/>
                  </a:lnTo>
                  <a:lnTo>
                    <a:pt x="390" y="508"/>
                  </a:lnTo>
                  <a:lnTo>
                    <a:pt x="406" y="490"/>
                  </a:lnTo>
                  <a:lnTo>
                    <a:pt x="418" y="474"/>
                  </a:lnTo>
                  <a:lnTo>
                    <a:pt x="428" y="458"/>
                  </a:lnTo>
                  <a:lnTo>
                    <a:pt x="438" y="438"/>
                  </a:lnTo>
                  <a:lnTo>
                    <a:pt x="690" y="438"/>
                  </a:lnTo>
                  <a:lnTo>
                    <a:pt x="690" y="4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91"/>
              <a:endParaRPr lang="en-US">
                <a:solidFill>
                  <a:srgbClr val="FFFFFF"/>
                </a:solidFill>
              </a:endParaRPr>
            </a:p>
          </p:txBody>
        </p:sp>
        <p:sp>
          <p:nvSpPr>
            <p:cNvPr id="31" name="Freeform 22"/>
            <p:cNvSpPr>
              <a:spLocks noEditPoints="1"/>
            </p:cNvSpPr>
            <p:nvPr/>
          </p:nvSpPr>
          <p:spPr bwMode="auto">
            <a:xfrm>
              <a:off x="6427131" y="4797285"/>
              <a:ext cx="116838" cy="111229"/>
            </a:xfrm>
            <a:custGeom>
              <a:avLst/>
              <a:gdLst>
                <a:gd name="T0" fmla="*/ 300 w 750"/>
                <a:gd name="T1" fmla="*/ 714 h 714"/>
                <a:gd name="T2" fmla="*/ 216 w 750"/>
                <a:gd name="T3" fmla="*/ 702 h 714"/>
                <a:gd name="T4" fmla="*/ 146 w 750"/>
                <a:gd name="T5" fmla="*/ 676 h 714"/>
                <a:gd name="T6" fmla="*/ 90 w 750"/>
                <a:gd name="T7" fmla="*/ 638 h 714"/>
                <a:gd name="T8" fmla="*/ 48 w 750"/>
                <a:gd name="T9" fmla="*/ 590 h 714"/>
                <a:gd name="T10" fmla="*/ 20 w 750"/>
                <a:gd name="T11" fmla="*/ 534 h 714"/>
                <a:gd name="T12" fmla="*/ 4 w 750"/>
                <a:gd name="T13" fmla="*/ 472 h 714"/>
                <a:gd name="T14" fmla="*/ 0 w 750"/>
                <a:gd name="T15" fmla="*/ 406 h 714"/>
                <a:gd name="T16" fmla="*/ 10 w 750"/>
                <a:gd name="T17" fmla="*/ 340 h 714"/>
                <a:gd name="T18" fmla="*/ 30 w 750"/>
                <a:gd name="T19" fmla="*/ 274 h 714"/>
                <a:gd name="T20" fmla="*/ 60 w 750"/>
                <a:gd name="T21" fmla="*/ 210 h 714"/>
                <a:gd name="T22" fmla="*/ 102 w 750"/>
                <a:gd name="T23" fmla="*/ 150 h 714"/>
                <a:gd name="T24" fmla="*/ 154 w 750"/>
                <a:gd name="T25" fmla="*/ 98 h 714"/>
                <a:gd name="T26" fmla="*/ 216 w 750"/>
                <a:gd name="T27" fmla="*/ 54 h 714"/>
                <a:gd name="T28" fmla="*/ 288 w 750"/>
                <a:gd name="T29" fmla="*/ 22 h 714"/>
                <a:gd name="T30" fmla="*/ 370 w 750"/>
                <a:gd name="T31" fmla="*/ 4 h 714"/>
                <a:gd name="T32" fmla="*/ 460 w 750"/>
                <a:gd name="T33" fmla="*/ 0 h 714"/>
                <a:gd name="T34" fmla="*/ 502 w 750"/>
                <a:gd name="T35" fmla="*/ 4 h 714"/>
                <a:gd name="T36" fmla="*/ 576 w 750"/>
                <a:gd name="T37" fmla="*/ 22 h 714"/>
                <a:gd name="T38" fmla="*/ 636 w 750"/>
                <a:gd name="T39" fmla="*/ 54 h 714"/>
                <a:gd name="T40" fmla="*/ 684 w 750"/>
                <a:gd name="T41" fmla="*/ 98 h 714"/>
                <a:gd name="T42" fmla="*/ 718 w 750"/>
                <a:gd name="T43" fmla="*/ 150 h 714"/>
                <a:gd name="T44" fmla="*/ 740 w 750"/>
                <a:gd name="T45" fmla="*/ 210 h 714"/>
                <a:gd name="T46" fmla="*/ 750 w 750"/>
                <a:gd name="T47" fmla="*/ 272 h 714"/>
                <a:gd name="T48" fmla="*/ 748 w 750"/>
                <a:gd name="T49" fmla="*/ 340 h 714"/>
                <a:gd name="T50" fmla="*/ 734 w 750"/>
                <a:gd name="T51" fmla="*/ 406 h 714"/>
                <a:gd name="T52" fmla="*/ 708 w 750"/>
                <a:gd name="T53" fmla="*/ 470 h 714"/>
                <a:gd name="T54" fmla="*/ 672 w 750"/>
                <a:gd name="T55" fmla="*/ 532 h 714"/>
                <a:gd name="T56" fmla="*/ 626 w 750"/>
                <a:gd name="T57" fmla="*/ 588 h 714"/>
                <a:gd name="T58" fmla="*/ 570 w 750"/>
                <a:gd name="T59" fmla="*/ 636 h 714"/>
                <a:gd name="T60" fmla="*/ 504 w 750"/>
                <a:gd name="T61" fmla="*/ 674 h 714"/>
                <a:gd name="T62" fmla="*/ 430 w 750"/>
                <a:gd name="T63" fmla="*/ 702 h 714"/>
                <a:gd name="T64" fmla="*/ 346 w 750"/>
                <a:gd name="T65" fmla="*/ 714 h 714"/>
                <a:gd name="T66" fmla="*/ 300 w 750"/>
                <a:gd name="T67" fmla="*/ 714 h 714"/>
                <a:gd name="T68" fmla="*/ 442 w 750"/>
                <a:gd name="T69" fmla="*/ 156 h 714"/>
                <a:gd name="T70" fmla="*/ 414 w 750"/>
                <a:gd name="T71" fmla="*/ 154 h 714"/>
                <a:gd name="T72" fmla="*/ 384 w 750"/>
                <a:gd name="T73" fmla="*/ 162 h 714"/>
                <a:gd name="T74" fmla="*/ 358 w 750"/>
                <a:gd name="T75" fmla="*/ 176 h 714"/>
                <a:gd name="T76" fmla="*/ 332 w 750"/>
                <a:gd name="T77" fmla="*/ 198 h 714"/>
                <a:gd name="T78" fmla="*/ 310 w 750"/>
                <a:gd name="T79" fmla="*/ 226 h 714"/>
                <a:gd name="T80" fmla="*/ 274 w 750"/>
                <a:gd name="T81" fmla="*/ 290 h 714"/>
                <a:gd name="T82" fmla="*/ 250 w 750"/>
                <a:gd name="T83" fmla="*/ 362 h 714"/>
                <a:gd name="T84" fmla="*/ 244 w 750"/>
                <a:gd name="T85" fmla="*/ 434 h 714"/>
                <a:gd name="T86" fmla="*/ 246 w 750"/>
                <a:gd name="T87" fmla="*/ 466 h 714"/>
                <a:gd name="T88" fmla="*/ 256 w 750"/>
                <a:gd name="T89" fmla="*/ 494 h 714"/>
                <a:gd name="T90" fmla="*/ 268 w 750"/>
                <a:gd name="T91" fmla="*/ 516 h 714"/>
                <a:gd name="T92" fmla="*/ 288 w 750"/>
                <a:gd name="T93" fmla="*/ 534 h 714"/>
                <a:gd name="T94" fmla="*/ 314 w 750"/>
                <a:gd name="T95" fmla="*/ 544 h 714"/>
                <a:gd name="T96" fmla="*/ 330 w 750"/>
                <a:gd name="T97" fmla="*/ 546 h 714"/>
                <a:gd name="T98" fmla="*/ 360 w 750"/>
                <a:gd name="T99" fmla="*/ 544 h 714"/>
                <a:gd name="T100" fmla="*/ 390 w 750"/>
                <a:gd name="T101" fmla="*/ 532 h 714"/>
                <a:gd name="T102" fmla="*/ 416 w 750"/>
                <a:gd name="T103" fmla="*/ 514 h 714"/>
                <a:gd name="T104" fmla="*/ 440 w 750"/>
                <a:gd name="T105" fmla="*/ 490 h 714"/>
                <a:gd name="T106" fmla="*/ 472 w 750"/>
                <a:gd name="T107" fmla="*/ 446 h 714"/>
                <a:gd name="T108" fmla="*/ 502 w 750"/>
                <a:gd name="T109" fmla="*/ 376 h 714"/>
                <a:gd name="T110" fmla="*/ 516 w 750"/>
                <a:gd name="T111" fmla="*/ 302 h 714"/>
                <a:gd name="T112" fmla="*/ 516 w 750"/>
                <a:gd name="T113" fmla="*/ 250 h 714"/>
                <a:gd name="T114" fmla="*/ 510 w 750"/>
                <a:gd name="T115" fmla="*/ 220 h 714"/>
                <a:gd name="T116" fmla="*/ 498 w 750"/>
                <a:gd name="T117" fmla="*/ 194 h 714"/>
                <a:gd name="T118" fmla="*/ 480 w 750"/>
                <a:gd name="T119" fmla="*/ 174 h 714"/>
                <a:gd name="T120" fmla="*/ 456 w 750"/>
                <a:gd name="T121" fmla="*/ 160 h 714"/>
                <a:gd name="T122" fmla="*/ 442 w 750"/>
                <a:gd name="T123" fmla="*/ 156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50" h="714">
                  <a:moveTo>
                    <a:pt x="300" y="714"/>
                  </a:moveTo>
                  <a:lnTo>
                    <a:pt x="300" y="714"/>
                  </a:lnTo>
                  <a:lnTo>
                    <a:pt x="256" y="710"/>
                  </a:lnTo>
                  <a:lnTo>
                    <a:pt x="216" y="702"/>
                  </a:lnTo>
                  <a:lnTo>
                    <a:pt x="180" y="690"/>
                  </a:lnTo>
                  <a:lnTo>
                    <a:pt x="146" y="676"/>
                  </a:lnTo>
                  <a:lnTo>
                    <a:pt x="116" y="658"/>
                  </a:lnTo>
                  <a:lnTo>
                    <a:pt x="90" y="638"/>
                  </a:lnTo>
                  <a:lnTo>
                    <a:pt x="68" y="616"/>
                  </a:lnTo>
                  <a:lnTo>
                    <a:pt x="48" y="590"/>
                  </a:lnTo>
                  <a:lnTo>
                    <a:pt x="32" y="562"/>
                  </a:lnTo>
                  <a:lnTo>
                    <a:pt x="20" y="534"/>
                  </a:lnTo>
                  <a:lnTo>
                    <a:pt x="10" y="504"/>
                  </a:lnTo>
                  <a:lnTo>
                    <a:pt x="4" y="472"/>
                  </a:lnTo>
                  <a:lnTo>
                    <a:pt x="0" y="440"/>
                  </a:lnTo>
                  <a:lnTo>
                    <a:pt x="0" y="406"/>
                  </a:lnTo>
                  <a:lnTo>
                    <a:pt x="4" y="374"/>
                  </a:lnTo>
                  <a:lnTo>
                    <a:pt x="10" y="340"/>
                  </a:lnTo>
                  <a:lnTo>
                    <a:pt x="18" y="306"/>
                  </a:lnTo>
                  <a:lnTo>
                    <a:pt x="30" y="274"/>
                  </a:lnTo>
                  <a:lnTo>
                    <a:pt x="44" y="240"/>
                  </a:lnTo>
                  <a:lnTo>
                    <a:pt x="60" y="210"/>
                  </a:lnTo>
                  <a:lnTo>
                    <a:pt x="80" y="178"/>
                  </a:lnTo>
                  <a:lnTo>
                    <a:pt x="102" y="150"/>
                  </a:lnTo>
                  <a:lnTo>
                    <a:pt x="128" y="122"/>
                  </a:lnTo>
                  <a:lnTo>
                    <a:pt x="154" y="98"/>
                  </a:lnTo>
                  <a:lnTo>
                    <a:pt x="184" y="74"/>
                  </a:lnTo>
                  <a:lnTo>
                    <a:pt x="216" y="54"/>
                  </a:lnTo>
                  <a:lnTo>
                    <a:pt x="252" y="36"/>
                  </a:lnTo>
                  <a:lnTo>
                    <a:pt x="288" y="22"/>
                  </a:lnTo>
                  <a:lnTo>
                    <a:pt x="328" y="10"/>
                  </a:lnTo>
                  <a:lnTo>
                    <a:pt x="370" y="4"/>
                  </a:lnTo>
                  <a:lnTo>
                    <a:pt x="414" y="0"/>
                  </a:lnTo>
                  <a:lnTo>
                    <a:pt x="460" y="0"/>
                  </a:lnTo>
                  <a:lnTo>
                    <a:pt x="460" y="0"/>
                  </a:lnTo>
                  <a:lnTo>
                    <a:pt x="502" y="4"/>
                  </a:lnTo>
                  <a:lnTo>
                    <a:pt x="540" y="12"/>
                  </a:lnTo>
                  <a:lnTo>
                    <a:pt x="576" y="22"/>
                  </a:lnTo>
                  <a:lnTo>
                    <a:pt x="608" y="38"/>
                  </a:lnTo>
                  <a:lnTo>
                    <a:pt x="636" y="54"/>
                  </a:lnTo>
                  <a:lnTo>
                    <a:pt x="662" y="76"/>
                  </a:lnTo>
                  <a:lnTo>
                    <a:pt x="684" y="98"/>
                  </a:lnTo>
                  <a:lnTo>
                    <a:pt x="702" y="124"/>
                  </a:lnTo>
                  <a:lnTo>
                    <a:pt x="718" y="150"/>
                  </a:lnTo>
                  <a:lnTo>
                    <a:pt x="730" y="180"/>
                  </a:lnTo>
                  <a:lnTo>
                    <a:pt x="740" y="210"/>
                  </a:lnTo>
                  <a:lnTo>
                    <a:pt x="746" y="240"/>
                  </a:lnTo>
                  <a:lnTo>
                    <a:pt x="750" y="272"/>
                  </a:lnTo>
                  <a:lnTo>
                    <a:pt x="750" y="306"/>
                  </a:lnTo>
                  <a:lnTo>
                    <a:pt x="748" y="340"/>
                  </a:lnTo>
                  <a:lnTo>
                    <a:pt x="742" y="372"/>
                  </a:lnTo>
                  <a:lnTo>
                    <a:pt x="734" y="406"/>
                  </a:lnTo>
                  <a:lnTo>
                    <a:pt x="722" y="438"/>
                  </a:lnTo>
                  <a:lnTo>
                    <a:pt x="708" y="470"/>
                  </a:lnTo>
                  <a:lnTo>
                    <a:pt x="692" y="502"/>
                  </a:lnTo>
                  <a:lnTo>
                    <a:pt x="672" y="532"/>
                  </a:lnTo>
                  <a:lnTo>
                    <a:pt x="652" y="562"/>
                  </a:lnTo>
                  <a:lnTo>
                    <a:pt x="626" y="588"/>
                  </a:lnTo>
                  <a:lnTo>
                    <a:pt x="600" y="614"/>
                  </a:lnTo>
                  <a:lnTo>
                    <a:pt x="570" y="636"/>
                  </a:lnTo>
                  <a:lnTo>
                    <a:pt x="538" y="656"/>
                  </a:lnTo>
                  <a:lnTo>
                    <a:pt x="504" y="674"/>
                  </a:lnTo>
                  <a:lnTo>
                    <a:pt x="468" y="690"/>
                  </a:lnTo>
                  <a:lnTo>
                    <a:pt x="430" y="702"/>
                  </a:lnTo>
                  <a:lnTo>
                    <a:pt x="388" y="710"/>
                  </a:lnTo>
                  <a:lnTo>
                    <a:pt x="346" y="714"/>
                  </a:lnTo>
                  <a:lnTo>
                    <a:pt x="300" y="714"/>
                  </a:lnTo>
                  <a:lnTo>
                    <a:pt x="300" y="714"/>
                  </a:lnTo>
                  <a:close/>
                  <a:moveTo>
                    <a:pt x="442" y="156"/>
                  </a:moveTo>
                  <a:lnTo>
                    <a:pt x="442" y="156"/>
                  </a:lnTo>
                  <a:lnTo>
                    <a:pt x="428" y="154"/>
                  </a:lnTo>
                  <a:lnTo>
                    <a:pt x="414" y="154"/>
                  </a:lnTo>
                  <a:lnTo>
                    <a:pt x="398" y="158"/>
                  </a:lnTo>
                  <a:lnTo>
                    <a:pt x="384" y="162"/>
                  </a:lnTo>
                  <a:lnTo>
                    <a:pt x="370" y="168"/>
                  </a:lnTo>
                  <a:lnTo>
                    <a:pt x="358" y="176"/>
                  </a:lnTo>
                  <a:lnTo>
                    <a:pt x="344" y="186"/>
                  </a:lnTo>
                  <a:lnTo>
                    <a:pt x="332" y="198"/>
                  </a:lnTo>
                  <a:lnTo>
                    <a:pt x="322" y="212"/>
                  </a:lnTo>
                  <a:lnTo>
                    <a:pt x="310" y="226"/>
                  </a:lnTo>
                  <a:lnTo>
                    <a:pt x="290" y="256"/>
                  </a:lnTo>
                  <a:lnTo>
                    <a:pt x="274" y="290"/>
                  </a:lnTo>
                  <a:lnTo>
                    <a:pt x="260" y="326"/>
                  </a:lnTo>
                  <a:lnTo>
                    <a:pt x="250" y="362"/>
                  </a:lnTo>
                  <a:lnTo>
                    <a:pt x="244" y="398"/>
                  </a:lnTo>
                  <a:lnTo>
                    <a:pt x="244" y="434"/>
                  </a:lnTo>
                  <a:lnTo>
                    <a:pt x="244" y="450"/>
                  </a:lnTo>
                  <a:lnTo>
                    <a:pt x="246" y="466"/>
                  </a:lnTo>
                  <a:lnTo>
                    <a:pt x="250" y="480"/>
                  </a:lnTo>
                  <a:lnTo>
                    <a:pt x="256" y="494"/>
                  </a:lnTo>
                  <a:lnTo>
                    <a:pt x="262" y="506"/>
                  </a:lnTo>
                  <a:lnTo>
                    <a:pt x="268" y="516"/>
                  </a:lnTo>
                  <a:lnTo>
                    <a:pt x="278" y="526"/>
                  </a:lnTo>
                  <a:lnTo>
                    <a:pt x="288" y="534"/>
                  </a:lnTo>
                  <a:lnTo>
                    <a:pt x="300" y="540"/>
                  </a:lnTo>
                  <a:lnTo>
                    <a:pt x="314" y="544"/>
                  </a:lnTo>
                  <a:lnTo>
                    <a:pt x="314" y="544"/>
                  </a:lnTo>
                  <a:lnTo>
                    <a:pt x="330" y="546"/>
                  </a:lnTo>
                  <a:lnTo>
                    <a:pt x="346" y="546"/>
                  </a:lnTo>
                  <a:lnTo>
                    <a:pt x="360" y="544"/>
                  </a:lnTo>
                  <a:lnTo>
                    <a:pt x="376" y="538"/>
                  </a:lnTo>
                  <a:lnTo>
                    <a:pt x="390" y="532"/>
                  </a:lnTo>
                  <a:lnTo>
                    <a:pt x="404" y="524"/>
                  </a:lnTo>
                  <a:lnTo>
                    <a:pt x="416" y="514"/>
                  </a:lnTo>
                  <a:lnTo>
                    <a:pt x="428" y="502"/>
                  </a:lnTo>
                  <a:lnTo>
                    <a:pt x="440" y="490"/>
                  </a:lnTo>
                  <a:lnTo>
                    <a:pt x="452" y="476"/>
                  </a:lnTo>
                  <a:lnTo>
                    <a:pt x="472" y="446"/>
                  </a:lnTo>
                  <a:lnTo>
                    <a:pt x="488" y="412"/>
                  </a:lnTo>
                  <a:lnTo>
                    <a:pt x="502" y="376"/>
                  </a:lnTo>
                  <a:lnTo>
                    <a:pt x="512" y="338"/>
                  </a:lnTo>
                  <a:lnTo>
                    <a:pt x="516" y="302"/>
                  </a:lnTo>
                  <a:lnTo>
                    <a:pt x="518" y="268"/>
                  </a:lnTo>
                  <a:lnTo>
                    <a:pt x="516" y="250"/>
                  </a:lnTo>
                  <a:lnTo>
                    <a:pt x="514" y="236"/>
                  </a:lnTo>
                  <a:lnTo>
                    <a:pt x="510" y="220"/>
                  </a:lnTo>
                  <a:lnTo>
                    <a:pt x="504" y="206"/>
                  </a:lnTo>
                  <a:lnTo>
                    <a:pt x="498" y="194"/>
                  </a:lnTo>
                  <a:lnTo>
                    <a:pt x="490" y="184"/>
                  </a:lnTo>
                  <a:lnTo>
                    <a:pt x="480" y="174"/>
                  </a:lnTo>
                  <a:lnTo>
                    <a:pt x="470" y="166"/>
                  </a:lnTo>
                  <a:lnTo>
                    <a:pt x="456" y="160"/>
                  </a:lnTo>
                  <a:lnTo>
                    <a:pt x="442" y="156"/>
                  </a:lnTo>
                  <a:lnTo>
                    <a:pt x="442"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91"/>
              <a:endParaRPr lang="en-US">
                <a:solidFill>
                  <a:srgbClr val="FFFFFF"/>
                </a:solidFill>
              </a:endParaRPr>
            </a:p>
          </p:txBody>
        </p:sp>
        <p:sp>
          <p:nvSpPr>
            <p:cNvPr id="32" name="Freeform 23"/>
            <p:cNvSpPr>
              <a:spLocks/>
            </p:cNvSpPr>
            <p:nvPr/>
          </p:nvSpPr>
          <p:spPr bwMode="auto">
            <a:xfrm>
              <a:off x="6540853" y="4765817"/>
              <a:ext cx="134597" cy="139582"/>
            </a:xfrm>
            <a:custGeom>
              <a:avLst/>
              <a:gdLst>
                <a:gd name="T0" fmla="*/ 482 w 864"/>
                <a:gd name="T1" fmla="*/ 130 h 896"/>
                <a:gd name="T2" fmla="*/ 442 w 864"/>
                <a:gd name="T3" fmla="*/ 134 h 896"/>
                <a:gd name="T4" fmla="*/ 416 w 864"/>
                <a:gd name="T5" fmla="*/ 148 h 896"/>
                <a:gd name="T6" fmla="*/ 402 w 864"/>
                <a:gd name="T7" fmla="*/ 172 h 896"/>
                <a:gd name="T8" fmla="*/ 392 w 864"/>
                <a:gd name="T9" fmla="*/ 206 h 896"/>
                <a:gd name="T10" fmla="*/ 530 w 864"/>
                <a:gd name="T11" fmla="*/ 228 h 896"/>
                <a:gd name="T12" fmla="*/ 786 w 864"/>
                <a:gd name="T13" fmla="*/ 66 h 896"/>
                <a:gd name="T14" fmla="*/ 864 w 864"/>
                <a:gd name="T15" fmla="*/ 228 h 896"/>
                <a:gd name="T16" fmla="*/ 718 w 864"/>
                <a:gd name="T17" fmla="*/ 382 h 896"/>
                <a:gd name="T18" fmla="*/ 656 w 864"/>
                <a:gd name="T19" fmla="*/ 674 h 896"/>
                <a:gd name="T20" fmla="*/ 650 w 864"/>
                <a:gd name="T21" fmla="*/ 710 h 896"/>
                <a:gd name="T22" fmla="*/ 652 w 864"/>
                <a:gd name="T23" fmla="*/ 722 h 896"/>
                <a:gd name="T24" fmla="*/ 660 w 864"/>
                <a:gd name="T25" fmla="*/ 730 h 896"/>
                <a:gd name="T26" fmla="*/ 690 w 864"/>
                <a:gd name="T27" fmla="*/ 738 h 896"/>
                <a:gd name="T28" fmla="*/ 742 w 864"/>
                <a:gd name="T29" fmla="*/ 738 h 896"/>
                <a:gd name="T30" fmla="*/ 720 w 864"/>
                <a:gd name="T31" fmla="*/ 890 h 896"/>
                <a:gd name="T32" fmla="*/ 688 w 864"/>
                <a:gd name="T33" fmla="*/ 892 h 896"/>
                <a:gd name="T34" fmla="*/ 616 w 864"/>
                <a:gd name="T35" fmla="*/ 896 h 896"/>
                <a:gd name="T36" fmla="*/ 530 w 864"/>
                <a:gd name="T37" fmla="*/ 890 h 896"/>
                <a:gd name="T38" fmla="*/ 492 w 864"/>
                <a:gd name="T39" fmla="*/ 880 h 896"/>
                <a:gd name="T40" fmla="*/ 462 w 864"/>
                <a:gd name="T41" fmla="*/ 866 h 896"/>
                <a:gd name="T42" fmla="*/ 450 w 864"/>
                <a:gd name="T43" fmla="*/ 858 h 896"/>
                <a:gd name="T44" fmla="*/ 430 w 864"/>
                <a:gd name="T45" fmla="*/ 834 h 896"/>
                <a:gd name="T46" fmla="*/ 418 w 864"/>
                <a:gd name="T47" fmla="*/ 798 h 896"/>
                <a:gd name="T48" fmla="*/ 416 w 864"/>
                <a:gd name="T49" fmla="*/ 748 h 896"/>
                <a:gd name="T50" fmla="*/ 494 w 864"/>
                <a:gd name="T51" fmla="*/ 382 h 896"/>
                <a:gd name="T52" fmla="*/ 250 w 864"/>
                <a:gd name="T53" fmla="*/ 894 h 896"/>
                <a:gd name="T54" fmla="*/ 124 w 864"/>
                <a:gd name="T55" fmla="*/ 382 h 896"/>
                <a:gd name="T56" fmla="*/ 34 w 864"/>
                <a:gd name="T57" fmla="*/ 228 h 896"/>
                <a:gd name="T58" fmla="*/ 154 w 864"/>
                <a:gd name="T59" fmla="*/ 228 h 896"/>
                <a:gd name="T60" fmla="*/ 178 w 864"/>
                <a:gd name="T61" fmla="*/ 142 h 896"/>
                <a:gd name="T62" fmla="*/ 200 w 864"/>
                <a:gd name="T63" fmla="*/ 96 h 896"/>
                <a:gd name="T64" fmla="*/ 228 w 864"/>
                <a:gd name="T65" fmla="*/ 56 h 896"/>
                <a:gd name="T66" fmla="*/ 248 w 864"/>
                <a:gd name="T67" fmla="*/ 40 h 896"/>
                <a:gd name="T68" fmla="*/ 280 w 864"/>
                <a:gd name="T69" fmla="*/ 20 h 896"/>
                <a:gd name="T70" fmla="*/ 320 w 864"/>
                <a:gd name="T71" fmla="*/ 8 h 896"/>
                <a:gd name="T72" fmla="*/ 362 w 864"/>
                <a:gd name="T73" fmla="*/ 2 h 896"/>
                <a:gd name="T74" fmla="*/ 446 w 864"/>
                <a:gd name="T75" fmla="*/ 0 h 896"/>
                <a:gd name="T76" fmla="*/ 510 w 864"/>
                <a:gd name="T77" fmla="*/ 4 h 896"/>
                <a:gd name="T78" fmla="*/ 482 w 864"/>
                <a:gd name="T79" fmla="*/ 130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64" h="896">
                  <a:moveTo>
                    <a:pt x="482" y="130"/>
                  </a:moveTo>
                  <a:lnTo>
                    <a:pt x="482" y="130"/>
                  </a:lnTo>
                  <a:lnTo>
                    <a:pt x="460" y="130"/>
                  </a:lnTo>
                  <a:lnTo>
                    <a:pt x="442" y="134"/>
                  </a:lnTo>
                  <a:lnTo>
                    <a:pt x="428" y="140"/>
                  </a:lnTo>
                  <a:lnTo>
                    <a:pt x="416" y="148"/>
                  </a:lnTo>
                  <a:lnTo>
                    <a:pt x="408" y="160"/>
                  </a:lnTo>
                  <a:lnTo>
                    <a:pt x="402" y="172"/>
                  </a:lnTo>
                  <a:lnTo>
                    <a:pt x="396" y="188"/>
                  </a:lnTo>
                  <a:lnTo>
                    <a:pt x="392" y="206"/>
                  </a:lnTo>
                  <a:lnTo>
                    <a:pt x="388" y="228"/>
                  </a:lnTo>
                  <a:lnTo>
                    <a:pt x="530" y="228"/>
                  </a:lnTo>
                  <a:lnTo>
                    <a:pt x="564" y="66"/>
                  </a:lnTo>
                  <a:lnTo>
                    <a:pt x="786" y="66"/>
                  </a:lnTo>
                  <a:lnTo>
                    <a:pt x="752" y="228"/>
                  </a:lnTo>
                  <a:lnTo>
                    <a:pt x="864" y="228"/>
                  </a:lnTo>
                  <a:lnTo>
                    <a:pt x="832" y="382"/>
                  </a:lnTo>
                  <a:lnTo>
                    <a:pt x="718" y="382"/>
                  </a:lnTo>
                  <a:lnTo>
                    <a:pt x="656" y="674"/>
                  </a:lnTo>
                  <a:lnTo>
                    <a:pt x="656" y="674"/>
                  </a:lnTo>
                  <a:lnTo>
                    <a:pt x="650" y="696"/>
                  </a:lnTo>
                  <a:lnTo>
                    <a:pt x="650" y="710"/>
                  </a:lnTo>
                  <a:lnTo>
                    <a:pt x="652" y="722"/>
                  </a:lnTo>
                  <a:lnTo>
                    <a:pt x="652" y="722"/>
                  </a:lnTo>
                  <a:lnTo>
                    <a:pt x="656" y="726"/>
                  </a:lnTo>
                  <a:lnTo>
                    <a:pt x="660" y="730"/>
                  </a:lnTo>
                  <a:lnTo>
                    <a:pt x="672" y="736"/>
                  </a:lnTo>
                  <a:lnTo>
                    <a:pt x="690" y="738"/>
                  </a:lnTo>
                  <a:lnTo>
                    <a:pt x="708" y="740"/>
                  </a:lnTo>
                  <a:lnTo>
                    <a:pt x="742" y="738"/>
                  </a:lnTo>
                  <a:lnTo>
                    <a:pt x="758" y="738"/>
                  </a:lnTo>
                  <a:lnTo>
                    <a:pt x="720" y="890"/>
                  </a:lnTo>
                  <a:lnTo>
                    <a:pt x="720" y="890"/>
                  </a:lnTo>
                  <a:lnTo>
                    <a:pt x="688" y="892"/>
                  </a:lnTo>
                  <a:lnTo>
                    <a:pt x="656" y="894"/>
                  </a:lnTo>
                  <a:lnTo>
                    <a:pt x="616" y="896"/>
                  </a:lnTo>
                  <a:lnTo>
                    <a:pt x="572" y="894"/>
                  </a:lnTo>
                  <a:lnTo>
                    <a:pt x="530" y="890"/>
                  </a:lnTo>
                  <a:lnTo>
                    <a:pt x="510" y="886"/>
                  </a:lnTo>
                  <a:lnTo>
                    <a:pt x="492" y="880"/>
                  </a:lnTo>
                  <a:lnTo>
                    <a:pt x="476" y="874"/>
                  </a:lnTo>
                  <a:lnTo>
                    <a:pt x="462" y="866"/>
                  </a:lnTo>
                  <a:lnTo>
                    <a:pt x="462" y="866"/>
                  </a:lnTo>
                  <a:lnTo>
                    <a:pt x="450" y="858"/>
                  </a:lnTo>
                  <a:lnTo>
                    <a:pt x="440" y="848"/>
                  </a:lnTo>
                  <a:lnTo>
                    <a:pt x="430" y="834"/>
                  </a:lnTo>
                  <a:lnTo>
                    <a:pt x="422" y="818"/>
                  </a:lnTo>
                  <a:lnTo>
                    <a:pt x="418" y="798"/>
                  </a:lnTo>
                  <a:lnTo>
                    <a:pt x="414" y="776"/>
                  </a:lnTo>
                  <a:lnTo>
                    <a:pt x="416" y="748"/>
                  </a:lnTo>
                  <a:lnTo>
                    <a:pt x="420" y="718"/>
                  </a:lnTo>
                  <a:lnTo>
                    <a:pt x="494" y="382"/>
                  </a:lnTo>
                  <a:lnTo>
                    <a:pt x="362" y="382"/>
                  </a:lnTo>
                  <a:lnTo>
                    <a:pt x="250" y="894"/>
                  </a:lnTo>
                  <a:lnTo>
                    <a:pt x="12" y="894"/>
                  </a:lnTo>
                  <a:lnTo>
                    <a:pt x="124" y="382"/>
                  </a:lnTo>
                  <a:lnTo>
                    <a:pt x="0" y="382"/>
                  </a:lnTo>
                  <a:lnTo>
                    <a:pt x="34" y="228"/>
                  </a:lnTo>
                  <a:lnTo>
                    <a:pt x="154" y="228"/>
                  </a:lnTo>
                  <a:lnTo>
                    <a:pt x="154" y="228"/>
                  </a:lnTo>
                  <a:lnTo>
                    <a:pt x="170" y="168"/>
                  </a:lnTo>
                  <a:lnTo>
                    <a:pt x="178" y="142"/>
                  </a:lnTo>
                  <a:lnTo>
                    <a:pt x="188" y="118"/>
                  </a:lnTo>
                  <a:lnTo>
                    <a:pt x="200" y="96"/>
                  </a:lnTo>
                  <a:lnTo>
                    <a:pt x="214" y="76"/>
                  </a:lnTo>
                  <a:lnTo>
                    <a:pt x="228" y="56"/>
                  </a:lnTo>
                  <a:lnTo>
                    <a:pt x="248" y="40"/>
                  </a:lnTo>
                  <a:lnTo>
                    <a:pt x="248" y="40"/>
                  </a:lnTo>
                  <a:lnTo>
                    <a:pt x="262" y="30"/>
                  </a:lnTo>
                  <a:lnTo>
                    <a:pt x="280" y="20"/>
                  </a:lnTo>
                  <a:lnTo>
                    <a:pt x="298" y="14"/>
                  </a:lnTo>
                  <a:lnTo>
                    <a:pt x="320" y="8"/>
                  </a:lnTo>
                  <a:lnTo>
                    <a:pt x="340" y="4"/>
                  </a:lnTo>
                  <a:lnTo>
                    <a:pt x="362" y="2"/>
                  </a:lnTo>
                  <a:lnTo>
                    <a:pt x="406" y="0"/>
                  </a:lnTo>
                  <a:lnTo>
                    <a:pt x="446" y="0"/>
                  </a:lnTo>
                  <a:lnTo>
                    <a:pt x="478" y="0"/>
                  </a:lnTo>
                  <a:lnTo>
                    <a:pt x="510" y="4"/>
                  </a:lnTo>
                  <a:lnTo>
                    <a:pt x="482" y="130"/>
                  </a:lnTo>
                  <a:lnTo>
                    <a:pt x="482" y="1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91"/>
              <a:endParaRPr lang="en-US">
                <a:solidFill>
                  <a:srgbClr val="FFFFFF"/>
                </a:solidFill>
              </a:endParaRPr>
            </a:p>
          </p:txBody>
        </p:sp>
        <p:sp>
          <p:nvSpPr>
            <p:cNvPr id="33" name="Freeform 24"/>
            <p:cNvSpPr>
              <a:spLocks/>
            </p:cNvSpPr>
            <p:nvPr/>
          </p:nvSpPr>
          <p:spPr bwMode="auto">
            <a:xfrm>
              <a:off x="6204048" y="4796973"/>
              <a:ext cx="223082" cy="111853"/>
            </a:xfrm>
            <a:custGeom>
              <a:avLst/>
              <a:gdLst/>
              <a:ahLst/>
              <a:cxnLst/>
              <a:rect l="l" t="t" r="r" b="b"/>
              <a:pathLst>
                <a:path w="223082" h="111853">
                  <a:moveTo>
                    <a:pt x="64184" y="24303"/>
                  </a:moveTo>
                  <a:lnTo>
                    <a:pt x="62003" y="24615"/>
                  </a:lnTo>
                  <a:lnTo>
                    <a:pt x="59822" y="25550"/>
                  </a:lnTo>
                  <a:lnTo>
                    <a:pt x="57641" y="26484"/>
                  </a:lnTo>
                  <a:lnTo>
                    <a:pt x="55460" y="27730"/>
                  </a:lnTo>
                  <a:lnTo>
                    <a:pt x="53591" y="29288"/>
                  </a:lnTo>
                  <a:lnTo>
                    <a:pt x="51721" y="31158"/>
                  </a:lnTo>
                  <a:lnTo>
                    <a:pt x="49852" y="33027"/>
                  </a:lnTo>
                  <a:lnTo>
                    <a:pt x="48294" y="35208"/>
                  </a:lnTo>
                  <a:lnTo>
                    <a:pt x="45178" y="40193"/>
                  </a:lnTo>
                  <a:lnTo>
                    <a:pt x="42686" y="45490"/>
                  </a:lnTo>
                  <a:lnTo>
                    <a:pt x="40505" y="51098"/>
                  </a:lnTo>
                  <a:lnTo>
                    <a:pt x="38947" y="56706"/>
                  </a:lnTo>
                  <a:lnTo>
                    <a:pt x="38012" y="62314"/>
                  </a:lnTo>
                  <a:lnTo>
                    <a:pt x="38012" y="67611"/>
                  </a:lnTo>
                  <a:lnTo>
                    <a:pt x="38012" y="70103"/>
                  </a:lnTo>
                  <a:lnTo>
                    <a:pt x="38324" y="72596"/>
                  </a:lnTo>
                  <a:lnTo>
                    <a:pt x="38947" y="74777"/>
                  </a:lnTo>
                  <a:lnTo>
                    <a:pt x="39882" y="76958"/>
                  </a:lnTo>
                  <a:lnTo>
                    <a:pt x="40816" y="78827"/>
                  </a:lnTo>
                  <a:lnTo>
                    <a:pt x="41751" y="80697"/>
                  </a:lnTo>
                  <a:lnTo>
                    <a:pt x="43309" y="82255"/>
                  </a:lnTo>
                  <a:lnTo>
                    <a:pt x="44867" y="83501"/>
                  </a:lnTo>
                  <a:lnTo>
                    <a:pt x="46736" y="84436"/>
                  </a:lnTo>
                  <a:lnTo>
                    <a:pt x="48917" y="85059"/>
                  </a:lnTo>
                  <a:lnTo>
                    <a:pt x="51410" y="85370"/>
                  </a:lnTo>
                  <a:lnTo>
                    <a:pt x="53902" y="85059"/>
                  </a:lnTo>
                  <a:lnTo>
                    <a:pt x="56083" y="84747"/>
                  </a:lnTo>
                  <a:lnTo>
                    <a:pt x="58264" y="84124"/>
                  </a:lnTo>
                  <a:lnTo>
                    <a:pt x="60445" y="83189"/>
                  </a:lnTo>
                  <a:lnTo>
                    <a:pt x="62626" y="81943"/>
                  </a:lnTo>
                  <a:lnTo>
                    <a:pt x="64807" y="80385"/>
                  </a:lnTo>
                  <a:lnTo>
                    <a:pt x="66676" y="78516"/>
                  </a:lnTo>
                  <a:lnTo>
                    <a:pt x="68546" y="76646"/>
                  </a:lnTo>
                  <a:lnTo>
                    <a:pt x="70104" y="74465"/>
                  </a:lnTo>
                  <a:lnTo>
                    <a:pt x="73219" y="69480"/>
                  </a:lnTo>
                  <a:lnTo>
                    <a:pt x="75712" y="64184"/>
                  </a:lnTo>
                  <a:lnTo>
                    <a:pt x="77893" y="58576"/>
                  </a:lnTo>
                  <a:lnTo>
                    <a:pt x="79451" y="52967"/>
                  </a:lnTo>
                  <a:lnTo>
                    <a:pt x="80074" y="47359"/>
                  </a:lnTo>
                  <a:lnTo>
                    <a:pt x="80385" y="41751"/>
                  </a:lnTo>
                  <a:lnTo>
                    <a:pt x="80074" y="39258"/>
                  </a:lnTo>
                  <a:lnTo>
                    <a:pt x="79762" y="36766"/>
                  </a:lnTo>
                  <a:lnTo>
                    <a:pt x="79139" y="34585"/>
                  </a:lnTo>
                  <a:lnTo>
                    <a:pt x="78204" y="32404"/>
                  </a:lnTo>
                  <a:lnTo>
                    <a:pt x="77270" y="30535"/>
                  </a:lnTo>
                  <a:lnTo>
                    <a:pt x="76023" y="28665"/>
                  </a:lnTo>
                  <a:lnTo>
                    <a:pt x="74465" y="27107"/>
                  </a:lnTo>
                  <a:lnTo>
                    <a:pt x="72908" y="26173"/>
                  </a:lnTo>
                  <a:lnTo>
                    <a:pt x="70727" y="25238"/>
                  </a:lnTo>
                  <a:lnTo>
                    <a:pt x="68546" y="24615"/>
                  </a:lnTo>
                  <a:lnTo>
                    <a:pt x="66365" y="24303"/>
                  </a:lnTo>
                  <a:close/>
                  <a:moveTo>
                    <a:pt x="173232" y="0"/>
                  </a:moveTo>
                  <a:lnTo>
                    <a:pt x="178217" y="0"/>
                  </a:lnTo>
                  <a:lnTo>
                    <a:pt x="183202" y="0"/>
                  </a:lnTo>
                  <a:lnTo>
                    <a:pt x="187564" y="312"/>
                  </a:lnTo>
                  <a:lnTo>
                    <a:pt x="191926" y="935"/>
                  </a:lnTo>
                  <a:lnTo>
                    <a:pt x="195664" y="1558"/>
                  </a:lnTo>
                  <a:lnTo>
                    <a:pt x="199092" y="2181"/>
                  </a:lnTo>
                  <a:lnTo>
                    <a:pt x="202519" y="3116"/>
                  </a:lnTo>
                  <a:lnTo>
                    <a:pt x="205323" y="4051"/>
                  </a:lnTo>
                  <a:lnTo>
                    <a:pt x="207815" y="5297"/>
                  </a:lnTo>
                  <a:lnTo>
                    <a:pt x="210308" y="6543"/>
                  </a:lnTo>
                  <a:lnTo>
                    <a:pt x="212489" y="7789"/>
                  </a:lnTo>
                  <a:lnTo>
                    <a:pt x="214358" y="9036"/>
                  </a:lnTo>
                  <a:lnTo>
                    <a:pt x="215916" y="10594"/>
                  </a:lnTo>
                  <a:lnTo>
                    <a:pt x="218720" y="13709"/>
                  </a:lnTo>
                  <a:lnTo>
                    <a:pt x="220590" y="16513"/>
                  </a:lnTo>
                  <a:lnTo>
                    <a:pt x="221836" y="19629"/>
                  </a:lnTo>
                  <a:lnTo>
                    <a:pt x="222771" y="22745"/>
                  </a:lnTo>
                  <a:lnTo>
                    <a:pt x="223082" y="25549"/>
                  </a:lnTo>
                  <a:lnTo>
                    <a:pt x="223082" y="28353"/>
                  </a:lnTo>
                  <a:lnTo>
                    <a:pt x="222771" y="32403"/>
                  </a:lnTo>
                  <a:lnTo>
                    <a:pt x="222771" y="34584"/>
                  </a:lnTo>
                  <a:lnTo>
                    <a:pt x="186940" y="34584"/>
                  </a:lnTo>
                  <a:lnTo>
                    <a:pt x="187252" y="32403"/>
                  </a:lnTo>
                  <a:lnTo>
                    <a:pt x="187252" y="30222"/>
                  </a:lnTo>
                  <a:lnTo>
                    <a:pt x="186629" y="27730"/>
                  </a:lnTo>
                  <a:lnTo>
                    <a:pt x="186317" y="26484"/>
                  </a:lnTo>
                  <a:lnTo>
                    <a:pt x="185383" y="25237"/>
                  </a:lnTo>
                  <a:lnTo>
                    <a:pt x="184448" y="24303"/>
                  </a:lnTo>
                  <a:lnTo>
                    <a:pt x="183202" y="23368"/>
                  </a:lnTo>
                  <a:lnTo>
                    <a:pt x="181644" y="22433"/>
                  </a:lnTo>
                  <a:lnTo>
                    <a:pt x="179463" y="21810"/>
                  </a:lnTo>
                  <a:lnTo>
                    <a:pt x="177282" y="21187"/>
                  </a:lnTo>
                  <a:lnTo>
                    <a:pt x="174478" y="21187"/>
                  </a:lnTo>
                  <a:lnTo>
                    <a:pt x="171674" y="21187"/>
                  </a:lnTo>
                  <a:lnTo>
                    <a:pt x="169493" y="21810"/>
                  </a:lnTo>
                  <a:lnTo>
                    <a:pt x="167312" y="22433"/>
                  </a:lnTo>
                  <a:lnTo>
                    <a:pt x="165442" y="23368"/>
                  </a:lnTo>
                  <a:lnTo>
                    <a:pt x="164196" y="24303"/>
                  </a:lnTo>
                  <a:lnTo>
                    <a:pt x="162950" y="25549"/>
                  </a:lnTo>
                  <a:lnTo>
                    <a:pt x="162015" y="26795"/>
                  </a:lnTo>
                  <a:lnTo>
                    <a:pt x="161704" y="28353"/>
                  </a:lnTo>
                  <a:lnTo>
                    <a:pt x="161704" y="29599"/>
                  </a:lnTo>
                  <a:lnTo>
                    <a:pt x="162015" y="31157"/>
                  </a:lnTo>
                  <a:lnTo>
                    <a:pt x="162950" y="32403"/>
                  </a:lnTo>
                  <a:lnTo>
                    <a:pt x="163885" y="33961"/>
                  </a:lnTo>
                  <a:lnTo>
                    <a:pt x="165442" y="35207"/>
                  </a:lnTo>
                  <a:lnTo>
                    <a:pt x="167623" y="36454"/>
                  </a:lnTo>
                  <a:lnTo>
                    <a:pt x="170116" y="37388"/>
                  </a:lnTo>
                  <a:lnTo>
                    <a:pt x="172920" y="38012"/>
                  </a:lnTo>
                  <a:lnTo>
                    <a:pt x="188810" y="41439"/>
                  </a:lnTo>
                  <a:lnTo>
                    <a:pt x="196287" y="43308"/>
                  </a:lnTo>
                  <a:lnTo>
                    <a:pt x="200026" y="44555"/>
                  </a:lnTo>
                  <a:lnTo>
                    <a:pt x="203454" y="45801"/>
                  </a:lnTo>
                  <a:lnTo>
                    <a:pt x="206569" y="47670"/>
                  </a:lnTo>
                  <a:lnTo>
                    <a:pt x="209373" y="49540"/>
                  </a:lnTo>
                  <a:lnTo>
                    <a:pt x="211866" y="52032"/>
                  </a:lnTo>
                  <a:lnTo>
                    <a:pt x="214358" y="54836"/>
                  </a:lnTo>
                  <a:lnTo>
                    <a:pt x="216228" y="57952"/>
                  </a:lnTo>
                  <a:lnTo>
                    <a:pt x="217474" y="61691"/>
                  </a:lnTo>
                  <a:lnTo>
                    <a:pt x="218720" y="65741"/>
                  </a:lnTo>
                  <a:lnTo>
                    <a:pt x="219032" y="70415"/>
                  </a:lnTo>
                  <a:lnTo>
                    <a:pt x="219032" y="74465"/>
                  </a:lnTo>
                  <a:lnTo>
                    <a:pt x="218409" y="77269"/>
                  </a:lnTo>
                  <a:lnTo>
                    <a:pt x="217786" y="80385"/>
                  </a:lnTo>
                  <a:lnTo>
                    <a:pt x="216539" y="83501"/>
                  </a:lnTo>
                  <a:lnTo>
                    <a:pt x="214982" y="87239"/>
                  </a:lnTo>
                  <a:lnTo>
                    <a:pt x="213112" y="90667"/>
                  </a:lnTo>
                  <a:lnTo>
                    <a:pt x="210308" y="94405"/>
                  </a:lnTo>
                  <a:lnTo>
                    <a:pt x="207192" y="97833"/>
                  </a:lnTo>
                  <a:lnTo>
                    <a:pt x="203142" y="101260"/>
                  </a:lnTo>
                  <a:lnTo>
                    <a:pt x="198468" y="104376"/>
                  </a:lnTo>
                  <a:lnTo>
                    <a:pt x="195664" y="105622"/>
                  </a:lnTo>
                  <a:lnTo>
                    <a:pt x="192860" y="106868"/>
                  </a:lnTo>
                  <a:lnTo>
                    <a:pt x="189745" y="108114"/>
                  </a:lnTo>
                  <a:lnTo>
                    <a:pt x="186317" y="109049"/>
                  </a:lnTo>
                  <a:lnTo>
                    <a:pt x="182579" y="109984"/>
                  </a:lnTo>
                  <a:lnTo>
                    <a:pt x="178840" y="110607"/>
                  </a:lnTo>
                  <a:lnTo>
                    <a:pt x="174789" y="111230"/>
                  </a:lnTo>
                  <a:lnTo>
                    <a:pt x="170116" y="111542"/>
                  </a:lnTo>
                  <a:lnTo>
                    <a:pt x="165442" y="111853"/>
                  </a:lnTo>
                  <a:lnTo>
                    <a:pt x="160769" y="111853"/>
                  </a:lnTo>
                  <a:lnTo>
                    <a:pt x="151733" y="111542"/>
                  </a:lnTo>
                  <a:lnTo>
                    <a:pt x="143944" y="110607"/>
                  </a:lnTo>
                  <a:lnTo>
                    <a:pt x="137090" y="109049"/>
                  </a:lnTo>
                  <a:lnTo>
                    <a:pt x="131170" y="107491"/>
                  </a:lnTo>
                  <a:lnTo>
                    <a:pt x="126185" y="105310"/>
                  </a:lnTo>
                  <a:lnTo>
                    <a:pt x="121823" y="103129"/>
                  </a:lnTo>
                  <a:lnTo>
                    <a:pt x="118396" y="100637"/>
                  </a:lnTo>
                  <a:lnTo>
                    <a:pt x="115280" y="97833"/>
                  </a:lnTo>
                  <a:lnTo>
                    <a:pt x="113099" y="95029"/>
                  </a:lnTo>
                  <a:lnTo>
                    <a:pt x="111230" y="92224"/>
                  </a:lnTo>
                  <a:lnTo>
                    <a:pt x="109983" y="89109"/>
                  </a:lnTo>
                  <a:lnTo>
                    <a:pt x="109049" y="86305"/>
                  </a:lnTo>
                  <a:lnTo>
                    <a:pt x="108737" y="83501"/>
                  </a:lnTo>
                  <a:lnTo>
                    <a:pt x="108426" y="81008"/>
                  </a:lnTo>
                  <a:lnTo>
                    <a:pt x="108426" y="78515"/>
                  </a:lnTo>
                  <a:lnTo>
                    <a:pt x="108737" y="76334"/>
                  </a:lnTo>
                  <a:lnTo>
                    <a:pt x="106868" y="80073"/>
                  </a:lnTo>
                  <a:lnTo>
                    <a:pt x="104687" y="83501"/>
                  </a:lnTo>
                  <a:lnTo>
                    <a:pt x="102194" y="86928"/>
                  </a:lnTo>
                  <a:lnTo>
                    <a:pt x="99390" y="90043"/>
                  </a:lnTo>
                  <a:lnTo>
                    <a:pt x="96274" y="93159"/>
                  </a:lnTo>
                  <a:lnTo>
                    <a:pt x="92847" y="95963"/>
                  </a:lnTo>
                  <a:lnTo>
                    <a:pt x="89420" y="98767"/>
                  </a:lnTo>
                  <a:lnTo>
                    <a:pt x="85370" y="101571"/>
                  </a:lnTo>
                  <a:lnTo>
                    <a:pt x="81319" y="103752"/>
                  </a:lnTo>
                  <a:lnTo>
                    <a:pt x="76957" y="105933"/>
                  </a:lnTo>
                  <a:lnTo>
                    <a:pt x="72595" y="107491"/>
                  </a:lnTo>
                  <a:lnTo>
                    <a:pt x="67610" y="109049"/>
                  </a:lnTo>
                  <a:lnTo>
                    <a:pt x="62625" y="110295"/>
                  </a:lnTo>
                  <a:lnTo>
                    <a:pt x="57640" y="110919"/>
                  </a:lnTo>
                  <a:lnTo>
                    <a:pt x="52032" y="111230"/>
                  </a:lnTo>
                  <a:lnTo>
                    <a:pt x="46424" y="111230"/>
                  </a:lnTo>
                  <a:lnTo>
                    <a:pt x="39569" y="110919"/>
                  </a:lnTo>
                  <a:lnTo>
                    <a:pt x="33338" y="109672"/>
                  </a:lnTo>
                  <a:lnTo>
                    <a:pt x="27730" y="107803"/>
                  </a:lnTo>
                  <a:lnTo>
                    <a:pt x="22745" y="105622"/>
                  </a:lnTo>
                  <a:lnTo>
                    <a:pt x="18071" y="103129"/>
                  </a:lnTo>
                  <a:lnTo>
                    <a:pt x="14021" y="100014"/>
                  </a:lnTo>
                  <a:lnTo>
                    <a:pt x="10594" y="96275"/>
                  </a:lnTo>
                  <a:lnTo>
                    <a:pt x="7478" y="92536"/>
                  </a:lnTo>
                  <a:lnTo>
                    <a:pt x="4985" y="88174"/>
                  </a:lnTo>
                  <a:lnTo>
                    <a:pt x="3116" y="83812"/>
                  </a:lnTo>
                  <a:lnTo>
                    <a:pt x="1558" y="79139"/>
                  </a:lnTo>
                  <a:lnTo>
                    <a:pt x="623" y="74153"/>
                  </a:lnTo>
                  <a:lnTo>
                    <a:pt x="0" y="69168"/>
                  </a:lnTo>
                  <a:lnTo>
                    <a:pt x="0" y="63872"/>
                  </a:lnTo>
                  <a:lnTo>
                    <a:pt x="312" y="58575"/>
                  </a:lnTo>
                  <a:lnTo>
                    <a:pt x="1247" y="53590"/>
                  </a:lnTo>
                  <a:lnTo>
                    <a:pt x="2804" y="48293"/>
                  </a:lnTo>
                  <a:lnTo>
                    <a:pt x="4362" y="42997"/>
                  </a:lnTo>
                  <a:lnTo>
                    <a:pt x="6855" y="38012"/>
                  </a:lnTo>
                  <a:lnTo>
                    <a:pt x="9347" y="33026"/>
                  </a:lnTo>
                  <a:lnTo>
                    <a:pt x="12463" y="28353"/>
                  </a:lnTo>
                  <a:lnTo>
                    <a:pt x="15890" y="23991"/>
                  </a:lnTo>
                  <a:lnTo>
                    <a:pt x="19941" y="19629"/>
                  </a:lnTo>
                  <a:lnTo>
                    <a:pt x="23991" y="15579"/>
                  </a:lnTo>
                  <a:lnTo>
                    <a:pt x="28664" y="12151"/>
                  </a:lnTo>
                  <a:lnTo>
                    <a:pt x="33649" y="9036"/>
                  </a:lnTo>
                  <a:lnTo>
                    <a:pt x="39258" y="6232"/>
                  </a:lnTo>
                  <a:lnTo>
                    <a:pt x="44866" y="3739"/>
                  </a:lnTo>
                  <a:lnTo>
                    <a:pt x="51097" y="2181"/>
                  </a:lnTo>
                  <a:lnTo>
                    <a:pt x="57640" y="935"/>
                  </a:lnTo>
                  <a:lnTo>
                    <a:pt x="64495" y="312"/>
                  </a:lnTo>
                  <a:lnTo>
                    <a:pt x="71349" y="312"/>
                  </a:lnTo>
                  <a:lnTo>
                    <a:pt x="77892" y="935"/>
                  </a:lnTo>
                  <a:lnTo>
                    <a:pt x="83812" y="2181"/>
                  </a:lnTo>
                  <a:lnTo>
                    <a:pt x="89108" y="3739"/>
                  </a:lnTo>
                  <a:lnTo>
                    <a:pt x="94093" y="5920"/>
                  </a:lnTo>
                  <a:lnTo>
                    <a:pt x="98455" y="8413"/>
                  </a:lnTo>
                  <a:lnTo>
                    <a:pt x="102194" y="11528"/>
                  </a:lnTo>
                  <a:lnTo>
                    <a:pt x="105621" y="14956"/>
                  </a:lnTo>
                  <a:lnTo>
                    <a:pt x="108737" y="18694"/>
                  </a:lnTo>
                  <a:lnTo>
                    <a:pt x="111230" y="22433"/>
                  </a:lnTo>
                  <a:lnTo>
                    <a:pt x="113099" y="26795"/>
                  </a:lnTo>
                  <a:lnTo>
                    <a:pt x="114657" y="31157"/>
                  </a:lnTo>
                  <a:lnTo>
                    <a:pt x="115903" y="35831"/>
                  </a:lnTo>
                  <a:lnTo>
                    <a:pt x="116526" y="40504"/>
                  </a:lnTo>
                  <a:lnTo>
                    <a:pt x="116838" y="45489"/>
                  </a:lnTo>
                  <a:lnTo>
                    <a:pt x="116526" y="50474"/>
                  </a:lnTo>
                  <a:lnTo>
                    <a:pt x="116215" y="55148"/>
                  </a:lnTo>
                  <a:lnTo>
                    <a:pt x="115592" y="58264"/>
                  </a:lnTo>
                  <a:lnTo>
                    <a:pt x="114968" y="59821"/>
                  </a:lnTo>
                  <a:lnTo>
                    <a:pt x="114345" y="60756"/>
                  </a:lnTo>
                  <a:lnTo>
                    <a:pt x="113722" y="61068"/>
                  </a:lnTo>
                  <a:lnTo>
                    <a:pt x="78827" y="72596"/>
                  </a:lnTo>
                  <a:lnTo>
                    <a:pt x="149552" y="72284"/>
                  </a:lnTo>
                  <a:lnTo>
                    <a:pt x="149241" y="72907"/>
                  </a:lnTo>
                  <a:lnTo>
                    <a:pt x="148929" y="74777"/>
                  </a:lnTo>
                  <a:lnTo>
                    <a:pt x="148618" y="77269"/>
                  </a:lnTo>
                  <a:lnTo>
                    <a:pt x="148929" y="78827"/>
                  </a:lnTo>
                  <a:lnTo>
                    <a:pt x="149241" y="80073"/>
                  </a:lnTo>
                  <a:lnTo>
                    <a:pt x="149864" y="81631"/>
                  </a:lnTo>
                  <a:lnTo>
                    <a:pt x="150799" y="83189"/>
                  </a:lnTo>
                  <a:lnTo>
                    <a:pt x="152045" y="84435"/>
                  </a:lnTo>
                  <a:lnTo>
                    <a:pt x="153603" y="85682"/>
                  </a:lnTo>
                  <a:lnTo>
                    <a:pt x="155784" y="86616"/>
                  </a:lnTo>
                  <a:lnTo>
                    <a:pt x="158588" y="87551"/>
                  </a:lnTo>
                  <a:lnTo>
                    <a:pt x="161704" y="87862"/>
                  </a:lnTo>
                  <a:lnTo>
                    <a:pt x="165442" y="88174"/>
                  </a:lnTo>
                  <a:lnTo>
                    <a:pt x="168246" y="87862"/>
                  </a:lnTo>
                  <a:lnTo>
                    <a:pt x="170739" y="87239"/>
                  </a:lnTo>
                  <a:lnTo>
                    <a:pt x="173232" y="86616"/>
                  </a:lnTo>
                  <a:lnTo>
                    <a:pt x="175101" y="85370"/>
                  </a:lnTo>
                  <a:lnTo>
                    <a:pt x="176659" y="83812"/>
                  </a:lnTo>
                  <a:lnTo>
                    <a:pt x="177905" y="82254"/>
                  </a:lnTo>
                  <a:lnTo>
                    <a:pt x="178840" y="80696"/>
                  </a:lnTo>
                  <a:lnTo>
                    <a:pt x="179463" y="78827"/>
                  </a:lnTo>
                  <a:lnTo>
                    <a:pt x="179463" y="76958"/>
                  </a:lnTo>
                  <a:lnTo>
                    <a:pt x="179151" y="75400"/>
                  </a:lnTo>
                  <a:lnTo>
                    <a:pt x="178217" y="73530"/>
                  </a:lnTo>
                  <a:lnTo>
                    <a:pt x="176970" y="71973"/>
                  </a:lnTo>
                  <a:lnTo>
                    <a:pt x="175101" y="70415"/>
                  </a:lnTo>
                  <a:lnTo>
                    <a:pt x="172920" y="68857"/>
                  </a:lnTo>
                  <a:lnTo>
                    <a:pt x="169804" y="67922"/>
                  </a:lnTo>
                  <a:lnTo>
                    <a:pt x="166377" y="66987"/>
                  </a:lnTo>
                  <a:lnTo>
                    <a:pt x="161392" y="66053"/>
                  </a:lnTo>
                  <a:lnTo>
                    <a:pt x="155161" y="64495"/>
                  </a:lnTo>
                  <a:lnTo>
                    <a:pt x="151422" y="63560"/>
                  </a:lnTo>
                  <a:lnTo>
                    <a:pt x="147683" y="62314"/>
                  </a:lnTo>
                  <a:lnTo>
                    <a:pt x="143944" y="60756"/>
                  </a:lnTo>
                  <a:lnTo>
                    <a:pt x="140205" y="58887"/>
                  </a:lnTo>
                  <a:lnTo>
                    <a:pt x="136467" y="56706"/>
                  </a:lnTo>
                  <a:lnTo>
                    <a:pt x="133039" y="54213"/>
                  </a:lnTo>
                  <a:lnTo>
                    <a:pt x="130235" y="51409"/>
                  </a:lnTo>
                  <a:lnTo>
                    <a:pt x="127743" y="48293"/>
                  </a:lnTo>
                  <a:lnTo>
                    <a:pt x="126496" y="46424"/>
                  </a:lnTo>
                  <a:lnTo>
                    <a:pt x="125873" y="44555"/>
                  </a:lnTo>
                  <a:lnTo>
                    <a:pt x="124939" y="42685"/>
                  </a:lnTo>
                  <a:lnTo>
                    <a:pt x="124315" y="40504"/>
                  </a:lnTo>
                  <a:lnTo>
                    <a:pt x="124004" y="38323"/>
                  </a:lnTo>
                  <a:lnTo>
                    <a:pt x="124004" y="35831"/>
                  </a:lnTo>
                  <a:lnTo>
                    <a:pt x="124004" y="33338"/>
                  </a:lnTo>
                  <a:lnTo>
                    <a:pt x="124315" y="30846"/>
                  </a:lnTo>
                  <a:lnTo>
                    <a:pt x="124939" y="26795"/>
                  </a:lnTo>
                  <a:lnTo>
                    <a:pt x="126496" y="22745"/>
                  </a:lnTo>
                  <a:lnTo>
                    <a:pt x="128054" y="19317"/>
                  </a:lnTo>
                  <a:lnTo>
                    <a:pt x="130235" y="16202"/>
                  </a:lnTo>
                  <a:lnTo>
                    <a:pt x="133039" y="13398"/>
                  </a:lnTo>
                  <a:lnTo>
                    <a:pt x="135843" y="10905"/>
                  </a:lnTo>
                  <a:lnTo>
                    <a:pt x="138959" y="8413"/>
                  </a:lnTo>
                  <a:lnTo>
                    <a:pt x="142698" y="6543"/>
                  </a:lnTo>
                  <a:lnTo>
                    <a:pt x="146437" y="4985"/>
                  </a:lnTo>
                  <a:lnTo>
                    <a:pt x="150487" y="3428"/>
                  </a:lnTo>
                  <a:lnTo>
                    <a:pt x="154849" y="2181"/>
                  </a:lnTo>
                  <a:lnTo>
                    <a:pt x="159211" y="1247"/>
                  </a:lnTo>
                  <a:lnTo>
                    <a:pt x="163885" y="623"/>
                  </a:lnTo>
                  <a:lnTo>
                    <a:pt x="168558" y="3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91"/>
              <a:endParaRPr lang="en-US">
                <a:solidFill>
                  <a:srgbClr val="FFFFFF"/>
                </a:solidFill>
              </a:endParaRPr>
            </a:p>
          </p:txBody>
        </p:sp>
        <p:sp>
          <p:nvSpPr>
            <p:cNvPr id="34" name="Freeform 26"/>
            <p:cNvSpPr>
              <a:spLocks noEditPoints="1"/>
            </p:cNvSpPr>
            <p:nvPr/>
          </p:nvSpPr>
          <p:spPr bwMode="auto">
            <a:xfrm>
              <a:off x="6682928" y="4801024"/>
              <a:ext cx="27106" cy="27106"/>
            </a:xfrm>
            <a:custGeom>
              <a:avLst/>
              <a:gdLst>
                <a:gd name="T0" fmla="*/ 86 w 174"/>
                <a:gd name="T1" fmla="*/ 0 h 174"/>
                <a:gd name="T2" fmla="*/ 124 w 174"/>
                <a:gd name="T3" fmla="*/ 8 h 174"/>
                <a:gd name="T4" fmla="*/ 152 w 174"/>
                <a:gd name="T5" fmla="*/ 28 h 174"/>
                <a:gd name="T6" fmla="*/ 168 w 174"/>
                <a:gd name="T7" fmla="*/ 56 h 174"/>
                <a:gd name="T8" fmla="*/ 174 w 174"/>
                <a:gd name="T9" fmla="*/ 86 h 174"/>
                <a:gd name="T10" fmla="*/ 168 w 174"/>
                <a:gd name="T11" fmla="*/ 118 h 174"/>
                <a:gd name="T12" fmla="*/ 152 w 174"/>
                <a:gd name="T13" fmla="*/ 146 h 174"/>
                <a:gd name="T14" fmla="*/ 124 w 174"/>
                <a:gd name="T15" fmla="*/ 166 h 174"/>
                <a:gd name="T16" fmla="*/ 86 w 174"/>
                <a:gd name="T17" fmla="*/ 174 h 174"/>
                <a:gd name="T18" fmla="*/ 66 w 174"/>
                <a:gd name="T19" fmla="*/ 172 h 174"/>
                <a:gd name="T20" fmla="*/ 34 w 174"/>
                <a:gd name="T21" fmla="*/ 158 h 174"/>
                <a:gd name="T22" fmla="*/ 12 w 174"/>
                <a:gd name="T23" fmla="*/ 134 h 174"/>
                <a:gd name="T24" fmla="*/ 2 w 174"/>
                <a:gd name="T25" fmla="*/ 104 h 174"/>
                <a:gd name="T26" fmla="*/ 2 w 174"/>
                <a:gd name="T27" fmla="*/ 70 h 174"/>
                <a:gd name="T28" fmla="*/ 12 w 174"/>
                <a:gd name="T29" fmla="*/ 40 h 174"/>
                <a:gd name="T30" fmla="*/ 34 w 174"/>
                <a:gd name="T31" fmla="*/ 16 h 174"/>
                <a:gd name="T32" fmla="*/ 66 w 174"/>
                <a:gd name="T33" fmla="*/ 2 h 174"/>
                <a:gd name="T34" fmla="*/ 86 w 174"/>
                <a:gd name="T35" fmla="*/ 0 h 174"/>
                <a:gd name="T36" fmla="*/ 86 w 174"/>
                <a:gd name="T37" fmla="*/ 16 h 174"/>
                <a:gd name="T38" fmla="*/ 54 w 174"/>
                <a:gd name="T39" fmla="*/ 22 h 174"/>
                <a:gd name="T40" fmla="*/ 32 w 174"/>
                <a:gd name="T41" fmla="*/ 38 h 174"/>
                <a:gd name="T42" fmla="*/ 18 w 174"/>
                <a:gd name="T43" fmla="*/ 60 h 174"/>
                <a:gd name="T44" fmla="*/ 14 w 174"/>
                <a:gd name="T45" fmla="*/ 86 h 174"/>
                <a:gd name="T46" fmla="*/ 18 w 174"/>
                <a:gd name="T47" fmla="*/ 112 h 174"/>
                <a:gd name="T48" fmla="*/ 32 w 174"/>
                <a:gd name="T49" fmla="*/ 134 h 174"/>
                <a:gd name="T50" fmla="*/ 54 w 174"/>
                <a:gd name="T51" fmla="*/ 150 h 174"/>
                <a:gd name="T52" fmla="*/ 86 w 174"/>
                <a:gd name="T53" fmla="*/ 156 h 174"/>
                <a:gd name="T54" fmla="*/ 104 w 174"/>
                <a:gd name="T55" fmla="*/ 156 h 174"/>
                <a:gd name="T56" fmla="*/ 132 w 174"/>
                <a:gd name="T57" fmla="*/ 144 h 174"/>
                <a:gd name="T58" fmla="*/ 150 w 174"/>
                <a:gd name="T59" fmla="*/ 124 h 174"/>
                <a:gd name="T60" fmla="*/ 158 w 174"/>
                <a:gd name="T61" fmla="*/ 100 h 174"/>
                <a:gd name="T62" fmla="*/ 158 w 174"/>
                <a:gd name="T63" fmla="*/ 74 h 174"/>
                <a:gd name="T64" fmla="*/ 150 w 174"/>
                <a:gd name="T65" fmla="*/ 48 h 174"/>
                <a:gd name="T66" fmla="*/ 132 w 174"/>
                <a:gd name="T67" fmla="*/ 30 h 174"/>
                <a:gd name="T68" fmla="*/ 104 w 174"/>
                <a:gd name="T69" fmla="*/ 18 h 174"/>
                <a:gd name="T70" fmla="*/ 86 w 174"/>
                <a:gd name="T71" fmla="*/ 16 h 174"/>
                <a:gd name="T72" fmla="*/ 120 w 174"/>
                <a:gd name="T73" fmla="*/ 132 h 174"/>
                <a:gd name="T74" fmla="*/ 84 w 174"/>
                <a:gd name="T75" fmla="*/ 96 h 174"/>
                <a:gd name="T76" fmla="*/ 68 w 174"/>
                <a:gd name="T77" fmla="*/ 134 h 174"/>
                <a:gd name="T78" fmla="*/ 64 w 174"/>
                <a:gd name="T79" fmla="*/ 42 h 174"/>
                <a:gd name="T80" fmla="*/ 106 w 174"/>
                <a:gd name="T81" fmla="*/ 42 h 174"/>
                <a:gd name="T82" fmla="*/ 118 w 174"/>
                <a:gd name="T83" fmla="*/ 48 h 174"/>
                <a:gd name="T84" fmla="*/ 126 w 174"/>
                <a:gd name="T85" fmla="*/ 56 h 174"/>
                <a:gd name="T86" fmla="*/ 128 w 174"/>
                <a:gd name="T87" fmla="*/ 70 h 174"/>
                <a:gd name="T88" fmla="*/ 126 w 174"/>
                <a:gd name="T89" fmla="*/ 80 h 174"/>
                <a:gd name="T90" fmla="*/ 118 w 174"/>
                <a:gd name="T91" fmla="*/ 90 h 174"/>
                <a:gd name="T92" fmla="*/ 106 w 174"/>
                <a:gd name="T93" fmla="*/ 96 h 174"/>
                <a:gd name="T94" fmla="*/ 102 w 174"/>
                <a:gd name="T95" fmla="*/ 96 h 174"/>
                <a:gd name="T96" fmla="*/ 80 w 174"/>
                <a:gd name="T97" fmla="*/ 54 h 174"/>
                <a:gd name="T98" fmla="*/ 94 w 174"/>
                <a:gd name="T99" fmla="*/ 84 h 174"/>
                <a:gd name="T100" fmla="*/ 96 w 174"/>
                <a:gd name="T101" fmla="*/ 84 h 174"/>
                <a:gd name="T102" fmla="*/ 108 w 174"/>
                <a:gd name="T103" fmla="*/ 78 h 174"/>
                <a:gd name="T104" fmla="*/ 112 w 174"/>
                <a:gd name="T105" fmla="*/ 70 h 174"/>
                <a:gd name="T106" fmla="*/ 112 w 174"/>
                <a:gd name="T107" fmla="*/ 64 h 174"/>
                <a:gd name="T108" fmla="*/ 104 w 174"/>
                <a:gd name="T109" fmla="*/ 56 h 174"/>
                <a:gd name="T110" fmla="*/ 98 w 174"/>
                <a:gd name="T111" fmla="*/ 5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4" h="174">
                  <a:moveTo>
                    <a:pt x="86" y="0"/>
                  </a:moveTo>
                  <a:lnTo>
                    <a:pt x="86" y="0"/>
                  </a:lnTo>
                  <a:lnTo>
                    <a:pt x="106" y="2"/>
                  </a:lnTo>
                  <a:lnTo>
                    <a:pt x="124" y="8"/>
                  </a:lnTo>
                  <a:lnTo>
                    <a:pt x="140" y="16"/>
                  </a:lnTo>
                  <a:lnTo>
                    <a:pt x="152" y="28"/>
                  </a:lnTo>
                  <a:lnTo>
                    <a:pt x="162" y="40"/>
                  </a:lnTo>
                  <a:lnTo>
                    <a:pt x="168" y="56"/>
                  </a:lnTo>
                  <a:lnTo>
                    <a:pt x="172" y="70"/>
                  </a:lnTo>
                  <a:lnTo>
                    <a:pt x="174" y="86"/>
                  </a:lnTo>
                  <a:lnTo>
                    <a:pt x="172" y="104"/>
                  </a:lnTo>
                  <a:lnTo>
                    <a:pt x="168" y="118"/>
                  </a:lnTo>
                  <a:lnTo>
                    <a:pt x="162" y="134"/>
                  </a:lnTo>
                  <a:lnTo>
                    <a:pt x="152" y="146"/>
                  </a:lnTo>
                  <a:lnTo>
                    <a:pt x="140" y="158"/>
                  </a:lnTo>
                  <a:lnTo>
                    <a:pt x="124" y="166"/>
                  </a:lnTo>
                  <a:lnTo>
                    <a:pt x="106" y="172"/>
                  </a:lnTo>
                  <a:lnTo>
                    <a:pt x="86" y="174"/>
                  </a:lnTo>
                  <a:lnTo>
                    <a:pt x="86" y="174"/>
                  </a:lnTo>
                  <a:lnTo>
                    <a:pt x="66" y="172"/>
                  </a:lnTo>
                  <a:lnTo>
                    <a:pt x="48" y="166"/>
                  </a:lnTo>
                  <a:lnTo>
                    <a:pt x="34" y="158"/>
                  </a:lnTo>
                  <a:lnTo>
                    <a:pt x="22" y="146"/>
                  </a:lnTo>
                  <a:lnTo>
                    <a:pt x="12" y="134"/>
                  </a:lnTo>
                  <a:lnTo>
                    <a:pt x="6" y="118"/>
                  </a:lnTo>
                  <a:lnTo>
                    <a:pt x="2" y="104"/>
                  </a:lnTo>
                  <a:lnTo>
                    <a:pt x="0" y="86"/>
                  </a:lnTo>
                  <a:lnTo>
                    <a:pt x="2" y="70"/>
                  </a:lnTo>
                  <a:lnTo>
                    <a:pt x="6" y="56"/>
                  </a:lnTo>
                  <a:lnTo>
                    <a:pt x="12" y="40"/>
                  </a:lnTo>
                  <a:lnTo>
                    <a:pt x="22" y="28"/>
                  </a:lnTo>
                  <a:lnTo>
                    <a:pt x="34" y="16"/>
                  </a:lnTo>
                  <a:lnTo>
                    <a:pt x="48" y="8"/>
                  </a:lnTo>
                  <a:lnTo>
                    <a:pt x="66" y="2"/>
                  </a:lnTo>
                  <a:lnTo>
                    <a:pt x="86" y="0"/>
                  </a:lnTo>
                  <a:lnTo>
                    <a:pt x="86" y="0"/>
                  </a:lnTo>
                  <a:close/>
                  <a:moveTo>
                    <a:pt x="86" y="16"/>
                  </a:moveTo>
                  <a:lnTo>
                    <a:pt x="86" y="16"/>
                  </a:lnTo>
                  <a:lnTo>
                    <a:pt x="70" y="18"/>
                  </a:lnTo>
                  <a:lnTo>
                    <a:pt x="54" y="22"/>
                  </a:lnTo>
                  <a:lnTo>
                    <a:pt x="42" y="30"/>
                  </a:lnTo>
                  <a:lnTo>
                    <a:pt x="32" y="38"/>
                  </a:lnTo>
                  <a:lnTo>
                    <a:pt x="24" y="48"/>
                  </a:lnTo>
                  <a:lnTo>
                    <a:pt x="18" y="60"/>
                  </a:lnTo>
                  <a:lnTo>
                    <a:pt x="16" y="74"/>
                  </a:lnTo>
                  <a:lnTo>
                    <a:pt x="14" y="86"/>
                  </a:lnTo>
                  <a:lnTo>
                    <a:pt x="16" y="100"/>
                  </a:lnTo>
                  <a:lnTo>
                    <a:pt x="18" y="112"/>
                  </a:lnTo>
                  <a:lnTo>
                    <a:pt x="24" y="124"/>
                  </a:lnTo>
                  <a:lnTo>
                    <a:pt x="32" y="134"/>
                  </a:lnTo>
                  <a:lnTo>
                    <a:pt x="42" y="144"/>
                  </a:lnTo>
                  <a:lnTo>
                    <a:pt x="54" y="150"/>
                  </a:lnTo>
                  <a:lnTo>
                    <a:pt x="70" y="156"/>
                  </a:lnTo>
                  <a:lnTo>
                    <a:pt x="86" y="156"/>
                  </a:lnTo>
                  <a:lnTo>
                    <a:pt x="86" y="156"/>
                  </a:lnTo>
                  <a:lnTo>
                    <a:pt x="104" y="156"/>
                  </a:lnTo>
                  <a:lnTo>
                    <a:pt x="118" y="150"/>
                  </a:lnTo>
                  <a:lnTo>
                    <a:pt x="132" y="144"/>
                  </a:lnTo>
                  <a:lnTo>
                    <a:pt x="142" y="134"/>
                  </a:lnTo>
                  <a:lnTo>
                    <a:pt x="150" y="124"/>
                  </a:lnTo>
                  <a:lnTo>
                    <a:pt x="156" y="112"/>
                  </a:lnTo>
                  <a:lnTo>
                    <a:pt x="158" y="100"/>
                  </a:lnTo>
                  <a:lnTo>
                    <a:pt x="160" y="86"/>
                  </a:lnTo>
                  <a:lnTo>
                    <a:pt x="158" y="74"/>
                  </a:lnTo>
                  <a:lnTo>
                    <a:pt x="156" y="60"/>
                  </a:lnTo>
                  <a:lnTo>
                    <a:pt x="150" y="48"/>
                  </a:lnTo>
                  <a:lnTo>
                    <a:pt x="142" y="38"/>
                  </a:lnTo>
                  <a:lnTo>
                    <a:pt x="132" y="30"/>
                  </a:lnTo>
                  <a:lnTo>
                    <a:pt x="118" y="22"/>
                  </a:lnTo>
                  <a:lnTo>
                    <a:pt x="104" y="18"/>
                  </a:lnTo>
                  <a:lnTo>
                    <a:pt x="86" y="16"/>
                  </a:lnTo>
                  <a:lnTo>
                    <a:pt x="86" y="16"/>
                  </a:lnTo>
                  <a:close/>
                  <a:moveTo>
                    <a:pt x="102" y="96"/>
                  </a:moveTo>
                  <a:lnTo>
                    <a:pt x="120" y="132"/>
                  </a:lnTo>
                  <a:lnTo>
                    <a:pt x="98" y="132"/>
                  </a:lnTo>
                  <a:lnTo>
                    <a:pt x="84" y="96"/>
                  </a:lnTo>
                  <a:lnTo>
                    <a:pt x="72" y="96"/>
                  </a:lnTo>
                  <a:lnTo>
                    <a:pt x="68" y="134"/>
                  </a:lnTo>
                  <a:lnTo>
                    <a:pt x="50" y="134"/>
                  </a:lnTo>
                  <a:lnTo>
                    <a:pt x="64" y="42"/>
                  </a:lnTo>
                  <a:lnTo>
                    <a:pt x="106" y="42"/>
                  </a:lnTo>
                  <a:lnTo>
                    <a:pt x="106" y="42"/>
                  </a:lnTo>
                  <a:lnTo>
                    <a:pt x="110" y="44"/>
                  </a:lnTo>
                  <a:lnTo>
                    <a:pt x="118" y="48"/>
                  </a:lnTo>
                  <a:lnTo>
                    <a:pt x="122" y="52"/>
                  </a:lnTo>
                  <a:lnTo>
                    <a:pt x="126" y="56"/>
                  </a:lnTo>
                  <a:lnTo>
                    <a:pt x="128" y="62"/>
                  </a:lnTo>
                  <a:lnTo>
                    <a:pt x="128" y="70"/>
                  </a:lnTo>
                  <a:lnTo>
                    <a:pt x="128" y="70"/>
                  </a:lnTo>
                  <a:lnTo>
                    <a:pt x="126" y="80"/>
                  </a:lnTo>
                  <a:lnTo>
                    <a:pt x="122" y="86"/>
                  </a:lnTo>
                  <a:lnTo>
                    <a:pt x="118" y="90"/>
                  </a:lnTo>
                  <a:lnTo>
                    <a:pt x="114" y="94"/>
                  </a:lnTo>
                  <a:lnTo>
                    <a:pt x="106" y="96"/>
                  </a:lnTo>
                  <a:lnTo>
                    <a:pt x="102" y="96"/>
                  </a:lnTo>
                  <a:lnTo>
                    <a:pt x="102" y="96"/>
                  </a:lnTo>
                  <a:close/>
                  <a:moveTo>
                    <a:pt x="98" y="54"/>
                  </a:moveTo>
                  <a:lnTo>
                    <a:pt x="80" y="54"/>
                  </a:lnTo>
                  <a:lnTo>
                    <a:pt x="76" y="84"/>
                  </a:lnTo>
                  <a:lnTo>
                    <a:pt x="94" y="84"/>
                  </a:lnTo>
                  <a:lnTo>
                    <a:pt x="94" y="84"/>
                  </a:lnTo>
                  <a:lnTo>
                    <a:pt x="96" y="84"/>
                  </a:lnTo>
                  <a:lnTo>
                    <a:pt x="102" y="84"/>
                  </a:lnTo>
                  <a:lnTo>
                    <a:pt x="108" y="78"/>
                  </a:lnTo>
                  <a:lnTo>
                    <a:pt x="110" y="74"/>
                  </a:lnTo>
                  <a:lnTo>
                    <a:pt x="112" y="70"/>
                  </a:lnTo>
                  <a:lnTo>
                    <a:pt x="112" y="70"/>
                  </a:lnTo>
                  <a:lnTo>
                    <a:pt x="112" y="64"/>
                  </a:lnTo>
                  <a:lnTo>
                    <a:pt x="110" y="60"/>
                  </a:lnTo>
                  <a:lnTo>
                    <a:pt x="104" y="56"/>
                  </a:lnTo>
                  <a:lnTo>
                    <a:pt x="100" y="54"/>
                  </a:lnTo>
                  <a:lnTo>
                    <a:pt x="98" y="54"/>
                  </a:lnTo>
                  <a:lnTo>
                    <a:pt x="98"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91"/>
              <a:endParaRPr lang="en-US">
                <a:solidFill>
                  <a:srgbClr val="FFFFFF"/>
                </a:solidFill>
              </a:endParaRPr>
            </a:p>
          </p:txBody>
        </p:sp>
      </p:grpSp>
      <p:sp>
        <p:nvSpPr>
          <p:cNvPr id="35" name="Freeform 34"/>
          <p:cNvSpPr/>
          <p:nvPr/>
        </p:nvSpPr>
        <p:spPr>
          <a:xfrm flipH="1">
            <a:off x="3566161" y="1251289"/>
            <a:ext cx="899707" cy="682229"/>
          </a:xfrm>
          <a:custGeom>
            <a:avLst/>
            <a:gdLst/>
            <a:ahLst/>
            <a:cxnLst/>
            <a:rect l="l" t="t" r="r" b="b"/>
            <a:pathLst>
              <a:path w="852601" h="862013">
                <a:moveTo>
                  <a:pt x="339688" y="551599"/>
                </a:moveTo>
                <a:cubicBezTo>
                  <a:pt x="336200" y="550660"/>
                  <a:pt x="332712" y="552270"/>
                  <a:pt x="329224" y="555624"/>
                </a:cubicBezTo>
                <a:lnTo>
                  <a:pt x="318760" y="571723"/>
                </a:lnTo>
                <a:cubicBezTo>
                  <a:pt x="317687" y="576955"/>
                  <a:pt x="320907" y="582723"/>
                  <a:pt x="322785" y="587017"/>
                </a:cubicBezTo>
                <a:cubicBezTo>
                  <a:pt x="324663" y="591310"/>
                  <a:pt x="331370" y="593322"/>
                  <a:pt x="330029" y="597481"/>
                </a:cubicBezTo>
                <a:cubicBezTo>
                  <a:pt x="328687" y="601641"/>
                  <a:pt x="318894" y="606739"/>
                  <a:pt x="314735" y="611971"/>
                </a:cubicBezTo>
                <a:cubicBezTo>
                  <a:pt x="310576" y="617202"/>
                  <a:pt x="308563" y="620288"/>
                  <a:pt x="303465" y="629679"/>
                </a:cubicBezTo>
                <a:cubicBezTo>
                  <a:pt x="298368" y="639070"/>
                  <a:pt x="292062" y="654230"/>
                  <a:pt x="284147" y="668317"/>
                </a:cubicBezTo>
                <a:cubicBezTo>
                  <a:pt x="276232" y="682403"/>
                  <a:pt x="261340" y="698637"/>
                  <a:pt x="255974" y="714199"/>
                </a:cubicBezTo>
                <a:cubicBezTo>
                  <a:pt x="250607" y="729762"/>
                  <a:pt x="252754" y="745727"/>
                  <a:pt x="251949" y="761691"/>
                </a:cubicBezTo>
                <a:cubicBezTo>
                  <a:pt x="251144" y="777656"/>
                  <a:pt x="252351" y="796036"/>
                  <a:pt x="251143" y="809989"/>
                </a:cubicBezTo>
                <a:cubicBezTo>
                  <a:pt x="249937" y="823941"/>
                  <a:pt x="245778" y="837357"/>
                  <a:pt x="244705" y="845406"/>
                </a:cubicBezTo>
                <a:cubicBezTo>
                  <a:pt x="243631" y="853456"/>
                  <a:pt x="243095" y="855603"/>
                  <a:pt x="244705" y="858286"/>
                </a:cubicBezTo>
                <a:cubicBezTo>
                  <a:pt x="245509" y="859627"/>
                  <a:pt x="245945" y="860298"/>
                  <a:pt x="247169" y="860701"/>
                </a:cubicBezTo>
                <a:lnTo>
                  <a:pt x="254364" y="861506"/>
                </a:lnTo>
                <a:cubicBezTo>
                  <a:pt x="262279" y="862042"/>
                  <a:pt x="277305" y="862310"/>
                  <a:pt x="292196" y="861506"/>
                </a:cubicBezTo>
                <a:cubicBezTo>
                  <a:pt x="307088" y="860701"/>
                  <a:pt x="333115" y="857749"/>
                  <a:pt x="343713" y="856676"/>
                </a:cubicBezTo>
                <a:cubicBezTo>
                  <a:pt x="343747" y="856684"/>
                  <a:pt x="352708" y="858681"/>
                  <a:pt x="355787" y="855066"/>
                </a:cubicBezTo>
                <a:cubicBezTo>
                  <a:pt x="358873" y="851443"/>
                  <a:pt x="361288" y="845675"/>
                  <a:pt x="362227" y="834943"/>
                </a:cubicBezTo>
                <a:cubicBezTo>
                  <a:pt x="363166" y="824210"/>
                  <a:pt x="363568" y="808110"/>
                  <a:pt x="361422" y="790670"/>
                </a:cubicBezTo>
                <a:cubicBezTo>
                  <a:pt x="359275" y="773229"/>
                  <a:pt x="352299" y="754313"/>
                  <a:pt x="349348" y="730298"/>
                </a:cubicBezTo>
                <a:cubicBezTo>
                  <a:pt x="346396" y="706284"/>
                  <a:pt x="344786" y="666439"/>
                  <a:pt x="343713" y="646584"/>
                </a:cubicBezTo>
                <a:cubicBezTo>
                  <a:pt x="342640" y="626728"/>
                  <a:pt x="342505" y="619886"/>
                  <a:pt x="342908" y="611166"/>
                </a:cubicBezTo>
                <a:cubicBezTo>
                  <a:pt x="343310" y="602446"/>
                  <a:pt x="343713" y="600299"/>
                  <a:pt x="346128" y="594262"/>
                </a:cubicBezTo>
                <a:cubicBezTo>
                  <a:pt x="348543" y="588224"/>
                  <a:pt x="356727" y="580443"/>
                  <a:pt x="357397" y="574942"/>
                </a:cubicBezTo>
                <a:cubicBezTo>
                  <a:pt x="358068" y="569442"/>
                  <a:pt x="353104" y="565149"/>
                  <a:pt x="350153" y="561258"/>
                </a:cubicBezTo>
                <a:close/>
                <a:moveTo>
                  <a:pt x="287206" y="507649"/>
                </a:moveTo>
                <a:cubicBezTo>
                  <a:pt x="299226" y="561742"/>
                  <a:pt x="284201" y="574621"/>
                  <a:pt x="274326" y="617123"/>
                </a:cubicBezTo>
                <a:cubicBezTo>
                  <a:pt x="272445" y="626330"/>
                  <a:pt x="270907" y="639718"/>
                  <a:pt x="269556" y="655910"/>
                </a:cubicBezTo>
                <a:cubicBezTo>
                  <a:pt x="284442" y="632717"/>
                  <a:pt x="299146" y="601494"/>
                  <a:pt x="316184" y="596515"/>
                </a:cubicBezTo>
                <a:cubicBezTo>
                  <a:pt x="314038" y="589217"/>
                  <a:pt x="305451" y="583528"/>
                  <a:pt x="306524" y="574621"/>
                </a:cubicBezTo>
                <a:cubicBezTo>
                  <a:pt x="307147" y="563679"/>
                  <a:pt x="314405" y="554950"/>
                  <a:pt x="319949" y="545622"/>
                </a:cubicBezTo>
                <a:cubicBezTo>
                  <a:pt x="307786" y="539695"/>
                  <a:pt x="298568" y="525281"/>
                  <a:pt x="287206" y="507649"/>
                </a:cubicBezTo>
                <a:close/>
                <a:moveTo>
                  <a:pt x="264023" y="488330"/>
                </a:moveTo>
                <a:cubicBezTo>
                  <a:pt x="251143" y="497345"/>
                  <a:pt x="249856" y="517952"/>
                  <a:pt x="240841" y="523104"/>
                </a:cubicBezTo>
                <a:cubicBezTo>
                  <a:pt x="177304" y="542852"/>
                  <a:pt x="103463" y="578055"/>
                  <a:pt x="46365" y="613259"/>
                </a:cubicBezTo>
                <a:cubicBezTo>
                  <a:pt x="17601" y="630002"/>
                  <a:pt x="12021" y="649320"/>
                  <a:pt x="6440" y="682806"/>
                </a:cubicBezTo>
                <a:lnTo>
                  <a:pt x="0" y="793568"/>
                </a:lnTo>
                <a:cubicBezTo>
                  <a:pt x="60532" y="849807"/>
                  <a:pt x="154551" y="840362"/>
                  <a:pt x="230537" y="859252"/>
                </a:cubicBezTo>
                <a:cubicBezTo>
                  <a:pt x="242128" y="755359"/>
                  <a:pt x="233113" y="597374"/>
                  <a:pt x="265311" y="542422"/>
                </a:cubicBezTo>
                <a:close/>
                <a:moveTo>
                  <a:pt x="473953" y="438101"/>
                </a:moveTo>
                <a:cubicBezTo>
                  <a:pt x="449999" y="476765"/>
                  <a:pt x="395188" y="525303"/>
                  <a:pt x="351750" y="542487"/>
                </a:cubicBezTo>
                <a:cubicBezTo>
                  <a:pt x="364570" y="553524"/>
                  <a:pt x="369815" y="566569"/>
                  <a:pt x="371564" y="577519"/>
                </a:cubicBezTo>
                <a:cubicBezTo>
                  <a:pt x="371510" y="588305"/>
                  <a:pt x="363407" y="591042"/>
                  <a:pt x="359329" y="597803"/>
                </a:cubicBezTo>
                <a:cubicBezTo>
                  <a:pt x="364928" y="652187"/>
                  <a:pt x="355161" y="701683"/>
                  <a:pt x="373271" y="759858"/>
                </a:cubicBezTo>
                <a:cubicBezTo>
                  <a:pt x="382583" y="726860"/>
                  <a:pt x="394118" y="694072"/>
                  <a:pt x="406981" y="659624"/>
                </a:cubicBezTo>
                <a:cubicBezTo>
                  <a:pt x="434458" y="598661"/>
                  <a:pt x="476100" y="510653"/>
                  <a:pt x="473953" y="438101"/>
                </a:cubicBezTo>
                <a:close/>
                <a:moveTo>
                  <a:pt x="444331" y="425221"/>
                </a:moveTo>
                <a:cubicBezTo>
                  <a:pt x="417365" y="457420"/>
                  <a:pt x="365446" y="490423"/>
                  <a:pt x="342908" y="490423"/>
                </a:cubicBezTo>
                <a:cubicBezTo>
                  <a:pt x="312722" y="489752"/>
                  <a:pt x="309100" y="473787"/>
                  <a:pt x="292196" y="465469"/>
                </a:cubicBezTo>
                <a:cubicBezTo>
                  <a:pt x="308026" y="468152"/>
                  <a:pt x="323455" y="474056"/>
                  <a:pt x="339687" y="473519"/>
                </a:cubicBezTo>
                <a:cubicBezTo>
                  <a:pt x="376180" y="473116"/>
                  <a:pt x="416695" y="446955"/>
                  <a:pt x="444331" y="425221"/>
                </a:cubicBezTo>
                <a:close/>
                <a:moveTo>
                  <a:pt x="488121" y="409767"/>
                </a:moveTo>
                <a:cubicBezTo>
                  <a:pt x="533198" y="465576"/>
                  <a:pt x="410846" y="692681"/>
                  <a:pt x="376072" y="855388"/>
                </a:cubicBezTo>
                <a:cubicBezTo>
                  <a:pt x="489409" y="838216"/>
                  <a:pt x="600169" y="850665"/>
                  <a:pt x="716082" y="803871"/>
                </a:cubicBezTo>
                <a:cubicBezTo>
                  <a:pt x="761588" y="800437"/>
                  <a:pt x="808382" y="816321"/>
                  <a:pt x="852601" y="793568"/>
                </a:cubicBezTo>
                <a:cubicBezTo>
                  <a:pt x="845303" y="743338"/>
                  <a:pt x="867627" y="646745"/>
                  <a:pt x="772750" y="588788"/>
                </a:cubicBezTo>
                <a:cubicBezTo>
                  <a:pt x="729391" y="552726"/>
                  <a:pt x="648681" y="519241"/>
                  <a:pt x="565395" y="492193"/>
                </a:cubicBezTo>
                <a:cubicBezTo>
                  <a:pt x="534486" y="468582"/>
                  <a:pt x="515167" y="433379"/>
                  <a:pt x="488121" y="409767"/>
                </a:cubicBezTo>
                <a:close/>
                <a:moveTo>
                  <a:pt x="314467" y="207"/>
                </a:moveTo>
                <a:cubicBezTo>
                  <a:pt x="302302" y="922"/>
                  <a:pt x="297652" y="4142"/>
                  <a:pt x="285488" y="8794"/>
                </a:cubicBezTo>
                <a:cubicBezTo>
                  <a:pt x="273325" y="13444"/>
                  <a:pt x="253826" y="20241"/>
                  <a:pt x="241485" y="28112"/>
                </a:cubicBezTo>
                <a:cubicBezTo>
                  <a:pt x="229142" y="35983"/>
                  <a:pt x="220377" y="43853"/>
                  <a:pt x="211433" y="56017"/>
                </a:cubicBezTo>
                <a:cubicBezTo>
                  <a:pt x="202489" y="68180"/>
                  <a:pt x="193724" y="87320"/>
                  <a:pt x="187821" y="101095"/>
                </a:cubicBezTo>
                <a:cubicBezTo>
                  <a:pt x="181919" y="114868"/>
                  <a:pt x="176194" y="121665"/>
                  <a:pt x="176015" y="138658"/>
                </a:cubicBezTo>
                <a:cubicBezTo>
                  <a:pt x="175837" y="155652"/>
                  <a:pt x="182813" y="191249"/>
                  <a:pt x="186748" y="203055"/>
                </a:cubicBezTo>
                <a:lnTo>
                  <a:pt x="187520" y="204007"/>
                </a:lnTo>
                <a:lnTo>
                  <a:pt x="191027" y="223887"/>
                </a:lnTo>
                <a:cubicBezTo>
                  <a:pt x="185407" y="222374"/>
                  <a:pt x="182724" y="232570"/>
                  <a:pt x="184333" y="241693"/>
                </a:cubicBezTo>
                <a:cubicBezTo>
                  <a:pt x="185943" y="250815"/>
                  <a:pt x="196139" y="265841"/>
                  <a:pt x="198822" y="277111"/>
                </a:cubicBezTo>
                <a:cubicBezTo>
                  <a:pt x="201505" y="288380"/>
                  <a:pt x="200298" y="299113"/>
                  <a:pt x="200432" y="309308"/>
                </a:cubicBezTo>
                <a:cubicBezTo>
                  <a:pt x="200566" y="319505"/>
                  <a:pt x="198285" y="331579"/>
                  <a:pt x="199627" y="338286"/>
                </a:cubicBezTo>
                <a:cubicBezTo>
                  <a:pt x="200969" y="344995"/>
                  <a:pt x="205128" y="346739"/>
                  <a:pt x="208482" y="349556"/>
                </a:cubicBezTo>
                <a:cubicBezTo>
                  <a:pt x="211836" y="352373"/>
                  <a:pt x="218275" y="343385"/>
                  <a:pt x="219751" y="355191"/>
                </a:cubicBezTo>
                <a:cubicBezTo>
                  <a:pt x="221227" y="366997"/>
                  <a:pt x="229008" y="395036"/>
                  <a:pt x="236655" y="410733"/>
                </a:cubicBezTo>
                <a:cubicBezTo>
                  <a:pt x="244301" y="426429"/>
                  <a:pt x="259999" y="439845"/>
                  <a:pt x="265633" y="449370"/>
                </a:cubicBezTo>
                <a:cubicBezTo>
                  <a:pt x="271268" y="458895"/>
                  <a:pt x="266438" y="460372"/>
                  <a:pt x="270463" y="467884"/>
                </a:cubicBezTo>
                <a:cubicBezTo>
                  <a:pt x="274487" y="475397"/>
                  <a:pt x="281330" y="484118"/>
                  <a:pt x="289781" y="494447"/>
                </a:cubicBezTo>
                <a:cubicBezTo>
                  <a:pt x="298233" y="504778"/>
                  <a:pt x="311246" y="524097"/>
                  <a:pt x="321175" y="529866"/>
                </a:cubicBezTo>
                <a:cubicBezTo>
                  <a:pt x="331102" y="535634"/>
                  <a:pt x="333383" y="536305"/>
                  <a:pt x="349348" y="529061"/>
                </a:cubicBezTo>
                <a:cubicBezTo>
                  <a:pt x="365312" y="521816"/>
                  <a:pt x="399657" y="499680"/>
                  <a:pt x="416963" y="486398"/>
                </a:cubicBezTo>
                <a:cubicBezTo>
                  <a:pt x="434270" y="473116"/>
                  <a:pt x="444331" y="459298"/>
                  <a:pt x="453186" y="449370"/>
                </a:cubicBezTo>
                <a:cubicBezTo>
                  <a:pt x="462041" y="439443"/>
                  <a:pt x="466601" y="434746"/>
                  <a:pt x="470089" y="426831"/>
                </a:cubicBezTo>
                <a:cubicBezTo>
                  <a:pt x="473577" y="418917"/>
                  <a:pt x="471968" y="409526"/>
                  <a:pt x="474115" y="401878"/>
                </a:cubicBezTo>
                <a:cubicBezTo>
                  <a:pt x="476261" y="394231"/>
                  <a:pt x="480688" y="390341"/>
                  <a:pt x="482969" y="380949"/>
                </a:cubicBezTo>
                <a:cubicBezTo>
                  <a:pt x="485249" y="371558"/>
                  <a:pt x="484847" y="352373"/>
                  <a:pt x="487799" y="345532"/>
                </a:cubicBezTo>
                <a:cubicBezTo>
                  <a:pt x="490750" y="338689"/>
                  <a:pt x="496788" y="343787"/>
                  <a:pt x="500678" y="339897"/>
                </a:cubicBezTo>
                <a:cubicBezTo>
                  <a:pt x="504569" y="336006"/>
                  <a:pt x="508996" y="331177"/>
                  <a:pt x="511142" y="322188"/>
                </a:cubicBezTo>
                <a:cubicBezTo>
                  <a:pt x="513289" y="313199"/>
                  <a:pt x="511947" y="299515"/>
                  <a:pt x="513557" y="285965"/>
                </a:cubicBezTo>
                <a:cubicBezTo>
                  <a:pt x="515167" y="272415"/>
                  <a:pt x="520131" y="252425"/>
                  <a:pt x="520801" y="240888"/>
                </a:cubicBezTo>
                <a:cubicBezTo>
                  <a:pt x="521473" y="229350"/>
                  <a:pt x="520131" y="222508"/>
                  <a:pt x="517582" y="216739"/>
                </a:cubicBezTo>
                <a:lnTo>
                  <a:pt x="505508" y="206274"/>
                </a:lnTo>
                <a:cubicBezTo>
                  <a:pt x="501482" y="205872"/>
                  <a:pt x="496788" y="209897"/>
                  <a:pt x="493433" y="214324"/>
                </a:cubicBezTo>
                <a:cubicBezTo>
                  <a:pt x="490893" y="217677"/>
                  <a:pt x="489661" y="229032"/>
                  <a:pt x="487525" y="232413"/>
                </a:cubicBezTo>
                <a:lnTo>
                  <a:pt x="486770" y="223363"/>
                </a:lnTo>
                <a:lnTo>
                  <a:pt x="488165" y="195462"/>
                </a:lnTo>
                <a:lnTo>
                  <a:pt x="490482" y="198762"/>
                </a:lnTo>
                <a:cubicBezTo>
                  <a:pt x="492986" y="200550"/>
                  <a:pt x="494238" y="195185"/>
                  <a:pt x="496921" y="194469"/>
                </a:cubicBezTo>
                <a:cubicBezTo>
                  <a:pt x="499604" y="193754"/>
                  <a:pt x="503002" y="193217"/>
                  <a:pt x="506581" y="194469"/>
                </a:cubicBezTo>
                <a:cubicBezTo>
                  <a:pt x="510158" y="195721"/>
                  <a:pt x="516419" y="202876"/>
                  <a:pt x="518386" y="201981"/>
                </a:cubicBezTo>
                <a:cubicBezTo>
                  <a:pt x="519370" y="201534"/>
                  <a:pt x="519370" y="200774"/>
                  <a:pt x="519124" y="198896"/>
                </a:cubicBezTo>
                <a:lnTo>
                  <a:pt x="518386" y="189102"/>
                </a:lnTo>
                <a:cubicBezTo>
                  <a:pt x="518391" y="189053"/>
                  <a:pt x="521603" y="159753"/>
                  <a:pt x="518386" y="142952"/>
                </a:cubicBezTo>
                <a:cubicBezTo>
                  <a:pt x="515167" y="126137"/>
                  <a:pt x="506760" y="103778"/>
                  <a:pt x="499068" y="88215"/>
                </a:cubicBezTo>
                <a:cubicBezTo>
                  <a:pt x="491376" y="72652"/>
                  <a:pt x="479213" y="57627"/>
                  <a:pt x="472236" y="49577"/>
                </a:cubicBezTo>
                <a:cubicBezTo>
                  <a:pt x="465260" y="41528"/>
                  <a:pt x="466154" y="44211"/>
                  <a:pt x="457210" y="39918"/>
                </a:cubicBezTo>
                <a:cubicBezTo>
                  <a:pt x="448266" y="35625"/>
                  <a:pt x="435030" y="29722"/>
                  <a:pt x="418572" y="23818"/>
                </a:cubicBezTo>
                <a:cubicBezTo>
                  <a:pt x="402117" y="17916"/>
                  <a:pt x="375821" y="8435"/>
                  <a:pt x="358470" y="4500"/>
                </a:cubicBezTo>
                <a:cubicBezTo>
                  <a:pt x="341118" y="564"/>
                  <a:pt x="326630" y="-509"/>
                  <a:pt x="314467" y="207"/>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891"/>
            <a:endParaRPr lang="en-US">
              <a:solidFill>
                <a:srgbClr val="FFFFFF"/>
              </a:solidFill>
            </a:endParaRPr>
          </a:p>
        </p:txBody>
      </p:sp>
      <p:grpSp>
        <p:nvGrpSpPr>
          <p:cNvPr id="36" name="Group 35"/>
          <p:cNvGrpSpPr/>
          <p:nvPr/>
        </p:nvGrpSpPr>
        <p:grpSpPr>
          <a:xfrm>
            <a:off x="4807294" y="1232620"/>
            <a:ext cx="923991" cy="719567"/>
            <a:chOff x="768804" y="653779"/>
            <a:chExt cx="2917371" cy="3029243"/>
          </a:xfrm>
          <a:solidFill>
            <a:schemeClr val="tx1"/>
          </a:solidFill>
        </p:grpSpPr>
        <p:sp>
          <p:nvSpPr>
            <p:cNvPr id="37" name="Freeform 36"/>
            <p:cNvSpPr/>
            <p:nvPr/>
          </p:nvSpPr>
          <p:spPr>
            <a:xfrm>
              <a:off x="1782365" y="653779"/>
              <a:ext cx="1903810" cy="2396969"/>
            </a:xfrm>
            <a:custGeom>
              <a:avLst/>
              <a:gdLst/>
              <a:ahLst/>
              <a:cxnLst/>
              <a:rect l="l" t="t" r="r" b="b"/>
              <a:pathLst>
                <a:path w="1903810" h="2396969">
                  <a:moveTo>
                    <a:pt x="875983" y="2104947"/>
                  </a:moveTo>
                  <a:cubicBezTo>
                    <a:pt x="889891" y="2104947"/>
                    <a:pt x="901166" y="2116222"/>
                    <a:pt x="901166" y="2130130"/>
                  </a:cubicBezTo>
                  <a:cubicBezTo>
                    <a:pt x="901166" y="2144038"/>
                    <a:pt x="889891" y="2155313"/>
                    <a:pt x="875983" y="2155313"/>
                  </a:cubicBezTo>
                  <a:cubicBezTo>
                    <a:pt x="862075" y="2155313"/>
                    <a:pt x="850800" y="2144038"/>
                    <a:pt x="850800" y="2130130"/>
                  </a:cubicBezTo>
                  <a:cubicBezTo>
                    <a:pt x="850800" y="2116222"/>
                    <a:pt x="862075" y="2104947"/>
                    <a:pt x="875983" y="2104947"/>
                  </a:cubicBezTo>
                  <a:close/>
                  <a:moveTo>
                    <a:pt x="880046" y="2093475"/>
                  </a:moveTo>
                  <a:cubicBezTo>
                    <a:pt x="857729" y="2093475"/>
                    <a:pt x="839638" y="2111567"/>
                    <a:pt x="839638" y="2133884"/>
                  </a:cubicBezTo>
                  <a:cubicBezTo>
                    <a:pt x="839638" y="2156201"/>
                    <a:pt x="857729" y="2174292"/>
                    <a:pt x="880046" y="2174292"/>
                  </a:cubicBezTo>
                  <a:cubicBezTo>
                    <a:pt x="902363" y="2174292"/>
                    <a:pt x="920454" y="2156201"/>
                    <a:pt x="920454" y="2133884"/>
                  </a:cubicBezTo>
                  <a:cubicBezTo>
                    <a:pt x="920454" y="2111567"/>
                    <a:pt x="902363" y="2093475"/>
                    <a:pt x="880046" y="2093475"/>
                  </a:cubicBezTo>
                  <a:close/>
                  <a:moveTo>
                    <a:pt x="646048" y="1585312"/>
                  </a:moveTo>
                  <a:cubicBezTo>
                    <a:pt x="765009" y="1656689"/>
                    <a:pt x="940052" y="1692378"/>
                    <a:pt x="1125292" y="1592960"/>
                  </a:cubicBezTo>
                  <a:lnTo>
                    <a:pt x="1089604" y="1671984"/>
                  </a:lnTo>
                  <a:lnTo>
                    <a:pt x="880572" y="1977885"/>
                  </a:lnTo>
                  <a:lnTo>
                    <a:pt x="671539" y="1661787"/>
                  </a:lnTo>
                  <a:close/>
                  <a:moveTo>
                    <a:pt x="603689" y="1487934"/>
                  </a:moveTo>
                  <a:lnTo>
                    <a:pt x="649453" y="1671984"/>
                  </a:lnTo>
                  <a:lnTo>
                    <a:pt x="876153" y="2015613"/>
                  </a:lnTo>
                  <a:lnTo>
                    <a:pt x="1116919" y="1680142"/>
                  </a:lnTo>
                  <a:lnTo>
                    <a:pt x="1174385" y="1492522"/>
                  </a:lnTo>
                  <a:cubicBezTo>
                    <a:pt x="1346014" y="1544186"/>
                    <a:pt x="1669770" y="1575455"/>
                    <a:pt x="1689273" y="1647512"/>
                  </a:cubicBezTo>
                  <a:cubicBezTo>
                    <a:pt x="1772488" y="1775311"/>
                    <a:pt x="1832298" y="2041784"/>
                    <a:pt x="1903810" y="2238920"/>
                  </a:cubicBezTo>
                  <a:lnTo>
                    <a:pt x="1751992" y="2396969"/>
                  </a:lnTo>
                  <a:cubicBezTo>
                    <a:pt x="1764994" y="2254215"/>
                    <a:pt x="1760614" y="2187427"/>
                    <a:pt x="1633192" y="2060988"/>
                  </a:cubicBezTo>
                  <a:cubicBezTo>
                    <a:pt x="1717025" y="2173111"/>
                    <a:pt x="1717957" y="2270617"/>
                    <a:pt x="1699470" y="2347922"/>
                  </a:cubicBezTo>
                  <a:lnTo>
                    <a:pt x="706039" y="2148250"/>
                  </a:lnTo>
                  <a:lnTo>
                    <a:pt x="621917" y="1799013"/>
                  </a:lnTo>
                  <a:lnTo>
                    <a:pt x="0" y="1711727"/>
                  </a:lnTo>
                  <a:cubicBezTo>
                    <a:pt x="11777" y="1679146"/>
                    <a:pt x="23746" y="1654081"/>
                    <a:pt x="36004" y="1639355"/>
                  </a:cubicBezTo>
                  <a:cubicBezTo>
                    <a:pt x="95815" y="1556422"/>
                    <a:pt x="422958" y="1534159"/>
                    <a:pt x="603689" y="1487934"/>
                  </a:cubicBezTo>
                  <a:close/>
                  <a:moveTo>
                    <a:pt x="1093852" y="1236076"/>
                  </a:moveTo>
                  <a:cubicBezTo>
                    <a:pt x="1060430" y="1451340"/>
                    <a:pt x="1080115" y="1462245"/>
                    <a:pt x="1109572" y="1556848"/>
                  </a:cubicBezTo>
                  <a:cubicBezTo>
                    <a:pt x="940477" y="1638421"/>
                    <a:pt x="845733" y="1613779"/>
                    <a:pt x="668141" y="1557697"/>
                  </a:cubicBezTo>
                  <a:cubicBezTo>
                    <a:pt x="710060" y="1425706"/>
                    <a:pt x="699297" y="1349373"/>
                    <a:pt x="671539" y="1254770"/>
                  </a:cubicBezTo>
                  <a:lnTo>
                    <a:pt x="711794" y="1275405"/>
                  </a:lnTo>
                  <a:cubicBezTo>
                    <a:pt x="732903" y="1290967"/>
                    <a:pt x="756166" y="1307340"/>
                    <a:pt x="767954" y="1315515"/>
                  </a:cubicBezTo>
                  <a:cubicBezTo>
                    <a:pt x="792560" y="1332581"/>
                    <a:pt x="796926" y="1335756"/>
                    <a:pt x="815579" y="1341709"/>
                  </a:cubicBezTo>
                  <a:cubicBezTo>
                    <a:pt x="834232" y="1347662"/>
                    <a:pt x="859632" y="1351234"/>
                    <a:pt x="879873" y="1351234"/>
                  </a:cubicBezTo>
                  <a:cubicBezTo>
                    <a:pt x="900114" y="1351234"/>
                    <a:pt x="917179" y="1349250"/>
                    <a:pt x="937023" y="1341709"/>
                  </a:cubicBezTo>
                  <a:cubicBezTo>
                    <a:pt x="956867" y="1334168"/>
                    <a:pt x="975123" y="1323056"/>
                    <a:pt x="998935" y="1305990"/>
                  </a:cubicBezTo>
                  <a:cubicBezTo>
                    <a:pt x="1011371" y="1297077"/>
                    <a:pt x="1032143" y="1281237"/>
                    <a:pt x="1049513" y="1267076"/>
                  </a:cubicBezTo>
                  <a:cubicBezTo>
                    <a:pt x="1063614" y="1258021"/>
                    <a:pt x="1078248" y="1247577"/>
                    <a:pt x="1093852" y="1236076"/>
                  </a:cubicBezTo>
                  <a:close/>
                  <a:moveTo>
                    <a:pt x="823416" y="563"/>
                  </a:moveTo>
                  <a:cubicBezTo>
                    <a:pt x="874625" y="3337"/>
                    <a:pt x="924758" y="16509"/>
                    <a:pt x="969794" y="43062"/>
                  </a:cubicBezTo>
                  <a:cubicBezTo>
                    <a:pt x="1012280" y="24368"/>
                    <a:pt x="1054767" y="-1973"/>
                    <a:pt x="1224711" y="129735"/>
                  </a:cubicBezTo>
                  <a:cubicBezTo>
                    <a:pt x="1437143" y="309026"/>
                    <a:pt x="1356419" y="485769"/>
                    <a:pt x="1349621" y="659962"/>
                  </a:cubicBezTo>
                  <a:cubicBezTo>
                    <a:pt x="1358344" y="817748"/>
                    <a:pt x="1281727" y="927322"/>
                    <a:pt x="1254961" y="1028864"/>
                  </a:cubicBezTo>
                  <a:cubicBezTo>
                    <a:pt x="1240091" y="1123608"/>
                    <a:pt x="1261051" y="1192561"/>
                    <a:pt x="1285892" y="1256979"/>
                  </a:cubicBezTo>
                  <a:cubicBezTo>
                    <a:pt x="1307135" y="1353847"/>
                    <a:pt x="1460935" y="1463802"/>
                    <a:pt x="1575647" y="1508837"/>
                  </a:cubicBezTo>
                  <a:cubicBezTo>
                    <a:pt x="1575228" y="1509416"/>
                    <a:pt x="1574804" y="1509994"/>
                    <a:pt x="1574228" y="1510461"/>
                  </a:cubicBezTo>
                  <a:cubicBezTo>
                    <a:pt x="1447201" y="1502926"/>
                    <a:pt x="1385485" y="1499323"/>
                    <a:pt x="1306794" y="1429934"/>
                  </a:cubicBezTo>
                  <a:cubicBezTo>
                    <a:pt x="1357452" y="1485471"/>
                    <a:pt x="1421036" y="1516896"/>
                    <a:pt x="1475620" y="1534304"/>
                  </a:cubicBezTo>
                  <a:lnTo>
                    <a:pt x="1160216" y="1460525"/>
                  </a:lnTo>
                  <a:lnTo>
                    <a:pt x="1136440" y="1538110"/>
                  </a:lnTo>
                  <a:cubicBezTo>
                    <a:pt x="1107464" y="1435291"/>
                    <a:pt x="1090028" y="1385894"/>
                    <a:pt x="1123821" y="1130387"/>
                  </a:cubicBezTo>
                  <a:cubicBezTo>
                    <a:pt x="1157642" y="1063780"/>
                    <a:pt x="1194915" y="1019025"/>
                    <a:pt x="1223946" y="912452"/>
                  </a:cubicBezTo>
                  <a:cubicBezTo>
                    <a:pt x="1238816" y="914576"/>
                    <a:pt x="1246038" y="914151"/>
                    <a:pt x="1257085" y="915001"/>
                  </a:cubicBezTo>
                  <a:cubicBezTo>
                    <a:pt x="1263033" y="918825"/>
                    <a:pt x="1295748" y="849996"/>
                    <a:pt x="1316991" y="758226"/>
                  </a:cubicBezTo>
                  <a:cubicBezTo>
                    <a:pt x="1327187" y="713191"/>
                    <a:pt x="1351404" y="635017"/>
                    <a:pt x="1297872" y="619297"/>
                  </a:cubicBezTo>
                  <a:lnTo>
                    <a:pt x="1266614" y="616617"/>
                  </a:lnTo>
                  <a:lnTo>
                    <a:pt x="1254513" y="556284"/>
                  </a:lnTo>
                  <a:cubicBezTo>
                    <a:pt x="1257127" y="572582"/>
                    <a:pt x="1258711" y="590007"/>
                    <a:pt x="1259145" y="608632"/>
                  </a:cubicBezTo>
                  <a:lnTo>
                    <a:pt x="1262844" y="616294"/>
                  </a:lnTo>
                  <a:lnTo>
                    <a:pt x="1259632" y="616019"/>
                  </a:lnTo>
                  <a:cubicBezTo>
                    <a:pt x="1260161" y="619832"/>
                    <a:pt x="1260293" y="623710"/>
                    <a:pt x="1260399" y="627636"/>
                  </a:cubicBezTo>
                  <a:cubicBezTo>
                    <a:pt x="1276544" y="628337"/>
                    <a:pt x="1291413" y="618840"/>
                    <a:pt x="1308833" y="629737"/>
                  </a:cubicBezTo>
                  <a:cubicBezTo>
                    <a:pt x="1336025" y="646328"/>
                    <a:pt x="1310958" y="781456"/>
                    <a:pt x="1260399" y="882169"/>
                  </a:cubicBezTo>
                  <a:cubicBezTo>
                    <a:pt x="1246803" y="902728"/>
                    <a:pt x="1242129" y="896520"/>
                    <a:pt x="1219612" y="890313"/>
                  </a:cubicBezTo>
                  <a:cubicBezTo>
                    <a:pt x="1182649" y="1003410"/>
                    <a:pt x="1141862" y="1149078"/>
                    <a:pt x="934104" y="1275746"/>
                  </a:cubicBezTo>
                  <a:cubicBezTo>
                    <a:pt x="912437" y="1301985"/>
                    <a:pt x="828314" y="1297009"/>
                    <a:pt x="814294" y="1279819"/>
                  </a:cubicBezTo>
                  <a:cubicBezTo>
                    <a:pt x="577645" y="1165365"/>
                    <a:pt x="519440" y="993910"/>
                    <a:pt x="482901" y="884884"/>
                  </a:cubicBezTo>
                  <a:cubicBezTo>
                    <a:pt x="468456" y="880360"/>
                    <a:pt x="457834" y="896230"/>
                    <a:pt x="439565" y="871312"/>
                  </a:cubicBezTo>
                  <a:cubicBezTo>
                    <a:pt x="366064" y="757608"/>
                    <a:pt x="358841" y="661749"/>
                    <a:pt x="375836" y="648737"/>
                  </a:cubicBezTo>
                  <a:cubicBezTo>
                    <a:pt x="391980" y="638785"/>
                    <a:pt x="401752" y="636480"/>
                    <a:pt x="422995" y="639273"/>
                  </a:cubicBezTo>
                  <a:cubicBezTo>
                    <a:pt x="437015" y="355564"/>
                    <a:pt x="943026" y="423640"/>
                    <a:pt x="946851" y="162873"/>
                  </a:cubicBezTo>
                  <a:cubicBezTo>
                    <a:pt x="1035188" y="293813"/>
                    <a:pt x="1191816" y="298190"/>
                    <a:pt x="1242980" y="497075"/>
                  </a:cubicBezTo>
                  <a:cubicBezTo>
                    <a:pt x="1231455" y="435864"/>
                    <a:pt x="1217589" y="378837"/>
                    <a:pt x="1193356" y="352908"/>
                  </a:cubicBezTo>
                  <a:cubicBezTo>
                    <a:pt x="1164040" y="290878"/>
                    <a:pt x="957557" y="193160"/>
                    <a:pt x="956283" y="151523"/>
                  </a:cubicBezTo>
                  <a:cubicBezTo>
                    <a:pt x="948635" y="87794"/>
                    <a:pt x="966480" y="80146"/>
                    <a:pt x="971578" y="44458"/>
                  </a:cubicBezTo>
                  <a:cubicBezTo>
                    <a:pt x="962231" y="83545"/>
                    <a:pt x="942687" y="75473"/>
                    <a:pt x="943537" y="161720"/>
                  </a:cubicBezTo>
                  <a:lnTo>
                    <a:pt x="945480" y="168381"/>
                  </a:lnTo>
                  <a:cubicBezTo>
                    <a:pt x="944823" y="165115"/>
                    <a:pt x="943592" y="161963"/>
                    <a:pt x="942262" y="158746"/>
                  </a:cubicBezTo>
                  <a:cubicBezTo>
                    <a:pt x="917026" y="369978"/>
                    <a:pt x="441277" y="358424"/>
                    <a:pt x="425056" y="624044"/>
                  </a:cubicBezTo>
                  <a:lnTo>
                    <a:pt x="417132" y="625669"/>
                  </a:lnTo>
                  <a:lnTo>
                    <a:pt x="368698" y="637141"/>
                  </a:lnTo>
                  <a:cubicBezTo>
                    <a:pt x="342356" y="663907"/>
                    <a:pt x="366998" y="787542"/>
                    <a:pt x="438800" y="885685"/>
                  </a:cubicBezTo>
                  <a:cubicBezTo>
                    <a:pt x="448572" y="904379"/>
                    <a:pt x="463442" y="900131"/>
                    <a:pt x="475763" y="907353"/>
                  </a:cubicBezTo>
                  <a:cubicBezTo>
                    <a:pt x="499131" y="957487"/>
                    <a:pt x="522498" y="1015268"/>
                    <a:pt x="545865" y="1057754"/>
                  </a:cubicBezTo>
                  <a:cubicBezTo>
                    <a:pt x="578580" y="1107888"/>
                    <a:pt x="606196" y="1137629"/>
                    <a:pt x="636361" y="1177566"/>
                  </a:cubicBezTo>
                  <a:lnTo>
                    <a:pt x="648064" y="1190439"/>
                  </a:lnTo>
                  <a:cubicBezTo>
                    <a:pt x="669838" y="1291774"/>
                    <a:pt x="671744" y="1395950"/>
                    <a:pt x="639315" y="1531026"/>
                  </a:cubicBezTo>
                  <a:lnTo>
                    <a:pt x="619792" y="1460525"/>
                  </a:lnTo>
                  <a:lnTo>
                    <a:pt x="370355" y="1513236"/>
                  </a:lnTo>
                  <a:cubicBezTo>
                    <a:pt x="402229" y="1496726"/>
                    <a:pt x="433219" y="1473829"/>
                    <a:pt x="460468" y="1443955"/>
                  </a:cubicBezTo>
                  <a:cubicBezTo>
                    <a:pt x="383609" y="1511727"/>
                    <a:pt x="322945" y="1516742"/>
                    <a:pt x="201804" y="1523951"/>
                  </a:cubicBezTo>
                  <a:cubicBezTo>
                    <a:pt x="200963" y="1523288"/>
                    <a:pt x="200436" y="1522436"/>
                    <a:pt x="199944" y="1521583"/>
                  </a:cubicBezTo>
                  <a:cubicBezTo>
                    <a:pt x="285766" y="1479096"/>
                    <a:pt x="448913" y="1488444"/>
                    <a:pt x="478653" y="1234376"/>
                  </a:cubicBezTo>
                  <a:cubicBezTo>
                    <a:pt x="504145" y="1092047"/>
                    <a:pt x="315081" y="889387"/>
                    <a:pt x="332501" y="629372"/>
                  </a:cubicBezTo>
                  <a:cubicBezTo>
                    <a:pt x="338449" y="405045"/>
                    <a:pt x="380085" y="246996"/>
                    <a:pt x="442115" y="175619"/>
                  </a:cubicBezTo>
                  <a:cubicBezTo>
                    <a:pt x="506482" y="77477"/>
                    <a:pt x="669788" y="-7762"/>
                    <a:pt x="823416" y="56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91"/>
              <a:endParaRPr lang="en-US">
                <a:solidFill>
                  <a:srgbClr val="FFFFFF"/>
                </a:solidFill>
              </a:endParaRPr>
            </a:p>
          </p:txBody>
        </p:sp>
        <p:sp>
          <p:nvSpPr>
            <p:cNvPr id="38" name="Freeform 37"/>
            <p:cNvSpPr/>
            <p:nvPr/>
          </p:nvSpPr>
          <p:spPr>
            <a:xfrm>
              <a:off x="768804" y="2244608"/>
              <a:ext cx="2698725" cy="1438414"/>
            </a:xfrm>
            <a:custGeom>
              <a:avLst/>
              <a:gdLst/>
              <a:ahLst/>
              <a:cxnLst/>
              <a:rect l="l" t="t" r="r" b="b"/>
              <a:pathLst>
                <a:path w="5041900" h="2687320">
                  <a:moveTo>
                    <a:pt x="3811019" y="2324020"/>
                  </a:moveTo>
                  <a:cubicBezTo>
                    <a:pt x="3797894" y="2323818"/>
                    <a:pt x="3781259" y="2327188"/>
                    <a:pt x="3764226" y="2334179"/>
                  </a:cubicBezTo>
                  <a:cubicBezTo>
                    <a:pt x="3730159" y="2348161"/>
                    <a:pt x="3707401" y="2371330"/>
                    <a:pt x="3713393" y="2385930"/>
                  </a:cubicBezTo>
                  <a:cubicBezTo>
                    <a:pt x="3719386" y="2400530"/>
                    <a:pt x="3751859" y="2401031"/>
                    <a:pt x="3785925" y="2387049"/>
                  </a:cubicBezTo>
                  <a:cubicBezTo>
                    <a:pt x="3819991" y="2373067"/>
                    <a:pt x="3842750" y="2349898"/>
                    <a:pt x="3836757" y="2335298"/>
                  </a:cubicBezTo>
                  <a:cubicBezTo>
                    <a:pt x="3833761" y="2327998"/>
                    <a:pt x="3824145" y="2324223"/>
                    <a:pt x="3811019" y="2324020"/>
                  </a:cubicBezTo>
                  <a:close/>
                  <a:moveTo>
                    <a:pt x="3977706" y="2224008"/>
                  </a:moveTo>
                  <a:cubicBezTo>
                    <a:pt x="3964581" y="2223806"/>
                    <a:pt x="3947946" y="2227176"/>
                    <a:pt x="3930913" y="2234167"/>
                  </a:cubicBezTo>
                  <a:cubicBezTo>
                    <a:pt x="3896846" y="2248149"/>
                    <a:pt x="3874088" y="2271318"/>
                    <a:pt x="3880080" y="2285918"/>
                  </a:cubicBezTo>
                  <a:cubicBezTo>
                    <a:pt x="3886073" y="2300518"/>
                    <a:pt x="3918546" y="2301019"/>
                    <a:pt x="3952612" y="2287037"/>
                  </a:cubicBezTo>
                  <a:cubicBezTo>
                    <a:pt x="3986678" y="2273055"/>
                    <a:pt x="4009437" y="2249886"/>
                    <a:pt x="4003444" y="2235286"/>
                  </a:cubicBezTo>
                  <a:cubicBezTo>
                    <a:pt x="4000448" y="2227986"/>
                    <a:pt x="3990832" y="2224211"/>
                    <a:pt x="3977706" y="2224008"/>
                  </a:cubicBezTo>
                  <a:close/>
                  <a:moveTo>
                    <a:pt x="3335431" y="2172198"/>
                  </a:moveTo>
                  <a:lnTo>
                    <a:pt x="3330410" y="2174926"/>
                  </a:lnTo>
                  <a:lnTo>
                    <a:pt x="3338121" y="2206556"/>
                  </a:lnTo>
                  <a:lnTo>
                    <a:pt x="3342857" y="2205412"/>
                  </a:lnTo>
                  <a:close/>
                  <a:moveTo>
                    <a:pt x="998538" y="2027239"/>
                  </a:moveTo>
                  <a:lnTo>
                    <a:pt x="1003301" y="2108201"/>
                  </a:lnTo>
                  <a:lnTo>
                    <a:pt x="1331913" y="2184401"/>
                  </a:lnTo>
                  <a:lnTo>
                    <a:pt x="1331913" y="2108201"/>
                  </a:lnTo>
                  <a:close/>
                  <a:moveTo>
                    <a:pt x="565150" y="1922464"/>
                  </a:moveTo>
                  <a:lnTo>
                    <a:pt x="569913" y="2003426"/>
                  </a:lnTo>
                  <a:lnTo>
                    <a:pt x="898525" y="2079626"/>
                  </a:lnTo>
                  <a:lnTo>
                    <a:pt x="898525" y="2003426"/>
                  </a:lnTo>
                  <a:close/>
                  <a:moveTo>
                    <a:pt x="3937000" y="1673225"/>
                  </a:moveTo>
                  <a:lnTo>
                    <a:pt x="3730625" y="1771650"/>
                  </a:lnTo>
                  <a:lnTo>
                    <a:pt x="3317875" y="1679575"/>
                  </a:lnTo>
                  <a:lnTo>
                    <a:pt x="3698875" y="1781175"/>
                  </a:lnTo>
                  <a:lnTo>
                    <a:pt x="3479800" y="1882775"/>
                  </a:lnTo>
                  <a:lnTo>
                    <a:pt x="3327400" y="1841500"/>
                  </a:lnTo>
                  <a:lnTo>
                    <a:pt x="3454400" y="1895475"/>
                  </a:lnTo>
                  <a:lnTo>
                    <a:pt x="3349625" y="1936750"/>
                  </a:lnTo>
                  <a:lnTo>
                    <a:pt x="3355975" y="1968500"/>
                  </a:lnTo>
                  <a:lnTo>
                    <a:pt x="3476625" y="1911350"/>
                  </a:lnTo>
                  <a:lnTo>
                    <a:pt x="3613150" y="1955800"/>
                  </a:lnTo>
                  <a:lnTo>
                    <a:pt x="3502025" y="1901825"/>
                  </a:lnTo>
                  <a:lnTo>
                    <a:pt x="3717925" y="1797050"/>
                  </a:lnTo>
                  <a:lnTo>
                    <a:pt x="3889375" y="1835150"/>
                  </a:lnTo>
                  <a:lnTo>
                    <a:pt x="3748881" y="1783556"/>
                  </a:lnTo>
                  <a:close/>
                  <a:moveTo>
                    <a:pt x="3217900" y="1415136"/>
                  </a:moveTo>
                  <a:lnTo>
                    <a:pt x="3230468" y="1468238"/>
                  </a:lnTo>
                  <a:lnTo>
                    <a:pt x="4248150" y="1676400"/>
                  </a:lnTo>
                  <a:lnTo>
                    <a:pt x="3390050" y="2142529"/>
                  </a:lnTo>
                  <a:lnTo>
                    <a:pt x="3401578" y="2191238"/>
                  </a:lnTo>
                  <a:lnTo>
                    <a:pt x="3403600" y="2190750"/>
                  </a:lnTo>
                  <a:lnTo>
                    <a:pt x="4362450" y="1663700"/>
                  </a:lnTo>
                  <a:close/>
                  <a:moveTo>
                    <a:pt x="3141123" y="1398462"/>
                  </a:moveTo>
                  <a:lnTo>
                    <a:pt x="3154337" y="1452666"/>
                  </a:lnTo>
                  <a:lnTo>
                    <a:pt x="3175513" y="1456997"/>
                  </a:lnTo>
                  <a:lnTo>
                    <a:pt x="3163512" y="1403325"/>
                  </a:lnTo>
                  <a:close/>
                  <a:moveTo>
                    <a:pt x="3141978" y="1307015"/>
                  </a:moveTo>
                  <a:lnTo>
                    <a:pt x="3124354" y="1329674"/>
                  </a:lnTo>
                  <a:lnTo>
                    <a:pt x="3129419" y="1350452"/>
                  </a:lnTo>
                  <a:lnTo>
                    <a:pt x="3152938" y="1356033"/>
                  </a:lnTo>
                  <a:close/>
                  <a:moveTo>
                    <a:pt x="3104335" y="1247557"/>
                  </a:moveTo>
                  <a:lnTo>
                    <a:pt x="3109966" y="1270657"/>
                  </a:lnTo>
                  <a:lnTo>
                    <a:pt x="3134509" y="1273614"/>
                  </a:lnTo>
                  <a:lnTo>
                    <a:pt x="3129188" y="1249816"/>
                  </a:lnTo>
                  <a:close/>
                  <a:moveTo>
                    <a:pt x="3352800" y="1206500"/>
                  </a:moveTo>
                  <a:lnTo>
                    <a:pt x="3185161" y="1276801"/>
                  </a:lnTo>
                  <a:lnTo>
                    <a:pt x="3196328" y="1323986"/>
                  </a:lnTo>
                  <a:lnTo>
                    <a:pt x="3217648" y="1296574"/>
                  </a:lnTo>
                  <a:lnTo>
                    <a:pt x="3367848" y="1233587"/>
                  </a:lnTo>
                  <a:lnTo>
                    <a:pt x="3648869" y="1296574"/>
                  </a:lnTo>
                  <a:lnTo>
                    <a:pt x="3469597" y="1408013"/>
                  </a:lnTo>
                  <a:lnTo>
                    <a:pt x="3201139" y="1344312"/>
                  </a:lnTo>
                  <a:lnTo>
                    <a:pt x="3206946" y="1368848"/>
                  </a:lnTo>
                  <a:lnTo>
                    <a:pt x="3486150" y="1435100"/>
                  </a:lnTo>
                  <a:lnTo>
                    <a:pt x="3721100" y="1289050"/>
                  </a:lnTo>
                  <a:close/>
                  <a:moveTo>
                    <a:pt x="3111036" y="1168633"/>
                  </a:moveTo>
                  <a:lnTo>
                    <a:pt x="3087913" y="1180194"/>
                  </a:lnTo>
                  <a:lnTo>
                    <a:pt x="3092654" y="1199641"/>
                  </a:lnTo>
                  <a:lnTo>
                    <a:pt x="3115512" y="1188651"/>
                  </a:lnTo>
                  <a:close/>
                  <a:moveTo>
                    <a:pt x="3158477" y="1164052"/>
                  </a:moveTo>
                  <a:lnTo>
                    <a:pt x="3163756" y="1186356"/>
                  </a:lnTo>
                  <a:lnTo>
                    <a:pt x="3246438" y="1205706"/>
                  </a:lnTo>
                  <a:lnTo>
                    <a:pt x="3175577" y="1236306"/>
                  </a:lnTo>
                  <a:lnTo>
                    <a:pt x="3180712" y="1258001"/>
                  </a:lnTo>
                  <a:lnTo>
                    <a:pt x="3310731" y="1198563"/>
                  </a:lnTo>
                  <a:close/>
                  <a:moveTo>
                    <a:pt x="1702082" y="1154113"/>
                  </a:moveTo>
                  <a:cubicBezTo>
                    <a:pt x="1626682" y="1154113"/>
                    <a:pt x="1565557" y="1215238"/>
                    <a:pt x="1565557" y="1290638"/>
                  </a:cubicBezTo>
                  <a:cubicBezTo>
                    <a:pt x="1565557" y="1366039"/>
                    <a:pt x="1626682" y="1427163"/>
                    <a:pt x="1702082" y="1427163"/>
                  </a:cubicBezTo>
                  <a:cubicBezTo>
                    <a:pt x="1714831" y="1427163"/>
                    <a:pt x="1727171" y="1425416"/>
                    <a:pt x="1738713" y="1421560"/>
                  </a:cubicBezTo>
                  <a:cubicBezTo>
                    <a:pt x="1737668" y="1421865"/>
                    <a:pt x="1736612" y="1421878"/>
                    <a:pt x="1735553" y="1421878"/>
                  </a:cubicBezTo>
                  <a:cubicBezTo>
                    <a:pt x="1669881" y="1421878"/>
                    <a:pt x="1616644" y="1368641"/>
                    <a:pt x="1616644" y="1302970"/>
                  </a:cubicBezTo>
                  <a:cubicBezTo>
                    <a:pt x="1616644" y="1237298"/>
                    <a:pt x="1669881" y="1184061"/>
                    <a:pt x="1735553" y="1184061"/>
                  </a:cubicBezTo>
                  <a:cubicBezTo>
                    <a:pt x="1766824" y="1184061"/>
                    <a:pt x="1795276" y="1196132"/>
                    <a:pt x="1816273" y="1216115"/>
                  </a:cubicBezTo>
                  <a:cubicBezTo>
                    <a:pt x="1792052" y="1178741"/>
                    <a:pt x="1749943" y="1154113"/>
                    <a:pt x="1702082" y="1154113"/>
                  </a:cubicBezTo>
                  <a:close/>
                  <a:moveTo>
                    <a:pt x="2932113" y="560389"/>
                  </a:moveTo>
                  <a:lnTo>
                    <a:pt x="3313113" y="2413001"/>
                  </a:lnTo>
                  <a:lnTo>
                    <a:pt x="2822575" y="2327276"/>
                  </a:lnTo>
                  <a:lnTo>
                    <a:pt x="3365500" y="2455864"/>
                  </a:lnTo>
                  <a:close/>
                  <a:moveTo>
                    <a:pt x="146050" y="0"/>
                  </a:moveTo>
                  <a:lnTo>
                    <a:pt x="2997200" y="482600"/>
                  </a:lnTo>
                  <a:lnTo>
                    <a:pt x="3142738" y="1097549"/>
                  </a:lnTo>
                  <a:lnTo>
                    <a:pt x="5032375" y="1470025"/>
                  </a:lnTo>
                  <a:lnTo>
                    <a:pt x="4572259" y="1753174"/>
                  </a:lnTo>
                  <a:lnTo>
                    <a:pt x="3451225" y="2413001"/>
                  </a:lnTo>
                  <a:lnTo>
                    <a:pt x="3108325" y="965201"/>
                  </a:lnTo>
                  <a:lnTo>
                    <a:pt x="3432175" y="2427289"/>
                  </a:lnTo>
                  <a:lnTo>
                    <a:pt x="3413125" y="2493964"/>
                  </a:lnTo>
                  <a:lnTo>
                    <a:pt x="5037138" y="1479551"/>
                  </a:lnTo>
                  <a:lnTo>
                    <a:pt x="4991246" y="1506563"/>
                  </a:lnTo>
                  <a:lnTo>
                    <a:pt x="5041900" y="1475740"/>
                  </a:lnTo>
                  <a:lnTo>
                    <a:pt x="5041900" y="1597660"/>
                  </a:lnTo>
                  <a:lnTo>
                    <a:pt x="3441700" y="2687320"/>
                  </a:lnTo>
                  <a:lnTo>
                    <a:pt x="454660" y="2032000"/>
                  </a:lnTo>
                  <a:lnTo>
                    <a:pt x="454660" y="1856740"/>
                  </a:lnTo>
                  <a:lnTo>
                    <a:pt x="512379" y="1868432"/>
                  </a:lnTo>
                  <a:lnTo>
                    <a:pt x="512763" y="1870076"/>
                  </a:lnTo>
                  <a:lnTo>
                    <a:pt x="3375025" y="2498726"/>
                  </a:lnTo>
                  <a:lnTo>
                    <a:pt x="541338" y="1841501"/>
                  </a:lnTo>
                  <a:lnTo>
                    <a:pt x="341313" y="1136651"/>
                  </a:lnTo>
                  <a:lnTo>
                    <a:pt x="512040" y="1866982"/>
                  </a:lnTo>
                  <a:lnTo>
                    <a:pt x="457994" y="1855788"/>
                  </a:lnTo>
                  <a:lnTo>
                    <a:pt x="10319" y="36513"/>
                  </a:lnTo>
                  <a:cubicBezTo>
                    <a:pt x="497682" y="131763"/>
                    <a:pt x="1934369" y="328613"/>
                    <a:pt x="2934494" y="550863"/>
                  </a:cubicBezTo>
                  <a:lnTo>
                    <a:pt x="3063981" y="1082025"/>
                  </a:lnTo>
                  <a:lnTo>
                    <a:pt x="3092947" y="1087734"/>
                  </a:lnTo>
                  <a:lnTo>
                    <a:pt x="2965449" y="517525"/>
                  </a:lnTo>
                  <a:lnTo>
                    <a:pt x="0" y="2540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91"/>
              <a:endParaRPr lang="en-US">
                <a:solidFill>
                  <a:srgbClr val="FFFFFF"/>
                </a:solidFill>
              </a:endParaRPr>
            </a:p>
          </p:txBody>
        </p:sp>
      </p:grpSp>
      <p:grpSp>
        <p:nvGrpSpPr>
          <p:cNvPr id="39" name="Group 38"/>
          <p:cNvGrpSpPr/>
          <p:nvPr/>
        </p:nvGrpSpPr>
        <p:grpSpPr>
          <a:xfrm>
            <a:off x="7231631" y="1250203"/>
            <a:ext cx="986289" cy="701982"/>
            <a:chOff x="5326857" y="2779521"/>
            <a:chExt cx="2283619" cy="2167129"/>
          </a:xfrm>
          <a:solidFill>
            <a:schemeClr val="tx1"/>
          </a:solidFill>
        </p:grpSpPr>
        <p:sp>
          <p:nvSpPr>
            <p:cNvPr id="46" name="Freeform 45"/>
            <p:cNvSpPr/>
            <p:nvPr/>
          </p:nvSpPr>
          <p:spPr>
            <a:xfrm>
              <a:off x="5326857" y="3228975"/>
              <a:ext cx="1147085" cy="1083469"/>
            </a:xfrm>
            <a:custGeom>
              <a:avLst/>
              <a:gdLst>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990798 h 1083469"/>
                <a:gd name="connsiteX6" fmla="*/ 186985 w 1147085"/>
                <a:gd name="connsiteY6" fmla="*/ 1011445 h 1083469"/>
                <a:gd name="connsiteX7" fmla="*/ 977729 w 1147085"/>
                <a:gd name="connsiteY7" fmla="*/ 857154 h 1083469"/>
                <a:gd name="connsiteX8" fmla="*/ 977729 w 1147085"/>
                <a:gd name="connsiteY8" fmla="*/ 916854 h 1083469"/>
                <a:gd name="connsiteX9" fmla="*/ 123825 w 1147085"/>
                <a:gd name="connsiteY9" fmla="*/ 1083469 h 1083469"/>
                <a:gd name="connsiteX10" fmla="*/ 0 w 1147085"/>
                <a:gd name="connsiteY10" fmla="*/ 114300 h 1083469"/>
                <a:gd name="connsiteX11" fmla="*/ 1090612 w 1147085"/>
                <a:gd name="connsiteY11" fmla="*/ 0 h 1083469"/>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1011445 h 1083469"/>
                <a:gd name="connsiteX6" fmla="*/ 977729 w 1147085"/>
                <a:gd name="connsiteY6" fmla="*/ 857154 h 1083469"/>
                <a:gd name="connsiteX7" fmla="*/ 977729 w 1147085"/>
                <a:gd name="connsiteY7" fmla="*/ 916854 h 1083469"/>
                <a:gd name="connsiteX8" fmla="*/ 123825 w 1147085"/>
                <a:gd name="connsiteY8" fmla="*/ 1083469 h 1083469"/>
                <a:gd name="connsiteX9" fmla="*/ 0 w 1147085"/>
                <a:gd name="connsiteY9" fmla="*/ 114300 h 1083469"/>
                <a:gd name="connsiteX10" fmla="*/ 1090612 w 1147085"/>
                <a:gd name="connsiteY10" fmla="*/ 0 h 108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7085" h="1083469">
                  <a:moveTo>
                    <a:pt x="1090612" y="0"/>
                  </a:moveTo>
                  <a:lnTo>
                    <a:pt x="1147085" y="460567"/>
                  </a:lnTo>
                  <a:cubicBezTo>
                    <a:pt x="1121629" y="471368"/>
                    <a:pt x="1098257" y="486098"/>
                    <a:pt x="1078295" y="504743"/>
                  </a:cubicBezTo>
                  <a:lnTo>
                    <a:pt x="1025237" y="72025"/>
                  </a:lnTo>
                  <a:lnTo>
                    <a:pt x="79622" y="171129"/>
                  </a:lnTo>
                  <a:lnTo>
                    <a:pt x="186985" y="1011445"/>
                  </a:lnTo>
                  <a:lnTo>
                    <a:pt x="977729" y="857154"/>
                  </a:lnTo>
                  <a:lnTo>
                    <a:pt x="977729" y="916854"/>
                  </a:lnTo>
                  <a:lnTo>
                    <a:pt x="123825" y="1083469"/>
                  </a:lnTo>
                  <a:lnTo>
                    <a:pt x="0" y="114300"/>
                  </a:lnTo>
                  <a:lnTo>
                    <a:pt x="1090612"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49" name="Oval 23"/>
            <p:cNvSpPr/>
            <p:nvPr/>
          </p:nvSpPr>
          <p:spPr bwMode="auto">
            <a:xfrm>
              <a:off x="5472973" y="4217016"/>
              <a:ext cx="831613" cy="515322"/>
            </a:xfrm>
            <a:custGeom>
              <a:avLst/>
              <a:gdLst/>
              <a:ahLst/>
              <a:cxnLst/>
              <a:rect l="l" t="t" r="r" b="b"/>
              <a:pathLst>
                <a:path w="831613" h="515322">
                  <a:moveTo>
                    <a:pt x="656506" y="0"/>
                  </a:moveTo>
                  <a:cubicBezTo>
                    <a:pt x="722980" y="12459"/>
                    <a:pt x="782484" y="33487"/>
                    <a:pt x="831613" y="60220"/>
                  </a:cubicBezTo>
                  <a:lnTo>
                    <a:pt x="831613" y="156807"/>
                  </a:lnTo>
                  <a:lnTo>
                    <a:pt x="790343" y="156807"/>
                  </a:lnTo>
                  <a:cubicBezTo>
                    <a:pt x="689578" y="156807"/>
                    <a:pt x="607892" y="247187"/>
                    <a:pt x="607892" y="358678"/>
                  </a:cubicBezTo>
                  <a:cubicBezTo>
                    <a:pt x="607892" y="412735"/>
                    <a:pt x="627095" y="461830"/>
                    <a:pt x="658968" y="497546"/>
                  </a:cubicBezTo>
                  <a:cubicBezTo>
                    <a:pt x="605816" y="509342"/>
                    <a:pt x="548050" y="515322"/>
                    <a:pt x="487726" y="515322"/>
                  </a:cubicBezTo>
                  <a:cubicBezTo>
                    <a:pt x="218362" y="515322"/>
                    <a:pt x="0" y="396081"/>
                    <a:pt x="0" y="248990"/>
                  </a:cubicBezTo>
                  <a:cubicBezTo>
                    <a:pt x="0" y="198934"/>
                    <a:pt x="25288" y="152104"/>
                    <a:pt x="70263" y="113194"/>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54" name="Rounded Rectangle 13"/>
            <p:cNvSpPr/>
            <p:nvPr/>
          </p:nvSpPr>
          <p:spPr bwMode="auto">
            <a:xfrm>
              <a:off x="6127748" y="3705225"/>
              <a:ext cx="1375518" cy="1241425"/>
            </a:xfrm>
            <a:custGeom>
              <a:avLst/>
              <a:gdLst/>
              <a:ahLst/>
              <a:cxnLst/>
              <a:rect l="l" t="t" r="r" b="b"/>
              <a:pathLst>
                <a:path w="1375518" h="1241425">
                  <a:moveTo>
                    <a:pt x="880211" y="0"/>
                  </a:moveTo>
                  <a:lnTo>
                    <a:pt x="1125002" y="0"/>
                  </a:lnTo>
                  <a:cubicBezTo>
                    <a:pt x="1202113" y="0"/>
                    <a:pt x="1271265" y="34077"/>
                    <a:pt x="1317403" y="88704"/>
                  </a:cubicBezTo>
                  <a:cubicBezTo>
                    <a:pt x="1244331" y="103169"/>
                    <a:pt x="1190628" y="168346"/>
                    <a:pt x="1190628" y="246066"/>
                  </a:cubicBezTo>
                  <a:lnTo>
                    <a:pt x="1190628" y="708029"/>
                  </a:lnTo>
                  <a:lnTo>
                    <a:pt x="929175" y="708029"/>
                  </a:lnTo>
                  <a:lnTo>
                    <a:pt x="803618" y="172438"/>
                  </a:lnTo>
                  <a:close/>
                  <a:moveTo>
                    <a:pt x="481554" y="0"/>
                  </a:moveTo>
                  <a:lnTo>
                    <a:pt x="726347" y="0"/>
                  </a:lnTo>
                  <a:lnTo>
                    <a:pt x="802940" y="172436"/>
                  </a:lnTo>
                  <a:lnTo>
                    <a:pt x="674361" y="720915"/>
                  </a:lnTo>
                  <a:cubicBezTo>
                    <a:pt x="614856" y="745801"/>
                    <a:pt x="573090" y="804586"/>
                    <a:pt x="573090" y="873128"/>
                  </a:cubicBezTo>
                  <a:cubicBezTo>
                    <a:pt x="573090" y="964310"/>
                    <a:pt x="647007" y="1038227"/>
                    <a:pt x="738189" y="1038227"/>
                  </a:cubicBezTo>
                  <a:lnTo>
                    <a:pt x="1375518" y="1038227"/>
                  </a:lnTo>
                  <a:cubicBezTo>
                    <a:pt x="1351252" y="1154299"/>
                    <a:pt x="1248302" y="1241425"/>
                    <a:pt x="1125002" y="1241425"/>
                  </a:cubicBezTo>
                  <a:lnTo>
                    <a:pt x="481554" y="1241425"/>
                  </a:lnTo>
                  <a:cubicBezTo>
                    <a:pt x="358254" y="1241425"/>
                    <a:pt x="255302" y="1154298"/>
                    <a:pt x="231037" y="1038224"/>
                  </a:cubicBezTo>
                  <a:lnTo>
                    <a:pt x="165099" y="1038224"/>
                  </a:lnTo>
                  <a:cubicBezTo>
                    <a:pt x="73917" y="1038224"/>
                    <a:pt x="0" y="964307"/>
                    <a:pt x="0" y="873125"/>
                  </a:cubicBezTo>
                  <a:cubicBezTo>
                    <a:pt x="0" y="781943"/>
                    <a:pt x="73917" y="708026"/>
                    <a:pt x="165099" y="708026"/>
                  </a:cubicBezTo>
                  <a:lnTo>
                    <a:pt x="225428" y="708026"/>
                  </a:lnTo>
                  <a:lnTo>
                    <a:pt x="225428" y="256126"/>
                  </a:lnTo>
                  <a:cubicBezTo>
                    <a:pt x="225428" y="114672"/>
                    <a:pt x="340100" y="0"/>
                    <a:pt x="481554"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58" name="Oval 57"/>
            <p:cNvSpPr/>
            <p:nvPr/>
          </p:nvSpPr>
          <p:spPr bwMode="auto">
            <a:xfrm>
              <a:off x="6524624" y="2779521"/>
              <a:ext cx="835025" cy="83502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59" name="Rounded Rectangle 14"/>
            <p:cNvSpPr/>
            <p:nvPr/>
          </p:nvSpPr>
          <p:spPr bwMode="auto">
            <a:xfrm>
              <a:off x="6740522" y="3829050"/>
              <a:ext cx="869954" cy="874713"/>
            </a:xfrm>
            <a:custGeom>
              <a:avLst/>
              <a:gdLst>
                <a:gd name="connsiteX0" fmla="*/ 744540 w 869954"/>
                <a:gd name="connsiteY0" fmla="*/ 0 h 874713"/>
                <a:gd name="connsiteX1" fmla="*/ 869954 w 869954"/>
                <a:gd name="connsiteY1" fmla="*/ 125414 h 874713"/>
                <a:gd name="connsiteX2" fmla="*/ 869953 w 869954"/>
                <a:gd name="connsiteY2" fmla="*/ 706437 h 874713"/>
                <a:gd name="connsiteX3" fmla="*/ 869952 w 869954"/>
                <a:gd name="connsiteY3" fmla="*/ 749299 h 874713"/>
                <a:gd name="connsiteX4" fmla="*/ 744538 w 869954"/>
                <a:gd name="connsiteY4" fmla="*/ 874713 h 874713"/>
                <a:gd name="connsiteX5" fmla="*/ 125414 w 869954"/>
                <a:gd name="connsiteY5" fmla="*/ 874712 h 874713"/>
                <a:gd name="connsiteX6" fmla="*/ 0 w 869954"/>
                <a:gd name="connsiteY6" fmla="*/ 749298 h 874713"/>
                <a:gd name="connsiteX7" fmla="*/ 1 w 869954"/>
                <a:gd name="connsiteY7" fmla="*/ 749299 h 874713"/>
                <a:gd name="connsiteX8" fmla="*/ 125415 w 869954"/>
                <a:gd name="connsiteY8" fmla="*/ 623885 h 874713"/>
                <a:gd name="connsiteX9" fmla="*/ 619126 w 869954"/>
                <a:gd name="connsiteY9" fmla="*/ 623885 h 874713"/>
                <a:gd name="connsiteX10" fmla="*/ 619126 w 869954"/>
                <a:gd name="connsiteY10" fmla="*/ 125414 h 874713"/>
                <a:gd name="connsiteX11" fmla="*/ 744540 w 869954"/>
                <a:gd name="connsiteY11" fmla="*/ 0 h 87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9954" h="874713">
                  <a:moveTo>
                    <a:pt x="744540" y="0"/>
                  </a:moveTo>
                  <a:cubicBezTo>
                    <a:pt x="813804" y="0"/>
                    <a:pt x="869954" y="56150"/>
                    <a:pt x="869954" y="125414"/>
                  </a:cubicBezTo>
                  <a:cubicBezTo>
                    <a:pt x="869954" y="319088"/>
                    <a:pt x="869953" y="512763"/>
                    <a:pt x="869953" y="706437"/>
                  </a:cubicBezTo>
                  <a:cubicBezTo>
                    <a:pt x="869953" y="720724"/>
                    <a:pt x="869952" y="735012"/>
                    <a:pt x="869952" y="749299"/>
                  </a:cubicBezTo>
                  <a:cubicBezTo>
                    <a:pt x="869952" y="818563"/>
                    <a:pt x="813802" y="874713"/>
                    <a:pt x="744538" y="874713"/>
                  </a:cubicBezTo>
                  <a:lnTo>
                    <a:pt x="125414" y="874712"/>
                  </a:lnTo>
                  <a:cubicBezTo>
                    <a:pt x="56150" y="874712"/>
                    <a:pt x="0" y="818562"/>
                    <a:pt x="0" y="749298"/>
                  </a:cubicBezTo>
                  <a:lnTo>
                    <a:pt x="1" y="749299"/>
                  </a:lnTo>
                  <a:cubicBezTo>
                    <a:pt x="1" y="680035"/>
                    <a:pt x="56151" y="623885"/>
                    <a:pt x="125415" y="623885"/>
                  </a:cubicBezTo>
                  <a:lnTo>
                    <a:pt x="619126" y="623885"/>
                  </a:lnTo>
                  <a:lnTo>
                    <a:pt x="619126" y="125414"/>
                  </a:lnTo>
                  <a:cubicBezTo>
                    <a:pt x="619126" y="56150"/>
                    <a:pt x="675276" y="0"/>
                    <a:pt x="74454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sp>
        <p:nvSpPr>
          <p:cNvPr id="60" name="TextBox 59"/>
          <p:cNvSpPr txBox="1"/>
          <p:nvPr>
            <p:custDataLst>
              <p:tags r:id="rId17"/>
            </p:custDataLst>
          </p:nvPr>
        </p:nvSpPr>
        <p:spPr>
          <a:xfrm>
            <a:off x="2652338" y="779860"/>
            <a:ext cx="1918072" cy="342900"/>
          </a:xfrm>
          <a:prstGeom prst="rect">
            <a:avLst/>
          </a:prstGeom>
          <a:solidFill>
            <a:schemeClr val="accent5"/>
          </a:solidFill>
          <a:ln w="3175" cap="flat" cmpd="sng" algn="ctr">
            <a:noFill/>
            <a:prstDash val="solid"/>
            <a:headEnd type="none" w="med" len="med"/>
            <a:tailEnd type="none" w="med" len="med"/>
          </a:ln>
          <a:effectLst/>
        </p:spPr>
        <p:txBody>
          <a:bodyPr spcFirstLastPara="0" vert="horz" wrap="square" lIns="68589" tIns="34295" rIns="68589" bIns="34295" numCol="1" spcCol="953" anchor="ctr" anchorCtr="0">
            <a:noAutofit/>
          </a:bodyPr>
          <a:lstStyle>
            <a:defPPr>
              <a:defRPr lang="en-US"/>
            </a:defPPr>
            <a:lvl1pPr algn="ctr">
              <a:defRPr b="1" kern="0">
                <a:ln>
                  <a:solidFill>
                    <a:srgbClr val="FFFFFF">
                      <a:alpha val="0"/>
                    </a:srgbClr>
                  </a:solidFill>
                </a:ln>
                <a:latin typeface="Segoe Condensed" pitchFamily="34" charset="0"/>
              </a:defRPr>
            </a:lvl1pPr>
          </a:lstStyle>
          <a:p>
            <a:r>
              <a:rPr lang="en-US" dirty="0">
                <a:latin typeface="+mj-lt"/>
              </a:rPr>
              <a:t>IT Pros</a:t>
            </a:r>
          </a:p>
        </p:txBody>
      </p:sp>
      <p:sp>
        <p:nvSpPr>
          <p:cNvPr id="61" name="TextBox 60"/>
          <p:cNvSpPr txBox="1"/>
          <p:nvPr>
            <p:custDataLst>
              <p:tags r:id="rId18"/>
            </p:custDataLst>
          </p:nvPr>
        </p:nvSpPr>
        <p:spPr>
          <a:xfrm>
            <a:off x="4572001" y="779860"/>
            <a:ext cx="1920817" cy="342900"/>
          </a:xfrm>
          <a:prstGeom prst="rect">
            <a:avLst/>
          </a:prstGeom>
          <a:solidFill>
            <a:schemeClr val="accent5"/>
          </a:solidFill>
          <a:ln w="3175" cap="flat" cmpd="sng" algn="ctr">
            <a:noFill/>
            <a:prstDash val="solid"/>
            <a:headEnd type="none" w="med" len="med"/>
            <a:tailEnd type="none" w="med" len="med"/>
          </a:ln>
          <a:effectLst/>
        </p:spPr>
        <p:txBody>
          <a:bodyPr spcFirstLastPara="0" vert="horz" wrap="square" lIns="68589" tIns="34295" rIns="68589" bIns="34295" numCol="1" spcCol="953" anchor="ctr" anchorCtr="0">
            <a:noAutofit/>
          </a:bodyPr>
          <a:lstStyle>
            <a:defPPr>
              <a:defRPr lang="en-US"/>
            </a:defPPr>
            <a:lvl1pPr algn="ctr">
              <a:defRPr b="1" kern="0">
                <a:ln>
                  <a:solidFill>
                    <a:srgbClr val="FFFFFF">
                      <a:alpha val="0"/>
                    </a:srgbClr>
                  </a:solidFill>
                </a:ln>
                <a:latin typeface="Segoe Condensed" pitchFamily="34" charset="0"/>
              </a:defRPr>
            </a:lvl1pPr>
          </a:lstStyle>
          <a:p>
            <a:r>
              <a:rPr lang="en-US" dirty="0">
                <a:latin typeface="+mj-lt"/>
              </a:rPr>
              <a:t>Power Users</a:t>
            </a:r>
          </a:p>
        </p:txBody>
      </p:sp>
      <p:cxnSp>
        <p:nvCxnSpPr>
          <p:cNvPr id="5" name="Straight Connector 4"/>
          <p:cNvCxnSpPr/>
          <p:nvPr/>
        </p:nvCxnSpPr>
        <p:spPr>
          <a:xfrm>
            <a:off x="4572000" y="779860"/>
            <a:ext cx="0" cy="34290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5"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56"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3"/>
              </a:rPr>
              <a:t>www.rapidbbs.cn</a:t>
            </a:r>
            <a:endParaRPr lang="zh-CN" altLang="en-US" sz="1200" b="0">
              <a:latin typeface="Arial" charset="0"/>
              <a:ea typeface="ＭＳ Ｐゴシック" pitchFamily="34" charset="-128"/>
            </a:endParaRPr>
          </a:p>
        </p:txBody>
      </p:sp>
      <p:pic>
        <p:nvPicPr>
          <p:cNvPr id="57" name="Picture 2">
            <a:hlinkClick r:id="rId23"/>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155980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811744788"/>
              </p:ext>
            </p:ext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spid="_x0000_s29701" name="think-cell Slide" r:id="rId27" imgW="270" imgH="270" progId="TCLayout.ActiveDocument.1">
                  <p:embed/>
                </p:oleObj>
              </mc:Choice>
              <mc:Fallback>
                <p:oleObj name="think-cell Slide" r:id="rId27" imgW="270" imgH="270" progId="TCLayout.ActiveDocument.1">
                  <p:embed/>
                  <p:pic>
                    <p:nvPicPr>
                      <p:cNvPr id="0" name=""/>
                      <p:cNvPicPr/>
                      <p:nvPr/>
                    </p:nvPicPr>
                    <p:blipFill>
                      <a:blip r:embed="rId28"/>
                      <a:stretch>
                        <a:fillRect/>
                      </a:stretch>
                    </p:blipFill>
                    <p:spPr>
                      <a:xfrm>
                        <a:off x="0" y="0"/>
                        <a:ext cx="158750" cy="119063"/>
                      </a:xfrm>
                      <a:prstGeom prst="rect">
                        <a:avLst/>
                      </a:prstGeom>
                    </p:spPr>
                  </p:pic>
                </p:oleObj>
              </mc:Fallback>
            </mc:AlternateContent>
          </a:graphicData>
        </a:graphic>
      </p:graphicFrame>
      <p:sp>
        <p:nvSpPr>
          <p:cNvPr id="3" name="Title 2"/>
          <p:cNvSpPr>
            <a:spLocks noGrp="1"/>
          </p:cNvSpPr>
          <p:nvPr>
            <p:ph type="title"/>
            <p:custDataLst>
              <p:tags r:id="rId3"/>
            </p:custDataLst>
          </p:nvPr>
        </p:nvSpPr>
        <p:spPr>
          <a:xfrm>
            <a:off x="273050" y="171450"/>
            <a:ext cx="8594725" cy="332399"/>
          </a:xfrm>
        </p:spPr>
        <p:txBody>
          <a:bodyPr/>
          <a:lstStyle/>
          <a:p>
            <a:r>
              <a:rPr lang="en-US" sz="2400" cap="all" dirty="0">
                <a:ea typeface="+mj-ea"/>
                <a:cs typeface="+mj-cs"/>
              </a:rPr>
              <a:t>Power View SharePoint Architecture</a:t>
            </a:r>
          </a:p>
        </p:txBody>
      </p:sp>
      <p:sp>
        <p:nvSpPr>
          <p:cNvPr id="40" name="TextBox 39"/>
          <p:cNvSpPr txBox="1"/>
          <p:nvPr>
            <p:custDataLst>
              <p:tags r:id="rId4"/>
            </p:custDataLst>
          </p:nvPr>
        </p:nvSpPr>
        <p:spPr>
          <a:xfrm>
            <a:off x="2377440" y="916781"/>
            <a:ext cx="4389120" cy="3771900"/>
          </a:xfrm>
          <a:prstGeom prst="rect">
            <a:avLst/>
          </a:prstGeom>
          <a:noFill/>
          <a:ln w="6350" cap="flat" cmpd="sng" algn="ctr">
            <a:solidFill>
              <a:srgbClr val="FFFFFF">
                <a:alpha val="50000"/>
              </a:srgbClr>
            </a:solidFill>
            <a:prstDash val="solid"/>
            <a:headEnd type="none" w="med" len="med"/>
            <a:tailEnd type="none" w="med" len="med"/>
          </a:ln>
          <a:effectLst/>
        </p:spPr>
        <p:txBody>
          <a:bodyPr wrap="square" lIns="68589" tIns="68589" rIns="68589" bIns="68589" rtlCol="0" anchor="t" anchorCtr="0">
            <a:noAutofit/>
          </a:bodyPr>
          <a:lstStyle>
            <a:defPPr>
              <a:defRPr lang="en-US"/>
            </a:defPPr>
            <a:lvl1pPr indent="-396875" algn="ctr">
              <a:lnSpc>
                <a:spcPct val="90000"/>
              </a:lnSpc>
              <a:spcBef>
                <a:spcPct val="20000"/>
              </a:spcBef>
              <a:buClr>
                <a:srgbClr val="777777"/>
              </a:buClr>
              <a:defRPr sz="2000" b="1"/>
            </a:lvl1pPr>
          </a:lstStyle>
          <a:p>
            <a:pPr indent="0" defTabSz="685891">
              <a:lnSpc>
                <a:spcPct val="100000"/>
              </a:lnSpc>
              <a:spcBef>
                <a:spcPts val="900"/>
              </a:spcBef>
              <a:buClr>
                <a:srgbClr val="FFFFFF"/>
              </a:buClr>
              <a:buSzPct val="100000"/>
              <a:defRPr/>
            </a:pPr>
            <a:r>
              <a:rPr lang="en-US" dirty="0">
                <a:solidFill>
                  <a:srgbClr val="FF8B00"/>
                </a:solidFill>
                <a:effectLst>
                  <a:outerShdw blurRad="711200" algn="tl">
                    <a:srgbClr val="FFFFFF">
                      <a:alpha val="39000"/>
                    </a:srgbClr>
                  </a:outerShdw>
                </a:effectLst>
                <a:latin typeface="Segoe Condensed" pitchFamily="34" charset="0"/>
                <a:sym typeface="Wingdings" pitchFamily="2" charset="2"/>
              </a:rPr>
              <a:t>SharePoint Farm</a:t>
            </a:r>
          </a:p>
        </p:txBody>
      </p:sp>
      <p:sp>
        <p:nvSpPr>
          <p:cNvPr id="44" name="TextBox 43"/>
          <p:cNvSpPr txBox="1"/>
          <p:nvPr>
            <p:custDataLst>
              <p:tags r:id="rId5"/>
            </p:custDataLst>
          </p:nvPr>
        </p:nvSpPr>
        <p:spPr>
          <a:xfrm>
            <a:off x="2514600" y="1302543"/>
            <a:ext cx="1828800" cy="3291840"/>
          </a:xfrm>
          <a:prstGeom prst="rect">
            <a:avLst/>
          </a:prstGeom>
          <a:solidFill>
            <a:schemeClr val="bg1"/>
          </a:solidFill>
          <a:ln w="6350" cap="flat" cmpd="sng" algn="ctr">
            <a:noFill/>
            <a:prstDash val="solid"/>
            <a:headEnd type="none" w="med" len="med"/>
            <a:tailEnd type="none" w="med" len="med"/>
          </a:ln>
          <a:effectLst/>
        </p:spPr>
        <p:txBody>
          <a:bodyPr wrap="square" lIns="68589" tIns="68589" rIns="68589" bIns="68589" rtlCol="0" anchor="t" anchorCtr="0">
            <a:noAutofit/>
          </a:bodyPr>
          <a:lstStyle>
            <a:defPPr>
              <a:defRPr lang="en-US"/>
            </a:defPPr>
            <a:lvl1pPr indent="-396875" algn="ctr">
              <a:lnSpc>
                <a:spcPct val="90000"/>
              </a:lnSpc>
              <a:spcBef>
                <a:spcPct val="20000"/>
              </a:spcBef>
              <a:buClr>
                <a:srgbClr val="777777"/>
              </a:buClr>
              <a:defRPr sz="2000" b="1"/>
            </a:lvl1pPr>
          </a:lstStyle>
          <a:p>
            <a:pPr defTabSz="685891">
              <a:lnSpc>
                <a:spcPct val="100000"/>
              </a:lnSpc>
              <a:spcBef>
                <a:spcPts val="900"/>
              </a:spcBef>
              <a:buClr>
                <a:srgbClr val="FFFFFF"/>
              </a:buClr>
              <a:buSzPct val="100000"/>
              <a:defRPr/>
            </a:pPr>
            <a:r>
              <a:rPr lang="en-US" sz="1400" dirty="0">
                <a:solidFill>
                  <a:srgbClr val="FFFFFF"/>
                </a:solidFill>
                <a:sym typeface="Wingdings" pitchFamily="2" charset="2"/>
              </a:rPr>
              <a:t>Web Front End</a:t>
            </a:r>
          </a:p>
        </p:txBody>
      </p:sp>
      <p:sp>
        <p:nvSpPr>
          <p:cNvPr id="45" name="TextBox 44"/>
          <p:cNvSpPr txBox="1"/>
          <p:nvPr>
            <p:custDataLst>
              <p:tags r:id="rId6"/>
            </p:custDataLst>
          </p:nvPr>
        </p:nvSpPr>
        <p:spPr>
          <a:xfrm>
            <a:off x="4800600" y="1302543"/>
            <a:ext cx="1828800" cy="3291840"/>
          </a:xfrm>
          <a:prstGeom prst="rect">
            <a:avLst/>
          </a:prstGeom>
          <a:solidFill>
            <a:schemeClr val="bg1"/>
          </a:solidFill>
          <a:ln w="6350" cap="flat" cmpd="sng" algn="ctr">
            <a:noFill/>
            <a:prstDash val="solid"/>
            <a:headEnd type="none" w="med" len="med"/>
            <a:tailEnd type="none" w="med" len="med"/>
          </a:ln>
          <a:effectLst/>
        </p:spPr>
        <p:txBody>
          <a:bodyPr wrap="square" lIns="68589" tIns="68589" rIns="68589" bIns="68589" rtlCol="0" anchor="t" anchorCtr="0">
            <a:noAutofit/>
          </a:bodyPr>
          <a:lstStyle>
            <a:defPPr>
              <a:defRPr lang="en-US"/>
            </a:defPPr>
            <a:lvl1pPr indent="-396875" algn="ctr">
              <a:lnSpc>
                <a:spcPct val="90000"/>
              </a:lnSpc>
              <a:spcBef>
                <a:spcPct val="20000"/>
              </a:spcBef>
              <a:buClr>
                <a:srgbClr val="777777"/>
              </a:buClr>
              <a:defRPr sz="2000" b="1"/>
            </a:lvl1pPr>
          </a:lstStyle>
          <a:p>
            <a:pPr defTabSz="685891">
              <a:lnSpc>
                <a:spcPct val="100000"/>
              </a:lnSpc>
              <a:spcBef>
                <a:spcPts val="900"/>
              </a:spcBef>
              <a:buClr>
                <a:srgbClr val="FFFFFF"/>
              </a:buClr>
              <a:buSzPct val="100000"/>
              <a:defRPr/>
            </a:pPr>
            <a:r>
              <a:rPr lang="en-US" sz="1400" dirty="0">
                <a:solidFill>
                  <a:srgbClr val="FFFFFF"/>
                </a:solidFill>
                <a:sym typeface="Wingdings" pitchFamily="2" charset="2"/>
              </a:rPr>
              <a:t>App Server</a:t>
            </a:r>
          </a:p>
        </p:txBody>
      </p:sp>
      <p:sp>
        <p:nvSpPr>
          <p:cNvPr id="47" name="TextBox 46"/>
          <p:cNvSpPr txBox="1"/>
          <p:nvPr>
            <p:custDataLst>
              <p:tags r:id="rId7"/>
            </p:custDataLst>
          </p:nvPr>
        </p:nvSpPr>
        <p:spPr>
          <a:xfrm>
            <a:off x="2606040" y="1653006"/>
            <a:ext cx="1645920" cy="930711"/>
          </a:xfrm>
          <a:prstGeom prst="rect">
            <a:avLst/>
          </a:prstGeom>
          <a:pattFill prst="dkUpDiag">
            <a:fgClr>
              <a:schemeClr val="accent2"/>
            </a:fgClr>
            <a:bgClr>
              <a:schemeClr val="accent2">
                <a:lumMod val="75000"/>
              </a:schemeClr>
            </a:bgClr>
          </a:pattFill>
          <a:ln w="3175" cap="flat" cmpd="sng" algn="ctr">
            <a:noFill/>
            <a:prstDash val="solid"/>
            <a:headEnd type="none" w="med" len="med"/>
            <a:tailEnd type="none" w="med" len="med"/>
          </a:ln>
          <a:effectLst/>
        </p:spPr>
        <p:txBody>
          <a:bodyPr spcFirstLastPara="0" vert="horz" wrap="square" lIns="68589" tIns="34295" rIns="68589" bIns="34295" numCol="1" spcCol="953" anchor="ctr" anchorCtr="0">
            <a:noAutofit/>
          </a:bodyPr>
          <a:lstStyle>
            <a:defPPr>
              <a:defRPr lang="en-US"/>
            </a:defPPr>
            <a:lvl1pPr algn="ctr">
              <a:defRPr sz="2000" b="1" kern="0">
                <a:solidFill>
                  <a:schemeClr val="bg1"/>
                </a:solidFill>
                <a:latin typeface="Segoe Condensed" pitchFamily="34" charset="0"/>
              </a:defRPr>
            </a:lvl1pPr>
          </a:lstStyle>
          <a:p>
            <a:pPr defTabSz="685891"/>
            <a:r>
              <a:rPr lang="en-US" sz="1400" dirty="0">
                <a:ln>
                  <a:solidFill>
                    <a:srgbClr val="FFFFFF">
                      <a:alpha val="0"/>
                    </a:srgbClr>
                  </a:solidFill>
                </a:ln>
                <a:solidFill>
                  <a:srgbClr val="FFFFFF"/>
                </a:solidFill>
                <a:latin typeface="Segoe UI Light" pitchFamily="34" charset="0"/>
              </a:rPr>
              <a:t>SSRS </a:t>
            </a:r>
            <a:r>
              <a:rPr lang="en-US" sz="1400" dirty="0" err="1">
                <a:ln>
                  <a:solidFill>
                    <a:srgbClr val="FFFFFF">
                      <a:alpha val="0"/>
                    </a:srgbClr>
                  </a:solidFill>
                </a:ln>
                <a:solidFill>
                  <a:srgbClr val="FFFFFF"/>
                </a:solidFill>
                <a:latin typeface="Segoe UI Light" pitchFamily="34" charset="0"/>
              </a:rPr>
              <a:t>Addin</a:t>
            </a:r>
            <a:r>
              <a:rPr lang="en-US" sz="1400" dirty="0">
                <a:ln>
                  <a:solidFill>
                    <a:srgbClr val="FFFFFF">
                      <a:alpha val="0"/>
                    </a:srgbClr>
                  </a:solidFill>
                </a:ln>
                <a:solidFill>
                  <a:srgbClr val="FFFFFF"/>
                </a:solidFill>
                <a:latin typeface="Segoe UI Light" pitchFamily="34" charset="0"/>
              </a:rPr>
              <a:t> for SharePoint</a:t>
            </a:r>
          </a:p>
        </p:txBody>
      </p:sp>
      <p:sp>
        <p:nvSpPr>
          <p:cNvPr id="48" name="TextBox 47"/>
          <p:cNvSpPr txBox="1"/>
          <p:nvPr>
            <p:custDataLst>
              <p:tags r:id="rId8"/>
            </p:custDataLst>
          </p:nvPr>
        </p:nvSpPr>
        <p:spPr>
          <a:xfrm>
            <a:off x="2606040" y="3405631"/>
            <a:ext cx="1645920" cy="531971"/>
          </a:xfrm>
          <a:prstGeom prst="rect">
            <a:avLst/>
          </a:prstGeom>
          <a:pattFill prst="dkUpDiag">
            <a:fgClr>
              <a:schemeClr val="accent2"/>
            </a:fgClr>
            <a:bgClr>
              <a:schemeClr val="accent2">
                <a:lumMod val="75000"/>
              </a:schemeClr>
            </a:bgClr>
          </a:pattFill>
          <a:ln w="3175" cap="flat" cmpd="sng" algn="ctr">
            <a:noFill/>
            <a:prstDash val="solid"/>
            <a:headEnd type="none" w="med" len="med"/>
            <a:tailEnd type="none" w="med" len="med"/>
          </a:ln>
          <a:effectLst/>
        </p:spPr>
        <p:txBody>
          <a:bodyPr spcFirstLastPara="0" vert="horz" wrap="square" lIns="68589" tIns="34295" rIns="68589" bIns="34295" numCol="1" spcCol="953" anchor="ctr" anchorCtr="0">
            <a:noAutofit/>
          </a:bodyPr>
          <a:lstStyle>
            <a:defPPr>
              <a:defRPr lang="en-US"/>
            </a:defPPr>
            <a:lvl1pPr algn="ctr">
              <a:defRPr sz="2000" b="1" kern="0">
                <a:solidFill>
                  <a:schemeClr val="bg1"/>
                </a:solidFill>
                <a:latin typeface="Segoe Condensed" pitchFamily="34" charset="0"/>
              </a:defRPr>
            </a:lvl1pPr>
          </a:lstStyle>
          <a:p>
            <a:pPr defTabSz="685891"/>
            <a:r>
              <a:rPr lang="en-US" sz="1400" dirty="0" err="1">
                <a:ln>
                  <a:solidFill>
                    <a:srgbClr val="FFFFFF">
                      <a:alpha val="0"/>
                    </a:srgbClr>
                  </a:solidFill>
                </a:ln>
                <a:solidFill>
                  <a:srgbClr val="FFFFFF"/>
                </a:solidFill>
                <a:latin typeface="Segoe UI Light" pitchFamily="34" charset="0"/>
              </a:rPr>
              <a:t>PowerPivot</a:t>
            </a:r>
            <a:endParaRPr lang="en-US" sz="1400" dirty="0">
              <a:ln>
                <a:solidFill>
                  <a:srgbClr val="FFFFFF">
                    <a:alpha val="0"/>
                  </a:srgbClr>
                </a:solidFill>
              </a:ln>
              <a:solidFill>
                <a:srgbClr val="FFFFFF"/>
              </a:solidFill>
              <a:latin typeface="Segoe UI Light" pitchFamily="34" charset="0"/>
            </a:endParaRPr>
          </a:p>
          <a:p>
            <a:pPr defTabSz="685891"/>
            <a:r>
              <a:rPr lang="en-US" sz="1400" dirty="0">
                <a:ln>
                  <a:solidFill>
                    <a:srgbClr val="FFFFFF">
                      <a:alpha val="0"/>
                    </a:srgbClr>
                  </a:solidFill>
                </a:ln>
                <a:solidFill>
                  <a:srgbClr val="FFFFFF"/>
                </a:solidFill>
                <a:latin typeface="Segoe UI Light" pitchFamily="34" charset="0"/>
              </a:rPr>
              <a:t>Web Service</a:t>
            </a:r>
          </a:p>
        </p:txBody>
      </p:sp>
      <p:sp>
        <p:nvSpPr>
          <p:cNvPr id="49" name="TextBox 48"/>
          <p:cNvSpPr txBox="1"/>
          <p:nvPr>
            <p:custDataLst>
              <p:tags r:id="rId9"/>
            </p:custDataLst>
          </p:nvPr>
        </p:nvSpPr>
        <p:spPr>
          <a:xfrm>
            <a:off x="4892040" y="1653007"/>
            <a:ext cx="1645920" cy="531971"/>
          </a:xfrm>
          <a:prstGeom prst="rect">
            <a:avLst/>
          </a:prstGeom>
          <a:pattFill prst="dkUpDiag">
            <a:fgClr>
              <a:schemeClr val="accent2"/>
            </a:fgClr>
            <a:bgClr>
              <a:schemeClr val="accent2">
                <a:lumMod val="75000"/>
              </a:schemeClr>
            </a:bgClr>
          </a:pattFill>
          <a:ln w="3175" cap="flat" cmpd="sng" algn="ctr">
            <a:noFill/>
            <a:prstDash val="solid"/>
            <a:headEnd type="none" w="med" len="med"/>
            <a:tailEnd type="none" w="med" len="med"/>
          </a:ln>
          <a:effectLst/>
        </p:spPr>
        <p:txBody>
          <a:bodyPr spcFirstLastPara="0" vert="horz" wrap="square" lIns="68589" tIns="34295" rIns="68589" bIns="34295" numCol="1" spcCol="953" anchor="ctr" anchorCtr="0">
            <a:noAutofit/>
          </a:bodyPr>
          <a:lstStyle>
            <a:defPPr>
              <a:defRPr lang="en-US"/>
            </a:defPPr>
            <a:lvl1pPr algn="ctr">
              <a:defRPr sz="2000" b="1" kern="0">
                <a:solidFill>
                  <a:schemeClr val="bg1"/>
                </a:solidFill>
                <a:latin typeface="Segoe Condensed" pitchFamily="34" charset="0"/>
              </a:defRPr>
            </a:lvl1pPr>
          </a:lstStyle>
          <a:p>
            <a:pPr defTabSz="685891"/>
            <a:r>
              <a:rPr lang="en-US" sz="1400" dirty="0">
                <a:ln>
                  <a:solidFill>
                    <a:srgbClr val="FFFFFF">
                      <a:alpha val="0"/>
                    </a:srgbClr>
                  </a:solidFill>
                </a:ln>
                <a:solidFill>
                  <a:srgbClr val="FFFFFF"/>
                </a:solidFill>
                <a:latin typeface="Segoe UI Light" pitchFamily="34" charset="0"/>
              </a:rPr>
              <a:t>RS Shared Service</a:t>
            </a:r>
          </a:p>
        </p:txBody>
      </p:sp>
      <p:sp>
        <p:nvSpPr>
          <p:cNvPr id="50" name="TextBox 49"/>
          <p:cNvSpPr txBox="1"/>
          <p:nvPr>
            <p:custDataLst>
              <p:tags r:id="rId10"/>
            </p:custDataLst>
          </p:nvPr>
        </p:nvSpPr>
        <p:spPr>
          <a:xfrm>
            <a:off x="4892040" y="2835937"/>
            <a:ext cx="1645920" cy="531971"/>
          </a:xfrm>
          <a:prstGeom prst="rect">
            <a:avLst/>
          </a:prstGeom>
          <a:pattFill prst="dkUpDiag">
            <a:fgClr>
              <a:schemeClr val="accent2"/>
            </a:fgClr>
            <a:bgClr>
              <a:schemeClr val="accent2">
                <a:lumMod val="75000"/>
              </a:schemeClr>
            </a:bgClr>
          </a:pattFill>
          <a:ln w="3175" cap="flat" cmpd="sng" algn="ctr">
            <a:noFill/>
            <a:prstDash val="solid"/>
            <a:headEnd type="none" w="med" len="med"/>
            <a:tailEnd type="none" w="med" len="med"/>
          </a:ln>
          <a:effectLst/>
        </p:spPr>
        <p:txBody>
          <a:bodyPr spcFirstLastPara="0" vert="horz" wrap="square" lIns="68589" tIns="34295" rIns="68589" bIns="34295" numCol="1" spcCol="953" anchor="ctr" anchorCtr="0">
            <a:noAutofit/>
          </a:bodyPr>
          <a:lstStyle>
            <a:defPPr>
              <a:defRPr lang="en-US"/>
            </a:defPPr>
            <a:lvl1pPr algn="ctr">
              <a:defRPr sz="2000" b="1" kern="0">
                <a:solidFill>
                  <a:schemeClr val="bg1"/>
                </a:solidFill>
                <a:latin typeface="Segoe Condensed" pitchFamily="34" charset="0"/>
              </a:defRPr>
            </a:lvl1pPr>
          </a:lstStyle>
          <a:p>
            <a:pPr defTabSz="685891"/>
            <a:r>
              <a:rPr lang="en-US" sz="1400" dirty="0" err="1">
                <a:ln>
                  <a:solidFill>
                    <a:srgbClr val="FFFFFF">
                      <a:alpha val="0"/>
                    </a:srgbClr>
                  </a:solidFill>
                </a:ln>
                <a:solidFill>
                  <a:srgbClr val="FFFFFF"/>
                </a:solidFill>
                <a:latin typeface="Segoe UI Light" pitchFamily="34" charset="0"/>
              </a:rPr>
              <a:t>PowerPivot</a:t>
            </a:r>
            <a:endParaRPr lang="en-US" sz="1400" dirty="0">
              <a:ln>
                <a:solidFill>
                  <a:srgbClr val="FFFFFF">
                    <a:alpha val="0"/>
                  </a:srgbClr>
                </a:solidFill>
              </a:ln>
              <a:solidFill>
                <a:srgbClr val="FFFFFF"/>
              </a:solidFill>
              <a:latin typeface="Segoe UI Light" pitchFamily="34" charset="0"/>
            </a:endParaRPr>
          </a:p>
          <a:p>
            <a:pPr defTabSz="685891"/>
            <a:r>
              <a:rPr lang="en-US" sz="1400" dirty="0">
                <a:ln>
                  <a:solidFill>
                    <a:srgbClr val="FFFFFF">
                      <a:alpha val="0"/>
                    </a:srgbClr>
                  </a:solidFill>
                </a:ln>
                <a:solidFill>
                  <a:srgbClr val="FFFFFF"/>
                </a:solidFill>
                <a:latin typeface="Segoe UI Light" pitchFamily="34" charset="0"/>
              </a:rPr>
              <a:t>System Service</a:t>
            </a:r>
          </a:p>
        </p:txBody>
      </p:sp>
      <p:sp>
        <p:nvSpPr>
          <p:cNvPr id="51" name="TextBox 50"/>
          <p:cNvSpPr txBox="1"/>
          <p:nvPr>
            <p:custDataLst>
              <p:tags r:id="rId11"/>
            </p:custDataLst>
          </p:nvPr>
        </p:nvSpPr>
        <p:spPr>
          <a:xfrm>
            <a:off x="4892040" y="3975325"/>
            <a:ext cx="1645920" cy="531971"/>
          </a:xfrm>
          <a:prstGeom prst="rect">
            <a:avLst/>
          </a:prstGeom>
          <a:pattFill prst="dkUpDiag">
            <a:fgClr>
              <a:schemeClr val="accent2"/>
            </a:fgClr>
            <a:bgClr>
              <a:schemeClr val="accent2">
                <a:lumMod val="75000"/>
              </a:schemeClr>
            </a:bgClr>
          </a:pattFill>
          <a:ln w="3175" cap="flat" cmpd="sng" algn="ctr">
            <a:noFill/>
            <a:prstDash val="solid"/>
            <a:headEnd type="none" w="med" len="med"/>
            <a:tailEnd type="none" w="med" len="med"/>
          </a:ln>
          <a:effectLst/>
        </p:spPr>
        <p:txBody>
          <a:bodyPr spcFirstLastPara="0" vert="horz" wrap="square" lIns="68589" tIns="34295" rIns="68589" bIns="34295" numCol="1" spcCol="953" anchor="ctr" anchorCtr="0">
            <a:noAutofit/>
          </a:bodyPr>
          <a:lstStyle>
            <a:defPPr>
              <a:defRPr lang="en-US"/>
            </a:defPPr>
            <a:lvl1pPr algn="ctr">
              <a:defRPr sz="2000" b="1" kern="0">
                <a:solidFill>
                  <a:schemeClr val="bg1"/>
                </a:solidFill>
                <a:latin typeface="Segoe Condensed" pitchFamily="34" charset="0"/>
              </a:defRPr>
            </a:lvl1pPr>
          </a:lstStyle>
          <a:p>
            <a:pPr defTabSz="685891"/>
            <a:r>
              <a:rPr lang="en-US" sz="1400" dirty="0">
                <a:ln>
                  <a:solidFill>
                    <a:srgbClr val="FFFFFF">
                      <a:alpha val="0"/>
                    </a:srgbClr>
                  </a:solidFill>
                </a:ln>
                <a:solidFill>
                  <a:srgbClr val="FFFFFF"/>
                </a:solidFill>
                <a:latin typeface="Segoe UI Light" pitchFamily="34" charset="0"/>
              </a:rPr>
              <a:t>Analysis Services SP Integrated</a:t>
            </a:r>
          </a:p>
        </p:txBody>
      </p:sp>
      <p:sp>
        <p:nvSpPr>
          <p:cNvPr id="52" name="TextBox 51"/>
          <p:cNvSpPr txBox="1"/>
          <p:nvPr>
            <p:custDataLst>
              <p:tags r:id="rId12"/>
            </p:custDataLst>
          </p:nvPr>
        </p:nvSpPr>
        <p:spPr>
          <a:xfrm>
            <a:off x="7496174" y="2605563"/>
            <a:ext cx="1188720" cy="685800"/>
          </a:xfrm>
          <a:prstGeom prst="cube">
            <a:avLst>
              <a:gd name="adj" fmla="val 23499"/>
            </a:avLst>
          </a:prstGeom>
          <a:pattFill prst="dkUpDiag">
            <a:fgClr>
              <a:schemeClr val="accent2"/>
            </a:fgClr>
            <a:bgClr>
              <a:schemeClr val="accent2">
                <a:lumMod val="75000"/>
              </a:schemeClr>
            </a:bgClr>
          </a:pattFill>
          <a:ln w="3175" cap="flat" cmpd="sng" algn="ctr">
            <a:noFill/>
            <a:prstDash val="solid"/>
            <a:headEnd type="none" w="med" len="med"/>
            <a:tailEnd type="none" w="med" len="med"/>
          </a:ln>
          <a:effectLst/>
        </p:spPr>
        <p:txBody>
          <a:bodyPr spcFirstLastPara="0" vert="horz" wrap="square" lIns="0" tIns="34295" rIns="0" bIns="34295" numCol="1" spcCol="953" anchor="ctr" anchorCtr="0">
            <a:noAutofit/>
          </a:bodyPr>
          <a:lstStyle>
            <a:defPPr>
              <a:defRPr lang="en-US"/>
            </a:defPPr>
            <a:lvl1pPr algn="ctr">
              <a:defRPr sz="2000" b="1" kern="0">
                <a:solidFill>
                  <a:schemeClr val="bg1"/>
                </a:solidFill>
                <a:latin typeface="Segoe Condensed" pitchFamily="34" charset="0"/>
              </a:defRPr>
            </a:lvl1pPr>
          </a:lstStyle>
          <a:p>
            <a:pPr defTabSz="685891"/>
            <a:r>
              <a:rPr lang="en-US" sz="1400" dirty="0">
                <a:ln>
                  <a:solidFill>
                    <a:srgbClr val="FFFFFF">
                      <a:alpha val="0"/>
                    </a:srgbClr>
                  </a:solidFill>
                </a:ln>
                <a:solidFill>
                  <a:srgbClr val="FFFFFF"/>
                </a:solidFill>
                <a:latin typeface="Segoe UI Light" pitchFamily="34" charset="0"/>
              </a:rPr>
              <a:t>AS Server</a:t>
            </a:r>
          </a:p>
        </p:txBody>
      </p:sp>
      <p:sp>
        <p:nvSpPr>
          <p:cNvPr id="4" name="Left-Right Arrow 3"/>
          <p:cNvSpPr/>
          <p:nvPr>
            <p:custDataLst>
              <p:tags r:id="rId13"/>
            </p:custDataLst>
          </p:nvPr>
        </p:nvSpPr>
        <p:spPr bwMode="auto">
          <a:xfrm>
            <a:off x="4251960" y="1841555"/>
            <a:ext cx="640080" cy="205740"/>
          </a:xfrm>
          <a:prstGeom prst="leftRightArrow">
            <a:avLst>
              <a:gd name="adj1" fmla="val 47916"/>
              <a:gd name="adj2" fmla="val 44271"/>
            </a:avLst>
          </a:prstGeom>
          <a:solidFill>
            <a:schemeClr val="tx1"/>
          </a:solidFill>
          <a:ln w="12700" cap="flat" cmpd="sng" algn="ctr">
            <a:noFill/>
            <a:prstDash val="solid"/>
            <a:round/>
            <a:headEnd type="none" w="med" len="med"/>
            <a:tailEnd type="none" w="med" len="med"/>
          </a:ln>
          <a:effectLst/>
        </p:spPr>
        <p:txBody>
          <a:bodyPr vert="horz" wrap="square" lIns="34287" tIns="34287" rIns="41144" bIns="30863" numCol="1" rtlCol="0" anchor="ctr" anchorCtr="1" compatLnSpc="1">
            <a:prstTxWarp prst="textNoShape">
              <a:avLst/>
            </a:prstTxWarp>
          </a:bodyPr>
          <a:lstStyle/>
          <a:p>
            <a:pPr marL="170383" indent="-170383" algn="ctr" defTabSz="685711" fontAlgn="base">
              <a:lnSpc>
                <a:spcPct val="90000"/>
              </a:lnSpc>
              <a:spcBef>
                <a:spcPts val="473"/>
              </a:spcBef>
              <a:spcAft>
                <a:spcPct val="0"/>
              </a:spcAft>
              <a:buClr>
                <a:srgbClr val="FFFF99"/>
              </a:buClr>
              <a:buSzPct val="120000"/>
            </a:pPr>
            <a:endParaRPr lang="en-US" sz="2400" i="1" dirty="0">
              <a:solidFill>
                <a:srgbClr val="FFFFFF"/>
              </a:solidFill>
              <a:latin typeface="Segoe" pitchFamily="34" charset="0"/>
            </a:endParaRPr>
          </a:p>
        </p:txBody>
      </p:sp>
      <p:sp>
        <p:nvSpPr>
          <p:cNvPr id="59" name="Left-Right Arrow 58"/>
          <p:cNvSpPr/>
          <p:nvPr>
            <p:custDataLst>
              <p:tags r:id="rId14"/>
            </p:custDataLst>
          </p:nvPr>
        </p:nvSpPr>
        <p:spPr bwMode="auto">
          <a:xfrm rot="5400000">
            <a:off x="5486400" y="2395068"/>
            <a:ext cx="548640" cy="274320"/>
          </a:xfrm>
          <a:prstGeom prst="leftRightArrow">
            <a:avLst>
              <a:gd name="adj1" fmla="val 47916"/>
              <a:gd name="adj2" fmla="val 44271"/>
            </a:avLst>
          </a:prstGeom>
          <a:solidFill>
            <a:schemeClr val="tx1"/>
          </a:solidFill>
          <a:ln w="12700" cap="flat" cmpd="sng" algn="ctr">
            <a:noFill/>
            <a:prstDash val="solid"/>
            <a:round/>
            <a:headEnd type="none" w="med" len="med"/>
            <a:tailEnd type="none" w="med" len="med"/>
          </a:ln>
          <a:effectLst/>
        </p:spPr>
        <p:txBody>
          <a:bodyPr vert="horz" wrap="square" lIns="34287" tIns="34287" rIns="41144" bIns="30863" numCol="1" rtlCol="0" anchor="ctr" anchorCtr="1" compatLnSpc="1">
            <a:prstTxWarp prst="textNoShape">
              <a:avLst/>
            </a:prstTxWarp>
          </a:bodyPr>
          <a:lstStyle/>
          <a:p>
            <a:pPr marL="170383" indent="-170383" algn="ctr" defTabSz="685711" fontAlgn="base">
              <a:lnSpc>
                <a:spcPct val="90000"/>
              </a:lnSpc>
              <a:spcBef>
                <a:spcPts val="473"/>
              </a:spcBef>
              <a:spcAft>
                <a:spcPct val="0"/>
              </a:spcAft>
              <a:buClr>
                <a:srgbClr val="FFFF99"/>
              </a:buClr>
              <a:buSzPct val="120000"/>
            </a:pPr>
            <a:endParaRPr lang="en-US" sz="2400" i="1" dirty="0">
              <a:solidFill>
                <a:srgbClr val="FFFFFF"/>
              </a:solidFill>
              <a:latin typeface="Segoe" pitchFamily="34" charset="0"/>
            </a:endParaRPr>
          </a:p>
        </p:txBody>
      </p:sp>
      <p:sp>
        <p:nvSpPr>
          <p:cNvPr id="60" name="Left-Right Arrow 59"/>
          <p:cNvSpPr/>
          <p:nvPr>
            <p:custDataLst>
              <p:tags r:id="rId15"/>
            </p:custDataLst>
          </p:nvPr>
        </p:nvSpPr>
        <p:spPr bwMode="auto">
          <a:xfrm rot="5400000">
            <a:off x="5486400" y="3534455"/>
            <a:ext cx="548640" cy="274320"/>
          </a:xfrm>
          <a:prstGeom prst="leftRightArrow">
            <a:avLst>
              <a:gd name="adj1" fmla="val 47916"/>
              <a:gd name="adj2" fmla="val 44271"/>
            </a:avLst>
          </a:prstGeom>
          <a:solidFill>
            <a:schemeClr val="tx1"/>
          </a:solidFill>
          <a:ln w="12700" cap="flat" cmpd="sng" algn="ctr">
            <a:noFill/>
            <a:prstDash val="solid"/>
            <a:round/>
            <a:headEnd type="none" w="med" len="med"/>
            <a:tailEnd type="none" w="med" len="med"/>
          </a:ln>
          <a:effectLst/>
        </p:spPr>
        <p:txBody>
          <a:bodyPr vert="horz" wrap="square" lIns="34287" tIns="34287" rIns="41144" bIns="30863" numCol="1" rtlCol="0" anchor="ctr" anchorCtr="1" compatLnSpc="1">
            <a:prstTxWarp prst="textNoShape">
              <a:avLst/>
            </a:prstTxWarp>
          </a:bodyPr>
          <a:lstStyle/>
          <a:p>
            <a:pPr marL="170383" indent="-170383" algn="ctr" defTabSz="685711" fontAlgn="base">
              <a:lnSpc>
                <a:spcPct val="90000"/>
              </a:lnSpc>
              <a:spcBef>
                <a:spcPts val="473"/>
              </a:spcBef>
              <a:spcAft>
                <a:spcPct val="0"/>
              </a:spcAft>
              <a:buClr>
                <a:srgbClr val="FFFF99"/>
              </a:buClr>
              <a:buSzPct val="120000"/>
            </a:pPr>
            <a:endParaRPr lang="en-US" sz="2400" i="1" dirty="0">
              <a:solidFill>
                <a:srgbClr val="FFFFFF"/>
              </a:solidFill>
              <a:latin typeface="Segoe" pitchFamily="34" charset="0"/>
            </a:endParaRPr>
          </a:p>
        </p:txBody>
      </p:sp>
      <p:sp>
        <p:nvSpPr>
          <p:cNvPr id="65" name="TextBox 64"/>
          <p:cNvSpPr txBox="1"/>
          <p:nvPr>
            <p:custDataLst>
              <p:tags r:id="rId16"/>
            </p:custDataLst>
          </p:nvPr>
        </p:nvSpPr>
        <p:spPr>
          <a:xfrm>
            <a:off x="7221855" y="3771424"/>
            <a:ext cx="1645920" cy="917258"/>
          </a:xfrm>
          <a:prstGeom prst="rect">
            <a:avLst/>
          </a:prstGeom>
          <a:solidFill>
            <a:schemeClr val="bg1"/>
          </a:solidFill>
          <a:ln w="6350" cap="flat" cmpd="sng" algn="ctr">
            <a:noFill/>
            <a:prstDash val="solid"/>
            <a:headEnd type="none" w="med" len="med"/>
            <a:tailEnd type="none" w="med" len="med"/>
          </a:ln>
          <a:effectLst/>
        </p:spPr>
        <p:txBody>
          <a:bodyPr wrap="square" lIns="68589" tIns="34295" rIns="68589" bIns="34295" rtlCol="0" anchor="b" anchorCtr="0">
            <a:noAutofit/>
          </a:bodyPr>
          <a:lstStyle>
            <a:defPPr>
              <a:defRPr lang="en-US"/>
            </a:defPPr>
            <a:lvl1pPr indent="-396875" algn="ctr">
              <a:lnSpc>
                <a:spcPct val="90000"/>
              </a:lnSpc>
              <a:spcBef>
                <a:spcPct val="20000"/>
              </a:spcBef>
              <a:buClr>
                <a:srgbClr val="777777"/>
              </a:buClr>
              <a:defRPr sz="2000" b="1"/>
            </a:lvl1pPr>
          </a:lstStyle>
          <a:p>
            <a:pPr defTabSz="685891"/>
            <a:r>
              <a:rPr lang="en-US" sz="1100" dirty="0">
                <a:solidFill>
                  <a:srgbClr val="FFFFFF"/>
                </a:solidFill>
              </a:rPr>
              <a:t>Heterogeneous</a:t>
            </a:r>
          </a:p>
          <a:p>
            <a:pPr defTabSz="685891"/>
            <a:r>
              <a:rPr lang="en-US" sz="1100" dirty="0">
                <a:solidFill>
                  <a:srgbClr val="FFFFFF"/>
                </a:solidFill>
              </a:rPr>
              <a:t>Data </a:t>
            </a:r>
            <a:r>
              <a:rPr lang="en-US" sz="1100" dirty="0">
                <a:solidFill>
                  <a:srgbClr val="FFFFFF"/>
                </a:solidFill>
              </a:rPr>
              <a:t>sources</a:t>
            </a:r>
          </a:p>
        </p:txBody>
      </p:sp>
      <p:sp>
        <p:nvSpPr>
          <p:cNvPr id="66" name="TextBox 65"/>
          <p:cNvSpPr txBox="1"/>
          <p:nvPr>
            <p:custDataLst>
              <p:tags r:id="rId17"/>
            </p:custDataLst>
          </p:nvPr>
        </p:nvSpPr>
        <p:spPr>
          <a:xfrm>
            <a:off x="7221855" y="1302543"/>
            <a:ext cx="1645920" cy="822960"/>
          </a:xfrm>
          <a:prstGeom prst="rect">
            <a:avLst/>
          </a:prstGeom>
          <a:solidFill>
            <a:schemeClr val="bg1"/>
          </a:solidFill>
          <a:ln w="6350" cap="flat" cmpd="sng" algn="ctr">
            <a:noFill/>
            <a:prstDash val="solid"/>
            <a:headEnd type="none" w="med" len="med"/>
            <a:tailEnd type="none" w="med" len="med"/>
          </a:ln>
          <a:effectLst/>
        </p:spPr>
        <p:txBody>
          <a:bodyPr wrap="square" lIns="68589" tIns="34295" rIns="68589" bIns="34295" rtlCol="0" anchor="b" anchorCtr="0">
            <a:noAutofit/>
          </a:bodyPr>
          <a:lstStyle>
            <a:defPPr>
              <a:defRPr lang="en-US"/>
            </a:defPPr>
            <a:lvl1pPr indent="-396875" algn="ctr">
              <a:lnSpc>
                <a:spcPct val="90000"/>
              </a:lnSpc>
              <a:spcBef>
                <a:spcPct val="20000"/>
              </a:spcBef>
              <a:buClr>
                <a:srgbClr val="777777"/>
              </a:buClr>
              <a:defRPr sz="2000" b="1"/>
            </a:lvl1pPr>
          </a:lstStyle>
          <a:p>
            <a:pPr defTabSz="685891"/>
            <a:r>
              <a:rPr lang="en-US" sz="1100" dirty="0">
                <a:solidFill>
                  <a:srgbClr val="FFFFFF"/>
                </a:solidFill>
              </a:rPr>
              <a:t>SSDT  </a:t>
            </a:r>
            <a:r>
              <a:rPr lang="en-US" sz="1100" dirty="0">
                <a:solidFill>
                  <a:srgbClr val="FFFFFF"/>
                </a:solidFill>
              </a:rPr>
              <a:t>BISM Model</a:t>
            </a:r>
          </a:p>
        </p:txBody>
      </p:sp>
      <p:sp>
        <p:nvSpPr>
          <p:cNvPr id="67" name="TextBox 66"/>
          <p:cNvSpPr txBox="1"/>
          <p:nvPr>
            <p:custDataLst>
              <p:tags r:id="rId18"/>
            </p:custDataLst>
          </p:nvPr>
        </p:nvSpPr>
        <p:spPr>
          <a:xfrm>
            <a:off x="273049" y="1302543"/>
            <a:ext cx="1645920" cy="822960"/>
          </a:xfrm>
          <a:prstGeom prst="rect">
            <a:avLst/>
          </a:prstGeom>
          <a:solidFill>
            <a:schemeClr val="bg1"/>
          </a:solidFill>
          <a:ln w="6350" cap="flat" cmpd="sng" algn="ctr">
            <a:noFill/>
            <a:prstDash val="solid"/>
            <a:headEnd type="none" w="med" len="med"/>
            <a:tailEnd type="none" w="med" len="med"/>
          </a:ln>
          <a:effectLst/>
        </p:spPr>
        <p:txBody>
          <a:bodyPr wrap="square" lIns="68589" tIns="34295" rIns="68589" bIns="34295" rtlCol="0" anchor="b" anchorCtr="0">
            <a:noAutofit/>
          </a:bodyPr>
          <a:lstStyle>
            <a:defPPr>
              <a:defRPr lang="en-US"/>
            </a:defPPr>
            <a:lvl1pPr indent="-396875" algn="ctr">
              <a:lnSpc>
                <a:spcPct val="90000"/>
              </a:lnSpc>
              <a:spcBef>
                <a:spcPct val="20000"/>
              </a:spcBef>
              <a:buClr>
                <a:srgbClr val="777777"/>
              </a:buClr>
              <a:defRPr sz="2000" b="1"/>
            </a:lvl1pPr>
          </a:lstStyle>
          <a:p>
            <a:pPr defTabSz="685891"/>
            <a:r>
              <a:rPr lang="en-US" sz="1100" dirty="0">
                <a:solidFill>
                  <a:srgbClr val="FFFFFF"/>
                </a:solidFill>
              </a:rPr>
              <a:t>Power View client</a:t>
            </a:r>
          </a:p>
        </p:txBody>
      </p:sp>
      <p:sp>
        <p:nvSpPr>
          <p:cNvPr id="68" name="TextBox 67"/>
          <p:cNvSpPr txBox="1"/>
          <p:nvPr>
            <p:custDataLst>
              <p:tags r:id="rId19"/>
            </p:custDataLst>
          </p:nvPr>
        </p:nvSpPr>
        <p:spPr>
          <a:xfrm>
            <a:off x="273049" y="3771423"/>
            <a:ext cx="1645920" cy="822960"/>
          </a:xfrm>
          <a:prstGeom prst="rect">
            <a:avLst/>
          </a:prstGeom>
          <a:solidFill>
            <a:schemeClr val="bg1"/>
          </a:solidFill>
          <a:ln w="6350" cap="flat" cmpd="sng" algn="ctr">
            <a:noFill/>
            <a:prstDash val="solid"/>
            <a:headEnd type="none" w="med" len="med"/>
            <a:tailEnd type="none" w="med" len="med"/>
          </a:ln>
          <a:effectLst/>
        </p:spPr>
        <p:txBody>
          <a:bodyPr wrap="square" lIns="68589" tIns="34295" rIns="68589" bIns="34295" rtlCol="0" anchor="b" anchorCtr="0">
            <a:noAutofit/>
          </a:bodyPr>
          <a:lstStyle>
            <a:defPPr>
              <a:defRPr lang="en-US"/>
            </a:defPPr>
            <a:lvl1pPr indent="-396875" algn="ctr">
              <a:lnSpc>
                <a:spcPct val="90000"/>
              </a:lnSpc>
              <a:spcBef>
                <a:spcPct val="20000"/>
              </a:spcBef>
              <a:buClr>
                <a:srgbClr val="777777"/>
              </a:buClr>
              <a:defRPr sz="2000" b="1"/>
            </a:lvl1pPr>
          </a:lstStyle>
          <a:p>
            <a:pPr defTabSz="685891"/>
            <a:r>
              <a:rPr lang="en-US" sz="1100" dirty="0">
                <a:solidFill>
                  <a:srgbClr val="FFFFFF"/>
                </a:solidFill>
              </a:rPr>
              <a:t>Excel </a:t>
            </a:r>
            <a:r>
              <a:rPr lang="en-US" sz="1100" dirty="0" err="1">
                <a:solidFill>
                  <a:srgbClr val="FFFFFF"/>
                </a:solidFill>
              </a:rPr>
              <a:t>PowerPivot</a:t>
            </a:r>
            <a:endParaRPr lang="en-US" sz="1100" dirty="0">
              <a:solidFill>
                <a:srgbClr val="FFFFFF"/>
              </a:solidFill>
            </a:endParaRPr>
          </a:p>
        </p:txBody>
      </p:sp>
      <p:sp>
        <p:nvSpPr>
          <p:cNvPr id="62" name="Left-Right Arrow 61"/>
          <p:cNvSpPr/>
          <p:nvPr>
            <p:custDataLst>
              <p:tags r:id="rId20"/>
            </p:custDataLst>
          </p:nvPr>
        </p:nvSpPr>
        <p:spPr bwMode="auto">
          <a:xfrm>
            <a:off x="1851024" y="1645443"/>
            <a:ext cx="640080" cy="205740"/>
          </a:xfrm>
          <a:prstGeom prst="leftRightArrow">
            <a:avLst>
              <a:gd name="adj1" fmla="val 47916"/>
              <a:gd name="adj2" fmla="val 44271"/>
            </a:avLst>
          </a:prstGeom>
          <a:solidFill>
            <a:schemeClr val="tx1"/>
          </a:solidFill>
          <a:ln w="12700" cap="flat" cmpd="sng" algn="ctr">
            <a:noFill/>
            <a:prstDash val="solid"/>
            <a:round/>
            <a:headEnd type="none" w="med" len="med"/>
            <a:tailEnd type="none" w="med" len="med"/>
          </a:ln>
          <a:effectLst/>
        </p:spPr>
        <p:txBody>
          <a:bodyPr vert="horz" wrap="square" lIns="34287" tIns="34287" rIns="41144" bIns="30863" numCol="1" rtlCol="0" anchor="ctr" anchorCtr="1" compatLnSpc="1">
            <a:prstTxWarp prst="textNoShape">
              <a:avLst/>
            </a:prstTxWarp>
          </a:bodyPr>
          <a:lstStyle/>
          <a:p>
            <a:pPr marL="170383" indent="-170383" algn="ctr" defTabSz="685711" fontAlgn="base">
              <a:lnSpc>
                <a:spcPct val="90000"/>
              </a:lnSpc>
              <a:spcBef>
                <a:spcPts val="473"/>
              </a:spcBef>
              <a:spcAft>
                <a:spcPct val="0"/>
              </a:spcAft>
              <a:buClr>
                <a:srgbClr val="FFFF99"/>
              </a:buClr>
              <a:buSzPct val="120000"/>
            </a:pPr>
            <a:endParaRPr lang="en-US" sz="2400" i="1" dirty="0">
              <a:solidFill>
                <a:srgbClr val="FFFFFF"/>
              </a:solidFill>
              <a:latin typeface="Segoe" pitchFamily="34" charset="0"/>
            </a:endParaRPr>
          </a:p>
        </p:txBody>
      </p:sp>
      <p:pic>
        <p:nvPicPr>
          <p:cNvPr id="63" name="Picture 62"/>
          <p:cNvPicPr>
            <a:picLocks noChangeAspect="1"/>
          </p:cNvPicPr>
          <p:nvPr>
            <p:custDataLst>
              <p:tags r:id="rId21"/>
            </p:custDataLst>
          </p:nvPr>
        </p:nvPicPr>
        <p:blipFill>
          <a:blip r:embed="rId29" cstate="print">
            <a:extLst>
              <a:ext uri="{BEBA8EAE-BF5A-486C-A8C5-ECC9F3942E4B}">
                <a14:imgProps xmlns:a14="http://schemas.microsoft.com/office/drawing/2010/main">
                  <a14:imgLayer r:embed="rId3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593794" y="1368742"/>
            <a:ext cx="902043" cy="342900"/>
          </a:xfrm>
          <a:prstGeom prst="rect">
            <a:avLst/>
          </a:prstGeom>
          <a:noFill/>
          <a:ln>
            <a:noFill/>
          </a:ln>
        </p:spPr>
      </p:pic>
      <p:sp>
        <p:nvSpPr>
          <p:cNvPr id="69" name="Left-Right Arrow 68"/>
          <p:cNvSpPr/>
          <p:nvPr>
            <p:custDataLst>
              <p:tags r:id="rId22"/>
            </p:custDataLst>
          </p:nvPr>
        </p:nvSpPr>
        <p:spPr bwMode="auto">
          <a:xfrm>
            <a:off x="1737360" y="3977163"/>
            <a:ext cx="640080" cy="205740"/>
          </a:xfrm>
          <a:prstGeom prst="leftRightArrow">
            <a:avLst>
              <a:gd name="adj1" fmla="val 47916"/>
              <a:gd name="adj2" fmla="val 44271"/>
            </a:avLst>
          </a:prstGeom>
          <a:solidFill>
            <a:schemeClr val="tx1"/>
          </a:solidFill>
          <a:ln w="12700" cap="flat" cmpd="sng" algn="ctr">
            <a:noFill/>
            <a:prstDash val="solid"/>
            <a:round/>
            <a:headEnd type="none" w="med" len="med"/>
            <a:tailEnd type="none" w="med" len="med"/>
          </a:ln>
          <a:effectLst/>
        </p:spPr>
        <p:txBody>
          <a:bodyPr vert="horz" wrap="square" lIns="34287" tIns="34287" rIns="41144" bIns="30863" numCol="1" rtlCol="0" anchor="ctr" anchorCtr="1" compatLnSpc="1">
            <a:prstTxWarp prst="textNoShape">
              <a:avLst/>
            </a:prstTxWarp>
          </a:bodyPr>
          <a:lstStyle/>
          <a:p>
            <a:pPr marL="170383" indent="-170383" algn="ctr" defTabSz="685711" fontAlgn="base">
              <a:lnSpc>
                <a:spcPct val="90000"/>
              </a:lnSpc>
              <a:spcBef>
                <a:spcPts val="473"/>
              </a:spcBef>
              <a:spcAft>
                <a:spcPct val="0"/>
              </a:spcAft>
              <a:buClr>
                <a:srgbClr val="FFFF99"/>
              </a:buClr>
              <a:buSzPct val="120000"/>
            </a:pPr>
            <a:endParaRPr lang="en-US" sz="2400" i="1" dirty="0">
              <a:solidFill>
                <a:srgbClr val="FFFFFF"/>
              </a:solidFill>
              <a:latin typeface="Segoe" pitchFamily="34" charset="0"/>
            </a:endParaRPr>
          </a:p>
        </p:txBody>
      </p:sp>
      <p:sp>
        <p:nvSpPr>
          <p:cNvPr id="70" name="Left-Right Arrow 69"/>
          <p:cNvSpPr/>
          <p:nvPr>
            <p:custDataLst>
              <p:tags r:id="rId23"/>
            </p:custDataLst>
          </p:nvPr>
        </p:nvSpPr>
        <p:spPr bwMode="auto">
          <a:xfrm>
            <a:off x="6571343" y="2964761"/>
            <a:ext cx="731520" cy="274320"/>
          </a:xfrm>
          <a:prstGeom prst="leftRightArrow">
            <a:avLst>
              <a:gd name="adj1" fmla="val 47916"/>
              <a:gd name="adj2" fmla="val 44271"/>
            </a:avLst>
          </a:prstGeom>
          <a:solidFill>
            <a:schemeClr val="tx1">
              <a:lumMod val="85000"/>
            </a:schemeClr>
          </a:solidFill>
          <a:ln w="12700" cap="flat" cmpd="sng" algn="ctr">
            <a:noFill/>
            <a:prstDash val="solid"/>
            <a:round/>
            <a:headEnd type="none" w="med" len="med"/>
            <a:tailEnd type="none" w="med" len="med"/>
          </a:ln>
          <a:effectLst/>
        </p:spPr>
        <p:txBody>
          <a:bodyPr vert="horz" wrap="square" lIns="34287" tIns="34287" rIns="41144" bIns="30863" numCol="1" rtlCol="0" anchor="ctr" anchorCtr="1" compatLnSpc="1">
            <a:prstTxWarp prst="textNoShape">
              <a:avLst/>
            </a:prstTxWarp>
          </a:bodyPr>
          <a:lstStyle/>
          <a:p>
            <a:pPr marL="170383" indent="-170383" algn="ctr" defTabSz="685711" fontAlgn="base">
              <a:lnSpc>
                <a:spcPct val="90000"/>
              </a:lnSpc>
              <a:spcBef>
                <a:spcPts val="473"/>
              </a:spcBef>
              <a:spcAft>
                <a:spcPct val="0"/>
              </a:spcAft>
              <a:buClr>
                <a:srgbClr val="FFFF99"/>
              </a:buClr>
              <a:buSzPct val="120000"/>
            </a:pPr>
            <a:endParaRPr lang="en-US" sz="2400" i="1" dirty="0">
              <a:solidFill>
                <a:srgbClr val="FFFFFF"/>
              </a:solidFill>
              <a:latin typeface="Segoe" pitchFamily="34" charset="0"/>
            </a:endParaRPr>
          </a:p>
        </p:txBody>
      </p:sp>
      <p:grpSp>
        <p:nvGrpSpPr>
          <p:cNvPr id="8" name="Group 7"/>
          <p:cNvGrpSpPr/>
          <p:nvPr/>
        </p:nvGrpSpPr>
        <p:grpSpPr>
          <a:xfrm>
            <a:off x="7487007" y="3924191"/>
            <a:ext cx="1115616" cy="366887"/>
            <a:chOff x="7437308" y="5111516"/>
            <a:chExt cx="1115616" cy="489183"/>
          </a:xfrm>
        </p:grpSpPr>
        <p:sp>
          <p:nvSpPr>
            <p:cNvPr id="71" name="Rectangle 4"/>
            <p:cNvSpPr/>
            <p:nvPr/>
          </p:nvSpPr>
          <p:spPr>
            <a:xfrm>
              <a:off x="7437308" y="5111516"/>
              <a:ext cx="508110" cy="489183"/>
            </a:xfrm>
            <a:custGeom>
              <a:avLst/>
              <a:gdLst/>
              <a:ahLst/>
              <a:cxnLst/>
              <a:rect l="l" t="t" r="r" b="b"/>
              <a:pathLst>
                <a:path w="1760220" h="1811019">
                  <a:moveTo>
                    <a:pt x="40640" y="889000"/>
                  </a:moveTo>
                  <a:lnTo>
                    <a:pt x="53340" y="1530350"/>
                  </a:lnTo>
                  <a:cubicBezTo>
                    <a:pt x="408940" y="1830917"/>
                    <a:pt x="1316990" y="1756833"/>
                    <a:pt x="1691640" y="1574800"/>
                  </a:cubicBezTo>
                  <a:cubicBezTo>
                    <a:pt x="1236557" y="1750483"/>
                    <a:pt x="406823" y="1767417"/>
                    <a:pt x="116840" y="1492250"/>
                  </a:cubicBezTo>
                  <a:close/>
                  <a:moveTo>
                    <a:pt x="1742440" y="374650"/>
                  </a:moveTo>
                  <a:cubicBezTo>
                    <a:pt x="1433407" y="645583"/>
                    <a:pt x="590973" y="637117"/>
                    <a:pt x="123190" y="463550"/>
                  </a:cubicBezTo>
                  <a:cubicBezTo>
                    <a:pt x="495723" y="664633"/>
                    <a:pt x="1481032" y="681567"/>
                    <a:pt x="1739265" y="450850"/>
                  </a:cubicBezTo>
                  <a:close/>
                  <a:moveTo>
                    <a:pt x="199263" y="122024"/>
                  </a:moveTo>
                  <a:cubicBezTo>
                    <a:pt x="91108" y="164703"/>
                    <a:pt x="27305" y="219454"/>
                    <a:pt x="27305" y="278798"/>
                  </a:cubicBezTo>
                  <a:cubicBezTo>
                    <a:pt x="27305" y="423970"/>
                    <a:pt x="409119" y="541655"/>
                    <a:pt x="880110" y="541655"/>
                  </a:cubicBezTo>
                  <a:cubicBezTo>
                    <a:pt x="1351101" y="541655"/>
                    <a:pt x="1732915" y="423970"/>
                    <a:pt x="1732915" y="278798"/>
                  </a:cubicBezTo>
                  <a:cubicBezTo>
                    <a:pt x="1732915" y="219454"/>
                    <a:pt x="1669111" y="164702"/>
                    <a:pt x="1560957" y="122024"/>
                  </a:cubicBezTo>
                  <a:cubicBezTo>
                    <a:pt x="1636049" y="159026"/>
                    <a:pt x="1678940" y="204137"/>
                    <a:pt x="1678940" y="252413"/>
                  </a:cubicBezTo>
                  <a:cubicBezTo>
                    <a:pt x="1678940" y="391817"/>
                    <a:pt x="1321292" y="504826"/>
                    <a:pt x="880110" y="504826"/>
                  </a:cubicBezTo>
                  <a:cubicBezTo>
                    <a:pt x="438928" y="504826"/>
                    <a:pt x="81280" y="391817"/>
                    <a:pt x="81280" y="252413"/>
                  </a:cubicBezTo>
                  <a:cubicBezTo>
                    <a:pt x="81280" y="204137"/>
                    <a:pt x="124171" y="159027"/>
                    <a:pt x="199263" y="122024"/>
                  </a:cubicBezTo>
                  <a:close/>
                  <a:moveTo>
                    <a:pt x="880110" y="0"/>
                  </a:moveTo>
                  <a:cubicBezTo>
                    <a:pt x="1165553" y="0"/>
                    <a:pt x="1416029" y="47306"/>
                    <a:pt x="1556739" y="119568"/>
                  </a:cubicBezTo>
                  <a:cubicBezTo>
                    <a:pt x="1684123" y="165851"/>
                    <a:pt x="1760220" y="228225"/>
                    <a:pt x="1760220" y="296260"/>
                  </a:cubicBezTo>
                  <a:lnTo>
                    <a:pt x="1760220" y="1529079"/>
                  </a:lnTo>
                  <a:cubicBezTo>
                    <a:pt x="1760220" y="1684790"/>
                    <a:pt x="1366181" y="1811019"/>
                    <a:pt x="880110" y="1811019"/>
                  </a:cubicBezTo>
                  <a:cubicBezTo>
                    <a:pt x="394039" y="1811019"/>
                    <a:pt x="0" y="1684790"/>
                    <a:pt x="0" y="1529079"/>
                  </a:cubicBezTo>
                  <a:lnTo>
                    <a:pt x="0" y="296260"/>
                  </a:lnTo>
                  <a:cubicBezTo>
                    <a:pt x="0" y="228225"/>
                    <a:pt x="76097" y="165852"/>
                    <a:pt x="203480" y="119569"/>
                  </a:cubicBezTo>
                  <a:cubicBezTo>
                    <a:pt x="344190" y="47306"/>
                    <a:pt x="594666" y="0"/>
                    <a:pt x="880110"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91"/>
              <a:endParaRPr lang="en-US">
                <a:solidFill>
                  <a:srgbClr val="FFFFFF"/>
                </a:solidFill>
              </a:endParaRPr>
            </a:p>
          </p:txBody>
        </p:sp>
        <p:sp>
          <p:nvSpPr>
            <p:cNvPr id="72" name="Rectangle 4"/>
            <p:cNvSpPr/>
            <p:nvPr/>
          </p:nvSpPr>
          <p:spPr>
            <a:xfrm>
              <a:off x="8044814" y="5111516"/>
              <a:ext cx="508110" cy="489183"/>
            </a:xfrm>
            <a:custGeom>
              <a:avLst/>
              <a:gdLst/>
              <a:ahLst/>
              <a:cxnLst/>
              <a:rect l="l" t="t" r="r" b="b"/>
              <a:pathLst>
                <a:path w="1760220" h="1811019">
                  <a:moveTo>
                    <a:pt x="40640" y="889000"/>
                  </a:moveTo>
                  <a:lnTo>
                    <a:pt x="53340" y="1530350"/>
                  </a:lnTo>
                  <a:cubicBezTo>
                    <a:pt x="408940" y="1830917"/>
                    <a:pt x="1316990" y="1756833"/>
                    <a:pt x="1691640" y="1574800"/>
                  </a:cubicBezTo>
                  <a:cubicBezTo>
                    <a:pt x="1236557" y="1750483"/>
                    <a:pt x="406823" y="1767417"/>
                    <a:pt x="116840" y="1492250"/>
                  </a:cubicBezTo>
                  <a:close/>
                  <a:moveTo>
                    <a:pt x="1742440" y="374650"/>
                  </a:moveTo>
                  <a:cubicBezTo>
                    <a:pt x="1433407" y="645583"/>
                    <a:pt x="590973" y="637117"/>
                    <a:pt x="123190" y="463550"/>
                  </a:cubicBezTo>
                  <a:cubicBezTo>
                    <a:pt x="495723" y="664633"/>
                    <a:pt x="1481032" y="681567"/>
                    <a:pt x="1739265" y="450850"/>
                  </a:cubicBezTo>
                  <a:close/>
                  <a:moveTo>
                    <a:pt x="199263" y="122024"/>
                  </a:moveTo>
                  <a:cubicBezTo>
                    <a:pt x="91108" y="164703"/>
                    <a:pt x="27305" y="219454"/>
                    <a:pt x="27305" y="278798"/>
                  </a:cubicBezTo>
                  <a:cubicBezTo>
                    <a:pt x="27305" y="423970"/>
                    <a:pt x="409119" y="541655"/>
                    <a:pt x="880110" y="541655"/>
                  </a:cubicBezTo>
                  <a:cubicBezTo>
                    <a:pt x="1351101" y="541655"/>
                    <a:pt x="1732915" y="423970"/>
                    <a:pt x="1732915" y="278798"/>
                  </a:cubicBezTo>
                  <a:cubicBezTo>
                    <a:pt x="1732915" y="219454"/>
                    <a:pt x="1669111" y="164702"/>
                    <a:pt x="1560957" y="122024"/>
                  </a:cubicBezTo>
                  <a:cubicBezTo>
                    <a:pt x="1636049" y="159026"/>
                    <a:pt x="1678940" y="204137"/>
                    <a:pt x="1678940" y="252413"/>
                  </a:cubicBezTo>
                  <a:cubicBezTo>
                    <a:pt x="1678940" y="391817"/>
                    <a:pt x="1321292" y="504826"/>
                    <a:pt x="880110" y="504826"/>
                  </a:cubicBezTo>
                  <a:cubicBezTo>
                    <a:pt x="438928" y="504826"/>
                    <a:pt x="81280" y="391817"/>
                    <a:pt x="81280" y="252413"/>
                  </a:cubicBezTo>
                  <a:cubicBezTo>
                    <a:pt x="81280" y="204137"/>
                    <a:pt x="124171" y="159027"/>
                    <a:pt x="199263" y="122024"/>
                  </a:cubicBezTo>
                  <a:close/>
                  <a:moveTo>
                    <a:pt x="880110" y="0"/>
                  </a:moveTo>
                  <a:cubicBezTo>
                    <a:pt x="1165553" y="0"/>
                    <a:pt x="1416029" y="47306"/>
                    <a:pt x="1556739" y="119568"/>
                  </a:cubicBezTo>
                  <a:cubicBezTo>
                    <a:pt x="1684123" y="165851"/>
                    <a:pt x="1760220" y="228225"/>
                    <a:pt x="1760220" y="296260"/>
                  </a:cubicBezTo>
                  <a:lnTo>
                    <a:pt x="1760220" y="1529079"/>
                  </a:lnTo>
                  <a:cubicBezTo>
                    <a:pt x="1760220" y="1684790"/>
                    <a:pt x="1366181" y="1811019"/>
                    <a:pt x="880110" y="1811019"/>
                  </a:cubicBezTo>
                  <a:cubicBezTo>
                    <a:pt x="394039" y="1811019"/>
                    <a:pt x="0" y="1684790"/>
                    <a:pt x="0" y="1529079"/>
                  </a:cubicBezTo>
                  <a:lnTo>
                    <a:pt x="0" y="296260"/>
                  </a:lnTo>
                  <a:cubicBezTo>
                    <a:pt x="0" y="228225"/>
                    <a:pt x="76097" y="165852"/>
                    <a:pt x="203480" y="119569"/>
                  </a:cubicBezTo>
                  <a:cubicBezTo>
                    <a:pt x="344190" y="47306"/>
                    <a:pt x="594666" y="0"/>
                    <a:pt x="880110"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91"/>
              <a:endParaRPr lang="en-US">
                <a:solidFill>
                  <a:srgbClr val="FFFFFF"/>
                </a:solidFill>
              </a:endParaRPr>
            </a:p>
          </p:txBody>
        </p:sp>
      </p:grpSp>
      <p:pic>
        <p:nvPicPr>
          <p:cNvPr id="73" name="Picture 3" descr="F:\Bada\Logos\Microsoft\internet_explorer.png"/>
          <p:cNvPicPr>
            <a:picLocks noChangeAspect="1" noChangeArrowheads="1"/>
          </p:cNvPicPr>
          <p:nvPr/>
        </p:nvPicPr>
        <p:blipFill>
          <a:blip r:embed="rId31">
            <a:extLst>
              <a:ext uri="{BEBA8EAE-BF5A-486C-A8C5-ECC9F3942E4B}">
                <a14:imgProps xmlns:a14="http://schemas.microsoft.com/office/drawing/2010/main">
                  <a14:imgLayer r:embed="rId32">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292459" y="1372896"/>
            <a:ext cx="493628" cy="371738"/>
          </a:xfrm>
          <a:prstGeom prst="rect">
            <a:avLst/>
          </a:prstGeom>
          <a:noFill/>
          <a:extLst>
            <a:ext uri="{909E8E84-426E-40DD-AFC4-6F175D3DCCD1}">
              <a14:hiddenFill xmlns:a14="http://schemas.microsoft.com/office/drawing/2010/main">
                <a:solidFill>
                  <a:srgbClr val="FFFFFF"/>
                </a:solidFill>
              </a14:hiddenFill>
            </a:ext>
          </a:extLst>
        </p:spPr>
      </p:pic>
      <p:grpSp>
        <p:nvGrpSpPr>
          <p:cNvPr id="74" name="Group 73"/>
          <p:cNvGrpSpPr/>
          <p:nvPr/>
        </p:nvGrpSpPr>
        <p:grpSpPr>
          <a:xfrm>
            <a:off x="445599" y="1366356"/>
            <a:ext cx="675383" cy="384815"/>
            <a:chOff x="10353900" y="1273012"/>
            <a:chExt cx="675383" cy="513086"/>
          </a:xfrm>
        </p:grpSpPr>
        <p:sp>
          <p:nvSpPr>
            <p:cNvPr id="75" name="Freeform 5"/>
            <p:cNvSpPr>
              <a:spLocks/>
            </p:cNvSpPr>
            <p:nvPr/>
          </p:nvSpPr>
          <p:spPr bwMode="black">
            <a:xfrm>
              <a:off x="10636554" y="1273012"/>
              <a:ext cx="386091" cy="390462"/>
            </a:xfrm>
            <a:custGeom>
              <a:avLst/>
              <a:gdLst>
                <a:gd name="T0" fmla="*/ 65 w 294"/>
                <a:gd name="T1" fmla="*/ 149 h 305"/>
                <a:gd name="T2" fmla="*/ 0 w 294"/>
                <a:gd name="T3" fmla="*/ 221 h 305"/>
                <a:gd name="T4" fmla="*/ 82 w 294"/>
                <a:gd name="T5" fmla="*/ 260 h 305"/>
                <a:gd name="T6" fmla="*/ 222 w 294"/>
                <a:gd name="T7" fmla="*/ 305 h 305"/>
                <a:gd name="T8" fmla="*/ 215 w 294"/>
                <a:gd name="T9" fmla="*/ 253 h 305"/>
                <a:gd name="T10" fmla="*/ 211 w 294"/>
                <a:gd name="T11" fmla="*/ 238 h 305"/>
                <a:gd name="T12" fmla="*/ 281 w 294"/>
                <a:gd name="T13" fmla="*/ 174 h 305"/>
                <a:gd name="T14" fmla="*/ 281 w 294"/>
                <a:gd name="T15" fmla="*/ 166 h 305"/>
                <a:gd name="T16" fmla="*/ 208 w 294"/>
                <a:gd name="T17" fmla="*/ 225 h 305"/>
                <a:gd name="T18" fmla="*/ 173 w 294"/>
                <a:gd name="T19" fmla="*/ 167 h 305"/>
                <a:gd name="T20" fmla="*/ 133 w 294"/>
                <a:gd name="T21" fmla="*/ 148 h 305"/>
                <a:gd name="T22" fmla="*/ 165 w 294"/>
                <a:gd name="T23" fmla="*/ 121 h 305"/>
                <a:gd name="T24" fmla="*/ 177 w 294"/>
                <a:gd name="T25" fmla="*/ 78 h 305"/>
                <a:gd name="T26" fmla="*/ 99 w 294"/>
                <a:gd name="T27" fmla="*/ 0 h 305"/>
                <a:gd name="T28" fmla="*/ 21 w 294"/>
                <a:gd name="T29" fmla="*/ 78 h 305"/>
                <a:gd name="T30" fmla="*/ 34 w 294"/>
                <a:gd name="T31" fmla="*/ 121 h 305"/>
                <a:gd name="T32" fmla="*/ 65 w 294"/>
                <a:gd name="T33" fmla="*/ 149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4" h="305">
                  <a:moveTo>
                    <a:pt x="65" y="149"/>
                  </a:moveTo>
                  <a:cubicBezTo>
                    <a:pt x="26" y="163"/>
                    <a:pt x="9" y="195"/>
                    <a:pt x="0" y="221"/>
                  </a:cubicBezTo>
                  <a:cubicBezTo>
                    <a:pt x="27" y="234"/>
                    <a:pt x="55" y="249"/>
                    <a:pt x="82" y="260"/>
                  </a:cubicBezTo>
                  <a:cubicBezTo>
                    <a:pt x="130" y="282"/>
                    <a:pt x="171" y="296"/>
                    <a:pt x="222" y="305"/>
                  </a:cubicBezTo>
                  <a:cubicBezTo>
                    <a:pt x="221" y="290"/>
                    <a:pt x="219" y="272"/>
                    <a:pt x="215" y="253"/>
                  </a:cubicBezTo>
                  <a:cubicBezTo>
                    <a:pt x="214" y="248"/>
                    <a:pt x="212" y="243"/>
                    <a:pt x="211" y="238"/>
                  </a:cubicBezTo>
                  <a:cubicBezTo>
                    <a:pt x="248" y="223"/>
                    <a:pt x="270" y="193"/>
                    <a:pt x="281" y="174"/>
                  </a:cubicBezTo>
                  <a:cubicBezTo>
                    <a:pt x="294" y="151"/>
                    <a:pt x="283" y="163"/>
                    <a:pt x="281" y="166"/>
                  </a:cubicBezTo>
                  <a:cubicBezTo>
                    <a:pt x="252" y="203"/>
                    <a:pt x="226" y="218"/>
                    <a:pt x="208" y="225"/>
                  </a:cubicBezTo>
                  <a:cubicBezTo>
                    <a:pt x="200" y="200"/>
                    <a:pt x="191" y="184"/>
                    <a:pt x="173" y="167"/>
                  </a:cubicBezTo>
                  <a:cubicBezTo>
                    <a:pt x="160" y="156"/>
                    <a:pt x="145" y="150"/>
                    <a:pt x="133" y="148"/>
                  </a:cubicBezTo>
                  <a:cubicBezTo>
                    <a:pt x="146" y="142"/>
                    <a:pt x="157" y="133"/>
                    <a:pt x="165" y="121"/>
                  </a:cubicBezTo>
                  <a:cubicBezTo>
                    <a:pt x="173" y="108"/>
                    <a:pt x="177" y="93"/>
                    <a:pt x="177" y="78"/>
                  </a:cubicBezTo>
                  <a:cubicBezTo>
                    <a:pt x="177" y="35"/>
                    <a:pt x="142" y="0"/>
                    <a:pt x="99" y="0"/>
                  </a:cubicBezTo>
                  <a:cubicBezTo>
                    <a:pt x="56" y="0"/>
                    <a:pt x="21" y="35"/>
                    <a:pt x="21" y="78"/>
                  </a:cubicBezTo>
                  <a:cubicBezTo>
                    <a:pt x="21" y="94"/>
                    <a:pt x="26" y="108"/>
                    <a:pt x="34" y="121"/>
                  </a:cubicBezTo>
                  <a:cubicBezTo>
                    <a:pt x="42" y="133"/>
                    <a:pt x="53" y="142"/>
                    <a:pt x="65" y="149"/>
                  </a:cubicBezTo>
                  <a:close/>
                </a:path>
              </a:pathLst>
            </a:custGeom>
            <a:solidFill>
              <a:srgbClr val="FFFFFF"/>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629"/>
              <a:endParaRPr lang="en-US" spc="-92">
                <a:solidFill>
                  <a:srgbClr val="FFFFFF">
                    <a:lumMod val="50000"/>
                  </a:srgbClr>
                </a:solidFill>
                <a:latin typeface="Segoe Light" pitchFamily="34" charset="0"/>
              </a:endParaRPr>
            </a:p>
          </p:txBody>
        </p:sp>
        <p:sp>
          <p:nvSpPr>
            <p:cNvPr id="76" name="Freeform 6"/>
            <p:cNvSpPr>
              <a:spLocks/>
            </p:cNvSpPr>
            <p:nvPr/>
          </p:nvSpPr>
          <p:spPr bwMode="black">
            <a:xfrm>
              <a:off x="10444615" y="1298290"/>
              <a:ext cx="209087" cy="250089"/>
            </a:xfrm>
            <a:custGeom>
              <a:avLst/>
              <a:gdLst>
                <a:gd name="T0" fmla="*/ 53 w 159"/>
                <a:gd name="T1" fmla="*/ 165 h 195"/>
                <a:gd name="T2" fmla="*/ 135 w 159"/>
                <a:gd name="T3" fmla="*/ 195 h 195"/>
                <a:gd name="T4" fmla="*/ 159 w 159"/>
                <a:gd name="T5" fmla="*/ 152 h 195"/>
                <a:gd name="T6" fmla="*/ 115 w 159"/>
                <a:gd name="T7" fmla="*/ 127 h 195"/>
                <a:gd name="T8" fmla="*/ 151 w 159"/>
                <a:gd name="T9" fmla="*/ 68 h 195"/>
                <a:gd name="T10" fmla="*/ 84 w 159"/>
                <a:gd name="T11" fmla="*/ 0 h 195"/>
                <a:gd name="T12" fmla="*/ 17 w 159"/>
                <a:gd name="T13" fmla="*/ 68 h 195"/>
                <a:gd name="T14" fmla="*/ 53 w 159"/>
                <a:gd name="T15" fmla="*/ 127 h 195"/>
                <a:gd name="T16" fmla="*/ 0 w 159"/>
                <a:gd name="T17" fmla="*/ 164 h 195"/>
                <a:gd name="T18" fmla="*/ 53 w 159"/>
                <a:gd name="T19" fmla="*/ 16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9" h="195">
                  <a:moveTo>
                    <a:pt x="53" y="165"/>
                  </a:moveTo>
                  <a:cubicBezTo>
                    <a:pt x="81" y="171"/>
                    <a:pt x="108" y="182"/>
                    <a:pt x="135" y="195"/>
                  </a:cubicBezTo>
                  <a:cubicBezTo>
                    <a:pt x="142" y="178"/>
                    <a:pt x="149" y="164"/>
                    <a:pt x="159" y="152"/>
                  </a:cubicBezTo>
                  <a:cubicBezTo>
                    <a:pt x="141" y="134"/>
                    <a:pt x="122" y="128"/>
                    <a:pt x="115" y="127"/>
                  </a:cubicBezTo>
                  <a:cubicBezTo>
                    <a:pt x="137" y="116"/>
                    <a:pt x="151" y="94"/>
                    <a:pt x="151" y="68"/>
                  </a:cubicBezTo>
                  <a:cubicBezTo>
                    <a:pt x="151" y="30"/>
                    <a:pt x="121" y="0"/>
                    <a:pt x="84" y="0"/>
                  </a:cubicBezTo>
                  <a:cubicBezTo>
                    <a:pt x="47" y="0"/>
                    <a:pt x="17" y="30"/>
                    <a:pt x="17" y="68"/>
                  </a:cubicBezTo>
                  <a:cubicBezTo>
                    <a:pt x="17" y="94"/>
                    <a:pt x="31" y="116"/>
                    <a:pt x="53" y="127"/>
                  </a:cubicBezTo>
                  <a:cubicBezTo>
                    <a:pt x="47" y="129"/>
                    <a:pt x="21" y="136"/>
                    <a:pt x="0" y="164"/>
                  </a:cubicBezTo>
                  <a:cubicBezTo>
                    <a:pt x="15" y="161"/>
                    <a:pt x="35" y="161"/>
                    <a:pt x="53" y="165"/>
                  </a:cubicBezTo>
                  <a:close/>
                </a:path>
              </a:pathLst>
            </a:custGeom>
            <a:solidFill>
              <a:srgbClr val="FFFFFF"/>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629"/>
              <a:endParaRPr lang="en-US" spc="-92">
                <a:solidFill>
                  <a:srgbClr val="FFFFFF">
                    <a:lumMod val="50000"/>
                  </a:srgbClr>
                </a:solidFill>
                <a:latin typeface="Segoe Light" pitchFamily="34" charset="0"/>
              </a:endParaRPr>
            </a:p>
          </p:txBody>
        </p:sp>
        <p:sp>
          <p:nvSpPr>
            <p:cNvPr id="77" name="Freeform 7"/>
            <p:cNvSpPr>
              <a:spLocks noEditPoints="1"/>
            </p:cNvSpPr>
            <p:nvPr/>
          </p:nvSpPr>
          <p:spPr bwMode="black">
            <a:xfrm>
              <a:off x="10353900" y="1521488"/>
              <a:ext cx="675383" cy="264610"/>
            </a:xfrm>
            <a:custGeom>
              <a:avLst/>
              <a:gdLst>
                <a:gd name="T0" fmla="*/ 510 w 514"/>
                <a:gd name="T1" fmla="*/ 123 h 207"/>
                <a:gd name="T2" fmla="*/ 486 w 514"/>
                <a:gd name="T3" fmla="*/ 122 h 207"/>
                <a:gd name="T4" fmla="*/ 400 w 514"/>
                <a:gd name="T5" fmla="*/ 109 h 207"/>
                <a:gd name="T6" fmla="*/ 280 w 514"/>
                <a:gd name="T7" fmla="*/ 70 h 207"/>
                <a:gd name="T8" fmla="*/ 89 w 514"/>
                <a:gd name="T9" fmla="*/ 2 h 207"/>
                <a:gd name="T10" fmla="*/ 38 w 514"/>
                <a:gd name="T11" fmla="*/ 8 h 207"/>
                <a:gd name="T12" fmla="*/ 0 w 514"/>
                <a:gd name="T13" fmla="*/ 60 h 207"/>
                <a:gd name="T14" fmla="*/ 39 w 514"/>
                <a:gd name="T15" fmla="*/ 109 h 207"/>
                <a:gd name="T16" fmla="*/ 39 w 514"/>
                <a:gd name="T17" fmla="*/ 110 h 207"/>
                <a:gd name="T18" fmla="*/ 52 w 514"/>
                <a:gd name="T19" fmla="*/ 123 h 207"/>
                <a:gd name="T20" fmla="*/ 65 w 514"/>
                <a:gd name="T21" fmla="*/ 123 h 207"/>
                <a:gd name="T22" fmla="*/ 69 w 514"/>
                <a:gd name="T23" fmla="*/ 122 h 207"/>
                <a:gd name="T24" fmla="*/ 69 w 514"/>
                <a:gd name="T25" fmla="*/ 143 h 207"/>
                <a:gd name="T26" fmla="*/ 154 w 514"/>
                <a:gd name="T27" fmla="*/ 160 h 207"/>
                <a:gd name="T28" fmla="*/ 204 w 514"/>
                <a:gd name="T29" fmla="*/ 158 h 207"/>
                <a:gd name="T30" fmla="*/ 204 w 514"/>
                <a:gd name="T31" fmla="*/ 154 h 207"/>
                <a:gd name="T32" fmla="*/ 194 w 514"/>
                <a:gd name="T33" fmla="*/ 133 h 207"/>
                <a:gd name="T34" fmla="*/ 198 w 514"/>
                <a:gd name="T35" fmla="*/ 48 h 207"/>
                <a:gd name="T36" fmla="*/ 210 w 514"/>
                <a:gd name="T37" fmla="*/ 52 h 207"/>
                <a:gd name="T38" fmla="*/ 206 w 514"/>
                <a:gd name="T39" fmla="*/ 133 h 207"/>
                <a:gd name="T40" fmla="*/ 216 w 514"/>
                <a:gd name="T41" fmla="*/ 145 h 207"/>
                <a:gd name="T42" fmla="*/ 221 w 514"/>
                <a:gd name="T43" fmla="*/ 186 h 207"/>
                <a:gd name="T44" fmla="*/ 315 w 514"/>
                <a:gd name="T45" fmla="*/ 207 h 207"/>
                <a:gd name="T46" fmla="*/ 414 w 514"/>
                <a:gd name="T47" fmla="*/ 184 h 207"/>
                <a:gd name="T48" fmla="*/ 414 w 514"/>
                <a:gd name="T49" fmla="*/ 171 h 207"/>
                <a:gd name="T50" fmla="*/ 430 w 514"/>
                <a:gd name="T51" fmla="*/ 168 h 207"/>
                <a:gd name="T52" fmla="*/ 437 w 514"/>
                <a:gd name="T53" fmla="*/ 151 h 207"/>
                <a:gd name="T54" fmla="*/ 437 w 514"/>
                <a:gd name="T55" fmla="*/ 138 h 207"/>
                <a:gd name="T56" fmla="*/ 437 w 514"/>
                <a:gd name="T57" fmla="*/ 125 h 207"/>
                <a:gd name="T58" fmla="*/ 509 w 514"/>
                <a:gd name="T59" fmla="*/ 126 h 207"/>
                <a:gd name="T60" fmla="*/ 514 w 514"/>
                <a:gd name="T61" fmla="*/ 124 h 207"/>
                <a:gd name="T62" fmla="*/ 510 w 514"/>
                <a:gd name="T63" fmla="*/ 123 h 207"/>
                <a:gd name="T64" fmla="*/ 39 w 514"/>
                <a:gd name="T65" fmla="*/ 90 h 207"/>
                <a:gd name="T66" fmla="*/ 11 w 514"/>
                <a:gd name="T67" fmla="*/ 61 h 207"/>
                <a:gd name="T68" fmla="*/ 53 w 514"/>
                <a:gd name="T69" fmla="*/ 21 h 207"/>
                <a:gd name="T70" fmla="*/ 39 w 514"/>
                <a:gd name="T71" fmla="*/ 9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4" h="207">
                  <a:moveTo>
                    <a:pt x="510" y="123"/>
                  </a:moveTo>
                  <a:cubicBezTo>
                    <a:pt x="509" y="123"/>
                    <a:pt x="500" y="123"/>
                    <a:pt x="486" y="122"/>
                  </a:cubicBezTo>
                  <a:cubicBezTo>
                    <a:pt x="479" y="121"/>
                    <a:pt x="445" y="119"/>
                    <a:pt x="400" y="109"/>
                  </a:cubicBezTo>
                  <a:cubicBezTo>
                    <a:pt x="364" y="101"/>
                    <a:pt x="319" y="86"/>
                    <a:pt x="280" y="70"/>
                  </a:cubicBezTo>
                  <a:cubicBezTo>
                    <a:pt x="212" y="43"/>
                    <a:pt x="147" y="5"/>
                    <a:pt x="89" y="2"/>
                  </a:cubicBezTo>
                  <a:cubicBezTo>
                    <a:pt x="58" y="0"/>
                    <a:pt x="49" y="5"/>
                    <a:pt x="38" y="8"/>
                  </a:cubicBezTo>
                  <a:cubicBezTo>
                    <a:pt x="10" y="19"/>
                    <a:pt x="0" y="41"/>
                    <a:pt x="0" y="60"/>
                  </a:cubicBezTo>
                  <a:cubicBezTo>
                    <a:pt x="0" y="79"/>
                    <a:pt x="8" y="103"/>
                    <a:pt x="39" y="109"/>
                  </a:cubicBezTo>
                  <a:cubicBezTo>
                    <a:pt x="39" y="109"/>
                    <a:pt x="39" y="110"/>
                    <a:pt x="39" y="110"/>
                  </a:cubicBezTo>
                  <a:cubicBezTo>
                    <a:pt x="39" y="119"/>
                    <a:pt x="44" y="123"/>
                    <a:pt x="52" y="123"/>
                  </a:cubicBezTo>
                  <a:cubicBezTo>
                    <a:pt x="56" y="123"/>
                    <a:pt x="65" y="123"/>
                    <a:pt x="65" y="123"/>
                  </a:cubicBezTo>
                  <a:cubicBezTo>
                    <a:pt x="65" y="123"/>
                    <a:pt x="68" y="123"/>
                    <a:pt x="69" y="122"/>
                  </a:cubicBezTo>
                  <a:cubicBezTo>
                    <a:pt x="69" y="143"/>
                    <a:pt x="69" y="143"/>
                    <a:pt x="69" y="143"/>
                  </a:cubicBezTo>
                  <a:cubicBezTo>
                    <a:pt x="69" y="153"/>
                    <a:pt x="79" y="160"/>
                    <a:pt x="154" y="160"/>
                  </a:cubicBezTo>
                  <a:cubicBezTo>
                    <a:pt x="176" y="160"/>
                    <a:pt x="192" y="159"/>
                    <a:pt x="204" y="158"/>
                  </a:cubicBezTo>
                  <a:cubicBezTo>
                    <a:pt x="204" y="157"/>
                    <a:pt x="204" y="155"/>
                    <a:pt x="204" y="154"/>
                  </a:cubicBezTo>
                  <a:cubicBezTo>
                    <a:pt x="199" y="150"/>
                    <a:pt x="194" y="144"/>
                    <a:pt x="194" y="133"/>
                  </a:cubicBezTo>
                  <a:cubicBezTo>
                    <a:pt x="194" y="131"/>
                    <a:pt x="193" y="82"/>
                    <a:pt x="198" y="48"/>
                  </a:cubicBezTo>
                  <a:cubicBezTo>
                    <a:pt x="202" y="49"/>
                    <a:pt x="206" y="51"/>
                    <a:pt x="210" y="52"/>
                  </a:cubicBezTo>
                  <a:cubicBezTo>
                    <a:pt x="206" y="82"/>
                    <a:pt x="206" y="122"/>
                    <a:pt x="206" y="133"/>
                  </a:cubicBezTo>
                  <a:cubicBezTo>
                    <a:pt x="206" y="146"/>
                    <a:pt x="216" y="145"/>
                    <a:pt x="216" y="145"/>
                  </a:cubicBezTo>
                  <a:cubicBezTo>
                    <a:pt x="216" y="177"/>
                    <a:pt x="219" y="183"/>
                    <a:pt x="221" y="186"/>
                  </a:cubicBezTo>
                  <a:cubicBezTo>
                    <a:pt x="222" y="189"/>
                    <a:pt x="226" y="207"/>
                    <a:pt x="315" y="207"/>
                  </a:cubicBezTo>
                  <a:cubicBezTo>
                    <a:pt x="412" y="207"/>
                    <a:pt x="414" y="184"/>
                    <a:pt x="414" y="184"/>
                  </a:cubicBezTo>
                  <a:cubicBezTo>
                    <a:pt x="414" y="171"/>
                    <a:pt x="414" y="171"/>
                    <a:pt x="414" y="171"/>
                  </a:cubicBezTo>
                  <a:cubicBezTo>
                    <a:pt x="422" y="172"/>
                    <a:pt x="427" y="170"/>
                    <a:pt x="430" y="168"/>
                  </a:cubicBezTo>
                  <a:cubicBezTo>
                    <a:pt x="437" y="163"/>
                    <a:pt x="437" y="155"/>
                    <a:pt x="437" y="151"/>
                  </a:cubicBezTo>
                  <a:cubicBezTo>
                    <a:pt x="437" y="150"/>
                    <a:pt x="437" y="145"/>
                    <a:pt x="437" y="138"/>
                  </a:cubicBezTo>
                  <a:cubicBezTo>
                    <a:pt x="437" y="134"/>
                    <a:pt x="437" y="130"/>
                    <a:pt x="437" y="125"/>
                  </a:cubicBezTo>
                  <a:cubicBezTo>
                    <a:pt x="482" y="127"/>
                    <a:pt x="502" y="127"/>
                    <a:pt x="509" y="126"/>
                  </a:cubicBezTo>
                  <a:cubicBezTo>
                    <a:pt x="513" y="126"/>
                    <a:pt x="514" y="124"/>
                    <a:pt x="514" y="124"/>
                  </a:cubicBezTo>
                  <a:cubicBezTo>
                    <a:pt x="513" y="123"/>
                    <a:pt x="511" y="123"/>
                    <a:pt x="510" y="123"/>
                  </a:cubicBezTo>
                  <a:close/>
                  <a:moveTo>
                    <a:pt x="39" y="90"/>
                  </a:moveTo>
                  <a:cubicBezTo>
                    <a:pt x="29" y="88"/>
                    <a:pt x="11" y="82"/>
                    <a:pt x="11" y="61"/>
                  </a:cubicBezTo>
                  <a:cubicBezTo>
                    <a:pt x="11" y="39"/>
                    <a:pt x="27" y="26"/>
                    <a:pt x="53" y="21"/>
                  </a:cubicBezTo>
                  <a:cubicBezTo>
                    <a:pt x="42" y="46"/>
                    <a:pt x="40" y="66"/>
                    <a:pt x="39" y="90"/>
                  </a:cubicBezTo>
                  <a:close/>
                </a:path>
              </a:pathLst>
            </a:custGeom>
            <a:solidFill>
              <a:srgbClr val="FFFFFF"/>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629"/>
              <a:endParaRPr lang="en-US" spc="-92">
                <a:solidFill>
                  <a:srgbClr val="FFFFFF">
                    <a:lumMod val="50000"/>
                  </a:srgbClr>
                </a:solidFill>
                <a:latin typeface="Segoe Light" pitchFamily="34" charset="0"/>
              </a:endParaRPr>
            </a:p>
          </p:txBody>
        </p:sp>
      </p:grpSp>
      <p:sp>
        <p:nvSpPr>
          <p:cNvPr id="78" name="Left-Right Arrow 77"/>
          <p:cNvSpPr/>
          <p:nvPr>
            <p:custDataLst>
              <p:tags r:id="rId24"/>
            </p:custDataLst>
          </p:nvPr>
        </p:nvSpPr>
        <p:spPr bwMode="auto">
          <a:xfrm rot="5400000">
            <a:off x="7884794" y="2228374"/>
            <a:ext cx="411480" cy="274320"/>
          </a:xfrm>
          <a:prstGeom prst="leftRightArrow">
            <a:avLst>
              <a:gd name="adj1" fmla="val 47916"/>
              <a:gd name="adj2" fmla="val 44271"/>
            </a:avLst>
          </a:prstGeom>
          <a:solidFill>
            <a:schemeClr val="tx1"/>
          </a:solidFill>
          <a:ln w="12700" cap="flat" cmpd="sng" algn="ctr">
            <a:noFill/>
            <a:prstDash val="solid"/>
            <a:round/>
            <a:headEnd type="none" w="med" len="med"/>
            <a:tailEnd type="none" w="med" len="med"/>
          </a:ln>
          <a:effectLst/>
        </p:spPr>
        <p:txBody>
          <a:bodyPr vert="horz" wrap="square" lIns="34287" tIns="34287" rIns="41144" bIns="30863" numCol="1" rtlCol="0" anchor="ctr" anchorCtr="1" compatLnSpc="1">
            <a:prstTxWarp prst="textNoShape">
              <a:avLst/>
            </a:prstTxWarp>
          </a:bodyPr>
          <a:lstStyle/>
          <a:p>
            <a:pPr marL="170383" indent="-170383" algn="ctr" defTabSz="685711" fontAlgn="base">
              <a:lnSpc>
                <a:spcPct val="90000"/>
              </a:lnSpc>
              <a:spcBef>
                <a:spcPts val="473"/>
              </a:spcBef>
              <a:spcAft>
                <a:spcPct val="0"/>
              </a:spcAft>
              <a:buClr>
                <a:srgbClr val="FFFF99"/>
              </a:buClr>
              <a:buSzPct val="120000"/>
            </a:pPr>
            <a:endParaRPr lang="en-US" sz="2400" i="1" dirty="0">
              <a:solidFill>
                <a:srgbClr val="FFFFFF"/>
              </a:solidFill>
              <a:latin typeface="Segoe" pitchFamily="34" charset="0"/>
            </a:endParaRPr>
          </a:p>
        </p:txBody>
      </p:sp>
      <p:sp>
        <p:nvSpPr>
          <p:cNvPr id="79" name="Left-Right Arrow 78"/>
          <p:cNvSpPr/>
          <p:nvPr>
            <p:custDataLst>
              <p:tags r:id="rId25"/>
            </p:custDataLst>
          </p:nvPr>
        </p:nvSpPr>
        <p:spPr bwMode="auto">
          <a:xfrm rot="5400000">
            <a:off x="7884794" y="3394234"/>
            <a:ext cx="411480" cy="274320"/>
          </a:xfrm>
          <a:prstGeom prst="leftRightArrow">
            <a:avLst>
              <a:gd name="adj1" fmla="val 47916"/>
              <a:gd name="adj2" fmla="val 44271"/>
            </a:avLst>
          </a:prstGeom>
          <a:solidFill>
            <a:schemeClr val="tx1"/>
          </a:solidFill>
          <a:ln w="12700" cap="flat" cmpd="sng" algn="ctr">
            <a:noFill/>
            <a:prstDash val="solid"/>
            <a:round/>
            <a:headEnd type="none" w="med" len="med"/>
            <a:tailEnd type="none" w="med" len="med"/>
          </a:ln>
          <a:effectLst/>
        </p:spPr>
        <p:txBody>
          <a:bodyPr vert="horz" wrap="square" lIns="34287" tIns="34287" rIns="41144" bIns="30863" numCol="1" rtlCol="0" anchor="ctr" anchorCtr="1" compatLnSpc="1">
            <a:prstTxWarp prst="textNoShape">
              <a:avLst/>
            </a:prstTxWarp>
          </a:bodyPr>
          <a:lstStyle/>
          <a:p>
            <a:pPr marL="170383" indent="-170383" algn="ctr" defTabSz="685711" fontAlgn="base">
              <a:lnSpc>
                <a:spcPct val="90000"/>
              </a:lnSpc>
              <a:spcBef>
                <a:spcPts val="473"/>
              </a:spcBef>
              <a:spcAft>
                <a:spcPct val="0"/>
              </a:spcAft>
              <a:buClr>
                <a:srgbClr val="FFFF99"/>
              </a:buClr>
              <a:buSzPct val="120000"/>
            </a:pPr>
            <a:endParaRPr lang="en-US" sz="2400" i="1" dirty="0">
              <a:solidFill>
                <a:srgbClr val="FFFFFF"/>
              </a:solidFill>
              <a:latin typeface="Segoe" pitchFamily="34" charset="0"/>
            </a:endParaRPr>
          </a:p>
        </p:txBody>
      </p:sp>
      <p:pic>
        <p:nvPicPr>
          <p:cNvPr id="80" name="Picture 23" descr="C:\Users\CB-012\Desktop\Microsoft Product Logos\Excel 2010.png"/>
          <p:cNvPicPr>
            <a:picLocks noChangeAspect="1" noChangeArrowheads="1"/>
          </p:cNvPicPr>
          <p:nvPr/>
        </p:nvPicPr>
        <p:blipFill rotWithShape="1">
          <a:blip r:embed="rId33">
            <a:extLst>
              <a:ext uri="{BEBA8EAE-BF5A-486C-A8C5-ECC9F3942E4B}">
                <a14:imgProps xmlns:a14="http://schemas.microsoft.com/office/drawing/2010/main">
                  <a14:imgLayer r:embed="rId34">
                    <a14:imgEffect>
                      <a14:brightnessContrast bright="100000"/>
                    </a14:imgEffect>
                  </a14:imgLayer>
                </a14:imgProps>
              </a:ext>
              <a:ext uri="{28A0092B-C50C-407E-A947-70E740481C1C}">
                <a14:useLocalDpi xmlns:a14="http://schemas.microsoft.com/office/drawing/2010/main" val="0"/>
              </a:ext>
            </a:extLst>
          </a:blip>
          <a:srcRect r="39152"/>
          <a:stretch/>
        </p:blipFill>
        <p:spPr bwMode="auto">
          <a:xfrm>
            <a:off x="883663" y="3868736"/>
            <a:ext cx="792191" cy="342900"/>
          </a:xfrm>
          <a:prstGeom prst="rect">
            <a:avLst/>
          </a:prstGeom>
          <a:noFill/>
          <a:extLst>
            <a:ext uri="{909E8E84-426E-40DD-AFC4-6F175D3DCCD1}">
              <a14:hiddenFill xmlns:a14="http://schemas.microsoft.com/office/drawing/2010/main">
                <a:solidFill>
                  <a:srgbClr val="FFFFFF"/>
                </a:solidFill>
              </a14:hiddenFill>
            </a:ext>
          </a:extLst>
        </p:spPr>
      </p:pic>
      <p:pic>
        <p:nvPicPr>
          <p:cNvPr id="81" name="Picture 3" descr="\\MAGNUM\Projects\Microsoft\Cloud Power FY12\Design\ICONS_PNG\Document.png"/>
          <p:cNvPicPr>
            <a:picLocks noChangeAspect="1" noChangeArrowheads="1"/>
          </p:cNvPicPr>
          <p:nvPr/>
        </p:nvPicPr>
        <p:blipFill rotWithShape="1">
          <a:blip r:embed="rId35" cstate="print">
            <a:biLevel thresh="25000"/>
          </a:blip>
          <a:srcRect l="18792" t="14748" r="19303" b="14420"/>
          <a:stretch/>
        </p:blipFill>
        <p:spPr bwMode="auto">
          <a:xfrm>
            <a:off x="384715" y="3819547"/>
            <a:ext cx="461481" cy="396014"/>
          </a:xfrm>
          <a:prstGeom prst="rect">
            <a:avLst/>
          </a:prstGeom>
          <a:noFill/>
        </p:spPr>
      </p:pic>
      <p:sp>
        <p:nvSpPr>
          <p:cNvPr id="36"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7"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6"/>
              </a:rPr>
              <a:t>www.rapidbbs.cn</a:t>
            </a:r>
            <a:endParaRPr lang="zh-CN" altLang="en-US" sz="1200" b="0">
              <a:latin typeface="Arial" charset="0"/>
              <a:ea typeface="ＭＳ Ｐゴシック" pitchFamily="34" charset="-128"/>
            </a:endParaRPr>
          </a:p>
        </p:txBody>
      </p:sp>
      <p:pic>
        <p:nvPicPr>
          <p:cNvPr id="38" name="Picture 2">
            <a:hlinkClick r:id="rId36"/>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033529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977472" y="228601"/>
            <a:ext cx="6280087" cy="761747"/>
          </a:xfrm>
          <a:prstGeom prst="rect">
            <a:avLst/>
          </a:prstGeom>
          <a:noFill/>
        </p:spPr>
        <p:txBody>
          <a:bodyPr wrap="square" lIns="68589" tIns="68589" rIns="68589" bIns="68589" rtlCol="0">
            <a:spAutoFit/>
          </a:bodyPr>
          <a:lstStyle/>
          <a:p>
            <a:pPr>
              <a:lnSpc>
                <a:spcPct val="90000"/>
              </a:lnSpc>
              <a:spcBef>
                <a:spcPct val="20000"/>
              </a:spcBef>
              <a:buSzPct val="90000"/>
            </a:pPr>
            <a:r>
              <a:rPr lang="en-US" sz="4500" dirty="0">
                <a:solidFill>
                  <a:schemeClr val="tx1">
                    <a:alpha val="99000"/>
                  </a:schemeClr>
                </a:solidFill>
                <a:latin typeface="Segoe UI Light" pitchFamily="34" charset="0"/>
              </a:rPr>
              <a:t>The Value of DAX</a:t>
            </a:r>
          </a:p>
        </p:txBody>
      </p:sp>
      <p:sp>
        <p:nvSpPr>
          <p:cNvPr id="6" name="Freeform 91"/>
          <p:cNvSpPr>
            <a:spLocks noEditPoints="1"/>
          </p:cNvSpPr>
          <p:nvPr/>
        </p:nvSpPr>
        <p:spPr bwMode="auto">
          <a:xfrm>
            <a:off x="279454" y="228601"/>
            <a:ext cx="576828" cy="761747"/>
          </a:xfrm>
          <a:custGeom>
            <a:avLst/>
            <a:gdLst>
              <a:gd name="T0" fmla="*/ 8 w 348"/>
              <a:gd name="T1" fmla="*/ 0 h 414"/>
              <a:gd name="T2" fmla="*/ 0 w 348"/>
              <a:gd name="T3" fmla="*/ 406 h 414"/>
              <a:gd name="T4" fmla="*/ 340 w 348"/>
              <a:gd name="T5" fmla="*/ 414 h 414"/>
              <a:gd name="T6" fmla="*/ 348 w 348"/>
              <a:gd name="T7" fmla="*/ 8 h 414"/>
              <a:gd name="T8" fmla="*/ 333 w 348"/>
              <a:gd name="T9" fmla="*/ 399 h 414"/>
              <a:gd name="T10" fmla="*/ 15 w 348"/>
              <a:gd name="T11" fmla="*/ 15 h 414"/>
              <a:gd name="T12" fmla="*/ 333 w 348"/>
              <a:gd name="T13" fmla="*/ 399 h 414"/>
              <a:gd name="T14" fmla="*/ 33 w 348"/>
              <a:gd name="T15" fmla="*/ 43 h 414"/>
              <a:gd name="T16" fmla="*/ 307 w 348"/>
              <a:gd name="T17" fmla="*/ 36 h 414"/>
              <a:gd name="T18" fmla="*/ 315 w 348"/>
              <a:gd name="T19" fmla="*/ 104 h 414"/>
              <a:gd name="T20" fmla="*/ 41 w 348"/>
              <a:gd name="T21" fmla="*/ 111 h 414"/>
              <a:gd name="T22" fmla="*/ 108 w 348"/>
              <a:gd name="T23" fmla="*/ 141 h 414"/>
              <a:gd name="T24" fmla="*/ 123 w 348"/>
              <a:gd name="T25" fmla="*/ 203 h 414"/>
              <a:gd name="T26" fmla="*/ 53 w 348"/>
              <a:gd name="T27" fmla="*/ 210 h 414"/>
              <a:gd name="T28" fmla="*/ 108 w 348"/>
              <a:gd name="T29" fmla="*/ 195 h 414"/>
              <a:gd name="T30" fmla="*/ 198 w 348"/>
              <a:gd name="T31" fmla="*/ 141 h 414"/>
              <a:gd name="T32" fmla="*/ 212 w 348"/>
              <a:gd name="T33" fmla="*/ 203 h 414"/>
              <a:gd name="T34" fmla="*/ 143 w 348"/>
              <a:gd name="T35" fmla="*/ 210 h 414"/>
              <a:gd name="T36" fmla="*/ 198 w 348"/>
              <a:gd name="T37" fmla="*/ 195 h 414"/>
              <a:gd name="T38" fmla="*/ 287 w 348"/>
              <a:gd name="T39" fmla="*/ 141 h 414"/>
              <a:gd name="T40" fmla="*/ 302 w 348"/>
              <a:gd name="T41" fmla="*/ 203 h 414"/>
              <a:gd name="T42" fmla="*/ 233 w 348"/>
              <a:gd name="T43" fmla="*/ 210 h 414"/>
              <a:gd name="T44" fmla="*/ 287 w 348"/>
              <a:gd name="T45" fmla="*/ 195 h 414"/>
              <a:gd name="T46" fmla="*/ 108 w 348"/>
              <a:gd name="T47" fmla="*/ 314 h 414"/>
              <a:gd name="T48" fmla="*/ 123 w 348"/>
              <a:gd name="T49" fmla="*/ 376 h 414"/>
              <a:gd name="T50" fmla="*/ 53 w 348"/>
              <a:gd name="T51" fmla="*/ 384 h 414"/>
              <a:gd name="T52" fmla="*/ 108 w 348"/>
              <a:gd name="T53" fmla="*/ 369 h 414"/>
              <a:gd name="T54" fmla="*/ 198 w 348"/>
              <a:gd name="T55" fmla="*/ 314 h 414"/>
              <a:gd name="T56" fmla="*/ 212 w 348"/>
              <a:gd name="T57" fmla="*/ 376 h 414"/>
              <a:gd name="T58" fmla="*/ 143 w 348"/>
              <a:gd name="T59" fmla="*/ 384 h 414"/>
              <a:gd name="T60" fmla="*/ 198 w 348"/>
              <a:gd name="T61" fmla="*/ 369 h 414"/>
              <a:gd name="T62" fmla="*/ 287 w 348"/>
              <a:gd name="T63" fmla="*/ 314 h 414"/>
              <a:gd name="T64" fmla="*/ 302 w 348"/>
              <a:gd name="T65" fmla="*/ 376 h 414"/>
              <a:gd name="T66" fmla="*/ 233 w 348"/>
              <a:gd name="T67" fmla="*/ 384 h 414"/>
              <a:gd name="T68" fmla="*/ 287 w 348"/>
              <a:gd name="T69" fmla="*/ 369 h 414"/>
              <a:gd name="T70" fmla="*/ 108 w 348"/>
              <a:gd name="T71" fmla="*/ 227 h 414"/>
              <a:gd name="T72" fmla="*/ 123 w 348"/>
              <a:gd name="T73" fmla="*/ 289 h 414"/>
              <a:gd name="T74" fmla="*/ 53 w 348"/>
              <a:gd name="T75" fmla="*/ 297 h 414"/>
              <a:gd name="T76" fmla="*/ 108 w 348"/>
              <a:gd name="T77" fmla="*/ 282 h 414"/>
              <a:gd name="T78" fmla="*/ 198 w 348"/>
              <a:gd name="T79" fmla="*/ 227 h 414"/>
              <a:gd name="T80" fmla="*/ 212 w 348"/>
              <a:gd name="T81" fmla="*/ 289 h 414"/>
              <a:gd name="T82" fmla="*/ 143 w 348"/>
              <a:gd name="T83" fmla="*/ 297 h 414"/>
              <a:gd name="T84" fmla="*/ 198 w 348"/>
              <a:gd name="T85" fmla="*/ 282 h 414"/>
              <a:gd name="T86" fmla="*/ 287 w 348"/>
              <a:gd name="T87" fmla="*/ 227 h 414"/>
              <a:gd name="T88" fmla="*/ 302 w 348"/>
              <a:gd name="T89" fmla="*/ 289 h 414"/>
              <a:gd name="T90" fmla="*/ 233 w 348"/>
              <a:gd name="T91" fmla="*/ 297 h 414"/>
              <a:gd name="T92" fmla="*/ 287 w 348"/>
              <a:gd name="T93" fmla="*/ 28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8" h="414">
                <a:moveTo>
                  <a:pt x="340" y="0"/>
                </a:moveTo>
                <a:cubicBezTo>
                  <a:pt x="8" y="0"/>
                  <a:pt x="8" y="0"/>
                  <a:pt x="8" y="0"/>
                </a:cubicBezTo>
                <a:cubicBezTo>
                  <a:pt x="4" y="0"/>
                  <a:pt x="0" y="4"/>
                  <a:pt x="0" y="8"/>
                </a:cubicBezTo>
                <a:cubicBezTo>
                  <a:pt x="0" y="406"/>
                  <a:pt x="0" y="406"/>
                  <a:pt x="0" y="406"/>
                </a:cubicBezTo>
                <a:cubicBezTo>
                  <a:pt x="0" y="410"/>
                  <a:pt x="4" y="414"/>
                  <a:pt x="8" y="414"/>
                </a:cubicBezTo>
                <a:cubicBezTo>
                  <a:pt x="340" y="414"/>
                  <a:pt x="340" y="414"/>
                  <a:pt x="340" y="414"/>
                </a:cubicBezTo>
                <a:cubicBezTo>
                  <a:pt x="344" y="414"/>
                  <a:pt x="348" y="410"/>
                  <a:pt x="348" y="406"/>
                </a:cubicBezTo>
                <a:cubicBezTo>
                  <a:pt x="348" y="8"/>
                  <a:pt x="348" y="8"/>
                  <a:pt x="348" y="8"/>
                </a:cubicBezTo>
                <a:cubicBezTo>
                  <a:pt x="348" y="4"/>
                  <a:pt x="344" y="0"/>
                  <a:pt x="340" y="0"/>
                </a:cubicBezTo>
                <a:close/>
                <a:moveTo>
                  <a:pt x="333" y="399"/>
                </a:moveTo>
                <a:cubicBezTo>
                  <a:pt x="15" y="399"/>
                  <a:pt x="15" y="399"/>
                  <a:pt x="15" y="399"/>
                </a:cubicBezTo>
                <a:cubicBezTo>
                  <a:pt x="15" y="15"/>
                  <a:pt x="15" y="15"/>
                  <a:pt x="15" y="15"/>
                </a:cubicBezTo>
                <a:cubicBezTo>
                  <a:pt x="333" y="15"/>
                  <a:pt x="333" y="15"/>
                  <a:pt x="333" y="15"/>
                </a:cubicBezTo>
                <a:lnTo>
                  <a:pt x="333" y="399"/>
                </a:lnTo>
                <a:close/>
                <a:moveTo>
                  <a:pt x="33" y="104"/>
                </a:moveTo>
                <a:cubicBezTo>
                  <a:pt x="33" y="43"/>
                  <a:pt x="33" y="43"/>
                  <a:pt x="33" y="43"/>
                </a:cubicBezTo>
                <a:cubicBezTo>
                  <a:pt x="33" y="39"/>
                  <a:pt x="37" y="36"/>
                  <a:pt x="41" y="36"/>
                </a:cubicBezTo>
                <a:cubicBezTo>
                  <a:pt x="307" y="36"/>
                  <a:pt x="307" y="36"/>
                  <a:pt x="307" y="36"/>
                </a:cubicBezTo>
                <a:cubicBezTo>
                  <a:pt x="311" y="36"/>
                  <a:pt x="315" y="39"/>
                  <a:pt x="315" y="43"/>
                </a:cubicBezTo>
                <a:cubicBezTo>
                  <a:pt x="315" y="104"/>
                  <a:pt x="315" y="104"/>
                  <a:pt x="315" y="104"/>
                </a:cubicBezTo>
                <a:cubicBezTo>
                  <a:pt x="315" y="108"/>
                  <a:pt x="311" y="111"/>
                  <a:pt x="307" y="111"/>
                </a:cubicBezTo>
                <a:cubicBezTo>
                  <a:pt x="41" y="111"/>
                  <a:pt x="41" y="111"/>
                  <a:pt x="41" y="111"/>
                </a:cubicBezTo>
                <a:cubicBezTo>
                  <a:pt x="37" y="111"/>
                  <a:pt x="33" y="108"/>
                  <a:pt x="33" y="104"/>
                </a:cubicBezTo>
                <a:close/>
                <a:moveTo>
                  <a:pt x="108" y="141"/>
                </a:moveTo>
                <a:cubicBezTo>
                  <a:pt x="123" y="141"/>
                  <a:pt x="123" y="141"/>
                  <a:pt x="123" y="141"/>
                </a:cubicBezTo>
                <a:cubicBezTo>
                  <a:pt x="123" y="203"/>
                  <a:pt x="123" y="203"/>
                  <a:pt x="123" y="203"/>
                </a:cubicBezTo>
                <a:cubicBezTo>
                  <a:pt x="123" y="207"/>
                  <a:pt x="119" y="210"/>
                  <a:pt x="115" y="210"/>
                </a:cubicBezTo>
                <a:cubicBezTo>
                  <a:pt x="53" y="210"/>
                  <a:pt x="53" y="210"/>
                  <a:pt x="53" y="210"/>
                </a:cubicBezTo>
                <a:cubicBezTo>
                  <a:pt x="53" y="195"/>
                  <a:pt x="53" y="195"/>
                  <a:pt x="53" y="195"/>
                </a:cubicBezTo>
                <a:cubicBezTo>
                  <a:pt x="108" y="195"/>
                  <a:pt x="108" y="195"/>
                  <a:pt x="108" y="195"/>
                </a:cubicBezTo>
                <a:lnTo>
                  <a:pt x="108" y="141"/>
                </a:lnTo>
                <a:close/>
                <a:moveTo>
                  <a:pt x="198" y="141"/>
                </a:moveTo>
                <a:cubicBezTo>
                  <a:pt x="212" y="141"/>
                  <a:pt x="212" y="141"/>
                  <a:pt x="212" y="141"/>
                </a:cubicBezTo>
                <a:cubicBezTo>
                  <a:pt x="212" y="203"/>
                  <a:pt x="212" y="203"/>
                  <a:pt x="212" y="203"/>
                </a:cubicBezTo>
                <a:cubicBezTo>
                  <a:pt x="212" y="207"/>
                  <a:pt x="209" y="210"/>
                  <a:pt x="205" y="210"/>
                </a:cubicBezTo>
                <a:cubicBezTo>
                  <a:pt x="143" y="210"/>
                  <a:pt x="143" y="210"/>
                  <a:pt x="143" y="210"/>
                </a:cubicBezTo>
                <a:cubicBezTo>
                  <a:pt x="143" y="195"/>
                  <a:pt x="143" y="195"/>
                  <a:pt x="143" y="195"/>
                </a:cubicBezTo>
                <a:cubicBezTo>
                  <a:pt x="198" y="195"/>
                  <a:pt x="198" y="195"/>
                  <a:pt x="198" y="195"/>
                </a:cubicBezTo>
                <a:lnTo>
                  <a:pt x="198" y="141"/>
                </a:lnTo>
                <a:close/>
                <a:moveTo>
                  <a:pt x="287" y="141"/>
                </a:moveTo>
                <a:cubicBezTo>
                  <a:pt x="302" y="141"/>
                  <a:pt x="302" y="141"/>
                  <a:pt x="302" y="141"/>
                </a:cubicBezTo>
                <a:cubicBezTo>
                  <a:pt x="302" y="203"/>
                  <a:pt x="302" y="203"/>
                  <a:pt x="302" y="203"/>
                </a:cubicBezTo>
                <a:cubicBezTo>
                  <a:pt x="302" y="207"/>
                  <a:pt x="299" y="210"/>
                  <a:pt x="295" y="210"/>
                </a:cubicBezTo>
                <a:cubicBezTo>
                  <a:pt x="233" y="210"/>
                  <a:pt x="233" y="210"/>
                  <a:pt x="233" y="210"/>
                </a:cubicBezTo>
                <a:cubicBezTo>
                  <a:pt x="233" y="195"/>
                  <a:pt x="233" y="195"/>
                  <a:pt x="233" y="195"/>
                </a:cubicBezTo>
                <a:cubicBezTo>
                  <a:pt x="287" y="195"/>
                  <a:pt x="287" y="195"/>
                  <a:pt x="287" y="195"/>
                </a:cubicBezTo>
                <a:lnTo>
                  <a:pt x="287" y="141"/>
                </a:lnTo>
                <a:close/>
                <a:moveTo>
                  <a:pt x="108" y="314"/>
                </a:moveTo>
                <a:cubicBezTo>
                  <a:pt x="123" y="314"/>
                  <a:pt x="123" y="314"/>
                  <a:pt x="123" y="314"/>
                </a:cubicBezTo>
                <a:cubicBezTo>
                  <a:pt x="123" y="376"/>
                  <a:pt x="123" y="376"/>
                  <a:pt x="123" y="376"/>
                </a:cubicBezTo>
                <a:cubicBezTo>
                  <a:pt x="123" y="380"/>
                  <a:pt x="119" y="384"/>
                  <a:pt x="115" y="384"/>
                </a:cubicBezTo>
                <a:cubicBezTo>
                  <a:pt x="53" y="384"/>
                  <a:pt x="53" y="384"/>
                  <a:pt x="53" y="384"/>
                </a:cubicBezTo>
                <a:cubicBezTo>
                  <a:pt x="53" y="369"/>
                  <a:pt x="53" y="369"/>
                  <a:pt x="53" y="369"/>
                </a:cubicBezTo>
                <a:cubicBezTo>
                  <a:pt x="108" y="369"/>
                  <a:pt x="108" y="369"/>
                  <a:pt x="108" y="369"/>
                </a:cubicBezTo>
                <a:lnTo>
                  <a:pt x="108" y="314"/>
                </a:lnTo>
                <a:close/>
                <a:moveTo>
                  <a:pt x="198" y="314"/>
                </a:moveTo>
                <a:cubicBezTo>
                  <a:pt x="212" y="314"/>
                  <a:pt x="212" y="314"/>
                  <a:pt x="212" y="314"/>
                </a:cubicBezTo>
                <a:cubicBezTo>
                  <a:pt x="212" y="376"/>
                  <a:pt x="212" y="376"/>
                  <a:pt x="212" y="376"/>
                </a:cubicBezTo>
                <a:cubicBezTo>
                  <a:pt x="212" y="380"/>
                  <a:pt x="209" y="384"/>
                  <a:pt x="205" y="384"/>
                </a:cubicBezTo>
                <a:cubicBezTo>
                  <a:pt x="143" y="384"/>
                  <a:pt x="143" y="384"/>
                  <a:pt x="143" y="384"/>
                </a:cubicBezTo>
                <a:cubicBezTo>
                  <a:pt x="143" y="369"/>
                  <a:pt x="143" y="369"/>
                  <a:pt x="143" y="369"/>
                </a:cubicBezTo>
                <a:cubicBezTo>
                  <a:pt x="198" y="369"/>
                  <a:pt x="198" y="369"/>
                  <a:pt x="198" y="369"/>
                </a:cubicBezTo>
                <a:lnTo>
                  <a:pt x="198" y="314"/>
                </a:lnTo>
                <a:close/>
                <a:moveTo>
                  <a:pt x="287" y="314"/>
                </a:moveTo>
                <a:cubicBezTo>
                  <a:pt x="302" y="314"/>
                  <a:pt x="302" y="314"/>
                  <a:pt x="302" y="314"/>
                </a:cubicBezTo>
                <a:cubicBezTo>
                  <a:pt x="302" y="376"/>
                  <a:pt x="302" y="376"/>
                  <a:pt x="302" y="376"/>
                </a:cubicBezTo>
                <a:cubicBezTo>
                  <a:pt x="302" y="380"/>
                  <a:pt x="299" y="384"/>
                  <a:pt x="295" y="384"/>
                </a:cubicBezTo>
                <a:cubicBezTo>
                  <a:pt x="233" y="384"/>
                  <a:pt x="233" y="384"/>
                  <a:pt x="233" y="384"/>
                </a:cubicBezTo>
                <a:cubicBezTo>
                  <a:pt x="233" y="369"/>
                  <a:pt x="233" y="369"/>
                  <a:pt x="233" y="369"/>
                </a:cubicBezTo>
                <a:cubicBezTo>
                  <a:pt x="287" y="369"/>
                  <a:pt x="287" y="369"/>
                  <a:pt x="287" y="369"/>
                </a:cubicBezTo>
                <a:lnTo>
                  <a:pt x="287" y="314"/>
                </a:lnTo>
                <a:close/>
                <a:moveTo>
                  <a:pt x="108" y="227"/>
                </a:moveTo>
                <a:cubicBezTo>
                  <a:pt x="123" y="227"/>
                  <a:pt x="123" y="227"/>
                  <a:pt x="123" y="227"/>
                </a:cubicBezTo>
                <a:cubicBezTo>
                  <a:pt x="123" y="289"/>
                  <a:pt x="123" y="289"/>
                  <a:pt x="123" y="289"/>
                </a:cubicBezTo>
                <a:cubicBezTo>
                  <a:pt x="123" y="293"/>
                  <a:pt x="119" y="297"/>
                  <a:pt x="115" y="297"/>
                </a:cubicBezTo>
                <a:cubicBezTo>
                  <a:pt x="53" y="297"/>
                  <a:pt x="53" y="297"/>
                  <a:pt x="53" y="297"/>
                </a:cubicBezTo>
                <a:cubicBezTo>
                  <a:pt x="53" y="282"/>
                  <a:pt x="53" y="282"/>
                  <a:pt x="53" y="282"/>
                </a:cubicBezTo>
                <a:cubicBezTo>
                  <a:pt x="108" y="282"/>
                  <a:pt x="108" y="282"/>
                  <a:pt x="108" y="282"/>
                </a:cubicBezTo>
                <a:lnTo>
                  <a:pt x="108" y="227"/>
                </a:lnTo>
                <a:close/>
                <a:moveTo>
                  <a:pt x="198" y="227"/>
                </a:moveTo>
                <a:cubicBezTo>
                  <a:pt x="212" y="227"/>
                  <a:pt x="212" y="227"/>
                  <a:pt x="212" y="227"/>
                </a:cubicBezTo>
                <a:cubicBezTo>
                  <a:pt x="212" y="289"/>
                  <a:pt x="212" y="289"/>
                  <a:pt x="212" y="289"/>
                </a:cubicBezTo>
                <a:cubicBezTo>
                  <a:pt x="212" y="293"/>
                  <a:pt x="209" y="297"/>
                  <a:pt x="205" y="297"/>
                </a:cubicBezTo>
                <a:cubicBezTo>
                  <a:pt x="143" y="297"/>
                  <a:pt x="143" y="297"/>
                  <a:pt x="143" y="297"/>
                </a:cubicBezTo>
                <a:cubicBezTo>
                  <a:pt x="143" y="282"/>
                  <a:pt x="143" y="282"/>
                  <a:pt x="143" y="282"/>
                </a:cubicBezTo>
                <a:cubicBezTo>
                  <a:pt x="198" y="282"/>
                  <a:pt x="198" y="282"/>
                  <a:pt x="198" y="282"/>
                </a:cubicBezTo>
                <a:lnTo>
                  <a:pt x="198" y="227"/>
                </a:lnTo>
                <a:close/>
                <a:moveTo>
                  <a:pt x="287" y="227"/>
                </a:moveTo>
                <a:cubicBezTo>
                  <a:pt x="302" y="227"/>
                  <a:pt x="302" y="227"/>
                  <a:pt x="302" y="227"/>
                </a:cubicBezTo>
                <a:cubicBezTo>
                  <a:pt x="302" y="289"/>
                  <a:pt x="302" y="289"/>
                  <a:pt x="302" y="289"/>
                </a:cubicBezTo>
                <a:cubicBezTo>
                  <a:pt x="302" y="293"/>
                  <a:pt x="299" y="297"/>
                  <a:pt x="295" y="297"/>
                </a:cubicBezTo>
                <a:cubicBezTo>
                  <a:pt x="233" y="297"/>
                  <a:pt x="233" y="297"/>
                  <a:pt x="233" y="297"/>
                </a:cubicBezTo>
                <a:cubicBezTo>
                  <a:pt x="233" y="282"/>
                  <a:pt x="233" y="282"/>
                  <a:pt x="233" y="282"/>
                </a:cubicBezTo>
                <a:cubicBezTo>
                  <a:pt x="287" y="282"/>
                  <a:pt x="287" y="282"/>
                  <a:pt x="287" y="282"/>
                </a:cubicBezTo>
                <a:lnTo>
                  <a:pt x="287" y="227"/>
                </a:lnTo>
                <a:close/>
              </a:path>
            </a:pathLst>
          </a:custGeom>
          <a:solidFill>
            <a:srgbClr val="FFFFFF"/>
          </a:solidFill>
          <a:ln>
            <a:noFill/>
          </a:ln>
        </p:spPr>
        <p:txBody>
          <a:bodyPr vert="horz" wrap="square" lIns="68589" tIns="34295" rIns="68589" bIns="34295" numCol="1" anchor="t" anchorCtr="0" compatLnSpc="1">
            <a:prstTxWarp prst="textNoShape">
              <a:avLst/>
            </a:prstTxWarp>
          </a:bodyPr>
          <a:lstStyle/>
          <a:p>
            <a:endParaRPr lang="en-US"/>
          </a:p>
        </p:txBody>
      </p:sp>
      <p:grpSp>
        <p:nvGrpSpPr>
          <p:cNvPr id="22" name="Group 21"/>
          <p:cNvGrpSpPr/>
          <p:nvPr/>
        </p:nvGrpSpPr>
        <p:grpSpPr>
          <a:xfrm>
            <a:off x="284633" y="1600200"/>
            <a:ext cx="5830818" cy="1657350"/>
            <a:chOff x="379412" y="2133600"/>
            <a:chExt cx="7772400" cy="2209800"/>
          </a:xfrm>
        </p:grpSpPr>
        <p:sp>
          <p:nvSpPr>
            <p:cNvPr id="4" name="Yellow"/>
            <p:cNvSpPr/>
            <p:nvPr/>
          </p:nvSpPr>
          <p:spPr bwMode="auto">
            <a:xfrm>
              <a:off x="379412" y="2676215"/>
              <a:ext cx="1847088" cy="1645920"/>
            </a:xfrm>
            <a:prstGeom prst="roundRect">
              <a:avLst>
                <a:gd name="adj" fmla="val 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r>
                <a:rPr lang="en-US" sz="1700" dirty="0">
                  <a:solidFill>
                    <a:schemeClr val="tx1">
                      <a:alpha val="99000"/>
                    </a:schemeClr>
                  </a:solidFill>
                  <a:latin typeface="Segoe UI" pitchFamily="34" charset="0"/>
                  <a:ea typeface="Segoe UI" pitchFamily="34" charset="0"/>
                  <a:cs typeface="Segoe UI" pitchFamily="34" charset="0"/>
                </a:rPr>
                <a:t>Count &amp; </a:t>
              </a:r>
            </a:p>
            <a:p>
              <a:pPr algn="ctr" defTabSz="685666" fontAlgn="base">
                <a:spcBef>
                  <a:spcPct val="0"/>
                </a:spcBef>
                <a:spcAft>
                  <a:spcPct val="0"/>
                </a:spcAft>
              </a:pPr>
              <a:r>
                <a:rPr lang="en-US" sz="1700" dirty="0">
                  <a:solidFill>
                    <a:schemeClr val="tx1">
                      <a:alpha val="99000"/>
                    </a:schemeClr>
                  </a:solidFill>
                  <a:latin typeface="Segoe UI" pitchFamily="34" charset="0"/>
                  <a:ea typeface="Segoe UI" pitchFamily="34" charset="0"/>
                  <a:cs typeface="Segoe UI" pitchFamily="34" charset="0"/>
                </a:rPr>
                <a:t>Distinct Count</a:t>
              </a:r>
            </a:p>
          </p:txBody>
        </p:sp>
        <p:sp>
          <p:nvSpPr>
            <p:cNvPr id="7" name="Yellow"/>
            <p:cNvSpPr/>
            <p:nvPr/>
          </p:nvSpPr>
          <p:spPr bwMode="auto">
            <a:xfrm>
              <a:off x="2359024" y="2679759"/>
              <a:ext cx="1847088" cy="1645920"/>
            </a:xfrm>
            <a:prstGeom prst="roundRect">
              <a:avLst>
                <a:gd name="adj" fmla="val 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r>
                <a:rPr lang="en-US" sz="1700" dirty="0">
                  <a:solidFill>
                    <a:schemeClr val="tx1">
                      <a:alpha val="99000"/>
                    </a:schemeClr>
                  </a:solidFill>
                  <a:latin typeface="Segoe UI" pitchFamily="34" charset="0"/>
                  <a:ea typeface="Segoe UI" pitchFamily="34" charset="0"/>
                  <a:cs typeface="Segoe UI" pitchFamily="34" charset="0"/>
                </a:rPr>
                <a:t>Sum</a:t>
              </a:r>
            </a:p>
          </p:txBody>
        </p:sp>
        <p:sp>
          <p:nvSpPr>
            <p:cNvPr id="8" name="Yellow"/>
            <p:cNvSpPr/>
            <p:nvPr/>
          </p:nvSpPr>
          <p:spPr bwMode="auto">
            <a:xfrm>
              <a:off x="4341812" y="2697480"/>
              <a:ext cx="1847088" cy="1645920"/>
            </a:xfrm>
            <a:prstGeom prst="roundRect">
              <a:avLst>
                <a:gd name="adj" fmla="val 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r>
                <a:rPr lang="en-US" sz="1700" dirty="0">
                  <a:solidFill>
                    <a:schemeClr val="tx1">
                      <a:alpha val="99000"/>
                    </a:schemeClr>
                  </a:solidFill>
                  <a:latin typeface="Segoe UI" pitchFamily="34" charset="0"/>
                  <a:ea typeface="Segoe UI" pitchFamily="34" charset="0"/>
                  <a:cs typeface="Segoe UI" pitchFamily="34" charset="0"/>
                </a:rPr>
                <a:t>Min &amp; Max</a:t>
              </a:r>
            </a:p>
          </p:txBody>
        </p:sp>
        <p:sp>
          <p:nvSpPr>
            <p:cNvPr id="10" name="Yellow"/>
            <p:cNvSpPr/>
            <p:nvPr/>
          </p:nvSpPr>
          <p:spPr bwMode="auto">
            <a:xfrm>
              <a:off x="6304724" y="2701024"/>
              <a:ext cx="1847088" cy="1637060"/>
            </a:xfrm>
            <a:prstGeom prst="roundRect">
              <a:avLst>
                <a:gd name="adj" fmla="val 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r>
                <a:rPr lang="en-US" sz="1700" dirty="0">
                  <a:solidFill>
                    <a:schemeClr val="tx1">
                      <a:alpha val="99000"/>
                    </a:schemeClr>
                  </a:solidFill>
                  <a:latin typeface="Segoe UI" pitchFamily="34" charset="0"/>
                  <a:ea typeface="Segoe UI" pitchFamily="34" charset="0"/>
                  <a:cs typeface="Segoe UI" pitchFamily="34" charset="0"/>
                </a:rPr>
                <a:t>Average</a:t>
              </a:r>
              <a:endParaRPr lang="en-US" sz="1700" dirty="0">
                <a:solidFill>
                  <a:schemeClr val="tx1">
                    <a:alpha val="99000"/>
                  </a:schemeClr>
                </a:solidFill>
                <a:latin typeface="Segoe UI" pitchFamily="34" charset="0"/>
                <a:ea typeface="Segoe UI" pitchFamily="34" charset="0"/>
                <a:cs typeface="Segoe UI" pitchFamily="34" charset="0"/>
              </a:endParaRPr>
            </a:p>
          </p:txBody>
        </p:sp>
        <p:sp>
          <p:nvSpPr>
            <p:cNvPr id="3" name="Rectangle 2"/>
            <p:cNvSpPr/>
            <p:nvPr/>
          </p:nvSpPr>
          <p:spPr bwMode="auto">
            <a:xfrm>
              <a:off x="398153" y="2133600"/>
              <a:ext cx="7753659" cy="44568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r>
                <a:rPr lang="en-US" sz="1700" dirty="0">
                  <a:solidFill>
                    <a:schemeClr val="tx1">
                      <a:alpha val="99000"/>
                    </a:schemeClr>
                  </a:solidFill>
                  <a:latin typeface="Segoe UI" pitchFamily="34" charset="0"/>
                  <a:ea typeface="Segoe UI" pitchFamily="34" charset="0"/>
                  <a:cs typeface="Segoe UI" pitchFamily="34" charset="0"/>
                </a:rPr>
                <a:t>Included </a:t>
              </a:r>
              <a:r>
                <a:rPr lang="en-US" sz="1700" dirty="0">
                  <a:solidFill>
                    <a:schemeClr val="tx1">
                      <a:alpha val="99000"/>
                    </a:schemeClr>
                  </a:solidFill>
                  <a:latin typeface="Segoe UI" pitchFamily="34" charset="0"/>
                  <a:ea typeface="Segoe UI" pitchFamily="34" charset="0"/>
                  <a:cs typeface="Segoe UI" pitchFamily="34" charset="0"/>
                </a:rPr>
                <a:t>in Power View by Default</a:t>
              </a:r>
              <a:endParaRPr lang="en-US" sz="1700" dirty="0">
                <a:solidFill>
                  <a:schemeClr val="tx1">
                    <a:alpha val="99000"/>
                  </a:schemeClr>
                </a:solidFill>
                <a:latin typeface="Segoe UI" pitchFamily="34" charset="0"/>
                <a:ea typeface="Segoe UI" pitchFamily="34" charset="0"/>
                <a:cs typeface="Segoe UI" pitchFamily="34" charset="0"/>
              </a:endParaRPr>
            </a:p>
          </p:txBody>
        </p:sp>
      </p:grpSp>
      <p:grpSp>
        <p:nvGrpSpPr>
          <p:cNvPr id="21" name="Group 20"/>
          <p:cNvGrpSpPr/>
          <p:nvPr/>
        </p:nvGrpSpPr>
        <p:grpSpPr>
          <a:xfrm>
            <a:off x="292748" y="1612162"/>
            <a:ext cx="8781218" cy="3359888"/>
            <a:chOff x="390229" y="2149549"/>
            <a:chExt cx="11705242" cy="4479851"/>
          </a:xfrm>
        </p:grpSpPr>
        <p:sp>
          <p:nvSpPr>
            <p:cNvPr id="11" name="Yellow"/>
            <p:cNvSpPr/>
            <p:nvPr/>
          </p:nvSpPr>
          <p:spPr bwMode="auto">
            <a:xfrm>
              <a:off x="8237382" y="2706340"/>
              <a:ext cx="1895630" cy="1637060"/>
            </a:xfrm>
            <a:prstGeom prst="roundRect">
              <a:avLst>
                <a:gd name="adj" fmla="val 0"/>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514318" fontAlgn="base">
                <a:spcBef>
                  <a:spcPct val="0"/>
                </a:spcBef>
                <a:spcAft>
                  <a:spcPct val="0"/>
                </a:spcAft>
              </a:pPr>
              <a:r>
                <a:rPr lang="en-US" sz="1700" dirty="0">
                  <a:solidFill>
                    <a:srgbClr val="FFFFFF"/>
                  </a:solidFill>
                  <a:ea typeface="Segoe UI" pitchFamily="34" charset="0"/>
                  <a:cs typeface="Segoe UI" pitchFamily="34" charset="0"/>
                </a:rPr>
                <a:t>Addition and Subtraction</a:t>
              </a:r>
              <a:endParaRPr lang="en-US" sz="1700" dirty="0">
                <a:solidFill>
                  <a:srgbClr val="FFFFFF"/>
                </a:solidFill>
                <a:ea typeface="Segoe UI" pitchFamily="34" charset="0"/>
                <a:cs typeface="Segoe UI" pitchFamily="34" charset="0"/>
              </a:endParaRPr>
            </a:p>
          </p:txBody>
        </p:sp>
        <p:sp>
          <p:nvSpPr>
            <p:cNvPr id="12" name="Yellow"/>
            <p:cNvSpPr/>
            <p:nvPr/>
          </p:nvSpPr>
          <p:spPr bwMode="auto">
            <a:xfrm>
              <a:off x="10248383" y="2700137"/>
              <a:ext cx="1847088" cy="1637060"/>
            </a:xfrm>
            <a:prstGeom prst="roundRect">
              <a:avLst>
                <a:gd name="adj" fmla="val 0"/>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514318" fontAlgn="base">
                <a:spcBef>
                  <a:spcPct val="0"/>
                </a:spcBef>
                <a:spcAft>
                  <a:spcPct val="0"/>
                </a:spcAft>
              </a:pPr>
              <a:r>
                <a:rPr lang="en-US" sz="1700" dirty="0">
                  <a:solidFill>
                    <a:srgbClr val="FFFFFF"/>
                  </a:solidFill>
                  <a:ea typeface="Segoe UI" pitchFamily="34" charset="0"/>
                  <a:cs typeface="Segoe UI" pitchFamily="34" charset="0"/>
                </a:rPr>
                <a:t>Ratios</a:t>
              </a:r>
              <a:endParaRPr lang="en-US" sz="1700" dirty="0">
                <a:solidFill>
                  <a:srgbClr val="FFFFFF"/>
                </a:solidFill>
                <a:ea typeface="Segoe UI" pitchFamily="34" charset="0"/>
                <a:cs typeface="Segoe UI" pitchFamily="34" charset="0"/>
              </a:endParaRPr>
            </a:p>
          </p:txBody>
        </p:sp>
        <p:sp>
          <p:nvSpPr>
            <p:cNvPr id="13" name="Yellow"/>
            <p:cNvSpPr/>
            <p:nvPr/>
          </p:nvSpPr>
          <p:spPr bwMode="auto">
            <a:xfrm>
              <a:off x="398153" y="4962215"/>
              <a:ext cx="1847088" cy="1645920"/>
            </a:xfrm>
            <a:prstGeom prst="roundRect">
              <a:avLst>
                <a:gd name="adj" fmla="val 0"/>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514318" fontAlgn="base">
                <a:spcBef>
                  <a:spcPct val="0"/>
                </a:spcBef>
                <a:spcAft>
                  <a:spcPct val="0"/>
                </a:spcAft>
              </a:pPr>
              <a:r>
                <a:rPr lang="en-US" sz="1700" dirty="0">
                  <a:solidFill>
                    <a:srgbClr val="FFFFFF"/>
                  </a:solidFill>
                  <a:ea typeface="Segoe UI" pitchFamily="34" charset="0"/>
                  <a:cs typeface="Segoe UI" pitchFamily="34" charset="0"/>
                </a:rPr>
                <a:t>Time Intelligence</a:t>
              </a:r>
              <a:endParaRPr lang="en-US" sz="1700" dirty="0">
                <a:solidFill>
                  <a:srgbClr val="FFFFFF"/>
                </a:solidFill>
                <a:ea typeface="Segoe UI" pitchFamily="34" charset="0"/>
                <a:cs typeface="Segoe UI" pitchFamily="34" charset="0"/>
              </a:endParaRPr>
            </a:p>
          </p:txBody>
        </p:sp>
        <p:sp>
          <p:nvSpPr>
            <p:cNvPr id="14" name="Yellow"/>
            <p:cNvSpPr/>
            <p:nvPr/>
          </p:nvSpPr>
          <p:spPr bwMode="auto">
            <a:xfrm>
              <a:off x="2377765" y="4962215"/>
              <a:ext cx="1847088" cy="1667185"/>
            </a:xfrm>
            <a:prstGeom prst="roundRect">
              <a:avLst>
                <a:gd name="adj" fmla="val 0"/>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514318" fontAlgn="base">
                <a:spcBef>
                  <a:spcPct val="0"/>
                </a:spcBef>
                <a:spcAft>
                  <a:spcPct val="0"/>
                </a:spcAft>
              </a:pPr>
              <a:r>
                <a:rPr lang="en-US" sz="1700" dirty="0">
                  <a:solidFill>
                    <a:srgbClr val="FFFFFF"/>
                  </a:solidFill>
                  <a:ea typeface="Segoe UI" pitchFamily="34" charset="0"/>
                  <a:cs typeface="Segoe UI" pitchFamily="34" charset="0"/>
                </a:rPr>
                <a:t>Rank</a:t>
              </a:r>
              <a:endParaRPr lang="en-US" sz="1700" dirty="0">
                <a:solidFill>
                  <a:srgbClr val="FFFFFF"/>
                </a:solidFill>
                <a:ea typeface="Segoe UI" pitchFamily="34" charset="0"/>
                <a:cs typeface="Segoe UI" pitchFamily="34" charset="0"/>
              </a:endParaRPr>
            </a:p>
          </p:txBody>
        </p:sp>
        <p:sp>
          <p:nvSpPr>
            <p:cNvPr id="15" name="Yellow"/>
            <p:cNvSpPr/>
            <p:nvPr/>
          </p:nvSpPr>
          <p:spPr bwMode="auto">
            <a:xfrm>
              <a:off x="4360553" y="4983480"/>
              <a:ext cx="1847088" cy="1645920"/>
            </a:xfrm>
            <a:prstGeom prst="roundRect">
              <a:avLst>
                <a:gd name="adj" fmla="val 0"/>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514318" fontAlgn="base">
                <a:spcBef>
                  <a:spcPct val="0"/>
                </a:spcBef>
                <a:spcAft>
                  <a:spcPct val="0"/>
                </a:spcAft>
              </a:pPr>
              <a:r>
                <a:rPr lang="en-US" sz="1700" dirty="0">
                  <a:solidFill>
                    <a:srgbClr val="FFFFFF"/>
                  </a:solidFill>
                  <a:ea typeface="Segoe UI" pitchFamily="34" charset="0"/>
                  <a:cs typeface="Segoe UI" pitchFamily="34" charset="0"/>
                </a:rPr>
                <a:t>Inventory Calculations</a:t>
              </a:r>
              <a:endParaRPr lang="en-US" sz="1700" dirty="0">
                <a:solidFill>
                  <a:srgbClr val="FFFFFF"/>
                </a:solidFill>
                <a:ea typeface="Segoe UI" pitchFamily="34" charset="0"/>
                <a:cs typeface="Segoe UI" pitchFamily="34" charset="0"/>
              </a:endParaRPr>
            </a:p>
          </p:txBody>
        </p:sp>
        <p:sp>
          <p:nvSpPr>
            <p:cNvPr id="16" name="Yellow"/>
            <p:cNvSpPr/>
            <p:nvPr/>
          </p:nvSpPr>
          <p:spPr bwMode="auto">
            <a:xfrm>
              <a:off x="6323465" y="4987024"/>
              <a:ext cx="1847088" cy="1637060"/>
            </a:xfrm>
            <a:prstGeom prst="roundRect">
              <a:avLst>
                <a:gd name="adj" fmla="val 0"/>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514318" fontAlgn="base">
                <a:spcBef>
                  <a:spcPct val="0"/>
                </a:spcBef>
                <a:spcAft>
                  <a:spcPct val="0"/>
                </a:spcAft>
              </a:pPr>
              <a:r>
                <a:rPr lang="en-US" sz="1700" dirty="0">
                  <a:solidFill>
                    <a:srgbClr val="FFFFFF"/>
                  </a:solidFill>
                  <a:ea typeface="Segoe UI" pitchFamily="34" charset="0"/>
                  <a:cs typeface="Segoe UI" pitchFamily="34" charset="0"/>
                </a:rPr>
                <a:t>Standard Deviation &amp; Variance</a:t>
              </a:r>
              <a:endParaRPr lang="en-US" sz="1700" dirty="0">
                <a:solidFill>
                  <a:srgbClr val="FFFFFF"/>
                </a:solidFill>
                <a:ea typeface="Segoe UI" pitchFamily="34" charset="0"/>
                <a:cs typeface="Segoe UI" pitchFamily="34" charset="0"/>
              </a:endParaRPr>
            </a:p>
          </p:txBody>
        </p:sp>
        <p:sp>
          <p:nvSpPr>
            <p:cNvPr id="17" name="Yellow"/>
            <p:cNvSpPr/>
            <p:nvPr/>
          </p:nvSpPr>
          <p:spPr bwMode="auto">
            <a:xfrm>
              <a:off x="8237382" y="4987910"/>
              <a:ext cx="1914371" cy="1637060"/>
            </a:xfrm>
            <a:prstGeom prst="roundRect">
              <a:avLst>
                <a:gd name="adj" fmla="val 0"/>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514318" fontAlgn="base">
                <a:spcBef>
                  <a:spcPct val="0"/>
                </a:spcBef>
                <a:spcAft>
                  <a:spcPct val="0"/>
                </a:spcAft>
              </a:pPr>
              <a:r>
                <a:rPr lang="en-US" sz="1700" dirty="0">
                  <a:solidFill>
                    <a:srgbClr val="FFFFFF"/>
                  </a:solidFill>
                  <a:ea typeface="Segoe UI" pitchFamily="34" charset="0"/>
                  <a:cs typeface="Segoe UI" pitchFamily="34" charset="0"/>
                </a:rPr>
                <a:t>Text </a:t>
              </a:r>
            </a:p>
            <a:p>
              <a:pPr algn="ctr" defTabSz="514318" fontAlgn="base">
                <a:spcBef>
                  <a:spcPct val="0"/>
                </a:spcBef>
                <a:spcAft>
                  <a:spcPct val="0"/>
                </a:spcAft>
              </a:pPr>
              <a:r>
                <a:rPr lang="en-US" sz="1700" dirty="0">
                  <a:solidFill>
                    <a:srgbClr val="FFFFFF"/>
                  </a:solidFill>
                  <a:ea typeface="Segoe UI" pitchFamily="34" charset="0"/>
                  <a:cs typeface="Segoe UI" pitchFamily="34" charset="0"/>
                </a:rPr>
                <a:t>Functions</a:t>
              </a:r>
              <a:endParaRPr lang="en-US" sz="1700" dirty="0">
                <a:solidFill>
                  <a:srgbClr val="FFFFFF"/>
                </a:solidFill>
                <a:ea typeface="Segoe UI" pitchFamily="34" charset="0"/>
                <a:cs typeface="Segoe UI" pitchFamily="34" charset="0"/>
              </a:endParaRPr>
            </a:p>
          </p:txBody>
        </p:sp>
        <p:sp>
          <p:nvSpPr>
            <p:cNvPr id="18" name="Yellow"/>
            <p:cNvSpPr/>
            <p:nvPr/>
          </p:nvSpPr>
          <p:spPr bwMode="auto">
            <a:xfrm>
              <a:off x="10245023" y="4992340"/>
              <a:ext cx="1847088" cy="1637060"/>
            </a:xfrm>
            <a:prstGeom prst="roundRect">
              <a:avLst>
                <a:gd name="adj" fmla="val 0"/>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514318" fontAlgn="base">
                <a:spcBef>
                  <a:spcPct val="0"/>
                </a:spcBef>
                <a:spcAft>
                  <a:spcPct val="0"/>
                </a:spcAft>
              </a:pPr>
              <a:r>
                <a:rPr lang="en-US" sz="1700" dirty="0">
                  <a:solidFill>
                    <a:srgbClr val="FFFFFF"/>
                  </a:solidFill>
                  <a:ea typeface="Segoe UI" pitchFamily="34" charset="0"/>
                  <a:cs typeface="Segoe UI" pitchFamily="34" charset="0"/>
                </a:rPr>
                <a:t>Define Your Own Context</a:t>
              </a:r>
            </a:p>
          </p:txBody>
        </p:sp>
        <p:sp>
          <p:nvSpPr>
            <p:cNvPr id="19" name="Rectangle 18"/>
            <p:cNvSpPr/>
            <p:nvPr/>
          </p:nvSpPr>
          <p:spPr bwMode="auto">
            <a:xfrm>
              <a:off x="8237382" y="2149549"/>
              <a:ext cx="3858089" cy="44568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514318" fontAlgn="base">
                <a:spcBef>
                  <a:spcPct val="0"/>
                </a:spcBef>
                <a:spcAft>
                  <a:spcPct val="0"/>
                </a:spcAft>
              </a:pPr>
              <a:r>
                <a:rPr lang="en-US" sz="1700" dirty="0">
                  <a:solidFill>
                    <a:srgbClr val="FFFFFF"/>
                  </a:solidFill>
                  <a:ea typeface="Segoe UI" pitchFamily="34" charset="0"/>
                  <a:cs typeface="Segoe UI" pitchFamily="34" charset="0"/>
                </a:rPr>
                <a:t>Power View with DAX</a:t>
              </a:r>
              <a:endParaRPr lang="en-US" sz="1700" dirty="0">
                <a:solidFill>
                  <a:srgbClr val="FFFFFF"/>
                </a:solidFill>
                <a:ea typeface="Segoe UI" pitchFamily="34" charset="0"/>
                <a:cs typeface="Segoe UI" pitchFamily="34" charset="0"/>
              </a:endParaRPr>
            </a:p>
          </p:txBody>
        </p:sp>
        <p:sp>
          <p:nvSpPr>
            <p:cNvPr id="20" name="Rectangle 19"/>
            <p:cNvSpPr/>
            <p:nvPr/>
          </p:nvSpPr>
          <p:spPr bwMode="auto">
            <a:xfrm>
              <a:off x="390229" y="4431119"/>
              <a:ext cx="11705242" cy="44568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514318" fontAlgn="base">
                <a:spcBef>
                  <a:spcPct val="0"/>
                </a:spcBef>
                <a:spcAft>
                  <a:spcPct val="0"/>
                </a:spcAft>
              </a:pPr>
              <a:r>
                <a:rPr lang="en-US" sz="1700" dirty="0">
                  <a:solidFill>
                    <a:srgbClr val="FFFFFF"/>
                  </a:solidFill>
                  <a:ea typeface="Segoe UI" pitchFamily="34" charset="0"/>
                  <a:cs typeface="Segoe UI" pitchFamily="34" charset="0"/>
                </a:rPr>
                <a:t>Power View with DAX</a:t>
              </a:r>
              <a:endParaRPr lang="en-US" sz="1700" dirty="0">
                <a:solidFill>
                  <a:srgbClr val="FFFFFF"/>
                </a:solidFill>
                <a:ea typeface="Segoe UI" pitchFamily="34" charset="0"/>
                <a:cs typeface="Segoe UI" pitchFamily="34" charset="0"/>
              </a:endParaRPr>
            </a:p>
          </p:txBody>
        </p:sp>
      </p:grpSp>
      <p:sp>
        <p:nvSpPr>
          <p:cNvPr id="23"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4"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
              </a:rPr>
              <a:t>www.rapidbbs.cn</a:t>
            </a:r>
            <a:endParaRPr lang="zh-CN" altLang="en-US" sz="1200" b="0">
              <a:latin typeface="Arial" charset="0"/>
              <a:ea typeface="ＭＳ Ｐゴシック" pitchFamily="34" charset="-128"/>
            </a:endParaRPr>
          </a:p>
        </p:txBody>
      </p:sp>
      <p:pic>
        <p:nvPicPr>
          <p:cNvPr id="25" name="Picture 2">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583421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21"/>
                                        </p:tgtEl>
                                        <p:attrNameLst>
                                          <p:attrName>style.visibility</p:attrName>
                                        </p:attrNameLst>
                                      </p:cBhvr>
                                      <p:to>
                                        <p:strVal val="visible"/>
                                      </p:to>
                                    </p:set>
                                    <p:anim calcmode="lin" valueType="num">
                                      <p:cBhvr additive="base">
                                        <p:cTn id="12" dur="500" fill="hold"/>
                                        <p:tgtEl>
                                          <p:spTgt spid="21"/>
                                        </p:tgtEl>
                                        <p:attrNameLst>
                                          <p:attrName>ppt_x</p:attrName>
                                        </p:attrNameLst>
                                      </p:cBhvr>
                                      <p:tavLst>
                                        <p:tav tm="0">
                                          <p:val>
                                            <p:strVal val="#ppt_x"/>
                                          </p:val>
                                        </p:tav>
                                        <p:tav tm="100000">
                                          <p:val>
                                            <p:strVal val="#ppt_x"/>
                                          </p:val>
                                        </p:tav>
                                      </p:tavLst>
                                    </p:anim>
                                    <p:anim calcmode="lin" valueType="num">
                                      <p:cBhvr additive="base">
                                        <p:cTn id="13"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4633" y="131716"/>
            <a:ext cx="8363938" cy="457049"/>
          </a:xfrm>
        </p:spPr>
        <p:txBody>
          <a:bodyPr>
            <a:normAutofit/>
          </a:bodyPr>
          <a:lstStyle/>
          <a:p>
            <a:r>
              <a:rPr lang="en-US" dirty="0" smtClean="0"/>
              <a:t>DAC </a:t>
            </a:r>
            <a:r>
              <a:rPr lang="en-US" dirty="0"/>
              <a:t>Evolution</a:t>
            </a:r>
          </a:p>
        </p:txBody>
      </p:sp>
      <p:sp>
        <p:nvSpPr>
          <p:cNvPr id="4" name="Title 3"/>
          <p:cNvSpPr>
            <a:spLocks noGrp="1"/>
          </p:cNvSpPr>
          <p:nvPr/>
        </p:nvSpPr>
        <p:spPr>
          <a:xfrm>
            <a:off x="1485096" y="160139"/>
            <a:ext cx="6173808" cy="857250"/>
          </a:xfrm>
          <a:prstGeom prst="rect">
            <a:avLst/>
          </a:prstGeom>
        </p:spPr>
        <p:txBody>
          <a:bodyPr vert="horz" lIns="68589" tIns="34295" rIns="68589" bIns="34295"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endParaRPr lang="en-US" dirty="0"/>
          </a:p>
        </p:txBody>
      </p:sp>
      <p:sp>
        <p:nvSpPr>
          <p:cNvPr id="38" name="Bent-Up Arrow 37"/>
          <p:cNvSpPr/>
          <p:nvPr/>
        </p:nvSpPr>
        <p:spPr bwMode="auto">
          <a:xfrm rot="10800000" flipH="1">
            <a:off x="513293" y="742951"/>
            <a:ext cx="7488600" cy="868562"/>
          </a:xfrm>
          <a:prstGeom prst="bentUpArrow">
            <a:avLst/>
          </a:prstGeom>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6" tIns="34293" rIns="68586" bIns="34293" numCol="1" rtlCol="0" anchor="ctr" anchorCtr="0" compatLnSpc="1">
            <a:prstTxWarp prst="textNoShape">
              <a:avLst/>
            </a:prstTxWarp>
            <a:scene3d>
              <a:camera prst="orthographicFront"/>
              <a:lightRig rig="brightRoom" dir="t"/>
            </a:scene3d>
            <a:sp3d contourW="6350" prstMaterial="plastic">
              <a:bevelT w="20320" h="20320" prst="angle"/>
              <a:contourClr>
                <a:schemeClr val="accent1">
                  <a:tint val="100000"/>
                  <a:shade val="100000"/>
                  <a:hueMod val="100000"/>
                  <a:satMod val="100000"/>
                </a:schemeClr>
              </a:contourClr>
            </a:sp3d>
          </a:bodyPr>
          <a:lstStyle/>
          <a:p>
            <a:pPr algn="ctr" defTabSz="685666" fontAlgn="base">
              <a:spcBef>
                <a:spcPct val="0"/>
              </a:spcBef>
              <a:spcAft>
                <a:spcPct val="0"/>
              </a:spcAft>
            </a:pPr>
            <a:endParaRPr lang="en-US" sz="1500" cap="all" dirty="0">
              <a:ln/>
              <a:solidFill>
                <a:schemeClr val="accent1"/>
              </a:solidFill>
              <a:effectLst>
                <a:outerShdw blurRad="19685" dist="12700" dir="5400000" algn="tl" rotWithShape="0">
                  <a:schemeClr val="accent1">
                    <a:satMod val="130000"/>
                    <a:alpha val="60000"/>
                  </a:schemeClr>
                </a:outerShdw>
                <a:reflection blurRad="10000" stA="55000" endPos="48000" dist="500" dir="5400000" sy="-100000" algn="bl" rotWithShape="0"/>
              </a:effectLst>
            </a:endParaRPr>
          </a:p>
        </p:txBody>
      </p:sp>
      <p:sp>
        <p:nvSpPr>
          <p:cNvPr id="39" name="Bent-Up Arrow 38"/>
          <p:cNvSpPr/>
          <p:nvPr/>
        </p:nvSpPr>
        <p:spPr bwMode="auto">
          <a:xfrm rot="10800000" flipH="1" flipV="1">
            <a:off x="513293" y="3760588"/>
            <a:ext cx="7488600" cy="868562"/>
          </a:xfrm>
          <a:prstGeom prst="bentUpArrow">
            <a:avLst/>
          </a:prstGeom>
          <a:ln>
            <a:solidFill>
              <a:schemeClr val="accent5"/>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68586" tIns="34293" rIns="68586" bIns="34293" numCol="1" rtlCol="0" anchor="ctr" anchorCtr="0" compatLnSpc="1">
            <a:prstTxWarp prst="textNoShape">
              <a:avLst/>
            </a:prstTxWarp>
            <a:scene3d>
              <a:camera prst="orthographicFront"/>
              <a:lightRig rig="brightRoom" dir="t"/>
            </a:scene3d>
            <a:sp3d contourW="6350" prstMaterial="plastic">
              <a:bevelT w="20320" h="20320" prst="angle"/>
              <a:contourClr>
                <a:schemeClr val="accent1">
                  <a:tint val="100000"/>
                  <a:shade val="100000"/>
                  <a:hueMod val="100000"/>
                  <a:satMod val="100000"/>
                </a:schemeClr>
              </a:contourClr>
            </a:sp3d>
          </a:bodyPr>
          <a:lstStyle/>
          <a:p>
            <a:pPr algn="ctr" defTabSz="685666" fontAlgn="base">
              <a:spcBef>
                <a:spcPct val="0"/>
              </a:spcBef>
              <a:spcAft>
                <a:spcPct val="0"/>
              </a:spcAft>
            </a:pPr>
            <a:endParaRPr lang="en-US" sz="1500" cap="all" dirty="0">
              <a:ln/>
              <a:solidFill>
                <a:schemeClr val="accent1"/>
              </a:solidFill>
              <a:effectLst>
                <a:outerShdw blurRad="19685" dist="12700" dir="5400000" algn="tl" rotWithShape="0">
                  <a:schemeClr val="accent1">
                    <a:satMod val="130000"/>
                    <a:alpha val="60000"/>
                  </a:schemeClr>
                </a:outerShdw>
                <a:reflection blurRad="10000" stA="55000" endPos="48000" dist="500" dir="5400000" sy="-100000" algn="bl" rotWithShape="0"/>
              </a:effectLst>
            </a:endParaRPr>
          </a:p>
        </p:txBody>
      </p:sp>
      <p:cxnSp>
        <p:nvCxnSpPr>
          <p:cNvPr id="40" name="Straight Connector 39"/>
          <p:cNvCxnSpPr/>
          <p:nvPr/>
        </p:nvCxnSpPr>
        <p:spPr>
          <a:xfrm>
            <a:off x="1142106" y="1000127"/>
            <a:ext cx="0" cy="28575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290869" y="1296912"/>
            <a:ext cx="1702474" cy="923330"/>
          </a:xfrm>
          <a:prstGeom prst="rect">
            <a:avLst/>
          </a:prstGeom>
          <a:noFill/>
        </p:spPr>
        <p:txBody>
          <a:bodyPr wrap="square" lIns="0" tIns="0" rIns="0" bIns="0" rtlCol="0">
            <a:spAutoFit/>
          </a:bodyPr>
          <a:lstStyle/>
          <a:p>
            <a:pPr algn="ctr"/>
            <a:r>
              <a:rPr lang="en-US" sz="1500" dirty="0">
                <a:gradFill>
                  <a:gsLst>
                    <a:gs pos="0">
                      <a:schemeClr val="tx1"/>
                    </a:gs>
                    <a:gs pos="86000">
                      <a:schemeClr val="tx1"/>
                    </a:gs>
                  </a:gsLst>
                  <a:lin ang="5400000" scaled="0"/>
                </a:gradFill>
              </a:rPr>
              <a:t>.</a:t>
            </a:r>
            <a:r>
              <a:rPr lang="en-US" sz="1500" dirty="0" err="1">
                <a:gradFill>
                  <a:gsLst>
                    <a:gs pos="0">
                      <a:schemeClr val="tx1"/>
                    </a:gs>
                    <a:gs pos="86000">
                      <a:schemeClr val="tx1"/>
                    </a:gs>
                  </a:gsLst>
                  <a:lin ang="5400000" scaled="0"/>
                </a:gradFill>
              </a:rPr>
              <a:t>dbschema</a:t>
            </a:r>
            <a:r>
              <a:rPr lang="en-US" sz="1500" dirty="0">
                <a:gradFill>
                  <a:gsLst>
                    <a:gs pos="0">
                      <a:schemeClr val="tx1"/>
                    </a:gs>
                    <a:gs pos="86000">
                      <a:schemeClr val="tx1"/>
                    </a:gs>
                  </a:gsLst>
                  <a:lin ang="5400000" scaled="0"/>
                </a:gradFill>
              </a:rPr>
              <a:t>  v1.1</a:t>
            </a:r>
          </a:p>
          <a:p>
            <a:pPr algn="ctr"/>
            <a:r>
              <a:rPr lang="en-US" sz="1500" dirty="0">
                <a:gradFill>
                  <a:gsLst>
                    <a:gs pos="0">
                      <a:schemeClr val="tx1"/>
                    </a:gs>
                    <a:gs pos="86000">
                      <a:schemeClr val="tx1"/>
                    </a:gs>
                  </a:gsLst>
                  <a:lin ang="5400000" scaled="0"/>
                </a:gradFill>
              </a:rPr>
              <a:t>Visual Studio 2008 Database Edition GDR</a:t>
            </a:r>
          </a:p>
        </p:txBody>
      </p:sp>
      <p:cxnSp>
        <p:nvCxnSpPr>
          <p:cNvPr id="44" name="Straight Connector 43"/>
          <p:cNvCxnSpPr/>
          <p:nvPr/>
        </p:nvCxnSpPr>
        <p:spPr>
          <a:xfrm>
            <a:off x="3094606" y="974805"/>
            <a:ext cx="0" cy="28575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45" name="TextBox 44"/>
          <p:cNvSpPr txBox="1"/>
          <p:nvPr/>
        </p:nvSpPr>
        <p:spPr>
          <a:xfrm>
            <a:off x="2243369" y="1271590"/>
            <a:ext cx="1702474" cy="692498"/>
          </a:xfrm>
          <a:prstGeom prst="rect">
            <a:avLst/>
          </a:prstGeom>
          <a:noFill/>
        </p:spPr>
        <p:txBody>
          <a:bodyPr wrap="square" lIns="0" tIns="0" rIns="0" bIns="0" rtlCol="0">
            <a:spAutoFit/>
          </a:bodyPr>
          <a:lstStyle/>
          <a:p>
            <a:pPr algn="ctr"/>
            <a:r>
              <a:rPr lang="en-US" sz="1500" dirty="0">
                <a:gradFill>
                  <a:gsLst>
                    <a:gs pos="0">
                      <a:schemeClr val="tx1"/>
                    </a:gs>
                    <a:gs pos="86000">
                      <a:schemeClr val="tx1"/>
                    </a:gs>
                  </a:gsLst>
                  <a:lin ang="5400000" scaled="0"/>
                </a:gradFill>
              </a:rPr>
              <a:t>.</a:t>
            </a:r>
            <a:r>
              <a:rPr lang="en-US" sz="1500" dirty="0" err="1">
                <a:gradFill>
                  <a:gsLst>
                    <a:gs pos="0">
                      <a:schemeClr val="tx1"/>
                    </a:gs>
                    <a:gs pos="86000">
                      <a:schemeClr val="tx1"/>
                    </a:gs>
                  </a:gsLst>
                  <a:lin ang="5400000" scaled="0"/>
                </a:gradFill>
              </a:rPr>
              <a:t>dbschema</a:t>
            </a:r>
            <a:r>
              <a:rPr lang="en-US" sz="1500" dirty="0">
                <a:gradFill>
                  <a:gsLst>
                    <a:gs pos="0">
                      <a:schemeClr val="tx1"/>
                    </a:gs>
                    <a:gs pos="86000">
                      <a:schemeClr val="tx1"/>
                    </a:gs>
                  </a:gsLst>
                  <a:lin ang="5400000" scaled="0"/>
                </a:gradFill>
              </a:rPr>
              <a:t>  v1.2</a:t>
            </a:r>
          </a:p>
          <a:p>
            <a:pPr algn="ctr"/>
            <a:r>
              <a:rPr lang="en-US" sz="1500" dirty="0">
                <a:gradFill>
                  <a:gsLst>
                    <a:gs pos="0">
                      <a:schemeClr val="tx1"/>
                    </a:gs>
                    <a:gs pos="86000">
                      <a:schemeClr val="tx1"/>
                    </a:gs>
                  </a:gsLst>
                  <a:lin ang="5400000" scaled="0"/>
                </a:gradFill>
              </a:rPr>
              <a:t>Visual Studio 2010 Database Projects</a:t>
            </a:r>
          </a:p>
        </p:txBody>
      </p:sp>
      <p:cxnSp>
        <p:nvCxnSpPr>
          <p:cNvPr id="46" name="Straight Connector 45"/>
          <p:cNvCxnSpPr/>
          <p:nvPr/>
        </p:nvCxnSpPr>
        <p:spPr>
          <a:xfrm>
            <a:off x="4797080" y="1003104"/>
            <a:ext cx="0" cy="28575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3945843" y="1299889"/>
            <a:ext cx="1702474" cy="923330"/>
          </a:xfrm>
          <a:prstGeom prst="rect">
            <a:avLst/>
          </a:prstGeom>
          <a:noFill/>
        </p:spPr>
        <p:txBody>
          <a:bodyPr wrap="square" lIns="0" tIns="0" rIns="0" bIns="0" rtlCol="0">
            <a:spAutoFit/>
          </a:bodyPr>
          <a:lstStyle/>
          <a:p>
            <a:pPr algn="ctr"/>
            <a:r>
              <a:rPr lang="en-US" sz="1500" dirty="0">
                <a:gradFill>
                  <a:gsLst>
                    <a:gs pos="0">
                      <a:schemeClr val="tx1"/>
                    </a:gs>
                    <a:gs pos="86000">
                      <a:schemeClr val="tx1"/>
                    </a:gs>
                  </a:gsLst>
                  <a:lin ang="5400000" scaled="0"/>
                </a:gradFill>
              </a:rPr>
              <a:t>.</a:t>
            </a:r>
            <a:r>
              <a:rPr lang="en-US" sz="1500" dirty="0" err="1">
                <a:gradFill>
                  <a:gsLst>
                    <a:gs pos="0">
                      <a:schemeClr val="tx1"/>
                    </a:gs>
                    <a:gs pos="86000">
                      <a:schemeClr val="tx1"/>
                    </a:gs>
                  </a:gsLst>
                  <a:lin ang="5400000" scaled="0"/>
                </a:gradFill>
              </a:rPr>
              <a:t>sqlx</a:t>
            </a:r>
            <a:r>
              <a:rPr lang="en-US" sz="1500" dirty="0">
                <a:gradFill>
                  <a:gsLst>
                    <a:gs pos="0">
                      <a:schemeClr val="tx1"/>
                    </a:gs>
                    <a:gs pos="86000">
                      <a:schemeClr val="tx1"/>
                    </a:gs>
                  </a:gsLst>
                  <a:lin ang="5400000" scaled="0"/>
                </a:gradFill>
              </a:rPr>
              <a:t> v1.0</a:t>
            </a:r>
          </a:p>
          <a:p>
            <a:pPr algn="ctr"/>
            <a:r>
              <a:rPr lang="en-US" sz="1500" dirty="0">
                <a:gradFill>
                  <a:gsLst>
                    <a:gs pos="0">
                      <a:schemeClr val="tx1"/>
                    </a:gs>
                    <a:gs pos="86000">
                      <a:schemeClr val="tx1"/>
                    </a:gs>
                  </a:gsLst>
                  <a:lin ang="5400000" scaled="0"/>
                </a:gradFill>
              </a:rPr>
              <a:t>SQL Server Data Tools</a:t>
            </a:r>
          </a:p>
          <a:p>
            <a:pPr algn="ctr"/>
            <a:r>
              <a:rPr lang="en-US" sz="1500" dirty="0">
                <a:gradFill>
                  <a:gsLst>
                    <a:gs pos="0">
                      <a:schemeClr val="tx1"/>
                    </a:gs>
                    <a:gs pos="86000">
                      <a:schemeClr val="tx1"/>
                    </a:gs>
                  </a:gsLst>
                  <a:lin ang="5400000" scaled="0"/>
                </a:gradFill>
              </a:rPr>
              <a:t>CTP3</a:t>
            </a:r>
          </a:p>
        </p:txBody>
      </p:sp>
      <p:cxnSp>
        <p:nvCxnSpPr>
          <p:cNvPr id="48" name="Straight Connector 47"/>
          <p:cNvCxnSpPr/>
          <p:nvPr/>
        </p:nvCxnSpPr>
        <p:spPr>
          <a:xfrm>
            <a:off x="6613884" y="1003104"/>
            <a:ext cx="0" cy="28575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49" name="TextBox 48"/>
          <p:cNvSpPr txBox="1"/>
          <p:nvPr/>
        </p:nvSpPr>
        <p:spPr>
          <a:xfrm>
            <a:off x="5762647" y="1299889"/>
            <a:ext cx="1702474" cy="923330"/>
          </a:xfrm>
          <a:prstGeom prst="rect">
            <a:avLst/>
          </a:prstGeom>
          <a:noFill/>
        </p:spPr>
        <p:txBody>
          <a:bodyPr wrap="square" lIns="0" tIns="0" rIns="0" bIns="0" rtlCol="0">
            <a:spAutoFit/>
          </a:bodyPr>
          <a:lstStyle/>
          <a:p>
            <a:pPr algn="ctr"/>
            <a:r>
              <a:rPr lang="en-US" sz="1500" dirty="0">
                <a:gradFill>
                  <a:gsLst>
                    <a:gs pos="0">
                      <a:schemeClr val="tx1"/>
                    </a:gs>
                    <a:gs pos="86000">
                      <a:schemeClr val="tx1"/>
                    </a:gs>
                  </a:gsLst>
                  <a:lin ang="5400000" scaled="0"/>
                </a:gradFill>
              </a:rPr>
              <a:t>.</a:t>
            </a:r>
            <a:r>
              <a:rPr lang="en-US" sz="1500" dirty="0" err="1">
                <a:gradFill>
                  <a:gsLst>
                    <a:gs pos="0">
                      <a:schemeClr val="tx1"/>
                    </a:gs>
                    <a:gs pos="86000">
                      <a:schemeClr val="tx1"/>
                    </a:gs>
                  </a:gsLst>
                  <a:lin ang="5400000" scaled="0"/>
                </a:gradFill>
              </a:rPr>
              <a:t>dacpac</a:t>
            </a:r>
            <a:r>
              <a:rPr lang="en-US" sz="1500" dirty="0">
                <a:gradFill>
                  <a:gsLst>
                    <a:gs pos="0">
                      <a:schemeClr val="tx1"/>
                    </a:gs>
                    <a:gs pos="86000">
                      <a:schemeClr val="tx1"/>
                    </a:gs>
                  </a:gsLst>
                  <a:lin ang="5400000" scaled="0"/>
                </a:gradFill>
              </a:rPr>
              <a:t> v2.5</a:t>
            </a:r>
          </a:p>
          <a:p>
            <a:pPr algn="ctr"/>
            <a:r>
              <a:rPr lang="en-US" sz="1500" dirty="0">
                <a:gradFill>
                  <a:gsLst>
                    <a:gs pos="0">
                      <a:schemeClr val="tx1"/>
                    </a:gs>
                    <a:gs pos="86000">
                      <a:schemeClr val="tx1"/>
                    </a:gs>
                  </a:gsLst>
                  <a:lin ang="5400000" scaled="0"/>
                </a:gradFill>
              </a:rPr>
              <a:t>SQL Server Data Tools</a:t>
            </a:r>
          </a:p>
          <a:p>
            <a:pPr algn="ctr"/>
            <a:r>
              <a:rPr lang="en-US" sz="1500" dirty="0">
                <a:gradFill>
                  <a:gsLst>
                    <a:gs pos="0">
                      <a:schemeClr val="tx1"/>
                    </a:gs>
                    <a:gs pos="86000">
                      <a:schemeClr val="tx1"/>
                    </a:gs>
                  </a:gsLst>
                  <a:lin ang="5400000" scaled="0"/>
                </a:gradFill>
              </a:rPr>
              <a:t>CTP4</a:t>
            </a:r>
          </a:p>
        </p:txBody>
      </p:sp>
      <p:cxnSp>
        <p:nvCxnSpPr>
          <p:cNvPr id="52" name="Straight Connector 51"/>
          <p:cNvCxnSpPr/>
          <p:nvPr/>
        </p:nvCxnSpPr>
        <p:spPr>
          <a:xfrm>
            <a:off x="1765318" y="4051994"/>
            <a:ext cx="0" cy="28575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5" name="TextBox 54"/>
          <p:cNvSpPr txBox="1"/>
          <p:nvPr/>
        </p:nvSpPr>
        <p:spPr>
          <a:xfrm>
            <a:off x="913447" y="3428746"/>
            <a:ext cx="1702474" cy="692498"/>
          </a:xfrm>
          <a:prstGeom prst="rect">
            <a:avLst/>
          </a:prstGeom>
          <a:noFill/>
        </p:spPr>
        <p:txBody>
          <a:bodyPr wrap="square" lIns="0" tIns="0" rIns="0" bIns="0" rtlCol="0">
            <a:spAutoFit/>
          </a:bodyPr>
          <a:lstStyle/>
          <a:p>
            <a:pPr algn="ctr"/>
            <a:r>
              <a:rPr lang="en-US" sz="1500" dirty="0">
                <a:gradFill>
                  <a:gsLst>
                    <a:gs pos="0">
                      <a:schemeClr val="tx1"/>
                    </a:gs>
                    <a:gs pos="86000">
                      <a:schemeClr val="tx1"/>
                    </a:gs>
                  </a:gsLst>
                  <a:lin ang="5400000" scaled="0"/>
                </a:gradFill>
              </a:rPr>
              <a:t>.</a:t>
            </a:r>
            <a:r>
              <a:rPr lang="en-US" sz="1500" dirty="0" err="1">
                <a:gradFill>
                  <a:gsLst>
                    <a:gs pos="0">
                      <a:schemeClr val="tx1"/>
                    </a:gs>
                    <a:gs pos="86000">
                      <a:schemeClr val="tx1"/>
                    </a:gs>
                  </a:gsLst>
                  <a:lin ang="5400000" scaled="0"/>
                </a:gradFill>
              </a:rPr>
              <a:t>dacpac</a:t>
            </a:r>
            <a:r>
              <a:rPr lang="en-US" sz="1500" dirty="0">
                <a:gradFill>
                  <a:gsLst>
                    <a:gs pos="0">
                      <a:schemeClr val="tx1"/>
                    </a:gs>
                    <a:gs pos="86000">
                      <a:schemeClr val="tx1"/>
                    </a:gs>
                  </a:gsLst>
                  <a:lin ang="5400000" scaled="0"/>
                </a:gradFill>
              </a:rPr>
              <a:t> v1.0</a:t>
            </a:r>
          </a:p>
          <a:p>
            <a:pPr algn="ctr"/>
            <a:r>
              <a:rPr lang="en-US" sz="1500" dirty="0">
                <a:gradFill>
                  <a:gsLst>
                    <a:gs pos="0">
                      <a:schemeClr val="tx1"/>
                    </a:gs>
                    <a:gs pos="86000">
                      <a:schemeClr val="tx1"/>
                    </a:gs>
                  </a:gsLst>
                  <a:lin ang="5400000" scaled="0"/>
                </a:gradFill>
              </a:rPr>
              <a:t>SQL 2008 R2</a:t>
            </a:r>
          </a:p>
          <a:p>
            <a:pPr algn="ctr"/>
            <a:r>
              <a:rPr lang="en-US" sz="1500" dirty="0">
                <a:gradFill>
                  <a:gsLst>
                    <a:gs pos="0">
                      <a:schemeClr val="tx1"/>
                    </a:gs>
                    <a:gs pos="86000">
                      <a:schemeClr val="tx1"/>
                    </a:gs>
                  </a:gsLst>
                  <a:lin ang="5400000" scaled="0"/>
                </a:gradFill>
              </a:rPr>
              <a:t>RC</a:t>
            </a:r>
          </a:p>
        </p:txBody>
      </p:sp>
      <p:cxnSp>
        <p:nvCxnSpPr>
          <p:cNvPr id="56" name="Straight Connector 55"/>
          <p:cNvCxnSpPr/>
          <p:nvPr/>
        </p:nvCxnSpPr>
        <p:spPr>
          <a:xfrm>
            <a:off x="3211375" y="4051993"/>
            <a:ext cx="0" cy="28575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2359504" y="3428745"/>
            <a:ext cx="1702474" cy="692498"/>
          </a:xfrm>
          <a:prstGeom prst="rect">
            <a:avLst/>
          </a:prstGeom>
          <a:noFill/>
        </p:spPr>
        <p:txBody>
          <a:bodyPr wrap="square" lIns="0" tIns="0" rIns="0" bIns="0" rtlCol="0">
            <a:spAutoFit/>
          </a:bodyPr>
          <a:lstStyle/>
          <a:p>
            <a:pPr algn="ctr"/>
            <a:r>
              <a:rPr lang="en-US" sz="1500" dirty="0">
                <a:gradFill>
                  <a:gsLst>
                    <a:gs pos="0">
                      <a:schemeClr val="tx1"/>
                    </a:gs>
                    <a:gs pos="86000">
                      <a:schemeClr val="tx1"/>
                    </a:gs>
                  </a:gsLst>
                  <a:lin ang="5400000" scaled="0"/>
                </a:gradFill>
              </a:rPr>
              <a:t>.</a:t>
            </a:r>
            <a:r>
              <a:rPr lang="en-US" sz="1500" dirty="0" err="1">
                <a:gradFill>
                  <a:gsLst>
                    <a:gs pos="0">
                      <a:schemeClr val="tx1"/>
                    </a:gs>
                    <a:gs pos="86000">
                      <a:schemeClr val="tx1"/>
                    </a:gs>
                  </a:gsLst>
                  <a:lin ang="5400000" scaled="0"/>
                </a:gradFill>
              </a:rPr>
              <a:t>dacpac</a:t>
            </a:r>
            <a:r>
              <a:rPr lang="en-US" sz="1500" dirty="0">
                <a:gradFill>
                  <a:gsLst>
                    <a:gs pos="0">
                      <a:schemeClr val="tx1"/>
                    </a:gs>
                    <a:gs pos="86000">
                      <a:schemeClr val="tx1"/>
                    </a:gs>
                  </a:gsLst>
                  <a:lin ang="5400000" scaled="0"/>
                </a:gradFill>
              </a:rPr>
              <a:t> v1.05</a:t>
            </a:r>
          </a:p>
          <a:p>
            <a:pPr algn="ctr"/>
            <a:r>
              <a:rPr lang="en-US" sz="1500" dirty="0">
                <a:gradFill>
                  <a:gsLst>
                    <a:gs pos="0">
                      <a:schemeClr val="tx1"/>
                    </a:gs>
                    <a:gs pos="86000">
                      <a:schemeClr val="tx1"/>
                    </a:gs>
                  </a:gsLst>
                  <a:lin ang="5400000" scaled="0"/>
                </a:gradFill>
              </a:rPr>
              <a:t>SQL 2008 R2</a:t>
            </a:r>
          </a:p>
          <a:p>
            <a:pPr algn="ctr"/>
            <a:r>
              <a:rPr lang="en-US" sz="1500" dirty="0">
                <a:gradFill>
                  <a:gsLst>
                    <a:gs pos="0">
                      <a:schemeClr val="tx1"/>
                    </a:gs>
                    <a:gs pos="86000">
                      <a:schemeClr val="tx1"/>
                    </a:gs>
                  </a:gsLst>
                  <a:lin ang="5400000" scaled="0"/>
                </a:gradFill>
              </a:rPr>
              <a:t>RTM</a:t>
            </a:r>
          </a:p>
        </p:txBody>
      </p:sp>
      <p:cxnSp>
        <p:nvCxnSpPr>
          <p:cNvPr id="58" name="Straight Connector 57"/>
          <p:cNvCxnSpPr/>
          <p:nvPr/>
        </p:nvCxnSpPr>
        <p:spPr>
          <a:xfrm>
            <a:off x="4680727" y="4051993"/>
            <a:ext cx="0" cy="28575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a:off x="3828856" y="3428745"/>
            <a:ext cx="1702474" cy="692498"/>
          </a:xfrm>
          <a:prstGeom prst="rect">
            <a:avLst/>
          </a:prstGeom>
          <a:noFill/>
        </p:spPr>
        <p:txBody>
          <a:bodyPr wrap="square" lIns="0" tIns="0" rIns="0" bIns="0" rtlCol="0">
            <a:spAutoFit/>
          </a:bodyPr>
          <a:lstStyle/>
          <a:p>
            <a:pPr algn="ctr"/>
            <a:r>
              <a:rPr lang="en-US" sz="1500" dirty="0">
                <a:gradFill>
                  <a:gsLst>
                    <a:gs pos="0">
                      <a:schemeClr val="tx1"/>
                    </a:gs>
                    <a:gs pos="86000">
                      <a:schemeClr val="tx1"/>
                    </a:gs>
                  </a:gsLst>
                  <a:lin ang="5400000" scaled="0"/>
                </a:gradFill>
              </a:rPr>
              <a:t>.</a:t>
            </a:r>
            <a:r>
              <a:rPr lang="en-US" sz="1500" dirty="0" err="1">
                <a:gradFill>
                  <a:gsLst>
                    <a:gs pos="0">
                      <a:schemeClr val="tx1"/>
                    </a:gs>
                    <a:gs pos="86000">
                      <a:schemeClr val="tx1"/>
                    </a:gs>
                  </a:gsLst>
                  <a:lin ang="5400000" scaled="0"/>
                </a:gradFill>
              </a:rPr>
              <a:t>dacpac</a:t>
            </a:r>
            <a:r>
              <a:rPr lang="en-US" sz="1500" dirty="0">
                <a:gradFill>
                  <a:gsLst>
                    <a:gs pos="0">
                      <a:schemeClr val="tx1"/>
                    </a:gs>
                    <a:gs pos="86000">
                      <a:schemeClr val="tx1"/>
                    </a:gs>
                  </a:gsLst>
                  <a:lin ang="5400000" scaled="0"/>
                </a:gradFill>
              </a:rPr>
              <a:t> v1.1</a:t>
            </a:r>
          </a:p>
          <a:p>
            <a:pPr algn="ctr"/>
            <a:r>
              <a:rPr lang="en-US" sz="1500" dirty="0">
                <a:gradFill>
                  <a:gsLst>
                    <a:gs pos="0">
                      <a:schemeClr val="tx1"/>
                    </a:gs>
                    <a:gs pos="86000">
                      <a:schemeClr val="tx1"/>
                    </a:gs>
                  </a:gsLst>
                  <a:lin ang="5400000" scaled="0"/>
                </a:gradFill>
              </a:rPr>
              <a:t>SQL 2008 R2</a:t>
            </a:r>
          </a:p>
          <a:p>
            <a:pPr algn="ctr"/>
            <a:r>
              <a:rPr lang="en-US" sz="1500" dirty="0">
                <a:gradFill>
                  <a:gsLst>
                    <a:gs pos="0">
                      <a:schemeClr val="tx1"/>
                    </a:gs>
                    <a:gs pos="86000">
                      <a:schemeClr val="tx1"/>
                    </a:gs>
                  </a:gsLst>
                  <a:lin ang="5400000" scaled="0"/>
                </a:gradFill>
              </a:rPr>
              <a:t>SP1</a:t>
            </a:r>
          </a:p>
        </p:txBody>
      </p:sp>
      <p:cxnSp>
        <p:nvCxnSpPr>
          <p:cNvPr id="60" name="Straight Connector 59"/>
          <p:cNvCxnSpPr/>
          <p:nvPr/>
        </p:nvCxnSpPr>
        <p:spPr>
          <a:xfrm>
            <a:off x="6167014" y="4051992"/>
            <a:ext cx="0" cy="28575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5315143" y="3428744"/>
            <a:ext cx="1702474" cy="692498"/>
          </a:xfrm>
          <a:prstGeom prst="rect">
            <a:avLst/>
          </a:prstGeom>
          <a:noFill/>
        </p:spPr>
        <p:txBody>
          <a:bodyPr wrap="square" lIns="0" tIns="0" rIns="0" bIns="0" rtlCol="0">
            <a:spAutoFit/>
          </a:bodyPr>
          <a:lstStyle/>
          <a:p>
            <a:pPr algn="ctr"/>
            <a:r>
              <a:rPr lang="en-US" sz="1500" dirty="0">
                <a:gradFill>
                  <a:gsLst>
                    <a:gs pos="0">
                      <a:schemeClr val="tx1"/>
                    </a:gs>
                    <a:gs pos="86000">
                      <a:schemeClr val="tx1"/>
                    </a:gs>
                  </a:gsLst>
                  <a:lin ang="5400000" scaled="0"/>
                </a:gradFill>
              </a:rPr>
              <a:t>.</a:t>
            </a:r>
            <a:r>
              <a:rPr lang="en-US" sz="1500" dirty="0" err="1">
                <a:gradFill>
                  <a:gsLst>
                    <a:gs pos="0">
                      <a:schemeClr val="tx1"/>
                    </a:gs>
                    <a:gs pos="86000">
                      <a:schemeClr val="tx1"/>
                    </a:gs>
                  </a:gsLst>
                  <a:lin ang="5400000" scaled="0"/>
                </a:gradFill>
              </a:rPr>
              <a:t>dacpac</a:t>
            </a:r>
            <a:r>
              <a:rPr lang="en-US" sz="1500" dirty="0">
                <a:gradFill>
                  <a:gsLst>
                    <a:gs pos="0">
                      <a:schemeClr val="tx1"/>
                    </a:gs>
                    <a:gs pos="86000">
                      <a:schemeClr val="tx1"/>
                    </a:gs>
                  </a:gsLst>
                  <a:lin ang="5400000" scaled="0"/>
                </a:gradFill>
              </a:rPr>
              <a:t> v2.0</a:t>
            </a:r>
          </a:p>
          <a:p>
            <a:pPr algn="ctr"/>
            <a:r>
              <a:rPr lang="en-US" sz="1500" dirty="0">
                <a:gradFill>
                  <a:gsLst>
                    <a:gs pos="0">
                      <a:schemeClr val="tx1"/>
                    </a:gs>
                    <a:gs pos="86000">
                      <a:schemeClr val="tx1"/>
                    </a:gs>
                  </a:gsLst>
                  <a:lin ang="5400000" scaled="0"/>
                </a:gradFill>
              </a:rPr>
              <a:t>SQL 2012</a:t>
            </a:r>
          </a:p>
          <a:p>
            <a:pPr algn="ctr"/>
            <a:r>
              <a:rPr lang="en-US" sz="1500" dirty="0">
                <a:gradFill>
                  <a:gsLst>
                    <a:gs pos="0">
                      <a:schemeClr val="tx1"/>
                    </a:gs>
                    <a:gs pos="86000">
                      <a:schemeClr val="tx1"/>
                    </a:gs>
                  </a:gsLst>
                  <a:lin ang="5400000" scaled="0"/>
                </a:gradFill>
              </a:rPr>
              <a:t>RC0</a:t>
            </a:r>
          </a:p>
        </p:txBody>
      </p:sp>
      <p:sp>
        <p:nvSpPr>
          <p:cNvPr id="62" name="Right Arrow 61"/>
          <p:cNvSpPr/>
          <p:nvPr/>
        </p:nvSpPr>
        <p:spPr bwMode="auto">
          <a:xfrm>
            <a:off x="8001893" y="2400300"/>
            <a:ext cx="685979" cy="685800"/>
          </a:xfrm>
          <a:prstGeom prst="rightArrow">
            <a:avLst/>
          </a:prstGeom>
          <a:ln>
            <a:solidFill>
              <a:schemeClr val="accent3"/>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63" name="TextBox 62"/>
          <p:cNvSpPr txBox="1"/>
          <p:nvPr/>
        </p:nvSpPr>
        <p:spPr>
          <a:xfrm>
            <a:off x="6115452" y="2387382"/>
            <a:ext cx="1753402" cy="692498"/>
          </a:xfrm>
          <a:prstGeom prst="rect">
            <a:avLst/>
          </a:prstGeom>
          <a:noFill/>
        </p:spPr>
        <p:txBody>
          <a:bodyPr wrap="square" lIns="0" tIns="0" rIns="0" bIns="0" rtlCol="0">
            <a:spAutoFit/>
          </a:bodyPr>
          <a:lstStyle/>
          <a:p>
            <a:pPr algn="ctr"/>
            <a:r>
              <a:rPr lang="en-US" sz="1500" dirty="0">
                <a:gradFill>
                  <a:gsLst>
                    <a:gs pos="0">
                      <a:schemeClr val="tx1"/>
                    </a:gs>
                    <a:gs pos="86000">
                      <a:schemeClr val="tx1"/>
                    </a:gs>
                  </a:gsLst>
                  <a:lin ang="5400000" scaled="0"/>
                </a:gradFill>
              </a:rPr>
              <a:t>.</a:t>
            </a:r>
            <a:r>
              <a:rPr lang="en-US" sz="1500" dirty="0" err="1">
                <a:gradFill>
                  <a:gsLst>
                    <a:gs pos="0">
                      <a:schemeClr val="tx1"/>
                    </a:gs>
                    <a:gs pos="86000">
                      <a:schemeClr val="tx1"/>
                    </a:gs>
                  </a:gsLst>
                  <a:lin ang="5400000" scaled="0"/>
                </a:gradFill>
              </a:rPr>
              <a:t>dacpac</a:t>
            </a:r>
            <a:r>
              <a:rPr lang="en-US" sz="1500" dirty="0">
                <a:gradFill>
                  <a:gsLst>
                    <a:gs pos="0">
                      <a:schemeClr val="tx1"/>
                    </a:gs>
                    <a:gs pos="86000">
                      <a:schemeClr val="tx1"/>
                    </a:gs>
                  </a:gsLst>
                  <a:lin ang="5400000" scaled="0"/>
                </a:gradFill>
              </a:rPr>
              <a:t> v3.0</a:t>
            </a:r>
          </a:p>
          <a:p>
            <a:pPr algn="ctr"/>
            <a:r>
              <a:rPr lang="en-US" sz="1500" dirty="0">
                <a:gradFill>
                  <a:gsLst>
                    <a:gs pos="0">
                      <a:schemeClr val="tx1"/>
                    </a:gs>
                    <a:gs pos="86000">
                      <a:schemeClr val="tx1"/>
                    </a:gs>
                  </a:gsLst>
                  <a:lin ang="5400000" scaled="0"/>
                </a:gradFill>
              </a:rPr>
              <a:t>consumed by </a:t>
            </a:r>
            <a:r>
              <a:rPr lang="en-US" sz="1500" b="1" dirty="0">
                <a:gradFill>
                  <a:gsLst>
                    <a:gs pos="0">
                      <a:schemeClr val="tx1"/>
                    </a:gs>
                    <a:gs pos="86000">
                      <a:schemeClr val="tx1"/>
                    </a:gs>
                  </a:gsLst>
                  <a:lin ang="5400000" scaled="0"/>
                </a:gradFill>
              </a:rPr>
              <a:t>all </a:t>
            </a:r>
            <a:r>
              <a:rPr lang="en-US" sz="1500" dirty="0">
                <a:gradFill>
                  <a:gsLst>
                    <a:gs pos="0">
                      <a:schemeClr val="tx1"/>
                    </a:gs>
                    <a:gs pos="86000">
                      <a:schemeClr val="tx1"/>
                    </a:gs>
                  </a:gsLst>
                  <a:lin ang="5400000" scaled="0"/>
                </a:gradFill>
              </a:rPr>
              <a:t>SQL Server tools</a:t>
            </a:r>
          </a:p>
        </p:txBody>
      </p:sp>
      <p:sp>
        <p:nvSpPr>
          <p:cNvPr id="24"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5"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
              </a:rPr>
              <a:t>www.rapidbbs.cn</a:t>
            </a:r>
            <a:endParaRPr lang="zh-CN" altLang="en-US" sz="1200" b="0">
              <a:latin typeface="Arial" charset="0"/>
              <a:ea typeface="ＭＳ Ｐゴシック" pitchFamily="34" charset="-128"/>
            </a:endParaRPr>
          </a:p>
        </p:txBody>
      </p:sp>
      <p:pic>
        <p:nvPicPr>
          <p:cNvPr id="26" name="Picture 2">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481011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Connected Development</a:t>
            </a:r>
            <a:endParaRPr lang="en-US" dirty="0"/>
          </a:p>
        </p:txBody>
      </p:sp>
      <p:sp>
        <p:nvSpPr>
          <p:cNvPr id="29" name="Rectangle 28"/>
          <p:cNvSpPr/>
          <p:nvPr/>
        </p:nvSpPr>
        <p:spPr>
          <a:xfrm>
            <a:off x="4629706" y="2409125"/>
            <a:ext cx="2016777" cy="4572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6" rIns="91432" bIns="45716" spcCol="0" rtlCol="0" anchor="ctr"/>
          <a:lstStyle/>
          <a:p>
            <a:pPr algn="ctr"/>
            <a:r>
              <a:rPr lang="en-US" sz="1600" dirty="0"/>
              <a:t>Drift Detection</a:t>
            </a:r>
            <a:endParaRPr lang="en-US" sz="1600" dirty="0"/>
          </a:p>
        </p:txBody>
      </p:sp>
      <p:sp>
        <p:nvSpPr>
          <p:cNvPr id="31" name="Rectangle 30"/>
          <p:cNvSpPr/>
          <p:nvPr/>
        </p:nvSpPr>
        <p:spPr>
          <a:xfrm>
            <a:off x="4629706" y="2989752"/>
            <a:ext cx="2016777" cy="1015498"/>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6" rIns="91432" bIns="45716" spcCol="0" rtlCol="0" anchor="ctr"/>
          <a:lstStyle/>
          <a:p>
            <a:pPr algn="ctr"/>
            <a:r>
              <a:rPr lang="en-US" sz="1600" dirty="0"/>
              <a:t>Schema Comparison</a:t>
            </a:r>
            <a:endParaRPr lang="en-US" sz="1600" dirty="0"/>
          </a:p>
        </p:txBody>
      </p:sp>
      <p:sp>
        <p:nvSpPr>
          <p:cNvPr id="32" name="Rectangle 31"/>
          <p:cNvSpPr/>
          <p:nvPr/>
        </p:nvSpPr>
        <p:spPr>
          <a:xfrm>
            <a:off x="349420" y="2409125"/>
            <a:ext cx="2016777" cy="10287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6" rIns="91432" bIns="45716" spcCol="0" rtlCol="0" anchor="ctr"/>
          <a:lstStyle/>
          <a:p>
            <a:pPr algn="ctr"/>
            <a:r>
              <a:rPr lang="en-US" sz="1600" dirty="0"/>
              <a:t>SQL Server </a:t>
            </a:r>
            <a:r>
              <a:rPr lang="en-US" sz="1600" dirty="0"/>
              <a:t/>
            </a:r>
            <a:br>
              <a:rPr lang="en-US" sz="1600" dirty="0"/>
            </a:br>
            <a:r>
              <a:rPr lang="en-US" sz="1600" dirty="0"/>
              <a:t>Object </a:t>
            </a:r>
            <a:r>
              <a:rPr lang="en-US" sz="1600" dirty="0"/>
              <a:t>Explorer</a:t>
            </a:r>
          </a:p>
        </p:txBody>
      </p:sp>
      <p:sp>
        <p:nvSpPr>
          <p:cNvPr id="33" name="Rectangle 32"/>
          <p:cNvSpPr/>
          <p:nvPr/>
        </p:nvSpPr>
        <p:spPr>
          <a:xfrm>
            <a:off x="349420" y="3548050"/>
            <a:ext cx="2016777" cy="4572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6" rIns="91432" bIns="45716" spcCol="0" rtlCol="0" anchor="ctr"/>
          <a:lstStyle/>
          <a:p>
            <a:pPr algn="ctr"/>
            <a:r>
              <a:rPr lang="en-US" sz="1600" dirty="0"/>
              <a:t>T-SQL Editor</a:t>
            </a:r>
            <a:endParaRPr lang="en-US" sz="1600" dirty="0"/>
          </a:p>
        </p:txBody>
      </p:sp>
      <p:sp>
        <p:nvSpPr>
          <p:cNvPr id="34" name="Rectangle 33"/>
          <p:cNvSpPr/>
          <p:nvPr/>
        </p:nvSpPr>
        <p:spPr>
          <a:xfrm>
            <a:off x="6769850" y="2409126"/>
            <a:ext cx="2016777" cy="458405"/>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6" rIns="91432" bIns="45716" spcCol="0" rtlCol="0" anchor="ctr"/>
          <a:lstStyle/>
          <a:p>
            <a:pPr algn="ctr"/>
            <a:r>
              <a:rPr lang="en-US" sz="1600" dirty="0"/>
              <a:t>Table Designer</a:t>
            </a:r>
            <a:endParaRPr lang="en-US" sz="1600" dirty="0"/>
          </a:p>
        </p:txBody>
      </p:sp>
      <p:sp>
        <p:nvSpPr>
          <p:cNvPr id="35" name="Rectangle 34"/>
          <p:cNvSpPr/>
          <p:nvPr/>
        </p:nvSpPr>
        <p:spPr>
          <a:xfrm>
            <a:off x="6769850" y="3548050"/>
            <a:ext cx="2016777" cy="4572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6" rIns="91432" bIns="45716" spcCol="0" rtlCol="0" anchor="ctr"/>
          <a:lstStyle/>
          <a:p>
            <a:pPr algn="ctr"/>
            <a:r>
              <a:rPr lang="en-US" sz="1600" dirty="0"/>
              <a:t>Error Information</a:t>
            </a:r>
            <a:endParaRPr lang="en-US" sz="1600" dirty="0"/>
          </a:p>
        </p:txBody>
      </p:sp>
      <p:sp>
        <p:nvSpPr>
          <p:cNvPr id="37" name="Rectangle 36"/>
          <p:cNvSpPr/>
          <p:nvPr/>
        </p:nvSpPr>
        <p:spPr>
          <a:xfrm>
            <a:off x="2489563" y="2409125"/>
            <a:ext cx="2016777" cy="4572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6" rIns="91432" bIns="45716" spcCol="0" rtlCol="0" anchor="ctr"/>
          <a:lstStyle/>
          <a:p>
            <a:pPr algn="ctr"/>
            <a:r>
              <a:rPr lang="en-US" sz="1600" dirty="0"/>
              <a:t>T-SQL IntelliSense</a:t>
            </a:r>
            <a:endParaRPr lang="en-US" sz="1600" dirty="0"/>
          </a:p>
        </p:txBody>
      </p:sp>
      <p:sp>
        <p:nvSpPr>
          <p:cNvPr id="39" name="Rectangle 38"/>
          <p:cNvSpPr/>
          <p:nvPr/>
        </p:nvSpPr>
        <p:spPr>
          <a:xfrm>
            <a:off x="6769850" y="2989752"/>
            <a:ext cx="2016777" cy="4572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6" rIns="91432" bIns="45716" spcCol="0" rtlCol="0" anchor="ctr"/>
          <a:lstStyle/>
          <a:p>
            <a:pPr algn="ctr"/>
            <a:r>
              <a:rPr lang="en-US" sz="1600" dirty="0"/>
              <a:t>View Code</a:t>
            </a:r>
            <a:endParaRPr lang="en-US" sz="1600" dirty="0"/>
          </a:p>
        </p:txBody>
      </p:sp>
      <p:sp>
        <p:nvSpPr>
          <p:cNvPr id="38" name="Rectangle 37"/>
          <p:cNvSpPr/>
          <p:nvPr/>
        </p:nvSpPr>
        <p:spPr>
          <a:xfrm>
            <a:off x="2489563" y="3548050"/>
            <a:ext cx="2016777" cy="4572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6" rIns="91432" bIns="45716" spcCol="0" rtlCol="0" anchor="ctr"/>
          <a:lstStyle/>
          <a:p>
            <a:pPr algn="ctr"/>
            <a:r>
              <a:rPr lang="en-US" sz="1600" dirty="0">
                <a:solidFill>
                  <a:schemeClr val="tx1"/>
                </a:solidFill>
              </a:rPr>
              <a:t>View/Edit Data</a:t>
            </a:r>
            <a:endParaRPr lang="en-US" sz="1600" dirty="0">
              <a:solidFill>
                <a:schemeClr val="tx1"/>
              </a:solidFill>
            </a:endParaRPr>
          </a:p>
        </p:txBody>
      </p:sp>
      <p:sp>
        <p:nvSpPr>
          <p:cNvPr id="40" name="Rectangle 39"/>
          <p:cNvSpPr/>
          <p:nvPr/>
        </p:nvSpPr>
        <p:spPr>
          <a:xfrm>
            <a:off x="2489563" y="2989752"/>
            <a:ext cx="2016777" cy="4572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6" rIns="91432" bIns="45716" spcCol="0" rtlCol="0" anchor="ctr"/>
          <a:lstStyle/>
          <a:p>
            <a:pPr algn="ctr"/>
            <a:r>
              <a:rPr lang="en-US" sz="1600" dirty="0"/>
              <a:t>T-SQL Debugging</a:t>
            </a:r>
            <a:endParaRPr lang="en-US" sz="1600" dirty="0"/>
          </a:p>
        </p:txBody>
      </p:sp>
      <p:grpSp>
        <p:nvGrpSpPr>
          <p:cNvPr id="14" name="Group 13"/>
          <p:cNvGrpSpPr/>
          <p:nvPr/>
        </p:nvGrpSpPr>
        <p:grpSpPr>
          <a:xfrm>
            <a:off x="349420" y="970347"/>
            <a:ext cx="8444067" cy="1304224"/>
            <a:chOff x="465772" y="1293795"/>
            <a:chExt cx="11255824" cy="1738965"/>
          </a:xfrm>
        </p:grpSpPr>
        <p:sp>
          <p:nvSpPr>
            <p:cNvPr id="8" name="Rectangle 7"/>
            <p:cNvSpPr>
              <a:spLocks noChangeAspect="1"/>
            </p:cNvSpPr>
            <p:nvPr>
              <p:custDataLst>
                <p:tags r:id="rId1"/>
              </p:custDataLst>
            </p:nvPr>
          </p:nvSpPr>
          <p:spPr bwMode="auto">
            <a:xfrm>
              <a:off x="3318553" y="1293795"/>
              <a:ext cx="2688336" cy="1737360"/>
            </a:xfrm>
            <a:prstGeom prst="rect">
              <a:avLst/>
            </a:prstGeom>
            <a:solidFill>
              <a:srgbClr val="00DAFF"/>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b" anchorCtr="0" compatLnSpc="1">
              <a:prstTxWarp prst="textNoShape">
                <a:avLst/>
              </a:prstTxWarp>
              <a:noAutofit/>
            </a:bodyPr>
            <a:lstStyle/>
            <a:p>
              <a:pPr defTabSz="914083" fontAlgn="base">
                <a:lnSpc>
                  <a:spcPct val="90000"/>
                </a:lnSpc>
                <a:spcBef>
                  <a:spcPts val="630"/>
                </a:spcBef>
                <a:spcAft>
                  <a:spcPct val="0"/>
                </a:spcAft>
                <a:buClr>
                  <a:srgbClr val="FFFF99"/>
                </a:buClr>
                <a:buSzPct val="120000"/>
              </a:pPr>
              <a:endParaRPr lang="en-US" dirty="0" smtClean="0">
                <a:ln>
                  <a:solidFill>
                    <a:srgbClr val="FFFFFF">
                      <a:alpha val="0"/>
                    </a:srgbClr>
                  </a:solidFill>
                </a:ln>
                <a:solidFill>
                  <a:srgbClr val="FFFFFF">
                    <a:alpha val="99000"/>
                  </a:srgbClr>
                </a:solidFill>
                <a:cs typeface="Segoe UI" pitchFamily="34" charset="0"/>
              </a:endParaRPr>
            </a:p>
            <a:p>
              <a:pPr defTabSz="914083" fontAlgn="base">
                <a:lnSpc>
                  <a:spcPct val="90000"/>
                </a:lnSpc>
                <a:spcBef>
                  <a:spcPts val="630"/>
                </a:spcBef>
                <a:spcAft>
                  <a:spcPct val="0"/>
                </a:spcAft>
                <a:buClr>
                  <a:srgbClr val="FFFF99"/>
                </a:buClr>
                <a:buSzPct val="120000"/>
              </a:pPr>
              <a:r>
                <a:rPr lang="en-US" sz="2000" dirty="0">
                  <a:ln>
                    <a:solidFill>
                      <a:srgbClr val="FFFFFF">
                        <a:alpha val="0"/>
                      </a:srgbClr>
                    </a:solidFill>
                  </a:ln>
                  <a:solidFill>
                    <a:srgbClr val="FFFFFF">
                      <a:alpha val="99000"/>
                    </a:srgbClr>
                  </a:solidFill>
                  <a:cs typeface="Segoe UI" pitchFamily="34" charset="0"/>
                </a:rPr>
                <a:t>Optimized     </a:t>
              </a:r>
              <a:br>
                <a:rPr lang="en-US" sz="2000" dirty="0">
                  <a:ln>
                    <a:solidFill>
                      <a:srgbClr val="FFFFFF">
                        <a:alpha val="0"/>
                      </a:srgbClr>
                    </a:solidFill>
                  </a:ln>
                  <a:solidFill>
                    <a:srgbClr val="FFFFFF">
                      <a:alpha val="99000"/>
                    </a:srgbClr>
                  </a:solidFill>
                  <a:cs typeface="Segoe UI" pitchFamily="34" charset="0"/>
                </a:rPr>
              </a:br>
              <a:r>
                <a:rPr lang="en-US" sz="2000" dirty="0">
                  <a:ln>
                    <a:solidFill>
                      <a:srgbClr val="FFFFFF">
                        <a:alpha val="0"/>
                      </a:srgbClr>
                    </a:solidFill>
                  </a:ln>
                  <a:solidFill>
                    <a:srgbClr val="FFFFFF">
                      <a:alpha val="99000"/>
                    </a:srgbClr>
                  </a:solidFill>
                  <a:cs typeface="Segoe UI" pitchFamily="34" charset="0"/>
                </a:rPr>
                <a:t>Productivity</a:t>
              </a:r>
            </a:p>
          </p:txBody>
        </p:sp>
        <p:grpSp>
          <p:nvGrpSpPr>
            <p:cNvPr id="11" name="Group 10"/>
            <p:cNvGrpSpPr/>
            <p:nvPr/>
          </p:nvGrpSpPr>
          <p:grpSpPr>
            <a:xfrm>
              <a:off x="465772" y="1293795"/>
              <a:ext cx="2688336" cy="1737360"/>
              <a:chOff x="465772" y="1293795"/>
              <a:chExt cx="2688336" cy="1737360"/>
            </a:xfrm>
          </p:grpSpPr>
          <p:grpSp>
            <p:nvGrpSpPr>
              <p:cNvPr id="10" name="Group 9"/>
              <p:cNvGrpSpPr/>
              <p:nvPr/>
            </p:nvGrpSpPr>
            <p:grpSpPr>
              <a:xfrm>
                <a:off x="465772" y="1293795"/>
                <a:ext cx="2688336" cy="1737360"/>
                <a:chOff x="6826146" y="972753"/>
                <a:chExt cx="2013054" cy="1295309"/>
              </a:xfrm>
            </p:grpSpPr>
            <p:sp>
              <p:nvSpPr>
                <p:cNvPr id="9" name="Rectangle 8"/>
                <p:cNvSpPr>
                  <a:spLocks noChangeAspect="1"/>
                </p:cNvSpPr>
                <p:nvPr>
                  <p:custDataLst>
                    <p:tags r:id="rId4"/>
                  </p:custDataLst>
                </p:nvPr>
              </p:nvSpPr>
              <p:spPr bwMode="auto">
                <a:xfrm>
                  <a:off x="6826146" y="972753"/>
                  <a:ext cx="2013054" cy="1295309"/>
                </a:xfrm>
                <a:prstGeom prst="rect">
                  <a:avLst/>
                </a:prstGeom>
                <a:solidFill>
                  <a:srgbClr val="00DAFF"/>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b" anchorCtr="0" compatLnSpc="1">
                  <a:prstTxWarp prst="textNoShape">
                    <a:avLst/>
                  </a:prstTxWarp>
                  <a:noAutofit/>
                </a:bodyPr>
                <a:lstStyle/>
                <a:p>
                  <a:pPr defTabSz="914083" fontAlgn="base">
                    <a:lnSpc>
                      <a:spcPct val="90000"/>
                    </a:lnSpc>
                    <a:spcBef>
                      <a:spcPts val="630"/>
                    </a:spcBef>
                    <a:spcAft>
                      <a:spcPct val="0"/>
                    </a:spcAft>
                    <a:buClr>
                      <a:srgbClr val="FFFF99"/>
                    </a:buClr>
                    <a:buSzPct val="120000"/>
                  </a:pPr>
                  <a:r>
                    <a:rPr lang="en-US" dirty="0" smtClean="0">
                      <a:ln>
                        <a:solidFill>
                          <a:srgbClr val="FFFFFF">
                            <a:alpha val="0"/>
                          </a:srgbClr>
                        </a:solidFill>
                      </a:ln>
                      <a:solidFill>
                        <a:srgbClr val="FFFFFF">
                          <a:alpha val="99000"/>
                        </a:srgbClr>
                      </a:solidFill>
                      <a:cs typeface="Segoe UI" pitchFamily="34" charset="0"/>
                    </a:rPr>
                    <a:t>         </a:t>
                  </a:r>
                </a:p>
                <a:p>
                  <a:pPr defTabSz="914083" fontAlgn="base">
                    <a:lnSpc>
                      <a:spcPct val="90000"/>
                    </a:lnSpc>
                    <a:spcBef>
                      <a:spcPts val="630"/>
                    </a:spcBef>
                    <a:spcAft>
                      <a:spcPct val="0"/>
                    </a:spcAft>
                    <a:buClr>
                      <a:srgbClr val="FFFF99"/>
                    </a:buClr>
                    <a:buSzPct val="120000"/>
                  </a:pPr>
                  <a:r>
                    <a:rPr lang="en-US" dirty="0" smtClean="0">
                      <a:ln>
                        <a:solidFill>
                          <a:srgbClr val="FFFFFF">
                            <a:alpha val="0"/>
                          </a:srgbClr>
                        </a:solidFill>
                      </a:ln>
                      <a:solidFill>
                        <a:srgbClr val="FFFFFF">
                          <a:alpha val="99000"/>
                        </a:srgbClr>
                      </a:solidFill>
                      <a:cs typeface="Segoe UI" pitchFamily="34" charset="0"/>
                    </a:rPr>
                    <a:t>             </a:t>
                  </a:r>
                </a:p>
                <a:p>
                  <a:pPr defTabSz="914083" fontAlgn="base">
                    <a:lnSpc>
                      <a:spcPct val="90000"/>
                    </a:lnSpc>
                    <a:spcBef>
                      <a:spcPts val="630"/>
                    </a:spcBef>
                    <a:spcAft>
                      <a:spcPct val="0"/>
                    </a:spcAft>
                    <a:buClr>
                      <a:srgbClr val="FFFF99"/>
                    </a:buClr>
                    <a:buSzPct val="120000"/>
                  </a:pPr>
                  <a:r>
                    <a:rPr lang="en-US" sz="2000" dirty="0">
                      <a:ln>
                        <a:solidFill>
                          <a:srgbClr val="FFFFFF">
                            <a:alpha val="0"/>
                          </a:srgbClr>
                        </a:solidFill>
                      </a:ln>
                      <a:solidFill>
                        <a:srgbClr val="FFFFFF">
                          <a:alpha val="99000"/>
                        </a:srgbClr>
                      </a:solidFill>
                      <a:cs typeface="Segoe UI" pitchFamily="34" charset="0"/>
                    </a:rPr>
                    <a:t>Familiar User Experience</a:t>
                  </a:r>
                  <a:endParaRPr lang="en-US" sz="2000" dirty="0">
                    <a:ln>
                      <a:solidFill>
                        <a:srgbClr val="FFFFFF">
                          <a:alpha val="0"/>
                        </a:srgbClr>
                      </a:solidFill>
                    </a:ln>
                    <a:solidFill>
                      <a:srgbClr val="FFFFFF">
                        <a:alpha val="99000"/>
                      </a:srgbClr>
                    </a:solidFill>
                    <a:cs typeface="Segoe UI" pitchFamily="34" charset="0"/>
                  </a:endParaRPr>
                </a:p>
              </p:txBody>
            </p:sp>
            <p:grpSp>
              <p:nvGrpSpPr>
                <p:cNvPr id="54" name="Group 53"/>
                <p:cNvGrpSpPr>
                  <a:grpSpLocks noChangeAspect="1"/>
                </p:cNvGrpSpPr>
                <p:nvPr/>
              </p:nvGrpSpPr>
              <p:grpSpPr>
                <a:xfrm>
                  <a:off x="7323455" y="1249899"/>
                  <a:ext cx="69373" cy="18865"/>
                  <a:chOff x="-1260476" y="1773238"/>
                  <a:chExt cx="180975" cy="49213"/>
                </a:xfrm>
                <a:solidFill>
                  <a:schemeClr val="bg1"/>
                </a:solidFill>
              </p:grpSpPr>
              <p:sp>
                <p:nvSpPr>
                  <p:cNvPr id="55" name="Freeform 118"/>
                  <p:cNvSpPr>
                    <a:spLocks noEditPoints="1"/>
                  </p:cNvSpPr>
                  <p:nvPr/>
                </p:nvSpPr>
                <p:spPr bwMode="auto">
                  <a:xfrm>
                    <a:off x="-1198563" y="1774826"/>
                    <a:ext cx="47625" cy="47625"/>
                  </a:xfrm>
                  <a:custGeom>
                    <a:avLst/>
                    <a:gdLst>
                      <a:gd name="T0" fmla="*/ 0 w 30"/>
                      <a:gd name="T1" fmla="*/ 30 h 30"/>
                      <a:gd name="T2" fmla="*/ 30 w 30"/>
                      <a:gd name="T3" fmla="*/ 30 h 30"/>
                      <a:gd name="T4" fmla="*/ 30 w 30"/>
                      <a:gd name="T5" fmla="*/ 0 h 30"/>
                      <a:gd name="T6" fmla="*/ 0 w 30"/>
                      <a:gd name="T7" fmla="*/ 0 h 30"/>
                      <a:gd name="T8" fmla="*/ 0 w 30"/>
                      <a:gd name="T9" fmla="*/ 30 h 30"/>
                      <a:gd name="T10" fmla="*/ 8 w 30"/>
                      <a:gd name="T11" fmla="*/ 8 h 30"/>
                      <a:gd name="T12" fmla="*/ 22 w 30"/>
                      <a:gd name="T13" fmla="*/ 8 h 30"/>
                      <a:gd name="T14" fmla="*/ 22 w 30"/>
                      <a:gd name="T15" fmla="*/ 22 h 30"/>
                      <a:gd name="T16" fmla="*/ 8 w 30"/>
                      <a:gd name="T17" fmla="*/ 22 h 30"/>
                      <a:gd name="T18" fmla="*/ 8 w 30"/>
                      <a:gd name="T19" fmla="*/ 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0" y="30"/>
                        </a:moveTo>
                        <a:lnTo>
                          <a:pt x="30" y="30"/>
                        </a:lnTo>
                        <a:lnTo>
                          <a:pt x="30" y="0"/>
                        </a:lnTo>
                        <a:lnTo>
                          <a:pt x="0" y="0"/>
                        </a:lnTo>
                        <a:lnTo>
                          <a:pt x="0" y="30"/>
                        </a:lnTo>
                        <a:close/>
                        <a:moveTo>
                          <a:pt x="8" y="8"/>
                        </a:moveTo>
                        <a:lnTo>
                          <a:pt x="22" y="8"/>
                        </a:lnTo>
                        <a:lnTo>
                          <a:pt x="22" y="22"/>
                        </a:lnTo>
                        <a:lnTo>
                          <a:pt x="8" y="22"/>
                        </a:lnTo>
                        <a:lnTo>
                          <a:pt x="8" y="8"/>
                        </a:lnTo>
                        <a:close/>
                      </a:path>
                    </a:pathLst>
                  </a:custGeom>
                  <a:grp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57" name="Rectangle 120"/>
                  <p:cNvSpPr>
                    <a:spLocks noChangeArrowheads="1"/>
                  </p:cNvSpPr>
                  <p:nvPr/>
                </p:nvSpPr>
                <p:spPr bwMode="auto">
                  <a:xfrm>
                    <a:off x="-1260476" y="1809751"/>
                    <a:ext cx="46038" cy="12700"/>
                  </a:xfrm>
                  <a:prstGeom prst="rect">
                    <a:avLst/>
                  </a:prstGeom>
                  <a:grp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58" name="Freeform 121"/>
                  <p:cNvSpPr>
                    <a:spLocks/>
                  </p:cNvSpPr>
                  <p:nvPr/>
                </p:nvSpPr>
                <p:spPr bwMode="auto">
                  <a:xfrm>
                    <a:off x="-1130301" y="1773238"/>
                    <a:ext cx="50800" cy="49213"/>
                  </a:xfrm>
                  <a:custGeom>
                    <a:avLst/>
                    <a:gdLst>
                      <a:gd name="T0" fmla="*/ 26 w 32"/>
                      <a:gd name="T1" fmla="*/ 0 h 31"/>
                      <a:gd name="T2" fmla="*/ 16 w 32"/>
                      <a:gd name="T3" fmla="*/ 10 h 31"/>
                      <a:gd name="T4" fmla="*/ 6 w 32"/>
                      <a:gd name="T5" fmla="*/ 0 h 31"/>
                      <a:gd name="T6" fmla="*/ 0 w 32"/>
                      <a:gd name="T7" fmla="*/ 6 h 31"/>
                      <a:gd name="T8" fmla="*/ 10 w 32"/>
                      <a:gd name="T9" fmla="*/ 16 h 31"/>
                      <a:gd name="T10" fmla="*/ 1 w 32"/>
                      <a:gd name="T11" fmla="*/ 26 h 31"/>
                      <a:gd name="T12" fmla="*/ 6 w 32"/>
                      <a:gd name="T13" fmla="*/ 31 h 31"/>
                      <a:gd name="T14" fmla="*/ 16 w 32"/>
                      <a:gd name="T15" fmla="*/ 21 h 31"/>
                      <a:gd name="T16" fmla="*/ 26 w 32"/>
                      <a:gd name="T17" fmla="*/ 31 h 31"/>
                      <a:gd name="T18" fmla="*/ 31 w 32"/>
                      <a:gd name="T19" fmla="*/ 26 h 31"/>
                      <a:gd name="T20" fmla="*/ 22 w 32"/>
                      <a:gd name="T21" fmla="*/ 16 h 31"/>
                      <a:gd name="T22" fmla="*/ 32 w 32"/>
                      <a:gd name="T23" fmla="*/ 6 h 31"/>
                      <a:gd name="T24" fmla="*/ 26 w 32"/>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31">
                        <a:moveTo>
                          <a:pt x="26" y="0"/>
                        </a:moveTo>
                        <a:lnTo>
                          <a:pt x="16" y="10"/>
                        </a:lnTo>
                        <a:lnTo>
                          <a:pt x="6" y="0"/>
                        </a:lnTo>
                        <a:lnTo>
                          <a:pt x="0" y="6"/>
                        </a:lnTo>
                        <a:lnTo>
                          <a:pt x="10" y="16"/>
                        </a:lnTo>
                        <a:lnTo>
                          <a:pt x="1" y="26"/>
                        </a:lnTo>
                        <a:lnTo>
                          <a:pt x="6" y="31"/>
                        </a:lnTo>
                        <a:lnTo>
                          <a:pt x="16" y="21"/>
                        </a:lnTo>
                        <a:lnTo>
                          <a:pt x="26" y="31"/>
                        </a:lnTo>
                        <a:lnTo>
                          <a:pt x="31" y="26"/>
                        </a:lnTo>
                        <a:lnTo>
                          <a:pt x="22" y="16"/>
                        </a:lnTo>
                        <a:lnTo>
                          <a:pt x="32" y="6"/>
                        </a:lnTo>
                        <a:lnTo>
                          <a:pt x="26" y="0"/>
                        </a:lnTo>
                        <a:close/>
                      </a:path>
                    </a:pathLst>
                  </a:custGeom>
                  <a:solidFill>
                    <a:schemeClr val="tx1"/>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US"/>
                  </a:p>
                </p:txBody>
              </p:sp>
            </p:grpSp>
          </p:grpSp>
          <p:grpSp>
            <p:nvGrpSpPr>
              <p:cNvPr id="41" name="Group 40"/>
              <p:cNvGrpSpPr/>
              <p:nvPr/>
            </p:nvGrpSpPr>
            <p:grpSpPr bwMode="black">
              <a:xfrm>
                <a:off x="694395" y="1446028"/>
                <a:ext cx="393321" cy="758830"/>
                <a:chOff x="3360738" y="989012"/>
                <a:chExt cx="746125" cy="1439864"/>
              </a:xfrm>
            </p:grpSpPr>
            <p:sp>
              <p:nvSpPr>
                <p:cNvPr id="42" name="Freeform 36"/>
                <p:cNvSpPr>
                  <a:spLocks/>
                </p:cNvSpPr>
                <p:nvPr/>
              </p:nvSpPr>
              <p:spPr bwMode="black">
                <a:xfrm>
                  <a:off x="3360738" y="1255713"/>
                  <a:ext cx="525463" cy="1173163"/>
                </a:xfrm>
                <a:custGeom>
                  <a:avLst/>
                  <a:gdLst>
                    <a:gd name="T0" fmla="*/ 252 w 562"/>
                    <a:gd name="T1" fmla="*/ 272 h 1256"/>
                    <a:gd name="T2" fmla="*/ 234 w 562"/>
                    <a:gd name="T3" fmla="*/ 192 h 1256"/>
                    <a:gd name="T4" fmla="*/ 407 w 562"/>
                    <a:gd name="T5" fmla="*/ 20 h 1256"/>
                    <a:gd name="T6" fmla="*/ 534 w 562"/>
                    <a:gd name="T7" fmla="*/ 76 h 1256"/>
                    <a:gd name="T8" fmla="*/ 562 w 562"/>
                    <a:gd name="T9" fmla="*/ 51 h 1256"/>
                    <a:gd name="T10" fmla="*/ 443 w 562"/>
                    <a:gd name="T11" fmla="*/ 0 h 1256"/>
                    <a:gd name="T12" fmla="*/ 164 w 562"/>
                    <a:gd name="T13" fmla="*/ 0 h 1256"/>
                    <a:gd name="T14" fmla="*/ 0 w 562"/>
                    <a:gd name="T15" fmla="*/ 163 h 1256"/>
                    <a:gd name="T16" fmla="*/ 0 w 562"/>
                    <a:gd name="T17" fmla="*/ 556 h 1256"/>
                    <a:gd name="T18" fmla="*/ 55 w 562"/>
                    <a:gd name="T19" fmla="*/ 612 h 1256"/>
                    <a:gd name="T20" fmla="*/ 110 w 562"/>
                    <a:gd name="T21" fmla="*/ 556 h 1256"/>
                    <a:gd name="T22" fmla="*/ 110 w 562"/>
                    <a:gd name="T23" fmla="*/ 201 h 1256"/>
                    <a:gd name="T24" fmla="*/ 139 w 562"/>
                    <a:gd name="T25" fmla="*/ 201 h 1256"/>
                    <a:gd name="T26" fmla="*/ 139 w 562"/>
                    <a:gd name="T27" fmla="*/ 1182 h 1256"/>
                    <a:gd name="T28" fmla="*/ 214 w 562"/>
                    <a:gd name="T29" fmla="*/ 1256 h 1256"/>
                    <a:gd name="T30" fmla="*/ 288 w 562"/>
                    <a:gd name="T31" fmla="*/ 1182 h 1256"/>
                    <a:gd name="T32" fmla="*/ 288 w 562"/>
                    <a:gd name="T33" fmla="*/ 615 h 1256"/>
                    <a:gd name="T34" fmla="*/ 317 w 562"/>
                    <a:gd name="T35" fmla="*/ 615 h 1256"/>
                    <a:gd name="T36" fmla="*/ 317 w 562"/>
                    <a:gd name="T37" fmla="*/ 1182 h 1256"/>
                    <a:gd name="T38" fmla="*/ 392 w 562"/>
                    <a:gd name="T39" fmla="*/ 1256 h 1256"/>
                    <a:gd name="T40" fmla="*/ 467 w 562"/>
                    <a:gd name="T41" fmla="*/ 1182 h 1256"/>
                    <a:gd name="T42" fmla="*/ 467 w 562"/>
                    <a:gd name="T43" fmla="*/ 516 h 1256"/>
                    <a:gd name="T44" fmla="*/ 252 w 562"/>
                    <a:gd name="T45" fmla="*/ 272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2" h="1256">
                      <a:moveTo>
                        <a:pt x="252" y="272"/>
                      </a:moveTo>
                      <a:cubicBezTo>
                        <a:pt x="248" y="262"/>
                        <a:pt x="234" y="225"/>
                        <a:pt x="234" y="192"/>
                      </a:cubicBezTo>
                      <a:cubicBezTo>
                        <a:pt x="234" y="97"/>
                        <a:pt x="312" y="20"/>
                        <a:pt x="407" y="20"/>
                      </a:cubicBezTo>
                      <a:cubicBezTo>
                        <a:pt x="456" y="20"/>
                        <a:pt x="501" y="41"/>
                        <a:pt x="534" y="76"/>
                      </a:cubicBezTo>
                      <a:cubicBezTo>
                        <a:pt x="542" y="66"/>
                        <a:pt x="551" y="58"/>
                        <a:pt x="562" y="51"/>
                      </a:cubicBezTo>
                      <a:cubicBezTo>
                        <a:pt x="532" y="20"/>
                        <a:pt x="490" y="0"/>
                        <a:pt x="443" y="0"/>
                      </a:cubicBezTo>
                      <a:cubicBezTo>
                        <a:pt x="164" y="0"/>
                        <a:pt x="164" y="0"/>
                        <a:pt x="164" y="0"/>
                      </a:cubicBezTo>
                      <a:cubicBezTo>
                        <a:pt x="73" y="0"/>
                        <a:pt x="0" y="73"/>
                        <a:pt x="0" y="163"/>
                      </a:cubicBezTo>
                      <a:cubicBezTo>
                        <a:pt x="0" y="556"/>
                        <a:pt x="0" y="556"/>
                        <a:pt x="0" y="556"/>
                      </a:cubicBezTo>
                      <a:cubicBezTo>
                        <a:pt x="0" y="587"/>
                        <a:pt x="25" y="612"/>
                        <a:pt x="55" y="612"/>
                      </a:cubicBezTo>
                      <a:cubicBezTo>
                        <a:pt x="86" y="612"/>
                        <a:pt x="110" y="587"/>
                        <a:pt x="110" y="556"/>
                      </a:cubicBezTo>
                      <a:cubicBezTo>
                        <a:pt x="110" y="201"/>
                        <a:pt x="110" y="201"/>
                        <a:pt x="110" y="201"/>
                      </a:cubicBezTo>
                      <a:cubicBezTo>
                        <a:pt x="139" y="201"/>
                        <a:pt x="139" y="201"/>
                        <a:pt x="139" y="201"/>
                      </a:cubicBezTo>
                      <a:cubicBezTo>
                        <a:pt x="139" y="1182"/>
                        <a:pt x="139" y="1182"/>
                        <a:pt x="139" y="1182"/>
                      </a:cubicBezTo>
                      <a:cubicBezTo>
                        <a:pt x="139" y="1223"/>
                        <a:pt x="173" y="1256"/>
                        <a:pt x="214" y="1256"/>
                      </a:cubicBezTo>
                      <a:cubicBezTo>
                        <a:pt x="255" y="1256"/>
                        <a:pt x="288" y="1223"/>
                        <a:pt x="288" y="1182"/>
                      </a:cubicBezTo>
                      <a:cubicBezTo>
                        <a:pt x="288" y="615"/>
                        <a:pt x="288" y="615"/>
                        <a:pt x="288" y="615"/>
                      </a:cubicBezTo>
                      <a:cubicBezTo>
                        <a:pt x="317" y="615"/>
                        <a:pt x="317" y="615"/>
                        <a:pt x="317" y="615"/>
                      </a:cubicBezTo>
                      <a:cubicBezTo>
                        <a:pt x="317" y="1182"/>
                        <a:pt x="317" y="1182"/>
                        <a:pt x="317" y="1182"/>
                      </a:cubicBezTo>
                      <a:cubicBezTo>
                        <a:pt x="317" y="1223"/>
                        <a:pt x="351" y="1256"/>
                        <a:pt x="392" y="1256"/>
                      </a:cubicBezTo>
                      <a:cubicBezTo>
                        <a:pt x="433" y="1256"/>
                        <a:pt x="467" y="1223"/>
                        <a:pt x="467" y="1182"/>
                      </a:cubicBezTo>
                      <a:cubicBezTo>
                        <a:pt x="467" y="516"/>
                        <a:pt x="467" y="516"/>
                        <a:pt x="467" y="516"/>
                      </a:cubicBezTo>
                      <a:cubicBezTo>
                        <a:pt x="398" y="459"/>
                        <a:pt x="284" y="354"/>
                        <a:pt x="252" y="2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3" name="Freeform 37"/>
                <p:cNvSpPr>
                  <a:spLocks/>
                </p:cNvSpPr>
                <p:nvPr/>
              </p:nvSpPr>
              <p:spPr bwMode="black">
                <a:xfrm>
                  <a:off x="3824288" y="1733550"/>
                  <a:ext cx="103188" cy="93663"/>
                </a:xfrm>
                <a:custGeom>
                  <a:avLst/>
                  <a:gdLst>
                    <a:gd name="T0" fmla="*/ 58 w 110"/>
                    <a:gd name="T1" fmla="*/ 43 h 101"/>
                    <a:gd name="T2" fmla="*/ 38 w 110"/>
                    <a:gd name="T3" fmla="*/ 59 h 101"/>
                    <a:gd name="T4" fmla="*/ 17 w 110"/>
                    <a:gd name="T5" fmla="*/ 43 h 101"/>
                    <a:gd name="T6" fmla="*/ 0 w 110"/>
                    <a:gd name="T7" fmla="*/ 29 h 101"/>
                    <a:gd name="T8" fmla="*/ 0 w 110"/>
                    <a:gd name="T9" fmla="*/ 45 h 101"/>
                    <a:gd name="T10" fmla="*/ 56 w 110"/>
                    <a:gd name="T11" fmla="*/ 101 h 101"/>
                    <a:gd name="T12" fmla="*/ 110 w 110"/>
                    <a:gd name="T13" fmla="*/ 45 h 101"/>
                    <a:gd name="T14" fmla="*/ 110 w 110"/>
                    <a:gd name="T15" fmla="*/ 0 h 101"/>
                    <a:gd name="T16" fmla="*/ 58 w 110"/>
                    <a:gd name="T17" fmla="*/ 4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01">
                      <a:moveTo>
                        <a:pt x="58" y="43"/>
                      </a:moveTo>
                      <a:cubicBezTo>
                        <a:pt x="38" y="59"/>
                        <a:pt x="38" y="59"/>
                        <a:pt x="38" y="59"/>
                      </a:cubicBezTo>
                      <a:cubicBezTo>
                        <a:pt x="17" y="43"/>
                        <a:pt x="17" y="43"/>
                        <a:pt x="17" y="43"/>
                      </a:cubicBezTo>
                      <a:cubicBezTo>
                        <a:pt x="13" y="40"/>
                        <a:pt x="7" y="35"/>
                        <a:pt x="0" y="29"/>
                      </a:cubicBezTo>
                      <a:cubicBezTo>
                        <a:pt x="0" y="45"/>
                        <a:pt x="0" y="45"/>
                        <a:pt x="0" y="45"/>
                      </a:cubicBezTo>
                      <a:cubicBezTo>
                        <a:pt x="0" y="76"/>
                        <a:pt x="25" y="101"/>
                        <a:pt x="56" y="101"/>
                      </a:cubicBezTo>
                      <a:cubicBezTo>
                        <a:pt x="85" y="101"/>
                        <a:pt x="110" y="76"/>
                        <a:pt x="110" y="45"/>
                      </a:cubicBezTo>
                      <a:cubicBezTo>
                        <a:pt x="110" y="0"/>
                        <a:pt x="110" y="0"/>
                        <a:pt x="110" y="0"/>
                      </a:cubicBezTo>
                      <a:cubicBezTo>
                        <a:pt x="86" y="20"/>
                        <a:pt x="67" y="35"/>
                        <a:pt x="58"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4" name="Oval 38"/>
                <p:cNvSpPr>
                  <a:spLocks noChangeArrowheads="1"/>
                </p:cNvSpPr>
                <p:nvPr/>
              </p:nvSpPr>
              <p:spPr bwMode="black">
                <a:xfrm>
                  <a:off x="3525838" y="989012"/>
                  <a:ext cx="234950" cy="2381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5" name="Freeform 39"/>
                <p:cNvSpPr>
                  <a:spLocks/>
                </p:cNvSpPr>
                <p:nvPr/>
              </p:nvSpPr>
              <p:spPr bwMode="black">
                <a:xfrm>
                  <a:off x="3606800" y="1304925"/>
                  <a:ext cx="500063" cy="444500"/>
                </a:xfrm>
                <a:custGeom>
                  <a:avLst/>
                  <a:gdLst>
                    <a:gd name="T0" fmla="*/ 267 w 535"/>
                    <a:gd name="T1" fmla="*/ 476 h 477"/>
                    <a:gd name="T2" fmla="*/ 15 w 535"/>
                    <a:gd name="T3" fmla="*/ 208 h 477"/>
                    <a:gd name="T4" fmla="*/ 0 w 535"/>
                    <a:gd name="T5" fmla="*/ 140 h 477"/>
                    <a:gd name="T6" fmla="*/ 141 w 535"/>
                    <a:gd name="T7" fmla="*/ 0 h 477"/>
                    <a:gd name="T8" fmla="*/ 268 w 535"/>
                    <a:gd name="T9" fmla="*/ 80 h 477"/>
                    <a:gd name="T10" fmla="*/ 394 w 535"/>
                    <a:gd name="T11" fmla="*/ 0 h 477"/>
                    <a:gd name="T12" fmla="*/ 535 w 535"/>
                    <a:gd name="T13" fmla="*/ 140 h 477"/>
                    <a:gd name="T14" fmla="*/ 520 w 535"/>
                    <a:gd name="T15" fmla="*/ 208 h 477"/>
                    <a:gd name="T16" fmla="*/ 269 w 535"/>
                    <a:gd name="T17" fmla="*/ 476 h 477"/>
                    <a:gd name="T18" fmla="*/ 268 w 535"/>
                    <a:gd name="T19" fmla="*/ 477 h 477"/>
                    <a:gd name="T20" fmla="*/ 267 w 535"/>
                    <a:gd name="T21" fmla="*/ 476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5" h="477">
                      <a:moveTo>
                        <a:pt x="267" y="476"/>
                      </a:moveTo>
                      <a:cubicBezTo>
                        <a:pt x="247" y="461"/>
                        <a:pt x="55" y="310"/>
                        <a:pt x="15" y="208"/>
                      </a:cubicBezTo>
                      <a:cubicBezTo>
                        <a:pt x="8" y="189"/>
                        <a:pt x="0" y="162"/>
                        <a:pt x="0" y="140"/>
                      </a:cubicBezTo>
                      <a:cubicBezTo>
                        <a:pt x="0" y="63"/>
                        <a:pt x="63" y="0"/>
                        <a:pt x="141" y="0"/>
                      </a:cubicBezTo>
                      <a:cubicBezTo>
                        <a:pt x="197" y="0"/>
                        <a:pt x="245" y="33"/>
                        <a:pt x="268" y="80"/>
                      </a:cubicBezTo>
                      <a:cubicBezTo>
                        <a:pt x="290" y="33"/>
                        <a:pt x="339" y="0"/>
                        <a:pt x="394" y="0"/>
                      </a:cubicBezTo>
                      <a:cubicBezTo>
                        <a:pt x="472" y="0"/>
                        <a:pt x="535" y="63"/>
                        <a:pt x="535" y="140"/>
                      </a:cubicBezTo>
                      <a:cubicBezTo>
                        <a:pt x="535" y="162"/>
                        <a:pt x="527" y="189"/>
                        <a:pt x="520" y="208"/>
                      </a:cubicBezTo>
                      <a:cubicBezTo>
                        <a:pt x="480" y="310"/>
                        <a:pt x="288" y="461"/>
                        <a:pt x="269" y="476"/>
                      </a:cubicBezTo>
                      <a:cubicBezTo>
                        <a:pt x="268" y="477"/>
                        <a:pt x="268" y="477"/>
                        <a:pt x="268" y="477"/>
                      </a:cubicBezTo>
                      <a:lnTo>
                        <a:pt x="267" y="4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sp>
          <p:nvSpPr>
            <p:cNvPr id="7" name="Rectangle 6"/>
            <p:cNvSpPr>
              <a:spLocks noChangeAspect="1"/>
            </p:cNvSpPr>
            <p:nvPr>
              <p:custDataLst>
                <p:tags r:id="rId2"/>
              </p:custDataLst>
            </p:nvPr>
          </p:nvSpPr>
          <p:spPr bwMode="auto">
            <a:xfrm>
              <a:off x="9024116" y="1293795"/>
              <a:ext cx="2697480" cy="1737360"/>
            </a:xfrm>
            <a:prstGeom prst="rect">
              <a:avLst/>
            </a:prstGeom>
            <a:solidFill>
              <a:srgbClr val="00DAFF"/>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b" anchorCtr="0" compatLnSpc="1">
              <a:prstTxWarp prst="textNoShape">
                <a:avLst/>
              </a:prstTxWarp>
              <a:noAutofit/>
            </a:bodyPr>
            <a:lstStyle/>
            <a:p>
              <a:pPr defTabSz="914083" fontAlgn="base">
                <a:lnSpc>
                  <a:spcPct val="90000"/>
                </a:lnSpc>
                <a:spcBef>
                  <a:spcPts val="630"/>
                </a:spcBef>
                <a:spcAft>
                  <a:spcPct val="0"/>
                </a:spcAft>
                <a:buClr>
                  <a:srgbClr val="FFFF99"/>
                </a:buClr>
                <a:buSzPct val="120000"/>
              </a:pPr>
              <a:r>
                <a:rPr lang="en-US" dirty="0" smtClean="0">
                  <a:ln>
                    <a:solidFill>
                      <a:srgbClr val="FFFFFF">
                        <a:alpha val="0"/>
                      </a:srgbClr>
                    </a:solidFill>
                  </a:ln>
                  <a:solidFill>
                    <a:srgbClr val="FFFFFF">
                      <a:alpha val="99000"/>
                    </a:srgbClr>
                  </a:solidFill>
                  <a:cs typeface="Segoe UI" pitchFamily="34" charset="0"/>
                </a:rPr>
                <a:t>            </a:t>
              </a:r>
            </a:p>
            <a:p>
              <a:pPr defTabSz="914083" fontAlgn="base">
                <a:lnSpc>
                  <a:spcPct val="90000"/>
                </a:lnSpc>
                <a:spcBef>
                  <a:spcPts val="630"/>
                </a:spcBef>
                <a:spcAft>
                  <a:spcPct val="0"/>
                </a:spcAft>
                <a:buClr>
                  <a:srgbClr val="FFFF99"/>
                </a:buClr>
                <a:buSzPct val="120000"/>
              </a:pPr>
              <a:r>
                <a:rPr lang="en-US" sz="2000" dirty="0">
                  <a:ln>
                    <a:solidFill>
                      <a:srgbClr val="FFFFFF">
                        <a:alpha val="0"/>
                      </a:srgbClr>
                    </a:solidFill>
                  </a:ln>
                  <a:solidFill>
                    <a:srgbClr val="FFFFFF">
                      <a:alpha val="99000"/>
                    </a:srgbClr>
                  </a:solidFill>
                  <a:cs typeface="Segoe UI" pitchFamily="34" charset="0"/>
                </a:rPr>
                <a:t>Schema Editing</a:t>
              </a:r>
              <a:r>
                <a:rPr lang="en-US" sz="2000" dirty="0">
                  <a:ln>
                    <a:solidFill>
                      <a:srgbClr val="FFFFFF">
                        <a:alpha val="0"/>
                      </a:srgbClr>
                    </a:solidFill>
                  </a:ln>
                  <a:solidFill>
                    <a:srgbClr val="FFFFFF">
                      <a:alpha val="99000"/>
                    </a:srgbClr>
                  </a:solidFill>
                  <a:cs typeface="Segoe UI" pitchFamily="34" charset="0"/>
                </a:rPr>
                <a:t/>
              </a:r>
              <a:br>
                <a:rPr lang="en-US" sz="2000" dirty="0">
                  <a:ln>
                    <a:solidFill>
                      <a:srgbClr val="FFFFFF">
                        <a:alpha val="0"/>
                      </a:srgbClr>
                    </a:solidFill>
                  </a:ln>
                  <a:solidFill>
                    <a:srgbClr val="FFFFFF">
                      <a:alpha val="99000"/>
                    </a:srgbClr>
                  </a:solidFill>
                  <a:cs typeface="Segoe UI" pitchFamily="34" charset="0"/>
                </a:rPr>
              </a:br>
              <a:r>
                <a:rPr lang="en-US" sz="2000" dirty="0">
                  <a:ln>
                    <a:solidFill>
                      <a:srgbClr val="FFFFFF">
                        <a:alpha val="0"/>
                      </a:srgbClr>
                    </a:solidFill>
                  </a:ln>
                  <a:solidFill>
                    <a:srgbClr val="FFFFFF">
                      <a:alpha val="99000"/>
                    </a:srgbClr>
                  </a:solidFill>
                  <a:cs typeface="Segoe UI" pitchFamily="34" charset="0"/>
                </a:rPr>
                <a:t>Tools</a:t>
              </a:r>
            </a:p>
          </p:txBody>
        </p:sp>
        <p:sp>
          <p:nvSpPr>
            <p:cNvPr id="6" name="Rectangle 5"/>
            <p:cNvSpPr>
              <a:spLocks noChangeAspect="1"/>
            </p:cNvSpPr>
            <p:nvPr>
              <p:custDataLst>
                <p:tags r:id="rId3"/>
              </p:custDataLst>
            </p:nvPr>
          </p:nvSpPr>
          <p:spPr bwMode="auto">
            <a:xfrm>
              <a:off x="6171334" y="1295400"/>
              <a:ext cx="2688336" cy="1737360"/>
            </a:xfrm>
            <a:prstGeom prst="rect">
              <a:avLst/>
            </a:prstGeom>
            <a:solidFill>
              <a:srgbClr val="00DAFF"/>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b" anchorCtr="0" compatLnSpc="1">
              <a:prstTxWarp prst="textNoShape">
                <a:avLst/>
              </a:prstTxWarp>
              <a:noAutofit/>
            </a:bodyPr>
            <a:lstStyle/>
            <a:p>
              <a:pPr defTabSz="914083" fontAlgn="base">
                <a:lnSpc>
                  <a:spcPct val="90000"/>
                </a:lnSpc>
                <a:spcBef>
                  <a:spcPts val="630"/>
                </a:spcBef>
                <a:spcAft>
                  <a:spcPct val="0"/>
                </a:spcAft>
                <a:buClr>
                  <a:srgbClr val="FFFF99"/>
                </a:buClr>
                <a:buSzPct val="120000"/>
                <a:defRPr/>
              </a:pPr>
              <a:r>
                <a:rPr lang="en-US" sz="2000" dirty="0">
                  <a:ln>
                    <a:solidFill>
                      <a:srgbClr val="FFFFFF">
                        <a:alpha val="0"/>
                      </a:srgbClr>
                    </a:solidFill>
                  </a:ln>
                  <a:solidFill>
                    <a:srgbClr val="FFFFFF">
                      <a:alpha val="99000"/>
                    </a:srgbClr>
                  </a:solidFill>
                  <a:cs typeface="Segoe UI" pitchFamily="34" charset="0"/>
                </a:rPr>
                <a:t>Difference Detection</a:t>
              </a:r>
              <a:endParaRPr lang="en-US" sz="2000" dirty="0">
                <a:ln>
                  <a:solidFill>
                    <a:srgbClr val="FFFFFF">
                      <a:alpha val="0"/>
                    </a:srgbClr>
                  </a:solidFill>
                </a:ln>
                <a:solidFill>
                  <a:srgbClr val="FFFFFF">
                    <a:alpha val="99000"/>
                  </a:srgbClr>
                </a:solidFill>
                <a:cs typeface="Segoe UI" pitchFamily="34" charset="0"/>
              </a:endParaRPr>
            </a:p>
          </p:txBody>
        </p:sp>
      </p:grpSp>
      <p:sp>
        <p:nvSpPr>
          <p:cNvPr id="47" name="Freeform 14"/>
          <p:cNvSpPr>
            <a:spLocks noEditPoints="1"/>
          </p:cNvSpPr>
          <p:nvPr/>
        </p:nvSpPr>
        <p:spPr bwMode="black">
          <a:xfrm>
            <a:off x="6858595" y="1070325"/>
            <a:ext cx="553563" cy="529875"/>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noFill/>
          </a:ln>
        </p:spPr>
        <p:txBody>
          <a:bodyPr vert="horz" wrap="square" lIns="61737" tIns="30869" rIns="61737" bIns="30869" numCol="1" anchor="t" anchorCtr="0" compatLnSpc="1">
            <a:prstTxWarp prst="textNoShape">
              <a:avLst/>
            </a:prstTxWarp>
          </a:bodyPr>
          <a:lstStyle/>
          <a:p>
            <a:endParaRPr lang="en-US" sz="1200" dirty="0"/>
          </a:p>
        </p:txBody>
      </p:sp>
      <p:pic>
        <p:nvPicPr>
          <p:cNvPr id="48" name="Picture 34" descr="Efficiency.png"/>
          <p:cNvPicPr>
            <a:picLocks noChangeAspect="1"/>
          </p:cNvPicPr>
          <p:nvPr/>
        </p:nvPicPr>
        <p:blipFill>
          <a:blip r:embed="rId7" cstate="print"/>
          <a:srcRect/>
          <a:stretch>
            <a:fillRect/>
          </a:stretch>
        </p:blipFill>
        <p:spPr bwMode="auto">
          <a:xfrm>
            <a:off x="2456899" y="1028700"/>
            <a:ext cx="743144" cy="689714"/>
          </a:xfrm>
          <a:prstGeom prst="rect">
            <a:avLst/>
          </a:prstGeom>
          <a:noFill/>
          <a:ln>
            <a:noFill/>
          </a:ln>
        </p:spPr>
      </p:pic>
      <p:grpSp>
        <p:nvGrpSpPr>
          <p:cNvPr id="12" name="Group 11"/>
          <p:cNvGrpSpPr/>
          <p:nvPr/>
        </p:nvGrpSpPr>
        <p:grpSpPr>
          <a:xfrm>
            <a:off x="4743494" y="1036832"/>
            <a:ext cx="514484" cy="585025"/>
            <a:chOff x="6323012" y="1382442"/>
            <a:chExt cx="685800" cy="780033"/>
          </a:xfrm>
        </p:grpSpPr>
        <p:grpSp>
          <p:nvGrpSpPr>
            <p:cNvPr id="5" name="Group 4"/>
            <p:cNvGrpSpPr/>
            <p:nvPr/>
          </p:nvGrpSpPr>
          <p:grpSpPr>
            <a:xfrm>
              <a:off x="6323012" y="1382442"/>
              <a:ext cx="666845" cy="780033"/>
              <a:chOff x="6323012" y="1382442"/>
              <a:chExt cx="666845" cy="780033"/>
            </a:xfrm>
          </p:grpSpPr>
          <p:grpSp>
            <p:nvGrpSpPr>
              <p:cNvPr id="46" name="Group 45"/>
              <p:cNvGrpSpPr/>
              <p:nvPr/>
            </p:nvGrpSpPr>
            <p:grpSpPr>
              <a:xfrm>
                <a:off x="6323012" y="1722873"/>
                <a:ext cx="353247" cy="439602"/>
                <a:chOff x="4800600" y="2419352"/>
                <a:chExt cx="466724" cy="624798"/>
              </a:xfrm>
            </p:grpSpPr>
            <p:sp>
              <p:nvSpPr>
                <p:cNvPr id="69" name="Rectangle 9"/>
                <p:cNvSpPr/>
                <p:nvPr/>
              </p:nvSpPr>
              <p:spPr>
                <a:xfrm>
                  <a:off x="4800600" y="2434550"/>
                  <a:ext cx="457200" cy="609600"/>
                </a:xfrm>
                <a:custGeom>
                  <a:avLst/>
                  <a:gdLst>
                    <a:gd name="connsiteX0" fmla="*/ 0 w 457200"/>
                    <a:gd name="connsiteY0" fmla="*/ 0 h 609600"/>
                    <a:gd name="connsiteX1" fmla="*/ 457200 w 457200"/>
                    <a:gd name="connsiteY1" fmla="*/ 0 h 609600"/>
                    <a:gd name="connsiteX2" fmla="*/ 457200 w 457200"/>
                    <a:gd name="connsiteY2" fmla="*/ 609600 h 609600"/>
                    <a:gd name="connsiteX3" fmla="*/ 0 w 457200"/>
                    <a:gd name="connsiteY3" fmla="*/ 609600 h 609600"/>
                    <a:gd name="connsiteX4" fmla="*/ 0 w 457200"/>
                    <a:gd name="connsiteY4" fmla="*/ 0 h 609600"/>
                    <a:gd name="connsiteX0" fmla="*/ 0 w 457200"/>
                    <a:gd name="connsiteY0" fmla="*/ 0 h 609600"/>
                    <a:gd name="connsiteX1" fmla="*/ 454819 w 457200"/>
                    <a:gd name="connsiteY1" fmla="*/ 0 h 609600"/>
                    <a:gd name="connsiteX2" fmla="*/ 457200 w 457200"/>
                    <a:gd name="connsiteY2" fmla="*/ 609600 h 609600"/>
                    <a:gd name="connsiteX3" fmla="*/ 0 w 457200"/>
                    <a:gd name="connsiteY3" fmla="*/ 609600 h 609600"/>
                    <a:gd name="connsiteX4" fmla="*/ 0 w 457200"/>
                    <a:gd name="connsiteY4" fmla="*/ 0 h 60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0" h="609600">
                      <a:moveTo>
                        <a:pt x="0" y="0"/>
                      </a:moveTo>
                      <a:lnTo>
                        <a:pt x="454819" y="0"/>
                      </a:lnTo>
                      <a:cubicBezTo>
                        <a:pt x="455613" y="203200"/>
                        <a:pt x="456406" y="406400"/>
                        <a:pt x="457200" y="609600"/>
                      </a:cubicBezTo>
                      <a:lnTo>
                        <a:pt x="0" y="609600"/>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Rectangle 69"/>
                <p:cNvSpPr/>
                <p:nvPr/>
              </p:nvSpPr>
              <p:spPr>
                <a:xfrm>
                  <a:off x="5114924" y="2419352"/>
                  <a:ext cx="142876" cy="1524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ectangle 11"/>
                <p:cNvSpPr/>
                <p:nvPr/>
              </p:nvSpPr>
              <p:spPr>
                <a:xfrm>
                  <a:off x="5114924" y="2419352"/>
                  <a:ext cx="152400" cy="152400"/>
                </a:xfrm>
                <a:custGeom>
                  <a:avLst/>
                  <a:gdLst>
                    <a:gd name="connsiteX0" fmla="*/ 0 w 152400"/>
                    <a:gd name="connsiteY0" fmla="*/ 0 h 152400"/>
                    <a:gd name="connsiteX1" fmla="*/ 152400 w 152400"/>
                    <a:gd name="connsiteY1" fmla="*/ 0 h 152400"/>
                    <a:gd name="connsiteX2" fmla="*/ 152400 w 152400"/>
                    <a:gd name="connsiteY2" fmla="*/ 152400 h 152400"/>
                    <a:gd name="connsiteX3" fmla="*/ 0 w 152400"/>
                    <a:gd name="connsiteY3" fmla="*/ 152400 h 152400"/>
                    <a:gd name="connsiteX4" fmla="*/ 0 w 152400"/>
                    <a:gd name="connsiteY4" fmla="*/ 0 h 152400"/>
                    <a:gd name="connsiteX0" fmla="*/ 0 w 152400"/>
                    <a:gd name="connsiteY0" fmla="*/ 0 h 152400"/>
                    <a:gd name="connsiteX1" fmla="*/ 78581 w 152400"/>
                    <a:gd name="connsiteY1" fmla="*/ 78581 h 152400"/>
                    <a:gd name="connsiteX2" fmla="*/ 152400 w 152400"/>
                    <a:gd name="connsiteY2" fmla="*/ 152400 h 152400"/>
                    <a:gd name="connsiteX3" fmla="*/ 0 w 152400"/>
                    <a:gd name="connsiteY3" fmla="*/ 152400 h 152400"/>
                    <a:gd name="connsiteX4" fmla="*/ 0 w 152400"/>
                    <a:gd name="connsiteY4" fmla="*/ 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0" y="0"/>
                      </a:moveTo>
                      <a:lnTo>
                        <a:pt x="78581" y="78581"/>
                      </a:lnTo>
                      <a:lnTo>
                        <a:pt x="152400" y="152400"/>
                      </a:lnTo>
                      <a:lnTo>
                        <a:pt x="0" y="152400"/>
                      </a:lnTo>
                      <a:lnTo>
                        <a:pt x="0" y="0"/>
                      </a:lnTo>
                      <a:close/>
                    </a:path>
                  </a:pathLst>
                </a:custGeom>
                <a:solidFill>
                  <a:schemeClr val="bg1"/>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9" name="Group 48"/>
              <p:cNvGrpSpPr/>
              <p:nvPr/>
            </p:nvGrpSpPr>
            <p:grpSpPr>
              <a:xfrm>
                <a:off x="6636610" y="1382442"/>
                <a:ext cx="353247" cy="439602"/>
                <a:chOff x="4800600" y="2419352"/>
                <a:chExt cx="466724" cy="624798"/>
              </a:xfrm>
            </p:grpSpPr>
            <p:sp>
              <p:nvSpPr>
                <p:cNvPr id="66" name="Rectangle 9"/>
                <p:cNvSpPr/>
                <p:nvPr/>
              </p:nvSpPr>
              <p:spPr>
                <a:xfrm>
                  <a:off x="4800600" y="2434550"/>
                  <a:ext cx="457200" cy="609600"/>
                </a:xfrm>
                <a:custGeom>
                  <a:avLst/>
                  <a:gdLst>
                    <a:gd name="connsiteX0" fmla="*/ 0 w 457200"/>
                    <a:gd name="connsiteY0" fmla="*/ 0 h 609600"/>
                    <a:gd name="connsiteX1" fmla="*/ 457200 w 457200"/>
                    <a:gd name="connsiteY1" fmla="*/ 0 h 609600"/>
                    <a:gd name="connsiteX2" fmla="*/ 457200 w 457200"/>
                    <a:gd name="connsiteY2" fmla="*/ 609600 h 609600"/>
                    <a:gd name="connsiteX3" fmla="*/ 0 w 457200"/>
                    <a:gd name="connsiteY3" fmla="*/ 609600 h 609600"/>
                    <a:gd name="connsiteX4" fmla="*/ 0 w 457200"/>
                    <a:gd name="connsiteY4" fmla="*/ 0 h 609600"/>
                    <a:gd name="connsiteX0" fmla="*/ 0 w 457200"/>
                    <a:gd name="connsiteY0" fmla="*/ 0 h 609600"/>
                    <a:gd name="connsiteX1" fmla="*/ 454819 w 457200"/>
                    <a:gd name="connsiteY1" fmla="*/ 0 h 609600"/>
                    <a:gd name="connsiteX2" fmla="*/ 457200 w 457200"/>
                    <a:gd name="connsiteY2" fmla="*/ 609600 h 609600"/>
                    <a:gd name="connsiteX3" fmla="*/ 0 w 457200"/>
                    <a:gd name="connsiteY3" fmla="*/ 609600 h 609600"/>
                    <a:gd name="connsiteX4" fmla="*/ 0 w 457200"/>
                    <a:gd name="connsiteY4" fmla="*/ 0 h 60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0" h="609600">
                      <a:moveTo>
                        <a:pt x="0" y="0"/>
                      </a:moveTo>
                      <a:lnTo>
                        <a:pt x="454819" y="0"/>
                      </a:lnTo>
                      <a:cubicBezTo>
                        <a:pt x="455613" y="203200"/>
                        <a:pt x="456406" y="406400"/>
                        <a:pt x="457200" y="609600"/>
                      </a:cubicBezTo>
                      <a:lnTo>
                        <a:pt x="0" y="609600"/>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Rectangle 66"/>
                <p:cNvSpPr/>
                <p:nvPr/>
              </p:nvSpPr>
              <p:spPr>
                <a:xfrm>
                  <a:off x="5114924" y="2419352"/>
                  <a:ext cx="142876" cy="152400"/>
                </a:xfrm>
                <a:prstGeom prst="rect">
                  <a:avLst/>
                </a:prstGeom>
                <a:solidFill>
                  <a:srgbClr val="00D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Rectangle 11"/>
                <p:cNvSpPr/>
                <p:nvPr/>
              </p:nvSpPr>
              <p:spPr>
                <a:xfrm>
                  <a:off x="5114924" y="2419352"/>
                  <a:ext cx="152400" cy="152400"/>
                </a:xfrm>
                <a:custGeom>
                  <a:avLst/>
                  <a:gdLst>
                    <a:gd name="connsiteX0" fmla="*/ 0 w 152400"/>
                    <a:gd name="connsiteY0" fmla="*/ 0 h 152400"/>
                    <a:gd name="connsiteX1" fmla="*/ 152400 w 152400"/>
                    <a:gd name="connsiteY1" fmla="*/ 0 h 152400"/>
                    <a:gd name="connsiteX2" fmla="*/ 152400 w 152400"/>
                    <a:gd name="connsiteY2" fmla="*/ 152400 h 152400"/>
                    <a:gd name="connsiteX3" fmla="*/ 0 w 152400"/>
                    <a:gd name="connsiteY3" fmla="*/ 152400 h 152400"/>
                    <a:gd name="connsiteX4" fmla="*/ 0 w 152400"/>
                    <a:gd name="connsiteY4" fmla="*/ 0 h 152400"/>
                    <a:gd name="connsiteX0" fmla="*/ 0 w 152400"/>
                    <a:gd name="connsiteY0" fmla="*/ 0 h 152400"/>
                    <a:gd name="connsiteX1" fmla="*/ 78581 w 152400"/>
                    <a:gd name="connsiteY1" fmla="*/ 78581 h 152400"/>
                    <a:gd name="connsiteX2" fmla="*/ 152400 w 152400"/>
                    <a:gd name="connsiteY2" fmla="*/ 152400 h 152400"/>
                    <a:gd name="connsiteX3" fmla="*/ 0 w 152400"/>
                    <a:gd name="connsiteY3" fmla="*/ 152400 h 152400"/>
                    <a:gd name="connsiteX4" fmla="*/ 0 w 152400"/>
                    <a:gd name="connsiteY4" fmla="*/ 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0" y="0"/>
                      </a:moveTo>
                      <a:lnTo>
                        <a:pt x="78581" y="78581"/>
                      </a:lnTo>
                      <a:lnTo>
                        <a:pt x="152400" y="152400"/>
                      </a:lnTo>
                      <a:lnTo>
                        <a:pt x="0" y="152400"/>
                      </a:lnTo>
                      <a:lnTo>
                        <a:pt x="0" y="0"/>
                      </a:lnTo>
                      <a:close/>
                    </a:path>
                  </a:pathLst>
                </a:custGeom>
                <a:solidFill>
                  <a:schemeClr val="tx1"/>
                </a:solidFill>
                <a:ln>
                  <a:solidFill>
                    <a:srgbClr val="00DA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51" name="Group 50"/>
            <p:cNvGrpSpPr/>
            <p:nvPr/>
          </p:nvGrpSpPr>
          <p:grpSpPr>
            <a:xfrm>
              <a:off x="6421827" y="1595246"/>
              <a:ext cx="515057" cy="477130"/>
              <a:chOff x="5471124" y="2120452"/>
              <a:chExt cx="608205" cy="606080"/>
            </a:xfrm>
            <a:solidFill>
              <a:schemeClr val="tx2">
                <a:lumMod val="60000"/>
                <a:lumOff val="40000"/>
              </a:schemeClr>
            </a:solidFill>
          </p:grpSpPr>
          <p:sp>
            <p:nvSpPr>
              <p:cNvPr id="62" name="Oval 61"/>
              <p:cNvSpPr/>
              <p:nvPr/>
            </p:nvSpPr>
            <p:spPr>
              <a:xfrm>
                <a:off x="5471124" y="2120452"/>
                <a:ext cx="480759" cy="480757"/>
              </a:xfrm>
              <a:prstGeom prst="ellipse">
                <a:avLst/>
              </a:prstGeom>
              <a:solidFill>
                <a:srgbClr val="00D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Oval 62"/>
              <p:cNvSpPr/>
              <p:nvPr/>
            </p:nvSpPr>
            <p:spPr>
              <a:xfrm>
                <a:off x="5567362" y="2214562"/>
                <a:ext cx="295275" cy="29527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4" name="Straight Connector 63"/>
              <p:cNvCxnSpPr/>
              <p:nvPr/>
            </p:nvCxnSpPr>
            <p:spPr>
              <a:xfrm>
                <a:off x="5845966" y="2497932"/>
                <a:ext cx="233363" cy="228600"/>
              </a:xfrm>
              <a:prstGeom prst="line">
                <a:avLst/>
              </a:prstGeom>
              <a:grpFill/>
              <a:ln w="14922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4" name="Group 3"/>
            <p:cNvGrpSpPr/>
            <p:nvPr/>
          </p:nvGrpSpPr>
          <p:grpSpPr>
            <a:xfrm>
              <a:off x="6452774" y="1624020"/>
              <a:ext cx="346039" cy="321682"/>
              <a:chOff x="6452774" y="1624020"/>
              <a:chExt cx="346039" cy="321682"/>
            </a:xfrm>
          </p:grpSpPr>
          <p:sp>
            <p:nvSpPr>
              <p:cNvPr id="53" name="Oval 52"/>
              <p:cNvSpPr/>
              <p:nvPr/>
            </p:nvSpPr>
            <p:spPr>
              <a:xfrm>
                <a:off x="6452774" y="1624020"/>
                <a:ext cx="346039" cy="32168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Oval 55"/>
              <p:cNvSpPr/>
              <p:nvPr/>
            </p:nvSpPr>
            <p:spPr>
              <a:xfrm>
                <a:off x="6514051" y="1680984"/>
                <a:ext cx="223484" cy="207753"/>
              </a:xfrm>
              <a:prstGeom prst="ellipse">
                <a:avLst/>
              </a:prstGeom>
              <a:solidFill>
                <a:srgbClr val="00D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 name="Group 2"/>
            <p:cNvGrpSpPr/>
            <p:nvPr/>
          </p:nvGrpSpPr>
          <p:grpSpPr>
            <a:xfrm>
              <a:off x="6724917" y="1880361"/>
              <a:ext cx="283895" cy="259527"/>
              <a:chOff x="6724917" y="1880361"/>
              <a:chExt cx="283895" cy="259527"/>
            </a:xfrm>
          </p:grpSpPr>
          <p:cxnSp>
            <p:nvCxnSpPr>
              <p:cNvPr id="60" name="Straight Connector 59"/>
              <p:cNvCxnSpPr/>
              <p:nvPr/>
            </p:nvCxnSpPr>
            <p:spPr>
              <a:xfrm>
                <a:off x="6724917" y="1880361"/>
                <a:ext cx="176625" cy="160841"/>
              </a:xfrm>
              <a:prstGeom prst="line">
                <a:avLst/>
              </a:prstGeom>
              <a:ln w="149225">
                <a:solidFill>
                  <a:schemeClr val="tx1"/>
                </a:solidFill>
              </a:ln>
            </p:spPr>
            <p:style>
              <a:lnRef idx="1">
                <a:schemeClr val="accent1"/>
              </a:lnRef>
              <a:fillRef idx="0">
                <a:schemeClr val="accent1"/>
              </a:fillRef>
              <a:effectRef idx="0">
                <a:schemeClr val="accent1"/>
              </a:effectRef>
              <a:fontRef idx="minor">
                <a:schemeClr val="tx1"/>
              </a:fontRef>
            </p:style>
          </p:cxnSp>
          <p:sp>
            <p:nvSpPr>
              <p:cNvPr id="61" name="Oval 60"/>
              <p:cNvSpPr/>
              <p:nvPr/>
            </p:nvSpPr>
            <p:spPr>
              <a:xfrm>
                <a:off x="6856483" y="1998280"/>
                <a:ext cx="152329" cy="141608"/>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52"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59"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8"/>
              </a:rPr>
              <a:t>www.rapidbbs.cn</a:t>
            </a:r>
            <a:endParaRPr lang="zh-CN" altLang="en-US" sz="1200" b="0">
              <a:latin typeface="Arial" charset="0"/>
              <a:ea typeface="ＭＳ Ｐゴシック" pitchFamily="34" charset="-128"/>
            </a:endParaRPr>
          </a:p>
        </p:txBody>
      </p:sp>
      <p:pic>
        <p:nvPicPr>
          <p:cNvPr id="65" name="Picture 2">
            <a:hlinkClick r:id="rId8"/>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576085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508155" y="1772216"/>
            <a:ext cx="1854943" cy="176864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91412" rIns="91412" bIns="68571" numCol="1" rtlCol="0" anchor="b" anchorCtr="0" compatLnSpc="1">
            <a:prstTxWarp prst="textNoShape">
              <a:avLst/>
            </a:prstTxWarp>
          </a:bodyPr>
          <a:lstStyle/>
          <a:p>
            <a:pPr defTabSz="685466" fontAlgn="base">
              <a:spcBef>
                <a:spcPct val="0"/>
              </a:spcBef>
              <a:spcAft>
                <a:spcPct val="0"/>
              </a:spcAft>
            </a:pPr>
            <a:r>
              <a:rPr lang="en-US" sz="1500" dirty="0">
                <a:gradFill>
                  <a:gsLst>
                    <a:gs pos="0">
                      <a:srgbClr val="FFFFFF"/>
                    </a:gs>
                    <a:gs pos="100000">
                      <a:srgbClr val="FFFFFF"/>
                    </a:gs>
                  </a:gsLst>
                  <a:lin ang="5400000" scaled="0"/>
                </a:gradFill>
              </a:rPr>
              <a:t>SQL Server in a Virtual Machine</a:t>
            </a:r>
          </a:p>
        </p:txBody>
      </p:sp>
      <p:sp>
        <p:nvSpPr>
          <p:cNvPr id="18" name="Rectangle 17"/>
          <p:cNvSpPr/>
          <p:nvPr/>
        </p:nvSpPr>
        <p:spPr bwMode="auto">
          <a:xfrm>
            <a:off x="2526288" y="1772216"/>
            <a:ext cx="1854943" cy="176864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91412" rIns="0" bIns="68571" numCol="1" rtlCol="0" anchor="b" anchorCtr="0" compatLnSpc="1">
            <a:prstTxWarp prst="textNoShape">
              <a:avLst/>
            </a:prstTxWarp>
          </a:bodyPr>
          <a:lstStyle/>
          <a:p>
            <a:pPr defTabSz="685466" fontAlgn="base">
              <a:spcBef>
                <a:spcPct val="0"/>
              </a:spcBef>
              <a:spcAft>
                <a:spcPct val="0"/>
              </a:spcAft>
            </a:pPr>
            <a:r>
              <a:rPr lang="en-US" sz="1500" dirty="0">
                <a:gradFill>
                  <a:gsLst>
                    <a:gs pos="0">
                      <a:srgbClr val="FFFFFF"/>
                    </a:gs>
                    <a:gs pos="100000">
                      <a:srgbClr val="FFFFFF"/>
                    </a:gs>
                  </a:gsLst>
                  <a:lin ang="5400000" scaled="0"/>
                </a:gradFill>
              </a:rPr>
              <a:t>Azure SQL Database</a:t>
            </a:r>
          </a:p>
        </p:txBody>
      </p:sp>
      <p:pic>
        <p:nvPicPr>
          <p:cNvPr id="19" name="Picture 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883439" y="2037728"/>
            <a:ext cx="1140626" cy="914400"/>
          </a:xfrm>
          <a:prstGeom prst="rect">
            <a:avLst/>
          </a:prstGeom>
        </p:spPr>
      </p:pic>
      <p:pic>
        <p:nvPicPr>
          <p:cNvPr id="20" name="Picture 3" descr="C:\Users\scottkl\AppData\Local\MetroStyleAddIn\Icons\Virtualization.wm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3621" y="2037730"/>
            <a:ext cx="1183998" cy="914400"/>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p:nvSpPr>
        <p:spPr bwMode="auto">
          <a:xfrm>
            <a:off x="4544420" y="1772213"/>
            <a:ext cx="1854943" cy="176864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91412" rIns="91412" bIns="68571" numCol="1" rtlCol="0" anchor="b" anchorCtr="0" compatLnSpc="1">
            <a:prstTxWarp prst="textNoShape">
              <a:avLst/>
            </a:prstTxWarp>
          </a:bodyPr>
          <a:lstStyle/>
          <a:p>
            <a:pPr defTabSz="685466" fontAlgn="base">
              <a:spcBef>
                <a:spcPct val="0"/>
              </a:spcBef>
              <a:spcAft>
                <a:spcPct val="0"/>
              </a:spcAft>
            </a:pPr>
            <a:r>
              <a:rPr lang="en-US" sz="1500" dirty="0">
                <a:gradFill>
                  <a:gsLst>
                    <a:gs pos="0">
                      <a:srgbClr val="FFFFFF"/>
                    </a:gs>
                    <a:gs pos="100000">
                      <a:srgbClr val="FFFFFF"/>
                    </a:gs>
                  </a:gsLst>
                  <a:lin ang="5400000" scaled="0"/>
                </a:gradFill>
              </a:rPr>
              <a:t>Azure Table Storage</a:t>
            </a:r>
          </a:p>
        </p:txBody>
      </p:sp>
      <p:pic>
        <p:nvPicPr>
          <p:cNvPr id="22" name="Picture 2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901572" y="2037728"/>
            <a:ext cx="1140626" cy="914400"/>
          </a:xfrm>
          <a:prstGeom prst="rect">
            <a:avLst/>
          </a:prstGeom>
        </p:spPr>
      </p:pic>
      <p:sp>
        <p:nvSpPr>
          <p:cNvPr id="23" name="Rectangle 22"/>
          <p:cNvSpPr/>
          <p:nvPr/>
        </p:nvSpPr>
        <p:spPr bwMode="auto">
          <a:xfrm>
            <a:off x="6562554" y="1772216"/>
            <a:ext cx="1854943" cy="176864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91412" rIns="91412" bIns="68571" numCol="1" rtlCol="0" anchor="b" anchorCtr="0" compatLnSpc="1">
            <a:prstTxWarp prst="textNoShape">
              <a:avLst/>
            </a:prstTxWarp>
          </a:bodyPr>
          <a:lstStyle/>
          <a:p>
            <a:pPr defTabSz="685466" fontAlgn="base">
              <a:spcBef>
                <a:spcPct val="0"/>
              </a:spcBef>
              <a:spcAft>
                <a:spcPct val="0"/>
              </a:spcAft>
            </a:pPr>
            <a:r>
              <a:rPr lang="en-US" sz="1500" dirty="0">
                <a:gradFill>
                  <a:gsLst>
                    <a:gs pos="0">
                      <a:srgbClr val="FFFFFF"/>
                    </a:gs>
                    <a:gs pos="100000">
                      <a:srgbClr val="FFFFFF"/>
                    </a:gs>
                  </a:gsLst>
                  <a:lin ang="5400000" scaled="0"/>
                </a:gradFill>
              </a:rPr>
              <a:t>Azure Blob Storage</a:t>
            </a:r>
          </a:p>
        </p:txBody>
      </p:sp>
      <p:pic>
        <p:nvPicPr>
          <p:cNvPr id="24" name="Picture 2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19705" y="2037728"/>
            <a:ext cx="1140626" cy="914400"/>
          </a:xfrm>
          <a:prstGeom prst="rect">
            <a:avLst/>
          </a:prstGeom>
        </p:spPr>
      </p:pic>
      <p:sp>
        <p:nvSpPr>
          <p:cNvPr id="11" name="Rectangle 10"/>
          <p:cNvSpPr/>
          <p:nvPr/>
        </p:nvSpPr>
        <p:spPr bwMode="auto">
          <a:xfrm>
            <a:off x="0" y="3540863"/>
            <a:ext cx="9144000" cy="160264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6" tIns="34286" rIns="34286" bIns="34286" numCol="1" spcCol="0" rtlCol="0" fromWordArt="0" anchor="ctr" anchorCtr="0" forceAA="0" compatLnSpc="1">
            <a:prstTxWarp prst="textNoShape">
              <a:avLst/>
            </a:prstTxWarp>
            <a:noAutofit/>
          </a:bodyPr>
          <a:lstStyle/>
          <a:p>
            <a:pPr algn="ctr" defTabSz="685495"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3" name="Title 2"/>
          <p:cNvSpPr txBox="1">
            <a:spLocks/>
          </p:cNvSpPr>
          <p:nvPr/>
        </p:nvSpPr>
        <p:spPr>
          <a:xfrm>
            <a:off x="389436" y="171456"/>
            <a:ext cx="7806512"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a:gradFill>
                  <a:gsLst>
                    <a:gs pos="1250">
                      <a:schemeClr val="tx1"/>
                    </a:gs>
                    <a:gs pos="100000">
                      <a:schemeClr val="tx1"/>
                    </a:gs>
                  </a:gsLst>
                  <a:lin ang="5400000" scaled="0"/>
                </a:gradFill>
                <a:latin typeface="+mj-lt"/>
              </a:rPr>
              <a:t>Azure Data Management</a:t>
            </a:r>
          </a:p>
        </p:txBody>
      </p:sp>
      <p:sp>
        <p:nvSpPr>
          <p:cNvPr id="14" name="Rectangle 13"/>
          <p:cNvSpPr/>
          <p:nvPr/>
        </p:nvSpPr>
        <p:spPr bwMode="auto">
          <a:xfrm>
            <a:off x="508155" y="1772216"/>
            <a:ext cx="1854943" cy="1768641"/>
          </a:xfrm>
          <a:prstGeom prst="rect">
            <a:avLst/>
          </a:prstGeom>
          <a:solidFill>
            <a:schemeClr val="accent6"/>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12" tIns="91412" rIns="91412" bIns="68571" numCol="1" rtlCol="0" anchor="b" anchorCtr="0" compatLnSpc="1">
            <a:prstTxWarp prst="textNoShape">
              <a:avLst/>
            </a:prstTxWarp>
          </a:bodyPr>
          <a:lstStyle/>
          <a:p>
            <a:pPr defTabSz="685466" fontAlgn="base">
              <a:spcBef>
                <a:spcPct val="0"/>
              </a:spcBef>
              <a:spcAft>
                <a:spcPct val="0"/>
              </a:spcAft>
            </a:pPr>
            <a:r>
              <a:rPr lang="en-US" sz="1500" dirty="0">
                <a:gradFill>
                  <a:gsLst>
                    <a:gs pos="0">
                      <a:srgbClr val="FFFFFF"/>
                    </a:gs>
                    <a:gs pos="100000">
                      <a:srgbClr val="FFFFFF"/>
                    </a:gs>
                  </a:gsLst>
                  <a:lin ang="5400000" scaled="0"/>
                </a:gradFill>
              </a:rPr>
              <a:t>SQL Server in a Virtual Machine</a:t>
            </a:r>
          </a:p>
        </p:txBody>
      </p:sp>
      <p:pic>
        <p:nvPicPr>
          <p:cNvPr id="15" name="Picture 3" descr="C:\Users\scottkl\AppData\Local\MetroStyleAddIn\Icons\Virtualization.wm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3621" y="2037730"/>
            <a:ext cx="1183998" cy="914400"/>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7"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7"/>
              </a:rPr>
              <a:t>www.rapidbbs.cn</a:t>
            </a:r>
            <a:endParaRPr lang="zh-CN" altLang="en-US" sz="1200" b="0">
              <a:latin typeface="Arial" charset="0"/>
              <a:ea typeface="ＭＳ Ｐゴシック" pitchFamily="34" charset="-128"/>
            </a:endParaRPr>
          </a:p>
        </p:txBody>
      </p:sp>
      <p:pic>
        <p:nvPicPr>
          <p:cNvPr id="25" name="Picture 2">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21029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750" fill="hold"/>
                                        <p:tgtEl>
                                          <p:spTgt spid="12"/>
                                        </p:tgtEl>
                                        <p:attrNameLst>
                                          <p:attrName>ppt_x</p:attrName>
                                        </p:attrNameLst>
                                      </p:cBhvr>
                                      <p:tavLst>
                                        <p:tav tm="0">
                                          <p:val>
                                            <p:strVal val="#ppt_x"/>
                                          </p:val>
                                        </p:tav>
                                        <p:tav tm="100000">
                                          <p:val>
                                            <p:strVal val="#ppt_x"/>
                                          </p:val>
                                        </p:tav>
                                      </p:tavLst>
                                    </p:anim>
                                    <p:anim calcmode="lin" valueType="num">
                                      <p:cBhvr additive="base">
                                        <p:cTn id="8" dur="750" fill="hold"/>
                                        <p:tgtEl>
                                          <p:spTgt spid="12"/>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0"/>
                                  </p:stCondLst>
                                  <p:childTnLst>
                                    <p:set>
                                      <p:cBhvr>
                                        <p:cTn id="10" dur="1" fill="hold">
                                          <p:stCondLst>
                                            <p:cond delay="0"/>
                                          </p:stCondLst>
                                        </p:cTn>
                                        <p:tgtEl>
                                          <p:spTgt spid="20"/>
                                        </p:tgtEl>
                                        <p:attrNameLst>
                                          <p:attrName>style.visibility</p:attrName>
                                        </p:attrNameLst>
                                      </p:cBhvr>
                                      <p:to>
                                        <p:strVal val="visible"/>
                                      </p:to>
                                    </p:set>
                                    <p:anim calcmode="lin" valueType="num">
                                      <p:cBhvr additive="base">
                                        <p:cTn id="11" dur="750" fill="hold"/>
                                        <p:tgtEl>
                                          <p:spTgt spid="20"/>
                                        </p:tgtEl>
                                        <p:attrNameLst>
                                          <p:attrName>ppt_x</p:attrName>
                                        </p:attrNameLst>
                                      </p:cBhvr>
                                      <p:tavLst>
                                        <p:tav tm="0">
                                          <p:val>
                                            <p:strVal val="#ppt_x"/>
                                          </p:val>
                                        </p:tav>
                                        <p:tav tm="100000">
                                          <p:val>
                                            <p:strVal val="#ppt_x"/>
                                          </p:val>
                                        </p:tav>
                                      </p:tavLst>
                                    </p:anim>
                                    <p:anim calcmode="lin" valueType="num">
                                      <p:cBhvr additive="base">
                                        <p:cTn id="12" dur="750" fill="hold"/>
                                        <p:tgtEl>
                                          <p:spTgt spid="20"/>
                                        </p:tgtEl>
                                        <p:attrNameLst>
                                          <p:attrName>ppt_y</p:attrName>
                                        </p:attrNameLst>
                                      </p:cBhvr>
                                      <p:tavLst>
                                        <p:tav tm="0">
                                          <p:val>
                                            <p:strVal val="1+#ppt_h/2"/>
                                          </p:val>
                                        </p:tav>
                                        <p:tav tm="100000">
                                          <p:val>
                                            <p:strVal val="#ppt_y"/>
                                          </p:val>
                                        </p:tav>
                                      </p:tavLst>
                                    </p:anim>
                                  </p:childTnLst>
                                </p:cTn>
                              </p:par>
                            </p:childTnLst>
                          </p:cTn>
                        </p:par>
                        <p:par>
                          <p:cTn id="13" fill="hold">
                            <p:stCondLst>
                              <p:cond delay="750"/>
                            </p:stCondLst>
                            <p:childTnLst>
                              <p:par>
                                <p:cTn id="14" presetID="2" presetClass="entr" presetSubtype="4" decel="100000" fill="hold" grpId="0" nodeType="afterEffect">
                                  <p:stCondLst>
                                    <p:cond delay="0"/>
                                  </p:stCondLst>
                                  <p:childTnLst>
                                    <p:set>
                                      <p:cBhvr>
                                        <p:cTn id="15" dur="1" fill="hold">
                                          <p:stCondLst>
                                            <p:cond delay="0"/>
                                          </p:stCondLst>
                                        </p:cTn>
                                        <p:tgtEl>
                                          <p:spTgt spid="18"/>
                                        </p:tgtEl>
                                        <p:attrNameLst>
                                          <p:attrName>style.visibility</p:attrName>
                                        </p:attrNameLst>
                                      </p:cBhvr>
                                      <p:to>
                                        <p:strVal val="visible"/>
                                      </p:to>
                                    </p:set>
                                    <p:anim calcmode="lin" valueType="num">
                                      <p:cBhvr additive="base">
                                        <p:cTn id="16" dur="750" fill="hold"/>
                                        <p:tgtEl>
                                          <p:spTgt spid="18"/>
                                        </p:tgtEl>
                                        <p:attrNameLst>
                                          <p:attrName>ppt_x</p:attrName>
                                        </p:attrNameLst>
                                      </p:cBhvr>
                                      <p:tavLst>
                                        <p:tav tm="0">
                                          <p:val>
                                            <p:strVal val="#ppt_x"/>
                                          </p:val>
                                        </p:tav>
                                        <p:tav tm="100000">
                                          <p:val>
                                            <p:strVal val="#ppt_x"/>
                                          </p:val>
                                        </p:tav>
                                      </p:tavLst>
                                    </p:anim>
                                    <p:anim calcmode="lin" valueType="num">
                                      <p:cBhvr additive="base">
                                        <p:cTn id="17" dur="750" fill="hold"/>
                                        <p:tgtEl>
                                          <p:spTgt spid="18"/>
                                        </p:tgtEl>
                                        <p:attrNameLst>
                                          <p:attrName>ppt_y</p:attrName>
                                        </p:attrNameLst>
                                      </p:cBhvr>
                                      <p:tavLst>
                                        <p:tav tm="0">
                                          <p:val>
                                            <p:strVal val="1+#ppt_h/2"/>
                                          </p:val>
                                        </p:tav>
                                        <p:tav tm="100000">
                                          <p:val>
                                            <p:strVal val="#ppt_y"/>
                                          </p:val>
                                        </p:tav>
                                      </p:tavLst>
                                    </p:anim>
                                  </p:childTnLst>
                                </p:cTn>
                              </p:par>
                              <p:par>
                                <p:cTn id="18" presetID="2" presetClass="entr" presetSubtype="4" decel="100000" fill="hold" nodeType="withEffect">
                                  <p:stCondLst>
                                    <p:cond delay="0"/>
                                  </p:stCondLst>
                                  <p:childTnLst>
                                    <p:set>
                                      <p:cBhvr>
                                        <p:cTn id="19" dur="1" fill="hold">
                                          <p:stCondLst>
                                            <p:cond delay="0"/>
                                          </p:stCondLst>
                                        </p:cTn>
                                        <p:tgtEl>
                                          <p:spTgt spid="19"/>
                                        </p:tgtEl>
                                        <p:attrNameLst>
                                          <p:attrName>style.visibility</p:attrName>
                                        </p:attrNameLst>
                                      </p:cBhvr>
                                      <p:to>
                                        <p:strVal val="visible"/>
                                      </p:to>
                                    </p:set>
                                    <p:anim calcmode="lin" valueType="num">
                                      <p:cBhvr additive="base">
                                        <p:cTn id="20" dur="750" fill="hold"/>
                                        <p:tgtEl>
                                          <p:spTgt spid="19"/>
                                        </p:tgtEl>
                                        <p:attrNameLst>
                                          <p:attrName>ppt_x</p:attrName>
                                        </p:attrNameLst>
                                      </p:cBhvr>
                                      <p:tavLst>
                                        <p:tav tm="0">
                                          <p:val>
                                            <p:strVal val="#ppt_x"/>
                                          </p:val>
                                        </p:tav>
                                        <p:tav tm="100000">
                                          <p:val>
                                            <p:strVal val="#ppt_x"/>
                                          </p:val>
                                        </p:tav>
                                      </p:tavLst>
                                    </p:anim>
                                    <p:anim calcmode="lin" valueType="num">
                                      <p:cBhvr additive="base">
                                        <p:cTn id="21" dur="750" fill="hold"/>
                                        <p:tgtEl>
                                          <p:spTgt spid="19"/>
                                        </p:tgtEl>
                                        <p:attrNameLst>
                                          <p:attrName>ppt_y</p:attrName>
                                        </p:attrNameLst>
                                      </p:cBhvr>
                                      <p:tavLst>
                                        <p:tav tm="0">
                                          <p:val>
                                            <p:strVal val="1+#ppt_h/2"/>
                                          </p:val>
                                        </p:tav>
                                        <p:tav tm="100000">
                                          <p:val>
                                            <p:strVal val="#ppt_y"/>
                                          </p:val>
                                        </p:tav>
                                      </p:tavLst>
                                    </p:anim>
                                  </p:childTnLst>
                                </p:cTn>
                              </p:par>
                            </p:childTnLst>
                          </p:cTn>
                        </p:par>
                        <p:par>
                          <p:cTn id="22" fill="hold">
                            <p:stCondLst>
                              <p:cond delay="1500"/>
                            </p:stCondLst>
                            <p:childTnLst>
                              <p:par>
                                <p:cTn id="23" presetID="2" presetClass="entr" presetSubtype="4" decel="100000" fill="hold" grpId="0" nodeType="afterEffect">
                                  <p:stCondLst>
                                    <p:cond delay="0"/>
                                  </p:stCondLst>
                                  <p:childTnLst>
                                    <p:set>
                                      <p:cBhvr>
                                        <p:cTn id="24" dur="1" fill="hold">
                                          <p:stCondLst>
                                            <p:cond delay="0"/>
                                          </p:stCondLst>
                                        </p:cTn>
                                        <p:tgtEl>
                                          <p:spTgt spid="21"/>
                                        </p:tgtEl>
                                        <p:attrNameLst>
                                          <p:attrName>style.visibility</p:attrName>
                                        </p:attrNameLst>
                                      </p:cBhvr>
                                      <p:to>
                                        <p:strVal val="visible"/>
                                      </p:to>
                                    </p:set>
                                    <p:anim calcmode="lin" valueType="num">
                                      <p:cBhvr additive="base">
                                        <p:cTn id="25" dur="750" fill="hold"/>
                                        <p:tgtEl>
                                          <p:spTgt spid="21"/>
                                        </p:tgtEl>
                                        <p:attrNameLst>
                                          <p:attrName>ppt_x</p:attrName>
                                        </p:attrNameLst>
                                      </p:cBhvr>
                                      <p:tavLst>
                                        <p:tav tm="0">
                                          <p:val>
                                            <p:strVal val="#ppt_x"/>
                                          </p:val>
                                        </p:tav>
                                        <p:tav tm="100000">
                                          <p:val>
                                            <p:strVal val="#ppt_x"/>
                                          </p:val>
                                        </p:tav>
                                      </p:tavLst>
                                    </p:anim>
                                    <p:anim calcmode="lin" valueType="num">
                                      <p:cBhvr additive="base">
                                        <p:cTn id="26" dur="750" fill="hold"/>
                                        <p:tgtEl>
                                          <p:spTgt spid="21"/>
                                        </p:tgtEl>
                                        <p:attrNameLst>
                                          <p:attrName>ppt_y</p:attrName>
                                        </p:attrNameLst>
                                      </p:cBhvr>
                                      <p:tavLst>
                                        <p:tav tm="0">
                                          <p:val>
                                            <p:strVal val="1+#ppt_h/2"/>
                                          </p:val>
                                        </p:tav>
                                        <p:tav tm="100000">
                                          <p:val>
                                            <p:strVal val="#ppt_y"/>
                                          </p:val>
                                        </p:tav>
                                      </p:tavLst>
                                    </p:anim>
                                  </p:childTnLst>
                                </p:cTn>
                              </p:par>
                              <p:par>
                                <p:cTn id="27" presetID="2" presetClass="entr" presetSubtype="4" decel="100000" fill="hold" nodeType="withEffect">
                                  <p:stCondLst>
                                    <p:cond delay="0"/>
                                  </p:stCondLst>
                                  <p:childTnLst>
                                    <p:set>
                                      <p:cBhvr>
                                        <p:cTn id="28" dur="1" fill="hold">
                                          <p:stCondLst>
                                            <p:cond delay="0"/>
                                          </p:stCondLst>
                                        </p:cTn>
                                        <p:tgtEl>
                                          <p:spTgt spid="22"/>
                                        </p:tgtEl>
                                        <p:attrNameLst>
                                          <p:attrName>style.visibility</p:attrName>
                                        </p:attrNameLst>
                                      </p:cBhvr>
                                      <p:to>
                                        <p:strVal val="visible"/>
                                      </p:to>
                                    </p:set>
                                    <p:anim calcmode="lin" valueType="num">
                                      <p:cBhvr additive="base">
                                        <p:cTn id="29" dur="750" fill="hold"/>
                                        <p:tgtEl>
                                          <p:spTgt spid="22"/>
                                        </p:tgtEl>
                                        <p:attrNameLst>
                                          <p:attrName>ppt_x</p:attrName>
                                        </p:attrNameLst>
                                      </p:cBhvr>
                                      <p:tavLst>
                                        <p:tav tm="0">
                                          <p:val>
                                            <p:strVal val="#ppt_x"/>
                                          </p:val>
                                        </p:tav>
                                        <p:tav tm="100000">
                                          <p:val>
                                            <p:strVal val="#ppt_x"/>
                                          </p:val>
                                        </p:tav>
                                      </p:tavLst>
                                    </p:anim>
                                    <p:anim calcmode="lin" valueType="num">
                                      <p:cBhvr additive="base">
                                        <p:cTn id="30" dur="750" fill="hold"/>
                                        <p:tgtEl>
                                          <p:spTgt spid="22"/>
                                        </p:tgtEl>
                                        <p:attrNameLst>
                                          <p:attrName>ppt_y</p:attrName>
                                        </p:attrNameLst>
                                      </p:cBhvr>
                                      <p:tavLst>
                                        <p:tav tm="0">
                                          <p:val>
                                            <p:strVal val="1+#ppt_h/2"/>
                                          </p:val>
                                        </p:tav>
                                        <p:tav tm="100000">
                                          <p:val>
                                            <p:strVal val="#ppt_y"/>
                                          </p:val>
                                        </p:tav>
                                      </p:tavLst>
                                    </p:anim>
                                  </p:childTnLst>
                                </p:cTn>
                              </p:par>
                            </p:childTnLst>
                          </p:cTn>
                        </p:par>
                        <p:par>
                          <p:cTn id="31" fill="hold">
                            <p:stCondLst>
                              <p:cond delay="2250"/>
                            </p:stCondLst>
                            <p:childTnLst>
                              <p:par>
                                <p:cTn id="32" presetID="2" presetClass="entr" presetSubtype="4" decel="100000" fill="hold" grpId="0" nodeType="afterEffect">
                                  <p:stCondLst>
                                    <p:cond delay="0"/>
                                  </p:stCondLst>
                                  <p:childTnLst>
                                    <p:set>
                                      <p:cBhvr>
                                        <p:cTn id="33" dur="1" fill="hold">
                                          <p:stCondLst>
                                            <p:cond delay="0"/>
                                          </p:stCondLst>
                                        </p:cTn>
                                        <p:tgtEl>
                                          <p:spTgt spid="23"/>
                                        </p:tgtEl>
                                        <p:attrNameLst>
                                          <p:attrName>style.visibility</p:attrName>
                                        </p:attrNameLst>
                                      </p:cBhvr>
                                      <p:to>
                                        <p:strVal val="visible"/>
                                      </p:to>
                                    </p:set>
                                    <p:anim calcmode="lin" valueType="num">
                                      <p:cBhvr additive="base">
                                        <p:cTn id="34" dur="750" fill="hold"/>
                                        <p:tgtEl>
                                          <p:spTgt spid="23"/>
                                        </p:tgtEl>
                                        <p:attrNameLst>
                                          <p:attrName>ppt_x</p:attrName>
                                        </p:attrNameLst>
                                      </p:cBhvr>
                                      <p:tavLst>
                                        <p:tav tm="0">
                                          <p:val>
                                            <p:strVal val="#ppt_x"/>
                                          </p:val>
                                        </p:tav>
                                        <p:tav tm="100000">
                                          <p:val>
                                            <p:strVal val="#ppt_x"/>
                                          </p:val>
                                        </p:tav>
                                      </p:tavLst>
                                    </p:anim>
                                    <p:anim calcmode="lin" valueType="num">
                                      <p:cBhvr additive="base">
                                        <p:cTn id="35" dur="750" fill="hold"/>
                                        <p:tgtEl>
                                          <p:spTgt spid="23"/>
                                        </p:tgtEl>
                                        <p:attrNameLst>
                                          <p:attrName>ppt_y</p:attrName>
                                        </p:attrNameLst>
                                      </p:cBhvr>
                                      <p:tavLst>
                                        <p:tav tm="0">
                                          <p:val>
                                            <p:strVal val="1+#ppt_h/2"/>
                                          </p:val>
                                        </p:tav>
                                        <p:tav tm="100000">
                                          <p:val>
                                            <p:strVal val="#ppt_y"/>
                                          </p:val>
                                        </p:tav>
                                      </p:tavLst>
                                    </p:anim>
                                  </p:childTnLst>
                                </p:cTn>
                              </p:par>
                              <p:par>
                                <p:cTn id="36" presetID="2" presetClass="entr" presetSubtype="4" decel="100000" fill="hold" nodeType="withEffect">
                                  <p:stCondLst>
                                    <p:cond delay="0"/>
                                  </p:stCondLst>
                                  <p:childTnLst>
                                    <p:set>
                                      <p:cBhvr>
                                        <p:cTn id="37" dur="1" fill="hold">
                                          <p:stCondLst>
                                            <p:cond delay="0"/>
                                          </p:stCondLst>
                                        </p:cTn>
                                        <p:tgtEl>
                                          <p:spTgt spid="24"/>
                                        </p:tgtEl>
                                        <p:attrNameLst>
                                          <p:attrName>style.visibility</p:attrName>
                                        </p:attrNameLst>
                                      </p:cBhvr>
                                      <p:to>
                                        <p:strVal val="visible"/>
                                      </p:to>
                                    </p:set>
                                    <p:anim calcmode="lin" valueType="num">
                                      <p:cBhvr additive="base">
                                        <p:cTn id="38" dur="750" fill="hold"/>
                                        <p:tgtEl>
                                          <p:spTgt spid="24"/>
                                        </p:tgtEl>
                                        <p:attrNameLst>
                                          <p:attrName>ppt_x</p:attrName>
                                        </p:attrNameLst>
                                      </p:cBhvr>
                                      <p:tavLst>
                                        <p:tav tm="0">
                                          <p:val>
                                            <p:strVal val="#ppt_x"/>
                                          </p:val>
                                        </p:tav>
                                        <p:tav tm="100000">
                                          <p:val>
                                            <p:strVal val="#ppt_x"/>
                                          </p:val>
                                        </p:tav>
                                      </p:tavLst>
                                    </p:anim>
                                    <p:anim calcmode="lin" valueType="num">
                                      <p:cBhvr additive="base">
                                        <p:cTn id="39" dur="750" fill="hold"/>
                                        <p:tgtEl>
                                          <p:spTgt spid="24"/>
                                        </p:tgtEl>
                                        <p:attrNameLst>
                                          <p:attrName>ppt_y</p:attrName>
                                        </p:attrNameLst>
                                      </p:cBhvr>
                                      <p:tavLst>
                                        <p:tav tm="0">
                                          <p:val>
                                            <p:strVal val="1+#ppt_h/2"/>
                                          </p:val>
                                        </p:tav>
                                        <p:tav tm="100000">
                                          <p:val>
                                            <p:strVal val="#ppt_y"/>
                                          </p:val>
                                        </p:tav>
                                      </p:tavLst>
                                    </p:anim>
                                  </p:childTnLst>
                                </p:cTn>
                              </p:par>
                              <p:par>
                                <p:cTn id="40" presetID="1" presetClass="entr" presetSubtype="0" fill="hold" grpId="0" nodeType="withEffect">
                                  <p:stCondLst>
                                    <p:cond delay="1000"/>
                                  </p:stCondLst>
                                  <p:childTnLst>
                                    <p:set>
                                      <p:cBhvr>
                                        <p:cTn id="41" dur="1" fill="hold">
                                          <p:stCondLst>
                                            <p:cond delay="749"/>
                                          </p:stCondLst>
                                        </p:cTn>
                                        <p:tgtEl>
                                          <p:spTgt spid="14"/>
                                        </p:tgtEl>
                                        <p:attrNameLst>
                                          <p:attrName>style.visibility</p:attrName>
                                        </p:attrNameLst>
                                      </p:cBhvr>
                                      <p:to>
                                        <p:strVal val="visible"/>
                                      </p:to>
                                    </p:set>
                                  </p:childTnLst>
                                </p:cTn>
                              </p:par>
                              <p:par>
                                <p:cTn id="42" presetID="1" presetClass="entr" presetSubtype="0" fill="hold" nodeType="withEffect">
                                  <p:stCondLst>
                                    <p:cond delay="1000"/>
                                  </p:stCondLst>
                                  <p:childTnLst>
                                    <p:set>
                                      <p:cBhvr>
                                        <p:cTn id="43" dur="1" fill="hold">
                                          <p:stCondLst>
                                            <p:cond delay="749"/>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8" grpId="0" animBg="1"/>
      <p:bldP spid="21" grpId="0" animBg="1"/>
      <p:bldP spid="23" grpId="0" animBg="1"/>
      <p:bldP spid="14" grpId="0" animBg="1"/>
    </p:bldLst>
  </p:timing>
</p:sld>
</file>

<file path=ppt/slides/slide4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Project Based Development</a:t>
            </a:r>
            <a:endParaRPr lang="en-US" dirty="0"/>
          </a:p>
        </p:txBody>
      </p:sp>
      <p:sp>
        <p:nvSpPr>
          <p:cNvPr id="3" name="Rectangle 2"/>
          <p:cNvSpPr/>
          <p:nvPr/>
        </p:nvSpPr>
        <p:spPr>
          <a:xfrm>
            <a:off x="318932" y="2419350"/>
            <a:ext cx="2016777" cy="4572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6" rIns="91432" bIns="45716" spcCol="0" rtlCol="0" anchor="ctr"/>
          <a:lstStyle/>
          <a:p>
            <a:pPr algn="ctr"/>
            <a:r>
              <a:rPr lang="en-US" sz="1600" dirty="0"/>
              <a:t>Go To Definition</a:t>
            </a:r>
            <a:endParaRPr lang="en-US" sz="1600" dirty="0"/>
          </a:p>
        </p:txBody>
      </p:sp>
      <p:sp>
        <p:nvSpPr>
          <p:cNvPr id="20" name="Rectangle 19"/>
          <p:cNvSpPr/>
          <p:nvPr/>
        </p:nvSpPr>
        <p:spPr>
          <a:xfrm>
            <a:off x="318932" y="2990850"/>
            <a:ext cx="2016777" cy="4572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6" rIns="91432" bIns="45716" spcCol="0" rtlCol="0" anchor="ctr"/>
          <a:lstStyle/>
          <a:p>
            <a:pPr algn="ctr"/>
            <a:r>
              <a:rPr lang="en-US" sz="1600" dirty="0"/>
              <a:t>Find All References</a:t>
            </a:r>
            <a:endParaRPr lang="en-US" sz="1600" dirty="0"/>
          </a:p>
        </p:txBody>
      </p:sp>
      <p:sp>
        <p:nvSpPr>
          <p:cNvPr id="22" name="Rectangle 21"/>
          <p:cNvSpPr/>
          <p:nvPr/>
        </p:nvSpPr>
        <p:spPr>
          <a:xfrm>
            <a:off x="318932" y="3562350"/>
            <a:ext cx="2016777" cy="4572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6" rIns="91432" bIns="45716" spcCol="0" rtlCol="0" anchor="ctr"/>
          <a:lstStyle/>
          <a:p>
            <a:pPr algn="ctr"/>
            <a:r>
              <a:rPr lang="en-US" sz="1600" dirty="0"/>
              <a:t>Refactoring</a:t>
            </a:r>
            <a:endParaRPr lang="en-US" sz="1600" dirty="0"/>
          </a:p>
        </p:txBody>
      </p:sp>
      <p:sp>
        <p:nvSpPr>
          <p:cNvPr id="23" name="Rectangle 22"/>
          <p:cNvSpPr/>
          <p:nvPr/>
        </p:nvSpPr>
        <p:spPr>
          <a:xfrm>
            <a:off x="6800674" y="2419350"/>
            <a:ext cx="2016777" cy="4572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6" rIns="91432" bIns="45716" spcCol="0" rtlCol="0" anchor="ctr"/>
          <a:lstStyle/>
          <a:p>
            <a:pPr algn="ctr">
              <a:lnSpc>
                <a:spcPct val="90000"/>
              </a:lnSpc>
            </a:pPr>
            <a:r>
              <a:rPr lang="en-US" sz="1600" dirty="0"/>
              <a:t>Point-in-time Snapshots</a:t>
            </a:r>
            <a:endParaRPr lang="en-US" sz="1600" dirty="0"/>
          </a:p>
        </p:txBody>
      </p:sp>
      <p:sp>
        <p:nvSpPr>
          <p:cNvPr id="25" name="Rectangle 24"/>
          <p:cNvSpPr/>
          <p:nvPr/>
        </p:nvSpPr>
        <p:spPr>
          <a:xfrm>
            <a:off x="6800674" y="3562350"/>
            <a:ext cx="2016777" cy="4572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6" rIns="91432" bIns="45716" spcCol="0" rtlCol="0" anchor="ctr"/>
          <a:lstStyle/>
          <a:p>
            <a:pPr algn="ctr">
              <a:lnSpc>
                <a:spcPct val="90000"/>
              </a:lnSpc>
            </a:pPr>
            <a:r>
              <a:rPr lang="en-US" sz="1600" dirty="0"/>
              <a:t>T-SQL Static Code Analysis</a:t>
            </a:r>
            <a:endParaRPr lang="en-US" sz="1600" dirty="0"/>
          </a:p>
        </p:txBody>
      </p:sp>
      <p:sp>
        <p:nvSpPr>
          <p:cNvPr id="36" name="Rectangle 35"/>
          <p:cNvSpPr/>
          <p:nvPr/>
        </p:nvSpPr>
        <p:spPr>
          <a:xfrm>
            <a:off x="2479513" y="2419350"/>
            <a:ext cx="2016777" cy="4572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6" rIns="91432" bIns="45716" spcCol="0" rtlCol="0" anchor="ctr"/>
          <a:lstStyle/>
          <a:p>
            <a:pPr algn="ctr"/>
            <a:r>
              <a:rPr lang="en-US" sz="1600" dirty="0"/>
              <a:t>Source Code Based</a:t>
            </a:r>
          </a:p>
        </p:txBody>
      </p:sp>
      <p:sp>
        <p:nvSpPr>
          <p:cNvPr id="37" name="Rectangle 36"/>
          <p:cNvSpPr/>
          <p:nvPr/>
        </p:nvSpPr>
        <p:spPr>
          <a:xfrm>
            <a:off x="2479513" y="2990850"/>
            <a:ext cx="2016777" cy="10287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6" rIns="91432" bIns="45716" spcCol="0" rtlCol="0" anchor="ctr"/>
          <a:lstStyle/>
          <a:p>
            <a:pPr algn="ctr"/>
            <a:r>
              <a:rPr lang="en-US" sz="1600" dirty="0"/>
              <a:t>F5 </a:t>
            </a:r>
            <a:r>
              <a:rPr lang="en-US" sz="1600" dirty="0"/>
              <a:t>Debugging &amp; Testing with </a:t>
            </a:r>
            <a:r>
              <a:rPr lang="en-US" sz="1600" dirty="0" err="1"/>
              <a:t>LocalDB</a:t>
            </a:r>
            <a:endParaRPr lang="en-US" sz="1600" dirty="0"/>
          </a:p>
        </p:txBody>
      </p:sp>
      <p:sp>
        <p:nvSpPr>
          <p:cNvPr id="39" name="Rectangle 38"/>
          <p:cNvSpPr/>
          <p:nvPr/>
        </p:nvSpPr>
        <p:spPr>
          <a:xfrm>
            <a:off x="4640093" y="2419350"/>
            <a:ext cx="2016777" cy="4572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6" rIns="91432" bIns="45716" spcCol="0" rtlCol="0" anchor="ctr"/>
          <a:lstStyle/>
          <a:p>
            <a:pPr algn="ctr"/>
            <a:r>
              <a:rPr lang="en-US" sz="1600" dirty="0"/>
              <a:t>Source Code Control</a:t>
            </a:r>
            <a:endParaRPr lang="en-US" sz="1600" dirty="0"/>
          </a:p>
        </p:txBody>
      </p:sp>
      <p:sp>
        <p:nvSpPr>
          <p:cNvPr id="40" name="Rectangle 39"/>
          <p:cNvSpPr/>
          <p:nvPr/>
        </p:nvSpPr>
        <p:spPr>
          <a:xfrm>
            <a:off x="4640093" y="2990850"/>
            <a:ext cx="2016777" cy="4572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6" rIns="91432" bIns="45716" spcCol="0" rtlCol="0" anchor="ctr"/>
          <a:lstStyle/>
          <a:p>
            <a:pPr algn="ctr"/>
            <a:r>
              <a:rPr lang="en-US" sz="1600" dirty="0" err="1"/>
              <a:t>MSBuild</a:t>
            </a:r>
            <a:endParaRPr lang="en-US" sz="1600" dirty="0"/>
          </a:p>
        </p:txBody>
      </p:sp>
      <p:sp>
        <p:nvSpPr>
          <p:cNvPr id="41" name="Rectangle 40"/>
          <p:cNvSpPr/>
          <p:nvPr/>
        </p:nvSpPr>
        <p:spPr>
          <a:xfrm>
            <a:off x="4640093" y="3562350"/>
            <a:ext cx="2016777" cy="4572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6" rIns="91432" bIns="45716" spcCol="0" rtlCol="0" anchor="ctr"/>
          <a:lstStyle/>
          <a:p>
            <a:pPr algn="ctr">
              <a:lnSpc>
                <a:spcPct val="90000"/>
              </a:lnSpc>
            </a:pPr>
            <a:r>
              <a:rPr lang="en-US" sz="1600" dirty="0"/>
              <a:t>Headless Command Line Tools</a:t>
            </a:r>
            <a:endParaRPr lang="en-US" sz="1600" dirty="0"/>
          </a:p>
        </p:txBody>
      </p:sp>
      <p:sp>
        <p:nvSpPr>
          <p:cNvPr id="38" name="Rectangle 37"/>
          <p:cNvSpPr/>
          <p:nvPr/>
        </p:nvSpPr>
        <p:spPr>
          <a:xfrm>
            <a:off x="6800674" y="2990850"/>
            <a:ext cx="2016777" cy="4572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6" rIns="91432" bIns="45716" spcCol="0" rtlCol="0" anchor="ctr"/>
          <a:lstStyle/>
          <a:p>
            <a:pPr algn="ctr">
              <a:lnSpc>
                <a:spcPct val="90000"/>
              </a:lnSpc>
            </a:pPr>
            <a:r>
              <a:rPr lang="en-US" sz="1600" dirty="0"/>
              <a:t>Visualize </a:t>
            </a:r>
            <a:r>
              <a:rPr lang="en-US" sz="1600" dirty="0"/>
              <a:t>Schema Differences </a:t>
            </a:r>
            <a:endParaRPr lang="en-US" sz="1600" dirty="0"/>
          </a:p>
        </p:txBody>
      </p:sp>
      <p:grpSp>
        <p:nvGrpSpPr>
          <p:cNvPr id="16" name="Group 15"/>
          <p:cNvGrpSpPr/>
          <p:nvPr/>
        </p:nvGrpSpPr>
        <p:grpSpPr>
          <a:xfrm>
            <a:off x="318932" y="971552"/>
            <a:ext cx="8498519" cy="1303020"/>
            <a:chOff x="425132" y="1295402"/>
            <a:chExt cx="11328408" cy="1737360"/>
          </a:xfrm>
        </p:grpSpPr>
        <p:grpSp>
          <p:nvGrpSpPr>
            <p:cNvPr id="4" name="Group 3"/>
            <p:cNvGrpSpPr/>
            <p:nvPr/>
          </p:nvGrpSpPr>
          <p:grpSpPr>
            <a:xfrm>
              <a:off x="425132" y="1295402"/>
              <a:ext cx="2688336" cy="1737360"/>
              <a:chOff x="510766" y="1295402"/>
              <a:chExt cx="2688336" cy="1728664"/>
            </a:xfrm>
          </p:grpSpPr>
          <p:sp>
            <p:nvSpPr>
              <p:cNvPr id="6" name="Rectangle 5"/>
              <p:cNvSpPr>
                <a:spLocks noChangeAspect="1"/>
              </p:cNvSpPr>
              <p:nvPr>
                <p:custDataLst>
                  <p:tags r:id="rId4"/>
                </p:custDataLst>
              </p:nvPr>
            </p:nvSpPr>
            <p:spPr bwMode="auto">
              <a:xfrm>
                <a:off x="510766" y="1295402"/>
                <a:ext cx="2688336" cy="1728664"/>
              </a:xfrm>
              <a:prstGeom prst="rect">
                <a:avLst/>
              </a:prstGeom>
              <a:solidFill>
                <a:srgbClr val="B5D331"/>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60947" rIns="121893" bIns="60947" numCol="1" rtlCol="0" anchor="b" anchorCtr="0" compatLnSpc="1">
                <a:prstTxWarp prst="textNoShape">
                  <a:avLst/>
                </a:prstTxWarp>
                <a:noAutofit/>
              </a:bodyPr>
              <a:lstStyle/>
              <a:p>
                <a:pPr defTabSz="914083" fontAlgn="base">
                  <a:lnSpc>
                    <a:spcPct val="90000"/>
                  </a:lnSpc>
                  <a:spcBef>
                    <a:spcPts val="630"/>
                  </a:spcBef>
                  <a:spcAft>
                    <a:spcPct val="0"/>
                  </a:spcAft>
                  <a:buClr>
                    <a:srgbClr val="FFFF99"/>
                  </a:buClr>
                  <a:buSzPct val="120000"/>
                  <a:defRPr/>
                </a:pPr>
                <a:r>
                  <a:rPr lang="en-US" dirty="0">
                    <a:ln>
                      <a:solidFill>
                        <a:srgbClr val="FFFFFF">
                          <a:alpha val="0"/>
                        </a:srgbClr>
                      </a:solidFill>
                    </a:ln>
                    <a:solidFill>
                      <a:srgbClr val="FFFFFF">
                        <a:alpha val="99000"/>
                      </a:srgbClr>
                    </a:solidFill>
                    <a:cs typeface="Segoe UI" pitchFamily="34" charset="0"/>
                  </a:rPr>
                  <a:t> </a:t>
                </a:r>
                <a:r>
                  <a:rPr lang="en-US" dirty="0" smtClean="0">
                    <a:ln>
                      <a:solidFill>
                        <a:srgbClr val="FFFFFF">
                          <a:alpha val="0"/>
                        </a:srgbClr>
                      </a:solidFill>
                    </a:ln>
                    <a:solidFill>
                      <a:srgbClr val="FFFFFF">
                        <a:alpha val="99000"/>
                      </a:srgbClr>
                    </a:solidFill>
                    <a:cs typeface="Segoe UI" pitchFamily="34" charset="0"/>
                  </a:rPr>
                  <a:t>           </a:t>
                </a:r>
              </a:p>
              <a:p>
                <a:pPr defTabSz="914083" fontAlgn="base">
                  <a:lnSpc>
                    <a:spcPct val="90000"/>
                  </a:lnSpc>
                  <a:spcBef>
                    <a:spcPts val="630"/>
                  </a:spcBef>
                  <a:spcAft>
                    <a:spcPct val="0"/>
                  </a:spcAft>
                  <a:buClr>
                    <a:srgbClr val="FFFF99"/>
                  </a:buClr>
                  <a:buSzPct val="120000"/>
                  <a:defRPr/>
                </a:pPr>
                <a:r>
                  <a:rPr lang="en-US" sz="2000" dirty="0">
                    <a:ln>
                      <a:solidFill>
                        <a:srgbClr val="FFFFFF">
                          <a:alpha val="0"/>
                        </a:srgbClr>
                      </a:solidFill>
                    </a:ln>
                    <a:solidFill>
                      <a:srgbClr val="FFFFFF">
                        <a:alpha val="99000"/>
                      </a:srgbClr>
                    </a:solidFill>
                    <a:cs typeface="Segoe UI" pitchFamily="34" charset="0"/>
                  </a:rPr>
                  <a:t>1</a:t>
                </a:r>
                <a:r>
                  <a:rPr lang="en-US" sz="2000" baseline="30000" dirty="0">
                    <a:ln>
                      <a:solidFill>
                        <a:srgbClr val="FFFFFF">
                          <a:alpha val="0"/>
                        </a:srgbClr>
                      </a:solidFill>
                    </a:ln>
                    <a:solidFill>
                      <a:srgbClr val="FFFFFF">
                        <a:alpha val="99000"/>
                      </a:srgbClr>
                    </a:solidFill>
                    <a:cs typeface="Segoe UI" pitchFamily="34" charset="0"/>
                  </a:rPr>
                  <a:t>st</a:t>
                </a:r>
                <a:r>
                  <a:rPr lang="en-US" sz="2000" dirty="0">
                    <a:ln>
                      <a:solidFill>
                        <a:srgbClr val="FFFFFF">
                          <a:alpha val="0"/>
                        </a:srgbClr>
                      </a:solidFill>
                    </a:ln>
                    <a:solidFill>
                      <a:srgbClr val="FFFFFF">
                        <a:alpha val="99000"/>
                      </a:srgbClr>
                    </a:solidFill>
                    <a:cs typeface="Segoe UI" pitchFamily="34" charset="0"/>
                  </a:rPr>
                  <a:t> class T-SQL Support</a:t>
                </a:r>
                <a:endParaRPr lang="en-US" sz="2000" dirty="0">
                  <a:ln>
                    <a:solidFill>
                      <a:srgbClr val="FFFFFF">
                        <a:alpha val="0"/>
                      </a:srgbClr>
                    </a:solidFill>
                  </a:ln>
                  <a:solidFill>
                    <a:srgbClr val="FFFFFF">
                      <a:alpha val="99000"/>
                    </a:srgbClr>
                  </a:solidFill>
                  <a:cs typeface="Segoe UI" pitchFamily="34" charset="0"/>
                </a:endParaRPr>
              </a:p>
            </p:txBody>
          </p:sp>
          <p:sp>
            <p:nvSpPr>
              <p:cNvPr id="15" name="Freeform 6"/>
              <p:cNvSpPr>
                <a:spLocks noChangeAspect="1"/>
              </p:cNvSpPr>
              <p:nvPr/>
            </p:nvSpPr>
            <p:spPr bwMode="auto">
              <a:xfrm>
                <a:off x="763296" y="1434443"/>
                <a:ext cx="768550" cy="675066"/>
              </a:xfrm>
              <a:custGeom>
                <a:avLst/>
                <a:gdLst>
                  <a:gd name="T0" fmla="*/ 983 w 1123"/>
                  <a:gd name="T1" fmla="*/ 48 h 972"/>
                  <a:gd name="T2" fmla="*/ 884 w 1123"/>
                  <a:gd name="T3" fmla="*/ 36 h 972"/>
                  <a:gd name="T4" fmla="*/ 409 w 1123"/>
                  <a:gd name="T5" fmla="*/ 515 h 972"/>
                  <a:gd name="T6" fmla="*/ 251 w 1123"/>
                  <a:gd name="T7" fmla="*/ 357 h 972"/>
                  <a:gd name="T8" fmla="*/ 107 w 1123"/>
                  <a:gd name="T9" fmla="*/ 369 h 972"/>
                  <a:gd name="T10" fmla="*/ 42 w 1123"/>
                  <a:gd name="T11" fmla="*/ 446 h 972"/>
                  <a:gd name="T12" fmla="*/ 41 w 1123"/>
                  <a:gd name="T13" fmla="*/ 534 h 972"/>
                  <a:gd name="T14" fmla="*/ 356 w 1123"/>
                  <a:gd name="T15" fmla="*/ 871 h 972"/>
                  <a:gd name="T16" fmla="*/ 500 w 1123"/>
                  <a:gd name="T17" fmla="*/ 872 h 972"/>
                  <a:gd name="T18" fmla="*/ 1058 w 1123"/>
                  <a:gd name="T19" fmla="*/ 267 h 972"/>
                  <a:gd name="T20" fmla="*/ 1065 w 1123"/>
                  <a:gd name="T21" fmla="*/ 154 h 972"/>
                  <a:gd name="T22" fmla="*/ 983 w 1123"/>
                  <a:gd name="T23" fmla="*/ 4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3" h="972">
                    <a:moveTo>
                      <a:pt x="983" y="48"/>
                    </a:moveTo>
                    <a:cubicBezTo>
                      <a:pt x="983" y="48"/>
                      <a:pt x="952" y="0"/>
                      <a:pt x="884" y="36"/>
                    </a:cubicBezTo>
                    <a:cubicBezTo>
                      <a:pt x="774" y="95"/>
                      <a:pt x="533" y="321"/>
                      <a:pt x="409" y="515"/>
                    </a:cubicBezTo>
                    <a:cubicBezTo>
                      <a:pt x="409" y="515"/>
                      <a:pt x="320" y="412"/>
                      <a:pt x="251" y="357"/>
                    </a:cubicBezTo>
                    <a:cubicBezTo>
                      <a:pt x="183" y="302"/>
                      <a:pt x="170" y="309"/>
                      <a:pt x="107" y="369"/>
                    </a:cubicBezTo>
                    <a:cubicBezTo>
                      <a:pt x="66" y="408"/>
                      <a:pt x="42" y="446"/>
                      <a:pt x="42" y="446"/>
                    </a:cubicBezTo>
                    <a:cubicBezTo>
                      <a:pt x="42" y="446"/>
                      <a:pt x="0" y="490"/>
                      <a:pt x="41" y="534"/>
                    </a:cubicBezTo>
                    <a:cubicBezTo>
                      <a:pt x="93" y="589"/>
                      <a:pt x="283" y="776"/>
                      <a:pt x="356" y="871"/>
                    </a:cubicBezTo>
                    <a:cubicBezTo>
                      <a:pt x="432" y="972"/>
                      <a:pt x="500" y="872"/>
                      <a:pt x="500" y="872"/>
                    </a:cubicBezTo>
                    <a:cubicBezTo>
                      <a:pt x="500" y="872"/>
                      <a:pt x="734" y="489"/>
                      <a:pt x="1058" y="267"/>
                    </a:cubicBezTo>
                    <a:cubicBezTo>
                      <a:pt x="1058" y="267"/>
                      <a:pt x="1123" y="229"/>
                      <a:pt x="1065" y="154"/>
                    </a:cubicBezTo>
                    <a:cubicBezTo>
                      <a:pt x="1007" y="79"/>
                      <a:pt x="983" y="48"/>
                      <a:pt x="983" y="48"/>
                    </a:cubicBezTo>
                    <a:close/>
                  </a:path>
                </a:pathLst>
              </a:custGeom>
              <a:solidFill>
                <a:sysClr val="window" lastClr="FFFFFF"/>
              </a:solidFill>
              <a:ln>
                <a:noFill/>
              </a:ln>
            </p:spPr>
            <p:txBody>
              <a:bodyPr vert="horz" wrap="square" lIns="121893" tIns="60947" rIns="121893" bIns="60947" numCol="1" anchor="t" anchorCtr="0" compatLnSpc="1">
                <a:prstTxWarp prst="textNoShape">
                  <a:avLst/>
                </a:prstTxWarp>
              </a:bodyPr>
              <a:lstStyle/>
              <a:p>
                <a:pPr>
                  <a:defRPr/>
                </a:pPr>
                <a:endParaRPr lang="en-US" sz="1600" kern="0">
                  <a:solidFill>
                    <a:sysClr val="windowText" lastClr="000000"/>
                  </a:solidFill>
                </a:endParaRPr>
              </a:p>
            </p:txBody>
          </p:sp>
        </p:grpSp>
        <p:sp>
          <p:nvSpPr>
            <p:cNvPr id="9" name="Rectangle 8"/>
            <p:cNvSpPr>
              <a:spLocks noChangeAspect="1"/>
            </p:cNvSpPr>
            <p:nvPr>
              <p:custDataLst>
                <p:tags r:id="rId1"/>
              </p:custDataLst>
            </p:nvPr>
          </p:nvSpPr>
          <p:spPr bwMode="auto">
            <a:xfrm>
              <a:off x="9065204" y="1295402"/>
              <a:ext cx="2688336" cy="1737360"/>
            </a:xfrm>
            <a:prstGeom prst="rect">
              <a:avLst/>
            </a:prstGeom>
            <a:solidFill>
              <a:srgbClr val="B5D331"/>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60947" rIns="121893" bIns="60947" numCol="1" rtlCol="0" anchor="ctr" anchorCtr="0" compatLnSpc="1">
              <a:prstTxWarp prst="textNoShape">
                <a:avLst/>
              </a:prstTxWarp>
              <a:noAutofit/>
            </a:bodyPr>
            <a:lstStyle/>
            <a:p>
              <a:pPr defTabSz="914083" fontAlgn="base">
                <a:lnSpc>
                  <a:spcPct val="90000"/>
                </a:lnSpc>
                <a:spcBef>
                  <a:spcPts val="630"/>
                </a:spcBef>
                <a:spcAft>
                  <a:spcPct val="0"/>
                </a:spcAft>
                <a:buClr>
                  <a:srgbClr val="FFFF99"/>
                </a:buClr>
                <a:buSzPct val="120000"/>
              </a:pPr>
              <a:r>
                <a:rPr lang="en-US" dirty="0" smtClean="0">
                  <a:ln>
                    <a:solidFill>
                      <a:srgbClr val="FFFFFF">
                        <a:alpha val="0"/>
                      </a:srgbClr>
                    </a:solidFill>
                  </a:ln>
                  <a:solidFill>
                    <a:srgbClr val="FFFFFF">
                      <a:alpha val="99000"/>
                    </a:srgbClr>
                  </a:solidFill>
                  <a:cs typeface="Segoe UI" pitchFamily="34" charset="0"/>
                </a:rPr>
                <a:t>         </a:t>
              </a:r>
            </a:p>
            <a:p>
              <a:pPr defTabSz="914083" fontAlgn="base">
                <a:lnSpc>
                  <a:spcPct val="90000"/>
                </a:lnSpc>
                <a:spcBef>
                  <a:spcPts val="630"/>
                </a:spcBef>
                <a:spcAft>
                  <a:spcPct val="0"/>
                </a:spcAft>
                <a:buClr>
                  <a:srgbClr val="FFFF99"/>
                </a:buClr>
                <a:buSzPct val="120000"/>
              </a:pPr>
              <a:r>
                <a:rPr lang="en-US" dirty="0" smtClean="0">
                  <a:ln>
                    <a:solidFill>
                      <a:srgbClr val="FFFFFF">
                        <a:alpha val="0"/>
                      </a:srgbClr>
                    </a:solidFill>
                  </a:ln>
                  <a:solidFill>
                    <a:srgbClr val="FFFFFF">
                      <a:alpha val="99000"/>
                    </a:srgbClr>
                  </a:solidFill>
                  <a:cs typeface="Segoe UI" pitchFamily="34" charset="0"/>
                </a:rPr>
                <a:t>             </a:t>
              </a:r>
            </a:p>
            <a:p>
              <a:pPr defTabSz="914083" fontAlgn="base">
                <a:lnSpc>
                  <a:spcPct val="90000"/>
                </a:lnSpc>
                <a:spcBef>
                  <a:spcPts val="630"/>
                </a:spcBef>
                <a:spcAft>
                  <a:spcPct val="0"/>
                </a:spcAft>
                <a:buClr>
                  <a:srgbClr val="FFFF99"/>
                </a:buClr>
                <a:buSzPct val="120000"/>
              </a:pPr>
              <a:endParaRPr lang="en-US" sz="2000" dirty="0">
                <a:ln>
                  <a:solidFill>
                    <a:srgbClr val="FFFFFF">
                      <a:alpha val="0"/>
                    </a:srgbClr>
                  </a:solidFill>
                </a:ln>
                <a:solidFill>
                  <a:srgbClr val="FFFFFF">
                    <a:alpha val="99000"/>
                  </a:srgbClr>
                </a:solidFill>
                <a:cs typeface="Segoe UI" pitchFamily="34" charset="0"/>
              </a:endParaRPr>
            </a:p>
            <a:p>
              <a:pPr defTabSz="914083" fontAlgn="base">
                <a:lnSpc>
                  <a:spcPct val="90000"/>
                </a:lnSpc>
                <a:spcBef>
                  <a:spcPts val="630"/>
                </a:spcBef>
                <a:spcAft>
                  <a:spcPct val="0"/>
                </a:spcAft>
                <a:buClr>
                  <a:srgbClr val="FFFF99"/>
                </a:buClr>
                <a:buSzPct val="120000"/>
              </a:pPr>
              <a:r>
                <a:rPr lang="en-US" sz="2000" dirty="0">
                  <a:ln>
                    <a:solidFill>
                      <a:srgbClr val="FFFFFF">
                        <a:alpha val="0"/>
                      </a:srgbClr>
                    </a:solidFill>
                  </a:ln>
                  <a:solidFill>
                    <a:srgbClr val="FFFFFF">
                      <a:alpha val="99000"/>
                    </a:srgbClr>
                  </a:solidFill>
                  <a:cs typeface="Segoe UI" pitchFamily="34" charset="0"/>
                </a:rPr>
                <a:t>Schema Insight</a:t>
              </a:r>
              <a:endParaRPr lang="en-US" dirty="0">
                <a:ln>
                  <a:solidFill>
                    <a:srgbClr val="FFFFFF">
                      <a:alpha val="0"/>
                    </a:srgbClr>
                  </a:solidFill>
                </a:ln>
                <a:solidFill>
                  <a:srgbClr val="FFFFFF">
                    <a:alpha val="99000"/>
                  </a:srgbClr>
                </a:solidFill>
                <a:cs typeface="Segoe UI" pitchFamily="34" charset="0"/>
              </a:endParaRPr>
            </a:p>
          </p:txBody>
        </p:sp>
        <p:grpSp>
          <p:nvGrpSpPr>
            <p:cNvPr id="12" name="Group 11"/>
            <p:cNvGrpSpPr/>
            <p:nvPr/>
          </p:nvGrpSpPr>
          <p:grpSpPr>
            <a:xfrm>
              <a:off x="3305156" y="1295402"/>
              <a:ext cx="2688336" cy="1737360"/>
              <a:chOff x="3305156" y="1295402"/>
              <a:chExt cx="2688336" cy="1737360"/>
            </a:xfrm>
          </p:grpSpPr>
          <p:sp>
            <p:nvSpPr>
              <p:cNvPr id="7" name="Rectangle 6"/>
              <p:cNvSpPr>
                <a:spLocks noChangeAspect="1"/>
              </p:cNvSpPr>
              <p:nvPr>
                <p:custDataLst>
                  <p:tags r:id="rId3"/>
                </p:custDataLst>
              </p:nvPr>
            </p:nvSpPr>
            <p:spPr bwMode="auto">
              <a:xfrm>
                <a:off x="3305156" y="1295402"/>
                <a:ext cx="2688336" cy="1737360"/>
              </a:xfrm>
              <a:prstGeom prst="rect">
                <a:avLst/>
              </a:prstGeom>
              <a:solidFill>
                <a:srgbClr val="B5D331"/>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60947" rIns="121893" bIns="60947" numCol="1" rtlCol="0" anchor="b" anchorCtr="0" compatLnSpc="1">
                <a:prstTxWarp prst="textNoShape">
                  <a:avLst/>
                </a:prstTxWarp>
                <a:noAutofit/>
              </a:bodyPr>
              <a:lstStyle/>
              <a:p>
                <a:pPr defTabSz="914083" fontAlgn="base">
                  <a:lnSpc>
                    <a:spcPct val="90000"/>
                  </a:lnSpc>
                  <a:spcBef>
                    <a:spcPts val="630"/>
                  </a:spcBef>
                  <a:spcAft>
                    <a:spcPct val="0"/>
                  </a:spcAft>
                  <a:buClr>
                    <a:srgbClr val="FFFF99"/>
                  </a:buClr>
                  <a:buSzPct val="120000"/>
                </a:pPr>
                <a:r>
                  <a:rPr lang="en-US" dirty="0" smtClean="0">
                    <a:ln>
                      <a:solidFill>
                        <a:srgbClr val="FFFFFF">
                          <a:alpha val="0"/>
                        </a:srgbClr>
                      </a:solidFill>
                    </a:ln>
                    <a:solidFill>
                      <a:srgbClr val="FFFFFF">
                        <a:alpha val="99000"/>
                      </a:srgbClr>
                    </a:solidFill>
                    <a:cs typeface="Segoe UI" pitchFamily="34" charset="0"/>
                  </a:rPr>
                  <a:t>            </a:t>
                </a:r>
              </a:p>
              <a:p>
                <a:pPr defTabSz="914083" fontAlgn="base">
                  <a:lnSpc>
                    <a:spcPct val="90000"/>
                  </a:lnSpc>
                  <a:spcBef>
                    <a:spcPts val="630"/>
                  </a:spcBef>
                  <a:spcAft>
                    <a:spcPct val="0"/>
                  </a:spcAft>
                  <a:buClr>
                    <a:srgbClr val="FFFF99"/>
                  </a:buClr>
                  <a:buSzPct val="120000"/>
                </a:pPr>
                <a:r>
                  <a:rPr lang="en-US" sz="2000" dirty="0">
                    <a:ln>
                      <a:solidFill>
                        <a:srgbClr val="FFFFFF">
                          <a:alpha val="0"/>
                        </a:srgbClr>
                      </a:solidFill>
                    </a:ln>
                    <a:solidFill>
                      <a:srgbClr val="FFFFFF">
                        <a:alpha val="99000"/>
                      </a:srgbClr>
                    </a:solidFill>
                    <a:cs typeface="Segoe UI" pitchFamily="34" charset="0"/>
                  </a:rPr>
                  <a:t>Isolated</a:t>
                </a:r>
                <a:endParaRPr lang="en-US" sz="2000" dirty="0">
                  <a:ln>
                    <a:solidFill>
                      <a:srgbClr val="FFFFFF">
                        <a:alpha val="0"/>
                      </a:srgbClr>
                    </a:solidFill>
                  </a:ln>
                  <a:solidFill>
                    <a:srgbClr val="FFFFFF">
                      <a:alpha val="99000"/>
                    </a:srgbClr>
                  </a:solidFill>
                  <a:cs typeface="Segoe UI" pitchFamily="34" charset="0"/>
                </a:endParaRPr>
              </a:p>
            </p:txBody>
          </p:sp>
          <p:sp>
            <p:nvSpPr>
              <p:cNvPr id="43" name="Freeform 23"/>
              <p:cNvSpPr>
                <a:spLocks noEditPoints="1"/>
              </p:cNvSpPr>
              <p:nvPr/>
            </p:nvSpPr>
            <p:spPr bwMode="black">
              <a:xfrm>
                <a:off x="3427412" y="1450619"/>
                <a:ext cx="685800" cy="682981"/>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grpSp>
          <p:nvGrpSpPr>
            <p:cNvPr id="13" name="Group 12"/>
            <p:cNvGrpSpPr/>
            <p:nvPr/>
          </p:nvGrpSpPr>
          <p:grpSpPr>
            <a:xfrm>
              <a:off x="6185180" y="1295402"/>
              <a:ext cx="2688336" cy="1737360"/>
              <a:chOff x="6185180" y="1295402"/>
              <a:chExt cx="2688336" cy="1737360"/>
            </a:xfrm>
          </p:grpSpPr>
          <p:sp>
            <p:nvSpPr>
              <p:cNvPr id="8" name="Rectangle 7"/>
              <p:cNvSpPr>
                <a:spLocks noChangeAspect="1"/>
              </p:cNvSpPr>
              <p:nvPr>
                <p:custDataLst>
                  <p:tags r:id="rId2"/>
                </p:custDataLst>
              </p:nvPr>
            </p:nvSpPr>
            <p:spPr bwMode="auto">
              <a:xfrm>
                <a:off x="6185180" y="1295402"/>
                <a:ext cx="2688336" cy="1737360"/>
              </a:xfrm>
              <a:prstGeom prst="rect">
                <a:avLst/>
              </a:prstGeom>
              <a:solidFill>
                <a:srgbClr val="B5D331"/>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60947" rIns="121893" bIns="60947" numCol="1" rtlCol="0" anchor="b" anchorCtr="0" compatLnSpc="1">
                <a:prstTxWarp prst="textNoShape">
                  <a:avLst/>
                </a:prstTxWarp>
                <a:noAutofit/>
              </a:bodyPr>
              <a:lstStyle/>
              <a:p>
                <a:pPr defTabSz="914083" fontAlgn="base">
                  <a:lnSpc>
                    <a:spcPct val="90000"/>
                  </a:lnSpc>
                  <a:spcBef>
                    <a:spcPts val="630"/>
                  </a:spcBef>
                  <a:spcAft>
                    <a:spcPct val="0"/>
                  </a:spcAft>
                  <a:buClr>
                    <a:srgbClr val="FFFF99"/>
                  </a:buClr>
                  <a:buSzPct val="120000"/>
                </a:pPr>
                <a:endParaRPr lang="en-US" dirty="0" smtClean="0">
                  <a:ln>
                    <a:solidFill>
                      <a:srgbClr val="FFFFFF">
                        <a:alpha val="0"/>
                      </a:srgbClr>
                    </a:solidFill>
                  </a:ln>
                  <a:solidFill>
                    <a:srgbClr val="FFFFFF">
                      <a:alpha val="99000"/>
                    </a:srgbClr>
                  </a:solidFill>
                  <a:cs typeface="Segoe UI" pitchFamily="34" charset="0"/>
                </a:endParaRPr>
              </a:p>
              <a:p>
                <a:pPr defTabSz="914083" fontAlgn="base">
                  <a:lnSpc>
                    <a:spcPct val="90000"/>
                  </a:lnSpc>
                  <a:spcBef>
                    <a:spcPts val="630"/>
                  </a:spcBef>
                  <a:spcAft>
                    <a:spcPct val="0"/>
                  </a:spcAft>
                  <a:buClr>
                    <a:srgbClr val="FFFF99"/>
                  </a:buClr>
                  <a:buSzPct val="120000"/>
                </a:pPr>
                <a:r>
                  <a:rPr lang="en-US" sz="2000" dirty="0">
                    <a:ln>
                      <a:solidFill>
                        <a:srgbClr val="FFFFFF">
                          <a:alpha val="0"/>
                        </a:srgbClr>
                      </a:solidFill>
                    </a:ln>
                    <a:solidFill>
                      <a:srgbClr val="FFFFFF">
                        <a:alpha val="99000"/>
                      </a:srgbClr>
                    </a:solidFill>
                    <a:cs typeface="Segoe UI" pitchFamily="34" charset="0"/>
                  </a:rPr>
                  <a:t>Integrated</a:t>
                </a:r>
                <a:endParaRPr lang="en-US" sz="2000" dirty="0">
                  <a:ln>
                    <a:solidFill>
                      <a:srgbClr val="FFFFFF">
                        <a:alpha val="0"/>
                      </a:srgbClr>
                    </a:solidFill>
                  </a:ln>
                  <a:solidFill>
                    <a:srgbClr val="FFFFFF">
                      <a:alpha val="99000"/>
                    </a:srgbClr>
                  </a:solidFill>
                  <a:cs typeface="Segoe UI" pitchFamily="34" charset="0"/>
                </a:endParaRPr>
              </a:p>
            </p:txBody>
          </p:sp>
          <p:grpSp>
            <p:nvGrpSpPr>
              <p:cNvPr id="44" name="Group 43"/>
              <p:cNvGrpSpPr/>
              <p:nvPr/>
            </p:nvGrpSpPr>
            <p:grpSpPr bwMode="black">
              <a:xfrm>
                <a:off x="6363781" y="1470647"/>
                <a:ext cx="721231" cy="586753"/>
                <a:chOff x="5184775" y="225425"/>
                <a:chExt cx="1500188" cy="1220788"/>
              </a:xfrm>
              <a:solidFill>
                <a:srgbClr val="FFFFFF"/>
              </a:solidFill>
            </p:grpSpPr>
            <p:sp>
              <p:nvSpPr>
                <p:cNvPr id="45"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6"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7"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grpSp>
      <p:sp>
        <p:nvSpPr>
          <p:cNvPr id="30" name="Freeform 18"/>
          <p:cNvSpPr>
            <a:spLocks noEditPoints="1"/>
          </p:cNvSpPr>
          <p:nvPr/>
        </p:nvSpPr>
        <p:spPr bwMode="black">
          <a:xfrm>
            <a:off x="6915760" y="1085850"/>
            <a:ext cx="496398" cy="455086"/>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5" rIns="68589" bIns="34295" numCol="1" anchor="t" anchorCtr="0" compatLnSpc="1">
            <a:prstTxWarp prst="textNoShape">
              <a:avLst/>
            </a:prstTxWarp>
          </a:bodyPr>
          <a:lstStyle/>
          <a:p>
            <a:endParaRPr lang="en-US" sz="1200"/>
          </a:p>
        </p:txBody>
      </p:sp>
      <p:sp>
        <p:nvSpPr>
          <p:cNvPr id="29"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1"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7"/>
              </a:rPr>
              <a:t>www.rapidbbs.cn</a:t>
            </a:r>
            <a:endParaRPr lang="zh-CN" altLang="en-US" sz="1200" b="0">
              <a:latin typeface="Arial" charset="0"/>
              <a:ea typeface="ＭＳ Ｐゴシック" pitchFamily="34" charset="-128"/>
            </a:endParaRPr>
          </a:p>
        </p:txBody>
      </p:sp>
      <p:pic>
        <p:nvPicPr>
          <p:cNvPr id="32" name="Picture 2">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338649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Schema Deployment</a:t>
            </a:r>
            <a:endParaRPr lang="en-US" dirty="0"/>
          </a:p>
        </p:txBody>
      </p:sp>
      <p:sp>
        <p:nvSpPr>
          <p:cNvPr id="70" name="Rectangle 69"/>
          <p:cNvSpPr/>
          <p:nvPr/>
        </p:nvSpPr>
        <p:spPr>
          <a:xfrm>
            <a:off x="323671" y="2990850"/>
            <a:ext cx="2013052" cy="10287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6" rIns="91432" bIns="45716" spcCol="0" rtlCol="0" anchor="ctr"/>
          <a:lstStyle/>
          <a:p>
            <a:pPr algn="ctr"/>
            <a:r>
              <a:rPr lang="en-US" sz="1600" dirty="0"/>
              <a:t>Incremental Schema Deployment</a:t>
            </a:r>
            <a:endParaRPr lang="en-US" sz="1600" dirty="0"/>
          </a:p>
        </p:txBody>
      </p:sp>
      <p:sp>
        <p:nvSpPr>
          <p:cNvPr id="72" name="Rectangle 71"/>
          <p:cNvSpPr/>
          <p:nvPr/>
        </p:nvSpPr>
        <p:spPr>
          <a:xfrm>
            <a:off x="323671" y="2407920"/>
            <a:ext cx="2013052" cy="4572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6" rIns="91432" bIns="45716" spcCol="0" rtlCol="0" anchor="ctr"/>
          <a:lstStyle/>
          <a:p>
            <a:pPr algn="ctr"/>
            <a:r>
              <a:rPr lang="en-US" sz="1600" dirty="0"/>
              <a:t>Model Based</a:t>
            </a:r>
            <a:endParaRPr lang="en-US" sz="1600" dirty="0"/>
          </a:p>
        </p:txBody>
      </p:sp>
      <p:sp>
        <p:nvSpPr>
          <p:cNvPr id="73" name="Rectangle 72"/>
          <p:cNvSpPr/>
          <p:nvPr/>
        </p:nvSpPr>
        <p:spPr>
          <a:xfrm>
            <a:off x="4641669" y="2407920"/>
            <a:ext cx="2013052" cy="4572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6" rIns="91432" bIns="45716" spcCol="0" rtlCol="0" anchor="ctr"/>
          <a:lstStyle/>
          <a:p>
            <a:pPr algn="ctr"/>
            <a:r>
              <a:rPr lang="en-US" sz="1600" dirty="0"/>
              <a:t>DACPAC </a:t>
            </a:r>
            <a:endParaRPr lang="en-US" sz="1600" dirty="0"/>
          </a:p>
        </p:txBody>
      </p:sp>
      <p:sp>
        <p:nvSpPr>
          <p:cNvPr id="74" name="Rectangle 73"/>
          <p:cNvSpPr/>
          <p:nvPr/>
        </p:nvSpPr>
        <p:spPr>
          <a:xfrm>
            <a:off x="4641669" y="3562350"/>
            <a:ext cx="2013052" cy="4572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6" rIns="91432" bIns="45716" spcCol="0" rtlCol="0" anchor="ctr"/>
          <a:lstStyle/>
          <a:p>
            <a:pPr algn="ctr"/>
            <a:r>
              <a:rPr lang="en-US" sz="1600" dirty="0"/>
              <a:t>SQL Script</a:t>
            </a:r>
            <a:endParaRPr lang="en-US" sz="1600" dirty="0"/>
          </a:p>
        </p:txBody>
      </p:sp>
      <p:sp>
        <p:nvSpPr>
          <p:cNvPr id="75" name="Rectangle 74"/>
          <p:cNvSpPr/>
          <p:nvPr/>
        </p:nvSpPr>
        <p:spPr>
          <a:xfrm>
            <a:off x="2482670" y="3562350"/>
            <a:ext cx="2029028" cy="4572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6" rIns="91432" bIns="45716" spcCol="0" rtlCol="0" anchor="ctr"/>
          <a:lstStyle/>
          <a:p>
            <a:pPr algn="ctr"/>
            <a:r>
              <a:rPr lang="en-US" sz="1600" dirty="0"/>
              <a:t>Retargeting Support</a:t>
            </a:r>
            <a:endParaRPr lang="en-US" sz="1600" dirty="0"/>
          </a:p>
        </p:txBody>
      </p:sp>
      <p:sp>
        <p:nvSpPr>
          <p:cNvPr id="76" name="Rectangle 75"/>
          <p:cNvSpPr/>
          <p:nvPr/>
        </p:nvSpPr>
        <p:spPr>
          <a:xfrm>
            <a:off x="2482670" y="2407920"/>
            <a:ext cx="2031202" cy="10287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6" rIns="91432" bIns="45716" spcCol="0" rtlCol="0" anchor="ctr"/>
          <a:lstStyle/>
          <a:p>
            <a:pPr algn="ctr"/>
            <a:r>
              <a:rPr lang="en-US" sz="1600" dirty="0"/>
              <a:t>SQL Server </a:t>
            </a:r>
            <a:r>
              <a:rPr lang="en-US" sz="1600" dirty="0"/>
              <a:t>2005</a:t>
            </a:r>
          </a:p>
          <a:p>
            <a:pPr algn="ctr"/>
            <a:r>
              <a:rPr lang="en-US" sz="1600" dirty="0"/>
              <a:t>SQL Server </a:t>
            </a:r>
            <a:r>
              <a:rPr lang="en-US" sz="1600" dirty="0"/>
              <a:t>2008</a:t>
            </a:r>
          </a:p>
          <a:p>
            <a:pPr algn="ctr"/>
            <a:r>
              <a:rPr lang="en-US" sz="1600" dirty="0"/>
              <a:t>SQL </a:t>
            </a:r>
            <a:r>
              <a:rPr lang="en-US" sz="1600" dirty="0"/>
              <a:t>Server </a:t>
            </a:r>
            <a:r>
              <a:rPr lang="en-US" sz="1600" dirty="0"/>
              <a:t>2012</a:t>
            </a:r>
          </a:p>
          <a:p>
            <a:pPr algn="ctr"/>
            <a:r>
              <a:rPr lang="en-US" sz="1600" dirty="0"/>
              <a:t>SQL </a:t>
            </a:r>
            <a:r>
              <a:rPr lang="en-US" sz="1600" dirty="0"/>
              <a:t>Azure</a:t>
            </a:r>
          </a:p>
        </p:txBody>
      </p:sp>
      <p:sp>
        <p:nvSpPr>
          <p:cNvPr id="77" name="Rectangle 76"/>
          <p:cNvSpPr/>
          <p:nvPr/>
        </p:nvSpPr>
        <p:spPr>
          <a:xfrm>
            <a:off x="6800668" y="2407920"/>
            <a:ext cx="2013052" cy="4572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6" rIns="91432" bIns="45716" spcCol="0" rtlCol="0" anchor="ctr"/>
          <a:lstStyle/>
          <a:p>
            <a:pPr algn="ctr"/>
            <a:r>
              <a:rPr lang="en-US" sz="1600" dirty="0"/>
              <a:t>Format</a:t>
            </a:r>
            <a:endParaRPr lang="en-US" sz="1600" dirty="0"/>
          </a:p>
        </p:txBody>
      </p:sp>
      <p:sp>
        <p:nvSpPr>
          <p:cNvPr id="78" name="Rectangle 77"/>
          <p:cNvSpPr/>
          <p:nvPr/>
        </p:nvSpPr>
        <p:spPr>
          <a:xfrm>
            <a:off x="6800668" y="2990850"/>
            <a:ext cx="2015226" cy="4572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6" rIns="91432" bIns="45716" spcCol="0" rtlCol="0" anchor="ctr"/>
          <a:lstStyle/>
          <a:p>
            <a:pPr algn="ctr"/>
            <a:r>
              <a:rPr lang="en-US" sz="1600" dirty="0"/>
              <a:t>Engine</a:t>
            </a:r>
            <a:endParaRPr lang="en-US" sz="1600" dirty="0"/>
          </a:p>
        </p:txBody>
      </p:sp>
      <p:sp>
        <p:nvSpPr>
          <p:cNvPr id="79" name="Rectangle 78"/>
          <p:cNvSpPr/>
          <p:nvPr/>
        </p:nvSpPr>
        <p:spPr>
          <a:xfrm>
            <a:off x="6800668" y="3562350"/>
            <a:ext cx="2015226" cy="4572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6" rIns="91432" bIns="45716" spcCol="0" rtlCol="0" anchor="ctr"/>
          <a:lstStyle/>
          <a:p>
            <a:pPr algn="ctr"/>
            <a:r>
              <a:rPr lang="en-US" sz="1600" dirty="0"/>
              <a:t>API &amp; REDIST</a:t>
            </a:r>
            <a:endParaRPr lang="en-US" sz="1600" dirty="0"/>
          </a:p>
        </p:txBody>
      </p:sp>
      <p:sp>
        <p:nvSpPr>
          <p:cNvPr id="80" name="Rectangle 79"/>
          <p:cNvSpPr/>
          <p:nvPr/>
        </p:nvSpPr>
        <p:spPr>
          <a:xfrm>
            <a:off x="4641669" y="2990850"/>
            <a:ext cx="2015226" cy="4572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6" rIns="91432" bIns="45716" spcCol="0" rtlCol="0" anchor="ctr"/>
          <a:lstStyle/>
          <a:p>
            <a:pPr algn="ctr"/>
            <a:r>
              <a:rPr lang="en-US" sz="1600" dirty="0"/>
              <a:t>Connected</a:t>
            </a:r>
            <a:endParaRPr lang="en-US" sz="1600" dirty="0"/>
          </a:p>
        </p:txBody>
      </p:sp>
      <p:grpSp>
        <p:nvGrpSpPr>
          <p:cNvPr id="14" name="Group 13"/>
          <p:cNvGrpSpPr/>
          <p:nvPr/>
        </p:nvGrpSpPr>
        <p:grpSpPr>
          <a:xfrm>
            <a:off x="323671" y="984161"/>
            <a:ext cx="8493774" cy="1303020"/>
            <a:chOff x="431449" y="1312215"/>
            <a:chExt cx="11322083" cy="1737360"/>
          </a:xfrm>
        </p:grpSpPr>
        <p:grpSp>
          <p:nvGrpSpPr>
            <p:cNvPr id="3" name="Group 2"/>
            <p:cNvGrpSpPr/>
            <p:nvPr/>
          </p:nvGrpSpPr>
          <p:grpSpPr>
            <a:xfrm>
              <a:off x="431449" y="1312215"/>
              <a:ext cx="2688336" cy="1737360"/>
              <a:chOff x="507868" y="1315330"/>
              <a:chExt cx="2683370" cy="1725473"/>
            </a:xfrm>
          </p:grpSpPr>
          <p:sp>
            <p:nvSpPr>
              <p:cNvPr id="6" name="Rectangle 5"/>
              <p:cNvSpPr>
                <a:spLocks noChangeAspect="1"/>
              </p:cNvSpPr>
              <p:nvPr>
                <p:custDataLst>
                  <p:tags r:id="rId4"/>
                </p:custDataLst>
              </p:nvPr>
            </p:nvSpPr>
            <p:spPr bwMode="auto">
              <a:xfrm>
                <a:off x="507868" y="1315330"/>
                <a:ext cx="2683370" cy="1725473"/>
              </a:xfrm>
              <a:prstGeom prst="rect">
                <a:avLst/>
              </a:prstGeom>
              <a:solidFill>
                <a:srgbClr val="FF8B00"/>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60947" rIns="121893" bIns="60947" numCol="1" rtlCol="0" anchor="b" anchorCtr="0" compatLnSpc="1">
                <a:prstTxWarp prst="textNoShape">
                  <a:avLst/>
                </a:prstTxWarp>
                <a:noAutofit/>
              </a:bodyPr>
              <a:lstStyle/>
              <a:p>
                <a:pPr defTabSz="914083" fontAlgn="base">
                  <a:lnSpc>
                    <a:spcPct val="90000"/>
                  </a:lnSpc>
                  <a:spcBef>
                    <a:spcPts val="630"/>
                  </a:spcBef>
                  <a:spcAft>
                    <a:spcPct val="0"/>
                  </a:spcAft>
                  <a:buClr>
                    <a:srgbClr val="FFFF99"/>
                  </a:buClr>
                  <a:buSzPct val="120000"/>
                  <a:defRPr/>
                </a:pPr>
                <a:r>
                  <a:rPr lang="en-US" dirty="0">
                    <a:ln>
                      <a:solidFill>
                        <a:srgbClr val="FFFFFF">
                          <a:alpha val="0"/>
                        </a:srgbClr>
                      </a:solidFill>
                    </a:ln>
                    <a:solidFill>
                      <a:srgbClr val="FFFFFF">
                        <a:alpha val="99000"/>
                      </a:srgbClr>
                    </a:solidFill>
                    <a:cs typeface="Segoe UI" pitchFamily="34" charset="0"/>
                  </a:rPr>
                  <a:t> </a:t>
                </a:r>
                <a:r>
                  <a:rPr lang="en-US" dirty="0" smtClean="0">
                    <a:ln>
                      <a:solidFill>
                        <a:srgbClr val="FFFFFF">
                          <a:alpha val="0"/>
                        </a:srgbClr>
                      </a:solidFill>
                    </a:ln>
                    <a:solidFill>
                      <a:srgbClr val="FFFFFF">
                        <a:alpha val="99000"/>
                      </a:srgbClr>
                    </a:solidFill>
                    <a:cs typeface="Segoe UI" pitchFamily="34" charset="0"/>
                  </a:rPr>
                  <a:t>           </a:t>
                </a:r>
              </a:p>
              <a:p>
                <a:pPr defTabSz="914023" fontAlgn="base">
                  <a:spcBef>
                    <a:spcPct val="0"/>
                  </a:spcBef>
                  <a:spcAft>
                    <a:spcPct val="0"/>
                  </a:spcAft>
                  <a:defRPr/>
                </a:pPr>
                <a:r>
                  <a:rPr lang="en-US" sz="2000" kern="0" dirty="0">
                    <a:solidFill>
                      <a:srgbClr val="FFFFFF">
                        <a:alpha val="99000"/>
                      </a:srgbClr>
                    </a:solidFill>
                  </a:rPr>
                  <a:t>Declarative</a:t>
                </a:r>
                <a:endParaRPr lang="en-US" sz="2000" kern="0" dirty="0">
                  <a:solidFill>
                    <a:srgbClr val="FFFFFF">
                      <a:alpha val="99000"/>
                    </a:srgbClr>
                  </a:solidFill>
                </a:endParaRPr>
              </a:p>
            </p:txBody>
          </p:sp>
          <p:grpSp>
            <p:nvGrpSpPr>
              <p:cNvPr id="90" name="Group 89"/>
              <p:cNvGrpSpPr>
                <a:grpSpLocks noChangeAspect="1"/>
              </p:cNvGrpSpPr>
              <p:nvPr/>
            </p:nvGrpSpPr>
            <p:grpSpPr>
              <a:xfrm>
                <a:off x="613249" y="1414905"/>
                <a:ext cx="673018" cy="862136"/>
                <a:chOff x="-2773363" y="1651000"/>
                <a:chExt cx="2692401" cy="3448051"/>
              </a:xfrm>
              <a:solidFill>
                <a:schemeClr val="bg1"/>
              </a:solidFill>
            </p:grpSpPr>
            <p:sp>
              <p:nvSpPr>
                <p:cNvPr id="91" name="Freeform 19"/>
                <p:cNvSpPr>
                  <a:spLocks noEditPoints="1"/>
                </p:cNvSpPr>
                <p:nvPr/>
              </p:nvSpPr>
              <p:spPr bwMode="auto">
                <a:xfrm>
                  <a:off x="-1908175" y="1798638"/>
                  <a:ext cx="641350" cy="641350"/>
                </a:xfrm>
                <a:custGeom>
                  <a:avLst/>
                  <a:gdLst>
                    <a:gd name="T0" fmla="*/ 171 w 171"/>
                    <a:gd name="T1" fmla="*/ 79 h 171"/>
                    <a:gd name="T2" fmla="*/ 168 w 171"/>
                    <a:gd name="T3" fmla="*/ 77 h 171"/>
                    <a:gd name="T4" fmla="*/ 152 w 171"/>
                    <a:gd name="T5" fmla="*/ 65 h 171"/>
                    <a:gd name="T6" fmla="*/ 165 w 171"/>
                    <a:gd name="T7" fmla="*/ 54 h 171"/>
                    <a:gd name="T8" fmla="*/ 161 w 171"/>
                    <a:gd name="T9" fmla="*/ 52 h 171"/>
                    <a:gd name="T10" fmla="*/ 142 w 171"/>
                    <a:gd name="T11" fmla="*/ 45 h 171"/>
                    <a:gd name="T12" fmla="*/ 152 w 171"/>
                    <a:gd name="T13" fmla="*/ 32 h 171"/>
                    <a:gd name="T14" fmla="*/ 147 w 171"/>
                    <a:gd name="T15" fmla="*/ 30 h 171"/>
                    <a:gd name="T16" fmla="*/ 127 w 171"/>
                    <a:gd name="T17" fmla="*/ 30 h 171"/>
                    <a:gd name="T18" fmla="*/ 132 w 171"/>
                    <a:gd name="T19" fmla="*/ 15 h 171"/>
                    <a:gd name="T20" fmla="*/ 127 w 171"/>
                    <a:gd name="T21" fmla="*/ 14 h 171"/>
                    <a:gd name="T22" fmla="*/ 108 w 171"/>
                    <a:gd name="T23" fmla="*/ 20 h 171"/>
                    <a:gd name="T24" fmla="*/ 108 w 171"/>
                    <a:gd name="T25" fmla="*/ 5 h 171"/>
                    <a:gd name="T26" fmla="*/ 103 w 171"/>
                    <a:gd name="T27" fmla="*/ 4 h 171"/>
                    <a:gd name="T28" fmla="*/ 86 w 171"/>
                    <a:gd name="T29" fmla="*/ 16 h 171"/>
                    <a:gd name="T30" fmla="*/ 79 w 171"/>
                    <a:gd name="T31" fmla="*/ 0 h 171"/>
                    <a:gd name="T32" fmla="*/ 77 w 171"/>
                    <a:gd name="T33" fmla="*/ 3 h 171"/>
                    <a:gd name="T34" fmla="*/ 65 w 171"/>
                    <a:gd name="T35" fmla="*/ 19 h 171"/>
                    <a:gd name="T36" fmla="*/ 53 w 171"/>
                    <a:gd name="T37" fmla="*/ 6 h 171"/>
                    <a:gd name="T38" fmla="*/ 52 w 171"/>
                    <a:gd name="T39" fmla="*/ 10 h 171"/>
                    <a:gd name="T40" fmla="*/ 45 w 171"/>
                    <a:gd name="T41" fmla="*/ 29 h 171"/>
                    <a:gd name="T42" fmla="*/ 30 w 171"/>
                    <a:gd name="T43" fmla="*/ 20 h 171"/>
                    <a:gd name="T44" fmla="*/ 30 w 171"/>
                    <a:gd name="T45" fmla="*/ 24 h 171"/>
                    <a:gd name="T46" fmla="*/ 30 w 171"/>
                    <a:gd name="T47" fmla="*/ 44 h 171"/>
                    <a:gd name="T48" fmla="*/ 13 w 171"/>
                    <a:gd name="T49" fmla="*/ 40 h 171"/>
                    <a:gd name="T50" fmla="*/ 14 w 171"/>
                    <a:gd name="T51" fmla="*/ 44 h 171"/>
                    <a:gd name="T52" fmla="*/ 20 w 171"/>
                    <a:gd name="T53" fmla="*/ 63 h 171"/>
                    <a:gd name="T54" fmla="*/ 2 w 171"/>
                    <a:gd name="T55" fmla="*/ 65 h 171"/>
                    <a:gd name="T56" fmla="*/ 4 w 171"/>
                    <a:gd name="T57" fmla="*/ 68 h 171"/>
                    <a:gd name="T58" fmla="*/ 16 w 171"/>
                    <a:gd name="T59" fmla="*/ 84 h 171"/>
                    <a:gd name="T60" fmla="*/ 0 w 171"/>
                    <a:gd name="T61" fmla="*/ 91 h 171"/>
                    <a:gd name="T62" fmla="*/ 3 w 171"/>
                    <a:gd name="T63" fmla="*/ 94 h 171"/>
                    <a:gd name="T64" fmla="*/ 19 w 171"/>
                    <a:gd name="T65" fmla="*/ 106 h 171"/>
                    <a:gd name="T66" fmla="*/ 6 w 171"/>
                    <a:gd name="T67" fmla="*/ 116 h 171"/>
                    <a:gd name="T68" fmla="*/ 10 w 171"/>
                    <a:gd name="T69" fmla="*/ 119 h 171"/>
                    <a:gd name="T70" fmla="*/ 29 w 171"/>
                    <a:gd name="T71" fmla="*/ 125 h 171"/>
                    <a:gd name="T72" fmla="*/ 19 w 171"/>
                    <a:gd name="T73" fmla="*/ 139 h 171"/>
                    <a:gd name="T74" fmla="*/ 24 w 171"/>
                    <a:gd name="T75" fmla="*/ 141 h 171"/>
                    <a:gd name="T76" fmla="*/ 44 w 171"/>
                    <a:gd name="T77" fmla="*/ 141 h 171"/>
                    <a:gd name="T78" fmla="*/ 39 w 171"/>
                    <a:gd name="T79" fmla="*/ 156 h 171"/>
                    <a:gd name="T80" fmla="*/ 44 w 171"/>
                    <a:gd name="T81" fmla="*/ 157 h 171"/>
                    <a:gd name="T82" fmla="*/ 63 w 171"/>
                    <a:gd name="T83" fmla="*/ 151 h 171"/>
                    <a:gd name="T84" fmla="*/ 63 w 171"/>
                    <a:gd name="T85" fmla="*/ 166 h 171"/>
                    <a:gd name="T86" fmla="*/ 68 w 171"/>
                    <a:gd name="T87" fmla="*/ 166 h 171"/>
                    <a:gd name="T88" fmla="*/ 85 w 171"/>
                    <a:gd name="T89" fmla="*/ 155 h 171"/>
                    <a:gd name="T90" fmla="*/ 91 w 171"/>
                    <a:gd name="T91" fmla="*/ 171 h 171"/>
                    <a:gd name="T92" fmla="*/ 94 w 171"/>
                    <a:gd name="T93" fmla="*/ 168 h 171"/>
                    <a:gd name="T94" fmla="*/ 96 w 171"/>
                    <a:gd name="T95" fmla="*/ 154 h 171"/>
                    <a:gd name="T96" fmla="*/ 114 w 171"/>
                    <a:gd name="T97" fmla="*/ 163 h 171"/>
                    <a:gd name="T98" fmla="*/ 119 w 171"/>
                    <a:gd name="T99" fmla="*/ 162 h 171"/>
                    <a:gd name="T100" fmla="*/ 117 w 171"/>
                    <a:gd name="T101" fmla="*/ 147 h 171"/>
                    <a:gd name="T102" fmla="*/ 137 w 171"/>
                    <a:gd name="T103" fmla="*/ 150 h 171"/>
                    <a:gd name="T104" fmla="*/ 142 w 171"/>
                    <a:gd name="T105" fmla="*/ 149 h 171"/>
                    <a:gd name="T106" fmla="*/ 135 w 171"/>
                    <a:gd name="T107" fmla="*/ 134 h 171"/>
                    <a:gd name="T108" fmla="*/ 154 w 171"/>
                    <a:gd name="T109" fmla="*/ 131 h 171"/>
                    <a:gd name="T110" fmla="*/ 159 w 171"/>
                    <a:gd name="T111" fmla="*/ 129 h 171"/>
                    <a:gd name="T112" fmla="*/ 147 w 171"/>
                    <a:gd name="T113" fmla="*/ 117 h 171"/>
                    <a:gd name="T114" fmla="*/ 165 w 171"/>
                    <a:gd name="T115" fmla="*/ 108 h 171"/>
                    <a:gd name="T116" fmla="*/ 169 w 171"/>
                    <a:gd name="T117" fmla="*/ 105 h 171"/>
                    <a:gd name="T118" fmla="*/ 154 w 171"/>
                    <a:gd name="T119" fmla="*/ 96 h 171"/>
                    <a:gd name="T120" fmla="*/ 168 w 171"/>
                    <a:gd name="T121" fmla="*/ 82 h 171"/>
                    <a:gd name="T122" fmla="*/ 70 w 171"/>
                    <a:gd name="T123" fmla="*/ 85 h 171"/>
                    <a:gd name="T124" fmla="*/ 101 w 171"/>
                    <a:gd name="T125" fmla="*/ 85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1" h="171">
                      <a:moveTo>
                        <a:pt x="168" y="82"/>
                      </a:moveTo>
                      <a:cubicBezTo>
                        <a:pt x="170" y="82"/>
                        <a:pt x="171" y="81"/>
                        <a:pt x="171" y="79"/>
                      </a:cubicBezTo>
                      <a:cubicBezTo>
                        <a:pt x="171" y="79"/>
                        <a:pt x="171" y="79"/>
                        <a:pt x="171" y="79"/>
                      </a:cubicBezTo>
                      <a:cubicBezTo>
                        <a:pt x="171" y="78"/>
                        <a:pt x="169" y="77"/>
                        <a:pt x="168" y="77"/>
                      </a:cubicBezTo>
                      <a:cubicBezTo>
                        <a:pt x="154" y="75"/>
                        <a:pt x="154" y="75"/>
                        <a:pt x="154" y="75"/>
                      </a:cubicBezTo>
                      <a:cubicBezTo>
                        <a:pt x="154" y="71"/>
                        <a:pt x="153" y="68"/>
                        <a:pt x="152" y="65"/>
                      </a:cubicBezTo>
                      <a:cubicBezTo>
                        <a:pt x="163" y="57"/>
                        <a:pt x="163" y="57"/>
                        <a:pt x="163" y="57"/>
                      </a:cubicBezTo>
                      <a:cubicBezTo>
                        <a:pt x="164" y="56"/>
                        <a:pt x="165" y="55"/>
                        <a:pt x="165" y="54"/>
                      </a:cubicBezTo>
                      <a:cubicBezTo>
                        <a:pt x="165" y="54"/>
                        <a:pt x="165" y="53"/>
                        <a:pt x="165" y="53"/>
                      </a:cubicBezTo>
                      <a:cubicBezTo>
                        <a:pt x="164" y="52"/>
                        <a:pt x="163" y="51"/>
                        <a:pt x="161" y="52"/>
                      </a:cubicBezTo>
                      <a:cubicBezTo>
                        <a:pt x="147" y="54"/>
                        <a:pt x="147" y="54"/>
                        <a:pt x="147" y="54"/>
                      </a:cubicBezTo>
                      <a:cubicBezTo>
                        <a:pt x="146" y="51"/>
                        <a:pt x="144" y="48"/>
                        <a:pt x="142" y="45"/>
                      </a:cubicBezTo>
                      <a:cubicBezTo>
                        <a:pt x="151" y="34"/>
                        <a:pt x="151" y="34"/>
                        <a:pt x="151" y="34"/>
                      </a:cubicBezTo>
                      <a:cubicBezTo>
                        <a:pt x="151" y="34"/>
                        <a:pt x="152" y="33"/>
                        <a:pt x="152" y="32"/>
                      </a:cubicBezTo>
                      <a:cubicBezTo>
                        <a:pt x="152" y="31"/>
                        <a:pt x="151" y="31"/>
                        <a:pt x="151" y="30"/>
                      </a:cubicBezTo>
                      <a:cubicBezTo>
                        <a:pt x="150" y="29"/>
                        <a:pt x="148" y="29"/>
                        <a:pt x="147" y="30"/>
                      </a:cubicBezTo>
                      <a:cubicBezTo>
                        <a:pt x="135" y="36"/>
                        <a:pt x="135" y="36"/>
                        <a:pt x="135" y="36"/>
                      </a:cubicBezTo>
                      <a:cubicBezTo>
                        <a:pt x="132" y="34"/>
                        <a:pt x="130" y="32"/>
                        <a:pt x="127" y="30"/>
                      </a:cubicBezTo>
                      <a:cubicBezTo>
                        <a:pt x="132" y="16"/>
                        <a:pt x="132" y="16"/>
                        <a:pt x="132" y="16"/>
                      </a:cubicBezTo>
                      <a:cubicBezTo>
                        <a:pt x="132" y="16"/>
                        <a:pt x="132" y="16"/>
                        <a:pt x="132" y="15"/>
                      </a:cubicBezTo>
                      <a:cubicBezTo>
                        <a:pt x="132" y="14"/>
                        <a:pt x="132" y="13"/>
                        <a:pt x="131" y="13"/>
                      </a:cubicBezTo>
                      <a:cubicBezTo>
                        <a:pt x="129" y="12"/>
                        <a:pt x="128" y="12"/>
                        <a:pt x="127" y="14"/>
                      </a:cubicBezTo>
                      <a:cubicBezTo>
                        <a:pt x="117" y="23"/>
                        <a:pt x="117" y="23"/>
                        <a:pt x="117" y="23"/>
                      </a:cubicBezTo>
                      <a:cubicBezTo>
                        <a:pt x="114" y="22"/>
                        <a:pt x="111" y="21"/>
                        <a:pt x="108" y="20"/>
                      </a:cubicBezTo>
                      <a:cubicBezTo>
                        <a:pt x="108" y="6"/>
                        <a:pt x="108" y="6"/>
                        <a:pt x="108" y="6"/>
                      </a:cubicBezTo>
                      <a:cubicBezTo>
                        <a:pt x="108" y="5"/>
                        <a:pt x="108" y="5"/>
                        <a:pt x="108" y="5"/>
                      </a:cubicBezTo>
                      <a:cubicBezTo>
                        <a:pt x="108" y="4"/>
                        <a:pt x="107" y="3"/>
                        <a:pt x="106" y="2"/>
                      </a:cubicBezTo>
                      <a:cubicBezTo>
                        <a:pt x="105" y="2"/>
                        <a:pt x="103" y="3"/>
                        <a:pt x="103" y="4"/>
                      </a:cubicBezTo>
                      <a:cubicBezTo>
                        <a:pt x="96" y="17"/>
                        <a:pt x="96" y="17"/>
                        <a:pt x="96" y="17"/>
                      </a:cubicBezTo>
                      <a:cubicBezTo>
                        <a:pt x="93" y="16"/>
                        <a:pt x="90" y="16"/>
                        <a:pt x="86" y="16"/>
                      </a:cubicBezTo>
                      <a:cubicBezTo>
                        <a:pt x="82" y="3"/>
                        <a:pt x="82" y="3"/>
                        <a:pt x="82" y="3"/>
                      </a:cubicBezTo>
                      <a:cubicBezTo>
                        <a:pt x="82" y="1"/>
                        <a:pt x="81" y="0"/>
                        <a:pt x="79" y="0"/>
                      </a:cubicBezTo>
                      <a:cubicBezTo>
                        <a:pt x="78" y="0"/>
                        <a:pt x="77" y="1"/>
                        <a:pt x="77" y="3"/>
                      </a:cubicBezTo>
                      <a:cubicBezTo>
                        <a:pt x="77" y="3"/>
                        <a:pt x="77" y="3"/>
                        <a:pt x="77" y="3"/>
                      </a:cubicBezTo>
                      <a:cubicBezTo>
                        <a:pt x="75" y="17"/>
                        <a:pt x="75" y="17"/>
                        <a:pt x="75" y="17"/>
                      </a:cubicBezTo>
                      <a:cubicBezTo>
                        <a:pt x="71" y="17"/>
                        <a:pt x="68" y="18"/>
                        <a:pt x="65" y="19"/>
                      </a:cubicBezTo>
                      <a:cubicBezTo>
                        <a:pt x="57" y="8"/>
                        <a:pt x="57" y="8"/>
                        <a:pt x="57" y="8"/>
                      </a:cubicBezTo>
                      <a:cubicBezTo>
                        <a:pt x="56" y="6"/>
                        <a:pt x="55" y="5"/>
                        <a:pt x="53" y="6"/>
                      </a:cubicBezTo>
                      <a:cubicBezTo>
                        <a:pt x="52" y="6"/>
                        <a:pt x="52" y="7"/>
                        <a:pt x="52" y="9"/>
                      </a:cubicBezTo>
                      <a:cubicBezTo>
                        <a:pt x="52" y="9"/>
                        <a:pt x="52" y="9"/>
                        <a:pt x="52" y="10"/>
                      </a:cubicBezTo>
                      <a:cubicBezTo>
                        <a:pt x="54" y="23"/>
                        <a:pt x="54" y="23"/>
                        <a:pt x="54" y="23"/>
                      </a:cubicBezTo>
                      <a:cubicBezTo>
                        <a:pt x="51" y="25"/>
                        <a:pt x="48" y="27"/>
                        <a:pt x="45" y="29"/>
                      </a:cubicBezTo>
                      <a:cubicBezTo>
                        <a:pt x="34" y="20"/>
                        <a:pt x="34" y="20"/>
                        <a:pt x="34" y="20"/>
                      </a:cubicBezTo>
                      <a:cubicBezTo>
                        <a:pt x="33" y="19"/>
                        <a:pt x="32" y="19"/>
                        <a:pt x="30" y="20"/>
                      </a:cubicBezTo>
                      <a:cubicBezTo>
                        <a:pt x="30" y="20"/>
                        <a:pt x="29" y="21"/>
                        <a:pt x="29" y="22"/>
                      </a:cubicBezTo>
                      <a:cubicBezTo>
                        <a:pt x="29" y="23"/>
                        <a:pt x="30" y="23"/>
                        <a:pt x="30" y="24"/>
                      </a:cubicBezTo>
                      <a:cubicBezTo>
                        <a:pt x="36" y="36"/>
                        <a:pt x="36" y="36"/>
                        <a:pt x="36" y="36"/>
                      </a:cubicBezTo>
                      <a:cubicBezTo>
                        <a:pt x="34" y="39"/>
                        <a:pt x="32" y="41"/>
                        <a:pt x="30" y="44"/>
                      </a:cubicBezTo>
                      <a:cubicBezTo>
                        <a:pt x="17" y="39"/>
                        <a:pt x="17" y="39"/>
                        <a:pt x="17" y="39"/>
                      </a:cubicBezTo>
                      <a:cubicBezTo>
                        <a:pt x="15" y="38"/>
                        <a:pt x="14" y="39"/>
                        <a:pt x="13" y="40"/>
                      </a:cubicBezTo>
                      <a:cubicBezTo>
                        <a:pt x="13" y="41"/>
                        <a:pt x="12" y="41"/>
                        <a:pt x="12" y="42"/>
                      </a:cubicBezTo>
                      <a:cubicBezTo>
                        <a:pt x="12" y="42"/>
                        <a:pt x="13" y="43"/>
                        <a:pt x="14" y="44"/>
                      </a:cubicBezTo>
                      <a:cubicBezTo>
                        <a:pt x="24" y="54"/>
                        <a:pt x="24" y="54"/>
                        <a:pt x="24" y="54"/>
                      </a:cubicBezTo>
                      <a:cubicBezTo>
                        <a:pt x="22" y="57"/>
                        <a:pt x="21" y="60"/>
                        <a:pt x="20" y="63"/>
                      </a:cubicBezTo>
                      <a:cubicBezTo>
                        <a:pt x="6" y="63"/>
                        <a:pt x="6" y="63"/>
                        <a:pt x="6" y="63"/>
                      </a:cubicBezTo>
                      <a:cubicBezTo>
                        <a:pt x="4" y="62"/>
                        <a:pt x="3" y="63"/>
                        <a:pt x="2" y="65"/>
                      </a:cubicBezTo>
                      <a:cubicBezTo>
                        <a:pt x="2" y="65"/>
                        <a:pt x="2" y="65"/>
                        <a:pt x="2" y="65"/>
                      </a:cubicBezTo>
                      <a:cubicBezTo>
                        <a:pt x="2" y="67"/>
                        <a:pt x="3" y="68"/>
                        <a:pt x="4" y="68"/>
                      </a:cubicBezTo>
                      <a:cubicBezTo>
                        <a:pt x="17" y="74"/>
                        <a:pt x="17" y="74"/>
                        <a:pt x="17" y="74"/>
                      </a:cubicBezTo>
                      <a:cubicBezTo>
                        <a:pt x="16" y="78"/>
                        <a:pt x="16" y="81"/>
                        <a:pt x="16" y="84"/>
                      </a:cubicBezTo>
                      <a:cubicBezTo>
                        <a:pt x="3" y="89"/>
                        <a:pt x="3" y="89"/>
                        <a:pt x="3" y="89"/>
                      </a:cubicBezTo>
                      <a:cubicBezTo>
                        <a:pt x="1" y="89"/>
                        <a:pt x="0" y="90"/>
                        <a:pt x="0" y="91"/>
                      </a:cubicBezTo>
                      <a:cubicBezTo>
                        <a:pt x="0" y="91"/>
                        <a:pt x="0" y="91"/>
                        <a:pt x="0" y="91"/>
                      </a:cubicBezTo>
                      <a:cubicBezTo>
                        <a:pt x="0" y="93"/>
                        <a:pt x="2" y="94"/>
                        <a:pt x="3" y="94"/>
                      </a:cubicBezTo>
                      <a:cubicBezTo>
                        <a:pt x="17" y="96"/>
                        <a:pt x="17" y="96"/>
                        <a:pt x="17" y="96"/>
                      </a:cubicBezTo>
                      <a:cubicBezTo>
                        <a:pt x="17" y="99"/>
                        <a:pt x="18" y="103"/>
                        <a:pt x="19" y="106"/>
                      </a:cubicBezTo>
                      <a:cubicBezTo>
                        <a:pt x="8" y="114"/>
                        <a:pt x="8" y="114"/>
                        <a:pt x="8" y="114"/>
                      </a:cubicBezTo>
                      <a:cubicBezTo>
                        <a:pt x="7" y="114"/>
                        <a:pt x="6" y="115"/>
                        <a:pt x="6" y="116"/>
                      </a:cubicBezTo>
                      <a:cubicBezTo>
                        <a:pt x="6" y="117"/>
                        <a:pt x="6" y="117"/>
                        <a:pt x="6" y="118"/>
                      </a:cubicBezTo>
                      <a:cubicBezTo>
                        <a:pt x="7" y="119"/>
                        <a:pt x="8" y="120"/>
                        <a:pt x="10" y="119"/>
                      </a:cubicBezTo>
                      <a:cubicBezTo>
                        <a:pt x="24" y="117"/>
                        <a:pt x="24" y="117"/>
                        <a:pt x="24" y="117"/>
                      </a:cubicBezTo>
                      <a:cubicBezTo>
                        <a:pt x="25" y="120"/>
                        <a:pt x="27" y="123"/>
                        <a:pt x="29" y="125"/>
                      </a:cubicBezTo>
                      <a:cubicBezTo>
                        <a:pt x="20" y="137"/>
                        <a:pt x="20" y="137"/>
                        <a:pt x="20" y="137"/>
                      </a:cubicBezTo>
                      <a:cubicBezTo>
                        <a:pt x="20" y="137"/>
                        <a:pt x="19" y="138"/>
                        <a:pt x="19" y="139"/>
                      </a:cubicBezTo>
                      <a:cubicBezTo>
                        <a:pt x="19" y="139"/>
                        <a:pt x="20" y="140"/>
                        <a:pt x="20" y="140"/>
                      </a:cubicBezTo>
                      <a:cubicBezTo>
                        <a:pt x="21" y="142"/>
                        <a:pt x="23" y="142"/>
                        <a:pt x="24" y="141"/>
                      </a:cubicBezTo>
                      <a:cubicBezTo>
                        <a:pt x="36" y="134"/>
                        <a:pt x="36" y="134"/>
                        <a:pt x="36" y="134"/>
                      </a:cubicBezTo>
                      <a:cubicBezTo>
                        <a:pt x="39" y="137"/>
                        <a:pt x="41" y="139"/>
                        <a:pt x="44" y="141"/>
                      </a:cubicBezTo>
                      <a:cubicBezTo>
                        <a:pt x="39" y="154"/>
                        <a:pt x="39" y="154"/>
                        <a:pt x="39" y="154"/>
                      </a:cubicBezTo>
                      <a:cubicBezTo>
                        <a:pt x="39" y="155"/>
                        <a:pt x="39" y="155"/>
                        <a:pt x="39" y="156"/>
                      </a:cubicBezTo>
                      <a:cubicBezTo>
                        <a:pt x="39" y="157"/>
                        <a:pt x="39" y="157"/>
                        <a:pt x="40" y="158"/>
                      </a:cubicBezTo>
                      <a:cubicBezTo>
                        <a:pt x="42" y="159"/>
                        <a:pt x="43" y="158"/>
                        <a:pt x="44" y="157"/>
                      </a:cubicBezTo>
                      <a:cubicBezTo>
                        <a:pt x="54" y="147"/>
                        <a:pt x="54" y="147"/>
                        <a:pt x="54" y="147"/>
                      </a:cubicBezTo>
                      <a:cubicBezTo>
                        <a:pt x="57" y="149"/>
                        <a:pt x="60" y="150"/>
                        <a:pt x="63" y="151"/>
                      </a:cubicBezTo>
                      <a:cubicBezTo>
                        <a:pt x="63" y="165"/>
                        <a:pt x="63" y="165"/>
                        <a:pt x="63" y="165"/>
                      </a:cubicBezTo>
                      <a:cubicBezTo>
                        <a:pt x="63" y="165"/>
                        <a:pt x="63" y="166"/>
                        <a:pt x="63" y="166"/>
                      </a:cubicBezTo>
                      <a:cubicBezTo>
                        <a:pt x="63" y="167"/>
                        <a:pt x="64" y="168"/>
                        <a:pt x="65" y="168"/>
                      </a:cubicBezTo>
                      <a:cubicBezTo>
                        <a:pt x="66" y="169"/>
                        <a:pt x="68" y="168"/>
                        <a:pt x="68" y="166"/>
                      </a:cubicBezTo>
                      <a:cubicBezTo>
                        <a:pt x="75" y="154"/>
                        <a:pt x="75" y="154"/>
                        <a:pt x="75" y="154"/>
                      </a:cubicBezTo>
                      <a:cubicBezTo>
                        <a:pt x="78" y="154"/>
                        <a:pt x="81" y="155"/>
                        <a:pt x="85" y="155"/>
                      </a:cubicBezTo>
                      <a:cubicBezTo>
                        <a:pt x="89" y="168"/>
                        <a:pt x="89" y="168"/>
                        <a:pt x="89" y="168"/>
                      </a:cubicBezTo>
                      <a:cubicBezTo>
                        <a:pt x="89" y="170"/>
                        <a:pt x="90" y="171"/>
                        <a:pt x="91" y="171"/>
                      </a:cubicBezTo>
                      <a:cubicBezTo>
                        <a:pt x="91" y="171"/>
                        <a:pt x="92" y="171"/>
                        <a:pt x="92" y="171"/>
                      </a:cubicBezTo>
                      <a:cubicBezTo>
                        <a:pt x="93" y="171"/>
                        <a:pt x="94" y="169"/>
                        <a:pt x="94" y="168"/>
                      </a:cubicBezTo>
                      <a:cubicBezTo>
                        <a:pt x="94" y="168"/>
                        <a:pt x="94" y="168"/>
                        <a:pt x="94" y="168"/>
                      </a:cubicBezTo>
                      <a:cubicBezTo>
                        <a:pt x="96" y="154"/>
                        <a:pt x="96" y="154"/>
                        <a:pt x="96" y="154"/>
                      </a:cubicBezTo>
                      <a:cubicBezTo>
                        <a:pt x="100" y="153"/>
                        <a:pt x="103" y="153"/>
                        <a:pt x="106" y="152"/>
                      </a:cubicBezTo>
                      <a:cubicBezTo>
                        <a:pt x="114" y="163"/>
                        <a:pt x="114" y="163"/>
                        <a:pt x="114" y="163"/>
                      </a:cubicBezTo>
                      <a:cubicBezTo>
                        <a:pt x="115" y="165"/>
                        <a:pt x="116" y="165"/>
                        <a:pt x="118" y="165"/>
                      </a:cubicBezTo>
                      <a:cubicBezTo>
                        <a:pt x="119" y="164"/>
                        <a:pt x="119" y="163"/>
                        <a:pt x="119" y="162"/>
                      </a:cubicBezTo>
                      <a:cubicBezTo>
                        <a:pt x="119" y="162"/>
                        <a:pt x="119" y="161"/>
                        <a:pt x="119" y="161"/>
                      </a:cubicBezTo>
                      <a:cubicBezTo>
                        <a:pt x="117" y="147"/>
                        <a:pt x="117" y="147"/>
                        <a:pt x="117" y="147"/>
                      </a:cubicBezTo>
                      <a:cubicBezTo>
                        <a:pt x="120" y="146"/>
                        <a:pt x="123" y="144"/>
                        <a:pt x="126" y="142"/>
                      </a:cubicBezTo>
                      <a:cubicBezTo>
                        <a:pt x="137" y="150"/>
                        <a:pt x="137" y="150"/>
                        <a:pt x="137" y="150"/>
                      </a:cubicBezTo>
                      <a:cubicBezTo>
                        <a:pt x="138" y="152"/>
                        <a:pt x="139" y="152"/>
                        <a:pt x="141" y="151"/>
                      </a:cubicBezTo>
                      <a:cubicBezTo>
                        <a:pt x="141" y="150"/>
                        <a:pt x="142" y="149"/>
                        <a:pt x="142" y="149"/>
                      </a:cubicBezTo>
                      <a:cubicBezTo>
                        <a:pt x="142" y="148"/>
                        <a:pt x="141" y="147"/>
                        <a:pt x="141" y="147"/>
                      </a:cubicBezTo>
                      <a:cubicBezTo>
                        <a:pt x="135" y="134"/>
                        <a:pt x="135" y="134"/>
                        <a:pt x="135" y="134"/>
                      </a:cubicBezTo>
                      <a:cubicBezTo>
                        <a:pt x="137" y="132"/>
                        <a:pt x="139" y="130"/>
                        <a:pt x="141" y="127"/>
                      </a:cubicBezTo>
                      <a:cubicBezTo>
                        <a:pt x="154" y="131"/>
                        <a:pt x="154" y="131"/>
                        <a:pt x="154" y="131"/>
                      </a:cubicBezTo>
                      <a:cubicBezTo>
                        <a:pt x="156" y="132"/>
                        <a:pt x="157" y="132"/>
                        <a:pt x="158" y="131"/>
                      </a:cubicBezTo>
                      <a:cubicBezTo>
                        <a:pt x="158" y="130"/>
                        <a:pt x="159" y="130"/>
                        <a:pt x="159" y="129"/>
                      </a:cubicBezTo>
                      <a:cubicBezTo>
                        <a:pt x="159" y="128"/>
                        <a:pt x="158" y="127"/>
                        <a:pt x="157" y="127"/>
                      </a:cubicBezTo>
                      <a:cubicBezTo>
                        <a:pt x="147" y="117"/>
                        <a:pt x="147" y="117"/>
                        <a:pt x="147" y="117"/>
                      </a:cubicBezTo>
                      <a:cubicBezTo>
                        <a:pt x="149" y="114"/>
                        <a:pt x="150" y="111"/>
                        <a:pt x="151" y="108"/>
                      </a:cubicBezTo>
                      <a:cubicBezTo>
                        <a:pt x="165" y="108"/>
                        <a:pt x="165" y="108"/>
                        <a:pt x="165" y="108"/>
                      </a:cubicBezTo>
                      <a:cubicBezTo>
                        <a:pt x="167" y="108"/>
                        <a:pt x="168" y="107"/>
                        <a:pt x="169" y="106"/>
                      </a:cubicBezTo>
                      <a:cubicBezTo>
                        <a:pt x="169" y="106"/>
                        <a:pt x="169" y="105"/>
                        <a:pt x="169" y="105"/>
                      </a:cubicBezTo>
                      <a:cubicBezTo>
                        <a:pt x="169" y="104"/>
                        <a:pt x="168" y="103"/>
                        <a:pt x="167" y="103"/>
                      </a:cubicBezTo>
                      <a:cubicBezTo>
                        <a:pt x="154" y="96"/>
                        <a:pt x="154" y="96"/>
                        <a:pt x="154" y="96"/>
                      </a:cubicBezTo>
                      <a:cubicBezTo>
                        <a:pt x="155" y="93"/>
                        <a:pt x="155" y="90"/>
                        <a:pt x="155" y="86"/>
                      </a:cubicBezTo>
                      <a:lnTo>
                        <a:pt x="168" y="82"/>
                      </a:lnTo>
                      <a:close/>
                      <a:moveTo>
                        <a:pt x="86" y="101"/>
                      </a:moveTo>
                      <a:cubicBezTo>
                        <a:pt x="77" y="101"/>
                        <a:pt x="70" y="94"/>
                        <a:pt x="70" y="85"/>
                      </a:cubicBezTo>
                      <a:cubicBezTo>
                        <a:pt x="70" y="77"/>
                        <a:pt x="77" y="70"/>
                        <a:pt x="86" y="70"/>
                      </a:cubicBezTo>
                      <a:cubicBezTo>
                        <a:pt x="94" y="70"/>
                        <a:pt x="101" y="77"/>
                        <a:pt x="101" y="85"/>
                      </a:cubicBezTo>
                      <a:cubicBezTo>
                        <a:pt x="101" y="94"/>
                        <a:pt x="94" y="101"/>
                        <a:pt x="86" y="10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20"/>
                <p:cNvSpPr>
                  <a:spLocks noEditPoints="1"/>
                </p:cNvSpPr>
                <p:nvPr/>
              </p:nvSpPr>
              <p:spPr bwMode="auto">
                <a:xfrm>
                  <a:off x="-1333500" y="1651000"/>
                  <a:ext cx="454025" cy="454025"/>
                </a:xfrm>
                <a:custGeom>
                  <a:avLst/>
                  <a:gdLst>
                    <a:gd name="T0" fmla="*/ 121 w 121"/>
                    <a:gd name="T1" fmla="*/ 56 h 121"/>
                    <a:gd name="T2" fmla="*/ 119 w 121"/>
                    <a:gd name="T3" fmla="*/ 54 h 121"/>
                    <a:gd name="T4" fmla="*/ 108 w 121"/>
                    <a:gd name="T5" fmla="*/ 46 h 121"/>
                    <a:gd name="T6" fmla="*/ 117 w 121"/>
                    <a:gd name="T7" fmla="*/ 38 h 121"/>
                    <a:gd name="T8" fmla="*/ 115 w 121"/>
                    <a:gd name="T9" fmla="*/ 37 h 121"/>
                    <a:gd name="T10" fmla="*/ 101 w 121"/>
                    <a:gd name="T11" fmla="*/ 32 h 121"/>
                    <a:gd name="T12" fmla="*/ 108 w 121"/>
                    <a:gd name="T13" fmla="*/ 23 h 121"/>
                    <a:gd name="T14" fmla="*/ 105 w 121"/>
                    <a:gd name="T15" fmla="*/ 21 h 121"/>
                    <a:gd name="T16" fmla="*/ 90 w 121"/>
                    <a:gd name="T17" fmla="*/ 21 h 121"/>
                    <a:gd name="T18" fmla="*/ 94 w 121"/>
                    <a:gd name="T19" fmla="*/ 11 h 121"/>
                    <a:gd name="T20" fmla="*/ 90 w 121"/>
                    <a:gd name="T21" fmla="*/ 10 h 121"/>
                    <a:gd name="T22" fmla="*/ 77 w 121"/>
                    <a:gd name="T23" fmla="*/ 14 h 121"/>
                    <a:gd name="T24" fmla="*/ 77 w 121"/>
                    <a:gd name="T25" fmla="*/ 3 h 121"/>
                    <a:gd name="T26" fmla="*/ 73 w 121"/>
                    <a:gd name="T27" fmla="*/ 3 h 121"/>
                    <a:gd name="T28" fmla="*/ 61 w 121"/>
                    <a:gd name="T29" fmla="*/ 11 h 121"/>
                    <a:gd name="T30" fmla="*/ 56 w 121"/>
                    <a:gd name="T31" fmla="*/ 0 h 121"/>
                    <a:gd name="T32" fmla="*/ 55 w 121"/>
                    <a:gd name="T33" fmla="*/ 2 h 121"/>
                    <a:gd name="T34" fmla="*/ 46 w 121"/>
                    <a:gd name="T35" fmla="*/ 13 h 121"/>
                    <a:gd name="T36" fmla="*/ 38 w 121"/>
                    <a:gd name="T37" fmla="*/ 4 h 121"/>
                    <a:gd name="T38" fmla="*/ 37 w 121"/>
                    <a:gd name="T39" fmla="*/ 7 h 121"/>
                    <a:gd name="T40" fmla="*/ 32 w 121"/>
                    <a:gd name="T41" fmla="*/ 20 h 121"/>
                    <a:gd name="T42" fmla="*/ 22 w 121"/>
                    <a:gd name="T43" fmla="*/ 14 h 121"/>
                    <a:gd name="T44" fmla="*/ 21 w 121"/>
                    <a:gd name="T45" fmla="*/ 17 h 121"/>
                    <a:gd name="T46" fmla="*/ 21 w 121"/>
                    <a:gd name="T47" fmla="*/ 31 h 121"/>
                    <a:gd name="T48" fmla="*/ 9 w 121"/>
                    <a:gd name="T49" fmla="*/ 28 h 121"/>
                    <a:gd name="T50" fmla="*/ 10 w 121"/>
                    <a:gd name="T51" fmla="*/ 31 h 121"/>
                    <a:gd name="T52" fmla="*/ 14 w 121"/>
                    <a:gd name="T53" fmla="*/ 45 h 121"/>
                    <a:gd name="T54" fmla="*/ 2 w 121"/>
                    <a:gd name="T55" fmla="*/ 46 h 121"/>
                    <a:gd name="T56" fmla="*/ 3 w 121"/>
                    <a:gd name="T57" fmla="*/ 48 h 121"/>
                    <a:gd name="T58" fmla="*/ 11 w 121"/>
                    <a:gd name="T59" fmla="*/ 60 h 121"/>
                    <a:gd name="T60" fmla="*/ 0 w 121"/>
                    <a:gd name="T61" fmla="*/ 65 h 121"/>
                    <a:gd name="T62" fmla="*/ 2 w 121"/>
                    <a:gd name="T63" fmla="*/ 67 h 121"/>
                    <a:gd name="T64" fmla="*/ 14 w 121"/>
                    <a:gd name="T65" fmla="*/ 75 h 121"/>
                    <a:gd name="T66" fmla="*/ 4 w 121"/>
                    <a:gd name="T67" fmla="*/ 83 h 121"/>
                    <a:gd name="T68" fmla="*/ 7 w 121"/>
                    <a:gd name="T69" fmla="*/ 84 h 121"/>
                    <a:gd name="T70" fmla="*/ 20 w 121"/>
                    <a:gd name="T71" fmla="*/ 89 h 121"/>
                    <a:gd name="T72" fmla="*/ 14 w 121"/>
                    <a:gd name="T73" fmla="*/ 98 h 121"/>
                    <a:gd name="T74" fmla="*/ 17 w 121"/>
                    <a:gd name="T75" fmla="*/ 100 h 121"/>
                    <a:gd name="T76" fmla="*/ 31 w 121"/>
                    <a:gd name="T77" fmla="*/ 100 h 121"/>
                    <a:gd name="T78" fmla="*/ 28 w 121"/>
                    <a:gd name="T79" fmla="*/ 110 h 121"/>
                    <a:gd name="T80" fmla="*/ 31 w 121"/>
                    <a:gd name="T81" fmla="*/ 112 h 121"/>
                    <a:gd name="T82" fmla="*/ 45 w 121"/>
                    <a:gd name="T83" fmla="*/ 107 h 121"/>
                    <a:gd name="T84" fmla="*/ 45 w 121"/>
                    <a:gd name="T85" fmla="*/ 118 h 121"/>
                    <a:gd name="T86" fmla="*/ 49 w 121"/>
                    <a:gd name="T87" fmla="*/ 118 h 121"/>
                    <a:gd name="T88" fmla="*/ 60 w 121"/>
                    <a:gd name="T89" fmla="*/ 110 h 121"/>
                    <a:gd name="T90" fmla="*/ 65 w 121"/>
                    <a:gd name="T91" fmla="*/ 121 h 121"/>
                    <a:gd name="T92" fmla="*/ 67 w 121"/>
                    <a:gd name="T93" fmla="*/ 119 h 121"/>
                    <a:gd name="T94" fmla="*/ 68 w 121"/>
                    <a:gd name="T95" fmla="*/ 109 h 121"/>
                    <a:gd name="T96" fmla="*/ 81 w 121"/>
                    <a:gd name="T97" fmla="*/ 116 h 121"/>
                    <a:gd name="T98" fmla="*/ 85 w 121"/>
                    <a:gd name="T99" fmla="*/ 115 h 121"/>
                    <a:gd name="T100" fmla="*/ 83 w 121"/>
                    <a:gd name="T101" fmla="*/ 104 h 121"/>
                    <a:gd name="T102" fmla="*/ 97 w 121"/>
                    <a:gd name="T103" fmla="*/ 107 h 121"/>
                    <a:gd name="T104" fmla="*/ 101 w 121"/>
                    <a:gd name="T105" fmla="*/ 106 h 121"/>
                    <a:gd name="T106" fmla="*/ 96 w 121"/>
                    <a:gd name="T107" fmla="*/ 95 h 121"/>
                    <a:gd name="T108" fmla="*/ 110 w 121"/>
                    <a:gd name="T109" fmla="*/ 93 h 121"/>
                    <a:gd name="T110" fmla="*/ 113 w 121"/>
                    <a:gd name="T111" fmla="*/ 92 h 121"/>
                    <a:gd name="T112" fmla="*/ 105 w 121"/>
                    <a:gd name="T113" fmla="*/ 83 h 121"/>
                    <a:gd name="T114" fmla="*/ 117 w 121"/>
                    <a:gd name="T115" fmla="*/ 77 h 121"/>
                    <a:gd name="T116" fmla="*/ 120 w 121"/>
                    <a:gd name="T117" fmla="*/ 75 h 121"/>
                    <a:gd name="T118" fmla="*/ 109 w 121"/>
                    <a:gd name="T119" fmla="*/ 68 h 121"/>
                    <a:gd name="T120" fmla="*/ 120 w 121"/>
                    <a:gd name="T121" fmla="*/ 58 h 121"/>
                    <a:gd name="T122" fmla="*/ 50 w 121"/>
                    <a:gd name="T123" fmla="*/ 61 h 121"/>
                    <a:gd name="T124" fmla="*/ 72 w 121"/>
                    <a:gd name="T125" fmla="*/ 6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1" h="121">
                      <a:moveTo>
                        <a:pt x="120" y="58"/>
                      </a:moveTo>
                      <a:cubicBezTo>
                        <a:pt x="121" y="58"/>
                        <a:pt x="121" y="57"/>
                        <a:pt x="121" y="56"/>
                      </a:cubicBezTo>
                      <a:cubicBezTo>
                        <a:pt x="121" y="56"/>
                        <a:pt x="121" y="56"/>
                        <a:pt x="121" y="56"/>
                      </a:cubicBezTo>
                      <a:cubicBezTo>
                        <a:pt x="121" y="55"/>
                        <a:pt x="120" y="54"/>
                        <a:pt x="119" y="54"/>
                      </a:cubicBezTo>
                      <a:cubicBezTo>
                        <a:pt x="110" y="53"/>
                        <a:pt x="110" y="53"/>
                        <a:pt x="110" y="53"/>
                      </a:cubicBezTo>
                      <a:cubicBezTo>
                        <a:pt x="109" y="50"/>
                        <a:pt x="109" y="48"/>
                        <a:pt x="108" y="46"/>
                      </a:cubicBezTo>
                      <a:cubicBezTo>
                        <a:pt x="116" y="40"/>
                        <a:pt x="116" y="40"/>
                        <a:pt x="116" y="40"/>
                      </a:cubicBezTo>
                      <a:cubicBezTo>
                        <a:pt x="117" y="40"/>
                        <a:pt x="117" y="39"/>
                        <a:pt x="117" y="38"/>
                      </a:cubicBezTo>
                      <a:cubicBezTo>
                        <a:pt x="117" y="38"/>
                        <a:pt x="117" y="38"/>
                        <a:pt x="117" y="38"/>
                      </a:cubicBezTo>
                      <a:cubicBezTo>
                        <a:pt x="117" y="37"/>
                        <a:pt x="116" y="36"/>
                        <a:pt x="115" y="37"/>
                      </a:cubicBezTo>
                      <a:cubicBezTo>
                        <a:pt x="105" y="38"/>
                        <a:pt x="105" y="38"/>
                        <a:pt x="105" y="38"/>
                      </a:cubicBezTo>
                      <a:cubicBezTo>
                        <a:pt x="104" y="36"/>
                        <a:pt x="102" y="34"/>
                        <a:pt x="101" y="32"/>
                      </a:cubicBezTo>
                      <a:cubicBezTo>
                        <a:pt x="107" y="24"/>
                        <a:pt x="107" y="24"/>
                        <a:pt x="107" y="24"/>
                      </a:cubicBezTo>
                      <a:cubicBezTo>
                        <a:pt x="108" y="24"/>
                        <a:pt x="108" y="23"/>
                        <a:pt x="108" y="23"/>
                      </a:cubicBezTo>
                      <a:cubicBezTo>
                        <a:pt x="108" y="22"/>
                        <a:pt x="108" y="22"/>
                        <a:pt x="107" y="21"/>
                      </a:cubicBezTo>
                      <a:cubicBezTo>
                        <a:pt x="107" y="21"/>
                        <a:pt x="105" y="20"/>
                        <a:pt x="105" y="21"/>
                      </a:cubicBezTo>
                      <a:cubicBezTo>
                        <a:pt x="96" y="26"/>
                        <a:pt x="96" y="26"/>
                        <a:pt x="96" y="26"/>
                      </a:cubicBezTo>
                      <a:cubicBezTo>
                        <a:pt x="94" y="24"/>
                        <a:pt x="92" y="22"/>
                        <a:pt x="90" y="21"/>
                      </a:cubicBezTo>
                      <a:cubicBezTo>
                        <a:pt x="94" y="12"/>
                        <a:pt x="94" y="12"/>
                        <a:pt x="94" y="12"/>
                      </a:cubicBezTo>
                      <a:cubicBezTo>
                        <a:pt x="94" y="11"/>
                        <a:pt x="94" y="11"/>
                        <a:pt x="94" y="11"/>
                      </a:cubicBezTo>
                      <a:cubicBezTo>
                        <a:pt x="94" y="10"/>
                        <a:pt x="94" y="9"/>
                        <a:pt x="93" y="9"/>
                      </a:cubicBezTo>
                      <a:cubicBezTo>
                        <a:pt x="92" y="8"/>
                        <a:pt x="91" y="9"/>
                        <a:pt x="90" y="10"/>
                      </a:cubicBezTo>
                      <a:cubicBezTo>
                        <a:pt x="83" y="17"/>
                        <a:pt x="83" y="17"/>
                        <a:pt x="83" y="17"/>
                      </a:cubicBezTo>
                      <a:cubicBezTo>
                        <a:pt x="81" y="15"/>
                        <a:pt x="79" y="15"/>
                        <a:pt x="77" y="14"/>
                      </a:cubicBezTo>
                      <a:cubicBezTo>
                        <a:pt x="77" y="4"/>
                        <a:pt x="77" y="4"/>
                        <a:pt x="77" y="4"/>
                      </a:cubicBezTo>
                      <a:cubicBezTo>
                        <a:pt x="77" y="4"/>
                        <a:pt x="77" y="4"/>
                        <a:pt x="77" y="3"/>
                      </a:cubicBezTo>
                      <a:cubicBezTo>
                        <a:pt x="77" y="2"/>
                        <a:pt x="76" y="2"/>
                        <a:pt x="75" y="1"/>
                      </a:cubicBezTo>
                      <a:cubicBezTo>
                        <a:pt x="74" y="1"/>
                        <a:pt x="73" y="2"/>
                        <a:pt x="73" y="3"/>
                      </a:cubicBezTo>
                      <a:cubicBezTo>
                        <a:pt x="69" y="12"/>
                        <a:pt x="69" y="12"/>
                        <a:pt x="69" y="12"/>
                      </a:cubicBezTo>
                      <a:cubicBezTo>
                        <a:pt x="66" y="11"/>
                        <a:pt x="64" y="11"/>
                        <a:pt x="61" y="11"/>
                      </a:cubicBezTo>
                      <a:cubicBezTo>
                        <a:pt x="59" y="2"/>
                        <a:pt x="59" y="2"/>
                        <a:pt x="59" y="2"/>
                      </a:cubicBezTo>
                      <a:cubicBezTo>
                        <a:pt x="58" y="1"/>
                        <a:pt x="58" y="0"/>
                        <a:pt x="56" y="0"/>
                      </a:cubicBezTo>
                      <a:cubicBezTo>
                        <a:pt x="55" y="0"/>
                        <a:pt x="55" y="1"/>
                        <a:pt x="55" y="2"/>
                      </a:cubicBezTo>
                      <a:cubicBezTo>
                        <a:pt x="55" y="2"/>
                        <a:pt x="55" y="2"/>
                        <a:pt x="55" y="2"/>
                      </a:cubicBezTo>
                      <a:cubicBezTo>
                        <a:pt x="53" y="12"/>
                        <a:pt x="53" y="12"/>
                        <a:pt x="53" y="12"/>
                      </a:cubicBezTo>
                      <a:cubicBezTo>
                        <a:pt x="51" y="12"/>
                        <a:pt x="48" y="13"/>
                        <a:pt x="46" y="13"/>
                      </a:cubicBezTo>
                      <a:cubicBezTo>
                        <a:pt x="40" y="5"/>
                        <a:pt x="40" y="5"/>
                        <a:pt x="40" y="5"/>
                      </a:cubicBezTo>
                      <a:cubicBezTo>
                        <a:pt x="40" y="4"/>
                        <a:pt x="39" y="4"/>
                        <a:pt x="38" y="4"/>
                      </a:cubicBezTo>
                      <a:cubicBezTo>
                        <a:pt x="37" y="4"/>
                        <a:pt x="37" y="5"/>
                        <a:pt x="37" y="6"/>
                      </a:cubicBezTo>
                      <a:cubicBezTo>
                        <a:pt x="37" y="6"/>
                        <a:pt x="37" y="6"/>
                        <a:pt x="37" y="7"/>
                      </a:cubicBezTo>
                      <a:cubicBezTo>
                        <a:pt x="38" y="17"/>
                        <a:pt x="38" y="17"/>
                        <a:pt x="38" y="17"/>
                      </a:cubicBezTo>
                      <a:cubicBezTo>
                        <a:pt x="36" y="18"/>
                        <a:pt x="34" y="19"/>
                        <a:pt x="32" y="20"/>
                      </a:cubicBezTo>
                      <a:cubicBezTo>
                        <a:pt x="24" y="14"/>
                        <a:pt x="24" y="14"/>
                        <a:pt x="24" y="14"/>
                      </a:cubicBezTo>
                      <a:cubicBezTo>
                        <a:pt x="24" y="13"/>
                        <a:pt x="22" y="13"/>
                        <a:pt x="22" y="14"/>
                      </a:cubicBezTo>
                      <a:cubicBezTo>
                        <a:pt x="21" y="14"/>
                        <a:pt x="21" y="15"/>
                        <a:pt x="21" y="15"/>
                      </a:cubicBezTo>
                      <a:cubicBezTo>
                        <a:pt x="21" y="16"/>
                        <a:pt x="21" y="16"/>
                        <a:pt x="21" y="17"/>
                      </a:cubicBezTo>
                      <a:cubicBezTo>
                        <a:pt x="26" y="26"/>
                        <a:pt x="26" y="26"/>
                        <a:pt x="26" y="26"/>
                      </a:cubicBezTo>
                      <a:cubicBezTo>
                        <a:pt x="24" y="27"/>
                        <a:pt x="23" y="29"/>
                        <a:pt x="21" y="31"/>
                      </a:cubicBezTo>
                      <a:cubicBezTo>
                        <a:pt x="12" y="28"/>
                        <a:pt x="12" y="28"/>
                        <a:pt x="12" y="28"/>
                      </a:cubicBezTo>
                      <a:cubicBezTo>
                        <a:pt x="11" y="27"/>
                        <a:pt x="10" y="27"/>
                        <a:pt x="9" y="28"/>
                      </a:cubicBezTo>
                      <a:cubicBezTo>
                        <a:pt x="9" y="29"/>
                        <a:pt x="9" y="29"/>
                        <a:pt x="9" y="29"/>
                      </a:cubicBezTo>
                      <a:cubicBezTo>
                        <a:pt x="9" y="30"/>
                        <a:pt x="9" y="31"/>
                        <a:pt x="10" y="31"/>
                      </a:cubicBezTo>
                      <a:cubicBezTo>
                        <a:pt x="17" y="38"/>
                        <a:pt x="17" y="38"/>
                        <a:pt x="17" y="38"/>
                      </a:cubicBezTo>
                      <a:cubicBezTo>
                        <a:pt x="16" y="40"/>
                        <a:pt x="15" y="42"/>
                        <a:pt x="14" y="45"/>
                      </a:cubicBezTo>
                      <a:cubicBezTo>
                        <a:pt x="4" y="44"/>
                        <a:pt x="4" y="44"/>
                        <a:pt x="4" y="44"/>
                      </a:cubicBezTo>
                      <a:cubicBezTo>
                        <a:pt x="3" y="44"/>
                        <a:pt x="2" y="45"/>
                        <a:pt x="2" y="46"/>
                      </a:cubicBezTo>
                      <a:cubicBezTo>
                        <a:pt x="2" y="46"/>
                        <a:pt x="2" y="46"/>
                        <a:pt x="2" y="46"/>
                      </a:cubicBezTo>
                      <a:cubicBezTo>
                        <a:pt x="2" y="47"/>
                        <a:pt x="2" y="48"/>
                        <a:pt x="3" y="48"/>
                      </a:cubicBezTo>
                      <a:cubicBezTo>
                        <a:pt x="12" y="53"/>
                        <a:pt x="12" y="53"/>
                        <a:pt x="12" y="53"/>
                      </a:cubicBezTo>
                      <a:cubicBezTo>
                        <a:pt x="12" y="55"/>
                        <a:pt x="11" y="57"/>
                        <a:pt x="11" y="60"/>
                      </a:cubicBezTo>
                      <a:cubicBezTo>
                        <a:pt x="2" y="63"/>
                        <a:pt x="2" y="63"/>
                        <a:pt x="2" y="63"/>
                      </a:cubicBezTo>
                      <a:cubicBezTo>
                        <a:pt x="1" y="63"/>
                        <a:pt x="0" y="64"/>
                        <a:pt x="0" y="65"/>
                      </a:cubicBezTo>
                      <a:cubicBezTo>
                        <a:pt x="0" y="65"/>
                        <a:pt x="0" y="65"/>
                        <a:pt x="0" y="65"/>
                      </a:cubicBezTo>
                      <a:cubicBezTo>
                        <a:pt x="0" y="66"/>
                        <a:pt x="1" y="67"/>
                        <a:pt x="2" y="67"/>
                      </a:cubicBezTo>
                      <a:cubicBezTo>
                        <a:pt x="12" y="68"/>
                        <a:pt x="12" y="68"/>
                        <a:pt x="12" y="68"/>
                      </a:cubicBezTo>
                      <a:cubicBezTo>
                        <a:pt x="12" y="71"/>
                        <a:pt x="13" y="73"/>
                        <a:pt x="14" y="75"/>
                      </a:cubicBezTo>
                      <a:cubicBezTo>
                        <a:pt x="5" y="81"/>
                        <a:pt x="5" y="81"/>
                        <a:pt x="5" y="81"/>
                      </a:cubicBezTo>
                      <a:cubicBezTo>
                        <a:pt x="5" y="81"/>
                        <a:pt x="4" y="82"/>
                        <a:pt x="4" y="83"/>
                      </a:cubicBezTo>
                      <a:cubicBezTo>
                        <a:pt x="4" y="83"/>
                        <a:pt x="4" y="83"/>
                        <a:pt x="4" y="83"/>
                      </a:cubicBezTo>
                      <a:cubicBezTo>
                        <a:pt x="5" y="84"/>
                        <a:pt x="6" y="85"/>
                        <a:pt x="7" y="84"/>
                      </a:cubicBezTo>
                      <a:cubicBezTo>
                        <a:pt x="17" y="83"/>
                        <a:pt x="17" y="83"/>
                        <a:pt x="17" y="83"/>
                      </a:cubicBezTo>
                      <a:cubicBezTo>
                        <a:pt x="18" y="85"/>
                        <a:pt x="19" y="87"/>
                        <a:pt x="20" y="89"/>
                      </a:cubicBezTo>
                      <a:cubicBezTo>
                        <a:pt x="14" y="97"/>
                        <a:pt x="14" y="97"/>
                        <a:pt x="14" y="97"/>
                      </a:cubicBezTo>
                      <a:cubicBezTo>
                        <a:pt x="14" y="97"/>
                        <a:pt x="14" y="98"/>
                        <a:pt x="14" y="98"/>
                      </a:cubicBezTo>
                      <a:cubicBezTo>
                        <a:pt x="14" y="99"/>
                        <a:pt x="14" y="99"/>
                        <a:pt x="14" y="100"/>
                      </a:cubicBezTo>
                      <a:cubicBezTo>
                        <a:pt x="15" y="100"/>
                        <a:pt x="16" y="101"/>
                        <a:pt x="17" y="100"/>
                      </a:cubicBezTo>
                      <a:cubicBezTo>
                        <a:pt x="26" y="95"/>
                        <a:pt x="26" y="95"/>
                        <a:pt x="26" y="95"/>
                      </a:cubicBezTo>
                      <a:cubicBezTo>
                        <a:pt x="28" y="97"/>
                        <a:pt x="29" y="99"/>
                        <a:pt x="31" y="100"/>
                      </a:cubicBezTo>
                      <a:cubicBezTo>
                        <a:pt x="28" y="109"/>
                        <a:pt x="28" y="109"/>
                        <a:pt x="28" y="109"/>
                      </a:cubicBezTo>
                      <a:cubicBezTo>
                        <a:pt x="28" y="110"/>
                        <a:pt x="28" y="110"/>
                        <a:pt x="28" y="110"/>
                      </a:cubicBezTo>
                      <a:cubicBezTo>
                        <a:pt x="28" y="111"/>
                        <a:pt x="28" y="112"/>
                        <a:pt x="29" y="112"/>
                      </a:cubicBezTo>
                      <a:cubicBezTo>
                        <a:pt x="30" y="113"/>
                        <a:pt x="31" y="112"/>
                        <a:pt x="31" y="112"/>
                      </a:cubicBezTo>
                      <a:cubicBezTo>
                        <a:pt x="38" y="104"/>
                        <a:pt x="38" y="104"/>
                        <a:pt x="38" y="104"/>
                      </a:cubicBezTo>
                      <a:cubicBezTo>
                        <a:pt x="40" y="106"/>
                        <a:pt x="43" y="106"/>
                        <a:pt x="45" y="107"/>
                      </a:cubicBezTo>
                      <a:cubicBezTo>
                        <a:pt x="45" y="117"/>
                        <a:pt x="45" y="117"/>
                        <a:pt x="45" y="117"/>
                      </a:cubicBezTo>
                      <a:cubicBezTo>
                        <a:pt x="45" y="117"/>
                        <a:pt x="45" y="117"/>
                        <a:pt x="45" y="118"/>
                      </a:cubicBezTo>
                      <a:cubicBezTo>
                        <a:pt x="45" y="119"/>
                        <a:pt x="45" y="119"/>
                        <a:pt x="46" y="120"/>
                      </a:cubicBezTo>
                      <a:cubicBezTo>
                        <a:pt x="47" y="120"/>
                        <a:pt x="48" y="119"/>
                        <a:pt x="49" y="118"/>
                      </a:cubicBezTo>
                      <a:cubicBezTo>
                        <a:pt x="53" y="109"/>
                        <a:pt x="53" y="109"/>
                        <a:pt x="53" y="109"/>
                      </a:cubicBezTo>
                      <a:cubicBezTo>
                        <a:pt x="55" y="110"/>
                        <a:pt x="58" y="110"/>
                        <a:pt x="60" y="110"/>
                      </a:cubicBezTo>
                      <a:cubicBezTo>
                        <a:pt x="63" y="119"/>
                        <a:pt x="63" y="119"/>
                        <a:pt x="63" y="119"/>
                      </a:cubicBezTo>
                      <a:cubicBezTo>
                        <a:pt x="63" y="120"/>
                        <a:pt x="64" y="121"/>
                        <a:pt x="65" y="121"/>
                      </a:cubicBezTo>
                      <a:cubicBezTo>
                        <a:pt x="65" y="121"/>
                        <a:pt x="65" y="121"/>
                        <a:pt x="65" y="121"/>
                      </a:cubicBezTo>
                      <a:cubicBezTo>
                        <a:pt x="66" y="121"/>
                        <a:pt x="67" y="120"/>
                        <a:pt x="67" y="119"/>
                      </a:cubicBezTo>
                      <a:cubicBezTo>
                        <a:pt x="67" y="119"/>
                        <a:pt x="67" y="119"/>
                        <a:pt x="67" y="119"/>
                      </a:cubicBezTo>
                      <a:cubicBezTo>
                        <a:pt x="68" y="109"/>
                        <a:pt x="68" y="109"/>
                        <a:pt x="68" y="109"/>
                      </a:cubicBezTo>
                      <a:cubicBezTo>
                        <a:pt x="71" y="109"/>
                        <a:pt x="73" y="108"/>
                        <a:pt x="75" y="108"/>
                      </a:cubicBezTo>
                      <a:cubicBezTo>
                        <a:pt x="81" y="116"/>
                        <a:pt x="81" y="116"/>
                        <a:pt x="81" y="116"/>
                      </a:cubicBezTo>
                      <a:cubicBezTo>
                        <a:pt x="82" y="117"/>
                        <a:pt x="83" y="117"/>
                        <a:pt x="84" y="117"/>
                      </a:cubicBezTo>
                      <a:cubicBezTo>
                        <a:pt x="84" y="117"/>
                        <a:pt x="85" y="116"/>
                        <a:pt x="85" y="115"/>
                      </a:cubicBezTo>
                      <a:cubicBezTo>
                        <a:pt x="85" y="115"/>
                        <a:pt x="85" y="115"/>
                        <a:pt x="85" y="114"/>
                      </a:cubicBezTo>
                      <a:cubicBezTo>
                        <a:pt x="83" y="104"/>
                        <a:pt x="83" y="104"/>
                        <a:pt x="83" y="104"/>
                      </a:cubicBezTo>
                      <a:cubicBezTo>
                        <a:pt x="85" y="103"/>
                        <a:pt x="87" y="102"/>
                        <a:pt x="89" y="101"/>
                      </a:cubicBezTo>
                      <a:cubicBezTo>
                        <a:pt x="97" y="107"/>
                        <a:pt x="97" y="107"/>
                        <a:pt x="97" y="107"/>
                      </a:cubicBezTo>
                      <a:cubicBezTo>
                        <a:pt x="98" y="108"/>
                        <a:pt x="99" y="108"/>
                        <a:pt x="100" y="107"/>
                      </a:cubicBezTo>
                      <a:cubicBezTo>
                        <a:pt x="100" y="107"/>
                        <a:pt x="101" y="106"/>
                        <a:pt x="101" y="106"/>
                      </a:cubicBezTo>
                      <a:cubicBezTo>
                        <a:pt x="101" y="105"/>
                        <a:pt x="100" y="105"/>
                        <a:pt x="100" y="104"/>
                      </a:cubicBezTo>
                      <a:cubicBezTo>
                        <a:pt x="96" y="95"/>
                        <a:pt x="96" y="95"/>
                        <a:pt x="96" y="95"/>
                      </a:cubicBezTo>
                      <a:cubicBezTo>
                        <a:pt x="97" y="94"/>
                        <a:pt x="99" y="92"/>
                        <a:pt x="100" y="90"/>
                      </a:cubicBezTo>
                      <a:cubicBezTo>
                        <a:pt x="110" y="93"/>
                        <a:pt x="110" y="93"/>
                        <a:pt x="110" y="93"/>
                      </a:cubicBezTo>
                      <a:cubicBezTo>
                        <a:pt x="111" y="94"/>
                        <a:pt x="112" y="94"/>
                        <a:pt x="112" y="93"/>
                      </a:cubicBezTo>
                      <a:cubicBezTo>
                        <a:pt x="113" y="92"/>
                        <a:pt x="113" y="92"/>
                        <a:pt x="113" y="92"/>
                      </a:cubicBezTo>
                      <a:cubicBezTo>
                        <a:pt x="113" y="91"/>
                        <a:pt x="112" y="90"/>
                        <a:pt x="112" y="90"/>
                      </a:cubicBezTo>
                      <a:cubicBezTo>
                        <a:pt x="105" y="83"/>
                        <a:pt x="105" y="83"/>
                        <a:pt x="105" y="83"/>
                      </a:cubicBezTo>
                      <a:cubicBezTo>
                        <a:pt x="106" y="81"/>
                        <a:pt x="107" y="79"/>
                        <a:pt x="107" y="76"/>
                      </a:cubicBezTo>
                      <a:cubicBezTo>
                        <a:pt x="117" y="77"/>
                        <a:pt x="117" y="77"/>
                        <a:pt x="117" y="77"/>
                      </a:cubicBezTo>
                      <a:cubicBezTo>
                        <a:pt x="118" y="77"/>
                        <a:pt x="120" y="76"/>
                        <a:pt x="120" y="75"/>
                      </a:cubicBezTo>
                      <a:cubicBezTo>
                        <a:pt x="120" y="75"/>
                        <a:pt x="120" y="75"/>
                        <a:pt x="120" y="75"/>
                      </a:cubicBezTo>
                      <a:cubicBezTo>
                        <a:pt x="120" y="74"/>
                        <a:pt x="119" y="73"/>
                        <a:pt x="118" y="73"/>
                      </a:cubicBezTo>
                      <a:cubicBezTo>
                        <a:pt x="109" y="68"/>
                        <a:pt x="109" y="68"/>
                        <a:pt x="109" y="68"/>
                      </a:cubicBezTo>
                      <a:cubicBezTo>
                        <a:pt x="110" y="66"/>
                        <a:pt x="110" y="64"/>
                        <a:pt x="110" y="61"/>
                      </a:cubicBezTo>
                      <a:lnTo>
                        <a:pt x="120" y="58"/>
                      </a:lnTo>
                      <a:close/>
                      <a:moveTo>
                        <a:pt x="61" y="72"/>
                      </a:moveTo>
                      <a:cubicBezTo>
                        <a:pt x="55" y="72"/>
                        <a:pt x="50" y="67"/>
                        <a:pt x="50" y="61"/>
                      </a:cubicBezTo>
                      <a:cubicBezTo>
                        <a:pt x="50" y="54"/>
                        <a:pt x="55" y="49"/>
                        <a:pt x="61" y="49"/>
                      </a:cubicBezTo>
                      <a:cubicBezTo>
                        <a:pt x="67" y="49"/>
                        <a:pt x="72" y="54"/>
                        <a:pt x="72" y="61"/>
                      </a:cubicBezTo>
                      <a:cubicBezTo>
                        <a:pt x="72" y="67"/>
                        <a:pt x="67" y="72"/>
                        <a:pt x="61" y="7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Oval 21"/>
                <p:cNvSpPr>
                  <a:spLocks noChangeArrowheads="1"/>
                </p:cNvSpPr>
                <p:nvPr/>
              </p:nvSpPr>
              <p:spPr bwMode="auto">
                <a:xfrm>
                  <a:off x="-1055688" y="2462213"/>
                  <a:ext cx="171450" cy="17145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Oval 22"/>
                <p:cNvSpPr>
                  <a:spLocks noChangeArrowheads="1"/>
                </p:cNvSpPr>
                <p:nvPr/>
              </p:nvSpPr>
              <p:spPr bwMode="auto">
                <a:xfrm>
                  <a:off x="-1776413" y="2792413"/>
                  <a:ext cx="115888" cy="119063"/>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23"/>
                <p:cNvSpPr>
                  <a:spLocks noEditPoints="1"/>
                </p:cNvSpPr>
                <p:nvPr/>
              </p:nvSpPr>
              <p:spPr bwMode="auto">
                <a:xfrm>
                  <a:off x="-2773363" y="2439988"/>
                  <a:ext cx="2692401" cy="2659063"/>
                </a:xfrm>
                <a:custGeom>
                  <a:avLst/>
                  <a:gdLst>
                    <a:gd name="T0" fmla="*/ 605 w 718"/>
                    <a:gd name="T1" fmla="*/ 20 h 709"/>
                    <a:gd name="T2" fmla="*/ 602 w 718"/>
                    <a:gd name="T3" fmla="*/ 58 h 709"/>
                    <a:gd name="T4" fmla="*/ 587 w 718"/>
                    <a:gd name="T5" fmla="*/ 93 h 709"/>
                    <a:gd name="T6" fmla="*/ 563 w 718"/>
                    <a:gd name="T7" fmla="*/ 121 h 709"/>
                    <a:gd name="T8" fmla="*/ 530 w 718"/>
                    <a:gd name="T9" fmla="*/ 141 h 709"/>
                    <a:gd name="T10" fmla="*/ 493 w 718"/>
                    <a:gd name="T11" fmla="*/ 149 h 709"/>
                    <a:gd name="T12" fmla="*/ 456 w 718"/>
                    <a:gd name="T13" fmla="*/ 147 h 709"/>
                    <a:gd name="T14" fmla="*/ 420 w 718"/>
                    <a:gd name="T15" fmla="*/ 134 h 709"/>
                    <a:gd name="T16" fmla="*/ 391 w 718"/>
                    <a:gd name="T17" fmla="*/ 110 h 709"/>
                    <a:gd name="T18" fmla="*/ 371 w 718"/>
                    <a:gd name="T19" fmla="*/ 78 h 709"/>
                    <a:gd name="T20" fmla="*/ 361 w 718"/>
                    <a:gd name="T21" fmla="*/ 42 h 709"/>
                    <a:gd name="T22" fmla="*/ 363 w 718"/>
                    <a:gd name="T23" fmla="*/ 4 h 709"/>
                    <a:gd name="T24" fmla="*/ 68 w 718"/>
                    <a:gd name="T25" fmla="*/ 221 h 709"/>
                    <a:gd name="T26" fmla="*/ 162 w 718"/>
                    <a:gd name="T27" fmla="*/ 514 h 709"/>
                    <a:gd name="T28" fmla="*/ 334 w 718"/>
                    <a:gd name="T29" fmla="*/ 176 h 709"/>
                    <a:gd name="T30" fmla="*/ 311 w 718"/>
                    <a:gd name="T31" fmla="*/ 189 h 709"/>
                    <a:gd name="T32" fmla="*/ 288 w 718"/>
                    <a:gd name="T33" fmla="*/ 197 h 709"/>
                    <a:gd name="T34" fmla="*/ 258 w 718"/>
                    <a:gd name="T35" fmla="*/ 192 h 709"/>
                    <a:gd name="T36" fmla="*/ 234 w 718"/>
                    <a:gd name="T37" fmla="*/ 181 h 709"/>
                    <a:gd name="T38" fmla="*/ 214 w 718"/>
                    <a:gd name="T39" fmla="*/ 164 h 709"/>
                    <a:gd name="T40" fmla="*/ 201 w 718"/>
                    <a:gd name="T41" fmla="*/ 141 h 709"/>
                    <a:gd name="T42" fmla="*/ 195 w 718"/>
                    <a:gd name="T43" fmla="*/ 116 h 709"/>
                    <a:gd name="T44" fmla="*/ 197 w 718"/>
                    <a:gd name="T45" fmla="*/ 89 h 709"/>
                    <a:gd name="T46" fmla="*/ 207 w 718"/>
                    <a:gd name="T47" fmla="*/ 64 h 709"/>
                    <a:gd name="T48" fmla="*/ 225 w 718"/>
                    <a:gd name="T49" fmla="*/ 43 h 709"/>
                    <a:gd name="T50" fmla="*/ 249 w 718"/>
                    <a:gd name="T51" fmla="*/ 29 h 709"/>
                    <a:gd name="T52" fmla="*/ 275 w 718"/>
                    <a:gd name="T53" fmla="*/ 23 h 709"/>
                    <a:gd name="T54" fmla="*/ 305 w 718"/>
                    <a:gd name="T55" fmla="*/ 28 h 709"/>
                    <a:gd name="T56" fmla="*/ 329 w 718"/>
                    <a:gd name="T57" fmla="*/ 38 h 709"/>
                    <a:gd name="T58" fmla="*/ 349 w 718"/>
                    <a:gd name="T59" fmla="*/ 55 h 709"/>
                    <a:gd name="T60" fmla="*/ 362 w 718"/>
                    <a:gd name="T61" fmla="*/ 78 h 709"/>
                    <a:gd name="T62" fmla="*/ 368 w 718"/>
                    <a:gd name="T63" fmla="*/ 104 h 709"/>
                    <a:gd name="T64" fmla="*/ 366 w 718"/>
                    <a:gd name="T65" fmla="*/ 131 h 709"/>
                    <a:gd name="T66" fmla="*/ 356 w 718"/>
                    <a:gd name="T67" fmla="*/ 156 h 709"/>
                    <a:gd name="T68" fmla="*/ 338 w 718"/>
                    <a:gd name="T69" fmla="*/ 176 h 709"/>
                    <a:gd name="T70" fmla="*/ 451 w 718"/>
                    <a:gd name="T71" fmla="*/ 208 h 709"/>
                    <a:gd name="T72" fmla="*/ 444 w 718"/>
                    <a:gd name="T73" fmla="*/ 224 h 709"/>
                    <a:gd name="T74" fmla="*/ 433 w 718"/>
                    <a:gd name="T75" fmla="*/ 237 h 709"/>
                    <a:gd name="T76" fmla="*/ 418 w 718"/>
                    <a:gd name="T77" fmla="*/ 247 h 709"/>
                    <a:gd name="T78" fmla="*/ 401 w 718"/>
                    <a:gd name="T79" fmla="*/ 251 h 709"/>
                    <a:gd name="T80" fmla="*/ 383 w 718"/>
                    <a:gd name="T81" fmla="*/ 250 h 709"/>
                    <a:gd name="T82" fmla="*/ 367 w 718"/>
                    <a:gd name="T83" fmla="*/ 243 h 709"/>
                    <a:gd name="T84" fmla="*/ 353 w 718"/>
                    <a:gd name="T85" fmla="*/ 232 h 709"/>
                    <a:gd name="T86" fmla="*/ 343 w 718"/>
                    <a:gd name="T87" fmla="*/ 217 h 709"/>
                    <a:gd name="T88" fmla="*/ 339 w 718"/>
                    <a:gd name="T89" fmla="*/ 200 h 709"/>
                    <a:gd name="T90" fmla="*/ 340 w 718"/>
                    <a:gd name="T91" fmla="*/ 183 h 709"/>
                    <a:gd name="T92" fmla="*/ 346 w 718"/>
                    <a:gd name="T93" fmla="*/ 166 h 709"/>
                    <a:gd name="T94" fmla="*/ 357 w 718"/>
                    <a:gd name="T95" fmla="*/ 153 h 709"/>
                    <a:gd name="T96" fmla="*/ 372 w 718"/>
                    <a:gd name="T97" fmla="*/ 143 h 709"/>
                    <a:gd name="T98" fmla="*/ 389 w 718"/>
                    <a:gd name="T99" fmla="*/ 138 h 709"/>
                    <a:gd name="T100" fmla="*/ 407 w 718"/>
                    <a:gd name="T101" fmla="*/ 139 h 709"/>
                    <a:gd name="T102" fmla="*/ 423 w 718"/>
                    <a:gd name="T103" fmla="*/ 146 h 709"/>
                    <a:gd name="T104" fmla="*/ 437 w 718"/>
                    <a:gd name="T105" fmla="*/ 157 h 709"/>
                    <a:gd name="T106" fmla="*/ 446 w 718"/>
                    <a:gd name="T107" fmla="*/ 172 h 709"/>
                    <a:gd name="T108" fmla="*/ 451 w 718"/>
                    <a:gd name="T109" fmla="*/ 18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18" h="709">
                      <a:moveTo>
                        <a:pt x="606" y="330"/>
                      </a:moveTo>
                      <a:cubicBezTo>
                        <a:pt x="718" y="140"/>
                        <a:pt x="627" y="0"/>
                        <a:pt x="627" y="0"/>
                      </a:cubicBezTo>
                      <a:cubicBezTo>
                        <a:pt x="578" y="0"/>
                        <a:pt x="578" y="0"/>
                        <a:pt x="578" y="0"/>
                      </a:cubicBezTo>
                      <a:cubicBezTo>
                        <a:pt x="579" y="4"/>
                        <a:pt x="580" y="9"/>
                        <a:pt x="581" y="13"/>
                      </a:cubicBezTo>
                      <a:cubicBezTo>
                        <a:pt x="601" y="16"/>
                        <a:pt x="601" y="16"/>
                        <a:pt x="601" y="16"/>
                      </a:cubicBezTo>
                      <a:cubicBezTo>
                        <a:pt x="603" y="16"/>
                        <a:pt x="605" y="18"/>
                        <a:pt x="605" y="20"/>
                      </a:cubicBezTo>
                      <a:cubicBezTo>
                        <a:pt x="605" y="20"/>
                        <a:pt x="605" y="20"/>
                        <a:pt x="605" y="20"/>
                      </a:cubicBezTo>
                      <a:cubicBezTo>
                        <a:pt x="605" y="23"/>
                        <a:pt x="604" y="24"/>
                        <a:pt x="601" y="24"/>
                      </a:cubicBezTo>
                      <a:cubicBezTo>
                        <a:pt x="582" y="30"/>
                        <a:pt x="582" y="30"/>
                        <a:pt x="582" y="30"/>
                      </a:cubicBezTo>
                      <a:cubicBezTo>
                        <a:pt x="582" y="35"/>
                        <a:pt x="581" y="40"/>
                        <a:pt x="581" y="45"/>
                      </a:cubicBezTo>
                      <a:cubicBezTo>
                        <a:pt x="599" y="54"/>
                        <a:pt x="599" y="54"/>
                        <a:pt x="599" y="54"/>
                      </a:cubicBezTo>
                      <a:cubicBezTo>
                        <a:pt x="601" y="55"/>
                        <a:pt x="602" y="56"/>
                        <a:pt x="602" y="58"/>
                      </a:cubicBezTo>
                      <a:cubicBezTo>
                        <a:pt x="602" y="58"/>
                        <a:pt x="602" y="59"/>
                        <a:pt x="602" y="59"/>
                      </a:cubicBezTo>
                      <a:cubicBezTo>
                        <a:pt x="601" y="61"/>
                        <a:pt x="599" y="62"/>
                        <a:pt x="597" y="62"/>
                      </a:cubicBezTo>
                      <a:cubicBezTo>
                        <a:pt x="577" y="62"/>
                        <a:pt x="577" y="62"/>
                        <a:pt x="577" y="62"/>
                      </a:cubicBezTo>
                      <a:cubicBezTo>
                        <a:pt x="575" y="66"/>
                        <a:pt x="573" y="71"/>
                        <a:pt x="571" y="75"/>
                      </a:cubicBezTo>
                      <a:cubicBezTo>
                        <a:pt x="585" y="89"/>
                        <a:pt x="585" y="89"/>
                        <a:pt x="585" y="89"/>
                      </a:cubicBezTo>
                      <a:cubicBezTo>
                        <a:pt x="587" y="90"/>
                        <a:pt x="587" y="91"/>
                        <a:pt x="587" y="93"/>
                      </a:cubicBezTo>
                      <a:cubicBezTo>
                        <a:pt x="587" y="94"/>
                        <a:pt x="587" y="94"/>
                        <a:pt x="587" y="95"/>
                      </a:cubicBezTo>
                      <a:cubicBezTo>
                        <a:pt x="585" y="97"/>
                        <a:pt x="583" y="97"/>
                        <a:pt x="581" y="96"/>
                      </a:cubicBezTo>
                      <a:cubicBezTo>
                        <a:pt x="562" y="90"/>
                        <a:pt x="562" y="90"/>
                        <a:pt x="562" y="90"/>
                      </a:cubicBezTo>
                      <a:cubicBezTo>
                        <a:pt x="559" y="94"/>
                        <a:pt x="556" y="97"/>
                        <a:pt x="552" y="101"/>
                      </a:cubicBezTo>
                      <a:cubicBezTo>
                        <a:pt x="562" y="119"/>
                        <a:pt x="562" y="119"/>
                        <a:pt x="562" y="119"/>
                      </a:cubicBezTo>
                      <a:cubicBezTo>
                        <a:pt x="562" y="120"/>
                        <a:pt x="563" y="120"/>
                        <a:pt x="563" y="121"/>
                      </a:cubicBezTo>
                      <a:cubicBezTo>
                        <a:pt x="563" y="122"/>
                        <a:pt x="562" y="124"/>
                        <a:pt x="561" y="124"/>
                      </a:cubicBezTo>
                      <a:cubicBezTo>
                        <a:pt x="559" y="126"/>
                        <a:pt x="557" y="126"/>
                        <a:pt x="555" y="124"/>
                      </a:cubicBezTo>
                      <a:cubicBezTo>
                        <a:pt x="539" y="112"/>
                        <a:pt x="539" y="112"/>
                        <a:pt x="539" y="112"/>
                      </a:cubicBezTo>
                      <a:cubicBezTo>
                        <a:pt x="535" y="114"/>
                        <a:pt x="531" y="117"/>
                        <a:pt x="527" y="119"/>
                      </a:cubicBezTo>
                      <a:cubicBezTo>
                        <a:pt x="530" y="139"/>
                        <a:pt x="530" y="139"/>
                        <a:pt x="530" y="139"/>
                      </a:cubicBezTo>
                      <a:cubicBezTo>
                        <a:pt x="530" y="140"/>
                        <a:pt x="530" y="140"/>
                        <a:pt x="530" y="141"/>
                      </a:cubicBezTo>
                      <a:cubicBezTo>
                        <a:pt x="530" y="142"/>
                        <a:pt x="529" y="144"/>
                        <a:pt x="528" y="145"/>
                      </a:cubicBezTo>
                      <a:cubicBezTo>
                        <a:pt x="526" y="145"/>
                        <a:pt x="523" y="144"/>
                        <a:pt x="522" y="142"/>
                      </a:cubicBezTo>
                      <a:cubicBezTo>
                        <a:pt x="511" y="126"/>
                        <a:pt x="511" y="126"/>
                        <a:pt x="511" y="126"/>
                      </a:cubicBezTo>
                      <a:cubicBezTo>
                        <a:pt x="506" y="127"/>
                        <a:pt x="501" y="128"/>
                        <a:pt x="497" y="129"/>
                      </a:cubicBezTo>
                      <a:cubicBezTo>
                        <a:pt x="493" y="149"/>
                        <a:pt x="493" y="149"/>
                        <a:pt x="493" y="149"/>
                      </a:cubicBezTo>
                      <a:cubicBezTo>
                        <a:pt x="493" y="149"/>
                        <a:pt x="493" y="149"/>
                        <a:pt x="493" y="149"/>
                      </a:cubicBezTo>
                      <a:cubicBezTo>
                        <a:pt x="493" y="151"/>
                        <a:pt x="492" y="153"/>
                        <a:pt x="490" y="153"/>
                      </a:cubicBezTo>
                      <a:cubicBezTo>
                        <a:pt x="490" y="153"/>
                        <a:pt x="490" y="153"/>
                        <a:pt x="489" y="153"/>
                      </a:cubicBezTo>
                      <a:cubicBezTo>
                        <a:pt x="487" y="153"/>
                        <a:pt x="486" y="152"/>
                        <a:pt x="485" y="150"/>
                      </a:cubicBezTo>
                      <a:cubicBezTo>
                        <a:pt x="479" y="130"/>
                        <a:pt x="479" y="130"/>
                        <a:pt x="479" y="130"/>
                      </a:cubicBezTo>
                      <a:cubicBezTo>
                        <a:pt x="475" y="130"/>
                        <a:pt x="470" y="130"/>
                        <a:pt x="465" y="129"/>
                      </a:cubicBezTo>
                      <a:cubicBezTo>
                        <a:pt x="456" y="147"/>
                        <a:pt x="456" y="147"/>
                        <a:pt x="456" y="147"/>
                      </a:cubicBezTo>
                      <a:cubicBezTo>
                        <a:pt x="455" y="149"/>
                        <a:pt x="453" y="151"/>
                        <a:pt x="451" y="150"/>
                      </a:cubicBezTo>
                      <a:cubicBezTo>
                        <a:pt x="449" y="150"/>
                        <a:pt x="448" y="148"/>
                        <a:pt x="448" y="146"/>
                      </a:cubicBezTo>
                      <a:cubicBezTo>
                        <a:pt x="448" y="146"/>
                        <a:pt x="448" y="146"/>
                        <a:pt x="448" y="145"/>
                      </a:cubicBezTo>
                      <a:cubicBezTo>
                        <a:pt x="448" y="125"/>
                        <a:pt x="448" y="125"/>
                        <a:pt x="448" y="125"/>
                      </a:cubicBezTo>
                      <a:cubicBezTo>
                        <a:pt x="444" y="123"/>
                        <a:pt x="439" y="121"/>
                        <a:pt x="435" y="119"/>
                      </a:cubicBezTo>
                      <a:cubicBezTo>
                        <a:pt x="420" y="134"/>
                        <a:pt x="420" y="134"/>
                        <a:pt x="420" y="134"/>
                      </a:cubicBezTo>
                      <a:cubicBezTo>
                        <a:pt x="419" y="135"/>
                        <a:pt x="417" y="136"/>
                        <a:pt x="415" y="135"/>
                      </a:cubicBezTo>
                      <a:cubicBezTo>
                        <a:pt x="414" y="134"/>
                        <a:pt x="413" y="133"/>
                        <a:pt x="413" y="131"/>
                      </a:cubicBezTo>
                      <a:cubicBezTo>
                        <a:pt x="413" y="131"/>
                        <a:pt x="413" y="130"/>
                        <a:pt x="414" y="129"/>
                      </a:cubicBezTo>
                      <a:cubicBezTo>
                        <a:pt x="420" y="110"/>
                        <a:pt x="420" y="110"/>
                        <a:pt x="420" y="110"/>
                      </a:cubicBezTo>
                      <a:cubicBezTo>
                        <a:pt x="416" y="107"/>
                        <a:pt x="413" y="104"/>
                        <a:pt x="409" y="101"/>
                      </a:cubicBezTo>
                      <a:cubicBezTo>
                        <a:pt x="391" y="110"/>
                        <a:pt x="391" y="110"/>
                        <a:pt x="391" y="110"/>
                      </a:cubicBezTo>
                      <a:cubicBezTo>
                        <a:pt x="389" y="111"/>
                        <a:pt x="387" y="111"/>
                        <a:pt x="386" y="109"/>
                      </a:cubicBezTo>
                      <a:cubicBezTo>
                        <a:pt x="385" y="109"/>
                        <a:pt x="385" y="108"/>
                        <a:pt x="385" y="107"/>
                      </a:cubicBezTo>
                      <a:cubicBezTo>
                        <a:pt x="385" y="106"/>
                        <a:pt x="385" y="104"/>
                        <a:pt x="386" y="104"/>
                      </a:cubicBezTo>
                      <a:cubicBezTo>
                        <a:pt x="398" y="87"/>
                        <a:pt x="398" y="87"/>
                        <a:pt x="398" y="87"/>
                      </a:cubicBezTo>
                      <a:cubicBezTo>
                        <a:pt x="395" y="83"/>
                        <a:pt x="393" y="79"/>
                        <a:pt x="391" y="75"/>
                      </a:cubicBezTo>
                      <a:cubicBezTo>
                        <a:pt x="371" y="78"/>
                        <a:pt x="371" y="78"/>
                        <a:pt x="371" y="78"/>
                      </a:cubicBezTo>
                      <a:cubicBezTo>
                        <a:pt x="369" y="79"/>
                        <a:pt x="366" y="78"/>
                        <a:pt x="365" y="76"/>
                      </a:cubicBezTo>
                      <a:cubicBezTo>
                        <a:pt x="365" y="75"/>
                        <a:pt x="365" y="75"/>
                        <a:pt x="365" y="74"/>
                      </a:cubicBezTo>
                      <a:cubicBezTo>
                        <a:pt x="365" y="73"/>
                        <a:pt x="366" y="71"/>
                        <a:pt x="368" y="71"/>
                      </a:cubicBezTo>
                      <a:cubicBezTo>
                        <a:pt x="384" y="59"/>
                        <a:pt x="384" y="59"/>
                        <a:pt x="384" y="59"/>
                      </a:cubicBezTo>
                      <a:cubicBezTo>
                        <a:pt x="383" y="54"/>
                        <a:pt x="382" y="50"/>
                        <a:pt x="381" y="45"/>
                      </a:cubicBezTo>
                      <a:cubicBezTo>
                        <a:pt x="361" y="42"/>
                        <a:pt x="361" y="42"/>
                        <a:pt x="361" y="42"/>
                      </a:cubicBezTo>
                      <a:cubicBezTo>
                        <a:pt x="359" y="42"/>
                        <a:pt x="357" y="40"/>
                        <a:pt x="357" y="38"/>
                      </a:cubicBezTo>
                      <a:cubicBezTo>
                        <a:pt x="357" y="38"/>
                        <a:pt x="357" y="38"/>
                        <a:pt x="357" y="38"/>
                      </a:cubicBezTo>
                      <a:cubicBezTo>
                        <a:pt x="357" y="36"/>
                        <a:pt x="358" y="34"/>
                        <a:pt x="360" y="34"/>
                      </a:cubicBezTo>
                      <a:cubicBezTo>
                        <a:pt x="380" y="28"/>
                        <a:pt x="380" y="28"/>
                        <a:pt x="380" y="28"/>
                      </a:cubicBezTo>
                      <a:cubicBezTo>
                        <a:pt x="380" y="23"/>
                        <a:pt x="380" y="18"/>
                        <a:pt x="381" y="13"/>
                      </a:cubicBezTo>
                      <a:cubicBezTo>
                        <a:pt x="363" y="4"/>
                        <a:pt x="363" y="4"/>
                        <a:pt x="363" y="4"/>
                      </a:cubicBezTo>
                      <a:cubicBezTo>
                        <a:pt x="361" y="4"/>
                        <a:pt x="360" y="2"/>
                        <a:pt x="360" y="0"/>
                      </a:cubicBezTo>
                      <a:cubicBezTo>
                        <a:pt x="360" y="0"/>
                        <a:pt x="360" y="0"/>
                        <a:pt x="360" y="0"/>
                      </a:cubicBezTo>
                      <a:cubicBezTo>
                        <a:pt x="110" y="0"/>
                        <a:pt x="110" y="0"/>
                        <a:pt x="110" y="0"/>
                      </a:cubicBezTo>
                      <a:cubicBezTo>
                        <a:pt x="103" y="41"/>
                        <a:pt x="83" y="85"/>
                        <a:pt x="83" y="85"/>
                      </a:cubicBezTo>
                      <a:cubicBezTo>
                        <a:pt x="71" y="115"/>
                        <a:pt x="79" y="137"/>
                        <a:pt x="79" y="137"/>
                      </a:cubicBezTo>
                      <a:cubicBezTo>
                        <a:pt x="103" y="178"/>
                        <a:pt x="84" y="200"/>
                        <a:pt x="68" y="221"/>
                      </a:cubicBezTo>
                      <a:cubicBezTo>
                        <a:pt x="53" y="242"/>
                        <a:pt x="0" y="315"/>
                        <a:pt x="51" y="317"/>
                      </a:cubicBezTo>
                      <a:cubicBezTo>
                        <a:pt x="99" y="318"/>
                        <a:pt x="84" y="334"/>
                        <a:pt x="84" y="334"/>
                      </a:cubicBezTo>
                      <a:cubicBezTo>
                        <a:pt x="63" y="380"/>
                        <a:pt x="96" y="381"/>
                        <a:pt x="96" y="381"/>
                      </a:cubicBezTo>
                      <a:cubicBezTo>
                        <a:pt x="81" y="408"/>
                        <a:pt x="103" y="409"/>
                        <a:pt x="103" y="409"/>
                      </a:cubicBezTo>
                      <a:cubicBezTo>
                        <a:pt x="135" y="409"/>
                        <a:pt x="118" y="438"/>
                        <a:pt x="118" y="438"/>
                      </a:cubicBezTo>
                      <a:cubicBezTo>
                        <a:pt x="79" y="481"/>
                        <a:pt x="113" y="524"/>
                        <a:pt x="162" y="514"/>
                      </a:cubicBezTo>
                      <a:cubicBezTo>
                        <a:pt x="259" y="494"/>
                        <a:pt x="309" y="527"/>
                        <a:pt x="286" y="597"/>
                      </a:cubicBezTo>
                      <a:cubicBezTo>
                        <a:pt x="263" y="666"/>
                        <a:pt x="232" y="709"/>
                        <a:pt x="232" y="709"/>
                      </a:cubicBezTo>
                      <a:cubicBezTo>
                        <a:pt x="659" y="709"/>
                        <a:pt x="659" y="709"/>
                        <a:pt x="659" y="709"/>
                      </a:cubicBezTo>
                      <a:cubicBezTo>
                        <a:pt x="568" y="521"/>
                        <a:pt x="568" y="521"/>
                        <a:pt x="568" y="521"/>
                      </a:cubicBezTo>
                      <a:cubicBezTo>
                        <a:pt x="540" y="458"/>
                        <a:pt x="606" y="330"/>
                        <a:pt x="606" y="330"/>
                      </a:cubicBezTo>
                      <a:close/>
                      <a:moveTo>
                        <a:pt x="334" y="176"/>
                      </a:moveTo>
                      <a:cubicBezTo>
                        <a:pt x="322" y="168"/>
                        <a:pt x="322" y="168"/>
                        <a:pt x="322" y="168"/>
                      </a:cubicBezTo>
                      <a:cubicBezTo>
                        <a:pt x="320" y="169"/>
                        <a:pt x="317" y="171"/>
                        <a:pt x="314" y="173"/>
                      </a:cubicBezTo>
                      <a:cubicBezTo>
                        <a:pt x="316" y="187"/>
                        <a:pt x="316" y="187"/>
                        <a:pt x="316" y="187"/>
                      </a:cubicBezTo>
                      <a:cubicBezTo>
                        <a:pt x="316" y="187"/>
                        <a:pt x="316" y="188"/>
                        <a:pt x="316" y="188"/>
                      </a:cubicBezTo>
                      <a:cubicBezTo>
                        <a:pt x="316" y="189"/>
                        <a:pt x="315" y="190"/>
                        <a:pt x="314" y="191"/>
                      </a:cubicBezTo>
                      <a:cubicBezTo>
                        <a:pt x="313" y="191"/>
                        <a:pt x="311" y="190"/>
                        <a:pt x="311" y="189"/>
                      </a:cubicBezTo>
                      <a:cubicBezTo>
                        <a:pt x="302" y="177"/>
                        <a:pt x="302" y="177"/>
                        <a:pt x="302" y="177"/>
                      </a:cubicBezTo>
                      <a:cubicBezTo>
                        <a:pt x="299" y="178"/>
                        <a:pt x="296" y="179"/>
                        <a:pt x="293" y="180"/>
                      </a:cubicBezTo>
                      <a:cubicBezTo>
                        <a:pt x="290" y="194"/>
                        <a:pt x="290" y="194"/>
                        <a:pt x="290" y="194"/>
                      </a:cubicBezTo>
                      <a:cubicBezTo>
                        <a:pt x="290" y="194"/>
                        <a:pt x="290" y="194"/>
                        <a:pt x="290" y="194"/>
                      </a:cubicBezTo>
                      <a:cubicBezTo>
                        <a:pt x="290" y="195"/>
                        <a:pt x="289" y="197"/>
                        <a:pt x="288" y="197"/>
                      </a:cubicBezTo>
                      <a:cubicBezTo>
                        <a:pt x="288" y="197"/>
                        <a:pt x="288" y="197"/>
                        <a:pt x="288" y="197"/>
                      </a:cubicBezTo>
                      <a:cubicBezTo>
                        <a:pt x="286" y="197"/>
                        <a:pt x="285" y="196"/>
                        <a:pt x="285" y="194"/>
                      </a:cubicBezTo>
                      <a:cubicBezTo>
                        <a:pt x="281" y="180"/>
                        <a:pt x="281" y="180"/>
                        <a:pt x="281" y="180"/>
                      </a:cubicBezTo>
                      <a:cubicBezTo>
                        <a:pt x="277" y="180"/>
                        <a:pt x="274" y="180"/>
                        <a:pt x="270" y="180"/>
                      </a:cubicBezTo>
                      <a:cubicBezTo>
                        <a:pt x="264" y="192"/>
                        <a:pt x="264" y="192"/>
                        <a:pt x="264" y="192"/>
                      </a:cubicBezTo>
                      <a:cubicBezTo>
                        <a:pt x="264" y="194"/>
                        <a:pt x="262" y="195"/>
                        <a:pt x="261" y="194"/>
                      </a:cubicBezTo>
                      <a:cubicBezTo>
                        <a:pt x="259" y="194"/>
                        <a:pt x="258" y="193"/>
                        <a:pt x="258" y="192"/>
                      </a:cubicBezTo>
                      <a:cubicBezTo>
                        <a:pt x="258" y="191"/>
                        <a:pt x="258" y="191"/>
                        <a:pt x="259" y="191"/>
                      </a:cubicBezTo>
                      <a:cubicBezTo>
                        <a:pt x="259" y="177"/>
                        <a:pt x="259" y="177"/>
                        <a:pt x="259" y="177"/>
                      </a:cubicBezTo>
                      <a:cubicBezTo>
                        <a:pt x="255" y="176"/>
                        <a:pt x="252" y="174"/>
                        <a:pt x="249" y="173"/>
                      </a:cubicBezTo>
                      <a:cubicBezTo>
                        <a:pt x="239" y="183"/>
                        <a:pt x="239" y="183"/>
                        <a:pt x="239" y="183"/>
                      </a:cubicBezTo>
                      <a:cubicBezTo>
                        <a:pt x="238" y="184"/>
                        <a:pt x="237" y="185"/>
                        <a:pt x="235" y="184"/>
                      </a:cubicBezTo>
                      <a:cubicBezTo>
                        <a:pt x="235" y="183"/>
                        <a:pt x="234" y="182"/>
                        <a:pt x="234" y="181"/>
                      </a:cubicBezTo>
                      <a:cubicBezTo>
                        <a:pt x="234" y="181"/>
                        <a:pt x="234" y="180"/>
                        <a:pt x="235" y="180"/>
                      </a:cubicBezTo>
                      <a:cubicBezTo>
                        <a:pt x="239" y="166"/>
                        <a:pt x="239" y="166"/>
                        <a:pt x="239" y="166"/>
                      </a:cubicBezTo>
                      <a:cubicBezTo>
                        <a:pt x="236" y="164"/>
                        <a:pt x="234" y="162"/>
                        <a:pt x="231" y="160"/>
                      </a:cubicBezTo>
                      <a:cubicBezTo>
                        <a:pt x="219" y="166"/>
                        <a:pt x="219" y="166"/>
                        <a:pt x="219" y="166"/>
                      </a:cubicBezTo>
                      <a:cubicBezTo>
                        <a:pt x="218" y="167"/>
                        <a:pt x="216" y="167"/>
                        <a:pt x="215" y="166"/>
                      </a:cubicBezTo>
                      <a:cubicBezTo>
                        <a:pt x="214" y="165"/>
                        <a:pt x="214" y="165"/>
                        <a:pt x="214" y="164"/>
                      </a:cubicBezTo>
                      <a:cubicBezTo>
                        <a:pt x="214" y="163"/>
                        <a:pt x="214" y="163"/>
                        <a:pt x="215" y="162"/>
                      </a:cubicBezTo>
                      <a:cubicBezTo>
                        <a:pt x="224" y="151"/>
                        <a:pt x="224" y="151"/>
                        <a:pt x="224" y="151"/>
                      </a:cubicBezTo>
                      <a:cubicBezTo>
                        <a:pt x="222" y="148"/>
                        <a:pt x="220" y="145"/>
                        <a:pt x="218" y="142"/>
                      </a:cubicBezTo>
                      <a:cubicBezTo>
                        <a:pt x="204" y="144"/>
                        <a:pt x="204" y="144"/>
                        <a:pt x="204" y="144"/>
                      </a:cubicBezTo>
                      <a:cubicBezTo>
                        <a:pt x="203" y="145"/>
                        <a:pt x="201" y="144"/>
                        <a:pt x="201" y="143"/>
                      </a:cubicBezTo>
                      <a:cubicBezTo>
                        <a:pt x="201" y="142"/>
                        <a:pt x="201" y="142"/>
                        <a:pt x="201" y="141"/>
                      </a:cubicBezTo>
                      <a:cubicBezTo>
                        <a:pt x="201" y="140"/>
                        <a:pt x="201" y="139"/>
                        <a:pt x="202" y="139"/>
                      </a:cubicBezTo>
                      <a:cubicBezTo>
                        <a:pt x="214" y="131"/>
                        <a:pt x="214" y="131"/>
                        <a:pt x="214" y="131"/>
                      </a:cubicBezTo>
                      <a:cubicBezTo>
                        <a:pt x="213" y="127"/>
                        <a:pt x="212" y="124"/>
                        <a:pt x="212" y="121"/>
                      </a:cubicBezTo>
                      <a:cubicBezTo>
                        <a:pt x="198" y="119"/>
                        <a:pt x="198" y="119"/>
                        <a:pt x="198" y="119"/>
                      </a:cubicBezTo>
                      <a:cubicBezTo>
                        <a:pt x="196" y="119"/>
                        <a:pt x="195" y="118"/>
                        <a:pt x="195" y="116"/>
                      </a:cubicBezTo>
                      <a:cubicBezTo>
                        <a:pt x="195" y="116"/>
                        <a:pt x="195" y="116"/>
                        <a:pt x="195" y="116"/>
                      </a:cubicBezTo>
                      <a:cubicBezTo>
                        <a:pt x="195" y="114"/>
                        <a:pt x="196" y="113"/>
                        <a:pt x="197" y="113"/>
                      </a:cubicBezTo>
                      <a:cubicBezTo>
                        <a:pt x="211" y="109"/>
                        <a:pt x="211" y="109"/>
                        <a:pt x="211" y="109"/>
                      </a:cubicBezTo>
                      <a:cubicBezTo>
                        <a:pt x="211" y="105"/>
                        <a:pt x="211" y="102"/>
                        <a:pt x="212" y="99"/>
                      </a:cubicBezTo>
                      <a:cubicBezTo>
                        <a:pt x="199" y="92"/>
                        <a:pt x="199" y="92"/>
                        <a:pt x="199" y="92"/>
                      </a:cubicBezTo>
                      <a:cubicBezTo>
                        <a:pt x="198" y="92"/>
                        <a:pt x="197" y="91"/>
                        <a:pt x="197" y="89"/>
                      </a:cubicBezTo>
                      <a:cubicBezTo>
                        <a:pt x="197" y="89"/>
                        <a:pt x="197" y="89"/>
                        <a:pt x="197" y="89"/>
                      </a:cubicBezTo>
                      <a:cubicBezTo>
                        <a:pt x="197" y="87"/>
                        <a:pt x="199" y="86"/>
                        <a:pt x="200" y="87"/>
                      </a:cubicBezTo>
                      <a:cubicBezTo>
                        <a:pt x="215" y="87"/>
                        <a:pt x="215" y="87"/>
                        <a:pt x="215" y="87"/>
                      </a:cubicBezTo>
                      <a:cubicBezTo>
                        <a:pt x="216" y="84"/>
                        <a:pt x="217" y="81"/>
                        <a:pt x="218" y="78"/>
                      </a:cubicBezTo>
                      <a:cubicBezTo>
                        <a:pt x="208" y="68"/>
                        <a:pt x="208" y="68"/>
                        <a:pt x="208" y="68"/>
                      </a:cubicBezTo>
                      <a:cubicBezTo>
                        <a:pt x="208" y="67"/>
                        <a:pt x="207" y="66"/>
                        <a:pt x="207" y="65"/>
                      </a:cubicBezTo>
                      <a:cubicBezTo>
                        <a:pt x="207" y="65"/>
                        <a:pt x="207" y="64"/>
                        <a:pt x="207" y="64"/>
                      </a:cubicBezTo>
                      <a:cubicBezTo>
                        <a:pt x="208" y="62"/>
                        <a:pt x="210" y="62"/>
                        <a:pt x="211" y="63"/>
                      </a:cubicBezTo>
                      <a:cubicBezTo>
                        <a:pt x="225" y="67"/>
                        <a:pt x="225" y="67"/>
                        <a:pt x="225" y="67"/>
                      </a:cubicBezTo>
                      <a:cubicBezTo>
                        <a:pt x="227" y="65"/>
                        <a:pt x="229" y="62"/>
                        <a:pt x="232" y="60"/>
                      </a:cubicBezTo>
                      <a:cubicBezTo>
                        <a:pt x="225" y="47"/>
                        <a:pt x="225" y="47"/>
                        <a:pt x="225" y="47"/>
                      </a:cubicBezTo>
                      <a:cubicBezTo>
                        <a:pt x="225" y="46"/>
                        <a:pt x="224" y="46"/>
                        <a:pt x="224" y="45"/>
                      </a:cubicBezTo>
                      <a:cubicBezTo>
                        <a:pt x="224" y="44"/>
                        <a:pt x="225" y="44"/>
                        <a:pt x="225" y="43"/>
                      </a:cubicBezTo>
                      <a:cubicBezTo>
                        <a:pt x="227" y="42"/>
                        <a:pt x="228" y="42"/>
                        <a:pt x="229" y="43"/>
                      </a:cubicBezTo>
                      <a:cubicBezTo>
                        <a:pt x="241" y="52"/>
                        <a:pt x="241" y="52"/>
                        <a:pt x="241" y="52"/>
                      </a:cubicBezTo>
                      <a:cubicBezTo>
                        <a:pt x="243" y="50"/>
                        <a:pt x="246" y="48"/>
                        <a:pt x="249" y="47"/>
                      </a:cubicBezTo>
                      <a:cubicBezTo>
                        <a:pt x="247" y="33"/>
                        <a:pt x="247" y="33"/>
                        <a:pt x="247" y="33"/>
                      </a:cubicBezTo>
                      <a:cubicBezTo>
                        <a:pt x="247" y="32"/>
                        <a:pt x="247" y="32"/>
                        <a:pt x="247" y="32"/>
                      </a:cubicBezTo>
                      <a:cubicBezTo>
                        <a:pt x="247" y="30"/>
                        <a:pt x="248" y="29"/>
                        <a:pt x="249" y="29"/>
                      </a:cubicBezTo>
                      <a:cubicBezTo>
                        <a:pt x="250" y="28"/>
                        <a:pt x="252" y="29"/>
                        <a:pt x="252" y="31"/>
                      </a:cubicBezTo>
                      <a:cubicBezTo>
                        <a:pt x="261" y="42"/>
                        <a:pt x="261" y="42"/>
                        <a:pt x="261" y="42"/>
                      </a:cubicBezTo>
                      <a:cubicBezTo>
                        <a:pt x="264" y="41"/>
                        <a:pt x="267" y="40"/>
                        <a:pt x="270" y="40"/>
                      </a:cubicBezTo>
                      <a:cubicBezTo>
                        <a:pt x="273" y="26"/>
                        <a:pt x="273" y="26"/>
                        <a:pt x="273" y="26"/>
                      </a:cubicBezTo>
                      <a:cubicBezTo>
                        <a:pt x="273" y="26"/>
                        <a:pt x="273" y="26"/>
                        <a:pt x="273" y="26"/>
                      </a:cubicBezTo>
                      <a:cubicBezTo>
                        <a:pt x="273" y="24"/>
                        <a:pt x="274" y="23"/>
                        <a:pt x="275" y="23"/>
                      </a:cubicBezTo>
                      <a:cubicBezTo>
                        <a:pt x="277" y="23"/>
                        <a:pt x="278" y="24"/>
                        <a:pt x="278" y="25"/>
                      </a:cubicBezTo>
                      <a:cubicBezTo>
                        <a:pt x="282" y="39"/>
                        <a:pt x="282" y="39"/>
                        <a:pt x="282" y="39"/>
                      </a:cubicBezTo>
                      <a:cubicBezTo>
                        <a:pt x="286" y="39"/>
                        <a:pt x="289" y="39"/>
                        <a:pt x="293" y="40"/>
                      </a:cubicBezTo>
                      <a:cubicBezTo>
                        <a:pt x="299" y="27"/>
                        <a:pt x="299" y="27"/>
                        <a:pt x="299" y="27"/>
                      </a:cubicBezTo>
                      <a:cubicBezTo>
                        <a:pt x="299" y="26"/>
                        <a:pt x="301" y="25"/>
                        <a:pt x="302" y="25"/>
                      </a:cubicBezTo>
                      <a:cubicBezTo>
                        <a:pt x="304" y="25"/>
                        <a:pt x="305" y="27"/>
                        <a:pt x="305" y="28"/>
                      </a:cubicBezTo>
                      <a:cubicBezTo>
                        <a:pt x="305" y="28"/>
                        <a:pt x="305" y="28"/>
                        <a:pt x="304" y="29"/>
                      </a:cubicBezTo>
                      <a:cubicBezTo>
                        <a:pt x="304" y="43"/>
                        <a:pt x="304" y="43"/>
                        <a:pt x="304" y="43"/>
                      </a:cubicBezTo>
                      <a:cubicBezTo>
                        <a:pt x="308" y="44"/>
                        <a:pt x="311" y="45"/>
                        <a:pt x="314" y="47"/>
                      </a:cubicBezTo>
                      <a:cubicBezTo>
                        <a:pt x="324" y="37"/>
                        <a:pt x="324" y="37"/>
                        <a:pt x="324" y="37"/>
                      </a:cubicBezTo>
                      <a:cubicBezTo>
                        <a:pt x="325" y="35"/>
                        <a:pt x="326" y="35"/>
                        <a:pt x="328" y="36"/>
                      </a:cubicBezTo>
                      <a:cubicBezTo>
                        <a:pt x="328" y="36"/>
                        <a:pt x="329" y="37"/>
                        <a:pt x="329" y="38"/>
                      </a:cubicBezTo>
                      <a:cubicBezTo>
                        <a:pt x="329" y="39"/>
                        <a:pt x="329" y="39"/>
                        <a:pt x="328" y="40"/>
                      </a:cubicBezTo>
                      <a:cubicBezTo>
                        <a:pt x="324" y="53"/>
                        <a:pt x="324" y="53"/>
                        <a:pt x="324" y="53"/>
                      </a:cubicBezTo>
                      <a:cubicBezTo>
                        <a:pt x="327" y="55"/>
                        <a:pt x="329" y="57"/>
                        <a:pt x="332" y="60"/>
                      </a:cubicBezTo>
                      <a:cubicBezTo>
                        <a:pt x="344" y="53"/>
                        <a:pt x="344" y="53"/>
                        <a:pt x="344" y="53"/>
                      </a:cubicBezTo>
                      <a:cubicBezTo>
                        <a:pt x="345" y="52"/>
                        <a:pt x="347" y="52"/>
                        <a:pt x="348" y="54"/>
                      </a:cubicBezTo>
                      <a:cubicBezTo>
                        <a:pt x="349" y="54"/>
                        <a:pt x="349" y="55"/>
                        <a:pt x="349" y="55"/>
                      </a:cubicBezTo>
                      <a:cubicBezTo>
                        <a:pt x="349" y="56"/>
                        <a:pt x="349" y="57"/>
                        <a:pt x="348" y="58"/>
                      </a:cubicBezTo>
                      <a:cubicBezTo>
                        <a:pt x="339" y="69"/>
                        <a:pt x="339" y="69"/>
                        <a:pt x="339" y="69"/>
                      </a:cubicBezTo>
                      <a:cubicBezTo>
                        <a:pt x="341" y="72"/>
                        <a:pt x="343" y="75"/>
                        <a:pt x="345" y="78"/>
                      </a:cubicBezTo>
                      <a:cubicBezTo>
                        <a:pt x="359" y="75"/>
                        <a:pt x="359" y="75"/>
                        <a:pt x="359" y="75"/>
                      </a:cubicBezTo>
                      <a:cubicBezTo>
                        <a:pt x="360" y="75"/>
                        <a:pt x="362" y="76"/>
                        <a:pt x="362" y="77"/>
                      </a:cubicBezTo>
                      <a:cubicBezTo>
                        <a:pt x="362" y="77"/>
                        <a:pt x="362" y="78"/>
                        <a:pt x="362" y="78"/>
                      </a:cubicBezTo>
                      <a:cubicBezTo>
                        <a:pt x="362" y="79"/>
                        <a:pt x="362" y="80"/>
                        <a:pt x="361" y="81"/>
                      </a:cubicBezTo>
                      <a:cubicBezTo>
                        <a:pt x="349" y="89"/>
                        <a:pt x="349" y="89"/>
                        <a:pt x="349" y="89"/>
                      </a:cubicBezTo>
                      <a:cubicBezTo>
                        <a:pt x="350" y="92"/>
                        <a:pt x="351" y="95"/>
                        <a:pt x="351" y="99"/>
                      </a:cubicBezTo>
                      <a:cubicBezTo>
                        <a:pt x="365" y="101"/>
                        <a:pt x="365" y="101"/>
                        <a:pt x="365" y="101"/>
                      </a:cubicBezTo>
                      <a:cubicBezTo>
                        <a:pt x="367" y="101"/>
                        <a:pt x="368" y="102"/>
                        <a:pt x="368" y="104"/>
                      </a:cubicBezTo>
                      <a:cubicBezTo>
                        <a:pt x="368" y="104"/>
                        <a:pt x="368" y="104"/>
                        <a:pt x="368" y="104"/>
                      </a:cubicBezTo>
                      <a:cubicBezTo>
                        <a:pt x="368" y="105"/>
                        <a:pt x="367" y="106"/>
                        <a:pt x="366" y="107"/>
                      </a:cubicBezTo>
                      <a:cubicBezTo>
                        <a:pt x="352" y="111"/>
                        <a:pt x="352" y="111"/>
                        <a:pt x="352" y="111"/>
                      </a:cubicBezTo>
                      <a:cubicBezTo>
                        <a:pt x="352" y="114"/>
                        <a:pt x="352" y="118"/>
                        <a:pt x="351" y="121"/>
                      </a:cubicBezTo>
                      <a:cubicBezTo>
                        <a:pt x="364" y="127"/>
                        <a:pt x="364" y="127"/>
                        <a:pt x="364" y="127"/>
                      </a:cubicBezTo>
                      <a:cubicBezTo>
                        <a:pt x="365" y="128"/>
                        <a:pt x="366" y="129"/>
                        <a:pt x="366" y="130"/>
                      </a:cubicBezTo>
                      <a:cubicBezTo>
                        <a:pt x="366" y="130"/>
                        <a:pt x="366" y="130"/>
                        <a:pt x="366" y="131"/>
                      </a:cubicBezTo>
                      <a:cubicBezTo>
                        <a:pt x="366" y="132"/>
                        <a:pt x="364" y="133"/>
                        <a:pt x="363" y="133"/>
                      </a:cubicBezTo>
                      <a:cubicBezTo>
                        <a:pt x="348" y="133"/>
                        <a:pt x="348" y="133"/>
                        <a:pt x="348" y="133"/>
                      </a:cubicBezTo>
                      <a:cubicBezTo>
                        <a:pt x="347" y="136"/>
                        <a:pt x="346" y="139"/>
                        <a:pt x="345" y="142"/>
                      </a:cubicBezTo>
                      <a:cubicBezTo>
                        <a:pt x="355" y="152"/>
                        <a:pt x="355" y="152"/>
                        <a:pt x="355" y="152"/>
                      </a:cubicBezTo>
                      <a:cubicBezTo>
                        <a:pt x="355" y="153"/>
                        <a:pt x="356" y="153"/>
                        <a:pt x="356" y="154"/>
                      </a:cubicBezTo>
                      <a:cubicBezTo>
                        <a:pt x="356" y="155"/>
                        <a:pt x="356" y="155"/>
                        <a:pt x="356" y="156"/>
                      </a:cubicBezTo>
                      <a:cubicBezTo>
                        <a:pt x="355" y="157"/>
                        <a:pt x="353" y="158"/>
                        <a:pt x="352" y="157"/>
                      </a:cubicBezTo>
                      <a:cubicBezTo>
                        <a:pt x="338" y="152"/>
                        <a:pt x="338" y="152"/>
                        <a:pt x="338" y="152"/>
                      </a:cubicBezTo>
                      <a:cubicBezTo>
                        <a:pt x="336" y="155"/>
                        <a:pt x="334" y="157"/>
                        <a:pt x="331" y="160"/>
                      </a:cubicBezTo>
                      <a:cubicBezTo>
                        <a:pt x="338" y="173"/>
                        <a:pt x="338" y="173"/>
                        <a:pt x="338" y="173"/>
                      </a:cubicBezTo>
                      <a:cubicBezTo>
                        <a:pt x="338" y="173"/>
                        <a:pt x="339" y="174"/>
                        <a:pt x="339" y="174"/>
                      </a:cubicBezTo>
                      <a:cubicBezTo>
                        <a:pt x="339" y="175"/>
                        <a:pt x="338" y="176"/>
                        <a:pt x="338" y="176"/>
                      </a:cubicBezTo>
                      <a:cubicBezTo>
                        <a:pt x="336" y="177"/>
                        <a:pt x="335" y="177"/>
                        <a:pt x="334" y="176"/>
                      </a:cubicBezTo>
                      <a:close/>
                      <a:moveTo>
                        <a:pt x="451" y="192"/>
                      </a:moveTo>
                      <a:cubicBezTo>
                        <a:pt x="442" y="195"/>
                        <a:pt x="442" y="195"/>
                        <a:pt x="442" y="195"/>
                      </a:cubicBezTo>
                      <a:cubicBezTo>
                        <a:pt x="442" y="197"/>
                        <a:pt x="442" y="200"/>
                        <a:pt x="441" y="202"/>
                      </a:cubicBezTo>
                      <a:cubicBezTo>
                        <a:pt x="450" y="206"/>
                        <a:pt x="450" y="206"/>
                        <a:pt x="450" y="206"/>
                      </a:cubicBezTo>
                      <a:cubicBezTo>
                        <a:pt x="451" y="206"/>
                        <a:pt x="451" y="207"/>
                        <a:pt x="451" y="208"/>
                      </a:cubicBezTo>
                      <a:cubicBezTo>
                        <a:pt x="451" y="208"/>
                        <a:pt x="451" y="208"/>
                        <a:pt x="451" y="208"/>
                      </a:cubicBezTo>
                      <a:cubicBezTo>
                        <a:pt x="451" y="209"/>
                        <a:pt x="450" y="210"/>
                        <a:pt x="449" y="210"/>
                      </a:cubicBezTo>
                      <a:cubicBezTo>
                        <a:pt x="439" y="210"/>
                        <a:pt x="439" y="210"/>
                        <a:pt x="439" y="210"/>
                      </a:cubicBezTo>
                      <a:cubicBezTo>
                        <a:pt x="439" y="212"/>
                        <a:pt x="438" y="214"/>
                        <a:pt x="437" y="216"/>
                      </a:cubicBezTo>
                      <a:cubicBezTo>
                        <a:pt x="444" y="223"/>
                        <a:pt x="444" y="223"/>
                        <a:pt x="444" y="223"/>
                      </a:cubicBezTo>
                      <a:cubicBezTo>
                        <a:pt x="444" y="223"/>
                        <a:pt x="444" y="224"/>
                        <a:pt x="444" y="224"/>
                      </a:cubicBezTo>
                      <a:cubicBezTo>
                        <a:pt x="444" y="225"/>
                        <a:pt x="444" y="225"/>
                        <a:pt x="444" y="225"/>
                      </a:cubicBezTo>
                      <a:cubicBezTo>
                        <a:pt x="444" y="226"/>
                        <a:pt x="443" y="226"/>
                        <a:pt x="442" y="226"/>
                      </a:cubicBezTo>
                      <a:cubicBezTo>
                        <a:pt x="433" y="223"/>
                        <a:pt x="433" y="223"/>
                        <a:pt x="433" y="223"/>
                      </a:cubicBezTo>
                      <a:cubicBezTo>
                        <a:pt x="431" y="224"/>
                        <a:pt x="430" y="226"/>
                        <a:pt x="428" y="228"/>
                      </a:cubicBezTo>
                      <a:cubicBezTo>
                        <a:pt x="433" y="236"/>
                        <a:pt x="433" y="236"/>
                        <a:pt x="433" y="236"/>
                      </a:cubicBezTo>
                      <a:cubicBezTo>
                        <a:pt x="433" y="237"/>
                        <a:pt x="433" y="237"/>
                        <a:pt x="433" y="237"/>
                      </a:cubicBezTo>
                      <a:cubicBezTo>
                        <a:pt x="433" y="238"/>
                        <a:pt x="433" y="239"/>
                        <a:pt x="432" y="239"/>
                      </a:cubicBezTo>
                      <a:cubicBezTo>
                        <a:pt x="431" y="240"/>
                        <a:pt x="430" y="239"/>
                        <a:pt x="430" y="239"/>
                      </a:cubicBezTo>
                      <a:cubicBezTo>
                        <a:pt x="422" y="233"/>
                        <a:pt x="422" y="233"/>
                        <a:pt x="422" y="233"/>
                      </a:cubicBezTo>
                      <a:cubicBezTo>
                        <a:pt x="420" y="234"/>
                        <a:pt x="418" y="235"/>
                        <a:pt x="416" y="236"/>
                      </a:cubicBezTo>
                      <a:cubicBezTo>
                        <a:pt x="418" y="246"/>
                        <a:pt x="418" y="246"/>
                        <a:pt x="418" y="246"/>
                      </a:cubicBezTo>
                      <a:cubicBezTo>
                        <a:pt x="418" y="246"/>
                        <a:pt x="418" y="246"/>
                        <a:pt x="418" y="247"/>
                      </a:cubicBezTo>
                      <a:cubicBezTo>
                        <a:pt x="418" y="247"/>
                        <a:pt x="417" y="248"/>
                        <a:pt x="417" y="248"/>
                      </a:cubicBezTo>
                      <a:cubicBezTo>
                        <a:pt x="416" y="249"/>
                        <a:pt x="415" y="248"/>
                        <a:pt x="414" y="247"/>
                      </a:cubicBezTo>
                      <a:cubicBezTo>
                        <a:pt x="409" y="239"/>
                        <a:pt x="409" y="239"/>
                        <a:pt x="409" y="239"/>
                      </a:cubicBezTo>
                      <a:cubicBezTo>
                        <a:pt x="407" y="240"/>
                        <a:pt x="404" y="241"/>
                        <a:pt x="402" y="241"/>
                      </a:cubicBezTo>
                      <a:cubicBezTo>
                        <a:pt x="401" y="250"/>
                        <a:pt x="401" y="250"/>
                        <a:pt x="401" y="250"/>
                      </a:cubicBezTo>
                      <a:cubicBezTo>
                        <a:pt x="401" y="250"/>
                        <a:pt x="401" y="251"/>
                        <a:pt x="401" y="251"/>
                      </a:cubicBezTo>
                      <a:cubicBezTo>
                        <a:pt x="401" y="252"/>
                        <a:pt x="400" y="252"/>
                        <a:pt x="399" y="252"/>
                      </a:cubicBezTo>
                      <a:cubicBezTo>
                        <a:pt x="399" y="252"/>
                        <a:pt x="399" y="252"/>
                        <a:pt x="399" y="252"/>
                      </a:cubicBezTo>
                      <a:cubicBezTo>
                        <a:pt x="398" y="252"/>
                        <a:pt x="397" y="252"/>
                        <a:pt x="397" y="251"/>
                      </a:cubicBezTo>
                      <a:cubicBezTo>
                        <a:pt x="394" y="242"/>
                        <a:pt x="394" y="242"/>
                        <a:pt x="394" y="242"/>
                      </a:cubicBezTo>
                      <a:cubicBezTo>
                        <a:pt x="392" y="242"/>
                        <a:pt x="390" y="241"/>
                        <a:pt x="387" y="241"/>
                      </a:cubicBezTo>
                      <a:cubicBezTo>
                        <a:pt x="383" y="250"/>
                        <a:pt x="383" y="250"/>
                        <a:pt x="383" y="250"/>
                      </a:cubicBezTo>
                      <a:cubicBezTo>
                        <a:pt x="383" y="251"/>
                        <a:pt x="382" y="251"/>
                        <a:pt x="381" y="251"/>
                      </a:cubicBezTo>
                      <a:cubicBezTo>
                        <a:pt x="380" y="251"/>
                        <a:pt x="379" y="250"/>
                        <a:pt x="379" y="249"/>
                      </a:cubicBezTo>
                      <a:cubicBezTo>
                        <a:pt x="379" y="249"/>
                        <a:pt x="379" y="249"/>
                        <a:pt x="379" y="249"/>
                      </a:cubicBezTo>
                      <a:cubicBezTo>
                        <a:pt x="380" y="239"/>
                        <a:pt x="380" y="239"/>
                        <a:pt x="380" y="239"/>
                      </a:cubicBezTo>
                      <a:cubicBezTo>
                        <a:pt x="377" y="238"/>
                        <a:pt x="375" y="237"/>
                        <a:pt x="373" y="236"/>
                      </a:cubicBezTo>
                      <a:cubicBezTo>
                        <a:pt x="367" y="243"/>
                        <a:pt x="367" y="243"/>
                        <a:pt x="367" y="243"/>
                      </a:cubicBezTo>
                      <a:cubicBezTo>
                        <a:pt x="366" y="244"/>
                        <a:pt x="365" y="244"/>
                        <a:pt x="364" y="244"/>
                      </a:cubicBezTo>
                      <a:cubicBezTo>
                        <a:pt x="364" y="243"/>
                        <a:pt x="363" y="243"/>
                        <a:pt x="363" y="242"/>
                      </a:cubicBezTo>
                      <a:cubicBezTo>
                        <a:pt x="363" y="242"/>
                        <a:pt x="363" y="242"/>
                        <a:pt x="364" y="241"/>
                      </a:cubicBezTo>
                      <a:cubicBezTo>
                        <a:pt x="367" y="232"/>
                        <a:pt x="367" y="232"/>
                        <a:pt x="367" y="232"/>
                      </a:cubicBezTo>
                      <a:cubicBezTo>
                        <a:pt x="365" y="231"/>
                        <a:pt x="363" y="229"/>
                        <a:pt x="361" y="228"/>
                      </a:cubicBezTo>
                      <a:cubicBezTo>
                        <a:pt x="353" y="232"/>
                        <a:pt x="353" y="232"/>
                        <a:pt x="353" y="232"/>
                      </a:cubicBezTo>
                      <a:cubicBezTo>
                        <a:pt x="352" y="233"/>
                        <a:pt x="351" y="233"/>
                        <a:pt x="350" y="232"/>
                      </a:cubicBezTo>
                      <a:cubicBezTo>
                        <a:pt x="350" y="232"/>
                        <a:pt x="350" y="231"/>
                        <a:pt x="350" y="231"/>
                      </a:cubicBezTo>
                      <a:cubicBezTo>
                        <a:pt x="350" y="230"/>
                        <a:pt x="350" y="230"/>
                        <a:pt x="351" y="229"/>
                      </a:cubicBezTo>
                      <a:cubicBezTo>
                        <a:pt x="356" y="222"/>
                        <a:pt x="356" y="222"/>
                        <a:pt x="356" y="222"/>
                      </a:cubicBezTo>
                      <a:cubicBezTo>
                        <a:pt x="355" y="220"/>
                        <a:pt x="354" y="218"/>
                        <a:pt x="353" y="216"/>
                      </a:cubicBezTo>
                      <a:cubicBezTo>
                        <a:pt x="343" y="217"/>
                        <a:pt x="343" y="217"/>
                        <a:pt x="343" y="217"/>
                      </a:cubicBezTo>
                      <a:cubicBezTo>
                        <a:pt x="342" y="218"/>
                        <a:pt x="341" y="217"/>
                        <a:pt x="341" y="216"/>
                      </a:cubicBezTo>
                      <a:cubicBezTo>
                        <a:pt x="341" y="216"/>
                        <a:pt x="341" y="216"/>
                        <a:pt x="341" y="216"/>
                      </a:cubicBezTo>
                      <a:cubicBezTo>
                        <a:pt x="341" y="215"/>
                        <a:pt x="341" y="214"/>
                        <a:pt x="342" y="214"/>
                      </a:cubicBezTo>
                      <a:cubicBezTo>
                        <a:pt x="350" y="208"/>
                        <a:pt x="350" y="208"/>
                        <a:pt x="350" y="208"/>
                      </a:cubicBezTo>
                      <a:cubicBezTo>
                        <a:pt x="349" y="206"/>
                        <a:pt x="349" y="204"/>
                        <a:pt x="348" y="202"/>
                      </a:cubicBezTo>
                      <a:cubicBezTo>
                        <a:pt x="339" y="200"/>
                        <a:pt x="339" y="200"/>
                        <a:pt x="339" y="200"/>
                      </a:cubicBezTo>
                      <a:cubicBezTo>
                        <a:pt x="338" y="200"/>
                        <a:pt x="337" y="200"/>
                        <a:pt x="337" y="199"/>
                      </a:cubicBezTo>
                      <a:cubicBezTo>
                        <a:pt x="337" y="199"/>
                        <a:pt x="337" y="198"/>
                        <a:pt x="337" y="198"/>
                      </a:cubicBezTo>
                      <a:cubicBezTo>
                        <a:pt x="337" y="197"/>
                        <a:pt x="338" y="197"/>
                        <a:pt x="339" y="197"/>
                      </a:cubicBezTo>
                      <a:cubicBezTo>
                        <a:pt x="348" y="194"/>
                        <a:pt x="348" y="194"/>
                        <a:pt x="348" y="194"/>
                      </a:cubicBezTo>
                      <a:cubicBezTo>
                        <a:pt x="348" y="191"/>
                        <a:pt x="348" y="189"/>
                        <a:pt x="348" y="187"/>
                      </a:cubicBezTo>
                      <a:cubicBezTo>
                        <a:pt x="340" y="183"/>
                        <a:pt x="340" y="183"/>
                        <a:pt x="340" y="183"/>
                      </a:cubicBezTo>
                      <a:cubicBezTo>
                        <a:pt x="339" y="182"/>
                        <a:pt x="338" y="182"/>
                        <a:pt x="338" y="181"/>
                      </a:cubicBezTo>
                      <a:cubicBezTo>
                        <a:pt x="338" y="181"/>
                        <a:pt x="338" y="181"/>
                        <a:pt x="338" y="180"/>
                      </a:cubicBezTo>
                      <a:cubicBezTo>
                        <a:pt x="339" y="179"/>
                        <a:pt x="340" y="179"/>
                        <a:pt x="341" y="179"/>
                      </a:cubicBezTo>
                      <a:cubicBezTo>
                        <a:pt x="350" y="179"/>
                        <a:pt x="350" y="179"/>
                        <a:pt x="350" y="179"/>
                      </a:cubicBezTo>
                      <a:cubicBezTo>
                        <a:pt x="351" y="177"/>
                        <a:pt x="352" y="175"/>
                        <a:pt x="353" y="173"/>
                      </a:cubicBezTo>
                      <a:cubicBezTo>
                        <a:pt x="346" y="166"/>
                        <a:pt x="346" y="166"/>
                        <a:pt x="346" y="166"/>
                      </a:cubicBezTo>
                      <a:cubicBezTo>
                        <a:pt x="346" y="166"/>
                        <a:pt x="345" y="165"/>
                        <a:pt x="345" y="165"/>
                      </a:cubicBezTo>
                      <a:cubicBezTo>
                        <a:pt x="345" y="164"/>
                        <a:pt x="345" y="164"/>
                        <a:pt x="345" y="164"/>
                      </a:cubicBezTo>
                      <a:cubicBezTo>
                        <a:pt x="346" y="163"/>
                        <a:pt x="347" y="163"/>
                        <a:pt x="348" y="163"/>
                      </a:cubicBezTo>
                      <a:cubicBezTo>
                        <a:pt x="357" y="166"/>
                        <a:pt x="357" y="166"/>
                        <a:pt x="357" y="166"/>
                      </a:cubicBezTo>
                      <a:cubicBezTo>
                        <a:pt x="358" y="164"/>
                        <a:pt x="360" y="163"/>
                        <a:pt x="361" y="161"/>
                      </a:cubicBezTo>
                      <a:cubicBezTo>
                        <a:pt x="357" y="153"/>
                        <a:pt x="357" y="153"/>
                        <a:pt x="357" y="153"/>
                      </a:cubicBezTo>
                      <a:cubicBezTo>
                        <a:pt x="357" y="152"/>
                        <a:pt x="357" y="152"/>
                        <a:pt x="357" y="151"/>
                      </a:cubicBezTo>
                      <a:cubicBezTo>
                        <a:pt x="357" y="151"/>
                        <a:pt x="357" y="150"/>
                        <a:pt x="357" y="150"/>
                      </a:cubicBezTo>
                      <a:cubicBezTo>
                        <a:pt x="358" y="149"/>
                        <a:pt x="359" y="149"/>
                        <a:pt x="360" y="150"/>
                      </a:cubicBezTo>
                      <a:cubicBezTo>
                        <a:pt x="368" y="156"/>
                        <a:pt x="368" y="156"/>
                        <a:pt x="368" y="156"/>
                      </a:cubicBezTo>
                      <a:cubicBezTo>
                        <a:pt x="369" y="155"/>
                        <a:pt x="371" y="153"/>
                        <a:pt x="373" y="152"/>
                      </a:cubicBezTo>
                      <a:cubicBezTo>
                        <a:pt x="372" y="143"/>
                        <a:pt x="372" y="143"/>
                        <a:pt x="372" y="143"/>
                      </a:cubicBezTo>
                      <a:cubicBezTo>
                        <a:pt x="372" y="143"/>
                        <a:pt x="372" y="143"/>
                        <a:pt x="372" y="142"/>
                      </a:cubicBezTo>
                      <a:cubicBezTo>
                        <a:pt x="372" y="142"/>
                        <a:pt x="372" y="141"/>
                        <a:pt x="373" y="141"/>
                      </a:cubicBezTo>
                      <a:cubicBezTo>
                        <a:pt x="374" y="140"/>
                        <a:pt x="375" y="141"/>
                        <a:pt x="375" y="142"/>
                      </a:cubicBezTo>
                      <a:cubicBezTo>
                        <a:pt x="381" y="149"/>
                        <a:pt x="381" y="149"/>
                        <a:pt x="381" y="149"/>
                      </a:cubicBezTo>
                      <a:cubicBezTo>
                        <a:pt x="383" y="149"/>
                        <a:pt x="385" y="148"/>
                        <a:pt x="387" y="148"/>
                      </a:cubicBezTo>
                      <a:cubicBezTo>
                        <a:pt x="389" y="138"/>
                        <a:pt x="389" y="138"/>
                        <a:pt x="389" y="138"/>
                      </a:cubicBezTo>
                      <a:cubicBezTo>
                        <a:pt x="389" y="138"/>
                        <a:pt x="389" y="138"/>
                        <a:pt x="389" y="138"/>
                      </a:cubicBezTo>
                      <a:cubicBezTo>
                        <a:pt x="389" y="137"/>
                        <a:pt x="390" y="136"/>
                        <a:pt x="391" y="136"/>
                      </a:cubicBezTo>
                      <a:cubicBezTo>
                        <a:pt x="392" y="136"/>
                        <a:pt x="393" y="137"/>
                        <a:pt x="393" y="138"/>
                      </a:cubicBezTo>
                      <a:cubicBezTo>
                        <a:pt x="395" y="147"/>
                        <a:pt x="395" y="147"/>
                        <a:pt x="395" y="147"/>
                      </a:cubicBezTo>
                      <a:cubicBezTo>
                        <a:pt x="398" y="147"/>
                        <a:pt x="400" y="147"/>
                        <a:pt x="402" y="148"/>
                      </a:cubicBezTo>
                      <a:cubicBezTo>
                        <a:pt x="407" y="139"/>
                        <a:pt x="407" y="139"/>
                        <a:pt x="407" y="139"/>
                      </a:cubicBezTo>
                      <a:cubicBezTo>
                        <a:pt x="407" y="138"/>
                        <a:pt x="408" y="138"/>
                        <a:pt x="409" y="138"/>
                      </a:cubicBezTo>
                      <a:cubicBezTo>
                        <a:pt x="410" y="138"/>
                        <a:pt x="410" y="139"/>
                        <a:pt x="410" y="140"/>
                      </a:cubicBezTo>
                      <a:cubicBezTo>
                        <a:pt x="410" y="140"/>
                        <a:pt x="410" y="140"/>
                        <a:pt x="410" y="140"/>
                      </a:cubicBezTo>
                      <a:cubicBezTo>
                        <a:pt x="410" y="150"/>
                        <a:pt x="410" y="150"/>
                        <a:pt x="410" y="150"/>
                      </a:cubicBezTo>
                      <a:cubicBezTo>
                        <a:pt x="412" y="150"/>
                        <a:pt x="414" y="151"/>
                        <a:pt x="416" y="152"/>
                      </a:cubicBezTo>
                      <a:cubicBezTo>
                        <a:pt x="423" y="146"/>
                        <a:pt x="423" y="146"/>
                        <a:pt x="423" y="146"/>
                      </a:cubicBezTo>
                      <a:cubicBezTo>
                        <a:pt x="424" y="145"/>
                        <a:pt x="425" y="145"/>
                        <a:pt x="426" y="145"/>
                      </a:cubicBezTo>
                      <a:cubicBezTo>
                        <a:pt x="426" y="145"/>
                        <a:pt x="426" y="146"/>
                        <a:pt x="426" y="147"/>
                      </a:cubicBezTo>
                      <a:cubicBezTo>
                        <a:pt x="426" y="147"/>
                        <a:pt x="426" y="147"/>
                        <a:pt x="426" y="148"/>
                      </a:cubicBezTo>
                      <a:cubicBezTo>
                        <a:pt x="423" y="157"/>
                        <a:pt x="423" y="157"/>
                        <a:pt x="423" y="157"/>
                      </a:cubicBezTo>
                      <a:cubicBezTo>
                        <a:pt x="425" y="158"/>
                        <a:pt x="427" y="159"/>
                        <a:pt x="428" y="161"/>
                      </a:cubicBezTo>
                      <a:cubicBezTo>
                        <a:pt x="437" y="157"/>
                        <a:pt x="437" y="157"/>
                        <a:pt x="437" y="157"/>
                      </a:cubicBezTo>
                      <a:cubicBezTo>
                        <a:pt x="437" y="156"/>
                        <a:pt x="439" y="156"/>
                        <a:pt x="439" y="157"/>
                      </a:cubicBezTo>
                      <a:cubicBezTo>
                        <a:pt x="440" y="157"/>
                        <a:pt x="440" y="158"/>
                        <a:pt x="440" y="158"/>
                      </a:cubicBezTo>
                      <a:cubicBezTo>
                        <a:pt x="440" y="159"/>
                        <a:pt x="440" y="159"/>
                        <a:pt x="439" y="160"/>
                      </a:cubicBezTo>
                      <a:cubicBezTo>
                        <a:pt x="433" y="167"/>
                        <a:pt x="433" y="167"/>
                        <a:pt x="433" y="167"/>
                      </a:cubicBezTo>
                      <a:cubicBezTo>
                        <a:pt x="435" y="169"/>
                        <a:pt x="436" y="171"/>
                        <a:pt x="437" y="173"/>
                      </a:cubicBezTo>
                      <a:cubicBezTo>
                        <a:pt x="446" y="172"/>
                        <a:pt x="446" y="172"/>
                        <a:pt x="446" y="172"/>
                      </a:cubicBezTo>
                      <a:cubicBezTo>
                        <a:pt x="447" y="171"/>
                        <a:pt x="448" y="172"/>
                        <a:pt x="449" y="173"/>
                      </a:cubicBezTo>
                      <a:cubicBezTo>
                        <a:pt x="449" y="173"/>
                        <a:pt x="449" y="173"/>
                        <a:pt x="449" y="173"/>
                      </a:cubicBezTo>
                      <a:cubicBezTo>
                        <a:pt x="449" y="174"/>
                        <a:pt x="448" y="175"/>
                        <a:pt x="448" y="175"/>
                      </a:cubicBezTo>
                      <a:cubicBezTo>
                        <a:pt x="440" y="180"/>
                        <a:pt x="440" y="180"/>
                        <a:pt x="440" y="180"/>
                      </a:cubicBezTo>
                      <a:cubicBezTo>
                        <a:pt x="441" y="183"/>
                        <a:pt x="441" y="185"/>
                        <a:pt x="441" y="187"/>
                      </a:cubicBezTo>
                      <a:cubicBezTo>
                        <a:pt x="451" y="189"/>
                        <a:pt x="451" y="189"/>
                        <a:pt x="451" y="189"/>
                      </a:cubicBezTo>
                      <a:cubicBezTo>
                        <a:pt x="452" y="188"/>
                        <a:pt x="453" y="189"/>
                        <a:pt x="453" y="190"/>
                      </a:cubicBezTo>
                      <a:cubicBezTo>
                        <a:pt x="453" y="190"/>
                        <a:pt x="453" y="190"/>
                        <a:pt x="453" y="190"/>
                      </a:cubicBezTo>
                      <a:cubicBezTo>
                        <a:pt x="453" y="191"/>
                        <a:pt x="452" y="192"/>
                        <a:pt x="451" y="19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Oval 24"/>
                <p:cNvSpPr>
                  <a:spLocks noChangeArrowheads="1"/>
                </p:cNvSpPr>
                <p:nvPr/>
              </p:nvSpPr>
              <p:spPr bwMode="auto">
                <a:xfrm>
                  <a:off x="-1333500" y="3128963"/>
                  <a:ext cx="77788" cy="79375"/>
                </a:xfrm>
                <a:prstGeom prst="ellipse">
                  <a:avLst/>
                </a:prstGeom>
                <a:solidFill>
                  <a:schemeClr val="tx1"/>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97" name="Freeform 25"/>
                <p:cNvSpPr>
                  <a:spLocks/>
                </p:cNvSpPr>
                <p:nvPr/>
              </p:nvSpPr>
              <p:spPr bwMode="auto">
                <a:xfrm>
                  <a:off x="-1423988" y="2082800"/>
                  <a:ext cx="889000" cy="357188"/>
                </a:xfrm>
                <a:custGeom>
                  <a:avLst/>
                  <a:gdLst>
                    <a:gd name="T0" fmla="*/ 218 w 237"/>
                    <a:gd name="T1" fmla="*/ 95 h 95"/>
                    <a:gd name="T2" fmla="*/ 217 w 237"/>
                    <a:gd name="T3" fmla="*/ 94 h 95"/>
                    <a:gd name="T4" fmla="*/ 234 w 237"/>
                    <a:gd name="T5" fmla="*/ 82 h 95"/>
                    <a:gd name="T6" fmla="*/ 237 w 237"/>
                    <a:gd name="T7" fmla="*/ 79 h 95"/>
                    <a:gd name="T8" fmla="*/ 236 w 237"/>
                    <a:gd name="T9" fmla="*/ 77 h 95"/>
                    <a:gd name="T10" fmla="*/ 231 w 237"/>
                    <a:gd name="T11" fmla="*/ 75 h 95"/>
                    <a:gd name="T12" fmla="*/ 211 w 237"/>
                    <a:gd name="T13" fmla="*/ 78 h 95"/>
                    <a:gd name="T14" fmla="*/ 203 w 237"/>
                    <a:gd name="T15" fmla="*/ 66 h 95"/>
                    <a:gd name="T16" fmla="*/ 216 w 237"/>
                    <a:gd name="T17" fmla="*/ 49 h 95"/>
                    <a:gd name="T18" fmla="*/ 217 w 237"/>
                    <a:gd name="T19" fmla="*/ 46 h 95"/>
                    <a:gd name="T20" fmla="*/ 216 w 237"/>
                    <a:gd name="T21" fmla="*/ 44 h 95"/>
                    <a:gd name="T22" fmla="*/ 211 w 237"/>
                    <a:gd name="T23" fmla="*/ 43 h 95"/>
                    <a:gd name="T24" fmla="*/ 192 w 237"/>
                    <a:gd name="T25" fmla="*/ 53 h 95"/>
                    <a:gd name="T26" fmla="*/ 181 w 237"/>
                    <a:gd name="T27" fmla="*/ 43 h 95"/>
                    <a:gd name="T28" fmla="*/ 188 w 237"/>
                    <a:gd name="T29" fmla="*/ 24 h 95"/>
                    <a:gd name="T30" fmla="*/ 189 w 237"/>
                    <a:gd name="T31" fmla="*/ 22 h 95"/>
                    <a:gd name="T32" fmla="*/ 187 w 237"/>
                    <a:gd name="T33" fmla="*/ 18 h 95"/>
                    <a:gd name="T34" fmla="*/ 181 w 237"/>
                    <a:gd name="T35" fmla="*/ 20 h 95"/>
                    <a:gd name="T36" fmla="*/ 167 w 237"/>
                    <a:gd name="T37" fmla="*/ 34 h 95"/>
                    <a:gd name="T38" fmla="*/ 153 w 237"/>
                    <a:gd name="T39" fmla="*/ 28 h 95"/>
                    <a:gd name="T40" fmla="*/ 154 w 237"/>
                    <a:gd name="T41" fmla="*/ 8 h 95"/>
                    <a:gd name="T42" fmla="*/ 154 w 237"/>
                    <a:gd name="T43" fmla="*/ 7 h 95"/>
                    <a:gd name="T44" fmla="*/ 151 w 237"/>
                    <a:gd name="T45" fmla="*/ 3 h 95"/>
                    <a:gd name="T46" fmla="*/ 146 w 237"/>
                    <a:gd name="T47" fmla="*/ 6 h 95"/>
                    <a:gd name="T48" fmla="*/ 137 w 237"/>
                    <a:gd name="T49" fmla="*/ 24 h 95"/>
                    <a:gd name="T50" fmla="*/ 122 w 237"/>
                    <a:gd name="T51" fmla="*/ 23 h 95"/>
                    <a:gd name="T52" fmla="*/ 116 w 237"/>
                    <a:gd name="T53" fmla="*/ 4 h 95"/>
                    <a:gd name="T54" fmla="*/ 112 w 237"/>
                    <a:gd name="T55" fmla="*/ 0 h 95"/>
                    <a:gd name="T56" fmla="*/ 108 w 237"/>
                    <a:gd name="T57" fmla="*/ 4 h 95"/>
                    <a:gd name="T58" fmla="*/ 108 w 237"/>
                    <a:gd name="T59" fmla="*/ 4 h 95"/>
                    <a:gd name="T60" fmla="*/ 105 w 237"/>
                    <a:gd name="T61" fmla="*/ 24 h 95"/>
                    <a:gd name="T62" fmla="*/ 91 w 237"/>
                    <a:gd name="T63" fmla="*/ 28 h 95"/>
                    <a:gd name="T64" fmla="*/ 79 w 237"/>
                    <a:gd name="T65" fmla="*/ 11 h 95"/>
                    <a:gd name="T66" fmla="*/ 74 w 237"/>
                    <a:gd name="T67" fmla="*/ 9 h 95"/>
                    <a:gd name="T68" fmla="*/ 71 w 237"/>
                    <a:gd name="T69" fmla="*/ 12 h 95"/>
                    <a:gd name="T70" fmla="*/ 72 w 237"/>
                    <a:gd name="T71" fmla="*/ 14 h 95"/>
                    <a:gd name="T72" fmla="*/ 75 w 237"/>
                    <a:gd name="T73" fmla="*/ 34 h 95"/>
                    <a:gd name="T74" fmla="*/ 63 w 237"/>
                    <a:gd name="T75" fmla="*/ 42 h 95"/>
                    <a:gd name="T76" fmla="*/ 46 w 237"/>
                    <a:gd name="T77" fmla="*/ 29 h 95"/>
                    <a:gd name="T78" fmla="*/ 41 w 237"/>
                    <a:gd name="T79" fmla="*/ 29 h 95"/>
                    <a:gd name="T80" fmla="*/ 39 w 237"/>
                    <a:gd name="T81" fmla="*/ 32 h 95"/>
                    <a:gd name="T82" fmla="*/ 40 w 237"/>
                    <a:gd name="T83" fmla="*/ 34 h 95"/>
                    <a:gd name="T84" fmla="*/ 49 w 237"/>
                    <a:gd name="T85" fmla="*/ 53 h 95"/>
                    <a:gd name="T86" fmla="*/ 40 w 237"/>
                    <a:gd name="T87" fmla="*/ 64 h 95"/>
                    <a:gd name="T88" fmla="*/ 21 w 237"/>
                    <a:gd name="T89" fmla="*/ 57 h 95"/>
                    <a:gd name="T90" fmla="*/ 15 w 237"/>
                    <a:gd name="T91" fmla="*/ 58 h 95"/>
                    <a:gd name="T92" fmla="*/ 14 w 237"/>
                    <a:gd name="T93" fmla="*/ 60 h 95"/>
                    <a:gd name="T94" fmla="*/ 16 w 237"/>
                    <a:gd name="T95" fmla="*/ 64 h 95"/>
                    <a:gd name="T96" fmla="*/ 31 w 237"/>
                    <a:gd name="T97" fmla="*/ 78 h 95"/>
                    <a:gd name="T98" fmla="*/ 25 w 237"/>
                    <a:gd name="T99" fmla="*/ 92 h 95"/>
                    <a:gd name="T100" fmla="*/ 5 w 237"/>
                    <a:gd name="T101" fmla="*/ 91 h 95"/>
                    <a:gd name="T102" fmla="*/ 0 w 237"/>
                    <a:gd name="T103" fmla="*/ 94 h 95"/>
                    <a:gd name="T104" fmla="*/ 0 w 237"/>
                    <a:gd name="T105" fmla="*/ 95 h 95"/>
                    <a:gd name="T106" fmla="*/ 218 w 237"/>
                    <a:gd name="T107"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7" h="95">
                      <a:moveTo>
                        <a:pt x="218" y="95"/>
                      </a:moveTo>
                      <a:cubicBezTo>
                        <a:pt x="218" y="95"/>
                        <a:pt x="217" y="94"/>
                        <a:pt x="217" y="94"/>
                      </a:cubicBezTo>
                      <a:cubicBezTo>
                        <a:pt x="234" y="82"/>
                        <a:pt x="234" y="82"/>
                        <a:pt x="234" y="82"/>
                      </a:cubicBezTo>
                      <a:cubicBezTo>
                        <a:pt x="236" y="82"/>
                        <a:pt x="237" y="80"/>
                        <a:pt x="237" y="79"/>
                      </a:cubicBezTo>
                      <a:cubicBezTo>
                        <a:pt x="237" y="78"/>
                        <a:pt x="236" y="78"/>
                        <a:pt x="236" y="77"/>
                      </a:cubicBezTo>
                      <a:cubicBezTo>
                        <a:pt x="235" y="75"/>
                        <a:pt x="233" y="74"/>
                        <a:pt x="231" y="75"/>
                      </a:cubicBezTo>
                      <a:cubicBezTo>
                        <a:pt x="211" y="78"/>
                        <a:pt x="211" y="78"/>
                        <a:pt x="211" y="78"/>
                      </a:cubicBezTo>
                      <a:cubicBezTo>
                        <a:pt x="209" y="74"/>
                        <a:pt x="206" y="70"/>
                        <a:pt x="203" y="66"/>
                      </a:cubicBezTo>
                      <a:cubicBezTo>
                        <a:pt x="216" y="49"/>
                        <a:pt x="216" y="49"/>
                        <a:pt x="216" y="49"/>
                      </a:cubicBezTo>
                      <a:cubicBezTo>
                        <a:pt x="217" y="49"/>
                        <a:pt x="217" y="48"/>
                        <a:pt x="217" y="46"/>
                      </a:cubicBezTo>
                      <a:cubicBezTo>
                        <a:pt x="217" y="46"/>
                        <a:pt x="217" y="45"/>
                        <a:pt x="216" y="44"/>
                      </a:cubicBezTo>
                      <a:cubicBezTo>
                        <a:pt x="215" y="42"/>
                        <a:pt x="212" y="42"/>
                        <a:pt x="211" y="43"/>
                      </a:cubicBezTo>
                      <a:cubicBezTo>
                        <a:pt x="192" y="53"/>
                        <a:pt x="192" y="53"/>
                        <a:pt x="192" y="53"/>
                      </a:cubicBezTo>
                      <a:cubicBezTo>
                        <a:pt x="189" y="49"/>
                        <a:pt x="185" y="46"/>
                        <a:pt x="181" y="43"/>
                      </a:cubicBezTo>
                      <a:cubicBezTo>
                        <a:pt x="188" y="24"/>
                        <a:pt x="188" y="24"/>
                        <a:pt x="188" y="24"/>
                      </a:cubicBezTo>
                      <a:cubicBezTo>
                        <a:pt x="188" y="23"/>
                        <a:pt x="189" y="22"/>
                        <a:pt x="189" y="22"/>
                      </a:cubicBezTo>
                      <a:cubicBezTo>
                        <a:pt x="189" y="20"/>
                        <a:pt x="188" y="19"/>
                        <a:pt x="187" y="18"/>
                      </a:cubicBezTo>
                      <a:cubicBezTo>
                        <a:pt x="185" y="17"/>
                        <a:pt x="182" y="18"/>
                        <a:pt x="181" y="20"/>
                      </a:cubicBezTo>
                      <a:cubicBezTo>
                        <a:pt x="167" y="34"/>
                        <a:pt x="167" y="34"/>
                        <a:pt x="167" y="34"/>
                      </a:cubicBezTo>
                      <a:cubicBezTo>
                        <a:pt x="162" y="32"/>
                        <a:pt x="158" y="30"/>
                        <a:pt x="153" y="28"/>
                      </a:cubicBezTo>
                      <a:cubicBezTo>
                        <a:pt x="154" y="8"/>
                        <a:pt x="154" y="8"/>
                        <a:pt x="154" y="8"/>
                      </a:cubicBezTo>
                      <a:cubicBezTo>
                        <a:pt x="154" y="8"/>
                        <a:pt x="154" y="7"/>
                        <a:pt x="154" y="7"/>
                      </a:cubicBezTo>
                      <a:cubicBezTo>
                        <a:pt x="154" y="5"/>
                        <a:pt x="153" y="4"/>
                        <a:pt x="151" y="3"/>
                      </a:cubicBezTo>
                      <a:cubicBezTo>
                        <a:pt x="149" y="3"/>
                        <a:pt x="146" y="4"/>
                        <a:pt x="146" y="6"/>
                      </a:cubicBezTo>
                      <a:cubicBezTo>
                        <a:pt x="137" y="24"/>
                        <a:pt x="137" y="24"/>
                        <a:pt x="137" y="24"/>
                      </a:cubicBezTo>
                      <a:cubicBezTo>
                        <a:pt x="132" y="24"/>
                        <a:pt x="127" y="23"/>
                        <a:pt x="122" y="23"/>
                      </a:cubicBezTo>
                      <a:cubicBezTo>
                        <a:pt x="116" y="4"/>
                        <a:pt x="116" y="4"/>
                        <a:pt x="116" y="4"/>
                      </a:cubicBezTo>
                      <a:cubicBezTo>
                        <a:pt x="116" y="1"/>
                        <a:pt x="114" y="0"/>
                        <a:pt x="112" y="0"/>
                      </a:cubicBezTo>
                      <a:cubicBezTo>
                        <a:pt x="110" y="0"/>
                        <a:pt x="108" y="2"/>
                        <a:pt x="108" y="4"/>
                      </a:cubicBezTo>
                      <a:cubicBezTo>
                        <a:pt x="108" y="4"/>
                        <a:pt x="108" y="4"/>
                        <a:pt x="108" y="4"/>
                      </a:cubicBezTo>
                      <a:cubicBezTo>
                        <a:pt x="105" y="24"/>
                        <a:pt x="105" y="24"/>
                        <a:pt x="105" y="24"/>
                      </a:cubicBezTo>
                      <a:cubicBezTo>
                        <a:pt x="100" y="25"/>
                        <a:pt x="95" y="26"/>
                        <a:pt x="91" y="28"/>
                      </a:cubicBezTo>
                      <a:cubicBezTo>
                        <a:pt x="79" y="11"/>
                        <a:pt x="79" y="11"/>
                        <a:pt x="79" y="11"/>
                      </a:cubicBezTo>
                      <a:cubicBezTo>
                        <a:pt x="78" y="9"/>
                        <a:pt x="76" y="8"/>
                        <a:pt x="74" y="9"/>
                      </a:cubicBezTo>
                      <a:cubicBezTo>
                        <a:pt x="72" y="9"/>
                        <a:pt x="71" y="11"/>
                        <a:pt x="71" y="12"/>
                      </a:cubicBezTo>
                      <a:cubicBezTo>
                        <a:pt x="71" y="13"/>
                        <a:pt x="72" y="13"/>
                        <a:pt x="72" y="14"/>
                      </a:cubicBezTo>
                      <a:cubicBezTo>
                        <a:pt x="75" y="34"/>
                        <a:pt x="75" y="34"/>
                        <a:pt x="75" y="34"/>
                      </a:cubicBezTo>
                      <a:cubicBezTo>
                        <a:pt x="71" y="36"/>
                        <a:pt x="66" y="39"/>
                        <a:pt x="63" y="42"/>
                      </a:cubicBezTo>
                      <a:cubicBezTo>
                        <a:pt x="46" y="29"/>
                        <a:pt x="46" y="29"/>
                        <a:pt x="46" y="29"/>
                      </a:cubicBezTo>
                      <a:cubicBezTo>
                        <a:pt x="45" y="28"/>
                        <a:pt x="42" y="27"/>
                        <a:pt x="41" y="29"/>
                      </a:cubicBezTo>
                      <a:cubicBezTo>
                        <a:pt x="40" y="30"/>
                        <a:pt x="39" y="31"/>
                        <a:pt x="39" y="32"/>
                      </a:cubicBezTo>
                      <a:cubicBezTo>
                        <a:pt x="39" y="33"/>
                        <a:pt x="39" y="34"/>
                        <a:pt x="40" y="34"/>
                      </a:cubicBezTo>
                      <a:cubicBezTo>
                        <a:pt x="49" y="53"/>
                        <a:pt x="49" y="53"/>
                        <a:pt x="49" y="53"/>
                      </a:cubicBezTo>
                      <a:cubicBezTo>
                        <a:pt x="46" y="56"/>
                        <a:pt x="43" y="60"/>
                        <a:pt x="40" y="64"/>
                      </a:cubicBezTo>
                      <a:cubicBezTo>
                        <a:pt x="21" y="57"/>
                        <a:pt x="21" y="57"/>
                        <a:pt x="21" y="57"/>
                      </a:cubicBezTo>
                      <a:cubicBezTo>
                        <a:pt x="19" y="56"/>
                        <a:pt x="16" y="56"/>
                        <a:pt x="15" y="58"/>
                      </a:cubicBezTo>
                      <a:cubicBezTo>
                        <a:pt x="15" y="59"/>
                        <a:pt x="14" y="60"/>
                        <a:pt x="14" y="60"/>
                      </a:cubicBezTo>
                      <a:cubicBezTo>
                        <a:pt x="14" y="62"/>
                        <a:pt x="15" y="63"/>
                        <a:pt x="16" y="64"/>
                      </a:cubicBezTo>
                      <a:cubicBezTo>
                        <a:pt x="31" y="78"/>
                        <a:pt x="31" y="78"/>
                        <a:pt x="31" y="78"/>
                      </a:cubicBezTo>
                      <a:cubicBezTo>
                        <a:pt x="29" y="82"/>
                        <a:pt x="27" y="87"/>
                        <a:pt x="25" y="92"/>
                      </a:cubicBezTo>
                      <a:cubicBezTo>
                        <a:pt x="5" y="91"/>
                        <a:pt x="5" y="91"/>
                        <a:pt x="5" y="91"/>
                      </a:cubicBezTo>
                      <a:cubicBezTo>
                        <a:pt x="3" y="91"/>
                        <a:pt x="0" y="92"/>
                        <a:pt x="0" y="94"/>
                      </a:cubicBezTo>
                      <a:cubicBezTo>
                        <a:pt x="0" y="94"/>
                        <a:pt x="0" y="95"/>
                        <a:pt x="0" y="95"/>
                      </a:cubicBezTo>
                      <a:lnTo>
                        <a:pt x="218" y="9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0" name="Group 9"/>
            <p:cNvGrpSpPr/>
            <p:nvPr/>
          </p:nvGrpSpPr>
          <p:grpSpPr>
            <a:xfrm>
              <a:off x="6187281" y="1312215"/>
              <a:ext cx="2688336" cy="1737360"/>
              <a:chOff x="9141616" y="1312215"/>
              <a:chExt cx="2683373" cy="1728584"/>
            </a:xfrm>
          </p:grpSpPr>
          <p:sp>
            <p:nvSpPr>
              <p:cNvPr id="9" name="Rectangle 8"/>
              <p:cNvSpPr>
                <a:spLocks noChangeAspect="1"/>
              </p:cNvSpPr>
              <p:nvPr>
                <p:custDataLst>
                  <p:tags r:id="rId3"/>
                </p:custDataLst>
              </p:nvPr>
            </p:nvSpPr>
            <p:spPr bwMode="auto">
              <a:xfrm>
                <a:off x="9141616" y="1312215"/>
                <a:ext cx="2683373" cy="1728584"/>
              </a:xfrm>
              <a:prstGeom prst="rect">
                <a:avLst/>
              </a:prstGeom>
              <a:solidFill>
                <a:srgbClr val="FF8B00"/>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365681" rIns="121893" bIns="60947" numCol="1" rtlCol="0" anchor="b" anchorCtr="0" compatLnSpc="1">
                <a:prstTxWarp prst="textNoShape">
                  <a:avLst/>
                </a:prstTxWarp>
                <a:noAutofit/>
              </a:bodyPr>
              <a:lstStyle/>
              <a:p>
                <a:pPr defTabSz="914083" fontAlgn="base">
                  <a:lnSpc>
                    <a:spcPct val="90000"/>
                  </a:lnSpc>
                  <a:spcBef>
                    <a:spcPts val="630"/>
                  </a:spcBef>
                  <a:spcAft>
                    <a:spcPct val="0"/>
                  </a:spcAft>
                  <a:buClr>
                    <a:srgbClr val="FFFF99"/>
                  </a:buClr>
                  <a:buSzPct val="120000"/>
                </a:pPr>
                <a:r>
                  <a:rPr lang="en-US" dirty="0" smtClean="0">
                    <a:ln>
                      <a:solidFill>
                        <a:srgbClr val="FFFFFF">
                          <a:alpha val="0"/>
                        </a:srgbClr>
                      </a:solidFill>
                    </a:ln>
                    <a:solidFill>
                      <a:srgbClr val="FFFFFF">
                        <a:alpha val="99000"/>
                      </a:srgbClr>
                    </a:solidFill>
                    <a:cs typeface="Segoe UI" pitchFamily="34" charset="0"/>
                  </a:rPr>
                  <a:t>         </a:t>
                </a:r>
              </a:p>
              <a:p>
                <a:pPr defTabSz="914083" fontAlgn="base">
                  <a:lnSpc>
                    <a:spcPct val="90000"/>
                  </a:lnSpc>
                  <a:spcBef>
                    <a:spcPts val="630"/>
                  </a:spcBef>
                  <a:spcAft>
                    <a:spcPct val="0"/>
                  </a:spcAft>
                  <a:buClr>
                    <a:srgbClr val="FFFF99"/>
                  </a:buClr>
                  <a:buSzPct val="120000"/>
                </a:pPr>
                <a:r>
                  <a:rPr lang="en-US" sz="2000" kern="0" dirty="0">
                    <a:solidFill>
                      <a:srgbClr val="FFFFFF">
                        <a:alpha val="99000"/>
                      </a:srgbClr>
                    </a:solidFill>
                  </a:rPr>
                  <a:t>Standard Formats</a:t>
                </a:r>
                <a:endParaRPr lang="en-US" dirty="0">
                  <a:ln>
                    <a:solidFill>
                      <a:srgbClr val="FFFFFF">
                        <a:alpha val="0"/>
                      </a:srgbClr>
                    </a:solidFill>
                  </a:ln>
                  <a:solidFill>
                    <a:srgbClr val="FFFFFF">
                      <a:alpha val="99000"/>
                    </a:srgbClr>
                  </a:solidFill>
                  <a:cs typeface="Segoe UI" pitchFamily="34" charset="0"/>
                </a:endParaRPr>
              </a:p>
            </p:txBody>
          </p:sp>
          <p:grpSp>
            <p:nvGrpSpPr>
              <p:cNvPr id="145" name="Group 144"/>
              <p:cNvGrpSpPr>
                <a:grpSpLocks noChangeAspect="1"/>
              </p:cNvGrpSpPr>
              <p:nvPr/>
            </p:nvGrpSpPr>
            <p:grpSpPr>
              <a:xfrm>
                <a:off x="9316954" y="1435804"/>
                <a:ext cx="794722" cy="633485"/>
                <a:chOff x="-2630488" y="2244726"/>
                <a:chExt cx="1954213" cy="1557338"/>
              </a:xfrm>
              <a:solidFill>
                <a:schemeClr val="bg1"/>
              </a:solidFill>
            </p:grpSpPr>
            <p:sp>
              <p:nvSpPr>
                <p:cNvPr id="146" name="Freeform 103"/>
                <p:cNvSpPr>
                  <a:spLocks/>
                </p:cNvSpPr>
                <p:nvPr/>
              </p:nvSpPr>
              <p:spPr bwMode="auto">
                <a:xfrm>
                  <a:off x="-2570163" y="3328988"/>
                  <a:ext cx="804862" cy="125413"/>
                </a:xfrm>
                <a:custGeom>
                  <a:avLst/>
                  <a:gdLst>
                    <a:gd name="T0" fmla="*/ 507 w 507"/>
                    <a:gd name="T1" fmla="*/ 0 h 79"/>
                    <a:gd name="T2" fmla="*/ 0 w 507"/>
                    <a:gd name="T3" fmla="*/ 61 h 79"/>
                    <a:gd name="T4" fmla="*/ 0 w 507"/>
                    <a:gd name="T5" fmla="*/ 79 h 79"/>
                    <a:gd name="T6" fmla="*/ 507 w 507"/>
                    <a:gd name="T7" fmla="*/ 50 h 79"/>
                    <a:gd name="T8" fmla="*/ 507 w 507"/>
                    <a:gd name="T9" fmla="*/ 0 h 79"/>
                  </a:gdLst>
                  <a:ahLst/>
                  <a:cxnLst>
                    <a:cxn ang="0">
                      <a:pos x="T0" y="T1"/>
                    </a:cxn>
                    <a:cxn ang="0">
                      <a:pos x="T2" y="T3"/>
                    </a:cxn>
                    <a:cxn ang="0">
                      <a:pos x="T4" y="T5"/>
                    </a:cxn>
                    <a:cxn ang="0">
                      <a:pos x="T6" y="T7"/>
                    </a:cxn>
                    <a:cxn ang="0">
                      <a:pos x="T8" y="T9"/>
                    </a:cxn>
                  </a:cxnLst>
                  <a:rect l="0" t="0" r="r" b="b"/>
                  <a:pathLst>
                    <a:path w="507" h="79">
                      <a:moveTo>
                        <a:pt x="507" y="0"/>
                      </a:moveTo>
                      <a:lnTo>
                        <a:pt x="0" y="61"/>
                      </a:lnTo>
                      <a:lnTo>
                        <a:pt x="0" y="79"/>
                      </a:lnTo>
                      <a:lnTo>
                        <a:pt x="507" y="50"/>
                      </a:lnTo>
                      <a:lnTo>
                        <a:pt x="507"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04"/>
                <p:cNvSpPr>
                  <a:spLocks/>
                </p:cNvSpPr>
                <p:nvPr/>
              </p:nvSpPr>
              <p:spPr bwMode="auto">
                <a:xfrm>
                  <a:off x="-2570163" y="3033713"/>
                  <a:ext cx="804862" cy="204788"/>
                </a:xfrm>
                <a:custGeom>
                  <a:avLst/>
                  <a:gdLst>
                    <a:gd name="T0" fmla="*/ 507 w 507"/>
                    <a:gd name="T1" fmla="*/ 0 h 129"/>
                    <a:gd name="T2" fmla="*/ 0 w 507"/>
                    <a:gd name="T3" fmla="*/ 111 h 129"/>
                    <a:gd name="T4" fmla="*/ 0 w 507"/>
                    <a:gd name="T5" fmla="*/ 129 h 129"/>
                    <a:gd name="T6" fmla="*/ 507 w 507"/>
                    <a:gd name="T7" fmla="*/ 60 h 129"/>
                    <a:gd name="T8" fmla="*/ 507 w 507"/>
                    <a:gd name="T9" fmla="*/ 0 h 129"/>
                  </a:gdLst>
                  <a:ahLst/>
                  <a:cxnLst>
                    <a:cxn ang="0">
                      <a:pos x="T0" y="T1"/>
                    </a:cxn>
                    <a:cxn ang="0">
                      <a:pos x="T2" y="T3"/>
                    </a:cxn>
                    <a:cxn ang="0">
                      <a:pos x="T4" y="T5"/>
                    </a:cxn>
                    <a:cxn ang="0">
                      <a:pos x="T6" y="T7"/>
                    </a:cxn>
                    <a:cxn ang="0">
                      <a:pos x="T8" y="T9"/>
                    </a:cxn>
                  </a:cxnLst>
                  <a:rect l="0" t="0" r="r" b="b"/>
                  <a:pathLst>
                    <a:path w="507" h="129">
                      <a:moveTo>
                        <a:pt x="507" y="0"/>
                      </a:moveTo>
                      <a:lnTo>
                        <a:pt x="0" y="111"/>
                      </a:lnTo>
                      <a:lnTo>
                        <a:pt x="0" y="129"/>
                      </a:lnTo>
                      <a:lnTo>
                        <a:pt x="507" y="60"/>
                      </a:lnTo>
                      <a:lnTo>
                        <a:pt x="507"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05"/>
                <p:cNvSpPr>
                  <a:spLocks noEditPoints="1"/>
                </p:cNvSpPr>
                <p:nvPr/>
              </p:nvSpPr>
              <p:spPr bwMode="auto">
                <a:xfrm>
                  <a:off x="-2630488" y="2317751"/>
                  <a:ext cx="1343025" cy="1484313"/>
                </a:xfrm>
                <a:custGeom>
                  <a:avLst/>
                  <a:gdLst>
                    <a:gd name="T0" fmla="*/ 586 w 846"/>
                    <a:gd name="T1" fmla="*/ 78 h 935"/>
                    <a:gd name="T2" fmla="*/ 586 w 846"/>
                    <a:gd name="T3" fmla="*/ 111 h 935"/>
                    <a:gd name="T4" fmla="*/ 214 w 846"/>
                    <a:gd name="T5" fmla="*/ 359 h 935"/>
                    <a:gd name="T6" fmla="*/ 0 w 846"/>
                    <a:gd name="T7" fmla="*/ 527 h 935"/>
                    <a:gd name="T8" fmla="*/ 30 w 846"/>
                    <a:gd name="T9" fmla="*/ 921 h 935"/>
                    <a:gd name="T10" fmla="*/ 39 w 846"/>
                    <a:gd name="T11" fmla="*/ 737 h 935"/>
                    <a:gd name="T12" fmla="*/ 117 w 846"/>
                    <a:gd name="T13" fmla="*/ 923 h 935"/>
                    <a:gd name="T14" fmla="*/ 126 w 846"/>
                    <a:gd name="T15" fmla="*/ 732 h 935"/>
                    <a:gd name="T16" fmla="*/ 202 w 846"/>
                    <a:gd name="T17" fmla="*/ 924 h 935"/>
                    <a:gd name="T18" fmla="*/ 211 w 846"/>
                    <a:gd name="T19" fmla="*/ 727 h 935"/>
                    <a:gd name="T20" fmla="*/ 287 w 846"/>
                    <a:gd name="T21" fmla="*/ 926 h 935"/>
                    <a:gd name="T22" fmla="*/ 296 w 846"/>
                    <a:gd name="T23" fmla="*/ 725 h 935"/>
                    <a:gd name="T24" fmla="*/ 374 w 846"/>
                    <a:gd name="T25" fmla="*/ 927 h 935"/>
                    <a:gd name="T26" fmla="*/ 383 w 846"/>
                    <a:gd name="T27" fmla="*/ 719 h 935"/>
                    <a:gd name="T28" fmla="*/ 459 w 846"/>
                    <a:gd name="T29" fmla="*/ 928 h 935"/>
                    <a:gd name="T30" fmla="*/ 468 w 846"/>
                    <a:gd name="T31" fmla="*/ 715 h 935"/>
                    <a:gd name="T32" fmla="*/ 547 w 846"/>
                    <a:gd name="T33" fmla="*/ 931 h 935"/>
                    <a:gd name="T34" fmla="*/ 556 w 846"/>
                    <a:gd name="T35" fmla="*/ 712 h 935"/>
                    <a:gd name="T36" fmla="*/ 846 w 846"/>
                    <a:gd name="T37" fmla="*/ 935 h 935"/>
                    <a:gd name="T38" fmla="*/ 798 w 846"/>
                    <a:gd name="T39" fmla="*/ 0 h 935"/>
                    <a:gd name="T40" fmla="*/ 228 w 846"/>
                    <a:gd name="T41" fmla="*/ 381 h 935"/>
                    <a:gd name="T42" fmla="*/ 548 w 846"/>
                    <a:gd name="T43" fmla="*/ 388 h 935"/>
                    <a:gd name="T44" fmla="*/ 227 w 846"/>
                    <a:gd name="T45" fmla="*/ 470 h 935"/>
                    <a:gd name="T46" fmla="*/ 554 w 846"/>
                    <a:gd name="T47" fmla="*/ 696 h 935"/>
                    <a:gd name="T48" fmla="*/ 29 w 846"/>
                    <a:gd name="T49" fmla="*/ 725 h 935"/>
                    <a:gd name="T50" fmla="*/ 554 w 846"/>
                    <a:gd name="T51" fmla="*/ 626 h 935"/>
                    <a:gd name="T52" fmla="*/ 554 w 846"/>
                    <a:gd name="T53" fmla="*/ 518 h 935"/>
                    <a:gd name="T54" fmla="*/ 29 w 846"/>
                    <a:gd name="T55" fmla="*/ 555 h 935"/>
                    <a:gd name="T56" fmla="*/ 554 w 846"/>
                    <a:gd name="T57" fmla="*/ 518 h 935"/>
                    <a:gd name="T58" fmla="*/ 591 w 846"/>
                    <a:gd name="T59" fmla="*/ 812 h 935"/>
                    <a:gd name="T60" fmla="*/ 591 w 846"/>
                    <a:gd name="T61" fmla="*/ 794 h 935"/>
                    <a:gd name="T62" fmla="*/ 596 w 846"/>
                    <a:gd name="T63" fmla="*/ 277 h 935"/>
                    <a:gd name="T64" fmla="*/ 773 w 846"/>
                    <a:gd name="T65" fmla="*/ 794 h 935"/>
                    <a:gd name="T66" fmla="*/ 608 w 846"/>
                    <a:gd name="T67" fmla="*/ 593 h 935"/>
                    <a:gd name="T68" fmla="*/ 773 w 846"/>
                    <a:gd name="T69" fmla="*/ 557 h 935"/>
                    <a:gd name="T70" fmla="*/ 608 w 846"/>
                    <a:gd name="T71" fmla="*/ 418 h 935"/>
                    <a:gd name="T72" fmla="*/ 773 w 846"/>
                    <a:gd name="T73" fmla="*/ 369 h 935"/>
                    <a:gd name="T74" fmla="*/ 608 w 846"/>
                    <a:gd name="T75" fmla="*/ 255 h 935"/>
                    <a:gd name="T76" fmla="*/ 773 w 846"/>
                    <a:gd name="T77" fmla="*/ 199 h 935"/>
                    <a:gd name="T78" fmla="*/ 608 w 846"/>
                    <a:gd name="T79" fmla="*/ 116 h 935"/>
                    <a:gd name="T80" fmla="*/ 791 w 846"/>
                    <a:gd name="T81" fmla="*/ 38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46" h="935">
                      <a:moveTo>
                        <a:pt x="798" y="0"/>
                      </a:moveTo>
                      <a:lnTo>
                        <a:pt x="586" y="78"/>
                      </a:lnTo>
                      <a:lnTo>
                        <a:pt x="586" y="111"/>
                      </a:lnTo>
                      <a:lnTo>
                        <a:pt x="586" y="111"/>
                      </a:lnTo>
                      <a:lnTo>
                        <a:pt x="586" y="256"/>
                      </a:lnTo>
                      <a:lnTo>
                        <a:pt x="214" y="359"/>
                      </a:lnTo>
                      <a:lnTo>
                        <a:pt x="214" y="472"/>
                      </a:lnTo>
                      <a:lnTo>
                        <a:pt x="0" y="527"/>
                      </a:lnTo>
                      <a:lnTo>
                        <a:pt x="0" y="921"/>
                      </a:lnTo>
                      <a:lnTo>
                        <a:pt x="30" y="921"/>
                      </a:lnTo>
                      <a:lnTo>
                        <a:pt x="30" y="737"/>
                      </a:lnTo>
                      <a:lnTo>
                        <a:pt x="39" y="737"/>
                      </a:lnTo>
                      <a:lnTo>
                        <a:pt x="39" y="922"/>
                      </a:lnTo>
                      <a:lnTo>
                        <a:pt x="117" y="923"/>
                      </a:lnTo>
                      <a:lnTo>
                        <a:pt x="117" y="732"/>
                      </a:lnTo>
                      <a:lnTo>
                        <a:pt x="126" y="732"/>
                      </a:lnTo>
                      <a:lnTo>
                        <a:pt x="126" y="923"/>
                      </a:lnTo>
                      <a:lnTo>
                        <a:pt x="202" y="924"/>
                      </a:lnTo>
                      <a:lnTo>
                        <a:pt x="202" y="727"/>
                      </a:lnTo>
                      <a:lnTo>
                        <a:pt x="211" y="727"/>
                      </a:lnTo>
                      <a:lnTo>
                        <a:pt x="211" y="924"/>
                      </a:lnTo>
                      <a:lnTo>
                        <a:pt x="287" y="926"/>
                      </a:lnTo>
                      <a:lnTo>
                        <a:pt x="287" y="725"/>
                      </a:lnTo>
                      <a:lnTo>
                        <a:pt x="296" y="725"/>
                      </a:lnTo>
                      <a:lnTo>
                        <a:pt x="296" y="926"/>
                      </a:lnTo>
                      <a:lnTo>
                        <a:pt x="374" y="927"/>
                      </a:lnTo>
                      <a:lnTo>
                        <a:pt x="374" y="719"/>
                      </a:lnTo>
                      <a:lnTo>
                        <a:pt x="383" y="719"/>
                      </a:lnTo>
                      <a:lnTo>
                        <a:pt x="383" y="927"/>
                      </a:lnTo>
                      <a:lnTo>
                        <a:pt x="459" y="928"/>
                      </a:lnTo>
                      <a:lnTo>
                        <a:pt x="459" y="715"/>
                      </a:lnTo>
                      <a:lnTo>
                        <a:pt x="468" y="715"/>
                      </a:lnTo>
                      <a:lnTo>
                        <a:pt x="468" y="928"/>
                      </a:lnTo>
                      <a:lnTo>
                        <a:pt x="547" y="931"/>
                      </a:lnTo>
                      <a:lnTo>
                        <a:pt x="547" y="712"/>
                      </a:lnTo>
                      <a:lnTo>
                        <a:pt x="556" y="712"/>
                      </a:lnTo>
                      <a:lnTo>
                        <a:pt x="556" y="931"/>
                      </a:lnTo>
                      <a:lnTo>
                        <a:pt x="846" y="935"/>
                      </a:lnTo>
                      <a:lnTo>
                        <a:pt x="846" y="38"/>
                      </a:lnTo>
                      <a:lnTo>
                        <a:pt x="798" y="0"/>
                      </a:lnTo>
                      <a:close/>
                      <a:moveTo>
                        <a:pt x="227" y="381"/>
                      </a:moveTo>
                      <a:lnTo>
                        <a:pt x="228" y="381"/>
                      </a:lnTo>
                      <a:lnTo>
                        <a:pt x="232" y="464"/>
                      </a:lnTo>
                      <a:lnTo>
                        <a:pt x="548" y="388"/>
                      </a:lnTo>
                      <a:lnTo>
                        <a:pt x="549" y="393"/>
                      </a:lnTo>
                      <a:lnTo>
                        <a:pt x="227" y="470"/>
                      </a:lnTo>
                      <a:lnTo>
                        <a:pt x="227" y="381"/>
                      </a:lnTo>
                      <a:close/>
                      <a:moveTo>
                        <a:pt x="554" y="696"/>
                      </a:moveTo>
                      <a:lnTo>
                        <a:pt x="549" y="696"/>
                      </a:lnTo>
                      <a:lnTo>
                        <a:pt x="29" y="725"/>
                      </a:lnTo>
                      <a:lnTo>
                        <a:pt x="29" y="689"/>
                      </a:lnTo>
                      <a:lnTo>
                        <a:pt x="554" y="626"/>
                      </a:lnTo>
                      <a:lnTo>
                        <a:pt x="554" y="696"/>
                      </a:lnTo>
                      <a:close/>
                      <a:moveTo>
                        <a:pt x="554" y="518"/>
                      </a:moveTo>
                      <a:lnTo>
                        <a:pt x="29" y="590"/>
                      </a:lnTo>
                      <a:lnTo>
                        <a:pt x="29" y="555"/>
                      </a:lnTo>
                      <a:lnTo>
                        <a:pt x="554" y="441"/>
                      </a:lnTo>
                      <a:lnTo>
                        <a:pt x="554" y="518"/>
                      </a:lnTo>
                      <a:close/>
                      <a:moveTo>
                        <a:pt x="791" y="812"/>
                      </a:moveTo>
                      <a:lnTo>
                        <a:pt x="591" y="812"/>
                      </a:lnTo>
                      <a:lnTo>
                        <a:pt x="591" y="794"/>
                      </a:lnTo>
                      <a:lnTo>
                        <a:pt x="591" y="794"/>
                      </a:lnTo>
                      <a:lnTo>
                        <a:pt x="591" y="277"/>
                      </a:lnTo>
                      <a:lnTo>
                        <a:pt x="596" y="277"/>
                      </a:lnTo>
                      <a:lnTo>
                        <a:pt x="596" y="794"/>
                      </a:lnTo>
                      <a:lnTo>
                        <a:pt x="773" y="794"/>
                      </a:lnTo>
                      <a:lnTo>
                        <a:pt x="773" y="575"/>
                      </a:lnTo>
                      <a:lnTo>
                        <a:pt x="608" y="593"/>
                      </a:lnTo>
                      <a:lnTo>
                        <a:pt x="608" y="575"/>
                      </a:lnTo>
                      <a:lnTo>
                        <a:pt x="773" y="557"/>
                      </a:lnTo>
                      <a:lnTo>
                        <a:pt x="773" y="386"/>
                      </a:lnTo>
                      <a:lnTo>
                        <a:pt x="608" y="418"/>
                      </a:lnTo>
                      <a:lnTo>
                        <a:pt x="608" y="399"/>
                      </a:lnTo>
                      <a:lnTo>
                        <a:pt x="773" y="369"/>
                      </a:lnTo>
                      <a:lnTo>
                        <a:pt x="773" y="218"/>
                      </a:lnTo>
                      <a:lnTo>
                        <a:pt x="608" y="255"/>
                      </a:lnTo>
                      <a:lnTo>
                        <a:pt x="608" y="237"/>
                      </a:lnTo>
                      <a:lnTo>
                        <a:pt x="773" y="199"/>
                      </a:lnTo>
                      <a:lnTo>
                        <a:pt x="773" y="62"/>
                      </a:lnTo>
                      <a:lnTo>
                        <a:pt x="608" y="116"/>
                      </a:lnTo>
                      <a:lnTo>
                        <a:pt x="608" y="96"/>
                      </a:lnTo>
                      <a:lnTo>
                        <a:pt x="791" y="38"/>
                      </a:lnTo>
                      <a:lnTo>
                        <a:pt x="791" y="81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06"/>
                <p:cNvSpPr>
                  <a:spLocks/>
                </p:cNvSpPr>
                <p:nvPr/>
              </p:nvSpPr>
              <p:spPr bwMode="auto">
                <a:xfrm>
                  <a:off x="-2466975" y="2806701"/>
                  <a:ext cx="109537" cy="234950"/>
                </a:xfrm>
                <a:custGeom>
                  <a:avLst/>
                  <a:gdLst>
                    <a:gd name="T0" fmla="*/ 69 w 69"/>
                    <a:gd name="T1" fmla="*/ 0 h 148"/>
                    <a:gd name="T2" fmla="*/ 0 w 69"/>
                    <a:gd name="T3" fmla="*/ 24 h 148"/>
                    <a:gd name="T4" fmla="*/ 0 w 69"/>
                    <a:gd name="T5" fmla="*/ 148 h 148"/>
                    <a:gd name="T6" fmla="*/ 69 w 69"/>
                    <a:gd name="T7" fmla="*/ 131 h 148"/>
                    <a:gd name="T8" fmla="*/ 69 w 69"/>
                    <a:gd name="T9" fmla="*/ 0 h 148"/>
                  </a:gdLst>
                  <a:ahLst/>
                  <a:cxnLst>
                    <a:cxn ang="0">
                      <a:pos x="T0" y="T1"/>
                    </a:cxn>
                    <a:cxn ang="0">
                      <a:pos x="T2" y="T3"/>
                    </a:cxn>
                    <a:cxn ang="0">
                      <a:pos x="T4" y="T5"/>
                    </a:cxn>
                    <a:cxn ang="0">
                      <a:pos x="T6" y="T7"/>
                    </a:cxn>
                    <a:cxn ang="0">
                      <a:pos x="T8" y="T9"/>
                    </a:cxn>
                  </a:cxnLst>
                  <a:rect l="0" t="0" r="r" b="b"/>
                  <a:pathLst>
                    <a:path w="69" h="148">
                      <a:moveTo>
                        <a:pt x="69" y="0"/>
                      </a:moveTo>
                      <a:lnTo>
                        <a:pt x="0" y="24"/>
                      </a:lnTo>
                      <a:lnTo>
                        <a:pt x="0" y="148"/>
                      </a:lnTo>
                      <a:lnTo>
                        <a:pt x="69" y="131"/>
                      </a:lnTo>
                      <a:lnTo>
                        <a:pt x="69"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07"/>
                <p:cNvSpPr>
                  <a:spLocks noEditPoints="1"/>
                </p:cNvSpPr>
                <p:nvPr/>
              </p:nvSpPr>
              <p:spPr bwMode="auto">
                <a:xfrm>
                  <a:off x="-2627313" y="2527301"/>
                  <a:ext cx="906462" cy="592138"/>
                </a:xfrm>
                <a:custGeom>
                  <a:avLst/>
                  <a:gdLst>
                    <a:gd name="T0" fmla="*/ 219 w 571"/>
                    <a:gd name="T1" fmla="*/ 102 h 373"/>
                    <a:gd name="T2" fmla="*/ 219 w 571"/>
                    <a:gd name="T3" fmla="*/ 132 h 373"/>
                    <a:gd name="T4" fmla="*/ 72 w 571"/>
                    <a:gd name="T5" fmla="*/ 184 h 373"/>
                    <a:gd name="T6" fmla="*/ 72 w 571"/>
                    <a:gd name="T7" fmla="*/ 256 h 373"/>
                    <a:gd name="T8" fmla="*/ 0 w 571"/>
                    <a:gd name="T9" fmla="*/ 273 h 373"/>
                    <a:gd name="T10" fmla="*/ 0 w 571"/>
                    <a:gd name="T11" fmla="*/ 308 h 373"/>
                    <a:gd name="T12" fmla="*/ 32 w 571"/>
                    <a:gd name="T13" fmla="*/ 308 h 373"/>
                    <a:gd name="T14" fmla="*/ 32 w 571"/>
                    <a:gd name="T15" fmla="*/ 373 h 373"/>
                    <a:gd name="T16" fmla="*/ 199 w 571"/>
                    <a:gd name="T17" fmla="*/ 330 h 373"/>
                    <a:gd name="T18" fmla="*/ 199 w 571"/>
                    <a:gd name="T19" fmla="*/ 217 h 373"/>
                    <a:gd name="T20" fmla="*/ 571 w 571"/>
                    <a:gd name="T21" fmla="*/ 113 h 373"/>
                    <a:gd name="T22" fmla="*/ 571 w 571"/>
                    <a:gd name="T23" fmla="*/ 0 h 373"/>
                    <a:gd name="T24" fmla="*/ 219 w 571"/>
                    <a:gd name="T25" fmla="*/ 102 h 373"/>
                    <a:gd name="T26" fmla="*/ 179 w 571"/>
                    <a:gd name="T27" fmla="*/ 314 h 373"/>
                    <a:gd name="T28" fmla="*/ 92 w 571"/>
                    <a:gd name="T29" fmla="*/ 335 h 373"/>
                    <a:gd name="T30" fmla="*/ 92 w 571"/>
                    <a:gd name="T31" fmla="*/ 195 h 373"/>
                    <a:gd name="T32" fmla="*/ 179 w 571"/>
                    <a:gd name="T33" fmla="*/ 164 h 373"/>
                    <a:gd name="T34" fmla="*/ 179 w 571"/>
                    <a:gd name="T35" fmla="*/ 314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1" h="373">
                      <a:moveTo>
                        <a:pt x="219" y="102"/>
                      </a:moveTo>
                      <a:lnTo>
                        <a:pt x="219" y="132"/>
                      </a:lnTo>
                      <a:lnTo>
                        <a:pt x="72" y="184"/>
                      </a:lnTo>
                      <a:lnTo>
                        <a:pt x="72" y="256"/>
                      </a:lnTo>
                      <a:lnTo>
                        <a:pt x="0" y="273"/>
                      </a:lnTo>
                      <a:lnTo>
                        <a:pt x="0" y="308"/>
                      </a:lnTo>
                      <a:lnTo>
                        <a:pt x="32" y="308"/>
                      </a:lnTo>
                      <a:lnTo>
                        <a:pt x="32" y="373"/>
                      </a:lnTo>
                      <a:lnTo>
                        <a:pt x="199" y="330"/>
                      </a:lnTo>
                      <a:lnTo>
                        <a:pt x="199" y="217"/>
                      </a:lnTo>
                      <a:lnTo>
                        <a:pt x="571" y="113"/>
                      </a:lnTo>
                      <a:lnTo>
                        <a:pt x="571" y="0"/>
                      </a:lnTo>
                      <a:lnTo>
                        <a:pt x="219" y="102"/>
                      </a:lnTo>
                      <a:close/>
                      <a:moveTo>
                        <a:pt x="179" y="314"/>
                      </a:moveTo>
                      <a:lnTo>
                        <a:pt x="92" y="335"/>
                      </a:lnTo>
                      <a:lnTo>
                        <a:pt x="92" y="195"/>
                      </a:lnTo>
                      <a:lnTo>
                        <a:pt x="179" y="164"/>
                      </a:lnTo>
                      <a:lnTo>
                        <a:pt x="179" y="31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08"/>
                <p:cNvSpPr>
                  <a:spLocks noEditPoints="1"/>
                </p:cNvSpPr>
                <p:nvPr/>
              </p:nvSpPr>
              <p:spPr bwMode="auto">
                <a:xfrm>
                  <a:off x="-1273175" y="2244726"/>
                  <a:ext cx="596900" cy="1555750"/>
                </a:xfrm>
                <a:custGeom>
                  <a:avLst/>
                  <a:gdLst>
                    <a:gd name="T0" fmla="*/ 296 w 341"/>
                    <a:gd name="T1" fmla="*/ 336 h 889"/>
                    <a:gd name="T2" fmla="*/ 296 w 341"/>
                    <a:gd name="T3" fmla="*/ 285 h 889"/>
                    <a:gd name="T4" fmla="*/ 181 w 341"/>
                    <a:gd name="T5" fmla="*/ 178 h 889"/>
                    <a:gd name="T6" fmla="*/ 140 w 341"/>
                    <a:gd name="T7" fmla="*/ 182 h 889"/>
                    <a:gd name="T8" fmla="*/ 24 w 341"/>
                    <a:gd name="T9" fmla="*/ 0 h 889"/>
                    <a:gd name="T10" fmla="*/ 0 w 341"/>
                    <a:gd name="T11" fmla="*/ 38 h 889"/>
                    <a:gd name="T12" fmla="*/ 0 w 341"/>
                    <a:gd name="T13" fmla="*/ 889 h 889"/>
                    <a:gd name="T14" fmla="*/ 51 w 341"/>
                    <a:gd name="T15" fmla="*/ 872 h 889"/>
                    <a:gd name="T16" fmla="*/ 51 w 341"/>
                    <a:gd name="T17" fmla="*/ 206 h 889"/>
                    <a:gd name="T18" fmla="*/ 135 w 341"/>
                    <a:gd name="T19" fmla="*/ 186 h 889"/>
                    <a:gd name="T20" fmla="*/ 135 w 341"/>
                    <a:gd name="T21" fmla="*/ 194 h 889"/>
                    <a:gd name="T22" fmla="*/ 59 w 341"/>
                    <a:gd name="T23" fmla="*/ 212 h 889"/>
                    <a:gd name="T24" fmla="*/ 59 w 341"/>
                    <a:gd name="T25" fmla="*/ 872 h 889"/>
                    <a:gd name="T26" fmla="*/ 80 w 341"/>
                    <a:gd name="T27" fmla="*/ 874 h 889"/>
                    <a:gd name="T28" fmla="*/ 80 w 341"/>
                    <a:gd name="T29" fmla="*/ 232 h 889"/>
                    <a:gd name="T30" fmla="*/ 84 w 341"/>
                    <a:gd name="T31" fmla="*/ 232 h 889"/>
                    <a:gd name="T32" fmla="*/ 84 w 341"/>
                    <a:gd name="T33" fmla="*/ 874 h 889"/>
                    <a:gd name="T34" fmla="*/ 108 w 341"/>
                    <a:gd name="T35" fmla="*/ 876 h 889"/>
                    <a:gd name="T36" fmla="*/ 108 w 341"/>
                    <a:gd name="T37" fmla="*/ 228 h 889"/>
                    <a:gd name="T38" fmla="*/ 112 w 341"/>
                    <a:gd name="T39" fmla="*/ 228 h 889"/>
                    <a:gd name="T40" fmla="*/ 112 w 341"/>
                    <a:gd name="T41" fmla="*/ 877 h 889"/>
                    <a:gd name="T42" fmla="*/ 135 w 341"/>
                    <a:gd name="T43" fmla="*/ 878 h 889"/>
                    <a:gd name="T44" fmla="*/ 135 w 341"/>
                    <a:gd name="T45" fmla="*/ 224 h 889"/>
                    <a:gd name="T46" fmla="*/ 139 w 341"/>
                    <a:gd name="T47" fmla="*/ 224 h 889"/>
                    <a:gd name="T48" fmla="*/ 139 w 341"/>
                    <a:gd name="T49" fmla="*/ 879 h 889"/>
                    <a:gd name="T50" fmla="*/ 161 w 341"/>
                    <a:gd name="T51" fmla="*/ 881 h 889"/>
                    <a:gd name="T52" fmla="*/ 161 w 341"/>
                    <a:gd name="T53" fmla="*/ 220 h 889"/>
                    <a:gd name="T54" fmla="*/ 165 w 341"/>
                    <a:gd name="T55" fmla="*/ 220 h 889"/>
                    <a:gd name="T56" fmla="*/ 165 w 341"/>
                    <a:gd name="T57" fmla="*/ 881 h 889"/>
                    <a:gd name="T58" fmla="*/ 181 w 341"/>
                    <a:gd name="T59" fmla="*/ 882 h 889"/>
                    <a:gd name="T60" fmla="*/ 341 w 341"/>
                    <a:gd name="T61" fmla="*/ 869 h 889"/>
                    <a:gd name="T62" fmla="*/ 341 w 341"/>
                    <a:gd name="T63" fmla="*/ 378 h 889"/>
                    <a:gd name="T64" fmla="*/ 296 w 341"/>
                    <a:gd name="T65" fmla="*/ 336 h 889"/>
                    <a:gd name="T66" fmla="*/ 284 w 341"/>
                    <a:gd name="T67" fmla="*/ 305 h 889"/>
                    <a:gd name="T68" fmla="*/ 200 w 341"/>
                    <a:gd name="T69" fmla="*/ 227 h 889"/>
                    <a:gd name="T70" fmla="*/ 200 w 341"/>
                    <a:gd name="T71" fmla="*/ 864 h 889"/>
                    <a:gd name="T72" fmla="*/ 192 w 341"/>
                    <a:gd name="T73" fmla="*/ 864 h 889"/>
                    <a:gd name="T74" fmla="*/ 192 w 341"/>
                    <a:gd name="T75" fmla="*/ 209 h 889"/>
                    <a:gd name="T76" fmla="*/ 283 w 341"/>
                    <a:gd name="T77" fmla="*/ 294 h 889"/>
                    <a:gd name="T78" fmla="*/ 284 w 341"/>
                    <a:gd name="T79" fmla="*/ 305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1" h="889">
                      <a:moveTo>
                        <a:pt x="296" y="336"/>
                      </a:moveTo>
                      <a:cubicBezTo>
                        <a:pt x="296" y="285"/>
                        <a:pt x="296" y="285"/>
                        <a:pt x="296" y="285"/>
                      </a:cubicBezTo>
                      <a:cubicBezTo>
                        <a:pt x="181" y="178"/>
                        <a:pt x="181" y="178"/>
                        <a:pt x="181" y="178"/>
                      </a:cubicBezTo>
                      <a:cubicBezTo>
                        <a:pt x="140" y="182"/>
                        <a:pt x="140" y="182"/>
                        <a:pt x="140" y="182"/>
                      </a:cubicBezTo>
                      <a:cubicBezTo>
                        <a:pt x="157" y="56"/>
                        <a:pt x="24" y="0"/>
                        <a:pt x="24" y="0"/>
                      </a:cubicBezTo>
                      <a:cubicBezTo>
                        <a:pt x="0" y="38"/>
                        <a:pt x="0" y="38"/>
                        <a:pt x="0" y="38"/>
                      </a:cubicBezTo>
                      <a:cubicBezTo>
                        <a:pt x="0" y="889"/>
                        <a:pt x="0" y="889"/>
                        <a:pt x="0" y="889"/>
                      </a:cubicBezTo>
                      <a:cubicBezTo>
                        <a:pt x="51" y="872"/>
                        <a:pt x="51" y="872"/>
                        <a:pt x="51" y="872"/>
                      </a:cubicBezTo>
                      <a:cubicBezTo>
                        <a:pt x="51" y="206"/>
                        <a:pt x="51" y="206"/>
                        <a:pt x="51" y="206"/>
                      </a:cubicBezTo>
                      <a:cubicBezTo>
                        <a:pt x="135" y="186"/>
                        <a:pt x="135" y="186"/>
                        <a:pt x="135" y="186"/>
                      </a:cubicBezTo>
                      <a:cubicBezTo>
                        <a:pt x="135" y="194"/>
                        <a:pt x="135" y="194"/>
                        <a:pt x="135" y="194"/>
                      </a:cubicBezTo>
                      <a:cubicBezTo>
                        <a:pt x="59" y="212"/>
                        <a:pt x="59" y="212"/>
                        <a:pt x="59" y="212"/>
                      </a:cubicBezTo>
                      <a:cubicBezTo>
                        <a:pt x="59" y="872"/>
                        <a:pt x="59" y="872"/>
                        <a:pt x="59" y="872"/>
                      </a:cubicBezTo>
                      <a:cubicBezTo>
                        <a:pt x="80" y="874"/>
                        <a:pt x="80" y="874"/>
                        <a:pt x="80" y="874"/>
                      </a:cubicBezTo>
                      <a:cubicBezTo>
                        <a:pt x="80" y="232"/>
                        <a:pt x="80" y="232"/>
                        <a:pt x="80" y="232"/>
                      </a:cubicBezTo>
                      <a:cubicBezTo>
                        <a:pt x="84" y="232"/>
                        <a:pt x="84" y="232"/>
                        <a:pt x="84" y="232"/>
                      </a:cubicBezTo>
                      <a:cubicBezTo>
                        <a:pt x="84" y="874"/>
                        <a:pt x="84" y="874"/>
                        <a:pt x="84" y="874"/>
                      </a:cubicBezTo>
                      <a:cubicBezTo>
                        <a:pt x="108" y="876"/>
                        <a:pt x="108" y="876"/>
                        <a:pt x="108" y="876"/>
                      </a:cubicBezTo>
                      <a:cubicBezTo>
                        <a:pt x="108" y="228"/>
                        <a:pt x="108" y="228"/>
                        <a:pt x="108" y="228"/>
                      </a:cubicBezTo>
                      <a:cubicBezTo>
                        <a:pt x="112" y="228"/>
                        <a:pt x="112" y="228"/>
                        <a:pt x="112" y="228"/>
                      </a:cubicBezTo>
                      <a:cubicBezTo>
                        <a:pt x="112" y="877"/>
                        <a:pt x="112" y="877"/>
                        <a:pt x="112" y="877"/>
                      </a:cubicBezTo>
                      <a:cubicBezTo>
                        <a:pt x="135" y="878"/>
                        <a:pt x="135" y="878"/>
                        <a:pt x="135" y="878"/>
                      </a:cubicBezTo>
                      <a:cubicBezTo>
                        <a:pt x="135" y="224"/>
                        <a:pt x="135" y="224"/>
                        <a:pt x="135" y="224"/>
                      </a:cubicBezTo>
                      <a:cubicBezTo>
                        <a:pt x="139" y="224"/>
                        <a:pt x="139" y="224"/>
                        <a:pt x="139" y="224"/>
                      </a:cubicBezTo>
                      <a:cubicBezTo>
                        <a:pt x="139" y="879"/>
                        <a:pt x="139" y="879"/>
                        <a:pt x="139" y="879"/>
                      </a:cubicBezTo>
                      <a:cubicBezTo>
                        <a:pt x="161" y="881"/>
                        <a:pt x="161" y="881"/>
                        <a:pt x="161" y="881"/>
                      </a:cubicBezTo>
                      <a:cubicBezTo>
                        <a:pt x="161" y="220"/>
                        <a:pt x="161" y="220"/>
                        <a:pt x="161" y="220"/>
                      </a:cubicBezTo>
                      <a:cubicBezTo>
                        <a:pt x="165" y="220"/>
                        <a:pt x="165" y="220"/>
                        <a:pt x="165" y="220"/>
                      </a:cubicBezTo>
                      <a:cubicBezTo>
                        <a:pt x="165" y="881"/>
                        <a:pt x="165" y="881"/>
                        <a:pt x="165" y="881"/>
                      </a:cubicBezTo>
                      <a:cubicBezTo>
                        <a:pt x="181" y="882"/>
                        <a:pt x="181" y="882"/>
                        <a:pt x="181" y="882"/>
                      </a:cubicBezTo>
                      <a:cubicBezTo>
                        <a:pt x="341" y="869"/>
                        <a:pt x="341" y="869"/>
                        <a:pt x="341" y="869"/>
                      </a:cubicBezTo>
                      <a:cubicBezTo>
                        <a:pt x="341" y="378"/>
                        <a:pt x="341" y="378"/>
                        <a:pt x="341" y="378"/>
                      </a:cubicBezTo>
                      <a:lnTo>
                        <a:pt x="296" y="336"/>
                      </a:lnTo>
                      <a:close/>
                      <a:moveTo>
                        <a:pt x="284" y="305"/>
                      </a:moveTo>
                      <a:cubicBezTo>
                        <a:pt x="200" y="227"/>
                        <a:pt x="200" y="227"/>
                        <a:pt x="200" y="227"/>
                      </a:cubicBezTo>
                      <a:cubicBezTo>
                        <a:pt x="200" y="864"/>
                        <a:pt x="200" y="864"/>
                        <a:pt x="200" y="864"/>
                      </a:cubicBezTo>
                      <a:cubicBezTo>
                        <a:pt x="192" y="864"/>
                        <a:pt x="192" y="864"/>
                        <a:pt x="192" y="864"/>
                      </a:cubicBezTo>
                      <a:cubicBezTo>
                        <a:pt x="192" y="209"/>
                        <a:pt x="192" y="209"/>
                        <a:pt x="192" y="209"/>
                      </a:cubicBezTo>
                      <a:cubicBezTo>
                        <a:pt x="283" y="294"/>
                        <a:pt x="283" y="294"/>
                        <a:pt x="283" y="294"/>
                      </a:cubicBezTo>
                      <a:lnTo>
                        <a:pt x="284" y="30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2" name="Group 11"/>
            <p:cNvGrpSpPr/>
            <p:nvPr/>
          </p:nvGrpSpPr>
          <p:grpSpPr>
            <a:xfrm>
              <a:off x="3309365" y="1312215"/>
              <a:ext cx="2688336" cy="1737360"/>
              <a:chOff x="3309365" y="1312215"/>
              <a:chExt cx="2688336" cy="1737360"/>
            </a:xfrm>
          </p:grpSpPr>
          <p:sp>
            <p:nvSpPr>
              <p:cNvPr id="7" name="Rectangle 6"/>
              <p:cNvSpPr>
                <a:spLocks noChangeAspect="1"/>
              </p:cNvSpPr>
              <p:nvPr>
                <p:custDataLst>
                  <p:tags r:id="rId2"/>
                </p:custDataLst>
              </p:nvPr>
            </p:nvSpPr>
            <p:spPr bwMode="auto">
              <a:xfrm>
                <a:off x="3309365" y="1312215"/>
                <a:ext cx="2688336" cy="1737360"/>
              </a:xfrm>
              <a:prstGeom prst="rect">
                <a:avLst/>
              </a:prstGeom>
              <a:solidFill>
                <a:srgbClr val="FF8B00"/>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60947" rIns="121893" bIns="60947" numCol="1" rtlCol="0" anchor="b" anchorCtr="0" compatLnSpc="1">
                <a:prstTxWarp prst="textNoShape">
                  <a:avLst/>
                </a:prstTxWarp>
                <a:noAutofit/>
              </a:bodyPr>
              <a:lstStyle/>
              <a:p>
                <a:pPr algn="ctr" defTabSz="914083" fontAlgn="base">
                  <a:lnSpc>
                    <a:spcPct val="90000"/>
                  </a:lnSpc>
                  <a:spcBef>
                    <a:spcPts val="630"/>
                  </a:spcBef>
                  <a:spcAft>
                    <a:spcPct val="0"/>
                  </a:spcAft>
                  <a:buClr>
                    <a:srgbClr val="FFFF99"/>
                  </a:buClr>
                  <a:buSzPct val="120000"/>
                </a:pPr>
                <a:r>
                  <a:rPr lang="en-US" dirty="0" smtClean="0">
                    <a:ln>
                      <a:solidFill>
                        <a:srgbClr val="FFFFFF">
                          <a:alpha val="0"/>
                        </a:srgbClr>
                      </a:solidFill>
                    </a:ln>
                    <a:solidFill>
                      <a:srgbClr val="FFFFFF">
                        <a:alpha val="99000"/>
                      </a:srgbClr>
                    </a:solidFill>
                    <a:cs typeface="Segoe UI" pitchFamily="34" charset="0"/>
                  </a:rPr>
                  <a:t>            </a:t>
                </a:r>
              </a:p>
              <a:p>
                <a:pPr defTabSz="914023" fontAlgn="base">
                  <a:spcBef>
                    <a:spcPct val="0"/>
                  </a:spcBef>
                  <a:spcAft>
                    <a:spcPct val="0"/>
                  </a:spcAft>
                  <a:defRPr/>
                </a:pPr>
                <a:r>
                  <a:rPr lang="en-US" sz="2000" kern="0" dirty="0">
                    <a:solidFill>
                      <a:srgbClr val="FFFFFF">
                        <a:alpha val="99000"/>
                      </a:srgbClr>
                    </a:solidFill>
                  </a:rPr>
                  <a:t>Multi-Targeting</a:t>
                </a:r>
                <a:endParaRPr lang="en-US" sz="2000" kern="0" dirty="0">
                  <a:solidFill>
                    <a:srgbClr val="FFFFFF">
                      <a:alpha val="99000"/>
                    </a:srgbClr>
                  </a:solidFill>
                </a:endParaRPr>
              </a:p>
            </p:txBody>
          </p:sp>
          <p:sp>
            <p:nvSpPr>
              <p:cNvPr id="83" name="Freeform 22"/>
              <p:cNvSpPr>
                <a:spLocks noEditPoints="1"/>
              </p:cNvSpPr>
              <p:nvPr/>
            </p:nvSpPr>
            <p:spPr bwMode="black">
              <a:xfrm>
                <a:off x="3427412" y="1447800"/>
                <a:ext cx="685800" cy="733094"/>
              </a:xfrm>
              <a:custGeom>
                <a:avLst/>
                <a:gdLst>
                  <a:gd name="T0" fmla="*/ 300 w 300"/>
                  <a:gd name="T1" fmla="*/ 141 h 300"/>
                  <a:gd name="T2" fmla="*/ 285 w 300"/>
                  <a:gd name="T3" fmla="*/ 141 h 300"/>
                  <a:gd name="T4" fmla="*/ 159 w 300"/>
                  <a:gd name="T5" fmla="*/ 15 h 300"/>
                  <a:gd name="T6" fmla="*/ 159 w 300"/>
                  <a:gd name="T7" fmla="*/ 0 h 300"/>
                  <a:gd name="T8" fmla="*/ 141 w 300"/>
                  <a:gd name="T9" fmla="*/ 0 h 300"/>
                  <a:gd name="T10" fmla="*/ 141 w 300"/>
                  <a:gd name="T11" fmla="*/ 15 h 300"/>
                  <a:gd name="T12" fmla="*/ 15 w 300"/>
                  <a:gd name="T13" fmla="*/ 141 h 300"/>
                  <a:gd name="T14" fmla="*/ 0 w 300"/>
                  <a:gd name="T15" fmla="*/ 141 h 300"/>
                  <a:gd name="T16" fmla="*/ 0 w 300"/>
                  <a:gd name="T17" fmla="*/ 159 h 300"/>
                  <a:gd name="T18" fmla="*/ 15 w 300"/>
                  <a:gd name="T19" fmla="*/ 159 h 300"/>
                  <a:gd name="T20" fmla="*/ 141 w 300"/>
                  <a:gd name="T21" fmla="*/ 285 h 300"/>
                  <a:gd name="T22" fmla="*/ 141 w 300"/>
                  <a:gd name="T23" fmla="*/ 300 h 300"/>
                  <a:gd name="T24" fmla="*/ 159 w 300"/>
                  <a:gd name="T25" fmla="*/ 300 h 300"/>
                  <a:gd name="T26" fmla="*/ 159 w 300"/>
                  <a:gd name="T27" fmla="*/ 285 h 300"/>
                  <a:gd name="T28" fmla="*/ 285 w 300"/>
                  <a:gd name="T29" fmla="*/ 159 h 300"/>
                  <a:gd name="T30" fmla="*/ 300 w 300"/>
                  <a:gd name="T31" fmla="*/ 159 h 300"/>
                  <a:gd name="T32" fmla="*/ 300 w 300"/>
                  <a:gd name="T33" fmla="*/ 141 h 300"/>
                  <a:gd name="T34" fmla="*/ 258 w 300"/>
                  <a:gd name="T35" fmla="*/ 141 h 300"/>
                  <a:gd name="T36" fmla="*/ 230 w 300"/>
                  <a:gd name="T37" fmla="*/ 141 h 300"/>
                  <a:gd name="T38" fmla="*/ 159 w 300"/>
                  <a:gd name="T39" fmla="*/ 70 h 300"/>
                  <a:gd name="T40" fmla="*/ 159 w 300"/>
                  <a:gd name="T41" fmla="*/ 42 h 300"/>
                  <a:gd name="T42" fmla="*/ 258 w 300"/>
                  <a:gd name="T43" fmla="*/ 141 h 300"/>
                  <a:gd name="T44" fmla="*/ 141 w 300"/>
                  <a:gd name="T45" fmla="*/ 125 h 300"/>
                  <a:gd name="T46" fmla="*/ 125 w 300"/>
                  <a:gd name="T47" fmla="*/ 141 h 300"/>
                  <a:gd name="T48" fmla="*/ 97 w 300"/>
                  <a:gd name="T49" fmla="*/ 141 h 300"/>
                  <a:gd name="T50" fmla="*/ 141 w 300"/>
                  <a:gd name="T51" fmla="*/ 97 h 300"/>
                  <a:gd name="T52" fmla="*/ 141 w 300"/>
                  <a:gd name="T53" fmla="*/ 125 h 300"/>
                  <a:gd name="T54" fmla="*/ 125 w 300"/>
                  <a:gd name="T55" fmla="*/ 159 h 300"/>
                  <a:gd name="T56" fmla="*/ 141 w 300"/>
                  <a:gd name="T57" fmla="*/ 175 h 300"/>
                  <a:gd name="T58" fmla="*/ 141 w 300"/>
                  <a:gd name="T59" fmla="*/ 203 h 300"/>
                  <a:gd name="T60" fmla="*/ 97 w 300"/>
                  <a:gd name="T61" fmla="*/ 159 h 300"/>
                  <a:gd name="T62" fmla="*/ 125 w 300"/>
                  <a:gd name="T63" fmla="*/ 159 h 300"/>
                  <a:gd name="T64" fmla="*/ 159 w 300"/>
                  <a:gd name="T65" fmla="*/ 175 h 300"/>
                  <a:gd name="T66" fmla="*/ 175 w 300"/>
                  <a:gd name="T67" fmla="*/ 159 h 300"/>
                  <a:gd name="T68" fmla="*/ 203 w 300"/>
                  <a:gd name="T69" fmla="*/ 159 h 300"/>
                  <a:gd name="T70" fmla="*/ 159 w 300"/>
                  <a:gd name="T71" fmla="*/ 203 h 300"/>
                  <a:gd name="T72" fmla="*/ 159 w 300"/>
                  <a:gd name="T73" fmla="*/ 175 h 300"/>
                  <a:gd name="T74" fmla="*/ 175 w 300"/>
                  <a:gd name="T75" fmla="*/ 141 h 300"/>
                  <a:gd name="T76" fmla="*/ 159 w 300"/>
                  <a:gd name="T77" fmla="*/ 125 h 300"/>
                  <a:gd name="T78" fmla="*/ 159 w 300"/>
                  <a:gd name="T79" fmla="*/ 97 h 300"/>
                  <a:gd name="T80" fmla="*/ 203 w 300"/>
                  <a:gd name="T81" fmla="*/ 141 h 300"/>
                  <a:gd name="T82" fmla="*/ 175 w 300"/>
                  <a:gd name="T83" fmla="*/ 141 h 300"/>
                  <a:gd name="T84" fmla="*/ 141 w 300"/>
                  <a:gd name="T85" fmla="*/ 42 h 300"/>
                  <a:gd name="T86" fmla="*/ 141 w 300"/>
                  <a:gd name="T87" fmla="*/ 70 h 300"/>
                  <a:gd name="T88" fmla="*/ 70 w 300"/>
                  <a:gd name="T89" fmla="*/ 141 h 300"/>
                  <a:gd name="T90" fmla="*/ 42 w 300"/>
                  <a:gd name="T91" fmla="*/ 141 h 300"/>
                  <a:gd name="T92" fmla="*/ 141 w 300"/>
                  <a:gd name="T93" fmla="*/ 42 h 300"/>
                  <a:gd name="T94" fmla="*/ 42 w 300"/>
                  <a:gd name="T95" fmla="*/ 159 h 300"/>
                  <a:gd name="T96" fmla="*/ 70 w 300"/>
                  <a:gd name="T97" fmla="*/ 159 h 300"/>
                  <a:gd name="T98" fmla="*/ 141 w 300"/>
                  <a:gd name="T99" fmla="*/ 230 h 300"/>
                  <a:gd name="T100" fmla="*/ 141 w 300"/>
                  <a:gd name="T101" fmla="*/ 258 h 300"/>
                  <a:gd name="T102" fmla="*/ 42 w 300"/>
                  <a:gd name="T103" fmla="*/ 159 h 300"/>
                  <a:gd name="T104" fmla="*/ 159 w 300"/>
                  <a:gd name="T105" fmla="*/ 258 h 300"/>
                  <a:gd name="T106" fmla="*/ 159 w 300"/>
                  <a:gd name="T107" fmla="*/ 230 h 300"/>
                  <a:gd name="T108" fmla="*/ 230 w 300"/>
                  <a:gd name="T109" fmla="*/ 159 h 300"/>
                  <a:gd name="T110" fmla="*/ 258 w 300"/>
                  <a:gd name="T111" fmla="*/ 159 h 300"/>
                  <a:gd name="T112" fmla="*/ 159 w 300"/>
                  <a:gd name="T113" fmla="*/ 25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0" h="300">
                    <a:moveTo>
                      <a:pt x="300" y="141"/>
                    </a:moveTo>
                    <a:cubicBezTo>
                      <a:pt x="285" y="141"/>
                      <a:pt x="285" y="141"/>
                      <a:pt x="285" y="141"/>
                    </a:cubicBezTo>
                    <a:cubicBezTo>
                      <a:pt x="280" y="74"/>
                      <a:pt x="226" y="20"/>
                      <a:pt x="159" y="15"/>
                    </a:cubicBezTo>
                    <a:cubicBezTo>
                      <a:pt x="159" y="0"/>
                      <a:pt x="159" y="0"/>
                      <a:pt x="159" y="0"/>
                    </a:cubicBezTo>
                    <a:cubicBezTo>
                      <a:pt x="141" y="0"/>
                      <a:pt x="141" y="0"/>
                      <a:pt x="141" y="0"/>
                    </a:cubicBezTo>
                    <a:cubicBezTo>
                      <a:pt x="141" y="15"/>
                      <a:pt x="141" y="15"/>
                      <a:pt x="141" y="15"/>
                    </a:cubicBezTo>
                    <a:cubicBezTo>
                      <a:pt x="74" y="20"/>
                      <a:pt x="20" y="74"/>
                      <a:pt x="15" y="141"/>
                    </a:cubicBezTo>
                    <a:cubicBezTo>
                      <a:pt x="0" y="141"/>
                      <a:pt x="0" y="141"/>
                      <a:pt x="0" y="141"/>
                    </a:cubicBezTo>
                    <a:cubicBezTo>
                      <a:pt x="0" y="159"/>
                      <a:pt x="0" y="159"/>
                      <a:pt x="0" y="159"/>
                    </a:cubicBezTo>
                    <a:cubicBezTo>
                      <a:pt x="15" y="159"/>
                      <a:pt x="15" y="159"/>
                      <a:pt x="15" y="159"/>
                    </a:cubicBezTo>
                    <a:cubicBezTo>
                      <a:pt x="20" y="226"/>
                      <a:pt x="74" y="280"/>
                      <a:pt x="141" y="285"/>
                    </a:cubicBezTo>
                    <a:cubicBezTo>
                      <a:pt x="141" y="300"/>
                      <a:pt x="141" y="300"/>
                      <a:pt x="141" y="300"/>
                    </a:cubicBezTo>
                    <a:cubicBezTo>
                      <a:pt x="159" y="300"/>
                      <a:pt x="159" y="300"/>
                      <a:pt x="159" y="300"/>
                    </a:cubicBezTo>
                    <a:cubicBezTo>
                      <a:pt x="159" y="285"/>
                      <a:pt x="159" y="285"/>
                      <a:pt x="159" y="285"/>
                    </a:cubicBezTo>
                    <a:cubicBezTo>
                      <a:pt x="226" y="280"/>
                      <a:pt x="280" y="226"/>
                      <a:pt x="285" y="159"/>
                    </a:cubicBezTo>
                    <a:cubicBezTo>
                      <a:pt x="300" y="159"/>
                      <a:pt x="300" y="159"/>
                      <a:pt x="300" y="159"/>
                    </a:cubicBezTo>
                    <a:lnTo>
                      <a:pt x="300" y="141"/>
                    </a:lnTo>
                    <a:close/>
                    <a:moveTo>
                      <a:pt x="258" y="141"/>
                    </a:moveTo>
                    <a:cubicBezTo>
                      <a:pt x="230" y="141"/>
                      <a:pt x="230" y="141"/>
                      <a:pt x="230" y="141"/>
                    </a:cubicBezTo>
                    <a:cubicBezTo>
                      <a:pt x="226" y="103"/>
                      <a:pt x="197" y="74"/>
                      <a:pt x="159" y="70"/>
                    </a:cubicBezTo>
                    <a:cubicBezTo>
                      <a:pt x="159" y="42"/>
                      <a:pt x="159" y="42"/>
                      <a:pt x="159" y="42"/>
                    </a:cubicBezTo>
                    <a:cubicBezTo>
                      <a:pt x="211" y="47"/>
                      <a:pt x="253" y="89"/>
                      <a:pt x="258" y="141"/>
                    </a:cubicBezTo>
                    <a:close/>
                    <a:moveTo>
                      <a:pt x="141" y="125"/>
                    </a:moveTo>
                    <a:cubicBezTo>
                      <a:pt x="133" y="127"/>
                      <a:pt x="127" y="133"/>
                      <a:pt x="125" y="141"/>
                    </a:cubicBezTo>
                    <a:cubicBezTo>
                      <a:pt x="97" y="141"/>
                      <a:pt x="97" y="141"/>
                      <a:pt x="97" y="141"/>
                    </a:cubicBezTo>
                    <a:cubicBezTo>
                      <a:pt x="101" y="118"/>
                      <a:pt x="118" y="101"/>
                      <a:pt x="141" y="97"/>
                    </a:cubicBezTo>
                    <a:lnTo>
                      <a:pt x="141" y="125"/>
                    </a:lnTo>
                    <a:close/>
                    <a:moveTo>
                      <a:pt x="125" y="159"/>
                    </a:moveTo>
                    <a:cubicBezTo>
                      <a:pt x="127" y="167"/>
                      <a:pt x="133" y="173"/>
                      <a:pt x="141" y="175"/>
                    </a:cubicBezTo>
                    <a:cubicBezTo>
                      <a:pt x="141" y="203"/>
                      <a:pt x="141" y="203"/>
                      <a:pt x="141" y="203"/>
                    </a:cubicBezTo>
                    <a:cubicBezTo>
                      <a:pt x="118" y="199"/>
                      <a:pt x="101" y="182"/>
                      <a:pt x="97" y="159"/>
                    </a:cubicBezTo>
                    <a:lnTo>
                      <a:pt x="125" y="159"/>
                    </a:lnTo>
                    <a:close/>
                    <a:moveTo>
                      <a:pt x="159" y="175"/>
                    </a:moveTo>
                    <a:cubicBezTo>
                      <a:pt x="167" y="173"/>
                      <a:pt x="173" y="167"/>
                      <a:pt x="175" y="159"/>
                    </a:cubicBezTo>
                    <a:cubicBezTo>
                      <a:pt x="203" y="159"/>
                      <a:pt x="203" y="159"/>
                      <a:pt x="203" y="159"/>
                    </a:cubicBezTo>
                    <a:cubicBezTo>
                      <a:pt x="199" y="182"/>
                      <a:pt x="182" y="199"/>
                      <a:pt x="159" y="203"/>
                    </a:cubicBezTo>
                    <a:lnTo>
                      <a:pt x="159" y="175"/>
                    </a:lnTo>
                    <a:close/>
                    <a:moveTo>
                      <a:pt x="175" y="141"/>
                    </a:moveTo>
                    <a:cubicBezTo>
                      <a:pt x="173" y="133"/>
                      <a:pt x="167" y="127"/>
                      <a:pt x="159" y="125"/>
                    </a:cubicBezTo>
                    <a:cubicBezTo>
                      <a:pt x="159" y="97"/>
                      <a:pt x="159" y="97"/>
                      <a:pt x="159" y="97"/>
                    </a:cubicBezTo>
                    <a:cubicBezTo>
                      <a:pt x="182" y="101"/>
                      <a:pt x="199" y="118"/>
                      <a:pt x="203" y="141"/>
                    </a:cubicBezTo>
                    <a:lnTo>
                      <a:pt x="175" y="141"/>
                    </a:lnTo>
                    <a:close/>
                    <a:moveTo>
                      <a:pt x="141" y="42"/>
                    </a:moveTo>
                    <a:cubicBezTo>
                      <a:pt x="141" y="70"/>
                      <a:pt x="141" y="70"/>
                      <a:pt x="141" y="70"/>
                    </a:cubicBezTo>
                    <a:cubicBezTo>
                      <a:pt x="103" y="74"/>
                      <a:pt x="74" y="103"/>
                      <a:pt x="70" y="141"/>
                    </a:cubicBezTo>
                    <a:cubicBezTo>
                      <a:pt x="42" y="141"/>
                      <a:pt x="42" y="141"/>
                      <a:pt x="42" y="141"/>
                    </a:cubicBezTo>
                    <a:cubicBezTo>
                      <a:pt x="47" y="89"/>
                      <a:pt x="89" y="47"/>
                      <a:pt x="141" y="42"/>
                    </a:cubicBezTo>
                    <a:close/>
                    <a:moveTo>
                      <a:pt x="42" y="159"/>
                    </a:moveTo>
                    <a:cubicBezTo>
                      <a:pt x="70" y="159"/>
                      <a:pt x="70" y="159"/>
                      <a:pt x="70" y="159"/>
                    </a:cubicBezTo>
                    <a:cubicBezTo>
                      <a:pt x="74" y="197"/>
                      <a:pt x="103" y="226"/>
                      <a:pt x="141" y="230"/>
                    </a:cubicBezTo>
                    <a:cubicBezTo>
                      <a:pt x="141" y="258"/>
                      <a:pt x="141" y="258"/>
                      <a:pt x="141" y="258"/>
                    </a:cubicBezTo>
                    <a:cubicBezTo>
                      <a:pt x="89" y="253"/>
                      <a:pt x="47" y="211"/>
                      <a:pt x="42" y="159"/>
                    </a:cubicBezTo>
                    <a:close/>
                    <a:moveTo>
                      <a:pt x="159" y="258"/>
                    </a:moveTo>
                    <a:cubicBezTo>
                      <a:pt x="159" y="230"/>
                      <a:pt x="159" y="230"/>
                      <a:pt x="159" y="230"/>
                    </a:cubicBezTo>
                    <a:cubicBezTo>
                      <a:pt x="197" y="226"/>
                      <a:pt x="226" y="197"/>
                      <a:pt x="230" y="159"/>
                    </a:cubicBezTo>
                    <a:cubicBezTo>
                      <a:pt x="258" y="159"/>
                      <a:pt x="258" y="159"/>
                      <a:pt x="258" y="159"/>
                    </a:cubicBezTo>
                    <a:cubicBezTo>
                      <a:pt x="253" y="211"/>
                      <a:pt x="211" y="253"/>
                      <a:pt x="159" y="2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200"/>
              </a:p>
            </p:txBody>
          </p:sp>
        </p:grpSp>
        <p:grpSp>
          <p:nvGrpSpPr>
            <p:cNvPr id="5" name="Group 4"/>
            <p:cNvGrpSpPr/>
            <p:nvPr/>
          </p:nvGrpSpPr>
          <p:grpSpPr>
            <a:xfrm>
              <a:off x="9065196" y="1312215"/>
              <a:ext cx="2688336" cy="1737359"/>
              <a:chOff x="6264422" y="1315329"/>
              <a:chExt cx="2678656" cy="1725473"/>
            </a:xfrm>
          </p:grpSpPr>
          <p:sp>
            <p:nvSpPr>
              <p:cNvPr id="8" name="Rectangle 7"/>
              <p:cNvSpPr>
                <a:spLocks noChangeAspect="1"/>
              </p:cNvSpPr>
              <p:nvPr>
                <p:custDataLst>
                  <p:tags r:id="rId1"/>
                </p:custDataLst>
              </p:nvPr>
            </p:nvSpPr>
            <p:spPr bwMode="auto">
              <a:xfrm>
                <a:off x="6264422" y="1315329"/>
                <a:ext cx="2678656" cy="1725473"/>
              </a:xfrm>
              <a:prstGeom prst="rect">
                <a:avLst/>
              </a:prstGeom>
              <a:solidFill>
                <a:srgbClr val="FF8B00"/>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60947" rIns="121893" bIns="60947" numCol="1" rtlCol="0" anchor="b" anchorCtr="0" compatLnSpc="1">
                <a:prstTxWarp prst="textNoShape">
                  <a:avLst/>
                </a:prstTxWarp>
                <a:noAutofit/>
              </a:bodyPr>
              <a:lstStyle/>
              <a:p>
                <a:pPr algn="ctr" defTabSz="914083" fontAlgn="base">
                  <a:lnSpc>
                    <a:spcPct val="90000"/>
                  </a:lnSpc>
                  <a:spcBef>
                    <a:spcPts val="630"/>
                  </a:spcBef>
                  <a:spcAft>
                    <a:spcPct val="0"/>
                  </a:spcAft>
                  <a:buClr>
                    <a:srgbClr val="FFFF99"/>
                  </a:buClr>
                  <a:buSzPct val="120000"/>
                </a:pPr>
                <a:endParaRPr lang="en-US" dirty="0" smtClean="0">
                  <a:ln>
                    <a:solidFill>
                      <a:srgbClr val="FFFFFF">
                        <a:alpha val="0"/>
                      </a:srgbClr>
                    </a:solidFill>
                  </a:ln>
                  <a:solidFill>
                    <a:srgbClr val="FFFFFF">
                      <a:alpha val="99000"/>
                    </a:srgbClr>
                  </a:solidFill>
                  <a:cs typeface="Segoe UI" pitchFamily="34" charset="0"/>
                </a:endParaRPr>
              </a:p>
              <a:p>
                <a:pPr defTabSz="914023" fontAlgn="base">
                  <a:spcBef>
                    <a:spcPct val="0"/>
                  </a:spcBef>
                  <a:spcAft>
                    <a:spcPct val="0"/>
                  </a:spcAft>
                  <a:defRPr/>
                </a:pPr>
                <a:r>
                  <a:rPr lang="en-US" sz="2000" kern="0" dirty="0">
                    <a:solidFill>
                      <a:srgbClr val="FFFFFF">
                        <a:alpha val="99000"/>
                      </a:srgbClr>
                    </a:solidFill>
                  </a:rPr>
                  <a:t>DAC</a:t>
                </a:r>
                <a:endParaRPr lang="en-US" sz="2000" kern="0" dirty="0">
                  <a:solidFill>
                    <a:srgbClr val="FFFFFF">
                      <a:alpha val="99000"/>
                    </a:srgbClr>
                  </a:solidFill>
                </a:endParaRPr>
              </a:p>
            </p:txBody>
          </p:sp>
          <p:grpSp>
            <p:nvGrpSpPr>
              <p:cNvPr id="101" name="Group 100"/>
              <p:cNvGrpSpPr>
                <a:grpSpLocks noChangeAspect="1"/>
              </p:cNvGrpSpPr>
              <p:nvPr/>
            </p:nvGrpSpPr>
            <p:grpSpPr>
              <a:xfrm>
                <a:off x="7225894" y="1638148"/>
                <a:ext cx="59636" cy="184077"/>
                <a:chOff x="-1616075" y="2730500"/>
                <a:chExt cx="258763" cy="798512"/>
              </a:xfrm>
              <a:solidFill>
                <a:schemeClr val="bg1"/>
              </a:solidFill>
            </p:grpSpPr>
            <p:sp>
              <p:nvSpPr>
                <p:cNvPr id="139" name="Freeform 73"/>
                <p:cNvSpPr>
                  <a:spLocks/>
                </p:cNvSpPr>
                <p:nvPr/>
              </p:nvSpPr>
              <p:spPr bwMode="auto">
                <a:xfrm>
                  <a:off x="-1495425" y="2730500"/>
                  <a:ext cx="138113" cy="52387"/>
                </a:xfrm>
                <a:custGeom>
                  <a:avLst/>
                  <a:gdLst>
                    <a:gd name="T0" fmla="*/ 35 w 37"/>
                    <a:gd name="T1" fmla="*/ 14 h 14"/>
                    <a:gd name="T2" fmla="*/ 37 w 37"/>
                    <a:gd name="T3" fmla="*/ 12 h 14"/>
                    <a:gd name="T4" fmla="*/ 36 w 37"/>
                    <a:gd name="T5" fmla="*/ 9 h 14"/>
                    <a:gd name="T6" fmla="*/ 29 w 37"/>
                    <a:gd name="T7" fmla="*/ 1 h 14"/>
                    <a:gd name="T8" fmla="*/ 27 w 37"/>
                    <a:gd name="T9" fmla="*/ 0 h 14"/>
                    <a:gd name="T10" fmla="*/ 27 w 37"/>
                    <a:gd name="T11" fmla="*/ 0 h 14"/>
                    <a:gd name="T12" fmla="*/ 27 w 37"/>
                    <a:gd name="T13" fmla="*/ 0 h 14"/>
                    <a:gd name="T14" fmla="*/ 26 w 37"/>
                    <a:gd name="T15" fmla="*/ 0 h 14"/>
                    <a:gd name="T16" fmla="*/ 26 w 37"/>
                    <a:gd name="T17" fmla="*/ 0 h 14"/>
                    <a:gd name="T18" fmla="*/ 25 w 37"/>
                    <a:gd name="T19" fmla="*/ 0 h 14"/>
                    <a:gd name="T20" fmla="*/ 25 w 37"/>
                    <a:gd name="T21" fmla="*/ 0 h 14"/>
                    <a:gd name="T22" fmla="*/ 25 w 37"/>
                    <a:gd name="T23" fmla="*/ 0 h 14"/>
                    <a:gd name="T24" fmla="*/ 25 w 37"/>
                    <a:gd name="T25" fmla="*/ 0 h 14"/>
                    <a:gd name="T26" fmla="*/ 24 w 37"/>
                    <a:gd name="T27" fmla="*/ 0 h 14"/>
                    <a:gd name="T28" fmla="*/ 24 w 37"/>
                    <a:gd name="T29" fmla="*/ 0 h 14"/>
                    <a:gd name="T30" fmla="*/ 23 w 37"/>
                    <a:gd name="T31" fmla="*/ 0 h 14"/>
                    <a:gd name="T32" fmla="*/ 23 w 37"/>
                    <a:gd name="T33" fmla="*/ 0 h 14"/>
                    <a:gd name="T34" fmla="*/ 0 w 37"/>
                    <a:gd name="T35" fmla="*/ 9 h 14"/>
                    <a:gd name="T36" fmla="*/ 35 w 37"/>
                    <a:gd name="T3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14">
                      <a:moveTo>
                        <a:pt x="35" y="14"/>
                      </a:moveTo>
                      <a:cubicBezTo>
                        <a:pt x="37" y="14"/>
                        <a:pt x="37" y="13"/>
                        <a:pt x="37" y="12"/>
                      </a:cubicBezTo>
                      <a:cubicBezTo>
                        <a:pt x="37" y="11"/>
                        <a:pt x="36" y="10"/>
                        <a:pt x="36" y="9"/>
                      </a:cubicBezTo>
                      <a:cubicBezTo>
                        <a:pt x="33" y="6"/>
                        <a:pt x="31" y="4"/>
                        <a:pt x="29" y="1"/>
                      </a:cubicBezTo>
                      <a:cubicBezTo>
                        <a:pt x="27" y="0"/>
                        <a:pt x="27" y="0"/>
                        <a:pt x="27" y="0"/>
                      </a:cubicBezTo>
                      <a:cubicBezTo>
                        <a:pt x="27" y="0"/>
                        <a:pt x="27" y="0"/>
                        <a:pt x="27" y="0"/>
                      </a:cubicBezTo>
                      <a:cubicBezTo>
                        <a:pt x="27" y="0"/>
                        <a:pt x="27" y="0"/>
                        <a:pt x="27" y="0"/>
                      </a:cubicBezTo>
                      <a:cubicBezTo>
                        <a:pt x="27" y="0"/>
                        <a:pt x="26" y="0"/>
                        <a:pt x="26" y="0"/>
                      </a:cubicBezTo>
                      <a:cubicBezTo>
                        <a:pt x="26" y="0"/>
                        <a:pt x="26" y="0"/>
                        <a:pt x="26" y="0"/>
                      </a:cubicBezTo>
                      <a:cubicBezTo>
                        <a:pt x="26" y="0"/>
                        <a:pt x="26" y="0"/>
                        <a:pt x="25" y="0"/>
                      </a:cubicBezTo>
                      <a:cubicBezTo>
                        <a:pt x="25" y="0"/>
                        <a:pt x="25" y="0"/>
                        <a:pt x="25" y="0"/>
                      </a:cubicBezTo>
                      <a:cubicBezTo>
                        <a:pt x="25" y="0"/>
                        <a:pt x="25" y="0"/>
                        <a:pt x="25" y="0"/>
                      </a:cubicBezTo>
                      <a:cubicBezTo>
                        <a:pt x="25" y="0"/>
                        <a:pt x="25" y="0"/>
                        <a:pt x="25" y="0"/>
                      </a:cubicBezTo>
                      <a:cubicBezTo>
                        <a:pt x="25" y="0"/>
                        <a:pt x="25" y="0"/>
                        <a:pt x="24" y="0"/>
                      </a:cubicBezTo>
                      <a:cubicBezTo>
                        <a:pt x="24" y="0"/>
                        <a:pt x="24" y="0"/>
                        <a:pt x="24" y="0"/>
                      </a:cubicBezTo>
                      <a:cubicBezTo>
                        <a:pt x="23" y="0"/>
                        <a:pt x="23" y="0"/>
                        <a:pt x="23" y="0"/>
                      </a:cubicBezTo>
                      <a:cubicBezTo>
                        <a:pt x="23" y="0"/>
                        <a:pt x="23" y="0"/>
                        <a:pt x="23" y="0"/>
                      </a:cubicBezTo>
                      <a:cubicBezTo>
                        <a:pt x="0" y="9"/>
                        <a:pt x="0" y="9"/>
                        <a:pt x="0" y="9"/>
                      </a:cubicBezTo>
                      <a:lnTo>
                        <a:pt x="35"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74"/>
                <p:cNvSpPr>
                  <a:spLocks/>
                </p:cNvSpPr>
                <p:nvPr/>
              </p:nvSpPr>
              <p:spPr bwMode="auto">
                <a:xfrm>
                  <a:off x="-1616075" y="3479800"/>
                  <a:ext cx="104775" cy="49212"/>
                </a:xfrm>
                <a:custGeom>
                  <a:avLst/>
                  <a:gdLst>
                    <a:gd name="T0" fmla="*/ 0 w 28"/>
                    <a:gd name="T1" fmla="*/ 10 h 13"/>
                    <a:gd name="T2" fmla="*/ 0 w 28"/>
                    <a:gd name="T3" fmla="*/ 13 h 13"/>
                    <a:gd name="T4" fmla="*/ 28 w 28"/>
                    <a:gd name="T5" fmla="*/ 4 h 13"/>
                    <a:gd name="T6" fmla="*/ 28 w 28"/>
                    <a:gd name="T7" fmla="*/ 0 h 13"/>
                    <a:gd name="T8" fmla="*/ 0 w 28"/>
                    <a:gd name="T9" fmla="*/ 9 h 13"/>
                    <a:gd name="T10" fmla="*/ 0 w 28"/>
                    <a:gd name="T11" fmla="*/ 10 h 13"/>
                  </a:gdLst>
                  <a:ahLst/>
                  <a:cxnLst>
                    <a:cxn ang="0">
                      <a:pos x="T0" y="T1"/>
                    </a:cxn>
                    <a:cxn ang="0">
                      <a:pos x="T2" y="T3"/>
                    </a:cxn>
                    <a:cxn ang="0">
                      <a:pos x="T4" y="T5"/>
                    </a:cxn>
                    <a:cxn ang="0">
                      <a:pos x="T6" y="T7"/>
                    </a:cxn>
                    <a:cxn ang="0">
                      <a:pos x="T8" y="T9"/>
                    </a:cxn>
                    <a:cxn ang="0">
                      <a:pos x="T10" y="T11"/>
                    </a:cxn>
                  </a:cxnLst>
                  <a:rect l="0" t="0" r="r" b="b"/>
                  <a:pathLst>
                    <a:path w="28" h="13">
                      <a:moveTo>
                        <a:pt x="0" y="10"/>
                      </a:moveTo>
                      <a:cubicBezTo>
                        <a:pt x="0" y="13"/>
                        <a:pt x="0" y="13"/>
                        <a:pt x="0" y="13"/>
                      </a:cubicBezTo>
                      <a:cubicBezTo>
                        <a:pt x="28" y="4"/>
                        <a:pt x="28" y="4"/>
                        <a:pt x="28" y="4"/>
                      </a:cubicBezTo>
                      <a:cubicBezTo>
                        <a:pt x="28" y="0"/>
                        <a:pt x="28" y="0"/>
                        <a:pt x="28" y="0"/>
                      </a:cubicBezTo>
                      <a:cubicBezTo>
                        <a:pt x="0" y="9"/>
                        <a:pt x="0" y="9"/>
                        <a:pt x="0" y="9"/>
                      </a:cubicBezTo>
                      <a:cubicBezTo>
                        <a:pt x="0" y="9"/>
                        <a:pt x="0" y="9"/>
                        <a:pt x="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77"/>
                <p:cNvSpPr>
                  <a:spLocks/>
                </p:cNvSpPr>
                <p:nvPr/>
              </p:nvSpPr>
              <p:spPr bwMode="auto">
                <a:xfrm>
                  <a:off x="-1470025" y="3443288"/>
                  <a:ext cx="11113" cy="36512"/>
                </a:xfrm>
                <a:custGeom>
                  <a:avLst/>
                  <a:gdLst>
                    <a:gd name="T0" fmla="*/ 2 w 3"/>
                    <a:gd name="T1" fmla="*/ 10 h 10"/>
                    <a:gd name="T2" fmla="*/ 3 w 3"/>
                    <a:gd name="T3" fmla="*/ 10 h 10"/>
                    <a:gd name="T4" fmla="*/ 3 w 3"/>
                    <a:gd name="T5" fmla="*/ 0 h 10"/>
                    <a:gd name="T6" fmla="*/ 2 w 3"/>
                    <a:gd name="T7" fmla="*/ 0 h 10"/>
                    <a:gd name="T8" fmla="*/ 2 w 3"/>
                    <a:gd name="T9" fmla="*/ 0 h 10"/>
                    <a:gd name="T10" fmla="*/ 1 w 3"/>
                    <a:gd name="T11" fmla="*/ 0 h 10"/>
                    <a:gd name="T12" fmla="*/ 0 w 3"/>
                    <a:gd name="T13" fmla="*/ 0 h 10"/>
                    <a:gd name="T14" fmla="*/ 2 w 3"/>
                    <a:gd name="T15" fmla="*/ 7 h 10"/>
                    <a:gd name="T16" fmla="*/ 2 w 3"/>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0">
                      <a:moveTo>
                        <a:pt x="2" y="10"/>
                      </a:moveTo>
                      <a:cubicBezTo>
                        <a:pt x="3" y="10"/>
                        <a:pt x="3" y="10"/>
                        <a:pt x="3" y="10"/>
                      </a:cubicBezTo>
                      <a:cubicBezTo>
                        <a:pt x="3" y="0"/>
                        <a:pt x="3" y="0"/>
                        <a:pt x="3" y="0"/>
                      </a:cubicBezTo>
                      <a:cubicBezTo>
                        <a:pt x="2" y="0"/>
                        <a:pt x="2" y="0"/>
                        <a:pt x="2" y="0"/>
                      </a:cubicBezTo>
                      <a:cubicBezTo>
                        <a:pt x="2" y="0"/>
                        <a:pt x="2" y="0"/>
                        <a:pt x="2" y="0"/>
                      </a:cubicBezTo>
                      <a:cubicBezTo>
                        <a:pt x="2" y="0"/>
                        <a:pt x="1" y="0"/>
                        <a:pt x="1" y="0"/>
                      </a:cubicBezTo>
                      <a:cubicBezTo>
                        <a:pt x="0" y="0"/>
                        <a:pt x="0" y="0"/>
                        <a:pt x="0" y="0"/>
                      </a:cubicBezTo>
                      <a:cubicBezTo>
                        <a:pt x="1" y="2"/>
                        <a:pt x="2" y="4"/>
                        <a:pt x="2" y="7"/>
                      </a:cubicBezTo>
                      <a:lnTo>
                        <a:pt x="2"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sp>
        <p:nvSpPr>
          <p:cNvPr id="45" name="Freeform 79"/>
          <p:cNvSpPr>
            <a:spLocks/>
          </p:cNvSpPr>
          <p:nvPr/>
        </p:nvSpPr>
        <p:spPr bwMode="black">
          <a:xfrm>
            <a:off x="6915760" y="1344791"/>
            <a:ext cx="685979" cy="241047"/>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solidFill>
            <a:srgbClr val="FFFFFF"/>
          </a:solidFill>
          <a:ln>
            <a:noFill/>
          </a:ln>
        </p:spPr>
        <p:txBody>
          <a:bodyPr vert="horz" wrap="square" lIns="68589" tIns="34295" rIns="68589" bIns="34295" numCol="1" anchor="t" anchorCtr="0" compatLnSpc="1">
            <a:prstTxWarp prst="textNoShape">
              <a:avLst/>
            </a:prstTxWarp>
          </a:bodyPr>
          <a:lstStyle/>
          <a:p>
            <a:endParaRPr lang="en-US" sz="1200"/>
          </a:p>
        </p:txBody>
      </p:sp>
      <p:sp>
        <p:nvSpPr>
          <p:cNvPr id="46" name="Freeform 80"/>
          <p:cNvSpPr>
            <a:spLocks noEditPoints="1"/>
          </p:cNvSpPr>
          <p:nvPr/>
        </p:nvSpPr>
        <p:spPr bwMode="black">
          <a:xfrm>
            <a:off x="6915760" y="1085850"/>
            <a:ext cx="685979" cy="238942"/>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solidFill>
            <a:srgbClr val="FFFFFF"/>
          </a:solidFill>
          <a:ln>
            <a:noFill/>
          </a:ln>
        </p:spPr>
        <p:txBody>
          <a:bodyPr vert="horz" wrap="square" lIns="68589" tIns="34295" rIns="68589" bIns="34295" numCol="1" anchor="t" anchorCtr="0" compatLnSpc="1">
            <a:prstTxWarp prst="textNoShape">
              <a:avLst/>
            </a:prstTxWarp>
          </a:bodyPr>
          <a:lstStyle/>
          <a:p>
            <a:endParaRPr lang="en-US" sz="1200"/>
          </a:p>
        </p:txBody>
      </p:sp>
      <p:sp>
        <p:nvSpPr>
          <p:cNvPr id="44"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47"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7"/>
              </a:rPr>
              <a:t>www.rapidbbs.cn</a:t>
            </a:r>
            <a:endParaRPr lang="zh-CN" altLang="en-US" sz="1200" b="0">
              <a:latin typeface="Arial" charset="0"/>
              <a:ea typeface="ＭＳ Ｐゴシック" pitchFamily="34" charset="-128"/>
            </a:endParaRPr>
          </a:p>
        </p:txBody>
      </p:sp>
      <p:pic>
        <p:nvPicPr>
          <p:cNvPr id="48" name="Picture 2">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104513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 name="TextBox 120"/>
          <p:cNvSpPr txBox="1"/>
          <p:nvPr/>
        </p:nvSpPr>
        <p:spPr>
          <a:xfrm>
            <a:off x="463379" y="57149"/>
            <a:ext cx="8407911" cy="365760"/>
          </a:xfrm>
          <a:prstGeom prst="rect">
            <a:avLst/>
          </a:prstGeom>
          <a:no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32" tIns="45716" rIns="91432" bIns="45716" numCol="1" rtlCol="0" anchor="ctr" anchorCtr="0" compatLnSpc="1">
            <a:prstTxWarp prst="textNoShape">
              <a:avLst/>
            </a:prstTxWarp>
            <a:noAutofit/>
          </a:bodyPr>
          <a:lstStyle>
            <a:defPPr>
              <a:defRPr lang="en-US"/>
            </a:defPPr>
            <a:lvl1pPr algn="ctr" defTabSz="914159" fontAlgn="base">
              <a:lnSpc>
                <a:spcPct val="90000"/>
              </a:lnSpc>
              <a:spcBef>
                <a:spcPts val="630"/>
              </a:spcBef>
              <a:spcAft>
                <a:spcPct val="0"/>
              </a:spcAft>
              <a:buClr>
                <a:srgbClr val="FFFF99"/>
              </a:buClr>
              <a:buSzPct val="120000"/>
              <a:defRPr>
                <a:ln>
                  <a:solidFill>
                    <a:srgbClr val="FFFFFF">
                      <a:alpha val="0"/>
                    </a:srgbClr>
                  </a:solidFill>
                </a:ln>
                <a:solidFill>
                  <a:srgbClr val="FFFFFF">
                    <a:alpha val="99000"/>
                  </a:srgbClr>
                </a:solidFill>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000" b="1" dirty="0">
                <a:ln>
                  <a:noFill/>
                </a:ln>
                <a:solidFill>
                  <a:schemeClr val="tx1"/>
                </a:solidFill>
                <a:latin typeface="+mj-lt"/>
              </a:rPr>
              <a:t>CONNECTED DEVELOPMENT</a:t>
            </a:r>
            <a:endParaRPr lang="en-US" sz="2000" b="1" dirty="0">
              <a:ln>
                <a:noFill/>
              </a:ln>
              <a:solidFill>
                <a:schemeClr val="tx1"/>
              </a:solidFill>
              <a:latin typeface="+mj-lt"/>
            </a:endParaRPr>
          </a:p>
        </p:txBody>
      </p:sp>
      <p:sp>
        <p:nvSpPr>
          <p:cNvPr id="122" name="TextBox 121"/>
          <p:cNvSpPr txBox="1"/>
          <p:nvPr/>
        </p:nvSpPr>
        <p:spPr>
          <a:xfrm>
            <a:off x="463377" y="1762666"/>
            <a:ext cx="8412480" cy="365760"/>
          </a:xfrm>
          <a:prstGeom prst="rect">
            <a:avLst/>
          </a:prstGeom>
          <a:no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32" tIns="45716" rIns="91432" bIns="45716" numCol="1" rtlCol="0" anchor="ctr" anchorCtr="0" compatLnSpc="1">
            <a:prstTxWarp prst="textNoShape">
              <a:avLst/>
            </a:prstTxWarp>
            <a:noAutofit/>
          </a:bodyPr>
          <a:lstStyle>
            <a:defPPr>
              <a:defRPr lang="en-US"/>
            </a:defPPr>
            <a:lvl1pPr algn="ctr" defTabSz="914159" fontAlgn="base">
              <a:lnSpc>
                <a:spcPct val="90000"/>
              </a:lnSpc>
              <a:spcBef>
                <a:spcPts val="630"/>
              </a:spcBef>
              <a:spcAft>
                <a:spcPct val="0"/>
              </a:spcAft>
              <a:buClr>
                <a:srgbClr val="FFFF99"/>
              </a:buClr>
              <a:buSzPct val="120000"/>
              <a:defRPr>
                <a:ln>
                  <a:solidFill>
                    <a:srgbClr val="FFFFFF">
                      <a:alpha val="0"/>
                    </a:srgbClr>
                  </a:solidFill>
                </a:ln>
                <a:solidFill>
                  <a:srgbClr val="FFFFFF">
                    <a:alpha val="99000"/>
                  </a:srgbClr>
                </a:solidFill>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000" b="1" dirty="0">
                <a:ln>
                  <a:noFill/>
                </a:ln>
                <a:solidFill>
                  <a:schemeClr val="tx1"/>
                </a:solidFill>
                <a:latin typeface="+mj-lt"/>
              </a:rPr>
              <a:t>PROJECT BASED DEVELOPMENT</a:t>
            </a:r>
            <a:endParaRPr lang="en-US" sz="2000" b="1" dirty="0">
              <a:ln>
                <a:noFill/>
              </a:ln>
              <a:solidFill>
                <a:schemeClr val="tx1"/>
              </a:solidFill>
              <a:latin typeface="+mj-lt"/>
            </a:endParaRPr>
          </a:p>
        </p:txBody>
      </p:sp>
      <p:sp>
        <p:nvSpPr>
          <p:cNvPr id="123" name="TextBox 122"/>
          <p:cNvSpPr txBox="1"/>
          <p:nvPr/>
        </p:nvSpPr>
        <p:spPr>
          <a:xfrm>
            <a:off x="463379" y="3457956"/>
            <a:ext cx="8407911" cy="365760"/>
          </a:xfrm>
          <a:prstGeom prst="rect">
            <a:avLst/>
          </a:prstGeom>
          <a:no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32" tIns="45716" rIns="91432" bIns="45716" numCol="1" rtlCol="0" anchor="ctr" anchorCtr="0" compatLnSpc="1">
            <a:prstTxWarp prst="textNoShape">
              <a:avLst/>
            </a:prstTxWarp>
            <a:noAutofit/>
          </a:bodyPr>
          <a:lstStyle>
            <a:defPPr>
              <a:defRPr lang="en-US"/>
            </a:defPPr>
            <a:lvl1pPr algn="ctr" defTabSz="914159" fontAlgn="base">
              <a:lnSpc>
                <a:spcPct val="90000"/>
              </a:lnSpc>
              <a:spcBef>
                <a:spcPts val="630"/>
              </a:spcBef>
              <a:spcAft>
                <a:spcPct val="0"/>
              </a:spcAft>
              <a:buClr>
                <a:srgbClr val="FFFF99"/>
              </a:buClr>
              <a:buSzPct val="120000"/>
              <a:defRPr>
                <a:ln>
                  <a:solidFill>
                    <a:srgbClr val="FFFFFF">
                      <a:alpha val="0"/>
                    </a:srgbClr>
                  </a:solidFill>
                </a:ln>
                <a:solidFill>
                  <a:srgbClr val="FFFFFF">
                    <a:alpha val="99000"/>
                  </a:srgbClr>
                </a:solidFill>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000" b="1" dirty="0">
                <a:solidFill>
                  <a:schemeClr val="tx1"/>
                </a:solidFill>
                <a:latin typeface="+mj-lt"/>
              </a:rPr>
              <a:t>SCHEMA DEPLOYMENT</a:t>
            </a:r>
            <a:endParaRPr lang="en-US" sz="2000" b="1" dirty="0">
              <a:solidFill>
                <a:schemeClr val="tx1"/>
              </a:solidFill>
              <a:latin typeface="+mj-lt"/>
            </a:endParaRPr>
          </a:p>
        </p:txBody>
      </p:sp>
      <p:grpSp>
        <p:nvGrpSpPr>
          <p:cNvPr id="378" name="Group 377"/>
          <p:cNvGrpSpPr/>
          <p:nvPr/>
        </p:nvGrpSpPr>
        <p:grpSpPr>
          <a:xfrm>
            <a:off x="318932" y="2114550"/>
            <a:ext cx="8498519" cy="1303020"/>
            <a:chOff x="425132" y="1295402"/>
            <a:chExt cx="11328408" cy="1737360"/>
          </a:xfrm>
        </p:grpSpPr>
        <p:grpSp>
          <p:nvGrpSpPr>
            <p:cNvPr id="379" name="Group 378"/>
            <p:cNvGrpSpPr/>
            <p:nvPr/>
          </p:nvGrpSpPr>
          <p:grpSpPr>
            <a:xfrm>
              <a:off x="425132" y="1295402"/>
              <a:ext cx="2688336" cy="1737360"/>
              <a:chOff x="510766" y="1295402"/>
              <a:chExt cx="2688336" cy="1728664"/>
            </a:xfrm>
          </p:grpSpPr>
          <p:sp>
            <p:nvSpPr>
              <p:cNvPr id="392" name="Rectangle 391"/>
              <p:cNvSpPr>
                <a:spLocks noChangeAspect="1"/>
              </p:cNvSpPr>
              <p:nvPr>
                <p:custDataLst>
                  <p:tags r:id="rId12"/>
                </p:custDataLst>
              </p:nvPr>
            </p:nvSpPr>
            <p:spPr bwMode="auto">
              <a:xfrm>
                <a:off x="510766" y="1295402"/>
                <a:ext cx="2688336" cy="1728664"/>
              </a:xfrm>
              <a:prstGeom prst="rect">
                <a:avLst/>
              </a:prstGeom>
              <a:solidFill>
                <a:srgbClr val="B5D331"/>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60947" rIns="121893" bIns="60947" numCol="1" rtlCol="0" anchor="b" anchorCtr="0" compatLnSpc="1">
                <a:prstTxWarp prst="textNoShape">
                  <a:avLst/>
                </a:prstTxWarp>
                <a:noAutofit/>
              </a:bodyPr>
              <a:lstStyle/>
              <a:p>
                <a:pPr defTabSz="914083" fontAlgn="base">
                  <a:lnSpc>
                    <a:spcPct val="90000"/>
                  </a:lnSpc>
                  <a:spcBef>
                    <a:spcPts val="630"/>
                  </a:spcBef>
                  <a:spcAft>
                    <a:spcPct val="0"/>
                  </a:spcAft>
                  <a:buClr>
                    <a:srgbClr val="FFFF99"/>
                  </a:buClr>
                  <a:buSzPct val="120000"/>
                  <a:defRPr/>
                </a:pPr>
                <a:r>
                  <a:rPr lang="en-US" dirty="0">
                    <a:ln>
                      <a:solidFill>
                        <a:srgbClr val="FFFFFF">
                          <a:alpha val="0"/>
                        </a:srgbClr>
                      </a:solidFill>
                    </a:ln>
                    <a:solidFill>
                      <a:srgbClr val="FFFFFF">
                        <a:alpha val="99000"/>
                      </a:srgbClr>
                    </a:solidFill>
                    <a:cs typeface="Segoe UI" pitchFamily="34" charset="0"/>
                  </a:rPr>
                  <a:t> </a:t>
                </a:r>
                <a:r>
                  <a:rPr lang="en-US" dirty="0" smtClean="0">
                    <a:ln>
                      <a:solidFill>
                        <a:srgbClr val="FFFFFF">
                          <a:alpha val="0"/>
                        </a:srgbClr>
                      </a:solidFill>
                    </a:ln>
                    <a:solidFill>
                      <a:srgbClr val="FFFFFF">
                        <a:alpha val="99000"/>
                      </a:srgbClr>
                    </a:solidFill>
                    <a:cs typeface="Segoe UI" pitchFamily="34" charset="0"/>
                  </a:rPr>
                  <a:t>           </a:t>
                </a:r>
              </a:p>
              <a:p>
                <a:pPr defTabSz="914083" fontAlgn="base">
                  <a:lnSpc>
                    <a:spcPct val="90000"/>
                  </a:lnSpc>
                  <a:spcBef>
                    <a:spcPts val="630"/>
                  </a:spcBef>
                  <a:spcAft>
                    <a:spcPct val="0"/>
                  </a:spcAft>
                  <a:buClr>
                    <a:srgbClr val="FFFF99"/>
                  </a:buClr>
                  <a:buSzPct val="120000"/>
                  <a:defRPr/>
                </a:pPr>
                <a:r>
                  <a:rPr lang="en-US" sz="2000" dirty="0">
                    <a:ln>
                      <a:solidFill>
                        <a:srgbClr val="FFFFFF">
                          <a:alpha val="0"/>
                        </a:srgbClr>
                      </a:solidFill>
                    </a:ln>
                    <a:solidFill>
                      <a:srgbClr val="FFFFFF">
                        <a:alpha val="99000"/>
                      </a:srgbClr>
                    </a:solidFill>
                    <a:cs typeface="Segoe UI" pitchFamily="34" charset="0"/>
                  </a:rPr>
                  <a:t>1</a:t>
                </a:r>
                <a:r>
                  <a:rPr lang="en-US" sz="2000" baseline="30000" dirty="0">
                    <a:ln>
                      <a:solidFill>
                        <a:srgbClr val="FFFFFF">
                          <a:alpha val="0"/>
                        </a:srgbClr>
                      </a:solidFill>
                    </a:ln>
                    <a:solidFill>
                      <a:srgbClr val="FFFFFF">
                        <a:alpha val="99000"/>
                      </a:srgbClr>
                    </a:solidFill>
                    <a:cs typeface="Segoe UI" pitchFamily="34" charset="0"/>
                  </a:rPr>
                  <a:t>st</a:t>
                </a:r>
                <a:r>
                  <a:rPr lang="en-US" sz="2000" dirty="0">
                    <a:ln>
                      <a:solidFill>
                        <a:srgbClr val="FFFFFF">
                          <a:alpha val="0"/>
                        </a:srgbClr>
                      </a:solidFill>
                    </a:ln>
                    <a:solidFill>
                      <a:srgbClr val="FFFFFF">
                        <a:alpha val="99000"/>
                      </a:srgbClr>
                    </a:solidFill>
                    <a:cs typeface="Segoe UI" pitchFamily="34" charset="0"/>
                  </a:rPr>
                  <a:t> class T-SQL Support</a:t>
                </a:r>
                <a:endParaRPr lang="en-US" sz="2000" dirty="0">
                  <a:ln>
                    <a:solidFill>
                      <a:srgbClr val="FFFFFF">
                        <a:alpha val="0"/>
                      </a:srgbClr>
                    </a:solidFill>
                  </a:ln>
                  <a:solidFill>
                    <a:srgbClr val="FFFFFF">
                      <a:alpha val="99000"/>
                    </a:srgbClr>
                  </a:solidFill>
                  <a:cs typeface="Segoe UI" pitchFamily="34" charset="0"/>
                </a:endParaRPr>
              </a:p>
            </p:txBody>
          </p:sp>
          <p:sp>
            <p:nvSpPr>
              <p:cNvPr id="393" name="Freeform 6"/>
              <p:cNvSpPr>
                <a:spLocks noChangeAspect="1"/>
              </p:cNvSpPr>
              <p:nvPr/>
            </p:nvSpPr>
            <p:spPr bwMode="auto">
              <a:xfrm>
                <a:off x="803515" y="1469770"/>
                <a:ext cx="688112" cy="604412"/>
              </a:xfrm>
              <a:custGeom>
                <a:avLst/>
                <a:gdLst>
                  <a:gd name="T0" fmla="*/ 983 w 1123"/>
                  <a:gd name="T1" fmla="*/ 48 h 972"/>
                  <a:gd name="T2" fmla="*/ 884 w 1123"/>
                  <a:gd name="T3" fmla="*/ 36 h 972"/>
                  <a:gd name="T4" fmla="*/ 409 w 1123"/>
                  <a:gd name="T5" fmla="*/ 515 h 972"/>
                  <a:gd name="T6" fmla="*/ 251 w 1123"/>
                  <a:gd name="T7" fmla="*/ 357 h 972"/>
                  <a:gd name="T8" fmla="*/ 107 w 1123"/>
                  <a:gd name="T9" fmla="*/ 369 h 972"/>
                  <a:gd name="T10" fmla="*/ 42 w 1123"/>
                  <a:gd name="T11" fmla="*/ 446 h 972"/>
                  <a:gd name="T12" fmla="*/ 41 w 1123"/>
                  <a:gd name="T13" fmla="*/ 534 h 972"/>
                  <a:gd name="T14" fmla="*/ 356 w 1123"/>
                  <a:gd name="T15" fmla="*/ 871 h 972"/>
                  <a:gd name="T16" fmla="*/ 500 w 1123"/>
                  <a:gd name="T17" fmla="*/ 872 h 972"/>
                  <a:gd name="T18" fmla="*/ 1058 w 1123"/>
                  <a:gd name="T19" fmla="*/ 267 h 972"/>
                  <a:gd name="T20" fmla="*/ 1065 w 1123"/>
                  <a:gd name="T21" fmla="*/ 154 h 972"/>
                  <a:gd name="T22" fmla="*/ 983 w 1123"/>
                  <a:gd name="T23" fmla="*/ 4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3" h="972">
                    <a:moveTo>
                      <a:pt x="983" y="48"/>
                    </a:moveTo>
                    <a:cubicBezTo>
                      <a:pt x="983" y="48"/>
                      <a:pt x="952" y="0"/>
                      <a:pt x="884" y="36"/>
                    </a:cubicBezTo>
                    <a:cubicBezTo>
                      <a:pt x="774" y="95"/>
                      <a:pt x="533" y="321"/>
                      <a:pt x="409" y="515"/>
                    </a:cubicBezTo>
                    <a:cubicBezTo>
                      <a:pt x="409" y="515"/>
                      <a:pt x="320" y="412"/>
                      <a:pt x="251" y="357"/>
                    </a:cubicBezTo>
                    <a:cubicBezTo>
                      <a:pt x="183" y="302"/>
                      <a:pt x="170" y="309"/>
                      <a:pt x="107" y="369"/>
                    </a:cubicBezTo>
                    <a:cubicBezTo>
                      <a:pt x="66" y="408"/>
                      <a:pt x="42" y="446"/>
                      <a:pt x="42" y="446"/>
                    </a:cubicBezTo>
                    <a:cubicBezTo>
                      <a:pt x="42" y="446"/>
                      <a:pt x="0" y="490"/>
                      <a:pt x="41" y="534"/>
                    </a:cubicBezTo>
                    <a:cubicBezTo>
                      <a:pt x="93" y="589"/>
                      <a:pt x="283" y="776"/>
                      <a:pt x="356" y="871"/>
                    </a:cubicBezTo>
                    <a:cubicBezTo>
                      <a:pt x="432" y="972"/>
                      <a:pt x="500" y="872"/>
                      <a:pt x="500" y="872"/>
                    </a:cubicBezTo>
                    <a:cubicBezTo>
                      <a:pt x="500" y="872"/>
                      <a:pt x="734" y="489"/>
                      <a:pt x="1058" y="267"/>
                    </a:cubicBezTo>
                    <a:cubicBezTo>
                      <a:pt x="1058" y="267"/>
                      <a:pt x="1123" y="229"/>
                      <a:pt x="1065" y="154"/>
                    </a:cubicBezTo>
                    <a:cubicBezTo>
                      <a:pt x="1007" y="79"/>
                      <a:pt x="983" y="48"/>
                      <a:pt x="983" y="48"/>
                    </a:cubicBezTo>
                    <a:close/>
                  </a:path>
                </a:pathLst>
              </a:custGeom>
              <a:solidFill>
                <a:sysClr val="window" lastClr="FFFFFF"/>
              </a:solidFill>
              <a:ln>
                <a:noFill/>
              </a:ln>
            </p:spPr>
            <p:txBody>
              <a:bodyPr vert="horz" wrap="square" lIns="121893" tIns="60947" rIns="121893" bIns="60947" numCol="1" anchor="t" anchorCtr="0" compatLnSpc="1">
                <a:prstTxWarp prst="textNoShape">
                  <a:avLst/>
                </a:prstTxWarp>
              </a:bodyPr>
              <a:lstStyle/>
              <a:p>
                <a:pPr>
                  <a:defRPr/>
                </a:pPr>
                <a:endParaRPr lang="en-US" sz="1600" kern="0">
                  <a:solidFill>
                    <a:sysClr val="windowText" lastClr="000000"/>
                  </a:solidFill>
                </a:endParaRPr>
              </a:p>
            </p:txBody>
          </p:sp>
        </p:grpSp>
        <p:sp>
          <p:nvSpPr>
            <p:cNvPr id="390" name="Rectangle 389"/>
            <p:cNvSpPr>
              <a:spLocks noChangeAspect="1"/>
            </p:cNvSpPr>
            <p:nvPr>
              <p:custDataLst>
                <p:tags r:id="rId9"/>
              </p:custDataLst>
            </p:nvPr>
          </p:nvSpPr>
          <p:spPr bwMode="auto">
            <a:xfrm>
              <a:off x="9065204" y="1295402"/>
              <a:ext cx="2688336" cy="1737360"/>
            </a:xfrm>
            <a:prstGeom prst="rect">
              <a:avLst/>
            </a:prstGeom>
            <a:solidFill>
              <a:srgbClr val="B5D331"/>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60947" rIns="121893" bIns="60947" numCol="1" rtlCol="0" anchor="ctr" anchorCtr="0" compatLnSpc="1">
              <a:prstTxWarp prst="textNoShape">
                <a:avLst/>
              </a:prstTxWarp>
              <a:noAutofit/>
            </a:bodyPr>
            <a:lstStyle/>
            <a:p>
              <a:pPr defTabSz="914083" fontAlgn="base">
                <a:lnSpc>
                  <a:spcPct val="90000"/>
                </a:lnSpc>
                <a:spcBef>
                  <a:spcPts val="630"/>
                </a:spcBef>
                <a:spcAft>
                  <a:spcPct val="0"/>
                </a:spcAft>
                <a:buClr>
                  <a:srgbClr val="FFFF99"/>
                </a:buClr>
                <a:buSzPct val="120000"/>
              </a:pPr>
              <a:r>
                <a:rPr lang="en-US" dirty="0" smtClean="0">
                  <a:ln>
                    <a:solidFill>
                      <a:srgbClr val="FFFFFF">
                        <a:alpha val="0"/>
                      </a:srgbClr>
                    </a:solidFill>
                  </a:ln>
                  <a:solidFill>
                    <a:srgbClr val="FFFFFF">
                      <a:alpha val="99000"/>
                    </a:srgbClr>
                  </a:solidFill>
                  <a:cs typeface="Segoe UI" pitchFamily="34" charset="0"/>
                </a:rPr>
                <a:t>         </a:t>
              </a:r>
            </a:p>
            <a:p>
              <a:pPr defTabSz="914083" fontAlgn="base">
                <a:lnSpc>
                  <a:spcPct val="90000"/>
                </a:lnSpc>
                <a:spcBef>
                  <a:spcPts val="630"/>
                </a:spcBef>
                <a:spcAft>
                  <a:spcPct val="0"/>
                </a:spcAft>
                <a:buClr>
                  <a:srgbClr val="FFFF99"/>
                </a:buClr>
                <a:buSzPct val="120000"/>
              </a:pPr>
              <a:r>
                <a:rPr lang="en-US" dirty="0" smtClean="0">
                  <a:ln>
                    <a:solidFill>
                      <a:srgbClr val="FFFFFF">
                        <a:alpha val="0"/>
                      </a:srgbClr>
                    </a:solidFill>
                  </a:ln>
                  <a:solidFill>
                    <a:srgbClr val="FFFFFF">
                      <a:alpha val="99000"/>
                    </a:srgbClr>
                  </a:solidFill>
                  <a:cs typeface="Segoe UI" pitchFamily="34" charset="0"/>
                </a:rPr>
                <a:t>             </a:t>
              </a:r>
            </a:p>
            <a:p>
              <a:pPr defTabSz="914083" fontAlgn="base">
                <a:lnSpc>
                  <a:spcPct val="90000"/>
                </a:lnSpc>
                <a:spcBef>
                  <a:spcPts val="630"/>
                </a:spcBef>
                <a:spcAft>
                  <a:spcPct val="0"/>
                </a:spcAft>
                <a:buClr>
                  <a:srgbClr val="FFFF99"/>
                </a:buClr>
                <a:buSzPct val="120000"/>
              </a:pPr>
              <a:endParaRPr lang="en-US" sz="2000" dirty="0">
                <a:ln>
                  <a:solidFill>
                    <a:srgbClr val="FFFFFF">
                      <a:alpha val="0"/>
                    </a:srgbClr>
                  </a:solidFill>
                </a:ln>
                <a:solidFill>
                  <a:srgbClr val="FFFFFF">
                    <a:alpha val="99000"/>
                  </a:srgbClr>
                </a:solidFill>
                <a:cs typeface="Segoe UI" pitchFamily="34" charset="0"/>
              </a:endParaRPr>
            </a:p>
            <a:p>
              <a:pPr defTabSz="914083" fontAlgn="base">
                <a:lnSpc>
                  <a:spcPct val="90000"/>
                </a:lnSpc>
                <a:spcBef>
                  <a:spcPts val="630"/>
                </a:spcBef>
                <a:spcAft>
                  <a:spcPct val="0"/>
                </a:spcAft>
                <a:buClr>
                  <a:srgbClr val="FFFF99"/>
                </a:buClr>
                <a:buSzPct val="120000"/>
              </a:pPr>
              <a:r>
                <a:rPr lang="en-US" sz="2000" dirty="0">
                  <a:ln>
                    <a:solidFill>
                      <a:srgbClr val="FFFFFF">
                        <a:alpha val="0"/>
                      </a:srgbClr>
                    </a:solidFill>
                  </a:ln>
                  <a:solidFill>
                    <a:srgbClr val="FFFFFF">
                      <a:alpha val="99000"/>
                    </a:srgbClr>
                  </a:solidFill>
                  <a:cs typeface="Segoe UI" pitchFamily="34" charset="0"/>
                </a:rPr>
                <a:t>Schema Insight</a:t>
              </a:r>
              <a:endParaRPr lang="en-US" dirty="0">
                <a:ln>
                  <a:solidFill>
                    <a:srgbClr val="FFFFFF">
                      <a:alpha val="0"/>
                    </a:srgbClr>
                  </a:solidFill>
                </a:ln>
                <a:solidFill>
                  <a:srgbClr val="FFFFFF">
                    <a:alpha val="99000"/>
                  </a:srgbClr>
                </a:solidFill>
                <a:cs typeface="Segoe UI" pitchFamily="34" charset="0"/>
              </a:endParaRPr>
            </a:p>
          </p:txBody>
        </p:sp>
        <p:grpSp>
          <p:nvGrpSpPr>
            <p:cNvPr id="381" name="Group 380"/>
            <p:cNvGrpSpPr/>
            <p:nvPr/>
          </p:nvGrpSpPr>
          <p:grpSpPr>
            <a:xfrm>
              <a:off x="3305156" y="1295402"/>
              <a:ext cx="2688336" cy="1737360"/>
              <a:chOff x="3305156" y="1295402"/>
              <a:chExt cx="2688336" cy="1737360"/>
            </a:xfrm>
          </p:grpSpPr>
          <p:sp>
            <p:nvSpPr>
              <p:cNvPr id="388" name="Rectangle 387"/>
              <p:cNvSpPr>
                <a:spLocks noChangeAspect="1"/>
              </p:cNvSpPr>
              <p:nvPr>
                <p:custDataLst>
                  <p:tags r:id="rId11"/>
                </p:custDataLst>
              </p:nvPr>
            </p:nvSpPr>
            <p:spPr bwMode="auto">
              <a:xfrm>
                <a:off x="3305156" y="1295402"/>
                <a:ext cx="2688336" cy="1737360"/>
              </a:xfrm>
              <a:prstGeom prst="rect">
                <a:avLst/>
              </a:prstGeom>
              <a:solidFill>
                <a:srgbClr val="B5D331"/>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60947" rIns="121893" bIns="60947" numCol="1" rtlCol="0" anchor="b" anchorCtr="0" compatLnSpc="1">
                <a:prstTxWarp prst="textNoShape">
                  <a:avLst/>
                </a:prstTxWarp>
                <a:noAutofit/>
              </a:bodyPr>
              <a:lstStyle/>
              <a:p>
                <a:pPr defTabSz="914083" fontAlgn="base">
                  <a:lnSpc>
                    <a:spcPct val="90000"/>
                  </a:lnSpc>
                  <a:spcBef>
                    <a:spcPts val="630"/>
                  </a:spcBef>
                  <a:spcAft>
                    <a:spcPct val="0"/>
                  </a:spcAft>
                  <a:buClr>
                    <a:srgbClr val="FFFF99"/>
                  </a:buClr>
                  <a:buSzPct val="120000"/>
                </a:pPr>
                <a:r>
                  <a:rPr lang="en-US" dirty="0" smtClean="0">
                    <a:ln>
                      <a:solidFill>
                        <a:srgbClr val="FFFFFF">
                          <a:alpha val="0"/>
                        </a:srgbClr>
                      </a:solidFill>
                    </a:ln>
                    <a:solidFill>
                      <a:srgbClr val="FFFFFF">
                        <a:alpha val="99000"/>
                      </a:srgbClr>
                    </a:solidFill>
                    <a:cs typeface="Segoe UI" pitchFamily="34" charset="0"/>
                  </a:rPr>
                  <a:t>            </a:t>
                </a:r>
              </a:p>
              <a:p>
                <a:pPr defTabSz="914083" fontAlgn="base">
                  <a:lnSpc>
                    <a:spcPct val="90000"/>
                  </a:lnSpc>
                  <a:spcBef>
                    <a:spcPts val="630"/>
                  </a:spcBef>
                  <a:spcAft>
                    <a:spcPct val="0"/>
                  </a:spcAft>
                  <a:buClr>
                    <a:srgbClr val="FFFF99"/>
                  </a:buClr>
                  <a:buSzPct val="120000"/>
                </a:pPr>
                <a:r>
                  <a:rPr lang="en-US" sz="2000" dirty="0">
                    <a:ln>
                      <a:solidFill>
                        <a:srgbClr val="FFFFFF">
                          <a:alpha val="0"/>
                        </a:srgbClr>
                      </a:solidFill>
                    </a:ln>
                    <a:solidFill>
                      <a:srgbClr val="FFFFFF">
                        <a:alpha val="99000"/>
                      </a:srgbClr>
                    </a:solidFill>
                    <a:cs typeface="Segoe UI" pitchFamily="34" charset="0"/>
                  </a:rPr>
                  <a:t>Isolated</a:t>
                </a:r>
                <a:endParaRPr lang="en-US" sz="2000" dirty="0">
                  <a:ln>
                    <a:solidFill>
                      <a:srgbClr val="FFFFFF">
                        <a:alpha val="0"/>
                      </a:srgbClr>
                    </a:solidFill>
                  </a:ln>
                  <a:solidFill>
                    <a:srgbClr val="FFFFFF">
                      <a:alpha val="99000"/>
                    </a:srgbClr>
                  </a:solidFill>
                  <a:cs typeface="Segoe UI" pitchFamily="34" charset="0"/>
                </a:endParaRPr>
              </a:p>
            </p:txBody>
          </p:sp>
          <p:sp>
            <p:nvSpPr>
              <p:cNvPr id="389" name="Freeform 23"/>
              <p:cNvSpPr>
                <a:spLocks noEditPoints="1"/>
              </p:cNvSpPr>
              <p:nvPr/>
            </p:nvSpPr>
            <p:spPr bwMode="black">
              <a:xfrm>
                <a:off x="3427412" y="1450619"/>
                <a:ext cx="685800" cy="682981"/>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grpSp>
          <p:nvGrpSpPr>
            <p:cNvPr id="382" name="Group 381"/>
            <p:cNvGrpSpPr/>
            <p:nvPr/>
          </p:nvGrpSpPr>
          <p:grpSpPr>
            <a:xfrm>
              <a:off x="6185180" y="1295402"/>
              <a:ext cx="2688336" cy="1737360"/>
              <a:chOff x="6185180" y="1295402"/>
              <a:chExt cx="2688336" cy="1737360"/>
            </a:xfrm>
          </p:grpSpPr>
          <p:sp>
            <p:nvSpPr>
              <p:cNvPr id="383" name="Rectangle 382"/>
              <p:cNvSpPr>
                <a:spLocks noChangeAspect="1"/>
              </p:cNvSpPr>
              <p:nvPr>
                <p:custDataLst>
                  <p:tags r:id="rId10"/>
                </p:custDataLst>
              </p:nvPr>
            </p:nvSpPr>
            <p:spPr bwMode="auto">
              <a:xfrm>
                <a:off x="6185180" y="1295402"/>
                <a:ext cx="2688336" cy="1737360"/>
              </a:xfrm>
              <a:prstGeom prst="rect">
                <a:avLst/>
              </a:prstGeom>
              <a:solidFill>
                <a:srgbClr val="B5D331"/>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60947" rIns="121893" bIns="60947" numCol="1" rtlCol="0" anchor="b" anchorCtr="0" compatLnSpc="1">
                <a:prstTxWarp prst="textNoShape">
                  <a:avLst/>
                </a:prstTxWarp>
                <a:noAutofit/>
              </a:bodyPr>
              <a:lstStyle/>
              <a:p>
                <a:pPr defTabSz="914083" fontAlgn="base">
                  <a:lnSpc>
                    <a:spcPct val="90000"/>
                  </a:lnSpc>
                  <a:spcBef>
                    <a:spcPts val="630"/>
                  </a:spcBef>
                  <a:spcAft>
                    <a:spcPct val="0"/>
                  </a:spcAft>
                  <a:buClr>
                    <a:srgbClr val="FFFF99"/>
                  </a:buClr>
                  <a:buSzPct val="120000"/>
                </a:pPr>
                <a:endParaRPr lang="en-US" dirty="0" smtClean="0">
                  <a:ln>
                    <a:solidFill>
                      <a:srgbClr val="FFFFFF">
                        <a:alpha val="0"/>
                      </a:srgbClr>
                    </a:solidFill>
                  </a:ln>
                  <a:solidFill>
                    <a:srgbClr val="FFFFFF">
                      <a:alpha val="99000"/>
                    </a:srgbClr>
                  </a:solidFill>
                  <a:cs typeface="Segoe UI" pitchFamily="34" charset="0"/>
                </a:endParaRPr>
              </a:p>
              <a:p>
                <a:pPr defTabSz="914083" fontAlgn="base">
                  <a:lnSpc>
                    <a:spcPct val="90000"/>
                  </a:lnSpc>
                  <a:spcBef>
                    <a:spcPts val="630"/>
                  </a:spcBef>
                  <a:spcAft>
                    <a:spcPct val="0"/>
                  </a:spcAft>
                  <a:buClr>
                    <a:srgbClr val="FFFF99"/>
                  </a:buClr>
                  <a:buSzPct val="120000"/>
                </a:pPr>
                <a:r>
                  <a:rPr lang="en-US" sz="2000" dirty="0">
                    <a:ln>
                      <a:solidFill>
                        <a:srgbClr val="FFFFFF">
                          <a:alpha val="0"/>
                        </a:srgbClr>
                      </a:solidFill>
                    </a:ln>
                    <a:solidFill>
                      <a:srgbClr val="FFFFFF">
                        <a:alpha val="99000"/>
                      </a:srgbClr>
                    </a:solidFill>
                    <a:cs typeface="Segoe UI" pitchFamily="34" charset="0"/>
                  </a:rPr>
                  <a:t>Integrated</a:t>
                </a:r>
                <a:endParaRPr lang="en-US" sz="2000" dirty="0">
                  <a:ln>
                    <a:solidFill>
                      <a:srgbClr val="FFFFFF">
                        <a:alpha val="0"/>
                      </a:srgbClr>
                    </a:solidFill>
                  </a:ln>
                  <a:solidFill>
                    <a:srgbClr val="FFFFFF">
                      <a:alpha val="99000"/>
                    </a:srgbClr>
                  </a:solidFill>
                  <a:cs typeface="Segoe UI" pitchFamily="34" charset="0"/>
                </a:endParaRPr>
              </a:p>
            </p:txBody>
          </p:sp>
          <p:grpSp>
            <p:nvGrpSpPr>
              <p:cNvPr id="384" name="Group 383"/>
              <p:cNvGrpSpPr/>
              <p:nvPr/>
            </p:nvGrpSpPr>
            <p:grpSpPr bwMode="black">
              <a:xfrm>
                <a:off x="6363781" y="1470647"/>
                <a:ext cx="721231" cy="586753"/>
                <a:chOff x="5184775" y="225425"/>
                <a:chExt cx="1500188" cy="1220788"/>
              </a:xfrm>
              <a:solidFill>
                <a:srgbClr val="FFFFFF"/>
              </a:solidFill>
            </p:grpSpPr>
            <p:sp>
              <p:nvSpPr>
                <p:cNvPr id="385"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86"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87"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grpSp>
      <p:sp>
        <p:nvSpPr>
          <p:cNvPr id="99" name="Freeform 18"/>
          <p:cNvSpPr>
            <a:spLocks noEditPoints="1"/>
          </p:cNvSpPr>
          <p:nvPr/>
        </p:nvSpPr>
        <p:spPr bwMode="black">
          <a:xfrm>
            <a:off x="6915760" y="2230963"/>
            <a:ext cx="496398" cy="455086"/>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5" rIns="68589" bIns="34295" numCol="1" anchor="t" anchorCtr="0" compatLnSpc="1">
            <a:prstTxWarp prst="textNoShape">
              <a:avLst/>
            </a:prstTxWarp>
          </a:bodyPr>
          <a:lstStyle/>
          <a:p>
            <a:endParaRPr lang="en-US" sz="1200"/>
          </a:p>
        </p:txBody>
      </p:sp>
      <p:grpSp>
        <p:nvGrpSpPr>
          <p:cNvPr id="108" name="Group 107"/>
          <p:cNvGrpSpPr/>
          <p:nvPr/>
        </p:nvGrpSpPr>
        <p:grpSpPr>
          <a:xfrm>
            <a:off x="349420" y="400050"/>
            <a:ext cx="8444067" cy="1304224"/>
            <a:chOff x="465772" y="1293795"/>
            <a:chExt cx="11255824" cy="1738965"/>
          </a:xfrm>
        </p:grpSpPr>
        <p:grpSp>
          <p:nvGrpSpPr>
            <p:cNvPr id="109" name="Group 108"/>
            <p:cNvGrpSpPr/>
            <p:nvPr/>
          </p:nvGrpSpPr>
          <p:grpSpPr>
            <a:xfrm>
              <a:off x="465772" y="1293795"/>
              <a:ext cx="11255824" cy="1738965"/>
              <a:chOff x="465772" y="1293795"/>
              <a:chExt cx="11255824" cy="1738965"/>
            </a:xfrm>
          </p:grpSpPr>
          <p:sp>
            <p:nvSpPr>
              <p:cNvPr id="135" name="Rectangle 134"/>
              <p:cNvSpPr>
                <a:spLocks noChangeAspect="1"/>
              </p:cNvSpPr>
              <p:nvPr>
                <p:custDataLst>
                  <p:tags r:id="rId5"/>
                </p:custDataLst>
              </p:nvPr>
            </p:nvSpPr>
            <p:spPr bwMode="auto">
              <a:xfrm>
                <a:off x="3318553" y="1293795"/>
                <a:ext cx="2688336" cy="1737360"/>
              </a:xfrm>
              <a:prstGeom prst="rect">
                <a:avLst/>
              </a:prstGeom>
              <a:solidFill>
                <a:srgbClr val="00DAFF"/>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b" anchorCtr="0" compatLnSpc="1">
                <a:prstTxWarp prst="textNoShape">
                  <a:avLst/>
                </a:prstTxWarp>
                <a:noAutofit/>
              </a:bodyPr>
              <a:lstStyle/>
              <a:p>
                <a:pPr defTabSz="914083" fontAlgn="base">
                  <a:lnSpc>
                    <a:spcPct val="90000"/>
                  </a:lnSpc>
                  <a:spcBef>
                    <a:spcPts val="630"/>
                  </a:spcBef>
                  <a:spcAft>
                    <a:spcPct val="0"/>
                  </a:spcAft>
                  <a:buClr>
                    <a:srgbClr val="FFFF99"/>
                  </a:buClr>
                  <a:buSzPct val="120000"/>
                </a:pPr>
                <a:endParaRPr lang="en-US" dirty="0" smtClean="0">
                  <a:ln>
                    <a:solidFill>
                      <a:srgbClr val="FFFFFF">
                        <a:alpha val="0"/>
                      </a:srgbClr>
                    </a:solidFill>
                  </a:ln>
                  <a:solidFill>
                    <a:srgbClr val="FFFFFF">
                      <a:alpha val="99000"/>
                    </a:srgbClr>
                  </a:solidFill>
                  <a:cs typeface="Segoe UI" pitchFamily="34" charset="0"/>
                </a:endParaRPr>
              </a:p>
              <a:p>
                <a:pPr defTabSz="914083" fontAlgn="base">
                  <a:lnSpc>
                    <a:spcPct val="90000"/>
                  </a:lnSpc>
                  <a:spcBef>
                    <a:spcPts val="630"/>
                  </a:spcBef>
                  <a:spcAft>
                    <a:spcPct val="0"/>
                  </a:spcAft>
                  <a:buClr>
                    <a:srgbClr val="FFFF99"/>
                  </a:buClr>
                  <a:buSzPct val="120000"/>
                </a:pPr>
                <a:r>
                  <a:rPr lang="en-US" sz="2000" dirty="0">
                    <a:ln>
                      <a:solidFill>
                        <a:srgbClr val="FFFFFF">
                          <a:alpha val="0"/>
                        </a:srgbClr>
                      </a:solidFill>
                    </a:ln>
                    <a:solidFill>
                      <a:srgbClr val="FFFFFF">
                        <a:alpha val="99000"/>
                      </a:srgbClr>
                    </a:solidFill>
                    <a:cs typeface="Segoe UI" pitchFamily="34" charset="0"/>
                  </a:rPr>
                  <a:t>Optimized     </a:t>
                </a:r>
                <a:br>
                  <a:rPr lang="en-US" sz="2000" dirty="0">
                    <a:ln>
                      <a:solidFill>
                        <a:srgbClr val="FFFFFF">
                          <a:alpha val="0"/>
                        </a:srgbClr>
                      </a:solidFill>
                    </a:ln>
                    <a:solidFill>
                      <a:srgbClr val="FFFFFF">
                        <a:alpha val="99000"/>
                      </a:srgbClr>
                    </a:solidFill>
                    <a:cs typeface="Segoe UI" pitchFamily="34" charset="0"/>
                  </a:rPr>
                </a:br>
                <a:r>
                  <a:rPr lang="en-US" sz="2000" dirty="0">
                    <a:ln>
                      <a:solidFill>
                        <a:srgbClr val="FFFFFF">
                          <a:alpha val="0"/>
                        </a:srgbClr>
                      </a:solidFill>
                    </a:ln>
                    <a:solidFill>
                      <a:srgbClr val="FFFFFF">
                        <a:alpha val="99000"/>
                      </a:srgbClr>
                    </a:solidFill>
                    <a:cs typeface="Segoe UI" pitchFamily="34" charset="0"/>
                  </a:rPr>
                  <a:t>Productivity</a:t>
                </a:r>
              </a:p>
            </p:txBody>
          </p:sp>
          <p:grpSp>
            <p:nvGrpSpPr>
              <p:cNvPr id="136" name="Group 135"/>
              <p:cNvGrpSpPr/>
              <p:nvPr/>
            </p:nvGrpSpPr>
            <p:grpSpPr>
              <a:xfrm>
                <a:off x="465772" y="1293795"/>
                <a:ext cx="2688336" cy="1737360"/>
                <a:chOff x="465772" y="1293795"/>
                <a:chExt cx="2688336" cy="1737360"/>
              </a:xfrm>
            </p:grpSpPr>
            <p:grpSp>
              <p:nvGrpSpPr>
                <p:cNvPr id="139" name="Group 138"/>
                <p:cNvGrpSpPr/>
                <p:nvPr/>
              </p:nvGrpSpPr>
              <p:grpSpPr>
                <a:xfrm>
                  <a:off x="465772" y="1293795"/>
                  <a:ext cx="2688336" cy="1737360"/>
                  <a:chOff x="6826146" y="972753"/>
                  <a:chExt cx="2013054" cy="1295309"/>
                </a:xfrm>
              </p:grpSpPr>
              <p:sp>
                <p:nvSpPr>
                  <p:cNvPr id="145" name="Rectangle 144"/>
                  <p:cNvSpPr>
                    <a:spLocks noChangeAspect="1"/>
                  </p:cNvSpPr>
                  <p:nvPr>
                    <p:custDataLst>
                      <p:tags r:id="rId8"/>
                    </p:custDataLst>
                  </p:nvPr>
                </p:nvSpPr>
                <p:spPr bwMode="auto">
                  <a:xfrm>
                    <a:off x="6826146" y="972753"/>
                    <a:ext cx="2013054" cy="1295309"/>
                  </a:xfrm>
                  <a:prstGeom prst="rect">
                    <a:avLst/>
                  </a:prstGeom>
                  <a:solidFill>
                    <a:srgbClr val="00DAFF"/>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b" anchorCtr="0" compatLnSpc="1">
                    <a:prstTxWarp prst="textNoShape">
                      <a:avLst/>
                    </a:prstTxWarp>
                    <a:noAutofit/>
                  </a:bodyPr>
                  <a:lstStyle/>
                  <a:p>
                    <a:pPr defTabSz="914083" fontAlgn="base">
                      <a:lnSpc>
                        <a:spcPct val="90000"/>
                      </a:lnSpc>
                      <a:spcBef>
                        <a:spcPts val="630"/>
                      </a:spcBef>
                      <a:spcAft>
                        <a:spcPct val="0"/>
                      </a:spcAft>
                      <a:buClr>
                        <a:srgbClr val="FFFF99"/>
                      </a:buClr>
                      <a:buSzPct val="120000"/>
                    </a:pPr>
                    <a:r>
                      <a:rPr lang="en-US" dirty="0" smtClean="0">
                        <a:ln>
                          <a:solidFill>
                            <a:srgbClr val="FFFFFF">
                              <a:alpha val="0"/>
                            </a:srgbClr>
                          </a:solidFill>
                        </a:ln>
                        <a:solidFill>
                          <a:srgbClr val="FFFFFF">
                            <a:alpha val="99000"/>
                          </a:srgbClr>
                        </a:solidFill>
                        <a:cs typeface="Segoe UI" pitchFamily="34" charset="0"/>
                      </a:rPr>
                      <a:t>         </a:t>
                    </a:r>
                  </a:p>
                  <a:p>
                    <a:pPr defTabSz="914083" fontAlgn="base">
                      <a:lnSpc>
                        <a:spcPct val="90000"/>
                      </a:lnSpc>
                      <a:spcBef>
                        <a:spcPts val="630"/>
                      </a:spcBef>
                      <a:spcAft>
                        <a:spcPct val="0"/>
                      </a:spcAft>
                      <a:buClr>
                        <a:srgbClr val="FFFF99"/>
                      </a:buClr>
                      <a:buSzPct val="120000"/>
                    </a:pPr>
                    <a:r>
                      <a:rPr lang="en-US" dirty="0" smtClean="0">
                        <a:ln>
                          <a:solidFill>
                            <a:srgbClr val="FFFFFF">
                              <a:alpha val="0"/>
                            </a:srgbClr>
                          </a:solidFill>
                        </a:ln>
                        <a:solidFill>
                          <a:srgbClr val="FFFFFF">
                            <a:alpha val="99000"/>
                          </a:srgbClr>
                        </a:solidFill>
                        <a:cs typeface="Segoe UI" pitchFamily="34" charset="0"/>
                      </a:rPr>
                      <a:t>             </a:t>
                    </a:r>
                  </a:p>
                  <a:p>
                    <a:pPr defTabSz="914083" fontAlgn="base">
                      <a:lnSpc>
                        <a:spcPct val="90000"/>
                      </a:lnSpc>
                      <a:spcBef>
                        <a:spcPts val="630"/>
                      </a:spcBef>
                      <a:spcAft>
                        <a:spcPct val="0"/>
                      </a:spcAft>
                      <a:buClr>
                        <a:srgbClr val="FFFF99"/>
                      </a:buClr>
                      <a:buSzPct val="120000"/>
                    </a:pPr>
                    <a:r>
                      <a:rPr lang="en-US" sz="2000" dirty="0">
                        <a:ln>
                          <a:solidFill>
                            <a:srgbClr val="FFFFFF">
                              <a:alpha val="0"/>
                            </a:srgbClr>
                          </a:solidFill>
                        </a:ln>
                        <a:solidFill>
                          <a:srgbClr val="FFFFFF">
                            <a:alpha val="99000"/>
                          </a:srgbClr>
                        </a:solidFill>
                        <a:cs typeface="Segoe UI" pitchFamily="34" charset="0"/>
                      </a:rPr>
                      <a:t>Familiar User Experience</a:t>
                    </a:r>
                    <a:endParaRPr lang="en-US" sz="2000" dirty="0">
                      <a:ln>
                        <a:solidFill>
                          <a:srgbClr val="FFFFFF">
                            <a:alpha val="0"/>
                          </a:srgbClr>
                        </a:solidFill>
                      </a:ln>
                      <a:solidFill>
                        <a:srgbClr val="FFFFFF">
                          <a:alpha val="99000"/>
                        </a:srgbClr>
                      </a:solidFill>
                      <a:cs typeface="Segoe UI" pitchFamily="34" charset="0"/>
                    </a:endParaRPr>
                  </a:p>
                </p:txBody>
              </p:sp>
              <p:grpSp>
                <p:nvGrpSpPr>
                  <p:cNvPr id="146" name="Group 145"/>
                  <p:cNvGrpSpPr>
                    <a:grpSpLocks noChangeAspect="1"/>
                  </p:cNvGrpSpPr>
                  <p:nvPr/>
                </p:nvGrpSpPr>
                <p:grpSpPr>
                  <a:xfrm>
                    <a:off x="7323455" y="1249899"/>
                    <a:ext cx="69373" cy="18865"/>
                    <a:chOff x="-1260476" y="1773238"/>
                    <a:chExt cx="180975" cy="49213"/>
                  </a:xfrm>
                  <a:solidFill>
                    <a:schemeClr val="bg1"/>
                  </a:solidFill>
                </p:grpSpPr>
                <p:sp>
                  <p:nvSpPr>
                    <p:cNvPr id="147" name="Freeform 118"/>
                    <p:cNvSpPr>
                      <a:spLocks noEditPoints="1"/>
                    </p:cNvSpPr>
                    <p:nvPr/>
                  </p:nvSpPr>
                  <p:spPr bwMode="auto">
                    <a:xfrm>
                      <a:off x="-1198563" y="1774826"/>
                      <a:ext cx="47625" cy="47625"/>
                    </a:xfrm>
                    <a:custGeom>
                      <a:avLst/>
                      <a:gdLst>
                        <a:gd name="T0" fmla="*/ 0 w 30"/>
                        <a:gd name="T1" fmla="*/ 30 h 30"/>
                        <a:gd name="T2" fmla="*/ 30 w 30"/>
                        <a:gd name="T3" fmla="*/ 30 h 30"/>
                        <a:gd name="T4" fmla="*/ 30 w 30"/>
                        <a:gd name="T5" fmla="*/ 0 h 30"/>
                        <a:gd name="T6" fmla="*/ 0 w 30"/>
                        <a:gd name="T7" fmla="*/ 0 h 30"/>
                        <a:gd name="T8" fmla="*/ 0 w 30"/>
                        <a:gd name="T9" fmla="*/ 30 h 30"/>
                        <a:gd name="T10" fmla="*/ 8 w 30"/>
                        <a:gd name="T11" fmla="*/ 8 h 30"/>
                        <a:gd name="T12" fmla="*/ 22 w 30"/>
                        <a:gd name="T13" fmla="*/ 8 h 30"/>
                        <a:gd name="T14" fmla="*/ 22 w 30"/>
                        <a:gd name="T15" fmla="*/ 22 h 30"/>
                        <a:gd name="T16" fmla="*/ 8 w 30"/>
                        <a:gd name="T17" fmla="*/ 22 h 30"/>
                        <a:gd name="T18" fmla="*/ 8 w 30"/>
                        <a:gd name="T19" fmla="*/ 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0" y="30"/>
                          </a:moveTo>
                          <a:lnTo>
                            <a:pt x="30" y="30"/>
                          </a:lnTo>
                          <a:lnTo>
                            <a:pt x="30" y="0"/>
                          </a:lnTo>
                          <a:lnTo>
                            <a:pt x="0" y="0"/>
                          </a:lnTo>
                          <a:lnTo>
                            <a:pt x="0" y="30"/>
                          </a:lnTo>
                          <a:close/>
                          <a:moveTo>
                            <a:pt x="8" y="8"/>
                          </a:moveTo>
                          <a:lnTo>
                            <a:pt x="22" y="8"/>
                          </a:lnTo>
                          <a:lnTo>
                            <a:pt x="22" y="22"/>
                          </a:lnTo>
                          <a:lnTo>
                            <a:pt x="8" y="22"/>
                          </a:lnTo>
                          <a:lnTo>
                            <a:pt x="8" y="8"/>
                          </a:lnTo>
                          <a:close/>
                        </a:path>
                      </a:pathLst>
                    </a:custGeom>
                    <a:grp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48" name="Rectangle 120"/>
                    <p:cNvSpPr>
                      <a:spLocks noChangeArrowheads="1"/>
                    </p:cNvSpPr>
                    <p:nvPr/>
                  </p:nvSpPr>
                  <p:spPr bwMode="auto">
                    <a:xfrm>
                      <a:off x="-1260476" y="1809751"/>
                      <a:ext cx="46038" cy="12700"/>
                    </a:xfrm>
                    <a:prstGeom prst="rect">
                      <a:avLst/>
                    </a:prstGeom>
                    <a:grp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149" name="Freeform 121"/>
                    <p:cNvSpPr>
                      <a:spLocks/>
                    </p:cNvSpPr>
                    <p:nvPr/>
                  </p:nvSpPr>
                  <p:spPr bwMode="auto">
                    <a:xfrm>
                      <a:off x="-1130301" y="1773238"/>
                      <a:ext cx="50800" cy="49213"/>
                    </a:xfrm>
                    <a:custGeom>
                      <a:avLst/>
                      <a:gdLst>
                        <a:gd name="T0" fmla="*/ 26 w 32"/>
                        <a:gd name="T1" fmla="*/ 0 h 31"/>
                        <a:gd name="T2" fmla="*/ 16 w 32"/>
                        <a:gd name="T3" fmla="*/ 10 h 31"/>
                        <a:gd name="T4" fmla="*/ 6 w 32"/>
                        <a:gd name="T5" fmla="*/ 0 h 31"/>
                        <a:gd name="T6" fmla="*/ 0 w 32"/>
                        <a:gd name="T7" fmla="*/ 6 h 31"/>
                        <a:gd name="T8" fmla="*/ 10 w 32"/>
                        <a:gd name="T9" fmla="*/ 16 h 31"/>
                        <a:gd name="T10" fmla="*/ 1 w 32"/>
                        <a:gd name="T11" fmla="*/ 26 h 31"/>
                        <a:gd name="T12" fmla="*/ 6 w 32"/>
                        <a:gd name="T13" fmla="*/ 31 h 31"/>
                        <a:gd name="T14" fmla="*/ 16 w 32"/>
                        <a:gd name="T15" fmla="*/ 21 h 31"/>
                        <a:gd name="T16" fmla="*/ 26 w 32"/>
                        <a:gd name="T17" fmla="*/ 31 h 31"/>
                        <a:gd name="T18" fmla="*/ 31 w 32"/>
                        <a:gd name="T19" fmla="*/ 26 h 31"/>
                        <a:gd name="T20" fmla="*/ 22 w 32"/>
                        <a:gd name="T21" fmla="*/ 16 h 31"/>
                        <a:gd name="T22" fmla="*/ 32 w 32"/>
                        <a:gd name="T23" fmla="*/ 6 h 31"/>
                        <a:gd name="T24" fmla="*/ 26 w 32"/>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31">
                          <a:moveTo>
                            <a:pt x="26" y="0"/>
                          </a:moveTo>
                          <a:lnTo>
                            <a:pt x="16" y="10"/>
                          </a:lnTo>
                          <a:lnTo>
                            <a:pt x="6" y="0"/>
                          </a:lnTo>
                          <a:lnTo>
                            <a:pt x="0" y="6"/>
                          </a:lnTo>
                          <a:lnTo>
                            <a:pt x="10" y="16"/>
                          </a:lnTo>
                          <a:lnTo>
                            <a:pt x="1" y="26"/>
                          </a:lnTo>
                          <a:lnTo>
                            <a:pt x="6" y="31"/>
                          </a:lnTo>
                          <a:lnTo>
                            <a:pt x="16" y="21"/>
                          </a:lnTo>
                          <a:lnTo>
                            <a:pt x="26" y="31"/>
                          </a:lnTo>
                          <a:lnTo>
                            <a:pt x="31" y="26"/>
                          </a:lnTo>
                          <a:lnTo>
                            <a:pt x="22" y="16"/>
                          </a:lnTo>
                          <a:lnTo>
                            <a:pt x="32" y="6"/>
                          </a:lnTo>
                          <a:lnTo>
                            <a:pt x="26" y="0"/>
                          </a:lnTo>
                          <a:close/>
                        </a:path>
                      </a:pathLst>
                    </a:custGeom>
                    <a:solidFill>
                      <a:schemeClr val="tx1"/>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US"/>
                    </a:p>
                  </p:txBody>
                </p:sp>
              </p:grpSp>
            </p:grpSp>
            <p:grpSp>
              <p:nvGrpSpPr>
                <p:cNvPr id="140" name="Group 139"/>
                <p:cNvGrpSpPr/>
                <p:nvPr/>
              </p:nvGrpSpPr>
              <p:grpSpPr bwMode="black">
                <a:xfrm>
                  <a:off x="694395" y="1446028"/>
                  <a:ext cx="393321" cy="758830"/>
                  <a:chOff x="3360738" y="989012"/>
                  <a:chExt cx="746125" cy="1439864"/>
                </a:xfrm>
              </p:grpSpPr>
              <p:sp>
                <p:nvSpPr>
                  <p:cNvPr id="141" name="Freeform 36"/>
                  <p:cNvSpPr>
                    <a:spLocks/>
                  </p:cNvSpPr>
                  <p:nvPr/>
                </p:nvSpPr>
                <p:spPr bwMode="black">
                  <a:xfrm>
                    <a:off x="3360738" y="1255713"/>
                    <a:ext cx="525463" cy="1173163"/>
                  </a:xfrm>
                  <a:custGeom>
                    <a:avLst/>
                    <a:gdLst>
                      <a:gd name="T0" fmla="*/ 252 w 562"/>
                      <a:gd name="T1" fmla="*/ 272 h 1256"/>
                      <a:gd name="T2" fmla="*/ 234 w 562"/>
                      <a:gd name="T3" fmla="*/ 192 h 1256"/>
                      <a:gd name="T4" fmla="*/ 407 w 562"/>
                      <a:gd name="T5" fmla="*/ 20 h 1256"/>
                      <a:gd name="T6" fmla="*/ 534 w 562"/>
                      <a:gd name="T7" fmla="*/ 76 h 1256"/>
                      <a:gd name="T8" fmla="*/ 562 w 562"/>
                      <a:gd name="T9" fmla="*/ 51 h 1256"/>
                      <a:gd name="T10" fmla="*/ 443 w 562"/>
                      <a:gd name="T11" fmla="*/ 0 h 1256"/>
                      <a:gd name="T12" fmla="*/ 164 w 562"/>
                      <a:gd name="T13" fmla="*/ 0 h 1256"/>
                      <a:gd name="T14" fmla="*/ 0 w 562"/>
                      <a:gd name="T15" fmla="*/ 163 h 1256"/>
                      <a:gd name="T16" fmla="*/ 0 w 562"/>
                      <a:gd name="T17" fmla="*/ 556 h 1256"/>
                      <a:gd name="T18" fmla="*/ 55 w 562"/>
                      <a:gd name="T19" fmla="*/ 612 h 1256"/>
                      <a:gd name="T20" fmla="*/ 110 w 562"/>
                      <a:gd name="T21" fmla="*/ 556 h 1256"/>
                      <a:gd name="T22" fmla="*/ 110 w 562"/>
                      <a:gd name="T23" fmla="*/ 201 h 1256"/>
                      <a:gd name="T24" fmla="*/ 139 w 562"/>
                      <a:gd name="T25" fmla="*/ 201 h 1256"/>
                      <a:gd name="T26" fmla="*/ 139 w 562"/>
                      <a:gd name="T27" fmla="*/ 1182 h 1256"/>
                      <a:gd name="T28" fmla="*/ 214 w 562"/>
                      <a:gd name="T29" fmla="*/ 1256 h 1256"/>
                      <a:gd name="T30" fmla="*/ 288 w 562"/>
                      <a:gd name="T31" fmla="*/ 1182 h 1256"/>
                      <a:gd name="T32" fmla="*/ 288 w 562"/>
                      <a:gd name="T33" fmla="*/ 615 h 1256"/>
                      <a:gd name="T34" fmla="*/ 317 w 562"/>
                      <a:gd name="T35" fmla="*/ 615 h 1256"/>
                      <a:gd name="T36" fmla="*/ 317 w 562"/>
                      <a:gd name="T37" fmla="*/ 1182 h 1256"/>
                      <a:gd name="T38" fmla="*/ 392 w 562"/>
                      <a:gd name="T39" fmla="*/ 1256 h 1256"/>
                      <a:gd name="T40" fmla="*/ 467 w 562"/>
                      <a:gd name="T41" fmla="*/ 1182 h 1256"/>
                      <a:gd name="T42" fmla="*/ 467 w 562"/>
                      <a:gd name="T43" fmla="*/ 516 h 1256"/>
                      <a:gd name="T44" fmla="*/ 252 w 562"/>
                      <a:gd name="T45" fmla="*/ 272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2" h="1256">
                        <a:moveTo>
                          <a:pt x="252" y="272"/>
                        </a:moveTo>
                        <a:cubicBezTo>
                          <a:pt x="248" y="262"/>
                          <a:pt x="234" y="225"/>
                          <a:pt x="234" y="192"/>
                        </a:cubicBezTo>
                        <a:cubicBezTo>
                          <a:pt x="234" y="97"/>
                          <a:pt x="312" y="20"/>
                          <a:pt x="407" y="20"/>
                        </a:cubicBezTo>
                        <a:cubicBezTo>
                          <a:pt x="456" y="20"/>
                          <a:pt x="501" y="41"/>
                          <a:pt x="534" y="76"/>
                        </a:cubicBezTo>
                        <a:cubicBezTo>
                          <a:pt x="542" y="66"/>
                          <a:pt x="551" y="58"/>
                          <a:pt x="562" y="51"/>
                        </a:cubicBezTo>
                        <a:cubicBezTo>
                          <a:pt x="532" y="20"/>
                          <a:pt x="490" y="0"/>
                          <a:pt x="443" y="0"/>
                        </a:cubicBezTo>
                        <a:cubicBezTo>
                          <a:pt x="164" y="0"/>
                          <a:pt x="164" y="0"/>
                          <a:pt x="164" y="0"/>
                        </a:cubicBezTo>
                        <a:cubicBezTo>
                          <a:pt x="73" y="0"/>
                          <a:pt x="0" y="73"/>
                          <a:pt x="0" y="163"/>
                        </a:cubicBezTo>
                        <a:cubicBezTo>
                          <a:pt x="0" y="556"/>
                          <a:pt x="0" y="556"/>
                          <a:pt x="0" y="556"/>
                        </a:cubicBezTo>
                        <a:cubicBezTo>
                          <a:pt x="0" y="587"/>
                          <a:pt x="25" y="612"/>
                          <a:pt x="55" y="612"/>
                        </a:cubicBezTo>
                        <a:cubicBezTo>
                          <a:pt x="86" y="612"/>
                          <a:pt x="110" y="587"/>
                          <a:pt x="110" y="556"/>
                        </a:cubicBezTo>
                        <a:cubicBezTo>
                          <a:pt x="110" y="201"/>
                          <a:pt x="110" y="201"/>
                          <a:pt x="110" y="201"/>
                        </a:cubicBezTo>
                        <a:cubicBezTo>
                          <a:pt x="139" y="201"/>
                          <a:pt x="139" y="201"/>
                          <a:pt x="139" y="201"/>
                        </a:cubicBezTo>
                        <a:cubicBezTo>
                          <a:pt x="139" y="1182"/>
                          <a:pt x="139" y="1182"/>
                          <a:pt x="139" y="1182"/>
                        </a:cubicBezTo>
                        <a:cubicBezTo>
                          <a:pt x="139" y="1223"/>
                          <a:pt x="173" y="1256"/>
                          <a:pt x="214" y="1256"/>
                        </a:cubicBezTo>
                        <a:cubicBezTo>
                          <a:pt x="255" y="1256"/>
                          <a:pt x="288" y="1223"/>
                          <a:pt x="288" y="1182"/>
                        </a:cubicBezTo>
                        <a:cubicBezTo>
                          <a:pt x="288" y="615"/>
                          <a:pt x="288" y="615"/>
                          <a:pt x="288" y="615"/>
                        </a:cubicBezTo>
                        <a:cubicBezTo>
                          <a:pt x="317" y="615"/>
                          <a:pt x="317" y="615"/>
                          <a:pt x="317" y="615"/>
                        </a:cubicBezTo>
                        <a:cubicBezTo>
                          <a:pt x="317" y="1182"/>
                          <a:pt x="317" y="1182"/>
                          <a:pt x="317" y="1182"/>
                        </a:cubicBezTo>
                        <a:cubicBezTo>
                          <a:pt x="317" y="1223"/>
                          <a:pt x="351" y="1256"/>
                          <a:pt x="392" y="1256"/>
                        </a:cubicBezTo>
                        <a:cubicBezTo>
                          <a:pt x="433" y="1256"/>
                          <a:pt x="467" y="1223"/>
                          <a:pt x="467" y="1182"/>
                        </a:cubicBezTo>
                        <a:cubicBezTo>
                          <a:pt x="467" y="516"/>
                          <a:pt x="467" y="516"/>
                          <a:pt x="467" y="516"/>
                        </a:cubicBezTo>
                        <a:cubicBezTo>
                          <a:pt x="398" y="459"/>
                          <a:pt x="284" y="354"/>
                          <a:pt x="252" y="2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2" name="Freeform 37"/>
                  <p:cNvSpPr>
                    <a:spLocks/>
                  </p:cNvSpPr>
                  <p:nvPr/>
                </p:nvSpPr>
                <p:spPr bwMode="black">
                  <a:xfrm>
                    <a:off x="3824288" y="1733550"/>
                    <a:ext cx="103188" cy="93663"/>
                  </a:xfrm>
                  <a:custGeom>
                    <a:avLst/>
                    <a:gdLst>
                      <a:gd name="T0" fmla="*/ 58 w 110"/>
                      <a:gd name="T1" fmla="*/ 43 h 101"/>
                      <a:gd name="T2" fmla="*/ 38 w 110"/>
                      <a:gd name="T3" fmla="*/ 59 h 101"/>
                      <a:gd name="T4" fmla="*/ 17 w 110"/>
                      <a:gd name="T5" fmla="*/ 43 h 101"/>
                      <a:gd name="T6" fmla="*/ 0 w 110"/>
                      <a:gd name="T7" fmla="*/ 29 h 101"/>
                      <a:gd name="T8" fmla="*/ 0 w 110"/>
                      <a:gd name="T9" fmla="*/ 45 h 101"/>
                      <a:gd name="T10" fmla="*/ 56 w 110"/>
                      <a:gd name="T11" fmla="*/ 101 h 101"/>
                      <a:gd name="T12" fmla="*/ 110 w 110"/>
                      <a:gd name="T13" fmla="*/ 45 h 101"/>
                      <a:gd name="T14" fmla="*/ 110 w 110"/>
                      <a:gd name="T15" fmla="*/ 0 h 101"/>
                      <a:gd name="T16" fmla="*/ 58 w 110"/>
                      <a:gd name="T17" fmla="*/ 4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01">
                        <a:moveTo>
                          <a:pt x="58" y="43"/>
                        </a:moveTo>
                        <a:cubicBezTo>
                          <a:pt x="38" y="59"/>
                          <a:pt x="38" y="59"/>
                          <a:pt x="38" y="59"/>
                        </a:cubicBezTo>
                        <a:cubicBezTo>
                          <a:pt x="17" y="43"/>
                          <a:pt x="17" y="43"/>
                          <a:pt x="17" y="43"/>
                        </a:cubicBezTo>
                        <a:cubicBezTo>
                          <a:pt x="13" y="40"/>
                          <a:pt x="7" y="35"/>
                          <a:pt x="0" y="29"/>
                        </a:cubicBezTo>
                        <a:cubicBezTo>
                          <a:pt x="0" y="45"/>
                          <a:pt x="0" y="45"/>
                          <a:pt x="0" y="45"/>
                        </a:cubicBezTo>
                        <a:cubicBezTo>
                          <a:pt x="0" y="76"/>
                          <a:pt x="25" y="101"/>
                          <a:pt x="56" y="101"/>
                        </a:cubicBezTo>
                        <a:cubicBezTo>
                          <a:pt x="85" y="101"/>
                          <a:pt x="110" y="76"/>
                          <a:pt x="110" y="45"/>
                        </a:cubicBezTo>
                        <a:cubicBezTo>
                          <a:pt x="110" y="0"/>
                          <a:pt x="110" y="0"/>
                          <a:pt x="110" y="0"/>
                        </a:cubicBezTo>
                        <a:cubicBezTo>
                          <a:pt x="86" y="20"/>
                          <a:pt x="67" y="35"/>
                          <a:pt x="58"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3" name="Oval 38"/>
                  <p:cNvSpPr>
                    <a:spLocks noChangeArrowheads="1"/>
                  </p:cNvSpPr>
                  <p:nvPr/>
                </p:nvSpPr>
                <p:spPr bwMode="black">
                  <a:xfrm>
                    <a:off x="3525838" y="989012"/>
                    <a:ext cx="234950" cy="2381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4" name="Freeform 39"/>
                  <p:cNvSpPr>
                    <a:spLocks/>
                  </p:cNvSpPr>
                  <p:nvPr/>
                </p:nvSpPr>
                <p:spPr bwMode="black">
                  <a:xfrm>
                    <a:off x="3606800" y="1304925"/>
                    <a:ext cx="500063" cy="444500"/>
                  </a:xfrm>
                  <a:custGeom>
                    <a:avLst/>
                    <a:gdLst>
                      <a:gd name="T0" fmla="*/ 267 w 535"/>
                      <a:gd name="T1" fmla="*/ 476 h 477"/>
                      <a:gd name="T2" fmla="*/ 15 w 535"/>
                      <a:gd name="T3" fmla="*/ 208 h 477"/>
                      <a:gd name="T4" fmla="*/ 0 w 535"/>
                      <a:gd name="T5" fmla="*/ 140 h 477"/>
                      <a:gd name="T6" fmla="*/ 141 w 535"/>
                      <a:gd name="T7" fmla="*/ 0 h 477"/>
                      <a:gd name="T8" fmla="*/ 268 w 535"/>
                      <a:gd name="T9" fmla="*/ 80 h 477"/>
                      <a:gd name="T10" fmla="*/ 394 w 535"/>
                      <a:gd name="T11" fmla="*/ 0 h 477"/>
                      <a:gd name="T12" fmla="*/ 535 w 535"/>
                      <a:gd name="T13" fmla="*/ 140 h 477"/>
                      <a:gd name="T14" fmla="*/ 520 w 535"/>
                      <a:gd name="T15" fmla="*/ 208 h 477"/>
                      <a:gd name="T16" fmla="*/ 269 w 535"/>
                      <a:gd name="T17" fmla="*/ 476 h 477"/>
                      <a:gd name="T18" fmla="*/ 268 w 535"/>
                      <a:gd name="T19" fmla="*/ 477 h 477"/>
                      <a:gd name="T20" fmla="*/ 267 w 535"/>
                      <a:gd name="T21" fmla="*/ 476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5" h="477">
                        <a:moveTo>
                          <a:pt x="267" y="476"/>
                        </a:moveTo>
                        <a:cubicBezTo>
                          <a:pt x="247" y="461"/>
                          <a:pt x="55" y="310"/>
                          <a:pt x="15" y="208"/>
                        </a:cubicBezTo>
                        <a:cubicBezTo>
                          <a:pt x="8" y="189"/>
                          <a:pt x="0" y="162"/>
                          <a:pt x="0" y="140"/>
                        </a:cubicBezTo>
                        <a:cubicBezTo>
                          <a:pt x="0" y="63"/>
                          <a:pt x="63" y="0"/>
                          <a:pt x="141" y="0"/>
                        </a:cubicBezTo>
                        <a:cubicBezTo>
                          <a:pt x="197" y="0"/>
                          <a:pt x="245" y="33"/>
                          <a:pt x="268" y="80"/>
                        </a:cubicBezTo>
                        <a:cubicBezTo>
                          <a:pt x="290" y="33"/>
                          <a:pt x="339" y="0"/>
                          <a:pt x="394" y="0"/>
                        </a:cubicBezTo>
                        <a:cubicBezTo>
                          <a:pt x="472" y="0"/>
                          <a:pt x="535" y="63"/>
                          <a:pt x="535" y="140"/>
                        </a:cubicBezTo>
                        <a:cubicBezTo>
                          <a:pt x="535" y="162"/>
                          <a:pt x="527" y="189"/>
                          <a:pt x="520" y="208"/>
                        </a:cubicBezTo>
                        <a:cubicBezTo>
                          <a:pt x="480" y="310"/>
                          <a:pt x="288" y="461"/>
                          <a:pt x="269" y="476"/>
                        </a:cubicBezTo>
                        <a:cubicBezTo>
                          <a:pt x="268" y="477"/>
                          <a:pt x="268" y="477"/>
                          <a:pt x="268" y="477"/>
                        </a:cubicBezTo>
                        <a:lnTo>
                          <a:pt x="267" y="4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sp>
            <p:nvSpPr>
              <p:cNvPr id="137" name="Rectangle 136"/>
              <p:cNvSpPr>
                <a:spLocks noChangeAspect="1"/>
              </p:cNvSpPr>
              <p:nvPr>
                <p:custDataLst>
                  <p:tags r:id="rId6"/>
                </p:custDataLst>
              </p:nvPr>
            </p:nvSpPr>
            <p:spPr bwMode="auto">
              <a:xfrm>
                <a:off x="9024116" y="1293795"/>
                <a:ext cx="2697480" cy="1737360"/>
              </a:xfrm>
              <a:prstGeom prst="rect">
                <a:avLst/>
              </a:prstGeom>
              <a:solidFill>
                <a:srgbClr val="00DAFF"/>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b" anchorCtr="0" compatLnSpc="1">
                <a:prstTxWarp prst="textNoShape">
                  <a:avLst/>
                </a:prstTxWarp>
                <a:noAutofit/>
              </a:bodyPr>
              <a:lstStyle/>
              <a:p>
                <a:pPr defTabSz="914083" fontAlgn="base">
                  <a:lnSpc>
                    <a:spcPct val="90000"/>
                  </a:lnSpc>
                  <a:spcBef>
                    <a:spcPts val="630"/>
                  </a:spcBef>
                  <a:spcAft>
                    <a:spcPct val="0"/>
                  </a:spcAft>
                  <a:buClr>
                    <a:srgbClr val="FFFF99"/>
                  </a:buClr>
                  <a:buSzPct val="120000"/>
                </a:pPr>
                <a:r>
                  <a:rPr lang="en-US" dirty="0" smtClean="0">
                    <a:ln>
                      <a:solidFill>
                        <a:srgbClr val="FFFFFF">
                          <a:alpha val="0"/>
                        </a:srgbClr>
                      </a:solidFill>
                    </a:ln>
                    <a:solidFill>
                      <a:srgbClr val="FFFFFF">
                        <a:alpha val="99000"/>
                      </a:srgbClr>
                    </a:solidFill>
                    <a:cs typeface="Segoe UI" pitchFamily="34" charset="0"/>
                  </a:rPr>
                  <a:t>            </a:t>
                </a:r>
              </a:p>
              <a:p>
                <a:pPr defTabSz="914083" fontAlgn="base">
                  <a:lnSpc>
                    <a:spcPct val="90000"/>
                  </a:lnSpc>
                  <a:spcBef>
                    <a:spcPts val="630"/>
                  </a:spcBef>
                  <a:spcAft>
                    <a:spcPct val="0"/>
                  </a:spcAft>
                  <a:buClr>
                    <a:srgbClr val="FFFF99"/>
                  </a:buClr>
                  <a:buSzPct val="120000"/>
                </a:pPr>
                <a:r>
                  <a:rPr lang="en-US" sz="2000" dirty="0">
                    <a:ln>
                      <a:solidFill>
                        <a:srgbClr val="FFFFFF">
                          <a:alpha val="0"/>
                        </a:srgbClr>
                      </a:solidFill>
                    </a:ln>
                    <a:solidFill>
                      <a:srgbClr val="FFFFFF">
                        <a:alpha val="99000"/>
                      </a:srgbClr>
                    </a:solidFill>
                    <a:cs typeface="Segoe UI" pitchFamily="34" charset="0"/>
                  </a:rPr>
                  <a:t>Schema Editing</a:t>
                </a:r>
                <a:r>
                  <a:rPr lang="en-US" sz="2000" dirty="0">
                    <a:ln>
                      <a:solidFill>
                        <a:srgbClr val="FFFFFF">
                          <a:alpha val="0"/>
                        </a:srgbClr>
                      </a:solidFill>
                    </a:ln>
                    <a:solidFill>
                      <a:srgbClr val="FFFFFF">
                        <a:alpha val="99000"/>
                      </a:srgbClr>
                    </a:solidFill>
                    <a:cs typeface="Segoe UI" pitchFamily="34" charset="0"/>
                  </a:rPr>
                  <a:t/>
                </a:r>
                <a:br>
                  <a:rPr lang="en-US" sz="2000" dirty="0">
                    <a:ln>
                      <a:solidFill>
                        <a:srgbClr val="FFFFFF">
                          <a:alpha val="0"/>
                        </a:srgbClr>
                      </a:solidFill>
                    </a:ln>
                    <a:solidFill>
                      <a:srgbClr val="FFFFFF">
                        <a:alpha val="99000"/>
                      </a:srgbClr>
                    </a:solidFill>
                    <a:cs typeface="Segoe UI" pitchFamily="34" charset="0"/>
                  </a:rPr>
                </a:br>
                <a:r>
                  <a:rPr lang="en-US" sz="2000" dirty="0">
                    <a:ln>
                      <a:solidFill>
                        <a:srgbClr val="FFFFFF">
                          <a:alpha val="0"/>
                        </a:srgbClr>
                      </a:solidFill>
                    </a:ln>
                    <a:solidFill>
                      <a:srgbClr val="FFFFFF">
                        <a:alpha val="99000"/>
                      </a:srgbClr>
                    </a:solidFill>
                    <a:cs typeface="Segoe UI" pitchFamily="34" charset="0"/>
                  </a:rPr>
                  <a:t>Tools</a:t>
                </a:r>
              </a:p>
            </p:txBody>
          </p:sp>
          <p:sp>
            <p:nvSpPr>
              <p:cNvPr id="138" name="Rectangle 137"/>
              <p:cNvSpPr>
                <a:spLocks noChangeAspect="1"/>
              </p:cNvSpPr>
              <p:nvPr>
                <p:custDataLst>
                  <p:tags r:id="rId7"/>
                </p:custDataLst>
              </p:nvPr>
            </p:nvSpPr>
            <p:spPr bwMode="auto">
              <a:xfrm>
                <a:off x="6171334" y="1295400"/>
                <a:ext cx="2688336" cy="1737360"/>
              </a:xfrm>
              <a:prstGeom prst="rect">
                <a:avLst/>
              </a:prstGeom>
              <a:solidFill>
                <a:srgbClr val="00DAFF"/>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b" anchorCtr="0" compatLnSpc="1">
                <a:prstTxWarp prst="textNoShape">
                  <a:avLst/>
                </a:prstTxWarp>
                <a:noAutofit/>
              </a:bodyPr>
              <a:lstStyle/>
              <a:p>
                <a:pPr defTabSz="914083" fontAlgn="base">
                  <a:lnSpc>
                    <a:spcPct val="90000"/>
                  </a:lnSpc>
                  <a:spcBef>
                    <a:spcPts val="630"/>
                  </a:spcBef>
                  <a:spcAft>
                    <a:spcPct val="0"/>
                  </a:spcAft>
                  <a:buClr>
                    <a:srgbClr val="FFFF99"/>
                  </a:buClr>
                  <a:buSzPct val="120000"/>
                  <a:defRPr/>
                </a:pPr>
                <a:r>
                  <a:rPr lang="en-US" sz="2000" dirty="0">
                    <a:ln>
                      <a:solidFill>
                        <a:srgbClr val="FFFFFF">
                          <a:alpha val="0"/>
                        </a:srgbClr>
                      </a:solidFill>
                    </a:ln>
                    <a:solidFill>
                      <a:srgbClr val="FFFFFF">
                        <a:alpha val="99000"/>
                      </a:srgbClr>
                    </a:solidFill>
                    <a:cs typeface="Segoe UI" pitchFamily="34" charset="0"/>
                  </a:rPr>
                  <a:t>Difference Detection</a:t>
                </a:r>
                <a:endParaRPr lang="en-US" sz="2000" dirty="0">
                  <a:ln>
                    <a:solidFill>
                      <a:srgbClr val="FFFFFF">
                        <a:alpha val="0"/>
                      </a:srgbClr>
                    </a:solidFill>
                  </a:ln>
                  <a:solidFill>
                    <a:srgbClr val="FFFFFF">
                      <a:alpha val="99000"/>
                    </a:srgbClr>
                  </a:solidFill>
                  <a:cs typeface="Segoe UI" pitchFamily="34" charset="0"/>
                </a:endParaRPr>
              </a:p>
            </p:txBody>
          </p:sp>
        </p:grpSp>
        <p:sp>
          <p:nvSpPr>
            <p:cNvPr id="110" name="Freeform 14"/>
            <p:cNvSpPr>
              <a:spLocks noEditPoints="1"/>
            </p:cNvSpPr>
            <p:nvPr/>
          </p:nvSpPr>
          <p:spPr bwMode="black">
            <a:xfrm>
              <a:off x="9142412" y="1427100"/>
              <a:ext cx="737892" cy="706500"/>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dirty="0"/>
            </a:p>
          </p:txBody>
        </p:sp>
        <p:pic>
          <p:nvPicPr>
            <p:cNvPr id="111" name="Picture 34" descr="Efficiency.png"/>
            <p:cNvPicPr>
              <a:picLocks noChangeAspect="1"/>
            </p:cNvPicPr>
            <p:nvPr/>
          </p:nvPicPr>
          <p:blipFill>
            <a:blip r:embed="rId15" cstate="print"/>
            <a:srcRect/>
            <a:stretch>
              <a:fillRect/>
            </a:stretch>
          </p:blipFill>
          <p:spPr bwMode="auto">
            <a:xfrm>
              <a:off x="3275012" y="1371600"/>
              <a:ext cx="990600" cy="919618"/>
            </a:xfrm>
            <a:prstGeom prst="rect">
              <a:avLst/>
            </a:prstGeom>
            <a:noFill/>
            <a:ln>
              <a:noFill/>
            </a:ln>
          </p:spPr>
        </p:pic>
        <p:grpSp>
          <p:nvGrpSpPr>
            <p:cNvPr id="112" name="Group 111"/>
            <p:cNvGrpSpPr/>
            <p:nvPr/>
          </p:nvGrpSpPr>
          <p:grpSpPr>
            <a:xfrm>
              <a:off x="6323012" y="1382442"/>
              <a:ext cx="685800" cy="780033"/>
              <a:chOff x="6323012" y="1382442"/>
              <a:chExt cx="685800" cy="780033"/>
            </a:xfrm>
          </p:grpSpPr>
          <p:grpSp>
            <p:nvGrpSpPr>
              <p:cNvPr id="113" name="Group 112"/>
              <p:cNvGrpSpPr/>
              <p:nvPr/>
            </p:nvGrpSpPr>
            <p:grpSpPr>
              <a:xfrm>
                <a:off x="6323012" y="1382442"/>
                <a:ext cx="666845" cy="780033"/>
                <a:chOff x="6323012" y="1382442"/>
                <a:chExt cx="666845" cy="780033"/>
              </a:xfrm>
            </p:grpSpPr>
            <p:grpSp>
              <p:nvGrpSpPr>
                <p:cNvPr id="127" name="Group 126"/>
                <p:cNvGrpSpPr/>
                <p:nvPr/>
              </p:nvGrpSpPr>
              <p:grpSpPr>
                <a:xfrm>
                  <a:off x="6323012" y="1722873"/>
                  <a:ext cx="353247" cy="439602"/>
                  <a:chOff x="4800600" y="2419352"/>
                  <a:chExt cx="466724" cy="624798"/>
                </a:xfrm>
              </p:grpSpPr>
              <p:sp>
                <p:nvSpPr>
                  <p:cNvPr id="132" name="Rectangle 9"/>
                  <p:cNvSpPr/>
                  <p:nvPr/>
                </p:nvSpPr>
                <p:spPr>
                  <a:xfrm>
                    <a:off x="4800600" y="2434550"/>
                    <a:ext cx="457200" cy="609600"/>
                  </a:xfrm>
                  <a:custGeom>
                    <a:avLst/>
                    <a:gdLst>
                      <a:gd name="connsiteX0" fmla="*/ 0 w 457200"/>
                      <a:gd name="connsiteY0" fmla="*/ 0 h 609600"/>
                      <a:gd name="connsiteX1" fmla="*/ 457200 w 457200"/>
                      <a:gd name="connsiteY1" fmla="*/ 0 h 609600"/>
                      <a:gd name="connsiteX2" fmla="*/ 457200 w 457200"/>
                      <a:gd name="connsiteY2" fmla="*/ 609600 h 609600"/>
                      <a:gd name="connsiteX3" fmla="*/ 0 w 457200"/>
                      <a:gd name="connsiteY3" fmla="*/ 609600 h 609600"/>
                      <a:gd name="connsiteX4" fmla="*/ 0 w 457200"/>
                      <a:gd name="connsiteY4" fmla="*/ 0 h 609600"/>
                      <a:gd name="connsiteX0" fmla="*/ 0 w 457200"/>
                      <a:gd name="connsiteY0" fmla="*/ 0 h 609600"/>
                      <a:gd name="connsiteX1" fmla="*/ 454819 w 457200"/>
                      <a:gd name="connsiteY1" fmla="*/ 0 h 609600"/>
                      <a:gd name="connsiteX2" fmla="*/ 457200 w 457200"/>
                      <a:gd name="connsiteY2" fmla="*/ 609600 h 609600"/>
                      <a:gd name="connsiteX3" fmla="*/ 0 w 457200"/>
                      <a:gd name="connsiteY3" fmla="*/ 609600 h 609600"/>
                      <a:gd name="connsiteX4" fmla="*/ 0 w 457200"/>
                      <a:gd name="connsiteY4" fmla="*/ 0 h 60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0" h="609600">
                        <a:moveTo>
                          <a:pt x="0" y="0"/>
                        </a:moveTo>
                        <a:lnTo>
                          <a:pt x="454819" y="0"/>
                        </a:lnTo>
                        <a:cubicBezTo>
                          <a:pt x="455613" y="203200"/>
                          <a:pt x="456406" y="406400"/>
                          <a:pt x="457200" y="609600"/>
                        </a:cubicBezTo>
                        <a:lnTo>
                          <a:pt x="0" y="609600"/>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3" name="Rectangle 132"/>
                  <p:cNvSpPr/>
                  <p:nvPr/>
                </p:nvSpPr>
                <p:spPr>
                  <a:xfrm>
                    <a:off x="5114924" y="2419352"/>
                    <a:ext cx="142876" cy="1524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4" name="Rectangle 11"/>
                  <p:cNvSpPr/>
                  <p:nvPr/>
                </p:nvSpPr>
                <p:spPr>
                  <a:xfrm>
                    <a:off x="5114924" y="2419352"/>
                    <a:ext cx="152400" cy="152400"/>
                  </a:xfrm>
                  <a:custGeom>
                    <a:avLst/>
                    <a:gdLst>
                      <a:gd name="connsiteX0" fmla="*/ 0 w 152400"/>
                      <a:gd name="connsiteY0" fmla="*/ 0 h 152400"/>
                      <a:gd name="connsiteX1" fmla="*/ 152400 w 152400"/>
                      <a:gd name="connsiteY1" fmla="*/ 0 h 152400"/>
                      <a:gd name="connsiteX2" fmla="*/ 152400 w 152400"/>
                      <a:gd name="connsiteY2" fmla="*/ 152400 h 152400"/>
                      <a:gd name="connsiteX3" fmla="*/ 0 w 152400"/>
                      <a:gd name="connsiteY3" fmla="*/ 152400 h 152400"/>
                      <a:gd name="connsiteX4" fmla="*/ 0 w 152400"/>
                      <a:gd name="connsiteY4" fmla="*/ 0 h 152400"/>
                      <a:gd name="connsiteX0" fmla="*/ 0 w 152400"/>
                      <a:gd name="connsiteY0" fmla="*/ 0 h 152400"/>
                      <a:gd name="connsiteX1" fmla="*/ 78581 w 152400"/>
                      <a:gd name="connsiteY1" fmla="*/ 78581 h 152400"/>
                      <a:gd name="connsiteX2" fmla="*/ 152400 w 152400"/>
                      <a:gd name="connsiteY2" fmla="*/ 152400 h 152400"/>
                      <a:gd name="connsiteX3" fmla="*/ 0 w 152400"/>
                      <a:gd name="connsiteY3" fmla="*/ 152400 h 152400"/>
                      <a:gd name="connsiteX4" fmla="*/ 0 w 152400"/>
                      <a:gd name="connsiteY4" fmla="*/ 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0" y="0"/>
                        </a:moveTo>
                        <a:lnTo>
                          <a:pt x="78581" y="78581"/>
                        </a:lnTo>
                        <a:lnTo>
                          <a:pt x="152400" y="152400"/>
                        </a:lnTo>
                        <a:lnTo>
                          <a:pt x="0" y="152400"/>
                        </a:lnTo>
                        <a:lnTo>
                          <a:pt x="0" y="0"/>
                        </a:lnTo>
                        <a:close/>
                      </a:path>
                    </a:pathLst>
                  </a:custGeom>
                  <a:solidFill>
                    <a:schemeClr val="bg1"/>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28" name="Group 127"/>
                <p:cNvGrpSpPr/>
                <p:nvPr/>
              </p:nvGrpSpPr>
              <p:grpSpPr>
                <a:xfrm>
                  <a:off x="6636610" y="1382442"/>
                  <a:ext cx="353247" cy="439602"/>
                  <a:chOff x="4800600" y="2419352"/>
                  <a:chExt cx="466724" cy="624798"/>
                </a:xfrm>
              </p:grpSpPr>
              <p:sp>
                <p:nvSpPr>
                  <p:cNvPr id="129" name="Rectangle 9"/>
                  <p:cNvSpPr/>
                  <p:nvPr/>
                </p:nvSpPr>
                <p:spPr>
                  <a:xfrm>
                    <a:off x="4800600" y="2434550"/>
                    <a:ext cx="457200" cy="609600"/>
                  </a:xfrm>
                  <a:custGeom>
                    <a:avLst/>
                    <a:gdLst>
                      <a:gd name="connsiteX0" fmla="*/ 0 w 457200"/>
                      <a:gd name="connsiteY0" fmla="*/ 0 h 609600"/>
                      <a:gd name="connsiteX1" fmla="*/ 457200 w 457200"/>
                      <a:gd name="connsiteY1" fmla="*/ 0 h 609600"/>
                      <a:gd name="connsiteX2" fmla="*/ 457200 w 457200"/>
                      <a:gd name="connsiteY2" fmla="*/ 609600 h 609600"/>
                      <a:gd name="connsiteX3" fmla="*/ 0 w 457200"/>
                      <a:gd name="connsiteY3" fmla="*/ 609600 h 609600"/>
                      <a:gd name="connsiteX4" fmla="*/ 0 w 457200"/>
                      <a:gd name="connsiteY4" fmla="*/ 0 h 609600"/>
                      <a:gd name="connsiteX0" fmla="*/ 0 w 457200"/>
                      <a:gd name="connsiteY0" fmla="*/ 0 h 609600"/>
                      <a:gd name="connsiteX1" fmla="*/ 454819 w 457200"/>
                      <a:gd name="connsiteY1" fmla="*/ 0 h 609600"/>
                      <a:gd name="connsiteX2" fmla="*/ 457200 w 457200"/>
                      <a:gd name="connsiteY2" fmla="*/ 609600 h 609600"/>
                      <a:gd name="connsiteX3" fmla="*/ 0 w 457200"/>
                      <a:gd name="connsiteY3" fmla="*/ 609600 h 609600"/>
                      <a:gd name="connsiteX4" fmla="*/ 0 w 457200"/>
                      <a:gd name="connsiteY4" fmla="*/ 0 h 60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0" h="609600">
                        <a:moveTo>
                          <a:pt x="0" y="0"/>
                        </a:moveTo>
                        <a:lnTo>
                          <a:pt x="454819" y="0"/>
                        </a:lnTo>
                        <a:cubicBezTo>
                          <a:pt x="455613" y="203200"/>
                          <a:pt x="456406" y="406400"/>
                          <a:pt x="457200" y="609600"/>
                        </a:cubicBezTo>
                        <a:lnTo>
                          <a:pt x="0" y="609600"/>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Rectangle 129"/>
                  <p:cNvSpPr/>
                  <p:nvPr/>
                </p:nvSpPr>
                <p:spPr>
                  <a:xfrm>
                    <a:off x="5114924" y="2419352"/>
                    <a:ext cx="142876" cy="152400"/>
                  </a:xfrm>
                  <a:prstGeom prst="rect">
                    <a:avLst/>
                  </a:prstGeom>
                  <a:solidFill>
                    <a:srgbClr val="00D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1" name="Rectangle 11"/>
                  <p:cNvSpPr/>
                  <p:nvPr/>
                </p:nvSpPr>
                <p:spPr>
                  <a:xfrm>
                    <a:off x="5114924" y="2419352"/>
                    <a:ext cx="152400" cy="152400"/>
                  </a:xfrm>
                  <a:custGeom>
                    <a:avLst/>
                    <a:gdLst>
                      <a:gd name="connsiteX0" fmla="*/ 0 w 152400"/>
                      <a:gd name="connsiteY0" fmla="*/ 0 h 152400"/>
                      <a:gd name="connsiteX1" fmla="*/ 152400 w 152400"/>
                      <a:gd name="connsiteY1" fmla="*/ 0 h 152400"/>
                      <a:gd name="connsiteX2" fmla="*/ 152400 w 152400"/>
                      <a:gd name="connsiteY2" fmla="*/ 152400 h 152400"/>
                      <a:gd name="connsiteX3" fmla="*/ 0 w 152400"/>
                      <a:gd name="connsiteY3" fmla="*/ 152400 h 152400"/>
                      <a:gd name="connsiteX4" fmla="*/ 0 w 152400"/>
                      <a:gd name="connsiteY4" fmla="*/ 0 h 152400"/>
                      <a:gd name="connsiteX0" fmla="*/ 0 w 152400"/>
                      <a:gd name="connsiteY0" fmla="*/ 0 h 152400"/>
                      <a:gd name="connsiteX1" fmla="*/ 78581 w 152400"/>
                      <a:gd name="connsiteY1" fmla="*/ 78581 h 152400"/>
                      <a:gd name="connsiteX2" fmla="*/ 152400 w 152400"/>
                      <a:gd name="connsiteY2" fmla="*/ 152400 h 152400"/>
                      <a:gd name="connsiteX3" fmla="*/ 0 w 152400"/>
                      <a:gd name="connsiteY3" fmla="*/ 152400 h 152400"/>
                      <a:gd name="connsiteX4" fmla="*/ 0 w 152400"/>
                      <a:gd name="connsiteY4" fmla="*/ 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0" y="0"/>
                        </a:moveTo>
                        <a:lnTo>
                          <a:pt x="78581" y="78581"/>
                        </a:lnTo>
                        <a:lnTo>
                          <a:pt x="152400" y="152400"/>
                        </a:lnTo>
                        <a:lnTo>
                          <a:pt x="0" y="152400"/>
                        </a:lnTo>
                        <a:lnTo>
                          <a:pt x="0" y="0"/>
                        </a:lnTo>
                        <a:close/>
                      </a:path>
                    </a:pathLst>
                  </a:custGeom>
                  <a:solidFill>
                    <a:schemeClr val="tx1"/>
                  </a:solidFill>
                  <a:ln>
                    <a:solidFill>
                      <a:srgbClr val="00DA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14" name="Group 113"/>
              <p:cNvGrpSpPr/>
              <p:nvPr/>
            </p:nvGrpSpPr>
            <p:grpSpPr>
              <a:xfrm>
                <a:off x="6421827" y="1595246"/>
                <a:ext cx="515057" cy="477130"/>
                <a:chOff x="5471124" y="2120452"/>
                <a:chExt cx="608205" cy="606080"/>
              </a:xfrm>
              <a:solidFill>
                <a:schemeClr val="tx2">
                  <a:lumMod val="60000"/>
                  <a:lumOff val="40000"/>
                </a:schemeClr>
              </a:solidFill>
            </p:grpSpPr>
            <p:sp>
              <p:nvSpPr>
                <p:cNvPr id="124" name="Oval 123"/>
                <p:cNvSpPr/>
                <p:nvPr/>
              </p:nvSpPr>
              <p:spPr>
                <a:xfrm>
                  <a:off x="5471124" y="2120452"/>
                  <a:ext cx="480759" cy="480757"/>
                </a:xfrm>
                <a:prstGeom prst="ellipse">
                  <a:avLst/>
                </a:prstGeom>
                <a:solidFill>
                  <a:srgbClr val="00D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5" name="Oval 124"/>
                <p:cNvSpPr/>
                <p:nvPr/>
              </p:nvSpPr>
              <p:spPr>
                <a:xfrm>
                  <a:off x="5567362" y="2214562"/>
                  <a:ext cx="295275" cy="29527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6" name="Straight Connector 125"/>
                <p:cNvCxnSpPr/>
                <p:nvPr/>
              </p:nvCxnSpPr>
              <p:spPr>
                <a:xfrm>
                  <a:off x="5845966" y="2497932"/>
                  <a:ext cx="233363" cy="228600"/>
                </a:xfrm>
                <a:prstGeom prst="line">
                  <a:avLst/>
                </a:prstGeom>
                <a:grpFill/>
                <a:ln w="14922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15" name="Group 114"/>
              <p:cNvGrpSpPr/>
              <p:nvPr/>
            </p:nvGrpSpPr>
            <p:grpSpPr>
              <a:xfrm>
                <a:off x="6452774" y="1624020"/>
                <a:ext cx="346039" cy="321682"/>
                <a:chOff x="6452774" y="1624020"/>
                <a:chExt cx="346039" cy="321682"/>
              </a:xfrm>
            </p:grpSpPr>
            <p:sp>
              <p:nvSpPr>
                <p:cNvPr id="119" name="Oval 118"/>
                <p:cNvSpPr/>
                <p:nvPr/>
              </p:nvSpPr>
              <p:spPr>
                <a:xfrm>
                  <a:off x="6452774" y="1624020"/>
                  <a:ext cx="346039" cy="32168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Oval 119"/>
                <p:cNvSpPr/>
                <p:nvPr/>
              </p:nvSpPr>
              <p:spPr>
                <a:xfrm>
                  <a:off x="6514051" y="1680984"/>
                  <a:ext cx="223484" cy="207753"/>
                </a:xfrm>
                <a:prstGeom prst="ellipse">
                  <a:avLst/>
                </a:prstGeom>
                <a:solidFill>
                  <a:srgbClr val="00D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6" name="Group 115"/>
              <p:cNvGrpSpPr/>
              <p:nvPr/>
            </p:nvGrpSpPr>
            <p:grpSpPr>
              <a:xfrm>
                <a:off x="6724917" y="1880361"/>
                <a:ext cx="283895" cy="259527"/>
                <a:chOff x="6724917" y="1880361"/>
                <a:chExt cx="283895" cy="259527"/>
              </a:xfrm>
            </p:grpSpPr>
            <p:cxnSp>
              <p:nvCxnSpPr>
                <p:cNvPr id="117" name="Straight Connector 116"/>
                <p:cNvCxnSpPr/>
                <p:nvPr/>
              </p:nvCxnSpPr>
              <p:spPr>
                <a:xfrm>
                  <a:off x="6724917" y="1880361"/>
                  <a:ext cx="176625" cy="160841"/>
                </a:xfrm>
                <a:prstGeom prst="line">
                  <a:avLst/>
                </a:prstGeom>
                <a:ln w="149225">
                  <a:solidFill>
                    <a:schemeClr val="tx1"/>
                  </a:solidFill>
                </a:ln>
              </p:spPr>
              <p:style>
                <a:lnRef idx="1">
                  <a:schemeClr val="accent1"/>
                </a:lnRef>
                <a:fillRef idx="0">
                  <a:schemeClr val="accent1"/>
                </a:fillRef>
                <a:effectRef idx="0">
                  <a:schemeClr val="accent1"/>
                </a:effectRef>
                <a:fontRef idx="minor">
                  <a:schemeClr val="tx1"/>
                </a:fontRef>
              </p:style>
            </p:cxnSp>
            <p:sp>
              <p:nvSpPr>
                <p:cNvPr id="118" name="Oval 117"/>
                <p:cNvSpPr/>
                <p:nvPr/>
              </p:nvSpPr>
              <p:spPr>
                <a:xfrm>
                  <a:off x="6856483" y="1998280"/>
                  <a:ext cx="152329" cy="141608"/>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grpSp>
        <p:nvGrpSpPr>
          <p:cNvPr id="150" name="Group 149"/>
          <p:cNvGrpSpPr/>
          <p:nvPr/>
        </p:nvGrpSpPr>
        <p:grpSpPr>
          <a:xfrm>
            <a:off x="323671" y="3771900"/>
            <a:ext cx="8493774" cy="1303020"/>
            <a:chOff x="431449" y="1312215"/>
            <a:chExt cx="11322083" cy="1737360"/>
          </a:xfrm>
        </p:grpSpPr>
        <p:grpSp>
          <p:nvGrpSpPr>
            <p:cNvPr id="151" name="Group 150"/>
            <p:cNvGrpSpPr/>
            <p:nvPr/>
          </p:nvGrpSpPr>
          <p:grpSpPr>
            <a:xfrm>
              <a:off x="431449" y="1312215"/>
              <a:ext cx="11322083" cy="1737360"/>
              <a:chOff x="431449" y="1312215"/>
              <a:chExt cx="11322083" cy="1737360"/>
            </a:xfrm>
          </p:grpSpPr>
          <p:grpSp>
            <p:nvGrpSpPr>
              <p:cNvPr id="154" name="Group 153"/>
              <p:cNvGrpSpPr/>
              <p:nvPr/>
            </p:nvGrpSpPr>
            <p:grpSpPr>
              <a:xfrm>
                <a:off x="431449" y="1312215"/>
                <a:ext cx="2688336" cy="1737360"/>
                <a:chOff x="507868" y="1315330"/>
                <a:chExt cx="2683370" cy="1725473"/>
              </a:xfrm>
            </p:grpSpPr>
            <p:sp>
              <p:nvSpPr>
                <p:cNvPr id="173" name="Rectangle 172"/>
                <p:cNvSpPr>
                  <a:spLocks noChangeAspect="1"/>
                </p:cNvSpPr>
                <p:nvPr>
                  <p:custDataLst>
                    <p:tags r:id="rId4"/>
                  </p:custDataLst>
                </p:nvPr>
              </p:nvSpPr>
              <p:spPr bwMode="auto">
                <a:xfrm>
                  <a:off x="507868" y="1315330"/>
                  <a:ext cx="2683370" cy="1725473"/>
                </a:xfrm>
                <a:prstGeom prst="rect">
                  <a:avLst/>
                </a:prstGeom>
                <a:solidFill>
                  <a:srgbClr val="FF8B00"/>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60947" rIns="121893" bIns="60947" numCol="1" rtlCol="0" anchor="b" anchorCtr="0" compatLnSpc="1">
                  <a:prstTxWarp prst="textNoShape">
                    <a:avLst/>
                  </a:prstTxWarp>
                  <a:noAutofit/>
                </a:bodyPr>
                <a:lstStyle/>
                <a:p>
                  <a:pPr defTabSz="914083" fontAlgn="base">
                    <a:lnSpc>
                      <a:spcPct val="90000"/>
                    </a:lnSpc>
                    <a:spcBef>
                      <a:spcPts val="630"/>
                    </a:spcBef>
                    <a:spcAft>
                      <a:spcPct val="0"/>
                    </a:spcAft>
                    <a:buClr>
                      <a:srgbClr val="FFFF99"/>
                    </a:buClr>
                    <a:buSzPct val="120000"/>
                    <a:defRPr/>
                  </a:pPr>
                  <a:r>
                    <a:rPr lang="en-US" dirty="0">
                      <a:ln>
                        <a:solidFill>
                          <a:srgbClr val="FFFFFF">
                            <a:alpha val="0"/>
                          </a:srgbClr>
                        </a:solidFill>
                      </a:ln>
                      <a:solidFill>
                        <a:srgbClr val="FFFFFF">
                          <a:alpha val="99000"/>
                        </a:srgbClr>
                      </a:solidFill>
                      <a:cs typeface="Segoe UI" pitchFamily="34" charset="0"/>
                    </a:rPr>
                    <a:t> </a:t>
                  </a:r>
                  <a:r>
                    <a:rPr lang="en-US" dirty="0" smtClean="0">
                      <a:ln>
                        <a:solidFill>
                          <a:srgbClr val="FFFFFF">
                            <a:alpha val="0"/>
                          </a:srgbClr>
                        </a:solidFill>
                      </a:ln>
                      <a:solidFill>
                        <a:srgbClr val="FFFFFF">
                          <a:alpha val="99000"/>
                        </a:srgbClr>
                      </a:solidFill>
                      <a:cs typeface="Segoe UI" pitchFamily="34" charset="0"/>
                    </a:rPr>
                    <a:t>           </a:t>
                  </a:r>
                </a:p>
                <a:p>
                  <a:pPr defTabSz="914023" fontAlgn="base">
                    <a:spcBef>
                      <a:spcPct val="0"/>
                    </a:spcBef>
                    <a:spcAft>
                      <a:spcPct val="0"/>
                    </a:spcAft>
                    <a:defRPr/>
                  </a:pPr>
                  <a:r>
                    <a:rPr lang="en-US" sz="2000" kern="0" dirty="0">
                      <a:solidFill>
                        <a:srgbClr val="FFFFFF">
                          <a:alpha val="99000"/>
                        </a:srgbClr>
                      </a:solidFill>
                    </a:rPr>
                    <a:t>Declarative</a:t>
                  </a:r>
                  <a:endParaRPr lang="en-US" sz="2000" kern="0" dirty="0">
                    <a:solidFill>
                      <a:srgbClr val="FFFFFF">
                        <a:alpha val="99000"/>
                      </a:srgbClr>
                    </a:solidFill>
                  </a:endParaRPr>
                </a:p>
              </p:txBody>
            </p:sp>
            <p:grpSp>
              <p:nvGrpSpPr>
                <p:cNvPr id="174" name="Group 173"/>
                <p:cNvGrpSpPr>
                  <a:grpSpLocks noChangeAspect="1"/>
                </p:cNvGrpSpPr>
                <p:nvPr/>
              </p:nvGrpSpPr>
              <p:grpSpPr>
                <a:xfrm>
                  <a:off x="613249" y="1414905"/>
                  <a:ext cx="673018" cy="862136"/>
                  <a:chOff x="-2773363" y="1651000"/>
                  <a:chExt cx="2692401" cy="3448051"/>
                </a:xfrm>
                <a:solidFill>
                  <a:schemeClr val="bg1"/>
                </a:solidFill>
              </p:grpSpPr>
              <p:sp>
                <p:nvSpPr>
                  <p:cNvPr id="175" name="Freeform 19"/>
                  <p:cNvSpPr>
                    <a:spLocks noEditPoints="1"/>
                  </p:cNvSpPr>
                  <p:nvPr/>
                </p:nvSpPr>
                <p:spPr bwMode="auto">
                  <a:xfrm>
                    <a:off x="-1908175" y="1798638"/>
                    <a:ext cx="641350" cy="641350"/>
                  </a:xfrm>
                  <a:custGeom>
                    <a:avLst/>
                    <a:gdLst>
                      <a:gd name="T0" fmla="*/ 171 w 171"/>
                      <a:gd name="T1" fmla="*/ 79 h 171"/>
                      <a:gd name="T2" fmla="*/ 168 w 171"/>
                      <a:gd name="T3" fmla="*/ 77 h 171"/>
                      <a:gd name="T4" fmla="*/ 152 w 171"/>
                      <a:gd name="T5" fmla="*/ 65 h 171"/>
                      <a:gd name="T6" fmla="*/ 165 w 171"/>
                      <a:gd name="T7" fmla="*/ 54 h 171"/>
                      <a:gd name="T8" fmla="*/ 161 w 171"/>
                      <a:gd name="T9" fmla="*/ 52 h 171"/>
                      <a:gd name="T10" fmla="*/ 142 w 171"/>
                      <a:gd name="T11" fmla="*/ 45 h 171"/>
                      <a:gd name="T12" fmla="*/ 152 w 171"/>
                      <a:gd name="T13" fmla="*/ 32 h 171"/>
                      <a:gd name="T14" fmla="*/ 147 w 171"/>
                      <a:gd name="T15" fmla="*/ 30 h 171"/>
                      <a:gd name="T16" fmla="*/ 127 w 171"/>
                      <a:gd name="T17" fmla="*/ 30 h 171"/>
                      <a:gd name="T18" fmla="*/ 132 w 171"/>
                      <a:gd name="T19" fmla="*/ 15 h 171"/>
                      <a:gd name="T20" fmla="*/ 127 w 171"/>
                      <a:gd name="T21" fmla="*/ 14 h 171"/>
                      <a:gd name="T22" fmla="*/ 108 w 171"/>
                      <a:gd name="T23" fmla="*/ 20 h 171"/>
                      <a:gd name="T24" fmla="*/ 108 w 171"/>
                      <a:gd name="T25" fmla="*/ 5 h 171"/>
                      <a:gd name="T26" fmla="*/ 103 w 171"/>
                      <a:gd name="T27" fmla="*/ 4 h 171"/>
                      <a:gd name="T28" fmla="*/ 86 w 171"/>
                      <a:gd name="T29" fmla="*/ 16 h 171"/>
                      <a:gd name="T30" fmla="*/ 79 w 171"/>
                      <a:gd name="T31" fmla="*/ 0 h 171"/>
                      <a:gd name="T32" fmla="*/ 77 w 171"/>
                      <a:gd name="T33" fmla="*/ 3 h 171"/>
                      <a:gd name="T34" fmla="*/ 65 w 171"/>
                      <a:gd name="T35" fmla="*/ 19 h 171"/>
                      <a:gd name="T36" fmla="*/ 53 w 171"/>
                      <a:gd name="T37" fmla="*/ 6 h 171"/>
                      <a:gd name="T38" fmla="*/ 52 w 171"/>
                      <a:gd name="T39" fmla="*/ 10 h 171"/>
                      <a:gd name="T40" fmla="*/ 45 w 171"/>
                      <a:gd name="T41" fmla="*/ 29 h 171"/>
                      <a:gd name="T42" fmla="*/ 30 w 171"/>
                      <a:gd name="T43" fmla="*/ 20 h 171"/>
                      <a:gd name="T44" fmla="*/ 30 w 171"/>
                      <a:gd name="T45" fmla="*/ 24 h 171"/>
                      <a:gd name="T46" fmla="*/ 30 w 171"/>
                      <a:gd name="T47" fmla="*/ 44 h 171"/>
                      <a:gd name="T48" fmla="*/ 13 w 171"/>
                      <a:gd name="T49" fmla="*/ 40 h 171"/>
                      <a:gd name="T50" fmla="*/ 14 w 171"/>
                      <a:gd name="T51" fmla="*/ 44 h 171"/>
                      <a:gd name="T52" fmla="*/ 20 w 171"/>
                      <a:gd name="T53" fmla="*/ 63 h 171"/>
                      <a:gd name="T54" fmla="*/ 2 w 171"/>
                      <a:gd name="T55" fmla="*/ 65 h 171"/>
                      <a:gd name="T56" fmla="*/ 4 w 171"/>
                      <a:gd name="T57" fmla="*/ 68 h 171"/>
                      <a:gd name="T58" fmla="*/ 16 w 171"/>
                      <a:gd name="T59" fmla="*/ 84 h 171"/>
                      <a:gd name="T60" fmla="*/ 0 w 171"/>
                      <a:gd name="T61" fmla="*/ 91 h 171"/>
                      <a:gd name="T62" fmla="*/ 3 w 171"/>
                      <a:gd name="T63" fmla="*/ 94 h 171"/>
                      <a:gd name="T64" fmla="*/ 19 w 171"/>
                      <a:gd name="T65" fmla="*/ 106 h 171"/>
                      <a:gd name="T66" fmla="*/ 6 w 171"/>
                      <a:gd name="T67" fmla="*/ 116 h 171"/>
                      <a:gd name="T68" fmla="*/ 10 w 171"/>
                      <a:gd name="T69" fmla="*/ 119 h 171"/>
                      <a:gd name="T70" fmla="*/ 29 w 171"/>
                      <a:gd name="T71" fmla="*/ 125 h 171"/>
                      <a:gd name="T72" fmla="*/ 19 w 171"/>
                      <a:gd name="T73" fmla="*/ 139 h 171"/>
                      <a:gd name="T74" fmla="*/ 24 w 171"/>
                      <a:gd name="T75" fmla="*/ 141 h 171"/>
                      <a:gd name="T76" fmla="*/ 44 w 171"/>
                      <a:gd name="T77" fmla="*/ 141 h 171"/>
                      <a:gd name="T78" fmla="*/ 39 w 171"/>
                      <a:gd name="T79" fmla="*/ 156 h 171"/>
                      <a:gd name="T80" fmla="*/ 44 w 171"/>
                      <a:gd name="T81" fmla="*/ 157 h 171"/>
                      <a:gd name="T82" fmla="*/ 63 w 171"/>
                      <a:gd name="T83" fmla="*/ 151 h 171"/>
                      <a:gd name="T84" fmla="*/ 63 w 171"/>
                      <a:gd name="T85" fmla="*/ 166 h 171"/>
                      <a:gd name="T86" fmla="*/ 68 w 171"/>
                      <a:gd name="T87" fmla="*/ 166 h 171"/>
                      <a:gd name="T88" fmla="*/ 85 w 171"/>
                      <a:gd name="T89" fmla="*/ 155 h 171"/>
                      <a:gd name="T90" fmla="*/ 91 w 171"/>
                      <a:gd name="T91" fmla="*/ 171 h 171"/>
                      <a:gd name="T92" fmla="*/ 94 w 171"/>
                      <a:gd name="T93" fmla="*/ 168 h 171"/>
                      <a:gd name="T94" fmla="*/ 96 w 171"/>
                      <a:gd name="T95" fmla="*/ 154 h 171"/>
                      <a:gd name="T96" fmla="*/ 114 w 171"/>
                      <a:gd name="T97" fmla="*/ 163 h 171"/>
                      <a:gd name="T98" fmla="*/ 119 w 171"/>
                      <a:gd name="T99" fmla="*/ 162 h 171"/>
                      <a:gd name="T100" fmla="*/ 117 w 171"/>
                      <a:gd name="T101" fmla="*/ 147 h 171"/>
                      <a:gd name="T102" fmla="*/ 137 w 171"/>
                      <a:gd name="T103" fmla="*/ 150 h 171"/>
                      <a:gd name="T104" fmla="*/ 142 w 171"/>
                      <a:gd name="T105" fmla="*/ 149 h 171"/>
                      <a:gd name="T106" fmla="*/ 135 w 171"/>
                      <a:gd name="T107" fmla="*/ 134 h 171"/>
                      <a:gd name="T108" fmla="*/ 154 w 171"/>
                      <a:gd name="T109" fmla="*/ 131 h 171"/>
                      <a:gd name="T110" fmla="*/ 159 w 171"/>
                      <a:gd name="T111" fmla="*/ 129 h 171"/>
                      <a:gd name="T112" fmla="*/ 147 w 171"/>
                      <a:gd name="T113" fmla="*/ 117 h 171"/>
                      <a:gd name="T114" fmla="*/ 165 w 171"/>
                      <a:gd name="T115" fmla="*/ 108 h 171"/>
                      <a:gd name="T116" fmla="*/ 169 w 171"/>
                      <a:gd name="T117" fmla="*/ 105 h 171"/>
                      <a:gd name="T118" fmla="*/ 154 w 171"/>
                      <a:gd name="T119" fmla="*/ 96 h 171"/>
                      <a:gd name="T120" fmla="*/ 168 w 171"/>
                      <a:gd name="T121" fmla="*/ 82 h 171"/>
                      <a:gd name="T122" fmla="*/ 70 w 171"/>
                      <a:gd name="T123" fmla="*/ 85 h 171"/>
                      <a:gd name="T124" fmla="*/ 101 w 171"/>
                      <a:gd name="T125" fmla="*/ 85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1" h="171">
                        <a:moveTo>
                          <a:pt x="168" y="82"/>
                        </a:moveTo>
                        <a:cubicBezTo>
                          <a:pt x="170" y="82"/>
                          <a:pt x="171" y="81"/>
                          <a:pt x="171" y="79"/>
                        </a:cubicBezTo>
                        <a:cubicBezTo>
                          <a:pt x="171" y="79"/>
                          <a:pt x="171" y="79"/>
                          <a:pt x="171" y="79"/>
                        </a:cubicBezTo>
                        <a:cubicBezTo>
                          <a:pt x="171" y="78"/>
                          <a:pt x="169" y="77"/>
                          <a:pt x="168" y="77"/>
                        </a:cubicBezTo>
                        <a:cubicBezTo>
                          <a:pt x="154" y="75"/>
                          <a:pt x="154" y="75"/>
                          <a:pt x="154" y="75"/>
                        </a:cubicBezTo>
                        <a:cubicBezTo>
                          <a:pt x="154" y="71"/>
                          <a:pt x="153" y="68"/>
                          <a:pt x="152" y="65"/>
                        </a:cubicBezTo>
                        <a:cubicBezTo>
                          <a:pt x="163" y="57"/>
                          <a:pt x="163" y="57"/>
                          <a:pt x="163" y="57"/>
                        </a:cubicBezTo>
                        <a:cubicBezTo>
                          <a:pt x="164" y="56"/>
                          <a:pt x="165" y="55"/>
                          <a:pt x="165" y="54"/>
                        </a:cubicBezTo>
                        <a:cubicBezTo>
                          <a:pt x="165" y="54"/>
                          <a:pt x="165" y="53"/>
                          <a:pt x="165" y="53"/>
                        </a:cubicBezTo>
                        <a:cubicBezTo>
                          <a:pt x="164" y="52"/>
                          <a:pt x="163" y="51"/>
                          <a:pt x="161" y="52"/>
                        </a:cubicBezTo>
                        <a:cubicBezTo>
                          <a:pt x="147" y="54"/>
                          <a:pt x="147" y="54"/>
                          <a:pt x="147" y="54"/>
                        </a:cubicBezTo>
                        <a:cubicBezTo>
                          <a:pt x="146" y="51"/>
                          <a:pt x="144" y="48"/>
                          <a:pt x="142" y="45"/>
                        </a:cubicBezTo>
                        <a:cubicBezTo>
                          <a:pt x="151" y="34"/>
                          <a:pt x="151" y="34"/>
                          <a:pt x="151" y="34"/>
                        </a:cubicBezTo>
                        <a:cubicBezTo>
                          <a:pt x="151" y="34"/>
                          <a:pt x="152" y="33"/>
                          <a:pt x="152" y="32"/>
                        </a:cubicBezTo>
                        <a:cubicBezTo>
                          <a:pt x="152" y="31"/>
                          <a:pt x="151" y="31"/>
                          <a:pt x="151" y="30"/>
                        </a:cubicBezTo>
                        <a:cubicBezTo>
                          <a:pt x="150" y="29"/>
                          <a:pt x="148" y="29"/>
                          <a:pt x="147" y="30"/>
                        </a:cubicBezTo>
                        <a:cubicBezTo>
                          <a:pt x="135" y="36"/>
                          <a:pt x="135" y="36"/>
                          <a:pt x="135" y="36"/>
                        </a:cubicBezTo>
                        <a:cubicBezTo>
                          <a:pt x="132" y="34"/>
                          <a:pt x="130" y="32"/>
                          <a:pt x="127" y="30"/>
                        </a:cubicBezTo>
                        <a:cubicBezTo>
                          <a:pt x="132" y="16"/>
                          <a:pt x="132" y="16"/>
                          <a:pt x="132" y="16"/>
                        </a:cubicBezTo>
                        <a:cubicBezTo>
                          <a:pt x="132" y="16"/>
                          <a:pt x="132" y="16"/>
                          <a:pt x="132" y="15"/>
                        </a:cubicBezTo>
                        <a:cubicBezTo>
                          <a:pt x="132" y="14"/>
                          <a:pt x="132" y="13"/>
                          <a:pt x="131" y="13"/>
                        </a:cubicBezTo>
                        <a:cubicBezTo>
                          <a:pt x="129" y="12"/>
                          <a:pt x="128" y="12"/>
                          <a:pt x="127" y="14"/>
                        </a:cubicBezTo>
                        <a:cubicBezTo>
                          <a:pt x="117" y="23"/>
                          <a:pt x="117" y="23"/>
                          <a:pt x="117" y="23"/>
                        </a:cubicBezTo>
                        <a:cubicBezTo>
                          <a:pt x="114" y="22"/>
                          <a:pt x="111" y="21"/>
                          <a:pt x="108" y="20"/>
                        </a:cubicBezTo>
                        <a:cubicBezTo>
                          <a:pt x="108" y="6"/>
                          <a:pt x="108" y="6"/>
                          <a:pt x="108" y="6"/>
                        </a:cubicBezTo>
                        <a:cubicBezTo>
                          <a:pt x="108" y="5"/>
                          <a:pt x="108" y="5"/>
                          <a:pt x="108" y="5"/>
                        </a:cubicBezTo>
                        <a:cubicBezTo>
                          <a:pt x="108" y="4"/>
                          <a:pt x="107" y="3"/>
                          <a:pt x="106" y="2"/>
                        </a:cubicBezTo>
                        <a:cubicBezTo>
                          <a:pt x="105" y="2"/>
                          <a:pt x="103" y="3"/>
                          <a:pt x="103" y="4"/>
                        </a:cubicBezTo>
                        <a:cubicBezTo>
                          <a:pt x="96" y="17"/>
                          <a:pt x="96" y="17"/>
                          <a:pt x="96" y="17"/>
                        </a:cubicBezTo>
                        <a:cubicBezTo>
                          <a:pt x="93" y="16"/>
                          <a:pt x="90" y="16"/>
                          <a:pt x="86" y="16"/>
                        </a:cubicBezTo>
                        <a:cubicBezTo>
                          <a:pt x="82" y="3"/>
                          <a:pt x="82" y="3"/>
                          <a:pt x="82" y="3"/>
                        </a:cubicBezTo>
                        <a:cubicBezTo>
                          <a:pt x="82" y="1"/>
                          <a:pt x="81" y="0"/>
                          <a:pt x="79" y="0"/>
                        </a:cubicBezTo>
                        <a:cubicBezTo>
                          <a:pt x="78" y="0"/>
                          <a:pt x="77" y="1"/>
                          <a:pt x="77" y="3"/>
                        </a:cubicBezTo>
                        <a:cubicBezTo>
                          <a:pt x="77" y="3"/>
                          <a:pt x="77" y="3"/>
                          <a:pt x="77" y="3"/>
                        </a:cubicBezTo>
                        <a:cubicBezTo>
                          <a:pt x="75" y="17"/>
                          <a:pt x="75" y="17"/>
                          <a:pt x="75" y="17"/>
                        </a:cubicBezTo>
                        <a:cubicBezTo>
                          <a:pt x="71" y="17"/>
                          <a:pt x="68" y="18"/>
                          <a:pt x="65" y="19"/>
                        </a:cubicBezTo>
                        <a:cubicBezTo>
                          <a:pt x="57" y="8"/>
                          <a:pt x="57" y="8"/>
                          <a:pt x="57" y="8"/>
                        </a:cubicBezTo>
                        <a:cubicBezTo>
                          <a:pt x="56" y="6"/>
                          <a:pt x="55" y="5"/>
                          <a:pt x="53" y="6"/>
                        </a:cubicBezTo>
                        <a:cubicBezTo>
                          <a:pt x="52" y="6"/>
                          <a:pt x="52" y="7"/>
                          <a:pt x="52" y="9"/>
                        </a:cubicBezTo>
                        <a:cubicBezTo>
                          <a:pt x="52" y="9"/>
                          <a:pt x="52" y="9"/>
                          <a:pt x="52" y="10"/>
                        </a:cubicBezTo>
                        <a:cubicBezTo>
                          <a:pt x="54" y="23"/>
                          <a:pt x="54" y="23"/>
                          <a:pt x="54" y="23"/>
                        </a:cubicBezTo>
                        <a:cubicBezTo>
                          <a:pt x="51" y="25"/>
                          <a:pt x="48" y="27"/>
                          <a:pt x="45" y="29"/>
                        </a:cubicBezTo>
                        <a:cubicBezTo>
                          <a:pt x="34" y="20"/>
                          <a:pt x="34" y="20"/>
                          <a:pt x="34" y="20"/>
                        </a:cubicBezTo>
                        <a:cubicBezTo>
                          <a:pt x="33" y="19"/>
                          <a:pt x="32" y="19"/>
                          <a:pt x="30" y="20"/>
                        </a:cubicBezTo>
                        <a:cubicBezTo>
                          <a:pt x="30" y="20"/>
                          <a:pt x="29" y="21"/>
                          <a:pt x="29" y="22"/>
                        </a:cubicBezTo>
                        <a:cubicBezTo>
                          <a:pt x="29" y="23"/>
                          <a:pt x="30" y="23"/>
                          <a:pt x="30" y="24"/>
                        </a:cubicBezTo>
                        <a:cubicBezTo>
                          <a:pt x="36" y="36"/>
                          <a:pt x="36" y="36"/>
                          <a:pt x="36" y="36"/>
                        </a:cubicBezTo>
                        <a:cubicBezTo>
                          <a:pt x="34" y="39"/>
                          <a:pt x="32" y="41"/>
                          <a:pt x="30" y="44"/>
                        </a:cubicBezTo>
                        <a:cubicBezTo>
                          <a:pt x="17" y="39"/>
                          <a:pt x="17" y="39"/>
                          <a:pt x="17" y="39"/>
                        </a:cubicBezTo>
                        <a:cubicBezTo>
                          <a:pt x="15" y="38"/>
                          <a:pt x="14" y="39"/>
                          <a:pt x="13" y="40"/>
                        </a:cubicBezTo>
                        <a:cubicBezTo>
                          <a:pt x="13" y="41"/>
                          <a:pt x="12" y="41"/>
                          <a:pt x="12" y="42"/>
                        </a:cubicBezTo>
                        <a:cubicBezTo>
                          <a:pt x="12" y="42"/>
                          <a:pt x="13" y="43"/>
                          <a:pt x="14" y="44"/>
                        </a:cubicBezTo>
                        <a:cubicBezTo>
                          <a:pt x="24" y="54"/>
                          <a:pt x="24" y="54"/>
                          <a:pt x="24" y="54"/>
                        </a:cubicBezTo>
                        <a:cubicBezTo>
                          <a:pt x="22" y="57"/>
                          <a:pt x="21" y="60"/>
                          <a:pt x="20" y="63"/>
                        </a:cubicBezTo>
                        <a:cubicBezTo>
                          <a:pt x="6" y="63"/>
                          <a:pt x="6" y="63"/>
                          <a:pt x="6" y="63"/>
                        </a:cubicBezTo>
                        <a:cubicBezTo>
                          <a:pt x="4" y="62"/>
                          <a:pt x="3" y="63"/>
                          <a:pt x="2" y="65"/>
                        </a:cubicBezTo>
                        <a:cubicBezTo>
                          <a:pt x="2" y="65"/>
                          <a:pt x="2" y="65"/>
                          <a:pt x="2" y="65"/>
                        </a:cubicBezTo>
                        <a:cubicBezTo>
                          <a:pt x="2" y="67"/>
                          <a:pt x="3" y="68"/>
                          <a:pt x="4" y="68"/>
                        </a:cubicBezTo>
                        <a:cubicBezTo>
                          <a:pt x="17" y="74"/>
                          <a:pt x="17" y="74"/>
                          <a:pt x="17" y="74"/>
                        </a:cubicBezTo>
                        <a:cubicBezTo>
                          <a:pt x="16" y="78"/>
                          <a:pt x="16" y="81"/>
                          <a:pt x="16" y="84"/>
                        </a:cubicBezTo>
                        <a:cubicBezTo>
                          <a:pt x="3" y="89"/>
                          <a:pt x="3" y="89"/>
                          <a:pt x="3" y="89"/>
                        </a:cubicBezTo>
                        <a:cubicBezTo>
                          <a:pt x="1" y="89"/>
                          <a:pt x="0" y="90"/>
                          <a:pt x="0" y="91"/>
                        </a:cubicBezTo>
                        <a:cubicBezTo>
                          <a:pt x="0" y="91"/>
                          <a:pt x="0" y="91"/>
                          <a:pt x="0" y="91"/>
                        </a:cubicBezTo>
                        <a:cubicBezTo>
                          <a:pt x="0" y="93"/>
                          <a:pt x="2" y="94"/>
                          <a:pt x="3" y="94"/>
                        </a:cubicBezTo>
                        <a:cubicBezTo>
                          <a:pt x="17" y="96"/>
                          <a:pt x="17" y="96"/>
                          <a:pt x="17" y="96"/>
                        </a:cubicBezTo>
                        <a:cubicBezTo>
                          <a:pt x="17" y="99"/>
                          <a:pt x="18" y="103"/>
                          <a:pt x="19" y="106"/>
                        </a:cubicBezTo>
                        <a:cubicBezTo>
                          <a:pt x="8" y="114"/>
                          <a:pt x="8" y="114"/>
                          <a:pt x="8" y="114"/>
                        </a:cubicBezTo>
                        <a:cubicBezTo>
                          <a:pt x="7" y="114"/>
                          <a:pt x="6" y="115"/>
                          <a:pt x="6" y="116"/>
                        </a:cubicBezTo>
                        <a:cubicBezTo>
                          <a:pt x="6" y="117"/>
                          <a:pt x="6" y="117"/>
                          <a:pt x="6" y="118"/>
                        </a:cubicBezTo>
                        <a:cubicBezTo>
                          <a:pt x="7" y="119"/>
                          <a:pt x="8" y="120"/>
                          <a:pt x="10" y="119"/>
                        </a:cubicBezTo>
                        <a:cubicBezTo>
                          <a:pt x="24" y="117"/>
                          <a:pt x="24" y="117"/>
                          <a:pt x="24" y="117"/>
                        </a:cubicBezTo>
                        <a:cubicBezTo>
                          <a:pt x="25" y="120"/>
                          <a:pt x="27" y="123"/>
                          <a:pt x="29" y="125"/>
                        </a:cubicBezTo>
                        <a:cubicBezTo>
                          <a:pt x="20" y="137"/>
                          <a:pt x="20" y="137"/>
                          <a:pt x="20" y="137"/>
                        </a:cubicBezTo>
                        <a:cubicBezTo>
                          <a:pt x="20" y="137"/>
                          <a:pt x="19" y="138"/>
                          <a:pt x="19" y="139"/>
                        </a:cubicBezTo>
                        <a:cubicBezTo>
                          <a:pt x="19" y="139"/>
                          <a:pt x="20" y="140"/>
                          <a:pt x="20" y="140"/>
                        </a:cubicBezTo>
                        <a:cubicBezTo>
                          <a:pt x="21" y="142"/>
                          <a:pt x="23" y="142"/>
                          <a:pt x="24" y="141"/>
                        </a:cubicBezTo>
                        <a:cubicBezTo>
                          <a:pt x="36" y="134"/>
                          <a:pt x="36" y="134"/>
                          <a:pt x="36" y="134"/>
                        </a:cubicBezTo>
                        <a:cubicBezTo>
                          <a:pt x="39" y="137"/>
                          <a:pt x="41" y="139"/>
                          <a:pt x="44" y="141"/>
                        </a:cubicBezTo>
                        <a:cubicBezTo>
                          <a:pt x="39" y="154"/>
                          <a:pt x="39" y="154"/>
                          <a:pt x="39" y="154"/>
                        </a:cubicBezTo>
                        <a:cubicBezTo>
                          <a:pt x="39" y="155"/>
                          <a:pt x="39" y="155"/>
                          <a:pt x="39" y="156"/>
                        </a:cubicBezTo>
                        <a:cubicBezTo>
                          <a:pt x="39" y="157"/>
                          <a:pt x="39" y="157"/>
                          <a:pt x="40" y="158"/>
                        </a:cubicBezTo>
                        <a:cubicBezTo>
                          <a:pt x="42" y="159"/>
                          <a:pt x="43" y="158"/>
                          <a:pt x="44" y="157"/>
                        </a:cubicBezTo>
                        <a:cubicBezTo>
                          <a:pt x="54" y="147"/>
                          <a:pt x="54" y="147"/>
                          <a:pt x="54" y="147"/>
                        </a:cubicBezTo>
                        <a:cubicBezTo>
                          <a:pt x="57" y="149"/>
                          <a:pt x="60" y="150"/>
                          <a:pt x="63" y="151"/>
                        </a:cubicBezTo>
                        <a:cubicBezTo>
                          <a:pt x="63" y="165"/>
                          <a:pt x="63" y="165"/>
                          <a:pt x="63" y="165"/>
                        </a:cubicBezTo>
                        <a:cubicBezTo>
                          <a:pt x="63" y="165"/>
                          <a:pt x="63" y="166"/>
                          <a:pt x="63" y="166"/>
                        </a:cubicBezTo>
                        <a:cubicBezTo>
                          <a:pt x="63" y="167"/>
                          <a:pt x="64" y="168"/>
                          <a:pt x="65" y="168"/>
                        </a:cubicBezTo>
                        <a:cubicBezTo>
                          <a:pt x="66" y="169"/>
                          <a:pt x="68" y="168"/>
                          <a:pt x="68" y="166"/>
                        </a:cubicBezTo>
                        <a:cubicBezTo>
                          <a:pt x="75" y="154"/>
                          <a:pt x="75" y="154"/>
                          <a:pt x="75" y="154"/>
                        </a:cubicBezTo>
                        <a:cubicBezTo>
                          <a:pt x="78" y="154"/>
                          <a:pt x="81" y="155"/>
                          <a:pt x="85" y="155"/>
                        </a:cubicBezTo>
                        <a:cubicBezTo>
                          <a:pt x="89" y="168"/>
                          <a:pt x="89" y="168"/>
                          <a:pt x="89" y="168"/>
                        </a:cubicBezTo>
                        <a:cubicBezTo>
                          <a:pt x="89" y="170"/>
                          <a:pt x="90" y="171"/>
                          <a:pt x="91" y="171"/>
                        </a:cubicBezTo>
                        <a:cubicBezTo>
                          <a:pt x="91" y="171"/>
                          <a:pt x="92" y="171"/>
                          <a:pt x="92" y="171"/>
                        </a:cubicBezTo>
                        <a:cubicBezTo>
                          <a:pt x="93" y="171"/>
                          <a:pt x="94" y="169"/>
                          <a:pt x="94" y="168"/>
                        </a:cubicBezTo>
                        <a:cubicBezTo>
                          <a:pt x="94" y="168"/>
                          <a:pt x="94" y="168"/>
                          <a:pt x="94" y="168"/>
                        </a:cubicBezTo>
                        <a:cubicBezTo>
                          <a:pt x="96" y="154"/>
                          <a:pt x="96" y="154"/>
                          <a:pt x="96" y="154"/>
                        </a:cubicBezTo>
                        <a:cubicBezTo>
                          <a:pt x="100" y="153"/>
                          <a:pt x="103" y="153"/>
                          <a:pt x="106" y="152"/>
                        </a:cubicBezTo>
                        <a:cubicBezTo>
                          <a:pt x="114" y="163"/>
                          <a:pt x="114" y="163"/>
                          <a:pt x="114" y="163"/>
                        </a:cubicBezTo>
                        <a:cubicBezTo>
                          <a:pt x="115" y="165"/>
                          <a:pt x="116" y="165"/>
                          <a:pt x="118" y="165"/>
                        </a:cubicBezTo>
                        <a:cubicBezTo>
                          <a:pt x="119" y="164"/>
                          <a:pt x="119" y="163"/>
                          <a:pt x="119" y="162"/>
                        </a:cubicBezTo>
                        <a:cubicBezTo>
                          <a:pt x="119" y="162"/>
                          <a:pt x="119" y="161"/>
                          <a:pt x="119" y="161"/>
                        </a:cubicBezTo>
                        <a:cubicBezTo>
                          <a:pt x="117" y="147"/>
                          <a:pt x="117" y="147"/>
                          <a:pt x="117" y="147"/>
                        </a:cubicBezTo>
                        <a:cubicBezTo>
                          <a:pt x="120" y="146"/>
                          <a:pt x="123" y="144"/>
                          <a:pt x="126" y="142"/>
                        </a:cubicBezTo>
                        <a:cubicBezTo>
                          <a:pt x="137" y="150"/>
                          <a:pt x="137" y="150"/>
                          <a:pt x="137" y="150"/>
                        </a:cubicBezTo>
                        <a:cubicBezTo>
                          <a:pt x="138" y="152"/>
                          <a:pt x="139" y="152"/>
                          <a:pt x="141" y="151"/>
                        </a:cubicBezTo>
                        <a:cubicBezTo>
                          <a:pt x="141" y="150"/>
                          <a:pt x="142" y="149"/>
                          <a:pt x="142" y="149"/>
                        </a:cubicBezTo>
                        <a:cubicBezTo>
                          <a:pt x="142" y="148"/>
                          <a:pt x="141" y="147"/>
                          <a:pt x="141" y="147"/>
                        </a:cubicBezTo>
                        <a:cubicBezTo>
                          <a:pt x="135" y="134"/>
                          <a:pt x="135" y="134"/>
                          <a:pt x="135" y="134"/>
                        </a:cubicBezTo>
                        <a:cubicBezTo>
                          <a:pt x="137" y="132"/>
                          <a:pt x="139" y="130"/>
                          <a:pt x="141" y="127"/>
                        </a:cubicBezTo>
                        <a:cubicBezTo>
                          <a:pt x="154" y="131"/>
                          <a:pt x="154" y="131"/>
                          <a:pt x="154" y="131"/>
                        </a:cubicBezTo>
                        <a:cubicBezTo>
                          <a:pt x="156" y="132"/>
                          <a:pt x="157" y="132"/>
                          <a:pt x="158" y="131"/>
                        </a:cubicBezTo>
                        <a:cubicBezTo>
                          <a:pt x="158" y="130"/>
                          <a:pt x="159" y="130"/>
                          <a:pt x="159" y="129"/>
                        </a:cubicBezTo>
                        <a:cubicBezTo>
                          <a:pt x="159" y="128"/>
                          <a:pt x="158" y="127"/>
                          <a:pt x="157" y="127"/>
                        </a:cubicBezTo>
                        <a:cubicBezTo>
                          <a:pt x="147" y="117"/>
                          <a:pt x="147" y="117"/>
                          <a:pt x="147" y="117"/>
                        </a:cubicBezTo>
                        <a:cubicBezTo>
                          <a:pt x="149" y="114"/>
                          <a:pt x="150" y="111"/>
                          <a:pt x="151" y="108"/>
                        </a:cubicBezTo>
                        <a:cubicBezTo>
                          <a:pt x="165" y="108"/>
                          <a:pt x="165" y="108"/>
                          <a:pt x="165" y="108"/>
                        </a:cubicBezTo>
                        <a:cubicBezTo>
                          <a:pt x="167" y="108"/>
                          <a:pt x="168" y="107"/>
                          <a:pt x="169" y="106"/>
                        </a:cubicBezTo>
                        <a:cubicBezTo>
                          <a:pt x="169" y="106"/>
                          <a:pt x="169" y="105"/>
                          <a:pt x="169" y="105"/>
                        </a:cubicBezTo>
                        <a:cubicBezTo>
                          <a:pt x="169" y="104"/>
                          <a:pt x="168" y="103"/>
                          <a:pt x="167" y="103"/>
                        </a:cubicBezTo>
                        <a:cubicBezTo>
                          <a:pt x="154" y="96"/>
                          <a:pt x="154" y="96"/>
                          <a:pt x="154" y="96"/>
                        </a:cubicBezTo>
                        <a:cubicBezTo>
                          <a:pt x="155" y="93"/>
                          <a:pt x="155" y="90"/>
                          <a:pt x="155" y="86"/>
                        </a:cubicBezTo>
                        <a:lnTo>
                          <a:pt x="168" y="82"/>
                        </a:lnTo>
                        <a:close/>
                        <a:moveTo>
                          <a:pt x="86" y="101"/>
                        </a:moveTo>
                        <a:cubicBezTo>
                          <a:pt x="77" y="101"/>
                          <a:pt x="70" y="94"/>
                          <a:pt x="70" y="85"/>
                        </a:cubicBezTo>
                        <a:cubicBezTo>
                          <a:pt x="70" y="77"/>
                          <a:pt x="77" y="70"/>
                          <a:pt x="86" y="70"/>
                        </a:cubicBezTo>
                        <a:cubicBezTo>
                          <a:pt x="94" y="70"/>
                          <a:pt x="101" y="77"/>
                          <a:pt x="101" y="85"/>
                        </a:cubicBezTo>
                        <a:cubicBezTo>
                          <a:pt x="101" y="94"/>
                          <a:pt x="94" y="101"/>
                          <a:pt x="86" y="10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20"/>
                  <p:cNvSpPr>
                    <a:spLocks noEditPoints="1"/>
                  </p:cNvSpPr>
                  <p:nvPr/>
                </p:nvSpPr>
                <p:spPr bwMode="auto">
                  <a:xfrm>
                    <a:off x="-1333500" y="1651000"/>
                    <a:ext cx="454025" cy="454025"/>
                  </a:xfrm>
                  <a:custGeom>
                    <a:avLst/>
                    <a:gdLst>
                      <a:gd name="T0" fmla="*/ 121 w 121"/>
                      <a:gd name="T1" fmla="*/ 56 h 121"/>
                      <a:gd name="T2" fmla="*/ 119 w 121"/>
                      <a:gd name="T3" fmla="*/ 54 h 121"/>
                      <a:gd name="T4" fmla="*/ 108 w 121"/>
                      <a:gd name="T5" fmla="*/ 46 h 121"/>
                      <a:gd name="T6" fmla="*/ 117 w 121"/>
                      <a:gd name="T7" fmla="*/ 38 h 121"/>
                      <a:gd name="T8" fmla="*/ 115 w 121"/>
                      <a:gd name="T9" fmla="*/ 37 h 121"/>
                      <a:gd name="T10" fmla="*/ 101 w 121"/>
                      <a:gd name="T11" fmla="*/ 32 h 121"/>
                      <a:gd name="T12" fmla="*/ 108 w 121"/>
                      <a:gd name="T13" fmla="*/ 23 h 121"/>
                      <a:gd name="T14" fmla="*/ 105 w 121"/>
                      <a:gd name="T15" fmla="*/ 21 h 121"/>
                      <a:gd name="T16" fmla="*/ 90 w 121"/>
                      <a:gd name="T17" fmla="*/ 21 h 121"/>
                      <a:gd name="T18" fmla="*/ 94 w 121"/>
                      <a:gd name="T19" fmla="*/ 11 h 121"/>
                      <a:gd name="T20" fmla="*/ 90 w 121"/>
                      <a:gd name="T21" fmla="*/ 10 h 121"/>
                      <a:gd name="T22" fmla="*/ 77 w 121"/>
                      <a:gd name="T23" fmla="*/ 14 h 121"/>
                      <a:gd name="T24" fmla="*/ 77 w 121"/>
                      <a:gd name="T25" fmla="*/ 3 h 121"/>
                      <a:gd name="T26" fmla="*/ 73 w 121"/>
                      <a:gd name="T27" fmla="*/ 3 h 121"/>
                      <a:gd name="T28" fmla="*/ 61 w 121"/>
                      <a:gd name="T29" fmla="*/ 11 h 121"/>
                      <a:gd name="T30" fmla="*/ 56 w 121"/>
                      <a:gd name="T31" fmla="*/ 0 h 121"/>
                      <a:gd name="T32" fmla="*/ 55 w 121"/>
                      <a:gd name="T33" fmla="*/ 2 h 121"/>
                      <a:gd name="T34" fmla="*/ 46 w 121"/>
                      <a:gd name="T35" fmla="*/ 13 h 121"/>
                      <a:gd name="T36" fmla="*/ 38 w 121"/>
                      <a:gd name="T37" fmla="*/ 4 h 121"/>
                      <a:gd name="T38" fmla="*/ 37 w 121"/>
                      <a:gd name="T39" fmla="*/ 7 h 121"/>
                      <a:gd name="T40" fmla="*/ 32 w 121"/>
                      <a:gd name="T41" fmla="*/ 20 h 121"/>
                      <a:gd name="T42" fmla="*/ 22 w 121"/>
                      <a:gd name="T43" fmla="*/ 14 h 121"/>
                      <a:gd name="T44" fmla="*/ 21 w 121"/>
                      <a:gd name="T45" fmla="*/ 17 h 121"/>
                      <a:gd name="T46" fmla="*/ 21 w 121"/>
                      <a:gd name="T47" fmla="*/ 31 h 121"/>
                      <a:gd name="T48" fmla="*/ 9 w 121"/>
                      <a:gd name="T49" fmla="*/ 28 h 121"/>
                      <a:gd name="T50" fmla="*/ 10 w 121"/>
                      <a:gd name="T51" fmla="*/ 31 h 121"/>
                      <a:gd name="T52" fmla="*/ 14 w 121"/>
                      <a:gd name="T53" fmla="*/ 45 h 121"/>
                      <a:gd name="T54" fmla="*/ 2 w 121"/>
                      <a:gd name="T55" fmla="*/ 46 h 121"/>
                      <a:gd name="T56" fmla="*/ 3 w 121"/>
                      <a:gd name="T57" fmla="*/ 48 h 121"/>
                      <a:gd name="T58" fmla="*/ 11 w 121"/>
                      <a:gd name="T59" fmla="*/ 60 h 121"/>
                      <a:gd name="T60" fmla="*/ 0 w 121"/>
                      <a:gd name="T61" fmla="*/ 65 h 121"/>
                      <a:gd name="T62" fmla="*/ 2 w 121"/>
                      <a:gd name="T63" fmla="*/ 67 h 121"/>
                      <a:gd name="T64" fmla="*/ 14 w 121"/>
                      <a:gd name="T65" fmla="*/ 75 h 121"/>
                      <a:gd name="T66" fmla="*/ 4 w 121"/>
                      <a:gd name="T67" fmla="*/ 83 h 121"/>
                      <a:gd name="T68" fmla="*/ 7 w 121"/>
                      <a:gd name="T69" fmla="*/ 84 h 121"/>
                      <a:gd name="T70" fmla="*/ 20 w 121"/>
                      <a:gd name="T71" fmla="*/ 89 h 121"/>
                      <a:gd name="T72" fmla="*/ 14 w 121"/>
                      <a:gd name="T73" fmla="*/ 98 h 121"/>
                      <a:gd name="T74" fmla="*/ 17 w 121"/>
                      <a:gd name="T75" fmla="*/ 100 h 121"/>
                      <a:gd name="T76" fmla="*/ 31 w 121"/>
                      <a:gd name="T77" fmla="*/ 100 h 121"/>
                      <a:gd name="T78" fmla="*/ 28 w 121"/>
                      <a:gd name="T79" fmla="*/ 110 h 121"/>
                      <a:gd name="T80" fmla="*/ 31 w 121"/>
                      <a:gd name="T81" fmla="*/ 112 h 121"/>
                      <a:gd name="T82" fmla="*/ 45 w 121"/>
                      <a:gd name="T83" fmla="*/ 107 h 121"/>
                      <a:gd name="T84" fmla="*/ 45 w 121"/>
                      <a:gd name="T85" fmla="*/ 118 h 121"/>
                      <a:gd name="T86" fmla="*/ 49 w 121"/>
                      <a:gd name="T87" fmla="*/ 118 h 121"/>
                      <a:gd name="T88" fmla="*/ 60 w 121"/>
                      <a:gd name="T89" fmla="*/ 110 h 121"/>
                      <a:gd name="T90" fmla="*/ 65 w 121"/>
                      <a:gd name="T91" fmla="*/ 121 h 121"/>
                      <a:gd name="T92" fmla="*/ 67 w 121"/>
                      <a:gd name="T93" fmla="*/ 119 h 121"/>
                      <a:gd name="T94" fmla="*/ 68 w 121"/>
                      <a:gd name="T95" fmla="*/ 109 h 121"/>
                      <a:gd name="T96" fmla="*/ 81 w 121"/>
                      <a:gd name="T97" fmla="*/ 116 h 121"/>
                      <a:gd name="T98" fmla="*/ 85 w 121"/>
                      <a:gd name="T99" fmla="*/ 115 h 121"/>
                      <a:gd name="T100" fmla="*/ 83 w 121"/>
                      <a:gd name="T101" fmla="*/ 104 h 121"/>
                      <a:gd name="T102" fmla="*/ 97 w 121"/>
                      <a:gd name="T103" fmla="*/ 107 h 121"/>
                      <a:gd name="T104" fmla="*/ 101 w 121"/>
                      <a:gd name="T105" fmla="*/ 106 h 121"/>
                      <a:gd name="T106" fmla="*/ 96 w 121"/>
                      <a:gd name="T107" fmla="*/ 95 h 121"/>
                      <a:gd name="T108" fmla="*/ 110 w 121"/>
                      <a:gd name="T109" fmla="*/ 93 h 121"/>
                      <a:gd name="T110" fmla="*/ 113 w 121"/>
                      <a:gd name="T111" fmla="*/ 92 h 121"/>
                      <a:gd name="T112" fmla="*/ 105 w 121"/>
                      <a:gd name="T113" fmla="*/ 83 h 121"/>
                      <a:gd name="T114" fmla="*/ 117 w 121"/>
                      <a:gd name="T115" fmla="*/ 77 h 121"/>
                      <a:gd name="T116" fmla="*/ 120 w 121"/>
                      <a:gd name="T117" fmla="*/ 75 h 121"/>
                      <a:gd name="T118" fmla="*/ 109 w 121"/>
                      <a:gd name="T119" fmla="*/ 68 h 121"/>
                      <a:gd name="T120" fmla="*/ 120 w 121"/>
                      <a:gd name="T121" fmla="*/ 58 h 121"/>
                      <a:gd name="T122" fmla="*/ 50 w 121"/>
                      <a:gd name="T123" fmla="*/ 61 h 121"/>
                      <a:gd name="T124" fmla="*/ 72 w 121"/>
                      <a:gd name="T125" fmla="*/ 6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1" h="121">
                        <a:moveTo>
                          <a:pt x="120" y="58"/>
                        </a:moveTo>
                        <a:cubicBezTo>
                          <a:pt x="121" y="58"/>
                          <a:pt x="121" y="57"/>
                          <a:pt x="121" y="56"/>
                        </a:cubicBezTo>
                        <a:cubicBezTo>
                          <a:pt x="121" y="56"/>
                          <a:pt x="121" y="56"/>
                          <a:pt x="121" y="56"/>
                        </a:cubicBezTo>
                        <a:cubicBezTo>
                          <a:pt x="121" y="55"/>
                          <a:pt x="120" y="54"/>
                          <a:pt x="119" y="54"/>
                        </a:cubicBezTo>
                        <a:cubicBezTo>
                          <a:pt x="110" y="53"/>
                          <a:pt x="110" y="53"/>
                          <a:pt x="110" y="53"/>
                        </a:cubicBezTo>
                        <a:cubicBezTo>
                          <a:pt x="109" y="50"/>
                          <a:pt x="109" y="48"/>
                          <a:pt x="108" y="46"/>
                        </a:cubicBezTo>
                        <a:cubicBezTo>
                          <a:pt x="116" y="40"/>
                          <a:pt x="116" y="40"/>
                          <a:pt x="116" y="40"/>
                        </a:cubicBezTo>
                        <a:cubicBezTo>
                          <a:pt x="117" y="40"/>
                          <a:pt x="117" y="39"/>
                          <a:pt x="117" y="38"/>
                        </a:cubicBezTo>
                        <a:cubicBezTo>
                          <a:pt x="117" y="38"/>
                          <a:pt x="117" y="38"/>
                          <a:pt x="117" y="38"/>
                        </a:cubicBezTo>
                        <a:cubicBezTo>
                          <a:pt x="117" y="37"/>
                          <a:pt x="116" y="36"/>
                          <a:pt x="115" y="37"/>
                        </a:cubicBezTo>
                        <a:cubicBezTo>
                          <a:pt x="105" y="38"/>
                          <a:pt x="105" y="38"/>
                          <a:pt x="105" y="38"/>
                        </a:cubicBezTo>
                        <a:cubicBezTo>
                          <a:pt x="104" y="36"/>
                          <a:pt x="102" y="34"/>
                          <a:pt x="101" y="32"/>
                        </a:cubicBezTo>
                        <a:cubicBezTo>
                          <a:pt x="107" y="24"/>
                          <a:pt x="107" y="24"/>
                          <a:pt x="107" y="24"/>
                        </a:cubicBezTo>
                        <a:cubicBezTo>
                          <a:pt x="108" y="24"/>
                          <a:pt x="108" y="23"/>
                          <a:pt x="108" y="23"/>
                        </a:cubicBezTo>
                        <a:cubicBezTo>
                          <a:pt x="108" y="22"/>
                          <a:pt x="108" y="22"/>
                          <a:pt x="107" y="21"/>
                        </a:cubicBezTo>
                        <a:cubicBezTo>
                          <a:pt x="107" y="21"/>
                          <a:pt x="105" y="20"/>
                          <a:pt x="105" y="21"/>
                        </a:cubicBezTo>
                        <a:cubicBezTo>
                          <a:pt x="96" y="26"/>
                          <a:pt x="96" y="26"/>
                          <a:pt x="96" y="26"/>
                        </a:cubicBezTo>
                        <a:cubicBezTo>
                          <a:pt x="94" y="24"/>
                          <a:pt x="92" y="22"/>
                          <a:pt x="90" y="21"/>
                        </a:cubicBezTo>
                        <a:cubicBezTo>
                          <a:pt x="94" y="12"/>
                          <a:pt x="94" y="12"/>
                          <a:pt x="94" y="12"/>
                        </a:cubicBezTo>
                        <a:cubicBezTo>
                          <a:pt x="94" y="11"/>
                          <a:pt x="94" y="11"/>
                          <a:pt x="94" y="11"/>
                        </a:cubicBezTo>
                        <a:cubicBezTo>
                          <a:pt x="94" y="10"/>
                          <a:pt x="94" y="9"/>
                          <a:pt x="93" y="9"/>
                        </a:cubicBezTo>
                        <a:cubicBezTo>
                          <a:pt x="92" y="8"/>
                          <a:pt x="91" y="9"/>
                          <a:pt x="90" y="10"/>
                        </a:cubicBezTo>
                        <a:cubicBezTo>
                          <a:pt x="83" y="17"/>
                          <a:pt x="83" y="17"/>
                          <a:pt x="83" y="17"/>
                        </a:cubicBezTo>
                        <a:cubicBezTo>
                          <a:pt x="81" y="15"/>
                          <a:pt x="79" y="15"/>
                          <a:pt x="77" y="14"/>
                        </a:cubicBezTo>
                        <a:cubicBezTo>
                          <a:pt x="77" y="4"/>
                          <a:pt x="77" y="4"/>
                          <a:pt x="77" y="4"/>
                        </a:cubicBezTo>
                        <a:cubicBezTo>
                          <a:pt x="77" y="4"/>
                          <a:pt x="77" y="4"/>
                          <a:pt x="77" y="3"/>
                        </a:cubicBezTo>
                        <a:cubicBezTo>
                          <a:pt x="77" y="2"/>
                          <a:pt x="76" y="2"/>
                          <a:pt x="75" y="1"/>
                        </a:cubicBezTo>
                        <a:cubicBezTo>
                          <a:pt x="74" y="1"/>
                          <a:pt x="73" y="2"/>
                          <a:pt x="73" y="3"/>
                        </a:cubicBezTo>
                        <a:cubicBezTo>
                          <a:pt x="69" y="12"/>
                          <a:pt x="69" y="12"/>
                          <a:pt x="69" y="12"/>
                        </a:cubicBezTo>
                        <a:cubicBezTo>
                          <a:pt x="66" y="11"/>
                          <a:pt x="64" y="11"/>
                          <a:pt x="61" y="11"/>
                        </a:cubicBezTo>
                        <a:cubicBezTo>
                          <a:pt x="59" y="2"/>
                          <a:pt x="59" y="2"/>
                          <a:pt x="59" y="2"/>
                        </a:cubicBezTo>
                        <a:cubicBezTo>
                          <a:pt x="58" y="1"/>
                          <a:pt x="58" y="0"/>
                          <a:pt x="56" y="0"/>
                        </a:cubicBezTo>
                        <a:cubicBezTo>
                          <a:pt x="55" y="0"/>
                          <a:pt x="55" y="1"/>
                          <a:pt x="55" y="2"/>
                        </a:cubicBezTo>
                        <a:cubicBezTo>
                          <a:pt x="55" y="2"/>
                          <a:pt x="55" y="2"/>
                          <a:pt x="55" y="2"/>
                        </a:cubicBezTo>
                        <a:cubicBezTo>
                          <a:pt x="53" y="12"/>
                          <a:pt x="53" y="12"/>
                          <a:pt x="53" y="12"/>
                        </a:cubicBezTo>
                        <a:cubicBezTo>
                          <a:pt x="51" y="12"/>
                          <a:pt x="48" y="13"/>
                          <a:pt x="46" y="13"/>
                        </a:cubicBezTo>
                        <a:cubicBezTo>
                          <a:pt x="40" y="5"/>
                          <a:pt x="40" y="5"/>
                          <a:pt x="40" y="5"/>
                        </a:cubicBezTo>
                        <a:cubicBezTo>
                          <a:pt x="40" y="4"/>
                          <a:pt x="39" y="4"/>
                          <a:pt x="38" y="4"/>
                        </a:cubicBezTo>
                        <a:cubicBezTo>
                          <a:pt x="37" y="4"/>
                          <a:pt x="37" y="5"/>
                          <a:pt x="37" y="6"/>
                        </a:cubicBezTo>
                        <a:cubicBezTo>
                          <a:pt x="37" y="6"/>
                          <a:pt x="37" y="6"/>
                          <a:pt x="37" y="7"/>
                        </a:cubicBezTo>
                        <a:cubicBezTo>
                          <a:pt x="38" y="17"/>
                          <a:pt x="38" y="17"/>
                          <a:pt x="38" y="17"/>
                        </a:cubicBezTo>
                        <a:cubicBezTo>
                          <a:pt x="36" y="18"/>
                          <a:pt x="34" y="19"/>
                          <a:pt x="32" y="20"/>
                        </a:cubicBezTo>
                        <a:cubicBezTo>
                          <a:pt x="24" y="14"/>
                          <a:pt x="24" y="14"/>
                          <a:pt x="24" y="14"/>
                        </a:cubicBezTo>
                        <a:cubicBezTo>
                          <a:pt x="24" y="13"/>
                          <a:pt x="22" y="13"/>
                          <a:pt x="22" y="14"/>
                        </a:cubicBezTo>
                        <a:cubicBezTo>
                          <a:pt x="21" y="14"/>
                          <a:pt x="21" y="15"/>
                          <a:pt x="21" y="15"/>
                        </a:cubicBezTo>
                        <a:cubicBezTo>
                          <a:pt x="21" y="16"/>
                          <a:pt x="21" y="16"/>
                          <a:pt x="21" y="17"/>
                        </a:cubicBezTo>
                        <a:cubicBezTo>
                          <a:pt x="26" y="26"/>
                          <a:pt x="26" y="26"/>
                          <a:pt x="26" y="26"/>
                        </a:cubicBezTo>
                        <a:cubicBezTo>
                          <a:pt x="24" y="27"/>
                          <a:pt x="23" y="29"/>
                          <a:pt x="21" y="31"/>
                        </a:cubicBezTo>
                        <a:cubicBezTo>
                          <a:pt x="12" y="28"/>
                          <a:pt x="12" y="28"/>
                          <a:pt x="12" y="28"/>
                        </a:cubicBezTo>
                        <a:cubicBezTo>
                          <a:pt x="11" y="27"/>
                          <a:pt x="10" y="27"/>
                          <a:pt x="9" y="28"/>
                        </a:cubicBezTo>
                        <a:cubicBezTo>
                          <a:pt x="9" y="29"/>
                          <a:pt x="9" y="29"/>
                          <a:pt x="9" y="29"/>
                        </a:cubicBezTo>
                        <a:cubicBezTo>
                          <a:pt x="9" y="30"/>
                          <a:pt x="9" y="31"/>
                          <a:pt x="10" y="31"/>
                        </a:cubicBezTo>
                        <a:cubicBezTo>
                          <a:pt x="17" y="38"/>
                          <a:pt x="17" y="38"/>
                          <a:pt x="17" y="38"/>
                        </a:cubicBezTo>
                        <a:cubicBezTo>
                          <a:pt x="16" y="40"/>
                          <a:pt x="15" y="42"/>
                          <a:pt x="14" y="45"/>
                        </a:cubicBezTo>
                        <a:cubicBezTo>
                          <a:pt x="4" y="44"/>
                          <a:pt x="4" y="44"/>
                          <a:pt x="4" y="44"/>
                        </a:cubicBezTo>
                        <a:cubicBezTo>
                          <a:pt x="3" y="44"/>
                          <a:pt x="2" y="45"/>
                          <a:pt x="2" y="46"/>
                        </a:cubicBezTo>
                        <a:cubicBezTo>
                          <a:pt x="2" y="46"/>
                          <a:pt x="2" y="46"/>
                          <a:pt x="2" y="46"/>
                        </a:cubicBezTo>
                        <a:cubicBezTo>
                          <a:pt x="2" y="47"/>
                          <a:pt x="2" y="48"/>
                          <a:pt x="3" y="48"/>
                        </a:cubicBezTo>
                        <a:cubicBezTo>
                          <a:pt x="12" y="53"/>
                          <a:pt x="12" y="53"/>
                          <a:pt x="12" y="53"/>
                        </a:cubicBezTo>
                        <a:cubicBezTo>
                          <a:pt x="12" y="55"/>
                          <a:pt x="11" y="57"/>
                          <a:pt x="11" y="60"/>
                        </a:cubicBezTo>
                        <a:cubicBezTo>
                          <a:pt x="2" y="63"/>
                          <a:pt x="2" y="63"/>
                          <a:pt x="2" y="63"/>
                        </a:cubicBezTo>
                        <a:cubicBezTo>
                          <a:pt x="1" y="63"/>
                          <a:pt x="0" y="64"/>
                          <a:pt x="0" y="65"/>
                        </a:cubicBezTo>
                        <a:cubicBezTo>
                          <a:pt x="0" y="65"/>
                          <a:pt x="0" y="65"/>
                          <a:pt x="0" y="65"/>
                        </a:cubicBezTo>
                        <a:cubicBezTo>
                          <a:pt x="0" y="66"/>
                          <a:pt x="1" y="67"/>
                          <a:pt x="2" y="67"/>
                        </a:cubicBezTo>
                        <a:cubicBezTo>
                          <a:pt x="12" y="68"/>
                          <a:pt x="12" y="68"/>
                          <a:pt x="12" y="68"/>
                        </a:cubicBezTo>
                        <a:cubicBezTo>
                          <a:pt x="12" y="71"/>
                          <a:pt x="13" y="73"/>
                          <a:pt x="14" y="75"/>
                        </a:cubicBezTo>
                        <a:cubicBezTo>
                          <a:pt x="5" y="81"/>
                          <a:pt x="5" y="81"/>
                          <a:pt x="5" y="81"/>
                        </a:cubicBezTo>
                        <a:cubicBezTo>
                          <a:pt x="5" y="81"/>
                          <a:pt x="4" y="82"/>
                          <a:pt x="4" y="83"/>
                        </a:cubicBezTo>
                        <a:cubicBezTo>
                          <a:pt x="4" y="83"/>
                          <a:pt x="4" y="83"/>
                          <a:pt x="4" y="83"/>
                        </a:cubicBezTo>
                        <a:cubicBezTo>
                          <a:pt x="5" y="84"/>
                          <a:pt x="6" y="85"/>
                          <a:pt x="7" y="84"/>
                        </a:cubicBezTo>
                        <a:cubicBezTo>
                          <a:pt x="17" y="83"/>
                          <a:pt x="17" y="83"/>
                          <a:pt x="17" y="83"/>
                        </a:cubicBezTo>
                        <a:cubicBezTo>
                          <a:pt x="18" y="85"/>
                          <a:pt x="19" y="87"/>
                          <a:pt x="20" y="89"/>
                        </a:cubicBezTo>
                        <a:cubicBezTo>
                          <a:pt x="14" y="97"/>
                          <a:pt x="14" y="97"/>
                          <a:pt x="14" y="97"/>
                        </a:cubicBezTo>
                        <a:cubicBezTo>
                          <a:pt x="14" y="97"/>
                          <a:pt x="14" y="98"/>
                          <a:pt x="14" y="98"/>
                        </a:cubicBezTo>
                        <a:cubicBezTo>
                          <a:pt x="14" y="99"/>
                          <a:pt x="14" y="99"/>
                          <a:pt x="14" y="100"/>
                        </a:cubicBezTo>
                        <a:cubicBezTo>
                          <a:pt x="15" y="100"/>
                          <a:pt x="16" y="101"/>
                          <a:pt x="17" y="100"/>
                        </a:cubicBezTo>
                        <a:cubicBezTo>
                          <a:pt x="26" y="95"/>
                          <a:pt x="26" y="95"/>
                          <a:pt x="26" y="95"/>
                        </a:cubicBezTo>
                        <a:cubicBezTo>
                          <a:pt x="28" y="97"/>
                          <a:pt x="29" y="99"/>
                          <a:pt x="31" y="100"/>
                        </a:cubicBezTo>
                        <a:cubicBezTo>
                          <a:pt x="28" y="109"/>
                          <a:pt x="28" y="109"/>
                          <a:pt x="28" y="109"/>
                        </a:cubicBezTo>
                        <a:cubicBezTo>
                          <a:pt x="28" y="110"/>
                          <a:pt x="28" y="110"/>
                          <a:pt x="28" y="110"/>
                        </a:cubicBezTo>
                        <a:cubicBezTo>
                          <a:pt x="28" y="111"/>
                          <a:pt x="28" y="112"/>
                          <a:pt x="29" y="112"/>
                        </a:cubicBezTo>
                        <a:cubicBezTo>
                          <a:pt x="30" y="113"/>
                          <a:pt x="31" y="112"/>
                          <a:pt x="31" y="112"/>
                        </a:cubicBezTo>
                        <a:cubicBezTo>
                          <a:pt x="38" y="104"/>
                          <a:pt x="38" y="104"/>
                          <a:pt x="38" y="104"/>
                        </a:cubicBezTo>
                        <a:cubicBezTo>
                          <a:pt x="40" y="106"/>
                          <a:pt x="43" y="106"/>
                          <a:pt x="45" y="107"/>
                        </a:cubicBezTo>
                        <a:cubicBezTo>
                          <a:pt x="45" y="117"/>
                          <a:pt x="45" y="117"/>
                          <a:pt x="45" y="117"/>
                        </a:cubicBezTo>
                        <a:cubicBezTo>
                          <a:pt x="45" y="117"/>
                          <a:pt x="45" y="117"/>
                          <a:pt x="45" y="118"/>
                        </a:cubicBezTo>
                        <a:cubicBezTo>
                          <a:pt x="45" y="119"/>
                          <a:pt x="45" y="119"/>
                          <a:pt x="46" y="120"/>
                        </a:cubicBezTo>
                        <a:cubicBezTo>
                          <a:pt x="47" y="120"/>
                          <a:pt x="48" y="119"/>
                          <a:pt x="49" y="118"/>
                        </a:cubicBezTo>
                        <a:cubicBezTo>
                          <a:pt x="53" y="109"/>
                          <a:pt x="53" y="109"/>
                          <a:pt x="53" y="109"/>
                        </a:cubicBezTo>
                        <a:cubicBezTo>
                          <a:pt x="55" y="110"/>
                          <a:pt x="58" y="110"/>
                          <a:pt x="60" y="110"/>
                        </a:cubicBezTo>
                        <a:cubicBezTo>
                          <a:pt x="63" y="119"/>
                          <a:pt x="63" y="119"/>
                          <a:pt x="63" y="119"/>
                        </a:cubicBezTo>
                        <a:cubicBezTo>
                          <a:pt x="63" y="120"/>
                          <a:pt x="64" y="121"/>
                          <a:pt x="65" y="121"/>
                        </a:cubicBezTo>
                        <a:cubicBezTo>
                          <a:pt x="65" y="121"/>
                          <a:pt x="65" y="121"/>
                          <a:pt x="65" y="121"/>
                        </a:cubicBezTo>
                        <a:cubicBezTo>
                          <a:pt x="66" y="121"/>
                          <a:pt x="67" y="120"/>
                          <a:pt x="67" y="119"/>
                        </a:cubicBezTo>
                        <a:cubicBezTo>
                          <a:pt x="67" y="119"/>
                          <a:pt x="67" y="119"/>
                          <a:pt x="67" y="119"/>
                        </a:cubicBezTo>
                        <a:cubicBezTo>
                          <a:pt x="68" y="109"/>
                          <a:pt x="68" y="109"/>
                          <a:pt x="68" y="109"/>
                        </a:cubicBezTo>
                        <a:cubicBezTo>
                          <a:pt x="71" y="109"/>
                          <a:pt x="73" y="108"/>
                          <a:pt x="75" y="108"/>
                        </a:cubicBezTo>
                        <a:cubicBezTo>
                          <a:pt x="81" y="116"/>
                          <a:pt x="81" y="116"/>
                          <a:pt x="81" y="116"/>
                        </a:cubicBezTo>
                        <a:cubicBezTo>
                          <a:pt x="82" y="117"/>
                          <a:pt x="83" y="117"/>
                          <a:pt x="84" y="117"/>
                        </a:cubicBezTo>
                        <a:cubicBezTo>
                          <a:pt x="84" y="117"/>
                          <a:pt x="85" y="116"/>
                          <a:pt x="85" y="115"/>
                        </a:cubicBezTo>
                        <a:cubicBezTo>
                          <a:pt x="85" y="115"/>
                          <a:pt x="85" y="115"/>
                          <a:pt x="85" y="114"/>
                        </a:cubicBezTo>
                        <a:cubicBezTo>
                          <a:pt x="83" y="104"/>
                          <a:pt x="83" y="104"/>
                          <a:pt x="83" y="104"/>
                        </a:cubicBezTo>
                        <a:cubicBezTo>
                          <a:pt x="85" y="103"/>
                          <a:pt x="87" y="102"/>
                          <a:pt x="89" y="101"/>
                        </a:cubicBezTo>
                        <a:cubicBezTo>
                          <a:pt x="97" y="107"/>
                          <a:pt x="97" y="107"/>
                          <a:pt x="97" y="107"/>
                        </a:cubicBezTo>
                        <a:cubicBezTo>
                          <a:pt x="98" y="108"/>
                          <a:pt x="99" y="108"/>
                          <a:pt x="100" y="107"/>
                        </a:cubicBezTo>
                        <a:cubicBezTo>
                          <a:pt x="100" y="107"/>
                          <a:pt x="101" y="106"/>
                          <a:pt x="101" y="106"/>
                        </a:cubicBezTo>
                        <a:cubicBezTo>
                          <a:pt x="101" y="105"/>
                          <a:pt x="100" y="105"/>
                          <a:pt x="100" y="104"/>
                        </a:cubicBezTo>
                        <a:cubicBezTo>
                          <a:pt x="96" y="95"/>
                          <a:pt x="96" y="95"/>
                          <a:pt x="96" y="95"/>
                        </a:cubicBezTo>
                        <a:cubicBezTo>
                          <a:pt x="97" y="94"/>
                          <a:pt x="99" y="92"/>
                          <a:pt x="100" y="90"/>
                        </a:cubicBezTo>
                        <a:cubicBezTo>
                          <a:pt x="110" y="93"/>
                          <a:pt x="110" y="93"/>
                          <a:pt x="110" y="93"/>
                        </a:cubicBezTo>
                        <a:cubicBezTo>
                          <a:pt x="111" y="94"/>
                          <a:pt x="112" y="94"/>
                          <a:pt x="112" y="93"/>
                        </a:cubicBezTo>
                        <a:cubicBezTo>
                          <a:pt x="113" y="92"/>
                          <a:pt x="113" y="92"/>
                          <a:pt x="113" y="92"/>
                        </a:cubicBezTo>
                        <a:cubicBezTo>
                          <a:pt x="113" y="91"/>
                          <a:pt x="112" y="90"/>
                          <a:pt x="112" y="90"/>
                        </a:cubicBezTo>
                        <a:cubicBezTo>
                          <a:pt x="105" y="83"/>
                          <a:pt x="105" y="83"/>
                          <a:pt x="105" y="83"/>
                        </a:cubicBezTo>
                        <a:cubicBezTo>
                          <a:pt x="106" y="81"/>
                          <a:pt x="107" y="79"/>
                          <a:pt x="107" y="76"/>
                        </a:cubicBezTo>
                        <a:cubicBezTo>
                          <a:pt x="117" y="77"/>
                          <a:pt x="117" y="77"/>
                          <a:pt x="117" y="77"/>
                        </a:cubicBezTo>
                        <a:cubicBezTo>
                          <a:pt x="118" y="77"/>
                          <a:pt x="120" y="76"/>
                          <a:pt x="120" y="75"/>
                        </a:cubicBezTo>
                        <a:cubicBezTo>
                          <a:pt x="120" y="75"/>
                          <a:pt x="120" y="75"/>
                          <a:pt x="120" y="75"/>
                        </a:cubicBezTo>
                        <a:cubicBezTo>
                          <a:pt x="120" y="74"/>
                          <a:pt x="119" y="73"/>
                          <a:pt x="118" y="73"/>
                        </a:cubicBezTo>
                        <a:cubicBezTo>
                          <a:pt x="109" y="68"/>
                          <a:pt x="109" y="68"/>
                          <a:pt x="109" y="68"/>
                        </a:cubicBezTo>
                        <a:cubicBezTo>
                          <a:pt x="110" y="66"/>
                          <a:pt x="110" y="64"/>
                          <a:pt x="110" y="61"/>
                        </a:cubicBezTo>
                        <a:lnTo>
                          <a:pt x="120" y="58"/>
                        </a:lnTo>
                        <a:close/>
                        <a:moveTo>
                          <a:pt x="61" y="72"/>
                        </a:moveTo>
                        <a:cubicBezTo>
                          <a:pt x="55" y="72"/>
                          <a:pt x="50" y="67"/>
                          <a:pt x="50" y="61"/>
                        </a:cubicBezTo>
                        <a:cubicBezTo>
                          <a:pt x="50" y="54"/>
                          <a:pt x="55" y="49"/>
                          <a:pt x="61" y="49"/>
                        </a:cubicBezTo>
                        <a:cubicBezTo>
                          <a:pt x="67" y="49"/>
                          <a:pt x="72" y="54"/>
                          <a:pt x="72" y="61"/>
                        </a:cubicBezTo>
                        <a:cubicBezTo>
                          <a:pt x="72" y="67"/>
                          <a:pt x="67" y="72"/>
                          <a:pt x="61" y="7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Oval 21"/>
                  <p:cNvSpPr>
                    <a:spLocks noChangeArrowheads="1"/>
                  </p:cNvSpPr>
                  <p:nvPr/>
                </p:nvSpPr>
                <p:spPr bwMode="auto">
                  <a:xfrm>
                    <a:off x="-1055688" y="2462213"/>
                    <a:ext cx="171450" cy="17145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Oval 22"/>
                  <p:cNvSpPr>
                    <a:spLocks noChangeArrowheads="1"/>
                  </p:cNvSpPr>
                  <p:nvPr/>
                </p:nvSpPr>
                <p:spPr bwMode="auto">
                  <a:xfrm>
                    <a:off x="-1776413" y="2792413"/>
                    <a:ext cx="115888" cy="119063"/>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23"/>
                  <p:cNvSpPr>
                    <a:spLocks noEditPoints="1"/>
                  </p:cNvSpPr>
                  <p:nvPr/>
                </p:nvSpPr>
                <p:spPr bwMode="auto">
                  <a:xfrm>
                    <a:off x="-2773363" y="2439988"/>
                    <a:ext cx="2692401" cy="2659063"/>
                  </a:xfrm>
                  <a:custGeom>
                    <a:avLst/>
                    <a:gdLst>
                      <a:gd name="T0" fmla="*/ 605 w 718"/>
                      <a:gd name="T1" fmla="*/ 20 h 709"/>
                      <a:gd name="T2" fmla="*/ 602 w 718"/>
                      <a:gd name="T3" fmla="*/ 58 h 709"/>
                      <a:gd name="T4" fmla="*/ 587 w 718"/>
                      <a:gd name="T5" fmla="*/ 93 h 709"/>
                      <a:gd name="T6" fmla="*/ 563 w 718"/>
                      <a:gd name="T7" fmla="*/ 121 h 709"/>
                      <a:gd name="T8" fmla="*/ 530 w 718"/>
                      <a:gd name="T9" fmla="*/ 141 h 709"/>
                      <a:gd name="T10" fmla="*/ 493 w 718"/>
                      <a:gd name="T11" fmla="*/ 149 h 709"/>
                      <a:gd name="T12" fmla="*/ 456 w 718"/>
                      <a:gd name="T13" fmla="*/ 147 h 709"/>
                      <a:gd name="T14" fmla="*/ 420 w 718"/>
                      <a:gd name="T15" fmla="*/ 134 h 709"/>
                      <a:gd name="T16" fmla="*/ 391 w 718"/>
                      <a:gd name="T17" fmla="*/ 110 h 709"/>
                      <a:gd name="T18" fmla="*/ 371 w 718"/>
                      <a:gd name="T19" fmla="*/ 78 h 709"/>
                      <a:gd name="T20" fmla="*/ 361 w 718"/>
                      <a:gd name="T21" fmla="*/ 42 h 709"/>
                      <a:gd name="T22" fmla="*/ 363 w 718"/>
                      <a:gd name="T23" fmla="*/ 4 h 709"/>
                      <a:gd name="T24" fmla="*/ 68 w 718"/>
                      <a:gd name="T25" fmla="*/ 221 h 709"/>
                      <a:gd name="T26" fmla="*/ 162 w 718"/>
                      <a:gd name="T27" fmla="*/ 514 h 709"/>
                      <a:gd name="T28" fmla="*/ 334 w 718"/>
                      <a:gd name="T29" fmla="*/ 176 h 709"/>
                      <a:gd name="T30" fmla="*/ 311 w 718"/>
                      <a:gd name="T31" fmla="*/ 189 h 709"/>
                      <a:gd name="T32" fmla="*/ 288 w 718"/>
                      <a:gd name="T33" fmla="*/ 197 h 709"/>
                      <a:gd name="T34" fmla="*/ 258 w 718"/>
                      <a:gd name="T35" fmla="*/ 192 h 709"/>
                      <a:gd name="T36" fmla="*/ 234 w 718"/>
                      <a:gd name="T37" fmla="*/ 181 h 709"/>
                      <a:gd name="T38" fmla="*/ 214 w 718"/>
                      <a:gd name="T39" fmla="*/ 164 h 709"/>
                      <a:gd name="T40" fmla="*/ 201 w 718"/>
                      <a:gd name="T41" fmla="*/ 141 h 709"/>
                      <a:gd name="T42" fmla="*/ 195 w 718"/>
                      <a:gd name="T43" fmla="*/ 116 h 709"/>
                      <a:gd name="T44" fmla="*/ 197 w 718"/>
                      <a:gd name="T45" fmla="*/ 89 h 709"/>
                      <a:gd name="T46" fmla="*/ 207 w 718"/>
                      <a:gd name="T47" fmla="*/ 64 h 709"/>
                      <a:gd name="T48" fmla="*/ 225 w 718"/>
                      <a:gd name="T49" fmla="*/ 43 h 709"/>
                      <a:gd name="T50" fmla="*/ 249 w 718"/>
                      <a:gd name="T51" fmla="*/ 29 h 709"/>
                      <a:gd name="T52" fmla="*/ 275 w 718"/>
                      <a:gd name="T53" fmla="*/ 23 h 709"/>
                      <a:gd name="T54" fmla="*/ 305 w 718"/>
                      <a:gd name="T55" fmla="*/ 28 h 709"/>
                      <a:gd name="T56" fmla="*/ 329 w 718"/>
                      <a:gd name="T57" fmla="*/ 38 h 709"/>
                      <a:gd name="T58" fmla="*/ 349 w 718"/>
                      <a:gd name="T59" fmla="*/ 55 h 709"/>
                      <a:gd name="T60" fmla="*/ 362 w 718"/>
                      <a:gd name="T61" fmla="*/ 78 h 709"/>
                      <a:gd name="T62" fmla="*/ 368 w 718"/>
                      <a:gd name="T63" fmla="*/ 104 h 709"/>
                      <a:gd name="T64" fmla="*/ 366 w 718"/>
                      <a:gd name="T65" fmla="*/ 131 h 709"/>
                      <a:gd name="T66" fmla="*/ 356 w 718"/>
                      <a:gd name="T67" fmla="*/ 156 h 709"/>
                      <a:gd name="T68" fmla="*/ 338 w 718"/>
                      <a:gd name="T69" fmla="*/ 176 h 709"/>
                      <a:gd name="T70" fmla="*/ 451 w 718"/>
                      <a:gd name="T71" fmla="*/ 208 h 709"/>
                      <a:gd name="T72" fmla="*/ 444 w 718"/>
                      <a:gd name="T73" fmla="*/ 224 h 709"/>
                      <a:gd name="T74" fmla="*/ 433 w 718"/>
                      <a:gd name="T75" fmla="*/ 237 h 709"/>
                      <a:gd name="T76" fmla="*/ 418 w 718"/>
                      <a:gd name="T77" fmla="*/ 247 h 709"/>
                      <a:gd name="T78" fmla="*/ 401 w 718"/>
                      <a:gd name="T79" fmla="*/ 251 h 709"/>
                      <a:gd name="T80" fmla="*/ 383 w 718"/>
                      <a:gd name="T81" fmla="*/ 250 h 709"/>
                      <a:gd name="T82" fmla="*/ 367 w 718"/>
                      <a:gd name="T83" fmla="*/ 243 h 709"/>
                      <a:gd name="T84" fmla="*/ 353 w 718"/>
                      <a:gd name="T85" fmla="*/ 232 h 709"/>
                      <a:gd name="T86" fmla="*/ 343 w 718"/>
                      <a:gd name="T87" fmla="*/ 217 h 709"/>
                      <a:gd name="T88" fmla="*/ 339 w 718"/>
                      <a:gd name="T89" fmla="*/ 200 h 709"/>
                      <a:gd name="T90" fmla="*/ 340 w 718"/>
                      <a:gd name="T91" fmla="*/ 183 h 709"/>
                      <a:gd name="T92" fmla="*/ 346 w 718"/>
                      <a:gd name="T93" fmla="*/ 166 h 709"/>
                      <a:gd name="T94" fmla="*/ 357 w 718"/>
                      <a:gd name="T95" fmla="*/ 153 h 709"/>
                      <a:gd name="T96" fmla="*/ 372 w 718"/>
                      <a:gd name="T97" fmla="*/ 143 h 709"/>
                      <a:gd name="T98" fmla="*/ 389 w 718"/>
                      <a:gd name="T99" fmla="*/ 138 h 709"/>
                      <a:gd name="T100" fmla="*/ 407 w 718"/>
                      <a:gd name="T101" fmla="*/ 139 h 709"/>
                      <a:gd name="T102" fmla="*/ 423 w 718"/>
                      <a:gd name="T103" fmla="*/ 146 h 709"/>
                      <a:gd name="T104" fmla="*/ 437 w 718"/>
                      <a:gd name="T105" fmla="*/ 157 h 709"/>
                      <a:gd name="T106" fmla="*/ 446 w 718"/>
                      <a:gd name="T107" fmla="*/ 172 h 709"/>
                      <a:gd name="T108" fmla="*/ 451 w 718"/>
                      <a:gd name="T109" fmla="*/ 18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18" h="709">
                        <a:moveTo>
                          <a:pt x="606" y="330"/>
                        </a:moveTo>
                        <a:cubicBezTo>
                          <a:pt x="718" y="140"/>
                          <a:pt x="627" y="0"/>
                          <a:pt x="627" y="0"/>
                        </a:cubicBezTo>
                        <a:cubicBezTo>
                          <a:pt x="578" y="0"/>
                          <a:pt x="578" y="0"/>
                          <a:pt x="578" y="0"/>
                        </a:cubicBezTo>
                        <a:cubicBezTo>
                          <a:pt x="579" y="4"/>
                          <a:pt x="580" y="9"/>
                          <a:pt x="581" y="13"/>
                        </a:cubicBezTo>
                        <a:cubicBezTo>
                          <a:pt x="601" y="16"/>
                          <a:pt x="601" y="16"/>
                          <a:pt x="601" y="16"/>
                        </a:cubicBezTo>
                        <a:cubicBezTo>
                          <a:pt x="603" y="16"/>
                          <a:pt x="605" y="18"/>
                          <a:pt x="605" y="20"/>
                        </a:cubicBezTo>
                        <a:cubicBezTo>
                          <a:pt x="605" y="20"/>
                          <a:pt x="605" y="20"/>
                          <a:pt x="605" y="20"/>
                        </a:cubicBezTo>
                        <a:cubicBezTo>
                          <a:pt x="605" y="23"/>
                          <a:pt x="604" y="24"/>
                          <a:pt x="601" y="24"/>
                        </a:cubicBezTo>
                        <a:cubicBezTo>
                          <a:pt x="582" y="30"/>
                          <a:pt x="582" y="30"/>
                          <a:pt x="582" y="30"/>
                        </a:cubicBezTo>
                        <a:cubicBezTo>
                          <a:pt x="582" y="35"/>
                          <a:pt x="581" y="40"/>
                          <a:pt x="581" y="45"/>
                        </a:cubicBezTo>
                        <a:cubicBezTo>
                          <a:pt x="599" y="54"/>
                          <a:pt x="599" y="54"/>
                          <a:pt x="599" y="54"/>
                        </a:cubicBezTo>
                        <a:cubicBezTo>
                          <a:pt x="601" y="55"/>
                          <a:pt x="602" y="56"/>
                          <a:pt x="602" y="58"/>
                        </a:cubicBezTo>
                        <a:cubicBezTo>
                          <a:pt x="602" y="58"/>
                          <a:pt x="602" y="59"/>
                          <a:pt x="602" y="59"/>
                        </a:cubicBezTo>
                        <a:cubicBezTo>
                          <a:pt x="601" y="61"/>
                          <a:pt x="599" y="62"/>
                          <a:pt x="597" y="62"/>
                        </a:cubicBezTo>
                        <a:cubicBezTo>
                          <a:pt x="577" y="62"/>
                          <a:pt x="577" y="62"/>
                          <a:pt x="577" y="62"/>
                        </a:cubicBezTo>
                        <a:cubicBezTo>
                          <a:pt x="575" y="66"/>
                          <a:pt x="573" y="71"/>
                          <a:pt x="571" y="75"/>
                        </a:cubicBezTo>
                        <a:cubicBezTo>
                          <a:pt x="585" y="89"/>
                          <a:pt x="585" y="89"/>
                          <a:pt x="585" y="89"/>
                        </a:cubicBezTo>
                        <a:cubicBezTo>
                          <a:pt x="587" y="90"/>
                          <a:pt x="587" y="91"/>
                          <a:pt x="587" y="93"/>
                        </a:cubicBezTo>
                        <a:cubicBezTo>
                          <a:pt x="587" y="94"/>
                          <a:pt x="587" y="94"/>
                          <a:pt x="587" y="95"/>
                        </a:cubicBezTo>
                        <a:cubicBezTo>
                          <a:pt x="585" y="97"/>
                          <a:pt x="583" y="97"/>
                          <a:pt x="581" y="96"/>
                        </a:cubicBezTo>
                        <a:cubicBezTo>
                          <a:pt x="562" y="90"/>
                          <a:pt x="562" y="90"/>
                          <a:pt x="562" y="90"/>
                        </a:cubicBezTo>
                        <a:cubicBezTo>
                          <a:pt x="559" y="94"/>
                          <a:pt x="556" y="97"/>
                          <a:pt x="552" y="101"/>
                        </a:cubicBezTo>
                        <a:cubicBezTo>
                          <a:pt x="562" y="119"/>
                          <a:pt x="562" y="119"/>
                          <a:pt x="562" y="119"/>
                        </a:cubicBezTo>
                        <a:cubicBezTo>
                          <a:pt x="562" y="120"/>
                          <a:pt x="563" y="120"/>
                          <a:pt x="563" y="121"/>
                        </a:cubicBezTo>
                        <a:cubicBezTo>
                          <a:pt x="563" y="122"/>
                          <a:pt x="562" y="124"/>
                          <a:pt x="561" y="124"/>
                        </a:cubicBezTo>
                        <a:cubicBezTo>
                          <a:pt x="559" y="126"/>
                          <a:pt x="557" y="126"/>
                          <a:pt x="555" y="124"/>
                        </a:cubicBezTo>
                        <a:cubicBezTo>
                          <a:pt x="539" y="112"/>
                          <a:pt x="539" y="112"/>
                          <a:pt x="539" y="112"/>
                        </a:cubicBezTo>
                        <a:cubicBezTo>
                          <a:pt x="535" y="114"/>
                          <a:pt x="531" y="117"/>
                          <a:pt x="527" y="119"/>
                        </a:cubicBezTo>
                        <a:cubicBezTo>
                          <a:pt x="530" y="139"/>
                          <a:pt x="530" y="139"/>
                          <a:pt x="530" y="139"/>
                        </a:cubicBezTo>
                        <a:cubicBezTo>
                          <a:pt x="530" y="140"/>
                          <a:pt x="530" y="140"/>
                          <a:pt x="530" y="141"/>
                        </a:cubicBezTo>
                        <a:cubicBezTo>
                          <a:pt x="530" y="142"/>
                          <a:pt x="529" y="144"/>
                          <a:pt x="528" y="145"/>
                        </a:cubicBezTo>
                        <a:cubicBezTo>
                          <a:pt x="526" y="145"/>
                          <a:pt x="523" y="144"/>
                          <a:pt x="522" y="142"/>
                        </a:cubicBezTo>
                        <a:cubicBezTo>
                          <a:pt x="511" y="126"/>
                          <a:pt x="511" y="126"/>
                          <a:pt x="511" y="126"/>
                        </a:cubicBezTo>
                        <a:cubicBezTo>
                          <a:pt x="506" y="127"/>
                          <a:pt x="501" y="128"/>
                          <a:pt x="497" y="129"/>
                        </a:cubicBezTo>
                        <a:cubicBezTo>
                          <a:pt x="493" y="149"/>
                          <a:pt x="493" y="149"/>
                          <a:pt x="493" y="149"/>
                        </a:cubicBezTo>
                        <a:cubicBezTo>
                          <a:pt x="493" y="149"/>
                          <a:pt x="493" y="149"/>
                          <a:pt x="493" y="149"/>
                        </a:cubicBezTo>
                        <a:cubicBezTo>
                          <a:pt x="493" y="151"/>
                          <a:pt x="492" y="153"/>
                          <a:pt x="490" y="153"/>
                        </a:cubicBezTo>
                        <a:cubicBezTo>
                          <a:pt x="490" y="153"/>
                          <a:pt x="490" y="153"/>
                          <a:pt x="489" y="153"/>
                        </a:cubicBezTo>
                        <a:cubicBezTo>
                          <a:pt x="487" y="153"/>
                          <a:pt x="486" y="152"/>
                          <a:pt x="485" y="150"/>
                        </a:cubicBezTo>
                        <a:cubicBezTo>
                          <a:pt x="479" y="130"/>
                          <a:pt x="479" y="130"/>
                          <a:pt x="479" y="130"/>
                        </a:cubicBezTo>
                        <a:cubicBezTo>
                          <a:pt x="475" y="130"/>
                          <a:pt x="470" y="130"/>
                          <a:pt x="465" y="129"/>
                        </a:cubicBezTo>
                        <a:cubicBezTo>
                          <a:pt x="456" y="147"/>
                          <a:pt x="456" y="147"/>
                          <a:pt x="456" y="147"/>
                        </a:cubicBezTo>
                        <a:cubicBezTo>
                          <a:pt x="455" y="149"/>
                          <a:pt x="453" y="151"/>
                          <a:pt x="451" y="150"/>
                        </a:cubicBezTo>
                        <a:cubicBezTo>
                          <a:pt x="449" y="150"/>
                          <a:pt x="448" y="148"/>
                          <a:pt x="448" y="146"/>
                        </a:cubicBezTo>
                        <a:cubicBezTo>
                          <a:pt x="448" y="146"/>
                          <a:pt x="448" y="146"/>
                          <a:pt x="448" y="145"/>
                        </a:cubicBezTo>
                        <a:cubicBezTo>
                          <a:pt x="448" y="125"/>
                          <a:pt x="448" y="125"/>
                          <a:pt x="448" y="125"/>
                        </a:cubicBezTo>
                        <a:cubicBezTo>
                          <a:pt x="444" y="123"/>
                          <a:pt x="439" y="121"/>
                          <a:pt x="435" y="119"/>
                        </a:cubicBezTo>
                        <a:cubicBezTo>
                          <a:pt x="420" y="134"/>
                          <a:pt x="420" y="134"/>
                          <a:pt x="420" y="134"/>
                        </a:cubicBezTo>
                        <a:cubicBezTo>
                          <a:pt x="419" y="135"/>
                          <a:pt x="417" y="136"/>
                          <a:pt x="415" y="135"/>
                        </a:cubicBezTo>
                        <a:cubicBezTo>
                          <a:pt x="414" y="134"/>
                          <a:pt x="413" y="133"/>
                          <a:pt x="413" y="131"/>
                        </a:cubicBezTo>
                        <a:cubicBezTo>
                          <a:pt x="413" y="131"/>
                          <a:pt x="413" y="130"/>
                          <a:pt x="414" y="129"/>
                        </a:cubicBezTo>
                        <a:cubicBezTo>
                          <a:pt x="420" y="110"/>
                          <a:pt x="420" y="110"/>
                          <a:pt x="420" y="110"/>
                        </a:cubicBezTo>
                        <a:cubicBezTo>
                          <a:pt x="416" y="107"/>
                          <a:pt x="413" y="104"/>
                          <a:pt x="409" y="101"/>
                        </a:cubicBezTo>
                        <a:cubicBezTo>
                          <a:pt x="391" y="110"/>
                          <a:pt x="391" y="110"/>
                          <a:pt x="391" y="110"/>
                        </a:cubicBezTo>
                        <a:cubicBezTo>
                          <a:pt x="389" y="111"/>
                          <a:pt x="387" y="111"/>
                          <a:pt x="386" y="109"/>
                        </a:cubicBezTo>
                        <a:cubicBezTo>
                          <a:pt x="385" y="109"/>
                          <a:pt x="385" y="108"/>
                          <a:pt x="385" y="107"/>
                        </a:cubicBezTo>
                        <a:cubicBezTo>
                          <a:pt x="385" y="106"/>
                          <a:pt x="385" y="104"/>
                          <a:pt x="386" y="104"/>
                        </a:cubicBezTo>
                        <a:cubicBezTo>
                          <a:pt x="398" y="87"/>
                          <a:pt x="398" y="87"/>
                          <a:pt x="398" y="87"/>
                        </a:cubicBezTo>
                        <a:cubicBezTo>
                          <a:pt x="395" y="83"/>
                          <a:pt x="393" y="79"/>
                          <a:pt x="391" y="75"/>
                        </a:cubicBezTo>
                        <a:cubicBezTo>
                          <a:pt x="371" y="78"/>
                          <a:pt x="371" y="78"/>
                          <a:pt x="371" y="78"/>
                        </a:cubicBezTo>
                        <a:cubicBezTo>
                          <a:pt x="369" y="79"/>
                          <a:pt x="366" y="78"/>
                          <a:pt x="365" y="76"/>
                        </a:cubicBezTo>
                        <a:cubicBezTo>
                          <a:pt x="365" y="75"/>
                          <a:pt x="365" y="75"/>
                          <a:pt x="365" y="74"/>
                        </a:cubicBezTo>
                        <a:cubicBezTo>
                          <a:pt x="365" y="73"/>
                          <a:pt x="366" y="71"/>
                          <a:pt x="368" y="71"/>
                        </a:cubicBezTo>
                        <a:cubicBezTo>
                          <a:pt x="384" y="59"/>
                          <a:pt x="384" y="59"/>
                          <a:pt x="384" y="59"/>
                        </a:cubicBezTo>
                        <a:cubicBezTo>
                          <a:pt x="383" y="54"/>
                          <a:pt x="382" y="50"/>
                          <a:pt x="381" y="45"/>
                        </a:cubicBezTo>
                        <a:cubicBezTo>
                          <a:pt x="361" y="42"/>
                          <a:pt x="361" y="42"/>
                          <a:pt x="361" y="42"/>
                        </a:cubicBezTo>
                        <a:cubicBezTo>
                          <a:pt x="359" y="42"/>
                          <a:pt x="357" y="40"/>
                          <a:pt x="357" y="38"/>
                        </a:cubicBezTo>
                        <a:cubicBezTo>
                          <a:pt x="357" y="38"/>
                          <a:pt x="357" y="38"/>
                          <a:pt x="357" y="38"/>
                        </a:cubicBezTo>
                        <a:cubicBezTo>
                          <a:pt x="357" y="36"/>
                          <a:pt x="358" y="34"/>
                          <a:pt x="360" y="34"/>
                        </a:cubicBezTo>
                        <a:cubicBezTo>
                          <a:pt x="380" y="28"/>
                          <a:pt x="380" y="28"/>
                          <a:pt x="380" y="28"/>
                        </a:cubicBezTo>
                        <a:cubicBezTo>
                          <a:pt x="380" y="23"/>
                          <a:pt x="380" y="18"/>
                          <a:pt x="381" y="13"/>
                        </a:cubicBezTo>
                        <a:cubicBezTo>
                          <a:pt x="363" y="4"/>
                          <a:pt x="363" y="4"/>
                          <a:pt x="363" y="4"/>
                        </a:cubicBezTo>
                        <a:cubicBezTo>
                          <a:pt x="361" y="4"/>
                          <a:pt x="360" y="2"/>
                          <a:pt x="360" y="0"/>
                        </a:cubicBezTo>
                        <a:cubicBezTo>
                          <a:pt x="360" y="0"/>
                          <a:pt x="360" y="0"/>
                          <a:pt x="360" y="0"/>
                        </a:cubicBezTo>
                        <a:cubicBezTo>
                          <a:pt x="110" y="0"/>
                          <a:pt x="110" y="0"/>
                          <a:pt x="110" y="0"/>
                        </a:cubicBezTo>
                        <a:cubicBezTo>
                          <a:pt x="103" y="41"/>
                          <a:pt x="83" y="85"/>
                          <a:pt x="83" y="85"/>
                        </a:cubicBezTo>
                        <a:cubicBezTo>
                          <a:pt x="71" y="115"/>
                          <a:pt x="79" y="137"/>
                          <a:pt x="79" y="137"/>
                        </a:cubicBezTo>
                        <a:cubicBezTo>
                          <a:pt x="103" y="178"/>
                          <a:pt x="84" y="200"/>
                          <a:pt x="68" y="221"/>
                        </a:cubicBezTo>
                        <a:cubicBezTo>
                          <a:pt x="53" y="242"/>
                          <a:pt x="0" y="315"/>
                          <a:pt x="51" y="317"/>
                        </a:cubicBezTo>
                        <a:cubicBezTo>
                          <a:pt x="99" y="318"/>
                          <a:pt x="84" y="334"/>
                          <a:pt x="84" y="334"/>
                        </a:cubicBezTo>
                        <a:cubicBezTo>
                          <a:pt x="63" y="380"/>
                          <a:pt x="96" y="381"/>
                          <a:pt x="96" y="381"/>
                        </a:cubicBezTo>
                        <a:cubicBezTo>
                          <a:pt x="81" y="408"/>
                          <a:pt x="103" y="409"/>
                          <a:pt x="103" y="409"/>
                        </a:cubicBezTo>
                        <a:cubicBezTo>
                          <a:pt x="135" y="409"/>
                          <a:pt x="118" y="438"/>
                          <a:pt x="118" y="438"/>
                        </a:cubicBezTo>
                        <a:cubicBezTo>
                          <a:pt x="79" y="481"/>
                          <a:pt x="113" y="524"/>
                          <a:pt x="162" y="514"/>
                        </a:cubicBezTo>
                        <a:cubicBezTo>
                          <a:pt x="259" y="494"/>
                          <a:pt x="309" y="527"/>
                          <a:pt x="286" y="597"/>
                        </a:cubicBezTo>
                        <a:cubicBezTo>
                          <a:pt x="263" y="666"/>
                          <a:pt x="232" y="709"/>
                          <a:pt x="232" y="709"/>
                        </a:cubicBezTo>
                        <a:cubicBezTo>
                          <a:pt x="659" y="709"/>
                          <a:pt x="659" y="709"/>
                          <a:pt x="659" y="709"/>
                        </a:cubicBezTo>
                        <a:cubicBezTo>
                          <a:pt x="568" y="521"/>
                          <a:pt x="568" y="521"/>
                          <a:pt x="568" y="521"/>
                        </a:cubicBezTo>
                        <a:cubicBezTo>
                          <a:pt x="540" y="458"/>
                          <a:pt x="606" y="330"/>
                          <a:pt x="606" y="330"/>
                        </a:cubicBezTo>
                        <a:close/>
                        <a:moveTo>
                          <a:pt x="334" y="176"/>
                        </a:moveTo>
                        <a:cubicBezTo>
                          <a:pt x="322" y="168"/>
                          <a:pt x="322" y="168"/>
                          <a:pt x="322" y="168"/>
                        </a:cubicBezTo>
                        <a:cubicBezTo>
                          <a:pt x="320" y="169"/>
                          <a:pt x="317" y="171"/>
                          <a:pt x="314" y="173"/>
                        </a:cubicBezTo>
                        <a:cubicBezTo>
                          <a:pt x="316" y="187"/>
                          <a:pt x="316" y="187"/>
                          <a:pt x="316" y="187"/>
                        </a:cubicBezTo>
                        <a:cubicBezTo>
                          <a:pt x="316" y="187"/>
                          <a:pt x="316" y="188"/>
                          <a:pt x="316" y="188"/>
                        </a:cubicBezTo>
                        <a:cubicBezTo>
                          <a:pt x="316" y="189"/>
                          <a:pt x="315" y="190"/>
                          <a:pt x="314" y="191"/>
                        </a:cubicBezTo>
                        <a:cubicBezTo>
                          <a:pt x="313" y="191"/>
                          <a:pt x="311" y="190"/>
                          <a:pt x="311" y="189"/>
                        </a:cubicBezTo>
                        <a:cubicBezTo>
                          <a:pt x="302" y="177"/>
                          <a:pt x="302" y="177"/>
                          <a:pt x="302" y="177"/>
                        </a:cubicBezTo>
                        <a:cubicBezTo>
                          <a:pt x="299" y="178"/>
                          <a:pt x="296" y="179"/>
                          <a:pt x="293" y="180"/>
                        </a:cubicBezTo>
                        <a:cubicBezTo>
                          <a:pt x="290" y="194"/>
                          <a:pt x="290" y="194"/>
                          <a:pt x="290" y="194"/>
                        </a:cubicBezTo>
                        <a:cubicBezTo>
                          <a:pt x="290" y="194"/>
                          <a:pt x="290" y="194"/>
                          <a:pt x="290" y="194"/>
                        </a:cubicBezTo>
                        <a:cubicBezTo>
                          <a:pt x="290" y="195"/>
                          <a:pt x="289" y="197"/>
                          <a:pt x="288" y="197"/>
                        </a:cubicBezTo>
                        <a:cubicBezTo>
                          <a:pt x="288" y="197"/>
                          <a:pt x="288" y="197"/>
                          <a:pt x="288" y="197"/>
                        </a:cubicBezTo>
                        <a:cubicBezTo>
                          <a:pt x="286" y="197"/>
                          <a:pt x="285" y="196"/>
                          <a:pt x="285" y="194"/>
                        </a:cubicBezTo>
                        <a:cubicBezTo>
                          <a:pt x="281" y="180"/>
                          <a:pt x="281" y="180"/>
                          <a:pt x="281" y="180"/>
                        </a:cubicBezTo>
                        <a:cubicBezTo>
                          <a:pt x="277" y="180"/>
                          <a:pt x="274" y="180"/>
                          <a:pt x="270" y="180"/>
                        </a:cubicBezTo>
                        <a:cubicBezTo>
                          <a:pt x="264" y="192"/>
                          <a:pt x="264" y="192"/>
                          <a:pt x="264" y="192"/>
                        </a:cubicBezTo>
                        <a:cubicBezTo>
                          <a:pt x="264" y="194"/>
                          <a:pt x="262" y="195"/>
                          <a:pt x="261" y="194"/>
                        </a:cubicBezTo>
                        <a:cubicBezTo>
                          <a:pt x="259" y="194"/>
                          <a:pt x="258" y="193"/>
                          <a:pt x="258" y="192"/>
                        </a:cubicBezTo>
                        <a:cubicBezTo>
                          <a:pt x="258" y="191"/>
                          <a:pt x="258" y="191"/>
                          <a:pt x="259" y="191"/>
                        </a:cubicBezTo>
                        <a:cubicBezTo>
                          <a:pt x="259" y="177"/>
                          <a:pt x="259" y="177"/>
                          <a:pt x="259" y="177"/>
                        </a:cubicBezTo>
                        <a:cubicBezTo>
                          <a:pt x="255" y="176"/>
                          <a:pt x="252" y="174"/>
                          <a:pt x="249" y="173"/>
                        </a:cubicBezTo>
                        <a:cubicBezTo>
                          <a:pt x="239" y="183"/>
                          <a:pt x="239" y="183"/>
                          <a:pt x="239" y="183"/>
                        </a:cubicBezTo>
                        <a:cubicBezTo>
                          <a:pt x="238" y="184"/>
                          <a:pt x="237" y="185"/>
                          <a:pt x="235" y="184"/>
                        </a:cubicBezTo>
                        <a:cubicBezTo>
                          <a:pt x="235" y="183"/>
                          <a:pt x="234" y="182"/>
                          <a:pt x="234" y="181"/>
                        </a:cubicBezTo>
                        <a:cubicBezTo>
                          <a:pt x="234" y="181"/>
                          <a:pt x="234" y="180"/>
                          <a:pt x="235" y="180"/>
                        </a:cubicBezTo>
                        <a:cubicBezTo>
                          <a:pt x="239" y="166"/>
                          <a:pt x="239" y="166"/>
                          <a:pt x="239" y="166"/>
                        </a:cubicBezTo>
                        <a:cubicBezTo>
                          <a:pt x="236" y="164"/>
                          <a:pt x="234" y="162"/>
                          <a:pt x="231" y="160"/>
                        </a:cubicBezTo>
                        <a:cubicBezTo>
                          <a:pt x="219" y="166"/>
                          <a:pt x="219" y="166"/>
                          <a:pt x="219" y="166"/>
                        </a:cubicBezTo>
                        <a:cubicBezTo>
                          <a:pt x="218" y="167"/>
                          <a:pt x="216" y="167"/>
                          <a:pt x="215" y="166"/>
                        </a:cubicBezTo>
                        <a:cubicBezTo>
                          <a:pt x="214" y="165"/>
                          <a:pt x="214" y="165"/>
                          <a:pt x="214" y="164"/>
                        </a:cubicBezTo>
                        <a:cubicBezTo>
                          <a:pt x="214" y="163"/>
                          <a:pt x="214" y="163"/>
                          <a:pt x="215" y="162"/>
                        </a:cubicBezTo>
                        <a:cubicBezTo>
                          <a:pt x="224" y="151"/>
                          <a:pt x="224" y="151"/>
                          <a:pt x="224" y="151"/>
                        </a:cubicBezTo>
                        <a:cubicBezTo>
                          <a:pt x="222" y="148"/>
                          <a:pt x="220" y="145"/>
                          <a:pt x="218" y="142"/>
                        </a:cubicBezTo>
                        <a:cubicBezTo>
                          <a:pt x="204" y="144"/>
                          <a:pt x="204" y="144"/>
                          <a:pt x="204" y="144"/>
                        </a:cubicBezTo>
                        <a:cubicBezTo>
                          <a:pt x="203" y="145"/>
                          <a:pt x="201" y="144"/>
                          <a:pt x="201" y="143"/>
                        </a:cubicBezTo>
                        <a:cubicBezTo>
                          <a:pt x="201" y="142"/>
                          <a:pt x="201" y="142"/>
                          <a:pt x="201" y="141"/>
                        </a:cubicBezTo>
                        <a:cubicBezTo>
                          <a:pt x="201" y="140"/>
                          <a:pt x="201" y="139"/>
                          <a:pt x="202" y="139"/>
                        </a:cubicBezTo>
                        <a:cubicBezTo>
                          <a:pt x="214" y="131"/>
                          <a:pt x="214" y="131"/>
                          <a:pt x="214" y="131"/>
                        </a:cubicBezTo>
                        <a:cubicBezTo>
                          <a:pt x="213" y="127"/>
                          <a:pt x="212" y="124"/>
                          <a:pt x="212" y="121"/>
                        </a:cubicBezTo>
                        <a:cubicBezTo>
                          <a:pt x="198" y="119"/>
                          <a:pt x="198" y="119"/>
                          <a:pt x="198" y="119"/>
                        </a:cubicBezTo>
                        <a:cubicBezTo>
                          <a:pt x="196" y="119"/>
                          <a:pt x="195" y="118"/>
                          <a:pt x="195" y="116"/>
                        </a:cubicBezTo>
                        <a:cubicBezTo>
                          <a:pt x="195" y="116"/>
                          <a:pt x="195" y="116"/>
                          <a:pt x="195" y="116"/>
                        </a:cubicBezTo>
                        <a:cubicBezTo>
                          <a:pt x="195" y="114"/>
                          <a:pt x="196" y="113"/>
                          <a:pt x="197" y="113"/>
                        </a:cubicBezTo>
                        <a:cubicBezTo>
                          <a:pt x="211" y="109"/>
                          <a:pt x="211" y="109"/>
                          <a:pt x="211" y="109"/>
                        </a:cubicBezTo>
                        <a:cubicBezTo>
                          <a:pt x="211" y="105"/>
                          <a:pt x="211" y="102"/>
                          <a:pt x="212" y="99"/>
                        </a:cubicBezTo>
                        <a:cubicBezTo>
                          <a:pt x="199" y="92"/>
                          <a:pt x="199" y="92"/>
                          <a:pt x="199" y="92"/>
                        </a:cubicBezTo>
                        <a:cubicBezTo>
                          <a:pt x="198" y="92"/>
                          <a:pt x="197" y="91"/>
                          <a:pt x="197" y="89"/>
                        </a:cubicBezTo>
                        <a:cubicBezTo>
                          <a:pt x="197" y="89"/>
                          <a:pt x="197" y="89"/>
                          <a:pt x="197" y="89"/>
                        </a:cubicBezTo>
                        <a:cubicBezTo>
                          <a:pt x="197" y="87"/>
                          <a:pt x="199" y="86"/>
                          <a:pt x="200" y="87"/>
                        </a:cubicBezTo>
                        <a:cubicBezTo>
                          <a:pt x="215" y="87"/>
                          <a:pt x="215" y="87"/>
                          <a:pt x="215" y="87"/>
                        </a:cubicBezTo>
                        <a:cubicBezTo>
                          <a:pt x="216" y="84"/>
                          <a:pt x="217" y="81"/>
                          <a:pt x="218" y="78"/>
                        </a:cubicBezTo>
                        <a:cubicBezTo>
                          <a:pt x="208" y="68"/>
                          <a:pt x="208" y="68"/>
                          <a:pt x="208" y="68"/>
                        </a:cubicBezTo>
                        <a:cubicBezTo>
                          <a:pt x="208" y="67"/>
                          <a:pt x="207" y="66"/>
                          <a:pt x="207" y="65"/>
                        </a:cubicBezTo>
                        <a:cubicBezTo>
                          <a:pt x="207" y="65"/>
                          <a:pt x="207" y="64"/>
                          <a:pt x="207" y="64"/>
                        </a:cubicBezTo>
                        <a:cubicBezTo>
                          <a:pt x="208" y="62"/>
                          <a:pt x="210" y="62"/>
                          <a:pt x="211" y="63"/>
                        </a:cubicBezTo>
                        <a:cubicBezTo>
                          <a:pt x="225" y="67"/>
                          <a:pt x="225" y="67"/>
                          <a:pt x="225" y="67"/>
                        </a:cubicBezTo>
                        <a:cubicBezTo>
                          <a:pt x="227" y="65"/>
                          <a:pt x="229" y="62"/>
                          <a:pt x="232" y="60"/>
                        </a:cubicBezTo>
                        <a:cubicBezTo>
                          <a:pt x="225" y="47"/>
                          <a:pt x="225" y="47"/>
                          <a:pt x="225" y="47"/>
                        </a:cubicBezTo>
                        <a:cubicBezTo>
                          <a:pt x="225" y="46"/>
                          <a:pt x="224" y="46"/>
                          <a:pt x="224" y="45"/>
                        </a:cubicBezTo>
                        <a:cubicBezTo>
                          <a:pt x="224" y="44"/>
                          <a:pt x="225" y="44"/>
                          <a:pt x="225" y="43"/>
                        </a:cubicBezTo>
                        <a:cubicBezTo>
                          <a:pt x="227" y="42"/>
                          <a:pt x="228" y="42"/>
                          <a:pt x="229" y="43"/>
                        </a:cubicBezTo>
                        <a:cubicBezTo>
                          <a:pt x="241" y="52"/>
                          <a:pt x="241" y="52"/>
                          <a:pt x="241" y="52"/>
                        </a:cubicBezTo>
                        <a:cubicBezTo>
                          <a:pt x="243" y="50"/>
                          <a:pt x="246" y="48"/>
                          <a:pt x="249" y="47"/>
                        </a:cubicBezTo>
                        <a:cubicBezTo>
                          <a:pt x="247" y="33"/>
                          <a:pt x="247" y="33"/>
                          <a:pt x="247" y="33"/>
                        </a:cubicBezTo>
                        <a:cubicBezTo>
                          <a:pt x="247" y="32"/>
                          <a:pt x="247" y="32"/>
                          <a:pt x="247" y="32"/>
                        </a:cubicBezTo>
                        <a:cubicBezTo>
                          <a:pt x="247" y="30"/>
                          <a:pt x="248" y="29"/>
                          <a:pt x="249" y="29"/>
                        </a:cubicBezTo>
                        <a:cubicBezTo>
                          <a:pt x="250" y="28"/>
                          <a:pt x="252" y="29"/>
                          <a:pt x="252" y="31"/>
                        </a:cubicBezTo>
                        <a:cubicBezTo>
                          <a:pt x="261" y="42"/>
                          <a:pt x="261" y="42"/>
                          <a:pt x="261" y="42"/>
                        </a:cubicBezTo>
                        <a:cubicBezTo>
                          <a:pt x="264" y="41"/>
                          <a:pt x="267" y="40"/>
                          <a:pt x="270" y="40"/>
                        </a:cubicBezTo>
                        <a:cubicBezTo>
                          <a:pt x="273" y="26"/>
                          <a:pt x="273" y="26"/>
                          <a:pt x="273" y="26"/>
                        </a:cubicBezTo>
                        <a:cubicBezTo>
                          <a:pt x="273" y="26"/>
                          <a:pt x="273" y="26"/>
                          <a:pt x="273" y="26"/>
                        </a:cubicBezTo>
                        <a:cubicBezTo>
                          <a:pt x="273" y="24"/>
                          <a:pt x="274" y="23"/>
                          <a:pt x="275" y="23"/>
                        </a:cubicBezTo>
                        <a:cubicBezTo>
                          <a:pt x="277" y="23"/>
                          <a:pt x="278" y="24"/>
                          <a:pt x="278" y="25"/>
                        </a:cubicBezTo>
                        <a:cubicBezTo>
                          <a:pt x="282" y="39"/>
                          <a:pt x="282" y="39"/>
                          <a:pt x="282" y="39"/>
                        </a:cubicBezTo>
                        <a:cubicBezTo>
                          <a:pt x="286" y="39"/>
                          <a:pt x="289" y="39"/>
                          <a:pt x="293" y="40"/>
                        </a:cubicBezTo>
                        <a:cubicBezTo>
                          <a:pt x="299" y="27"/>
                          <a:pt x="299" y="27"/>
                          <a:pt x="299" y="27"/>
                        </a:cubicBezTo>
                        <a:cubicBezTo>
                          <a:pt x="299" y="26"/>
                          <a:pt x="301" y="25"/>
                          <a:pt x="302" y="25"/>
                        </a:cubicBezTo>
                        <a:cubicBezTo>
                          <a:pt x="304" y="25"/>
                          <a:pt x="305" y="27"/>
                          <a:pt x="305" y="28"/>
                        </a:cubicBezTo>
                        <a:cubicBezTo>
                          <a:pt x="305" y="28"/>
                          <a:pt x="305" y="28"/>
                          <a:pt x="304" y="29"/>
                        </a:cubicBezTo>
                        <a:cubicBezTo>
                          <a:pt x="304" y="43"/>
                          <a:pt x="304" y="43"/>
                          <a:pt x="304" y="43"/>
                        </a:cubicBezTo>
                        <a:cubicBezTo>
                          <a:pt x="308" y="44"/>
                          <a:pt x="311" y="45"/>
                          <a:pt x="314" y="47"/>
                        </a:cubicBezTo>
                        <a:cubicBezTo>
                          <a:pt x="324" y="37"/>
                          <a:pt x="324" y="37"/>
                          <a:pt x="324" y="37"/>
                        </a:cubicBezTo>
                        <a:cubicBezTo>
                          <a:pt x="325" y="35"/>
                          <a:pt x="326" y="35"/>
                          <a:pt x="328" y="36"/>
                        </a:cubicBezTo>
                        <a:cubicBezTo>
                          <a:pt x="328" y="36"/>
                          <a:pt x="329" y="37"/>
                          <a:pt x="329" y="38"/>
                        </a:cubicBezTo>
                        <a:cubicBezTo>
                          <a:pt x="329" y="39"/>
                          <a:pt x="329" y="39"/>
                          <a:pt x="328" y="40"/>
                        </a:cubicBezTo>
                        <a:cubicBezTo>
                          <a:pt x="324" y="53"/>
                          <a:pt x="324" y="53"/>
                          <a:pt x="324" y="53"/>
                        </a:cubicBezTo>
                        <a:cubicBezTo>
                          <a:pt x="327" y="55"/>
                          <a:pt x="329" y="57"/>
                          <a:pt x="332" y="60"/>
                        </a:cubicBezTo>
                        <a:cubicBezTo>
                          <a:pt x="344" y="53"/>
                          <a:pt x="344" y="53"/>
                          <a:pt x="344" y="53"/>
                        </a:cubicBezTo>
                        <a:cubicBezTo>
                          <a:pt x="345" y="52"/>
                          <a:pt x="347" y="52"/>
                          <a:pt x="348" y="54"/>
                        </a:cubicBezTo>
                        <a:cubicBezTo>
                          <a:pt x="349" y="54"/>
                          <a:pt x="349" y="55"/>
                          <a:pt x="349" y="55"/>
                        </a:cubicBezTo>
                        <a:cubicBezTo>
                          <a:pt x="349" y="56"/>
                          <a:pt x="349" y="57"/>
                          <a:pt x="348" y="58"/>
                        </a:cubicBezTo>
                        <a:cubicBezTo>
                          <a:pt x="339" y="69"/>
                          <a:pt x="339" y="69"/>
                          <a:pt x="339" y="69"/>
                        </a:cubicBezTo>
                        <a:cubicBezTo>
                          <a:pt x="341" y="72"/>
                          <a:pt x="343" y="75"/>
                          <a:pt x="345" y="78"/>
                        </a:cubicBezTo>
                        <a:cubicBezTo>
                          <a:pt x="359" y="75"/>
                          <a:pt x="359" y="75"/>
                          <a:pt x="359" y="75"/>
                        </a:cubicBezTo>
                        <a:cubicBezTo>
                          <a:pt x="360" y="75"/>
                          <a:pt x="362" y="76"/>
                          <a:pt x="362" y="77"/>
                        </a:cubicBezTo>
                        <a:cubicBezTo>
                          <a:pt x="362" y="77"/>
                          <a:pt x="362" y="78"/>
                          <a:pt x="362" y="78"/>
                        </a:cubicBezTo>
                        <a:cubicBezTo>
                          <a:pt x="362" y="79"/>
                          <a:pt x="362" y="80"/>
                          <a:pt x="361" y="81"/>
                        </a:cubicBezTo>
                        <a:cubicBezTo>
                          <a:pt x="349" y="89"/>
                          <a:pt x="349" y="89"/>
                          <a:pt x="349" y="89"/>
                        </a:cubicBezTo>
                        <a:cubicBezTo>
                          <a:pt x="350" y="92"/>
                          <a:pt x="351" y="95"/>
                          <a:pt x="351" y="99"/>
                        </a:cubicBezTo>
                        <a:cubicBezTo>
                          <a:pt x="365" y="101"/>
                          <a:pt x="365" y="101"/>
                          <a:pt x="365" y="101"/>
                        </a:cubicBezTo>
                        <a:cubicBezTo>
                          <a:pt x="367" y="101"/>
                          <a:pt x="368" y="102"/>
                          <a:pt x="368" y="104"/>
                        </a:cubicBezTo>
                        <a:cubicBezTo>
                          <a:pt x="368" y="104"/>
                          <a:pt x="368" y="104"/>
                          <a:pt x="368" y="104"/>
                        </a:cubicBezTo>
                        <a:cubicBezTo>
                          <a:pt x="368" y="105"/>
                          <a:pt x="367" y="106"/>
                          <a:pt x="366" y="107"/>
                        </a:cubicBezTo>
                        <a:cubicBezTo>
                          <a:pt x="352" y="111"/>
                          <a:pt x="352" y="111"/>
                          <a:pt x="352" y="111"/>
                        </a:cubicBezTo>
                        <a:cubicBezTo>
                          <a:pt x="352" y="114"/>
                          <a:pt x="352" y="118"/>
                          <a:pt x="351" y="121"/>
                        </a:cubicBezTo>
                        <a:cubicBezTo>
                          <a:pt x="364" y="127"/>
                          <a:pt x="364" y="127"/>
                          <a:pt x="364" y="127"/>
                        </a:cubicBezTo>
                        <a:cubicBezTo>
                          <a:pt x="365" y="128"/>
                          <a:pt x="366" y="129"/>
                          <a:pt x="366" y="130"/>
                        </a:cubicBezTo>
                        <a:cubicBezTo>
                          <a:pt x="366" y="130"/>
                          <a:pt x="366" y="130"/>
                          <a:pt x="366" y="131"/>
                        </a:cubicBezTo>
                        <a:cubicBezTo>
                          <a:pt x="366" y="132"/>
                          <a:pt x="364" y="133"/>
                          <a:pt x="363" y="133"/>
                        </a:cubicBezTo>
                        <a:cubicBezTo>
                          <a:pt x="348" y="133"/>
                          <a:pt x="348" y="133"/>
                          <a:pt x="348" y="133"/>
                        </a:cubicBezTo>
                        <a:cubicBezTo>
                          <a:pt x="347" y="136"/>
                          <a:pt x="346" y="139"/>
                          <a:pt x="345" y="142"/>
                        </a:cubicBezTo>
                        <a:cubicBezTo>
                          <a:pt x="355" y="152"/>
                          <a:pt x="355" y="152"/>
                          <a:pt x="355" y="152"/>
                        </a:cubicBezTo>
                        <a:cubicBezTo>
                          <a:pt x="355" y="153"/>
                          <a:pt x="356" y="153"/>
                          <a:pt x="356" y="154"/>
                        </a:cubicBezTo>
                        <a:cubicBezTo>
                          <a:pt x="356" y="155"/>
                          <a:pt x="356" y="155"/>
                          <a:pt x="356" y="156"/>
                        </a:cubicBezTo>
                        <a:cubicBezTo>
                          <a:pt x="355" y="157"/>
                          <a:pt x="353" y="158"/>
                          <a:pt x="352" y="157"/>
                        </a:cubicBezTo>
                        <a:cubicBezTo>
                          <a:pt x="338" y="152"/>
                          <a:pt x="338" y="152"/>
                          <a:pt x="338" y="152"/>
                        </a:cubicBezTo>
                        <a:cubicBezTo>
                          <a:pt x="336" y="155"/>
                          <a:pt x="334" y="157"/>
                          <a:pt x="331" y="160"/>
                        </a:cubicBezTo>
                        <a:cubicBezTo>
                          <a:pt x="338" y="173"/>
                          <a:pt x="338" y="173"/>
                          <a:pt x="338" y="173"/>
                        </a:cubicBezTo>
                        <a:cubicBezTo>
                          <a:pt x="338" y="173"/>
                          <a:pt x="339" y="174"/>
                          <a:pt x="339" y="174"/>
                        </a:cubicBezTo>
                        <a:cubicBezTo>
                          <a:pt x="339" y="175"/>
                          <a:pt x="338" y="176"/>
                          <a:pt x="338" y="176"/>
                        </a:cubicBezTo>
                        <a:cubicBezTo>
                          <a:pt x="336" y="177"/>
                          <a:pt x="335" y="177"/>
                          <a:pt x="334" y="176"/>
                        </a:cubicBezTo>
                        <a:close/>
                        <a:moveTo>
                          <a:pt x="451" y="192"/>
                        </a:moveTo>
                        <a:cubicBezTo>
                          <a:pt x="442" y="195"/>
                          <a:pt x="442" y="195"/>
                          <a:pt x="442" y="195"/>
                        </a:cubicBezTo>
                        <a:cubicBezTo>
                          <a:pt x="442" y="197"/>
                          <a:pt x="442" y="200"/>
                          <a:pt x="441" y="202"/>
                        </a:cubicBezTo>
                        <a:cubicBezTo>
                          <a:pt x="450" y="206"/>
                          <a:pt x="450" y="206"/>
                          <a:pt x="450" y="206"/>
                        </a:cubicBezTo>
                        <a:cubicBezTo>
                          <a:pt x="451" y="206"/>
                          <a:pt x="451" y="207"/>
                          <a:pt x="451" y="208"/>
                        </a:cubicBezTo>
                        <a:cubicBezTo>
                          <a:pt x="451" y="208"/>
                          <a:pt x="451" y="208"/>
                          <a:pt x="451" y="208"/>
                        </a:cubicBezTo>
                        <a:cubicBezTo>
                          <a:pt x="451" y="209"/>
                          <a:pt x="450" y="210"/>
                          <a:pt x="449" y="210"/>
                        </a:cubicBezTo>
                        <a:cubicBezTo>
                          <a:pt x="439" y="210"/>
                          <a:pt x="439" y="210"/>
                          <a:pt x="439" y="210"/>
                        </a:cubicBezTo>
                        <a:cubicBezTo>
                          <a:pt x="439" y="212"/>
                          <a:pt x="438" y="214"/>
                          <a:pt x="437" y="216"/>
                        </a:cubicBezTo>
                        <a:cubicBezTo>
                          <a:pt x="444" y="223"/>
                          <a:pt x="444" y="223"/>
                          <a:pt x="444" y="223"/>
                        </a:cubicBezTo>
                        <a:cubicBezTo>
                          <a:pt x="444" y="223"/>
                          <a:pt x="444" y="224"/>
                          <a:pt x="444" y="224"/>
                        </a:cubicBezTo>
                        <a:cubicBezTo>
                          <a:pt x="444" y="225"/>
                          <a:pt x="444" y="225"/>
                          <a:pt x="444" y="225"/>
                        </a:cubicBezTo>
                        <a:cubicBezTo>
                          <a:pt x="444" y="226"/>
                          <a:pt x="443" y="226"/>
                          <a:pt x="442" y="226"/>
                        </a:cubicBezTo>
                        <a:cubicBezTo>
                          <a:pt x="433" y="223"/>
                          <a:pt x="433" y="223"/>
                          <a:pt x="433" y="223"/>
                        </a:cubicBezTo>
                        <a:cubicBezTo>
                          <a:pt x="431" y="224"/>
                          <a:pt x="430" y="226"/>
                          <a:pt x="428" y="228"/>
                        </a:cubicBezTo>
                        <a:cubicBezTo>
                          <a:pt x="433" y="236"/>
                          <a:pt x="433" y="236"/>
                          <a:pt x="433" y="236"/>
                        </a:cubicBezTo>
                        <a:cubicBezTo>
                          <a:pt x="433" y="237"/>
                          <a:pt x="433" y="237"/>
                          <a:pt x="433" y="237"/>
                        </a:cubicBezTo>
                        <a:cubicBezTo>
                          <a:pt x="433" y="238"/>
                          <a:pt x="433" y="239"/>
                          <a:pt x="432" y="239"/>
                        </a:cubicBezTo>
                        <a:cubicBezTo>
                          <a:pt x="431" y="240"/>
                          <a:pt x="430" y="239"/>
                          <a:pt x="430" y="239"/>
                        </a:cubicBezTo>
                        <a:cubicBezTo>
                          <a:pt x="422" y="233"/>
                          <a:pt x="422" y="233"/>
                          <a:pt x="422" y="233"/>
                        </a:cubicBezTo>
                        <a:cubicBezTo>
                          <a:pt x="420" y="234"/>
                          <a:pt x="418" y="235"/>
                          <a:pt x="416" y="236"/>
                        </a:cubicBezTo>
                        <a:cubicBezTo>
                          <a:pt x="418" y="246"/>
                          <a:pt x="418" y="246"/>
                          <a:pt x="418" y="246"/>
                        </a:cubicBezTo>
                        <a:cubicBezTo>
                          <a:pt x="418" y="246"/>
                          <a:pt x="418" y="246"/>
                          <a:pt x="418" y="247"/>
                        </a:cubicBezTo>
                        <a:cubicBezTo>
                          <a:pt x="418" y="247"/>
                          <a:pt x="417" y="248"/>
                          <a:pt x="417" y="248"/>
                        </a:cubicBezTo>
                        <a:cubicBezTo>
                          <a:pt x="416" y="249"/>
                          <a:pt x="415" y="248"/>
                          <a:pt x="414" y="247"/>
                        </a:cubicBezTo>
                        <a:cubicBezTo>
                          <a:pt x="409" y="239"/>
                          <a:pt x="409" y="239"/>
                          <a:pt x="409" y="239"/>
                        </a:cubicBezTo>
                        <a:cubicBezTo>
                          <a:pt x="407" y="240"/>
                          <a:pt x="404" y="241"/>
                          <a:pt x="402" y="241"/>
                        </a:cubicBezTo>
                        <a:cubicBezTo>
                          <a:pt x="401" y="250"/>
                          <a:pt x="401" y="250"/>
                          <a:pt x="401" y="250"/>
                        </a:cubicBezTo>
                        <a:cubicBezTo>
                          <a:pt x="401" y="250"/>
                          <a:pt x="401" y="251"/>
                          <a:pt x="401" y="251"/>
                        </a:cubicBezTo>
                        <a:cubicBezTo>
                          <a:pt x="401" y="252"/>
                          <a:pt x="400" y="252"/>
                          <a:pt x="399" y="252"/>
                        </a:cubicBezTo>
                        <a:cubicBezTo>
                          <a:pt x="399" y="252"/>
                          <a:pt x="399" y="252"/>
                          <a:pt x="399" y="252"/>
                        </a:cubicBezTo>
                        <a:cubicBezTo>
                          <a:pt x="398" y="252"/>
                          <a:pt x="397" y="252"/>
                          <a:pt x="397" y="251"/>
                        </a:cubicBezTo>
                        <a:cubicBezTo>
                          <a:pt x="394" y="242"/>
                          <a:pt x="394" y="242"/>
                          <a:pt x="394" y="242"/>
                        </a:cubicBezTo>
                        <a:cubicBezTo>
                          <a:pt x="392" y="242"/>
                          <a:pt x="390" y="241"/>
                          <a:pt x="387" y="241"/>
                        </a:cubicBezTo>
                        <a:cubicBezTo>
                          <a:pt x="383" y="250"/>
                          <a:pt x="383" y="250"/>
                          <a:pt x="383" y="250"/>
                        </a:cubicBezTo>
                        <a:cubicBezTo>
                          <a:pt x="383" y="251"/>
                          <a:pt x="382" y="251"/>
                          <a:pt x="381" y="251"/>
                        </a:cubicBezTo>
                        <a:cubicBezTo>
                          <a:pt x="380" y="251"/>
                          <a:pt x="379" y="250"/>
                          <a:pt x="379" y="249"/>
                        </a:cubicBezTo>
                        <a:cubicBezTo>
                          <a:pt x="379" y="249"/>
                          <a:pt x="379" y="249"/>
                          <a:pt x="379" y="249"/>
                        </a:cubicBezTo>
                        <a:cubicBezTo>
                          <a:pt x="380" y="239"/>
                          <a:pt x="380" y="239"/>
                          <a:pt x="380" y="239"/>
                        </a:cubicBezTo>
                        <a:cubicBezTo>
                          <a:pt x="377" y="238"/>
                          <a:pt x="375" y="237"/>
                          <a:pt x="373" y="236"/>
                        </a:cubicBezTo>
                        <a:cubicBezTo>
                          <a:pt x="367" y="243"/>
                          <a:pt x="367" y="243"/>
                          <a:pt x="367" y="243"/>
                        </a:cubicBezTo>
                        <a:cubicBezTo>
                          <a:pt x="366" y="244"/>
                          <a:pt x="365" y="244"/>
                          <a:pt x="364" y="244"/>
                        </a:cubicBezTo>
                        <a:cubicBezTo>
                          <a:pt x="364" y="243"/>
                          <a:pt x="363" y="243"/>
                          <a:pt x="363" y="242"/>
                        </a:cubicBezTo>
                        <a:cubicBezTo>
                          <a:pt x="363" y="242"/>
                          <a:pt x="363" y="242"/>
                          <a:pt x="364" y="241"/>
                        </a:cubicBezTo>
                        <a:cubicBezTo>
                          <a:pt x="367" y="232"/>
                          <a:pt x="367" y="232"/>
                          <a:pt x="367" y="232"/>
                        </a:cubicBezTo>
                        <a:cubicBezTo>
                          <a:pt x="365" y="231"/>
                          <a:pt x="363" y="229"/>
                          <a:pt x="361" y="228"/>
                        </a:cubicBezTo>
                        <a:cubicBezTo>
                          <a:pt x="353" y="232"/>
                          <a:pt x="353" y="232"/>
                          <a:pt x="353" y="232"/>
                        </a:cubicBezTo>
                        <a:cubicBezTo>
                          <a:pt x="352" y="233"/>
                          <a:pt x="351" y="233"/>
                          <a:pt x="350" y="232"/>
                        </a:cubicBezTo>
                        <a:cubicBezTo>
                          <a:pt x="350" y="232"/>
                          <a:pt x="350" y="231"/>
                          <a:pt x="350" y="231"/>
                        </a:cubicBezTo>
                        <a:cubicBezTo>
                          <a:pt x="350" y="230"/>
                          <a:pt x="350" y="230"/>
                          <a:pt x="351" y="229"/>
                        </a:cubicBezTo>
                        <a:cubicBezTo>
                          <a:pt x="356" y="222"/>
                          <a:pt x="356" y="222"/>
                          <a:pt x="356" y="222"/>
                        </a:cubicBezTo>
                        <a:cubicBezTo>
                          <a:pt x="355" y="220"/>
                          <a:pt x="354" y="218"/>
                          <a:pt x="353" y="216"/>
                        </a:cubicBezTo>
                        <a:cubicBezTo>
                          <a:pt x="343" y="217"/>
                          <a:pt x="343" y="217"/>
                          <a:pt x="343" y="217"/>
                        </a:cubicBezTo>
                        <a:cubicBezTo>
                          <a:pt x="342" y="218"/>
                          <a:pt x="341" y="217"/>
                          <a:pt x="341" y="216"/>
                        </a:cubicBezTo>
                        <a:cubicBezTo>
                          <a:pt x="341" y="216"/>
                          <a:pt x="341" y="216"/>
                          <a:pt x="341" y="216"/>
                        </a:cubicBezTo>
                        <a:cubicBezTo>
                          <a:pt x="341" y="215"/>
                          <a:pt x="341" y="214"/>
                          <a:pt x="342" y="214"/>
                        </a:cubicBezTo>
                        <a:cubicBezTo>
                          <a:pt x="350" y="208"/>
                          <a:pt x="350" y="208"/>
                          <a:pt x="350" y="208"/>
                        </a:cubicBezTo>
                        <a:cubicBezTo>
                          <a:pt x="349" y="206"/>
                          <a:pt x="349" y="204"/>
                          <a:pt x="348" y="202"/>
                        </a:cubicBezTo>
                        <a:cubicBezTo>
                          <a:pt x="339" y="200"/>
                          <a:pt x="339" y="200"/>
                          <a:pt x="339" y="200"/>
                        </a:cubicBezTo>
                        <a:cubicBezTo>
                          <a:pt x="338" y="200"/>
                          <a:pt x="337" y="200"/>
                          <a:pt x="337" y="199"/>
                        </a:cubicBezTo>
                        <a:cubicBezTo>
                          <a:pt x="337" y="199"/>
                          <a:pt x="337" y="198"/>
                          <a:pt x="337" y="198"/>
                        </a:cubicBezTo>
                        <a:cubicBezTo>
                          <a:pt x="337" y="197"/>
                          <a:pt x="338" y="197"/>
                          <a:pt x="339" y="197"/>
                        </a:cubicBezTo>
                        <a:cubicBezTo>
                          <a:pt x="348" y="194"/>
                          <a:pt x="348" y="194"/>
                          <a:pt x="348" y="194"/>
                        </a:cubicBezTo>
                        <a:cubicBezTo>
                          <a:pt x="348" y="191"/>
                          <a:pt x="348" y="189"/>
                          <a:pt x="348" y="187"/>
                        </a:cubicBezTo>
                        <a:cubicBezTo>
                          <a:pt x="340" y="183"/>
                          <a:pt x="340" y="183"/>
                          <a:pt x="340" y="183"/>
                        </a:cubicBezTo>
                        <a:cubicBezTo>
                          <a:pt x="339" y="182"/>
                          <a:pt x="338" y="182"/>
                          <a:pt x="338" y="181"/>
                        </a:cubicBezTo>
                        <a:cubicBezTo>
                          <a:pt x="338" y="181"/>
                          <a:pt x="338" y="181"/>
                          <a:pt x="338" y="180"/>
                        </a:cubicBezTo>
                        <a:cubicBezTo>
                          <a:pt x="339" y="179"/>
                          <a:pt x="340" y="179"/>
                          <a:pt x="341" y="179"/>
                        </a:cubicBezTo>
                        <a:cubicBezTo>
                          <a:pt x="350" y="179"/>
                          <a:pt x="350" y="179"/>
                          <a:pt x="350" y="179"/>
                        </a:cubicBezTo>
                        <a:cubicBezTo>
                          <a:pt x="351" y="177"/>
                          <a:pt x="352" y="175"/>
                          <a:pt x="353" y="173"/>
                        </a:cubicBezTo>
                        <a:cubicBezTo>
                          <a:pt x="346" y="166"/>
                          <a:pt x="346" y="166"/>
                          <a:pt x="346" y="166"/>
                        </a:cubicBezTo>
                        <a:cubicBezTo>
                          <a:pt x="346" y="166"/>
                          <a:pt x="345" y="165"/>
                          <a:pt x="345" y="165"/>
                        </a:cubicBezTo>
                        <a:cubicBezTo>
                          <a:pt x="345" y="164"/>
                          <a:pt x="345" y="164"/>
                          <a:pt x="345" y="164"/>
                        </a:cubicBezTo>
                        <a:cubicBezTo>
                          <a:pt x="346" y="163"/>
                          <a:pt x="347" y="163"/>
                          <a:pt x="348" y="163"/>
                        </a:cubicBezTo>
                        <a:cubicBezTo>
                          <a:pt x="357" y="166"/>
                          <a:pt x="357" y="166"/>
                          <a:pt x="357" y="166"/>
                        </a:cubicBezTo>
                        <a:cubicBezTo>
                          <a:pt x="358" y="164"/>
                          <a:pt x="360" y="163"/>
                          <a:pt x="361" y="161"/>
                        </a:cubicBezTo>
                        <a:cubicBezTo>
                          <a:pt x="357" y="153"/>
                          <a:pt x="357" y="153"/>
                          <a:pt x="357" y="153"/>
                        </a:cubicBezTo>
                        <a:cubicBezTo>
                          <a:pt x="357" y="152"/>
                          <a:pt x="357" y="152"/>
                          <a:pt x="357" y="151"/>
                        </a:cubicBezTo>
                        <a:cubicBezTo>
                          <a:pt x="357" y="151"/>
                          <a:pt x="357" y="150"/>
                          <a:pt x="357" y="150"/>
                        </a:cubicBezTo>
                        <a:cubicBezTo>
                          <a:pt x="358" y="149"/>
                          <a:pt x="359" y="149"/>
                          <a:pt x="360" y="150"/>
                        </a:cubicBezTo>
                        <a:cubicBezTo>
                          <a:pt x="368" y="156"/>
                          <a:pt x="368" y="156"/>
                          <a:pt x="368" y="156"/>
                        </a:cubicBezTo>
                        <a:cubicBezTo>
                          <a:pt x="369" y="155"/>
                          <a:pt x="371" y="153"/>
                          <a:pt x="373" y="152"/>
                        </a:cubicBezTo>
                        <a:cubicBezTo>
                          <a:pt x="372" y="143"/>
                          <a:pt x="372" y="143"/>
                          <a:pt x="372" y="143"/>
                        </a:cubicBezTo>
                        <a:cubicBezTo>
                          <a:pt x="372" y="143"/>
                          <a:pt x="372" y="143"/>
                          <a:pt x="372" y="142"/>
                        </a:cubicBezTo>
                        <a:cubicBezTo>
                          <a:pt x="372" y="142"/>
                          <a:pt x="372" y="141"/>
                          <a:pt x="373" y="141"/>
                        </a:cubicBezTo>
                        <a:cubicBezTo>
                          <a:pt x="374" y="140"/>
                          <a:pt x="375" y="141"/>
                          <a:pt x="375" y="142"/>
                        </a:cubicBezTo>
                        <a:cubicBezTo>
                          <a:pt x="381" y="149"/>
                          <a:pt x="381" y="149"/>
                          <a:pt x="381" y="149"/>
                        </a:cubicBezTo>
                        <a:cubicBezTo>
                          <a:pt x="383" y="149"/>
                          <a:pt x="385" y="148"/>
                          <a:pt x="387" y="148"/>
                        </a:cubicBezTo>
                        <a:cubicBezTo>
                          <a:pt x="389" y="138"/>
                          <a:pt x="389" y="138"/>
                          <a:pt x="389" y="138"/>
                        </a:cubicBezTo>
                        <a:cubicBezTo>
                          <a:pt x="389" y="138"/>
                          <a:pt x="389" y="138"/>
                          <a:pt x="389" y="138"/>
                        </a:cubicBezTo>
                        <a:cubicBezTo>
                          <a:pt x="389" y="137"/>
                          <a:pt x="390" y="136"/>
                          <a:pt x="391" y="136"/>
                        </a:cubicBezTo>
                        <a:cubicBezTo>
                          <a:pt x="392" y="136"/>
                          <a:pt x="393" y="137"/>
                          <a:pt x="393" y="138"/>
                        </a:cubicBezTo>
                        <a:cubicBezTo>
                          <a:pt x="395" y="147"/>
                          <a:pt x="395" y="147"/>
                          <a:pt x="395" y="147"/>
                        </a:cubicBezTo>
                        <a:cubicBezTo>
                          <a:pt x="398" y="147"/>
                          <a:pt x="400" y="147"/>
                          <a:pt x="402" y="148"/>
                        </a:cubicBezTo>
                        <a:cubicBezTo>
                          <a:pt x="407" y="139"/>
                          <a:pt x="407" y="139"/>
                          <a:pt x="407" y="139"/>
                        </a:cubicBezTo>
                        <a:cubicBezTo>
                          <a:pt x="407" y="138"/>
                          <a:pt x="408" y="138"/>
                          <a:pt x="409" y="138"/>
                        </a:cubicBezTo>
                        <a:cubicBezTo>
                          <a:pt x="410" y="138"/>
                          <a:pt x="410" y="139"/>
                          <a:pt x="410" y="140"/>
                        </a:cubicBezTo>
                        <a:cubicBezTo>
                          <a:pt x="410" y="140"/>
                          <a:pt x="410" y="140"/>
                          <a:pt x="410" y="140"/>
                        </a:cubicBezTo>
                        <a:cubicBezTo>
                          <a:pt x="410" y="150"/>
                          <a:pt x="410" y="150"/>
                          <a:pt x="410" y="150"/>
                        </a:cubicBezTo>
                        <a:cubicBezTo>
                          <a:pt x="412" y="150"/>
                          <a:pt x="414" y="151"/>
                          <a:pt x="416" y="152"/>
                        </a:cubicBezTo>
                        <a:cubicBezTo>
                          <a:pt x="423" y="146"/>
                          <a:pt x="423" y="146"/>
                          <a:pt x="423" y="146"/>
                        </a:cubicBezTo>
                        <a:cubicBezTo>
                          <a:pt x="424" y="145"/>
                          <a:pt x="425" y="145"/>
                          <a:pt x="426" y="145"/>
                        </a:cubicBezTo>
                        <a:cubicBezTo>
                          <a:pt x="426" y="145"/>
                          <a:pt x="426" y="146"/>
                          <a:pt x="426" y="147"/>
                        </a:cubicBezTo>
                        <a:cubicBezTo>
                          <a:pt x="426" y="147"/>
                          <a:pt x="426" y="147"/>
                          <a:pt x="426" y="148"/>
                        </a:cubicBezTo>
                        <a:cubicBezTo>
                          <a:pt x="423" y="157"/>
                          <a:pt x="423" y="157"/>
                          <a:pt x="423" y="157"/>
                        </a:cubicBezTo>
                        <a:cubicBezTo>
                          <a:pt x="425" y="158"/>
                          <a:pt x="427" y="159"/>
                          <a:pt x="428" y="161"/>
                        </a:cubicBezTo>
                        <a:cubicBezTo>
                          <a:pt x="437" y="157"/>
                          <a:pt x="437" y="157"/>
                          <a:pt x="437" y="157"/>
                        </a:cubicBezTo>
                        <a:cubicBezTo>
                          <a:pt x="437" y="156"/>
                          <a:pt x="439" y="156"/>
                          <a:pt x="439" y="157"/>
                        </a:cubicBezTo>
                        <a:cubicBezTo>
                          <a:pt x="440" y="157"/>
                          <a:pt x="440" y="158"/>
                          <a:pt x="440" y="158"/>
                        </a:cubicBezTo>
                        <a:cubicBezTo>
                          <a:pt x="440" y="159"/>
                          <a:pt x="440" y="159"/>
                          <a:pt x="439" y="160"/>
                        </a:cubicBezTo>
                        <a:cubicBezTo>
                          <a:pt x="433" y="167"/>
                          <a:pt x="433" y="167"/>
                          <a:pt x="433" y="167"/>
                        </a:cubicBezTo>
                        <a:cubicBezTo>
                          <a:pt x="435" y="169"/>
                          <a:pt x="436" y="171"/>
                          <a:pt x="437" y="173"/>
                        </a:cubicBezTo>
                        <a:cubicBezTo>
                          <a:pt x="446" y="172"/>
                          <a:pt x="446" y="172"/>
                          <a:pt x="446" y="172"/>
                        </a:cubicBezTo>
                        <a:cubicBezTo>
                          <a:pt x="447" y="171"/>
                          <a:pt x="448" y="172"/>
                          <a:pt x="449" y="173"/>
                        </a:cubicBezTo>
                        <a:cubicBezTo>
                          <a:pt x="449" y="173"/>
                          <a:pt x="449" y="173"/>
                          <a:pt x="449" y="173"/>
                        </a:cubicBezTo>
                        <a:cubicBezTo>
                          <a:pt x="449" y="174"/>
                          <a:pt x="448" y="175"/>
                          <a:pt x="448" y="175"/>
                        </a:cubicBezTo>
                        <a:cubicBezTo>
                          <a:pt x="440" y="180"/>
                          <a:pt x="440" y="180"/>
                          <a:pt x="440" y="180"/>
                        </a:cubicBezTo>
                        <a:cubicBezTo>
                          <a:pt x="441" y="183"/>
                          <a:pt x="441" y="185"/>
                          <a:pt x="441" y="187"/>
                        </a:cubicBezTo>
                        <a:cubicBezTo>
                          <a:pt x="451" y="189"/>
                          <a:pt x="451" y="189"/>
                          <a:pt x="451" y="189"/>
                        </a:cubicBezTo>
                        <a:cubicBezTo>
                          <a:pt x="452" y="188"/>
                          <a:pt x="453" y="189"/>
                          <a:pt x="453" y="190"/>
                        </a:cubicBezTo>
                        <a:cubicBezTo>
                          <a:pt x="453" y="190"/>
                          <a:pt x="453" y="190"/>
                          <a:pt x="453" y="190"/>
                        </a:cubicBezTo>
                        <a:cubicBezTo>
                          <a:pt x="453" y="191"/>
                          <a:pt x="452" y="192"/>
                          <a:pt x="451" y="19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Oval 24"/>
                  <p:cNvSpPr>
                    <a:spLocks noChangeArrowheads="1"/>
                  </p:cNvSpPr>
                  <p:nvPr/>
                </p:nvSpPr>
                <p:spPr bwMode="auto">
                  <a:xfrm>
                    <a:off x="-1333500" y="3128963"/>
                    <a:ext cx="77788" cy="79375"/>
                  </a:xfrm>
                  <a:prstGeom prst="ellipse">
                    <a:avLst/>
                  </a:prstGeom>
                  <a:solidFill>
                    <a:schemeClr val="tx1"/>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90" name="Freeform 25"/>
                  <p:cNvSpPr>
                    <a:spLocks/>
                  </p:cNvSpPr>
                  <p:nvPr/>
                </p:nvSpPr>
                <p:spPr bwMode="auto">
                  <a:xfrm>
                    <a:off x="-1423988" y="2082800"/>
                    <a:ext cx="889000" cy="357188"/>
                  </a:xfrm>
                  <a:custGeom>
                    <a:avLst/>
                    <a:gdLst>
                      <a:gd name="T0" fmla="*/ 218 w 237"/>
                      <a:gd name="T1" fmla="*/ 95 h 95"/>
                      <a:gd name="T2" fmla="*/ 217 w 237"/>
                      <a:gd name="T3" fmla="*/ 94 h 95"/>
                      <a:gd name="T4" fmla="*/ 234 w 237"/>
                      <a:gd name="T5" fmla="*/ 82 h 95"/>
                      <a:gd name="T6" fmla="*/ 237 w 237"/>
                      <a:gd name="T7" fmla="*/ 79 h 95"/>
                      <a:gd name="T8" fmla="*/ 236 w 237"/>
                      <a:gd name="T9" fmla="*/ 77 h 95"/>
                      <a:gd name="T10" fmla="*/ 231 w 237"/>
                      <a:gd name="T11" fmla="*/ 75 h 95"/>
                      <a:gd name="T12" fmla="*/ 211 w 237"/>
                      <a:gd name="T13" fmla="*/ 78 h 95"/>
                      <a:gd name="T14" fmla="*/ 203 w 237"/>
                      <a:gd name="T15" fmla="*/ 66 h 95"/>
                      <a:gd name="T16" fmla="*/ 216 w 237"/>
                      <a:gd name="T17" fmla="*/ 49 h 95"/>
                      <a:gd name="T18" fmla="*/ 217 w 237"/>
                      <a:gd name="T19" fmla="*/ 46 h 95"/>
                      <a:gd name="T20" fmla="*/ 216 w 237"/>
                      <a:gd name="T21" fmla="*/ 44 h 95"/>
                      <a:gd name="T22" fmla="*/ 211 w 237"/>
                      <a:gd name="T23" fmla="*/ 43 h 95"/>
                      <a:gd name="T24" fmla="*/ 192 w 237"/>
                      <a:gd name="T25" fmla="*/ 53 h 95"/>
                      <a:gd name="T26" fmla="*/ 181 w 237"/>
                      <a:gd name="T27" fmla="*/ 43 h 95"/>
                      <a:gd name="T28" fmla="*/ 188 w 237"/>
                      <a:gd name="T29" fmla="*/ 24 h 95"/>
                      <a:gd name="T30" fmla="*/ 189 w 237"/>
                      <a:gd name="T31" fmla="*/ 22 h 95"/>
                      <a:gd name="T32" fmla="*/ 187 w 237"/>
                      <a:gd name="T33" fmla="*/ 18 h 95"/>
                      <a:gd name="T34" fmla="*/ 181 w 237"/>
                      <a:gd name="T35" fmla="*/ 20 h 95"/>
                      <a:gd name="T36" fmla="*/ 167 w 237"/>
                      <a:gd name="T37" fmla="*/ 34 h 95"/>
                      <a:gd name="T38" fmla="*/ 153 w 237"/>
                      <a:gd name="T39" fmla="*/ 28 h 95"/>
                      <a:gd name="T40" fmla="*/ 154 w 237"/>
                      <a:gd name="T41" fmla="*/ 8 h 95"/>
                      <a:gd name="T42" fmla="*/ 154 w 237"/>
                      <a:gd name="T43" fmla="*/ 7 h 95"/>
                      <a:gd name="T44" fmla="*/ 151 w 237"/>
                      <a:gd name="T45" fmla="*/ 3 h 95"/>
                      <a:gd name="T46" fmla="*/ 146 w 237"/>
                      <a:gd name="T47" fmla="*/ 6 h 95"/>
                      <a:gd name="T48" fmla="*/ 137 w 237"/>
                      <a:gd name="T49" fmla="*/ 24 h 95"/>
                      <a:gd name="T50" fmla="*/ 122 w 237"/>
                      <a:gd name="T51" fmla="*/ 23 h 95"/>
                      <a:gd name="T52" fmla="*/ 116 w 237"/>
                      <a:gd name="T53" fmla="*/ 4 h 95"/>
                      <a:gd name="T54" fmla="*/ 112 w 237"/>
                      <a:gd name="T55" fmla="*/ 0 h 95"/>
                      <a:gd name="T56" fmla="*/ 108 w 237"/>
                      <a:gd name="T57" fmla="*/ 4 h 95"/>
                      <a:gd name="T58" fmla="*/ 108 w 237"/>
                      <a:gd name="T59" fmla="*/ 4 h 95"/>
                      <a:gd name="T60" fmla="*/ 105 w 237"/>
                      <a:gd name="T61" fmla="*/ 24 h 95"/>
                      <a:gd name="T62" fmla="*/ 91 w 237"/>
                      <a:gd name="T63" fmla="*/ 28 h 95"/>
                      <a:gd name="T64" fmla="*/ 79 w 237"/>
                      <a:gd name="T65" fmla="*/ 11 h 95"/>
                      <a:gd name="T66" fmla="*/ 74 w 237"/>
                      <a:gd name="T67" fmla="*/ 9 h 95"/>
                      <a:gd name="T68" fmla="*/ 71 w 237"/>
                      <a:gd name="T69" fmla="*/ 12 h 95"/>
                      <a:gd name="T70" fmla="*/ 72 w 237"/>
                      <a:gd name="T71" fmla="*/ 14 h 95"/>
                      <a:gd name="T72" fmla="*/ 75 w 237"/>
                      <a:gd name="T73" fmla="*/ 34 h 95"/>
                      <a:gd name="T74" fmla="*/ 63 w 237"/>
                      <a:gd name="T75" fmla="*/ 42 h 95"/>
                      <a:gd name="T76" fmla="*/ 46 w 237"/>
                      <a:gd name="T77" fmla="*/ 29 h 95"/>
                      <a:gd name="T78" fmla="*/ 41 w 237"/>
                      <a:gd name="T79" fmla="*/ 29 h 95"/>
                      <a:gd name="T80" fmla="*/ 39 w 237"/>
                      <a:gd name="T81" fmla="*/ 32 h 95"/>
                      <a:gd name="T82" fmla="*/ 40 w 237"/>
                      <a:gd name="T83" fmla="*/ 34 h 95"/>
                      <a:gd name="T84" fmla="*/ 49 w 237"/>
                      <a:gd name="T85" fmla="*/ 53 h 95"/>
                      <a:gd name="T86" fmla="*/ 40 w 237"/>
                      <a:gd name="T87" fmla="*/ 64 h 95"/>
                      <a:gd name="T88" fmla="*/ 21 w 237"/>
                      <a:gd name="T89" fmla="*/ 57 h 95"/>
                      <a:gd name="T90" fmla="*/ 15 w 237"/>
                      <a:gd name="T91" fmla="*/ 58 h 95"/>
                      <a:gd name="T92" fmla="*/ 14 w 237"/>
                      <a:gd name="T93" fmla="*/ 60 h 95"/>
                      <a:gd name="T94" fmla="*/ 16 w 237"/>
                      <a:gd name="T95" fmla="*/ 64 h 95"/>
                      <a:gd name="T96" fmla="*/ 31 w 237"/>
                      <a:gd name="T97" fmla="*/ 78 h 95"/>
                      <a:gd name="T98" fmla="*/ 25 w 237"/>
                      <a:gd name="T99" fmla="*/ 92 h 95"/>
                      <a:gd name="T100" fmla="*/ 5 w 237"/>
                      <a:gd name="T101" fmla="*/ 91 h 95"/>
                      <a:gd name="T102" fmla="*/ 0 w 237"/>
                      <a:gd name="T103" fmla="*/ 94 h 95"/>
                      <a:gd name="T104" fmla="*/ 0 w 237"/>
                      <a:gd name="T105" fmla="*/ 95 h 95"/>
                      <a:gd name="T106" fmla="*/ 218 w 237"/>
                      <a:gd name="T107"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7" h="95">
                        <a:moveTo>
                          <a:pt x="218" y="95"/>
                        </a:moveTo>
                        <a:cubicBezTo>
                          <a:pt x="218" y="95"/>
                          <a:pt x="217" y="94"/>
                          <a:pt x="217" y="94"/>
                        </a:cubicBezTo>
                        <a:cubicBezTo>
                          <a:pt x="234" y="82"/>
                          <a:pt x="234" y="82"/>
                          <a:pt x="234" y="82"/>
                        </a:cubicBezTo>
                        <a:cubicBezTo>
                          <a:pt x="236" y="82"/>
                          <a:pt x="237" y="80"/>
                          <a:pt x="237" y="79"/>
                        </a:cubicBezTo>
                        <a:cubicBezTo>
                          <a:pt x="237" y="78"/>
                          <a:pt x="236" y="78"/>
                          <a:pt x="236" y="77"/>
                        </a:cubicBezTo>
                        <a:cubicBezTo>
                          <a:pt x="235" y="75"/>
                          <a:pt x="233" y="74"/>
                          <a:pt x="231" y="75"/>
                        </a:cubicBezTo>
                        <a:cubicBezTo>
                          <a:pt x="211" y="78"/>
                          <a:pt x="211" y="78"/>
                          <a:pt x="211" y="78"/>
                        </a:cubicBezTo>
                        <a:cubicBezTo>
                          <a:pt x="209" y="74"/>
                          <a:pt x="206" y="70"/>
                          <a:pt x="203" y="66"/>
                        </a:cubicBezTo>
                        <a:cubicBezTo>
                          <a:pt x="216" y="49"/>
                          <a:pt x="216" y="49"/>
                          <a:pt x="216" y="49"/>
                        </a:cubicBezTo>
                        <a:cubicBezTo>
                          <a:pt x="217" y="49"/>
                          <a:pt x="217" y="48"/>
                          <a:pt x="217" y="46"/>
                        </a:cubicBezTo>
                        <a:cubicBezTo>
                          <a:pt x="217" y="46"/>
                          <a:pt x="217" y="45"/>
                          <a:pt x="216" y="44"/>
                        </a:cubicBezTo>
                        <a:cubicBezTo>
                          <a:pt x="215" y="42"/>
                          <a:pt x="212" y="42"/>
                          <a:pt x="211" y="43"/>
                        </a:cubicBezTo>
                        <a:cubicBezTo>
                          <a:pt x="192" y="53"/>
                          <a:pt x="192" y="53"/>
                          <a:pt x="192" y="53"/>
                        </a:cubicBezTo>
                        <a:cubicBezTo>
                          <a:pt x="189" y="49"/>
                          <a:pt x="185" y="46"/>
                          <a:pt x="181" y="43"/>
                        </a:cubicBezTo>
                        <a:cubicBezTo>
                          <a:pt x="188" y="24"/>
                          <a:pt x="188" y="24"/>
                          <a:pt x="188" y="24"/>
                        </a:cubicBezTo>
                        <a:cubicBezTo>
                          <a:pt x="188" y="23"/>
                          <a:pt x="189" y="22"/>
                          <a:pt x="189" y="22"/>
                        </a:cubicBezTo>
                        <a:cubicBezTo>
                          <a:pt x="189" y="20"/>
                          <a:pt x="188" y="19"/>
                          <a:pt x="187" y="18"/>
                        </a:cubicBezTo>
                        <a:cubicBezTo>
                          <a:pt x="185" y="17"/>
                          <a:pt x="182" y="18"/>
                          <a:pt x="181" y="20"/>
                        </a:cubicBezTo>
                        <a:cubicBezTo>
                          <a:pt x="167" y="34"/>
                          <a:pt x="167" y="34"/>
                          <a:pt x="167" y="34"/>
                        </a:cubicBezTo>
                        <a:cubicBezTo>
                          <a:pt x="162" y="32"/>
                          <a:pt x="158" y="30"/>
                          <a:pt x="153" y="28"/>
                        </a:cubicBezTo>
                        <a:cubicBezTo>
                          <a:pt x="154" y="8"/>
                          <a:pt x="154" y="8"/>
                          <a:pt x="154" y="8"/>
                        </a:cubicBezTo>
                        <a:cubicBezTo>
                          <a:pt x="154" y="8"/>
                          <a:pt x="154" y="7"/>
                          <a:pt x="154" y="7"/>
                        </a:cubicBezTo>
                        <a:cubicBezTo>
                          <a:pt x="154" y="5"/>
                          <a:pt x="153" y="4"/>
                          <a:pt x="151" y="3"/>
                        </a:cubicBezTo>
                        <a:cubicBezTo>
                          <a:pt x="149" y="3"/>
                          <a:pt x="146" y="4"/>
                          <a:pt x="146" y="6"/>
                        </a:cubicBezTo>
                        <a:cubicBezTo>
                          <a:pt x="137" y="24"/>
                          <a:pt x="137" y="24"/>
                          <a:pt x="137" y="24"/>
                        </a:cubicBezTo>
                        <a:cubicBezTo>
                          <a:pt x="132" y="24"/>
                          <a:pt x="127" y="23"/>
                          <a:pt x="122" y="23"/>
                        </a:cubicBezTo>
                        <a:cubicBezTo>
                          <a:pt x="116" y="4"/>
                          <a:pt x="116" y="4"/>
                          <a:pt x="116" y="4"/>
                        </a:cubicBezTo>
                        <a:cubicBezTo>
                          <a:pt x="116" y="1"/>
                          <a:pt x="114" y="0"/>
                          <a:pt x="112" y="0"/>
                        </a:cubicBezTo>
                        <a:cubicBezTo>
                          <a:pt x="110" y="0"/>
                          <a:pt x="108" y="2"/>
                          <a:pt x="108" y="4"/>
                        </a:cubicBezTo>
                        <a:cubicBezTo>
                          <a:pt x="108" y="4"/>
                          <a:pt x="108" y="4"/>
                          <a:pt x="108" y="4"/>
                        </a:cubicBezTo>
                        <a:cubicBezTo>
                          <a:pt x="105" y="24"/>
                          <a:pt x="105" y="24"/>
                          <a:pt x="105" y="24"/>
                        </a:cubicBezTo>
                        <a:cubicBezTo>
                          <a:pt x="100" y="25"/>
                          <a:pt x="95" y="26"/>
                          <a:pt x="91" y="28"/>
                        </a:cubicBezTo>
                        <a:cubicBezTo>
                          <a:pt x="79" y="11"/>
                          <a:pt x="79" y="11"/>
                          <a:pt x="79" y="11"/>
                        </a:cubicBezTo>
                        <a:cubicBezTo>
                          <a:pt x="78" y="9"/>
                          <a:pt x="76" y="8"/>
                          <a:pt x="74" y="9"/>
                        </a:cubicBezTo>
                        <a:cubicBezTo>
                          <a:pt x="72" y="9"/>
                          <a:pt x="71" y="11"/>
                          <a:pt x="71" y="12"/>
                        </a:cubicBezTo>
                        <a:cubicBezTo>
                          <a:pt x="71" y="13"/>
                          <a:pt x="72" y="13"/>
                          <a:pt x="72" y="14"/>
                        </a:cubicBezTo>
                        <a:cubicBezTo>
                          <a:pt x="75" y="34"/>
                          <a:pt x="75" y="34"/>
                          <a:pt x="75" y="34"/>
                        </a:cubicBezTo>
                        <a:cubicBezTo>
                          <a:pt x="71" y="36"/>
                          <a:pt x="66" y="39"/>
                          <a:pt x="63" y="42"/>
                        </a:cubicBezTo>
                        <a:cubicBezTo>
                          <a:pt x="46" y="29"/>
                          <a:pt x="46" y="29"/>
                          <a:pt x="46" y="29"/>
                        </a:cubicBezTo>
                        <a:cubicBezTo>
                          <a:pt x="45" y="28"/>
                          <a:pt x="42" y="27"/>
                          <a:pt x="41" y="29"/>
                        </a:cubicBezTo>
                        <a:cubicBezTo>
                          <a:pt x="40" y="30"/>
                          <a:pt x="39" y="31"/>
                          <a:pt x="39" y="32"/>
                        </a:cubicBezTo>
                        <a:cubicBezTo>
                          <a:pt x="39" y="33"/>
                          <a:pt x="39" y="34"/>
                          <a:pt x="40" y="34"/>
                        </a:cubicBezTo>
                        <a:cubicBezTo>
                          <a:pt x="49" y="53"/>
                          <a:pt x="49" y="53"/>
                          <a:pt x="49" y="53"/>
                        </a:cubicBezTo>
                        <a:cubicBezTo>
                          <a:pt x="46" y="56"/>
                          <a:pt x="43" y="60"/>
                          <a:pt x="40" y="64"/>
                        </a:cubicBezTo>
                        <a:cubicBezTo>
                          <a:pt x="21" y="57"/>
                          <a:pt x="21" y="57"/>
                          <a:pt x="21" y="57"/>
                        </a:cubicBezTo>
                        <a:cubicBezTo>
                          <a:pt x="19" y="56"/>
                          <a:pt x="16" y="56"/>
                          <a:pt x="15" y="58"/>
                        </a:cubicBezTo>
                        <a:cubicBezTo>
                          <a:pt x="15" y="59"/>
                          <a:pt x="14" y="60"/>
                          <a:pt x="14" y="60"/>
                        </a:cubicBezTo>
                        <a:cubicBezTo>
                          <a:pt x="14" y="62"/>
                          <a:pt x="15" y="63"/>
                          <a:pt x="16" y="64"/>
                        </a:cubicBezTo>
                        <a:cubicBezTo>
                          <a:pt x="31" y="78"/>
                          <a:pt x="31" y="78"/>
                          <a:pt x="31" y="78"/>
                        </a:cubicBezTo>
                        <a:cubicBezTo>
                          <a:pt x="29" y="82"/>
                          <a:pt x="27" y="87"/>
                          <a:pt x="25" y="92"/>
                        </a:cubicBezTo>
                        <a:cubicBezTo>
                          <a:pt x="5" y="91"/>
                          <a:pt x="5" y="91"/>
                          <a:pt x="5" y="91"/>
                        </a:cubicBezTo>
                        <a:cubicBezTo>
                          <a:pt x="3" y="91"/>
                          <a:pt x="0" y="92"/>
                          <a:pt x="0" y="94"/>
                        </a:cubicBezTo>
                        <a:cubicBezTo>
                          <a:pt x="0" y="94"/>
                          <a:pt x="0" y="95"/>
                          <a:pt x="0" y="95"/>
                        </a:cubicBezTo>
                        <a:lnTo>
                          <a:pt x="218" y="9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55" name="Group 154"/>
              <p:cNvGrpSpPr/>
              <p:nvPr/>
            </p:nvGrpSpPr>
            <p:grpSpPr>
              <a:xfrm>
                <a:off x="6187281" y="1312215"/>
                <a:ext cx="2688336" cy="1737360"/>
                <a:chOff x="9141616" y="1312215"/>
                <a:chExt cx="2683373" cy="1728584"/>
              </a:xfrm>
            </p:grpSpPr>
            <p:sp>
              <p:nvSpPr>
                <p:cNvPr id="165" name="Rectangle 164"/>
                <p:cNvSpPr>
                  <a:spLocks noChangeAspect="1"/>
                </p:cNvSpPr>
                <p:nvPr>
                  <p:custDataLst>
                    <p:tags r:id="rId3"/>
                  </p:custDataLst>
                </p:nvPr>
              </p:nvSpPr>
              <p:spPr bwMode="auto">
                <a:xfrm>
                  <a:off x="9141616" y="1312215"/>
                  <a:ext cx="2683373" cy="1728584"/>
                </a:xfrm>
                <a:prstGeom prst="rect">
                  <a:avLst/>
                </a:prstGeom>
                <a:solidFill>
                  <a:srgbClr val="FF8B00"/>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365681" rIns="121893" bIns="60947" numCol="1" rtlCol="0" anchor="b" anchorCtr="0" compatLnSpc="1">
                  <a:prstTxWarp prst="textNoShape">
                    <a:avLst/>
                  </a:prstTxWarp>
                  <a:noAutofit/>
                </a:bodyPr>
                <a:lstStyle/>
                <a:p>
                  <a:pPr defTabSz="914083" fontAlgn="base">
                    <a:lnSpc>
                      <a:spcPct val="90000"/>
                    </a:lnSpc>
                    <a:spcBef>
                      <a:spcPts val="630"/>
                    </a:spcBef>
                    <a:spcAft>
                      <a:spcPct val="0"/>
                    </a:spcAft>
                    <a:buClr>
                      <a:srgbClr val="FFFF99"/>
                    </a:buClr>
                    <a:buSzPct val="120000"/>
                  </a:pPr>
                  <a:r>
                    <a:rPr lang="en-US" dirty="0" smtClean="0">
                      <a:ln>
                        <a:solidFill>
                          <a:srgbClr val="FFFFFF">
                            <a:alpha val="0"/>
                          </a:srgbClr>
                        </a:solidFill>
                      </a:ln>
                      <a:solidFill>
                        <a:srgbClr val="FFFFFF">
                          <a:alpha val="99000"/>
                        </a:srgbClr>
                      </a:solidFill>
                      <a:cs typeface="Segoe UI" pitchFamily="34" charset="0"/>
                    </a:rPr>
                    <a:t>         </a:t>
                  </a:r>
                </a:p>
                <a:p>
                  <a:pPr defTabSz="914083" fontAlgn="base">
                    <a:lnSpc>
                      <a:spcPct val="90000"/>
                    </a:lnSpc>
                    <a:spcBef>
                      <a:spcPts val="630"/>
                    </a:spcBef>
                    <a:spcAft>
                      <a:spcPct val="0"/>
                    </a:spcAft>
                    <a:buClr>
                      <a:srgbClr val="FFFF99"/>
                    </a:buClr>
                    <a:buSzPct val="120000"/>
                  </a:pPr>
                  <a:r>
                    <a:rPr lang="en-US" sz="2000" kern="0" dirty="0">
                      <a:solidFill>
                        <a:srgbClr val="FFFFFF">
                          <a:alpha val="99000"/>
                        </a:srgbClr>
                      </a:solidFill>
                    </a:rPr>
                    <a:t>Standard Formats</a:t>
                  </a:r>
                  <a:endParaRPr lang="en-US" dirty="0">
                    <a:ln>
                      <a:solidFill>
                        <a:srgbClr val="FFFFFF">
                          <a:alpha val="0"/>
                        </a:srgbClr>
                      </a:solidFill>
                    </a:ln>
                    <a:solidFill>
                      <a:srgbClr val="FFFFFF">
                        <a:alpha val="99000"/>
                      </a:srgbClr>
                    </a:solidFill>
                    <a:cs typeface="Segoe UI" pitchFamily="34" charset="0"/>
                  </a:endParaRPr>
                </a:p>
              </p:txBody>
            </p:sp>
            <p:grpSp>
              <p:nvGrpSpPr>
                <p:cNvPr id="166" name="Group 165"/>
                <p:cNvGrpSpPr>
                  <a:grpSpLocks noChangeAspect="1"/>
                </p:cNvGrpSpPr>
                <p:nvPr/>
              </p:nvGrpSpPr>
              <p:grpSpPr>
                <a:xfrm>
                  <a:off x="9316954" y="1435804"/>
                  <a:ext cx="794722" cy="633485"/>
                  <a:chOff x="-2630488" y="2244726"/>
                  <a:chExt cx="1954213" cy="1557338"/>
                </a:xfrm>
                <a:solidFill>
                  <a:schemeClr val="bg1"/>
                </a:solidFill>
              </p:grpSpPr>
              <p:sp>
                <p:nvSpPr>
                  <p:cNvPr id="167" name="Freeform 103"/>
                  <p:cNvSpPr>
                    <a:spLocks/>
                  </p:cNvSpPr>
                  <p:nvPr/>
                </p:nvSpPr>
                <p:spPr bwMode="auto">
                  <a:xfrm>
                    <a:off x="-2570163" y="3328988"/>
                    <a:ext cx="804862" cy="125413"/>
                  </a:xfrm>
                  <a:custGeom>
                    <a:avLst/>
                    <a:gdLst>
                      <a:gd name="T0" fmla="*/ 507 w 507"/>
                      <a:gd name="T1" fmla="*/ 0 h 79"/>
                      <a:gd name="T2" fmla="*/ 0 w 507"/>
                      <a:gd name="T3" fmla="*/ 61 h 79"/>
                      <a:gd name="T4" fmla="*/ 0 w 507"/>
                      <a:gd name="T5" fmla="*/ 79 h 79"/>
                      <a:gd name="T6" fmla="*/ 507 w 507"/>
                      <a:gd name="T7" fmla="*/ 50 h 79"/>
                      <a:gd name="T8" fmla="*/ 507 w 507"/>
                      <a:gd name="T9" fmla="*/ 0 h 79"/>
                    </a:gdLst>
                    <a:ahLst/>
                    <a:cxnLst>
                      <a:cxn ang="0">
                        <a:pos x="T0" y="T1"/>
                      </a:cxn>
                      <a:cxn ang="0">
                        <a:pos x="T2" y="T3"/>
                      </a:cxn>
                      <a:cxn ang="0">
                        <a:pos x="T4" y="T5"/>
                      </a:cxn>
                      <a:cxn ang="0">
                        <a:pos x="T6" y="T7"/>
                      </a:cxn>
                      <a:cxn ang="0">
                        <a:pos x="T8" y="T9"/>
                      </a:cxn>
                    </a:cxnLst>
                    <a:rect l="0" t="0" r="r" b="b"/>
                    <a:pathLst>
                      <a:path w="507" h="79">
                        <a:moveTo>
                          <a:pt x="507" y="0"/>
                        </a:moveTo>
                        <a:lnTo>
                          <a:pt x="0" y="61"/>
                        </a:lnTo>
                        <a:lnTo>
                          <a:pt x="0" y="79"/>
                        </a:lnTo>
                        <a:lnTo>
                          <a:pt x="507" y="50"/>
                        </a:lnTo>
                        <a:lnTo>
                          <a:pt x="507"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104"/>
                  <p:cNvSpPr>
                    <a:spLocks/>
                  </p:cNvSpPr>
                  <p:nvPr/>
                </p:nvSpPr>
                <p:spPr bwMode="auto">
                  <a:xfrm>
                    <a:off x="-2570163" y="3033713"/>
                    <a:ext cx="804862" cy="204788"/>
                  </a:xfrm>
                  <a:custGeom>
                    <a:avLst/>
                    <a:gdLst>
                      <a:gd name="T0" fmla="*/ 507 w 507"/>
                      <a:gd name="T1" fmla="*/ 0 h 129"/>
                      <a:gd name="T2" fmla="*/ 0 w 507"/>
                      <a:gd name="T3" fmla="*/ 111 h 129"/>
                      <a:gd name="T4" fmla="*/ 0 w 507"/>
                      <a:gd name="T5" fmla="*/ 129 h 129"/>
                      <a:gd name="T6" fmla="*/ 507 w 507"/>
                      <a:gd name="T7" fmla="*/ 60 h 129"/>
                      <a:gd name="T8" fmla="*/ 507 w 507"/>
                      <a:gd name="T9" fmla="*/ 0 h 129"/>
                    </a:gdLst>
                    <a:ahLst/>
                    <a:cxnLst>
                      <a:cxn ang="0">
                        <a:pos x="T0" y="T1"/>
                      </a:cxn>
                      <a:cxn ang="0">
                        <a:pos x="T2" y="T3"/>
                      </a:cxn>
                      <a:cxn ang="0">
                        <a:pos x="T4" y="T5"/>
                      </a:cxn>
                      <a:cxn ang="0">
                        <a:pos x="T6" y="T7"/>
                      </a:cxn>
                      <a:cxn ang="0">
                        <a:pos x="T8" y="T9"/>
                      </a:cxn>
                    </a:cxnLst>
                    <a:rect l="0" t="0" r="r" b="b"/>
                    <a:pathLst>
                      <a:path w="507" h="129">
                        <a:moveTo>
                          <a:pt x="507" y="0"/>
                        </a:moveTo>
                        <a:lnTo>
                          <a:pt x="0" y="111"/>
                        </a:lnTo>
                        <a:lnTo>
                          <a:pt x="0" y="129"/>
                        </a:lnTo>
                        <a:lnTo>
                          <a:pt x="507" y="60"/>
                        </a:lnTo>
                        <a:lnTo>
                          <a:pt x="507"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105"/>
                  <p:cNvSpPr>
                    <a:spLocks noEditPoints="1"/>
                  </p:cNvSpPr>
                  <p:nvPr/>
                </p:nvSpPr>
                <p:spPr bwMode="auto">
                  <a:xfrm>
                    <a:off x="-2630488" y="2317751"/>
                    <a:ext cx="1343025" cy="1484313"/>
                  </a:xfrm>
                  <a:custGeom>
                    <a:avLst/>
                    <a:gdLst>
                      <a:gd name="T0" fmla="*/ 586 w 846"/>
                      <a:gd name="T1" fmla="*/ 78 h 935"/>
                      <a:gd name="T2" fmla="*/ 586 w 846"/>
                      <a:gd name="T3" fmla="*/ 111 h 935"/>
                      <a:gd name="T4" fmla="*/ 214 w 846"/>
                      <a:gd name="T5" fmla="*/ 359 h 935"/>
                      <a:gd name="T6" fmla="*/ 0 w 846"/>
                      <a:gd name="T7" fmla="*/ 527 h 935"/>
                      <a:gd name="T8" fmla="*/ 30 w 846"/>
                      <a:gd name="T9" fmla="*/ 921 h 935"/>
                      <a:gd name="T10" fmla="*/ 39 w 846"/>
                      <a:gd name="T11" fmla="*/ 737 h 935"/>
                      <a:gd name="T12" fmla="*/ 117 w 846"/>
                      <a:gd name="T13" fmla="*/ 923 h 935"/>
                      <a:gd name="T14" fmla="*/ 126 w 846"/>
                      <a:gd name="T15" fmla="*/ 732 h 935"/>
                      <a:gd name="T16" fmla="*/ 202 w 846"/>
                      <a:gd name="T17" fmla="*/ 924 h 935"/>
                      <a:gd name="T18" fmla="*/ 211 w 846"/>
                      <a:gd name="T19" fmla="*/ 727 h 935"/>
                      <a:gd name="T20" fmla="*/ 287 w 846"/>
                      <a:gd name="T21" fmla="*/ 926 h 935"/>
                      <a:gd name="T22" fmla="*/ 296 w 846"/>
                      <a:gd name="T23" fmla="*/ 725 h 935"/>
                      <a:gd name="T24" fmla="*/ 374 w 846"/>
                      <a:gd name="T25" fmla="*/ 927 h 935"/>
                      <a:gd name="T26" fmla="*/ 383 w 846"/>
                      <a:gd name="T27" fmla="*/ 719 h 935"/>
                      <a:gd name="T28" fmla="*/ 459 w 846"/>
                      <a:gd name="T29" fmla="*/ 928 h 935"/>
                      <a:gd name="T30" fmla="*/ 468 w 846"/>
                      <a:gd name="T31" fmla="*/ 715 h 935"/>
                      <a:gd name="T32" fmla="*/ 547 w 846"/>
                      <a:gd name="T33" fmla="*/ 931 h 935"/>
                      <a:gd name="T34" fmla="*/ 556 w 846"/>
                      <a:gd name="T35" fmla="*/ 712 h 935"/>
                      <a:gd name="T36" fmla="*/ 846 w 846"/>
                      <a:gd name="T37" fmla="*/ 935 h 935"/>
                      <a:gd name="T38" fmla="*/ 798 w 846"/>
                      <a:gd name="T39" fmla="*/ 0 h 935"/>
                      <a:gd name="T40" fmla="*/ 228 w 846"/>
                      <a:gd name="T41" fmla="*/ 381 h 935"/>
                      <a:gd name="T42" fmla="*/ 548 w 846"/>
                      <a:gd name="T43" fmla="*/ 388 h 935"/>
                      <a:gd name="T44" fmla="*/ 227 w 846"/>
                      <a:gd name="T45" fmla="*/ 470 h 935"/>
                      <a:gd name="T46" fmla="*/ 554 w 846"/>
                      <a:gd name="T47" fmla="*/ 696 h 935"/>
                      <a:gd name="T48" fmla="*/ 29 w 846"/>
                      <a:gd name="T49" fmla="*/ 725 h 935"/>
                      <a:gd name="T50" fmla="*/ 554 w 846"/>
                      <a:gd name="T51" fmla="*/ 626 h 935"/>
                      <a:gd name="T52" fmla="*/ 554 w 846"/>
                      <a:gd name="T53" fmla="*/ 518 h 935"/>
                      <a:gd name="T54" fmla="*/ 29 w 846"/>
                      <a:gd name="T55" fmla="*/ 555 h 935"/>
                      <a:gd name="T56" fmla="*/ 554 w 846"/>
                      <a:gd name="T57" fmla="*/ 518 h 935"/>
                      <a:gd name="T58" fmla="*/ 591 w 846"/>
                      <a:gd name="T59" fmla="*/ 812 h 935"/>
                      <a:gd name="T60" fmla="*/ 591 w 846"/>
                      <a:gd name="T61" fmla="*/ 794 h 935"/>
                      <a:gd name="T62" fmla="*/ 596 w 846"/>
                      <a:gd name="T63" fmla="*/ 277 h 935"/>
                      <a:gd name="T64" fmla="*/ 773 w 846"/>
                      <a:gd name="T65" fmla="*/ 794 h 935"/>
                      <a:gd name="T66" fmla="*/ 608 w 846"/>
                      <a:gd name="T67" fmla="*/ 593 h 935"/>
                      <a:gd name="T68" fmla="*/ 773 w 846"/>
                      <a:gd name="T69" fmla="*/ 557 h 935"/>
                      <a:gd name="T70" fmla="*/ 608 w 846"/>
                      <a:gd name="T71" fmla="*/ 418 h 935"/>
                      <a:gd name="T72" fmla="*/ 773 w 846"/>
                      <a:gd name="T73" fmla="*/ 369 h 935"/>
                      <a:gd name="T74" fmla="*/ 608 w 846"/>
                      <a:gd name="T75" fmla="*/ 255 h 935"/>
                      <a:gd name="T76" fmla="*/ 773 w 846"/>
                      <a:gd name="T77" fmla="*/ 199 h 935"/>
                      <a:gd name="T78" fmla="*/ 608 w 846"/>
                      <a:gd name="T79" fmla="*/ 116 h 935"/>
                      <a:gd name="T80" fmla="*/ 791 w 846"/>
                      <a:gd name="T81" fmla="*/ 38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46" h="935">
                        <a:moveTo>
                          <a:pt x="798" y="0"/>
                        </a:moveTo>
                        <a:lnTo>
                          <a:pt x="586" y="78"/>
                        </a:lnTo>
                        <a:lnTo>
                          <a:pt x="586" y="111"/>
                        </a:lnTo>
                        <a:lnTo>
                          <a:pt x="586" y="111"/>
                        </a:lnTo>
                        <a:lnTo>
                          <a:pt x="586" y="256"/>
                        </a:lnTo>
                        <a:lnTo>
                          <a:pt x="214" y="359"/>
                        </a:lnTo>
                        <a:lnTo>
                          <a:pt x="214" y="472"/>
                        </a:lnTo>
                        <a:lnTo>
                          <a:pt x="0" y="527"/>
                        </a:lnTo>
                        <a:lnTo>
                          <a:pt x="0" y="921"/>
                        </a:lnTo>
                        <a:lnTo>
                          <a:pt x="30" y="921"/>
                        </a:lnTo>
                        <a:lnTo>
                          <a:pt x="30" y="737"/>
                        </a:lnTo>
                        <a:lnTo>
                          <a:pt x="39" y="737"/>
                        </a:lnTo>
                        <a:lnTo>
                          <a:pt x="39" y="922"/>
                        </a:lnTo>
                        <a:lnTo>
                          <a:pt x="117" y="923"/>
                        </a:lnTo>
                        <a:lnTo>
                          <a:pt x="117" y="732"/>
                        </a:lnTo>
                        <a:lnTo>
                          <a:pt x="126" y="732"/>
                        </a:lnTo>
                        <a:lnTo>
                          <a:pt x="126" y="923"/>
                        </a:lnTo>
                        <a:lnTo>
                          <a:pt x="202" y="924"/>
                        </a:lnTo>
                        <a:lnTo>
                          <a:pt x="202" y="727"/>
                        </a:lnTo>
                        <a:lnTo>
                          <a:pt x="211" y="727"/>
                        </a:lnTo>
                        <a:lnTo>
                          <a:pt x="211" y="924"/>
                        </a:lnTo>
                        <a:lnTo>
                          <a:pt x="287" y="926"/>
                        </a:lnTo>
                        <a:lnTo>
                          <a:pt x="287" y="725"/>
                        </a:lnTo>
                        <a:lnTo>
                          <a:pt x="296" y="725"/>
                        </a:lnTo>
                        <a:lnTo>
                          <a:pt x="296" y="926"/>
                        </a:lnTo>
                        <a:lnTo>
                          <a:pt x="374" y="927"/>
                        </a:lnTo>
                        <a:lnTo>
                          <a:pt x="374" y="719"/>
                        </a:lnTo>
                        <a:lnTo>
                          <a:pt x="383" y="719"/>
                        </a:lnTo>
                        <a:lnTo>
                          <a:pt x="383" y="927"/>
                        </a:lnTo>
                        <a:lnTo>
                          <a:pt x="459" y="928"/>
                        </a:lnTo>
                        <a:lnTo>
                          <a:pt x="459" y="715"/>
                        </a:lnTo>
                        <a:lnTo>
                          <a:pt x="468" y="715"/>
                        </a:lnTo>
                        <a:lnTo>
                          <a:pt x="468" y="928"/>
                        </a:lnTo>
                        <a:lnTo>
                          <a:pt x="547" y="931"/>
                        </a:lnTo>
                        <a:lnTo>
                          <a:pt x="547" y="712"/>
                        </a:lnTo>
                        <a:lnTo>
                          <a:pt x="556" y="712"/>
                        </a:lnTo>
                        <a:lnTo>
                          <a:pt x="556" y="931"/>
                        </a:lnTo>
                        <a:lnTo>
                          <a:pt x="846" y="935"/>
                        </a:lnTo>
                        <a:lnTo>
                          <a:pt x="846" y="38"/>
                        </a:lnTo>
                        <a:lnTo>
                          <a:pt x="798" y="0"/>
                        </a:lnTo>
                        <a:close/>
                        <a:moveTo>
                          <a:pt x="227" y="381"/>
                        </a:moveTo>
                        <a:lnTo>
                          <a:pt x="228" y="381"/>
                        </a:lnTo>
                        <a:lnTo>
                          <a:pt x="232" y="464"/>
                        </a:lnTo>
                        <a:lnTo>
                          <a:pt x="548" y="388"/>
                        </a:lnTo>
                        <a:lnTo>
                          <a:pt x="549" y="393"/>
                        </a:lnTo>
                        <a:lnTo>
                          <a:pt x="227" y="470"/>
                        </a:lnTo>
                        <a:lnTo>
                          <a:pt x="227" y="381"/>
                        </a:lnTo>
                        <a:close/>
                        <a:moveTo>
                          <a:pt x="554" y="696"/>
                        </a:moveTo>
                        <a:lnTo>
                          <a:pt x="549" y="696"/>
                        </a:lnTo>
                        <a:lnTo>
                          <a:pt x="29" y="725"/>
                        </a:lnTo>
                        <a:lnTo>
                          <a:pt x="29" y="689"/>
                        </a:lnTo>
                        <a:lnTo>
                          <a:pt x="554" y="626"/>
                        </a:lnTo>
                        <a:lnTo>
                          <a:pt x="554" y="696"/>
                        </a:lnTo>
                        <a:close/>
                        <a:moveTo>
                          <a:pt x="554" y="518"/>
                        </a:moveTo>
                        <a:lnTo>
                          <a:pt x="29" y="590"/>
                        </a:lnTo>
                        <a:lnTo>
                          <a:pt x="29" y="555"/>
                        </a:lnTo>
                        <a:lnTo>
                          <a:pt x="554" y="441"/>
                        </a:lnTo>
                        <a:lnTo>
                          <a:pt x="554" y="518"/>
                        </a:lnTo>
                        <a:close/>
                        <a:moveTo>
                          <a:pt x="791" y="812"/>
                        </a:moveTo>
                        <a:lnTo>
                          <a:pt x="591" y="812"/>
                        </a:lnTo>
                        <a:lnTo>
                          <a:pt x="591" y="794"/>
                        </a:lnTo>
                        <a:lnTo>
                          <a:pt x="591" y="794"/>
                        </a:lnTo>
                        <a:lnTo>
                          <a:pt x="591" y="277"/>
                        </a:lnTo>
                        <a:lnTo>
                          <a:pt x="596" y="277"/>
                        </a:lnTo>
                        <a:lnTo>
                          <a:pt x="596" y="794"/>
                        </a:lnTo>
                        <a:lnTo>
                          <a:pt x="773" y="794"/>
                        </a:lnTo>
                        <a:lnTo>
                          <a:pt x="773" y="575"/>
                        </a:lnTo>
                        <a:lnTo>
                          <a:pt x="608" y="593"/>
                        </a:lnTo>
                        <a:lnTo>
                          <a:pt x="608" y="575"/>
                        </a:lnTo>
                        <a:lnTo>
                          <a:pt x="773" y="557"/>
                        </a:lnTo>
                        <a:lnTo>
                          <a:pt x="773" y="386"/>
                        </a:lnTo>
                        <a:lnTo>
                          <a:pt x="608" y="418"/>
                        </a:lnTo>
                        <a:lnTo>
                          <a:pt x="608" y="399"/>
                        </a:lnTo>
                        <a:lnTo>
                          <a:pt x="773" y="369"/>
                        </a:lnTo>
                        <a:lnTo>
                          <a:pt x="773" y="218"/>
                        </a:lnTo>
                        <a:lnTo>
                          <a:pt x="608" y="255"/>
                        </a:lnTo>
                        <a:lnTo>
                          <a:pt x="608" y="237"/>
                        </a:lnTo>
                        <a:lnTo>
                          <a:pt x="773" y="199"/>
                        </a:lnTo>
                        <a:lnTo>
                          <a:pt x="773" y="62"/>
                        </a:lnTo>
                        <a:lnTo>
                          <a:pt x="608" y="116"/>
                        </a:lnTo>
                        <a:lnTo>
                          <a:pt x="608" y="96"/>
                        </a:lnTo>
                        <a:lnTo>
                          <a:pt x="791" y="38"/>
                        </a:lnTo>
                        <a:lnTo>
                          <a:pt x="791" y="81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106"/>
                  <p:cNvSpPr>
                    <a:spLocks/>
                  </p:cNvSpPr>
                  <p:nvPr/>
                </p:nvSpPr>
                <p:spPr bwMode="auto">
                  <a:xfrm>
                    <a:off x="-2466975" y="2806701"/>
                    <a:ext cx="109537" cy="234950"/>
                  </a:xfrm>
                  <a:custGeom>
                    <a:avLst/>
                    <a:gdLst>
                      <a:gd name="T0" fmla="*/ 69 w 69"/>
                      <a:gd name="T1" fmla="*/ 0 h 148"/>
                      <a:gd name="T2" fmla="*/ 0 w 69"/>
                      <a:gd name="T3" fmla="*/ 24 h 148"/>
                      <a:gd name="T4" fmla="*/ 0 w 69"/>
                      <a:gd name="T5" fmla="*/ 148 h 148"/>
                      <a:gd name="T6" fmla="*/ 69 w 69"/>
                      <a:gd name="T7" fmla="*/ 131 h 148"/>
                      <a:gd name="T8" fmla="*/ 69 w 69"/>
                      <a:gd name="T9" fmla="*/ 0 h 148"/>
                    </a:gdLst>
                    <a:ahLst/>
                    <a:cxnLst>
                      <a:cxn ang="0">
                        <a:pos x="T0" y="T1"/>
                      </a:cxn>
                      <a:cxn ang="0">
                        <a:pos x="T2" y="T3"/>
                      </a:cxn>
                      <a:cxn ang="0">
                        <a:pos x="T4" y="T5"/>
                      </a:cxn>
                      <a:cxn ang="0">
                        <a:pos x="T6" y="T7"/>
                      </a:cxn>
                      <a:cxn ang="0">
                        <a:pos x="T8" y="T9"/>
                      </a:cxn>
                    </a:cxnLst>
                    <a:rect l="0" t="0" r="r" b="b"/>
                    <a:pathLst>
                      <a:path w="69" h="148">
                        <a:moveTo>
                          <a:pt x="69" y="0"/>
                        </a:moveTo>
                        <a:lnTo>
                          <a:pt x="0" y="24"/>
                        </a:lnTo>
                        <a:lnTo>
                          <a:pt x="0" y="148"/>
                        </a:lnTo>
                        <a:lnTo>
                          <a:pt x="69" y="131"/>
                        </a:lnTo>
                        <a:lnTo>
                          <a:pt x="69"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107"/>
                  <p:cNvSpPr>
                    <a:spLocks noEditPoints="1"/>
                  </p:cNvSpPr>
                  <p:nvPr/>
                </p:nvSpPr>
                <p:spPr bwMode="auto">
                  <a:xfrm>
                    <a:off x="-2627313" y="2527301"/>
                    <a:ext cx="906462" cy="592138"/>
                  </a:xfrm>
                  <a:custGeom>
                    <a:avLst/>
                    <a:gdLst>
                      <a:gd name="T0" fmla="*/ 219 w 571"/>
                      <a:gd name="T1" fmla="*/ 102 h 373"/>
                      <a:gd name="T2" fmla="*/ 219 w 571"/>
                      <a:gd name="T3" fmla="*/ 132 h 373"/>
                      <a:gd name="T4" fmla="*/ 72 w 571"/>
                      <a:gd name="T5" fmla="*/ 184 h 373"/>
                      <a:gd name="T6" fmla="*/ 72 w 571"/>
                      <a:gd name="T7" fmla="*/ 256 h 373"/>
                      <a:gd name="T8" fmla="*/ 0 w 571"/>
                      <a:gd name="T9" fmla="*/ 273 h 373"/>
                      <a:gd name="T10" fmla="*/ 0 w 571"/>
                      <a:gd name="T11" fmla="*/ 308 h 373"/>
                      <a:gd name="T12" fmla="*/ 32 w 571"/>
                      <a:gd name="T13" fmla="*/ 308 h 373"/>
                      <a:gd name="T14" fmla="*/ 32 w 571"/>
                      <a:gd name="T15" fmla="*/ 373 h 373"/>
                      <a:gd name="T16" fmla="*/ 199 w 571"/>
                      <a:gd name="T17" fmla="*/ 330 h 373"/>
                      <a:gd name="T18" fmla="*/ 199 w 571"/>
                      <a:gd name="T19" fmla="*/ 217 h 373"/>
                      <a:gd name="T20" fmla="*/ 571 w 571"/>
                      <a:gd name="T21" fmla="*/ 113 h 373"/>
                      <a:gd name="T22" fmla="*/ 571 w 571"/>
                      <a:gd name="T23" fmla="*/ 0 h 373"/>
                      <a:gd name="T24" fmla="*/ 219 w 571"/>
                      <a:gd name="T25" fmla="*/ 102 h 373"/>
                      <a:gd name="T26" fmla="*/ 179 w 571"/>
                      <a:gd name="T27" fmla="*/ 314 h 373"/>
                      <a:gd name="T28" fmla="*/ 92 w 571"/>
                      <a:gd name="T29" fmla="*/ 335 h 373"/>
                      <a:gd name="T30" fmla="*/ 92 w 571"/>
                      <a:gd name="T31" fmla="*/ 195 h 373"/>
                      <a:gd name="T32" fmla="*/ 179 w 571"/>
                      <a:gd name="T33" fmla="*/ 164 h 373"/>
                      <a:gd name="T34" fmla="*/ 179 w 571"/>
                      <a:gd name="T35" fmla="*/ 314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1" h="373">
                        <a:moveTo>
                          <a:pt x="219" y="102"/>
                        </a:moveTo>
                        <a:lnTo>
                          <a:pt x="219" y="132"/>
                        </a:lnTo>
                        <a:lnTo>
                          <a:pt x="72" y="184"/>
                        </a:lnTo>
                        <a:lnTo>
                          <a:pt x="72" y="256"/>
                        </a:lnTo>
                        <a:lnTo>
                          <a:pt x="0" y="273"/>
                        </a:lnTo>
                        <a:lnTo>
                          <a:pt x="0" y="308"/>
                        </a:lnTo>
                        <a:lnTo>
                          <a:pt x="32" y="308"/>
                        </a:lnTo>
                        <a:lnTo>
                          <a:pt x="32" y="373"/>
                        </a:lnTo>
                        <a:lnTo>
                          <a:pt x="199" y="330"/>
                        </a:lnTo>
                        <a:lnTo>
                          <a:pt x="199" y="217"/>
                        </a:lnTo>
                        <a:lnTo>
                          <a:pt x="571" y="113"/>
                        </a:lnTo>
                        <a:lnTo>
                          <a:pt x="571" y="0"/>
                        </a:lnTo>
                        <a:lnTo>
                          <a:pt x="219" y="102"/>
                        </a:lnTo>
                        <a:close/>
                        <a:moveTo>
                          <a:pt x="179" y="314"/>
                        </a:moveTo>
                        <a:lnTo>
                          <a:pt x="92" y="335"/>
                        </a:lnTo>
                        <a:lnTo>
                          <a:pt x="92" y="195"/>
                        </a:lnTo>
                        <a:lnTo>
                          <a:pt x="179" y="164"/>
                        </a:lnTo>
                        <a:lnTo>
                          <a:pt x="179" y="31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108"/>
                  <p:cNvSpPr>
                    <a:spLocks noEditPoints="1"/>
                  </p:cNvSpPr>
                  <p:nvPr/>
                </p:nvSpPr>
                <p:spPr bwMode="auto">
                  <a:xfrm>
                    <a:off x="-1273175" y="2244726"/>
                    <a:ext cx="596900" cy="1555750"/>
                  </a:xfrm>
                  <a:custGeom>
                    <a:avLst/>
                    <a:gdLst>
                      <a:gd name="T0" fmla="*/ 296 w 341"/>
                      <a:gd name="T1" fmla="*/ 336 h 889"/>
                      <a:gd name="T2" fmla="*/ 296 w 341"/>
                      <a:gd name="T3" fmla="*/ 285 h 889"/>
                      <a:gd name="T4" fmla="*/ 181 w 341"/>
                      <a:gd name="T5" fmla="*/ 178 h 889"/>
                      <a:gd name="T6" fmla="*/ 140 w 341"/>
                      <a:gd name="T7" fmla="*/ 182 h 889"/>
                      <a:gd name="T8" fmla="*/ 24 w 341"/>
                      <a:gd name="T9" fmla="*/ 0 h 889"/>
                      <a:gd name="T10" fmla="*/ 0 w 341"/>
                      <a:gd name="T11" fmla="*/ 38 h 889"/>
                      <a:gd name="T12" fmla="*/ 0 w 341"/>
                      <a:gd name="T13" fmla="*/ 889 h 889"/>
                      <a:gd name="T14" fmla="*/ 51 w 341"/>
                      <a:gd name="T15" fmla="*/ 872 h 889"/>
                      <a:gd name="T16" fmla="*/ 51 w 341"/>
                      <a:gd name="T17" fmla="*/ 206 h 889"/>
                      <a:gd name="T18" fmla="*/ 135 w 341"/>
                      <a:gd name="T19" fmla="*/ 186 h 889"/>
                      <a:gd name="T20" fmla="*/ 135 w 341"/>
                      <a:gd name="T21" fmla="*/ 194 h 889"/>
                      <a:gd name="T22" fmla="*/ 59 w 341"/>
                      <a:gd name="T23" fmla="*/ 212 h 889"/>
                      <a:gd name="T24" fmla="*/ 59 w 341"/>
                      <a:gd name="T25" fmla="*/ 872 h 889"/>
                      <a:gd name="T26" fmla="*/ 80 w 341"/>
                      <a:gd name="T27" fmla="*/ 874 h 889"/>
                      <a:gd name="T28" fmla="*/ 80 w 341"/>
                      <a:gd name="T29" fmla="*/ 232 h 889"/>
                      <a:gd name="T30" fmla="*/ 84 w 341"/>
                      <a:gd name="T31" fmla="*/ 232 h 889"/>
                      <a:gd name="T32" fmla="*/ 84 w 341"/>
                      <a:gd name="T33" fmla="*/ 874 h 889"/>
                      <a:gd name="T34" fmla="*/ 108 w 341"/>
                      <a:gd name="T35" fmla="*/ 876 h 889"/>
                      <a:gd name="T36" fmla="*/ 108 w 341"/>
                      <a:gd name="T37" fmla="*/ 228 h 889"/>
                      <a:gd name="T38" fmla="*/ 112 w 341"/>
                      <a:gd name="T39" fmla="*/ 228 h 889"/>
                      <a:gd name="T40" fmla="*/ 112 w 341"/>
                      <a:gd name="T41" fmla="*/ 877 h 889"/>
                      <a:gd name="T42" fmla="*/ 135 w 341"/>
                      <a:gd name="T43" fmla="*/ 878 h 889"/>
                      <a:gd name="T44" fmla="*/ 135 w 341"/>
                      <a:gd name="T45" fmla="*/ 224 h 889"/>
                      <a:gd name="T46" fmla="*/ 139 w 341"/>
                      <a:gd name="T47" fmla="*/ 224 h 889"/>
                      <a:gd name="T48" fmla="*/ 139 w 341"/>
                      <a:gd name="T49" fmla="*/ 879 h 889"/>
                      <a:gd name="T50" fmla="*/ 161 w 341"/>
                      <a:gd name="T51" fmla="*/ 881 h 889"/>
                      <a:gd name="T52" fmla="*/ 161 w 341"/>
                      <a:gd name="T53" fmla="*/ 220 h 889"/>
                      <a:gd name="T54" fmla="*/ 165 w 341"/>
                      <a:gd name="T55" fmla="*/ 220 h 889"/>
                      <a:gd name="T56" fmla="*/ 165 w 341"/>
                      <a:gd name="T57" fmla="*/ 881 h 889"/>
                      <a:gd name="T58" fmla="*/ 181 w 341"/>
                      <a:gd name="T59" fmla="*/ 882 h 889"/>
                      <a:gd name="T60" fmla="*/ 341 w 341"/>
                      <a:gd name="T61" fmla="*/ 869 h 889"/>
                      <a:gd name="T62" fmla="*/ 341 w 341"/>
                      <a:gd name="T63" fmla="*/ 378 h 889"/>
                      <a:gd name="T64" fmla="*/ 296 w 341"/>
                      <a:gd name="T65" fmla="*/ 336 h 889"/>
                      <a:gd name="T66" fmla="*/ 284 w 341"/>
                      <a:gd name="T67" fmla="*/ 305 h 889"/>
                      <a:gd name="T68" fmla="*/ 200 w 341"/>
                      <a:gd name="T69" fmla="*/ 227 h 889"/>
                      <a:gd name="T70" fmla="*/ 200 w 341"/>
                      <a:gd name="T71" fmla="*/ 864 h 889"/>
                      <a:gd name="T72" fmla="*/ 192 w 341"/>
                      <a:gd name="T73" fmla="*/ 864 h 889"/>
                      <a:gd name="T74" fmla="*/ 192 w 341"/>
                      <a:gd name="T75" fmla="*/ 209 h 889"/>
                      <a:gd name="T76" fmla="*/ 283 w 341"/>
                      <a:gd name="T77" fmla="*/ 294 h 889"/>
                      <a:gd name="T78" fmla="*/ 284 w 341"/>
                      <a:gd name="T79" fmla="*/ 305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1" h="889">
                        <a:moveTo>
                          <a:pt x="296" y="336"/>
                        </a:moveTo>
                        <a:cubicBezTo>
                          <a:pt x="296" y="285"/>
                          <a:pt x="296" y="285"/>
                          <a:pt x="296" y="285"/>
                        </a:cubicBezTo>
                        <a:cubicBezTo>
                          <a:pt x="181" y="178"/>
                          <a:pt x="181" y="178"/>
                          <a:pt x="181" y="178"/>
                        </a:cubicBezTo>
                        <a:cubicBezTo>
                          <a:pt x="140" y="182"/>
                          <a:pt x="140" y="182"/>
                          <a:pt x="140" y="182"/>
                        </a:cubicBezTo>
                        <a:cubicBezTo>
                          <a:pt x="157" y="56"/>
                          <a:pt x="24" y="0"/>
                          <a:pt x="24" y="0"/>
                        </a:cubicBezTo>
                        <a:cubicBezTo>
                          <a:pt x="0" y="38"/>
                          <a:pt x="0" y="38"/>
                          <a:pt x="0" y="38"/>
                        </a:cubicBezTo>
                        <a:cubicBezTo>
                          <a:pt x="0" y="889"/>
                          <a:pt x="0" y="889"/>
                          <a:pt x="0" y="889"/>
                        </a:cubicBezTo>
                        <a:cubicBezTo>
                          <a:pt x="51" y="872"/>
                          <a:pt x="51" y="872"/>
                          <a:pt x="51" y="872"/>
                        </a:cubicBezTo>
                        <a:cubicBezTo>
                          <a:pt x="51" y="206"/>
                          <a:pt x="51" y="206"/>
                          <a:pt x="51" y="206"/>
                        </a:cubicBezTo>
                        <a:cubicBezTo>
                          <a:pt x="135" y="186"/>
                          <a:pt x="135" y="186"/>
                          <a:pt x="135" y="186"/>
                        </a:cubicBezTo>
                        <a:cubicBezTo>
                          <a:pt x="135" y="194"/>
                          <a:pt x="135" y="194"/>
                          <a:pt x="135" y="194"/>
                        </a:cubicBezTo>
                        <a:cubicBezTo>
                          <a:pt x="59" y="212"/>
                          <a:pt x="59" y="212"/>
                          <a:pt x="59" y="212"/>
                        </a:cubicBezTo>
                        <a:cubicBezTo>
                          <a:pt x="59" y="872"/>
                          <a:pt x="59" y="872"/>
                          <a:pt x="59" y="872"/>
                        </a:cubicBezTo>
                        <a:cubicBezTo>
                          <a:pt x="80" y="874"/>
                          <a:pt x="80" y="874"/>
                          <a:pt x="80" y="874"/>
                        </a:cubicBezTo>
                        <a:cubicBezTo>
                          <a:pt x="80" y="232"/>
                          <a:pt x="80" y="232"/>
                          <a:pt x="80" y="232"/>
                        </a:cubicBezTo>
                        <a:cubicBezTo>
                          <a:pt x="84" y="232"/>
                          <a:pt x="84" y="232"/>
                          <a:pt x="84" y="232"/>
                        </a:cubicBezTo>
                        <a:cubicBezTo>
                          <a:pt x="84" y="874"/>
                          <a:pt x="84" y="874"/>
                          <a:pt x="84" y="874"/>
                        </a:cubicBezTo>
                        <a:cubicBezTo>
                          <a:pt x="108" y="876"/>
                          <a:pt x="108" y="876"/>
                          <a:pt x="108" y="876"/>
                        </a:cubicBezTo>
                        <a:cubicBezTo>
                          <a:pt x="108" y="228"/>
                          <a:pt x="108" y="228"/>
                          <a:pt x="108" y="228"/>
                        </a:cubicBezTo>
                        <a:cubicBezTo>
                          <a:pt x="112" y="228"/>
                          <a:pt x="112" y="228"/>
                          <a:pt x="112" y="228"/>
                        </a:cubicBezTo>
                        <a:cubicBezTo>
                          <a:pt x="112" y="877"/>
                          <a:pt x="112" y="877"/>
                          <a:pt x="112" y="877"/>
                        </a:cubicBezTo>
                        <a:cubicBezTo>
                          <a:pt x="135" y="878"/>
                          <a:pt x="135" y="878"/>
                          <a:pt x="135" y="878"/>
                        </a:cubicBezTo>
                        <a:cubicBezTo>
                          <a:pt x="135" y="224"/>
                          <a:pt x="135" y="224"/>
                          <a:pt x="135" y="224"/>
                        </a:cubicBezTo>
                        <a:cubicBezTo>
                          <a:pt x="139" y="224"/>
                          <a:pt x="139" y="224"/>
                          <a:pt x="139" y="224"/>
                        </a:cubicBezTo>
                        <a:cubicBezTo>
                          <a:pt x="139" y="879"/>
                          <a:pt x="139" y="879"/>
                          <a:pt x="139" y="879"/>
                        </a:cubicBezTo>
                        <a:cubicBezTo>
                          <a:pt x="161" y="881"/>
                          <a:pt x="161" y="881"/>
                          <a:pt x="161" y="881"/>
                        </a:cubicBezTo>
                        <a:cubicBezTo>
                          <a:pt x="161" y="220"/>
                          <a:pt x="161" y="220"/>
                          <a:pt x="161" y="220"/>
                        </a:cubicBezTo>
                        <a:cubicBezTo>
                          <a:pt x="165" y="220"/>
                          <a:pt x="165" y="220"/>
                          <a:pt x="165" y="220"/>
                        </a:cubicBezTo>
                        <a:cubicBezTo>
                          <a:pt x="165" y="881"/>
                          <a:pt x="165" y="881"/>
                          <a:pt x="165" y="881"/>
                        </a:cubicBezTo>
                        <a:cubicBezTo>
                          <a:pt x="181" y="882"/>
                          <a:pt x="181" y="882"/>
                          <a:pt x="181" y="882"/>
                        </a:cubicBezTo>
                        <a:cubicBezTo>
                          <a:pt x="341" y="869"/>
                          <a:pt x="341" y="869"/>
                          <a:pt x="341" y="869"/>
                        </a:cubicBezTo>
                        <a:cubicBezTo>
                          <a:pt x="341" y="378"/>
                          <a:pt x="341" y="378"/>
                          <a:pt x="341" y="378"/>
                        </a:cubicBezTo>
                        <a:lnTo>
                          <a:pt x="296" y="336"/>
                        </a:lnTo>
                        <a:close/>
                        <a:moveTo>
                          <a:pt x="284" y="305"/>
                        </a:moveTo>
                        <a:cubicBezTo>
                          <a:pt x="200" y="227"/>
                          <a:pt x="200" y="227"/>
                          <a:pt x="200" y="227"/>
                        </a:cubicBezTo>
                        <a:cubicBezTo>
                          <a:pt x="200" y="864"/>
                          <a:pt x="200" y="864"/>
                          <a:pt x="200" y="864"/>
                        </a:cubicBezTo>
                        <a:cubicBezTo>
                          <a:pt x="192" y="864"/>
                          <a:pt x="192" y="864"/>
                          <a:pt x="192" y="864"/>
                        </a:cubicBezTo>
                        <a:cubicBezTo>
                          <a:pt x="192" y="209"/>
                          <a:pt x="192" y="209"/>
                          <a:pt x="192" y="209"/>
                        </a:cubicBezTo>
                        <a:cubicBezTo>
                          <a:pt x="283" y="294"/>
                          <a:pt x="283" y="294"/>
                          <a:pt x="283" y="294"/>
                        </a:cubicBezTo>
                        <a:lnTo>
                          <a:pt x="284" y="30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56" name="Group 155"/>
              <p:cNvGrpSpPr/>
              <p:nvPr/>
            </p:nvGrpSpPr>
            <p:grpSpPr>
              <a:xfrm>
                <a:off x="3309365" y="1312215"/>
                <a:ext cx="2688336" cy="1737360"/>
                <a:chOff x="3309365" y="1312215"/>
                <a:chExt cx="2688336" cy="1737360"/>
              </a:xfrm>
            </p:grpSpPr>
            <p:sp>
              <p:nvSpPr>
                <p:cNvPr id="163" name="Rectangle 162"/>
                <p:cNvSpPr>
                  <a:spLocks noChangeAspect="1"/>
                </p:cNvSpPr>
                <p:nvPr>
                  <p:custDataLst>
                    <p:tags r:id="rId2"/>
                  </p:custDataLst>
                </p:nvPr>
              </p:nvSpPr>
              <p:spPr bwMode="auto">
                <a:xfrm>
                  <a:off x="3309365" y="1312215"/>
                  <a:ext cx="2688336" cy="1737360"/>
                </a:xfrm>
                <a:prstGeom prst="rect">
                  <a:avLst/>
                </a:prstGeom>
                <a:solidFill>
                  <a:srgbClr val="FF8B00"/>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60947" rIns="121893" bIns="60947" numCol="1" rtlCol="0" anchor="b" anchorCtr="0" compatLnSpc="1">
                  <a:prstTxWarp prst="textNoShape">
                    <a:avLst/>
                  </a:prstTxWarp>
                  <a:noAutofit/>
                </a:bodyPr>
                <a:lstStyle/>
                <a:p>
                  <a:pPr algn="ctr" defTabSz="914083" fontAlgn="base">
                    <a:lnSpc>
                      <a:spcPct val="90000"/>
                    </a:lnSpc>
                    <a:spcBef>
                      <a:spcPts val="630"/>
                    </a:spcBef>
                    <a:spcAft>
                      <a:spcPct val="0"/>
                    </a:spcAft>
                    <a:buClr>
                      <a:srgbClr val="FFFF99"/>
                    </a:buClr>
                    <a:buSzPct val="120000"/>
                  </a:pPr>
                  <a:r>
                    <a:rPr lang="en-US" dirty="0" smtClean="0">
                      <a:ln>
                        <a:solidFill>
                          <a:srgbClr val="FFFFFF">
                            <a:alpha val="0"/>
                          </a:srgbClr>
                        </a:solidFill>
                      </a:ln>
                      <a:solidFill>
                        <a:srgbClr val="FFFFFF">
                          <a:alpha val="99000"/>
                        </a:srgbClr>
                      </a:solidFill>
                      <a:cs typeface="Segoe UI" pitchFamily="34" charset="0"/>
                    </a:rPr>
                    <a:t>            </a:t>
                  </a:r>
                </a:p>
                <a:p>
                  <a:pPr defTabSz="914023" fontAlgn="base">
                    <a:spcBef>
                      <a:spcPct val="0"/>
                    </a:spcBef>
                    <a:spcAft>
                      <a:spcPct val="0"/>
                    </a:spcAft>
                    <a:defRPr/>
                  </a:pPr>
                  <a:r>
                    <a:rPr lang="en-US" sz="2000" kern="0" dirty="0">
                      <a:solidFill>
                        <a:srgbClr val="FFFFFF">
                          <a:alpha val="99000"/>
                        </a:srgbClr>
                      </a:solidFill>
                    </a:rPr>
                    <a:t>Multi-Targeting</a:t>
                  </a:r>
                  <a:endParaRPr lang="en-US" sz="2000" kern="0" dirty="0">
                    <a:solidFill>
                      <a:srgbClr val="FFFFFF">
                        <a:alpha val="99000"/>
                      </a:srgbClr>
                    </a:solidFill>
                  </a:endParaRPr>
                </a:p>
              </p:txBody>
            </p:sp>
            <p:sp>
              <p:nvSpPr>
                <p:cNvPr id="164" name="Freeform 22"/>
                <p:cNvSpPr>
                  <a:spLocks noEditPoints="1"/>
                </p:cNvSpPr>
                <p:nvPr/>
              </p:nvSpPr>
              <p:spPr bwMode="black">
                <a:xfrm>
                  <a:off x="3427412" y="1447800"/>
                  <a:ext cx="685800" cy="733094"/>
                </a:xfrm>
                <a:custGeom>
                  <a:avLst/>
                  <a:gdLst>
                    <a:gd name="T0" fmla="*/ 300 w 300"/>
                    <a:gd name="T1" fmla="*/ 141 h 300"/>
                    <a:gd name="T2" fmla="*/ 285 w 300"/>
                    <a:gd name="T3" fmla="*/ 141 h 300"/>
                    <a:gd name="T4" fmla="*/ 159 w 300"/>
                    <a:gd name="T5" fmla="*/ 15 h 300"/>
                    <a:gd name="T6" fmla="*/ 159 w 300"/>
                    <a:gd name="T7" fmla="*/ 0 h 300"/>
                    <a:gd name="T8" fmla="*/ 141 w 300"/>
                    <a:gd name="T9" fmla="*/ 0 h 300"/>
                    <a:gd name="T10" fmla="*/ 141 w 300"/>
                    <a:gd name="T11" fmla="*/ 15 h 300"/>
                    <a:gd name="T12" fmla="*/ 15 w 300"/>
                    <a:gd name="T13" fmla="*/ 141 h 300"/>
                    <a:gd name="T14" fmla="*/ 0 w 300"/>
                    <a:gd name="T15" fmla="*/ 141 h 300"/>
                    <a:gd name="T16" fmla="*/ 0 w 300"/>
                    <a:gd name="T17" fmla="*/ 159 h 300"/>
                    <a:gd name="T18" fmla="*/ 15 w 300"/>
                    <a:gd name="T19" fmla="*/ 159 h 300"/>
                    <a:gd name="T20" fmla="*/ 141 w 300"/>
                    <a:gd name="T21" fmla="*/ 285 h 300"/>
                    <a:gd name="T22" fmla="*/ 141 w 300"/>
                    <a:gd name="T23" fmla="*/ 300 h 300"/>
                    <a:gd name="T24" fmla="*/ 159 w 300"/>
                    <a:gd name="T25" fmla="*/ 300 h 300"/>
                    <a:gd name="T26" fmla="*/ 159 w 300"/>
                    <a:gd name="T27" fmla="*/ 285 h 300"/>
                    <a:gd name="T28" fmla="*/ 285 w 300"/>
                    <a:gd name="T29" fmla="*/ 159 h 300"/>
                    <a:gd name="T30" fmla="*/ 300 w 300"/>
                    <a:gd name="T31" fmla="*/ 159 h 300"/>
                    <a:gd name="T32" fmla="*/ 300 w 300"/>
                    <a:gd name="T33" fmla="*/ 141 h 300"/>
                    <a:gd name="T34" fmla="*/ 258 w 300"/>
                    <a:gd name="T35" fmla="*/ 141 h 300"/>
                    <a:gd name="T36" fmla="*/ 230 w 300"/>
                    <a:gd name="T37" fmla="*/ 141 h 300"/>
                    <a:gd name="T38" fmla="*/ 159 w 300"/>
                    <a:gd name="T39" fmla="*/ 70 h 300"/>
                    <a:gd name="T40" fmla="*/ 159 w 300"/>
                    <a:gd name="T41" fmla="*/ 42 h 300"/>
                    <a:gd name="T42" fmla="*/ 258 w 300"/>
                    <a:gd name="T43" fmla="*/ 141 h 300"/>
                    <a:gd name="T44" fmla="*/ 141 w 300"/>
                    <a:gd name="T45" fmla="*/ 125 h 300"/>
                    <a:gd name="T46" fmla="*/ 125 w 300"/>
                    <a:gd name="T47" fmla="*/ 141 h 300"/>
                    <a:gd name="T48" fmla="*/ 97 w 300"/>
                    <a:gd name="T49" fmla="*/ 141 h 300"/>
                    <a:gd name="T50" fmla="*/ 141 w 300"/>
                    <a:gd name="T51" fmla="*/ 97 h 300"/>
                    <a:gd name="T52" fmla="*/ 141 w 300"/>
                    <a:gd name="T53" fmla="*/ 125 h 300"/>
                    <a:gd name="T54" fmla="*/ 125 w 300"/>
                    <a:gd name="T55" fmla="*/ 159 h 300"/>
                    <a:gd name="T56" fmla="*/ 141 w 300"/>
                    <a:gd name="T57" fmla="*/ 175 h 300"/>
                    <a:gd name="T58" fmla="*/ 141 w 300"/>
                    <a:gd name="T59" fmla="*/ 203 h 300"/>
                    <a:gd name="T60" fmla="*/ 97 w 300"/>
                    <a:gd name="T61" fmla="*/ 159 h 300"/>
                    <a:gd name="T62" fmla="*/ 125 w 300"/>
                    <a:gd name="T63" fmla="*/ 159 h 300"/>
                    <a:gd name="T64" fmla="*/ 159 w 300"/>
                    <a:gd name="T65" fmla="*/ 175 h 300"/>
                    <a:gd name="T66" fmla="*/ 175 w 300"/>
                    <a:gd name="T67" fmla="*/ 159 h 300"/>
                    <a:gd name="T68" fmla="*/ 203 w 300"/>
                    <a:gd name="T69" fmla="*/ 159 h 300"/>
                    <a:gd name="T70" fmla="*/ 159 w 300"/>
                    <a:gd name="T71" fmla="*/ 203 h 300"/>
                    <a:gd name="T72" fmla="*/ 159 w 300"/>
                    <a:gd name="T73" fmla="*/ 175 h 300"/>
                    <a:gd name="T74" fmla="*/ 175 w 300"/>
                    <a:gd name="T75" fmla="*/ 141 h 300"/>
                    <a:gd name="T76" fmla="*/ 159 w 300"/>
                    <a:gd name="T77" fmla="*/ 125 h 300"/>
                    <a:gd name="T78" fmla="*/ 159 w 300"/>
                    <a:gd name="T79" fmla="*/ 97 h 300"/>
                    <a:gd name="T80" fmla="*/ 203 w 300"/>
                    <a:gd name="T81" fmla="*/ 141 h 300"/>
                    <a:gd name="T82" fmla="*/ 175 w 300"/>
                    <a:gd name="T83" fmla="*/ 141 h 300"/>
                    <a:gd name="T84" fmla="*/ 141 w 300"/>
                    <a:gd name="T85" fmla="*/ 42 h 300"/>
                    <a:gd name="T86" fmla="*/ 141 w 300"/>
                    <a:gd name="T87" fmla="*/ 70 h 300"/>
                    <a:gd name="T88" fmla="*/ 70 w 300"/>
                    <a:gd name="T89" fmla="*/ 141 h 300"/>
                    <a:gd name="T90" fmla="*/ 42 w 300"/>
                    <a:gd name="T91" fmla="*/ 141 h 300"/>
                    <a:gd name="T92" fmla="*/ 141 w 300"/>
                    <a:gd name="T93" fmla="*/ 42 h 300"/>
                    <a:gd name="T94" fmla="*/ 42 w 300"/>
                    <a:gd name="T95" fmla="*/ 159 h 300"/>
                    <a:gd name="T96" fmla="*/ 70 w 300"/>
                    <a:gd name="T97" fmla="*/ 159 h 300"/>
                    <a:gd name="T98" fmla="*/ 141 w 300"/>
                    <a:gd name="T99" fmla="*/ 230 h 300"/>
                    <a:gd name="T100" fmla="*/ 141 w 300"/>
                    <a:gd name="T101" fmla="*/ 258 h 300"/>
                    <a:gd name="T102" fmla="*/ 42 w 300"/>
                    <a:gd name="T103" fmla="*/ 159 h 300"/>
                    <a:gd name="T104" fmla="*/ 159 w 300"/>
                    <a:gd name="T105" fmla="*/ 258 h 300"/>
                    <a:gd name="T106" fmla="*/ 159 w 300"/>
                    <a:gd name="T107" fmla="*/ 230 h 300"/>
                    <a:gd name="T108" fmla="*/ 230 w 300"/>
                    <a:gd name="T109" fmla="*/ 159 h 300"/>
                    <a:gd name="T110" fmla="*/ 258 w 300"/>
                    <a:gd name="T111" fmla="*/ 159 h 300"/>
                    <a:gd name="T112" fmla="*/ 159 w 300"/>
                    <a:gd name="T113" fmla="*/ 25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0" h="300">
                      <a:moveTo>
                        <a:pt x="300" y="141"/>
                      </a:moveTo>
                      <a:cubicBezTo>
                        <a:pt x="285" y="141"/>
                        <a:pt x="285" y="141"/>
                        <a:pt x="285" y="141"/>
                      </a:cubicBezTo>
                      <a:cubicBezTo>
                        <a:pt x="280" y="74"/>
                        <a:pt x="226" y="20"/>
                        <a:pt x="159" y="15"/>
                      </a:cubicBezTo>
                      <a:cubicBezTo>
                        <a:pt x="159" y="0"/>
                        <a:pt x="159" y="0"/>
                        <a:pt x="159" y="0"/>
                      </a:cubicBezTo>
                      <a:cubicBezTo>
                        <a:pt x="141" y="0"/>
                        <a:pt x="141" y="0"/>
                        <a:pt x="141" y="0"/>
                      </a:cubicBezTo>
                      <a:cubicBezTo>
                        <a:pt x="141" y="15"/>
                        <a:pt x="141" y="15"/>
                        <a:pt x="141" y="15"/>
                      </a:cubicBezTo>
                      <a:cubicBezTo>
                        <a:pt x="74" y="20"/>
                        <a:pt x="20" y="74"/>
                        <a:pt x="15" y="141"/>
                      </a:cubicBezTo>
                      <a:cubicBezTo>
                        <a:pt x="0" y="141"/>
                        <a:pt x="0" y="141"/>
                        <a:pt x="0" y="141"/>
                      </a:cubicBezTo>
                      <a:cubicBezTo>
                        <a:pt x="0" y="159"/>
                        <a:pt x="0" y="159"/>
                        <a:pt x="0" y="159"/>
                      </a:cubicBezTo>
                      <a:cubicBezTo>
                        <a:pt x="15" y="159"/>
                        <a:pt x="15" y="159"/>
                        <a:pt x="15" y="159"/>
                      </a:cubicBezTo>
                      <a:cubicBezTo>
                        <a:pt x="20" y="226"/>
                        <a:pt x="74" y="280"/>
                        <a:pt x="141" y="285"/>
                      </a:cubicBezTo>
                      <a:cubicBezTo>
                        <a:pt x="141" y="300"/>
                        <a:pt x="141" y="300"/>
                        <a:pt x="141" y="300"/>
                      </a:cubicBezTo>
                      <a:cubicBezTo>
                        <a:pt x="159" y="300"/>
                        <a:pt x="159" y="300"/>
                        <a:pt x="159" y="300"/>
                      </a:cubicBezTo>
                      <a:cubicBezTo>
                        <a:pt x="159" y="285"/>
                        <a:pt x="159" y="285"/>
                        <a:pt x="159" y="285"/>
                      </a:cubicBezTo>
                      <a:cubicBezTo>
                        <a:pt x="226" y="280"/>
                        <a:pt x="280" y="226"/>
                        <a:pt x="285" y="159"/>
                      </a:cubicBezTo>
                      <a:cubicBezTo>
                        <a:pt x="300" y="159"/>
                        <a:pt x="300" y="159"/>
                        <a:pt x="300" y="159"/>
                      </a:cubicBezTo>
                      <a:lnTo>
                        <a:pt x="300" y="141"/>
                      </a:lnTo>
                      <a:close/>
                      <a:moveTo>
                        <a:pt x="258" y="141"/>
                      </a:moveTo>
                      <a:cubicBezTo>
                        <a:pt x="230" y="141"/>
                        <a:pt x="230" y="141"/>
                        <a:pt x="230" y="141"/>
                      </a:cubicBezTo>
                      <a:cubicBezTo>
                        <a:pt x="226" y="103"/>
                        <a:pt x="197" y="74"/>
                        <a:pt x="159" y="70"/>
                      </a:cubicBezTo>
                      <a:cubicBezTo>
                        <a:pt x="159" y="42"/>
                        <a:pt x="159" y="42"/>
                        <a:pt x="159" y="42"/>
                      </a:cubicBezTo>
                      <a:cubicBezTo>
                        <a:pt x="211" y="47"/>
                        <a:pt x="253" y="89"/>
                        <a:pt x="258" y="141"/>
                      </a:cubicBezTo>
                      <a:close/>
                      <a:moveTo>
                        <a:pt x="141" y="125"/>
                      </a:moveTo>
                      <a:cubicBezTo>
                        <a:pt x="133" y="127"/>
                        <a:pt x="127" y="133"/>
                        <a:pt x="125" y="141"/>
                      </a:cubicBezTo>
                      <a:cubicBezTo>
                        <a:pt x="97" y="141"/>
                        <a:pt x="97" y="141"/>
                        <a:pt x="97" y="141"/>
                      </a:cubicBezTo>
                      <a:cubicBezTo>
                        <a:pt x="101" y="118"/>
                        <a:pt x="118" y="101"/>
                        <a:pt x="141" y="97"/>
                      </a:cubicBezTo>
                      <a:lnTo>
                        <a:pt x="141" y="125"/>
                      </a:lnTo>
                      <a:close/>
                      <a:moveTo>
                        <a:pt x="125" y="159"/>
                      </a:moveTo>
                      <a:cubicBezTo>
                        <a:pt x="127" y="167"/>
                        <a:pt x="133" y="173"/>
                        <a:pt x="141" y="175"/>
                      </a:cubicBezTo>
                      <a:cubicBezTo>
                        <a:pt x="141" y="203"/>
                        <a:pt x="141" y="203"/>
                        <a:pt x="141" y="203"/>
                      </a:cubicBezTo>
                      <a:cubicBezTo>
                        <a:pt x="118" y="199"/>
                        <a:pt x="101" y="182"/>
                        <a:pt x="97" y="159"/>
                      </a:cubicBezTo>
                      <a:lnTo>
                        <a:pt x="125" y="159"/>
                      </a:lnTo>
                      <a:close/>
                      <a:moveTo>
                        <a:pt x="159" y="175"/>
                      </a:moveTo>
                      <a:cubicBezTo>
                        <a:pt x="167" y="173"/>
                        <a:pt x="173" y="167"/>
                        <a:pt x="175" y="159"/>
                      </a:cubicBezTo>
                      <a:cubicBezTo>
                        <a:pt x="203" y="159"/>
                        <a:pt x="203" y="159"/>
                        <a:pt x="203" y="159"/>
                      </a:cubicBezTo>
                      <a:cubicBezTo>
                        <a:pt x="199" y="182"/>
                        <a:pt x="182" y="199"/>
                        <a:pt x="159" y="203"/>
                      </a:cubicBezTo>
                      <a:lnTo>
                        <a:pt x="159" y="175"/>
                      </a:lnTo>
                      <a:close/>
                      <a:moveTo>
                        <a:pt x="175" y="141"/>
                      </a:moveTo>
                      <a:cubicBezTo>
                        <a:pt x="173" y="133"/>
                        <a:pt x="167" y="127"/>
                        <a:pt x="159" y="125"/>
                      </a:cubicBezTo>
                      <a:cubicBezTo>
                        <a:pt x="159" y="97"/>
                        <a:pt x="159" y="97"/>
                        <a:pt x="159" y="97"/>
                      </a:cubicBezTo>
                      <a:cubicBezTo>
                        <a:pt x="182" y="101"/>
                        <a:pt x="199" y="118"/>
                        <a:pt x="203" y="141"/>
                      </a:cubicBezTo>
                      <a:lnTo>
                        <a:pt x="175" y="141"/>
                      </a:lnTo>
                      <a:close/>
                      <a:moveTo>
                        <a:pt x="141" y="42"/>
                      </a:moveTo>
                      <a:cubicBezTo>
                        <a:pt x="141" y="70"/>
                        <a:pt x="141" y="70"/>
                        <a:pt x="141" y="70"/>
                      </a:cubicBezTo>
                      <a:cubicBezTo>
                        <a:pt x="103" y="74"/>
                        <a:pt x="74" y="103"/>
                        <a:pt x="70" y="141"/>
                      </a:cubicBezTo>
                      <a:cubicBezTo>
                        <a:pt x="42" y="141"/>
                        <a:pt x="42" y="141"/>
                        <a:pt x="42" y="141"/>
                      </a:cubicBezTo>
                      <a:cubicBezTo>
                        <a:pt x="47" y="89"/>
                        <a:pt x="89" y="47"/>
                        <a:pt x="141" y="42"/>
                      </a:cubicBezTo>
                      <a:close/>
                      <a:moveTo>
                        <a:pt x="42" y="159"/>
                      </a:moveTo>
                      <a:cubicBezTo>
                        <a:pt x="70" y="159"/>
                        <a:pt x="70" y="159"/>
                        <a:pt x="70" y="159"/>
                      </a:cubicBezTo>
                      <a:cubicBezTo>
                        <a:pt x="74" y="197"/>
                        <a:pt x="103" y="226"/>
                        <a:pt x="141" y="230"/>
                      </a:cubicBezTo>
                      <a:cubicBezTo>
                        <a:pt x="141" y="258"/>
                        <a:pt x="141" y="258"/>
                        <a:pt x="141" y="258"/>
                      </a:cubicBezTo>
                      <a:cubicBezTo>
                        <a:pt x="89" y="253"/>
                        <a:pt x="47" y="211"/>
                        <a:pt x="42" y="159"/>
                      </a:cubicBezTo>
                      <a:close/>
                      <a:moveTo>
                        <a:pt x="159" y="258"/>
                      </a:moveTo>
                      <a:cubicBezTo>
                        <a:pt x="159" y="230"/>
                        <a:pt x="159" y="230"/>
                        <a:pt x="159" y="230"/>
                      </a:cubicBezTo>
                      <a:cubicBezTo>
                        <a:pt x="197" y="226"/>
                        <a:pt x="226" y="197"/>
                        <a:pt x="230" y="159"/>
                      </a:cubicBezTo>
                      <a:cubicBezTo>
                        <a:pt x="258" y="159"/>
                        <a:pt x="258" y="159"/>
                        <a:pt x="258" y="159"/>
                      </a:cubicBezTo>
                      <a:cubicBezTo>
                        <a:pt x="253" y="211"/>
                        <a:pt x="211" y="253"/>
                        <a:pt x="159" y="2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200"/>
                </a:p>
              </p:txBody>
            </p:sp>
          </p:grpSp>
          <p:grpSp>
            <p:nvGrpSpPr>
              <p:cNvPr id="157" name="Group 156"/>
              <p:cNvGrpSpPr/>
              <p:nvPr/>
            </p:nvGrpSpPr>
            <p:grpSpPr>
              <a:xfrm>
                <a:off x="9065196" y="1312215"/>
                <a:ext cx="2688336" cy="1737359"/>
                <a:chOff x="6264422" y="1315329"/>
                <a:chExt cx="2678656" cy="1725473"/>
              </a:xfrm>
            </p:grpSpPr>
            <p:sp>
              <p:nvSpPr>
                <p:cNvPr id="158" name="Rectangle 157"/>
                <p:cNvSpPr>
                  <a:spLocks noChangeAspect="1"/>
                </p:cNvSpPr>
                <p:nvPr>
                  <p:custDataLst>
                    <p:tags r:id="rId1"/>
                  </p:custDataLst>
                </p:nvPr>
              </p:nvSpPr>
              <p:spPr bwMode="auto">
                <a:xfrm>
                  <a:off x="6264422" y="1315329"/>
                  <a:ext cx="2678656" cy="1725473"/>
                </a:xfrm>
                <a:prstGeom prst="rect">
                  <a:avLst/>
                </a:prstGeom>
                <a:solidFill>
                  <a:srgbClr val="FF8B00"/>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60947" rIns="121893" bIns="60947" numCol="1" rtlCol="0" anchor="b" anchorCtr="0" compatLnSpc="1">
                  <a:prstTxWarp prst="textNoShape">
                    <a:avLst/>
                  </a:prstTxWarp>
                  <a:noAutofit/>
                </a:bodyPr>
                <a:lstStyle/>
                <a:p>
                  <a:pPr algn="ctr" defTabSz="914083" fontAlgn="base">
                    <a:lnSpc>
                      <a:spcPct val="90000"/>
                    </a:lnSpc>
                    <a:spcBef>
                      <a:spcPts val="630"/>
                    </a:spcBef>
                    <a:spcAft>
                      <a:spcPct val="0"/>
                    </a:spcAft>
                    <a:buClr>
                      <a:srgbClr val="FFFF99"/>
                    </a:buClr>
                    <a:buSzPct val="120000"/>
                  </a:pPr>
                  <a:endParaRPr lang="en-US" dirty="0" smtClean="0">
                    <a:ln>
                      <a:solidFill>
                        <a:srgbClr val="FFFFFF">
                          <a:alpha val="0"/>
                        </a:srgbClr>
                      </a:solidFill>
                    </a:ln>
                    <a:solidFill>
                      <a:srgbClr val="FFFFFF">
                        <a:alpha val="99000"/>
                      </a:srgbClr>
                    </a:solidFill>
                    <a:cs typeface="Segoe UI" pitchFamily="34" charset="0"/>
                  </a:endParaRPr>
                </a:p>
                <a:p>
                  <a:pPr defTabSz="914023" fontAlgn="base">
                    <a:spcBef>
                      <a:spcPct val="0"/>
                    </a:spcBef>
                    <a:spcAft>
                      <a:spcPct val="0"/>
                    </a:spcAft>
                    <a:defRPr/>
                  </a:pPr>
                  <a:r>
                    <a:rPr lang="en-US" sz="2000" kern="0" dirty="0">
                      <a:solidFill>
                        <a:srgbClr val="FFFFFF">
                          <a:alpha val="99000"/>
                        </a:srgbClr>
                      </a:solidFill>
                    </a:rPr>
                    <a:t>DAC</a:t>
                  </a:r>
                  <a:endParaRPr lang="en-US" sz="2000" kern="0" dirty="0">
                    <a:solidFill>
                      <a:srgbClr val="FFFFFF">
                        <a:alpha val="99000"/>
                      </a:srgbClr>
                    </a:solidFill>
                  </a:endParaRPr>
                </a:p>
              </p:txBody>
            </p:sp>
            <p:grpSp>
              <p:nvGrpSpPr>
                <p:cNvPr id="159" name="Group 158"/>
                <p:cNvGrpSpPr>
                  <a:grpSpLocks noChangeAspect="1"/>
                </p:cNvGrpSpPr>
                <p:nvPr/>
              </p:nvGrpSpPr>
              <p:grpSpPr>
                <a:xfrm>
                  <a:off x="7225894" y="1638148"/>
                  <a:ext cx="59636" cy="184077"/>
                  <a:chOff x="-1616075" y="2730500"/>
                  <a:chExt cx="258763" cy="798512"/>
                </a:xfrm>
                <a:solidFill>
                  <a:schemeClr val="bg1"/>
                </a:solidFill>
              </p:grpSpPr>
              <p:sp>
                <p:nvSpPr>
                  <p:cNvPr id="160" name="Freeform 73"/>
                  <p:cNvSpPr>
                    <a:spLocks/>
                  </p:cNvSpPr>
                  <p:nvPr/>
                </p:nvSpPr>
                <p:spPr bwMode="auto">
                  <a:xfrm>
                    <a:off x="-1495425" y="2730500"/>
                    <a:ext cx="138113" cy="52387"/>
                  </a:xfrm>
                  <a:custGeom>
                    <a:avLst/>
                    <a:gdLst>
                      <a:gd name="T0" fmla="*/ 35 w 37"/>
                      <a:gd name="T1" fmla="*/ 14 h 14"/>
                      <a:gd name="T2" fmla="*/ 37 w 37"/>
                      <a:gd name="T3" fmla="*/ 12 h 14"/>
                      <a:gd name="T4" fmla="*/ 36 w 37"/>
                      <a:gd name="T5" fmla="*/ 9 h 14"/>
                      <a:gd name="T6" fmla="*/ 29 w 37"/>
                      <a:gd name="T7" fmla="*/ 1 h 14"/>
                      <a:gd name="T8" fmla="*/ 27 w 37"/>
                      <a:gd name="T9" fmla="*/ 0 h 14"/>
                      <a:gd name="T10" fmla="*/ 27 w 37"/>
                      <a:gd name="T11" fmla="*/ 0 h 14"/>
                      <a:gd name="T12" fmla="*/ 27 w 37"/>
                      <a:gd name="T13" fmla="*/ 0 h 14"/>
                      <a:gd name="T14" fmla="*/ 26 w 37"/>
                      <a:gd name="T15" fmla="*/ 0 h 14"/>
                      <a:gd name="T16" fmla="*/ 26 w 37"/>
                      <a:gd name="T17" fmla="*/ 0 h 14"/>
                      <a:gd name="T18" fmla="*/ 25 w 37"/>
                      <a:gd name="T19" fmla="*/ 0 h 14"/>
                      <a:gd name="T20" fmla="*/ 25 w 37"/>
                      <a:gd name="T21" fmla="*/ 0 h 14"/>
                      <a:gd name="T22" fmla="*/ 25 w 37"/>
                      <a:gd name="T23" fmla="*/ 0 h 14"/>
                      <a:gd name="T24" fmla="*/ 25 w 37"/>
                      <a:gd name="T25" fmla="*/ 0 h 14"/>
                      <a:gd name="T26" fmla="*/ 24 w 37"/>
                      <a:gd name="T27" fmla="*/ 0 h 14"/>
                      <a:gd name="T28" fmla="*/ 24 w 37"/>
                      <a:gd name="T29" fmla="*/ 0 h 14"/>
                      <a:gd name="T30" fmla="*/ 23 w 37"/>
                      <a:gd name="T31" fmla="*/ 0 h 14"/>
                      <a:gd name="T32" fmla="*/ 23 w 37"/>
                      <a:gd name="T33" fmla="*/ 0 h 14"/>
                      <a:gd name="T34" fmla="*/ 0 w 37"/>
                      <a:gd name="T35" fmla="*/ 9 h 14"/>
                      <a:gd name="T36" fmla="*/ 35 w 37"/>
                      <a:gd name="T3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14">
                        <a:moveTo>
                          <a:pt x="35" y="14"/>
                        </a:moveTo>
                        <a:cubicBezTo>
                          <a:pt x="37" y="14"/>
                          <a:pt x="37" y="13"/>
                          <a:pt x="37" y="12"/>
                        </a:cubicBezTo>
                        <a:cubicBezTo>
                          <a:pt x="37" y="11"/>
                          <a:pt x="36" y="10"/>
                          <a:pt x="36" y="9"/>
                        </a:cubicBezTo>
                        <a:cubicBezTo>
                          <a:pt x="33" y="6"/>
                          <a:pt x="31" y="4"/>
                          <a:pt x="29" y="1"/>
                        </a:cubicBezTo>
                        <a:cubicBezTo>
                          <a:pt x="27" y="0"/>
                          <a:pt x="27" y="0"/>
                          <a:pt x="27" y="0"/>
                        </a:cubicBezTo>
                        <a:cubicBezTo>
                          <a:pt x="27" y="0"/>
                          <a:pt x="27" y="0"/>
                          <a:pt x="27" y="0"/>
                        </a:cubicBezTo>
                        <a:cubicBezTo>
                          <a:pt x="27" y="0"/>
                          <a:pt x="27" y="0"/>
                          <a:pt x="27" y="0"/>
                        </a:cubicBezTo>
                        <a:cubicBezTo>
                          <a:pt x="27" y="0"/>
                          <a:pt x="26" y="0"/>
                          <a:pt x="26" y="0"/>
                        </a:cubicBezTo>
                        <a:cubicBezTo>
                          <a:pt x="26" y="0"/>
                          <a:pt x="26" y="0"/>
                          <a:pt x="26" y="0"/>
                        </a:cubicBezTo>
                        <a:cubicBezTo>
                          <a:pt x="26" y="0"/>
                          <a:pt x="26" y="0"/>
                          <a:pt x="25" y="0"/>
                        </a:cubicBezTo>
                        <a:cubicBezTo>
                          <a:pt x="25" y="0"/>
                          <a:pt x="25" y="0"/>
                          <a:pt x="25" y="0"/>
                        </a:cubicBezTo>
                        <a:cubicBezTo>
                          <a:pt x="25" y="0"/>
                          <a:pt x="25" y="0"/>
                          <a:pt x="25" y="0"/>
                        </a:cubicBezTo>
                        <a:cubicBezTo>
                          <a:pt x="25" y="0"/>
                          <a:pt x="25" y="0"/>
                          <a:pt x="25" y="0"/>
                        </a:cubicBezTo>
                        <a:cubicBezTo>
                          <a:pt x="25" y="0"/>
                          <a:pt x="25" y="0"/>
                          <a:pt x="24" y="0"/>
                        </a:cubicBezTo>
                        <a:cubicBezTo>
                          <a:pt x="24" y="0"/>
                          <a:pt x="24" y="0"/>
                          <a:pt x="24" y="0"/>
                        </a:cubicBezTo>
                        <a:cubicBezTo>
                          <a:pt x="23" y="0"/>
                          <a:pt x="23" y="0"/>
                          <a:pt x="23" y="0"/>
                        </a:cubicBezTo>
                        <a:cubicBezTo>
                          <a:pt x="23" y="0"/>
                          <a:pt x="23" y="0"/>
                          <a:pt x="23" y="0"/>
                        </a:cubicBezTo>
                        <a:cubicBezTo>
                          <a:pt x="0" y="9"/>
                          <a:pt x="0" y="9"/>
                          <a:pt x="0" y="9"/>
                        </a:cubicBezTo>
                        <a:lnTo>
                          <a:pt x="35"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74"/>
                  <p:cNvSpPr>
                    <a:spLocks/>
                  </p:cNvSpPr>
                  <p:nvPr/>
                </p:nvSpPr>
                <p:spPr bwMode="auto">
                  <a:xfrm>
                    <a:off x="-1616075" y="3479800"/>
                    <a:ext cx="104775" cy="49212"/>
                  </a:xfrm>
                  <a:custGeom>
                    <a:avLst/>
                    <a:gdLst>
                      <a:gd name="T0" fmla="*/ 0 w 28"/>
                      <a:gd name="T1" fmla="*/ 10 h 13"/>
                      <a:gd name="T2" fmla="*/ 0 w 28"/>
                      <a:gd name="T3" fmla="*/ 13 h 13"/>
                      <a:gd name="T4" fmla="*/ 28 w 28"/>
                      <a:gd name="T5" fmla="*/ 4 h 13"/>
                      <a:gd name="T6" fmla="*/ 28 w 28"/>
                      <a:gd name="T7" fmla="*/ 0 h 13"/>
                      <a:gd name="T8" fmla="*/ 0 w 28"/>
                      <a:gd name="T9" fmla="*/ 9 h 13"/>
                      <a:gd name="T10" fmla="*/ 0 w 28"/>
                      <a:gd name="T11" fmla="*/ 10 h 13"/>
                    </a:gdLst>
                    <a:ahLst/>
                    <a:cxnLst>
                      <a:cxn ang="0">
                        <a:pos x="T0" y="T1"/>
                      </a:cxn>
                      <a:cxn ang="0">
                        <a:pos x="T2" y="T3"/>
                      </a:cxn>
                      <a:cxn ang="0">
                        <a:pos x="T4" y="T5"/>
                      </a:cxn>
                      <a:cxn ang="0">
                        <a:pos x="T6" y="T7"/>
                      </a:cxn>
                      <a:cxn ang="0">
                        <a:pos x="T8" y="T9"/>
                      </a:cxn>
                      <a:cxn ang="0">
                        <a:pos x="T10" y="T11"/>
                      </a:cxn>
                    </a:cxnLst>
                    <a:rect l="0" t="0" r="r" b="b"/>
                    <a:pathLst>
                      <a:path w="28" h="13">
                        <a:moveTo>
                          <a:pt x="0" y="10"/>
                        </a:moveTo>
                        <a:cubicBezTo>
                          <a:pt x="0" y="13"/>
                          <a:pt x="0" y="13"/>
                          <a:pt x="0" y="13"/>
                        </a:cubicBezTo>
                        <a:cubicBezTo>
                          <a:pt x="28" y="4"/>
                          <a:pt x="28" y="4"/>
                          <a:pt x="28" y="4"/>
                        </a:cubicBezTo>
                        <a:cubicBezTo>
                          <a:pt x="28" y="0"/>
                          <a:pt x="28" y="0"/>
                          <a:pt x="28" y="0"/>
                        </a:cubicBezTo>
                        <a:cubicBezTo>
                          <a:pt x="0" y="9"/>
                          <a:pt x="0" y="9"/>
                          <a:pt x="0" y="9"/>
                        </a:cubicBezTo>
                        <a:cubicBezTo>
                          <a:pt x="0" y="9"/>
                          <a:pt x="0" y="9"/>
                          <a:pt x="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77"/>
                  <p:cNvSpPr>
                    <a:spLocks/>
                  </p:cNvSpPr>
                  <p:nvPr/>
                </p:nvSpPr>
                <p:spPr bwMode="auto">
                  <a:xfrm>
                    <a:off x="-1470025" y="3443288"/>
                    <a:ext cx="11113" cy="36512"/>
                  </a:xfrm>
                  <a:custGeom>
                    <a:avLst/>
                    <a:gdLst>
                      <a:gd name="T0" fmla="*/ 2 w 3"/>
                      <a:gd name="T1" fmla="*/ 10 h 10"/>
                      <a:gd name="T2" fmla="*/ 3 w 3"/>
                      <a:gd name="T3" fmla="*/ 10 h 10"/>
                      <a:gd name="T4" fmla="*/ 3 w 3"/>
                      <a:gd name="T5" fmla="*/ 0 h 10"/>
                      <a:gd name="T6" fmla="*/ 2 w 3"/>
                      <a:gd name="T7" fmla="*/ 0 h 10"/>
                      <a:gd name="T8" fmla="*/ 2 w 3"/>
                      <a:gd name="T9" fmla="*/ 0 h 10"/>
                      <a:gd name="T10" fmla="*/ 1 w 3"/>
                      <a:gd name="T11" fmla="*/ 0 h 10"/>
                      <a:gd name="T12" fmla="*/ 0 w 3"/>
                      <a:gd name="T13" fmla="*/ 0 h 10"/>
                      <a:gd name="T14" fmla="*/ 2 w 3"/>
                      <a:gd name="T15" fmla="*/ 7 h 10"/>
                      <a:gd name="T16" fmla="*/ 2 w 3"/>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0">
                        <a:moveTo>
                          <a:pt x="2" y="10"/>
                        </a:moveTo>
                        <a:cubicBezTo>
                          <a:pt x="3" y="10"/>
                          <a:pt x="3" y="10"/>
                          <a:pt x="3" y="10"/>
                        </a:cubicBezTo>
                        <a:cubicBezTo>
                          <a:pt x="3" y="0"/>
                          <a:pt x="3" y="0"/>
                          <a:pt x="3" y="0"/>
                        </a:cubicBezTo>
                        <a:cubicBezTo>
                          <a:pt x="2" y="0"/>
                          <a:pt x="2" y="0"/>
                          <a:pt x="2" y="0"/>
                        </a:cubicBezTo>
                        <a:cubicBezTo>
                          <a:pt x="2" y="0"/>
                          <a:pt x="2" y="0"/>
                          <a:pt x="2" y="0"/>
                        </a:cubicBezTo>
                        <a:cubicBezTo>
                          <a:pt x="2" y="0"/>
                          <a:pt x="1" y="0"/>
                          <a:pt x="1" y="0"/>
                        </a:cubicBezTo>
                        <a:cubicBezTo>
                          <a:pt x="0" y="0"/>
                          <a:pt x="0" y="0"/>
                          <a:pt x="0" y="0"/>
                        </a:cubicBezTo>
                        <a:cubicBezTo>
                          <a:pt x="1" y="2"/>
                          <a:pt x="2" y="4"/>
                          <a:pt x="2" y="7"/>
                        </a:cubicBezTo>
                        <a:lnTo>
                          <a:pt x="2"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sp>
          <p:nvSpPr>
            <p:cNvPr id="152" name="Freeform 79"/>
            <p:cNvSpPr>
              <a:spLocks/>
            </p:cNvSpPr>
            <p:nvPr/>
          </p:nvSpPr>
          <p:spPr bwMode="black">
            <a:xfrm>
              <a:off x="9218612" y="1793054"/>
              <a:ext cx="914400" cy="321396"/>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200"/>
            </a:p>
          </p:txBody>
        </p:sp>
        <p:sp>
          <p:nvSpPr>
            <p:cNvPr id="153" name="Freeform 80"/>
            <p:cNvSpPr>
              <a:spLocks noEditPoints="1"/>
            </p:cNvSpPr>
            <p:nvPr/>
          </p:nvSpPr>
          <p:spPr bwMode="black">
            <a:xfrm>
              <a:off x="9218612" y="1447800"/>
              <a:ext cx="914400" cy="318589"/>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200"/>
            </a:p>
          </p:txBody>
        </p:sp>
      </p:grpSp>
      <p:sp>
        <p:nvSpPr>
          <p:cNvPr id="91"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92"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6"/>
              </a:rPr>
              <a:t>www.rapidbbs.cn</a:t>
            </a:r>
            <a:endParaRPr lang="zh-CN" altLang="en-US" sz="1200" b="0">
              <a:latin typeface="Arial" charset="0"/>
              <a:ea typeface="ＭＳ Ｐゴシック" pitchFamily="34" charset="-128"/>
            </a:endParaRPr>
          </a:p>
        </p:txBody>
      </p:sp>
      <p:pic>
        <p:nvPicPr>
          <p:cNvPr id="93" name="Picture 2">
            <a:hlinkClick r:id="rId16"/>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585409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1" y="857250"/>
            <a:ext cx="8753373" cy="4198299"/>
            <a:chOff x="-52451" y="879902"/>
            <a:chExt cx="12760594" cy="6121843"/>
          </a:xfrm>
        </p:grpSpPr>
        <p:pic>
          <p:nvPicPr>
            <p:cNvPr id="3" name="Picture 2"/>
            <p:cNvPicPr>
              <a:picLocks noChangeAspect="1"/>
            </p:cNvPicPr>
            <p:nvPr/>
          </p:nvPicPr>
          <p:blipFill>
            <a:blip r:embed="rId2"/>
            <a:stretch>
              <a:fillRect/>
            </a:stretch>
          </p:blipFill>
          <p:spPr>
            <a:xfrm>
              <a:off x="506231" y="3826968"/>
              <a:ext cx="4740308" cy="2666420"/>
            </a:xfrm>
            <a:prstGeom prst="rect">
              <a:avLst/>
            </a:prstGeom>
            <a:noFill/>
            <a:ln>
              <a:noFill/>
            </a:ln>
          </p:spPr>
        </p:pic>
        <p:pic>
          <p:nvPicPr>
            <p:cNvPr id="4" name="Picture 3"/>
            <p:cNvPicPr>
              <a:picLocks noChangeAspect="1"/>
            </p:cNvPicPr>
            <p:nvPr/>
          </p:nvPicPr>
          <p:blipFill>
            <a:blip r:embed="rId3"/>
            <a:stretch>
              <a:fillRect/>
            </a:stretch>
          </p:blipFill>
          <p:spPr>
            <a:xfrm>
              <a:off x="491083" y="879902"/>
              <a:ext cx="4755456" cy="2674945"/>
            </a:xfrm>
            <a:prstGeom prst="rect">
              <a:avLst/>
            </a:prstGeom>
            <a:noFill/>
            <a:ln>
              <a:noFill/>
            </a:ln>
          </p:spPr>
        </p:pic>
        <p:sp>
          <p:nvSpPr>
            <p:cNvPr id="5" name="Light Blue"/>
            <p:cNvSpPr/>
            <p:nvPr/>
          </p:nvSpPr>
          <p:spPr bwMode="auto">
            <a:xfrm>
              <a:off x="5378132" y="881523"/>
              <a:ext cx="1828800" cy="1262683"/>
            </a:xfrm>
            <a:prstGeom prst="roundRect">
              <a:avLst>
                <a:gd name="adj" fmla="val 0"/>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40" tIns="91440" rIns="45720" bIns="91440" numCol="1" rtlCol="0" anchor="ctr" anchorCtr="0" compatLnSpc="1">
              <a:prstTxWarp prst="textNoShape">
                <a:avLst/>
              </a:prstTxWarp>
            </a:bodyPr>
            <a:lstStyle/>
            <a:p>
              <a:pPr defTabSz="685666"/>
              <a:r>
                <a:rPr lang="en-US" sz="1300" b="1" dirty="0">
                  <a:gradFill>
                    <a:gsLst>
                      <a:gs pos="100000">
                        <a:schemeClr val="tx1"/>
                      </a:gs>
                      <a:gs pos="0">
                        <a:schemeClr val="tx1"/>
                      </a:gs>
                    </a:gsLst>
                    <a:lin ang="5400000" scaled="1"/>
                  </a:gradFill>
                  <a:latin typeface="Segoe UI Light" pitchFamily="34" charset="0"/>
                  <a:ea typeface="Segoe UI" pitchFamily="34" charset="0"/>
                  <a:cs typeface="Segoe UI" pitchFamily="34" charset="0"/>
                </a:rPr>
                <a:t>Consumerization Trend</a:t>
              </a:r>
            </a:p>
          </p:txBody>
        </p:sp>
        <p:sp>
          <p:nvSpPr>
            <p:cNvPr id="7" name="Light Blue"/>
            <p:cNvSpPr/>
            <p:nvPr/>
          </p:nvSpPr>
          <p:spPr bwMode="auto">
            <a:xfrm>
              <a:off x="5378132" y="2292164"/>
              <a:ext cx="1828800" cy="1262683"/>
            </a:xfrm>
            <a:prstGeom prst="roundRect">
              <a:avLst>
                <a:gd name="adj" fmla="val 0"/>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40" tIns="91440" rIns="45720" bIns="91440" numCol="1" rtlCol="0" anchor="ctr" anchorCtr="0" compatLnSpc="1">
              <a:prstTxWarp prst="textNoShape">
                <a:avLst/>
              </a:prstTxWarp>
            </a:bodyPr>
            <a:lstStyle/>
            <a:p>
              <a:pPr defTabSz="685666"/>
              <a:r>
                <a:rPr lang="en-US" sz="1300" b="1" dirty="0">
                  <a:gradFill>
                    <a:gsLst>
                      <a:gs pos="100000">
                        <a:schemeClr val="tx1"/>
                      </a:gs>
                      <a:gs pos="0">
                        <a:schemeClr val="tx1"/>
                      </a:gs>
                    </a:gsLst>
                    <a:lin ang="5400000" scaled="1"/>
                  </a:gradFill>
                  <a:latin typeface="Segoe UI Light" pitchFamily="34" charset="0"/>
                  <a:ea typeface="Segoe UI" pitchFamily="34" charset="0"/>
                  <a:cs typeface="Segoe UI" pitchFamily="34" charset="0"/>
                </a:rPr>
                <a:t>Product </a:t>
              </a:r>
              <a:r>
                <a:rPr lang="en-US" sz="1300" b="1" dirty="0">
                  <a:gradFill>
                    <a:gsLst>
                      <a:gs pos="100000">
                        <a:schemeClr val="tx1"/>
                      </a:gs>
                      <a:gs pos="0">
                        <a:schemeClr val="tx1"/>
                      </a:gs>
                    </a:gsLst>
                    <a:lin ang="5400000" scaled="1"/>
                  </a:gradFill>
                  <a:latin typeface="Segoe UI Light" pitchFamily="34" charset="0"/>
                  <a:ea typeface="Segoe UI" pitchFamily="34" charset="0"/>
                  <a:cs typeface="Segoe UI" pitchFamily="34" charset="0"/>
                </a:rPr>
                <a:t/>
              </a:r>
              <a:br>
                <a:rPr lang="en-US" sz="1300" b="1" dirty="0">
                  <a:gradFill>
                    <a:gsLst>
                      <a:gs pos="100000">
                        <a:schemeClr val="tx1"/>
                      </a:gs>
                      <a:gs pos="0">
                        <a:schemeClr val="tx1"/>
                      </a:gs>
                    </a:gsLst>
                    <a:lin ang="5400000" scaled="1"/>
                  </a:gradFill>
                  <a:latin typeface="Segoe UI Light" pitchFamily="34" charset="0"/>
                  <a:ea typeface="Segoe UI" pitchFamily="34" charset="0"/>
                  <a:cs typeface="Segoe UI" pitchFamily="34" charset="0"/>
                </a:rPr>
              </a:br>
              <a:r>
                <a:rPr lang="en-US" sz="1300" b="1" dirty="0">
                  <a:gradFill>
                    <a:gsLst>
                      <a:gs pos="100000">
                        <a:schemeClr val="tx1"/>
                      </a:gs>
                      <a:gs pos="0">
                        <a:schemeClr val="tx1"/>
                      </a:gs>
                    </a:gsLst>
                    <a:lin ang="5400000" scaled="1"/>
                  </a:gradFill>
                  <a:latin typeface="Segoe UI Light" pitchFamily="34" charset="0"/>
                  <a:ea typeface="Segoe UI" pitchFamily="34" charset="0"/>
                  <a:cs typeface="Segoe UI" pitchFamily="34" charset="0"/>
                </a:rPr>
                <a:t>News</a:t>
              </a:r>
              <a:endParaRPr lang="en-US" sz="1300" b="1" dirty="0">
                <a:gradFill>
                  <a:gsLst>
                    <a:gs pos="100000">
                      <a:schemeClr val="tx1"/>
                    </a:gs>
                    <a:gs pos="0">
                      <a:schemeClr val="tx1"/>
                    </a:gs>
                  </a:gsLst>
                  <a:lin ang="5400000" scaled="1"/>
                </a:gradFill>
                <a:latin typeface="Segoe UI Light" pitchFamily="34" charset="0"/>
                <a:ea typeface="Segoe UI" pitchFamily="34" charset="0"/>
                <a:cs typeface="Segoe UI" pitchFamily="34" charset="0"/>
              </a:endParaRPr>
            </a:p>
          </p:txBody>
        </p:sp>
        <p:sp>
          <p:nvSpPr>
            <p:cNvPr id="9" name="Light Blue"/>
            <p:cNvSpPr/>
            <p:nvPr/>
          </p:nvSpPr>
          <p:spPr bwMode="auto">
            <a:xfrm>
              <a:off x="7330145" y="879902"/>
              <a:ext cx="5377996" cy="1262682"/>
            </a:xfrm>
            <a:prstGeom prst="roundRect">
              <a:avLst>
                <a:gd name="adj" fmla="val 0"/>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40" tIns="91440" rIns="45720" bIns="91440" numCol="1" rtlCol="0" anchor="ctr" anchorCtr="0" compatLnSpc="1">
              <a:prstTxWarp prst="textNoShape">
                <a:avLst/>
              </a:prstTxWarp>
            </a:bodyPr>
            <a:lstStyle/>
            <a:p>
              <a:pPr marL="130986" indent="-130986" defTabSz="685666">
                <a:lnSpc>
                  <a:spcPct val="90000"/>
                </a:lnSpc>
                <a:spcBef>
                  <a:spcPts val="675"/>
                </a:spcBef>
                <a:buFont typeface="Arial" pitchFamily="34" charset="0"/>
                <a:buChar char="•"/>
              </a:pPr>
              <a:r>
                <a:rPr lang="en-US" sz="1100" dirty="0">
                  <a:gradFill>
                    <a:gsLst>
                      <a:gs pos="100000">
                        <a:schemeClr val="tx1"/>
                      </a:gs>
                      <a:gs pos="0">
                        <a:schemeClr val="tx1"/>
                      </a:gs>
                    </a:gsLst>
                    <a:lin ang="5400000" scaled="1"/>
                  </a:gradFill>
                  <a:ea typeface="Segoe UI" pitchFamily="34" charset="0"/>
                  <a:cs typeface="Segoe UI" pitchFamily="34" charset="0"/>
                </a:rPr>
                <a:t>In 2012, an estimated 2 billion people will have mobile connectivity</a:t>
              </a:r>
            </a:p>
            <a:p>
              <a:pPr marL="130986" indent="-130986" defTabSz="685666">
                <a:lnSpc>
                  <a:spcPct val="90000"/>
                </a:lnSpc>
                <a:spcBef>
                  <a:spcPts val="675"/>
                </a:spcBef>
                <a:buFont typeface="Arial" pitchFamily="34" charset="0"/>
                <a:buChar char="•"/>
              </a:pPr>
              <a:r>
                <a:rPr lang="en-US" sz="1100" dirty="0">
                  <a:gradFill>
                    <a:gsLst>
                      <a:gs pos="100000">
                        <a:schemeClr val="tx1"/>
                      </a:gs>
                      <a:gs pos="0">
                        <a:schemeClr val="tx1"/>
                      </a:gs>
                    </a:gsLst>
                    <a:lin ang="5400000" scaled="1"/>
                  </a:gradFill>
                  <a:ea typeface="Segoe UI" pitchFamily="34" charset="0"/>
                  <a:cs typeface="Segoe UI" pitchFamily="34" charset="0"/>
                </a:rPr>
                <a:t>19m media tablets were sold in 2010</a:t>
              </a:r>
              <a:r>
                <a:rPr lang="en-US" sz="1100" baseline="30000" dirty="0">
                  <a:gradFill>
                    <a:gsLst>
                      <a:gs pos="100000">
                        <a:schemeClr val="tx1"/>
                      </a:gs>
                      <a:gs pos="0">
                        <a:schemeClr val="tx1"/>
                      </a:gs>
                    </a:gsLst>
                    <a:lin ang="5400000" scaled="1"/>
                  </a:gradFill>
                  <a:ea typeface="Segoe UI" pitchFamily="34" charset="0"/>
                  <a:cs typeface="Segoe UI" pitchFamily="34" charset="0"/>
                </a:rPr>
                <a:t>1</a:t>
              </a:r>
              <a:endParaRPr lang="en-US" sz="1100" baseline="30000" dirty="0">
                <a:gradFill>
                  <a:gsLst>
                    <a:gs pos="100000">
                      <a:schemeClr val="tx1"/>
                    </a:gs>
                    <a:gs pos="0">
                      <a:schemeClr val="tx1"/>
                    </a:gs>
                  </a:gsLst>
                  <a:lin ang="5400000" scaled="1"/>
                </a:gradFill>
                <a:ea typeface="Segoe UI" pitchFamily="34" charset="0"/>
                <a:cs typeface="Segoe UI" pitchFamily="34" charset="0"/>
              </a:endParaRPr>
            </a:p>
          </p:txBody>
        </p:sp>
        <p:sp>
          <p:nvSpPr>
            <p:cNvPr id="10" name="Light Blue"/>
            <p:cNvSpPr/>
            <p:nvPr/>
          </p:nvSpPr>
          <p:spPr bwMode="auto">
            <a:xfrm>
              <a:off x="7333265" y="2292163"/>
              <a:ext cx="5374877" cy="1262682"/>
            </a:xfrm>
            <a:prstGeom prst="roundRect">
              <a:avLst>
                <a:gd name="adj" fmla="val 0"/>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40" tIns="91440" rIns="45720" bIns="91440" numCol="1" rtlCol="0" anchor="ctr" anchorCtr="0" compatLnSpc="1">
              <a:prstTxWarp prst="textNoShape">
                <a:avLst/>
              </a:prstTxWarp>
            </a:bodyPr>
            <a:lstStyle/>
            <a:p>
              <a:pPr marL="130986" indent="-130986" defTabSz="685666">
                <a:lnSpc>
                  <a:spcPct val="90000"/>
                </a:lnSpc>
                <a:spcBef>
                  <a:spcPts val="675"/>
                </a:spcBef>
                <a:buFont typeface="Arial" pitchFamily="34" charset="0"/>
                <a:buChar char="•"/>
              </a:pPr>
              <a:r>
                <a:rPr lang="en-US" sz="1100" dirty="0">
                  <a:gradFill>
                    <a:gsLst>
                      <a:gs pos="100000">
                        <a:schemeClr val="tx1"/>
                      </a:gs>
                      <a:gs pos="0">
                        <a:schemeClr val="tx1"/>
                      </a:gs>
                    </a:gsLst>
                    <a:lin ang="5400000" scaled="1"/>
                  </a:gradFill>
                  <a:ea typeface="Segoe UI" pitchFamily="34" charset="0"/>
                  <a:cs typeface="Segoe UI" pitchFamily="34" charset="0"/>
                </a:rPr>
                <a:t>Windows </a:t>
              </a:r>
              <a:r>
                <a:rPr lang="en-US" sz="1100" dirty="0" err="1">
                  <a:gradFill>
                    <a:gsLst>
                      <a:gs pos="100000">
                        <a:schemeClr val="tx1"/>
                      </a:gs>
                      <a:gs pos="0">
                        <a:schemeClr val="tx1"/>
                      </a:gs>
                    </a:gsLst>
                    <a:lin ang="5400000" scaled="1"/>
                  </a:gradFill>
                  <a:ea typeface="Segoe UI" pitchFamily="34" charset="0"/>
                  <a:cs typeface="Segoe UI" pitchFamily="34" charset="0"/>
                </a:rPr>
                <a:t>Intune</a:t>
              </a:r>
              <a:r>
                <a:rPr lang="en-US" sz="1100" dirty="0">
                  <a:gradFill>
                    <a:gsLst>
                      <a:gs pos="100000">
                        <a:schemeClr val="tx1"/>
                      </a:gs>
                      <a:gs pos="0">
                        <a:schemeClr val="tx1"/>
                      </a:gs>
                    </a:gsLst>
                    <a:lin ang="5400000" scaled="1"/>
                  </a:gradFill>
                  <a:ea typeface="Segoe UI" pitchFamily="34" charset="0"/>
                  <a:cs typeface="Segoe UI" pitchFamily="34" charset="0"/>
                </a:rPr>
                <a:t> announced</a:t>
              </a:r>
            </a:p>
            <a:p>
              <a:pPr marL="130986" indent="-130986" defTabSz="685666">
                <a:lnSpc>
                  <a:spcPct val="90000"/>
                </a:lnSpc>
                <a:spcBef>
                  <a:spcPts val="675"/>
                </a:spcBef>
                <a:buFont typeface="Arial" pitchFamily="34" charset="0"/>
                <a:buChar char="•"/>
              </a:pPr>
              <a:r>
                <a:rPr lang="en-US" sz="1100" dirty="0">
                  <a:gradFill>
                    <a:gsLst>
                      <a:gs pos="100000">
                        <a:schemeClr val="tx1"/>
                      </a:gs>
                      <a:gs pos="0">
                        <a:schemeClr val="tx1"/>
                      </a:gs>
                    </a:gsLst>
                    <a:lin ang="5400000" scaled="1"/>
                  </a:gradFill>
                  <a:ea typeface="Segoe UI" pitchFamily="34" charset="0"/>
                  <a:cs typeface="Segoe UI" pitchFamily="34" charset="0"/>
                </a:rPr>
                <a:t>System Center Configuration Manager 2007 R3 </a:t>
              </a:r>
              <a:br>
                <a:rPr lang="en-US" sz="1100" dirty="0">
                  <a:gradFill>
                    <a:gsLst>
                      <a:gs pos="100000">
                        <a:schemeClr val="tx1"/>
                      </a:gs>
                      <a:gs pos="0">
                        <a:schemeClr val="tx1"/>
                      </a:gs>
                    </a:gsLst>
                    <a:lin ang="5400000" scaled="1"/>
                  </a:gradFill>
                  <a:ea typeface="Segoe UI" pitchFamily="34" charset="0"/>
                  <a:cs typeface="Segoe UI" pitchFamily="34" charset="0"/>
                </a:rPr>
              </a:br>
              <a:r>
                <a:rPr lang="en-US" sz="1100" dirty="0">
                  <a:gradFill>
                    <a:gsLst>
                      <a:gs pos="100000">
                        <a:schemeClr val="tx1"/>
                      </a:gs>
                      <a:gs pos="0">
                        <a:schemeClr val="tx1"/>
                      </a:gs>
                    </a:gsLst>
                    <a:lin ang="5400000" scaled="1"/>
                  </a:gradFill>
                  <a:ea typeface="Segoe UI" pitchFamily="34" charset="0"/>
                  <a:cs typeface="Segoe UI" pitchFamily="34" charset="0"/>
                </a:rPr>
                <a:t>in Beta </a:t>
              </a:r>
            </a:p>
            <a:p>
              <a:pPr marL="130986" indent="-130986" defTabSz="685666">
                <a:lnSpc>
                  <a:spcPct val="90000"/>
                </a:lnSpc>
                <a:spcBef>
                  <a:spcPts val="675"/>
                </a:spcBef>
                <a:buFont typeface="Arial" pitchFamily="34" charset="0"/>
                <a:buChar char="•"/>
              </a:pPr>
              <a:r>
                <a:rPr lang="en-US" sz="1100" dirty="0">
                  <a:gradFill>
                    <a:gsLst>
                      <a:gs pos="100000">
                        <a:schemeClr val="tx1"/>
                      </a:gs>
                      <a:gs pos="0">
                        <a:schemeClr val="tx1"/>
                      </a:gs>
                    </a:gsLst>
                    <a:lin ang="5400000" scaled="1"/>
                  </a:gradFill>
                  <a:ea typeface="Segoe UI" pitchFamily="34" charset="0"/>
                  <a:cs typeface="Segoe UI" pitchFamily="34" charset="0"/>
                </a:rPr>
                <a:t>Forefront Endpoint Protection Beta Coming Soon</a:t>
              </a:r>
            </a:p>
          </p:txBody>
        </p:sp>
        <p:sp>
          <p:nvSpPr>
            <p:cNvPr id="11" name="Light Blue"/>
            <p:cNvSpPr/>
            <p:nvPr/>
          </p:nvSpPr>
          <p:spPr bwMode="auto">
            <a:xfrm>
              <a:off x="5378133" y="3826968"/>
              <a:ext cx="1828800" cy="1262684"/>
            </a:xfrm>
            <a:prstGeom prst="roundRect">
              <a:avLst>
                <a:gd name="adj" fmla="val 0"/>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40" tIns="91440" rIns="45720" bIns="91440" numCol="1" rtlCol="0" anchor="ctr" anchorCtr="0" compatLnSpc="1">
              <a:prstTxWarp prst="textNoShape">
                <a:avLst/>
              </a:prstTxWarp>
            </a:bodyPr>
            <a:lstStyle/>
            <a:p>
              <a:pPr defTabSz="685666"/>
              <a:r>
                <a:rPr lang="en-US" sz="1300" b="1" dirty="0">
                  <a:gradFill>
                    <a:gsLst>
                      <a:gs pos="100000">
                        <a:schemeClr val="tx1"/>
                      </a:gs>
                      <a:gs pos="0">
                        <a:schemeClr val="tx1"/>
                      </a:gs>
                    </a:gsLst>
                    <a:lin ang="5400000" scaled="1"/>
                  </a:gradFill>
                  <a:latin typeface="Segoe UI Light" pitchFamily="34" charset="0"/>
                  <a:ea typeface="Segoe UI" pitchFamily="34" charset="0"/>
                  <a:cs typeface="Segoe UI" pitchFamily="34" charset="0"/>
                </a:rPr>
                <a:t>Consumerization Trend</a:t>
              </a:r>
            </a:p>
          </p:txBody>
        </p:sp>
        <p:sp>
          <p:nvSpPr>
            <p:cNvPr id="12" name="Light Blue"/>
            <p:cNvSpPr/>
            <p:nvPr/>
          </p:nvSpPr>
          <p:spPr bwMode="auto">
            <a:xfrm>
              <a:off x="5378133" y="5237610"/>
              <a:ext cx="1828800" cy="1262684"/>
            </a:xfrm>
            <a:prstGeom prst="roundRect">
              <a:avLst>
                <a:gd name="adj" fmla="val 0"/>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40" tIns="91440" rIns="45720" bIns="91440" numCol="1" rtlCol="0" anchor="ctr" anchorCtr="0" compatLnSpc="1">
              <a:prstTxWarp prst="textNoShape">
                <a:avLst/>
              </a:prstTxWarp>
            </a:bodyPr>
            <a:lstStyle/>
            <a:p>
              <a:pPr defTabSz="685666"/>
              <a:r>
                <a:rPr lang="en-US" sz="1300" b="1" dirty="0">
                  <a:gradFill>
                    <a:gsLst>
                      <a:gs pos="100000">
                        <a:schemeClr val="tx1"/>
                      </a:gs>
                      <a:gs pos="0">
                        <a:schemeClr val="tx1"/>
                      </a:gs>
                    </a:gsLst>
                    <a:lin ang="5400000" scaled="1"/>
                  </a:gradFill>
                  <a:latin typeface="Segoe UI Light" pitchFamily="34" charset="0"/>
                  <a:ea typeface="Segoe UI" pitchFamily="34" charset="0"/>
                  <a:cs typeface="Segoe UI" pitchFamily="34" charset="0"/>
                </a:rPr>
                <a:t>Product</a:t>
              </a:r>
              <a:r>
                <a:rPr lang="en-US" sz="1300" dirty="0">
                  <a:gradFill>
                    <a:gsLst>
                      <a:gs pos="100000">
                        <a:schemeClr val="tx1"/>
                      </a:gs>
                      <a:gs pos="0">
                        <a:schemeClr val="tx1"/>
                      </a:gs>
                    </a:gsLst>
                    <a:lin ang="5400000" scaled="1"/>
                  </a:gradFill>
                  <a:latin typeface="Segoe UI Light" pitchFamily="34" charset="0"/>
                  <a:ea typeface="Segoe UI" pitchFamily="34" charset="0"/>
                  <a:cs typeface="Segoe UI" pitchFamily="34" charset="0"/>
                </a:rPr>
                <a:t> </a:t>
              </a:r>
              <a:r>
                <a:rPr lang="en-US" sz="1300" dirty="0">
                  <a:gradFill>
                    <a:gsLst>
                      <a:gs pos="100000">
                        <a:schemeClr val="tx1"/>
                      </a:gs>
                      <a:gs pos="0">
                        <a:schemeClr val="tx1"/>
                      </a:gs>
                    </a:gsLst>
                    <a:lin ang="5400000" scaled="1"/>
                  </a:gradFill>
                  <a:latin typeface="Segoe UI Light" pitchFamily="34" charset="0"/>
                  <a:ea typeface="Segoe UI" pitchFamily="34" charset="0"/>
                  <a:cs typeface="Segoe UI" pitchFamily="34" charset="0"/>
                </a:rPr>
                <a:t/>
              </a:r>
              <a:br>
                <a:rPr lang="en-US" sz="1300" dirty="0">
                  <a:gradFill>
                    <a:gsLst>
                      <a:gs pos="100000">
                        <a:schemeClr val="tx1"/>
                      </a:gs>
                      <a:gs pos="0">
                        <a:schemeClr val="tx1"/>
                      </a:gs>
                    </a:gsLst>
                    <a:lin ang="5400000" scaled="1"/>
                  </a:gradFill>
                  <a:latin typeface="Segoe UI Light" pitchFamily="34" charset="0"/>
                  <a:ea typeface="Segoe UI" pitchFamily="34" charset="0"/>
                  <a:cs typeface="Segoe UI" pitchFamily="34" charset="0"/>
                </a:rPr>
              </a:br>
              <a:r>
                <a:rPr lang="en-US" sz="1300" b="1" dirty="0">
                  <a:gradFill>
                    <a:gsLst>
                      <a:gs pos="100000">
                        <a:schemeClr val="tx1"/>
                      </a:gs>
                      <a:gs pos="0">
                        <a:schemeClr val="tx1"/>
                      </a:gs>
                    </a:gsLst>
                    <a:lin ang="5400000" scaled="1"/>
                  </a:gradFill>
                  <a:latin typeface="Segoe UI Light" pitchFamily="34" charset="0"/>
                  <a:ea typeface="Segoe UI" pitchFamily="34" charset="0"/>
                  <a:cs typeface="Segoe UI" pitchFamily="34" charset="0"/>
                </a:rPr>
                <a:t>News</a:t>
              </a:r>
              <a:endParaRPr lang="en-US" sz="1300" b="1" dirty="0">
                <a:gradFill>
                  <a:gsLst>
                    <a:gs pos="100000">
                      <a:schemeClr val="tx1"/>
                    </a:gs>
                    <a:gs pos="0">
                      <a:schemeClr val="tx1"/>
                    </a:gs>
                  </a:gsLst>
                  <a:lin ang="5400000" scaled="1"/>
                </a:gradFill>
                <a:latin typeface="Segoe UI Light" pitchFamily="34" charset="0"/>
                <a:ea typeface="Segoe UI" pitchFamily="34" charset="0"/>
                <a:cs typeface="Segoe UI" pitchFamily="34" charset="0"/>
              </a:endParaRPr>
            </a:p>
          </p:txBody>
        </p:sp>
        <p:sp>
          <p:nvSpPr>
            <p:cNvPr id="13" name="Light Blue"/>
            <p:cNvSpPr/>
            <p:nvPr/>
          </p:nvSpPr>
          <p:spPr bwMode="auto">
            <a:xfrm>
              <a:off x="7330147" y="3825347"/>
              <a:ext cx="5377996" cy="1262684"/>
            </a:xfrm>
            <a:prstGeom prst="roundRect">
              <a:avLst>
                <a:gd name="adj" fmla="val 0"/>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40" tIns="91440" rIns="45720" bIns="91440" numCol="1" rtlCol="0" anchor="ctr" anchorCtr="0" compatLnSpc="1">
              <a:prstTxWarp prst="textNoShape">
                <a:avLst/>
              </a:prstTxWarp>
            </a:bodyPr>
            <a:lstStyle/>
            <a:p>
              <a:pPr defTabSz="685666">
                <a:lnSpc>
                  <a:spcPct val="90000"/>
                </a:lnSpc>
                <a:spcBef>
                  <a:spcPts val="900"/>
                </a:spcBef>
              </a:pPr>
              <a:r>
                <a:rPr lang="en-US" sz="1100" dirty="0">
                  <a:gradFill>
                    <a:gsLst>
                      <a:gs pos="100000">
                        <a:schemeClr val="tx1"/>
                      </a:gs>
                      <a:gs pos="0">
                        <a:schemeClr val="tx1"/>
                      </a:gs>
                    </a:gsLst>
                    <a:lin ang="5400000" scaled="1"/>
                  </a:gradFill>
                  <a:ea typeface="Segoe UI" pitchFamily="34" charset="0"/>
                  <a:cs typeface="Segoe UI" pitchFamily="34" charset="0"/>
                </a:rPr>
                <a:t>“Employees </a:t>
              </a:r>
              <a:r>
                <a:rPr lang="en-US" sz="1100" dirty="0">
                  <a:gradFill>
                    <a:gsLst>
                      <a:gs pos="100000">
                        <a:schemeClr val="tx1"/>
                      </a:gs>
                      <a:gs pos="0">
                        <a:schemeClr val="tx1"/>
                      </a:gs>
                    </a:gsLst>
                    <a:lin ang="5400000" scaled="1"/>
                  </a:gradFill>
                  <a:ea typeface="Segoe UI" pitchFamily="34" charset="0"/>
                  <a:cs typeface="Segoe UI" pitchFamily="34" charset="0"/>
                </a:rPr>
                <a:t>are behaving more like consumers, demanding a much wider choice of mobile devices and adopting new management and ownership models such as "bring your own</a:t>
              </a:r>
              <a:r>
                <a:rPr lang="en-US" sz="1100" dirty="0">
                  <a:gradFill>
                    <a:gsLst>
                      <a:gs pos="100000">
                        <a:schemeClr val="tx1"/>
                      </a:gs>
                      <a:gs pos="0">
                        <a:schemeClr val="tx1"/>
                      </a:gs>
                    </a:gsLst>
                    <a:lin ang="5400000" scaled="1"/>
                  </a:gradFill>
                  <a:ea typeface="Segoe UI" pitchFamily="34" charset="0"/>
                  <a:cs typeface="Segoe UI" pitchFamily="34" charset="0"/>
                </a:rPr>
                <a:t>.“</a:t>
              </a:r>
              <a:r>
                <a:rPr lang="en-US" sz="1100" baseline="30000" dirty="0">
                  <a:gradFill>
                    <a:gsLst>
                      <a:gs pos="100000">
                        <a:schemeClr val="tx1"/>
                      </a:gs>
                      <a:gs pos="0">
                        <a:schemeClr val="tx1"/>
                      </a:gs>
                    </a:gsLst>
                    <a:lin ang="5400000" scaled="1"/>
                  </a:gradFill>
                  <a:ea typeface="Segoe UI" pitchFamily="34" charset="0"/>
                  <a:cs typeface="Segoe UI" pitchFamily="34" charset="0"/>
                </a:rPr>
                <a:t>2</a:t>
              </a:r>
              <a:endParaRPr lang="en-US" sz="1100" baseline="30000" dirty="0">
                <a:gradFill>
                  <a:gsLst>
                    <a:gs pos="100000">
                      <a:schemeClr val="tx1"/>
                    </a:gs>
                    <a:gs pos="0">
                      <a:schemeClr val="tx1"/>
                    </a:gs>
                  </a:gsLst>
                  <a:lin ang="5400000" scaled="1"/>
                </a:gradFill>
                <a:ea typeface="Segoe UI" pitchFamily="34" charset="0"/>
                <a:cs typeface="Segoe UI" pitchFamily="34" charset="0"/>
              </a:endParaRPr>
            </a:p>
          </p:txBody>
        </p:sp>
        <p:sp>
          <p:nvSpPr>
            <p:cNvPr id="14" name="Light Blue"/>
            <p:cNvSpPr/>
            <p:nvPr/>
          </p:nvSpPr>
          <p:spPr bwMode="auto">
            <a:xfrm>
              <a:off x="7333265" y="5237609"/>
              <a:ext cx="5374878" cy="1262684"/>
            </a:xfrm>
            <a:prstGeom prst="roundRect">
              <a:avLst>
                <a:gd name="adj" fmla="val 0"/>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40" tIns="91440" rIns="45720" bIns="91440" numCol="1" rtlCol="0" anchor="ctr" anchorCtr="0" compatLnSpc="1">
              <a:prstTxWarp prst="textNoShape">
                <a:avLst/>
              </a:prstTxWarp>
            </a:bodyPr>
            <a:lstStyle/>
            <a:p>
              <a:pPr marL="130986" indent="-130986" defTabSz="685666">
                <a:lnSpc>
                  <a:spcPct val="90000"/>
                </a:lnSpc>
                <a:spcBef>
                  <a:spcPts val="675"/>
                </a:spcBef>
                <a:buFont typeface="Arial" pitchFamily="34" charset="0"/>
                <a:buChar char="•"/>
              </a:pPr>
              <a:r>
                <a:rPr lang="en-US" sz="1100" dirty="0">
                  <a:gradFill>
                    <a:gsLst>
                      <a:gs pos="100000">
                        <a:schemeClr val="tx1"/>
                      </a:gs>
                      <a:gs pos="0">
                        <a:schemeClr val="tx1"/>
                      </a:gs>
                    </a:gsLst>
                    <a:lin ang="5400000" scaled="1"/>
                  </a:gradFill>
                  <a:ea typeface="Segoe UI" pitchFamily="34" charset="0"/>
                  <a:cs typeface="Segoe UI" pitchFamily="34" charset="0"/>
                </a:rPr>
                <a:t>System </a:t>
              </a:r>
              <a:r>
                <a:rPr lang="en-US" sz="1100" dirty="0">
                  <a:gradFill>
                    <a:gsLst>
                      <a:gs pos="100000">
                        <a:schemeClr val="tx1"/>
                      </a:gs>
                      <a:gs pos="0">
                        <a:schemeClr val="tx1"/>
                      </a:gs>
                    </a:gsLst>
                    <a:lin ang="5400000" scaled="1"/>
                  </a:gradFill>
                  <a:ea typeface="Segoe UI" pitchFamily="34" charset="0"/>
                  <a:cs typeface="Segoe UI" pitchFamily="34" charset="0"/>
                </a:rPr>
                <a:t>Center 2012 Configuration Manager</a:t>
              </a:r>
              <a:r>
                <a:rPr lang="en-US" sz="1100" dirty="0">
                  <a:gradFill>
                    <a:gsLst>
                      <a:gs pos="100000">
                        <a:schemeClr val="tx1"/>
                      </a:gs>
                      <a:gs pos="0">
                        <a:schemeClr val="tx1"/>
                      </a:gs>
                    </a:gsLst>
                    <a:lin ang="5400000" scaled="1"/>
                  </a:gradFill>
                  <a:ea typeface="Segoe UI" pitchFamily="34" charset="0"/>
                  <a:cs typeface="Segoe UI" pitchFamily="34" charset="0"/>
                </a:rPr>
                <a:t/>
              </a:r>
              <a:br>
                <a:rPr lang="en-US" sz="1100" dirty="0">
                  <a:gradFill>
                    <a:gsLst>
                      <a:gs pos="100000">
                        <a:schemeClr val="tx1"/>
                      </a:gs>
                      <a:gs pos="0">
                        <a:schemeClr val="tx1"/>
                      </a:gs>
                    </a:gsLst>
                    <a:lin ang="5400000" scaled="1"/>
                  </a:gradFill>
                  <a:ea typeface="Segoe UI" pitchFamily="34" charset="0"/>
                  <a:cs typeface="Segoe UI" pitchFamily="34" charset="0"/>
                </a:rPr>
              </a:br>
              <a:r>
                <a:rPr lang="en-US" sz="1100" dirty="0">
                  <a:gradFill>
                    <a:gsLst>
                      <a:gs pos="100000">
                        <a:schemeClr val="tx1"/>
                      </a:gs>
                      <a:gs pos="0">
                        <a:schemeClr val="tx1"/>
                      </a:gs>
                    </a:gsLst>
                    <a:lin ang="5400000" scaled="1"/>
                  </a:gradFill>
                  <a:ea typeface="Segoe UI" pitchFamily="34" charset="0"/>
                  <a:cs typeface="Segoe UI" pitchFamily="34" charset="0"/>
                </a:rPr>
                <a:t>Beta 2 Released</a:t>
              </a:r>
            </a:p>
            <a:p>
              <a:pPr marL="130986" indent="-130986" defTabSz="685666">
                <a:lnSpc>
                  <a:spcPct val="90000"/>
                </a:lnSpc>
                <a:spcBef>
                  <a:spcPts val="675"/>
                </a:spcBef>
                <a:buFont typeface="Arial" pitchFamily="34" charset="0"/>
                <a:buChar char="•"/>
              </a:pPr>
              <a:r>
                <a:rPr lang="en-US" sz="1100" dirty="0">
                  <a:gradFill>
                    <a:gsLst>
                      <a:gs pos="100000">
                        <a:schemeClr val="tx1"/>
                      </a:gs>
                      <a:gs pos="0">
                        <a:schemeClr val="tx1"/>
                      </a:gs>
                    </a:gsLst>
                    <a:lin ang="5400000" scaled="1"/>
                  </a:gradFill>
                  <a:ea typeface="Segoe UI" pitchFamily="34" charset="0"/>
                  <a:cs typeface="Segoe UI" pitchFamily="34" charset="0"/>
                </a:rPr>
                <a:t>Forefront Endpoint Protection 2012 Beta Released</a:t>
              </a:r>
            </a:p>
            <a:p>
              <a:pPr marL="130986" indent="-130986" defTabSz="685666">
                <a:lnSpc>
                  <a:spcPct val="90000"/>
                </a:lnSpc>
                <a:spcBef>
                  <a:spcPts val="675"/>
                </a:spcBef>
                <a:buFont typeface="Arial" pitchFamily="34" charset="0"/>
                <a:buChar char="•"/>
              </a:pPr>
              <a:r>
                <a:rPr lang="en-US" sz="1100" dirty="0">
                  <a:gradFill>
                    <a:gsLst>
                      <a:gs pos="100000">
                        <a:schemeClr val="tx1"/>
                      </a:gs>
                      <a:gs pos="0">
                        <a:schemeClr val="tx1"/>
                      </a:gs>
                    </a:gsLst>
                    <a:lin ang="5400000" scaled="1"/>
                  </a:gradFill>
                  <a:ea typeface="Segoe UI" pitchFamily="34" charset="0"/>
                  <a:cs typeface="Segoe UI" pitchFamily="34" charset="0"/>
                </a:rPr>
                <a:t>Windows Intune Generally Available</a:t>
              </a:r>
            </a:p>
          </p:txBody>
        </p:sp>
        <p:sp>
          <p:nvSpPr>
            <p:cNvPr id="15" name="TextBox 14"/>
            <p:cNvSpPr txBox="1"/>
            <p:nvPr/>
          </p:nvSpPr>
          <p:spPr>
            <a:xfrm>
              <a:off x="5378132" y="6508075"/>
              <a:ext cx="7330007" cy="493670"/>
            </a:xfrm>
            <a:prstGeom prst="rect">
              <a:avLst/>
            </a:prstGeom>
            <a:noFill/>
          </p:spPr>
          <p:txBody>
            <a:bodyPr wrap="square" lIns="0" rIns="0" rtlCol="0">
              <a:spAutoFit/>
            </a:bodyPr>
            <a:lstStyle/>
            <a:p>
              <a:r>
                <a:rPr lang="en-US" sz="800" baseline="30000" dirty="0">
                  <a:gradFill>
                    <a:gsLst>
                      <a:gs pos="100000">
                        <a:schemeClr val="tx1"/>
                      </a:gs>
                      <a:gs pos="0">
                        <a:schemeClr val="tx1"/>
                      </a:gs>
                    </a:gsLst>
                    <a:lin ang="5400000" scaled="1"/>
                  </a:gradFill>
                </a:rPr>
                <a:t>1</a:t>
              </a:r>
              <a:r>
                <a:rPr lang="en-US" sz="800" dirty="0">
                  <a:gradFill>
                    <a:gsLst>
                      <a:gs pos="100000">
                        <a:schemeClr val="tx1"/>
                      </a:gs>
                      <a:gs pos="0">
                        <a:schemeClr val="tx1"/>
                      </a:gs>
                    </a:gsLst>
                    <a:lin ang="5400000" scaled="1"/>
                  </a:gradFill>
                </a:rPr>
                <a:t> </a:t>
              </a:r>
              <a:r>
                <a:rPr lang="en-US" sz="800" dirty="0">
                  <a:gradFill>
                    <a:gsLst>
                      <a:gs pos="100000">
                        <a:schemeClr val="tx1"/>
                      </a:gs>
                      <a:gs pos="0">
                        <a:schemeClr val="tx1"/>
                      </a:gs>
                    </a:gsLst>
                    <a:lin ang="5400000" scaled="1"/>
                  </a:gradFill>
                </a:rPr>
                <a:t>IDC 2012, “</a:t>
              </a:r>
              <a:r>
                <a:rPr lang="en-US" sz="800" i="1" dirty="0">
                  <a:gradFill>
                    <a:gsLst>
                      <a:gs pos="100000">
                        <a:schemeClr val="tx1"/>
                      </a:gs>
                      <a:gs pos="0">
                        <a:schemeClr val="tx1"/>
                      </a:gs>
                    </a:gsLst>
                    <a:lin ang="5400000" scaled="1"/>
                  </a:gradFill>
                </a:rPr>
                <a:t>WW Quarterly Media Tablet and </a:t>
              </a:r>
              <a:r>
                <a:rPr lang="en-US" sz="800" i="1" dirty="0" err="1">
                  <a:gradFill>
                    <a:gsLst>
                      <a:gs pos="100000">
                        <a:schemeClr val="tx1"/>
                      </a:gs>
                      <a:gs pos="0">
                        <a:schemeClr val="tx1"/>
                      </a:gs>
                    </a:gsLst>
                    <a:lin ang="5400000" scaled="1"/>
                  </a:gradFill>
                </a:rPr>
                <a:t>eReader</a:t>
              </a:r>
              <a:r>
                <a:rPr lang="en-US" sz="800" i="1" dirty="0">
                  <a:gradFill>
                    <a:gsLst>
                      <a:gs pos="100000">
                        <a:schemeClr val="tx1"/>
                      </a:gs>
                      <a:gs pos="0">
                        <a:schemeClr val="tx1"/>
                      </a:gs>
                    </a:gsLst>
                    <a:lin ang="5400000" scaled="1"/>
                  </a:gradFill>
                </a:rPr>
                <a:t> Tracker, 2012 Q1”</a:t>
              </a:r>
            </a:p>
            <a:p>
              <a:r>
                <a:rPr lang="en-US" sz="800" baseline="30000" dirty="0">
                  <a:gradFill>
                    <a:gsLst>
                      <a:gs pos="100000">
                        <a:schemeClr val="tx1"/>
                      </a:gs>
                      <a:gs pos="0">
                        <a:schemeClr val="tx1"/>
                      </a:gs>
                    </a:gsLst>
                    <a:lin ang="5400000" scaled="1"/>
                  </a:gradFill>
                </a:rPr>
                <a:t>2</a:t>
              </a:r>
              <a:r>
                <a:rPr lang="en-US" sz="800" dirty="0">
                  <a:gradFill>
                    <a:gsLst>
                      <a:gs pos="100000">
                        <a:schemeClr val="tx1"/>
                      </a:gs>
                      <a:gs pos="0">
                        <a:schemeClr val="tx1"/>
                      </a:gs>
                    </a:gsLst>
                    <a:lin ang="5400000" scaled="1"/>
                  </a:gradFill>
                </a:rPr>
                <a:t> </a:t>
              </a:r>
              <a:r>
                <a:rPr lang="en-US" sz="800" dirty="0">
                  <a:gradFill>
                    <a:gsLst>
                      <a:gs pos="100000">
                        <a:schemeClr val="tx1"/>
                      </a:gs>
                      <a:gs pos="0">
                        <a:schemeClr val="tx1"/>
                      </a:gs>
                    </a:gsLst>
                    <a:lin ang="5400000" scaled="1"/>
                  </a:gradFill>
                </a:rPr>
                <a:t> ”</a:t>
              </a:r>
              <a:r>
                <a:rPr lang="en-US" sz="800" i="1" dirty="0">
                  <a:gradFill>
                    <a:gsLst>
                      <a:gs pos="100000">
                        <a:schemeClr val="tx1"/>
                      </a:gs>
                      <a:gs pos="0">
                        <a:schemeClr val="tx1"/>
                      </a:gs>
                    </a:gsLst>
                    <a:lin ang="5400000" scaled="1"/>
                  </a:gradFill>
                </a:rPr>
                <a:t>What Enterprise Architects Must Do About Mobility</a:t>
              </a:r>
              <a:r>
                <a:rPr lang="en-US" sz="800" dirty="0">
                  <a:gradFill>
                    <a:gsLst>
                      <a:gs pos="100000">
                        <a:schemeClr val="tx1"/>
                      </a:gs>
                      <a:gs pos="0">
                        <a:schemeClr val="tx1"/>
                      </a:gs>
                    </a:gsLst>
                    <a:lin ang="5400000" scaled="1"/>
                  </a:gradFill>
                </a:rPr>
                <a:t>,” Gartner, September, 2011</a:t>
              </a:r>
              <a:endParaRPr lang="en-US" sz="800" dirty="0">
                <a:gradFill>
                  <a:gsLst>
                    <a:gs pos="100000">
                      <a:schemeClr val="tx1"/>
                    </a:gs>
                    <a:gs pos="0">
                      <a:schemeClr val="tx1"/>
                    </a:gs>
                  </a:gsLst>
                  <a:lin ang="5400000" scaled="1"/>
                </a:gradFill>
              </a:endParaRPr>
            </a:p>
          </p:txBody>
        </p:sp>
        <p:sp>
          <p:nvSpPr>
            <p:cNvPr id="16" name="Light Blue"/>
            <p:cNvSpPr/>
            <p:nvPr/>
          </p:nvSpPr>
          <p:spPr bwMode="auto">
            <a:xfrm flipH="1">
              <a:off x="-52451" y="3265318"/>
              <a:ext cx="1871578" cy="457199"/>
            </a:xfrm>
            <a:custGeom>
              <a:avLst/>
              <a:gdLst>
                <a:gd name="connsiteX0" fmla="*/ 0 w 2047727"/>
                <a:gd name="connsiteY0" fmla="*/ 0 h 457200"/>
                <a:gd name="connsiteX1" fmla="*/ 1819127 w 2047727"/>
                <a:gd name="connsiteY1" fmla="*/ 0 h 457200"/>
                <a:gd name="connsiteX2" fmla="*/ 2047727 w 2047727"/>
                <a:gd name="connsiteY2" fmla="*/ 228600 h 457200"/>
                <a:gd name="connsiteX3" fmla="*/ 1819127 w 2047727"/>
                <a:gd name="connsiteY3" fmla="*/ 457200 h 457200"/>
                <a:gd name="connsiteX4" fmla="*/ 0 w 2047727"/>
                <a:gd name="connsiteY4" fmla="*/ 457200 h 457200"/>
                <a:gd name="connsiteX5" fmla="*/ 228600 w 2047727"/>
                <a:gd name="connsiteY5" fmla="*/ 228600 h 457200"/>
                <a:gd name="connsiteX6" fmla="*/ 0 w 2047727"/>
                <a:gd name="connsiteY6" fmla="*/ 0 h 457200"/>
                <a:gd name="connsiteX0" fmla="*/ 0 w 1819127"/>
                <a:gd name="connsiteY0" fmla="*/ 0 h 457200"/>
                <a:gd name="connsiteX1" fmla="*/ 1819127 w 1819127"/>
                <a:gd name="connsiteY1" fmla="*/ 0 h 457200"/>
                <a:gd name="connsiteX2" fmla="*/ 1819127 w 1819127"/>
                <a:gd name="connsiteY2" fmla="*/ 457200 h 457200"/>
                <a:gd name="connsiteX3" fmla="*/ 0 w 1819127"/>
                <a:gd name="connsiteY3" fmla="*/ 457200 h 457200"/>
                <a:gd name="connsiteX4" fmla="*/ 228600 w 1819127"/>
                <a:gd name="connsiteY4" fmla="*/ 228600 h 457200"/>
                <a:gd name="connsiteX5" fmla="*/ 0 w 1819127"/>
                <a:gd name="connsiteY5"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19127" h="457200">
                  <a:moveTo>
                    <a:pt x="0" y="0"/>
                  </a:moveTo>
                  <a:lnTo>
                    <a:pt x="1819127" y="0"/>
                  </a:lnTo>
                  <a:lnTo>
                    <a:pt x="1819127" y="457200"/>
                  </a:lnTo>
                  <a:lnTo>
                    <a:pt x="0" y="457200"/>
                  </a:lnTo>
                  <a:lnTo>
                    <a:pt x="228600" y="228600"/>
                  </a:lnTo>
                  <a:lnTo>
                    <a:pt x="0" y="0"/>
                  </a:lnTo>
                  <a:close/>
                </a:path>
              </a:pathLst>
            </a:custGeom>
            <a:solidFill>
              <a:schemeClr val="accent2"/>
            </a:solidFill>
            <a:ln>
              <a:noFill/>
              <a:headEnd type="none" w="med" len="med"/>
              <a:tailEnd type="none" w="med" len="med"/>
            </a:ln>
            <a:effectLst>
              <a:outerShdw blurRad="50800" dist="38100" dir="18900000" algn="b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wrap="square" lIns="91440" tIns="91440" rIns="365760" bIns="91440" numCol="1" rtlCol="0" anchor="ctr" anchorCtr="0" compatLnSpc="1">
              <a:prstTxWarp prst="textNoShape">
                <a:avLst/>
              </a:prstTxWarp>
            </a:bodyPr>
            <a:lstStyle/>
            <a:p>
              <a:pPr algn="r" defTabSz="685666"/>
              <a:r>
                <a:rPr lang="en-US" sz="1800" b="1" dirty="0">
                  <a:gradFill>
                    <a:gsLst>
                      <a:gs pos="100000">
                        <a:schemeClr val="tx1"/>
                      </a:gs>
                      <a:gs pos="0">
                        <a:schemeClr val="tx1"/>
                      </a:gs>
                    </a:gsLst>
                    <a:lin ang="5400000" scaled="1"/>
                  </a:gradFill>
                  <a:latin typeface="Segoe UI Light" pitchFamily="34" charset="0"/>
                  <a:ea typeface="Segoe UI" pitchFamily="34" charset="0"/>
                  <a:cs typeface="Segoe UI" pitchFamily="34" charset="0"/>
                </a:rPr>
                <a:t>2010</a:t>
              </a:r>
              <a:endParaRPr lang="en-US" sz="1800" b="1" dirty="0">
                <a:gradFill>
                  <a:gsLst>
                    <a:gs pos="100000">
                      <a:schemeClr val="tx1"/>
                    </a:gs>
                    <a:gs pos="0">
                      <a:schemeClr val="tx1"/>
                    </a:gs>
                  </a:gsLst>
                  <a:lin ang="5400000" scaled="1"/>
                </a:gradFill>
                <a:latin typeface="Segoe UI Light" pitchFamily="34" charset="0"/>
                <a:ea typeface="Segoe UI" pitchFamily="34" charset="0"/>
                <a:cs typeface="Segoe UI" pitchFamily="34" charset="0"/>
              </a:endParaRPr>
            </a:p>
          </p:txBody>
        </p:sp>
        <p:sp>
          <p:nvSpPr>
            <p:cNvPr id="17" name="Light Blue"/>
            <p:cNvSpPr/>
            <p:nvPr/>
          </p:nvSpPr>
          <p:spPr bwMode="auto">
            <a:xfrm flipH="1">
              <a:off x="-52451" y="6191940"/>
              <a:ext cx="1871578" cy="457199"/>
            </a:xfrm>
            <a:custGeom>
              <a:avLst/>
              <a:gdLst>
                <a:gd name="connsiteX0" fmla="*/ 0 w 2047727"/>
                <a:gd name="connsiteY0" fmla="*/ 0 h 457200"/>
                <a:gd name="connsiteX1" fmla="*/ 1819127 w 2047727"/>
                <a:gd name="connsiteY1" fmla="*/ 0 h 457200"/>
                <a:gd name="connsiteX2" fmla="*/ 2047727 w 2047727"/>
                <a:gd name="connsiteY2" fmla="*/ 228600 h 457200"/>
                <a:gd name="connsiteX3" fmla="*/ 1819127 w 2047727"/>
                <a:gd name="connsiteY3" fmla="*/ 457200 h 457200"/>
                <a:gd name="connsiteX4" fmla="*/ 0 w 2047727"/>
                <a:gd name="connsiteY4" fmla="*/ 457200 h 457200"/>
                <a:gd name="connsiteX5" fmla="*/ 228600 w 2047727"/>
                <a:gd name="connsiteY5" fmla="*/ 228600 h 457200"/>
                <a:gd name="connsiteX6" fmla="*/ 0 w 2047727"/>
                <a:gd name="connsiteY6" fmla="*/ 0 h 457200"/>
                <a:gd name="connsiteX0" fmla="*/ 0 w 1819127"/>
                <a:gd name="connsiteY0" fmla="*/ 0 h 457200"/>
                <a:gd name="connsiteX1" fmla="*/ 1819127 w 1819127"/>
                <a:gd name="connsiteY1" fmla="*/ 0 h 457200"/>
                <a:gd name="connsiteX2" fmla="*/ 1819127 w 1819127"/>
                <a:gd name="connsiteY2" fmla="*/ 457200 h 457200"/>
                <a:gd name="connsiteX3" fmla="*/ 0 w 1819127"/>
                <a:gd name="connsiteY3" fmla="*/ 457200 h 457200"/>
                <a:gd name="connsiteX4" fmla="*/ 228600 w 1819127"/>
                <a:gd name="connsiteY4" fmla="*/ 228600 h 457200"/>
                <a:gd name="connsiteX5" fmla="*/ 0 w 1819127"/>
                <a:gd name="connsiteY5"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19127" h="457200">
                  <a:moveTo>
                    <a:pt x="0" y="0"/>
                  </a:moveTo>
                  <a:lnTo>
                    <a:pt x="1819127" y="0"/>
                  </a:lnTo>
                  <a:lnTo>
                    <a:pt x="1819127" y="457200"/>
                  </a:lnTo>
                  <a:lnTo>
                    <a:pt x="0" y="457200"/>
                  </a:lnTo>
                  <a:lnTo>
                    <a:pt x="228600" y="228600"/>
                  </a:lnTo>
                  <a:lnTo>
                    <a:pt x="0" y="0"/>
                  </a:lnTo>
                  <a:close/>
                </a:path>
              </a:pathLst>
            </a:custGeom>
            <a:solidFill>
              <a:schemeClr val="accent1"/>
            </a:solidFill>
            <a:ln>
              <a:noFill/>
              <a:headEnd type="none" w="med" len="med"/>
              <a:tailEnd type="none" w="med" len="med"/>
            </a:ln>
            <a:effectLst>
              <a:outerShdw blurRad="50800" dist="38100" dir="18900000" algn="b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wrap="square" lIns="91440" tIns="91440" rIns="365760" bIns="91440" numCol="1" rtlCol="0" anchor="ctr" anchorCtr="0" compatLnSpc="1">
              <a:prstTxWarp prst="textNoShape">
                <a:avLst/>
              </a:prstTxWarp>
            </a:bodyPr>
            <a:lstStyle/>
            <a:p>
              <a:pPr algn="r" defTabSz="685666"/>
              <a:r>
                <a:rPr lang="en-US" sz="1800" b="1" dirty="0">
                  <a:gradFill>
                    <a:gsLst>
                      <a:gs pos="100000">
                        <a:schemeClr val="tx1"/>
                      </a:gs>
                      <a:gs pos="0">
                        <a:schemeClr val="tx1"/>
                      </a:gs>
                    </a:gsLst>
                    <a:lin ang="5400000" scaled="1"/>
                  </a:gradFill>
                  <a:latin typeface="Segoe UI Light" pitchFamily="34" charset="0"/>
                  <a:ea typeface="Segoe UI" pitchFamily="34" charset="0"/>
                  <a:cs typeface="Segoe UI" pitchFamily="34" charset="0"/>
                </a:rPr>
                <a:t>2011</a:t>
              </a:r>
              <a:endParaRPr lang="en-US" sz="1800" b="1" dirty="0">
                <a:gradFill>
                  <a:gsLst>
                    <a:gs pos="100000">
                      <a:schemeClr val="tx1"/>
                    </a:gs>
                    <a:gs pos="0">
                      <a:schemeClr val="tx1"/>
                    </a:gs>
                  </a:gsLst>
                  <a:lin ang="5400000" scaled="1"/>
                </a:gradFill>
                <a:latin typeface="Segoe UI Light" pitchFamily="34" charset="0"/>
                <a:ea typeface="Segoe UI" pitchFamily="34" charset="0"/>
                <a:cs typeface="Segoe UI" pitchFamily="34" charset="0"/>
              </a:endParaRPr>
            </a:p>
          </p:txBody>
        </p:sp>
      </p:grpSp>
      <p:sp>
        <p:nvSpPr>
          <p:cNvPr id="6" name="Title 5"/>
          <p:cNvSpPr>
            <a:spLocks noGrp="1"/>
          </p:cNvSpPr>
          <p:nvPr>
            <p:ph type="title"/>
          </p:nvPr>
        </p:nvSpPr>
        <p:spPr>
          <a:xfrm>
            <a:off x="389436" y="171450"/>
            <a:ext cx="8363938" cy="457049"/>
          </a:xfrm>
        </p:spPr>
        <p:txBody>
          <a:bodyPr/>
          <a:lstStyle/>
          <a:p>
            <a:r>
              <a:rPr lang="en-US" dirty="0"/>
              <a:t>Where We’ve </a:t>
            </a:r>
            <a:r>
              <a:rPr lang="en-US" dirty="0" smtClean="0"/>
              <a:t>Been</a:t>
            </a:r>
            <a:endParaRPr lang="en-US" dirty="0"/>
          </a:p>
        </p:txBody>
      </p:sp>
      <p:sp>
        <p:nvSpPr>
          <p:cNvPr id="18"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9"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4"/>
              </a:rPr>
              <a:t>www.rapidbbs.cn</a:t>
            </a:r>
            <a:endParaRPr lang="zh-CN" altLang="en-US" sz="1200" b="0">
              <a:latin typeface="Arial" charset="0"/>
              <a:ea typeface="ＭＳ Ｐゴシック" pitchFamily="34" charset="-128"/>
            </a:endParaRPr>
          </a:p>
        </p:txBody>
      </p:sp>
      <p:pic>
        <p:nvPicPr>
          <p:cNvPr id="20" name="Picture 2">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27966267"/>
      </p:ext>
    </p:extLst>
  </p:cSld>
  <p:clrMapOvr>
    <a:masterClrMapping/>
  </p:clrMapOvr>
  <p:transition>
    <p:fade/>
  </p:transition>
  <p:timing>
    <p:tnLst>
      <p:par>
        <p:cTn id="1" dur="indefinite" restart="never" nodeType="tmRoot"/>
      </p:par>
    </p:tnLst>
  </p:timing>
</p:sld>
</file>

<file path=ppt/slides/slide4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 Year in Review</a:t>
            </a:r>
            <a:endParaRPr lang="en-US" dirty="0"/>
          </a:p>
        </p:txBody>
      </p:sp>
      <p:sp>
        <p:nvSpPr>
          <p:cNvPr id="6" name="Rectangle 5"/>
          <p:cNvSpPr/>
          <p:nvPr/>
        </p:nvSpPr>
        <p:spPr bwMode="auto">
          <a:xfrm>
            <a:off x="4617828" y="2850508"/>
            <a:ext cx="3903218" cy="1900238"/>
          </a:xfrm>
          <a:prstGeom prst="rect">
            <a:avLst/>
          </a:prstGeom>
          <a:solidFill>
            <a:schemeClr val="accent2"/>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68586" tIns="68589" rIns="68586" bIns="68589" numCol="1" rtlCol="0" anchor="t" anchorCtr="0" compatLnSpc="1">
            <a:prstTxWarp prst="textNoShape">
              <a:avLst/>
            </a:prstTxWarp>
          </a:bodyPr>
          <a:lstStyle/>
          <a:p>
            <a:pPr marL="214341" indent="-214341" defTabSz="685666" fontAlgn="base">
              <a:lnSpc>
                <a:spcPct val="80000"/>
              </a:lnSpc>
              <a:spcBef>
                <a:spcPts val="675"/>
              </a:spcBef>
              <a:spcAft>
                <a:spcPct val="0"/>
              </a:spcAft>
              <a:buClr>
                <a:srgbClr val="FFFFFF">
                  <a:lumMod val="50000"/>
                  <a:lumOff val="50000"/>
                </a:srgbClr>
              </a:buClr>
              <a:buSzPct val="90000"/>
              <a:buFont typeface="Wingdings" pitchFamily="2" charset="2"/>
              <a:buChar char="ü"/>
            </a:pPr>
            <a:r>
              <a:rPr lang="en-US" sz="1300" spc="-30" dirty="0">
                <a:gradFill>
                  <a:gsLst>
                    <a:gs pos="100000">
                      <a:schemeClr val="tx1"/>
                    </a:gs>
                    <a:gs pos="0">
                      <a:schemeClr val="tx1"/>
                    </a:gs>
                  </a:gsLst>
                  <a:lin ang="5400000" scaled="1"/>
                </a:gradFill>
                <a:latin typeface="Segoe UI" pitchFamily="34" charset="0"/>
                <a:ea typeface="Segoe UI" pitchFamily="34" charset="0"/>
                <a:cs typeface="Segoe UI" pitchFamily="34" charset="0"/>
              </a:rPr>
              <a:t>Shipped </a:t>
            </a:r>
            <a:r>
              <a:rPr lang="en-US" sz="1300" b="1" spc="-30" dirty="0">
                <a:gradFill>
                  <a:gsLst>
                    <a:gs pos="100000">
                      <a:schemeClr val="tx1"/>
                    </a:gs>
                    <a:gs pos="0">
                      <a:schemeClr val="tx1"/>
                    </a:gs>
                  </a:gsLst>
                  <a:lin ang="5400000" scaled="1"/>
                </a:gradFill>
                <a:latin typeface="Segoe UI" pitchFamily="34" charset="0"/>
                <a:ea typeface="Segoe UI" pitchFamily="34" charset="0"/>
                <a:cs typeface="Segoe UI" pitchFamily="34" charset="0"/>
              </a:rPr>
              <a:t>System Center 2012, SQL Server 2012</a:t>
            </a:r>
          </a:p>
          <a:p>
            <a:pPr marL="214341" indent="-214341" defTabSz="685666" fontAlgn="base">
              <a:lnSpc>
                <a:spcPct val="80000"/>
              </a:lnSpc>
              <a:spcBef>
                <a:spcPts val="675"/>
              </a:spcBef>
              <a:spcAft>
                <a:spcPct val="0"/>
              </a:spcAft>
              <a:buClr>
                <a:srgbClr val="FFFFFF">
                  <a:lumMod val="50000"/>
                  <a:lumOff val="50000"/>
                </a:srgbClr>
              </a:buClr>
              <a:buSzPct val="90000"/>
              <a:buFont typeface="Wingdings" pitchFamily="2" charset="2"/>
              <a:buChar char="ü"/>
            </a:pPr>
            <a:r>
              <a:rPr lang="en-US" sz="1300" spc="-30" dirty="0">
                <a:gradFill>
                  <a:gsLst>
                    <a:gs pos="100000">
                      <a:schemeClr val="tx1"/>
                    </a:gs>
                    <a:gs pos="0">
                      <a:schemeClr val="tx1"/>
                    </a:gs>
                  </a:gsLst>
                  <a:lin ang="5400000" scaled="1"/>
                </a:gradFill>
                <a:latin typeface="Segoe UI" pitchFamily="34" charset="0"/>
                <a:ea typeface="Segoe UI" pitchFamily="34" charset="0"/>
                <a:cs typeface="Segoe UI" pitchFamily="34" charset="0"/>
              </a:rPr>
              <a:t>Integrated Endpoint Protection with </a:t>
            </a:r>
            <a:r>
              <a:rPr lang="en-US" sz="1300" b="1" spc="-30" dirty="0">
                <a:gradFill>
                  <a:gsLst>
                    <a:gs pos="100000">
                      <a:schemeClr val="tx1"/>
                    </a:gs>
                    <a:gs pos="0">
                      <a:schemeClr val="tx1"/>
                    </a:gs>
                  </a:gsLst>
                  <a:lin ang="5400000" scaled="1"/>
                </a:gradFill>
                <a:latin typeface="Segoe UI" pitchFamily="34" charset="0"/>
                <a:ea typeface="Segoe UI" pitchFamily="34" charset="0"/>
                <a:cs typeface="Segoe UI" pitchFamily="34" charset="0"/>
              </a:rPr>
              <a:t>System Center 2012</a:t>
            </a:r>
          </a:p>
          <a:p>
            <a:pPr marL="214341" indent="-214341" defTabSz="685666" fontAlgn="base">
              <a:lnSpc>
                <a:spcPct val="80000"/>
              </a:lnSpc>
              <a:spcBef>
                <a:spcPts val="675"/>
              </a:spcBef>
              <a:spcAft>
                <a:spcPct val="0"/>
              </a:spcAft>
              <a:buClr>
                <a:srgbClr val="FFFFFF">
                  <a:lumMod val="50000"/>
                  <a:lumOff val="50000"/>
                </a:srgbClr>
              </a:buClr>
              <a:buSzPct val="90000"/>
              <a:buFont typeface="Wingdings" pitchFamily="2" charset="2"/>
              <a:buChar char="ü"/>
            </a:pPr>
            <a:r>
              <a:rPr lang="en-US" sz="1300" spc="-30" dirty="0">
                <a:gradFill>
                  <a:gsLst>
                    <a:gs pos="100000">
                      <a:schemeClr val="tx1"/>
                    </a:gs>
                    <a:gs pos="0">
                      <a:schemeClr val="tx1"/>
                    </a:gs>
                  </a:gsLst>
                  <a:lin ang="5400000" scaled="1"/>
                </a:gradFill>
                <a:latin typeface="Segoe UI" pitchFamily="34" charset="0"/>
                <a:ea typeface="Segoe UI" pitchFamily="34" charset="0"/>
                <a:cs typeface="Segoe UI" pitchFamily="34" charset="0"/>
              </a:rPr>
              <a:t>Shipped </a:t>
            </a:r>
            <a:r>
              <a:rPr lang="en-US" sz="1300" spc="-30" dirty="0">
                <a:gradFill>
                  <a:gsLst>
                    <a:gs pos="100000">
                      <a:schemeClr val="tx1"/>
                    </a:gs>
                    <a:gs pos="0">
                      <a:schemeClr val="tx1"/>
                    </a:gs>
                  </a:gsLst>
                  <a:lin ang="5400000" scaled="1"/>
                </a:gradFill>
                <a:latin typeface="Segoe UI" pitchFamily="34" charset="0"/>
                <a:ea typeface="Segoe UI" pitchFamily="34" charset="0"/>
                <a:cs typeface="Segoe UI" pitchFamily="34" charset="0"/>
              </a:rPr>
              <a:t>third release of </a:t>
            </a:r>
            <a:r>
              <a:rPr lang="en-US" sz="1300" b="1" spc="-30" dirty="0">
                <a:gradFill>
                  <a:gsLst>
                    <a:gs pos="100000">
                      <a:schemeClr val="tx1"/>
                    </a:gs>
                    <a:gs pos="0">
                      <a:schemeClr val="tx1"/>
                    </a:gs>
                  </a:gsLst>
                  <a:lin ang="5400000" scaled="1"/>
                </a:gradFill>
                <a:latin typeface="Segoe UI" pitchFamily="34" charset="0"/>
                <a:ea typeface="Segoe UI" pitchFamily="34" charset="0"/>
                <a:cs typeface="Segoe UI" pitchFamily="34" charset="0"/>
              </a:rPr>
              <a:t>Windows </a:t>
            </a:r>
            <a:r>
              <a:rPr lang="en-US" sz="1300" b="1" spc="-30" dirty="0" err="1">
                <a:gradFill>
                  <a:gsLst>
                    <a:gs pos="100000">
                      <a:schemeClr val="tx1"/>
                    </a:gs>
                    <a:gs pos="0">
                      <a:schemeClr val="tx1"/>
                    </a:gs>
                  </a:gsLst>
                  <a:lin ang="5400000" scaled="1"/>
                </a:gradFill>
                <a:latin typeface="Segoe UI" pitchFamily="34" charset="0"/>
                <a:ea typeface="Segoe UI" pitchFamily="34" charset="0"/>
                <a:cs typeface="Segoe UI" pitchFamily="34" charset="0"/>
              </a:rPr>
              <a:t>Intune</a:t>
            </a:r>
            <a:endParaRPr lang="en-US" sz="1300" spc="-30" dirty="0">
              <a:gradFill>
                <a:gsLst>
                  <a:gs pos="100000">
                    <a:schemeClr val="tx1"/>
                  </a:gs>
                  <a:gs pos="0">
                    <a:schemeClr val="tx1"/>
                  </a:gs>
                </a:gsLst>
                <a:lin ang="5400000" scaled="1"/>
              </a:gradFill>
              <a:latin typeface="Segoe UI" pitchFamily="34" charset="0"/>
              <a:ea typeface="Segoe UI" pitchFamily="34" charset="0"/>
              <a:cs typeface="Segoe UI" pitchFamily="34" charset="0"/>
            </a:endParaRPr>
          </a:p>
          <a:p>
            <a:pPr marL="214341" indent="-214341" defTabSz="685666" fontAlgn="base">
              <a:lnSpc>
                <a:spcPct val="80000"/>
              </a:lnSpc>
              <a:spcBef>
                <a:spcPts val="675"/>
              </a:spcBef>
              <a:spcAft>
                <a:spcPct val="0"/>
              </a:spcAft>
              <a:buClr>
                <a:srgbClr val="FFFFFF">
                  <a:lumMod val="50000"/>
                  <a:lumOff val="50000"/>
                </a:srgbClr>
              </a:buClr>
              <a:buSzPct val="90000"/>
              <a:buFont typeface="Wingdings" pitchFamily="2" charset="2"/>
              <a:buChar char="ü"/>
            </a:pPr>
            <a:r>
              <a:rPr lang="en-US" sz="1300" spc="-30" dirty="0">
                <a:gradFill>
                  <a:gsLst>
                    <a:gs pos="100000">
                      <a:schemeClr val="tx1"/>
                    </a:gs>
                    <a:gs pos="0">
                      <a:schemeClr val="tx1"/>
                    </a:gs>
                  </a:gsLst>
                  <a:lin ang="5400000" scaled="1"/>
                </a:gradFill>
                <a:latin typeface="Segoe UI" pitchFamily="34" charset="0"/>
                <a:ea typeface="Segoe UI" pitchFamily="34" charset="0"/>
                <a:cs typeface="Segoe UI" pitchFamily="34" charset="0"/>
              </a:rPr>
              <a:t>Released Spring </a:t>
            </a:r>
            <a:r>
              <a:rPr lang="en-US" sz="1300" spc="-30" dirty="0">
                <a:gradFill>
                  <a:gsLst>
                    <a:gs pos="100000">
                      <a:schemeClr val="tx1"/>
                    </a:gs>
                    <a:gs pos="0">
                      <a:schemeClr val="tx1"/>
                    </a:gs>
                  </a:gsLst>
                  <a:lin ang="5400000" scaled="1"/>
                </a:gradFill>
                <a:latin typeface="Segoe UI" pitchFamily="34" charset="0"/>
                <a:ea typeface="Segoe UI" pitchFamily="34" charset="0"/>
                <a:cs typeface="Segoe UI" pitchFamily="34" charset="0"/>
              </a:rPr>
              <a:t>release of </a:t>
            </a:r>
            <a:r>
              <a:rPr lang="en-US" sz="1300" b="1" spc="-30" dirty="0">
                <a:gradFill>
                  <a:gsLst>
                    <a:gs pos="100000">
                      <a:schemeClr val="tx1"/>
                    </a:gs>
                    <a:gs pos="0">
                      <a:schemeClr val="tx1"/>
                    </a:gs>
                  </a:gsLst>
                  <a:lin ang="5400000" scaled="1"/>
                </a:gradFill>
                <a:latin typeface="Segoe UI" pitchFamily="34" charset="0"/>
                <a:ea typeface="Segoe UI" pitchFamily="34" charset="0"/>
                <a:cs typeface="Segoe UI" pitchFamily="34" charset="0"/>
              </a:rPr>
              <a:t>Windows Azure </a:t>
            </a:r>
            <a:r>
              <a:rPr lang="en-US" sz="1300" spc="-30" dirty="0">
                <a:gradFill>
                  <a:gsLst>
                    <a:gs pos="100000">
                      <a:schemeClr val="tx1"/>
                    </a:gs>
                    <a:gs pos="0">
                      <a:schemeClr val="tx1"/>
                    </a:gs>
                  </a:gsLst>
                  <a:lin ang="5400000" scaled="1"/>
                </a:gradFill>
                <a:latin typeface="Segoe UI" pitchFamily="34" charset="0"/>
                <a:ea typeface="Segoe UI" pitchFamily="34" charset="0"/>
                <a:cs typeface="Segoe UI" pitchFamily="34" charset="0"/>
              </a:rPr>
              <a:t>(including </a:t>
            </a:r>
            <a:r>
              <a:rPr lang="en-US" sz="1300" spc="-30" dirty="0" err="1">
                <a:gradFill>
                  <a:gsLst>
                    <a:gs pos="100000">
                      <a:schemeClr val="tx1"/>
                    </a:gs>
                    <a:gs pos="0">
                      <a:schemeClr val="tx1"/>
                    </a:gs>
                  </a:gsLst>
                  <a:lin ang="5400000" scaled="1"/>
                </a:gradFill>
                <a:latin typeface="Segoe UI" pitchFamily="34" charset="0"/>
                <a:ea typeface="Segoe UI" pitchFamily="34" charset="0"/>
                <a:cs typeface="Segoe UI" pitchFamily="34" charset="0"/>
              </a:rPr>
              <a:t>IaaS</a:t>
            </a:r>
            <a:r>
              <a:rPr lang="en-US" sz="1300" spc="-30" dirty="0">
                <a:gradFill>
                  <a:gsLst>
                    <a:gs pos="100000">
                      <a:schemeClr val="tx1"/>
                    </a:gs>
                    <a:gs pos="0">
                      <a:schemeClr val="tx1"/>
                    </a:gs>
                  </a:gsLst>
                  <a:lin ang="5400000" scaled="1"/>
                </a:gradFill>
                <a:latin typeface="Segoe UI" pitchFamily="34" charset="0"/>
                <a:ea typeface="Segoe UI" pitchFamily="34" charset="0"/>
                <a:cs typeface="Segoe UI" pitchFamily="34" charset="0"/>
              </a:rPr>
              <a:t>)</a:t>
            </a:r>
          </a:p>
          <a:p>
            <a:pPr marL="214341" indent="-214341" defTabSz="685666" fontAlgn="base">
              <a:lnSpc>
                <a:spcPct val="80000"/>
              </a:lnSpc>
              <a:spcBef>
                <a:spcPts val="675"/>
              </a:spcBef>
              <a:spcAft>
                <a:spcPct val="0"/>
              </a:spcAft>
              <a:buClr>
                <a:srgbClr val="FFFFFF">
                  <a:lumMod val="50000"/>
                  <a:lumOff val="50000"/>
                </a:srgbClr>
              </a:buClr>
              <a:buSzPct val="90000"/>
              <a:buFont typeface="Wingdings" pitchFamily="2" charset="2"/>
              <a:buChar char="ü"/>
            </a:pPr>
            <a:r>
              <a:rPr lang="en-US" sz="1300" spc="-30" dirty="0">
                <a:gradFill>
                  <a:gsLst>
                    <a:gs pos="100000">
                      <a:schemeClr val="tx1"/>
                    </a:gs>
                    <a:gs pos="0">
                      <a:schemeClr val="tx1"/>
                    </a:gs>
                  </a:gsLst>
                  <a:lin ang="5400000" scaled="1"/>
                </a:gradFill>
                <a:latin typeface="Segoe UI" pitchFamily="34" charset="0"/>
                <a:ea typeface="Segoe UI" pitchFamily="34" charset="0"/>
                <a:cs typeface="Segoe UI" pitchFamily="34" charset="0"/>
              </a:rPr>
              <a:t>Released Technical </a:t>
            </a:r>
            <a:r>
              <a:rPr lang="en-US" sz="1300" spc="-30" dirty="0">
                <a:gradFill>
                  <a:gsLst>
                    <a:gs pos="100000">
                      <a:schemeClr val="tx1"/>
                    </a:gs>
                    <a:gs pos="0">
                      <a:schemeClr val="tx1"/>
                    </a:gs>
                  </a:gsLst>
                  <a:lin ang="5400000" scaled="1"/>
                </a:gradFill>
                <a:latin typeface="Segoe UI" pitchFamily="34" charset="0"/>
                <a:ea typeface="Segoe UI" pitchFamily="34" charset="0"/>
                <a:cs typeface="Segoe UI" pitchFamily="34" charset="0"/>
              </a:rPr>
              <a:t>Preview of </a:t>
            </a:r>
            <a:r>
              <a:rPr lang="en-US" sz="1300" b="1" spc="-30" dirty="0">
                <a:gradFill>
                  <a:gsLst>
                    <a:gs pos="100000">
                      <a:schemeClr val="tx1"/>
                    </a:gs>
                    <a:gs pos="0">
                      <a:schemeClr val="tx1"/>
                    </a:gs>
                  </a:gsLst>
                  <a:lin ang="5400000" scaled="1"/>
                </a:gradFill>
                <a:latin typeface="Segoe UI" pitchFamily="34" charset="0"/>
                <a:ea typeface="Segoe UI" pitchFamily="34" charset="0"/>
                <a:cs typeface="Segoe UI" pitchFamily="34" charset="0"/>
              </a:rPr>
              <a:t>Office 15</a:t>
            </a:r>
          </a:p>
          <a:p>
            <a:pPr marL="214341" indent="-214341" defTabSz="685666" fontAlgn="base">
              <a:lnSpc>
                <a:spcPct val="80000"/>
              </a:lnSpc>
              <a:spcBef>
                <a:spcPts val="675"/>
              </a:spcBef>
              <a:spcAft>
                <a:spcPct val="0"/>
              </a:spcAft>
              <a:buClr>
                <a:srgbClr val="FFFFFF">
                  <a:lumMod val="50000"/>
                  <a:lumOff val="50000"/>
                </a:srgbClr>
              </a:buClr>
              <a:buSzPct val="90000"/>
              <a:buFont typeface="Wingdings" pitchFamily="2" charset="2"/>
              <a:buChar char="ü"/>
            </a:pPr>
            <a:r>
              <a:rPr lang="en-US" sz="1300" spc="-30" dirty="0">
                <a:gradFill>
                  <a:gsLst>
                    <a:gs pos="100000">
                      <a:schemeClr val="tx1"/>
                    </a:gs>
                    <a:gs pos="0">
                      <a:schemeClr val="tx1"/>
                    </a:gs>
                  </a:gsLst>
                  <a:lin ang="5400000" scaled="1"/>
                </a:gradFill>
                <a:latin typeface="Segoe UI" pitchFamily="34" charset="0"/>
                <a:ea typeface="Segoe UI" pitchFamily="34" charset="0"/>
                <a:cs typeface="Segoe UI" pitchFamily="34" charset="0"/>
              </a:rPr>
              <a:t>Released previews </a:t>
            </a:r>
            <a:r>
              <a:rPr lang="en-US" sz="1300" spc="-30" dirty="0">
                <a:gradFill>
                  <a:gsLst>
                    <a:gs pos="100000">
                      <a:schemeClr val="tx1"/>
                    </a:gs>
                    <a:gs pos="0">
                      <a:schemeClr val="tx1"/>
                    </a:gs>
                  </a:gsLst>
                  <a:lin ang="5400000" scaled="1"/>
                </a:gradFill>
                <a:latin typeface="Segoe UI" pitchFamily="34" charset="0"/>
                <a:ea typeface="Segoe UI" pitchFamily="34" charset="0"/>
                <a:cs typeface="Segoe UI" pitchFamily="34" charset="0"/>
              </a:rPr>
              <a:t>of </a:t>
            </a:r>
            <a:r>
              <a:rPr lang="en-US" sz="1300" b="1" spc="-30" dirty="0">
                <a:gradFill>
                  <a:gsLst>
                    <a:gs pos="100000">
                      <a:schemeClr val="tx1"/>
                    </a:gs>
                    <a:gs pos="0">
                      <a:schemeClr val="tx1"/>
                    </a:gs>
                  </a:gsLst>
                  <a:lin ang="5400000" scaled="1"/>
                </a:gradFill>
                <a:latin typeface="Segoe UI" pitchFamily="34" charset="0"/>
                <a:ea typeface="Segoe UI" pitchFamily="34" charset="0"/>
                <a:cs typeface="Segoe UI" pitchFamily="34" charset="0"/>
              </a:rPr>
              <a:t>Windows 8</a:t>
            </a:r>
            <a:r>
              <a:rPr lang="en-US" sz="1300" spc="-30" dirty="0">
                <a:gradFill>
                  <a:gsLst>
                    <a:gs pos="100000">
                      <a:schemeClr val="tx1"/>
                    </a:gs>
                    <a:gs pos="0">
                      <a:schemeClr val="tx1"/>
                    </a:gs>
                  </a:gsLst>
                  <a:lin ang="5400000" scaled="1"/>
                </a:gradFill>
                <a:latin typeface="Segoe UI" pitchFamily="34" charset="0"/>
                <a:ea typeface="Segoe UI" pitchFamily="34" charset="0"/>
                <a:cs typeface="Segoe UI" pitchFamily="34" charset="0"/>
              </a:rPr>
              <a:t> and </a:t>
            </a:r>
            <a:r>
              <a:rPr lang="en-US" sz="1300" b="1" spc="-30" dirty="0">
                <a:gradFill>
                  <a:gsLst>
                    <a:gs pos="100000">
                      <a:schemeClr val="tx1"/>
                    </a:gs>
                    <a:gs pos="0">
                      <a:schemeClr val="tx1"/>
                    </a:gs>
                  </a:gsLst>
                  <a:lin ang="5400000" scaled="1"/>
                </a:gradFill>
                <a:latin typeface="Segoe UI" pitchFamily="34" charset="0"/>
                <a:ea typeface="Segoe UI" pitchFamily="34" charset="0"/>
                <a:cs typeface="Segoe UI" pitchFamily="34" charset="0"/>
              </a:rPr>
              <a:t>Windows Server 2012</a:t>
            </a:r>
          </a:p>
        </p:txBody>
      </p:sp>
      <p:pic>
        <p:nvPicPr>
          <p:cNvPr id="7" name="Picture 5"/>
          <p:cNvPicPr>
            <a:picLocks noChangeAspect="1" noChangeArrowheads="1"/>
          </p:cNvPicPr>
          <p:nvPr/>
        </p:nvPicPr>
        <p:blipFill rotWithShape="1">
          <a:blip r:embed="rId3">
            <a:extLst>
              <a:ext uri="{28A0092B-C50C-407E-A947-70E740481C1C}">
                <a14:useLocalDpi xmlns:a14="http://schemas.microsoft.com/office/drawing/2010/main" val="0"/>
              </a:ext>
            </a:extLst>
          </a:blip>
          <a:srcRect t="11228" b="15205"/>
          <a:stretch/>
        </p:blipFill>
        <p:spPr bwMode="auto">
          <a:xfrm flipH="1">
            <a:off x="648396" y="2850508"/>
            <a:ext cx="3876747" cy="19002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5" name="Group 14"/>
          <p:cNvGrpSpPr/>
          <p:nvPr/>
        </p:nvGrpSpPr>
        <p:grpSpPr>
          <a:xfrm>
            <a:off x="630996" y="864546"/>
            <a:ext cx="1900732" cy="1900238"/>
            <a:chOff x="841108" y="1152728"/>
            <a:chExt cx="2533649" cy="2533650"/>
          </a:xfrm>
        </p:grpSpPr>
        <p:sp>
          <p:nvSpPr>
            <p:cNvPr id="3" name="Rectangle 2"/>
            <p:cNvSpPr/>
            <p:nvPr/>
          </p:nvSpPr>
          <p:spPr bwMode="auto">
            <a:xfrm>
              <a:off x="841108" y="1152728"/>
              <a:ext cx="2533649" cy="2533650"/>
            </a:xfrm>
            <a:prstGeom prst="rect">
              <a:avLst/>
            </a:prstGeom>
            <a:solidFill>
              <a:schemeClr val="accent2"/>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1436" tIns="91440" rIns="91436" bIns="91440" numCol="1" rtlCol="0" anchor="t" anchorCtr="0" compatLnSpc="1">
              <a:prstTxWarp prst="textNoShape">
                <a:avLst/>
              </a:prstTxWarp>
            </a:bodyPr>
            <a:lstStyle/>
            <a:p>
              <a:pPr defTabSz="685666" fontAlgn="base">
                <a:lnSpc>
                  <a:spcPct val="80000"/>
                </a:lnSpc>
                <a:spcBef>
                  <a:spcPct val="0"/>
                </a:spcBef>
                <a:spcAft>
                  <a:spcPct val="0"/>
                </a:spcAft>
                <a:buClr>
                  <a:srgbClr val="FFFFFF">
                    <a:lumMod val="50000"/>
                    <a:lumOff val="50000"/>
                  </a:srgbClr>
                </a:buClr>
                <a:buSzPct val="90000"/>
              </a:pPr>
              <a:r>
                <a:rPr lang="en-US" sz="1300" spc="-30" dirty="0">
                  <a:gradFill>
                    <a:gsLst>
                      <a:gs pos="100000">
                        <a:schemeClr val="tx1"/>
                      </a:gs>
                      <a:gs pos="0">
                        <a:schemeClr val="tx1"/>
                      </a:gs>
                    </a:gsLst>
                    <a:lin ang="5400000" scaled="1"/>
                  </a:gradFill>
                  <a:latin typeface="Segoe UI" pitchFamily="34" charset="0"/>
                  <a:ea typeface="Segoe UI" pitchFamily="34" charset="0"/>
                  <a:cs typeface="Segoe UI" pitchFamily="34" charset="0"/>
                </a:rPr>
                <a:t>In 2011 power users owned between 5 </a:t>
              </a:r>
              <a:r>
                <a:rPr lang="en-US" sz="1300" spc="-30" dirty="0">
                  <a:gradFill>
                    <a:gsLst>
                      <a:gs pos="100000">
                        <a:schemeClr val="tx1"/>
                      </a:gs>
                      <a:gs pos="0">
                        <a:schemeClr val="tx1"/>
                      </a:gs>
                    </a:gsLst>
                    <a:lin ang="5400000" scaled="1"/>
                  </a:gradFill>
                  <a:latin typeface="Segoe UI" pitchFamily="34" charset="0"/>
                  <a:ea typeface="Segoe UI" pitchFamily="34" charset="0"/>
                  <a:cs typeface="Segoe UI" pitchFamily="34" charset="0"/>
                </a:rPr>
                <a:t/>
              </a:r>
              <a:br>
                <a:rPr lang="en-US" sz="1300" spc="-30" dirty="0">
                  <a:gradFill>
                    <a:gsLst>
                      <a:gs pos="100000">
                        <a:schemeClr val="tx1"/>
                      </a:gs>
                      <a:gs pos="0">
                        <a:schemeClr val="tx1"/>
                      </a:gs>
                    </a:gsLst>
                    <a:lin ang="5400000" scaled="1"/>
                  </a:gradFill>
                  <a:latin typeface="Segoe UI" pitchFamily="34" charset="0"/>
                  <a:ea typeface="Segoe UI" pitchFamily="34" charset="0"/>
                  <a:cs typeface="Segoe UI" pitchFamily="34" charset="0"/>
                </a:rPr>
              </a:br>
              <a:r>
                <a:rPr lang="en-US" sz="1300" spc="-30" dirty="0">
                  <a:gradFill>
                    <a:gsLst>
                      <a:gs pos="100000">
                        <a:schemeClr val="tx1"/>
                      </a:gs>
                      <a:gs pos="0">
                        <a:schemeClr val="tx1"/>
                      </a:gs>
                    </a:gsLst>
                    <a:lin ang="5400000" scaled="1"/>
                  </a:gradFill>
                  <a:latin typeface="Segoe UI" pitchFamily="34" charset="0"/>
                  <a:ea typeface="Segoe UI" pitchFamily="34" charset="0"/>
                  <a:cs typeface="Segoe UI" pitchFamily="34" charset="0"/>
                </a:rPr>
                <a:t>and </a:t>
              </a:r>
              <a:r>
                <a:rPr lang="en-US" sz="1300" spc="-30" dirty="0">
                  <a:gradFill>
                    <a:gsLst>
                      <a:gs pos="100000">
                        <a:schemeClr val="tx1"/>
                      </a:gs>
                      <a:gs pos="0">
                        <a:schemeClr val="tx1"/>
                      </a:gs>
                    </a:gsLst>
                    <a:lin ang="5400000" scaled="1"/>
                  </a:gradFill>
                  <a:latin typeface="Segoe UI" pitchFamily="34" charset="0"/>
                  <a:ea typeface="Segoe UI" pitchFamily="34" charset="0"/>
                  <a:cs typeface="Segoe UI" pitchFamily="34" charset="0"/>
                </a:rPr>
                <a:t>7 internet </a:t>
              </a:r>
              <a:r>
                <a:rPr lang="en-US" sz="1300" spc="-30" dirty="0">
                  <a:gradFill>
                    <a:gsLst>
                      <a:gs pos="100000">
                        <a:schemeClr val="tx1"/>
                      </a:gs>
                      <a:gs pos="0">
                        <a:schemeClr val="tx1"/>
                      </a:gs>
                    </a:gsLst>
                    <a:lin ang="5400000" scaled="1"/>
                  </a:gradFill>
                  <a:latin typeface="Segoe UI" pitchFamily="34" charset="0"/>
                  <a:ea typeface="Segoe UI" pitchFamily="34" charset="0"/>
                  <a:cs typeface="Segoe UI" pitchFamily="34" charset="0"/>
                </a:rPr>
                <a:t/>
              </a:r>
              <a:br>
                <a:rPr lang="en-US" sz="1300" spc="-30" dirty="0">
                  <a:gradFill>
                    <a:gsLst>
                      <a:gs pos="100000">
                        <a:schemeClr val="tx1"/>
                      </a:gs>
                      <a:gs pos="0">
                        <a:schemeClr val="tx1"/>
                      </a:gs>
                    </a:gsLst>
                    <a:lin ang="5400000" scaled="1"/>
                  </a:gradFill>
                  <a:latin typeface="Segoe UI" pitchFamily="34" charset="0"/>
                  <a:ea typeface="Segoe UI" pitchFamily="34" charset="0"/>
                  <a:cs typeface="Segoe UI" pitchFamily="34" charset="0"/>
                </a:rPr>
              </a:br>
              <a:r>
                <a:rPr lang="en-US" sz="1300" spc="-30" dirty="0">
                  <a:gradFill>
                    <a:gsLst>
                      <a:gs pos="100000">
                        <a:schemeClr val="tx1"/>
                      </a:gs>
                      <a:gs pos="0">
                        <a:schemeClr val="tx1"/>
                      </a:gs>
                    </a:gsLst>
                    <a:lin ang="5400000" scaled="1"/>
                  </a:gradFill>
                  <a:latin typeface="Segoe UI" pitchFamily="34" charset="0"/>
                  <a:ea typeface="Segoe UI" pitchFamily="34" charset="0"/>
                  <a:cs typeface="Segoe UI" pitchFamily="34" charset="0"/>
                </a:rPr>
                <a:t>connected </a:t>
              </a:r>
              <a:r>
                <a:rPr lang="en-US" sz="1300" spc="-30" dirty="0">
                  <a:gradFill>
                    <a:gsLst>
                      <a:gs pos="100000">
                        <a:schemeClr val="tx1"/>
                      </a:gs>
                      <a:gs pos="0">
                        <a:schemeClr val="tx1"/>
                      </a:gs>
                    </a:gsLst>
                    <a:lin ang="5400000" scaled="1"/>
                  </a:gradFill>
                  <a:latin typeface="Segoe UI" pitchFamily="34" charset="0"/>
                  <a:ea typeface="Segoe UI" pitchFamily="34" charset="0"/>
                  <a:cs typeface="Segoe UI" pitchFamily="34" charset="0"/>
                </a:rPr>
                <a:t>devices</a:t>
              </a:r>
            </a:p>
          </p:txBody>
        </p:sp>
        <p:sp>
          <p:nvSpPr>
            <p:cNvPr id="12" name="Rectangle 11"/>
            <p:cNvSpPr/>
            <p:nvPr/>
          </p:nvSpPr>
          <p:spPr>
            <a:xfrm>
              <a:off x="841108" y="3021262"/>
              <a:ext cx="2533649" cy="656590"/>
            </a:xfrm>
            <a:prstGeom prst="rect">
              <a:avLst/>
            </a:prstGeom>
            <a:noFill/>
          </p:spPr>
          <p:txBody>
            <a:bodyPr wrap="square" tIns="91440" bIns="91440" anchor="b">
              <a:spAutoFit/>
            </a:bodyPr>
            <a:lstStyle/>
            <a:p>
              <a:pPr defTabSz="685666" fontAlgn="base">
                <a:lnSpc>
                  <a:spcPts val="750"/>
                </a:lnSpc>
                <a:spcBef>
                  <a:spcPct val="0"/>
                </a:spcBef>
                <a:spcAft>
                  <a:spcPct val="0"/>
                </a:spcAft>
                <a:buClr>
                  <a:srgbClr val="FFFFFF">
                    <a:lumMod val="50000"/>
                    <a:lumOff val="50000"/>
                  </a:srgbClr>
                </a:buClr>
                <a:buSzPct val="90000"/>
              </a:pPr>
              <a:r>
                <a:rPr lang="en-US" sz="500" spc="-30" dirty="0">
                  <a:solidFill>
                    <a:srgbClr val="FFFFFF">
                      <a:alpha val="98824"/>
                    </a:srgbClr>
                  </a:solidFill>
                  <a:latin typeface="Segoe UI" pitchFamily="34" charset="0"/>
                  <a:ea typeface="Segoe UI" pitchFamily="34" charset="0"/>
                  <a:cs typeface="Segoe UI" pitchFamily="34" charset="0"/>
                </a:rPr>
                <a:t>Source: IDC, </a:t>
              </a:r>
              <a:r>
                <a:rPr lang="en-US" sz="500" spc="-30" dirty="0">
                  <a:solidFill>
                    <a:srgbClr val="FFFFFF">
                      <a:alpha val="98824"/>
                    </a:srgbClr>
                  </a:solidFill>
                  <a:latin typeface="Segoe UI" pitchFamily="34" charset="0"/>
                  <a:ea typeface="Segoe UI" pitchFamily="34" charset="0"/>
                  <a:cs typeface="Segoe UI" pitchFamily="34" charset="0"/>
                </a:rPr>
                <a:t>2010-2011</a:t>
              </a:r>
              <a:br>
                <a:rPr lang="en-US" sz="500" spc="-30" dirty="0">
                  <a:solidFill>
                    <a:srgbClr val="FFFFFF">
                      <a:alpha val="98824"/>
                    </a:srgbClr>
                  </a:solidFill>
                  <a:latin typeface="Segoe UI" pitchFamily="34" charset="0"/>
                  <a:ea typeface="Segoe UI" pitchFamily="34" charset="0"/>
                  <a:cs typeface="Segoe UI" pitchFamily="34" charset="0"/>
                </a:rPr>
              </a:br>
              <a:r>
                <a:rPr lang="en-US" sz="500" spc="-30" dirty="0">
                  <a:solidFill>
                    <a:srgbClr val="FFFFFF">
                      <a:alpha val="98824"/>
                    </a:srgbClr>
                  </a:solidFill>
                  <a:latin typeface="Segoe UI" pitchFamily="34" charset="0"/>
                  <a:ea typeface="Segoe UI" pitchFamily="34" charset="0"/>
                  <a:cs typeface="Segoe UI" pitchFamily="34" charset="0"/>
                </a:rPr>
                <a:t>Media </a:t>
              </a:r>
              <a:r>
                <a:rPr lang="en-US" sz="500" spc="-30" dirty="0">
                  <a:solidFill>
                    <a:srgbClr val="FFFFFF">
                      <a:alpha val="98824"/>
                    </a:srgbClr>
                  </a:solidFill>
                  <a:latin typeface="Segoe UI" pitchFamily="34" charset="0"/>
                  <a:ea typeface="Segoe UI" pitchFamily="34" charset="0"/>
                  <a:cs typeface="Segoe UI" pitchFamily="34" charset="0"/>
                </a:rPr>
                <a:t>Tablet </a:t>
              </a:r>
              <a:r>
                <a:rPr lang="en-US" sz="500" spc="-30" dirty="0">
                  <a:solidFill>
                    <a:srgbClr val="FFFFFF">
                      <a:alpha val="98824"/>
                    </a:srgbClr>
                  </a:solidFill>
                  <a:latin typeface="Segoe UI" pitchFamily="34" charset="0"/>
                  <a:ea typeface="Segoe UI" pitchFamily="34" charset="0"/>
                  <a:cs typeface="Segoe UI" pitchFamily="34" charset="0"/>
                </a:rPr>
                <a:t>Multi-Client Study</a:t>
              </a:r>
              <a:r>
                <a:rPr lang="en-US" sz="500" spc="-30" dirty="0">
                  <a:solidFill>
                    <a:srgbClr val="FFFFFF">
                      <a:alpha val="98824"/>
                    </a:srgbClr>
                  </a:solidFill>
                  <a:latin typeface="Segoe UI" pitchFamily="34" charset="0"/>
                  <a:ea typeface="Segoe UI" pitchFamily="34" charset="0"/>
                  <a:cs typeface="Segoe UI" pitchFamily="34" charset="0"/>
                </a:rPr>
                <a:t>, February 2011.  </a:t>
              </a:r>
              <a:endParaRPr lang="en-US" sz="500" spc="-30" dirty="0">
                <a:solidFill>
                  <a:srgbClr val="FFFFFF">
                    <a:alpha val="98824"/>
                  </a:srgbClr>
                </a:solidFill>
                <a:latin typeface="Segoe UI" pitchFamily="34" charset="0"/>
                <a:ea typeface="Segoe UI" pitchFamily="34" charset="0"/>
                <a:cs typeface="Segoe UI" pitchFamily="34" charset="0"/>
              </a:endParaRPr>
            </a:p>
            <a:p>
              <a:pPr defTabSz="685666" fontAlgn="base">
                <a:lnSpc>
                  <a:spcPts val="750"/>
                </a:lnSpc>
                <a:spcBef>
                  <a:spcPct val="0"/>
                </a:spcBef>
                <a:spcAft>
                  <a:spcPct val="0"/>
                </a:spcAft>
                <a:buClr>
                  <a:srgbClr val="FFFFFF">
                    <a:lumMod val="50000"/>
                    <a:lumOff val="50000"/>
                  </a:srgbClr>
                </a:buClr>
                <a:buSzPct val="90000"/>
              </a:pPr>
              <a:r>
                <a:rPr lang="en-US" sz="500" spc="-30" dirty="0">
                  <a:solidFill>
                    <a:srgbClr val="FFFFFF">
                      <a:alpha val="98824"/>
                    </a:srgbClr>
                  </a:solidFill>
                  <a:latin typeface="Segoe UI" pitchFamily="34" charset="0"/>
                  <a:ea typeface="Segoe UI" pitchFamily="34" charset="0"/>
                  <a:cs typeface="Segoe UI" pitchFamily="34" charset="0"/>
                </a:rPr>
                <a:t>Note</a:t>
              </a:r>
              <a:r>
                <a:rPr lang="en-US" sz="500" spc="-30" dirty="0">
                  <a:solidFill>
                    <a:srgbClr val="FFFFFF">
                      <a:alpha val="98824"/>
                    </a:srgbClr>
                  </a:solidFill>
                  <a:latin typeface="Segoe UI" pitchFamily="34" charset="0"/>
                  <a:ea typeface="Segoe UI" pitchFamily="34" charset="0"/>
                  <a:cs typeface="Segoe UI" pitchFamily="34" charset="0"/>
                </a:rPr>
                <a:t>: IDC only surveyed </a:t>
              </a:r>
              <a:r>
                <a:rPr lang="en-US" sz="500" spc="-30" dirty="0" err="1">
                  <a:solidFill>
                    <a:srgbClr val="FFFFFF">
                      <a:alpha val="98824"/>
                    </a:srgbClr>
                  </a:solidFill>
                  <a:latin typeface="Segoe UI" pitchFamily="34" charset="0"/>
                  <a:ea typeface="Segoe UI" pitchFamily="34" charset="0"/>
                  <a:cs typeface="Segoe UI" pitchFamily="34" charset="0"/>
                </a:rPr>
                <a:t>iPad</a:t>
              </a:r>
              <a:r>
                <a:rPr lang="en-US" sz="500" spc="-30" dirty="0">
                  <a:solidFill>
                    <a:srgbClr val="FFFFFF">
                      <a:alpha val="98824"/>
                    </a:srgbClr>
                  </a:solidFill>
                  <a:latin typeface="Segoe UI" pitchFamily="34" charset="0"/>
                  <a:ea typeface="Segoe UI" pitchFamily="34" charset="0"/>
                  <a:cs typeface="Segoe UI" pitchFamily="34" charset="0"/>
                </a:rPr>
                <a:t> owners for this study.</a:t>
              </a:r>
            </a:p>
          </p:txBody>
        </p:sp>
      </p:grpSp>
      <p:grpSp>
        <p:nvGrpSpPr>
          <p:cNvPr id="16" name="Group 15"/>
          <p:cNvGrpSpPr/>
          <p:nvPr/>
        </p:nvGrpSpPr>
        <p:grpSpPr>
          <a:xfrm>
            <a:off x="2624412" y="864546"/>
            <a:ext cx="1900732" cy="1900238"/>
            <a:chOff x="3498305" y="1152728"/>
            <a:chExt cx="2533649" cy="2533650"/>
          </a:xfrm>
        </p:grpSpPr>
        <p:sp>
          <p:nvSpPr>
            <p:cNvPr id="4" name="Rectangle 3"/>
            <p:cNvSpPr/>
            <p:nvPr/>
          </p:nvSpPr>
          <p:spPr bwMode="auto">
            <a:xfrm>
              <a:off x="3498305" y="1152728"/>
              <a:ext cx="2533649" cy="2533650"/>
            </a:xfrm>
            <a:prstGeom prst="rect">
              <a:avLst/>
            </a:prstGeom>
            <a:solidFill>
              <a:schemeClr val="tx1"/>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1436" tIns="91440" rIns="91436" bIns="91440" numCol="1" rtlCol="0" anchor="t" anchorCtr="0" compatLnSpc="1">
              <a:prstTxWarp prst="textNoShape">
                <a:avLst/>
              </a:prstTxWarp>
            </a:bodyPr>
            <a:lstStyle/>
            <a:p>
              <a:pPr defTabSz="685666" fontAlgn="base">
                <a:lnSpc>
                  <a:spcPct val="80000"/>
                </a:lnSpc>
                <a:spcBef>
                  <a:spcPts val="900"/>
                </a:spcBef>
                <a:spcAft>
                  <a:spcPct val="0"/>
                </a:spcAft>
                <a:buClr>
                  <a:srgbClr val="FFFFFF">
                    <a:lumMod val="50000"/>
                    <a:lumOff val="50000"/>
                  </a:srgbClr>
                </a:buClr>
                <a:buSzPct val="90000"/>
              </a:pPr>
              <a:r>
                <a:rPr lang="en-US" sz="1300" spc="-30" dirty="0">
                  <a:gradFill>
                    <a:gsLst>
                      <a:gs pos="100000">
                        <a:schemeClr val="accent1"/>
                      </a:gs>
                      <a:gs pos="0">
                        <a:schemeClr val="accent1"/>
                      </a:gs>
                    </a:gsLst>
                    <a:lin ang="5400000" scaled="1"/>
                  </a:gradFill>
                  <a:latin typeface="Segoe UI" pitchFamily="34" charset="0"/>
                  <a:ea typeface="Segoe UI" pitchFamily="34" charset="0"/>
                  <a:cs typeface="Segoe UI" pitchFamily="34" charset="0"/>
                </a:rPr>
                <a:t>13% of information workers say they use tablets at work, but IT is aware of only 6%</a:t>
              </a:r>
            </a:p>
            <a:p>
              <a:pPr defTabSz="685666" fontAlgn="base">
                <a:lnSpc>
                  <a:spcPct val="80000"/>
                </a:lnSpc>
                <a:spcBef>
                  <a:spcPts val="900"/>
                </a:spcBef>
                <a:spcAft>
                  <a:spcPct val="0"/>
                </a:spcAft>
                <a:buClr>
                  <a:srgbClr val="FFFFFF">
                    <a:lumMod val="50000"/>
                    <a:lumOff val="50000"/>
                  </a:srgbClr>
                </a:buClr>
                <a:buSzPct val="90000"/>
              </a:pPr>
              <a:endParaRPr lang="en-US" sz="1300" spc="-30" dirty="0">
                <a:gradFill>
                  <a:gsLst>
                    <a:gs pos="100000">
                      <a:schemeClr val="accent1"/>
                    </a:gs>
                    <a:gs pos="0">
                      <a:schemeClr val="accent1"/>
                    </a:gs>
                  </a:gsLst>
                  <a:lin ang="5400000" scaled="1"/>
                </a:gradFill>
                <a:latin typeface="Segoe UI" pitchFamily="34" charset="0"/>
                <a:ea typeface="Segoe UI" pitchFamily="34" charset="0"/>
                <a:cs typeface="Segoe UI" pitchFamily="34" charset="0"/>
              </a:endParaRPr>
            </a:p>
          </p:txBody>
        </p:sp>
        <p:sp>
          <p:nvSpPr>
            <p:cNvPr id="13" name="Rectangle 12"/>
            <p:cNvSpPr/>
            <p:nvPr/>
          </p:nvSpPr>
          <p:spPr>
            <a:xfrm>
              <a:off x="3498305" y="3158053"/>
              <a:ext cx="2533649" cy="519800"/>
            </a:xfrm>
            <a:prstGeom prst="rect">
              <a:avLst/>
            </a:prstGeom>
            <a:noFill/>
          </p:spPr>
          <p:txBody>
            <a:bodyPr wrap="square" tIns="91440" bIns="91440" anchor="b">
              <a:spAutoFit/>
            </a:bodyPr>
            <a:lstStyle/>
            <a:p>
              <a:pPr marL="83355" defTabSz="685666" fontAlgn="base">
                <a:lnSpc>
                  <a:spcPts val="750"/>
                </a:lnSpc>
                <a:spcBef>
                  <a:spcPct val="0"/>
                </a:spcBef>
                <a:spcAft>
                  <a:spcPct val="0"/>
                </a:spcAft>
                <a:buClr>
                  <a:srgbClr val="FFFFFF">
                    <a:lumMod val="50000"/>
                    <a:lumOff val="50000"/>
                  </a:srgbClr>
                </a:buClr>
                <a:buSzPct val="90000"/>
              </a:pPr>
              <a:r>
                <a:rPr lang="en-US" sz="500" i="1" spc="-30" dirty="0">
                  <a:gradFill>
                    <a:gsLst>
                      <a:gs pos="100000">
                        <a:schemeClr val="accent1"/>
                      </a:gs>
                      <a:gs pos="0">
                        <a:schemeClr val="accent1"/>
                      </a:gs>
                    </a:gsLst>
                    <a:lin ang="5400000" scaled="1"/>
                  </a:gradFill>
                  <a:latin typeface="Segoe UI" pitchFamily="34" charset="0"/>
                  <a:ea typeface="Segoe UI" pitchFamily="34" charset="0"/>
                  <a:cs typeface="Segoe UI" pitchFamily="34" charset="0"/>
                </a:rPr>
                <a:t>Source for both: IDC 2011 Consumerization of IT Study: Closing the "Consumerization Gap," sponsored by Unisys, July 2011</a:t>
              </a:r>
            </a:p>
          </p:txBody>
        </p:sp>
      </p:grpSp>
      <p:grpSp>
        <p:nvGrpSpPr>
          <p:cNvPr id="17" name="Group 16"/>
          <p:cNvGrpSpPr/>
          <p:nvPr/>
        </p:nvGrpSpPr>
        <p:grpSpPr>
          <a:xfrm>
            <a:off x="4617828" y="864546"/>
            <a:ext cx="3903218" cy="1900238"/>
            <a:chOff x="6155500" y="1152728"/>
            <a:chExt cx="5202936" cy="2533650"/>
          </a:xfrm>
        </p:grpSpPr>
        <p:sp>
          <p:nvSpPr>
            <p:cNvPr id="5" name="Rectangle 4"/>
            <p:cNvSpPr/>
            <p:nvPr/>
          </p:nvSpPr>
          <p:spPr bwMode="auto">
            <a:xfrm>
              <a:off x="6155500" y="1152728"/>
              <a:ext cx="5202936" cy="2533650"/>
            </a:xfrm>
            <a:prstGeom prst="rect">
              <a:avLst/>
            </a:prstGeom>
            <a:solidFill>
              <a:schemeClr val="accent1"/>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1436" tIns="91440" rIns="91436" bIns="91440" numCol="1" rtlCol="0" anchor="t" anchorCtr="0" compatLnSpc="1">
              <a:prstTxWarp prst="textNoShape">
                <a:avLst/>
              </a:prstTxWarp>
            </a:bodyPr>
            <a:lstStyle/>
            <a:p>
              <a:pPr marL="175046" indent="-175046" defTabSz="685666" fontAlgn="base">
                <a:lnSpc>
                  <a:spcPct val="80000"/>
                </a:lnSpc>
                <a:spcBef>
                  <a:spcPts val="675"/>
                </a:spcBef>
                <a:spcAft>
                  <a:spcPct val="0"/>
                </a:spcAft>
                <a:buClr>
                  <a:srgbClr val="FFFFFF">
                    <a:lumMod val="50000"/>
                    <a:lumOff val="50000"/>
                  </a:srgbClr>
                </a:buClr>
                <a:buSzPct val="90000"/>
                <a:buFont typeface="Arial" pitchFamily="34" charset="0"/>
                <a:buChar char="•"/>
              </a:pPr>
              <a:r>
                <a:rPr lang="en-US" sz="1300" b="1" spc="-30" dirty="0">
                  <a:gradFill>
                    <a:gsLst>
                      <a:gs pos="100000">
                        <a:schemeClr val="tx1"/>
                      </a:gs>
                      <a:gs pos="0">
                        <a:schemeClr val="tx1"/>
                      </a:gs>
                    </a:gsLst>
                    <a:lin ang="5400000" scaled="1"/>
                  </a:gradFill>
                  <a:latin typeface="Segoe UI" pitchFamily="34" charset="0"/>
                  <a:ea typeface="Segoe UI" pitchFamily="34" charset="0"/>
                  <a:cs typeface="Segoe UI" pitchFamily="34" charset="0"/>
                </a:rPr>
                <a:t>144,900,000</a:t>
              </a:r>
              <a:r>
                <a:rPr lang="en-US" sz="1300" spc="-30" dirty="0">
                  <a:gradFill>
                    <a:gsLst>
                      <a:gs pos="100000">
                        <a:schemeClr val="tx1"/>
                      </a:gs>
                      <a:gs pos="0">
                        <a:schemeClr val="tx1"/>
                      </a:gs>
                    </a:gsLst>
                    <a:lin ang="5400000" scaled="1"/>
                  </a:gradFill>
                  <a:latin typeface="Segoe UI" pitchFamily="34" charset="0"/>
                  <a:ea typeface="Segoe UI" pitchFamily="34" charset="0"/>
                  <a:cs typeface="Segoe UI" pitchFamily="34" charset="0"/>
                </a:rPr>
                <a:t> </a:t>
              </a:r>
              <a:r>
                <a:rPr lang="en-US" sz="1300" spc="-30" dirty="0">
                  <a:gradFill>
                    <a:gsLst>
                      <a:gs pos="100000">
                        <a:schemeClr val="tx1"/>
                      </a:gs>
                      <a:gs pos="0">
                        <a:schemeClr val="tx1"/>
                      </a:gs>
                    </a:gsLst>
                    <a:lin ang="5400000" scaled="1"/>
                  </a:gradFill>
                  <a:latin typeface="Segoe UI" pitchFamily="34" charset="0"/>
                  <a:ea typeface="Segoe UI" pitchFamily="34" charset="0"/>
                  <a:cs typeface="Segoe UI" pitchFamily="34" charset="0"/>
                </a:rPr>
                <a:t>smartphones shipped in Q1 2012</a:t>
              </a:r>
              <a:r>
                <a:rPr lang="en-US" sz="1300" spc="-30" baseline="30000" dirty="0">
                  <a:gradFill>
                    <a:gsLst>
                      <a:gs pos="100000">
                        <a:schemeClr val="tx1"/>
                      </a:gs>
                      <a:gs pos="0">
                        <a:schemeClr val="tx1"/>
                      </a:gs>
                    </a:gsLst>
                    <a:lin ang="5400000" scaled="1"/>
                  </a:gradFill>
                  <a:latin typeface="Segoe UI" pitchFamily="34" charset="0"/>
                  <a:ea typeface="Segoe UI" pitchFamily="34" charset="0"/>
                  <a:cs typeface="Segoe UI" pitchFamily="34" charset="0"/>
                </a:rPr>
                <a:t>1</a:t>
              </a:r>
            </a:p>
            <a:p>
              <a:pPr marL="175046" indent="-175046" defTabSz="685666" fontAlgn="base">
                <a:lnSpc>
                  <a:spcPct val="80000"/>
                </a:lnSpc>
                <a:spcBef>
                  <a:spcPts val="675"/>
                </a:spcBef>
                <a:spcAft>
                  <a:spcPct val="0"/>
                </a:spcAft>
                <a:buClr>
                  <a:srgbClr val="FFFFFF">
                    <a:lumMod val="50000"/>
                    <a:lumOff val="50000"/>
                  </a:srgbClr>
                </a:buClr>
                <a:buSzPct val="90000"/>
                <a:buFont typeface="Arial" pitchFamily="34" charset="0"/>
                <a:buChar char="•"/>
              </a:pPr>
              <a:r>
                <a:rPr lang="en-US" sz="1300" b="1" spc="-30" dirty="0">
                  <a:gradFill>
                    <a:gsLst>
                      <a:gs pos="100000">
                        <a:schemeClr val="tx1"/>
                      </a:gs>
                      <a:gs pos="0">
                        <a:schemeClr val="tx1"/>
                      </a:gs>
                    </a:gsLst>
                    <a:lin ang="5400000" scaled="1"/>
                  </a:gradFill>
                  <a:latin typeface="Segoe UI" pitchFamily="34" charset="0"/>
                  <a:ea typeface="Segoe UI" pitchFamily="34" charset="0"/>
                  <a:cs typeface="Segoe UI" pitchFamily="34" charset="0"/>
                </a:rPr>
                <a:t>68,700,000</a:t>
              </a:r>
              <a:r>
                <a:rPr lang="en-US" sz="1300" spc="-30" dirty="0">
                  <a:gradFill>
                    <a:gsLst>
                      <a:gs pos="100000">
                        <a:schemeClr val="tx1"/>
                      </a:gs>
                      <a:gs pos="0">
                        <a:schemeClr val="tx1"/>
                      </a:gs>
                    </a:gsLst>
                    <a:lin ang="5400000" scaled="1"/>
                  </a:gradFill>
                  <a:latin typeface="Segoe UI" pitchFamily="34" charset="0"/>
                  <a:ea typeface="Segoe UI" pitchFamily="34" charset="0"/>
                  <a:cs typeface="Segoe UI" pitchFamily="34" charset="0"/>
                </a:rPr>
                <a:t> </a:t>
              </a:r>
              <a:r>
                <a:rPr lang="en-US" sz="1300" spc="-30" dirty="0">
                  <a:gradFill>
                    <a:gsLst>
                      <a:gs pos="100000">
                        <a:schemeClr val="tx1"/>
                      </a:gs>
                      <a:gs pos="0">
                        <a:schemeClr val="tx1"/>
                      </a:gs>
                    </a:gsLst>
                    <a:lin ang="5400000" scaled="1"/>
                  </a:gradFill>
                  <a:latin typeface="Segoe UI" pitchFamily="34" charset="0"/>
                  <a:ea typeface="Segoe UI" pitchFamily="34" charset="0"/>
                  <a:cs typeface="Segoe UI" pitchFamily="34" charset="0"/>
                </a:rPr>
                <a:t>media tablets shipped in 2011</a:t>
              </a:r>
              <a:r>
                <a:rPr lang="en-US" sz="1300" spc="-30" baseline="30000" dirty="0">
                  <a:gradFill>
                    <a:gsLst>
                      <a:gs pos="100000">
                        <a:schemeClr val="tx1"/>
                      </a:gs>
                      <a:gs pos="0">
                        <a:schemeClr val="tx1"/>
                      </a:gs>
                    </a:gsLst>
                    <a:lin ang="5400000" scaled="1"/>
                  </a:gradFill>
                  <a:latin typeface="Segoe UI" pitchFamily="34" charset="0"/>
                  <a:ea typeface="Segoe UI" pitchFamily="34" charset="0"/>
                  <a:cs typeface="Segoe UI" pitchFamily="34" charset="0"/>
                </a:rPr>
                <a:t>2</a:t>
              </a:r>
            </a:p>
            <a:p>
              <a:pPr marL="175046" indent="-175046" defTabSz="685666" fontAlgn="base">
                <a:lnSpc>
                  <a:spcPct val="80000"/>
                </a:lnSpc>
                <a:spcBef>
                  <a:spcPts val="675"/>
                </a:spcBef>
                <a:spcAft>
                  <a:spcPct val="0"/>
                </a:spcAft>
                <a:buClr>
                  <a:srgbClr val="FFFFFF">
                    <a:lumMod val="50000"/>
                    <a:lumOff val="50000"/>
                  </a:srgbClr>
                </a:buClr>
                <a:buSzPct val="90000"/>
                <a:buFont typeface="Arial" pitchFamily="34" charset="0"/>
                <a:buChar char="•"/>
              </a:pPr>
              <a:r>
                <a:rPr lang="en-US" sz="1300" b="1" spc="-30" dirty="0">
                  <a:gradFill>
                    <a:gsLst>
                      <a:gs pos="100000">
                        <a:schemeClr val="tx1"/>
                      </a:gs>
                      <a:gs pos="0">
                        <a:schemeClr val="tx1"/>
                      </a:gs>
                    </a:gsLst>
                    <a:lin ang="5400000" scaled="1"/>
                  </a:gradFill>
                  <a:latin typeface="Segoe UI" pitchFamily="34" charset="0"/>
                  <a:ea typeface="Segoe UI" pitchFamily="34" charset="0"/>
                  <a:cs typeface="Segoe UI" pitchFamily="34" charset="0"/>
                </a:rPr>
                <a:t>353,313,152</a:t>
              </a:r>
              <a:r>
                <a:rPr lang="en-US" sz="1300" spc="-30" dirty="0">
                  <a:gradFill>
                    <a:gsLst>
                      <a:gs pos="100000">
                        <a:schemeClr val="tx1"/>
                      </a:gs>
                      <a:gs pos="0">
                        <a:schemeClr val="tx1"/>
                      </a:gs>
                    </a:gsLst>
                    <a:lin ang="5400000" scaled="1"/>
                  </a:gradFill>
                  <a:latin typeface="Segoe UI" pitchFamily="34" charset="0"/>
                  <a:ea typeface="Segoe UI" pitchFamily="34" charset="0"/>
                  <a:cs typeface="Segoe UI" pitchFamily="34" charset="0"/>
                </a:rPr>
                <a:t> PCs </a:t>
              </a:r>
              <a:r>
                <a:rPr lang="en-US" sz="1300" spc="-30" dirty="0">
                  <a:gradFill>
                    <a:gsLst>
                      <a:gs pos="100000">
                        <a:schemeClr val="tx1"/>
                      </a:gs>
                      <a:gs pos="0">
                        <a:schemeClr val="tx1"/>
                      </a:gs>
                    </a:gsLst>
                    <a:lin ang="5400000" scaled="1"/>
                  </a:gradFill>
                  <a:latin typeface="Segoe UI" pitchFamily="34" charset="0"/>
                  <a:ea typeface="Segoe UI" pitchFamily="34" charset="0"/>
                  <a:cs typeface="Segoe UI" pitchFamily="34" charset="0"/>
                </a:rPr>
                <a:t>shipped in 2011</a:t>
              </a:r>
              <a:r>
                <a:rPr lang="en-US" sz="1300" spc="-30" baseline="30000" dirty="0">
                  <a:gradFill>
                    <a:gsLst>
                      <a:gs pos="100000">
                        <a:schemeClr val="tx1"/>
                      </a:gs>
                      <a:gs pos="0">
                        <a:schemeClr val="tx1"/>
                      </a:gs>
                    </a:gsLst>
                    <a:lin ang="5400000" scaled="1"/>
                  </a:gradFill>
                  <a:latin typeface="Segoe UI" pitchFamily="34" charset="0"/>
                  <a:ea typeface="Segoe UI" pitchFamily="34" charset="0"/>
                  <a:cs typeface="Segoe UI" pitchFamily="34" charset="0"/>
                </a:rPr>
                <a:t>3</a:t>
              </a:r>
              <a:endParaRPr lang="en-US" sz="1300" spc="-30" baseline="30000" dirty="0">
                <a:gradFill>
                  <a:gsLst>
                    <a:gs pos="100000">
                      <a:schemeClr val="tx1"/>
                    </a:gs>
                    <a:gs pos="0">
                      <a:schemeClr val="tx1"/>
                    </a:gs>
                  </a:gsLst>
                  <a:lin ang="5400000" scaled="1"/>
                </a:gradFill>
                <a:latin typeface="Segoe UI" pitchFamily="34" charset="0"/>
                <a:ea typeface="Segoe UI" pitchFamily="34" charset="0"/>
                <a:cs typeface="Segoe UI" pitchFamily="34" charset="0"/>
              </a:endParaRPr>
            </a:p>
            <a:p>
              <a:pPr marL="175046" indent="-175046" defTabSz="685666" fontAlgn="base">
                <a:lnSpc>
                  <a:spcPct val="80000"/>
                </a:lnSpc>
                <a:spcBef>
                  <a:spcPts val="675"/>
                </a:spcBef>
                <a:spcAft>
                  <a:spcPct val="0"/>
                </a:spcAft>
                <a:buClr>
                  <a:srgbClr val="FFFFFF">
                    <a:lumMod val="50000"/>
                    <a:lumOff val="50000"/>
                  </a:srgbClr>
                </a:buClr>
                <a:buSzPct val="90000"/>
                <a:buFont typeface="Arial" pitchFamily="34" charset="0"/>
                <a:buChar char="•"/>
              </a:pPr>
              <a:r>
                <a:rPr lang="en-US" sz="1300" b="1" spc="-30" dirty="0">
                  <a:gradFill>
                    <a:gsLst>
                      <a:gs pos="100000">
                        <a:schemeClr val="tx1"/>
                      </a:gs>
                      <a:gs pos="0">
                        <a:schemeClr val="tx1"/>
                      </a:gs>
                    </a:gsLst>
                    <a:lin ang="5400000" scaled="1"/>
                  </a:gradFill>
                  <a:latin typeface="Segoe UI" pitchFamily="34" charset="0"/>
                  <a:ea typeface="Segoe UI" pitchFamily="34" charset="0"/>
                  <a:cs typeface="Segoe UI" pitchFamily="34" charset="0"/>
                </a:rPr>
                <a:t>600,000,000</a:t>
              </a:r>
              <a:r>
                <a:rPr lang="en-US" sz="1300" spc="-30" dirty="0">
                  <a:gradFill>
                    <a:gsLst>
                      <a:gs pos="100000">
                        <a:schemeClr val="tx1"/>
                      </a:gs>
                      <a:gs pos="0">
                        <a:schemeClr val="tx1"/>
                      </a:gs>
                    </a:gsLst>
                    <a:lin ang="5400000" scaled="1"/>
                  </a:gradFill>
                  <a:latin typeface="Segoe UI" pitchFamily="34" charset="0"/>
                  <a:ea typeface="Segoe UI" pitchFamily="34" charset="0"/>
                  <a:cs typeface="Segoe UI" pitchFamily="34" charset="0"/>
                </a:rPr>
                <a:t> copies of Windows 7 sold</a:t>
              </a:r>
            </a:p>
          </p:txBody>
        </p:sp>
        <p:sp>
          <p:nvSpPr>
            <p:cNvPr id="14" name="Rectangle 13"/>
            <p:cNvSpPr/>
            <p:nvPr/>
          </p:nvSpPr>
          <p:spPr>
            <a:xfrm>
              <a:off x="6155500" y="3123854"/>
              <a:ext cx="5202936" cy="553997"/>
            </a:xfrm>
            <a:prstGeom prst="rect">
              <a:avLst/>
            </a:prstGeom>
            <a:noFill/>
          </p:spPr>
          <p:txBody>
            <a:bodyPr wrap="square" tIns="91440" bIns="91440" anchor="b">
              <a:spAutoFit/>
            </a:bodyPr>
            <a:lstStyle/>
            <a:p>
              <a:pPr lvl="0"/>
              <a:r>
                <a:rPr lang="en-US" sz="500" baseline="30000" dirty="0">
                  <a:gradFill>
                    <a:gsLst>
                      <a:gs pos="100000">
                        <a:srgbClr val="FFFFFF"/>
                      </a:gs>
                      <a:gs pos="0">
                        <a:srgbClr val="FFFFFF"/>
                      </a:gs>
                    </a:gsLst>
                    <a:lin ang="5400000" scaled="1"/>
                  </a:gradFill>
                </a:rPr>
                <a:t>1</a:t>
              </a:r>
              <a:r>
                <a:rPr lang="en-US" sz="500" dirty="0">
                  <a:gradFill>
                    <a:gsLst>
                      <a:gs pos="100000">
                        <a:srgbClr val="FFFFFF"/>
                      </a:gs>
                      <a:gs pos="0">
                        <a:srgbClr val="FFFFFF"/>
                      </a:gs>
                    </a:gsLst>
                    <a:lin ang="5400000" scaled="1"/>
                  </a:gradFill>
                </a:rPr>
                <a:t> “</a:t>
              </a:r>
              <a:r>
                <a:rPr lang="en-US" sz="500" i="1" dirty="0">
                  <a:gradFill>
                    <a:gsLst>
                      <a:gs pos="100000">
                        <a:srgbClr val="FFFFFF"/>
                      </a:gs>
                      <a:gs pos="0">
                        <a:srgbClr val="FFFFFF"/>
                      </a:gs>
                    </a:gsLst>
                    <a:lin ang="5400000" scaled="1"/>
                  </a:gradFill>
                </a:rPr>
                <a:t>Worldwide Quarterly Mobile Phone Tracker</a:t>
              </a:r>
              <a:r>
                <a:rPr lang="en-US" sz="500" dirty="0">
                  <a:gradFill>
                    <a:gsLst>
                      <a:gs pos="100000">
                        <a:srgbClr val="FFFFFF"/>
                      </a:gs>
                      <a:gs pos="0">
                        <a:srgbClr val="FFFFFF"/>
                      </a:gs>
                    </a:gsLst>
                    <a:lin ang="5400000" scaled="1"/>
                  </a:gradFill>
                </a:rPr>
                <a:t>,” IDC, May, 2012</a:t>
              </a:r>
            </a:p>
            <a:p>
              <a:pPr lvl="0"/>
              <a:r>
                <a:rPr lang="en-US" sz="500" baseline="30000" dirty="0">
                  <a:gradFill>
                    <a:gsLst>
                      <a:gs pos="100000">
                        <a:srgbClr val="FFFFFF"/>
                      </a:gs>
                      <a:gs pos="0">
                        <a:srgbClr val="FFFFFF"/>
                      </a:gs>
                    </a:gsLst>
                    <a:lin ang="5400000" scaled="1"/>
                  </a:gradFill>
                </a:rPr>
                <a:t>2</a:t>
              </a:r>
              <a:r>
                <a:rPr lang="en-US" sz="500" dirty="0">
                  <a:gradFill>
                    <a:gsLst>
                      <a:gs pos="100000">
                        <a:srgbClr val="FFFFFF"/>
                      </a:gs>
                      <a:gs pos="0">
                        <a:srgbClr val="FFFFFF"/>
                      </a:gs>
                    </a:gsLst>
                    <a:lin ang="5400000" scaled="1"/>
                  </a:gradFill>
                </a:rPr>
                <a:t> “</a:t>
              </a:r>
              <a:r>
                <a:rPr lang="en-US" sz="500" i="1" dirty="0">
                  <a:gradFill>
                    <a:gsLst>
                      <a:gs pos="100000">
                        <a:srgbClr val="FFFFFF"/>
                      </a:gs>
                      <a:gs pos="0">
                        <a:srgbClr val="FFFFFF"/>
                      </a:gs>
                    </a:gsLst>
                    <a:lin ang="5400000" scaled="1"/>
                  </a:gradFill>
                </a:rPr>
                <a:t>Worldwide and U.S. Media Tablet 2012-2016 Forecast</a:t>
              </a:r>
              <a:r>
                <a:rPr lang="en-US" sz="500" dirty="0">
                  <a:gradFill>
                    <a:gsLst>
                      <a:gs pos="100000">
                        <a:srgbClr val="FFFFFF"/>
                      </a:gs>
                      <a:gs pos="0">
                        <a:srgbClr val="FFFFFF"/>
                      </a:gs>
                    </a:gsLst>
                    <a:lin ang="5400000" scaled="1"/>
                  </a:gradFill>
                </a:rPr>
                <a:t>,” IDC, April, 2012</a:t>
              </a:r>
            </a:p>
            <a:p>
              <a:pPr lvl="0"/>
              <a:r>
                <a:rPr lang="en-US" sz="500" baseline="30000" dirty="0">
                  <a:gradFill>
                    <a:gsLst>
                      <a:gs pos="100000">
                        <a:srgbClr val="FFFFFF"/>
                      </a:gs>
                      <a:gs pos="0">
                        <a:srgbClr val="FFFFFF"/>
                      </a:gs>
                    </a:gsLst>
                    <a:lin ang="5400000" scaled="1"/>
                  </a:gradFill>
                </a:rPr>
                <a:t>3</a:t>
              </a:r>
              <a:r>
                <a:rPr lang="en-US" sz="500" dirty="0">
                  <a:gradFill>
                    <a:gsLst>
                      <a:gs pos="100000">
                        <a:srgbClr val="FFFFFF"/>
                      </a:gs>
                      <a:gs pos="0">
                        <a:srgbClr val="FFFFFF"/>
                      </a:gs>
                    </a:gsLst>
                    <a:lin ang="5400000" scaled="1"/>
                  </a:gradFill>
                </a:rPr>
                <a:t> “</a:t>
              </a:r>
              <a:r>
                <a:rPr lang="en-US" sz="500" i="1" dirty="0">
                  <a:solidFill>
                    <a:srgbClr val="FFFFFF"/>
                  </a:solidFill>
                </a:rPr>
                <a:t>Worldwide PC Market: 4Q11 Review</a:t>
              </a:r>
              <a:r>
                <a:rPr lang="en-US" sz="500" dirty="0">
                  <a:solidFill>
                    <a:srgbClr val="FFFFFF"/>
                  </a:solidFill>
                </a:rPr>
                <a:t>,” </a:t>
              </a:r>
              <a:r>
                <a:rPr lang="en-US" sz="500" dirty="0">
                  <a:gradFill>
                    <a:gsLst>
                      <a:gs pos="100000">
                        <a:srgbClr val="FFFFFF"/>
                      </a:gs>
                      <a:gs pos="0">
                        <a:srgbClr val="FFFFFF"/>
                      </a:gs>
                    </a:gsLst>
                    <a:lin ang="5400000" scaled="1"/>
                  </a:gradFill>
                </a:rPr>
                <a:t>IDC, April 2012</a:t>
              </a:r>
            </a:p>
          </p:txBody>
        </p:sp>
      </p:grpSp>
      <p:sp>
        <p:nvSpPr>
          <p:cNvPr id="18"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9"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4"/>
              </a:rPr>
              <a:t>www.rapidbbs.cn</a:t>
            </a:r>
            <a:endParaRPr lang="zh-CN" altLang="en-US" sz="1200" b="0">
              <a:latin typeface="Arial" charset="0"/>
              <a:ea typeface="ＭＳ Ｐゴシック" pitchFamily="34" charset="-128"/>
            </a:endParaRPr>
          </a:p>
        </p:txBody>
      </p:sp>
      <p:pic>
        <p:nvPicPr>
          <p:cNvPr id="20" name="Picture 2">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213535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afterEffect">
                                  <p:stCondLst>
                                    <p:cond delay="25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1000" fill="hold"/>
                                        <p:tgtEl>
                                          <p:spTgt spid="15"/>
                                        </p:tgtEl>
                                        <p:attrNameLst>
                                          <p:attrName>ppt_x</p:attrName>
                                        </p:attrNameLst>
                                      </p:cBhvr>
                                      <p:tavLst>
                                        <p:tav tm="0">
                                          <p:val>
                                            <p:strVal val="1+#ppt_w/2"/>
                                          </p:val>
                                        </p:tav>
                                        <p:tav tm="100000">
                                          <p:val>
                                            <p:strVal val="#ppt_x"/>
                                          </p:val>
                                        </p:tav>
                                      </p:tavLst>
                                    </p:anim>
                                    <p:anim calcmode="lin" valueType="num">
                                      <p:cBhvr additive="base">
                                        <p:cTn id="8" dur="1000" fill="hold"/>
                                        <p:tgtEl>
                                          <p:spTgt spid="15"/>
                                        </p:tgtEl>
                                        <p:attrNameLst>
                                          <p:attrName>ppt_y</p:attrName>
                                        </p:attrNameLst>
                                      </p:cBhvr>
                                      <p:tavLst>
                                        <p:tav tm="0">
                                          <p:val>
                                            <p:strVal val="#ppt_y"/>
                                          </p:val>
                                        </p:tav>
                                        <p:tav tm="100000">
                                          <p:val>
                                            <p:strVal val="#ppt_y"/>
                                          </p:val>
                                        </p:tav>
                                      </p:tavLst>
                                    </p:anim>
                                  </p:childTnLst>
                                </p:cTn>
                              </p:par>
                            </p:childTnLst>
                          </p:cTn>
                        </p:par>
                        <p:par>
                          <p:cTn id="9" fill="hold">
                            <p:stCondLst>
                              <p:cond delay="1250"/>
                            </p:stCondLst>
                            <p:childTnLst>
                              <p:par>
                                <p:cTn id="10" presetID="2" presetClass="entr" presetSubtype="2" decel="100000" fill="hold" nodeType="afterEffect">
                                  <p:stCondLst>
                                    <p:cond delay="250"/>
                                  </p:stCondLst>
                                  <p:childTnLst>
                                    <p:set>
                                      <p:cBhvr>
                                        <p:cTn id="11" dur="1" fill="hold">
                                          <p:stCondLst>
                                            <p:cond delay="0"/>
                                          </p:stCondLst>
                                        </p:cTn>
                                        <p:tgtEl>
                                          <p:spTgt spid="16"/>
                                        </p:tgtEl>
                                        <p:attrNameLst>
                                          <p:attrName>style.visibility</p:attrName>
                                        </p:attrNameLst>
                                      </p:cBhvr>
                                      <p:to>
                                        <p:strVal val="visible"/>
                                      </p:to>
                                    </p:set>
                                    <p:anim calcmode="lin" valueType="num">
                                      <p:cBhvr additive="base">
                                        <p:cTn id="12" dur="1000" fill="hold"/>
                                        <p:tgtEl>
                                          <p:spTgt spid="16"/>
                                        </p:tgtEl>
                                        <p:attrNameLst>
                                          <p:attrName>ppt_x</p:attrName>
                                        </p:attrNameLst>
                                      </p:cBhvr>
                                      <p:tavLst>
                                        <p:tav tm="0">
                                          <p:val>
                                            <p:strVal val="1+#ppt_w/2"/>
                                          </p:val>
                                        </p:tav>
                                        <p:tav tm="100000">
                                          <p:val>
                                            <p:strVal val="#ppt_x"/>
                                          </p:val>
                                        </p:tav>
                                      </p:tavLst>
                                    </p:anim>
                                    <p:anim calcmode="lin" valueType="num">
                                      <p:cBhvr additive="base">
                                        <p:cTn id="13" dur="1000" fill="hold"/>
                                        <p:tgtEl>
                                          <p:spTgt spid="16"/>
                                        </p:tgtEl>
                                        <p:attrNameLst>
                                          <p:attrName>ppt_y</p:attrName>
                                        </p:attrNameLst>
                                      </p:cBhvr>
                                      <p:tavLst>
                                        <p:tav tm="0">
                                          <p:val>
                                            <p:strVal val="#ppt_y"/>
                                          </p:val>
                                        </p:tav>
                                        <p:tav tm="100000">
                                          <p:val>
                                            <p:strVal val="#ppt_y"/>
                                          </p:val>
                                        </p:tav>
                                      </p:tavLst>
                                    </p:anim>
                                  </p:childTnLst>
                                </p:cTn>
                              </p:par>
                            </p:childTnLst>
                          </p:cTn>
                        </p:par>
                        <p:par>
                          <p:cTn id="14" fill="hold">
                            <p:stCondLst>
                              <p:cond delay="2500"/>
                            </p:stCondLst>
                            <p:childTnLst>
                              <p:par>
                                <p:cTn id="15" presetID="2" presetClass="entr" presetSubtype="2" decel="100000" fill="hold" nodeType="afterEffect">
                                  <p:stCondLst>
                                    <p:cond delay="250"/>
                                  </p:stCondLst>
                                  <p:childTnLst>
                                    <p:set>
                                      <p:cBhvr>
                                        <p:cTn id="16" dur="1" fill="hold">
                                          <p:stCondLst>
                                            <p:cond delay="0"/>
                                          </p:stCondLst>
                                        </p:cTn>
                                        <p:tgtEl>
                                          <p:spTgt spid="7"/>
                                        </p:tgtEl>
                                        <p:attrNameLst>
                                          <p:attrName>style.visibility</p:attrName>
                                        </p:attrNameLst>
                                      </p:cBhvr>
                                      <p:to>
                                        <p:strVal val="visible"/>
                                      </p:to>
                                    </p:set>
                                    <p:anim calcmode="lin" valueType="num">
                                      <p:cBhvr additive="base">
                                        <p:cTn id="17" dur="1000" fill="hold"/>
                                        <p:tgtEl>
                                          <p:spTgt spid="7"/>
                                        </p:tgtEl>
                                        <p:attrNameLst>
                                          <p:attrName>ppt_x</p:attrName>
                                        </p:attrNameLst>
                                      </p:cBhvr>
                                      <p:tavLst>
                                        <p:tav tm="0">
                                          <p:val>
                                            <p:strVal val="1+#ppt_w/2"/>
                                          </p:val>
                                        </p:tav>
                                        <p:tav tm="100000">
                                          <p:val>
                                            <p:strVal val="#ppt_x"/>
                                          </p:val>
                                        </p:tav>
                                      </p:tavLst>
                                    </p:anim>
                                    <p:anim calcmode="lin" valueType="num">
                                      <p:cBhvr additive="base">
                                        <p:cTn id="18" dur="1000" fill="hold"/>
                                        <p:tgtEl>
                                          <p:spTgt spid="7"/>
                                        </p:tgtEl>
                                        <p:attrNameLst>
                                          <p:attrName>ppt_y</p:attrName>
                                        </p:attrNameLst>
                                      </p:cBhvr>
                                      <p:tavLst>
                                        <p:tav tm="0">
                                          <p:val>
                                            <p:strVal val="#ppt_y"/>
                                          </p:val>
                                        </p:tav>
                                        <p:tav tm="100000">
                                          <p:val>
                                            <p:strVal val="#ppt_y"/>
                                          </p:val>
                                        </p:tav>
                                      </p:tavLst>
                                    </p:anim>
                                  </p:childTnLst>
                                </p:cTn>
                              </p:par>
                            </p:childTnLst>
                          </p:cTn>
                        </p:par>
                        <p:par>
                          <p:cTn id="19" fill="hold">
                            <p:stCondLst>
                              <p:cond delay="3750"/>
                            </p:stCondLst>
                            <p:childTnLst>
                              <p:par>
                                <p:cTn id="20" presetID="2" presetClass="entr" presetSubtype="2" decel="100000" fill="hold" nodeType="afterEffect">
                                  <p:stCondLst>
                                    <p:cond delay="250"/>
                                  </p:stCondLst>
                                  <p:childTnLst>
                                    <p:set>
                                      <p:cBhvr>
                                        <p:cTn id="21" dur="1" fill="hold">
                                          <p:stCondLst>
                                            <p:cond delay="0"/>
                                          </p:stCondLst>
                                        </p:cTn>
                                        <p:tgtEl>
                                          <p:spTgt spid="17"/>
                                        </p:tgtEl>
                                        <p:attrNameLst>
                                          <p:attrName>style.visibility</p:attrName>
                                        </p:attrNameLst>
                                      </p:cBhvr>
                                      <p:to>
                                        <p:strVal val="visible"/>
                                      </p:to>
                                    </p:set>
                                    <p:anim calcmode="lin" valueType="num">
                                      <p:cBhvr additive="base">
                                        <p:cTn id="22" dur="1000" fill="hold"/>
                                        <p:tgtEl>
                                          <p:spTgt spid="17"/>
                                        </p:tgtEl>
                                        <p:attrNameLst>
                                          <p:attrName>ppt_x</p:attrName>
                                        </p:attrNameLst>
                                      </p:cBhvr>
                                      <p:tavLst>
                                        <p:tav tm="0">
                                          <p:val>
                                            <p:strVal val="1+#ppt_w/2"/>
                                          </p:val>
                                        </p:tav>
                                        <p:tav tm="100000">
                                          <p:val>
                                            <p:strVal val="#ppt_x"/>
                                          </p:val>
                                        </p:tav>
                                      </p:tavLst>
                                    </p:anim>
                                    <p:anim calcmode="lin" valueType="num">
                                      <p:cBhvr additive="base">
                                        <p:cTn id="23" dur="1000" fill="hold"/>
                                        <p:tgtEl>
                                          <p:spTgt spid="17"/>
                                        </p:tgtEl>
                                        <p:attrNameLst>
                                          <p:attrName>ppt_y</p:attrName>
                                        </p:attrNameLst>
                                      </p:cBhvr>
                                      <p:tavLst>
                                        <p:tav tm="0">
                                          <p:val>
                                            <p:strVal val="#ppt_y"/>
                                          </p:val>
                                        </p:tav>
                                        <p:tav tm="100000">
                                          <p:val>
                                            <p:strVal val="#ppt_y"/>
                                          </p:val>
                                        </p:tav>
                                      </p:tavLst>
                                    </p:anim>
                                  </p:childTnLst>
                                </p:cTn>
                              </p:par>
                            </p:childTnLst>
                          </p:cTn>
                        </p:par>
                        <p:par>
                          <p:cTn id="24" fill="hold">
                            <p:stCondLst>
                              <p:cond delay="5000"/>
                            </p:stCondLst>
                            <p:childTnLst>
                              <p:par>
                                <p:cTn id="25" presetID="2" presetClass="entr" presetSubtype="2" decel="100000" fill="hold" grpId="0" nodeType="afterEffect">
                                  <p:stCondLst>
                                    <p:cond delay="250"/>
                                  </p:stCondLst>
                                  <p:childTnLst>
                                    <p:set>
                                      <p:cBhvr>
                                        <p:cTn id="26" dur="1" fill="hold">
                                          <p:stCondLst>
                                            <p:cond delay="0"/>
                                          </p:stCondLst>
                                        </p:cTn>
                                        <p:tgtEl>
                                          <p:spTgt spid="6"/>
                                        </p:tgtEl>
                                        <p:attrNameLst>
                                          <p:attrName>style.visibility</p:attrName>
                                        </p:attrNameLst>
                                      </p:cBhvr>
                                      <p:to>
                                        <p:strVal val="visible"/>
                                      </p:to>
                                    </p:set>
                                    <p:anim calcmode="lin" valueType="num">
                                      <p:cBhvr additive="base">
                                        <p:cTn id="27" dur="1000" fill="hold"/>
                                        <p:tgtEl>
                                          <p:spTgt spid="6"/>
                                        </p:tgtEl>
                                        <p:attrNameLst>
                                          <p:attrName>ppt_x</p:attrName>
                                        </p:attrNameLst>
                                      </p:cBhvr>
                                      <p:tavLst>
                                        <p:tav tm="0">
                                          <p:val>
                                            <p:strVal val="1+#ppt_w/2"/>
                                          </p:val>
                                        </p:tav>
                                        <p:tav tm="100000">
                                          <p:val>
                                            <p:strVal val="#ppt_x"/>
                                          </p:val>
                                        </p:tav>
                                      </p:tavLst>
                                    </p:anim>
                                    <p:anim calcmode="lin" valueType="num">
                                      <p:cBhvr additive="base">
                                        <p:cTn id="28" dur="10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4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mbracing </a:t>
            </a:r>
            <a:r>
              <a:rPr lang="en-US" dirty="0" err="1"/>
              <a:t>Consumerization</a:t>
            </a:r>
            <a:r>
              <a:rPr lang="en-US" dirty="0"/>
              <a:t> of IT</a:t>
            </a:r>
          </a:p>
        </p:txBody>
      </p:sp>
      <p:sp>
        <p:nvSpPr>
          <p:cNvPr id="3" name="Rectangle 2"/>
          <p:cNvSpPr/>
          <p:nvPr/>
        </p:nvSpPr>
        <p:spPr bwMode="auto">
          <a:xfrm>
            <a:off x="1621761" y="875110"/>
            <a:ext cx="1888260" cy="1886881"/>
          </a:xfrm>
          <a:prstGeom prst="rect">
            <a:avLst/>
          </a:prstGeom>
          <a:solidFill>
            <a:schemeClr val="tx1"/>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102884" tIns="102884" rIns="102884" bIns="102884" numCol="1" rtlCol="0" anchor="t" anchorCtr="0" compatLnSpc="1">
            <a:prstTxWarp prst="textNoShape">
              <a:avLst/>
            </a:prstTxWarp>
          </a:bodyPr>
          <a:lstStyle/>
          <a:p>
            <a:pPr defTabSz="685666" fontAlgn="base">
              <a:lnSpc>
                <a:spcPct val="90000"/>
              </a:lnSpc>
              <a:spcBef>
                <a:spcPct val="0"/>
              </a:spcBef>
              <a:spcAft>
                <a:spcPct val="0"/>
              </a:spcAft>
              <a:buClr>
                <a:srgbClr val="FFFFFF">
                  <a:lumMod val="50000"/>
                  <a:lumOff val="50000"/>
                </a:srgbClr>
              </a:buClr>
              <a:buSzPct val="90000"/>
            </a:pPr>
            <a:r>
              <a:rPr lang="en-US" sz="1800" spc="-30" dirty="0">
                <a:solidFill>
                  <a:schemeClr val="accent1"/>
                </a:solidFill>
                <a:ea typeface="Segoe UI" pitchFamily="34" charset="0"/>
                <a:cs typeface="Segoe UI" pitchFamily="34" charset="0"/>
              </a:rPr>
              <a:t>I want to </a:t>
            </a:r>
            <a:r>
              <a:rPr lang="en-US" sz="1800" spc="-30" dirty="0">
                <a:solidFill>
                  <a:schemeClr val="accent1"/>
                </a:solidFill>
                <a:ea typeface="Segoe UI" pitchFamily="34" charset="0"/>
                <a:cs typeface="Segoe UI" pitchFamily="34" charset="0"/>
              </a:rPr>
              <a:t>connect to </a:t>
            </a:r>
            <a:br>
              <a:rPr lang="en-US" sz="1800" spc="-30" dirty="0">
                <a:solidFill>
                  <a:schemeClr val="accent1"/>
                </a:solidFill>
                <a:ea typeface="Segoe UI" pitchFamily="34" charset="0"/>
                <a:cs typeface="Segoe UI" pitchFamily="34" charset="0"/>
              </a:rPr>
            </a:br>
            <a:r>
              <a:rPr lang="en-US" sz="1800" spc="-30" dirty="0">
                <a:solidFill>
                  <a:schemeClr val="accent1"/>
                </a:solidFill>
                <a:ea typeface="Segoe UI" pitchFamily="34" charset="0"/>
                <a:cs typeface="Segoe UI" pitchFamily="34" charset="0"/>
              </a:rPr>
              <a:t>people </a:t>
            </a:r>
            <a:r>
              <a:rPr lang="en-US" sz="1800" spc="-30" dirty="0">
                <a:solidFill>
                  <a:schemeClr val="accent1"/>
                </a:solidFill>
                <a:ea typeface="Segoe UI" pitchFamily="34" charset="0"/>
                <a:cs typeface="Segoe UI" pitchFamily="34" charset="0"/>
              </a:rPr>
              <a:t>and be productive anywhere, anytime</a:t>
            </a:r>
          </a:p>
        </p:txBody>
      </p:sp>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l="1129" r="1129"/>
          <a:stretch/>
        </p:blipFill>
        <p:spPr>
          <a:xfrm>
            <a:off x="3623140" y="875110"/>
            <a:ext cx="1888260" cy="1886881"/>
          </a:xfrm>
          <a:prstGeom prst="rect">
            <a:avLst/>
          </a:prstGeom>
          <a:solidFill>
            <a:schemeClr val="tx1"/>
          </a:solidFill>
          <a:ln>
            <a:noFill/>
          </a:ln>
        </p:spPr>
      </p:pic>
      <p:sp>
        <p:nvSpPr>
          <p:cNvPr id="5" name="Rectangle 4"/>
          <p:cNvSpPr/>
          <p:nvPr/>
        </p:nvSpPr>
        <p:spPr bwMode="auto">
          <a:xfrm>
            <a:off x="5634662" y="875110"/>
            <a:ext cx="1888260" cy="1886881"/>
          </a:xfrm>
          <a:prstGeom prst="rect">
            <a:avLst/>
          </a:prstGeom>
          <a:solidFill>
            <a:schemeClr val="accent1"/>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102884" tIns="102884" rIns="102884" bIns="102884" numCol="1" rtlCol="0" anchor="t" anchorCtr="0" compatLnSpc="1">
            <a:prstTxWarp prst="textNoShape">
              <a:avLst/>
            </a:prstTxWarp>
          </a:bodyPr>
          <a:lstStyle/>
          <a:p>
            <a:pPr defTabSz="685666" fontAlgn="base">
              <a:lnSpc>
                <a:spcPct val="90000"/>
              </a:lnSpc>
              <a:spcBef>
                <a:spcPct val="0"/>
              </a:spcBef>
              <a:spcAft>
                <a:spcPct val="0"/>
              </a:spcAft>
              <a:buClr>
                <a:srgbClr val="FFFFFF">
                  <a:lumMod val="50000"/>
                  <a:lumOff val="50000"/>
                </a:srgbClr>
              </a:buClr>
              <a:buSzPct val="90000"/>
            </a:pPr>
            <a:r>
              <a:rPr lang="en-US" sz="1800" spc="-30" dirty="0">
                <a:gradFill>
                  <a:gsLst>
                    <a:gs pos="100000">
                      <a:schemeClr val="tx1"/>
                    </a:gs>
                    <a:gs pos="0">
                      <a:schemeClr val="tx1"/>
                    </a:gs>
                  </a:gsLst>
                  <a:lin ang="5400000" scaled="1"/>
                </a:gradFill>
                <a:ea typeface="Segoe UI" pitchFamily="34" charset="0"/>
                <a:cs typeface="Segoe UI" pitchFamily="34" charset="0"/>
              </a:rPr>
              <a:t>How can IT provide access </a:t>
            </a:r>
            <a:r>
              <a:rPr lang="en-US" sz="1800" spc="-30" dirty="0">
                <a:gradFill>
                  <a:gsLst>
                    <a:gs pos="100000">
                      <a:schemeClr val="tx1"/>
                    </a:gs>
                    <a:gs pos="0">
                      <a:schemeClr val="tx1"/>
                    </a:gs>
                  </a:gsLst>
                  <a:lin ang="5400000" scaled="1"/>
                </a:gradFill>
                <a:ea typeface="Segoe UI" pitchFamily="34" charset="0"/>
                <a:cs typeface="Segoe UI" pitchFamily="34" charset="0"/>
              </a:rPr>
              <a:t>to </a:t>
            </a:r>
            <a:r>
              <a:rPr lang="en-US" sz="1800" spc="-30" dirty="0">
                <a:gradFill>
                  <a:gsLst>
                    <a:gs pos="100000">
                      <a:schemeClr val="tx1"/>
                    </a:gs>
                    <a:gs pos="0">
                      <a:schemeClr val="tx1"/>
                    </a:gs>
                  </a:gsLst>
                  <a:lin ang="5400000" scaled="1"/>
                </a:gradFill>
                <a:ea typeface="Segoe UI" pitchFamily="34" charset="0"/>
                <a:cs typeface="Segoe UI" pitchFamily="34" charset="0"/>
              </a:rPr>
              <a:t>apps and data while </a:t>
            </a:r>
            <a:r>
              <a:rPr lang="en-US" sz="1800" spc="-30" dirty="0">
                <a:gradFill>
                  <a:gsLst>
                    <a:gs pos="100000">
                      <a:schemeClr val="tx1"/>
                    </a:gs>
                    <a:gs pos="0">
                      <a:schemeClr val="tx1"/>
                    </a:gs>
                  </a:gsLst>
                  <a:lin ang="5400000" scaled="1"/>
                </a:gradFill>
                <a:ea typeface="Segoe UI" pitchFamily="34" charset="0"/>
                <a:cs typeface="Segoe UI" pitchFamily="34" charset="0"/>
              </a:rPr>
              <a:t>maintaining security</a:t>
            </a:r>
            <a:r>
              <a:rPr lang="en-US" sz="1800" spc="-30" dirty="0">
                <a:gradFill>
                  <a:gsLst>
                    <a:gs pos="100000">
                      <a:schemeClr val="tx1"/>
                    </a:gs>
                    <a:gs pos="0">
                      <a:schemeClr val="tx1"/>
                    </a:gs>
                  </a:gsLst>
                  <a:lin ang="5400000" scaled="1"/>
                </a:gradFill>
                <a:ea typeface="Segoe UI" pitchFamily="34" charset="0"/>
                <a:cs typeface="Segoe UI" pitchFamily="34" charset="0"/>
              </a:rPr>
              <a:t>?</a:t>
            </a:r>
          </a:p>
        </p:txBody>
      </p:sp>
      <p:sp>
        <p:nvSpPr>
          <p:cNvPr id="11" name="Rectangle 10"/>
          <p:cNvSpPr/>
          <p:nvPr/>
        </p:nvSpPr>
        <p:spPr bwMode="auto">
          <a:xfrm>
            <a:off x="5634662" y="2875620"/>
            <a:ext cx="1881648" cy="1886881"/>
          </a:xfrm>
          <a:prstGeom prst="rect">
            <a:avLst/>
          </a:prstGeom>
          <a:solidFill>
            <a:schemeClr val="tx1"/>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102884" tIns="102884" rIns="102884" bIns="102884" numCol="1" rtlCol="0" anchor="t" anchorCtr="0" compatLnSpc="1">
            <a:prstTxWarp prst="textNoShape">
              <a:avLst/>
            </a:prstTxWarp>
          </a:bodyPr>
          <a:lstStyle/>
          <a:p>
            <a:pPr defTabSz="685666" fontAlgn="base">
              <a:lnSpc>
                <a:spcPct val="90000"/>
              </a:lnSpc>
              <a:spcBef>
                <a:spcPct val="0"/>
              </a:spcBef>
              <a:spcAft>
                <a:spcPct val="0"/>
              </a:spcAft>
              <a:buClr>
                <a:srgbClr val="FFFFFF">
                  <a:lumMod val="50000"/>
                  <a:lumOff val="50000"/>
                </a:srgbClr>
              </a:buClr>
              <a:buSzPct val="90000"/>
            </a:pPr>
            <a:r>
              <a:rPr lang="en-US" sz="1800" spc="-30" dirty="0">
                <a:solidFill>
                  <a:schemeClr val="accent1"/>
                </a:solidFill>
                <a:ea typeface="Segoe UI" pitchFamily="34" charset="0"/>
                <a:cs typeface="Segoe UI" pitchFamily="34" charset="0"/>
              </a:rPr>
              <a:t>How can IT support and manage all </a:t>
            </a:r>
            <a:br>
              <a:rPr lang="en-US" sz="1800" spc="-30" dirty="0">
                <a:solidFill>
                  <a:schemeClr val="accent1"/>
                </a:solidFill>
                <a:ea typeface="Segoe UI" pitchFamily="34" charset="0"/>
                <a:cs typeface="Segoe UI" pitchFamily="34" charset="0"/>
              </a:rPr>
            </a:br>
            <a:r>
              <a:rPr lang="en-US" sz="1800" spc="-30" dirty="0">
                <a:solidFill>
                  <a:schemeClr val="accent1"/>
                </a:solidFill>
                <a:ea typeface="Segoe UI" pitchFamily="34" charset="0"/>
                <a:cs typeface="Segoe UI" pitchFamily="34" charset="0"/>
              </a:rPr>
              <a:t>those devices? </a:t>
            </a:r>
          </a:p>
        </p:txBody>
      </p:sp>
      <p:pic>
        <p:nvPicPr>
          <p:cNvPr id="15" name="Picture 14"/>
          <p:cNvPicPr>
            <a:picLocks noChangeAspect="1"/>
          </p:cNvPicPr>
          <p:nvPr/>
        </p:nvPicPr>
        <p:blipFill rotWithShape="1">
          <a:blip r:embed="rId3" cstate="screen">
            <a:extLst>
              <a:ext uri="{28A0092B-C50C-407E-A947-70E740481C1C}">
                <a14:useLocalDpi xmlns:a14="http://schemas.microsoft.com/office/drawing/2010/main"/>
              </a:ext>
            </a:extLst>
          </a:blip>
          <a:srcRect l="1627" r="699"/>
          <a:stretch/>
        </p:blipFill>
        <p:spPr>
          <a:xfrm>
            <a:off x="3623140" y="2875620"/>
            <a:ext cx="1888260" cy="1886881"/>
          </a:xfrm>
          <a:prstGeom prst="rect">
            <a:avLst/>
          </a:prstGeom>
          <a:noFill/>
          <a:ln>
            <a:noFill/>
          </a:ln>
        </p:spPr>
      </p:pic>
      <p:sp>
        <p:nvSpPr>
          <p:cNvPr id="9" name="Rectangle 8"/>
          <p:cNvSpPr/>
          <p:nvPr/>
        </p:nvSpPr>
        <p:spPr bwMode="auto">
          <a:xfrm>
            <a:off x="1621078" y="2875620"/>
            <a:ext cx="1888943" cy="1886881"/>
          </a:xfrm>
          <a:prstGeom prst="rect">
            <a:avLst/>
          </a:prstGeom>
          <a:solidFill>
            <a:schemeClr val="accent1"/>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102884" tIns="102884" rIns="102884" bIns="102884" numCol="1" rtlCol="0" anchor="t" anchorCtr="0" compatLnSpc="1">
            <a:prstTxWarp prst="textNoShape">
              <a:avLst/>
            </a:prstTxWarp>
          </a:bodyPr>
          <a:lstStyle/>
          <a:p>
            <a:pPr defTabSz="685666" fontAlgn="base">
              <a:lnSpc>
                <a:spcPct val="90000"/>
              </a:lnSpc>
              <a:spcBef>
                <a:spcPct val="0"/>
              </a:spcBef>
              <a:spcAft>
                <a:spcPct val="0"/>
              </a:spcAft>
              <a:buClr>
                <a:srgbClr val="FFFFFF">
                  <a:lumMod val="50000"/>
                  <a:lumOff val="50000"/>
                </a:srgbClr>
              </a:buClr>
              <a:buSzPct val="90000"/>
            </a:pPr>
            <a:r>
              <a:rPr lang="en-US" sz="1800" spc="-30" dirty="0">
                <a:gradFill>
                  <a:gsLst>
                    <a:gs pos="100000">
                      <a:schemeClr val="tx1"/>
                    </a:gs>
                    <a:gs pos="0">
                      <a:schemeClr val="tx1"/>
                    </a:gs>
                  </a:gsLst>
                  <a:lin ang="5400000" scaled="1"/>
                </a:gradFill>
                <a:ea typeface="Segoe UI" pitchFamily="34" charset="0"/>
                <a:cs typeface="Segoe UI" pitchFamily="34" charset="0"/>
              </a:rPr>
              <a:t>I want to use the </a:t>
            </a:r>
            <a:br>
              <a:rPr lang="en-US" sz="1800" spc="-30" dirty="0">
                <a:gradFill>
                  <a:gsLst>
                    <a:gs pos="100000">
                      <a:schemeClr val="tx1"/>
                    </a:gs>
                    <a:gs pos="0">
                      <a:schemeClr val="tx1"/>
                    </a:gs>
                  </a:gsLst>
                  <a:lin ang="5400000" scaled="1"/>
                </a:gradFill>
                <a:ea typeface="Segoe UI" pitchFamily="34" charset="0"/>
                <a:cs typeface="Segoe UI" pitchFamily="34" charset="0"/>
              </a:rPr>
            </a:br>
            <a:r>
              <a:rPr lang="en-US" sz="1800" spc="-30" dirty="0">
                <a:gradFill>
                  <a:gsLst>
                    <a:gs pos="100000">
                      <a:schemeClr val="tx1"/>
                    </a:gs>
                    <a:gs pos="0">
                      <a:schemeClr val="tx1"/>
                    </a:gs>
                  </a:gsLst>
                  <a:lin ang="5400000" scaled="1"/>
                </a:gradFill>
                <a:ea typeface="Segoe UI" pitchFamily="34" charset="0"/>
                <a:cs typeface="Segoe UI" pitchFamily="34" charset="0"/>
              </a:rPr>
              <a:t>device </a:t>
            </a:r>
            <a:r>
              <a:rPr lang="en-US" sz="1800" u="sng" spc="-30" dirty="0">
                <a:gradFill>
                  <a:gsLst>
                    <a:gs pos="100000">
                      <a:schemeClr val="tx1"/>
                    </a:gs>
                    <a:gs pos="0">
                      <a:schemeClr val="tx1"/>
                    </a:gs>
                  </a:gsLst>
                  <a:lin ang="5400000" scaled="1"/>
                </a:gradFill>
                <a:ea typeface="Segoe UI" pitchFamily="34" charset="0"/>
                <a:cs typeface="Segoe UI" pitchFamily="34" charset="0"/>
              </a:rPr>
              <a:t>I</a:t>
            </a:r>
            <a:r>
              <a:rPr lang="en-US" sz="1800" spc="-30" dirty="0">
                <a:gradFill>
                  <a:gsLst>
                    <a:gs pos="100000">
                      <a:schemeClr val="tx1"/>
                    </a:gs>
                    <a:gs pos="0">
                      <a:schemeClr val="tx1"/>
                    </a:gs>
                  </a:gsLst>
                  <a:lin ang="5400000" scaled="1"/>
                </a:gradFill>
                <a:ea typeface="Segoe UI" pitchFamily="34" charset="0"/>
                <a:cs typeface="Segoe UI" pitchFamily="34" charset="0"/>
              </a:rPr>
              <a:t> prefer</a:t>
            </a:r>
          </a:p>
        </p:txBody>
      </p:sp>
      <p:sp>
        <p:nvSpPr>
          <p:cNvPr id="10"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2"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4"/>
              </a:rPr>
              <a:t>www.rapidbbs.cn</a:t>
            </a:r>
            <a:endParaRPr lang="zh-CN" altLang="en-US" sz="1200" b="0">
              <a:latin typeface="Arial" charset="0"/>
              <a:ea typeface="ＭＳ Ｐゴシック" pitchFamily="34" charset="-128"/>
            </a:endParaRPr>
          </a:p>
        </p:txBody>
      </p:sp>
      <p:pic>
        <p:nvPicPr>
          <p:cNvPr id="13" name="Picture 2">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505757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fill="hold"/>
                                        <p:tgtEl>
                                          <p:spTgt spid="3"/>
                                        </p:tgtEl>
                                        <p:attrNameLst>
                                          <p:attrName>ppt_x</p:attrName>
                                        </p:attrNameLst>
                                      </p:cBhvr>
                                      <p:tavLst>
                                        <p:tav tm="0">
                                          <p:val>
                                            <p:strVal val="1+#ppt_w/2"/>
                                          </p:val>
                                        </p:tav>
                                        <p:tav tm="100000">
                                          <p:val>
                                            <p:strVal val="#ppt_x"/>
                                          </p:val>
                                        </p:tav>
                                      </p:tavLst>
                                    </p:anim>
                                    <p:anim calcmode="lin" valueType="num">
                                      <p:cBhvr additive="base">
                                        <p:cTn id="8" dur="10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5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1000" fill="hold"/>
                                        <p:tgtEl>
                                          <p:spTgt spid="4"/>
                                        </p:tgtEl>
                                        <p:attrNameLst>
                                          <p:attrName>ppt_x</p:attrName>
                                        </p:attrNameLst>
                                      </p:cBhvr>
                                      <p:tavLst>
                                        <p:tav tm="0">
                                          <p:val>
                                            <p:strVal val="1+#ppt_w/2"/>
                                          </p:val>
                                        </p:tav>
                                        <p:tav tm="100000">
                                          <p:val>
                                            <p:strVal val="#ppt_x"/>
                                          </p:val>
                                        </p:tav>
                                      </p:tavLst>
                                    </p:anim>
                                    <p:anim calcmode="lin" valueType="num">
                                      <p:cBhvr additive="base">
                                        <p:cTn id="12" dur="1000" fill="hold"/>
                                        <p:tgtEl>
                                          <p:spTgt spid="4"/>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1000" fill="hold"/>
                                        <p:tgtEl>
                                          <p:spTgt spid="5"/>
                                        </p:tgtEl>
                                        <p:attrNameLst>
                                          <p:attrName>ppt_x</p:attrName>
                                        </p:attrNameLst>
                                      </p:cBhvr>
                                      <p:tavLst>
                                        <p:tav tm="0">
                                          <p:val>
                                            <p:strVal val="1+#ppt_w/2"/>
                                          </p:val>
                                        </p:tav>
                                        <p:tav tm="100000">
                                          <p:val>
                                            <p:strVal val="#ppt_x"/>
                                          </p:val>
                                        </p:tav>
                                      </p:tavLst>
                                    </p:anim>
                                    <p:anim calcmode="lin" valueType="num">
                                      <p:cBhvr additive="base">
                                        <p:cTn id="16" dur="10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500"/>
                            </p:stCondLst>
                            <p:childTnLst>
                              <p:par>
                                <p:cTn id="18" presetID="2" presetClass="entr" presetSubtype="2" decel="100000" fill="hold" grpId="0" nodeType="afterEffect">
                                  <p:stCondLst>
                                    <p:cond delay="0"/>
                                  </p:stCondLst>
                                  <p:childTnLst>
                                    <p:set>
                                      <p:cBhvr>
                                        <p:cTn id="19" dur="1" fill="hold">
                                          <p:stCondLst>
                                            <p:cond delay="0"/>
                                          </p:stCondLst>
                                        </p:cTn>
                                        <p:tgtEl>
                                          <p:spTgt spid="9"/>
                                        </p:tgtEl>
                                        <p:attrNameLst>
                                          <p:attrName>style.visibility</p:attrName>
                                        </p:attrNameLst>
                                      </p:cBhvr>
                                      <p:to>
                                        <p:strVal val="visible"/>
                                      </p:to>
                                    </p:set>
                                    <p:anim calcmode="lin" valueType="num">
                                      <p:cBhvr additive="base">
                                        <p:cTn id="20" dur="1000" fill="hold"/>
                                        <p:tgtEl>
                                          <p:spTgt spid="9"/>
                                        </p:tgtEl>
                                        <p:attrNameLst>
                                          <p:attrName>ppt_x</p:attrName>
                                        </p:attrNameLst>
                                      </p:cBhvr>
                                      <p:tavLst>
                                        <p:tav tm="0">
                                          <p:val>
                                            <p:strVal val="1+#ppt_w/2"/>
                                          </p:val>
                                        </p:tav>
                                        <p:tav tm="100000">
                                          <p:val>
                                            <p:strVal val="#ppt_x"/>
                                          </p:val>
                                        </p:tav>
                                      </p:tavLst>
                                    </p:anim>
                                    <p:anim calcmode="lin" valueType="num">
                                      <p:cBhvr additive="base">
                                        <p:cTn id="21" dur="1000" fill="hold"/>
                                        <p:tgtEl>
                                          <p:spTgt spid="9"/>
                                        </p:tgtEl>
                                        <p:attrNameLst>
                                          <p:attrName>ppt_y</p:attrName>
                                        </p:attrNameLst>
                                      </p:cBhvr>
                                      <p:tavLst>
                                        <p:tav tm="0">
                                          <p:val>
                                            <p:strVal val="#ppt_y"/>
                                          </p:val>
                                        </p:tav>
                                        <p:tav tm="100000">
                                          <p:val>
                                            <p:strVal val="#ppt_y"/>
                                          </p:val>
                                        </p:tav>
                                      </p:tavLst>
                                    </p:anim>
                                  </p:childTnLst>
                                </p:cTn>
                              </p:par>
                              <p:par>
                                <p:cTn id="22" presetID="2" presetClass="entr" presetSubtype="2" decel="100000" fill="hold" nodeType="withEffect">
                                  <p:stCondLst>
                                    <p:cond delay="500"/>
                                  </p:stCondLst>
                                  <p:childTnLst>
                                    <p:set>
                                      <p:cBhvr>
                                        <p:cTn id="23" dur="1" fill="hold">
                                          <p:stCondLst>
                                            <p:cond delay="0"/>
                                          </p:stCondLst>
                                        </p:cTn>
                                        <p:tgtEl>
                                          <p:spTgt spid="15"/>
                                        </p:tgtEl>
                                        <p:attrNameLst>
                                          <p:attrName>style.visibility</p:attrName>
                                        </p:attrNameLst>
                                      </p:cBhvr>
                                      <p:to>
                                        <p:strVal val="visible"/>
                                      </p:to>
                                    </p:set>
                                    <p:anim calcmode="lin" valueType="num">
                                      <p:cBhvr additive="base">
                                        <p:cTn id="24" dur="1000" fill="hold"/>
                                        <p:tgtEl>
                                          <p:spTgt spid="15"/>
                                        </p:tgtEl>
                                        <p:attrNameLst>
                                          <p:attrName>ppt_x</p:attrName>
                                        </p:attrNameLst>
                                      </p:cBhvr>
                                      <p:tavLst>
                                        <p:tav tm="0">
                                          <p:val>
                                            <p:strVal val="1+#ppt_w/2"/>
                                          </p:val>
                                        </p:tav>
                                        <p:tav tm="100000">
                                          <p:val>
                                            <p:strVal val="#ppt_x"/>
                                          </p:val>
                                        </p:tav>
                                      </p:tavLst>
                                    </p:anim>
                                    <p:anim calcmode="lin" valueType="num">
                                      <p:cBhvr additive="base">
                                        <p:cTn id="25" dur="1000" fill="hold"/>
                                        <p:tgtEl>
                                          <p:spTgt spid="15"/>
                                        </p:tgtEl>
                                        <p:attrNameLst>
                                          <p:attrName>ppt_y</p:attrName>
                                        </p:attrNameLst>
                                      </p:cBhvr>
                                      <p:tavLst>
                                        <p:tav tm="0">
                                          <p:val>
                                            <p:strVal val="#ppt_y"/>
                                          </p:val>
                                        </p:tav>
                                        <p:tav tm="100000">
                                          <p:val>
                                            <p:strVal val="#ppt_y"/>
                                          </p:val>
                                        </p:tav>
                                      </p:tavLst>
                                    </p:anim>
                                  </p:childTnLst>
                                </p:cTn>
                              </p:par>
                              <p:par>
                                <p:cTn id="26" presetID="2" presetClass="entr" presetSubtype="2" decel="100000" fill="hold" grpId="0" nodeType="withEffect">
                                  <p:stCondLst>
                                    <p:cond delay="750"/>
                                  </p:stCondLst>
                                  <p:childTnLst>
                                    <p:set>
                                      <p:cBhvr>
                                        <p:cTn id="27" dur="1" fill="hold">
                                          <p:stCondLst>
                                            <p:cond delay="0"/>
                                          </p:stCondLst>
                                        </p:cTn>
                                        <p:tgtEl>
                                          <p:spTgt spid="11"/>
                                        </p:tgtEl>
                                        <p:attrNameLst>
                                          <p:attrName>style.visibility</p:attrName>
                                        </p:attrNameLst>
                                      </p:cBhvr>
                                      <p:to>
                                        <p:strVal val="visible"/>
                                      </p:to>
                                    </p:set>
                                    <p:anim calcmode="lin" valueType="num">
                                      <p:cBhvr additive="base">
                                        <p:cTn id="28" dur="1000" fill="hold"/>
                                        <p:tgtEl>
                                          <p:spTgt spid="11"/>
                                        </p:tgtEl>
                                        <p:attrNameLst>
                                          <p:attrName>ppt_x</p:attrName>
                                        </p:attrNameLst>
                                      </p:cBhvr>
                                      <p:tavLst>
                                        <p:tav tm="0">
                                          <p:val>
                                            <p:strVal val="1+#ppt_w/2"/>
                                          </p:val>
                                        </p:tav>
                                        <p:tav tm="100000">
                                          <p:val>
                                            <p:strVal val="#ppt_x"/>
                                          </p:val>
                                        </p:tav>
                                      </p:tavLst>
                                    </p:anim>
                                    <p:anim calcmode="lin" valueType="num">
                                      <p:cBhvr additive="base">
                                        <p:cTn id="29" dur="10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animBg="1"/>
      <p:bldP spid="11" grpId="0" animBg="1"/>
      <p:bldP spid="9" grpId="0" animBg="1"/>
    </p:bldLst>
  </p:timing>
</p:sld>
</file>

<file path=ppt/slides/slide4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frastructure Considerations</a:t>
            </a:r>
          </a:p>
        </p:txBody>
      </p:sp>
      <p:sp>
        <p:nvSpPr>
          <p:cNvPr id="3" name="Rectangle 2"/>
          <p:cNvSpPr/>
          <p:nvPr/>
        </p:nvSpPr>
        <p:spPr bwMode="auto">
          <a:xfrm>
            <a:off x="1621761" y="875110"/>
            <a:ext cx="1888260" cy="1886881"/>
          </a:xfrm>
          <a:prstGeom prst="rect">
            <a:avLst/>
          </a:prstGeom>
          <a:solidFill>
            <a:schemeClr val="accent5"/>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68586" tIns="68589" rIns="68586" bIns="68589" numCol="1" rtlCol="0" anchor="t" anchorCtr="0" compatLnSpc="1">
            <a:prstTxWarp prst="textNoShape">
              <a:avLst/>
            </a:prstTxWarp>
          </a:bodyPr>
          <a:lstStyle/>
          <a:p>
            <a:pPr defTabSz="685666" fontAlgn="base">
              <a:lnSpc>
                <a:spcPct val="90000"/>
              </a:lnSpc>
              <a:spcBef>
                <a:spcPct val="0"/>
              </a:spcBef>
              <a:spcAft>
                <a:spcPct val="0"/>
              </a:spcAft>
              <a:buClr>
                <a:srgbClr val="FFFFFF">
                  <a:lumMod val="50000"/>
                  <a:lumOff val="50000"/>
                </a:srgbClr>
              </a:buClr>
              <a:buSzPct val="90000"/>
            </a:pPr>
            <a:r>
              <a:rPr lang="en-US" sz="1800" spc="-30" dirty="0">
                <a:gradFill>
                  <a:gsLst>
                    <a:gs pos="100000">
                      <a:schemeClr val="tx1"/>
                    </a:gs>
                    <a:gs pos="0">
                      <a:schemeClr val="tx1"/>
                    </a:gs>
                  </a:gsLst>
                  <a:lin ang="5400000" scaled="1"/>
                </a:gradFill>
                <a:ea typeface="Segoe UI" pitchFamily="34" charset="0"/>
                <a:cs typeface="Segoe UI" pitchFamily="34" charset="0"/>
              </a:rPr>
              <a:t>Intelligent</a:t>
            </a:r>
            <a:br>
              <a:rPr lang="en-US" sz="1800" spc="-30" dirty="0">
                <a:gradFill>
                  <a:gsLst>
                    <a:gs pos="100000">
                      <a:schemeClr val="tx1"/>
                    </a:gs>
                    <a:gs pos="0">
                      <a:schemeClr val="tx1"/>
                    </a:gs>
                  </a:gsLst>
                  <a:lin ang="5400000" scaled="1"/>
                </a:gradFill>
                <a:ea typeface="Segoe UI" pitchFamily="34" charset="0"/>
                <a:cs typeface="Segoe UI" pitchFamily="34" charset="0"/>
              </a:rPr>
            </a:br>
            <a:r>
              <a:rPr lang="en-US" sz="1800" spc="-30" dirty="0">
                <a:gradFill>
                  <a:gsLst>
                    <a:gs pos="100000">
                      <a:schemeClr val="tx1"/>
                    </a:gs>
                    <a:gs pos="0">
                      <a:schemeClr val="tx1"/>
                    </a:gs>
                  </a:gsLst>
                  <a:lin ang="5400000" scaled="1"/>
                </a:gradFill>
                <a:ea typeface="Segoe UI" pitchFamily="34" charset="0"/>
                <a:cs typeface="Segoe UI" pitchFamily="34" charset="0"/>
              </a:rPr>
              <a:t>Application </a:t>
            </a:r>
            <a:br>
              <a:rPr lang="en-US" sz="1800" spc="-30" dirty="0">
                <a:gradFill>
                  <a:gsLst>
                    <a:gs pos="100000">
                      <a:schemeClr val="tx1"/>
                    </a:gs>
                    <a:gs pos="0">
                      <a:schemeClr val="tx1"/>
                    </a:gs>
                  </a:gsLst>
                  <a:lin ang="5400000" scaled="1"/>
                </a:gradFill>
                <a:ea typeface="Segoe UI" pitchFamily="34" charset="0"/>
                <a:cs typeface="Segoe UI" pitchFamily="34" charset="0"/>
              </a:rPr>
            </a:br>
            <a:r>
              <a:rPr lang="en-US" sz="1800" spc="-30" dirty="0">
                <a:gradFill>
                  <a:gsLst>
                    <a:gs pos="100000">
                      <a:schemeClr val="tx1"/>
                    </a:gs>
                    <a:gs pos="0">
                      <a:schemeClr val="tx1"/>
                    </a:gs>
                  </a:gsLst>
                  <a:lin ang="5400000" scaled="1"/>
                </a:gradFill>
                <a:ea typeface="Segoe UI" pitchFamily="34" charset="0"/>
                <a:cs typeface="Segoe UI" pitchFamily="34" charset="0"/>
              </a:rPr>
              <a:t>Infrastructure</a:t>
            </a:r>
          </a:p>
        </p:txBody>
      </p:sp>
      <p:sp>
        <p:nvSpPr>
          <p:cNvPr id="4" name="Rectangle 3"/>
          <p:cNvSpPr/>
          <p:nvPr/>
        </p:nvSpPr>
        <p:spPr bwMode="auto">
          <a:xfrm>
            <a:off x="1621077" y="2875620"/>
            <a:ext cx="3890323" cy="1886881"/>
          </a:xfrm>
          <a:prstGeom prst="rect">
            <a:avLst/>
          </a:prstGeom>
          <a:solidFill>
            <a:schemeClr val="accent5"/>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68586" tIns="68589" rIns="68586" bIns="68589" numCol="1" rtlCol="0" anchor="t" anchorCtr="0" compatLnSpc="1">
            <a:prstTxWarp prst="textNoShape">
              <a:avLst/>
            </a:prstTxWarp>
          </a:bodyPr>
          <a:lstStyle/>
          <a:p>
            <a:pPr defTabSz="685666" fontAlgn="base">
              <a:lnSpc>
                <a:spcPct val="90000"/>
              </a:lnSpc>
              <a:spcBef>
                <a:spcPct val="0"/>
              </a:spcBef>
              <a:spcAft>
                <a:spcPct val="0"/>
              </a:spcAft>
              <a:buClr>
                <a:srgbClr val="FFFFFF">
                  <a:lumMod val="50000"/>
                  <a:lumOff val="50000"/>
                </a:srgbClr>
              </a:buClr>
              <a:buSzPct val="90000"/>
            </a:pPr>
            <a:r>
              <a:rPr lang="en-US" sz="1800" spc="-30" dirty="0">
                <a:gradFill>
                  <a:gsLst>
                    <a:gs pos="100000">
                      <a:schemeClr val="tx1"/>
                    </a:gs>
                    <a:gs pos="0">
                      <a:schemeClr val="tx1"/>
                    </a:gs>
                  </a:gsLst>
                  <a:lin ang="5400000" scaled="1"/>
                </a:gradFill>
                <a:ea typeface="Segoe UI" pitchFamily="34" charset="0"/>
                <a:cs typeface="Segoe UI" pitchFamily="34" charset="0"/>
              </a:rPr>
              <a:t>Control and Governance </a:t>
            </a:r>
            <a:br>
              <a:rPr lang="en-US" sz="1800" spc="-30" dirty="0">
                <a:gradFill>
                  <a:gsLst>
                    <a:gs pos="100000">
                      <a:schemeClr val="tx1"/>
                    </a:gs>
                    <a:gs pos="0">
                      <a:schemeClr val="tx1"/>
                    </a:gs>
                  </a:gsLst>
                  <a:lin ang="5400000" scaled="1"/>
                </a:gradFill>
                <a:ea typeface="Segoe UI" pitchFamily="34" charset="0"/>
                <a:cs typeface="Segoe UI" pitchFamily="34" charset="0"/>
              </a:rPr>
            </a:br>
            <a:r>
              <a:rPr lang="en-US" sz="1800" spc="-30" dirty="0">
                <a:gradFill>
                  <a:gsLst>
                    <a:gs pos="100000">
                      <a:schemeClr val="tx1"/>
                    </a:gs>
                    <a:gs pos="0">
                      <a:schemeClr val="tx1"/>
                    </a:gs>
                  </a:gsLst>
                  <a:lin ang="5400000" scaled="1"/>
                </a:gradFill>
                <a:ea typeface="Segoe UI" pitchFamily="34" charset="0"/>
                <a:cs typeface="Segoe UI" pitchFamily="34" charset="0"/>
              </a:rPr>
              <a:t>across all devices</a:t>
            </a:r>
          </a:p>
        </p:txBody>
      </p:sp>
      <p:sp>
        <p:nvSpPr>
          <p:cNvPr id="5" name="Rectangle 4"/>
          <p:cNvSpPr/>
          <p:nvPr/>
        </p:nvSpPr>
        <p:spPr bwMode="auto">
          <a:xfrm>
            <a:off x="3623140" y="875110"/>
            <a:ext cx="1888260" cy="1886881"/>
          </a:xfrm>
          <a:prstGeom prst="rect">
            <a:avLst/>
          </a:prstGeom>
          <a:solidFill>
            <a:schemeClr val="tx1"/>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68586" tIns="68589" rIns="68586" bIns="68589" numCol="1" rtlCol="0" anchor="t" anchorCtr="0" compatLnSpc="1">
            <a:prstTxWarp prst="textNoShape">
              <a:avLst/>
            </a:prstTxWarp>
          </a:bodyPr>
          <a:lstStyle/>
          <a:p>
            <a:pPr defTabSz="685666" fontAlgn="base">
              <a:lnSpc>
                <a:spcPct val="90000"/>
              </a:lnSpc>
              <a:spcBef>
                <a:spcPct val="0"/>
              </a:spcBef>
              <a:spcAft>
                <a:spcPct val="0"/>
              </a:spcAft>
              <a:buClr>
                <a:srgbClr val="FFFFFF">
                  <a:lumMod val="50000"/>
                  <a:lumOff val="50000"/>
                </a:srgbClr>
              </a:buClr>
              <a:buSzPct val="90000"/>
            </a:pPr>
            <a:r>
              <a:rPr lang="en-US" sz="1800" spc="-30" dirty="0">
                <a:solidFill>
                  <a:schemeClr val="accent1"/>
                </a:solidFill>
                <a:ea typeface="Segoe UI" pitchFamily="34" charset="0"/>
                <a:cs typeface="Segoe UI" pitchFamily="34" charset="0"/>
              </a:rPr>
              <a:t>Security </a:t>
            </a:r>
            <a:br>
              <a:rPr lang="en-US" sz="1800" spc="-30" dirty="0">
                <a:solidFill>
                  <a:schemeClr val="accent1"/>
                </a:solidFill>
                <a:ea typeface="Segoe UI" pitchFamily="34" charset="0"/>
                <a:cs typeface="Segoe UI" pitchFamily="34" charset="0"/>
              </a:rPr>
            </a:br>
            <a:r>
              <a:rPr lang="en-US" sz="1800" spc="-30" dirty="0">
                <a:solidFill>
                  <a:schemeClr val="accent1"/>
                </a:solidFill>
                <a:ea typeface="Segoe UI" pitchFamily="34" charset="0"/>
                <a:cs typeface="Segoe UI" pitchFamily="34" charset="0"/>
              </a:rPr>
              <a:t>and Access</a:t>
            </a:r>
          </a:p>
        </p:txBody>
      </p:sp>
      <p:grpSp>
        <p:nvGrpSpPr>
          <p:cNvPr id="8" name="Group 7"/>
          <p:cNvGrpSpPr/>
          <p:nvPr/>
        </p:nvGrpSpPr>
        <p:grpSpPr>
          <a:xfrm>
            <a:off x="5634662" y="875110"/>
            <a:ext cx="1881648" cy="3887391"/>
            <a:chOff x="7510926" y="1166813"/>
            <a:chExt cx="2508211" cy="5183188"/>
          </a:xfrm>
        </p:grpSpPr>
        <p:pic>
          <p:nvPicPr>
            <p:cNvPr id="6" name="Picture 8" descr="\\SFP\Resources\Microsoft Presentation Resources\DVD_Art_08-10-2010\Artwork_Imagery\Other Photos\Microsoft Employees\IMG_6202.jp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l="32587" r="23791"/>
            <a:stretch/>
          </p:blipFill>
          <p:spPr bwMode="auto">
            <a:xfrm>
              <a:off x="7510926" y="1166813"/>
              <a:ext cx="2508211" cy="5183187"/>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7" name="Rectangle 6"/>
            <p:cNvSpPr/>
            <p:nvPr/>
          </p:nvSpPr>
          <p:spPr bwMode="auto">
            <a:xfrm>
              <a:off x="7515434" y="3834158"/>
              <a:ext cx="2503703" cy="2515843"/>
            </a:xfrm>
            <a:prstGeom prst="rect">
              <a:avLst/>
            </a:prstGeom>
            <a:gradFill flip="none" rotWithShape="1">
              <a:gsLst>
                <a:gs pos="82000">
                  <a:schemeClr val="bg1"/>
                </a:gs>
                <a:gs pos="51000">
                  <a:schemeClr val="accent1">
                    <a:tint val="23500"/>
                    <a:satMod val="160000"/>
                    <a:alpha val="0"/>
                  </a:schemeClr>
                </a:gs>
              </a:gsLst>
              <a:lin ang="5400000" scaled="1"/>
              <a:tileRect/>
            </a:gra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40" tIns="91440" rIns="91436" bIns="91440" numCol="1" rtlCol="0" anchor="b" anchorCtr="0" compatLnSpc="1">
              <a:prstTxWarp prst="textNoShape">
                <a:avLst/>
              </a:prstTxWarp>
            </a:bodyPr>
            <a:lstStyle/>
            <a:p>
              <a:pPr defTabSz="685666" fontAlgn="base">
                <a:lnSpc>
                  <a:spcPct val="90000"/>
                </a:lnSpc>
                <a:spcBef>
                  <a:spcPct val="0"/>
                </a:spcBef>
                <a:spcAft>
                  <a:spcPct val="0"/>
                </a:spcAft>
                <a:buClr>
                  <a:srgbClr val="FFFFFF">
                    <a:lumMod val="50000"/>
                    <a:lumOff val="50000"/>
                  </a:srgbClr>
                </a:buClr>
                <a:buSzPct val="90000"/>
              </a:pPr>
              <a:r>
                <a:rPr lang="en-US" sz="2100" spc="-30" dirty="0">
                  <a:gradFill>
                    <a:gsLst>
                      <a:gs pos="100000">
                        <a:schemeClr val="tx1"/>
                      </a:gs>
                      <a:gs pos="0">
                        <a:schemeClr val="tx1"/>
                      </a:gs>
                    </a:gsLst>
                    <a:lin ang="5400000" scaled="1"/>
                  </a:gradFill>
                  <a:ea typeface="Segoe UI" pitchFamily="34" charset="0"/>
                  <a:cs typeface="Segoe UI" pitchFamily="34" charset="0"/>
                </a:rPr>
                <a:t>People-Centric</a:t>
              </a:r>
            </a:p>
          </p:txBody>
        </p:sp>
      </p:grpSp>
      <p:sp>
        <p:nvSpPr>
          <p:cNvPr id="9" name="Freeform 72"/>
          <p:cNvSpPr>
            <a:spLocks noEditPoints="1"/>
          </p:cNvSpPr>
          <p:nvPr/>
        </p:nvSpPr>
        <p:spPr bwMode="auto">
          <a:xfrm>
            <a:off x="4567270" y="3819059"/>
            <a:ext cx="743144" cy="744482"/>
          </a:xfrm>
          <a:custGeom>
            <a:avLst/>
            <a:gdLst>
              <a:gd name="T0" fmla="*/ 337 w 411"/>
              <a:gd name="T1" fmla="*/ 198 h 412"/>
              <a:gd name="T2" fmla="*/ 284 w 411"/>
              <a:gd name="T3" fmla="*/ 220 h 412"/>
              <a:gd name="T4" fmla="*/ 249 w 411"/>
              <a:gd name="T5" fmla="*/ 185 h 412"/>
              <a:gd name="T6" fmla="*/ 283 w 411"/>
              <a:gd name="T7" fmla="*/ 107 h 412"/>
              <a:gd name="T8" fmla="*/ 176 w 411"/>
              <a:gd name="T9" fmla="*/ 0 h 412"/>
              <a:gd name="T10" fmla="*/ 68 w 411"/>
              <a:gd name="T11" fmla="*/ 107 h 412"/>
              <a:gd name="T12" fmla="*/ 116 w 411"/>
              <a:gd name="T13" fmla="*/ 196 h 412"/>
              <a:gd name="T14" fmla="*/ 96 w 411"/>
              <a:gd name="T15" fmla="*/ 266 h 412"/>
              <a:gd name="T16" fmla="*/ 74 w 411"/>
              <a:gd name="T17" fmla="*/ 263 h 412"/>
              <a:gd name="T18" fmla="*/ 0 w 411"/>
              <a:gd name="T19" fmla="*/ 337 h 412"/>
              <a:gd name="T20" fmla="*/ 74 w 411"/>
              <a:gd name="T21" fmla="*/ 412 h 412"/>
              <a:gd name="T22" fmla="*/ 149 w 411"/>
              <a:gd name="T23" fmla="*/ 337 h 412"/>
              <a:gd name="T24" fmla="*/ 110 w 411"/>
              <a:gd name="T25" fmla="*/ 272 h 412"/>
              <a:gd name="T26" fmla="*/ 130 w 411"/>
              <a:gd name="T27" fmla="*/ 204 h 412"/>
              <a:gd name="T28" fmla="*/ 176 w 411"/>
              <a:gd name="T29" fmla="*/ 214 h 412"/>
              <a:gd name="T30" fmla="*/ 238 w 411"/>
              <a:gd name="T31" fmla="*/ 195 h 412"/>
              <a:gd name="T32" fmla="*/ 275 w 411"/>
              <a:gd name="T33" fmla="*/ 232 h 412"/>
              <a:gd name="T34" fmla="*/ 262 w 411"/>
              <a:gd name="T35" fmla="*/ 273 h 412"/>
              <a:gd name="T36" fmla="*/ 337 w 411"/>
              <a:gd name="T37" fmla="*/ 347 h 412"/>
              <a:gd name="T38" fmla="*/ 411 w 411"/>
              <a:gd name="T39" fmla="*/ 273 h 412"/>
              <a:gd name="T40" fmla="*/ 337 w 411"/>
              <a:gd name="T41" fmla="*/ 198 h 412"/>
              <a:gd name="T42" fmla="*/ 134 w 411"/>
              <a:gd name="T43" fmla="*/ 337 h 412"/>
              <a:gd name="T44" fmla="*/ 74 w 411"/>
              <a:gd name="T45" fmla="*/ 397 h 412"/>
              <a:gd name="T46" fmla="*/ 14 w 411"/>
              <a:gd name="T47" fmla="*/ 337 h 412"/>
              <a:gd name="T48" fmla="*/ 74 w 411"/>
              <a:gd name="T49" fmla="*/ 278 h 412"/>
              <a:gd name="T50" fmla="*/ 134 w 411"/>
              <a:gd name="T51" fmla="*/ 337 h 412"/>
              <a:gd name="T52" fmla="*/ 83 w 411"/>
              <a:gd name="T53" fmla="*/ 107 h 412"/>
              <a:gd name="T54" fmla="*/ 176 w 411"/>
              <a:gd name="T55" fmla="*/ 14 h 412"/>
              <a:gd name="T56" fmla="*/ 268 w 411"/>
              <a:gd name="T57" fmla="*/ 107 h 412"/>
              <a:gd name="T58" fmla="*/ 176 w 411"/>
              <a:gd name="T59" fmla="*/ 200 h 412"/>
              <a:gd name="T60" fmla="*/ 83 w 411"/>
              <a:gd name="T61" fmla="*/ 107 h 412"/>
              <a:gd name="T62" fmla="*/ 337 w 411"/>
              <a:gd name="T63" fmla="*/ 332 h 412"/>
              <a:gd name="T64" fmla="*/ 277 w 411"/>
              <a:gd name="T65" fmla="*/ 273 h 412"/>
              <a:gd name="T66" fmla="*/ 337 w 411"/>
              <a:gd name="T67" fmla="*/ 213 h 412"/>
              <a:gd name="T68" fmla="*/ 397 w 411"/>
              <a:gd name="T69" fmla="*/ 273 h 412"/>
              <a:gd name="T70" fmla="*/ 337 w 411"/>
              <a:gd name="T71" fmla="*/ 33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1" h="412">
                <a:moveTo>
                  <a:pt x="337" y="198"/>
                </a:moveTo>
                <a:cubicBezTo>
                  <a:pt x="316" y="198"/>
                  <a:pt x="298" y="206"/>
                  <a:pt x="284" y="220"/>
                </a:cubicBezTo>
                <a:cubicBezTo>
                  <a:pt x="249" y="185"/>
                  <a:pt x="249" y="185"/>
                  <a:pt x="249" y="185"/>
                </a:cubicBezTo>
                <a:cubicBezTo>
                  <a:pt x="270" y="166"/>
                  <a:pt x="283" y="138"/>
                  <a:pt x="283" y="107"/>
                </a:cubicBezTo>
                <a:cubicBezTo>
                  <a:pt x="283" y="48"/>
                  <a:pt x="235" y="0"/>
                  <a:pt x="176" y="0"/>
                </a:cubicBezTo>
                <a:cubicBezTo>
                  <a:pt x="117" y="0"/>
                  <a:pt x="68" y="48"/>
                  <a:pt x="68" y="107"/>
                </a:cubicBezTo>
                <a:cubicBezTo>
                  <a:pt x="68" y="144"/>
                  <a:pt x="88" y="177"/>
                  <a:pt x="116" y="196"/>
                </a:cubicBezTo>
                <a:cubicBezTo>
                  <a:pt x="96" y="266"/>
                  <a:pt x="96" y="266"/>
                  <a:pt x="96" y="266"/>
                </a:cubicBezTo>
                <a:cubicBezTo>
                  <a:pt x="89" y="264"/>
                  <a:pt x="82" y="263"/>
                  <a:pt x="74" y="263"/>
                </a:cubicBezTo>
                <a:cubicBezTo>
                  <a:pt x="33" y="263"/>
                  <a:pt x="0" y="296"/>
                  <a:pt x="0" y="337"/>
                </a:cubicBezTo>
                <a:cubicBezTo>
                  <a:pt x="0" y="378"/>
                  <a:pt x="33" y="412"/>
                  <a:pt x="74" y="412"/>
                </a:cubicBezTo>
                <a:cubicBezTo>
                  <a:pt x="115" y="412"/>
                  <a:pt x="149" y="378"/>
                  <a:pt x="149" y="337"/>
                </a:cubicBezTo>
                <a:cubicBezTo>
                  <a:pt x="149" y="309"/>
                  <a:pt x="133" y="284"/>
                  <a:pt x="110" y="272"/>
                </a:cubicBezTo>
                <a:cubicBezTo>
                  <a:pt x="130" y="204"/>
                  <a:pt x="130" y="204"/>
                  <a:pt x="130" y="204"/>
                </a:cubicBezTo>
                <a:cubicBezTo>
                  <a:pt x="144" y="210"/>
                  <a:pt x="159" y="214"/>
                  <a:pt x="176" y="214"/>
                </a:cubicBezTo>
                <a:cubicBezTo>
                  <a:pt x="199" y="214"/>
                  <a:pt x="220" y="207"/>
                  <a:pt x="238" y="195"/>
                </a:cubicBezTo>
                <a:cubicBezTo>
                  <a:pt x="275" y="232"/>
                  <a:pt x="275" y="232"/>
                  <a:pt x="275" y="232"/>
                </a:cubicBezTo>
                <a:cubicBezTo>
                  <a:pt x="267" y="243"/>
                  <a:pt x="262" y="257"/>
                  <a:pt x="262" y="273"/>
                </a:cubicBezTo>
                <a:cubicBezTo>
                  <a:pt x="262" y="314"/>
                  <a:pt x="296" y="347"/>
                  <a:pt x="337" y="347"/>
                </a:cubicBezTo>
                <a:cubicBezTo>
                  <a:pt x="378" y="347"/>
                  <a:pt x="411" y="314"/>
                  <a:pt x="411" y="273"/>
                </a:cubicBezTo>
                <a:cubicBezTo>
                  <a:pt x="411" y="231"/>
                  <a:pt x="378" y="198"/>
                  <a:pt x="337" y="198"/>
                </a:cubicBezTo>
                <a:close/>
                <a:moveTo>
                  <a:pt x="134" y="337"/>
                </a:moveTo>
                <a:cubicBezTo>
                  <a:pt x="134" y="370"/>
                  <a:pt x="107" y="397"/>
                  <a:pt x="74" y="397"/>
                </a:cubicBezTo>
                <a:cubicBezTo>
                  <a:pt x="41" y="397"/>
                  <a:pt x="14" y="370"/>
                  <a:pt x="14" y="337"/>
                </a:cubicBezTo>
                <a:cubicBezTo>
                  <a:pt x="14" y="304"/>
                  <a:pt x="41" y="278"/>
                  <a:pt x="74" y="278"/>
                </a:cubicBezTo>
                <a:cubicBezTo>
                  <a:pt x="107" y="278"/>
                  <a:pt x="134" y="304"/>
                  <a:pt x="134" y="337"/>
                </a:cubicBezTo>
                <a:close/>
                <a:moveTo>
                  <a:pt x="83" y="107"/>
                </a:moveTo>
                <a:cubicBezTo>
                  <a:pt x="83" y="56"/>
                  <a:pt x="125" y="14"/>
                  <a:pt x="176" y="14"/>
                </a:cubicBezTo>
                <a:cubicBezTo>
                  <a:pt x="227" y="14"/>
                  <a:pt x="268" y="56"/>
                  <a:pt x="268" y="107"/>
                </a:cubicBezTo>
                <a:cubicBezTo>
                  <a:pt x="268" y="158"/>
                  <a:pt x="227" y="200"/>
                  <a:pt x="176" y="200"/>
                </a:cubicBezTo>
                <a:cubicBezTo>
                  <a:pt x="125" y="200"/>
                  <a:pt x="83" y="158"/>
                  <a:pt x="83" y="107"/>
                </a:cubicBezTo>
                <a:close/>
                <a:moveTo>
                  <a:pt x="337" y="332"/>
                </a:moveTo>
                <a:cubicBezTo>
                  <a:pt x="304" y="332"/>
                  <a:pt x="277" y="306"/>
                  <a:pt x="277" y="273"/>
                </a:cubicBezTo>
                <a:cubicBezTo>
                  <a:pt x="277" y="240"/>
                  <a:pt x="304" y="213"/>
                  <a:pt x="337" y="213"/>
                </a:cubicBezTo>
                <a:cubicBezTo>
                  <a:pt x="370" y="213"/>
                  <a:pt x="397" y="240"/>
                  <a:pt x="397" y="273"/>
                </a:cubicBezTo>
                <a:cubicBezTo>
                  <a:pt x="397" y="306"/>
                  <a:pt x="370" y="332"/>
                  <a:pt x="337" y="332"/>
                </a:cubicBezTo>
                <a:close/>
              </a:path>
            </a:pathLst>
          </a:custGeom>
          <a:solidFill>
            <a:srgbClr val="FFFFFF"/>
          </a:solidFill>
          <a:ln>
            <a:noFill/>
          </a:ln>
        </p:spPr>
        <p:txBody>
          <a:bodyPr vert="horz" wrap="square" lIns="68589" tIns="34295" rIns="68589" bIns="34295" numCol="1" anchor="t" anchorCtr="0" compatLnSpc="1">
            <a:prstTxWarp prst="textNoShape">
              <a:avLst/>
            </a:prstTxWarp>
          </a:bodyPr>
          <a:lstStyle/>
          <a:p>
            <a:endParaRPr lang="en-US">
              <a:gradFill>
                <a:gsLst>
                  <a:gs pos="100000">
                    <a:schemeClr val="tx1"/>
                  </a:gs>
                  <a:gs pos="0">
                    <a:schemeClr val="tx1"/>
                  </a:gs>
                </a:gsLst>
                <a:lin ang="5400000" scaled="1"/>
              </a:gradFill>
            </a:endParaRPr>
          </a:p>
        </p:txBody>
      </p:sp>
      <p:sp>
        <p:nvSpPr>
          <p:cNvPr id="10"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1"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pic>
        <p:nvPicPr>
          <p:cNvPr id="12"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14854150"/>
      </p:ext>
    </p:extLst>
  </p:cSld>
  <p:clrMapOvr>
    <a:masterClrMapping/>
  </p:clrMapOvr>
  <p:transition>
    <p:fade/>
  </p:transition>
  <p:timing>
    <p:tnLst>
      <p:par>
        <p:cTn id="1" dur="indefinite" restart="never" nodeType="tmRoot"/>
      </p:par>
    </p:tnLst>
  </p:timing>
</p:sld>
</file>

<file path=ppt/slides/slide4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ople-Centric </a:t>
            </a:r>
            <a:r>
              <a:rPr lang="en-US" dirty="0" err="1"/>
              <a:t>Consumerization</a:t>
            </a:r>
            <a:r>
              <a:rPr lang="en-US" dirty="0"/>
              <a:t> Framework</a:t>
            </a:r>
          </a:p>
        </p:txBody>
      </p:sp>
      <p:sp>
        <p:nvSpPr>
          <p:cNvPr id="13" name="Oval 12"/>
          <p:cNvSpPr/>
          <p:nvPr/>
        </p:nvSpPr>
        <p:spPr bwMode="auto">
          <a:xfrm>
            <a:off x="799117" y="1502704"/>
            <a:ext cx="2057936" cy="2057400"/>
          </a:xfrm>
          <a:prstGeom prst="ellipse">
            <a:avLst/>
          </a:prstGeom>
          <a:solidFill>
            <a:srgbClr val="3BBEB4">
              <a:alpha val="80000"/>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205767" numCol="1" spcCol="0" rtlCol="0" fromWordArt="0" anchor="b" anchorCtr="0" forceAA="0" compatLnSpc="1">
            <a:prstTxWarp prst="textNoShape">
              <a:avLst/>
            </a:prstTxWarp>
            <a:noAutofit/>
          </a:bodyPr>
          <a:lstStyle/>
          <a:p>
            <a:pPr algn="ctr" defTabSz="914058">
              <a:lnSpc>
                <a:spcPct val="90000"/>
              </a:lnSpc>
              <a:buClr>
                <a:srgbClr val="FFFFFF">
                  <a:lumMod val="50000"/>
                  <a:lumOff val="50000"/>
                </a:srgbClr>
              </a:buClr>
            </a:pPr>
            <a:r>
              <a:rPr lang="en-US" sz="1800" dirty="0">
                <a:gradFill flip="none" rotWithShape="1">
                  <a:gsLst>
                    <a:gs pos="0">
                      <a:srgbClr val="FFFFFF"/>
                    </a:gs>
                    <a:gs pos="100000">
                      <a:srgbClr val="FFFFFF"/>
                    </a:gs>
                  </a:gsLst>
                  <a:path path="circle">
                    <a:fillToRect r="100000" b="100000"/>
                  </a:path>
                  <a:tileRect l="-100000" t="-100000"/>
                </a:gradFill>
              </a:rPr>
              <a:t>Access </a:t>
            </a:r>
            <a:br>
              <a:rPr lang="en-US" sz="1800" dirty="0">
                <a:gradFill flip="none" rotWithShape="1">
                  <a:gsLst>
                    <a:gs pos="0">
                      <a:srgbClr val="FFFFFF"/>
                    </a:gs>
                    <a:gs pos="100000">
                      <a:srgbClr val="FFFFFF"/>
                    </a:gs>
                  </a:gsLst>
                  <a:path path="circle">
                    <a:fillToRect r="100000" b="100000"/>
                  </a:path>
                  <a:tileRect l="-100000" t="-100000"/>
                </a:gradFill>
              </a:rPr>
            </a:br>
            <a:r>
              <a:rPr lang="en-US" sz="1800" dirty="0">
                <a:gradFill flip="none" rotWithShape="1">
                  <a:gsLst>
                    <a:gs pos="0">
                      <a:srgbClr val="FFFFFF"/>
                    </a:gs>
                    <a:gs pos="100000">
                      <a:srgbClr val="FFFFFF"/>
                    </a:gs>
                  </a:gsLst>
                  <a:path path="circle">
                    <a:fillToRect r="100000" b="100000"/>
                  </a:path>
                  <a:tileRect l="-100000" t="-100000"/>
                </a:gradFill>
              </a:rPr>
              <a:t>and Identity</a:t>
            </a:r>
          </a:p>
        </p:txBody>
      </p:sp>
      <p:grpSp>
        <p:nvGrpSpPr>
          <p:cNvPr id="15" name="Group 14"/>
          <p:cNvGrpSpPr/>
          <p:nvPr/>
        </p:nvGrpSpPr>
        <p:grpSpPr>
          <a:xfrm>
            <a:off x="3543032" y="1502704"/>
            <a:ext cx="2057936" cy="2057400"/>
            <a:chOff x="4722813" y="1121664"/>
            <a:chExt cx="2743200" cy="2743200"/>
          </a:xfrm>
        </p:grpSpPr>
        <p:sp>
          <p:nvSpPr>
            <p:cNvPr id="16" name="Oval 15"/>
            <p:cNvSpPr/>
            <p:nvPr/>
          </p:nvSpPr>
          <p:spPr bwMode="auto">
            <a:xfrm>
              <a:off x="4722813" y="1121664"/>
              <a:ext cx="2743200" cy="2743200"/>
            </a:xfrm>
            <a:prstGeom prst="ellipse">
              <a:avLst/>
            </a:prstGeom>
            <a:solidFill>
              <a:schemeClr val="accent5">
                <a:alpha val="8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274320" numCol="1" spcCol="0" rtlCol="0" fromWordArt="0" anchor="b" anchorCtr="0" forceAA="0" compatLnSpc="1">
              <a:prstTxWarp prst="textNoShape">
                <a:avLst/>
              </a:prstTxWarp>
              <a:noAutofit/>
            </a:bodyPr>
            <a:lstStyle/>
            <a:p>
              <a:pPr algn="ctr" defTabSz="914058">
                <a:lnSpc>
                  <a:spcPct val="90000"/>
                </a:lnSpc>
                <a:buClr>
                  <a:srgbClr val="FFFFFF">
                    <a:lumMod val="50000"/>
                    <a:lumOff val="50000"/>
                  </a:srgbClr>
                </a:buClr>
              </a:pPr>
              <a:r>
                <a:rPr lang="en-US" sz="1800" dirty="0">
                  <a:gradFill flip="none" rotWithShape="1">
                    <a:gsLst>
                      <a:gs pos="0">
                        <a:srgbClr val="FFFFFF"/>
                      </a:gs>
                      <a:gs pos="100000">
                        <a:srgbClr val="FFFFFF"/>
                      </a:gs>
                    </a:gsLst>
                    <a:path path="circle">
                      <a:fillToRect r="100000" b="100000"/>
                    </a:path>
                    <a:tileRect l="-100000" t="-100000"/>
                  </a:gradFill>
                </a:rPr>
                <a:t>User &amp; Device Management</a:t>
              </a:r>
            </a:p>
          </p:txBody>
        </p:sp>
        <p:sp>
          <p:nvSpPr>
            <p:cNvPr id="17" name="Freeform 72"/>
            <p:cNvSpPr>
              <a:spLocks noEditPoints="1"/>
            </p:cNvSpPr>
            <p:nvPr/>
          </p:nvSpPr>
          <p:spPr bwMode="auto">
            <a:xfrm>
              <a:off x="5756022" y="1792681"/>
              <a:ext cx="676784" cy="678178"/>
            </a:xfrm>
            <a:custGeom>
              <a:avLst/>
              <a:gdLst>
                <a:gd name="T0" fmla="*/ 337 w 411"/>
                <a:gd name="T1" fmla="*/ 198 h 412"/>
                <a:gd name="T2" fmla="*/ 284 w 411"/>
                <a:gd name="T3" fmla="*/ 220 h 412"/>
                <a:gd name="T4" fmla="*/ 249 w 411"/>
                <a:gd name="T5" fmla="*/ 185 h 412"/>
                <a:gd name="T6" fmla="*/ 283 w 411"/>
                <a:gd name="T7" fmla="*/ 107 h 412"/>
                <a:gd name="T8" fmla="*/ 176 w 411"/>
                <a:gd name="T9" fmla="*/ 0 h 412"/>
                <a:gd name="T10" fmla="*/ 68 w 411"/>
                <a:gd name="T11" fmla="*/ 107 h 412"/>
                <a:gd name="T12" fmla="*/ 116 w 411"/>
                <a:gd name="T13" fmla="*/ 196 h 412"/>
                <a:gd name="T14" fmla="*/ 96 w 411"/>
                <a:gd name="T15" fmla="*/ 266 h 412"/>
                <a:gd name="T16" fmla="*/ 74 w 411"/>
                <a:gd name="T17" fmla="*/ 263 h 412"/>
                <a:gd name="T18" fmla="*/ 0 w 411"/>
                <a:gd name="T19" fmla="*/ 337 h 412"/>
                <a:gd name="T20" fmla="*/ 74 w 411"/>
                <a:gd name="T21" fmla="*/ 412 h 412"/>
                <a:gd name="T22" fmla="*/ 149 w 411"/>
                <a:gd name="T23" fmla="*/ 337 h 412"/>
                <a:gd name="T24" fmla="*/ 110 w 411"/>
                <a:gd name="T25" fmla="*/ 272 h 412"/>
                <a:gd name="T26" fmla="*/ 130 w 411"/>
                <a:gd name="T27" fmla="*/ 204 h 412"/>
                <a:gd name="T28" fmla="*/ 176 w 411"/>
                <a:gd name="T29" fmla="*/ 214 h 412"/>
                <a:gd name="T30" fmla="*/ 238 w 411"/>
                <a:gd name="T31" fmla="*/ 195 h 412"/>
                <a:gd name="T32" fmla="*/ 275 w 411"/>
                <a:gd name="T33" fmla="*/ 232 h 412"/>
                <a:gd name="T34" fmla="*/ 262 w 411"/>
                <a:gd name="T35" fmla="*/ 273 h 412"/>
                <a:gd name="T36" fmla="*/ 337 w 411"/>
                <a:gd name="T37" fmla="*/ 347 h 412"/>
                <a:gd name="T38" fmla="*/ 411 w 411"/>
                <a:gd name="T39" fmla="*/ 273 h 412"/>
                <a:gd name="T40" fmla="*/ 337 w 411"/>
                <a:gd name="T41" fmla="*/ 198 h 412"/>
                <a:gd name="T42" fmla="*/ 134 w 411"/>
                <a:gd name="T43" fmla="*/ 337 h 412"/>
                <a:gd name="T44" fmla="*/ 74 w 411"/>
                <a:gd name="T45" fmla="*/ 397 h 412"/>
                <a:gd name="T46" fmla="*/ 14 w 411"/>
                <a:gd name="T47" fmla="*/ 337 h 412"/>
                <a:gd name="T48" fmla="*/ 74 w 411"/>
                <a:gd name="T49" fmla="*/ 278 h 412"/>
                <a:gd name="T50" fmla="*/ 134 w 411"/>
                <a:gd name="T51" fmla="*/ 337 h 412"/>
                <a:gd name="T52" fmla="*/ 83 w 411"/>
                <a:gd name="T53" fmla="*/ 107 h 412"/>
                <a:gd name="T54" fmla="*/ 176 w 411"/>
                <a:gd name="T55" fmla="*/ 14 h 412"/>
                <a:gd name="T56" fmla="*/ 268 w 411"/>
                <a:gd name="T57" fmla="*/ 107 h 412"/>
                <a:gd name="T58" fmla="*/ 176 w 411"/>
                <a:gd name="T59" fmla="*/ 200 h 412"/>
                <a:gd name="T60" fmla="*/ 83 w 411"/>
                <a:gd name="T61" fmla="*/ 107 h 412"/>
                <a:gd name="T62" fmla="*/ 337 w 411"/>
                <a:gd name="T63" fmla="*/ 332 h 412"/>
                <a:gd name="T64" fmla="*/ 277 w 411"/>
                <a:gd name="T65" fmla="*/ 273 h 412"/>
                <a:gd name="T66" fmla="*/ 337 w 411"/>
                <a:gd name="T67" fmla="*/ 213 h 412"/>
                <a:gd name="T68" fmla="*/ 397 w 411"/>
                <a:gd name="T69" fmla="*/ 273 h 412"/>
                <a:gd name="T70" fmla="*/ 337 w 411"/>
                <a:gd name="T71" fmla="*/ 33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1" h="412">
                  <a:moveTo>
                    <a:pt x="337" y="198"/>
                  </a:moveTo>
                  <a:cubicBezTo>
                    <a:pt x="316" y="198"/>
                    <a:pt x="298" y="206"/>
                    <a:pt x="284" y="220"/>
                  </a:cubicBezTo>
                  <a:cubicBezTo>
                    <a:pt x="249" y="185"/>
                    <a:pt x="249" y="185"/>
                    <a:pt x="249" y="185"/>
                  </a:cubicBezTo>
                  <a:cubicBezTo>
                    <a:pt x="270" y="166"/>
                    <a:pt x="283" y="138"/>
                    <a:pt x="283" y="107"/>
                  </a:cubicBezTo>
                  <a:cubicBezTo>
                    <a:pt x="283" y="48"/>
                    <a:pt x="235" y="0"/>
                    <a:pt x="176" y="0"/>
                  </a:cubicBezTo>
                  <a:cubicBezTo>
                    <a:pt x="117" y="0"/>
                    <a:pt x="68" y="48"/>
                    <a:pt x="68" y="107"/>
                  </a:cubicBezTo>
                  <a:cubicBezTo>
                    <a:pt x="68" y="144"/>
                    <a:pt x="88" y="177"/>
                    <a:pt x="116" y="196"/>
                  </a:cubicBezTo>
                  <a:cubicBezTo>
                    <a:pt x="96" y="266"/>
                    <a:pt x="96" y="266"/>
                    <a:pt x="96" y="266"/>
                  </a:cubicBezTo>
                  <a:cubicBezTo>
                    <a:pt x="89" y="264"/>
                    <a:pt x="82" y="263"/>
                    <a:pt x="74" y="263"/>
                  </a:cubicBezTo>
                  <a:cubicBezTo>
                    <a:pt x="33" y="263"/>
                    <a:pt x="0" y="296"/>
                    <a:pt x="0" y="337"/>
                  </a:cubicBezTo>
                  <a:cubicBezTo>
                    <a:pt x="0" y="378"/>
                    <a:pt x="33" y="412"/>
                    <a:pt x="74" y="412"/>
                  </a:cubicBezTo>
                  <a:cubicBezTo>
                    <a:pt x="115" y="412"/>
                    <a:pt x="149" y="378"/>
                    <a:pt x="149" y="337"/>
                  </a:cubicBezTo>
                  <a:cubicBezTo>
                    <a:pt x="149" y="309"/>
                    <a:pt x="133" y="284"/>
                    <a:pt x="110" y="272"/>
                  </a:cubicBezTo>
                  <a:cubicBezTo>
                    <a:pt x="130" y="204"/>
                    <a:pt x="130" y="204"/>
                    <a:pt x="130" y="204"/>
                  </a:cubicBezTo>
                  <a:cubicBezTo>
                    <a:pt x="144" y="210"/>
                    <a:pt x="159" y="214"/>
                    <a:pt x="176" y="214"/>
                  </a:cubicBezTo>
                  <a:cubicBezTo>
                    <a:pt x="199" y="214"/>
                    <a:pt x="220" y="207"/>
                    <a:pt x="238" y="195"/>
                  </a:cubicBezTo>
                  <a:cubicBezTo>
                    <a:pt x="275" y="232"/>
                    <a:pt x="275" y="232"/>
                    <a:pt x="275" y="232"/>
                  </a:cubicBezTo>
                  <a:cubicBezTo>
                    <a:pt x="267" y="243"/>
                    <a:pt x="262" y="257"/>
                    <a:pt x="262" y="273"/>
                  </a:cubicBezTo>
                  <a:cubicBezTo>
                    <a:pt x="262" y="314"/>
                    <a:pt x="296" y="347"/>
                    <a:pt x="337" y="347"/>
                  </a:cubicBezTo>
                  <a:cubicBezTo>
                    <a:pt x="378" y="347"/>
                    <a:pt x="411" y="314"/>
                    <a:pt x="411" y="273"/>
                  </a:cubicBezTo>
                  <a:cubicBezTo>
                    <a:pt x="411" y="231"/>
                    <a:pt x="378" y="198"/>
                    <a:pt x="337" y="198"/>
                  </a:cubicBezTo>
                  <a:close/>
                  <a:moveTo>
                    <a:pt x="134" y="337"/>
                  </a:moveTo>
                  <a:cubicBezTo>
                    <a:pt x="134" y="370"/>
                    <a:pt x="107" y="397"/>
                    <a:pt x="74" y="397"/>
                  </a:cubicBezTo>
                  <a:cubicBezTo>
                    <a:pt x="41" y="397"/>
                    <a:pt x="14" y="370"/>
                    <a:pt x="14" y="337"/>
                  </a:cubicBezTo>
                  <a:cubicBezTo>
                    <a:pt x="14" y="304"/>
                    <a:pt x="41" y="278"/>
                    <a:pt x="74" y="278"/>
                  </a:cubicBezTo>
                  <a:cubicBezTo>
                    <a:pt x="107" y="278"/>
                    <a:pt x="134" y="304"/>
                    <a:pt x="134" y="337"/>
                  </a:cubicBezTo>
                  <a:close/>
                  <a:moveTo>
                    <a:pt x="83" y="107"/>
                  </a:moveTo>
                  <a:cubicBezTo>
                    <a:pt x="83" y="56"/>
                    <a:pt x="125" y="14"/>
                    <a:pt x="176" y="14"/>
                  </a:cubicBezTo>
                  <a:cubicBezTo>
                    <a:pt x="227" y="14"/>
                    <a:pt x="268" y="56"/>
                    <a:pt x="268" y="107"/>
                  </a:cubicBezTo>
                  <a:cubicBezTo>
                    <a:pt x="268" y="158"/>
                    <a:pt x="227" y="200"/>
                    <a:pt x="176" y="200"/>
                  </a:cubicBezTo>
                  <a:cubicBezTo>
                    <a:pt x="125" y="200"/>
                    <a:pt x="83" y="158"/>
                    <a:pt x="83" y="107"/>
                  </a:cubicBezTo>
                  <a:close/>
                  <a:moveTo>
                    <a:pt x="337" y="332"/>
                  </a:moveTo>
                  <a:cubicBezTo>
                    <a:pt x="304" y="332"/>
                    <a:pt x="277" y="306"/>
                    <a:pt x="277" y="273"/>
                  </a:cubicBezTo>
                  <a:cubicBezTo>
                    <a:pt x="277" y="240"/>
                    <a:pt x="304" y="213"/>
                    <a:pt x="337" y="213"/>
                  </a:cubicBezTo>
                  <a:cubicBezTo>
                    <a:pt x="370" y="213"/>
                    <a:pt x="397" y="240"/>
                    <a:pt x="397" y="273"/>
                  </a:cubicBezTo>
                  <a:cubicBezTo>
                    <a:pt x="397" y="306"/>
                    <a:pt x="370" y="332"/>
                    <a:pt x="337" y="3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9" name="Oval 18"/>
          <p:cNvSpPr/>
          <p:nvPr/>
        </p:nvSpPr>
        <p:spPr bwMode="auto">
          <a:xfrm>
            <a:off x="6286946" y="1502704"/>
            <a:ext cx="2057936" cy="2057400"/>
          </a:xfrm>
          <a:prstGeom prst="ellipse">
            <a:avLst/>
          </a:prstGeom>
          <a:solidFill>
            <a:schemeClr val="tx1">
              <a:alpha val="8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205767" numCol="1" spcCol="0" rtlCol="0" fromWordArt="0" anchor="b" anchorCtr="0" forceAA="0" compatLnSpc="1">
            <a:prstTxWarp prst="textNoShape">
              <a:avLst/>
            </a:prstTxWarp>
            <a:noAutofit/>
          </a:bodyPr>
          <a:lstStyle/>
          <a:p>
            <a:pPr algn="ctr" defTabSz="914058">
              <a:lnSpc>
                <a:spcPct val="90000"/>
              </a:lnSpc>
              <a:buClr>
                <a:srgbClr val="FFFFFF">
                  <a:lumMod val="50000"/>
                  <a:lumOff val="50000"/>
                </a:srgbClr>
              </a:buClr>
            </a:pPr>
            <a:r>
              <a:rPr lang="en-US" sz="1800" dirty="0">
                <a:solidFill>
                  <a:schemeClr val="accent1"/>
                </a:solidFill>
              </a:rPr>
              <a:t>Data </a:t>
            </a:r>
            <a:r>
              <a:rPr lang="en-US" sz="1800" dirty="0">
                <a:solidFill>
                  <a:schemeClr val="accent1"/>
                </a:solidFill>
              </a:rPr>
              <a:t/>
            </a:r>
            <a:br>
              <a:rPr lang="en-US" sz="1800" dirty="0">
                <a:solidFill>
                  <a:schemeClr val="accent1"/>
                </a:solidFill>
              </a:rPr>
            </a:br>
            <a:r>
              <a:rPr lang="en-US" sz="1800" dirty="0">
                <a:solidFill>
                  <a:schemeClr val="accent1"/>
                </a:solidFill>
              </a:rPr>
              <a:t>Protection</a:t>
            </a:r>
            <a:endParaRPr lang="en-US" sz="1800" dirty="0">
              <a:solidFill>
                <a:schemeClr val="accent1"/>
              </a:solidFill>
            </a:endParaRPr>
          </a:p>
        </p:txBody>
      </p:sp>
      <p:sp>
        <p:nvSpPr>
          <p:cNvPr id="22" name="Freeform 92"/>
          <p:cNvSpPr>
            <a:spLocks noEditPoints="1"/>
          </p:cNvSpPr>
          <p:nvPr/>
        </p:nvSpPr>
        <p:spPr bwMode="black">
          <a:xfrm>
            <a:off x="7143012" y="2038481"/>
            <a:ext cx="345805" cy="471035"/>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noFill/>
          <a:ln w="19050">
            <a:solidFill>
              <a:schemeClr val="accent1"/>
            </a:solidFill>
          </a:ln>
          <a:extLst/>
        </p:spPr>
        <p:txBody>
          <a:bodyPr vert="horz" wrap="square" lIns="68589" tIns="34295" rIns="68589" bIns="34295" numCol="1" anchor="t" anchorCtr="0" compatLnSpc="1">
            <a:prstTxWarp prst="textNoShape">
              <a:avLst/>
            </a:prstTxWarp>
          </a:bodyPr>
          <a:lstStyle/>
          <a:p>
            <a:endParaRPr lang="en-US"/>
          </a:p>
        </p:txBody>
      </p:sp>
      <p:sp>
        <p:nvSpPr>
          <p:cNvPr id="23" name="Freeform 144"/>
          <p:cNvSpPr>
            <a:spLocks noEditPoints="1"/>
          </p:cNvSpPr>
          <p:nvPr/>
        </p:nvSpPr>
        <p:spPr bwMode="black">
          <a:xfrm>
            <a:off x="1656591" y="1847339"/>
            <a:ext cx="342989" cy="605370"/>
          </a:xfrm>
          <a:custGeom>
            <a:avLst/>
            <a:gdLst>
              <a:gd name="T0" fmla="*/ 35 w 46"/>
              <a:gd name="T1" fmla="*/ 7 h 84"/>
              <a:gd name="T2" fmla="*/ 29 w 46"/>
              <a:gd name="T3" fmla="*/ 14 h 84"/>
              <a:gd name="T4" fmla="*/ 22 w 46"/>
              <a:gd name="T5" fmla="*/ 7 h 84"/>
              <a:gd name="T6" fmla="*/ 29 w 46"/>
              <a:gd name="T7" fmla="*/ 0 h 84"/>
              <a:gd name="T8" fmla="*/ 35 w 46"/>
              <a:gd name="T9" fmla="*/ 7 h 84"/>
              <a:gd name="T10" fmla="*/ 20 w 46"/>
              <a:gd name="T11" fmla="*/ 12 h 84"/>
              <a:gd name="T12" fmla="*/ 2 w 46"/>
              <a:gd name="T13" fmla="*/ 22 h 84"/>
              <a:gd name="T14" fmla="*/ 0 w 46"/>
              <a:gd name="T15" fmla="*/ 41 h 84"/>
              <a:gd name="T16" fmla="*/ 6 w 46"/>
              <a:gd name="T17" fmla="*/ 41 h 84"/>
              <a:gd name="T18" fmla="*/ 7 w 46"/>
              <a:gd name="T19" fmla="*/ 26 h 84"/>
              <a:gd name="T20" fmla="*/ 15 w 46"/>
              <a:gd name="T21" fmla="*/ 22 h 84"/>
              <a:gd name="T22" fmla="*/ 10 w 46"/>
              <a:gd name="T23" fmla="*/ 37 h 84"/>
              <a:gd name="T24" fmla="*/ 12 w 46"/>
              <a:gd name="T25" fmla="*/ 45 h 84"/>
              <a:gd name="T26" fmla="*/ 0 w 46"/>
              <a:gd name="T27" fmla="*/ 82 h 84"/>
              <a:gd name="T28" fmla="*/ 8 w 46"/>
              <a:gd name="T29" fmla="*/ 84 h 84"/>
              <a:gd name="T30" fmla="*/ 18 w 46"/>
              <a:gd name="T31" fmla="*/ 57 h 84"/>
              <a:gd name="T32" fmla="*/ 21 w 46"/>
              <a:gd name="T33" fmla="*/ 62 h 84"/>
              <a:gd name="T34" fmla="*/ 27 w 46"/>
              <a:gd name="T35" fmla="*/ 84 h 84"/>
              <a:gd name="T36" fmla="*/ 36 w 46"/>
              <a:gd name="T37" fmla="*/ 81 h 84"/>
              <a:gd name="T38" fmla="*/ 29 w 46"/>
              <a:gd name="T39" fmla="*/ 56 h 84"/>
              <a:gd name="T40" fmla="*/ 22 w 46"/>
              <a:gd name="T41" fmla="*/ 45 h 84"/>
              <a:gd name="T42" fmla="*/ 27 w 46"/>
              <a:gd name="T43" fmla="*/ 29 h 84"/>
              <a:gd name="T44" fmla="*/ 29 w 46"/>
              <a:gd name="T45" fmla="*/ 35 h 84"/>
              <a:gd name="T46" fmla="*/ 44 w 46"/>
              <a:gd name="T47" fmla="*/ 41 h 84"/>
              <a:gd name="T48" fmla="*/ 46 w 46"/>
              <a:gd name="T49" fmla="*/ 35 h 84"/>
              <a:gd name="T50" fmla="*/ 35 w 46"/>
              <a:gd name="T51" fmla="*/ 30 h 84"/>
              <a:gd name="T52" fmla="*/ 31 w 46"/>
              <a:gd name="T53" fmla="*/ 17 h 84"/>
              <a:gd name="T54" fmla="*/ 20 w 46"/>
              <a:gd name="T55"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84">
                <a:moveTo>
                  <a:pt x="35" y="7"/>
                </a:moveTo>
                <a:cubicBezTo>
                  <a:pt x="35" y="11"/>
                  <a:pt x="33" y="14"/>
                  <a:pt x="29" y="14"/>
                </a:cubicBezTo>
                <a:cubicBezTo>
                  <a:pt x="25" y="14"/>
                  <a:pt x="22" y="11"/>
                  <a:pt x="22" y="7"/>
                </a:cubicBezTo>
                <a:cubicBezTo>
                  <a:pt x="22" y="3"/>
                  <a:pt x="25" y="0"/>
                  <a:pt x="29" y="0"/>
                </a:cubicBezTo>
                <a:cubicBezTo>
                  <a:pt x="33" y="0"/>
                  <a:pt x="35" y="3"/>
                  <a:pt x="35" y="7"/>
                </a:cubicBezTo>
                <a:moveTo>
                  <a:pt x="20" y="12"/>
                </a:moveTo>
                <a:cubicBezTo>
                  <a:pt x="2" y="22"/>
                  <a:pt x="2" y="22"/>
                  <a:pt x="2" y="22"/>
                </a:cubicBezTo>
                <a:cubicBezTo>
                  <a:pt x="0" y="41"/>
                  <a:pt x="0" y="41"/>
                  <a:pt x="0" y="41"/>
                </a:cubicBezTo>
                <a:cubicBezTo>
                  <a:pt x="6" y="41"/>
                  <a:pt x="6" y="41"/>
                  <a:pt x="6" y="41"/>
                </a:cubicBezTo>
                <a:cubicBezTo>
                  <a:pt x="7" y="26"/>
                  <a:pt x="7" y="26"/>
                  <a:pt x="7" y="26"/>
                </a:cubicBezTo>
                <a:cubicBezTo>
                  <a:pt x="15" y="22"/>
                  <a:pt x="15" y="22"/>
                  <a:pt x="15" y="22"/>
                </a:cubicBezTo>
                <a:cubicBezTo>
                  <a:pt x="15" y="22"/>
                  <a:pt x="11" y="34"/>
                  <a:pt x="10" y="37"/>
                </a:cubicBezTo>
                <a:cubicBezTo>
                  <a:pt x="9" y="39"/>
                  <a:pt x="11" y="43"/>
                  <a:pt x="12" y="45"/>
                </a:cubicBezTo>
                <a:cubicBezTo>
                  <a:pt x="0" y="82"/>
                  <a:pt x="0" y="82"/>
                  <a:pt x="0" y="82"/>
                </a:cubicBezTo>
                <a:cubicBezTo>
                  <a:pt x="8" y="84"/>
                  <a:pt x="8" y="84"/>
                  <a:pt x="8" y="84"/>
                </a:cubicBezTo>
                <a:cubicBezTo>
                  <a:pt x="18" y="57"/>
                  <a:pt x="18" y="57"/>
                  <a:pt x="18" y="57"/>
                </a:cubicBezTo>
                <a:cubicBezTo>
                  <a:pt x="21" y="62"/>
                  <a:pt x="21" y="62"/>
                  <a:pt x="21" y="62"/>
                </a:cubicBezTo>
                <a:cubicBezTo>
                  <a:pt x="27" y="84"/>
                  <a:pt x="27" y="84"/>
                  <a:pt x="27" y="84"/>
                </a:cubicBezTo>
                <a:cubicBezTo>
                  <a:pt x="36" y="81"/>
                  <a:pt x="36" y="81"/>
                  <a:pt x="36" y="81"/>
                </a:cubicBezTo>
                <a:cubicBezTo>
                  <a:pt x="29" y="56"/>
                  <a:pt x="29" y="56"/>
                  <a:pt x="29" y="56"/>
                </a:cubicBezTo>
                <a:cubicBezTo>
                  <a:pt x="22" y="45"/>
                  <a:pt x="22" y="45"/>
                  <a:pt x="22" y="45"/>
                </a:cubicBezTo>
                <a:cubicBezTo>
                  <a:pt x="27" y="29"/>
                  <a:pt x="27" y="29"/>
                  <a:pt x="27" y="29"/>
                </a:cubicBezTo>
                <a:cubicBezTo>
                  <a:pt x="29" y="35"/>
                  <a:pt x="29" y="35"/>
                  <a:pt x="29" y="35"/>
                </a:cubicBezTo>
                <a:cubicBezTo>
                  <a:pt x="44" y="41"/>
                  <a:pt x="44" y="41"/>
                  <a:pt x="44" y="41"/>
                </a:cubicBezTo>
                <a:cubicBezTo>
                  <a:pt x="46" y="35"/>
                  <a:pt x="46" y="35"/>
                  <a:pt x="46" y="35"/>
                </a:cubicBezTo>
                <a:cubicBezTo>
                  <a:pt x="35" y="30"/>
                  <a:pt x="35" y="30"/>
                  <a:pt x="35" y="30"/>
                </a:cubicBezTo>
                <a:cubicBezTo>
                  <a:pt x="31" y="17"/>
                  <a:pt x="31" y="17"/>
                  <a:pt x="31" y="17"/>
                </a:cubicBezTo>
                <a:lnTo>
                  <a:pt x="20" y="12"/>
                </a:lnTo>
                <a:close/>
              </a:path>
            </a:pathLst>
          </a:custGeom>
          <a:noFill/>
          <a:ln w="19050">
            <a:solidFill>
              <a:schemeClr val="tx1"/>
            </a:solidFill>
          </a:ln>
          <a:extLst/>
        </p:spPr>
        <p:txBody>
          <a:bodyPr vert="horz" wrap="square" lIns="68589" tIns="34295" rIns="68589" bIns="34295" numCol="1" anchor="t" anchorCtr="0" compatLnSpc="1">
            <a:prstTxWarp prst="textNoShape">
              <a:avLst/>
            </a:prstTxWarp>
          </a:bodyPr>
          <a:lstStyle/>
          <a:p>
            <a:endParaRPr lang="en-US"/>
          </a:p>
        </p:txBody>
      </p:sp>
      <p:sp>
        <p:nvSpPr>
          <p:cNvPr id="10"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1"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
              </a:rPr>
              <a:t>www.rapidbbs.cn</a:t>
            </a:r>
            <a:endParaRPr lang="zh-CN" altLang="en-US" sz="1200" b="0">
              <a:latin typeface="Arial" charset="0"/>
              <a:ea typeface="ＭＳ Ｐゴシック" pitchFamily="34" charset="-128"/>
            </a:endParaRPr>
          </a:p>
        </p:txBody>
      </p:sp>
      <p:pic>
        <p:nvPicPr>
          <p:cNvPr id="12" name="Picture 2">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04268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3"/>
                                        </p:tgtEl>
                                        <p:attrNameLst>
                                          <p:attrName>style.visibility</p:attrName>
                                        </p:attrNameLst>
                                      </p:cBhvr>
                                      <p:to>
                                        <p:strVal val="visible"/>
                                      </p:to>
                                    </p:set>
                                    <p:animEffect transition="in" filter="fade">
                                      <p:cBhvr>
                                        <p:cTn id="10" dur="500"/>
                                        <p:tgtEl>
                                          <p:spTgt spid="2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9"/>
                                        </p:tgtEl>
                                        <p:attrNameLst>
                                          <p:attrName>style.visibility</p:attrName>
                                        </p:attrNameLst>
                                      </p:cBhvr>
                                      <p:to>
                                        <p:strVal val="visible"/>
                                      </p:to>
                                    </p:set>
                                    <p:animEffect transition="in" filter="fade">
                                      <p:cBhvr>
                                        <p:cTn id="20" dur="500"/>
                                        <p:tgtEl>
                                          <p:spTgt spid="19"/>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22"/>
                                        </p:tgtEl>
                                        <p:attrNameLst>
                                          <p:attrName>style.visibility</p:attrName>
                                        </p:attrNameLst>
                                      </p:cBhvr>
                                      <p:to>
                                        <p:strVal val="visible"/>
                                      </p:to>
                                    </p:set>
                                    <p:animEffect transition="in" filter="fade">
                                      <p:cBhvr>
                                        <p:cTn id="23"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9" grpId="0" animBg="1"/>
      <p:bldP spid="22" grpId="0" animBg="1"/>
      <p:bldP spid="23" grpId="0" animBg="1"/>
    </p:bldLst>
  </p:timing>
</p:sld>
</file>

<file path=ppt/slides/slide4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457049"/>
          </a:xfrm>
        </p:spPr>
        <p:txBody>
          <a:bodyPr/>
          <a:lstStyle/>
          <a:p>
            <a:r>
              <a:rPr lang="en-US" dirty="0"/>
              <a:t>Embracing </a:t>
            </a:r>
            <a:r>
              <a:rPr lang="en-US" dirty="0" err="1"/>
              <a:t>Consumerization</a:t>
            </a:r>
            <a:r>
              <a:rPr lang="en-US" dirty="0"/>
              <a:t> of </a:t>
            </a:r>
            <a:r>
              <a:rPr lang="en-US" dirty="0" smtClean="0"/>
              <a:t>IT</a:t>
            </a:r>
            <a:endParaRPr lang="en-US" dirty="0"/>
          </a:p>
        </p:txBody>
      </p:sp>
      <p:pic>
        <p:nvPicPr>
          <p:cNvPr id="4" name="Picture 4"/>
          <p:cNvPicPr>
            <a:picLocks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398963" y="881160"/>
            <a:ext cx="1989338" cy="198882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5" name="Picture 5" descr="\\SFP\Resources\Microsoft Presentation Resources\DVD_Art_08-10-2010\Artwork_Imagery\Brand Photos\Windows Consumer - no Exp\Transitioners - no exp\Win08_Mari_202.jpg"/>
          <p:cNvPicPr>
            <a:picLocks noChangeArrowheads="1"/>
          </p:cNvPicPr>
          <p:nvPr/>
        </p:nvPicPr>
        <p:blipFill rotWithShape="1">
          <a:blip r:embed="rId4" cstate="screen">
            <a:extLst>
              <a:ext uri="{28A0092B-C50C-407E-A947-70E740481C1C}">
                <a14:useLocalDpi xmlns:a14="http://schemas.microsoft.com/office/drawing/2010/main"/>
              </a:ext>
            </a:extLst>
          </a:blip>
          <a:srcRect l="8322" t="603" r="22740" b="149"/>
          <a:stretch/>
        </p:blipFill>
        <p:spPr bwMode="auto">
          <a:xfrm>
            <a:off x="398963" y="2973710"/>
            <a:ext cx="1989338" cy="198882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7" descr="\\sfp\Resources\Microsoft Presentation Resources\DVD_Art_08-10-2010\Artwork_Imagery\Brand Photos\FY10 Business Identity\Three Screens Cloud - no exp\girl little young kid father mother family dining kitchen room laptop.jpg"/>
          <p:cNvPicPr>
            <a:picLocks noChangeArrowheads="1"/>
          </p:cNvPicPr>
          <p:nvPr/>
        </p:nvPicPr>
        <p:blipFill rotWithShape="1">
          <a:blip r:embed="rId5" cstate="screen">
            <a:extLst>
              <a:ext uri="{28A0092B-C50C-407E-A947-70E740481C1C}">
                <a14:useLocalDpi xmlns:a14="http://schemas.microsoft.com/office/drawing/2010/main"/>
              </a:ext>
            </a:extLst>
          </a:blip>
          <a:srcRect t="-1"/>
          <a:stretch/>
        </p:blipFill>
        <p:spPr bwMode="auto">
          <a:xfrm>
            <a:off x="2525484" y="2973710"/>
            <a:ext cx="1989338" cy="198882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bwMode="auto">
          <a:xfrm>
            <a:off x="4638311" y="881160"/>
            <a:ext cx="4115062" cy="939546"/>
          </a:xfrm>
          <a:prstGeom prst="rect">
            <a:avLst/>
          </a:prstGeom>
          <a:solidFill>
            <a:srgbClr val="ED532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205767" tIns="34293" rIns="205767" bIns="34295" numCol="1" spcCol="0" rtlCol="0" fromWordArt="0" anchor="ctr" anchorCtr="0" forceAA="0" compatLnSpc="1">
            <a:prstTxWarp prst="textNoShape">
              <a:avLst/>
            </a:prstTxWarp>
            <a:noAutofit/>
          </a:bodyPr>
          <a:lstStyle/>
          <a:p>
            <a:pPr defTabSz="914058">
              <a:buClr>
                <a:srgbClr val="FFFFFF">
                  <a:lumMod val="50000"/>
                  <a:lumOff val="50000"/>
                </a:srgbClr>
              </a:buClr>
            </a:pPr>
            <a:r>
              <a:rPr lang="en-US" sz="1500" dirty="0">
                <a:gradFill flip="none" rotWithShape="1">
                  <a:gsLst>
                    <a:gs pos="0">
                      <a:srgbClr val="FFFFFF"/>
                    </a:gs>
                    <a:gs pos="100000">
                      <a:srgbClr val="FFFFFF"/>
                    </a:gs>
                  </a:gsLst>
                  <a:path path="circle">
                    <a:fillToRect r="100000" b="100000"/>
                  </a:path>
                  <a:tileRect l="-100000" t="-100000"/>
                </a:gradFill>
              </a:rPr>
              <a:t>Embrace the new world of continuous services and connected devices</a:t>
            </a:r>
            <a:endParaRPr lang="en-US" sz="1500" dirty="0">
              <a:gradFill flip="none" rotWithShape="1">
                <a:gsLst>
                  <a:gs pos="0">
                    <a:srgbClr val="FFFFFF"/>
                  </a:gs>
                  <a:gs pos="100000">
                    <a:srgbClr val="FFFFFF"/>
                  </a:gs>
                </a:gsLst>
                <a:path path="circle">
                  <a:fillToRect r="100000" b="100000"/>
                </a:path>
                <a:tileRect l="-100000" t="-100000"/>
              </a:gradFill>
            </a:endParaRPr>
          </a:p>
        </p:txBody>
      </p:sp>
      <p:sp>
        <p:nvSpPr>
          <p:cNvPr id="8" name="Rectangle 7"/>
          <p:cNvSpPr/>
          <p:nvPr/>
        </p:nvSpPr>
        <p:spPr bwMode="auto">
          <a:xfrm>
            <a:off x="4638311" y="1928435"/>
            <a:ext cx="4115062" cy="93954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205767" tIns="34293" rIns="205767" bIns="34295" numCol="1" spcCol="0" rtlCol="0" fromWordArt="0" anchor="ctr" anchorCtr="0" forceAA="0" compatLnSpc="1">
            <a:prstTxWarp prst="textNoShape">
              <a:avLst/>
            </a:prstTxWarp>
            <a:noAutofit/>
          </a:bodyPr>
          <a:lstStyle/>
          <a:p>
            <a:pPr defTabSz="914058">
              <a:buClr>
                <a:srgbClr val="FFFFFF">
                  <a:lumMod val="50000"/>
                  <a:lumOff val="50000"/>
                </a:srgbClr>
              </a:buClr>
            </a:pPr>
            <a:r>
              <a:rPr lang="en-US" sz="1500" dirty="0">
                <a:gradFill>
                  <a:gsLst>
                    <a:gs pos="100000">
                      <a:schemeClr val="accent1"/>
                    </a:gs>
                    <a:gs pos="0">
                      <a:schemeClr val="accent1"/>
                    </a:gs>
                  </a:gsLst>
                  <a:lin ang="5400000" scaled="1"/>
                </a:gradFill>
              </a:rPr>
              <a:t>Explore your new opportunities</a:t>
            </a:r>
          </a:p>
        </p:txBody>
      </p:sp>
      <p:sp>
        <p:nvSpPr>
          <p:cNvPr id="9" name="Rectangle 8"/>
          <p:cNvSpPr/>
          <p:nvPr/>
        </p:nvSpPr>
        <p:spPr bwMode="auto">
          <a:xfrm>
            <a:off x="4638311" y="2975709"/>
            <a:ext cx="4115062" cy="939546"/>
          </a:xfrm>
          <a:prstGeom prst="rect">
            <a:avLst/>
          </a:prstGeom>
          <a:solidFill>
            <a:srgbClr val="ED532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205767" tIns="34293" rIns="205767" bIns="34295" numCol="1" spcCol="0" rtlCol="0" fromWordArt="0" anchor="ctr" anchorCtr="0" forceAA="0" compatLnSpc="1">
            <a:prstTxWarp prst="textNoShape">
              <a:avLst/>
            </a:prstTxWarp>
            <a:noAutofit/>
          </a:bodyPr>
          <a:lstStyle/>
          <a:p>
            <a:pPr defTabSz="914058">
              <a:buClr>
                <a:srgbClr val="FFFFFF">
                  <a:lumMod val="50000"/>
                  <a:lumOff val="50000"/>
                </a:srgbClr>
              </a:buClr>
            </a:pPr>
            <a:r>
              <a:rPr lang="en-US" sz="1500" dirty="0">
                <a:gradFill flip="none" rotWithShape="1">
                  <a:gsLst>
                    <a:gs pos="0">
                      <a:srgbClr val="FFFFFF"/>
                    </a:gs>
                    <a:gs pos="100000">
                      <a:srgbClr val="FFFFFF"/>
                    </a:gs>
                  </a:gsLst>
                  <a:path path="circle">
                    <a:fillToRect r="100000" b="100000"/>
                  </a:path>
                  <a:tileRect l="-100000" t="-100000"/>
                </a:gradFill>
              </a:rPr>
              <a:t>Evaluate and deploy </a:t>
            </a:r>
            <a:r>
              <a:rPr lang="en-US" sz="1500" dirty="0">
                <a:gradFill flip="none" rotWithShape="1">
                  <a:gsLst>
                    <a:gs pos="0">
                      <a:srgbClr val="FFFFFF"/>
                    </a:gs>
                    <a:gs pos="100000">
                      <a:srgbClr val="FFFFFF"/>
                    </a:gs>
                  </a:gsLst>
                  <a:path path="circle">
                    <a:fillToRect r="100000" b="100000"/>
                  </a:path>
                  <a:tileRect l="-100000" t="-100000"/>
                </a:gradFill>
              </a:rPr>
              <a:t>System </a:t>
            </a:r>
            <a:r>
              <a:rPr lang="en-US" sz="1500" dirty="0">
                <a:gradFill flip="none" rotWithShape="1">
                  <a:gsLst>
                    <a:gs pos="0">
                      <a:srgbClr val="FFFFFF"/>
                    </a:gs>
                    <a:gs pos="100000">
                      <a:srgbClr val="FFFFFF"/>
                    </a:gs>
                  </a:gsLst>
                  <a:path path="circle">
                    <a:fillToRect r="100000" b="100000"/>
                  </a:path>
                  <a:tileRect l="-100000" t="-100000"/>
                </a:gradFill>
              </a:rPr>
              <a:t>Center 2012</a:t>
            </a:r>
          </a:p>
        </p:txBody>
      </p:sp>
      <p:sp>
        <p:nvSpPr>
          <p:cNvPr id="10" name="Rectangle 9"/>
          <p:cNvSpPr/>
          <p:nvPr/>
        </p:nvSpPr>
        <p:spPr bwMode="auto">
          <a:xfrm>
            <a:off x="4638311" y="4022984"/>
            <a:ext cx="4115062" cy="93954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205767" tIns="34293" rIns="205767" bIns="34295" numCol="1" spcCol="0" rtlCol="0" fromWordArt="0" anchor="ctr" anchorCtr="0" forceAA="0" compatLnSpc="1">
            <a:prstTxWarp prst="textNoShape">
              <a:avLst/>
            </a:prstTxWarp>
            <a:noAutofit/>
          </a:bodyPr>
          <a:lstStyle/>
          <a:p>
            <a:pPr defTabSz="685666" fontAlgn="base">
              <a:spcBef>
                <a:spcPct val="0"/>
              </a:spcBef>
              <a:spcAft>
                <a:spcPct val="0"/>
              </a:spcAft>
              <a:buClr>
                <a:srgbClr val="FFFFFF">
                  <a:lumMod val="50000"/>
                  <a:lumOff val="50000"/>
                </a:srgbClr>
              </a:buClr>
              <a:buSzPct val="90000"/>
            </a:pPr>
            <a:r>
              <a:rPr lang="en-US" sz="1500" spc="-30" dirty="0">
                <a:solidFill>
                  <a:schemeClr val="accent1">
                    <a:alpha val="98824"/>
                  </a:schemeClr>
                </a:solidFill>
                <a:ea typeface="Segoe UI" pitchFamily="34" charset="0"/>
                <a:cs typeface="Segoe UI" pitchFamily="34" charset="0"/>
              </a:rPr>
              <a:t>Broaden your impact and differentiate your organization</a:t>
            </a:r>
          </a:p>
        </p:txBody>
      </p:sp>
      <p:pic>
        <p:nvPicPr>
          <p:cNvPr id="11" name="Picture 5"/>
          <p:cNvPicPr>
            <a:picLocks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2525484" y="881160"/>
            <a:ext cx="1989338" cy="1988820"/>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3"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7"/>
              </a:rPr>
              <a:t>www.rapidbbs.cn</a:t>
            </a:r>
            <a:endParaRPr lang="zh-CN" altLang="en-US" sz="1200" b="0">
              <a:latin typeface="Arial" charset="0"/>
              <a:ea typeface="ＭＳ Ｐゴシック" pitchFamily="34" charset="-128"/>
            </a:endParaRPr>
          </a:p>
        </p:txBody>
      </p:sp>
      <p:pic>
        <p:nvPicPr>
          <p:cNvPr id="14" name="Picture 2">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974639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000" fill="hold"/>
                                        <p:tgtEl>
                                          <p:spTgt spid="4"/>
                                        </p:tgtEl>
                                        <p:attrNameLst>
                                          <p:attrName>ppt_x</p:attrName>
                                        </p:attrNameLst>
                                      </p:cBhvr>
                                      <p:tavLst>
                                        <p:tav tm="0">
                                          <p:val>
                                            <p:strVal val="1+#ppt_w/2"/>
                                          </p:val>
                                        </p:tav>
                                        <p:tav tm="100000">
                                          <p:val>
                                            <p:strVal val="#ppt_x"/>
                                          </p:val>
                                        </p:tav>
                                      </p:tavLst>
                                    </p:anim>
                                    <p:anim calcmode="lin" valueType="num">
                                      <p:cBhvr additive="base">
                                        <p:cTn id="8" dur="1000" fill="hold"/>
                                        <p:tgtEl>
                                          <p:spTgt spid="4"/>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5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1000" fill="hold"/>
                                        <p:tgtEl>
                                          <p:spTgt spid="11"/>
                                        </p:tgtEl>
                                        <p:attrNameLst>
                                          <p:attrName>ppt_x</p:attrName>
                                        </p:attrNameLst>
                                      </p:cBhvr>
                                      <p:tavLst>
                                        <p:tav tm="0">
                                          <p:val>
                                            <p:strVal val="1+#ppt_w/2"/>
                                          </p:val>
                                        </p:tav>
                                        <p:tav tm="100000">
                                          <p:val>
                                            <p:strVal val="#ppt_x"/>
                                          </p:val>
                                        </p:tav>
                                      </p:tavLst>
                                    </p:anim>
                                    <p:anim calcmode="lin" valueType="num">
                                      <p:cBhvr additive="base">
                                        <p:cTn id="12" dur="1000" fill="hold"/>
                                        <p:tgtEl>
                                          <p:spTgt spid="11"/>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50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1000" fill="hold"/>
                                        <p:tgtEl>
                                          <p:spTgt spid="5"/>
                                        </p:tgtEl>
                                        <p:attrNameLst>
                                          <p:attrName>ppt_x</p:attrName>
                                        </p:attrNameLst>
                                      </p:cBhvr>
                                      <p:tavLst>
                                        <p:tav tm="0">
                                          <p:val>
                                            <p:strVal val="1+#ppt_w/2"/>
                                          </p:val>
                                        </p:tav>
                                        <p:tav tm="100000">
                                          <p:val>
                                            <p:strVal val="#ppt_x"/>
                                          </p:val>
                                        </p:tav>
                                      </p:tavLst>
                                    </p:anim>
                                    <p:anim calcmode="lin" valueType="num">
                                      <p:cBhvr additive="base">
                                        <p:cTn id="16" dur="1000" fill="hold"/>
                                        <p:tgtEl>
                                          <p:spTgt spid="5"/>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75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1000" fill="hold"/>
                                        <p:tgtEl>
                                          <p:spTgt spid="6"/>
                                        </p:tgtEl>
                                        <p:attrNameLst>
                                          <p:attrName>ppt_x</p:attrName>
                                        </p:attrNameLst>
                                      </p:cBhvr>
                                      <p:tavLst>
                                        <p:tav tm="0">
                                          <p:val>
                                            <p:strVal val="1+#ppt_w/2"/>
                                          </p:val>
                                        </p:tav>
                                        <p:tav tm="100000">
                                          <p:val>
                                            <p:strVal val="#ppt_x"/>
                                          </p:val>
                                        </p:tav>
                                      </p:tavLst>
                                    </p:anim>
                                    <p:anim calcmode="lin" valueType="num">
                                      <p:cBhvr additive="base">
                                        <p:cTn id="20" dur="1000" fill="hold"/>
                                        <p:tgtEl>
                                          <p:spTgt spid="6"/>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1000"/>
                                  </p:stCondLst>
                                  <p:childTnLst>
                                    <p:set>
                                      <p:cBhvr>
                                        <p:cTn id="22" dur="1" fill="hold">
                                          <p:stCondLst>
                                            <p:cond delay="0"/>
                                          </p:stCondLst>
                                        </p:cTn>
                                        <p:tgtEl>
                                          <p:spTgt spid="7"/>
                                        </p:tgtEl>
                                        <p:attrNameLst>
                                          <p:attrName>style.visibility</p:attrName>
                                        </p:attrNameLst>
                                      </p:cBhvr>
                                      <p:to>
                                        <p:strVal val="visible"/>
                                      </p:to>
                                    </p:set>
                                    <p:anim calcmode="lin" valueType="num">
                                      <p:cBhvr additive="base">
                                        <p:cTn id="23" dur="1000" fill="hold"/>
                                        <p:tgtEl>
                                          <p:spTgt spid="7"/>
                                        </p:tgtEl>
                                        <p:attrNameLst>
                                          <p:attrName>ppt_x</p:attrName>
                                        </p:attrNameLst>
                                      </p:cBhvr>
                                      <p:tavLst>
                                        <p:tav tm="0">
                                          <p:val>
                                            <p:strVal val="1+#ppt_w/2"/>
                                          </p:val>
                                        </p:tav>
                                        <p:tav tm="100000">
                                          <p:val>
                                            <p:strVal val="#ppt_x"/>
                                          </p:val>
                                        </p:tav>
                                      </p:tavLst>
                                    </p:anim>
                                    <p:anim calcmode="lin" valueType="num">
                                      <p:cBhvr additive="base">
                                        <p:cTn id="24" dur="1000" fill="hold"/>
                                        <p:tgtEl>
                                          <p:spTgt spid="7"/>
                                        </p:tgtEl>
                                        <p:attrNameLst>
                                          <p:attrName>ppt_y</p:attrName>
                                        </p:attrNameLst>
                                      </p:cBhvr>
                                      <p:tavLst>
                                        <p:tav tm="0">
                                          <p:val>
                                            <p:strVal val="#ppt_y"/>
                                          </p:val>
                                        </p:tav>
                                        <p:tav tm="100000">
                                          <p:val>
                                            <p:strVal val="#ppt_y"/>
                                          </p:val>
                                        </p:tav>
                                      </p:tavLst>
                                    </p:anim>
                                  </p:childTnLst>
                                </p:cTn>
                              </p:par>
                              <p:par>
                                <p:cTn id="25" presetID="2" presetClass="entr" presetSubtype="2" decel="100000" fill="hold" grpId="0" nodeType="withEffect">
                                  <p:stCondLst>
                                    <p:cond delay="1250"/>
                                  </p:stCondLst>
                                  <p:childTnLst>
                                    <p:set>
                                      <p:cBhvr>
                                        <p:cTn id="26" dur="1" fill="hold">
                                          <p:stCondLst>
                                            <p:cond delay="0"/>
                                          </p:stCondLst>
                                        </p:cTn>
                                        <p:tgtEl>
                                          <p:spTgt spid="8"/>
                                        </p:tgtEl>
                                        <p:attrNameLst>
                                          <p:attrName>style.visibility</p:attrName>
                                        </p:attrNameLst>
                                      </p:cBhvr>
                                      <p:to>
                                        <p:strVal val="visible"/>
                                      </p:to>
                                    </p:set>
                                    <p:anim calcmode="lin" valueType="num">
                                      <p:cBhvr additive="base">
                                        <p:cTn id="27" dur="1000" fill="hold"/>
                                        <p:tgtEl>
                                          <p:spTgt spid="8"/>
                                        </p:tgtEl>
                                        <p:attrNameLst>
                                          <p:attrName>ppt_x</p:attrName>
                                        </p:attrNameLst>
                                      </p:cBhvr>
                                      <p:tavLst>
                                        <p:tav tm="0">
                                          <p:val>
                                            <p:strVal val="1+#ppt_w/2"/>
                                          </p:val>
                                        </p:tav>
                                        <p:tav tm="100000">
                                          <p:val>
                                            <p:strVal val="#ppt_x"/>
                                          </p:val>
                                        </p:tav>
                                      </p:tavLst>
                                    </p:anim>
                                    <p:anim calcmode="lin" valueType="num">
                                      <p:cBhvr additive="base">
                                        <p:cTn id="28" dur="1000" fill="hold"/>
                                        <p:tgtEl>
                                          <p:spTgt spid="8"/>
                                        </p:tgtEl>
                                        <p:attrNameLst>
                                          <p:attrName>ppt_y</p:attrName>
                                        </p:attrNameLst>
                                      </p:cBhvr>
                                      <p:tavLst>
                                        <p:tav tm="0">
                                          <p:val>
                                            <p:strVal val="#ppt_y"/>
                                          </p:val>
                                        </p:tav>
                                        <p:tav tm="100000">
                                          <p:val>
                                            <p:strVal val="#ppt_y"/>
                                          </p:val>
                                        </p:tav>
                                      </p:tavLst>
                                    </p:anim>
                                  </p:childTnLst>
                                </p:cTn>
                              </p:par>
                              <p:par>
                                <p:cTn id="29" presetID="2" presetClass="entr" presetSubtype="2" decel="100000" fill="hold" grpId="0" nodeType="withEffect">
                                  <p:stCondLst>
                                    <p:cond delay="1500"/>
                                  </p:stCondLst>
                                  <p:childTnLst>
                                    <p:set>
                                      <p:cBhvr>
                                        <p:cTn id="30" dur="1" fill="hold">
                                          <p:stCondLst>
                                            <p:cond delay="0"/>
                                          </p:stCondLst>
                                        </p:cTn>
                                        <p:tgtEl>
                                          <p:spTgt spid="9"/>
                                        </p:tgtEl>
                                        <p:attrNameLst>
                                          <p:attrName>style.visibility</p:attrName>
                                        </p:attrNameLst>
                                      </p:cBhvr>
                                      <p:to>
                                        <p:strVal val="visible"/>
                                      </p:to>
                                    </p:set>
                                    <p:anim calcmode="lin" valueType="num">
                                      <p:cBhvr additive="base">
                                        <p:cTn id="31" dur="1000" fill="hold"/>
                                        <p:tgtEl>
                                          <p:spTgt spid="9"/>
                                        </p:tgtEl>
                                        <p:attrNameLst>
                                          <p:attrName>ppt_x</p:attrName>
                                        </p:attrNameLst>
                                      </p:cBhvr>
                                      <p:tavLst>
                                        <p:tav tm="0">
                                          <p:val>
                                            <p:strVal val="1+#ppt_w/2"/>
                                          </p:val>
                                        </p:tav>
                                        <p:tav tm="100000">
                                          <p:val>
                                            <p:strVal val="#ppt_x"/>
                                          </p:val>
                                        </p:tav>
                                      </p:tavLst>
                                    </p:anim>
                                    <p:anim calcmode="lin" valueType="num">
                                      <p:cBhvr additive="base">
                                        <p:cTn id="32" dur="1000" fill="hold"/>
                                        <p:tgtEl>
                                          <p:spTgt spid="9"/>
                                        </p:tgtEl>
                                        <p:attrNameLst>
                                          <p:attrName>ppt_y</p:attrName>
                                        </p:attrNameLst>
                                      </p:cBhvr>
                                      <p:tavLst>
                                        <p:tav tm="0">
                                          <p:val>
                                            <p:strVal val="#ppt_y"/>
                                          </p:val>
                                        </p:tav>
                                        <p:tav tm="100000">
                                          <p:val>
                                            <p:strVal val="#ppt_y"/>
                                          </p:val>
                                        </p:tav>
                                      </p:tavLst>
                                    </p:anim>
                                  </p:childTnLst>
                                </p:cTn>
                              </p:par>
                              <p:par>
                                <p:cTn id="33" presetID="2" presetClass="entr" presetSubtype="2" decel="100000" fill="hold" grpId="0" nodeType="withEffect">
                                  <p:stCondLst>
                                    <p:cond delay="1750"/>
                                  </p:stCondLst>
                                  <p:childTnLst>
                                    <p:set>
                                      <p:cBhvr>
                                        <p:cTn id="34" dur="1" fill="hold">
                                          <p:stCondLst>
                                            <p:cond delay="0"/>
                                          </p:stCondLst>
                                        </p:cTn>
                                        <p:tgtEl>
                                          <p:spTgt spid="10"/>
                                        </p:tgtEl>
                                        <p:attrNameLst>
                                          <p:attrName>style.visibility</p:attrName>
                                        </p:attrNameLst>
                                      </p:cBhvr>
                                      <p:to>
                                        <p:strVal val="visible"/>
                                      </p:to>
                                    </p:set>
                                    <p:anim calcmode="lin" valueType="num">
                                      <p:cBhvr additive="base">
                                        <p:cTn id="35" dur="1000" fill="hold"/>
                                        <p:tgtEl>
                                          <p:spTgt spid="10"/>
                                        </p:tgtEl>
                                        <p:attrNameLst>
                                          <p:attrName>ppt_x</p:attrName>
                                        </p:attrNameLst>
                                      </p:cBhvr>
                                      <p:tavLst>
                                        <p:tav tm="0">
                                          <p:val>
                                            <p:strVal val="1+#ppt_w/2"/>
                                          </p:val>
                                        </p:tav>
                                        <p:tav tm="100000">
                                          <p:val>
                                            <p:strVal val="#ppt_x"/>
                                          </p:val>
                                        </p:tav>
                                      </p:tavLst>
                                    </p:anim>
                                    <p:anim calcmode="lin" valueType="num">
                                      <p:cBhvr additive="base">
                                        <p:cTn id="36" dur="10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Lst>
  </p:timing>
</p:sld>
</file>

<file path=ppt/slides/slide4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5" name="Apps-Grid"/>
          <p:cNvGrpSpPr/>
          <p:nvPr/>
        </p:nvGrpSpPr>
        <p:grpSpPr>
          <a:xfrm>
            <a:off x="2446" y="-10713"/>
            <a:ext cx="9144000" cy="5143499"/>
            <a:chOff x="-9261" y="1"/>
            <a:chExt cx="12099764" cy="6857998"/>
          </a:xfrm>
        </p:grpSpPr>
        <p:pic>
          <p:nvPicPr>
            <p:cNvPr id="6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949" r="1033"/>
            <a:stretch/>
          </p:blipFill>
          <p:spPr bwMode="auto">
            <a:xfrm>
              <a:off x="-9261" y="1"/>
              <a:ext cx="12099764" cy="6857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7" name="Picture 2" descr="C:\Users\chrisw\Desktop\icongrid2.png"/>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4607718" y="3548063"/>
              <a:ext cx="189915" cy="1905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8" name="Apps-Whole"/>
          <p:cNvGrpSpPr>
            <a:grpSpLocks noChangeAspect="1"/>
          </p:cNvGrpSpPr>
          <p:nvPr/>
        </p:nvGrpSpPr>
        <p:grpSpPr>
          <a:xfrm>
            <a:off x="1151311" y="544783"/>
            <a:ext cx="7010900" cy="4032504"/>
            <a:chOff x="1450488" y="740044"/>
            <a:chExt cx="9279301" cy="5377913"/>
          </a:xfrm>
          <a:effectLst/>
        </p:grpSpPr>
        <p:grpSp>
          <p:nvGrpSpPr>
            <p:cNvPr id="69" name="Group 68"/>
            <p:cNvGrpSpPr/>
            <p:nvPr/>
          </p:nvGrpSpPr>
          <p:grpSpPr>
            <a:xfrm>
              <a:off x="8776127" y="740044"/>
              <a:ext cx="1953662" cy="5375831"/>
              <a:chOff x="8776123" y="740045"/>
              <a:chExt cx="1953662" cy="5375830"/>
            </a:xfrm>
          </p:grpSpPr>
          <p:pic>
            <p:nvPicPr>
              <p:cNvPr id="104" name="Picture 2"/>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8776123" y="740045"/>
                <a:ext cx="905257" cy="905256"/>
              </a:xfrm>
              <a:prstGeom prst="rect">
                <a:avLst/>
              </a:prstGeom>
              <a:noFill/>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5" name="Picture 2"/>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8776123" y="2975332"/>
                <a:ext cx="905257" cy="905256"/>
              </a:xfrm>
              <a:prstGeom prst="rect">
                <a:avLst/>
              </a:prstGeom>
              <a:noFill/>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6" name="Picture 2"/>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8776123" y="4092979"/>
                <a:ext cx="905257" cy="905256"/>
              </a:xfrm>
              <a:prstGeom prst="rect">
                <a:avLst/>
              </a:prstGeom>
              <a:noFill/>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7" name="Picture 2"/>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8776123" y="1857690"/>
                <a:ext cx="905257" cy="905256"/>
              </a:xfrm>
              <a:prstGeom prst="rect">
                <a:avLst/>
              </a:prstGeom>
              <a:noFill/>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8" name="Picture 3"/>
              <p:cNvPicPr>
                <a:picLocks noChangeAspect="1" noChangeArrowheads="1"/>
              </p:cNvPicPr>
              <p:nvPr/>
            </p:nvPicPr>
            <p:blipFill rotWithShape="1">
              <a:blip r:embed="rId9">
                <a:extLst>
                  <a:ext uri="{28A0092B-C50C-407E-A947-70E740481C1C}">
                    <a14:useLocalDpi xmlns:a14="http://schemas.microsoft.com/office/drawing/2010/main" val="0"/>
                  </a:ext>
                </a:extLst>
              </a:blip>
              <a:srcRect/>
              <a:stretch/>
            </p:blipFill>
            <p:spPr bwMode="auto">
              <a:xfrm>
                <a:off x="8776124" y="5210619"/>
                <a:ext cx="905257" cy="905256"/>
              </a:xfrm>
              <a:prstGeom prst="rect">
                <a:avLst/>
              </a:prstGeom>
              <a:noFill/>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9" name="Picture 3"/>
              <p:cNvPicPr>
                <a:picLocks noChangeAspect="1" noChangeArrowheads="1"/>
              </p:cNvPicPr>
              <p:nvPr/>
            </p:nvPicPr>
            <p:blipFill rotWithShape="1">
              <a:blip r:embed="rId10">
                <a:extLst>
                  <a:ext uri="{28A0092B-C50C-407E-A947-70E740481C1C}">
                    <a14:useLocalDpi xmlns:a14="http://schemas.microsoft.com/office/drawing/2010/main" val="0"/>
                  </a:ext>
                </a:extLst>
              </a:blip>
              <a:srcRect/>
              <a:stretch/>
            </p:blipFill>
            <p:spPr bwMode="auto">
              <a:xfrm>
                <a:off x="9824528" y="2982633"/>
                <a:ext cx="905257" cy="905256"/>
              </a:xfrm>
              <a:prstGeom prst="rect">
                <a:avLst/>
              </a:prstGeom>
              <a:noFill/>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70" name="Group 69"/>
            <p:cNvGrpSpPr/>
            <p:nvPr/>
          </p:nvGrpSpPr>
          <p:grpSpPr>
            <a:xfrm>
              <a:off x="1450488" y="740044"/>
              <a:ext cx="1971683" cy="5377913"/>
              <a:chOff x="1450487" y="740044"/>
              <a:chExt cx="1971681" cy="5377913"/>
            </a:xfrm>
          </p:grpSpPr>
          <p:pic>
            <p:nvPicPr>
              <p:cNvPr id="98" name="Picture 2"/>
              <p:cNvPicPr>
                <a:picLocks noChangeAspect="1" noChangeArrowheads="1"/>
              </p:cNvPicPr>
              <p:nvPr/>
            </p:nvPicPr>
            <p:blipFill rotWithShape="1">
              <a:blip r:embed="rId11">
                <a:extLst>
                  <a:ext uri="{28A0092B-C50C-407E-A947-70E740481C1C}">
                    <a14:useLocalDpi xmlns:a14="http://schemas.microsoft.com/office/drawing/2010/main" val="0"/>
                  </a:ext>
                </a:extLst>
              </a:blip>
              <a:srcRect/>
              <a:stretch/>
            </p:blipFill>
            <p:spPr bwMode="auto">
              <a:xfrm>
                <a:off x="2516909" y="2976370"/>
                <a:ext cx="905258" cy="905256"/>
              </a:xfrm>
              <a:prstGeom prst="rect">
                <a:avLst/>
              </a:prstGeom>
              <a:noFill/>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9" name="Picture 2"/>
              <p:cNvPicPr>
                <a:picLocks noChangeAspect="1" noChangeArrowheads="1"/>
              </p:cNvPicPr>
              <p:nvPr/>
            </p:nvPicPr>
            <p:blipFill rotWithShape="1">
              <a:blip r:embed="rId12">
                <a:extLst>
                  <a:ext uri="{28A0092B-C50C-407E-A947-70E740481C1C}">
                    <a14:useLocalDpi xmlns:a14="http://schemas.microsoft.com/office/drawing/2010/main" val="0"/>
                  </a:ext>
                </a:extLst>
              </a:blip>
              <a:srcRect/>
              <a:stretch/>
            </p:blipFill>
            <p:spPr bwMode="auto">
              <a:xfrm>
                <a:off x="2516909" y="4094538"/>
                <a:ext cx="905258" cy="905256"/>
              </a:xfrm>
              <a:prstGeom prst="rect">
                <a:avLst/>
              </a:prstGeom>
              <a:noFill/>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0" name="Picture 3"/>
              <p:cNvPicPr>
                <a:picLocks noChangeAspect="1" noChangeArrowheads="1"/>
              </p:cNvPicPr>
              <p:nvPr/>
            </p:nvPicPr>
            <p:blipFill rotWithShape="1">
              <a:blip r:embed="rId13">
                <a:extLst>
                  <a:ext uri="{28A0092B-C50C-407E-A947-70E740481C1C}">
                    <a14:useLocalDpi xmlns:a14="http://schemas.microsoft.com/office/drawing/2010/main" val="0"/>
                  </a:ext>
                </a:extLst>
              </a:blip>
              <a:srcRect/>
              <a:stretch/>
            </p:blipFill>
            <p:spPr bwMode="auto">
              <a:xfrm>
                <a:off x="2516909" y="5212701"/>
                <a:ext cx="905258" cy="905256"/>
              </a:xfrm>
              <a:prstGeom prst="rect">
                <a:avLst/>
              </a:prstGeom>
              <a:noFill/>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1" name="Picture 2"/>
              <p:cNvPicPr>
                <a:picLocks noChangeAspect="1" noChangeArrowheads="1"/>
              </p:cNvPicPr>
              <p:nvPr/>
            </p:nvPicPr>
            <p:blipFill rotWithShape="1">
              <a:blip r:embed="rId14">
                <a:extLst>
                  <a:ext uri="{28A0092B-C50C-407E-A947-70E740481C1C}">
                    <a14:useLocalDpi xmlns:a14="http://schemas.microsoft.com/office/drawing/2010/main" val="0"/>
                  </a:ext>
                </a:extLst>
              </a:blip>
              <a:srcRect/>
              <a:stretch/>
            </p:blipFill>
            <p:spPr bwMode="auto">
              <a:xfrm>
                <a:off x="1450487" y="2976370"/>
                <a:ext cx="905258" cy="905256"/>
              </a:xfrm>
              <a:prstGeom prst="rect">
                <a:avLst/>
              </a:prstGeom>
              <a:noFill/>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 name="Picture 4"/>
              <p:cNvPicPr>
                <a:picLocks noChangeAspect="1" noChangeArrowheads="1"/>
              </p:cNvPicPr>
              <p:nvPr/>
            </p:nvPicPr>
            <p:blipFill rotWithShape="1">
              <a:blip r:embed="rId15">
                <a:extLst>
                  <a:ext uri="{28A0092B-C50C-407E-A947-70E740481C1C}">
                    <a14:useLocalDpi xmlns:a14="http://schemas.microsoft.com/office/drawing/2010/main" val="0"/>
                  </a:ext>
                </a:extLst>
              </a:blip>
              <a:srcRect/>
              <a:stretch/>
            </p:blipFill>
            <p:spPr bwMode="auto">
              <a:xfrm>
                <a:off x="2516909" y="740044"/>
                <a:ext cx="905258" cy="905256"/>
              </a:xfrm>
              <a:prstGeom prst="rect">
                <a:avLst/>
              </a:prstGeom>
              <a:noFill/>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 name="Picture 5"/>
              <p:cNvPicPr>
                <a:picLocks noChangeAspect="1" noChangeArrowheads="1"/>
              </p:cNvPicPr>
              <p:nvPr/>
            </p:nvPicPr>
            <p:blipFill rotWithShape="1">
              <a:blip r:embed="rId16">
                <a:extLst>
                  <a:ext uri="{28A0092B-C50C-407E-A947-70E740481C1C}">
                    <a14:useLocalDpi xmlns:a14="http://schemas.microsoft.com/office/drawing/2010/main" val="0"/>
                  </a:ext>
                </a:extLst>
              </a:blip>
              <a:srcRect/>
              <a:stretch/>
            </p:blipFill>
            <p:spPr bwMode="auto">
              <a:xfrm>
                <a:off x="2516910" y="1858207"/>
                <a:ext cx="905258" cy="905256"/>
              </a:xfrm>
              <a:prstGeom prst="rect">
                <a:avLst/>
              </a:prstGeom>
              <a:noFill/>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71" name="Group 70"/>
            <p:cNvGrpSpPr/>
            <p:nvPr/>
          </p:nvGrpSpPr>
          <p:grpSpPr>
            <a:xfrm>
              <a:off x="3549797" y="740044"/>
              <a:ext cx="5089241" cy="5377913"/>
              <a:chOff x="13597249" y="836815"/>
              <a:chExt cx="5089240" cy="5377913"/>
            </a:xfrm>
          </p:grpSpPr>
          <p:pic>
            <p:nvPicPr>
              <p:cNvPr id="82" name="Picture 15" descr="\\SFP\Work\White_Whale\2-20365_Lees_Holland\art\AppTiles\adobe-reader-windows-phone-wp7.png"/>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7781231" y="3073141"/>
                <a:ext cx="905258" cy="905256"/>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83" name="Picture 18"/>
              <p:cNvPicPr>
                <a:picLocks noChangeAspect="1" noChangeArrowheads="1"/>
              </p:cNvPicPr>
              <p:nvPr/>
            </p:nvPicPr>
            <p:blipFill>
              <a:blip r:embed="rId18">
                <a:extLst>
                  <a:ext uri="{28A0092B-C50C-407E-A947-70E740481C1C}">
                    <a14:useLocalDpi xmlns:a14="http://schemas.microsoft.com/office/drawing/2010/main" val="0"/>
                  </a:ext>
                </a:extLst>
              </a:blip>
              <a:stretch>
                <a:fillRect/>
              </a:stretch>
            </p:blipFill>
            <p:spPr bwMode="auto">
              <a:xfrm>
                <a:off x="17781231" y="5309471"/>
                <a:ext cx="905258" cy="905256"/>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84" name="Picture 19" descr="\\SFP\Work\White_Whale\2-20365_Lees_Holland\art\AppTiles\ebay-radio-windows-phone-7-wp7-app-logo.pn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689240" y="836815"/>
                <a:ext cx="905256" cy="905256"/>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85" name="Picture 20" descr="\\SFP\Work\White_Whale\2-20365_Lees_Holland\art\AppTiles\fandango-radio-windows-phone-7-wp7-app-logo.pn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6729207" y="836815"/>
                <a:ext cx="905257" cy="905256"/>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86" name="Picture 23"/>
              <p:cNvPicPr>
                <a:picLocks noChangeAspect="1" noChangeArrowheads="1"/>
              </p:cNvPicPr>
              <p:nvPr/>
            </p:nvPicPr>
            <p:blipFill>
              <a:blip r:embed="rId21">
                <a:extLst>
                  <a:ext uri="{28A0092B-C50C-407E-A947-70E740481C1C}">
                    <a14:useLocalDpi xmlns:a14="http://schemas.microsoft.com/office/drawing/2010/main" val="0"/>
                  </a:ext>
                </a:extLst>
              </a:blip>
              <a:stretch>
                <a:fillRect/>
              </a:stretch>
            </p:blipFill>
            <p:spPr bwMode="auto">
              <a:xfrm>
                <a:off x="17781231" y="1954978"/>
                <a:ext cx="905258" cy="905256"/>
              </a:xfrm>
              <a:prstGeom prst="rect">
                <a:avLst/>
              </a:prstGeom>
              <a:noFill/>
              <a:effectLst/>
            </p:spPr>
          </p:pic>
          <p:pic>
            <p:nvPicPr>
              <p:cNvPr id="87" name="Picture 24" descr="\\SFP\Work\White_Whale\2-20365_Lees_Holland\art\AppTiles\imdb-windows-phone-7-wp7-app-logo.png"/>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7781231" y="836815"/>
                <a:ext cx="905258" cy="905256"/>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88" name="Picture 26" descr="\\SFP\Work\White_Whale\2-20365_Lees_Holland\art\AppTiles\loopt-windows-phone-wp7.png"/>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7781231" y="4191308"/>
                <a:ext cx="905258" cy="905256"/>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89" name="Picture 27"/>
              <p:cNvPicPr>
                <a:picLocks noChangeAspect="1" noChangeArrowheads="1"/>
              </p:cNvPicPr>
              <p:nvPr/>
            </p:nvPicPr>
            <p:blipFill>
              <a:blip r:embed="rId24">
                <a:extLst>
                  <a:ext uri="{28A0092B-C50C-407E-A947-70E740481C1C}">
                    <a14:useLocalDpi xmlns:a14="http://schemas.microsoft.com/office/drawing/2010/main" val="0"/>
                  </a:ext>
                </a:extLst>
              </a:blip>
              <a:stretch>
                <a:fillRect/>
              </a:stretch>
            </p:blipFill>
            <p:spPr bwMode="auto">
              <a:xfrm>
                <a:off x="14649273" y="836815"/>
                <a:ext cx="905258" cy="905256"/>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90" name="Picture 28" descr="\\SFP\Work\White_Whale\2-20365_Lees_Holland\art\AppTiles\netflix-windows-phone-wp7-app-logo.png"/>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3597249" y="836815"/>
                <a:ext cx="905258" cy="905256"/>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91" name="Picture 29" descr="\\SFP\Work\White_Whale\2-20365_Lees_Holland\art\AppTiles\photobucket-windows-phone-7-wp7-screenshot.png"/>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3597249" y="5309471"/>
                <a:ext cx="905258" cy="905256"/>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92" name="Picture 31" descr="\\SFP\Work\White_Whale\2-20365_Lees_Holland\art\AppTiles\real-estate-search-windows-phone-wp7-screenshot.png"/>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3597249" y="1956122"/>
                <a:ext cx="905258" cy="905256"/>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93" name="Picture 32" descr="\\SFP\Work\White_Whale\2-20365_Lees_Holland\art\AppTiles\seesmic-radio-windows-phone-7-wp7-app-logo.png"/>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3597249" y="3075429"/>
                <a:ext cx="905258" cy="905256"/>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94" name="Picture 33" descr="\\SFP\Work\White_Whale\2-20365_Lees_Holland\art\AppTiles\shazam-windows-phone-wp7-app-logo.png"/>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6729207" y="5309471"/>
                <a:ext cx="905257" cy="905256"/>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95" name="Picture 35"/>
              <p:cNvPicPr>
                <a:picLocks noChangeAspect="1" noChangeArrowheads="1"/>
              </p:cNvPicPr>
              <p:nvPr/>
            </p:nvPicPr>
            <p:blipFill>
              <a:blip r:embed="rId30">
                <a:extLst>
                  <a:ext uri="{28A0092B-C50C-407E-A947-70E740481C1C}">
                    <a14:useLocalDpi xmlns:a14="http://schemas.microsoft.com/office/drawing/2010/main" val="0"/>
                  </a:ext>
                </a:extLst>
              </a:blip>
              <a:stretch>
                <a:fillRect/>
              </a:stretch>
            </p:blipFill>
            <p:spPr bwMode="auto">
              <a:xfrm>
                <a:off x="13597249" y="4194737"/>
                <a:ext cx="905258" cy="905256"/>
              </a:xfrm>
              <a:prstGeom prst="rect">
                <a:avLst/>
              </a:prstGeom>
              <a:noFill/>
              <a:effectLst/>
            </p:spPr>
          </p:pic>
          <p:pic>
            <p:nvPicPr>
              <p:cNvPr id="96" name="Picture 38" descr="\\SFP\Work\White_Whale\2-20365_Lees_Holland\art\AppTiles\yelp-windows-phone-7-wp7-app-logo.png"/>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4649275" y="5309472"/>
                <a:ext cx="905258" cy="905256"/>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97" name="Picture 39" descr="\\SFP\Work\White_Whale\2-20365_Lees_Holland\art\AppTiles\youtube-windows-phone-7-wp7-app-logo.png"/>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15689237" y="5309471"/>
                <a:ext cx="905256" cy="905256"/>
              </a:xfrm>
              <a:prstGeom prst="rect">
                <a:avLst/>
              </a:prstGeom>
              <a:noFill/>
              <a:effectLst/>
              <a:extLst>
                <a:ext uri="{909E8E84-426E-40DD-AFC4-6F175D3DCCD1}">
                  <a14:hiddenFill xmlns:a14="http://schemas.microsoft.com/office/drawing/2010/main">
                    <a:solidFill>
                      <a:srgbClr val="FFFFFF"/>
                    </a:solidFill>
                  </a14:hiddenFill>
                </a:ext>
              </a:extLst>
            </p:spPr>
          </p:pic>
        </p:grpSp>
        <p:grpSp>
          <p:nvGrpSpPr>
            <p:cNvPr id="72" name="Group 71"/>
            <p:cNvGrpSpPr/>
            <p:nvPr/>
          </p:nvGrpSpPr>
          <p:grpSpPr>
            <a:xfrm>
              <a:off x="4601819" y="1858208"/>
              <a:ext cx="2985193" cy="3141584"/>
              <a:chOff x="14649270" y="1954978"/>
              <a:chExt cx="2985195" cy="3141584"/>
            </a:xfrm>
          </p:grpSpPr>
          <p:pic>
            <p:nvPicPr>
              <p:cNvPr id="74" name="Picture 16" descr="\\SFP\Work\White_Whale\2-20365_Lees_Holland\art\AppTiles\ap-mobile-radio-windows-phone-7-wp7-app-logo.png"/>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16729204" y="3073142"/>
                <a:ext cx="905258" cy="905257"/>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75" name="Picture 17" descr="\\SFP\Work\White_Whale\2-20365_Lees_Holland\art\AppTiles\att-uverse-icon.png"/>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4649270" y="1954978"/>
                <a:ext cx="905258" cy="905257"/>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76" name="Picture 21" descr="\\SFP\Work\White_Whale\2-20365_Lees_Holland\art\AppTiles\flixster-radio-windows-phone-7-wp7-app-logo.png"/>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15689237" y="1954978"/>
                <a:ext cx="905256" cy="905256"/>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77" name="Picture 22" descr="\\SFP\Work\White_Whale\2-20365_Lees_Holland\art\AppTiles\foursquare-windows-phone-7-wp7-app-logo.png"/>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14649270" y="4191305"/>
                <a:ext cx="905258" cy="905257"/>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78" name="Picture 25" descr="\\SFP\Work\White_Whale\2-20365_Lees_Holland\art\AppTiles\lastfm-radio-windows-phone-7-wp7-app-logo.png"/>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15689237" y="4191306"/>
                <a:ext cx="905256" cy="905256"/>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79" name="Picture 30"/>
              <p:cNvPicPr>
                <a:picLocks noChangeAspect="1" noChangeArrowheads="1"/>
              </p:cNvPicPr>
              <p:nvPr/>
            </p:nvPicPr>
            <p:blipFill>
              <a:blip r:embed="rId38">
                <a:extLst>
                  <a:ext uri="{28A0092B-C50C-407E-A947-70E740481C1C}">
                    <a14:useLocalDpi xmlns:a14="http://schemas.microsoft.com/office/drawing/2010/main" val="0"/>
                  </a:ext>
                </a:extLst>
              </a:blip>
              <a:stretch>
                <a:fillRect/>
              </a:stretch>
            </p:blipFill>
            <p:spPr bwMode="auto">
              <a:xfrm>
                <a:off x="14649273" y="3073142"/>
                <a:ext cx="905258" cy="905257"/>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80" name="Picture 34" descr="\\SFP\Work\White_Whale\2-20365_Lees_Holland\art\AppTiles\slacker-radio-windows-phone-7-wp7-app-logo.png"/>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16729207" y="1954979"/>
                <a:ext cx="905258" cy="905257"/>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81" name="Picture 37"/>
              <p:cNvPicPr>
                <a:picLocks noChangeAspect="1" noChangeArrowheads="1"/>
              </p:cNvPicPr>
              <p:nvPr/>
            </p:nvPicPr>
            <p:blipFill>
              <a:blip r:embed="rId40">
                <a:extLst>
                  <a:ext uri="{28A0092B-C50C-407E-A947-70E740481C1C}">
                    <a14:useLocalDpi xmlns:a14="http://schemas.microsoft.com/office/drawing/2010/main" val="0"/>
                  </a:ext>
                </a:extLst>
              </a:blip>
              <a:stretch>
                <a:fillRect/>
              </a:stretch>
            </p:blipFill>
            <p:spPr bwMode="auto">
              <a:xfrm>
                <a:off x="16729204" y="4191305"/>
                <a:ext cx="905258" cy="905257"/>
              </a:xfrm>
              <a:prstGeom prst="rect">
                <a:avLst/>
              </a:prstGeom>
              <a:noFill/>
              <a:effectLst/>
            </p:spPr>
          </p:pic>
        </p:grpSp>
        <p:pic>
          <p:nvPicPr>
            <p:cNvPr id="73" name="Picture 36" descr="\\SFP\Work\White_Whale\2-20365_Lees_Holland\art\AppTiles\twitter-windows-phone-wp7-app-logo.png"/>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5641784" y="2976372"/>
              <a:ext cx="905256" cy="905256"/>
            </a:xfrm>
            <a:prstGeom prst="rect">
              <a:avLst/>
            </a:prstGeom>
            <a:noFill/>
            <a:effectLst/>
            <a:extLst>
              <a:ext uri="{909E8E84-426E-40DD-AFC4-6F175D3DCCD1}">
                <a14:hiddenFill xmlns:a14="http://schemas.microsoft.com/office/drawing/2010/main">
                  <a:solidFill>
                    <a:srgbClr val="FFFFFF"/>
                  </a:solidFill>
                </a14:hiddenFill>
              </a:ext>
            </a:extLst>
          </p:spPr>
        </p:pic>
      </p:grpSp>
      <p:grpSp>
        <p:nvGrpSpPr>
          <p:cNvPr id="5" name="Apps-Right"/>
          <p:cNvGrpSpPr/>
          <p:nvPr/>
        </p:nvGrpSpPr>
        <p:grpSpPr>
          <a:xfrm>
            <a:off x="6686140" y="544785"/>
            <a:ext cx="1476073" cy="4030943"/>
            <a:chOff x="8776123" y="740045"/>
            <a:chExt cx="1953662" cy="5375830"/>
          </a:xfrm>
        </p:grpSpPr>
        <p:pic>
          <p:nvPicPr>
            <p:cNvPr id="6" name="Picture 2"/>
            <p:cNvPicPr>
              <a:picLocks noChangeAspect="1" noChangeArrowheads="1"/>
            </p:cNvPicPr>
            <p:nvPr/>
          </p:nvPicPr>
          <p:blipFill rotWithShape="1">
            <a:blip r:embed="rId42">
              <a:extLst>
                <a:ext uri="{28A0092B-C50C-407E-A947-70E740481C1C}">
                  <a14:useLocalDpi xmlns:a14="http://schemas.microsoft.com/office/drawing/2010/main" val="0"/>
                </a:ext>
              </a:extLst>
            </a:blip>
            <a:srcRect/>
            <a:stretch/>
          </p:blipFill>
          <p:spPr bwMode="auto">
            <a:xfrm>
              <a:off x="8776123" y="740045"/>
              <a:ext cx="905257" cy="905256"/>
            </a:xfrm>
            <a:prstGeom prst="rect">
              <a:avLst/>
            </a:prstGeom>
            <a:noFill/>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2"/>
            <p:cNvPicPr>
              <a:picLocks noChangeAspect="1" noChangeArrowheads="1"/>
            </p:cNvPicPr>
            <p:nvPr/>
          </p:nvPicPr>
          <p:blipFill rotWithShape="1">
            <a:blip r:embed="rId43">
              <a:extLst>
                <a:ext uri="{28A0092B-C50C-407E-A947-70E740481C1C}">
                  <a14:useLocalDpi xmlns:a14="http://schemas.microsoft.com/office/drawing/2010/main" val="0"/>
                </a:ext>
              </a:extLst>
            </a:blip>
            <a:srcRect/>
            <a:stretch/>
          </p:blipFill>
          <p:spPr bwMode="auto">
            <a:xfrm>
              <a:off x="8776123" y="2975332"/>
              <a:ext cx="905257" cy="905256"/>
            </a:xfrm>
            <a:prstGeom prst="rect">
              <a:avLst/>
            </a:prstGeom>
            <a:noFill/>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2"/>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8776123" y="4092979"/>
              <a:ext cx="905257" cy="905256"/>
            </a:xfrm>
            <a:prstGeom prst="rect">
              <a:avLst/>
            </a:prstGeom>
            <a:noFill/>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2"/>
            <p:cNvPicPr>
              <a:picLocks noChangeAspect="1" noChangeArrowheads="1"/>
            </p:cNvPicPr>
            <p:nvPr/>
          </p:nvPicPr>
          <p:blipFill rotWithShape="1">
            <a:blip r:embed="rId44">
              <a:extLst>
                <a:ext uri="{28A0092B-C50C-407E-A947-70E740481C1C}">
                  <a14:useLocalDpi xmlns:a14="http://schemas.microsoft.com/office/drawing/2010/main" val="0"/>
                </a:ext>
              </a:extLst>
            </a:blip>
            <a:srcRect/>
            <a:stretch/>
          </p:blipFill>
          <p:spPr bwMode="auto">
            <a:xfrm>
              <a:off x="8776123" y="1857690"/>
              <a:ext cx="905257" cy="905256"/>
            </a:xfrm>
            <a:prstGeom prst="rect">
              <a:avLst/>
            </a:prstGeom>
            <a:noFill/>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3"/>
            <p:cNvPicPr>
              <a:picLocks noChangeAspect="1" noChangeArrowheads="1"/>
            </p:cNvPicPr>
            <p:nvPr/>
          </p:nvPicPr>
          <p:blipFill rotWithShape="1">
            <a:blip r:embed="rId9">
              <a:extLst>
                <a:ext uri="{28A0092B-C50C-407E-A947-70E740481C1C}">
                  <a14:useLocalDpi xmlns:a14="http://schemas.microsoft.com/office/drawing/2010/main" val="0"/>
                </a:ext>
              </a:extLst>
            </a:blip>
            <a:srcRect/>
            <a:stretch/>
          </p:blipFill>
          <p:spPr bwMode="auto">
            <a:xfrm>
              <a:off x="8776124" y="5210619"/>
              <a:ext cx="905257" cy="905256"/>
            </a:xfrm>
            <a:prstGeom prst="rect">
              <a:avLst/>
            </a:prstGeom>
            <a:noFill/>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3"/>
            <p:cNvPicPr>
              <a:picLocks noChangeAspect="1" noChangeArrowheads="1"/>
            </p:cNvPicPr>
            <p:nvPr/>
          </p:nvPicPr>
          <p:blipFill rotWithShape="1">
            <a:blip r:embed="rId10">
              <a:extLst>
                <a:ext uri="{28A0092B-C50C-407E-A947-70E740481C1C}">
                  <a14:useLocalDpi xmlns:a14="http://schemas.microsoft.com/office/drawing/2010/main" val="0"/>
                </a:ext>
              </a:extLst>
            </a:blip>
            <a:srcRect/>
            <a:stretch/>
          </p:blipFill>
          <p:spPr bwMode="auto">
            <a:xfrm>
              <a:off x="9824528" y="2982633"/>
              <a:ext cx="905257" cy="905256"/>
            </a:xfrm>
            <a:prstGeom prst="rect">
              <a:avLst/>
            </a:prstGeom>
            <a:noFill/>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2" name="Apps-Left"/>
          <p:cNvGrpSpPr/>
          <p:nvPr/>
        </p:nvGrpSpPr>
        <p:grpSpPr>
          <a:xfrm>
            <a:off x="1151314" y="544783"/>
            <a:ext cx="1489689" cy="4032504"/>
            <a:chOff x="1450487" y="740044"/>
            <a:chExt cx="1971681" cy="5377913"/>
          </a:xfrm>
        </p:grpSpPr>
        <p:pic>
          <p:nvPicPr>
            <p:cNvPr id="13" name="Picture 2"/>
            <p:cNvPicPr>
              <a:picLocks noChangeAspect="1" noChangeArrowheads="1"/>
            </p:cNvPicPr>
            <p:nvPr/>
          </p:nvPicPr>
          <p:blipFill rotWithShape="1">
            <a:blip r:embed="rId11">
              <a:extLst>
                <a:ext uri="{28A0092B-C50C-407E-A947-70E740481C1C}">
                  <a14:useLocalDpi xmlns:a14="http://schemas.microsoft.com/office/drawing/2010/main" val="0"/>
                </a:ext>
              </a:extLst>
            </a:blip>
            <a:srcRect/>
            <a:stretch/>
          </p:blipFill>
          <p:spPr bwMode="auto">
            <a:xfrm>
              <a:off x="2516909" y="2976370"/>
              <a:ext cx="905258" cy="905256"/>
            </a:xfrm>
            <a:prstGeom prst="rect">
              <a:avLst/>
            </a:prstGeom>
            <a:noFill/>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2"/>
            <p:cNvPicPr>
              <a:picLocks noChangeAspect="1" noChangeArrowheads="1"/>
            </p:cNvPicPr>
            <p:nvPr/>
          </p:nvPicPr>
          <p:blipFill rotWithShape="1">
            <a:blip r:embed="rId12">
              <a:extLst>
                <a:ext uri="{28A0092B-C50C-407E-A947-70E740481C1C}">
                  <a14:useLocalDpi xmlns:a14="http://schemas.microsoft.com/office/drawing/2010/main" val="0"/>
                </a:ext>
              </a:extLst>
            </a:blip>
            <a:srcRect/>
            <a:stretch/>
          </p:blipFill>
          <p:spPr bwMode="auto">
            <a:xfrm>
              <a:off x="2516909" y="4094538"/>
              <a:ext cx="905258" cy="905256"/>
            </a:xfrm>
            <a:prstGeom prst="rect">
              <a:avLst/>
            </a:prstGeom>
            <a:noFill/>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 name="Picture 3"/>
            <p:cNvPicPr>
              <a:picLocks noChangeAspect="1" noChangeArrowheads="1"/>
            </p:cNvPicPr>
            <p:nvPr/>
          </p:nvPicPr>
          <p:blipFill rotWithShape="1">
            <a:blip r:embed="rId13">
              <a:extLst>
                <a:ext uri="{28A0092B-C50C-407E-A947-70E740481C1C}">
                  <a14:useLocalDpi xmlns:a14="http://schemas.microsoft.com/office/drawing/2010/main" val="0"/>
                </a:ext>
              </a:extLst>
            </a:blip>
            <a:srcRect/>
            <a:stretch/>
          </p:blipFill>
          <p:spPr bwMode="auto">
            <a:xfrm>
              <a:off x="2516909" y="5212701"/>
              <a:ext cx="905258" cy="905256"/>
            </a:xfrm>
            <a:prstGeom prst="rect">
              <a:avLst/>
            </a:prstGeom>
            <a:noFill/>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2"/>
            <p:cNvPicPr>
              <a:picLocks noChangeAspect="1" noChangeArrowheads="1"/>
            </p:cNvPicPr>
            <p:nvPr/>
          </p:nvPicPr>
          <p:blipFill rotWithShape="1">
            <a:blip r:embed="rId14">
              <a:extLst>
                <a:ext uri="{28A0092B-C50C-407E-A947-70E740481C1C}">
                  <a14:useLocalDpi xmlns:a14="http://schemas.microsoft.com/office/drawing/2010/main" val="0"/>
                </a:ext>
              </a:extLst>
            </a:blip>
            <a:srcRect/>
            <a:stretch/>
          </p:blipFill>
          <p:spPr bwMode="auto">
            <a:xfrm>
              <a:off x="1450487" y="2976370"/>
              <a:ext cx="905258" cy="905256"/>
            </a:xfrm>
            <a:prstGeom prst="rect">
              <a:avLst/>
            </a:prstGeom>
            <a:noFill/>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 name="Picture 4"/>
            <p:cNvPicPr>
              <a:picLocks noChangeAspect="1" noChangeArrowheads="1"/>
            </p:cNvPicPr>
            <p:nvPr/>
          </p:nvPicPr>
          <p:blipFill rotWithShape="1">
            <a:blip r:embed="rId15">
              <a:extLst>
                <a:ext uri="{28A0092B-C50C-407E-A947-70E740481C1C}">
                  <a14:useLocalDpi xmlns:a14="http://schemas.microsoft.com/office/drawing/2010/main" val="0"/>
                </a:ext>
              </a:extLst>
            </a:blip>
            <a:srcRect/>
            <a:stretch/>
          </p:blipFill>
          <p:spPr bwMode="auto">
            <a:xfrm>
              <a:off x="2516909" y="740044"/>
              <a:ext cx="905258" cy="905256"/>
            </a:xfrm>
            <a:prstGeom prst="rect">
              <a:avLst/>
            </a:prstGeom>
            <a:noFill/>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Picture 5"/>
            <p:cNvPicPr>
              <a:picLocks noChangeAspect="1" noChangeArrowheads="1"/>
            </p:cNvPicPr>
            <p:nvPr/>
          </p:nvPicPr>
          <p:blipFill rotWithShape="1">
            <a:blip r:embed="rId16">
              <a:extLst>
                <a:ext uri="{28A0092B-C50C-407E-A947-70E740481C1C}">
                  <a14:useLocalDpi xmlns:a14="http://schemas.microsoft.com/office/drawing/2010/main" val="0"/>
                </a:ext>
              </a:extLst>
            </a:blip>
            <a:srcRect/>
            <a:stretch/>
          </p:blipFill>
          <p:spPr bwMode="auto">
            <a:xfrm>
              <a:off x="2516910" y="1858207"/>
              <a:ext cx="905258" cy="905256"/>
            </a:xfrm>
            <a:prstGeom prst="rect">
              <a:avLst/>
            </a:prstGeom>
            <a:noFill/>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9" name="Apps-Mid-2"/>
          <p:cNvGrpSpPr/>
          <p:nvPr/>
        </p:nvGrpSpPr>
        <p:grpSpPr>
          <a:xfrm>
            <a:off x="2737429" y="544783"/>
            <a:ext cx="3845135" cy="4032504"/>
            <a:chOff x="13597249" y="836815"/>
            <a:chExt cx="5089240" cy="5377913"/>
          </a:xfrm>
        </p:grpSpPr>
        <p:pic>
          <p:nvPicPr>
            <p:cNvPr id="20" name="Picture 15" descr="\\SFP\Work\White_Whale\2-20365_Lees_Holland\art\AppTiles\adobe-reader-windows-phone-wp7.png"/>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7781231" y="3073141"/>
              <a:ext cx="905258" cy="905256"/>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21" name="Picture 18"/>
            <p:cNvPicPr>
              <a:picLocks noChangeAspect="1" noChangeArrowheads="1"/>
            </p:cNvPicPr>
            <p:nvPr/>
          </p:nvPicPr>
          <p:blipFill>
            <a:blip r:embed="rId18">
              <a:extLst>
                <a:ext uri="{28A0092B-C50C-407E-A947-70E740481C1C}">
                  <a14:useLocalDpi xmlns:a14="http://schemas.microsoft.com/office/drawing/2010/main" val="0"/>
                </a:ext>
              </a:extLst>
            </a:blip>
            <a:stretch>
              <a:fillRect/>
            </a:stretch>
          </p:blipFill>
          <p:spPr bwMode="auto">
            <a:xfrm>
              <a:off x="17781231" y="5309471"/>
              <a:ext cx="905258" cy="905256"/>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22" name="Picture 19" descr="\\SFP\Work\White_Whale\2-20365_Lees_Holland\art\AppTiles\ebay-radio-windows-phone-7-wp7-app-logo.pn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689240" y="836815"/>
              <a:ext cx="905256" cy="905256"/>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23" name="Picture 20" descr="\\SFP\Work\White_Whale\2-20365_Lees_Holland\art\AppTiles\fandango-radio-windows-phone-7-wp7-app-logo.pn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6729207" y="836815"/>
              <a:ext cx="905257" cy="905256"/>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24" name="Picture 23"/>
            <p:cNvPicPr>
              <a:picLocks noChangeAspect="1" noChangeArrowheads="1"/>
            </p:cNvPicPr>
            <p:nvPr/>
          </p:nvPicPr>
          <p:blipFill>
            <a:blip r:embed="rId21">
              <a:extLst>
                <a:ext uri="{28A0092B-C50C-407E-A947-70E740481C1C}">
                  <a14:useLocalDpi xmlns:a14="http://schemas.microsoft.com/office/drawing/2010/main" val="0"/>
                </a:ext>
              </a:extLst>
            </a:blip>
            <a:stretch>
              <a:fillRect/>
            </a:stretch>
          </p:blipFill>
          <p:spPr bwMode="auto">
            <a:xfrm>
              <a:off x="17781231" y="1954978"/>
              <a:ext cx="905258" cy="905256"/>
            </a:xfrm>
            <a:prstGeom prst="rect">
              <a:avLst/>
            </a:prstGeom>
            <a:noFill/>
            <a:effectLst/>
          </p:spPr>
        </p:pic>
        <p:pic>
          <p:nvPicPr>
            <p:cNvPr id="25" name="Picture 24" descr="\\SFP\Work\White_Whale\2-20365_Lees_Holland\art\AppTiles\imdb-windows-phone-7-wp7-app-logo.png"/>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7781231" y="836815"/>
              <a:ext cx="905258" cy="905256"/>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26" name="Picture 26" descr="\\SFP\Work\White_Whale\2-20365_Lees_Holland\art\AppTiles\loopt-windows-phone-wp7.png"/>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7781231" y="4191308"/>
              <a:ext cx="905258" cy="905256"/>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27" name="Picture 27"/>
            <p:cNvPicPr>
              <a:picLocks noChangeAspect="1" noChangeArrowheads="1"/>
            </p:cNvPicPr>
            <p:nvPr/>
          </p:nvPicPr>
          <p:blipFill>
            <a:blip r:embed="rId24">
              <a:extLst>
                <a:ext uri="{28A0092B-C50C-407E-A947-70E740481C1C}">
                  <a14:useLocalDpi xmlns:a14="http://schemas.microsoft.com/office/drawing/2010/main" val="0"/>
                </a:ext>
              </a:extLst>
            </a:blip>
            <a:stretch>
              <a:fillRect/>
            </a:stretch>
          </p:blipFill>
          <p:spPr bwMode="auto">
            <a:xfrm>
              <a:off x="14649273" y="836815"/>
              <a:ext cx="905258" cy="905256"/>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28" name="Picture 28" descr="\\SFP\Work\White_Whale\2-20365_Lees_Holland\art\AppTiles\netflix-windows-phone-wp7-app-logo.png"/>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3597249" y="836815"/>
              <a:ext cx="905258" cy="905256"/>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29" name="Picture 29" descr="\\SFP\Work\White_Whale\2-20365_Lees_Holland\art\AppTiles\photobucket-windows-phone-7-wp7-screenshot.png"/>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3597249" y="5309471"/>
              <a:ext cx="905258" cy="905256"/>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30" name="Picture 31" descr="\\SFP\Work\White_Whale\2-20365_Lees_Holland\art\AppTiles\real-estate-search-windows-phone-wp7-screenshot.png"/>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3597249" y="1956122"/>
              <a:ext cx="905258" cy="905256"/>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31" name="Picture 32" descr="\\SFP\Work\White_Whale\2-20365_Lees_Holland\art\AppTiles\seesmic-radio-windows-phone-7-wp7-app-logo.png"/>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3597249" y="3075429"/>
              <a:ext cx="905258" cy="905256"/>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32" name="Picture 33" descr="\\SFP\Work\White_Whale\2-20365_Lees_Holland\art\AppTiles\shazam-windows-phone-wp7-app-logo.png"/>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6729207" y="5309471"/>
              <a:ext cx="905257" cy="905256"/>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33" name="Picture 35"/>
            <p:cNvPicPr>
              <a:picLocks noChangeAspect="1" noChangeArrowheads="1"/>
            </p:cNvPicPr>
            <p:nvPr/>
          </p:nvPicPr>
          <p:blipFill>
            <a:blip r:embed="rId30">
              <a:extLst>
                <a:ext uri="{28A0092B-C50C-407E-A947-70E740481C1C}">
                  <a14:useLocalDpi xmlns:a14="http://schemas.microsoft.com/office/drawing/2010/main" val="0"/>
                </a:ext>
              </a:extLst>
            </a:blip>
            <a:stretch>
              <a:fillRect/>
            </a:stretch>
          </p:blipFill>
          <p:spPr bwMode="auto">
            <a:xfrm>
              <a:off x="13597249" y="4194737"/>
              <a:ext cx="905258" cy="905256"/>
            </a:xfrm>
            <a:prstGeom prst="rect">
              <a:avLst/>
            </a:prstGeom>
            <a:noFill/>
            <a:effectLst/>
          </p:spPr>
        </p:pic>
        <p:pic>
          <p:nvPicPr>
            <p:cNvPr id="34" name="Picture 38" descr="\\SFP\Work\White_Whale\2-20365_Lees_Holland\art\AppTiles\yelp-windows-phone-7-wp7-app-logo.png"/>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4649275" y="5309472"/>
              <a:ext cx="905258" cy="905256"/>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35" name="Picture 39" descr="\\SFP\Work\White_Whale\2-20365_Lees_Holland\art\AppTiles\youtube-windows-phone-7-wp7-app-logo.png"/>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15689237" y="5309471"/>
              <a:ext cx="905256" cy="905256"/>
            </a:xfrm>
            <a:prstGeom prst="rect">
              <a:avLst/>
            </a:prstGeom>
            <a:noFill/>
            <a:effectLst/>
            <a:extLst>
              <a:ext uri="{909E8E84-426E-40DD-AFC4-6F175D3DCCD1}">
                <a14:hiddenFill xmlns:a14="http://schemas.microsoft.com/office/drawing/2010/main">
                  <a:solidFill>
                    <a:srgbClr val="FFFFFF"/>
                  </a:solidFill>
                </a14:hiddenFill>
              </a:ext>
            </a:extLst>
          </p:spPr>
        </p:pic>
      </p:grpSp>
      <p:grpSp>
        <p:nvGrpSpPr>
          <p:cNvPr id="36" name="Apps-Mid-1"/>
          <p:cNvGrpSpPr/>
          <p:nvPr/>
        </p:nvGrpSpPr>
        <p:grpSpPr>
          <a:xfrm>
            <a:off x="3532274" y="1383214"/>
            <a:ext cx="2255438" cy="2355644"/>
            <a:chOff x="14649270" y="1954978"/>
            <a:chExt cx="2985195" cy="3141584"/>
          </a:xfrm>
        </p:grpSpPr>
        <p:pic>
          <p:nvPicPr>
            <p:cNvPr id="37" name="Picture 16" descr="\\SFP\Work\White_Whale\2-20365_Lees_Holland\art\AppTiles\ap-mobile-radio-windows-phone-7-wp7-app-logo.png"/>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16729204" y="3073142"/>
              <a:ext cx="905258" cy="905257"/>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38" name="Picture 17" descr="\\SFP\Work\White_Whale\2-20365_Lees_Holland\art\AppTiles\att-uverse-icon.png"/>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4649270" y="1954978"/>
              <a:ext cx="905258" cy="905257"/>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39" name="Picture 21" descr="\\SFP\Work\White_Whale\2-20365_Lees_Holland\art\AppTiles\flixster-radio-windows-phone-7-wp7-app-logo.png"/>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15689237" y="1954978"/>
              <a:ext cx="905256" cy="905256"/>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40" name="Picture 22" descr="\\SFP\Work\White_Whale\2-20365_Lees_Holland\art\AppTiles\foursquare-windows-phone-7-wp7-app-logo.png"/>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14649270" y="4191305"/>
              <a:ext cx="905258" cy="905257"/>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41" name="Picture 25" descr="\\SFP\Work\White_Whale\2-20365_Lees_Holland\art\AppTiles\lastfm-radio-windows-phone-7-wp7-app-logo.png"/>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15689237" y="4191306"/>
              <a:ext cx="905256" cy="905256"/>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42" name="Picture 30"/>
            <p:cNvPicPr>
              <a:picLocks noChangeAspect="1" noChangeArrowheads="1"/>
            </p:cNvPicPr>
            <p:nvPr/>
          </p:nvPicPr>
          <p:blipFill>
            <a:blip r:embed="rId38">
              <a:extLst>
                <a:ext uri="{28A0092B-C50C-407E-A947-70E740481C1C}">
                  <a14:useLocalDpi xmlns:a14="http://schemas.microsoft.com/office/drawing/2010/main" val="0"/>
                </a:ext>
              </a:extLst>
            </a:blip>
            <a:stretch>
              <a:fillRect/>
            </a:stretch>
          </p:blipFill>
          <p:spPr bwMode="auto">
            <a:xfrm>
              <a:off x="14649273" y="3073142"/>
              <a:ext cx="905258" cy="905257"/>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43" name="Picture 34" descr="\\SFP\Work\White_Whale\2-20365_Lees_Holland\art\AppTiles\slacker-radio-windows-phone-7-wp7-app-logo.png"/>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16729207" y="1954979"/>
              <a:ext cx="905258" cy="905257"/>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44" name="Picture 37"/>
            <p:cNvPicPr>
              <a:picLocks noChangeAspect="1" noChangeArrowheads="1"/>
            </p:cNvPicPr>
            <p:nvPr/>
          </p:nvPicPr>
          <p:blipFill>
            <a:blip r:embed="rId40">
              <a:extLst>
                <a:ext uri="{28A0092B-C50C-407E-A947-70E740481C1C}">
                  <a14:useLocalDpi xmlns:a14="http://schemas.microsoft.com/office/drawing/2010/main" val="0"/>
                </a:ext>
              </a:extLst>
            </a:blip>
            <a:stretch>
              <a:fillRect/>
            </a:stretch>
          </p:blipFill>
          <p:spPr bwMode="auto">
            <a:xfrm>
              <a:off x="16729204" y="4191305"/>
              <a:ext cx="905258" cy="905257"/>
            </a:xfrm>
            <a:prstGeom prst="rect">
              <a:avLst/>
            </a:prstGeom>
            <a:noFill/>
            <a:effectLst/>
          </p:spPr>
        </p:pic>
      </p:grpSp>
      <p:pic>
        <p:nvPicPr>
          <p:cNvPr id="45" name="Apps-Twitter" descr="\\SFP\Work\White_Whale\2-20365_Lees_Holland\art\AppTiles\twitter-windows-phone-wp7-app-logo.png"/>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4318011" y="2221644"/>
            <a:ext cx="683959" cy="678785"/>
          </a:xfrm>
          <a:prstGeom prst="rect">
            <a:avLst/>
          </a:prstGeom>
          <a:noFill/>
          <a:effectLst/>
          <a:extLst>
            <a:ext uri="{909E8E84-426E-40DD-AFC4-6F175D3DCCD1}">
              <a14:hiddenFill xmlns:a14="http://schemas.microsoft.com/office/drawing/2010/main">
                <a:solidFill>
                  <a:srgbClr val="FFFFFF"/>
                </a:solidFill>
              </a14:hiddenFill>
            </a:ext>
          </a:extLst>
        </p:spPr>
      </p:pic>
      <p:grpSp>
        <p:nvGrpSpPr>
          <p:cNvPr id="153" name="Customer Quote-1"/>
          <p:cNvGrpSpPr/>
          <p:nvPr/>
        </p:nvGrpSpPr>
        <p:grpSpPr>
          <a:xfrm>
            <a:off x="372811" y="511496"/>
            <a:ext cx="2564907" cy="1920240"/>
            <a:chOff x="372810" y="511496"/>
            <a:chExt cx="2564907" cy="1920240"/>
          </a:xfrm>
        </p:grpSpPr>
        <p:sp>
          <p:nvSpPr>
            <p:cNvPr id="129" name="Rectangle 128"/>
            <p:cNvSpPr/>
            <p:nvPr/>
          </p:nvSpPr>
          <p:spPr>
            <a:xfrm>
              <a:off x="372810" y="511496"/>
              <a:ext cx="2564907" cy="1920240"/>
            </a:xfrm>
            <a:prstGeom prst="rect">
              <a:avLst/>
            </a:prstGeom>
            <a:solidFill>
              <a:srgbClr val="6BBD46"/>
            </a:solidFill>
            <a:ln w="2540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57148" indent="-57148" defTabSz="685609" fontAlgn="base">
                <a:lnSpc>
                  <a:spcPct val="90000"/>
                </a:lnSpc>
                <a:spcBef>
                  <a:spcPts val="450"/>
                </a:spcBef>
                <a:spcAft>
                  <a:spcPct val="0"/>
                </a:spcAft>
              </a:pPr>
              <a:r>
                <a:rPr lang="en-US" sz="1100" b="1" kern="0" dirty="0">
                  <a:solidFill>
                    <a:srgbClr val="FFFFFF">
                      <a:alpha val="99000"/>
                    </a:srgbClr>
                  </a:solidFill>
                </a:rPr>
                <a:t>"I like that Windows Phone 7 supports more than one Exchange Server email account. Access to multiple business and personal inboxes and integrated calendars helps to seamlessly coordinate business and personal lives.“</a:t>
              </a:r>
              <a:endParaRPr lang="en-US" sz="1200" b="1" kern="0" dirty="0">
                <a:solidFill>
                  <a:srgbClr val="FFFFFF">
                    <a:alpha val="99000"/>
                  </a:srgbClr>
                </a:solidFill>
              </a:endParaRPr>
            </a:p>
            <a:p>
              <a:pPr marL="57148" indent="-57148" algn="r" defTabSz="685609" fontAlgn="base">
                <a:lnSpc>
                  <a:spcPct val="90000"/>
                </a:lnSpc>
                <a:spcBef>
                  <a:spcPts val="450"/>
                </a:spcBef>
                <a:spcAft>
                  <a:spcPct val="0"/>
                </a:spcAft>
              </a:pPr>
              <a:r>
                <a:rPr lang="en-US" sz="1200" kern="0" dirty="0">
                  <a:solidFill>
                    <a:srgbClr val="FFFFFF">
                      <a:alpha val="99000"/>
                    </a:srgbClr>
                  </a:solidFill>
                </a:rPr>
                <a:t>– Robert Gerstner, </a:t>
              </a:r>
              <a:br>
                <a:rPr lang="en-US" sz="1200" kern="0" dirty="0">
                  <a:solidFill>
                    <a:srgbClr val="FFFFFF">
                      <a:alpha val="99000"/>
                    </a:srgbClr>
                  </a:solidFill>
                </a:rPr>
              </a:br>
              <a:r>
                <a:rPr lang="en-US" sz="900" kern="0" dirty="0">
                  <a:solidFill>
                    <a:srgbClr val="FFFFFF">
                      <a:alpha val="99000"/>
                    </a:srgbClr>
                  </a:solidFill>
                </a:rPr>
                <a:t>Senior Project Manager—Mobility</a:t>
              </a:r>
            </a:p>
          </p:txBody>
        </p:sp>
        <p:pic>
          <p:nvPicPr>
            <p:cNvPr id="148" name="Picture 147"/>
            <p:cNvPicPr>
              <a:picLocks noChangeAspect="1"/>
            </p:cNvPicPr>
            <p:nvPr/>
          </p:nvPicPr>
          <p:blipFill>
            <a:blip r:embed="rId45" cstate="print">
              <a:extLst>
                <a:ext uri="{BEBA8EAE-BF5A-486C-A8C5-ECC9F3942E4B}">
                  <a14:imgProps xmlns:a14="http://schemas.microsoft.com/office/drawing/2010/main">
                    <a14:imgLayer r:embed="rId4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34988" y="2030951"/>
              <a:ext cx="723737" cy="365760"/>
            </a:xfrm>
            <a:prstGeom prst="rect">
              <a:avLst/>
            </a:prstGeom>
          </p:spPr>
        </p:pic>
      </p:grpSp>
      <p:grpSp>
        <p:nvGrpSpPr>
          <p:cNvPr id="155" name="Customer Quote-2"/>
          <p:cNvGrpSpPr/>
          <p:nvPr/>
        </p:nvGrpSpPr>
        <p:grpSpPr>
          <a:xfrm>
            <a:off x="372812" y="2735414"/>
            <a:ext cx="2564907" cy="1920240"/>
            <a:chOff x="372811" y="2735414"/>
            <a:chExt cx="2564907" cy="1920240"/>
          </a:xfrm>
        </p:grpSpPr>
        <p:sp>
          <p:nvSpPr>
            <p:cNvPr id="132" name="Rectangle 131"/>
            <p:cNvSpPr/>
            <p:nvPr/>
          </p:nvSpPr>
          <p:spPr>
            <a:xfrm>
              <a:off x="372811" y="2735414"/>
              <a:ext cx="2564907" cy="1920240"/>
            </a:xfrm>
            <a:prstGeom prst="rect">
              <a:avLst/>
            </a:prstGeom>
            <a:solidFill>
              <a:srgbClr val="6BBD46"/>
            </a:solidFill>
            <a:ln w="2540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57148" indent="-57148" defTabSz="685609" fontAlgn="base">
                <a:lnSpc>
                  <a:spcPct val="90000"/>
                </a:lnSpc>
                <a:spcBef>
                  <a:spcPts val="450"/>
                </a:spcBef>
                <a:spcAft>
                  <a:spcPct val="0"/>
                </a:spcAft>
              </a:pPr>
              <a:r>
                <a:rPr lang="en-US" sz="1100" b="1" kern="0" dirty="0">
                  <a:solidFill>
                    <a:srgbClr val="FFFFFF">
                      <a:alpha val="99000"/>
                    </a:srgbClr>
                  </a:solidFill>
                </a:rPr>
                <a:t>"With the right back end, access to SharePoint is a breeze. And it would certainly draw people in to using SharePoint more when access to documents is that easy from a phone. Windows Phone 7 could be to SharePoint what iPod was to iTunes.“</a:t>
              </a:r>
            </a:p>
            <a:p>
              <a:pPr marL="57148" indent="-57148" algn="r" defTabSz="685609" fontAlgn="base">
                <a:lnSpc>
                  <a:spcPct val="90000"/>
                </a:lnSpc>
                <a:spcAft>
                  <a:spcPct val="0"/>
                </a:spcAft>
              </a:pPr>
              <a:r>
                <a:rPr lang="en-US" sz="1200" kern="0" dirty="0">
                  <a:solidFill>
                    <a:srgbClr val="FFFFFF">
                      <a:alpha val="99000"/>
                    </a:srgbClr>
                  </a:solidFill>
                </a:rPr>
                <a:t>– Gary Cooper, </a:t>
              </a:r>
              <a:br>
                <a:rPr lang="en-US" sz="1200" kern="0" dirty="0">
                  <a:solidFill>
                    <a:srgbClr val="FFFFFF">
                      <a:alpha val="99000"/>
                    </a:srgbClr>
                  </a:solidFill>
                </a:rPr>
              </a:br>
              <a:r>
                <a:rPr lang="en-US" sz="900" kern="0" dirty="0">
                  <a:solidFill>
                    <a:srgbClr val="FFFFFF">
                      <a:alpha val="99000"/>
                    </a:srgbClr>
                  </a:solidFill>
                </a:rPr>
                <a:t>IT Change and Analysis</a:t>
              </a:r>
              <a:endParaRPr lang="en-US" sz="1100" kern="0" dirty="0">
                <a:solidFill>
                  <a:srgbClr val="FFFFFF">
                    <a:alpha val="99000"/>
                  </a:srgbClr>
                </a:solidFill>
              </a:endParaRPr>
            </a:p>
          </p:txBody>
        </p:sp>
        <p:pic>
          <p:nvPicPr>
            <p:cNvPr id="149" name="Picture 148"/>
            <p:cNvPicPr>
              <a:picLocks noChangeAspect="1"/>
            </p:cNvPicPr>
            <p:nvPr/>
          </p:nvPicPr>
          <p:blipFill>
            <a:blip r:embed="rId47" cstate="print">
              <a:extLst>
                <a:ext uri="{BEBA8EAE-BF5A-486C-A8C5-ECC9F3942E4B}">
                  <a14:imgProps xmlns:a14="http://schemas.microsoft.com/office/drawing/2010/main">
                    <a14:imgLayer r:embed="rId4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34988" y="4334536"/>
              <a:ext cx="617017" cy="228600"/>
            </a:xfrm>
            <a:prstGeom prst="rect">
              <a:avLst/>
            </a:prstGeom>
          </p:spPr>
        </p:pic>
      </p:grpSp>
      <p:sp>
        <p:nvSpPr>
          <p:cNvPr id="135" name="Customer Quote-3"/>
          <p:cNvSpPr/>
          <p:nvPr/>
        </p:nvSpPr>
        <p:spPr>
          <a:xfrm>
            <a:off x="3280640" y="511496"/>
            <a:ext cx="2564907" cy="1920240"/>
          </a:xfrm>
          <a:prstGeom prst="rect">
            <a:avLst/>
          </a:prstGeom>
          <a:solidFill>
            <a:srgbClr val="4B8EDC"/>
          </a:solidFill>
          <a:ln w="25400" cap="flat" cmpd="sng" algn="ctr">
            <a:noFill/>
            <a:prstDash val="solid"/>
            <a:headEnd type="none" w="med" len="med"/>
            <a:tailEnd type="none" w="med" len="med"/>
          </a:ln>
          <a:effectLst/>
        </p:spPr>
        <p:txBody>
          <a:bodyPr vert="horz" wrap="square" lIns="91436" tIns="91436" rIns="91436" bIns="91436" numCol="1" rtlCol="0" anchor="t" anchorCtr="0" compatLnSpc="1">
            <a:prstTxWarp prst="textNoShape">
              <a:avLst/>
            </a:prstTxWarp>
          </a:bodyPr>
          <a:lstStyle/>
          <a:p>
            <a:pPr marL="57148" indent="-57148" defTabSz="685609" fontAlgn="base">
              <a:lnSpc>
                <a:spcPct val="90000"/>
              </a:lnSpc>
              <a:spcAft>
                <a:spcPct val="0"/>
              </a:spcAft>
            </a:pPr>
            <a:r>
              <a:rPr lang="en-US" sz="1200" b="1" kern="0" dirty="0">
                <a:solidFill>
                  <a:srgbClr val="FFFFFF">
                    <a:alpha val="99000"/>
                  </a:srgbClr>
                </a:solidFill>
              </a:rPr>
              <a:t>"Windows Phone 7 is exceeding the expectations that we had </a:t>
            </a:r>
            <a:br>
              <a:rPr lang="en-US" sz="1200" b="1" kern="0" dirty="0">
                <a:solidFill>
                  <a:srgbClr val="FFFFFF">
                    <a:alpha val="99000"/>
                  </a:srgbClr>
                </a:solidFill>
              </a:rPr>
            </a:br>
            <a:r>
              <a:rPr lang="en-US" sz="1200" b="1" kern="0" dirty="0">
                <a:solidFill>
                  <a:srgbClr val="FFFFFF">
                    <a:alpha val="99000"/>
                  </a:srgbClr>
                </a:solidFill>
              </a:rPr>
              <a:t>for it. I wouldn’t call this a </a:t>
            </a:r>
            <a:br>
              <a:rPr lang="en-US" sz="1200" b="1" kern="0" dirty="0">
                <a:solidFill>
                  <a:srgbClr val="FFFFFF">
                    <a:alpha val="99000"/>
                  </a:srgbClr>
                </a:solidFill>
              </a:rPr>
            </a:br>
            <a:r>
              <a:rPr lang="en-US" sz="1200" b="1" kern="0" dirty="0">
                <a:solidFill>
                  <a:srgbClr val="FFFFFF">
                    <a:alpha val="99000"/>
                  </a:srgbClr>
                </a:solidFill>
              </a:rPr>
              <a:t>leap forward, I’d call it a quantum leap.”</a:t>
            </a:r>
          </a:p>
          <a:p>
            <a:pPr marL="57148" indent="-57148" defTabSz="685609" fontAlgn="base">
              <a:lnSpc>
                <a:spcPct val="90000"/>
              </a:lnSpc>
              <a:spcAft>
                <a:spcPct val="0"/>
              </a:spcAft>
            </a:pPr>
            <a:endParaRPr lang="en-US" sz="1200" b="1" kern="0" dirty="0">
              <a:solidFill>
                <a:srgbClr val="FFFFFF">
                  <a:alpha val="99000"/>
                </a:srgbClr>
              </a:solidFill>
            </a:endParaRPr>
          </a:p>
          <a:p>
            <a:pPr marL="57148" indent="-57148" algn="r" defTabSz="685609" fontAlgn="base">
              <a:lnSpc>
                <a:spcPct val="90000"/>
              </a:lnSpc>
              <a:spcAft>
                <a:spcPct val="0"/>
              </a:spcAft>
            </a:pPr>
            <a:r>
              <a:rPr lang="en-US" sz="1200" b="1" kern="0" dirty="0">
                <a:solidFill>
                  <a:srgbClr val="FFFFFF">
                    <a:alpha val="99000"/>
                  </a:srgbClr>
                </a:solidFill>
              </a:rPr>
              <a:t/>
            </a:r>
            <a:br>
              <a:rPr lang="en-US" sz="1200" b="1" kern="0" dirty="0">
                <a:solidFill>
                  <a:srgbClr val="FFFFFF">
                    <a:alpha val="99000"/>
                  </a:srgbClr>
                </a:solidFill>
              </a:rPr>
            </a:br>
            <a:r>
              <a:rPr lang="en-US" sz="1200" kern="0" dirty="0">
                <a:solidFill>
                  <a:srgbClr val="FFFFFF">
                    <a:alpha val="99000"/>
                  </a:srgbClr>
                </a:solidFill>
              </a:rPr>
              <a:t>– Conrad Salazar, </a:t>
            </a:r>
            <a:br>
              <a:rPr lang="en-US" sz="1200" kern="0" dirty="0">
                <a:solidFill>
                  <a:srgbClr val="FFFFFF">
                    <a:alpha val="99000"/>
                  </a:srgbClr>
                </a:solidFill>
              </a:rPr>
            </a:br>
            <a:r>
              <a:rPr lang="en-US" sz="900" kern="0" dirty="0">
                <a:solidFill>
                  <a:srgbClr val="FFFFFF">
                    <a:alpha val="99000"/>
                  </a:srgbClr>
                </a:solidFill>
              </a:rPr>
              <a:t>IT Project Manager</a:t>
            </a:r>
            <a:endParaRPr lang="en-US" sz="1100" kern="0" dirty="0">
              <a:solidFill>
                <a:srgbClr val="FFFFFF">
                  <a:alpha val="99000"/>
                </a:srgbClr>
              </a:solidFill>
            </a:endParaRPr>
          </a:p>
          <a:p>
            <a:pPr marL="57148" indent="-57148" defTabSz="685609" fontAlgn="base">
              <a:lnSpc>
                <a:spcPct val="90000"/>
              </a:lnSpc>
              <a:spcBef>
                <a:spcPts val="600"/>
              </a:spcBef>
              <a:spcAft>
                <a:spcPct val="0"/>
              </a:spcAft>
            </a:pPr>
            <a:r>
              <a:rPr lang="en-US" b="1" kern="0" dirty="0">
                <a:solidFill>
                  <a:srgbClr val="FFFFFF">
                    <a:alpha val="99000"/>
                  </a:srgbClr>
                </a:solidFill>
                <a:latin typeface="Arial" pitchFamily="34" charset="0"/>
                <a:cs typeface="Arial" pitchFamily="34" charset="0"/>
              </a:rPr>
              <a:t>City of Miami</a:t>
            </a:r>
          </a:p>
        </p:txBody>
      </p:sp>
      <p:sp>
        <p:nvSpPr>
          <p:cNvPr id="138" name="Rectangle 137"/>
          <p:cNvSpPr/>
          <p:nvPr/>
        </p:nvSpPr>
        <p:spPr>
          <a:xfrm>
            <a:off x="3280640" y="2735414"/>
            <a:ext cx="2564907" cy="1920240"/>
          </a:xfrm>
          <a:prstGeom prst="rect">
            <a:avLst/>
          </a:prstGeom>
          <a:solidFill>
            <a:srgbClr val="4B8EDC"/>
          </a:solidFill>
          <a:ln w="25400" cap="flat" cmpd="sng" algn="ctr">
            <a:noFill/>
            <a:prstDash val="solid"/>
            <a:headEnd type="none" w="med" len="med"/>
            <a:tailEnd type="none" w="med" len="med"/>
          </a:ln>
          <a:effectLst/>
        </p:spPr>
        <p:txBody>
          <a:bodyPr vert="horz" wrap="square" lIns="91436" tIns="91436" rIns="91436" bIns="91436" numCol="1" rtlCol="0" anchor="t" anchorCtr="0" compatLnSpc="1">
            <a:prstTxWarp prst="textNoShape">
              <a:avLst/>
            </a:prstTxWarp>
          </a:bodyPr>
          <a:lstStyle/>
          <a:p>
            <a:r>
              <a:rPr lang="en-US" sz="1200" b="1" kern="0" dirty="0">
                <a:solidFill>
                  <a:srgbClr val="FFFFFF">
                    <a:alpha val="99000"/>
                  </a:srgbClr>
                </a:solidFill>
              </a:rPr>
              <a:t>“We had a prototype app working in just two weeks, and were able to spend the other four weeks refining the app’s performance, behavior, and appearance.”</a:t>
            </a:r>
          </a:p>
          <a:p>
            <a:endParaRPr lang="en-US" sz="1000" b="1" kern="0" dirty="0">
              <a:solidFill>
                <a:srgbClr val="FFFFFF">
                  <a:alpha val="99000"/>
                </a:srgbClr>
              </a:solidFill>
            </a:endParaRPr>
          </a:p>
          <a:p>
            <a:pPr algn="r"/>
            <a:r>
              <a:rPr lang="en-US" sz="1100" b="1" kern="0" dirty="0">
                <a:solidFill>
                  <a:srgbClr val="FFFFFF">
                    <a:alpha val="99000"/>
                  </a:srgbClr>
                </a:solidFill>
              </a:rPr>
              <a:t> - </a:t>
            </a:r>
            <a:r>
              <a:rPr lang="en-US" sz="1200" kern="0" dirty="0">
                <a:solidFill>
                  <a:srgbClr val="FFFFFF">
                    <a:alpha val="99000"/>
                  </a:srgbClr>
                </a:solidFill>
              </a:rPr>
              <a:t>Robert </a:t>
            </a:r>
            <a:r>
              <a:rPr lang="en-US" sz="1200" kern="0" dirty="0" err="1">
                <a:solidFill>
                  <a:srgbClr val="FFFFFF">
                    <a:alpha val="99000"/>
                  </a:srgbClr>
                </a:solidFill>
              </a:rPr>
              <a:t>Altland</a:t>
            </a:r>
            <a:endParaRPr lang="en-US" sz="1200" kern="0" dirty="0">
              <a:solidFill>
                <a:srgbClr val="FFFFFF">
                  <a:alpha val="99000"/>
                </a:srgbClr>
              </a:solidFill>
            </a:endParaRPr>
          </a:p>
          <a:p>
            <a:r>
              <a:rPr lang="en-US" b="1" kern="0" dirty="0" smtClean="0">
                <a:solidFill>
                  <a:srgbClr val="FFFFFF">
                    <a:alpha val="99000"/>
                  </a:srgbClr>
                </a:solidFill>
                <a:latin typeface="Arial" pitchFamily="34" charset="0"/>
                <a:cs typeface="Arial" pitchFamily="34" charset="0"/>
              </a:rPr>
              <a:t>Kelley Blue Book</a:t>
            </a:r>
            <a:endParaRPr lang="en-US" sz="1600" b="1" kern="0" dirty="0">
              <a:solidFill>
                <a:srgbClr val="FFFFFF">
                  <a:alpha val="99000"/>
                </a:srgbClr>
              </a:solidFill>
              <a:latin typeface="Arial" pitchFamily="34" charset="0"/>
              <a:cs typeface="Arial" pitchFamily="34" charset="0"/>
            </a:endParaRPr>
          </a:p>
        </p:txBody>
      </p:sp>
      <p:sp>
        <p:nvSpPr>
          <p:cNvPr id="141" name="Rectangle 140"/>
          <p:cNvSpPr/>
          <p:nvPr/>
        </p:nvSpPr>
        <p:spPr>
          <a:xfrm>
            <a:off x="6188469" y="511496"/>
            <a:ext cx="2564907" cy="1920240"/>
          </a:xfrm>
          <a:prstGeom prst="rect">
            <a:avLst/>
          </a:prstGeom>
          <a:solidFill>
            <a:schemeClr val="accent1"/>
          </a:solidFill>
          <a:ln w="25400" cap="flat" cmpd="sng" algn="ctr">
            <a:noFill/>
            <a:prstDash val="solid"/>
            <a:headEnd type="none" w="med" len="med"/>
            <a:tailEnd type="none" w="med" len="med"/>
          </a:ln>
          <a:effectLst/>
        </p:spPr>
        <p:txBody>
          <a:bodyPr vert="horz" wrap="square" lIns="91436" tIns="91436" rIns="91436" bIns="91436" numCol="1" rtlCol="0" anchor="t" anchorCtr="0" compatLnSpc="1">
            <a:prstTxWarp prst="textNoShape">
              <a:avLst/>
            </a:prstTxWarp>
          </a:bodyPr>
          <a:lstStyle/>
          <a:p>
            <a:pPr marL="60322" indent="-60322"/>
            <a:r>
              <a:rPr lang="en-US" sz="1200" b="1" kern="0" dirty="0">
                <a:solidFill>
                  <a:srgbClr val="FFFFFF">
                    <a:alpha val="99000"/>
                  </a:srgbClr>
                </a:solidFill>
              </a:rPr>
              <a:t>“Not only did we beat our deadline by delivering an app in only three weeks, but the app we delivered was richer and more compelling than we had originally planned.”</a:t>
            </a:r>
          </a:p>
          <a:p>
            <a:endParaRPr lang="en-US" sz="400" b="1" kern="0" dirty="0">
              <a:solidFill>
                <a:srgbClr val="FFFFFF">
                  <a:alpha val="99000"/>
                </a:srgbClr>
              </a:solidFill>
            </a:endParaRPr>
          </a:p>
          <a:p>
            <a:pPr algn="r"/>
            <a:r>
              <a:rPr lang="en-US" sz="1200" b="1" kern="0" dirty="0">
                <a:solidFill>
                  <a:srgbClr val="FFFFFF">
                    <a:alpha val="99000"/>
                  </a:srgbClr>
                </a:solidFill>
              </a:rPr>
              <a:t>                     </a:t>
            </a:r>
            <a:r>
              <a:rPr lang="en-US" sz="1200" kern="0" dirty="0">
                <a:solidFill>
                  <a:srgbClr val="FFFFFF">
                    <a:alpha val="99000"/>
                  </a:srgbClr>
                </a:solidFill>
              </a:rPr>
              <a:t>– Valerie Palmer</a:t>
            </a:r>
          </a:p>
          <a:p>
            <a:pPr algn="r" defTabSz="58736"/>
            <a:r>
              <a:rPr lang="en-US" sz="900" kern="0" dirty="0">
                <a:solidFill>
                  <a:srgbClr val="FFFFFF">
                    <a:alpha val="99000"/>
                  </a:srgbClr>
                </a:solidFill>
              </a:rPr>
              <a:t>Mobile Applications Project Manager</a:t>
            </a:r>
          </a:p>
          <a:p>
            <a:pPr defTabSz="58736">
              <a:lnSpc>
                <a:spcPts val="1200"/>
              </a:lnSpc>
            </a:pPr>
            <a:r>
              <a:rPr lang="en-US" sz="900" kern="0" dirty="0">
                <a:solidFill>
                  <a:srgbClr val="FFFFFF">
                    <a:alpha val="99000"/>
                  </a:srgbClr>
                </a:solidFill>
              </a:rPr>
              <a:t/>
            </a:r>
            <a:br>
              <a:rPr lang="en-US" sz="900" kern="0" dirty="0">
                <a:solidFill>
                  <a:srgbClr val="FFFFFF">
                    <a:alpha val="99000"/>
                  </a:srgbClr>
                </a:solidFill>
              </a:rPr>
            </a:br>
            <a:r>
              <a:rPr lang="en-US" sz="1200" b="1" kern="0" dirty="0">
                <a:solidFill>
                  <a:srgbClr val="FFFFFF">
                    <a:alpha val="99000"/>
                  </a:srgbClr>
                </a:solidFill>
              </a:rPr>
              <a:t>	</a:t>
            </a:r>
            <a:r>
              <a:rPr lang="en-US" b="1" kern="0" dirty="0" err="1" smtClean="0">
                <a:solidFill>
                  <a:srgbClr val="FFFFFF">
                    <a:alpha val="99000"/>
                  </a:srgbClr>
                </a:solidFill>
                <a:latin typeface="Arial" pitchFamily="34" charset="0"/>
                <a:cs typeface="Arial" pitchFamily="34" charset="0"/>
              </a:rPr>
              <a:t>Yellowbook</a:t>
            </a:r>
            <a:endParaRPr lang="en-US" b="1" kern="0" dirty="0">
              <a:solidFill>
                <a:srgbClr val="FFFFFF">
                  <a:alpha val="99000"/>
                </a:srgbClr>
              </a:solidFill>
              <a:latin typeface="Arial" pitchFamily="34" charset="0"/>
              <a:cs typeface="Arial" pitchFamily="34" charset="0"/>
            </a:endParaRPr>
          </a:p>
        </p:txBody>
      </p:sp>
      <p:grpSp>
        <p:nvGrpSpPr>
          <p:cNvPr id="2" name="Customer Quote-6"/>
          <p:cNvGrpSpPr/>
          <p:nvPr/>
        </p:nvGrpSpPr>
        <p:grpSpPr>
          <a:xfrm>
            <a:off x="6188469" y="2735415"/>
            <a:ext cx="2564907" cy="1933979"/>
            <a:chOff x="6188468" y="2735414"/>
            <a:chExt cx="2564907" cy="1933979"/>
          </a:xfrm>
        </p:grpSpPr>
        <p:sp>
          <p:nvSpPr>
            <p:cNvPr id="144" name="Rectangle 143"/>
            <p:cNvSpPr/>
            <p:nvPr/>
          </p:nvSpPr>
          <p:spPr>
            <a:xfrm>
              <a:off x="6188468" y="2735414"/>
              <a:ext cx="2564907" cy="1920240"/>
            </a:xfrm>
            <a:prstGeom prst="rect">
              <a:avLst/>
            </a:prstGeom>
            <a:solidFill>
              <a:schemeClr val="accent1"/>
            </a:solidFill>
            <a:ln w="2540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60322" indent="-60322" defTabSz="685609" fontAlgn="base">
                <a:lnSpc>
                  <a:spcPct val="90000"/>
                </a:lnSpc>
                <a:spcBef>
                  <a:spcPts val="450"/>
                </a:spcBef>
                <a:spcAft>
                  <a:spcPct val="0"/>
                </a:spcAft>
              </a:pPr>
              <a:r>
                <a:rPr lang="en-US" sz="1200" b="1" kern="0" dirty="0">
                  <a:solidFill>
                    <a:srgbClr val="FFFFFF">
                      <a:alpha val="99000"/>
                    </a:srgbClr>
                  </a:solidFill>
                </a:rPr>
                <a:t>"Windows Phone 7 provides a fun and exciting user experience with many unique elements, and we were impressed with its unique user interface.”</a:t>
              </a:r>
              <a:endParaRPr lang="en-US" sz="800" b="1" kern="0" dirty="0">
                <a:solidFill>
                  <a:srgbClr val="FFFFFF">
                    <a:alpha val="99000"/>
                  </a:srgbClr>
                </a:solidFill>
              </a:endParaRPr>
            </a:p>
            <a:p>
              <a:pPr algn="r" defTabSz="685609" fontAlgn="base">
                <a:lnSpc>
                  <a:spcPct val="90000"/>
                </a:lnSpc>
                <a:spcBef>
                  <a:spcPts val="450"/>
                </a:spcBef>
                <a:spcAft>
                  <a:spcPct val="0"/>
                </a:spcAft>
              </a:pPr>
              <a:r>
                <a:rPr lang="en-US" sz="1200" kern="0" dirty="0">
                  <a:solidFill>
                    <a:srgbClr val="FFFFFF">
                      <a:alpha val="99000"/>
                    </a:srgbClr>
                  </a:solidFill>
                </a:rPr>
                <a:t>– Edward J. Kaczmarek III, </a:t>
              </a:r>
              <a:br>
                <a:rPr lang="en-US" sz="1200" kern="0" dirty="0">
                  <a:solidFill>
                    <a:srgbClr val="FFFFFF">
                      <a:alpha val="99000"/>
                    </a:srgbClr>
                  </a:solidFill>
                </a:rPr>
              </a:br>
              <a:r>
                <a:rPr lang="en-US" sz="900" kern="0" dirty="0">
                  <a:solidFill>
                    <a:srgbClr val="FFFFFF">
                      <a:alpha val="99000"/>
                    </a:srgbClr>
                  </a:solidFill>
                </a:rPr>
                <a:t>Director of Innovation, Consumer Experiences</a:t>
              </a:r>
              <a:endParaRPr lang="en-US" sz="1100" kern="0" dirty="0">
                <a:solidFill>
                  <a:srgbClr val="FFFFFF">
                    <a:alpha val="99000"/>
                  </a:srgbClr>
                </a:solidFill>
              </a:endParaRPr>
            </a:p>
          </p:txBody>
        </p:sp>
        <p:pic>
          <p:nvPicPr>
            <p:cNvPr id="1026" name="Picture 2" descr="C:\Users\Jordan\Desktop\kraft logo.png"/>
            <p:cNvPicPr>
              <a:picLocks noChangeAspect="1" noChangeArrowheads="1"/>
            </p:cNvPicPr>
            <p:nvPr/>
          </p:nvPicPr>
          <p:blipFill>
            <a:blip r:embed="rId49">
              <a:extLst>
                <a:ext uri="{BEBA8EAE-BF5A-486C-A8C5-ECC9F3942E4B}">
                  <a14:imgProps xmlns:a14="http://schemas.microsoft.com/office/drawing/2010/main">
                    <a14:imgLayer r:embed="rId5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6240581" y="4218844"/>
              <a:ext cx="1175345" cy="45054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0" name="Press Quote-1"/>
          <p:cNvGrpSpPr/>
          <p:nvPr/>
        </p:nvGrpSpPr>
        <p:grpSpPr>
          <a:xfrm>
            <a:off x="372811" y="511496"/>
            <a:ext cx="2564907" cy="1920240"/>
            <a:chOff x="372810" y="511496"/>
            <a:chExt cx="2564907" cy="1920240"/>
          </a:xfrm>
        </p:grpSpPr>
        <p:sp>
          <p:nvSpPr>
            <p:cNvPr id="47" name="Rectangle 46"/>
            <p:cNvSpPr/>
            <p:nvPr/>
          </p:nvSpPr>
          <p:spPr>
            <a:xfrm>
              <a:off x="372810" y="511496"/>
              <a:ext cx="2564907" cy="1920240"/>
            </a:xfrm>
            <a:prstGeom prst="rect">
              <a:avLst/>
            </a:prstGeom>
            <a:solidFill>
              <a:srgbClr val="6BBD46"/>
            </a:solidFill>
            <a:ln w="2540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57148" indent="-57148" defTabSz="685609" fontAlgn="base">
                <a:lnSpc>
                  <a:spcPct val="90000"/>
                </a:lnSpc>
                <a:spcBef>
                  <a:spcPts val="450"/>
                </a:spcBef>
                <a:spcAft>
                  <a:spcPct val="0"/>
                </a:spcAft>
              </a:pPr>
              <a:r>
                <a:rPr lang="en-US" sz="1200" b="1" kern="0" dirty="0">
                  <a:solidFill>
                    <a:srgbClr val="FFFFFF">
                      <a:alpha val="99000"/>
                    </a:srgbClr>
                  </a:solidFill>
                </a:rPr>
                <a:t>“From a conceptual point of view, though, I do like the direction Microsoft is taking Windows Phone 7. Breaking down barriers between search data and apps is smart.”</a:t>
              </a:r>
            </a:p>
            <a:p>
              <a:pPr marL="57148" indent="-57148" defTabSz="685609" fontAlgn="base">
                <a:lnSpc>
                  <a:spcPct val="90000"/>
                </a:lnSpc>
                <a:spcBef>
                  <a:spcPts val="450"/>
                </a:spcBef>
                <a:spcAft>
                  <a:spcPct val="0"/>
                </a:spcAft>
              </a:pPr>
              <a:endParaRPr lang="en-US" sz="1200" b="1" kern="0" dirty="0">
                <a:solidFill>
                  <a:srgbClr val="FFFFFF">
                    <a:alpha val="99000"/>
                  </a:srgbClr>
                </a:solidFill>
              </a:endParaRPr>
            </a:p>
            <a:p>
              <a:pPr marL="57148" indent="-57148" algn="r" defTabSz="685609" fontAlgn="base">
                <a:lnSpc>
                  <a:spcPct val="90000"/>
                </a:lnSpc>
                <a:spcBef>
                  <a:spcPts val="450"/>
                </a:spcBef>
                <a:spcAft>
                  <a:spcPct val="0"/>
                </a:spcAft>
              </a:pPr>
              <a:r>
                <a:rPr lang="en-US" sz="1200" kern="0" dirty="0">
                  <a:solidFill>
                    <a:srgbClr val="FFFFFF">
                      <a:alpha val="99000"/>
                    </a:srgbClr>
                  </a:solidFill>
                </a:rPr>
                <a:t>– Lance Ulanoff</a:t>
              </a:r>
            </a:p>
          </p:txBody>
        </p:sp>
        <p:pic>
          <p:nvPicPr>
            <p:cNvPr id="52" name="Picture 51"/>
            <p:cNvPicPr>
              <a:picLocks noChangeAspect="1"/>
            </p:cNvPicPr>
            <p:nvPr/>
          </p:nvPicPr>
          <p:blipFill>
            <a:blip r:embed="rId51" cstate="print">
              <a:extLst>
                <a:ext uri="{28A0092B-C50C-407E-A947-70E740481C1C}">
                  <a14:useLocalDpi xmlns:a14="http://schemas.microsoft.com/office/drawing/2010/main" val="0"/>
                </a:ext>
              </a:extLst>
            </a:blip>
            <a:stretch>
              <a:fillRect/>
            </a:stretch>
          </p:blipFill>
          <p:spPr>
            <a:xfrm>
              <a:off x="534988" y="2089977"/>
              <a:ext cx="234246" cy="301680"/>
            </a:xfrm>
            <a:prstGeom prst="rect">
              <a:avLst/>
            </a:prstGeom>
          </p:spPr>
        </p:pic>
      </p:grpSp>
      <p:grpSp>
        <p:nvGrpSpPr>
          <p:cNvPr id="61" name="Press Quote-2"/>
          <p:cNvGrpSpPr/>
          <p:nvPr/>
        </p:nvGrpSpPr>
        <p:grpSpPr>
          <a:xfrm>
            <a:off x="372812" y="2735414"/>
            <a:ext cx="2564907" cy="1920240"/>
            <a:chOff x="372811" y="2735414"/>
            <a:chExt cx="2564907" cy="1920240"/>
          </a:xfrm>
        </p:grpSpPr>
        <p:sp>
          <p:nvSpPr>
            <p:cNvPr id="50" name="Rectangle 49"/>
            <p:cNvSpPr/>
            <p:nvPr/>
          </p:nvSpPr>
          <p:spPr>
            <a:xfrm>
              <a:off x="372811" y="2735414"/>
              <a:ext cx="2564907" cy="1920240"/>
            </a:xfrm>
            <a:prstGeom prst="rect">
              <a:avLst/>
            </a:prstGeom>
            <a:solidFill>
              <a:srgbClr val="6BBD46"/>
            </a:solidFill>
            <a:ln w="2540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57148" indent="-57148" defTabSz="685609" fontAlgn="base">
                <a:lnSpc>
                  <a:spcPct val="90000"/>
                </a:lnSpc>
                <a:spcBef>
                  <a:spcPts val="450"/>
                </a:spcBef>
                <a:spcAft>
                  <a:spcPct val="0"/>
                </a:spcAft>
              </a:pPr>
              <a:r>
                <a:rPr lang="en-US" sz="1100" b="1" kern="0" dirty="0">
                  <a:solidFill>
                    <a:srgbClr val="FFFFFF">
                      <a:alpha val="99000"/>
                    </a:srgbClr>
                  </a:solidFill>
                </a:rPr>
                <a:t>“I find Windows Phone 7 to be rock solid stable, fluid and fun, and something developers seem to be embracing with an ever increasing Marketplace…  These improvements, … show that Microsoft is serious about making Windows Phone a fabulous mobile platform.”            </a:t>
              </a:r>
            </a:p>
            <a:p>
              <a:pPr marL="57148" indent="-57148" algn="r" defTabSz="685609" fontAlgn="base">
                <a:lnSpc>
                  <a:spcPct val="90000"/>
                </a:lnSpc>
                <a:spcBef>
                  <a:spcPts val="450"/>
                </a:spcBef>
                <a:spcAft>
                  <a:spcPct val="0"/>
                </a:spcAft>
              </a:pPr>
              <a:r>
                <a:rPr lang="en-US" sz="1100" b="1" kern="0" dirty="0">
                  <a:solidFill>
                    <a:srgbClr val="FFFFFF">
                      <a:alpha val="99000"/>
                    </a:srgbClr>
                  </a:solidFill>
                </a:rPr>
                <a:t> </a:t>
              </a:r>
              <a:r>
                <a:rPr lang="en-US" sz="1200" kern="0" dirty="0">
                  <a:solidFill>
                    <a:srgbClr val="FFFFFF">
                      <a:alpha val="99000"/>
                    </a:srgbClr>
                  </a:solidFill>
                </a:rPr>
                <a:t>– Matthew Miller</a:t>
              </a:r>
            </a:p>
          </p:txBody>
        </p:sp>
        <p:pic>
          <p:nvPicPr>
            <p:cNvPr id="1030" name="Picture 6"/>
            <p:cNvPicPr>
              <a:picLocks noChangeAspect="1" noChangeArrowheads="1"/>
            </p:cNvPicPr>
            <p:nvPr/>
          </p:nvPicPr>
          <p:blipFill>
            <a:blip r:embed="rId52" cstate="print">
              <a:extLst>
                <a:ext uri="{28A0092B-C50C-407E-A947-70E740481C1C}">
                  <a14:useLocalDpi xmlns:a14="http://schemas.microsoft.com/office/drawing/2010/main" val="0"/>
                </a:ext>
              </a:extLst>
            </a:blip>
            <a:srcRect/>
            <a:stretch>
              <a:fillRect/>
            </a:stretch>
          </p:blipFill>
          <p:spPr bwMode="auto">
            <a:xfrm>
              <a:off x="534988" y="4226944"/>
              <a:ext cx="609312" cy="4019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63" name="Press Quote-3"/>
          <p:cNvGrpSpPr/>
          <p:nvPr/>
        </p:nvGrpSpPr>
        <p:grpSpPr>
          <a:xfrm>
            <a:off x="3274742" y="513564"/>
            <a:ext cx="2564907" cy="1920240"/>
            <a:chOff x="2121683" y="1797189"/>
            <a:chExt cx="2564907" cy="1920240"/>
          </a:xfrm>
        </p:grpSpPr>
        <p:sp>
          <p:nvSpPr>
            <p:cNvPr id="53" name="Press Quote-3"/>
            <p:cNvSpPr/>
            <p:nvPr/>
          </p:nvSpPr>
          <p:spPr>
            <a:xfrm>
              <a:off x="2121683" y="1797189"/>
              <a:ext cx="2564907" cy="1920240"/>
            </a:xfrm>
            <a:prstGeom prst="rect">
              <a:avLst/>
            </a:prstGeom>
            <a:solidFill>
              <a:srgbClr val="4B8EDC"/>
            </a:solidFill>
            <a:ln w="2540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57148" indent="-57148" defTabSz="685609" fontAlgn="base">
                <a:lnSpc>
                  <a:spcPct val="90000"/>
                </a:lnSpc>
                <a:spcBef>
                  <a:spcPts val="450"/>
                </a:spcBef>
                <a:spcAft>
                  <a:spcPct val="0"/>
                </a:spcAft>
              </a:pPr>
              <a:r>
                <a:rPr lang="en-US" sz="1200" b="1" kern="0" dirty="0">
                  <a:solidFill>
                    <a:srgbClr val="FFFFFF">
                      <a:alpha val="99000"/>
                    </a:srgbClr>
                  </a:solidFill>
                </a:rPr>
                <a:t>“The Mango upgrade takes the simplified user interface of Windows Phone 7, with its big tile-like icons, and pushes things further with some neat features.”</a:t>
              </a:r>
              <a:r>
                <a:rPr lang="en-US" sz="1100" b="1" kern="0" dirty="0">
                  <a:solidFill>
                    <a:srgbClr val="FFFFFF">
                      <a:alpha val="99000"/>
                    </a:srgbClr>
                  </a:solidFill>
                </a:rPr>
                <a:t/>
              </a:r>
              <a:br>
                <a:rPr lang="en-US" sz="1100" b="1" kern="0" dirty="0">
                  <a:solidFill>
                    <a:srgbClr val="FFFFFF">
                      <a:alpha val="99000"/>
                    </a:srgbClr>
                  </a:solidFill>
                </a:rPr>
              </a:br>
              <a:endParaRPr lang="en-US" sz="1100" b="1" kern="0" dirty="0">
                <a:solidFill>
                  <a:srgbClr val="FFFFFF">
                    <a:alpha val="99000"/>
                  </a:srgbClr>
                </a:solidFill>
              </a:endParaRPr>
            </a:p>
            <a:p>
              <a:pPr marL="57148" indent="-57148" defTabSz="685609" fontAlgn="base">
                <a:lnSpc>
                  <a:spcPct val="90000"/>
                </a:lnSpc>
                <a:spcBef>
                  <a:spcPts val="450"/>
                </a:spcBef>
                <a:spcAft>
                  <a:spcPct val="0"/>
                </a:spcAft>
              </a:pPr>
              <a:endParaRPr lang="en-US" sz="1100" b="1" kern="0" dirty="0">
                <a:solidFill>
                  <a:srgbClr val="FFFFFF">
                    <a:alpha val="99000"/>
                  </a:srgbClr>
                </a:solidFill>
              </a:endParaRPr>
            </a:p>
            <a:p>
              <a:pPr marL="57148" indent="-57148" algn="r" defTabSz="685609" fontAlgn="base">
                <a:lnSpc>
                  <a:spcPct val="90000"/>
                </a:lnSpc>
                <a:spcBef>
                  <a:spcPts val="450"/>
                </a:spcBef>
                <a:spcAft>
                  <a:spcPct val="0"/>
                </a:spcAft>
              </a:pPr>
              <a:r>
                <a:rPr lang="en-US" sz="1200" kern="0" dirty="0">
                  <a:solidFill>
                    <a:srgbClr val="FFFFFF">
                      <a:alpha val="99000"/>
                    </a:srgbClr>
                  </a:solidFill>
                </a:rPr>
                <a:t>– Steve Lohr</a:t>
              </a:r>
              <a:endParaRPr lang="en-US" b="1" kern="0" dirty="0">
                <a:solidFill>
                  <a:srgbClr val="FFFFFF">
                    <a:alpha val="99000"/>
                  </a:srgbClr>
                </a:solidFill>
              </a:endParaRPr>
            </a:p>
          </p:txBody>
        </p:sp>
        <p:pic>
          <p:nvPicPr>
            <p:cNvPr id="57" name="Picture 56"/>
            <p:cNvPicPr>
              <a:picLocks noChangeAspect="1"/>
            </p:cNvPicPr>
            <p:nvPr/>
          </p:nvPicPr>
          <p:blipFill>
            <a:blip r:embed="rId53" cstate="print">
              <a:extLst>
                <a:ext uri="{BEBA8EAE-BF5A-486C-A8C5-ECC9F3942E4B}">
                  <a14:imgProps xmlns:a14="http://schemas.microsoft.com/office/drawing/2010/main">
                    <a14:imgLayer r:embed="rId5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231492" y="3360271"/>
              <a:ext cx="1328468" cy="195580"/>
            </a:xfrm>
            <a:prstGeom prst="rect">
              <a:avLst/>
            </a:prstGeom>
          </p:spPr>
        </p:pic>
      </p:grpSp>
      <p:grpSp>
        <p:nvGrpSpPr>
          <p:cNvPr id="127" name="Press Quote-4"/>
          <p:cNvGrpSpPr/>
          <p:nvPr/>
        </p:nvGrpSpPr>
        <p:grpSpPr>
          <a:xfrm>
            <a:off x="3280640" y="2737421"/>
            <a:ext cx="2564907" cy="1920240"/>
            <a:chOff x="3030485" y="2737421"/>
            <a:chExt cx="2564907" cy="1920240"/>
          </a:xfrm>
        </p:grpSpPr>
        <p:sp>
          <p:nvSpPr>
            <p:cNvPr id="56" name="text"/>
            <p:cNvSpPr/>
            <p:nvPr/>
          </p:nvSpPr>
          <p:spPr>
            <a:xfrm>
              <a:off x="3030485" y="2737421"/>
              <a:ext cx="2564907" cy="1920240"/>
            </a:xfrm>
            <a:prstGeom prst="rect">
              <a:avLst/>
            </a:prstGeom>
            <a:solidFill>
              <a:srgbClr val="4B8EDC"/>
            </a:solidFill>
            <a:ln w="25400" cap="flat" cmpd="sng" algn="ctr">
              <a:noFill/>
              <a:prstDash val="solid"/>
              <a:headEnd type="none" w="med" len="med"/>
              <a:tailEnd type="none" w="med" len="med"/>
            </a:ln>
            <a:effectLst/>
          </p:spPr>
          <p:txBody>
            <a:bodyPr vert="horz" wrap="square" lIns="91440" tIns="91440" rIns="0" bIns="91440" numCol="1" rtlCol="0" anchor="t" anchorCtr="0" compatLnSpc="1">
              <a:prstTxWarp prst="textNoShape">
                <a:avLst/>
              </a:prstTxWarp>
            </a:bodyPr>
            <a:lstStyle/>
            <a:p>
              <a:pPr marL="57148" indent="-57148" defTabSz="685609" fontAlgn="base">
                <a:lnSpc>
                  <a:spcPct val="90000"/>
                </a:lnSpc>
                <a:spcBef>
                  <a:spcPts val="450"/>
                </a:spcBef>
                <a:spcAft>
                  <a:spcPct val="0"/>
                </a:spcAft>
              </a:pPr>
              <a:r>
                <a:rPr lang="en-US" sz="1200" b="1" kern="0" dirty="0">
                  <a:solidFill>
                    <a:srgbClr val="FFFFFF">
                      <a:alpha val="99000"/>
                    </a:srgbClr>
                  </a:solidFill>
                </a:rPr>
                <a:t>“Just as exciting as all the new features, Microsoft also announced that it had signed on more hardware partners including Acer, Fujitsu and ZTE. These will join Dell, HTC, LG, Nokia and Samsung.”</a:t>
              </a:r>
              <a:r>
                <a:rPr lang="en-US" sz="900" b="1" kern="0" dirty="0">
                  <a:solidFill>
                    <a:srgbClr val="FFFFFF">
                      <a:alpha val="99000"/>
                    </a:srgbClr>
                  </a:solidFill>
                </a:rPr>
                <a:t/>
              </a:r>
              <a:br>
                <a:rPr lang="en-US" sz="900" b="1" kern="0" dirty="0">
                  <a:solidFill>
                    <a:srgbClr val="FFFFFF">
                      <a:alpha val="99000"/>
                    </a:srgbClr>
                  </a:solidFill>
                </a:rPr>
              </a:br>
              <a:r>
                <a:rPr lang="en-US" sz="1100" kern="0" dirty="0">
                  <a:solidFill>
                    <a:srgbClr val="FFFFFF">
                      <a:alpha val="99000"/>
                    </a:srgbClr>
                  </a:solidFill>
                </a:rPr>
                <a:t>                                 </a:t>
              </a:r>
            </a:p>
            <a:p>
              <a:pPr marL="57148" indent="-57148" defTabSz="685609" fontAlgn="base">
                <a:lnSpc>
                  <a:spcPct val="90000"/>
                </a:lnSpc>
                <a:spcBef>
                  <a:spcPts val="450"/>
                </a:spcBef>
                <a:spcAft>
                  <a:spcPct val="0"/>
                </a:spcAft>
              </a:pPr>
              <a:r>
                <a:rPr lang="en-US" sz="1100" kern="0" dirty="0">
                  <a:solidFill>
                    <a:srgbClr val="FFFFFF">
                      <a:alpha val="99000"/>
                    </a:srgbClr>
                  </a:solidFill>
                </a:rPr>
                <a:t>                                      </a:t>
              </a:r>
              <a:r>
                <a:rPr lang="en-US" sz="1200" kern="0" dirty="0">
                  <a:solidFill>
                    <a:srgbClr val="FFFFFF">
                      <a:alpha val="99000"/>
                    </a:srgbClr>
                  </a:solidFill>
                </a:rPr>
                <a:t>– Marin Perez</a:t>
              </a:r>
            </a:p>
          </p:txBody>
        </p:sp>
        <p:pic>
          <p:nvPicPr>
            <p:cNvPr id="125" name="Picture 124"/>
            <p:cNvPicPr>
              <a:picLocks noChangeAspect="1"/>
            </p:cNvPicPr>
            <p:nvPr/>
          </p:nvPicPr>
          <p:blipFill>
            <a:blip r:embed="rId55">
              <a:extLst>
                <a:ext uri="{BEBA8EAE-BF5A-486C-A8C5-ECC9F3942E4B}">
                  <a14:imgProps xmlns:a14="http://schemas.microsoft.com/office/drawing/2010/main">
                    <a14:imgLayer r:embed="rId56">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3186152" y="4359572"/>
              <a:ext cx="1063923" cy="194917"/>
            </a:xfrm>
            <a:prstGeom prst="rect">
              <a:avLst/>
            </a:prstGeom>
          </p:spPr>
        </p:pic>
      </p:grpSp>
      <p:grpSp>
        <p:nvGrpSpPr>
          <p:cNvPr id="64" name="Press Quote-5"/>
          <p:cNvGrpSpPr/>
          <p:nvPr/>
        </p:nvGrpSpPr>
        <p:grpSpPr>
          <a:xfrm>
            <a:off x="6196769" y="511496"/>
            <a:ext cx="2564907" cy="1920240"/>
            <a:chOff x="5319682" y="2540321"/>
            <a:chExt cx="2564907" cy="1920240"/>
          </a:xfrm>
        </p:grpSpPr>
        <p:sp>
          <p:nvSpPr>
            <p:cNvPr id="59" name="Rectangle 58"/>
            <p:cNvSpPr/>
            <p:nvPr/>
          </p:nvSpPr>
          <p:spPr>
            <a:xfrm>
              <a:off x="5319682" y="2540321"/>
              <a:ext cx="2564907" cy="1920240"/>
            </a:xfrm>
            <a:prstGeom prst="rect">
              <a:avLst/>
            </a:prstGeom>
            <a:solidFill>
              <a:schemeClr val="accent1"/>
            </a:solidFill>
            <a:ln w="2540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57148" indent="-57148" defTabSz="685609" fontAlgn="base">
                <a:lnSpc>
                  <a:spcPct val="90000"/>
                </a:lnSpc>
                <a:spcBef>
                  <a:spcPts val="450"/>
                </a:spcBef>
                <a:spcAft>
                  <a:spcPct val="0"/>
                </a:spcAft>
              </a:pPr>
              <a:r>
                <a:rPr lang="en-US" sz="1100" b="1" kern="0" dirty="0">
                  <a:solidFill>
                    <a:srgbClr val="FFFFFF">
                      <a:alpha val="99000"/>
                    </a:srgbClr>
                  </a:solidFill>
                </a:rPr>
                <a:t>“A phone that tries to do everything Microsoft does could have ended up feeling like a multipurpose tool that slices, dices and sits unused  in the kitchen drawer. Instead, …Windows Phone code-named Mango seemed to work together like organs in a body.”                        </a:t>
              </a:r>
            </a:p>
            <a:p>
              <a:pPr marL="57148" indent="-57148" algn="r" defTabSz="685609" fontAlgn="base">
                <a:lnSpc>
                  <a:spcPct val="90000"/>
                </a:lnSpc>
                <a:spcBef>
                  <a:spcPts val="450"/>
                </a:spcBef>
                <a:spcAft>
                  <a:spcPct val="0"/>
                </a:spcAft>
              </a:pPr>
              <a:r>
                <a:rPr lang="en-US" sz="1200" kern="0" dirty="0">
                  <a:solidFill>
                    <a:srgbClr val="FFFFFF">
                      <a:alpha val="99000"/>
                    </a:srgbClr>
                  </a:solidFill>
                </a:rPr>
                <a:t>– Sharon Chan</a:t>
              </a:r>
            </a:p>
          </p:txBody>
        </p:sp>
        <p:pic>
          <p:nvPicPr>
            <p:cNvPr id="1028" name="Picture 4"/>
            <p:cNvPicPr>
              <a:picLocks noChangeAspect="1" noChangeArrowheads="1"/>
            </p:cNvPicPr>
            <p:nvPr/>
          </p:nvPicPr>
          <p:blipFill rotWithShape="1">
            <a:blip r:embed="rId57" cstate="print">
              <a:extLst>
                <a:ext uri="{28A0092B-C50C-407E-A947-70E740481C1C}">
                  <a14:useLocalDpi xmlns:a14="http://schemas.microsoft.com/office/drawing/2010/main" val="0"/>
                </a:ext>
              </a:extLst>
            </a:blip>
            <a:srcRect b="25620"/>
            <a:stretch/>
          </p:blipFill>
          <p:spPr bwMode="auto">
            <a:xfrm>
              <a:off x="5513233" y="4098862"/>
              <a:ext cx="1259457" cy="3247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62" name="Press Quote-6"/>
          <p:cNvSpPr/>
          <p:nvPr/>
        </p:nvSpPr>
        <p:spPr>
          <a:xfrm>
            <a:off x="6197994" y="2744804"/>
            <a:ext cx="2564907" cy="1920240"/>
          </a:xfrm>
          <a:prstGeom prst="rect">
            <a:avLst/>
          </a:prstGeom>
          <a:solidFill>
            <a:schemeClr val="accent1"/>
          </a:solidFill>
          <a:ln w="25400" cap="flat" cmpd="sng" algn="ctr">
            <a:noFill/>
            <a:prstDash val="solid"/>
            <a:headEnd type="none" w="med" len="med"/>
            <a:tailEnd type="none" w="med" len="med"/>
          </a:ln>
          <a:effectLst/>
        </p:spPr>
        <p:txBody>
          <a:bodyPr vert="horz" wrap="square" lIns="91436" tIns="91436" rIns="91436" bIns="91436" numCol="1" rtlCol="0" anchor="t" anchorCtr="0" compatLnSpc="1">
            <a:prstTxWarp prst="textNoShape">
              <a:avLst/>
            </a:prstTxWarp>
          </a:bodyPr>
          <a:lstStyle/>
          <a:p>
            <a:pPr marL="57148" indent="-57148" defTabSz="685609" fontAlgn="base">
              <a:lnSpc>
                <a:spcPct val="90000"/>
              </a:lnSpc>
              <a:spcBef>
                <a:spcPts val="450"/>
              </a:spcBef>
              <a:spcAft>
                <a:spcPct val="0"/>
              </a:spcAft>
            </a:pPr>
            <a:r>
              <a:rPr lang="en-US" sz="1200" b="1" kern="0" dirty="0">
                <a:solidFill>
                  <a:srgbClr val="FFFFFF">
                    <a:alpha val="99000"/>
                  </a:srgbClr>
                </a:solidFill>
              </a:rPr>
              <a:t>“Mango will be the most significant </a:t>
            </a:r>
            <a:br>
              <a:rPr lang="en-US" sz="1200" b="1" kern="0" dirty="0">
                <a:solidFill>
                  <a:srgbClr val="FFFFFF">
                    <a:alpha val="99000"/>
                  </a:srgbClr>
                </a:solidFill>
              </a:rPr>
            </a:br>
            <a:r>
              <a:rPr lang="en-US" sz="1200" b="1" kern="0" dirty="0">
                <a:solidFill>
                  <a:srgbClr val="FFFFFF">
                    <a:alpha val="99000"/>
                  </a:srgbClr>
                </a:solidFill>
              </a:rPr>
              <a:t>update to Microsoft's smartphone platform since the arrival of Windows Phone 7."</a:t>
            </a:r>
            <a:r>
              <a:rPr lang="en-US" b="1" kern="0" dirty="0" smtClean="0">
                <a:solidFill>
                  <a:srgbClr val="FFFFFF">
                    <a:alpha val="99000"/>
                  </a:srgbClr>
                </a:solidFill>
              </a:rPr>
              <a:t/>
            </a:r>
            <a:br>
              <a:rPr lang="en-US" b="1" kern="0" dirty="0" smtClean="0">
                <a:solidFill>
                  <a:srgbClr val="FFFFFF">
                    <a:alpha val="99000"/>
                  </a:srgbClr>
                </a:solidFill>
              </a:rPr>
            </a:br>
            <a:r>
              <a:rPr lang="en-US" sz="1100" b="1" kern="0" dirty="0">
                <a:solidFill>
                  <a:srgbClr val="FFFFFF">
                    <a:alpha val="99000"/>
                  </a:srgbClr>
                </a:solidFill>
              </a:rPr>
              <a:t/>
            </a:r>
            <a:br>
              <a:rPr lang="en-US" sz="1100" b="1" kern="0" dirty="0">
                <a:solidFill>
                  <a:srgbClr val="FFFFFF">
                    <a:alpha val="99000"/>
                  </a:srgbClr>
                </a:solidFill>
              </a:rPr>
            </a:br>
            <a:r>
              <a:rPr lang="en-US" sz="1100" b="1" kern="0" dirty="0">
                <a:solidFill>
                  <a:srgbClr val="FFFFFF">
                    <a:alpha val="99000"/>
                  </a:srgbClr>
                </a:solidFill>
              </a:rPr>
              <a:t/>
            </a:r>
            <a:br>
              <a:rPr lang="en-US" sz="1100" b="1" kern="0" dirty="0">
                <a:solidFill>
                  <a:srgbClr val="FFFFFF">
                    <a:alpha val="99000"/>
                  </a:srgbClr>
                </a:solidFill>
              </a:rPr>
            </a:br>
            <a:endParaRPr lang="en-US" sz="1200" kern="0" dirty="0">
              <a:solidFill>
                <a:srgbClr val="FFFFFF">
                  <a:alpha val="99000"/>
                </a:srgbClr>
              </a:solidFill>
            </a:endParaRPr>
          </a:p>
          <a:p>
            <a:pPr algn="r" defTabSz="685609" fontAlgn="base">
              <a:lnSpc>
                <a:spcPct val="90000"/>
              </a:lnSpc>
              <a:spcBef>
                <a:spcPts val="450"/>
              </a:spcBef>
              <a:spcAft>
                <a:spcPct val="0"/>
              </a:spcAft>
            </a:pPr>
            <a:r>
              <a:rPr lang="en-US" sz="1200" kern="0" dirty="0">
                <a:solidFill>
                  <a:srgbClr val="FFFFFF">
                    <a:alpha val="99000"/>
                  </a:srgbClr>
                </a:solidFill>
              </a:rPr>
              <a:t>– Rob </a:t>
            </a:r>
            <a:r>
              <a:rPr lang="en-US" sz="1200" kern="0" dirty="0" err="1">
                <a:solidFill>
                  <a:srgbClr val="FFFFFF">
                    <a:alpha val="99000"/>
                  </a:srgbClr>
                </a:solidFill>
              </a:rPr>
              <a:t>Sinfilippo</a:t>
            </a:r>
            <a:r>
              <a:rPr lang="en-US" sz="1200" kern="0" dirty="0">
                <a:solidFill>
                  <a:srgbClr val="FFFFFF">
                    <a:alpha val="99000"/>
                  </a:srgbClr>
                </a:solidFill>
              </a:rPr>
              <a:t/>
            </a:r>
            <a:br>
              <a:rPr lang="en-US" sz="1200" kern="0" dirty="0">
                <a:solidFill>
                  <a:srgbClr val="FFFFFF">
                    <a:alpha val="99000"/>
                  </a:srgbClr>
                </a:solidFill>
              </a:rPr>
            </a:br>
            <a:r>
              <a:rPr lang="en-US" sz="800" kern="0" dirty="0">
                <a:solidFill>
                  <a:srgbClr val="FFFFFF">
                    <a:alpha val="99000"/>
                  </a:srgbClr>
                </a:solidFill>
              </a:rPr>
              <a:t/>
            </a:r>
            <a:br>
              <a:rPr lang="en-US" sz="800" kern="0" dirty="0">
                <a:solidFill>
                  <a:srgbClr val="FFFFFF">
                    <a:alpha val="99000"/>
                  </a:srgbClr>
                </a:solidFill>
              </a:rPr>
            </a:br>
            <a:r>
              <a:rPr lang="en-US" sz="1100" b="1" i="1" kern="0" dirty="0">
                <a:solidFill>
                  <a:srgbClr val="FFFFFF">
                    <a:alpha val="99000"/>
                  </a:srgbClr>
                </a:solidFill>
              </a:rPr>
              <a:t>Direction on Microsoft, in V3.co.uk</a:t>
            </a:r>
          </a:p>
        </p:txBody>
      </p:sp>
      <p:sp>
        <p:nvSpPr>
          <p:cNvPr id="119" name="Rectangle 118"/>
          <p:cNvSpPr/>
          <p:nvPr/>
        </p:nvSpPr>
        <p:spPr bwMode="auto">
          <a:xfrm>
            <a:off x="-1" y="2001932"/>
            <a:ext cx="9154391" cy="1149723"/>
          </a:xfrm>
          <a:prstGeom prst="rect">
            <a:avLst/>
          </a:prstGeom>
          <a:solidFill>
            <a:schemeClr val="accent1"/>
          </a:solidFill>
          <a:ln>
            <a:noFill/>
            <a:headEnd type="none" w="med" len="med"/>
            <a:tailEnd type="none" w="med" len="med"/>
          </a:ln>
          <a:effectLst/>
        </p:spPr>
        <p:style>
          <a:lnRef idx="3">
            <a:schemeClr val="lt1"/>
          </a:lnRef>
          <a:fillRef idx="1">
            <a:schemeClr val="accent6"/>
          </a:fillRef>
          <a:effectRef idx="1">
            <a:schemeClr val="accent6"/>
          </a:effectRef>
          <a:fontRef idx="minor">
            <a:schemeClr val="lt1"/>
          </a:fontRef>
        </p:style>
        <p:txBody>
          <a:bodyPr vert="horz" wrap="square" lIns="68516" tIns="34256" rIns="68516" bIns="34256" numCol="1" rtlCol="0" anchor="ctr" anchorCtr="0" compatLnSpc="1">
            <a:prstTxWarp prst="textNoShape">
              <a:avLst/>
            </a:prstTxWarp>
          </a:bodyPr>
          <a:lstStyle/>
          <a:p>
            <a:pPr algn="ctr" defTabSz="684995" fontAlgn="base">
              <a:spcBef>
                <a:spcPct val="0"/>
              </a:spcBef>
              <a:spcAft>
                <a:spcPct val="0"/>
              </a:spcAft>
            </a:pPr>
            <a:endParaRPr lang="en-US" sz="3300" dirty="0">
              <a:solidFill>
                <a:srgbClr val="FFFFFF"/>
              </a:solidFill>
            </a:endParaRPr>
          </a:p>
        </p:txBody>
      </p:sp>
      <p:sp>
        <p:nvSpPr>
          <p:cNvPr id="120" name="8000 apps"/>
          <p:cNvSpPr/>
          <p:nvPr/>
        </p:nvSpPr>
        <p:spPr>
          <a:xfrm>
            <a:off x="-99535" y="2151752"/>
            <a:ext cx="9286714" cy="838627"/>
          </a:xfrm>
          <a:prstGeom prst="rect">
            <a:avLst/>
          </a:prstGeom>
        </p:spPr>
        <p:txBody>
          <a:bodyPr wrap="none" lIns="68519" tIns="34258" rIns="68519" bIns="34258">
            <a:spAutoFit/>
          </a:bodyPr>
          <a:lstStyle/>
          <a:p>
            <a:pPr algn="ctr" defTabSz="684995" fontAlgn="base">
              <a:spcBef>
                <a:spcPct val="0"/>
              </a:spcBef>
              <a:spcAft>
                <a:spcPct val="0"/>
              </a:spcAft>
            </a:pPr>
            <a:r>
              <a:rPr lang="en-US" sz="5000" b="1" dirty="0">
                <a:solidFill>
                  <a:srgbClr val="FFFFFF"/>
                </a:solidFill>
                <a:latin typeface="+mj-lt"/>
              </a:rPr>
              <a:t>100,000 Windows Phone Apps</a:t>
            </a:r>
            <a:endParaRPr lang="en-US" sz="5000" b="1" dirty="0">
              <a:solidFill>
                <a:srgbClr val="FFFFFF"/>
              </a:solidFill>
              <a:latin typeface="+mj-lt"/>
            </a:endParaRPr>
          </a:p>
        </p:txBody>
      </p:sp>
      <p:sp>
        <p:nvSpPr>
          <p:cNvPr id="118"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21"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58"/>
              </a:rPr>
              <a:t>www.rapidbbs.cn</a:t>
            </a:r>
            <a:endParaRPr lang="zh-CN" altLang="en-US" sz="1200" b="0">
              <a:latin typeface="Arial" charset="0"/>
              <a:ea typeface="ＭＳ Ｐゴシック" pitchFamily="34" charset="-128"/>
            </a:endParaRPr>
          </a:p>
        </p:txBody>
      </p:sp>
      <p:pic>
        <p:nvPicPr>
          <p:cNvPr id="122" name="Picture 2">
            <a:hlinkClick r:id="rId58"/>
          </p:cNvPr>
          <p:cNvPicPr>
            <a:picLocks noChangeAspect="1" noChangeArrowheads="1"/>
          </p:cNvPicPr>
          <p:nvPr/>
        </p:nvPicPr>
        <p:blipFill>
          <a:blip r:embed="rId59">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749653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0"/>
                                        </p:tgtEl>
                                        <p:attrNameLst>
                                          <p:attrName>style.visibility</p:attrName>
                                        </p:attrNameLst>
                                      </p:cBhvr>
                                      <p:to>
                                        <p:strVal val="visible"/>
                                      </p:to>
                                    </p:set>
                                    <p:animEffect transition="in" filter="fade">
                                      <p:cBhvr>
                                        <p:cTn id="7" dur="250"/>
                                        <p:tgtEl>
                                          <p:spTgt spid="60"/>
                                        </p:tgtEl>
                                      </p:cBhvr>
                                    </p:animEffect>
                                  </p:childTnLst>
                                </p:cTn>
                              </p:par>
                              <p:par>
                                <p:cTn id="8" presetID="10" presetClass="entr" presetSubtype="0" fill="hold" nodeType="withEffect">
                                  <p:stCondLst>
                                    <p:cond delay="0"/>
                                  </p:stCondLst>
                                  <p:childTnLst>
                                    <p:set>
                                      <p:cBhvr>
                                        <p:cTn id="9" dur="1" fill="hold">
                                          <p:stCondLst>
                                            <p:cond delay="0"/>
                                          </p:stCondLst>
                                        </p:cTn>
                                        <p:tgtEl>
                                          <p:spTgt spid="61"/>
                                        </p:tgtEl>
                                        <p:attrNameLst>
                                          <p:attrName>style.visibility</p:attrName>
                                        </p:attrNameLst>
                                      </p:cBhvr>
                                      <p:to>
                                        <p:strVal val="visible"/>
                                      </p:to>
                                    </p:set>
                                    <p:animEffect transition="in" filter="fade">
                                      <p:cBhvr>
                                        <p:cTn id="10" dur="250"/>
                                        <p:tgtEl>
                                          <p:spTgt spid="61"/>
                                        </p:tgtEl>
                                      </p:cBhvr>
                                    </p:animEffect>
                                  </p:childTnLst>
                                </p:cTn>
                              </p:par>
                              <p:par>
                                <p:cTn id="11" presetID="10" presetClass="entr" presetSubtype="0" fill="hold" nodeType="withEffect">
                                  <p:stCondLst>
                                    <p:cond delay="0"/>
                                  </p:stCondLst>
                                  <p:childTnLst>
                                    <p:set>
                                      <p:cBhvr>
                                        <p:cTn id="12" dur="1" fill="hold">
                                          <p:stCondLst>
                                            <p:cond delay="0"/>
                                          </p:stCondLst>
                                        </p:cTn>
                                        <p:tgtEl>
                                          <p:spTgt spid="63"/>
                                        </p:tgtEl>
                                        <p:attrNameLst>
                                          <p:attrName>style.visibility</p:attrName>
                                        </p:attrNameLst>
                                      </p:cBhvr>
                                      <p:to>
                                        <p:strVal val="visible"/>
                                      </p:to>
                                    </p:set>
                                    <p:animEffect transition="in" filter="fade">
                                      <p:cBhvr>
                                        <p:cTn id="13" dur="250"/>
                                        <p:tgtEl>
                                          <p:spTgt spid="63"/>
                                        </p:tgtEl>
                                      </p:cBhvr>
                                    </p:animEffect>
                                  </p:childTnLst>
                                </p:cTn>
                              </p:par>
                              <p:par>
                                <p:cTn id="14" presetID="10" presetClass="entr" presetSubtype="0" fill="hold" nodeType="withEffect">
                                  <p:stCondLst>
                                    <p:cond delay="0"/>
                                  </p:stCondLst>
                                  <p:childTnLst>
                                    <p:set>
                                      <p:cBhvr>
                                        <p:cTn id="15" dur="1" fill="hold">
                                          <p:stCondLst>
                                            <p:cond delay="0"/>
                                          </p:stCondLst>
                                        </p:cTn>
                                        <p:tgtEl>
                                          <p:spTgt spid="127"/>
                                        </p:tgtEl>
                                        <p:attrNameLst>
                                          <p:attrName>style.visibility</p:attrName>
                                        </p:attrNameLst>
                                      </p:cBhvr>
                                      <p:to>
                                        <p:strVal val="visible"/>
                                      </p:to>
                                    </p:set>
                                    <p:animEffect transition="in" filter="fade">
                                      <p:cBhvr>
                                        <p:cTn id="16" dur="250"/>
                                        <p:tgtEl>
                                          <p:spTgt spid="127"/>
                                        </p:tgtEl>
                                      </p:cBhvr>
                                    </p:animEffect>
                                  </p:childTnLst>
                                </p:cTn>
                              </p:par>
                              <p:par>
                                <p:cTn id="17" presetID="10" presetClass="entr" presetSubtype="0" fill="hold" nodeType="withEffect">
                                  <p:stCondLst>
                                    <p:cond delay="0"/>
                                  </p:stCondLst>
                                  <p:childTnLst>
                                    <p:set>
                                      <p:cBhvr>
                                        <p:cTn id="18" dur="1" fill="hold">
                                          <p:stCondLst>
                                            <p:cond delay="0"/>
                                          </p:stCondLst>
                                        </p:cTn>
                                        <p:tgtEl>
                                          <p:spTgt spid="64"/>
                                        </p:tgtEl>
                                        <p:attrNameLst>
                                          <p:attrName>style.visibility</p:attrName>
                                        </p:attrNameLst>
                                      </p:cBhvr>
                                      <p:to>
                                        <p:strVal val="visible"/>
                                      </p:to>
                                    </p:set>
                                    <p:animEffect transition="in" filter="fade">
                                      <p:cBhvr>
                                        <p:cTn id="19" dur="250"/>
                                        <p:tgtEl>
                                          <p:spTgt spid="64"/>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62"/>
                                        </p:tgtEl>
                                        <p:attrNameLst>
                                          <p:attrName>style.visibility</p:attrName>
                                        </p:attrNameLst>
                                      </p:cBhvr>
                                      <p:to>
                                        <p:strVal val="visible"/>
                                      </p:to>
                                    </p:set>
                                    <p:animEffect transition="in" filter="fade">
                                      <p:cBhvr>
                                        <p:cTn id="22" dur="250"/>
                                        <p:tgtEl>
                                          <p:spTgt spid="62"/>
                                        </p:tgtEl>
                                      </p:cBhvr>
                                    </p:animEffect>
                                  </p:childTnLst>
                                </p:cTn>
                              </p:par>
                            </p:childTnLst>
                          </p:cTn>
                        </p:par>
                      </p:childTnLst>
                    </p:cTn>
                  </p:par>
                  <p:par>
                    <p:cTn id="23" fill="hold">
                      <p:stCondLst>
                        <p:cond delay="indefinite"/>
                      </p:stCondLst>
                      <p:childTnLst>
                        <p:par>
                          <p:cTn id="24" fill="hold">
                            <p:stCondLst>
                              <p:cond delay="0"/>
                            </p:stCondLst>
                            <p:childTnLst>
                              <p:par>
                                <p:cTn id="25" presetID="45" presetClass="exit" presetSubtype="0" fill="hold" nodeType="clickEffect">
                                  <p:stCondLst>
                                    <p:cond delay="0"/>
                                  </p:stCondLst>
                                  <p:childTnLst>
                                    <p:animEffect transition="out" filter="fade">
                                      <p:cBhvr>
                                        <p:cTn id="26" dur="1250"/>
                                        <p:tgtEl>
                                          <p:spTgt spid="60"/>
                                        </p:tgtEl>
                                      </p:cBhvr>
                                    </p:animEffect>
                                    <p:anim calcmode="lin" valueType="num">
                                      <p:cBhvr>
                                        <p:cTn id="27" dur="1250"/>
                                        <p:tgtEl>
                                          <p:spTgt spid="60"/>
                                        </p:tgtEl>
                                        <p:attrNameLst>
                                          <p:attrName>ppt_w</p:attrName>
                                        </p:attrNameLst>
                                      </p:cBhvr>
                                      <p:tavLst>
                                        <p:tav tm="0">
                                          <p:val>
                                            <p:strVal val="ppt_w"/>
                                          </p:val>
                                        </p:tav>
                                        <p:tav tm="5000">
                                          <p:val>
                                            <p:strVal val="0.92*ppt_w"/>
                                          </p:val>
                                        </p:tav>
                                        <p:tav tm="10000">
                                          <p:val>
                                            <p:strVal val="0.71*ppt_w"/>
                                          </p:val>
                                        </p:tav>
                                        <p:tav tm="15000">
                                          <p:val>
                                            <p:strVal val="0.38*ppt_w"/>
                                          </p:val>
                                        </p:tav>
                                        <p:tav tm="20000">
                                          <p:val>
                                            <p:fltVal val="0"/>
                                          </p:val>
                                        </p:tav>
                                        <p:tav tm="25000">
                                          <p:val>
                                            <p:strVal val="-0.38*ppt_w"/>
                                          </p:val>
                                        </p:tav>
                                        <p:tav tm="30000">
                                          <p:val>
                                            <p:strVal val="-0.71*ppt_w"/>
                                          </p:val>
                                        </p:tav>
                                        <p:tav tm="35000">
                                          <p:val>
                                            <p:strVal val="-0.92*ppt_w"/>
                                          </p:val>
                                        </p:tav>
                                        <p:tav tm="40000">
                                          <p:val>
                                            <p:strVal val="-ppt_w"/>
                                          </p:val>
                                        </p:tav>
                                        <p:tav tm="45000">
                                          <p:val>
                                            <p:strVal val="-0.92*ppt_w"/>
                                          </p:val>
                                        </p:tav>
                                        <p:tav tm="50000">
                                          <p:val>
                                            <p:strVal val="-0.71*ppt_w"/>
                                          </p:val>
                                        </p:tav>
                                        <p:tav tm="55000">
                                          <p:val>
                                            <p:strVal val="-0.38*ppt_w"/>
                                          </p:val>
                                        </p:tav>
                                        <p:tav tm="60000">
                                          <p:val>
                                            <p:fltVal val="0"/>
                                          </p:val>
                                        </p:tav>
                                        <p:tav tm="65000">
                                          <p:val>
                                            <p:strVal val="0.38*ppt_w"/>
                                          </p:val>
                                        </p:tav>
                                        <p:tav tm="70000">
                                          <p:val>
                                            <p:strVal val="0.71*ppt_w"/>
                                          </p:val>
                                        </p:tav>
                                        <p:tav tm="75000">
                                          <p:val>
                                            <p:strVal val="0.92*ppt_w"/>
                                          </p:val>
                                        </p:tav>
                                        <p:tav tm="80000">
                                          <p:val>
                                            <p:strVal val="ppt_w"/>
                                          </p:val>
                                        </p:tav>
                                        <p:tav tm="85000">
                                          <p:val>
                                            <p:strVal val="0.92*ppt_w"/>
                                          </p:val>
                                        </p:tav>
                                        <p:tav tm="90000">
                                          <p:val>
                                            <p:strVal val="0.71*ppt_w"/>
                                          </p:val>
                                        </p:tav>
                                        <p:tav tm="95000">
                                          <p:val>
                                            <p:strVal val="0.38*ppt_w"/>
                                          </p:val>
                                        </p:tav>
                                        <p:tav tm="100000">
                                          <p:val>
                                            <p:fltVal val="0"/>
                                          </p:val>
                                        </p:tav>
                                      </p:tavLst>
                                    </p:anim>
                                    <p:anim calcmode="lin" valueType="num">
                                      <p:cBhvr>
                                        <p:cTn id="28" dur="1250"/>
                                        <p:tgtEl>
                                          <p:spTgt spid="60"/>
                                        </p:tgtEl>
                                        <p:attrNameLst>
                                          <p:attrName>ppt_h</p:attrName>
                                        </p:attrNameLst>
                                      </p:cBhvr>
                                      <p:tavLst>
                                        <p:tav tm="0">
                                          <p:val>
                                            <p:strVal val="ppt_h"/>
                                          </p:val>
                                        </p:tav>
                                        <p:tav tm="100000">
                                          <p:val>
                                            <p:strVal val="ppt_h"/>
                                          </p:val>
                                        </p:tav>
                                      </p:tavLst>
                                    </p:anim>
                                    <p:set>
                                      <p:cBhvr>
                                        <p:cTn id="29" dur="1" fill="hold">
                                          <p:stCondLst>
                                            <p:cond delay="1249"/>
                                          </p:stCondLst>
                                        </p:cTn>
                                        <p:tgtEl>
                                          <p:spTgt spid="60"/>
                                        </p:tgtEl>
                                        <p:attrNameLst>
                                          <p:attrName>style.visibility</p:attrName>
                                        </p:attrNameLst>
                                      </p:cBhvr>
                                      <p:to>
                                        <p:strVal val="hidden"/>
                                      </p:to>
                                    </p:set>
                                  </p:childTnLst>
                                </p:cTn>
                              </p:par>
                              <p:par>
                                <p:cTn id="30" presetID="45" presetClass="exit" presetSubtype="0" fill="hold" nodeType="withEffect">
                                  <p:stCondLst>
                                    <p:cond delay="0"/>
                                  </p:stCondLst>
                                  <p:childTnLst>
                                    <p:animEffect transition="out" filter="fade">
                                      <p:cBhvr>
                                        <p:cTn id="31" dur="1250"/>
                                        <p:tgtEl>
                                          <p:spTgt spid="61"/>
                                        </p:tgtEl>
                                      </p:cBhvr>
                                    </p:animEffect>
                                    <p:anim calcmode="lin" valueType="num">
                                      <p:cBhvr>
                                        <p:cTn id="32" dur="1250"/>
                                        <p:tgtEl>
                                          <p:spTgt spid="61"/>
                                        </p:tgtEl>
                                        <p:attrNameLst>
                                          <p:attrName>ppt_w</p:attrName>
                                        </p:attrNameLst>
                                      </p:cBhvr>
                                      <p:tavLst>
                                        <p:tav tm="0">
                                          <p:val>
                                            <p:strVal val="ppt_w"/>
                                          </p:val>
                                        </p:tav>
                                        <p:tav tm="5000">
                                          <p:val>
                                            <p:strVal val="0.92*ppt_w"/>
                                          </p:val>
                                        </p:tav>
                                        <p:tav tm="10000">
                                          <p:val>
                                            <p:strVal val="0.71*ppt_w"/>
                                          </p:val>
                                        </p:tav>
                                        <p:tav tm="15000">
                                          <p:val>
                                            <p:strVal val="0.38*ppt_w"/>
                                          </p:val>
                                        </p:tav>
                                        <p:tav tm="20000">
                                          <p:val>
                                            <p:fltVal val="0"/>
                                          </p:val>
                                        </p:tav>
                                        <p:tav tm="25000">
                                          <p:val>
                                            <p:strVal val="-0.38*ppt_w"/>
                                          </p:val>
                                        </p:tav>
                                        <p:tav tm="30000">
                                          <p:val>
                                            <p:strVal val="-0.71*ppt_w"/>
                                          </p:val>
                                        </p:tav>
                                        <p:tav tm="35000">
                                          <p:val>
                                            <p:strVal val="-0.92*ppt_w"/>
                                          </p:val>
                                        </p:tav>
                                        <p:tav tm="40000">
                                          <p:val>
                                            <p:strVal val="-ppt_w"/>
                                          </p:val>
                                        </p:tav>
                                        <p:tav tm="45000">
                                          <p:val>
                                            <p:strVal val="-0.92*ppt_w"/>
                                          </p:val>
                                        </p:tav>
                                        <p:tav tm="50000">
                                          <p:val>
                                            <p:strVal val="-0.71*ppt_w"/>
                                          </p:val>
                                        </p:tav>
                                        <p:tav tm="55000">
                                          <p:val>
                                            <p:strVal val="-0.38*ppt_w"/>
                                          </p:val>
                                        </p:tav>
                                        <p:tav tm="60000">
                                          <p:val>
                                            <p:fltVal val="0"/>
                                          </p:val>
                                        </p:tav>
                                        <p:tav tm="65000">
                                          <p:val>
                                            <p:strVal val="0.38*ppt_w"/>
                                          </p:val>
                                        </p:tav>
                                        <p:tav tm="70000">
                                          <p:val>
                                            <p:strVal val="0.71*ppt_w"/>
                                          </p:val>
                                        </p:tav>
                                        <p:tav tm="75000">
                                          <p:val>
                                            <p:strVal val="0.92*ppt_w"/>
                                          </p:val>
                                        </p:tav>
                                        <p:tav tm="80000">
                                          <p:val>
                                            <p:strVal val="ppt_w"/>
                                          </p:val>
                                        </p:tav>
                                        <p:tav tm="85000">
                                          <p:val>
                                            <p:strVal val="0.92*ppt_w"/>
                                          </p:val>
                                        </p:tav>
                                        <p:tav tm="90000">
                                          <p:val>
                                            <p:strVal val="0.71*ppt_w"/>
                                          </p:val>
                                        </p:tav>
                                        <p:tav tm="95000">
                                          <p:val>
                                            <p:strVal val="0.38*ppt_w"/>
                                          </p:val>
                                        </p:tav>
                                        <p:tav tm="100000">
                                          <p:val>
                                            <p:fltVal val="0"/>
                                          </p:val>
                                        </p:tav>
                                      </p:tavLst>
                                    </p:anim>
                                    <p:anim calcmode="lin" valueType="num">
                                      <p:cBhvr>
                                        <p:cTn id="33" dur="1250"/>
                                        <p:tgtEl>
                                          <p:spTgt spid="61"/>
                                        </p:tgtEl>
                                        <p:attrNameLst>
                                          <p:attrName>ppt_h</p:attrName>
                                        </p:attrNameLst>
                                      </p:cBhvr>
                                      <p:tavLst>
                                        <p:tav tm="0">
                                          <p:val>
                                            <p:strVal val="ppt_h"/>
                                          </p:val>
                                        </p:tav>
                                        <p:tav tm="100000">
                                          <p:val>
                                            <p:strVal val="ppt_h"/>
                                          </p:val>
                                        </p:tav>
                                      </p:tavLst>
                                    </p:anim>
                                    <p:set>
                                      <p:cBhvr>
                                        <p:cTn id="34" dur="1" fill="hold">
                                          <p:stCondLst>
                                            <p:cond delay="1249"/>
                                          </p:stCondLst>
                                        </p:cTn>
                                        <p:tgtEl>
                                          <p:spTgt spid="61"/>
                                        </p:tgtEl>
                                        <p:attrNameLst>
                                          <p:attrName>style.visibility</p:attrName>
                                        </p:attrNameLst>
                                      </p:cBhvr>
                                      <p:to>
                                        <p:strVal val="hidden"/>
                                      </p:to>
                                    </p:set>
                                  </p:childTnLst>
                                </p:cTn>
                              </p:par>
                              <p:par>
                                <p:cTn id="35" presetID="45" presetClass="exit" presetSubtype="0" fill="hold" nodeType="withEffect">
                                  <p:stCondLst>
                                    <p:cond delay="0"/>
                                  </p:stCondLst>
                                  <p:childTnLst>
                                    <p:animEffect transition="out" filter="fade">
                                      <p:cBhvr>
                                        <p:cTn id="36" dur="1250"/>
                                        <p:tgtEl>
                                          <p:spTgt spid="63"/>
                                        </p:tgtEl>
                                      </p:cBhvr>
                                    </p:animEffect>
                                    <p:anim calcmode="lin" valueType="num">
                                      <p:cBhvr>
                                        <p:cTn id="37" dur="1250"/>
                                        <p:tgtEl>
                                          <p:spTgt spid="63"/>
                                        </p:tgtEl>
                                        <p:attrNameLst>
                                          <p:attrName>ppt_w</p:attrName>
                                        </p:attrNameLst>
                                      </p:cBhvr>
                                      <p:tavLst>
                                        <p:tav tm="0">
                                          <p:val>
                                            <p:strVal val="ppt_w"/>
                                          </p:val>
                                        </p:tav>
                                        <p:tav tm="5000">
                                          <p:val>
                                            <p:strVal val="0.92*ppt_w"/>
                                          </p:val>
                                        </p:tav>
                                        <p:tav tm="10000">
                                          <p:val>
                                            <p:strVal val="0.71*ppt_w"/>
                                          </p:val>
                                        </p:tav>
                                        <p:tav tm="15000">
                                          <p:val>
                                            <p:strVal val="0.38*ppt_w"/>
                                          </p:val>
                                        </p:tav>
                                        <p:tav tm="20000">
                                          <p:val>
                                            <p:fltVal val="0"/>
                                          </p:val>
                                        </p:tav>
                                        <p:tav tm="25000">
                                          <p:val>
                                            <p:strVal val="-0.38*ppt_w"/>
                                          </p:val>
                                        </p:tav>
                                        <p:tav tm="30000">
                                          <p:val>
                                            <p:strVal val="-0.71*ppt_w"/>
                                          </p:val>
                                        </p:tav>
                                        <p:tav tm="35000">
                                          <p:val>
                                            <p:strVal val="-0.92*ppt_w"/>
                                          </p:val>
                                        </p:tav>
                                        <p:tav tm="40000">
                                          <p:val>
                                            <p:strVal val="-ppt_w"/>
                                          </p:val>
                                        </p:tav>
                                        <p:tav tm="45000">
                                          <p:val>
                                            <p:strVal val="-0.92*ppt_w"/>
                                          </p:val>
                                        </p:tav>
                                        <p:tav tm="50000">
                                          <p:val>
                                            <p:strVal val="-0.71*ppt_w"/>
                                          </p:val>
                                        </p:tav>
                                        <p:tav tm="55000">
                                          <p:val>
                                            <p:strVal val="-0.38*ppt_w"/>
                                          </p:val>
                                        </p:tav>
                                        <p:tav tm="60000">
                                          <p:val>
                                            <p:fltVal val="0"/>
                                          </p:val>
                                        </p:tav>
                                        <p:tav tm="65000">
                                          <p:val>
                                            <p:strVal val="0.38*ppt_w"/>
                                          </p:val>
                                        </p:tav>
                                        <p:tav tm="70000">
                                          <p:val>
                                            <p:strVal val="0.71*ppt_w"/>
                                          </p:val>
                                        </p:tav>
                                        <p:tav tm="75000">
                                          <p:val>
                                            <p:strVal val="0.92*ppt_w"/>
                                          </p:val>
                                        </p:tav>
                                        <p:tav tm="80000">
                                          <p:val>
                                            <p:strVal val="ppt_w"/>
                                          </p:val>
                                        </p:tav>
                                        <p:tav tm="85000">
                                          <p:val>
                                            <p:strVal val="0.92*ppt_w"/>
                                          </p:val>
                                        </p:tav>
                                        <p:tav tm="90000">
                                          <p:val>
                                            <p:strVal val="0.71*ppt_w"/>
                                          </p:val>
                                        </p:tav>
                                        <p:tav tm="95000">
                                          <p:val>
                                            <p:strVal val="0.38*ppt_w"/>
                                          </p:val>
                                        </p:tav>
                                        <p:tav tm="100000">
                                          <p:val>
                                            <p:fltVal val="0"/>
                                          </p:val>
                                        </p:tav>
                                      </p:tavLst>
                                    </p:anim>
                                    <p:anim calcmode="lin" valueType="num">
                                      <p:cBhvr>
                                        <p:cTn id="38" dur="1250"/>
                                        <p:tgtEl>
                                          <p:spTgt spid="63"/>
                                        </p:tgtEl>
                                        <p:attrNameLst>
                                          <p:attrName>ppt_h</p:attrName>
                                        </p:attrNameLst>
                                      </p:cBhvr>
                                      <p:tavLst>
                                        <p:tav tm="0">
                                          <p:val>
                                            <p:strVal val="ppt_h"/>
                                          </p:val>
                                        </p:tav>
                                        <p:tav tm="100000">
                                          <p:val>
                                            <p:strVal val="ppt_h"/>
                                          </p:val>
                                        </p:tav>
                                      </p:tavLst>
                                    </p:anim>
                                    <p:set>
                                      <p:cBhvr>
                                        <p:cTn id="39" dur="1" fill="hold">
                                          <p:stCondLst>
                                            <p:cond delay="1249"/>
                                          </p:stCondLst>
                                        </p:cTn>
                                        <p:tgtEl>
                                          <p:spTgt spid="63"/>
                                        </p:tgtEl>
                                        <p:attrNameLst>
                                          <p:attrName>style.visibility</p:attrName>
                                        </p:attrNameLst>
                                      </p:cBhvr>
                                      <p:to>
                                        <p:strVal val="hidden"/>
                                      </p:to>
                                    </p:set>
                                  </p:childTnLst>
                                </p:cTn>
                              </p:par>
                              <p:par>
                                <p:cTn id="40" presetID="45" presetClass="exit" presetSubtype="0" fill="hold" nodeType="withEffect">
                                  <p:stCondLst>
                                    <p:cond delay="0"/>
                                  </p:stCondLst>
                                  <p:childTnLst>
                                    <p:animEffect transition="out" filter="fade">
                                      <p:cBhvr>
                                        <p:cTn id="41" dur="1250"/>
                                        <p:tgtEl>
                                          <p:spTgt spid="127"/>
                                        </p:tgtEl>
                                      </p:cBhvr>
                                    </p:animEffect>
                                    <p:anim calcmode="lin" valueType="num">
                                      <p:cBhvr>
                                        <p:cTn id="42" dur="1250"/>
                                        <p:tgtEl>
                                          <p:spTgt spid="127"/>
                                        </p:tgtEl>
                                        <p:attrNameLst>
                                          <p:attrName>ppt_w</p:attrName>
                                        </p:attrNameLst>
                                      </p:cBhvr>
                                      <p:tavLst>
                                        <p:tav tm="0">
                                          <p:val>
                                            <p:strVal val="ppt_w"/>
                                          </p:val>
                                        </p:tav>
                                        <p:tav tm="5000">
                                          <p:val>
                                            <p:strVal val="0.92*ppt_w"/>
                                          </p:val>
                                        </p:tav>
                                        <p:tav tm="10000">
                                          <p:val>
                                            <p:strVal val="0.71*ppt_w"/>
                                          </p:val>
                                        </p:tav>
                                        <p:tav tm="15000">
                                          <p:val>
                                            <p:strVal val="0.38*ppt_w"/>
                                          </p:val>
                                        </p:tav>
                                        <p:tav tm="20000">
                                          <p:val>
                                            <p:fltVal val="0"/>
                                          </p:val>
                                        </p:tav>
                                        <p:tav tm="25000">
                                          <p:val>
                                            <p:strVal val="-0.38*ppt_w"/>
                                          </p:val>
                                        </p:tav>
                                        <p:tav tm="30000">
                                          <p:val>
                                            <p:strVal val="-0.71*ppt_w"/>
                                          </p:val>
                                        </p:tav>
                                        <p:tav tm="35000">
                                          <p:val>
                                            <p:strVal val="-0.92*ppt_w"/>
                                          </p:val>
                                        </p:tav>
                                        <p:tav tm="40000">
                                          <p:val>
                                            <p:strVal val="-ppt_w"/>
                                          </p:val>
                                        </p:tav>
                                        <p:tav tm="45000">
                                          <p:val>
                                            <p:strVal val="-0.92*ppt_w"/>
                                          </p:val>
                                        </p:tav>
                                        <p:tav tm="50000">
                                          <p:val>
                                            <p:strVal val="-0.71*ppt_w"/>
                                          </p:val>
                                        </p:tav>
                                        <p:tav tm="55000">
                                          <p:val>
                                            <p:strVal val="-0.38*ppt_w"/>
                                          </p:val>
                                        </p:tav>
                                        <p:tav tm="60000">
                                          <p:val>
                                            <p:fltVal val="0"/>
                                          </p:val>
                                        </p:tav>
                                        <p:tav tm="65000">
                                          <p:val>
                                            <p:strVal val="0.38*ppt_w"/>
                                          </p:val>
                                        </p:tav>
                                        <p:tav tm="70000">
                                          <p:val>
                                            <p:strVal val="0.71*ppt_w"/>
                                          </p:val>
                                        </p:tav>
                                        <p:tav tm="75000">
                                          <p:val>
                                            <p:strVal val="0.92*ppt_w"/>
                                          </p:val>
                                        </p:tav>
                                        <p:tav tm="80000">
                                          <p:val>
                                            <p:strVal val="ppt_w"/>
                                          </p:val>
                                        </p:tav>
                                        <p:tav tm="85000">
                                          <p:val>
                                            <p:strVal val="0.92*ppt_w"/>
                                          </p:val>
                                        </p:tav>
                                        <p:tav tm="90000">
                                          <p:val>
                                            <p:strVal val="0.71*ppt_w"/>
                                          </p:val>
                                        </p:tav>
                                        <p:tav tm="95000">
                                          <p:val>
                                            <p:strVal val="0.38*ppt_w"/>
                                          </p:val>
                                        </p:tav>
                                        <p:tav tm="100000">
                                          <p:val>
                                            <p:fltVal val="0"/>
                                          </p:val>
                                        </p:tav>
                                      </p:tavLst>
                                    </p:anim>
                                    <p:anim calcmode="lin" valueType="num">
                                      <p:cBhvr>
                                        <p:cTn id="43" dur="1250"/>
                                        <p:tgtEl>
                                          <p:spTgt spid="127"/>
                                        </p:tgtEl>
                                        <p:attrNameLst>
                                          <p:attrName>ppt_h</p:attrName>
                                        </p:attrNameLst>
                                      </p:cBhvr>
                                      <p:tavLst>
                                        <p:tav tm="0">
                                          <p:val>
                                            <p:strVal val="ppt_h"/>
                                          </p:val>
                                        </p:tav>
                                        <p:tav tm="100000">
                                          <p:val>
                                            <p:strVal val="ppt_h"/>
                                          </p:val>
                                        </p:tav>
                                      </p:tavLst>
                                    </p:anim>
                                    <p:set>
                                      <p:cBhvr>
                                        <p:cTn id="44" dur="1" fill="hold">
                                          <p:stCondLst>
                                            <p:cond delay="1249"/>
                                          </p:stCondLst>
                                        </p:cTn>
                                        <p:tgtEl>
                                          <p:spTgt spid="127"/>
                                        </p:tgtEl>
                                        <p:attrNameLst>
                                          <p:attrName>style.visibility</p:attrName>
                                        </p:attrNameLst>
                                      </p:cBhvr>
                                      <p:to>
                                        <p:strVal val="hidden"/>
                                      </p:to>
                                    </p:set>
                                  </p:childTnLst>
                                </p:cTn>
                              </p:par>
                              <p:par>
                                <p:cTn id="45" presetID="45" presetClass="exit" presetSubtype="0" fill="hold" nodeType="withEffect">
                                  <p:stCondLst>
                                    <p:cond delay="0"/>
                                  </p:stCondLst>
                                  <p:childTnLst>
                                    <p:animEffect transition="out" filter="fade">
                                      <p:cBhvr>
                                        <p:cTn id="46" dur="1250"/>
                                        <p:tgtEl>
                                          <p:spTgt spid="64"/>
                                        </p:tgtEl>
                                      </p:cBhvr>
                                    </p:animEffect>
                                    <p:anim calcmode="lin" valueType="num">
                                      <p:cBhvr>
                                        <p:cTn id="47" dur="1250"/>
                                        <p:tgtEl>
                                          <p:spTgt spid="64"/>
                                        </p:tgtEl>
                                        <p:attrNameLst>
                                          <p:attrName>ppt_w</p:attrName>
                                        </p:attrNameLst>
                                      </p:cBhvr>
                                      <p:tavLst>
                                        <p:tav tm="0">
                                          <p:val>
                                            <p:strVal val="ppt_w"/>
                                          </p:val>
                                        </p:tav>
                                        <p:tav tm="5000">
                                          <p:val>
                                            <p:strVal val="0.92*ppt_w"/>
                                          </p:val>
                                        </p:tav>
                                        <p:tav tm="10000">
                                          <p:val>
                                            <p:strVal val="0.71*ppt_w"/>
                                          </p:val>
                                        </p:tav>
                                        <p:tav tm="15000">
                                          <p:val>
                                            <p:strVal val="0.38*ppt_w"/>
                                          </p:val>
                                        </p:tav>
                                        <p:tav tm="20000">
                                          <p:val>
                                            <p:fltVal val="0"/>
                                          </p:val>
                                        </p:tav>
                                        <p:tav tm="25000">
                                          <p:val>
                                            <p:strVal val="-0.38*ppt_w"/>
                                          </p:val>
                                        </p:tav>
                                        <p:tav tm="30000">
                                          <p:val>
                                            <p:strVal val="-0.71*ppt_w"/>
                                          </p:val>
                                        </p:tav>
                                        <p:tav tm="35000">
                                          <p:val>
                                            <p:strVal val="-0.92*ppt_w"/>
                                          </p:val>
                                        </p:tav>
                                        <p:tav tm="40000">
                                          <p:val>
                                            <p:strVal val="-ppt_w"/>
                                          </p:val>
                                        </p:tav>
                                        <p:tav tm="45000">
                                          <p:val>
                                            <p:strVal val="-0.92*ppt_w"/>
                                          </p:val>
                                        </p:tav>
                                        <p:tav tm="50000">
                                          <p:val>
                                            <p:strVal val="-0.71*ppt_w"/>
                                          </p:val>
                                        </p:tav>
                                        <p:tav tm="55000">
                                          <p:val>
                                            <p:strVal val="-0.38*ppt_w"/>
                                          </p:val>
                                        </p:tav>
                                        <p:tav tm="60000">
                                          <p:val>
                                            <p:fltVal val="0"/>
                                          </p:val>
                                        </p:tav>
                                        <p:tav tm="65000">
                                          <p:val>
                                            <p:strVal val="0.38*ppt_w"/>
                                          </p:val>
                                        </p:tav>
                                        <p:tav tm="70000">
                                          <p:val>
                                            <p:strVal val="0.71*ppt_w"/>
                                          </p:val>
                                        </p:tav>
                                        <p:tav tm="75000">
                                          <p:val>
                                            <p:strVal val="0.92*ppt_w"/>
                                          </p:val>
                                        </p:tav>
                                        <p:tav tm="80000">
                                          <p:val>
                                            <p:strVal val="ppt_w"/>
                                          </p:val>
                                        </p:tav>
                                        <p:tav tm="85000">
                                          <p:val>
                                            <p:strVal val="0.92*ppt_w"/>
                                          </p:val>
                                        </p:tav>
                                        <p:tav tm="90000">
                                          <p:val>
                                            <p:strVal val="0.71*ppt_w"/>
                                          </p:val>
                                        </p:tav>
                                        <p:tav tm="95000">
                                          <p:val>
                                            <p:strVal val="0.38*ppt_w"/>
                                          </p:val>
                                        </p:tav>
                                        <p:tav tm="100000">
                                          <p:val>
                                            <p:fltVal val="0"/>
                                          </p:val>
                                        </p:tav>
                                      </p:tavLst>
                                    </p:anim>
                                    <p:anim calcmode="lin" valueType="num">
                                      <p:cBhvr>
                                        <p:cTn id="48" dur="1250"/>
                                        <p:tgtEl>
                                          <p:spTgt spid="64"/>
                                        </p:tgtEl>
                                        <p:attrNameLst>
                                          <p:attrName>ppt_h</p:attrName>
                                        </p:attrNameLst>
                                      </p:cBhvr>
                                      <p:tavLst>
                                        <p:tav tm="0">
                                          <p:val>
                                            <p:strVal val="ppt_h"/>
                                          </p:val>
                                        </p:tav>
                                        <p:tav tm="100000">
                                          <p:val>
                                            <p:strVal val="ppt_h"/>
                                          </p:val>
                                        </p:tav>
                                      </p:tavLst>
                                    </p:anim>
                                    <p:set>
                                      <p:cBhvr>
                                        <p:cTn id="49" dur="1" fill="hold">
                                          <p:stCondLst>
                                            <p:cond delay="1249"/>
                                          </p:stCondLst>
                                        </p:cTn>
                                        <p:tgtEl>
                                          <p:spTgt spid="64"/>
                                        </p:tgtEl>
                                        <p:attrNameLst>
                                          <p:attrName>style.visibility</p:attrName>
                                        </p:attrNameLst>
                                      </p:cBhvr>
                                      <p:to>
                                        <p:strVal val="hidden"/>
                                      </p:to>
                                    </p:set>
                                  </p:childTnLst>
                                </p:cTn>
                              </p:par>
                              <p:par>
                                <p:cTn id="50" presetID="45" presetClass="exit" presetSubtype="0" fill="hold" grpId="1" nodeType="withEffect">
                                  <p:stCondLst>
                                    <p:cond delay="0"/>
                                  </p:stCondLst>
                                  <p:childTnLst>
                                    <p:animEffect transition="out" filter="fade">
                                      <p:cBhvr>
                                        <p:cTn id="51" dur="1250"/>
                                        <p:tgtEl>
                                          <p:spTgt spid="62"/>
                                        </p:tgtEl>
                                      </p:cBhvr>
                                    </p:animEffect>
                                    <p:anim calcmode="lin" valueType="num">
                                      <p:cBhvr>
                                        <p:cTn id="52" dur="1250"/>
                                        <p:tgtEl>
                                          <p:spTgt spid="62"/>
                                        </p:tgtEl>
                                        <p:attrNameLst>
                                          <p:attrName>ppt_w</p:attrName>
                                        </p:attrNameLst>
                                      </p:cBhvr>
                                      <p:tavLst>
                                        <p:tav tm="0">
                                          <p:val>
                                            <p:strVal val="ppt_w"/>
                                          </p:val>
                                        </p:tav>
                                        <p:tav tm="5000">
                                          <p:val>
                                            <p:strVal val="0.92*ppt_w"/>
                                          </p:val>
                                        </p:tav>
                                        <p:tav tm="10000">
                                          <p:val>
                                            <p:strVal val="0.71*ppt_w"/>
                                          </p:val>
                                        </p:tav>
                                        <p:tav tm="15000">
                                          <p:val>
                                            <p:strVal val="0.38*ppt_w"/>
                                          </p:val>
                                        </p:tav>
                                        <p:tav tm="20000">
                                          <p:val>
                                            <p:fltVal val="0"/>
                                          </p:val>
                                        </p:tav>
                                        <p:tav tm="25000">
                                          <p:val>
                                            <p:strVal val="-0.38*ppt_w"/>
                                          </p:val>
                                        </p:tav>
                                        <p:tav tm="30000">
                                          <p:val>
                                            <p:strVal val="-0.71*ppt_w"/>
                                          </p:val>
                                        </p:tav>
                                        <p:tav tm="35000">
                                          <p:val>
                                            <p:strVal val="-0.92*ppt_w"/>
                                          </p:val>
                                        </p:tav>
                                        <p:tav tm="40000">
                                          <p:val>
                                            <p:strVal val="-ppt_w"/>
                                          </p:val>
                                        </p:tav>
                                        <p:tav tm="45000">
                                          <p:val>
                                            <p:strVal val="-0.92*ppt_w"/>
                                          </p:val>
                                        </p:tav>
                                        <p:tav tm="50000">
                                          <p:val>
                                            <p:strVal val="-0.71*ppt_w"/>
                                          </p:val>
                                        </p:tav>
                                        <p:tav tm="55000">
                                          <p:val>
                                            <p:strVal val="-0.38*ppt_w"/>
                                          </p:val>
                                        </p:tav>
                                        <p:tav tm="60000">
                                          <p:val>
                                            <p:fltVal val="0"/>
                                          </p:val>
                                        </p:tav>
                                        <p:tav tm="65000">
                                          <p:val>
                                            <p:strVal val="0.38*ppt_w"/>
                                          </p:val>
                                        </p:tav>
                                        <p:tav tm="70000">
                                          <p:val>
                                            <p:strVal val="0.71*ppt_w"/>
                                          </p:val>
                                        </p:tav>
                                        <p:tav tm="75000">
                                          <p:val>
                                            <p:strVal val="0.92*ppt_w"/>
                                          </p:val>
                                        </p:tav>
                                        <p:tav tm="80000">
                                          <p:val>
                                            <p:strVal val="ppt_w"/>
                                          </p:val>
                                        </p:tav>
                                        <p:tav tm="85000">
                                          <p:val>
                                            <p:strVal val="0.92*ppt_w"/>
                                          </p:val>
                                        </p:tav>
                                        <p:tav tm="90000">
                                          <p:val>
                                            <p:strVal val="0.71*ppt_w"/>
                                          </p:val>
                                        </p:tav>
                                        <p:tav tm="95000">
                                          <p:val>
                                            <p:strVal val="0.38*ppt_w"/>
                                          </p:val>
                                        </p:tav>
                                        <p:tav tm="100000">
                                          <p:val>
                                            <p:fltVal val="0"/>
                                          </p:val>
                                        </p:tav>
                                      </p:tavLst>
                                    </p:anim>
                                    <p:anim calcmode="lin" valueType="num">
                                      <p:cBhvr>
                                        <p:cTn id="53" dur="1250"/>
                                        <p:tgtEl>
                                          <p:spTgt spid="62"/>
                                        </p:tgtEl>
                                        <p:attrNameLst>
                                          <p:attrName>ppt_h</p:attrName>
                                        </p:attrNameLst>
                                      </p:cBhvr>
                                      <p:tavLst>
                                        <p:tav tm="0">
                                          <p:val>
                                            <p:strVal val="ppt_h"/>
                                          </p:val>
                                        </p:tav>
                                        <p:tav tm="100000">
                                          <p:val>
                                            <p:strVal val="ppt_h"/>
                                          </p:val>
                                        </p:tav>
                                      </p:tavLst>
                                    </p:anim>
                                    <p:set>
                                      <p:cBhvr>
                                        <p:cTn id="54" dur="1" fill="hold">
                                          <p:stCondLst>
                                            <p:cond delay="1249"/>
                                          </p:stCondLst>
                                        </p:cTn>
                                        <p:tgtEl>
                                          <p:spTgt spid="62"/>
                                        </p:tgtEl>
                                        <p:attrNameLst>
                                          <p:attrName>style.visibility</p:attrName>
                                        </p:attrNameLst>
                                      </p:cBhvr>
                                      <p:to>
                                        <p:strVal val="hidden"/>
                                      </p:to>
                                    </p:set>
                                  </p:childTnLst>
                                </p:cTn>
                              </p:par>
                              <p:par>
                                <p:cTn id="55" presetID="1" presetClass="entr" presetSubtype="0" fill="hold" nodeType="withEffect">
                                  <p:stCondLst>
                                    <p:cond delay="0"/>
                                  </p:stCondLst>
                                  <p:childTnLst>
                                    <p:set>
                                      <p:cBhvr>
                                        <p:cTn id="56" dur="1" fill="hold">
                                          <p:stCondLst>
                                            <p:cond delay="0"/>
                                          </p:stCondLst>
                                        </p:cTn>
                                        <p:tgtEl>
                                          <p:spTgt spid="2"/>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35"/>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155"/>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153"/>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141"/>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138"/>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53" presetClass="entr" presetSubtype="16" fill="hold" nodeType="clickEffect">
                                  <p:stCondLst>
                                    <p:cond delay="0"/>
                                  </p:stCondLst>
                                  <p:childTnLst>
                                    <p:set>
                                      <p:cBhvr>
                                        <p:cTn id="70" dur="1" fill="hold">
                                          <p:stCondLst>
                                            <p:cond delay="0"/>
                                          </p:stCondLst>
                                        </p:cTn>
                                        <p:tgtEl>
                                          <p:spTgt spid="45"/>
                                        </p:tgtEl>
                                        <p:attrNameLst>
                                          <p:attrName>style.visibility</p:attrName>
                                        </p:attrNameLst>
                                      </p:cBhvr>
                                      <p:to>
                                        <p:strVal val="visible"/>
                                      </p:to>
                                    </p:set>
                                    <p:anim calcmode="lin" valueType="num">
                                      <p:cBhvr>
                                        <p:cTn id="71" dur="750" fill="hold"/>
                                        <p:tgtEl>
                                          <p:spTgt spid="45"/>
                                        </p:tgtEl>
                                        <p:attrNameLst>
                                          <p:attrName>ppt_w</p:attrName>
                                        </p:attrNameLst>
                                      </p:cBhvr>
                                      <p:tavLst>
                                        <p:tav tm="0">
                                          <p:val>
                                            <p:fltVal val="0"/>
                                          </p:val>
                                        </p:tav>
                                        <p:tav tm="100000">
                                          <p:val>
                                            <p:strVal val="#ppt_w"/>
                                          </p:val>
                                        </p:tav>
                                      </p:tavLst>
                                    </p:anim>
                                    <p:anim calcmode="lin" valueType="num">
                                      <p:cBhvr>
                                        <p:cTn id="72" dur="750" fill="hold"/>
                                        <p:tgtEl>
                                          <p:spTgt spid="45"/>
                                        </p:tgtEl>
                                        <p:attrNameLst>
                                          <p:attrName>ppt_h</p:attrName>
                                        </p:attrNameLst>
                                      </p:cBhvr>
                                      <p:tavLst>
                                        <p:tav tm="0">
                                          <p:val>
                                            <p:fltVal val="0"/>
                                          </p:val>
                                        </p:tav>
                                        <p:tav tm="100000">
                                          <p:val>
                                            <p:strVal val="#ppt_h"/>
                                          </p:val>
                                        </p:tav>
                                      </p:tavLst>
                                    </p:anim>
                                    <p:animEffect transition="in" filter="fade">
                                      <p:cBhvr>
                                        <p:cTn id="73" dur="750"/>
                                        <p:tgtEl>
                                          <p:spTgt spid="45"/>
                                        </p:tgtEl>
                                      </p:cBhvr>
                                    </p:animEffect>
                                  </p:childTnLst>
                                </p:cTn>
                              </p:par>
                              <p:par>
                                <p:cTn id="74" presetID="53" presetClass="exit" presetSubtype="32" fill="hold" nodeType="withEffect">
                                  <p:stCondLst>
                                    <p:cond delay="0"/>
                                  </p:stCondLst>
                                  <p:childTnLst>
                                    <p:anim calcmode="lin" valueType="num">
                                      <p:cBhvr>
                                        <p:cTn id="75" dur="750"/>
                                        <p:tgtEl>
                                          <p:spTgt spid="2"/>
                                        </p:tgtEl>
                                        <p:attrNameLst>
                                          <p:attrName>ppt_w</p:attrName>
                                        </p:attrNameLst>
                                      </p:cBhvr>
                                      <p:tavLst>
                                        <p:tav tm="0">
                                          <p:val>
                                            <p:strVal val="ppt_w"/>
                                          </p:val>
                                        </p:tav>
                                        <p:tav tm="100000">
                                          <p:val>
                                            <p:fltVal val="0"/>
                                          </p:val>
                                        </p:tav>
                                      </p:tavLst>
                                    </p:anim>
                                    <p:anim calcmode="lin" valueType="num">
                                      <p:cBhvr>
                                        <p:cTn id="76" dur="750"/>
                                        <p:tgtEl>
                                          <p:spTgt spid="2"/>
                                        </p:tgtEl>
                                        <p:attrNameLst>
                                          <p:attrName>ppt_h</p:attrName>
                                        </p:attrNameLst>
                                      </p:cBhvr>
                                      <p:tavLst>
                                        <p:tav tm="0">
                                          <p:val>
                                            <p:strVal val="ppt_h"/>
                                          </p:val>
                                        </p:tav>
                                        <p:tav tm="100000">
                                          <p:val>
                                            <p:fltVal val="0"/>
                                          </p:val>
                                        </p:tav>
                                      </p:tavLst>
                                    </p:anim>
                                    <p:animEffect transition="out" filter="fade">
                                      <p:cBhvr>
                                        <p:cTn id="77" dur="750"/>
                                        <p:tgtEl>
                                          <p:spTgt spid="2"/>
                                        </p:tgtEl>
                                      </p:cBhvr>
                                    </p:animEffect>
                                    <p:set>
                                      <p:cBhvr>
                                        <p:cTn id="78" dur="1" fill="hold">
                                          <p:stCondLst>
                                            <p:cond delay="749"/>
                                          </p:stCondLst>
                                        </p:cTn>
                                        <p:tgtEl>
                                          <p:spTgt spid="2"/>
                                        </p:tgtEl>
                                        <p:attrNameLst>
                                          <p:attrName>style.visibility</p:attrName>
                                        </p:attrNameLst>
                                      </p:cBhvr>
                                      <p:to>
                                        <p:strVal val="hidden"/>
                                      </p:to>
                                    </p:set>
                                  </p:childTnLst>
                                </p:cTn>
                              </p:par>
                              <p:par>
                                <p:cTn id="79" presetID="53" presetClass="exit" presetSubtype="32" fill="hold" grpId="1" nodeType="withEffect">
                                  <p:stCondLst>
                                    <p:cond delay="0"/>
                                  </p:stCondLst>
                                  <p:childTnLst>
                                    <p:anim calcmode="lin" valueType="num">
                                      <p:cBhvr>
                                        <p:cTn id="80" dur="750"/>
                                        <p:tgtEl>
                                          <p:spTgt spid="135"/>
                                        </p:tgtEl>
                                        <p:attrNameLst>
                                          <p:attrName>ppt_w</p:attrName>
                                        </p:attrNameLst>
                                      </p:cBhvr>
                                      <p:tavLst>
                                        <p:tav tm="0">
                                          <p:val>
                                            <p:strVal val="ppt_w"/>
                                          </p:val>
                                        </p:tav>
                                        <p:tav tm="100000">
                                          <p:val>
                                            <p:fltVal val="0"/>
                                          </p:val>
                                        </p:tav>
                                      </p:tavLst>
                                    </p:anim>
                                    <p:anim calcmode="lin" valueType="num">
                                      <p:cBhvr>
                                        <p:cTn id="81" dur="750"/>
                                        <p:tgtEl>
                                          <p:spTgt spid="135"/>
                                        </p:tgtEl>
                                        <p:attrNameLst>
                                          <p:attrName>ppt_h</p:attrName>
                                        </p:attrNameLst>
                                      </p:cBhvr>
                                      <p:tavLst>
                                        <p:tav tm="0">
                                          <p:val>
                                            <p:strVal val="ppt_h"/>
                                          </p:val>
                                        </p:tav>
                                        <p:tav tm="100000">
                                          <p:val>
                                            <p:fltVal val="0"/>
                                          </p:val>
                                        </p:tav>
                                      </p:tavLst>
                                    </p:anim>
                                    <p:animEffect transition="out" filter="fade">
                                      <p:cBhvr>
                                        <p:cTn id="82" dur="750"/>
                                        <p:tgtEl>
                                          <p:spTgt spid="135"/>
                                        </p:tgtEl>
                                      </p:cBhvr>
                                    </p:animEffect>
                                    <p:set>
                                      <p:cBhvr>
                                        <p:cTn id="83" dur="1" fill="hold">
                                          <p:stCondLst>
                                            <p:cond delay="749"/>
                                          </p:stCondLst>
                                        </p:cTn>
                                        <p:tgtEl>
                                          <p:spTgt spid="135"/>
                                        </p:tgtEl>
                                        <p:attrNameLst>
                                          <p:attrName>style.visibility</p:attrName>
                                        </p:attrNameLst>
                                      </p:cBhvr>
                                      <p:to>
                                        <p:strVal val="hidden"/>
                                      </p:to>
                                    </p:set>
                                  </p:childTnLst>
                                </p:cTn>
                              </p:par>
                              <p:par>
                                <p:cTn id="84" presetID="53" presetClass="exit" presetSubtype="32" fill="hold" nodeType="withEffect">
                                  <p:stCondLst>
                                    <p:cond delay="0"/>
                                  </p:stCondLst>
                                  <p:childTnLst>
                                    <p:anim calcmode="lin" valueType="num">
                                      <p:cBhvr>
                                        <p:cTn id="85" dur="750"/>
                                        <p:tgtEl>
                                          <p:spTgt spid="155"/>
                                        </p:tgtEl>
                                        <p:attrNameLst>
                                          <p:attrName>ppt_w</p:attrName>
                                        </p:attrNameLst>
                                      </p:cBhvr>
                                      <p:tavLst>
                                        <p:tav tm="0">
                                          <p:val>
                                            <p:strVal val="ppt_w"/>
                                          </p:val>
                                        </p:tav>
                                        <p:tav tm="100000">
                                          <p:val>
                                            <p:fltVal val="0"/>
                                          </p:val>
                                        </p:tav>
                                      </p:tavLst>
                                    </p:anim>
                                    <p:anim calcmode="lin" valueType="num">
                                      <p:cBhvr>
                                        <p:cTn id="86" dur="750"/>
                                        <p:tgtEl>
                                          <p:spTgt spid="155"/>
                                        </p:tgtEl>
                                        <p:attrNameLst>
                                          <p:attrName>ppt_h</p:attrName>
                                        </p:attrNameLst>
                                      </p:cBhvr>
                                      <p:tavLst>
                                        <p:tav tm="0">
                                          <p:val>
                                            <p:strVal val="ppt_h"/>
                                          </p:val>
                                        </p:tav>
                                        <p:tav tm="100000">
                                          <p:val>
                                            <p:fltVal val="0"/>
                                          </p:val>
                                        </p:tav>
                                      </p:tavLst>
                                    </p:anim>
                                    <p:animEffect transition="out" filter="fade">
                                      <p:cBhvr>
                                        <p:cTn id="87" dur="750"/>
                                        <p:tgtEl>
                                          <p:spTgt spid="155"/>
                                        </p:tgtEl>
                                      </p:cBhvr>
                                    </p:animEffect>
                                    <p:set>
                                      <p:cBhvr>
                                        <p:cTn id="88" dur="1" fill="hold">
                                          <p:stCondLst>
                                            <p:cond delay="749"/>
                                          </p:stCondLst>
                                        </p:cTn>
                                        <p:tgtEl>
                                          <p:spTgt spid="155"/>
                                        </p:tgtEl>
                                        <p:attrNameLst>
                                          <p:attrName>style.visibility</p:attrName>
                                        </p:attrNameLst>
                                      </p:cBhvr>
                                      <p:to>
                                        <p:strVal val="hidden"/>
                                      </p:to>
                                    </p:set>
                                  </p:childTnLst>
                                </p:cTn>
                              </p:par>
                              <p:par>
                                <p:cTn id="89" presetID="53" presetClass="exit" presetSubtype="32" fill="hold" nodeType="withEffect">
                                  <p:stCondLst>
                                    <p:cond delay="0"/>
                                  </p:stCondLst>
                                  <p:childTnLst>
                                    <p:anim calcmode="lin" valueType="num">
                                      <p:cBhvr>
                                        <p:cTn id="90" dur="750"/>
                                        <p:tgtEl>
                                          <p:spTgt spid="153"/>
                                        </p:tgtEl>
                                        <p:attrNameLst>
                                          <p:attrName>ppt_w</p:attrName>
                                        </p:attrNameLst>
                                      </p:cBhvr>
                                      <p:tavLst>
                                        <p:tav tm="0">
                                          <p:val>
                                            <p:strVal val="ppt_w"/>
                                          </p:val>
                                        </p:tav>
                                        <p:tav tm="100000">
                                          <p:val>
                                            <p:fltVal val="0"/>
                                          </p:val>
                                        </p:tav>
                                      </p:tavLst>
                                    </p:anim>
                                    <p:anim calcmode="lin" valueType="num">
                                      <p:cBhvr>
                                        <p:cTn id="91" dur="750"/>
                                        <p:tgtEl>
                                          <p:spTgt spid="153"/>
                                        </p:tgtEl>
                                        <p:attrNameLst>
                                          <p:attrName>ppt_h</p:attrName>
                                        </p:attrNameLst>
                                      </p:cBhvr>
                                      <p:tavLst>
                                        <p:tav tm="0">
                                          <p:val>
                                            <p:strVal val="ppt_h"/>
                                          </p:val>
                                        </p:tav>
                                        <p:tav tm="100000">
                                          <p:val>
                                            <p:fltVal val="0"/>
                                          </p:val>
                                        </p:tav>
                                      </p:tavLst>
                                    </p:anim>
                                    <p:animEffect transition="out" filter="fade">
                                      <p:cBhvr>
                                        <p:cTn id="92" dur="750"/>
                                        <p:tgtEl>
                                          <p:spTgt spid="153"/>
                                        </p:tgtEl>
                                      </p:cBhvr>
                                    </p:animEffect>
                                    <p:set>
                                      <p:cBhvr>
                                        <p:cTn id="93" dur="1" fill="hold">
                                          <p:stCondLst>
                                            <p:cond delay="749"/>
                                          </p:stCondLst>
                                        </p:cTn>
                                        <p:tgtEl>
                                          <p:spTgt spid="153"/>
                                        </p:tgtEl>
                                        <p:attrNameLst>
                                          <p:attrName>style.visibility</p:attrName>
                                        </p:attrNameLst>
                                      </p:cBhvr>
                                      <p:to>
                                        <p:strVal val="hidden"/>
                                      </p:to>
                                    </p:set>
                                  </p:childTnLst>
                                </p:cTn>
                              </p:par>
                              <p:par>
                                <p:cTn id="94" presetID="53" presetClass="exit" presetSubtype="32" fill="hold" grpId="1" nodeType="withEffect">
                                  <p:stCondLst>
                                    <p:cond delay="0"/>
                                  </p:stCondLst>
                                  <p:childTnLst>
                                    <p:anim calcmode="lin" valueType="num">
                                      <p:cBhvr>
                                        <p:cTn id="95" dur="750"/>
                                        <p:tgtEl>
                                          <p:spTgt spid="138"/>
                                        </p:tgtEl>
                                        <p:attrNameLst>
                                          <p:attrName>ppt_w</p:attrName>
                                        </p:attrNameLst>
                                      </p:cBhvr>
                                      <p:tavLst>
                                        <p:tav tm="0">
                                          <p:val>
                                            <p:strVal val="ppt_w"/>
                                          </p:val>
                                        </p:tav>
                                        <p:tav tm="100000">
                                          <p:val>
                                            <p:fltVal val="0"/>
                                          </p:val>
                                        </p:tav>
                                      </p:tavLst>
                                    </p:anim>
                                    <p:anim calcmode="lin" valueType="num">
                                      <p:cBhvr>
                                        <p:cTn id="96" dur="750"/>
                                        <p:tgtEl>
                                          <p:spTgt spid="138"/>
                                        </p:tgtEl>
                                        <p:attrNameLst>
                                          <p:attrName>ppt_h</p:attrName>
                                        </p:attrNameLst>
                                      </p:cBhvr>
                                      <p:tavLst>
                                        <p:tav tm="0">
                                          <p:val>
                                            <p:strVal val="ppt_h"/>
                                          </p:val>
                                        </p:tav>
                                        <p:tav tm="100000">
                                          <p:val>
                                            <p:fltVal val="0"/>
                                          </p:val>
                                        </p:tav>
                                      </p:tavLst>
                                    </p:anim>
                                    <p:animEffect transition="out" filter="fade">
                                      <p:cBhvr>
                                        <p:cTn id="97" dur="750"/>
                                        <p:tgtEl>
                                          <p:spTgt spid="138"/>
                                        </p:tgtEl>
                                      </p:cBhvr>
                                    </p:animEffect>
                                    <p:set>
                                      <p:cBhvr>
                                        <p:cTn id="98" dur="1" fill="hold">
                                          <p:stCondLst>
                                            <p:cond delay="749"/>
                                          </p:stCondLst>
                                        </p:cTn>
                                        <p:tgtEl>
                                          <p:spTgt spid="138"/>
                                        </p:tgtEl>
                                        <p:attrNameLst>
                                          <p:attrName>style.visibility</p:attrName>
                                        </p:attrNameLst>
                                      </p:cBhvr>
                                      <p:to>
                                        <p:strVal val="hidden"/>
                                      </p:to>
                                    </p:set>
                                  </p:childTnLst>
                                </p:cTn>
                              </p:par>
                              <p:par>
                                <p:cTn id="99" presetID="53" presetClass="exit" presetSubtype="32" fill="hold" grpId="1" nodeType="withEffect">
                                  <p:stCondLst>
                                    <p:cond delay="0"/>
                                  </p:stCondLst>
                                  <p:childTnLst>
                                    <p:anim calcmode="lin" valueType="num">
                                      <p:cBhvr>
                                        <p:cTn id="100" dur="750"/>
                                        <p:tgtEl>
                                          <p:spTgt spid="141"/>
                                        </p:tgtEl>
                                        <p:attrNameLst>
                                          <p:attrName>ppt_w</p:attrName>
                                        </p:attrNameLst>
                                      </p:cBhvr>
                                      <p:tavLst>
                                        <p:tav tm="0">
                                          <p:val>
                                            <p:strVal val="ppt_w"/>
                                          </p:val>
                                        </p:tav>
                                        <p:tav tm="100000">
                                          <p:val>
                                            <p:fltVal val="0"/>
                                          </p:val>
                                        </p:tav>
                                      </p:tavLst>
                                    </p:anim>
                                    <p:anim calcmode="lin" valueType="num">
                                      <p:cBhvr>
                                        <p:cTn id="101" dur="750"/>
                                        <p:tgtEl>
                                          <p:spTgt spid="141"/>
                                        </p:tgtEl>
                                        <p:attrNameLst>
                                          <p:attrName>ppt_h</p:attrName>
                                        </p:attrNameLst>
                                      </p:cBhvr>
                                      <p:tavLst>
                                        <p:tav tm="0">
                                          <p:val>
                                            <p:strVal val="ppt_h"/>
                                          </p:val>
                                        </p:tav>
                                        <p:tav tm="100000">
                                          <p:val>
                                            <p:fltVal val="0"/>
                                          </p:val>
                                        </p:tav>
                                      </p:tavLst>
                                    </p:anim>
                                    <p:animEffect transition="out" filter="fade">
                                      <p:cBhvr>
                                        <p:cTn id="102" dur="750"/>
                                        <p:tgtEl>
                                          <p:spTgt spid="141"/>
                                        </p:tgtEl>
                                      </p:cBhvr>
                                    </p:animEffect>
                                    <p:set>
                                      <p:cBhvr>
                                        <p:cTn id="103" dur="1" fill="hold">
                                          <p:stCondLst>
                                            <p:cond delay="749"/>
                                          </p:stCondLst>
                                        </p:cTn>
                                        <p:tgtEl>
                                          <p:spTgt spid="141"/>
                                        </p:tgtEl>
                                        <p:attrNameLst>
                                          <p:attrName>style.visibility</p:attrName>
                                        </p:attrNameLst>
                                      </p:cBhvr>
                                      <p:to>
                                        <p:strVal val="hidden"/>
                                      </p:to>
                                    </p:set>
                                  </p:childTnLst>
                                </p:cTn>
                              </p:par>
                              <p:par>
                                <p:cTn id="104" presetID="53" presetClass="entr" presetSubtype="16" fill="hold" nodeType="withEffect">
                                  <p:stCondLst>
                                    <p:cond delay="750"/>
                                  </p:stCondLst>
                                  <p:childTnLst>
                                    <p:set>
                                      <p:cBhvr>
                                        <p:cTn id="105" dur="1" fill="hold">
                                          <p:stCondLst>
                                            <p:cond delay="0"/>
                                          </p:stCondLst>
                                        </p:cTn>
                                        <p:tgtEl>
                                          <p:spTgt spid="36"/>
                                        </p:tgtEl>
                                        <p:attrNameLst>
                                          <p:attrName>style.visibility</p:attrName>
                                        </p:attrNameLst>
                                      </p:cBhvr>
                                      <p:to>
                                        <p:strVal val="visible"/>
                                      </p:to>
                                    </p:set>
                                    <p:anim calcmode="lin" valueType="num">
                                      <p:cBhvr>
                                        <p:cTn id="106" dur="750" fill="hold"/>
                                        <p:tgtEl>
                                          <p:spTgt spid="36"/>
                                        </p:tgtEl>
                                        <p:attrNameLst>
                                          <p:attrName>ppt_w</p:attrName>
                                        </p:attrNameLst>
                                      </p:cBhvr>
                                      <p:tavLst>
                                        <p:tav tm="0">
                                          <p:val>
                                            <p:fltVal val="0"/>
                                          </p:val>
                                        </p:tav>
                                        <p:tav tm="100000">
                                          <p:val>
                                            <p:strVal val="#ppt_w"/>
                                          </p:val>
                                        </p:tav>
                                      </p:tavLst>
                                    </p:anim>
                                    <p:anim calcmode="lin" valueType="num">
                                      <p:cBhvr>
                                        <p:cTn id="107" dur="750" fill="hold"/>
                                        <p:tgtEl>
                                          <p:spTgt spid="36"/>
                                        </p:tgtEl>
                                        <p:attrNameLst>
                                          <p:attrName>ppt_h</p:attrName>
                                        </p:attrNameLst>
                                      </p:cBhvr>
                                      <p:tavLst>
                                        <p:tav tm="0">
                                          <p:val>
                                            <p:fltVal val="0"/>
                                          </p:val>
                                        </p:tav>
                                        <p:tav tm="100000">
                                          <p:val>
                                            <p:strVal val="#ppt_h"/>
                                          </p:val>
                                        </p:tav>
                                      </p:tavLst>
                                    </p:anim>
                                    <p:animEffect transition="in" filter="fade">
                                      <p:cBhvr>
                                        <p:cTn id="108" dur="750"/>
                                        <p:tgtEl>
                                          <p:spTgt spid="36"/>
                                        </p:tgtEl>
                                      </p:cBhvr>
                                    </p:animEffect>
                                  </p:childTnLst>
                                </p:cTn>
                              </p:par>
                              <p:par>
                                <p:cTn id="109" presetID="53" presetClass="entr" presetSubtype="16" fill="hold" nodeType="withEffect">
                                  <p:stCondLst>
                                    <p:cond delay="1250"/>
                                  </p:stCondLst>
                                  <p:childTnLst>
                                    <p:set>
                                      <p:cBhvr>
                                        <p:cTn id="110" dur="1" fill="hold">
                                          <p:stCondLst>
                                            <p:cond delay="0"/>
                                          </p:stCondLst>
                                        </p:cTn>
                                        <p:tgtEl>
                                          <p:spTgt spid="19"/>
                                        </p:tgtEl>
                                        <p:attrNameLst>
                                          <p:attrName>style.visibility</p:attrName>
                                        </p:attrNameLst>
                                      </p:cBhvr>
                                      <p:to>
                                        <p:strVal val="visible"/>
                                      </p:to>
                                    </p:set>
                                    <p:anim calcmode="lin" valueType="num">
                                      <p:cBhvr>
                                        <p:cTn id="111" dur="750" fill="hold"/>
                                        <p:tgtEl>
                                          <p:spTgt spid="19"/>
                                        </p:tgtEl>
                                        <p:attrNameLst>
                                          <p:attrName>ppt_w</p:attrName>
                                        </p:attrNameLst>
                                      </p:cBhvr>
                                      <p:tavLst>
                                        <p:tav tm="0">
                                          <p:val>
                                            <p:fltVal val="0"/>
                                          </p:val>
                                        </p:tav>
                                        <p:tav tm="100000">
                                          <p:val>
                                            <p:strVal val="#ppt_w"/>
                                          </p:val>
                                        </p:tav>
                                      </p:tavLst>
                                    </p:anim>
                                    <p:anim calcmode="lin" valueType="num">
                                      <p:cBhvr>
                                        <p:cTn id="112" dur="750" fill="hold"/>
                                        <p:tgtEl>
                                          <p:spTgt spid="19"/>
                                        </p:tgtEl>
                                        <p:attrNameLst>
                                          <p:attrName>ppt_h</p:attrName>
                                        </p:attrNameLst>
                                      </p:cBhvr>
                                      <p:tavLst>
                                        <p:tav tm="0">
                                          <p:val>
                                            <p:fltVal val="0"/>
                                          </p:val>
                                        </p:tav>
                                        <p:tav tm="100000">
                                          <p:val>
                                            <p:strVal val="#ppt_h"/>
                                          </p:val>
                                        </p:tav>
                                      </p:tavLst>
                                    </p:anim>
                                    <p:animEffect transition="in" filter="fade">
                                      <p:cBhvr>
                                        <p:cTn id="113" dur="750"/>
                                        <p:tgtEl>
                                          <p:spTgt spid="19"/>
                                        </p:tgtEl>
                                      </p:cBhvr>
                                    </p:animEffect>
                                  </p:childTnLst>
                                </p:cTn>
                              </p:par>
                              <p:par>
                                <p:cTn id="114" presetID="53" presetClass="entr" presetSubtype="528" fill="hold" nodeType="withEffect">
                                  <p:stCondLst>
                                    <p:cond delay="1750"/>
                                  </p:stCondLst>
                                  <p:childTnLst>
                                    <p:set>
                                      <p:cBhvr>
                                        <p:cTn id="115" dur="1" fill="hold">
                                          <p:stCondLst>
                                            <p:cond delay="0"/>
                                          </p:stCondLst>
                                        </p:cTn>
                                        <p:tgtEl>
                                          <p:spTgt spid="12"/>
                                        </p:tgtEl>
                                        <p:attrNameLst>
                                          <p:attrName>style.visibility</p:attrName>
                                        </p:attrNameLst>
                                      </p:cBhvr>
                                      <p:to>
                                        <p:strVal val="visible"/>
                                      </p:to>
                                    </p:set>
                                    <p:anim calcmode="lin" valueType="num">
                                      <p:cBhvr>
                                        <p:cTn id="116" dur="750" fill="hold"/>
                                        <p:tgtEl>
                                          <p:spTgt spid="12"/>
                                        </p:tgtEl>
                                        <p:attrNameLst>
                                          <p:attrName>ppt_w</p:attrName>
                                        </p:attrNameLst>
                                      </p:cBhvr>
                                      <p:tavLst>
                                        <p:tav tm="0">
                                          <p:val>
                                            <p:fltVal val="0"/>
                                          </p:val>
                                        </p:tav>
                                        <p:tav tm="100000">
                                          <p:val>
                                            <p:strVal val="#ppt_w"/>
                                          </p:val>
                                        </p:tav>
                                      </p:tavLst>
                                    </p:anim>
                                    <p:anim calcmode="lin" valueType="num">
                                      <p:cBhvr>
                                        <p:cTn id="117" dur="750" fill="hold"/>
                                        <p:tgtEl>
                                          <p:spTgt spid="12"/>
                                        </p:tgtEl>
                                        <p:attrNameLst>
                                          <p:attrName>ppt_h</p:attrName>
                                        </p:attrNameLst>
                                      </p:cBhvr>
                                      <p:tavLst>
                                        <p:tav tm="0">
                                          <p:val>
                                            <p:fltVal val="0"/>
                                          </p:val>
                                        </p:tav>
                                        <p:tav tm="100000">
                                          <p:val>
                                            <p:strVal val="#ppt_h"/>
                                          </p:val>
                                        </p:tav>
                                      </p:tavLst>
                                    </p:anim>
                                    <p:animEffect transition="in" filter="fade">
                                      <p:cBhvr>
                                        <p:cTn id="118" dur="750"/>
                                        <p:tgtEl>
                                          <p:spTgt spid="12"/>
                                        </p:tgtEl>
                                      </p:cBhvr>
                                    </p:animEffect>
                                    <p:anim calcmode="lin" valueType="num">
                                      <p:cBhvr>
                                        <p:cTn id="119" dur="750" fill="hold"/>
                                        <p:tgtEl>
                                          <p:spTgt spid="12"/>
                                        </p:tgtEl>
                                        <p:attrNameLst>
                                          <p:attrName>ppt_x</p:attrName>
                                        </p:attrNameLst>
                                      </p:cBhvr>
                                      <p:tavLst>
                                        <p:tav tm="0">
                                          <p:val>
                                            <p:fltVal val="0.5"/>
                                          </p:val>
                                        </p:tav>
                                        <p:tav tm="100000">
                                          <p:val>
                                            <p:strVal val="#ppt_x"/>
                                          </p:val>
                                        </p:tav>
                                      </p:tavLst>
                                    </p:anim>
                                    <p:anim calcmode="lin" valueType="num">
                                      <p:cBhvr>
                                        <p:cTn id="120" dur="750" fill="hold"/>
                                        <p:tgtEl>
                                          <p:spTgt spid="12"/>
                                        </p:tgtEl>
                                        <p:attrNameLst>
                                          <p:attrName>ppt_y</p:attrName>
                                        </p:attrNameLst>
                                      </p:cBhvr>
                                      <p:tavLst>
                                        <p:tav tm="0">
                                          <p:val>
                                            <p:fltVal val="0.5"/>
                                          </p:val>
                                        </p:tav>
                                        <p:tav tm="100000">
                                          <p:val>
                                            <p:strVal val="#ppt_y"/>
                                          </p:val>
                                        </p:tav>
                                      </p:tavLst>
                                    </p:anim>
                                  </p:childTnLst>
                                </p:cTn>
                              </p:par>
                              <p:par>
                                <p:cTn id="121" presetID="53" presetClass="entr" presetSubtype="528" fill="hold" nodeType="withEffect">
                                  <p:stCondLst>
                                    <p:cond delay="1750"/>
                                  </p:stCondLst>
                                  <p:childTnLst>
                                    <p:set>
                                      <p:cBhvr>
                                        <p:cTn id="122" dur="1" fill="hold">
                                          <p:stCondLst>
                                            <p:cond delay="0"/>
                                          </p:stCondLst>
                                        </p:cTn>
                                        <p:tgtEl>
                                          <p:spTgt spid="5"/>
                                        </p:tgtEl>
                                        <p:attrNameLst>
                                          <p:attrName>style.visibility</p:attrName>
                                        </p:attrNameLst>
                                      </p:cBhvr>
                                      <p:to>
                                        <p:strVal val="visible"/>
                                      </p:to>
                                    </p:set>
                                    <p:anim calcmode="lin" valueType="num">
                                      <p:cBhvr>
                                        <p:cTn id="123" dur="750" fill="hold"/>
                                        <p:tgtEl>
                                          <p:spTgt spid="5"/>
                                        </p:tgtEl>
                                        <p:attrNameLst>
                                          <p:attrName>ppt_w</p:attrName>
                                        </p:attrNameLst>
                                      </p:cBhvr>
                                      <p:tavLst>
                                        <p:tav tm="0">
                                          <p:val>
                                            <p:fltVal val="0"/>
                                          </p:val>
                                        </p:tav>
                                        <p:tav tm="100000">
                                          <p:val>
                                            <p:strVal val="#ppt_w"/>
                                          </p:val>
                                        </p:tav>
                                      </p:tavLst>
                                    </p:anim>
                                    <p:anim calcmode="lin" valueType="num">
                                      <p:cBhvr>
                                        <p:cTn id="124" dur="750" fill="hold"/>
                                        <p:tgtEl>
                                          <p:spTgt spid="5"/>
                                        </p:tgtEl>
                                        <p:attrNameLst>
                                          <p:attrName>ppt_h</p:attrName>
                                        </p:attrNameLst>
                                      </p:cBhvr>
                                      <p:tavLst>
                                        <p:tav tm="0">
                                          <p:val>
                                            <p:fltVal val="0"/>
                                          </p:val>
                                        </p:tav>
                                        <p:tav tm="100000">
                                          <p:val>
                                            <p:strVal val="#ppt_h"/>
                                          </p:val>
                                        </p:tav>
                                      </p:tavLst>
                                    </p:anim>
                                    <p:animEffect transition="in" filter="fade">
                                      <p:cBhvr>
                                        <p:cTn id="125" dur="750"/>
                                        <p:tgtEl>
                                          <p:spTgt spid="5"/>
                                        </p:tgtEl>
                                      </p:cBhvr>
                                    </p:animEffect>
                                    <p:anim calcmode="lin" valueType="num">
                                      <p:cBhvr>
                                        <p:cTn id="126" dur="750" fill="hold"/>
                                        <p:tgtEl>
                                          <p:spTgt spid="5"/>
                                        </p:tgtEl>
                                        <p:attrNameLst>
                                          <p:attrName>ppt_x</p:attrName>
                                        </p:attrNameLst>
                                      </p:cBhvr>
                                      <p:tavLst>
                                        <p:tav tm="0">
                                          <p:val>
                                            <p:fltVal val="0.5"/>
                                          </p:val>
                                        </p:tav>
                                        <p:tav tm="100000">
                                          <p:val>
                                            <p:strVal val="#ppt_x"/>
                                          </p:val>
                                        </p:tav>
                                      </p:tavLst>
                                    </p:anim>
                                    <p:anim calcmode="lin" valueType="num">
                                      <p:cBhvr>
                                        <p:cTn id="127" dur="750" fill="hold"/>
                                        <p:tgtEl>
                                          <p:spTgt spid="5"/>
                                        </p:tgtEl>
                                        <p:attrNameLst>
                                          <p:attrName>ppt_y</p:attrName>
                                        </p:attrNameLst>
                                      </p:cBhvr>
                                      <p:tavLst>
                                        <p:tav tm="0">
                                          <p:val>
                                            <p:fltVal val="0.5"/>
                                          </p:val>
                                        </p:tav>
                                        <p:tav tm="100000">
                                          <p:val>
                                            <p:strVal val="#ppt_y"/>
                                          </p:val>
                                        </p:tav>
                                      </p:tavLst>
                                    </p:anim>
                                  </p:childTnLst>
                                </p:cTn>
                              </p:par>
                            </p:childTnLst>
                          </p:cTn>
                        </p:par>
                        <p:par>
                          <p:cTn id="128" fill="hold">
                            <p:stCondLst>
                              <p:cond delay="2500"/>
                            </p:stCondLst>
                            <p:childTnLst>
                              <p:par>
                                <p:cTn id="129" presetID="1" presetClass="exit" presetSubtype="0" fill="hold" nodeType="afterEffect">
                                  <p:stCondLst>
                                    <p:cond delay="1000"/>
                                  </p:stCondLst>
                                  <p:childTnLst>
                                    <p:set>
                                      <p:cBhvr>
                                        <p:cTn id="130" dur="1" fill="hold">
                                          <p:stCondLst>
                                            <p:cond delay="0"/>
                                          </p:stCondLst>
                                        </p:cTn>
                                        <p:tgtEl>
                                          <p:spTgt spid="45"/>
                                        </p:tgtEl>
                                        <p:attrNameLst>
                                          <p:attrName>style.visibility</p:attrName>
                                        </p:attrNameLst>
                                      </p:cBhvr>
                                      <p:to>
                                        <p:strVal val="hidden"/>
                                      </p:to>
                                    </p:set>
                                  </p:childTnLst>
                                </p:cTn>
                              </p:par>
                            </p:childTnLst>
                          </p:cTn>
                        </p:par>
                        <p:par>
                          <p:cTn id="131" fill="hold">
                            <p:stCondLst>
                              <p:cond delay="3500"/>
                            </p:stCondLst>
                            <p:childTnLst>
                              <p:par>
                                <p:cTn id="132" presetID="1" presetClass="exit" presetSubtype="0" fill="hold" nodeType="afterEffect">
                                  <p:stCondLst>
                                    <p:cond delay="0"/>
                                  </p:stCondLst>
                                  <p:childTnLst>
                                    <p:set>
                                      <p:cBhvr>
                                        <p:cTn id="133" dur="1" fill="hold">
                                          <p:stCondLst>
                                            <p:cond delay="0"/>
                                          </p:stCondLst>
                                        </p:cTn>
                                        <p:tgtEl>
                                          <p:spTgt spid="36"/>
                                        </p:tgtEl>
                                        <p:attrNameLst>
                                          <p:attrName>style.visibility</p:attrName>
                                        </p:attrNameLst>
                                      </p:cBhvr>
                                      <p:to>
                                        <p:strVal val="hidden"/>
                                      </p:to>
                                    </p:set>
                                  </p:childTnLst>
                                </p:cTn>
                              </p:par>
                            </p:childTnLst>
                          </p:cTn>
                        </p:par>
                        <p:par>
                          <p:cTn id="134" fill="hold">
                            <p:stCondLst>
                              <p:cond delay="3500"/>
                            </p:stCondLst>
                            <p:childTnLst>
                              <p:par>
                                <p:cTn id="135" presetID="1" presetClass="exit" presetSubtype="0" fill="hold" nodeType="afterEffect">
                                  <p:stCondLst>
                                    <p:cond delay="0"/>
                                  </p:stCondLst>
                                  <p:childTnLst>
                                    <p:set>
                                      <p:cBhvr>
                                        <p:cTn id="136" dur="1" fill="hold">
                                          <p:stCondLst>
                                            <p:cond delay="0"/>
                                          </p:stCondLst>
                                        </p:cTn>
                                        <p:tgtEl>
                                          <p:spTgt spid="19"/>
                                        </p:tgtEl>
                                        <p:attrNameLst>
                                          <p:attrName>style.visibility</p:attrName>
                                        </p:attrNameLst>
                                      </p:cBhvr>
                                      <p:to>
                                        <p:strVal val="hidden"/>
                                      </p:to>
                                    </p:set>
                                  </p:childTnLst>
                                </p:cTn>
                              </p:par>
                            </p:childTnLst>
                          </p:cTn>
                        </p:par>
                        <p:par>
                          <p:cTn id="137" fill="hold">
                            <p:stCondLst>
                              <p:cond delay="3500"/>
                            </p:stCondLst>
                            <p:childTnLst>
                              <p:par>
                                <p:cTn id="138" presetID="1" presetClass="exit" presetSubtype="0" fill="hold" nodeType="afterEffect">
                                  <p:stCondLst>
                                    <p:cond delay="0"/>
                                  </p:stCondLst>
                                  <p:childTnLst>
                                    <p:set>
                                      <p:cBhvr>
                                        <p:cTn id="139" dur="1" fill="hold">
                                          <p:stCondLst>
                                            <p:cond delay="0"/>
                                          </p:stCondLst>
                                        </p:cTn>
                                        <p:tgtEl>
                                          <p:spTgt spid="12"/>
                                        </p:tgtEl>
                                        <p:attrNameLst>
                                          <p:attrName>style.visibility</p:attrName>
                                        </p:attrNameLst>
                                      </p:cBhvr>
                                      <p:to>
                                        <p:strVal val="hidden"/>
                                      </p:to>
                                    </p:set>
                                  </p:childTnLst>
                                </p:cTn>
                              </p:par>
                            </p:childTnLst>
                          </p:cTn>
                        </p:par>
                        <p:par>
                          <p:cTn id="140" fill="hold">
                            <p:stCondLst>
                              <p:cond delay="3500"/>
                            </p:stCondLst>
                            <p:childTnLst>
                              <p:par>
                                <p:cTn id="141" presetID="1" presetClass="exit" presetSubtype="0" fill="hold" nodeType="afterEffect">
                                  <p:stCondLst>
                                    <p:cond delay="0"/>
                                  </p:stCondLst>
                                  <p:childTnLst>
                                    <p:set>
                                      <p:cBhvr>
                                        <p:cTn id="142" dur="1" fill="hold">
                                          <p:stCondLst>
                                            <p:cond delay="0"/>
                                          </p:stCondLst>
                                        </p:cTn>
                                        <p:tgtEl>
                                          <p:spTgt spid="5"/>
                                        </p:tgtEl>
                                        <p:attrNameLst>
                                          <p:attrName>style.visibility</p:attrName>
                                        </p:attrNameLst>
                                      </p:cBhvr>
                                      <p:to>
                                        <p:strVal val="hidden"/>
                                      </p:to>
                                    </p:set>
                                  </p:childTnLst>
                                </p:cTn>
                              </p:par>
                              <p:par>
                                <p:cTn id="143" presetID="1" presetClass="entr" presetSubtype="0" fill="hold" nodeType="withEffect">
                                  <p:stCondLst>
                                    <p:cond delay="0"/>
                                  </p:stCondLst>
                                  <p:childTnLst>
                                    <p:set>
                                      <p:cBhvr>
                                        <p:cTn id="144" dur="1" fill="hold">
                                          <p:stCondLst>
                                            <p:cond delay="0"/>
                                          </p:stCondLst>
                                        </p:cTn>
                                        <p:tgtEl>
                                          <p:spTgt spid="68"/>
                                        </p:tgtEl>
                                        <p:attrNameLst>
                                          <p:attrName>style.visibility</p:attrName>
                                        </p:attrNameLst>
                                      </p:cBhvr>
                                      <p:to>
                                        <p:strVal val="visible"/>
                                      </p:to>
                                    </p:set>
                                  </p:childTnLst>
                                </p:cTn>
                              </p:par>
                            </p:childTnLst>
                          </p:cTn>
                        </p:par>
                        <p:par>
                          <p:cTn id="145" fill="hold">
                            <p:stCondLst>
                              <p:cond delay="3500"/>
                            </p:stCondLst>
                            <p:childTnLst>
                              <p:par>
                                <p:cTn id="146" presetID="6" presetClass="emph" presetSubtype="0" accel="25000" decel="75000" fill="hold" nodeType="afterEffect">
                                  <p:stCondLst>
                                    <p:cond delay="0"/>
                                  </p:stCondLst>
                                  <p:childTnLst>
                                    <p:animScale>
                                      <p:cBhvr>
                                        <p:cTn id="147" dur="1000" fill="hold"/>
                                        <p:tgtEl>
                                          <p:spTgt spid="68"/>
                                        </p:tgtEl>
                                      </p:cBhvr>
                                      <p:by x="19720" y="19720"/>
                                    </p:animScale>
                                  </p:childTnLst>
                                </p:cTn>
                              </p:par>
                              <p:par>
                                <p:cTn id="148" presetID="10" presetClass="entr" presetSubtype="0" fill="hold" nodeType="withEffect">
                                  <p:stCondLst>
                                    <p:cond delay="500"/>
                                  </p:stCondLst>
                                  <p:childTnLst>
                                    <p:set>
                                      <p:cBhvr>
                                        <p:cTn id="149" dur="1" fill="hold">
                                          <p:stCondLst>
                                            <p:cond delay="0"/>
                                          </p:stCondLst>
                                        </p:cTn>
                                        <p:tgtEl>
                                          <p:spTgt spid="65"/>
                                        </p:tgtEl>
                                        <p:attrNameLst>
                                          <p:attrName>style.visibility</p:attrName>
                                        </p:attrNameLst>
                                      </p:cBhvr>
                                      <p:to>
                                        <p:strVal val="visible"/>
                                      </p:to>
                                    </p:set>
                                    <p:animEffect transition="in" filter="fade">
                                      <p:cBhvr>
                                        <p:cTn id="150" dur="500"/>
                                        <p:tgtEl>
                                          <p:spTgt spid="65"/>
                                        </p:tgtEl>
                                      </p:cBhvr>
                                    </p:animEffect>
                                  </p:childTnLst>
                                </p:cTn>
                              </p:par>
                            </p:childTnLst>
                          </p:cTn>
                        </p:par>
                        <p:par>
                          <p:cTn id="151" fill="hold">
                            <p:stCondLst>
                              <p:cond delay="4500"/>
                            </p:stCondLst>
                            <p:childTnLst>
                              <p:par>
                                <p:cTn id="152" presetID="16" presetClass="entr" presetSubtype="37" fill="hold" grpId="0" nodeType="afterEffect">
                                  <p:stCondLst>
                                    <p:cond delay="0"/>
                                  </p:stCondLst>
                                  <p:childTnLst>
                                    <p:set>
                                      <p:cBhvr>
                                        <p:cTn id="153" dur="1" fill="hold">
                                          <p:stCondLst>
                                            <p:cond delay="0"/>
                                          </p:stCondLst>
                                        </p:cTn>
                                        <p:tgtEl>
                                          <p:spTgt spid="119"/>
                                        </p:tgtEl>
                                        <p:attrNameLst>
                                          <p:attrName>style.visibility</p:attrName>
                                        </p:attrNameLst>
                                      </p:cBhvr>
                                      <p:to>
                                        <p:strVal val="visible"/>
                                      </p:to>
                                    </p:set>
                                    <p:animEffect transition="in" filter="barn(outVertical)">
                                      <p:cBhvr>
                                        <p:cTn id="154" dur="500"/>
                                        <p:tgtEl>
                                          <p:spTgt spid="119"/>
                                        </p:tgtEl>
                                      </p:cBhvr>
                                    </p:animEffect>
                                  </p:childTnLst>
                                </p:cTn>
                              </p:par>
                              <p:par>
                                <p:cTn id="155" presetID="16" presetClass="entr" presetSubtype="21" fill="hold" grpId="0" nodeType="withEffect">
                                  <p:stCondLst>
                                    <p:cond delay="0"/>
                                  </p:stCondLst>
                                  <p:childTnLst>
                                    <p:set>
                                      <p:cBhvr>
                                        <p:cTn id="156" dur="1" fill="hold">
                                          <p:stCondLst>
                                            <p:cond delay="0"/>
                                          </p:stCondLst>
                                        </p:cTn>
                                        <p:tgtEl>
                                          <p:spTgt spid="120"/>
                                        </p:tgtEl>
                                        <p:attrNameLst>
                                          <p:attrName>style.visibility</p:attrName>
                                        </p:attrNameLst>
                                      </p:cBhvr>
                                      <p:to>
                                        <p:strVal val="visible"/>
                                      </p:to>
                                    </p:set>
                                    <p:animEffect transition="in" filter="barn(inVertical)">
                                      <p:cBhvr>
                                        <p:cTn id="157" dur="500"/>
                                        <p:tgtEl>
                                          <p:spTgt spid="1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5" grpId="0" animBg="1"/>
      <p:bldP spid="135" grpId="1" animBg="1"/>
      <p:bldP spid="138" grpId="0" animBg="1"/>
      <p:bldP spid="138" grpId="1" animBg="1"/>
      <p:bldP spid="141" grpId="0" animBg="1"/>
      <p:bldP spid="141" grpId="1" animBg="1"/>
      <p:bldP spid="62" grpId="0" animBg="1"/>
      <p:bldP spid="62" grpId="1" animBg="1"/>
      <p:bldP spid="119" grpId="0" animBg="1"/>
      <p:bldP spid="120"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bwMode="auto">
          <a:xfrm>
            <a:off x="-2" y="1814093"/>
            <a:ext cx="9144000" cy="336523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6" tIns="34286" rIns="34286" bIns="34286" numCol="1" spcCol="0" rtlCol="0" fromWordArt="0" anchor="ctr" anchorCtr="0" forceAA="0" compatLnSpc="1">
            <a:prstTxWarp prst="textNoShape">
              <a:avLst/>
            </a:prstTxWarp>
            <a:noAutofit/>
          </a:bodyPr>
          <a:lstStyle/>
          <a:p>
            <a:pPr algn="ctr" defTabSz="685495"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3732029589"/>
              </p:ext>
            </p:extLst>
          </p:nvPr>
        </p:nvGraphicFramePr>
        <p:xfrm>
          <a:off x="1" y="15"/>
          <a:ext cx="119094" cy="119063"/>
        </p:xfrm>
        <a:graphic>
          <a:graphicData uri="http://schemas.openxmlformats.org/presentationml/2006/ole">
            <mc:AlternateContent xmlns:mc="http://schemas.openxmlformats.org/markup-compatibility/2006">
              <mc:Choice xmlns:v="urn:schemas-microsoft-com:vml" Requires="v">
                <p:oleObj spid="_x0000_s1061"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 y="15"/>
                        <a:ext cx="119094" cy="119063"/>
                      </a:xfrm>
                      <a:prstGeom prst="rect">
                        <a:avLst/>
                      </a:prstGeom>
                    </p:spPr>
                  </p:pic>
                </p:oleObj>
              </mc:Fallback>
            </mc:AlternateContent>
          </a:graphicData>
        </a:graphic>
      </p:graphicFrame>
      <p:sp>
        <p:nvSpPr>
          <p:cNvPr id="3" name="Title 2"/>
          <p:cNvSpPr>
            <a:spLocks noGrp="1"/>
          </p:cNvSpPr>
          <p:nvPr>
            <p:ph type="title"/>
            <p:custDataLst>
              <p:tags r:id="rId3"/>
            </p:custDataLst>
          </p:nvPr>
        </p:nvSpPr>
        <p:spPr>
          <a:xfrm>
            <a:off x="389436" y="171450"/>
            <a:ext cx="8363938" cy="457048"/>
          </a:xfrm>
        </p:spPr>
        <p:txBody>
          <a:bodyPr/>
          <a:lstStyle/>
          <a:p>
            <a:r>
              <a:rPr lang="en-IN" dirty="0"/>
              <a:t>SQL Server in a Virtual Machine</a:t>
            </a:r>
            <a:endParaRPr lang="en-US" dirty="0"/>
          </a:p>
        </p:txBody>
      </p:sp>
      <p:grpSp>
        <p:nvGrpSpPr>
          <p:cNvPr id="13" name="Group 12"/>
          <p:cNvGrpSpPr/>
          <p:nvPr/>
        </p:nvGrpSpPr>
        <p:grpSpPr>
          <a:xfrm>
            <a:off x="962426" y="825402"/>
            <a:ext cx="7125987" cy="4127605"/>
            <a:chOff x="1282900" y="1100527"/>
            <a:chExt cx="9498842" cy="5503473"/>
          </a:xfrm>
        </p:grpSpPr>
        <p:grpSp>
          <p:nvGrpSpPr>
            <p:cNvPr id="11" name="Group 10"/>
            <p:cNvGrpSpPr/>
            <p:nvPr/>
          </p:nvGrpSpPr>
          <p:grpSpPr>
            <a:xfrm>
              <a:off x="1282901" y="1100527"/>
              <a:ext cx="9498841" cy="1280161"/>
              <a:chOff x="1282901" y="1061479"/>
              <a:chExt cx="9498841" cy="1280161"/>
            </a:xfrm>
          </p:grpSpPr>
          <p:grpSp>
            <p:nvGrpSpPr>
              <p:cNvPr id="9" name="Group 8"/>
              <p:cNvGrpSpPr/>
              <p:nvPr/>
            </p:nvGrpSpPr>
            <p:grpSpPr>
              <a:xfrm>
                <a:off x="1282901" y="1061480"/>
                <a:ext cx="1645920" cy="1280160"/>
                <a:chOff x="352269" y="5025175"/>
                <a:chExt cx="1724280" cy="1399758"/>
              </a:xfrm>
            </p:grpSpPr>
            <p:sp>
              <p:nvSpPr>
                <p:cNvPr id="58" name="Rectangle 57"/>
                <p:cNvSpPr/>
                <p:nvPr>
                  <p:custDataLst>
                    <p:tags r:id="rId11"/>
                  </p:custDataLst>
                </p:nvPr>
              </p:nvSpPr>
              <p:spPr bwMode="auto">
                <a:xfrm>
                  <a:off x="352269" y="5025175"/>
                  <a:ext cx="1724280" cy="1399758"/>
                </a:xfrm>
                <a:prstGeom prst="rect">
                  <a:avLst/>
                </a:prstGeom>
                <a:solidFill>
                  <a:schemeClr val="accent1"/>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45715" tIns="45715" rIns="91428" bIns="45715" numCol="1" rtlCol="0" anchor="b" anchorCtr="0" compatLnSpc="1">
                  <a:prstTxWarp prst="textNoShape">
                    <a:avLst/>
                  </a:prstTxWarp>
                  <a:noAutofit/>
                </a:bodyPr>
                <a:lstStyle/>
                <a:p>
                  <a:pPr algn="ctr" defTabSz="1218106" fontAlgn="base">
                    <a:spcBef>
                      <a:spcPts val="840"/>
                    </a:spcBef>
                    <a:spcAft>
                      <a:spcPct val="0"/>
                    </a:spcAft>
                    <a:buClr>
                      <a:srgbClr val="C2C2C2">
                        <a:lumMod val="75000"/>
                      </a:srgbClr>
                    </a:buClr>
                    <a:buSzPct val="100000"/>
                  </a:pPr>
                  <a:r>
                    <a:rPr lang="en-US" sz="1200" b="1" dirty="0">
                      <a:solidFill>
                        <a:srgbClr val="FFFFFF">
                          <a:alpha val="99000"/>
                        </a:srgbClr>
                      </a:solidFill>
                      <a:cs typeface="Segoe UI" pitchFamily="34" charset="0"/>
                    </a:rPr>
                    <a:t/>
                  </a:r>
                  <a:br>
                    <a:rPr lang="en-US" sz="1200" b="1" dirty="0">
                      <a:solidFill>
                        <a:srgbClr val="FFFFFF">
                          <a:alpha val="99000"/>
                        </a:srgbClr>
                      </a:solidFill>
                      <a:cs typeface="Segoe UI" pitchFamily="34" charset="0"/>
                    </a:rPr>
                  </a:br>
                  <a:r>
                    <a:rPr lang="en-US" sz="1200" b="1" dirty="0">
                      <a:solidFill>
                        <a:srgbClr val="FFFFFF">
                          <a:alpha val="99000"/>
                        </a:srgbClr>
                      </a:solidFill>
                      <a:cs typeface="Segoe UI" pitchFamily="34" charset="0"/>
                    </a:rPr>
                    <a:t> </a:t>
                  </a:r>
                </a:p>
              </p:txBody>
            </p:sp>
            <p:pic>
              <p:nvPicPr>
                <p:cNvPr id="64" name="Picture 2"/>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l="7630" r="5505" b="15070"/>
                <a:stretch/>
              </p:blipFill>
              <p:spPr bwMode="auto">
                <a:xfrm>
                  <a:off x="637453" y="5200590"/>
                  <a:ext cx="1241569" cy="768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82" name="Rectangle 81"/>
              <p:cNvSpPr/>
              <p:nvPr>
                <p:custDataLst>
                  <p:tags r:id="rId10"/>
                </p:custDataLst>
              </p:nvPr>
            </p:nvSpPr>
            <p:spPr bwMode="auto">
              <a:xfrm>
                <a:off x="3043368" y="1061479"/>
                <a:ext cx="7738374" cy="1280160"/>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37160" tIns="121883" rIns="121883" bIns="121883" numCol="1" rtlCol="0" anchor="ctr" anchorCtr="0" compatLnSpc="1">
                <a:prstTxWarp prst="textNoShape">
                  <a:avLst/>
                </a:prstTxWarp>
                <a:noAutofit/>
              </a:bodyPr>
              <a:lstStyle/>
              <a:p>
                <a:pPr defTabSz="1218106" fontAlgn="base">
                  <a:spcBef>
                    <a:spcPts val="300"/>
                  </a:spcBef>
                  <a:spcAft>
                    <a:spcPts val="300"/>
                  </a:spcAft>
                  <a:buClr>
                    <a:srgbClr val="C2C2C2">
                      <a:lumMod val="75000"/>
                    </a:srgbClr>
                  </a:buClr>
                  <a:buSzPct val="100000"/>
                </a:pPr>
                <a:r>
                  <a:rPr lang="en-US" sz="1800" dirty="0">
                    <a:solidFill>
                      <a:srgbClr val="FFFFFF">
                        <a:alpha val="99000"/>
                      </a:srgbClr>
                    </a:solidFill>
                    <a:cs typeface="Segoe UI" pitchFamily="34" charset="0"/>
                  </a:rPr>
                  <a:t>Full SQL Server capability</a:t>
                </a:r>
                <a:endParaRPr lang="en-US" sz="1500" dirty="0">
                  <a:gradFill>
                    <a:gsLst>
                      <a:gs pos="0">
                        <a:schemeClr val="tx1"/>
                      </a:gs>
                      <a:gs pos="100000">
                        <a:schemeClr val="tx1"/>
                      </a:gs>
                    </a:gsLst>
                    <a:lin ang="5400000" scaled="0"/>
                  </a:gradFill>
                  <a:cs typeface="Segoe UI" pitchFamily="34" charset="0"/>
                </a:endParaRPr>
              </a:p>
            </p:txBody>
          </p:sp>
        </p:grpSp>
        <p:grpSp>
          <p:nvGrpSpPr>
            <p:cNvPr id="10" name="Group 9"/>
            <p:cNvGrpSpPr/>
            <p:nvPr/>
          </p:nvGrpSpPr>
          <p:grpSpPr>
            <a:xfrm>
              <a:off x="1282900" y="2509760"/>
              <a:ext cx="9498842" cy="1280160"/>
              <a:chOff x="1282900" y="2450563"/>
              <a:chExt cx="9498842" cy="1280160"/>
            </a:xfrm>
          </p:grpSpPr>
          <p:sp>
            <p:nvSpPr>
              <p:cNvPr id="66" name="Rectangle 65"/>
              <p:cNvSpPr/>
              <p:nvPr>
                <p:custDataLst>
                  <p:tags r:id="rId8"/>
                </p:custDataLst>
              </p:nvPr>
            </p:nvSpPr>
            <p:spPr bwMode="auto">
              <a:xfrm>
                <a:off x="3043368" y="2450563"/>
                <a:ext cx="7738374" cy="1280160"/>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37160" tIns="121883" rIns="121883" bIns="121883" numCol="1" rtlCol="0" anchor="ctr" anchorCtr="0" compatLnSpc="1">
                <a:prstTxWarp prst="textNoShape">
                  <a:avLst/>
                </a:prstTxWarp>
                <a:noAutofit/>
              </a:bodyPr>
              <a:lstStyle/>
              <a:p>
                <a:pPr defTabSz="1218106" fontAlgn="base">
                  <a:spcBef>
                    <a:spcPts val="300"/>
                  </a:spcBef>
                  <a:spcAft>
                    <a:spcPts val="300"/>
                  </a:spcAft>
                  <a:buClr>
                    <a:srgbClr val="C2C2C2">
                      <a:lumMod val="75000"/>
                    </a:srgbClr>
                  </a:buClr>
                  <a:buSzPct val="100000"/>
                </a:pPr>
                <a:r>
                  <a:rPr lang="en-US" sz="1800" dirty="0">
                    <a:solidFill>
                      <a:srgbClr val="FFFFFF">
                        <a:alpha val="99000"/>
                      </a:srgbClr>
                    </a:solidFill>
                    <a:cs typeface="Segoe UI" pitchFamily="34" charset="0"/>
                  </a:rPr>
                  <a:t>Low TCO for existing apps</a:t>
                </a:r>
                <a:endParaRPr lang="en-US" sz="1500" dirty="0">
                  <a:gradFill>
                    <a:gsLst>
                      <a:gs pos="0">
                        <a:schemeClr val="tx1"/>
                      </a:gs>
                      <a:gs pos="100000">
                        <a:schemeClr val="tx1"/>
                      </a:gs>
                    </a:gsLst>
                    <a:lin ang="5400000" scaled="0"/>
                  </a:gradFill>
                  <a:cs typeface="Segoe UI" pitchFamily="34" charset="0"/>
                </a:endParaRPr>
              </a:p>
            </p:txBody>
          </p:sp>
          <p:grpSp>
            <p:nvGrpSpPr>
              <p:cNvPr id="6" name="Group 5"/>
              <p:cNvGrpSpPr/>
              <p:nvPr/>
            </p:nvGrpSpPr>
            <p:grpSpPr>
              <a:xfrm>
                <a:off x="1282900" y="2450563"/>
                <a:ext cx="1645921" cy="1280160"/>
                <a:chOff x="548092" y="1219472"/>
                <a:chExt cx="1528457" cy="1399758"/>
              </a:xfrm>
            </p:grpSpPr>
            <p:sp>
              <p:nvSpPr>
                <p:cNvPr id="74" name="Rectangle 73"/>
                <p:cNvSpPr/>
                <p:nvPr>
                  <p:custDataLst>
                    <p:tags r:id="rId9"/>
                  </p:custDataLst>
                </p:nvPr>
              </p:nvSpPr>
              <p:spPr bwMode="auto">
                <a:xfrm>
                  <a:off x="548092" y="1219472"/>
                  <a:ext cx="1528457" cy="1399758"/>
                </a:xfrm>
                <a:prstGeom prst="rect">
                  <a:avLst/>
                </a:prstGeom>
                <a:solidFill>
                  <a:schemeClr val="accent1"/>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45715" tIns="45715" rIns="91428" bIns="45715" numCol="1" rtlCol="0" anchor="b" anchorCtr="0" compatLnSpc="1">
                  <a:prstTxWarp prst="textNoShape">
                    <a:avLst/>
                  </a:prstTxWarp>
                  <a:noAutofit/>
                </a:bodyPr>
                <a:lstStyle/>
                <a:p>
                  <a:pPr algn="ctr" defTabSz="1218106" fontAlgn="base">
                    <a:spcBef>
                      <a:spcPts val="840"/>
                    </a:spcBef>
                    <a:spcAft>
                      <a:spcPct val="0"/>
                    </a:spcAft>
                    <a:buClr>
                      <a:srgbClr val="C2C2C2">
                        <a:lumMod val="75000"/>
                      </a:srgbClr>
                    </a:buClr>
                    <a:buSzPct val="100000"/>
                  </a:pPr>
                  <a:r>
                    <a:rPr lang="en-US" sz="1200" b="1" dirty="0">
                      <a:solidFill>
                        <a:srgbClr val="FFFFFF">
                          <a:alpha val="99000"/>
                        </a:srgbClr>
                      </a:solidFill>
                      <a:cs typeface="Segoe UI" pitchFamily="34" charset="0"/>
                    </a:rPr>
                    <a:t/>
                  </a:r>
                  <a:br>
                    <a:rPr lang="en-US" sz="1200" b="1" dirty="0">
                      <a:solidFill>
                        <a:srgbClr val="FFFFFF">
                          <a:alpha val="99000"/>
                        </a:srgbClr>
                      </a:solidFill>
                      <a:cs typeface="Segoe UI" pitchFamily="34" charset="0"/>
                    </a:rPr>
                  </a:br>
                  <a:r>
                    <a:rPr lang="en-US" sz="1200" b="1" dirty="0">
                      <a:solidFill>
                        <a:srgbClr val="FFFFFF">
                          <a:alpha val="99000"/>
                        </a:srgbClr>
                      </a:solidFill>
                      <a:cs typeface="Segoe UI" pitchFamily="34" charset="0"/>
                    </a:rPr>
                    <a:t/>
                  </a:r>
                  <a:br>
                    <a:rPr lang="en-US" sz="1200" b="1" dirty="0">
                      <a:solidFill>
                        <a:srgbClr val="FFFFFF">
                          <a:alpha val="99000"/>
                        </a:srgbClr>
                      </a:solidFill>
                      <a:cs typeface="Segoe UI" pitchFamily="34" charset="0"/>
                    </a:rPr>
                  </a:br>
                  <a:endParaRPr lang="en-US" sz="1200" b="1" dirty="0">
                    <a:solidFill>
                      <a:srgbClr val="FFFFFF">
                        <a:alpha val="99000"/>
                      </a:srgbClr>
                    </a:solidFill>
                    <a:cs typeface="Segoe UI" pitchFamily="34" charset="0"/>
                  </a:endParaRPr>
                </a:p>
              </p:txBody>
            </p:sp>
            <p:pic>
              <p:nvPicPr>
                <p:cNvPr id="59" name="Picture 58"/>
                <p:cNvPicPr>
                  <a:picLocks noChangeAspect="1"/>
                </p:cNvPicPr>
                <p:nvPr/>
              </p:nvPicPr>
              <p:blipFill>
                <a:blip r:embed="rId17" cstate="print">
                  <a:biLevel thresh="25000"/>
                  <a:extLst>
                    <a:ext uri="{28A0092B-C50C-407E-A947-70E740481C1C}">
                      <a14:useLocalDpi xmlns:a14="http://schemas.microsoft.com/office/drawing/2010/main" val="0"/>
                    </a:ext>
                  </a:extLst>
                </a:blip>
                <a:stretch>
                  <a:fillRect/>
                </a:stretch>
              </p:blipFill>
              <p:spPr>
                <a:xfrm>
                  <a:off x="837116" y="1540055"/>
                  <a:ext cx="952998" cy="769083"/>
                </a:xfrm>
                <a:prstGeom prst="rect">
                  <a:avLst/>
                </a:prstGeom>
              </p:spPr>
            </p:pic>
          </p:grpSp>
        </p:grpSp>
        <p:grpSp>
          <p:nvGrpSpPr>
            <p:cNvPr id="5" name="Group 4"/>
            <p:cNvGrpSpPr/>
            <p:nvPr/>
          </p:nvGrpSpPr>
          <p:grpSpPr>
            <a:xfrm>
              <a:off x="1282900" y="3910822"/>
              <a:ext cx="9498842" cy="1280160"/>
              <a:chOff x="1282900" y="3851625"/>
              <a:chExt cx="9498842" cy="1280160"/>
            </a:xfrm>
          </p:grpSpPr>
          <p:grpSp>
            <p:nvGrpSpPr>
              <p:cNvPr id="8" name="Group 7"/>
              <p:cNvGrpSpPr/>
              <p:nvPr/>
            </p:nvGrpSpPr>
            <p:grpSpPr>
              <a:xfrm>
                <a:off x="1282900" y="3851625"/>
                <a:ext cx="1645921" cy="1280160"/>
                <a:chOff x="710774" y="5025045"/>
                <a:chExt cx="1528457" cy="1399758"/>
              </a:xfrm>
            </p:grpSpPr>
            <p:sp>
              <p:nvSpPr>
                <p:cNvPr id="57" name="Rectangle 56"/>
                <p:cNvSpPr/>
                <p:nvPr>
                  <p:custDataLst>
                    <p:tags r:id="rId7"/>
                  </p:custDataLst>
                </p:nvPr>
              </p:nvSpPr>
              <p:spPr bwMode="auto">
                <a:xfrm>
                  <a:off x="710774" y="5025045"/>
                  <a:ext cx="1528457" cy="1399758"/>
                </a:xfrm>
                <a:prstGeom prst="rect">
                  <a:avLst/>
                </a:prstGeom>
                <a:solidFill>
                  <a:schemeClr val="accent1"/>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45715" tIns="45715" rIns="91428" bIns="45715" numCol="1" rtlCol="0" anchor="b" anchorCtr="0" compatLnSpc="1">
                  <a:prstTxWarp prst="textNoShape">
                    <a:avLst/>
                  </a:prstTxWarp>
                  <a:noAutofit/>
                </a:bodyPr>
                <a:lstStyle/>
                <a:p>
                  <a:pPr algn="ctr" defTabSz="1218106" fontAlgn="base">
                    <a:spcBef>
                      <a:spcPts val="840"/>
                    </a:spcBef>
                    <a:spcAft>
                      <a:spcPct val="0"/>
                    </a:spcAft>
                    <a:buClr>
                      <a:srgbClr val="C2C2C2">
                        <a:lumMod val="75000"/>
                      </a:srgbClr>
                    </a:buClr>
                    <a:buSzPct val="100000"/>
                  </a:pPr>
                  <a:r>
                    <a:rPr lang="en-US" sz="1200" b="1" dirty="0">
                      <a:solidFill>
                        <a:srgbClr val="FFFFFF">
                          <a:alpha val="99000"/>
                        </a:srgbClr>
                      </a:solidFill>
                      <a:cs typeface="Segoe UI" pitchFamily="34" charset="0"/>
                    </a:rPr>
                    <a:t/>
                  </a:r>
                  <a:br>
                    <a:rPr lang="en-US" sz="1200" b="1" dirty="0">
                      <a:solidFill>
                        <a:srgbClr val="FFFFFF">
                          <a:alpha val="99000"/>
                        </a:srgbClr>
                      </a:solidFill>
                      <a:cs typeface="Segoe UI" pitchFamily="34" charset="0"/>
                    </a:rPr>
                  </a:br>
                  <a:r>
                    <a:rPr lang="en-US" sz="1200" b="1" dirty="0">
                      <a:solidFill>
                        <a:srgbClr val="FFFFFF">
                          <a:alpha val="99000"/>
                        </a:srgbClr>
                      </a:solidFill>
                      <a:cs typeface="Segoe UI" pitchFamily="34" charset="0"/>
                    </a:rPr>
                    <a:t/>
                  </a:r>
                  <a:br>
                    <a:rPr lang="en-US" sz="1200" b="1" dirty="0">
                      <a:solidFill>
                        <a:srgbClr val="FFFFFF">
                          <a:alpha val="99000"/>
                        </a:srgbClr>
                      </a:solidFill>
                      <a:cs typeface="Segoe UI" pitchFamily="34" charset="0"/>
                    </a:rPr>
                  </a:br>
                  <a:endParaRPr lang="en-US" sz="1200" b="1" dirty="0">
                    <a:solidFill>
                      <a:srgbClr val="FFFFFF">
                        <a:alpha val="99000"/>
                      </a:srgbClr>
                    </a:solidFill>
                    <a:cs typeface="Segoe UI" pitchFamily="34" charset="0"/>
                  </a:endParaRPr>
                </a:p>
              </p:txBody>
            </p:sp>
            <p:pic>
              <p:nvPicPr>
                <p:cNvPr id="54" name="Picture 53"/>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985406" y="5276536"/>
                  <a:ext cx="1045192" cy="897033"/>
                </a:xfrm>
                <a:prstGeom prst="rect">
                  <a:avLst/>
                </a:prstGeom>
              </p:spPr>
            </p:pic>
          </p:grpSp>
          <p:sp>
            <p:nvSpPr>
              <p:cNvPr id="78" name="Rectangle 77"/>
              <p:cNvSpPr/>
              <p:nvPr>
                <p:custDataLst>
                  <p:tags r:id="rId6"/>
                </p:custDataLst>
              </p:nvPr>
            </p:nvSpPr>
            <p:spPr bwMode="auto">
              <a:xfrm>
                <a:off x="3043368" y="3851625"/>
                <a:ext cx="7738374" cy="1280160"/>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37160" tIns="121883" rIns="121883" bIns="121883" numCol="1" rtlCol="0" anchor="ctr" anchorCtr="0" compatLnSpc="1">
                <a:prstTxWarp prst="textNoShape">
                  <a:avLst/>
                </a:prstTxWarp>
                <a:noAutofit/>
              </a:bodyPr>
              <a:lstStyle/>
              <a:p>
                <a:pPr defTabSz="1218106" fontAlgn="base">
                  <a:spcBef>
                    <a:spcPts val="300"/>
                  </a:spcBef>
                  <a:spcAft>
                    <a:spcPts val="300"/>
                  </a:spcAft>
                  <a:buClr>
                    <a:srgbClr val="C2C2C2">
                      <a:lumMod val="75000"/>
                    </a:srgbClr>
                  </a:buClr>
                  <a:buSzPct val="100000"/>
                </a:pPr>
                <a:r>
                  <a:rPr lang="en-US" sz="1800" dirty="0">
                    <a:solidFill>
                      <a:srgbClr val="FFFFFF">
                        <a:alpha val="99000"/>
                      </a:srgbClr>
                    </a:solidFill>
                    <a:cs typeface="Segoe UI" pitchFamily="34" charset="0"/>
                  </a:rPr>
                  <a:t>Flexibility &amp; control</a:t>
                </a:r>
                <a:r>
                  <a:rPr lang="en-US" sz="1500" dirty="0">
                    <a:gradFill>
                      <a:gsLst>
                        <a:gs pos="0">
                          <a:schemeClr val="tx1"/>
                        </a:gs>
                        <a:gs pos="100000">
                          <a:schemeClr val="tx1"/>
                        </a:gs>
                      </a:gsLst>
                      <a:lin ang="5400000" scaled="0"/>
                    </a:gradFill>
                    <a:cs typeface="Segoe UI" pitchFamily="34" charset="0"/>
                  </a:rPr>
                  <a:t> </a:t>
                </a:r>
              </a:p>
            </p:txBody>
          </p:sp>
        </p:grpSp>
        <p:grpSp>
          <p:nvGrpSpPr>
            <p:cNvPr id="4" name="Group 3"/>
            <p:cNvGrpSpPr/>
            <p:nvPr/>
          </p:nvGrpSpPr>
          <p:grpSpPr>
            <a:xfrm>
              <a:off x="1282900" y="5323840"/>
              <a:ext cx="9498842" cy="1280160"/>
              <a:chOff x="1282900" y="5264643"/>
              <a:chExt cx="9498842" cy="1280160"/>
            </a:xfrm>
          </p:grpSpPr>
          <p:grpSp>
            <p:nvGrpSpPr>
              <p:cNvPr id="7" name="Group 6"/>
              <p:cNvGrpSpPr/>
              <p:nvPr/>
            </p:nvGrpSpPr>
            <p:grpSpPr>
              <a:xfrm>
                <a:off x="1282900" y="5264643"/>
                <a:ext cx="1645921" cy="1280160"/>
                <a:chOff x="710774" y="4908667"/>
                <a:chExt cx="1528457" cy="1399758"/>
              </a:xfrm>
            </p:grpSpPr>
            <p:sp>
              <p:nvSpPr>
                <p:cNvPr id="56" name="Rectangle 55"/>
                <p:cNvSpPr/>
                <p:nvPr>
                  <p:custDataLst>
                    <p:tags r:id="rId5"/>
                  </p:custDataLst>
                </p:nvPr>
              </p:nvSpPr>
              <p:spPr bwMode="auto">
                <a:xfrm>
                  <a:off x="710774" y="4908667"/>
                  <a:ext cx="1528457" cy="1399758"/>
                </a:xfrm>
                <a:prstGeom prst="rect">
                  <a:avLst/>
                </a:prstGeom>
                <a:solidFill>
                  <a:schemeClr val="accent1"/>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45715" tIns="45715" rIns="91428" bIns="45715" numCol="1" rtlCol="0" anchor="b" anchorCtr="0" compatLnSpc="1">
                  <a:prstTxWarp prst="textNoShape">
                    <a:avLst/>
                  </a:prstTxWarp>
                  <a:noAutofit/>
                </a:bodyPr>
                <a:lstStyle/>
                <a:p>
                  <a:pPr algn="ctr" defTabSz="1218106" fontAlgn="base">
                    <a:spcBef>
                      <a:spcPts val="840"/>
                    </a:spcBef>
                    <a:spcAft>
                      <a:spcPct val="0"/>
                    </a:spcAft>
                    <a:buClr>
                      <a:srgbClr val="C2C2C2">
                        <a:lumMod val="75000"/>
                      </a:srgbClr>
                    </a:buClr>
                    <a:buSzPct val="100000"/>
                  </a:pPr>
                  <a:r>
                    <a:rPr lang="en-US" sz="1200" b="1" dirty="0">
                      <a:solidFill>
                        <a:srgbClr val="FFFFFF">
                          <a:alpha val="99000"/>
                        </a:srgbClr>
                      </a:solidFill>
                      <a:cs typeface="Segoe UI" pitchFamily="34" charset="0"/>
                    </a:rPr>
                    <a:t/>
                  </a:r>
                  <a:br>
                    <a:rPr lang="en-US" sz="1200" b="1" dirty="0">
                      <a:solidFill>
                        <a:srgbClr val="FFFFFF">
                          <a:alpha val="99000"/>
                        </a:srgbClr>
                      </a:solidFill>
                      <a:cs typeface="Segoe UI" pitchFamily="34" charset="0"/>
                    </a:rPr>
                  </a:br>
                  <a:r>
                    <a:rPr lang="en-US" sz="1200" b="1" dirty="0">
                      <a:solidFill>
                        <a:srgbClr val="FFFFFF">
                          <a:alpha val="99000"/>
                        </a:srgbClr>
                      </a:solidFill>
                      <a:cs typeface="Segoe UI" pitchFamily="34" charset="0"/>
                    </a:rPr>
                    <a:t/>
                  </a:r>
                  <a:br>
                    <a:rPr lang="en-US" sz="1200" b="1" dirty="0">
                      <a:solidFill>
                        <a:srgbClr val="FFFFFF">
                          <a:alpha val="99000"/>
                        </a:srgbClr>
                      </a:solidFill>
                      <a:cs typeface="Segoe UI" pitchFamily="34" charset="0"/>
                    </a:rPr>
                  </a:br>
                  <a:endParaRPr lang="en-US" sz="1200" b="1" dirty="0">
                    <a:solidFill>
                      <a:srgbClr val="FFFFFF">
                        <a:alpha val="99000"/>
                      </a:srgbClr>
                    </a:solidFill>
                    <a:cs typeface="Segoe UI" pitchFamily="34" charset="0"/>
                  </a:endParaRPr>
                </a:p>
              </p:txBody>
            </p:sp>
            <p:sp>
              <p:nvSpPr>
                <p:cNvPr id="55" name="Oval 2"/>
                <p:cNvSpPr>
                  <a:spLocks noChangeAspect="1"/>
                </p:cNvSpPr>
                <p:nvPr/>
              </p:nvSpPr>
              <p:spPr bwMode="auto">
                <a:xfrm>
                  <a:off x="1197215" y="5217375"/>
                  <a:ext cx="633280" cy="761202"/>
                </a:xfrm>
                <a:custGeom>
                  <a:avLst/>
                  <a:gdLst/>
                  <a:ahLst/>
                  <a:cxnLst/>
                  <a:rect l="l" t="t" r="r" b="b"/>
                  <a:pathLst>
                    <a:path w="6400801" h="6400800">
                      <a:moveTo>
                        <a:pt x="2938779" y="4069139"/>
                      </a:moveTo>
                      <a:cubicBezTo>
                        <a:pt x="2956231" y="4067140"/>
                        <a:pt x="2974014" y="4067638"/>
                        <a:pt x="2991556" y="4070755"/>
                      </a:cubicBezTo>
                      <a:cubicBezTo>
                        <a:pt x="3014946" y="4074909"/>
                        <a:pt x="3037908" y="4083720"/>
                        <a:pt x="3059084" y="4097472"/>
                      </a:cubicBezTo>
                      <a:cubicBezTo>
                        <a:pt x="3143792" y="4152481"/>
                        <a:pt x="3167866" y="4265744"/>
                        <a:pt x="3112857" y="4350451"/>
                      </a:cubicBezTo>
                      <a:lnTo>
                        <a:pt x="2988352" y="4542172"/>
                      </a:lnTo>
                      <a:cubicBezTo>
                        <a:pt x="2933343" y="4626878"/>
                        <a:pt x="2820081" y="4650954"/>
                        <a:pt x="2735373" y="4595945"/>
                      </a:cubicBezTo>
                      <a:cubicBezTo>
                        <a:pt x="2650665" y="4540935"/>
                        <a:pt x="2626590" y="4427672"/>
                        <a:pt x="2681600" y="4342965"/>
                      </a:cubicBezTo>
                      <a:lnTo>
                        <a:pt x="2806105" y="4151244"/>
                      </a:lnTo>
                      <a:cubicBezTo>
                        <a:pt x="2837048" y="4103596"/>
                        <a:pt x="2886422" y="4075134"/>
                        <a:pt x="2938779" y="4069139"/>
                      </a:cubicBezTo>
                      <a:close/>
                      <a:moveTo>
                        <a:pt x="5599195" y="3955694"/>
                      </a:moveTo>
                      <a:lnTo>
                        <a:pt x="6310324" y="3955694"/>
                      </a:lnTo>
                      <a:cubicBezTo>
                        <a:pt x="5971594" y="5358821"/>
                        <a:pt x="4707682" y="6400800"/>
                        <a:pt x="3200402" y="6400800"/>
                      </a:cubicBezTo>
                      <a:cubicBezTo>
                        <a:pt x="1795855" y="6400800"/>
                        <a:pt x="602631" y="5496018"/>
                        <a:pt x="174768" y="4236478"/>
                      </a:cubicBezTo>
                      <a:lnTo>
                        <a:pt x="911006" y="4236478"/>
                      </a:lnTo>
                      <a:cubicBezTo>
                        <a:pt x="1303909" y="5108844"/>
                        <a:pt x="2181368" y="5715000"/>
                        <a:pt x="3200402" y="5715000"/>
                      </a:cubicBezTo>
                      <a:cubicBezTo>
                        <a:pt x="4325971" y="5715000"/>
                        <a:pt x="5278816" y="4975478"/>
                        <a:pt x="5599195" y="3955694"/>
                      </a:cubicBezTo>
                      <a:close/>
                      <a:moveTo>
                        <a:pt x="1486918" y="3748003"/>
                      </a:moveTo>
                      <a:cubicBezTo>
                        <a:pt x="1504370" y="3746005"/>
                        <a:pt x="1522154" y="3746503"/>
                        <a:pt x="1539696" y="3749619"/>
                      </a:cubicBezTo>
                      <a:cubicBezTo>
                        <a:pt x="1563086" y="3753774"/>
                        <a:pt x="1586048" y="3762584"/>
                        <a:pt x="1607224" y="3776337"/>
                      </a:cubicBezTo>
                      <a:cubicBezTo>
                        <a:pt x="1691932" y="3831346"/>
                        <a:pt x="1716006" y="3944609"/>
                        <a:pt x="1660997" y="4029316"/>
                      </a:cubicBezTo>
                      <a:lnTo>
                        <a:pt x="1536492" y="4221036"/>
                      </a:lnTo>
                      <a:cubicBezTo>
                        <a:pt x="1481483" y="4305744"/>
                        <a:pt x="1368220" y="4329819"/>
                        <a:pt x="1283513" y="4274809"/>
                      </a:cubicBezTo>
                      <a:cubicBezTo>
                        <a:pt x="1198805" y="4219799"/>
                        <a:pt x="1174730" y="4106537"/>
                        <a:pt x="1229740" y="4021829"/>
                      </a:cubicBezTo>
                      <a:lnTo>
                        <a:pt x="1354245" y="3830109"/>
                      </a:lnTo>
                      <a:cubicBezTo>
                        <a:pt x="1385188" y="3782461"/>
                        <a:pt x="1434563" y="3753997"/>
                        <a:pt x="1486918" y="3748003"/>
                      </a:cubicBezTo>
                      <a:close/>
                      <a:moveTo>
                        <a:pt x="2583225" y="3741166"/>
                      </a:moveTo>
                      <a:cubicBezTo>
                        <a:pt x="2600677" y="3739167"/>
                        <a:pt x="2618461" y="3739666"/>
                        <a:pt x="2636003" y="3742783"/>
                      </a:cubicBezTo>
                      <a:cubicBezTo>
                        <a:pt x="2659393" y="3746937"/>
                        <a:pt x="2682355" y="3755747"/>
                        <a:pt x="2703532" y="3769499"/>
                      </a:cubicBezTo>
                      <a:cubicBezTo>
                        <a:pt x="2788239" y="3824509"/>
                        <a:pt x="2812314" y="3937772"/>
                        <a:pt x="2757304" y="4022479"/>
                      </a:cubicBezTo>
                      <a:lnTo>
                        <a:pt x="2458493" y="4482607"/>
                      </a:lnTo>
                      <a:cubicBezTo>
                        <a:pt x="2403484" y="4567315"/>
                        <a:pt x="2290221" y="4591390"/>
                        <a:pt x="2205514" y="4536380"/>
                      </a:cubicBezTo>
                      <a:cubicBezTo>
                        <a:pt x="2120806" y="4481370"/>
                        <a:pt x="2096732" y="4368108"/>
                        <a:pt x="2151741" y="4283400"/>
                      </a:cubicBezTo>
                      <a:lnTo>
                        <a:pt x="2450552" y="3823272"/>
                      </a:lnTo>
                      <a:cubicBezTo>
                        <a:pt x="2481495" y="3775625"/>
                        <a:pt x="2530870" y="3747161"/>
                        <a:pt x="2583225" y="3741166"/>
                      </a:cubicBezTo>
                      <a:close/>
                      <a:moveTo>
                        <a:pt x="2180840" y="3483954"/>
                      </a:moveTo>
                      <a:cubicBezTo>
                        <a:pt x="2198293" y="3481957"/>
                        <a:pt x="2216075" y="3482455"/>
                        <a:pt x="2233618" y="3485571"/>
                      </a:cubicBezTo>
                      <a:cubicBezTo>
                        <a:pt x="2257008" y="3489726"/>
                        <a:pt x="2279970" y="3498537"/>
                        <a:pt x="2301147" y="3512288"/>
                      </a:cubicBezTo>
                      <a:cubicBezTo>
                        <a:pt x="2385854" y="3567298"/>
                        <a:pt x="2409929" y="3680560"/>
                        <a:pt x="2354918" y="3765268"/>
                      </a:cubicBezTo>
                      <a:lnTo>
                        <a:pt x="1956504" y="4378773"/>
                      </a:lnTo>
                      <a:cubicBezTo>
                        <a:pt x="1901495" y="4463479"/>
                        <a:pt x="1788232" y="4487555"/>
                        <a:pt x="1703524" y="4432545"/>
                      </a:cubicBezTo>
                      <a:cubicBezTo>
                        <a:pt x="1618818" y="4377535"/>
                        <a:pt x="1594743" y="4264272"/>
                        <a:pt x="1649752" y="4179565"/>
                      </a:cubicBezTo>
                      <a:lnTo>
                        <a:pt x="2048167" y="3566060"/>
                      </a:lnTo>
                      <a:cubicBezTo>
                        <a:pt x="2079109" y="3518413"/>
                        <a:pt x="2128484" y="3489950"/>
                        <a:pt x="2180840" y="3483954"/>
                      </a:cubicBezTo>
                      <a:close/>
                      <a:moveTo>
                        <a:pt x="1956920" y="2161748"/>
                      </a:moveTo>
                      <a:cubicBezTo>
                        <a:pt x="1979525" y="2163726"/>
                        <a:pt x="2001374" y="2174326"/>
                        <a:pt x="2017112" y="2193079"/>
                      </a:cubicBezTo>
                      <a:cubicBezTo>
                        <a:pt x="2046159" y="2227697"/>
                        <a:pt x="2044230" y="2277999"/>
                        <a:pt x="2013153" y="2309251"/>
                      </a:cubicBezTo>
                      <a:lnTo>
                        <a:pt x="2014245" y="2310464"/>
                      </a:lnTo>
                      <a:lnTo>
                        <a:pt x="2008427" y="2315176"/>
                      </a:lnTo>
                      <a:cubicBezTo>
                        <a:pt x="2007986" y="2316444"/>
                        <a:pt x="2007094" y="2317222"/>
                        <a:pt x="2006184" y="2317986"/>
                      </a:cubicBezTo>
                      <a:lnTo>
                        <a:pt x="1806882" y="2485219"/>
                      </a:lnTo>
                      <a:cubicBezTo>
                        <a:pt x="1704191" y="2599553"/>
                        <a:pt x="1697282" y="2774681"/>
                        <a:pt x="1797185" y="2898050"/>
                      </a:cubicBezTo>
                      <a:cubicBezTo>
                        <a:pt x="1908420" y="3035413"/>
                        <a:pt x="2109946" y="3056594"/>
                        <a:pt x="2247309" y="2945360"/>
                      </a:cubicBezTo>
                      <a:lnTo>
                        <a:pt x="2338616" y="2871422"/>
                      </a:lnTo>
                      <a:lnTo>
                        <a:pt x="2338630" y="2871437"/>
                      </a:lnTo>
                      <a:lnTo>
                        <a:pt x="2338945" y="2871156"/>
                      </a:lnTo>
                      <a:lnTo>
                        <a:pt x="2602621" y="2657635"/>
                      </a:lnTo>
                      <a:cubicBezTo>
                        <a:pt x="2608606" y="2652788"/>
                        <a:pt x="2614369" y="2647772"/>
                        <a:pt x="2618891" y="2641505"/>
                      </a:cubicBezTo>
                      <a:cubicBezTo>
                        <a:pt x="2716015" y="2580063"/>
                        <a:pt x="2827312" y="2544504"/>
                        <a:pt x="2944280" y="2540144"/>
                      </a:cubicBezTo>
                      <a:cubicBezTo>
                        <a:pt x="2997945" y="2538144"/>
                        <a:pt x="3049962" y="2542817"/>
                        <a:pt x="3099337" y="2555009"/>
                      </a:cubicBezTo>
                      <a:cubicBezTo>
                        <a:pt x="3099582" y="2554669"/>
                        <a:pt x="3099830" y="2554330"/>
                        <a:pt x="3099955" y="2553895"/>
                      </a:cubicBezTo>
                      <a:lnTo>
                        <a:pt x="3507123" y="2641827"/>
                      </a:lnTo>
                      <a:lnTo>
                        <a:pt x="3840287" y="2720589"/>
                      </a:lnTo>
                      <a:lnTo>
                        <a:pt x="3839574" y="2722689"/>
                      </a:lnTo>
                      <a:cubicBezTo>
                        <a:pt x="3918505" y="2742806"/>
                        <a:pt x="3992686" y="2774673"/>
                        <a:pt x="4059647" y="2818014"/>
                      </a:cubicBezTo>
                      <a:lnTo>
                        <a:pt x="4436081" y="3181533"/>
                      </a:lnTo>
                      <a:lnTo>
                        <a:pt x="4492118" y="3242741"/>
                      </a:lnTo>
                      <a:cubicBezTo>
                        <a:pt x="4502616" y="3245767"/>
                        <a:pt x="4510658" y="3252516"/>
                        <a:pt x="4518205" y="3260063"/>
                      </a:cubicBezTo>
                      <a:lnTo>
                        <a:pt x="5035468" y="3777326"/>
                      </a:lnTo>
                      <a:cubicBezTo>
                        <a:pt x="5106887" y="3848745"/>
                        <a:pt x="5106887" y="3964538"/>
                        <a:pt x="5035467" y="4035957"/>
                      </a:cubicBezTo>
                      <a:cubicBezTo>
                        <a:pt x="4964049" y="4107377"/>
                        <a:pt x="4848256" y="4107377"/>
                        <a:pt x="4776836" y="4035958"/>
                      </a:cubicBezTo>
                      <a:lnTo>
                        <a:pt x="4355415" y="3614535"/>
                      </a:lnTo>
                      <a:lnTo>
                        <a:pt x="4354368" y="3615620"/>
                      </a:lnTo>
                      <a:cubicBezTo>
                        <a:pt x="4331787" y="3604156"/>
                        <a:pt x="4303602" y="3608170"/>
                        <a:pt x="4284681" y="3627089"/>
                      </a:cubicBezTo>
                      <a:cubicBezTo>
                        <a:pt x="4267674" y="3644096"/>
                        <a:pt x="4262713" y="3668585"/>
                        <a:pt x="4272546" y="3688883"/>
                      </a:cubicBezTo>
                      <a:cubicBezTo>
                        <a:pt x="4293541" y="3697118"/>
                        <a:pt x="4312939" y="3710026"/>
                        <a:pt x="4329850" y="3726936"/>
                      </a:cubicBezTo>
                      <a:lnTo>
                        <a:pt x="4847114" y="4244199"/>
                      </a:lnTo>
                      <a:cubicBezTo>
                        <a:pt x="4918533" y="4315619"/>
                        <a:pt x="4918535" y="4431412"/>
                        <a:pt x="4847114" y="4502830"/>
                      </a:cubicBezTo>
                      <a:cubicBezTo>
                        <a:pt x="4775693" y="4574249"/>
                        <a:pt x="4659901" y="4574249"/>
                        <a:pt x="4588482" y="4502831"/>
                      </a:cubicBezTo>
                      <a:lnTo>
                        <a:pt x="4071219" y="3985568"/>
                      </a:lnTo>
                      <a:lnTo>
                        <a:pt x="4041024" y="3940095"/>
                      </a:lnTo>
                      <a:lnTo>
                        <a:pt x="4040360" y="3940782"/>
                      </a:lnTo>
                      <a:cubicBezTo>
                        <a:pt x="4017254" y="3924832"/>
                        <a:pt x="3985516" y="3927706"/>
                        <a:pt x="3964843" y="3948379"/>
                      </a:cubicBezTo>
                      <a:cubicBezTo>
                        <a:pt x="3944472" y="3968751"/>
                        <a:pt x="3941381" y="3999857"/>
                        <a:pt x="3957437" y="4022240"/>
                      </a:cubicBezTo>
                      <a:lnTo>
                        <a:pt x="4411220" y="4476023"/>
                      </a:lnTo>
                      <a:cubicBezTo>
                        <a:pt x="4482639" y="4547442"/>
                        <a:pt x="4482640" y="4663235"/>
                        <a:pt x="4411220" y="4734654"/>
                      </a:cubicBezTo>
                      <a:cubicBezTo>
                        <a:pt x="4339801" y="4806074"/>
                        <a:pt x="4224009" y="4806074"/>
                        <a:pt x="4152588" y="4734654"/>
                      </a:cubicBezTo>
                      <a:lnTo>
                        <a:pt x="3693759" y="4275824"/>
                      </a:lnTo>
                      <a:cubicBezTo>
                        <a:pt x="3674507" y="4266207"/>
                        <a:pt x="3651523" y="4271480"/>
                        <a:pt x="3635327" y="4287674"/>
                      </a:cubicBezTo>
                      <a:cubicBezTo>
                        <a:pt x="3616352" y="4306648"/>
                        <a:pt x="3612370" y="4334938"/>
                        <a:pt x="3624934" y="4356886"/>
                      </a:cubicBezTo>
                      <a:cubicBezTo>
                        <a:pt x="3635049" y="4359778"/>
                        <a:pt x="3642739" y="4366280"/>
                        <a:pt x="3649973" y="4373515"/>
                      </a:cubicBezTo>
                      <a:lnTo>
                        <a:pt x="3908605" y="4632146"/>
                      </a:lnTo>
                      <a:cubicBezTo>
                        <a:pt x="3980025" y="4703566"/>
                        <a:pt x="3980024" y="4819358"/>
                        <a:pt x="3908605" y="4890778"/>
                      </a:cubicBezTo>
                      <a:cubicBezTo>
                        <a:pt x="3837186" y="4962196"/>
                        <a:pt x="3721393" y="4962197"/>
                        <a:pt x="3649973" y="4890777"/>
                      </a:cubicBezTo>
                      <a:lnTo>
                        <a:pt x="3391342" y="4632145"/>
                      </a:lnTo>
                      <a:lnTo>
                        <a:pt x="3383755" y="4620718"/>
                      </a:lnTo>
                      <a:lnTo>
                        <a:pt x="3380889" y="4623684"/>
                      </a:lnTo>
                      <a:lnTo>
                        <a:pt x="3174745" y="4424613"/>
                      </a:lnTo>
                      <a:lnTo>
                        <a:pt x="3205723" y="4376911"/>
                      </a:lnTo>
                      <a:cubicBezTo>
                        <a:pt x="3288238" y="4249850"/>
                        <a:pt x="3252126" y="4079956"/>
                        <a:pt x="3125065" y="3997443"/>
                      </a:cubicBezTo>
                      <a:cubicBezTo>
                        <a:pt x="3050998" y="3949342"/>
                        <a:pt x="2962377" y="3941552"/>
                        <a:pt x="2885364" y="3969651"/>
                      </a:cubicBezTo>
                      <a:cubicBezTo>
                        <a:pt x="2904562" y="3864147"/>
                        <a:pt x="2860444" y="3752656"/>
                        <a:pt x="2764879" y="3690594"/>
                      </a:cubicBezTo>
                      <a:cubicBezTo>
                        <a:pt x="2675680" y="3632668"/>
                        <a:pt x="2565374" y="3633204"/>
                        <a:pt x="2479613" y="3683683"/>
                      </a:cubicBezTo>
                      <a:cubicBezTo>
                        <a:pt x="2491746" y="3584340"/>
                        <a:pt x="2447375" y="3482413"/>
                        <a:pt x="2357597" y="3424112"/>
                      </a:cubicBezTo>
                      <a:cubicBezTo>
                        <a:pt x="2230536" y="3341596"/>
                        <a:pt x="2060642" y="3377708"/>
                        <a:pt x="1978127" y="3504770"/>
                      </a:cubicBezTo>
                      <a:lnTo>
                        <a:pt x="1773143" y="3820415"/>
                      </a:lnTo>
                      <a:cubicBezTo>
                        <a:pt x="1771585" y="3822815"/>
                        <a:pt x="1770069" y="3825230"/>
                        <a:pt x="1769218" y="3828038"/>
                      </a:cubicBezTo>
                      <a:cubicBezTo>
                        <a:pt x="1752743" y="3768112"/>
                        <a:pt x="1714307" y="3714419"/>
                        <a:pt x="1658027" y="3677872"/>
                      </a:cubicBezTo>
                      <a:cubicBezTo>
                        <a:pt x="1530967" y="3595356"/>
                        <a:pt x="1361072" y="3631468"/>
                        <a:pt x="1278558" y="3758529"/>
                      </a:cubicBezTo>
                      <a:lnTo>
                        <a:pt x="1214041" y="3857878"/>
                      </a:lnTo>
                      <a:cubicBezTo>
                        <a:pt x="1129847" y="4012173"/>
                        <a:pt x="965736" y="4115631"/>
                        <a:pt x="777460" y="4115631"/>
                      </a:cubicBezTo>
                      <a:lnTo>
                        <a:pt x="770030" y="4114882"/>
                      </a:lnTo>
                      <a:lnTo>
                        <a:pt x="133314" y="4114882"/>
                      </a:lnTo>
                      <a:cubicBezTo>
                        <a:pt x="46334" y="3825273"/>
                        <a:pt x="0" y="3518249"/>
                        <a:pt x="0" y="3200402"/>
                      </a:cubicBezTo>
                      <a:cubicBezTo>
                        <a:pt x="-1" y="2981216"/>
                        <a:pt x="22034" y="2767175"/>
                        <a:pt x="64130" y="2560401"/>
                      </a:cubicBezTo>
                      <a:lnTo>
                        <a:pt x="1002249" y="2560400"/>
                      </a:lnTo>
                      <a:lnTo>
                        <a:pt x="1891037" y="2183134"/>
                      </a:lnTo>
                      <a:lnTo>
                        <a:pt x="1892205" y="2182154"/>
                      </a:lnTo>
                      <a:cubicBezTo>
                        <a:pt x="1910959" y="2166416"/>
                        <a:pt x="1934318" y="2159770"/>
                        <a:pt x="1956920" y="2161748"/>
                      </a:cubicBezTo>
                      <a:close/>
                      <a:moveTo>
                        <a:pt x="3656858" y="1633115"/>
                      </a:moveTo>
                      <a:cubicBezTo>
                        <a:pt x="3684170" y="1634110"/>
                        <a:pt x="3710479" y="1635996"/>
                        <a:pt x="3735468" y="1640302"/>
                      </a:cubicBezTo>
                      <a:cubicBezTo>
                        <a:pt x="3736801" y="1640168"/>
                        <a:pt x="3738134" y="1640167"/>
                        <a:pt x="3739468" y="1640167"/>
                      </a:cubicBezTo>
                      <a:cubicBezTo>
                        <a:pt x="4305222" y="1640169"/>
                        <a:pt x="4816641" y="1846440"/>
                        <a:pt x="5181704" y="2180522"/>
                      </a:cubicBezTo>
                      <a:lnTo>
                        <a:pt x="5182750" y="2177646"/>
                      </a:lnTo>
                      <a:cubicBezTo>
                        <a:pt x="5259259" y="2244293"/>
                        <a:pt x="5359072" y="2283923"/>
                        <a:pt x="5468110" y="2284801"/>
                      </a:cubicBezTo>
                      <a:lnTo>
                        <a:pt x="5467703" y="2285921"/>
                      </a:lnTo>
                      <a:lnTo>
                        <a:pt x="6267485" y="2285921"/>
                      </a:lnTo>
                      <a:cubicBezTo>
                        <a:pt x="6354465" y="2575530"/>
                        <a:pt x="6400801" y="2882555"/>
                        <a:pt x="6400801" y="3200402"/>
                      </a:cubicBezTo>
                      <a:cubicBezTo>
                        <a:pt x="6400800" y="3419588"/>
                        <a:pt x="6378766" y="3633626"/>
                        <a:pt x="6336672" y="3840401"/>
                      </a:cubicBezTo>
                      <a:lnTo>
                        <a:pt x="5704421" y="3840400"/>
                      </a:lnTo>
                      <a:lnTo>
                        <a:pt x="5517569" y="3840400"/>
                      </a:lnTo>
                      <a:cubicBezTo>
                        <a:pt x="5516068" y="3840851"/>
                        <a:pt x="5514564" y="3840855"/>
                        <a:pt x="5513058" y="3840856"/>
                      </a:cubicBezTo>
                      <a:cubicBezTo>
                        <a:pt x="5346942" y="3840856"/>
                        <a:pt x="5196620" y="3773228"/>
                        <a:pt x="5088259" y="3663870"/>
                      </a:cubicBezTo>
                      <a:lnTo>
                        <a:pt x="5088088" y="3664207"/>
                      </a:lnTo>
                      <a:lnTo>
                        <a:pt x="4240840" y="2816960"/>
                      </a:lnTo>
                      <a:cubicBezTo>
                        <a:pt x="4240396" y="2817661"/>
                        <a:pt x="4239784" y="2818172"/>
                        <a:pt x="4239171" y="2818678"/>
                      </a:cubicBezTo>
                      <a:cubicBezTo>
                        <a:pt x="4135954" y="2720312"/>
                        <a:pt x="4008137" y="2648478"/>
                        <a:pt x="3866360" y="2610767"/>
                      </a:cubicBezTo>
                      <a:lnTo>
                        <a:pt x="3866992" y="2608888"/>
                      </a:lnTo>
                      <a:lnTo>
                        <a:pt x="3535264" y="2526178"/>
                      </a:lnTo>
                      <a:lnTo>
                        <a:pt x="3130135" y="2432647"/>
                      </a:lnTo>
                      <a:cubicBezTo>
                        <a:pt x="3130024" y="2433039"/>
                        <a:pt x="3129793" y="2433339"/>
                        <a:pt x="3129562" y="2433637"/>
                      </a:cubicBezTo>
                      <a:cubicBezTo>
                        <a:pt x="3080383" y="2420910"/>
                        <a:pt x="3028848" y="2414912"/>
                        <a:pt x="2975908" y="2414912"/>
                      </a:cubicBezTo>
                      <a:cubicBezTo>
                        <a:pt x="2811943" y="2414912"/>
                        <a:pt x="2661415" y="2472455"/>
                        <a:pt x="2545396" y="2570876"/>
                      </a:cubicBezTo>
                      <a:lnTo>
                        <a:pt x="2543573" y="2569717"/>
                      </a:lnTo>
                      <a:lnTo>
                        <a:pt x="2193720" y="2853022"/>
                      </a:lnTo>
                      <a:cubicBezTo>
                        <a:pt x="2105416" y="2924529"/>
                        <a:pt x="1975860" y="2910914"/>
                        <a:pt x="1904353" y="2822609"/>
                      </a:cubicBezTo>
                      <a:cubicBezTo>
                        <a:pt x="1832844" y="2734303"/>
                        <a:pt x="1846461" y="2604750"/>
                        <a:pt x="1934767" y="2533243"/>
                      </a:cubicBezTo>
                      <a:lnTo>
                        <a:pt x="2350832" y="2196320"/>
                      </a:lnTo>
                      <a:lnTo>
                        <a:pt x="2704088" y="1899903"/>
                      </a:lnTo>
                      <a:cubicBezTo>
                        <a:pt x="2709938" y="1893802"/>
                        <a:pt x="2716509" y="1888323"/>
                        <a:pt x="2723713" y="1883435"/>
                      </a:cubicBezTo>
                      <a:lnTo>
                        <a:pt x="2732397" y="1876148"/>
                      </a:lnTo>
                      <a:lnTo>
                        <a:pt x="2741152" y="1870710"/>
                      </a:lnTo>
                      <a:cubicBezTo>
                        <a:pt x="2794071" y="1830023"/>
                        <a:pt x="2859630" y="1794650"/>
                        <a:pt x="2933347" y="1767819"/>
                      </a:cubicBezTo>
                      <a:lnTo>
                        <a:pt x="3001298" y="1748265"/>
                      </a:lnTo>
                      <a:cubicBezTo>
                        <a:pt x="3071697" y="1720366"/>
                        <a:pt x="3148660" y="1697120"/>
                        <a:pt x="3229866" y="1678372"/>
                      </a:cubicBezTo>
                      <a:cubicBezTo>
                        <a:pt x="3383705" y="1642856"/>
                        <a:pt x="3530928" y="1628523"/>
                        <a:pt x="3656858" y="1633115"/>
                      </a:cubicBezTo>
                      <a:close/>
                      <a:moveTo>
                        <a:pt x="3200402" y="0"/>
                      </a:moveTo>
                      <a:cubicBezTo>
                        <a:pt x="4604889" y="0"/>
                        <a:pt x="5798071" y="904705"/>
                        <a:pt x="6225978" y="2164162"/>
                      </a:cubicBezTo>
                      <a:lnTo>
                        <a:pt x="5489721" y="2164162"/>
                      </a:lnTo>
                      <a:cubicBezTo>
                        <a:pt x="5096787" y="1291881"/>
                        <a:pt x="4219373" y="685800"/>
                        <a:pt x="3200402" y="685800"/>
                      </a:cubicBezTo>
                      <a:cubicBezTo>
                        <a:pt x="2074893" y="685800"/>
                        <a:pt x="1122090" y="1425244"/>
                        <a:pt x="801668" y="2444946"/>
                      </a:cubicBezTo>
                      <a:lnTo>
                        <a:pt x="90517" y="2444946"/>
                      </a:lnTo>
                      <a:cubicBezTo>
                        <a:pt x="429306" y="1041901"/>
                        <a:pt x="1693180" y="0"/>
                        <a:pt x="3200402" y="0"/>
                      </a:cubicBezTo>
                      <a:close/>
                    </a:path>
                  </a:pathLst>
                </a:custGeom>
                <a:solidFill>
                  <a:srgbClr val="FFFFFF"/>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3833" fontAlgn="base">
                    <a:lnSpc>
                      <a:spcPct val="90000"/>
                    </a:lnSpc>
                    <a:spcBef>
                      <a:spcPct val="0"/>
                    </a:spcBef>
                    <a:spcAft>
                      <a:spcPct val="0"/>
                    </a:spcAft>
                    <a:defRPr/>
                  </a:pPr>
                  <a:endParaRPr lang="en-US" sz="2200" kern="0" dirty="0">
                    <a:gradFill>
                      <a:gsLst>
                        <a:gs pos="0">
                          <a:srgbClr val="FFFFFF"/>
                        </a:gs>
                        <a:gs pos="100000">
                          <a:srgbClr val="FFFFFF"/>
                        </a:gs>
                      </a:gsLst>
                      <a:lin ang="5400000" scaled="0"/>
                    </a:gradFill>
                  </a:endParaRPr>
                </a:p>
              </p:txBody>
            </p:sp>
          </p:grpSp>
          <p:sp>
            <p:nvSpPr>
              <p:cNvPr id="79" name="Rectangle 78"/>
              <p:cNvSpPr/>
              <p:nvPr>
                <p:custDataLst>
                  <p:tags r:id="rId4"/>
                </p:custDataLst>
              </p:nvPr>
            </p:nvSpPr>
            <p:spPr bwMode="auto">
              <a:xfrm>
                <a:off x="3043368" y="5264643"/>
                <a:ext cx="7738374" cy="1280160"/>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37160" tIns="121883" rIns="121883" bIns="121883" numCol="1" rtlCol="0" anchor="ctr" anchorCtr="0" compatLnSpc="1">
                <a:prstTxWarp prst="textNoShape">
                  <a:avLst/>
                </a:prstTxWarp>
                <a:noAutofit/>
              </a:bodyPr>
              <a:lstStyle/>
              <a:p>
                <a:pPr defTabSz="1218106" fontAlgn="base">
                  <a:spcBef>
                    <a:spcPts val="300"/>
                  </a:spcBef>
                  <a:spcAft>
                    <a:spcPts val="300"/>
                  </a:spcAft>
                  <a:buClr>
                    <a:srgbClr val="C2C2C2">
                      <a:lumMod val="75000"/>
                    </a:srgbClr>
                  </a:buClr>
                  <a:buSzPct val="100000"/>
                </a:pPr>
                <a:r>
                  <a:rPr lang="en-US" sz="1800" dirty="0">
                    <a:solidFill>
                      <a:srgbClr val="FFFFFF">
                        <a:alpha val="99000"/>
                      </a:srgbClr>
                    </a:solidFill>
                    <a:cs typeface="Segoe UI" pitchFamily="34" charset="0"/>
                  </a:rPr>
                  <a:t>Managed infrastructure</a:t>
                </a:r>
                <a:endParaRPr lang="en-US" sz="1500" dirty="0">
                  <a:gradFill>
                    <a:gsLst>
                      <a:gs pos="0">
                        <a:schemeClr val="tx1"/>
                      </a:gs>
                      <a:gs pos="100000">
                        <a:schemeClr val="tx1"/>
                      </a:gs>
                    </a:gsLst>
                    <a:lin ang="5400000" scaled="0"/>
                  </a:gradFill>
                  <a:cs typeface="Segoe UI" pitchFamily="34" charset="0"/>
                </a:endParaRPr>
              </a:p>
            </p:txBody>
          </p:sp>
        </p:grpSp>
      </p:grpSp>
      <p:sp>
        <p:nvSpPr>
          <p:cNvPr id="2" name="Rectangle 1"/>
          <p:cNvSpPr/>
          <p:nvPr/>
        </p:nvSpPr>
        <p:spPr bwMode="auto">
          <a:xfrm>
            <a:off x="0" y="4977552"/>
            <a:ext cx="9144000" cy="2421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6" tIns="34286" rIns="34286" bIns="34286" numCol="1" spcCol="0" rtlCol="0" fromWordArt="0" anchor="ctr" anchorCtr="0" forceAA="0" compatLnSpc="1">
            <a:prstTxWarp prst="textNoShape">
              <a:avLst/>
            </a:prstTxWarp>
            <a:noAutofit/>
          </a:bodyPr>
          <a:lstStyle/>
          <a:p>
            <a:pPr algn="ctr" defTabSz="685495"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0" name="Rectangle 29"/>
          <p:cNvSpPr/>
          <p:nvPr/>
        </p:nvSpPr>
        <p:spPr bwMode="auto">
          <a:xfrm>
            <a:off x="8088419" y="590551"/>
            <a:ext cx="1055587" cy="454996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6" tIns="34286" rIns="34286" bIns="34286" numCol="1" spcCol="0" rtlCol="0" fromWordArt="0" anchor="ctr" anchorCtr="0" forceAA="0" compatLnSpc="1">
            <a:prstTxWarp prst="textNoShape">
              <a:avLst/>
            </a:prstTxWarp>
            <a:noAutofit/>
          </a:bodyPr>
          <a:lstStyle/>
          <a:p>
            <a:pPr algn="ctr" defTabSz="685495" fontAlgn="base">
              <a:spcBef>
                <a:spcPct val="0"/>
              </a:spcBef>
              <a:spcAft>
                <a:spcPct val="0"/>
              </a:spcAft>
            </a:pPr>
            <a:endParaRPr lang="en-US" b="1"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8"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9"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9"/>
              </a:rPr>
              <a:t>www.rapidbbs.cn</a:t>
            </a:r>
            <a:endParaRPr lang="zh-CN" altLang="en-US" sz="1200" b="0">
              <a:latin typeface="Arial" charset="0"/>
              <a:ea typeface="ＭＳ Ｐゴシック" pitchFamily="34" charset="-128"/>
            </a:endParaRPr>
          </a:p>
        </p:txBody>
      </p:sp>
      <p:pic>
        <p:nvPicPr>
          <p:cNvPr id="31" name="Picture 2">
            <a:hlinkClick r:id="rId19"/>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89377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 descr="C:\Users\chrisw\Desktop\inside phone.png"/>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1299933" y="1624965"/>
            <a:ext cx="1537372" cy="2331720"/>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3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87613" y="1624965"/>
            <a:ext cx="4712874" cy="2331720"/>
          </a:xfrm>
          <a:prstGeom prst="rect">
            <a:avLst/>
          </a:prstGeom>
          <a:solidFill>
            <a:srgbClr val="000000"/>
          </a:solidFill>
        </p:spPr>
      </p:pic>
      <p:sp>
        <p:nvSpPr>
          <p:cNvPr id="22" name="small box shadow"/>
          <p:cNvSpPr/>
          <p:nvPr/>
        </p:nvSpPr>
        <p:spPr bwMode="auto">
          <a:xfrm>
            <a:off x="1312421" y="4074507"/>
            <a:ext cx="6494325" cy="535132"/>
          </a:xfrm>
          <a:prstGeom prst="rect">
            <a:avLst/>
          </a:prstGeom>
          <a:solidFill>
            <a:srgbClr val="000000">
              <a:alpha val="10000"/>
            </a:srgbClr>
          </a:solidFill>
          <a:ln>
            <a:noFill/>
            <a:headEnd type="none" w="med" len="med"/>
            <a:tailEnd type="none" w="med" len="med"/>
          </a:ln>
          <a:effectLst>
            <a:softEdge rad="241300"/>
          </a:effectLst>
        </p:spPr>
        <p:style>
          <a:lnRef idx="2">
            <a:schemeClr val="accent5"/>
          </a:lnRef>
          <a:fillRef idx="1">
            <a:schemeClr val="lt1"/>
          </a:fillRef>
          <a:effectRef idx="0">
            <a:schemeClr val="accent5"/>
          </a:effectRef>
          <a:fontRef idx="minor">
            <a:schemeClr val="dk1"/>
          </a:fontRef>
        </p:style>
        <p:txBody>
          <a:bodyPr vert="horz" wrap="square" lIns="68562" tIns="34282" rIns="68562" bIns="34282" numCol="1" rtlCol="0" anchor="ctr" anchorCtr="0" compatLnSpc="1">
            <a:prstTxWarp prst="textNoShape">
              <a:avLst/>
            </a:prstTxWarp>
          </a:bodyPr>
          <a:lstStyle/>
          <a:p>
            <a:pPr algn="ctr" defTabSz="685438" fontAlgn="base">
              <a:spcBef>
                <a:spcPct val="0"/>
              </a:spcBef>
              <a:spcAft>
                <a:spcPct val="0"/>
              </a:spcAft>
            </a:pPr>
            <a:endParaRPr lang="en-US" sz="1700" dirty="0">
              <a:gradFill>
                <a:gsLst>
                  <a:gs pos="0">
                    <a:srgbClr val="FFFFFF"/>
                  </a:gs>
                  <a:gs pos="100000">
                    <a:srgbClr val="FFFFFF"/>
                  </a:gs>
                </a:gsLst>
                <a:lin ang="5400000" scaled="0"/>
              </a:gradFill>
            </a:endParaRPr>
          </a:p>
        </p:txBody>
      </p:sp>
      <p:pic>
        <p:nvPicPr>
          <p:cNvPr id="4098" name="Picture 2" descr="C:\Users\chrisw\Desktop\inside phone.png"/>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1109969" y="1425178"/>
            <a:ext cx="1629183" cy="2890841"/>
          </a:xfrm>
          <a:prstGeom prst="rect">
            <a:avLst/>
          </a:prstGeom>
          <a:noFill/>
          <a:extLst>
            <a:ext uri="{909E8E84-426E-40DD-AFC4-6F175D3DCCD1}">
              <a14:hiddenFill xmlns:a14="http://schemas.microsoft.com/office/drawing/2010/main">
                <a:solidFill>
                  <a:srgbClr val="FFFFFF"/>
                </a:solidFill>
              </a14:hiddenFill>
            </a:ext>
          </a:extLst>
        </p:spPr>
      </p:pic>
      <p:pic>
        <p:nvPicPr>
          <p:cNvPr id="4099" name="Picture 3"/>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1135294" y="1311636"/>
            <a:ext cx="1606313" cy="3113532"/>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C:\Users\chrisw\Desktop\inside phone.png"/>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1300512" y="1899443"/>
            <a:ext cx="1062910" cy="1612107"/>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366163" y="1715081"/>
            <a:ext cx="4148640" cy="2332711"/>
          </a:xfrm>
          <a:prstGeom prst="rect">
            <a:avLst/>
          </a:prstGeom>
        </p:spPr>
      </p:pic>
      <p:pic>
        <p:nvPicPr>
          <p:cNvPr id="2050" name="Picture 2" descr="C:\Users\alyssaj\Desktop\UPLOAD_EXEC_TIER_ARCHIVE\GoogleTablet_noscreen.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151215" y="1392662"/>
            <a:ext cx="4427896" cy="296038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smtClean="0"/>
              <a:t>Introducing the Shared Windows Core</a:t>
            </a:r>
            <a:endParaRPr lang="en-US" dirty="0"/>
          </a:p>
        </p:txBody>
      </p:sp>
      <p:pic>
        <p:nvPicPr>
          <p:cNvPr id="2049" name="Picture 1"/>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714958" y="2258391"/>
            <a:ext cx="2907498" cy="1438501"/>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714958" y="2258391"/>
            <a:ext cx="2907498" cy="1438501"/>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4"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0"/>
              </a:rPr>
              <a:t>www.rapidbbs.cn</a:t>
            </a:r>
            <a:endParaRPr lang="zh-CN" altLang="en-US" sz="1200" b="0">
              <a:latin typeface="Arial" charset="0"/>
              <a:ea typeface="ＭＳ Ｐゴシック" pitchFamily="34" charset="-128"/>
            </a:endParaRPr>
          </a:p>
        </p:txBody>
      </p:sp>
      <p:pic>
        <p:nvPicPr>
          <p:cNvPr id="15" name="Picture 2">
            <a:hlinkClick r:id="rId10"/>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88520153"/>
      </p:ext>
    </p:extLst>
  </p:cSld>
  <p:clrMapOvr>
    <a:masterClrMapping/>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accel="5000" decel="95000" fill="hold" nodeType="withEffect">
                                  <p:stCondLst>
                                    <p:cond delay="1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1000" fill="hold"/>
                                        <p:tgtEl>
                                          <p:spTgt spid="17"/>
                                        </p:tgtEl>
                                        <p:attrNameLst>
                                          <p:attrName>ppt_x</p:attrName>
                                        </p:attrNameLst>
                                      </p:cBhvr>
                                      <p:tavLst>
                                        <p:tav tm="0">
                                          <p:val>
                                            <p:strVal val="1+#ppt_w/2"/>
                                          </p:val>
                                        </p:tav>
                                        <p:tav tm="100000">
                                          <p:val>
                                            <p:strVal val="#ppt_x"/>
                                          </p:val>
                                        </p:tav>
                                      </p:tavLst>
                                    </p:anim>
                                    <p:anim calcmode="lin" valueType="num">
                                      <p:cBhvr additive="base">
                                        <p:cTn id="8" dur="1000" fill="hold"/>
                                        <p:tgtEl>
                                          <p:spTgt spid="17"/>
                                        </p:tgtEl>
                                        <p:attrNameLst>
                                          <p:attrName>ppt_y</p:attrName>
                                        </p:attrNameLst>
                                      </p:cBhvr>
                                      <p:tavLst>
                                        <p:tav tm="0">
                                          <p:val>
                                            <p:strVal val="#ppt_y"/>
                                          </p:val>
                                        </p:tav>
                                        <p:tav tm="100000">
                                          <p:val>
                                            <p:strVal val="#ppt_y"/>
                                          </p:val>
                                        </p:tav>
                                      </p:tavLst>
                                    </p:anim>
                                  </p:childTnLst>
                                </p:cTn>
                              </p:par>
                              <p:par>
                                <p:cTn id="9" presetID="2" presetClass="entr" presetSubtype="2" accel="5000" decel="95000" fill="hold" nodeType="withEffect">
                                  <p:stCondLst>
                                    <p:cond delay="10"/>
                                  </p:stCondLst>
                                  <p:childTnLst>
                                    <p:set>
                                      <p:cBhvr>
                                        <p:cTn id="10" dur="1" fill="hold">
                                          <p:stCondLst>
                                            <p:cond delay="0"/>
                                          </p:stCondLst>
                                        </p:cTn>
                                        <p:tgtEl>
                                          <p:spTgt spid="2049"/>
                                        </p:tgtEl>
                                        <p:attrNameLst>
                                          <p:attrName>style.visibility</p:attrName>
                                        </p:attrNameLst>
                                      </p:cBhvr>
                                      <p:to>
                                        <p:strVal val="visible"/>
                                      </p:to>
                                    </p:set>
                                    <p:anim calcmode="lin" valueType="num">
                                      <p:cBhvr additive="base">
                                        <p:cTn id="11" dur="1000" fill="hold"/>
                                        <p:tgtEl>
                                          <p:spTgt spid="2049"/>
                                        </p:tgtEl>
                                        <p:attrNameLst>
                                          <p:attrName>ppt_x</p:attrName>
                                        </p:attrNameLst>
                                      </p:cBhvr>
                                      <p:tavLst>
                                        <p:tav tm="0">
                                          <p:val>
                                            <p:strVal val="1+#ppt_w/2"/>
                                          </p:val>
                                        </p:tav>
                                        <p:tav tm="100000">
                                          <p:val>
                                            <p:strVal val="#ppt_x"/>
                                          </p:val>
                                        </p:tav>
                                      </p:tavLst>
                                    </p:anim>
                                    <p:anim calcmode="lin" valueType="num">
                                      <p:cBhvr additive="base">
                                        <p:cTn id="12" dur="1000" fill="hold"/>
                                        <p:tgtEl>
                                          <p:spTgt spid="2049"/>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10"/>
                                  </p:stCondLst>
                                  <p:childTnLst>
                                    <p:set>
                                      <p:cBhvr>
                                        <p:cTn id="14" dur="1" fill="hold">
                                          <p:stCondLst>
                                            <p:cond delay="0"/>
                                          </p:stCondLst>
                                        </p:cTn>
                                        <p:tgtEl>
                                          <p:spTgt spid="4099"/>
                                        </p:tgtEl>
                                        <p:attrNameLst>
                                          <p:attrName>style.visibility</p:attrName>
                                        </p:attrNameLst>
                                      </p:cBhvr>
                                      <p:to>
                                        <p:strVal val="visible"/>
                                      </p:to>
                                    </p:set>
                                    <p:anim calcmode="lin" valueType="num">
                                      <p:cBhvr additive="base">
                                        <p:cTn id="15" dur="1000" fill="hold"/>
                                        <p:tgtEl>
                                          <p:spTgt spid="4099"/>
                                        </p:tgtEl>
                                        <p:attrNameLst>
                                          <p:attrName>ppt_x</p:attrName>
                                        </p:attrNameLst>
                                      </p:cBhvr>
                                      <p:tavLst>
                                        <p:tav tm="0">
                                          <p:val>
                                            <p:strVal val="0-#ppt_w/2"/>
                                          </p:val>
                                        </p:tav>
                                        <p:tav tm="100000">
                                          <p:val>
                                            <p:strVal val="#ppt_x"/>
                                          </p:val>
                                        </p:tav>
                                      </p:tavLst>
                                    </p:anim>
                                    <p:anim calcmode="lin" valueType="num">
                                      <p:cBhvr additive="base">
                                        <p:cTn id="16" dur="1000" fill="hold"/>
                                        <p:tgtEl>
                                          <p:spTgt spid="4099"/>
                                        </p:tgtEl>
                                        <p:attrNameLst>
                                          <p:attrName>ppt_y</p:attrName>
                                        </p:attrNameLst>
                                      </p:cBhvr>
                                      <p:tavLst>
                                        <p:tav tm="0">
                                          <p:val>
                                            <p:strVal val="#ppt_y"/>
                                          </p:val>
                                        </p:tav>
                                        <p:tav tm="100000">
                                          <p:val>
                                            <p:strVal val="#ppt_y"/>
                                          </p:val>
                                        </p:tav>
                                      </p:tavLst>
                                    </p:anim>
                                  </p:childTnLst>
                                </p:cTn>
                              </p:par>
                              <p:par>
                                <p:cTn id="17" presetID="2" presetClass="entr" presetSubtype="8" decel="100000" fill="hold" nodeType="withEffect">
                                  <p:stCondLst>
                                    <p:cond delay="10"/>
                                  </p:stCondLst>
                                  <p:childTnLst>
                                    <p:set>
                                      <p:cBhvr>
                                        <p:cTn id="18" dur="1" fill="hold">
                                          <p:stCondLst>
                                            <p:cond delay="0"/>
                                          </p:stCondLst>
                                        </p:cTn>
                                        <p:tgtEl>
                                          <p:spTgt spid="4098"/>
                                        </p:tgtEl>
                                        <p:attrNameLst>
                                          <p:attrName>style.visibility</p:attrName>
                                        </p:attrNameLst>
                                      </p:cBhvr>
                                      <p:to>
                                        <p:strVal val="visible"/>
                                      </p:to>
                                    </p:set>
                                    <p:anim calcmode="lin" valueType="num">
                                      <p:cBhvr additive="base">
                                        <p:cTn id="19" dur="1000" fill="hold"/>
                                        <p:tgtEl>
                                          <p:spTgt spid="4098"/>
                                        </p:tgtEl>
                                        <p:attrNameLst>
                                          <p:attrName>ppt_x</p:attrName>
                                        </p:attrNameLst>
                                      </p:cBhvr>
                                      <p:tavLst>
                                        <p:tav tm="0">
                                          <p:val>
                                            <p:strVal val="0-#ppt_w/2"/>
                                          </p:val>
                                        </p:tav>
                                        <p:tav tm="100000">
                                          <p:val>
                                            <p:strVal val="#ppt_x"/>
                                          </p:val>
                                        </p:tav>
                                      </p:tavLst>
                                    </p:anim>
                                    <p:anim calcmode="lin" valueType="num">
                                      <p:cBhvr additive="base">
                                        <p:cTn id="20" dur="1000" fill="hold"/>
                                        <p:tgtEl>
                                          <p:spTgt spid="4098"/>
                                        </p:tgtEl>
                                        <p:attrNameLst>
                                          <p:attrName>ppt_y</p:attrName>
                                        </p:attrNameLst>
                                      </p:cBhvr>
                                      <p:tavLst>
                                        <p:tav tm="0">
                                          <p:val>
                                            <p:strVal val="#ppt_y"/>
                                          </p:val>
                                        </p:tav>
                                        <p:tav tm="100000">
                                          <p:val>
                                            <p:strVal val="#ppt_y"/>
                                          </p:val>
                                        </p:tav>
                                      </p:tavLst>
                                    </p:anim>
                                  </p:childTnLst>
                                </p:cTn>
                              </p:par>
                              <p:par>
                                <p:cTn id="21" presetID="2" presetClass="entr" presetSubtype="2" accel="10000" decel="90000" fill="hold" nodeType="withEffect">
                                  <p:stCondLst>
                                    <p:cond delay="10"/>
                                  </p:stCondLst>
                                  <p:childTnLst>
                                    <p:set>
                                      <p:cBhvr>
                                        <p:cTn id="22" dur="1" fill="hold">
                                          <p:stCondLst>
                                            <p:cond delay="0"/>
                                          </p:stCondLst>
                                        </p:cTn>
                                        <p:tgtEl>
                                          <p:spTgt spid="18"/>
                                        </p:tgtEl>
                                        <p:attrNameLst>
                                          <p:attrName>style.visibility</p:attrName>
                                        </p:attrNameLst>
                                      </p:cBhvr>
                                      <p:to>
                                        <p:strVal val="visible"/>
                                      </p:to>
                                    </p:set>
                                    <p:anim calcmode="lin" valueType="num">
                                      <p:cBhvr additive="base">
                                        <p:cTn id="23" dur="1000" fill="hold"/>
                                        <p:tgtEl>
                                          <p:spTgt spid="18"/>
                                        </p:tgtEl>
                                        <p:attrNameLst>
                                          <p:attrName>ppt_x</p:attrName>
                                        </p:attrNameLst>
                                      </p:cBhvr>
                                      <p:tavLst>
                                        <p:tav tm="0">
                                          <p:val>
                                            <p:strVal val="1+#ppt_w/2"/>
                                          </p:val>
                                        </p:tav>
                                        <p:tav tm="100000">
                                          <p:val>
                                            <p:strVal val="#ppt_x"/>
                                          </p:val>
                                        </p:tav>
                                      </p:tavLst>
                                    </p:anim>
                                    <p:anim calcmode="lin" valueType="num">
                                      <p:cBhvr additive="base">
                                        <p:cTn id="24" dur="1000" fill="hold"/>
                                        <p:tgtEl>
                                          <p:spTgt spid="18"/>
                                        </p:tgtEl>
                                        <p:attrNameLst>
                                          <p:attrName>ppt_y</p:attrName>
                                        </p:attrNameLst>
                                      </p:cBhvr>
                                      <p:tavLst>
                                        <p:tav tm="0">
                                          <p:val>
                                            <p:strVal val="#ppt_y"/>
                                          </p:val>
                                        </p:tav>
                                        <p:tav tm="100000">
                                          <p:val>
                                            <p:strVal val="#ppt_y"/>
                                          </p:val>
                                        </p:tav>
                                      </p:tavLst>
                                    </p:anim>
                                  </p:childTnLst>
                                </p:cTn>
                              </p:par>
                              <p:par>
                                <p:cTn id="25" presetID="2" presetClass="entr" presetSubtype="2" decel="100000" fill="hold" nodeType="withEffect">
                                  <p:stCondLst>
                                    <p:cond delay="10"/>
                                  </p:stCondLst>
                                  <p:childTnLst>
                                    <p:set>
                                      <p:cBhvr>
                                        <p:cTn id="26" dur="1" fill="hold">
                                          <p:stCondLst>
                                            <p:cond delay="0"/>
                                          </p:stCondLst>
                                        </p:cTn>
                                        <p:tgtEl>
                                          <p:spTgt spid="2050"/>
                                        </p:tgtEl>
                                        <p:attrNameLst>
                                          <p:attrName>style.visibility</p:attrName>
                                        </p:attrNameLst>
                                      </p:cBhvr>
                                      <p:to>
                                        <p:strVal val="visible"/>
                                      </p:to>
                                    </p:set>
                                    <p:anim calcmode="lin" valueType="num">
                                      <p:cBhvr additive="base">
                                        <p:cTn id="27" dur="1000" fill="hold"/>
                                        <p:tgtEl>
                                          <p:spTgt spid="2050"/>
                                        </p:tgtEl>
                                        <p:attrNameLst>
                                          <p:attrName>ppt_x</p:attrName>
                                        </p:attrNameLst>
                                      </p:cBhvr>
                                      <p:tavLst>
                                        <p:tav tm="0">
                                          <p:val>
                                            <p:strVal val="1+#ppt_w/2"/>
                                          </p:val>
                                        </p:tav>
                                        <p:tav tm="100000">
                                          <p:val>
                                            <p:strVal val="#ppt_x"/>
                                          </p:val>
                                        </p:tav>
                                      </p:tavLst>
                                    </p:anim>
                                    <p:anim calcmode="lin" valueType="num">
                                      <p:cBhvr additive="base">
                                        <p:cTn id="28" dur="1000" fill="hold"/>
                                        <p:tgtEl>
                                          <p:spTgt spid="2050"/>
                                        </p:tgtEl>
                                        <p:attrNameLst>
                                          <p:attrName>ppt_y</p:attrName>
                                        </p:attrNameLst>
                                      </p:cBhvr>
                                      <p:tavLst>
                                        <p:tav tm="0">
                                          <p:val>
                                            <p:strVal val="#ppt_y"/>
                                          </p:val>
                                        </p:tav>
                                        <p:tav tm="100000">
                                          <p:val>
                                            <p:strVal val="#ppt_y"/>
                                          </p:val>
                                        </p:tav>
                                      </p:tavLst>
                                    </p:anim>
                                  </p:childTnLst>
                                </p:cTn>
                              </p:par>
                              <p:par>
                                <p:cTn id="29" presetID="10" presetClass="entr" presetSubtype="0" fill="hold" nodeType="withEffect">
                                  <p:stCondLst>
                                    <p:cond delay="1000"/>
                                  </p:stCondLst>
                                  <p:childTnLst>
                                    <p:set>
                                      <p:cBhvr>
                                        <p:cTn id="30" dur="1" fill="hold">
                                          <p:stCondLst>
                                            <p:cond delay="0"/>
                                          </p:stCondLst>
                                        </p:cTn>
                                        <p:tgtEl>
                                          <p:spTgt spid="20"/>
                                        </p:tgtEl>
                                        <p:attrNameLst>
                                          <p:attrName>style.visibility</p:attrName>
                                        </p:attrNameLst>
                                      </p:cBhvr>
                                      <p:to>
                                        <p:strVal val="visible"/>
                                      </p:to>
                                    </p:set>
                                    <p:animEffect transition="in" filter="fade">
                                      <p:cBhvr>
                                        <p:cTn id="31" dur="250"/>
                                        <p:tgtEl>
                                          <p:spTgt spid="20"/>
                                        </p:tgtEl>
                                      </p:cBhvr>
                                    </p:animEffect>
                                  </p:childTnLst>
                                </p:cTn>
                              </p:par>
                            </p:childTnLst>
                          </p:cTn>
                        </p:par>
                        <p:par>
                          <p:cTn id="32" fill="hold">
                            <p:stCondLst>
                              <p:cond delay="1250"/>
                            </p:stCondLst>
                            <p:childTnLst>
                              <p:par>
                                <p:cTn id="33" presetID="10" presetClass="exit" presetSubtype="0" fill="hold" nodeType="afterEffect">
                                  <p:stCondLst>
                                    <p:cond delay="650"/>
                                  </p:stCondLst>
                                  <p:childTnLst>
                                    <p:animEffect transition="out" filter="fade">
                                      <p:cBhvr>
                                        <p:cTn id="34" dur="750"/>
                                        <p:tgtEl>
                                          <p:spTgt spid="4098"/>
                                        </p:tgtEl>
                                      </p:cBhvr>
                                    </p:animEffect>
                                    <p:set>
                                      <p:cBhvr>
                                        <p:cTn id="35" dur="1" fill="hold">
                                          <p:stCondLst>
                                            <p:cond delay="749"/>
                                          </p:stCondLst>
                                        </p:cTn>
                                        <p:tgtEl>
                                          <p:spTgt spid="4098"/>
                                        </p:tgtEl>
                                        <p:attrNameLst>
                                          <p:attrName>style.visibility</p:attrName>
                                        </p:attrNameLst>
                                      </p:cBhvr>
                                      <p:to>
                                        <p:strVal val="hidden"/>
                                      </p:to>
                                    </p:set>
                                  </p:childTnLst>
                                </p:cTn>
                              </p:par>
                              <p:par>
                                <p:cTn id="36" presetID="10" presetClass="exit" presetSubtype="0" fill="hold" nodeType="withEffect">
                                  <p:stCondLst>
                                    <p:cond delay="650"/>
                                  </p:stCondLst>
                                  <p:childTnLst>
                                    <p:animEffect transition="out" filter="fade">
                                      <p:cBhvr>
                                        <p:cTn id="37" dur="500"/>
                                        <p:tgtEl>
                                          <p:spTgt spid="4099"/>
                                        </p:tgtEl>
                                      </p:cBhvr>
                                    </p:animEffect>
                                    <p:set>
                                      <p:cBhvr>
                                        <p:cTn id="38" dur="1" fill="hold">
                                          <p:stCondLst>
                                            <p:cond delay="499"/>
                                          </p:stCondLst>
                                        </p:cTn>
                                        <p:tgtEl>
                                          <p:spTgt spid="4099"/>
                                        </p:tgtEl>
                                        <p:attrNameLst>
                                          <p:attrName>style.visibility</p:attrName>
                                        </p:attrNameLst>
                                      </p:cBhvr>
                                      <p:to>
                                        <p:strVal val="hidden"/>
                                      </p:to>
                                    </p:set>
                                  </p:childTnLst>
                                </p:cTn>
                              </p:par>
                              <p:par>
                                <p:cTn id="39" presetID="10" presetClass="exit" presetSubtype="0" fill="hold" nodeType="withEffect">
                                  <p:stCondLst>
                                    <p:cond delay="650"/>
                                  </p:stCondLst>
                                  <p:childTnLst>
                                    <p:animEffect transition="out" filter="fade">
                                      <p:cBhvr>
                                        <p:cTn id="40" dur="750"/>
                                        <p:tgtEl>
                                          <p:spTgt spid="2050"/>
                                        </p:tgtEl>
                                      </p:cBhvr>
                                    </p:animEffect>
                                    <p:set>
                                      <p:cBhvr>
                                        <p:cTn id="41" dur="1" fill="hold">
                                          <p:stCondLst>
                                            <p:cond delay="749"/>
                                          </p:stCondLst>
                                        </p:cTn>
                                        <p:tgtEl>
                                          <p:spTgt spid="2050"/>
                                        </p:tgtEl>
                                        <p:attrNameLst>
                                          <p:attrName>style.visibility</p:attrName>
                                        </p:attrNameLst>
                                      </p:cBhvr>
                                      <p:to>
                                        <p:strVal val="hidden"/>
                                      </p:to>
                                    </p:set>
                                  </p:childTnLst>
                                </p:cTn>
                              </p:par>
                              <p:par>
                                <p:cTn id="42" presetID="10" presetClass="exit" presetSubtype="0" fill="hold" nodeType="withEffect">
                                  <p:stCondLst>
                                    <p:cond delay="650"/>
                                  </p:stCondLst>
                                  <p:childTnLst>
                                    <p:animEffect transition="out" filter="fade">
                                      <p:cBhvr>
                                        <p:cTn id="43" dur="750"/>
                                        <p:tgtEl>
                                          <p:spTgt spid="17"/>
                                        </p:tgtEl>
                                      </p:cBhvr>
                                    </p:animEffect>
                                    <p:set>
                                      <p:cBhvr>
                                        <p:cTn id="44" dur="1" fill="hold">
                                          <p:stCondLst>
                                            <p:cond delay="749"/>
                                          </p:stCondLst>
                                        </p:cTn>
                                        <p:tgtEl>
                                          <p:spTgt spid="17"/>
                                        </p:tgtEl>
                                        <p:attrNameLst>
                                          <p:attrName>style.visibility</p:attrName>
                                        </p:attrNameLst>
                                      </p:cBhvr>
                                      <p:to>
                                        <p:strVal val="hidden"/>
                                      </p:to>
                                    </p:set>
                                  </p:childTnLst>
                                </p:cTn>
                              </p:par>
                              <p:par>
                                <p:cTn id="45" presetID="10" presetClass="exit" presetSubtype="0" fill="hold" nodeType="withEffect">
                                  <p:stCondLst>
                                    <p:cond delay="650"/>
                                  </p:stCondLst>
                                  <p:childTnLst>
                                    <p:animEffect transition="out" filter="fade">
                                      <p:cBhvr>
                                        <p:cTn id="46" dur="750"/>
                                        <p:tgtEl>
                                          <p:spTgt spid="2049"/>
                                        </p:tgtEl>
                                      </p:cBhvr>
                                    </p:animEffect>
                                    <p:set>
                                      <p:cBhvr>
                                        <p:cTn id="47" dur="1" fill="hold">
                                          <p:stCondLst>
                                            <p:cond delay="749"/>
                                          </p:stCondLst>
                                        </p:cTn>
                                        <p:tgtEl>
                                          <p:spTgt spid="2049"/>
                                        </p:tgtEl>
                                        <p:attrNameLst>
                                          <p:attrName>style.visibility</p:attrName>
                                        </p:attrNameLst>
                                      </p:cBhvr>
                                      <p:to>
                                        <p:strVal val="hidden"/>
                                      </p:to>
                                    </p:set>
                                  </p:childTnLst>
                                </p:cTn>
                              </p:par>
                              <p:par>
                                <p:cTn id="48" presetID="6" presetClass="emph" presetSubtype="0" decel="100000" fill="hold" nodeType="withEffect">
                                  <p:stCondLst>
                                    <p:cond delay="1050"/>
                                  </p:stCondLst>
                                  <p:childTnLst>
                                    <p:animScale>
                                      <p:cBhvr>
                                        <p:cTn id="49" dur="1000" fill="hold"/>
                                        <p:tgtEl>
                                          <p:spTgt spid="20"/>
                                        </p:tgtEl>
                                      </p:cBhvr>
                                      <p:by x="144680" y="144680"/>
                                    </p:animScale>
                                  </p:childTnLst>
                                </p:cTn>
                              </p:par>
                              <p:par>
                                <p:cTn id="50" presetID="64" presetClass="path" presetSubtype="0" decel="100000" fill="hold" nodeType="withEffect">
                                  <p:stCondLst>
                                    <p:cond delay="1050"/>
                                  </p:stCondLst>
                                  <p:childTnLst>
                                    <p:animMotion origin="layout" path="M 3.50436E-6 4.07407E-6 L 0.02591 0.01666 " pathEditMode="relative" rAng="0" ptsTypes="AA">
                                      <p:cBhvr>
                                        <p:cTn id="51" dur="1000" fill="hold"/>
                                        <p:tgtEl>
                                          <p:spTgt spid="20"/>
                                        </p:tgtEl>
                                        <p:attrNameLst>
                                          <p:attrName>ppt_x</p:attrName>
                                          <p:attrName>ppt_y</p:attrName>
                                        </p:attrNameLst>
                                      </p:cBhvr>
                                      <p:rCtr x="1289" y="833"/>
                                    </p:animMotion>
                                  </p:childTnLst>
                                </p:cTn>
                              </p:par>
                              <p:par>
                                <p:cTn id="52" presetID="6" presetClass="emph" presetSubtype="0" decel="100000" fill="hold" nodeType="withEffect">
                                  <p:stCondLst>
                                    <p:cond delay="1050"/>
                                  </p:stCondLst>
                                  <p:childTnLst>
                                    <p:animScale>
                                      <p:cBhvr>
                                        <p:cTn id="53" dur="1000" fill="hold"/>
                                        <p:tgtEl>
                                          <p:spTgt spid="18"/>
                                        </p:tgtEl>
                                      </p:cBhvr>
                                      <p:by x="161900" y="161900"/>
                                    </p:animScale>
                                  </p:childTnLst>
                                </p:cTn>
                              </p:par>
                              <p:par>
                                <p:cTn id="54" presetID="64" presetClass="path" presetSubtype="0" decel="100000" fill="hold" nodeType="withEffect">
                                  <p:stCondLst>
                                    <p:cond delay="1050"/>
                                  </p:stCondLst>
                                  <p:childTnLst>
                                    <p:animMotion origin="layout" path="M 0.00078 -0.00046 L 0.03008 -0.03634 " pathEditMode="relative" rAng="0" ptsTypes="AA">
                                      <p:cBhvr>
                                        <p:cTn id="55" dur="1000" fill="hold"/>
                                        <p:tgtEl>
                                          <p:spTgt spid="18"/>
                                        </p:tgtEl>
                                        <p:attrNameLst>
                                          <p:attrName>ppt_x</p:attrName>
                                          <p:attrName>ppt_y</p:attrName>
                                        </p:attrNameLst>
                                      </p:cBhvr>
                                      <p:rCtr x="1459" y="-1806"/>
                                    </p:animMotion>
                                  </p:childTnLst>
                                </p:cTn>
                              </p:par>
                              <p:par>
                                <p:cTn id="56" presetID="10" presetClass="exit" presetSubtype="0" fill="hold" nodeType="withEffect">
                                  <p:stCondLst>
                                    <p:cond delay="2100"/>
                                  </p:stCondLst>
                                  <p:childTnLst>
                                    <p:animEffect transition="out" filter="fade">
                                      <p:cBhvr>
                                        <p:cTn id="57" dur="250"/>
                                        <p:tgtEl>
                                          <p:spTgt spid="20"/>
                                        </p:tgtEl>
                                      </p:cBhvr>
                                    </p:animEffect>
                                    <p:set>
                                      <p:cBhvr>
                                        <p:cTn id="58" dur="1" fill="hold">
                                          <p:stCondLst>
                                            <p:cond delay="249"/>
                                          </p:stCondLst>
                                        </p:cTn>
                                        <p:tgtEl>
                                          <p:spTgt spid="20"/>
                                        </p:tgtEl>
                                        <p:attrNameLst>
                                          <p:attrName>style.visibility</p:attrName>
                                        </p:attrNameLst>
                                      </p:cBhvr>
                                      <p:to>
                                        <p:strVal val="hidden"/>
                                      </p:to>
                                    </p:set>
                                  </p:childTnLst>
                                </p:cTn>
                              </p:par>
                              <p:par>
                                <p:cTn id="59" presetID="10" presetClass="exit" presetSubtype="0" fill="hold" nodeType="withEffect">
                                  <p:stCondLst>
                                    <p:cond delay="2100"/>
                                  </p:stCondLst>
                                  <p:childTnLst>
                                    <p:animEffect transition="out" filter="fade">
                                      <p:cBhvr>
                                        <p:cTn id="60" dur="250"/>
                                        <p:tgtEl>
                                          <p:spTgt spid="18"/>
                                        </p:tgtEl>
                                      </p:cBhvr>
                                    </p:animEffect>
                                    <p:set>
                                      <p:cBhvr>
                                        <p:cTn id="61" dur="1" fill="hold">
                                          <p:stCondLst>
                                            <p:cond delay="249"/>
                                          </p:stCondLst>
                                        </p:cTn>
                                        <p:tgtEl>
                                          <p:spTgt spid="18"/>
                                        </p:tgtEl>
                                        <p:attrNameLst>
                                          <p:attrName>style.visibility</p:attrName>
                                        </p:attrNameLst>
                                      </p:cBhvr>
                                      <p:to>
                                        <p:strVal val="hidden"/>
                                      </p:to>
                                    </p:set>
                                  </p:childTnLst>
                                </p:cTn>
                              </p:par>
                              <p:par>
                                <p:cTn id="62" presetID="1" presetClass="entr" presetSubtype="0" fill="hold" nodeType="withEffect">
                                  <p:stCondLst>
                                    <p:cond delay="2000"/>
                                  </p:stCondLst>
                                  <p:childTnLst>
                                    <p:set>
                                      <p:cBhvr>
                                        <p:cTn id="63" dur="1" fill="hold">
                                          <p:stCondLst>
                                            <p:cond delay="0"/>
                                          </p:stCondLst>
                                        </p:cTn>
                                        <p:tgtEl>
                                          <p:spTgt spid="23"/>
                                        </p:tgtEl>
                                        <p:attrNameLst>
                                          <p:attrName>style.visibility</p:attrName>
                                        </p:attrNameLst>
                                      </p:cBhvr>
                                      <p:to>
                                        <p:strVal val="visible"/>
                                      </p:to>
                                    </p:set>
                                  </p:childTnLst>
                                </p:cTn>
                              </p:par>
                              <p:par>
                                <p:cTn id="64" presetID="1" presetClass="entr" presetSubtype="0" fill="hold" nodeType="withEffect">
                                  <p:stCondLst>
                                    <p:cond delay="2000"/>
                                  </p:stCondLst>
                                  <p:childTnLst>
                                    <p:set>
                                      <p:cBhvr>
                                        <p:cTn id="65" dur="1" fill="hold">
                                          <p:stCondLst>
                                            <p:cond delay="0"/>
                                          </p:stCondLst>
                                        </p:cTn>
                                        <p:tgtEl>
                                          <p:spTgt spid="31"/>
                                        </p:tgtEl>
                                        <p:attrNameLst>
                                          <p:attrName>style.visibility</p:attrName>
                                        </p:attrNameLst>
                                      </p:cBhvr>
                                      <p:to>
                                        <p:strVal val="visible"/>
                                      </p:to>
                                    </p:set>
                                  </p:childTnLst>
                                </p:cTn>
                              </p:par>
                              <p:par>
                                <p:cTn id="66" presetID="10" presetClass="entr" presetSubtype="0" fill="hold" grpId="0" nodeType="withEffect">
                                  <p:stCondLst>
                                    <p:cond delay="1050"/>
                                  </p:stCondLst>
                                  <p:childTnLst>
                                    <p:set>
                                      <p:cBhvr>
                                        <p:cTn id="67" dur="1" fill="hold">
                                          <p:stCondLst>
                                            <p:cond delay="0"/>
                                          </p:stCondLst>
                                        </p:cTn>
                                        <p:tgtEl>
                                          <p:spTgt spid="22"/>
                                        </p:tgtEl>
                                        <p:attrNameLst>
                                          <p:attrName>style.visibility</p:attrName>
                                        </p:attrNameLst>
                                      </p:cBhvr>
                                      <p:to>
                                        <p:strVal val="visible"/>
                                      </p:to>
                                    </p:set>
                                    <p:animEffect transition="in" filter="fade">
                                      <p:cBhvr>
                                        <p:cTn id="68" dur="1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Lst>
  </p:timing>
</p:sld>
</file>

<file path=ppt/slides/slide4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p:cNvGrpSpPr/>
          <p:nvPr/>
        </p:nvGrpSpPr>
        <p:grpSpPr>
          <a:xfrm>
            <a:off x="5794153" y="2583816"/>
            <a:ext cx="2057936" cy="2057400"/>
            <a:chOff x="7957985" y="3268415"/>
            <a:chExt cx="2743200" cy="2743200"/>
          </a:xfrm>
        </p:grpSpPr>
        <p:sp>
          <p:nvSpPr>
            <p:cNvPr id="24" name="Rectangle 23"/>
            <p:cNvSpPr/>
            <p:nvPr/>
          </p:nvSpPr>
          <p:spPr bwMode="auto">
            <a:xfrm>
              <a:off x="7957985" y="3268415"/>
              <a:ext cx="2743200" cy="27432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25" name="Rectangle 24"/>
            <p:cNvSpPr/>
            <p:nvPr/>
          </p:nvSpPr>
          <p:spPr>
            <a:xfrm>
              <a:off x="7957985" y="4681326"/>
              <a:ext cx="2639678" cy="1231107"/>
            </a:xfrm>
            <a:prstGeom prst="rect">
              <a:avLst/>
            </a:prstGeom>
          </p:spPr>
          <p:txBody>
            <a:bodyPr wrap="square">
              <a:spAutoFit/>
            </a:bodyPr>
            <a:lstStyle/>
            <a:p>
              <a:pPr defTabSz="685666" fontAlgn="base">
                <a:spcBef>
                  <a:spcPct val="0"/>
                </a:spcBef>
                <a:spcAft>
                  <a:spcPct val="0"/>
                </a:spcAft>
              </a:pPr>
              <a:r>
                <a:rPr lang="en-US" sz="1800" dirty="0">
                  <a:gradFill>
                    <a:gsLst>
                      <a:gs pos="0">
                        <a:srgbClr val="FFFFFF"/>
                      </a:gs>
                      <a:gs pos="100000">
                        <a:srgbClr val="FFFFFF"/>
                      </a:gs>
                    </a:gsLst>
                    <a:lin ang="5400000" scaled="0"/>
                  </a:gradFill>
                  <a:latin typeface="+mj-lt"/>
                </a:rPr>
                <a:t>Innovation </a:t>
              </a:r>
              <a:r>
                <a:rPr lang="en-US" sz="1800" dirty="0">
                  <a:gradFill>
                    <a:gsLst>
                      <a:gs pos="0">
                        <a:srgbClr val="FFFFFF"/>
                      </a:gs>
                      <a:gs pos="100000">
                        <a:srgbClr val="FFFFFF"/>
                      </a:gs>
                    </a:gsLst>
                    <a:lin ang="5400000" scaled="0"/>
                  </a:gradFill>
                  <a:latin typeface="+mj-lt"/>
                </a:rPr>
                <a:t>Differentiation Time-to-market</a:t>
              </a:r>
            </a:p>
          </p:txBody>
        </p:sp>
      </p:grpSp>
      <p:grpSp>
        <p:nvGrpSpPr>
          <p:cNvPr id="12" name="Group 11"/>
          <p:cNvGrpSpPr/>
          <p:nvPr/>
        </p:nvGrpSpPr>
        <p:grpSpPr>
          <a:xfrm>
            <a:off x="1277943" y="2583816"/>
            <a:ext cx="2057936" cy="2057400"/>
            <a:chOff x="1390864" y="3268415"/>
            <a:chExt cx="2743200" cy="2743200"/>
          </a:xfrm>
        </p:grpSpPr>
        <p:sp>
          <p:nvSpPr>
            <p:cNvPr id="11" name="Rectangle 10"/>
            <p:cNvSpPr/>
            <p:nvPr/>
          </p:nvSpPr>
          <p:spPr bwMode="auto">
            <a:xfrm>
              <a:off x="1390864" y="3268415"/>
              <a:ext cx="2743200" cy="27432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4" name="Rectangle 3"/>
            <p:cNvSpPr/>
            <p:nvPr/>
          </p:nvSpPr>
          <p:spPr>
            <a:xfrm>
              <a:off x="1390864" y="4681326"/>
              <a:ext cx="2124137" cy="1231107"/>
            </a:xfrm>
            <a:prstGeom prst="rect">
              <a:avLst/>
            </a:prstGeom>
          </p:spPr>
          <p:txBody>
            <a:bodyPr wrap="square">
              <a:spAutoFit/>
            </a:bodyPr>
            <a:lstStyle/>
            <a:p>
              <a:pPr defTabSz="685666" fontAlgn="base">
                <a:spcBef>
                  <a:spcPct val="0"/>
                </a:spcBef>
                <a:spcAft>
                  <a:spcPct val="0"/>
                </a:spcAft>
              </a:pPr>
              <a:r>
                <a:rPr lang="en-US" sz="1800" dirty="0">
                  <a:gradFill>
                    <a:gsLst>
                      <a:gs pos="0">
                        <a:srgbClr val="FFFFFF"/>
                      </a:gs>
                      <a:gs pos="100000">
                        <a:srgbClr val="FFFFFF"/>
                      </a:gs>
                    </a:gsLst>
                    <a:lin ang="5400000" scaled="0"/>
                  </a:gradFill>
                  <a:latin typeface="+mj-lt"/>
                </a:rPr>
                <a:t>Choice </a:t>
              </a:r>
              <a:r>
                <a:rPr lang="en-US" sz="1800" dirty="0">
                  <a:gradFill>
                    <a:gsLst>
                      <a:gs pos="0">
                        <a:srgbClr val="FFFFFF"/>
                      </a:gs>
                      <a:gs pos="100000">
                        <a:srgbClr val="FFFFFF"/>
                      </a:gs>
                    </a:gsLst>
                    <a:lin ang="5400000" scaled="0"/>
                  </a:gradFill>
                  <a:latin typeface="+mj-lt"/>
                </a:rPr>
                <a:t/>
              </a:r>
              <a:br>
                <a:rPr lang="en-US" sz="1800" dirty="0">
                  <a:gradFill>
                    <a:gsLst>
                      <a:gs pos="0">
                        <a:srgbClr val="FFFFFF"/>
                      </a:gs>
                      <a:gs pos="100000">
                        <a:srgbClr val="FFFFFF"/>
                      </a:gs>
                    </a:gsLst>
                    <a:lin ang="5400000" scaled="0"/>
                  </a:gradFill>
                  <a:latin typeface="+mj-lt"/>
                </a:rPr>
              </a:br>
              <a:r>
                <a:rPr lang="en-US" sz="1800" dirty="0">
                  <a:gradFill>
                    <a:gsLst>
                      <a:gs pos="0">
                        <a:srgbClr val="FFFFFF"/>
                      </a:gs>
                      <a:gs pos="100000">
                        <a:srgbClr val="FFFFFF"/>
                      </a:gs>
                    </a:gsLst>
                    <a:lin ang="5400000" scaled="0"/>
                  </a:gradFill>
                  <a:latin typeface="+mj-lt"/>
                </a:rPr>
                <a:t>Apps </a:t>
              </a:r>
              <a:br>
                <a:rPr lang="en-US" sz="1800" dirty="0">
                  <a:gradFill>
                    <a:gsLst>
                      <a:gs pos="0">
                        <a:srgbClr val="FFFFFF"/>
                      </a:gs>
                      <a:gs pos="100000">
                        <a:srgbClr val="FFFFFF"/>
                      </a:gs>
                    </a:gsLst>
                    <a:lin ang="5400000" scaled="0"/>
                  </a:gradFill>
                  <a:latin typeface="+mj-lt"/>
                </a:rPr>
              </a:br>
              <a:r>
                <a:rPr lang="en-US" sz="1800" dirty="0">
                  <a:gradFill>
                    <a:gsLst>
                      <a:gs pos="0">
                        <a:srgbClr val="FFFFFF"/>
                      </a:gs>
                      <a:gs pos="100000">
                        <a:srgbClr val="FFFFFF"/>
                      </a:gs>
                    </a:gsLst>
                    <a:lin ang="5400000" scaled="0"/>
                  </a:gradFill>
                  <a:latin typeface="+mj-lt"/>
                </a:rPr>
                <a:t>Experiences </a:t>
              </a:r>
              <a:endParaRPr lang="en-US" sz="1800" dirty="0">
                <a:gradFill>
                  <a:gsLst>
                    <a:gs pos="0">
                      <a:srgbClr val="FFFFFF"/>
                    </a:gs>
                    <a:gs pos="100000">
                      <a:srgbClr val="FFFFFF"/>
                    </a:gs>
                  </a:gsLst>
                  <a:lin ang="5400000" scaled="0"/>
                </a:gradFill>
                <a:latin typeface="+mj-lt"/>
              </a:endParaRPr>
            </a:p>
          </p:txBody>
        </p:sp>
      </p:grpSp>
      <p:grpSp>
        <p:nvGrpSpPr>
          <p:cNvPr id="13" name="Group 12"/>
          <p:cNvGrpSpPr/>
          <p:nvPr/>
        </p:nvGrpSpPr>
        <p:grpSpPr>
          <a:xfrm>
            <a:off x="3536048" y="2583816"/>
            <a:ext cx="2057936" cy="2057400"/>
            <a:chOff x="4719638" y="3268415"/>
            <a:chExt cx="2743200" cy="2743200"/>
          </a:xfrm>
        </p:grpSpPr>
        <p:sp>
          <p:nvSpPr>
            <p:cNvPr id="22" name="Rectangle 21"/>
            <p:cNvSpPr/>
            <p:nvPr/>
          </p:nvSpPr>
          <p:spPr bwMode="auto">
            <a:xfrm>
              <a:off x="4719638" y="3268415"/>
              <a:ext cx="2743200" cy="27432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23" name="Rectangle 22"/>
            <p:cNvSpPr/>
            <p:nvPr/>
          </p:nvSpPr>
          <p:spPr>
            <a:xfrm>
              <a:off x="4719638" y="4681326"/>
              <a:ext cx="2124137" cy="1231107"/>
            </a:xfrm>
            <a:prstGeom prst="rect">
              <a:avLst/>
            </a:prstGeom>
          </p:spPr>
          <p:txBody>
            <a:bodyPr wrap="square">
              <a:spAutoFit/>
            </a:bodyPr>
            <a:lstStyle/>
            <a:p>
              <a:pPr defTabSz="685666" fontAlgn="base">
                <a:spcBef>
                  <a:spcPct val="0"/>
                </a:spcBef>
                <a:spcAft>
                  <a:spcPct val="0"/>
                </a:spcAft>
              </a:pPr>
              <a:r>
                <a:rPr lang="en-US" sz="1800" dirty="0">
                  <a:gradFill>
                    <a:gsLst>
                      <a:gs pos="0">
                        <a:srgbClr val="FFFFFF"/>
                      </a:gs>
                      <a:gs pos="100000">
                        <a:srgbClr val="FFFFFF"/>
                      </a:gs>
                    </a:gsLst>
                    <a:lin ang="5400000" scaled="0"/>
                  </a:gradFill>
                  <a:latin typeface="+mj-lt"/>
                </a:rPr>
                <a:t>Speed</a:t>
              </a:r>
            </a:p>
            <a:p>
              <a:pPr defTabSz="685666" fontAlgn="base">
                <a:spcBef>
                  <a:spcPct val="0"/>
                </a:spcBef>
                <a:spcAft>
                  <a:spcPct val="0"/>
                </a:spcAft>
              </a:pPr>
              <a:r>
                <a:rPr lang="en-US" sz="1800" dirty="0">
                  <a:gradFill>
                    <a:gsLst>
                      <a:gs pos="0">
                        <a:srgbClr val="FFFFFF"/>
                      </a:gs>
                      <a:gs pos="100000">
                        <a:srgbClr val="FFFFFF"/>
                      </a:gs>
                    </a:gsLst>
                    <a:lin ang="5400000" scaled="0"/>
                  </a:gradFill>
                  <a:latin typeface="+mj-lt"/>
                </a:rPr>
                <a:t>Portability</a:t>
              </a:r>
            </a:p>
            <a:p>
              <a:pPr defTabSz="685666" fontAlgn="base">
                <a:spcBef>
                  <a:spcPct val="0"/>
                </a:spcBef>
                <a:spcAft>
                  <a:spcPct val="0"/>
                </a:spcAft>
              </a:pPr>
              <a:r>
                <a:rPr lang="en-US" sz="1800" dirty="0">
                  <a:gradFill>
                    <a:gsLst>
                      <a:gs pos="0">
                        <a:srgbClr val="FFFFFF"/>
                      </a:gs>
                      <a:gs pos="100000">
                        <a:srgbClr val="FFFFFF"/>
                      </a:gs>
                    </a:gsLst>
                    <a:lin ang="5400000" scaled="0"/>
                  </a:gradFill>
                  <a:latin typeface="+mj-lt"/>
                </a:rPr>
                <a:t>Opportunity</a:t>
              </a:r>
              <a:endParaRPr lang="en-US" sz="1800" dirty="0">
                <a:gradFill>
                  <a:gsLst>
                    <a:gs pos="0">
                      <a:srgbClr val="FFFFFF"/>
                    </a:gs>
                    <a:gs pos="100000">
                      <a:srgbClr val="FFFFFF"/>
                    </a:gs>
                  </a:gsLst>
                  <a:lin ang="5400000" scaled="0"/>
                </a:gradFill>
                <a:latin typeface="+mj-lt"/>
              </a:endParaRPr>
            </a:p>
          </p:txBody>
        </p:sp>
      </p:grpSp>
      <p:grpSp>
        <p:nvGrpSpPr>
          <p:cNvPr id="7" name="Group 6"/>
          <p:cNvGrpSpPr/>
          <p:nvPr/>
        </p:nvGrpSpPr>
        <p:grpSpPr>
          <a:xfrm>
            <a:off x="3536048" y="1300412"/>
            <a:ext cx="2057936" cy="2057400"/>
            <a:chOff x="4494212" y="2567031"/>
            <a:chExt cx="3200400" cy="3200400"/>
          </a:xfrm>
        </p:grpSpPr>
        <p:pic>
          <p:nvPicPr>
            <p:cNvPr id="1027" name="Picture 3" descr="\\sfp\Resources\Microsoft\Archive\Exec_Tier_Archive\Brand_Specific\_BrandPhotography\Windows Brand FY12\US\med jpgs\WIN11_Dersu_01.jpg"/>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4494212" y="2567031"/>
              <a:ext cx="3200400" cy="3200400"/>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p:nvSpPr>
          <p:spPr bwMode="auto">
            <a:xfrm>
              <a:off x="4494212" y="3292679"/>
              <a:ext cx="3200400" cy="2474752"/>
            </a:xfrm>
            <a:prstGeom prst="rect">
              <a:avLst/>
            </a:prstGeom>
            <a:gradFill flip="none" rotWithShape="1">
              <a:gsLst>
                <a:gs pos="0">
                  <a:srgbClr val="000000">
                    <a:alpha val="0"/>
                  </a:srgbClr>
                </a:gs>
                <a:gs pos="50000">
                  <a:srgbClr val="000000">
                    <a:alpha val="5000"/>
                  </a:srgbClr>
                </a:gs>
                <a:gs pos="100000">
                  <a:srgbClr val="000000">
                    <a:alpha val="80000"/>
                  </a:srgbClr>
                </a:gs>
              </a:gsLst>
              <a:lin ang="54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b" anchorCtr="0" compatLnSpc="1">
              <a:prstTxWarp prst="textNoShape">
                <a:avLst/>
              </a:prstTxWarp>
            </a:bodyPr>
            <a:lstStyle/>
            <a:p>
              <a:pPr defTabSz="685666" fontAlgn="base">
                <a:spcBef>
                  <a:spcPct val="0"/>
                </a:spcBef>
                <a:spcAft>
                  <a:spcPct val="0"/>
                </a:spcAft>
              </a:pPr>
              <a:r>
                <a:rPr lang="en-US" sz="1800" dirty="0">
                  <a:gradFill>
                    <a:gsLst>
                      <a:gs pos="0">
                        <a:srgbClr val="FFFFFF"/>
                      </a:gs>
                      <a:gs pos="100000">
                        <a:srgbClr val="FFFFFF"/>
                      </a:gs>
                    </a:gsLst>
                    <a:lin ang="5400000" scaled="0"/>
                  </a:gradFill>
                </a:rPr>
                <a:t>Developers</a:t>
              </a:r>
            </a:p>
          </p:txBody>
        </p:sp>
      </p:grpSp>
      <p:grpSp>
        <p:nvGrpSpPr>
          <p:cNvPr id="6" name="Group 5"/>
          <p:cNvGrpSpPr/>
          <p:nvPr/>
        </p:nvGrpSpPr>
        <p:grpSpPr>
          <a:xfrm>
            <a:off x="1277943" y="1300412"/>
            <a:ext cx="2057936" cy="2057400"/>
            <a:chOff x="1023472" y="2567031"/>
            <a:chExt cx="2828497" cy="2828497"/>
          </a:xfrm>
        </p:grpSpPr>
        <p:pic>
          <p:nvPicPr>
            <p:cNvPr id="1026"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1023472" y="2567031"/>
              <a:ext cx="2828497" cy="2828497"/>
            </a:xfrm>
            <a:prstGeom prst="rect">
              <a:avLst/>
            </a:prstGeom>
            <a:gradFill flip="none" rotWithShape="1">
              <a:gsLst>
                <a:gs pos="0">
                  <a:srgbClr val="000000">
                    <a:alpha val="0"/>
                  </a:srgbClr>
                </a:gs>
                <a:gs pos="50000">
                  <a:srgbClr val="000000">
                    <a:alpha val="5000"/>
                  </a:srgbClr>
                </a:gs>
                <a:gs pos="100000">
                  <a:srgbClr val="000000">
                    <a:alpha val="80000"/>
                  </a:srgbClr>
                </a:gs>
              </a:gsLst>
              <a:lin ang="16200000" scaled="1"/>
              <a:tileRect/>
            </a:gradFill>
            <a:ln>
              <a:noFill/>
              <a:headEnd type="none" w="med" len="med"/>
              <a:tailEnd type="none" w="med" len="med"/>
            </a:ln>
            <a:extLst/>
          </p:spPr>
        </p:pic>
        <p:sp>
          <p:nvSpPr>
            <p:cNvPr id="3" name="Rectangle 2"/>
            <p:cNvSpPr/>
            <p:nvPr/>
          </p:nvSpPr>
          <p:spPr bwMode="auto">
            <a:xfrm>
              <a:off x="1023472" y="3208355"/>
              <a:ext cx="2828497" cy="2187173"/>
            </a:xfrm>
            <a:prstGeom prst="rect">
              <a:avLst/>
            </a:prstGeom>
            <a:gradFill flip="none" rotWithShape="1">
              <a:gsLst>
                <a:gs pos="0">
                  <a:srgbClr val="000000">
                    <a:alpha val="0"/>
                  </a:srgbClr>
                </a:gs>
                <a:gs pos="50000">
                  <a:srgbClr val="000000">
                    <a:alpha val="5000"/>
                  </a:srgbClr>
                </a:gs>
                <a:gs pos="100000">
                  <a:srgbClr val="000000">
                    <a:alpha val="80000"/>
                  </a:srgbClr>
                </a:gs>
              </a:gsLst>
              <a:lin ang="54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b" anchorCtr="0" compatLnSpc="1">
              <a:prstTxWarp prst="textNoShape">
                <a:avLst/>
              </a:prstTxWarp>
            </a:bodyPr>
            <a:lstStyle/>
            <a:p>
              <a:pPr defTabSz="685666" fontAlgn="base">
                <a:spcBef>
                  <a:spcPct val="0"/>
                </a:spcBef>
                <a:spcAft>
                  <a:spcPct val="0"/>
                </a:spcAft>
              </a:pPr>
              <a:r>
                <a:rPr lang="en-US" sz="1800" dirty="0">
                  <a:gradFill>
                    <a:gsLst>
                      <a:gs pos="0">
                        <a:srgbClr val="FFFFFF"/>
                      </a:gs>
                      <a:gs pos="100000">
                        <a:srgbClr val="FFFFFF"/>
                      </a:gs>
                    </a:gsLst>
                    <a:lin ang="5400000" scaled="0"/>
                  </a:gradFill>
                </a:rPr>
                <a:t>Consumers</a:t>
              </a:r>
            </a:p>
          </p:txBody>
        </p:sp>
      </p:grpSp>
      <p:grpSp>
        <p:nvGrpSpPr>
          <p:cNvPr id="17" name="Group 16"/>
          <p:cNvGrpSpPr/>
          <p:nvPr/>
        </p:nvGrpSpPr>
        <p:grpSpPr>
          <a:xfrm>
            <a:off x="5793606" y="1293267"/>
            <a:ext cx="2057936" cy="2064542"/>
            <a:chOff x="7710922" y="750214"/>
            <a:chExt cx="2743200" cy="2729340"/>
          </a:xfrm>
        </p:grpSpPr>
        <p:pic>
          <p:nvPicPr>
            <p:cNvPr id="9"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10922" y="750214"/>
              <a:ext cx="2741948" cy="27016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 name="Rectangle 25"/>
            <p:cNvSpPr/>
            <p:nvPr/>
          </p:nvSpPr>
          <p:spPr bwMode="auto">
            <a:xfrm>
              <a:off x="7710922" y="1358338"/>
              <a:ext cx="2743200" cy="2121216"/>
            </a:xfrm>
            <a:prstGeom prst="rect">
              <a:avLst/>
            </a:prstGeom>
            <a:gradFill flip="none" rotWithShape="1">
              <a:gsLst>
                <a:gs pos="0">
                  <a:srgbClr val="000000">
                    <a:alpha val="0"/>
                  </a:srgbClr>
                </a:gs>
                <a:gs pos="50000">
                  <a:srgbClr val="000000">
                    <a:alpha val="5000"/>
                  </a:srgbClr>
                </a:gs>
                <a:gs pos="100000">
                  <a:srgbClr val="000000">
                    <a:alpha val="80000"/>
                  </a:srgbClr>
                </a:gs>
              </a:gsLst>
              <a:lin ang="54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b" anchorCtr="0" compatLnSpc="1">
              <a:prstTxWarp prst="textNoShape">
                <a:avLst/>
              </a:prstTxWarp>
            </a:bodyPr>
            <a:lstStyle/>
            <a:p>
              <a:pPr defTabSz="685666" fontAlgn="base">
                <a:spcBef>
                  <a:spcPct val="0"/>
                </a:spcBef>
                <a:spcAft>
                  <a:spcPct val="0"/>
                </a:spcAft>
              </a:pPr>
              <a:r>
                <a:rPr lang="en-US" sz="1800" dirty="0">
                  <a:gradFill>
                    <a:gsLst>
                      <a:gs pos="0">
                        <a:srgbClr val="FFFFFF"/>
                      </a:gs>
                      <a:gs pos="100000">
                        <a:srgbClr val="FFFFFF"/>
                      </a:gs>
                    </a:gsLst>
                    <a:lin ang="5400000" scaled="0"/>
                  </a:gradFill>
                </a:rPr>
                <a:t>Hardware Partners</a:t>
              </a:r>
              <a:endParaRPr lang="en-US" sz="1800" dirty="0">
                <a:gradFill>
                  <a:gsLst>
                    <a:gs pos="0">
                      <a:srgbClr val="FFFFFF"/>
                    </a:gs>
                    <a:gs pos="100000">
                      <a:srgbClr val="FFFFFF"/>
                    </a:gs>
                  </a:gsLst>
                  <a:lin ang="5400000" scaled="0"/>
                </a:gradFill>
              </a:endParaRPr>
            </a:p>
          </p:txBody>
        </p:sp>
      </p:grpSp>
      <p:sp>
        <p:nvSpPr>
          <p:cNvPr id="28" name="Title 9"/>
          <p:cNvSpPr>
            <a:spLocks noGrp="1"/>
          </p:cNvSpPr>
          <p:nvPr>
            <p:ph type="title"/>
          </p:nvPr>
        </p:nvSpPr>
        <p:spPr/>
        <p:txBody>
          <a:bodyPr/>
          <a:lstStyle/>
          <a:p>
            <a:r>
              <a:rPr lang="en-US" smtClean="0"/>
              <a:t>Shared Windows Core: Accelerates Innovation</a:t>
            </a:r>
            <a:endParaRPr lang="en-US" dirty="0"/>
          </a:p>
        </p:txBody>
      </p:sp>
      <p:sp useBgFill="1">
        <p:nvSpPr>
          <p:cNvPr id="2" name="Rectangle 1"/>
          <p:cNvSpPr/>
          <p:nvPr/>
        </p:nvSpPr>
        <p:spPr bwMode="auto">
          <a:xfrm>
            <a:off x="0" y="1042388"/>
            <a:ext cx="9144000" cy="25802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27"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9"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6"/>
              </a:rPr>
              <a:t>www.rapidbbs.cn</a:t>
            </a:r>
            <a:endParaRPr lang="zh-CN" altLang="en-US" sz="1200" b="0">
              <a:latin typeface="Arial" charset="0"/>
              <a:ea typeface="ＭＳ Ｐゴシック" pitchFamily="34" charset="-128"/>
            </a:endParaRPr>
          </a:p>
        </p:txBody>
      </p:sp>
      <p:pic>
        <p:nvPicPr>
          <p:cNvPr id="30" name="Picture 2">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27774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750" fill="hold"/>
                                        <p:tgtEl>
                                          <p:spTgt spid="6"/>
                                        </p:tgtEl>
                                        <p:attrNameLst>
                                          <p:attrName>ppt_x</p:attrName>
                                        </p:attrNameLst>
                                      </p:cBhvr>
                                      <p:tavLst>
                                        <p:tav tm="0">
                                          <p:val>
                                            <p:strVal val="#ppt_x"/>
                                          </p:val>
                                        </p:tav>
                                        <p:tav tm="100000">
                                          <p:val>
                                            <p:strVal val="#ppt_x"/>
                                          </p:val>
                                        </p:tav>
                                      </p:tavLst>
                                    </p:anim>
                                    <p:anim calcmode="lin" valueType="num">
                                      <p:cBhvr additive="base">
                                        <p:cTn id="8" dur="750" fill="hold"/>
                                        <p:tgtEl>
                                          <p:spTgt spid="6"/>
                                        </p:tgtEl>
                                        <p:attrNameLst>
                                          <p:attrName>ppt_y</p:attrName>
                                        </p:attrNameLst>
                                      </p:cBhvr>
                                      <p:tavLst>
                                        <p:tav tm="0">
                                          <p:val>
                                            <p:strVal val="0-#ppt_h/2"/>
                                          </p:val>
                                        </p:tav>
                                        <p:tav tm="100000">
                                          <p:val>
                                            <p:strVal val="#ppt_y"/>
                                          </p:val>
                                        </p:tav>
                                      </p:tavLst>
                                    </p:anim>
                                  </p:childTnLst>
                                </p:cTn>
                              </p:par>
                              <p:par>
                                <p:cTn id="9" presetID="2" presetClass="entr" presetSubtype="1" decel="100000" fill="hold" nodeType="withEffect">
                                  <p:stCondLst>
                                    <p:cond delay="25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750" fill="hold"/>
                                        <p:tgtEl>
                                          <p:spTgt spid="12"/>
                                        </p:tgtEl>
                                        <p:attrNameLst>
                                          <p:attrName>ppt_x</p:attrName>
                                        </p:attrNameLst>
                                      </p:cBhvr>
                                      <p:tavLst>
                                        <p:tav tm="0">
                                          <p:val>
                                            <p:strVal val="#ppt_x"/>
                                          </p:val>
                                        </p:tav>
                                        <p:tav tm="100000">
                                          <p:val>
                                            <p:strVal val="#ppt_x"/>
                                          </p:val>
                                        </p:tav>
                                      </p:tavLst>
                                    </p:anim>
                                    <p:anim calcmode="lin" valueType="num">
                                      <p:cBhvr additive="base">
                                        <p:cTn id="12" dur="750" fill="hold"/>
                                        <p:tgtEl>
                                          <p:spTgt spid="12"/>
                                        </p:tgtEl>
                                        <p:attrNameLst>
                                          <p:attrName>ppt_y</p:attrName>
                                        </p:attrNameLst>
                                      </p:cBhvr>
                                      <p:tavLst>
                                        <p:tav tm="0">
                                          <p:val>
                                            <p:strVal val="0-#ppt_h/2"/>
                                          </p:val>
                                        </p:tav>
                                        <p:tav tm="100000">
                                          <p:val>
                                            <p:strVal val="#ppt_y"/>
                                          </p:val>
                                        </p:tav>
                                      </p:tavLst>
                                    </p:anim>
                                  </p:childTnLst>
                                </p:cTn>
                              </p:par>
                              <p:par>
                                <p:cTn id="13" presetID="2" presetClass="entr" presetSubtype="1" decel="100000" fill="hold" nodeType="withEffect">
                                  <p:stCondLst>
                                    <p:cond delay="100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750" fill="hold"/>
                                        <p:tgtEl>
                                          <p:spTgt spid="7"/>
                                        </p:tgtEl>
                                        <p:attrNameLst>
                                          <p:attrName>ppt_x</p:attrName>
                                        </p:attrNameLst>
                                      </p:cBhvr>
                                      <p:tavLst>
                                        <p:tav tm="0">
                                          <p:val>
                                            <p:strVal val="#ppt_x"/>
                                          </p:val>
                                        </p:tav>
                                        <p:tav tm="100000">
                                          <p:val>
                                            <p:strVal val="#ppt_x"/>
                                          </p:val>
                                        </p:tav>
                                      </p:tavLst>
                                    </p:anim>
                                    <p:anim calcmode="lin" valueType="num">
                                      <p:cBhvr additive="base">
                                        <p:cTn id="16" dur="750" fill="hold"/>
                                        <p:tgtEl>
                                          <p:spTgt spid="7"/>
                                        </p:tgtEl>
                                        <p:attrNameLst>
                                          <p:attrName>ppt_y</p:attrName>
                                        </p:attrNameLst>
                                      </p:cBhvr>
                                      <p:tavLst>
                                        <p:tav tm="0">
                                          <p:val>
                                            <p:strVal val="0-#ppt_h/2"/>
                                          </p:val>
                                        </p:tav>
                                        <p:tav tm="100000">
                                          <p:val>
                                            <p:strVal val="#ppt_y"/>
                                          </p:val>
                                        </p:tav>
                                      </p:tavLst>
                                    </p:anim>
                                  </p:childTnLst>
                                </p:cTn>
                              </p:par>
                              <p:par>
                                <p:cTn id="17" presetID="2" presetClass="entr" presetSubtype="1" decel="100000" fill="hold" nodeType="withEffect">
                                  <p:stCondLst>
                                    <p:cond delay="125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750" fill="hold"/>
                                        <p:tgtEl>
                                          <p:spTgt spid="13"/>
                                        </p:tgtEl>
                                        <p:attrNameLst>
                                          <p:attrName>ppt_x</p:attrName>
                                        </p:attrNameLst>
                                      </p:cBhvr>
                                      <p:tavLst>
                                        <p:tav tm="0">
                                          <p:val>
                                            <p:strVal val="#ppt_x"/>
                                          </p:val>
                                        </p:tav>
                                        <p:tav tm="100000">
                                          <p:val>
                                            <p:strVal val="#ppt_x"/>
                                          </p:val>
                                        </p:tav>
                                      </p:tavLst>
                                    </p:anim>
                                    <p:anim calcmode="lin" valueType="num">
                                      <p:cBhvr additive="base">
                                        <p:cTn id="20" dur="750" fill="hold"/>
                                        <p:tgtEl>
                                          <p:spTgt spid="13"/>
                                        </p:tgtEl>
                                        <p:attrNameLst>
                                          <p:attrName>ppt_y</p:attrName>
                                        </p:attrNameLst>
                                      </p:cBhvr>
                                      <p:tavLst>
                                        <p:tav tm="0">
                                          <p:val>
                                            <p:strVal val="0-#ppt_h/2"/>
                                          </p:val>
                                        </p:tav>
                                        <p:tav tm="100000">
                                          <p:val>
                                            <p:strVal val="#ppt_y"/>
                                          </p:val>
                                        </p:tav>
                                      </p:tavLst>
                                    </p:anim>
                                  </p:childTnLst>
                                </p:cTn>
                              </p:par>
                            </p:childTnLst>
                          </p:cTn>
                        </p:par>
                        <p:par>
                          <p:cTn id="21" fill="hold">
                            <p:stCondLst>
                              <p:cond delay="2000"/>
                            </p:stCondLst>
                            <p:childTnLst>
                              <p:par>
                                <p:cTn id="22" presetID="2" presetClass="entr" presetSubtype="1" decel="100000" fill="hold" nodeType="afterEffect">
                                  <p:stCondLst>
                                    <p:cond delay="0"/>
                                  </p:stCondLst>
                                  <p:childTnLst>
                                    <p:set>
                                      <p:cBhvr>
                                        <p:cTn id="23" dur="1" fill="hold">
                                          <p:stCondLst>
                                            <p:cond delay="0"/>
                                          </p:stCondLst>
                                        </p:cTn>
                                        <p:tgtEl>
                                          <p:spTgt spid="17"/>
                                        </p:tgtEl>
                                        <p:attrNameLst>
                                          <p:attrName>style.visibility</p:attrName>
                                        </p:attrNameLst>
                                      </p:cBhvr>
                                      <p:to>
                                        <p:strVal val="visible"/>
                                      </p:to>
                                    </p:set>
                                    <p:anim calcmode="lin" valueType="num">
                                      <p:cBhvr additive="base">
                                        <p:cTn id="24" dur="750" fill="hold"/>
                                        <p:tgtEl>
                                          <p:spTgt spid="17"/>
                                        </p:tgtEl>
                                        <p:attrNameLst>
                                          <p:attrName>ppt_x</p:attrName>
                                        </p:attrNameLst>
                                      </p:cBhvr>
                                      <p:tavLst>
                                        <p:tav tm="0">
                                          <p:val>
                                            <p:strVal val="#ppt_x"/>
                                          </p:val>
                                        </p:tav>
                                        <p:tav tm="100000">
                                          <p:val>
                                            <p:strVal val="#ppt_x"/>
                                          </p:val>
                                        </p:tav>
                                      </p:tavLst>
                                    </p:anim>
                                    <p:anim calcmode="lin" valueType="num">
                                      <p:cBhvr additive="base">
                                        <p:cTn id="25" dur="750" fill="hold"/>
                                        <p:tgtEl>
                                          <p:spTgt spid="17"/>
                                        </p:tgtEl>
                                        <p:attrNameLst>
                                          <p:attrName>ppt_y</p:attrName>
                                        </p:attrNameLst>
                                      </p:cBhvr>
                                      <p:tavLst>
                                        <p:tav tm="0">
                                          <p:val>
                                            <p:strVal val="0-#ppt_h/2"/>
                                          </p:val>
                                        </p:tav>
                                        <p:tav tm="100000">
                                          <p:val>
                                            <p:strVal val="#ppt_y"/>
                                          </p:val>
                                        </p:tav>
                                      </p:tavLst>
                                    </p:anim>
                                  </p:childTnLst>
                                </p:cTn>
                              </p:par>
                              <p:par>
                                <p:cTn id="26" presetID="2" presetClass="entr" presetSubtype="1" decel="100000" fill="hold" nodeType="withEffect">
                                  <p:stCondLst>
                                    <p:cond delay="250"/>
                                  </p:stCondLst>
                                  <p:childTnLst>
                                    <p:set>
                                      <p:cBhvr>
                                        <p:cTn id="27" dur="1" fill="hold">
                                          <p:stCondLst>
                                            <p:cond delay="0"/>
                                          </p:stCondLst>
                                        </p:cTn>
                                        <p:tgtEl>
                                          <p:spTgt spid="16"/>
                                        </p:tgtEl>
                                        <p:attrNameLst>
                                          <p:attrName>style.visibility</p:attrName>
                                        </p:attrNameLst>
                                      </p:cBhvr>
                                      <p:to>
                                        <p:strVal val="visible"/>
                                      </p:to>
                                    </p:set>
                                    <p:anim calcmode="lin" valueType="num">
                                      <p:cBhvr additive="base">
                                        <p:cTn id="28" dur="750" fill="hold"/>
                                        <p:tgtEl>
                                          <p:spTgt spid="16"/>
                                        </p:tgtEl>
                                        <p:attrNameLst>
                                          <p:attrName>ppt_x</p:attrName>
                                        </p:attrNameLst>
                                      </p:cBhvr>
                                      <p:tavLst>
                                        <p:tav tm="0">
                                          <p:val>
                                            <p:strVal val="#ppt_x"/>
                                          </p:val>
                                        </p:tav>
                                        <p:tav tm="100000">
                                          <p:val>
                                            <p:strVal val="#ppt_x"/>
                                          </p:val>
                                        </p:tav>
                                      </p:tavLst>
                                    </p:anim>
                                    <p:anim calcmode="lin" valueType="num">
                                      <p:cBhvr additive="base">
                                        <p:cTn id="29" dur="750" fill="hold"/>
                                        <p:tgtEl>
                                          <p:spTgt spid="16"/>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1591996" y="1175507"/>
            <a:ext cx="1636816" cy="31232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a:xfrm>
            <a:off x="389436" y="171450"/>
            <a:ext cx="8363938" cy="498598"/>
          </a:xfrm>
        </p:spPr>
        <p:txBody>
          <a:bodyPr/>
          <a:lstStyle/>
          <a:p>
            <a:r>
              <a:rPr lang="en-US" sz="3600" dirty="0"/>
              <a:t>4</a:t>
            </a:r>
            <a:r>
              <a:rPr lang="en-US" sz="3600" dirty="0"/>
              <a:t>. Better Sharing with NFC</a:t>
            </a:r>
            <a:endParaRPr lang="en-US" sz="3600" dirty="0"/>
          </a:p>
        </p:txBody>
      </p:sp>
      <p:pic>
        <p:nvPicPr>
          <p:cNvPr id="10" name="Picture 9" descr="C:\Users\chadvo.REDMOND\AppData\Local\Microsoft\Windows\Temporary Internet Files\Content.Outlook\S9LL7FDR\Win8.png"/>
          <p:cNvPicPr preferRelativeResize="0">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838366" y="1340429"/>
            <a:ext cx="4340374" cy="2880364"/>
          </a:xfrm>
          <a:prstGeom prst="rect">
            <a:avLst/>
          </a:prstGeom>
          <a:noFill/>
          <a:extLst>
            <a:ext uri="{909E8E84-426E-40DD-AFC4-6F175D3DCCD1}">
              <a14:hiddenFill xmlns:a14="http://schemas.microsoft.com/office/drawing/2010/main">
                <a:solidFill>
                  <a:srgbClr val="FFFFFF"/>
                </a:solidFill>
              </a14:hiddenFill>
            </a:ext>
          </a:extLst>
        </p:spPr>
      </p:pic>
      <p:sp>
        <p:nvSpPr>
          <p:cNvPr id="14" name="Freeform 11"/>
          <p:cNvSpPr>
            <a:spLocks noEditPoints="1"/>
          </p:cNvSpPr>
          <p:nvPr/>
        </p:nvSpPr>
        <p:spPr bwMode="auto">
          <a:xfrm>
            <a:off x="3373171" y="2518568"/>
            <a:ext cx="440248" cy="578631"/>
          </a:xfrm>
          <a:custGeom>
            <a:avLst/>
            <a:gdLst>
              <a:gd name="T0" fmla="*/ 146 w 289"/>
              <a:gd name="T1" fmla="*/ 357 h 411"/>
              <a:gd name="T2" fmla="*/ 117 w 289"/>
              <a:gd name="T3" fmla="*/ 329 h 411"/>
              <a:gd name="T4" fmla="*/ 168 w 289"/>
              <a:gd name="T5" fmla="*/ 205 h 411"/>
              <a:gd name="T6" fmla="*/ 117 w 289"/>
              <a:gd name="T7" fmla="*/ 82 h 411"/>
              <a:gd name="T8" fmla="*/ 146 w 289"/>
              <a:gd name="T9" fmla="*/ 53 h 411"/>
              <a:gd name="T10" fmla="*/ 208 w 289"/>
              <a:gd name="T11" fmla="*/ 205 h 411"/>
              <a:gd name="T12" fmla="*/ 146 w 289"/>
              <a:gd name="T13" fmla="*/ 357 h 411"/>
              <a:gd name="T14" fmla="*/ 289 w 289"/>
              <a:gd name="T15" fmla="*/ 205 h 411"/>
              <a:gd name="T16" fmla="*/ 204 w 289"/>
              <a:gd name="T17" fmla="*/ 0 h 411"/>
              <a:gd name="T18" fmla="*/ 176 w 289"/>
              <a:gd name="T19" fmla="*/ 28 h 411"/>
              <a:gd name="T20" fmla="*/ 249 w 289"/>
              <a:gd name="T21" fmla="*/ 205 h 411"/>
              <a:gd name="T22" fmla="*/ 176 w 289"/>
              <a:gd name="T23" fmla="*/ 382 h 411"/>
              <a:gd name="T24" fmla="*/ 204 w 289"/>
              <a:gd name="T25" fmla="*/ 411 h 411"/>
              <a:gd name="T26" fmla="*/ 289 w 289"/>
              <a:gd name="T27" fmla="*/ 205 h 411"/>
              <a:gd name="T28" fmla="*/ 87 w 289"/>
              <a:gd name="T29" fmla="*/ 105 h 411"/>
              <a:gd name="T30" fmla="*/ 58 w 289"/>
              <a:gd name="T31" fmla="*/ 134 h 411"/>
              <a:gd name="T32" fmla="*/ 58 w 289"/>
              <a:gd name="T33" fmla="*/ 276 h 411"/>
              <a:gd name="T34" fmla="*/ 87 w 289"/>
              <a:gd name="T35" fmla="*/ 305 h 411"/>
              <a:gd name="T36" fmla="*/ 87 w 289"/>
              <a:gd name="T37" fmla="*/ 105 h 411"/>
              <a:gd name="T38" fmla="*/ 28 w 289"/>
              <a:gd name="T39" fmla="*/ 158 h 411"/>
              <a:gd name="T40" fmla="*/ 0 w 289"/>
              <a:gd name="T41" fmla="*/ 186 h 411"/>
              <a:gd name="T42" fmla="*/ 0 w 289"/>
              <a:gd name="T43" fmla="*/ 224 h 411"/>
              <a:gd name="T44" fmla="*/ 28 w 289"/>
              <a:gd name="T45" fmla="*/ 252 h 411"/>
              <a:gd name="T46" fmla="*/ 28 w 289"/>
              <a:gd name="T47" fmla="*/ 158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9" h="411">
                <a:moveTo>
                  <a:pt x="146" y="357"/>
                </a:moveTo>
                <a:cubicBezTo>
                  <a:pt x="117" y="329"/>
                  <a:pt x="117" y="329"/>
                  <a:pt x="117" y="329"/>
                </a:cubicBezTo>
                <a:cubicBezTo>
                  <a:pt x="150" y="296"/>
                  <a:pt x="168" y="252"/>
                  <a:pt x="168" y="205"/>
                </a:cubicBezTo>
                <a:cubicBezTo>
                  <a:pt x="168" y="158"/>
                  <a:pt x="150" y="115"/>
                  <a:pt x="117" y="82"/>
                </a:cubicBezTo>
                <a:cubicBezTo>
                  <a:pt x="146" y="53"/>
                  <a:pt x="146" y="53"/>
                  <a:pt x="146" y="53"/>
                </a:cubicBezTo>
                <a:cubicBezTo>
                  <a:pt x="186" y="94"/>
                  <a:pt x="208" y="148"/>
                  <a:pt x="208" y="205"/>
                </a:cubicBezTo>
                <a:cubicBezTo>
                  <a:pt x="208" y="262"/>
                  <a:pt x="186" y="316"/>
                  <a:pt x="146" y="357"/>
                </a:cubicBezTo>
                <a:close/>
                <a:moveTo>
                  <a:pt x="289" y="205"/>
                </a:moveTo>
                <a:cubicBezTo>
                  <a:pt x="289" y="127"/>
                  <a:pt x="259" y="54"/>
                  <a:pt x="204" y="0"/>
                </a:cubicBezTo>
                <a:cubicBezTo>
                  <a:pt x="176" y="28"/>
                  <a:pt x="176" y="28"/>
                  <a:pt x="176" y="28"/>
                </a:cubicBezTo>
                <a:cubicBezTo>
                  <a:pt x="223" y="75"/>
                  <a:pt x="249" y="138"/>
                  <a:pt x="249" y="205"/>
                </a:cubicBezTo>
                <a:cubicBezTo>
                  <a:pt x="249" y="272"/>
                  <a:pt x="223" y="335"/>
                  <a:pt x="176" y="382"/>
                </a:cubicBezTo>
                <a:cubicBezTo>
                  <a:pt x="204" y="411"/>
                  <a:pt x="204" y="411"/>
                  <a:pt x="204" y="411"/>
                </a:cubicBezTo>
                <a:cubicBezTo>
                  <a:pt x="259" y="356"/>
                  <a:pt x="289" y="283"/>
                  <a:pt x="289" y="205"/>
                </a:cubicBezTo>
                <a:close/>
                <a:moveTo>
                  <a:pt x="87" y="105"/>
                </a:moveTo>
                <a:cubicBezTo>
                  <a:pt x="58" y="134"/>
                  <a:pt x="58" y="134"/>
                  <a:pt x="58" y="134"/>
                </a:cubicBezTo>
                <a:cubicBezTo>
                  <a:pt x="98" y="173"/>
                  <a:pt x="98" y="237"/>
                  <a:pt x="58" y="276"/>
                </a:cubicBezTo>
                <a:cubicBezTo>
                  <a:pt x="87" y="305"/>
                  <a:pt x="87" y="305"/>
                  <a:pt x="87" y="305"/>
                </a:cubicBezTo>
                <a:cubicBezTo>
                  <a:pt x="141" y="250"/>
                  <a:pt x="141" y="160"/>
                  <a:pt x="87" y="105"/>
                </a:cubicBezTo>
                <a:close/>
                <a:moveTo>
                  <a:pt x="28" y="158"/>
                </a:moveTo>
                <a:cubicBezTo>
                  <a:pt x="0" y="186"/>
                  <a:pt x="0" y="186"/>
                  <a:pt x="0" y="186"/>
                </a:cubicBezTo>
                <a:cubicBezTo>
                  <a:pt x="10" y="197"/>
                  <a:pt x="10" y="214"/>
                  <a:pt x="0" y="224"/>
                </a:cubicBezTo>
                <a:cubicBezTo>
                  <a:pt x="28" y="252"/>
                  <a:pt x="28" y="252"/>
                  <a:pt x="28" y="252"/>
                </a:cubicBezTo>
                <a:cubicBezTo>
                  <a:pt x="54" y="226"/>
                  <a:pt x="54" y="184"/>
                  <a:pt x="28" y="15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9" tIns="34295" rIns="68589" bIns="34295" numCol="1" spcCol="0" rtlCol="0" fromWordArt="0" anchor="ctr" anchorCtr="0" forceAA="0" compatLnSpc="1">
            <a:prstTxWarp prst="textNoShape">
              <a:avLst/>
            </a:prstTxWarp>
            <a:noAutofit/>
          </a:bodyPr>
          <a:lstStyle/>
          <a:p>
            <a:pPr algn="ctr"/>
            <a:endParaRPr lang="en-US" dirty="0">
              <a:solidFill>
                <a:schemeClr val="lt1"/>
              </a:solidFill>
            </a:endParaRPr>
          </a:p>
        </p:txBody>
      </p:sp>
      <p:pic>
        <p:nvPicPr>
          <p:cNvPr id="12" name="Picture 4" descr="http://rtexgmssa04/apollo/Assets_Realworld/NFC_Tapp.png?random=63470444257576412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31440" y="1620985"/>
            <a:ext cx="1388265" cy="2283753"/>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31440" y="1620985"/>
            <a:ext cx="1388265" cy="22837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9"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7"/>
              </a:rPr>
              <a:t>www.rapidbbs.cn</a:t>
            </a:r>
            <a:endParaRPr lang="zh-CN" altLang="en-US" sz="1200" b="0">
              <a:latin typeface="Arial" charset="0"/>
              <a:ea typeface="ＭＳ Ｐゴシック" pitchFamily="34" charset="-128"/>
            </a:endParaRPr>
          </a:p>
        </p:txBody>
      </p:sp>
      <p:pic>
        <p:nvPicPr>
          <p:cNvPr id="13" name="Picture 2">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5199008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7" presetClass="emph" presetSubtype="0" repeatCount="indefinite" fill="remove" grpId="0" nodeType="withEffect">
                                  <p:stCondLst>
                                    <p:cond delay="0"/>
                                  </p:stCondLst>
                                  <p:childTnLst>
                                    <p:animClr clrSpc="rgb" dir="cw">
                                      <p:cBhvr override="childStyle">
                                        <p:cTn id="6" dur="1000" autoRev="1" fill="remove"/>
                                        <p:tgtEl>
                                          <p:spTgt spid="14"/>
                                        </p:tgtEl>
                                        <p:attrNameLst>
                                          <p:attrName>style.color</p:attrName>
                                        </p:attrNameLst>
                                      </p:cBhvr>
                                      <p:to>
                                        <a:srgbClr val="F2F2F2"/>
                                      </p:to>
                                    </p:animClr>
                                    <p:animClr clrSpc="rgb" dir="cw">
                                      <p:cBhvr>
                                        <p:cTn id="7" dur="1000" autoRev="1" fill="remove"/>
                                        <p:tgtEl>
                                          <p:spTgt spid="14"/>
                                        </p:tgtEl>
                                        <p:attrNameLst>
                                          <p:attrName>fillcolor</p:attrName>
                                        </p:attrNameLst>
                                      </p:cBhvr>
                                      <p:to>
                                        <a:srgbClr val="F2F2F2"/>
                                      </p:to>
                                    </p:animClr>
                                    <p:set>
                                      <p:cBhvr>
                                        <p:cTn id="8" dur="1000" autoRev="1" fill="remove"/>
                                        <p:tgtEl>
                                          <p:spTgt spid="14"/>
                                        </p:tgtEl>
                                        <p:attrNameLst>
                                          <p:attrName>fill.type</p:attrName>
                                        </p:attrNameLst>
                                      </p:cBhvr>
                                      <p:to>
                                        <p:strVal val="solid"/>
                                      </p:to>
                                    </p:set>
                                    <p:set>
                                      <p:cBhvr>
                                        <p:cTn id="9" dur="1000" autoRev="1" fill="remove"/>
                                        <p:tgtEl>
                                          <p:spTgt spid="14"/>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4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692497"/>
          </a:xfrm>
        </p:spPr>
        <p:txBody>
          <a:bodyPr/>
          <a:lstStyle/>
          <a:p>
            <a:r>
              <a:rPr lang="en-US" sz="5000" dirty="0"/>
              <a:t>Company Hub </a:t>
            </a:r>
            <a:endParaRPr lang="en-US" sz="5000" dirty="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4099" y="632715"/>
            <a:ext cx="8192848" cy="4725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0627" y="1085850"/>
            <a:ext cx="2031159" cy="3764096"/>
          </a:xfrm>
          <a:prstGeom prst="rect">
            <a:avLst/>
          </a:prstGeom>
          <a:noFill/>
          <a:ln>
            <a:noFill/>
          </a:ln>
        </p:spPr>
      </p:pic>
      <p:sp>
        <p:nvSpPr>
          <p:cNvPr id="8" name="Oval 7"/>
          <p:cNvSpPr/>
          <p:nvPr/>
        </p:nvSpPr>
        <p:spPr bwMode="auto">
          <a:xfrm>
            <a:off x="227799" y="4816804"/>
            <a:ext cx="2398319" cy="310493"/>
          </a:xfrm>
          <a:prstGeom prst="ellipse">
            <a:avLst/>
          </a:prstGeom>
          <a:solidFill>
            <a:schemeClr val="tx2">
              <a:alpha val="50000"/>
            </a:schemeClr>
          </a:solidFill>
          <a:ln>
            <a:noFill/>
            <a:headEnd type="none" w="med" len="med"/>
            <a:tailEnd type="none" w="med" len="med"/>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6"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7"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5"/>
              </a:rPr>
              <a:t>www.rapidbbs.cn</a:t>
            </a:r>
            <a:endParaRPr lang="zh-CN" altLang="en-US" sz="1200" b="0">
              <a:latin typeface="Arial" charset="0"/>
              <a:ea typeface="ＭＳ Ｐゴシック" pitchFamily="34" charset="-128"/>
            </a:endParaRPr>
          </a:p>
        </p:txBody>
      </p:sp>
      <p:pic>
        <p:nvPicPr>
          <p:cNvPr id="9" name="Picture 2">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03887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WPSummit_Languages_v02.wmv">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6608760" y="1447574"/>
            <a:ext cx="1695739" cy="2825496"/>
          </a:xfrm>
          <a:prstGeom prst="rect">
            <a:avLst/>
          </a:prstGeom>
        </p:spPr>
      </p:pic>
      <p:pic>
        <p:nvPicPr>
          <p:cNvPr id="11" name="Picture 1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21599" y="1458838"/>
            <a:ext cx="1686364" cy="2809874"/>
          </a:xfrm>
          <a:prstGeom prst="rect">
            <a:avLst/>
          </a:prstGeom>
        </p:spPr>
      </p:pic>
      <p:sp>
        <p:nvSpPr>
          <p:cNvPr id="2" name="Title 1"/>
          <p:cNvSpPr>
            <a:spLocks noGrp="1"/>
          </p:cNvSpPr>
          <p:nvPr>
            <p:ph type="title"/>
          </p:nvPr>
        </p:nvSpPr>
        <p:spPr>
          <a:xfrm>
            <a:off x="389436" y="171450"/>
            <a:ext cx="8363938" cy="526298"/>
          </a:xfrm>
        </p:spPr>
        <p:txBody>
          <a:bodyPr/>
          <a:lstStyle/>
          <a:p>
            <a:r>
              <a:rPr lang="en-US" sz="3800" dirty="0"/>
              <a:t>Truly Global, Deeply Local</a:t>
            </a:r>
            <a:endParaRPr lang="en-US" sz="3800" dirty="0"/>
          </a:p>
        </p:txBody>
      </p:sp>
      <p:pic>
        <p:nvPicPr>
          <p:cNvPr id="2050" name="Generic Phone" descr="\\SFP\Resources\Microsoft\Archive\Exec_Tier_Archive\Brand_Specific\Windows Phone\WP 7.5 Phones\Generic 7.5 Phone\Generic_NoScreen.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03195" y="1008891"/>
            <a:ext cx="1907838" cy="3697851"/>
          </a:xfrm>
          <a:prstGeom prst="rect">
            <a:avLst/>
          </a:prstGeom>
          <a:noFill/>
          <a:extLst>
            <a:ext uri="{909E8E84-426E-40DD-AFC4-6F175D3DCCD1}">
              <a14:hiddenFill xmlns:a14="http://schemas.microsoft.com/office/drawing/2010/main">
                <a:solidFill>
                  <a:srgbClr val="FFFFFF"/>
                </a:solidFill>
              </a14:hiddenFill>
            </a:ext>
          </a:extLst>
        </p:spPr>
      </p:pic>
      <p:pic>
        <p:nvPicPr>
          <p:cNvPr id="41" name="Glare" descr="\\sfp\Resources\Microsoft\Archive\Exec_Tier_Archive\Brand_Specific\Windows Phone\WP 7.5 Phones\Generic 7.5 Phone\Generic_Phone_Glare.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447848" y="950119"/>
            <a:ext cx="2005409" cy="3758660"/>
          </a:xfrm>
          <a:prstGeom prst="rect">
            <a:avLst/>
          </a:prstGeom>
          <a:noFill/>
          <a:extLst>
            <a:ext uri="{909E8E84-426E-40DD-AFC4-6F175D3DCCD1}">
              <a14:hiddenFill xmlns:a14="http://schemas.microsoft.com/office/drawing/2010/main">
                <a:solidFill>
                  <a:srgbClr val="FFFFFF"/>
                </a:solidFill>
              </a14:hiddenFill>
            </a:ext>
          </a:extLst>
        </p:spPr>
      </p:pic>
      <p:sp useBgFill="1">
        <p:nvSpPr>
          <p:cNvPr id="9" name="Rectangle 8"/>
          <p:cNvSpPr/>
          <p:nvPr/>
        </p:nvSpPr>
        <p:spPr bwMode="auto">
          <a:xfrm>
            <a:off x="8410384" y="842963"/>
            <a:ext cx="733616" cy="3979069"/>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500" dirty="0">
              <a:gradFill>
                <a:gsLst>
                  <a:gs pos="0">
                    <a:srgbClr val="FFFFFF"/>
                  </a:gs>
                  <a:gs pos="100000">
                    <a:srgbClr val="FFFFFF"/>
                  </a:gs>
                </a:gsLst>
                <a:lin ang="5400000" scaled="0"/>
              </a:gradFill>
            </a:endParaRPr>
          </a:p>
        </p:txBody>
      </p:sp>
      <p:sp useBgFill="1">
        <p:nvSpPr>
          <p:cNvPr id="12" name="Rectangle 11"/>
          <p:cNvSpPr/>
          <p:nvPr/>
        </p:nvSpPr>
        <p:spPr bwMode="auto">
          <a:xfrm>
            <a:off x="-1" y="1162878"/>
            <a:ext cx="6507850" cy="339322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3" name="Rectangle 2"/>
          <p:cNvSpPr/>
          <p:nvPr/>
        </p:nvSpPr>
        <p:spPr bwMode="auto">
          <a:xfrm>
            <a:off x="1" y="1491968"/>
            <a:ext cx="6509651" cy="169545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13" name="Text Placeholder 2"/>
          <p:cNvSpPr txBox="1">
            <a:spLocks/>
          </p:cNvSpPr>
          <p:nvPr/>
        </p:nvSpPr>
        <p:spPr>
          <a:xfrm>
            <a:off x="390627" y="1774154"/>
            <a:ext cx="5585895" cy="1131079"/>
          </a:xfrm>
          <a:prstGeom prst="rect">
            <a:avLst/>
          </a:prstGeom>
        </p:spPr>
        <p:txBody>
          <a:bodyPr wrap="square" lIns="0" tIns="0" rIns="0" bIns="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lumMod val="75000"/>
                        <a:lumOff val="25000"/>
                      </a:schemeClr>
                    </a:gs>
                    <a:gs pos="100000">
                      <a:schemeClr val="tx1">
                        <a:lumMod val="75000"/>
                        <a:lumOff val="25000"/>
                      </a:schemeClr>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lumMod val="75000"/>
                        <a:lumOff val="25000"/>
                      </a:schemeClr>
                    </a:gs>
                    <a:gs pos="100000">
                      <a:schemeClr val="tx1">
                        <a:lumMod val="75000"/>
                        <a:lumOff val="25000"/>
                      </a:schemeClr>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lumMod val="75000"/>
                        <a:lumOff val="25000"/>
                      </a:schemeClr>
                    </a:gs>
                    <a:gs pos="100000">
                      <a:schemeClr val="tx1">
                        <a:lumMod val="75000"/>
                        <a:lumOff val="25000"/>
                      </a:schemeClr>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lumMod val="75000"/>
                        <a:lumOff val="25000"/>
                      </a:schemeClr>
                    </a:gs>
                    <a:gs pos="100000">
                      <a:schemeClr val="tx1">
                        <a:lumMod val="75000"/>
                        <a:lumOff val="25000"/>
                      </a:schemeClr>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lumMod val="75000"/>
                        <a:lumOff val="25000"/>
                      </a:schemeClr>
                    </a:gs>
                    <a:gs pos="100000">
                      <a:schemeClr val="tx1">
                        <a:lumMod val="75000"/>
                        <a:lumOff val="25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Aft>
                <a:spcPts val="900"/>
              </a:spcAft>
              <a:buNone/>
            </a:pPr>
            <a:r>
              <a:rPr lang="en-US" sz="3000" spc="0" dirty="0">
                <a:solidFill>
                  <a:schemeClr val="tx1"/>
                </a:solidFill>
              </a:rPr>
              <a:t>50 Languages</a:t>
            </a:r>
          </a:p>
          <a:p>
            <a:pPr marL="0" indent="0">
              <a:lnSpc>
                <a:spcPct val="100000"/>
              </a:lnSpc>
              <a:spcAft>
                <a:spcPts val="900"/>
              </a:spcAft>
              <a:buNone/>
            </a:pPr>
            <a:r>
              <a:rPr lang="en-US" sz="3000" spc="0" dirty="0">
                <a:solidFill>
                  <a:schemeClr val="tx1"/>
                </a:solidFill>
              </a:rPr>
              <a:t>Apps available in 180+ countries</a:t>
            </a:r>
            <a:endParaRPr lang="en-US" sz="3000" spc="0" dirty="0">
              <a:solidFill>
                <a:schemeClr val="tx1"/>
              </a:solidFill>
            </a:endParaRPr>
          </a:p>
        </p:txBody>
      </p:sp>
      <p:sp>
        <p:nvSpPr>
          <p:cNvPr id="10" name="Oval 9"/>
          <p:cNvSpPr/>
          <p:nvPr/>
        </p:nvSpPr>
        <p:spPr bwMode="auto">
          <a:xfrm>
            <a:off x="6331692" y="4777656"/>
            <a:ext cx="2249278" cy="310493"/>
          </a:xfrm>
          <a:prstGeom prst="ellipse">
            <a:avLst/>
          </a:prstGeom>
          <a:solidFill>
            <a:schemeClr val="tx2">
              <a:alpha val="50000"/>
            </a:schemeClr>
          </a:solidFill>
          <a:ln>
            <a:noFill/>
            <a:headEnd type="none" w="med" len="med"/>
            <a:tailEnd type="none" w="med" len="med"/>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14" name="Rectangle 13"/>
          <p:cNvSpPr/>
          <p:nvPr/>
        </p:nvSpPr>
        <p:spPr bwMode="auto">
          <a:xfrm>
            <a:off x="8406812" y="1491968"/>
            <a:ext cx="737188" cy="169545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500" dirty="0">
              <a:gradFill>
                <a:gsLst>
                  <a:gs pos="0">
                    <a:srgbClr val="FFFFFF"/>
                  </a:gs>
                  <a:gs pos="100000">
                    <a:srgbClr val="FFFFFF"/>
                  </a:gs>
                </a:gsLst>
                <a:lin ang="5400000" scaled="0"/>
              </a:gradFill>
            </a:endParaRPr>
          </a:p>
        </p:txBody>
      </p:sp>
      <p:grpSp>
        <p:nvGrpSpPr>
          <p:cNvPr id="4" name="Group 3"/>
          <p:cNvGrpSpPr/>
          <p:nvPr/>
        </p:nvGrpSpPr>
        <p:grpSpPr>
          <a:xfrm>
            <a:off x="7302555" y="4376386"/>
            <a:ext cx="336753" cy="213797"/>
            <a:chOff x="9725891" y="5835180"/>
            <a:chExt cx="448887" cy="285063"/>
          </a:xfrm>
        </p:grpSpPr>
        <p:sp>
          <p:nvSpPr>
            <p:cNvPr id="15" name="Rectangle 14"/>
            <p:cNvSpPr/>
            <p:nvPr/>
          </p:nvSpPr>
          <p:spPr bwMode="auto">
            <a:xfrm>
              <a:off x="9725891" y="5835180"/>
              <a:ext cx="448887" cy="285063"/>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500" dirty="0">
                <a:gradFill>
                  <a:gsLst>
                    <a:gs pos="0">
                      <a:srgbClr val="FFFFFF"/>
                    </a:gs>
                    <a:gs pos="100000">
                      <a:srgbClr val="FFFFFF"/>
                    </a:gs>
                  </a:gsLst>
                  <a:lin ang="5400000" scaled="0"/>
                </a:gradFill>
              </a:endParaRPr>
            </a:p>
          </p:txBody>
        </p:sp>
        <p:pic>
          <p:nvPicPr>
            <p:cNvPr id="16" name="Picture 4" descr="C:\Users\chrisw\Desktop\WP_logo_061412\WP_logo_061412\WinPhone_tm_Wht_M_rgb.png"/>
            <p:cNvPicPr>
              <a:picLocks noChangeAspect="1" noChangeArrowheads="1"/>
            </p:cNvPicPr>
            <p:nvPr/>
          </p:nvPicPr>
          <p:blipFill rotWithShape="1">
            <a:blip r:embed="rId9">
              <a:extLst>
                <a:ext uri="{BEBA8EAE-BF5A-486C-A8C5-ECC9F3942E4B}">
                  <a14:imgProps xmlns:a14="http://schemas.microsoft.com/office/drawing/2010/main">
                    <a14:imgLayer r:embed="rId10">
                      <a14:imgEffect>
                        <a14:brightnessContrast bright="-20000"/>
                      </a14:imgEffect>
                    </a14:imgLayer>
                  </a14:imgProps>
                </a:ext>
                <a:ext uri="{28A0092B-C50C-407E-A947-70E740481C1C}">
                  <a14:useLocalDpi xmlns:a14="http://schemas.microsoft.com/office/drawing/2010/main" val="0"/>
                </a:ext>
              </a:extLst>
            </a:blip>
            <a:srcRect/>
            <a:stretch/>
          </p:blipFill>
          <p:spPr bwMode="auto">
            <a:xfrm>
              <a:off x="9833094" y="5860119"/>
              <a:ext cx="275184" cy="214678"/>
            </a:xfrm>
            <a:prstGeom prst="rect">
              <a:avLst/>
            </a:prstGeom>
            <a:noFill/>
            <a:extLst>
              <a:ext uri="{909E8E84-426E-40DD-AFC4-6F175D3DCCD1}">
                <a14:hiddenFill xmlns:a14="http://schemas.microsoft.com/office/drawing/2010/main">
                  <a:solidFill>
                    <a:srgbClr val="FFFFFF"/>
                  </a:solidFill>
                </a14:hiddenFill>
              </a:ext>
            </a:extLst>
          </p:spPr>
        </p:pic>
      </p:grpSp>
      <p:sp>
        <p:nvSpPr>
          <p:cNvPr id="17"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8"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1"/>
              </a:rPr>
              <a:t>www.rapidbbs.cn</a:t>
            </a:r>
            <a:endParaRPr lang="zh-CN" altLang="en-US" sz="1200" b="0">
              <a:latin typeface="Arial" charset="0"/>
              <a:ea typeface="ＭＳ Ｐゴシック" pitchFamily="34" charset="-128"/>
            </a:endParaRPr>
          </a:p>
        </p:txBody>
      </p:sp>
      <p:pic>
        <p:nvPicPr>
          <p:cNvPr id="19" name="Picture 2">
            <a:hlinkClick r:id="rId11"/>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309194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xit" presetSubtype="8" accel="100000" fill="hold" nodeType="withEffect">
                                  <p:stCondLst>
                                    <p:cond delay="0"/>
                                  </p:stCondLst>
                                  <p:childTnLst>
                                    <p:anim calcmode="lin" valueType="num">
                                      <p:cBhvr additive="base">
                                        <p:cTn id="6" dur="1000"/>
                                        <p:tgtEl>
                                          <p:spTgt spid="11"/>
                                        </p:tgtEl>
                                        <p:attrNameLst>
                                          <p:attrName>ppt_x</p:attrName>
                                        </p:attrNameLst>
                                      </p:cBhvr>
                                      <p:tavLst>
                                        <p:tav tm="0">
                                          <p:val>
                                            <p:strVal val="ppt_x"/>
                                          </p:val>
                                        </p:tav>
                                        <p:tav tm="100000">
                                          <p:val>
                                            <p:strVal val="0-ppt_w/2"/>
                                          </p:val>
                                        </p:tav>
                                      </p:tavLst>
                                    </p:anim>
                                    <p:anim calcmode="lin" valueType="num">
                                      <p:cBhvr additive="base">
                                        <p:cTn id="7" dur="1000"/>
                                        <p:tgtEl>
                                          <p:spTgt spid="11"/>
                                        </p:tgtEl>
                                        <p:attrNameLst>
                                          <p:attrName>ppt_y</p:attrName>
                                        </p:attrNameLst>
                                      </p:cBhvr>
                                      <p:tavLst>
                                        <p:tav tm="0">
                                          <p:val>
                                            <p:strVal val="ppt_y"/>
                                          </p:val>
                                        </p:tav>
                                        <p:tav tm="100000">
                                          <p:val>
                                            <p:strVal val="ppt_y"/>
                                          </p:val>
                                        </p:tav>
                                      </p:tavLst>
                                    </p:anim>
                                    <p:set>
                                      <p:cBhvr>
                                        <p:cTn id="8" dur="1" fill="hold">
                                          <p:stCondLst>
                                            <p:cond delay="999"/>
                                          </p:stCondLst>
                                        </p:cTn>
                                        <p:tgtEl>
                                          <p:spTgt spid="11"/>
                                        </p:tgtEl>
                                        <p:attrNameLst>
                                          <p:attrName>style.visibility</p:attrName>
                                        </p:attrNameLst>
                                      </p:cBhvr>
                                      <p:to>
                                        <p:strVal val="hidden"/>
                                      </p:to>
                                    </p:set>
                                  </p:childTnLst>
                                </p:cTn>
                              </p:par>
                              <p:par>
                                <p:cTn id="9" presetID="1" presetClass="mediacall" presetSubtype="0" fill="hold" nodeType="withEffect">
                                  <p:stCondLst>
                                    <p:cond delay="200"/>
                                  </p:stCondLst>
                                  <p:childTnLst>
                                    <p:cmd type="call" cmd="playFrom(0.0)">
                                      <p:cBhvr>
                                        <p:cTn id="10" dur="8075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11" fill="hold" display="0">
                  <p:stCondLst>
                    <p:cond delay="indefinite"/>
                  </p:stCondLst>
                </p:cTn>
                <p:tgtEl>
                  <p:spTgt spid="6"/>
                </p:tgtEl>
              </p:cMediaNode>
            </p:video>
          </p:childTnLst>
        </p:cTn>
      </p:par>
    </p:tnLst>
  </p:timing>
</p:sld>
</file>

<file path=ppt/slides/slide4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1773" y="1466970"/>
            <a:ext cx="1698324" cy="3230118"/>
          </a:xfrm>
          <a:prstGeom prst="rect">
            <a:avLst/>
          </a:prstGeom>
        </p:spPr>
      </p:pic>
      <p:sp>
        <p:nvSpPr>
          <p:cNvPr id="12" name="Title 1"/>
          <p:cNvSpPr>
            <a:spLocks noGrp="1"/>
          </p:cNvSpPr>
          <p:nvPr>
            <p:ph type="title"/>
          </p:nvPr>
        </p:nvSpPr>
        <p:spPr>
          <a:xfrm>
            <a:off x="389436" y="171451"/>
            <a:ext cx="8363938" cy="955646"/>
          </a:xfrm>
        </p:spPr>
        <p:txBody>
          <a:bodyPr/>
          <a:lstStyle/>
          <a:p>
            <a:r>
              <a:rPr lang="en-US" sz="3600"/>
              <a:t>Announcing Windows Phone 7.8</a:t>
            </a:r>
            <a:br>
              <a:rPr lang="en-US" sz="3600"/>
            </a:br>
            <a:endParaRPr lang="en-US" dirty="0"/>
          </a:p>
        </p:txBody>
      </p:sp>
      <p:pic>
        <p:nvPicPr>
          <p:cNvPr id="18" name="Picture 1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31537" y="1848483"/>
            <a:ext cx="1363792" cy="2272396"/>
          </a:xfrm>
          <a:prstGeom prst="rect">
            <a:avLst/>
          </a:prstGeom>
        </p:spPr>
      </p:pic>
      <p:sp useBgFill="1">
        <p:nvSpPr>
          <p:cNvPr id="21" name="Rectangle 20"/>
          <p:cNvSpPr/>
          <p:nvPr/>
        </p:nvSpPr>
        <p:spPr bwMode="auto">
          <a:xfrm>
            <a:off x="2634455" y="1406055"/>
            <a:ext cx="6478363" cy="326831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500" dirty="0">
              <a:gradFill>
                <a:gsLst>
                  <a:gs pos="0">
                    <a:srgbClr val="FFFFFF"/>
                  </a:gs>
                  <a:gs pos="100000">
                    <a:srgbClr val="FFFFFF"/>
                  </a:gs>
                </a:gsLst>
                <a:lin ang="5400000" scaled="0"/>
              </a:gradFill>
            </a:endParaRPr>
          </a:p>
        </p:txBody>
      </p:sp>
      <p:pic>
        <p:nvPicPr>
          <p:cNvPr id="2" name="Picture 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812397" y="1712625"/>
            <a:ext cx="1563181" cy="2576372"/>
          </a:xfrm>
          <a:prstGeom prst="rect">
            <a:avLst/>
          </a:prstGeom>
        </p:spPr>
      </p:pic>
      <p:pic>
        <p:nvPicPr>
          <p:cNvPr id="19" name="Picture 3"/>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3831106" y="1717009"/>
            <a:ext cx="1538235" cy="25630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useBgFill="1">
        <p:nvSpPr>
          <p:cNvPr id="22" name="Rectangle 21"/>
          <p:cNvSpPr/>
          <p:nvPr/>
        </p:nvSpPr>
        <p:spPr bwMode="auto">
          <a:xfrm>
            <a:off x="5444175" y="1520355"/>
            <a:ext cx="3699825" cy="326831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500" dirty="0">
              <a:gradFill>
                <a:gsLst>
                  <a:gs pos="0">
                    <a:srgbClr val="FFFFFF"/>
                  </a:gs>
                  <a:gs pos="100000">
                    <a:srgbClr val="FFFFFF"/>
                  </a:gs>
                </a:gsLst>
                <a:lin ang="5400000" scaled="0"/>
              </a:gradFill>
            </a:endParaRPr>
          </a:p>
        </p:txBody>
      </p:sp>
      <p:pic>
        <p:nvPicPr>
          <p:cNvPr id="4" name="Picture 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61633" y="1375300"/>
            <a:ext cx="1789670" cy="3339846"/>
          </a:xfrm>
          <a:prstGeom prst="rect">
            <a:avLst/>
          </a:prstGeom>
        </p:spPr>
      </p:pic>
      <p:pic>
        <p:nvPicPr>
          <p:cNvPr id="20" name="Picture 4"/>
          <p:cNvPicPr>
            <a:picLocks noChangeAspect="1" noChangeArrowheads="1"/>
          </p:cNvPicPr>
          <p:nvPr/>
        </p:nvPicPr>
        <p:blipFill>
          <a:blip r:embed="rId8">
            <a:extLst>
              <a:ext uri="{28A0092B-C50C-407E-A947-70E740481C1C}">
                <a14:useLocalDpi xmlns:a14="http://schemas.microsoft.com/office/drawing/2010/main" val="0"/>
              </a:ext>
            </a:extLst>
          </a:blip>
          <a:stretch>
            <a:fillRect/>
          </a:stretch>
        </p:blipFill>
        <p:spPr bwMode="auto">
          <a:xfrm>
            <a:off x="6673276" y="1831078"/>
            <a:ext cx="1357090" cy="22612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useBgFill="1">
        <p:nvSpPr>
          <p:cNvPr id="23" name="Rectangle 22"/>
          <p:cNvSpPr/>
          <p:nvPr/>
        </p:nvSpPr>
        <p:spPr bwMode="auto">
          <a:xfrm>
            <a:off x="8157796" y="1460082"/>
            <a:ext cx="1016128" cy="326831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500" dirty="0">
              <a:gradFill>
                <a:gsLst>
                  <a:gs pos="0">
                    <a:srgbClr val="FFFFFF"/>
                  </a:gs>
                  <a:gs pos="100000">
                    <a:srgbClr val="FFFFFF"/>
                  </a:gs>
                </a:gsLst>
                <a:lin ang="5400000" scaled="0"/>
              </a:gradFill>
            </a:endParaRPr>
          </a:p>
        </p:txBody>
      </p:sp>
      <p:pic>
        <p:nvPicPr>
          <p:cNvPr id="17" name="Picture 2"/>
          <p:cNvPicPr>
            <a:picLocks noChangeAspect="1" noChangeArrowheads="1"/>
          </p:cNvPicPr>
          <p:nvPr/>
        </p:nvPicPr>
        <p:blipFill>
          <a:blip r:embed="rId9">
            <a:extLst>
              <a:ext uri="{28A0092B-C50C-407E-A947-70E740481C1C}">
                <a14:useLocalDpi xmlns:a14="http://schemas.microsoft.com/office/drawing/2010/main" val="0"/>
              </a:ext>
            </a:extLst>
          </a:blip>
          <a:stretch>
            <a:fillRect/>
          </a:stretch>
        </p:blipFill>
        <p:spPr bwMode="auto">
          <a:xfrm>
            <a:off x="978009" y="1474637"/>
            <a:ext cx="1686615" cy="3207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2"/>
          <p:cNvPicPr>
            <a:picLocks noChangeAspect="1" noChangeArrowheads="1"/>
          </p:cNvPicPr>
          <p:nvPr/>
        </p:nvPicPr>
        <p:blipFill>
          <a:blip r:embed="rId10">
            <a:extLst>
              <a:ext uri="{28A0092B-C50C-407E-A947-70E740481C1C}">
                <a14:useLocalDpi xmlns:a14="http://schemas.microsoft.com/office/drawing/2010/main" val="0"/>
              </a:ext>
            </a:extLst>
          </a:blip>
          <a:stretch>
            <a:fillRect/>
          </a:stretch>
        </p:blipFill>
        <p:spPr bwMode="auto">
          <a:xfrm>
            <a:off x="3634975" y="1256156"/>
            <a:ext cx="1859373" cy="34879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3"/>
          <p:cNvPicPr>
            <a:picLocks noChangeAspect="1" noChangeArrowheads="1"/>
          </p:cNvPicPr>
          <p:nvPr/>
        </p:nvPicPr>
        <p:blipFill>
          <a:blip r:embed="rId11">
            <a:extLst>
              <a:ext uri="{28A0092B-C50C-407E-A947-70E740481C1C}">
                <a14:useLocalDpi xmlns:a14="http://schemas.microsoft.com/office/drawing/2010/main" val="0"/>
              </a:ext>
            </a:extLst>
          </a:blip>
          <a:stretch>
            <a:fillRect/>
          </a:stretch>
        </p:blipFill>
        <p:spPr bwMode="auto">
          <a:xfrm>
            <a:off x="6466573" y="1376760"/>
            <a:ext cx="1783743" cy="33287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Rectangle 8"/>
          <p:cNvSpPr/>
          <p:nvPr/>
        </p:nvSpPr>
        <p:spPr bwMode="auto">
          <a:xfrm>
            <a:off x="3857472" y="1713509"/>
            <a:ext cx="743945" cy="2571411"/>
          </a:xfrm>
          <a:custGeom>
            <a:avLst/>
            <a:gdLst>
              <a:gd name="connsiteX0" fmla="*/ 0 w 1433230"/>
              <a:gd name="connsiteY0" fmla="*/ 0 h 3606634"/>
              <a:gd name="connsiteX1" fmla="*/ 1433230 w 1433230"/>
              <a:gd name="connsiteY1" fmla="*/ 0 h 3606634"/>
              <a:gd name="connsiteX2" fmla="*/ 1433230 w 1433230"/>
              <a:gd name="connsiteY2" fmla="*/ 3606634 h 3606634"/>
              <a:gd name="connsiteX3" fmla="*/ 0 w 1433230"/>
              <a:gd name="connsiteY3" fmla="*/ 3606634 h 3606634"/>
              <a:gd name="connsiteX4" fmla="*/ 0 w 1433230"/>
              <a:gd name="connsiteY4" fmla="*/ 0 h 3606634"/>
              <a:gd name="connsiteX0" fmla="*/ 0 w 1433230"/>
              <a:gd name="connsiteY0" fmla="*/ 0 h 3606634"/>
              <a:gd name="connsiteX1" fmla="*/ 1433230 w 1433230"/>
              <a:gd name="connsiteY1" fmla="*/ 0 h 3606634"/>
              <a:gd name="connsiteX2" fmla="*/ 876017 w 1433230"/>
              <a:gd name="connsiteY2" fmla="*/ 3606634 h 3606634"/>
              <a:gd name="connsiteX3" fmla="*/ 0 w 1433230"/>
              <a:gd name="connsiteY3" fmla="*/ 3606634 h 3606634"/>
              <a:gd name="connsiteX4" fmla="*/ 0 w 1433230"/>
              <a:gd name="connsiteY4" fmla="*/ 0 h 3606634"/>
              <a:gd name="connsiteX0" fmla="*/ 0 w 1428468"/>
              <a:gd name="connsiteY0" fmla="*/ 0 h 3606634"/>
              <a:gd name="connsiteX1" fmla="*/ 1428468 w 1428468"/>
              <a:gd name="connsiteY1" fmla="*/ 2381 h 3606634"/>
              <a:gd name="connsiteX2" fmla="*/ 876017 w 1428468"/>
              <a:gd name="connsiteY2" fmla="*/ 3606634 h 3606634"/>
              <a:gd name="connsiteX3" fmla="*/ 0 w 1428468"/>
              <a:gd name="connsiteY3" fmla="*/ 3606634 h 3606634"/>
              <a:gd name="connsiteX4" fmla="*/ 0 w 1428468"/>
              <a:gd name="connsiteY4" fmla="*/ 0 h 3606634"/>
              <a:gd name="connsiteX0" fmla="*/ 0 w 1428468"/>
              <a:gd name="connsiteY0" fmla="*/ 0 h 3606634"/>
              <a:gd name="connsiteX1" fmla="*/ 1428468 w 1428468"/>
              <a:gd name="connsiteY1" fmla="*/ 2381 h 3606634"/>
              <a:gd name="connsiteX2" fmla="*/ 871255 w 1428468"/>
              <a:gd name="connsiteY2" fmla="*/ 3606634 h 3606634"/>
              <a:gd name="connsiteX3" fmla="*/ 0 w 1428468"/>
              <a:gd name="connsiteY3" fmla="*/ 3606634 h 3606634"/>
              <a:gd name="connsiteX4" fmla="*/ 0 w 1428468"/>
              <a:gd name="connsiteY4" fmla="*/ 0 h 3606634"/>
              <a:gd name="connsiteX0" fmla="*/ 0 w 1428468"/>
              <a:gd name="connsiteY0" fmla="*/ 0 h 3606634"/>
              <a:gd name="connsiteX1" fmla="*/ 1428468 w 1428468"/>
              <a:gd name="connsiteY1" fmla="*/ 3 h 3606634"/>
              <a:gd name="connsiteX2" fmla="*/ 871255 w 1428468"/>
              <a:gd name="connsiteY2" fmla="*/ 3606634 h 3606634"/>
              <a:gd name="connsiteX3" fmla="*/ 0 w 1428468"/>
              <a:gd name="connsiteY3" fmla="*/ 3606634 h 3606634"/>
              <a:gd name="connsiteX4" fmla="*/ 0 w 1428468"/>
              <a:gd name="connsiteY4" fmla="*/ 0 h 3606634"/>
              <a:gd name="connsiteX0" fmla="*/ 0 w 1163274"/>
              <a:gd name="connsiteY0" fmla="*/ 8750 h 3615384"/>
              <a:gd name="connsiteX1" fmla="*/ 1163274 w 1163274"/>
              <a:gd name="connsiteY1" fmla="*/ 0 h 3615384"/>
              <a:gd name="connsiteX2" fmla="*/ 871255 w 1163274"/>
              <a:gd name="connsiteY2" fmla="*/ 3615384 h 3615384"/>
              <a:gd name="connsiteX3" fmla="*/ 0 w 1163274"/>
              <a:gd name="connsiteY3" fmla="*/ 3615384 h 3615384"/>
              <a:gd name="connsiteX4" fmla="*/ 0 w 1163274"/>
              <a:gd name="connsiteY4" fmla="*/ 8750 h 3615384"/>
              <a:gd name="connsiteX0" fmla="*/ 0 w 1153452"/>
              <a:gd name="connsiteY0" fmla="*/ 8750 h 3615384"/>
              <a:gd name="connsiteX1" fmla="*/ 1153452 w 1153452"/>
              <a:gd name="connsiteY1" fmla="*/ 0 h 3615384"/>
              <a:gd name="connsiteX2" fmla="*/ 871255 w 1153452"/>
              <a:gd name="connsiteY2" fmla="*/ 3615384 h 3615384"/>
              <a:gd name="connsiteX3" fmla="*/ 0 w 1153452"/>
              <a:gd name="connsiteY3" fmla="*/ 3615384 h 3615384"/>
              <a:gd name="connsiteX4" fmla="*/ 0 w 1153452"/>
              <a:gd name="connsiteY4" fmla="*/ 8750 h 3615384"/>
              <a:gd name="connsiteX0" fmla="*/ 0 w 1163274"/>
              <a:gd name="connsiteY0" fmla="*/ 8750 h 3615384"/>
              <a:gd name="connsiteX1" fmla="*/ 1163274 w 1163274"/>
              <a:gd name="connsiteY1" fmla="*/ 0 h 3615384"/>
              <a:gd name="connsiteX2" fmla="*/ 871255 w 1163274"/>
              <a:gd name="connsiteY2" fmla="*/ 3615384 h 3615384"/>
              <a:gd name="connsiteX3" fmla="*/ 0 w 1163274"/>
              <a:gd name="connsiteY3" fmla="*/ 3615384 h 3615384"/>
              <a:gd name="connsiteX4" fmla="*/ 0 w 1163274"/>
              <a:gd name="connsiteY4" fmla="*/ 8750 h 3615384"/>
              <a:gd name="connsiteX0" fmla="*/ 0 w 1168902"/>
              <a:gd name="connsiteY0" fmla="*/ 0 h 3606634"/>
              <a:gd name="connsiteX1" fmla="*/ 1168902 w 1168902"/>
              <a:gd name="connsiteY1" fmla="*/ 3787 h 3606634"/>
              <a:gd name="connsiteX2" fmla="*/ 871255 w 1168902"/>
              <a:gd name="connsiteY2" fmla="*/ 3606634 h 3606634"/>
              <a:gd name="connsiteX3" fmla="*/ 0 w 1168902"/>
              <a:gd name="connsiteY3" fmla="*/ 3606634 h 3606634"/>
              <a:gd name="connsiteX4" fmla="*/ 0 w 1168902"/>
              <a:gd name="connsiteY4" fmla="*/ 0 h 3606634"/>
              <a:gd name="connsiteX0" fmla="*/ 0 w 1168902"/>
              <a:gd name="connsiteY0" fmla="*/ 0 h 3609141"/>
              <a:gd name="connsiteX1" fmla="*/ 1168902 w 1168902"/>
              <a:gd name="connsiteY1" fmla="*/ 3787 h 3609141"/>
              <a:gd name="connsiteX2" fmla="*/ 609592 w 1168902"/>
              <a:gd name="connsiteY2" fmla="*/ 3609141 h 3609141"/>
              <a:gd name="connsiteX3" fmla="*/ 0 w 1168902"/>
              <a:gd name="connsiteY3" fmla="*/ 3606634 h 3609141"/>
              <a:gd name="connsiteX4" fmla="*/ 0 w 1168902"/>
              <a:gd name="connsiteY4" fmla="*/ 0 h 3609141"/>
              <a:gd name="connsiteX0" fmla="*/ 0 w 1171715"/>
              <a:gd name="connsiteY0" fmla="*/ 1228 h 3610369"/>
              <a:gd name="connsiteX1" fmla="*/ 1171715 w 1171715"/>
              <a:gd name="connsiteY1" fmla="*/ 0 h 3610369"/>
              <a:gd name="connsiteX2" fmla="*/ 609592 w 1171715"/>
              <a:gd name="connsiteY2" fmla="*/ 3610369 h 3610369"/>
              <a:gd name="connsiteX3" fmla="*/ 0 w 1171715"/>
              <a:gd name="connsiteY3" fmla="*/ 3607862 h 3610369"/>
              <a:gd name="connsiteX4" fmla="*/ 0 w 1171715"/>
              <a:gd name="connsiteY4" fmla="*/ 1228 h 3610369"/>
              <a:gd name="connsiteX0" fmla="*/ 0 w 1171715"/>
              <a:gd name="connsiteY0" fmla="*/ 1228 h 3610369"/>
              <a:gd name="connsiteX1" fmla="*/ 1171715 w 1171715"/>
              <a:gd name="connsiteY1" fmla="*/ 0 h 3610369"/>
              <a:gd name="connsiteX2" fmla="*/ 446403 w 1171715"/>
              <a:gd name="connsiteY2" fmla="*/ 3610369 h 3610369"/>
              <a:gd name="connsiteX3" fmla="*/ 0 w 1171715"/>
              <a:gd name="connsiteY3" fmla="*/ 3607862 h 3610369"/>
              <a:gd name="connsiteX4" fmla="*/ 0 w 1171715"/>
              <a:gd name="connsiteY4" fmla="*/ 1228 h 3610369"/>
              <a:gd name="connsiteX0" fmla="*/ 0 w 1171715"/>
              <a:gd name="connsiteY0" fmla="*/ 1228 h 3610369"/>
              <a:gd name="connsiteX1" fmla="*/ 1171715 w 1171715"/>
              <a:gd name="connsiteY1" fmla="*/ 0 h 3610369"/>
              <a:gd name="connsiteX2" fmla="*/ 384504 w 1171715"/>
              <a:gd name="connsiteY2" fmla="*/ 3610369 h 3610369"/>
              <a:gd name="connsiteX3" fmla="*/ 0 w 1171715"/>
              <a:gd name="connsiteY3" fmla="*/ 3607862 h 3610369"/>
              <a:gd name="connsiteX4" fmla="*/ 0 w 1171715"/>
              <a:gd name="connsiteY4" fmla="*/ 1228 h 3610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1715" h="3610369">
                <a:moveTo>
                  <a:pt x="0" y="1228"/>
                </a:moveTo>
                <a:lnTo>
                  <a:pt x="1171715" y="0"/>
                </a:lnTo>
                <a:lnTo>
                  <a:pt x="384504" y="3610369"/>
                </a:lnTo>
                <a:lnTo>
                  <a:pt x="0" y="3607862"/>
                </a:lnTo>
                <a:lnTo>
                  <a:pt x="0" y="1228"/>
                </a:lnTo>
                <a:close/>
              </a:path>
            </a:pathLst>
          </a:custGeom>
          <a:solidFill>
            <a:srgbClr val="FFFFFF">
              <a:alpha val="15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24" name="Oval 23"/>
          <p:cNvSpPr/>
          <p:nvPr/>
        </p:nvSpPr>
        <p:spPr bwMode="auto">
          <a:xfrm>
            <a:off x="6375346" y="4677900"/>
            <a:ext cx="1962412" cy="310493"/>
          </a:xfrm>
          <a:prstGeom prst="ellipse">
            <a:avLst/>
          </a:prstGeom>
          <a:solidFill>
            <a:schemeClr val="tx2">
              <a:alpha val="50000"/>
            </a:schemeClr>
          </a:solidFill>
          <a:ln>
            <a:noFill/>
            <a:headEnd type="none" w="med" len="med"/>
            <a:tailEnd type="none" w="med" len="med"/>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25" name="Oval 24"/>
          <p:cNvSpPr/>
          <p:nvPr/>
        </p:nvSpPr>
        <p:spPr bwMode="auto">
          <a:xfrm>
            <a:off x="862572" y="4677900"/>
            <a:ext cx="1962412" cy="310493"/>
          </a:xfrm>
          <a:prstGeom prst="ellipse">
            <a:avLst/>
          </a:prstGeom>
          <a:solidFill>
            <a:schemeClr val="tx2">
              <a:alpha val="50000"/>
            </a:schemeClr>
          </a:solidFill>
          <a:ln>
            <a:noFill/>
            <a:headEnd type="none" w="med" len="med"/>
            <a:tailEnd type="none" w="med" len="med"/>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26" name="Oval 25"/>
          <p:cNvSpPr/>
          <p:nvPr/>
        </p:nvSpPr>
        <p:spPr bwMode="auto">
          <a:xfrm>
            <a:off x="3514212" y="4734553"/>
            <a:ext cx="2110813" cy="310493"/>
          </a:xfrm>
          <a:prstGeom prst="ellipse">
            <a:avLst/>
          </a:prstGeom>
          <a:solidFill>
            <a:schemeClr val="tx2">
              <a:alpha val="50000"/>
            </a:schemeClr>
          </a:solidFill>
          <a:ln>
            <a:noFill/>
            <a:headEnd type="none" w="med" len="med"/>
            <a:tailEnd type="none" w="med" len="med"/>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27" name="Rectangle 8"/>
          <p:cNvSpPr/>
          <p:nvPr/>
        </p:nvSpPr>
        <p:spPr bwMode="auto">
          <a:xfrm>
            <a:off x="6678041" y="1818715"/>
            <a:ext cx="956527" cy="2264231"/>
          </a:xfrm>
          <a:custGeom>
            <a:avLst/>
            <a:gdLst>
              <a:gd name="connsiteX0" fmla="*/ 0 w 1433230"/>
              <a:gd name="connsiteY0" fmla="*/ 0 h 3606634"/>
              <a:gd name="connsiteX1" fmla="*/ 1433230 w 1433230"/>
              <a:gd name="connsiteY1" fmla="*/ 0 h 3606634"/>
              <a:gd name="connsiteX2" fmla="*/ 1433230 w 1433230"/>
              <a:gd name="connsiteY2" fmla="*/ 3606634 h 3606634"/>
              <a:gd name="connsiteX3" fmla="*/ 0 w 1433230"/>
              <a:gd name="connsiteY3" fmla="*/ 3606634 h 3606634"/>
              <a:gd name="connsiteX4" fmla="*/ 0 w 1433230"/>
              <a:gd name="connsiteY4" fmla="*/ 0 h 3606634"/>
              <a:gd name="connsiteX0" fmla="*/ 0 w 1433230"/>
              <a:gd name="connsiteY0" fmla="*/ 0 h 3606634"/>
              <a:gd name="connsiteX1" fmla="*/ 1433230 w 1433230"/>
              <a:gd name="connsiteY1" fmla="*/ 0 h 3606634"/>
              <a:gd name="connsiteX2" fmla="*/ 876017 w 1433230"/>
              <a:gd name="connsiteY2" fmla="*/ 3606634 h 3606634"/>
              <a:gd name="connsiteX3" fmla="*/ 0 w 1433230"/>
              <a:gd name="connsiteY3" fmla="*/ 3606634 h 3606634"/>
              <a:gd name="connsiteX4" fmla="*/ 0 w 1433230"/>
              <a:gd name="connsiteY4" fmla="*/ 0 h 3606634"/>
              <a:gd name="connsiteX0" fmla="*/ 0 w 1428468"/>
              <a:gd name="connsiteY0" fmla="*/ 0 h 3606634"/>
              <a:gd name="connsiteX1" fmla="*/ 1428468 w 1428468"/>
              <a:gd name="connsiteY1" fmla="*/ 2381 h 3606634"/>
              <a:gd name="connsiteX2" fmla="*/ 876017 w 1428468"/>
              <a:gd name="connsiteY2" fmla="*/ 3606634 h 3606634"/>
              <a:gd name="connsiteX3" fmla="*/ 0 w 1428468"/>
              <a:gd name="connsiteY3" fmla="*/ 3606634 h 3606634"/>
              <a:gd name="connsiteX4" fmla="*/ 0 w 1428468"/>
              <a:gd name="connsiteY4" fmla="*/ 0 h 3606634"/>
              <a:gd name="connsiteX0" fmla="*/ 0 w 1428468"/>
              <a:gd name="connsiteY0" fmla="*/ 0 h 3606634"/>
              <a:gd name="connsiteX1" fmla="*/ 1428468 w 1428468"/>
              <a:gd name="connsiteY1" fmla="*/ 2381 h 3606634"/>
              <a:gd name="connsiteX2" fmla="*/ 871255 w 1428468"/>
              <a:gd name="connsiteY2" fmla="*/ 3606634 h 3606634"/>
              <a:gd name="connsiteX3" fmla="*/ 0 w 1428468"/>
              <a:gd name="connsiteY3" fmla="*/ 3606634 h 3606634"/>
              <a:gd name="connsiteX4" fmla="*/ 0 w 1428468"/>
              <a:gd name="connsiteY4" fmla="*/ 0 h 3606634"/>
              <a:gd name="connsiteX0" fmla="*/ 0 w 1428468"/>
              <a:gd name="connsiteY0" fmla="*/ 0 h 3606634"/>
              <a:gd name="connsiteX1" fmla="*/ 1428468 w 1428468"/>
              <a:gd name="connsiteY1" fmla="*/ 3 h 3606634"/>
              <a:gd name="connsiteX2" fmla="*/ 871255 w 1428468"/>
              <a:gd name="connsiteY2" fmla="*/ 3606634 h 3606634"/>
              <a:gd name="connsiteX3" fmla="*/ 0 w 1428468"/>
              <a:gd name="connsiteY3" fmla="*/ 3606634 h 3606634"/>
              <a:gd name="connsiteX4" fmla="*/ 0 w 1428468"/>
              <a:gd name="connsiteY4" fmla="*/ 0 h 3606634"/>
              <a:gd name="connsiteX0" fmla="*/ 0 w 1163274"/>
              <a:gd name="connsiteY0" fmla="*/ 8750 h 3615384"/>
              <a:gd name="connsiteX1" fmla="*/ 1163274 w 1163274"/>
              <a:gd name="connsiteY1" fmla="*/ 0 h 3615384"/>
              <a:gd name="connsiteX2" fmla="*/ 871255 w 1163274"/>
              <a:gd name="connsiteY2" fmla="*/ 3615384 h 3615384"/>
              <a:gd name="connsiteX3" fmla="*/ 0 w 1163274"/>
              <a:gd name="connsiteY3" fmla="*/ 3615384 h 3615384"/>
              <a:gd name="connsiteX4" fmla="*/ 0 w 1163274"/>
              <a:gd name="connsiteY4" fmla="*/ 8750 h 3615384"/>
              <a:gd name="connsiteX0" fmla="*/ 0 w 1153452"/>
              <a:gd name="connsiteY0" fmla="*/ 8750 h 3615384"/>
              <a:gd name="connsiteX1" fmla="*/ 1153452 w 1153452"/>
              <a:gd name="connsiteY1" fmla="*/ 0 h 3615384"/>
              <a:gd name="connsiteX2" fmla="*/ 871255 w 1153452"/>
              <a:gd name="connsiteY2" fmla="*/ 3615384 h 3615384"/>
              <a:gd name="connsiteX3" fmla="*/ 0 w 1153452"/>
              <a:gd name="connsiteY3" fmla="*/ 3615384 h 3615384"/>
              <a:gd name="connsiteX4" fmla="*/ 0 w 1153452"/>
              <a:gd name="connsiteY4" fmla="*/ 8750 h 3615384"/>
              <a:gd name="connsiteX0" fmla="*/ 0 w 1163274"/>
              <a:gd name="connsiteY0" fmla="*/ 8750 h 3615384"/>
              <a:gd name="connsiteX1" fmla="*/ 1163274 w 1163274"/>
              <a:gd name="connsiteY1" fmla="*/ 0 h 3615384"/>
              <a:gd name="connsiteX2" fmla="*/ 871255 w 1163274"/>
              <a:gd name="connsiteY2" fmla="*/ 3615384 h 3615384"/>
              <a:gd name="connsiteX3" fmla="*/ 0 w 1163274"/>
              <a:gd name="connsiteY3" fmla="*/ 3615384 h 3615384"/>
              <a:gd name="connsiteX4" fmla="*/ 0 w 1163274"/>
              <a:gd name="connsiteY4" fmla="*/ 8750 h 3615384"/>
              <a:gd name="connsiteX0" fmla="*/ 0 w 1168902"/>
              <a:gd name="connsiteY0" fmla="*/ 0 h 3606634"/>
              <a:gd name="connsiteX1" fmla="*/ 1168902 w 1168902"/>
              <a:gd name="connsiteY1" fmla="*/ 3787 h 3606634"/>
              <a:gd name="connsiteX2" fmla="*/ 871255 w 1168902"/>
              <a:gd name="connsiteY2" fmla="*/ 3606634 h 3606634"/>
              <a:gd name="connsiteX3" fmla="*/ 0 w 1168902"/>
              <a:gd name="connsiteY3" fmla="*/ 3606634 h 3606634"/>
              <a:gd name="connsiteX4" fmla="*/ 0 w 1168902"/>
              <a:gd name="connsiteY4" fmla="*/ 0 h 3606634"/>
              <a:gd name="connsiteX0" fmla="*/ 0 w 1168902"/>
              <a:gd name="connsiteY0" fmla="*/ 0 h 3609141"/>
              <a:gd name="connsiteX1" fmla="*/ 1168902 w 1168902"/>
              <a:gd name="connsiteY1" fmla="*/ 3787 h 3609141"/>
              <a:gd name="connsiteX2" fmla="*/ 609592 w 1168902"/>
              <a:gd name="connsiteY2" fmla="*/ 3609141 h 3609141"/>
              <a:gd name="connsiteX3" fmla="*/ 0 w 1168902"/>
              <a:gd name="connsiteY3" fmla="*/ 3606634 h 3609141"/>
              <a:gd name="connsiteX4" fmla="*/ 0 w 1168902"/>
              <a:gd name="connsiteY4" fmla="*/ 0 h 3609141"/>
              <a:gd name="connsiteX0" fmla="*/ 0 w 1171715"/>
              <a:gd name="connsiteY0" fmla="*/ 1228 h 3610369"/>
              <a:gd name="connsiteX1" fmla="*/ 1171715 w 1171715"/>
              <a:gd name="connsiteY1" fmla="*/ 0 h 3610369"/>
              <a:gd name="connsiteX2" fmla="*/ 609592 w 1171715"/>
              <a:gd name="connsiteY2" fmla="*/ 3610369 h 3610369"/>
              <a:gd name="connsiteX3" fmla="*/ 0 w 1171715"/>
              <a:gd name="connsiteY3" fmla="*/ 3607862 h 3610369"/>
              <a:gd name="connsiteX4" fmla="*/ 0 w 1171715"/>
              <a:gd name="connsiteY4" fmla="*/ 1228 h 3610369"/>
              <a:gd name="connsiteX0" fmla="*/ 0 w 1171715"/>
              <a:gd name="connsiteY0" fmla="*/ 1228 h 3610369"/>
              <a:gd name="connsiteX1" fmla="*/ 1171715 w 1171715"/>
              <a:gd name="connsiteY1" fmla="*/ 0 h 3610369"/>
              <a:gd name="connsiteX2" fmla="*/ 446403 w 1171715"/>
              <a:gd name="connsiteY2" fmla="*/ 3610369 h 3610369"/>
              <a:gd name="connsiteX3" fmla="*/ 0 w 1171715"/>
              <a:gd name="connsiteY3" fmla="*/ 3607862 h 3610369"/>
              <a:gd name="connsiteX4" fmla="*/ 0 w 1171715"/>
              <a:gd name="connsiteY4" fmla="*/ 1228 h 3610369"/>
              <a:gd name="connsiteX0" fmla="*/ 0 w 1171715"/>
              <a:gd name="connsiteY0" fmla="*/ 1228 h 3610369"/>
              <a:gd name="connsiteX1" fmla="*/ 1171715 w 1171715"/>
              <a:gd name="connsiteY1" fmla="*/ 0 h 3610369"/>
              <a:gd name="connsiteX2" fmla="*/ 384504 w 1171715"/>
              <a:gd name="connsiteY2" fmla="*/ 3610369 h 3610369"/>
              <a:gd name="connsiteX3" fmla="*/ 0 w 1171715"/>
              <a:gd name="connsiteY3" fmla="*/ 3607862 h 3610369"/>
              <a:gd name="connsiteX4" fmla="*/ 0 w 1171715"/>
              <a:gd name="connsiteY4" fmla="*/ 1228 h 3610369"/>
              <a:gd name="connsiteX0" fmla="*/ 0 w 1506532"/>
              <a:gd name="connsiteY0" fmla="*/ 6244 h 3615385"/>
              <a:gd name="connsiteX1" fmla="*/ 1506532 w 1506532"/>
              <a:gd name="connsiteY1" fmla="*/ 0 h 3615385"/>
              <a:gd name="connsiteX2" fmla="*/ 384504 w 1506532"/>
              <a:gd name="connsiteY2" fmla="*/ 3615385 h 3615385"/>
              <a:gd name="connsiteX3" fmla="*/ 0 w 1506532"/>
              <a:gd name="connsiteY3" fmla="*/ 3612878 h 3615385"/>
              <a:gd name="connsiteX4" fmla="*/ 0 w 1506532"/>
              <a:gd name="connsiteY4" fmla="*/ 6244 h 3615385"/>
              <a:gd name="connsiteX0" fmla="*/ 0 w 1506532"/>
              <a:gd name="connsiteY0" fmla="*/ 6244 h 3615385"/>
              <a:gd name="connsiteX1" fmla="*/ 1506532 w 1506532"/>
              <a:gd name="connsiteY1" fmla="*/ 0 h 3615385"/>
              <a:gd name="connsiteX2" fmla="*/ 384504 w 1506532"/>
              <a:gd name="connsiteY2" fmla="*/ 3615385 h 3615385"/>
              <a:gd name="connsiteX3" fmla="*/ 0 w 1506532"/>
              <a:gd name="connsiteY3" fmla="*/ 3174059 h 3615385"/>
              <a:gd name="connsiteX4" fmla="*/ 0 w 1506532"/>
              <a:gd name="connsiteY4" fmla="*/ 6244 h 3615385"/>
              <a:gd name="connsiteX0" fmla="*/ 0 w 1506532"/>
              <a:gd name="connsiteY0" fmla="*/ 6244 h 3179075"/>
              <a:gd name="connsiteX1" fmla="*/ 1506532 w 1506532"/>
              <a:gd name="connsiteY1" fmla="*/ 0 h 3179075"/>
              <a:gd name="connsiteX2" fmla="*/ 1028816 w 1506532"/>
              <a:gd name="connsiteY2" fmla="*/ 3179075 h 3179075"/>
              <a:gd name="connsiteX3" fmla="*/ 0 w 1506532"/>
              <a:gd name="connsiteY3" fmla="*/ 3174059 h 3179075"/>
              <a:gd name="connsiteX4" fmla="*/ 0 w 1506532"/>
              <a:gd name="connsiteY4" fmla="*/ 6244 h 317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6532" h="3179075">
                <a:moveTo>
                  <a:pt x="0" y="6244"/>
                </a:moveTo>
                <a:lnTo>
                  <a:pt x="1506532" y="0"/>
                </a:lnTo>
                <a:lnTo>
                  <a:pt x="1028816" y="3179075"/>
                </a:lnTo>
                <a:lnTo>
                  <a:pt x="0" y="3174059"/>
                </a:lnTo>
                <a:lnTo>
                  <a:pt x="0" y="6244"/>
                </a:lnTo>
                <a:close/>
              </a:path>
            </a:pathLst>
          </a:custGeom>
          <a:solidFill>
            <a:srgbClr val="FFFFFF">
              <a:alpha val="15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28"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9"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2"/>
              </a:rPr>
              <a:t>www.rapidbbs.cn</a:t>
            </a:r>
            <a:endParaRPr lang="zh-CN" altLang="en-US" sz="1200" b="0">
              <a:latin typeface="Arial" charset="0"/>
              <a:ea typeface="ＭＳ Ｐゴシック" pitchFamily="34" charset="-128"/>
            </a:endParaRPr>
          </a:p>
        </p:txBody>
      </p:sp>
      <p:pic>
        <p:nvPicPr>
          <p:cNvPr id="30" name="Picture 2">
            <a:hlinkClick r:id="rId12"/>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9614403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decel="10000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1000" fill="hold"/>
                                        <p:tgtEl>
                                          <p:spTgt spid="12"/>
                                        </p:tgtEl>
                                        <p:attrNameLst>
                                          <p:attrName>ppt_x</p:attrName>
                                        </p:attrNameLst>
                                      </p:cBhvr>
                                      <p:tavLst>
                                        <p:tav tm="0">
                                          <p:val>
                                            <p:strVal val="1+#ppt_w/2"/>
                                          </p:val>
                                        </p:tav>
                                        <p:tav tm="100000">
                                          <p:val>
                                            <p:strVal val="#ppt_x"/>
                                          </p:val>
                                        </p:tav>
                                      </p:tavLst>
                                    </p:anim>
                                    <p:anim calcmode="lin" valueType="num">
                                      <p:cBhvr additive="base">
                                        <p:cTn id="8" dur="1000" fill="hold"/>
                                        <p:tgtEl>
                                          <p:spTgt spid="12"/>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18"/>
                                        </p:tgtEl>
                                        <p:attrNameLst>
                                          <p:attrName>style.visibility</p:attrName>
                                        </p:attrNameLst>
                                      </p:cBhvr>
                                      <p:to>
                                        <p:strVal val="visible"/>
                                      </p:to>
                                    </p:set>
                                    <p:anim calcmode="lin" valueType="num">
                                      <p:cBhvr additive="base">
                                        <p:cTn id="11" dur="1000" fill="hold"/>
                                        <p:tgtEl>
                                          <p:spTgt spid="18"/>
                                        </p:tgtEl>
                                        <p:attrNameLst>
                                          <p:attrName>ppt_x</p:attrName>
                                        </p:attrNameLst>
                                      </p:cBhvr>
                                      <p:tavLst>
                                        <p:tav tm="0">
                                          <p:val>
                                            <p:strVal val="1+#ppt_w/2"/>
                                          </p:val>
                                        </p:tav>
                                        <p:tav tm="100000">
                                          <p:val>
                                            <p:strVal val="#ppt_x"/>
                                          </p:val>
                                        </p:tav>
                                      </p:tavLst>
                                    </p:anim>
                                    <p:anim calcmode="lin" valueType="num">
                                      <p:cBhvr additive="base">
                                        <p:cTn id="12" dur="1000" fill="hold"/>
                                        <p:tgtEl>
                                          <p:spTgt spid="18"/>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0"/>
                                  </p:stCondLst>
                                  <p:childTnLst>
                                    <p:set>
                                      <p:cBhvr>
                                        <p:cTn id="14" dur="1" fill="hold">
                                          <p:stCondLst>
                                            <p:cond delay="0"/>
                                          </p:stCondLst>
                                        </p:cTn>
                                        <p:tgtEl>
                                          <p:spTgt spid="19"/>
                                        </p:tgtEl>
                                        <p:attrNameLst>
                                          <p:attrName>style.visibility</p:attrName>
                                        </p:attrNameLst>
                                      </p:cBhvr>
                                      <p:to>
                                        <p:strVal val="visible"/>
                                      </p:to>
                                    </p:set>
                                    <p:anim calcmode="lin" valueType="num">
                                      <p:cBhvr additive="base">
                                        <p:cTn id="15" dur="1000" fill="hold"/>
                                        <p:tgtEl>
                                          <p:spTgt spid="19"/>
                                        </p:tgtEl>
                                        <p:attrNameLst>
                                          <p:attrName>ppt_x</p:attrName>
                                        </p:attrNameLst>
                                      </p:cBhvr>
                                      <p:tavLst>
                                        <p:tav tm="0">
                                          <p:val>
                                            <p:strVal val="1+#ppt_w/2"/>
                                          </p:val>
                                        </p:tav>
                                        <p:tav tm="100000">
                                          <p:val>
                                            <p:strVal val="#ppt_x"/>
                                          </p:val>
                                        </p:tav>
                                      </p:tavLst>
                                    </p:anim>
                                    <p:anim calcmode="lin" valueType="num">
                                      <p:cBhvr additive="base">
                                        <p:cTn id="16" dur="1000" fill="hold"/>
                                        <p:tgtEl>
                                          <p:spTgt spid="19"/>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0"/>
                                  </p:stCondLst>
                                  <p:childTnLst>
                                    <p:set>
                                      <p:cBhvr>
                                        <p:cTn id="18" dur="1" fill="hold">
                                          <p:stCondLst>
                                            <p:cond delay="0"/>
                                          </p:stCondLst>
                                        </p:cTn>
                                        <p:tgtEl>
                                          <p:spTgt spid="20"/>
                                        </p:tgtEl>
                                        <p:attrNameLst>
                                          <p:attrName>style.visibility</p:attrName>
                                        </p:attrNameLst>
                                      </p:cBhvr>
                                      <p:to>
                                        <p:strVal val="visible"/>
                                      </p:to>
                                    </p:set>
                                    <p:anim calcmode="lin" valueType="num">
                                      <p:cBhvr additive="base">
                                        <p:cTn id="19" dur="1000" fill="hold"/>
                                        <p:tgtEl>
                                          <p:spTgt spid="20"/>
                                        </p:tgtEl>
                                        <p:attrNameLst>
                                          <p:attrName>ppt_x</p:attrName>
                                        </p:attrNameLst>
                                      </p:cBhvr>
                                      <p:tavLst>
                                        <p:tav tm="0">
                                          <p:val>
                                            <p:strVal val="1+#ppt_w/2"/>
                                          </p:val>
                                        </p:tav>
                                        <p:tav tm="100000">
                                          <p:val>
                                            <p:strVal val="#ppt_x"/>
                                          </p:val>
                                        </p:tav>
                                      </p:tavLst>
                                    </p:anim>
                                    <p:anim calcmode="lin" valueType="num">
                                      <p:cBhvr additive="base">
                                        <p:cTn id="20" dur="1000" fill="hold"/>
                                        <p:tgtEl>
                                          <p:spTgt spid="2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4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42292" y="1418520"/>
            <a:ext cx="4148640" cy="2332711"/>
          </a:xfrm>
          <a:prstGeom prst="rect">
            <a:avLst/>
          </a:prstGeom>
        </p:spPr>
      </p:pic>
      <p:pic>
        <p:nvPicPr>
          <p:cNvPr id="8" name="Picture 2" descr="C:\Users\alyssaj\Desktop\UPLOAD_EXEC_TIER_ARCHIVE\GoogleTablet_noscreen.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27345" y="1096100"/>
            <a:ext cx="4427896" cy="2960384"/>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3891087" y="1961829"/>
            <a:ext cx="2907498" cy="143850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3891087" y="1961829"/>
            <a:ext cx="2907498" cy="1438501"/>
          </a:xfrm>
          <a:prstGeom prst="rect">
            <a:avLst/>
          </a:prstGeom>
          <a:noFill/>
          <a:extLst>
            <a:ext uri="{909E8E84-426E-40DD-AFC4-6F175D3DCCD1}">
              <a14:hiddenFill xmlns:a14="http://schemas.microsoft.com/office/drawing/2010/main">
                <a:solidFill>
                  <a:srgbClr val="FFFFFF"/>
                </a:solidFill>
              </a14:hiddenFill>
            </a:ext>
          </a:extLst>
        </p:spPr>
      </p:pic>
      <p:sp>
        <p:nvSpPr>
          <p:cNvPr id="13" name="Oval 12"/>
          <p:cNvSpPr/>
          <p:nvPr/>
        </p:nvSpPr>
        <p:spPr bwMode="auto">
          <a:xfrm>
            <a:off x="1062129" y="4148670"/>
            <a:ext cx="2137026" cy="288036"/>
          </a:xfrm>
          <a:prstGeom prst="ellipse">
            <a:avLst/>
          </a:prstGeom>
          <a:solidFill>
            <a:schemeClr val="tx2">
              <a:alpha val="50000"/>
            </a:schemeClr>
          </a:solidFill>
          <a:ln>
            <a:noFill/>
            <a:headEnd type="none" w="med" len="med"/>
            <a:tailEnd type="none" w="med" len="med"/>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15" name="Oval 14"/>
          <p:cNvSpPr/>
          <p:nvPr/>
        </p:nvSpPr>
        <p:spPr bwMode="auto">
          <a:xfrm>
            <a:off x="2874874" y="4148670"/>
            <a:ext cx="5402504" cy="310493"/>
          </a:xfrm>
          <a:prstGeom prst="ellipse">
            <a:avLst/>
          </a:prstGeom>
          <a:solidFill>
            <a:schemeClr val="tx2">
              <a:alpha val="50000"/>
            </a:schemeClr>
          </a:solidFill>
          <a:ln>
            <a:noFill/>
            <a:headEnd type="none" w="med" len="med"/>
            <a:tailEnd type="none" w="med" len="med"/>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500" dirty="0">
              <a:gradFill>
                <a:gsLst>
                  <a:gs pos="0">
                    <a:srgbClr val="FFFFFF"/>
                  </a:gs>
                  <a:gs pos="100000">
                    <a:srgbClr val="FFFFFF"/>
                  </a:gs>
                </a:gsLst>
                <a:lin ang="5400000" scaled="0"/>
              </a:gradFill>
            </a:endParaRPr>
          </a:p>
        </p:txBody>
      </p:sp>
      <p:grpSp>
        <p:nvGrpSpPr>
          <p:cNvPr id="6" name="Group 5"/>
          <p:cNvGrpSpPr/>
          <p:nvPr/>
        </p:nvGrpSpPr>
        <p:grpSpPr>
          <a:xfrm>
            <a:off x="1259356" y="968823"/>
            <a:ext cx="1696588" cy="3179847"/>
            <a:chOff x="1678704" y="1291764"/>
            <a:chExt cx="2261528" cy="4239796"/>
          </a:xfrm>
        </p:grpSpPr>
        <p:sp>
          <p:nvSpPr>
            <p:cNvPr id="14" name="Rectangle 13"/>
            <p:cNvSpPr/>
            <p:nvPr/>
          </p:nvSpPr>
          <p:spPr bwMode="auto">
            <a:xfrm>
              <a:off x="1762298" y="1704109"/>
              <a:ext cx="2111433" cy="3441469"/>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500" dirty="0">
                <a:gradFill>
                  <a:gsLst>
                    <a:gs pos="0">
                      <a:srgbClr val="FFFFFF"/>
                    </a:gs>
                    <a:gs pos="100000">
                      <a:srgbClr val="FFFFFF"/>
                    </a:gs>
                  </a:gsLst>
                  <a:lin ang="5400000" scaled="0"/>
                </a:gradFill>
              </a:endParaRPr>
            </a:p>
          </p:txBody>
        </p:sp>
        <p:pic>
          <p:nvPicPr>
            <p:cNvPr id="4" name="Picture 2"/>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1872509" y="1850360"/>
              <a:ext cx="1904644" cy="3174406"/>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3"/>
            <p:cNvPicPr>
              <a:picLocks noChangeAspect="1" noChangeArrowheads="1"/>
            </p:cNvPicPr>
            <p:nvPr/>
          </p:nvPicPr>
          <p:blipFill>
            <a:blip r:embed="rId7" cstate="print">
              <a:extLst>
                <a:ext uri="{28A0092B-C50C-407E-A947-70E740481C1C}">
                  <a14:useLocalDpi xmlns:a14="http://schemas.microsoft.com/office/drawing/2010/main" val="0"/>
                </a:ext>
              </a:extLst>
            </a:blip>
            <a:stretch>
              <a:fillRect/>
            </a:stretch>
          </p:blipFill>
          <p:spPr bwMode="auto">
            <a:xfrm>
              <a:off x="1748109" y="1353432"/>
              <a:ext cx="2141193" cy="4151376"/>
            </a:xfrm>
            <a:prstGeom prst="rect">
              <a:avLst/>
            </a:prstGeom>
            <a:noFill/>
            <a:extLst>
              <a:ext uri="{909E8E84-426E-40DD-AFC4-6F175D3DCCD1}">
                <a14:hiddenFill xmlns:a14="http://schemas.microsoft.com/office/drawing/2010/main">
                  <a:solidFill>
                    <a:srgbClr val="FFFFFF"/>
                  </a:solidFill>
                </a14:hiddenFill>
              </a:ext>
            </a:extLst>
          </p:spPr>
        </p:pic>
        <p:pic>
          <p:nvPicPr>
            <p:cNvPr id="12" name="Glare" descr="\\sfp\Resources\Microsoft\Archive\Exec_Tier_Archive\Brand_Specific\Windows Phone\WP 7.5 Phones\Generic 7.5 Phone\Generic_Phone_Glare.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678704" y="1291764"/>
              <a:ext cx="2261528" cy="4239796"/>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bwMode="auto">
            <a:xfrm>
              <a:off x="2618509" y="5098643"/>
              <a:ext cx="448887" cy="285063"/>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500" dirty="0">
                <a:gradFill>
                  <a:gsLst>
                    <a:gs pos="0">
                      <a:srgbClr val="FFFFFF"/>
                    </a:gs>
                    <a:gs pos="100000">
                      <a:srgbClr val="FFFFFF"/>
                    </a:gs>
                  </a:gsLst>
                  <a:lin ang="5400000" scaled="0"/>
                </a:gradFill>
              </a:endParaRPr>
            </a:p>
          </p:txBody>
        </p:sp>
        <p:pic>
          <p:nvPicPr>
            <p:cNvPr id="11" name="Picture 4" descr="C:\Users\chrisw\Desktop\WP_logo_061412\WP_logo_061412\WinPhone_tm_Wht_M_rgb.png"/>
            <p:cNvPicPr>
              <a:picLocks noChangeAspect="1" noChangeArrowheads="1"/>
            </p:cNvPicPr>
            <p:nvPr/>
          </p:nvPicPr>
          <p:blipFill rotWithShape="1">
            <a:blip r:embed="rId9">
              <a:extLst>
                <a:ext uri="{BEBA8EAE-BF5A-486C-A8C5-ECC9F3942E4B}">
                  <a14:imgProps xmlns:a14="http://schemas.microsoft.com/office/drawing/2010/main">
                    <a14:imgLayer r:embed="rId10">
                      <a14:imgEffect>
                        <a14:brightnessContrast bright="-20000"/>
                      </a14:imgEffect>
                    </a14:imgLayer>
                  </a14:imgProps>
                </a:ext>
                <a:ext uri="{28A0092B-C50C-407E-A947-70E740481C1C}">
                  <a14:useLocalDpi xmlns:a14="http://schemas.microsoft.com/office/drawing/2010/main" val="0"/>
                </a:ext>
              </a:extLst>
            </a:blip>
            <a:srcRect/>
            <a:stretch/>
          </p:blipFill>
          <p:spPr bwMode="auto">
            <a:xfrm>
              <a:off x="2725712" y="5123582"/>
              <a:ext cx="275184" cy="214678"/>
            </a:xfrm>
            <a:prstGeom prst="rect">
              <a:avLst/>
            </a:prstGeom>
            <a:noFill/>
            <a:extLst>
              <a:ext uri="{909E8E84-426E-40DD-AFC4-6F175D3DCCD1}">
                <a14:hiddenFill xmlns:a14="http://schemas.microsoft.com/office/drawing/2010/main">
                  <a:solidFill>
                    <a:srgbClr val="FFFFFF"/>
                  </a:solidFill>
                </a14:hiddenFill>
              </a:ext>
            </a:extLst>
          </p:spPr>
        </p:pic>
      </p:grpSp>
      <p:sp>
        <p:nvSpPr>
          <p:cNvPr id="16"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7"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1"/>
              </a:rPr>
              <a:t>www.rapidbbs.cn</a:t>
            </a:r>
            <a:endParaRPr lang="zh-CN" altLang="en-US" sz="1200" b="0">
              <a:latin typeface="Arial" charset="0"/>
              <a:ea typeface="ＭＳ Ｐゴシック" pitchFamily="34" charset="-128"/>
            </a:endParaRPr>
          </a:p>
        </p:txBody>
      </p:sp>
      <p:pic>
        <p:nvPicPr>
          <p:cNvPr id="18" name="Picture 2">
            <a:hlinkClick r:id="rId11"/>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021532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accel="5000" decel="95000" fill="hold" nodeType="withEffect">
                                  <p:stCondLst>
                                    <p:cond delay="1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1+#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accel="5000" decel="95000" fill="hold" nodeType="withEffect">
                                  <p:stCondLst>
                                    <p:cond delay="1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1000" fill="hold"/>
                                        <p:tgtEl>
                                          <p:spTgt spid="9"/>
                                        </p:tgtEl>
                                        <p:attrNameLst>
                                          <p:attrName>ppt_x</p:attrName>
                                        </p:attrNameLst>
                                      </p:cBhvr>
                                      <p:tavLst>
                                        <p:tav tm="0">
                                          <p:val>
                                            <p:strVal val="1+#ppt_w/2"/>
                                          </p:val>
                                        </p:tav>
                                        <p:tav tm="100000">
                                          <p:val>
                                            <p:strVal val="#ppt_x"/>
                                          </p:val>
                                        </p:tav>
                                      </p:tavLst>
                                    </p:anim>
                                    <p:anim calcmode="lin" valueType="num">
                                      <p:cBhvr additive="base">
                                        <p:cTn id="12" dur="1000" fill="hold"/>
                                        <p:tgtEl>
                                          <p:spTgt spid="9"/>
                                        </p:tgtEl>
                                        <p:attrNameLst>
                                          <p:attrName>ppt_y</p:attrName>
                                        </p:attrNameLst>
                                      </p:cBhvr>
                                      <p:tavLst>
                                        <p:tav tm="0">
                                          <p:val>
                                            <p:strVal val="#ppt_y"/>
                                          </p:val>
                                        </p:tav>
                                        <p:tav tm="100000">
                                          <p:val>
                                            <p:strVal val="#ppt_y"/>
                                          </p:val>
                                        </p:tav>
                                      </p:tavLst>
                                    </p:anim>
                                  </p:childTnLst>
                                </p:cTn>
                              </p:par>
                              <p:par>
                                <p:cTn id="13" presetID="2" presetClass="entr" presetSubtype="2" accel="10000" decel="90000" fill="hold" nodeType="withEffect">
                                  <p:stCondLst>
                                    <p:cond delay="1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1000" fill="hold"/>
                                        <p:tgtEl>
                                          <p:spTgt spid="10"/>
                                        </p:tgtEl>
                                        <p:attrNameLst>
                                          <p:attrName>ppt_x</p:attrName>
                                        </p:attrNameLst>
                                      </p:cBhvr>
                                      <p:tavLst>
                                        <p:tav tm="0">
                                          <p:val>
                                            <p:strVal val="1+#ppt_w/2"/>
                                          </p:val>
                                        </p:tav>
                                        <p:tav tm="100000">
                                          <p:val>
                                            <p:strVal val="#ppt_x"/>
                                          </p:val>
                                        </p:tav>
                                      </p:tavLst>
                                    </p:anim>
                                    <p:anim calcmode="lin" valueType="num">
                                      <p:cBhvr additive="base">
                                        <p:cTn id="16" dur="1000" fill="hold"/>
                                        <p:tgtEl>
                                          <p:spTgt spid="10"/>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10"/>
                                  </p:stCondLst>
                                  <p:childTnLst>
                                    <p:set>
                                      <p:cBhvr>
                                        <p:cTn id="18" dur="1" fill="hold">
                                          <p:stCondLst>
                                            <p:cond delay="0"/>
                                          </p:stCondLst>
                                        </p:cTn>
                                        <p:tgtEl>
                                          <p:spTgt spid="8"/>
                                        </p:tgtEl>
                                        <p:attrNameLst>
                                          <p:attrName>style.visibility</p:attrName>
                                        </p:attrNameLst>
                                      </p:cBhvr>
                                      <p:to>
                                        <p:strVal val="visible"/>
                                      </p:to>
                                    </p:set>
                                    <p:anim calcmode="lin" valueType="num">
                                      <p:cBhvr additive="base">
                                        <p:cTn id="19" dur="1000" fill="hold"/>
                                        <p:tgtEl>
                                          <p:spTgt spid="8"/>
                                        </p:tgtEl>
                                        <p:attrNameLst>
                                          <p:attrName>ppt_x</p:attrName>
                                        </p:attrNameLst>
                                      </p:cBhvr>
                                      <p:tavLst>
                                        <p:tav tm="0">
                                          <p:val>
                                            <p:strVal val="1+#ppt_w/2"/>
                                          </p:val>
                                        </p:tav>
                                        <p:tav tm="100000">
                                          <p:val>
                                            <p:strVal val="#ppt_x"/>
                                          </p:val>
                                        </p:tav>
                                      </p:tavLst>
                                    </p:anim>
                                    <p:anim calcmode="lin" valueType="num">
                                      <p:cBhvr additive="base">
                                        <p:cTn id="20" dur="1000" fill="hold"/>
                                        <p:tgtEl>
                                          <p:spTgt spid="8"/>
                                        </p:tgtEl>
                                        <p:attrNameLst>
                                          <p:attrName>ppt_y</p:attrName>
                                        </p:attrNameLst>
                                      </p:cBhvr>
                                      <p:tavLst>
                                        <p:tav tm="0">
                                          <p:val>
                                            <p:strVal val="#ppt_y"/>
                                          </p:val>
                                        </p:tav>
                                        <p:tav tm="100000">
                                          <p:val>
                                            <p:strVal val="#ppt_y"/>
                                          </p:val>
                                        </p:tav>
                                      </p:tavLst>
                                    </p:anim>
                                  </p:childTnLst>
                                </p:cTn>
                              </p:par>
                              <p:par>
                                <p:cTn id="21" presetID="2" presetClass="entr" presetSubtype="8" decel="100000" fill="hold" nodeType="withEffect">
                                  <p:stCondLst>
                                    <p:cond delay="10"/>
                                  </p:stCondLst>
                                  <p:childTnLst>
                                    <p:set>
                                      <p:cBhvr>
                                        <p:cTn id="22" dur="1" fill="hold">
                                          <p:stCondLst>
                                            <p:cond delay="0"/>
                                          </p:stCondLst>
                                        </p:cTn>
                                        <p:tgtEl>
                                          <p:spTgt spid="6"/>
                                        </p:tgtEl>
                                        <p:attrNameLst>
                                          <p:attrName>style.visibility</p:attrName>
                                        </p:attrNameLst>
                                      </p:cBhvr>
                                      <p:to>
                                        <p:strVal val="visible"/>
                                      </p:to>
                                    </p:set>
                                    <p:anim calcmode="lin" valueType="num">
                                      <p:cBhvr additive="base">
                                        <p:cTn id="23" dur="1000" fill="hold"/>
                                        <p:tgtEl>
                                          <p:spTgt spid="6"/>
                                        </p:tgtEl>
                                        <p:attrNameLst>
                                          <p:attrName>ppt_x</p:attrName>
                                        </p:attrNameLst>
                                      </p:cBhvr>
                                      <p:tavLst>
                                        <p:tav tm="0">
                                          <p:val>
                                            <p:strVal val="0-#ppt_w/2"/>
                                          </p:val>
                                        </p:tav>
                                        <p:tav tm="100000">
                                          <p:val>
                                            <p:strVal val="#ppt_x"/>
                                          </p:val>
                                        </p:tav>
                                      </p:tavLst>
                                    </p:anim>
                                    <p:anim calcmode="lin" valueType="num">
                                      <p:cBhvr additive="base">
                                        <p:cTn id="24" dur="1000" fill="hold"/>
                                        <p:tgtEl>
                                          <p:spTgt spid="6"/>
                                        </p:tgtEl>
                                        <p:attrNameLst>
                                          <p:attrName>ppt_y</p:attrName>
                                        </p:attrNameLst>
                                      </p:cBhvr>
                                      <p:tavLst>
                                        <p:tav tm="0">
                                          <p:val>
                                            <p:strVal val="#ppt_y"/>
                                          </p:val>
                                        </p:tav>
                                        <p:tav tm="100000">
                                          <p:val>
                                            <p:strVal val="#ppt_y"/>
                                          </p:val>
                                        </p:tav>
                                      </p:tavLst>
                                    </p:anim>
                                  </p:childTnLst>
                                </p:cTn>
                              </p:par>
                            </p:childTnLst>
                          </p:cTn>
                        </p:par>
                        <p:par>
                          <p:cTn id="25" fill="hold">
                            <p:stCondLst>
                              <p:cond delay="1010"/>
                            </p:stCondLst>
                            <p:childTnLst>
                              <p:par>
                                <p:cTn id="26" presetID="10" presetClass="entr" presetSubtype="0" fill="hold" grpId="0" nodeType="after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fade">
                                      <p:cBhvr>
                                        <p:cTn id="28" dur="500"/>
                                        <p:tgtEl>
                                          <p:spTgt spid="13"/>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5"/>
                                        </p:tgtEl>
                                        <p:attrNameLst>
                                          <p:attrName>style.visibility</p:attrName>
                                        </p:attrNameLst>
                                      </p:cBhvr>
                                      <p:to>
                                        <p:strVal val="visible"/>
                                      </p:to>
                                    </p:set>
                                    <p:animEffect transition="in" filter="fade">
                                      <p:cBhvr>
                                        <p:cTn id="31"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5" grpId="0" animBg="1"/>
    </p:bldLst>
  </p:timing>
</p:sld>
</file>

<file path=ppt/slides/slide4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Productivity right out of the box</a:t>
            </a:r>
            <a:endParaRPr lang="en-US" dirty="0"/>
          </a:p>
        </p:txBody>
      </p:sp>
      <p:sp>
        <p:nvSpPr>
          <p:cNvPr id="11" name="Pillar 1 box"/>
          <p:cNvSpPr/>
          <p:nvPr/>
        </p:nvSpPr>
        <p:spPr>
          <a:xfrm>
            <a:off x="1607223" y="1411021"/>
            <a:ext cx="1992416" cy="194767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en-US" dirty="0"/>
          </a:p>
        </p:txBody>
      </p:sp>
      <p:sp>
        <p:nvSpPr>
          <p:cNvPr id="16" name="Pillar 1 text"/>
          <p:cNvSpPr txBox="1"/>
          <p:nvPr/>
        </p:nvSpPr>
        <p:spPr>
          <a:xfrm>
            <a:off x="1619729" y="1420413"/>
            <a:ext cx="1978386" cy="1384970"/>
          </a:xfrm>
          <a:prstGeom prst="rect">
            <a:avLst/>
          </a:prstGeom>
          <a:noFill/>
        </p:spPr>
        <p:txBody>
          <a:bodyPr wrap="square" lIns="91428" tIns="45714" rIns="91428" bIns="45714" rtlCol="0">
            <a:spAutoFit/>
          </a:bodyPr>
          <a:lstStyle/>
          <a:p>
            <a:r>
              <a:rPr lang="en-US" sz="2100" dirty="0">
                <a:solidFill>
                  <a:schemeClr val="tx1">
                    <a:alpha val="99000"/>
                  </a:schemeClr>
                </a:solidFill>
              </a:rPr>
              <a:t>Outlook </a:t>
            </a:r>
            <a:br>
              <a:rPr lang="en-US" sz="2100" dirty="0">
                <a:solidFill>
                  <a:schemeClr val="tx1">
                    <a:alpha val="99000"/>
                  </a:schemeClr>
                </a:solidFill>
              </a:rPr>
            </a:br>
            <a:r>
              <a:rPr lang="en-US" sz="2100" dirty="0">
                <a:solidFill>
                  <a:schemeClr val="tx1">
                    <a:alpha val="99000"/>
                  </a:schemeClr>
                </a:solidFill>
              </a:rPr>
              <a:t>Mobile and </a:t>
            </a:r>
            <a:br>
              <a:rPr lang="en-US" sz="2100" dirty="0">
                <a:solidFill>
                  <a:schemeClr val="tx1">
                    <a:alpha val="99000"/>
                  </a:schemeClr>
                </a:solidFill>
              </a:rPr>
            </a:br>
            <a:r>
              <a:rPr lang="en-US" sz="2100" dirty="0">
                <a:solidFill>
                  <a:schemeClr val="tx1">
                    <a:alpha val="99000"/>
                  </a:schemeClr>
                </a:solidFill>
              </a:rPr>
              <a:t>Office Mobile </a:t>
            </a:r>
            <a:br>
              <a:rPr lang="en-US" sz="2100" dirty="0">
                <a:solidFill>
                  <a:schemeClr val="tx1">
                    <a:alpha val="99000"/>
                  </a:schemeClr>
                </a:solidFill>
              </a:rPr>
            </a:br>
            <a:r>
              <a:rPr lang="en-US" sz="2100" dirty="0">
                <a:solidFill>
                  <a:schemeClr val="tx1">
                    <a:alpha val="99000"/>
                  </a:schemeClr>
                </a:solidFill>
              </a:rPr>
              <a:t>built in</a:t>
            </a:r>
          </a:p>
        </p:txBody>
      </p:sp>
      <p:sp>
        <p:nvSpPr>
          <p:cNvPr id="21" name="Pillar 2 box"/>
          <p:cNvSpPr/>
          <p:nvPr/>
        </p:nvSpPr>
        <p:spPr>
          <a:xfrm>
            <a:off x="3680669" y="1411020"/>
            <a:ext cx="1965405" cy="194767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en-US" dirty="0"/>
          </a:p>
        </p:txBody>
      </p:sp>
      <p:sp>
        <p:nvSpPr>
          <p:cNvPr id="22" name="Pillar 2 text"/>
          <p:cNvSpPr txBox="1"/>
          <p:nvPr/>
        </p:nvSpPr>
        <p:spPr>
          <a:xfrm>
            <a:off x="3680669" y="1420412"/>
            <a:ext cx="1965405" cy="1061829"/>
          </a:xfrm>
          <a:prstGeom prst="rect">
            <a:avLst/>
          </a:prstGeom>
          <a:noFill/>
        </p:spPr>
        <p:txBody>
          <a:bodyPr wrap="square" lIns="91428" tIns="45714" rIns="91428" bIns="45714" rtlCol="0">
            <a:spAutoFit/>
          </a:bodyPr>
          <a:lstStyle/>
          <a:p>
            <a:r>
              <a:rPr lang="en-US" sz="2100" dirty="0">
                <a:solidFill>
                  <a:schemeClr val="tx1">
                    <a:alpha val="99000"/>
                  </a:schemeClr>
                </a:solidFill>
              </a:rPr>
              <a:t>Integrates</a:t>
            </a:r>
            <a:br>
              <a:rPr lang="en-US" sz="2100" dirty="0">
                <a:solidFill>
                  <a:schemeClr val="tx1">
                    <a:alpha val="99000"/>
                  </a:schemeClr>
                </a:solidFill>
              </a:rPr>
            </a:br>
            <a:r>
              <a:rPr lang="en-US" sz="2100" dirty="0">
                <a:solidFill>
                  <a:schemeClr val="tx1">
                    <a:alpha val="99000"/>
                  </a:schemeClr>
                </a:solidFill>
              </a:rPr>
              <a:t>with your</a:t>
            </a:r>
            <a:br>
              <a:rPr lang="en-US" sz="2100" dirty="0">
                <a:solidFill>
                  <a:schemeClr val="tx1">
                    <a:alpha val="99000"/>
                  </a:schemeClr>
                </a:solidFill>
              </a:rPr>
            </a:br>
            <a:r>
              <a:rPr lang="en-US" sz="2100" dirty="0">
                <a:solidFill>
                  <a:schemeClr val="tx1">
                    <a:alpha val="99000"/>
                  </a:schemeClr>
                </a:solidFill>
              </a:rPr>
              <a:t>infrastructure</a:t>
            </a:r>
          </a:p>
        </p:txBody>
      </p:sp>
      <p:pic>
        <p:nvPicPr>
          <p:cNvPr id="1026" name="GIF" descr="\\192.168.1.51\Shared\ADI_Projects\Microsoft\MS_11-01278_Windows_Phone_Business_Narrative\ADI_Art\Working_Art\Slide_from_Justin\logobar_2X.gif"/>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1600896" y="3425750"/>
            <a:ext cx="4051507" cy="774192"/>
          </a:xfrm>
          <a:prstGeom prst="rect">
            <a:avLst/>
          </a:prstGeom>
          <a:noFill/>
          <a:extLst>
            <a:ext uri="{909E8E84-426E-40DD-AFC4-6F175D3DCCD1}">
              <a14:hiddenFill xmlns:a14="http://schemas.microsoft.com/office/drawing/2010/main">
                <a:solidFill>
                  <a:srgbClr val="FFFFFF"/>
                </a:solidFill>
              </a14:hiddenFill>
            </a:ext>
          </a:extLst>
        </p:spPr>
      </p:pic>
      <p:sp>
        <p:nvSpPr>
          <p:cNvPr id="7" name="Apps box"/>
          <p:cNvSpPr/>
          <p:nvPr/>
        </p:nvSpPr>
        <p:spPr>
          <a:xfrm>
            <a:off x="1600896" y="3425751"/>
            <a:ext cx="4051507" cy="774002"/>
          </a:xfrm>
          <a:prstGeom prst="rect">
            <a:avLst/>
          </a:prstGeom>
          <a:solidFill>
            <a:srgbClr val="DEDEDE"/>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en-US" dirty="0"/>
          </a:p>
        </p:txBody>
      </p:sp>
      <p:grpSp>
        <p:nvGrpSpPr>
          <p:cNvPr id="8" name="Group 7"/>
          <p:cNvGrpSpPr/>
          <p:nvPr/>
        </p:nvGrpSpPr>
        <p:grpSpPr>
          <a:xfrm>
            <a:off x="1708936" y="3425751"/>
            <a:ext cx="3943466" cy="774002"/>
            <a:chOff x="1708935" y="3425750"/>
            <a:chExt cx="3943466" cy="774002"/>
          </a:xfrm>
        </p:grpSpPr>
        <p:sp>
          <p:nvSpPr>
            <p:cNvPr id="107" name="Apps box"/>
            <p:cNvSpPr/>
            <p:nvPr/>
          </p:nvSpPr>
          <p:spPr>
            <a:xfrm>
              <a:off x="1708935" y="3425750"/>
              <a:ext cx="3943466" cy="774002"/>
            </a:xfrm>
            <a:prstGeom prst="rect">
              <a:avLst/>
            </a:prstGeom>
            <a:solidFill>
              <a:srgbClr val="DEDEDE"/>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6" rIns="91432" bIns="45716" rtlCol="0" anchor="ctr"/>
            <a:lstStyle/>
            <a:p>
              <a:pPr algn="ctr"/>
              <a:endParaRPr lang="en-US" dirty="0"/>
            </a:p>
          </p:txBody>
        </p:sp>
        <p:pic>
          <p:nvPicPr>
            <p:cNvPr id="108" name="Picture 2" descr="S:\ADI_Projects\Microsoft\MS_11-01278_Windows_Phone_Business_Narrative\ADI_Art\Working_Art\Logos\Exchange-modded-logo.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681985" y="3493813"/>
              <a:ext cx="917653" cy="259185"/>
            </a:xfrm>
            <a:prstGeom prst="rect">
              <a:avLst/>
            </a:prstGeom>
            <a:noFill/>
            <a:extLst>
              <a:ext uri="{909E8E84-426E-40DD-AFC4-6F175D3DCCD1}">
                <a14:hiddenFill xmlns:a14="http://schemas.microsoft.com/office/drawing/2010/main">
                  <a:solidFill>
                    <a:srgbClr val="FFFFFF"/>
                  </a:solidFill>
                </a14:hiddenFill>
              </a:ext>
            </a:extLst>
          </p:spPr>
        </p:pic>
        <p:pic>
          <p:nvPicPr>
            <p:cNvPr id="109" name="Picture 3" descr="S:\ADI_Projects\Microsoft\MS_11-01278_Windows_Phone_Business_Narrative\ADI_Art\Working_Art\Logos\ShrPt_h_rgb.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17979" y="3862286"/>
              <a:ext cx="1045355" cy="264985"/>
            </a:xfrm>
            <a:prstGeom prst="rect">
              <a:avLst/>
            </a:prstGeom>
            <a:noFill/>
            <a:extLst>
              <a:ext uri="{909E8E84-426E-40DD-AFC4-6F175D3DCCD1}">
                <a14:hiddenFill xmlns:a14="http://schemas.microsoft.com/office/drawing/2010/main">
                  <a:solidFill>
                    <a:srgbClr val="FFFFFF"/>
                  </a:solidFill>
                </a14:hiddenFill>
              </a:ext>
            </a:extLst>
          </p:spPr>
        </p:pic>
        <p:pic>
          <p:nvPicPr>
            <p:cNvPr id="110" name="Picture 4" descr="S:\ADI_Projects\Microsoft\MS_11-01278_Windows_Phone_Business_Narrative\ADI_Art\Working_Art\Logos\Lync-grid_h_rgb.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249136" y="3851000"/>
              <a:ext cx="646092" cy="292964"/>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5" descr="S:\ADI_Projects\Microsoft\MS_11-01278_Windows_Phone_Business_Narrative\ADI_Art\Working_Art\Logos\ofc365_h_rgb.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772114" y="3440990"/>
              <a:ext cx="1034627" cy="332288"/>
            </a:xfrm>
            <a:prstGeom prst="rect">
              <a:avLst/>
            </a:prstGeom>
            <a:noFill/>
            <a:extLst>
              <a:ext uri="{909E8E84-426E-40DD-AFC4-6F175D3DCCD1}">
                <a14:hiddenFill xmlns:a14="http://schemas.microsoft.com/office/drawing/2010/main">
                  <a:solidFill>
                    <a:srgbClr val="FFFFFF"/>
                  </a:solidFill>
                </a14:hiddenFill>
              </a:ext>
            </a:extLst>
          </p:spPr>
        </p:pic>
        <p:pic>
          <p:nvPicPr>
            <p:cNvPr id="112" name="Picture 6" descr="S:\ADI_Projects\Microsoft\MS_11-01278_Windows_Phone_Business_Narrative\ADI_Art\Working_Art\Logos\Outlook-modded-logo.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268847" y="3823100"/>
              <a:ext cx="979032" cy="337420"/>
            </a:xfrm>
            <a:prstGeom prst="rect">
              <a:avLst/>
            </a:prstGeom>
            <a:noFill/>
            <a:extLst>
              <a:ext uri="{909E8E84-426E-40DD-AFC4-6F175D3DCCD1}">
                <a14:hiddenFill xmlns:a14="http://schemas.microsoft.com/office/drawing/2010/main">
                  <a:solidFill>
                    <a:srgbClr val="FFFFFF"/>
                  </a:solidFill>
                </a14:hiddenFill>
              </a:ext>
            </a:extLst>
          </p:spPr>
        </p:pic>
        <p:pic>
          <p:nvPicPr>
            <p:cNvPr id="113" name="Picture 5" descr="S:\ADI_Projects\Microsoft\MS_11-01278_Windows_Phone_Business_Narrative\ADI_Art\Working_Art\Logos\ofc365_h_rgb.png"/>
            <p:cNvPicPr>
              <a:picLocks noChangeAspect="1" noChangeArrowheads="1"/>
            </p:cNvPicPr>
            <p:nvPr/>
          </p:nvPicPr>
          <p:blipFill rotWithShape="1">
            <a:blip r:embed="rId9">
              <a:extLst>
                <a:ext uri="{28A0092B-C50C-407E-A947-70E740481C1C}">
                  <a14:useLocalDpi xmlns:a14="http://schemas.microsoft.com/office/drawing/2010/main" val="0"/>
                </a:ext>
              </a:extLst>
            </a:blip>
            <a:srcRect/>
            <a:stretch/>
          </p:blipFill>
          <p:spPr bwMode="auto">
            <a:xfrm>
              <a:off x="1762956" y="3464170"/>
              <a:ext cx="703316" cy="307185"/>
            </a:xfrm>
            <a:prstGeom prst="rect">
              <a:avLst/>
            </a:prstGeom>
            <a:noFill/>
            <a:extLst>
              <a:ext uri="{909E8E84-426E-40DD-AFC4-6F175D3DCCD1}">
                <a14:hiddenFill xmlns:a14="http://schemas.microsoft.com/office/drawing/2010/main">
                  <a:solidFill>
                    <a:srgbClr val="FFFFFF"/>
                  </a:solidFill>
                </a14:hiddenFill>
              </a:ext>
            </a:extLst>
          </p:spPr>
        </p:pic>
      </p:grpSp>
      <p:pic>
        <p:nvPicPr>
          <p:cNvPr id="23" name="Picture 2" descr="C:\Users\v-sarade\Desktop\1012_8_RTM_Start_LyncCalendar_phone_093011.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279953" y="863336"/>
            <a:ext cx="2072259" cy="3885057"/>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9"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1"/>
              </a:rPr>
              <a:t>www.rapidbbs.cn</a:t>
            </a:r>
            <a:endParaRPr lang="zh-CN" altLang="en-US" sz="1200" b="0">
              <a:latin typeface="Arial" charset="0"/>
              <a:ea typeface="ＭＳ Ｐゴシック" pitchFamily="34" charset="-128"/>
            </a:endParaRPr>
          </a:p>
        </p:txBody>
      </p:sp>
      <p:pic>
        <p:nvPicPr>
          <p:cNvPr id="20" name="Picture 2">
            <a:hlinkClick r:id="rId11"/>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568213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750" fill="hold"/>
                                        <p:tgtEl>
                                          <p:spTgt spid="11"/>
                                        </p:tgtEl>
                                        <p:attrNameLst>
                                          <p:attrName>ppt_x</p:attrName>
                                        </p:attrNameLst>
                                      </p:cBhvr>
                                      <p:tavLst>
                                        <p:tav tm="0">
                                          <p:val>
                                            <p:strVal val="1+#ppt_w/2"/>
                                          </p:val>
                                        </p:tav>
                                        <p:tav tm="100000">
                                          <p:val>
                                            <p:strVal val="#ppt_x"/>
                                          </p:val>
                                        </p:tav>
                                      </p:tavLst>
                                    </p:anim>
                                    <p:anim calcmode="lin" valueType="num">
                                      <p:cBhvr additive="base">
                                        <p:cTn id="8" dur="750" fill="hold"/>
                                        <p:tgtEl>
                                          <p:spTgt spid="11"/>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6"/>
                                        </p:tgtEl>
                                        <p:attrNameLst>
                                          <p:attrName>style.visibility</p:attrName>
                                        </p:attrNameLst>
                                      </p:cBhvr>
                                      <p:to>
                                        <p:strVal val="visible"/>
                                      </p:to>
                                    </p:set>
                                    <p:anim calcmode="lin" valueType="num">
                                      <p:cBhvr additive="base">
                                        <p:cTn id="11" dur="750" fill="hold"/>
                                        <p:tgtEl>
                                          <p:spTgt spid="16"/>
                                        </p:tgtEl>
                                        <p:attrNameLst>
                                          <p:attrName>ppt_x</p:attrName>
                                        </p:attrNameLst>
                                      </p:cBhvr>
                                      <p:tavLst>
                                        <p:tav tm="0">
                                          <p:val>
                                            <p:strVal val="1+#ppt_w/2"/>
                                          </p:val>
                                        </p:tav>
                                        <p:tav tm="100000">
                                          <p:val>
                                            <p:strVal val="#ppt_x"/>
                                          </p:val>
                                        </p:tav>
                                      </p:tavLst>
                                    </p:anim>
                                    <p:anim calcmode="lin" valueType="num">
                                      <p:cBhvr additive="base">
                                        <p:cTn id="12" dur="750" fill="hold"/>
                                        <p:tgtEl>
                                          <p:spTgt spid="16"/>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250"/>
                                  </p:stCondLst>
                                  <p:childTnLst>
                                    <p:set>
                                      <p:cBhvr>
                                        <p:cTn id="14" dur="1" fill="hold">
                                          <p:stCondLst>
                                            <p:cond delay="0"/>
                                          </p:stCondLst>
                                        </p:cTn>
                                        <p:tgtEl>
                                          <p:spTgt spid="21"/>
                                        </p:tgtEl>
                                        <p:attrNameLst>
                                          <p:attrName>style.visibility</p:attrName>
                                        </p:attrNameLst>
                                      </p:cBhvr>
                                      <p:to>
                                        <p:strVal val="visible"/>
                                      </p:to>
                                    </p:set>
                                    <p:anim calcmode="lin" valueType="num">
                                      <p:cBhvr additive="base">
                                        <p:cTn id="15" dur="750" fill="hold"/>
                                        <p:tgtEl>
                                          <p:spTgt spid="21"/>
                                        </p:tgtEl>
                                        <p:attrNameLst>
                                          <p:attrName>ppt_x</p:attrName>
                                        </p:attrNameLst>
                                      </p:cBhvr>
                                      <p:tavLst>
                                        <p:tav tm="0">
                                          <p:val>
                                            <p:strVal val="1+#ppt_w/2"/>
                                          </p:val>
                                        </p:tav>
                                        <p:tav tm="100000">
                                          <p:val>
                                            <p:strVal val="#ppt_x"/>
                                          </p:val>
                                        </p:tav>
                                      </p:tavLst>
                                    </p:anim>
                                    <p:anim calcmode="lin" valueType="num">
                                      <p:cBhvr additive="base">
                                        <p:cTn id="16" dur="750" fill="hold"/>
                                        <p:tgtEl>
                                          <p:spTgt spid="21"/>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500"/>
                                  </p:stCondLst>
                                  <p:childTnLst>
                                    <p:set>
                                      <p:cBhvr>
                                        <p:cTn id="18" dur="1" fill="hold">
                                          <p:stCondLst>
                                            <p:cond delay="0"/>
                                          </p:stCondLst>
                                        </p:cTn>
                                        <p:tgtEl>
                                          <p:spTgt spid="22"/>
                                        </p:tgtEl>
                                        <p:attrNameLst>
                                          <p:attrName>style.visibility</p:attrName>
                                        </p:attrNameLst>
                                      </p:cBhvr>
                                      <p:to>
                                        <p:strVal val="visible"/>
                                      </p:to>
                                    </p:set>
                                    <p:anim calcmode="lin" valueType="num">
                                      <p:cBhvr additive="base">
                                        <p:cTn id="19" dur="750" fill="hold"/>
                                        <p:tgtEl>
                                          <p:spTgt spid="22"/>
                                        </p:tgtEl>
                                        <p:attrNameLst>
                                          <p:attrName>ppt_x</p:attrName>
                                        </p:attrNameLst>
                                      </p:cBhvr>
                                      <p:tavLst>
                                        <p:tav tm="0">
                                          <p:val>
                                            <p:strVal val="1+#ppt_w/2"/>
                                          </p:val>
                                        </p:tav>
                                        <p:tav tm="100000">
                                          <p:val>
                                            <p:strVal val="#ppt_x"/>
                                          </p:val>
                                        </p:tav>
                                      </p:tavLst>
                                    </p:anim>
                                    <p:anim calcmode="lin" valueType="num">
                                      <p:cBhvr additive="base">
                                        <p:cTn id="20" dur="750" fill="hold"/>
                                        <p:tgtEl>
                                          <p:spTgt spid="22"/>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1000"/>
                                  </p:stCondLst>
                                  <p:childTnLst>
                                    <p:set>
                                      <p:cBhvr>
                                        <p:cTn id="22" dur="1" fill="hold">
                                          <p:stCondLst>
                                            <p:cond delay="0"/>
                                          </p:stCondLst>
                                        </p:cTn>
                                        <p:tgtEl>
                                          <p:spTgt spid="7"/>
                                        </p:tgtEl>
                                        <p:attrNameLst>
                                          <p:attrName>style.visibility</p:attrName>
                                        </p:attrNameLst>
                                      </p:cBhvr>
                                      <p:to>
                                        <p:strVal val="visible"/>
                                      </p:to>
                                    </p:set>
                                    <p:anim calcmode="lin" valueType="num">
                                      <p:cBhvr additive="base">
                                        <p:cTn id="23" dur="750" fill="hold"/>
                                        <p:tgtEl>
                                          <p:spTgt spid="7"/>
                                        </p:tgtEl>
                                        <p:attrNameLst>
                                          <p:attrName>ppt_x</p:attrName>
                                        </p:attrNameLst>
                                      </p:cBhvr>
                                      <p:tavLst>
                                        <p:tav tm="0">
                                          <p:val>
                                            <p:strVal val="1+#ppt_w/2"/>
                                          </p:val>
                                        </p:tav>
                                        <p:tav tm="100000">
                                          <p:val>
                                            <p:strVal val="#ppt_x"/>
                                          </p:val>
                                        </p:tav>
                                      </p:tavLst>
                                    </p:anim>
                                    <p:anim calcmode="lin" valueType="num">
                                      <p:cBhvr additive="base">
                                        <p:cTn id="24" dur="750" fill="hold"/>
                                        <p:tgtEl>
                                          <p:spTgt spid="7"/>
                                        </p:tgtEl>
                                        <p:attrNameLst>
                                          <p:attrName>ppt_y</p:attrName>
                                        </p:attrNameLst>
                                      </p:cBhvr>
                                      <p:tavLst>
                                        <p:tav tm="0">
                                          <p:val>
                                            <p:strVal val="#ppt_y"/>
                                          </p:val>
                                        </p:tav>
                                        <p:tav tm="100000">
                                          <p:val>
                                            <p:strVal val="#ppt_y"/>
                                          </p:val>
                                        </p:tav>
                                      </p:tavLst>
                                    </p:anim>
                                  </p:childTnLst>
                                </p:cTn>
                              </p:par>
                              <p:par>
                                <p:cTn id="25" presetID="2" presetClass="entr" presetSubtype="2" decel="100000" fill="hold" nodeType="withEffect">
                                  <p:stCondLst>
                                    <p:cond delay="1000"/>
                                  </p:stCondLst>
                                  <p:childTnLst>
                                    <p:set>
                                      <p:cBhvr>
                                        <p:cTn id="26" dur="1" fill="hold">
                                          <p:stCondLst>
                                            <p:cond delay="0"/>
                                          </p:stCondLst>
                                        </p:cTn>
                                        <p:tgtEl>
                                          <p:spTgt spid="1026"/>
                                        </p:tgtEl>
                                        <p:attrNameLst>
                                          <p:attrName>style.visibility</p:attrName>
                                        </p:attrNameLst>
                                      </p:cBhvr>
                                      <p:to>
                                        <p:strVal val="visible"/>
                                      </p:to>
                                    </p:set>
                                    <p:anim calcmode="lin" valueType="num">
                                      <p:cBhvr additive="base">
                                        <p:cTn id="27" dur="750" fill="hold"/>
                                        <p:tgtEl>
                                          <p:spTgt spid="1026"/>
                                        </p:tgtEl>
                                        <p:attrNameLst>
                                          <p:attrName>ppt_x</p:attrName>
                                        </p:attrNameLst>
                                      </p:cBhvr>
                                      <p:tavLst>
                                        <p:tav tm="0">
                                          <p:val>
                                            <p:strVal val="1+#ppt_w/2"/>
                                          </p:val>
                                        </p:tav>
                                        <p:tav tm="100000">
                                          <p:val>
                                            <p:strVal val="#ppt_x"/>
                                          </p:val>
                                        </p:tav>
                                      </p:tavLst>
                                    </p:anim>
                                    <p:anim calcmode="lin" valueType="num">
                                      <p:cBhvr additive="base">
                                        <p:cTn id="28" dur="750" fill="hold"/>
                                        <p:tgtEl>
                                          <p:spTgt spid="1026"/>
                                        </p:tgtEl>
                                        <p:attrNameLst>
                                          <p:attrName>ppt_y</p:attrName>
                                        </p:attrNameLst>
                                      </p:cBhvr>
                                      <p:tavLst>
                                        <p:tav tm="0">
                                          <p:val>
                                            <p:strVal val="#ppt_y"/>
                                          </p:val>
                                        </p:tav>
                                        <p:tav tm="100000">
                                          <p:val>
                                            <p:strVal val="#ppt_y"/>
                                          </p:val>
                                        </p:tav>
                                      </p:tavLst>
                                    </p:anim>
                                  </p:childTnLst>
                                </p:cTn>
                              </p:par>
                              <p:par>
                                <p:cTn id="29" presetID="10" presetClass="exit" presetSubtype="0" fill="hold" grpId="1" nodeType="withEffect">
                                  <p:stCondLst>
                                    <p:cond delay="1750"/>
                                  </p:stCondLst>
                                  <p:childTnLst>
                                    <p:animEffect transition="out" filter="fade">
                                      <p:cBhvr>
                                        <p:cTn id="30" dur="750"/>
                                        <p:tgtEl>
                                          <p:spTgt spid="7"/>
                                        </p:tgtEl>
                                      </p:cBhvr>
                                    </p:animEffect>
                                    <p:set>
                                      <p:cBhvr>
                                        <p:cTn id="31" dur="1" fill="hold">
                                          <p:stCondLst>
                                            <p:cond delay="749"/>
                                          </p:stCondLst>
                                        </p:cTn>
                                        <p:tgtEl>
                                          <p:spTgt spid="7"/>
                                        </p:tgtEl>
                                        <p:attrNameLst>
                                          <p:attrName>style.visibility</p:attrName>
                                        </p:attrNameLst>
                                      </p:cBhvr>
                                      <p:to>
                                        <p:strVal val="hidden"/>
                                      </p:to>
                                    </p:se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8"/>
                                        </p:tgtEl>
                                        <p:attrNameLst>
                                          <p:attrName>style.visibility</p:attrName>
                                        </p:attrNameLst>
                                      </p:cBhvr>
                                      <p:to>
                                        <p:strVal val="visible"/>
                                      </p:to>
                                    </p:set>
                                    <p:animEffect transition="in" filter="fade">
                                      <p:cBhvr>
                                        <p:cTn id="36"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6" grpId="0"/>
      <p:bldP spid="21" grpId="0" animBg="1"/>
      <p:bldP spid="22" grpId="0"/>
      <p:bldP spid="7" grpId="0" animBg="1"/>
      <p:bldP spid="7" grpId="1" animBg="1"/>
    </p:bldLst>
  </p:timing>
</p:sld>
</file>

<file path=ppt/slides/slide4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914096"/>
          </a:xfrm>
        </p:spPr>
        <p:txBody>
          <a:bodyPr/>
          <a:lstStyle/>
          <a:p>
            <a:r>
              <a:rPr lang="en-US" dirty="0" smtClean="0"/>
              <a:t>Windows</a:t>
            </a:r>
            <a:r>
              <a:rPr lang="en-US" sz="3000" baseline="30000" dirty="0"/>
              <a:t>®</a:t>
            </a:r>
            <a:r>
              <a:rPr lang="en-US" dirty="0" smtClean="0"/>
              <a:t> Phone within the </a:t>
            </a:r>
            <a:br>
              <a:rPr lang="en-US" dirty="0" smtClean="0"/>
            </a:br>
            <a:r>
              <a:rPr lang="en-US" dirty="0" smtClean="0"/>
              <a:t>Microsoft Ecosystem</a:t>
            </a:r>
            <a:endParaRPr lang="en-US" dirty="0"/>
          </a:p>
        </p:txBody>
      </p:sp>
      <p:sp>
        <p:nvSpPr>
          <p:cNvPr id="69" name="Rectangle 68"/>
          <p:cNvSpPr/>
          <p:nvPr/>
        </p:nvSpPr>
        <p:spPr>
          <a:xfrm>
            <a:off x="2289220" y="2990901"/>
            <a:ext cx="6226244" cy="850392"/>
          </a:xfrm>
          <a:prstGeom prst="rect">
            <a:avLst/>
          </a:prstGeom>
          <a:solidFill>
            <a:srgbClr val="FFB70F"/>
          </a:solidFill>
          <a:ln w="9525" cap="flat" cmpd="sng" algn="ctr">
            <a:noFill/>
            <a:prstDash val="solid"/>
          </a:ln>
          <a:effectLst/>
        </p:spPr>
        <p:txBody>
          <a:bodyPr lIns="68589" tIns="34295" rIns="68589" bIns="34295" rtlCol="0" anchor="ctr"/>
          <a:lstStyle/>
          <a:p>
            <a:pPr algn="ctr" defTabSz="685891">
              <a:defRPr/>
            </a:pPr>
            <a:endParaRPr lang="en-US" sz="1200" kern="0" dirty="0">
              <a:solidFill>
                <a:srgbClr val="FFFFFF"/>
              </a:solidFill>
              <a:latin typeface="Arial" pitchFamily="34" charset="0"/>
              <a:ea typeface="Segoe UI" pitchFamily="34" charset="0"/>
              <a:cs typeface="Arial" pitchFamily="34" charset="0"/>
            </a:endParaRPr>
          </a:p>
        </p:txBody>
      </p:sp>
      <p:sp>
        <p:nvSpPr>
          <p:cNvPr id="70" name="Rectangle 69"/>
          <p:cNvSpPr/>
          <p:nvPr/>
        </p:nvSpPr>
        <p:spPr>
          <a:xfrm>
            <a:off x="2289221" y="2055398"/>
            <a:ext cx="6226243" cy="853438"/>
          </a:xfrm>
          <a:prstGeom prst="rect">
            <a:avLst/>
          </a:prstGeom>
          <a:solidFill>
            <a:srgbClr val="4891DC"/>
          </a:solidFill>
          <a:ln w="9525" cap="flat" cmpd="sng" algn="ctr">
            <a:noFill/>
            <a:prstDash val="solid"/>
          </a:ln>
          <a:effectLst/>
        </p:spPr>
        <p:txBody>
          <a:bodyPr lIns="68589" tIns="34295" rIns="68589" bIns="34295" rtlCol="0" anchor="ctr"/>
          <a:lstStyle/>
          <a:p>
            <a:pPr algn="ctr" defTabSz="685891">
              <a:defRPr/>
            </a:pPr>
            <a:endParaRPr lang="en-US" sz="1200" kern="0" dirty="0">
              <a:solidFill>
                <a:srgbClr val="FFFFFF"/>
              </a:solidFill>
              <a:latin typeface="Arial" pitchFamily="34" charset="0"/>
              <a:ea typeface="Segoe UI" pitchFamily="34" charset="0"/>
              <a:cs typeface="Arial" pitchFamily="34" charset="0"/>
            </a:endParaRPr>
          </a:p>
        </p:txBody>
      </p:sp>
      <p:sp>
        <p:nvSpPr>
          <p:cNvPr id="76" name="Rectangle 75"/>
          <p:cNvSpPr/>
          <p:nvPr/>
        </p:nvSpPr>
        <p:spPr bwMode="auto">
          <a:xfrm>
            <a:off x="3498147" y="3034648"/>
            <a:ext cx="4962208" cy="755589"/>
          </a:xfrm>
          <a:prstGeom prst="rect">
            <a:avLst/>
          </a:prstGeom>
          <a:solidFill>
            <a:srgbClr val="FFFFFF">
              <a:lumMod val="95000"/>
            </a:srgbClr>
          </a:solidFill>
          <a:ln w="25400"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defRPr/>
            </a:pPr>
            <a:endParaRPr lang="en-US" sz="1700" kern="0" spc="-113" dirty="0">
              <a:gradFill>
                <a:gsLst>
                  <a:gs pos="0">
                    <a:srgbClr val="FFFFFF"/>
                  </a:gs>
                  <a:gs pos="100000">
                    <a:srgbClr val="FFFFFF"/>
                  </a:gs>
                </a:gsLst>
                <a:lin ang="5400000" scaled="0"/>
              </a:gradFill>
              <a:latin typeface="Arial" pitchFamily="34" charset="0"/>
            </a:endParaRPr>
          </a:p>
        </p:txBody>
      </p:sp>
      <p:pic>
        <p:nvPicPr>
          <p:cNvPr id="79" name="Picture 7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28726" y="3416097"/>
            <a:ext cx="1076244" cy="308610"/>
          </a:xfrm>
          <a:prstGeom prst="rect">
            <a:avLst/>
          </a:prstGeom>
        </p:spPr>
      </p:pic>
      <p:sp>
        <p:nvSpPr>
          <p:cNvPr id="82" name="Rectangle 81"/>
          <p:cNvSpPr/>
          <p:nvPr/>
        </p:nvSpPr>
        <p:spPr bwMode="auto">
          <a:xfrm>
            <a:off x="3498147" y="2104710"/>
            <a:ext cx="4962208" cy="753859"/>
          </a:xfrm>
          <a:prstGeom prst="rect">
            <a:avLst/>
          </a:prstGeom>
          <a:solidFill>
            <a:srgbClr val="FFFFFF">
              <a:lumMod val="95000"/>
            </a:srgbClr>
          </a:solidFill>
          <a:ln w="25400"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defRPr/>
            </a:pPr>
            <a:endParaRPr lang="en-US" sz="1700" kern="0" spc="-113" dirty="0">
              <a:gradFill>
                <a:gsLst>
                  <a:gs pos="0">
                    <a:srgbClr val="FFFFFF"/>
                  </a:gs>
                  <a:gs pos="100000">
                    <a:srgbClr val="FFFFFF"/>
                  </a:gs>
                </a:gsLst>
                <a:lin ang="5400000" scaled="0"/>
              </a:gradFill>
              <a:latin typeface="Arial" pitchFamily="34" charset="0"/>
            </a:endParaRPr>
          </a:p>
        </p:txBody>
      </p:sp>
      <p:pic>
        <p:nvPicPr>
          <p:cNvPr id="83" name="Picture 3" descr="\\SFP\Users\Staff\kayleem\My Documents\My Pictures\DVD_ART36\Logos\Xbox Live\XBox Live (brand)\Xbox Live logo horiz.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631792" y="2604748"/>
            <a:ext cx="1052087" cy="136245"/>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4" descr="F:\7-20642_CloudServices\Art\Logos\PNGs\ofc-brand_h_rgb.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598648" y="2202116"/>
            <a:ext cx="851080" cy="291303"/>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8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549043" y="2179893"/>
            <a:ext cx="1375970" cy="363644"/>
          </a:xfrm>
          <a:prstGeom prst="rect">
            <a:avLst/>
          </a:prstGeom>
        </p:spPr>
      </p:pic>
      <p:pic>
        <p:nvPicPr>
          <p:cNvPr id="86" name="Picture 8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017609" y="2591905"/>
            <a:ext cx="1351244" cy="179744"/>
          </a:xfrm>
          <a:prstGeom prst="rect">
            <a:avLst/>
          </a:prstGeom>
        </p:spPr>
      </p:pic>
      <p:pic>
        <p:nvPicPr>
          <p:cNvPr id="87" name="Picture 8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96796" y="2257218"/>
            <a:ext cx="781700" cy="257248"/>
          </a:xfrm>
          <a:prstGeom prst="rect">
            <a:avLst/>
          </a:prstGeom>
        </p:spPr>
      </p:pic>
      <p:pic>
        <p:nvPicPr>
          <p:cNvPr id="88" name="Picture 8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697833" y="2590899"/>
            <a:ext cx="596814" cy="210586"/>
          </a:xfrm>
          <a:prstGeom prst="rect">
            <a:avLst/>
          </a:prstGeom>
        </p:spPr>
      </p:pic>
      <p:pic>
        <p:nvPicPr>
          <p:cNvPr id="89" name="Picture 2" descr="C:\Users\tbailey\AppData\Local\Microsoft\Windows\Temporary Internet Files\Content.Outlook\QB9DPTZ1\MR_L_F_Scr.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458637" y="2466344"/>
            <a:ext cx="837588" cy="392225"/>
          </a:xfrm>
          <a:prstGeom prst="rect">
            <a:avLst/>
          </a:prstGeom>
          <a:noFill/>
          <a:extLst>
            <a:ext uri="{909E8E84-426E-40DD-AFC4-6F175D3DCCD1}">
              <a14:hiddenFill xmlns:a14="http://schemas.microsoft.com/office/drawing/2010/main">
                <a:solidFill>
                  <a:srgbClr val="FFFFFF"/>
                </a:solidFill>
              </a14:hiddenFill>
            </a:ext>
          </a:extLst>
        </p:spPr>
      </p:pic>
      <p:sp>
        <p:nvSpPr>
          <p:cNvPr id="91" name="TextBox 90"/>
          <p:cNvSpPr txBox="1"/>
          <p:nvPr/>
        </p:nvSpPr>
        <p:spPr>
          <a:xfrm>
            <a:off x="2473062" y="2184271"/>
            <a:ext cx="829649" cy="581698"/>
          </a:xfrm>
          <a:prstGeom prst="rect">
            <a:avLst/>
          </a:prstGeom>
          <a:noFill/>
        </p:spPr>
        <p:txBody>
          <a:bodyPr wrap="square" lIns="0" tIns="0" rIns="0" bIns="0" rtlCol="0" anchor="ctr" anchorCtr="0">
            <a:spAutoFit/>
          </a:bodyPr>
          <a:lstStyle/>
          <a:p>
            <a:pPr algn="ctr" defTabSz="685891">
              <a:lnSpc>
                <a:spcPct val="90000"/>
              </a:lnSpc>
              <a:defRPr/>
            </a:pPr>
            <a:r>
              <a:rPr lang="en-US" kern="0" dirty="0">
                <a:gradFill>
                  <a:gsLst>
                    <a:gs pos="0">
                      <a:schemeClr val="tx1"/>
                    </a:gs>
                    <a:gs pos="86000">
                      <a:schemeClr val="tx1"/>
                    </a:gs>
                  </a:gsLst>
                  <a:lin ang="5400000" scaled="0"/>
                </a:gradFill>
                <a:ea typeface="Segoe UI" pitchFamily="34" charset="0"/>
                <a:cs typeface="Arial" pitchFamily="34" charset="0"/>
              </a:rPr>
              <a:t>Outlook and Office built in</a:t>
            </a:r>
            <a:endParaRPr lang="en-US" kern="0" dirty="0">
              <a:gradFill>
                <a:gsLst>
                  <a:gs pos="0">
                    <a:schemeClr val="tx1"/>
                  </a:gs>
                  <a:gs pos="86000">
                    <a:schemeClr val="tx1"/>
                  </a:gs>
                </a:gsLst>
                <a:lin ang="5400000" scaled="0"/>
              </a:gradFill>
              <a:ea typeface="Segoe UI" pitchFamily="34" charset="0"/>
              <a:cs typeface="Arial" pitchFamily="34" charset="0"/>
            </a:endParaRPr>
          </a:p>
        </p:txBody>
      </p:sp>
      <p:sp>
        <p:nvSpPr>
          <p:cNvPr id="92" name="TextBox 91"/>
          <p:cNvSpPr txBox="1"/>
          <p:nvPr/>
        </p:nvSpPr>
        <p:spPr>
          <a:xfrm>
            <a:off x="2340310" y="3125105"/>
            <a:ext cx="1112469" cy="581698"/>
          </a:xfrm>
          <a:prstGeom prst="rect">
            <a:avLst/>
          </a:prstGeom>
          <a:noFill/>
        </p:spPr>
        <p:txBody>
          <a:bodyPr wrap="square" lIns="0" tIns="0" rIns="0" bIns="0" rtlCol="0" anchor="ctr" anchorCtr="0">
            <a:spAutoFit/>
          </a:bodyPr>
          <a:lstStyle/>
          <a:p>
            <a:pPr algn="ctr" defTabSz="685891">
              <a:lnSpc>
                <a:spcPct val="90000"/>
              </a:lnSpc>
              <a:defRPr/>
            </a:pPr>
            <a:r>
              <a:rPr lang="en-US" kern="0" dirty="0">
                <a:gradFill>
                  <a:gsLst>
                    <a:gs pos="0">
                      <a:schemeClr val="tx1"/>
                    </a:gs>
                    <a:gs pos="86000">
                      <a:schemeClr val="tx1"/>
                    </a:gs>
                  </a:gsLst>
                  <a:lin ang="5400000" scaled="0"/>
                </a:gradFill>
                <a:ea typeface="Segoe UI" pitchFamily="34" charset="0"/>
                <a:cs typeface="Arial" pitchFamily="34" charset="0"/>
              </a:rPr>
              <a:t>Integrates with your infrastructure</a:t>
            </a:r>
            <a:endParaRPr lang="en-US" kern="0" dirty="0">
              <a:gradFill>
                <a:gsLst>
                  <a:gs pos="0">
                    <a:schemeClr val="tx1"/>
                  </a:gs>
                  <a:gs pos="86000">
                    <a:schemeClr val="tx1"/>
                  </a:gs>
                </a:gsLst>
                <a:lin ang="5400000" scaled="0"/>
              </a:gradFill>
              <a:ea typeface="Segoe UI" pitchFamily="34" charset="0"/>
              <a:cs typeface="Arial" pitchFamily="34" charset="0"/>
            </a:endParaRPr>
          </a:p>
        </p:txBody>
      </p:sp>
      <p:pic>
        <p:nvPicPr>
          <p:cNvPr id="94" name="Picture 2" descr="C:\Users\roseh\Desktop\Windows Phone 7 PPT\Outlook-Mobile_bL.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251826" y="2260311"/>
            <a:ext cx="1117026" cy="197071"/>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3" descr="C:\Users\roseh\Desktop\Windows Phone 7 PPT\Microsoft_5F00_Forefront_5F00_UAG.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652780" y="3190081"/>
            <a:ext cx="1497005" cy="388011"/>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5" descr="d:\Users\augustov\Desktop\ofc365_h_rgb.pn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332312" y="3442719"/>
            <a:ext cx="961149" cy="308610"/>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9" descr="d:\Users\augustov\Desktop\ShrPt_h_rgb.pn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510958" y="3065511"/>
            <a:ext cx="1217768" cy="308610"/>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0" descr="d:\Users\augustov\Desktop\Lync-grid_h_rgb.pn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546723" y="3095471"/>
            <a:ext cx="680773" cy="308610"/>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2" descr="\\showsrus\public\Individual Projects - REMOVED AFTER 60 DAYS\v-rifis\Mango\NEW LYNC SCREENSHOTS\1012.8_RTM_Start_LyncCalendar_Office_110711\In Phone Frame\1012_8_RTM_Start_LyncCalendar_Office_110711_Phone.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449608" y="1140993"/>
            <a:ext cx="1944722" cy="3645003"/>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4"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7"/>
              </a:rPr>
              <a:t>www.rapidbbs.cn</a:t>
            </a:r>
            <a:endParaRPr lang="zh-CN" altLang="en-US" sz="1200" b="0">
              <a:latin typeface="Arial" charset="0"/>
              <a:ea typeface="ＭＳ Ｐゴシック" pitchFamily="34" charset="-128"/>
            </a:endParaRPr>
          </a:p>
        </p:txBody>
      </p:sp>
      <p:pic>
        <p:nvPicPr>
          <p:cNvPr id="25" name="Picture 2">
            <a:hlinkClick r:id="rId17"/>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89836556"/>
      </p:ext>
    </p:extLst>
  </p:cSld>
  <p:clrMapOvr>
    <a:masterClrMapping/>
  </p:clrMapOvr>
  <p:transition spd="slow">
    <p:push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70"/>
                                        </p:tgtEl>
                                        <p:attrNameLst>
                                          <p:attrName>style.visibility</p:attrName>
                                        </p:attrNameLst>
                                      </p:cBhvr>
                                      <p:to>
                                        <p:strVal val="visible"/>
                                      </p:to>
                                    </p:set>
                                    <p:animEffect transition="in" filter="wipe(left)">
                                      <p:cBhvr>
                                        <p:cTn id="7" dur="500"/>
                                        <p:tgtEl>
                                          <p:spTgt spid="70"/>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1"/>
                                        </p:tgtEl>
                                        <p:attrNameLst>
                                          <p:attrName>style.visibility</p:attrName>
                                        </p:attrNameLst>
                                      </p:cBhvr>
                                      <p:to>
                                        <p:strVal val="visible"/>
                                      </p:to>
                                    </p:set>
                                    <p:animEffect transition="in" filter="fade">
                                      <p:cBhvr>
                                        <p:cTn id="11" dur="500"/>
                                        <p:tgtEl>
                                          <p:spTgt spid="91"/>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82"/>
                                        </p:tgtEl>
                                        <p:attrNameLst>
                                          <p:attrName>style.visibility</p:attrName>
                                        </p:attrNameLst>
                                      </p:cBhvr>
                                      <p:to>
                                        <p:strVal val="visible"/>
                                      </p:to>
                                    </p:set>
                                    <p:animEffect transition="in" filter="fade">
                                      <p:cBhvr>
                                        <p:cTn id="15" dur="500"/>
                                        <p:tgtEl>
                                          <p:spTgt spid="82"/>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84"/>
                                        </p:tgtEl>
                                        <p:attrNameLst>
                                          <p:attrName>style.visibility</p:attrName>
                                        </p:attrNameLst>
                                      </p:cBhvr>
                                      <p:to>
                                        <p:strVal val="visible"/>
                                      </p:to>
                                    </p:set>
                                    <p:animEffect transition="in" filter="fade">
                                      <p:cBhvr>
                                        <p:cTn id="19" dur="500"/>
                                        <p:tgtEl>
                                          <p:spTgt spid="84"/>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86"/>
                                        </p:tgtEl>
                                        <p:attrNameLst>
                                          <p:attrName>style.visibility</p:attrName>
                                        </p:attrNameLst>
                                      </p:cBhvr>
                                      <p:to>
                                        <p:strVal val="visible"/>
                                      </p:to>
                                    </p:set>
                                    <p:animEffect transition="in" filter="fade">
                                      <p:cBhvr>
                                        <p:cTn id="23" dur="500"/>
                                        <p:tgtEl>
                                          <p:spTgt spid="86"/>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94"/>
                                        </p:tgtEl>
                                        <p:attrNameLst>
                                          <p:attrName>style.visibility</p:attrName>
                                        </p:attrNameLst>
                                      </p:cBhvr>
                                      <p:to>
                                        <p:strVal val="visible"/>
                                      </p:to>
                                    </p:set>
                                    <p:animEffect transition="in" filter="fade">
                                      <p:cBhvr>
                                        <p:cTn id="27" dur="500"/>
                                        <p:tgtEl>
                                          <p:spTgt spid="94"/>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83"/>
                                        </p:tgtEl>
                                        <p:attrNameLst>
                                          <p:attrName>style.visibility</p:attrName>
                                        </p:attrNameLst>
                                      </p:cBhvr>
                                      <p:to>
                                        <p:strVal val="visible"/>
                                      </p:to>
                                    </p:set>
                                    <p:animEffect transition="in" filter="fade">
                                      <p:cBhvr>
                                        <p:cTn id="31" dur="500"/>
                                        <p:tgtEl>
                                          <p:spTgt spid="83"/>
                                        </p:tgtEl>
                                      </p:cBhvr>
                                    </p:animEffect>
                                  </p:childTnLst>
                                </p:cTn>
                              </p:par>
                            </p:childTnLst>
                          </p:cTn>
                        </p:par>
                        <p:par>
                          <p:cTn id="32" fill="hold">
                            <p:stCondLst>
                              <p:cond delay="3500"/>
                            </p:stCondLst>
                            <p:childTnLst>
                              <p:par>
                                <p:cTn id="33" presetID="10" presetClass="entr" presetSubtype="0" fill="hold" nodeType="afterEffect">
                                  <p:stCondLst>
                                    <p:cond delay="0"/>
                                  </p:stCondLst>
                                  <p:childTnLst>
                                    <p:set>
                                      <p:cBhvr>
                                        <p:cTn id="34" dur="1" fill="hold">
                                          <p:stCondLst>
                                            <p:cond delay="0"/>
                                          </p:stCondLst>
                                        </p:cTn>
                                        <p:tgtEl>
                                          <p:spTgt spid="85"/>
                                        </p:tgtEl>
                                        <p:attrNameLst>
                                          <p:attrName>style.visibility</p:attrName>
                                        </p:attrNameLst>
                                      </p:cBhvr>
                                      <p:to>
                                        <p:strVal val="visible"/>
                                      </p:to>
                                    </p:set>
                                    <p:animEffect transition="in" filter="fade">
                                      <p:cBhvr>
                                        <p:cTn id="35" dur="500"/>
                                        <p:tgtEl>
                                          <p:spTgt spid="85"/>
                                        </p:tgtEl>
                                      </p:cBhvr>
                                    </p:animEffect>
                                  </p:childTnLst>
                                </p:cTn>
                              </p:par>
                            </p:childTnLst>
                          </p:cTn>
                        </p:par>
                        <p:par>
                          <p:cTn id="36" fill="hold">
                            <p:stCondLst>
                              <p:cond delay="4000"/>
                            </p:stCondLst>
                            <p:childTnLst>
                              <p:par>
                                <p:cTn id="37" presetID="10" presetClass="entr" presetSubtype="0" fill="hold" nodeType="afterEffect">
                                  <p:stCondLst>
                                    <p:cond delay="0"/>
                                  </p:stCondLst>
                                  <p:childTnLst>
                                    <p:set>
                                      <p:cBhvr>
                                        <p:cTn id="38" dur="1" fill="hold">
                                          <p:stCondLst>
                                            <p:cond delay="0"/>
                                          </p:stCondLst>
                                        </p:cTn>
                                        <p:tgtEl>
                                          <p:spTgt spid="88"/>
                                        </p:tgtEl>
                                        <p:attrNameLst>
                                          <p:attrName>style.visibility</p:attrName>
                                        </p:attrNameLst>
                                      </p:cBhvr>
                                      <p:to>
                                        <p:strVal val="visible"/>
                                      </p:to>
                                    </p:set>
                                    <p:animEffect transition="in" filter="fade">
                                      <p:cBhvr>
                                        <p:cTn id="39" dur="500"/>
                                        <p:tgtEl>
                                          <p:spTgt spid="88"/>
                                        </p:tgtEl>
                                      </p:cBhvr>
                                    </p:animEffect>
                                  </p:childTnLst>
                                </p:cTn>
                              </p:par>
                            </p:childTnLst>
                          </p:cTn>
                        </p:par>
                        <p:par>
                          <p:cTn id="40" fill="hold">
                            <p:stCondLst>
                              <p:cond delay="4500"/>
                            </p:stCondLst>
                            <p:childTnLst>
                              <p:par>
                                <p:cTn id="41" presetID="10" presetClass="entr" presetSubtype="0" fill="hold" nodeType="afterEffect">
                                  <p:stCondLst>
                                    <p:cond delay="0"/>
                                  </p:stCondLst>
                                  <p:childTnLst>
                                    <p:set>
                                      <p:cBhvr>
                                        <p:cTn id="42" dur="1" fill="hold">
                                          <p:stCondLst>
                                            <p:cond delay="0"/>
                                          </p:stCondLst>
                                        </p:cTn>
                                        <p:tgtEl>
                                          <p:spTgt spid="89"/>
                                        </p:tgtEl>
                                        <p:attrNameLst>
                                          <p:attrName>style.visibility</p:attrName>
                                        </p:attrNameLst>
                                      </p:cBhvr>
                                      <p:to>
                                        <p:strVal val="visible"/>
                                      </p:to>
                                    </p:set>
                                    <p:animEffect transition="in" filter="fade">
                                      <p:cBhvr>
                                        <p:cTn id="43" dur="500"/>
                                        <p:tgtEl>
                                          <p:spTgt spid="89"/>
                                        </p:tgtEl>
                                      </p:cBhvr>
                                    </p:animEffect>
                                  </p:childTnLst>
                                </p:cTn>
                              </p:par>
                            </p:childTnLst>
                          </p:cTn>
                        </p:par>
                        <p:par>
                          <p:cTn id="44" fill="hold">
                            <p:stCondLst>
                              <p:cond delay="5000"/>
                            </p:stCondLst>
                            <p:childTnLst>
                              <p:par>
                                <p:cTn id="45" presetID="10" presetClass="entr" presetSubtype="0" fill="hold" nodeType="afterEffect">
                                  <p:stCondLst>
                                    <p:cond delay="0"/>
                                  </p:stCondLst>
                                  <p:childTnLst>
                                    <p:set>
                                      <p:cBhvr>
                                        <p:cTn id="46" dur="1" fill="hold">
                                          <p:stCondLst>
                                            <p:cond delay="0"/>
                                          </p:stCondLst>
                                        </p:cTn>
                                        <p:tgtEl>
                                          <p:spTgt spid="87"/>
                                        </p:tgtEl>
                                        <p:attrNameLst>
                                          <p:attrName>style.visibility</p:attrName>
                                        </p:attrNameLst>
                                      </p:cBhvr>
                                      <p:to>
                                        <p:strVal val="visible"/>
                                      </p:to>
                                    </p:set>
                                    <p:animEffect transition="in" filter="fade">
                                      <p:cBhvr>
                                        <p:cTn id="47" dur="500"/>
                                        <p:tgtEl>
                                          <p:spTgt spid="87"/>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8" fill="hold" grpId="0" nodeType="clickEffect">
                                  <p:stCondLst>
                                    <p:cond delay="0"/>
                                  </p:stCondLst>
                                  <p:childTnLst>
                                    <p:set>
                                      <p:cBhvr>
                                        <p:cTn id="51" dur="1" fill="hold">
                                          <p:stCondLst>
                                            <p:cond delay="0"/>
                                          </p:stCondLst>
                                        </p:cTn>
                                        <p:tgtEl>
                                          <p:spTgt spid="69"/>
                                        </p:tgtEl>
                                        <p:attrNameLst>
                                          <p:attrName>style.visibility</p:attrName>
                                        </p:attrNameLst>
                                      </p:cBhvr>
                                      <p:to>
                                        <p:strVal val="visible"/>
                                      </p:to>
                                    </p:set>
                                    <p:animEffect transition="in" filter="wipe(left)">
                                      <p:cBhvr>
                                        <p:cTn id="52" dur="500"/>
                                        <p:tgtEl>
                                          <p:spTgt spid="69"/>
                                        </p:tgtEl>
                                      </p:cBhvr>
                                    </p:animEffect>
                                  </p:childTnLst>
                                </p:cTn>
                              </p:par>
                            </p:childTnLst>
                          </p:cTn>
                        </p:par>
                        <p:par>
                          <p:cTn id="53" fill="hold">
                            <p:stCondLst>
                              <p:cond delay="500"/>
                            </p:stCondLst>
                            <p:childTnLst>
                              <p:par>
                                <p:cTn id="54" presetID="10" presetClass="entr" presetSubtype="0" fill="hold" grpId="0" nodeType="afterEffect">
                                  <p:stCondLst>
                                    <p:cond delay="0"/>
                                  </p:stCondLst>
                                  <p:childTnLst>
                                    <p:set>
                                      <p:cBhvr>
                                        <p:cTn id="55" dur="1" fill="hold">
                                          <p:stCondLst>
                                            <p:cond delay="0"/>
                                          </p:stCondLst>
                                        </p:cTn>
                                        <p:tgtEl>
                                          <p:spTgt spid="92"/>
                                        </p:tgtEl>
                                        <p:attrNameLst>
                                          <p:attrName>style.visibility</p:attrName>
                                        </p:attrNameLst>
                                      </p:cBhvr>
                                      <p:to>
                                        <p:strVal val="visible"/>
                                      </p:to>
                                    </p:set>
                                    <p:animEffect transition="in" filter="fade">
                                      <p:cBhvr>
                                        <p:cTn id="56" dur="500"/>
                                        <p:tgtEl>
                                          <p:spTgt spid="92"/>
                                        </p:tgtEl>
                                      </p:cBhvr>
                                    </p:animEffect>
                                  </p:childTnLst>
                                </p:cTn>
                              </p:par>
                            </p:childTnLst>
                          </p:cTn>
                        </p:par>
                        <p:par>
                          <p:cTn id="57" fill="hold">
                            <p:stCondLst>
                              <p:cond delay="1000"/>
                            </p:stCondLst>
                            <p:childTnLst>
                              <p:par>
                                <p:cTn id="58" presetID="10" presetClass="entr" presetSubtype="0" fill="hold" grpId="0" nodeType="afterEffect">
                                  <p:stCondLst>
                                    <p:cond delay="0"/>
                                  </p:stCondLst>
                                  <p:childTnLst>
                                    <p:set>
                                      <p:cBhvr>
                                        <p:cTn id="59" dur="1" fill="hold">
                                          <p:stCondLst>
                                            <p:cond delay="0"/>
                                          </p:stCondLst>
                                        </p:cTn>
                                        <p:tgtEl>
                                          <p:spTgt spid="76"/>
                                        </p:tgtEl>
                                        <p:attrNameLst>
                                          <p:attrName>style.visibility</p:attrName>
                                        </p:attrNameLst>
                                      </p:cBhvr>
                                      <p:to>
                                        <p:strVal val="visible"/>
                                      </p:to>
                                    </p:set>
                                    <p:animEffect transition="in" filter="fade">
                                      <p:cBhvr>
                                        <p:cTn id="60" dur="500"/>
                                        <p:tgtEl>
                                          <p:spTgt spid="76"/>
                                        </p:tgtEl>
                                      </p:cBhvr>
                                    </p:animEffect>
                                  </p:childTnLst>
                                </p:cTn>
                              </p:par>
                            </p:childTnLst>
                          </p:cTn>
                        </p:par>
                        <p:par>
                          <p:cTn id="61" fill="hold">
                            <p:stCondLst>
                              <p:cond delay="1500"/>
                            </p:stCondLst>
                            <p:childTnLst>
                              <p:par>
                                <p:cTn id="62" presetID="10" presetClass="entr" presetSubtype="0" fill="hold" nodeType="afterEffect">
                                  <p:stCondLst>
                                    <p:cond delay="0"/>
                                  </p:stCondLst>
                                  <p:childTnLst>
                                    <p:set>
                                      <p:cBhvr>
                                        <p:cTn id="63" dur="1" fill="hold">
                                          <p:stCondLst>
                                            <p:cond delay="0"/>
                                          </p:stCondLst>
                                        </p:cTn>
                                        <p:tgtEl>
                                          <p:spTgt spid="79"/>
                                        </p:tgtEl>
                                        <p:attrNameLst>
                                          <p:attrName>style.visibility</p:attrName>
                                        </p:attrNameLst>
                                      </p:cBhvr>
                                      <p:to>
                                        <p:strVal val="visible"/>
                                      </p:to>
                                    </p:set>
                                    <p:animEffect transition="in" filter="fade">
                                      <p:cBhvr>
                                        <p:cTn id="64" dur="500"/>
                                        <p:tgtEl>
                                          <p:spTgt spid="79"/>
                                        </p:tgtEl>
                                      </p:cBhvr>
                                    </p:animEffect>
                                  </p:childTnLst>
                                </p:cTn>
                              </p:par>
                            </p:childTnLst>
                          </p:cTn>
                        </p:par>
                        <p:par>
                          <p:cTn id="65" fill="hold">
                            <p:stCondLst>
                              <p:cond delay="2000"/>
                            </p:stCondLst>
                            <p:childTnLst>
                              <p:par>
                                <p:cTn id="66" presetID="10" presetClass="entr" presetSubtype="0" fill="hold" nodeType="afterEffect">
                                  <p:stCondLst>
                                    <p:cond delay="0"/>
                                  </p:stCondLst>
                                  <p:childTnLst>
                                    <p:set>
                                      <p:cBhvr>
                                        <p:cTn id="67" dur="1" fill="hold">
                                          <p:stCondLst>
                                            <p:cond delay="0"/>
                                          </p:stCondLst>
                                        </p:cTn>
                                        <p:tgtEl>
                                          <p:spTgt spid="32"/>
                                        </p:tgtEl>
                                        <p:attrNameLst>
                                          <p:attrName>style.visibility</p:attrName>
                                        </p:attrNameLst>
                                      </p:cBhvr>
                                      <p:to>
                                        <p:strVal val="visible"/>
                                      </p:to>
                                    </p:set>
                                    <p:animEffect transition="in" filter="fade">
                                      <p:cBhvr>
                                        <p:cTn id="68" dur="500"/>
                                        <p:tgtEl>
                                          <p:spTgt spid="32"/>
                                        </p:tgtEl>
                                      </p:cBhvr>
                                    </p:animEffect>
                                  </p:childTnLst>
                                </p:cTn>
                              </p:par>
                            </p:childTnLst>
                          </p:cTn>
                        </p:par>
                        <p:par>
                          <p:cTn id="69" fill="hold">
                            <p:stCondLst>
                              <p:cond delay="2500"/>
                            </p:stCondLst>
                            <p:childTnLst>
                              <p:par>
                                <p:cTn id="70" presetID="10" presetClass="entr" presetSubtype="0" fill="hold" nodeType="afterEffect">
                                  <p:stCondLst>
                                    <p:cond delay="0"/>
                                  </p:stCondLst>
                                  <p:childTnLst>
                                    <p:set>
                                      <p:cBhvr>
                                        <p:cTn id="71" dur="1" fill="hold">
                                          <p:stCondLst>
                                            <p:cond delay="0"/>
                                          </p:stCondLst>
                                        </p:cTn>
                                        <p:tgtEl>
                                          <p:spTgt spid="33"/>
                                        </p:tgtEl>
                                        <p:attrNameLst>
                                          <p:attrName>style.visibility</p:attrName>
                                        </p:attrNameLst>
                                      </p:cBhvr>
                                      <p:to>
                                        <p:strVal val="visible"/>
                                      </p:to>
                                    </p:set>
                                    <p:animEffect transition="in" filter="fade">
                                      <p:cBhvr>
                                        <p:cTn id="72" dur="500"/>
                                        <p:tgtEl>
                                          <p:spTgt spid="33"/>
                                        </p:tgtEl>
                                      </p:cBhvr>
                                    </p:animEffect>
                                  </p:childTnLst>
                                </p:cTn>
                              </p:par>
                            </p:childTnLst>
                          </p:cTn>
                        </p:par>
                        <p:par>
                          <p:cTn id="73" fill="hold">
                            <p:stCondLst>
                              <p:cond delay="3000"/>
                            </p:stCondLst>
                            <p:childTnLst>
                              <p:par>
                                <p:cTn id="74" presetID="10" presetClass="entr" presetSubtype="0" fill="hold" nodeType="afterEffect">
                                  <p:stCondLst>
                                    <p:cond delay="0"/>
                                  </p:stCondLst>
                                  <p:childTnLst>
                                    <p:set>
                                      <p:cBhvr>
                                        <p:cTn id="75" dur="1" fill="hold">
                                          <p:stCondLst>
                                            <p:cond delay="0"/>
                                          </p:stCondLst>
                                        </p:cTn>
                                        <p:tgtEl>
                                          <p:spTgt spid="31"/>
                                        </p:tgtEl>
                                        <p:attrNameLst>
                                          <p:attrName>style.visibility</p:attrName>
                                        </p:attrNameLst>
                                      </p:cBhvr>
                                      <p:to>
                                        <p:strVal val="visible"/>
                                      </p:to>
                                    </p:set>
                                    <p:animEffect transition="in" filter="fade">
                                      <p:cBhvr>
                                        <p:cTn id="76" dur="500"/>
                                        <p:tgtEl>
                                          <p:spTgt spid="31"/>
                                        </p:tgtEl>
                                      </p:cBhvr>
                                    </p:animEffect>
                                  </p:childTnLst>
                                </p:cTn>
                              </p:par>
                            </p:childTnLst>
                          </p:cTn>
                        </p:par>
                        <p:par>
                          <p:cTn id="77" fill="hold">
                            <p:stCondLst>
                              <p:cond delay="3500"/>
                            </p:stCondLst>
                            <p:childTnLst>
                              <p:par>
                                <p:cTn id="78" presetID="10" presetClass="entr" presetSubtype="0" fill="hold" nodeType="afterEffect">
                                  <p:stCondLst>
                                    <p:cond delay="0"/>
                                  </p:stCondLst>
                                  <p:childTnLst>
                                    <p:set>
                                      <p:cBhvr>
                                        <p:cTn id="79" dur="1" fill="hold">
                                          <p:stCondLst>
                                            <p:cond delay="0"/>
                                          </p:stCondLst>
                                        </p:cTn>
                                        <p:tgtEl>
                                          <p:spTgt spid="95"/>
                                        </p:tgtEl>
                                        <p:attrNameLst>
                                          <p:attrName>style.visibility</p:attrName>
                                        </p:attrNameLst>
                                      </p:cBhvr>
                                      <p:to>
                                        <p:strVal val="visible"/>
                                      </p:to>
                                    </p:set>
                                    <p:animEffect transition="in" filter="fade">
                                      <p:cBhvr>
                                        <p:cTn id="80" dur="500"/>
                                        <p:tgtEl>
                                          <p:spTgt spid="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animBg="1"/>
      <p:bldP spid="70" grpId="0" animBg="1"/>
      <p:bldP spid="76" grpId="0" animBg="1"/>
      <p:bldP spid="82" grpId="0" animBg="1"/>
      <p:bldP spid="91" grpId="0"/>
      <p:bldP spid="92" grpId="0"/>
    </p:bldLst>
  </p:timing>
</p:sld>
</file>

<file path=ppt/slides/slide4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almPre"/>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205704" y="1683625"/>
            <a:ext cx="1183171" cy="1882395"/>
          </a:xfrm>
          <a:prstGeom prst="rect">
            <a:avLst/>
          </a:prstGeom>
          <a:noFill/>
          <a:effectLst>
            <a:reflection blurRad="63500" stA="23000" endPos="10000" dist="63500" dir="5400000" sy="-100000" algn="bl" rotWithShape="0"/>
          </a:effectLst>
        </p:spPr>
      </p:pic>
      <p:pic>
        <p:nvPicPr>
          <p:cNvPr id="22" name="BlackBerry" descr="\\sfp\Work\White_Whale\_Archive-Sean\2-20365_Lees_Holland\art\Phones\Competition\blackberry_storm.png"/>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4774992" y="1656621"/>
            <a:ext cx="1137305" cy="1882395"/>
          </a:xfrm>
          <a:prstGeom prst="rect">
            <a:avLst/>
          </a:prstGeom>
          <a:noFill/>
          <a:effectLst>
            <a:reflection blurRad="63500" stA="23000" endPos="10000" dist="63500" dir="5400000" sy="-100000" algn="bl" rotWithShape="0"/>
          </a:effectLst>
          <a:extLst>
            <a:ext uri="{909E8E84-426E-40DD-AFC4-6F175D3DCCD1}">
              <a14:hiddenFill xmlns:a14="http://schemas.microsoft.com/office/drawing/2010/main">
                <a:solidFill>
                  <a:srgbClr val="FFFFFF"/>
                </a:solidFill>
              </a14:hiddenFill>
            </a:ext>
          </a:extLst>
        </p:spPr>
      </p:pic>
      <p:pic>
        <p:nvPicPr>
          <p:cNvPr id="23" name="iPhone" descr="\\sfp\Work\White_Whale\_Archive-Sean\2-20426_Lees_MCB_Partner\Art\Images\Phones\iPhone4_Full.png"/>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925016" y="1656621"/>
            <a:ext cx="1026300" cy="1882395"/>
          </a:xfrm>
          <a:prstGeom prst="rect">
            <a:avLst/>
          </a:prstGeom>
          <a:noFill/>
          <a:effectLst>
            <a:reflection blurRad="63500" stA="23000" endPos="10000" dist="63500" dir="5400000" sy="-100000" algn="bl" rotWithShape="0"/>
          </a:effectLst>
          <a:extLst>
            <a:ext uri="{909E8E84-426E-40DD-AFC4-6F175D3DCCD1}">
              <a14:hiddenFill xmlns:a14="http://schemas.microsoft.com/office/drawing/2010/main">
                <a:solidFill>
                  <a:srgbClr val="FFFFFF"/>
                </a:solidFill>
              </a14:hiddenFill>
            </a:ext>
          </a:extLst>
        </p:spPr>
      </p:pic>
      <p:pic>
        <p:nvPicPr>
          <p:cNvPr id="24" name="Android"/>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3388465" y="1656621"/>
            <a:ext cx="979693" cy="1882395"/>
          </a:xfrm>
          <a:prstGeom prst="rect">
            <a:avLst/>
          </a:prstGeom>
          <a:noFill/>
          <a:effectLst>
            <a:reflection blurRad="63500" stA="23000" endPos="10000" dist="63500" dir="5400000" sy="-100000" algn="bl" rotWithShape="0"/>
          </a:effectLst>
        </p:spPr>
      </p:pic>
      <p:sp>
        <p:nvSpPr>
          <p:cNvPr id="25" name="vs."/>
          <p:cNvSpPr txBox="1"/>
          <p:nvPr/>
        </p:nvSpPr>
        <p:spPr>
          <a:xfrm>
            <a:off x="4485665" y="3631395"/>
            <a:ext cx="272510" cy="292388"/>
          </a:xfrm>
          <a:prstGeom prst="rect">
            <a:avLst/>
          </a:prstGeom>
          <a:noFill/>
        </p:spPr>
        <p:txBody>
          <a:bodyPr wrap="none" lIns="0" tIns="0" rIns="0" bIns="0" rtlCol="0">
            <a:spAutoFit/>
          </a:bodyPr>
          <a:lstStyle/>
          <a:p>
            <a:pPr algn="ctr"/>
            <a:r>
              <a:rPr lang="en-US" sz="1900" dirty="0">
                <a:latin typeface="+mj-lt"/>
              </a:rPr>
              <a:t>vs.</a:t>
            </a:r>
          </a:p>
        </p:txBody>
      </p:sp>
      <p:sp>
        <p:nvSpPr>
          <p:cNvPr id="26" name="vs."/>
          <p:cNvSpPr txBox="1"/>
          <p:nvPr/>
        </p:nvSpPr>
        <p:spPr>
          <a:xfrm>
            <a:off x="2789485" y="3633360"/>
            <a:ext cx="819135" cy="292388"/>
          </a:xfrm>
          <a:prstGeom prst="rect">
            <a:avLst/>
          </a:prstGeom>
          <a:noFill/>
        </p:spPr>
        <p:txBody>
          <a:bodyPr wrap="none" lIns="0" tIns="0" rIns="0" bIns="0" rtlCol="0">
            <a:spAutoFit/>
          </a:bodyPr>
          <a:lstStyle/>
          <a:p>
            <a:pPr algn="ctr"/>
            <a:r>
              <a:rPr lang="en-US" sz="1900" dirty="0">
                <a:latin typeface="+mj-lt"/>
              </a:rPr>
              <a:t>PEOPLE</a:t>
            </a:r>
            <a:endParaRPr lang="en-US" sz="1900" dirty="0">
              <a:latin typeface="+mj-lt"/>
            </a:endParaRPr>
          </a:p>
        </p:txBody>
      </p:sp>
      <p:sp>
        <p:nvSpPr>
          <p:cNvPr id="27" name="vs."/>
          <p:cNvSpPr txBox="1"/>
          <p:nvPr/>
        </p:nvSpPr>
        <p:spPr>
          <a:xfrm>
            <a:off x="5565096" y="3633360"/>
            <a:ext cx="708528" cy="292388"/>
          </a:xfrm>
          <a:prstGeom prst="rect">
            <a:avLst/>
          </a:prstGeom>
          <a:noFill/>
        </p:spPr>
        <p:txBody>
          <a:bodyPr wrap="none" lIns="0" tIns="0" rIns="0" bIns="0" rtlCol="0">
            <a:spAutoFit/>
          </a:bodyPr>
          <a:lstStyle/>
          <a:p>
            <a:pPr algn="ctr"/>
            <a:r>
              <a:rPr lang="en-US" sz="1900" dirty="0">
                <a:latin typeface="+mj-lt"/>
              </a:rPr>
              <a:t>ICONS</a:t>
            </a:r>
            <a:endParaRPr lang="en-US" sz="1900" dirty="0">
              <a:latin typeface="+mj-lt"/>
            </a:endParaRPr>
          </a:p>
        </p:txBody>
      </p:sp>
      <p:pic>
        <p:nvPicPr>
          <p:cNvPr id="28" name="Picture 2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491639" y="1074425"/>
            <a:ext cx="1386672" cy="2592402"/>
          </a:xfrm>
          <a:prstGeom prst="rect">
            <a:avLst/>
          </a:prstGeom>
          <a:noFill/>
          <a:effectLst>
            <a:reflection blurRad="63500" stA="23000" endPos="10000" dist="63500" dir="5400000" sy="-100000" algn="bl" rotWithShape="0"/>
          </a:effectLst>
        </p:spPr>
      </p:pic>
      <p:sp>
        <p:nvSpPr>
          <p:cNvPr id="10"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1"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8"/>
              </a:rPr>
              <a:t>www.rapidbbs.cn</a:t>
            </a:r>
            <a:endParaRPr lang="zh-CN" altLang="en-US" sz="1200" b="0">
              <a:latin typeface="Arial" charset="0"/>
              <a:ea typeface="ＭＳ Ｐゴシック" pitchFamily="34" charset="-128"/>
            </a:endParaRPr>
          </a:p>
        </p:txBody>
      </p:sp>
      <p:pic>
        <p:nvPicPr>
          <p:cNvPr id="12" name="Picture 2">
            <a:hlinkClick r:id="rId8"/>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842280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1250" fill="hold"/>
                                        <p:tgtEl>
                                          <p:spTgt spid="23"/>
                                        </p:tgtEl>
                                        <p:attrNameLst>
                                          <p:attrName>ppt_x</p:attrName>
                                        </p:attrNameLst>
                                      </p:cBhvr>
                                      <p:tavLst>
                                        <p:tav tm="0">
                                          <p:val>
                                            <p:strVal val="1+#ppt_w/2"/>
                                          </p:val>
                                        </p:tav>
                                        <p:tav tm="100000">
                                          <p:val>
                                            <p:strVal val="#ppt_x"/>
                                          </p:val>
                                        </p:tav>
                                      </p:tavLst>
                                    </p:anim>
                                    <p:anim calcmode="lin" valueType="num">
                                      <p:cBhvr additive="base">
                                        <p:cTn id="8" dur="1250" fill="hold"/>
                                        <p:tgtEl>
                                          <p:spTgt spid="23"/>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300"/>
                                  </p:stCondLst>
                                  <p:childTnLst>
                                    <p:set>
                                      <p:cBhvr>
                                        <p:cTn id="10" dur="1" fill="hold">
                                          <p:stCondLst>
                                            <p:cond delay="0"/>
                                          </p:stCondLst>
                                        </p:cTn>
                                        <p:tgtEl>
                                          <p:spTgt spid="24"/>
                                        </p:tgtEl>
                                        <p:attrNameLst>
                                          <p:attrName>style.visibility</p:attrName>
                                        </p:attrNameLst>
                                      </p:cBhvr>
                                      <p:to>
                                        <p:strVal val="visible"/>
                                      </p:to>
                                    </p:set>
                                    <p:anim calcmode="lin" valueType="num">
                                      <p:cBhvr additive="base">
                                        <p:cTn id="11" dur="1250" fill="hold"/>
                                        <p:tgtEl>
                                          <p:spTgt spid="24"/>
                                        </p:tgtEl>
                                        <p:attrNameLst>
                                          <p:attrName>ppt_x</p:attrName>
                                        </p:attrNameLst>
                                      </p:cBhvr>
                                      <p:tavLst>
                                        <p:tav tm="0">
                                          <p:val>
                                            <p:strVal val="1+#ppt_w/2"/>
                                          </p:val>
                                        </p:tav>
                                        <p:tav tm="100000">
                                          <p:val>
                                            <p:strVal val="#ppt_x"/>
                                          </p:val>
                                        </p:tav>
                                      </p:tavLst>
                                    </p:anim>
                                    <p:anim calcmode="lin" valueType="num">
                                      <p:cBhvr additive="base">
                                        <p:cTn id="12" dur="1250" fill="hold"/>
                                        <p:tgtEl>
                                          <p:spTgt spid="24"/>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600"/>
                                  </p:stCondLst>
                                  <p:childTnLst>
                                    <p:set>
                                      <p:cBhvr>
                                        <p:cTn id="14" dur="1" fill="hold">
                                          <p:stCondLst>
                                            <p:cond delay="0"/>
                                          </p:stCondLst>
                                        </p:cTn>
                                        <p:tgtEl>
                                          <p:spTgt spid="22"/>
                                        </p:tgtEl>
                                        <p:attrNameLst>
                                          <p:attrName>style.visibility</p:attrName>
                                        </p:attrNameLst>
                                      </p:cBhvr>
                                      <p:to>
                                        <p:strVal val="visible"/>
                                      </p:to>
                                    </p:set>
                                    <p:anim calcmode="lin" valueType="num">
                                      <p:cBhvr additive="base">
                                        <p:cTn id="15" dur="1250" fill="hold"/>
                                        <p:tgtEl>
                                          <p:spTgt spid="22"/>
                                        </p:tgtEl>
                                        <p:attrNameLst>
                                          <p:attrName>ppt_x</p:attrName>
                                        </p:attrNameLst>
                                      </p:cBhvr>
                                      <p:tavLst>
                                        <p:tav tm="0">
                                          <p:val>
                                            <p:strVal val="1+#ppt_w/2"/>
                                          </p:val>
                                        </p:tav>
                                        <p:tav tm="100000">
                                          <p:val>
                                            <p:strVal val="#ppt_x"/>
                                          </p:val>
                                        </p:tav>
                                      </p:tavLst>
                                    </p:anim>
                                    <p:anim calcmode="lin" valueType="num">
                                      <p:cBhvr additive="base">
                                        <p:cTn id="16" dur="1250" fill="hold"/>
                                        <p:tgtEl>
                                          <p:spTgt spid="22"/>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900"/>
                                  </p:stCondLst>
                                  <p:childTnLst>
                                    <p:set>
                                      <p:cBhvr>
                                        <p:cTn id="18" dur="1" fill="hold">
                                          <p:stCondLst>
                                            <p:cond delay="0"/>
                                          </p:stCondLst>
                                        </p:cTn>
                                        <p:tgtEl>
                                          <p:spTgt spid="21"/>
                                        </p:tgtEl>
                                        <p:attrNameLst>
                                          <p:attrName>style.visibility</p:attrName>
                                        </p:attrNameLst>
                                      </p:cBhvr>
                                      <p:to>
                                        <p:strVal val="visible"/>
                                      </p:to>
                                    </p:set>
                                    <p:anim calcmode="lin" valueType="num">
                                      <p:cBhvr additive="base">
                                        <p:cTn id="19" dur="1250" fill="hold"/>
                                        <p:tgtEl>
                                          <p:spTgt spid="21"/>
                                        </p:tgtEl>
                                        <p:attrNameLst>
                                          <p:attrName>ppt_x</p:attrName>
                                        </p:attrNameLst>
                                      </p:cBhvr>
                                      <p:tavLst>
                                        <p:tav tm="0">
                                          <p:val>
                                            <p:strVal val="1+#ppt_w/2"/>
                                          </p:val>
                                        </p:tav>
                                        <p:tav tm="100000">
                                          <p:val>
                                            <p:strVal val="#ppt_x"/>
                                          </p:val>
                                        </p:tav>
                                      </p:tavLst>
                                    </p:anim>
                                    <p:anim calcmode="lin" valueType="num">
                                      <p:cBhvr additive="base">
                                        <p:cTn id="20" dur="1250" fill="hold"/>
                                        <p:tgtEl>
                                          <p:spTgt spid="21"/>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42" presetClass="path" presetSubtype="0" decel="100000" fill="hold" nodeType="clickEffect">
                                  <p:stCondLst>
                                    <p:cond delay="500"/>
                                  </p:stCondLst>
                                  <p:childTnLst>
                                    <p:animMotion origin="layout" path="M -0.00013 -1.11111E-6 L 0.22372 0.00556 " pathEditMode="relative" rAng="0" ptsTypes="AA">
                                      <p:cBhvr>
                                        <p:cTn id="24" dur="1000" fill="hold"/>
                                        <p:tgtEl>
                                          <p:spTgt spid="24"/>
                                        </p:tgtEl>
                                        <p:attrNameLst>
                                          <p:attrName>ppt_x</p:attrName>
                                          <p:attrName>ppt_y</p:attrName>
                                        </p:attrNameLst>
                                      </p:cBhvr>
                                      <p:rCtr x="11192" y="278"/>
                                    </p:animMotion>
                                  </p:childTnLst>
                                </p:cTn>
                              </p:par>
                              <p:par>
                                <p:cTn id="25" presetID="6" presetClass="emph" presetSubtype="0" decel="100000" fill="hold" nodeType="withEffect">
                                  <p:stCondLst>
                                    <p:cond delay="800"/>
                                  </p:stCondLst>
                                  <p:childTnLst>
                                    <p:animScale>
                                      <p:cBhvr>
                                        <p:cTn id="26" dur="1000" fill="hold"/>
                                        <p:tgtEl>
                                          <p:spTgt spid="24"/>
                                        </p:tgtEl>
                                      </p:cBhvr>
                                      <p:by x="125640" y="125640"/>
                                    </p:animScale>
                                  </p:childTnLst>
                                </p:cTn>
                              </p:par>
                              <p:par>
                                <p:cTn id="27" presetID="2" presetClass="exit" presetSubtype="2" accel="100000" fill="hold" nodeType="withEffect">
                                  <p:stCondLst>
                                    <p:cond delay="0"/>
                                  </p:stCondLst>
                                  <p:childTnLst>
                                    <p:anim calcmode="lin" valueType="num">
                                      <p:cBhvr additive="base">
                                        <p:cTn id="28" dur="750"/>
                                        <p:tgtEl>
                                          <p:spTgt spid="21"/>
                                        </p:tgtEl>
                                        <p:attrNameLst>
                                          <p:attrName>ppt_x</p:attrName>
                                        </p:attrNameLst>
                                      </p:cBhvr>
                                      <p:tavLst>
                                        <p:tav tm="0">
                                          <p:val>
                                            <p:strVal val="ppt_x"/>
                                          </p:val>
                                        </p:tav>
                                        <p:tav tm="100000">
                                          <p:val>
                                            <p:strVal val="1+ppt_w/2"/>
                                          </p:val>
                                        </p:tav>
                                      </p:tavLst>
                                    </p:anim>
                                    <p:anim calcmode="lin" valueType="num">
                                      <p:cBhvr additive="base">
                                        <p:cTn id="29" dur="750"/>
                                        <p:tgtEl>
                                          <p:spTgt spid="21"/>
                                        </p:tgtEl>
                                        <p:attrNameLst>
                                          <p:attrName>ppt_y</p:attrName>
                                        </p:attrNameLst>
                                      </p:cBhvr>
                                      <p:tavLst>
                                        <p:tav tm="0">
                                          <p:val>
                                            <p:strVal val="ppt_y"/>
                                          </p:val>
                                        </p:tav>
                                        <p:tav tm="100000">
                                          <p:val>
                                            <p:strVal val="ppt_y"/>
                                          </p:val>
                                        </p:tav>
                                      </p:tavLst>
                                    </p:anim>
                                    <p:set>
                                      <p:cBhvr>
                                        <p:cTn id="30" dur="1" fill="hold">
                                          <p:stCondLst>
                                            <p:cond delay="749"/>
                                          </p:stCondLst>
                                        </p:cTn>
                                        <p:tgtEl>
                                          <p:spTgt spid="21"/>
                                        </p:tgtEl>
                                        <p:attrNameLst>
                                          <p:attrName>style.visibility</p:attrName>
                                        </p:attrNameLst>
                                      </p:cBhvr>
                                      <p:to>
                                        <p:strVal val="hidden"/>
                                      </p:to>
                                    </p:set>
                                  </p:childTnLst>
                                </p:cTn>
                              </p:par>
                              <p:par>
                                <p:cTn id="31" presetID="2" presetClass="exit" presetSubtype="2" accel="100000" fill="hold" nodeType="withEffect">
                                  <p:stCondLst>
                                    <p:cond delay="300"/>
                                  </p:stCondLst>
                                  <p:childTnLst>
                                    <p:anim calcmode="lin" valueType="num">
                                      <p:cBhvr additive="base">
                                        <p:cTn id="32" dur="750"/>
                                        <p:tgtEl>
                                          <p:spTgt spid="22"/>
                                        </p:tgtEl>
                                        <p:attrNameLst>
                                          <p:attrName>ppt_x</p:attrName>
                                        </p:attrNameLst>
                                      </p:cBhvr>
                                      <p:tavLst>
                                        <p:tav tm="0">
                                          <p:val>
                                            <p:strVal val="ppt_x"/>
                                          </p:val>
                                        </p:tav>
                                        <p:tav tm="100000">
                                          <p:val>
                                            <p:strVal val="1+ppt_w/2"/>
                                          </p:val>
                                        </p:tav>
                                      </p:tavLst>
                                    </p:anim>
                                    <p:anim calcmode="lin" valueType="num">
                                      <p:cBhvr additive="base">
                                        <p:cTn id="33" dur="750"/>
                                        <p:tgtEl>
                                          <p:spTgt spid="22"/>
                                        </p:tgtEl>
                                        <p:attrNameLst>
                                          <p:attrName>ppt_y</p:attrName>
                                        </p:attrNameLst>
                                      </p:cBhvr>
                                      <p:tavLst>
                                        <p:tav tm="0">
                                          <p:val>
                                            <p:strVal val="ppt_y"/>
                                          </p:val>
                                        </p:tav>
                                        <p:tav tm="100000">
                                          <p:val>
                                            <p:strVal val="ppt_y"/>
                                          </p:val>
                                        </p:tav>
                                      </p:tavLst>
                                    </p:anim>
                                    <p:set>
                                      <p:cBhvr>
                                        <p:cTn id="34" dur="1" fill="hold">
                                          <p:stCondLst>
                                            <p:cond delay="749"/>
                                          </p:stCondLst>
                                        </p:cTn>
                                        <p:tgtEl>
                                          <p:spTgt spid="22"/>
                                        </p:tgtEl>
                                        <p:attrNameLst>
                                          <p:attrName>style.visibility</p:attrName>
                                        </p:attrNameLst>
                                      </p:cBhvr>
                                      <p:to>
                                        <p:strVal val="hidden"/>
                                      </p:to>
                                    </p:set>
                                  </p:childTnLst>
                                </p:cTn>
                              </p:par>
                              <p:par>
                                <p:cTn id="35" presetID="2" presetClass="exit" presetSubtype="8" accel="100000" fill="hold" nodeType="withEffect">
                                  <p:stCondLst>
                                    <p:cond delay="300"/>
                                  </p:stCondLst>
                                  <p:childTnLst>
                                    <p:anim calcmode="lin" valueType="num">
                                      <p:cBhvr additive="base">
                                        <p:cTn id="36" dur="750"/>
                                        <p:tgtEl>
                                          <p:spTgt spid="23"/>
                                        </p:tgtEl>
                                        <p:attrNameLst>
                                          <p:attrName>ppt_x</p:attrName>
                                        </p:attrNameLst>
                                      </p:cBhvr>
                                      <p:tavLst>
                                        <p:tav tm="0">
                                          <p:val>
                                            <p:strVal val="ppt_x"/>
                                          </p:val>
                                        </p:tav>
                                        <p:tav tm="100000">
                                          <p:val>
                                            <p:strVal val="0-ppt_w/2"/>
                                          </p:val>
                                        </p:tav>
                                      </p:tavLst>
                                    </p:anim>
                                    <p:anim calcmode="lin" valueType="num">
                                      <p:cBhvr additive="base">
                                        <p:cTn id="37" dur="750"/>
                                        <p:tgtEl>
                                          <p:spTgt spid="23"/>
                                        </p:tgtEl>
                                        <p:attrNameLst>
                                          <p:attrName>ppt_y</p:attrName>
                                        </p:attrNameLst>
                                      </p:cBhvr>
                                      <p:tavLst>
                                        <p:tav tm="0">
                                          <p:val>
                                            <p:strVal val="ppt_y"/>
                                          </p:val>
                                        </p:tav>
                                        <p:tav tm="100000">
                                          <p:val>
                                            <p:strVal val="ppt_y"/>
                                          </p:val>
                                        </p:tav>
                                      </p:tavLst>
                                    </p:anim>
                                    <p:set>
                                      <p:cBhvr>
                                        <p:cTn id="38" dur="1" fill="hold">
                                          <p:stCondLst>
                                            <p:cond delay="749"/>
                                          </p:stCondLst>
                                        </p:cTn>
                                        <p:tgtEl>
                                          <p:spTgt spid="23"/>
                                        </p:tgtEl>
                                        <p:attrNameLst>
                                          <p:attrName>style.visibility</p:attrName>
                                        </p:attrNameLst>
                                      </p:cBhvr>
                                      <p:to>
                                        <p:strVal val="hidden"/>
                                      </p:to>
                                    </p:set>
                                  </p:childTnLst>
                                </p:cTn>
                              </p:par>
                              <p:par>
                                <p:cTn id="39" presetID="10" presetClass="entr" presetSubtype="0" fill="hold" grpId="0" nodeType="withEffect">
                                  <p:stCondLst>
                                    <p:cond delay="1000"/>
                                  </p:stCondLst>
                                  <p:childTnLst>
                                    <p:set>
                                      <p:cBhvr>
                                        <p:cTn id="40" dur="1" fill="hold">
                                          <p:stCondLst>
                                            <p:cond delay="0"/>
                                          </p:stCondLst>
                                        </p:cTn>
                                        <p:tgtEl>
                                          <p:spTgt spid="26"/>
                                        </p:tgtEl>
                                        <p:attrNameLst>
                                          <p:attrName>style.visibility</p:attrName>
                                        </p:attrNameLst>
                                      </p:cBhvr>
                                      <p:to>
                                        <p:strVal val="visible"/>
                                      </p:to>
                                    </p:set>
                                    <p:animEffect transition="in" filter="fade">
                                      <p:cBhvr>
                                        <p:cTn id="41" dur="500"/>
                                        <p:tgtEl>
                                          <p:spTgt spid="26"/>
                                        </p:tgtEl>
                                      </p:cBhvr>
                                    </p:animEffect>
                                  </p:childTnLst>
                                </p:cTn>
                              </p:par>
                              <p:par>
                                <p:cTn id="42" presetID="10" presetClass="entr" presetSubtype="0" fill="hold" grpId="0" nodeType="withEffect">
                                  <p:stCondLst>
                                    <p:cond delay="1300"/>
                                  </p:stCondLst>
                                  <p:childTnLst>
                                    <p:set>
                                      <p:cBhvr>
                                        <p:cTn id="43" dur="1" fill="hold">
                                          <p:stCondLst>
                                            <p:cond delay="0"/>
                                          </p:stCondLst>
                                        </p:cTn>
                                        <p:tgtEl>
                                          <p:spTgt spid="25"/>
                                        </p:tgtEl>
                                        <p:attrNameLst>
                                          <p:attrName>style.visibility</p:attrName>
                                        </p:attrNameLst>
                                      </p:cBhvr>
                                      <p:to>
                                        <p:strVal val="visible"/>
                                      </p:to>
                                    </p:set>
                                    <p:animEffect transition="in" filter="fade">
                                      <p:cBhvr>
                                        <p:cTn id="44" dur="500"/>
                                        <p:tgtEl>
                                          <p:spTgt spid="25"/>
                                        </p:tgtEl>
                                      </p:cBhvr>
                                    </p:animEffect>
                                  </p:childTnLst>
                                </p:cTn>
                              </p:par>
                              <p:par>
                                <p:cTn id="45" presetID="10" presetClass="entr" presetSubtype="0" fill="hold" grpId="0" nodeType="withEffect">
                                  <p:stCondLst>
                                    <p:cond delay="1600"/>
                                  </p:stCondLst>
                                  <p:childTnLst>
                                    <p:set>
                                      <p:cBhvr>
                                        <p:cTn id="46" dur="1" fill="hold">
                                          <p:stCondLst>
                                            <p:cond delay="0"/>
                                          </p:stCondLst>
                                        </p:cTn>
                                        <p:tgtEl>
                                          <p:spTgt spid="27"/>
                                        </p:tgtEl>
                                        <p:attrNameLst>
                                          <p:attrName>style.visibility</p:attrName>
                                        </p:attrNameLst>
                                      </p:cBhvr>
                                      <p:to>
                                        <p:strVal val="visible"/>
                                      </p:to>
                                    </p:set>
                                    <p:animEffect transition="in" filter="fade">
                                      <p:cBhvr>
                                        <p:cTn id="47"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6" grpId="0"/>
      <p:bldP spid="27"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2922622236"/>
              </p:ext>
            </p:extLst>
          </p:nvPr>
        </p:nvGraphicFramePr>
        <p:xfrm>
          <a:off x="1" y="15"/>
          <a:ext cx="119094" cy="119063"/>
        </p:xfrm>
        <a:graphic>
          <a:graphicData uri="http://schemas.openxmlformats.org/presentationml/2006/ole">
            <mc:AlternateContent xmlns:mc="http://schemas.openxmlformats.org/markup-compatibility/2006">
              <mc:Choice xmlns:v="urn:schemas-microsoft-com:vml" Requires="v">
                <p:oleObj spid="_x0000_s2085"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 y="15"/>
                        <a:ext cx="119094" cy="119063"/>
                      </a:xfrm>
                      <a:prstGeom prst="rect">
                        <a:avLst/>
                      </a:prstGeom>
                    </p:spPr>
                  </p:pic>
                </p:oleObj>
              </mc:Fallback>
            </mc:AlternateContent>
          </a:graphicData>
        </a:graphic>
      </p:graphicFrame>
      <p:sp>
        <p:nvSpPr>
          <p:cNvPr id="3" name="Title 2"/>
          <p:cNvSpPr>
            <a:spLocks noGrp="1"/>
          </p:cNvSpPr>
          <p:nvPr>
            <p:ph type="title"/>
            <p:custDataLst>
              <p:tags r:id="rId3"/>
            </p:custDataLst>
          </p:nvPr>
        </p:nvSpPr>
        <p:spPr>
          <a:xfrm>
            <a:off x="389436" y="171450"/>
            <a:ext cx="8363938" cy="457048"/>
          </a:xfrm>
        </p:spPr>
        <p:txBody>
          <a:bodyPr/>
          <a:lstStyle/>
          <a:p>
            <a:r>
              <a:rPr lang="en-IN" dirty="0" smtClean="0"/>
              <a:t>Common Scenarios</a:t>
            </a:r>
            <a:endParaRPr lang="en-US" dirty="0"/>
          </a:p>
        </p:txBody>
      </p:sp>
      <p:sp>
        <p:nvSpPr>
          <p:cNvPr id="63" name="Rectangle 62"/>
          <p:cNvSpPr/>
          <p:nvPr>
            <p:custDataLst>
              <p:tags r:id="rId4"/>
            </p:custDataLst>
          </p:nvPr>
        </p:nvSpPr>
        <p:spPr bwMode="auto">
          <a:xfrm>
            <a:off x="684222" y="899423"/>
            <a:ext cx="7678735" cy="4937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84" tIns="45693" rIns="45693" bIns="91384" numCol="1" spcCol="0" rtlCol="0" fromWordArt="0" anchor="ctr" anchorCtr="0" forceAA="0" compatLnSpc="1">
            <a:prstTxWarp prst="textNoShape">
              <a:avLst/>
            </a:prstTxWarp>
            <a:noAutofit/>
          </a:bodyPr>
          <a:lstStyle/>
          <a:p>
            <a:pPr marL="228471" algn="ctr" defTabSz="913567" fontAlgn="base">
              <a:spcBef>
                <a:spcPct val="0"/>
              </a:spcBef>
              <a:spcAft>
                <a:spcPct val="0"/>
              </a:spcAft>
            </a:pPr>
            <a:r>
              <a:rPr lang="en-US" sz="2100" dirty="0">
                <a:solidFill>
                  <a:srgbClr val="FFFFFF">
                    <a:alpha val="99000"/>
                  </a:srgbClr>
                </a:solidFill>
              </a:rPr>
              <a:t>Public Cloud</a:t>
            </a:r>
          </a:p>
        </p:txBody>
      </p:sp>
      <p:grpSp>
        <p:nvGrpSpPr>
          <p:cNvPr id="2" name="Group 1"/>
          <p:cNvGrpSpPr/>
          <p:nvPr/>
        </p:nvGrpSpPr>
        <p:grpSpPr>
          <a:xfrm>
            <a:off x="684215" y="1477359"/>
            <a:ext cx="7678736" cy="1436239"/>
            <a:chOff x="912049" y="1985042"/>
            <a:chExt cx="10235648" cy="1914985"/>
          </a:xfrm>
        </p:grpSpPr>
        <p:sp>
          <p:nvSpPr>
            <p:cNvPr id="61" name="Rectangle 60"/>
            <p:cNvSpPr/>
            <p:nvPr/>
          </p:nvSpPr>
          <p:spPr bwMode="auto">
            <a:xfrm>
              <a:off x="912049" y="1985042"/>
              <a:ext cx="10235648" cy="1914985"/>
            </a:xfrm>
            <a:prstGeom prst="rect">
              <a:avLst/>
            </a:prstGeom>
            <a:solidFill>
              <a:schemeClr val="accent5"/>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83" tIns="487532" rIns="121883" bIns="137160" numCol="1" rtlCol="0" anchor="b" anchorCtr="0" compatLnSpc="1">
              <a:prstTxWarp prst="textNoShape">
                <a:avLst/>
              </a:prstTxWarp>
              <a:noAutofit/>
            </a:bodyPr>
            <a:lstStyle/>
            <a:p>
              <a:pPr algn="ctr" defTabSz="1218106" fontAlgn="base">
                <a:lnSpc>
                  <a:spcPct val="90000"/>
                </a:lnSpc>
                <a:spcBef>
                  <a:spcPts val="840"/>
                </a:spcBef>
                <a:spcAft>
                  <a:spcPct val="0"/>
                </a:spcAft>
                <a:buClr>
                  <a:srgbClr val="FFFF99"/>
                </a:buClr>
                <a:buSzPct val="120000"/>
              </a:pPr>
              <a:r>
                <a:rPr lang="en-US" sz="1800" dirty="0">
                  <a:ln>
                    <a:solidFill>
                      <a:srgbClr val="FFFFFF">
                        <a:alpha val="0"/>
                      </a:srgbClr>
                    </a:solidFill>
                  </a:ln>
                  <a:gradFill>
                    <a:gsLst>
                      <a:gs pos="0">
                        <a:schemeClr val="tx1"/>
                      </a:gs>
                      <a:gs pos="100000">
                        <a:schemeClr val="tx1"/>
                      </a:gs>
                    </a:gsLst>
                    <a:lin ang="5400000" scaled="0"/>
                  </a:gradFill>
                  <a:cs typeface="Segoe UI" pitchFamily="34" charset="0"/>
                </a:rPr>
                <a:t>SQL Server in a Windows Azure Virtual Machine</a:t>
              </a:r>
            </a:p>
          </p:txBody>
        </p:sp>
        <p:pic>
          <p:nvPicPr>
            <p:cNvPr id="64" name="Picture 63"/>
            <p:cNvPicPr>
              <a:picLocks noChangeAspect="1"/>
            </p:cNvPicPr>
            <p:nvPr/>
          </p:nvPicPr>
          <p:blipFill>
            <a:blip r:embed="rId14">
              <a:extLst>
                <a:ext uri="{BEBA8EAE-BF5A-486C-A8C5-ECC9F3942E4B}">
                  <a14:imgProps xmlns:a14="http://schemas.microsoft.com/office/drawing/2010/main">
                    <a14:imgLayer r:embed="rId1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307004" y="2113287"/>
              <a:ext cx="1820624" cy="1238028"/>
            </a:xfrm>
            <a:prstGeom prst="rect">
              <a:avLst/>
            </a:prstGeom>
          </p:spPr>
        </p:pic>
      </p:grpSp>
      <p:grpSp>
        <p:nvGrpSpPr>
          <p:cNvPr id="7" name="Group 6"/>
          <p:cNvGrpSpPr/>
          <p:nvPr/>
        </p:nvGrpSpPr>
        <p:grpSpPr>
          <a:xfrm>
            <a:off x="684215" y="3020612"/>
            <a:ext cx="1828800" cy="1722845"/>
            <a:chOff x="912049" y="4027473"/>
            <a:chExt cx="2437765" cy="2297127"/>
          </a:xfrm>
        </p:grpSpPr>
        <p:sp>
          <p:nvSpPr>
            <p:cNvPr id="73" name="Rectangle 72"/>
            <p:cNvSpPr>
              <a:spLocks/>
            </p:cNvSpPr>
            <p:nvPr>
              <p:custDataLst>
                <p:tags r:id="rId8"/>
              </p:custDataLst>
            </p:nvPr>
          </p:nvSpPr>
          <p:spPr bwMode="auto">
            <a:xfrm>
              <a:off x="912049" y="4027473"/>
              <a:ext cx="2437765" cy="2297127"/>
            </a:xfrm>
            <a:prstGeom prst="rect">
              <a:avLst/>
            </a:prstGeom>
            <a:solidFill>
              <a:schemeClr val="accent1"/>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60949" tIns="1340885" rIns="60949" bIns="137160" numCol="1" rtlCol="0" anchor="b" anchorCtr="0" compatLnSpc="1">
              <a:prstTxWarp prst="textNoShape">
                <a:avLst/>
              </a:prstTxWarp>
              <a:noAutofit/>
            </a:bodyPr>
            <a:lstStyle/>
            <a:p>
              <a:pPr algn="ctr" defTabSz="1218106" fontAlgn="base">
                <a:spcBef>
                  <a:spcPts val="840"/>
                </a:spcBef>
                <a:spcAft>
                  <a:spcPct val="0"/>
                </a:spcAft>
                <a:buClr>
                  <a:schemeClr val="bg2">
                    <a:lumMod val="75000"/>
                  </a:schemeClr>
                </a:buClr>
                <a:buSzPct val="100000"/>
              </a:pPr>
              <a:r>
                <a:rPr lang="en-US" sz="1500" dirty="0">
                  <a:gradFill>
                    <a:gsLst>
                      <a:gs pos="0">
                        <a:schemeClr val="tx1"/>
                      </a:gs>
                      <a:gs pos="100000">
                        <a:schemeClr val="tx1"/>
                      </a:gs>
                    </a:gsLst>
                    <a:lin ang="5400000" scaled="0"/>
                  </a:gradFill>
                  <a:cs typeface="Segoe UI" pitchFamily="34" charset="0"/>
                </a:rPr>
                <a:t>move existing </a:t>
              </a:r>
              <a:br>
                <a:rPr lang="en-US" sz="1500" dirty="0">
                  <a:gradFill>
                    <a:gsLst>
                      <a:gs pos="0">
                        <a:schemeClr val="tx1"/>
                      </a:gs>
                      <a:gs pos="100000">
                        <a:schemeClr val="tx1"/>
                      </a:gs>
                    </a:gsLst>
                    <a:lin ang="5400000" scaled="0"/>
                  </a:gradFill>
                  <a:cs typeface="Segoe UI" pitchFamily="34" charset="0"/>
                </a:rPr>
              </a:br>
              <a:r>
                <a:rPr lang="en-US" sz="1500" dirty="0">
                  <a:gradFill>
                    <a:gsLst>
                      <a:gs pos="0">
                        <a:schemeClr val="tx1"/>
                      </a:gs>
                      <a:gs pos="100000">
                        <a:schemeClr val="tx1"/>
                      </a:gs>
                    </a:gsLst>
                    <a:lin ang="5400000" scaled="0"/>
                  </a:gradFill>
                  <a:cs typeface="Segoe UI" pitchFamily="34" charset="0"/>
                </a:rPr>
                <a:t>tier 2 &amp; 3 apps</a:t>
              </a:r>
            </a:p>
          </p:txBody>
        </p:sp>
        <p:grpSp>
          <p:nvGrpSpPr>
            <p:cNvPr id="74" name="Group 73"/>
            <p:cNvGrpSpPr/>
            <p:nvPr>
              <p:custDataLst>
                <p:tags r:id="rId9"/>
              </p:custDataLst>
            </p:nvPr>
          </p:nvGrpSpPr>
          <p:grpSpPr>
            <a:xfrm>
              <a:off x="1202818" y="4385866"/>
              <a:ext cx="1856227" cy="743376"/>
              <a:chOff x="683122" y="3143323"/>
              <a:chExt cx="1092016" cy="428533"/>
            </a:xfrm>
          </p:grpSpPr>
          <p:pic>
            <p:nvPicPr>
              <p:cNvPr id="75" name="Picture 74"/>
              <p:cNvPicPr>
                <a:picLocks noChangeAspect="1"/>
              </p:cNvPicPr>
              <p:nvPr/>
            </p:nvPicPr>
            <p:blipFill rotWithShape="1">
              <a:blip r:embed="rId16" cstate="print">
                <a:extLst>
                  <a:ext uri="{28A0092B-C50C-407E-A947-70E740481C1C}">
                    <a14:useLocalDpi xmlns:a14="http://schemas.microsoft.com/office/drawing/2010/main" val="0"/>
                  </a:ext>
                </a:extLst>
              </a:blip>
              <a:srcRect l="27680"/>
              <a:stretch/>
            </p:blipFill>
            <p:spPr>
              <a:xfrm>
                <a:off x="1022176" y="3143323"/>
                <a:ext cx="752962" cy="428533"/>
              </a:xfrm>
              <a:prstGeom prst="rect">
                <a:avLst/>
              </a:prstGeom>
            </p:spPr>
          </p:pic>
          <p:pic>
            <p:nvPicPr>
              <p:cNvPr id="76" name="Picture 75"/>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683122" y="3224792"/>
                <a:ext cx="339653" cy="265593"/>
              </a:xfrm>
              <a:prstGeom prst="rect">
                <a:avLst/>
              </a:prstGeom>
            </p:spPr>
          </p:pic>
        </p:grpSp>
      </p:grpSp>
      <p:grpSp>
        <p:nvGrpSpPr>
          <p:cNvPr id="6" name="Group 5"/>
          <p:cNvGrpSpPr/>
          <p:nvPr/>
        </p:nvGrpSpPr>
        <p:grpSpPr>
          <a:xfrm>
            <a:off x="2634194" y="3020612"/>
            <a:ext cx="1828800" cy="1722845"/>
            <a:chOff x="3511990" y="4027474"/>
            <a:chExt cx="2437765" cy="2297127"/>
          </a:xfrm>
        </p:grpSpPr>
        <p:sp>
          <p:nvSpPr>
            <p:cNvPr id="47" name="Rectangle 46"/>
            <p:cNvSpPr>
              <a:spLocks/>
            </p:cNvSpPr>
            <p:nvPr>
              <p:custDataLst>
                <p:tags r:id="rId7"/>
              </p:custDataLst>
            </p:nvPr>
          </p:nvSpPr>
          <p:spPr bwMode="auto">
            <a:xfrm>
              <a:off x="3511990" y="4027474"/>
              <a:ext cx="2437765" cy="2297127"/>
            </a:xfrm>
            <a:prstGeom prst="rect">
              <a:avLst/>
            </a:prstGeom>
            <a:solidFill>
              <a:schemeClr val="accent1"/>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60949" tIns="1340885" rIns="60949" bIns="137160" numCol="1" rtlCol="0" anchor="b" anchorCtr="0" compatLnSpc="1">
              <a:prstTxWarp prst="textNoShape">
                <a:avLst/>
              </a:prstTxWarp>
              <a:noAutofit/>
            </a:bodyPr>
            <a:lstStyle/>
            <a:p>
              <a:pPr algn="ctr" defTabSz="1218106" fontAlgn="base">
                <a:spcBef>
                  <a:spcPts val="840"/>
                </a:spcBef>
                <a:spcAft>
                  <a:spcPct val="0"/>
                </a:spcAft>
                <a:buClr>
                  <a:schemeClr val="bg2">
                    <a:lumMod val="75000"/>
                  </a:schemeClr>
                </a:buClr>
                <a:buSzPct val="100000"/>
              </a:pPr>
              <a:r>
                <a:rPr lang="en-US" sz="1500" dirty="0">
                  <a:gradFill>
                    <a:gsLst>
                      <a:gs pos="0">
                        <a:schemeClr val="tx1"/>
                      </a:gs>
                      <a:gs pos="100000">
                        <a:schemeClr val="tx1"/>
                      </a:gs>
                    </a:gsLst>
                    <a:lin ang="5400000" scaled="0"/>
                  </a:gradFill>
                  <a:cs typeface="Segoe UI" pitchFamily="34" charset="0"/>
                </a:rPr>
                <a:t>develop </a:t>
              </a:r>
              <a:br>
                <a:rPr lang="en-US" sz="1500" dirty="0">
                  <a:gradFill>
                    <a:gsLst>
                      <a:gs pos="0">
                        <a:schemeClr val="tx1"/>
                      </a:gs>
                      <a:gs pos="100000">
                        <a:schemeClr val="tx1"/>
                      </a:gs>
                    </a:gsLst>
                    <a:lin ang="5400000" scaled="0"/>
                  </a:gradFill>
                  <a:cs typeface="Segoe UI" pitchFamily="34" charset="0"/>
                </a:rPr>
              </a:br>
              <a:r>
                <a:rPr lang="en-US" sz="1500" dirty="0">
                  <a:gradFill>
                    <a:gsLst>
                      <a:gs pos="0">
                        <a:schemeClr val="tx1"/>
                      </a:gs>
                      <a:gs pos="100000">
                        <a:schemeClr val="tx1"/>
                      </a:gs>
                    </a:gsLst>
                    <a:lin ang="5400000" scaled="0"/>
                  </a:gradFill>
                  <a:cs typeface="Segoe UI" pitchFamily="34" charset="0"/>
                </a:rPr>
                <a:t>&amp; test </a:t>
              </a:r>
            </a:p>
          </p:txBody>
        </p:sp>
        <p:pic>
          <p:nvPicPr>
            <p:cNvPr id="77" name="Picture 76"/>
            <p:cNvPicPr>
              <a:picLocks noChangeAspect="1"/>
            </p:cNvPicPr>
            <p:nvPr/>
          </p:nvPicPr>
          <p:blipFill>
            <a:blip r:embed="rId18" cstate="print">
              <a:extLst>
                <a:ext uri="{BEBA8EAE-BF5A-486C-A8C5-ECC9F3942E4B}">
                  <a14:imgProps xmlns:a14="http://schemas.microsoft.com/office/drawing/2010/main">
                    <a14:imgLayer r:embed="rId1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073981" y="4352012"/>
              <a:ext cx="1351446" cy="811080"/>
            </a:xfrm>
            <a:prstGeom prst="rect">
              <a:avLst/>
            </a:prstGeom>
          </p:spPr>
        </p:pic>
      </p:grpSp>
      <p:grpSp>
        <p:nvGrpSpPr>
          <p:cNvPr id="5" name="Group 4"/>
          <p:cNvGrpSpPr/>
          <p:nvPr/>
        </p:nvGrpSpPr>
        <p:grpSpPr>
          <a:xfrm>
            <a:off x="4584173" y="3020612"/>
            <a:ext cx="1828800" cy="1722845"/>
            <a:chOff x="6107105" y="4027474"/>
            <a:chExt cx="2437765" cy="2297127"/>
          </a:xfrm>
        </p:grpSpPr>
        <p:sp>
          <p:nvSpPr>
            <p:cNvPr id="50" name="Rectangle 49"/>
            <p:cNvSpPr>
              <a:spLocks/>
            </p:cNvSpPr>
            <p:nvPr>
              <p:custDataLst>
                <p:tags r:id="rId6"/>
              </p:custDataLst>
            </p:nvPr>
          </p:nvSpPr>
          <p:spPr bwMode="auto">
            <a:xfrm>
              <a:off x="6107105" y="4027474"/>
              <a:ext cx="2437765" cy="2297127"/>
            </a:xfrm>
            <a:prstGeom prst="rect">
              <a:avLst/>
            </a:prstGeom>
            <a:solidFill>
              <a:schemeClr val="accent1"/>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60949" tIns="1340885" rIns="60949" bIns="137160" numCol="1" rtlCol="0" anchor="b" anchorCtr="0" compatLnSpc="1">
              <a:prstTxWarp prst="textNoShape">
                <a:avLst/>
              </a:prstTxWarp>
              <a:noAutofit/>
            </a:bodyPr>
            <a:lstStyle/>
            <a:p>
              <a:pPr algn="ctr" defTabSz="1218106" fontAlgn="base">
                <a:spcBef>
                  <a:spcPts val="840"/>
                </a:spcBef>
                <a:spcAft>
                  <a:spcPct val="0"/>
                </a:spcAft>
                <a:buClr>
                  <a:schemeClr val="bg2">
                    <a:lumMod val="75000"/>
                  </a:schemeClr>
                </a:buClr>
                <a:buSzPct val="100000"/>
              </a:pPr>
              <a:r>
                <a:rPr lang="en-US" sz="1500" dirty="0">
                  <a:gradFill>
                    <a:gsLst>
                      <a:gs pos="0">
                        <a:schemeClr val="tx1"/>
                      </a:gs>
                      <a:gs pos="100000">
                        <a:schemeClr val="tx1"/>
                      </a:gs>
                    </a:gsLst>
                    <a:lin ang="5400000" scaled="0"/>
                  </a:gradFill>
                  <a:cs typeface="Segoe UI" pitchFamily="34" charset="0"/>
                </a:rPr>
                <a:t>backup database </a:t>
              </a:r>
              <a:br>
                <a:rPr lang="en-US" sz="1500" dirty="0">
                  <a:gradFill>
                    <a:gsLst>
                      <a:gs pos="0">
                        <a:schemeClr val="tx1"/>
                      </a:gs>
                      <a:gs pos="100000">
                        <a:schemeClr val="tx1"/>
                      </a:gs>
                    </a:gsLst>
                    <a:lin ang="5400000" scaled="0"/>
                  </a:gradFill>
                  <a:cs typeface="Segoe UI" pitchFamily="34" charset="0"/>
                </a:rPr>
              </a:br>
              <a:r>
                <a:rPr lang="en-US" sz="1500" dirty="0">
                  <a:gradFill>
                    <a:gsLst>
                      <a:gs pos="0">
                        <a:schemeClr val="tx1"/>
                      </a:gs>
                      <a:gs pos="100000">
                        <a:schemeClr val="tx1"/>
                      </a:gs>
                    </a:gsLst>
                    <a:lin ang="5400000" scaled="0"/>
                  </a:gradFill>
                  <a:cs typeface="Segoe UI" pitchFamily="34" charset="0"/>
                </a:rPr>
                <a:t>to the cloud</a:t>
              </a:r>
            </a:p>
          </p:txBody>
        </p:sp>
        <p:pic>
          <p:nvPicPr>
            <p:cNvPr id="78" name="Picture 77"/>
            <p:cNvPicPr>
              <a:picLocks noChangeAspect="1"/>
            </p:cNvPicPr>
            <p:nvPr/>
          </p:nvPicPr>
          <p:blipFill>
            <a:blip r:embed="rId20" cstate="print">
              <a:extLst>
                <a:ext uri="{BEBA8EAE-BF5A-486C-A8C5-ECC9F3942E4B}">
                  <a14:imgProps xmlns:a14="http://schemas.microsoft.com/office/drawing/2010/main">
                    <a14:imgLayer r:embed="rId2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435879" y="4401888"/>
              <a:ext cx="1805616" cy="743377"/>
            </a:xfrm>
            <a:prstGeom prst="rect">
              <a:avLst/>
            </a:prstGeom>
          </p:spPr>
        </p:pic>
      </p:grpSp>
      <p:grpSp>
        <p:nvGrpSpPr>
          <p:cNvPr id="4" name="Group 3"/>
          <p:cNvGrpSpPr/>
          <p:nvPr/>
        </p:nvGrpSpPr>
        <p:grpSpPr>
          <a:xfrm>
            <a:off x="6534152" y="3020612"/>
            <a:ext cx="1828800" cy="1722845"/>
            <a:chOff x="8709932" y="4027471"/>
            <a:chExt cx="2437765" cy="2297127"/>
          </a:xfrm>
        </p:grpSpPr>
        <p:sp>
          <p:nvSpPr>
            <p:cNvPr id="53" name="Rectangle 52"/>
            <p:cNvSpPr>
              <a:spLocks/>
            </p:cNvSpPr>
            <p:nvPr>
              <p:custDataLst>
                <p:tags r:id="rId5"/>
              </p:custDataLst>
            </p:nvPr>
          </p:nvSpPr>
          <p:spPr bwMode="auto">
            <a:xfrm>
              <a:off x="8709932" y="4027471"/>
              <a:ext cx="2437765" cy="2297127"/>
            </a:xfrm>
            <a:prstGeom prst="rect">
              <a:avLst/>
            </a:prstGeom>
            <a:solidFill>
              <a:schemeClr val="accent1"/>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60949" tIns="1340885" rIns="60949" bIns="137160" numCol="1" rtlCol="0" anchor="b" anchorCtr="0" compatLnSpc="1">
              <a:prstTxWarp prst="textNoShape">
                <a:avLst/>
              </a:prstTxWarp>
              <a:noAutofit/>
            </a:bodyPr>
            <a:lstStyle/>
            <a:p>
              <a:pPr algn="ctr" defTabSz="1218106" fontAlgn="base">
                <a:spcAft>
                  <a:spcPts val="900"/>
                </a:spcAft>
                <a:buClr>
                  <a:schemeClr val="bg2">
                    <a:lumMod val="75000"/>
                  </a:schemeClr>
                </a:buClr>
                <a:buSzPct val="100000"/>
              </a:pPr>
              <a:r>
                <a:rPr lang="en-US" sz="1500" dirty="0">
                  <a:ln>
                    <a:solidFill>
                      <a:srgbClr val="FFFFFF">
                        <a:alpha val="0"/>
                      </a:srgbClr>
                    </a:solidFill>
                  </a:ln>
                  <a:gradFill>
                    <a:gsLst>
                      <a:gs pos="0">
                        <a:schemeClr val="tx1"/>
                      </a:gs>
                      <a:gs pos="100000">
                        <a:schemeClr val="tx1"/>
                      </a:gs>
                    </a:gsLst>
                    <a:lin ang="5400000" scaled="0"/>
                  </a:gradFill>
                  <a:cs typeface="Segoe UI" pitchFamily="34" charset="0"/>
                </a:rPr>
                <a:t>extend on-prem </a:t>
              </a:r>
              <a:br>
                <a:rPr lang="en-US" sz="1500" dirty="0">
                  <a:ln>
                    <a:solidFill>
                      <a:srgbClr val="FFFFFF">
                        <a:alpha val="0"/>
                      </a:srgbClr>
                    </a:solidFill>
                  </a:ln>
                  <a:gradFill>
                    <a:gsLst>
                      <a:gs pos="0">
                        <a:schemeClr val="tx1"/>
                      </a:gs>
                      <a:gs pos="100000">
                        <a:schemeClr val="tx1"/>
                      </a:gs>
                    </a:gsLst>
                    <a:lin ang="5400000" scaled="0"/>
                  </a:gradFill>
                  <a:cs typeface="Segoe UI" pitchFamily="34" charset="0"/>
                </a:rPr>
              </a:br>
              <a:r>
                <a:rPr lang="en-US" sz="1500" dirty="0">
                  <a:ln>
                    <a:solidFill>
                      <a:srgbClr val="FFFFFF">
                        <a:alpha val="0"/>
                      </a:srgbClr>
                    </a:solidFill>
                  </a:ln>
                  <a:gradFill>
                    <a:gsLst>
                      <a:gs pos="0">
                        <a:schemeClr val="tx1"/>
                      </a:gs>
                      <a:gs pos="100000">
                        <a:schemeClr val="tx1"/>
                      </a:gs>
                    </a:gsLst>
                    <a:lin ang="5400000" scaled="0"/>
                  </a:gradFill>
                  <a:cs typeface="Segoe UI" pitchFamily="34" charset="0"/>
                </a:rPr>
                <a:t>applications</a:t>
              </a:r>
            </a:p>
          </p:txBody>
        </p:sp>
        <p:pic>
          <p:nvPicPr>
            <p:cNvPr id="79" name="Picture 78"/>
            <p:cNvPicPr>
              <a:picLocks noChangeAspect="1"/>
            </p:cNvPicPr>
            <p:nvPr/>
          </p:nvPicPr>
          <p:blipFill>
            <a:blip r:embed="rId22" cstate="print">
              <a:extLst>
                <a:ext uri="{BEBA8EAE-BF5A-486C-A8C5-ECC9F3942E4B}">
                  <a14:imgProps xmlns:a14="http://schemas.microsoft.com/office/drawing/2010/main">
                    <a14:imgLayer r:embed="rId23">
                      <a14:imgEffect>
                        <a14:colorTemperature colorTemp="11500"/>
                      </a14:imgEffect>
                      <a14:imgEffect>
                        <a14:saturation sat="85000"/>
                      </a14:imgEffect>
                    </a14:imgLayer>
                  </a14:imgProps>
                </a:ext>
                <a:ext uri="{28A0092B-C50C-407E-A947-70E740481C1C}">
                  <a14:useLocalDpi xmlns:a14="http://schemas.microsoft.com/office/drawing/2010/main" val="0"/>
                </a:ext>
              </a:extLst>
            </a:blip>
            <a:stretch>
              <a:fillRect/>
            </a:stretch>
          </p:blipFill>
          <p:spPr>
            <a:xfrm>
              <a:off x="9218761" y="4298764"/>
              <a:ext cx="1418502" cy="1114546"/>
            </a:xfrm>
            <a:prstGeom prst="rect">
              <a:avLst/>
            </a:prstGeom>
          </p:spPr>
        </p:pic>
      </p:grpSp>
      <p:sp>
        <p:nvSpPr>
          <p:cNvPr id="22"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3"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4"/>
              </a:rPr>
              <a:t>www.rapidbbs.cn</a:t>
            </a:r>
            <a:endParaRPr lang="zh-CN" altLang="en-US" sz="1200" b="0">
              <a:latin typeface="Arial" charset="0"/>
              <a:ea typeface="ＭＳ Ｐゴシック" pitchFamily="34" charset="-128"/>
            </a:endParaRPr>
          </a:p>
        </p:txBody>
      </p:sp>
      <p:pic>
        <p:nvPicPr>
          <p:cNvPr id="24" name="Picture 2">
            <a:hlinkClick r:id="rId24"/>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49124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3" name="Montenegro"/>
          <p:cNvSpPr>
            <a:spLocks/>
          </p:cNvSpPr>
          <p:nvPr/>
        </p:nvSpPr>
        <p:spPr bwMode="auto">
          <a:xfrm>
            <a:off x="4745708" y="1558689"/>
            <a:ext cx="34298" cy="38438"/>
          </a:xfrm>
          <a:custGeom>
            <a:avLst/>
            <a:gdLst>
              <a:gd name="T0" fmla="*/ 744 w 744"/>
              <a:gd name="T1" fmla="*/ 364 h 834"/>
              <a:gd name="T2" fmla="*/ 654 w 744"/>
              <a:gd name="T3" fmla="*/ 258 h 834"/>
              <a:gd name="T4" fmla="*/ 586 w 744"/>
              <a:gd name="T5" fmla="*/ 208 h 834"/>
              <a:gd name="T6" fmla="*/ 529 w 744"/>
              <a:gd name="T7" fmla="*/ 208 h 834"/>
              <a:gd name="T8" fmla="*/ 517 w 744"/>
              <a:gd name="T9" fmla="*/ 178 h 834"/>
              <a:gd name="T10" fmla="*/ 435 w 744"/>
              <a:gd name="T11" fmla="*/ 133 h 834"/>
              <a:gd name="T12" fmla="*/ 317 w 744"/>
              <a:gd name="T13" fmla="*/ 0 h 834"/>
              <a:gd name="T14" fmla="*/ 220 w 744"/>
              <a:gd name="T15" fmla="*/ 0 h 834"/>
              <a:gd name="T16" fmla="*/ 272 w 744"/>
              <a:gd name="T17" fmla="*/ 114 h 834"/>
              <a:gd name="T18" fmla="*/ 208 w 744"/>
              <a:gd name="T19" fmla="*/ 126 h 834"/>
              <a:gd name="T20" fmla="*/ 182 w 744"/>
              <a:gd name="T21" fmla="*/ 55 h 834"/>
              <a:gd name="T22" fmla="*/ 102 w 744"/>
              <a:gd name="T23" fmla="*/ 107 h 834"/>
              <a:gd name="T24" fmla="*/ 106 w 744"/>
              <a:gd name="T25" fmla="*/ 234 h 834"/>
              <a:gd name="T26" fmla="*/ 57 w 744"/>
              <a:gd name="T27" fmla="*/ 234 h 834"/>
              <a:gd name="T28" fmla="*/ 19 w 744"/>
              <a:gd name="T29" fmla="*/ 364 h 834"/>
              <a:gd name="T30" fmla="*/ 87 w 744"/>
              <a:gd name="T31" fmla="*/ 447 h 834"/>
              <a:gd name="T32" fmla="*/ 7 w 744"/>
              <a:gd name="T33" fmla="*/ 473 h 834"/>
              <a:gd name="T34" fmla="*/ 26 w 744"/>
              <a:gd name="T35" fmla="*/ 579 h 834"/>
              <a:gd name="T36" fmla="*/ 0 w 744"/>
              <a:gd name="T37" fmla="*/ 603 h 834"/>
              <a:gd name="T38" fmla="*/ 0 w 744"/>
              <a:gd name="T39" fmla="*/ 612 h 834"/>
              <a:gd name="T40" fmla="*/ 45 w 744"/>
              <a:gd name="T41" fmla="*/ 612 h 834"/>
              <a:gd name="T42" fmla="*/ 135 w 744"/>
              <a:gd name="T43" fmla="*/ 699 h 834"/>
              <a:gd name="T44" fmla="*/ 224 w 744"/>
              <a:gd name="T45" fmla="*/ 744 h 834"/>
              <a:gd name="T46" fmla="*/ 314 w 744"/>
              <a:gd name="T47" fmla="*/ 789 h 834"/>
              <a:gd name="T48" fmla="*/ 359 w 744"/>
              <a:gd name="T49" fmla="*/ 834 h 834"/>
              <a:gd name="T50" fmla="*/ 366 w 744"/>
              <a:gd name="T51" fmla="*/ 827 h 834"/>
              <a:gd name="T52" fmla="*/ 361 w 744"/>
              <a:gd name="T53" fmla="*/ 747 h 834"/>
              <a:gd name="T54" fmla="*/ 359 w 744"/>
              <a:gd name="T55" fmla="*/ 744 h 834"/>
              <a:gd name="T56" fmla="*/ 359 w 744"/>
              <a:gd name="T57" fmla="*/ 699 h 834"/>
              <a:gd name="T58" fmla="*/ 340 w 744"/>
              <a:gd name="T59" fmla="*/ 699 h 834"/>
              <a:gd name="T60" fmla="*/ 503 w 744"/>
              <a:gd name="T61" fmla="*/ 409 h 834"/>
              <a:gd name="T62" fmla="*/ 529 w 744"/>
              <a:gd name="T63" fmla="*/ 536 h 834"/>
              <a:gd name="T64" fmla="*/ 616 w 744"/>
              <a:gd name="T65" fmla="*/ 492 h 834"/>
              <a:gd name="T66" fmla="*/ 616 w 744"/>
              <a:gd name="T67" fmla="*/ 435 h 834"/>
              <a:gd name="T68" fmla="*/ 616 w 744"/>
              <a:gd name="T69" fmla="*/ 364 h 834"/>
              <a:gd name="T70" fmla="*/ 706 w 744"/>
              <a:gd name="T71" fmla="*/ 364 h 834"/>
              <a:gd name="T72" fmla="*/ 744 w 744"/>
              <a:gd name="T73" fmla="*/ 364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4" h="834">
                <a:moveTo>
                  <a:pt x="744" y="364"/>
                </a:moveTo>
                <a:lnTo>
                  <a:pt x="654" y="258"/>
                </a:lnTo>
                <a:lnTo>
                  <a:pt x="586" y="208"/>
                </a:lnTo>
                <a:lnTo>
                  <a:pt x="529" y="208"/>
                </a:lnTo>
                <a:lnTo>
                  <a:pt x="517" y="178"/>
                </a:lnTo>
                <a:lnTo>
                  <a:pt x="435" y="133"/>
                </a:lnTo>
                <a:lnTo>
                  <a:pt x="317" y="0"/>
                </a:lnTo>
                <a:lnTo>
                  <a:pt x="220" y="0"/>
                </a:lnTo>
                <a:lnTo>
                  <a:pt x="272" y="114"/>
                </a:lnTo>
                <a:lnTo>
                  <a:pt x="208" y="126"/>
                </a:lnTo>
                <a:lnTo>
                  <a:pt x="182" y="55"/>
                </a:lnTo>
                <a:lnTo>
                  <a:pt x="102" y="107"/>
                </a:lnTo>
                <a:lnTo>
                  <a:pt x="106" y="234"/>
                </a:lnTo>
                <a:lnTo>
                  <a:pt x="57" y="234"/>
                </a:lnTo>
                <a:lnTo>
                  <a:pt x="19" y="364"/>
                </a:lnTo>
                <a:lnTo>
                  <a:pt x="87" y="447"/>
                </a:lnTo>
                <a:lnTo>
                  <a:pt x="7" y="473"/>
                </a:lnTo>
                <a:lnTo>
                  <a:pt x="26" y="579"/>
                </a:lnTo>
                <a:lnTo>
                  <a:pt x="0" y="603"/>
                </a:lnTo>
                <a:lnTo>
                  <a:pt x="0" y="612"/>
                </a:lnTo>
                <a:lnTo>
                  <a:pt x="45" y="612"/>
                </a:lnTo>
                <a:lnTo>
                  <a:pt x="135" y="699"/>
                </a:lnTo>
                <a:lnTo>
                  <a:pt x="224" y="744"/>
                </a:lnTo>
                <a:lnTo>
                  <a:pt x="314" y="789"/>
                </a:lnTo>
                <a:lnTo>
                  <a:pt x="359" y="834"/>
                </a:lnTo>
                <a:lnTo>
                  <a:pt x="366" y="827"/>
                </a:lnTo>
                <a:lnTo>
                  <a:pt x="361" y="747"/>
                </a:lnTo>
                <a:lnTo>
                  <a:pt x="359" y="744"/>
                </a:lnTo>
                <a:lnTo>
                  <a:pt x="359" y="699"/>
                </a:lnTo>
                <a:lnTo>
                  <a:pt x="340" y="699"/>
                </a:lnTo>
                <a:lnTo>
                  <a:pt x="503" y="409"/>
                </a:lnTo>
                <a:lnTo>
                  <a:pt x="529" y="536"/>
                </a:lnTo>
                <a:lnTo>
                  <a:pt x="616" y="492"/>
                </a:lnTo>
                <a:lnTo>
                  <a:pt x="616" y="435"/>
                </a:lnTo>
                <a:lnTo>
                  <a:pt x="616" y="364"/>
                </a:lnTo>
                <a:lnTo>
                  <a:pt x="706" y="364"/>
                </a:lnTo>
                <a:lnTo>
                  <a:pt x="744" y="364"/>
                </a:lnTo>
                <a:close/>
              </a:path>
            </a:pathLst>
          </a:custGeom>
          <a:solidFill>
            <a:schemeClr val="tx1"/>
          </a:solidFill>
          <a:ln w="6350">
            <a:solidFill>
              <a:schemeClr val="tx1"/>
            </a:solidFill>
          </a:ln>
        </p:spPr>
        <p:txBody>
          <a:bodyPr vert="horz" wrap="square" lIns="68589" tIns="34295" rIns="68589" bIns="34295" numCol="1" anchor="t" anchorCtr="0" compatLnSpc="1">
            <a:prstTxWarp prst="textNoShape">
              <a:avLst/>
            </a:prstTxWarp>
          </a:bodyPr>
          <a:lstStyle/>
          <a:p>
            <a:endParaRPr lang="en-US" dirty="0"/>
          </a:p>
        </p:txBody>
      </p:sp>
      <p:sp>
        <p:nvSpPr>
          <p:cNvPr id="443" name="Monaco"/>
          <p:cNvSpPr>
            <a:spLocks/>
          </p:cNvSpPr>
          <p:nvPr/>
        </p:nvSpPr>
        <p:spPr bwMode="auto">
          <a:xfrm>
            <a:off x="4487381" y="1545416"/>
            <a:ext cx="11394" cy="9104"/>
          </a:xfrm>
          <a:custGeom>
            <a:avLst/>
            <a:gdLst/>
            <a:ahLst/>
            <a:cxnLst>
              <a:cxn ang="0">
                <a:pos x="8" y="8"/>
              </a:cxn>
              <a:cxn ang="0">
                <a:pos x="8" y="8"/>
              </a:cxn>
              <a:cxn ang="0">
                <a:pos x="0" y="8"/>
              </a:cxn>
              <a:cxn ang="0">
                <a:pos x="0" y="8"/>
              </a:cxn>
              <a:cxn ang="0">
                <a:pos x="4" y="4"/>
              </a:cxn>
              <a:cxn ang="0">
                <a:pos x="8" y="0"/>
              </a:cxn>
              <a:cxn ang="0">
                <a:pos x="8" y="0"/>
              </a:cxn>
              <a:cxn ang="0">
                <a:pos x="10" y="2"/>
              </a:cxn>
              <a:cxn ang="0">
                <a:pos x="8" y="8"/>
              </a:cxn>
              <a:cxn ang="0">
                <a:pos x="8" y="8"/>
              </a:cxn>
            </a:cxnLst>
            <a:rect l="0" t="0" r="r" b="b"/>
            <a:pathLst>
              <a:path w="10" h="8">
                <a:moveTo>
                  <a:pt x="8" y="8"/>
                </a:moveTo>
                <a:lnTo>
                  <a:pt x="8" y="8"/>
                </a:lnTo>
                <a:lnTo>
                  <a:pt x="0" y="8"/>
                </a:lnTo>
                <a:lnTo>
                  <a:pt x="0" y="8"/>
                </a:lnTo>
                <a:lnTo>
                  <a:pt x="4" y="4"/>
                </a:lnTo>
                <a:lnTo>
                  <a:pt x="8" y="0"/>
                </a:lnTo>
                <a:lnTo>
                  <a:pt x="8" y="0"/>
                </a:lnTo>
                <a:lnTo>
                  <a:pt x="10" y="2"/>
                </a:lnTo>
                <a:lnTo>
                  <a:pt x="8" y="8"/>
                </a:lnTo>
                <a:lnTo>
                  <a:pt x="8" y="8"/>
                </a:lnTo>
                <a:close/>
              </a:path>
            </a:pathLst>
          </a:custGeom>
          <a:solidFill>
            <a:schemeClr val="tx1"/>
          </a:solidFill>
          <a:ln w="6350">
            <a:solidFill>
              <a:schemeClr val="tx1"/>
            </a:solid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421" name="Malta"/>
          <p:cNvSpPr>
            <a:spLocks/>
          </p:cNvSpPr>
          <p:nvPr/>
        </p:nvSpPr>
        <p:spPr bwMode="auto">
          <a:xfrm>
            <a:off x="4642444" y="1742242"/>
            <a:ext cx="13673" cy="11381"/>
          </a:xfrm>
          <a:custGeom>
            <a:avLst/>
            <a:gdLst/>
            <a:ahLst/>
            <a:cxnLst>
              <a:cxn ang="0">
                <a:pos x="6" y="0"/>
              </a:cxn>
              <a:cxn ang="0">
                <a:pos x="6" y="0"/>
              </a:cxn>
              <a:cxn ang="0">
                <a:pos x="4" y="0"/>
              </a:cxn>
              <a:cxn ang="0">
                <a:pos x="2" y="2"/>
              </a:cxn>
              <a:cxn ang="0">
                <a:pos x="2" y="2"/>
              </a:cxn>
              <a:cxn ang="0">
                <a:pos x="2" y="4"/>
              </a:cxn>
              <a:cxn ang="0">
                <a:pos x="2" y="4"/>
              </a:cxn>
              <a:cxn ang="0">
                <a:pos x="4" y="6"/>
              </a:cxn>
              <a:cxn ang="0">
                <a:pos x="4" y="6"/>
              </a:cxn>
              <a:cxn ang="0">
                <a:pos x="4" y="6"/>
              </a:cxn>
              <a:cxn ang="0">
                <a:pos x="4" y="6"/>
              </a:cxn>
              <a:cxn ang="0">
                <a:pos x="0" y="6"/>
              </a:cxn>
              <a:cxn ang="0">
                <a:pos x="0" y="6"/>
              </a:cxn>
              <a:cxn ang="0">
                <a:pos x="0" y="6"/>
              </a:cxn>
              <a:cxn ang="0">
                <a:pos x="0" y="6"/>
              </a:cxn>
              <a:cxn ang="0">
                <a:pos x="0" y="6"/>
              </a:cxn>
              <a:cxn ang="0">
                <a:pos x="0" y="6"/>
              </a:cxn>
              <a:cxn ang="0">
                <a:pos x="2" y="8"/>
              </a:cxn>
              <a:cxn ang="0">
                <a:pos x="6" y="10"/>
              </a:cxn>
              <a:cxn ang="0">
                <a:pos x="6" y="10"/>
              </a:cxn>
              <a:cxn ang="0">
                <a:pos x="8" y="10"/>
              </a:cxn>
              <a:cxn ang="0">
                <a:pos x="12" y="8"/>
              </a:cxn>
              <a:cxn ang="0">
                <a:pos x="12" y="8"/>
              </a:cxn>
              <a:cxn ang="0">
                <a:pos x="12" y="8"/>
              </a:cxn>
              <a:cxn ang="0">
                <a:pos x="12" y="6"/>
              </a:cxn>
              <a:cxn ang="0">
                <a:pos x="12" y="6"/>
              </a:cxn>
              <a:cxn ang="0">
                <a:pos x="12" y="4"/>
              </a:cxn>
              <a:cxn ang="0">
                <a:pos x="12" y="4"/>
              </a:cxn>
              <a:cxn ang="0">
                <a:pos x="12" y="2"/>
              </a:cxn>
              <a:cxn ang="0">
                <a:pos x="12" y="2"/>
              </a:cxn>
              <a:cxn ang="0">
                <a:pos x="12" y="0"/>
              </a:cxn>
              <a:cxn ang="0">
                <a:pos x="12" y="0"/>
              </a:cxn>
              <a:cxn ang="0">
                <a:pos x="10" y="0"/>
              </a:cxn>
              <a:cxn ang="0">
                <a:pos x="10" y="0"/>
              </a:cxn>
              <a:cxn ang="0">
                <a:pos x="6" y="0"/>
              </a:cxn>
              <a:cxn ang="0">
                <a:pos x="6" y="0"/>
              </a:cxn>
            </a:cxnLst>
            <a:rect l="0" t="0" r="r" b="b"/>
            <a:pathLst>
              <a:path w="12" h="10">
                <a:moveTo>
                  <a:pt x="6" y="0"/>
                </a:moveTo>
                <a:lnTo>
                  <a:pt x="6" y="0"/>
                </a:lnTo>
                <a:lnTo>
                  <a:pt x="4" y="0"/>
                </a:lnTo>
                <a:lnTo>
                  <a:pt x="2" y="2"/>
                </a:lnTo>
                <a:lnTo>
                  <a:pt x="2" y="2"/>
                </a:lnTo>
                <a:lnTo>
                  <a:pt x="2" y="4"/>
                </a:lnTo>
                <a:lnTo>
                  <a:pt x="2" y="4"/>
                </a:lnTo>
                <a:lnTo>
                  <a:pt x="4" y="6"/>
                </a:lnTo>
                <a:lnTo>
                  <a:pt x="4" y="6"/>
                </a:lnTo>
                <a:lnTo>
                  <a:pt x="4" y="6"/>
                </a:lnTo>
                <a:lnTo>
                  <a:pt x="4" y="6"/>
                </a:lnTo>
                <a:lnTo>
                  <a:pt x="0" y="6"/>
                </a:lnTo>
                <a:lnTo>
                  <a:pt x="0" y="6"/>
                </a:lnTo>
                <a:lnTo>
                  <a:pt x="0" y="6"/>
                </a:lnTo>
                <a:lnTo>
                  <a:pt x="0" y="6"/>
                </a:lnTo>
                <a:lnTo>
                  <a:pt x="0" y="6"/>
                </a:lnTo>
                <a:lnTo>
                  <a:pt x="0" y="6"/>
                </a:lnTo>
                <a:lnTo>
                  <a:pt x="2" y="8"/>
                </a:lnTo>
                <a:lnTo>
                  <a:pt x="6" y="10"/>
                </a:lnTo>
                <a:lnTo>
                  <a:pt x="6" y="10"/>
                </a:lnTo>
                <a:lnTo>
                  <a:pt x="8" y="10"/>
                </a:lnTo>
                <a:lnTo>
                  <a:pt x="12" y="8"/>
                </a:lnTo>
                <a:lnTo>
                  <a:pt x="12" y="8"/>
                </a:lnTo>
                <a:lnTo>
                  <a:pt x="12" y="8"/>
                </a:lnTo>
                <a:lnTo>
                  <a:pt x="12" y="6"/>
                </a:lnTo>
                <a:lnTo>
                  <a:pt x="12" y="6"/>
                </a:lnTo>
                <a:lnTo>
                  <a:pt x="12" y="4"/>
                </a:lnTo>
                <a:lnTo>
                  <a:pt x="12" y="4"/>
                </a:lnTo>
                <a:lnTo>
                  <a:pt x="12" y="2"/>
                </a:lnTo>
                <a:lnTo>
                  <a:pt x="12" y="2"/>
                </a:lnTo>
                <a:lnTo>
                  <a:pt x="12" y="0"/>
                </a:lnTo>
                <a:lnTo>
                  <a:pt x="12" y="0"/>
                </a:lnTo>
                <a:lnTo>
                  <a:pt x="10" y="0"/>
                </a:lnTo>
                <a:lnTo>
                  <a:pt x="10" y="0"/>
                </a:lnTo>
                <a:lnTo>
                  <a:pt x="6" y="0"/>
                </a:lnTo>
                <a:lnTo>
                  <a:pt x="6" y="0"/>
                </a:lnTo>
                <a:close/>
              </a:path>
            </a:pathLst>
          </a:custGeom>
          <a:solidFill>
            <a:schemeClr val="tx1"/>
          </a:solidFill>
          <a:ln w="6350">
            <a:solidFill>
              <a:schemeClr val="tx1"/>
            </a:solid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688" name="Eritrea"/>
          <p:cNvSpPr>
            <a:spLocks/>
          </p:cNvSpPr>
          <p:nvPr/>
        </p:nvSpPr>
        <p:spPr bwMode="auto">
          <a:xfrm>
            <a:off x="5206018" y="2233632"/>
            <a:ext cx="182306" cy="176099"/>
          </a:xfrm>
          <a:custGeom>
            <a:avLst/>
            <a:gdLst/>
            <a:ahLst/>
            <a:cxnLst/>
            <a:rect l="l" t="t" r="r" b="b"/>
            <a:pathLst>
              <a:path w="243012" h="234798">
                <a:moveTo>
                  <a:pt x="238480" y="223855"/>
                </a:moveTo>
                <a:lnTo>
                  <a:pt x="243012" y="230648"/>
                </a:lnTo>
                <a:lnTo>
                  <a:pt x="243012" y="234798"/>
                </a:lnTo>
                <a:close/>
                <a:moveTo>
                  <a:pt x="60753" y="0"/>
                </a:moveTo>
                <a:lnTo>
                  <a:pt x="85054" y="36418"/>
                </a:lnTo>
                <a:lnTo>
                  <a:pt x="91130" y="51592"/>
                </a:lnTo>
                <a:lnTo>
                  <a:pt x="97205" y="75871"/>
                </a:lnTo>
                <a:lnTo>
                  <a:pt x="103280" y="97115"/>
                </a:lnTo>
                <a:lnTo>
                  <a:pt x="109356" y="109254"/>
                </a:lnTo>
                <a:lnTo>
                  <a:pt x="112393" y="109254"/>
                </a:lnTo>
                <a:lnTo>
                  <a:pt x="115431" y="109254"/>
                </a:lnTo>
                <a:lnTo>
                  <a:pt x="118469" y="106219"/>
                </a:lnTo>
                <a:lnTo>
                  <a:pt x="121506" y="112289"/>
                </a:lnTo>
                <a:lnTo>
                  <a:pt x="127582" y="118359"/>
                </a:lnTo>
                <a:lnTo>
                  <a:pt x="130619" y="121394"/>
                </a:lnTo>
                <a:lnTo>
                  <a:pt x="136694" y="124428"/>
                </a:lnTo>
                <a:lnTo>
                  <a:pt x="142770" y="127463"/>
                </a:lnTo>
                <a:lnTo>
                  <a:pt x="148845" y="130498"/>
                </a:lnTo>
                <a:lnTo>
                  <a:pt x="151883" y="133533"/>
                </a:lnTo>
                <a:lnTo>
                  <a:pt x="157958" y="133533"/>
                </a:lnTo>
                <a:lnTo>
                  <a:pt x="160996" y="136568"/>
                </a:lnTo>
                <a:lnTo>
                  <a:pt x="167071" y="139603"/>
                </a:lnTo>
                <a:lnTo>
                  <a:pt x="176184" y="151742"/>
                </a:lnTo>
                <a:lnTo>
                  <a:pt x="185297" y="163881"/>
                </a:lnTo>
                <a:lnTo>
                  <a:pt x="197447" y="176021"/>
                </a:lnTo>
                <a:lnTo>
                  <a:pt x="206560" y="185125"/>
                </a:lnTo>
                <a:lnTo>
                  <a:pt x="209598" y="194230"/>
                </a:lnTo>
                <a:lnTo>
                  <a:pt x="209598" y="197264"/>
                </a:lnTo>
                <a:lnTo>
                  <a:pt x="212636" y="200299"/>
                </a:lnTo>
                <a:lnTo>
                  <a:pt x="218711" y="200299"/>
                </a:lnTo>
                <a:lnTo>
                  <a:pt x="218711" y="203334"/>
                </a:lnTo>
                <a:lnTo>
                  <a:pt x="227824" y="215473"/>
                </a:lnTo>
                <a:lnTo>
                  <a:pt x="231091" y="217649"/>
                </a:lnTo>
                <a:lnTo>
                  <a:pt x="210412" y="209084"/>
                </a:lnTo>
                <a:cubicBezTo>
                  <a:pt x="207930" y="209084"/>
                  <a:pt x="205505" y="209325"/>
                  <a:pt x="203576" y="211916"/>
                </a:cubicBezTo>
                <a:lnTo>
                  <a:pt x="194410" y="197264"/>
                </a:lnTo>
                <a:lnTo>
                  <a:pt x="173146" y="176021"/>
                </a:lnTo>
                <a:lnTo>
                  <a:pt x="164033" y="166916"/>
                </a:lnTo>
                <a:lnTo>
                  <a:pt x="151883" y="157812"/>
                </a:lnTo>
                <a:lnTo>
                  <a:pt x="139732" y="154777"/>
                </a:lnTo>
                <a:lnTo>
                  <a:pt x="124544" y="154777"/>
                </a:lnTo>
                <a:lnTo>
                  <a:pt x="112393" y="154777"/>
                </a:lnTo>
                <a:lnTo>
                  <a:pt x="106318" y="154777"/>
                </a:lnTo>
                <a:lnTo>
                  <a:pt x="100243" y="154777"/>
                </a:lnTo>
                <a:lnTo>
                  <a:pt x="91130" y="157812"/>
                </a:lnTo>
                <a:lnTo>
                  <a:pt x="82017" y="157812"/>
                </a:lnTo>
                <a:lnTo>
                  <a:pt x="72904" y="157812"/>
                </a:lnTo>
                <a:lnTo>
                  <a:pt x="66829" y="154777"/>
                </a:lnTo>
                <a:lnTo>
                  <a:pt x="63791" y="151742"/>
                </a:lnTo>
                <a:lnTo>
                  <a:pt x="57716" y="145672"/>
                </a:lnTo>
                <a:lnTo>
                  <a:pt x="57716" y="142637"/>
                </a:lnTo>
                <a:lnTo>
                  <a:pt x="51640" y="142637"/>
                </a:lnTo>
                <a:lnTo>
                  <a:pt x="48603" y="145672"/>
                </a:lnTo>
                <a:lnTo>
                  <a:pt x="45565" y="151742"/>
                </a:lnTo>
                <a:lnTo>
                  <a:pt x="42527" y="160846"/>
                </a:lnTo>
                <a:lnTo>
                  <a:pt x="36452" y="163881"/>
                </a:lnTo>
                <a:lnTo>
                  <a:pt x="33414" y="163881"/>
                </a:lnTo>
                <a:lnTo>
                  <a:pt x="33414" y="160846"/>
                </a:lnTo>
                <a:lnTo>
                  <a:pt x="30377" y="157812"/>
                </a:lnTo>
                <a:lnTo>
                  <a:pt x="27339" y="154777"/>
                </a:lnTo>
                <a:lnTo>
                  <a:pt x="21264" y="154777"/>
                </a:lnTo>
                <a:lnTo>
                  <a:pt x="0" y="160846"/>
                </a:lnTo>
                <a:lnTo>
                  <a:pt x="6076" y="121394"/>
                </a:lnTo>
                <a:lnTo>
                  <a:pt x="15188" y="66767"/>
                </a:lnTo>
                <a:lnTo>
                  <a:pt x="18226" y="48557"/>
                </a:lnTo>
                <a:lnTo>
                  <a:pt x="21264" y="39453"/>
                </a:lnTo>
                <a:lnTo>
                  <a:pt x="27339" y="30348"/>
                </a:lnTo>
                <a:lnTo>
                  <a:pt x="33414" y="27314"/>
                </a:lnTo>
                <a:lnTo>
                  <a:pt x="45565" y="18209"/>
                </a:lnTo>
                <a:lnTo>
                  <a:pt x="54678" y="9105"/>
                </a:lnTo>
                <a:close/>
              </a:path>
            </a:pathLst>
          </a:custGeom>
          <a:solidFill>
            <a:schemeClr val="tx1"/>
          </a:solidFill>
          <a:ln w="6350">
            <a:solidFill>
              <a:schemeClr val="tx1"/>
            </a:solid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030" name="Djibouti"/>
          <p:cNvSpPr/>
          <p:nvPr/>
        </p:nvSpPr>
        <p:spPr bwMode="auto">
          <a:xfrm>
            <a:off x="5347306" y="2390445"/>
            <a:ext cx="41018" cy="50315"/>
          </a:xfrm>
          <a:custGeom>
            <a:avLst/>
            <a:gdLst/>
            <a:ahLst/>
            <a:cxnLst/>
            <a:rect l="l" t="t" r="r" b="b"/>
            <a:pathLst>
              <a:path w="54677" h="67086">
                <a:moveTo>
                  <a:pt x="22077" y="0"/>
                </a:moveTo>
                <a:lnTo>
                  <a:pt x="42756" y="8565"/>
                </a:lnTo>
                <a:lnTo>
                  <a:pt x="48602" y="12459"/>
                </a:lnTo>
                <a:lnTo>
                  <a:pt x="50145" y="14771"/>
                </a:lnTo>
                <a:lnTo>
                  <a:pt x="54677" y="25714"/>
                </a:lnTo>
                <a:lnTo>
                  <a:pt x="54677" y="27633"/>
                </a:lnTo>
                <a:lnTo>
                  <a:pt x="54677" y="33703"/>
                </a:lnTo>
                <a:lnTo>
                  <a:pt x="51640" y="42807"/>
                </a:lnTo>
                <a:lnTo>
                  <a:pt x="45564" y="45842"/>
                </a:lnTo>
                <a:lnTo>
                  <a:pt x="39489" y="48877"/>
                </a:lnTo>
                <a:lnTo>
                  <a:pt x="33414" y="48877"/>
                </a:lnTo>
                <a:lnTo>
                  <a:pt x="21263" y="54947"/>
                </a:lnTo>
                <a:lnTo>
                  <a:pt x="27338" y="54947"/>
                </a:lnTo>
                <a:lnTo>
                  <a:pt x="39489" y="51912"/>
                </a:lnTo>
                <a:lnTo>
                  <a:pt x="42527" y="51912"/>
                </a:lnTo>
                <a:lnTo>
                  <a:pt x="45564" y="54947"/>
                </a:lnTo>
                <a:lnTo>
                  <a:pt x="33414" y="67086"/>
                </a:lnTo>
                <a:lnTo>
                  <a:pt x="27338" y="64051"/>
                </a:lnTo>
                <a:lnTo>
                  <a:pt x="21263" y="64051"/>
                </a:lnTo>
                <a:lnTo>
                  <a:pt x="15188" y="67086"/>
                </a:lnTo>
                <a:lnTo>
                  <a:pt x="9112" y="67086"/>
                </a:lnTo>
                <a:lnTo>
                  <a:pt x="6075" y="67086"/>
                </a:lnTo>
                <a:lnTo>
                  <a:pt x="3037" y="61016"/>
                </a:lnTo>
                <a:lnTo>
                  <a:pt x="0" y="57982"/>
                </a:lnTo>
                <a:lnTo>
                  <a:pt x="0" y="45842"/>
                </a:lnTo>
                <a:lnTo>
                  <a:pt x="6075" y="24598"/>
                </a:lnTo>
                <a:lnTo>
                  <a:pt x="9112" y="15494"/>
                </a:lnTo>
                <a:lnTo>
                  <a:pt x="15188" y="12459"/>
                </a:lnTo>
                <a:lnTo>
                  <a:pt x="21263" y="12459"/>
                </a:lnTo>
                <a:lnTo>
                  <a:pt x="15241" y="2832"/>
                </a:lnTo>
                <a:cubicBezTo>
                  <a:pt x="17170" y="241"/>
                  <a:pt x="19595" y="0"/>
                  <a:pt x="22077" y="0"/>
                </a:cubicBezTo>
                <a:close/>
              </a:path>
            </a:pathLst>
          </a:custGeom>
          <a:solidFill>
            <a:schemeClr val="tx1"/>
          </a:solidFill>
          <a:ln w="6350">
            <a:solidFill>
              <a:schemeClr val="tx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8" name="Title 4"/>
          <p:cNvSpPr>
            <a:spLocks noGrp="1"/>
          </p:cNvSpPr>
          <p:nvPr>
            <p:ph type="title"/>
          </p:nvPr>
        </p:nvSpPr>
        <p:spPr>
          <a:xfrm>
            <a:off x="355305" y="137086"/>
            <a:ext cx="8363938" cy="457049"/>
          </a:xfrm>
        </p:spPr>
        <p:txBody>
          <a:bodyPr vert="horz" lIns="91312" tIns="34295" rIns="91312" bIns="34295" rtlCol="0" anchor="t" anchorCtr="0">
            <a:noAutofit/>
          </a:bodyPr>
          <a:lstStyle/>
          <a:p>
            <a:r>
              <a:rPr lang="en-US" b="1" dirty="0" smtClean="0"/>
              <a:t>Consumer</a:t>
            </a:r>
            <a:r>
              <a:rPr lang="en-US" dirty="0" smtClean="0"/>
              <a:t>: Over 180 </a:t>
            </a:r>
            <a:r>
              <a:rPr lang="en-US" dirty="0"/>
              <a:t>countries</a:t>
            </a:r>
            <a:br>
              <a:rPr lang="en-US" dirty="0"/>
            </a:br>
            <a:r>
              <a:rPr lang="en-US" sz="2100" dirty="0"/>
              <a:t>120+ </a:t>
            </a:r>
            <a:r>
              <a:rPr lang="en-US" sz="2100" dirty="0"/>
              <a:t>new </a:t>
            </a:r>
            <a:endParaRPr lang="en-US" dirty="0"/>
          </a:p>
        </p:txBody>
      </p:sp>
      <p:grpSp>
        <p:nvGrpSpPr>
          <p:cNvPr id="9" name="Grey Map"/>
          <p:cNvGrpSpPr/>
          <p:nvPr/>
        </p:nvGrpSpPr>
        <p:grpSpPr>
          <a:xfrm>
            <a:off x="1117220" y="879338"/>
            <a:ext cx="7185135" cy="3336799"/>
            <a:chOff x="400809" y="1427427"/>
            <a:chExt cx="8342313" cy="3878792"/>
          </a:xfrm>
          <a:solidFill>
            <a:schemeClr val="tx1"/>
          </a:solidFill>
        </p:grpSpPr>
        <p:sp>
          <p:nvSpPr>
            <p:cNvPr id="10" name="Freeform 8"/>
            <p:cNvSpPr>
              <a:spLocks/>
            </p:cNvSpPr>
            <p:nvPr/>
          </p:nvSpPr>
          <p:spPr bwMode="auto">
            <a:xfrm>
              <a:off x="2533351" y="5245365"/>
              <a:ext cx="103188" cy="52917"/>
            </a:xfrm>
            <a:custGeom>
              <a:avLst/>
              <a:gdLst/>
              <a:ahLst/>
              <a:cxnLst>
                <a:cxn ang="0">
                  <a:pos x="0" y="0"/>
                </a:cxn>
                <a:cxn ang="0">
                  <a:pos x="10" y="4"/>
                </a:cxn>
                <a:cxn ang="0">
                  <a:pos x="12" y="6"/>
                </a:cxn>
                <a:cxn ang="0">
                  <a:pos x="8" y="6"/>
                </a:cxn>
                <a:cxn ang="0">
                  <a:pos x="10" y="8"/>
                </a:cxn>
                <a:cxn ang="0">
                  <a:pos x="14" y="8"/>
                </a:cxn>
                <a:cxn ang="0">
                  <a:pos x="16" y="10"/>
                </a:cxn>
                <a:cxn ang="0">
                  <a:pos x="20" y="14"/>
                </a:cxn>
                <a:cxn ang="0">
                  <a:pos x="26" y="16"/>
                </a:cxn>
                <a:cxn ang="0">
                  <a:pos x="32" y="20"/>
                </a:cxn>
                <a:cxn ang="0">
                  <a:pos x="38" y="22"/>
                </a:cxn>
                <a:cxn ang="0">
                  <a:pos x="42" y="24"/>
                </a:cxn>
                <a:cxn ang="0">
                  <a:pos x="50" y="26"/>
                </a:cxn>
                <a:cxn ang="0">
                  <a:pos x="52" y="26"/>
                </a:cxn>
                <a:cxn ang="0">
                  <a:pos x="58" y="30"/>
                </a:cxn>
                <a:cxn ang="0">
                  <a:pos x="64" y="32"/>
                </a:cxn>
                <a:cxn ang="0">
                  <a:pos x="68" y="34"/>
                </a:cxn>
                <a:cxn ang="0">
                  <a:pos x="74" y="34"/>
                </a:cxn>
                <a:cxn ang="0">
                  <a:pos x="78" y="34"/>
                </a:cxn>
                <a:cxn ang="0">
                  <a:pos x="78" y="36"/>
                </a:cxn>
                <a:cxn ang="0">
                  <a:pos x="76" y="38"/>
                </a:cxn>
                <a:cxn ang="0">
                  <a:pos x="72" y="38"/>
                </a:cxn>
                <a:cxn ang="0">
                  <a:pos x="66" y="40"/>
                </a:cxn>
                <a:cxn ang="0">
                  <a:pos x="64" y="40"/>
                </a:cxn>
                <a:cxn ang="0">
                  <a:pos x="60" y="40"/>
                </a:cxn>
                <a:cxn ang="0">
                  <a:pos x="56" y="40"/>
                </a:cxn>
                <a:cxn ang="0">
                  <a:pos x="46" y="38"/>
                </a:cxn>
                <a:cxn ang="0">
                  <a:pos x="38" y="40"/>
                </a:cxn>
                <a:cxn ang="0">
                  <a:pos x="32" y="38"/>
                </a:cxn>
                <a:cxn ang="0">
                  <a:pos x="24" y="36"/>
                </a:cxn>
                <a:cxn ang="0">
                  <a:pos x="24" y="38"/>
                </a:cxn>
                <a:cxn ang="0">
                  <a:pos x="20" y="38"/>
                </a:cxn>
              </a:cxnLst>
              <a:rect l="0" t="0" r="r" b="b"/>
              <a:pathLst>
                <a:path w="78" h="40">
                  <a:moveTo>
                    <a:pt x="20" y="38"/>
                  </a:moveTo>
                  <a:lnTo>
                    <a:pt x="0" y="0"/>
                  </a:lnTo>
                  <a:lnTo>
                    <a:pt x="0" y="0"/>
                  </a:lnTo>
                  <a:lnTo>
                    <a:pt x="10" y="4"/>
                  </a:lnTo>
                  <a:lnTo>
                    <a:pt x="10" y="4"/>
                  </a:lnTo>
                  <a:lnTo>
                    <a:pt x="12" y="6"/>
                  </a:lnTo>
                  <a:lnTo>
                    <a:pt x="8" y="6"/>
                  </a:lnTo>
                  <a:lnTo>
                    <a:pt x="8" y="6"/>
                  </a:lnTo>
                  <a:lnTo>
                    <a:pt x="6" y="8"/>
                  </a:lnTo>
                  <a:lnTo>
                    <a:pt x="10" y="8"/>
                  </a:lnTo>
                  <a:lnTo>
                    <a:pt x="10" y="8"/>
                  </a:lnTo>
                  <a:lnTo>
                    <a:pt x="14" y="8"/>
                  </a:lnTo>
                  <a:lnTo>
                    <a:pt x="14" y="8"/>
                  </a:lnTo>
                  <a:lnTo>
                    <a:pt x="16" y="10"/>
                  </a:lnTo>
                  <a:lnTo>
                    <a:pt x="16" y="10"/>
                  </a:lnTo>
                  <a:lnTo>
                    <a:pt x="20" y="14"/>
                  </a:lnTo>
                  <a:lnTo>
                    <a:pt x="26" y="16"/>
                  </a:lnTo>
                  <a:lnTo>
                    <a:pt x="26" y="16"/>
                  </a:lnTo>
                  <a:lnTo>
                    <a:pt x="28" y="18"/>
                  </a:lnTo>
                  <a:lnTo>
                    <a:pt x="32" y="20"/>
                  </a:lnTo>
                  <a:lnTo>
                    <a:pt x="32" y="20"/>
                  </a:lnTo>
                  <a:lnTo>
                    <a:pt x="38" y="22"/>
                  </a:lnTo>
                  <a:lnTo>
                    <a:pt x="42" y="24"/>
                  </a:lnTo>
                  <a:lnTo>
                    <a:pt x="42" y="24"/>
                  </a:lnTo>
                  <a:lnTo>
                    <a:pt x="46" y="26"/>
                  </a:lnTo>
                  <a:lnTo>
                    <a:pt x="50" y="26"/>
                  </a:lnTo>
                  <a:lnTo>
                    <a:pt x="50" y="26"/>
                  </a:lnTo>
                  <a:lnTo>
                    <a:pt x="52" y="26"/>
                  </a:lnTo>
                  <a:lnTo>
                    <a:pt x="52" y="26"/>
                  </a:lnTo>
                  <a:lnTo>
                    <a:pt x="58" y="30"/>
                  </a:lnTo>
                  <a:lnTo>
                    <a:pt x="58" y="30"/>
                  </a:lnTo>
                  <a:lnTo>
                    <a:pt x="64" y="32"/>
                  </a:lnTo>
                  <a:lnTo>
                    <a:pt x="68" y="34"/>
                  </a:lnTo>
                  <a:lnTo>
                    <a:pt x="68" y="34"/>
                  </a:lnTo>
                  <a:lnTo>
                    <a:pt x="72" y="34"/>
                  </a:lnTo>
                  <a:lnTo>
                    <a:pt x="74" y="34"/>
                  </a:lnTo>
                  <a:lnTo>
                    <a:pt x="74" y="34"/>
                  </a:lnTo>
                  <a:lnTo>
                    <a:pt x="78" y="34"/>
                  </a:lnTo>
                  <a:lnTo>
                    <a:pt x="78" y="34"/>
                  </a:lnTo>
                  <a:lnTo>
                    <a:pt x="78" y="36"/>
                  </a:lnTo>
                  <a:lnTo>
                    <a:pt x="78" y="36"/>
                  </a:lnTo>
                  <a:lnTo>
                    <a:pt x="76" y="38"/>
                  </a:lnTo>
                  <a:lnTo>
                    <a:pt x="72" y="38"/>
                  </a:lnTo>
                  <a:lnTo>
                    <a:pt x="72" y="38"/>
                  </a:lnTo>
                  <a:lnTo>
                    <a:pt x="70" y="40"/>
                  </a:lnTo>
                  <a:lnTo>
                    <a:pt x="66" y="40"/>
                  </a:lnTo>
                  <a:lnTo>
                    <a:pt x="66" y="40"/>
                  </a:lnTo>
                  <a:lnTo>
                    <a:pt x="64" y="40"/>
                  </a:lnTo>
                  <a:lnTo>
                    <a:pt x="62" y="40"/>
                  </a:lnTo>
                  <a:lnTo>
                    <a:pt x="60" y="40"/>
                  </a:lnTo>
                  <a:lnTo>
                    <a:pt x="56" y="40"/>
                  </a:lnTo>
                  <a:lnTo>
                    <a:pt x="56" y="40"/>
                  </a:lnTo>
                  <a:lnTo>
                    <a:pt x="50" y="38"/>
                  </a:lnTo>
                  <a:lnTo>
                    <a:pt x="46" y="38"/>
                  </a:lnTo>
                  <a:lnTo>
                    <a:pt x="46" y="38"/>
                  </a:lnTo>
                  <a:lnTo>
                    <a:pt x="38" y="40"/>
                  </a:lnTo>
                  <a:lnTo>
                    <a:pt x="32" y="38"/>
                  </a:lnTo>
                  <a:lnTo>
                    <a:pt x="32" y="38"/>
                  </a:lnTo>
                  <a:lnTo>
                    <a:pt x="28" y="36"/>
                  </a:lnTo>
                  <a:lnTo>
                    <a:pt x="24" y="36"/>
                  </a:lnTo>
                  <a:lnTo>
                    <a:pt x="24" y="38"/>
                  </a:lnTo>
                  <a:lnTo>
                    <a:pt x="24" y="38"/>
                  </a:lnTo>
                  <a:lnTo>
                    <a:pt x="20" y="38"/>
                  </a:lnTo>
                  <a:lnTo>
                    <a:pt x="20" y="38"/>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 name="Panama"/>
            <p:cNvSpPr>
              <a:spLocks/>
            </p:cNvSpPr>
            <p:nvPr/>
          </p:nvSpPr>
          <p:spPr bwMode="auto">
            <a:xfrm>
              <a:off x="1826913" y="3295385"/>
              <a:ext cx="161396" cy="82021"/>
            </a:xfrm>
            <a:custGeom>
              <a:avLst/>
              <a:gdLst/>
              <a:ahLst/>
              <a:cxnLst>
                <a:cxn ang="0">
                  <a:pos x="116" y="20"/>
                </a:cxn>
                <a:cxn ang="0">
                  <a:pos x="110" y="16"/>
                </a:cxn>
                <a:cxn ang="0">
                  <a:pos x="110" y="14"/>
                </a:cxn>
                <a:cxn ang="0">
                  <a:pos x="94" y="4"/>
                </a:cxn>
                <a:cxn ang="0">
                  <a:pos x="84" y="2"/>
                </a:cxn>
                <a:cxn ang="0">
                  <a:pos x="74" y="8"/>
                </a:cxn>
                <a:cxn ang="0">
                  <a:pos x="72" y="12"/>
                </a:cxn>
                <a:cxn ang="0">
                  <a:pos x="74" y="18"/>
                </a:cxn>
                <a:cxn ang="0">
                  <a:pos x="66" y="20"/>
                </a:cxn>
                <a:cxn ang="0">
                  <a:pos x="70" y="12"/>
                </a:cxn>
                <a:cxn ang="0">
                  <a:pos x="66" y="12"/>
                </a:cxn>
                <a:cxn ang="0">
                  <a:pos x="60" y="16"/>
                </a:cxn>
                <a:cxn ang="0">
                  <a:pos x="50" y="18"/>
                </a:cxn>
                <a:cxn ang="0">
                  <a:pos x="32" y="20"/>
                </a:cxn>
                <a:cxn ang="0">
                  <a:pos x="26" y="14"/>
                </a:cxn>
                <a:cxn ang="0">
                  <a:pos x="22" y="14"/>
                </a:cxn>
                <a:cxn ang="0">
                  <a:pos x="20" y="16"/>
                </a:cxn>
                <a:cxn ang="0">
                  <a:pos x="16" y="12"/>
                </a:cxn>
                <a:cxn ang="0">
                  <a:pos x="18" y="10"/>
                </a:cxn>
                <a:cxn ang="0">
                  <a:pos x="18" y="6"/>
                </a:cxn>
                <a:cxn ang="0">
                  <a:pos x="12" y="0"/>
                </a:cxn>
                <a:cxn ang="0">
                  <a:pos x="4" y="4"/>
                </a:cxn>
                <a:cxn ang="0">
                  <a:pos x="6" y="12"/>
                </a:cxn>
                <a:cxn ang="0">
                  <a:pos x="6" y="18"/>
                </a:cxn>
                <a:cxn ang="0">
                  <a:pos x="4" y="28"/>
                </a:cxn>
                <a:cxn ang="0">
                  <a:pos x="0" y="32"/>
                </a:cxn>
                <a:cxn ang="0">
                  <a:pos x="2" y="40"/>
                </a:cxn>
                <a:cxn ang="0">
                  <a:pos x="4" y="36"/>
                </a:cxn>
                <a:cxn ang="0">
                  <a:pos x="6" y="36"/>
                </a:cxn>
                <a:cxn ang="0">
                  <a:pos x="12" y="36"/>
                </a:cxn>
                <a:cxn ang="0">
                  <a:pos x="14" y="36"/>
                </a:cxn>
                <a:cxn ang="0">
                  <a:pos x="24" y="40"/>
                </a:cxn>
                <a:cxn ang="0">
                  <a:pos x="30" y="46"/>
                </a:cxn>
                <a:cxn ang="0">
                  <a:pos x="34" y="52"/>
                </a:cxn>
                <a:cxn ang="0">
                  <a:pos x="38" y="54"/>
                </a:cxn>
                <a:cxn ang="0">
                  <a:pos x="40" y="50"/>
                </a:cxn>
                <a:cxn ang="0">
                  <a:pos x="42" y="50"/>
                </a:cxn>
                <a:cxn ang="0">
                  <a:pos x="44" y="58"/>
                </a:cxn>
                <a:cxn ang="0">
                  <a:pos x="56" y="62"/>
                </a:cxn>
                <a:cxn ang="0">
                  <a:pos x="62" y="54"/>
                </a:cxn>
                <a:cxn ang="0">
                  <a:pos x="58" y="48"/>
                </a:cxn>
                <a:cxn ang="0">
                  <a:pos x="56" y="46"/>
                </a:cxn>
                <a:cxn ang="0">
                  <a:pos x="58" y="40"/>
                </a:cxn>
                <a:cxn ang="0">
                  <a:pos x="70" y="28"/>
                </a:cxn>
                <a:cxn ang="0">
                  <a:pos x="70" y="26"/>
                </a:cxn>
                <a:cxn ang="0">
                  <a:pos x="80" y="24"/>
                </a:cxn>
                <a:cxn ang="0">
                  <a:pos x="94" y="30"/>
                </a:cxn>
                <a:cxn ang="0">
                  <a:pos x="100" y="30"/>
                </a:cxn>
                <a:cxn ang="0">
                  <a:pos x="100" y="38"/>
                </a:cxn>
                <a:cxn ang="0">
                  <a:pos x="112" y="28"/>
                </a:cxn>
                <a:cxn ang="0">
                  <a:pos x="110" y="38"/>
                </a:cxn>
                <a:cxn ang="0">
                  <a:pos x="104" y="40"/>
                </a:cxn>
                <a:cxn ang="0">
                  <a:pos x="100" y="48"/>
                </a:cxn>
                <a:cxn ang="0">
                  <a:pos x="102" y="54"/>
                </a:cxn>
                <a:cxn ang="0">
                  <a:pos x="104" y="60"/>
                </a:cxn>
                <a:cxn ang="0">
                  <a:pos x="106" y="58"/>
                </a:cxn>
                <a:cxn ang="0">
                  <a:pos x="108" y="52"/>
                </a:cxn>
                <a:cxn ang="0">
                  <a:pos x="118" y="50"/>
                </a:cxn>
                <a:cxn ang="0">
                  <a:pos x="120" y="44"/>
                </a:cxn>
                <a:cxn ang="0">
                  <a:pos x="120" y="40"/>
                </a:cxn>
                <a:cxn ang="0">
                  <a:pos x="118" y="36"/>
                </a:cxn>
                <a:cxn ang="0">
                  <a:pos x="118" y="32"/>
                </a:cxn>
                <a:cxn ang="0">
                  <a:pos x="120" y="24"/>
                </a:cxn>
              </a:cxnLst>
              <a:rect l="0" t="0" r="r" b="b"/>
              <a:pathLst>
                <a:path w="122" h="62">
                  <a:moveTo>
                    <a:pt x="120" y="24"/>
                  </a:moveTo>
                  <a:lnTo>
                    <a:pt x="120" y="24"/>
                  </a:lnTo>
                  <a:lnTo>
                    <a:pt x="116" y="20"/>
                  </a:lnTo>
                  <a:lnTo>
                    <a:pt x="114" y="20"/>
                  </a:lnTo>
                  <a:lnTo>
                    <a:pt x="112" y="18"/>
                  </a:lnTo>
                  <a:lnTo>
                    <a:pt x="110" y="16"/>
                  </a:lnTo>
                  <a:lnTo>
                    <a:pt x="110" y="16"/>
                  </a:lnTo>
                  <a:lnTo>
                    <a:pt x="108" y="14"/>
                  </a:lnTo>
                  <a:lnTo>
                    <a:pt x="110" y="14"/>
                  </a:lnTo>
                  <a:lnTo>
                    <a:pt x="104" y="10"/>
                  </a:lnTo>
                  <a:lnTo>
                    <a:pt x="104" y="10"/>
                  </a:lnTo>
                  <a:lnTo>
                    <a:pt x="94" y="4"/>
                  </a:lnTo>
                  <a:lnTo>
                    <a:pt x="90" y="4"/>
                  </a:lnTo>
                  <a:lnTo>
                    <a:pt x="90" y="4"/>
                  </a:lnTo>
                  <a:lnTo>
                    <a:pt x="84" y="2"/>
                  </a:lnTo>
                  <a:lnTo>
                    <a:pt x="78" y="4"/>
                  </a:lnTo>
                  <a:lnTo>
                    <a:pt x="78" y="4"/>
                  </a:lnTo>
                  <a:lnTo>
                    <a:pt x="74" y="8"/>
                  </a:lnTo>
                  <a:lnTo>
                    <a:pt x="72" y="10"/>
                  </a:lnTo>
                  <a:lnTo>
                    <a:pt x="72" y="12"/>
                  </a:lnTo>
                  <a:lnTo>
                    <a:pt x="72" y="12"/>
                  </a:lnTo>
                  <a:lnTo>
                    <a:pt x="78" y="16"/>
                  </a:lnTo>
                  <a:lnTo>
                    <a:pt x="78" y="16"/>
                  </a:lnTo>
                  <a:lnTo>
                    <a:pt x="74" y="18"/>
                  </a:lnTo>
                  <a:lnTo>
                    <a:pt x="74" y="18"/>
                  </a:lnTo>
                  <a:lnTo>
                    <a:pt x="68" y="20"/>
                  </a:lnTo>
                  <a:lnTo>
                    <a:pt x="66" y="20"/>
                  </a:lnTo>
                  <a:lnTo>
                    <a:pt x="68" y="16"/>
                  </a:lnTo>
                  <a:lnTo>
                    <a:pt x="68" y="16"/>
                  </a:lnTo>
                  <a:lnTo>
                    <a:pt x="70" y="12"/>
                  </a:lnTo>
                  <a:lnTo>
                    <a:pt x="70" y="10"/>
                  </a:lnTo>
                  <a:lnTo>
                    <a:pt x="68" y="10"/>
                  </a:lnTo>
                  <a:lnTo>
                    <a:pt x="66" y="12"/>
                  </a:lnTo>
                  <a:lnTo>
                    <a:pt x="66" y="12"/>
                  </a:lnTo>
                  <a:lnTo>
                    <a:pt x="64" y="14"/>
                  </a:lnTo>
                  <a:lnTo>
                    <a:pt x="60" y="16"/>
                  </a:lnTo>
                  <a:lnTo>
                    <a:pt x="54" y="16"/>
                  </a:lnTo>
                  <a:lnTo>
                    <a:pt x="50" y="18"/>
                  </a:lnTo>
                  <a:lnTo>
                    <a:pt x="50" y="18"/>
                  </a:lnTo>
                  <a:lnTo>
                    <a:pt x="46" y="20"/>
                  </a:lnTo>
                  <a:lnTo>
                    <a:pt x="40" y="20"/>
                  </a:lnTo>
                  <a:lnTo>
                    <a:pt x="32" y="20"/>
                  </a:lnTo>
                  <a:lnTo>
                    <a:pt x="30" y="18"/>
                  </a:lnTo>
                  <a:lnTo>
                    <a:pt x="30" y="18"/>
                  </a:lnTo>
                  <a:lnTo>
                    <a:pt x="26" y="14"/>
                  </a:lnTo>
                  <a:lnTo>
                    <a:pt x="22" y="10"/>
                  </a:lnTo>
                  <a:lnTo>
                    <a:pt x="22" y="10"/>
                  </a:lnTo>
                  <a:lnTo>
                    <a:pt x="22" y="14"/>
                  </a:lnTo>
                  <a:lnTo>
                    <a:pt x="22" y="16"/>
                  </a:lnTo>
                  <a:lnTo>
                    <a:pt x="22" y="16"/>
                  </a:lnTo>
                  <a:lnTo>
                    <a:pt x="20" y="16"/>
                  </a:lnTo>
                  <a:lnTo>
                    <a:pt x="20" y="16"/>
                  </a:lnTo>
                  <a:lnTo>
                    <a:pt x="16" y="14"/>
                  </a:lnTo>
                  <a:lnTo>
                    <a:pt x="16" y="12"/>
                  </a:lnTo>
                  <a:lnTo>
                    <a:pt x="18" y="10"/>
                  </a:lnTo>
                  <a:lnTo>
                    <a:pt x="18" y="10"/>
                  </a:lnTo>
                  <a:lnTo>
                    <a:pt x="18" y="10"/>
                  </a:lnTo>
                  <a:lnTo>
                    <a:pt x="16" y="8"/>
                  </a:lnTo>
                  <a:lnTo>
                    <a:pt x="18" y="6"/>
                  </a:lnTo>
                  <a:lnTo>
                    <a:pt x="18" y="6"/>
                  </a:lnTo>
                  <a:lnTo>
                    <a:pt x="18" y="6"/>
                  </a:lnTo>
                  <a:lnTo>
                    <a:pt x="16" y="4"/>
                  </a:lnTo>
                  <a:lnTo>
                    <a:pt x="12" y="0"/>
                  </a:lnTo>
                  <a:lnTo>
                    <a:pt x="12" y="0"/>
                  </a:lnTo>
                  <a:lnTo>
                    <a:pt x="8" y="2"/>
                  </a:lnTo>
                  <a:lnTo>
                    <a:pt x="4" y="4"/>
                  </a:lnTo>
                  <a:lnTo>
                    <a:pt x="4" y="6"/>
                  </a:lnTo>
                  <a:lnTo>
                    <a:pt x="4" y="8"/>
                  </a:lnTo>
                  <a:lnTo>
                    <a:pt x="6" y="12"/>
                  </a:lnTo>
                  <a:lnTo>
                    <a:pt x="8" y="16"/>
                  </a:lnTo>
                  <a:lnTo>
                    <a:pt x="6" y="18"/>
                  </a:lnTo>
                  <a:lnTo>
                    <a:pt x="6" y="18"/>
                  </a:lnTo>
                  <a:lnTo>
                    <a:pt x="4" y="22"/>
                  </a:lnTo>
                  <a:lnTo>
                    <a:pt x="4" y="26"/>
                  </a:lnTo>
                  <a:lnTo>
                    <a:pt x="4" y="28"/>
                  </a:lnTo>
                  <a:lnTo>
                    <a:pt x="2" y="30"/>
                  </a:lnTo>
                  <a:lnTo>
                    <a:pt x="2" y="30"/>
                  </a:lnTo>
                  <a:lnTo>
                    <a:pt x="0" y="32"/>
                  </a:lnTo>
                  <a:lnTo>
                    <a:pt x="2" y="34"/>
                  </a:lnTo>
                  <a:lnTo>
                    <a:pt x="2" y="36"/>
                  </a:lnTo>
                  <a:lnTo>
                    <a:pt x="2" y="40"/>
                  </a:lnTo>
                  <a:lnTo>
                    <a:pt x="2" y="40"/>
                  </a:lnTo>
                  <a:lnTo>
                    <a:pt x="4" y="40"/>
                  </a:lnTo>
                  <a:lnTo>
                    <a:pt x="4" y="36"/>
                  </a:lnTo>
                  <a:lnTo>
                    <a:pt x="4" y="36"/>
                  </a:lnTo>
                  <a:lnTo>
                    <a:pt x="6" y="36"/>
                  </a:lnTo>
                  <a:lnTo>
                    <a:pt x="6" y="36"/>
                  </a:lnTo>
                  <a:lnTo>
                    <a:pt x="8" y="36"/>
                  </a:lnTo>
                  <a:lnTo>
                    <a:pt x="12" y="36"/>
                  </a:lnTo>
                  <a:lnTo>
                    <a:pt x="12" y="36"/>
                  </a:lnTo>
                  <a:lnTo>
                    <a:pt x="12" y="34"/>
                  </a:lnTo>
                  <a:lnTo>
                    <a:pt x="12" y="34"/>
                  </a:lnTo>
                  <a:lnTo>
                    <a:pt x="14" y="36"/>
                  </a:lnTo>
                  <a:lnTo>
                    <a:pt x="18" y="38"/>
                  </a:lnTo>
                  <a:lnTo>
                    <a:pt x="18" y="38"/>
                  </a:lnTo>
                  <a:lnTo>
                    <a:pt x="24" y="40"/>
                  </a:lnTo>
                  <a:lnTo>
                    <a:pt x="26" y="42"/>
                  </a:lnTo>
                  <a:lnTo>
                    <a:pt x="28" y="44"/>
                  </a:lnTo>
                  <a:lnTo>
                    <a:pt x="30" y="46"/>
                  </a:lnTo>
                  <a:lnTo>
                    <a:pt x="30" y="46"/>
                  </a:lnTo>
                  <a:lnTo>
                    <a:pt x="32" y="50"/>
                  </a:lnTo>
                  <a:lnTo>
                    <a:pt x="34" y="52"/>
                  </a:lnTo>
                  <a:lnTo>
                    <a:pt x="34" y="54"/>
                  </a:lnTo>
                  <a:lnTo>
                    <a:pt x="38" y="54"/>
                  </a:lnTo>
                  <a:lnTo>
                    <a:pt x="38" y="54"/>
                  </a:lnTo>
                  <a:lnTo>
                    <a:pt x="40" y="54"/>
                  </a:lnTo>
                  <a:lnTo>
                    <a:pt x="40" y="52"/>
                  </a:lnTo>
                  <a:lnTo>
                    <a:pt x="40" y="50"/>
                  </a:lnTo>
                  <a:lnTo>
                    <a:pt x="44" y="48"/>
                  </a:lnTo>
                  <a:lnTo>
                    <a:pt x="44" y="48"/>
                  </a:lnTo>
                  <a:lnTo>
                    <a:pt x="42" y="50"/>
                  </a:lnTo>
                  <a:lnTo>
                    <a:pt x="42" y="52"/>
                  </a:lnTo>
                  <a:lnTo>
                    <a:pt x="44" y="58"/>
                  </a:lnTo>
                  <a:lnTo>
                    <a:pt x="44" y="58"/>
                  </a:lnTo>
                  <a:lnTo>
                    <a:pt x="48" y="62"/>
                  </a:lnTo>
                  <a:lnTo>
                    <a:pt x="52" y="62"/>
                  </a:lnTo>
                  <a:lnTo>
                    <a:pt x="56" y="62"/>
                  </a:lnTo>
                  <a:lnTo>
                    <a:pt x="60" y="58"/>
                  </a:lnTo>
                  <a:lnTo>
                    <a:pt x="60" y="58"/>
                  </a:lnTo>
                  <a:lnTo>
                    <a:pt x="62" y="54"/>
                  </a:lnTo>
                  <a:lnTo>
                    <a:pt x="60" y="52"/>
                  </a:lnTo>
                  <a:lnTo>
                    <a:pt x="58" y="50"/>
                  </a:lnTo>
                  <a:lnTo>
                    <a:pt x="58" y="48"/>
                  </a:lnTo>
                  <a:lnTo>
                    <a:pt x="58" y="48"/>
                  </a:lnTo>
                  <a:lnTo>
                    <a:pt x="58" y="46"/>
                  </a:lnTo>
                  <a:lnTo>
                    <a:pt x="56" y="46"/>
                  </a:lnTo>
                  <a:lnTo>
                    <a:pt x="56" y="44"/>
                  </a:lnTo>
                  <a:lnTo>
                    <a:pt x="58" y="40"/>
                  </a:lnTo>
                  <a:lnTo>
                    <a:pt x="58" y="40"/>
                  </a:lnTo>
                  <a:lnTo>
                    <a:pt x="64" y="34"/>
                  </a:lnTo>
                  <a:lnTo>
                    <a:pt x="68" y="30"/>
                  </a:lnTo>
                  <a:lnTo>
                    <a:pt x="70" y="28"/>
                  </a:lnTo>
                  <a:lnTo>
                    <a:pt x="70" y="26"/>
                  </a:lnTo>
                  <a:lnTo>
                    <a:pt x="70" y="26"/>
                  </a:lnTo>
                  <a:lnTo>
                    <a:pt x="70" y="26"/>
                  </a:lnTo>
                  <a:lnTo>
                    <a:pt x="72" y="24"/>
                  </a:lnTo>
                  <a:lnTo>
                    <a:pt x="80" y="24"/>
                  </a:lnTo>
                  <a:lnTo>
                    <a:pt x="80" y="24"/>
                  </a:lnTo>
                  <a:lnTo>
                    <a:pt x="88" y="24"/>
                  </a:lnTo>
                  <a:lnTo>
                    <a:pt x="92" y="26"/>
                  </a:lnTo>
                  <a:lnTo>
                    <a:pt x="94" y="30"/>
                  </a:lnTo>
                  <a:lnTo>
                    <a:pt x="96" y="30"/>
                  </a:lnTo>
                  <a:lnTo>
                    <a:pt x="96" y="30"/>
                  </a:lnTo>
                  <a:lnTo>
                    <a:pt x="100" y="30"/>
                  </a:lnTo>
                  <a:lnTo>
                    <a:pt x="100" y="32"/>
                  </a:lnTo>
                  <a:lnTo>
                    <a:pt x="100" y="38"/>
                  </a:lnTo>
                  <a:lnTo>
                    <a:pt x="100" y="38"/>
                  </a:lnTo>
                  <a:lnTo>
                    <a:pt x="108" y="34"/>
                  </a:lnTo>
                  <a:lnTo>
                    <a:pt x="112" y="28"/>
                  </a:lnTo>
                  <a:lnTo>
                    <a:pt x="112" y="28"/>
                  </a:lnTo>
                  <a:lnTo>
                    <a:pt x="112" y="36"/>
                  </a:lnTo>
                  <a:lnTo>
                    <a:pt x="112" y="38"/>
                  </a:lnTo>
                  <a:lnTo>
                    <a:pt x="110" y="38"/>
                  </a:lnTo>
                  <a:lnTo>
                    <a:pt x="110" y="38"/>
                  </a:lnTo>
                  <a:lnTo>
                    <a:pt x="106" y="38"/>
                  </a:lnTo>
                  <a:lnTo>
                    <a:pt x="104" y="40"/>
                  </a:lnTo>
                  <a:lnTo>
                    <a:pt x="104" y="40"/>
                  </a:lnTo>
                  <a:lnTo>
                    <a:pt x="102" y="44"/>
                  </a:lnTo>
                  <a:lnTo>
                    <a:pt x="100" y="48"/>
                  </a:lnTo>
                  <a:lnTo>
                    <a:pt x="102" y="52"/>
                  </a:lnTo>
                  <a:lnTo>
                    <a:pt x="102" y="54"/>
                  </a:lnTo>
                  <a:lnTo>
                    <a:pt x="102" y="54"/>
                  </a:lnTo>
                  <a:lnTo>
                    <a:pt x="100" y="58"/>
                  </a:lnTo>
                  <a:lnTo>
                    <a:pt x="102" y="58"/>
                  </a:lnTo>
                  <a:lnTo>
                    <a:pt x="104" y="60"/>
                  </a:lnTo>
                  <a:lnTo>
                    <a:pt x="104" y="62"/>
                  </a:lnTo>
                  <a:lnTo>
                    <a:pt x="104" y="62"/>
                  </a:lnTo>
                  <a:lnTo>
                    <a:pt x="106" y="58"/>
                  </a:lnTo>
                  <a:lnTo>
                    <a:pt x="108" y="54"/>
                  </a:lnTo>
                  <a:lnTo>
                    <a:pt x="108" y="54"/>
                  </a:lnTo>
                  <a:lnTo>
                    <a:pt x="108" y="52"/>
                  </a:lnTo>
                  <a:lnTo>
                    <a:pt x="110" y="52"/>
                  </a:lnTo>
                  <a:lnTo>
                    <a:pt x="112" y="52"/>
                  </a:lnTo>
                  <a:lnTo>
                    <a:pt x="118" y="50"/>
                  </a:lnTo>
                  <a:lnTo>
                    <a:pt x="118" y="50"/>
                  </a:lnTo>
                  <a:lnTo>
                    <a:pt x="120" y="46"/>
                  </a:lnTo>
                  <a:lnTo>
                    <a:pt x="120" y="44"/>
                  </a:lnTo>
                  <a:lnTo>
                    <a:pt x="118" y="44"/>
                  </a:lnTo>
                  <a:lnTo>
                    <a:pt x="120" y="40"/>
                  </a:lnTo>
                  <a:lnTo>
                    <a:pt x="120" y="40"/>
                  </a:lnTo>
                  <a:lnTo>
                    <a:pt x="122" y="38"/>
                  </a:lnTo>
                  <a:lnTo>
                    <a:pt x="120" y="38"/>
                  </a:lnTo>
                  <a:lnTo>
                    <a:pt x="118" y="36"/>
                  </a:lnTo>
                  <a:lnTo>
                    <a:pt x="118" y="34"/>
                  </a:lnTo>
                  <a:lnTo>
                    <a:pt x="118" y="34"/>
                  </a:lnTo>
                  <a:lnTo>
                    <a:pt x="118" y="32"/>
                  </a:lnTo>
                  <a:lnTo>
                    <a:pt x="118" y="30"/>
                  </a:lnTo>
                  <a:lnTo>
                    <a:pt x="118" y="28"/>
                  </a:lnTo>
                  <a:lnTo>
                    <a:pt x="120" y="24"/>
                  </a:lnTo>
                  <a:lnTo>
                    <a:pt x="120" y="24"/>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 name="Uruguay"/>
            <p:cNvSpPr>
              <a:spLocks/>
            </p:cNvSpPr>
            <p:nvPr/>
          </p:nvSpPr>
          <p:spPr bwMode="auto">
            <a:xfrm>
              <a:off x="2618017" y="4597136"/>
              <a:ext cx="140229" cy="150813"/>
            </a:xfrm>
            <a:custGeom>
              <a:avLst/>
              <a:gdLst/>
              <a:ahLst/>
              <a:cxnLst>
                <a:cxn ang="0">
                  <a:pos x="6" y="78"/>
                </a:cxn>
                <a:cxn ang="0">
                  <a:pos x="10" y="96"/>
                </a:cxn>
                <a:cxn ang="0">
                  <a:pos x="20" y="102"/>
                </a:cxn>
                <a:cxn ang="0">
                  <a:pos x="36" y="104"/>
                </a:cxn>
                <a:cxn ang="0">
                  <a:pos x="38" y="106"/>
                </a:cxn>
                <a:cxn ang="0">
                  <a:pos x="48" y="108"/>
                </a:cxn>
                <a:cxn ang="0">
                  <a:pos x="58" y="110"/>
                </a:cxn>
                <a:cxn ang="0">
                  <a:pos x="62" y="112"/>
                </a:cxn>
                <a:cxn ang="0">
                  <a:pos x="82" y="114"/>
                </a:cxn>
                <a:cxn ang="0">
                  <a:pos x="94" y="108"/>
                </a:cxn>
                <a:cxn ang="0">
                  <a:pos x="106" y="98"/>
                </a:cxn>
                <a:cxn ang="0">
                  <a:pos x="102" y="90"/>
                </a:cxn>
                <a:cxn ang="0">
                  <a:pos x="104" y="82"/>
                </a:cxn>
                <a:cxn ang="0">
                  <a:pos x="106" y="72"/>
                </a:cxn>
                <a:cxn ang="0">
                  <a:pos x="98" y="64"/>
                </a:cxn>
                <a:cxn ang="0">
                  <a:pos x="92" y="58"/>
                </a:cxn>
                <a:cxn ang="0">
                  <a:pos x="88" y="56"/>
                </a:cxn>
                <a:cxn ang="0">
                  <a:pos x="82" y="50"/>
                </a:cxn>
                <a:cxn ang="0">
                  <a:pos x="66" y="38"/>
                </a:cxn>
                <a:cxn ang="0">
                  <a:pos x="56" y="34"/>
                </a:cxn>
                <a:cxn ang="0">
                  <a:pos x="52" y="30"/>
                </a:cxn>
                <a:cxn ang="0">
                  <a:pos x="46" y="32"/>
                </a:cxn>
                <a:cxn ang="0">
                  <a:pos x="44" y="32"/>
                </a:cxn>
                <a:cxn ang="0">
                  <a:pos x="42" y="26"/>
                </a:cxn>
                <a:cxn ang="0">
                  <a:pos x="40" y="14"/>
                </a:cxn>
                <a:cxn ang="0">
                  <a:pos x="34" y="6"/>
                </a:cxn>
                <a:cxn ang="0">
                  <a:pos x="30" y="0"/>
                </a:cxn>
                <a:cxn ang="0">
                  <a:pos x="22" y="2"/>
                </a:cxn>
                <a:cxn ang="0">
                  <a:pos x="12" y="8"/>
                </a:cxn>
                <a:cxn ang="0">
                  <a:pos x="4" y="8"/>
                </a:cxn>
                <a:cxn ang="0">
                  <a:pos x="2" y="24"/>
                </a:cxn>
                <a:cxn ang="0">
                  <a:pos x="2" y="38"/>
                </a:cxn>
                <a:cxn ang="0">
                  <a:pos x="0" y="44"/>
                </a:cxn>
                <a:cxn ang="0">
                  <a:pos x="4" y="62"/>
                </a:cxn>
                <a:cxn ang="0">
                  <a:pos x="6" y="74"/>
                </a:cxn>
                <a:cxn ang="0">
                  <a:pos x="6" y="78"/>
                </a:cxn>
              </a:cxnLst>
              <a:rect l="0" t="0" r="r" b="b"/>
              <a:pathLst>
                <a:path w="106" h="114">
                  <a:moveTo>
                    <a:pt x="6" y="78"/>
                  </a:moveTo>
                  <a:lnTo>
                    <a:pt x="6" y="78"/>
                  </a:lnTo>
                  <a:lnTo>
                    <a:pt x="8" y="88"/>
                  </a:lnTo>
                  <a:lnTo>
                    <a:pt x="10" y="96"/>
                  </a:lnTo>
                  <a:lnTo>
                    <a:pt x="16" y="100"/>
                  </a:lnTo>
                  <a:lnTo>
                    <a:pt x="20" y="102"/>
                  </a:lnTo>
                  <a:lnTo>
                    <a:pt x="30" y="104"/>
                  </a:lnTo>
                  <a:lnTo>
                    <a:pt x="36" y="104"/>
                  </a:lnTo>
                  <a:lnTo>
                    <a:pt x="38" y="106"/>
                  </a:lnTo>
                  <a:lnTo>
                    <a:pt x="38" y="106"/>
                  </a:lnTo>
                  <a:lnTo>
                    <a:pt x="42" y="108"/>
                  </a:lnTo>
                  <a:lnTo>
                    <a:pt x="48" y="108"/>
                  </a:lnTo>
                  <a:lnTo>
                    <a:pt x="52" y="108"/>
                  </a:lnTo>
                  <a:lnTo>
                    <a:pt x="58" y="110"/>
                  </a:lnTo>
                  <a:lnTo>
                    <a:pt x="58" y="110"/>
                  </a:lnTo>
                  <a:lnTo>
                    <a:pt x="62" y="112"/>
                  </a:lnTo>
                  <a:lnTo>
                    <a:pt x="68" y="114"/>
                  </a:lnTo>
                  <a:lnTo>
                    <a:pt x="82" y="114"/>
                  </a:lnTo>
                  <a:lnTo>
                    <a:pt x="88" y="112"/>
                  </a:lnTo>
                  <a:lnTo>
                    <a:pt x="94" y="108"/>
                  </a:lnTo>
                  <a:lnTo>
                    <a:pt x="100" y="102"/>
                  </a:lnTo>
                  <a:lnTo>
                    <a:pt x="106" y="98"/>
                  </a:lnTo>
                  <a:lnTo>
                    <a:pt x="106" y="98"/>
                  </a:lnTo>
                  <a:lnTo>
                    <a:pt x="102" y="90"/>
                  </a:lnTo>
                  <a:lnTo>
                    <a:pt x="104" y="82"/>
                  </a:lnTo>
                  <a:lnTo>
                    <a:pt x="104" y="82"/>
                  </a:lnTo>
                  <a:lnTo>
                    <a:pt x="106" y="74"/>
                  </a:lnTo>
                  <a:lnTo>
                    <a:pt x="106" y="72"/>
                  </a:lnTo>
                  <a:lnTo>
                    <a:pt x="102" y="70"/>
                  </a:lnTo>
                  <a:lnTo>
                    <a:pt x="98" y="64"/>
                  </a:lnTo>
                  <a:lnTo>
                    <a:pt x="98" y="64"/>
                  </a:lnTo>
                  <a:lnTo>
                    <a:pt x="92" y="58"/>
                  </a:lnTo>
                  <a:lnTo>
                    <a:pt x="90" y="56"/>
                  </a:lnTo>
                  <a:lnTo>
                    <a:pt x="88" y="56"/>
                  </a:lnTo>
                  <a:lnTo>
                    <a:pt x="82" y="50"/>
                  </a:lnTo>
                  <a:lnTo>
                    <a:pt x="82" y="50"/>
                  </a:lnTo>
                  <a:lnTo>
                    <a:pt x="74" y="42"/>
                  </a:lnTo>
                  <a:lnTo>
                    <a:pt x="66" y="38"/>
                  </a:lnTo>
                  <a:lnTo>
                    <a:pt x="60" y="38"/>
                  </a:lnTo>
                  <a:lnTo>
                    <a:pt x="56" y="34"/>
                  </a:lnTo>
                  <a:lnTo>
                    <a:pt x="56" y="34"/>
                  </a:lnTo>
                  <a:lnTo>
                    <a:pt x="52" y="30"/>
                  </a:lnTo>
                  <a:lnTo>
                    <a:pt x="50" y="32"/>
                  </a:lnTo>
                  <a:lnTo>
                    <a:pt x="46" y="32"/>
                  </a:lnTo>
                  <a:lnTo>
                    <a:pt x="46" y="32"/>
                  </a:lnTo>
                  <a:lnTo>
                    <a:pt x="44" y="32"/>
                  </a:lnTo>
                  <a:lnTo>
                    <a:pt x="44" y="30"/>
                  </a:lnTo>
                  <a:lnTo>
                    <a:pt x="42" y="26"/>
                  </a:lnTo>
                  <a:lnTo>
                    <a:pt x="42" y="20"/>
                  </a:lnTo>
                  <a:lnTo>
                    <a:pt x="40" y="14"/>
                  </a:lnTo>
                  <a:lnTo>
                    <a:pt x="40" y="14"/>
                  </a:lnTo>
                  <a:lnTo>
                    <a:pt x="34" y="6"/>
                  </a:lnTo>
                  <a:lnTo>
                    <a:pt x="32" y="2"/>
                  </a:lnTo>
                  <a:lnTo>
                    <a:pt x="30" y="0"/>
                  </a:lnTo>
                  <a:lnTo>
                    <a:pt x="30" y="0"/>
                  </a:lnTo>
                  <a:lnTo>
                    <a:pt x="22" y="2"/>
                  </a:lnTo>
                  <a:lnTo>
                    <a:pt x="16" y="4"/>
                  </a:lnTo>
                  <a:lnTo>
                    <a:pt x="12" y="8"/>
                  </a:lnTo>
                  <a:lnTo>
                    <a:pt x="4" y="8"/>
                  </a:lnTo>
                  <a:lnTo>
                    <a:pt x="4" y="8"/>
                  </a:lnTo>
                  <a:lnTo>
                    <a:pt x="2" y="18"/>
                  </a:lnTo>
                  <a:lnTo>
                    <a:pt x="2" y="24"/>
                  </a:lnTo>
                  <a:lnTo>
                    <a:pt x="2" y="28"/>
                  </a:lnTo>
                  <a:lnTo>
                    <a:pt x="2" y="38"/>
                  </a:lnTo>
                  <a:lnTo>
                    <a:pt x="2" y="38"/>
                  </a:lnTo>
                  <a:lnTo>
                    <a:pt x="0" y="44"/>
                  </a:lnTo>
                  <a:lnTo>
                    <a:pt x="0" y="50"/>
                  </a:lnTo>
                  <a:lnTo>
                    <a:pt x="4" y="62"/>
                  </a:lnTo>
                  <a:lnTo>
                    <a:pt x="6" y="70"/>
                  </a:lnTo>
                  <a:lnTo>
                    <a:pt x="6" y="74"/>
                  </a:lnTo>
                  <a:lnTo>
                    <a:pt x="6" y="78"/>
                  </a:lnTo>
                  <a:lnTo>
                    <a:pt x="6" y="78"/>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 name="Paraguay"/>
            <p:cNvSpPr>
              <a:spLocks/>
            </p:cNvSpPr>
            <p:nvPr/>
          </p:nvSpPr>
          <p:spPr bwMode="auto">
            <a:xfrm>
              <a:off x="2440747" y="4250531"/>
              <a:ext cx="240771" cy="280458"/>
            </a:xfrm>
            <a:custGeom>
              <a:avLst/>
              <a:gdLst/>
              <a:ahLst/>
              <a:cxnLst>
                <a:cxn ang="0">
                  <a:pos x="4" y="82"/>
                </a:cxn>
                <a:cxn ang="0">
                  <a:pos x="4" y="58"/>
                </a:cxn>
                <a:cxn ang="0">
                  <a:pos x="0" y="36"/>
                </a:cxn>
                <a:cxn ang="0">
                  <a:pos x="6" y="24"/>
                </a:cxn>
                <a:cxn ang="0">
                  <a:pos x="12" y="8"/>
                </a:cxn>
                <a:cxn ang="0">
                  <a:pos x="46" y="0"/>
                </a:cxn>
                <a:cxn ang="0">
                  <a:pos x="70" y="2"/>
                </a:cxn>
                <a:cxn ang="0">
                  <a:pos x="84" y="10"/>
                </a:cxn>
                <a:cxn ang="0">
                  <a:pos x="94" y="20"/>
                </a:cxn>
                <a:cxn ang="0">
                  <a:pos x="100" y="34"/>
                </a:cxn>
                <a:cxn ang="0">
                  <a:pos x="108" y="48"/>
                </a:cxn>
                <a:cxn ang="0">
                  <a:pos x="106" y="62"/>
                </a:cxn>
                <a:cxn ang="0">
                  <a:pos x="106" y="84"/>
                </a:cxn>
                <a:cxn ang="0">
                  <a:pos x="120" y="88"/>
                </a:cxn>
                <a:cxn ang="0">
                  <a:pos x="134" y="90"/>
                </a:cxn>
                <a:cxn ang="0">
                  <a:pos x="148" y="94"/>
                </a:cxn>
                <a:cxn ang="0">
                  <a:pos x="154" y="98"/>
                </a:cxn>
                <a:cxn ang="0">
                  <a:pos x="154" y="114"/>
                </a:cxn>
                <a:cxn ang="0">
                  <a:pos x="156" y="126"/>
                </a:cxn>
                <a:cxn ang="0">
                  <a:pos x="164" y="128"/>
                </a:cxn>
                <a:cxn ang="0">
                  <a:pos x="178" y="130"/>
                </a:cxn>
                <a:cxn ang="0">
                  <a:pos x="180" y="144"/>
                </a:cxn>
                <a:cxn ang="0">
                  <a:pos x="180" y="172"/>
                </a:cxn>
                <a:cxn ang="0">
                  <a:pos x="178" y="182"/>
                </a:cxn>
                <a:cxn ang="0">
                  <a:pos x="176" y="188"/>
                </a:cxn>
                <a:cxn ang="0">
                  <a:pos x="172" y="192"/>
                </a:cxn>
                <a:cxn ang="0">
                  <a:pos x="166" y="202"/>
                </a:cxn>
                <a:cxn ang="0">
                  <a:pos x="154" y="206"/>
                </a:cxn>
                <a:cxn ang="0">
                  <a:pos x="146" y="210"/>
                </a:cxn>
                <a:cxn ang="0">
                  <a:pos x="138" y="212"/>
                </a:cxn>
                <a:cxn ang="0">
                  <a:pos x="134" y="210"/>
                </a:cxn>
                <a:cxn ang="0">
                  <a:pos x="112" y="202"/>
                </a:cxn>
                <a:cxn ang="0">
                  <a:pos x="100" y="202"/>
                </a:cxn>
                <a:cxn ang="0">
                  <a:pos x="104" y="190"/>
                </a:cxn>
                <a:cxn ang="0">
                  <a:pos x="108" y="178"/>
                </a:cxn>
                <a:cxn ang="0">
                  <a:pos x="112" y="170"/>
                </a:cxn>
                <a:cxn ang="0">
                  <a:pos x="104" y="162"/>
                </a:cxn>
                <a:cxn ang="0">
                  <a:pos x="96" y="154"/>
                </a:cxn>
                <a:cxn ang="0">
                  <a:pos x="78" y="142"/>
                </a:cxn>
                <a:cxn ang="0">
                  <a:pos x="66" y="138"/>
                </a:cxn>
                <a:cxn ang="0">
                  <a:pos x="50" y="132"/>
                </a:cxn>
                <a:cxn ang="0">
                  <a:pos x="44" y="128"/>
                </a:cxn>
                <a:cxn ang="0">
                  <a:pos x="18" y="106"/>
                </a:cxn>
                <a:cxn ang="0">
                  <a:pos x="12" y="100"/>
                </a:cxn>
                <a:cxn ang="0">
                  <a:pos x="6" y="90"/>
                </a:cxn>
              </a:cxnLst>
              <a:rect l="0" t="0" r="r" b="b"/>
              <a:pathLst>
                <a:path w="182" h="212">
                  <a:moveTo>
                    <a:pt x="6" y="90"/>
                  </a:moveTo>
                  <a:lnTo>
                    <a:pt x="6" y="90"/>
                  </a:lnTo>
                  <a:lnTo>
                    <a:pt x="4" y="82"/>
                  </a:lnTo>
                  <a:lnTo>
                    <a:pt x="4" y="68"/>
                  </a:lnTo>
                  <a:lnTo>
                    <a:pt x="4" y="68"/>
                  </a:lnTo>
                  <a:lnTo>
                    <a:pt x="4" y="58"/>
                  </a:lnTo>
                  <a:lnTo>
                    <a:pt x="2" y="48"/>
                  </a:lnTo>
                  <a:lnTo>
                    <a:pt x="0" y="40"/>
                  </a:lnTo>
                  <a:lnTo>
                    <a:pt x="0" y="36"/>
                  </a:lnTo>
                  <a:lnTo>
                    <a:pt x="2" y="32"/>
                  </a:lnTo>
                  <a:lnTo>
                    <a:pt x="2" y="32"/>
                  </a:lnTo>
                  <a:lnTo>
                    <a:pt x="6" y="24"/>
                  </a:lnTo>
                  <a:lnTo>
                    <a:pt x="8" y="16"/>
                  </a:lnTo>
                  <a:lnTo>
                    <a:pt x="10" y="10"/>
                  </a:lnTo>
                  <a:lnTo>
                    <a:pt x="12" y="8"/>
                  </a:lnTo>
                  <a:lnTo>
                    <a:pt x="16" y="6"/>
                  </a:lnTo>
                  <a:lnTo>
                    <a:pt x="16" y="6"/>
                  </a:lnTo>
                  <a:lnTo>
                    <a:pt x="46" y="0"/>
                  </a:lnTo>
                  <a:lnTo>
                    <a:pt x="58" y="0"/>
                  </a:lnTo>
                  <a:lnTo>
                    <a:pt x="70" y="2"/>
                  </a:lnTo>
                  <a:lnTo>
                    <a:pt x="70" y="2"/>
                  </a:lnTo>
                  <a:lnTo>
                    <a:pt x="80" y="6"/>
                  </a:lnTo>
                  <a:lnTo>
                    <a:pt x="82" y="8"/>
                  </a:lnTo>
                  <a:lnTo>
                    <a:pt x="84" y="10"/>
                  </a:lnTo>
                  <a:lnTo>
                    <a:pt x="92" y="14"/>
                  </a:lnTo>
                  <a:lnTo>
                    <a:pt x="92" y="14"/>
                  </a:lnTo>
                  <a:lnTo>
                    <a:pt x="94" y="20"/>
                  </a:lnTo>
                  <a:lnTo>
                    <a:pt x="94" y="24"/>
                  </a:lnTo>
                  <a:lnTo>
                    <a:pt x="94" y="26"/>
                  </a:lnTo>
                  <a:lnTo>
                    <a:pt x="100" y="34"/>
                  </a:lnTo>
                  <a:lnTo>
                    <a:pt x="100" y="34"/>
                  </a:lnTo>
                  <a:lnTo>
                    <a:pt x="106" y="42"/>
                  </a:lnTo>
                  <a:lnTo>
                    <a:pt x="108" y="48"/>
                  </a:lnTo>
                  <a:lnTo>
                    <a:pt x="108" y="52"/>
                  </a:lnTo>
                  <a:lnTo>
                    <a:pt x="106" y="62"/>
                  </a:lnTo>
                  <a:lnTo>
                    <a:pt x="106" y="62"/>
                  </a:lnTo>
                  <a:lnTo>
                    <a:pt x="100" y="80"/>
                  </a:lnTo>
                  <a:lnTo>
                    <a:pt x="100" y="84"/>
                  </a:lnTo>
                  <a:lnTo>
                    <a:pt x="106" y="84"/>
                  </a:lnTo>
                  <a:lnTo>
                    <a:pt x="106" y="84"/>
                  </a:lnTo>
                  <a:lnTo>
                    <a:pt x="114" y="86"/>
                  </a:lnTo>
                  <a:lnTo>
                    <a:pt x="120" y="88"/>
                  </a:lnTo>
                  <a:lnTo>
                    <a:pt x="126" y="90"/>
                  </a:lnTo>
                  <a:lnTo>
                    <a:pt x="134" y="90"/>
                  </a:lnTo>
                  <a:lnTo>
                    <a:pt x="134" y="90"/>
                  </a:lnTo>
                  <a:lnTo>
                    <a:pt x="138" y="90"/>
                  </a:lnTo>
                  <a:lnTo>
                    <a:pt x="142" y="90"/>
                  </a:lnTo>
                  <a:lnTo>
                    <a:pt x="148" y="94"/>
                  </a:lnTo>
                  <a:lnTo>
                    <a:pt x="148" y="94"/>
                  </a:lnTo>
                  <a:lnTo>
                    <a:pt x="152" y="96"/>
                  </a:lnTo>
                  <a:lnTo>
                    <a:pt x="154" y="98"/>
                  </a:lnTo>
                  <a:lnTo>
                    <a:pt x="154" y="102"/>
                  </a:lnTo>
                  <a:lnTo>
                    <a:pt x="152" y="108"/>
                  </a:lnTo>
                  <a:lnTo>
                    <a:pt x="154" y="114"/>
                  </a:lnTo>
                  <a:lnTo>
                    <a:pt x="154" y="114"/>
                  </a:lnTo>
                  <a:lnTo>
                    <a:pt x="156" y="122"/>
                  </a:lnTo>
                  <a:lnTo>
                    <a:pt x="156" y="126"/>
                  </a:lnTo>
                  <a:lnTo>
                    <a:pt x="158" y="128"/>
                  </a:lnTo>
                  <a:lnTo>
                    <a:pt x="164" y="128"/>
                  </a:lnTo>
                  <a:lnTo>
                    <a:pt x="164" y="128"/>
                  </a:lnTo>
                  <a:lnTo>
                    <a:pt x="170" y="126"/>
                  </a:lnTo>
                  <a:lnTo>
                    <a:pt x="176" y="128"/>
                  </a:lnTo>
                  <a:lnTo>
                    <a:pt x="178" y="130"/>
                  </a:lnTo>
                  <a:lnTo>
                    <a:pt x="178" y="138"/>
                  </a:lnTo>
                  <a:lnTo>
                    <a:pt x="178" y="138"/>
                  </a:lnTo>
                  <a:lnTo>
                    <a:pt x="180" y="144"/>
                  </a:lnTo>
                  <a:lnTo>
                    <a:pt x="182" y="148"/>
                  </a:lnTo>
                  <a:lnTo>
                    <a:pt x="182" y="156"/>
                  </a:lnTo>
                  <a:lnTo>
                    <a:pt x="180" y="172"/>
                  </a:lnTo>
                  <a:lnTo>
                    <a:pt x="180" y="172"/>
                  </a:lnTo>
                  <a:lnTo>
                    <a:pt x="180" y="178"/>
                  </a:lnTo>
                  <a:lnTo>
                    <a:pt x="178" y="182"/>
                  </a:lnTo>
                  <a:lnTo>
                    <a:pt x="178" y="182"/>
                  </a:lnTo>
                  <a:lnTo>
                    <a:pt x="178" y="186"/>
                  </a:lnTo>
                  <a:lnTo>
                    <a:pt x="176" y="188"/>
                  </a:lnTo>
                  <a:lnTo>
                    <a:pt x="174" y="190"/>
                  </a:lnTo>
                  <a:lnTo>
                    <a:pt x="172" y="192"/>
                  </a:lnTo>
                  <a:lnTo>
                    <a:pt x="172" y="192"/>
                  </a:lnTo>
                  <a:lnTo>
                    <a:pt x="170" y="198"/>
                  </a:lnTo>
                  <a:lnTo>
                    <a:pt x="166" y="202"/>
                  </a:lnTo>
                  <a:lnTo>
                    <a:pt x="166" y="202"/>
                  </a:lnTo>
                  <a:lnTo>
                    <a:pt x="162" y="208"/>
                  </a:lnTo>
                  <a:lnTo>
                    <a:pt x="158" y="208"/>
                  </a:lnTo>
                  <a:lnTo>
                    <a:pt x="154" y="206"/>
                  </a:lnTo>
                  <a:lnTo>
                    <a:pt x="150" y="208"/>
                  </a:lnTo>
                  <a:lnTo>
                    <a:pt x="150" y="208"/>
                  </a:lnTo>
                  <a:lnTo>
                    <a:pt x="146" y="210"/>
                  </a:lnTo>
                  <a:lnTo>
                    <a:pt x="144" y="210"/>
                  </a:lnTo>
                  <a:lnTo>
                    <a:pt x="142" y="210"/>
                  </a:lnTo>
                  <a:lnTo>
                    <a:pt x="138" y="212"/>
                  </a:lnTo>
                  <a:lnTo>
                    <a:pt x="138" y="212"/>
                  </a:lnTo>
                  <a:lnTo>
                    <a:pt x="136" y="212"/>
                  </a:lnTo>
                  <a:lnTo>
                    <a:pt x="134" y="210"/>
                  </a:lnTo>
                  <a:lnTo>
                    <a:pt x="126" y="208"/>
                  </a:lnTo>
                  <a:lnTo>
                    <a:pt x="116" y="204"/>
                  </a:lnTo>
                  <a:lnTo>
                    <a:pt x="112" y="202"/>
                  </a:lnTo>
                  <a:lnTo>
                    <a:pt x="104" y="204"/>
                  </a:lnTo>
                  <a:lnTo>
                    <a:pt x="104" y="204"/>
                  </a:lnTo>
                  <a:lnTo>
                    <a:pt x="100" y="202"/>
                  </a:lnTo>
                  <a:lnTo>
                    <a:pt x="100" y="200"/>
                  </a:lnTo>
                  <a:lnTo>
                    <a:pt x="104" y="190"/>
                  </a:lnTo>
                  <a:lnTo>
                    <a:pt x="104" y="190"/>
                  </a:lnTo>
                  <a:lnTo>
                    <a:pt x="108" y="186"/>
                  </a:lnTo>
                  <a:lnTo>
                    <a:pt x="108" y="182"/>
                  </a:lnTo>
                  <a:lnTo>
                    <a:pt x="108" y="178"/>
                  </a:lnTo>
                  <a:lnTo>
                    <a:pt x="112" y="174"/>
                  </a:lnTo>
                  <a:lnTo>
                    <a:pt x="112" y="174"/>
                  </a:lnTo>
                  <a:lnTo>
                    <a:pt x="112" y="170"/>
                  </a:lnTo>
                  <a:lnTo>
                    <a:pt x="112" y="168"/>
                  </a:lnTo>
                  <a:lnTo>
                    <a:pt x="108" y="166"/>
                  </a:lnTo>
                  <a:lnTo>
                    <a:pt x="104" y="162"/>
                  </a:lnTo>
                  <a:lnTo>
                    <a:pt x="104" y="162"/>
                  </a:lnTo>
                  <a:lnTo>
                    <a:pt x="100" y="156"/>
                  </a:lnTo>
                  <a:lnTo>
                    <a:pt x="96" y="154"/>
                  </a:lnTo>
                  <a:lnTo>
                    <a:pt x="84" y="146"/>
                  </a:lnTo>
                  <a:lnTo>
                    <a:pt x="84" y="146"/>
                  </a:lnTo>
                  <a:lnTo>
                    <a:pt x="78" y="142"/>
                  </a:lnTo>
                  <a:lnTo>
                    <a:pt x="74" y="142"/>
                  </a:lnTo>
                  <a:lnTo>
                    <a:pt x="72" y="142"/>
                  </a:lnTo>
                  <a:lnTo>
                    <a:pt x="66" y="138"/>
                  </a:lnTo>
                  <a:lnTo>
                    <a:pt x="66" y="138"/>
                  </a:lnTo>
                  <a:lnTo>
                    <a:pt x="56" y="134"/>
                  </a:lnTo>
                  <a:lnTo>
                    <a:pt x="50" y="132"/>
                  </a:lnTo>
                  <a:lnTo>
                    <a:pt x="48" y="132"/>
                  </a:lnTo>
                  <a:lnTo>
                    <a:pt x="44" y="128"/>
                  </a:lnTo>
                  <a:lnTo>
                    <a:pt x="44" y="128"/>
                  </a:lnTo>
                  <a:lnTo>
                    <a:pt x="30" y="116"/>
                  </a:lnTo>
                  <a:lnTo>
                    <a:pt x="18" y="106"/>
                  </a:lnTo>
                  <a:lnTo>
                    <a:pt x="18" y="106"/>
                  </a:lnTo>
                  <a:lnTo>
                    <a:pt x="14" y="104"/>
                  </a:lnTo>
                  <a:lnTo>
                    <a:pt x="12" y="102"/>
                  </a:lnTo>
                  <a:lnTo>
                    <a:pt x="12" y="100"/>
                  </a:lnTo>
                  <a:lnTo>
                    <a:pt x="12" y="94"/>
                  </a:lnTo>
                  <a:lnTo>
                    <a:pt x="10" y="92"/>
                  </a:lnTo>
                  <a:lnTo>
                    <a:pt x="6" y="90"/>
                  </a:lnTo>
                  <a:lnTo>
                    <a:pt x="6" y="90"/>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 name="Bolivia"/>
            <p:cNvSpPr>
              <a:spLocks/>
            </p:cNvSpPr>
            <p:nvPr/>
          </p:nvSpPr>
          <p:spPr bwMode="auto">
            <a:xfrm>
              <a:off x="2202622" y="3964781"/>
              <a:ext cx="365125" cy="428625"/>
            </a:xfrm>
            <a:custGeom>
              <a:avLst/>
              <a:gdLst/>
              <a:ahLst/>
              <a:cxnLst>
                <a:cxn ang="0">
                  <a:pos x="14" y="30"/>
                </a:cxn>
                <a:cxn ang="0">
                  <a:pos x="28" y="30"/>
                </a:cxn>
                <a:cxn ang="0">
                  <a:pos x="42" y="22"/>
                </a:cxn>
                <a:cxn ang="0">
                  <a:pos x="52" y="14"/>
                </a:cxn>
                <a:cxn ang="0">
                  <a:pos x="76" y="0"/>
                </a:cxn>
                <a:cxn ang="0">
                  <a:pos x="92" y="4"/>
                </a:cxn>
                <a:cxn ang="0">
                  <a:pos x="102" y="50"/>
                </a:cxn>
                <a:cxn ang="0">
                  <a:pos x="112" y="62"/>
                </a:cxn>
                <a:cxn ang="0">
                  <a:pos x="130" y="64"/>
                </a:cxn>
                <a:cxn ang="0">
                  <a:pos x="148" y="74"/>
                </a:cxn>
                <a:cxn ang="0">
                  <a:pos x="158" y="80"/>
                </a:cxn>
                <a:cxn ang="0">
                  <a:pos x="178" y="92"/>
                </a:cxn>
                <a:cxn ang="0">
                  <a:pos x="194" y="102"/>
                </a:cxn>
                <a:cxn ang="0">
                  <a:pos x="206" y="124"/>
                </a:cxn>
                <a:cxn ang="0">
                  <a:pos x="206" y="134"/>
                </a:cxn>
                <a:cxn ang="0">
                  <a:pos x="208" y="140"/>
                </a:cxn>
                <a:cxn ang="0">
                  <a:pos x="252" y="158"/>
                </a:cxn>
                <a:cxn ang="0">
                  <a:pos x="248" y="170"/>
                </a:cxn>
                <a:cxn ang="0">
                  <a:pos x="254" y="176"/>
                </a:cxn>
                <a:cxn ang="0">
                  <a:pos x="272" y="188"/>
                </a:cxn>
                <a:cxn ang="0">
                  <a:pos x="276" y="198"/>
                </a:cxn>
                <a:cxn ang="0">
                  <a:pos x="274" y="208"/>
                </a:cxn>
                <a:cxn ang="0">
                  <a:pos x="272" y="222"/>
                </a:cxn>
                <a:cxn ang="0">
                  <a:pos x="272" y="230"/>
                </a:cxn>
                <a:cxn ang="0">
                  <a:pos x="250" y="218"/>
                </a:cxn>
                <a:cxn ang="0">
                  <a:pos x="196" y="222"/>
                </a:cxn>
                <a:cxn ang="0">
                  <a:pos x="188" y="232"/>
                </a:cxn>
                <a:cxn ang="0">
                  <a:pos x="180" y="252"/>
                </a:cxn>
                <a:cxn ang="0">
                  <a:pos x="184" y="284"/>
                </a:cxn>
                <a:cxn ang="0">
                  <a:pos x="186" y="306"/>
                </a:cxn>
                <a:cxn ang="0">
                  <a:pos x="168" y="306"/>
                </a:cxn>
                <a:cxn ang="0">
                  <a:pos x="152" y="304"/>
                </a:cxn>
                <a:cxn ang="0">
                  <a:pos x="150" y="316"/>
                </a:cxn>
                <a:cxn ang="0">
                  <a:pos x="148" y="322"/>
                </a:cxn>
                <a:cxn ang="0">
                  <a:pos x="138" y="306"/>
                </a:cxn>
                <a:cxn ang="0">
                  <a:pos x="118" y="304"/>
                </a:cxn>
                <a:cxn ang="0">
                  <a:pos x="114" y="298"/>
                </a:cxn>
                <a:cxn ang="0">
                  <a:pos x="106" y="302"/>
                </a:cxn>
                <a:cxn ang="0">
                  <a:pos x="94" y="316"/>
                </a:cxn>
                <a:cxn ang="0">
                  <a:pos x="90" y="322"/>
                </a:cxn>
                <a:cxn ang="0">
                  <a:pos x="74" y="318"/>
                </a:cxn>
                <a:cxn ang="0">
                  <a:pos x="58" y="272"/>
                </a:cxn>
                <a:cxn ang="0">
                  <a:pos x="52" y="244"/>
                </a:cxn>
                <a:cxn ang="0">
                  <a:pos x="36" y="214"/>
                </a:cxn>
                <a:cxn ang="0">
                  <a:pos x="22" y="190"/>
                </a:cxn>
                <a:cxn ang="0">
                  <a:pos x="22" y="182"/>
                </a:cxn>
                <a:cxn ang="0">
                  <a:pos x="30" y="164"/>
                </a:cxn>
                <a:cxn ang="0">
                  <a:pos x="30" y="148"/>
                </a:cxn>
                <a:cxn ang="0">
                  <a:pos x="28" y="136"/>
                </a:cxn>
                <a:cxn ang="0">
                  <a:pos x="22" y="126"/>
                </a:cxn>
                <a:cxn ang="0">
                  <a:pos x="24" y="114"/>
                </a:cxn>
                <a:cxn ang="0">
                  <a:pos x="20" y="86"/>
                </a:cxn>
                <a:cxn ang="0">
                  <a:pos x="24" y="70"/>
                </a:cxn>
                <a:cxn ang="0">
                  <a:pos x="0" y="30"/>
                </a:cxn>
              </a:cxnLst>
              <a:rect l="0" t="0" r="r" b="b"/>
              <a:pathLst>
                <a:path w="276" h="324">
                  <a:moveTo>
                    <a:pt x="0" y="30"/>
                  </a:moveTo>
                  <a:lnTo>
                    <a:pt x="0" y="30"/>
                  </a:lnTo>
                  <a:lnTo>
                    <a:pt x="8" y="30"/>
                  </a:lnTo>
                  <a:lnTo>
                    <a:pt x="14" y="30"/>
                  </a:lnTo>
                  <a:lnTo>
                    <a:pt x="20" y="34"/>
                  </a:lnTo>
                  <a:lnTo>
                    <a:pt x="24" y="34"/>
                  </a:lnTo>
                  <a:lnTo>
                    <a:pt x="28" y="30"/>
                  </a:lnTo>
                  <a:lnTo>
                    <a:pt x="28" y="30"/>
                  </a:lnTo>
                  <a:lnTo>
                    <a:pt x="34" y="28"/>
                  </a:lnTo>
                  <a:lnTo>
                    <a:pt x="38" y="28"/>
                  </a:lnTo>
                  <a:lnTo>
                    <a:pt x="40" y="26"/>
                  </a:lnTo>
                  <a:lnTo>
                    <a:pt x="42" y="22"/>
                  </a:lnTo>
                  <a:lnTo>
                    <a:pt x="42" y="22"/>
                  </a:lnTo>
                  <a:lnTo>
                    <a:pt x="42" y="18"/>
                  </a:lnTo>
                  <a:lnTo>
                    <a:pt x="46" y="16"/>
                  </a:lnTo>
                  <a:lnTo>
                    <a:pt x="52" y="14"/>
                  </a:lnTo>
                  <a:lnTo>
                    <a:pt x="58" y="8"/>
                  </a:lnTo>
                  <a:lnTo>
                    <a:pt x="58" y="8"/>
                  </a:lnTo>
                  <a:lnTo>
                    <a:pt x="64" y="4"/>
                  </a:lnTo>
                  <a:lnTo>
                    <a:pt x="76" y="0"/>
                  </a:lnTo>
                  <a:lnTo>
                    <a:pt x="86" y="0"/>
                  </a:lnTo>
                  <a:lnTo>
                    <a:pt x="90" y="0"/>
                  </a:lnTo>
                  <a:lnTo>
                    <a:pt x="92" y="4"/>
                  </a:lnTo>
                  <a:lnTo>
                    <a:pt x="92" y="4"/>
                  </a:lnTo>
                  <a:lnTo>
                    <a:pt x="92" y="30"/>
                  </a:lnTo>
                  <a:lnTo>
                    <a:pt x="96" y="44"/>
                  </a:lnTo>
                  <a:lnTo>
                    <a:pt x="98" y="48"/>
                  </a:lnTo>
                  <a:lnTo>
                    <a:pt x="102" y="50"/>
                  </a:lnTo>
                  <a:lnTo>
                    <a:pt x="102" y="50"/>
                  </a:lnTo>
                  <a:lnTo>
                    <a:pt x="106" y="54"/>
                  </a:lnTo>
                  <a:lnTo>
                    <a:pt x="108" y="58"/>
                  </a:lnTo>
                  <a:lnTo>
                    <a:pt x="112" y="62"/>
                  </a:lnTo>
                  <a:lnTo>
                    <a:pt x="116" y="64"/>
                  </a:lnTo>
                  <a:lnTo>
                    <a:pt x="124" y="64"/>
                  </a:lnTo>
                  <a:lnTo>
                    <a:pt x="124" y="64"/>
                  </a:lnTo>
                  <a:lnTo>
                    <a:pt x="130" y="64"/>
                  </a:lnTo>
                  <a:lnTo>
                    <a:pt x="134" y="64"/>
                  </a:lnTo>
                  <a:lnTo>
                    <a:pt x="140" y="68"/>
                  </a:lnTo>
                  <a:lnTo>
                    <a:pt x="144" y="72"/>
                  </a:lnTo>
                  <a:lnTo>
                    <a:pt x="148" y="74"/>
                  </a:lnTo>
                  <a:lnTo>
                    <a:pt x="150" y="74"/>
                  </a:lnTo>
                  <a:lnTo>
                    <a:pt x="150" y="74"/>
                  </a:lnTo>
                  <a:lnTo>
                    <a:pt x="156" y="76"/>
                  </a:lnTo>
                  <a:lnTo>
                    <a:pt x="158" y="80"/>
                  </a:lnTo>
                  <a:lnTo>
                    <a:pt x="160" y="84"/>
                  </a:lnTo>
                  <a:lnTo>
                    <a:pt x="170" y="88"/>
                  </a:lnTo>
                  <a:lnTo>
                    <a:pt x="170" y="88"/>
                  </a:lnTo>
                  <a:lnTo>
                    <a:pt x="178" y="92"/>
                  </a:lnTo>
                  <a:lnTo>
                    <a:pt x="180" y="94"/>
                  </a:lnTo>
                  <a:lnTo>
                    <a:pt x="182" y="98"/>
                  </a:lnTo>
                  <a:lnTo>
                    <a:pt x="194" y="102"/>
                  </a:lnTo>
                  <a:lnTo>
                    <a:pt x="194" y="102"/>
                  </a:lnTo>
                  <a:lnTo>
                    <a:pt x="204" y="108"/>
                  </a:lnTo>
                  <a:lnTo>
                    <a:pt x="206" y="112"/>
                  </a:lnTo>
                  <a:lnTo>
                    <a:pt x="206" y="116"/>
                  </a:lnTo>
                  <a:lnTo>
                    <a:pt x="206" y="124"/>
                  </a:lnTo>
                  <a:lnTo>
                    <a:pt x="206" y="124"/>
                  </a:lnTo>
                  <a:lnTo>
                    <a:pt x="208" y="128"/>
                  </a:lnTo>
                  <a:lnTo>
                    <a:pt x="208" y="132"/>
                  </a:lnTo>
                  <a:lnTo>
                    <a:pt x="206" y="134"/>
                  </a:lnTo>
                  <a:lnTo>
                    <a:pt x="208" y="138"/>
                  </a:lnTo>
                  <a:lnTo>
                    <a:pt x="208" y="138"/>
                  </a:lnTo>
                  <a:lnTo>
                    <a:pt x="208" y="140"/>
                  </a:lnTo>
                  <a:lnTo>
                    <a:pt x="208" y="140"/>
                  </a:lnTo>
                  <a:lnTo>
                    <a:pt x="206" y="140"/>
                  </a:lnTo>
                  <a:lnTo>
                    <a:pt x="208" y="144"/>
                  </a:lnTo>
                  <a:lnTo>
                    <a:pt x="218" y="158"/>
                  </a:lnTo>
                  <a:lnTo>
                    <a:pt x="252" y="158"/>
                  </a:lnTo>
                  <a:lnTo>
                    <a:pt x="252" y="158"/>
                  </a:lnTo>
                  <a:lnTo>
                    <a:pt x="252" y="162"/>
                  </a:lnTo>
                  <a:lnTo>
                    <a:pt x="252" y="166"/>
                  </a:lnTo>
                  <a:lnTo>
                    <a:pt x="248" y="170"/>
                  </a:lnTo>
                  <a:lnTo>
                    <a:pt x="248" y="172"/>
                  </a:lnTo>
                  <a:lnTo>
                    <a:pt x="248" y="174"/>
                  </a:lnTo>
                  <a:lnTo>
                    <a:pt x="254" y="176"/>
                  </a:lnTo>
                  <a:lnTo>
                    <a:pt x="254" y="176"/>
                  </a:lnTo>
                  <a:lnTo>
                    <a:pt x="262" y="178"/>
                  </a:lnTo>
                  <a:lnTo>
                    <a:pt x="266" y="180"/>
                  </a:lnTo>
                  <a:lnTo>
                    <a:pt x="268" y="184"/>
                  </a:lnTo>
                  <a:lnTo>
                    <a:pt x="272" y="188"/>
                  </a:lnTo>
                  <a:lnTo>
                    <a:pt x="272" y="188"/>
                  </a:lnTo>
                  <a:lnTo>
                    <a:pt x="274" y="190"/>
                  </a:lnTo>
                  <a:lnTo>
                    <a:pt x="276" y="192"/>
                  </a:lnTo>
                  <a:lnTo>
                    <a:pt x="276" y="198"/>
                  </a:lnTo>
                  <a:lnTo>
                    <a:pt x="272" y="202"/>
                  </a:lnTo>
                  <a:lnTo>
                    <a:pt x="272" y="206"/>
                  </a:lnTo>
                  <a:lnTo>
                    <a:pt x="274" y="208"/>
                  </a:lnTo>
                  <a:lnTo>
                    <a:pt x="274" y="208"/>
                  </a:lnTo>
                  <a:lnTo>
                    <a:pt x="274" y="212"/>
                  </a:lnTo>
                  <a:lnTo>
                    <a:pt x="272" y="216"/>
                  </a:lnTo>
                  <a:lnTo>
                    <a:pt x="272" y="220"/>
                  </a:lnTo>
                  <a:lnTo>
                    <a:pt x="272" y="222"/>
                  </a:lnTo>
                  <a:lnTo>
                    <a:pt x="272" y="222"/>
                  </a:lnTo>
                  <a:lnTo>
                    <a:pt x="276" y="228"/>
                  </a:lnTo>
                  <a:lnTo>
                    <a:pt x="272" y="230"/>
                  </a:lnTo>
                  <a:lnTo>
                    <a:pt x="272" y="230"/>
                  </a:lnTo>
                  <a:lnTo>
                    <a:pt x="264" y="226"/>
                  </a:lnTo>
                  <a:lnTo>
                    <a:pt x="262" y="224"/>
                  </a:lnTo>
                  <a:lnTo>
                    <a:pt x="260" y="222"/>
                  </a:lnTo>
                  <a:lnTo>
                    <a:pt x="250" y="218"/>
                  </a:lnTo>
                  <a:lnTo>
                    <a:pt x="250" y="218"/>
                  </a:lnTo>
                  <a:lnTo>
                    <a:pt x="238" y="216"/>
                  </a:lnTo>
                  <a:lnTo>
                    <a:pt x="226" y="216"/>
                  </a:lnTo>
                  <a:lnTo>
                    <a:pt x="196" y="222"/>
                  </a:lnTo>
                  <a:lnTo>
                    <a:pt x="196" y="222"/>
                  </a:lnTo>
                  <a:lnTo>
                    <a:pt x="192" y="224"/>
                  </a:lnTo>
                  <a:lnTo>
                    <a:pt x="190" y="226"/>
                  </a:lnTo>
                  <a:lnTo>
                    <a:pt x="188" y="232"/>
                  </a:lnTo>
                  <a:lnTo>
                    <a:pt x="186" y="240"/>
                  </a:lnTo>
                  <a:lnTo>
                    <a:pt x="182" y="248"/>
                  </a:lnTo>
                  <a:lnTo>
                    <a:pt x="182" y="248"/>
                  </a:lnTo>
                  <a:lnTo>
                    <a:pt x="180" y="252"/>
                  </a:lnTo>
                  <a:lnTo>
                    <a:pt x="180" y="256"/>
                  </a:lnTo>
                  <a:lnTo>
                    <a:pt x="182" y="264"/>
                  </a:lnTo>
                  <a:lnTo>
                    <a:pt x="184" y="274"/>
                  </a:lnTo>
                  <a:lnTo>
                    <a:pt x="184" y="284"/>
                  </a:lnTo>
                  <a:lnTo>
                    <a:pt x="184" y="284"/>
                  </a:lnTo>
                  <a:lnTo>
                    <a:pt x="184" y="298"/>
                  </a:lnTo>
                  <a:lnTo>
                    <a:pt x="186" y="306"/>
                  </a:lnTo>
                  <a:lnTo>
                    <a:pt x="186" y="306"/>
                  </a:lnTo>
                  <a:lnTo>
                    <a:pt x="182" y="306"/>
                  </a:lnTo>
                  <a:lnTo>
                    <a:pt x="180" y="306"/>
                  </a:lnTo>
                  <a:lnTo>
                    <a:pt x="176" y="304"/>
                  </a:lnTo>
                  <a:lnTo>
                    <a:pt x="168" y="306"/>
                  </a:lnTo>
                  <a:lnTo>
                    <a:pt x="168" y="306"/>
                  </a:lnTo>
                  <a:lnTo>
                    <a:pt x="162" y="306"/>
                  </a:lnTo>
                  <a:lnTo>
                    <a:pt x="156" y="304"/>
                  </a:lnTo>
                  <a:lnTo>
                    <a:pt x="152" y="304"/>
                  </a:lnTo>
                  <a:lnTo>
                    <a:pt x="150" y="306"/>
                  </a:lnTo>
                  <a:lnTo>
                    <a:pt x="150" y="306"/>
                  </a:lnTo>
                  <a:lnTo>
                    <a:pt x="148" y="312"/>
                  </a:lnTo>
                  <a:lnTo>
                    <a:pt x="150" y="316"/>
                  </a:lnTo>
                  <a:lnTo>
                    <a:pt x="150" y="318"/>
                  </a:lnTo>
                  <a:lnTo>
                    <a:pt x="148" y="322"/>
                  </a:lnTo>
                  <a:lnTo>
                    <a:pt x="148" y="322"/>
                  </a:lnTo>
                  <a:lnTo>
                    <a:pt x="148" y="322"/>
                  </a:lnTo>
                  <a:lnTo>
                    <a:pt x="148" y="320"/>
                  </a:lnTo>
                  <a:lnTo>
                    <a:pt x="146" y="314"/>
                  </a:lnTo>
                  <a:lnTo>
                    <a:pt x="142" y="308"/>
                  </a:lnTo>
                  <a:lnTo>
                    <a:pt x="138" y="306"/>
                  </a:lnTo>
                  <a:lnTo>
                    <a:pt x="134" y="304"/>
                  </a:lnTo>
                  <a:lnTo>
                    <a:pt x="134" y="304"/>
                  </a:lnTo>
                  <a:lnTo>
                    <a:pt x="124" y="304"/>
                  </a:lnTo>
                  <a:lnTo>
                    <a:pt x="118" y="304"/>
                  </a:lnTo>
                  <a:lnTo>
                    <a:pt x="118" y="304"/>
                  </a:lnTo>
                  <a:lnTo>
                    <a:pt x="116" y="304"/>
                  </a:lnTo>
                  <a:lnTo>
                    <a:pt x="116" y="302"/>
                  </a:lnTo>
                  <a:lnTo>
                    <a:pt x="114" y="298"/>
                  </a:lnTo>
                  <a:lnTo>
                    <a:pt x="108" y="298"/>
                  </a:lnTo>
                  <a:lnTo>
                    <a:pt x="108" y="298"/>
                  </a:lnTo>
                  <a:lnTo>
                    <a:pt x="108" y="300"/>
                  </a:lnTo>
                  <a:lnTo>
                    <a:pt x="106" y="302"/>
                  </a:lnTo>
                  <a:lnTo>
                    <a:pt x="100" y="308"/>
                  </a:lnTo>
                  <a:lnTo>
                    <a:pt x="96" y="312"/>
                  </a:lnTo>
                  <a:lnTo>
                    <a:pt x="94" y="314"/>
                  </a:lnTo>
                  <a:lnTo>
                    <a:pt x="94" y="316"/>
                  </a:lnTo>
                  <a:lnTo>
                    <a:pt x="94" y="316"/>
                  </a:lnTo>
                  <a:lnTo>
                    <a:pt x="96" y="318"/>
                  </a:lnTo>
                  <a:lnTo>
                    <a:pt x="94" y="318"/>
                  </a:lnTo>
                  <a:lnTo>
                    <a:pt x="90" y="322"/>
                  </a:lnTo>
                  <a:lnTo>
                    <a:pt x="90" y="322"/>
                  </a:lnTo>
                  <a:lnTo>
                    <a:pt x="80" y="324"/>
                  </a:lnTo>
                  <a:lnTo>
                    <a:pt x="76" y="322"/>
                  </a:lnTo>
                  <a:lnTo>
                    <a:pt x="74" y="318"/>
                  </a:lnTo>
                  <a:lnTo>
                    <a:pt x="72" y="312"/>
                  </a:lnTo>
                  <a:lnTo>
                    <a:pt x="70" y="296"/>
                  </a:lnTo>
                  <a:lnTo>
                    <a:pt x="66" y="284"/>
                  </a:lnTo>
                  <a:lnTo>
                    <a:pt x="58" y="272"/>
                  </a:lnTo>
                  <a:lnTo>
                    <a:pt x="58" y="272"/>
                  </a:lnTo>
                  <a:lnTo>
                    <a:pt x="54" y="262"/>
                  </a:lnTo>
                  <a:lnTo>
                    <a:pt x="52" y="252"/>
                  </a:lnTo>
                  <a:lnTo>
                    <a:pt x="52" y="244"/>
                  </a:lnTo>
                  <a:lnTo>
                    <a:pt x="48" y="236"/>
                  </a:lnTo>
                  <a:lnTo>
                    <a:pt x="48" y="236"/>
                  </a:lnTo>
                  <a:lnTo>
                    <a:pt x="40" y="222"/>
                  </a:lnTo>
                  <a:lnTo>
                    <a:pt x="36" y="214"/>
                  </a:lnTo>
                  <a:lnTo>
                    <a:pt x="30" y="208"/>
                  </a:lnTo>
                  <a:lnTo>
                    <a:pt x="20" y="198"/>
                  </a:lnTo>
                  <a:lnTo>
                    <a:pt x="20" y="198"/>
                  </a:lnTo>
                  <a:lnTo>
                    <a:pt x="22" y="190"/>
                  </a:lnTo>
                  <a:lnTo>
                    <a:pt x="22" y="188"/>
                  </a:lnTo>
                  <a:lnTo>
                    <a:pt x="20" y="186"/>
                  </a:lnTo>
                  <a:lnTo>
                    <a:pt x="22" y="182"/>
                  </a:lnTo>
                  <a:lnTo>
                    <a:pt x="22" y="182"/>
                  </a:lnTo>
                  <a:lnTo>
                    <a:pt x="26" y="176"/>
                  </a:lnTo>
                  <a:lnTo>
                    <a:pt x="26" y="174"/>
                  </a:lnTo>
                  <a:lnTo>
                    <a:pt x="26" y="170"/>
                  </a:lnTo>
                  <a:lnTo>
                    <a:pt x="30" y="164"/>
                  </a:lnTo>
                  <a:lnTo>
                    <a:pt x="30" y="164"/>
                  </a:lnTo>
                  <a:lnTo>
                    <a:pt x="32" y="158"/>
                  </a:lnTo>
                  <a:lnTo>
                    <a:pt x="32" y="154"/>
                  </a:lnTo>
                  <a:lnTo>
                    <a:pt x="30" y="148"/>
                  </a:lnTo>
                  <a:lnTo>
                    <a:pt x="26" y="142"/>
                  </a:lnTo>
                  <a:lnTo>
                    <a:pt x="26" y="140"/>
                  </a:lnTo>
                  <a:lnTo>
                    <a:pt x="28" y="136"/>
                  </a:lnTo>
                  <a:lnTo>
                    <a:pt x="28" y="136"/>
                  </a:lnTo>
                  <a:lnTo>
                    <a:pt x="28" y="134"/>
                  </a:lnTo>
                  <a:lnTo>
                    <a:pt x="28" y="132"/>
                  </a:lnTo>
                  <a:lnTo>
                    <a:pt x="24" y="128"/>
                  </a:lnTo>
                  <a:lnTo>
                    <a:pt x="22" y="126"/>
                  </a:lnTo>
                  <a:lnTo>
                    <a:pt x="20" y="124"/>
                  </a:lnTo>
                  <a:lnTo>
                    <a:pt x="20" y="120"/>
                  </a:lnTo>
                  <a:lnTo>
                    <a:pt x="24" y="114"/>
                  </a:lnTo>
                  <a:lnTo>
                    <a:pt x="24" y="114"/>
                  </a:lnTo>
                  <a:lnTo>
                    <a:pt x="24" y="110"/>
                  </a:lnTo>
                  <a:lnTo>
                    <a:pt x="24" y="106"/>
                  </a:lnTo>
                  <a:lnTo>
                    <a:pt x="22" y="96"/>
                  </a:lnTo>
                  <a:lnTo>
                    <a:pt x="20" y="86"/>
                  </a:lnTo>
                  <a:lnTo>
                    <a:pt x="20" y="80"/>
                  </a:lnTo>
                  <a:lnTo>
                    <a:pt x="22" y="76"/>
                  </a:lnTo>
                  <a:lnTo>
                    <a:pt x="22" y="76"/>
                  </a:lnTo>
                  <a:lnTo>
                    <a:pt x="24" y="70"/>
                  </a:lnTo>
                  <a:lnTo>
                    <a:pt x="26" y="68"/>
                  </a:lnTo>
                  <a:lnTo>
                    <a:pt x="22" y="58"/>
                  </a:lnTo>
                  <a:lnTo>
                    <a:pt x="12" y="48"/>
                  </a:lnTo>
                  <a:lnTo>
                    <a:pt x="0" y="30"/>
                  </a:lnTo>
                  <a:lnTo>
                    <a:pt x="0" y="30"/>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 name="Ecuador"/>
            <p:cNvSpPr>
              <a:spLocks/>
            </p:cNvSpPr>
            <p:nvPr/>
          </p:nvSpPr>
          <p:spPr bwMode="auto">
            <a:xfrm>
              <a:off x="1882476" y="3589073"/>
              <a:ext cx="150813" cy="187854"/>
            </a:xfrm>
            <a:custGeom>
              <a:avLst/>
              <a:gdLst/>
              <a:ahLst/>
              <a:cxnLst>
                <a:cxn ang="0">
                  <a:pos x="36" y="0"/>
                </a:cxn>
                <a:cxn ang="0">
                  <a:pos x="30" y="4"/>
                </a:cxn>
                <a:cxn ang="0">
                  <a:pos x="22" y="8"/>
                </a:cxn>
                <a:cxn ang="0">
                  <a:pos x="20" y="10"/>
                </a:cxn>
                <a:cxn ang="0">
                  <a:pos x="14" y="12"/>
                </a:cxn>
                <a:cxn ang="0">
                  <a:pos x="12" y="14"/>
                </a:cxn>
                <a:cxn ang="0">
                  <a:pos x="14" y="18"/>
                </a:cxn>
                <a:cxn ang="0">
                  <a:pos x="14" y="24"/>
                </a:cxn>
                <a:cxn ang="0">
                  <a:pos x="12" y="28"/>
                </a:cxn>
                <a:cxn ang="0">
                  <a:pos x="12" y="32"/>
                </a:cxn>
                <a:cxn ang="0">
                  <a:pos x="10" y="40"/>
                </a:cxn>
                <a:cxn ang="0">
                  <a:pos x="0" y="64"/>
                </a:cxn>
                <a:cxn ang="0">
                  <a:pos x="2" y="66"/>
                </a:cxn>
                <a:cxn ang="0">
                  <a:pos x="4" y="66"/>
                </a:cxn>
                <a:cxn ang="0">
                  <a:pos x="2" y="70"/>
                </a:cxn>
                <a:cxn ang="0">
                  <a:pos x="4" y="70"/>
                </a:cxn>
                <a:cxn ang="0">
                  <a:pos x="2" y="72"/>
                </a:cxn>
                <a:cxn ang="0">
                  <a:pos x="0" y="78"/>
                </a:cxn>
                <a:cxn ang="0">
                  <a:pos x="0" y="80"/>
                </a:cxn>
                <a:cxn ang="0">
                  <a:pos x="2" y="84"/>
                </a:cxn>
                <a:cxn ang="0">
                  <a:pos x="2" y="86"/>
                </a:cxn>
                <a:cxn ang="0">
                  <a:pos x="4" y="88"/>
                </a:cxn>
                <a:cxn ang="0">
                  <a:pos x="4" y="92"/>
                </a:cxn>
                <a:cxn ang="0">
                  <a:pos x="2" y="92"/>
                </a:cxn>
                <a:cxn ang="0">
                  <a:pos x="4" y="94"/>
                </a:cxn>
                <a:cxn ang="0">
                  <a:pos x="6" y="96"/>
                </a:cxn>
                <a:cxn ang="0">
                  <a:pos x="10" y="100"/>
                </a:cxn>
                <a:cxn ang="0">
                  <a:pos x="12" y="94"/>
                </a:cxn>
                <a:cxn ang="0">
                  <a:pos x="12" y="92"/>
                </a:cxn>
                <a:cxn ang="0">
                  <a:pos x="16" y="90"/>
                </a:cxn>
                <a:cxn ang="0">
                  <a:pos x="18" y="92"/>
                </a:cxn>
                <a:cxn ang="0">
                  <a:pos x="20" y="96"/>
                </a:cxn>
                <a:cxn ang="0">
                  <a:pos x="18" y="104"/>
                </a:cxn>
                <a:cxn ang="0">
                  <a:pos x="10" y="118"/>
                </a:cxn>
                <a:cxn ang="0">
                  <a:pos x="4" y="122"/>
                </a:cxn>
                <a:cxn ang="0">
                  <a:pos x="2" y="130"/>
                </a:cxn>
                <a:cxn ang="0">
                  <a:pos x="6" y="136"/>
                </a:cxn>
                <a:cxn ang="0">
                  <a:pos x="14" y="134"/>
                </a:cxn>
                <a:cxn ang="0">
                  <a:pos x="18" y="134"/>
                </a:cxn>
                <a:cxn ang="0">
                  <a:pos x="28" y="140"/>
                </a:cxn>
                <a:cxn ang="0">
                  <a:pos x="36" y="140"/>
                </a:cxn>
                <a:cxn ang="0">
                  <a:pos x="40" y="136"/>
                </a:cxn>
                <a:cxn ang="0">
                  <a:pos x="46" y="128"/>
                </a:cxn>
                <a:cxn ang="0">
                  <a:pos x="46" y="120"/>
                </a:cxn>
                <a:cxn ang="0">
                  <a:pos x="52" y="116"/>
                </a:cxn>
                <a:cxn ang="0">
                  <a:pos x="58" y="110"/>
                </a:cxn>
                <a:cxn ang="0">
                  <a:pos x="70" y="104"/>
                </a:cxn>
                <a:cxn ang="0">
                  <a:pos x="84" y="96"/>
                </a:cxn>
                <a:cxn ang="0">
                  <a:pos x="100" y="78"/>
                </a:cxn>
                <a:cxn ang="0">
                  <a:pos x="108" y="68"/>
                </a:cxn>
                <a:cxn ang="0">
                  <a:pos x="114" y="52"/>
                </a:cxn>
                <a:cxn ang="0">
                  <a:pos x="112" y="36"/>
                </a:cxn>
                <a:cxn ang="0">
                  <a:pos x="88" y="24"/>
                </a:cxn>
                <a:cxn ang="0">
                  <a:pos x="88" y="26"/>
                </a:cxn>
                <a:cxn ang="0">
                  <a:pos x="86" y="26"/>
                </a:cxn>
                <a:cxn ang="0">
                  <a:pos x="78" y="26"/>
                </a:cxn>
                <a:cxn ang="0">
                  <a:pos x="64" y="18"/>
                </a:cxn>
                <a:cxn ang="0">
                  <a:pos x="60" y="12"/>
                </a:cxn>
                <a:cxn ang="0">
                  <a:pos x="36" y="0"/>
                </a:cxn>
              </a:cxnLst>
              <a:rect l="0" t="0" r="r" b="b"/>
              <a:pathLst>
                <a:path w="114" h="142">
                  <a:moveTo>
                    <a:pt x="36" y="0"/>
                  </a:moveTo>
                  <a:lnTo>
                    <a:pt x="36" y="0"/>
                  </a:lnTo>
                  <a:lnTo>
                    <a:pt x="32" y="2"/>
                  </a:lnTo>
                  <a:lnTo>
                    <a:pt x="30" y="4"/>
                  </a:lnTo>
                  <a:lnTo>
                    <a:pt x="26" y="6"/>
                  </a:lnTo>
                  <a:lnTo>
                    <a:pt x="22" y="8"/>
                  </a:lnTo>
                  <a:lnTo>
                    <a:pt x="22" y="8"/>
                  </a:lnTo>
                  <a:lnTo>
                    <a:pt x="20" y="10"/>
                  </a:lnTo>
                  <a:lnTo>
                    <a:pt x="16" y="10"/>
                  </a:lnTo>
                  <a:lnTo>
                    <a:pt x="14" y="12"/>
                  </a:lnTo>
                  <a:lnTo>
                    <a:pt x="12" y="14"/>
                  </a:lnTo>
                  <a:lnTo>
                    <a:pt x="12" y="14"/>
                  </a:lnTo>
                  <a:lnTo>
                    <a:pt x="12" y="16"/>
                  </a:lnTo>
                  <a:lnTo>
                    <a:pt x="14" y="18"/>
                  </a:lnTo>
                  <a:lnTo>
                    <a:pt x="16" y="18"/>
                  </a:lnTo>
                  <a:lnTo>
                    <a:pt x="14" y="24"/>
                  </a:lnTo>
                  <a:lnTo>
                    <a:pt x="14" y="24"/>
                  </a:lnTo>
                  <a:lnTo>
                    <a:pt x="12" y="28"/>
                  </a:lnTo>
                  <a:lnTo>
                    <a:pt x="12" y="30"/>
                  </a:lnTo>
                  <a:lnTo>
                    <a:pt x="12" y="32"/>
                  </a:lnTo>
                  <a:lnTo>
                    <a:pt x="10" y="40"/>
                  </a:lnTo>
                  <a:lnTo>
                    <a:pt x="10" y="40"/>
                  </a:lnTo>
                  <a:lnTo>
                    <a:pt x="0" y="58"/>
                  </a:lnTo>
                  <a:lnTo>
                    <a:pt x="0" y="64"/>
                  </a:lnTo>
                  <a:lnTo>
                    <a:pt x="0" y="64"/>
                  </a:lnTo>
                  <a:lnTo>
                    <a:pt x="2" y="66"/>
                  </a:lnTo>
                  <a:lnTo>
                    <a:pt x="2" y="66"/>
                  </a:lnTo>
                  <a:lnTo>
                    <a:pt x="4" y="66"/>
                  </a:lnTo>
                  <a:lnTo>
                    <a:pt x="2" y="68"/>
                  </a:lnTo>
                  <a:lnTo>
                    <a:pt x="2" y="70"/>
                  </a:lnTo>
                  <a:lnTo>
                    <a:pt x="4" y="70"/>
                  </a:lnTo>
                  <a:lnTo>
                    <a:pt x="4" y="70"/>
                  </a:lnTo>
                  <a:lnTo>
                    <a:pt x="2" y="72"/>
                  </a:lnTo>
                  <a:lnTo>
                    <a:pt x="2" y="72"/>
                  </a:lnTo>
                  <a:lnTo>
                    <a:pt x="2" y="74"/>
                  </a:lnTo>
                  <a:lnTo>
                    <a:pt x="0" y="78"/>
                  </a:lnTo>
                  <a:lnTo>
                    <a:pt x="0" y="78"/>
                  </a:lnTo>
                  <a:lnTo>
                    <a:pt x="0" y="80"/>
                  </a:lnTo>
                  <a:lnTo>
                    <a:pt x="0" y="82"/>
                  </a:lnTo>
                  <a:lnTo>
                    <a:pt x="2" y="84"/>
                  </a:lnTo>
                  <a:lnTo>
                    <a:pt x="2" y="86"/>
                  </a:lnTo>
                  <a:lnTo>
                    <a:pt x="2" y="86"/>
                  </a:lnTo>
                  <a:lnTo>
                    <a:pt x="2" y="88"/>
                  </a:lnTo>
                  <a:lnTo>
                    <a:pt x="4" y="88"/>
                  </a:lnTo>
                  <a:lnTo>
                    <a:pt x="6" y="90"/>
                  </a:lnTo>
                  <a:lnTo>
                    <a:pt x="4" y="92"/>
                  </a:lnTo>
                  <a:lnTo>
                    <a:pt x="4" y="92"/>
                  </a:lnTo>
                  <a:lnTo>
                    <a:pt x="2" y="92"/>
                  </a:lnTo>
                  <a:lnTo>
                    <a:pt x="2" y="94"/>
                  </a:lnTo>
                  <a:lnTo>
                    <a:pt x="4" y="94"/>
                  </a:lnTo>
                  <a:lnTo>
                    <a:pt x="6" y="96"/>
                  </a:lnTo>
                  <a:lnTo>
                    <a:pt x="6" y="96"/>
                  </a:lnTo>
                  <a:lnTo>
                    <a:pt x="8" y="100"/>
                  </a:lnTo>
                  <a:lnTo>
                    <a:pt x="10" y="100"/>
                  </a:lnTo>
                  <a:lnTo>
                    <a:pt x="12" y="98"/>
                  </a:lnTo>
                  <a:lnTo>
                    <a:pt x="12" y="94"/>
                  </a:lnTo>
                  <a:lnTo>
                    <a:pt x="12" y="94"/>
                  </a:lnTo>
                  <a:lnTo>
                    <a:pt x="12" y="92"/>
                  </a:lnTo>
                  <a:lnTo>
                    <a:pt x="14" y="90"/>
                  </a:lnTo>
                  <a:lnTo>
                    <a:pt x="16" y="90"/>
                  </a:lnTo>
                  <a:lnTo>
                    <a:pt x="18" y="92"/>
                  </a:lnTo>
                  <a:lnTo>
                    <a:pt x="18" y="92"/>
                  </a:lnTo>
                  <a:lnTo>
                    <a:pt x="18" y="94"/>
                  </a:lnTo>
                  <a:lnTo>
                    <a:pt x="20" y="96"/>
                  </a:lnTo>
                  <a:lnTo>
                    <a:pt x="22" y="98"/>
                  </a:lnTo>
                  <a:lnTo>
                    <a:pt x="18" y="104"/>
                  </a:lnTo>
                  <a:lnTo>
                    <a:pt x="18" y="104"/>
                  </a:lnTo>
                  <a:lnTo>
                    <a:pt x="10" y="118"/>
                  </a:lnTo>
                  <a:lnTo>
                    <a:pt x="8" y="122"/>
                  </a:lnTo>
                  <a:lnTo>
                    <a:pt x="4" y="122"/>
                  </a:lnTo>
                  <a:lnTo>
                    <a:pt x="4" y="122"/>
                  </a:lnTo>
                  <a:lnTo>
                    <a:pt x="2" y="130"/>
                  </a:lnTo>
                  <a:lnTo>
                    <a:pt x="4" y="134"/>
                  </a:lnTo>
                  <a:lnTo>
                    <a:pt x="6" y="136"/>
                  </a:lnTo>
                  <a:lnTo>
                    <a:pt x="14" y="134"/>
                  </a:lnTo>
                  <a:lnTo>
                    <a:pt x="14" y="134"/>
                  </a:lnTo>
                  <a:lnTo>
                    <a:pt x="16" y="134"/>
                  </a:lnTo>
                  <a:lnTo>
                    <a:pt x="18" y="134"/>
                  </a:lnTo>
                  <a:lnTo>
                    <a:pt x="24" y="138"/>
                  </a:lnTo>
                  <a:lnTo>
                    <a:pt x="28" y="140"/>
                  </a:lnTo>
                  <a:lnTo>
                    <a:pt x="32" y="142"/>
                  </a:lnTo>
                  <a:lnTo>
                    <a:pt x="36" y="140"/>
                  </a:lnTo>
                  <a:lnTo>
                    <a:pt x="40" y="136"/>
                  </a:lnTo>
                  <a:lnTo>
                    <a:pt x="40" y="136"/>
                  </a:lnTo>
                  <a:lnTo>
                    <a:pt x="44" y="132"/>
                  </a:lnTo>
                  <a:lnTo>
                    <a:pt x="46" y="128"/>
                  </a:lnTo>
                  <a:lnTo>
                    <a:pt x="46" y="124"/>
                  </a:lnTo>
                  <a:lnTo>
                    <a:pt x="46" y="120"/>
                  </a:lnTo>
                  <a:lnTo>
                    <a:pt x="52" y="116"/>
                  </a:lnTo>
                  <a:lnTo>
                    <a:pt x="52" y="116"/>
                  </a:lnTo>
                  <a:lnTo>
                    <a:pt x="56" y="112"/>
                  </a:lnTo>
                  <a:lnTo>
                    <a:pt x="58" y="110"/>
                  </a:lnTo>
                  <a:lnTo>
                    <a:pt x="60" y="108"/>
                  </a:lnTo>
                  <a:lnTo>
                    <a:pt x="70" y="104"/>
                  </a:lnTo>
                  <a:lnTo>
                    <a:pt x="70" y="104"/>
                  </a:lnTo>
                  <a:lnTo>
                    <a:pt x="84" y="96"/>
                  </a:lnTo>
                  <a:lnTo>
                    <a:pt x="94" y="88"/>
                  </a:lnTo>
                  <a:lnTo>
                    <a:pt x="100" y="78"/>
                  </a:lnTo>
                  <a:lnTo>
                    <a:pt x="108" y="68"/>
                  </a:lnTo>
                  <a:lnTo>
                    <a:pt x="108" y="68"/>
                  </a:lnTo>
                  <a:lnTo>
                    <a:pt x="114" y="60"/>
                  </a:lnTo>
                  <a:lnTo>
                    <a:pt x="114" y="52"/>
                  </a:lnTo>
                  <a:lnTo>
                    <a:pt x="112" y="36"/>
                  </a:lnTo>
                  <a:lnTo>
                    <a:pt x="112" y="36"/>
                  </a:lnTo>
                  <a:lnTo>
                    <a:pt x="94" y="26"/>
                  </a:lnTo>
                  <a:lnTo>
                    <a:pt x="88" y="24"/>
                  </a:lnTo>
                  <a:lnTo>
                    <a:pt x="86" y="24"/>
                  </a:lnTo>
                  <a:lnTo>
                    <a:pt x="88" y="26"/>
                  </a:lnTo>
                  <a:lnTo>
                    <a:pt x="88" y="26"/>
                  </a:lnTo>
                  <a:lnTo>
                    <a:pt x="86" y="26"/>
                  </a:lnTo>
                  <a:lnTo>
                    <a:pt x="86" y="28"/>
                  </a:lnTo>
                  <a:lnTo>
                    <a:pt x="78" y="26"/>
                  </a:lnTo>
                  <a:lnTo>
                    <a:pt x="70" y="22"/>
                  </a:lnTo>
                  <a:lnTo>
                    <a:pt x="64" y="18"/>
                  </a:lnTo>
                  <a:lnTo>
                    <a:pt x="64" y="18"/>
                  </a:lnTo>
                  <a:lnTo>
                    <a:pt x="60" y="12"/>
                  </a:lnTo>
                  <a:lnTo>
                    <a:pt x="54" y="8"/>
                  </a:lnTo>
                  <a:lnTo>
                    <a:pt x="36" y="0"/>
                  </a:lnTo>
                  <a:lnTo>
                    <a:pt x="36" y="0"/>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 name="Freeform 19"/>
            <p:cNvSpPr>
              <a:spLocks/>
            </p:cNvSpPr>
            <p:nvPr/>
          </p:nvSpPr>
          <p:spPr bwMode="auto">
            <a:xfrm>
              <a:off x="2612726" y="3425031"/>
              <a:ext cx="89958" cy="134938"/>
            </a:xfrm>
            <a:custGeom>
              <a:avLst/>
              <a:gdLst/>
              <a:ahLst/>
              <a:cxnLst>
                <a:cxn ang="0">
                  <a:pos x="68" y="38"/>
                </a:cxn>
                <a:cxn ang="0">
                  <a:pos x="64" y="32"/>
                </a:cxn>
                <a:cxn ang="0">
                  <a:pos x="62" y="26"/>
                </a:cxn>
                <a:cxn ang="0">
                  <a:pos x="60" y="24"/>
                </a:cxn>
                <a:cxn ang="0">
                  <a:pos x="56" y="22"/>
                </a:cxn>
                <a:cxn ang="0">
                  <a:pos x="54" y="18"/>
                </a:cxn>
                <a:cxn ang="0">
                  <a:pos x="50" y="16"/>
                </a:cxn>
                <a:cxn ang="0">
                  <a:pos x="46" y="14"/>
                </a:cxn>
                <a:cxn ang="0">
                  <a:pos x="42" y="10"/>
                </a:cxn>
                <a:cxn ang="0">
                  <a:pos x="32" y="6"/>
                </a:cxn>
                <a:cxn ang="0">
                  <a:pos x="28" y="4"/>
                </a:cxn>
                <a:cxn ang="0">
                  <a:pos x="24" y="0"/>
                </a:cxn>
                <a:cxn ang="0">
                  <a:pos x="20" y="2"/>
                </a:cxn>
                <a:cxn ang="0">
                  <a:pos x="6" y="18"/>
                </a:cxn>
                <a:cxn ang="0">
                  <a:pos x="4" y="32"/>
                </a:cxn>
                <a:cxn ang="0">
                  <a:pos x="6" y="36"/>
                </a:cxn>
                <a:cxn ang="0">
                  <a:pos x="4" y="42"/>
                </a:cxn>
                <a:cxn ang="0">
                  <a:pos x="8" y="46"/>
                </a:cxn>
                <a:cxn ang="0">
                  <a:pos x="12" y="60"/>
                </a:cxn>
                <a:cxn ang="0">
                  <a:pos x="14" y="64"/>
                </a:cxn>
                <a:cxn ang="0">
                  <a:pos x="10" y="72"/>
                </a:cxn>
                <a:cxn ang="0">
                  <a:pos x="10" y="76"/>
                </a:cxn>
                <a:cxn ang="0">
                  <a:pos x="8" y="84"/>
                </a:cxn>
                <a:cxn ang="0">
                  <a:pos x="0" y="94"/>
                </a:cxn>
                <a:cxn ang="0">
                  <a:pos x="4" y="96"/>
                </a:cxn>
                <a:cxn ang="0">
                  <a:pos x="6" y="96"/>
                </a:cxn>
                <a:cxn ang="0">
                  <a:pos x="10" y="98"/>
                </a:cxn>
                <a:cxn ang="0">
                  <a:pos x="14" y="98"/>
                </a:cxn>
                <a:cxn ang="0">
                  <a:pos x="18" y="98"/>
                </a:cxn>
                <a:cxn ang="0">
                  <a:pos x="22" y="102"/>
                </a:cxn>
                <a:cxn ang="0">
                  <a:pos x="30" y="100"/>
                </a:cxn>
                <a:cxn ang="0">
                  <a:pos x="40" y="96"/>
                </a:cxn>
                <a:cxn ang="0">
                  <a:pos x="40" y="92"/>
                </a:cxn>
                <a:cxn ang="0">
                  <a:pos x="44" y="88"/>
                </a:cxn>
                <a:cxn ang="0">
                  <a:pos x="48" y="80"/>
                </a:cxn>
                <a:cxn ang="0">
                  <a:pos x="50" y="72"/>
                </a:cxn>
                <a:cxn ang="0">
                  <a:pos x="56" y="66"/>
                </a:cxn>
                <a:cxn ang="0">
                  <a:pos x="56" y="64"/>
                </a:cxn>
                <a:cxn ang="0">
                  <a:pos x="60" y="56"/>
                </a:cxn>
                <a:cxn ang="0">
                  <a:pos x="62" y="50"/>
                </a:cxn>
                <a:cxn ang="0">
                  <a:pos x="62" y="44"/>
                </a:cxn>
                <a:cxn ang="0">
                  <a:pos x="66" y="42"/>
                </a:cxn>
                <a:cxn ang="0">
                  <a:pos x="68" y="38"/>
                </a:cxn>
              </a:cxnLst>
              <a:rect l="0" t="0" r="r" b="b"/>
              <a:pathLst>
                <a:path w="68" h="102">
                  <a:moveTo>
                    <a:pt x="68" y="38"/>
                  </a:moveTo>
                  <a:lnTo>
                    <a:pt x="68" y="38"/>
                  </a:lnTo>
                  <a:lnTo>
                    <a:pt x="66" y="34"/>
                  </a:lnTo>
                  <a:lnTo>
                    <a:pt x="64" y="32"/>
                  </a:lnTo>
                  <a:lnTo>
                    <a:pt x="62" y="30"/>
                  </a:lnTo>
                  <a:lnTo>
                    <a:pt x="62" y="26"/>
                  </a:lnTo>
                  <a:lnTo>
                    <a:pt x="62" y="26"/>
                  </a:lnTo>
                  <a:lnTo>
                    <a:pt x="60" y="24"/>
                  </a:lnTo>
                  <a:lnTo>
                    <a:pt x="58" y="24"/>
                  </a:lnTo>
                  <a:lnTo>
                    <a:pt x="56" y="22"/>
                  </a:lnTo>
                  <a:lnTo>
                    <a:pt x="54" y="18"/>
                  </a:lnTo>
                  <a:lnTo>
                    <a:pt x="54" y="18"/>
                  </a:lnTo>
                  <a:lnTo>
                    <a:pt x="52" y="16"/>
                  </a:lnTo>
                  <a:lnTo>
                    <a:pt x="50" y="16"/>
                  </a:lnTo>
                  <a:lnTo>
                    <a:pt x="50" y="16"/>
                  </a:lnTo>
                  <a:lnTo>
                    <a:pt x="46" y="14"/>
                  </a:lnTo>
                  <a:lnTo>
                    <a:pt x="46" y="14"/>
                  </a:lnTo>
                  <a:lnTo>
                    <a:pt x="42" y="10"/>
                  </a:lnTo>
                  <a:lnTo>
                    <a:pt x="36" y="8"/>
                  </a:lnTo>
                  <a:lnTo>
                    <a:pt x="32" y="6"/>
                  </a:lnTo>
                  <a:lnTo>
                    <a:pt x="28" y="4"/>
                  </a:lnTo>
                  <a:lnTo>
                    <a:pt x="28" y="4"/>
                  </a:lnTo>
                  <a:lnTo>
                    <a:pt x="26" y="0"/>
                  </a:lnTo>
                  <a:lnTo>
                    <a:pt x="24" y="0"/>
                  </a:lnTo>
                  <a:lnTo>
                    <a:pt x="20" y="2"/>
                  </a:lnTo>
                  <a:lnTo>
                    <a:pt x="20" y="2"/>
                  </a:lnTo>
                  <a:lnTo>
                    <a:pt x="12" y="10"/>
                  </a:lnTo>
                  <a:lnTo>
                    <a:pt x="6" y="18"/>
                  </a:lnTo>
                  <a:lnTo>
                    <a:pt x="4" y="26"/>
                  </a:lnTo>
                  <a:lnTo>
                    <a:pt x="4" y="32"/>
                  </a:lnTo>
                  <a:lnTo>
                    <a:pt x="4" y="32"/>
                  </a:lnTo>
                  <a:lnTo>
                    <a:pt x="6" y="36"/>
                  </a:lnTo>
                  <a:lnTo>
                    <a:pt x="6" y="38"/>
                  </a:lnTo>
                  <a:lnTo>
                    <a:pt x="4" y="42"/>
                  </a:lnTo>
                  <a:lnTo>
                    <a:pt x="8" y="46"/>
                  </a:lnTo>
                  <a:lnTo>
                    <a:pt x="8" y="46"/>
                  </a:lnTo>
                  <a:lnTo>
                    <a:pt x="10" y="52"/>
                  </a:lnTo>
                  <a:lnTo>
                    <a:pt x="12" y="60"/>
                  </a:lnTo>
                  <a:lnTo>
                    <a:pt x="12" y="60"/>
                  </a:lnTo>
                  <a:lnTo>
                    <a:pt x="14" y="64"/>
                  </a:lnTo>
                  <a:lnTo>
                    <a:pt x="12" y="68"/>
                  </a:lnTo>
                  <a:lnTo>
                    <a:pt x="10" y="72"/>
                  </a:lnTo>
                  <a:lnTo>
                    <a:pt x="10" y="76"/>
                  </a:lnTo>
                  <a:lnTo>
                    <a:pt x="10" y="76"/>
                  </a:lnTo>
                  <a:lnTo>
                    <a:pt x="10" y="80"/>
                  </a:lnTo>
                  <a:lnTo>
                    <a:pt x="8" y="84"/>
                  </a:lnTo>
                  <a:lnTo>
                    <a:pt x="4" y="88"/>
                  </a:lnTo>
                  <a:lnTo>
                    <a:pt x="0" y="94"/>
                  </a:lnTo>
                  <a:lnTo>
                    <a:pt x="0" y="94"/>
                  </a:lnTo>
                  <a:lnTo>
                    <a:pt x="4" y="96"/>
                  </a:lnTo>
                  <a:lnTo>
                    <a:pt x="6" y="96"/>
                  </a:lnTo>
                  <a:lnTo>
                    <a:pt x="6" y="96"/>
                  </a:lnTo>
                  <a:lnTo>
                    <a:pt x="10" y="96"/>
                  </a:lnTo>
                  <a:lnTo>
                    <a:pt x="10" y="98"/>
                  </a:lnTo>
                  <a:lnTo>
                    <a:pt x="12" y="98"/>
                  </a:lnTo>
                  <a:lnTo>
                    <a:pt x="14" y="98"/>
                  </a:lnTo>
                  <a:lnTo>
                    <a:pt x="14" y="98"/>
                  </a:lnTo>
                  <a:lnTo>
                    <a:pt x="18" y="98"/>
                  </a:lnTo>
                  <a:lnTo>
                    <a:pt x="20" y="102"/>
                  </a:lnTo>
                  <a:lnTo>
                    <a:pt x="22" y="102"/>
                  </a:lnTo>
                  <a:lnTo>
                    <a:pt x="30" y="100"/>
                  </a:lnTo>
                  <a:lnTo>
                    <a:pt x="30" y="100"/>
                  </a:lnTo>
                  <a:lnTo>
                    <a:pt x="38" y="98"/>
                  </a:lnTo>
                  <a:lnTo>
                    <a:pt x="40" y="96"/>
                  </a:lnTo>
                  <a:lnTo>
                    <a:pt x="40" y="92"/>
                  </a:lnTo>
                  <a:lnTo>
                    <a:pt x="40" y="92"/>
                  </a:lnTo>
                  <a:lnTo>
                    <a:pt x="42" y="88"/>
                  </a:lnTo>
                  <a:lnTo>
                    <a:pt x="44" y="88"/>
                  </a:lnTo>
                  <a:lnTo>
                    <a:pt x="46" y="86"/>
                  </a:lnTo>
                  <a:lnTo>
                    <a:pt x="48" y="80"/>
                  </a:lnTo>
                  <a:lnTo>
                    <a:pt x="48" y="80"/>
                  </a:lnTo>
                  <a:lnTo>
                    <a:pt x="50" y="72"/>
                  </a:lnTo>
                  <a:lnTo>
                    <a:pt x="54" y="68"/>
                  </a:lnTo>
                  <a:lnTo>
                    <a:pt x="56" y="66"/>
                  </a:lnTo>
                  <a:lnTo>
                    <a:pt x="56" y="64"/>
                  </a:lnTo>
                  <a:lnTo>
                    <a:pt x="56" y="64"/>
                  </a:lnTo>
                  <a:lnTo>
                    <a:pt x="58" y="58"/>
                  </a:lnTo>
                  <a:lnTo>
                    <a:pt x="60" y="56"/>
                  </a:lnTo>
                  <a:lnTo>
                    <a:pt x="62" y="54"/>
                  </a:lnTo>
                  <a:lnTo>
                    <a:pt x="62" y="50"/>
                  </a:lnTo>
                  <a:lnTo>
                    <a:pt x="62" y="50"/>
                  </a:lnTo>
                  <a:lnTo>
                    <a:pt x="62" y="44"/>
                  </a:lnTo>
                  <a:lnTo>
                    <a:pt x="64" y="44"/>
                  </a:lnTo>
                  <a:lnTo>
                    <a:pt x="66" y="42"/>
                  </a:lnTo>
                  <a:lnTo>
                    <a:pt x="68" y="38"/>
                  </a:lnTo>
                  <a:lnTo>
                    <a:pt x="68" y="38"/>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 name="Suriname"/>
            <p:cNvSpPr>
              <a:spLocks/>
            </p:cNvSpPr>
            <p:nvPr/>
          </p:nvSpPr>
          <p:spPr bwMode="auto">
            <a:xfrm>
              <a:off x="2517476" y="3417094"/>
              <a:ext cx="121708" cy="145521"/>
            </a:xfrm>
            <a:custGeom>
              <a:avLst/>
              <a:gdLst/>
              <a:ahLst/>
              <a:cxnLst>
                <a:cxn ang="0">
                  <a:pos x="72" y="100"/>
                </a:cxn>
                <a:cxn ang="0">
                  <a:pos x="80" y="90"/>
                </a:cxn>
                <a:cxn ang="0">
                  <a:pos x="82" y="82"/>
                </a:cxn>
                <a:cxn ang="0">
                  <a:pos x="82" y="78"/>
                </a:cxn>
                <a:cxn ang="0">
                  <a:pos x="86" y="70"/>
                </a:cxn>
                <a:cxn ang="0">
                  <a:pos x="84" y="66"/>
                </a:cxn>
                <a:cxn ang="0">
                  <a:pos x="80" y="52"/>
                </a:cxn>
                <a:cxn ang="0">
                  <a:pos x="76" y="48"/>
                </a:cxn>
                <a:cxn ang="0">
                  <a:pos x="78" y="42"/>
                </a:cxn>
                <a:cxn ang="0">
                  <a:pos x="76" y="38"/>
                </a:cxn>
                <a:cxn ang="0">
                  <a:pos x="78" y="24"/>
                </a:cxn>
                <a:cxn ang="0">
                  <a:pos x="92" y="8"/>
                </a:cxn>
                <a:cxn ang="0">
                  <a:pos x="90" y="4"/>
                </a:cxn>
                <a:cxn ang="0">
                  <a:pos x="80" y="2"/>
                </a:cxn>
                <a:cxn ang="0">
                  <a:pos x="76" y="2"/>
                </a:cxn>
                <a:cxn ang="0">
                  <a:pos x="70" y="2"/>
                </a:cxn>
                <a:cxn ang="0">
                  <a:pos x="62" y="4"/>
                </a:cxn>
                <a:cxn ang="0">
                  <a:pos x="60" y="4"/>
                </a:cxn>
                <a:cxn ang="0">
                  <a:pos x="56" y="4"/>
                </a:cxn>
                <a:cxn ang="0">
                  <a:pos x="50" y="4"/>
                </a:cxn>
                <a:cxn ang="0">
                  <a:pos x="44" y="4"/>
                </a:cxn>
                <a:cxn ang="0">
                  <a:pos x="30" y="0"/>
                </a:cxn>
                <a:cxn ang="0">
                  <a:pos x="24" y="4"/>
                </a:cxn>
                <a:cxn ang="0">
                  <a:pos x="16" y="14"/>
                </a:cxn>
                <a:cxn ang="0">
                  <a:pos x="12" y="20"/>
                </a:cxn>
                <a:cxn ang="0">
                  <a:pos x="12" y="26"/>
                </a:cxn>
                <a:cxn ang="0">
                  <a:pos x="8" y="28"/>
                </a:cxn>
                <a:cxn ang="0">
                  <a:pos x="2" y="32"/>
                </a:cxn>
                <a:cxn ang="0">
                  <a:pos x="2" y="42"/>
                </a:cxn>
                <a:cxn ang="0">
                  <a:pos x="0" y="50"/>
                </a:cxn>
                <a:cxn ang="0">
                  <a:pos x="4" y="60"/>
                </a:cxn>
                <a:cxn ang="0">
                  <a:pos x="4" y="66"/>
                </a:cxn>
                <a:cxn ang="0">
                  <a:pos x="6" y="68"/>
                </a:cxn>
                <a:cxn ang="0">
                  <a:pos x="12" y="72"/>
                </a:cxn>
                <a:cxn ang="0">
                  <a:pos x="16" y="80"/>
                </a:cxn>
                <a:cxn ang="0">
                  <a:pos x="20" y="86"/>
                </a:cxn>
                <a:cxn ang="0">
                  <a:pos x="24" y="96"/>
                </a:cxn>
                <a:cxn ang="0">
                  <a:pos x="28" y="106"/>
                </a:cxn>
                <a:cxn ang="0">
                  <a:pos x="32" y="108"/>
                </a:cxn>
                <a:cxn ang="0">
                  <a:pos x="50" y="108"/>
                </a:cxn>
                <a:cxn ang="0">
                  <a:pos x="46" y="104"/>
                </a:cxn>
                <a:cxn ang="0">
                  <a:pos x="48" y="100"/>
                </a:cxn>
                <a:cxn ang="0">
                  <a:pos x="50" y="102"/>
                </a:cxn>
                <a:cxn ang="0">
                  <a:pos x="56" y="102"/>
                </a:cxn>
                <a:cxn ang="0">
                  <a:pos x="58" y="102"/>
                </a:cxn>
                <a:cxn ang="0">
                  <a:pos x="60" y="98"/>
                </a:cxn>
                <a:cxn ang="0">
                  <a:pos x="64" y="96"/>
                </a:cxn>
                <a:cxn ang="0">
                  <a:pos x="68" y="98"/>
                </a:cxn>
                <a:cxn ang="0">
                  <a:pos x="72" y="100"/>
                </a:cxn>
              </a:cxnLst>
              <a:rect l="0" t="0" r="r" b="b"/>
              <a:pathLst>
                <a:path w="92" h="110">
                  <a:moveTo>
                    <a:pt x="72" y="100"/>
                  </a:moveTo>
                  <a:lnTo>
                    <a:pt x="72" y="100"/>
                  </a:lnTo>
                  <a:lnTo>
                    <a:pt x="76" y="94"/>
                  </a:lnTo>
                  <a:lnTo>
                    <a:pt x="80" y="90"/>
                  </a:lnTo>
                  <a:lnTo>
                    <a:pt x="82" y="86"/>
                  </a:lnTo>
                  <a:lnTo>
                    <a:pt x="82" y="82"/>
                  </a:lnTo>
                  <a:lnTo>
                    <a:pt x="82" y="82"/>
                  </a:lnTo>
                  <a:lnTo>
                    <a:pt x="82" y="78"/>
                  </a:lnTo>
                  <a:lnTo>
                    <a:pt x="84" y="74"/>
                  </a:lnTo>
                  <a:lnTo>
                    <a:pt x="86" y="70"/>
                  </a:lnTo>
                  <a:lnTo>
                    <a:pt x="84" y="66"/>
                  </a:lnTo>
                  <a:lnTo>
                    <a:pt x="84" y="66"/>
                  </a:lnTo>
                  <a:lnTo>
                    <a:pt x="82" y="58"/>
                  </a:lnTo>
                  <a:lnTo>
                    <a:pt x="80" y="52"/>
                  </a:lnTo>
                  <a:lnTo>
                    <a:pt x="80" y="52"/>
                  </a:lnTo>
                  <a:lnTo>
                    <a:pt x="76" y="48"/>
                  </a:lnTo>
                  <a:lnTo>
                    <a:pt x="78" y="44"/>
                  </a:lnTo>
                  <a:lnTo>
                    <a:pt x="78" y="42"/>
                  </a:lnTo>
                  <a:lnTo>
                    <a:pt x="76" y="38"/>
                  </a:lnTo>
                  <a:lnTo>
                    <a:pt x="76" y="38"/>
                  </a:lnTo>
                  <a:lnTo>
                    <a:pt x="76" y="32"/>
                  </a:lnTo>
                  <a:lnTo>
                    <a:pt x="78" y="24"/>
                  </a:lnTo>
                  <a:lnTo>
                    <a:pt x="84" y="16"/>
                  </a:lnTo>
                  <a:lnTo>
                    <a:pt x="92" y="8"/>
                  </a:lnTo>
                  <a:lnTo>
                    <a:pt x="92" y="8"/>
                  </a:lnTo>
                  <a:lnTo>
                    <a:pt x="90" y="4"/>
                  </a:lnTo>
                  <a:lnTo>
                    <a:pt x="86" y="2"/>
                  </a:lnTo>
                  <a:lnTo>
                    <a:pt x="80" y="2"/>
                  </a:lnTo>
                  <a:lnTo>
                    <a:pt x="76" y="2"/>
                  </a:lnTo>
                  <a:lnTo>
                    <a:pt x="76" y="2"/>
                  </a:lnTo>
                  <a:lnTo>
                    <a:pt x="74" y="2"/>
                  </a:lnTo>
                  <a:lnTo>
                    <a:pt x="70" y="2"/>
                  </a:lnTo>
                  <a:lnTo>
                    <a:pt x="66" y="2"/>
                  </a:lnTo>
                  <a:lnTo>
                    <a:pt x="62" y="4"/>
                  </a:lnTo>
                  <a:lnTo>
                    <a:pt x="62" y="4"/>
                  </a:lnTo>
                  <a:lnTo>
                    <a:pt x="60" y="4"/>
                  </a:lnTo>
                  <a:lnTo>
                    <a:pt x="58" y="4"/>
                  </a:lnTo>
                  <a:lnTo>
                    <a:pt x="56" y="4"/>
                  </a:lnTo>
                  <a:lnTo>
                    <a:pt x="50" y="4"/>
                  </a:lnTo>
                  <a:lnTo>
                    <a:pt x="50" y="4"/>
                  </a:lnTo>
                  <a:lnTo>
                    <a:pt x="48" y="6"/>
                  </a:lnTo>
                  <a:lnTo>
                    <a:pt x="44" y="4"/>
                  </a:lnTo>
                  <a:lnTo>
                    <a:pt x="38" y="2"/>
                  </a:lnTo>
                  <a:lnTo>
                    <a:pt x="30" y="0"/>
                  </a:lnTo>
                  <a:lnTo>
                    <a:pt x="26" y="0"/>
                  </a:lnTo>
                  <a:lnTo>
                    <a:pt x="24" y="4"/>
                  </a:lnTo>
                  <a:lnTo>
                    <a:pt x="24" y="4"/>
                  </a:lnTo>
                  <a:lnTo>
                    <a:pt x="16" y="14"/>
                  </a:lnTo>
                  <a:lnTo>
                    <a:pt x="16" y="14"/>
                  </a:lnTo>
                  <a:lnTo>
                    <a:pt x="12" y="20"/>
                  </a:lnTo>
                  <a:lnTo>
                    <a:pt x="12" y="24"/>
                  </a:lnTo>
                  <a:lnTo>
                    <a:pt x="12" y="26"/>
                  </a:lnTo>
                  <a:lnTo>
                    <a:pt x="8" y="28"/>
                  </a:lnTo>
                  <a:lnTo>
                    <a:pt x="8" y="28"/>
                  </a:lnTo>
                  <a:lnTo>
                    <a:pt x="4" y="30"/>
                  </a:lnTo>
                  <a:lnTo>
                    <a:pt x="2" y="32"/>
                  </a:lnTo>
                  <a:lnTo>
                    <a:pt x="4" y="34"/>
                  </a:lnTo>
                  <a:lnTo>
                    <a:pt x="2" y="42"/>
                  </a:lnTo>
                  <a:lnTo>
                    <a:pt x="2" y="42"/>
                  </a:lnTo>
                  <a:lnTo>
                    <a:pt x="0" y="50"/>
                  </a:lnTo>
                  <a:lnTo>
                    <a:pt x="2" y="56"/>
                  </a:lnTo>
                  <a:lnTo>
                    <a:pt x="4" y="60"/>
                  </a:lnTo>
                  <a:lnTo>
                    <a:pt x="4" y="66"/>
                  </a:lnTo>
                  <a:lnTo>
                    <a:pt x="4" y="66"/>
                  </a:lnTo>
                  <a:lnTo>
                    <a:pt x="6" y="68"/>
                  </a:lnTo>
                  <a:lnTo>
                    <a:pt x="6" y="68"/>
                  </a:lnTo>
                  <a:lnTo>
                    <a:pt x="10" y="68"/>
                  </a:lnTo>
                  <a:lnTo>
                    <a:pt x="12" y="72"/>
                  </a:lnTo>
                  <a:lnTo>
                    <a:pt x="12" y="72"/>
                  </a:lnTo>
                  <a:lnTo>
                    <a:pt x="16" y="80"/>
                  </a:lnTo>
                  <a:lnTo>
                    <a:pt x="20" y="86"/>
                  </a:lnTo>
                  <a:lnTo>
                    <a:pt x="20" y="86"/>
                  </a:lnTo>
                  <a:lnTo>
                    <a:pt x="22" y="90"/>
                  </a:lnTo>
                  <a:lnTo>
                    <a:pt x="24" y="96"/>
                  </a:lnTo>
                  <a:lnTo>
                    <a:pt x="26" y="104"/>
                  </a:lnTo>
                  <a:lnTo>
                    <a:pt x="28" y="106"/>
                  </a:lnTo>
                  <a:lnTo>
                    <a:pt x="32" y="108"/>
                  </a:lnTo>
                  <a:lnTo>
                    <a:pt x="32" y="108"/>
                  </a:lnTo>
                  <a:lnTo>
                    <a:pt x="46" y="110"/>
                  </a:lnTo>
                  <a:lnTo>
                    <a:pt x="50" y="108"/>
                  </a:lnTo>
                  <a:lnTo>
                    <a:pt x="50" y="106"/>
                  </a:lnTo>
                  <a:lnTo>
                    <a:pt x="46" y="104"/>
                  </a:lnTo>
                  <a:lnTo>
                    <a:pt x="44" y="102"/>
                  </a:lnTo>
                  <a:lnTo>
                    <a:pt x="48" y="100"/>
                  </a:lnTo>
                  <a:lnTo>
                    <a:pt x="48" y="100"/>
                  </a:lnTo>
                  <a:lnTo>
                    <a:pt x="50" y="102"/>
                  </a:lnTo>
                  <a:lnTo>
                    <a:pt x="52" y="102"/>
                  </a:lnTo>
                  <a:lnTo>
                    <a:pt x="56" y="102"/>
                  </a:lnTo>
                  <a:lnTo>
                    <a:pt x="56" y="102"/>
                  </a:lnTo>
                  <a:lnTo>
                    <a:pt x="58" y="102"/>
                  </a:lnTo>
                  <a:lnTo>
                    <a:pt x="60" y="100"/>
                  </a:lnTo>
                  <a:lnTo>
                    <a:pt x="60" y="98"/>
                  </a:lnTo>
                  <a:lnTo>
                    <a:pt x="64" y="96"/>
                  </a:lnTo>
                  <a:lnTo>
                    <a:pt x="64" y="96"/>
                  </a:lnTo>
                  <a:lnTo>
                    <a:pt x="66" y="98"/>
                  </a:lnTo>
                  <a:lnTo>
                    <a:pt x="68" y="98"/>
                  </a:lnTo>
                  <a:lnTo>
                    <a:pt x="68" y="100"/>
                  </a:lnTo>
                  <a:lnTo>
                    <a:pt x="72" y="100"/>
                  </a:lnTo>
                  <a:lnTo>
                    <a:pt x="72" y="100"/>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 name="Guyana"/>
            <p:cNvSpPr>
              <a:spLocks/>
            </p:cNvSpPr>
            <p:nvPr/>
          </p:nvSpPr>
          <p:spPr bwMode="auto">
            <a:xfrm>
              <a:off x="2430163" y="3337719"/>
              <a:ext cx="129646" cy="246063"/>
            </a:xfrm>
            <a:custGeom>
              <a:avLst/>
              <a:gdLst/>
              <a:ahLst/>
              <a:cxnLst>
                <a:cxn ang="0">
                  <a:pos x="36" y="0"/>
                </a:cxn>
                <a:cxn ang="0">
                  <a:pos x="56" y="12"/>
                </a:cxn>
                <a:cxn ang="0">
                  <a:pos x="66" y="30"/>
                </a:cxn>
                <a:cxn ang="0">
                  <a:pos x="66" y="36"/>
                </a:cxn>
                <a:cxn ang="0">
                  <a:pos x="76" y="40"/>
                </a:cxn>
                <a:cxn ang="0">
                  <a:pos x="82" y="52"/>
                </a:cxn>
                <a:cxn ang="0">
                  <a:pos x="88" y="54"/>
                </a:cxn>
                <a:cxn ang="0">
                  <a:pos x="82" y="74"/>
                </a:cxn>
                <a:cxn ang="0">
                  <a:pos x="78" y="84"/>
                </a:cxn>
                <a:cxn ang="0">
                  <a:pos x="74" y="88"/>
                </a:cxn>
                <a:cxn ang="0">
                  <a:pos x="70" y="94"/>
                </a:cxn>
                <a:cxn ang="0">
                  <a:pos x="66" y="110"/>
                </a:cxn>
                <a:cxn ang="0">
                  <a:pos x="70" y="126"/>
                </a:cxn>
                <a:cxn ang="0">
                  <a:pos x="72" y="128"/>
                </a:cxn>
                <a:cxn ang="0">
                  <a:pos x="78" y="132"/>
                </a:cxn>
                <a:cxn ang="0">
                  <a:pos x="86" y="146"/>
                </a:cxn>
                <a:cxn ang="0">
                  <a:pos x="92" y="164"/>
                </a:cxn>
                <a:cxn ang="0">
                  <a:pos x="98" y="168"/>
                </a:cxn>
                <a:cxn ang="0">
                  <a:pos x="86" y="166"/>
                </a:cxn>
                <a:cxn ang="0">
                  <a:pos x="84" y="166"/>
                </a:cxn>
                <a:cxn ang="0">
                  <a:pos x="72" y="174"/>
                </a:cxn>
                <a:cxn ang="0">
                  <a:pos x="60" y="180"/>
                </a:cxn>
                <a:cxn ang="0">
                  <a:pos x="56" y="182"/>
                </a:cxn>
                <a:cxn ang="0">
                  <a:pos x="52" y="186"/>
                </a:cxn>
                <a:cxn ang="0">
                  <a:pos x="42" y="180"/>
                </a:cxn>
                <a:cxn ang="0">
                  <a:pos x="40" y="172"/>
                </a:cxn>
                <a:cxn ang="0">
                  <a:pos x="34" y="160"/>
                </a:cxn>
                <a:cxn ang="0">
                  <a:pos x="30" y="152"/>
                </a:cxn>
                <a:cxn ang="0">
                  <a:pos x="30" y="146"/>
                </a:cxn>
                <a:cxn ang="0">
                  <a:pos x="28" y="138"/>
                </a:cxn>
                <a:cxn ang="0">
                  <a:pos x="30" y="132"/>
                </a:cxn>
                <a:cxn ang="0">
                  <a:pos x="32" y="120"/>
                </a:cxn>
                <a:cxn ang="0">
                  <a:pos x="38" y="110"/>
                </a:cxn>
                <a:cxn ang="0">
                  <a:pos x="34" y="104"/>
                </a:cxn>
                <a:cxn ang="0">
                  <a:pos x="32" y="98"/>
                </a:cxn>
                <a:cxn ang="0">
                  <a:pos x="24" y="96"/>
                </a:cxn>
                <a:cxn ang="0">
                  <a:pos x="26" y="86"/>
                </a:cxn>
                <a:cxn ang="0">
                  <a:pos x="14" y="84"/>
                </a:cxn>
                <a:cxn ang="0">
                  <a:pos x="2" y="64"/>
                </a:cxn>
                <a:cxn ang="0">
                  <a:pos x="2" y="56"/>
                </a:cxn>
                <a:cxn ang="0">
                  <a:pos x="6" y="46"/>
                </a:cxn>
                <a:cxn ang="0">
                  <a:pos x="6" y="40"/>
                </a:cxn>
                <a:cxn ang="0">
                  <a:pos x="20" y="32"/>
                </a:cxn>
                <a:cxn ang="0">
                  <a:pos x="14" y="26"/>
                </a:cxn>
                <a:cxn ang="0">
                  <a:pos x="10" y="26"/>
                </a:cxn>
                <a:cxn ang="0">
                  <a:pos x="12" y="20"/>
                </a:cxn>
                <a:cxn ang="0">
                  <a:pos x="14" y="14"/>
                </a:cxn>
                <a:cxn ang="0">
                  <a:pos x="18" y="10"/>
                </a:cxn>
                <a:cxn ang="0">
                  <a:pos x="30" y="8"/>
                </a:cxn>
                <a:cxn ang="0">
                  <a:pos x="30" y="2"/>
                </a:cxn>
              </a:cxnLst>
              <a:rect l="0" t="0" r="r" b="b"/>
              <a:pathLst>
                <a:path w="98" h="186">
                  <a:moveTo>
                    <a:pt x="30" y="2"/>
                  </a:moveTo>
                  <a:lnTo>
                    <a:pt x="30" y="2"/>
                  </a:lnTo>
                  <a:lnTo>
                    <a:pt x="36" y="0"/>
                  </a:lnTo>
                  <a:lnTo>
                    <a:pt x="40" y="0"/>
                  </a:lnTo>
                  <a:lnTo>
                    <a:pt x="56" y="12"/>
                  </a:lnTo>
                  <a:lnTo>
                    <a:pt x="56" y="12"/>
                  </a:lnTo>
                  <a:lnTo>
                    <a:pt x="64" y="20"/>
                  </a:lnTo>
                  <a:lnTo>
                    <a:pt x="66" y="24"/>
                  </a:lnTo>
                  <a:lnTo>
                    <a:pt x="66" y="30"/>
                  </a:lnTo>
                  <a:lnTo>
                    <a:pt x="62" y="38"/>
                  </a:lnTo>
                  <a:lnTo>
                    <a:pt x="62" y="38"/>
                  </a:lnTo>
                  <a:lnTo>
                    <a:pt x="66" y="36"/>
                  </a:lnTo>
                  <a:lnTo>
                    <a:pt x="70" y="36"/>
                  </a:lnTo>
                  <a:lnTo>
                    <a:pt x="76" y="40"/>
                  </a:lnTo>
                  <a:lnTo>
                    <a:pt x="76" y="40"/>
                  </a:lnTo>
                  <a:lnTo>
                    <a:pt x="80" y="46"/>
                  </a:lnTo>
                  <a:lnTo>
                    <a:pt x="82" y="48"/>
                  </a:lnTo>
                  <a:lnTo>
                    <a:pt x="82" y="52"/>
                  </a:lnTo>
                  <a:lnTo>
                    <a:pt x="86" y="52"/>
                  </a:lnTo>
                  <a:lnTo>
                    <a:pt x="86" y="52"/>
                  </a:lnTo>
                  <a:lnTo>
                    <a:pt x="88" y="54"/>
                  </a:lnTo>
                  <a:lnTo>
                    <a:pt x="88" y="56"/>
                  </a:lnTo>
                  <a:lnTo>
                    <a:pt x="86" y="64"/>
                  </a:lnTo>
                  <a:lnTo>
                    <a:pt x="82" y="74"/>
                  </a:lnTo>
                  <a:lnTo>
                    <a:pt x="82" y="74"/>
                  </a:lnTo>
                  <a:lnTo>
                    <a:pt x="78" y="80"/>
                  </a:lnTo>
                  <a:lnTo>
                    <a:pt x="78" y="84"/>
                  </a:lnTo>
                  <a:lnTo>
                    <a:pt x="78" y="86"/>
                  </a:lnTo>
                  <a:lnTo>
                    <a:pt x="74" y="88"/>
                  </a:lnTo>
                  <a:lnTo>
                    <a:pt x="74" y="88"/>
                  </a:lnTo>
                  <a:lnTo>
                    <a:pt x="70" y="90"/>
                  </a:lnTo>
                  <a:lnTo>
                    <a:pt x="68" y="92"/>
                  </a:lnTo>
                  <a:lnTo>
                    <a:pt x="70" y="94"/>
                  </a:lnTo>
                  <a:lnTo>
                    <a:pt x="68" y="102"/>
                  </a:lnTo>
                  <a:lnTo>
                    <a:pt x="68" y="102"/>
                  </a:lnTo>
                  <a:lnTo>
                    <a:pt x="66" y="110"/>
                  </a:lnTo>
                  <a:lnTo>
                    <a:pt x="68" y="116"/>
                  </a:lnTo>
                  <a:lnTo>
                    <a:pt x="70" y="120"/>
                  </a:lnTo>
                  <a:lnTo>
                    <a:pt x="70" y="126"/>
                  </a:lnTo>
                  <a:lnTo>
                    <a:pt x="70" y="126"/>
                  </a:lnTo>
                  <a:lnTo>
                    <a:pt x="72" y="128"/>
                  </a:lnTo>
                  <a:lnTo>
                    <a:pt x="72" y="128"/>
                  </a:lnTo>
                  <a:lnTo>
                    <a:pt x="76" y="128"/>
                  </a:lnTo>
                  <a:lnTo>
                    <a:pt x="78" y="132"/>
                  </a:lnTo>
                  <a:lnTo>
                    <a:pt x="78" y="132"/>
                  </a:lnTo>
                  <a:lnTo>
                    <a:pt x="82" y="140"/>
                  </a:lnTo>
                  <a:lnTo>
                    <a:pt x="86" y="146"/>
                  </a:lnTo>
                  <a:lnTo>
                    <a:pt x="86" y="146"/>
                  </a:lnTo>
                  <a:lnTo>
                    <a:pt x="88" y="150"/>
                  </a:lnTo>
                  <a:lnTo>
                    <a:pt x="90" y="156"/>
                  </a:lnTo>
                  <a:lnTo>
                    <a:pt x="92" y="164"/>
                  </a:lnTo>
                  <a:lnTo>
                    <a:pt x="94" y="166"/>
                  </a:lnTo>
                  <a:lnTo>
                    <a:pt x="98" y="168"/>
                  </a:lnTo>
                  <a:lnTo>
                    <a:pt x="98" y="168"/>
                  </a:lnTo>
                  <a:lnTo>
                    <a:pt x="90" y="170"/>
                  </a:lnTo>
                  <a:lnTo>
                    <a:pt x="88" y="168"/>
                  </a:lnTo>
                  <a:lnTo>
                    <a:pt x="86" y="166"/>
                  </a:lnTo>
                  <a:lnTo>
                    <a:pt x="86" y="166"/>
                  </a:lnTo>
                  <a:lnTo>
                    <a:pt x="86" y="166"/>
                  </a:lnTo>
                  <a:lnTo>
                    <a:pt x="84" y="166"/>
                  </a:lnTo>
                  <a:lnTo>
                    <a:pt x="82" y="168"/>
                  </a:lnTo>
                  <a:lnTo>
                    <a:pt x="80" y="170"/>
                  </a:lnTo>
                  <a:lnTo>
                    <a:pt x="72" y="174"/>
                  </a:lnTo>
                  <a:lnTo>
                    <a:pt x="72" y="174"/>
                  </a:lnTo>
                  <a:lnTo>
                    <a:pt x="64" y="176"/>
                  </a:lnTo>
                  <a:lnTo>
                    <a:pt x="60" y="180"/>
                  </a:lnTo>
                  <a:lnTo>
                    <a:pt x="60" y="184"/>
                  </a:lnTo>
                  <a:lnTo>
                    <a:pt x="60" y="184"/>
                  </a:lnTo>
                  <a:lnTo>
                    <a:pt x="56" y="182"/>
                  </a:lnTo>
                  <a:lnTo>
                    <a:pt x="54" y="184"/>
                  </a:lnTo>
                  <a:lnTo>
                    <a:pt x="52" y="186"/>
                  </a:lnTo>
                  <a:lnTo>
                    <a:pt x="52" y="186"/>
                  </a:lnTo>
                  <a:lnTo>
                    <a:pt x="48" y="184"/>
                  </a:lnTo>
                  <a:lnTo>
                    <a:pt x="46" y="182"/>
                  </a:lnTo>
                  <a:lnTo>
                    <a:pt x="42" y="180"/>
                  </a:lnTo>
                  <a:lnTo>
                    <a:pt x="40" y="174"/>
                  </a:lnTo>
                  <a:lnTo>
                    <a:pt x="40" y="174"/>
                  </a:lnTo>
                  <a:lnTo>
                    <a:pt x="40" y="172"/>
                  </a:lnTo>
                  <a:lnTo>
                    <a:pt x="38" y="170"/>
                  </a:lnTo>
                  <a:lnTo>
                    <a:pt x="36" y="168"/>
                  </a:lnTo>
                  <a:lnTo>
                    <a:pt x="34" y="160"/>
                  </a:lnTo>
                  <a:lnTo>
                    <a:pt x="34" y="160"/>
                  </a:lnTo>
                  <a:lnTo>
                    <a:pt x="32" y="154"/>
                  </a:lnTo>
                  <a:lnTo>
                    <a:pt x="30" y="152"/>
                  </a:lnTo>
                  <a:lnTo>
                    <a:pt x="28" y="150"/>
                  </a:lnTo>
                  <a:lnTo>
                    <a:pt x="30" y="146"/>
                  </a:lnTo>
                  <a:lnTo>
                    <a:pt x="30" y="146"/>
                  </a:lnTo>
                  <a:lnTo>
                    <a:pt x="32" y="144"/>
                  </a:lnTo>
                  <a:lnTo>
                    <a:pt x="30" y="140"/>
                  </a:lnTo>
                  <a:lnTo>
                    <a:pt x="28" y="138"/>
                  </a:lnTo>
                  <a:lnTo>
                    <a:pt x="28" y="134"/>
                  </a:lnTo>
                  <a:lnTo>
                    <a:pt x="28" y="134"/>
                  </a:lnTo>
                  <a:lnTo>
                    <a:pt x="30" y="132"/>
                  </a:lnTo>
                  <a:lnTo>
                    <a:pt x="28" y="130"/>
                  </a:lnTo>
                  <a:lnTo>
                    <a:pt x="28" y="126"/>
                  </a:lnTo>
                  <a:lnTo>
                    <a:pt x="32" y="120"/>
                  </a:lnTo>
                  <a:lnTo>
                    <a:pt x="32" y="120"/>
                  </a:lnTo>
                  <a:lnTo>
                    <a:pt x="38" y="112"/>
                  </a:lnTo>
                  <a:lnTo>
                    <a:pt x="38" y="110"/>
                  </a:lnTo>
                  <a:lnTo>
                    <a:pt x="38" y="110"/>
                  </a:lnTo>
                  <a:lnTo>
                    <a:pt x="34" y="108"/>
                  </a:lnTo>
                  <a:lnTo>
                    <a:pt x="34" y="104"/>
                  </a:lnTo>
                  <a:lnTo>
                    <a:pt x="32" y="100"/>
                  </a:lnTo>
                  <a:lnTo>
                    <a:pt x="32" y="100"/>
                  </a:lnTo>
                  <a:lnTo>
                    <a:pt x="32" y="98"/>
                  </a:lnTo>
                  <a:lnTo>
                    <a:pt x="32" y="96"/>
                  </a:lnTo>
                  <a:lnTo>
                    <a:pt x="28" y="96"/>
                  </a:lnTo>
                  <a:lnTo>
                    <a:pt x="24" y="96"/>
                  </a:lnTo>
                  <a:lnTo>
                    <a:pt x="26" y="92"/>
                  </a:lnTo>
                  <a:lnTo>
                    <a:pt x="26" y="92"/>
                  </a:lnTo>
                  <a:lnTo>
                    <a:pt x="26" y="86"/>
                  </a:lnTo>
                  <a:lnTo>
                    <a:pt x="24" y="86"/>
                  </a:lnTo>
                  <a:lnTo>
                    <a:pt x="20" y="86"/>
                  </a:lnTo>
                  <a:lnTo>
                    <a:pt x="14" y="84"/>
                  </a:lnTo>
                  <a:lnTo>
                    <a:pt x="14" y="84"/>
                  </a:lnTo>
                  <a:lnTo>
                    <a:pt x="4" y="70"/>
                  </a:lnTo>
                  <a:lnTo>
                    <a:pt x="2" y="64"/>
                  </a:lnTo>
                  <a:lnTo>
                    <a:pt x="0" y="60"/>
                  </a:lnTo>
                  <a:lnTo>
                    <a:pt x="0" y="60"/>
                  </a:lnTo>
                  <a:lnTo>
                    <a:pt x="2" y="56"/>
                  </a:lnTo>
                  <a:lnTo>
                    <a:pt x="4" y="52"/>
                  </a:lnTo>
                  <a:lnTo>
                    <a:pt x="8" y="50"/>
                  </a:lnTo>
                  <a:lnTo>
                    <a:pt x="6" y="46"/>
                  </a:lnTo>
                  <a:lnTo>
                    <a:pt x="6" y="46"/>
                  </a:lnTo>
                  <a:lnTo>
                    <a:pt x="6" y="42"/>
                  </a:lnTo>
                  <a:lnTo>
                    <a:pt x="6" y="40"/>
                  </a:lnTo>
                  <a:lnTo>
                    <a:pt x="16" y="34"/>
                  </a:lnTo>
                  <a:lnTo>
                    <a:pt x="16" y="34"/>
                  </a:lnTo>
                  <a:lnTo>
                    <a:pt x="20" y="32"/>
                  </a:lnTo>
                  <a:lnTo>
                    <a:pt x="20" y="28"/>
                  </a:lnTo>
                  <a:lnTo>
                    <a:pt x="18" y="26"/>
                  </a:lnTo>
                  <a:lnTo>
                    <a:pt x="14" y="26"/>
                  </a:lnTo>
                  <a:lnTo>
                    <a:pt x="14" y="26"/>
                  </a:lnTo>
                  <a:lnTo>
                    <a:pt x="10" y="28"/>
                  </a:lnTo>
                  <a:lnTo>
                    <a:pt x="10" y="26"/>
                  </a:lnTo>
                  <a:lnTo>
                    <a:pt x="12" y="24"/>
                  </a:lnTo>
                  <a:lnTo>
                    <a:pt x="12" y="20"/>
                  </a:lnTo>
                  <a:lnTo>
                    <a:pt x="12" y="20"/>
                  </a:lnTo>
                  <a:lnTo>
                    <a:pt x="12" y="18"/>
                  </a:lnTo>
                  <a:lnTo>
                    <a:pt x="12" y="16"/>
                  </a:lnTo>
                  <a:lnTo>
                    <a:pt x="14" y="14"/>
                  </a:lnTo>
                  <a:lnTo>
                    <a:pt x="16" y="12"/>
                  </a:lnTo>
                  <a:lnTo>
                    <a:pt x="16" y="12"/>
                  </a:lnTo>
                  <a:lnTo>
                    <a:pt x="18" y="10"/>
                  </a:lnTo>
                  <a:lnTo>
                    <a:pt x="20" y="8"/>
                  </a:lnTo>
                  <a:lnTo>
                    <a:pt x="26" y="8"/>
                  </a:lnTo>
                  <a:lnTo>
                    <a:pt x="30" y="8"/>
                  </a:lnTo>
                  <a:lnTo>
                    <a:pt x="30" y="6"/>
                  </a:lnTo>
                  <a:lnTo>
                    <a:pt x="30" y="2"/>
                  </a:lnTo>
                  <a:lnTo>
                    <a:pt x="30" y="2"/>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 name="Freeform 24"/>
            <p:cNvSpPr>
              <a:spLocks/>
            </p:cNvSpPr>
            <p:nvPr/>
          </p:nvSpPr>
          <p:spPr bwMode="auto">
            <a:xfrm>
              <a:off x="2477788" y="5237427"/>
              <a:ext cx="82021" cy="68792"/>
            </a:xfrm>
            <a:custGeom>
              <a:avLst/>
              <a:gdLst/>
              <a:ahLst/>
              <a:cxnLst>
                <a:cxn ang="0">
                  <a:pos x="52" y="44"/>
                </a:cxn>
                <a:cxn ang="0">
                  <a:pos x="40" y="40"/>
                </a:cxn>
                <a:cxn ang="0">
                  <a:pos x="34" y="40"/>
                </a:cxn>
                <a:cxn ang="0">
                  <a:pos x="30" y="42"/>
                </a:cxn>
                <a:cxn ang="0">
                  <a:pos x="30" y="46"/>
                </a:cxn>
                <a:cxn ang="0">
                  <a:pos x="34" y="48"/>
                </a:cxn>
                <a:cxn ang="0">
                  <a:pos x="38" y="52"/>
                </a:cxn>
                <a:cxn ang="0">
                  <a:pos x="32" y="50"/>
                </a:cxn>
                <a:cxn ang="0">
                  <a:pos x="22" y="48"/>
                </a:cxn>
                <a:cxn ang="0">
                  <a:pos x="24" y="44"/>
                </a:cxn>
                <a:cxn ang="0">
                  <a:pos x="26" y="44"/>
                </a:cxn>
                <a:cxn ang="0">
                  <a:pos x="18" y="42"/>
                </a:cxn>
                <a:cxn ang="0">
                  <a:pos x="16" y="38"/>
                </a:cxn>
                <a:cxn ang="0">
                  <a:pos x="10" y="40"/>
                </a:cxn>
                <a:cxn ang="0">
                  <a:pos x="8" y="40"/>
                </a:cxn>
                <a:cxn ang="0">
                  <a:pos x="4" y="42"/>
                </a:cxn>
                <a:cxn ang="0">
                  <a:pos x="0" y="38"/>
                </a:cxn>
                <a:cxn ang="0">
                  <a:pos x="6" y="34"/>
                </a:cxn>
                <a:cxn ang="0">
                  <a:pos x="14" y="34"/>
                </a:cxn>
                <a:cxn ang="0">
                  <a:pos x="20" y="36"/>
                </a:cxn>
                <a:cxn ang="0">
                  <a:pos x="22" y="36"/>
                </a:cxn>
                <a:cxn ang="0">
                  <a:pos x="16" y="28"/>
                </a:cxn>
                <a:cxn ang="0">
                  <a:pos x="14" y="26"/>
                </a:cxn>
                <a:cxn ang="0">
                  <a:pos x="16" y="24"/>
                </a:cxn>
                <a:cxn ang="0">
                  <a:pos x="14" y="20"/>
                </a:cxn>
                <a:cxn ang="0">
                  <a:pos x="20" y="24"/>
                </a:cxn>
                <a:cxn ang="0">
                  <a:pos x="20" y="28"/>
                </a:cxn>
                <a:cxn ang="0">
                  <a:pos x="24" y="32"/>
                </a:cxn>
                <a:cxn ang="0">
                  <a:pos x="26" y="32"/>
                </a:cxn>
                <a:cxn ang="0">
                  <a:pos x="30" y="36"/>
                </a:cxn>
                <a:cxn ang="0">
                  <a:pos x="30" y="32"/>
                </a:cxn>
                <a:cxn ang="0">
                  <a:pos x="34" y="32"/>
                </a:cxn>
                <a:cxn ang="0">
                  <a:pos x="38" y="30"/>
                </a:cxn>
                <a:cxn ang="0">
                  <a:pos x="42" y="32"/>
                </a:cxn>
                <a:cxn ang="0">
                  <a:pos x="46" y="32"/>
                </a:cxn>
                <a:cxn ang="0">
                  <a:pos x="50" y="32"/>
                </a:cxn>
                <a:cxn ang="0">
                  <a:pos x="30" y="26"/>
                </a:cxn>
                <a:cxn ang="0">
                  <a:pos x="26" y="20"/>
                </a:cxn>
                <a:cxn ang="0">
                  <a:pos x="36" y="16"/>
                </a:cxn>
                <a:cxn ang="0">
                  <a:pos x="24" y="16"/>
                </a:cxn>
                <a:cxn ang="0">
                  <a:pos x="18" y="14"/>
                </a:cxn>
                <a:cxn ang="0">
                  <a:pos x="18" y="10"/>
                </a:cxn>
                <a:cxn ang="0">
                  <a:pos x="16" y="6"/>
                </a:cxn>
                <a:cxn ang="0">
                  <a:pos x="24" y="8"/>
                </a:cxn>
                <a:cxn ang="0">
                  <a:pos x="26" y="2"/>
                </a:cxn>
                <a:cxn ang="0">
                  <a:pos x="32" y="2"/>
                </a:cxn>
                <a:cxn ang="0">
                  <a:pos x="38" y="6"/>
                </a:cxn>
                <a:cxn ang="0">
                  <a:pos x="62" y="44"/>
                </a:cxn>
              </a:cxnLst>
              <a:rect l="0" t="0" r="r" b="b"/>
              <a:pathLst>
                <a:path w="62" h="52">
                  <a:moveTo>
                    <a:pt x="62" y="44"/>
                  </a:moveTo>
                  <a:lnTo>
                    <a:pt x="62" y="44"/>
                  </a:lnTo>
                  <a:lnTo>
                    <a:pt x="56" y="46"/>
                  </a:lnTo>
                  <a:lnTo>
                    <a:pt x="52" y="44"/>
                  </a:lnTo>
                  <a:lnTo>
                    <a:pt x="52" y="44"/>
                  </a:lnTo>
                  <a:lnTo>
                    <a:pt x="46" y="40"/>
                  </a:lnTo>
                  <a:lnTo>
                    <a:pt x="42" y="40"/>
                  </a:lnTo>
                  <a:lnTo>
                    <a:pt x="40" y="40"/>
                  </a:lnTo>
                  <a:lnTo>
                    <a:pt x="40" y="40"/>
                  </a:lnTo>
                  <a:lnTo>
                    <a:pt x="38" y="42"/>
                  </a:lnTo>
                  <a:lnTo>
                    <a:pt x="34" y="40"/>
                  </a:lnTo>
                  <a:lnTo>
                    <a:pt x="34" y="40"/>
                  </a:lnTo>
                  <a:lnTo>
                    <a:pt x="28" y="40"/>
                  </a:lnTo>
                  <a:lnTo>
                    <a:pt x="26" y="42"/>
                  </a:lnTo>
                  <a:lnTo>
                    <a:pt x="26" y="42"/>
                  </a:lnTo>
                  <a:lnTo>
                    <a:pt x="30" y="42"/>
                  </a:lnTo>
                  <a:lnTo>
                    <a:pt x="32" y="42"/>
                  </a:lnTo>
                  <a:lnTo>
                    <a:pt x="32" y="44"/>
                  </a:lnTo>
                  <a:lnTo>
                    <a:pt x="32" y="44"/>
                  </a:lnTo>
                  <a:lnTo>
                    <a:pt x="30" y="46"/>
                  </a:lnTo>
                  <a:lnTo>
                    <a:pt x="30" y="46"/>
                  </a:lnTo>
                  <a:lnTo>
                    <a:pt x="30" y="46"/>
                  </a:lnTo>
                  <a:lnTo>
                    <a:pt x="30" y="48"/>
                  </a:lnTo>
                  <a:lnTo>
                    <a:pt x="34" y="48"/>
                  </a:lnTo>
                  <a:lnTo>
                    <a:pt x="36" y="50"/>
                  </a:lnTo>
                  <a:lnTo>
                    <a:pt x="38" y="52"/>
                  </a:lnTo>
                  <a:lnTo>
                    <a:pt x="38" y="52"/>
                  </a:lnTo>
                  <a:lnTo>
                    <a:pt x="38" y="52"/>
                  </a:lnTo>
                  <a:lnTo>
                    <a:pt x="36" y="52"/>
                  </a:lnTo>
                  <a:lnTo>
                    <a:pt x="34" y="50"/>
                  </a:lnTo>
                  <a:lnTo>
                    <a:pt x="32" y="50"/>
                  </a:lnTo>
                  <a:lnTo>
                    <a:pt x="32" y="50"/>
                  </a:lnTo>
                  <a:lnTo>
                    <a:pt x="30" y="52"/>
                  </a:lnTo>
                  <a:lnTo>
                    <a:pt x="24" y="50"/>
                  </a:lnTo>
                  <a:lnTo>
                    <a:pt x="24" y="50"/>
                  </a:lnTo>
                  <a:lnTo>
                    <a:pt x="22" y="48"/>
                  </a:lnTo>
                  <a:lnTo>
                    <a:pt x="22" y="46"/>
                  </a:lnTo>
                  <a:lnTo>
                    <a:pt x="22" y="46"/>
                  </a:lnTo>
                  <a:lnTo>
                    <a:pt x="24" y="44"/>
                  </a:lnTo>
                  <a:lnTo>
                    <a:pt x="24" y="44"/>
                  </a:lnTo>
                  <a:lnTo>
                    <a:pt x="24" y="46"/>
                  </a:lnTo>
                  <a:lnTo>
                    <a:pt x="26" y="46"/>
                  </a:lnTo>
                  <a:lnTo>
                    <a:pt x="26" y="46"/>
                  </a:lnTo>
                  <a:lnTo>
                    <a:pt x="26" y="44"/>
                  </a:lnTo>
                  <a:lnTo>
                    <a:pt x="24" y="42"/>
                  </a:lnTo>
                  <a:lnTo>
                    <a:pt x="20" y="40"/>
                  </a:lnTo>
                  <a:lnTo>
                    <a:pt x="20" y="40"/>
                  </a:lnTo>
                  <a:lnTo>
                    <a:pt x="18" y="42"/>
                  </a:lnTo>
                  <a:lnTo>
                    <a:pt x="16" y="42"/>
                  </a:lnTo>
                  <a:lnTo>
                    <a:pt x="16" y="40"/>
                  </a:lnTo>
                  <a:lnTo>
                    <a:pt x="16" y="40"/>
                  </a:lnTo>
                  <a:lnTo>
                    <a:pt x="16" y="38"/>
                  </a:lnTo>
                  <a:lnTo>
                    <a:pt x="14" y="38"/>
                  </a:lnTo>
                  <a:lnTo>
                    <a:pt x="12" y="40"/>
                  </a:lnTo>
                  <a:lnTo>
                    <a:pt x="12" y="40"/>
                  </a:lnTo>
                  <a:lnTo>
                    <a:pt x="10" y="40"/>
                  </a:lnTo>
                  <a:lnTo>
                    <a:pt x="10" y="40"/>
                  </a:lnTo>
                  <a:lnTo>
                    <a:pt x="8" y="36"/>
                  </a:lnTo>
                  <a:lnTo>
                    <a:pt x="8" y="36"/>
                  </a:lnTo>
                  <a:lnTo>
                    <a:pt x="8" y="40"/>
                  </a:lnTo>
                  <a:lnTo>
                    <a:pt x="8" y="42"/>
                  </a:lnTo>
                  <a:lnTo>
                    <a:pt x="6" y="42"/>
                  </a:lnTo>
                  <a:lnTo>
                    <a:pt x="6" y="42"/>
                  </a:lnTo>
                  <a:lnTo>
                    <a:pt x="4" y="42"/>
                  </a:lnTo>
                  <a:lnTo>
                    <a:pt x="2" y="40"/>
                  </a:lnTo>
                  <a:lnTo>
                    <a:pt x="2" y="40"/>
                  </a:lnTo>
                  <a:lnTo>
                    <a:pt x="0" y="40"/>
                  </a:lnTo>
                  <a:lnTo>
                    <a:pt x="0" y="38"/>
                  </a:lnTo>
                  <a:lnTo>
                    <a:pt x="0" y="38"/>
                  </a:lnTo>
                  <a:lnTo>
                    <a:pt x="4" y="36"/>
                  </a:lnTo>
                  <a:lnTo>
                    <a:pt x="6" y="34"/>
                  </a:lnTo>
                  <a:lnTo>
                    <a:pt x="6" y="34"/>
                  </a:lnTo>
                  <a:lnTo>
                    <a:pt x="8" y="34"/>
                  </a:lnTo>
                  <a:lnTo>
                    <a:pt x="10" y="34"/>
                  </a:lnTo>
                  <a:lnTo>
                    <a:pt x="10" y="34"/>
                  </a:lnTo>
                  <a:lnTo>
                    <a:pt x="14" y="34"/>
                  </a:lnTo>
                  <a:lnTo>
                    <a:pt x="18" y="34"/>
                  </a:lnTo>
                  <a:lnTo>
                    <a:pt x="18" y="34"/>
                  </a:lnTo>
                  <a:lnTo>
                    <a:pt x="18" y="36"/>
                  </a:lnTo>
                  <a:lnTo>
                    <a:pt x="20" y="36"/>
                  </a:lnTo>
                  <a:lnTo>
                    <a:pt x="20" y="36"/>
                  </a:lnTo>
                  <a:lnTo>
                    <a:pt x="20" y="36"/>
                  </a:lnTo>
                  <a:lnTo>
                    <a:pt x="22" y="36"/>
                  </a:lnTo>
                  <a:lnTo>
                    <a:pt x="22" y="36"/>
                  </a:lnTo>
                  <a:lnTo>
                    <a:pt x="22" y="34"/>
                  </a:lnTo>
                  <a:lnTo>
                    <a:pt x="22" y="34"/>
                  </a:lnTo>
                  <a:lnTo>
                    <a:pt x="18" y="30"/>
                  </a:lnTo>
                  <a:lnTo>
                    <a:pt x="16" y="28"/>
                  </a:lnTo>
                  <a:lnTo>
                    <a:pt x="16" y="28"/>
                  </a:lnTo>
                  <a:lnTo>
                    <a:pt x="16" y="28"/>
                  </a:lnTo>
                  <a:lnTo>
                    <a:pt x="16" y="28"/>
                  </a:lnTo>
                  <a:lnTo>
                    <a:pt x="14" y="26"/>
                  </a:lnTo>
                  <a:lnTo>
                    <a:pt x="14" y="24"/>
                  </a:lnTo>
                  <a:lnTo>
                    <a:pt x="16" y="24"/>
                  </a:lnTo>
                  <a:lnTo>
                    <a:pt x="16" y="24"/>
                  </a:lnTo>
                  <a:lnTo>
                    <a:pt x="16" y="24"/>
                  </a:lnTo>
                  <a:lnTo>
                    <a:pt x="16" y="22"/>
                  </a:lnTo>
                  <a:lnTo>
                    <a:pt x="14" y="20"/>
                  </a:lnTo>
                  <a:lnTo>
                    <a:pt x="14" y="20"/>
                  </a:lnTo>
                  <a:lnTo>
                    <a:pt x="14" y="20"/>
                  </a:lnTo>
                  <a:lnTo>
                    <a:pt x="16" y="18"/>
                  </a:lnTo>
                  <a:lnTo>
                    <a:pt x="18" y="22"/>
                  </a:lnTo>
                  <a:lnTo>
                    <a:pt x="18" y="22"/>
                  </a:lnTo>
                  <a:lnTo>
                    <a:pt x="20" y="24"/>
                  </a:lnTo>
                  <a:lnTo>
                    <a:pt x="20" y="26"/>
                  </a:lnTo>
                  <a:lnTo>
                    <a:pt x="20" y="26"/>
                  </a:lnTo>
                  <a:lnTo>
                    <a:pt x="20" y="28"/>
                  </a:lnTo>
                  <a:lnTo>
                    <a:pt x="20" y="28"/>
                  </a:lnTo>
                  <a:lnTo>
                    <a:pt x="22" y="30"/>
                  </a:lnTo>
                  <a:lnTo>
                    <a:pt x="22" y="30"/>
                  </a:lnTo>
                  <a:lnTo>
                    <a:pt x="24" y="32"/>
                  </a:lnTo>
                  <a:lnTo>
                    <a:pt x="24" y="32"/>
                  </a:lnTo>
                  <a:lnTo>
                    <a:pt x="26" y="32"/>
                  </a:lnTo>
                  <a:lnTo>
                    <a:pt x="26" y="32"/>
                  </a:lnTo>
                  <a:lnTo>
                    <a:pt x="26" y="32"/>
                  </a:lnTo>
                  <a:lnTo>
                    <a:pt x="26" y="32"/>
                  </a:lnTo>
                  <a:lnTo>
                    <a:pt x="28" y="34"/>
                  </a:lnTo>
                  <a:lnTo>
                    <a:pt x="28" y="36"/>
                  </a:lnTo>
                  <a:lnTo>
                    <a:pt x="30" y="36"/>
                  </a:lnTo>
                  <a:lnTo>
                    <a:pt x="30" y="36"/>
                  </a:lnTo>
                  <a:lnTo>
                    <a:pt x="30" y="36"/>
                  </a:lnTo>
                  <a:lnTo>
                    <a:pt x="30" y="36"/>
                  </a:lnTo>
                  <a:lnTo>
                    <a:pt x="30" y="34"/>
                  </a:lnTo>
                  <a:lnTo>
                    <a:pt x="30" y="32"/>
                  </a:lnTo>
                  <a:lnTo>
                    <a:pt x="30" y="32"/>
                  </a:lnTo>
                  <a:lnTo>
                    <a:pt x="32" y="30"/>
                  </a:lnTo>
                  <a:lnTo>
                    <a:pt x="34" y="30"/>
                  </a:lnTo>
                  <a:lnTo>
                    <a:pt x="34" y="32"/>
                  </a:lnTo>
                  <a:lnTo>
                    <a:pt x="34" y="32"/>
                  </a:lnTo>
                  <a:lnTo>
                    <a:pt x="36" y="32"/>
                  </a:lnTo>
                  <a:lnTo>
                    <a:pt x="36" y="32"/>
                  </a:lnTo>
                  <a:lnTo>
                    <a:pt x="38" y="30"/>
                  </a:lnTo>
                  <a:lnTo>
                    <a:pt x="40" y="30"/>
                  </a:lnTo>
                  <a:lnTo>
                    <a:pt x="40" y="30"/>
                  </a:lnTo>
                  <a:lnTo>
                    <a:pt x="42" y="32"/>
                  </a:lnTo>
                  <a:lnTo>
                    <a:pt x="42" y="32"/>
                  </a:lnTo>
                  <a:lnTo>
                    <a:pt x="44" y="30"/>
                  </a:lnTo>
                  <a:lnTo>
                    <a:pt x="44" y="30"/>
                  </a:lnTo>
                  <a:lnTo>
                    <a:pt x="46" y="32"/>
                  </a:lnTo>
                  <a:lnTo>
                    <a:pt x="46" y="32"/>
                  </a:lnTo>
                  <a:lnTo>
                    <a:pt x="46" y="36"/>
                  </a:lnTo>
                  <a:lnTo>
                    <a:pt x="46" y="36"/>
                  </a:lnTo>
                  <a:lnTo>
                    <a:pt x="48" y="32"/>
                  </a:lnTo>
                  <a:lnTo>
                    <a:pt x="50" y="32"/>
                  </a:lnTo>
                  <a:lnTo>
                    <a:pt x="50" y="32"/>
                  </a:lnTo>
                  <a:lnTo>
                    <a:pt x="40" y="28"/>
                  </a:lnTo>
                  <a:lnTo>
                    <a:pt x="30" y="26"/>
                  </a:lnTo>
                  <a:lnTo>
                    <a:pt x="30" y="26"/>
                  </a:lnTo>
                  <a:lnTo>
                    <a:pt x="26" y="26"/>
                  </a:lnTo>
                  <a:lnTo>
                    <a:pt x="26" y="24"/>
                  </a:lnTo>
                  <a:lnTo>
                    <a:pt x="24" y="22"/>
                  </a:lnTo>
                  <a:lnTo>
                    <a:pt x="26" y="20"/>
                  </a:lnTo>
                  <a:lnTo>
                    <a:pt x="26" y="20"/>
                  </a:lnTo>
                  <a:lnTo>
                    <a:pt x="30" y="18"/>
                  </a:lnTo>
                  <a:lnTo>
                    <a:pt x="32" y="18"/>
                  </a:lnTo>
                  <a:lnTo>
                    <a:pt x="36" y="16"/>
                  </a:lnTo>
                  <a:lnTo>
                    <a:pt x="36" y="16"/>
                  </a:lnTo>
                  <a:lnTo>
                    <a:pt x="34" y="16"/>
                  </a:lnTo>
                  <a:lnTo>
                    <a:pt x="32" y="16"/>
                  </a:lnTo>
                  <a:lnTo>
                    <a:pt x="24" y="16"/>
                  </a:lnTo>
                  <a:lnTo>
                    <a:pt x="24" y="16"/>
                  </a:lnTo>
                  <a:lnTo>
                    <a:pt x="20" y="16"/>
                  </a:lnTo>
                  <a:lnTo>
                    <a:pt x="18" y="14"/>
                  </a:lnTo>
                  <a:lnTo>
                    <a:pt x="18" y="14"/>
                  </a:lnTo>
                  <a:lnTo>
                    <a:pt x="18" y="12"/>
                  </a:lnTo>
                  <a:lnTo>
                    <a:pt x="18" y="12"/>
                  </a:lnTo>
                  <a:lnTo>
                    <a:pt x="18" y="10"/>
                  </a:lnTo>
                  <a:lnTo>
                    <a:pt x="18" y="10"/>
                  </a:lnTo>
                  <a:lnTo>
                    <a:pt x="20" y="10"/>
                  </a:lnTo>
                  <a:lnTo>
                    <a:pt x="18" y="8"/>
                  </a:lnTo>
                  <a:lnTo>
                    <a:pt x="18" y="8"/>
                  </a:lnTo>
                  <a:lnTo>
                    <a:pt x="16" y="6"/>
                  </a:lnTo>
                  <a:lnTo>
                    <a:pt x="18" y="6"/>
                  </a:lnTo>
                  <a:lnTo>
                    <a:pt x="18" y="6"/>
                  </a:lnTo>
                  <a:lnTo>
                    <a:pt x="22" y="6"/>
                  </a:lnTo>
                  <a:lnTo>
                    <a:pt x="24" y="8"/>
                  </a:lnTo>
                  <a:lnTo>
                    <a:pt x="24" y="6"/>
                  </a:lnTo>
                  <a:lnTo>
                    <a:pt x="24" y="6"/>
                  </a:lnTo>
                  <a:lnTo>
                    <a:pt x="26" y="6"/>
                  </a:lnTo>
                  <a:lnTo>
                    <a:pt x="26" y="2"/>
                  </a:lnTo>
                  <a:lnTo>
                    <a:pt x="26" y="2"/>
                  </a:lnTo>
                  <a:lnTo>
                    <a:pt x="28" y="0"/>
                  </a:lnTo>
                  <a:lnTo>
                    <a:pt x="30" y="0"/>
                  </a:lnTo>
                  <a:lnTo>
                    <a:pt x="32" y="2"/>
                  </a:lnTo>
                  <a:lnTo>
                    <a:pt x="32" y="2"/>
                  </a:lnTo>
                  <a:lnTo>
                    <a:pt x="34" y="6"/>
                  </a:lnTo>
                  <a:lnTo>
                    <a:pt x="36" y="6"/>
                  </a:lnTo>
                  <a:lnTo>
                    <a:pt x="38" y="6"/>
                  </a:lnTo>
                  <a:lnTo>
                    <a:pt x="38" y="6"/>
                  </a:lnTo>
                  <a:lnTo>
                    <a:pt x="40" y="4"/>
                  </a:lnTo>
                  <a:lnTo>
                    <a:pt x="42" y="6"/>
                  </a:lnTo>
                  <a:lnTo>
                    <a:pt x="62" y="44"/>
                  </a:lnTo>
                  <a:lnTo>
                    <a:pt x="62" y="44"/>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 name="Haiti"/>
            <p:cNvSpPr>
              <a:spLocks/>
            </p:cNvSpPr>
            <p:nvPr/>
          </p:nvSpPr>
          <p:spPr bwMode="auto">
            <a:xfrm>
              <a:off x="2102080" y="2946135"/>
              <a:ext cx="76729" cy="58208"/>
            </a:xfrm>
            <a:custGeom>
              <a:avLst/>
              <a:gdLst/>
              <a:ahLst/>
              <a:cxnLst>
                <a:cxn ang="0">
                  <a:pos x="52" y="44"/>
                </a:cxn>
                <a:cxn ang="0">
                  <a:pos x="46" y="42"/>
                </a:cxn>
                <a:cxn ang="0">
                  <a:pos x="30" y="42"/>
                </a:cxn>
                <a:cxn ang="0">
                  <a:pos x="24" y="42"/>
                </a:cxn>
                <a:cxn ang="0">
                  <a:pos x="20" y="40"/>
                </a:cxn>
                <a:cxn ang="0">
                  <a:pos x="12" y="42"/>
                </a:cxn>
                <a:cxn ang="0">
                  <a:pos x="10" y="44"/>
                </a:cxn>
                <a:cxn ang="0">
                  <a:pos x="8" y="42"/>
                </a:cxn>
                <a:cxn ang="0">
                  <a:pos x="0" y="40"/>
                </a:cxn>
                <a:cxn ang="0">
                  <a:pos x="0" y="38"/>
                </a:cxn>
                <a:cxn ang="0">
                  <a:pos x="0" y="36"/>
                </a:cxn>
                <a:cxn ang="0">
                  <a:pos x="0" y="34"/>
                </a:cxn>
                <a:cxn ang="0">
                  <a:pos x="2" y="32"/>
                </a:cxn>
                <a:cxn ang="0">
                  <a:pos x="8" y="32"/>
                </a:cxn>
                <a:cxn ang="0">
                  <a:pos x="16" y="32"/>
                </a:cxn>
                <a:cxn ang="0">
                  <a:pos x="18" y="32"/>
                </a:cxn>
                <a:cxn ang="0">
                  <a:pos x="24" y="32"/>
                </a:cxn>
                <a:cxn ang="0">
                  <a:pos x="32" y="30"/>
                </a:cxn>
                <a:cxn ang="0">
                  <a:pos x="38" y="30"/>
                </a:cxn>
                <a:cxn ang="0">
                  <a:pos x="42" y="30"/>
                </a:cxn>
                <a:cxn ang="0">
                  <a:pos x="34" y="26"/>
                </a:cxn>
                <a:cxn ang="0">
                  <a:pos x="34" y="22"/>
                </a:cxn>
                <a:cxn ang="0">
                  <a:pos x="32" y="20"/>
                </a:cxn>
                <a:cxn ang="0">
                  <a:pos x="30" y="18"/>
                </a:cxn>
                <a:cxn ang="0">
                  <a:pos x="32" y="14"/>
                </a:cxn>
                <a:cxn ang="0">
                  <a:pos x="30" y="12"/>
                </a:cxn>
                <a:cxn ang="0">
                  <a:pos x="32" y="10"/>
                </a:cxn>
                <a:cxn ang="0">
                  <a:pos x="30" y="8"/>
                </a:cxn>
                <a:cxn ang="0">
                  <a:pos x="26" y="6"/>
                </a:cxn>
                <a:cxn ang="0">
                  <a:pos x="22" y="0"/>
                </a:cxn>
                <a:cxn ang="0">
                  <a:pos x="26" y="0"/>
                </a:cxn>
                <a:cxn ang="0">
                  <a:pos x="32" y="0"/>
                </a:cxn>
                <a:cxn ang="0">
                  <a:pos x="38" y="0"/>
                </a:cxn>
                <a:cxn ang="0">
                  <a:pos x="46" y="2"/>
                </a:cxn>
                <a:cxn ang="0">
                  <a:pos x="46" y="2"/>
                </a:cxn>
                <a:cxn ang="0">
                  <a:pos x="50" y="2"/>
                </a:cxn>
                <a:cxn ang="0">
                  <a:pos x="56" y="2"/>
                </a:cxn>
                <a:cxn ang="0">
                  <a:pos x="58" y="6"/>
                </a:cxn>
                <a:cxn ang="0">
                  <a:pos x="56" y="10"/>
                </a:cxn>
                <a:cxn ang="0">
                  <a:pos x="56" y="14"/>
                </a:cxn>
                <a:cxn ang="0">
                  <a:pos x="56" y="18"/>
                </a:cxn>
                <a:cxn ang="0">
                  <a:pos x="54" y="20"/>
                </a:cxn>
                <a:cxn ang="0">
                  <a:pos x="56" y="26"/>
                </a:cxn>
                <a:cxn ang="0">
                  <a:pos x="52" y="34"/>
                </a:cxn>
                <a:cxn ang="0">
                  <a:pos x="48" y="34"/>
                </a:cxn>
                <a:cxn ang="0">
                  <a:pos x="52" y="40"/>
                </a:cxn>
                <a:cxn ang="0">
                  <a:pos x="52" y="44"/>
                </a:cxn>
              </a:cxnLst>
              <a:rect l="0" t="0" r="r" b="b"/>
              <a:pathLst>
                <a:path w="58" h="44">
                  <a:moveTo>
                    <a:pt x="52" y="44"/>
                  </a:moveTo>
                  <a:lnTo>
                    <a:pt x="52" y="44"/>
                  </a:lnTo>
                  <a:lnTo>
                    <a:pt x="46" y="42"/>
                  </a:lnTo>
                  <a:lnTo>
                    <a:pt x="46" y="42"/>
                  </a:lnTo>
                  <a:lnTo>
                    <a:pt x="38" y="42"/>
                  </a:lnTo>
                  <a:lnTo>
                    <a:pt x="30" y="42"/>
                  </a:lnTo>
                  <a:lnTo>
                    <a:pt x="30" y="42"/>
                  </a:lnTo>
                  <a:lnTo>
                    <a:pt x="24" y="42"/>
                  </a:lnTo>
                  <a:lnTo>
                    <a:pt x="20" y="40"/>
                  </a:lnTo>
                  <a:lnTo>
                    <a:pt x="20" y="40"/>
                  </a:lnTo>
                  <a:lnTo>
                    <a:pt x="14" y="40"/>
                  </a:lnTo>
                  <a:lnTo>
                    <a:pt x="12" y="42"/>
                  </a:lnTo>
                  <a:lnTo>
                    <a:pt x="12" y="42"/>
                  </a:lnTo>
                  <a:lnTo>
                    <a:pt x="10" y="44"/>
                  </a:lnTo>
                  <a:lnTo>
                    <a:pt x="8" y="42"/>
                  </a:lnTo>
                  <a:lnTo>
                    <a:pt x="8" y="42"/>
                  </a:lnTo>
                  <a:lnTo>
                    <a:pt x="6" y="40"/>
                  </a:lnTo>
                  <a:lnTo>
                    <a:pt x="0" y="40"/>
                  </a:lnTo>
                  <a:lnTo>
                    <a:pt x="0" y="40"/>
                  </a:lnTo>
                  <a:lnTo>
                    <a:pt x="0" y="38"/>
                  </a:lnTo>
                  <a:lnTo>
                    <a:pt x="0" y="38"/>
                  </a:lnTo>
                  <a:lnTo>
                    <a:pt x="0" y="36"/>
                  </a:lnTo>
                  <a:lnTo>
                    <a:pt x="0" y="34"/>
                  </a:lnTo>
                  <a:lnTo>
                    <a:pt x="0" y="34"/>
                  </a:lnTo>
                  <a:lnTo>
                    <a:pt x="0" y="32"/>
                  </a:lnTo>
                  <a:lnTo>
                    <a:pt x="2" y="32"/>
                  </a:lnTo>
                  <a:lnTo>
                    <a:pt x="8" y="32"/>
                  </a:lnTo>
                  <a:lnTo>
                    <a:pt x="8" y="32"/>
                  </a:lnTo>
                  <a:lnTo>
                    <a:pt x="12" y="32"/>
                  </a:lnTo>
                  <a:lnTo>
                    <a:pt x="16" y="32"/>
                  </a:lnTo>
                  <a:lnTo>
                    <a:pt x="16" y="32"/>
                  </a:lnTo>
                  <a:lnTo>
                    <a:pt x="18" y="32"/>
                  </a:lnTo>
                  <a:lnTo>
                    <a:pt x="24" y="32"/>
                  </a:lnTo>
                  <a:lnTo>
                    <a:pt x="24" y="32"/>
                  </a:lnTo>
                  <a:lnTo>
                    <a:pt x="28" y="32"/>
                  </a:lnTo>
                  <a:lnTo>
                    <a:pt x="32" y="30"/>
                  </a:lnTo>
                  <a:lnTo>
                    <a:pt x="32" y="30"/>
                  </a:lnTo>
                  <a:lnTo>
                    <a:pt x="38" y="30"/>
                  </a:lnTo>
                  <a:lnTo>
                    <a:pt x="42" y="30"/>
                  </a:lnTo>
                  <a:lnTo>
                    <a:pt x="42" y="30"/>
                  </a:lnTo>
                  <a:lnTo>
                    <a:pt x="34" y="26"/>
                  </a:lnTo>
                  <a:lnTo>
                    <a:pt x="34" y="26"/>
                  </a:lnTo>
                  <a:lnTo>
                    <a:pt x="34" y="24"/>
                  </a:lnTo>
                  <a:lnTo>
                    <a:pt x="34" y="22"/>
                  </a:lnTo>
                  <a:lnTo>
                    <a:pt x="34" y="22"/>
                  </a:lnTo>
                  <a:lnTo>
                    <a:pt x="32" y="20"/>
                  </a:lnTo>
                  <a:lnTo>
                    <a:pt x="32" y="20"/>
                  </a:lnTo>
                  <a:lnTo>
                    <a:pt x="30" y="18"/>
                  </a:lnTo>
                  <a:lnTo>
                    <a:pt x="30" y="16"/>
                  </a:lnTo>
                  <a:lnTo>
                    <a:pt x="32" y="14"/>
                  </a:lnTo>
                  <a:lnTo>
                    <a:pt x="32" y="14"/>
                  </a:lnTo>
                  <a:lnTo>
                    <a:pt x="30" y="12"/>
                  </a:lnTo>
                  <a:lnTo>
                    <a:pt x="32" y="10"/>
                  </a:lnTo>
                  <a:lnTo>
                    <a:pt x="32" y="10"/>
                  </a:lnTo>
                  <a:lnTo>
                    <a:pt x="32" y="8"/>
                  </a:lnTo>
                  <a:lnTo>
                    <a:pt x="30" y="8"/>
                  </a:lnTo>
                  <a:lnTo>
                    <a:pt x="26" y="6"/>
                  </a:lnTo>
                  <a:lnTo>
                    <a:pt x="26" y="6"/>
                  </a:lnTo>
                  <a:lnTo>
                    <a:pt x="22" y="4"/>
                  </a:lnTo>
                  <a:lnTo>
                    <a:pt x="22" y="0"/>
                  </a:lnTo>
                  <a:lnTo>
                    <a:pt x="22" y="0"/>
                  </a:lnTo>
                  <a:lnTo>
                    <a:pt x="26" y="0"/>
                  </a:lnTo>
                  <a:lnTo>
                    <a:pt x="32" y="0"/>
                  </a:lnTo>
                  <a:lnTo>
                    <a:pt x="32" y="0"/>
                  </a:lnTo>
                  <a:lnTo>
                    <a:pt x="36" y="0"/>
                  </a:lnTo>
                  <a:lnTo>
                    <a:pt x="38" y="0"/>
                  </a:lnTo>
                  <a:lnTo>
                    <a:pt x="38" y="0"/>
                  </a:lnTo>
                  <a:lnTo>
                    <a:pt x="46" y="2"/>
                  </a:lnTo>
                  <a:lnTo>
                    <a:pt x="46" y="2"/>
                  </a:lnTo>
                  <a:lnTo>
                    <a:pt x="46" y="2"/>
                  </a:lnTo>
                  <a:lnTo>
                    <a:pt x="50" y="2"/>
                  </a:lnTo>
                  <a:lnTo>
                    <a:pt x="50" y="2"/>
                  </a:lnTo>
                  <a:lnTo>
                    <a:pt x="52" y="0"/>
                  </a:lnTo>
                  <a:lnTo>
                    <a:pt x="56" y="2"/>
                  </a:lnTo>
                  <a:lnTo>
                    <a:pt x="56" y="2"/>
                  </a:lnTo>
                  <a:lnTo>
                    <a:pt x="58" y="6"/>
                  </a:lnTo>
                  <a:lnTo>
                    <a:pt x="56" y="10"/>
                  </a:lnTo>
                  <a:lnTo>
                    <a:pt x="56" y="10"/>
                  </a:lnTo>
                  <a:lnTo>
                    <a:pt x="56" y="12"/>
                  </a:lnTo>
                  <a:lnTo>
                    <a:pt x="56" y="14"/>
                  </a:lnTo>
                  <a:lnTo>
                    <a:pt x="58" y="16"/>
                  </a:lnTo>
                  <a:lnTo>
                    <a:pt x="56" y="18"/>
                  </a:lnTo>
                  <a:lnTo>
                    <a:pt x="56" y="18"/>
                  </a:lnTo>
                  <a:lnTo>
                    <a:pt x="54" y="20"/>
                  </a:lnTo>
                  <a:lnTo>
                    <a:pt x="54" y="22"/>
                  </a:lnTo>
                  <a:lnTo>
                    <a:pt x="56" y="26"/>
                  </a:lnTo>
                  <a:lnTo>
                    <a:pt x="56" y="30"/>
                  </a:lnTo>
                  <a:lnTo>
                    <a:pt x="52" y="34"/>
                  </a:lnTo>
                  <a:lnTo>
                    <a:pt x="52" y="34"/>
                  </a:lnTo>
                  <a:lnTo>
                    <a:pt x="48" y="34"/>
                  </a:lnTo>
                  <a:lnTo>
                    <a:pt x="50" y="36"/>
                  </a:lnTo>
                  <a:lnTo>
                    <a:pt x="52" y="40"/>
                  </a:lnTo>
                  <a:lnTo>
                    <a:pt x="52" y="44"/>
                  </a:lnTo>
                  <a:lnTo>
                    <a:pt x="52" y="44"/>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 name="Honduras"/>
            <p:cNvSpPr>
              <a:spLocks/>
            </p:cNvSpPr>
            <p:nvPr/>
          </p:nvSpPr>
          <p:spPr bwMode="auto">
            <a:xfrm>
              <a:off x="1662872" y="3081073"/>
              <a:ext cx="179917" cy="100542"/>
            </a:xfrm>
            <a:custGeom>
              <a:avLst/>
              <a:gdLst/>
              <a:ahLst/>
              <a:cxnLst>
                <a:cxn ang="0">
                  <a:pos x="32" y="66"/>
                </a:cxn>
                <a:cxn ang="0">
                  <a:pos x="32" y="62"/>
                </a:cxn>
                <a:cxn ang="0">
                  <a:pos x="30" y="58"/>
                </a:cxn>
                <a:cxn ang="0">
                  <a:pos x="22" y="56"/>
                </a:cxn>
                <a:cxn ang="0">
                  <a:pos x="14" y="48"/>
                </a:cxn>
                <a:cxn ang="0">
                  <a:pos x="8" y="48"/>
                </a:cxn>
                <a:cxn ang="0">
                  <a:pos x="0" y="44"/>
                </a:cxn>
                <a:cxn ang="0">
                  <a:pos x="8" y="36"/>
                </a:cxn>
                <a:cxn ang="0">
                  <a:pos x="8" y="32"/>
                </a:cxn>
                <a:cxn ang="0">
                  <a:pos x="10" y="26"/>
                </a:cxn>
                <a:cxn ang="0">
                  <a:pos x="26" y="12"/>
                </a:cxn>
                <a:cxn ang="0">
                  <a:pos x="32" y="6"/>
                </a:cxn>
                <a:cxn ang="0">
                  <a:pos x="40" y="4"/>
                </a:cxn>
                <a:cxn ang="0">
                  <a:pos x="44" y="0"/>
                </a:cxn>
                <a:cxn ang="0">
                  <a:pos x="54" y="4"/>
                </a:cxn>
                <a:cxn ang="0">
                  <a:pos x="82" y="0"/>
                </a:cxn>
                <a:cxn ang="0">
                  <a:pos x="92" y="0"/>
                </a:cxn>
                <a:cxn ang="0">
                  <a:pos x="96" y="0"/>
                </a:cxn>
                <a:cxn ang="0">
                  <a:pos x="102" y="0"/>
                </a:cxn>
                <a:cxn ang="0">
                  <a:pos x="112" y="4"/>
                </a:cxn>
                <a:cxn ang="0">
                  <a:pos x="110" y="8"/>
                </a:cxn>
                <a:cxn ang="0">
                  <a:pos x="112" y="10"/>
                </a:cxn>
                <a:cxn ang="0">
                  <a:pos x="122" y="14"/>
                </a:cxn>
                <a:cxn ang="0">
                  <a:pos x="124" y="10"/>
                </a:cxn>
                <a:cxn ang="0">
                  <a:pos x="134" y="18"/>
                </a:cxn>
                <a:cxn ang="0">
                  <a:pos x="136" y="22"/>
                </a:cxn>
                <a:cxn ang="0">
                  <a:pos x="124" y="28"/>
                </a:cxn>
                <a:cxn ang="0">
                  <a:pos x="110" y="32"/>
                </a:cxn>
                <a:cxn ang="0">
                  <a:pos x="104" y="30"/>
                </a:cxn>
                <a:cxn ang="0">
                  <a:pos x="100" y="32"/>
                </a:cxn>
                <a:cxn ang="0">
                  <a:pos x="94" y="34"/>
                </a:cxn>
                <a:cxn ang="0">
                  <a:pos x="94" y="42"/>
                </a:cxn>
                <a:cxn ang="0">
                  <a:pos x="82" y="48"/>
                </a:cxn>
                <a:cxn ang="0">
                  <a:pos x="72" y="52"/>
                </a:cxn>
                <a:cxn ang="0">
                  <a:pos x="66" y="54"/>
                </a:cxn>
                <a:cxn ang="0">
                  <a:pos x="64" y="60"/>
                </a:cxn>
                <a:cxn ang="0">
                  <a:pos x="60" y="62"/>
                </a:cxn>
                <a:cxn ang="0">
                  <a:pos x="54" y="62"/>
                </a:cxn>
                <a:cxn ang="0">
                  <a:pos x="54" y="66"/>
                </a:cxn>
                <a:cxn ang="0">
                  <a:pos x="44" y="76"/>
                </a:cxn>
                <a:cxn ang="0">
                  <a:pos x="42" y="72"/>
                </a:cxn>
                <a:cxn ang="0">
                  <a:pos x="38" y="66"/>
                </a:cxn>
              </a:cxnLst>
              <a:rect l="0" t="0" r="r" b="b"/>
              <a:pathLst>
                <a:path w="136" h="76">
                  <a:moveTo>
                    <a:pt x="34" y="68"/>
                  </a:moveTo>
                  <a:lnTo>
                    <a:pt x="34" y="68"/>
                  </a:lnTo>
                  <a:lnTo>
                    <a:pt x="32" y="66"/>
                  </a:lnTo>
                  <a:lnTo>
                    <a:pt x="32" y="64"/>
                  </a:lnTo>
                  <a:lnTo>
                    <a:pt x="32" y="62"/>
                  </a:lnTo>
                  <a:lnTo>
                    <a:pt x="32" y="62"/>
                  </a:lnTo>
                  <a:lnTo>
                    <a:pt x="32" y="62"/>
                  </a:lnTo>
                  <a:lnTo>
                    <a:pt x="30" y="60"/>
                  </a:lnTo>
                  <a:lnTo>
                    <a:pt x="30" y="58"/>
                  </a:lnTo>
                  <a:lnTo>
                    <a:pt x="28" y="56"/>
                  </a:lnTo>
                  <a:lnTo>
                    <a:pt x="22" y="56"/>
                  </a:lnTo>
                  <a:lnTo>
                    <a:pt x="22" y="56"/>
                  </a:lnTo>
                  <a:lnTo>
                    <a:pt x="18" y="54"/>
                  </a:lnTo>
                  <a:lnTo>
                    <a:pt x="16" y="50"/>
                  </a:lnTo>
                  <a:lnTo>
                    <a:pt x="14" y="48"/>
                  </a:lnTo>
                  <a:lnTo>
                    <a:pt x="10" y="46"/>
                  </a:lnTo>
                  <a:lnTo>
                    <a:pt x="10" y="46"/>
                  </a:lnTo>
                  <a:lnTo>
                    <a:pt x="8" y="48"/>
                  </a:lnTo>
                  <a:lnTo>
                    <a:pt x="6" y="46"/>
                  </a:lnTo>
                  <a:lnTo>
                    <a:pt x="6" y="44"/>
                  </a:lnTo>
                  <a:lnTo>
                    <a:pt x="0" y="44"/>
                  </a:lnTo>
                  <a:lnTo>
                    <a:pt x="0" y="44"/>
                  </a:lnTo>
                  <a:lnTo>
                    <a:pt x="2" y="40"/>
                  </a:lnTo>
                  <a:lnTo>
                    <a:pt x="8" y="36"/>
                  </a:lnTo>
                  <a:lnTo>
                    <a:pt x="8" y="36"/>
                  </a:lnTo>
                  <a:lnTo>
                    <a:pt x="10" y="32"/>
                  </a:lnTo>
                  <a:lnTo>
                    <a:pt x="8" y="32"/>
                  </a:lnTo>
                  <a:lnTo>
                    <a:pt x="6" y="30"/>
                  </a:lnTo>
                  <a:lnTo>
                    <a:pt x="10" y="26"/>
                  </a:lnTo>
                  <a:lnTo>
                    <a:pt x="10" y="26"/>
                  </a:lnTo>
                  <a:lnTo>
                    <a:pt x="16" y="20"/>
                  </a:lnTo>
                  <a:lnTo>
                    <a:pt x="22" y="16"/>
                  </a:lnTo>
                  <a:lnTo>
                    <a:pt x="26" y="12"/>
                  </a:lnTo>
                  <a:lnTo>
                    <a:pt x="30" y="4"/>
                  </a:lnTo>
                  <a:lnTo>
                    <a:pt x="30" y="4"/>
                  </a:lnTo>
                  <a:lnTo>
                    <a:pt x="32" y="6"/>
                  </a:lnTo>
                  <a:lnTo>
                    <a:pt x="34" y="6"/>
                  </a:lnTo>
                  <a:lnTo>
                    <a:pt x="36" y="4"/>
                  </a:lnTo>
                  <a:lnTo>
                    <a:pt x="40" y="4"/>
                  </a:lnTo>
                  <a:lnTo>
                    <a:pt x="40" y="4"/>
                  </a:lnTo>
                  <a:lnTo>
                    <a:pt x="40" y="0"/>
                  </a:lnTo>
                  <a:lnTo>
                    <a:pt x="44" y="0"/>
                  </a:lnTo>
                  <a:lnTo>
                    <a:pt x="50" y="2"/>
                  </a:lnTo>
                  <a:lnTo>
                    <a:pt x="50" y="2"/>
                  </a:lnTo>
                  <a:lnTo>
                    <a:pt x="54" y="4"/>
                  </a:lnTo>
                  <a:lnTo>
                    <a:pt x="60" y="4"/>
                  </a:lnTo>
                  <a:lnTo>
                    <a:pt x="70" y="2"/>
                  </a:lnTo>
                  <a:lnTo>
                    <a:pt x="82" y="0"/>
                  </a:lnTo>
                  <a:lnTo>
                    <a:pt x="88" y="0"/>
                  </a:lnTo>
                  <a:lnTo>
                    <a:pt x="92" y="0"/>
                  </a:lnTo>
                  <a:lnTo>
                    <a:pt x="92" y="0"/>
                  </a:lnTo>
                  <a:lnTo>
                    <a:pt x="96" y="2"/>
                  </a:lnTo>
                  <a:lnTo>
                    <a:pt x="96" y="2"/>
                  </a:lnTo>
                  <a:lnTo>
                    <a:pt x="96" y="0"/>
                  </a:lnTo>
                  <a:lnTo>
                    <a:pt x="96" y="0"/>
                  </a:lnTo>
                  <a:lnTo>
                    <a:pt x="96" y="0"/>
                  </a:lnTo>
                  <a:lnTo>
                    <a:pt x="102" y="0"/>
                  </a:lnTo>
                  <a:lnTo>
                    <a:pt x="104" y="2"/>
                  </a:lnTo>
                  <a:lnTo>
                    <a:pt x="112" y="4"/>
                  </a:lnTo>
                  <a:lnTo>
                    <a:pt x="112" y="4"/>
                  </a:lnTo>
                  <a:lnTo>
                    <a:pt x="118" y="6"/>
                  </a:lnTo>
                  <a:lnTo>
                    <a:pt x="114" y="6"/>
                  </a:lnTo>
                  <a:lnTo>
                    <a:pt x="110" y="8"/>
                  </a:lnTo>
                  <a:lnTo>
                    <a:pt x="110" y="8"/>
                  </a:lnTo>
                  <a:lnTo>
                    <a:pt x="108" y="8"/>
                  </a:lnTo>
                  <a:lnTo>
                    <a:pt x="112" y="10"/>
                  </a:lnTo>
                  <a:lnTo>
                    <a:pt x="116" y="12"/>
                  </a:lnTo>
                  <a:lnTo>
                    <a:pt x="116" y="12"/>
                  </a:lnTo>
                  <a:lnTo>
                    <a:pt x="122" y="14"/>
                  </a:lnTo>
                  <a:lnTo>
                    <a:pt x="120" y="12"/>
                  </a:lnTo>
                  <a:lnTo>
                    <a:pt x="120" y="8"/>
                  </a:lnTo>
                  <a:lnTo>
                    <a:pt x="124" y="10"/>
                  </a:lnTo>
                  <a:lnTo>
                    <a:pt x="124" y="10"/>
                  </a:lnTo>
                  <a:lnTo>
                    <a:pt x="130" y="14"/>
                  </a:lnTo>
                  <a:lnTo>
                    <a:pt x="134" y="18"/>
                  </a:lnTo>
                  <a:lnTo>
                    <a:pt x="134" y="20"/>
                  </a:lnTo>
                  <a:lnTo>
                    <a:pt x="136" y="22"/>
                  </a:lnTo>
                  <a:lnTo>
                    <a:pt x="136" y="22"/>
                  </a:lnTo>
                  <a:lnTo>
                    <a:pt x="130" y="24"/>
                  </a:lnTo>
                  <a:lnTo>
                    <a:pt x="124" y="28"/>
                  </a:lnTo>
                  <a:lnTo>
                    <a:pt x="124" y="28"/>
                  </a:lnTo>
                  <a:lnTo>
                    <a:pt x="120" y="30"/>
                  </a:lnTo>
                  <a:lnTo>
                    <a:pt x="116" y="32"/>
                  </a:lnTo>
                  <a:lnTo>
                    <a:pt x="110" y="32"/>
                  </a:lnTo>
                  <a:lnTo>
                    <a:pt x="110" y="32"/>
                  </a:lnTo>
                  <a:lnTo>
                    <a:pt x="106" y="32"/>
                  </a:lnTo>
                  <a:lnTo>
                    <a:pt x="104" y="30"/>
                  </a:lnTo>
                  <a:lnTo>
                    <a:pt x="100" y="30"/>
                  </a:lnTo>
                  <a:lnTo>
                    <a:pt x="100" y="32"/>
                  </a:lnTo>
                  <a:lnTo>
                    <a:pt x="100" y="32"/>
                  </a:lnTo>
                  <a:lnTo>
                    <a:pt x="98" y="34"/>
                  </a:lnTo>
                  <a:lnTo>
                    <a:pt x="96" y="34"/>
                  </a:lnTo>
                  <a:lnTo>
                    <a:pt x="94" y="34"/>
                  </a:lnTo>
                  <a:lnTo>
                    <a:pt x="94" y="38"/>
                  </a:lnTo>
                  <a:lnTo>
                    <a:pt x="94" y="38"/>
                  </a:lnTo>
                  <a:lnTo>
                    <a:pt x="94" y="42"/>
                  </a:lnTo>
                  <a:lnTo>
                    <a:pt x="92" y="42"/>
                  </a:lnTo>
                  <a:lnTo>
                    <a:pt x="86" y="42"/>
                  </a:lnTo>
                  <a:lnTo>
                    <a:pt x="82" y="48"/>
                  </a:lnTo>
                  <a:lnTo>
                    <a:pt x="82" y="48"/>
                  </a:lnTo>
                  <a:lnTo>
                    <a:pt x="76" y="52"/>
                  </a:lnTo>
                  <a:lnTo>
                    <a:pt x="72" y="52"/>
                  </a:lnTo>
                  <a:lnTo>
                    <a:pt x="70" y="52"/>
                  </a:lnTo>
                  <a:lnTo>
                    <a:pt x="66" y="54"/>
                  </a:lnTo>
                  <a:lnTo>
                    <a:pt x="66" y="54"/>
                  </a:lnTo>
                  <a:lnTo>
                    <a:pt x="64" y="56"/>
                  </a:lnTo>
                  <a:lnTo>
                    <a:pt x="64" y="58"/>
                  </a:lnTo>
                  <a:lnTo>
                    <a:pt x="64" y="60"/>
                  </a:lnTo>
                  <a:lnTo>
                    <a:pt x="62" y="62"/>
                  </a:lnTo>
                  <a:lnTo>
                    <a:pt x="62" y="62"/>
                  </a:lnTo>
                  <a:lnTo>
                    <a:pt x="60" y="62"/>
                  </a:lnTo>
                  <a:lnTo>
                    <a:pt x="58" y="62"/>
                  </a:lnTo>
                  <a:lnTo>
                    <a:pt x="56" y="60"/>
                  </a:lnTo>
                  <a:lnTo>
                    <a:pt x="54" y="62"/>
                  </a:lnTo>
                  <a:lnTo>
                    <a:pt x="54" y="62"/>
                  </a:lnTo>
                  <a:lnTo>
                    <a:pt x="52" y="64"/>
                  </a:lnTo>
                  <a:lnTo>
                    <a:pt x="54" y="66"/>
                  </a:lnTo>
                  <a:lnTo>
                    <a:pt x="52" y="70"/>
                  </a:lnTo>
                  <a:lnTo>
                    <a:pt x="44" y="76"/>
                  </a:lnTo>
                  <a:lnTo>
                    <a:pt x="44" y="76"/>
                  </a:lnTo>
                  <a:lnTo>
                    <a:pt x="44" y="74"/>
                  </a:lnTo>
                  <a:lnTo>
                    <a:pt x="42" y="72"/>
                  </a:lnTo>
                  <a:lnTo>
                    <a:pt x="42" y="72"/>
                  </a:lnTo>
                  <a:lnTo>
                    <a:pt x="40" y="70"/>
                  </a:lnTo>
                  <a:lnTo>
                    <a:pt x="40" y="68"/>
                  </a:lnTo>
                  <a:lnTo>
                    <a:pt x="38" y="66"/>
                  </a:lnTo>
                  <a:lnTo>
                    <a:pt x="34" y="68"/>
                  </a:lnTo>
                  <a:lnTo>
                    <a:pt x="34" y="68"/>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El Salvador"/>
            <p:cNvSpPr>
              <a:spLocks/>
            </p:cNvSpPr>
            <p:nvPr/>
          </p:nvSpPr>
          <p:spPr bwMode="auto">
            <a:xfrm>
              <a:off x="1639059" y="3139281"/>
              <a:ext cx="68792" cy="37042"/>
            </a:xfrm>
            <a:custGeom>
              <a:avLst/>
              <a:gdLst/>
              <a:ahLst/>
              <a:cxnLst>
                <a:cxn ang="0">
                  <a:pos x="18" y="0"/>
                </a:cxn>
                <a:cxn ang="0">
                  <a:pos x="18" y="0"/>
                </a:cxn>
                <a:cxn ang="0">
                  <a:pos x="24" y="0"/>
                </a:cxn>
                <a:cxn ang="0">
                  <a:pos x="24" y="2"/>
                </a:cxn>
                <a:cxn ang="0">
                  <a:pos x="26" y="4"/>
                </a:cxn>
                <a:cxn ang="0">
                  <a:pos x="28" y="2"/>
                </a:cxn>
                <a:cxn ang="0">
                  <a:pos x="28" y="2"/>
                </a:cxn>
                <a:cxn ang="0">
                  <a:pos x="32" y="4"/>
                </a:cxn>
                <a:cxn ang="0">
                  <a:pos x="34" y="6"/>
                </a:cxn>
                <a:cxn ang="0">
                  <a:pos x="36" y="10"/>
                </a:cxn>
                <a:cxn ang="0">
                  <a:pos x="40" y="12"/>
                </a:cxn>
                <a:cxn ang="0">
                  <a:pos x="40" y="12"/>
                </a:cxn>
                <a:cxn ang="0">
                  <a:pos x="46" y="12"/>
                </a:cxn>
                <a:cxn ang="0">
                  <a:pos x="48" y="14"/>
                </a:cxn>
                <a:cxn ang="0">
                  <a:pos x="48" y="16"/>
                </a:cxn>
                <a:cxn ang="0">
                  <a:pos x="50" y="18"/>
                </a:cxn>
                <a:cxn ang="0">
                  <a:pos x="50" y="18"/>
                </a:cxn>
                <a:cxn ang="0">
                  <a:pos x="50" y="18"/>
                </a:cxn>
                <a:cxn ang="0">
                  <a:pos x="50" y="20"/>
                </a:cxn>
                <a:cxn ang="0">
                  <a:pos x="50" y="22"/>
                </a:cxn>
                <a:cxn ang="0">
                  <a:pos x="52" y="24"/>
                </a:cxn>
                <a:cxn ang="0">
                  <a:pos x="52" y="24"/>
                </a:cxn>
                <a:cxn ang="0">
                  <a:pos x="38" y="28"/>
                </a:cxn>
                <a:cxn ang="0">
                  <a:pos x="30" y="26"/>
                </a:cxn>
                <a:cxn ang="0">
                  <a:pos x="24" y="24"/>
                </a:cxn>
                <a:cxn ang="0">
                  <a:pos x="16" y="22"/>
                </a:cxn>
                <a:cxn ang="0">
                  <a:pos x="16" y="22"/>
                </a:cxn>
                <a:cxn ang="0">
                  <a:pos x="6" y="18"/>
                </a:cxn>
                <a:cxn ang="0">
                  <a:pos x="0" y="16"/>
                </a:cxn>
                <a:cxn ang="0">
                  <a:pos x="0" y="16"/>
                </a:cxn>
                <a:cxn ang="0">
                  <a:pos x="4" y="10"/>
                </a:cxn>
                <a:cxn ang="0">
                  <a:pos x="6" y="8"/>
                </a:cxn>
                <a:cxn ang="0">
                  <a:pos x="10" y="8"/>
                </a:cxn>
                <a:cxn ang="0">
                  <a:pos x="12" y="4"/>
                </a:cxn>
                <a:cxn ang="0">
                  <a:pos x="12" y="4"/>
                </a:cxn>
                <a:cxn ang="0">
                  <a:pos x="14" y="0"/>
                </a:cxn>
                <a:cxn ang="0">
                  <a:pos x="18" y="0"/>
                </a:cxn>
                <a:cxn ang="0">
                  <a:pos x="18" y="0"/>
                </a:cxn>
              </a:cxnLst>
              <a:rect l="0" t="0" r="r" b="b"/>
              <a:pathLst>
                <a:path w="52" h="28">
                  <a:moveTo>
                    <a:pt x="18" y="0"/>
                  </a:moveTo>
                  <a:lnTo>
                    <a:pt x="18" y="0"/>
                  </a:lnTo>
                  <a:lnTo>
                    <a:pt x="24" y="0"/>
                  </a:lnTo>
                  <a:lnTo>
                    <a:pt x="24" y="2"/>
                  </a:lnTo>
                  <a:lnTo>
                    <a:pt x="26" y="4"/>
                  </a:lnTo>
                  <a:lnTo>
                    <a:pt x="28" y="2"/>
                  </a:lnTo>
                  <a:lnTo>
                    <a:pt x="28" y="2"/>
                  </a:lnTo>
                  <a:lnTo>
                    <a:pt x="32" y="4"/>
                  </a:lnTo>
                  <a:lnTo>
                    <a:pt x="34" y="6"/>
                  </a:lnTo>
                  <a:lnTo>
                    <a:pt x="36" y="10"/>
                  </a:lnTo>
                  <a:lnTo>
                    <a:pt x="40" y="12"/>
                  </a:lnTo>
                  <a:lnTo>
                    <a:pt x="40" y="12"/>
                  </a:lnTo>
                  <a:lnTo>
                    <a:pt x="46" y="12"/>
                  </a:lnTo>
                  <a:lnTo>
                    <a:pt x="48" y="14"/>
                  </a:lnTo>
                  <a:lnTo>
                    <a:pt x="48" y="16"/>
                  </a:lnTo>
                  <a:lnTo>
                    <a:pt x="50" y="18"/>
                  </a:lnTo>
                  <a:lnTo>
                    <a:pt x="50" y="18"/>
                  </a:lnTo>
                  <a:lnTo>
                    <a:pt x="50" y="18"/>
                  </a:lnTo>
                  <a:lnTo>
                    <a:pt x="50" y="20"/>
                  </a:lnTo>
                  <a:lnTo>
                    <a:pt x="50" y="22"/>
                  </a:lnTo>
                  <a:lnTo>
                    <a:pt x="52" y="24"/>
                  </a:lnTo>
                  <a:lnTo>
                    <a:pt x="52" y="24"/>
                  </a:lnTo>
                  <a:lnTo>
                    <a:pt x="38" y="28"/>
                  </a:lnTo>
                  <a:lnTo>
                    <a:pt x="30" y="26"/>
                  </a:lnTo>
                  <a:lnTo>
                    <a:pt x="24" y="24"/>
                  </a:lnTo>
                  <a:lnTo>
                    <a:pt x="16" y="22"/>
                  </a:lnTo>
                  <a:lnTo>
                    <a:pt x="16" y="22"/>
                  </a:lnTo>
                  <a:lnTo>
                    <a:pt x="6" y="18"/>
                  </a:lnTo>
                  <a:lnTo>
                    <a:pt x="0" y="16"/>
                  </a:lnTo>
                  <a:lnTo>
                    <a:pt x="0" y="16"/>
                  </a:lnTo>
                  <a:lnTo>
                    <a:pt x="4" y="10"/>
                  </a:lnTo>
                  <a:lnTo>
                    <a:pt x="6" y="8"/>
                  </a:lnTo>
                  <a:lnTo>
                    <a:pt x="10" y="8"/>
                  </a:lnTo>
                  <a:lnTo>
                    <a:pt x="12" y="4"/>
                  </a:lnTo>
                  <a:lnTo>
                    <a:pt x="12" y="4"/>
                  </a:lnTo>
                  <a:lnTo>
                    <a:pt x="14" y="0"/>
                  </a:lnTo>
                  <a:lnTo>
                    <a:pt x="18" y="0"/>
                  </a:lnTo>
                  <a:lnTo>
                    <a:pt x="18" y="0"/>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 name="Nicaragua"/>
            <p:cNvSpPr>
              <a:spLocks/>
            </p:cNvSpPr>
            <p:nvPr/>
          </p:nvSpPr>
          <p:spPr bwMode="auto">
            <a:xfrm>
              <a:off x="1713142" y="3110177"/>
              <a:ext cx="129646" cy="150813"/>
            </a:xfrm>
            <a:custGeom>
              <a:avLst/>
              <a:gdLst/>
              <a:ahLst/>
              <a:cxnLst>
                <a:cxn ang="0">
                  <a:pos x="6" y="54"/>
                </a:cxn>
                <a:cxn ang="0">
                  <a:pos x="16" y="44"/>
                </a:cxn>
                <a:cxn ang="0">
                  <a:pos x="16" y="40"/>
                </a:cxn>
                <a:cxn ang="0">
                  <a:pos x="18" y="38"/>
                </a:cxn>
                <a:cxn ang="0">
                  <a:pos x="22" y="40"/>
                </a:cxn>
                <a:cxn ang="0">
                  <a:pos x="24" y="40"/>
                </a:cxn>
                <a:cxn ang="0">
                  <a:pos x="26" y="36"/>
                </a:cxn>
                <a:cxn ang="0">
                  <a:pos x="28" y="32"/>
                </a:cxn>
                <a:cxn ang="0">
                  <a:pos x="32" y="30"/>
                </a:cxn>
                <a:cxn ang="0">
                  <a:pos x="38" y="30"/>
                </a:cxn>
                <a:cxn ang="0">
                  <a:pos x="44" y="26"/>
                </a:cxn>
                <a:cxn ang="0">
                  <a:pos x="54" y="20"/>
                </a:cxn>
                <a:cxn ang="0">
                  <a:pos x="56" y="16"/>
                </a:cxn>
                <a:cxn ang="0">
                  <a:pos x="56" y="12"/>
                </a:cxn>
                <a:cxn ang="0">
                  <a:pos x="60" y="12"/>
                </a:cxn>
                <a:cxn ang="0">
                  <a:pos x="62" y="10"/>
                </a:cxn>
                <a:cxn ang="0">
                  <a:pos x="66" y="8"/>
                </a:cxn>
                <a:cxn ang="0">
                  <a:pos x="72" y="10"/>
                </a:cxn>
                <a:cxn ang="0">
                  <a:pos x="78" y="10"/>
                </a:cxn>
                <a:cxn ang="0">
                  <a:pos x="86" y="6"/>
                </a:cxn>
                <a:cxn ang="0">
                  <a:pos x="92" y="2"/>
                </a:cxn>
                <a:cxn ang="0">
                  <a:pos x="98" y="0"/>
                </a:cxn>
                <a:cxn ang="0">
                  <a:pos x="98" y="2"/>
                </a:cxn>
                <a:cxn ang="0">
                  <a:pos x="94" y="6"/>
                </a:cxn>
                <a:cxn ang="0">
                  <a:pos x="96" y="10"/>
                </a:cxn>
                <a:cxn ang="0">
                  <a:pos x="96" y="10"/>
                </a:cxn>
                <a:cxn ang="0">
                  <a:pos x="96" y="18"/>
                </a:cxn>
                <a:cxn ang="0">
                  <a:pos x="90" y="28"/>
                </a:cxn>
                <a:cxn ang="0">
                  <a:pos x="92" y="28"/>
                </a:cxn>
                <a:cxn ang="0">
                  <a:pos x="88" y="42"/>
                </a:cxn>
                <a:cxn ang="0">
                  <a:pos x="86" y="52"/>
                </a:cxn>
                <a:cxn ang="0">
                  <a:pos x="86" y="58"/>
                </a:cxn>
                <a:cxn ang="0">
                  <a:pos x="84" y="64"/>
                </a:cxn>
                <a:cxn ang="0">
                  <a:pos x="82" y="64"/>
                </a:cxn>
                <a:cxn ang="0">
                  <a:pos x="84" y="68"/>
                </a:cxn>
                <a:cxn ang="0">
                  <a:pos x="84" y="72"/>
                </a:cxn>
                <a:cxn ang="0">
                  <a:pos x="84" y="74"/>
                </a:cxn>
                <a:cxn ang="0">
                  <a:pos x="82" y="74"/>
                </a:cxn>
                <a:cxn ang="0">
                  <a:pos x="82" y="78"/>
                </a:cxn>
                <a:cxn ang="0">
                  <a:pos x="84" y="80"/>
                </a:cxn>
                <a:cxn ang="0">
                  <a:pos x="84" y="84"/>
                </a:cxn>
                <a:cxn ang="0">
                  <a:pos x="82" y="90"/>
                </a:cxn>
                <a:cxn ang="0">
                  <a:pos x="80" y="92"/>
                </a:cxn>
                <a:cxn ang="0">
                  <a:pos x="78" y="100"/>
                </a:cxn>
                <a:cxn ang="0">
                  <a:pos x="82" y="112"/>
                </a:cxn>
                <a:cxn ang="0">
                  <a:pos x="74" y="114"/>
                </a:cxn>
                <a:cxn ang="0">
                  <a:pos x="68" y="114"/>
                </a:cxn>
                <a:cxn ang="0">
                  <a:pos x="64" y="114"/>
                </a:cxn>
                <a:cxn ang="0">
                  <a:pos x="54" y="108"/>
                </a:cxn>
                <a:cxn ang="0">
                  <a:pos x="48" y="110"/>
                </a:cxn>
                <a:cxn ang="0">
                  <a:pos x="40" y="108"/>
                </a:cxn>
                <a:cxn ang="0">
                  <a:pos x="32" y="110"/>
                </a:cxn>
                <a:cxn ang="0">
                  <a:pos x="28" y="106"/>
                </a:cxn>
                <a:cxn ang="0">
                  <a:pos x="28" y="100"/>
                </a:cxn>
                <a:cxn ang="0">
                  <a:pos x="22" y="94"/>
                </a:cxn>
                <a:cxn ang="0">
                  <a:pos x="14" y="86"/>
                </a:cxn>
                <a:cxn ang="0">
                  <a:pos x="8" y="68"/>
                </a:cxn>
                <a:cxn ang="0">
                  <a:pos x="2" y="60"/>
                </a:cxn>
                <a:cxn ang="0">
                  <a:pos x="0" y="52"/>
                </a:cxn>
                <a:cxn ang="0">
                  <a:pos x="6" y="54"/>
                </a:cxn>
              </a:cxnLst>
              <a:rect l="0" t="0" r="r" b="b"/>
              <a:pathLst>
                <a:path w="98" h="114">
                  <a:moveTo>
                    <a:pt x="6" y="54"/>
                  </a:moveTo>
                  <a:lnTo>
                    <a:pt x="6" y="54"/>
                  </a:lnTo>
                  <a:lnTo>
                    <a:pt x="14" y="48"/>
                  </a:lnTo>
                  <a:lnTo>
                    <a:pt x="16" y="44"/>
                  </a:lnTo>
                  <a:lnTo>
                    <a:pt x="14" y="42"/>
                  </a:lnTo>
                  <a:lnTo>
                    <a:pt x="16" y="40"/>
                  </a:lnTo>
                  <a:lnTo>
                    <a:pt x="16" y="40"/>
                  </a:lnTo>
                  <a:lnTo>
                    <a:pt x="18" y="38"/>
                  </a:lnTo>
                  <a:lnTo>
                    <a:pt x="20" y="40"/>
                  </a:lnTo>
                  <a:lnTo>
                    <a:pt x="22" y="40"/>
                  </a:lnTo>
                  <a:lnTo>
                    <a:pt x="24" y="40"/>
                  </a:lnTo>
                  <a:lnTo>
                    <a:pt x="24" y="40"/>
                  </a:lnTo>
                  <a:lnTo>
                    <a:pt x="26" y="38"/>
                  </a:lnTo>
                  <a:lnTo>
                    <a:pt x="26" y="36"/>
                  </a:lnTo>
                  <a:lnTo>
                    <a:pt x="26" y="34"/>
                  </a:lnTo>
                  <a:lnTo>
                    <a:pt x="28" y="32"/>
                  </a:lnTo>
                  <a:lnTo>
                    <a:pt x="28" y="32"/>
                  </a:lnTo>
                  <a:lnTo>
                    <a:pt x="32" y="30"/>
                  </a:lnTo>
                  <a:lnTo>
                    <a:pt x="34" y="30"/>
                  </a:lnTo>
                  <a:lnTo>
                    <a:pt x="38" y="30"/>
                  </a:lnTo>
                  <a:lnTo>
                    <a:pt x="44" y="26"/>
                  </a:lnTo>
                  <a:lnTo>
                    <a:pt x="44" y="26"/>
                  </a:lnTo>
                  <a:lnTo>
                    <a:pt x="48" y="20"/>
                  </a:lnTo>
                  <a:lnTo>
                    <a:pt x="54" y="20"/>
                  </a:lnTo>
                  <a:lnTo>
                    <a:pt x="56" y="20"/>
                  </a:lnTo>
                  <a:lnTo>
                    <a:pt x="56" y="16"/>
                  </a:lnTo>
                  <a:lnTo>
                    <a:pt x="56" y="16"/>
                  </a:lnTo>
                  <a:lnTo>
                    <a:pt x="56" y="12"/>
                  </a:lnTo>
                  <a:lnTo>
                    <a:pt x="58" y="12"/>
                  </a:lnTo>
                  <a:lnTo>
                    <a:pt x="60" y="12"/>
                  </a:lnTo>
                  <a:lnTo>
                    <a:pt x="62" y="10"/>
                  </a:lnTo>
                  <a:lnTo>
                    <a:pt x="62" y="10"/>
                  </a:lnTo>
                  <a:lnTo>
                    <a:pt x="62" y="8"/>
                  </a:lnTo>
                  <a:lnTo>
                    <a:pt x="66" y="8"/>
                  </a:lnTo>
                  <a:lnTo>
                    <a:pt x="68" y="10"/>
                  </a:lnTo>
                  <a:lnTo>
                    <a:pt x="72" y="10"/>
                  </a:lnTo>
                  <a:lnTo>
                    <a:pt x="72" y="10"/>
                  </a:lnTo>
                  <a:lnTo>
                    <a:pt x="78" y="10"/>
                  </a:lnTo>
                  <a:lnTo>
                    <a:pt x="82" y="8"/>
                  </a:lnTo>
                  <a:lnTo>
                    <a:pt x="86" y="6"/>
                  </a:lnTo>
                  <a:lnTo>
                    <a:pt x="86" y="6"/>
                  </a:lnTo>
                  <a:lnTo>
                    <a:pt x="92" y="2"/>
                  </a:lnTo>
                  <a:lnTo>
                    <a:pt x="98" y="0"/>
                  </a:lnTo>
                  <a:lnTo>
                    <a:pt x="98" y="0"/>
                  </a:lnTo>
                  <a:lnTo>
                    <a:pt x="98" y="0"/>
                  </a:lnTo>
                  <a:lnTo>
                    <a:pt x="98" y="2"/>
                  </a:lnTo>
                  <a:lnTo>
                    <a:pt x="96" y="4"/>
                  </a:lnTo>
                  <a:lnTo>
                    <a:pt x="94" y="6"/>
                  </a:lnTo>
                  <a:lnTo>
                    <a:pt x="94" y="8"/>
                  </a:lnTo>
                  <a:lnTo>
                    <a:pt x="96" y="10"/>
                  </a:lnTo>
                  <a:lnTo>
                    <a:pt x="96" y="10"/>
                  </a:lnTo>
                  <a:lnTo>
                    <a:pt x="96" y="10"/>
                  </a:lnTo>
                  <a:lnTo>
                    <a:pt x="98" y="12"/>
                  </a:lnTo>
                  <a:lnTo>
                    <a:pt x="96" y="18"/>
                  </a:lnTo>
                  <a:lnTo>
                    <a:pt x="94" y="24"/>
                  </a:lnTo>
                  <a:lnTo>
                    <a:pt x="90" y="28"/>
                  </a:lnTo>
                  <a:lnTo>
                    <a:pt x="90" y="28"/>
                  </a:lnTo>
                  <a:lnTo>
                    <a:pt x="92" y="28"/>
                  </a:lnTo>
                  <a:lnTo>
                    <a:pt x="92" y="32"/>
                  </a:lnTo>
                  <a:lnTo>
                    <a:pt x="88" y="42"/>
                  </a:lnTo>
                  <a:lnTo>
                    <a:pt x="88" y="42"/>
                  </a:lnTo>
                  <a:lnTo>
                    <a:pt x="86" y="52"/>
                  </a:lnTo>
                  <a:lnTo>
                    <a:pt x="86" y="58"/>
                  </a:lnTo>
                  <a:lnTo>
                    <a:pt x="86" y="58"/>
                  </a:lnTo>
                  <a:lnTo>
                    <a:pt x="86" y="60"/>
                  </a:lnTo>
                  <a:lnTo>
                    <a:pt x="84" y="64"/>
                  </a:lnTo>
                  <a:lnTo>
                    <a:pt x="82" y="64"/>
                  </a:lnTo>
                  <a:lnTo>
                    <a:pt x="82" y="64"/>
                  </a:lnTo>
                  <a:lnTo>
                    <a:pt x="84" y="64"/>
                  </a:lnTo>
                  <a:lnTo>
                    <a:pt x="84" y="68"/>
                  </a:lnTo>
                  <a:lnTo>
                    <a:pt x="84" y="68"/>
                  </a:lnTo>
                  <a:lnTo>
                    <a:pt x="84" y="72"/>
                  </a:lnTo>
                  <a:lnTo>
                    <a:pt x="84" y="74"/>
                  </a:lnTo>
                  <a:lnTo>
                    <a:pt x="84" y="74"/>
                  </a:lnTo>
                  <a:lnTo>
                    <a:pt x="84" y="74"/>
                  </a:lnTo>
                  <a:lnTo>
                    <a:pt x="82" y="74"/>
                  </a:lnTo>
                  <a:lnTo>
                    <a:pt x="80" y="76"/>
                  </a:lnTo>
                  <a:lnTo>
                    <a:pt x="82" y="78"/>
                  </a:lnTo>
                  <a:lnTo>
                    <a:pt x="84" y="80"/>
                  </a:lnTo>
                  <a:lnTo>
                    <a:pt x="84" y="80"/>
                  </a:lnTo>
                  <a:lnTo>
                    <a:pt x="84" y="82"/>
                  </a:lnTo>
                  <a:lnTo>
                    <a:pt x="84" y="84"/>
                  </a:lnTo>
                  <a:lnTo>
                    <a:pt x="84" y="88"/>
                  </a:lnTo>
                  <a:lnTo>
                    <a:pt x="82" y="90"/>
                  </a:lnTo>
                  <a:lnTo>
                    <a:pt x="82" y="90"/>
                  </a:lnTo>
                  <a:lnTo>
                    <a:pt x="80" y="92"/>
                  </a:lnTo>
                  <a:lnTo>
                    <a:pt x="78" y="94"/>
                  </a:lnTo>
                  <a:lnTo>
                    <a:pt x="78" y="100"/>
                  </a:lnTo>
                  <a:lnTo>
                    <a:pt x="82" y="112"/>
                  </a:lnTo>
                  <a:lnTo>
                    <a:pt x="82" y="112"/>
                  </a:lnTo>
                  <a:lnTo>
                    <a:pt x="76" y="114"/>
                  </a:lnTo>
                  <a:lnTo>
                    <a:pt x="74" y="114"/>
                  </a:lnTo>
                  <a:lnTo>
                    <a:pt x="72" y="112"/>
                  </a:lnTo>
                  <a:lnTo>
                    <a:pt x="68" y="114"/>
                  </a:lnTo>
                  <a:lnTo>
                    <a:pt x="68" y="114"/>
                  </a:lnTo>
                  <a:lnTo>
                    <a:pt x="64" y="114"/>
                  </a:lnTo>
                  <a:lnTo>
                    <a:pt x="60" y="110"/>
                  </a:lnTo>
                  <a:lnTo>
                    <a:pt x="54" y="108"/>
                  </a:lnTo>
                  <a:lnTo>
                    <a:pt x="48" y="110"/>
                  </a:lnTo>
                  <a:lnTo>
                    <a:pt x="48" y="110"/>
                  </a:lnTo>
                  <a:lnTo>
                    <a:pt x="44" y="110"/>
                  </a:lnTo>
                  <a:lnTo>
                    <a:pt x="40" y="108"/>
                  </a:lnTo>
                  <a:lnTo>
                    <a:pt x="36" y="108"/>
                  </a:lnTo>
                  <a:lnTo>
                    <a:pt x="32" y="110"/>
                  </a:lnTo>
                  <a:lnTo>
                    <a:pt x="32" y="110"/>
                  </a:lnTo>
                  <a:lnTo>
                    <a:pt x="28" y="106"/>
                  </a:lnTo>
                  <a:lnTo>
                    <a:pt x="28" y="102"/>
                  </a:lnTo>
                  <a:lnTo>
                    <a:pt x="28" y="100"/>
                  </a:lnTo>
                  <a:lnTo>
                    <a:pt x="22" y="94"/>
                  </a:lnTo>
                  <a:lnTo>
                    <a:pt x="22" y="94"/>
                  </a:lnTo>
                  <a:lnTo>
                    <a:pt x="18" y="90"/>
                  </a:lnTo>
                  <a:lnTo>
                    <a:pt x="14" y="86"/>
                  </a:lnTo>
                  <a:lnTo>
                    <a:pt x="10" y="78"/>
                  </a:lnTo>
                  <a:lnTo>
                    <a:pt x="8" y="68"/>
                  </a:lnTo>
                  <a:lnTo>
                    <a:pt x="2" y="60"/>
                  </a:lnTo>
                  <a:lnTo>
                    <a:pt x="2" y="60"/>
                  </a:lnTo>
                  <a:lnTo>
                    <a:pt x="0" y="54"/>
                  </a:lnTo>
                  <a:lnTo>
                    <a:pt x="0" y="52"/>
                  </a:lnTo>
                  <a:lnTo>
                    <a:pt x="4" y="52"/>
                  </a:lnTo>
                  <a:lnTo>
                    <a:pt x="6" y="54"/>
                  </a:lnTo>
                  <a:lnTo>
                    <a:pt x="6" y="54"/>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 name="Guatemala"/>
            <p:cNvSpPr>
              <a:spLocks/>
            </p:cNvSpPr>
            <p:nvPr/>
          </p:nvSpPr>
          <p:spPr bwMode="auto">
            <a:xfrm>
              <a:off x="1591434" y="3022865"/>
              <a:ext cx="111125" cy="137583"/>
            </a:xfrm>
            <a:custGeom>
              <a:avLst/>
              <a:gdLst/>
              <a:ahLst/>
              <a:cxnLst>
                <a:cxn ang="0">
                  <a:pos x="36" y="104"/>
                </a:cxn>
                <a:cxn ang="0">
                  <a:pos x="42" y="96"/>
                </a:cxn>
                <a:cxn ang="0">
                  <a:pos x="48" y="92"/>
                </a:cxn>
                <a:cxn ang="0">
                  <a:pos x="50" y="88"/>
                </a:cxn>
                <a:cxn ang="0">
                  <a:pos x="54" y="88"/>
                </a:cxn>
                <a:cxn ang="0">
                  <a:pos x="62" y="80"/>
                </a:cxn>
                <a:cxn ang="0">
                  <a:pos x="64" y="76"/>
                </a:cxn>
                <a:cxn ang="0">
                  <a:pos x="60" y="74"/>
                </a:cxn>
                <a:cxn ang="0">
                  <a:pos x="64" y="70"/>
                </a:cxn>
                <a:cxn ang="0">
                  <a:pos x="76" y="60"/>
                </a:cxn>
                <a:cxn ang="0">
                  <a:pos x="84" y="48"/>
                </a:cxn>
                <a:cxn ang="0">
                  <a:pos x="80" y="46"/>
                </a:cxn>
                <a:cxn ang="0">
                  <a:pos x="76" y="46"/>
                </a:cxn>
                <a:cxn ang="0">
                  <a:pos x="66" y="44"/>
                </a:cxn>
                <a:cxn ang="0">
                  <a:pos x="38" y="0"/>
                </a:cxn>
                <a:cxn ang="0">
                  <a:pos x="36" y="4"/>
                </a:cxn>
                <a:cxn ang="0">
                  <a:pos x="40" y="10"/>
                </a:cxn>
                <a:cxn ang="0">
                  <a:pos x="42" y="14"/>
                </a:cxn>
                <a:cxn ang="0">
                  <a:pos x="36" y="18"/>
                </a:cxn>
                <a:cxn ang="0">
                  <a:pos x="30" y="24"/>
                </a:cxn>
                <a:cxn ang="0">
                  <a:pos x="32" y="26"/>
                </a:cxn>
                <a:cxn ang="0">
                  <a:pos x="40" y="30"/>
                </a:cxn>
                <a:cxn ang="0">
                  <a:pos x="40" y="32"/>
                </a:cxn>
                <a:cxn ang="0">
                  <a:pos x="42" y="38"/>
                </a:cxn>
                <a:cxn ang="0">
                  <a:pos x="44" y="44"/>
                </a:cxn>
                <a:cxn ang="0">
                  <a:pos x="28" y="42"/>
                </a:cxn>
                <a:cxn ang="0">
                  <a:pos x="16" y="46"/>
                </a:cxn>
                <a:cxn ang="0">
                  <a:pos x="6" y="56"/>
                </a:cxn>
                <a:cxn ang="0">
                  <a:pos x="0" y="80"/>
                </a:cxn>
                <a:cxn ang="0">
                  <a:pos x="8" y="92"/>
                </a:cxn>
                <a:cxn ang="0">
                  <a:pos x="24" y="102"/>
                </a:cxn>
                <a:cxn ang="0">
                  <a:pos x="36" y="104"/>
                </a:cxn>
              </a:cxnLst>
              <a:rect l="0" t="0" r="r" b="b"/>
              <a:pathLst>
                <a:path w="84" h="104">
                  <a:moveTo>
                    <a:pt x="36" y="104"/>
                  </a:moveTo>
                  <a:lnTo>
                    <a:pt x="36" y="104"/>
                  </a:lnTo>
                  <a:lnTo>
                    <a:pt x="40" y="98"/>
                  </a:lnTo>
                  <a:lnTo>
                    <a:pt x="42" y="96"/>
                  </a:lnTo>
                  <a:lnTo>
                    <a:pt x="46" y="96"/>
                  </a:lnTo>
                  <a:lnTo>
                    <a:pt x="48" y="92"/>
                  </a:lnTo>
                  <a:lnTo>
                    <a:pt x="48" y="92"/>
                  </a:lnTo>
                  <a:lnTo>
                    <a:pt x="50" y="88"/>
                  </a:lnTo>
                  <a:lnTo>
                    <a:pt x="54" y="88"/>
                  </a:lnTo>
                  <a:lnTo>
                    <a:pt x="54" y="88"/>
                  </a:lnTo>
                  <a:lnTo>
                    <a:pt x="56" y="84"/>
                  </a:lnTo>
                  <a:lnTo>
                    <a:pt x="62" y="80"/>
                  </a:lnTo>
                  <a:lnTo>
                    <a:pt x="62" y="80"/>
                  </a:lnTo>
                  <a:lnTo>
                    <a:pt x="64" y="76"/>
                  </a:lnTo>
                  <a:lnTo>
                    <a:pt x="62" y="76"/>
                  </a:lnTo>
                  <a:lnTo>
                    <a:pt x="60" y="74"/>
                  </a:lnTo>
                  <a:lnTo>
                    <a:pt x="64" y="70"/>
                  </a:lnTo>
                  <a:lnTo>
                    <a:pt x="64" y="70"/>
                  </a:lnTo>
                  <a:lnTo>
                    <a:pt x="70" y="64"/>
                  </a:lnTo>
                  <a:lnTo>
                    <a:pt x="76" y="60"/>
                  </a:lnTo>
                  <a:lnTo>
                    <a:pt x="80" y="56"/>
                  </a:lnTo>
                  <a:lnTo>
                    <a:pt x="84" y="48"/>
                  </a:lnTo>
                  <a:lnTo>
                    <a:pt x="84" y="48"/>
                  </a:lnTo>
                  <a:lnTo>
                    <a:pt x="80" y="46"/>
                  </a:lnTo>
                  <a:lnTo>
                    <a:pt x="78" y="46"/>
                  </a:lnTo>
                  <a:lnTo>
                    <a:pt x="76" y="46"/>
                  </a:lnTo>
                  <a:lnTo>
                    <a:pt x="76" y="44"/>
                  </a:lnTo>
                  <a:lnTo>
                    <a:pt x="66" y="44"/>
                  </a:lnTo>
                  <a:lnTo>
                    <a:pt x="72" y="0"/>
                  </a:lnTo>
                  <a:lnTo>
                    <a:pt x="38" y="0"/>
                  </a:lnTo>
                  <a:lnTo>
                    <a:pt x="38" y="0"/>
                  </a:lnTo>
                  <a:lnTo>
                    <a:pt x="36" y="4"/>
                  </a:lnTo>
                  <a:lnTo>
                    <a:pt x="38" y="8"/>
                  </a:lnTo>
                  <a:lnTo>
                    <a:pt x="40" y="10"/>
                  </a:lnTo>
                  <a:lnTo>
                    <a:pt x="42" y="14"/>
                  </a:lnTo>
                  <a:lnTo>
                    <a:pt x="42" y="14"/>
                  </a:lnTo>
                  <a:lnTo>
                    <a:pt x="40" y="18"/>
                  </a:lnTo>
                  <a:lnTo>
                    <a:pt x="36" y="18"/>
                  </a:lnTo>
                  <a:lnTo>
                    <a:pt x="32" y="20"/>
                  </a:lnTo>
                  <a:lnTo>
                    <a:pt x="30" y="24"/>
                  </a:lnTo>
                  <a:lnTo>
                    <a:pt x="30" y="24"/>
                  </a:lnTo>
                  <a:lnTo>
                    <a:pt x="32" y="26"/>
                  </a:lnTo>
                  <a:lnTo>
                    <a:pt x="36" y="28"/>
                  </a:lnTo>
                  <a:lnTo>
                    <a:pt x="40" y="30"/>
                  </a:lnTo>
                  <a:lnTo>
                    <a:pt x="40" y="32"/>
                  </a:lnTo>
                  <a:lnTo>
                    <a:pt x="40" y="32"/>
                  </a:lnTo>
                  <a:lnTo>
                    <a:pt x="40" y="36"/>
                  </a:lnTo>
                  <a:lnTo>
                    <a:pt x="42" y="38"/>
                  </a:lnTo>
                  <a:lnTo>
                    <a:pt x="44" y="40"/>
                  </a:lnTo>
                  <a:lnTo>
                    <a:pt x="44" y="44"/>
                  </a:lnTo>
                  <a:lnTo>
                    <a:pt x="44" y="44"/>
                  </a:lnTo>
                  <a:lnTo>
                    <a:pt x="28" y="42"/>
                  </a:lnTo>
                  <a:lnTo>
                    <a:pt x="22" y="44"/>
                  </a:lnTo>
                  <a:lnTo>
                    <a:pt x="16" y="46"/>
                  </a:lnTo>
                  <a:lnTo>
                    <a:pt x="12" y="50"/>
                  </a:lnTo>
                  <a:lnTo>
                    <a:pt x="6" y="56"/>
                  </a:lnTo>
                  <a:lnTo>
                    <a:pt x="4" y="66"/>
                  </a:lnTo>
                  <a:lnTo>
                    <a:pt x="0" y="80"/>
                  </a:lnTo>
                  <a:lnTo>
                    <a:pt x="0" y="80"/>
                  </a:lnTo>
                  <a:lnTo>
                    <a:pt x="8" y="92"/>
                  </a:lnTo>
                  <a:lnTo>
                    <a:pt x="16" y="98"/>
                  </a:lnTo>
                  <a:lnTo>
                    <a:pt x="24" y="102"/>
                  </a:lnTo>
                  <a:lnTo>
                    <a:pt x="36" y="104"/>
                  </a:lnTo>
                  <a:lnTo>
                    <a:pt x="36" y="104"/>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Dominican Republic"/>
            <p:cNvSpPr>
              <a:spLocks/>
            </p:cNvSpPr>
            <p:nvPr/>
          </p:nvSpPr>
          <p:spPr bwMode="auto">
            <a:xfrm>
              <a:off x="2165580" y="2943490"/>
              <a:ext cx="105833" cy="74083"/>
            </a:xfrm>
            <a:custGeom>
              <a:avLst/>
              <a:gdLst/>
              <a:ahLst/>
              <a:cxnLst>
                <a:cxn ang="0">
                  <a:pos x="4" y="46"/>
                </a:cxn>
                <a:cxn ang="0">
                  <a:pos x="4" y="48"/>
                </a:cxn>
                <a:cxn ang="0">
                  <a:pos x="2" y="54"/>
                </a:cxn>
                <a:cxn ang="0">
                  <a:pos x="4" y="54"/>
                </a:cxn>
                <a:cxn ang="0">
                  <a:pos x="10" y="54"/>
                </a:cxn>
                <a:cxn ang="0">
                  <a:pos x="10" y="54"/>
                </a:cxn>
                <a:cxn ang="0">
                  <a:pos x="12" y="56"/>
                </a:cxn>
                <a:cxn ang="0">
                  <a:pos x="16" y="52"/>
                </a:cxn>
                <a:cxn ang="0">
                  <a:pos x="22" y="48"/>
                </a:cxn>
                <a:cxn ang="0">
                  <a:pos x="26" y="46"/>
                </a:cxn>
                <a:cxn ang="0">
                  <a:pos x="24" y="42"/>
                </a:cxn>
                <a:cxn ang="0">
                  <a:pos x="24" y="42"/>
                </a:cxn>
                <a:cxn ang="0">
                  <a:pos x="28" y="42"/>
                </a:cxn>
                <a:cxn ang="0">
                  <a:pos x="30" y="40"/>
                </a:cxn>
                <a:cxn ang="0">
                  <a:pos x="32" y="40"/>
                </a:cxn>
                <a:cxn ang="0">
                  <a:pos x="34" y="42"/>
                </a:cxn>
                <a:cxn ang="0">
                  <a:pos x="38" y="42"/>
                </a:cxn>
                <a:cxn ang="0">
                  <a:pos x="40" y="40"/>
                </a:cxn>
                <a:cxn ang="0">
                  <a:pos x="42" y="38"/>
                </a:cxn>
                <a:cxn ang="0">
                  <a:pos x="48" y="40"/>
                </a:cxn>
                <a:cxn ang="0">
                  <a:pos x="52" y="38"/>
                </a:cxn>
                <a:cxn ang="0">
                  <a:pos x="56" y="36"/>
                </a:cxn>
                <a:cxn ang="0">
                  <a:pos x="66" y="44"/>
                </a:cxn>
                <a:cxn ang="0">
                  <a:pos x="68" y="46"/>
                </a:cxn>
                <a:cxn ang="0">
                  <a:pos x="70" y="42"/>
                </a:cxn>
                <a:cxn ang="0">
                  <a:pos x="72" y="40"/>
                </a:cxn>
                <a:cxn ang="0">
                  <a:pos x="74" y="40"/>
                </a:cxn>
                <a:cxn ang="0">
                  <a:pos x="80" y="36"/>
                </a:cxn>
                <a:cxn ang="0">
                  <a:pos x="78" y="32"/>
                </a:cxn>
                <a:cxn ang="0">
                  <a:pos x="68" y="24"/>
                </a:cxn>
                <a:cxn ang="0">
                  <a:pos x="60" y="20"/>
                </a:cxn>
                <a:cxn ang="0">
                  <a:pos x="52" y="20"/>
                </a:cxn>
                <a:cxn ang="0">
                  <a:pos x="46" y="18"/>
                </a:cxn>
                <a:cxn ang="0">
                  <a:pos x="52" y="16"/>
                </a:cxn>
                <a:cxn ang="0">
                  <a:pos x="56" y="16"/>
                </a:cxn>
                <a:cxn ang="0">
                  <a:pos x="60" y="14"/>
                </a:cxn>
                <a:cxn ang="0">
                  <a:pos x="58" y="14"/>
                </a:cxn>
                <a:cxn ang="0">
                  <a:pos x="48" y="12"/>
                </a:cxn>
                <a:cxn ang="0">
                  <a:pos x="48" y="10"/>
                </a:cxn>
                <a:cxn ang="0">
                  <a:pos x="46" y="6"/>
                </a:cxn>
                <a:cxn ang="0">
                  <a:pos x="42" y="6"/>
                </a:cxn>
                <a:cxn ang="0">
                  <a:pos x="38" y="6"/>
                </a:cxn>
                <a:cxn ang="0">
                  <a:pos x="32" y="4"/>
                </a:cxn>
                <a:cxn ang="0">
                  <a:pos x="28" y="2"/>
                </a:cxn>
                <a:cxn ang="0">
                  <a:pos x="24" y="0"/>
                </a:cxn>
                <a:cxn ang="0">
                  <a:pos x="20" y="2"/>
                </a:cxn>
                <a:cxn ang="0">
                  <a:pos x="14" y="0"/>
                </a:cxn>
                <a:cxn ang="0">
                  <a:pos x="12" y="2"/>
                </a:cxn>
                <a:cxn ang="0">
                  <a:pos x="8" y="4"/>
                </a:cxn>
                <a:cxn ang="0">
                  <a:pos x="8" y="12"/>
                </a:cxn>
                <a:cxn ang="0">
                  <a:pos x="8" y="14"/>
                </a:cxn>
                <a:cxn ang="0">
                  <a:pos x="10" y="18"/>
                </a:cxn>
                <a:cxn ang="0">
                  <a:pos x="8" y="20"/>
                </a:cxn>
                <a:cxn ang="0">
                  <a:pos x="6" y="24"/>
                </a:cxn>
                <a:cxn ang="0">
                  <a:pos x="8" y="32"/>
                </a:cxn>
                <a:cxn ang="0">
                  <a:pos x="4" y="36"/>
                </a:cxn>
                <a:cxn ang="0">
                  <a:pos x="2" y="38"/>
                </a:cxn>
                <a:cxn ang="0">
                  <a:pos x="4" y="46"/>
                </a:cxn>
              </a:cxnLst>
              <a:rect l="0" t="0" r="r" b="b"/>
              <a:pathLst>
                <a:path w="80" h="56">
                  <a:moveTo>
                    <a:pt x="4" y="46"/>
                  </a:moveTo>
                  <a:lnTo>
                    <a:pt x="4" y="46"/>
                  </a:lnTo>
                  <a:lnTo>
                    <a:pt x="4" y="48"/>
                  </a:lnTo>
                  <a:lnTo>
                    <a:pt x="4" y="48"/>
                  </a:lnTo>
                  <a:lnTo>
                    <a:pt x="4" y="52"/>
                  </a:lnTo>
                  <a:lnTo>
                    <a:pt x="2" y="54"/>
                  </a:lnTo>
                  <a:lnTo>
                    <a:pt x="4" y="54"/>
                  </a:lnTo>
                  <a:lnTo>
                    <a:pt x="4" y="54"/>
                  </a:lnTo>
                  <a:lnTo>
                    <a:pt x="8" y="54"/>
                  </a:lnTo>
                  <a:lnTo>
                    <a:pt x="10" y="54"/>
                  </a:lnTo>
                  <a:lnTo>
                    <a:pt x="10" y="54"/>
                  </a:lnTo>
                  <a:lnTo>
                    <a:pt x="10" y="54"/>
                  </a:lnTo>
                  <a:lnTo>
                    <a:pt x="10" y="56"/>
                  </a:lnTo>
                  <a:lnTo>
                    <a:pt x="12" y="56"/>
                  </a:lnTo>
                  <a:lnTo>
                    <a:pt x="16" y="52"/>
                  </a:lnTo>
                  <a:lnTo>
                    <a:pt x="16" y="52"/>
                  </a:lnTo>
                  <a:lnTo>
                    <a:pt x="18" y="50"/>
                  </a:lnTo>
                  <a:lnTo>
                    <a:pt x="22" y="48"/>
                  </a:lnTo>
                  <a:lnTo>
                    <a:pt x="22" y="48"/>
                  </a:lnTo>
                  <a:lnTo>
                    <a:pt x="26" y="46"/>
                  </a:lnTo>
                  <a:lnTo>
                    <a:pt x="26" y="44"/>
                  </a:lnTo>
                  <a:lnTo>
                    <a:pt x="24" y="42"/>
                  </a:lnTo>
                  <a:lnTo>
                    <a:pt x="24" y="42"/>
                  </a:lnTo>
                  <a:lnTo>
                    <a:pt x="24" y="42"/>
                  </a:lnTo>
                  <a:lnTo>
                    <a:pt x="26" y="42"/>
                  </a:lnTo>
                  <a:lnTo>
                    <a:pt x="28" y="42"/>
                  </a:lnTo>
                  <a:lnTo>
                    <a:pt x="30" y="40"/>
                  </a:lnTo>
                  <a:lnTo>
                    <a:pt x="30" y="40"/>
                  </a:lnTo>
                  <a:lnTo>
                    <a:pt x="30" y="40"/>
                  </a:lnTo>
                  <a:lnTo>
                    <a:pt x="32" y="40"/>
                  </a:lnTo>
                  <a:lnTo>
                    <a:pt x="32" y="42"/>
                  </a:lnTo>
                  <a:lnTo>
                    <a:pt x="34" y="42"/>
                  </a:lnTo>
                  <a:lnTo>
                    <a:pt x="34" y="42"/>
                  </a:lnTo>
                  <a:lnTo>
                    <a:pt x="38" y="42"/>
                  </a:lnTo>
                  <a:lnTo>
                    <a:pt x="40" y="42"/>
                  </a:lnTo>
                  <a:lnTo>
                    <a:pt x="40" y="40"/>
                  </a:lnTo>
                  <a:lnTo>
                    <a:pt x="40" y="40"/>
                  </a:lnTo>
                  <a:lnTo>
                    <a:pt x="42" y="38"/>
                  </a:lnTo>
                  <a:lnTo>
                    <a:pt x="44" y="38"/>
                  </a:lnTo>
                  <a:lnTo>
                    <a:pt x="48" y="40"/>
                  </a:lnTo>
                  <a:lnTo>
                    <a:pt x="48" y="40"/>
                  </a:lnTo>
                  <a:lnTo>
                    <a:pt x="52" y="38"/>
                  </a:lnTo>
                  <a:lnTo>
                    <a:pt x="56" y="36"/>
                  </a:lnTo>
                  <a:lnTo>
                    <a:pt x="56" y="36"/>
                  </a:lnTo>
                  <a:lnTo>
                    <a:pt x="62" y="40"/>
                  </a:lnTo>
                  <a:lnTo>
                    <a:pt x="66" y="44"/>
                  </a:lnTo>
                  <a:lnTo>
                    <a:pt x="66" y="44"/>
                  </a:lnTo>
                  <a:lnTo>
                    <a:pt x="68" y="46"/>
                  </a:lnTo>
                  <a:lnTo>
                    <a:pt x="68" y="44"/>
                  </a:lnTo>
                  <a:lnTo>
                    <a:pt x="70" y="42"/>
                  </a:lnTo>
                  <a:lnTo>
                    <a:pt x="70" y="42"/>
                  </a:lnTo>
                  <a:lnTo>
                    <a:pt x="72" y="40"/>
                  </a:lnTo>
                  <a:lnTo>
                    <a:pt x="74" y="40"/>
                  </a:lnTo>
                  <a:lnTo>
                    <a:pt x="74" y="40"/>
                  </a:lnTo>
                  <a:lnTo>
                    <a:pt x="78" y="40"/>
                  </a:lnTo>
                  <a:lnTo>
                    <a:pt x="80" y="36"/>
                  </a:lnTo>
                  <a:lnTo>
                    <a:pt x="80" y="34"/>
                  </a:lnTo>
                  <a:lnTo>
                    <a:pt x="78" y="32"/>
                  </a:lnTo>
                  <a:lnTo>
                    <a:pt x="78" y="32"/>
                  </a:lnTo>
                  <a:lnTo>
                    <a:pt x="68" y="24"/>
                  </a:lnTo>
                  <a:lnTo>
                    <a:pt x="68" y="24"/>
                  </a:lnTo>
                  <a:lnTo>
                    <a:pt x="60" y="20"/>
                  </a:lnTo>
                  <a:lnTo>
                    <a:pt x="52" y="20"/>
                  </a:lnTo>
                  <a:lnTo>
                    <a:pt x="52" y="20"/>
                  </a:lnTo>
                  <a:lnTo>
                    <a:pt x="50" y="18"/>
                  </a:lnTo>
                  <a:lnTo>
                    <a:pt x="46" y="18"/>
                  </a:lnTo>
                  <a:lnTo>
                    <a:pt x="46" y="18"/>
                  </a:lnTo>
                  <a:lnTo>
                    <a:pt x="52" y="16"/>
                  </a:lnTo>
                  <a:lnTo>
                    <a:pt x="56" y="16"/>
                  </a:lnTo>
                  <a:lnTo>
                    <a:pt x="56" y="16"/>
                  </a:lnTo>
                  <a:lnTo>
                    <a:pt x="58" y="16"/>
                  </a:lnTo>
                  <a:lnTo>
                    <a:pt x="60" y="14"/>
                  </a:lnTo>
                  <a:lnTo>
                    <a:pt x="58" y="14"/>
                  </a:lnTo>
                  <a:lnTo>
                    <a:pt x="58" y="14"/>
                  </a:lnTo>
                  <a:lnTo>
                    <a:pt x="52" y="12"/>
                  </a:lnTo>
                  <a:lnTo>
                    <a:pt x="48" y="12"/>
                  </a:lnTo>
                  <a:lnTo>
                    <a:pt x="48" y="12"/>
                  </a:lnTo>
                  <a:lnTo>
                    <a:pt x="48" y="10"/>
                  </a:lnTo>
                  <a:lnTo>
                    <a:pt x="48" y="8"/>
                  </a:lnTo>
                  <a:lnTo>
                    <a:pt x="46" y="6"/>
                  </a:lnTo>
                  <a:lnTo>
                    <a:pt x="46" y="6"/>
                  </a:lnTo>
                  <a:lnTo>
                    <a:pt x="42" y="6"/>
                  </a:lnTo>
                  <a:lnTo>
                    <a:pt x="38" y="6"/>
                  </a:lnTo>
                  <a:lnTo>
                    <a:pt x="38" y="6"/>
                  </a:lnTo>
                  <a:lnTo>
                    <a:pt x="34" y="4"/>
                  </a:lnTo>
                  <a:lnTo>
                    <a:pt x="32" y="4"/>
                  </a:lnTo>
                  <a:lnTo>
                    <a:pt x="32" y="4"/>
                  </a:lnTo>
                  <a:lnTo>
                    <a:pt x="28" y="2"/>
                  </a:lnTo>
                  <a:lnTo>
                    <a:pt x="26" y="0"/>
                  </a:lnTo>
                  <a:lnTo>
                    <a:pt x="24" y="0"/>
                  </a:lnTo>
                  <a:lnTo>
                    <a:pt x="24" y="0"/>
                  </a:lnTo>
                  <a:lnTo>
                    <a:pt x="20" y="2"/>
                  </a:lnTo>
                  <a:lnTo>
                    <a:pt x="18" y="0"/>
                  </a:lnTo>
                  <a:lnTo>
                    <a:pt x="14" y="0"/>
                  </a:lnTo>
                  <a:lnTo>
                    <a:pt x="12" y="2"/>
                  </a:lnTo>
                  <a:lnTo>
                    <a:pt x="12" y="2"/>
                  </a:lnTo>
                  <a:lnTo>
                    <a:pt x="8" y="4"/>
                  </a:lnTo>
                  <a:lnTo>
                    <a:pt x="8" y="4"/>
                  </a:lnTo>
                  <a:lnTo>
                    <a:pt x="10" y="8"/>
                  </a:lnTo>
                  <a:lnTo>
                    <a:pt x="8" y="12"/>
                  </a:lnTo>
                  <a:lnTo>
                    <a:pt x="8" y="12"/>
                  </a:lnTo>
                  <a:lnTo>
                    <a:pt x="8" y="14"/>
                  </a:lnTo>
                  <a:lnTo>
                    <a:pt x="8" y="16"/>
                  </a:lnTo>
                  <a:lnTo>
                    <a:pt x="10" y="18"/>
                  </a:lnTo>
                  <a:lnTo>
                    <a:pt x="8" y="20"/>
                  </a:lnTo>
                  <a:lnTo>
                    <a:pt x="8" y="20"/>
                  </a:lnTo>
                  <a:lnTo>
                    <a:pt x="6" y="22"/>
                  </a:lnTo>
                  <a:lnTo>
                    <a:pt x="6" y="24"/>
                  </a:lnTo>
                  <a:lnTo>
                    <a:pt x="8" y="28"/>
                  </a:lnTo>
                  <a:lnTo>
                    <a:pt x="8" y="32"/>
                  </a:lnTo>
                  <a:lnTo>
                    <a:pt x="4" y="36"/>
                  </a:lnTo>
                  <a:lnTo>
                    <a:pt x="4" y="36"/>
                  </a:lnTo>
                  <a:lnTo>
                    <a:pt x="0" y="36"/>
                  </a:lnTo>
                  <a:lnTo>
                    <a:pt x="2" y="38"/>
                  </a:lnTo>
                  <a:lnTo>
                    <a:pt x="4" y="42"/>
                  </a:lnTo>
                  <a:lnTo>
                    <a:pt x="4" y="46"/>
                  </a:lnTo>
                  <a:lnTo>
                    <a:pt x="4" y="46"/>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 name="Freeform 34"/>
            <p:cNvSpPr>
              <a:spLocks/>
            </p:cNvSpPr>
            <p:nvPr/>
          </p:nvSpPr>
          <p:spPr bwMode="auto">
            <a:xfrm>
              <a:off x="1832205" y="2837656"/>
              <a:ext cx="291042" cy="113771"/>
            </a:xfrm>
            <a:custGeom>
              <a:avLst/>
              <a:gdLst/>
              <a:ahLst/>
              <a:cxnLst>
                <a:cxn ang="0">
                  <a:pos x="6" y="34"/>
                </a:cxn>
                <a:cxn ang="0">
                  <a:pos x="10" y="34"/>
                </a:cxn>
                <a:cxn ang="0">
                  <a:pos x="20" y="32"/>
                </a:cxn>
                <a:cxn ang="0">
                  <a:pos x="22" y="28"/>
                </a:cxn>
                <a:cxn ang="0">
                  <a:pos x="32" y="24"/>
                </a:cxn>
                <a:cxn ang="0">
                  <a:pos x="42" y="20"/>
                </a:cxn>
                <a:cxn ang="0">
                  <a:pos x="46" y="16"/>
                </a:cxn>
                <a:cxn ang="0">
                  <a:pos x="74" y="20"/>
                </a:cxn>
                <a:cxn ang="0">
                  <a:pos x="66" y="22"/>
                </a:cxn>
                <a:cxn ang="0">
                  <a:pos x="62" y="26"/>
                </a:cxn>
                <a:cxn ang="0">
                  <a:pos x="80" y="28"/>
                </a:cxn>
                <a:cxn ang="0">
                  <a:pos x="92" y="30"/>
                </a:cxn>
                <a:cxn ang="0">
                  <a:pos x="96" y="32"/>
                </a:cxn>
                <a:cxn ang="0">
                  <a:pos x="106" y="38"/>
                </a:cxn>
                <a:cxn ang="0">
                  <a:pos x="126" y="44"/>
                </a:cxn>
                <a:cxn ang="0">
                  <a:pos x="130" y="46"/>
                </a:cxn>
                <a:cxn ang="0">
                  <a:pos x="132" y="56"/>
                </a:cxn>
                <a:cxn ang="0">
                  <a:pos x="140" y="64"/>
                </a:cxn>
                <a:cxn ang="0">
                  <a:pos x="150" y="66"/>
                </a:cxn>
                <a:cxn ang="0">
                  <a:pos x="154" y="68"/>
                </a:cxn>
                <a:cxn ang="0">
                  <a:pos x="156" y="74"/>
                </a:cxn>
                <a:cxn ang="0">
                  <a:pos x="144" y="82"/>
                </a:cxn>
                <a:cxn ang="0">
                  <a:pos x="158" y="84"/>
                </a:cxn>
                <a:cxn ang="0">
                  <a:pos x="174" y="82"/>
                </a:cxn>
                <a:cxn ang="0">
                  <a:pos x="188" y="82"/>
                </a:cxn>
                <a:cxn ang="0">
                  <a:pos x="198" y="82"/>
                </a:cxn>
                <a:cxn ang="0">
                  <a:pos x="218" y="76"/>
                </a:cxn>
                <a:cxn ang="0">
                  <a:pos x="218" y="72"/>
                </a:cxn>
                <a:cxn ang="0">
                  <a:pos x="210" y="66"/>
                </a:cxn>
                <a:cxn ang="0">
                  <a:pos x="200" y="64"/>
                </a:cxn>
                <a:cxn ang="0">
                  <a:pos x="196" y="64"/>
                </a:cxn>
                <a:cxn ang="0">
                  <a:pos x="186" y="62"/>
                </a:cxn>
                <a:cxn ang="0">
                  <a:pos x="190" y="56"/>
                </a:cxn>
                <a:cxn ang="0">
                  <a:pos x="192" y="52"/>
                </a:cxn>
                <a:cxn ang="0">
                  <a:pos x="182" y="50"/>
                </a:cxn>
                <a:cxn ang="0">
                  <a:pos x="168" y="46"/>
                </a:cxn>
                <a:cxn ang="0">
                  <a:pos x="154" y="38"/>
                </a:cxn>
                <a:cxn ang="0">
                  <a:pos x="148" y="38"/>
                </a:cxn>
                <a:cxn ang="0">
                  <a:pos x="144" y="32"/>
                </a:cxn>
                <a:cxn ang="0">
                  <a:pos x="142" y="32"/>
                </a:cxn>
                <a:cxn ang="0">
                  <a:pos x="128" y="26"/>
                </a:cxn>
                <a:cxn ang="0">
                  <a:pos x="116" y="18"/>
                </a:cxn>
                <a:cxn ang="0">
                  <a:pos x="102" y="8"/>
                </a:cxn>
                <a:cxn ang="0">
                  <a:pos x="88" y="6"/>
                </a:cxn>
                <a:cxn ang="0">
                  <a:pos x="82" y="4"/>
                </a:cxn>
                <a:cxn ang="0">
                  <a:pos x="58" y="2"/>
                </a:cxn>
                <a:cxn ang="0">
                  <a:pos x="44" y="2"/>
                </a:cxn>
                <a:cxn ang="0">
                  <a:pos x="26" y="8"/>
                </a:cxn>
                <a:cxn ang="0">
                  <a:pos x="16" y="14"/>
                </a:cxn>
                <a:cxn ang="0">
                  <a:pos x="14" y="26"/>
                </a:cxn>
                <a:cxn ang="0">
                  <a:pos x="8" y="30"/>
                </a:cxn>
              </a:cxnLst>
              <a:rect l="0" t="0" r="r" b="b"/>
              <a:pathLst>
                <a:path w="220" h="86">
                  <a:moveTo>
                    <a:pt x="0" y="32"/>
                  </a:moveTo>
                  <a:lnTo>
                    <a:pt x="0" y="32"/>
                  </a:lnTo>
                  <a:lnTo>
                    <a:pt x="2" y="36"/>
                  </a:lnTo>
                  <a:lnTo>
                    <a:pt x="6" y="34"/>
                  </a:lnTo>
                  <a:lnTo>
                    <a:pt x="6" y="34"/>
                  </a:lnTo>
                  <a:lnTo>
                    <a:pt x="10" y="32"/>
                  </a:lnTo>
                  <a:lnTo>
                    <a:pt x="12" y="32"/>
                  </a:lnTo>
                  <a:lnTo>
                    <a:pt x="12" y="32"/>
                  </a:lnTo>
                  <a:lnTo>
                    <a:pt x="12" y="32"/>
                  </a:lnTo>
                  <a:lnTo>
                    <a:pt x="10" y="34"/>
                  </a:lnTo>
                  <a:lnTo>
                    <a:pt x="12" y="34"/>
                  </a:lnTo>
                  <a:lnTo>
                    <a:pt x="14" y="34"/>
                  </a:lnTo>
                  <a:lnTo>
                    <a:pt x="14" y="34"/>
                  </a:lnTo>
                  <a:lnTo>
                    <a:pt x="16" y="32"/>
                  </a:lnTo>
                  <a:lnTo>
                    <a:pt x="20" y="32"/>
                  </a:lnTo>
                  <a:lnTo>
                    <a:pt x="20" y="32"/>
                  </a:lnTo>
                  <a:lnTo>
                    <a:pt x="22" y="30"/>
                  </a:lnTo>
                  <a:lnTo>
                    <a:pt x="24" y="30"/>
                  </a:lnTo>
                  <a:lnTo>
                    <a:pt x="22" y="28"/>
                  </a:lnTo>
                  <a:lnTo>
                    <a:pt x="22" y="28"/>
                  </a:lnTo>
                  <a:lnTo>
                    <a:pt x="22" y="28"/>
                  </a:lnTo>
                  <a:lnTo>
                    <a:pt x="22" y="26"/>
                  </a:lnTo>
                  <a:lnTo>
                    <a:pt x="26" y="24"/>
                  </a:lnTo>
                  <a:lnTo>
                    <a:pt x="26" y="24"/>
                  </a:lnTo>
                  <a:lnTo>
                    <a:pt x="32" y="24"/>
                  </a:lnTo>
                  <a:lnTo>
                    <a:pt x="36" y="24"/>
                  </a:lnTo>
                  <a:lnTo>
                    <a:pt x="36" y="24"/>
                  </a:lnTo>
                  <a:lnTo>
                    <a:pt x="40" y="22"/>
                  </a:lnTo>
                  <a:lnTo>
                    <a:pt x="42" y="20"/>
                  </a:lnTo>
                  <a:lnTo>
                    <a:pt x="42" y="20"/>
                  </a:lnTo>
                  <a:lnTo>
                    <a:pt x="44" y="18"/>
                  </a:lnTo>
                  <a:lnTo>
                    <a:pt x="44" y="18"/>
                  </a:lnTo>
                  <a:lnTo>
                    <a:pt x="44" y="16"/>
                  </a:lnTo>
                  <a:lnTo>
                    <a:pt x="46" y="16"/>
                  </a:lnTo>
                  <a:lnTo>
                    <a:pt x="46" y="16"/>
                  </a:lnTo>
                  <a:lnTo>
                    <a:pt x="60" y="16"/>
                  </a:lnTo>
                  <a:lnTo>
                    <a:pt x="70" y="18"/>
                  </a:lnTo>
                  <a:lnTo>
                    <a:pt x="70" y="18"/>
                  </a:lnTo>
                  <a:lnTo>
                    <a:pt x="74" y="20"/>
                  </a:lnTo>
                  <a:lnTo>
                    <a:pt x="74" y="20"/>
                  </a:lnTo>
                  <a:lnTo>
                    <a:pt x="72" y="20"/>
                  </a:lnTo>
                  <a:lnTo>
                    <a:pt x="72" y="20"/>
                  </a:lnTo>
                  <a:lnTo>
                    <a:pt x="68" y="22"/>
                  </a:lnTo>
                  <a:lnTo>
                    <a:pt x="66" y="22"/>
                  </a:lnTo>
                  <a:lnTo>
                    <a:pt x="66" y="22"/>
                  </a:lnTo>
                  <a:lnTo>
                    <a:pt x="60" y="22"/>
                  </a:lnTo>
                  <a:lnTo>
                    <a:pt x="58" y="22"/>
                  </a:lnTo>
                  <a:lnTo>
                    <a:pt x="58" y="22"/>
                  </a:lnTo>
                  <a:lnTo>
                    <a:pt x="58" y="24"/>
                  </a:lnTo>
                  <a:lnTo>
                    <a:pt x="62" y="26"/>
                  </a:lnTo>
                  <a:lnTo>
                    <a:pt x="62" y="26"/>
                  </a:lnTo>
                  <a:lnTo>
                    <a:pt x="66" y="28"/>
                  </a:lnTo>
                  <a:lnTo>
                    <a:pt x="72" y="28"/>
                  </a:lnTo>
                  <a:lnTo>
                    <a:pt x="72" y="28"/>
                  </a:lnTo>
                  <a:lnTo>
                    <a:pt x="80" y="28"/>
                  </a:lnTo>
                  <a:lnTo>
                    <a:pt x="84" y="30"/>
                  </a:lnTo>
                  <a:lnTo>
                    <a:pt x="88" y="28"/>
                  </a:lnTo>
                  <a:lnTo>
                    <a:pt x="88" y="28"/>
                  </a:lnTo>
                  <a:lnTo>
                    <a:pt x="90" y="28"/>
                  </a:lnTo>
                  <a:lnTo>
                    <a:pt x="92" y="30"/>
                  </a:lnTo>
                  <a:lnTo>
                    <a:pt x="94" y="28"/>
                  </a:lnTo>
                  <a:lnTo>
                    <a:pt x="94" y="28"/>
                  </a:lnTo>
                  <a:lnTo>
                    <a:pt x="96" y="28"/>
                  </a:lnTo>
                  <a:lnTo>
                    <a:pt x="94" y="30"/>
                  </a:lnTo>
                  <a:lnTo>
                    <a:pt x="96" y="32"/>
                  </a:lnTo>
                  <a:lnTo>
                    <a:pt x="98" y="32"/>
                  </a:lnTo>
                  <a:lnTo>
                    <a:pt x="98" y="32"/>
                  </a:lnTo>
                  <a:lnTo>
                    <a:pt x="100" y="34"/>
                  </a:lnTo>
                  <a:lnTo>
                    <a:pt x="106" y="38"/>
                  </a:lnTo>
                  <a:lnTo>
                    <a:pt x="106" y="38"/>
                  </a:lnTo>
                  <a:lnTo>
                    <a:pt x="112" y="40"/>
                  </a:lnTo>
                  <a:lnTo>
                    <a:pt x="118" y="42"/>
                  </a:lnTo>
                  <a:lnTo>
                    <a:pt x="118" y="42"/>
                  </a:lnTo>
                  <a:lnTo>
                    <a:pt x="124" y="44"/>
                  </a:lnTo>
                  <a:lnTo>
                    <a:pt x="126" y="44"/>
                  </a:lnTo>
                  <a:lnTo>
                    <a:pt x="126" y="44"/>
                  </a:lnTo>
                  <a:lnTo>
                    <a:pt x="128" y="42"/>
                  </a:lnTo>
                  <a:lnTo>
                    <a:pt x="128" y="44"/>
                  </a:lnTo>
                  <a:lnTo>
                    <a:pt x="128" y="44"/>
                  </a:lnTo>
                  <a:lnTo>
                    <a:pt x="130" y="46"/>
                  </a:lnTo>
                  <a:lnTo>
                    <a:pt x="130" y="46"/>
                  </a:lnTo>
                  <a:lnTo>
                    <a:pt x="130" y="48"/>
                  </a:lnTo>
                  <a:lnTo>
                    <a:pt x="130" y="48"/>
                  </a:lnTo>
                  <a:lnTo>
                    <a:pt x="132" y="52"/>
                  </a:lnTo>
                  <a:lnTo>
                    <a:pt x="132" y="56"/>
                  </a:lnTo>
                  <a:lnTo>
                    <a:pt x="132" y="56"/>
                  </a:lnTo>
                  <a:lnTo>
                    <a:pt x="132" y="58"/>
                  </a:lnTo>
                  <a:lnTo>
                    <a:pt x="136" y="62"/>
                  </a:lnTo>
                  <a:lnTo>
                    <a:pt x="136" y="62"/>
                  </a:lnTo>
                  <a:lnTo>
                    <a:pt x="140" y="64"/>
                  </a:lnTo>
                  <a:lnTo>
                    <a:pt x="144" y="64"/>
                  </a:lnTo>
                  <a:lnTo>
                    <a:pt x="144" y="64"/>
                  </a:lnTo>
                  <a:lnTo>
                    <a:pt x="146" y="66"/>
                  </a:lnTo>
                  <a:lnTo>
                    <a:pt x="150" y="66"/>
                  </a:lnTo>
                  <a:lnTo>
                    <a:pt x="150" y="66"/>
                  </a:lnTo>
                  <a:lnTo>
                    <a:pt x="154" y="64"/>
                  </a:lnTo>
                  <a:lnTo>
                    <a:pt x="156" y="64"/>
                  </a:lnTo>
                  <a:lnTo>
                    <a:pt x="154" y="66"/>
                  </a:lnTo>
                  <a:lnTo>
                    <a:pt x="154" y="66"/>
                  </a:lnTo>
                  <a:lnTo>
                    <a:pt x="154" y="68"/>
                  </a:lnTo>
                  <a:lnTo>
                    <a:pt x="158" y="70"/>
                  </a:lnTo>
                  <a:lnTo>
                    <a:pt x="158" y="70"/>
                  </a:lnTo>
                  <a:lnTo>
                    <a:pt x="160" y="72"/>
                  </a:lnTo>
                  <a:lnTo>
                    <a:pt x="156" y="74"/>
                  </a:lnTo>
                  <a:lnTo>
                    <a:pt x="156" y="74"/>
                  </a:lnTo>
                  <a:lnTo>
                    <a:pt x="150" y="78"/>
                  </a:lnTo>
                  <a:lnTo>
                    <a:pt x="150" y="78"/>
                  </a:lnTo>
                  <a:lnTo>
                    <a:pt x="146" y="80"/>
                  </a:lnTo>
                  <a:lnTo>
                    <a:pt x="144" y="82"/>
                  </a:lnTo>
                  <a:lnTo>
                    <a:pt x="144" y="82"/>
                  </a:lnTo>
                  <a:lnTo>
                    <a:pt x="142" y="84"/>
                  </a:lnTo>
                  <a:lnTo>
                    <a:pt x="148" y="86"/>
                  </a:lnTo>
                  <a:lnTo>
                    <a:pt x="148" y="86"/>
                  </a:lnTo>
                  <a:lnTo>
                    <a:pt x="154" y="84"/>
                  </a:lnTo>
                  <a:lnTo>
                    <a:pt x="158" y="84"/>
                  </a:lnTo>
                  <a:lnTo>
                    <a:pt x="158" y="84"/>
                  </a:lnTo>
                  <a:lnTo>
                    <a:pt x="162" y="84"/>
                  </a:lnTo>
                  <a:lnTo>
                    <a:pt x="168" y="82"/>
                  </a:lnTo>
                  <a:lnTo>
                    <a:pt x="168" y="82"/>
                  </a:lnTo>
                  <a:lnTo>
                    <a:pt x="174" y="82"/>
                  </a:lnTo>
                  <a:lnTo>
                    <a:pt x="176" y="82"/>
                  </a:lnTo>
                  <a:lnTo>
                    <a:pt x="178" y="82"/>
                  </a:lnTo>
                  <a:lnTo>
                    <a:pt x="182" y="82"/>
                  </a:lnTo>
                  <a:lnTo>
                    <a:pt x="182" y="82"/>
                  </a:lnTo>
                  <a:lnTo>
                    <a:pt x="188" y="82"/>
                  </a:lnTo>
                  <a:lnTo>
                    <a:pt x="194" y="82"/>
                  </a:lnTo>
                  <a:lnTo>
                    <a:pt x="194" y="82"/>
                  </a:lnTo>
                  <a:lnTo>
                    <a:pt x="194" y="82"/>
                  </a:lnTo>
                  <a:lnTo>
                    <a:pt x="198" y="82"/>
                  </a:lnTo>
                  <a:lnTo>
                    <a:pt x="198" y="82"/>
                  </a:lnTo>
                  <a:lnTo>
                    <a:pt x="202" y="80"/>
                  </a:lnTo>
                  <a:lnTo>
                    <a:pt x="208" y="78"/>
                  </a:lnTo>
                  <a:lnTo>
                    <a:pt x="208" y="78"/>
                  </a:lnTo>
                  <a:lnTo>
                    <a:pt x="214" y="78"/>
                  </a:lnTo>
                  <a:lnTo>
                    <a:pt x="218" y="76"/>
                  </a:lnTo>
                  <a:lnTo>
                    <a:pt x="218" y="76"/>
                  </a:lnTo>
                  <a:lnTo>
                    <a:pt x="220" y="74"/>
                  </a:lnTo>
                  <a:lnTo>
                    <a:pt x="218" y="72"/>
                  </a:lnTo>
                  <a:lnTo>
                    <a:pt x="218" y="72"/>
                  </a:lnTo>
                  <a:lnTo>
                    <a:pt x="218" y="72"/>
                  </a:lnTo>
                  <a:lnTo>
                    <a:pt x="216" y="72"/>
                  </a:lnTo>
                  <a:lnTo>
                    <a:pt x="214" y="70"/>
                  </a:lnTo>
                  <a:lnTo>
                    <a:pt x="212" y="70"/>
                  </a:lnTo>
                  <a:lnTo>
                    <a:pt x="212" y="70"/>
                  </a:lnTo>
                  <a:lnTo>
                    <a:pt x="210" y="66"/>
                  </a:lnTo>
                  <a:lnTo>
                    <a:pt x="208" y="66"/>
                  </a:lnTo>
                  <a:lnTo>
                    <a:pt x="208" y="66"/>
                  </a:lnTo>
                  <a:lnTo>
                    <a:pt x="204" y="66"/>
                  </a:lnTo>
                  <a:lnTo>
                    <a:pt x="200" y="64"/>
                  </a:lnTo>
                  <a:lnTo>
                    <a:pt x="200" y="64"/>
                  </a:lnTo>
                  <a:lnTo>
                    <a:pt x="200" y="64"/>
                  </a:lnTo>
                  <a:lnTo>
                    <a:pt x="198" y="64"/>
                  </a:lnTo>
                  <a:lnTo>
                    <a:pt x="196" y="64"/>
                  </a:lnTo>
                  <a:lnTo>
                    <a:pt x="196" y="64"/>
                  </a:lnTo>
                  <a:lnTo>
                    <a:pt x="196" y="64"/>
                  </a:lnTo>
                  <a:lnTo>
                    <a:pt x="192" y="64"/>
                  </a:lnTo>
                  <a:lnTo>
                    <a:pt x="190" y="64"/>
                  </a:lnTo>
                  <a:lnTo>
                    <a:pt x="190" y="64"/>
                  </a:lnTo>
                  <a:lnTo>
                    <a:pt x="188" y="62"/>
                  </a:lnTo>
                  <a:lnTo>
                    <a:pt x="186" y="62"/>
                  </a:lnTo>
                  <a:lnTo>
                    <a:pt x="186" y="62"/>
                  </a:lnTo>
                  <a:lnTo>
                    <a:pt x="186" y="62"/>
                  </a:lnTo>
                  <a:lnTo>
                    <a:pt x="192" y="60"/>
                  </a:lnTo>
                  <a:lnTo>
                    <a:pt x="192" y="58"/>
                  </a:lnTo>
                  <a:lnTo>
                    <a:pt x="190" y="56"/>
                  </a:lnTo>
                  <a:lnTo>
                    <a:pt x="190" y="56"/>
                  </a:lnTo>
                  <a:lnTo>
                    <a:pt x="190" y="56"/>
                  </a:lnTo>
                  <a:lnTo>
                    <a:pt x="192" y="54"/>
                  </a:lnTo>
                  <a:lnTo>
                    <a:pt x="192" y="52"/>
                  </a:lnTo>
                  <a:lnTo>
                    <a:pt x="192" y="52"/>
                  </a:lnTo>
                  <a:lnTo>
                    <a:pt x="192" y="52"/>
                  </a:lnTo>
                  <a:lnTo>
                    <a:pt x="188" y="52"/>
                  </a:lnTo>
                  <a:lnTo>
                    <a:pt x="184" y="50"/>
                  </a:lnTo>
                  <a:lnTo>
                    <a:pt x="184" y="50"/>
                  </a:lnTo>
                  <a:lnTo>
                    <a:pt x="182" y="50"/>
                  </a:lnTo>
                  <a:lnTo>
                    <a:pt x="180" y="50"/>
                  </a:lnTo>
                  <a:lnTo>
                    <a:pt x="178" y="50"/>
                  </a:lnTo>
                  <a:lnTo>
                    <a:pt x="178" y="50"/>
                  </a:lnTo>
                  <a:lnTo>
                    <a:pt x="172" y="48"/>
                  </a:lnTo>
                  <a:lnTo>
                    <a:pt x="168" y="46"/>
                  </a:lnTo>
                  <a:lnTo>
                    <a:pt x="168" y="46"/>
                  </a:lnTo>
                  <a:lnTo>
                    <a:pt x="166" y="44"/>
                  </a:lnTo>
                  <a:lnTo>
                    <a:pt x="160" y="42"/>
                  </a:lnTo>
                  <a:lnTo>
                    <a:pt x="154" y="38"/>
                  </a:lnTo>
                  <a:lnTo>
                    <a:pt x="154" y="38"/>
                  </a:lnTo>
                  <a:lnTo>
                    <a:pt x="152" y="38"/>
                  </a:lnTo>
                  <a:lnTo>
                    <a:pt x="152" y="38"/>
                  </a:lnTo>
                  <a:lnTo>
                    <a:pt x="150" y="38"/>
                  </a:lnTo>
                  <a:lnTo>
                    <a:pt x="150" y="38"/>
                  </a:lnTo>
                  <a:lnTo>
                    <a:pt x="148" y="38"/>
                  </a:lnTo>
                  <a:lnTo>
                    <a:pt x="150" y="38"/>
                  </a:lnTo>
                  <a:lnTo>
                    <a:pt x="150" y="36"/>
                  </a:lnTo>
                  <a:lnTo>
                    <a:pt x="150" y="36"/>
                  </a:lnTo>
                  <a:lnTo>
                    <a:pt x="150" y="36"/>
                  </a:lnTo>
                  <a:lnTo>
                    <a:pt x="144" y="32"/>
                  </a:lnTo>
                  <a:lnTo>
                    <a:pt x="144" y="32"/>
                  </a:lnTo>
                  <a:lnTo>
                    <a:pt x="144" y="30"/>
                  </a:lnTo>
                  <a:lnTo>
                    <a:pt x="142" y="32"/>
                  </a:lnTo>
                  <a:lnTo>
                    <a:pt x="142" y="32"/>
                  </a:lnTo>
                  <a:lnTo>
                    <a:pt x="142" y="32"/>
                  </a:lnTo>
                  <a:lnTo>
                    <a:pt x="142" y="32"/>
                  </a:lnTo>
                  <a:lnTo>
                    <a:pt x="138" y="32"/>
                  </a:lnTo>
                  <a:lnTo>
                    <a:pt x="134" y="30"/>
                  </a:lnTo>
                  <a:lnTo>
                    <a:pt x="134" y="30"/>
                  </a:lnTo>
                  <a:lnTo>
                    <a:pt x="128" y="26"/>
                  </a:lnTo>
                  <a:lnTo>
                    <a:pt x="124" y="22"/>
                  </a:lnTo>
                  <a:lnTo>
                    <a:pt x="124" y="22"/>
                  </a:lnTo>
                  <a:lnTo>
                    <a:pt x="120" y="20"/>
                  </a:lnTo>
                  <a:lnTo>
                    <a:pt x="116" y="18"/>
                  </a:lnTo>
                  <a:lnTo>
                    <a:pt x="116" y="18"/>
                  </a:lnTo>
                  <a:lnTo>
                    <a:pt x="110" y="16"/>
                  </a:lnTo>
                  <a:lnTo>
                    <a:pt x="108" y="12"/>
                  </a:lnTo>
                  <a:lnTo>
                    <a:pt x="108" y="12"/>
                  </a:lnTo>
                  <a:lnTo>
                    <a:pt x="106" y="10"/>
                  </a:lnTo>
                  <a:lnTo>
                    <a:pt x="102" y="8"/>
                  </a:lnTo>
                  <a:lnTo>
                    <a:pt x="102" y="8"/>
                  </a:lnTo>
                  <a:lnTo>
                    <a:pt x="98" y="6"/>
                  </a:lnTo>
                  <a:lnTo>
                    <a:pt x="92" y="6"/>
                  </a:lnTo>
                  <a:lnTo>
                    <a:pt x="92" y="6"/>
                  </a:lnTo>
                  <a:lnTo>
                    <a:pt x="88" y="6"/>
                  </a:lnTo>
                  <a:lnTo>
                    <a:pt x="86" y="6"/>
                  </a:lnTo>
                  <a:lnTo>
                    <a:pt x="86" y="6"/>
                  </a:lnTo>
                  <a:lnTo>
                    <a:pt x="86" y="6"/>
                  </a:lnTo>
                  <a:lnTo>
                    <a:pt x="84" y="4"/>
                  </a:lnTo>
                  <a:lnTo>
                    <a:pt x="82" y="4"/>
                  </a:lnTo>
                  <a:lnTo>
                    <a:pt x="76" y="2"/>
                  </a:lnTo>
                  <a:lnTo>
                    <a:pt x="76" y="2"/>
                  </a:lnTo>
                  <a:lnTo>
                    <a:pt x="64" y="0"/>
                  </a:lnTo>
                  <a:lnTo>
                    <a:pt x="60" y="0"/>
                  </a:lnTo>
                  <a:lnTo>
                    <a:pt x="58" y="2"/>
                  </a:lnTo>
                  <a:lnTo>
                    <a:pt x="58" y="2"/>
                  </a:lnTo>
                  <a:lnTo>
                    <a:pt x="56" y="2"/>
                  </a:lnTo>
                  <a:lnTo>
                    <a:pt x="56" y="2"/>
                  </a:lnTo>
                  <a:lnTo>
                    <a:pt x="52" y="2"/>
                  </a:lnTo>
                  <a:lnTo>
                    <a:pt x="44" y="2"/>
                  </a:lnTo>
                  <a:lnTo>
                    <a:pt x="44" y="2"/>
                  </a:lnTo>
                  <a:lnTo>
                    <a:pt x="36" y="6"/>
                  </a:lnTo>
                  <a:lnTo>
                    <a:pt x="36" y="6"/>
                  </a:lnTo>
                  <a:lnTo>
                    <a:pt x="36" y="6"/>
                  </a:lnTo>
                  <a:lnTo>
                    <a:pt x="26" y="8"/>
                  </a:lnTo>
                  <a:lnTo>
                    <a:pt x="22" y="10"/>
                  </a:lnTo>
                  <a:lnTo>
                    <a:pt x="20" y="12"/>
                  </a:lnTo>
                  <a:lnTo>
                    <a:pt x="20" y="12"/>
                  </a:lnTo>
                  <a:lnTo>
                    <a:pt x="18" y="12"/>
                  </a:lnTo>
                  <a:lnTo>
                    <a:pt x="16" y="14"/>
                  </a:lnTo>
                  <a:lnTo>
                    <a:pt x="16" y="14"/>
                  </a:lnTo>
                  <a:lnTo>
                    <a:pt x="12" y="18"/>
                  </a:lnTo>
                  <a:lnTo>
                    <a:pt x="10" y="22"/>
                  </a:lnTo>
                  <a:lnTo>
                    <a:pt x="10" y="22"/>
                  </a:lnTo>
                  <a:lnTo>
                    <a:pt x="14" y="26"/>
                  </a:lnTo>
                  <a:lnTo>
                    <a:pt x="14" y="26"/>
                  </a:lnTo>
                  <a:lnTo>
                    <a:pt x="14" y="26"/>
                  </a:lnTo>
                  <a:lnTo>
                    <a:pt x="14" y="26"/>
                  </a:lnTo>
                  <a:lnTo>
                    <a:pt x="12" y="28"/>
                  </a:lnTo>
                  <a:lnTo>
                    <a:pt x="8" y="30"/>
                  </a:lnTo>
                  <a:lnTo>
                    <a:pt x="8" y="30"/>
                  </a:lnTo>
                  <a:lnTo>
                    <a:pt x="4" y="32"/>
                  </a:lnTo>
                  <a:lnTo>
                    <a:pt x="0" y="32"/>
                  </a:lnTo>
                  <a:lnTo>
                    <a:pt x="0" y="32"/>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 name="Jamaica"/>
            <p:cNvSpPr>
              <a:spLocks/>
            </p:cNvSpPr>
            <p:nvPr/>
          </p:nvSpPr>
          <p:spPr bwMode="auto">
            <a:xfrm>
              <a:off x="1985663" y="2991115"/>
              <a:ext cx="66146" cy="29104"/>
            </a:xfrm>
            <a:custGeom>
              <a:avLst/>
              <a:gdLst/>
              <a:ahLst/>
              <a:cxnLst>
                <a:cxn ang="0">
                  <a:pos x="24" y="22"/>
                </a:cxn>
                <a:cxn ang="0">
                  <a:pos x="24" y="22"/>
                </a:cxn>
                <a:cxn ang="0">
                  <a:pos x="22" y="18"/>
                </a:cxn>
                <a:cxn ang="0">
                  <a:pos x="18" y="16"/>
                </a:cxn>
                <a:cxn ang="0">
                  <a:pos x="18" y="16"/>
                </a:cxn>
                <a:cxn ang="0">
                  <a:pos x="16" y="16"/>
                </a:cxn>
                <a:cxn ang="0">
                  <a:pos x="14" y="14"/>
                </a:cxn>
                <a:cxn ang="0">
                  <a:pos x="12" y="10"/>
                </a:cxn>
                <a:cxn ang="0">
                  <a:pos x="12" y="10"/>
                </a:cxn>
                <a:cxn ang="0">
                  <a:pos x="10" y="8"/>
                </a:cxn>
                <a:cxn ang="0">
                  <a:pos x="6" y="6"/>
                </a:cxn>
                <a:cxn ang="0">
                  <a:pos x="6" y="6"/>
                </a:cxn>
                <a:cxn ang="0">
                  <a:pos x="2" y="4"/>
                </a:cxn>
                <a:cxn ang="0">
                  <a:pos x="0" y="4"/>
                </a:cxn>
                <a:cxn ang="0">
                  <a:pos x="2" y="2"/>
                </a:cxn>
                <a:cxn ang="0">
                  <a:pos x="2" y="2"/>
                </a:cxn>
                <a:cxn ang="0">
                  <a:pos x="10" y="0"/>
                </a:cxn>
                <a:cxn ang="0">
                  <a:pos x="14" y="0"/>
                </a:cxn>
                <a:cxn ang="0">
                  <a:pos x="14" y="0"/>
                </a:cxn>
                <a:cxn ang="0">
                  <a:pos x="16" y="0"/>
                </a:cxn>
                <a:cxn ang="0">
                  <a:pos x="22" y="0"/>
                </a:cxn>
                <a:cxn ang="0">
                  <a:pos x="22" y="0"/>
                </a:cxn>
                <a:cxn ang="0">
                  <a:pos x="34" y="2"/>
                </a:cxn>
                <a:cxn ang="0">
                  <a:pos x="34" y="2"/>
                </a:cxn>
                <a:cxn ang="0">
                  <a:pos x="38" y="6"/>
                </a:cxn>
                <a:cxn ang="0">
                  <a:pos x="40" y="8"/>
                </a:cxn>
                <a:cxn ang="0">
                  <a:pos x="44" y="10"/>
                </a:cxn>
                <a:cxn ang="0">
                  <a:pos x="44" y="10"/>
                </a:cxn>
                <a:cxn ang="0">
                  <a:pos x="48" y="12"/>
                </a:cxn>
                <a:cxn ang="0">
                  <a:pos x="50" y="14"/>
                </a:cxn>
                <a:cxn ang="0">
                  <a:pos x="50" y="14"/>
                </a:cxn>
                <a:cxn ang="0">
                  <a:pos x="48" y="16"/>
                </a:cxn>
                <a:cxn ang="0">
                  <a:pos x="44" y="16"/>
                </a:cxn>
                <a:cxn ang="0">
                  <a:pos x="44" y="16"/>
                </a:cxn>
                <a:cxn ang="0">
                  <a:pos x="40" y="18"/>
                </a:cxn>
                <a:cxn ang="0">
                  <a:pos x="34" y="18"/>
                </a:cxn>
                <a:cxn ang="0">
                  <a:pos x="34" y="18"/>
                </a:cxn>
                <a:cxn ang="0">
                  <a:pos x="32" y="16"/>
                </a:cxn>
                <a:cxn ang="0">
                  <a:pos x="32" y="18"/>
                </a:cxn>
                <a:cxn ang="0">
                  <a:pos x="32" y="18"/>
                </a:cxn>
                <a:cxn ang="0">
                  <a:pos x="30" y="20"/>
                </a:cxn>
                <a:cxn ang="0">
                  <a:pos x="28" y="18"/>
                </a:cxn>
                <a:cxn ang="0">
                  <a:pos x="28" y="18"/>
                </a:cxn>
                <a:cxn ang="0">
                  <a:pos x="26" y="18"/>
                </a:cxn>
                <a:cxn ang="0">
                  <a:pos x="26" y="20"/>
                </a:cxn>
                <a:cxn ang="0">
                  <a:pos x="26" y="20"/>
                </a:cxn>
                <a:cxn ang="0">
                  <a:pos x="26" y="22"/>
                </a:cxn>
                <a:cxn ang="0">
                  <a:pos x="24" y="22"/>
                </a:cxn>
                <a:cxn ang="0">
                  <a:pos x="24" y="22"/>
                </a:cxn>
              </a:cxnLst>
              <a:rect l="0" t="0" r="r" b="b"/>
              <a:pathLst>
                <a:path w="50" h="22">
                  <a:moveTo>
                    <a:pt x="24" y="22"/>
                  </a:moveTo>
                  <a:lnTo>
                    <a:pt x="24" y="22"/>
                  </a:lnTo>
                  <a:lnTo>
                    <a:pt x="22" y="18"/>
                  </a:lnTo>
                  <a:lnTo>
                    <a:pt x="18" y="16"/>
                  </a:lnTo>
                  <a:lnTo>
                    <a:pt x="18" y="16"/>
                  </a:lnTo>
                  <a:lnTo>
                    <a:pt x="16" y="16"/>
                  </a:lnTo>
                  <a:lnTo>
                    <a:pt x="14" y="14"/>
                  </a:lnTo>
                  <a:lnTo>
                    <a:pt x="12" y="10"/>
                  </a:lnTo>
                  <a:lnTo>
                    <a:pt x="12" y="10"/>
                  </a:lnTo>
                  <a:lnTo>
                    <a:pt x="10" y="8"/>
                  </a:lnTo>
                  <a:lnTo>
                    <a:pt x="6" y="6"/>
                  </a:lnTo>
                  <a:lnTo>
                    <a:pt x="6" y="6"/>
                  </a:lnTo>
                  <a:lnTo>
                    <a:pt x="2" y="4"/>
                  </a:lnTo>
                  <a:lnTo>
                    <a:pt x="0" y="4"/>
                  </a:lnTo>
                  <a:lnTo>
                    <a:pt x="2" y="2"/>
                  </a:lnTo>
                  <a:lnTo>
                    <a:pt x="2" y="2"/>
                  </a:lnTo>
                  <a:lnTo>
                    <a:pt x="10" y="0"/>
                  </a:lnTo>
                  <a:lnTo>
                    <a:pt x="14" y="0"/>
                  </a:lnTo>
                  <a:lnTo>
                    <a:pt x="14" y="0"/>
                  </a:lnTo>
                  <a:lnTo>
                    <a:pt x="16" y="0"/>
                  </a:lnTo>
                  <a:lnTo>
                    <a:pt x="22" y="0"/>
                  </a:lnTo>
                  <a:lnTo>
                    <a:pt x="22" y="0"/>
                  </a:lnTo>
                  <a:lnTo>
                    <a:pt x="34" y="2"/>
                  </a:lnTo>
                  <a:lnTo>
                    <a:pt x="34" y="2"/>
                  </a:lnTo>
                  <a:lnTo>
                    <a:pt x="38" y="6"/>
                  </a:lnTo>
                  <a:lnTo>
                    <a:pt x="40" y="8"/>
                  </a:lnTo>
                  <a:lnTo>
                    <a:pt x="44" y="10"/>
                  </a:lnTo>
                  <a:lnTo>
                    <a:pt x="44" y="10"/>
                  </a:lnTo>
                  <a:lnTo>
                    <a:pt x="48" y="12"/>
                  </a:lnTo>
                  <a:lnTo>
                    <a:pt x="50" y="14"/>
                  </a:lnTo>
                  <a:lnTo>
                    <a:pt x="50" y="14"/>
                  </a:lnTo>
                  <a:lnTo>
                    <a:pt x="48" y="16"/>
                  </a:lnTo>
                  <a:lnTo>
                    <a:pt x="44" y="16"/>
                  </a:lnTo>
                  <a:lnTo>
                    <a:pt x="44" y="16"/>
                  </a:lnTo>
                  <a:lnTo>
                    <a:pt x="40" y="18"/>
                  </a:lnTo>
                  <a:lnTo>
                    <a:pt x="34" y="18"/>
                  </a:lnTo>
                  <a:lnTo>
                    <a:pt x="34" y="18"/>
                  </a:lnTo>
                  <a:lnTo>
                    <a:pt x="32" y="16"/>
                  </a:lnTo>
                  <a:lnTo>
                    <a:pt x="32" y="18"/>
                  </a:lnTo>
                  <a:lnTo>
                    <a:pt x="32" y="18"/>
                  </a:lnTo>
                  <a:lnTo>
                    <a:pt x="30" y="20"/>
                  </a:lnTo>
                  <a:lnTo>
                    <a:pt x="28" y="18"/>
                  </a:lnTo>
                  <a:lnTo>
                    <a:pt x="28" y="18"/>
                  </a:lnTo>
                  <a:lnTo>
                    <a:pt x="26" y="18"/>
                  </a:lnTo>
                  <a:lnTo>
                    <a:pt x="26" y="20"/>
                  </a:lnTo>
                  <a:lnTo>
                    <a:pt x="26" y="20"/>
                  </a:lnTo>
                  <a:lnTo>
                    <a:pt x="26" y="22"/>
                  </a:lnTo>
                  <a:lnTo>
                    <a:pt x="24" y="22"/>
                  </a:lnTo>
                  <a:lnTo>
                    <a:pt x="24" y="22"/>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 name="Freeform 36"/>
            <p:cNvSpPr>
              <a:spLocks/>
            </p:cNvSpPr>
            <p:nvPr/>
          </p:nvSpPr>
          <p:spPr bwMode="auto">
            <a:xfrm>
              <a:off x="2297872" y="2996406"/>
              <a:ext cx="44979" cy="13229"/>
            </a:xfrm>
            <a:custGeom>
              <a:avLst/>
              <a:gdLst/>
              <a:ahLst/>
              <a:cxnLst>
                <a:cxn ang="0">
                  <a:pos x="4" y="0"/>
                </a:cxn>
                <a:cxn ang="0">
                  <a:pos x="4" y="0"/>
                </a:cxn>
                <a:cxn ang="0">
                  <a:pos x="2" y="0"/>
                </a:cxn>
                <a:cxn ang="0">
                  <a:pos x="2" y="0"/>
                </a:cxn>
                <a:cxn ang="0">
                  <a:pos x="2" y="2"/>
                </a:cxn>
                <a:cxn ang="0">
                  <a:pos x="0" y="2"/>
                </a:cxn>
                <a:cxn ang="0">
                  <a:pos x="0" y="2"/>
                </a:cxn>
                <a:cxn ang="0">
                  <a:pos x="0" y="2"/>
                </a:cxn>
                <a:cxn ang="0">
                  <a:pos x="0" y="4"/>
                </a:cxn>
                <a:cxn ang="0">
                  <a:pos x="2" y="4"/>
                </a:cxn>
                <a:cxn ang="0">
                  <a:pos x="2" y="4"/>
                </a:cxn>
                <a:cxn ang="0">
                  <a:pos x="0" y="8"/>
                </a:cxn>
                <a:cxn ang="0">
                  <a:pos x="0" y="10"/>
                </a:cxn>
                <a:cxn ang="0">
                  <a:pos x="0" y="10"/>
                </a:cxn>
                <a:cxn ang="0">
                  <a:pos x="0" y="10"/>
                </a:cxn>
                <a:cxn ang="0">
                  <a:pos x="4" y="10"/>
                </a:cxn>
                <a:cxn ang="0">
                  <a:pos x="8" y="10"/>
                </a:cxn>
                <a:cxn ang="0">
                  <a:pos x="8" y="10"/>
                </a:cxn>
                <a:cxn ang="0">
                  <a:pos x="12" y="10"/>
                </a:cxn>
                <a:cxn ang="0">
                  <a:pos x="18" y="10"/>
                </a:cxn>
                <a:cxn ang="0">
                  <a:pos x="18" y="10"/>
                </a:cxn>
                <a:cxn ang="0">
                  <a:pos x="22" y="10"/>
                </a:cxn>
                <a:cxn ang="0">
                  <a:pos x="26" y="10"/>
                </a:cxn>
                <a:cxn ang="0">
                  <a:pos x="26" y="10"/>
                </a:cxn>
                <a:cxn ang="0">
                  <a:pos x="28" y="8"/>
                </a:cxn>
                <a:cxn ang="0">
                  <a:pos x="28" y="6"/>
                </a:cxn>
                <a:cxn ang="0">
                  <a:pos x="30" y="6"/>
                </a:cxn>
                <a:cxn ang="0">
                  <a:pos x="30" y="6"/>
                </a:cxn>
                <a:cxn ang="0">
                  <a:pos x="34" y="4"/>
                </a:cxn>
                <a:cxn ang="0">
                  <a:pos x="34" y="4"/>
                </a:cxn>
                <a:cxn ang="0">
                  <a:pos x="30" y="0"/>
                </a:cxn>
                <a:cxn ang="0">
                  <a:pos x="30" y="0"/>
                </a:cxn>
                <a:cxn ang="0">
                  <a:pos x="22" y="0"/>
                </a:cxn>
                <a:cxn ang="0">
                  <a:pos x="22" y="0"/>
                </a:cxn>
                <a:cxn ang="0">
                  <a:pos x="16" y="0"/>
                </a:cxn>
                <a:cxn ang="0">
                  <a:pos x="4" y="0"/>
                </a:cxn>
                <a:cxn ang="0">
                  <a:pos x="4" y="0"/>
                </a:cxn>
              </a:cxnLst>
              <a:rect l="0" t="0" r="r" b="b"/>
              <a:pathLst>
                <a:path w="34" h="10">
                  <a:moveTo>
                    <a:pt x="4" y="0"/>
                  </a:moveTo>
                  <a:lnTo>
                    <a:pt x="4" y="0"/>
                  </a:lnTo>
                  <a:lnTo>
                    <a:pt x="2" y="0"/>
                  </a:lnTo>
                  <a:lnTo>
                    <a:pt x="2" y="0"/>
                  </a:lnTo>
                  <a:lnTo>
                    <a:pt x="2" y="2"/>
                  </a:lnTo>
                  <a:lnTo>
                    <a:pt x="0" y="2"/>
                  </a:lnTo>
                  <a:lnTo>
                    <a:pt x="0" y="2"/>
                  </a:lnTo>
                  <a:lnTo>
                    <a:pt x="0" y="2"/>
                  </a:lnTo>
                  <a:lnTo>
                    <a:pt x="0" y="4"/>
                  </a:lnTo>
                  <a:lnTo>
                    <a:pt x="2" y="4"/>
                  </a:lnTo>
                  <a:lnTo>
                    <a:pt x="2" y="4"/>
                  </a:lnTo>
                  <a:lnTo>
                    <a:pt x="0" y="8"/>
                  </a:lnTo>
                  <a:lnTo>
                    <a:pt x="0" y="10"/>
                  </a:lnTo>
                  <a:lnTo>
                    <a:pt x="0" y="10"/>
                  </a:lnTo>
                  <a:lnTo>
                    <a:pt x="0" y="10"/>
                  </a:lnTo>
                  <a:lnTo>
                    <a:pt x="4" y="10"/>
                  </a:lnTo>
                  <a:lnTo>
                    <a:pt x="8" y="10"/>
                  </a:lnTo>
                  <a:lnTo>
                    <a:pt x="8" y="10"/>
                  </a:lnTo>
                  <a:lnTo>
                    <a:pt x="12" y="10"/>
                  </a:lnTo>
                  <a:lnTo>
                    <a:pt x="18" y="10"/>
                  </a:lnTo>
                  <a:lnTo>
                    <a:pt x="18" y="10"/>
                  </a:lnTo>
                  <a:lnTo>
                    <a:pt x="22" y="10"/>
                  </a:lnTo>
                  <a:lnTo>
                    <a:pt x="26" y="10"/>
                  </a:lnTo>
                  <a:lnTo>
                    <a:pt x="26" y="10"/>
                  </a:lnTo>
                  <a:lnTo>
                    <a:pt x="28" y="8"/>
                  </a:lnTo>
                  <a:lnTo>
                    <a:pt x="28" y="6"/>
                  </a:lnTo>
                  <a:lnTo>
                    <a:pt x="30" y="6"/>
                  </a:lnTo>
                  <a:lnTo>
                    <a:pt x="30" y="6"/>
                  </a:lnTo>
                  <a:lnTo>
                    <a:pt x="34" y="4"/>
                  </a:lnTo>
                  <a:lnTo>
                    <a:pt x="34" y="4"/>
                  </a:lnTo>
                  <a:lnTo>
                    <a:pt x="30" y="0"/>
                  </a:lnTo>
                  <a:lnTo>
                    <a:pt x="30" y="0"/>
                  </a:lnTo>
                  <a:lnTo>
                    <a:pt x="22" y="0"/>
                  </a:lnTo>
                  <a:lnTo>
                    <a:pt x="22" y="0"/>
                  </a:lnTo>
                  <a:lnTo>
                    <a:pt x="16" y="0"/>
                  </a:lnTo>
                  <a:lnTo>
                    <a:pt x="4" y="0"/>
                  </a:lnTo>
                  <a:lnTo>
                    <a:pt x="4" y="0"/>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 name="belize"/>
            <p:cNvSpPr>
              <a:spLocks/>
            </p:cNvSpPr>
            <p:nvPr/>
          </p:nvSpPr>
          <p:spPr bwMode="auto">
            <a:xfrm>
              <a:off x="1678747" y="3004344"/>
              <a:ext cx="44979" cy="76729"/>
            </a:xfrm>
            <a:custGeom>
              <a:avLst/>
              <a:gdLst/>
              <a:ahLst/>
              <a:cxnLst>
                <a:cxn ang="0">
                  <a:pos x="6" y="14"/>
                </a:cxn>
                <a:cxn ang="0">
                  <a:pos x="6" y="14"/>
                </a:cxn>
                <a:cxn ang="0">
                  <a:pos x="10" y="10"/>
                </a:cxn>
                <a:cxn ang="0">
                  <a:pos x="12" y="10"/>
                </a:cxn>
                <a:cxn ang="0">
                  <a:pos x="14" y="12"/>
                </a:cxn>
                <a:cxn ang="0">
                  <a:pos x="16" y="12"/>
                </a:cxn>
                <a:cxn ang="0">
                  <a:pos x="18" y="12"/>
                </a:cxn>
                <a:cxn ang="0">
                  <a:pos x="22" y="8"/>
                </a:cxn>
                <a:cxn ang="0">
                  <a:pos x="30" y="0"/>
                </a:cxn>
                <a:cxn ang="0">
                  <a:pos x="30" y="0"/>
                </a:cxn>
                <a:cxn ang="0">
                  <a:pos x="34" y="0"/>
                </a:cxn>
                <a:cxn ang="0">
                  <a:pos x="34" y="2"/>
                </a:cxn>
                <a:cxn ang="0">
                  <a:pos x="34" y="8"/>
                </a:cxn>
                <a:cxn ang="0">
                  <a:pos x="30" y="16"/>
                </a:cxn>
                <a:cxn ang="0">
                  <a:pos x="30" y="24"/>
                </a:cxn>
                <a:cxn ang="0">
                  <a:pos x="30" y="24"/>
                </a:cxn>
                <a:cxn ang="0">
                  <a:pos x="28" y="30"/>
                </a:cxn>
                <a:cxn ang="0">
                  <a:pos x="26" y="34"/>
                </a:cxn>
                <a:cxn ang="0">
                  <a:pos x="18" y="46"/>
                </a:cxn>
                <a:cxn ang="0">
                  <a:pos x="18" y="46"/>
                </a:cxn>
                <a:cxn ang="0">
                  <a:pos x="16" y="50"/>
                </a:cxn>
                <a:cxn ang="0">
                  <a:pos x="12" y="52"/>
                </a:cxn>
                <a:cxn ang="0">
                  <a:pos x="10" y="54"/>
                </a:cxn>
                <a:cxn ang="0">
                  <a:pos x="10" y="58"/>
                </a:cxn>
                <a:cxn ang="0">
                  <a:pos x="0" y="58"/>
                </a:cxn>
                <a:cxn ang="0">
                  <a:pos x="6" y="14"/>
                </a:cxn>
                <a:cxn ang="0">
                  <a:pos x="6" y="14"/>
                </a:cxn>
              </a:cxnLst>
              <a:rect l="0" t="0" r="r" b="b"/>
              <a:pathLst>
                <a:path w="34" h="58">
                  <a:moveTo>
                    <a:pt x="6" y="14"/>
                  </a:moveTo>
                  <a:lnTo>
                    <a:pt x="6" y="14"/>
                  </a:lnTo>
                  <a:lnTo>
                    <a:pt x="10" y="10"/>
                  </a:lnTo>
                  <a:lnTo>
                    <a:pt x="12" y="10"/>
                  </a:lnTo>
                  <a:lnTo>
                    <a:pt x="14" y="12"/>
                  </a:lnTo>
                  <a:lnTo>
                    <a:pt x="16" y="12"/>
                  </a:lnTo>
                  <a:lnTo>
                    <a:pt x="18" y="12"/>
                  </a:lnTo>
                  <a:lnTo>
                    <a:pt x="22" y="8"/>
                  </a:lnTo>
                  <a:lnTo>
                    <a:pt x="30" y="0"/>
                  </a:lnTo>
                  <a:lnTo>
                    <a:pt x="30" y="0"/>
                  </a:lnTo>
                  <a:lnTo>
                    <a:pt x="34" y="0"/>
                  </a:lnTo>
                  <a:lnTo>
                    <a:pt x="34" y="2"/>
                  </a:lnTo>
                  <a:lnTo>
                    <a:pt x="34" y="8"/>
                  </a:lnTo>
                  <a:lnTo>
                    <a:pt x="30" y="16"/>
                  </a:lnTo>
                  <a:lnTo>
                    <a:pt x="30" y="24"/>
                  </a:lnTo>
                  <a:lnTo>
                    <a:pt x="30" y="24"/>
                  </a:lnTo>
                  <a:lnTo>
                    <a:pt x="28" y="30"/>
                  </a:lnTo>
                  <a:lnTo>
                    <a:pt x="26" y="34"/>
                  </a:lnTo>
                  <a:lnTo>
                    <a:pt x="18" y="46"/>
                  </a:lnTo>
                  <a:lnTo>
                    <a:pt x="18" y="46"/>
                  </a:lnTo>
                  <a:lnTo>
                    <a:pt x="16" y="50"/>
                  </a:lnTo>
                  <a:lnTo>
                    <a:pt x="12" y="52"/>
                  </a:lnTo>
                  <a:lnTo>
                    <a:pt x="10" y="54"/>
                  </a:lnTo>
                  <a:lnTo>
                    <a:pt x="10" y="58"/>
                  </a:lnTo>
                  <a:lnTo>
                    <a:pt x="0" y="58"/>
                  </a:lnTo>
                  <a:lnTo>
                    <a:pt x="6" y="14"/>
                  </a:lnTo>
                  <a:lnTo>
                    <a:pt x="6" y="14"/>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 name="Freeform 39"/>
            <p:cNvSpPr>
              <a:spLocks/>
            </p:cNvSpPr>
            <p:nvPr/>
          </p:nvSpPr>
          <p:spPr bwMode="auto">
            <a:xfrm>
              <a:off x="4739976" y="2850885"/>
              <a:ext cx="460375" cy="637646"/>
            </a:xfrm>
            <a:custGeom>
              <a:avLst/>
              <a:gdLst/>
              <a:ahLst/>
              <a:cxnLst>
                <a:cxn ang="0">
                  <a:pos x="306" y="14"/>
                </a:cxn>
                <a:cxn ang="0">
                  <a:pos x="310" y="24"/>
                </a:cxn>
                <a:cxn ang="0">
                  <a:pos x="320" y="48"/>
                </a:cxn>
                <a:cxn ang="0">
                  <a:pos x="318" y="66"/>
                </a:cxn>
                <a:cxn ang="0">
                  <a:pos x="326" y="98"/>
                </a:cxn>
                <a:cxn ang="0">
                  <a:pos x="336" y="102"/>
                </a:cxn>
                <a:cxn ang="0">
                  <a:pos x="340" y="104"/>
                </a:cxn>
                <a:cxn ang="0">
                  <a:pos x="348" y="114"/>
                </a:cxn>
                <a:cxn ang="0">
                  <a:pos x="326" y="134"/>
                </a:cxn>
                <a:cxn ang="0">
                  <a:pos x="318" y="158"/>
                </a:cxn>
                <a:cxn ang="0">
                  <a:pos x="306" y="230"/>
                </a:cxn>
                <a:cxn ang="0">
                  <a:pos x="288" y="266"/>
                </a:cxn>
                <a:cxn ang="0">
                  <a:pos x="284" y="286"/>
                </a:cxn>
                <a:cxn ang="0">
                  <a:pos x="274" y="312"/>
                </a:cxn>
                <a:cxn ang="0">
                  <a:pos x="272" y="346"/>
                </a:cxn>
                <a:cxn ang="0">
                  <a:pos x="256" y="360"/>
                </a:cxn>
                <a:cxn ang="0">
                  <a:pos x="272" y="394"/>
                </a:cxn>
                <a:cxn ang="0">
                  <a:pos x="286" y="416"/>
                </a:cxn>
                <a:cxn ang="0">
                  <a:pos x="294" y="428"/>
                </a:cxn>
                <a:cxn ang="0">
                  <a:pos x="312" y="448"/>
                </a:cxn>
                <a:cxn ang="0">
                  <a:pos x="304" y="462"/>
                </a:cxn>
                <a:cxn ang="0">
                  <a:pos x="290" y="460"/>
                </a:cxn>
                <a:cxn ang="0">
                  <a:pos x="268" y="472"/>
                </a:cxn>
                <a:cxn ang="0">
                  <a:pos x="236" y="482"/>
                </a:cxn>
                <a:cxn ang="0">
                  <a:pos x="210" y="482"/>
                </a:cxn>
                <a:cxn ang="0">
                  <a:pos x="180" y="464"/>
                </a:cxn>
                <a:cxn ang="0">
                  <a:pos x="164" y="464"/>
                </a:cxn>
                <a:cxn ang="0">
                  <a:pos x="148" y="464"/>
                </a:cxn>
                <a:cxn ang="0">
                  <a:pos x="136" y="454"/>
                </a:cxn>
                <a:cxn ang="0">
                  <a:pos x="126" y="438"/>
                </a:cxn>
                <a:cxn ang="0">
                  <a:pos x="120" y="428"/>
                </a:cxn>
                <a:cxn ang="0">
                  <a:pos x="110" y="414"/>
                </a:cxn>
                <a:cxn ang="0">
                  <a:pos x="106" y="406"/>
                </a:cxn>
                <a:cxn ang="0">
                  <a:pos x="100" y="398"/>
                </a:cxn>
                <a:cxn ang="0">
                  <a:pos x="86" y="384"/>
                </a:cxn>
                <a:cxn ang="0">
                  <a:pos x="84" y="374"/>
                </a:cxn>
                <a:cxn ang="0">
                  <a:pos x="70" y="364"/>
                </a:cxn>
                <a:cxn ang="0">
                  <a:pos x="58" y="358"/>
                </a:cxn>
                <a:cxn ang="0">
                  <a:pos x="56" y="348"/>
                </a:cxn>
                <a:cxn ang="0">
                  <a:pos x="44" y="342"/>
                </a:cxn>
                <a:cxn ang="0">
                  <a:pos x="46" y="326"/>
                </a:cxn>
                <a:cxn ang="0">
                  <a:pos x="42" y="316"/>
                </a:cxn>
                <a:cxn ang="0">
                  <a:pos x="36" y="306"/>
                </a:cxn>
                <a:cxn ang="0">
                  <a:pos x="32" y="288"/>
                </a:cxn>
                <a:cxn ang="0">
                  <a:pos x="24" y="282"/>
                </a:cxn>
                <a:cxn ang="0">
                  <a:pos x="20" y="262"/>
                </a:cxn>
                <a:cxn ang="0">
                  <a:pos x="20" y="252"/>
                </a:cxn>
                <a:cxn ang="0">
                  <a:pos x="8" y="248"/>
                </a:cxn>
                <a:cxn ang="0">
                  <a:pos x="0" y="248"/>
                </a:cxn>
                <a:cxn ang="0">
                  <a:pos x="8" y="226"/>
                </a:cxn>
                <a:cxn ang="0">
                  <a:pos x="8" y="218"/>
                </a:cxn>
                <a:cxn ang="0">
                  <a:pos x="14" y="210"/>
                </a:cxn>
                <a:cxn ang="0">
                  <a:pos x="12" y="196"/>
                </a:cxn>
                <a:cxn ang="0">
                  <a:pos x="26" y="170"/>
                </a:cxn>
                <a:cxn ang="0">
                  <a:pos x="36" y="170"/>
                </a:cxn>
                <a:cxn ang="0">
                  <a:pos x="54" y="14"/>
                </a:cxn>
                <a:cxn ang="0">
                  <a:pos x="268" y="16"/>
                </a:cxn>
                <a:cxn ang="0">
                  <a:pos x="272" y="14"/>
                </a:cxn>
                <a:cxn ang="0">
                  <a:pos x="280" y="6"/>
                </a:cxn>
                <a:cxn ang="0">
                  <a:pos x="288" y="4"/>
                </a:cxn>
              </a:cxnLst>
              <a:rect l="0" t="0" r="r" b="b"/>
              <a:pathLst>
                <a:path w="348" h="482">
                  <a:moveTo>
                    <a:pt x="290" y="0"/>
                  </a:moveTo>
                  <a:lnTo>
                    <a:pt x="290" y="0"/>
                  </a:lnTo>
                  <a:lnTo>
                    <a:pt x="300" y="10"/>
                  </a:lnTo>
                  <a:lnTo>
                    <a:pt x="306" y="14"/>
                  </a:lnTo>
                  <a:lnTo>
                    <a:pt x="308" y="16"/>
                  </a:lnTo>
                  <a:lnTo>
                    <a:pt x="308" y="20"/>
                  </a:lnTo>
                  <a:lnTo>
                    <a:pt x="308" y="20"/>
                  </a:lnTo>
                  <a:lnTo>
                    <a:pt x="310" y="24"/>
                  </a:lnTo>
                  <a:lnTo>
                    <a:pt x="310" y="30"/>
                  </a:lnTo>
                  <a:lnTo>
                    <a:pt x="316" y="38"/>
                  </a:lnTo>
                  <a:lnTo>
                    <a:pt x="320" y="46"/>
                  </a:lnTo>
                  <a:lnTo>
                    <a:pt x="320" y="48"/>
                  </a:lnTo>
                  <a:lnTo>
                    <a:pt x="320" y="50"/>
                  </a:lnTo>
                  <a:lnTo>
                    <a:pt x="320" y="50"/>
                  </a:lnTo>
                  <a:lnTo>
                    <a:pt x="318" y="56"/>
                  </a:lnTo>
                  <a:lnTo>
                    <a:pt x="318" y="66"/>
                  </a:lnTo>
                  <a:lnTo>
                    <a:pt x="320" y="82"/>
                  </a:lnTo>
                  <a:lnTo>
                    <a:pt x="320" y="82"/>
                  </a:lnTo>
                  <a:lnTo>
                    <a:pt x="324" y="94"/>
                  </a:lnTo>
                  <a:lnTo>
                    <a:pt x="326" y="98"/>
                  </a:lnTo>
                  <a:lnTo>
                    <a:pt x="330" y="98"/>
                  </a:lnTo>
                  <a:lnTo>
                    <a:pt x="330" y="98"/>
                  </a:lnTo>
                  <a:lnTo>
                    <a:pt x="334" y="98"/>
                  </a:lnTo>
                  <a:lnTo>
                    <a:pt x="336" y="102"/>
                  </a:lnTo>
                  <a:lnTo>
                    <a:pt x="338" y="104"/>
                  </a:lnTo>
                  <a:lnTo>
                    <a:pt x="340" y="106"/>
                  </a:lnTo>
                  <a:lnTo>
                    <a:pt x="340" y="104"/>
                  </a:lnTo>
                  <a:lnTo>
                    <a:pt x="340" y="104"/>
                  </a:lnTo>
                  <a:lnTo>
                    <a:pt x="342" y="104"/>
                  </a:lnTo>
                  <a:lnTo>
                    <a:pt x="344" y="104"/>
                  </a:lnTo>
                  <a:lnTo>
                    <a:pt x="348" y="114"/>
                  </a:lnTo>
                  <a:lnTo>
                    <a:pt x="348" y="114"/>
                  </a:lnTo>
                  <a:lnTo>
                    <a:pt x="344" y="120"/>
                  </a:lnTo>
                  <a:lnTo>
                    <a:pt x="338" y="126"/>
                  </a:lnTo>
                  <a:lnTo>
                    <a:pt x="330" y="132"/>
                  </a:lnTo>
                  <a:lnTo>
                    <a:pt x="326" y="134"/>
                  </a:lnTo>
                  <a:lnTo>
                    <a:pt x="322" y="140"/>
                  </a:lnTo>
                  <a:lnTo>
                    <a:pt x="320" y="146"/>
                  </a:lnTo>
                  <a:lnTo>
                    <a:pt x="318" y="158"/>
                  </a:lnTo>
                  <a:lnTo>
                    <a:pt x="318" y="158"/>
                  </a:lnTo>
                  <a:lnTo>
                    <a:pt x="312" y="194"/>
                  </a:lnTo>
                  <a:lnTo>
                    <a:pt x="308" y="220"/>
                  </a:lnTo>
                  <a:lnTo>
                    <a:pt x="308" y="220"/>
                  </a:lnTo>
                  <a:lnTo>
                    <a:pt x="306" y="230"/>
                  </a:lnTo>
                  <a:lnTo>
                    <a:pt x="304" y="240"/>
                  </a:lnTo>
                  <a:lnTo>
                    <a:pt x="296" y="252"/>
                  </a:lnTo>
                  <a:lnTo>
                    <a:pt x="290" y="260"/>
                  </a:lnTo>
                  <a:lnTo>
                    <a:pt x="288" y="266"/>
                  </a:lnTo>
                  <a:lnTo>
                    <a:pt x="286" y="274"/>
                  </a:lnTo>
                  <a:lnTo>
                    <a:pt x="286" y="274"/>
                  </a:lnTo>
                  <a:lnTo>
                    <a:pt x="286" y="282"/>
                  </a:lnTo>
                  <a:lnTo>
                    <a:pt x="284" y="286"/>
                  </a:lnTo>
                  <a:lnTo>
                    <a:pt x="280" y="292"/>
                  </a:lnTo>
                  <a:lnTo>
                    <a:pt x="278" y="296"/>
                  </a:lnTo>
                  <a:lnTo>
                    <a:pt x="276" y="302"/>
                  </a:lnTo>
                  <a:lnTo>
                    <a:pt x="274" y="312"/>
                  </a:lnTo>
                  <a:lnTo>
                    <a:pt x="274" y="326"/>
                  </a:lnTo>
                  <a:lnTo>
                    <a:pt x="274" y="326"/>
                  </a:lnTo>
                  <a:lnTo>
                    <a:pt x="274" y="338"/>
                  </a:lnTo>
                  <a:lnTo>
                    <a:pt x="272" y="346"/>
                  </a:lnTo>
                  <a:lnTo>
                    <a:pt x="270" y="352"/>
                  </a:lnTo>
                  <a:lnTo>
                    <a:pt x="266" y="356"/>
                  </a:lnTo>
                  <a:lnTo>
                    <a:pt x="260" y="360"/>
                  </a:lnTo>
                  <a:lnTo>
                    <a:pt x="256" y="360"/>
                  </a:lnTo>
                  <a:lnTo>
                    <a:pt x="250" y="374"/>
                  </a:lnTo>
                  <a:lnTo>
                    <a:pt x="250" y="374"/>
                  </a:lnTo>
                  <a:lnTo>
                    <a:pt x="262" y="384"/>
                  </a:lnTo>
                  <a:lnTo>
                    <a:pt x="272" y="394"/>
                  </a:lnTo>
                  <a:lnTo>
                    <a:pt x="278" y="400"/>
                  </a:lnTo>
                  <a:lnTo>
                    <a:pt x="280" y="406"/>
                  </a:lnTo>
                  <a:lnTo>
                    <a:pt x="280" y="406"/>
                  </a:lnTo>
                  <a:lnTo>
                    <a:pt x="286" y="416"/>
                  </a:lnTo>
                  <a:lnTo>
                    <a:pt x="288" y="418"/>
                  </a:lnTo>
                  <a:lnTo>
                    <a:pt x="290" y="422"/>
                  </a:lnTo>
                  <a:lnTo>
                    <a:pt x="294" y="428"/>
                  </a:lnTo>
                  <a:lnTo>
                    <a:pt x="294" y="428"/>
                  </a:lnTo>
                  <a:lnTo>
                    <a:pt x="298" y="434"/>
                  </a:lnTo>
                  <a:lnTo>
                    <a:pt x="300" y="438"/>
                  </a:lnTo>
                  <a:lnTo>
                    <a:pt x="306" y="442"/>
                  </a:lnTo>
                  <a:lnTo>
                    <a:pt x="312" y="448"/>
                  </a:lnTo>
                  <a:lnTo>
                    <a:pt x="312" y="452"/>
                  </a:lnTo>
                  <a:lnTo>
                    <a:pt x="310" y="456"/>
                  </a:lnTo>
                  <a:lnTo>
                    <a:pt x="310" y="456"/>
                  </a:lnTo>
                  <a:lnTo>
                    <a:pt x="304" y="462"/>
                  </a:lnTo>
                  <a:lnTo>
                    <a:pt x="300" y="464"/>
                  </a:lnTo>
                  <a:lnTo>
                    <a:pt x="296" y="462"/>
                  </a:lnTo>
                  <a:lnTo>
                    <a:pt x="294" y="460"/>
                  </a:lnTo>
                  <a:lnTo>
                    <a:pt x="290" y="460"/>
                  </a:lnTo>
                  <a:lnTo>
                    <a:pt x="286" y="460"/>
                  </a:lnTo>
                  <a:lnTo>
                    <a:pt x="278" y="464"/>
                  </a:lnTo>
                  <a:lnTo>
                    <a:pt x="268" y="472"/>
                  </a:lnTo>
                  <a:lnTo>
                    <a:pt x="268" y="472"/>
                  </a:lnTo>
                  <a:lnTo>
                    <a:pt x="258" y="478"/>
                  </a:lnTo>
                  <a:lnTo>
                    <a:pt x="250" y="482"/>
                  </a:lnTo>
                  <a:lnTo>
                    <a:pt x="244" y="482"/>
                  </a:lnTo>
                  <a:lnTo>
                    <a:pt x="236" y="482"/>
                  </a:lnTo>
                  <a:lnTo>
                    <a:pt x="224" y="480"/>
                  </a:lnTo>
                  <a:lnTo>
                    <a:pt x="218" y="480"/>
                  </a:lnTo>
                  <a:lnTo>
                    <a:pt x="210" y="482"/>
                  </a:lnTo>
                  <a:lnTo>
                    <a:pt x="210" y="482"/>
                  </a:lnTo>
                  <a:lnTo>
                    <a:pt x="204" y="482"/>
                  </a:lnTo>
                  <a:lnTo>
                    <a:pt x="198" y="478"/>
                  </a:lnTo>
                  <a:lnTo>
                    <a:pt x="180" y="464"/>
                  </a:lnTo>
                  <a:lnTo>
                    <a:pt x="180" y="464"/>
                  </a:lnTo>
                  <a:lnTo>
                    <a:pt x="174" y="460"/>
                  </a:lnTo>
                  <a:lnTo>
                    <a:pt x="170" y="462"/>
                  </a:lnTo>
                  <a:lnTo>
                    <a:pt x="168" y="464"/>
                  </a:lnTo>
                  <a:lnTo>
                    <a:pt x="164" y="464"/>
                  </a:lnTo>
                  <a:lnTo>
                    <a:pt x="164" y="464"/>
                  </a:lnTo>
                  <a:lnTo>
                    <a:pt x="156" y="464"/>
                  </a:lnTo>
                  <a:lnTo>
                    <a:pt x="152" y="464"/>
                  </a:lnTo>
                  <a:lnTo>
                    <a:pt x="148" y="464"/>
                  </a:lnTo>
                  <a:lnTo>
                    <a:pt x="144" y="460"/>
                  </a:lnTo>
                  <a:lnTo>
                    <a:pt x="144" y="460"/>
                  </a:lnTo>
                  <a:lnTo>
                    <a:pt x="140" y="456"/>
                  </a:lnTo>
                  <a:lnTo>
                    <a:pt x="136" y="454"/>
                  </a:lnTo>
                  <a:lnTo>
                    <a:pt x="134" y="452"/>
                  </a:lnTo>
                  <a:lnTo>
                    <a:pt x="130" y="446"/>
                  </a:lnTo>
                  <a:lnTo>
                    <a:pt x="130" y="446"/>
                  </a:lnTo>
                  <a:lnTo>
                    <a:pt x="126" y="438"/>
                  </a:lnTo>
                  <a:lnTo>
                    <a:pt x="124" y="436"/>
                  </a:lnTo>
                  <a:lnTo>
                    <a:pt x="120" y="434"/>
                  </a:lnTo>
                  <a:lnTo>
                    <a:pt x="120" y="428"/>
                  </a:lnTo>
                  <a:lnTo>
                    <a:pt x="120" y="428"/>
                  </a:lnTo>
                  <a:lnTo>
                    <a:pt x="118" y="424"/>
                  </a:lnTo>
                  <a:lnTo>
                    <a:pt x="116" y="418"/>
                  </a:lnTo>
                  <a:lnTo>
                    <a:pt x="112" y="416"/>
                  </a:lnTo>
                  <a:lnTo>
                    <a:pt x="110" y="414"/>
                  </a:lnTo>
                  <a:lnTo>
                    <a:pt x="110" y="414"/>
                  </a:lnTo>
                  <a:lnTo>
                    <a:pt x="108" y="412"/>
                  </a:lnTo>
                  <a:lnTo>
                    <a:pt x="108" y="412"/>
                  </a:lnTo>
                  <a:lnTo>
                    <a:pt x="106" y="406"/>
                  </a:lnTo>
                  <a:lnTo>
                    <a:pt x="104" y="400"/>
                  </a:lnTo>
                  <a:lnTo>
                    <a:pt x="102" y="398"/>
                  </a:lnTo>
                  <a:lnTo>
                    <a:pt x="100" y="398"/>
                  </a:lnTo>
                  <a:lnTo>
                    <a:pt x="100" y="398"/>
                  </a:lnTo>
                  <a:lnTo>
                    <a:pt x="96" y="396"/>
                  </a:lnTo>
                  <a:lnTo>
                    <a:pt x="94" y="394"/>
                  </a:lnTo>
                  <a:lnTo>
                    <a:pt x="92" y="390"/>
                  </a:lnTo>
                  <a:lnTo>
                    <a:pt x="86" y="384"/>
                  </a:lnTo>
                  <a:lnTo>
                    <a:pt x="86" y="384"/>
                  </a:lnTo>
                  <a:lnTo>
                    <a:pt x="82" y="380"/>
                  </a:lnTo>
                  <a:lnTo>
                    <a:pt x="84" y="376"/>
                  </a:lnTo>
                  <a:lnTo>
                    <a:pt x="84" y="374"/>
                  </a:lnTo>
                  <a:lnTo>
                    <a:pt x="76" y="370"/>
                  </a:lnTo>
                  <a:lnTo>
                    <a:pt x="76" y="370"/>
                  </a:lnTo>
                  <a:lnTo>
                    <a:pt x="70" y="366"/>
                  </a:lnTo>
                  <a:lnTo>
                    <a:pt x="70" y="364"/>
                  </a:lnTo>
                  <a:lnTo>
                    <a:pt x="70" y="362"/>
                  </a:lnTo>
                  <a:lnTo>
                    <a:pt x="62" y="360"/>
                  </a:lnTo>
                  <a:lnTo>
                    <a:pt x="62" y="360"/>
                  </a:lnTo>
                  <a:lnTo>
                    <a:pt x="58" y="358"/>
                  </a:lnTo>
                  <a:lnTo>
                    <a:pt x="56" y="356"/>
                  </a:lnTo>
                  <a:lnTo>
                    <a:pt x="56" y="352"/>
                  </a:lnTo>
                  <a:lnTo>
                    <a:pt x="56" y="350"/>
                  </a:lnTo>
                  <a:lnTo>
                    <a:pt x="56" y="348"/>
                  </a:lnTo>
                  <a:lnTo>
                    <a:pt x="54" y="346"/>
                  </a:lnTo>
                  <a:lnTo>
                    <a:pt x="48" y="344"/>
                  </a:lnTo>
                  <a:lnTo>
                    <a:pt x="48" y="344"/>
                  </a:lnTo>
                  <a:lnTo>
                    <a:pt x="44" y="342"/>
                  </a:lnTo>
                  <a:lnTo>
                    <a:pt x="42" y="338"/>
                  </a:lnTo>
                  <a:lnTo>
                    <a:pt x="42" y="336"/>
                  </a:lnTo>
                  <a:lnTo>
                    <a:pt x="44" y="334"/>
                  </a:lnTo>
                  <a:lnTo>
                    <a:pt x="46" y="326"/>
                  </a:lnTo>
                  <a:lnTo>
                    <a:pt x="46" y="324"/>
                  </a:lnTo>
                  <a:lnTo>
                    <a:pt x="44" y="320"/>
                  </a:lnTo>
                  <a:lnTo>
                    <a:pt x="44" y="320"/>
                  </a:lnTo>
                  <a:lnTo>
                    <a:pt x="42" y="316"/>
                  </a:lnTo>
                  <a:lnTo>
                    <a:pt x="42" y="314"/>
                  </a:lnTo>
                  <a:lnTo>
                    <a:pt x="40" y="310"/>
                  </a:lnTo>
                  <a:lnTo>
                    <a:pt x="36" y="306"/>
                  </a:lnTo>
                  <a:lnTo>
                    <a:pt x="36" y="306"/>
                  </a:lnTo>
                  <a:lnTo>
                    <a:pt x="32" y="298"/>
                  </a:lnTo>
                  <a:lnTo>
                    <a:pt x="32" y="294"/>
                  </a:lnTo>
                  <a:lnTo>
                    <a:pt x="32" y="294"/>
                  </a:lnTo>
                  <a:lnTo>
                    <a:pt x="32" y="288"/>
                  </a:lnTo>
                  <a:lnTo>
                    <a:pt x="30" y="286"/>
                  </a:lnTo>
                  <a:lnTo>
                    <a:pt x="28" y="284"/>
                  </a:lnTo>
                  <a:lnTo>
                    <a:pt x="28" y="284"/>
                  </a:lnTo>
                  <a:lnTo>
                    <a:pt x="24" y="282"/>
                  </a:lnTo>
                  <a:lnTo>
                    <a:pt x="24" y="276"/>
                  </a:lnTo>
                  <a:lnTo>
                    <a:pt x="22" y="270"/>
                  </a:lnTo>
                  <a:lnTo>
                    <a:pt x="20" y="262"/>
                  </a:lnTo>
                  <a:lnTo>
                    <a:pt x="20" y="262"/>
                  </a:lnTo>
                  <a:lnTo>
                    <a:pt x="18" y="256"/>
                  </a:lnTo>
                  <a:lnTo>
                    <a:pt x="18" y="254"/>
                  </a:lnTo>
                  <a:lnTo>
                    <a:pt x="20" y="254"/>
                  </a:lnTo>
                  <a:lnTo>
                    <a:pt x="20" y="252"/>
                  </a:lnTo>
                  <a:lnTo>
                    <a:pt x="20" y="252"/>
                  </a:lnTo>
                  <a:lnTo>
                    <a:pt x="16" y="248"/>
                  </a:lnTo>
                  <a:lnTo>
                    <a:pt x="14" y="248"/>
                  </a:lnTo>
                  <a:lnTo>
                    <a:pt x="8" y="248"/>
                  </a:lnTo>
                  <a:lnTo>
                    <a:pt x="4" y="250"/>
                  </a:lnTo>
                  <a:lnTo>
                    <a:pt x="2" y="250"/>
                  </a:lnTo>
                  <a:lnTo>
                    <a:pt x="0" y="248"/>
                  </a:lnTo>
                  <a:lnTo>
                    <a:pt x="0" y="248"/>
                  </a:lnTo>
                  <a:lnTo>
                    <a:pt x="0" y="242"/>
                  </a:lnTo>
                  <a:lnTo>
                    <a:pt x="0" y="236"/>
                  </a:lnTo>
                  <a:lnTo>
                    <a:pt x="2" y="230"/>
                  </a:lnTo>
                  <a:lnTo>
                    <a:pt x="8" y="226"/>
                  </a:lnTo>
                  <a:lnTo>
                    <a:pt x="8" y="224"/>
                  </a:lnTo>
                  <a:lnTo>
                    <a:pt x="8" y="222"/>
                  </a:lnTo>
                  <a:lnTo>
                    <a:pt x="8" y="222"/>
                  </a:lnTo>
                  <a:lnTo>
                    <a:pt x="8" y="218"/>
                  </a:lnTo>
                  <a:lnTo>
                    <a:pt x="12" y="214"/>
                  </a:lnTo>
                  <a:lnTo>
                    <a:pt x="14" y="212"/>
                  </a:lnTo>
                  <a:lnTo>
                    <a:pt x="14" y="210"/>
                  </a:lnTo>
                  <a:lnTo>
                    <a:pt x="14" y="210"/>
                  </a:lnTo>
                  <a:lnTo>
                    <a:pt x="10" y="206"/>
                  </a:lnTo>
                  <a:lnTo>
                    <a:pt x="10" y="204"/>
                  </a:lnTo>
                  <a:lnTo>
                    <a:pt x="12" y="202"/>
                  </a:lnTo>
                  <a:lnTo>
                    <a:pt x="12" y="196"/>
                  </a:lnTo>
                  <a:lnTo>
                    <a:pt x="12" y="196"/>
                  </a:lnTo>
                  <a:lnTo>
                    <a:pt x="14" y="188"/>
                  </a:lnTo>
                  <a:lnTo>
                    <a:pt x="16" y="182"/>
                  </a:lnTo>
                  <a:lnTo>
                    <a:pt x="26" y="170"/>
                  </a:lnTo>
                  <a:lnTo>
                    <a:pt x="26" y="170"/>
                  </a:lnTo>
                  <a:lnTo>
                    <a:pt x="30" y="166"/>
                  </a:lnTo>
                  <a:lnTo>
                    <a:pt x="34" y="168"/>
                  </a:lnTo>
                  <a:lnTo>
                    <a:pt x="36" y="170"/>
                  </a:lnTo>
                  <a:lnTo>
                    <a:pt x="44" y="168"/>
                  </a:lnTo>
                  <a:lnTo>
                    <a:pt x="40" y="70"/>
                  </a:lnTo>
                  <a:lnTo>
                    <a:pt x="56" y="70"/>
                  </a:lnTo>
                  <a:lnTo>
                    <a:pt x="54" y="14"/>
                  </a:lnTo>
                  <a:lnTo>
                    <a:pt x="256" y="14"/>
                  </a:lnTo>
                  <a:lnTo>
                    <a:pt x="256" y="14"/>
                  </a:lnTo>
                  <a:lnTo>
                    <a:pt x="262" y="16"/>
                  </a:lnTo>
                  <a:lnTo>
                    <a:pt x="268" y="16"/>
                  </a:lnTo>
                  <a:lnTo>
                    <a:pt x="272" y="16"/>
                  </a:lnTo>
                  <a:lnTo>
                    <a:pt x="272" y="14"/>
                  </a:lnTo>
                  <a:lnTo>
                    <a:pt x="272" y="14"/>
                  </a:lnTo>
                  <a:lnTo>
                    <a:pt x="272" y="14"/>
                  </a:lnTo>
                  <a:lnTo>
                    <a:pt x="270" y="12"/>
                  </a:lnTo>
                  <a:lnTo>
                    <a:pt x="272" y="10"/>
                  </a:lnTo>
                  <a:lnTo>
                    <a:pt x="276" y="10"/>
                  </a:lnTo>
                  <a:lnTo>
                    <a:pt x="280" y="6"/>
                  </a:lnTo>
                  <a:lnTo>
                    <a:pt x="280" y="6"/>
                  </a:lnTo>
                  <a:lnTo>
                    <a:pt x="282" y="4"/>
                  </a:lnTo>
                  <a:lnTo>
                    <a:pt x="284" y="2"/>
                  </a:lnTo>
                  <a:lnTo>
                    <a:pt x="288" y="4"/>
                  </a:lnTo>
                  <a:lnTo>
                    <a:pt x="290" y="0"/>
                  </a:lnTo>
                  <a:lnTo>
                    <a:pt x="290" y="0"/>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 name="Burundi"/>
            <p:cNvSpPr>
              <a:spLocks/>
            </p:cNvSpPr>
            <p:nvPr/>
          </p:nvSpPr>
          <p:spPr bwMode="auto">
            <a:xfrm>
              <a:off x="4959580" y="3697552"/>
              <a:ext cx="55563" cy="79375"/>
            </a:xfrm>
            <a:custGeom>
              <a:avLst/>
              <a:gdLst/>
              <a:ahLst/>
              <a:cxnLst>
                <a:cxn ang="0">
                  <a:pos x="14" y="42"/>
                </a:cxn>
                <a:cxn ang="0">
                  <a:pos x="14" y="42"/>
                </a:cxn>
                <a:cxn ang="0">
                  <a:pos x="16" y="56"/>
                </a:cxn>
                <a:cxn ang="0">
                  <a:pos x="20" y="60"/>
                </a:cxn>
                <a:cxn ang="0">
                  <a:pos x="20" y="60"/>
                </a:cxn>
                <a:cxn ang="0">
                  <a:pos x="28" y="50"/>
                </a:cxn>
                <a:cxn ang="0">
                  <a:pos x="34" y="42"/>
                </a:cxn>
                <a:cxn ang="0">
                  <a:pos x="36" y="36"/>
                </a:cxn>
                <a:cxn ang="0">
                  <a:pos x="38" y="30"/>
                </a:cxn>
                <a:cxn ang="0">
                  <a:pos x="38" y="30"/>
                </a:cxn>
                <a:cxn ang="0">
                  <a:pos x="38" y="26"/>
                </a:cxn>
                <a:cxn ang="0">
                  <a:pos x="40" y="24"/>
                </a:cxn>
                <a:cxn ang="0">
                  <a:pos x="42" y="20"/>
                </a:cxn>
                <a:cxn ang="0">
                  <a:pos x="42" y="14"/>
                </a:cxn>
                <a:cxn ang="0">
                  <a:pos x="42" y="14"/>
                </a:cxn>
                <a:cxn ang="0">
                  <a:pos x="40" y="14"/>
                </a:cxn>
                <a:cxn ang="0">
                  <a:pos x="38" y="12"/>
                </a:cxn>
                <a:cxn ang="0">
                  <a:pos x="32" y="12"/>
                </a:cxn>
                <a:cxn ang="0">
                  <a:pos x="30" y="10"/>
                </a:cxn>
                <a:cxn ang="0">
                  <a:pos x="28" y="8"/>
                </a:cxn>
                <a:cxn ang="0">
                  <a:pos x="28" y="6"/>
                </a:cxn>
                <a:cxn ang="0">
                  <a:pos x="32" y="2"/>
                </a:cxn>
                <a:cxn ang="0">
                  <a:pos x="32" y="2"/>
                </a:cxn>
                <a:cxn ang="0">
                  <a:pos x="26" y="0"/>
                </a:cxn>
                <a:cxn ang="0">
                  <a:pos x="22" y="0"/>
                </a:cxn>
                <a:cxn ang="0">
                  <a:pos x="16" y="0"/>
                </a:cxn>
                <a:cxn ang="0">
                  <a:pos x="16" y="2"/>
                </a:cxn>
                <a:cxn ang="0">
                  <a:pos x="16" y="6"/>
                </a:cxn>
                <a:cxn ang="0">
                  <a:pos x="16" y="6"/>
                </a:cxn>
                <a:cxn ang="0">
                  <a:pos x="16" y="12"/>
                </a:cxn>
                <a:cxn ang="0">
                  <a:pos x="14" y="12"/>
                </a:cxn>
                <a:cxn ang="0">
                  <a:pos x="8" y="10"/>
                </a:cxn>
                <a:cxn ang="0">
                  <a:pos x="4" y="10"/>
                </a:cxn>
                <a:cxn ang="0">
                  <a:pos x="0" y="10"/>
                </a:cxn>
                <a:cxn ang="0">
                  <a:pos x="0" y="10"/>
                </a:cxn>
                <a:cxn ang="0">
                  <a:pos x="6" y="34"/>
                </a:cxn>
                <a:cxn ang="0">
                  <a:pos x="8" y="38"/>
                </a:cxn>
                <a:cxn ang="0">
                  <a:pos x="10" y="40"/>
                </a:cxn>
                <a:cxn ang="0">
                  <a:pos x="12" y="40"/>
                </a:cxn>
                <a:cxn ang="0">
                  <a:pos x="12" y="40"/>
                </a:cxn>
                <a:cxn ang="0">
                  <a:pos x="14" y="42"/>
                </a:cxn>
                <a:cxn ang="0">
                  <a:pos x="14" y="42"/>
                </a:cxn>
              </a:cxnLst>
              <a:rect l="0" t="0" r="r" b="b"/>
              <a:pathLst>
                <a:path w="42" h="60">
                  <a:moveTo>
                    <a:pt x="14" y="42"/>
                  </a:moveTo>
                  <a:lnTo>
                    <a:pt x="14" y="42"/>
                  </a:lnTo>
                  <a:lnTo>
                    <a:pt x="16" y="56"/>
                  </a:lnTo>
                  <a:lnTo>
                    <a:pt x="20" y="60"/>
                  </a:lnTo>
                  <a:lnTo>
                    <a:pt x="20" y="60"/>
                  </a:lnTo>
                  <a:lnTo>
                    <a:pt x="28" y="50"/>
                  </a:lnTo>
                  <a:lnTo>
                    <a:pt x="34" y="42"/>
                  </a:lnTo>
                  <a:lnTo>
                    <a:pt x="36" y="36"/>
                  </a:lnTo>
                  <a:lnTo>
                    <a:pt x="38" y="30"/>
                  </a:lnTo>
                  <a:lnTo>
                    <a:pt x="38" y="30"/>
                  </a:lnTo>
                  <a:lnTo>
                    <a:pt x="38" y="26"/>
                  </a:lnTo>
                  <a:lnTo>
                    <a:pt x="40" y="24"/>
                  </a:lnTo>
                  <a:lnTo>
                    <a:pt x="42" y="20"/>
                  </a:lnTo>
                  <a:lnTo>
                    <a:pt x="42" y="14"/>
                  </a:lnTo>
                  <a:lnTo>
                    <a:pt x="42" y="14"/>
                  </a:lnTo>
                  <a:lnTo>
                    <a:pt x="40" y="14"/>
                  </a:lnTo>
                  <a:lnTo>
                    <a:pt x="38" y="12"/>
                  </a:lnTo>
                  <a:lnTo>
                    <a:pt x="32" y="12"/>
                  </a:lnTo>
                  <a:lnTo>
                    <a:pt x="30" y="10"/>
                  </a:lnTo>
                  <a:lnTo>
                    <a:pt x="28" y="8"/>
                  </a:lnTo>
                  <a:lnTo>
                    <a:pt x="28" y="6"/>
                  </a:lnTo>
                  <a:lnTo>
                    <a:pt x="32" y="2"/>
                  </a:lnTo>
                  <a:lnTo>
                    <a:pt x="32" y="2"/>
                  </a:lnTo>
                  <a:lnTo>
                    <a:pt x="26" y="0"/>
                  </a:lnTo>
                  <a:lnTo>
                    <a:pt x="22" y="0"/>
                  </a:lnTo>
                  <a:lnTo>
                    <a:pt x="16" y="0"/>
                  </a:lnTo>
                  <a:lnTo>
                    <a:pt x="16" y="2"/>
                  </a:lnTo>
                  <a:lnTo>
                    <a:pt x="16" y="6"/>
                  </a:lnTo>
                  <a:lnTo>
                    <a:pt x="16" y="6"/>
                  </a:lnTo>
                  <a:lnTo>
                    <a:pt x="16" y="12"/>
                  </a:lnTo>
                  <a:lnTo>
                    <a:pt x="14" y="12"/>
                  </a:lnTo>
                  <a:lnTo>
                    <a:pt x="8" y="10"/>
                  </a:lnTo>
                  <a:lnTo>
                    <a:pt x="4" y="10"/>
                  </a:lnTo>
                  <a:lnTo>
                    <a:pt x="0" y="10"/>
                  </a:lnTo>
                  <a:lnTo>
                    <a:pt x="0" y="10"/>
                  </a:lnTo>
                  <a:lnTo>
                    <a:pt x="6" y="34"/>
                  </a:lnTo>
                  <a:lnTo>
                    <a:pt x="8" y="38"/>
                  </a:lnTo>
                  <a:lnTo>
                    <a:pt x="10" y="40"/>
                  </a:lnTo>
                  <a:lnTo>
                    <a:pt x="12" y="40"/>
                  </a:lnTo>
                  <a:lnTo>
                    <a:pt x="12" y="40"/>
                  </a:lnTo>
                  <a:lnTo>
                    <a:pt x="14" y="42"/>
                  </a:lnTo>
                  <a:lnTo>
                    <a:pt x="14" y="42"/>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 name="Uganda"/>
            <p:cNvSpPr>
              <a:spLocks/>
            </p:cNvSpPr>
            <p:nvPr/>
          </p:nvSpPr>
          <p:spPr bwMode="auto">
            <a:xfrm>
              <a:off x="4978101" y="3475302"/>
              <a:ext cx="150813" cy="177271"/>
            </a:xfrm>
            <a:custGeom>
              <a:avLst/>
              <a:gdLst/>
              <a:ahLst/>
              <a:cxnLst>
                <a:cxn ang="0">
                  <a:pos x="92" y="104"/>
                </a:cxn>
                <a:cxn ang="0">
                  <a:pos x="88" y="104"/>
                </a:cxn>
                <a:cxn ang="0">
                  <a:pos x="86" y="104"/>
                </a:cxn>
                <a:cxn ang="0">
                  <a:pos x="84" y="100"/>
                </a:cxn>
                <a:cxn ang="0">
                  <a:pos x="80" y="104"/>
                </a:cxn>
                <a:cxn ang="0">
                  <a:pos x="74" y="104"/>
                </a:cxn>
                <a:cxn ang="0">
                  <a:pos x="70" y="106"/>
                </a:cxn>
                <a:cxn ang="0">
                  <a:pos x="64" y="106"/>
                </a:cxn>
                <a:cxn ang="0">
                  <a:pos x="62" y="110"/>
                </a:cxn>
                <a:cxn ang="0">
                  <a:pos x="62" y="112"/>
                </a:cxn>
                <a:cxn ang="0">
                  <a:pos x="58" y="114"/>
                </a:cxn>
                <a:cxn ang="0">
                  <a:pos x="58" y="116"/>
                </a:cxn>
                <a:cxn ang="0">
                  <a:pos x="52" y="124"/>
                </a:cxn>
                <a:cxn ang="0">
                  <a:pos x="52" y="128"/>
                </a:cxn>
                <a:cxn ang="0">
                  <a:pos x="44" y="132"/>
                </a:cxn>
                <a:cxn ang="0">
                  <a:pos x="34" y="128"/>
                </a:cxn>
                <a:cxn ang="0">
                  <a:pos x="24" y="130"/>
                </a:cxn>
                <a:cxn ang="0">
                  <a:pos x="14" y="134"/>
                </a:cxn>
                <a:cxn ang="0">
                  <a:pos x="10" y="132"/>
                </a:cxn>
                <a:cxn ang="0">
                  <a:pos x="4" y="134"/>
                </a:cxn>
                <a:cxn ang="0">
                  <a:pos x="2" y="116"/>
                </a:cxn>
                <a:cxn ang="0">
                  <a:pos x="8" y="100"/>
                </a:cxn>
                <a:cxn ang="0">
                  <a:pos x="10" y="92"/>
                </a:cxn>
                <a:cxn ang="0">
                  <a:pos x="24" y="78"/>
                </a:cxn>
                <a:cxn ang="0">
                  <a:pos x="32" y="62"/>
                </a:cxn>
                <a:cxn ang="0">
                  <a:pos x="38" y="50"/>
                </a:cxn>
                <a:cxn ang="0">
                  <a:pos x="42" y="48"/>
                </a:cxn>
                <a:cxn ang="0">
                  <a:pos x="40" y="46"/>
                </a:cxn>
                <a:cxn ang="0">
                  <a:pos x="32" y="44"/>
                </a:cxn>
                <a:cxn ang="0">
                  <a:pos x="28" y="42"/>
                </a:cxn>
                <a:cxn ang="0">
                  <a:pos x="26" y="32"/>
                </a:cxn>
                <a:cxn ang="0">
                  <a:pos x="26" y="24"/>
                </a:cxn>
                <a:cxn ang="0">
                  <a:pos x="24" y="20"/>
                </a:cxn>
                <a:cxn ang="0">
                  <a:pos x="30" y="10"/>
                </a:cxn>
                <a:cxn ang="0">
                  <a:pos x="44" y="8"/>
                </a:cxn>
                <a:cxn ang="0">
                  <a:pos x="64" y="10"/>
                </a:cxn>
                <a:cxn ang="0">
                  <a:pos x="78" y="6"/>
                </a:cxn>
                <a:cxn ang="0">
                  <a:pos x="88" y="0"/>
                </a:cxn>
                <a:cxn ang="0">
                  <a:pos x="96" y="14"/>
                </a:cxn>
                <a:cxn ang="0">
                  <a:pos x="100" y="26"/>
                </a:cxn>
                <a:cxn ang="0">
                  <a:pos x="106" y="28"/>
                </a:cxn>
                <a:cxn ang="0">
                  <a:pos x="108" y="30"/>
                </a:cxn>
                <a:cxn ang="0">
                  <a:pos x="108" y="34"/>
                </a:cxn>
                <a:cxn ang="0">
                  <a:pos x="108" y="40"/>
                </a:cxn>
                <a:cxn ang="0">
                  <a:pos x="114" y="54"/>
                </a:cxn>
                <a:cxn ang="0">
                  <a:pos x="114" y="62"/>
                </a:cxn>
                <a:cxn ang="0">
                  <a:pos x="110" y="72"/>
                </a:cxn>
                <a:cxn ang="0">
                  <a:pos x="112" y="82"/>
                </a:cxn>
                <a:cxn ang="0">
                  <a:pos x="108" y="84"/>
                </a:cxn>
                <a:cxn ang="0">
                  <a:pos x="102" y="88"/>
                </a:cxn>
                <a:cxn ang="0">
                  <a:pos x="92" y="104"/>
                </a:cxn>
              </a:cxnLst>
              <a:rect l="0" t="0" r="r" b="b"/>
              <a:pathLst>
                <a:path w="114" h="134">
                  <a:moveTo>
                    <a:pt x="92" y="104"/>
                  </a:moveTo>
                  <a:lnTo>
                    <a:pt x="92" y="104"/>
                  </a:lnTo>
                  <a:lnTo>
                    <a:pt x="90" y="102"/>
                  </a:lnTo>
                  <a:lnTo>
                    <a:pt x="88" y="104"/>
                  </a:lnTo>
                  <a:lnTo>
                    <a:pt x="88" y="104"/>
                  </a:lnTo>
                  <a:lnTo>
                    <a:pt x="86" y="104"/>
                  </a:lnTo>
                  <a:lnTo>
                    <a:pt x="86" y="104"/>
                  </a:lnTo>
                  <a:lnTo>
                    <a:pt x="84" y="100"/>
                  </a:lnTo>
                  <a:lnTo>
                    <a:pt x="80" y="104"/>
                  </a:lnTo>
                  <a:lnTo>
                    <a:pt x="80" y="104"/>
                  </a:lnTo>
                  <a:lnTo>
                    <a:pt x="76" y="104"/>
                  </a:lnTo>
                  <a:lnTo>
                    <a:pt x="74" y="104"/>
                  </a:lnTo>
                  <a:lnTo>
                    <a:pt x="72" y="104"/>
                  </a:lnTo>
                  <a:lnTo>
                    <a:pt x="70" y="106"/>
                  </a:lnTo>
                  <a:lnTo>
                    <a:pt x="70" y="106"/>
                  </a:lnTo>
                  <a:lnTo>
                    <a:pt x="64" y="106"/>
                  </a:lnTo>
                  <a:lnTo>
                    <a:pt x="62" y="106"/>
                  </a:lnTo>
                  <a:lnTo>
                    <a:pt x="62" y="110"/>
                  </a:lnTo>
                  <a:lnTo>
                    <a:pt x="62" y="110"/>
                  </a:lnTo>
                  <a:lnTo>
                    <a:pt x="62" y="112"/>
                  </a:lnTo>
                  <a:lnTo>
                    <a:pt x="60" y="112"/>
                  </a:lnTo>
                  <a:lnTo>
                    <a:pt x="58" y="114"/>
                  </a:lnTo>
                  <a:lnTo>
                    <a:pt x="58" y="116"/>
                  </a:lnTo>
                  <a:lnTo>
                    <a:pt x="58" y="116"/>
                  </a:lnTo>
                  <a:lnTo>
                    <a:pt x="54" y="122"/>
                  </a:lnTo>
                  <a:lnTo>
                    <a:pt x="52" y="124"/>
                  </a:lnTo>
                  <a:lnTo>
                    <a:pt x="52" y="128"/>
                  </a:lnTo>
                  <a:lnTo>
                    <a:pt x="52" y="128"/>
                  </a:lnTo>
                  <a:lnTo>
                    <a:pt x="48" y="130"/>
                  </a:lnTo>
                  <a:lnTo>
                    <a:pt x="44" y="132"/>
                  </a:lnTo>
                  <a:lnTo>
                    <a:pt x="34" y="128"/>
                  </a:lnTo>
                  <a:lnTo>
                    <a:pt x="34" y="128"/>
                  </a:lnTo>
                  <a:lnTo>
                    <a:pt x="30" y="128"/>
                  </a:lnTo>
                  <a:lnTo>
                    <a:pt x="24" y="130"/>
                  </a:lnTo>
                  <a:lnTo>
                    <a:pt x="24" y="130"/>
                  </a:lnTo>
                  <a:lnTo>
                    <a:pt x="14" y="134"/>
                  </a:lnTo>
                  <a:lnTo>
                    <a:pt x="12" y="132"/>
                  </a:lnTo>
                  <a:lnTo>
                    <a:pt x="10" y="132"/>
                  </a:lnTo>
                  <a:lnTo>
                    <a:pt x="4" y="134"/>
                  </a:lnTo>
                  <a:lnTo>
                    <a:pt x="4" y="134"/>
                  </a:lnTo>
                  <a:lnTo>
                    <a:pt x="0" y="122"/>
                  </a:lnTo>
                  <a:lnTo>
                    <a:pt x="2" y="116"/>
                  </a:lnTo>
                  <a:lnTo>
                    <a:pt x="4" y="110"/>
                  </a:lnTo>
                  <a:lnTo>
                    <a:pt x="8" y="100"/>
                  </a:lnTo>
                  <a:lnTo>
                    <a:pt x="8" y="100"/>
                  </a:lnTo>
                  <a:lnTo>
                    <a:pt x="10" y="92"/>
                  </a:lnTo>
                  <a:lnTo>
                    <a:pt x="16" y="86"/>
                  </a:lnTo>
                  <a:lnTo>
                    <a:pt x="24" y="78"/>
                  </a:lnTo>
                  <a:lnTo>
                    <a:pt x="32" y="62"/>
                  </a:lnTo>
                  <a:lnTo>
                    <a:pt x="32" y="62"/>
                  </a:lnTo>
                  <a:lnTo>
                    <a:pt x="36" y="54"/>
                  </a:lnTo>
                  <a:lnTo>
                    <a:pt x="38" y="50"/>
                  </a:lnTo>
                  <a:lnTo>
                    <a:pt x="40" y="50"/>
                  </a:lnTo>
                  <a:lnTo>
                    <a:pt x="42" y="48"/>
                  </a:lnTo>
                  <a:lnTo>
                    <a:pt x="42" y="48"/>
                  </a:lnTo>
                  <a:lnTo>
                    <a:pt x="40" y="46"/>
                  </a:lnTo>
                  <a:lnTo>
                    <a:pt x="38" y="46"/>
                  </a:lnTo>
                  <a:lnTo>
                    <a:pt x="32" y="44"/>
                  </a:lnTo>
                  <a:lnTo>
                    <a:pt x="30" y="44"/>
                  </a:lnTo>
                  <a:lnTo>
                    <a:pt x="28" y="42"/>
                  </a:lnTo>
                  <a:lnTo>
                    <a:pt x="26" y="38"/>
                  </a:lnTo>
                  <a:lnTo>
                    <a:pt x="26" y="32"/>
                  </a:lnTo>
                  <a:lnTo>
                    <a:pt x="26" y="32"/>
                  </a:lnTo>
                  <a:lnTo>
                    <a:pt x="26" y="24"/>
                  </a:lnTo>
                  <a:lnTo>
                    <a:pt x="24" y="22"/>
                  </a:lnTo>
                  <a:lnTo>
                    <a:pt x="24" y="20"/>
                  </a:lnTo>
                  <a:lnTo>
                    <a:pt x="30" y="10"/>
                  </a:lnTo>
                  <a:lnTo>
                    <a:pt x="30" y="10"/>
                  </a:lnTo>
                  <a:lnTo>
                    <a:pt x="38" y="8"/>
                  </a:lnTo>
                  <a:lnTo>
                    <a:pt x="44" y="8"/>
                  </a:lnTo>
                  <a:lnTo>
                    <a:pt x="56" y="10"/>
                  </a:lnTo>
                  <a:lnTo>
                    <a:pt x="64" y="10"/>
                  </a:lnTo>
                  <a:lnTo>
                    <a:pt x="70" y="10"/>
                  </a:lnTo>
                  <a:lnTo>
                    <a:pt x="78" y="6"/>
                  </a:lnTo>
                  <a:lnTo>
                    <a:pt x="88" y="0"/>
                  </a:lnTo>
                  <a:lnTo>
                    <a:pt x="88" y="0"/>
                  </a:lnTo>
                  <a:lnTo>
                    <a:pt x="94" y="8"/>
                  </a:lnTo>
                  <a:lnTo>
                    <a:pt x="96" y="14"/>
                  </a:lnTo>
                  <a:lnTo>
                    <a:pt x="96" y="18"/>
                  </a:lnTo>
                  <a:lnTo>
                    <a:pt x="100" y="26"/>
                  </a:lnTo>
                  <a:lnTo>
                    <a:pt x="100" y="26"/>
                  </a:lnTo>
                  <a:lnTo>
                    <a:pt x="106" y="28"/>
                  </a:lnTo>
                  <a:lnTo>
                    <a:pt x="108" y="28"/>
                  </a:lnTo>
                  <a:lnTo>
                    <a:pt x="108" y="30"/>
                  </a:lnTo>
                  <a:lnTo>
                    <a:pt x="108" y="34"/>
                  </a:lnTo>
                  <a:lnTo>
                    <a:pt x="108" y="34"/>
                  </a:lnTo>
                  <a:lnTo>
                    <a:pt x="108" y="36"/>
                  </a:lnTo>
                  <a:lnTo>
                    <a:pt x="108" y="40"/>
                  </a:lnTo>
                  <a:lnTo>
                    <a:pt x="112" y="46"/>
                  </a:lnTo>
                  <a:lnTo>
                    <a:pt x="114" y="54"/>
                  </a:lnTo>
                  <a:lnTo>
                    <a:pt x="114" y="58"/>
                  </a:lnTo>
                  <a:lnTo>
                    <a:pt x="114" y="62"/>
                  </a:lnTo>
                  <a:lnTo>
                    <a:pt x="114" y="62"/>
                  </a:lnTo>
                  <a:lnTo>
                    <a:pt x="110" y="72"/>
                  </a:lnTo>
                  <a:lnTo>
                    <a:pt x="112" y="78"/>
                  </a:lnTo>
                  <a:lnTo>
                    <a:pt x="112" y="82"/>
                  </a:lnTo>
                  <a:lnTo>
                    <a:pt x="108" y="84"/>
                  </a:lnTo>
                  <a:lnTo>
                    <a:pt x="108" y="84"/>
                  </a:lnTo>
                  <a:lnTo>
                    <a:pt x="104" y="86"/>
                  </a:lnTo>
                  <a:lnTo>
                    <a:pt x="102" y="88"/>
                  </a:lnTo>
                  <a:lnTo>
                    <a:pt x="92" y="104"/>
                  </a:lnTo>
                  <a:lnTo>
                    <a:pt x="92" y="104"/>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 name="Freeform 42"/>
            <p:cNvSpPr>
              <a:spLocks/>
            </p:cNvSpPr>
            <p:nvPr/>
          </p:nvSpPr>
          <p:spPr bwMode="auto">
            <a:xfrm>
              <a:off x="4467455" y="3766344"/>
              <a:ext cx="37042" cy="55563"/>
            </a:xfrm>
            <a:custGeom>
              <a:avLst/>
              <a:gdLst/>
              <a:ahLst/>
              <a:cxnLst>
                <a:cxn ang="0">
                  <a:pos x="0" y="6"/>
                </a:cxn>
                <a:cxn ang="0">
                  <a:pos x="0" y="6"/>
                </a:cxn>
                <a:cxn ang="0">
                  <a:pos x="2" y="12"/>
                </a:cxn>
                <a:cxn ang="0">
                  <a:pos x="4" y="12"/>
                </a:cxn>
                <a:cxn ang="0">
                  <a:pos x="6" y="12"/>
                </a:cxn>
                <a:cxn ang="0">
                  <a:pos x="6" y="12"/>
                </a:cxn>
                <a:cxn ang="0">
                  <a:pos x="10" y="12"/>
                </a:cxn>
                <a:cxn ang="0">
                  <a:pos x="10" y="14"/>
                </a:cxn>
                <a:cxn ang="0">
                  <a:pos x="10" y="14"/>
                </a:cxn>
                <a:cxn ang="0">
                  <a:pos x="6" y="16"/>
                </a:cxn>
                <a:cxn ang="0">
                  <a:pos x="6" y="16"/>
                </a:cxn>
                <a:cxn ang="0">
                  <a:pos x="4" y="14"/>
                </a:cxn>
                <a:cxn ang="0">
                  <a:pos x="2" y="16"/>
                </a:cxn>
                <a:cxn ang="0">
                  <a:pos x="4" y="18"/>
                </a:cxn>
                <a:cxn ang="0">
                  <a:pos x="8" y="24"/>
                </a:cxn>
                <a:cxn ang="0">
                  <a:pos x="8" y="26"/>
                </a:cxn>
                <a:cxn ang="0">
                  <a:pos x="8" y="26"/>
                </a:cxn>
                <a:cxn ang="0">
                  <a:pos x="8" y="28"/>
                </a:cxn>
                <a:cxn ang="0">
                  <a:pos x="10" y="32"/>
                </a:cxn>
                <a:cxn ang="0">
                  <a:pos x="10" y="34"/>
                </a:cxn>
                <a:cxn ang="0">
                  <a:pos x="10" y="36"/>
                </a:cxn>
                <a:cxn ang="0">
                  <a:pos x="10" y="36"/>
                </a:cxn>
                <a:cxn ang="0">
                  <a:pos x="8" y="36"/>
                </a:cxn>
                <a:cxn ang="0">
                  <a:pos x="8" y="38"/>
                </a:cxn>
                <a:cxn ang="0">
                  <a:pos x="12" y="42"/>
                </a:cxn>
                <a:cxn ang="0">
                  <a:pos x="12" y="42"/>
                </a:cxn>
                <a:cxn ang="0">
                  <a:pos x="18" y="40"/>
                </a:cxn>
                <a:cxn ang="0">
                  <a:pos x="22" y="38"/>
                </a:cxn>
                <a:cxn ang="0">
                  <a:pos x="18" y="24"/>
                </a:cxn>
                <a:cxn ang="0">
                  <a:pos x="18" y="24"/>
                </a:cxn>
                <a:cxn ang="0">
                  <a:pos x="18" y="14"/>
                </a:cxn>
                <a:cxn ang="0">
                  <a:pos x="22" y="8"/>
                </a:cxn>
                <a:cxn ang="0">
                  <a:pos x="24" y="6"/>
                </a:cxn>
                <a:cxn ang="0">
                  <a:pos x="28" y="2"/>
                </a:cxn>
                <a:cxn ang="0">
                  <a:pos x="28" y="2"/>
                </a:cxn>
                <a:cxn ang="0">
                  <a:pos x="24" y="0"/>
                </a:cxn>
                <a:cxn ang="0">
                  <a:pos x="20" y="0"/>
                </a:cxn>
                <a:cxn ang="0">
                  <a:pos x="18" y="2"/>
                </a:cxn>
                <a:cxn ang="0">
                  <a:pos x="18" y="2"/>
                </a:cxn>
                <a:cxn ang="0">
                  <a:pos x="16" y="4"/>
                </a:cxn>
                <a:cxn ang="0">
                  <a:pos x="14" y="4"/>
                </a:cxn>
                <a:cxn ang="0">
                  <a:pos x="12" y="4"/>
                </a:cxn>
                <a:cxn ang="0">
                  <a:pos x="10" y="8"/>
                </a:cxn>
                <a:cxn ang="0">
                  <a:pos x="10" y="8"/>
                </a:cxn>
                <a:cxn ang="0">
                  <a:pos x="8" y="10"/>
                </a:cxn>
                <a:cxn ang="0">
                  <a:pos x="8" y="8"/>
                </a:cxn>
                <a:cxn ang="0">
                  <a:pos x="6" y="6"/>
                </a:cxn>
                <a:cxn ang="0">
                  <a:pos x="0" y="6"/>
                </a:cxn>
                <a:cxn ang="0">
                  <a:pos x="0" y="6"/>
                </a:cxn>
              </a:cxnLst>
              <a:rect l="0" t="0" r="r" b="b"/>
              <a:pathLst>
                <a:path w="28" h="42">
                  <a:moveTo>
                    <a:pt x="0" y="6"/>
                  </a:moveTo>
                  <a:lnTo>
                    <a:pt x="0" y="6"/>
                  </a:lnTo>
                  <a:lnTo>
                    <a:pt x="2" y="12"/>
                  </a:lnTo>
                  <a:lnTo>
                    <a:pt x="4" y="12"/>
                  </a:lnTo>
                  <a:lnTo>
                    <a:pt x="6" y="12"/>
                  </a:lnTo>
                  <a:lnTo>
                    <a:pt x="6" y="12"/>
                  </a:lnTo>
                  <a:lnTo>
                    <a:pt x="10" y="12"/>
                  </a:lnTo>
                  <a:lnTo>
                    <a:pt x="10" y="14"/>
                  </a:lnTo>
                  <a:lnTo>
                    <a:pt x="10" y="14"/>
                  </a:lnTo>
                  <a:lnTo>
                    <a:pt x="6" y="16"/>
                  </a:lnTo>
                  <a:lnTo>
                    <a:pt x="6" y="16"/>
                  </a:lnTo>
                  <a:lnTo>
                    <a:pt x="4" y="14"/>
                  </a:lnTo>
                  <a:lnTo>
                    <a:pt x="2" y="16"/>
                  </a:lnTo>
                  <a:lnTo>
                    <a:pt x="4" y="18"/>
                  </a:lnTo>
                  <a:lnTo>
                    <a:pt x="8" y="24"/>
                  </a:lnTo>
                  <a:lnTo>
                    <a:pt x="8" y="26"/>
                  </a:lnTo>
                  <a:lnTo>
                    <a:pt x="8" y="26"/>
                  </a:lnTo>
                  <a:lnTo>
                    <a:pt x="8" y="28"/>
                  </a:lnTo>
                  <a:lnTo>
                    <a:pt x="10" y="32"/>
                  </a:lnTo>
                  <a:lnTo>
                    <a:pt x="10" y="34"/>
                  </a:lnTo>
                  <a:lnTo>
                    <a:pt x="10" y="36"/>
                  </a:lnTo>
                  <a:lnTo>
                    <a:pt x="10" y="36"/>
                  </a:lnTo>
                  <a:lnTo>
                    <a:pt x="8" y="36"/>
                  </a:lnTo>
                  <a:lnTo>
                    <a:pt x="8" y="38"/>
                  </a:lnTo>
                  <a:lnTo>
                    <a:pt x="12" y="42"/>
                  </a:lnTo>
                  <a:lnTo>
                    <a:pt x="12" y="42"/>
                  </a:lnTo>
                  <a:lnTo>
                    <a:pt x="18" y="40"/>
                  </a:lnTo>
                  <a:lnTo>
                    <a:pt x="22" y="38"/>
                  </a:lnTo>
                  <a:lnTo>
                    <a:pt x="18" y="24"/>
                  </a:lnTo>
                  <a:lnTo>
                    <a:pt x="18" y="24"/>
                  </a:lnTo>
                  <a:lnTo>
                    <a:pt x="18" y="14"/>
                  </a:lnTo>
                  <a:lnTo>
                    <a:pt x="22" y="8"/>
                  </a:lnTo>
                  <a:lnTo>
                    <a:pt x="24" y="6"/>
                  </a:lnTo>
                  <a:lnTo>
                    <a:pt x="28" y="2"/>
                  </a:lnTo>
                  <a:lnTo>
                    <a:pt x="28" y="2"/>
                  </a:lnTo>
                  <a:lnTo>
                    <a:pt x="24" y="0"/>
                  </a:lnTo>
                  <a:lnTo>
                    <a:pt x="20" y="0"/>
                  </a:lnTo>
                  <a:lnTo>
                    <a:pt x="18" y="2"/>
                  </a:lnTo>
                  <a:lnTo>
                    <a:pt x="18" y="2"/>
                  </a:lnTo>
                  <a:lnTo>
                    <a:pt x="16" y="4"/>
                  </a:lnTo>
                  <a:lnTo>
                    <a:pt x="14" y="4"/>
                  </a:lnTo>
                  <a:lnTo>
                    <a:pt x="12" y="4"/>
                  </a:lnTo>
                  <a:lnTo>
                    <a:pt x="10" y="8"/>
                  </a:lnTo>
                  <a:lnTo>
                    <a:pt x="10" y="8"/>
                  </a:lnTo>
                  <a:lnTo>
                    <a:pt x="8" y="10"/>
                  </a:lnTo>
                  <a:lnTo>
                    <a:pt x="8" y="8"/>
                  </a:lnTo>
                  <a:lnTo>
                    <a:pt x="6" y="6"/>
                  </a:lnTo>
                  <a:lnTo>
                    <a:pt x="0" y="6"/>
                  </a:lnTo>
                  <a:lnTo>
                    <a:pt x="0" y="6"/>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 name="Equatorial Guinea"/>
            <p:cNvSpPr>
              <a:spLocks/>
            </p:cNvSpPr>
            <p:nvPr/>
          </p:nvSpPr>
          <p:spPr bwMode="auto">
            <a:xfrm>
              <a:off x="4398663" y="3544094"/>
              <a:ext cx="60854" cy="39688"/>
            </a:xfrm>
            <a:custGeom>
              <a:avLst/>
              <a:gdLst/>
              <a:ahLst/>
              <a:cxnLst>
                <a:cxn ang="0">
                  <a:pos x="12" y="2"/>
                </a:cxn>
                <a:cxn ang="0">
                  <a:pos x="12" y="2"/>
                </a:cxn>
                <a:cxn ang="0">
                  <a:pos x="10" y="4"/>
                </a:cxn>
                <a:cxn ang="0">
                  <a:pos x="8" y="8"/>
                </a:cxn>
                <a:cxn ang="0">
                  <a:pos x="8" y="10"/>
                </a:cxn>
                <a:cxn ang="0">
                  <a:pos x="8" y="10"/>
                </a:cxn>
                <a:cxn ang="0">
                  <a:pos x="8" y="14"/>
                </a:cxn>
                <a:cxn ang="0">
                  <a:pos x="4" y="18"/>
                </a:cxn>
                <a:cxn ang="0">
                  <a:pos x="2" y="22"/>
                </a:cxn>
                <a:cxn ang="0">
                  <a:pos x="0" y="26"/>
                </a:cxn>
                <a:cxn ang="0">
                  <a:pos x="0" y="26"/>
                </a:cxn>
                <a:cxn ang="0">
                  <a:pos x="2" y="28"/>
                </a:cxn>
                <a:cxn ang="0">
                  <a:pos x="6" y="28"/>
                </a:cxn>
                <a:cxn ang="0">
                  <a:pos x="10" y="28"/>
                </a:cxn>
                <a:cxn ang="0">
                  <a:pos x="16" y="30"/>
                </a:cxn>
                <a:cxn ang="0">
                  <a:pos x="44" y="30"/>
                </a:cxn>
                <a:cxn ang="0">
                  <a:pos x="46" y="16"/>
                </a:cxn>
                <a:cxn ang="0">
                  <a:pos x="42" y="16"/>
                </a:cxn>
                <a:cxn ang="0">
                  <a:pos x="44" y="14"/>
                </a:cxn>
                <a:cxn ang="0">
                  <a:pos x="46" y="2"/>
                </a:cxn>
                <a:cxn ang="0">
                  <a:pos x="46" y="2"/>
                </a:cxn>
                <a:cxn ang="0">
                  <a:pos x="38" y="2"/>
                </a:cxn>
                <a:cxn ang="0">
                  <a:pos x="38" y="2"/>
                </a:cxn>
                <a:cxn ang="0">
                  <a:pos x="32" y="2"/>
                </a:cxn>
                <a:cxn ang="0">
                  <a:pos x="28" y="0"/>
                </a:cxn>
                <a:cxn ang="0">
                  <a:pos x="22" y="0"/>
                </a:cxn>
                <a:cxn ang="0">
                  <a:pos x="12" y="2"/>
                </a:cxn>
                <a:cxn ang="0">
                  <a:pos x="12" y="2"/>
                </a:cxn>
              </a:cxnLst>
              <a:rect l="0" t="0" r="r" b="b"/>
              <a:pathLst>
                <a:path w="46" h="30">
                  <a:moveTo>
                    <a:pt x="12" y="2"/>
                  </a:moveTo>
                  <a:lnTo>
                    <a:pt x="12" y="2"/>
                  </a:lnTo>
                  <a:lnTo>
                    <a:pt x="10" y="4"/>
                  </a:lnTo>
                  <a:lnTo>
                    <a:pt x="8" y="8"/>
                  </a:lnTo>
                  <a:lnTo>
                    <a:pt x="8" y="10"/>
                  </a:lnTo>
                  <a:lnTo>
                    <a:pt x="8" y="10"/>
                  </a:lnTo>
                  <a:lnTo>
                    <a:pt x="8" y="14"/>
                  </a:lnTo>
                  <a:lnTo>
                    <a:pt x="4" y="18"/>
                  </a:lnTo>
                  <a:lnTo>
                    <a:pt x="2" y="22"/>
                  </a:lnTo>
                  <a:lnTo>
                    <a:pt x="0" y="26"/>
                  </a:lnTo>
                  <a:lnTo>
                    <a:pt x="0" y="26"/>
                  </a:lnTo>
                  <a:lnTo>
                    <a:pt x="2" y="28"/>
                  </a:lnTo>
                  <a:lnTo>
                    <a:pt x="6" y="28"/>
                  </a:lnTo>
                  <a:lnTo>
                    <a:pt x="10" y="28"/>
                  </a:lnTo>
                  <a:lnTo>
                    <a:pt x="16" y="30"/>
                  </a:lnTo>
                  <a:lnTo>
                    <a:pt x="44" y="30"/>
                  </a:lnTo>
                  <a:lnTo>
                    <a:pt x="46" y="16"/>
                  </a:lnTo>
                  <a:lnTo>
                    <a:pt x="42" y="16"/>
                  </a:lnTo>
                  <a:lnTo>
                    <a:pt x="44" y="14"/>
                  </a:lnTo>
                  <a:lnTo>
                    <a:pt x="46" y="2"/>
                  </a:lnTo>
                  <a:lnTo>
                    <a:pt x="46" y="2"/>
                  </a:lnTo>
                  <a:lnTo>
                    <a:pt x="38" y="2"/>
                  </a:lnTo>
                  <a:lnTo>
                    <a:pt x="38" y="2"/>
                  </a:lnTo>
                  <a:lnTo>
                    <a:pt x="32" y="2"/>
                  </a:lnTo>
                  <a:lnTo>
                    <a:pt x="28" y="0"/>
                  </a:lnTo>
                  <a:lnTo>
                    <a:pt x="22" y="0"/>
                  </a:lnTo>
                  <a:lnTo>
                    <a:pt x="12" y="2"/>
                  </a:lnTo>
                  <a:lnTo>
                    <a:pt x="12" y="2"/>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 name="Gabon"/>
            <p:cNvSpPr>
              <a:spLocks/>
            </p:cNvSpPr>
            <p:nvPr/>
          </p:nvSpPr>
          <p:spPr bwMode="auto">
            <a:xfrm>
              <a:off x="4382788" y="3538802"/>
              <a:ext cx="171979" cy="209021"/>
            </a:xfrm>
            <a:custGeom>
              <a:avLst/>
              <a:gdLst/>
              <a:ahLst/>
              <a:cxnLst>
                <a:cxn ang="0">
                  <a:pos x="24" y="36"/>
                </a:cxn>
                <a:cxn ang="0">
                  <a:pos x="22" y="46"/>
                </a:cxn>
                <a:cxn ang="0">
                  <a:pos x="14" y="46"/>
                </a:cxn>
                <a:cxn ang="0">
                  <a:pos x="24" y="56"/>
                </a:cxn>
                <a:cxn ang="0">
                  <a:pos x="26" y="58"/>
                </a:cxn>
                <a:cxn ang="0">
                  <a:pos x="20" y="56"/>
                </a:cxn>
                <a:cxn ang="0">
                  <a:pos x="14" y="52"/>
                </a:cxn>
                <a:cxn ang="0">
                  <a:pos x="12" y="60"/>
                </a:cxn>
                <a:cxn ang="0">
                  <a:pos x="10" y="68"/>
                </a:cxn>
                <a:cxn ang="0">
                  <a:pos x="6" y="78"/>
                </a:cxn>
                <a:cxn ang="0">
                  <a:pos x="0" y="76"/>
                </a:cxn>
                <a:cxn ang="0">
                  <a:pos x="10" y="100"/>
                </a:cxn>
                <a:cxn ang="0">
                  <a:pos x="12" y="102"/>
                </a:cxn>
                <a:cxn ang="0">
                  <a:pos x="10" y="106"/>
                </a:cxn>
                <a:cxn ang="0">
                  <a:pos x="16" y="116"/>
                </a:cxn>
                <a:cxn ang="0">
                  <a:pos x="16" y="118"/>
                </a:cxn>
                <a:cxn ang="0">
                  <a:pos x="28" y="132"/>
                </a:cxn>
                <a:cxn ang="0">
                  <a:pos x="32" y="138"/>
                </a:cxn>
                <a:cxn ang="0">
                  <a:pos x="44" y="150"/>
                </a:cxn>
                <a:cxn ang="0">
                  <a:pos x="44" y="154"/>
                </a:cxn>
                <a:cxn ang="0">
                  <a:pos x="48" y="158"/>
                </a:cxn>
                <a:cxn ang="0">
                  <a:pos x="56" y="150"/>
                </a:cxn>
                <a:cxn ang="0">
                  <a:pos x="62" y="156"/>
                </a:cxn>
                <a:cxn ang="0">
                  <a:pos x="64" y="154"/>
                </a:cxn>
                <a:cxn ang="0">
                  <a:pos x="62" y="138"/>
                </a:cxn>
                <a:cxn ang="0">
                  <a:pos x="58" y="124"/>
                </a:cxn>
                <a:cxn ang="0">
                  <a:pos x="64" y="124"/>
                </a:cxn>
                <a:cxn ang="0">
                  <a:pos x="70" y="124"/>
                </a:cxn>
                <a:cxn ang="0">
                  <a:pos x="72" y="124"/>
                </a:cxn>
                <a:cxn ang="0">
                  <a:pos x="74" y="112"/>
                </a:cxn>
                <a:cxn ang="0">
                  <a:pos x="78" y="110"/>
                </a:cxn>
                <a:cxn ang="0">
                  <a:pos x="86" y="120"/>
                </a:cxn>
                <a:cxn ang="0">
                  <a:pos x="88" y="122"/>
                </a:cxn>
                <a:cxn ang="0">
                  <a:pos x="98" y="120"/>
                </a:cxn>
                <a:cxn ang="0">
                  <a:pos x="104" y="118"/>
                </a:cxn>
                <a:cxn ang="0">
                  <a:pos x="114" y="126"/>
                </a:cxn>
                <a:cxn ang="0">
                  <a:pos x="120" y="114"/>
                </a:cxn>
                <a:cxn ang="0">
                  <a:pos x="126" y="106"/>
                </a:cxn>
                <a:cxn ang="0">
                  <a:pos x="128" y="100"/>
                </a:cxn>
                <a:cxn ang="0">
                  <a:pos x="128" y="92"/>
                </a:cxn>
                <a:cxn ang="0">
                  <a:pos x="126" y="82"/>
                </a:cxn>
                <a:cxn ang="0">
                  <a:pos x="126" y="76"/>
                </a:cxn>
                <a:cxn ang="0">
                  <a:pos x="124" y="72"/>
                </a:cxn>
                <a:cxn ang="0">
                  <a:pos x="120" y="64"/>
                </a:cxn>
                <a:cxn ang="0">
                  <a:pos x="124" y="60"/>
                </a:cxn>
                <a:cxn ang="0">
                  <a:pos x="122" y="54"/>
                </a:cxn>
                <a:cxn ang="0">
                  <a:pos x="126" y="46"/>
                </a:cxn>
                <a:cxn ang="0">
                  <a:pos x="130" y="36"/>
                </a:cxn>
                <a:cxn ang="0">
                  <a:pos x="130" y="28"/>
                </a:cxn>
                <a:cxn ang="0">
                  <a:pos x="126" y="24"/>
                </a:cxn>
                <a:cxn ang="0">
                  <a:pos x="108" y="24"/>
                </a:cxn>
                <a:cxn ang="0">
                  <a:pos x="104" y="16"/>
                </a:cxn>
                <a:cxn ang="0">
                  <a:pos x="104" y="4"/>
                </a:cxn>
                <a:cxn ang="0">
                  <a:pos x="84" y="2"/>
                </a:cxn>
                <a:cxn ang="0">
                  <a:pos x="50" y="6"/>
                </a:cxn>
                <a:cxn ang="0">
                  <a:pos x="56" y="18"/>
                </a:cxn>
                <a:cxn ang="0">
                  <a:pos x="56" y="34"/>
                </a:cxn>
              </a:cxnLst>
              <a:rect l="0" t="0" r="r" b="b"/>
              <a:pathLst>
                <a:path w="130" h="158">
                  <a:moveTo>
                    <a:pt x="28" y="34"/>
                  </a:moveTo>
                  <a:lnTo>
                    <a:pt x="28" y="34"/>
                  </a:lnTo>
                  <a:lnTo>
                    <a:pt x="24" y="36"/>
                  </a:lnTo>
                  <a:lnTo>
                    <a:pt x="22" y="38"/>
                  </a:lnTo>
                  <a:lnTo>
                    <a:pt x="22" y="42"/>
                  </a:lnTo>
                  <a:lnTo>
                    <a:pt x="22" y="46"/>
                  </a:lnTo>
                  <a:lnTo>
                    <a:pt x="16" y="46"/>
                  </a:lnTo>
                  <a:lnTo>
                    <a:pt x="16" y="46"/>
                  </a:lnTo>
                  <a:lnTo>
                    <a:pt x="14" y="46"/>
                  </a:lnTo>
                  <a:lnTo>
                    <a:pt x="14" y="48"/>
                  </a:lnTo>
                  <a:lnTo>
                    <a:pt x="16" y="50"/>
                  </a:lnTo>
                  <a:lnTo>
                    <a:pt x="24" y="56"/>
                  </a:lnTo>
                  <a:lnTo>
                    <a:pt x="24" y="56"/>
                  </a:lnTo>
                  <a:lnTo>
                    <a:pt x="26" y="56"/>
                  </a:lnTo>
                  <a:lnTo>
                    <a:pt x="26" y="58"/>
                  </a:lnTo>
                  <a:lnTo>
                    <a:pt x="26" y="60"/>
                  </a:lnTo>
                  <a:lnTo>
                    <a:pt x="26" y="60"/>
                  </a:lnTo>
                  <a:lnTo>
                    <a:pt x="20" y="56"/>
                  </a:lnTo>
                  <a:lnTo>
                    <a:pt x="16" y="54"/>
                  </a:lnTo>
                  <a:lnTo>
                    <a:pt x="16" y="52"/>
                  </a:lnTo>
                  <a:lnTo>
                    <a:pt x="14" y="52"/>
                  </a:lnTo>
                  <a:lnTo>
                    <a:pt x="14" y="52"/>
                  </a:lnTo>
                  <a:lnTo>
                    <a:pt x="12" y="54"/>
                  </a:lnTo>
                  <a:lnTo>
                    <a:pt x="12" y="60"/>
                  </a:lnTo>
                  <a:lnTo>
                    <a:pt x="12" y="64"/>
                  </a:lnTo>
                  <a:lnTo>
                    <a:pt x="10" y="68"/>
                  </a:lnTo>
                  <a:lnTo>
                    <a:pt x="10" y="68"/>
                  </a:lnTo>
                  <a:lnTo>
                    <a:pt x="8" y="72"/>
                  </a:lnTo>
                  <a:lnTo>
                    <a:pt x="8" y="76"/>
                  </a:lnTo>
                  <a:lnTo>
                    <a:pt x="6" y="78"/>
                  </a:lnTo>
                  <a:lnTo>
                    <a:pt x="0" y="76"/>
                  </a:lnTo>
                  <a:lnTo>
                    <a:pt x="0" y="76"/>
                  </a:lnTo>
                  <a:lnTo>
                    <a:pt x="0" y="76"/>
                  </a:lnTo>
                  <a:lnTo>
                    <a:pt x="0" y="78"/>
                  </a:lnTo>
                  <a:lnTo>
                    <a:pt x="2" y="86"/>
                  </a:lnTo>
                  <a:lnTo>
                    <a:pt x="10" y="100"/>
                  </a:lnTo>
                  <a:lnTo>
                    <a:pt x="10" y="100"/>
                  </a:lnTo>
                  <a:lnTo>
                    <a:pt x="12" y="100"/>
                  </a:lnTo>
                  <a:lnTo>
                    <a:pt x="12" y="102"/>
                  </a:lnTo>
                  <a:lnTo>
                    <a:pt x="10" y="104"/>
                  </a:lnTo>
                  <a:lnTo>
                    <a:pt x="10" y="104"/>
                  </a:lnTo>
                  <a:lnTo>
                    <a:pt x="10" y="106"/>
                  </a:lnTo>
                  <a:lnTo>
                    <a:pt x="10" y="110"/>
                  </a:lnTo>
                  <a:lnTo>
                    <a:pt x="16" y="116"/>
                  </a:lnTo>
                  <a:lnTo>
                    <a:pt x="16" y="116"/>
                  </a:lnTo>
                  <a:lnTo>
                    <a:pt x="18" y="118"/>
                  </a:lnTo>
                  <a:lnTo>
                    <a:pt x="18" y="120"/>
                  </a:lnTo>
                  <a:lnTo>
                    <a:pt x="16" y="118"/>
                  </a:lnTo>
                  <a:lnTo>
                    <a:pt x="16" y="118"/>
                  </a:lnTo>
                  <a:lnTo>
                    <a:pt x="22" y="128"/>
                  </a:lnTo>
                  <a:lnTo>
                    <a:pt x="28" y="132"/>
                  </a:lnTo>
                  <a:lnTo>
                    <a:pt x="32" y="136"/>
                  </a:lnTo>
                  <a:lnTo>
                    <a:pt x="32" y="138"/>
                  </a:lnTo>
                  <a:lnTo>
                    <a:pt x="32" y="138"/>
                  </a:lnTo>
                  <a:lnTo>
                    <a:pt x="36" y="142"/>
                  </a:lnTo>
                  <a:lnTo>
                    <a:pt x="40" y="146"/>
                  </a:lnTo>
                  <a:lnTo>
                    <a:pt x="44" y="150"/>
                  </a:lnTo>
                  <a:lnTo>
                    <a:pt x="46" y="152"/>
                  </a:lnTo>
                  <a:lnTo>
                    <a:pt x="46" y="152"/>
                  </a:lnTo>
                  <a:lnTo>
                    <a:pt x="44" y="154"/>
                  </a:lnTo>
                  <a:lnTo>
                    <a:pt x="46" y="156"/>
                  </a:lnTo>
                  <a:lnTo>
                    <a:pt x="48" y="158"/>
                  </a:lnTo>
                  <a:lnTo>
                    <a:pt x="48" y="158"/>
                  </a:lnTo>
                  <a:lnTo>
                    <a:pt x="48" y="158"/>
                  </a:lnTo>
                  <a:lnTo>
                    <a:pt x="54" y="152"/>
                  </a:lnTo>
                  <a:lnTo>
                    <a:pt x="56" y="150"/>
                  </a:lnTo>
                  <a:lnTo>
                    <a:pt x="60" y="150"/>
                  </a:lnTo>
                  <a:lnTo>
                    <a:pt x="60" y="152"/>
                  </a:lnTo>
                  <a:lnTo>
                    <a:pt x="62" y="156"/>
                  </a:lnTo>
                  <a:lnTo>
                    <a:pt x="62" y="156"/>
                  </a:lnTo>
                  <a:lnTo>
                    <a:pt x="64" y="154"/>
                  </a:lnTo>
                  <a:lnTo>
                    <a:pt x="64" y="154"/>
                  </a:lnTo>
                  <a:lnTo>
                    <a:pt x="66" y="150"/>
                  </a:lnTo>
                  <a:lnTo>
                    <a:pt x="66" y="144"/>
                  </a:lnTo>
                  <a:lnTo>
                    <a:pt x="62" y="138"/>
                  </a:lnTo>
                  <a:lnTo>
                    <a:pt x="60" y="130"/>
                  </a:lnTo>
                  <a:lnTo>
                    <a:pt x="58" y="124"/>
                  </a:lnTo>
                  <a:lnTo>
                    <a:pt x="58" y="124"/>
                  </a:lnTo>
                  <a:lnTo>
                    <a:pt x="60" y="126"/>
                  </a:lnTo>
                  <a:lnTo>
                    <a:pt x="62" y="126"/>
                  </a:lnTo>
                  <a:lnTo>
                    <a:pt x="64" y="124"/>
                  </a:lnTo>
                  <a:lnTo>
                    <a:pt x="64" y="124"/>
                  </a:lnTo>
                  <a:lnTo>
                    <a:pt x="68" y="122"/>
                  </a:lnTo>
                  <a:lnTo>
                    <a:pt x="70" y="124"/>
                  </a:lnTo>
                  <a:lnTo>
                    <a:pt x="70" y="124"/>
                  </a:lnTo>
                  <a:lnTo>
                    <a:pt x="72" y="124"/>
                  </a:lnTo>
                  <a:lnTo>
                    <a:pt x="72" y="124"/>
                  </a:lnTo>
                  <a:lnTo>
                    <a:pt x="76" y="122"/>
                  </a:lnTo>
                  <a:lnTo>
                    <a:pt x="76" y="118"/>
                  </a:lnTo>
                  <a:lnTo>
                    <a:pt x="74" y="112"/>
                  </a:lnTo>
                  <a:lnTo>
                    <a:pt x="78" y="110"/>
                  </a:lnTo>
                  <a:lnTo>
                    <a:pt x="78" y="110"/>
                  </a:lnTo>
                  <a:lnTo>
                    <a:pt x="78" y="110"/>
                  </a:lnTo>
                  <a:lnTo>
                    <a:pt x="80" y="112"/>
                  </a:lnTo>
                  <a:lnTo>
                    <a:pt x="82" y="116"/>
                  </a:lnTo>
                  <a:lnTo>
                    <a:pt x="86" y="120"/>
                  </a:lnTo>
                  <a:lnTo>
                    <a:pt x="86" y="122"/>
                  </a:lnTo>
                  <a:lnTo>
                    <a:pt x="88" y="122"/>
                  </a:lnTo>
                  <a:lnTo>
                    <a:pt x="88" y="122"/>
                  </a:lnTo>
                  <a:lnTo>
                    <a:pt x="90" y="120"/>
                  </a:lnTo>
                  <a:lnTo>
                    <a:pt x="94" y="120"/>
                  </a:lnTo>
                  <a:lnTo>
                    <a:pt x="98" y="120"/>
                  </a:lnTo>
                  <a:lnTo>
                    <a:pt x="100" y="120"/>
                  </a:lnTo>
                  <a:lnTo>
                    <a:pt x="100" y="120"/>
                  </a:lnTo>
                  <a:lnTo>
                    <a:pt x="104" y="118"/>
                  </a:lnTo>
                  <a:lnTo>
                    <a:pt x="106" y="120"/>
                  </a:lnTo>
                  <a:lnTo>
                    <a:pt x="114" y="126"/>
                  </a:lnTo>
                  <a:lnTo>
                    <a:pt x="114" y="126"/>
                  </a:lnTo>
                  <a:lnTo>
                    <a:pt x="116" y="126"/>
                  </a:lnTo>
                  <a:lnTo>
                    <a:pt x="118" y="124"/>
                  </a:lnTo>
                  <a:lnTo>
                    <a:pt x="120" y="114"/>
                  </a:lnTo>
                  <a:lnTo>
                    <a:pt x="120" y="114"/>
                  </a:lnTo>
                  <a:lnTo>
                    <a:pt x="122" y="108"/>
                  </a:lnTo>
                  <a:lnTo>
                    <a:pt x="126" y="106"/>
                  </a:lnTo>
                  <a:lnTo>
                    <a:pt x="128" y="104"/>
                  </a:lnTo>
                  <a:lnTo>
                    <a:pt x="128" y="100"/>
                  </a:lnTo>
                  <a:lnTo>
                    <a:pt x="128" y="100"/>
                  </a:lnTo>
                  <a:lnTo>
                    <a:pt x="126" y="96"/>
                  </a:lnTo>
                  <a:lnTo>
                    <a:pt x="128" y="94"/>
                  </a:lnTo>
                  <a:lnTo>
                    <a:pt x="128" y="92"/>
                  </a:lnTo>
                  <a:lnTo>
                    <a:pt x="126" y="88"/>
                  </a:lnTo>
                  <a:lnTo>
                    <a:pt x="126" y="88"/>
                  </a:lnTo>
                  <a:lnTo>
                    <a:pt x="126" y="82"/>
                  </a:lnTo>
                  <a:lnTo>
                    <a:pt x="128" y="80"/>
                  </a:lnTo>
                  <a:lnTo>
                    <a:pt x="128" y="78"/>
                  </a:lnTo>
                  <a:lnTo>
                    <a:pt x="126" y="76"/>
                  </a:lnTo>
                  <a:lnTo>
                    <a:pt x="126" y="76"/>
                  </a:lnTo>
                  <a:lnTo>
                    <a:pt x="124" y="74"/>
                  </a:lnTo>
                  <a:lnTo>
                    <a:pt x="124" y="72"/>
                  </a:lnTo>
                  <a:lnTo>
                    <a:pt x="122" y="70"/>
                  </a:lnTo>
                  <a:lnTo>
                    <a:pt x="120" y="64"/>
                  </a:lnTo>
                  <a:lnTo>
                    <a:pt x="120" y="64"/>
                  </a:lnTo>
                  <a:lnTo>
                    <a:pt x="116" y="58"/>
                  </a:lnTo>
                  <a:lnTo>
                    <a:pt x="120" y="60"/>
                  </a:lnTo>
                  <a:lnTo>
                    <a:pt x="124" y="60"/>
                  </a:lnTo>
                  <a:lnTo>
                    <a:pt x="124" y="58"/>
                  </a:lnTo>
                  <a:lnTo>
                    <a:pt x="122" y="54"/>
                  </a:lnTo>
                  <a:lnTo>
                    <a:pt x="122" y="54"/>
                  </a:lnTo>
                  <a:lnTo>
                    <a:pt x="122" y="50"/>
                  </a:lnTo>
                  <a:lnTo>
                    <a:pt x="122" y="48"/>
                  </a:lnTo>
                  <a:lnTo>
                    <a:pt x="126" y="46"/>
                  </a:lnTo>
                  <a:lnTo>
                    <a:pt x="130" y="44"/>
                  </a:lnTo>
                  <a:lnTo>
                    <a:pt x="130" y="40"/>
                  </a:lnTo>
                  <a:lnTo>
                    <a:pt x="130" y="36"/>
                  </a:lnTo>
                  <a:lnTo>
                    <a:pt x="130" y="36"/>
                  </a:lnTo>
                  <a:lnTo>
                    <a:pt x="130" y="32"/>
                  </a:lnTo>
                  <a:lnTo>
                    <a:pt x="130" y="28"/>
                  </a:lnTo>
                  <a:lnTo>
                    <a:pt x="130" y="26"/>
                  </a:lnTo>
                  <a:lnTo>
                    <a:pt x="126" y="24"/>
                  </a:lnTo>
                  <a:lnTo>
                    <a:pt x="126" y="24"/>
                  </a:lnTo>
                  <a:lnTo>
                    <a:pt x="116" y="24"/>
                  </a:lnTo>
                  <a:lnTo>
                    <a:pt x="108" y="24"/>
                  </a:lnTo>
                  <a:lnTo>
                    <a:pt x="108" y="24"/>
                  </a:lnTo>
                  <a:lnTo>
                    <a:pt x="106" y="24"/>
                  </a:lnTo>
                  <a:lnTo>
                    <a:pt x="104" y="22"/>
                  </a:lnTo>
                  <a:lnTo>
                    <a:pt x="104" y="16"/>
                  </a:lnTo>
                  <a:lnTo>
                    <a:pt x="110" y="6"/>
                  </a:lnTo>
                  <a:lnTo>
                    <a:pt x="110" y="6"/>
                  </a:lnTo>
                  <a:lnTo>
                    <a:pt x="104" y="4"/>
                  </a:lnTo>
                  <a:lnTo>
                    <a:pt x="96" y="4"/>
                  </a:lnTo>
                  <a:lnTo>
                    <a:pt x="96" y="4"/>
                  </a:lnTo>
                  <a:lnTo>
                    <a:pt x="84" y="2"/>
                  </a:lnTo>
                  <a:lnTo>
                    <a:pt x="76" y="0"/>
                  </a:lnTo>
                  <a:lnTo>
                    <a:pt x="68" y="0"/>
                  </a:lnTo>
                  <a:lnTo>
                    <a:pt x="50" y="6"/>
                  </a:lnTo>
                  <a:lnTo>
                    <a:pt x="50" y="6"/>
                  </a:lnTo>
                  <a:lnTo>
                    <a:pt x="58" y="6"/>
                  </a:lnTo>
                  <a:lnTo>
                    <a:pt x="56" y="18"/>
                  </a:lnTo>
                  <a:lnTo>
                    <a:pt x="54" y="20"/>
                  </a:lnTo>
                  <a:lnTo>
                    <a:pt x="58" y="20"/>
                  </a:lnTo>
                  <a:lnTo>
                    <a:pt x="56" y="34"/>
                  </a:lnTo>
                  <a:lnTo>
                    <a:pt x="28" y="34"/>
                  </a:lnTo>
                  <a:lnTo>
                    <a:pt x="28" y="34"/>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 name="Cameroon"/>
            <p:cNvSpPr>
              <a:spLocks/>
            </p:cNvSpPr>
            <p:nvPr/>
          </p:nvSpPr>
          <p:spPr bwMode="auto">
            <a:xfrm>
              <a:off x="4377497" y="3186906"/>
              <a:ext cx="216958" cy="367771"/>
            </a:xfrm>
            <a:custGeom>
              <a:avLst/>
              <a:gdLst/>
              <a:ahLst/>
              <a:cxnLst>
                <a:cxn ang="0">
                  <a:pos x="2" y="196"/>
                </a:cxn>
                <a:cxn ang="0">
                  <a:pos x="8" y="184"/>
                </a:cxn>
                <a:cxn ang="0">
                  <a:pos x="22" y="160"/>
                </a:cxn>
                <a:cxn ang="0">
                  <a:pos x="34" y="150"/>
                </a:cxn>
                <a:cxn ang="0">
                  <a:pos x="46" y="154"/>
                </a:cxn>
                <a:cxn ang="0">
                  <a:pos x="52" y="158"/>
                </a:cxn>
                <a:cxn ang="0">
                  <a:pos x="60" y="158"/>
                </a:cxn>
                <a:cxn ang="0">
                  <a:pos x="66" y="150"/>
                </a:cxn>
                <a:cxn ang="0">
                  <a:pos x="74" y="134"/>
                </a:cxn>
                <a:cxn ang="0">
                  <a:pos x="76" y="120"/>
                </a:cxn>
                <a:cxn ang="0">
                  <a:pos x="86" y="110"/>
                </a:cxn>
                <a:cxn ang="0">
                  <a:pos x="90" y="98"/>
                </a:cxn>
                <a:cxn ang="0">
                  <a:pos x="96" y="90"/>
                </a:cxn>
                <a:cxn ang="0">
                  <a:pos x="94" y="84"/>
                </a:cxn>
                <a:cxn ang="0">
                  <a:pos x="100" y="78"/>
                </a:cxn>
                <a:cxn ang="0">
                  <a:pos x="100" y="64"/>
                </a:cxn>
                <a:cxn ang="0">
                  <a:pos x="116" y="30"/>
                </a:cxn>
                <a:cxn ang="0">
                  <a:pos x="126" y="12"/>
                </a:cxn>
                <a:cxn ang="0">
                  <a:pos x="122" y="2"/>
                </a:cxn>
                <a:cxn ang="0">
                  <a:pos x="130" y="0"/>
                </a:cxn>
                <a:cxn ang="0">
                  <a:pos x="134" y="30"/>
                </a:cxn>
                <a:cxn ang="0">
                  <a:pos x="152" y="66"/>
                </a:cxn>
                <a:cxn ang="0">
                  <a:pos x="138" y="66"/>
                </a:cxn>
                <a:cxn ang="0">
                  <a:pos x="128" y="68"/>
                </a:cxn>
                <a:cxn ang="0">
                  <a:pos x="118" y="72"/>
                </a:cxn>
                <a:cxn ang="0">
                  <a:pos x="126" y="90"/>
                </a:cxn>
                <a:cxn ang="0">
                  <a:pos x="148" y="122"/>
                </a:cxn>
                <a:cxn ang="0">
                  <a:pos x="142" y="142"/>
                </a:cxn>
                <a:cxn ang="0">
                  <a:pos x="128" y="184"/>
                </a:cxn>
                <a:cxn ang="0">
                  <a:pos x="128" y="204"/>
                </a:cxn>
                <a:cxn ang="0">
                  <a:pos x="146" y="228"/>
                </a:cxn>
                <a:cxn ang="0">
                  <a:pos x="164" y="244"/>
                </a:cxn>
                <a:cxn ang="0">
                  <a:pos x="162" y="260"/>
                </a:cxn>
                <a:cxn ang="0">
                  <a:pos x="162" y="278"/>
                </a:cxn>
                <a:cxn ang="0">
                  <a:pos x="144" y="274"/>
                </a:cxn>
                <a:cxn ang="0">
                  <a:pos x="128" y="272"/>
                </a:cxn>
                <a:cxn ang="0">
                  <a:pos x="108" y="270"/>
                </a:cxn>
                <a:cxn ang="0">
                  <a:pos x="80" y="266"/>
                </a:cxn>
                <a:cxn ang="0">
                  <a:pos x="48" y="272"/>
                </a:cxn>
                <a:cxn ang="0">
                  <a:pos x="28" y="272"/>
                </a:cxn>
                <a:cxn ang="0">
                  <a:pos x="28" y="250"/>
                </a:cxn>
                <a:cxn ang="0">
                  <a:pos x="26" y="236"/>
                </a:cxn>
                <a:cxn ang="0">
                  <a:pos x="20" y="230"/>
                </a:cxn>
                <a:cxn ang="0">
                  <a:pos x="28" y="228"/>
                </a:cxn>
                <a:cxn ang="0">
                  <a:pos x="26" y="224"/>
                </a:cxn>
                <a:cxn ang="0">
                  <a:pos x="22" y="222"/>
                </a:cxn>
                <a:cxn ang="0">
                  <a:pos x="16" y="224"/>
                </a:cxn>
                <a:cxn ang="0">
                  <a:pos x="8" y="212"/>
                </a:cxn>
                <a:cxn ang="0">
                  <a:pos x="4" y="212"/>
                </a:cxn>
              </a:cxnLst>
              <a:rect l="0" t="0" r="r" b="b"/>
              <a:pathLst>
                <a:path w="164" h="278">
                  <a:moveTo>
                    <a:pt x="4" y="212"/>
                  </a:moveTo>
                  <a:lnTo>
                    <a:pt x="4" y="212"/>
                  </a:lnTo>
                  <a:lnTo>
                    <a:pt x="0" y="200"/>
                  </a:lnTo>
                  <a:lnTo>
                    <a:pt x="2" y="196"/>
                  </a:lnTo>
                  <a:lnTo>
                    <a:pt x="6" y="192"/>
                  </a:lnTo>
                  <a:lnTo>
                    <a:pt x="6" y="192"/>
                  </a:lnTo>
                  <a:lnTo>
                    <a:pt x="10" y="188"/>
                  </a:lnTo>
                  <a:lnTo>
                    <a:pt x="8" y="184"/>
                  </a:lnTo>
                  <a:lnTo>
                    <a:pt x="10" y="178"/>
                  </a:lnTo>
                  <a:lnTo>
                    <a:pt x="18" y="168"/>
                  </a:lnTo>
                  <a:lnTo>
                    <a:pt x="18" y="168"/>
                  </a:lnTo>
                  <a:lnTo>
                    <a:pt x="22" y="160"/>
                  </a:lnTo>
                  <a:lnTo>
                    <a:pt x="24" y="156"/>
                  </a:lnTo>
                  <a:lnTo>
                    <a:pt x="28" y="152"/>
                  </a:lnTo>
                  <a:lnTo>
                    <a:pt x="34" y="150"/>
                  </a:lnTo>
                  <a:lnTo>
                    <a:pt x="34" y="150"/>
                  </a:lnTo>
                  <a:lnTo>
                    <a:pt x="40" y="150"/>
                  </a:lnTo>
                  <a:lnTo>
                    <a:pt x="42" y="152"/>
                  </a:lnTo>
                  <a:lnTo>
                    <a:pt x="44" y="154"/>
                  </a:lnTo>
                  <a:lnTo>
                    <a:pt x="46" y="154"/>
                  </a:lnTo>
                  <a:lnTo>
                    <a:pt x="46" y="154"/>
                  </a:lnTo>
                  <a:lnTo>
                    <a:pt x="50" y="154"/>
                  </a:lnTo>
                  <a:lnTo>
                    <a:pt x="50" y="156"/>
                  </a:lnTo>
                  <a:lnTo>
                    <a:pt x="52" y="158"/>
                  </a:lnTo>
                  <a:lnTo>
                    <a:pt x="56" y="160"/>
                  </a:lnTo>
                  <a:lnTo>
                    <a:pt x="56" y="160"/>
                  </a:lnTo>
                  <a:lnTo>
                    <a:pt x="58" y="160"/>
                  </a:lnTo>
                  <a:lnTo>
                    <a:pt x="60" y="158"/>
                  </a:lnTo>
                  <a:lnTo>
                    <a:pt x="60" y="154"/>
                  </a:lnTo>
                  <a:lnTo>
                    <a:pt x="64" y="152"/>
                  </a:lnTo>
                  <a:lnTo>
                    <a:pt x="64" y="152"/>
                  </a:lnTo>
                  <a:lnTo>
                    <a:pt x="66" y="150"/>
                  </a:lnTo>
                  <a:lnTo>
                    <a:pt x="66" y="148"/>
                  </a:lnTo>
                  <a:lnTo>
                    <a:pt x="68" y="144"/>
                  </a:lnTo>
                  <a:lnTo>
                    <a:pt x="74" y="134"/>
                  </a:lnTo>
                  <a:lnTo>
                    <a:pt x="74" y="134"/>
                  </a:lnTo>
                  <a:lnTo>
                    <a:pt x="80" y="128"/>
                  </a:lnTo>
                  <a:lnTo>
                    <a:pt x="80" y="124"/>
                  </a:lnTo>
                  <a:lnTo>
                    <a:pt x="78" y="124"/>
                  </a:lnTo>
                  <a:lnTo>
                    <a:pt x="76" y="120"/>
                  </a:lnTo>
                  <a:lnTo>
                    <a:pt x="76" y="120"/>
                  </a:lnTo>
                  <a:lnTo>
                    <a:pt x="80" y="116"/>
                  </a:lnTo>
                  <a:lnTo>
                    <a:pt x="82" y="112"/>
                  </a:lnTo>
                  <a:lnTo>
                    <a:pt x="86" y="110"/>
                  </a:lnTo>
                  <a:lnTo>
                    <a:pt x="88" y="106"/>
                  </a:lnTo>
                  <a:lnTo>
                    <a:pt x="88" y="106"/>
                  </a:lnTo>
                  <a:lnTo>
                    <a:pt x="88" y="100"/>
                  </a:lnTo>
                  <a:lnTo>
                    <a:pt x="90" y="98"/>
                  </a:lnTo>
                  <a:lnTo>
                    <a:pt x="92" y="98"/>
                  </a:lnTo>
                  <a:lnTo>
                    <a:pt x="96" y="94"/>
                  </a:lnTo>
                  <a:lnTo>
                    <a:pt x="96" y="94"/>
                  </a:lnTo>
                  <a:lnTo>
                    <a:pt x="96" y="90"/>
                  </a:lnTo>
                  <a:lnTo>
                    <a:pt x="94" y="88"/>
                  </a:lnTo>
                  <a:lnTo>
                    <a:pt x="94" y="86"/>
                  </a:lnTo>
                  <a:lnTo>
                    <a:pt x="94" y="84"/>
                  </a:lnTo>
                  <a:lnTo>
                    <a:pt x="94" y="84"/>
                  </a:lnTo>
                  <a:lnTo>
                    <a:pt x="96" y="80"/>
                  </a:lnTo>
                  <a:lnTo>
                    <a:pt x="98" y="80"/>
                  </a:lnTo>
                  <a:lnTo>
                    <a:pt x="98" y="80"/>
                  </a:lnTo>
                  <a:lnTo>
                    <a:pt x="100" y="78"/>
                  </a:lnTo>
                  <a:lnTo>
                    <a:pt x="100" y="78"/>
                  </a:lnTo>
                  <a:lnTo>
                    <a:pt x="100" y="74"/>
                  </a:lnTo>
                  <a:lnTo>
                    <a:pt x="100" y="72"/>
                  </a:lnTo>
                  <a:lnTo>
                    <a:pt x="100" y="64"/>
                  </a:lnTo>
                  <a:lnTo>
                    <a:pt x="110" y="42"/>
                  </a:lnTo>
                  <a:lnTo>
                    <a:pt x="110" y="42"/>
                  </a:lnTo>
                  <a:lnTo>
                    <a:pt x="114" y="32"/>
                  </a:lnTo>
                  <a:lnTo>
                    <a:pt x="116" y="30"/>
                  </a:lnTo>
                  <a:lnTo>
                    <a:pt x="120" y="28"/>
                  </a:lnTo>
                  <a:lnTo>
                    <a:pt x="124" y="20"/>
                  </a:lnTo>
                  <a:lnTo>
                    <a:pt x="124" y="20"/>
                  </a:lnTo>
                  <a:lnTo>
                    <a:pt x="126" y="12"/>
                  </a:lnTo>
                  <a:lnTo>
                    <a:pt x="124" y="10"/>
                  </a:lnTo>
                  <a:lnTo>
                    <a:pt x="124" y="10"/>
                  </a:lnTo>
                  <a:lnTo>
                    <a:pt x="122" y="8"/>
                  </a:lnTo>
                  <a:lnTo>
                    <a:pt x="122" y="2"/>
                  </a:lnTo>
                  <a:lnTo>
                    <a:pt x="122" y="2"/>
                  </a:lnTo>
                  <a:lnTo>
                    <a:pt x="126" y="2"/>
                  </a:lnTo>
                  <a:lnTo>
                    <a:pt x="130" y="0"/>
                  </a:lnTo>
                  <a:lnTo>
                    <a:pt x="130" y="0"/>
                  </a:lnTo>
                  <a:lnTo>
                    <a:pt x="130" y="12"/>
                  </a:lnTo>
                  <a:lnTo>
                    <a:pt x="132" y="16"/>
                  </a:lnTo>
                  <a:lnTo>
                    <a:pt x="134" y="18"/>
                  </a:lnTo>
                  <a:lnTo>
                    <a:pt x="134" y="30"/>
                  </a:lnTo>
                  <a:lnTo>
                    <a:pt x="134" y="30"/>
                  </a:lnTo>
                  <a:lnTo>
                    <a:pt x="134" y="40"/>
                  </a:lnTo>
                  <a:lnTo>
                    <a:pt x="136" y="50"/>
                  </a:lnTo>
                  <a:lnTo>
                    <a:pt x="152" y="66"/>
                  </a:lnTo>
                  <a:lnTo>
                    <a:pt x="152" y="66"/>
                  </a:lnTo>
                  <a:lnTo>
                    <a:pt x="148" y="68"/>
                  </a:lnTo>
                  <a:lnTo>
                    <a:pt x="146" y="68"/>
                  </a:lnTo>
                  <a:lnTo>
                    <a:pt x="138" y="66"/>
                  </a:lnTo>
                  <a:lnTo>
                    <a:pt x="138" y="66"/>
                  </a:lnTo>
                  <a:lnTo>
                    <a:pt x="140" y="68"/>
                  </a:lnTo>
                  <a:lnTo>
                    <a:pt x="138" y="70"/>
                  </a:lnTo>
                  <a:lnTo>
                    <a:pt x="128" y="68"/>
                  </a:lnTo>
                  <a:lnTo>
                    <a:pt x="128" y="68"/>
                  </a:lnTo>
                  <a:lnTo>
                    <a:pt x="122" y="68"/>
                  </a:lnTo>
                  <a:lnTo>
                    <a:pt x="118" y="70"/>
                  </a:lnTo>
                  <a:lnTo>
                    <a:pt x="118" y="72"/>
                  </a:lnTo>
                  <a:lnTo>
                    <a:pt x="120" y="78"/>
                  </a:lnTo>
                  <a:lnTo>
                    <a:pt x="120" y="78"/>
                  </a:lnTo>
                  <a:lnTo>
                    <a:pt x="124" y="86"/>
                  </a:lnTo>
                  <a:lnTo>
                    <a:pt x="126" y="90"/>
                  </a:lnTo>
                  <a:lnTo>
                    <a:pt x="130" y="92"/>
                  </a:lnTo>
                  <a:lnTo>
                    <a:pt x="136" y="102"/>
                  </a:lnTo>
                  <a:lnTo>
                    <a:pt x="136" y="102"/>
                  </a:lnTo>
                  <a:lnTo>
                    <a:pt x="148" y="122"/>
                  </a:lnTo>
                  <a:lnTo>
                    <a:pt x="150" y="128"/>
                  </a:lnTo>
                  <a:lnTo>
                    <a:pt x="148" y="134"/>
                  </a:lnTo>
                  <a:lnTo>
                    <a:pt x="148" y="134"/>
                  </a:lnTo>
                  <a:lnTo>
                    <a:pt x="142" y="142"/>
                  </a:lnTo>
                  <a:lnTo>
                    <a:pt x="138" y="150"/>
                  </a:lnTo>
                  <a:lnTo>
                    <a:pt x="134" y="170"/>
                  </a:lnTo>
                  <a:lnTo>
                    <a:pt x="134" y="170"/>
                  </a:lnTo>
                  <a:lnTo>
                    <a:pt x="128" y="184"/>
                  </a:lnTo>
                  <a:lnTo>
                    <a:pt x="124" y="190"/>
                  </a:lnTo>
                  <a:lnTo>
                    <a:pt x="124" y="194"/>
                  </a:lnTo>
                  <a:lnTo>
                    <a:pt x="128" y="204"/>
                  </a:lnTo>
                  <a:lnTo>
                    <a:pt x="128" y="204"/>
                  </a:lnTo>
                  <a:lnTo>
                    <a:pt x="132" y="214"/>
                  </a:lnTo>
                  <a:lnTo>
                    <a:pt x="136" y="216"/>
                  </a:lnTo>
                  <a:lnTo>
                    <a:pt x="140" y="220"/>
                  </a:lnTo>
                  <a:lnTo>
                    <a:pt x="146" y="228"/>
                  </a:lnTo>
                  <a:lnTo>
                    <a:pt x="146" y="228"/>
                  </a:lnTo>
                  <a:lnTo>
                    <a:pt x="154" y="238"/>
                  </a:lnTo>
                  <a:lnTo>
                    <a:pt x="160" y="242"/>
                  </a:lnTo>
                  <a:lnTo>
                    <a:pt x="164" y="244"/>
                  </a:lnTo>
                  <a:lnTo>
                    <a:pt x="162" y="250"/>
                  </a:lnTo>
                  <a:lnTo>
                    <a:pt x="162" y="250"/>
                  </a:lnTo>
                  <a:lnTo>
                    <a:pt x="162" y="254"/>
                  </a:lnTo>
                  <a:lnTo>
                    <a:pt x="162" y="260"/>
                  </a:lnTo>
                  <a:lnTo>
                    <a:pt x="162" y="260"/>
                  </a:lnTo>
                  <a:lnTo>
                    <a:pt x="164" y="274"/>
                  </a:lnTo>
                  <a:lnTo>
                    <a:pt x="164" y="276"/>
                  </a:lnTo>
                  <a:lnTo>
                    <a:pt x="162" y="278"/>
                  </a:lnTo>
                  <a:lnTo>
                    <a:pt x="158" y="276"/>
                  </a:lnTo>
                  <a:lnTo>
                    <a:pt x="152" y="274"/>
                  </a:lnTo>
                  <a:lnTo>
                    <a:pt x="152" y="274"/>
                  </a:lnTo>
                  <a:lnTo>
                    <a:pt x="144" y="274"/>
                  </a:lnTo>
                  <a:lnTo>
                    <a:pt x="138" y="274"/>
                  </a:lnTo>
                  <a:lnTo>
                    <a:pt x="138" y="274"/>
                  </a:lnTo>
                  <a:lnTo>
                    <a:pt x="132" y="274"/>
                  </a:lnTo>
                  <a:lnTo>
                    <a:pt x="128" y="272"/>
                  </a:lnTo>
                  <a:lnTo>
                    <a:pt x="122" y="272"/>
                  </a:lnTo>
                  <a:lnTo>
                    <a:pt x="114" y="272"/>
                  </a:lnTo>
                  <a:lnTo>
                    <a:pt x="114" y="272"/>
                  </a:lnTo>
                  <a:lnTo>
                    <a:pt x="108" y="270"/>
                  </a:lnTo>
                  <a:lnTo>
                    <a:pt x="100" y="270"/>
                  </a:lnTo>
                  <a:lnTo>
                    <a:pt x="100" y="270"/>
                  </a:lnTo>
                  <a:lnTo>
                    <a:pt x="88" y="268"/>
                  </a:lnTo>
                  <a:lnTo>
                    <a:pt x="80" y="266"/>
                  </a:lnTo>
                  <a:lnTo>
                    <a:pt x="72" y="266"/>
                  </a:lnTo>
                  <a:lnTo>
                    <a:pt x="54" y="272"/>
                  </a:lnTo>
                  <a:lnTo>
                    <a:pt x="54" y="272"/>
                  </a:lnTo>
                  <a:lnTo>
                    <a:pt x="48" y="272"/>
                  </a:lnTo>
                  <a:lnTo>
                    <a:pt x="44" y="270"/>
                  </a:lnTo>
                  <a:lnTo>
                    <a:pt x="38" y="270"/>
                  </a:lnTo>
                  <a:lnTo>
                    <a:pt x="28" y="272"/>
                  </a:lnTo>
                  <a:lnTo>
                    <a:pt x="28" y="272"/>
                  </a:lnTo>
                  <a:lnTo>
                    <a:pt x="28" y="258"/>
                  </a:lnTo>
                  <a:lnTo>
                    <a:pt x="28" y="254"/>
                  </a:lnTo>
                  <a:lnTo>
                    <a:pt x="28" y="250"/>
                  </a:lnTo>
                  <a:lnTo>
                    <a:pt x="28" y="250"/>
                  </a:lnTo>
                  <a:lnTo>
                    <a:pt x="30" y="244"/>
                  </a:lnTo>
                  <a:lnTo>
                    <a:pt x="28" y="240"/>
                  </a:lnTo>
                  <a:lnTo>
                    <a:pt x="26" y="238"/>
                  </a:lnTo>
                  <a:lnTo>
                    <a:pt x="26" y="236"/>
                  </a:lnTo>
                  <a:lnTo>
                    <a:pt x="26" y="236"/>
                  </a:lnTo>
                  <a:lnTo>
                    <a:pt x="26" y="234"/>
                  </a:lnTo>
                  <a:lnTo>
                    <a:pt x="22" y="232"/>
                  </a:lnTo>
                  <a:lnTo>
                    <a:pt x="20" y="230"/>
                  </a:lnTo>
                  <a:lnTo>
                    <a:pt x="24" y="230"/>
                  </a:lnTo>
                  <a:lnTo>
                    <a:pt x="24" y="230"/>
                  </a:lnTo>
                  <a:lnTo>
                    <a:pt x="28" y="230"/>
                  </a:lnTo>
                  <a:lnTo>
                    <a:pt x="28" y="228"/>
                  </a:lnTo>
                  <a:lnTo>
                    <a:pt x="26" y="226"/>
                  </a:lnTo>
                  <a:lnTo>
                    <a:pt x="26" y="226"/>
                  </a:lnTo>
                  <a:lnTo>
                    <a:pt x="26" y="224"/>
                  </a:lnTo>
                  <a:lnTo>
                    <a:pt x="26" y="224"/>
                  </a:lnTo>
                  <a:lnTo>
                    <a:pt x="28" y="222"/>
                  </a:lnTo>
                  <a:lnTo>
                    <a:pt x="26" y="224"/>
                  </a:lnTo>
                  <a:lnTo>
                    <a:pt x="24" y="224"/>
                  </a:lnTo>
                  <a:lnTo>
                    <a:pt x="22" y="222"/>
                  </a:lnTo>
                  <a:lnTo>
                    <a:pt x="22" y="222"/>
                  </a:lnTo>
                  <a:lnTo>
                    <a:pt x="22" y="224"/>
                  </a:lnTo>
                  <a:lnTo>
                    <a:pt x="20" y="226"/>
                  </a:lnTo>
                  <a:lnTo>
                    <a:pt x="16" y="224"/>
                  </a:lnTo>
                  <a:lnTo>
                    <a:pt x="16" y="224"/>
                  </a:lnTo>
                  <a:lnTo>
                    <a:pt x="10" y="218"/>
                  </a:lnTo>
                  <a:lnTo>
                    <a:pt x="8" y="214"/>
                  </a:lnTo>
                  <a:lnTo>
                    <a:pt x="8" y="212"/>
                  </a:lnTo>
                  <a:lnTo>
                    <a:pt x="6" y="214"/>
                  </a:lnTo>
                  <a:lnTo>
                    <a:pt x="6" y="214"/>
                  </a:lnTo>
                  <a:lnTo>
                    <a:pt x="6" y="214"/>
                  </a:lnTo>
                  <a:lnTo>
                    <a:pt x="4" y="212"/>
                  </a:lnTo>
                  <a:lnTo>
                    <a:pt x="4" y="212"/>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 name="Congo"/>
            <p:cNvSpPr>
              <a:spLocks/>
            </p:cNvSpPr>
            <p:nvPr/>
          </p:nvSpPr>
          <p:spPr bwMode="auto">
            <a:xfrm>
              <a:off x="4446288" y="3488531"/>
              <a:ext cx="219604" cy="296333"/>
            </a:xfrm>
            <a:custGeom>
              <a:avLst/>
              <a:gdLst/>
              <a:ahLst/>
              <a:cxnLst>
                <a:cxn ang="0">
                  <a:pos x="70" y="44"/>
                </a:cxn>
                <a:cxn ang="0">
                  <a:pos x="86" y="46"/>
                </a:cxn>
                <a:cxn ang="0">
                  <a:pos x="100" y="46"/>
                </a:cxn>
                <a:cxn ang="0">
                  <a:pos x="110" y="50"/>
                </a:cxn>
                <a:cxn ang="0">
                  <a:pos x="110" y="32"/>
                </a:cxn>
                <a:cxn ang="0">
                  <a:pos x="120" y="20"/>
                </a:cxn>
                <a:cxn ang="0">
                  <a:pos x="126" y="0"/>
                </a:cxn>
                <a:cxn ang="0">
                  <a:pos x="148" y="0"/>
                </a:cxn>
                <a:cxn ang="0">
                  <a:pos x="164" y="16"/>
                </a:cxn>
                <a:cxn ang="0">
                  <a:pos x="160" y="34"/>
                </a:cxn>
                <a:cxn ang="0">
                  <a:pos x="158" y="42"/>
                </a:cxn>
                <a:cxn ang="0">
                  <a:pos x="154" y="70"/>
                </a:cxn>
                <a:cxn ang="0">
                  <a:pos x="152" y="98"/>
                </a:cxn>
                <a:cxn ang="0">
                  <a:pos x="138" y="124"/>
                </a:cxn>
                <a:cxn ang="0">
                  <a:pos x="126" y="134"/>
                </a:cxn>
                <a:cxn ang="0">
                  <a:pos x="120" y="160"/>
                </a:cxn>
                <a:cxn ang="0">
                  <a:pos x="112" y="188"/>
                </a:cxn>
                <a:cxn ang="0">
                  <a:pos x="100" y="200"/>
                </a:cxn>
                <a:cxn ang="0">
                  <a:pos x="86" y="216"/>
                </a:cxn>
                <a:cxn ang="0">
                  <a:pos x="80" y="224"/>
                </a:cxn>
                <a:cxn ang="0">
                  <a:pos x="74" y="214"/>
                </a:cxn>
                <a:cxn ang="0">
                  <a:pos x="66" y="214"/>
                </a:cxn>
                <a:cxn ang="0">
                  <a:pos x="60" y="216"/>
                </a:cxn>
                <a:cxn ang="0">
                  <a:pos x="52" y="218"/>
                </a:cxn>
                <a:cxn ang="0">
                  <a:pos x="40" y="210"/>
                </a:cxn>
                <a:cxn ang="0">
                  <a:pos x="34" y="212"/>
                </a:cxn>
                <a:cxn ang="0">
                  <a:pos x="28" y="214"/>
                </a:cxn>
                <a:cxn ang="0">
                  <a:pos x="24" y="220"/>
                </a:cxn>
                <a:cxn ang="0">
                  <a:pos x="16" y="216"/>
                </a:cxn>
                <a:cxn ang="0">
                  <a:pos x="2" y="200"/>
                </a:cxn>
                <a:cxn ang="0">
                  <a:pos x="0" y="196"/>
                </a:cxn>
                <a:cxn ang="0">
                  <a:pos x="12" y="188"/>
                </a:cxn>
                <a:cxn ang="0">
                  <a:pos x="14" y="194"/>
                </a:cxn>
                <a:cxn ang="0">
                  <a:pos x="18" y="188"/>
                </a:cxn>
                <a:cxn ang="0">
                  <a:pos x="12" y="168"/>
                </a:cxn>
                <a:cxn ang="0">
                  <a:pos x="12" y="164"/>
                </a:cxn>
                <a:cxn ang="0">
                  <a:pos x="16" y="162"/>
                </a:cxn>
                <a:cxn ang="0">
                  <a:pos x="22" y="162"/>
                </a:cxn>
                <a:cxn ang="0">
                  <a:pos x="28" y="160"/>
                </a:cxn>
                <a:cxn ang="0">
                  <a:pos x="30" y="148"/>
                </a:cxn>
                <a:cxn ang="0">
                  <a:pos x="32" y="150"/>
                </a:cxn>
                <a:cxn ang="0">
                  <a:pos x="38" y="160"/>
                </a:cxn>
                <a:cxn ang="0">
                  <a:pos x="42" y="158"/>
                </a:cxn>
                <a:cxn ang="0">
                  <a:pos x="52" y="158"/>
                </a:cxn>
                <a:cxn ang="0">
                  <a:pos x="58" y="158"/>
                </a:cxn>
                <a:cxn ang="0">
                  <a:pos x="68" y="164"/>
                </a:cxn>
                <a:cxn ang="0">
                  <a:pos x="72" y="152"/>
                </a:cxn>
                <a:cxn ang="0">
                  <a:pos x="80" y="142"/>
                </a:cxn>
                <a:cxn ang="0">
                  <a:pos x="78" y="134"/>
                </a:cxn>
                <a:cxn ang="0">
                  <a:pos x="78" y="126"/>
                </a:cxn>
                <a:cxn ang="0">
                  <a:pos x="80" y="118"/>
                </a:cxn>
                <a:cxn ang="0">
                  <a:pos x="78" y="114"/>
                </a:cxn>
                <a:cxn ang="0">
                  <a:pos x="74" y="108"/>
                </a:cxn>
                <a:cxn ang="0">
                  <a:pos x="68" y="96"/>
                </a:cxn>
                <a:cxn ang="0">
                  <a:pos x="76" y="96"/>
                </a:cxn>
                <a:cxn ang="0">
                  <a:pos x="74" y="88"/>
                </a:cxn>
                <a:cxn ang="0">
                  <a:pos x="82" y="82"/>
                </a:cxn>
                <a:cxn ang="0">
                  <a:pos x="82" y="74"/>
                </a:cxn>
                <a:cxn ang="0">
                  <a:pos x="82" y="64"/>
                </a:cxn>
                <a:cxn ang="0">
                  <a:pos x="68" y="62"/>
                </a:cxn>
                <a:cxn ang="0">
                  <a:pos x="58" y="62"/>
                </a:cxn>
                <a:cxn ang="0">
                  <a:pos x="62" y="44"/>
                </a:cxn>
              </a:cxnLst>
              <a:rect l="0" t="0" r="r" b="b"/>
              <a:pathLst>
                <a:path w="166" h="224">
                  <a:moveTo>
                    <a:pt x="62" y="44"/>
                  </a:moveTo>
                  <a:lnTo>
                    <a:pt x="62" y="44"/>
                  </a:lnTo>
                  <a:lnTo>
                    <a:pt x="70" y="44"/>
                  </a:lnTo>
                  <a:lnTo>
                    <a:pt x="76" y="44"/>
                  </a:lnTo>
                  <a:lnTo>
                    <a:pt x="80" y="46"/>
                  </a:lnTo>
                  <a:lnTo>
                    <a:pt x="86" y="46"/>
                  </a:lnTo>
                  <a:lnTo>
                    <a:pt x="86" y="46"/>
                  </a:lnTo>
                  <a:lnTo>
                    <a:pt x="92" y="46"/>
                  </a:lnTo>
                  <a:lnTo>
                    <a:pt x="100" y="46"/>
                  </a:lnTo>
                  <a:lnTo>
                    <a:pt x="100" y="46"/>
                  </a:lnTo>
                  <a:lnTo>
                    <a:pt x="106" y="48"/>
                  </a:lnTo>
                  <a:lnTo>
                    <a:pt x="110" y="50"/>
                  </a:lnTo>
                  <a:lnTo>
                    <a:pt x="112" y="48"/>
                  </a:lnTo>
                  <a:lnTo>
                    <a:pt x="112" y="46"/>
                  </a:lnTo>
                  <a:lnTo>
                    <a:pt x="110" y="32"/>
                  </a:lnTo>
                  <a:lnTo>
                    <a:pt x="110" y="32"/>
                  </a:lnTo>
                  <a:lnTo>
                    <a:pt x="116" y="26"/>
                  </a:lnTo>
                  <a:lnTo>
                    <a:pt x="120" y="20"/>
                  </a:lnTo>
                  <a:lnTo>
                    <a:pt x="122" y="10"/>
                  </a:lnTo>
                  <a:lnTo>
                    <a:pt x="124" y="2"/>
                  </a:lnTo>
                  <a:lnTo>
                    <a:pt x="126" y="0"/>
                  </a:lnTo>
                  <a:lnTo>
                    <a:pt x="128" y="0"/>
                  </a:lnTo>
                  <a:lnTo>
                    <a:pt x="128" y="0"/>
                  </a:lnTo>
                  <a:lnTo>
                    <a:pt x="148" y="0"/>
                  </a:lnTo>
                  <a:lnTo>
                    <a:pt x="166" y="0"/>
                  </a:lnTo>
                  <a:lnTo>
                    <a:pt x="166" y="0"/>
                  </a:lnTo>
                  <a:lnTo>
                    <a:pt x="164" y="16"/>
                  </a:lnTo>
                  <a:lnTo>
                    <a:pt x="160" y="24"/>
                  </a:lnTo>
                  <a:lnTo>
                    <a:pt x="158" y="28"/>
                  </a:lnTo>
                  <a:lnTo>
                    <a:pt x="160" y="34"/>
                  </a:lnTo>
                  <a:lnTo>
                    <a:pt x="160" y="34"/>
                  </a:lnTo>
                  <a:lnTo>
                    <a:pt x="160" y="38"/>
                  </a:lnTo>
                  <a:lnTo>
                    <a:pt x="158" y="42"/>
                  </a:lnTo>
                  <a:lnTo>
                    <a:pt x="156" y="50"/>
                  </a:lnTo>
                  <a:lnTo>
                    <a:pt x="154" y="70"/>
                  </a:lnTo>
                  <a:lnTo>
                    <a:pt x="154" y="70"/>
                  </a:lnTo>
                  <a:lnTo>
                    <a:pt x="152" y="84"/>
                  </a:lnTo>
                  <a:lnTo>
                    <a:pt x="154" y="92"/>
                  </a:lnTo>
                  <a:lnTo>
                    <a:pt x="152" y="98"/>
                  </a:lnTo>
                  <a:lnTo>
                    <a:pt x="148" y="108"/>
                  </a:lnTo>
                  <a:lnTo>
                    <a:pt x="148" y="108"/>
                  </a:lnTo>
                  <a:lnTo>
                    <a:pt x="138" y="124"/>
                  </a:lnTo>
                  <a:lnTo>
                    <a:pt x="134" y="128"/>
                  </a:lnTo>
                  <a:lnTo>
                    <a:pt x="130" y="130"/>
                  </a:lnTo>
                  <a:lnTo>
                    <a:pt x="126" y="134"/>
                  </a:lnTo>
                  <a:lnTo>
                    <a:pt x="126" y="134"/>
                  </a:lnTo>
                  <a:lnTo>
                    <a:pt x="122" y="146"/>
                  </a:lnTo>
                  <a:lnTo>
                    <a:pt x="120" y="160"/>
                  </a:lnTo>
                  <a:lnTo>
                    <a:pt x="118" y="174"/>
                  </a:lnTo>
                  <a:lnTo>
                    <a:pt x="112" y="188"/>
                  </a:lnTo>
                  <a:lnTo>
                    <a:pt x="112" y="188"/>
                  </a:lnTo>
                  <a:lnTo>
                    <a:pt x="108" y="194"/>
                  </a:lnTo>
                  <a:lnTo>
                    <a:pt x="106" y="198"/>
                  </a:lnTo>
                  <a:lnTo>
                    <a:pt x="100" y="200"/>
                  </a:lnTo>
                  <a:lnTo>
                    <a:pt x="94" y="204"/>
                  </a:lnTo>
                  <a:lnTo>
                    <a:pt x="90" y="208"/>
                  </a:lnTo>
                  <a:lnTo>
                    <a:pt x="86" y="216"/>
                  </a:lnTo>
                  <a:lnTo>
                    <a:pt x="86" y="216"/>
                  </a:lnTo>
                  <a:lnTo>
                    <a:pt x="80" y="224"/>
                  </a:lnTo>
                  <a:lnTo>
                    <a:pt x="80" y="224"/>
                  </a:lnTo>
                  <a:lnTo>
                    <a:pt x="78" y="222"/>
                  </a:lnTo>
                  <a:lnTo>
                    <a:pt x="76" y="216"/>
                  </a:lnTo>
                  <a:lnTo>
                    <a:pt x="74" y="214"/>
                  </a:lnTo>
                  <a:lnTo>
                    <a:pt x="70" y="214"/>
                  </a:lnTo>
                  <a:lnTo>
                    <a:pt x="70" y="214"/>
                  </a:lnTo>
                  <a:lnTo>
                    <a:pt x="66" y="214"/>
                  </a:lnTo>
                  <a:lnTo>
                    <a:pt x="66" y="212"/>
                  </a:lnTo>
                  <a:lnTo>
                    <a:pt x="64" y="212"/>
                  </a:lnTo>
                  <a:lnTo>
                    <a:pt x="60" y="216"/>
                  </a:lnTo>
                  <a:lnTo>
                    <a:pt x="60" y="216"/>
                  </a:lnTo>
                  <a:lnTo>
                    <a:pt x="56" y="218"/>
                  </a:lnTo>
                  <a:lnTo>
                    <a:pt x="52" y="218"/>
                  </a:lnTo>
                  <a:lnTo>
                    <a:pt x="44" y="212"/>
                  </a:lnTo>
                  <a:lnTo>
                    <a:pt x="44" y="212"/>
                  </a:lnTo>
                  <a:lnTo>
                    <a:pt x="40" y="210"/>
                  </a:lnTo>
                  <a:lnTo>
                    <a:pt x="36" y="210"/>
                  </a:lnTo>
                  <a:lnTo>
                    <a:pt x="34" y="212"/>
                  </a:lnTo>
                  <a:lnTo>
                    <a:pt x="34" y="212"/>
                  </a:lnTo>
                  <a:lnTo>
                    <a:pt x="32" y="214"/>
                  </a:lnTo>
                  <a:lnTo>
                    <a:pt x="30" y="214"/>
                  </a:lnTo>
                  <a:lnTo>
                    <a:pt x="28" y="214"/>
                  </a:lnTo>
                  <a:lnTo>
                    <a:pt x="26" y="218"/>
                  </a:lnTo>
                  <a:lnTo>
                    <a:pt x="26" y="218"/>
                  </a:lnTo>
                  <a:lnTo>
                    <a:pt x="24" y="220"/>
                  </a:lnTo>
                  <a:lnTo>
                    <a:pt x="24" y="218"/>
                  </a:lnTo>
                  <a:lnTo>
                    <a:pt x="22" y="216"/>
                  </a:lnTo>
                  <a:lnTo>
                    <a:pt x="16" y="216"/>
                  </a:lnTo>
                  <a:lnTo>
                    <a:pt x="16" y="216"/>
                  </a:lnTo>
                  <a:lnTo>
                    <a:pt x="8" y="206"/>
                  </a:lnTo>
                  <a:lnTo>
                    <a:pt x="2" y="200"/>
                  </a:lnTo>
                  <a:lnTo>
                    <a:pt x="0" y="198"/>
                  </a:lnTo>
                  <a:lnTo>
                    <a:pt x="0" y="196"/>
                  </a:lnTo>
                  <a:lnTo>
                    <a:pt x="0" y="196"/>
                  </a:lnTo>
                  <a:lnTo>
                    <a:pt x="6" y="190"/>
                  </a:lnTo>
                  <a:lnTo>
                    <a:pt x="8" y="188"/>
                  </a:lnTo>
                  <a:lnTo>
                    <a:pt x="12" y="188"/>
                  </a:lnTo>
                  <a:lnTo>
                    <a:pt x="12" y="190"/>
                  </a:lnTo>
                  <a:lnTo>
                    <a:pt x="14" y="194"/>
                  </a:lnTo>
                  <a:lnTo>
                    <a:pt x="14" y="194"/>
                  </a:lnTo>
                  <a:lnTo>
                    <a:pt x="16" y="192"/>
                  </a:lnTo>
                  <a:lnTo>
                    <a:pt x="16" y="192"/>
                  </a:lnTo>
                  <a:lnTo>
                    <a:pt x="18" y="188"/>
                  </a:lnTo>
                  <a:lnTo>
                    <a:pt x="18" y="182"/>
                  </a:lnTo>
                  <a:lnTo>
                    <a:pt x="14" y="176"/>
                  </a:lnTo>
                  <a:lnTo>
                    <a:pt x="12" y="168"/>
                  </a:lnTo>
                  <a:lnTo>
                    <a:pt x="10" y="162"/>
                  </a:lnTo>
                  <a:lnTo>
                    <a:pt x="10" y="162"/>
                  </a:lnTo>
                  <a:lnTo>
                    <a:pt x="12" y="164"/>
                  </a:lnTo>
                  <a:lnTo>
                    <a:pt x="14" y="164"/>
                  </a:lnTo>
                  <a:lnTo>
                    <a:pt x="16" y="162"/>
                  </a:lnTo>
                  <a:lnTo>
                    <a:pt x="16" y="162"/>
                  </a:lnTo>
                  <a:lnTo>
                    <a:pt x="20" y="160"/>
                  </a:lnTo>
                  <a:lnTo>
                    <a:pt x="22" y="162"/>
                  </a:lnTo>
                  <a:lnTo>
                    <a:pt x="22" y="162"/>
                  </a:lnTo>
                  <a:lnTo>
                    <a:pt x="24" y="162"/>
                  </a:lnTo>
                  <a:lnTo>
                    <a:pt x="24" y="162"/>
                  </a:lnTo>
                  <a:lnTo>
                    <a:pt x="28" y="160"/>
                  </a:lnTo>
                  <a:lnTo>
                    <a:pt x="28" y="156"/>
                  </a:lnTo>
                  <a:lnTo>
                    <a:pt x="26" y="150"/>
                  </a:lnTo>
                  <a:lnTo>
                    <a:pt x="30" y="148"/>
                  </a:lnTo>
                  <a:lnTo>
                    <a:pt x="30" y="148"/>
                  </a:lnTo>
                  <a:lnTo>
                    <a:pt x="30" y="148"/>
                  </a:lnTo>
                  <a:lnTo>
                    <a:pt x="32" y="150"/>
                  </a:lnTo>
                  <a:lnTo>
                    <a:pt x="34" y="154"/>
                  </a:lnTo>
                  <a:lnTo>
                    <a:pt x="38" y="158"/>
                  </a:lnTo>
                  <a:lnTo>
                    <a:pt x="38" y="160"/>
                  </a:lnTo>
                  <a:lnTo>
                    <a:pt x="40" y="160"/>
                  </a:lnTo>
                  <a:lnTo>
                    <a:pt x="40" y="160"/>
                  </a:lnTo>
                  <a:lnTo>
                    <a:pt x="42" y="158"/>
                  </a:lnTo>
                  <a:lnTo>
                    <a:pt x="46" y="158"/>
                  </a:lnTo>
                  <a:lnTo>
                    <a:pt x="50" y="158"/>
                  </a:lnTo>
                  <a:lnTo>
                    <a:pt x="52" y="158"/>
                  </a:lnTo>
                  <a:lnTo>
                    <a:pt x="52" y="158"/>
                  </a:lnTo>
                  <a:lnTo>
                    <a:pt x="56" y="156"/>
                  </a:lnTo>
                  <a:lnTo>
                    <a:pt x="58" y="158"/>
                  </a:lnTo>
                  <a:lnTo>
                    <a:pt x="66" y="164"/>
                  </a:lnTo>
                  <a:lnTo>
                    <a:pt x="66" y="164"/>
                  </a:lnTo>
                  <a:lnTo>
                    <a:pt x="68" y="164"/>
                  </a:lnTo>
                  <a:lnTo>
                    <a:pt x="70" y="162"/>
                  </a:lnTo>
                  <a:lnTo>
                    <a:pt x="72" y="152"/>
                  </a:lnTo>
                  <a:lnTo>
                    <a:pt x="72" y="152"/>
                  </a:lnTo>
                  <a:lnTo>
                    <a:pt x="74" y="146"/>
                  </a:lnTo>
                  <a:lnTo>
                    <a:pt x="78" y="144"/>
                  </a:lnTo>
                  <a:lnTo>
                    <a:pt x="80" y="142"/>
                  </a:lnTo>
                  <a:lnTo>
                    <a:pt x="80" y="138"/>
                  </a:lnTo>
                  <a:lnTo>
                    <a:pt x="80" y="138"/>
                  </a:lnTo>
                  <a:lnTo>
                    <a:pt x="78" y="134"/>
                  </a:lnTo>
                  <a:lnTo>
                    <a:pt x="80" y="132"/>
                  </a:lnTo>
                  <a:lnTo>
                    <a:pt x="80" y="130"/>
                  </a:lnTo>
                  <a:lnTo>
                    <a:pt x="78" y="126"/>
                  </a:lnTo>
                  <a:lnTo>
                    <a:pt x="78" y="126"/>
                  </a:lnTo>
                  <a:lnTo>
                    <a:pt x="78" y="120"/>
                  </a:lnTo>
                  <a:lnTo>
                    <a:pt x="80" y="118"/>
                  </a:lnTo>
                  <a:lnTo>
                    <a:pt x="80" y="116"/>
                  </a:lnTo>
                  <a:lnTo>
                    <a:pt x="78" y="114"/>
                  </a:lnTo>
                  <a:lnTo>
                    <a:pt x="78" y="114"/>
                  </a:lnTo>
                  <a:lnTo>
                    <a:pt x="76" y="112"/>
                  </a:lnTo>
                  <a:lnTo>
                    <a:pt x="76" y="110"/>
                  </a:lnTo>
                  <a:lnTo>
                    <a:pt x="74" y="108"/>
                  </a:lnTo>
                  <a:lnTo>
                    <a:pt x="72" y="102"/>
                  </a:lnTo>
                  <a:lnTo>
                    <a:pt x="72" y="102"/>
                  </a:lnTo>
                  <a:lnTo>
                    <a:pt x="68" y="96"/>
                  </a:lnTo>
                  <a:lnTo>
                    <a:pt x="72" y="98"/>
                  </a:lnTo>
                  <a:lnTo>
                    <a:pt x="76" y="98"/>
                  </a:lnTo>
                  <a:lnTo>
                    <a:pt x="76" y="96"/>
                  </a:lnTo>
                  <a:lnTo>
                    <a:pt x="74" y="92"/>
                  </a:lnTo>
                  <a:lnTo>
                    <a:pt x="74" y="92"/>
                  </a:lnTo>
                  <a:lnTo>
                    <a:pt x="74" y="88"/>
                  </a:lnTo>
                  <a:lnTo>
                    <a:pt x="74" y="86"/>
                  </a:lnTo>
                  <a:lnTo>
                    <a:pt x="78" y="84"/>
                  </a:lnTo>
                  <a:lnTo>
                    <a:pt x="82" y="82"/>
                  </a:lnTo>
                  <a:lnTo>
                    <a:pt x="82" y="78"/>
                  </a:lnTo>
                  <a:lnTo>
                    <a:pt x="82" y="74"/>
                  </a:lnTo>
                  <a:lnTo>
                    <a:pt x="82" y="74"/>
                  </a:lnTo>
                  <a:lnTo>
                    <a:pt x="82" y="70"/>
                  </a:lnTo>
                  <a:lnTo>
                    <a:pt x="82" y="66"/>
                  </a:lnTo>
                  <a:lnTo>
                    <a:pt x="82" y="64"/>
                  </a:lnTo>
                  <a:lnTo>
                    <a:pt x="78" y="62"/>
                  </a:lnTo>
                  <a:lnTo>
                    <a:pt x="78" y="62"/>
                  </a:lnTo>
                  <a:lnTo>
                    <a:pt x="68" y="62"/>
                  </a:lnTo>
                  <a:lnTo>
                    <a:pt x="60" y="62"/>
                  </a:lnTo>
                  <a:lnTo>
                    <a:pt x="60" y="62"/>
                  </a:lnTo>
                  <a:lnTo>
                    <a:pt x="58" y="62"/>
                  </a:lnTo>
                  <a:lnTo>
                    <a:pt x="56" y="60"/>
                  </a:lnTo>
                  <a:lnTo>
                    <a:pt x="56" y="54"/>
                  </a:lnTo>
                  <a:lnTo>
                    <a:pt x="62" y="44"/>
                  </a:lnTo>
                  <a:lnTo>
                    <a:pt x="62" y="44"/>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 name="Malawi"/>
            <p:cNvSpPr>
              <a:spLocks/>
            </p:cNvSpPr>
            <p:nvPr/>
          </p:nvSpPr>
          <p:spPr bwMode="auto">
            <a:xfrm>
              <a:off x="5049538" y="3948906"/>
              <a:ext cx="92604" cy="251354"/>
            </a:xfrm>
            <a:custGeom>
              <a:avLst/>
              <a:gdLst/>
              <a:ahLst/>
              <a:cxnLst>
                <a:cxn ang="0">
                  <a:pos x="6" y="116"/>
                </a:cxn>
                <a:cxn ang="0">
                  <a:pos x="0" y="114"/>
                </a:cxn>
                <a:cxn ang="0">
                  <a:pos x="0" y="110"/>
                </a:cxn>
                <a:cxn ang="0">
                  <a:pos x="4" y="98"/>
                </a:cxn>
                <a:cxn ang="0">
                  <a:pos x="16" y="84"/>
                </a:cxn>
                <a:cxn ang="0">
                  <a:pos x="22" y="78"/>
                </a:cxn>
                <a:cxn ang="0">
                  <a:pos x="20" y="76"/>
                </a:cxn>
                <a:cxn ang="0">
                  <a:pos x="16" y="56"/>
                </a:cxn>
                <a:cxn ang="0">
                  <a:pos x="20" y="38"/>
                </a:cxn>
                <a:cxn ang="0">
                  <a:pos x="26" y="32"/>
                </a:cxn>
                <a:cxn ang="0">
                  <a:pos x="22" y="20"/>
                </a:cxn>
                <a:cxn ang="0">
                  <a:pos x="24" y="14"/>
                </a:cxn>
                <a:cxn ang="0">
                  <a:pos x="18" y="2"/>
                </a:cxn>
                <a:cxn ang="0">
                  <a:pos x="36" y="6"/>
                </a:cxn>
                <a:cxn ang="0">
                  <a:pos x="36" y="12"/>
                </a:cxn>
                <a:cxn ang="0">
                  <a:pos x="40" y="26"/>
                </a:cxn>
                <a:cxn ang="0">
                  <a:pos x="40" y="44"/>
                </a:cxn>
                <a:cxn ang="0">
                  <a:pos x="44" y="50"/>
                </a:cxn>
                <a:cxn ang="0">
                  <a:pos x="36" y="66"/>
                </a:cxn>
                <a:cxn ang="0">
                  <a:pos x="36" y="72"/>
                </a:cxn>
                <a:cxn ang="0">
                  <a:pos x="38" y="84"/>
                </a:cxn>
                <a:cxn ang="0">
                  <a:pos x="38" y="92"/>
                </a:cxn>
                <a:cxn ang="0">
                  <a:pos x="36" y="106"/>
                </a:cxn>
                <a:cxn ang="0">
                  <a:pos x="42" y="110"/>
                </a:cxn>
                <a:cxn ang="0">
                  <a:pos x="44" y="120"/>
                </a:cxn>
                <a:cxn ang="0">
                  <a:pos x="52" y="120"/>
                </a:cxn>
                <a:cxn ang="0">
                  <a:pos x="54" y="120"/>
                </a:cxn>
                <a:cxn ang="0">
                  <a:pos x="58" y="114"/>
                </a:cxn>
                <a:cxn ang="0">
                  <a:pos x="70" y="126"/>
                </a:cxn>
                <a:cxn ang="0">
                  <a:pos x="68" y="140"/>
                </a:cxn>
                <a:cxn ang="0">
                  <a:pos x="68" y="154"/>
                </a:cxn>
                <a:cxn ang="0">
                  <a:pos x="62" y="164"/>
                </a:cxn>
                <a:cxn ang="0">
                  <a:pos x="58" y="172"/>
                </a:cxn>
                <a:cxn ang="0">
                  <a:pos x="58" y="188"/>
                </a:cxn>
                <a:cxn ang="0">
                  <a:pos x="54" y="190"/>
                </a:cxn>
                <a:cxn ang="0">
                  <a:pos x="46" y="180"/>
                </a:cxn>
                <a:cxn ang="0">
                  <a:pos x="40" y="176"/>
                </a:cxn>
                <a:cxn ang="0">
                  <a:pos x="34" y="152"/>
                </a:cxn>
                <a:cxn ang="0">
                  <a:pos x="38" y="148"/>
                </a:cxn>
                <a:cxn ang="0">
                  <a:pos x="36" y="128"/>
                </a:cxn>
                <a:cxn ang="0">
                  <a:pos x="30" y="130"/>
                </a:cxn>
                <a:cxn ang="0">
                  <a:pos x="22" y="132"/>
                </a:cxn>
                <a:cxn ang="0">
                  <a:pos x="14" y="122"/>
                </a:cxn>
              </a:cxnLst>
              <a:rect l="0" t="0" r="r" b="b"/>
              <a:pathLst>
                <a:path w="70" h="190">
                  <a:moveTo>
                    <a:pt x="10" y="116"/>
                  </a:moveTo>
                  <a:lnTo>
                    <a:pt x="10" y="116"/>
                  </a:lnTo>
                  <a:lnTo>
                    <a:pt x="6" y="116"/>
                  </a:lnTo>
                  <a:lnTo>
                    <a:pt x="4" y="116"/>
                  </a:lnTo>
                  <a:lnTo>
                    <a:pt x="2" y="116"/>
                  </a:lnTo>
                  <a:lnTo>
                    <a:pt x="0" y="114"/>
                  </a:lnTo>
                  <a:lnTo>
                    <a:pt x="0" y="114"/>
                  </a:lnTo>
                  <a:lnTo>
                    <a:pt x="0" y="112"/>
                  </a:lnTo>
                  <a:lnTo>
                    <a:pt x="0" y="110"/>
                  </a:lnTo>
                  <a:lnTo>
                    <a:pt x="2" y="106"/>
                  </a:lnTo>
                  <a:lnTo>
                    <a:pt x="4" y="98"/>
                  </a:lnTo>
                  <a:lnTo>
                    <a:pt x="4" y="98"/>
                  </a:lnTo>
                  <a:lnTo>
                    <a:pt x="6" y="92"/>
                  </a:lnTo>
                  <a:lnTo>
                    <a:pt x="8" y="88"/>
                  </a:lnTo>
                  <a:lnTo>
                    <a:pt x="16" y="84"/>
                  </a:lnTo>
                  <a:lnTo>
                    <a:pt x="16" y="84"/>
                  </a:lnTo>
                  <a:lnTo>
                    <a:pt x="20" y="80"/>
                  </a:lnTo>
                  <a:lnTo>
                    <a:pt x="22" y="78"/>
                  </a:lnTo>
                  <a:lnTo>
                    <a:pt x="22" y="76"/>
                  </a:lnTo>
                  <a:lnTo>
                    <a:pt x="20" y="76"/>
                  </a:lnTo>
                  <a:lnTo>
                    <a:pt x="20" y="76"/>
                  </a:lnTo>
                  <a:lnTo>
                    <a:pt x="18" y="76"/>
                  </a:lnTo>
                  <a:lnTo>
                    <a:pt x="18" y="72"/>
                  </a:lnTo>
                  <a:lnTo>
                    <a:pt x="16" y="56"/>
                  </a:lnTo>
                  <a:lnTo>
                    <a:pt x="16" y="56"/>
                  </a:lnTo>
                  <a:lnTo>
                    <a:pt x="18" y="42"/>
                  </a:lnTo>
                  <a:lnTo>
                    <a:pt x="20" y="38"/>
                  </a:lnTo>
                  <a:lnTo>
                    <a:pt x="24" y="36"/>
                  </a:lnTo>
                  <a:lnTo>
                    <a:pt x="24" y="36"/>
                  </a:lnTo>
                  <a:lnTo>
                    <a:pt x="26" y="32"/>
                  </a:lnTo>
                  <a:lnTo>
                    <a:pt x="24" y="30"/>
                  </a:lnTo>
                  <a:lnTo>
                    <a:pt x="22" y="26"/>
                  </a:lnTo>
                  <a:lnTo>
                    <a:pt x="22" y="20"/>
                  </a:lnTo>
                  <a:lnTo>
                    <a:pt x="22" y="20"/>
                  </a:lnTo>
                  <a:lnTo>
                    <a:pt x="24" y="16"/>
                  </a:lnTo>
                  <a:lnTo>
                    <a:pt x="24" y="14"/>
                  </a:lnTo>
                  <a:lnTo>
                    <a:pt x="20" y="10"/>
                  </a:lnTo>
                  <a:lnTo>
                    <a:pt x="18" y="6"/>
                  </a:lnTo>
                  <a:lnTo>
                    <a:pt x="18" y="2"/>
                  </a:lnTo>
                  <a:lnTo>
                    <a:pt x="20" y="0"/>
                  </a:lnTo>
                  <a:lnTo>
                    <a:pt x="20" y="0"/>
                  </a:lnTo>
                  <a:lnTo>
                    <a:pt x="36" y="6"/>
                  </a:lnTo>
                  <a:lnTo>
                    <a:pt x="36" y="6"/>
                  </a:lnTo>
                  <a:lnTo>
                    <a:pt x="36" y="8"/>
                  </a:lnTo>
                  <a:lnTo>
                    <a:pt x="36" y="12"/>
                  </a:lnTo>
                  <a:lnTo>
                    <a:pt x="40" y="20"/>
                  </a:lnTo>
                  <a:lnTo>
                    <a:pt x="40" y="20"/>
                  </a:lnTo>
                  <a:lnTo>
                    <a:pt x="40" y="26"/>
                  </a:lnTo>
                  <a:lnTo>
                    <a:pt x="40" y="32"/>
                  </a:lnTo>
                  <a:lnTo>
                    <a:pt x="38" y="40"/>
                  </a:lnTo>
                  <a:lnTo>
                    <a:pt x="40" y="44"/>
                  </a:lnTo>
                  <a:lnTo>
                    <a:pt x="42" y="46"/>
                  </a:lnTo>
                  <a:lnTo>
                    <a:pt x="42" y="46"/>
                  </a:lnTo>
                  <a:lnTo>
                    <a:pt x="44" y="50"/>
                  </a:lnTo>
                  <a:lnTo>
                    <a:pt x="44" y="52"/>
                  </a:lnTo>
                  <a:lnTo>
                    <a:pt x="40" y="60"/>
                  </a:lnTo>
                  <a:lnTo>
                    <a:pt x="36" y="66"/>
                  </a:lnTo>
                  <a:lnTo>
                    <a:pt x="34" y="70"/>
                  </a:lnTo>
                  <a:lnTo>
                    <a:pt x="36" y="72"/>
                  </a:lnTo>
                  <a:lnTo>
                    <a:pt x="36" y="72"/>
                  </a:lnTo>
                  <a:lnTo>
                    <a:pt x="40" y="76"/>
                  </a:lnTo>
                  <a:lnTo>
                    <a:pt x="40" y="80"/>
                  </a:lnTo>
                  <a:lnTo>
                    <a:pt x="38" y="84"/>
                  </a:lnTo>
                  <a:lnTo>
                    <a:pt x="38" y="88"/>
                  </a:lnTo>
                  <a:lnTo>
                    <a:pt x="38" y="88"/>
                  </a:lnTo>
                  <a:lnTo>
                    <a:pt x="38" y="92"/>
                  </a:lnTo>
                  <a:lnTo>
                    <a:pt x="36" y="98"/>
                  </a:lnTo>
                  <a:lnTo>
                    <a:pt x="36" y="102"/>
                  </a:lnTo>
                  <a:lnTo>
                    <a:pt x="36" y="106"/>
                  </a:lnTo>
                  <a:lnTo>
                    <a:pt x="38" y="108"/>
                  </a:lnTo>
                  <a:lnTo>
                    <a:pt x="38" y="108"/>
                  </a:lnTo>
                  <a:lnTo>
                    <a:pt x="42" y="110"/>
                  </a:lnTo>
                  <a:lnTo>
                    <a:pt x="40" y="112"/>
                  </a:lnTo>
                  <a:lnTo>
                    <a:pt x="40" y="114"/>
                  </a:lnTo>
                  <a:lnTo>
                    <a:pt x="44" y="120"/>
                  </a:lnTo>
                  <a:lnTo>
                    <a:pt x="44" y="120"/>
                  </a:lnTo>
                  <a:lnTo>
                    <a:pt x="50" y="122"/>
                  </a:lnTo>
                  <a:lnTo>
                    <a:pt x="52" y="120"/>
                  </a:lnTo>
                  <a:lnTo>
                    <a:pt x="54" y="120"/>
                  </a:lnTo>
                  <a:lnTo>
                    <a:pt x="54" y="120"/>
                  </a:lnTo>
                  <a:lnTo>
                    <a:pt x="54" y="120"/>
                  </a:lnTo>
                  <a:lnTo>
                    <a:pt x="58" y="126"/>
                  </a:lnTo>
                  <a:lnTo>
                    <a:pt x="58" y="122"/>
                  </a:lnTo>
                  <a:lnTo>
                    <a:pt x="58" y="114"/>
                  </a:lnTo>
                  <a:lnTo>
                    <a:pt x="58" y="114"/>
                  </a:lnTo>
                  <a:lnTo>
                    <a:pt x="66" y="122"/>
                  </a:lnTo>
                  <a:lnTo>
                    <a:pt x="70" y="126"/>
                  </a:lnTo>
                  <a:lnTo>
                    <a:pt x="70" y="132"/>
                  </a:lnTo>
                  <a:lnTo>
                    <a:pt x="68" y="140"/>
                  </a:lnTo>
                  <a:lnTo>
                    <a:pt x="68" y="140"/>
                  </a:lnTo>
                  <a:lnTo>
                    <a:pt x="66" y="144"/>
                  </a:lnTo>
                  <a:lnTo>
                    <a:pt x="66" y="148"/>
                  </a:lnTo>
                  <a:lnTo>
                    <a:pt x="68" y="154"/>
                  </a:lnTo>
                  <a:lnTo>
                    <a:pt x="68" y="158"/>
                  </a:lnTo>
                  <a:lnTo>
                    <a:pt x="66" y="162"/>
                  </a:lnTo>
                  <a:lnTo>
                    <a:pt x="62" y="164"/>
                  </a:lnTo>
                  <a:lnTo>
                    <a:pt x="62" y="164"/>
                  </a:lnTo>
                  <a:lnTo>
                    <a:pt x="60" y="168"/>
                  </a:lnTo>
                  <a:lnTo>
                    <a:pt x="58" y="172"/>
                  </a:lnTo>
                  <a:lnTo>
                    <a:pt x="56" y="180"/>
                  </a:lnTo>
                  <a:lnTo>
                    <a:pt x="58" y="186"/>
                  </a:lnTo>
                  <a:lnTo>
                    <a:pt x="58" y="188"/>
                  </a:lnTo>
                  <a:lnTo>
                    <a:pt x="56" y="190"/>
                  </a:lnTo>
                  <a:lnTo>
                    <a:pt x="56" y="190"/>
                  </a:lnTo>
                  <a:lnTo>
                    <a:pt x="54" y="190"/>
                  </a:lnTo>
                  <a:lnTo>
                    <a:pt x="52" y="188"/>
                  </a:lnTo>
                  <a:lnTo>
                    <a:pt x="50" y="184"/>
                  </a:lnTo>
                  <a:lnTo>
                    <a:pt x="46" y="180"/>
                  </a:lnTo>
                  <a:lnTo>
                    <a:pt x="46" y="180"/>
                  </a:lnTo>
                  <a:lnTo>
                    <a:pt x="42" y="180"/>
                  </a:lnTo>
                  <a:lnTo>
                    <a:pt x="40" y="176"/>
                  </a:lnTo>
                  <a:lnTo>
                    <a:pt x="34" y="164"/>
                  </a:lnTo>
                  <a:lnTo>
                    <a:pt x="32" y="154"/>
                  </a:lnTo>
                  <a:lnTo>
                    <a:pt x="34" y="152"/>
                  </a:lnTo>
                  <a:lnTo>
                    <a:pt x="36" y="150"/>
                  </a:lnTo>
                  <a:lnTo>
                    <a:pt x="36" y="150"/>
                  </a:lnTo>
                  <a:lnTo>
                    <a:pt x="38" y="148"/>
                  </a:lnTo>
                  <a:lnTo>
                    <a:pt x="38" y="140"/>
                  </a:lnTo>
                  <a:lnTo>
                    <a:pt x="38" y="132"/>
                  </a:lnTo>
                  <a:lnTo>
                    <a:pt x="36" y="128"/>
                  </a:lnTo>
                  <a:lnTo>
                    <a:pt x="36" y="128"/>
                  </a:lnTo>
                  <a:lnTo>
                    <a:pt x="34" y="128"/>
                  </a:lnTo>
                  <a:lnTo>
                    <a:pt x="30" y="130"/>
                  </a:lnTo>
                  <a:lnTo>
                    <a:pt x="26" y="132"/>
                  </a:lnTo>
                  <a:lnTo>
                    <a:pt x="22" y="132"/>
                  </a:lnTo>
                  <a:lnTo>
                    <a:pt x="22" y="132"/>
                  </a:lnTo>
                  <a:lnTo>
                    <a:pt x="20" y="130"/>
                  </a:lnTo>
                  <a:lnTo>
                    <a:pt x="18" y="126"/>
                  </a:lnTo>
                  <a:lnTo>
                    <a:pt x="14" y="122"/>
                  </a:lnTo>
                  <a:lnTo>
                    <a:pt x="10" y="116"/>
                  </a:lnTo>
                  <a:lnTo>
                    <a:pt x="10" y="116"/>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 name="Zimbabwe"/>
            <p:cNvSpPr>
              <a:spLocks/>
            </p:cNvSpPr>
            <p:nvPr/>
          </p:nvSpPr>
          <p:spPr bwMode="auto">
            <a:xfrm>
              <a:off x="4832580" y="4152636"/>
              <a:ext cx="222250" cy="227542"/>
            </a:xfrm>
            <a:custGeom>
              <a:avLst/>
              <a:gdLst/>
              <a:ahLst/>
              <a:cxnLst>
                <a:cxn ang="0">
                  <a:pos x="84" y="168"/>
                </a:cxn>
                <a:cxn ang="0">
                  <a:pos x="94" y="166"/>
                </a:cxn>
                <a:cxn ang="0">
                  <a:pos x="108" y="170"/>
                </a:cxn>
                <a:cxn ang="0">
                  <a:pos x="114" y="170"/>
                </a:cxn>
                <a:cxn ang="0">
                  <a:pos x="126" y="172"/>
                </a:cxn>
                <a:cxn ang="0">
                  <a:pos x="128" y="172"/>
                </a:cxn>
                <a:cxn ang="0">
                  <a:pos x="142" y="146"/>
                </a:cxn>
                <a:cxn ang="0">
                  <a:pos x="142" y="142"/>
                </a:cxn>
                <a:cxn ang="0">
                  <a:pos x="142" y="138"/>
                </a:cxn>
                <a:cxn ang="0">
                  <a:pos x="142" y="134"/>
                </a:cxn>
                <a:cxn ang="0">
                  <a:pos x="146" y="134"/>
                </a:cxn>
                <a:cxn ang="0">
                  <a:pos x="150" y="126"/>
                </a:cxn>
                <a:cxn ang="0">
                  <a:pos x="160" y="116"/>
                </a:cxn>
                <a:cxn ang="0">
                  <a:pos x="160" y="110"/>
                </a:cxn>
                <a:cxn ang="0">
                  <a:pos x="158" y="106"/>
                </a:cxn>
                <a:cxn ang="0">
                  <a:pos x="158" y="102"/>
                </a:cxn>
                <a:cxn ang="0">
                  <a:pos x="152" y="96"/>
                </a:cxn>
                <a:cxn ang="0">
                  <a:pos x="162" y="80"/>
                </a:cxn>
                <a:cxn ang="0">
                  <a:pos x="164" y="74"/>
                </a:cxn>
                <a:cxn ang="0">
                  <a:pos x="168" y="70"/>
                </a:cxn>
                <a:cxn ang="0">
                  <a:pos x="164" y="58"/>
                </a:cxn>
                <a:cxn ang="0">
                  <a:pos x="164" y="52"/>
                </a:cxn>
                <a:cxn ang="0">
                  <a:pos x="166" y="40"/>
                </a:cxn>
                <a:cxn ang="0">
                  <a:pos x="164" y="32"/>
                </a:cxn>
                <a:cxn ang="0">
                  <a:pos x="158" y="24"/>
                </a:cxn>
                <a:cxn ang="0">
                  <a:pos x="150" y="24"/>
                </a:cxn>
                <a:cxn ang="0">
                  <a:pos x="136" y="18"/>
                </a:cxn>
                <a:cxn ang="0">
                  <a:pos x="122" y="12"/>
                </a:cxn>
                <a:cxn ang="0">
                  <a:pos x="116" y="12"/>
                </a:cxn>
                <a:cxn ang="0">
                  <a:pos x="110" y="0"/>
                </a:cxn>
                <a:cxn ang="0">
                  <a:pos x="96" y="4"/>
                </a:cxn>
                <a:cxn ang="0">
                  <a:pos x="94" y="4"/>
                </a:cxn>
                <a:cxn ang="0">
                  <a:pos x="94" y="6"/>
                </a:cxn>
                <a:cxn ang="0">
                  <a:pos x="86" y="10"/>
                </a:cxn>
                <a:cxn ang="0">
                  <a:pos x="72" y="20"/>
                </a:cxn>
                <a:cxn ang="0">
                  <a:pos x="64" y="34"/>
                </a:cxn>
                <a:cxn ang="0">
                  <a:pos x="54" y="50"/>
                </a:cxn>
                <a:cxn ang="0">
                  <a:pos x="50" y="52"/>
                </a:cxn>
                <a:cxn ang="0">
                  <a:pos x="40" y="54"/>
                </a:cxn>
                <a:cxn ang="0">
                  <a:pos x="34" y="54"/>
                </a:cxn>
                <a:cxn ang="0">
                  <a:pos x="26" y="54"/>
                </a:cxn>
                <a:cxn ang="0">
                  <a:pos x="0" y="54"/>
                </a:cxn>
                <a:cxn ang="0">
                  <a:pos x="4" y="66"/>
                </a:cxn>
                <a:cxn ang="0">
                  <a:pos x="10" y="72"/>
                </a:cxn>
                <a:cxn ang="0">
                  <a:pos x="12" y="82"/>
                </a:cxn>
                <a:cxn ang="0">
                  <a:pos x="18" y="98"/>
                </a:cxn>
                <a:cxn ang="0">
                  <a:pos x="32" y="112"/>
                </a:cxn>
                <a:cxn ang="0">
                  <a:pos x="42" y="126"/>
                </a:cxn>
                <a:cxn ang="0">
                  <a:pos x="46" y="130"/>
                </a:cxn>
                <a:cxn ang="0">
                  <a:pos x="46" y="134"/>
                </a:cxn>
                <a:cxn ang="0">
                  <a:pos x="52" y="148"/>
                </a:cxn>
                <a:cxn ang="0">
                  <a:pos x="60" y="156"/>
                </a:cxn>
                <a:cxn ang="0">
                  <a:pos x="66" y="158"/>
                </a:cxn>
                <a:cxn ang="0">
                  <a:pos x="84" y="164"/>
                </a:cxn>
                <a:cxn ang="0">
                  <a:pos x="84" y="168"/>
                </a:cxn>
              </a:cxnLst>
              <a:rect l="0" t="0" r="r" b="b"/>
              <a:pathLst>
                <a:path w="168" h="172">
                  <a:moveTo>
                    <a:pt x="84" y="168"/>
                  </a:moveTo>
                  <a:lnTo>
                    <a:pt x="84" y="168"/>
                  </a:lnTo>
                  <a:lnTo>
                    <a:pt x="88" y="166"/>
                  </a:lnTo>
                  <a:lnTo>
                    <a:pt x="94" y="166"/>
                  </a:lnTo>
                  <a:lnTo>
                    <a:pt x="100" y="168"/>
                  </a:lnTo>
                  <a:lnTo>
                    <a:pt x="108" y="170"/>
                  </a:lnTo>
                  <a:lnTo>
                    <a:pt x="114" y="170"/>
                  </a:lnTo>
                  <a:lnTo>
                    <a:pt x="114" y="170"/>
                  </a:lnTo>
                  <a:lnTo>
                    <a:pt x="122" y="170"/>
                  </a:lnTo>
                  <a:lnTo>
                    <a:pt x="126" y="172"/>
                  </a:lnTo>
                  <a:lnTo>
                    <a:pt x="128" y="172"/>
                  </a:lnTo>
                  <a:lnTo>
                    <a:pt x="128" y="172"/>
                  </a:lnTo>
                  <a:lnTo>
                    <a:pt x="142" y="146"/>
                  </a:lnTo>
                  <a:lnTo>
                    <a:pt x="142" y="146"/>
                  </a:lnTo>
                  <a:lnTo>
                    <a:pt x="142" y="144"/>
                  </a:lnTo>
                  <a:lnTo>
                    <a:pt x="142" y="142"/>
                  </a:lnTo>
                  <a:lnTo>
                    <a:pt x="142" y="142"/>
                  </a:lnTo>
                  <a:lnTo>
                    <a:pt x="142" y="138"/>
                  </a:lnTo>
                  <a:lnTo>
                    <a:pt x="142" y="138"/>
                  </a:lnTo>
                  <a:lnTo>
                    <a:pt x="142" y="134"/>
                  </a:lnTo>
                  <a:lnTo>
                    <a:pt x="144" y="134"/>
                  </a:lnTo>
                  <a:lnTo>
                    <a:pt x="146" y="134"/>
                  </a:lnTo>
                  <a:lnTo>
                    <a:pt x="150" y="126"/>
                  </a:lnTo>
                  <a:lnTo>
                    <a:pt x="150" y="126"/>
                  </a:lnTo>
                  <a:lnTo>
                    <a:pt x="156" y="118"/>
                  </a:lnTo>
                  <a:lnTo>
                    <a:pt x="160" y="116"/>
                  </a:lnTo>
                  <a:lnTo>
                    <a:pt x="162" y="116"/>
                  </a:lnTo>
                  <a:lnTo>
                    <a:pt x="160" y="110"/>
                  </a:lnTo>
                  <a:lnTo>
                    <a:pt x="160" y="110"/>
                  </a:lnTo>
                  <a:lnTo>
                    <a:pt x="158" y="106"/>
                  </a:lnTo>
                  <a:lnTo>
                    <a:pt x="160" y="104"/>
                  </a:lnTo>
                  <a:lnTo>
                    <a:pt x="158" y="102"/>
                  </a:lnTo>
                  <a:lnTo>
                    <a:pt x="152" y="96"/>
                  </a:lnTo>
                  <a:lnTo>
                    <a:pt x="152" y="96"/>
                  </a:lnTo>
                  <a:lnTo>
                    <a:pt x="160" y="86"/>
                  </a:lnTo>
                  <a:lnTo>
                    <a:pt x="162" y="80"/>
                  </a:lnTo>
                  <a:lnTo>
                    <a:pt x="162" y="76"/>
                  </a:lnTo>
                  <a:lnTo>
                    <a:pt x="164" y="74"/>
                  </a:lnTo>
                  <a:lnTo>
                    <a:pt x="164" y="74"/>
                  </a:lnTo>
                  <a:lnTo>
                    <a:pt x="168" y="70"/>
                  </a:lnTo>
                  <a:lnTo>
                    <a:pt x="166" y="64"/>
                  </a:lnTo>
                  <a:lnTo>
                    <a:pt x="164" y="58"/>
                  </a:lnTo>
                  <a:lnTo>
                    <a:pt x="164" y="52"/>
                  </a:lnTo>
                  <a:lnTo>
                    <a:pt x="164" y="52"/>
                  </a:lnTo>
                  <a:lnTo>
                    <a:pt x="164" y="44"/>
                  </a:lnTo>
                  <a:lnTo>
                    <a:pt x="166" y="40"/>
                  </a:lnTo>
                  <a:lnTo>
                    <a:pt x="168" y="38"/>
                  </a:lnTo>
                  <a:lnTo>
                    <a:pt x="164" y="32"/>
                  </a:lnTo>
                  <a:lnTo>
                    <a:pt x="164" y="32"/>
                  </a:lnTo>
                  <a:lnTo>
                    <a:pt x="158" y="24"/>
                  </a:lnTo>
                  <a:lnTo>
                    <a:pt x="150" y="24"/>
                  </a:lnTo>
                  <a:lnTo>
                    <a:pt x="150" y="24"/>
                  </a:lnTo>
                  <a:lnTo>
                    <a:pt x="142" y="20"/>
                  </a:lnTo>
                  <a:lnTo>
                    <a:pt x="136" y="18"/>
                  </a:lnTo>
                  <a:lnTo>
                    <a:pt x="132" y="14"/>
                  </a:lnTo>
                  <a:lnTo>
                    <a:pt x="122" y="12"/>
                  </a:lnTo>
                  <a:lnTo>
                    <a:pt x="122" y="12"/>
                  </a:lnTo>
                  <a:lnTo>
                    <a:pt x="116" y="12"/>
                  </a:lnTo>
                  <a:lnTo>
                    <a:pt x="114" y="10"/>
                  </a:lnTo>
                  <a:lnTo>
                    <a:pt x="110" y="0"/>
                  </a:lnTo>
                  <a:lnTo>
                    <a:pt x="110" y="0"/>
                  </a:lnTo>
                  <a:lnTo>
                    <a:pt x="96" y="4"/>
                  </a:lnTo>
                  <a:lnTo>
                    <a:pt x="94" y="4"/>
                  </a:lnTo>
                  <a:lnTo>
                    <a:pt x="94" y="4"/>
                  </a:lnTo>
                  <a:lnTo>
                    <a:pt x="96" y="4"/>
                  </a:lnTo>
                  <a:lnTo>
                    <a:pt x="94" y="6"/>
                  </a:lnTo>
                  <a:lnTo>
                    <a:pt x="86" y="10"/>
                  </a:lnTo>
                  <a:lnTo>
                    <a:pt x="86" y="10"/>
                  </a:lnTo>
                  <a:lnTo>
                    <a:pt x="78" y="14"/>
                  </a:lnTo>
                  <a:lnTo>
                    <a:pt x="72" y="20"/>
                  </a:lnTo>
                  <a:lnTo>
                    <a:pt x="66" y="26"/>
                  </a:lnTo>
                  <a:lnTo>
                    <a:pt x="64" y="34"/>
                  </a:lnTo>
                  <a:lnTo>
                    <a:pt x="58" y="46"/>
                  </a:lnTo>
                  <a:lnTo>
                    <a:pt x="54" y="50"/>
                  </a:lnTo>
                  <a:lnTo>
                    <a:pt x="50" y="52"/>
                  </a:lnTo>
                  <a:lnTo>
                    <a:pt x="50" y="52"/>
                  </a:lnTo>
                  <a:lnTo>
                    <a:pt x="44" y="52"/>
                  </a:lnTo>
                  <a:lnTo>
                    <a:pt x="40" y="54"/>
                  </a:lnTo>
                  <a:lnTo>
                    <a:pt x="38" y="56"/>
                  </a:lnTo>
                  <a:lnTo>
                    <a:pt x="34" y="54"/>
                  </a:lnTo>
                  <a:lnTo>
                    <a:pt x="34" y="54"/>
                  </a:lnTo>
                  <a:lnTo>
                    <a:pt x="26" y="54"/>
                  </a:lnTo>
                  <a:lnTo>
                    <a:pt x="16" y="54"/>
                  </a:lnTo>
                  <a:lnTo>
                    <a:pt x="0" y="54"/>
                  </a:lnTo>
                  <a:lnTo>
                    <a:pt x="0" y="54"/>
                  </a:lnTo>
                  <a:lnTo>
                    <a:pt x="4" y="66"/>
                  </a:lnTo>
                  <a:lnTo>
                    <a:pt x="8" y="70"/>
                  </a:lnTo>
                  <a:lnTo>
                    <a:pt x="10" y="72"/>
                  </a:lnTo>
                  <a:lnTo>
                    <a:pt x="12" y="82"/>
                  </a:lnTo>
                  <a:lnTo>
                    <a:pt x="12" y="82"/>
                  </a:lnTo>
                  <a:lnTo>
                    <a:pt x="14" y="92"/>
                  </a:lnTo>
                  <a:lnTo>
                    <a:pt x="18" y="98"/>
                  </a:lnTo>
                  <a:lnTo>
                    <a:pt x="32" y="112"/>
                  </a:lnTo>
                  <a:lnTo>
                    <a:pt x="32" y="112"/>
                  </a:lnTo>
                  <a:lnTo>
                    <a:pt x="38" y="120"/>
                  </a:lnTo>
                  <a:lnTo>
                    <a:pt x="42" y="126"/>
                  </a:lnTo>
                  <a:lnTo>
                    <a:pt x="44" y="128"/>
                  </a:lnTo>
                  <a:lnTo>
                    <a:pt x="46" y="130"/>
                  </a:lnTo>
                  <a:lnTo>
                    <a:pt x="46" y="130"/>
                  </a:lnTo>
                  <a:lnTo>
                    <a:pt x="46" y="134"/>
                  </a:lnTo>
                  <a:lnTo>
                    <a:pt x="50" y="144"/>
                  </a:lnTo>
                  <a:lnTo>
                    <a:pt x="52" y="148"/>
                  </a:lnTo>
                  <a:lnTo>
                    <a:pt x="54" y="152"/>
                  </a:lnTo>
                  <a:lnTo>
                    <a:pt x="60" y="156"/>
                  </a:lnTo>
                  <a:lnTo>
                    <a:pt x="66" y="158"/>
                  </a:lnTo>
                  <a:lnTo>
                    <a:pt x="66" y="158"/>
                  </a:lnTo>
                  <a:lnTo>
                    <a:pt x="78" y="162"/>
                  </a:lnTo>
                  <a:lnTo>
                    <a:pt x="84" y="164"/>
                  </a:lnTo>
                  <a:lnTo>
                    <a:pt x="84" y="166"/>
                  </a:lnTo>
                  <a:lnTo>
                    <a:pt x="84" y="168"/>
                  </a:lnTo>
                  <a:lnTo>
                    <a:pt x="84" y="168"/>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 name="Botswana"/>
            <p:cNvSpPr>
              <a:spLocks/>
            </p:cNvSpPr>
            <p:nvPr/>
          </p:nvSpPr>
          <p:spPr bwMode="auto">
            <a:xfrm>
              <a:off x="4676476" y="4224073"/>
              <a:ext cx="267229" cy="296333"/>
            </a:xfrm>
            <a:custGeom>
              <a:avLst/>
              <a:gdLst/>
              <a:ahLst/>
              <a:cxnLst>
                <a:cxn ang="0">
                  <a:pos x="0" y="180"/>
                </a:cxn>
                <a:cxn ang="0">
                  <a:pos x="24" y="106"/>
                </a:cxn>
                <a:cxn ang="0">
                  <a:pos x="28" y="22"/>
                </a:cxn>
                <a:cxn ang="0">
                  <a:pos x="68" y="10"/>
                </a:cxn>
                <a:cxn ang="0">
                  <a:pos x="78" y="10"/>
                </a:cxn>
                <a:cxn ang="0">
                  <a:pos x="88" y="18"/>
                </a:cxn>
                <a:cxn ang="0">
                  <a:pos x="94" y="16"/>
                </a:cxn>
                <a:cxn ang="0">
                  <a:pos x="102" y="8"/>
                </a:cxn>
                <a:cxn ang="0">
                  <a:pos x="112" y="6"/>
                </a:cxn>
                <a:cxn ang="0">
                  <a:pos x="118" y="0"/>
                </a:cxn>
                <a:cxn ang="0">
                  <a:pos x="126" y="16"/>
                </a:cxn>
                <a:cxn ang="0">
                  <a:pos x="130" y="28"/>
                </a:cxn>
                <a:cxn ang="0">
                  <a:pos x="132" y="38"/>
                </a:cxn>
                <a:cxn ang="0">
                  <a:pos x="150" y="58"/>
                </a:cxn>
                <a:cxn ang="0">
                  <a:pos x="156" y="66"/>
                </a:cxn>
                <a:cxn ang="0">
                  <a:pos x="162" y="74"/>
                </a:cxn>
                <a:cxn ang="0">
                  <a:pos x="164" y="76"/>
                </a:cxn>
                <a:cxn ang="0">
                  <a:pos x="168" y="90"/>
                </a:cxn>
                <a:cxn ang="0">
                  <a:pos x="172" y="98"/>
                </a:cxn>
                <a:cxn ang="0">
                  <a:pos x="184" y="104"/>
                </a:cxn>
                <a:cxn ang="0">
                  <a:pos x="196" y="108"/>
                </a:cxn>
                <a:cxn ang="0">
                  <a:pos x="202" y="112"/>
                </a:cxn>
                <a:cxn ang="0">
                  <a:pos x="202" y="114"/>
                </a:cxn>
                <a:cxn ang="0">
                  <a:pos x="196" y="118"/>
                </a:cxn>
                <a:cxn ang="0">
                  <a:pos x="188" y="120"/>
                </a:cxn>
                <a:cxn ang="0">
                  <a:pos x="182" y="122"/>
                </a:cxn>
                <a:cxn ang="0">
                  <a:pos x="176" y="130"/>
                </a:cxn>
                <a:cxn ang="0">
                  <a:pos x="166" y="136"/>
                </a:cxn>
                <a:cxn ang="0">
                  <a:pos x="158" y="144"/>
                </a:cxn>
                <a:cxn ang="0">
                  <a:pos x="150" y="158"/>
                </a:cxn>
                <a:cxn ang="0">
                  <a:pos x="138" y="168"/>
                </a:cxn>
                <a:cxn ang="0">
                  <a:pos x="126" y="190"/>
                </a:cxn>
                <a:cxn ang="0">
                  <a:pos x="118" y="192"/>
                </a:cxn>
                <a:cxn ang="0">
                  <a:pos x="104" y="198"/>
                </a:cxn>
                <a:cxn ang="0">
                  <a:pos x="94" y="196"/>
                </a:cxn>
                <a:cxn ang="0">
                  <a:pos x="88" y="194"/>
                </a:cxn>
                <a:cxn ang="0">
                  <a:pos x="88" y="190"/>
                </a:cxn>
                <a:cxn ang="0">
                  <a:pos x="84" y="190"/>
                </a:cxn>
                <a:cxn ang="0">
                  <a:pos x="66" y="194"/>
                </a:cxn>
                <a:cxn ang="0">
                  <a:pos x="60" y="202"/>
                </a:cxn>
                <a:cxn ang="0">
                  <a:pos x="62" y="204"/>
                </a:cxn>
                <a:cxn ang="0">
                  <a:pos x="62" y="206"/>
                </a:cxn>
                <a:cxn ang="0">
                  <a:pos x="54" y="212"/>
                </a:cxn>
                <a:cxn ang="0">
                  <a:pos x="50" y="218"/>
                </a:cxn>
                <a:cxn ang="0">
                  <a:pos x="48" y="220"/>
                </a:cxn>
                <a:cxn ang="0">
                  <a:pos x="42" y="222"/>
                </a:cxn>
                <a:cxn ang="0">
                  <a:pos x="42" y="224"/>
                </a:cxn>
                <a:cxn ang="0">
                  <a:pos x="34" y="224"/>
                </a:cxn>
                <a:cxn ang="0">
                  <a:pos x="28" y="224"/>
                </a:cxn>
                <a:cxn ang="0">
                  <a:pos x="22" y="222"/>
                </a:cxn>
                <a:cxn ang="0">
                  <a:pos x="26" y="212"/>
                </a:cxn>
                <a:cxn ang="0">
                  <a:pos x="24" y="198"/>
                </a:cxn>
                <a:cxn ang="0">
                  <a:pos x="16" y="188"/>
                </a:cxn>
                <a:cxn ang="0">
                  <a:pos x="0" y="180"/>
                </a:cxn>
              </a:cxnLst>
              <a:rect l="0" t="0" r="r" b="b"/>
              <a:pathLst>
                <a:path w="202" h="224">
                  <a:moveTo>
                    <a:pt x="0" y="180"/>
                  </a:moveTo>
                  <a:lnTo>
                    <a:pt x="0" y="180"/>
                  </a:lnTo>
                  <a:lnTo>
                    <a:pt x="4" y="106"/>
                  </a:lnTo>
                  <a:lnTo>
                    <a:pt x="24" y="106"/>
                  </a:lnTo>
                  <a:lnTo>
                    <a:pt x="28" y="22"/>
                  </a:lnTo>
                  <a:lnTo>
                    <a:pt x="28" y="22"/>
                  </a:lnTo>
                  <a:lnTo>
                    <a:pt x="68" y="10"/>
                  </a:lnTo>
                  <a:lnTo>
                    <a:pt x="68" y="10"/>
                  </a:lnTo>
                  <a:lnTo>
                    <a:pt x="72" y="10"/>
                  </a:lnTo>
                  <a:lnTo>
                    <a:pt x="78" y="10"/>
                  </a:lnTo>
                  <a:lnTo>
                    <a:pt x="84" y="14"/>
                  </a:lnTo>
                  <a:lnTo>
                    <a:pt x="88" y="18"/>
                  </a:lnTo>
                  <a:lnTo>
                    <a:pt x="92" y="18"/>
                  </a:lnTo>
                  <a:lnTo>
                    <a:pt x="94" y="16"/>
                  </a:lnTo>
                  <a:lnTo>
                    <a:pt x="94" y="16"/>
                  </a:lnTo>
                  <a:lnTo>
                    <a:pt x="102" y="8"/>
                  </a:lnTo>
                  <a:lnTo>
                    <a:pt x="108" y="6"/>
                  </a:lnTo>
                  <a:lnTo>
                    <a:pt x="112" y="6"/>
                  </a:lnTo>
                  <a:lnTo>
                    <a:pt x="118" y="0"/>
                  </a:lnTo>
                  <a:lnTo>
                    <a:pt x="118" y="0"/>
                  </a:lnTo>
                  <a:lnTo>
                    <a:pt x="122" y="12"/>
                  </a:lnTo>
                  <a:lnTo>
                    <a:pt x="126" y="16"/>
                  </a:lnTo>
                  <a:lnTo>
                    <a:pt x="128" y="18"/>
                  </a:lnTo>
                  <a:lnTo>
                    <a:pt x="130" y="28"/>
                  </a:lnTo>
                  <a:lnTo>
                    <a:pt x="130" y="28"/>
                  </a:lnTo>
                  <a:lnTo>
                    <a:pt x="132" y="38"/>
                  </a:lnTo>
                  <a:lnTo>
                    <a:pt x="136" y="44"/>
                  </a:lnTo>
                  <a:lnTo>
                    <a:pt x="150" y="58"/>
                  </a:lnTo>
                  <a:lnTo>
                    <a:pt x="150" y="58"/>
                  </a:lnTo>
                  <a:lnTo>
                    <a:pt x="156" y="66"/>
                  </a:lnTo>
                  <a:lnTo>
                    <a:pt x="160" y="72"/>
                  </a:lnTo>
                  <a:lnTo>
                    <a:pt x="162" y="74"/>
                  </a:lnTo>
                  <a:lnTo>
                    <a:pt x="164" y="76"/>
                  </a:lnTo>
                  <a:lnTo>
                    <a:pt x="164" y="76"/>
                  </a:lnTo>
                  <a:lnTo>
                    <a:pt x="164" y="80"/>
                  </a:lnTo>
                  <a:lnTo>
                    <a:pt x="168" y="90"/>
                  </a:lnTo>
                  <a:lnTo>
                    <a:pt x="170" y="94"/>
                  </a:lnTo>
                  <a:lnTo>
                    <a:pt x="172" y="98"/>
                  </a:lnTo>
                  <a:lnTo>
                    <a:pt x="178" y="102"/>
                  </a:lnTo>
                  <a:lnTo>
                    <a:pt x="184" y="104"/>
                  </a:lnTo>
                  <a:lnTo>
                    <a:pt x="184" y="104"/>
                  </a:lnTo>
                  <a:lnTo>
                    <a:pt x="196" y="108"/>
                  </a:lnTo>
                  <a:lnTo>
                    <a:pt x="202" y="110"/>
                  </a:lnTo>
                  <a:lnTo>
                    <a:pt x="202" y="112"/>
                  </a:lnTo>
                  <a:lnTo>
                    <a:pt x="202" y="114"/>
                  </a:lnTo>
                  <a:lnTo>
                    <a:pt x="202" y="114"/>
                  </a:lnTo>
                  <a:lnTo>
                    <a:pt x="198" y="116"/>
                  </a:lnTo>
                  <a:lnTo>
                    <a:pt x="196" y="118"/>
                  </a:lnTo>
                  <a:lnTo>
                    <a:pt x="194" y="120"/>
                  </a:lnTo>
                  <a:lnTo>
                    <a:pt x="188" y="120"/>
                  </a:lnTo>
                  <a:lnTo>
                    <a:pt x="188" y="120"/>
                  </a:lnTo>
                  <a:lnTo>
                    <a:pt x="182" y="122"/>
                  </a:lnTo>
                  <a:lnTo>
                    <a:pt x="180" y="126"/>
                  </a:lnTo>
                  <a:lnTo>
                    <a:pt x="176" y="130"/>
                  </a:lnTo>
                  <a:lnTo>
                    <a:pt x="166" y="136"/>
                  </a:lnTo>
                  <a:lnTo>
                    <a:pt x="166" y="136"/>
                  </a:lnTo>
                  <a:lnTo>
                    <a:pt x="162" y="138"/>
                  </a:lnTo>
                  <a:lnTo>
                    <a:pt x="158" y="144"/>
                  </a:lnTo>
                  <a:lnTo>
                    <a:pt x="150" y="158"/>
                  </a:lnTo>
                  <a:lnTo>
                    <a:pt x="150" y="158"/>
                  </a:lnTo>
                  <a:lnTo>
                    <a:pt x="144" y="164"/>
                  </a:lnTo>
                  <a:lnTo>
                    <a:pt x="138" y="168"/>
                  </a:lnTo>
                  <a:lnTo>
                    <a:pt x="132" y="174"/>
                  </a:lnTo>
                  <a:lnTo>
                    <a:pt x="126" y="190"/>
                  </a:lnTo>
                  <a:lnTo>
                    <a:pt x="126" y="190"/>
                  </a:lnTo>
                  <a:lnTo>
                    <a:pt x="118" y="192"/>
                  </a:lnTo>
                  <a:lnTo>
                    <a:pt x="112" y="194"/>
                  </a:lnTo>
                  <a:lnTo>
                    <a:pt x="104" y="198"/>
                  </a:lnTo>
                  <a:lnTo>
                    <a:pt x="100" y="198"/>
                  </a:lnTo>
                  <a:lnTo>
                    <a:pt x="94" y="196"/>
                  </a:lnTo>
                  <a:lnTo>
                    <a:pt x="94" y="196"/>
                  </a:lnTo>
                  <a:lnTo>
                    <a:pt x="88" y="194"/>
                  </a:lnTo>
                  <a:lnTo>
                    <a:pt x="88" y="192"/>
                  </a:lnTo>
                  <a:lnTo>
                    <a:pt x="88" y="190"/>
                  </a:lnTo>
                  <a:lnTo>
                    <a:pt x="84" y="190"/>
                  </a:lnTo>
                  <a:lnTo>
                    <a:pt x="84" y="190"/>
                  </a:lnTo>
                  <a:lnTo>
                    <a:pt x="74" y="190"/>
                  </a:lnTo>
                  <a:lnTo>
                    <a:pt x="66" y="194"/>
                  </a:lnTo>
                  <a:lnTo>
                    <a:pt x="62" y="198"/>
                  </a:lnTo>
                  <a:lnTo>
                    <a:pt x="60" y="202"/>
                  </a:lnTo>
                  <a:lnTo>
                    <a:pt x="62" y="204"/>
                  </a:lnTo>
                  <a:lnTo>
                    <a:pt x="62" y="204"/>
                  </a:lnTo>
                  <a:lnTo>
                    <a:pt x="62" y="206"/>
                  </a:lnTo>
                  <a:lnTo>
                    <a:pt x="62" y="206"/>
                  </a:lnTo>
                  <a:lnTo>
                    <a:pt x="58" y="208"/>
                  </a:lnTo>
                  <a:lnTo>
                    <a:pt x="54" y="212"/>
                  </a:lnTo>
                  <a:lnTo>
                    <a:pt x="50" y="218"/>
                  </a:lnTo>
                  <a:lnTo>
                    <a:pt x="50" y="218"/>
                  </a:lnTo>
                  <a:lnTo>
                    <a:pt x="48" y="220"/>
                  </a:lnTo>
                  <a:lnTo>
                    <a:pt x="48" y="220"/>
                  </a:lnTo>
                  <a:lnTo>
                    <a:pt x="46" y="218"/>
                  </a:lnTo>
                  <a:lnTo>
                    <a:pt x="42" y="222"/>
                  </a:lnTo>
                  <a:lnTo>
                    <a:pt x="42" y="222"/>
                  </a:lnTo>
                  <a:lnTo>
                    <a:pt x="42" y="224"/>
                  </a:lnTo>
                  <a:lnTo>
                    <a:pt x="38" y="224"/>
                  </a:lnTo>
                  <a:lnTo>
                    <a:pt x="34" y="224"/>
                  </a:lnTo>
                  <a:lnTo>
                    <a:pt x="28" y="224"/>
                  </a:lnTo>
                  <a:lnTo>
                    <a:pt x="28" y="224"/>
                  </a:lnTo>
                  <a:lnTo>
                    <a:pt x="22" y="224"/>
                  </a:lnTo>
                  <a:lnTo>
                    <a:pt x="22" y="222"/>
                  </a:lnTo>
                  <a:lnTo>
                    <a:pt x="26" y="212"/>
                  </a:lnTo>
                  <a:lnTo>
                    <a:pt x="26" y="212"/>
                  </a:lnTo>
                  <a:lnTo>
                    <a:pt x="26" y="206"/>
                  </a:lnTo>
                  <a:lnTo>
                    <a:pt x="24" y="198"/>
                  </a:lnTo>
                  <a:lnTo>
                    <a:pt x="20" y="192"/>
                  </a:lnTo>
                  <a:lnTo>
                    <a:pt x="16" y="188"/>
                  </a:lnTo>
                  <a:lnTo>
                    <a:pt x="10" y="184"/>
                  </a:lnTo>
                  <a:lnTo>
                    <a:pt x="0" y="180"/>
                  </a:lnTo>
                  <a:lnTo>
                    <a:pt x="0" y="180"/>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 name="Namibia"/>
            <p:cNvSpPr>
              <a:spLocks/>
            </p:cNvSpPr>
            <p:nvPr/>
          </p:nvSpPr>
          <p:spPr bwMode="auto">
            <a:xfrm>
              <a:off x="4464809" y="4200261"/>
              <a:ext cx="367771" cy="381000"/>
            </a:xfrm>
            <a:custGeom>
              <a:avLst/>
              <a:gdLst/>
              <a:ahLst/>
              <a:cxnLst>
                <a:cxn ang="0">
                  <a:pos x="0" y="10"/>
                </a:cxn>
                <a:cxn ang="0">
                  <a:pos x="4" y="30"/>
                </a:cxn>
                <a:cxn ang="0">
                  <a:pos x="18" y="60"/>
                </a:cxn>
                <a:cxn ang="0">
                  <a:pos x="20" y="72"/>
                </a:cxn>
                <a:cxn ang="0">
                  <a:pos x="22" y="82"/>
                </a:cxn>
                <a:cxn ang="0">
                  <a:pos x="38" y="118"/>
                </a:cxn>
                <a:cxn ang="0">
                  <a:pos x="54" y="146"/>
                </a:cxn>
                <a:cxn ang="0">
                  <a:pos x="56" y="150"/>
                </a:cxn>
                <a:cxn ang="0">
                  <a:pos x="54" y="162"/>
                </a:cxn>
                <a:cxn ang="0">
                  <a:pos x="54" y="172"/>
                </a:cxn>
                <a:cxn ang="0">
                  <a:pos x="54" y="180"/>
                </a:cxn>
                <a:cxn ang="0">
                  <a:pos x="60" y="214"/>
                </a:cxn>
                <a:cxn ang="0">
                  <a:pos x="68" y="244"/>
                </a:cxn>
                <a:cxn ang="0">
                  <a:pos x="68" y="248"/>
                </a:cxn>
                <a:cxn ang="0">
                  <a:pos x="70" y="262"/>
                </a:cxn>
                <a:cxn ang="0">
                  <a:pos x="80" y="282"/>
                </a:cxn>
                <a:cxn ang="0">
                  <a:pos x="92" y="274"/>
                </a:cxn>
                <a:cxn ang="0">
                  <a:pos x="104" y="270"/>
                </a:cxn>
                <a:cxn ang="0">
                  <a:pos x="108" y="272"/>
                </a:cxn>
                <a:cxn ang="0">
                  <a:pos x="110" y="280"/>
                </a:cxn>
                <a:cxn ang="0">
                  <a:pos x="118" y="288"/>
                </a:cxn>
                <a:cxn ang="0">
                  <a:pos x="122" y="288"/>
                </a:cxn>
                <a:cxn ang="0">
                  <a:pos x="136" y="286"/>
                </a:cxn>
                <a:cxn ang="0">
                  <a:pos x="144" y="282"/>
                </a:cxn>
                <a:cxn ang="0">
                  <a:pos x="152" y="276"/>
                </a:cxn>
                <a:cxn ang="0">
                  <a:pos x="160" y="198"/>
                </a:cxn>
                <a:cxn ang="0">
                  <a:pos x="164" y="124"/>
                </a:cxn>
                <a:cxn ang="0">
                  <a:pos x="188" y="40"/>
                </a:cxn>
                <a:cxn ang="0">
                  <a:pos x="228" y="28"/>
                </a:cxn>
                <a:cxn ang="0">
                  <a:pos x="232" y="28"/>
                </a:cxn>
                <a:cxn ang="0">
                  <a:pos x="244" y="32"/>
                </a:cxn>
                <a:cxn ang="0">
                  <a:pos x="252" y="36"/>
                </a:cxn>
                <a:cxn ang="0">
                  <a:pos x="254" y="34"/>
                </a:cxn>
                <a:cxn ang="0">
                  <a:pos x="268" y="24"/>
                </a:cxn>
                <a:cxn ang="0">
                  <a:pos x="278" y="18"/>
                </a:cxn>
                <a:cxn ang="0">
                  <a:pos x="274" y="16"/>
                </a:cxn>
                <a:cxn ang="0">
                  <a:pos x="268" y="10"/>
                </a:cxn>
                <a:cxn ang="0">
                  <a:pos x="260" y="12"/>
                </a:cxn>
                <a:cxn ang="0">
                  <a:pos x="244" y="12"/>
                </a:cxn>
                <a:cxn ang="0">
                  <a:pos x="234" y="12"/>
                </a:cxn>
                <a:cxn ang="0">
                  <a:pos x="204" y="22"/>
                </a:cxn>
                <a:cxn ang="0">
                  <a:pos x="184" y="22"/>
                </a:cxn>
                <a:cxn ang="0">
                  <a:pos x="176" y="20"/>
                </a:cxn>
                <a:cxn ang="0">
                  <a:pos x="160" y="22"/>
                </a:cxn>
                <a:cxn ang="0">
                  <a:pos x="160" y="20"/>
                </a:cxn>
                <a:cxn ang="0">
                  <a:pos x="134" y="10"/>
                </a:cxn>
                <a:cxn ang="0">
                  <a:pos x="134" y="8"/>
                </a:cxn>
                <a:cxn ang="0">
                  <a:pos x="60" y="8"/>
                </a:cxn>
                <a:cxn ang="0">
                  <a:pos x="48" y="6"/>
                </a:cxn>
                <a:cxn ang="0">
                  <a:pos x="32" y="2"/>
                </a:cxn>
                <a:cxn ang="0">
                  <a:pos x="24" y="2"/>
                </a:cxn>
                <a:cxn ang="0">
                  <a:pos x="18" y="6"/>
                </a:cxn>
                <a:cxn ang="0">
                  <a:pos x="12" y="6"/>
                </a:cxn>
                <a:cxn ang="0">
                  <a:pos x="0" y="10"/>
                </a:cxn>
              </a:cxnLst>
              <a:rect l="0" t="0" r="r" b="b"/>
              <a:pathLst>
                <a:path w="278" h="288">
                  <a:moveTo>
                    <a:pt x="0" y="10"/>
                  </a:moveTo>
                  <a:lnTo>
                    <a:pt x="0" y="10"/>
                  </a:lnTo>
                  <a:lnTo>
                    <a:pt x="2" y="20"/>
                  </a:lnTo>
                  <a:lnTo>
                    <a:pt x="4" y="30"/>
                  </a:lnTo>
                  <a:lnTo>
                    <a:pt x="10" y="46"/>
                  </a:lnTo>
                  <a:lnTo>
                    <a:pt x="18" y="60"/>
                  </a:lnTo>
                  <a:lnTo>
                    <a:pt x="20" y="66"/>
                  </a:lnTo>
                  <a:lnTo>
                    <a:pt x="20" y="72"/>
                  </a:lnTo>
                  <a:lnTo>
                    <a:pt x="20" y="72"/>
                  </a:lnTo>
                  <a:lnTo>
                    <a:pt x="22" y="82"/>
                  </a:lnTo>
                  <a:lnTo>
                    <a:pt x="26" y="92"/>
                  </a:lnTo>
                  <a:lnTo>
                    <a:pt x="38" y="118"/>
                  </a:lnTo>
                  <a:lnTo>
                    <a:pt x="52" y="138"/>
                  </a:lnTo>
                  <a:lnTo>
                    <a:pt x="54" y="146"/>
                  </a:lnTo>
                  <a:lnTo>
                    <a:pt x="56" y="150"/>
                  </a:lnTo>
                  <a:lnTo>
                    <a:pt x="56" y="150"/>
                  </a:lnTo>
                  <a:lnTo>
                    <a:pt x="54" y="158"/>
                  </a:lnTo>
                  <a:lnTo>
                    <a:pt x="54" y="162"/>
                  </a:lnTo>
                  <a:lnTo>
                    <a:pt x="56" y="164"/>
                  </a:lnTo>
                  <a:lnTo>
                    <a:pt x="54" y="172"/>
                  </a:lnTo>
                  <a:lnTo>
                    <a:pt x="54" y="172"/>
                  </a:lnTo>
                  <a:lnTo>
                    <a:pt x="54" y="180"/>
                  </a:lnTo>
                  <a:lnTo>
                    <a:pt x="56" y="190"/>
                  </a:lnTo>
                  <a:lnTo>
                    <a:pt x="60" y="214"/>
                  </a:lnTo>
                  <a:lnTo>
                    <a:pt x="66" y="236"/>
                  </a:lnTo>
                  <a:lnTo>
                    <a:pt x="68" y="244"/>
                  </a:lnTo>
                  <a:lnTo>
                    <a:pt x="68" y="248"/>
                  </a:lnTo>
                  <a:lnTo>
                    <a:pt x="68" y="248"/>
                  </a:lnTo>
                  <a:lnTo>
                    <a:pt x="68" y="254"/>
                  </a:lnTo>
                  <a:lnTo>
                    <a:pt x="70" y="262"/>
                  </a:lnTo>
                  <a:lnTo>
                    <a:pt x="74" y="272"/>
                  </a:lnTo>
                  <a:lnTo>
                    <a:pt x="80" y="282"/>
                  </a:lnTo>
                  <a:lnTo>
                    <a:pt x="80" y="282"/>
                  </a:lnTo>
                  <a:lnTo>
                    <a:pt x="92" y="274"/>
                  </a:lnTo>
                  <a:lnTo>
                    <a:pt x="98" y="272"/>
                  </a:lnTo>
                  <a:lnTo>
                    <a:pt x="104" y="270"/>
                  </a:lnTo>
                  <a:lnTo>
                    <a:pt x="104" y="270"/>
                  </a:lnTo>
                  <a:lnTo>
                    <a:pt x="108" y="272"/>
                  </a:lnTo>
                  <a:lnTo>
                    <a:pt x="108" y="274"/>
                  </a:lnTo>
                  <a:lnTo>
                    <a:pt x="110" y="280"/>
                  </a:lnTo>
                  <a:lnTo>
                    <a:pt x="114" y="286"/>
                  </a:lnTo>
                  <a:lnTo>
                    <a:pt x="118" y="288"/>
                  </a:lnTo>
                  <a:lnTo>
                    <a:pt x="122" y="288"/>
                  </a:lnTo>
                  <a:lnTo>
                    <a:pt x="122" y="288"/>
                  </a:lnTo>
                  <a:lnTo>
                    <a:pt x="130" y="288"/>
                  </a:lnTo>
                  <a:lnTo>
                    <a:pt x="136" y="286"/>
                  </a:lnTo>
                  <a:lnTo>
                    <a:pt x="140" y="284"/>
                  </a:lnTo>
                  <a:lnTo>
                    <a:pt x="144" y="282"/>
                  </a:lnTo>
                  <a:lnTo>
                    <a:pt x="148" y="278"/>
                  </a:lnTo>
                  <a:lnTo>
                    <a:pt x="152" y="276"/>
                  </a:lnTo>
                  <a:lnTo>
                    <a:pt x="156" y="276"/>
                  </a:lnTo>
                  <a:lnTo>
                    <a:pt x="160" y="198"/>
                  </a:lnTo>
                  <a:lnTo>
                    <a:pt x="160" y="198"/>
                  </a:lnTo>
                  <a:lnTo>
                    <a:pt x="164" y="124"/>
                  </a:lnTo>
                  <a:lnTo>
                    <a:pt x="184" y="124"/>
                  </a:lnTo>
                  <a:lnTo>
                    <a:pt x="188" y="40"/>
                  </a:lnTo>
                  <a:lnTo>
                    <a:pt x="188" y="40"/>
                  </a:lnTo>
                  <a:lnTo>
                    <a:pt x="228" y="28"/>
                  </a:lnTo>
                  <a:lnTo>
                    <a:pt x="228" y="28"/>
                  </a:lnTo>
                  <a:lnTo>
                    <a:pt x="232" y="28"/>
                  </a:lnTo>
                  <a:lnTo>
                    <a:pt x="238" y="28"/>
                  </a:lnTo>
                  <a:lnTo>
                    <a:pt x="244" y="32"/>
                  </a:lnTo>
                  <a:lnTo>
                    <a:pt x="248" y="36"/>
                  </a:lnTo>
                  <a:lnTo>
                    <a:pt x="252" y="36"/>
                  </a:lnTo>
                  <a:lnTo>
                    <a:pt x="254" y="34"/>
                  </a:lnTo>
                  <a:lnTo>
                    <a:pt x="254" y="34"/>
                  </a:lnTo>
                  <a:lnTo>
                    <a:pt x="262" y="26"/>
                  </a:lnTo>
                  <a:lnTo>
                    <a:pt x="268" y="24"/>
                  </a:lnTo>
                  <a:lnTo>
                    <a:pt x="272" y="24"/>
                  </a:lnTo>
                  <a:lnTo>
                    <a:pt x="278" y="18"/>
                  </a:lnTo>
                  <a:lnTo>
                    <a:pt x="278" y="18"/>
                  </a:lnTo>
                  <a:lnTo>
                    <a:pt x="274" y="16"/>
                  </a:lnTo>
                  <a:lnTo>
                    <a:pt x="272" y="12"/>
                  </a:lnTo>
                  <a:lnTo>
                    <a:pt x="268" y="10"/>
                  </a:lnTo>
                  <a:lnTo>
                    <a:pt x="260" y="12"/>
                  </a:lnTo>
                  <a:lnTo>
                    <a:pt x="260" y="12"/>
                  </a:lnTo>
                  <a:lnTo>
                    <a:pt x="250" y="12"/>
                  </a:lnTo>
                  <a:lnTo>
                    <a:pt x="244" y="12"/>
                  </a:lnTo>
                  <a:lnTo>
                    <a:pt x="240" y="12"/>
                  </a:lnTo>
                  <a:lnTo>
                    <a:pt x="234" y="12"/>
                  </a:lnTo>
                  <a:lnTo>
                    <a:pt x="234" y="12"/>
                  </a:lnTo>
                  <a:lnTo>
                    <a:pt x="204" y="22"/>
                  </a:lnTo>
                  <a:lnTo>
                    <a:pt x="190" y="24"/>
                  </a:lnTo>
                  <a:lnTo>
                    <a:pt x="184" y="22"/>
                  </a:lnTo>
                  <a:lnTo>
                    <a:pt x="176" y="20"/>
                  </a:lnTo>
                  <a:lnTo>
                    <a:pt x="176" y="20"/>
                  </a:lnTo>
                  <a:lnTo>
                    <a:pt x="162" y="22"/>
                  </a:lnTo>
                  <a:lnTo>
                    <a:pt x="160" y="22"/>
                  </a:lnTo>
                  <a:lnTo>
                    <a:pt x="160" y="20"/>
                  </a:lnTo>
                  <a:lnTo>
                    <a:pt x="160" y="20"/>
                  </a:lnTo>
                  <a:lnTo>
                    <a:pt x="142" y="14"/>
                  </a:lnTo>
                  <a:lnTo>
                    <a:pt x="134" y="10"/>
                  </a:lnTo>
                  <a:lnTo>
                    <a:pt x="134" y="8"/>
                  </a:lnTo>
                  <a:lnTo>
                    <a:pt x="134" y="8"/>
                  </a:lnTo>
                  <a:lnTo>
                    <a:pt x="134" y="8"/>
                  </a:lnTo>
                  <a:lnTo>
                    <a:pt x="60" y="8"/>
                  </a:lnTo>
                  <a:lnTo>
                    <a:pt x="60" y="8"/>
                  </a:lnTo>
                  <a:lnTo>
                    <a:pt x="48" y="6"/>
                  </a:lnTo>
                  <a:lnTo>
                    <a:pt x="40" y="6"/>
                  </a:lnTo>
                  <a:lnTo>
                    <a:pt x="32" y="2"/>
                  </a:lnTo>
                  <a:lnTo>
                    <a:pt x="30" y="0"/>
                  </a:lnTo>
                  <a:lnTo>
                    <a:pt x="24" y="2"/>
                  </a:lnTo>
                  <a:lnTo>
                    <a:pt x="24" y="2"/>
                  </a:lnTo>
                  <a:lnTo>
                    <a:pt x="18" y="6"/>
                  </a:lnTo>
                  <a:lnTo>
                    <a:pt x="16" y="4"/>
                  </a:lnTo>
                  <a:lnTo>
                    <a:pt x="12" y="6"/>
                  </a:lnTo>
                  <a:lnTo>
                    <a:pt x="0" y="10"/>
                  </a:lnTo>
                  <a:lnTo>
                    <a:pt x="0" y="10"/>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Botswana &amp; Zimbabwe"/>
            <p:cNvSpPr>
              <a:spLocks/>
            </p:cNvSpPr>
            <p:nvPr/>
          </p:nvSpPr>
          <p:spPr bwMode="auto">
            <a:xfrm>
              <a:off x="4753205" y="3901281"/>
              <a:ext cx="330729" cy="325438"/>
            </a:xfrm>
            <a:custGeom>
              <a:avLst/>
              <a:gdLst/>
              <a:ahLst/>
              <a:cxnLst>
                <a:cxn ang="0">
                  <a:pos x="168" y="186"/>
                </a:cxn>
                <a:cxn ang="0">
                  <a:pos x="166" y="178"/>
                </a:cxn>
                <a:cxn ang="0">
                  <a:pos x="202" y="166"/>
                </a:cxn>
                <a:cxn ang="0">
                  <a:pos x="234" y="152"/>
                </a:cxn>
                <a:cxn ang="0">
                  <a:pos x="228" y="152"/>
                </a:cxn>
                <a:cxn ang="0">
                  <a:pos x="224" y="150"/>
                </a:cxn>
                <a:cxn ang="0">
                  <a:pos x="226" y="142"/>
                </a:cxn>
                <a:cxn ang="0">
                  <a:pos x="230" y="128"/>
                </a:cxn>
                <a:cxn ang="0">
                  <a:pos x="240" y="120"/>
                </a:cxn>
                <a:cxn ang="0">
                  <a:pos x="246" y="112"/>
                </a:cxn>
                <a:cxn ang="0">
                  <a:pos x="242" y="112"/>
                </a:cxn>
                <a:cxn ang="0">
                  <a:pos x="240" y="92"/>
                </a:cxn>
                <a:cxn ang="0">
                  <a:pos x="248" y="72"/>
                </a:cxn>
                <a:cxn ang="0">
                  <a:pos x="248" y="66"/>
                </a:cxn>
                <a:cxn ang="0">
                  <a:pos x="246" y="56"/>
                </a:cxn>
                <a:cxn ang="0">
                  <a:pos x="244" y="46"/>
                </a:cxn>
                <a:cxn ang="0">
                  <a:pos x="244" y="36"/>
                </a:cxn>
                <a:cxn ang="0">
                  <a:pos x="218" y="24"/>
                </a:cxn>
                <a:cxn ang="0">
                  <a:pos x="200" y="14"/>
                </a:cxn>
                <a:cxn ang="0">
                  <a:pos x="190" y="12"/>
                </a:cxn>
                <a:cxn ang="0">
                  <a:pos x="184" y="4"/>
                </a:cxn>
                <a:cxn ang="0">
                  <a:pos x="154" y="10"/>
                </a:cxn>
                <a:cxn ang="0">
                  <a:pos x="156" y="20"/>
                </a:cxn>
                <a:cxn ang="0">
                  <a:pos x="148" y="30"/>
                </a:cxn>
                <a:cxn ang="0">
                  <a:pos x="154" y="40"/>
                </a:cxn>
                <a:cxn ang="0">
                  <a:pos x="152" y="48"/>
                </a:cxn>
                <a:cxn ang="0">
                  <a:pos x="146" y="60"/>
                </a:cxn>
                <a:cxn ang="0">
                  <a:pos x="142" y="68"/>
                </a:cxn>
                <a:cxn ang="0">
                  <a:pos x="144" y="86"/>
                </a:cxn>
                <a:cxn ang="0">
                  <a:pos x="142" y="92"/>
                </a:cxn>
                <a:cxn ang="0">
                  <a:pos x="158" y="104"/>
                </a:cxn>
                <a:cxn ang="0">
                  <a:pos x="164" y="102"/>
                </a:cxn>
                <a:cxn ang="0">
                  <a:pos x="160" y="126"/>
                </a:cxn>
                <a:cxn ang="0">
                  <a:pos x="156" y="122"/>
                </a:cxn>
                <a:cxn ang="0">
                  <a:pos x="144" y="118"/>
                </a:cxn>
                <a:cxn ang="0">
                  <a:pos x="130" y="104"/>
                </a:cxn>
                <a:cxn ang="0">
                  <a:pos x="114" y="96"/>
                </a:cxn>
                <a:cxn ang="0">
                  <a:pos x="104" y="94"/>
                </a:cxn>
                <a:cxn ang="0">
                  <a:pos x="92" y="94"/>
                </a:cxn>
                <a:cxn ang="0">
                  <a:pos x="80" y="92"/>
                </a:cxn>
                <a:cxn ang="0">
                  <a:pos x="72" y="86"/>
                </a:cxn>
                <a:cxn ang="0">
                  <a:pos x="72" y="78"/>
                </a:cxn>
                <a:cxn ang="0">
                  <a:pos x="60" y="78"/>
                </a:cxn>
                <a:cxn ang="0">
                  <a:pos x="50" y="74"/>
                </a:cxn>
                <a:cxn ang="0">
                  <a:pos x="46" y="80"/>
                </a:cxn>
                <a:cxn ang="0">
                  <a:pos x="48" y="100"/>
                </a:cxn>
                <a:cxn ang="0">
                  <a:pos x="48" y="120"/>
                </a:cxn>
                <a:cxn ang="0">
                  <a:pos x="0" y="124"/>
                </a:cxn>
                <a:cxn ang="0">
                  <a:pos x="0" y="220"/>
                </a:cxn>
                <a:cxn ang="0">
                  <a:pos x="4" y="228"/>
                </a:cxn>
                <a:cxn ang="0">
                  <a:pos x="16" y="238"/>
                </a:cxn>
                <a:cxn ang="0">
                  <a:pos x="26" y="238"/>
                </a:cxn>
                <a:cxn ang="0">
                  <a:pos x="42" y="238"/>
                </a:cxn>
                <a:cxn ang="0">
                  <a:pos x="56" y="242"/>
                </a:cxn>
                <a:cxn ang="0">
                  <a:pos x="76" y="244"/>
                </a:cxn>
                <a:cxn ang="0">
                  <a:pos x="94" y="244"/>
                </a:cxn>
                <a:cxn ang="0">
                  <a:pos x="104" y="242"/>
                </a:cxn>
                <a:cxn ang="0">
                  <a:pos x="114" y="240"/>
                </a:cxn>
                <a:cxn ang="0">
                  <a:pos x="126" y="216"/>
                </a:cxn>
                <a:cxn ang="0">
                  <a:pos x="146" y="200"/>
                </a:cxn>
                <a:cxn ang="0">
                  <a:pos x="156" y="194"/>
                </a:cxn>
                <a:cxn ang="0">
                  <a:pos x="156" y="194"/>
                </a:cxn>
              </a:cxnLst>
              <a:rect l="0" t="0" r="r" b="b"/>
              <a:pathLst>
                <a:path w="250" h="246">
                  <a:moveTo>
                    <a:pt x="170" y="190"/>
                  </a:moveTo>
                  <a:lnTo>
                    <a:pt x="170" y="190"/>
                  </a:lnTo>
                  <a:lnTo>
                    <a:pt x="168" y="186"/>
                  </a:lnTo>
                  <a:lnTo>
                    <a:pt x="168" y="182"/>
                  </a:lnTo>
                  <a:lnTo>
                    <a:pt x="168" y="182"/>
                  </a:lnTo>
                  <a:lnTo>
                    <a:pt x="166" y="178"/>
                  </a:lnTo>
                  <a:lnTo>
                    <a:pt x="166" y="178"/>
                  </a:lnTo>
                  <a:lnTo>
                    <a:pt x="182" y="172"/>
                  </a:lnTo>
                  <a:lnTo>
                    <a:pt x="202" y="166"/>
                  </a:lnTo>
                  <a:lnTo>
                    <a:pt x="202" y="166"/>
                  </a:lnTo>
                  <a:lnTo>
                    <a:pt x="218" y="160"/>
                  </a:lnTo>
                  <a:lnTo>
                    <a:pt x="234" y="152"/>
                  </a:lnTo>
                  <a:lnTo>
                    <a:pt x="234" y="152"/>
                  </a:lnTo>
                  <a:lnTo>
                    <a:pt x="230" y="152"/>
                  </a:lnTo>
                  <a:lnTo>
                    <a:pt x="228" y="152"/>
                  </a:lnTo>
                  <a:lnTo>
                    <a:pt x="226" y="152"/>
                  </a:lnTo>
                  <a:lnTo>
                    <a:pt x="224" y="150"/>
                  </a:lnTo>
                  <a:lnTo>
                    <a:pt x="224" y="150"/>
                  </a:lnTo>
                  <a:lnTo>
                    <a:pt x="224" y="148"/>
                  </a:lnTo>
                  <a:lnTo>
                    <a:pt x="224" y="146"/>
                  </a:lnTo>
                  <a:lnTo>
                    <a:pt x="226" y="142"/>
                  </a:lnTo>
                  <a:lnTo>
                    <a:pt x="228" y="134"/>
                  </a:lnTo>
                  <a:lnTo>
                    <a:pt x="228" y="134"/>
                  </a:lnTo>
                  <a:lnTo>
                    <a:pt x="230" y="128"/>
                  </a:lnTo>
                  <a:lnTo>
                    <a:pt x="232" y="124"/>
                  </a:lnTo>
                  <a:lnTo>
                    <a:pt x="240" y="120"/>
                  </a:lnTo>
                  <a:lnTo>
                    <a:pt x="240" y="120"/>
                  </a:lnTo>
                  <a:lnTo>
                    <a:pt x="244" y="116"/>
                  </a:lnTo>
                  <a:lnTo>
                    <a:pt x="246" y="114"/>
                  </a:lnTo>
                  <a:lnTo>
                    <a:pt x="246" y="112"/>
                  </a:lnTo>
                  <a:lnTo>
                    <a:pt x="244" y="112"/>
                  </a:lnTo>
                  <a:lnTo>
                    <a:pt x="244" y="112"/>
                  </a:lnTo>
                  <a:lnTo>
                    <a:pt x="242" y="112"/>
                  </a:lnTo>
                  <a:lnTo>
                    <a:pt x="242" y="108"/>
                  </a:lnTo>
                  <a:lnTo>
                    <a:pt x="240" y="92"/>
                  </a:lnTo>
                  <a:lnTo>
                    <a:pt x="240" y="92"/>
                  </a:lnTo>
                  <a:lnTo>
                    <a:pt x="242" y="78"/>
                  </a:lnTo>
                  <a:lnTo>
                    <a:pt x="244" y="74"/>
                  </a:lnTo>
                  <a:lnTo>
                    <a:pt x="248" y="72"/>
                  </a:lnTo>
                  <a:lnTo>
                    <a:pt x="248" y="72"/>
                  </a:lnTo>
                  <a:lnTo>
                    <a:pt x="250" y="68"/>
                  </a:lnTo>
                  <a:lnTo>
                    <a:pt x="248" y="66"/>
                  </a:lnTo>
                  <a:lnTo>
                    <a:pt x="246" y="62"/>
                  </a:lnTo>
                  <a:lnTo>
                    <a:pt x="246" y="56"/>
                  </a:lnTo>
                  <a:lnTo>
                    <a:pt x="246" y="56"/>
                  </a:lnTo>
                  <a:lnTo>
                    <a:pt x="248" y="52"/>
                  </a:lnTo>
                  <a:lnTo>
                    <a:pt x="248" y="50"/>
                  </a:lnTo>
                  <a:lnTo>
                    <a:pt x="244" y="46"/>
                  </a:lnTo>
                  <a:lnTo>
                    <a:pt x="242" y="42"/>
                  </a:lnTo>
                  <a:lnTo>
                    <a:pt x="242" y="38"/>
                  </a:lnTo>
                  <a:lnTo>
                    <a:pt x="244" y="36"/>
                  </a:lnTo>
                  <a:lnTo>
                    <a:pt x="244" y="36"/>
                  </a:lnTo>
                  <a:lnTo>
                    <a:pt x="226" y="30"/>
                  </a:lnTo>
                  <a:lnTo>
                    <a:pt x="218" y="24"/>
                  </a:lnTo>
                  <a:lnTo>
                    <a:pt x="210" y="18"/>
                  </a:lnTo>
                  <a:lnTo>
                    <a:pt x="200" y="14"/>
                  </a:lnTo>
                  <a:lnTo>
                    <a:pt x="200" y="14"/>
                  </a:lnTo>
                  <a:lnTo>
                    <a:pt x="194" y="14"/>
                  </a:lnTo>
                  <a:lnTo>
                    <a:pt x="192" y="14"/>
                  </a:lnTo>
                  <a:lnTo>
                    <a:pt x="190" y="12"/>
                  </a:lnTo>
                  <a:lnTo>
                    <a:pt x="190" y="12"/>
                  </a:lnTo>
                  <a:lnTo>
                    <a:pt x="186" y="4"/>
                  </a:lnTo>
                  <a:lnTo>
                    <a:pt x="184" y="4"/>
                  </a:lnTo>
                  <a:lnTo>
                    <a:pt x="184" y="4"/>
                  </a:lnTo>
                  <a:lnTo>
                    <a:pt x="184" y="0"/>
                  </a:lnTo>
                  <a:lnTo>
                    <a:pt x="154" y="10"/>
                  </a:lnTo>
                  <a:lnTo>
                    <a:pt x="154" y="10"/>
                  </a:lnTo>
                  <a:lnTo>
                    <a:pt x="156" y="14"/>
                  </a:lnTo>
                  <a:lnTo>
                    <a:pt x="156" y="20"/>
                  </a:lnTo>
                  <a:lnTo>
                    <a:pt x="154" y="26"/>
                  </a:lnTo>
                  <a:lnTo>
                    <a:pt x="148" y="30"/>
                  </a:lnTo>
                  <a:lnTo>
                    <a:pt x="148" y="30"/>
                  </a:lnTo>
                  <a:lnTo>
                    <a:pt x="150" y="36"/>
                  </a:lnTo>
                  <a:lnTo>
                    <a:pt x="152" y="38"/>
                  </a:lnTo>
                  <a:lnTo>
                    <a:pt x="154" y="40"/>
                  </a:lnTo>
                  <a:lnTo>
                    <a:pt x="154" y="44"/>
                  </a:lnTo>
                  <a:lnTo>
                    <a:pt x="154" y="44"/>
                  </a:lnTo>
                  <a:lnTo>
                    <a:pt x="152" y="48"/>
                  </a:lnTo>
                  <a:lnTo>
                    <a:pt x="152" y="52"/>
                  </a:lnTo>
                  <a:lnTo>
                    <a:pt x="150" y="56"/>
                  </a:lnTo>
                  <a:lnTo>
                    <a:pt x="146" y="60"/>
                  </a:lnTo>
                  <a:lnTo>
                    <a:pt x="146" y="60"/>
                  </a:lnTo>
                  <a:lnTo>
                    <a:pt x="144" y="64"/>
                  </a:lnTo>
                  <a:lnTo>
                    <a:pt x="142" y="68"/>
                  </a:lnTo>
                  <a:lnTo>
                    <a:pt x="142" y="76"/>
                  </a:lnTo>
                  <a:lnTo>
                    <a:pt x="142" y="82"/>
                  </a:lnTo>
                  <a:lnTo>
                    <a:pt x="144" y="86"/>
                  </a:lnTo>
                  <a:lnTo>
                    <a:pt x="144" y="86"/>
                  </a:lnTo>
                  <a:lnTo>
                    <a:pt x="142" y="88"/>
                  </a:lnTo>
                  <a:lnTo>
                    <a:pt x="142" y="92"/>
                  </a:lnTo>
                  <a:lnTo>
                    <a:pt x="152" y="100"/>
                  </a:lnTo>
                  <a:lnTo>
                    <a:pt x="152" y="100"/>
                  </a:lnTo>
                  <a:lnTo>
                    <a:pt x="158" y="104"/>
                  </a:lnTo>
                  <a:lnTo>
                    <a:pt x="160" y="104"/>
                  </a:lnTo>
                  <a:lnTo>
                    <a:pt x="160" y="102"/>
                  </a:lnTo>
                  <a:lnTo>
                    <a:pt x="164" y="102"/>
                  </a:lnTo>
                  <a:lnTo>
                    <a:pt x="164" y="128"/>
                  </a:lnTo>
                  <a:lnTo>
                    <a:pt x="164" y="128"/>
                  </a:lnTo>
                  <a:lnTo>
                    <a:pt x="160" y="126"/>
                  </a:lnTo>
                  <a:lnTo>
                    <a:pt x="158" y="126"/>
                  </a:lnTo>
                  <a:lnTo>
                    <a:pt x="156" y="122"/>
                  </a:lnTo>
                  <a:lnTo>
                    <a:pt x="156" y="122"/>
                  </a:lnTo>
                  <a:lnTo>
                    <a:pt x="154" y="120"/>
                  </a:lnTo>
                  <a:lnTo>
                    <a:pt x="150" y="120"/>
                  </a:lnTo>
                  <a:lnTo>
                    <a:pt x="144" y="118"/>
                  </a:lnTo>
                  <a:lnTo>
                    <a:pt x="138" y="112"/>
                  </a:lnTo>
                  <a:lnTo>
                    <a:pt x="138" y="112"/>
                  </a:lnTo>
                  <a:lnTo>
                    <a:pt x="130" y="104"/>
                  </a:lnTo>
                  <a:lnTo>
                    <a:pt x="124" y="102"/>
                  </a:lnTo>
                  <a:lnTo>
                    <a:pt x="118" y="100"/>
                  </a:lnTo>
                  <a:lnTo>
                    <a:pt x="114" y="96"/>
                  </a:lnTo>
                  <a:lnTo>
                    <a:pt x="114" y="96"/>
                  </a:lnTo>
                  <a:lnTo>
                    <a:pt x="108" y="92"/>
                  </a:lnTo>
                  <a:lnTo>
                    <a:pt x="104" y="94"/>
                  </a:lnTo>
                  <a:lnTo>
                    <a:pt x="100" y="94"/>
                  </a:lnTo>
                  <a:lnTo>
                    <a:pt x="92" y="94"/>
                  </a:lnTo>
                  <a:lnTo>
                    <a:pt x="92" y="94"/>
                  </a:lnTo>
                  <a:lnTo>
                    <a:pt x="84" y="92"/>
                  </a:lnTo>
                  <a:lnTo>
                    <a:pt x="82" y="92"/>
                  </a:lnTo>
                  <a:lnTo>
                    <a:pt x="80" y="92"/>
                  </a:lnTo>
                  <a:lnTo>
                    <a:pt x="76" y="90"/>
                  </a:lnTo>
                  <a:lnTo>
                    <a:pt x="76" y="90"/>
                  </a:lnTo>
                  <a:lnTo>
                    <a:pt x="72" y="86"/>
                  </a:lnTo>
                  <a:lnTo>
                    <a:pt x="72" y="82"/>
                  </a:lnTo>
                  <a:lnTo>
                    <a:pt x="72" y="78"/>
                  </a:lnTo>
                  <a:lnTo>
                    <a:pt x="72" y="78"/>
                  </a:lnTo>
                  <a:lnTo>
                    <a:pt x="70" y="76"/>
                  </a:lnTo>
                  <a:lnTo>
                    <a:pt x="60" y="78"/>
                  </a:lnTo>
                  <a:lnTo>
                    <a:pt x="60" y="78"/>
                  </a:lnTo>
                  <a:lnTo>
                    <a:pt x="54" y="78"/>
                  </a:lnTo>
                  <a:lnTo>
                    <a:pt x="52" y="76"/>
                  </a:lnTo>
                  <a:lnTo>
                    <a:pt x="50" y="74"/>
                  </a:lnTo>
                  <a:lnTo>
                    <a:pt x="48" y="72"/>
                  </a:lnTo>
                  <a:lnTo>
                    <a:pt x="48" y="72"/>
                  </a:lnTo>
                  <a:lnTo>
                    <a:pt x="46" y="80"/>
                  </a:lnTo>
                  <a:lnTo>
                    <a:pt x="46" y="86"/>
                  </a:lnTo>
                  <a:lnTo>
                    <a:pt x="46" y="90"/>
                  </a:lnTo>
                  <a:lnTo>
                    <a:pt x="48" y="100"/>
                  </a:lnTo>
                  <a:lnTo>
                    <a:pt x="48" y="100"/>
                  </a:lnTo>
                  <a:lnTo>
                    <a:pt x="46" y="116"/>
                  </a:lnTo>
                  <a:lnTo>
                    <a:pt x="48" y="120"/>
                  </a:lnTo>
                  <a:lnTo>
                    <a:pt x="50" y="124"/>
                  </a:lnTo>
                  <a:lnTo>
                    <a:pt x="0" y="124"/>
                  </a:lnTo>
                  <a:lnTo>
                    <a:pt x="0" y="124"/>
                  </a:lnTo>
                  <a:lnTo>
                    <a:pt x="0" y="218"/>
                  </a:lnTo>
                  <a:lnTo>
                    <a:pt x="0" y="218"/>
                  </a:lnTo>
                  <a:lnTo>
                    <a:pt x="0" y="220"/>
                  </a:lnTo>
                  <a:lnTo>
                    <a:pt x="4" y="226"/>
                  </a:lnTo>
                  <a:lnTo>
                    <a:pt x="4" y="226"/>
                  </a:lnTo>
                  <a:lnTo>
                    <a:pt x="4" y="228"/>
                  </a:lnTo>
                  <a:lnTo>
                    <a:pt x="6" y="228"/>
                  </a:lnTo>
                  <a:lnTo>
                    <a:pt x="10" y="230"/>
                  </a:lnTo>
                  <a:lnTo>
                    <a:pt x="16" y="238"/>
                  </a:lnTo>
                  <a:lnTo>
                    <a:pt x="16" y="238"/>
                  </a:lnTo>
                  <a:lnTo>
                    <a:pt x="22" y="238"/>
                  </a:lnTo>
                  <a:lnTo>
                    <a:pt x="26" y="238"/>
                  </a:lnTo>
                  <a:lnTo>
                    <a:pt x="32" y="238"/>
                  </a:lnTo>
                  <a:lnTo>
                    <a:pt x="42" y="238"/>
                  </a:lnTo>
                  <a:lnTo>
                    <a:pt x="42" y="238"/>
                  </a:lnTo>
                  <a:lnTo>
                    <a:pt x="50" y="236"/>
                  </a:lnTo>
                  <a:lnTo>
                    <a:pt x="54" y="238"/>
                  </a:lnTo>
                  <a:lnTo>
                    <a:pt x="56" y="242"/>
                  </a:lnTo>
                  <a:lnTo>
                    <a:pt x="60" y="244"/>
                  </a:lnTo>
                  <a:lnTo>
                    <a:pt x="60" y="244"/>
                  </a:lnTo>
                  <a:lnTo>
                    <a:pt x="76" y="244"/>
                  </a:lnTo>
                  <a:lnTo>
                    <a:pt x="86" y="244"/>
                  </a:lnTo>
                  <a:lnTo>
                    <a:pt x="94" y="244"/>
                  </a:lnTo>
                  <a:lnTo>
                    <a:pt x="94" y="244"/>
                  </a:lnTo>
                  <a:lnTo>
                    <a:pt x="98" y="246"/>
                  </a:lnTo>
                  <a:lnTo>
                    <a:pt x="100" y="244"/>
                  </a:lnTo>
                  <a:lnTo>
                    <a:pt x="104" y="242"/>
                  </a:lnTo>
                  <a:lnTo>
                    <a:pt x="110" y="242"/>
                  </a:lnTo>
                  <a:lnTo>
                    <a:pt x="110" y="242"/>
                  </a:lnTo>
                  <a:lnTo>
                    <a:pt x="114" y="240"/>
                  </a:lnTo>
                  <a:lnTo>
                    <a:pt x="118" y="236"/>
                  </a:lnTo>
                  <a:lnTo>
                    <a:pt x="124" y="224"/>
                  </a:lnTo>
                  <a:lnTo>
                    <a:pt x="126" y="216"/>
                  </a:lnTo>
                  <a:lnTo>
                    <a:pt x="132" y="210"/>
                  </a:lnTo>
                  <a:lnTo>
                    <a:pt x="138" y="204"/>
                  </a:lnTo>
                  <a:lnTo>
                    <a:pt x="146" y="200"/>
                  </a:lnTo>
                  <a:lnTo>
                    <a:pt x="146" y="200"/>
                  </a:lnTo>
                  <a:lnTo>
                    <a:pt x="154" y="196"/>
                  </a:lnTo>
                  <a:lnTo>
                    <a:pt x="156" y="194"/>
                  </a:lnTo>
                  <a:lnTo>
                    <a:pt x="154" y="194"/>
                  </a:lnTo>
                  <a:lnTo>
                    <a:pt x="154" y="194"/>
                  </a:lnTo>
                  <a:lnTo>
                    <a:pt x="156" y="194"/>
                  </a:lnTo>
                  <a:lnTo>
                    <a:pt x="170" y="190"/>
                  </a:lnTo>
                  <a:lnTo>
                    <a:pt x="170" y="190"/>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Angola"/>
            <p:cNvSpPr>
              <a:spLocks/>
            </p:cNvSpPr>
            <p:nvPr/>
          </p:nvSpPr>
          <p:spPr bwMode="auto">
            <a:xfrm>
              <a:off x="4464809" y="3819261"/>
              <a:ext cx="354542" cy="412750"/>
            </a:xfrm>
            <a:custGeom>
              <a:avLst/>
              <a:gdLst/>
              <a:ahLst/>
              <a:cxnLst>
                <a:cxn ang="0">
                  <a:pos x="252" y="136"/>
                </a:cxn>
                <a:cxn ang="0">
                  <a:pos x="224" y="142"/>
                </a:cxn>
                <a:cxn ang="0">
                  <a:pos x="222" y="114"/>
                </a:cxn>
                <a:cxn ang="0">
                  <a:pos x="216" y="106"/>
                </a:cxn>
                <a:cxn ang="0">
                  <a:pos x="216" y="86"/>
                </a:cxn>
                <a:cxn ang="0">
                  <a:pos x="212" y="56"/>
                </a:cxn>
                <a:cxn ang="0">
                  <a:pos x="216" y="42"/>
                </a:cxn>
                <a:cxn ang="0">
                  <a:pos x="202" y="36"/>
                </a:cxn>
                <a:cxn ang="0">
                  <a:pos x="196" y="34"/>
                </a:cxn>
                <a:cxn ang="0">
                  <a:pos x="192" y="30"/>
                </a:cxn>
                <a:cxn ang="0">
                  <a:pos x="182" y="32"/>
                </a:cxn>
                <a:cxn ang="0">
                  <a:pos x="168" y="36"/>
                </a:cxn>
                <a:cxn ang="0">
                  <a:pos x="166" y="44"/>
                </a:cxn>
                <a:cxn ang="0">
                  <a:pos x="162" y="54"/>
                </a:cxn>
                <a:cxn ang="0">
                  <a:pos x="154" y="54"/>
                </a:cxn>
                <a:cxn ang="0">
                  <a:pos x="142" y="56"/>
                </a:cxn>
                <a:cxn ang="0">
                  <a:pos x="130" y="58"/>
                </a:cxn>
                <a:cxn ang="0">
                  <a:pos x="122" y="42"/>
                </a:cxn>
                <a:cxn ang="0">
                  <a:pos x="116" y="34"/>
                </a:cxn>
                <a:cxn ang="0">
                  <a:pos x="110" y="14"/>
                </a:cxn>
                <a:cxn ang="0">
                  <a:pos x="104" y="2"/>
                </a:cxn>
                <a:cxn ang="0">
                  <a:pos x="90" y="0"/>
                </a:cxn>
                <a:cxn ang="0">
                  <a:pos x="78" y="0"/>
                </a:cxn>
                <a:cxn ang="0">
                  <a:pos x="36" y="2"/>
                </a:cxn>
                <a:cxn ang="0">
                  <a:pos x="28" y="6"/>
                </a:cxn>
                <a:cxn ang="0">
                  <a:pos x="16" y="12"/>
                </a:cxn>
                <a:cxn ang="0">
                  <a:pos x="24" y="22"/>
                </a:cxn>
                <a:cxn ang="0">
                  <a:pos x="30" y="40"/>
                </a:cxn>
                <a:cxn ang="0">
                  <a:pos x="36" y="68"/>
                </a:cxn>
                <a:cxn ang="0">
                  <a:pos x="34" y="82"/>
                </a:cxn>
                <a:cxn ang="0">
                  <a:pos x="36" y="92"/>
                </a:cxn>
                <a:cxn ang="0">
                  <a:pos x="36" y="102"/>
                </a:cxn>
                <a:cxn ang="0">
                  <a:pos x="46" y="136"/>
                </a:cxn>
                <a:cxn ang="0">
                  <a:pos x="42" y="156"/>
                </a:cxn>
                <a:cxn ang="0">
                  <a:pos x="30" y="168"/>
                </a:cxn>
                <a:cxn ang="0">
                  <a:pos x="22" y="178"/>
                </a:cxn>
                <a:cxn ang="0">
                  <a:pos x="14" y="192"/>
                </a:cxn>
                <a:cxn ang="0">
                  <a:pos x="8" y="236"/>
                </a:cxn>
                <a:cxn ang="0">
                  <a:pos x="4" y="264"/>
                </a:cxn>
                <a:cxn ang="0">
                  <a:pos x="0" y="268"/>
                </a:cxn>
                <a:cxn ang="0">
                  <a:pos x="0" y="298"/>
                </a:cxn>
                <a:cxn ang="0">
                  <a:pos x="18" y="294"/>
                </a:cxn>
                <a:cxn ang="0">
                  <a:pos x="30" y="288"/>
                </a:cxn>
                <a:cxn ang="0">
                  <a:pos x="48" y="294"/>
                </a:cxn>
                <a:cxn ang="0">
                  <a:pos x="134" y="296"/>
                </a:cxn>
                <a:cxn ang="0">
                  <a:pos x="134" y="298"/>
                </a:cxn>
                <a:cxn ang="0">
                  <a:pos x="160" y="308"/>
                </a:cxn>
                <a:cxn ang="0">
                  <a:pos x="176" y="308"/>
                </a:cxn>
                <a:cxn ang="0">
                  <a:pos x="190" y="312"/>
                </a:cxn>
                <a:cxn ang="0">
                  <a:pos x="234" y="300"/>
                </a:cxn>
                <a:cxn ang="0">
                  <a:pos x="222" y="290"/>
                </a:cxn>
                <a:cxn ang="0">
                  <a:pos x="218" y="282"/>
                </a:cxn>
                <a:cxn ang="0">
                  <a:pos x="218" y="186"/>
                </a:cxn>
                <a:cxn ang="0">
                  <a:pos x="266" y="182"/>
                </a:cxn>
                <a:cxn ang="0">
                  <a:pos x="266" y="162"/>
                </a:cxn>
                <a:cxn ang="0">
                  <a:pos x="264" y="142"/>
                </a:cxn>
              </a:cxnLst>
              <a:rect l="0" t="0" r="r" b="b"/>
              <a:pathLst>
                <a:path w="268" h="312">
                  <a:moveTo>
                    <a:pt x="266" y="134"/>
                  </a:moveTo>
                  <a:lnTo>
                    <a:pt x="266" y="134"/>
                  </a:lnTo>
                  <a:lnTo>
                    <a:pt x="252" y="136"/>
                  </a:lnTo>
                  <a:lnTo>
                    <a:pt x="250" y="134"/>
                  </a:lnTo>
                  <a:lnTo>
                    <a:pt x="224" y="142"/>
                  </a:lnTo>
                  <a:lnTo>
                    <a:pt x="224" y="142"/>
                  </a:lnTo>
                  <a:lnTo>
                    <a:pt x="224" y="128"/>
                  </a:lnTo>
                  <a:lnTo>
                    <a:pt x="224" y="120"/>
                  </a:lnTo>
                  <a:lnTo>
                    <a:pt x="222" y="114"/>
                  </a:lnTo>
                  <a:lnTo>
                    <a:pt x="220" y="112"/>
                  </a:lnTo>
                  <a:lnTo>
                    <a:pt x="218" y="110"/>
                  </a:lnTo>
                  <a:lnTo>
                    <a:pt x="216" y="106"/>
                  </a:lnTo>
                  <a:lnTo>
                    <a:pt x="216" y="98"/>
                  </a:lnTo>
                  <a:lnTo>
                    <a:pt x="216" y="86"/>
                  </a:lnTo>
                  <a:lnTo>
                    <a:pt x="216" y="86"/>
                  </a:lnTo>
                  <a:lnTo>
                    <a:pt x="214" y="74"/>
                  </a:lnTo>
                  <a:lnTo>
                    <a:pt x="214" y="64"/>
                  </a:lnTo>
                  <a:lnTo>
                    <a:pt x="212" y="56"/>
                  </a:lnTo>
                  <a:lnTo>
                    <a:pt x="214" y="48"/>
                  </a:lnTo>
                  <a:lnTo>
                    <a:pt x="214" y="48"/>
                  </a:lnTo>
                  <a:lnTo>
                    <a:pt x="216" y="42"/>
                  </a:lnTo>
                  <a:lnTo>
                    <a:pt x="214" y="38"/>
                  </a:lnTo>
                  <a:lnTo>
                    <a:pt x="210" y="36"/>
                  </a:lnTo>
                  <a:lnTo>
                    <a:pt x="202" y="36"/>
                  </a:lnTo>
                  <a:lnTo>
                    <a:pt x="202" y="36"/>
                  </a:lnTo>
                  <a:lnTo>
                    <a:pt x="196" y="36"/>
                  </a:lnTo>
                  <a:lnTo>
                    <a:pt x="196" y="34"/>
                  </a:lnTo>
                  <a:lnTo>
                    <a:pt x="196" y="32"/>
                  </a:lnTo>
                  <a:lnTo>
                    <a:pt x="192" y="30"/>
                  </a:lnTo>
                  <a:lnTo>
                    <a:pt x="192" y="30"/>
                  </a:lnTo>
                  <a:lnTo>
                    <a:pt x="186" y="30"/>
                  </a:lnTo>
                  <a:lnTo>
                    <a:pt x="184" y="32"/>
                  </a:lnTo>
                  <a:lnTo>
                    <a:pt x="182" y="32"/>
                  </a:lnTo>
                  <a:lnTo>
                    <a:pt x="174" y="34"/>
                  </a:lnTo>
                  <a:lnTo>
                    <a:pt x="174" y="34"/>
                  </a:lnTo>
                  <a:lnTo>
                    <a:pt x="168" y="36"/>
                  </a:lnTo>
                  <a:lnTo>
                    <a:pt x="166" y="38"/>
                  </a:lnTo>
                  <a:lnTo>
                    <a:pt x="166" y="42"/>
                  </a:lnTo>
                  <a:lnTo>
                    <a:pt x="166" y="44"/>
                  </a:lnTo>
                  <a:lnTo>
                    <a:pt x="166" y="44"/>
                  </a:lnTo>
                  <a:lnTo>
                    <a:pt x="164" y="48"/>
                  </a:lnTo>
                  <a:lnTo>
                    <a:pt x="162" y="54"/>
                  </a:lnTo>
                  <a:lnTo>
                    <a:pt x="160" y="56"/>
                  </a:lnTo>
                  <a:lnTo>
                    <a:pt x="154" y="54"/>
                  </a:lnTo>
                  <a:lnTo>
                    <a:pt x="154" y="54"/>
                  </a:lnTo>
                  <a:lnTo>
                    <a:pt x="150" y="52"/>
                  </a:lnTo>
                  <a:lnTo>
                    <a:pt x="146" y="54"/>
                  </a:lnTo>
                  <a:lnTo>
                    <a:pt x="142" y="56"/>
                  </a:lnTo>
                  <a:lnTo>
                    <a:pt x="134" y="58"/>
                  </a:lnTo>
                  <a:lnTo>
                    <a:pt x="134" y="58"/>
                  </a:lnTo>
                  <a:lnTo>
                    <a:pt x="130" y="58"/>
                  </a:lnTo>
                  <a:lnTo>
                    <a:pt x="126" y="56"/>
                  </a:lnTo>
                  <a:lnTo>
                    <a:pt x="124" y="50"/>
                  </a:lnTo>
                  <a:lnTo>
                    <a:pt x="122" y="42"/>
                  </a:lnTo>
                  <a:lnTo>
                    <a:pt x="120" y="38"/>
                  </a:lnTo>
                  <a:lnTo>
                    <a:pt x="116" y="34"/>
                  </a:lnTo>
                  <a:lnTo>
                    <a:pt x="116" y="34"/>
                  </a:lnTo>
                  <a:lnTo>
                    <a:pt x="112" y="30"/>
                  </a:lnTo>
                  <a:lnTo>
                    <a:pt x="112" y="24"/>
                  </a:lnTo>
                  <a:lnTo>
                    <a:pt x="110" y="14"/>
                  </a:lnTo>
                  <a:lnTo>
                    <a:pt x="110" y="6"/>
                  </a:lnTo>
                  <a:lnTo>
                    <a:pt x="108" y="2"/>
                  </a:lnTo>
                  <a:lnTo>
                    <a:pt x="104" y="2"/>
                  </a:lnTo>
                  <a:lnTo>
                    <a:pt x="104" y="2"/>
                  </a:lnTo>
                  <a:lnTo>
                    <a:pt x="96" y="2"/>
                  </a:lnTo>
                  <a:lnTo>
                    <a:pt x="90" y="0"/>
                  </a:lnTo>
                  <a:lnTo>
                    <a:pt x="86" y="0"/>
                  </a:lnTo>
                  <a:lnTo>
                    <a:pt x="78" y="0"/>
                  </a:lnTo>
                  <a:lnTo>
                    <a:pt x="78" y="0"/>
                  </a:lnTo>
                  <a:lnTo>
                    <a:pt x="52" y="0"/>
                  </a:lnTo>
                  <a:lnTo>
                    <a:pt x="44" y="0"/>
                  </a:lnTo>
                  <a:lnTo>
                    <a:pt x="36" y="2"/>
                  </a:lnTo>
                  <a:lnTo>
                    <a:pt x="36" y="2"/>
                  </a:lnTo>
                  <a:lnTo>
                    <a:pt x="32" y="4"/>
                  </a:lnTo>
                  <a:lnTo>
                    <a:pt x="28" y="6"/>
                  </a:lnTo>
                  <a:lnTo>
                    <a:pt x="18" y="10"/>
                  </a:lnTo>
                  <a:lnTo>
                    <a:pt x="18" y="10"/>
                  </a:lnTo>
                  <a:lnTo>
                    <a:pt x="16" y="12"/>
                  </a:lnTo>
                  <a:lnTo>
                    <a:pt x="16" y="12"/>
                  </a:lnTo>
                  <a:lnTo>
                    <a:pt x="18" y="16"/>
                  </a:lnTo>
                  <a:lnTo>
                    <a:pt x="24" y="22"/>
                  </a:lnTo>
                  <a:lnTo>
                    <a:pt x="26" y="30"/>
                  </a:lnTo>
                  <a:lnTo>
                    <a:pt x="26" y="30"/>
                  </a:lnTo>
                  <a:lnTo>
                    <a:pt x="30" y="40"/>
                  </a:lnTo>
                  <a:lnTo>
                    <a:pt x="34" y="52"/>
                  </a:lnTo>
                  <a:lnTo>
                    <a:pt x="36" y="62"/>
                  </a:lnTo>
                  <a:lnTo>
                    <a:pt x="36" y="68"/>
                  </a:lnTo>
                  <a:lnTo>
                    <a:pt x="36" y="72"/>
                  </a:lnTo>
                  <a:lnTo>
                    <a:pt x="36" y="72"/>
                  </a:lnTo>
                  <a:lnTo>
                    <a:pt x="34" y="82"/>
                  </a:lnTo>
                  <a:lnTo>
                    <a:pt x="34" y="86"/>
                  </a:lnTo>
                  <a:lnTo>
                    <a:pt x="36" y="88"/>
                  </a:lnTo>
                  <a:lnTo>
                    <a:pt x="36" y="92"/>
                  </a:lnTo>
                  <a:lnTo>
                    <a:pt x="36" y="92"/>
                  </a:lnTo>
                  <a:lnTo>
                    <a:pt x="34" y="98"/>
                  </a:lnTo>
                  <a:lnTo>
                    <a:pt x="36" y="102"/>
                  </a:lnTo>
                  <a:lnTo>
                    <a:pt x="42" y="114"/>
                  </a:lnTo>
                  <a:lnTo>
                    <a:pt x="46" y="128"/>
                  </a:lnTo>
                  <a:lnTo>
                    <a:pt x="46" y="136"/>
                  </a:lnTo>
                  <a:lnTo>
                    <a:pt x="46" y="144"/>
                  </a:lnTo>
                  <a:lnTo>
                    <a:pt x="46" y="144"/>
                  </a:lnTo>
                  <a:lnTo>
                    <a:pt x="42" y="156"/>
                  </a:lnTo>
                  <a:lnTo>
                    <a:pt x="38" y="160"/>
                  </a:lnTo>
                  <a:lnTo>
                    <a:pt x="34" y="162"/>
                  </a:lnTo>
                  <a:lnTo>
                    <a:pt x="30" y="168"/>
                  </a:lnTo>
                  <a:lnTo>
                    <a:pt x="30" y="168"/>
                  </a:lnTo>
                  <a:lnTo>
                    <a:pt x="26" y="176"/>
                  </a:lnTo>
                  <a:lnTo>
                    <a:pt x="22" y="178"/>
                  </a:lnTo>
                  <a:lnTo>
                    <a:pt x="20" y="180"/>
                  </a:lnTo>
                  <a:lnTo>
                    <a:pt x="14" y="192"/>
                  </a:lnTo>
                  <a:lnTo>
                    <a:pt x="14" y="192"/>
                  </a:lnTo>
                  <a:lnTo>
                    <a:pt x="10" y="202"/>
                  </a:lnTo>
                  <a:lnTo>
                    <a:pt x="8" y="214"/>
                  </a:lnTo>
                  <a:lnTo>
                    <a:pt x="8" y="236"/>
                  </a:lnTo>
                  <a:lnTo>
                    <a:pt x="8" y="254"/>
                  </a:lnTo>
                  <a:lnTo>
                    <a:pt x="6" y="260"/>
                  </a:lnTo>
                  <a:lnTo>
                    <a:pt x="4" y="264"/>
                  </a:lnTo>
                  <a:lnTo>
                    <a:pt x="4" y="264"/>
                  </a:lnTo>
                  <a:lnTo>
                    <a:pt x="0" y="266"/>
                  </a:lnTo>
                  <a:lnTo>
                    <a:pt x="0" y="268"/>
                  </a:lnTo>
                  <a:lnTo>
                    <a:pt x="0" y="276"/>
                  </a:lnTo>
                  <a:lnTo>
                    <a:pt x="0" y="298"/>
                  </a:lnTo>
                  <a:lnTo>
                    <a:pt x="0" y="298"/>
                  </a:lnTo>
                  <a:lnTo>
                    <a:pt x="12" y="294"/>
                  </a:lnTo>
                  <a:lnTo>
                    <a:pt x="16" y="292"/>
                  </a:lnTo>
                  <a:lnTo>
                    <a:pt x="18" y="294"/>
                  </a:lnTo>
                  <a:lnTo>
                    <a:pt x="24" y="290"/>
                  </a:lnTo>
                  <a:lnTo>
                    <a:pt x="24" y="290"/>
                  </a:lnTo>
                  <a:lnTo>
                    <a:pt x="30" y="288"/>
                  </a:lnTo>
                  <a:lnTo>
                    <a:pt x="32" y="290"/>
                  </a:lnTo>
                  <a:lnTo>
                    <a:pt x="40" y="294"/>
                  </a:lnTo>
                  <a:lnTo>
                    <a:pt x="48" y="294"/>
                  </a:lnTo>
                  <a:lnTo>
                    <a:pt x="60" y="296"/>
                  </a:lnTo>
                  <a:lnTo>
                    <a:pt x="60" y="296"/>
                  </a:lnTo>
                  <a:lnTo>
                    <a:pt x="134" y="296"/>
                  </a:lnTo>
                  <a:lnTo>
                    <a:pt x="134" y="296"/>
                  </a:lnTo>
                  <a:lnTo>
                    <a:pt x="134" y="296"/>
                  </a:lnTo>
                  <a:lnTo>
                    <a:pt x="134" y="298"/>
                  </a:lnTo>
                  <a:lnTo>
                    <a:pt x="142" y="302"/>
                  </a:lnTo>
                  <a:lnTo>
                    <a:pt x="160" y="308"/>
                  </a:lnTo>
                  <a:lnTo>
                    <a:pt x="160" y="308"/>
                  </a:lnTo>
                  <a:lnTo>
                    <a:pt x="160" y="310"/>
                  </a:lnTo>
                  <a:lnTo>
                    <a:pt x="162" y="310"/>
                  </a:lnTo>
                  <a:lnTo>
                    <a:pt x="176" y="308"/>
                  </a:lnTo>
                  <a:lnTo>
                    <a:pt x="176" y="308"/>
                  </a:lnTo>
                  <a:lnTo>
                    <a:pt x="184" y="310"/>
                  </a:lnTo>
                  <a:lnTo>
                    <a:pt x="190" y="312"/>
                  </a:lnTo>
                  <a:lnTo>
                    <a:pt x="204" y="310"/>
                  </a:lnTo>
                  <a:lnTo>
                    <a:pt x="234" y="300"/>
                  </a:lnTo>
                  <a:lnTo>
                    <a:pt x="234" y="300"/>
                  </a:lnTo>
                  <a:lnTo>
                    <a:pt x="228" y="292"/>
                  </a:lnTo>
                  <a:lnTo>
                    <a:pt x="224" y="290"/>
                  </a:lnTo>
                  <a:lnTo>
                    <a:pt x="222" y="290"/>
                  </a:lnTo>
                  <a:lnTo>
                    <a:pt x="222" y="288"/>
                  </a:lnTo>
                  <a:lnTo>
                    <a:pt x="222" y="288"/>
                  </a:lnTo>
                  <a:lnTo>
                    <a:pt x="218" y="282"/>
                  </a:lnTo>
                  <a:lnTo>
                    <a:pt x="218" y="280"/>
                  </a:lnTo>
                  <a:lnTo>
                    <a:pt x="218" y="280"/>
                  </a:lnTo>
                  <a:lnTo>
                    <a:pt x="218" y="186"/>
                  </a:lnTo>
                  <a:lnTo>
                    <a:pt x="268" y="186"/>
                  </a:lnTo>
                  <a:lnTo>
                    <a:pt x="268" y="186"/>
                  </a:lnTo>
                  <a:lnTo>
                    <a:pt x="266" y="182"/>
                  </a:lnTo>
                  <a:lnTo>
                    <a:pt x="264" y="178"/>
                  </a:lnTo>
                  <a:lnTo>
                    <a:pt x="266" y="162"/>
                  </a:lnTo>
                  <a:lnTo>
                    <a:pt x="266" y="162"/>
                  </a:lnTo>
                  <a:lnTo>
                    <a:pt x="264" y="152"/>
                  </a:lnTo>
                  <a:lnTo>
                    <a:pt x="264" y="148"/>
                  </a:lnTo>
                  <a:lnTo>
                    <a:pt x="264" y="142"/>
                  </a:lnTo>
                  <a:lnTo>
                    <a:pt x="266" y="134"/>
                  </a:lnTo>
                  <a:lnTo>
                    <a:pt x="266" y="134"/>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DR Congo"/>
            <p:cNvSpPr>
              <a:spLocks/>
            </p:cNvSpPr>
            <p:nvPr/>
          </p:nvSpPr>
          <p:spPr bwMode="auto">
            <a:xfrm>
              <a:off x="4483330" y="3432969"/>
              <a:ext cx="550333" cy="637646"/>
            </a:xfrm>
            <a:custGeom>
              <a:avLst/>
              <a:gdLst/>
              <a:ahLst/>
              <a:cxnLst>
                <a:cxn ang="0">
                  <a:pos x="154" y="6"/>
                </a:cxn>
                <a:cxn ang="0">
                  <a:pos x="184" y="14"/>
                </a:cxn>
                <a:cxn ang="0">
                  <a:pos x="206" y="18"/>
                </a:cxn>
                <a:cxn ang="0">
                  <a:pos x="236" y="16"/>
                </a:cxn>
                <a:cxn ang="0">
                  <a:pos x="268" y="4"/>
                </a:cxn>
                <a:cxn ang="0">
                  <a:pos x="278" y="2"/>
                </a:cxn>
                <a:cxn ang="0">
                  <a:pos x="334" y="16"/>
                </a:cxn>
                <a:cxn ang="0">
                  <a:pos x="358" y="24"/>
                </a:cxn>
                <a:cxn ang="0">
                  <a:pos x="374" y="24"/>
                </a:cxn>
                <a:cxn ang="0">
                  <a:pos x="398" y="54"/>
                </a:cxn>
                <a:cxn ang="0">
                  <a:pos x="404" y="76"/>
                </a:cxn>
                <a:cxn ang="0">
                  <a:pos x="414" y="82"/>
                </a:cxn>
                <a:cxn ang="0">
                  <a:pos x="390" y="118"/>
                </a:cxn>
                <a:cxn ang="0">
                  <a:pos x="374" y="154"/>
                </a:cxn>
                <a:cxn ang="0">
                  <a:pos x="372" y="186"/>
                </a:cxn>
                <a:cxn ang="0">
                  <a:pos x="360" y="198"/>
                </a:cxn>
                <a:cxn ang="0">
                  <a:pos x="370" y="240"/>
                </a:cxn>
                <a:cxn ang="0">
                  <a:pos x="368" y="270"/>
                </a:cxn>
                <a:cxn ang="0">
                  <a:pos x="368" y="306"/>
                </a:cxn>
                <a:cxn ang="0">
                  <a:pos x="388" y="354"/>
                </a:cxn>
                <a:cxn ang="0">
                  <a:pos x="352" y="384"/>
                </a:cxn>
                <a:cxn ang="0">
                  <a:pos x="358" y="398"/>
                </a:cxn>
                <a:cxn ang="0">
                  <a:pos x="348" y="418"/>
                </a:cxn>
                <a:cxn ang="0">
                  <a:pos x="346" y="442"/>
                </a:cxn>
                <a:cxn ang="0">
                  <a:pos x="364" y="456"/>
                </a:cxn>
                <a:cxn ang="0">
                  <a:pos x="360" y="476"/>
                </a:cxn>
                <a:cxn ang="0">
                  <a:pos x="342" y="466"/>
                </a:cxn>
                <a:cxn ang="0">
                  <a:pos x="312" y="446"/>
                </a:cxn>
                <a:cxn ang="0">
                  <a:pos x="286" y="446"/>
                </a:cxn>
                <a:cxn ang="0">
                  <a:pos x="276" y="432"/>
                </a:cxn>
                <a:cxn ang="0">
                  <a:pos x="256" y="430"/>
                </a:cxn>
                <a:cxn ang="0">
                  <a:pos x="210" y="434"/>
                </a:cxn>
                <a:cxn ang="0">
                  <a:pos x="204" y="402"/>
                </a:cxn>
                <a:cxn ang="0">
                  <a:pos x="200" y="356"/>
                </a:cxn>
                <a:cxn ang="0">
                  <a:pos x="196" y="328"/>
                </a:cxn>
                <a:cxn ang="0">
                  <a:pos x="178" y="322"/>
                </a:cxn>
                <a:cxn ang="0">
                  <a:pos x="160" y="326"/>
                </a:cxn>
                <a:cxn ang="0">
                  <a:pos x="150" y="340"/>
                </a:cxn>
                <a:cxn ang="0">
                  <a:pos x="132" y="346"/>
                </a:cxn>
                <a:cxn ang="0">
                  <a:pos x="110" y="342"/>
                </a:cxn>
                <a:cxn ang="0">
                  <a:pos x="98" y="316"/>
                </a:cxn>
                <a:cxn ang="0">
                  <a:pos x="82" y="294"/>
                </a:cxn>
                <a:cxn ang="0">
                  <a:pos x="30" y="292"/>
                </a:cxn>
                <a:cxn ang="0">
                  <a:pos x="10" y="298"/>
                </a:cxn>
                <a:cxn ang="0">
                  <a:pos x="6" y="292"/>
                </a:cxn>
                <a:cxn ang="0">
                  <a:pos x="12" y="258"/>
                </a:cxn>
                <a:cxn ang="0">
                  <a:pos x="32" y="258"/>
                </a:cxn>
                <a:cxn ang="0">
                  <a:pos x="46" y="256"/>
                </a:cxn>
                <a:cxn ang="0">
                  <a:pos x="58" y="258"/>
                </a:cxn>
                <a:cxn ang="0">
                  <a:pos x="84" y="230"/>
                </a:cxn>
                <a:cxn ang="0">
                  <a:pos x="98" y="176"/>
                </a:cxn>
                <a:cxn ang="0">
                  <a:pos x="124" y="140"/>
                </a:cxn>
                <a:cxn ang="0">
                  <a:pos x="130" y="84"/>
                </a:cxn>
                <a:cxn ang="0">
                  <a:pos x="136" y="58"/>
                </a:cxn>
              </a:cxnLst>
              <a:rect l="0" t="0" r="r" b="b"/>
              <a:pathLst>
                <a:path w="416" h="482">
                  <a:moveTo>
                    <a:pt x="138" y="42"/>
                  </a:moveTo>
                  <a:lnTo>
                    <a:pt x="138" y="42"/>
                  </a:lnTo>
                  <a:lnTo>
                    <a:pt x="142" y="22"/>
                  </a:lnTo>
                  <a:lnTo>
                    <a:pt x="146" y="12"/>
                  </a:lnTo>
                  <a:lnTo>
                    <a:pt x="150" y="8"/>
                  </a:lnTo>
                  <a:lnTo>
                    <a:pt x="154" y="6"/>
                  </a:lnTo>
                  <a:lnTo>
                    <a:pt x="162" y="4"/>
                  </a:lnTo>
                  <a:lnTo>
                    <a:pt x="162" y="4"/>
                  </a:lnTo>
                  <a:lnTo>
                    <a:pt x="168" y="4"/>
                  </a:lnTo>
                  <a:lnTo>
                    <a:pt x="172" y="6"/>
                  </a:lnTo>
                  <a:lnTo>
                    <a:pt x="178" y="10"/>
                  </a:lnTo>
                  <a:lnTo>
                    <a:pt x="184" y="14"/>
                  </a:lnTo>
                  <a:lnTo>
                    <a:pt x="186" y="16"/>
                  </a:lnTo>
                  <a:lnTo>
                    <a:pt x="190" y="14"/>
                  </a:lnTo>
                  <a:lnTo>
                    <a:pt x="190" y="14"/>
                  </a:lnTo>
                  <a:lnTo>
                    <a:pt x="194" y="14"/>
                  </a:lnTo>
                  <a:lnTo>
                    <a:pt x="198" y="16"/>
                  </a:lnTo>
                  <a:lnTo>
                    <a:pt x="206" y="18"/>
                  </a:lnTo>
                  <a:lnTo>
                    <a:pt x="216" y="22"/>
                  </a:lnTo>
                  <a:lnTo>
                    <a:pt x="222" y="24"/>
                  </a:lnTo>
                  <a:lnTo>
                    <a:pt x="230" y="22"/>
                  </a:lnTo>
                  <a:lnTo>
                    <a:pt x="230" y="22"/>
                  </a:lnTo>
                  <a:lnTo>
                    <a:pt x="232" y="20"/>
                  </a:lnTo>
                  <a:lnTo>
                    <a:pt x="236" y="16"/>
                  </a:lnTo>
                  <a:lnTo>
                    <a:pt x="240" y="12"/>
                  </a:lnTo>
                  <a:lnTo>
                    <a:pt x="250" y="10"/>
                  </a:lnTo>
                  <a:lnTo>
                    <a:pt x="250" y="10"/>
                  </a:lnTo>
                  <a:lnTo>
                    <a:pt x="264" y="8"/>
                  </a:lnTo>
                  <a:lnTo>
                    <a:pt x="266" y="6"/>
                  </a:lnTo>
                  <a:lnTo>
                    <a:pt x="268" y="4"/>
                  </a:lnTo>
                  <a:lnTo>
                    <a:pt x="268" y="2"/>
                  </a:lnTo>
                  <a:lnTo>
                    <a:pt x="268" y="0"/>
                  </a:lnTo>
                  <a:lnTo>
                    <a:pt x="272" y="0"/>
                  </a:lnTo>
                  <a:lnTo>
                    <a:pt x="272" y="0"/>
                  </a:lnTo>
                  <a:lnTo>
                    <a:pt x="274" y="0"/>
                  </a:lnTo>
                  <a:lnTo>
                    <a:pt x="278" y="2"/>
                  </a:lnTo>
                  <a:lnTo>
                    <a:pt x="290" y="4"/>
                  </a:lnTo>
                  <a:lnTo>
                    <a:pt x="324" y="6"/>
                  </a:lnTo>
                  <a:lnTo>
                    <a:pt x="324" y="6"/>
                  </a:lnTo>
                  <a:lnTo>
                    <a:pt x="328" y="12"/>
                  </a:lnTo>
                  <a:lnTo>
                    <a:pt x="330" y="14"/>
                  </a:lnTo>
                  <a:lnTo>
                    <a:pt x="334" y="16"/>
                  </a:lnTo>
                  <a:lnTo>
                    <a:pt x="338" y="20"/>
                  </a:lnTo>
                  <a:lnTo>
                    <a:pt x="338" y="20"/>
                  </a:lnTo>
                  <a:lnTo>
                    <a:pt x="342" y="24"/>
                  </a:lnTo>
                  <a:lnTo>
                    <a:pt x="346" y="24"/>
                  </a:lnTo>
                  <a:lnTo>
                    <a:pt x="350" y="24"/>
                  </a:lnTo>
                  <a:lnTo>
                    <a:pt x="358" y="24"/>
                  </a:lnTo>
                  <a:lnTo>
                    <a:pt x="358" y="24"/>
                  </a:lnTo>
                  <a:lnTo>
                    <a:pt x="362" y="24"/>
                  </a:lnTo>
                  <a:lnTo>
                    <a:pt x="364" y="22"/>
                  </a:lnTo>
                  <a:lnTo>
                    <a:pt x="368" y="20"/>
                  </a:lnTo>
                  <a:lnTo>
                    <a:pt x="374" y="24"/>
                  </a:lnTo>
                  <a:lnTo>
                    <a:pt x="374" y="24"/>
                  </a:lnTo>
                  <a:lnTo>
                    <a:pt x="392" y="38"/>
                  </a:lnTo>
                  <a:lnTo>
                    <a:pt x="398" y="42"/>
                  </a:lnTo>
                  <a:lnTo>
                    <a:pt x="404" y="42"/>
                  </a:lnTo>
                  <a:lnTo>
                    <a:pt x="404" y="42"/>
                  </a:lnTo>
                  <a:lnTo>
                    <a:pt x="398" y="52"/>
                  </a:lnTo>
                  <a:lnTo>
                    <a:pt x="398" y="54"/>
                  </a:lnTo>
                  <a:lnTo>
                    <a:pt x="400" y="56"/>
                  </a:lnTo>
                  <a:lnTo>
                    <a:pt x="400" y="64"/>
                  </a:lnTo>
                  <a:lnTo>
                    <a:pt x="400" y="64"/>
                  </a:lnTo>
                  <a:lnTo>
                    <a:pt x="400" y="70"/>
                  </a:lnTo>
                  <a:lnTo>
                    <a:pt x="402" y="74"/>
                  </a:lnTo>
                  <a:lnTo>
                    <a:pt x="404" y="76"/>
                  </a:lnTo>
                  <a:lnTo>
                    <a:pt x="406" y="76"/>
                  </a:lnTo>
                  <a:lnTo>
                    <a:pt x="412" y="78"/>
                  </a:lnTo>
                  <a:lnTo>
                    <a:pt x="414" y="78"/>
                  </a:lnTo>
                  <a:lnTo>
                    <a:pt x="416" y="80"/>
                  </a:lnTo>
                  <a:lnTo>
                    <a:pt x="416" y="80"/>
                  </a:lnTo>
                  <a:lnTo>
                    <a:pt x="414" y="82"/>
                  </a:lnTo>
                  <a:lnTo>
                    <a:pt x="412" y="82"/>
                  </a:lnTo>
                  <a:lnTo>
                    <a:pt x="410" y="86"/>
                  </a:lnTo>
                  <a:lnTo>
                    <a:pt x="406" y="94"/>
                  </a:lnTo>
                  <a:lnTo>
                    <a:pt x="406" y="94"/>
                  </a:lnTo>
                  <a:lnTo>
                    <a:pt x="398" y="110"/>
                  </a:lnTo>
                  <a:lnTo>
                    <a:pt x="390" y="118"/>
                  </a:lnTo>
                  <a:lnTo>
                    <a:pt x="384" y="124"/>
                  </a:lnTo>
                  <a:lnTo>
                    <a:pt x="382" y="132"/>
                  </a:lnTo>
                  <a:lnTo>
                    <a:pt x="382" y="132"/>
                  </a:lnTo>
                  <a:lnTo>
                    <a:pt x="378" y="142"/>
                  </a:lnTo>
                  <a:lnTo>
                    <a:pt x="376" y="148"/>
                  </a:lnTo>
                  <a:lnTo>
                    <a:pt x="374" y="154"/>
                  </a:lnTo>
                  <a:lnTo>
                    <a:pt x="378" y="166"/>
                  </a:lnTo>
                  <a:lnTo>
                    <a:pt x="378" y="166"/>
                  </a:lnTo>
                  <a:lnTo>
                    <a:pt x="374" y="170"/>
                  </a:lnTo>
                  <a:lnTo>
                    <a:pt x="372" y="174"/>
                  </a:lnTo>
                  <a:lnTo>
                    <a:pt x="372" y="182"/>
                  </a:lnTo>
                  <a:lnTo>
                    <a:pt x="372" y="186"/>
                  </a:lnTo>
                  <a:lnTo>
                    <a:pt x="372" y="188"/>
                  </a:lnTo>
                  <a:lnTo>
                    <a:pt x="370" y="192"/>
                  </a:lnTo>
                  <a:lnTo>
                    <a:pt x="364" y="196"/>
                  </a:lnTo>
                  <a:lnTo>
                    <a:pt x="364" y="196"/>
                  </a:lnTo>
                  <a:lnTo>
                    <a:pt x="362" y="196"/>
                  </a:lnTo>
                  <a:lnTo>
                    <a:pt x="360" y="198"/>
                  </a:lnTo>
                  <a:lnTo>
                    <a:pt x="358" y="202"/>
                  </a:lnTo>
                  <a:lnTo>
                    <a:pt x="360" y="210"/>
                  </a:lnTo>
                  <a:lnTo>
                    <a:pt x="360" y="210"/>
                  </a:lnTo>
                  <a:lnTo>
                    <a:pt x="366" y="234"/>
                  </a:lnTo>
                  <a:lnTo>
                    <a:pt x="368" y="238"/>
                  </a:lnTo>
                  <a:lnTo>
                    <a:pt x="370" y="240"/>
                  </a:lnTo>
                  <a:lnTo>
                    <a:pt x="372" y="240"/>
                  </a:lnTo>
                  <a:lnTo>
                    <a:pt x="372" y="240"/>
                  </a:lnTo>
                  <a:lnTo>
                    <a:pt x="374" y="242"/>
                  </a:lnTo>
                  <a:lnTo>
                    <a:pt x="374" y="242"/>
                  </a:lnTo>
                  <a:lnTo>
                    <a:pt x="370" y="258"/>
                  </a:lnTo>
                  <a:lnTo>
                    <a:pt x="368" y="270"/>
                  </a:lnTo>
                  <a:lnTo>
                    <a:pt x="368" y="280"/>
                  </a:lnTo>
                  <a:lnTo>
                    <a:pt x="368" y="288"/>
                  </a:lnTo>
                  <a:lnTo>
                    <a:pt x="370" y="298"/>
                  </a:lnTo>
                  <a:lnTo>
                    <a:pt x="370" y="302"/>
                  </a:lnTo>
                  <a:lnTo>
                    <a:pt x="368" y="306"/>
                  </a:lnTo>
                  <a:lnTo>
                    <a:pt x="368" y="306"/>
                  </a:lnTo>
                  <a:lnTo>
                    <a:pt x="366" y="310"/>
                  </a:lnTo>
                  <a:lnTo>
                    <a:pt x="368" y="314"/>
                  </a:lnTo>
                  <a:lnTo>
                    <a:pt x="374" y="326"/>
                  </a:lnTo>
                  <a:lnTo>
                    <a:pt x="384" y="340"/>
                  </a:lnTo>
                  <a:lnTo>
                    <a:pt x="386" y="346"/>
                  </a:lnTo>
                  <a:lnTo>
                    <a:pt x="388" y="354"/>
                  </a:lnTo>
                  <a:lnTo>
                    <a:pt x="358" y="364"/>
                  </a:lnTo>
                  <a:lnTo>
                    <a:pt x="358" y="364"/>
                  </a:lnTo>
                  <a:lnTo>
                    <a:pt x="360" y="368"/>
                  </a:lnTo>
                  <a:lnTo>
                    <a:pt x="360" y="374"/>
                  </a:lnTo>
                  <a:lnTo>
                    <a:pt x="358" y="380"/>
                  </a:lnTo>
                  <a:lnTo>
                    <a:pt x="352" y="384"/>
                  </a:lnTo>
                  <a:lnTo>
                    <a:pt x="352" y="384"/>
                  </a:lnTo>
                  <a:lnTo>
                    <a:pt x="354" y="390"/>
                  </a:lnTo>
                  <a:lnTo>
                    <a:pt x="356" y="392"/>
                  </a:lnTo>
                  <a:lnTo>
                    <a:pt x="358" y="394"/>
                  </a:lnTo>
                  <a:lnTo>
                    <a:pt x="358" y="398"/>
                  </a:lnTo>
                  <a:lnTo>
                    <a:pt x="358" y="398"/>
                  </a:lnTo>
                  <a:lnTo>
                    <a:pt x="356" y="402"/>
                  </a:lnTo>
                  <a:lnTo>
                    <a:pt x="356" y="406"/>
                  </a:lnTo>
                  <a:lnTo>
                    <a:pt x="354" y="410"/>
                  </a:lnTo>
                  <a:lnTo>
                    <a:pt x="350" y="414"/>
                  </a:lnTo>
                  <a:lnTo>
                    <a:pt x="350" y="414"/>
                  </a:lnTo>
                  <a:lnTo>
                    <a:pt x="348" y="418"/>
                  </a:lnTo>
                  <a:lnTo>
                    <a:pt x="346" y="422"/>
                  </a:lnTo>
                  <a:lnTo>
                    <a:pt x="346" y="430"/>
                  </a:lnTo>
                  <a:lnTo>
                    <a:pt x="346" y="436"/>
                  </a:lnTo>
                  <a:lnTo>
                    <a:pt x="348" y="440"/>
                  </a:lnTo>
                  <a:lnTo>
                    <a:pt x="348" y="440"/>
                  </a:lnTo>
                  <a:lnTo>
                    <a:pt x="346" y="442"/>
                  </a:lnTo>
                  <a:lnTo>
                    <a:pt x="346" y="446"/>
                  </a:lnTo>
                  <a:lnTo>
                    <a:pt x="356" y="454"/>
                  </a:lnTo>
                  <a:lnTo>
                    <a:pt x="356" y="454"/>
                  </a:lnTo>
                  <a:lnTo>
                    <a:pt x="362" y="458"/>
                  </a:lnTo>
                  <a:lnTo>
                    <a:pt x="364" y="458"/>
                  </a:lnTo>
                  <a:lnTo>
                    <a:pt x="364" y="456"/>
                  </a:lnTo>
                  <a:lnTo>
                    <a:pt x="368" y="456"/>
                  </a:lnTo>
                  <a:lnTo>
                    <a:pt x="368" y="482"/>
                  </a:lnTo>
                  <a:lnTo>
                    <a:pt x="368" y="482"/>
                  </a:lnTo>
                  <a:lnTo>
                    <a:pt x="364" y="480"/>
                  </a:lnTo>
                  <a:lnTo>
                    <a:pt x="362" y="480"/>
                  </a:lnTo>
                  <a:lnTo>
                    <a:pt x="360" y="476"/>
                  </a:lnTo>
                  <a:lnTo>
                    <a:pt x="360" y="476"/>
                  </a:lnTo>
                  <a:lnTo>
                    <a:pt x="358" y="474"/>
                  </a:lnTo>
                  <a:lnTo>
                    <a:pt x="354" y="474"/>
                  </a:lnTo>
                  <a:lnTo>
                    <a:pt x="348" y="472"/>
                  </a:lnTo>
                  <a:lnTo>
                    <a:pt x="342" y="466"/>
                  </a:lnTo>
                  <a:lnTo>
                    <a:pt x="342" y="466"/>
                  </a:lnTo>
                  <a:lnTo>
                    <a:pt x="334" y="458"/>
                  </a:lnTo>
                  <a:lnTo>
                    <a:pt x="328" y="456"/>
                  </a:lnTo>
                  <a:lnTo>
                    <a:pt x="322" y="454"/>
                  </a:lnTo>
                  <a:lnTo>
                    <a:pt x="318" y="450"/>
                  </a:lnTo>
                  <a:lnTo>
                    <a:pt x="318" y="450"/>
                  </a:lnTo>
                  <a:lnTo>
                    <a:pt x="312" y="446"/>
                  </a:lnTo>
                  <a:lnTo>
                    <a:pt x="308" y="448"/>
                  </a:lnTo>
                  <a:lnTo>
                    <a:pt x="304" y="448"/>
                  </a:lnTo>
                  <a:lnTo>
                    <a:pt x="296" y="448"/>
                  </a:lnTo>
                  <a:lnTo>
                    <a:pt x="296" y="448"/>
                  </a:lnTo>
                  <a:lnTo>
                    <a:pt x="288" y="446"/>
                  </a:lnTo>
                  <a:lnTo>
                    <a:pt x="286" y="446"/>
                  </a:lnTo>
                  <a:lnTo>
                    <a:pt x="284" y="446"/>
                  </a:lnTo>
                  <a:lnTo>
                    <a:pt x="280" y="444"/>
                  </a:lnTo>
                  <a:lnTo>
                    <a:pt x="280" y="444"/>
                  </a:lnTo>
                  <a:lnTo>
                    <a:pt x="276" y="440"/>
                  </a:lnTo>
                  <a:lnTo>
                    <a:pt x="276" y="436"/>
                  </a:lnTo>
                  <a:lnTo>
                    <a:pt x="276" y="432"/>
                  </a:lnTo>
                  <a:lnTo>
                    <a:pt x="276" y="432"/>
                  </a:lnTo>
                  <a:lnTo>
                    <a:pt x="274" y="430"/>
                  </a:lnTo>
                  <a:lnTo>
                    <a:pt x="264" y="432"/>
                  </a:lnTo>
                  <a:lnTo>
                    <a:pt x="264" y="432"/>
                  </a:lnTo>
                  <a:lnTo>
                    <a:pt x="258" y="432"/>
                  </a:lnTo>
                  <a:lnTo>
                    <a:pt x="256" y="430"/>
                  </a:lnTo>
                  <a:lnTo>
                    <a:pt x="254" y="428"/>
                  </a:lnTo>
                  <a:lnTo>
                    <a:pt x="252" y="426"/>
                  </a:lnTo>
                  <a:lnTo>
                    <a:pt x="252" y="426"/>
                  </a:lnTo>
                  <a:lnTo>
                    <a:pt x="238" y="428"/>
                  </a:lnTo>
                  <a:lnTo>
                    <a:pt x="236" y="426"/>
                  </a:lnTo>
                  <a:lnTo>
                    <a:pt x="210" y="434"/>
                  </a:lnTo>
                  <a:lnTo>
                    <a:pt x="210" y="434"/>
                  </a:lnTo>
                  <a:lnTo>
                    <a:pt x="210" y="420"/>
                  </a:lnTo>
                  <a:lnTo>
                    <a:pt x="210" y="412"/>
                  </a:lnTo>
                  <a:lnTo>
                    <a:pt x="208" y="406"/>
                  </a:lnTo>
                  <a:lnTo>
                    <a:pt x="206" y="404"/>
                  </a:lnTo>
                  <a:lnTo>
                    <a:pt x="204" y="402"/>
                  </a:lnTo>
                  <a:lnTo>
                    <a:pt x="202" y="398"/>
                  </a:lnTo>
                  <a:lnTo>
                    <a:pt x="202" y="390"/>
                  </a:lnTo>
                  <a:lnTo>
                    <a:pt x="202" y="378"/>
                  </a:lnTo>
                  <a:lnTo>
                    <a:pt x="202" y="378"/>
                  </a:lnTo>
                  <a:lnTo>
                    <a:pt x="200" y="366"/>
                  </a:lnTo>
                  <a:lnTo>
                    <a:pt x="200" y="356"/>
                  </a:lnTo>
                  <a:lnTo>
                    <a:pt x="198" y="348"/>
                  </a:lnTo>
                  <a:lnTo>
                    <a:pt x="200" y="340"/>
                  </a:lnTo>
                  <a:lnTo>
                    <a:pt x="200" y="340"/>
                  </a:lnTo>
                  <a:lnTo>
                    <a:pt x="202" y="334"/>
                  </a:lnTo>
                  <a:lnTo>
                    <a:pt x="200" y="330"/>
                  </a:lnTo>
                  <a:lnTo>
                    <a:pt x="196" y="328"/>
                  </a:lnTo>
                  <a:lnTo>
                    <a:pt x="188" y="328"/>
                  </a:lnTo>
                  <a:lnTo>
                    <a:pt x="188" y="328"/>
                  </a:lnTo>
                  <a:lnTo>
                    <a:pt x="182" y="328"/>
                  </a:lnTo>
                  <a:lnTo>
                    <a:pt x="182" y="326"/>
                  </a:lnTo>
                  <a:lnTo>
                    <a:pt x="182" y="324"/>
                  </a:lnTo>
                  <a:lnTo>
                    <a:pt x="178" y="322"/>
                  </a:lnTo>
                  <a:lnTo>
                    <a:pt x="178" y="322"/>
                  </a:lnTo>
                  <a:lnTo>
                    <a:pt x="172" y="322"/>
                  </a:lnTo>
                  <a:lnTo>
                    <a:pt x="170" y="324"/>
                  </a:lnTo>
                  <a:lnTo>
                    <a:pt x="168" y="324"/>
                  </a:lnTo>
                  <a:lnTo>
                    <a:pt x="160" y="326"/>
                  </a:lnTo>
                  <a:lnTo>
                    <a:pt x="160" y="326"/>
                  </a:lnTo>
                  <a:lnTo>
                    <a:pt x="154" y="328"/>
                  </a:lnTo>
                  <a:lnTo>
                    <a:pt x="152" y="330"/>
                  </a:lnTo>
                  <a:lnTo>
                    <a:pt x="152" y="334"/>
                  </a:lnTo>
                  <a:lnTo>
                    <a:pt x="152" y="336"/>
                  </a:lnTo>
                  <a:lnTo>
                    <a:pt x="152" y="336"/>
                  </a:lnTo>
                  <a:lnTo>
                    <a:pt x="150" y="340"/>
                  </a:lnTo>
                  <a:lnTo>
                    <a:pt x="148" y="346"/>
                  </a:lnTo>
                  <a:lnTo>
                    <a:pt x="146" y="348"/>
                  </a:lnTo>
                  <a:lnTo>
                    <a:pt x="140" y="346"/>
                  </a:lnTo>
                  <a:lnTo>
                    <a:pt x="140" y="346"/>
                  </a:lnTo>
                  <a:lnTo>
                    <a:pt x="136" y="344"/>
                  </a:lnTo>
                  <a:lnTo>
                    <a:pt x="132" y="346"/>
                  </a:lnTo>
                  <a:lnTo>
                    <a:pt x="128" y="348"/>
                  </a:lnTo>
                  <a:lnTo>
                    <a:pt x="120" y="350"/>
                  </a:lnTo>
                  <a:lnTo>
                    <a:pt x="120" y="350"/>
                  </a:lnTo>
                  <a:lnTo>
                    <a:pt x="116" y="350"/>
                  </a:lnTo>
                  <a:lnTo>
                    <a:pt x="112" y="348"/>
                  </a:lnTo>
                  <a:lnTo>
                    <a:pt x="110" y="342"/>
                  </a:lnTo>
                  <a:lnTo>
                    <a:pt x="108" y="334"/>
                  </a:lnTo>
                  <a:lnTo>
                    <a:pt x="106" y="330"/>
                  </a:lnTo>
                  <a:lnTo>
                    <a:pt x="102" y="326"/>
                  </a:lnTo>
                  <a:lnTo>
                    <a:pt x="102" y="326"/>
                  </a:lnTo>
                  <a:lnTo>
                    <a:pt x="98" y="322"/>
                  </a:lnTo>
                  <a:lnTo>
                    <a:pt x="98" y="316"/>
                  </a:lnTo>
                  <a:lnTo>
                    <a:pt x="96" y="306"/>
                  </a:lnTo>
                  <a:lnTo>
                    <a:pt x="96" y="298"/>
                  </a:lnTo>
                  <a:lnTo>
                    <a:pt x="94" y="294"/>
                  </a:lnTo>
                  <a:lnTo>
                    <a:pt x="90" y="294"/>
                  </a:lnTo>
                  <a:lnTo>
                    <a:pt x="90" y="294"/>
                  </a:lnTo>
                  <a:lnTo>
                    <a:pt x="82" y="294"/>
                  </a:lnTo>
                  <a:lnTo>
                    <a:pt x="76" y="292"/>
                  </a:lnTo>
                  <a:lnTo>
                    <a:pt x="72" y="292"/>
                  </a:lnTo>
                  <a:lnTo>
                    <a:pt x="64" y="292"/>
                  </a:lnTo>
                  <a:lnTo>
                    <a:pt x="64" y="292"/>
                  </a:lnTo>
                  <a:lnTo>
                    <a:pt x="38" y="292"/>
                  </a:lnTo>
                  <a:lnTo>
                    <a:pt x="30" y="292"/>
                  </a:lnTo>
                  <a:lnTo>
                    <a:pt x="22" y="294"/>
                  </a:lnTo>
                  <a:lnTo>
                    <a:pt x="22" y="294"/>
                  </a:lnTo>
                  <a:lnTo>
                    <a:pt x="18" y="296"/>
                  </a:lnTo>
                  <a:lnTo>
                    <a:pt x="14" y="296"/>
                  </a:lnTo>
                  <a:lnTo>
                    <a:pt x="12" y="296"/>
                  </a:lnTo>
                  <a:lnTo>
                    <a:pt x="10" y="298"/>
                  </a:lnTo>
                  <a:lnTo>
                    <a:pt x="10" y="298"/>
                  </a:lnTo>
                  <a:lnTo>
                    <a:pt x="6" y="298"/>
                  </a:lnTo>
                  <a:lnTo>
                    <a:pt x="2" y="298"/>
                  </a:lnTo>
                  <a:lnTo>
                    <a:pt x="0" y="294"/>
                  </a:lnTo>
                  <a:lnTo>
                    <a:pt x="0" y="294"/>
                  </a:lnTo>
                  <a:lnTo>
                    <a:pt x="6" y="292"/>
                  </a:lnTo>
                  <a:lnTo>
                    <a:pt x="10" y="290"/>
                  </a:lnTo>
                  <a:lnTo>
                    <a:pt x="6" y="276"/>
                  </a:lnTo>
                  <a:lnTo>
                    <a:pt x="6" y="276"/>
                  </a:lnTo>
                  <a:lnTo>
                    <a:pt x="6" y="266"/>
                  </a:lnTo>
                  <a:lnTo>
                    <a:pt x="10" y="260"/>
                  </a:lnTo>
                  <a:lnTo>
                    <a:pt x="12" y="258"/>
                  </a:lnTo>
                  <a:lnTo>
                    <a:pt x="16" y="254"/>
                  </a:lnTo>
                  <a:lnTo>
                    <a:pt x="16" y="254"/>
                  </a:lnTo>
                  <a:lnTo>
                    <a:pt x="24" y="260"/>
                  </a:lnTo>
                  <a:lnTo>
                    <a:pt x="28" y="260"/>
                  </a:lnTo>
                  <a:lnTo>
                    <a:pt x="32" y="258"/>
                  </a:lnTo>
                  <a:lnTo>
                    <a:pt x="32" y="258"/>
                  </a:lnTo>
                  <a:lnTo>
                    <a:pt x="36" y="254"/>
                  </a:lnTo>
                  <a:lnTo>
                    <a:pt x="38" y="254"/>
                  </a:lnTo>
                  <a:lnTo>
                    <a:pt x="38" y="256"/>
                  </a:lnTo>
                  <a:lnTo>
                    <a:pt x="42" y="256"/>
                  </a:lnTo>
                  <a:lnTo>
                    <a:pt x="42" y="256"/>
                  </a:lnTo>
                  <a:lnTo>
                    <a:pt x="46" y="256"/>
                  </a:lnTo>
                  <a:lnTo>
                    <a:pt x="48" y="258"/>
                  </a:lnTo>
                  <a:lnTo>
                    <a:pt x="50" y="264"/>
                  </a:lnTo>
                  <a:lnTo>
                    <a:pt x="52" y="266"/>
                  </a:lnTo>
                  <a:lnTo>
                    <a:pt x="52" y="266"/>
                  </a:lnTo>
                  <a:lnTo>
                    <a:pt x="58" y="258"/>
                  </a:lnTo>
                  <a:lnTo>
                    <a:pt x="58" y="258"/>
                  </a:lnTo>
                  <a:lnTo>
                    <a:pt x="62" y="250"/>
                  </a:lnTo>
                  <a:lnTo>
                    <a:pt x="66" y="246"/>
                  </a:lnTo>
                  <a:lnTo>
                    <a:pt x="72" y="242"/>
                  </a:lnTo>
                  <a:lnTo>
                    <a:pt x="78" y="240"/>
                  </a:lnTo>
                  <a:lnTo>
                    <a:pt x="80" y="236"/>
                  </a:lnTo>
                  <a:lnTo>
                    <a:pt x="84" y="230"/>
                  </a:lnTo>
                  <a:lnTo>
                    <a:pt x="84" y="230"/>
                  </a:lnTo>
                  <a:lnTo>
                    <a:pt x="90" y="216"/>
                  </a:lnTo>
                  <a:lnTo>
                    <a:pt x="92" y="202"/>
                  </a:lnTo>
                  <a:lnTo>
                    <a:pt x="94" y="188"/>
                  </a:lnTo>
                  <a:lnTo>
                    <a:pt x="98" y="176"/>
                  </a:lnTo>
                  <a:lnTo>
                    <a:pt x="98" y="176"/>
                  </a:lnTo>
                  <a:lnTo>
                    <a:pt x="102" y="172"/>
                  </a:lnTo>
                  <a:lnTo>
                    <a:pt x="106" y="170"/>
                  </a:lnTo>
                  <a:lnTo>
                    <a:pt x="110" y="166"/>
                  </a:lnTo>
                  <a:lnTo>
                    <a:pt x="120" y="150"/>
                  </a:lnTo>
                  <a:lnTo>
                    <a:pt x="120" y="150"/>
                  </a:lnTo>
                  <a:lnTo>
                    <a:pt x="124" y="140"/>
                  </a:lnTo>
                  <a:lnTo>
                    <a:pt x="126" y="134"/>
                  </a:lnTo>
                  <a:lnTo>
                    <a:pt x="124" y="126"/>
                  </a:lnTo>
                  <a:lnTo>
                    <a:pt x="126" y="112"/>
                  </a:lnTo>
                  <a:lnTo>
                    <a:pt x="126" y="112"/>
                  </a:lnTo>
                  <a:lnTo>
                    <a:pt x="128" y="92"/>
                  </a:lnTo>
                  <a:lnTo>
                    <a:pt x="130" y="84"/>
                  </a:lnTo>
                  <a:lnTo>
                    <a:pt x="132" y="80"/>
                  </a:lnTo>
                  <a:lnTo>
                    <a:pt x="132" y="76"/>
                  </a:lnTo>
                  <a:lnTo>
                    <a:pt x="132" y="76"/>
                  </a:lnTo>
                  <a:lnTo>
                    <a:pt x="130" y="70"/>
                  </a:lnTo>
                  <a:lnTo>
                    <a:pt x="132" y="66"/>
                  </a:lnTo>
                  <a:lnTo>
                    <a:pt x="136" y="58"/>
                  </a:lnTo>
                  <a:lnTo>
                    <a:pt x="138" y="42"/>
                  </a:lnTo>
                  <a:lnTo>
                    <a:pt x="138" y="42"/>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Mozambique"/>
            <p:cNvSpPr>
              <a:spLocks/>
            </p:cNvSpPr>
            <p:nvPr/>
          </p:nvSpPr>
          <p:spPr bwMode="auto">
            <a:xfrm>
              <a:off x="4972809" y="3983302"/>
              <a:ext cx="306917" cy="534458"/>
            </a:xfrm>
            <a:custGeom>
              <a:avLst/>
              <a:gdLst/>
              <a:ahLst/>
              <a:cxnLst>
                <a:cxn ang="0">
                  <a:pos x="36" y="274"/>
                </a:cxn>
                <a:cxn ang="0">
                  <a:pos x="36" y="266"/>
                </a:cxn>
                <a:cxn ang="0">
                  <a:pos x="40" y="262"/>
                </a:cxn>
                <a:cxn ang="0">
                  <a:pos x="54" y="244"/>
                </a:cxn>
                <a:cxn ang="0">
                  <a:pos x="52" y="234"/>
                </a:cxn>
                <a:cxn ang="0">
                  <a:pos x="46" y="224"/>
                </a:cxn>
                <a:cxn ang="0">
                  <a:pos x="58" y="202"/>
                </a:cxn>
                <a:cxn ang="0">
                  <a:pos x="58" y="186"/>
                </a:cxn>
                <a:cxn ang="0">
                  <a:pos x="60" y="168"/>
                </a:cxn>
                <a:cxn ang="0">
                  <a:pos x="52" y="152"/>
                </a:cxn>
                <a:cxn ang="0">
                  <a:pos x="30" y="146"/>
                </a:cxn>
                <a:cxn ang="0">
                  <a:pos x="10" y="140"/>
                </a:cxn>
                <a:cxn ang="0">
                  <a:pos x="2" y="124"/>
                </a:cxn>
                <a:cxn ang="0">
                  <a:pos x="0" y="116"/>
                </a:cxn>
                <a:cxn ang="0">
                  <a:pos x="52" y="98"/>
                </a:cxn>
                <a:cxn ang="0">
                  <a:pos x="76" y="100"/>
                </a:cxn>
                <a:cxn ang="0">
                  <a:pos x="84" y="106"/>
                </a:cxn>
                <a:cxn ang="0">
                  <a:pos x="94" y="102"/>
                </a:cxn>
                <a:cxn ang="0">
                  <a:pos x="94" y="124"/>
                </a:cxn>
                <a:cxn ang="0">
                  <a:pos x="92" y="138"/>
                </a:cxn>
                <a:cxn ang="0">
                  <a:pos x="104" y="154"/>
                </a:cxn>
                <a:cxn ang="0">
                  <a:pos x="114" y="164"/>
                </a:cxn>
                <a:cxn ang="0">
                  <a:pos x="114" y="154"/>
                </a:cxn>
                <a:cxn ang="0">
                  <a:pos x="120" y="138"/>
                </a:cxn>
                <a:cxn ang="0">
                  <a:pos x="124" y="122"/>
                </a:cxn>
                <a:cxn ang="0">
                  <a:pos x="128" y="106"/>
                </a:cxn>
                <a:cxn ang="0">
                  <a:pos x="116" y="88"/>
                </a:cxn>
                <a:cxn ang="0">
                  <a:pos x="108" y="78"/>
                </a:cxn>
                <a:cxn ang="0">
                  <a:pos x="112" y="52"/>
                </a:cxn>
                <a:cxn ang="0">
                  <a:pos x="110" y="38"/>
                </a:cxn>
                <a:cxn ang="0">
                  <a:pos x="122" y="26"/>
                </a:cxn>
                <a:cxn ang="0">
                  <a:pos x="138" y="26"/>
                </a:cxn>
                <a:cxn ang="0">
                  <a:pos x="154" y="28"/>
                </a:cxn>
                <a:cxn ang="0">
                  <a:pos x="164" y="26"/>
                </a:cxn>
                <a:cxn ang="0">
                  <a:pos x="180" y="20"/>
                </a:cxn>
                <a:cxn ang="0">
                  <a:pos x="184" y="14"/>
                </a:cxn>
                <a:cxn ang="0">
                  <a:pos x="202" y="14"/>
                </a:cxn>
                <a:cxn ang="0">
                  <a:pos x="228" y="0"/>
                </a:cxn>
                <a:cxn ang="0">
                  <a:pos x="230" y="20"/>
                </a:cxn>
                <a:cxn ang="0">
                  <a:pos x="228" y="36"/>
                </a:cxn>
                <a:cxn ang="0">
                  <a:pos x="228" y="62"/>
                </a:cxn>
                <a:cxn ang="0">
                  <a:pos x="228" y="94"/>
                </a:cxn>
                <a:cxn ang="0">
                  <a:pos x="224" y="132"/>
                </a:cxn>
                <a:cxn ang="0">
                  <a:pos x="214" y="142"/>
                </a:cxn>
                <a:cxn ang="0">
                  <a:pos x="194" y="166"/>
                </a:cxn>
                <a:cxn ang="0">
                  <a:pos x="174" y="174"/>
                </a:cxn>
                <a:cxn ang="0">
                  <a:pos x="158" y="184"/>
                </a:cxn>
                <a:cxn ang="0">
                  <a:pos x="130" y="204"/>
                </a:cxn>
                <a:cxn ang="0">
                  <a:pos x="108" y="226"/>
                </a:cxn>
                <a:cxn ang="0">
                  <a:pos x="88" y="252"/>
                </a:cxn>
                <a:cxn ang="0">
                  <a:pos x="92" y="262"/>
                </a:cxn>
                <a:cxn ang="0">
                  <a:pos x="100" y="288"/>
                </a:cxn>
                <a:cxn ang="0">
                  <a:pos x="102" y="312"/>
                </a:cxn>
                <a:cxn ang="0">
                  <a:pos x="98" y="324"/>
                </a:cxn>
                <a:cxn ang="0">
                  <a:pos x="92" y="344"/>
                </a:cxn>
                <a:cxn ang="0">
                  <a:pos x="68" y="370"/>
                </a:cxn>
                <a:cxn ang="0">
                  <a:pos x="36" y="386"/>
                </a:cxn>
                <a:cxn ang="0">
                  <a:pos x="38" y="404"/>
                </a:cxn>
                <a:cxn ang="0">
                  <a:pos x="24" y="390"/>
                </a:cxn>
                <a:cxn ang="0">
                  <a:pos x="22" y="368"/>
                </a:cxn>
                <a:cxn ang="0">
                  <a:pos x="28" y="338"/>
                </a:cxn>
                <a:cxn ang="0">
                  <a:pos x="22" y="300"/>
                </a:cxn>
              </a:cxnLst>
              <a:rect l="0" t="0" r="r" b="b"/>
              <a:pathLst>
                <a:path w="232" h="404">
                  <a:moveTo>
                    <a:pt x="22" y="300"/>
                  </a:moveTo>
                  <a:lnTo>
                    <a:pt x="22" y="300"/>
                  </a:lnTo>
                  <a:lnTo>
                    <a:pt x="36" y="274"/>
                  </a:lnTo>
                  <a:lnTo>
                    <a:pt x="36" y="274"/>
                  </a:lnTo>
                  <a:lnTo>
                    <a:pt x="36" y="272"/>
                  </a:lnTo>
                  <a:lnTo>
                    <a:pt x="36" y="270"/>
                  </a:lnTo>
                  <a:lnTo>
                    <a:pt x="36" y="270"/>
                  </a:lnTo>
                  <a:lnTo>
                    <a:pt x="36" y="266"/>
                  </a:lnTo>
                  <a:lnTo>
                    <a:pt x="36" y="266"/>
                  </a:lnTo>
                  <a:lnTo>
                    <a:pt x="36" y="262"/>
                  </a:lnTo>
                  <a:lnTo>
                    <a:pt x="38" y="262"/>
                  </a:lnTo>
                  <a:lnTo>
                    <a:pt x="40" y="262"/>
                  </a:lnTo>
                  <a:lnTo>
                    <a:pt x="44" y="254"/>
                  </a:lnTo>
                  <a:lnTo>
                    <a:pt x="44" y="254"/>
                  </a:lnTo>
                  <a:lnTo>
                    <a:pt x="50" y="246"/>
                  </a:lnTo>
                  <a:lnTo>
                    <a:pt x="54" y="244"/>
                  </a:lnTo>
                  <a:lnTo>
                    <a:pt x="56" y="244"/>
                  </a:lnTo>
                  <a:lnTo>
                    <a:pt x="54" y="238"/>
                  </a:lnTo>
                  <a:lnTo>
                    <a:pt x="54" y="238"/>
                  </a:lnTo>
                  <a:lnTo>
                    <a:pt x="52" y="234"/>
                  </a:lnTo>
                  <a:lnTo>
                    <a:pt x="54" y="232"/>
                  </a:lnTo>
                  <a:lnTo>
                    <a:pt x="52" y="230"/>
                  </a:lnTo>
                  <a:lnTo>
                    <a:pt x="46" y="224"/>
                  </a:lnTo>
                  <a:lnTo>
                    <a:pt x="46" y="224"/>
                  </a:lnTo>
                  <a:lnTo>
                    <a:pt x="54" y="214"/>
                  </a:lnTo>
                  <a:lnTo>
                    <a:pt x="56" y="208"/>
                  </a:lnTo>
                  <a:lnTo>
                    <a:pt x="56" y="204"/>
                  </a:lnTo>
                  <a:lnTo>
                    <a:pt x="58" y="202"/>
                  </a:lnTo>
                  <a:lnTo>
                    <a:pt x="58" y="202"/>
                  </a:lnTo>
                  <a:lnTo>
                    <a:pt x="62" y="198"/>
                  </a:lnTo>
                  <a:lnTo>
                    <a:pt x="60" y="192"/>
                  </a:lnTo>
                  <a:lnTo>
                    <a:pt x="58" y="186"/>
                  </a:lnTo>
                  <a:lnTo>
                    <a:pt x="58" y="180"/>
                  </a:lnTo>
                  <a:lnTo>
                    <a:pt x="58" y="180"/>
                  </a:lnTo>
                  <a:lnTo>
                    <a:pt x="58" y="172"/>
                  </a:lnTo>
                  <a:lnTo>
                    <a:pt x="60" y="168"/>
                  </a:lnTo>
                  <a:lnTo>
                    <a:pt x="62" y="166"/>
                  </a:lnTo>
                  <a:lnTo>
                    <a:pt x="58" y="160"/>
                  </a:lnTo>
                  <a:lnTo>
                    <a:pt x="58" y="160"/>
                  </a:lnTo>
                  <a:lnTo>
                    <a:pt x="52" y="152"/>
                  </a:lnTo>
                  <a:lnTo>
                    <a:pt x="44" y="152"/>
                  </a:lnTo>
                  <a:lnTo>
                    <a:pt x="44" y="152"/>
                  </a:lnTo>
                  <a:lnTo>
                    <a:pt x="36" y="148"/>
                  </a:lnTo>
                  <a:lnTo>
                    <a:pt x="30" y="146"/>
                  </a:lnTo>
                  <a:lnTo>
                    <a:pt x="26" y="142"/>
                  </a:lnTo>
                  <a:lnTo>
                    <a:pt x="16" y="140"/>
                  </a:lnTo>
                  <a:lnTo>
                    <a:pt x="16" y="140"/>
                  </a:lnTo>
                  <a:lnTo>
                    <a:pt x="10" y="140"/>
                  </a:lnTo>
                  <a:lnTo>
                    <a:pt x="8" y="138"/>
                  </a:lnTo>
                  <a:lnTo>
                    <a:pt x="4" y="128"/>
                  </a:lnTo>
                  <a:lnTo>
                    <a:pt x="4" y="128"/>
                  </a:lnTo>
                  <a:lnTo>
                    <a:pt x="2" y="124"/>
                  </a:lnTo>
                  <a:lnTo>
                    <a:pt x="2" y="120"/>
                  </a:lnTo>
                  <a:lnTo>
                    <a:pt x="2" y="120"/>
                  </a:lnTo>
                  <a:lnTo>
                    <a:pt x="0" y="116"/>
                  </a:lnTo>
                  <a:lnTo>
                    <a:pt x="0" y="116"/>
                  </a:lnTo>
                  <a:lnTo>
                    <a:pt x="16" y="110"/>
                  </a:lnTo>
                  <a:lnTo>
                    <a:pt x="36" y="104"/>
                  </a:lnTo>
                  <a:lnTo>
                    <a:pt x="36" y="104"/>
                  </a:lnTo>
                  <a:lnTo>
                    <a:pt x="52" y="98"/>
                  </a:lnTo>
                  <a:lnTo>
                    <a:pt x="68" y="90"/>
                  </a:lnTo>
                  <a:lnTo>
                    <a:pt x="68" y="90"/>
                  </a:lnTo>
                  <a:lnTo>
                    <a:pt x="72" y="96"/>
                  </a:lnTo>
                  <a:lnTo>
                    <a:pt x="76" y="100"/>
                  </a:lnTo>
                  <a:lnTo>
                    <a:pt x="78" y="104"/>
                  </a:lnTo>
                  <a:lnTo>
                    <a:pt x="80" y="106"/>
                  </a:lnTo>
                  <a:lnTo>
                    <a:pt x="80" y="106"/>
                  </a:lnTo>
                  <a:lnTo>
                    <a:pt x="84" y="106"/>
                  </a:lnTo>
                  <a:lnTo>
                    <a:pt x="88" y="104"/>
                  </a:lnTo>
                  <a:lnTo>
                    <a:pt x="92" y="102"/>
                  </a:lnTo>
                  <a:lnTo>
                    <a:pt x="94" y="102"/>
                  </a:lnTo>
                  <a:lnTo>
                    <a:pt x="94" y="102"/>
                  </a:lnTo>
                  <a:lnTo>
                    <a:pt x="96" y="106"/>
                  </a:lnTo>
                  <a:lnTo>
                    <a:pt x="96" y="114"/>
                  </a:lnTo>
                  <a:lnTo>
                    <a:pt x="96" y="122"/>
                  </a:lnTo>
                  <a:lnTo>
                    <a:pt x="94" y="124"/>
                  </a:lnTo>
                  <a:lnTo>
                    <a:pt x="94" y="124"/>
                  </a:lnTo>
                  <a:lnTo>
                    <a:pt x="92" y="126"/>
                  </a:lnTo>
                  <a:lnTo>
                    <a:pt x="90" y="128"/>
                  </a:lnTo>
                  <a:lnTo>
                    <a:pt x="92" y="138"/>
                  </a:lnTo>
                  <a:lnTo>
                    <a:pt x="98" y="150"/>
                  </a:lnTo>
                  <a:lnTo>
                    <a:pt x="100" y="154"/>
                  </a:lnTo>
                  <a:lnTo>
                    <a:pt x="104" y="154"/>
                  </a:lnTo>
                  <a:lnTo>
                    <a:pt x="104" y="154"/>
                  </a:lnTo>
                  <a:lnTo>
                    <a:pt x="108" y="158"/>
                  </a:lnTo>
                  <a:lnTo>
                    <a:pt x="110" y="162"/>
                  </a:lnTo>
                  <a:lnTo>
                    <a:pt x="112" y="164"/>
                  </a:lnTo>
                  <a:lnTo>
                    <a:pt x="114" y="164"/>
                  </a:lnTo>
                  <a:lnTo>
                    <a:pt x="114" y="164"/>
                  </a:lnTo>
                  <a:lnTo>
                    <a:pt x="116" y="162"/>
                  </a:lnTo>
                  <a:lnTo>
                    <a:pt x="116" y="160"/>
                  </a:lnTo>
                  <a:lnTo>
                    <a:pt x="114" y="154"/>
                  </a:lnTo>
                  <a:lnTo>
                    <a:pt x="116" y="146"/>
                  </a:lnTo>
                  <a:lnTo>
                    <a:pt x="118" y="142"/>
                  </a:lnTo>
                  <a:lnTo>
                    <a:pt x="120" y="138"/>
                  </a:lnTo>
                  <a:lnTo>
                    <a:pt x="120" y="138"/>
                  </a:lnTo>
                  <a:lnTo>
                    <a:pt x="124" y="136"/>
                  </a:lnTo>
                  <a:lnTo>
                    <a:pt x="126" y="132"/>
                  </a:lnTo>
                  <a:lnTo>
                    <a:pt x="126" y="128"/>
                  </a:lnTo>
                  <a:lnTo>
                    <a:pt x="124" y="122"/>
                  </a:lnTo>
                  <a:lnTo>
                    <a:pt x="124" y="118"/>
                  </a:lnTo>
                  <a:lnTo>
                    <a:pt x="126" y="114"/>
                  </a:lnTo>
                  <a:lnTo>
                    <a:pt x="126" y="114"/>
                  </a:lnTo>
                  <a:lnTo>
                    <a:pt x="128" y="106"/>
                  </a:lnTo>
                  <a:lnTo>
                    <a:pt x="128" y="100"/>
                  </a:lnTo>
                  <a:lnTo>
                    <a:pt x="124" y="96"/>
                  </a:lnTo>
                  <a:lnTo>
                    <a:pt x="116" y="88"/>
                  </a:lnTo>
                  <a:lnTo>
                    <a:pt x="116" y="88"/>
                  </a:lnTo>
                  <a:lnTo>
                    <a:pt x="114" y="84"/>
                  </a:lnTo>
                  <a:lnTo>
                    <a:pt x="112" y="80"/>
                  </a:lnTo>
                  <a:lnTo>
                    <a:pt x="112" y="80"/>
                  </a:lnTo>
                  <a:lnTo>
                    <a:pt x="108" y="78"/>
                  </a:lnTo>
                  <a:lnTo>
                    <a:pt x="108" y="74"/>
                  </a:lnTo>
                  <a:lnTo>
                    <a:pt x="110" y="66"/>
                  </a:lnTo>
                  <a:lnTo>
                    <a:pt x="112" y="56"/>
                  </a:lnTo>
                  <a:lnTo>
                    <a:pt x="112" y="52"/>
                  </a:lnTo>
                  <a:lnTo>
                    <a:pt x="110" y="46"/>
                  </a:lnTo>
                  <a:lnTo>
                    <a:pt x="110" y="46"/>
                  </a:lnTo>
                  <a:lnTo>
                    <a:pt x="108" y="42"/>
                  </a:lnTo>
                  <a:lnTo>
                    <a:pt x="110" y="38"/>
                  </a:lnTo>
                  <a:lnTo>
                    <a:pt x="112" y="34"/>
                  </a:lnTo>
                  <a:lnTo>
                    <a:pt x="112" y="28"/>
                  </a:lnTo>
                  <a:lnTo>
                    <a:pt x="112" y="28"/>
                  </a:lnTo>
                  <a:lnTo>
                    <a:pt x="122" y="26"/>
                  </a:lnTo>
                  <a:lnTo>
                    <a:pt x="126" y="22"/>
                  </a:lnTo>
                  <a:lnTo>
                    <a:pt x="130" y="22"/>
                  </a:lnTo>
                  <a:lnTo>
                    <a:pt x="138" y="26"/>
                  </a:lnTo>
                  <a:lnTo>
                    <a:pt x="138" y="26"/>
                  </a:lnTo>
                  <a:lnTo>
                    <a:pt x="144" y="28"/>
                  </a:lnTo>
                  <a:lnTo>
                    <a:pt x="148" y="30"/>
                  </a:lnTo>
                  <a:lnTo>
                    <a:pt x="152" y="30"/>
                  </a:lnTo>
                  <a:lnTo>
                    <a:pt x="154" y="28"/>
                  </a:lnTo>
                  <a:lnTo>
                    <a:pt x="156" y="24"/>
                  </a:lnTo>
                  <a:lnTo>
                    <a:pt x="160" y="24"/>
                  </a:lnTo>
                  <a:lnTo>
                    <a:pt x="164" y="26"/>
                  </a:lnTo>
                  <a:lnTo>
                    <a:pt x="164" y="26"/>
                  </a:lnTo>
                  <a:lnTo>
                    <a:pt x="168" y="26"/>
                  </a:lnTo>
                  <a:lnTo>
                    <a:pt x="174" y="24"/>
                  </a:lnTo>
                  <a:lnTo>
                    <a:pt x="178" y="22"/>
                  </a:lnTo>
                  <a:lnTo>
                    <a:pt x="180" y="20"/>
                  </a:lnTo>
                  <a:lnTo>
                    <a:pt x="180" y="20"/>
                  </a:lnTo>
                  <a:lnTo>
                    <a:pt x="178" y="18"/>
                  </a:lnTo>
                  <a:lnTo>
                    <a:pt x="178" y="16"/>
                  </a:lnTo>
                  <a:lnTo>
                    <a:pt x="184" y="14"/>
                  </a:lnTo>
                  <a:lnTo>
                    <a:pt x="190" y="14"/>
                  </a:lnTo>
                  <a:lnTo>
                    <a:pt x="196" y="14"/>
                  </a:lnTo>
                  <a:lnTo>
                    <a:pt x="196" y="14"/>
                  </a:lnTo>
                  <a:lnTo>
                    <a:pt x="202" y="14"/>
                  </a:lnTo>
                  <a:lnTo>
                    <a:pt x="212" y="12"/>
                  </a:lnTo>
                  <a:lnTo>
                    <a:pt x="222" y="8"/>
                  </a:lnTo>
                  <a:lnTo>
                    <a:pt x="226" y="4"/>
                  </a:lnTo>
                  <a:lnTo>
                    <a:pt x="228" y="0"/>
                  </a:lnTo>
                  <a:lnTo>
                    <a:pt x="228" y="0"/>
                  </a:lnTo>
                  <a:lnTo>
                    <a:pt x="230" y="6"/>
                  </a:lnTo>
                  <a:lnTo>
                    <a:pt x="230" y="14"/>
                  </a:lnTo>
                  <a:lnTo>
                    <a:pt x="230" y="20"/>
                  </a:lnTo>
                  <a:lnTo>
                    <a:pt x="230" y="26"/>
                  </a:lnTo>
                  <a:lnTo>
                    <a:pt x="230" y="26"/>
                  </a:lnTo>
                  <a:lnTo>
                    <a:pt x="230" y="32"/>
                  </a:lnTo>
                  <a:lnTo>
                    <a:pt x="228" y="36"/>
                  </a:lnTo>
                  <a:lnTo>
                    <a:pt x="226" y="42"/>
                  </a:lnTo>
                  <a:lnTo>
                    <a:pt x="228" y="52"/>
                  </a:lnTo>
                  <a:lnTo>
                    <a:pt x="228" y="52"/>
                  </a:lnTo>
                  <a:lnTo>
                    <a:pt x="228" y="62"/>
                  </a:lnTo>
                  <a:lnTo>
                    <a:pt x="226" y="70"/>
                  </a:lnTo>
                  <a:lnTo>
                    <a:pt x="224" y="80"/>
                  </a:lnTo>
                  <a:lnTo>
                    <a:pt x="228" y="94"/>
                  </a:lnTo>
                  <a:lnTo>
                    <a:pt x="228" y="94"/>
                  </a:lnTo>
                  <a:lnTo>
                    <a:pt x="232" y="106"/>
                  </a:lnTo>
                  <a:lnTo>
                    <a:pt x="232" y="114"/>
                  </a:lnTo>
                  <a:lnTo>
                    <a:pt x="230" y="120"/>
                  </a:lnTo>
                  <a:lnTo>
                    <a:pt x="224" y="132"/>
                  </a:lnTo>
                  <a:lnTo>
                    <a:pt x="224" y="132"/>
                  </a:lnTo>
                  <a:lnTo>
                    <a:pt x="220" y="140"/>
                  </a:lnTo>
                  <a:lnTo>
                    <a:pt x="216" y="140"/>
                  </a:lnTo>
                  <a:lnTo>
                    <a:pt x="214" y="142"/>
                  </a:lnTo>
                  <a:lnTo>
                    <a:pt x="210" y="148"/>
                  </a:lnTo>
                  <a:lnTo>
                    <a:pt x="210" y="148"/>
                  </a:lnTo>
                  <a:lnTo>
                    <a:pt x="204" y="158"/>
                  </a:lnTo>
                  <a:lnTo>
                    <a:pt x="194" y="166"/>
                  </a:lnTo>
                  <a:lnTo>
                    <a:pt x="184" y="172"/>
                  </a:lnTo>
                  <a:lnTo>
                    <a:pt x="180" y="174"/>
                  </a:lnTo>
                  <a:lnTo>
                    <a:pt x="174" y="174"/>
                  </a:lnTo>
                  <a:lnTo>
                    <a:pt x="174" y="174"/>
                  </a:lnTo>
                  <a:lnTo>
                    <a:pt x="172" y="176"/>
                  </a:lnTo>
                  <a:lnTo>
                    <a:pt x="172" y="178"/>
                  </a:lnTo>
                  <a:lnTo>
                    <a:pt x="168" y="182"/>
                  </a:lnTo>
                  <a:lnTo>
                    <a:pt x="158" y="184"/>
                  </a:lnTo>
                  <a:lnTo>
                    <a:pt x="158" y="184"/>
                  </a:lnTo>
                  <a:lnTo>
                    <a:pt x="152" y="186"/>
                  </a:lnTo>
                  <a:lnTo>
                    <a:pt x="144" y="192"/>
                  </a:lnTo>
                  <a:lnTo>
                    <a:pt x="130" y="204"/>
                  </a:lnTo>
                  <a:lnTo>
                    <a:pt x="118" y="218"/>
                  </a:lnTo>
                  <a:lnTo>
                    <a:pt x="112" y="222"/>
                  </a:lnTo>
                  <a:lnTo>
                    <a:pt x="108" y="226"/>
                  </a:lnTo>
                  <a:lnTo>
                    <a:pt x="108" y="226"/>
                  </a:lnTo>
                  <a:lnTo>
                    <a:pt x="102" y="230"/>
                  </a:lnTo>
                  <a:lnTo>
                    <a:pt x="96" y="234"/>
                  </a:lnTo>
                  <a:lnTo>
                    <a:pt x="90" y="246"/>
                  </a:lnTo>
                  <a:lnTo>
                    <a:pt x="88" y="252"/>
                  </a:lnTo>
                  <a:lnTo>
                    <a:pt x="88" y="256"/>
                  </a:lnTo>
                  <a:lnTo>
                    <a:pt x="88" y="260"/>
                  </a:lnTo>
                  <a:lnTo>
                    <a:pt x="92" y="262"/>
                  </a:lnTo>
                  <a:lnTo>
                    <a:pt x="92" y="262"/>
                  </a:lnTo>
                  <a:lnTo>
                    <a:pt x="94" y="266"/>
                  </a:lnTo>
                  <a:lnTo>
                    <a:pt x="96" y="270"/>
                  </a:lnTo>
                  <a:lnTo>
                    <a:pt x="96" y="278"/>
                  </a:lnTo>
                  <a:lnTo>
                    <a:pt x="100" y="288"/>
                  </a:lnTo>
                  <a:lnTo>
                    <a:pt x="100" y="288"/>
                  </a:lnTo>
                  <a:lnTo>
                    <a:pt x="100" y="298"/>
                  </a:lnTo>
                  <a:lnTo>
                    <a:pt x="100" y="304"/>
                  </a:lnTo>
                  <a:lnTo>
                    <a:pt x="102" y="312"/>
                  </a:lnTo>
                  <a:lnTo>
                    <a:pt x="102" y="312"/>
                  </a:lnTo>
                  <a:lnTo>
                    <a:pt x="102" y="316"/>
                  </a:lnTo>
                  <a:lnTo>
                    <a:pt x="102" y="320"/>
                  </a:lnTo>
                  <a:lnTo>
                    <a:pt x="98" y="324"/>
                  </a:lnTo>
                  <a:lnTo>
                    <a:pt x="96" y="330"/>
                  </a:lnTo>
                  <a:lnTo>
                    <a:pt x="94" y="338"/>
                  </a:lnTo>
                  <a:lnTo>
                    <a:pt x="94" y="338"/>
                  </a:lnTo>
                  <a:lnTo>
                    <a:pt x="92" y="344"/>
                  </a:lnTo>
                  <a:lnTo>
                    <a:pt x="88" y="354"/>
                  </a:lnTo>
                  <a:lnTo>
                    <a:pt x="82" y="358"/>
                  </a:lnTo>
                  <a:lnTo>
                    <a:pt x="76" y="364"/>
                  </a:lnTo>
                  <a:lnTo>
                    <a:pt x="68" y="370"/>
                  </a:lnTo>
                  <a:lnTo>
                    <a:pt x="58" y="374"/>
                  </a:lnTo>
                  <a:lnTo>
                    <a:pt x="58" y="374"/>
                  </a:lnTo>
                  <a:lnTo>
                    <a:pt x="40" y="382"/>
                  </a:lnTo>
                  <a:lnTo>
                    <a:pt x="36" y="386"/>
                  </a:lnTo>
                  <a:lnTo>
                    <a:pt x="36" y="388"/>
                  </a:lnTo>
                  <a:lnTo>
                    <a:pt x="38" y="394"/>
                  </a:lnTo>
                  <a:lnTo>
                    <a:pt x="38" y="398"/>
                  </a:lnTo>
                  <a:lnTo>
                    <a:pt x="38" y="404"/>
                  </a:lnTo>
                  <a:lnTo>
                    <a:pt x="26" y="404"/>
                  </a:lnTo>
                  <a:lnTo>
                    <a:pt x="26" y="404"/>
                  </a:lnTo>
                  <a:lnTo>
                    <a:pt x="24" y="396"/>
                  </a:lnTo>
                  <a:lnTo>
                    <a:pt x="24" y="390"/>
                  </a:lnTo>
                  <a:lnTo>
                    <a:pt x="22" y="386"/>
                  </a:lnTo>
                  <a:lnTo>
                    <a:pt x="18" y="382"/>
                  </a:lnTo>
                  <a:lnTo>
                    <a:pt x="18" y="382"/>
                  </a:lnTo>
                  <a:lnTo>
                    <a:pt x="22" y="368"/>
                  </a:lnTo>
                  <a:lnTo>
                    <a:pt x="26" y="360"/>
                  </a:lnTo>
                  <a:lnTo>
                    <a:pt x="28" y="352"/>
                  </a:lnTo>
                  <a:lnTo>
                    <a:pt x="28" y="338"/>
                  </a:lnTo>
                  <a:lnTo>
                    <a:pt x="28" y="338"/>
                  </a:lnTo>
                  <a:lnTo>
                    <a:pt x="26" y="324"/>
                  </a:lnTo>
                  <a:lnTo>
                    <a:pt x="28" y="316"/>
                  </a:lnTo>
                  <a:lnTo>
                    <a:pt x="28" y="312"/>
                  </a:lnTo>
                  <a:lnTo>
                    <a:pt x="22" y="300"/>
                  </a:lnTo>
                  <a:lnTo>
                    <a:pt x="22" y="300"/>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Ethiopia"/>
            <p:cNvSpPr>
              <a:spLocks/>
            </p:cNvSpPr>
            <p:nvPr/>
          </p:nvSpPr>
          <p:spPr bwMode="auto">
            <a:xfrm>
              <a:off x="5070705" y="3126052"/>
              <a:ext cx="420688" cy="367771"/>
            </a:xfrm>
            <a:custGeom>
              <a:avLst/>
              <a:gdLst/>
              <a:ahLst/>
              <a:cxnLst>
                <a:cxn ang="0">
                  <a:pos x="60" y="248"/>
                </a:cxn>
                <a:cxn ang="0">
                  <a:pos x="62" y="240"/>
                </a:cxn>
                <a:cxn ang="0">
                  <a:pos x="50" y="230"/>
                </a:cxn>
                <a:cxn ang="0">
                  <a:pos x="44" y="220"/>
                </a:cxn>
                <a:cxn ang="0">
                  <a:pos x="40" y="214"/>
                </a:cxn>
                <a:cxn ang="0">
                  <a:pos x="36" y="208"/>
                </a:cxn>
                <a:cxn ang="0">
                  <a:pos x="30" y="198"/>
                </a:cxn>
                <a:cxn ang="0">
                  <a:pos x="22" y="186"/>
                </a:cxn>
                <a:cxn ang="0">
                  <a:pos x="0" y="166"/>
                </a:cxn>
                <a:cxn ang="0">
                  <a:pos x="6" y="152"/>
                </a:cxn>
                <a:cxn ang="0">
                  <a:pos x="16" y="148"/>
                </a:cxn>
                <a:cxn ang="0">
                  <a:pos x="22" y="138"/>
                </a:cxn>
                <a:cxn ang="0">
                  <a:pos x="24" y="118"/>
                </a:cxn>
                <a:cxn ang="0">
                  <a:pos x="24" y="104"/>
                </a:cxn>
                <a:cxn ang="0">
                  <a:pos x="28" y="88"/>
                </a:cxn>
                <a:cxn ang="0">
                  <a:pos x="34" y="78"/>
                </a:cxn>
                <a:cxn ang="0">
                  <a:pos x="36" y="66"/>
                </a:cxn>
                <a:cxn ang="0">
                  <a:pos x="38" y="58"/>
                </a:cxn>
                <a:cxn ang="0">
                  <a:pos x="46" y="44"/>
                </a:cxn>
                <a:cxn ang="0">
                  <a:pos x="56" y="22"/>
                </a:cxn>
                <a:cxn ang="0">
                  <a:pos x="58" y="12"/>
                </a:cxn>
                <a:cxn ang="0">
                  <a:pos x="76" y="8"/>
                </a:cxn>
                <a:cxn ang="0">
                  <a:pos x="80" y="12"/>
                </a:cxn>
                <a:cxn ang="0">
                  <a:pos x="82" y="14"/>
                </a:cxn>
                <a:cxn ang="0">
                  <a:pos x="86" y="12"/>
                </a:cxn>
                <a:cxn ang="0">
                  <a:pos x="88" y="6"/>
                </a:cxn>
                <a:cxn ang="0">
                  <a:pos x="90" y="2"/>
                </a:cxn>
                <a:cxn ang="0">
                  <a:pos x="92" y="0"/>
                </a:cxn>
                <a:cxn ang="0">
                  <a:pos x="96" y="2"/>
                </a:cxn>
                <a:cxn ang="0">
                  <a:pos x="102" y="8"/>
                </a:cxn>
                <a:cxn ang="0">
                  <a:pos x="112" y="10"/>
                </a:cxn>
                <a:cxn ang="0">
                  <a:pos x="118" y="10"/>
                </a:cxn>
                <a:cxn ang="0">
                  <a:pos x="128" y="8"/>
                </a:cxn>
                <a:cxn ang="0">
                  <a:pos x="140" y="8"/>
                </a:cxn>
                <a:cxn ang="0">
                  <a:pos x="150" y="8"/>
                </a:cxn>
                <a:cxn ang="0">
                  <a:pos x="166" y="16"/>
                </a:cxn>
                <a:cxn ang="0">
                  <a:pos x="186" y="36"/>
                </a:cxn>
                <a:cxn ang="0">
                  <a:pos x="196" y="52"/>
                </a:cxn>
                <a:cxn ang="0">
                  <a:pos x="188" y="54"/>
                </a:cxn>
                <a:cxn ang="0">
                  <a:pos x="186" y="60"/>
                </a:cxn>
                <a:cxn ang="0">
                  <a:pos x="182" y="82"/>
                </a:cxn>
                <a:cxn ang="0">
                  <a:pos x="184" y="84"/>
                </a:cxn>
                <a:cxn ang="0">
                  <a:pos x="188" y="88"/>
                </a:cxn>
                <a:cxn ang="0">
                  <a:pos x="196" y="86"/>
                </a:cxn>
                <a:cxn ang="0">
                  <a:pos x="204" y="88"/>
                </a:cxn>
                <a:cxn ang="0">
                  <a:pos x="210" y="114"/>
                </a:cxn>
                <a:cxn ang="0">
                  <a:pos x="286" y="158"/>
                </a:cxn>
                <a:cxn ang="0">
                  <a:pos x="318" y="166"/>
                </a:cxn>
                <a:cxn ang="0">
                  <a:pos x="248" y="240"/>
                </a:cxn>
                <a:cxn ang="0">
                  <a:pos x="244" y="242"/>
                </a:cxn>
                <a:cxn ang="0">
                  <a:pos x="236" y="242"/>
                </a:cxn>
                <a:cxn ang="0">
                  <a:pos x="216" y="248"/>
                </a:cxn>
                <a:cxn ang="0">
                  <a:pos x="188" y="270"/>
                </a:cxn>
                <a:cxn ang="0">
                  <a:pos x="172" y="266"/>
                </a:cxn>
                <a:cxn ang="0">
                  <a:pos x="158" y="266"/>
                </a:cxn>
                <a:cxn ang="0">
                  <a:pos x="154" y="268"/>
                </a:cxn>
                <a:cxn ang="0">
                  <a:pos x="152" y="274"/>
                </a:cxn>
                <a:cxn ang="0">
                  <a:pos x="148" y="276"/>
                </a:cxn>
                <a:cxn ang="0">
                  <a:pos x="128" y="278"/>
                </a:cxn>
                <a:cxn ang="0">
                  <a:pos x="106" y="274"/>
                </a:cxn>
                <a:cxn ang="0">
                  <a:pos x="94" y="264"/>
                </a:cxn>
                <a:cxn ang="0">
                  <a:pos x="84" y="254"/>
                </a:cxn>
                <a:cxn ang="0">
                  <a:pos x="60" y="248"/>
                </a:cxn>
              </a:cxnLst>
              <a:rect l="0" t="0" r="r" b="b"/>
              <a:pathLst>
                <a:path w="318" h="278">
                  <a:moveTo>
                    <a:pt x="60" y="248"/>
                  </a:moveTo>
                  <a:lnTo>
                    <a:pt x="60" y="248"/>
                  </a:lnTo>
                  <a:lnTo>
                    <a:pt x="62" y="244"/>
                  </a:lnTo>
                  <a:lnTo>
                    <a:pt x="62" y="240"/>
                  </a:lnTo>
                  <a:lnTo>
                    <a:pt x="56" y="234"/>
                  </a:lnTo>
                  <a:lnTo>
                    <a:pt x="50" y="230"/>
                  </a:lnTo>
                  <a:lnTo>
                    <a:pt x="48" y="226"/>
                  </a:lnTo>
                  <a:lnTo>
                    <a:pt x="44" y="220"/>
                  </a:lnTo>
                  <a:lnTo>
                    <a:pt x="44" y="220"/>
                  </a:lnTo>
                  <a:lnTo>
                    <a:pt x="40" y="214"/>
                  </a:lnTo>
                  <a:lnTo>
                    <a:pt x="38" y="210"/>
                  </a:lnTo>
                  <a:lnTo>
                    <a:pt x="36" y="208"/>
                  </a:lnTo>
                  <a:lnTo>
                    <a:pt x="30" y="198"/>
                  </a:lnTo>
                  <a:lnTo>
                    <a:pt x="30" y="198"/>
                  </a:lnTo>
                  <a:lnTo>
                    <a:pt x="28" y="192"/>
                  </a:lnTo>
                  <a:lnTo>
                    <a:pt x="22" y="186"/>
                  </a:lnTo>
                  <a:lnTo>
                    <a:pt x="12" y="176"/>
                  </a:lnTo>
                  <a:lnTo>
                    <a:pt x="0" y="166"/>
                  </a:lnTo>
                  <a:lnTo>
                    <a:pt x="6" y="152"/>
                  </a:lnTo>
                  <a:lnTo>
                    <a:pt x="6" y="152"/>
                  </a:lnTo>
                  <a:lnTo>
                    <a:pt x="10" y="152"/>
                  </a:lnTo>
                  <a:lnTo>
                    <a:pt x="16" y="148"/>
                  </a:lnTo>
                  <a:lnTo>
                    <a:pt x="20" y="144"/>
                  </a:lnTo>
                  <a:lnTo>
                    <a:pt x="22" y="138"/>
                  </a:lnTo>
                  <a:lnTo>
                    <a:pt x="24" y="130"/>
                  </a:lnTo>
                  <a:lnTo>
                    <a:pt x="24" y="118"/>
                  </a:lnTo>
                  <a:lnTo>
                    <a:pt x="24" y="118"/>
                  </a:lnTo>
                  <a:lnTo>
                    <a:pt x="24" y="104"/>
                  </a:lnTo>
                  <a:lnTo>
                    <a:pt x="26" y="94"/>
                  </a:lnTo>
                  <a:lnTo>
                    <a:pt x="28" y="88"/>
                  </a:lnTo>
                  <a:lnTo>
                    <a:pt x="30" y="84"/>
                  </a:lnTo>
                  <a:lnTo>
                    <a:pt x="34" y="78"/>
                  </a:lnTo>
                  <a:lnTo>
                    <a:pt x="36" y="74"/>
                  </a:lnTo>
                  <a:lnTo>
                    <a:pt x="36" y="66"/>
                  </a:lnTo>
                  <a:lnTo>
                    <a:pt x="36" y="66"/>
                  </a:lnTo>
                  <a:lnTo>
                    <a:pt x="38" y="58"/>
                  </a:lnTo>
                  <a:lnTo>
                    <a:pt x="40" y="52"/>
                  </a:lnTo>
                  <a:lnTo>
                    <a:pt x="46" y="44"/>
                  </a:lnTo>
                  <a:lnTo>
                    <a:pt x="54" y="32"/>
                  </a:lnTo>
                  <a:lnTo>
                    <a:pt x="56" y="22"/>
                  </a:lnTo>
                  <a:lnTo>
                    <a:pt x="58" y="12"/>
                  </a:lnTo>
                  <a:lnTo>
                    <a:pt x="58" y="12"/>
                  </a:lnTo>
                  <a:lnTo>
                    <a:pt x="72" y="8"/>
                  </a:lnTo>
                  <a:lnTo>
                    <a:pt x="76" y="8"/>
                  </a:lnTo>
                  <a:lnTo>
                    <a:pt x="78" y="10"/>
                  </a:lnTo>
                  <a:lnTo>
                    <a:pt x="80" y="12"/>
                  </a:lnTo>
                  <a:lnTo>
                    <a:pt x="80" y="14"/>
                  </a:lnTo>
                  <a:lnTo>
                    <a:pt x="82" y="14"/>
                  </a:lnTo>
                  <a:lnTo>
                    <a:pt x="82" y="14"/>
                  </a:lnTo>
                  <a:lnTo>
                    <a:pt x="86" y="12"/>
                  </a:lnTo>
                  <a:lnTo>
                    <a:pt x="86" y="12"/>
                  </a:lnTo>
                  <a:lnTo>
                    <a:pt x="88" y="6"/>
                  </a:lnTo>
                  <a:lnTo>
                    <a:pt x="90" y="2"/>
                  </a:lnTo>
                  <a:lnTo>
                    <a:pt x="90" y="2"/>
                  </a:lnTo>
                  <a:lnTo>
                    <a:pt x="92" y="0"/>
                  </a:lnTo>
                  <a:lnTo>
                    <a:pt x="92" y="0"/>
                  </a:lnTo>
                  <a:lnTo>
                    <a:pt x="96" y="0"/>
                  </a:lnTo>
                  <a:lnTo>
                    <a:pt x="96" y="2"/>
                  </a:lnTo>
                  <a:lnTo>
                    <a:pt x="100" y="6"/>
                  </a:lnTo>
                  <a:lnTo>
                    <a:pt x="102" y="8"/>
                  </a:lnTo>
                  <a:lnTo>
                    <a:pt x="106" y="10"/>
                  </a:lnTo>
                  <a:lnTo>
                    <a:pt x="112" y="10"/>
                  </a:lnTo>
                  <a:lnTo>
                    <a:pt x="118" y="10"/>
                  </a:lnTo>
                  <a:lnTo>
                    <a:pt x="118" y="10"/>
                  </a:lnTo>
                  <a:lnTo>
                    <a:pt x="124" y="8"/>
                  </a:lnTo>
                  <a:lnTo>
                    <a:pt x="128" y="8"/>
                  </a:lnTo>
                  <a:lnTo>
                    <a:pt x="132" y="8"/>
                  </a:lnTo>
                  <a:lnTo>
                    <a:pt x="140" y="8"/>
                  </a:lnTo>
                  <a:lnTo>
                    <a:pt x="140" y="8"/>
                  </a:lnTo>
                  <a:lnTo>
                    <a:pt x="150" y="8"/>
                  </a:lnTo>
                  <a:lnTo>
                    <a:pt x="158" y="10"/>
                  </a:lnTo>
                  <a:lnTo>
                    <a:pt x="166" y="16"/>
                  </a:lnTo>
                  <a:lnTo>
                    <a:pt x="172" y="22"/>
                  </a:lnTo>
                  <a:lnTo>
                    <a:pt x="186" y="36"/>
                  </a:lnTo>
                  <a:lnTo>
                    <a:pt x="196" y="52"/>
                  </a:lnTo>
                  <a:lnTo>
                    <a:pt x="196" y="52"/>
                  </a:lnTo>
                  <a:lnTo>
                    <a:pt x="192" y="52"/>
                  </a:lnTo>
                  <a:lnTo>
                    <a:pt x="188" y="54"/>
                  </a:lnTo>
                  <a:lnTo>
                    <a:pt x="186" y="60"/>
                  </a:lnTo>
                  <a:lnTo>
                    <a:pt x="186" y="60"/>
                  </a:lnTo>
                  <a:lnTo>
                    <a:pt x="182" y="74"/>
                  </a:lnTo>
                  <a:lnTo>
                    <a:pt x="182" y="82"/>
                  </a:lnTo>
                  <a:lnTo>
                    <a:pt x="184" y="84"/>
                  </a:lnTo>
                  <a:lnTo>
                    <a:pt x="184" y="84"/>
                  </a:lnTo>
                  <a:lnTo>
                    <a:pt x="186" y="88"/>
                  </a:lnTo>
                  <a:lnTo>
                    <a:pt x="188" y="88"/>
                  </a:lnTo>
                  <a:lnTo>
                    <a:pt x="192" y="86"/>
                  </a:lnTo>
                  <a:lnTo>
                    <a:pt x="196" y="86"/>
                  </a:lnTo>
                  <a:lnTo>
                    <a:pt x="200" y="86"/>
                  </a:lnTo>
                  <a:lnTo>
                    <a:pt x="204" y="88"/>
                  </a:lnTo>
                  <a:lnTo>
                    <a:pt x="196" y="94"/>
                  </a:lnTo>
                  <a:lnTo>
                    <a:pt x="210" y="114"/>
                  </a:lnTo>
                  <a:lnTo>
                    <a:pt x="216" y="128"/>
                  </a:lnTo>
                  <a:lnTo>
                    <a:pt x="286" y="158"/>
                  </a:lnTo>
                  <a:lnTo>
                    <a:pt x="318" y="166"/>
                  </a:lnTo>
                  <a:lnTo>
                    <a:pt x="318" y="166"/>
                  </a:lnTo>
                  <a:lnTo>
                    <a:pt x="260" y="230"/>
                  </a:lnTo>
                  <a:lnTo>
                    <a:pt x="248" y="240"/>
                  </a:lnTo>
                  <a:lnTo>
                    <a:pt x="246" y="242"/>
                  </a:lnTo>
                  <a:lnTo>
                    <a:pt x="244" y="242"/>
                  </a:lnTo>
                  <a:lnTo>
                    <a:pt x="244" y="242"/>
                  </a:lnTo>
                  <a:lnTo>
                    <a:pt x="236" y="242"/>
                  </a:lnTo>
                  <a:lnTo>
                    <a:pt x="230" y="242"/>
                  </a:lnTo>
                  <a:lnTo>
                    <a:pt x="216" y="248"/>
                  </a:lnTo>
                  <a:lnTo>
                    <a:pt x="188" y="270"/>
                  </a:lnTo>
                  <a:lnTo>
                    <a:pt x="188" y="270"/>
                  </a:lnTo>
                  <a:lnTo>
                    <a:pt x="176" y="268"/>
                  </a:lnTo>
                  <a:lnTo>
                    <a:pt x="172" y="266"/>
                  </a:lnTo>
                  <a:lnTo>
                    <a:pt x="168" y="264"/>
                  </a:lnTo>
                  <a:lnTo>
                    <a:pt x="158" y="266"/>
                  </a:lnTo>
                  <a:lnTo>
                    <a:pt x="158" y="266"/>
                  </a:lnTo>
                  <a:lnTo>
                    <a:pt x="154" y="268"/>
                  </a:lnTo>
                  <a:lnTo>
                    <a:pt x="152" y="270"/>
                  </a:lnTo>
                  <a:lnTo>
                    <a:pt x="152" y="274"/>
                  </a:lnTo>
                  <a:lnTo>
                    <a:pt x="152" y="276"/>
                  </a:lnTo>
                  <a:lnTo>
                    <a:pt x="148" y="276"/>
                  </a:lnTo>
                  <a:lnTo>
                    <a:pt x="128" y="278"/>
                  </a:lnTo>
                  <a:lnTo>
                    <a:pt x="128" y="278"/>
                  </a:lnTo>
                  <a:lnTo>
                    <a:pt x="114" y="276"/>
                  </a:lnTo>
                  <a:lnTo>
                    <a:pt x="106" y="274"/>
                  </a:lnTo>
                  <a:lnTo>
                    <a:pt x="100" y="270"/>
                  </a:lnTo>
                  <a:lnTo>
                    <a:pt x="94" y="264"/>
                  </a:lnTo>
                  <a:lnTo>
                    <a:pt x="90" y="260"/>
                  </a:lnTo>
                  <a:lnTo>
                    <a:pt x="84" y="254"/>
                  </a:lnTo>
                  <a:lnTo>
                    <a:pt x="74" y="252"/>
                  </a:lnTo>
                  <a:lnTo>
                    <a:pt x="60" y="248"/>
                  </a:lnTo>
                  <a:lnTo>
                    <a:pt x="60" y="248"/>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Somalia"/>
            <p:cNvSpPr>
              <a:spLocks/>
            </p:cNvSpPr>
            <p:nvPr/>
          </p:nvSpPr>
          <p:spPr bwMode="auto">
            <a:xfrm>
              <a:off x="5292955" y="3218656"/>
              <a:ext cx="283104" cy="457729"/>
            </a:xfrm>
            <a:custGeom>
              <a:avLst/>
              <a:gdLst/>
              <a:ahLst/>
              <a:cxnLst>
                <a:cxn ang="0">
                  <a:pos x="24" y="346"/>
                </a:cxn>
                <a:cxn ang="0">
                  <a:pos x="36" y="324"/>
                </a:cxn>
                <a:cxn ang="0">
                  <a:pos x="44" y="312"/>
                </a:cxn>
                <a:cxn ang="0">
                  <a:pos x="62" y="294"/>
                </a:cxn>
                <a:cxn ang="0">
                  <a:pos x="72" y="282"/>
                </a:cxn>
                <a:cxn ang="0">
                  <a:pos x="90" y="264"/>
                </a:cxn>
                <a:cxn ang="0">
                  <a:pos x="112" y="242"/>
                </a:cxn>
                <a:cxn ang="0">
                  <a:pos x="138" y="214"/>
                </a:cxn>
                <a:cxn ang="0">
                  <a:pos x="150" y="188"/>
                </a:cxn>
                <a:cxn ang="0">
                  <a:pos x="152" y="184"/>
                </a:cxn>
                <a:cxn ang="0">
                  <a:pos x="166" y="170"/>
                </a:cxn>
                <a:cxn ang="0">
                  <a:pos x="174" y="158"/>
                </a:cxn>
                <a:cxn ang="0">
                  <a:pos x="178" y="140"/>
                </a:cxn>
                <a:cxn ang="0">
                  <a:pos x="178" y="132"/>
                </a:cxn>
                <a:cxn ang="0">
                  <a:pos x="188" y="108"/>
                </a:cxn>
                <a:cxn ang="0">
                  <a:pos x="198" y="88"/>
                </a:cxn>
                <a:cxn ang="0">
                  <a:pos x="198" y="82"/>
                </a:cxn>
                <a:cxn ang="0">
                  <a:pos x="200" y="78"/>
                </a:cxn>
                <a:cxn ang="0">
                  <a:pos x="208" y="62"/>
                </a:cxn>
                <a:cxn ang="0">
                  <a:pos x="210" y="52"/>
                </a:cxn>
                <a:cxn ang="0">
                  <a:pos x="210" y="50"/>
                </a:cxn>
                <a:cxn ang="0">
                  <a:pos x="210" y="48"/>
                </a:cxn>
                <a:cxn ang="0">
                  <a:pos x="210" y="32"/>
                </a:cxn>
                <a:cxn ang="0">
                  <a:pos x="210" y="28"/>
                </a:cxn>
                <a:cxn ang="0">
                  <a:pos x="212" y="28"/>
                </a:cxn>
                <a:cxn ang="0">
                  <a:pos x="212" y="24"/>
                </a:cxn>
                <a:cxn ang="0">
                  <a:pos x="208" y="12"/>
                </a:cxn>
                <a:cxn ang="0">
                  <a:pos x="210" y="6"/>
                </a:cxn>
                <a:cxn ang="0">
                  <a:pos x="206" y="0"/>
                </a:cxn>
                <a:cxn ang="0">
                  <a:pos x="194" y="0"/>
                </a:cxn>
                <a:cxn ang="0">
                  <a:pos x="182" y="10"/>
                </a:cxn>
                <a:cxn ang="0">
                  <a:pos x="162" y="16"/>
                </a:cxn>
                <a:cxn ang="0">
                  <a:pos x="156" y="16"/>
                </a:cxn>
                <a:cxn ang="0">
                  <a:pos x="150" y="20"/>
                </a:cxn>
                <a:cxn ang="0">
                  <a:pos x="142" y="20"/>
                </a:cxn>
                <a:cxn ang="0">
                  <a:pos x="128" y="24"/>
                </a:cxn>
                <a:cxn ang="0">
                  <a:pos x="110" y="28"/>
                </a:cxn>
                <a:cxn ang="0">
                  <a:pos x="100" y="26"/>
                </a:cxn>
                <a:cxn ang="0">
                  <a:pos x="82" y="34"/>
                </a:cxn>
                <a:cxn ang="0">
                  <a:pos x="78" y="36"/>
                </a:cxn>
                <a:cxn ang="0">
                  <a:pos x="60" y="26"/>
                </a:cxn>
                <a:cxn ang="0">
                  <a:pos x="44" y="10"/>
                </a:cxn>
                <a:cxn ang="0">
                  <a:pos x="28" y="24"/>
                </a:cxn>
                <a:cxn ang="0">
                  <a:pos x="48" y="58"/>
                </a:cxn>
                <a:cxn ang="0">
                  <a:pos x="150" y="96"/>
                </a:cxn>
                <a:cxn ang="0">
                  <a:pos x="92" y="160"/>
                </a:cxn>
                <a:cxn ang="0">
                  <a:pos x="78" y="172"/>
                </a:cxn>
                <a:cxn ang="0">
                  <a:pos x="76" y="172"/>
                </a:cxn>
                <a:cxn ang="0">
                  <a:pos x="62" y="172"/>
                </a:cxn>
                <a:cxn ang="0">
                  <a:pos x="20" y="200"/>
                </a:cxn>
                <a:cxn ang="0">
                  <a:pos x="18" y="206"/>
                </a:cxn>
                <a:cxn ang="0">
                  <a:pos x="8" y="218"/>
                </a:cxn>
                <a:cxn ang="0">
                  <a:pos x="2" y="226"/>
                </a:cxn>
                <a:cxn ang="0">
                  <a:pos x="0" y="232"/>
                </a:cxn>
                <a:cxn ang="0">
                  <a:pos x="0" y="318"/>
                </a:cxn>
                <a:cxn ang="0">
                  <a:pos x="4" y="326"/>
                </a:cxn>
                <a:cxn ang="0">
                  <a:pos x="24" y="346"/>
                </a:cxn>
              </a:cxnLst>
              <a:rect l="0" t="0" r="r" b="b"/>
              <a:pathLst>
                <a:path w="214" h="346">
                  <a:moveTo>
                    <a:pt x="24" y="346"/>
                  </a:moveTo>
                  <a:lnTo>
                    <a:pt x="24" y="346"/>
                  </a:lnTo>
                  <a:lnTo>
                    <a:pt x="28" y="340"/>
                  </a:lnTo>
                  <a:lnTo>
                    <a:pt x="36" y="324"/>
                  </a:lnTo>
                  <a:lnTo>
                    <a:pt x="36" y="324"/>
                  </a:lnTo>
                  <a:lnTo>
                    <a:pt x="44" y="312"/>
                  </a:lnTo>
                  <a:lnTo>
                    <a:pt x="52" y="304"/>
                  </a:lnTo>
                  <a:lnTo>
                    <a:pt x="62" y="294"/>
                  </a:lnTo>
                  <a:lnTo>
                    <a:pt x="72" y="282"/>
                  </a:lnTo>
                  <a:lnTo>
                    <a:pt x="72" y="282"/>
                  </a:lnTo>
                  <a:lnTo>
                    <a:pt x="80" y="270"/>
                  </a:lnTo>
                  <a:lnTo>
                    <a:pt x="90" y="264"/>
                  </a:lnTo>
                  <a:lnTo>
                    <a:pt x="100" y="256"/>
                  </a:lnTo>
                  <a:lnTo>
                    <a:pt x="112" y="242"/>
                  </a:lnTo>
                  <a:lnTo>
                    <a:pt x="112" y="242"/>
                  </a:lnTo>
                  <a:lnTo>
                    <a:pt x="138" y="214"/>
                  </a:lnTo>
                  <a:lnTo>
                    <a:pt x="146" y="200"/>
                  </a:lnTo>
                  <a:lnTo>
                    <a:pt x="150" y="188"/>
                  </a:lnTo>
                  <a:lnTo>
                    <a:pt x="150" y="188"/>
                  </a:lnTo>
                  <a:lnTo>
                    <a:pt x="152" y="184"/>
                  </a:lnTo>
                  <a:lnTo>
                    <a:pt x="156" y="180"/>
                  </a:lnTo>
                  <a:lnTo>
                    <a:pt x="166" y="170"/>
                  </a:lnTo>
                  <a:lnTo>
                    <a:pt x="170" y="164"/>
                  </a:lnTo>
                  <a:lnTo>
                    <a:pt x="174" y="158"/>
                  </a:lnTo>
                  <a:lnTo>
                    <a:pt x="176" y="150"/>
                  </a:lnTo>
                  <a:lnTo>
                    <a:pt x="178" y="140"/>
                  </a:lnTo>
                  <a:lnTo>
                    <a:pt x="178" y="140"/>
                  </a:lnTo>
                  <a:lnTo>
                    <a:pt x="178" y="132"/>
                  </a:lnTo>
                  <a:lnTo>
                    <a:pt x="182" y="124"/>
                  </a:lnTo>
                  <a:lnTo>
                    <a:pt x="188" y="108"/>
                  </a:lnTo>
                  <a:lnTo>
                    <a:pt x="196" y="94"/>
                  </a:lnTo>
                  <a:lnTo>
                    <a:pt x="198" y="88"/>
                  </a:lnTo>
                  <a:lnTo>
                    <a:pt x="198" y="82"/>
                  </a:lnTo>
                  <a:lnTo>
                    <a:pt x="198" y="82"/>
                  </a:lnTo>
                  <a:lnTo>
                    <a:pt x="198" y="80"/>
                  </a:lnTo>
                  <a:lnTo>
                    <a:pt x="200" y="78"/>
                  </a:lnTo>
                  <a:lnTo>
                    <a:pt x="202" y="74"/>
                  </a:lnTo>
                  <a:lnTo>
                    <a:pt x="208" y="62"/>
                  </a:lnTo>
                  <a:lnTo>
                    <a:pt x="208" y="62"/>
                  </a:lnTo>
                  <a:lnTo>
                    <a:pt x="210" y="52"/>
                  </a:lnTo>
                  <a:lnTo>
                    <a:pt x="210" y="50"/>
                  </a:lnTo>
                  <a:lnTo>
                    <a:pt x="210" y="50"/>
                  </a:lnTo>
                  <a:lnTo>
                    <a:pt x="210" y="48"/>
                  </a:lnTo>
                  <a:lnTo>
                    <a:pt x="210" y="48"/>
                  </a:lnTo>
                  <a:lnTo>
                    <a:pt x="212" y="40"/>
                  </a:lnTo>
                  <a:lnTo>
                    <a:pt x="210" y="32"/>
                  </a:lnTo>
                  <a:lnTo>
                    <a:pt x="210" y="28"/>
                  </a:lnTo>
                  <a:lnTo>
                    <a:pt x="210" y="28"/>
                  </a:lnTo>
                  <a:lnTo>
                    <a:pt x="212" y="28"/>
                  </a:lnTo>
                  <a:lnTo>
                    <a:pt x="212" y="28"/>
                  </a:lnTo>
                  <a:lnTo>
                    <a:pt x="214" y="28"/>
                  </a:lnTo>
                  <a:lnTo>
                    <a:pt x="212" y="24"/>
                  </a:lnTo>
                  <a:lnTo>
                    <a:pt x="208" y="18"/>
                  </a:lnTo>
                  <a:lnTo>
                    <a:pt x="208" y="12"/>
                  </a:lnTo>
                  <a:lnTo>
                    <a:pt x="210" y="6"/>
                  </a:lnTo>
                  <a:lnTo>
                    <a:pt x="210" y="6"/>
                  </a:lnTo>
                  <a:lnTo>
                    <a:pt x="208" y="2"/>
                  </a:lnTo>
                  <a:lnTo>
                    <a:pt x="206" y="0"/>
                  </a:lnTo>
                  <a:lnTo>
                    <a:pt x="200" y="0"/>
                  </a:lnTo>
                  <a:lnTo>
                    <a:pt x="194" y="0"/>
                  </a:lnTo>
                  <a:lnTo>
                    <a:pt x="194" y="0"/>
                  </a:lnTo>
                  <a:lnTo>
                    <a:pt x="182" y="10"/>
                  </a:lnTo>
                  <a:lnTo>
                    <a:pt x="172" y="14"/>
                  </a:lnTo>
                  <a:lnTo>
                    <a:pt x="162" y="16"/>
                  </a:lnTo>
                  <a:lnTo>
                    <a:pt x="162" y="16"/>
                  </a:lnTo>
                  <a:lnTo>
                    <a:pt x="156" y="16"/>
                  </a:lnTo>
                  <a:lnTo>
                    <a:pt x="154" y="18"/>
                  </a:lnTo>
                  <a:lnTo>
                    <a:pt x="150" y="20"/>
                  </a:lnTo>
                  <a:lnTo>
                    <a:pt x="142" y="20"/>
                  </a:lnTo>
                  <a:lnTo>
                    <a:pt x="142" y="20"/>
                  </a:lnTo>
                  <a:lnTo>
                    <a:pt x="132" y="20"/>
                  </a:lnTo>
                  <a:lnTo>
                    <a:pt x="128" y="24"/>
                  </a:lnTo>
                  <a:lnTo>
                    <a:pt x="120" y="26"/>
                  </a:lnTo>
                  <a:lnTo>
                    <a:pt x="110" y="28"/>
                  </a:lnTo>
                  <a:lnTo>
                    <a:pt x="110" y="28"/>
                  </a:lnTo>
                  <a:lnTo>
                    <a:pt x="100" y="26"/>
                  </a:lnTo>
                  <a:lnTo>
                    <a:pt x="96" y="28"/>
                  </a:lnTo>
                  <a:lnTo>
                    <a:pt x="82" y="34"/>
                  </a:lnTo>
                  <a:lnTo>
                    <a:pt x="82" y="34"/>
                  </a:lnTo>
                  <a:lnTo>
                    <a:pt x="78" y="36"/>
                  </a:lnTo>
                  <a:lnTo>
                    <a:pt x="72" y="34"/>
                  </a:lnTo>
                  <a:lnTo>
                    <a:pt x="60" y="26"/>
                  </a:lnTo>
                  <a:lnTo>
                    <a:pt x="50" y="18"/>
                  </a:lnTo>
                  <a:lnTo>
                    <a:pt x="44" y="10"/>
                  </a:lnTo>
                  <a:lnTo>
                    <a:pt x="36" y="18"/>
                  </a:lnTo>
                  <a:lnTo>
                    <a:pt x="28" y="24"/>
                  </a:lnTo>
                  <a:lnTo>
                    <a:pt x="42" y="44"/>
                  </a:lnTo>
                  <a:lnTo>
                    <a:pt x="48" y="58"/>
                  </a:lnTo>
                  <a:lnTo>
                    <a:pt x="118" y="88"/>
                  </a:lnTo>
                  <a:lnTo>
                    <a:pt x="150" y="96"/>
                  </a:lnTo>
                  <a:lnTo>
                    <a:pt x="150" y="96"/>
                  </a:lnTo>
                  <a:lnTo>
                    <a:pt x="92" y="160"/>
                  </a:lnTo>
                  <a:lnTo>
                    <a:pt x="80" y="170"/>
                  </a:lnTo>
                  <a:lnTo>
                    <a:pt x="78" y="172"/>
                  </a:lnTo>
                  <a:lnTo>
                    <a:pt x="76" y="172"/>
                  </a:lnTo>
                  <a:lnTo>
                    <a:pt x="76" y="172"/>
                  </a:lnTo>
                  <a:lnTo>
                    <a:pt x="68" y="172"/>
                  </a:lnTo>
                  <a:lnTo>
                    <a:pt x="62" y="172"/>
                  </a:lnTo>
                  <a:lnTo>
                    <a:pt x="48" y="178"/>
                  </a:lnTo>
                  <a:lnTo>
                    <a:pt x="20" y="200"/>
                  </a:lnTo>
                  <a:lnTo>
                    <a:pt x="20" y="200"/>
                  </a:lnTo>
                  <a:lnTo>
                    <a:pt x="18" y="206"/>
                  </a:lnTo>
                  <a:lnTo>
                    <a:pt x="14" y="212"/>
                  </a:lnTo>
                  <a:lnTo>
                    <a:pt x="8" y="218"/>
                  </a:lnTo>
                  <a:lnTo>
                    <a:pt x="4" y="222"/>
                  </a:lnTo>
                  <a:lnTo>
                    <a:pt x="2" y="226"/>
                  </a:lnTo>
                  <a:lnTo>
                    <a:pt x="0" y="232"/>
                  </a:lnTo>
                  <a:lnTo>
                    <a:pt x="0" y="232"/>
                  </a:lnTo>
                  <a:lnTo>
                    <a:pt x="0" y="318"/>
                  </a:lnTo>
                  <a:lnTo>
                    <a:pt x="0" y="318"/>
                  </a:lnTo>
                  <a:lnTo>
                    <a:pt x="2" y="322"/>
                  </a:lnTo>
                  <a:lnTo>
                    <a:pt x="4" y="326"/>
                  </a:lnTo>
                  <a:lnTo>
                    <a:pt x="24" y="346"/>
                  </a:lnTo>
                  <a:lnTo>
                    <a:pt x="24" y="346"/>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Kenya"/>
            <p:cNvSpPr>
              <a:spLocks/>
            </p:cNvSpPr>
            <p:nvPr/>
          </p:nvSpPr>
          <p:spPr bwMode="auto">
            <a:xfrm>
              <a:off x="5094518" y="3454136"/>
              <a:ext cx="230188" cy="333375"/>
            </a:xfrm>
            <a:custGeom>
              <a:avLst/>
              <a:gdLst/>
              <a:ahLst/>
              <a:cxnLst>
                <a:cxn ang="0">
                  <a:pos x="126" y="252"/>
                </a:cxn>
                <a:cxn ang="0">
                  <a:pos x="132" y="242"/>
                </a:cxn>
                <a:cxn ang="0">
                  <a:pos x="134" y="236"/>
                </a:cxn>
                <a:cxn ang="0">
                  <a:pos x="138" y="228"/>
                </a:cxn>
                <a:cxn ang="0">
                  <a:pos x="140" y="222"/>
                </a:cxn>
                <a:cxn ang="0">
                  <a:pos x="142" y="210"/>
                </a:cxn>
                <a:cxn ang="0">
                  <a:pos x="142" y="200"/>
                </a:cxn>
                <a:cxn ang="0">
                  <a:pos x="144" y="194"/>
                </a:cxn>
                <a:cxn ang="0">
                  <a:pos x="148" y="186"/>
                </a:cxn>
                <a:cxn ang="0">
                  <a:pos x="160" y="178"/>
                </a:cxn>
                <a:cxn ang="0">
                  <a:pos x="174" y="168"/>
                </a:cxn>
                <a:cxn ang="0">
                  <a:pos x="152" y="144"/>
                </a:cxn>
                <a:cxn ang="0">
                  <a:pos x="150" y="140"/>
                </a:cxn>
                <a:cxn ang="0">
                  <a:pos x="150" y="54"/>
                </a:cxn>
                <a:cxn ang="0">
                  <a:pos x="154" y="44"/>
                </a:cxn>
                <a:cxn ang="0">
                  <a:pos x="164" y="34"/>
                </a:cxn>
                <a:cxn ang="0">
                  <a:pos x="170" y="22"/>
                </a:cxn>
                <a:cxn ang="0">
                  <a:pos x="158" y="20"/>
                </a:cxn>
                <a:cxn ang="0">
                  <a:pos x="150" y="16"/>
                </a:cxn>
                <a:cxn ang="0">
                  <a:pos x="140" y="18"/>
                </a:cxn>
                <a:cxn ang="0">
                  <a:pos x="134" y="22"/>
                </a:cxn>
                <a:cxn ang="0">
                  <a:pos x="134" y="28"/>
                </a:cxn>
                <a:cxn ang="0">
                  <a:pos x="110" y="30"/>
                </a:cxn>
                <a:cxn ang="0">
                  <a:pos x="96" y="28"/>
                </a:cxn>
                <a:cxn ang="0">
                  <a:pos x="82" y="22"/>
                </a:cxn>
                <a:cxn ang="0">
                  <a:pos x="72" y="12"/>
                </a:cxn>
                <a:cxn ang="0">
                  <a:pos x="56" y="4"/>
                </a:cxn>
                <a:cxn ang="0">
                  <a:pos x="42" y="0"/>
                </a:cxn>
                <a:cxn ang="0">
                  <a:pos x="32" y="8"/>
                </a:cxn>
                <a:cxn ang="0">
                  <a:pos x="26" y="4"/>
                </a:cxn>
                <a:cxn ang="0">
                  <a:pos x="18" y="4"/>
                </a:cxn>
                <a:cxn ang="0">
                  <a:pos x="0" y="16"/>
                </a:cxn>
                <a:cxn ang="0">
                  <a:pos x="6" y="24"/>
                </a:cxn>
                <a:cxn ang="0">
                  <a:pos x="8" y="34"/>
                </a:cxn>
                <a:cxn ang="0">
                  <a:pos x="12" y="42"/>
                </a:cxn>
                <a:cxn ang="0">
                  <a:pos x="20" y="44"/>
                </a:cxn>
                <a:cxn ang="0">
                  <a:pos x="20" y="50"/>
                </a:cxn>
                <a:cxn ang="0">
                  <a:pos x="20" y="52"/>
                </a:cxn>
                <a:cxn ang="0">
                  <a:pos x="24" y="62"/>
                </a:cxn>
                <a:cxn ang="0">
                  <a:pos x="26" y="74"/>
                </a:cxn>
                <a:cxn ang="0">
                  <a:pos x="26" y="78"/>
                </a:cxn>
                <a:cxn ang="0">
                  <a:pos x="24" y="94"/>
                </a:cxn>
                <a:cxn ang="0">
                  <a:pos x="20" y="100"/>
                </a:cxn>
                <a:cxn ang="0">
                  <a:pos x="16" y="102"/>
                </a:cxn>
                <a:cxn ang="0">
                  <a:pos x="4" y="120"/>
                </a:cxn>
                <a:cxn ang="0">
                  <a:pos x="8" y="122"/>
                </a:cxn>
                <a:cxn ang="0">
                  <a:pos x="6" y="128"/>
                </a:cxn>
                <a:cxn ang="0">
                  <a:pos x="4" y="132"/>
                </a:cxn>
                <a:cxn ang="0">
                  <a:pos x="8" y="134"/>
                </a:cxn>
                <a:cxn ang="0">
                  <a:pos x="10" y="132"/>
                </a:cxn>
                <a:cxn ang="0">
                  <a:pos x="16" y="130"/>
                </a:cxn>
                <a:cxn ang="0">
                  <a:pos x="20" y="132"/>
                </a:cxn>
                <a:cxn ang="0">
                  <a:pos x="20" y="134"/>
                </a:cxn>
                <a:cxn ang="0">
                  <a:pos x="14" y="136"/>
                </a:cxn>
                <a:cxn ang="0">
                  <a:pos x="10" y="142"/>
                </a:cxn>
                <a:cxn ang="0">
                  <a:pos x="12" y="146"/>
                </a:cxn>
                <a:cxn ang="0">
                  <a:pos x="12" y="150"/>
                </a:cxn>
                <a:cxn ang="0">
                  <a:pos x="80" y="196"/>
                </a:cxn>
                <a:cxn ang="0">
                  <a:pos x="84" y="198"/>
                </a:cxn>
                <a:cxn ang="0">
                  <a:pos x="86" y="210"/>
                </a:cxn>
                <a:cxn ang="0">
                  <a:pos x="88" y="220"/>
                </a:cxn>
                <a:cxn ang="0">
                  <a:pos x="92" y="224"/>
                </a:cxn>
                <a:cxn ang="0">
                  <a:pos x="126" y="252"/>
                </a:cxn>
              </a:cxnLst>
              <a:rect l="0" t="0" r="r" b="b"/>
              <a:pathLst>
                <a:path w="174" h="252">
                  <a:moveTo>
                    <a:pt x="126" y="252"/>
                  </a:moveTo>
                  <a:lnTo>
                    <a:pt x="126" y="252"/>
                  </a:lnTo>
                  <a:lnTo>
                    <a:pt x="130" y="250"/>
                  </a:lnTo>
                  <a:lnTo>
                    <a:pt x="132" y="242"/>
                  </a:lnTo>
                  <a:lnTo>
                    <a:pt x="132" y="242"/>
                  </a:lnTo>
                  <a:lnTo>
                    <a:pt x="134" y="236"/>
                  </a:lnTo>
                  <a:lnTo>
                    <a:pt x="136" y="232"/>
                  </a:lnTo>
                  <a:lnTo>
                    <a:pt x="138" y="228"/>
                  </a:lnTo>
                  <a:lnTo>
                    <a:pt x="140" y="222"/>
                  </a:lnTo>
                  <a:lnTo>
                    <a:pt x="140" y="222"/>
                  </a:lnTo>
                  <a:lnTo>
                    <a:pt x="140" y="214"/>
                  </a:lnTo>
                  <a:lnTo>
                    <a:pt x="142" y="210"/>
                  </a:lnTo>
                  <a:lnTo>
                    <a:pt x="142" y="208"/>
                  </a:lnTo>
                  <a:lnTo>
                    <a:pt x="142" y="200"/>
                  </a:lnTo>
                  <a:lnTo>
                    <a:pt x="142" y="200"/>
                  </a:lnTo>
                  <a:lnTo>
                    <a:pt x="144" y="194"/>
                  </a:lnTo>
                  <a:lnTo>
                    <a:pt x="144" y="190"/>
                  </a:lnTo>
                  <a:lnTo>
                    <a:pt x="148" y="186"/>
                  </a:lnTo>
                  <a:lnTo>
                    <a:pt x="150" y="184"/>
                  </a:lnTo>
                  <a:lnTo>
                    <a:pt x="160" y="178"/>
                  </a:lnTo>
                  <a:lnTo>
                    <a:pt x="174" y="168"/>
                  </a:lnTo>
                  <a:lnTo>
                    <a:pt x="174" y="168"/>
                  </a:lnTo>
                  <a:lnTo>
                    <a:pt x="154" y="148"/>
                  </a:lnTo>
                  <a:lnTo>
                    <a:pt x="152" y="144"/>
                  </a:lnTo>
                  <a:lnTo>
                    <a:pt x="150" y="140"/>
                  </a:lnTo>
                  <a:lnTo>
                    <a:pt x="150" y="140"/>
                  </a:lnTo>
                  <a:lnTo>
                    <a:pt x="150" y="54"/>
                  </a:lnTo>
                  <a:lnTo>
                    <a:pt x="150" y="54"/>
                  </a:lnTo>
                  <a:lnTo>
                    <a:pt x="152" y="48"/>
                  </a:lnTo>
                  <a:lnTo>
                    <a:pt x="154" y="44"/>
                  </a:lnTo>
                  <a:lnTo>
                    <a:pt x="158" y="40"/>
                  </a:lnTo>
                  <a:lnTo>
                    <a:pt x="164" y="34"/>
                  </a:lnTo>
                  <a:lnTo>
                    <a:pt x="168" y="28"/>
                  </a:lnTo>
                  <a:lnTo>
                    <a:pt x="170" y="22"/>
                  </a:lnTo>
                  <a:lnTo>
                    <a:pt x="170" y="22"/>
                  </a:lnTo>
                  <a:lnTo>
                    <a:pt x="158" y="20"/>
                  </a:lnTo>
                  <a:lnTo>
                    <a:pt x="154" y="18"/>
                  </a:lnTo>
                  <a:lnTo>
                    <a:pt x="150" y="16"/>
                  </a:lnTo>
                  <a:lnTo>
                    <a:pt x="140" y="18"/>
                  </a:lnTo>
                  <a:lnTo>
                    <a:pt x="140" y="18"/>
                  </a:lnTo>
                  <a:lnTo>
                    <a:pt x="136" y="20"/>
                  </a:lnTo>
                  <a:lnTo>
                    <a:pt x="134" y="22"/>
                  </a:lnTo>
                  <a:lnTo>
                    <a:pt x="134" y="26"/>
                  </a:lnTo>
                  <a:lnTo>
                    <a:pt x="134" y="28"/>
                  </a:lnTo>
                  <a:lnTo>
                    <a:pt x="130" y="28"/>
                  </a:lnTo>
                  <a:lnTo>
                    <a:pt x="110" y="30"/>
                  </a:lnTo>
                  <a:lnTo>
                    <a:pt x="110" y="30"/>
                  </a:lnTo>
                  <a:lnTo>
                    <a:pt x="96" y="28"/>
                  </a:lnTo>
                  <a:lnTo>
                    <a:pt x="88" y="26"/>
                  </a:lnTo>
                  <a:lnTo>
                    <a:pt x="82" y="22"/>
                  </a:lnTo>
                  <a:lnTo>
                    <a:pt x="76" y="16"/>
                  </a:lnTo>
                  <a:lnTo>
                    <a:pt x="72" y="12"/>
                  </a:lnTo>
                  <a:lnTo>
                    <a:pt x="66" y="6"/>
                  </a:lnTo>
                  <a:lnTo>
                    <a:pt x="56" y="4"/>
                  </a:lnTo>
                  <a:lnTo>
                    <a:pt x="42" y="0"/>
                  </a:lnTo>
                  <a:lnTo>
                    <a:pt x="42" y="0"/>
                  </a:lnTo>
                  <a:lnTo>
                    <a:pt x="36" y="6"/>
                  </a:lnTo>
                  <a:lnTo>
                    <a:pt x="32" y="8"/>
                  </a:lnTo>
                  <a:lnTo>
                    <a:pt x="28" y="6"/>
                  </a:lnTo>
                  <a:lnTo>
                    <a:pt x="26" y="4"/>
                  </a:lnTo>
                  <a:lnTo>
                    <a:pt x="22" y="4"/>
                  </a:lnTo>
                  <a:lnTo>
                    <a:pt x="18" y="4"/>
                  </a:lnTo>
                  <a:lnTo>
                    <a:pt x="10" y="8"/>
                  </a:lnTo>
                  <a:lnTo>
                    <a:pt x="0" y="16"/>
                  </a:lnTo>
                  <a:lnTo>
                    <a:pt x="0" y="16"/>
                  </a:lnTo>
                  <a:lnTo>
                    <a:pt x="6" y="24"/>
                  </a:lnTo>
                  <a:lnTo>
                    <a:pt x="8" y="30"/>
                  </a:lnTo>
                  <a:lnTo>
                    <a:pt x="8" y="34"/>
                  </a:lnTo>
                  <a:lnTo>
                    <a:pt x="12" y="42"/>
                  </a:lnTo>
                  <a:lnTo>
                    <a:pt x="12" y="42"/>
                  </a:lnTo>
                  <a:lnTo>
                    <a:pt x="18" y="44"/>
                  </a:lnTo>
                  <a:lnTo>
                    <a:pt x="20" y="44"/>
                  </a:lnTo>
                  <a:lnTo>
                    <a:pt x="20" y="46"/>
                  </a:lnTo>
                  <a:lnTo>
                    <a:pt x="20" y="50"/>
                  </a:lnTo>
                  <a:lnTo>
                    <a:pt x="20" y="50"/>
                  </a:lnTo>
                  <a:lnTo>
                    <a:pt x="20" y="52"/>
                  </a:lnTo>
                  <a:lnTo>
                    <a:pt x="20" y="56"/>
                  </a:lnTo>
                  <a:lnTo>
                    <a:pt x="24" y="62"/>
                  </a:lnTo>
                  <a:lnTo>
                    <a:pt x="26" y="70"/>
                  </a:lnTo>
                  <a:lnTo>
                    <a:pt x="26" y="74"/>
                  </a:lnTo>
                  <a:lnTo>
                    <a:pt x="26" y="78"/>
                  </a:lnTo>
                  <a:lnTo>
                    <a:pt x="26" y="78"/>
                  </a:lnTo>
                  <a:lnTo>
                    <a:pt x="22" y="88"/>
                  </a:lnTo>
                  <a:lnTo>
                    <a:pt x="24" y="94"/>
                  </a:lnTo>
                  <a:lnTo>
                    <a:pt x="24" y="98"/>
                  </a:lnTo>
                  <a:lnTo>
                    <a:pt x="20" y="100"/>
                  </a:lnTo>
                  <a:lnTo>
                    <a:pt x="20" y="100"/>
                  </a:lnTo>
                  <a:lnTo>
                    <a:pt x="16" y="102"/>
                  </a:lnTo>
                  <a:lnTo>
                    <a:pt x="14" y="104"/>
                  </a:lnTo>
                  <a:lnTo>
                    <a:pt x="4" y="120"/>
                  </a:lnTo>
                  <a:lnTo>
                    <a:pt x="4" y="120"/>
                  </a:lnTo>
                  <a:lnTo>
                    <a:pt x="8" y="122"/>
                  </a:lnTo>
                  <a:lnTo>
                    <a:pt x="8" y="124"/>
                  </a:lnTo>
                  <a:lnTo>
                    <a:pt x="6" y="128"/>
                  </a:lnTo>
                  <a:lnTo>
                    <a:pt x="6" y="128"/>
                  </a:lnTo>
                  <a:lnTo>
                    <a:pt x="4" y="132"/>
                  </a:lnTo>
                  <a:lnTo>
                    <a:pt x="6" y="134"/>
                  </a:lnTo>
                  <a:lnTo>
                    <a:pt x="8" y="134"/>
                  </a:lnTo>
                  <a:lnTo>
                    <a:pt x="10" y="132"/>
                  </a:lnTo>
                  <a:lnTo>
                    <a:pt x="10" y="132"/>
                  </a:lnTo>
                  <a:lnTo>
                    <a:pt x="12" y="130"/>
                  </a:lnTo>
                  <a:lnTo>
                    <a:pt x="16" y="130"/>
                  </a:lnTo>
                  <a:lnTo>
                    <a:pt x="18" y="130"/>
                  </a:lnTo>
                  <a:lnTo>
                    <a:pt x="20" y="132"/>
                  </a:lnTo>
                  <a:lnTo>
                    <a:pt x="20" y="132"/>
                  </a:lnTo>
                  <a:lnTo>
                    <a:pt x="20" y="134"/>
                  </a:lnTo>
                  <a:lnTo>
                    <a:pt x="18" y="134"/>
                  </a:lnTo>
                  <a:lnTo>
                    <a:pt x="14" y="136"/>
                  </a:lnTo>
                  <a:lnTo>
                    <a:pt x="10" y="142"/>
                  </a:lnTo>
                  <a:lnTo>
                    <a:pt x="10" y="142"/>
                  </a:lnTo>
                  <a:lnTo>
                    <a:pt x="10" y="144"/>
                  </a:lnTo>
                  <a:lnTo>
                    <a:pt x="12" y="146"/>
                  </a:lnTo>
                  <a:lnTo>
                    <a:pt x="12" y="146"/>
                  </a:lnTo>
                  <a:lnTo>
                    <a:pt x="12" y="150"/>
                  </a:lnTo>
                  <a:lnTo>
                    <a:pt x="12" y="150"/>
                  </a:lnTo>
                  <a:lnTo>
                    <a:pt x="80" y="196"/>
                  </a:lnTo>
                  <a:lnTo>
                    <a:pt x="80" y="196"/>
                  </a:lnTo>
                  <a:lnTo>
                    <a:pt x="84" y="198"/>
                  </a:lnTo>
                  <a:lnTo>
                    <a:pt x="86" y="202"/>
                  </a:lnTo>
                  <a:lnTo>
                    <a:pt x="86" y="210"/>
                  </a:lnTo>
                  <a:lnTo>
                    <a:pt x="86" y="216"/>
                  </a:lnTo>
                  <a:lnTo>
                    <a:pt x="88" y="220"/>
                  </a:lnTo>
                  <a:lnTo>
                    <a:pt x="92" y="224"/>
                  </a:lnTo>
                  <a:lnTo>
                    <a:pt x="92" y="224"/>
                  </a:lnTo>
                  <a:lnTo>
                    <a:pt x="110" y="238"/>
                  </a:lnTo>
                  <a:lnTo>
                    <a:pt x="126" y="252"/>
                  </a:lnTo>
                  <a:lnTo>
                    <a:pt x="126" y="252"/>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Tanzania"/>
            <p:cNvSpPr>
              <a:spLocks/>
            </p:cNvSpPr>
            <p:nvPr/>
          </p:nvSpPr>
          <p:spPr bwMode="auto">
            <a:xfrm>
              <a:off x="4983393" y="3644636"/>
              <a:ext cx="291042" cy="378354"/>
            </a:xfrm>
            <a:custGeom>
              <a:avLst/>
              <a:gdLst/>
              <a:ahLst/>
              <a:cxnLst>
                <a:cxn ang="0">
                  <a:pos x="50" y="20"/>
                </a:cxn>
                <a:cxn ang="0">
                  <a:pos x="42" y="42"/>
                </a:cxn>
                <a:cxn ang="0">
                  <a:pos x="42" y="48"/>
                </a:cxn>
                <a:cxn ang="0">
                  <a:pos x="48" y="54"/>
                </a:cxn>
                <a:cxn ang="0">
                  <a:pos x="56" y="50"/>
                </a:cxn>
                <a:cxn ang="0">
                  <a:pos x="70" y="52"/>
                </a:cxn>
                <a:cxn ang="0">
                  <a:pos x="82" y="44"/>
                </a:cxn>
                <a:cxn ang="0">
                  <a:pos x="84" y="38"/>
                </a:cxn>
                <a:cxn ang="0">
                  <a:pos x="82" y="30"/>
                </a:cxn>
                <a:cxn ang="0">
                  <a:pos x="84" y="24"/>
                </a:cxn>
                <a:cxn ang="0">
                  <a:pos x="96" y="10"/>
                </a:cxn>
                <a:cxn ang="0">
                  <a:pos x="164" y="52"/>
                </a:cxn>
                <a:cxn ang="0">
                  <a:pos x="170" y="72"/>
                </a:cxn>
                <a:cxn ang="0">
                  <a:pos x="194" y="94"/>
                </a:cxn>
                <a:cxn ang="0">
                  <a:pos x="206" y="120"/>
                </a:cxn>
                <a:cxn ang="0">
                  <a:pos x="194" y="148"/>
                </a:cxn>
                <a:cxn ang="0">
                  <a:pos x="204" y="166"/>
                </a:cxn>
                <a:cxn ang="0">
                  <a:pos x="208" y="180"/>
                </a:cxn>
                <a:cxn ang="0">
                  <a:pos x="202" y="198"/>
                </a:cxn>
                <a:cxn ang="0">
                  <a:pos x="202" y="214"/>
                </a:cxn>
                <a:cxn ang="0">
                  <a:pos x="210" y="236"/>
                </a:cxn>
                <a:cxn ang="0">
                  <a:pos x="220" y="256"/>
                </a:cxn>
                <a:cxn ang="0">
                  <a:pos x="194" y="270"/>
                </a:cxn>
                <a:cxn ang="0">
                  <a:pos x="176" y="270"/>
                </a:cxn>
                <a:cxn ang="0">
                  <a:pos x="172" y="276"/>
                </a:cxn>
                <a:cxn ang="0">
                  <a:pos x="156" y="282"/>
                </a:cxn>
                <a:cxn ang="0">
                  <a:pos x="146" y="284"/>
                </a:cxn>
                <a:cxn ang="0">
                  <a:pos x="130" y="282"/>
                </a:cxn>
                <a:cxn ang="0">
                  <a:pos x="114" y="282"/>
                </a:cxn>
                <a:cxn ang="0">
                  <a:pos x="102" y="278"/>
                </a:cxn>
                <a:cxn ang="0">
                  <a:pos x="102" y="258"/>
                </a:cxn>
                <a:cxn ang="0">
                  <a:pos x="98" y="248"/>
                </a:cxn>
                <a:cxn ang="0">
                  <a:pos x="88" y="234"/>
                </a:cxn>
                <a:cxn ang="0">
                  <a:pos x="70" y="230"/>
                </a:cxn>
                <a:cxn ang="0">
                  <a:pos x="26" y="208"/>
                </a:cxn>
                <a:cxn ang="0">
                  <a:pos x="22" y="190"/>
                </a:cxn>
                <a:cxn ang="0">
                  <a:pos x="18" y="176"/>
                </a:cxn>
                <a:cxn ang="0">
                  <a:pos x="6" y="156"/>
                </a:cxn>
                <a:cxn ang="0">
                  <a:pos x="10" y="148"/>
                </a:cxn>
                <a:cxn ang="0">
                  <a:pos x="4" y="132"/>
                </a:cxn>
                <a:cxn ang="0">
                  <a:pos x="2" y="100"/>
                </a:cxn>
                <a:cxn ang="0">
                  <a:pos x="18" y="76"/>
                </a:cxn>
                <a:cxn ang="0">
                  <a:pos x="22" y="64"/>
                </a:cxn>
                <a:cxn ang="0">
                  <a:pos x="22" y="54"/>
                </a:cxn>
                <a:cxn ang="0">
                  <a:pos x="10" y="48"/>
                </a:cxn>
                <a:cxn ang="0">
                  <a:pos x="22" y="44"/>
                </a:cxn>
                <a:cxn ang="0">
                  <a:pos x="30" y="32"/>
                </a:cxn>
                <a:cxn ang="0">
                  <a:pos x="28" y="8"/>
                </a:cxn>
                <a:cxn ang="0">
                  <a:pos x="40" y="4"/>
                </a:cxn>
              </a:cxnLst>
              <a:rect l="0" t="0" r="r" b="b"/>
              <a:pathLst>
                <a:path w="220" h="286">
                  <a:moveTo>
                    <a:pt x="48" y="0"/>
                  </a:moveTo>
                  <a:lnTo>
                    <a:pt x="48" y="0"/>
                  </a:lnTo>
                  <a:lnTo>
                    <a:pt x="50" y="10"/>
                  </a:lnTo>
                  <a:lnTo>
                    <a:pt x="50" y="20"/>
                  </a:lnTo>
                  <a:lnTo>
                    <a:pt x="46" y="30"/>
                  </a:lnTo>
                  <a:lnTo>
                    <a:pt x="44" y="38"/>
                  </a:lnTo>
                  <a:lnTo>
                    <a:pt x="44" y="38"/>
                  </a:lnTo>
                  <a:lnTo>
                    <a:pt x="42" y="42"/>
                  </a:lnTo>
                  <a:lnTo>
                    <a:pt x="42" y="44"/>
                  </a:lnTo>
                  <a:lnTo>
                    <a:pt x="44" y="44"/>
                  </a:lnTo>
                  <a:lnTo>
                    <a:pt x="42" y="48"/>
                  </a:lnTo>
                  <a:lnTo>
                    <a:pt x="42" y="48"/>
                  </a:lnTo>
                  <a:lnTo>
                    <a:pt x="42" y="50"/>
                  </a:lnTo>
                  <a:lnTo>
                    <a:pt x="44" y="50"/>
                  </a:lnTo>
                  <a:lnTo>
                    <a:pt x="46" y="52"/>
                  </a:lnTo>
                  <a:lnTo>
                    <a:pt x="48" y="54"/>
                  </a:lnTo>
                  <a:lnTo>
                    <a:pt x="48" y="54"/>
                  </a:lnTo>
                  <a:lnTo>
                    <a:pt x="50" y="50"/>
                  </a:lnTo>
                  <a:lnTo>
                    <a:pt x="56" y="50"/>
                  </a:lnTo>
                  <a:lnTo>
                    <a:pt x="56" y="50"/>
                  </a:lnTo>
                  <a:lnTo>
                    <a:pt x="60" y="50"/>
                  </a:lnTo>
                  <a:lnTo>
                    <a:pt x="62" y="52"/>
                  </a:lnTo>
                  <a:lnTo>
                    <a:pt x="64" y="54"/>
                  </a:lnTo>
                  <a:lnTo>
                    <a:pt x="70" y="52"/>
                  </a:lnTo>
                  <a:lnTo>
                    <a:pt x="70" y="52"/>
                  </a:lnTo>
                  <a:lnTo>
                    <a:pt x="80" y="48"/>
                  </a:lnTo>
                  <a:lnTo>
                    <a:pt x="82" y="48"/>
                  </a:lnTo>
                  <a:lnTo>
                    <a:pt x="82" y="44"/>
                  </a:lnTo>
                  <a:lnTo>
                    <a:pt x="82" y="44"/>
                  </a:lnTo>
                  <a:lnTo>
                    <a:pt x="82" y="40"/>
                  </a:lnTo>
                  <a:lnTo>
                    <a:pt x="84" y="38"/>
                  </a:lnTo>
                  <a:lnTo>
                    <a:pt x="84" y="38"/>
                  </a:lnTo>
                  <a:lnTo>
                    <a:pt x="82" y="36"/>
                  </a:lnTo>
                  <a:lnTo>
                    <a:pt x="82" y="36"/>
                  </a:lnTo>
                  <a:lnTo>
                    <a:pt x="80" y="34"/>
                  </a:lnTo>
                  <a:lnTo>
                    <a:pt x="82" y="30"/>
                  </a:lnTo>
                  <a:lnTo>
                    <a:pt x="84" y="28"/>
                  </a:lnTo>
                  <a:lnTo>
                    <a:pt x="84" y="26"/>
                  </a:lnTo>
                  <a:lnTo>
                    <a:pt x="84" y="26"/>
                  </a:lnTo>
                  <a:lnTo>
                    <a:pt x="84" y="24"/>
                  </a:lnTo>
                  <a:lnTo>
                    <a:pt x="86" y="22"/>
                  </a:lnTo>
                  <a:lnTo>
                    <a:pt x="90" y="18"/>
                  </a:lnTo>
                  <a:lnTo>
                    <a:pt x="94" y="14"/>
                  </a:lnTo>
                  <a:lnTo>
                    <a:pt x="96" y="10"/>
                  </a:lnTo>
                  <a:lnTo>
                    <a:pt x="96" y="6"/>
                  </a:lnTo>
                  <a:lnTo>
                    <a:pt x="96" y="6"/>
                  </a:lnTo>
                  <a:lnTo>
                    <a:pt x="164" y="52"/>
                  </a:lnTo>
                  <a:lnTo>
                    <a:pt x="164" y="52"/>
                  </a:lnTo>
                  <a:lnTo>
                    <a:pt x="168" y="54"/>
                  </a:lnTo>
                  <a:lnTo>
                    <a:pt x="170" y="58"/>
                  </a:lnTo>
                  <a:lnTo>
                    <a:pt x="170" y="66"/>
                  </a:lnTo>
                  <a:lnTo>
                    <a:pt x="170" y="72"/>
                  </a:lnTo>
                  <a:lnTo>
                    <a:pt x="172" y="76"/>
                  </a:lnTo>
                  <a:lnTo>
                    <a:pt x="176" y="80"/>
                  </a:lnTo>
                  <a:lnTo>
                    <a:pt x="176" y="80"/>
                  </a:lnTo>
                  <a:lnTo>
                    <a:pt x="194" y="94"/>
                  </a:lnTo>
                  <a:lnTo>
                    <a:pt x="210" y="108"/>
                  </a:lnTo>
                  <a:lnTo>
                    <a:pt x="210" y="108"/>
                  </a:lnTo>
                  <a:lnTo>
                    <a:pt x="206" y="114"/>
                  </a:lnTo>
                  <a:lnTo>
                    <a:pt x="206" y="120"/>
                  </a:lnTo>
                  <a:lnTo>
                    <a:pt x="204" y="128"/>
                  </a:lnTo>
                  <a:lnTo>
                    <a:pt x="196" y="140"/>
                  </a:lnTo>
                  <a:lnTo>
                    <a:pt x="196" y="140"/>
                  </a:lnTo>
                  <a:lnTo>
                    <a:pt x="194" y="148"/>
                  </a:lnTo>
                  <a:lnTo>
                    <a:pt x="194" y="154"/>
                  </a:lnTo>
                  <a:lnTo>
                    <a:pt x="196" y="158"/>
                  </a:lnTo>
                  <a:lnTo>
                    <a:pt x="200" y="162"/>
                  </a:lnTo>
                  <a:lnTo>
                    <a:pt x="204" y="166"/>
                  </a:lnTo>
                  <a:lnTo>
                    <a:pt x="208" y="170"/>
                  </a:lnTo>
                  <a:lnTo>
                    <a:pt x="210" y="174"/>
                  </a:lnTo>
                  <a:lnTo>
                    <a:pt x="208" y="180"/>
                  </a:lnTo>
                  <a:lnTo>
                    <a:pt x="208" y="180"/>
                  </a:lnTo>
                  <a:lnTo>
                    <a:pt x="206" y="186"/>
                  </a:lnTo>
                  <a:lnTo>
                    <a:pt x="206" y="188"/>
                  </a:lnTo>
                  <a:lnTo>
                    <a:pt x="206" y="190"/>
                  </a:lnTo>
                  <a:lnTo>
                    <a:pt x="202" y="198"/>
                  </a:lnTo>
                  <a:lnTo>
                    <a:pt x="202" y="198"/>
                  </a:lnTo>
                  <a:lnTo>
                    <a:pt x="200" y="202"/>
                  </a:lnTo>
                  <a:lnTo>
                    <a:pt x="200" y="206"/>
                  </a:lnTo>
                  <a:lnTo>
                    <a:pt x="202" y="214"/>
                  </a:lnTo>
                  <a:lnTo>
                    <a:pt x="208" y="222"/>
                  </a:lnTo>
                  <a:lnTo>
                    <a:pt x="210" y="228"/>
                  </a:lnTo>
                  <a:lnTo>
                    <a:pt x="210" y="236"/>
                  </a:lnTo>
                  <a:lnTo>
                    <a:pt x="210" y="236"/>
                  </a:lnTo>
                  <a:lnTo>
                    <a:pt x="210" y="242"/>
                  </a:lnTo>
                  <a:lnTo>
                    <a:pt x="212" y="246"/>
                  </a:lnTo>
                  <a:lnTo>
                    <a:pt x="220" y="256"/>
                  </a:lnTo>
                  <a:lnTo>
                    <a:pt x="220" y="256"/>
                  </a:lnTo>
                  <a:lnTo>
                    <a:pt x="218" y="260"/>
                  </a:lnTo>
                  <a:lnTo>
                    <a:pt x="214" y="264"/>
                  </a:lnTo>
                  <a:lnTo>
                    <a:pt x="204" y="268"/>
                  </a:lnTo>
                  <a:lnTo>
                    <a:pt x="194" y="270"/>
                  </a:lnTo>
                  <a:lnTo>
                    <a:pt x="188" y="270"/>
                  </a:lnTo>
                  <a:lnTo>
                    <a:pt x="188" y="270"/>
                  </a:lnTo>
                  <a:lnTo>
                    <a:pt x="182" y="270"/>
                  </a:lnTo>
                  <a:lnTo>
                    <a:pt x="176" y="270"/>
                  </a:lnTo>
                  <a:lnTo>
                    <a:pt x="170" y="272"/>
                  </a:lnTo>
                  <a:lnTo>
                    <a:pt x="170" y="274"/>
                  </a:lnTo>
                  <a:lnTo>
                    <a:pt x="172" y="276"/>
                  </a:lnTo>
                  <a:lnTo>
                    <a:pt x="172" y="276"/>
                  </a:lnTo>
                  <a:lnTo>
                    <a:pt x="170" y="278"/>
                  </a:lnTo>
                  <a:lnTo>
                    <a:pt x="166" y="280"/>
                  </a:lnTo>
                  <a:lnTo>
                    <a:pt x="160" y="282"/>
                  </a:lnTo>
                  <a:lnTo>
                    <a:pt x="156" y="282"/>
                  </a:lnTo>
                  <a:lnTo>
                    <a:pt x="156" y="282"/>
                  </a:lnTo>
                  <a:lnTo>
                    <a:pt x="152" y="280"/>
                  </a:lnTo>
                  <a:lnTo>
                    <a:pt x="148" y="280"/>
                  </a:lnTo>
                  <a:lnTo>
                    <a:pt x="146" y="284"/>
                  </a:lnTo>
                  <a:lnTo>
                    <a:pt x="144" y="286"/>
                  </a:lnTo>
                  <a:lnTo>
                    <a:pt x="140" y="286"/>
                  </a:lnTo>
                  <a:lnTo>
                    <a:pt x="136" y="284"/>
                  </a:lnTo>
                  <a:lnTo>
                    <a:pt x="130" y="282"/>
                  </a:lnTo>
                  <a:lnTo>
                    <a:pt x="130" y="282"/>
                  </a:lnTo>
                  <a:lnTo>
                    <a:pt x="122" y="278"/>
                  </a:lnTo>
                  <a:lnTo>
                    <a:pt x="118" y="278"/>
                  </a:lnTo>
                  <a:lnTo>
                    <a:pt x="114" y="282"/>
                  </a:lnTo>
                  <a:lnTo>
                    <a:pt x="104" y="284"/>
                  </a:lnTo>
                  <a:lnTo>
                    <a:pt x="104" y="284"/>
                  </a:lnTo>
                  <a:lnTo>
                    <a:pt x="104" y="278"/>
                  </a:lnTo>
                  <a:lnTo>
                    <a:pt x="102" y="278"/>
                  </a:lnTo>
                  <a:lnTo>
                    <a:pt x="100" y="274"/>
                  </a:lnTo>
                  <a:lnTo>
                    <a:pt x="100" y="266"/>
                  </a:lnTo>
                  <a:lnTo>
                    <a:pt x="100" y="266"/>
                  </a:lnTo>
                  <a:lnTo>
                    <a:pt x="102" y="258"/>
                  </a:lnTo>
                  <a:lnTo>
                    <a:pt x="100" y="256"/>
                  </a:lnTo>
                  <a:lnTo>
                    <a:pt x="98" y="254"/>
                  </a:lnTo>
                  <a:lnTo>
                    <a:pt x="98" y="248"/>
                  </a:lnTo>
                  <a:lnTo>
                    <a:pt x="98" y="248"/>
                  </a:lnTo>
                  <a:lnTo>
                    <a:pt x="96" y="240"/>
                  </a:lnTo>
                  <a:lnTo>
                    <a:pt x="92" y="236"/>
                  </a:lnTo>
                  <a:lnTo>
                    <a:pt x="90" y="234"/>
                  </a:lnTo>
                  <a:lnTo>
                    <a:pt x="88" y="234"/>
                  </a:lnTo>
                  <a:lnTo>
                    <a:pt x="86" y="236"/>
                  </a:lnTo>
                  <a:lnTo>
                    <a:pt x="86" y="236"/>
                  </a:lnTo>
                  <a:lnTo>
                    <a:pt x="70" y="230"/>
                  </a:lnTo>
                  <a:lnTo>
                    <a:pt x="70" y="230"/>
                  </a:lnTo>
                  <a:lnTo>
                    <a:pt x="52" y="224"/>
                  </a:lnTo>
                  <a:lnTo>
                    <a:pt x="44" y="218"/>
                  </a:lnTo>
                  <a:lnTo>
                    <a:pt x="36" y="212"/>
                  </a:lnTo>
                  <a:lnTo>
                    <a:pt x="26" y="208"/>
                  </a:lnTo>
                  <a:lnTo>
                    <a:pt x="26" y="208"/>
                  </a:lnTo>
                  <a:lnTo>
                    <a:pt x="26" y="204"/>
                  </a:lnTo>
                  <a:lnTo>
                    <a:pt x="26" y="198"/>
                  </a:lnTo>
                  <a:lnTo>
                    <a:pt x="22" y="190"/>
                  </a:lnTo>
                  <a:lnTo>
                    <a:pt x="18" y="182"/>
                  </a:lnTo>
                  <a:lnTo>
                    <a:pt x="18" y="178"/>
                  </a:lnTo>
                  <a:lnTo>
                    <a:pt x="18" y="176"/>
                  </a:lnTo>
                  <a:lnTo>
                    <a:pt x="18" y="176"/>
                  </a:lnTo>
                  <a:lnTo>
                    <a:pt x="18" y="172"/>
                  </a:lnTo>
                  <a:lnTo>
                    <a:pt x="18" y="170"/>
                  </a:lnTo>
                  <a:lnTo>
                    <a:pt x="10" y="162"/>
                  </a:lnTo>
                  <a:lnTo>
                    <a:pt x="6" y="156"/>
                  </a:lnTo>
                  <a:lnTo>
                    <a:pt x="6" y="154"/>
                  </a:lnTo>
                  <a:lnTo>
                    <a:pt x="8" y="150"/>
                  </a:lnTo>
                  <a:lnTo>
                    <a:pt x="8" y="150"/>
                  </a:lnTo>
                  <a:lnTo>
                    <a:pt x="10" y="148"/>
                  </a:lnTo>
                  <a:lnTo>
                    <a:pt x="8" y="144"/>
                  </a:lnTo>
                  <a:lnTo>
                    <a:pt x="6" y="138"/>
                  </a:lnTo>
                  <a:lnTo>
                    <a:pt x="4" y="132"/>
                  </a:lnTo>
                  <a:lnTo>
                    <a:pt x="4" y="132"/>
                  </a:lnTo>
                  <a:lnTo>
                    <a:pt x="4" y="124"/>
                  </a:lnTo>
                  <a:lnTo>
                    <a:pt x="2" y="116"/>
                  </a:lnTo>
                  <a:lnTo>
                    <a:pt x="0" y="110"/>
                  </a:lnTo>
                  <a:lnTo>
                    <a:pt x="2" y="100"/>
                  </a:lnTo>
                  <a:lnTo>
                    <a:pt x="2" y="100"/>
                  </a:lnTo>
                  <a:lnTo>
                    <a:pt x="10" y="90"/>
                  </a:lnTo>
                  <a:lnTo>
                    <a:pt x="16" y="82"/>
                  </a:lnTo>
                  <a:lnTo>
                    <a:pt x="18" y="76"/>
                  </a:lnTo>
                  <a:lnTo>
                    <a:pt x="20" y="70"/>
                  </a:lnTo>
                  <a:lnTo>
                    <a:pt x="20" y="70"/>
                  </a:lnTo>
                  <a:lnTo>
                    <a:pt x="20" y="66"/>
                  </a:lnTo>
                  <a:lnTo>
                    <a:pt x="22" y="64"/>
                  </a:lnTo>
                  <a:lnTo>
                    <a:pt x="24" y="60"/>
                  </a:lnTo>
                  <a:lnTo>
                    <a:pt x="24" y="54"/>
                  </a:lnTo>
                  <a:lnTo>
                    <a:pt x="24" y="54"/>
                  </a:lnTo>
                  <a:lnTo>
                    <a:pt x="22" y="54"/>
                  </a:lnTo>
                  <a:lnTo>
                    <a:pt x="20" y="52"/>
                  </a:lnTo>
                  <a:lnTo>
                    <a:pt x="14" y="52"/>
                  </a:lnTo>
                  <a:lnTo>
                    <a:pt x="12" y="50"/>
                  </a:lnTo>
                  <a:lnTo>
                    <a:pt x="10" y="48"/>
                  </a:lnTo>
                  <a:lnTo>
                    <a:pt x="10" y="46"/>
                  </a:lnTo>
                  <a:lnTo>
                    <a:pt x="14" y="42"/>
                  </a:lnTo>
                  <a:lnTo>
                    <a:pt x="14" y="42"/>
                  </a:lnTo>
                  <a:lnTo>
                    <a:pt x="22" y="44"/>
                  </a:lnTo>
                  <a:lnTo>
                    <a:pt x="26" y="42"/>
                  </a:lnTo>
                  <a:lnTo>
                    <a:pt x="28" y="38"/>
                  </a:lnTo>
                  <a:lnTo>
                    <a:pt x="30" y="32"/>
                  </a:lnTo>
                  <a:lnTo>
                    <a:pt x="30" y="32"/>
                  </a:lnTo>
                  <a:lnTo>
                    <a:pt x="32" y="26"/>
                  </a:lnTo>
                  <a:lnTo>
                    <a:pt x="32" y="22"/>
                  </a:lnTo>
                  <a:lnTo>
                    <a:pt x="28" y="16"/>
                  </a:lnTo>
                  <a:lnTo>
                    <a:pt x="28" y="8"/>
                  </a:lnTo>
                  <a:lnTo>
                    <a:pt x="28" y="4"/>
                  </a:lnTo>
                  <a:lnTo>
                    <a:pt x="30" y="0"/>
                  </a:lnTo>
                  <a:lnTo>
                    <a:pt x="30" y="0"/>
                  </a:lnTo>
                  <a:lnTo>
                    <a:pt x="40" y="4"/>
                  </a:lnTo>
                  <a:lnTo>
                    <a:pt x="44" y="2"/>
                  </a:lnTo>
                  <a:lnTo>
                    <a:pt x="48" y="0"/>
                  </a:lnTo>
                  <a:lnTo>
                    <a:pt x="48" y="0"/>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Niger"/>
            <p:cNvSpPr>
              <a:spLocks/>
            </p:cNvSpPr>
            <p:nvPr/>
          </p:nvSpPr>
          <p:spPr bwMode="auto">
            <a:xfrm>
              <a:off x="4147309" y="2792677"/>
              <a:ext cx="431271" cy="423333"/>
            </a:xfrm>
            <a:custGeom>
              <a:avLst/>
              <a:gdLst/>
              <a:ahLst/>
              <a:cxnLst>
                <a:cxn ang="0">
                  <a:pos x="4" y="248"/>
                </a:cxn>
                <a:cxn ang="0">
                  <a:pos x="8" y="246"/>
                </a:cxn>
                <a:cxn ang="0">
                  <a:pos x="18" y="242"/>
                </a:cxn>
                <a:cxn ang="0">
                  <a:pos x="28" y="234"/>
                </a:cxn>
                <a:cxn ang="0">
                  <a:pos x="48" y="232"/>
                </a:cxn>
                <a:cxn ang="0">
                  <a:pos x="56" y="228"/>
                </a:cxn>
                <a:cxn ang="0">
                  <a:pos x="76" y="220"/>
                </a:cxn>
                <a:cxn ang="0">
                  <a:pos x="78" y="216"/>
                </a:cxn>
                <a:cxn ang="0">
                  <a:pos x="82" y="198"/>
                </a:cxn>
                <a:cxn ang="0">
                  <a:pos x="82" y="192"/>
                </a:cxn>
                <a:cxn ang="0">
                  <a:pos x="84" y="188"/>
                </a:cxn>
                <a:cxn ang="0">
                  <a:pos x="106" y="130"/>
                </a:cxn>
                <a:cxn ang="0">
                  <a:pos x="112" y="128"/>
                </a:cxn>
                <a:cxn ang="0">
                  <a:pos x="130" y="110"/>
                </a:cxn>
                <a:cxn ang="0">
                  <a:pos x="148" y="94"/>
                </a:cxn>
                <a:cxn ang="0">
                  <a:pos x="236" y="0"/>
                </a:cxn>
                <a:cxn ang="0">
                  <a:pos x="302" y="14"/>
                </a:cxn>
                <a:cxn ang="0">
                  <a:pos x="306" y="50"/>
                </a:cxn>
                <a:cxn ang="0">
                  <a:pos x="306" y="66"/>
                </a:cxn>
                <a:cxn ang="0">
                  <a:pos x="310" y="82"/>
                </a:cxn>
                <a:cxn ang="0">
                  <a:pos x="314" y="90"/>
                </a:cxn>
                <a:cxn ang="0">
                  <a:pos x="326" y="98"/>
                </a:cxn>
                <a:cxn ang="0">
                  <a:pos x="324" y="106"/>
                </a:cxn>
                <a:cxn ang="0">
                  <a:pos x="316" y="120"/>
                </a:cxn>
                <a:cxn ang="0">
                  <a:pos x="316" y="180"/>
                </a:cxn>
                <a:cxn ang="0">
                  <a:pos x="300" y="222"/>
                </a:cxn>
                <a:cxn ang="0">
                  <a:pos x="290" y="234"/>
                </a:cxn>
                <a:cxn ang="0">
                  <a:pos x="286" y="240"/>
                </a:cxn>
                <a:cxn ang="0">
                  <a:pos x="282" y="252"/>
                </a:cxn>
                <a:cxn ang="0">
                  <a:pos x="278" y="256"/>
                </a:cxn>
                <a:cxn ang="0">
                  <a:pos x="274" y="270"/>
                </a:cxn>
                <a:cxn ang="0">
                  <a:pos x="264" y="272"/>
                </a:cxn>
                <a:cxn ang="0">
                  <a:pos x="264" y="278"/>
                </a:cxn>
                <a:cxn ang="0">
                  <a:pos x="254" y="278"/>
                </a:cxn>
                <a:cxn ang="0">
                  <a:pos x="212" y="280"/>
                </a:cxn>
                <a:cxn ang="0">
                  <a:pos x="206" y="284"/>
                </a:cxn>
                <a:cxn ang="0">
                  <a:pos x="190" y="290"/>
                </a:cxn>
                <a:cxn ang="0">
                  <a:pos x="164" y="284"/>
                </a:cxn>
                <a:cxn ang="0">
                  <a:pos x="154" y="278"/>
                </a:cxn>
                <a:cxn ang="0">
                  <a:pos x="150" y="282"/>
                </a:cxn>
                <a:cxn ang="0">
                  <a:pos x="144" y="280"/>
                </a:cxn>
                <a:cxn ang="0">
                  <a:pos x="136" y="278"/>
                </a:cxn>
                <a:cxn ang="0">
                  <a:pos x="130" y="270"/>
                </a:cxn>
                <a:cxn ang="0">
                  <a:pos x="124" y="268"/>
                </a:cxn>
                <a:cxn ang="0">
                  <a:pos x="114" y="268"/>
                </a:cxn>
                <a:cxn ang="0">
                  <a:pos x="106" y="268"/>
                </a:cxn>
                <a:cxn ang="0">
                  <a:pos x="102" y="266"/>
                </a:cxn>
                <a:cxn ang="0">
                  <a:pos x="90" y="270"/>
                </a:cxn>
                <a:cxn ang="0">
                  <a:pos x="80" y="286"/>
                </a:cxn>
                <a:cxn ang="0">
                  <a:pos x="72" y="296"/>
                </a:cxn>
                <a:cxn ang="0">
                  <a:pos x="72" y="314"/>
                </a:cxn>
                <a:cxn ang="0">
                  <a:pos x="62" y="312"/>
                </a:cxn>
                <a:cxn ang="0">
                  <a:pos x="44" y="316"/>
                </a:cxn>
                <a:cxn ang="0">
                  <a:pos x="40" y="306"/>
                </a:cxn>
                <a:cxn ang="0">
                  <a:pos x="40" y="304"/>
                </a:cxn>
                <a:cxn ang="0">
                  <a:pos x="34" y="302"/>
                </a:cxn>
                <a:cxn ang="0">
                  <a:pos x="18" y="294"/>
                </a:cxn>
                <a:cxn ang="0">
                  <a:pos x="12" y="284"/>
                </a:cxn>
                <a:cxn ang="0">
                  <a:pos x="16" y="278"/>
                </a:cxn>
                <a:cxn ang="0">
                  <a:pos x="8" y="276"/>
                </a:cxn>
                <a:cxn ang="0">
                  <a:pos x="0" y="258"/>
                </a:cxn>
              </a:cxnLst>
              <a:rect l="0" t="0" r="r" b="b"/>
              <a:pathLst>
                <a:path w="326" h="320">
                  <a:moveTo>
                    <a:pt x="0" y="248"/>
                  </a:moveTo>
                  <a:lnTo>
                    <a:pt x="0" y="248"/>
                  </a:lnTo>
                  <a:lnTo>
                    <a:pt x="4" y="248"/>
                  </a:lnTo>
                  <a:lnTo>
                    <a:pt x="6" y="248"/>
                  </a:lnTo>
                  <a:lnTo>
                    <a:pt x="8" y="246"/>
                  </a:lnTo>
                  <a:lnTo>
                    <a:pt x="8" y="246"/>
                  </a:lnTo>
                  <a:lnTo>
                    <a:pt x="10" y="244"/>
                  </a:lnTo>
                  <a:lnTo>
                    <a:pt x="14" y="244"/>
                  </a:lnTo>
                  <a:lnTo>
                    <a:pt x="18" y="242"/>
                  </a:lnTo>
                  <a:lnTo>
                    <a:pt x="24" y="238"/>
                  </a:lnTo>
                  <a:lnTo>
                    <a:pt x="24" y="238"/>
                  </a:lnTo>
                  <a:lnTo>
                    <a:pt x="28" y="234"/>
                  </a:lnTo>
                  <a:lnTo>
                    <a:pt x="30" y="232"/>
                  </a:lnTo>
                  <a:lnTo>
                    <a:pt x="38" y="232"/>
                  </a:lnTo>
                  <a:lnTo>
                    <a:pt x="48" y="232"/>
                  </a:lnTo>
                  <a:lnTo>
                    <a:pt x="52" y="232"/>
                  </a:lnTo>
                  <a:lnTo>
                    <a:pt x="56" y="228"/>
                  </a:lnTo>
                  <a:lnTo>
                    <a:pt x="56" y="228"/>
                  </a:lnTo>
                  <a:lnTo>
                    <a:pt x="62" y="226"/>
                  </a:lnTo>
                  <a:lnTo>
                    <a:pt x="70" y="222"/>
                  </a:lnTo>
                  <a:lnTo>
                    <a:pt x="76" y="220"/>
                  </a:lnTo>
                  <a:lnTo>
                    <a:pt x="76" y="218"/>
                  </a:lnTo>
                  <a:lnTo>
                    <a:pt x="78" y="216"/>
                  </a:lnTo>
                  <a:lnTo>
                    <a:pt x="78" y="216"/>
                  </a:lnTo>
                  <a:lnTo>
                    <a:pt x="80" y="210"/>
                  </a:lnTo>
                  <a:lnTo>
                    <a:pt x="80" y="206"/>
                  </a:lnTo>
                  <a:lnTo>
                    <a:pt x="82" y="198"/>
                  </a:lnTo>
                  <a:lnTo>
                    <a:pt x="82" y="198"/>
                  </a:lnTo>
                  <a:lnTo>
                    <a:pt x="82" y="194"/>
                  </a:lnTo>
                  <a:lnTo>
                    <a:pt x="82" y="192"/>
                  </a:lnTo>
                  <a:lnTo>
                    <a:pt x="84" y="192"/>
                  </a:lnTo>
                  <a:lnTo>
                    <a:pt x="84" y="188"/>
                  </a:lnTo>
                  <a:lnTo>
                    <a:pt x="84" y="188"/>
                  </a:lnTo>
                  <a:lnTo>
                    <a:pt x="84" y="138"/>
                  </a:lnTo>
                  <a:lnTo>
                    <a:pt x="84" y="138"/>
                  </a:lnTo>
                  <a:lnTo>
                    <a:pt x="106" y="130"/>
                  </a:lnTo>
                  <a:lnTo>
                    <a:pt x="106" y="130"/>
                  </a:lnTo>
                  <a:lnTo>
                    <a:pt x="110" y="130"/>
                  </a:lnTo>
                  <a:lnTo>
                    <a:pt x="112" y="128"/>
                  </a:lnTo>
                  <a:lnTo>
                    <a:pt x="122" y="118"/>
                  </a:lnTo>
                  <a:lnTo>
                    <a:pt x="122" y="118"/>
                  </a:lnTo>
                  <a:lnTo>
                    <a:pt x="130" y="110"/>
                  </a:lnTo>
                  <a:lnTo>
                    <a:pt x="134" y="106"/>
                  </a:lnTo>
                  <a:lnTo>
                    <a:pt x="140" y="102"/>
                  </a:lnTo>
                  <a:lnTo>
                    <a:pt x="148" y="94"/>
                  </a:lnTo>
                  <a:lnTo>
                    <a:pt x="148" y="94"/>
                  </a:lnTo>
                  <a:lnTo>
                    <a:pt x="200" y="38"/>
                  </a:lnTo>
                  <a:lnTo>
                    <a:pt x="236" y="0"/>
                  </a:lnTo>
                  <a:lnTo>
                    <a:pt x="280" y="8"/>
                  </a:lnTo>
                  <a:lnTo>
                    <a:pt x="288" y="18"/>
                  </a:lnTo>
                  <a:lnTo>
                    <a:pt x="302" y="14"/>
                  </a:lnTo>
                  <a:lnTo>
                    <a:pt x="302" y="14"/>
                  </a:lnTo>
                  <a:lnTo>
                    <a:pt x="306" y="36"/>
                  </a:lnTo>
                  <a:lnTo>
                    <a:pt x="306" y="50"/>
                  </a:lnTo>
                  <a:lnTo>
                    <a:pt x="306" y="64"/>
                  </a:lnTo>
                  <a:lnTo>
                    <a:pt x="306" y="64"/>
                  </a:lnTo>
                  <a:lnTo>
                    <a:pt x="306" y="66"/>
                  </a:lnTo>
                  <a:lnTo>
                    <a:pt x="308" y="70"/>
                  </a:lnTo>
                  <a:lnTo>
                    <a:pt x="310" y="74"/>
                  </a:lnTo>
                  <a:lnTo>
                    <a:pt x="310" y="82"/>
                  </a:lnTo>
                  <a:lnTo>
                    <a:pt x="310" y="82"/>
                  </a:lnTo>
                  <a:lnTo>
                    <a:pt x="312" y="88"/>
                  </a:lnTo>
                  <a:lnTo>
                    <a:pt x="314" y="90"/>
                  </a:lnTo>
                  <a:lnTo>
                    <a:pt x="318" y="94"/>
                  </a:lnTo>
                  <a:lnTo>
                    <a:pt x="324" y="98"/>
                  </a:lnTo>
                  <a:lnTo>
                    <a:pt x="326" y="98"/>
                  </a:lnTo>
                  <a:lnTo>
                    <a:pt x="326" y="102"/>
                  </a:lnTo>
                  <a:lnTo>
                    <a:pt x="326" y="102"/>
                  </a:lnTo>
                  <a:lnTo>
                    <a:pt x="324" y="106"/>
                  </a:lnTo>
                  <a:lnTo>
                    <a:pt x="322" y="108"/>
                  </a:lnTo>
                  <a:lnTo>
                    <a:pt x="318" y="114"/>
                  </a:lnTo>
                  <a:lnTo>
                    <a:pt x="316" y="120"/>
                  </a:lnTo>
                  <a:lnTo>
                    <a:pt x="316" y="120"/>
                  </a:lnTo>
                  <a:lnTo>
                    <a:pt x="316" y="180"/>
                  </a:lnTo>
                  <a:lnTo>
                    <a:pt x="316" y="180"/>
                  </a:lnTo>
                  <a:lnTo>
                    <a:pt x="314" y="190"/>
                  </a:lnTo>
                  <a:lnTo>
                    <a:pt x="312" y="200"/>
                  </a:lnTo>
                  <a:lnTo>
                    <a:pt x="300" y="222"/>
                  </a:lnTo>
                  <a:lnTo>
                    <a:pt x="300" y="222"/>
                  </a:lnTo>
                  <a:lnTo>
                    <a:pt x="294" y="230"/>
                  </a:lnTo>
                  <a:lnTo>
                    <a:pt x="290" y="234"/>
                  </a:lnTo>
                  <a:lnTo>
                    <a:pt x="286" y="236"/>
                  </a:lnTo>
                  <a:lnTo>
                    <a:pt x="286" y="240"/>
                  </a:lnTo>
                  <a:lnTo>
                    <a:pt x="286" y="240"/>
                  </a:lnTo>
                  <a:lnTo>
                    <a:pt x="286" y="246"/>
                  </a:lnTo>
                  <a:lnTo>
                    <a:pt x="284" y="248"/>
                  </a:lnTo>
                  <a:lnTo>
                    <a:pt x="282" y="252"/>
                  </a:lnTo>
                  <a:lnTo>
                    <a:pt x="282" y="256"/>
                  </a:lnTo>
                  <a:lnTo>
                    <a:pt x="282" y="256"/>
                  </a:lnTo>
                  <a:lnTo>
                    <a:pt x="278" y="256"/>
                  </a:lnTo>
                  <a:lnTo>
                    <a:pt x="276" y="258"/>
                  </a:lnTo>
                  <a:lnTo>
                    <a:pt x="274" y="262"/>
                  </a:lnTo>
                  <a:lnTo>
                    <a:pt x="274" y="270"/>
                  </a:lnTo>
                  <a:lnTo>
                    <a:pt x="274" y="270"/>
                  </a:lnTo>
                  <a:lnTo>
                    <a:pt x="266" y="270"/>
                  </a:lnTo>
                  <a:lnTo>
                    <a:pt x="264" y="272"/>
                  </a:lnTo>
                  <a:lnTo>
                    <a:pt x="262" y="274"/>
                  </a:lnTo>
                  <a:lnTo>
                    <a:pt x="262" y="278"/>
                  </a:lnTo>
                  <a:lnTo>
                    <a:pt x="264" y="278"/>
                  </a:lnTo>
                  <a:lnTo>
                    <a:pt x="262" y="280"/>
                  </a:lnTo>
                  <a:lnTo>
                    <a:pt x="254" y="278"/>
                  </a:lnTo>
                  <a:lnTo>
                    <a:pt x="254" y="278"/>
                  </a:lnTo>
                  <a:lnTo>
                    <a:pt x="238" y="276"/>
                  </a:lnTo>
                  <a:lnTo>
                    <a:pt x="224" y="276"/>
                  </a:lnTo>
                  <a:lnTo>
                    <a:pt x="212" y="280"/>
                  </a:lnTo>
                  <a:lnTo>
                    <a:pt x="208" y="282"/>
                  </a:lnTo>
                  <a:lnTo>
                    <a:pt x="206" y="284"/>
                  </a:lnTo>
                  <a:lnTo>
                    <a:pt x="206" y="284"/>
                  </a:lnTo>
                  <a:lnTo>
                    <a:pt x="202" y="288"/>
                  </a:lnTo>
                  <a:lnTo>
                    <a:pt x="196" y="290"/>
                  </a:lnTo>
                  <a:lnTo>
                    <a:pt x="190" y="290"/>
                  </a:lnTo>
                  <a:lnTo>
                    <a:pt x="182" y="290"/>
                  </a:lnTo>
                  <a:lnTo>
                    <a:pt x="170" y="286"/>
                  </a:lnTo>
                  <a:lnTo>
                    <a:pt x="164" y="284"/>
                  </a:lnTo>
                  <a:lnTo>
                    <a:pt x="164" y="284"/>
                  </a:lnTo>
                  <a:lnTo>
                    <a:pt x="156" y="278"/>
                  </a:lnTo>
                  <a:lnTo>
                    <a:pt x="154" y="278"/>
                  </a:lnTo>
                  <a:lnTo>
                    <a:pt x="154" y="278"/>
                  </a:lnTo>
                  <a:lnTo>
                    <a:pt x="152" y="282"/>
                  </a:lnTo>
                  <a:lnTo>
                    <a:pt x="150" y="282"/>
                  </a:lnTo>
                  <a:lnTo>
                    <a:pt x="148" y="282"/>
                  </a:lnTo>
                  <a:lnTo>
                    <a:pt x="148" y="282"/>
                  </a:lnTo>
                  <a:lnTo>
                    <a:pt x="144" y="280"/>
                  </a:lnTo>
                  <a:lnTo>
                    <a:pt x="142" y="282"/>
                  </a:lnTo>
                  <a:lnTo>
                    <a:pt x="138" y="282"/>
                  </a:lnTo>
                  <a:lnTo>
                    <a:pt x="136" y="278"/>
                  </a:lnTo>
                  <a:lnTo>
                    <a:pt x="136" y="278"/>
                  </a:lnTo>
                  <a:lnTo>
                    <a:pt x="132" y="272"/>
                  </a:lnTo>
                  <a:lnTo>
                    <a:pt x="130" y="270"/>
                  </a:lnTo>
                  <a:lnTo>
                    <a:pt x="128" y="272"/>
                  </a:lnTo>
                  <a:lnTo>
                    <a:pt x="124" y="268"/>
                  </a:lnTo>
                  <a:lnTo>
                    <a:pt x="124" y="268"/>
                  </a:lnTo>
                  <a:lnTo>
                    <a:pt x="120" y="268"/>
                  </a:lnTo>
                  <a:lnTo>
                    <a:pt x="118" y="268"/>
                  </a:lnTo>
                  <a:lnTo>
                    <a:pt x="114" y="268"/>
                  </a:lnTo>
                  <a:lnTo>
                    <a:pt x="110" y="270"/>
                  </a:lnTo>
                  <a:lnTo>
                    <a:pt x="108" y="270"/>
                  </a:lnTo>
                  <a:lnTo>
                    <a:pt x="106" y="268"/>
                  </a:lnTo>
                  <a:lnTo>
                    <a:pt x="106" y="268"/>
                  </a:lnTo>
                  <a:lnTo>
                    <a:pt x="106" y="266"/>
                  </a:lnTo>
                  <a:lnTo>
                    <a:pt x="102" y="266"/>
                  </a:lnTo>
                  <a:lnTo>
                    <a:pt x="98" y="266"/>
                  </a:lnTo>
                  <a:lnTo>
                    <a:pt x="90" y="270"/>
                  </a:lnTo>
                  <a:lnTo>
                    <a:pt x="90" y="270"/>
                  </a:lnTo>
                  <a:lnTo>
                    <a:pt x="84" y="276"/>
                  </a:lnTo>
                  <a:lnTo>
                    <a:pt x="82" y="282"/>
                  </a:lnTo>
                  <a:lnTo>
                    <a:pt x="80" y="286"/>
                  </a:lnTo>
                  <a:lnTo>
                    <a:pt x="76" y="292"/>
                  </a:lnTo>
                  <a:lnTo>
                    <a:pt x="76" y="292"/>
                  </a:lnTo>
                  <a:lnTo>
                    <a:pt x="72" y="296"/>
                  </a:lnTo>
                  <a:lnTo>
                    <a:pt x="72" y="300"/>
                  </a:lnTo>
                  <a:lnTo>
                    <a:pt x="72" y="306"/>
                  </a:lnTo>
                  <a:lnTo>
                    <a:pt x="72" y="314"/>
                  </a:lnTo>
                  <a:lnTo>
                    <a:pt x="72" y="320"/>
                  </a:lnTo>
                  <a:lnTo>
                    <a:pt x="72" y="320"/>
                  </a:lnTo>
                  <a:lnTo>
                    <a:pt x="62" y="312"/>
                  </a:lnTo>
                  <a:lnTo>
                    <a:pt x="56" y="310"/>
                  </a:lnTo>
                  <a:lnTo>
                    <a:pt x="52" y="312"/>
                  </a:lnTo>
                  <a:lnTo>
                    <a:pt x="44" y="316"/>
                  </a:lnTo>
                  <a:lnTo>
                    <a:pt x="44" y="316"/>
                  </a:lnTo>
                  <a:lnTo>
                    <a:pt x="38" y="308"/>
                  </a:lnTo>
                  <a:lnTo>
                    <a:pt x="40" y="306"/>
                  </a:lnTo>
                  <a:lnTo>
                    <a:pt x="40" y="306"/>
                  </a:lnTo>
                  <a:lnTo>
                    <a:pt x="42" y="306"/>
                  </a:lnTo>
                  <a:lnTo>
                    <a:pt x="40" y="304"/>
                  </a:lnTo>
                  <a:lnTo>
                    <a:pt x="40" y="304"/>
                  </a:lnTo>
                  <a:lnTo>
                    <a:pt x="36" y="302"/>
                  </a:lnTo>
                  <a:lnTo>
                    <a:pt x="34" y="302"/>
                  </a:lnTo>
                  <a:lnTo>
                    <a:pt x="28" y="300"/>
                  </a:lnTo>
                  <a:lnTo>
                    <a:pt x="18" y="294"/>
                  </a:lnTo>
                  <a:lnTo>
                    <a:pt x="18" y="294"/>
                  </a:lnTo>
                  <a:lnTo>
                    <a:pt x="10" y="288"/>
                  </a:lnTo>
                  <a:lnTo>
                    <a:pt x="10" y="286"/>
                  </a:lnTo>
                  <a:lnTo>
                    <a:pt x="12" y="284"/>
                  </a:lnTo>
                  <a:lnTo>
                    <a:pt x="12" y="284"/>
                  </a:lnTo>
                  <a:lnTo>
                    <a:pt x="16" y="280"/>
                  </a:lnTo>
                  <a:lnTo>
                    <a:pt x="16" y="278"/>
                  </a:lnTo>
                  <a:lnTo>
                    <a:pt x="12" y="278"/>
                  </a:lnTo>
                  <a:lnTo>
                    <a:pt x="12" y="278"/>
                  </a:lnTo>
                  <a:lnTo>
                    <a:pt x="8" y="276"/>
                  </a:lnTo>
                  <a:lnTo>
                    <a:pt x="6" y="274"/>
                  </a:lnTo>
                  <a:lnTo>
                    <a:pt x="2" y="266"/>
                  </a:lnTo>
                  <a:lnTo>
                    <a:pt x="0" y="258"/>
                  </a:lnTo>
                  <a:lnTo>
                    <a:pt x="0" y="248"/>
                  </a:lnTo>
                  <a:lnTo>
                    <a:pt x="0" y="248"/>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61"/>
            <p:cNvSpPr>
              <a:spLocks/>
            </p:cNvSpPr>
            <p:nvPr/>
          </p:nvSpPr>
          <p:spPr bwMode="auto">
            <a:xfrm>
              <a:off x="3681643" y="2686844"/>
              <a:ext cx="224896" cy="214313"/>
            </a:xfrm>
            <a:custGeom>
              <a:avLst/>
              <a:gdLst/>
              <a:ahLst/>
              <a:cxnLst>
                <a:cxn ang="0">
                  <a:pos x="4" y="162"/>
                </a:cxn>
                <a:cxn ang="0">
                  <a:pos x="4" y="162"/>
                </a:cxn>
                <a:cxn ang="0">
                  <a:pos x="6" y="160"/>
                </a:cxn>
                <a:cxn ang="0">
                  <a:pos x="4" y="160"/>
                </a:cxn>
                <a:cxn ang="0">
                  <a:pos x="2" y="162"/>
                </a:cxn>
                <a:cxn ang="0">
                  <a:pos x="0" y="162"/>
                </a:cxn>
                <a:cxn ang="0">
                  <a:pos x="0" y="162"/>
                </a:cxn>
                <a:cxn ang="0">
                  <a:pos x="2" y="154"/>
                </a:cxn>
                <a:cxn ang="0">
                  <a:pos x="2" y="154"/>
                </a:cxn>
                <a:cxn ang="0">
                  <a:pos x="6" y="144"/>
                </a:cxn>
                <a:cxn ang="0">
                  <a:pos x="12" y="136"/>
                </a:cxn>
                <a:cxn ang="0">
                  <a:pos x="16" y="128"/>
                </a:cxn>
                <a:cxn ang="0">
                  <a:pos x="20" y="112"/>
                </a:cxn>
                <a:cxn ang="0">
                  <a:pos x="20" y="112"/>
                </a:cxn>
                <a:cxn ang="0">
                  <a:pos x="22" y="104"/>
                </a:cxn>
                <a:cxn ang="0">
                  <a:pos x="26" y="96"/>
                </a:cxn>
                <a:cxn ang="0">
                  <a:pos x="34" y="84"/>
                </a:cxn>
                <a:cxn ang="0">
                  <a:pos x="44" y="72"/>
                </a:cxn>
                <a:cxn ang="0">
                  <a:pos x="48" y="64"/>
                </a:cxn>
                <a:cxn ang="0">
                  <a:pos x="52" y="54"/>
                </a:cxn>
                <a:cxn ang="0">
                  <a:pos x="52" y="54"/>
                </a:cxn>
                <a:cxn ang="0">
                  <a:pos x="56" y="44"/>
                </a:cxn>
                <a:cxn ang="0">
                  <a:pos x="60" y="38"/>
                </a:cxn>
                <a:cxn ang="0">
                  <a:pos x="64" y="34"/>
                </a:cxn>
                <a:cxn ang="0">
                  <a:pos x="66" y="34"/>
                </a:cxn>
                <a:cxn ang="0">
                  <a:pos x="70" y="34"/>
                </a:cxn>
                <a:cxn ang="0">
                  <a:pos x="72" y="32"/>
                </a:cxn>
                <a:cxn ang="0">
                  <a:pos x="74" y="28"/>
                </a:cxn>
                <a:cxn ang="0">
                  <a:pos x="78" y="20"/>
                </a:cxn>
                <a:cxn ang="0">
                  <a:pos x="78" y="20"/>
                </a:cxn>
                <a:cxn ang="0">
                  <a:pos x="82" y="8"/>
                </a:cxn>
                <a:cxn ang="0">
                  <a:pos x="88" y="0"/>
                </a:cxn>
                <a:cxn ang="0">
                  <a:pos x="170" y="0"/>
                </a:cxn>
                <a:cxn ang="0">
                  <a:pos x="170" y="12"/>
                </a:cxn>
                <a:cxn ang="0">
                  <a:pos x="170" y="46"/>
                </a:cxn>
                <a:cxn ang="0">
                  <a:pos x="102" y="46"/>
                </a:cxn>
                <a:cxn ang="0">
                  <a:pos x="102" y="46"/>
                </a:cxn>
                <a:cxn ang="0">
                  <a:pos x="100" y="104"/>
                </a:cxn>
                <a:cxn ang="0">
                  <a:pos x="100" y="104"/>
                </a:cxn>
                <a:cxn ang="0">
                  <a:pos x="98" y="108"/>
                </a:cxn>
                <a:cxn ang="0">
                  <a:pos x="96" y="110"/>
                </a:cxn>
                <a:cxn ang="0">
                  <a:pos x="90" y="110"/>
                </a:cxn>
                <a:cxn ang="0">
                  <a:pos x="86" y="112"/>
                </a:cxn>
                <a:cxn ang="0">
                  <a:pos x="82" y="114"/>
                </a:cxn>
                <a:cxn ang="0">
                  <a:pos x="80" y="120"/>
                </a:cxn>
                <a:cxn ang="0">
                  <a:pos x="80" y="128"/>
                </a:cxn>
                <a:cxn ang="0">
                  <a:pos x="80" y="128"/>
                </a:cxn>
                <a:cxn ang="0">
                  <a:pos x="80" y="156"/>
                </a:cxn>
                <a:cxn ang="0">
                  <a:pos x="80" y="156"/>
                </a:cxn>
                <a:cxn ang="0">
                  <a:pos x="18" y="156"/>
                </a:cxn>
                <a:cxn ang="0">
                  <a:pos x="18" y="156"/>
                </a:cxn>
                <a:cxn ang="0">
                  <a:pos x="12" y="156"/>
                </a:cxn>
                <a:cxn ang="0">
                  <a:pos x="8" y="156"/>
                </a:cxn>
                <a:cxn ang="0">
                  <a:pos x="4" y="162"/>
                </a:cxn>
                <a:cxn ang="0">
                  <a:pos x="4" y="162"/>
                </a:cxn>
              </a:cxnLst>
              <a:rect l="0" t="0" r="r" b="b"/>
              <a:pathLst>
                <a:path w="170" h="162">
                  <a:moveTo>
                    <a:pt x="4" y="162"/>
                  </a:moveTo>
                  <a:lnTo>
                    <a:pt x="4" y="162"/>
                  </a:lnTo>
                  <a:lnTo>
                    <a:pt x="6" y="160"/>
                  </a:lnTo>
                  <a:lnTo>
                    <a:pt x="4" y="160"/>
                  </a:lnTo>
                  <a:lnTo>
                    <a:pt x="2" y="162"/>
                  </a:lnTo>
                  <a:lnTo>
                    <a:pt x="0" y="162"/>
                  </a:lnTo>
                  <a:lnTo>
                    <a:pt x="0" y="162"/>
                  </a:lnTo>
                  <a:lnTo>
                    <a:pt x="2" y="154"/>
                  </a:lnTo>
                  <a:lnTo>
                    <a:pt x="2" y="154"/>
                  </a:lnTo>
                  <a:lnTo>
                    <a:pt x="6" y="144"/>
                  </a:lnTo>
                  <a:lnTo>
                    <a:pt x="12" y="136"/>
                  </a:lnTo>
                  <a:lnTo>
                    <a:pt x="16" y="128"/>
                  </a:lnTo>
                  <a:lnTo>
                    <a:pt x="20" y="112"/>
                  </a:lnTo>
                  <a:lnTo>
                    <a:pt x="20" y="112"/>
                  </a:lnTo>
                  <a:lnTo>
                    <a:pt x="22" y="104"/>
                  </a:lnTo>
                  <a:lnTo>
                    <a:pt x="26" y="96"/>
                  </a:lnTo>
                  <a:lnTo>
                    <a:pt x="34" y="84"/>
                  </a:lnTo>
                  <a:lnTo>
                    <a:pt x="44" y="72"/>
                  </a:lnTo>
                  <a:lnTo>
                    <a:pt x="48" y="64"/>
                  </a:lnTo>
                  <a:lnTo>
                    <a:pt x="52" y="54"/>
                  </a:lnTo>
                  <a:lnTo>
                    <a:pt x="52" y="54"/>
                  </a:lnTo>
                  <a:lnTo>
                    <a:pt x="56" y="44"/>
                  </a:lnTo>
                  <a:lnTo>
                    <a:pt x="60" y="38"/>
                  </a:lnTo>
                  <a:lnTo>
                    <a:pt x="64" y="34"/>
                  </a:lnTo>
                  <a:lnTo>
                    <a:pt x="66" y="34"/>
                  </a:lnTo>
                  <a:lnTo>
                    <a:pt x="70" y="34"/>
                  </a:lnTo>
                  <a:lnTo>
                    <a:pt x="72" y="32"/>
                  </a:lnTo>
                  <a:lnTo>
                    <a:pt x="74" y="28"/>
                  </a:lnTo>
                  <a:lnTo>
                    <a:pt x="78" y="20"/>
                  </a:lnTo>
                  <a:lnTo>
                    <a:pt x="78" y="20"/>
                  </a:lnTo>
                  <a:lnTo>
                    <a:pt x="82" y="8"/>
                  </a:lnTo>
                  <a:lnTo>
                    <a:pt x="88" y="0"/>
                  </a:lnTo>
                  <a:lnTo>
                    <a:pt x="170" y="0"/>
                  </a:lnTo>
                  <a:lnTo>
                    <a:pt x="170" y="12"/>
                  </a:lnTo>
                  <a:lnTo>
                    <a:pt x="170" y="46"/>
                  </a:lnTo>
                  <a:lnTo>
                    <a:pt x="102" y="46"/>
                  </a:lnTo>
                  <a:lnTo>
                    <a:pt x="102" y="46"/>
                  </a:lnTo>
                  <a:lnTo>
                    <a:pt x="100" y="104"/>
                  </a:lnTo>
                  <a:lnTo>
                    <a:pt x="100" y="104"/>
                  </a:lnTo>
                  <a:lnTo>
                    <a:pt x="98" y="108"/>
                  </a:lnTo>
                  <a:lnTo>
                    <a:pt x="96" y="110"/>
                  </a:lnTo>
                  <a:lnTo>
                    <a:pt x="90" y="110"/>
                  </a:lnTo>
                  <a:lnTo>
                    <a:pt x="86" y="112"/>
                  </a:lnTo>
                  <a:lnTo>
                    <a:pt x="82" y="114"/>
                  </a:lnTo>
                  <a:lnTo>
                    <a:pt x="80" y="120"/>
                  </a:lnTo>
                  <a:lnTo>
                    <a:pt x="80" y="128"/>
                  </a:lnTo>
                  <a:lnTo>
                    <a:pt x="80" y="128"/>
                  </a:lnTo>
                  <a:lnTo>
                    <a:pt x="80" y="156"/>
                  </a:lnTo>
                  <a:lnTo>
                    <a:pt x="80" y="156"/>
                  </a:lnTo>
                  <a:lnTo>
                    <a:pt x="18" y="156"/>
                  </a:lnTo>
                  <a:lnTo>
                    <a:pt x="18" y="156"/>
                  </a:lnTo>
                  <a:lnTo>
                    <a:pt x="12" y="156"/>
                  </a:lnTo>
                  <a:lnTo>
                    <a:pt x="8" y="156"/>
                  </a:lnTo>
                  <a:lnTo>
                    <a:pt x="4" y="162"/>
                  </a:lnTo>
                  <a:lnTo>
                    <a:pt x="4" y="162"/>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Yemen"/>
            <p:cNvSpPr>
              <a:spLocks/>
            </p:cNvSpPr>
            <p:nvPr/>
          </p:nvSpPr>
          <p:spPr bwMode="auto">
            <a:xfrm>
              <a:off x="5329997" y="2988469"/>
              <a:ext cx="293688" cy="201083"/>
            </a:xfrm>
            <a:custGeom>
              <a:avLst/>
              <a:gdLst/>
              <a:ahLst/>
              <a:cxnLst>
                <a:cxn ang="0">
                  <a:pos x="0" y="62"/>
                </a:cxn>
                <a:cxn ang="0">
                  <a:pos x="6" y="94"/>
                </a:cxn>
                <a:cxn ang="0">
                  <a:pos x="8" y="100"/>
                </a:cxn>
                <a:cxn ang="0">
                  <a:pos x="10" y="110"/>
                </a:cxn>
                <a:cxn ang="0">
                  <a:pos x="16" y="124"/>
                </a:cxn>
                <a:cxn ang="0">
                  <a:pos x="16" y="130"/>
                </a:cxn>
                <a:cxn ang="0">
                  <a:pos x="16" y="138"/>
                </a:cxn>
                <a:cxn ang="0">
                  <a:pos x="20" y="146"/>
                </a:cxn>
                <a:cxn ang="0">
                  <a:pos x="36" y="152"/>
                </a:cxn>
                <a:cxn ang="0">
                  <a:pos x="50" y="148"/>
                </a:cxn>
                <a:cxn ang="0">
                  <a:pos x="52" y="146"/>
                </a:cxn>
                <a:cxn ang="0">
                  <a:pos x="56" y="144"/>
                </a:cxn>
                <a:cxn ang="0">
                  <a:pos x="66" y="138"/>
                </a:cxn>
                <a:cxn ang="0">
                  <a:pos x="70" y="136"/>
                </a:cxn>
                <a:cxn ang="0">
                  <a:pos x="84" y="132"/>
                </a:cxn>
                <a:cxn ang="0">
                  <a:pos x="98" y="128"/>
                </a:cxn>
                <a:cxn ang="0">
                  <a:pos x="102" y="124"/>
                </a:cxn>
                <a:cxn ang="0">
                  <a:pos x="110" y="120"/>
                </a:cxn>
                <a:cxn ang="0">
                  <a:pos x="130" y="116"/>
                </a:cxn>
                <a:cxn ang="0">
                  <a:pos x="138" y="108"/>
                </a:cxn>
                <a:cxn ang="0">
                  <a:pos x="142" y="104"/>
                </a:cxn>
                <a:cxn ang="0">
                  <a:pos x="162" y="94"/>
                </a:cxn>
                <a:cxn ang="0">
                  <a:pos x="184" y="86"/>
                </a:cxn>
                <a:cxn ang="0">
                  <a:pos x="190" y="82"/>
                </a:cxn>
                <a:cxn ang="0">
                  <a:pos x="204" y="78"/>
                </a:cxn>
                <a:cxn ang="0">
                  <a:pos x="204" y="74"/>
                </a:cxn>
                <a:cxn ang="0">
                  <a:pos x="202" y="70"/>
                </a:cxn>
                <a:cxn ang="0">
                  <a:pos x="202" y="64"/>
                </a:cxn>
                <a:cxn ang="0">
                  <a:pos x="214" y="56"/>
                </a:cxn>
                <a:cxn ang="0">
                  <a:pos x="222" y="52"/>
                </a:cxn>
                <a:cxn ang="0">
                  <a:pos x="212" y="48"/>
                </a:cxn>
                <a:cxn ang="0">
                  <a:pos x="214" y="42"/>
                </a:cxn>
                <a:cxn ang="0">
                  <a:pos x="214" y="36"/>
                </a:cxn>
                <a:cxn ang="0">
                  <a:pos x="210" y="34"/>
                </a:cxn>
                <a:cxn ang="0">
                  <a:pos x="192" y="26"/>
                </a:cxn>
                <a:cxn ang="0">
                  <a:pos x="184" y="18"/>
                </a:cxn>
                <a:cxn ang="0">
                  <a:pos x="182" y="0"/>
                </a:cxn>
                <a:cxn ang="0">
                  <a:pos x="134" y="20"/>
                </a:cxn>
                <a:cxn ang="0">
                  <a:pos x="114" y="44"/>
                </a:cxn>
                <a:cxn ang="0">
                  <a:pos x="78" y="80"/>
                </a:cxn>
                <a:cxn ang="0">
                  <a:pos x="80" y="70"/>
                </a:cxn>
                <a:cxn ang="0">
                  <a:pos x="76" y="62"/>
                </a:cxn>
                <a:cxn ang="0">
                  <a:pos x="70" y="60"/>
                </a:cxn>
                <a:cxn ang="0">
                  <a:pos x="60" y="54"/>
                </a:cxn>
                <a:cxn ang="0">
                  <a:pos x="34" y="46"/>
                </a:cxn>
                <a:cxn ang="0">
                  <a:pos x="22" y="44"/>
                </a:cxn>
                <a:cxn ang="0">
                  <a:pos x="18" y="46"/>
                </a:cxn>
                <a:cxn ang="0">
                  <a:pos x="14" y="50"/>
                </a:cxn>
                <a:cxn ang="0">
                  <a:pos x="12" y="52"/>
                </a:cxn>
                <a:cxn ang="0">
                  <a:pos x="12" y="56"/>
                </a:cxn>
                <a:cxn ang="0">
                  <a:pos x="10" y="60"/>
                </a:cxn>
                <a:cxn ang="0">
                  <a:pos x="0" y="62"/>
                </a:cxn>
              </a:cxnLst>
              <a:rect l="0" t="0" r="r" b="b"/>
              <a:pathLst>
                <a:path w="222" h="152">
                  <a:moveTo>
                    <a:pt x="0" y="62"/>
                  </a:moveTo>
                  <a:lnTo>
                    <a:pt x="0" y="62"/>
                  </a:lnTo>
                  <a:lnTo>
                    <a:pt x="4" y="84"/>
                  </a:lnTo>
                  <a:lnTo>
                    <a:pt x="6" y="94"/>
                  </a:lnTo>
                  <a:lnTo>
                    <a:pt x="8" y="98"/>
                  </a:lnTo>
                  <a:lnTo>
                    <a:pt x="8" y="100"/>
                  </a:lnTo>
                  <a:lnTo>
                    <a:pt x="8" y="100"/>
                  </a:lnTo>
                  <a:lnTo>
                    <a:pt x="10" y="110"/>
                  </a:lnTo>
                  <a:lnTo>
                    <a:pt x="14" y="118"/>
                  </a:lnTo>
                  <a:lnTo>
                    <a:pt x="16" y="124"/>
                  </a:lnTo>
                  <a:lnTo>
                    <a:pt x="16" y="130"/>
                  </a:lnTo>
                  <a:lnTo>
                    <a:pt x="16" y="130"/>
                  </a:lnTo>
                  <a:lnTo>
                    <a:pt x="14" y="134"/>
                  </a:lnTo>
                  <a:lnTo>
                    <a:pt x="16" y="138"/>
                  </a:lnTo>
                  <a:lnTo>
                    <a:pt x="20" y="146"/>
                  </a:lnTo>
                  <a:lnTo>
                    <a:pt x="20" y="146"/>
                  </a:lnTo>
                  <a:lnTo>
                    <a:pt x="26" y="150"/>
                  </a:lnTo>
                  <a:lnTo>
                    <a:pt x="36" y="152"/>
                  </a:lnTo>
                  <a:lnTo>
                    <a:pt x="46" y="150"/>
                  </a:lnTo>
                  <a:lnTo>
                    <a:pt x="50" y="148"/>
                  </a:lnTo>
                  <a:lnTo>
                    <a:pt x="52" y="146"/>
                  </a:lnTo>
                  <a:lnTo>
                    <a:pt x="52" y="146"/>
                  </a:lnTo>
                  <a:lnTo>
                    <a:pt x="54" y="144"/>
                  </a:lnTo>
                  <a:lnTo>
                    <a:pt x="56" y="144"/>
                  </a:lnTo>
                  <a:lnTo>
                    <a:pt x="60" y="144"/>
                  </a:lnTo>
                  <a:lnTo>
                    <a:pt x="66" y="138"/>
                  </a:lnTo>
                  <a:lnTo>
                    <a:pt x="66" y="138"/>
                  </a:lnTo>
                  <a:lnTo>
                    <a:pt x="70" y="136"/>
                  </a:lnTo>
                  <a:lnTo>
                    <a:pt x="74" y="134"/>
                  </a:lnTo>
                  <a:lnTo>
                    <a:pt x="84" y="132"/>
                  </a:lnTo>
                  <a:lnTo>
                    <a:pt x="94" y="132"/>
                  </a:lnTo>
                  <a:lnTo>
                    <a:pt x="98" y="128"/>
                  </a:lnTo>
                  <a:lnTo>
                    <a:pt x="102" y="124"/>
                  </a:lnTo>
                  <a:lnTo>
                    <a:pt x="102" y="124"/>
                  </a:lnTo>
                  <a:lnTo>
                    <a:pt x="106" y="122"/>
                  </a:lnTo>
                  <a:lnTo>
                    <a:pt x="110" y="120"/>
                  </a:lnTo>
                  <a:lnTo>
                    <a:pt x="120" y="118"/>
                  </a:lnTo>
                  <a:lnTo>
                    <a:pt x="130" y="116"/>
                  </a:lnTo>
                  <a:lnTo>
                    <a:pt x="134" y="112"/>
                  </a:lnTo>
                  <a:lnTo>
                    <a:pt x="138" y="108"/>
                  </a:lnTo>
                  <a:lnTo>
                    <a:pt x="138" y="108"/>
                  </a:lnTo>
                  <a:lnTo>
                    <a:pt x="142" y="104"/>
                  </a:lnTo>
                  <a:lnTo>
                    <a:pt x="148" y="100"/>
                  </a:lnTo>
                  <a:lnTo>
                    <a:pt x="162" y="94"/>
                  </a:lnTo>
                  <a:lnTo>
                    <a:pt x="176" y="90"/>
                  </a:lnTo>
                  <a:lnTo>
                    <a:pt x="184" y="86"/>
                  </a:lnTo>
                  <a:lnTo>
                    <a:pt x="184" y="86"/>
                  </a:lnTo>
                  <a:lnTo>
                    <a:pt x="190" y="82"/>
                  </a:lnTo>
                  <a:lnTo>
                    <a:pt x="198" y="80"/>
                  </a:lnTo>
                  <a:lnTo>
                    <a:pt x="204" y="78"/>
                  </a:lnTo>
                  <a:lnTo>
                    <a:pt x="206" y="76"/>
                  </a:lnTo>
                  <a:lnTo>
                    <a:pt x="204" y="74"/>
                  </a:lnTo>
                  <a:lnTo>
                    <a:pt x="204" y="74"/>
                  </a:lnTo>
                  <a:lnTo>
                    <a:pt x="202" y="70"/>
                  </a:lnTo>
                  <a:lnTo>
                    <a:pt x="202" y="68"/>
                  </a:lnTo>
                  <a:lnTo>
                    <a:pt x="202" y="64"/>
                  </a:lnTo>
                  <a:lnTo>
                    <a:pt x="206" y="62"/>
                  </a:lnTo>
                  <a:lnTo>
                    <a:pt x="214" y="56"/>
                  </a:lnTo>
                  <a:lnTo>
                    <a:pt x="222" y="52"/>
                  </a:lnTo>
                  <a:lnTo>
                    <a:pt x="222" y="52"/>
                  </a:lnTo>
                  <a:lnTo>
                    <a:pt x="216" y="50"/>
                  </a:lnTo>
                  <a:lnTo>
                    <a:pt x="212" y="48"/>
                  </a:lnTo>
                  <a:lnTo>
                    <a:pt x="212" y="44"/>
                  </a:lnTo>
                  <a:lnTo>
                    <a:pt x="214" y="42"/>
                  </a:lnTo>
                  <a:lnTo>
                    <a:pt x="216" y="38"/>
                  </a:lnTo>
                  <a:lnTo>
                    <a:pt x="214" y="36"/>
                  </a:lnTo>
                  <a:lnTo>
                    <a:pt x="210" y="34"/>
                  </a:lnTo>
                  <a:lnTo>
                    <a:pt x="210" y="34"/>
                  </a:lnTo>
                  <a:lnTo>
                    <a:pt x="200" y="30"/>
                  </a:lnTo>
                  <a:lnTo>
                    <a:pt x="192" y="26"/>
                  </a:lnTo>
                  <a:lnTo>
                    <a:pt x="186" y="22"/>
                  </a:lnTo>
                  <a:lnTo>
                    <a:pt x="184" y="18"/>
                  </a:lnTo>
                  <a:lnTo>
                    <a:pt x="182" y="10"/>
                  </a:lnTo>
                  <a:lnTo>
                    <a:pt x="182" y="0"/>
                  </a:lnTo>
                  <a:lnTo>
                    <a:pt x="182" y="0"/>
                  </a:lnTo>
                  <a:lnTo>
                    <a:pt x="134" y="20"/>
                  </a:lnTo>
                  <a:lnTo>
                    <a:pt x="134" y="20"/>
                  </a:lnTo>
                  <a:lnTo>
                    <a:pt x="114" y="44"/>
                  </a:lnTo>
                  <a:lnTo>
                    <a:pt x="94" y="64"/>
                  </a:lnTo>
                  <a:lnTo>
                    <a:pt x="78" y="80"/>
                  </a:lnTo>
                  <a:lnTo>
                    <a:pt x="78" y="80"/>
                  </a:lnTo>
                  <a:lnTo>
                    <a:pt x="80" y="70"/>
                  </a:lnTo>
                  <a:lnTo>
                    <a:pt x="78" y="64"/>
                  </a:lnTo>
                  <a:lnTo>
                    <a:pt x="76" y="62"/>
                  </a:lnTo>
                  <a:lnTo>
                    <a:pt x="70" y="60"/>
                  </a:lnTo>
                  <a:lnTo>
                    <a:pt x="70" y="60"/>
                  </a:lnTo>
                  <a:lnTo>
                    <a:pt x="66" y="56"/>
                  </a:lnTo>
                  <a:lnTo>
                    <a:pt x="60" y="54"/>
                  </a:lnTo>
                  <a:lnTo>
                    <a:pt x="52" y="50"/>
                  </a:lnTo>
                  <a:lnTo>
                    <a:pt x="34" y="46"/>
                  </a:lnTo>
                  <a:lnTo>
                    <a:pt x="34" y="46"/>
                  </a:lnTo>
                  <a:lnTo>
                    <a:pt x="22" y="44"/>
                  </a:lnTo>
                  <a:lnTo>
                    <a:pt x="18" y="44"/>
                  </a:lnTo>
                  <a:lnTo>
                    <a:pt x="18" y="46"/>
                  </a:lnTo>
                  <a:lnTo>
                    <a:pt x="18" y="48"/>
                  </a:lnTo>
                  <a:lnTo>
                    <a:pt x="14" y="50"/>
                  </a:lnTo>
                  <a:lnTo>
                    <a:pt x="14" y="50"/>
                  </a:lnTo>
                  <a:lnTo>
                    <a:pt x="12" y="52"/>
                  </a:lnTo>
                  <a:lnTo>
                    <a:pt x="12" y="54"/>
                  </a:lnTo>
                  <a:lnTo>
                    <a:pt x="12" y="56"/>
                  </a:lnTo>
                  <a:lnTo>
                    <a:pt x="12" y="58"/>
                  </a:lnTo>
                  <a:lnTo>
                    <a:pt x="10" y="60"/>
                  </a:lnTo>
                  <a:lnTo>
                    <a:pt x="0" y="62"/>
                  </a:lnTo>
                  <a:lnTo>
                    <a:pt x="0" y="62"/>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Mongolia"/>
            <p:cNvSpPr>
              <a:spLocks/>
            </p:cNvSpPr>
            <p:nvPr/>
          </p:nvSpPr>
          <p:spPr bwMode="auto">
            <a:xfrm>
              <a:off x="6258684" y="1969823"/>
              <a:ext cx="777875" cy="280458"/>
            </a:xfrm>
            <a:custGeom>
              <a:avLst/>
              <a:gdLst/>
              <a:ahLst/>
              <a:cxnLst>
                <a:cxn ang="0">
                  <a:pos x="4" y="60"/>
                </a:cxn>
                <a:cxn ang="0">
                  <a:pos x="18" y="50"/>
                </a:cxn>
                <a:cxn ang="0">
                  <a:pos x="24" y="48"/>
                </a:cxn>
                <a:cxn ang="0">
                  <a:pos x="32" y="44"/>
                </a:cxn>
                <a:cxn ang="0">
                  <a:pos x="46" y="40"/>
                </a:cxn>
                <a:cxn ang="0">
                  <a:pos x="58" y="34"/>
                </a:cxn>
                <a:cxn ang="0">
                  <a:pos x="74" y="30"/>
                </a:cxn>
                <a:cxn ang="0">
                  <a:pos x="86" y="34"/>
                </a:cxn>
                <a:cxn ang="0">
                  <a:pos x="102" y="46"/>
                </a:cxn>
                <a:cxn ang="0">
                  <a:pos x="116" y="48"/>
                </a:cxn>
                <a:cxn ang="0">
                  <a:pos x="148" y="52"/>
                </a:cxn>
                <a:cxn ang="0">
                  <a:pos x="164" y="50"/>
                </a:cxn>
                <a:cxn ang="0">
                  <a:pos x="162" y="36"/>
                </a:cxn>
                <a:cxn ang="0">
                  <a:pos x="152" y="26"/>
                </a:cxn>
                <a:cxn ang="0">
                  <a:pos x="152" y="6"/>
                </a:cxn>
                <a:cxn ang="0">
                  <a:pos x="176" y="6"/>
                </a:cxn>
                <a:cxn ang="0">
                  <a:pos x="218" y="32"/>
                </a:cxn>
                <a:cxn ang="0">
                  <a:pos x="250" y="46"/>
                </a:cxn>
                <a:cxn ang="0">
                  <a:pos x="294" y="44"/>
                </a:cxn>
                <a:cxn ang="0">
                  <a:pos x="320" y="56"/>
                </a:cxn>
                <a:cxn ang="0">
                  <a:pos x="364" y="56"/>
                </a:cxn>
                <a:cxn ang="0">
                  <a:pos x="428" y="46"/>
                </a:cxn>
                <a:cxn ang="0">
                  <a:pos x="462" y="54"/>
                </a:cxn>
                <a:cxn ang="0">
                  <a:pos x="462" y="72"/>
                </a:cxn>
                <a:cxn ang="0">
                  <a:pos x="450" y="86"/>
                </a:cxn>
                <a:cxn ang="0">
                  <a:pos x="490" y="84"/>
                </a:cxn>
                <a:cxn ang="0">
                  <a:pos x="516" y="86"/>
                </a:cxn>
                <a:cxn ang="0">
                  <a:pos x="542" y="72"/>
                </a:cxn>
                <a:cxn ang="0">
                  <a:pos x="582" y="92"/>
                </a:cxn>
                <a:cxn ang="0">
                  <a:pos x="584" y="108"/>
                </a:cxn>
                <a:cxn ang="0">
                  <a:pos x="568" y="112"/>
                </a:cxn>
                <a:cxn ang="0">
                  <a:pos x="548" y="116"/>
                </a:cxn>
                <a:cxn ang="0">
                  <a:pos x="526" y="134"/>
                </a:cxn>
                <a:cxn ang="0">
                  <a:pos x="514" y="146"/>
                </a:cxn>
                <a:cxn ang="0">
                  <a:pos x="492" y="144"/>
                </a:cxn>
                <a:cxn ang="0">
                  <a:pos x="496" y="158"/>
                </a:cxn>
                <a:cxn ang="0">
                  <a:pos x="512" y="170"/>
                </a:cxn>
                <a:cxn ang="0">
                  <a:pos x="496" y="186"/>
                </a:cxn>
                <a:cxn ang="0">
                  <a:pos x="486" y="196"/>
                </a:cxn>
                <a:cxn ang="0">
                  <a:pos x="450" y="200"/>
                </a:cxn>
                <a:cxn ang="0">
                  <a:pos x="402" y="212"/>
                </a:cxn>
                <a:cxn ang="0">
                  <a:pos x="338" y="198"/>
                </a:cxn>
                <a:cxn ang="0">
                  <a:pos x="310" y="190"/>
                </a:cxn>
                <a:cxn ang="0">
                  <a:pos x="276" y="192"/>
                </a:cxn>
                <a:cxn ang="0">
                  <a:pos x="242" y="190"/>
                </a:cxn>
                <a:cxn ang="0">
                  <a:pos x="218" y="198"/>
                </a:cxn>
                <a:cxn ang="0">
                  <a:pos x="210" y="176"/>
                </a:cxn>
                <a:cxn ang="0">
                  <a:pos x="202" y="164"/>
                </a:cxn>
                <a:cxn ang="0">
                  <a:pos x="198" y="156"/>
                </a:cxn>
                <a:cxn ang="0">
                  <a:pos x="172" y="158"/>
                </a:cxn>
                <a:cxn ang="0">
                  <a:pos x="102" y="150"/>
                </a:cxn>
                <a:cxn ang="0">
                  <a:pos x="96" y="144"/>
                </a:cxn>
                <a:cxn ang="0">
                  <a:pos x="92" y="128"/>
                </a:cxn>
                <a:cxn ang="0">
                  <a:pos x="78" y="114"/>
                </a:cxn>
                <a:cxn ang="0">
                  <a:pos x="64" y="94"/>
                </a:cxn>
                <a:cxn ang="0">
                  <a:pos x="48" y="84"/>
                </a:cxn>
                <a:cxn ang="0">
                  <a:pos x="32" y="86"/>
                </a:cxn>
                <a:cxn ang="0">
                  <a:pos x="8" y="76"/>
                </a:cxn>
              </a:cxnLst>
              <a:rect l="0" t="0" r="r" b="b"/>
              <a:pathLst>
                <a:path w="588" h="212">
                  <a:moveTo>
                    <a:pt x="0" y="68"/>
                  </a:moveTo>
                  <a:lnTo>
                    <a:pt x="0" y="68"/>
                  </a:lnTo>
                  <a:lnTo>
                    <a:pt x="2" y="66"/>
                  </a:lnTo>
                  <a:lnTo>
                    <a:pt x="2" y="62"/>
                  </a:lnTo>
                  <a:lnTo>
                    <a:pt x="4" y="60"/>
                  </a:lnTo>
                  <a:lnTo>
                    <a:pt x="8" y="58"/>
                  </a:lnTo>
                  <a:lnTo>
                    <a:pt x="8" y="58"/>
                  </a:lnTo>
                  <a:lnTo>
                    <a:pt x="12" y="56"/>
                  </a:lnTo>
                  <a:lnTo>
                    <a:pt x="16" y="52"/>
                  </a:lnTo>
                  <a:lnTo>
                    <a:pt x="18" y="50"/>
                  </a:lnTo>
                  <a:lnTo>
                    <a:pt x="22" y="52"/>
                  </a:lnTo>
                  <a:lnTo>
                    <a:pt x="22" y="52"/>
                  </a:lnTo>
                  <a:lnTo>
                    <a:pt x="24" y="52"/>
                  </a:lnTo>
                  <a:lnTo>
                    <a:pt x="24" y="52"/>
                  </a:lnTo>
                  <a:lnTo>
                    <a:pt x="24" y="48"/>
                  </a:lnTo>
                  <a:lnTo>
                    <a:pt x="26" y="44"/>
                  </a:lnTo>
                  <a:lnTo>
                    <a:pt x="26" y="44"/>
                  </a:lnTo>
                  <a:lnTo>
                    <a:pt x="28" y="44"/>
                  </a:lnTo>
                  <a:lnTo>
                    <a:pt x="28" y="44"/>
                  </a:lnTo>
                  <a:lnTo>
                    <a:pt x="32" y="44"/>
                  </a:lnTo>
                  <a:lnTo>
                    <a:pt x="36" y="42"/>
                  </a:lnTo>
                  <a:lnTo>
                    <a:pt x="40" y="40"/>
                  </a:lnTo>
                  <a:lnTo>
                    <a:pt x="44" y="40"/>
                  </a:lnTo>
                  <a:lnTo>
                    <a:pt x="44" y="40"/>
                  </a:lnTo>
                  <a:lnTo>
                    <a:pt x="46" y="40"/>
                  </a:lnTo>
                  <a:lnTo>
                    <a:pt x="50" y="36"/>
                  </a:lnTo>
                  <a:lnTo>
                    <a:pt x="54" y="34"/>
                  </a:lnTo>
                  <a:lnTo>
                    <a:pt x="56" y="32"/>
                  </a:lnTo>
                  <a:lnTo>
                    <a:pt x="58" y="34"/>
                  </a:lnTo>
                  <a:lnTo>
                    <a:pt x="58" y="34"/>
                  </a:lnTo>
                  <a:lnTo>
                    <a:pt x="60" y="34"/>
                  </a:lnTo>
                  <a:lnTo>
                    <a:pt x="62" y="34"/>
                  </a:lnTo>
                  <a:lnTo>
                    <a:pt x="66" y="32"/>
                  </a:lnTo>
                  <a:lnTo>
                    <a:pt x="70" y="30"/>
                  </a:lnTo>
                  <a:lnTo>
                    <a:pt x="74" y="30"/>
                  </a:lnTo>
                  <a:lnTo>
                    <a:pt x="76" y="30"/>
                  </a:lnTo>
                  <a:lnTo>
                    <a:pt x="76" y="30"/>
                  </a:lnTo>
                  <a:lnTo>
                    <a:pt x="78" y="34"/>
                  </a:lnTo>
                  <a:lnTo>
                    <a:pt x="80" y="34"/>
                  </a:lnTo>
                  <a:lnTo>
                    <a:pt x="86" y="34"/>
                  </a:lnTo>
                  <a:lnTo>
                    <a:pt x="90" y="34"/>
                  </a:lnTo>
                  <a:lnTo>
                    <a:pt x="94" y="36"/>
                  </a:lnTo>
                  <a:lnTo>
                    <a:pt x="96" y="40"/>
                  </a:lnTo>
                  <a:lnTo>
                    <a:pt x="96" y="40"/>
                  </a:lnTo>
                  <a:lnTo>
                    <a:pt x="102" y="46"/>
                  </a:lnTo>
                  <a:lnTo>
                    <a:pt x="104" y="46"/>
                  </a:lnTo>
                  <a:lnTo>
                    <a:pt x="108" y="46"/>
                  </a:lnTo>
                  <a:lnTo>
                    <a:pt x="112" y="46"/>
                  </a:lnTo>
                  <a:lnTo>
                    <a:pt x="112" y="46"/>
                  </a:lnTo>
                  <a:lnTo>
                    <a:pt x="116" y="48"/>
                  </a:lnTo>
                  <a:lnTo>
                    <a:pt x="120" y="50"/>
                  </a:lnTo>
                  <a:lnTo>
                    <a:pt x="126" y="50"/>
                  </a:lnTo>
                  <a:lnTo>
                    <a:pt x="136" y="52"/>
                  </a:lnTo>
                  <a:lnTo>
                    <a:pt x="136" y="52"/>
                  </a:lnTo>
                  <a:lnTo>
                    <a:pt x="148" y="52"/>
                  </a:lnTo>
                  <a:lnTo>
                    <a:pt x="154" y="50"/>
                  </a:lnTo>
                  <a:lnTo>
                    <a:pt x="158" y="50"/>
                  </a:lnTo>
                  <a:lnTo>
                    <a:pt x="160" y="50"/>
                  </a:lnTo>
                  <a:lnTo>
                    <a:pt x="160" y="50"/>
                  </a:lnTo>
                  <a:lnTo>
                    <a:pt x="164" y="50"/>
                  </a:lnTo>
                  <a:lnTo>
                    <a:pt x="166" y="46"/>
                  </a:lnTo>
                  <a:lnTo>
                    <a:pt x="168" y="44"/>
                  </a:lnTo>
                  <a:lnTo>
                    <a:pt x="168" y="42"/>
                  </a:lnTo>
                  <a:lnTo>
                    <a:pt x="166" y="40"/>
                  </a:lnTo>
                  <a:lnTo>
                    <a:pt x="162" y="36"/>
                  </a:lnTo>
                  <a:lnTo>
                    <a:pt x="162" y="36"/>
                  </a:lnTo>
                  <a:lnTo>
                    <a:pt x="150" y="30"/>
                  </a:lnTo>
                  <a:lnTo>
                    <a:pt x="148" y="28"/>
                  </a:lnTo>
                  <a:lnTo>
                    <a:pt x="148" y="28"/>
                  </a:lnTo>
                  <a:lnTo>
                    <a:pt x="152" y="26"/>
                  </a:lnTo>
                  <a:lnTo>
                    <a:pt x="156" y="20"/>
                  </a:lnTo>
                  <a:lnTo>
                    <a:pt x="156" y="20"/>
                  </a:lnTo>
                  <a:lnTo>
                    <a:pt x="156" y="14"/>
                  </a:lnTo>
                  <a:lnTo>
                    <a:pt x="154" y="10"/>
                  </a:lnTo>
                  <a:lnTo>
                    <a:pt x="152" y="6"/>
                  </a:lnTo>
                  <a:lnTo>
                    <a:pt x="152" y="2"/>
                  </a:lnTo>
                  <a:lnTo>
                    <a:pt x="154" y="0"/>
                  </a:lnTo>
                  <a:lnTo>
                    <a:pt x="154" y="0"/>
                  </a:lnTo>
                  <a:lnTo>
                    <a:pt x="166" y="4"/>
                  </a:lnTo>
                  <a:lnTo>
                    <a:pt x="176" y="6"/>
                  </a:lnTo>
                  <a:lnTo>
                    <a:pt x="192" y="10"/>
                  </a:lnTo>
                  <a:lnTo>
                    <a:pt x="192" y="10"/>
                  </a:lnTo>
                  <a:lnTo>
                    <a:pt x="202" y="14"/>
                  </a:lnTo>
                  <a:lnTo>
                    <a:pt x="208" y="18"/>
                  </a:lnTo>
                  <a:lnTo>
                    <a:pt x="218" y="32"/>
                  </a:lnTo>
                  <a:lnTo>
                    <a:pt x="222" y="38"/>
                  </a:lnTo>
                  <a:lnTo>
                    <a:pt x="228" y="44"/>
                  </a:lnTo>
                  <a:lnTo>
                    <a:pt x="238" y="46"/>
                  </a:lnTo>
                  <a:lnTo>
                    <a:pt x="250" y="46"/>
                  </a:lnTo>
                  <a:lnTo>
                    <a:pt x="250" y="46"/>
                  </a:lnTo>
                  <a:lnTo>
                    <a:pt x="274" y="42"/>
                  </a:lnTo>
                  <a:lnTo>
                    <a:pt x="282" y="44"/>
                  </a:lnTo>
                  <a:lnTo>
                    <a:pt x="286" y="44"/>
                  </a:lnTo>
                  <a:lnTo>
                    <a:pt x="294" y="44"/>
                  </a:lnTo>
                  <a:lnTo>
                    <a:pt x="294" y="44"/>
                  </a:lnTo>
                  <a:lnTo>
                    <a:pt x="306" y="44"/>
                  </a:lnTo>
                  <a:lnTo>
                    <a:pt x="312" y="46"/>
                  </a:lnTo>
                  <a:lnTo>
                    <a:pt x="314" y="50"/>
                  </a:lnTo>
                  <a:lnTo>
                    <a:pt x="318" y="52"/>
                  </a:lnTo>
                  <a:lnTo>
                    <a:pt x="320" y="56"/>
                  </a:lnTo>
                  <a:lnTo>
                    <a:pt x="326" y="58"/>
                  </a:lnTo>
                  <a:lnTo>
                    <a:pt x="334" y="58"/>
                  </a:lnTo>
                  <a:lnTo>
                    <a:pt x="346" y="56"/>
                  </a:lnTo>
                  <a:lnTo>
                    <a:pt x="346" y="56"/>
                  </a:lnTo>
                  <a:lnTo>
                    <a:pt x="364" y="56"/>
                  </a:lnTo>
                  <a:lnTo>
                    <a:pt x="380" y="56"/>
                  </a:lnTo>
                  <a:lnTo>
                    <a:pt x="394" y="56"/>
                  </a:lnTo>
                  <a:lnTo>
                    <a:pt x="412" y="52"/>
                  </a:lnTo>
                  <a:lnTo>
                    <a:pt x="412" y="52"/>
                  </a:lnTo>
                  <a:lnTo>
                    <a:pt x="428" y="46"/>
                  </a:lnTo>
                  <a:lnTo>
                    <a:pt x="440" y="44"/>
                  </a:lnTo>
                  <a:lnTo>
                    <a:pt x="454" y="44"/>
                  </a:lnTo>
                  <a:lnTo>
                    <a:pt x="472" y="48"/>
                  </a:lnTo>
                  <a:lnTo>
                    <a:pt x="472" y="48"/>
                  </a:lnTo>
                  <a:lnTo>
                    <a:pt x="462" y="54"/>
                  </a:lnTo>
                  <a:lnTo>
                    <a:pt x="458" y="58"/>
                  </a:lnTo>
                  <a:lnTo>
                    <a:pt x="458" y="62"/>
                  </a:lnTo>
                  <a:lnTo>
                    <a:pt x="460" y="64"/>
                  </a:lnTo>
                  <a:lnTo>
                    <a:pt x="462" y="70"/>
                  </a:lnTo>
                  <a:lnTo>
                    <a:pt x="462" y="72"/>
                  </a:lnTo>
                  <a:lnTo>
                    <a:pt x="456" y="76"/>
                  </a:lnTo>
                  <a:lnTo>
                    <a:pt x="456" y="76"/>
                  </a:lnTo>
                  <a:lnTo>
                    <a:pt x="450" y="80"/>
                  </a:lnTo>
                  <a:lnTo>
                    <a:pt x="450" y="84"/>
                  </a:lnTo>
                  <a:lnTo>
                    <a:pt x="450" y="86"/>
                  </a:lnTo>
                  <a:lnTo>
                    <a:pt x="452" y="88"/>
                  </a:lnTo>
                  <a:lnTo>
                    <a:pt x="458" y="88"/>
                  </a:lnTo>
                  <a:lnTo>
                    <a:pt x="474" y="86"/>
                  </a:lnTo>
                  <a:lnTo>
                    <a:pt x="474" y="86"/>
                  </a:lnTo>
                  <a:lnTo>
                    <a:pt x="490" y="84"/>
                  </a:lnTo>
                  <a:lnTo>
                    <a:pt x="500" y="84"/>
                  </a:lnTo>
                  <a:lnTo>
                    <a:pt x="506" y="84"/>
                  </a:lnTo>
                  <a:lnTo>
                    <a:pt x="510" y="86"/>
                  </a:lnTo>
                  <a:lnTo>
                    <a:pt x="514" y="88"/>
                  </a:lnTo>
                  <a:lnTo>
                    <a:pt x="516" y="86"/>
                  </a:lnTo>
                  <a:lnTo>
                    <a:pt x="528" y="80"/>
                  </a:lnTo>
                  <a:lnTo>
                    <a:pt x="528" y="80"/>
                  </a:lnTo>
                  <a:lnTo>
                    <a:pt x="532" y="76"/>
                  </a:lnTo>
                  <a:lnTo>
                    <a:pt x="538" y="72"/>
                  </a:lnTo>
                  <a:lnTo>
                    <a:pt x="542" y="72"/>
                  </a:lnTo>
                  <a:lnTo>
                    <a:pt x="546" y="74"/>
                  </a:lnTo>
                  <a:lnTo>
                    <a:pt x="560" y="78"/>
                  </a:lnTo>
                  <a:lnTo>
                    <a:pt x="578" y="90"/>
                  </a:lnTo>
                  <a:lnTo>
                    <a:pt x="578" y="90"/>
                  </a:lnTo>
                  <a:lnTo>
                    <a:pt x="582" y="92"/>
                  </a:lnTo>
                  <a:lnTo>
                    <a:pt x="586" y="96"/>
                  </a:lnTo>
                  <a:lnTo>
                    <a:pt x="588" y="100"/>
                  </a:lnTo>
                  <a:lnTo>
                    <a:pt x="588" y="104"/>
                  </a:lnTo>
                  <a:lnTo>
                    <a:pt x="586" y="106"/>
                  </a:lnTo>
                  <a:lnTo>
                    <a:pt x="584" y="108"/>
                  </a:lnTo>
                  <a:lnTo>
                    <a:pt x="580" y="110"/>
                  </a:lnTo>
                  <a:lnTo>
                    <a:pt x="576" y="110"/>
                  </a:lnTo>
                  <a:lnTo>
                    <a:pt x="576" y="110"/>
                  </a:lnTo>
                  <a:lnTo>
                    <a:pt x="570" y="110"/>
                  </a:lnTo>
                  <a:lnTo>
                    <a:pt x="568" y="112"/>
                  </a:lnTo>
                  <a:lnTo>
                    <a:pt x="566" y="114"/>
                  </a:lnTo>
                  <a:lnTo>
                    <a:pt x="560" y="114"/>
                  </a:lnTo>
                  <a:lnTo>
                    <a:pt x="560" y="114"/>
                  </a:lnTo>
                  <a:lnTo>
                    <a:pt x="552" y="114"/>
                  </a:lnTo>
                  <a:lnTo>
                    <a:pt x="548" y="116"/>
                  </a:lnTo>
                  <a:lnTo>
                    <a:pt x="542" y="124"/>
                  </a:lnTo>
                  <a:lnTo>
                    <a:pt x="542" y="124"/>
                  </a:lnTo>
                  <a:lnTo>
                    <a:pt x="536" y="130"/>
                  </a:lnTo>
                  <a:lnTo>
                    <a:pt x="532" y="132"/>
                  </a:lnTo>
                  <a:lnTo>
                    <a:pt x="526" y="134"/>
                  </a:lnTo>
                  <a:lnTo>
                    <a:pt x="520" y="134"/>
                  </a:lnTo>
                  <a:lnTo>
                    <a:pt x="518" y="136"/>
                  </a:lnTo>
                  <a:lnTo>
                    <a:pt x="516" y="140"/>
                  </a:lnTo>
                  <a:lnTo>
                    <a:pt x="516" y="140"/>
                  </a:lnTo>
                  <a:lnTo>
                    <a:pt x="514" y="146"/>
                  </a:lnTo>
                  <a:lnTo>
                    <a:pt x="510" y="148"/>
                  </a:lnTo>
                  <a:lnTo>
                    <a:pt x="506" y="148"/>
                  </a:lnTo>
                  <a:lnTo>
                    <a:pt x="502" y="148"/>
                  </a:lnTo>
                  <a:lnTo>
                    <a:pt x="496" y="144"/>
                  </a:lnTo>
                  <a:lnTo>
                    <a:pt x="492" y="144"/>
                  </a:lnTo>
                  <a:lnTo>
                    <a:pt x="490" y="148"/>
                  </a:lnTo>
                  <a:lnTo>
                    <a:pt x="490" y="148"/>
                  </a:lnTo>
                  <a:lnTo>
                    <a:pt x="490" y="152"/>
                  </a:lnTo>
                  <a:lnTo>
                    <a:pt x="492" y="156"/>
                  </a:lnTo>
                  <a:lnTo>
                    <a:pt x="496" y="158"/>
                  </a:lnTo>
                  <a:lnTo>
                    <a:pt x="504" y="160"/>
                  </a:lnTo>
                  <a:lnTo>
                    <a:pt x="504" y="160"/>
                  </a:lnTo>
                  <a:lnTo>
                    <a:pt x="508" y="162"/>
                  </a:lnTo>
                  <a:lnTo>
                    <a:pt x="512" y="164"/>
                  </a:lnTo>
                  <a:lnTo>
                    <a:pt x="512" y="170"/>
                  </a:lnTo>
                  <a:lnTo>
                    <a:pt x="512" y="174"/>
                  </a:lnTo>
                  <a:lnTo>
                    <a:pt x="508" y="178"/>
                  </a:lnTo>
                  <a:lnTo>
                    <a:pt x="506" y="182"/>
                  </a:lnTo>
                  <a:lnTo>
                    <a:pt x="502" y="186"/>
                  </a:lnTo>
                  <a:lnTo>
                    <a:pt x="496" y="186"/>
                  </a:lnTo>
                  <a:lnTo>
                    <a:pt x="496" y="186"/>
                  </a:lnTo>
                  <a:lnTo>
                    <a:pt x="494" y="186"/>
                  </a:lnTo>
                  <a:lnTo>
                    <a:pt x="492" y="188"/>
                  </a:lnTo>
                  <a:lnTo>
                    <a:pt x="488" y="194"/>
                  </a:lnTo>
                  <a:lnTo>
                    <a:pt x="486" y="196"/>
                  </a:lnTo>
                  <a:lnTo>
                    <a:pt x="482" y="198"/>
                  </a:lnTo>
                  <a:lnTo>
                    <a:pt x="476" y="200"/>
                  </a:lnTo>
                  <a:lnTo>
                    <a:pt x="468" y="200"/>
                  </a:lnTo>
                  <a:lnTo>
                    <a:pt x="468" y="200"/>
                  </a:lnTo>
                  <a:lnTo>
                    <a:pt x="450" y="200"/>
                  </a:lnTo>
                  <a:lnTo>
                    <a:pt x="438" y="202"/>
                  </a:lnTo>
                  <a:lnTo>
                    <a:pt x="428" y="204"/>
                  </a:lnTo>
                  <a:lnTo>
                    <a:pt x="420" y="208"/>
                  </a:lnTo>
                  <a:lnTo>
                    <a:pt x="412" y="210"/>
                  </a:lnTo>
                  <a:lnTo>
                    <a:pt x="402" y="212"/>
                  </a:lnTo>
                  <a:lnTo>
                    <a:pt x="390" y="212"/>
                  </a:lnTo>
                  <a:lnTo>
                    <a:pt x="372" y="210"/>
                  </a:lnTo>
                  <a:lnTo>
                    <a:pt x="372" y="210"/>
                  </a:lnTo>
                  <a:lnTo>
                    <a:pt x="344" y="202"/>
                  </a:lnTo>
                  <a:lnTo>
                    <a:pt x="338" y="198"/>
                  </a:lnTo>
                  <a:lnTo>
                    <a:pt x="334" y="196"/>
                  </a:lnTo>
                  <a:lnTo>
                    <a:pt x="330" y="194"/>
                  </a:lnTo>
                  <a:lnTo>
                    <a:pt x="320" y="192"/>
                  </a:lnTo>
                  <a:lnTo>
                    <a:pt x="320" y="192"/>
                  </a:lnTo>
                  <a:lnTo>
                    <a:pt x="310" y="190"/>
                  </a:lnTo>
                  <a:lnTo>
                    <a:pt x="302" y="188"/>
                  </a:lnTo>
                  <a:lnTo>
                    <a:pt x="294" y="188"/>
                  </a:lnTo>
                  <a:lnTo>
                    <a:pt x="286" y="190"/>
                  </a:lnTo>
                  <a:lnTo>
                    <a:pt x="286" y="190"/>
                  </a:lnTo>
                  <a:lnTo>
                    <a:pt x="276" y="192"/>
                  </a:lnTo>
                  <a:lnTo>
                    <a:pt x="266" y="190"/>
                  </a:lnTo>
                  <a:lnTo>
                    <a:pt x="258" y="190"/>
                  </a:lnTo>
                  <a:lnTo>
                    <a:pt x="248" y="190"/>
                  </a:lnTo>
                  <a:lnTo>
                    <a:pt x="248" y="190"/>
                  </a:lnTo>
                  <a:lnTo>
                    <a:pt x="242" y="190"/>
                  </a:lnTo>
                  <a:lnTo>
                    <a:pt x="236" y="190"/>
                  </a:lnTo>
                  <a:lnTo>
                    <a:pt x="230" y="190"/>
                  </a:lnTo>
                  <a:lnTo>
                    <a:pt x="222" y="196"/>
                  </a:lnTo>
                  <a:lnTo>
                    <a:pt x="222" y="196"/>
                  </a:lnTo>
                  <a:lnTo>
                    <a:pt x="218" y="198"/>
                  </a:lnTo>
                  <a:lnTo>
                    <a:pt x="216" y="198"/>
                  </a:lnTo>
                  <a:lnTo>
                    <a:pt x="216" y="192"/>
                  </a:lnTo>
                  <a:lnTo>
                    <a:pt x="216" y="184"/>
                  </a:lnTo>
                  <a:lnTo>
                    <a:pt x="214" y="180"/>
                  </a:lnTo>
                  <a:lnTo>
                    <a:pt x="210" y="176"/>
                  </a:lnTo>
                  <a:lnTo>
                    <a:pt x="210" y="176"/>
                  </a:lnTo>
                  <a:lnTo>
                    <a:pt x="206" y="172"/>
                  </a:lnTo>
                  <a:lnTo>
                    <a:pt x="204" y="168"/>
                  </a:lnTo>
                  <a:lnTo>
                    <a:pt x="204" y="164"/>
                  </a:lnTo>
                  <a:lnTo>
                    <a:pt x="202" y="164"/>
                  </a:lnTo>
                  <a:lnTo>
                    <a:pt x="202" y="164"/>
                  </a:lnTo>
                  <a:lnTo>
                    <a:pt x="200" y="164"/>
                  </a:lnTo>
                  <a:lnTo>
                    <a:pt x="198" y="162"/>
                  </a:lnTo>
                  <a:lnTo>
                    <a:pt x="198" y="158"/>
                  </a:lnTo>
                  <a:lnTo>
                    <a:pt x="198" y="156"/>
                  </a:lnTo>
                  <a:lnTo>
                    <a:pt x="194" y="158"/>
                  </a:lnTo>
                  <a:lnTo>
                    <a:pt x="194" y="158"/>
                  </a:lnTo>
                  <a:lnTo>
                    <a:pt x="192" y="160"/>
                  </a:lnTo>
                  <a:lnTo>
                    <a:pt x="186" y="160"/>
                  </a:lnTo>
                  <a:lnTo>
                    <a:pt x="172" y="158"/>
                  </a:lnTo>
                  <a:lnTo>
                    <a:pt x="152" y="150"/>
                  </a:lnTo>
                  <a:lnTo>
                    <a:pt x="152" y="150"/>
                  </a:lnTo>
                  <a:lnTo>
                    <a:pt x="142" y="146"/>
                  </a:lnTo>
                  <a:lnTo>
                    <a:pt x="132" y="146"/>
                  </a:lnTo>
                  <a:lnTo>
                    <a:pt x="102" y="150"/>
                  </a:lnTo>
                  <a:lnTo>
                    <a:pt x="102" y="150"/>
                  </a:lnTo>
                  <a:lnTo>
                    <a:pt x="92" y="150"/>
                  </a:lnTo>
                  <a:lnTo>
                    <a:pt x="90" y="150"/>
                  </a:lnTo>
                  <a:lnTo>
                    <a:pt x="92" y="148"/>
                  </a:lnTo>
                  <a:lnTo>
                    <a:pt x="96" y="144"/>
                  </a:lnTo>
                  <a:lnTo>
                    <a:pt x="96" y="140"/>
                  </a:lnTo>
                  <a:lnTo>
                    <a:pt x="94" y="136"/>
                  </a:lnTo>
                  <a:lnTo>
                    <a:pt x="94" y="136"/>
                  </a:lnTo>
                  <a:lnTo>
                    <a:pt x="90" y="132"/>
                  </a:lnTo>
                  <a:lnTo>
                    <a:pt x="92" y="128"/>
                  </a:lnTo>
                  <a:lnTo>
                    <a:pt x="92" y="126"/>
                  </a:lnTo>
                  <a:lnTo>
                    <a:pt x="88" y="122"/>
                  </a:lnTo>
                  <a:lnTo>
                    <a:pt x="88" y="122"/>
                  </a:lnTo>
                  <a:lnTo>
                    <a:pt x="82" y="118"/>
                  </a:lnTo>
                  <a:lnTo>
                    <a:pt x="78" y="114"/>
                  </a:lnTo>
                  <a:lnTo>
                    <a:pt x="74" y="106"/>
                  </a:lnTo>
                  <a:lnTo>
                    <a:pt x="72" y="98"/>
                  </a:lnTo>
                  <a:lnTo>
                    <a:pt x="68" y="96"/>
                  </a:lnTo>
                  <a:lnTo>
                    <a:pt x="64" y="94"/>
                  </a:lnTo>
                  <a:lnTo>
                    <a:pt x="64" y="94"/>
                  </a:lnTo>
                  <a:lnTo>
                    <a:pt x="56" y="90"/>
                  </a:lnTo>
                  <a:lnTo>
                    <a:pt x="54" y="88"/>
                  </a:lnTo>
                  <a:lnTo>
                    <a:pt x="54" y="88"/>
                  </a:lnTo>
                  <a:lnTo>
                    <a:pt x="50" y="86"/>
                  </a:lnTo>
                  <a:lnTo>
                    <a:pt x="48" y="84"/>
                  </a:lnTo>
                  <a:lnTo>
                    <a:pt x="44" y="88"/>
                  </a:lnTo>
                  <a:lnTo>
                    <a:pt x="42" y="90"/>
                  </a:lnTo>
                  <a:lnTo>
                    <a:pt x="38" y="90"/>
                  </a:lnTo>
                  <a:lnTo>
                    <a:pt x="36" y="90"/>
                  </a:lnTo>
                  <a:lnTo>
                    <a:pt x="32" y="86"/>
                  </a:lnTo>
                  <a:lnTo>
                    <a:pt x="32" y="86"/>
                  </a:lnTo>
                  <a:lnTo>
                    <a:pt x="26" y="82"/>
                  </a:lnTo>
                  <a:lnTo>
                    <a:pt x="22" y="80"/>
                  </a:lnTo>
                  <a:lnTo>
                    <a:pt x="14" y="78"/>
                  </a:lnTo>
                  <a:lnTo>
                    <a:pt x="8" y="76"/>
                  </a:lnTo>
                  <a:lnTo>
                    <a:pt x="4" y="74"/>
                  </a:lnTo>
                  <a:lnTo>
                    <a:pt x="2" y="70"/>
                  </a:lnTo>
                  <a:lnTo>
                    <a:pt x="0" y="68"/>
                  </a:lnTo>
                  <a:lnTo>
                    <a:pt x="0" y="68"/>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66"/>
            <p:cNvSpPr>
              <a:spLocks/>
            </p:cNvSpPr>
            <p:nvPr/>
          </p:nvSpPr>
          <p:spPr bwMode="auto">
            <a:xfrm>
              <a:off x="7412268" y="1916906"/>
              <a:ext cx="232833" cy="235479"/>
            </a:xfrm>
            <a:custGeom>
              <a:avLst/>
              <a:gdLst/>
              <a:ahLst/>
              <a:cxnLst>
                <a:cxn ang="0">
                  <a:pos x="16" y="14"/>
                </a:cxn>
                <a:cxn ang="0">
                  <a:pos x="0" y="2"/>
                </a:cxn>
                <a:cxn ang="0">
                  <a:pos x="10" y="0"/>
                </a:cxn>
                <a:cxn ang="0">
                  <a:pos x="20" y="4"/>
                </a:cxn>
                <a:cxn ang="0">
                  <a:pos x="26" y="12"/>
                </a:cxn>
                <a:cxn ang="0">
                  <a:pos x="40" y="18"/>
                </a:cxn>
                <a:cxn ang="0">
                  <a:pos x="40" y="20"/>
                </a:cxn>
                <a:cxn ang="0">
                  <a:pos x="42" y="24"/>
                </a:cxn>
                <a:cxn ang="0">
                  <a:pos x="52" y="34"/>
                </a:cxn>
                <a:cxn ang="0">
                  <a:pos x="66" y="46"/>
                </a:cxn>
                <a:cxn ang="0">
                  <a:pos x="88" y="62"/>
                </a:cxn>
                <a:cxn ang="0">
                  <a:pos x="98" y="68"/>
                </a:cxn>
                <a:cxn ang="0">
                  <a:pos x="114" y="82"/>
                </a:cxn>
                <a:cxn ang="0">
                  <a:pos x="138" y="100"/>
                </a:cxn>
                <a:cxn ang="0">
                  <a:pos x="142" y="104"/>
                </a:cxn>
                <a:cxn ang="0">
                  <a:pos x="128" y="98"/>
                </a:cxn>
                <a:cxn ang="0">
                  <a:pos x="118" y="100"/>
                </a:cxn>
                <a:cxn ang="0">
                  <a:pos x="120" y="106"/>
                </a:cxn>
                <a:cxn ang="0">
                  <a:pos x="128" y="124"/>
                </a:cxn>
                <a:cxn ang="0">
                  <a:pos x="142" y="134"/>
                </a:cxn>
                <a:cxn ang="0">
                  <a:pos x="152" y="140"/>
                </a:cxn>
                <a:cxn ang="0">
                  <a:pos x="160" y="144"/>
                </a:cxn>
                <a:cxn ang="0">
                  <a:pos x="170" y="150"/>
                </a:cxn>
                <a:cxn ang="0">
                  <a:pos x="176" y="164"/>
                </a:cxn>
                <a:cxn ang="0">
                  <a:pos x="170" y="158"/>
                </a:cxn>
                <a:cxn ang="0">
                  <a:pos x="162" y="156"/>
                </a:cxn>
                <a:cxn ang="0">
                  <a:pos x="150" y="154"/>
                </a:cxn>
                <a:cxn ang="0">
                  <a:pos x="156" y="178"/>
                </a:cxn>
                <a:cxn ang="0">
                  <a:pos x="150" y="174"/>
                </a:cxn>
                <a:cxn ang="0">
                  <a:pos x="138" y="162"/>
                </a:cxn>
                <a:cxn ang="0">
                  <a:pos x="140" y="154"/>
                </a:cxn>
                <a:cxn ang="0">
                  <a:pos x="136" y="146"/>
                </a:cxn>
                <a:cxn ang="0">
                  <a:pos x="126" y="134"/>
                </a:cxn>
                <a:cxn ang="0">
                  <a:pos x="116" y="120"/>
                </a:cxn>
                <a:cxn ang="0">
                  <a:pos x="104" y="112"/>
                </a:cxn>
                <a:cxn ang="0">
                  <a:pos x="96" y="96"/>
                </a:cxn>
                <a:cxn ang="0">
                  <a:pos x="68" y="68"/>
                </a:cxn>
                <a:cxn ang="0">
                  <a:pos x="54" y="58"/>
                </a:cxn>
                <a:cxn ang="0">
                  <a:pos x="44" y="46"/>
                </a:cxn>
                <a:cxn ang="0">
                  <a:pos x="24" y="38"/>
                </a:cxn>
                <a:cxn ang="0">
                  <a:pos x="14" y="26"/>
                </a:cxn>
                <a:cxn ang="0">
                  <a:pos x="10" y="18"/>
                </a:cxn>
                <a:cxn ang="0">
                  <a:pos x="16" y="18"/>
                </a:cxn>
                <a:cxn ang="0">
                  <a:pos x="18" y="18"/>
                </a:cxn>
              </a:cxnLst>
              <a:rect l="0" t="0" r="r" b="b"/>
              <a:pathLst>
                <a:path w="176" h="178">
                  <a:moveTo>
                    <a:pt x="18" y="18"/>
                  </a:moveTo>
                  <a:lnTo>
                    <a:pt x="18" y="18"/>
                  </a:lnTo>
                  <a:lnTo>
                    <a:pt x="16" y="14"/>
                  </a:lnTo>
                  <a:lnTo>
                    <a:pt x="14" y="12"/>
                  </a:lnTo>
                  <a:lnTo>
                    <a:pt x="6" y="6"/>
                  </a:lnTo>
                  <a:lnTo>
                    <a:pt x="0" y="2"/>
                  </a:lnTo>
                  <a:lnTo>
                    <a:pt x="0" y="0"/>
                  </a:lnTo>
                  <a:lnTo>
                    <a:pt x="0" y="0"/>
                  </a:lnTo>
                  <a:lnTo>
                    <a:pt x="10" y="0"/>
                  </a:lnTo>
                  <a:lnTo>
                    <a:pt x="14" y="0"/>
                  </a:lnTo>
                  <a:lnTo>
                    <a:pt x="20" y="4"/>
                  </a:lnTo>
                  <a:lnTo>
                    <a:pt x="20" y="4"/>
                  </a:lnTo>
                  <a:lnTo>
                    <a:pt x="22" y="10"/>
                  </a:lnTo>
                  <a:lnTo>
                    <a:pt x="24" y="12"/>
                  </a:lnTo>
                  <a:lnTo>
                    <a:pt x="26" y="12"/>
                  </a:lnTo>
                  <a:lnTo>
                    <a:pt x="26" y="12"/>
                  </a:lnTo>
                  <a:lnTo>
                    <a:pt x="32" y="14"/>
                  </a:lnTo>
                  <a:lnTo>
                    <a:pt x="40" y="18"/>
                  </a:lnTo>
                  <a:lnTo>
                    <a:pt x="40" y="18"/>
                  </a:lnTo>
                  <a:lnTo>
                    <a:pt x="42" y="20"/>
                  </a:lnTo>
                  <a:lnTo>
                    <a:pt x="40" y="20"/>
                  </a:lnTo>
                  <a:lnTo>
                    <a:pt x="38" y="22"/>
                  </a:lnTo>
                  <a:lnTo>
                    <a:pt x="42" y="24"/>
                  </a:lnTo>
                  <a:lnTo>
                    <a:pt x="42" y="24"/>
                  </a:lnTo>
                  <a:lnTo>
                    <a:pt x="50" y="28"/>
                  </a:lnTo>
                  <a:lnTo>
                    <a:pt x="52" y="34"/>
                  </a:lnTo>
                  <a:lnTo>
                    <a:pt x="52" y="34"/>
                  </a:lnTo>
                  <a:lnTo>
                    <a:pt x="56" y="38"/>
                  </a:lnTo>
                  <a:lnTo>
                    <a:pt x="66" y="46"/>
                  </a:lnTo>
                  <a:lnTo>
                    <a:pt x="66" y="46"/>
                  </a:lnTo>
                  <a:lnTo>
                    <a:pt x="80" y="54"/>
                  </a:lnTo>
                  <a:lnTo>
                    <a:pt x="84" y="58"/>
                  </a:lnTo>
                  <a:lnTo>
                    <a:pt x="88" y="62"/>
                  </a:lnTo>
                  <a:lnTo>
                    <a:pt x="88" y="62"/>
                  </a:lnTo>
                  <a:lnTo>
                    <a:pt x="92" y="66"/>
                  </a:lnTo>
                  <a:lnTo>
                    <a:pt x="98" y="68"/>
                  </a:lnTo>
                  <a:lnTo>
                    <a:pt x="104" y="74"/>
                  </a:lnTo>
                  <a:lnTo>
                    <a:pt x="114" y="82"/>
                  </a:lnTo>
                  <a:lnTo>
                    <a:pt x="114" y="82"/>
                  </a:lnTo>
                  <a:lnTo>
                    <a:pt x="122" y="90"/>
                  </a:lnTo>
                  <a:lnTo>
                    <a:pt x="132" y="96"/>
                  </a:lnTo>
                  <a:lnTo>
                    <a:pt x="138" y="100"/>
                  </a:lnTo>
                  <a:lnTo>
                    <a:pt x="142" y="102"/>
                  </a:lnTo>
                  <a:lnTo>
                    <a:pt x="142" y="102"/>
                  </a:lnTo>
                  <a:lnTo>
                    <a:pt x="142" y="104"/>
                  </a:lnTo>
                  <a:lnTo>
                    <a:pt x="142" y="104"/>
                  </a:lnTo>
                  <a:lnTo>
                    <a:pt x="138" y="102"/>
                  </a:lnTo>
                  <a:lnTo>
                    <a:pt x="128" y="98"/>
                  </a:lnTo>
                  <a:lnTo>
                    <a:pt x="128" y="98"/>
                  </a:lnTo>
                  <a:lnTo>
                    <a:pt x="118" y="98"/>
                  </a:lnTo>
                  <a:lnTo>
                    <a:pt x="118" y="100"/>
                  </a:lnTo>
                  <a:lnTo>
                    <a:pt x="116" y="100"/>
                  </a:lnTo>
                  <a:lnTo>
                    <a:pt x="120" y="106"/>
                  </a:lnTo>
                  <a:lnTo>
                    <a:pt x="120" y="106"/>
                  </a:lnTo>
                  <a:lnTo>
                    <a:pt x="124" y="110"/>
                  </a:lnTo>
                  <a:lnTo>
                    <a:pt x="126" y="116"/>
                  </a:lnTo>
                  <a:lnTo>
                    <a:pt x="128" y="124"/>
                  </a:lnTo>
                  <a:lnTo>
                    <a:pt x="138" y="132"/>
                  </a:lnTo>
                  <a:lnTo>
                    <a:pt x="138" y="132"/>
                  </a:lnTo>
                  <a:lnTo>
                    <a:pt x="142" y="134"/>
                  </a:lnTo>
                  <a:lnTo>
                    <a:pt x="144" y="136"/>
                  </a:lnTo>
                  <a:lnTo>
                    <a:pt x="148" y="138"/>
                  </a:lnTo>
                  <a:lnTo>
                    <a:pt x="152" y="140"/>
                  </a:lnTo>
                  <a:lnTo>
                    <a:pt x="152" y="140"/>
                  </a:lnTo>
                  <a:lnTo>
                    <a:pt x="156" y="144"/>
                  </a:lnTo>
                  <a:lnTo>
                    <a:pt x="160" y="144"/>
                  </a:lnTo>
                  <a:lnTo>
                    <a:pt x="164" y="146"/>
                  </a:lnTo>
                  <a:lnTo>
                    <a:pt x="170" y="150"/>
                  </a:lnTo>
                  <a:lnTo>
                    <a:pt x="170" y="150"/>
                  </a:lnTo>
                  <a:lnTo>
                    <a:pt x="174" y="156"/>
                  </a:lnTo>
                  <a:lnTo>
                    <a:pt x="176" y="162"/>
                  </a:lnTo>
                  <a:lnTo>
                    <a:pt x="176" y="164"/>
                  </a:lnTo>
                  <a:lnTo>
                    <a:pt x="174" y="164"/>
                  </a:lnTo>
                  <a:lnTo>
                    <a:pt x="174" y="164"/>
                  </a:lnTo>
                  <a:lnTo>
                    <a:pt x="170" y="158"/>
                  </a:lnTo>
                  <a:lnTo>
                    <a:pt x="166" y="156"/>
                  </a:lnTo>
                  <a:lnTo>
                    <a:pt x="162" y="156"/>
                  </a:lnTo>
                  <a:lnTo>
                    <a:pt x="162" y="156"/>
                  </a:lnTo>
                  <a:lnTo>
                    <a:pt x="156" y="156"/>
                  </a:lnTo>
                  <a:lnTo>
                    <a:pt x="152" y="154"/>
                  </a:lnTo>
                  <a:lnTo>
                    <a:pt x="150" y="154"/>
                  </a:lnTo>
                  <a:lnTo>
                    <a:pt x="152" y="156"/>
                  </a:lnTo>
                  <a:lnTo>
                    <a:pt x="152" y="156"/>
                  </a:lnTo>
                  <a:lnTo>
                    <a:pt x="156" y="178"/>
                  </a:lnTo>
                  <a:lnTo>
                    <a:pt x="156" y="178"/>
                  </a:lnTo>
                  <a:lnTo>
                    <a:pt x="154" y="178"/>
                  </a:lnTo>
                  <a:lnTo>
                    <a:pt x="150" y="174"/>
                  </a:lnTo>
                  <a:lnTo>
                    <a:pt x="150" y="174"/>
                  </a:lnTo>
                  <a:lnTo>
                    <a:pt x="140" y="166"/>
                  </a:lnTo>
                  <a:lnTo>
                    <a:pt x="138" y="162"/>
                  </a:lnTo>
                  <a:lnTo>
                    <a:pt x="138" y="160"/>
                  </a:lnTo>
                  <a:lnTo>
                    <a:pt x="140" y="156"/>
                  </a:lnTo>
                  <a:lnTo>
                    <a:pt x="140" y="154"/>
                  </a:lnTo>
                  <a:lnTo>
                    <a:pt x="140" y="150"/>
                  </a:lnTo>
                  <a:lnTo>
                    <a:pt x="140" y="150"/>
                  </a:lnTo>
                  <a:lnTo>
                    <a:pt x="136" y="146"/>
                  </a:lnTo>
                  <a:lnTo>
                    <a:pt x="132" y="142"/>
                  </a:lnTo>
                  <a:lnTo>
                    <a:pt x="128" y="140"/>
                  </a:lnTo>
                  <a:lnTo>
                    <a:pt x="126" y="134"/>
                  </a:lnTo>
                  <a:lnTo>
                    <a:pt x="126" y="134"/>
                  </a:lnTo>
                  <a:lnTo>
                    <a:pt x="120" y="122"/>
                  </a:lnTo>
                  <a:lnTo>
                    <a:pt x="116" y="120"/>
                  </a:lnTo>
                  <a:lnTo>
                    <a:pt x="112" y="116"/>
                  </a:lnTo>
                  <a:lnTo>
                    <a:pt x="112" y="116"/>
                  </a:lnTo>
                  <a:lnTo>
                    <a:pt x="104" y="112"/>
                  </a:lnTo>
                  <a:lnTo>
                    <a:pt x="100" y="108"/>
                  </a:lnTo>
                  <a:lnTo>
                    <a:pt x="96" y="96"/>
                  </a:lnTo>
                  <a:lnTo>
                    <a:pt x="96" y="96"/>
                  </a:lnTo>
                  <a:lnTo>
                    <a:pt x="88" y="86"/>
                  </a:lnTo>
                  <a:lnTo>
                    <a:pt x="80" y="76"/>
                  </a:lnTo>
                  <a:lnTo>
                    <a:pt x="68" y="68"/>
                  </a:lnTo>
                  <a:lnTo>
                    <a:pt x="58" y="62"/>
                  </a:lnTo>
                  <a:lnTo>
                    <a:pt x="58" y="62"/>
                  </a:lnTo>
                  <a:lnTo>
                    <a:pt x="54" y="58"/>
                  </a:lnTo>
                  <a:lnTo>
                    <a:pt x="54" y="54"/>
                  </a:lnTo>
                  <a:lnTo>
                    <a:pt x="52" y="52"/>
                  </a:lnTo>
                  <a:lnTo>
                    <a:pt x="44" y="46"/>
                  </a:lnTo>
                  <a:lnTo>
                    <a:pt x="44" y="46"/>
                  </a:lnTo>
                  <a:lnTo>
                    <a:pt x="28" y="40"/>
                  </a:lnTo>
                  <a:lnTo>
                    <a:pt x="24" y="38"/>
                  </a:lnTo>
                  <a:lnTo>
                    <a:pt x="22" y="34"/>
                  </a:lnTo>
                  <a:lnTo>
                    <a:pt x="22" y="34"/>
                  </a:lnTo>
                  <a:lnTo>
                    <a:pt x="14" y="26"/>
                  </a:lnTo>
                  <a:lnTo>
                    <a:pt x="10" y="20"/>
                  </a:lnTo>
                  <a:lnTo>
                    <a:pt x="10" y="20"/>
                  </a:lnTo>
                  <a:lnTo>
                    <a:pt x="10" y="18"/>
                  </a:lnTo>
                  <a:lnTo>
                    <a:pt x="10" y="18"/>
                  </a:lnTo>
                  <a:lnTo>
                    <a:pt x="12" y="16"/>
                  </a:lnTo>
                  <a:lnTo>
                    <a:pt x="16" y="18"/>
                  </a:lnTo>
                  <a:lnTo>
                    <a:pt x="18" y="18"/>
                  </a:lnTo>
                  <a:lnTo>
                    <a:pt x="18" y="18"/>
                  </a:lnTo>
                  <a:lnTo>
                    <a:pt x="18" y="18"/>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Canada"/>
            <p:cNvSpPr>
              <a:spLocks/>
            </p:cNvSpPr>
            <p:nvPr/>
          </p:nvSpPr>
          <p:spPr bwMode="auto">
            <a:xfrm>
              <a:off x="2395767" y="1541198"/>
              <a:ext cx="505354" cy="211667"/>
            </a:xfrm>
            <a:custGeom>
              <a:avLst/>
              <a:gdLst/>
              <a:ahLst/>
              <a:cxnLst>
                <a:cxn ang="0">
                  <a:pos x="88" y="136"/>
                </a:cxn>
                <a:cxn ang="0">
                  <a:pos x="102" y="130"/>
                </a:cxn>
                <a:cxn ang="0">
                  <a:pos x="128" y="132"/>
                </a:cxn>
                <a:cxn ang="0">
                  <a:pos x="134" y="130"/>
                </a:cxn>
                <a:cxn ang="0">
                  <a:pos x="172" y="144"/>
                </a:cxn>
                <a:cxn ang="0">
                  <a:pos x="198" y="154"/>
                </a:cxn>
                <a:cxn ang="0">
                  <a:pos x="224" y="158"/>
                </a:cxn>
                <a:cxn ang="0">
                  <a:pos x="256" y="154"/>
                </a:cxn>
                <a:cxn ang="0">
                  <a:pos x="240" y="142"/>
                </a:cxn>
                <a:cxn ang="0">
                  <a:pos x="254" y="134"/>
                </a:cxn>
                <a:cxn ang="0">
                  <a:pos x="280" y="136"/>
                </a:cxn>
                <a:cxn ang="0">
                  <a:pos x="274" y="120"/>
                </a:cxn>
                <a:cxn ang="0">
                  <a:pos x="254" y="108"/>
                </a:cxn>
                <a:cxn ang="0">
                  <a:pos x="260" y="94"/>
                </a:cxn>
                <a:cxn ang="0">
                  <a:pos x="282" y="102"/>
                </a:cxn>
                <a:cxn ang="0">
                  <a:pos x="294" y="104"/>
                </a:cxn>
                <a:cxn ang="0">
                  <a:pos x="308" y="116"/>
                </a:cxn>
                <a:cxn ang="0">
                  <a:pos x="318" y="106"/>
                </a:cxn>
                <a:cxn ang="0">
                  <a:pos x="332" y="102"/>
                </a:cxn>
                <a:cxn ang="0">
                  <a:pos x="344" y="92"/>
                </a:cxn>
                <a:cxn ang="0">
                  <a:pos x="374" y="88"/>
                </a:cxn>
                <a:cxn ang="0">
                  <a:pos x="372" y="74"/>
                </a:cxn>
                <a:cxn ang="0">
                  <a:pos x="348" y="74"/>
                </a:cxn>
                <a:cxn ang="0">
                  <a:pos x="334" y="66"/>
                </a:cxn>
                <a:cxn ang="0">
                  <a:pos x="326" y="60"/>
                </a:cxn>
                <a:cxn ang="0">
                  <a:pos x="310" y="54"/>
                </a:cxn>
                <a:cxn ang="0">
                  <a:pos x="306" y="38"/>
                </a:cxn>
                <a:cxn ang="0">
                  <a:pos x="294" y="32"/>
                </a:cxn>
                <a:cxn ang="0">
                  <a:pos x="278" y="24"/>
                </a:cxn>
                <a:cxn ang="0">
                  <a:pos x="238" y="12"/>
                </a:cxn>
                <a:cxn ang="0">
                  <a:pos x="210" y="24"/>
                </a:cxn>
                <a:cxn ang="0">
                  <a:pos x="196" y="12"/>
                </a:cxn>
                <a:cxn ang="0">
                  <a:pos x="166" y="24"/>
                </a:cxn>
                <a:cxn ang="0">
                  <a:pos x="168" y="6"/>
                </a:cxn>
                <a:cxn ang="0">
                  <a:pos x="110" y="6"/>
                </a:cxn>
                <a:cxn ang="0">
                  <a:pos x="80" y="20"/>
                </a:cxn>
                <a:cxn ang="0">
                  <a:pos x="62" y="32"/>
                </a:cxn>
                <a:cxn ang="0">
                  <a:pos x="86" y="4"/>
                </a:cxn>
                <a:cxn ang="0">
                  <a:pos x="20" y="18"/>
                </a:cxn>
                <a:cxn ang="0">
                  <a:pos x="2" y="32"/>
                </a:cxn>
                <a:cxn ang="0">
                  <a:pos x="50" y="40"/>
                </a:cxn>
                <a:cxn ang="0">
                  <a:pos x="82" y="40"/>
                </a:cxn>
                <a:cxn ang="0">
                  <a:pos x="96" y="48"/>
                </a:cxn>
                <a:cxn ang="0">
                  <a:pos x="116" y="50"/>
                </a:cxn>
                <a:cxn ang="0">
                  <a:pos x="124" y="44"/>
                </a:cxn>
                <a:cxn ang="0">
                  <a:pos x="148" y="38"/>
                </a:cxn>
                <a:cxn ang="0">
                  <a:pos x="168" y="46"/>
                </a:cxn>
                <a:cxn ang="0">
                  <a:pos x="178" y="56"/>
                </a:cxn>
                <a:cxn ang="0">
                  <a:pos x="198" y="58"/>
                </a:cxn>
                <a:cxn ang="0">
                  <a:pos x="212" y="76"/>
                </a:cxn>
                <a:cxn ang="0">
                  <a:pos x="202" y="92"/>
                </a:cxn>
                <a:cxn ang="0">
                  <a:pos x="230" y="94"/>
                </a:cxn>
                <a:cxn ang="0">
                  <a:pos x="192" y="108"/>
                </a:cxn>
                <a:cxn ang="0">
                  <a:pos x="172" y="90"/>
                </a:cxn>
                <a:cxn ang="0">
                  <a:pos x="172" y="106"/>
                </a:cxn>
                <a:cxn ang="0">
                  <a:pos x="140" y="108"/>
                </a:cxn>
                <a:cxn ang="0">
                  <a:pos x="110" y="108"/>
                </a:cxn>
                <a:cxn ang="0">
                  <a:pos x="84" y="114"/>
                </a:cxn>
              </a:cxnLst>
              <a:rect l="0" t="0" r="r" b="b"/>
              <a:pathLst>
                <a:path w="382" h="160">
                  <a:moveTo>
                    <a:pt x="78" y="124"/>
                  </a:moveTo>
                  <a:lnTo>
                    <a:pt x="78" y="124"/>
                  </a:lnTo>
                  <a:lnTo>
                    <a:pt x="78" y="128"/>
                  </a:lnTo>
                  <a:lnTo>
                    <a:pt x="78" y="128"/>
                  </a:lnTo>
                  <a:lnTo>
                    <a:pt x="80" y="130"/>
                  </a:lnTo>
                  <a:lnTo>
                    <a:pt x="80" y="132"/>
                  </a:lnTo>
                  <a:lnTo>
                    <a:pt x="80" y="132"/>
                  </a:lnTo>
                  <a:lnTo>
                    <a:pt x="78" y="134"/>
                  </a:lnTo>
                  <a:lnTo>
                    <a:pt x="80" y="134"/>
                  </a:lnTo>
                  <a:lnTo>
                    <a:pt x="88" y="136"/>
                  </a:lnTo>
                  <a:lnTo>
                    <a:pt x="88" y="136"/>
                  </a:lnTo>
                  <a:lnTo>
                    <a:pt x="94" y="136"/>
                  </a:lnTo>
                  <a:lnTo>
                    <a:pt x="98" y="136"/>
                  </a:lnTo>
                  <a:lnTo>
                    <a:pt x="96" y="134"/>
                  </a:lnTo>
                  <a:lnTo>
                    <a:pt x="96" y="134"/>
                  </a:lnTo>
                  <a:lnTo>
                    <a:pt x="96" y="132"/>
                  </a:lnTo>
                  <a:lnTo>
                    <a:pt x="100" y="132"/>
                  </a:lnTo>
                  <a:lnTo>
                    <a:pt x="102" y="132"/>
                  </a:lnTo>
                  <a:lnTo>
                    <a:pt x="102" y="132"/>
                  </a:lnTo>
                  <a:lnTo>
                    <a:pt x="102" y="132"/>
                  </a:lnTo>
                  <a:lnTo>
                    <a:pt x="100" y="130"/>
                  </a:lnTo>
                  <a:lnTo>
                    <a:pt x="102" y="130"/>
                  </a:lnTo>
                  <a:lnTo>
                    <a:pt x="106" y="132"/>
                  </a:lnTo>
                  <a:lnTo>
                    <a:pt x="110" y="132"/>
                  </a:lnTo>
                  <a:lnTo>
                    <a:pt x="110" y="130"/>
                  </a:lnTo>
                  <a:lnTo>
                    <a:pt x="110" y="130"/>
                  </a:lnTo>
                  <a:lnTo>
                    <a:pt x="110" y="130"/>
                  </a:lnTo>
                  <a:lnTo>
                    <a:pt x="108" y="128"/>
                  </a:lnTo>
                  <a:lnTo>
                    <a:pt x="110" y="128"/>
                  </a:lnTo>
                  <a:lnTo>
                    <a:pt x="118" y="132"/>
                  </a:lnTo>
                  <a:lnTo>
                    <a:pt x="126" y="134"/>
                  </a:lnTo>
                  <a:lnTo>
                    <a:pt x="128" y="134"/>
                  </a:lnTo>
                  <a:lnTo>
                    <a:pt x="128" y="132"/>
                  </a:lnTo>
                  <a:lnTo>
                    <a:pt x="128" y="132"/>
                  </a:lnTo>
                  <a:lnTo>
                    <a:pt x="122" y="124"/>
                  </a:lnTo>
                  <a:lnTo>
                    <a:pt x="120" y="122"/>
                  </a:lnTo>
                  <a:lnTo>
                    <a:pt x="122" y="122"/>
                  </a:lnTo>
                  <a:lnTo>
                    <a:pt x="122" y="122"/>
                  </a:lnTo>
                  <a:lnTo>
                    <a:pt x="128" y="128"/>
                  </a:lnTo>
                  <a:lnTo>
                    <a:pt x="132" y="128"/>
                  </a:lnTo>
                  <a:lnTo>
                    <a:pt x="136" y="128"/>
                  </a:lnTo>
                  <a:lnTo>
                    <a:pt x="136" y="128"/>
                  </a:lnTo>
                  <a:lnTo>
                    <a:pt x="138" y="128"/>
                  </a:lnTo>
                  <a:lnTo>
                    <a:pt x="134" y="130"/>
                  </a:lnTo>
                  <a:lnTo>
                    <a:pt x="132" y="134"/>
                  </a:lnTo>
                  <a:lnTo>
                    <a:pt x="132" y="134"/>
                  </a:lnTo>
                  <a:lnTo>
                    <a:pt x="136" y="136"/>
                  </a:lnTo>
                  <a:lnTo>
                    <a:pt x="136" y="136"/>
                  </a:lnTo>
                  <a:lnTo>
                    <a:pt x="148" y="138"/>
                  </a:lnTo>
                  <a:lnTo>
                    <a:pt x="154" y="140"/>
                  </a:lnTo>
                  <a:lnTo>
                    <a:pt x="158" y="142"/>
                  </a:lnTo>
                  <a:lnTo>
                    <a:pt x="158" y="142"/>
                  </a:lnTo>
                  <a:lnTo>
                    <a:pt x="166" y="146"/>
                  </a:lnTo>
                  <a:lnTo>
                    <a:pt x="168" y="146"/>
                  </a:lnTo>
                  <a:lnTo>
                    <a:pt x="172" y="144"/>
                  </a:lnTo>
                  <a:lnTo>
                    <a:pt x="172" y="144"/>
                  </a:lnTo>
                  <a:lnTo>
                    <a:pt x="172" y="144"/>
                  </a:lnTo>
                  <a:lnTo>
                    <a:pt x="172" y="146"/>
                  </a:lnTo>
                  <a:lnTo>
                    <a:pt x="174" y="150"/>
                  </a:lnTo>
                  <a:lnTo>
                    <a:pt x="178" y="152"/>
                  </a:lnTo>
                  <a:lnTo>
                    <a:pt x="178" y="152"/>
                  </a:lnTo>
                  <a:lnTo>
                    <a:pt x="184" y="152"/>
                  </a:lnTo>
                  <a:lnTo>
                    <a:pt x="190" y="154"/>
                  </a:lnTo>
                  <a:lnTo>
                    <a:pt x="196" y="156"/>
                  </a:lnTo>
                  <a:lnTo>
                    <a:pt x="198" y="154"/>
                  </a:lnTo>
                  <a:lnTo>
                    <a:pt x="198" y="154"/>
                  </a:lnTo>
                  <a:lnTo>
                    <a:pt x="200" y="148"/>
                  </a:lnTo>
                  <a:lnTo>
                    <a:pt x="200" y="148"/>
                  </a:lnTo>
                  <a:lnTo>
                    <a:pt x="202" y="150"/>
                  </a:lnTo>
                  <a:lnTo>
                    <a:pt x="204" y="152"/>
                  </a:lnTo>
                  <a:lnTo>
                    <a:pt x="204" y="152"/>
                  </a:lnTo>
                  <a:lnTo>
                    <a:pt x="210" y="150"/>
                  </a:lnTo>
                  <a:lnTo>
                    <a:pt x="212" y="150"/>
                  </a:lnTo>
                  <a:lnTo>
                    <a:pt x="212" y="152"/>
                  </a:lnTo>
                  <a:lnTo>
                    <a:pt x="212" y="152"/>
                  </a:lnTo>
                  <a:lnTo>
                    <a:pt x="218" y="154"/>
                  </a:lnTo>
                  <a:lnTo>
                    <a:pt x="224" y="158"/>
                  </a:lnTo>
                  <a:lnTo>
                    <a:pt x="234" y="160"/>
                  </a:lnTo>
                  <a:lnTo>
                    <a:pt x="240" y="158"/>
                  </a:lnTo>
                  <a:lnTo>
                    <a:pt x="240" y="158"/>
                  </a:lnTo>
                  <a:lnTo>
                    <a:pt x="244" y="158"/>
                  </a:lnTo>
                  <a:lnTo>
                    <a:pt x="248" y="158"/>
                  </a:lnTo>
                  <a:lnTo>
                    <a:pt x="252" y="160"/>
                  </a:lnTo>
                  <a:lnTo>
                    <a:pt x="258" y="160"/>
                  </a:lnTo>
                  <a:lnTo>
                    <a:pt x="258" y="160"/>
                  </a:lnTo>
                  <a:lnTo>
                    <a:pt x="258" y="158"/>
                  </a:lnTo>
                  <a:lnTo>
                    <a:pt x="258" y="156"/>
                  </a:lnTo>
                  <a:lnTo>
                    <a:pt x="256" y="154"/>
                  </a:lnTo>
                  <a:lnTo>
                    <a:pt x="256" y="152"/>
                  </a:lnTo>
                  <a:lnTo>
                    <a:pt x="256" y="152"/>
                  </a:lnTo>
                  <a:lnTo>
                    <a:pt x="258" y="152"/>
                  </a:lnTo>
                  <a:lnTo>
                    <a:pt x="260" y="150"/>
                  </a:lnTo>
                  <a:lnTo>
                    <a:pt x="252" y="148"/>
                  </a:lnTo>
                  <a:lnTo>
                    <a:pt x="252" y="148"/>
                  </a:lnTo>
                  <a:lnTo>
                    <a:pt x="248" y="148"/>
                  </a:lnTo>
                  <a:lnTo>
                    <a:pt x="246" y="146"/>
                  </a:lnTo>
                  <a:lnTo>
                    <a:pt x="246" y="142"/>
                  </a:lnTo>
                  <a:lnTo>
                    <a:pt x="240" y="142"/>
                  </a:lnTo>
                  <a:lnTo>
                    <a:pt x="240" y="142"/>
                  </a:lnTo>
                  <a:lnTo>
                    <a:pt x="238" y="140"/>
                  </a:lnTo>
                  <a:lnTo>
                    <a:pt x="238" y="138"/>
                  </a:lnTo>
                  <a:lnTo>
                    <a:pt x="234" y="136"/>
                  </a:lnTo>
                  <a:lnTo>
                    <a:pt x="226" y="132"/>
                  </a:lnTo>
                  <a:lnTo>
                    <a:pt x="226" y="132"/>
                  </a:lnTo>
                  <a:lnTo>
                    <a:pt x="244" y="136"/>
                  </a:lnTo>
                  <a:lnTo>
                    <a:pt x="248" y="136"/>
                  </a:lnTo>
                  <a:lnTo>
                    <a:pt x="252" y="134"/>
                  </a:lnTo>
                  <a:lnTo>
                    <a:pt x="252" y="134"/>
                  </a:lnTo>
                  <a:lnTo>
                    <a:pt x="252" y="134"/>
                  </a:lnTo>
                  <a:lnTo>
                    <a:pt x="254" y="134"/>
                  </a:lnTo>
                  <a:lnTo>
                    <a:pt x="258" y="136"/>
                  </a:lnTo>
                  <a:lnTo>
                    <a:pt x="262" y="140"/>
                  </a:lnTo>
                  <a:lnTo>
                    <a:pt x="264" y="140"/>
                  </a:lnTo>
                  <a:lnTo>
                    <a:pt x="264" y="138"/>
                  </a:lnTo>
                  <a:lnTo>
                    <a:pt x="264" y="138"/>
                  </a:lnTo>
                  <a:lnTo>
                    <a:pt x="268" y="138"/>
                  </a:lnTo>
                  <a:lnTo>
                    <a:pt x="270" y="138"/>
                  </a:lnTo>
                  <a:lnTo>
                    <a:pt x="274" y="140"/>
                  </a:lnTo>
                  <a:lnTo>
                    <a:pt x="276" y="138"/>
                  </a:lnTo>
                  <a:lnTo>
                    <a:pt x="276" y="138"/>
                  </a:lnTo>
                  <a:lnTo>
                    <a:pt x="280" y="136"/>
                  </a:lnTo>
                  <a:lnTo>
                    <a:pt x="276" y="134"/>
                  </a:lnTo>
                  <a:lnTo>
                    <a:pt x="276" y="134"/>
                  </a:lnTo>
                  <a:lnTo>
                    <a:pt x="276" y="132"/>
                  </a:lnTo>
                  <a:lnTo>
                    <a:pt x="278" y="130"/>
                  </a:lnTo>
                  <a:lnTo>
                    <a:pt x="278" y="128"/>
                  </a:lnTo>
                  <a:lnTo>
                    <a:pt x="276" y="126"/>
                  </a:lnTo>
                  <a:lnTo>
                    <a:pt x="276" y="126"/>
                  </a:lnTo>
                  <a:lnTo>
                    <a:pt x="274" y="124"/>
                  </a:lnTo>
                  <a:lnTo>
                    <a:pt x="276" y="122"/>
                  </a:lnTo>
                  <a:lnTo>
                    <a:pt x="278" y="122"/>
                  </a:lnTo>
                  <a:lnTo>
                    <a:pt x="274" y="120"/>
                  </a:lnTo>
                  <a:lnTo>
                    <a:pt x="274" y="120"/>
                  </a:lnTo>
                  <a:lnTo>
                    <a:pt x="268" y="118"/>
                  </a:lnTo>
                  <a:lnTo>
                    <a:pt x="266" y="114"/>
                  </a:lnTo>
                  <a:lnTo>
                    <a:pt x="264" y="112"/>
                  </a:lnTo>
                  <a:lnTo>
                    <a:pt x="260" y="112"/>
                  </a:lnTo>
                  <a:lnTo>
                    <a:pt x="260" y="112"/>
                  </a:lnTo>
                  <a:lnTo>
                    <a:pt x="254" y="112"/>
                  </a:lnTo>
                  <a:lnTo>
                    <a:pt x="252" y="112"/>
                  </a:lnTo>
                  <a:lnTo>
                    <a:pt x="252" y="110"/>
                  </a:lnTo>
                  <a:lnTo>
                    <a:pt x="254" y="108"/>
                  </a:lnTo>
                  <a:lnTo>
                    <a:pt x="254" y="108"/>
                  </a:lnTo>
                  <a:lnTo>
                    <a:pt x="254" y="108"/>
                  </a:lnTo>
                  <a:lnTo>
                    <a:pt x="254" y="106"/>
                  </a:lnTo>
                  <a:lnTo>
                    <a:pt x="254" y="104"/>
                  </a:lnTo>
                  <a:lnTo>
                    <a:pt x="252" y="100"/>
                  </a:lnTo>
                  <a:lnTo>
                    <a:pt x="256" y="102"/>
                  </a:lnTo>
                  <a:lnTo>
                    <a:pt x="256" y="102"/>
                  </a:lnTo>
                  <a:lnTo>
                    <a:pt x="260" y="102"/>
                  </a:lnTo>
                  <a:lnTo>
                    <a:pt x="262" y="102"/>
                  </a:lnTo>
                  <a:lnTo>
                    <a:pt x="262" y="100"/>
                  </a:lnTo>
                  <a:lnTo>
                    <a:pt x="262" y="98"/>
                  </a:lnTo>
                  <a:lnTo>
                    <a:pt x="260" y="94"/>
                  </a:lnTo>
                  <a:lnTo>
                    <a:pt x="260" y="94"/>
                  </a:lnTo>
                  <a:lnTo>
                    <a:pt x="260" y="94"/>
                  </a:lnTo>
                  <a:lnTo>
                    <a:pt x="260" y="94"/>
                  </a:lnTo>
                  <a:lnTo>
                    <a:pt x="266" y="98"/>
                  </a:lnTo>
                  <a:lnTo>
                    <a:pt x="270" y="98"/>
                  </a:lnTo>
                  <a:lnTo>
                    <a:pt x="270" y="98"/>
                  </a:lnTo>
                  <a:lnTo>
                    <a:pt x="278" y="96"/>
                  </a:lnTo>
                  <a:lnTo>
                    <a:pt x="280" y="98"/>
                  </a:lnTo>
                  <a:lnTo>
                    <a:pt x="282" y="100"/>
                  </a:lnTo>
                  <a:lnTo>
                    <a:pt x="282" y="100"/>
                  </a:lnTo>
                  <a:lnTo>
                    <a:pt x="282" y="102"/>
                  </a:lnTo>
                  <a:lnTo>
                    <a:pt x="284" y="102"/>
                  </a:lnTo>
                  <a:lnTo>
                    <a:pt x="286" y="102"/>
                  </a:lnTo>
                  <a:lnTo>
                    <a:pt x="288" y="102"/>
                  </a:lnTo>
                  <a:lnTo>
                    <a:pt x="288" y="102"/>
                  </a:lnTo>
                  <a:lnTo>
                    <a:pt x="288" y="102"/>
                  </a:lnTo>
                  <a:lnTo>
                    <a:pt x="290" y="102"/>
                  </a:lnTo>
                  <a:lnTo>
                    <a:pt x="296" y="96"/>
                  </a:lnTo>
                  <a:lnTo>
                    <a:pt x="296" y="96"/>
                  </a:lnTo>
                  <a:lnTo>
                    <a:pt x="296" y="96"/>
                  </a:lnTo>
                  <a:lnTo>
                    <a:pt x="296" y="100"/>
                  </a:lnTo>
                  <a:lnTo>
                    <a:pt x="294" y="104"/>
                  </a:lnTo>
                  <a:lnTo>
                    <a:pt x="296" y="106"/>
                  </a:lnTo>
                  <a:lnTo>
                    <a:pt x="298" y="106"/>
                  </a:lnTo>
                  <a:lnTo>
                    <a:pt x="298" y="106"/>
                  </a:lnTo>
                  <a:lnTo>
                    <a:pt x="300" y="108"/>
                  </a:lnTo>
                  <a:lnTo>
                    <a:pt x="302" y="110"/>
                  </a:lnTo>
                  <a:lnTo>
                    <a:pt x="302" y="110"/>
                  </a:lnTo>
                  <a:lnTo>
                    <a:pt x="304" y="110"/>
                  </a:lnTo>
                  <a:lnTo>
                    <a:pt x="304" y="110"/>
                  </a:lnTo>
                  <a:lnTo>
                    <a:pt x="306" y="110"/>
                  </a:lnTo>
                  <a:lnTo>
                    <a:pt x="306" y="114"/>
                  </a:lnTo>
                  <a:lnTo>
                    <a:pt x="308" y="116"/>
                  </a:lnTo>
                  <a:lnTo>
                    <a:pt x="312" y="118"/>
                  </a:lnTo>
                  <a:lnTo>
                    <a:pt x="312" y="118"/>
                  </a:lnTo>
                  <a:lnTo>
                    <a:pt x="316" y="116"/>
                  </a:lnTo>
                  <a:lnTo>
                    <a:pt x="316" y="114"/>
                  </a:lnTo>
                  <a:lnTo>
                    <a:pt x="314" y="108"/>
                  </a:lnTo>
                  <a:lnTo>
                    <a:pt x="314" y="108"/>
                  </a:lnTo>
                  <a:lnTo>
                    <a:pt x="312" y="108"/>
                  </a:lnTo>
                  <a:lnTo>
                    <a:pt x="314" y="108"/>
                  </a:lnTo>
                  <a:lnTo>
                    <a:pt x="316" y="108"/>
                  </a:lnTo>
                  <a:lnTo>
                    <a:pt x="320" y="108"/>
                  </a:lnTo>
                  <a:lnTo>
                    <a:pt x="318" y="106"/>
                  </a:lnTo>
                  <a:lnTo>
                    <a:pt x="318" y="106"/>
                  </a:lnTo>
                  <a:lnTo>
                    <a:pt x="318" y="104"/>
                  </a:lnTo>
                  <a:lnTo>
                    <a:pt x="320" y="106"/>
                  </a:lnTo>
                  <a:lnTo>
                    <a:pt x="324" y="106"/>
                  </a:lnTo>
                  <a:lnTo>
                    <a:pt x="324" y="106"/>
                  </a:lnTo>
                  <a:lnTo>
                    <a:pt x="322" y="102"/>
                  </a:lnTo>
                  <a:lnTo>
                    <a:pt x="322" y="102"/>
                  </a:lnTo>
                  <a:lnTo>
                    <a:pt x="322" y="100"/>
                  </a:lnTo>
                  <a:lnTo>
                    <a:pt x="322" y="98"/>
                  </a:lnTo>
                  <a:lnTo>
                    <a:pt x="328" y="100"/>
                  </a:lnTo>
                  <a:lnTo>
                    <a:pt x="332" y="102"/>
                  </a:lnTo>
                  <a:lnTo>
                    <a:pt x="334" y="102"/>
                  </a:lnTo>
                  <a:lnTo>
                    <a:pt x="334" y="100"/>
                  </a:lnTo>
                  <a:lnTo>
                    <a:pt x="334" y="100"/>
                  </a:lnTo>
                  <a:lnTo>
                    <a:pt x="334" y="98"/>
                  </a:lnTo>
                  <a:lnTo>
                    <a:pt x="336" y="96"/>
                  </a:lnTo>
                  <a:lnTo>
                    <a:pt x="340" y="96"/>
                  </a:lnTo>
                  <a:lnTo>
                    <a:pt x="344" y="96"/>
                  </a:lnTo>
                  <a:lnTo>
                    <a:pt x="346" y="96"/>
                  </a:lnTo>
                  <a:lnTo>
                    <a:pt x="344" y="94"/>
                  </a:lnTo>
                  <a:lnTo>
                    <a:pt x="344" y="94"/>
                  </a:lnTo>
                  <a:lnTo>
                    <a:pt x="344" y="92"/>
                  </a:lnTo>
                  <a:lnTo>
                    <a:pt x="346" y="90"/>
                  </a:lnTo>
                  <a:lnTo>
                    <a:pt x="352" y="92"/>
                  </a:lnTo>
                  <a:lnTo>
                    <a:pt x="356" y="92"/>
                  </a:lnTo>
                  <a:lnTo>
                    <a:pt x="358" y="92"/>
                  </a:lnTo>
                  <a:lnTo>
                    <a:pt x="358" y="90"/>
                  </a:lnTo>
                  <a:lnTo>
                    <a:pt x="358" y="90"/>
                  </a:lnTo>
                  <a:lnTo>
                    <a:pt x="358" y="88"/>
                  </a:lnTo>
                  <a:lnTo>
                    <a:pt x="360" y="88"/>
                  </a:lnTo>
                  <a:lnTo>
                    <a:pt x="366" y="88"/>
                  </a:lnTo>
                  <a:lnTo>
                    <a:pt x="372" y="90"/>
                  </a:lnTo>
                  <a:lnTo>
                    <a:pt x="374" y="88"/>
                  </a:lnTo>
                  <a:lnTo>
                    <a:pt x="374" y="88"/>
                  </a:lnTo>
                  <a:lnTo>
                    <a:pt x="374" y="88"/>
                  </a:lnTo>
                  <a:lnTo>
                    <a:pt x="372" y="84"/>
                  </a:lnTo>
                  <a:lnTo>
                    <a:pt x="374" y="84"/>
                  </a:lnTo>
                  <a:lnTo>
                    <a:pt x="378" y="82"/>
                  </a:lnTo>
                  <a:lnTo>
                    <a:pt x="382" y="82"/>
                  </a:lnTo>
                  <a:lnTo>
                    <a:pt x="380" y="82"/>
                  </a:lnTo>
                  <a:lnTo>
                    <a:pt x="380" y="82"/>
                  </a:lnTo>
                  <a:lnTo>
                    <a:pt x="374" y="78"/>
                  </a:lnTo>
                  <a:lnTo>
                    <a:pt x="372" y="76"/>
                  </a:lnTo>
                  <a:lnTo>
                    <a:pt x="372" y="74"/>
                  </a:lnTo>
                  <a:lnTo>
                    <a:pt x="368" y="76"/>
                  </a:lnTo>
                  <a:lnTo>
                    <a:pt x="368" y="76"/>
                  </a:lnTo>
                  <a:lnTo>
                    <a:pt x="358" y="80"/>
                  </a:lnTo>
                  <a:lnTo>
                    <a:pt x="358" y="80"/>
                  </a:lnTo>
                  <a:lnTo>
                    <a:pt x="358" y="78"/>
                  </a:lnTo>
                  <a:lnTo>
                    <a:pt x="358" y="78"/>
                  </a:lnTo>
                  <a:lnTo>
                    <a:pt x="356" y="74"/>
                  </a:lnTo>
                  <a:lnTo>
                    <a:pt x="354" y="74"/>
                  </a:lnTo>
                  <a:lnTo>
                    <a:pt x="352" y="74"/>
                  </a:lnTo>
                  <a:lnTo>
                    <a:pt x="352" y="74"/>
                  </a:lnTo>
                  <a:lnTo>
                    <a:pt x="348" y="74"/>
                  </a:lnTo>
                  <a:lnTo>
                    <a:pt x="348" y="72"/>
                  </a:lnTo>
                  <a:lnTo>
                    <a:pt x="346" y="70"/>
                  </a:lnTo>
                  <a:lnTo>
                    <a:pt x="344" y="72"/>
                  </a:lnTo>
                  <a:lnTo>
                    <a:pt x="344" y="72"/>
                  </a:lnTo>
                  <a:lnTo>
                    <a:pt x="340" y="72"/>
                  </a:lnTo>
                  <a:lnTo>
                    <a:pt x="338" y="70"/>
                  </a:lnTo>
                  <a:lnTo>
                    <a:pt x="338" y="68"/>
                  </a:lnTo>
                  <a:lnTo>
                    <a:pt x="336" y="68"/>
                  </a:lnTo>
                  <a:lnTo>
                    <a:pt x="336" y="68"/>
                  </a:lnTo>
                  <a:lnTo>
                    <a:pt x="334" y="68"/>
                  </a:lnTo>
                  <a:lnTo>
                    <a:pt x="334" y="66"/>
                  </a:lnTo>
                  <a:lnTo>
                    <a:pt x="334" y="64"/>
                  </a:lnTo>
                  <a:lnTo>
                    <a:pt x="328" y="64"/>
                  </a:lnTo>
                  <a:lnTo>
                    <a:pt x="328" y="64"/>
                  </a:lnTo>
                  <a:lnTo>
                    <a:pt x="322" y="66"/>
                  </a:lnTo>
                  <a:lnTo>
                    <a:pt x="320" y="64"/>
                  </a:lnTo>
                  <a:lnTo>
                    <a:pt x="318" y="64"/>
                  </a:lnTo>
                  <a:lnTo>
                    <a:pt x="312" y="64"/>
                  </a:lnTo>
                  <a:lnTo>
                    <a:pt x="312" y="64"/>
                  </a:lnTo>
                  <a:lnTo>
                    <a:pt x="318" y="62"/>
                  </a:lnTo>
                  <a:lnTo>
                    <a:pt x="322" y="62"/>
                  </a:lnTo>
                  <a:lnTo>
                    <a:pt x="326" y="60"/>
                  </a:lnTo>
                  <a:lnTo>
                    <a:pt x="326" y="58"/>
                  </a:lnTo>
                  <a:lnTo>
                    <a:pt x="326" y="58"/>
                  </a:lnTo>
                  <a:lnTo>
                    <a:pt x="326" y="58"/>
                  </a:lnTo>
                  <a:lnTo>
                    <a:pt x="320" y="56"/>
                  </a:lnTo>
                  <a:lnTo>
                    <a:pt x="312" y="56"/>
                  </a:lnTo>
                  <a:lnTo>
                    <a:pt x="304" y="58"/>
                  </a:lnTo>
                  <a:lnTo>
                    <a:pt x="298" y="58"/>
                  </a:lnTo>
                  <a:lnTo>
                    <a:pt x="298" y="58"/>
                  </a:lnTo>
                  <a:lnTo>
                    <a:pt x="298" y="56"/>
                  </a:lnTo>
                  <a:lnTo>
                    <a:pt x="300" y="56"/>
                  </a:lnTo>
                  <a:lnTo>
                    <a:pt x="310" y="54"/>
                  </a:lnTo>
                  <a:lnTo>
                    <a:pt x="320" y="52"/>
                  </a:lnTo>
                  <a:lnTo>
                    <a:pt x="322" y="50"/>
                  </a:lnTo>
                  <a:lnTo>
                    <a:pt x="322" y="48"/>
                  </a:lnTo>
                  <a:lnTo>
                    <a:pt x="322" y="48"/>
                  </a:lnTo>
                  <a:lnTo>
                    <a:pt x="320" y="46"/>
                  </a:lnTo>
                  <a:lnTo>
                    <a:pt x="320" y="44"/>
                  </a:lnTo>
                  <a:lnTo>
                    <a:pt x="318" y="42"/>
                  </a:lnTo>
                  <a:lnTo>
                    <a:pt x="316" y="40"/>
                  </a:lnTo>
                  <a:lnTo>
                    <a:pt x="316" y="40"/>
                  </a:lnTo>
                  <a:lnTo>
                    <a:pt x="310" y="38"/>
                  </a:lnTo>
                  <a:lnTo>
                    <a:pt x="306" y="38"/>
                  </a:lnTo>
                  <a:lnTo>
                    <a:pt x="296" y="42"/>
                  </a:lnTo>
                  <a:lnTo>
                    <a:pt x="296" y="42"/>
                  </a:lnTo>
                  <a:lnTo>
                    <a:pt x="288" y="46"/>
                  </a:lnTo>
                  <a:lnTo>
                    <a:pt x="294" y="42"/>
                  </a:lnTo>
                  <a:lnTo>
                    <a:pt x="294" y="42"/>
                  </a:lnTo>
                  <a:lnTo>
                    <a:pt x="304" y="36"/>
                  </a:lnTo>
                  <a:lnTo>
                    <a:pt x="306" y="34"/>
                  </a:lnTo>
                  <a:lnTo>
                    <a:pt x="306" y="34"/>
                  </a:lnTo>
                  <a:lnTo>
                    <a:pt x="306" y="34"/>
                  </a:lnTo>
                  <a:lnTo>
                    <a:pt x="298" y="32"/>
                  </a:lnTo>
                  <a:lnTo>
                    <a:pt x="294" y="32"/>
                  </a:lnTo>
                  <a:lnTo>
                    <a:pt x="290" y="34"/>
                  </a:lnTo>
                  <a:lnTo>
                    <a:pt x="290" y="34"/>
                  </a:lnTo>
                  <a:lnTo>
                    <a:pt x="288" y="34"/>
                  </a:lnTo>
                  <a:lnTo>
                    <a:pt x="286" y="34"/>
                  </a:lnTo>
                  <a:lnTo>
                    <a:pt x="286" y="30"/>
                  </a:lnTo>
                  <a:lnTo>
                    <a:pt x="286" y="26"/>
                  </a:lnTo>
                  <a:lnTo>
                    <a:pt x="286" y="24"/>
                  </a:lnTo>
                  <a:lnTo>
                    <a:pt x="284" y="26"/>
                  </a:lnTo>
                  <a:lnTo>
                    <a:pt x="284" y="26"/>
                  </a:lnTo>
                  <a:lnTo>
                    <a:pt x="280" y="26"/>
                  </a:lnTo>
                  <a:lnTo>
                    <a:pt x="278" y="24"/>
                  </a:lnTo>
                  <a:lnTo>
                    <a:pt x="274" y="22"/>
                  </a:lnTo>
                  <a:lnTo>
                    <a:pt x="264" y="22"/>
                  </a:lnTo>
                  <a:lnTo>
                    <a:pt x="264" y="22"/>
                  </a:lnTo>
                  <a:lnTo>
                    <a:pt x="260" y="22"/>
                  </a:lnTo>
                  <a:lnTo>
                    <a:pt x="256" y="22"/>
                  </a:lnTo>
                  <a:lnTo>
                    <a:pt x="252" y="20"/>
                  </a:lnTo>
                  <a:lnTo>
                    <a:pt x="248" y="20"/>
                  </a:lnTo>
                  <a:lnTo>
                    <a:pt x="248" y="20"/>
                  </a:lnTo>
                  <a:lnTo>
                    <a:pt x="244" y="18"/>
                  </a:lnTo>
                  <a:lnTo>
                    <a:pt x="242" y="14"/>
                  </a:lnTo>
                  <a:lnTo>
                    <a:pt x="238" y="12"/>
                  </a:lnTo>
                  <a:lnTo>
                    <a:pt x="230" y="10"/>
                  </a:lnTo>
                  <a:lnTo>
                    <a:pt x="230" y="10"/>
                  </a:lnTo>
                  <a:lnTo>
                    <a:pt x="212" y="12"/>
                  </a:lnTo>
                  <a:lnTo>
                    <a:pt x="208" y="12"/>
                  </a:lnTo>
                  <a:lnTo>
                    <a:pt x="208" y="14"/>
                  </a:lnTo>
                  <a:lnTo>
                    <a:pt x="212" y="18"/>
                  </a:lnTo>
                  <a:lnTo>
                    <a:pt x="212" y="18"/>
                  </a:lnTo>
                  <a:lnTo>
                    <a:pt x="216" y="20"/>
                  </a:lnTo>
                  <a:lnTo>
                    <a:pt x="212" y="20"/>
                  </a:lnTo>
                  <a:lnTo>
                    <a:pt x="210" y="22"/>
                  </a:lnTo>
                  <a:lnTo>
                    <a:pt x="210" y="24"/>
                  </a:lnTo>
                  <a:lnTo>
                    <a:pt x="214" y="26"/>
                  </a:lnTo>
                  <a:lnTo>
                    <a:pt x="214" y="26"/>
                  </a:lnTo>
                  <a:lnTo>
                    <a:pt x="212" y="26"/>
                  </a:lnTo>
                  <a:lnTo>
                    <a:pt x="206" y="20"/>
                  </a:lnTo>
                  <a:lnTo>
                    <a:pt x="202" y="20"/>
                  </a:lnTo>
                  <a:lnTo>
                    <a:pt x="202" y="20"/>
                  </a:lnTo>
                  <a:lnTo>
                    <a:pt x="202" y="20"/>
                  </a:lnTo>
                  <a:lnTo>
                    <a:pt x="200" y="20"/>
                  </a:lnTo>
                  <a:lnTo>
                    <a:pt x="200" y="20"/>
                  </a:lnTo>
                  <a:lnTo>
                    <a:pt x="198" y="14"/>
                  </a:lnTo>
                  <a:lnTo>
                    <a:pt x="196" y="12"/>
                  </a:lnTo>
                  <a:lnTo>
                    <a:pt x="194" y="12"/>
                  </a:lnTo>
                  <a:lnTo>
                    <a:pt x="190" y="14"/>
                  </a:lnTo>
                  <a:lnTo>
                    <a:pt x="190" y="14"/>
                  </a:lnTo>
                  <a:lnTo>
                    <a:pt x="186" y="18"/>
                  </a:lnTo>
                  <a:lnTo>
                    <a:pt x="184" y="16"/>
                  </a:lnTo>
                  <a:lnTo>
                    <a:pt x="182" y="14"/>
                  </a:lnTo>
                  <a:lnTo>
                    <a:pt x="178" y="16"/>
                  </a:lnTo>
                  <a:lnTo>
                    <a:pt x="178" y="16"/>
                  </a:lnTo>
                  <a:lnTo>
                    <a:pt x="174" y="22"/>
                  </a:lnTo>
                  <a:lnTo>
                    <a:pt x="168" y="24"/>
                  </a:lnTo>
                  <a:lnTo>
                    <a:pt x="166" y="24"/>
                  </a:lnTo>
                  <a:lnTo>
                    <a:pt x="166" y="22"/>
                  </a:lnTo>
                  <a:lnTo>
                    <a:pt x="166" y="22"/>
                  </a:lnTo>
                  <a:lnTo>
                    <a:pt x="172" y="14"/>
                  </a:lnTo>
                  <a:lnTo>
                    <a:pt x="172" y="12"/>
                  </a:lnTo>
                  <a:lnTo>
                    <a:pt x="168" y="12"/>
                  </a:lnTo>
                  <a:lnTo>
                    <a:pt x="168" y="12"/>
                  </a:lnTo>
                  <a:lnTo>
                    <a:pt x="166" y="12"/>
                  </a:lnTo>
                  <a:lnTo>
                    <a:pt x="166" y="10"/>
                  </a:lnTo>
                  <a:lnTo>
                    <a:pt x="168" y="8"/>
                  </a:lnTo>
                  <a:lnTo>
                    <a:pt x="168" y="6"/>
                  </a:lnTo>
                  <a:lnTo>
                    <a:pt x="168" y="6"/>
                  </a:lnTo>
                  <a:lnTo>
                    <a:pt x="166" y="4"/>
                  </a:lnTo>
                  <a:lnTo>
                    <a:pt x="164" y="2"/>
                  </a:lnTo>
                  <a:lnTo>
                    <a:pt x="164" y="0"/>
                  </a:lnTo>
                  <a:lnTo>
                    <a:pt x="162" y="0"/>
                  </a:lnTo>
                  <a:lnTo>
                    <a:pt x="162" y="0"/>
                  </a:lnTo>
                  <a:lnTo>
                    <a:pt x="148" y="0"/>
                  </a:lnTo>
                  <a:lnTo>
                    <a:pt x="138" y="2"/>
                  </a:lnTo>
                  <a:lnTo>
                    <a:pt x="130" y="2"/>
                  </a:lnTo>
                  <a:lnTo>
                    <a:pt x="130" y="2"/>
                  </a:lnTo>
                  <a:lnTo>
                    <a:pt x="118" y="4"/>
                  </a:lnTo>
                  <a:lnTo>
                    <a:pt x="110" y="6"/>
                  </a:lnTo>
                  <a:lnTo>
                    <a:pt x="110" y="6"/>
                  </a:lnTo>
                  <a:lnTo>
                    <a:pt x="104" y="8"/>
                  </a:lnTo>
                  <a:lnTo>
                    <a:pt x="96" y="10"/>
                  </a:lnTo>
                  <a:lnTo>
                    <a:pt x="92" y="10"/>
                  </a:lnTo>
                  <a:lnTo>
                    <a:pt x="96" y="12"/>
                  </a:lnTo>
                  <a:lnTo>
                    <a:pt x="96" y="12"/>
                  </a:lnTo>
                  <a:lnTo>
                    <a:pt x="94" y="12"/>
                  </a:lnTo>
                  <a:lnTo>
                    <a:pt x="86" y="14"/>
                  </a:lnTo>
                  <a:lnTo>
                    <a:pt x="82" y="16"/>
                  </a:lnTo>
                  <a:lnTo>
                    <a:pt x="80" y="18"/>
                  </a:lnTo>
                  <a:lnTo>
                    <a:pt x="80" y="20"/>
                  </a:lnTo>
                  <a:lnTo>
                    <a:pt x="86" y="22"/>
                  </a:lnTo>
                  <a:lnTo>
                    <a:pt x="86" y="22"/>
                  </a:lnTo>
                  <a:lnTo>
                    <a:pt x="88" y="24"/>
                  </a:lnTo>
                  <a:lnTo>
                    <a:pt x="88" y="24"/>
                  </a:lnTo>
                  <a:lnTo>
                    <a:pt x="78" y="24"/>
                  </a:lnTo>
                  <a:lnTo>
                    <a:pt x="74" y="26"/>
                  </a:lnTo>
                  <a:lnTo>
                    <a:pt x="68" y="28"/>
                  </a:lnTo>
                  <a:lnTo>
                    <a:pt x="66" y="30"/>
                  </a:lnTo>
                  <a:lnTo>
                    <a:pt x="66" y="34"/>
                  </a:lnTo>
                  <a:lnTo>
                    <a:pt x="66" y="34"/>
                  </a:lnTo>
                  <a:lnTo>
                    <a:pt x="62" y="32"/>
                  </a:lnTo>
                  <a:lnTo>
                    <a:pt x="62" y="28"/>
                  </a:lnTo>
                  <a:lnTo>
                    <a:pt x="62" y="24"/>
                  </a:lnTo>
                  <a:lnTo>
                    <a:pt x="68" y="20"/>
                  </a:lnTo>
                  <a:lnTo>
                    <a:pt x="68" y="20"/>
                  </a:lnTo>
                  <a:lnTo>
                    <a:pt x="72" y="18"/>
                  </a:lnTo>
                  <a:lnTo>
                    <a:pt x="74" y="16"/>
                  </a:lnTo>
                  <a:lnTo>
                    <a:pt x="76" y="12"/>
                  </a:lnTo>
                  <a:lnTo>
                    <a:pt x="80" y="10"/>
                  </a:lnTo>
                  <a:lnTo>
                    <a:pt x="80" y="10"/>
                  </a:lnTo>
                  <a:lnTo>
                    <a:pt x="84" y="8"/>
                  </a:lnTo>
                  <a:lnTo>
                    <a:pt x="86" y="4"/>
                  </a:lnTo>
                  <a:lnTo>
                    <a:pt x="84" y="2"/>
                  </a:lnTo>
                  <a:lnTo>
                    <a:pt x="76" y="2"/>
                  </a:lnTo>
                  <a:lnTo>
                    <a:pt x="76" y="2"/>
                  </a:lnTo>
                  <a:lnTo>
                    <a:pt x="58" y="2"/>
                  </a:lnTo>
                  <a:lnTo>
                    <a:pt x="44" y="4"/>
                  </a:lnTo>
                  <a:lnTo>
                    <a:pt x="44" y="4"/>
                  </a:lnTo>
                  <a:lnTo>
                    <a:pt x="38" y="6"/>
                  </a:lnTo>
                  <a:lnTo>
                    <a:pt x="30" y="10"/>
                  </a:lnTo>
                  <a:lnTo>
                    <a:pt x="30" y="10"/>
                  </a:lnTo>
                  <a:lnTo>
                    <a:pt x="24" y="16"/>
                  </a:lnTo>
                  <a:lnTo>
                    <a:pt x="20" y="18"/>
                  </a:lnTo>
                  <a:lnTo>
                    <a:pt x="12" y="22"/>
                  </a:lnTo>
                  <a:lnTo>
                    <a:pt x="12" y="22"/>
                  </a:lnTo>
                  <a:lnTo>
                    <a:pt x="8" y="22"/>
                  </a:lnTo>
                  <a:lnTo>
                    <a:pt x="6" y="24"/>
                  </a:lnTo>
                  <a:lnTo>
                    <a:pt x="6" y="26"/>
                  </a:lnTo>
                  <a:lnTo>
                    <a:pt x="8" y="28"/>
                  </a:lnTo>
                  <a:lnTo>
                    <a:pt x="10" y="30"/>
                  </a:lnTo>
                  <a:lnTo>
                    <a:pt x="10" y="30"/>
                  </a:lnTo>
                  <a:lnTo>
                    <a:pt x="8" y="32"/>
                  </a:lnTo>
                  <a:lnTo>
                    <a:pt x="8" y="32"/>
                  </a:lnTo>
                  <a:lnTo>
                    <a:pt x="2" y="32"/>
                  </a:lnTo>
                  <a:lnTo>
                    <a:pt x="0" y="34"/>
                  </a:lnTo>
                  <a:lnTo>
                    <a:pt x="2" y="38"/>
                  </a:lnTo>
                  <a:lnTo>
                    <a:pt x="4" y="40"/>
                  </a:lnTo>
                  <a:lnTo>
                    <a:pt x="14" y="44"/>
                  </a:lnTo>
                  <a:lnTo>
                    <a:pt x="20" y="46"/>
                  </a:lnTo>
                  <a:lnTo>
                    <a:pt x="26" y="46"/>
                  </a:lnTo>
                  <a:lnTo>
                    <a:pt x="26" y="46"/>
                  </a:lnTo>
                  <a:lnTo>
                    <a:pt x="38" y="44"/>
                  </a:lnTo>
                  <a:lnTo>
                    <a:pt x="44" y="42"/>
                  </a:lnTo>
                  <a:lnTo>
                    <a:pt x="44" y="42"/>
                  </a:lnTo>
                  <a:lnTo>
                    <a:pt x="50" y="40"/>
                  </a:lnTo>
                  <a:lnTo>
                    <a:pt x="52" y="42"/>
                  </a:lnTo>
                  <a:lnTo>
                    <a:pt x="54" y="42"/>
                  </a:lnTo>
                  <a:lnTo>
                    <a:pt x="58" y="44"/>
                  </a:lnTo>
                  <a:lnTo>
                    <a:pt x="58" y="44"/>
                  </a:lnTo>
                  <a:lnTo>
                    <a:pt x="66" y="44"/>
                  </a:lnTo>
                  <a:lnTo>
                    <a:pt x="70" y="46"/>
                  </a:lnTo>
                  <a:lnTo>
                    <a:pt x="74" y="44"/>
                  </a:lnTo>
                  <a:lnTo>
                    <a:pt x="74" y="44"/>
                  </a:lnTo>
                  <a:lnTo>
                    <a:pt x="78" y="40"/>
                  </a:lnTo>
                  <a:lnTo>
                    <a:pt x="82" y="40"/>
                  </a:lnTo>
                  <a:lnTo>
                    <a:pt x="82" y="40"/>
                  </a:lnTo>
                  <a:lnTo>
                    <a:pt x="78" y="44"/>
                  </a:lnTo>
                  <a:lnTo>
                    <a:pt x="78" y="44"/>
                  </a:lnTo>
                  <a:lnTo>
                    <a:pt x="82" y="46"/>
                  </a:lnTo>
                  <a:lnTo>
                    <a:pt x="82" y="46"/>
                  </a:lnTo>
                  <a:lnTo>
                    <a:pt x="86" y="46"/>
                  </a:lnTo>
                  <a:lnTo>
                    <a:pt x="86" y="46"/>
                  </a:lnTo>
                  <a:lnTo>
                    <a:pt x="88" y="46"/>
                  </a:lnTo>
                  <a:lnTo>
                    <a:pt x="90" y="46"/>
                  </a:lnTo>
                  <a:lnTo>
                    <a:pt x="90" y="46"/>
                  </a:lnTo>
                  <a:lnTo>
                    <a:pt x="94" y="46"/>
                  </a:lnTo>
                  <a:lnTo>
                    <a:pt x="96" y="48"/>
                  </a:lnTo>
                  <a:lnTo>
                    <a:pt x="100" y="50"/>
                  </a:lnTo>
                  <a:lnTo>
                    <a:pt x="102" y="50"/>
                  </a:lnTo>
                  <a:lnTo>
                    <a:pt x="102" y="50"/>
                  </a:lnTo>
                  <a:lnTo>
                    <a:pt x="104" y="48"/>
                  </a:lnTo>
                  <a:lnTo>
                    <a:pt x="104" y="44"/>
                  </a:lnTo>
                  <a:lnTo>
                    <a:pt x="104" y="42"/>
                  </a:lnTo>
                  <a:lnTo>
                    <a:pt x="106" y="44"/>
                  </a:lnTo>
                  <a:lnTo>
                    <a:pt x="106" y="44"/>
                  </a:lnTo>
                  <a:lnTo>
                    <a:pt x="110" y="46"/>
                  </a:lnTo>
                  <a:lnTo>
                    <a:pt x="112" y="50"/>
                  </a:lnTo>
                  <a:lnTo>
                    <a:pt x="116" y="50"/>
                  </a:lnTo>
                  <a:lnTo>
                    <a:pt x="120" y="50"/>
                  </a:lnTo>
                  <a:lnTo>
                    <a:pt x="120" y="50"/>
                  </a:lnTo>
                  <a:lnTo>
                    <a:pt x="122" y="50"/>
                  </a:lnTo>
                  <a:lnTo>
                    <a:pt x="122" y="48"/>
                  </a:lnTo>
                  <a:lnTo>
                    <a:pt x="118" y="46"/>
                  </a:lnTo>
                  <a:lnTo>
                    <a:pt x="114" y="44"/>
                  </a:lnTo>
                  <a:lnTo>
                    <a:pt x="114" y="42"/>
                  </a:lnTo>
                  <a:lnTo>
                    <a:pt x="114" y="42"/>
                  </a:lnTo>
                  <a:lnTo>
                    <a:pt x="114" y="42"/>
                  </a:lnTo>
                  <a:lnTo>
                    <a:pt x="120" y="42"/>
                  </a:lnTo>
                  <a:lnTo>
                    <a:pt x="124" y="44"/>
                  </a:lnTo>
                  <a:lnTo>
                    <a:pt x="128" y="46"/>
                  </a:lnTo>
                  <a:lnTo>
                    <a:pt x="132" y="46"/>
                  </a:lnTo>
                  <a:lnTo>
                    <a:pt x="132" y="46"/>
                  </a:lnTo>
                  <a:lnTo>
                    <a:pt x="136" y="44"/>
                  </a:lnTo>
                  <a:lnTo>
                    <a:pt x="138" y="40"/>
                  </a:lnTo>
                  <a:lnTo>
                    <a:pt x="138" y="38"/>
                  </a:lnTo>
                  <a:lnTo>
                    <a:pt x="132" y="34"/>
                  </a:lnTo>
                  <a:lnTo>
                    <a:pt x="132" y="34"/>
                  </a:lnTo>
                  <a:lnTo>
                    <a:pt x="144" y="40"/>
                  </a:lnTo>
                  <a:lnTo>
                    <a:pt x="146" y="40"/>
                  </a:lnTo>
                  <a:lnTo>
                    <a:pt x="148" y="38"/>
                  </a:lnTo>
                  <a:lnTo>
                    <a:pt x="148" y="38"/>
                  </a:lnTo>
                  <a:lnTo>
                    <a:pt x="148" y="36"/>
                  </a:lnTo>
                  <a:lnTo>
                    <a:pt x="148" y="38"/>
                  </a:lnTo>
                  <a:lnTo>
                    <a:pt x="150" y="40"/>
                  </a:lnTo>
                  <a:lnTo>
                    <a:pt x="154" y="40"/>
                  </a:lnTo>
                  <a:lnTo>
                    <a:pt x="154" y="40"/>
                  </a:lnTo>
                  <a:lnTo>
                    <a:pt x="160" y="42"/>
                  </a:lnTo>
                  <a:lnTo>
                    <a:pt x="162" y="44"/>
                  </a:lnTo>
                  <a:lnTo>
                    <a:pt x="164" y="46"/>
                  </a:lnTo>
                  <a:lnTo>
                    <a:pt x="168" y="46"/>
                  </a:lnTo>
                  <a:lnTo>
                    <a:pt x="168" y="46"/>
                  </a:lnTo>
                  <a:lnTo>
                    <a:pt x="172" y="46"/>
                  </a:lnTo>
                  <a:lnTo>
                    <a:pt x="172" y="48"/>
                  </a:lnTo>
                  <a:lnTo>
                    <a:pt x="172" y="50"/>
                  </a:lnTo>
                  <a:lnTo>
                    <a:pt x="176" y="50"/>
                  </a:lnTo>
                  <a:lnTo>
                    <a:pt x="176" y="50"/>
                  </a:lnTo>
                  <a:lnTo>
                    <a:pt x="180" y="50"/>
                  </a:lnTo>
                  <a:lnTo>
                    <a:pt x="184" y="52"/>
                  </a:lnTo>
                  <a:lnTo>
                    <a:pt x="186" y="54"/>
                  </a:lnTo>
                  <a:lnTo>
                    <a:pt x="182" y="54"/>
                  </a:lnTo>
                  <a:lnTo>
                    <a:pt x="182" y="54"/>
                  </a:lnTo>
                  <a:lnTo>
                    <a:pt x="178" y="56"/>
                  </a:lnTo>
                  <a:lnTo>
                    <a:pt x="174" y="58"/>
                  </a:lnTo>
                  <a:lnTo>
                    <a:pt x="174" y="60"/>
                  </a:lnTo>
                  <a:lnTo>
                    <a:pt x="178" y="62"/>
                  </a:lnTo>
                  <a:lnTo>
                    <a:pt x="178" y="62"/>
                  </a:lnTo>
                  <a:lnTo>
                    <a:pt x="184" y="62"/>
                  </a:lnTo>
                  <a:lnTo>
                    <a:pt x="184" y="60"/>
                  </a:lnTo>
                  <a:lnTo>
                    <a:pt x="186" y="58"/>
                  </a:lnTo>
                  <a:lnTo>
                    <a:pt x="188" y="56"/>
                  </a:lnTo>
                  <a:lnTo>
                    <a:pt x="188" y="56"/>
                  </a:lnTo>
                  <a:lnTo>
                    <a:pt x="196" y="58"/>
                  </a:lnTo>
                  <a:lnTo>
                    <a:pt x="198" y="58"/>
                  </a:lnTo>
                  <a:lnTo>
                    <a:pt x="200" y="60"/>
                  </a:lnTo>
                  <a:lnTo>
                    <a:pt x="200" y="60"/>
                  </a:lnTo>
                  <a:lnTo>
                    <a:pt x="204" y="60"/>
                  </a:lnTo>
                  <a:lnTo>
                    <a:pt x="206" y="62"/>
                  </a:lnTo>
                  <a:lnTo>
                    <a:pt x="210" y="62"/>
                  </a:lnTo>
                  <a:lnTo>
                    <a:pt x="210" y="64"/>
                  </a:lnTo>
                  <a:lnTo>
                    <a:pt x="210" y="64"/>
                  </a:lnTo>
                  <a:lnTo>
                    <a:pt x="212" y="68"/>
                  </a:lnTo>
                  <a:lnTo>
                    <a:pt x="214" y="72"/>
                  </a:lnTo>
                  <a:lnTo>
                    <a:pt x="214" y="74"/>
                  </a:lnTo>
                  <a:lnTo>
                    <a:pt x="212" y="76"/>
                  </a:lnTo>
                  <a:lnTo>
                    <a:pt x="212" y="76"/>
                  </a:lnTo>
                  <a:lnTo>
                    <a:pt x="202" y="78"/>
                  </a:lnTo>
                  <a:lnTo>
                    <a:pt x="194" y="82"/>
                  </a:lnTo>
                  <a:lnTo>
                    <a:pt x="194" y="82"/>
                  </a:lnTo>
                  <a:lnTo>
                    <a:pt x="182" y="86"/>
                  </a:lnTo>
                  <a:lnTo>
                    <a:pt x="178" y="88"/>
                  </a:lnTo>
                  <a:lnTo>
                    <a:pt x="182" y="88"/>
                  </a:lnTo>
                  <a:lnTo>
                    <a:pt x="182" y="88"/>
                  </a:lnTo>
                  <a:lnTo>
                    <a:pt x="192" y="92"/>
                  </a:lnTo>
                  <a:lnTo>
                    <a:pt x="198" y="94"/>
                  </a:lnTo>
                  <a:lnTo>
                    <a:pt x="202" y="92"/>
                  </a:lnTo>
                  <a:lnTo>
                    <a:pt x="202" y="92"/>
                  </a:lnTo>
                  <a:lnTo>
                    <a:pt x="212" y="86"/>
                  </a:lnTo>
                  <a:lnTo>
                    <a:pt x="214" y="84"/>
                  </a:lnTo>
                  <a:lnTo>
                    <a:pt x="216" y="86"/>
                  </a:lnTo>
                  <a:lnTo>
                    <a:pt x="216" y="86"/>
                  </a:lnTo>
                  <a:lnTo>
                    <a:pt x="216" y="90"/>
                  </a:lnTo>
                  <a:lnTo>
                    <a:pt x="216" y="92"/>
                  </a:lnTo>
                  <a:lnTo>
                    <a:pt x="220" y="94"/>
                  </a:lnTo>
                  <a:lnTo>
                    <a:pt x="226" y="94"/>
                  </a:lnTo>
                  <a:lnTo>
                    <a:pt x="226" y="94"/>
                  </a:lnTo>
                  <a:lnTo>
                    <a:pt x="230" y="94"/>
                  </a:lnTo>
                  <a:lnTo>
                    <a:pt x="230" y="96"/>
                  </a:lnTo>
                  <a:lnTo>
                    <a:pt x="220" y="98"/>
                  </a:lnTo>
                  <a:lnTo>
                    <a:pt x="220" y="98"/>
                  </a:lnTo>
                  <a:lnTo>
                    <a:pt x="214" y="100"/>
                  </a:lnTo>
                  <a:lnTo>
                    <a:pt x="212" y="100"/>
                  </a:lnTo>
                  <a:lnTo>
                    <a:pt x="208" y="100"/>
                  </a:lnTo>
                  <a:lnTo>
                    <a:pt x="202" y="104"/>
                  </a:lnTo>
                  <a:lnTo>
                    <a:pt x="202" y="104"/>
                  </a:lnTo>
                  <a:lnTo>
                    <a:pt x="194" y="110"/>
                  </a:lnTo>
                  <a:lnTo>
                    <a:pt x="192" y="110"/>
                  </a:lnTo>
                  <a:lnTo>
                    <a:pt x="192" y="108"/>
                  </a:lnTo>
                  <a:lnTo>
                    <a:pt x="192" y="108"/>
                  </a:lnTo>
                  <a:lnTo>
                    <a:pt x="192" y="104"/>
                  </a:lnTo>
                  <a:lnTo>
                    <a:pt x="196" y="100"/>
                  </a:lnTo>
                  <a:lnTo>
                    <a:pt x="196" y="100"/>
                  </a:lnTo>
                  <a:lnTo>
                    <a:pt x="198" y="98"/>
                  </a:lnTo>
                  <a:lnTo>
                    <a:pt x="198" y="96"/>
                  </a:lnTo>
                  <a:lnTo>
                    <a:pt x="192" y="94"/>
                  </a:lnTo>
                  <a:lnTo>
                    <a:pt x="192" y="94"/>
                  </a:lnTo>
                  <a:lnTo>
                    <a:pt x="182" y="92"/>
                  </a:lnTo>
                  <a:lnTo>
                    <a:pt x="176" y="90"/>
                  </a:lnTo>
                  <a:lnTo>
                    <a:pt x="172" y="90"/>
                  </a:lnTo>
                  <a:lnTo>
                    <a:pt x="172" y="90"/>
                  </a:lnTo>
                  <a:lnTo>
                    <a:pt x="164" y="92"/>
                  </a:lnTo>
                  <a:lnTo>
                    <a:pt x="160" y="94"/>
                  </a:lnTo>
                  <a:lnTo>
                    <a:pt x="158" y="96"/>
                  </a:lnTo>
                  <a:lnTo>
                    <a:pt x="158" y="96"/>
                  </a:lnTo>
                  <a:lnTo>
                    <a:pt x="158" y="98"/>
                  </a:lnTo>
                  <a:lnTo>
                    <a:pt x="160" y="98"/>
                  </a:lnTo>
                  <a:lnTo>
                    <a:pt x="164" y="100"/>
                  </a:lnTo>
                  <a:lnTo>
                    <a:pt x="170" y="104"/>
                  </a:lnTo>
                  <a:lnTo>
                    <a:pt x="172" y="106"/>
                  </a:lnTo>
                  <a:lnTo>
                    <a:pt x="172" y="106"/>
                  </a:lnTo>
                  <a:lnTo>
                    <a:pt x="158" y="102"/>
                  </a:lnTo>
                  <a:lnTo>
                    <a:pt x="154" y="102"/>
                  </a:lnTo>
                  <a:lnTo>
                    <a:pt x="154" y="104"/>
                  </a:lnTo>
                  <a:lnTo>
                    <a:pt x="154" y="104"/>
                  </a:lnTo>
                  <a:lnTo>
                    <a:pt x="154" y="104"/>
                  </a:lnTo>
                  <a:lnTo>
                    <a:pt x="154" y="106"/>
                  </a:lnTo>
                  <a:lnTo>
                    <a:pt x="152" y="106"/>
                  </a:lnTo>
                  <a:lnTo>
                    <a:pt x="146" y="106"/>
                  </a:lnTo>
                  <a:lnTo>
                    <a:pt x="140" y="106"/>
                  </a:lnTo>
                  <a:lnTo>
                    <a:pt x="140" y="106"/>
                  </a:lnTo>
                  <a:lnTo>
                    <a:pt x="140" y="108"/>
                  </a:lnTo>
                  <a:lnTo>
                    <a:pt x="140" y="108"/>
                  </a:lnTo>
                  <a:lnTo>
                    <a:pt x="142" y="108"/>
                  </a:lnTo>
                  <a:lnTo>
                    <a:pt x="140" y="108"/>
                  </a:lnTo>
                  <a:lnTo>
                    <a:pt x="132" y="108"/>
                  </a:lnTo>
                  <a:lnTo>
                    <a:pt x="124" y="108"/>
                  </a:lnTo>
                  <a:lnTo>
                    <a:pt x="122" y="108"/>
                  </a:lnTo>
                  <a:lnTo>
                    <a:pt x="124" y="108"/>
                  </a:lnTo>
                  <a:lnTo>
                    <a:pt x="124" y="108"/>
                  </a:lnTo>
                  <a:lnTo>
                    <a:pt x="124" y="110"/>
                  </a:lnTo>
                  <a:lnTo>
                    <a:pt x="122" y="110"/>
                  </a:lnTo>
                  <a:lnTo>
                    <a:pt x="110" y="108"/>
                  </a:lnTo>
                  <a:lnTo>
                    <a:pt x="98" y="106"/>
                  </a:lnTo>
                  <a:lnTo>
                    <a:pt x="96" y="108"/>
                  </a:lnTo>
                  <a:lnTo>
                    <a:pt x="98" y="110"/>
                  </a:lnTo>
                  <a:lnTo>
                    <a:pt x="98" y="110"/>
                  </a:lnTo>
                  <a:lnTo>
                    <a:pt x="102" y="112"/>
                  </a:lnTo>
                  <a:lnTo>
                    <a:pt x="100" y="112"/>
                  </a:lnTo>
                  <a:lnTo>
                    <a:pt x="92" y="112"/>
                  </a:lnTo>
                  <a:lnTo>
                    <a:pt x="82" y="112"/>
                  </a:lnTo>
                  <a:lnTo>
                    <a:pt x="80" y="112"/>
                  </a:lnTo>
                  <a:lnTo>
                    <a:pt x="84" y="114"/>
                  </a:lnTo>
                  <a:lnTo>
                    <a:pt x="84" y="114"/>
                  </a:lnTo>
                  <a:lnTo>
                    <a:pt x="88" y="116"/>
                  </a:lnTo>
                  <a:lnTo>
                    <a:pt x="86" y="116"/>
                  </a:lnTo>
                  <a:lnTo>
                    <a:pt x="82" y="118"/>
                  </a:lnTo>
                  <a:lnTo>
                    <a:pt x="80" y="120"/>
                  </a:lnTo>
                  <a:lnTo>
                    <a:pt x="78" y="124"/>
                  </a:lnTo>
                  <a:lnTo>
                    <a:pt x="78" y="124"/>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Canada"/>
            <p:cNvSpPr>
              <a:spLocks/>
            </p:cNvSpPr>
            <p:nvPr/>
          </p:nvSpPr>
          <p:spPr bwMode="auto">
            <a:xfrm>
              <a:off x="1834851" y="1546490"/>
              <a:ext cx="317500" cy="76729"/>
            </a:xfrm>
            <a:custGeom>
              <a:avLst/>
              <a:gdLst/>
              <a:ahLst/>
              <a:cxnLst>
                <a:cxn ang="0">
                  <a:pos x="2" y="46"/>
                </a:cxn>
                <a:cxn ang="0">
                  <a:pos x="24" y="48"/>
                </a:cxn>
                <a:cxn ang="0">
                  <a:pos x="24" y="54"/>
                </a:cxn>
                <a:cxn ang="0">
                  <a:pos x="32" y="58"/>
                </a:cxn>
                <a:cxn ang="0">
                  <a:pos x="66" y="56"/>
                </a:cxn>
                <a:cxn ang="0">
                  <a:pos x="84" y="56"/>
                </a:cxn>
                <a:cxn ang="0">
                  <a:pos x="102" y="52"/>
                </a:cxn>
                <a:cxn ang="0">
                  <a:pos x="112" y="50"/>
                </a:cxn>
                <a:cxn ang="0">
                  <a:pos x="136" y="46"/>
                </a:cxn>
                <a:cxn ang="0">
                  <a:pos x="140" y="38"/>
                </a:cxn>
                <a:cxn ang="0">
                  <a:pos x="146" y="46"/>
                </a:cxn>
                <a:cxn ang="0">
                  <a:pos x="160" y="48"/>
                </a:cxn>
                <a:cxn ang="0">
                  <a:pos x="180" y="52"/>
                </a:cxn>
                <a:cxn ang="0">
                  <a:pos x="196" y="58"/>
                </a:cxn>
                <a:cxn ang="0">
                  <a:pos x="214" y="56"/>
                </a:cxn>
                <a:cxn ang="0">
                  <a:pos x="218" y="52"/>
                </a:cxn>
                <a:cxn ang="0">
                  <a:pos x="196" y="46"/>
                </a:cxn>
                <a:cxn ang="0">
                  <a:pos x="214" y="44"/>
                </a:cxn>
                <a:cxn ang="0">
                  <a:pos x="214" y="38"/>
                </a:cxn>
                <a:cxn ang="0">
                  <a:pos x="232" y="40"/>
                </a:cxn>
                <a:cxn ang="0">
                  <a:pos x="236" y="32"/>
                </a:cxn>
                <a:cxn ang="0">
                  <a:pos x="218" y="24"/>
                </a:cxn>
                <a:cxn ang="0">
                  <a:pos x="218" y="14"/>
                </a:cxn>
                <a:cxn ang="0">
                  <a:pos x="216" y="10"/>
                </a:cxn>
                <a:cxn ang="0">
                  <a:pos x="202" y="0"/>
                </a:cxn>
                <a:cxn ang="0">
                  <a:pos x="196" y="0"/>
                </a:cxn>
                <a:cxn ang="0">
                  <a:pos x="192" y="6"/>
                </a:cxn>
                <a:cxn ang="0">
                  <a:pos x="190" y="10"/>
                </a:cxn>
                <a:cxn ang="0">
                  <a:pos x="188" y="14"/>
                </a:cxn>
                <a:cxn ang="0">
                  <a:pos x="186" y="18"/>
                </a:cxn>
                <a:cxn ang="0">
                  <a:pos x="174" y="18"/>
                </a:cxn>
                <a:cxn ang="0">
                  <a:pos x="172" y="18"/>
                </a:cxn>
                <a:cxn ang="0">
                  <a:pos x="184" y="6"/>
                </a:cxn>
                <a:cxn ang="0">
                  <a:pos x="164" y="2"/>
                </a:cxn>
                <a:cxn ang="0">
                  <a:pos x="168" y="6"/>
                </a:cxn>
                <a:cxn ang="0">
                  <a:pos x="158" y="8"/>
                </a:cxn>
                <a:cxn ang="0">
                  <a:pos x="154" y="8"/>
                </a:cxn>
                <a:cxn ang="0">
                  <a:pos x="148" y="10"/>
                </a:cxn>
                <a:cxn ang="0">
                  <a:pos x="140" y="8"/>
                </a:cxn>
                <a:cxn ang="0">
                  <a:pos x="140" y="2"/>
                </a:cxn>
                <a:cxn ang="0">
                  <a:pos x="122" y="2"/>
                </a:cxn>
                <a:cxn ang="0">
                  <a:pos x="114" y="4"/>
                </a:cxn>
                <a:cxn ang="0">
                  <a:pos x="102" y="0"/>
                </a:cxn>
                <a:cxn ang="0">
                  <a:pos x="58" y="6"/>
                </a:cxn>
                <a:cxn ang="0">
                  <a:pos x="56" y="12"/>
                </a:cxn>
                <a:cxn ang="0">
                  <a:pos x="26" y="18"/>
                </a:cxn>
                <a:cxn ang="0">
                  <a:pos x="34" y="20"/>
                </a:cxn>
                <a:cxn ang="0">
                  <a:pos x="50" y="20"/>
                </a:cxn>
                <a:cxn ang="0">
                  <a:pos x="20" y="24"/>
                </a:cxn>
                <a:cxn ang="0">
                  <a:pos x="20" y="30"/>
                </a:cxn>
                <a:cxn ang="0">
                  <a:pos x="30" y="34"/>
                </a:cxn>
                <a:cxn ang="0">
                  <a:pos x="56" y="32"/>
                </a:cxn>
                <a:cxn ang="0">
                  <a:pos x="62" y="36"/>
                </a:cxn>
                <a:cxn ang="0">
                  <a:pos x="42" y="38"/>
                </a:cxn>
                <a:cxn ang="0">
                  <a:pos x="4" y="42"/>
                </a:cxn>
              </a:cxnLst>
              <a:rect l="0" t="0" r="r" b="b"/>
              <a:pathLst>
                <a:path w="240" h="58">
                  <a:moveTo>
                    <a:pt x="4" y="42"/>
                  </a:moveTo>
                  <a:lnTo>
                    <a:pt x="4" y="42"/>
                  </a:lnTo>
                  <a:lnTo>
                    <a:pt x="0" y="44"/>
                  </a:lnTo>
                  <a:lnTo>
                    <a:pt x="2" y="46"/>
                  </a:lnTo>
                  <a:lnTo>
                    <a:pt x="14" y="46"/>
                  </a:lnTo>
                  <a:lnTo>
                    <a:pt x="14" y="46"/>
                  </a:lnTo>
                  <a:lnTo>
                    <a:pt x="20" y="48"/>
                  </a:lnTo>
                  <a:lnTo>
                    <a:pt x="24" y="48"/>
                  </a:lnTo>
                  <a:lnTo>
                    <a:pt x="26" y="50"/>
                  </a:lnTo>
                  <a:lnTo>
                    <a:pt x="24" y="52"/>
                  </a:lnTo>
                  <a:lnTo>
                    <a:pt x="24" y="52"/>
                  </a:lnTo>
                  <a:lnTo>
                    <a:pt x="24" y="54"/>
                  </a:lnTo>
                  <a:lnTo>
                    <a:pt x="24" y="54"/>
                  </a:lnTo>
                  <a:lnTo>
                    <a:pt x="26" y="56"/>
                  </a:lnTo>
                  <a:lnTo>
                    <a:pt x="32" y="58"/>
                  </a:lnTo>
                  <a:lnTo>
                    <a:pt x="32" y="58"/>
                  </a:lnTo>
                  <a:lnTo>
                    <a:pt x="44" y="58"/>
                  </a:lnTo>
                  <a:lnTo>
                    <a:pt x="56" y="56"/>
                  </a:lnTo>
                  <a:lnTo>
                    <a:pt x="56" y="56"/>
                  </a:lnTo>
                  <a:lnTo>
                    <a:pt x="66" y="56"/>
                  </a:lnTo>
                  <a:lnTo>
                    <a:pt x="74" y="56"/>
                  </a:lnTo>
                  <a:lnTo>
                    <a:pt x="74" y="56"/>
                  </a:lnTo>
                  <a:lnTo>
                    <a:pt x="80" y="56"/>
                  </a:lnTo>
                  <a:lnTo>
                    <a:pt x="84" y="56"/>
                  </a:lnTo>
                  <a:lnTo>
                    <a:pt x="90" y="56"/>
                  </a:lnTo>
                  <a:lnTo>
                    <a:pt x="96" y="54"/>
                  </a:lnTo>
                  <a:lnTo>
                    <a:pt x="96" y="54"/>
                  </a:lnTo>
                  <a:lnTo>
                    <a:pt x="102" y="52"/>
                  </a:lnTo>
                  <a:lnTo>
                    <a:pt x="104" y="52"/>
                  </a:lnTo>
                  <a:lnTo>
                    <a:pt x="108" y="52"/>
                  </a:lnTo>
                  <a:lnTo>
                    <a:pt x="112" y="50"/>
                  </a:lnTo>
                  <a:lnTo>
                    <a:pt x="112" y="50"/>
                  </a:lnTo>
                  <a:lnTo>
                    <a:pt x="116" y="50"/>
                  </a:lnTo>
                  <a:lnTo>
                    <a:pt x="120" y="50"/>
                  </a:lnTo>
                  <a:lnTo>
                    <a:pt x="126" y="48"/>
                  </a:lnTo>
                  <a:lnTo>
                    <a:pt x="136" y="46"/>
                  </a:lnTo>
                  <a:lnTo>
                    <a:pt x="136" y="46"/>
                  </a:lnTo>
                  <a:lnTo>
                    <a:pt x="138" y="44"/>
                  </a:lnTo>
                  <a:lnTo>
                    <a:pt x="140" y="42"/>
                  </a:lnTo>
                  <a:lnTo>
                    <a:pt x="140" y="38"/>
                  </a:lnTo>
                  <a:lnTo>
                    <a:pt x="140" y="38"/>
                  </a:lnTo>
                  <a:lnTo>
                    <a:pt x="140" y="42"/>
                  </a:lnTo>
                  <a:lnTo>
                    <a:pt x="142" y="44"/>
                  </a:lnTo>
                  <a:lnTo>
                    <a:pt x="146" y="46"/>
                  </a:lnTo>
                  <a:lnTo>
                    <a:pt x="146" y="46"/>
                  </a:lnTo>
                  <a:lnTo>
                    <a:pt x="156" y="46"/>
                  </a:lnTo>
                  <a:lnTo>
                    <a:pt x="158" y="46"/>
                  </a:lnTo>
                  <a:lnTo>
                    <a:pt x="160" y="48"/>
                  </a:lnTo>
                  <a:lnTo>
                    <a:pt x="160" y="48"/>
                  </a:lnTo>
                  <a:lnTo>
                    <a:pt x="160" y="50"/>
                  </a:lnTo>
                  <a:lnTo>
                    <a:pt x="164" y="52"/>
                  </a:lnTo>
                  <a:lnTo>
                    <a:pt x="180" y="52"/>
                  </a:lnTo>
                  <a:lnTo>
                    <a:pt x="180" y="52"/>
                  </a:lnTo>
                  <a:lnTo>
                    <a:pt x="188" y="54"/>
                  </a:lnTo>
                  <a:lnTo>
                    <a:pt x="192" y="56"/>
                  </a:lnTo>
                  <a:lnTo>
                    <a:pt x="196" y="58"/>
                  </a:lnTo>
                  <a:lnTo>
                    <a:pt x="202" y="58"/>
                  </a:lnTo>
                  <a:lnTo>
                    <a:pt x="202" y="58"/>
                  </a:lnTo>
                  <a:lnTo>
                    <a:pt x="210" y="58"/>
                  </a:lnTo>
                  <a:lnTo>
                    <a:pt x="214" y="56"/>
                  </a:lnTo>
                  <a:lnTo>
                    <a:pt x="220" y="54"/>
                  </a:lnTo>
                  <a:lnTo>
                    <a:pt x="220" y="54"/>
                  </a:lnTo>
                  <a:lnTo>
                    <a:pt x="220" y="52"/>
                  </a:lnTo>
                  <a:lnTo>
                    <a:pt x="218" y="52"/>
                  </a:lnTo>
                  <a:lnTo>
                    <a:pt x="212" y="50"/>
                  </a:lnTo>
                  <a:lnTo>
                    <a:pt x="212" y="50"/>
                  </a:lnTo>
                  <a:lnTo>
                    <a:pt x="198" y="48"/>
                  </a:lnTo>
                  <a:lnTo>
                    <a:pt x="196" y="46"/>
                  </a:lnTo>
                  <a:lnTo>
                    <a:pt x="200" y="46"/>
                  </a:lnTo>
                  <a:lnTo>
                    <a:pt x="200" y="46"/>
                  </a:lnTo>
                  <a:lnTo>
                    <a:pt x="212" y="46"/>
                  </a:lnTo>
                  <a:lnTo>
                    <a:pt x="214" y="44"/>
                  </a:lnTo>
                  <a:lnTo>
                    <a:pt x="212" y="40"/>
                  </a:lnTo>
                  <a:lnTo>
                    <a:pt x="212" y="40"/>
                  </a:lnTo>
                  <a:lnTo>
                    <a:pt x="212" y="38"/>
                  </a:lnTo>
                  <a:lnTo>
                    <a:pt x="214" y="38"/>
                  </a:lnTo>
                  <a:lnTo>
                    <a:pt x="218" y="40"/>
                  </a:lnTo>
                  <a:lnTo>
                    <a:pt x="224" y="42"/>
                  </a:lnTo>
                  <a:lnTo>
                    <a:pt x="224" y="42"/>
                  </a:lnTo>
                  <a:lnTo>
                    <a:pt x="232" y="40"/>
                  </a:lnTo>
                  <a:lnTo>
                    <a:pt x="238" y="38"/>
                  </a:lnTo>
                  <a:lnTo>
                    <a:pt x="240" y="36"/>
                  </a:lnTo>
                  <a:lnTo>
                    <a:pt x="236" y="32"/>
                  </a:lnTo>
                  <a:lnTo>
                    <a:pt x="236" y="32"/>
                  </a:lnTo>
                  <a:lnTo>
                    <a:pt x="228" y="30"/>
                  </a:lnTo>
                  <a:lnTo>
                    <a:pt x="224" y="28"/>
                  </a:lnTo>
                  <a:lnTo>
                    <a:pt x="218" y="24"/>
                  </a:lnTo>
                  <a:lnTo>
                    <a:pt x="218" y="24"/>
                  </a:lnTo>
                  <a:lnTo>
                    <a:pt x="216" y="22"/>
                  </a:lnTo>
                  <a:lnTo>
                    <a:pt x="216" y="22"/>
                  </a:lnTo>
                  <a:lnTo>
                    <a:pt x="216" y="18"/>
                  </a:lnTo>
                  <a:lnTo>
                    <a:pt x="218" y="14"/>
                  </a:lnTo>
                  <a:lnTo>
                    <a:pt x="218" y="14"/>
                  </a:lnTo>
                  <a:lnTo>
                    <a:pt x="218" y="14"/>
                  </a:lnTo>
                  <a:lnTo>
                    <a:pt x="216" y="12"/>
                  </a:lnTo>
                  <a:lnTo>
                    <a:pt x="216" y="10"/>
                  </a:lnTo>
                  <a:lnTo>
                    <a:pt x="216" y="6"/>
                  </a:lnTo>
                  <a:lnTo>
                    <a:pt x="212" y="2"/>
                  </a:lnTo>
                  <a:lnTo>
                    <a:pt x="212" y="2"/>
                  </a:lnTo>
                  <a:lnTo>
                    <a:pt x="202" y="0"/>
                  </a:lnTo>
                  <a:lnTo>
                    <a:pt x="198" y="0"/>
                  </a:lnTo>
                  <a:lnTo>
                    <a:pt x="196" y="0"/>
                  </a:lnTo>
                  <a:lnTo>
                    <a:pt x="196" y="0"/>
                  </a:lnTo>
                  <a:lnTo>
                    <a:pt x="196" y="0"/>
                  </a:lnTo>
                  <a:lnTo>
                    <a:pt x="196" y="2"/>
                  </a:lnTo>
                  <a:lnTo>
                    <a:pt x="194" y="4"/>
                  </a:lnTo>
                  <a:lnTo>
                    <a:pt x="192" y="4"/>
                  </a:lnTo>
                  <a:lnTo>
                    <a:pt x="192" y="6"/>
                  </a:lnTo>
                  <a:lnTo>
                    <a:pt x="192" y="6"/>
                  </a:lnTo>
                  <a:lnTo>
                    <a:pt x="192" y="8"/>
                  </a:lnTo>
                  <a:lnTo>
                    <a:pt x="192" y="8"/>
                  </a:lnTo>
                  <a:lnTo>
                    <a:pt x="190" y="10"/>
                  </a:lnTo>
                  <a:lnTo>
                    <a:pt x="190" y="12"/>
                  </a:lnTo>
                  <a:lnTo>
                    <a:pt x="190" y="12"/>
                  </a:lnTo>
                  <a:lnTo>
                    <a:pt x="190" y="14"/>
                  </a:lnTo>
                  <a:lnTo>
                    <a:pt x="188" y="14"/>
                  </a:lnTo>
                  <a:lnTo>
                    <a:pt x="186" y="14"/>
                  </a:lnTo>
                  <a:lnTo>
                    <a:pt x="186" y="16"/>
                  </a:lnTo>
                  <a:lnTo>
                    <a:pt x="186" y="16"/>
                  </a:lnTo>
                  <a:lnTo>
                    <a:pt x="186" y="18"/>
                  </a:lnTo>
                  <a:lnTo>
                    <a:pt x="184" y="18"/>
                  </a:lnTo>
                  <a:lnTo>
                    <a:pt x="180" y="18"/>
                  </a:lnTo>
                  <a:lnTo>
                    <a:pt x="176" y="18"/>
                  </a:lnTo>
                  <a:lnTo>
                    <a:pt x="174" y="18"/>
                  </a:lnTo>
                  <a:lnTo>
                    <a:pt x="174" y="18"/>
                  </a:lnTo>
                  <a:lnTo>
                    <a:pt x="174" y="18"/>
                  </a:lnTo>
                  <a:lnTo>
                    <a:pt x="174" y="20"/>
                  </a:lnTo>
                  <a:lnTo>
                    <a:pt x="172" y="18"/>
                  </a:lnTo>
                  <a:lnTo>
                    <a:pt x="174" y="14"/>
                  </a:lnTo>
                  <a:lnTo>
                    <a:pt x="178" y="10"/>
                  </a:lnTo>
                  <a:lnTo>
                    <a:pt x="178" y="10"/>
                  </a:lnTo>
                  <a:lnTo>
                    <a:pt x="184" y="6"/>
                  </a:lnTo>
                  <a:lnTo>
                    <a:pt x="184" y="4"/>
                  </a:lnTo>
                  <a:lnTo>
                    <a:pt x="176" y="2"/>
                  </a:lnTo>
                  <a:lnTo>
                    <a:pt x="176" y="2"/>
                  </a:lnTo>
                  <a:lnTo>
                    <a:pt x="164" y="2"/>
                  </a:lnTo>
                  <a:lnTo>
                    <a:pt x="162" y="4"/>
                  </a:lnTo>
                  <a:lnTo>
                    <a:pt x="166" y="4"/>
                  </a:lnTo>
                  <a:lnTo>
                    <a:pt x="166" y="4"/>
                  </a:lnTo>
                  <a:lnTo>
                    <a:pt x="168" y="6"/>
                  </a:lnTo>
                  <a:lnTo>
                    <a:pt x="164" y="6"/>
                  </a:lnTo>
                  <a:lnTo>
                    <a:pt x="158" y="6"/>
                  </a:lnTo>
                  <a:lnTo>
                    <a:pt x="158" y="6"/>
                  </a:lnTo>
                  <a:lnTo>
                    <a:pt x="158" y="8"/>
                  </a:lnTo>
                  <a:lnTo>
                    <a:pt x="158" y="8"/>
                  </a:lnTo>
                  <a:lnTo>
                    <a:pt x="160" y="10"/>
                  </a:lnTo>
                  <a:lnTo>
                    <a:pt x="158" y="10"/>
                  </a:lnTo>
                  <a:lnTo>
                    <a:pt x="154" y="8"/>
                  </a:lnTo>
                  <a:lnTo>
                    <a:pt x="150" y="10"/>
                  </a:lnTo>
                  <a:lnTo>
                    <a:pt x="150" y="10"/>
                  </a:lnTo>
                  <a:lnTo>
                    <a:pt x="150" y="10"/>
                  </a:lnTo>
                  <a:lnTo>
                    <a:pt x="148" y="10"/>
                  </a:lnTo>
                  <a:lnTo>
                    <a:pt x="146" y="8"/>
                  </a:lnTo>
                  <a:lnTo>
                    <a:pt x="142" y="8"/>
                  </a:lnTo>
                  <a:lnTo>
                    <a:pt x="142" y="8"/>
                  </a:lnTo>
                  <a:lnTo>
                    <a:pt x="140" y="8"/>
                  </a:lnTo>
                  <a:lnTo>
                    <a:pt x="142" y="6"/>
                  </a:lnTo>
                  <a:lnTo>
                    <a:pt x="144" y="4"/>
                  </a:lnTo>
                  <a:lnTo>
                    <a:pt x="144" y="2"/>
                  </a:lnTo>
                  <a:lnTo>
                    <a:pt x="140" y="2"/>
                  </a:lnTo>
                  <a:lnTo>
                    <a:pt x="140" y="2"/>
                  </a:lnTo>
                  <a:lnTo>
                    <a:pt x="130" y="2"/>
                  </a:lnTo>
                  <a:lnTo>
                    <a:pt x="122" y="2"/>
                  </a:lnTo>
                  <a:lnTo>
                    <a:pt x="122" y="2"/>
                  </a:lnTo>
                  <a:lnTo>
                    <a:pt x="114" y="4"/>
                  </a:lnTo>
                  <a:lnTo>
                    <a:pt x="112" y="4"/>
                  </a:lnTo>
                  <a:lnTo>
                    <a:pt x="114" y="4"/>
                  </a:lnTo>
                  <a:lnTo>
                    <a:pt x="114" y="4"/>
                  </a:lnTo>
                  <a:lnTo>
                    <a:pt x="116" y="2"/>
                  </a:lnTo>
                  <a:lnTo>
                    <a:pt x="114" y="2"/>
                  </a:lnTo>
                  <a:lnTo>
                    <a:pt x="110" y="0"/>
                  </a:lnTo>
                  <a:lnTo>
                    <a:pt x="102" y="0"/>
                  </a:lnTo>
                  <a:lnTo>
                    <a:pt x="92" y="2"/>
                  </a:lnTo>
                  <a:lnTo>
                    <a:pt x="92" y="2"/>
                  </a:lnTo>
                  <a:lnTo>
                    <a:pt x="74" y="4"/>
                  </a:lnTo>
                  <a:lnTo>
                    <a:pt x="58" y="6"/>
                  </a:lnTo>
                  <a:lnTo>
                    <a:pt x="58" y="6"/>
                  </a:lnTo>
                  <a:lnTo>
                    <a:pt x="56" y="8"/>
                  </a:lnTo>
                  <a:lnTo>
                    <a:pt x="56" y="10"/>
                  </a:lnTo>
                  <a:lnTo>
                    <a:pt x="56" y="12"/>
                  </a:lnTo>
                  <a:lnTo>
                    <a:pt x="52" y="12"/>
                  </a:lnTo>
                  <a:lnTo>
                    <a:pt x="52" y="12"/>
                  </a:lnTo>
                  <a:lnTo>
                    <a:pt x="32" y="16"/>
                  </a:lnTo>
                  <a:lnTo>
                    <a:pt x="26" y="18"/>
                  </a:lnTo>
                  <a:lnTo>
                    <a:pt x="26" y="18"/>
                  </a:lnTo>
                  <a:lnTo>
                    <a:pt x="26" y="20"/>
                  </a:lnTo>
                  <a:lnTo>
                    <a:pt x="26" y="20"/>
                  </a:lnTo>
                  <a:lnTo>
                    <a:pt x="34" y="20"/>
                  </a:lnTo>
                  <a:lnTo>
                    <a:pt x="44" y="20"/>
                  </a:lnTo>
                  <a:lnTo>
                    <a:pt x="52" y="20"/>
                  </a:lnTo>
                  <a:lnTo>
                    <a:pt x="52" y="20"/>
                  </a:lnTo>
                  <a:lnTo>
                    <a:pt x="50" y="20"/>
                  </a:lnTo>
                  <a:lnTo>
                    <a:pt x="50" y="20"/>
                  </a:lnTo>
                  <a:lnTo>
                    <a:pt x="40" y="22"/>
                  </a:lnTo>
                  <a:lnTo>
                    <a:pt x="28" y="22"/>
                  </a:lnTo>
                  <a:lnTo>
                    <a:pt x="20" y="24"/>
                  </a:lnTo>
                  <a:lnTo>
                    <a:pt x="18" y="24"/>
                  </a:lnTo>
                  <a:lnTo>
                    <a:pt x="18" y="26"/>
                  </a:lnTo>
                  <a:lnTo>
                    <a:pt x="18" y="26"/>
                  </a:lnTo>
                  <a:lnTo>
                    <a:pt x="20" y="30"/>
                  </a:lnTo>
                  <a:lnTo>
                    <a:pt x="22" y="32"/>
                  </a:lnTo>
                  <a:lnTo>
                    <a:pt x="24" y="34"/>
                  </a:lnTo>
                  <a:lnTo>
                    <a:pt x="30" y="34"/>
                  </a:lnTo>
                  <a:lnTo>
                    <a:pt x="30" y="34"/>
                  </a:lnTo>
                  <a:lnTo>
                    <a:pt x="44" y="32"/>
                  </a:lnTo>
                  <a:lnTo>
                    <a:pt x="50" y="30"/>
                  </a:lnTo>
                  <a:lnTo>
                    <a:pt x="56" y="32"/>
                  </a:lnTo>
                  <a:lnTo>
                    <a:pt x="56" y="32"/>
                  </a:lnTo>
                  <a:lnTo>
                    <a:pt x="66" y="36"/>
                  </a:lnTo>
                  <a:lnTo>
                    <a:pt x="66" y="38"/>
                  </a:lnTo>
                  <a:lnTo>
                    <a:pt x="62" y="36"/>
                  </a:lnTo>
                  <a:lnTo>
                    <a:pt x="62" y="36"/>
                  </a:lnTo>
                  <a:lnTo>
                    <a:pt x="56" y="36"/>
                  </a:lnTo>
                  <a:lnTo>
                    <a:pt x="52" y="36"/>
                  </a:lnTo>
                  <a:lnTo>
                    <a:pt x="42" y="38"/>
                  </a:lnTo>
                  <a:lnTo>
                    <a:pt x="42" y="38"/>
                  </a:lnTo>
                  <a:lnTo>
                    <a:pt x="26" y="38"/>
                  </a:lnTo>
                  <a:lnTo>
                    <a:pt x="14" y="38"/>
                  </a:lnTo>
                  <a:lnTo>
                    <a:pt x="4" y="42"/>
                  </a:lnTo>
                  <a:lnTo>
                    <a:pt x="4" y="42"/>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Canada"/>
            <p:cNvSpPr>
              <a:spLocks/>
            </p:cNvSpPr>
            <p:nvPr/>
          </p:nvSpPr>
          <p:spPr bwMode="auto">
            <a:xfrm>
              <a:off x="2583622" y="2120635"/>
              <a:ext cx="47625" cy="23813"/>
            </a:xfrm>
            <a:custGeom>
              <a:avLst/>
              <a:gdLst/>
              <a:ahLst/>
              <a:cxnLst>
                <a:cxn ang="0">
                  <a:pos x="0" y="8"/>
                </a:cxn>
                <a:cxn ang="0">
                  <a:pos x="0" y="8"/>
                </a:cxn>
                <a:cxn ang="0">
                  <a:pos x="0" y="0"/>
                </a:cxn>
                <a:cxn ang="0">
                  <a:pos x="2" y="0"/>
                </a:cxn>
                <a:cxn ang="0">
                  <a:pos x="4" y="2"/>
                </a:cxn>
                <a:cxn ang="0">
                  <a:pos x="4" y="2"/>
                </a:cxn>
                <a:cxn ang="0">
                  <a:pos x="6" y="4"/>
                </a:cxn>
                <a:cxn ang="0">
                  <a:pos x="10" y="4"/>
                </a:cxn>
                <a:cxn ang="0">
                  <a:pos x="12" y="6"/>
                </a:cxn>
                <a:cxn ang="0">
                  <a:pos x="12" y="8"/>
                </a:cxn>
                <a:cxn ang="0">
                  <a:pos x="12" y="8"/>
                </a:cxn>
                <a:cxn ang="0">
                  <a:pos x="12" y="8"/>
                </a:cxn>
                <a:cxn ang="0">
                  <a:pos x="14" y="8"/>
                </a:cxn>
                <a:cxn ang="0">
                  <a:pos x="18" y="8"/>
                </a:cxn>
                <a:cxn ang="0">
                  <a:pos x="18" y="8"/>
                </a:cxn>
                <a:cxn ang="0">
                  <a:pos x="22" y="10"/>
                </a:cxn>
                <a:cxn ang="0">
                  <a:pos x="28" y="10"/>
                </a:cxn>
                <a:cxn ang="0">
                  <a:pos x="28" y="10"/>
                </a:cxn>
                <a:cxn ang="0">
                  <a:pos x="36" y="8"/>
                </a:cxn>
                <a:cxn ang="0">
                  <a:pos x="36" y="8"/>
                </a:cxn>
                <a:cxn ang="0">
                  <a:pos x="36" y="10"/>
                </a:cxn>
                <a:cxn ang="0">
                  <a:pos x="36" y="10"/>
                </a:cxn>
                <a:cxn ang="0">
                  <a:pos x="32" y="12"/>
                </a:cxn>
                <a:cxn ang="0">
                  <a:pos x="30" y="14"/>
                </a:cxn>
                <a:cxn ang="0">
                  <a:pos x="30" y="14"/>
                </a:cxn>
                <a:cxn ang="0">
                  <a:pos x="28" y="14"/>
                </a:cxn>
                <a:cxn ang="0">
                  <a:pos x="30" y="14"/>
                </a:cxn>
                <a:cxn ang="0">
                  <a:pos x="32" y="16"/>
                </a:cxn>
                <a:cxn ang="0">
                  <a:pos x="30" y="18"/>
                </a:cxn>
                <a:cxn ang="0">
                  <a:pos x="30" y="18"/>
                </a:cxn>
                <a:cxn ang="0">
                  <a:pos x="26" y="18"/>
                </a:cxn>
                <a:cxn ang="0">
                  <a:pos x="26" y="18"/>
                </a:cxn>
                <a:cxn ang="0">
                  <a:pos x="24" y="16"/>
                </a:cxn>
                <a:cxn ang="0">
                  <a:pos x="24" y="16"/>
                </a:cxn>
                <a:cxn ang="0">
                  <a:pos x="24" y="16"/>
                </a:cxn>
                <a:cxn ang="0">
                  <a:pos x="20" y="14"/>
                </a:cxn>
                <a:cxn ang="0">
                  <a:pos x="18" y="14"/>
                </a:cxn>
                <a:cxn ang="0">
                  <a:pos x="18" y="14"/>
                </a:cxn>
                <a:cxn ang="0">
                  <a:pos x="18" y="14"/>
                </a:cxn>
                <a:cxn ang="0">
                  <a:pos x="18" y="16"/>
                </a:cxn>
                <a:cxn ang="0">
                  <a:pos x="16" y="16"/>
                </a:cxn>
                <a:cxn ang="0">
                  <a:pos x="16" y="16"/>
                </a:cxn>
                <a:cxn ang="0">
                  <a:pos x="10" y="14"/>
                </a:cxn>
                <a:cxn ang="0">
                  <a:pos x="10" y="14"/>
                </a:cxn>
                <a:cxn ang="0">
                  <a:pos x="10" y="14"/>
                </a:cxn>
                <a:cxn ang="0">
                  <a:pos x="10" y="14"/>
                </a:cxn>
                <a:cxn ang="0">
                  <a:pos x="10" y="12"/>
                </a:cxn>
                <a:cxn ang="0">
                  <a:pos x="8" y="12"/>
                </a:cxn>
                <a:cxn ang="0">
                  <a:pos x="8" y="12"/>
                </a:cxn>
                <a:cxn ang="0">
                  <a:pos x="4" y="12"/>
                </a:cxn>
                <a:cxn ang="0">
                  <a:pos x="4" y="10"/>
                </a:cxn>
                <a:cxn ang="0">
                  <a:pos x="4" y="10"/>
                </a:cxn>
                <a:cxn ang="0">
                  <a:pos x="4" y="8"/>
                </a:cxn>
                <a:cxn ang="0">
                  <a:pos x="4" y="8"/>
                </a:cxn>
                <a:cxn ang="0">
                  <a:pos x="4" y="8"/>
                </a:cxn>
                <a:cxn ang="0">
                  <a:pos x="2" y="10"/>
                </a:cxn>
                <a:cxn ang="0">
                  <a:pos x="0" y="8"/>
                </a:cxn>
                <a:cxn ang="0">
                  <a:pos x="0" y="8"/>
                </a:cxn>
              </a:cxnLst>
              <a:rect l="0" t="0" r="r" b="b"/>
              <a:pathLst>
                <a:path w="36" h="18">
                  <a:moveTo>
                    <a:pt x="0" y="8"/>
                  </a:moveTo>
                  <a:lnTo>
                    <a:pt x="0" y="8"/>
                  </a:lnTo>
                  <a:lnTo>
                    <a:pt x="0" y="0"/>
                  </a:lnTo>
                  <a:lnTo>
                    <a:pt x="2" y="0"/>
                  </a:lnTo>
                  <a:lnTo>
                    <a:pt x="4" y="2"/>
                  </a:lnTo>
                  <a:lnTo>
                    <a:pt x="4" y="2"/>
                  </a:lnTo>
                  <a:lnTo>
                    <a:pt x="6" y="4"/>
                  </a:lnTo>
                  <a:lnTo>
                    <a:pt x="10" y="4"/>
                  </a:lnTo>
                  <a:lnTo>
                    <a:pt x="12" y="6"/>
                  </a:lnTo>
                  <a:lnTo>
                    <a:pt x="12" y="8"/>
                  </a:lnTo>
                  <a:lnTo>
                    <a:pt x="12" y="8"/>
                  </a:lnTo>
                  <a:lnTo>
                    <a:pt x="12" y="8"/>
                  </a:lnTo>
                  <a:lnTo>
                    <a:pt x="14" y="8"/>
                  </a:lnTo>
                  <a:lnTo>
                    <a:pt x="18" y="8"/>
                  </a:lnTo>
                  <a:lnTo>
                    <a:pt x="18" y="8"/>
                  </a:lnTo>
                  <a:lnTo>
                    <a:pt x="22" y="10"/>
                  </a:lnTo>
                  <a:lnTo>
                    <a:pt x="28" y="10"/>
                  </a:lnTo>
                  <a:lnTo>
                    <a:pt x="28" y="10"/>
                  </a:lnTo>
                  <a:lnTo>
                    <a:pt x="36" y="8"/>
                  </a:lnTo>
                  <a:lnTo>
                    <a:pt x="36" y="8"/>
                  </a:lnTo>
                  <a:lnTo>
                    <a:pt x="36" y="10"/>
                  </a:lnTo>
                  <a:lnTo>
                    <a:pt x="36" y="10"/>
                  </a:lnTo>
                  <a:lnTo>
                    <a:pt x="32" y="12"/>
                  </a:lnTo>
                  <a:lnTo>
                    <a:pt x="30" y="14"/>
                  </a:lnTo>
                  <a:lnTo>
                    <a:pt x="30" y="14"/>
                  </a:lnTo>
                  <a:lnTo>
                    <a:pt x="28" y="14"/>
                  </a:lnTo>
                  <a:lnTo>
                    <a:pt x="30" y="14"/>
                  </a:lnTo>
                  <a:lnTo>
                    <a:pt x="32" y="16"/>
                  </a:lnTo>
                  <a:lnTo>
                    <a:pt x="30" y="18"/>
                  </a:lnTo>
                  <a:lnTo>
                    <a:pt x="30" y="18"/>
                  </a:lnTo>
                  <a:lnTo>
                    <a:pt x="26" y="18"/>
                  </a:lnTo>
                  <a:lnTo>
                    <a:pt x="26" y="18"/>
                  </a:lnTo>
                  <a:lnTo>
                    <a:pt x="24" y="16"/>
                  </a:lnTo>
                  <a:lnTo>
                    <a:pt x="24" y="16"/>
                  </a:lnTo>
                  <a:lnTo>
                    <a:pt x="24" y="16"/>
                  </a:lnTo>
                  <a:lnTo>
                    <a:pt x="20" y="14"/>
                  </a:lnTo>
                  <a:lnTo>
                    <a:pt x="18" y="14"/>
                  </a:lnTo>
                  <a:lnTo>
                    <a:pt x="18" y="14"/>
                  </a:lnTo>
                  <a:lnTo>
                    <a:pt x="18" y="14"/>
                  </a:lnTo>
                  <a:lnTo>
                    <a:pt x="18" y="16"/>
                  </a:lnTo>
                  <a:lnTo>
                    <a:pt x="16" y="16"/>
                  </a:lnTo>
                  <a:lnTo>
                    <a:pt x="16" y="16"/>
                  </a:lnTo>
                  <a:lnTo>
                    <a:pt x="10" y="14"/>
                  </a:lnTo>
                  <a:lnTo>
                    <a:pt x="10" y="14"/>
                  </a:lnTo>
                  <a:lnTo>
                    <a:pt x="10" y="14"/>
                  </a:lnTo>
                  <a:lnTo>
                    <a:pt x="10" y="14"/>
                  </a:lnTo>
                  <a:lnTo>
                    <a:pt x="10" y="12"/>
                  </a:lnTo>
                  <a:lnTo>
                    <a:pt x="8" y="12"/>
                  </a:lnTo>
                  <a:lnTo>
                    <a:pt x="8" y="12"/>
                  </a:lnTo>
                  <a:lnTo>
                    <a:pt x="4" y="12"/>
                  </a:lnTo>
                  <a:lnTo>
                    <a:pt x="4" y="10"/>
                  </a:lnTo>
                  <a:lnTo>
                    <a:pt x="4" y="10"/>
                  </a:lnTo>
                  <a:lnTo>
                    <a:pt x="4" y="8"/>
                  </a:lnTo>
                  <a:lnTo>
                    <a:pt x="4" y="8"/>
                  </a:lnTo>
                  <a:lnTo>
                    <a:pt x="4" y="8"/>
                  </a:lnTo>
                  <a:lnTo>
                    <a:pt x="2" y="10"/>
                  </a:lnTo>
                  <a:lnTo>
                    <a:pt x="0" y="8"/>
                  </a:lnTo>
                  <a:lnTo>
                    <a:pt x="0" y="8"/>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Canada"/>
            <p:cNvSpPr>
              <a:spLocks/>
            </p:cNvSpPr>
            <p:nvPr/>
          </p:nvSpPr>
          <p:spPr bwMode="auto">
            <a:xfrm>
              <a:off x="2647122" y="2125927"/>
              <a:ext cx="37042" cy="29104"/>
            </a:xfrm>
            <a:custGeom>
              <a:avLst/>
              <a:gdLst/>
              <a:ahLst/>
              <a:cxnLst>
                <a:cxn ang="0">
                  <a:pos x="0" y="20"/>
                </a:cxn>
                <a:cxn ang="0">
                  <a:pos x="0" y="20"/>
                </a:cxn>
                <a:cxn ang="0">
                  <a:pos x="0" y="14"/>
                </a:cxn>
                <a:cxn ang="0">
                  <a:pos x="4" y="12"/>
                </a:cxn>
                <a:cxn ang="0">
                  <a:pos x="4" y="12"/>
                </a:cxn>
                <a:cxn ang="0">
                  <a:pos x="12" y="6"/>
                </a:cxn>
                <a:cxn ang="0">
                  <a:pos x="18" y="0"/>
                </a:cxn>
                <a:cxn ang="0">
                  <a:pos x="18" y="0"/>
                </a:cxn>
                <a:cxn ang="0">
                  <a:pos x="20" y="0"/>
                </a:cxn>
                <a:cxn ang="0">
                  <a:pos x="20" y="2"/>
                </a:cxn>
                <a:cxn ang="0">
                  <a:pos x="20" y="4"/>
                </a:cxn>
                <a:cxn ang="0">
                  <a:pos x="20" y="4"/>
                </a:cxn>
                <a:cxn ang="0">
                  <a:pos x="22" y="6"/>
                </a:cxn>
                <a:cxn ang="0">
                  <a:pos x="20" y="8"/>
                </a:cxn>
                <a:cxn ang="0">
                  <a:pos x="18" y="10"/>
                </a:cxn>
                <a:cxn ang="0">
                  <a:pos x="18" y="10"/>
                </a:cxn>
                <a:cxn ang="0">
                  <a:pos x="24" y="10"/>
                </a:cxn>
                <a:cxn ang="0">
                  <a:pos x="26" y="10"/>
                </a:cxn>
                <a:cxn ang="0">
                  <a:pos x="26" y="12"/>
                </a:cxn>
                <a:cxn ang="0">
                  <a:pos x="26" y="12"/>
                </a:cxn>
                <a:cxn ang="0">
                  <a:pos x="26" y="12"/>
                </a:cxn>
                <a:cxn ang="0">
                  <a:pos x="26" y="14"/>
                </a:cxn>
                <a:cxn ang="0">
                  <a:pos x="28" y="16"/>
                </a:cxn>
                <a:cxn ang="0">
                  <a:pos x="26" y="16"/>
                </a:cxn>
                <a:cxn ang="0">
                  <a:pos x="26" y="16"/>
                </a:cxn>
                <a:cxn ang="0">
                  <a:pos x="20" y="18"/>
                </a:cxn>
                <a:cxn ang="0">
                  <a:pos x="16" y="20"/>
                </a:cxn>
                <a:cxn ang="0">
                  <a:pos x="16" y="20"/>
                </a:cxn>
                <a:cxn ang="0">
                  <a:pos x="12" y="20"/>
                </a:cxn>
                <a:cxn ang="0">
                  <a:pos x="8" y="22"/>
                </a:cxn>
                <a:cxn ang="0">
                  <a:pos x="8" y="22"/>
                </a:cxn>
                <a:cxn ang="0">
                  <a:pos x="4" y="22"/>
                </a:cxn>
                <a:cxn ang="0">
                  <a:pos x="2" y="22"/>
                </a:cxn>
                <a:cxn ang="0">
                  <a:pos x="0" y="20"/>
                </a:cxn>
                <a:cxn ang="0">
                  <a:pos x="0" y="20"/>
                </a:cxn>
              </a:cxnLst>
              <a:rect l="0" t="0" r="r" b="b"/>
              <a:pathLst>
                <a:path w="28" h="22">
                  <a:moveTo>
                    <a:pt x="0" y="20"/>
                  </a:moveTo>
                  <a:lnTo>
                    <a:pt x="0" y="20"/>
                  </a:lnTo>
                  <a:lnTo>
                    <a:pt x="0" y="14"/>
                  </a:lnTo>
                  <a:lnTo>
                    <a:pt x="4" y="12"/>
                  </a:lnTo>
                  <a:lnTo>
                    <a:pt x="4" y="12"/>
                  </a:lnTo>
                  <a:lnTo>
                    <a:pt x="12" y="6"/>
                  </a:lnTo>
                  <a:lnTo>
                    <a:pt x="18" y="0"/>
                  </a:lnTo>
                  <a:lnTo>
                    <a:pt x="18" y="0"/>
                  </a:lnTo>
                  <a:lnTo>
                    <a:pt x="20" y="0"/>
                  </a:lnTo>
                  <a:lnTo>
                    <a:pt x="20" y="2"/>
                  </a:lnTo>
                  <a:lnTo>
                    <a:pt x="20" y="4"/>
                  </a:lnTo>
                  <a:lnTo>
                    <a:pt x="20" y="4"/>
                  </a:lnTo>
                  <a:lnTo>
                    <a:pt x="22" y="6"/>
                  </a:lnTo>
                  <a:lnTo>
                    <a:pt x="20" y="8"/>
                  </a:lnTo>
                  <a:lnTo>
                    <a:pt x="18" y="10"/>
                  </a:lnTo>
                  <a:lnTo>
                    <a:pt x="18" y="10"/>
                  </a:lnTo>
                  <a:lnTo>
                    <a:pt x="24" y="10"/>
                  </a:lnTo>
                  <a:lnTo>
                    <a:pt x="26" y="10"/>
                  </a:lnTo>
                  <a:lnTo>
                    <a:pt x="26" y="12"/>
                  </a:lnTo>
                  <a:lnTo>
                    <a:pt x="26" y="12"/>
                  </a:lnTo>
                  <a:lnTo>
                    <a:pt x="26" y="12"/>
                  </a:lnTo>
                  <a:lnTo>
                    <a:pt x="26" y="14"/>
                  </a:lnTo>
                  <a:lnTo>
                    <a:pt x="28" y="16"/>
                  </a:lnTo>
                  <a:lnTo>
                    <a:pt x="26" y="16"/>
                  </a:lnTo>
                  <a:lnTo>
                    <a:pt x="26" y="16"/>
                  </a:lnTo>
                  <a:lnTo>
                    <a:pt x="20" y="18"/>
                  </a:lnTo>
                  <a:lnTo>
                    <a:pt x="16" y="20"/>
                  </a:lnTo>
                  <a:lnTo>
                    <a:pt x="16" y="20"/>
                  </a:lnTo>
                  <a:lnTo>
                    <a:pt x="12" y="20"/>
                  </a:lnTo>
                  <a:lnTo>
                    <a:pt x="8" y="22"/>
                  </a:lnTo>
                  <a:lnTo>
                    <a:pt x="8" y="22"/>
                  </a:lnTo>
                  <a:lnTo>
                    <a:pt x="4" y="22"/>
                  </a:lnTo>
                  <a:lnTo>
                    <a:pt x="2" y="22"/>
                  </a:lnTo>
                  <a:lnTo>
                    <a:pt x="0" y="20"/>
                  </a:lnTo>
                  <a:lnTo>
                    <a:pt x="0" y="20"/>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Canada"/>
            <p:cNvSpPr>
              <a:spLocks/>
            </p:cNvSpPr>
            <p:nvPr/>
          </p:nvSpPr>
          <p:spPr bwMode="auto">
            <a:xfrm>
              <a:off x="2710622" y="1996281"/>
              <a:ext cx="158750" cy="124354"/>
            </a:xfrm>
            <a:custGeom>
              <a:avLst/>
              <a:gdLst/>
              <a:ahLst/>
              <a:cxnLst>
                <a:cxn ang="0">
                  <a:pos x="70" y="12"/>
                </a:cxn>
                <a:cxn ang="0">
                  <a:pos x="70" y="10"/>
                </a:cxn>
                <a:cxn ang="0">
                  <a:pos x="82" y="2"/>
                </a:cxn>
                <a:cxn ang="0">
                  <a:pos x="90" y="0"/>
                </a:cxn>
                <a:cxn ang="0">
                  <a:pos x="92" y="2"/>
                </a:cxn>
                <a:cxn ang="0">
                  <a:pos x="96" y="4"/>
                </a:cxn>
                <a:cxn ang="0">
                  <a:pos x="90" y="8"/>
                </a:cxn>
                <a:cxn ang="0">
                  <a:pos x="94" y="8"/>
                </a:cxn>
                <a:cxn ang="0">
                  <a:pos x="92" y="14"/>
                </a:cxn>
                <a:cxn ang="0">
                  <a:pos x="84" y="20"/>
                </a:cxn>
                <a:cxn ang="0">
                  <a:pos x="80" y="22"/>
                </a:cxn>
                <a:cxn ang="0">
                  <a:pos x="76" y="24"/>
                </a:cxn>
                <a:cxn ang="0">
                  <a:pos x="68" y="30"/>
                </a:cxn>
                <a:cxn ang="0">
                  <a:pos x="72" y="30"/>
                </a:cxn>
                <a:cxn ang="0">
                  <a:pos x="80" y="28"/>
                </a:cxn>
                <a:cxn ang="0">
                  <a:pos x="82" y="30"/>
                </a:cxn>
                <a:cxn ang="0">
                  <a:pos x="88" y="30"/>
                </a:cxn>
                <a:cxn ang="0">
                  <a:pos x="74" y="36"/>
                </a:cxn>
                <a:cxn ang="0">
                  <a:pos x="82" y="36"/>
                </a:cxn>
                <a:cxn ang="0">
                  <a:pos x="86" y="38"/>
                </a:cxn>
                <a:cxn ang="0">
                  <a:pos x="88" y="42"/>
                </a:cxn>
                <a:cxn ang="0">
                  <a:pos x="90" y="46"/>
                </a:cxn>
                <a:cxn ang="0">
                  <a:pos x="100" y="44"/>
                </a:cxn>
                <a:cxn ang="0">
                  <a:pos x="114" y="44"/>
                </a:cxn>
                <a:cxn ang="0">
                  <a:pos x="116" y="50"/>
                </a:cxn>
                <a:cxn ang="0">
                  <a:pos x="110" y="52"/>
                </a:cxn>
                <a:cxn ang="0">
                  <a:pos x="104" y="56"/>
                </a:cxn>
                <a:cxn ang="0">
                  <a:pos x="114" y="56"/>
                </a:cxn>
                <a:cxn ang="0">
                  <a:pos x="120" y="58"/>
                </a:cxn>
                <a:cxn ang="0">
                  <a:pos x="116" y="62"/>
                </a:cxn>
                <a:cxn ang="0">
                  <a:pos x="110" y="66"/>
                </a:cxn>
                <a:cxn ang="0">
                  <a:pos x="114" y="68"/>
                </a:cxn>
                <a:cxn ang="0">
                  <a:pos x="104" y="72"/>
                </a:cxn>
                <a:cxn ang="0">
                  <a:pos x="98" y="76"/>
                </a:cxn>
                <a:cxn ang="0">
                  <a:pos x="90" y="80"/>
                </a:cxn>
                <a:cxn ang="0">
                  <a:pos x="84" y="86"/>
                </a:cxn>
                <a:cxn ang="0">
                  <a:pos x="78" y="90"/>
                </a:cxn>
                <a:cxn ang="0">
                  <a:pos x="64" y="92"/>
                </a:cxn>
                <a:cxn ang="0">
                  <a:pos x="62" y="90"/>
                </a:cxn>
                <a:cxn ang="0">
                  <a:pos x="72" y="84"/>
                </a:cxn>
                <a:cxn ang="0">
                  <a:pos x="80" y="78"/>
                </a:cxn>
                <a:cxn ang="0">
                  <a:pos x="74" y="78"/>
                </a:cxn>
                <a:cxn ang="0">
                  <a:pos x="68" y="78"/>
                </a:cxn>
                <a:cxn ang="0">
                  <a:pos x="64" y="76"/>
                </a:cxn>
                <a:cxn ang="0">
                  <a:pos x="58" y="78"/>
                </a:cxn>
                <a:cxn ang="0">
                  <a:pos x="54" y="76"/>
                </a:cxn>
                <a:cxn ang="0">
                  <a:pos x="50" y="76"/>
                </a:cxn>
                <a:cxn ang="0">
                  <a:pos x="40" y="80"/>
                </a:cxn>
                <a:cxn ang="0">
                  <a:pos x="26" y="80"/>
                </a:cxn>
                <a:cxn ang="0">
                  <a:pos x="22" y="78"/>
                </a:cxn>
                <a:cxn ang="0">
                  <a:pos x="8" y="80"/>
                </a:cxn>
                <a:cxn ang="0">
                  <a:pos x="2" y="78"/>
                </a:cxn>
                <a:cxn ang="0">
                  <a:pos x="0" y="74"/>
                </a:cxn>
                <a:cxn ang="0">
                  <a:pos x="12" y="66"/>
                </a:cxn>
                <a:cxn ang="0">
                  <a:pos x="18" y="64"/>
                </a:cxn>
                <a:cxn ang="0">
                  <a:pos x="8" y="64"/>
                </a:cxn>
                <a:cxn ang="0">
                  <a:pos x="16" y="62"/>
                </a:cxn>
                <a:cxn ang="0">
                  <a:pos x="28" y="54"/>
                </a:cxn>
                <a:cxn ang="0">
                  <a:pos x="32" y="50"/>
                </a:cxn>
                <a:cxn ang="0">
                  <a:pos x="36" y="46"/>
                </a:cxn>
                <a:cxn ang="0">
                  <a:pos x="46" y="38"/>
                </a:cxn>
                <a:cxn ang="0">
                  <a:pos x="62" y="16"/>
                </a:cxn>
              </a:cxnLst>
              <a:rect l="0" t="0" r="r" b="b"/>
              <a:pathLst>
                <a:path w="120" h="94">
                  <a:moveTo>
                    <a:pt x="62" y="16"/>
                  </a:moveTo>
                  <a:lnTo>
                    <a:pt x="62" y="16"/>
                  </a:lnTo>
                  <a:lnTo>
                    <a:pt x="68" y="14"/>
                  </a:lnTo>
                  <a:lnTo>
                    <a:pt x="70" y="12"/>
                  </a:lnTo>
                  <a:lnTo>
                    <a:pt x="70" y="10"/>
                  </a:lnTo>
                  <a:lnTo>
                    <a:pt x="70" y="10"/>
                  </a:lnTo>
                  <a:lnTo>
                    <a:pt x="70" y="10"/>
                  </a:lnTo>
                  <a:lnTo>
                    <a:pt x="70" y="10"/>
                  </a:lnTo>
                  <a:lnTo>
                    <a:pt x="74" y="8"/>
                  </a:lnTo>
                  <a:lnTo>
                    <a:pt x="74" y="8"/>
                  </a:lnTo>
                  <a:lnTo>
                    <a:pt x="78" y="4"/>
                  </a:lnTo>
                  <a:lnTo>
                    <a:pt x="82" y="2"/>
                  </a:lnTo>
                  <a:lnTo>
                    <a:pt x="82" y="2"/>
                  </a:lnTo>
                  <a:lnTo>
                    <a:pt x="86" y="0"/>
                  </a:lnTo>
                  <a:lnTo>
                    <a:pt x="90" y="0"/>
                  </a:lnTo>
                  <a:lnTo>
                    <a:pt x="90" y="0"/>
                  </a:lnTo>
                  <a:lnTo>
                    <a:pt x="92" y="0"/>
                  </a:lnTo>
                  <a:lnTo>
                    <a:pt x="90" y="2"/>
                  </a:lnTo>
                  <a:lnTo>
                    <a:pt x="90" y="2"/>
                  </a:lnTo>
                  <a:lnTo>
                    <a:pt x="92" y="2"/>
                  </a:lnTo>
                  <a:lnTo>
                    <a:pt x="92" y="2"/>
                  </a:lnTo>
                  <a:lnTo>
                    <a:pt x="96" y="2"/>
                  </a:lnTo>
                  <a:lnTo>
                    <a:pt x="96" y="4"/>
                  </a:lnTo>
                  <a:lnTo>
                    <a:pt x="96" y="4"/>
                  </a:lnTo>
                  <a:lnTo>
                    <a:pt x="94" y="6"/>
                  </a:lnTo>
                  <a:lnTo>
                    <a:pt x="92" y="6"/>
                  </a:lnTo>
                  <a:lnTo>
                    <a:pt x="92" y="6"/>
                  </a:lnTo>
                  <a:lnTo>
                    <a:pt x="90" y="8"/>
                  </a:lnTo>
                  <a:lnTo>
                    <a:pt x="90" y="8"/>
                  </a:lnTo>
                  <a:lnTo>
                    <a:pt x="90" y="8"/>
                  </a:lnTo>
                  <a:lnTo>
                    <a:pt x="90" y="8"/>
                  </a:lnTo>
                  <a:lnTo>
                    <a:pt x="94" y="8"/>
                  </a:lnTo>
                  <a:lnTo>
                    <a:pt x="94" y="10"/>
                  </a:lnTo>
                  <a:lnTo>
                    <a:pt x="94" y="12"/>
                  </a:lnTo>
                  <a:lnTo>
                    <a:pt x="94" y="12"/>
                  </a:lnTo>
                  <a:lnTo>
                    <a:pt x="92" y="14"/>
                  </a:lnTo>
                  <a:lnTo>
                    <a:pt x="90" y="16"/>
                  </a:lnTo>
                  <a:lnTo>
                    <a:pt x="90" y="16"/>
                  </a:lnTo>
                  <a:lnTo>
                    <a:pt x="86" y="18"/>
                  </a:lnTo>
                  <a:lnTo>
                    <a:pt x="84" y="20"/>
                  </a:lnTo>
                  <a:lnTo>
                    <a:pt x="84" y="20"/>
                  </a:lnTo>
                  <a:lnTo>
                    <a:pt x="84" y="20"/>
                  </a:lnTo>
                  <a:lnTo>
                    <a:pt x="82" y="20"/>
                  </a:lnTo>
                  <a:lnTo>
                    <a:pt x="80" y="22"/>
                  </a:lnTo>
                  <a:lnTo>
                    <a:pt x="80" y="24"/>
                  </a:lnTo>
                  <a:lnTo>
                    <a:pt x="78" y="24"/>
                  </a:lnTo>
                  <a:lnTo>
                    <a:pt x="78" y="24"/>
                  </a:lnTo>
                  <a:lnTo>
                    <a:pt x="76" y="24"/>
                  </a:lnTo>
                  <a:lnTo>
                    <a:pt x="76" y="24"/>
                  </a:lnTo>
                  <a:lnTo>
                    <a:pt x="74" y="26"/>
                  </a:lnTo>
                  <a:lnTo>
                    <a:pt x="74" y="26"/>
                  </a:lnTo>
                  <a:lnTo>
                    <a:pt x="68" y="30"/>
                  </a:lnTo>
                  <a:lnTo>
                    <a:pt x="66" y="34"/>
                  </a:lnTo>
                  <a:lnTo>
                    <a:pt x="66" y="36"/>
                  </a:lnTo>
                  <a:lnTo>
                    <a:pt x="66" y="36"/>
                  </a:lnTo>
                  <a:lnTo>
                    <a:pt x="72" y="30"/>
                  </a:lnTo>
                  <a:lnTo>
                    <a:pt x="78" y="28"/>
                  </a:lnTo>
                  <a:lnTo>
                    <a:pt x="78" y="28"/>
                  </a:lnTo>
                  <a:lnTo>
                    <a:pt x="80" y="28"/>
                  </a:lnTo>
                  <a:lnTo>
                    <a:pt x="80" y="28"/>
                  </a:lnTo>
                  <a:lnTo>
                    <a:pt x="80" y="30"/>
                  </a:lnTo>
                  <a:lnTo>
                    <a:pt x="80" y="30"/>
                  </a:lnTo>
                  <a:lnTo>
                    <a:pt x="80" y="30"/>
                  </a:lnTo>
                  <a:lnTo>
                    <a:pt x="82" y="30"/>
                  </a:lnTo>
                  <a:lnTo>
                    <a:pt x="86" y="30"/>
                  </a:lnTo>
                  <a:lnTo>
                    <a:pt x="86" y="30"/>
                  </a:lnTo>
                  <a:lnTo>
                    <a:pt x="88" y="30"/>
                  </a:lnTo>
                  <a:lnTo>
                    <a:pt x="88" y="30"/>
                  </a:lnTo>
                  <a:lnTo>
                    <a:pt x="88" y="30"/>
                  </a:lnTo>
                  <a:lnTo>
                    <a:pt x="86" y="32"/>
                  </a:lnTo>
                  <a:lnTo>
                    <a:pt x="82" y="34"/>
                  </a:lnTo>
                  <a:lnTo>
                    <a:pt x="74" y="36"/>
                  </a:lnTo>
                  <a:lnTo>
                    <a:pt x="74" y="36"/>
                  </a:lnTo>
                  <a:lnTo>
                    <a:pt x="82" y="36"/>
                  </a:lnTo>
                  <a:lnTo>
                    <a:pt x="82" y="36"/>
                  </a:lnTo>
                  <a:lnTo>
                    <a:pt x="82" y="36"/>
                  </a:lnTo>
                  <a:lnTo>
                    <a:pt x="82" y="36"/>
                  </a:lnTo>
                  <a:lnTo>
                    <a:pt x="82" y="38"/>
                  </a:lnTo>
                  <a:lnTo>
                    <a:pt x="84" y="38"/>
                  </a:lnTo>
                  <a:lnTo>
                    <a:pt x="86" y="38"/>
                  </a:lnTo>
                  <a:lnTo>
                    <a:pt x="86" y="40"/>
                  </a:lnTo>
                  <a:lnTo>
                    <a:pt x="86" y="40"/>
                  </a:lnTo>
                  <a:lnTo>
                    <a:pt x="86" y="42"/>
                  </a:lnTo>
                  <a:lnTo>
                    <a:pt x="88" y="42"/>
                  </a:lnTo>
                  <a:lnTo>
                    <a:pt x="90" y="42"/>
                  </a:lnTo>
                  <a:lnTo>
                    <a:pt x="90" y="44"/>
                  </a:lnTo>
                  <a:lnTo>
                    <a:pt x="90" y="44"/>
                  </a:lnTo>
                  <a:lnTo>
                    <a:pt x="90" y="46"/>
                  </a:lnTo>
                  <a:lnTo>
                    <a:pt x="92" y="46"/>
                  </a:lnTo>
                  <a:lnTo>
                    <a:pt x="98" y="44"/>
                  </a:lnTo>
                  <a:lnTo>
                    <a:pt x="98" y="44"/>
                  </a:lnTo>
                  <a:lnTo>
                    <a:pt x="100" y="44"/>
                  </a:lnTo>
                  <a:lnTo>
                    <a:pt x="104" y="44"/>
                  </a:lnTo>
                  <a:lnTo>
                    <a:pt x="104" y="44"/>
                  </a:lnTo>
                  <a:lnTo>
                    <a:pt x="110" y="44"/>
                  </a:lnTo>
                  <a:lnTo>
                    <a:pt x="114" y="44"/>
                  </a:lnTo>
                  <a:lnTo>
                    <a:pt x="116" y="46"/>
                  </a:lnTo>
                  <a:lnTo>
                    <a:pt x="116" y="46"/>
                  </a:lnTo>
                  <a:lnTo>
                    <a:pt x="116" y="48"/>
                  </a:lnTo>
                  <a:lnTo>
                    <a:pt x="116" y="50"/>
                  </a:lnTo>
                  <a:lnTo>
                    <a:pt x="114" y="50"/>
                  </a:lnTo>
                  <a:lnTo>
                    <a:pt x="114" y="50"/>
                  </a:lnTo>
                  <a:lnTo>
                    <a:pt x="112" y="52"/>
                  </a:lnTo>
                  <a:lnTo>
                    <a:pt x="110" y="52"/>
                  </a:lnTo>
                  <a:lnTo>
                    <a:pt x="110" y="52"/>
                  </a:lnTo>
                  <a:lnTo>
                    <a:pt x="108" y="54"/>
                  </a:lnTo>
                  <a:lnTo>
                    <a:pt x="104" y="56"/>
                  </a:lnTo>
                  <a:lnTo>
                    <a:pt x="104" y="56"/>
                  </a:lnTo>
                  <a:lnTo>
                    <a:pt x="106" y="56"/>
                  </a:lnTo>
                  <a:lnTo>
                    <a:pt x="110" y="56"/>
                  </a:lnTo>
                  <a:lnTo>
                    <a:pt x="110" y="56"/>
                  </a:lnTo>
                  <a:lnTo>
                    <a:pt x="114" y="56"/>
                  </a:lnTo>
                  <a:lnTo>
                    <a:pt x="118" y="56"/>
                  </a:lnTo>
                  <a:lnTo>
                    <a:pt x="118" y="56"/>
                  </a:lnTo>
                  <a:lnTo>
                    <a:pt x="120" y="56"/>
                  </a:lnTo>
                  <a:lnTo>
                    <a:pt x="120" y="58"/>
                  </a:lnTo>
                  <a:lnTo>
                    <a:pt x="120" y="58"/>
                  </a:lnTo>
                  <a:lnTo>
                    <a:pt x="118" y="60"/>
                  </a:lnTo>
                  <a:lnTo>
                    <a:pt x="116" y="62"/>
                  </a:lnTo>
                  <a:lnTo>
                    <a:pt x="116" y="62"/>
                  </a:lnTo>
                  <a:lnTo>
                    <a:pt x="112" y="64"/>
                  </a:lnTo>
                  <a:lnTo>
                    <a:pt x="108" y="64"/>
                  </a:lnTo>
                  <a:lnTo>
                    <a:pt x="108" y="64"/>
                  </a:lnTo>
                  <a:lnTo>
                    <a:pt x="110" y="66"/>
                  </a:lnTo>
                  <a:lnTo>
                    <a:pt x="114" y="66"/>
                  </a:lnTo>
                  <a:lnTo>
                    <a:pt x="114" y="68"/>
                  </a:lnTo>
                  <a:lnTo>
                    <a:pt x="114" y="68"/>
                  </a:lnTo>
                  <a:lnTo>
                    <a:pt x="114" y="68"/>
                  </a:lnTo>
                  <a:lnTo>
                    <a:pt x="108" y="72"/>
                  </a:lnTo>
                  <a:lnTo>
                    <a:pt x="106" y="72"/>
                  </a:lnTo>
                  <a:lnTo>
                    <a:pt x="104" y="72"/>
                  </a:lnTo>
                  <a:lnTo>
                    <a:pt x="104" y="72"/>
                  </a:lnTo>
                  <a:lnTo>
                    <a:pt x="104" y="70"/>
                  </a:lnTo>
                  <a:lnTo>
                    <a:pt x="100" y="74"/>
                  </a:lnTo>
                  <a:lnTo>
                    <a:pt x="100" y="74"/>
                  </a:lnTo>
                  <a:lnTo>
                    <a:pt x="98" y="76"/>
                  </a:lnTo>
                  <a:lnTo>
                    <a:pt x="94" y="78"/>
                  </a:lnTo>
                  <a:lnTo>
                    <a:pt x="94" y="78"/>
                  </a:lnTo>
                  <a:lnTo>
                    <a:pt x="90" y="80"/>
                  </a:lnTo>
                  <a:lnTo>
                    <a:pt x="90" y="80"/>
                  </a:lnTo>
                  <a:lnTo>
                    <a:pt x="88" y="82"/>
                  </a:lnTo>
                  <a:lnTo>
                    <a:pt x="88" y="82"/>
                  </a:lnTo>
                  <a:lnTo>
                    <a:pt x="84" y="84"/>
                  </a:lnTo>
                  <a:lnTo>
                    <a:pt x="84" y="86"/>
                  </a:lnTo>
                  <a:lnTo>
                    <a:pt x="84" y="86"/>
                  </a:lnTo>
                  <a:lnTo>
                    <a:pt x="80" y="88"/>
                  </a:lnTo>
                  <a:lnTo>
                    <a:pt x="78" y="90"/>
                  </a:lnTo>
                  <a:lnTo>
                    <a:pt x="78" y="90"/>
                  </a:lnTo>
                  <a:lnTo>
                    <a:pt x="68" y="94"/>
                  </a:lnTo>
                  <a:lnTo>
                    <a:pt x="68" y="94"/>
                  </a:lnTo>
                  <a:lnTo>
                    <a:pt x="66" y="92"/>
                  </a:lnTo>
                  <a:lnTo>
                    <a:pt x="64" y="92"/>
                  </a:lnTo>
                  <a:lnTo>
                    <a:pt x="64" y="92"/>
                  </a:lnTo>
                  <a:lnTo>
                    <a:pt x="62" y="92"/>
                  </a:lnTo>
                  <a:lnTo>
                    <a:pt x="62" y="90"/>
                  </a:lnTo>
                  <a:lnTo>
                    <a:pt x="62" y="90"/>
                  </a:lnTo>
                  <a:lnTo>
                    <a:pt x="64" y="88"/>
                  </a:lnTo>
                  <a:lnTo>
                    <a:pt x="64" y="88"/>
                  </a:lnTo>
                  <a:lnTo>
                    <a:pt x="70" y="86"/>
                  </a:lnTo>
                  <a:lnTo>
                    <a:pt x="72" y="84"/>
                  </a:lnTo>
                  <a:lnTo>
                    <a:pt x="72" y="84"/>
                  </a:lnTo>
                  <a:lnTo>
                    <a:pt x="76" y="80"/>
                  </a:lnTo>
                  <a:lnTo>
                    <a:pt x="80" y="78"/>
                  </a:lnTo>
                  <a:lnTo>
                    <a:pt x="80" y="78"/>
                  </a:lnTo>
                  <a:lnTo>
                    <a:pt x="80" y="78"/>
                  </a:lnTo>
                  <a:lnTo>
                    <a:pt x="80" y="78"/>
                  </a:lnTo>
                  <a:lnTo>
                    <a:pt x="74" y="78"/>
                  </a:lnTo>
                  <a:lnTo>
                    <a:pt x="74" y="78"/>
                  </a:lnTo>
                  <a:lnTo>
                    <a:pt x="70" y="78"/>
                  </a:lnTo>
                  <a:lnTo>
                    <a:pt x="68" y="78"/>
                  </a:lnTo>
                  <a:lnTo>
                    <a:pt x="68" y="78"/>
                  </a:lnTo>
                  <a:lnTo>
                    <a:pt x="68" y="78"/>
                  </a:lnTo>
                  <a:lnTo>
                    <a:pt x="64" y="78"/>
                  </a:lnTo>
                  <a:lnTo>
                    <a:pt x="64" y="78"/>
                  </a:lnTo>
                  <a:lnTo>
                    <a:pt x="64" y="78"/>
                  </a:lnTo>
                  <a:lnTo>
                    <a:pt x="64" y="76"/>
                  </a:lnTo>
                  <a:lnTo>
                    <a:pt x="64" y="76"/>
                  </a:lnTo>
                  <a:lnTo>
                    <a:pt x="62" y="76"/>
                  </a:lnTo>
                  <a:lnTo>
                    <a:pt x="62" y="76"/>
                  </a:lnTo>
                  <a:lnTo>
                    <a:pt x="58" y="78"/>
                  </a:lnTo>
                  <a:lnTo>
                    <a:pt x="56" y="78"/>
                  </a:lnTo>
                  <a:lnTo>
                    <a:pt x="56" y="78"/>
                  </a:lnTo>
                  <a:lnTo>
                    <a:pt x="56" y="78"/>
                  </a:lnTo>
                  <a:lnTo>
                    <a:pt x="54" y="76"/>
                  </a:lnTo>
                  <a:lnTo>
                    <a:pt x="52" y="76"/>
                  </a:lnTo>
                  <a:lnTo>
                    <a:pt x="50" y="78"/>
                  </a:lnTo>
                  <a:lnTo>
                    <a:pt x="50" y="76"/>
                  </a:lnTo>
                  <a:lnTo>
                    <a:pt x="50" y="76"/>
                  </a:lnTo>
                  <a:lnTo>
                    <a:pt x="48" y="76"/>
                  </a:lnTo>
                  <a:lnTo>
                    <a:pt x="46" y="78"/>
                  </a:lnTo>
                  <a:lnTo>
                    <a:pt x="42" y="80"/>
                  </a:lnTo>
                  <a:lnTo>
                    <a:pt x="40" y="80"/>
                  </a:lnTo>
                  <a:lnTo>
                    <a:pt x="40" y="80"/>
                  </a:lnTo>
                  <a:lnTo>
                    <a:pt x="36" y="80"/>
                  </a:lnTo>
                  <a:lnTo>
                    <a:pt x="32" y="80"/>
                  </a:lnTo>
                  <a:lnTo>
                    <a:pt x="26" y="80"/>
                  </a:lnTo>
                  <a:lnTo>
                    <a:pt x="26" y="80"/>
                  </a:lnTo>
                  <a:lnTo>
                    <a:pt x="22" y="80"/>
                  </a:lnTo>
                  <a:lnTo>
                    <a:pt x="22" y="78"/>
                  </a:lnTo>
                  <a:lnTo>
                    <a:pt x="22" y="78"/>
                  </a:lnTo>
                  <a:lnTo>
                    <a:pt x="22" y="80"/>
                  </a:lnTo>
                  <a:lnTo>
                    <a:pt x="16" y="80"/>
                  </a:lnTo>
                  <a:lnTo>
                    <a:pt x="16" y="80"/>
                  </a:lnTo>
                  <a:lnTo>
                    <a:pt x="8" y="80"/>
                  </a:lnTo>
                  <a:lnTo>
                    <a:pt x="4" y="82"/>
                  </a:lnTo>
                  <a:lnTo>
                    <a:pt x="4" y="82"/>
                  </a:lnTo>
                  <a:lnTo>
                    <a:pt x="2" y="82"/>
                  </a:lnTo>
                  <a:lnTo>
                    <a:pt x="2" y="78"/>
                  </a:lnTo>
                  <a:lnTo>
                    <a:pt x="2" y="78"/>
                  </a:lnTo>
                  <a:lnTo>
                    <a:pt x="2" y="76"/>
                  </a:lnTo>
                  <a:lnTo>
                    <a:pt x="0" y="74"/>
                  </a:lnTo>
                  <a:lnTo>
                    <a:pt x="0" y="74"/>
                  </a:lnTo>
                  <a:lnTo>
                    <a:pt x="2" y="72"/>
                  </a:lnTo>
                  <a:lnTo>
                    <a:pt x="2" y="72"/>
                  </a:lnTo>
                  <a:lnTo>
                    <a:pt x="8" y="68"/>
                  </a:lnTo>
                  <a:lnTo>
                    <a:pt x="12" y="66"/>
                  </a:lnTo>
                  <a:lnTo>
                    <a:pt x="12" y="66"/>
                  </a:lnTo>
                  <a:lnTo>
                    <a:pt x="18" y="64"/>
                  </a:lnTo>
                  <a:lnTo>
                    <a:pt x="18" y="64"/>
                  </a:lnTo>
                  <a:lnTo>
                    <a:pt x="18" y="64"/>
                  </a:lnTo>
                  <a:lnTo>
                    <a:pt x="18" y="64"/>
                  </a:lnTo>
                  <a:lnTo>
                    <a:pt x="10" y="66"/>
                  </a:lnTo>
                  <a:lnTo>
                    <a:pt x="8" y="66"/>
                  </a:lnTo>
                  <a:lnTo>
                    <a:pt x="8" y="64"/>
                  </a:lnTo>
                  <a:lnTo>
                    <a:pt x="8" y="64"/>
                  </a:lnTo>
                  <a:lnTo>
                    <a:pt x="12" y="64"/>
                  </a:lnTo>
                  <a:lnTo>
                    <a:pt x="16" y="62"/>
                  </a:lnTo>
                  <a:lnTo>
                    <a:pt x="16" y="62"/>
                  </a:lnTo>
                  <a:lnTo>
                    <a:pt x="20" y="60"/>
                  </a:lnTo>
                  <a:lnTo>
                    <a:pt x="22" y="56"/>
                  </a:lnTo>
                  <a:lnTo>
                    <a:pt x="22" y="56"/>
                  </a:lnTo>
                  <a:lnTo>
                    <a:pt x="28" y="54"/>
                  </a:lnTo>
                  <a:lnTo>
                    <a:pt x="34" y="54"/>
                  </a:lnTo>
                  <a:lnTo>
                    <a:pt x="34" y="54"/>
                  </a:lnTo>
                  <a:lnTo>
                    <a:pt x="34" y="52"/>
                  </a:lnTo>
                  <a:lnTo>
                    <a:pt x="32" y="50"/>
                  </a:lnTo>
                  <a:lnTo>
                    <a:pt x="32" y="50"/>
                  </a:lnTo>
                  <a:lnTo>
                    <a:pt x="32" y="48"/>
                  </a:lnTo>
                  <a:lnTo>
                    <a:pt x="36" y="46"/>
                  </a:lnTo>
                  <a:lnTo>
                    <a:pt x="36" y="46"/>
                  </a:lnTo>
                  <a:lnTo>
                    <a:pt x="40" y="42"/>
                  </a:lnTo>
                  <a:lnTo>
                    <a:pt x="42" y="40"/>
                  </a:lnTo>
                  <a:lnTo>
                    <a:pt x="42" y="40"/>
                  </a:lnTo>
                  <a:lnTo>
                    <a:pt x="46" y="38"/>
                  </a:lnTo>
                  <a:lnTo>
                    <a:pt x="46" y="36"/>
                  </a:lnTo>
                  <a:lnTo>
                    <a:pt x="50" y="32"/>
                  </a:lnTo>
                  <a:lnTo>
                    <a:pt x="50" y="32"/>
                  </a:lnTo>
                  <a:lnTo>
                    <a:pt x="62" y="16"/>
                  </a:lnTo>
                  <a:lnTo>
                    <a:pt x="62" y="16"/>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Canada"/>
            <p:cNvSpPr>
              <a:spLocks/>
            </p:cNvSpPr>
            <p:nvPr/>
          </p:nvSpPr>
          <p:spPr bwMode="auto">
            <a:xfrm>
              <a:off x="2834976" y="2091531"/>
              <a:ext cx="31750" cy="34396"/>
            </a:xfrm>
            <a:custGeom>
              <a:avLst/>
              <a:gdLst/>
              <a:ahLst/>
              <a:cxnLst>
                <a:cxn ang="0">
                  <a:pos x="4" y="8"/>
                </a:cxn>
                <a:cxn ang="0">
                  <a:pos x="4" y="8"/>
                </a:cxn>
                <a:cxn ang="0">
                  <a:pos x="8" y="6"/>
                </a:cxn>
                <a:cxn ang="0">
                  <a:pos x="10" y="6"/>
                </a:cxn>
                <a:cxn ang="0">
                  <a:pos x="10" y="6"/>
                </a:cxn>
                <a:cxn ang="0">
                  <a:pos x="20" y="0"/>
                </a:cxn>
                <a:cxn ang="0">
                  <a:pos x="20" y="0"/>
                </a:cxn>
                <a:cxn ang="0">
                  <a:pos x="24" y="0"/>
                </a:cxn>
                <a:cxn ang="0">
                  <a:pos x="24" y="0"/>
                </a:cxn>
                <a:cxn ang="0">
                  <a:pos x="22" y="2"/>
                </a:cxn>
                <a:cxn ang="0">
                  <a:pos x="22" y="2"/>
                </a:cxn>
                <a:cxn ang="0">
                  <a:pos x="18" y="6"/>
                </a:cxn>
                <a:cxn ang="0">
                  <a:pos x="16" y="6"/>
                </a:cxn>
                <a:cxn ang="0">
                  <a:pos x="18" y="6"/>
                </a:cxn>
                <a:cxn ang="0">
                  <a:pos x="18" y="6"/>
                </a:cxn>
                <a:cxn ang="0">
                  <a:pos x="22" y="4"/>
                </a:cxn>
                <a:cxn ang="0">
                  <a:pos x="24" y="4"/>
                </a:cxn>
                <a:cxn ang="0">
                  <a:pos x="24" y="4"/>
                </a:cxn>
                <a:cxn ang="0">
                  <a:pos x="24" y="4"/>
                </a:cxn>
                <a:cxn ang="0">
                  <a:pos x="24" y="10"/>
                </a:cxn>
                <a:cxn ang="0">
                  <a:pos x="22" y="14"/>
                </a:cxn>
                <a:cxn ang="0">
                  <a:pos x="22" y="14"/>
                </a:cxn>
                <a:cxn ang="0">
                  <a:pos x="20" y="18"/>
                </a:cxn>
                <a:cxn ang="0">
                  <a:pos x="20" y="22"/>
                </a:cxn>
                <a:cxn ang="0">
                  <a:pos x="20" y="22"/>
                </a:cxn>
                <a:cxn ang="0">
                  <a:pos x="20" y="24"/>
                </a:cxn>
                <a:cxn ang="0">
                  <a:pos x="18" y="26"/>
                </a:cxn>
                <a:cxn ang="0">
                  <a:pos x="14" y="26"/>
                </a:cxn>
                <a:cxn ang="0">
                  <a:pos x="14" y="26"/>
                </a:cxn>
                <a:cxn ang="0">
                  <a:pos x="12" y="26"/>
                </a:cxn>
                <a:cxn ang="0">
                  <a:pos x="10" y="26"/>
                </a:cxn>
                <a:cxn ang="0">
                  <a:pos x="8" y="26"/>
                </a:cxn>
                <a:cxn ang="0">
                  <a:pos x="8" y="26"/>
                </a:cxn>
                <a:cxn ang="0">
                  <a:pos x="8" y="20"/>
                </a:cxn>
                <a:cxn ang="0">
                  <a:pos x="10" y="16"/>
                </a:cxn>
                <a:cxn ang="0">
                  <a:pos x="10" y="16"/>
                </a:cxn>
                <a:cxn ang="0">
                  <a:pos x="10" y="16"/>
                </a:cxn>
                <a:cxn ang="0">
                  <a:pos x="8" y="16"/>
                </a:cxn>
                <a:cxn ang="0">
                  <a:pos x="6" y="22"/>
                </a:cxn>
                <a:cxn ang="0">
                  <a:pos x="6" y="22"/>
                </a:cxn>
                <a:cxn ang="0">
                  <a:pos x="2" y="26"/>
                </a:cxn>
                <a:cxn ang="0">
                  <a:pos x="0" y="26"/>
                </a:cxn>
                <a:cxn ang="0">
                  <a:pos x="0" y="24"/>
                </a:cxn>
                <a:cxn ang="0">
                  <a:pos x="0" y="24"/>
                </a:cxn>
                <a:cxn ang="0">
                  <a:pos x="0" y="18"/>
                </a:cxn>
                <a:cxn ang="0">
                  <a:pos x="0" y="14"/>
                </a:cxn>
                <a:cxn ang="0">
                  <a:pos x="2" y="12"/>
                </a:cxn>
                <a:cxn ang="0">
                  <a:pos x="2" y="12"/>
                </a:cxn>
                <a:cxn ang="0">
                  <a:pos x="2" y="10"/>
                </a:cxn>
                <a:cxn ang="0">
                  <a:pos x="4" y="8"/>
                </a:cxn>
                <a:cxn ang="0">
                  <a:pos x="4" y="8"/>
                </a:cxn>
              </a:cxnLst>
              <a:rect l="0" t="0" r="r" b="b"/>
              <a:pathLst>
                <a:path w="24" h="26">
                  <a:moveTo>
                    <a:pt x="4" y="8"/>
                  </a:moveTo>
                  <a:lnTo>
                    <a:pt x="4" y="8"/>
                  </a:lnTo>
                  <a:lnTo>
                    <a:pt x="8" y="6"/>
                  </a:lnTo>
                  <a:lnTo>
                    <a:pt x="10" y="6"/>
                  </a:lnTo>
                  <a:lnTo>
                    <a:pt x="10" y="6"/>
                  </a:lnTo>
                  <a:lnTo>
                    <a:pt x="20" y="0"/>
                  </a:lnTo>
                  <a:lnTo>
                    <a:pt x="20" y="0"/>
                  </a:lnTo>
                  <a:lnTo>
                    <a:pt x="24" y="0"/>
                  </a:lnTo>
                  <a:lnTo>
                    <a:pt x="24" y="0"/>
                  </a:lnTo>
                  <a:lnTo>
                    <a:pt x="22" y="2"/>
                  </a:lnTo>
                  <a:lnTo>
                    <a:pt x="22" y="2"/>
                  </a:lnTo>
                  <a:lnTo>
                    <a:pt x="18" y="6"/>
                  </a:lnTo>
                  <a:lnTo>
                    <a:pt x="16" y="6"/>
                  </a:lnTo>
                  <a:lnTo>
                    <a:pt x="18" y="6"/>
                  </a:lnTo>
                  <a:lnTo>
                    <a:pt x="18" y="6"/>
                  </a:lnTo>
                  <a:lnTo>
                    <a:pt x="22" y="4"/>
                  </a:lnTo>
                  <a:lnTo>
                    <a:pt x="24" y="4"/>
                  </a:lnTo>
                  <a:lnTo>
                    <a:pt x="24" y="4"/>
                  </a:lnTo>
                  <a:lnTo>
                    <a:pt x="24" y="4"/>
                  </a:lnTo>
                  <a:lnTo>
                    <a:pt x="24" y="10"/>
                  </a:lnTo>
                  <a:lnTo>
                    <a:pt x="22" y="14"/>
                  </a:lnTo>
                  <a:lnTo>
                    <a:pt x="22" y="14"/>
                  </a:lnTo>
                  <a:lnTo>
                    <a:pt x="20" y="18"/>
                  </a:lnTo>
                  <a:lnTo>
                    <a:pt x="20" y="22"/>
                  </a:lnTo>
                  <a:lnTo>
                    <a:pt x="20" y="22"/>
                  </a:lnTo>
                  <a:lnTo>
                    <a:pt x="20" y="24"/>
                  </a:lnTo>
                  <a:lnTo>
                    <a:pt x="18" y="26"/>
                  </a:lnTo>
                  <a:lnTo>
                    <a:pt x="14" y="26"/>
                  </a:lnTo>
                  <a:lnTo>
                    <a:pt x="14" y="26"/>
                  </a:lnTo>
                  <a:lnTo>
                    <a:pt x="12" y="26"/>
                  </a:lnTo>
                  <a:lnTo>
                    <a:pt x="10" y="26"/>
                  </a:lnTo>
                  <a:lnTo>
                    <a:pt x="8" y="26"/>
                  </a:lnTo>
                  <a:lnTo>
                    <a:pt x="8" y="26"/>
                  </a:lnTo>
                  <a:lnTo>
                    <a:pt x="8" y="20"/>
                  </a:lnTo>
                  <a:lnTo>
                    <a:pt x="10" y="16"/>
                  </a:lnTo>
                  <a:lnTo>
                    <a:pt x="10" y="16"/>
                  </a:lnTo>
                  <a:lnTo>
                    <a:pt x="10" y="16"/>
                  </a:lnTo>
                  <a:lnTo>
                    <a:pt x="8" y="16"/>
                  </a:lnTo>
                  <a:lnTo>
                    <a:pt x="6" y="22"/>
                  </a:lnTo>
                  <a:lnTo>
                    <a:pt x="6" y="22"/>
                  </a:lnTo>
                  <a:lnTo>
                    <a:pt x="2" y="26"/>
                  </a:lnTo>
                  <a:lnTo>
                    <a:pt x="0" y="26"/>
                  </a:lnTo>
                  <a:lnTo>
                    <a:pt x="0" y="24"/>
                  </a:lnTo>
                  <a:lnTo>
                    <a:pt x="0" y="24"/>
                  </a:lnTo>
                  <a:lnTo>
                    <a:pt x="0" y="18"/>
                  </a:lnTo>
                  <a:lnTo>
                    <a:pt x="0" y="14"/>
                  </a:lnTo>
                  <a:lnTo>
                    <a:pt x="2" y="12"/>
                  </a:lnTo>
                  <a:lnTo>
                    <a:pt x="2" y="12"/>
                  </a:lnTo>
                  <a:lnTo>
                    <a:pt x="2" y="10"/>
                  </a:lnTo>
                  <a:lnTo>
                    <a:pt x="4" y="8"/>
                  </a:lnTo>
                  <a:lnTo>
                    <a:pt x="4" y="8"/>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Canada"/>
            <p:cNvSpPr>
              <a:spLocks/>
            </p:cNvSpPr>
            <p:nvPr/>
          </p:nvSpPr>
          <p:spPr bwMode="auto">
            <a:xfrm>
              <a:off x="2287288" y="1681427"/>
              <a:ext cx="142875" cy="58208"/>
            </a:xfrm>
            <a:custGeom>
              <a:avLst/>
              <a:gdLst/>
              <a:ahLst/>
              <a:cxnLst>
                <a:cxn ang="0">
                  <a:pos x="26" y="26"/>
                </a:cxn>
                <a:cxn ang="0">
                  <a:pos x="28" y="18"/>
                </a:cxn>
                <a:cxn ang="0">
                  <a:pos x="40" y="12"/>
                </a:cxn>
                <a:cxn ang="0">
                  <a:pos x="58" y="2"/>
                </a:cxn>
                <a:cxn ang="0">
                  <a:pos x="62" y="0"/>
                </a:cxn>
                <a:cxn ang="0">
                  <a:pos x="64" y="2"/>
                </a:cxn>
                <a:cxn ang="0">
                  <a:pos x="64" y="4"/>
                </a:cxn>
                <a:cxn ang="0">
                  <a:pos x="62" y="10"/>
                </a:cxn>
                <a:cxn ang="0">
                  <a:pos x="64" y="10"/>
                </a:cxn>
                <a:cxn ang="0">
                  <a:pos x="68" y="8"/>
                </a:cxn>
                <a:cxn ang="0">
                  <a:pos x="74" y="6"/>
                </a:cxn>
                <a:cxn ang="0">
                  <a:pos x="76" y="8"/>
                </a:cxn>
                <a:cxn ang="0">
                  <a:pos x="84" y="12"/>
                </a:cxn>
                <a:cxn ang="0">
                  <a:pos x="90" y="16"/>
                </a:cxn>
                <a:cxn ang="0">
                  <a:pos x="90" y="20"/>
                </a:cxn>
                <a:cxn ang="0">
                  <a:pos x="96" y="24"/>
                </a:cxn>
                <a:cxn ang="0">
                  <a:pos x="104" y="26"/>
                </a:cxn>
                <a:cxn ang="0">
                  <a:pos x="104" y="30"/>
                </a:cxn>
                <a:cxn ang="0">
                  <a:pos x="102" y="30"/>
                </a:cxn>
                <a:cxn ang="0">
                  <a:pos x="106" y="32"/>
                </a:cxn>
                <a:cxn ang="0">
                  <a:pos x="106" y="34"/>
                </a:cxn>
                <a:cxn ang="0">
                  <a:pos x="102" y="38"/>
                </a:cxn>
                <a:cxn ang="0">
                  <a:pos x="94" y="34"/>
                </a:cxn>
                <a:cxn ang="0">
                  <a:pos x="84" y="34"/>
                </a:cxn>
                <a:cxn ang="0">
                  <a:pos x="84" y="32"/>
                </a:cxn>
                <a:cxn ang="0">
                  <a:pos x="88" y="28"/>
                </a:cxn>
                <a:cxn ang="0">
                  <a:pos x="76" y="28"/>
                </a:cxn>
                <a:cxn ang="0">
                  <a:pos x="78" y="26"/>
                </a:cxn>
                <a:cxn ang="0">
                  <a:pos x="78" y="24"/>
                </a:cxn>
                <a:cxn ang="0">
                  <a:pos x="74" y="26"/>
                </a:cxn>
                <a:cxn ang="0">
                  <a:pos x="66" y="26"/>
                </a:cxn>
                <a:cxn ang="0">
                  <a:pos x="60" y="28"/>
                </a:cxn>
                <a:cxn ang="0">
                  <a:pos x="58" y="32"/>
                </a:cxn>
                <a:cxn ang="0">
                  <a:pos x="46" y="34"/>
                </a:cxn>
                <a:cxn ang="0">
                  <a:pos x="42" y="34"/>
                </a:cxn>
                <a:cxn ang="0">
                  <a:pos x="36" y="40"/>
                </a:cxn>
                <a:cxn ang="0">
                  <a:pos x="34" y="42"/>
                </a:cxn>
                <a:cxn ang="0">
                  <a:pos x="16" y="44"/>
                </a:cxn>
                <a:cxn ang="0">
                  <a:pos x="14" y="44"/>
                </a:cxn>
                <a:cxn ang="0">
                  <a:pos x="18" y="40"/>
                </a:cxn>
                <a:cxn ang="0">
                  <a:pos x="20" y="38"/>
                </a:cxn>
                <a:cxn ang="0">
                  <a:pos x="16" y="36"/>
                </a:cxn>
                <a:cxn ang="0">
                  <a:pos x="4" y="36"/>
                </a:cxn>
                <a:cxn ang="0">
                  <a:pos x="0" y="36"/>
                </a:cxn>
                <a:cxn ang="0">
                  <a:pos x="6" y="32"/>
                </a:cxn>
                <a:cxn ang="0">
                  <a:pos x="26" y="26"/>
                </a:cxn>
              </a:cxnLst>
              <a:rect l="0" t="0" r="r" b="b"/>
              <a:pathLst>
                <a:path w="108" h="44">
                  <a:moveTo>
                    <a:pt x="26" y="26"/>
                  </a:moveTo>
                  <a:lnTo>
                    <a:pt x="26" y="26"/>
                  </a:lnTo>
                  <a:lnTo>
                    <a:pt x="26" y="22"/>
                  </a:lnTo>
                  <a:lnTo>
                    <a:pt x="28" y="18"/>
                  </a:lnTo>
                  <a:lnTo>
                    <a:pt x="40" y="12"/>
                  </a:lnTo>
                  <a:lnTo>
                    <a:pt x="40" y="12"/>
                  </a:lnTo>
                  <a:lnTo>
                    <a:pt x="48" y="6"/>
                  </a:lnTo>
                  <a:lnTo>
                    <a:pt x="58" y="2"/>
                  </a:lnTo>
                  <a:lnTo>
                    <a:pt x="58" y="2"/>
                  </a:lnTo>
                  <a:lnTo>
                    <a:pt x="62" y="0"/>
                  </a:lnTo>
                  <a:lnTo>
                    <a:pt x="64" y="2"/>
                  </a:lnTo>
                  <a:lnTo>
                    <a:pt x="64" y="2"/>
                  </a:lnTo>
                  <a:lnTo>
                    <a:pt x="64" y="4"/>
                  </a:lnTo>
                  <a:lnTo>
                    <a:pt x="64" y="4"/>
                  </a:lnTo>
                  <a:lnTo>
                    <a:pt x="62" y="6"/>
                  </a:lnTo>
                  <a:lnTo>
                    <a:pt x="62" y="10"/>
                  </a:lnTo>
                  <a:lnTo>
                    <a:pt x="62" y="10"/>
                  </a:lnTo>
                  <a:lnTo>
                    <a:pt x="64" y="10"/>
                  </a:lnTo>
                  <a:lnTo>
                    <a:pt x="64" y="10"/>
                  </a:lnTo>
                  <a:lnTo>
                    <a:pt x="68" y="8"/>
                  </a:lnTo>
                  <a:lnTo>
                    <a:pt x="72" y="6"/>
                  </a:lnTo>
                  <a:lnTo>
                    <a:pt x="74" y="6"/>
                  </a:lnTo>
                  <a:lnTo>
                    <a:pt x="76" y="8"/>
                  </a:lnTo>
                  <a:lnTo>
                    <a:pt x="76" y="8"/>
                  </a:lnTo>
                  <a:lnTo>
                    <a:pt x="78" y="10"/>
                  </a:lnTo>
                  <a:lnTo>
                    <a:pt x="84" y="12"/>
                  </a:lnTo>
                  <a:lnTo>
                    <a:pt x="88" y="14"/>
                  </a:lnTo>
                  <a:lnTo>
                    <a:pt x="90" y="16"/>
                  </a:lnTo>
                  <a:lnTo>
                    <a:pt x="90" y="16"/>
                  </a:lnTo>
                  <a:lnTo>
                    <a:pt x="90" y="20"/>
                  </a:lnTo>
                  <a:lnTo>
                    <a:pt x="90" y="22"/>
                  </a:lnTo>
                  <a:lnTo>
                    <a:pt x="96" y="24"/>
                  </a:lnTo>
                  <a:lnTo>
                    <a:pt x="96" y="24"/>
                  </a:lnTo>
                  <a:lnTo>
                    <a:pt x="104" y="26"/>
                  </a:lnTo>
                  <a:lnTo>
                    <a:pt x="104" y="28"/>
                  </a:lnTo>
                  <a:lnTo>
                    <a:pt x="104" y="30"/>
                  </a:lnTo>
                  <a:lnTo>
                    <a:pt x="104" y="30"/>
                  </a:lnTo>
                  <a:lnTo>
                    <a:pt x="102" y="30"/>
                  </a:lnTo>
                  <a:lnTo>
                    <a:pt x="104" y="30"/>
                  </a:lnTo>
                  <a:lnTo>
                    <a:pt x="106" y="32"/>
                  </a:lnTo>
                  <a:lnTo>
                    <a:pt x="108" y="32"/>
                  </a:lnTo>
                  <a:lnTo>
                    <a:pt x="106" y="34"/>
                  </a:lnTo>
                  <a:lnTo>
                    <a:pt x="106" y="34"/>
                  </a:lnTo>
                  <a:lnTo>
                    <a:pt x="102" y="38"/>
                  </a:lnTo>
                  <a:lnTo>
                    <a:pt x="100" y="38"/>
                  </a:lnTo>
                  <a:lnTo>
                    <a:pt x="94" y="34"/>
                  </a:lnTo>
                  <a:lnTo>
                    <a:pt x="94" y="34"/>
                  </a:lnTo>
                  <a:lnTo>
                    <a:pt x="84" y="34"/>
                  </a:lnTo>
                  <a:lnTo>
                    <a:pt x="82" y="34"/>
                  </a:lnTo>
                  <a:lnTo>
                    <a:pt x="84" y="32"/>
                  </a:lnTo>
                  <a:lnTo>
                    <a:pt x="84" y="32"/>
                  </a:lnTo>
                  <a:lnTo>
                    <a:pt x="88" y="28"/>
                  </a:lnTo>
                  <a:lnTo>
                    <a:pt x="84" y="28"/>
                  </a:lnTo>
                  <a:lnTo>
                    <a:pt x="76" y="28"/>
                  </a:lnTo>
                  <a:lnTo>
                    <a:pt x="76" y="28"/>
                  </a:lnTo>
                  <a:lnTo>
                    <a:pt x="78" y="26"/>
                  </a:lnTo>
                  <a:lnTo>
                    <a:pt x="78" y="26"/>
                  </a:lnTo>
                  <a:lnTo>
                    <a:pt x="78" y="24"/>
                  </a:lnTo>
                  <a:lnTo>
                    <a:pt x="74" y="26"/>
                  </a:lnTo>
                  <a:lnTo>
                    <a:pt x="74" y="26"/>
                  </a:lnTo>
                  <a:lnTo>
                    <a:pt x="68" y="26"/>
                  </a:lnTo>
                  <a:lnTo>
                    <a:pt x="66" y="26"/>
                  </a:lnTo>
                  <a:lnTo>
                    <a:pt x="62" y="26"/>
                  </a:lnTo>
                  <a:lnTo>
                    <a:pt x="60" y="28"/>
                  </a:lnTo>
                  <a:lnTo>
                    <a:pt x="60" y="28"/>
                  </a:lnTo>
                  <a:lnTo>
                    <a:pt x="58" y="32"/>
                  </a:lnTo>
                  <a:lnTo>
                    <a:pt x="54" y="32"/>
                  </a:lnTo>
                  <a:lnTo>
                    <a:pt x="46" y="34"/>
                  </a:lnTo>
                  <a:lnTo>
                    <a:pt x="46" y="34"/>
                  </a:lnTo>
                  <a:lnTo>
                    <a:pt x="42" y="34"/>
                  </a:lnTo>
                  <a:lnTo>
                    <a:pt x="40" y="36"/>
                  </a:lnTo>
                  <a:lnTo>
                    <a:pt x="36" y="40"/>
                  </a:lnTo>
                  <a:lnTo>
                    <a:pt x="34" y="42"/>
                  </a:lnTo>
                  <a:lnTo>
                    <a:pt x="34" y="42"/>
                  </a:lnTo>
                  <a:lnTo>
                    <a:pt x="24" y="44"/>
                  </a:lnTo>
                  <a:lnTo>
                    <a:pt x="16" y="44"/>
                  </a:lnTo>
                  <a:lnTo>
                    <a:pt x="16" y="44"/>
                  </a:lnTo>
                  <a:lnTo>
                    <a:pt x="14" y="44"/>
                  </a:lnTo>
                  <a:lnTo>
                    <a:pt x="14" y="42"/>
                  </a:lnTo>
                  <a:lnTo>
                    <a:pt x="18" y="40"/>
                  </a:lnTo>
                  <a:lnTo>
                    <a:pt x="18" y="40"/>
                  </a:lnTo>
                  <a:lnTo>
                    <a:pt x="20" y="38"/>
                  </a:lnTo>
                  <a:lnTo>
                    <a:pt x="20" y="36"/>
                  </a:lnTo>
                  <a:lnTo>
                    <a:pt x="16" y="36"/>
                  </a:lnTo>
                  <a:lnTo>
                    <a:pt x="16" y="36"/>
                  </a:lnTo>
                  <a:lnTo>
                    <a:pt x="4" y="36"/>
                  </a:lnTo>
                  <a:lnTo>
                    <a:pt x="2" y="36"/>
                  </a:lnTo>
                  <a:lnTo>
                    <a:pt x="0" y="36"/>
                  </a:lnTo>
                  <a:lnTo>
                    <a:pt x="0" y="36"/>
                  </a:lnTo>
                  <a:lnTo>
                    <a:pt x="6" y="32"/>
                  </a:lnTo>
                  <a:lnTo>
                    <a:pt x="26" y="26"/>
                  </a:lnTo>
                  <a:lnTo>
                    <a:pt x="26" y="26"/>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Canada"/>
            <p:cNvSpPr>
              <a:spLocks/>
            </p:cNvSpPr>
            <p:nvPr/>
          </p:nvSpPr>
          <p:spPr bwMode="auto">
            <a:xfrm>
              <a:off x="2620663" y="1535906"/>
              <a:ext cx="58208" cy="21167"/>
            </a:xfrm>
            <a:custGeom>
              <a:avLst/>
              <a:gdLst/>
              <a:ahLst/>
              <a:cxnLst>
                <a:cxn ang="0">
                  <a:pos x="8" y="16"/>
                </a:cxn>
                <a:cxn ang="0">
                  <a:pos x="8" y="16"/>
                </a:cxn>
                <a:cxn ang="0">
                  <a:pos x="4" y="14"/>
                </a:cxn>
                <a:cxn ang="0">
                  <a:pos x="4" y="12"/>
                </a:cxn>
                <a:cxn ang="0">
                  <a:pos x="2" y="8"/>
                </a:cxn>
                <a:cxn ang="0">
                  <a:pos x="2" y="8"/>
                </a:cxn>
                <a:cxn ang="0">
                  <a:pos x="0" y="6"/>
                </a:cxn>
                <a:cxn ang="0">
                  <a:pos x="0" y="4"/>
                </a:cxn>
                <a:cxn ang="0">
                  <a:pos x="2" y="2"/>
                </a:cxn>
                <a:cxn ang="0">
                  <a:pos x="8" y="2"/>
                </a:cxn>
                <a:cxn ang="0">
                  <a:pos x="8" y="2"/>
                </a:cxn>
                <a:cxn ang="0">
                  <a:pos x="18" y="0"/>
                </a:cxn>
                <a:cxn ang="0">
                  <a:pos x="22" y="0"/>
                </a:cxn>
                <a:cxn ang="0">
                  <a:pos x="28" y="2"/>
                </a:cxn>
                <a:cxn ang="0">
                  <a:pos x="28" y="2"/>
                </a:cxn>
                <a:cxn ang="0">
                  <a:pos x="40" y="6"/>
                </a:cxn>
                <a:cxn ang="0">
                  <a:pos x="44" y="8"/>
                </a:cxn>
                <a:cxn ang="0">
                  <a:pos x="42" y="10"/>
                </a:cxn>
                <a:cxn ang="0">
                  <a:pos x="42" y="10"/>
                </a:cxn>
                <a:cxn ang="0">
                  <a:pos x="34" y="10"/>
                </a:cxn>
                <a:cxn ang="0">
                  <a:pos x="24" y="12"/>
                </a:cxn>
                <a:cxn ang="0">
                  <a:pos x="24" y="12"/>
                </a:cxn>
                <a:cxn ang="0">
                  <a:pos x="16" y="16"/>
                </a:cxn>
                <a:cxn ang="0">
                  <a:pos x="12" y="16"/>
                </a:cxn>
                <a:cxn ang="0">
                  <a:pos x="8" y="16"/>
                </a:cxn>
                <a:cxn ang="0">
                  <a:pos x="8" y="16"/>
                </a:cxn>
              </a:cxnLst>
              <a:rect l="0" t="0" r="r" b="b"/>
              <a:pathLst>
                <a:path w="44" h="16">
                  <a:moveTo>
                    <a:pt x="8" y="16"/>
                  </a:moveTo>
                  <a:lnTo>
                    <a:pt x="8" y="16"/>
                  </a:lnTo>
                  <a:lnTo>
                    <a:pt x="4" y="14"/>
                  </a:lnTo>
                  <a:lnTo>
                    <a:pt x="4" y="12"/>
                  </a:lnTo>
                  <a:lnTo>
                    <a:pt x="2" y="8"/>
                  </a:lnTo>
                  <a:lnTo>
                    <a:pt x="2" y="8"/>
                  </a:lnTo>
                  <a:lnTo>
                    <a:pt x="0" y="6"/>
                  </a:lnTo>
                  <a:lnTo>
                    <a:pt x="0" y="4"/>
                  </a:lnTo>
                  <a:lnTo>
                    <a:pt x="2" y="2"/>
                  </a:lnTo>
                  <a:lnTo>
                    <a:pt x="8" y="2"/>
                  </a:lnTo>
                  <a:lnTo>
                    <a:pt x="8" y="2"/>
                  </a:lnTo>
                  <a:lnTo>
                    <a:pt x="18" y="0"/>
                  </a:lnTo>
                  <a:lnTo>
                    <a:pt x="22" y="0"/>
                  </a:lnTo>
                  <a:lnTo>
                    <a:pt x="28" y="2"/>
                  </a:lnTo>
                  <a:lnTo>
                    <a:pt x="28" y="2"/>
                  </a:lnTo>
                  <a:lnTo>
                    <a:pt x="40" y="6"/>
                  </a:lnTo>
                  <a:lnTo>
                    <a:pt x="44" y="8"/>
                  </a:lnTo>
                  <a:lnTo>
                    <a:pt x="42" y="10"/>
                  </a:lnTo>
                  <a:lnTo>
                    <a:pt x="42" y="10"/>
                  </a:lnTo>
                  <a:lnTo>
                    <a:pt x="34" y="10"/>
                  </a:lnTo>
                  <a:lnTo>
                    <a:pt x="24" y="12"/>
                  </a:lnTo>
                  <a:lnTo>
                    <a:pt x="24" y="12"/>
                  </a:lnTo>
                  <a:lnTo>
                    <a:pt x="16" y="16"/>
                  </a:lnTo>
                  <a:lnTo>
                    <a:pt x="12" y="16"/>
                  </a:lnTo>
                  <a:lnTo>
                    <a:pt x="8" y="16"/>
                  </a:lnTo>
                  <a:lnTo>
                    <a:pt x="8" y="16"/>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Canada"/>
            <p:cNvSpPr>
              <a:spLocks/>
            </p:cNvSpPr>
            <p:nvPr/>
          </p:nvSpPr>
          <p:spPr bwMode="auto">
            <a:xfrm>
              <a:off x="2199976" y="1533260"/>
              <a:ext cx="119063" cy="39688"/>
            </a:xfrm>
            <a:custGeom>
              <a:avLst/>
              <a:gdLst/>
              <a:ahLst/>
              <a:cxnLst>
                <a:cxn ang="0">
                  <a:pos x="54" y="26"/>
                </a:cxn>
                <a:cxn ang="0">
                  <a:pos x="56" y="28"/>
                </a:cxn>
                <a:cxn ang="0">
                  <a:pos x="64" y="26"/>
                </a:cxn>
                <a:cxn ang="0">
                  <a:pos x="72" y="22"/>
                </a:cxn>
                <a:cxn ang="0">
                  <a:pos x="76" y="18"/>
                </a:cxn>
                <a:cxn ang="0">
                  <a:pos x="72" y="16"/>
                </a:cxn>
                <a:cxn ang="0">
                  <a:pos x="72" y="14"/>
                </a:cxn>
                <a:cxn ang="0">
                  <a:pos x="84" y="12"/>
                </a:cxn>
                <a:cxn ang="0">
                  <a:pos x="88" y="10"/>
                </a:cxn>
                <a:cxn ang="0">
                  <a:pos x="90" y="6"/>
                </a:cxn>
                <a:cxn ang="0">
                  <a:pos x="82" y="6"/>
                </a:cxn>
                <a:cxn ang="0">
                  <a:pos x="80" y="6"/>
                </a:cxn>
                <a:cxn ang="0">
                  <a:pos x="88" y="4"/>
                </a:cxn>
                <a:cxn ang="0">
                  <a:pos x="88" y="2"/>
                </a:cxn>
                <a:cxn ang="0">
                  <a:pos x="78" y="2"/>
                </a:cxn>
                <a:cxn ang="0">
                  <a:pos x="66" y="2"/>
                </a:cxn>
                <a:cxn ang="0">
                  <a:pos x="52" y="2"/>
                </a:cxn>
                <a:cxn ang="0">
                  <a:pos x="44" y="2"/>
                </a:cxn>
                <a:cxn ang="0">
                  <a:pos x="38" y="2"/>
                </a:cxn>
                <a:cxn ang="0">
                  <a:pos x="28" y="4"/>
                </a:cxn>
                <a:cxn ang="0">
                  <a:pos x="28" y="6"/>
                </a:cxn>
                <a:cxn ang="0">
                  <a:pos x="40" y="12"/>
                </a:cxn>
                <a:cxn ang="0">
                  <a:pos x="40" y="14"/>
                </a:cxn>
                <a:cxn ang="0">
                  <a:pos x="30" y="12"/>
                </a:cxn>
                <a:cxn ang="0">
                  <a:pos x="14" y="10"/>
                </a:cxn>
                <a:cxn ang="0">
                  <a:pos x="0" y="12"/>
                </a:cxn>
                <a:cxn ang="0">
                  <a:pos x="0" y="14"/>
                </a:cxn>
                <a:cxn ang="0">
                  <a:pos x="6" y="22"/>
                </a:cxn>
                <a:cxn ang="0">
                  <a:pos x="10" y="22"/>
                </a:cxn>
                <a:cxn ang="0">
                  <a:pos x="24" y="26"/>
                </a:cxn>
                <a:cxn ang="0">
                  <a:pos x="28" y="28"/>
                </a:cxn>
                <a:cxn ang="0">
                  <a:pos x="36" y="28"/>
                </a:cxn>
                <a:cxn ang="0">
                  <a:pos x="44" y="30"/>
                </a:cxn>
                <a:cxn ang="0">
                  <a:pos x="54" y="26"/>
                </a:cxn>
              </a:cxnLst>
              <a:rect l="0" t="0" r="r" b="b"/>
              <a:pathLst>
                <a:path w="90" h="30">
                  <a:moveTo>
                    <a:pt x="54" y="26"/>
                  </a:moveTo>
                  <a:lnTo>
                    <a:pt x="54" y="26"/>
                  </a:lnTo>
                  <a:lnTo>
                    <a:pt x="54" y="28"/>
                  </a:lnTo>
                  <a:lnTo>
                    <a:pt x="56" y="28"/>
                  </a:lnTo>
                  <a:lnTo>
                    <a:pt x="60" y="28"/>
                  </a:lnTo>
                  <a:lnTo>
                    <a:pt x="64" y="26"/>
                  </a:lnTo>
                  <a:lnTo>
                    <a:pt x="64" y="26"/>
                  </a:lnTo>
                  <a:lnTo>
                    <a:pt x="72" y="22"/>
                  </a:lnTo>
                  <a:lnTo>
                    <a:pt x="72" y="22"/>
                  </a:lnTo>
                  <a:lnTo>
                    <a:pt x="76" y="18"/>
                  </a:lnTo>
                  <a:lnTo>
                    <a:pt x="76" y="16"/>
                  </a:lnTo>
                  <a:lnTo>
                    <a:pt x="72" y="16"/>
                  </a:lnTo>
                  <a:lnTo>
                    <a:pt x="72" y="14"/>
                  </a:lnTo>
                  <a:lnTo>
                    <a:pt x="72" y="14"/>
                  </a:lnTo>
                  <a:lnTo>
                    <a:pt x="78" y="14"/>
                  </a:lnTo>
                  <a:lnTo>
                    <a:pt x="84" y="12"/>
                  </a:lnTo>
                  <a:lnTo>
                    <a:pt x="88" y="10"/>
                  </a:lnTo>
                  <a:lnTo>
                    <a:pt x="88" y="10"/>
                  </a:lnTo>
                  <a:lnTo>
                    <a:pt x="90" y="8"/>
                  </a:lnTo>
                  <a:lnTo>
                    <a:pt x="90" y="6"/>
                  </a:lnTo>
                  <a:lnTo>
                    <a:pt x="86" y="6"/>
                  </a:lnTo>
                  <a:lnTo>
                    <a:pt x="82" y="6"/>
                  </a:lnTo>
                  <a:lnTo>
                    <a:pt x="80" y="6"/>
                  </a:lnTo>
                  <a:lnTo>
                    <a:pt x="80" y="6"/>
                  </a:lnTo>
                  <a:lnTo>
                    <a:pt x="86" y="4"/>
                  </a:lnTo>
                  <a:lnTo>
                    <a:pt x="88" y="4"/>
                  </a:lnTo>
                  <a:lnTo>
                    <a:pt x="88" y="2"/>
                  </a:lnTo>
                  <a:lnTo>
                    <a:pt x="88" y="2"/>
                  </a:lnTo>
                  <a:lnTo>
                    <a:pt x="84" y="0"/>
                  </a:lnTo>
                  <a:lnTo>
                    <a:pt x="78" y="2"/>
                  </a:lnTo>
                  <a:lnTo>
                    <a:pt x="66" y="2"/>
                  </a:lnTo>
                  <a:lnTo>
                    <a:pt x="66" y="2"/>
                  </a:lnTo>
                  <a:lnTo>
                    <a:pt x="60" y="2"/>
                  </a:lnTo>
                  <a:lnTo>
                    <a:pt x="52" y="2"/>
                  </a:lnTo>
                  <a:lnTo>
                    <a:pt x="52" y="2"/>
                  </a:lnTo>
                  <a:lnTo>
                    <a:pt x="44" y="2"/>
                  </a:lnTo>
                  <a:lnTo>
                    <a:pt x="38" y="2"/>
                  </a:lnTo>
                  <a:lnTo>
                    <a:pt x="38" y="2"/>
                  </a:lnTo>
                  <a:lnTo>
                    <a:pt x="30" y="4"/>
                  </a:lnTo>
                  <a:lnTo>
                    <a:pt x="28" y="4"/>
                  </a:lnTo>
                  <a:lnTo>
                    <a:pt x="28" y="6"/>
                  </a:lnTo>
                  <a:lnTo>
                    <a:pt x="28" y="6"/>
                  </a:lnTo>
                  <a:lnTo>
                    <a:pt x="36" y="8"/>
                  </a:lnTo>
                  <a:lnTo>
                    <a:pt x="40" y="12"/>
                  </a:lnTo>
                  <a:lnTo>
                    <a:pt x="40" y="12"/>
                  </a:lnTo>
                  <a:lnTo>
                    <a:pt x="40" y="14"/>
                  </a:lnTo>
                  <a:lnTo>
                    <a:pt x="40" y="14"/>
                  </a:lnTo>
                  <a:lnTo>
                    <a:pt x="30" y="12"/>
                  </a:lnTo>
                  <a:lnTo>
                    <a:pt x="30" y="12"/>
                  </a:lnTo>
                  <a:lnTo>
                    <a:pt x="14" y="10"/>
                  </a:lnTo>
                  <a:lnTo>
                    <a:pt x="6" y="10"/>
                  </a:lnTo>
                  <a:lnTo>
                    <a:pt x="0" y="12"/>
                  </a:lnTo>
                  <a:lnTo>
                    <a:pt x="0" y="12"/>
                  </a:lnTo>
                  <a:lnTo>
                    <a:pt x="0" y="14"/>
                  </a:lnTo>
                  <a:lnTo>
                    <a:pt x="2" y="18"/>
                  </a:lnTo>
                  <a:lnTo>
                    <a:pt x="6" y="22"/>
                  </a:lnTo>
                  <a:lnTo>
                    <a:pt x="10" y="22"/>
                  </a:lnTo>
                  <a:lnTo>
                    <a:pt x="10" y="22"/>
                  </a:lnTo>
                  <a:lnTo>
                    <a:pt x="18" y="24"/>
                  </a:lnTo>
                  <a:lnTo>
                    <a:pt x="24" y="26"/>
                  </a:lnTo>
                  <a:lnTo>
                    <a:pt x="24" y="26"/>
                  </a:lnTo>
                  <a:lnTo>
                    <a:pt x="28" y="28"/>
                  </a:lnTo>
                  <a:lnTo>
                    <a:pt x="32" y="28"/>
                  </a:lnTo>
                  <a:lnTo>
                    <a:pt x="36" y="28"/>
                  </a:lnTo>
                  <a:lnTo>
                    <a:pt x="36" y="28"/>
                  </a:lnTo>
                  <a:lnTo>
                    <a:pt x="44" y="30"/>
                  </a:lnTo>
                  <a:lnTo>
                    <a:pt x="48" y="30"/>
                  </a:lnTo>
                  <a:lnTo>
                    <a:pt x="54" y="26"/>
                  </a:lnTo>
                  <a:lnTo>
                    <a:pt x="54" y="26"/>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Canada"/>
            <p:cNvSpPr>
              <a:spLocks/>
            </p:cNvSpPr>
            <p:nvPr/>
          </p:nvSpPr>
          <p:spPr bwMode="auto">
            <a:xfrm>
              <a:off x="2329622" y="1535906"/>
              <a:ext cx="89958" cy="29104"/>
            </a:xfrm>
            <a:custGeom>
              <a:avLst/>
              <a:gdLst/>
              <a:ahLst/>
              <a:cxnLst>
                <a:cxn ang="0">
                  <a:pos x="2" y="18"/>
                </a:cxn>
                <a:cxn ang="0">
                  <a:pos x="2" y="18"/>
                </a:cxn>
                <a:cxn ang="0">
                  <a:pos x="6" y="22"/>
                </a:cxn>
                <a:cxn ang="0">
                  <a:pos x="10" y="22"/>
                </a:cxn>
                <a:cxn ang="0">
                  <a:pos x="12" y="22"/>
                </a:cxn>
                <a:cxn ang="0">
                  <a:pos x="12" y="22"/>
                </a:cxn>
                <a:cxn ang="0">
                  <a:pos x="16" y="20"/>
                </a:cxn>
                <a:cxn ang="0">
                  <a:pos x="18" y="18"/>
                </a:cxn>
                <a:cxn ang="0">
                  <a:pos x="18" y="16"/>
                </a:cxn>
                <a:cxn ang="0">
                  <a:pos x="18" y="16"/>
                </a:cxn>
                <a:cxn ang="0">
                  <a:pos x="12" y="14"/>
                </a:cxn>
                <a:cxn ang="0">
                  <a:pos x="12" y="12"/>
                </a:cxn>
                <a:cxn ang="0">
                  <a:pos x="18" y="14"/>
                </a:cxn>
                <a:cxn ang="0">
                  <a:pos x="18" y="14"/>
                </a:cxn>
                <a:cxn ang="0">
                  <a:pos x="36" y="16"/>
                </a:cxn>
                <a:cxn ang="0">
                  <a:pos x="40" y="16"/>
                </a:cxn>
                <a:cxn ang="0">
                  <a:pos x="44" y="16"/>
                </a:cxn>
                <a:cxn ang="0">
                  <a:pos x="44" y="16"/>
                </a:cxn>
                <a:cxn ang="0">
                  <a:pos x="48" y="12"/>
                </a:cxn>
                <a:cxn ang="0">
                  <a:pos x="54" y="8"/>
                </a:cxn>
                <a:cxn ang="0">
                  <a:pos x="66" y="4"/>
                </a:cxn>
                <a:cxn ang="0">
                  <a:pos x="66" y="4"/>
                </a:cxn>
                <a:cxn ang="0">
                  <a:pos x="68" y="4"/>
                </a:cxn>
                <a:cxn ang="0">
                  <a:pos x="66" y="2"/>
                </a:cxn>
                <a:cxn ang="0">
                  <a:pos x="52" y="2"/>
                </a:cxn>
                <a:cxn ang="0">
                  <a:pos x="52" y="2"/>
                </a:cxn>
                <a:cxn ang="0">
                  <a:pos x="36" y="0"/>
                </a:cxn>
                <a:cxn ang="0">
                  <a:pos x="28" y="0"/>
                </a:cxn>
                <a:cxn ang="0">
                  <a:pos x="22" y="0"/>
                </a:cxn>
                <a:cxn ang="0">
                  <a:pos x="22" y="0"/>
                </a:cxn>
                <a:cxn ang="0">
                  <a:pos x="12" y="4"/>
                </a:cxn>
                <a:cxn ang="0">
                  <a:pos x="8" y="6"/>
                </a:cxn>
                <a:cxn ang="0">
                  <a:pos x="6" y="10"/>
                </a:cxn>
                <a:cxn ang="0">
                  <a:pos x="6" y="10"/>
                </a:cxn>
                <a:cxn ang="0">
                  <a:pos x="6" y="12"/>
                </a:cxn>
                <a:cxn ang="0">
                  <a:pos x="2" y="14"/>
                </a:cxn>
                <a:cxn ang="0">
                  <a:pos x="0" y="16"/>
                </a:cxn>
                <a:cxn ang="0">
                  <a:pos x="2" y="18"/>
                </a:cxn>
                <a:cxn ang="0">
                  <a:pos x="2" y="18"/>
                </a:cxn>
              </a:cxnLst>
              <a:rect l="0" t="0" r="r" b="b"/>
              <a:pathLst>
                <a:path w="68" h="22">
                  <a:moveTo>
                    <a:pt x="2" y="18"/>
                  </a:moveTo>
                  <a:lnTo>
                    <a:pt x="2" y="18"/>
                  </a:lnTo>
                  <a:lnTo>
                    <a:pt x="6" y="22"/>
                  </a:lnTo>
                  <a:lnTo>
                    <a:pt x="10" y="22"/>
                  </a:lnTo>
                  <a:lnTo>
                    <a:pt x="12" y="22"/>
                  </a:lnTo>
                  <a:lnTo>
                    <a:pt x="12" y="22"/>
                  </a:lnTo>
                  <a:lnTo>
                    <a:pt x="16" y="20"/>
                  </a:lnTo>
                  <a:lnTo>
                    <a:pt x="18" y="18"/>
                  </a:lnTo>
                  <a:lnTo>
                    <a:pt x="18" y="16"/>
                  </a:lnTo>
                  <a:lnTo>
                    <a:pt x="18" y="16"/>
                  </a:lnTo>
                  <a:lnTo>
                    <a:pt x="12" y="14"/>
                  </a:lnTo>
                  <a:lnTo>
                    <a:pt x="12" y="12"/>
                  </a:lnTo>
                  <a:lnTo>
                    <a:pt x="18" y="14"/>
                  </a:lnTo>
                  <a:lnTo>
                    <a:pt x="18" y="14"/>
                  </a:lnTo>
                  <a:lnTo>
                    <a:pt x="36" y="16"/>
                  </a:lnTo>
                  <a:lnTo>
                    <a:pt x="40" y="16"/>
                  </a:lnTo>
                  <a:lnTo>
                    <a:pt x="44" y="16"/>
                  </a:lnTo>
                  <a:lnTo>
                    <a:pt x="44" y="16"/>
                  </a:lnTo>
                  <a:lnTo>
                    <a:pt x="48" y="12"/>
                  </a:lnTo>
                  <a:lnTo>
                    <a:pt x="54" y="8"/>
                  </a:lnTo>
                  <a:lnTo>
                    <a:pt x="66" y="4"/>
                  </a:lnTo>
                  <a:lnTo>
                    <a:pt x="66" y="4"/>
                  </a:lnTo>
                  <a:lnTo>
                    <a:pt x="68" y="4"/>
                  </a:lnTo>
                  <a:lnTo>
                    <a:pt x="66" y="2"/>
                  </a:lnTo>
                  <a:lnTo>
                    <a:pt x="52" y="2"/>
                  </a:lnTo>
                  <a:lnTo>
                    <a:pt x="52" y="2"/>
                  </a:lnTo>
                  <a:lnTo>
                    <a:pt x="36" y="0"/>
                  </a:lnTo>
                  <a:lnTo>
                    <a:pt x="28" y="0"/>
                  </a:lnTo>
                  <a:lnTo>
                    <a:pt x="22" y="0"/>
                  </a:lnTo>
                  <a:lnTo>
                    <a:pt x="22" y="0"/>
                  </a:lnTo>
                  <a:lnTo>
                    <a:pt x="12" y="4"/>
                  </a:lnTo>
                  <a:lnTo>
                    <a:pt x="8" y="6"/>
                  </a:lnTo>
                  <a:lnTo>
                    <a:pt x="6" y="10"/>
                  </a:lnTo>
                  <a:lnTo>
                    <a:pt x="6" y="10"/>
                  </a:lnTo>
                  <a:lnTo>
                    <a:pt x="6" y="12"/>
                  </a:lnTo>
                  <a:lnTo>
                    <a:pt x="2" y="14"/>
                  </a:lnTo>
                  <a:lnTo>
                    <a:pt x="0" y="16"/>
                  </a:lnTo>
                  <a:lnTo>
                    <a:pt x="2" y="18"/>
                  </a:lnTo>
                  <a:lnTo>
                    <a:pt x="2" y="18"/>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Canada"/>
            <p:cNvSpPr>
              <a:spLocks/>
            </p:cNvSpPr>
            <p:nvPr/>
          </p:nvSpPr>
          <p:spPr bwMode="auto">
            <a:xfrm>
              <a:off x="2406351" y="1498865"/>
              <a:ext cx="261938" cy="39688"/>
            </a:xfrm>
            <a:custGeom>
              <a:avLst/>
              <a:gdLst/>
              <a:ahLst/>
              <a:cxnLst>
                <a:cxn ang="0">
                  <a:pos x="34" y="30"/>
                </a:cxn>
                <a:cxn ang="0">
                  <a:pos x="48" y="26"/>
                </a:cxn>
                <a:cxn ang="0">
                  <a:pos x="54" y="26"/>
                </a:cxn>
                <a:cxn ang="0">
                  <a:pos x="58" y="30"/>
                </a:cxn>
                <a:cxn ang="0">
                  <a:pos x="66" y="30"/>
                </a:cxn>
                <a:cxn ang="0">
                  <a:pos x="78" y="28"/>
                </a:cxn>
                <a:cxn ang="0">
                  <a:pos x="88" y="24"/>
                </a:cxn>
                <a:cxn ang="0">
                  <a:pos x="90" y="24"/>
                </a:cxn>
                <a:cxn ang="0">
                  <a:pos x="88" y="26"/>
                </a:cxn>
                <a:cxn ang="0">
                  <a:pos x="90" y="30"/>
                </a:cxn>
                <a:cxn ang="0">
                  <a:pos x="100" y="30"/>
                </a:cxn>
                <a:cxn ang="0">
                  <a:pos x="108" y="26"/>
                </a:cxn>
                <a:cxn ang="0">
                  <a:pos x="112" y="26"/>
                </a:cxn>
                <a:cxn ang="0">
                  <a:pos x="138" y="26"/>
                </a:cxn>
                <a:cxn ang="0">
                  <a:pos x="144" y="26"/>
                </a:cxn>
                <a:cxn ang="0">
                  <a:pos x="152" y="28"/>
                </a:cxn>
                <a:cxn ang="0">
                  <a:pos x="156" y="28"/>
                </a:cxn>
                <a:cxn ang="0">
                  <a:pos x="158" y="26"/>
                </a:cxn>
                <a:cxn ang="0">
                  <a:pos x="156" y="20"/>
                </a:cxn>
                <a:cxn ang="0">
                  <a:pos x="160" y="22"/>
                </a:cxn>
                <a:cxn ang="0">
                  <a:pos x="178" y="26"/>
                </a:cxn>
                <a:cxn ang="0">
                  <a:pos x="194" y="24"/>
                </a:cxn>
                <a:cxn ang="0">
                  <a:pos x="194" y="22"/>
                </a:cxn>
                <a:cxn ang="0">
                  <a:pos x="188" y="18"/>
                </a:cxn>
                <a:cxn ang="0">
                  <a:pos x="180" y="12"/>
                </a:cxn>
                <a:cxn ang="0">
                  <a:pos x="174" y="10"/>
                </a:cxn>
                <a:cxn ang="0">
                  <a:pos x="164" y="12"/>
                </a:cxn>
                <a:cxn ang="0">
                  <a:pos x="160" y="12"/>
                </a:cxn>
                <a:cxn ang="0">
                  <a:pos x="156" y="12"/>
                </a:cxn>
                <a:cxn ang="0">
                  <a:pos x="142" y="14"/>
                </a:cxn>
                <a:cxn ang="0">
                  <a:pos x="136" y="14"/>
                </a:cxn>
                <a:cxn ang="0">
                  <a:pos x="124" y="14"/>
                </a:cxn>
                <a:cxn ang="0">
                  <a:pos x="112" y="14"/>
                </a:cxn>
                <a:cxn ang="0">
                  <a:pos x="104" y="12"/>
                </a:cxn>
                <a:cxn ang="0">
                  <a:pos x="88" y="14"/>
                </a:cxn>
                <a:cxn ang="0">
                  <a:pos x="82" y="14"/>
                </a:cxn>
                <a:cxn ang="0">
                  <a:pos x="72" y="16"/>
                </a:cxn>
                <a:cxn ang="0">
                  <a:pos x="62" y="16"/>
                </a:cxn>
                <a:cxn ang="0">
                  <a:pos x="60" y="14"/>
                </a:cxn>
                <a:cxn ang="0">
                  <a:pos x="52" y="16"/>
                </a:cxn>
                <a:cxn ang="0">
                  <a:pos x="50" y="14"/>
                </a:cxn>
                <a:cxn ang="0">
                  <a:pos x="42" y="12"/>
                </a:cxn>
                <a:cxn ang="0">
                  <a:pos x="40" y="10"/>
                </a:cxn>
                <a:cxn ang="0">
                  <a:pos x="46" y="10"/>
                </a:cxn>
                <a:cxn ang="0">
                  <a:pos x="52" y="4"/>
                </a:cxn>
                <a:cxn ang="0">
                  <a:pos x="46" y="2"/>
                </a:cxn>
                <a:cxn ang="0">
                  <a:pos x="36" y="0"/>
                </a:cxn>
                <a:cxn ang="0">
                  <a:pos x="28" y="0"/>
                </a:cxn>
                <a:cxn ang="0">
                  <a:pos x="14" y="0"/>
                </a:cxn>
                <a:cxn ang="0">
                  <a:pos x="2" y="2"/>
                </a:cxn>
                <a:cxn ang="0">
                  <a:pos x="0" y="4"/>
                </a:cxn>
                <a:cxn ang="0">
                  <a:pos x="6" y="8"/>
                </a:cxn>
                <a:cxn ang="0">
                  <a:pos x="6" y="12"/>
                </a:cxn>
                <a:cxn ang="0">
                  <a:pos x="6" y="12"/>
                </a:cxn>
                <a:cxn ang="0">
                  <a:pos x="12" y="14"/>
                </a:cxn>
                <a:cxn ang="0">
                  <a:pos x="24" y="12"/>
                </a:cxn>
                <a:cxn ang="0">
                  <a:pos x="28" y="14"/>
                </a:cxn>
                <a:cxn ang="0">
                  <a:pos x="28" y="18"/>
                </a:cxn>
                <a:cxn ang="0">
                  <a:pos x="24" y="20"/>
                </a:cxn>
                <a:cxn ang="0">
                  <a:pos x="20" y="26"/>
                </a:cxn>
                <a:cxn ang="0">
                  <a:pos x="34" y="30"/>
                </a:cxn>
              </a:cxnLst>
              <a:rect l="0" t="0" r="r" b="b"/>
              <a:pathLst>
                <a:path w="198" h="30">
                  <a:moveTo>
                    <a:pt x="34" y="30"/>
                  </a:moveTo>
                  <a:lnTo>
                    <a:pt x="34" y="30"/>
                  </a:lnTo>
                  <a:lnTo>
                    <a:pt x="42" y="28"/>
                  </a:lnTo>
                  <a:lnTo>
                    <a:pt x="48" y="26"/>
                  </a:lnTo>
                  <a:lnTo>
                    <a:pt x="52" y="26"/>
                  </a:lnTo>
                  <a:lnTo>
                    <a:pt x="54" y="26"/>
                  </a:lnTo>
                  <a:lnTo>
                    <a:pt x="54" y="26"/>
                  </a:lnTo>
                  <a:lnTo>
                    <a:pt x="58" y="30"/>
                  </a:lnTo>
                  <a:lnTo>
                    <a:pt x="66" y="30"/>
                  </a:lnTo>
                  <a:lnTo>
                    <a:pt x="66" y="30"/>
                  </a:lnTo>
                  <a:lnTo>
                    <a:pt x="74" y="30"/>
                  </a:lnTo>
                  <a:lnTo>
                    <a:pt x="78" y="28"/>
                  </a:lnTo>
                  <a:lnTo>
                    <a:pt x="84" y="26"/>
                  </a:lnTo>
                  <a:lnTo>
                    <a:pt x="88" y="24"/>
                  </a:lnTo>
                  <a:lnTo>
                    <a:pt x="88" y="24"/>
                  </a:lnTo>
                  <a:lnTo>
                    <a:pt x="90" y="24"/>
                  </a:lnTo>
                  <a:lnTo>
                    <a:pt x="90" y="24"/>
                  </a:lnTo>
                  <a:lnTo>
                    <a:pt x="88" y="26"/>
                  </a:lnTo>
                  <a:lnTo>
                    <a:pt x="86" y="28"/>
                  </a:lnTo>
                  <a:lnTo>
                    <a:pt x="90" y="30"/>
                  </a:lnTo>
                  <a:lnTo>
                    <a:pt x="90" y="30"/>
                  </a:lnTo>
                  <a:lnTo>
                    <a:pt x="100" y="30"/>
                  </a:lnTo>
                  <a:lnTo>
                    <a:pt x="106" y="28"/>
                  </a:lnTo>
                  <a:lnTo>
                    <a:pt x="108" y="26"/>
                  </a:lnTo>
                  <a:lnTo>
                    <a:pt x="112" y="26"/>
                  </a:lnTo>
                  <a:lnTo>
                    <a:pt x="112" y="26"/>
                  </a:lnTo>
                  <a:lnTo>
                    <a:pt x="126" y="28"/>
                  </a:lnTo>
                  <a:lnTo>
                    <a:pt x="138" y="26"/>
                  </a:lnTo>
                  <a:lnTo>
                    <a:pt x="138" y="26"/>
                  </a:lnTo>
                  <a:lnTo>
                    <a:pt x="144" y="26"/>
                  </a:lnTo>
                  <a:lnTo>
                    <a:pt x="148" y="26"/>
                  </a:lnTo>
                  <a:lnTo>
                    <a:pt x="152" y="28"/>
                  </a:lnTo>
                  <a:lnTo>
                    <a:pt x="156" y="28"/>
                  </a:lnTo>
                  <a:lnTo>
                    <a:pt x="156" y="28"/>
                  </a:lnTo>
                  <a:lnTo>
                    <a:pt x="158" y="26"/>
                  </a:lnTo>
                  <a:lnTo>
                    <a:pt x="158" y="26"/>
                  </a:lnTo>
                  <a:lnTo>
                    <a:pt x="158" y="22"/>
                  </a:lnTo>
                  <a:lnTo>
                    <a:pt x="156" y="20"/>
                  </a:lnTo>
                  <a:lnTo>
                    <a:pt x="160" y="22"/>
                  </a:lnTo>
                  <a:lnTo>
                    <a:pt x="160" y="22"/>
                  </a:lnTo>
                  <a:lnTo>
                    <a:pt x="170" y="26"/>
                  </a:lnTo>
                  <a:lnTo>
                    <a:pt x="178" y="26"/>
                  </a:lnTo>
                  <a:lnTo>
                    <a:pt x="178" y="26"/>
                  </a:lnTo>
                  <a:lnTo>
                    <a:pt x="194" y="24"/>
                  </a:lnTo>
                  <a:lnTo>
                    <a:pt x="198" y="24"/>
                  </a:lnTo>
                  <a:lnTo>
                    <a:pt x="194" y="22"/>
                  </a:lnTo>
                  <a:lnTo>
                    <a:pt x="194" y="22"/>
                  </a:lnTo>
                  <a:lnTo>
                    <a:pt x="188" y="18"/>
                  </a:lnTo>
                  <a:lnTo>
                    <a:pt x="184" y="14"/>
                  </a:lnTo>
                  <a:lnTo>
                    <a:pt x="180" y="12"/>
                  </a:lnTo>
                  <a:lnTo>
                    <a:pt x="174" y="10"/>
                  </a:lnTo>
                  <a:lnTo>
                    <a:pt x="174" y="10"/>
                  </a:lnTo>
                  <a:lnTo>
                    <a:pt x="168" y="10"/>
                  </a:lnTo>
                  <a:lnTo>
                    <a:pt x="164" y="12"/>
                  </a:lnTo>
                  <a:lnTo>
                    <a:pt x="164" y="12"/>
                  </a:lnTo>
                  <a:lnTo>
                    <a:pt x="160" y="12"/>
                  </a:lnTo>
                  <a:lnTo>
                    <a:pt x="160" y="12"/>
                  </a:lnTo>
                  <a:lnTo>
                    <a:pt x="156" y="12"/>
                  </a:lnTo>
                  <a:lnTo>
                    <a:pt x="150" y="14"/>
                  </a:lnTo>
                  <a:lnTo>
                    <a:pt x="142" y="14"/>
                  </a:lnTo>
                  <a:lnTo>
                    <a:pt x="136" y="14"/>
                  </a:lnTo>
                  <a:lnTo>
                    <a:pt x="136" y="14"/>
                  </a:lnTo>
                  <a:lnTo>
                    <a:pt x="130" y="14"/>
                  </a:lnTo>
                  <a:lnTo>
                    <a:pt x="124" y="14"/>
                  </a:lnTo>
                  <a:lnTo>
                    <a:pt x="118" y="14"/>
                  </a:lnTo>
                  <a:lnTo>
                    <a:pt x="112" y="14"/>
                  </a:lnTo>
                  <a:lnTo>
                    <a:pt x="112" y="14"/>
                  </a:lnTo>
                  <a:lnTo>
                    <a:pt x="104" y="12"/>
                  </a:lnTo>
                  <a:lnTo>
                    <a:pt x="96" y="14"/>
                  </a:lnTo>
                  <a:lnTo>
                    <a:pt x="88" y="14"/>
                  </a:lnTo>
                  <a:lnTo>
                    <a:pt x="82" y="14"/>
                  </a:lnTo>
                  <a:lnTo>
                    <a:pt x="82" y="14"/>
                  </a:lnTo>
                  <a:lnTo>
                    <a:pt x="78" y="14"/>
                  </a:lnTo>
                  <a:lnTo>
                    <a:pt x="72" y="16"/>
                  </a:lnTo>
                  <a:lnTo>
                    <a:pt x="66" y="16"/>
                  </a:lnTo>
                  <a:lnTo>
                    <a:pt x="62" y="16"/>
                  </a:lnTo>
                  <a:lnTo>
                    <a:pt x="62" y="16"/>
                  </a:lnTo>
                  <a:lnTo>
                    <a:pt x="60" y="14"/>
                  </a:lnTo>
                  <a:lnTo>
                    <a:pt x="56" y="14"/>
                  </a:lnTo>
                  <a:lnTo>
                    <a:pt x="52" y="16"/>
                  </a:lnTo>
                  <a:lnTo>
                    <a:pt x="50" y="14"/>
                  </a:lnTo>
                  <a:lnTo>
                    <a:pt x="50" y="14"/>
                  </a:lnTo>
                  <a:lnTo>
                    <a:pt x="46" y="12"/>
                  </a:lnTo>
                  <a:lnTo>
                    <a:pt x="42" y="12"/>
                  </a:lnTo>
                  <a:lnTo>
                    <a:pt x="38" y="12"/>
                  </a:lnTo>
                  <a:lnTo>
                    <a:pt x="40" y="10"/>
                  </a:lnTo>
                  <a:lnTo>
                    <a:pt x="40" y="10"/>
                  </a:lnTo>
                  <a:lnTo>
                    <a:pt x="46" y="10"/>
                  </a:lnTo>
                  <a:lnTo>
                    <a:pt x="50" y="6"/>
                  </a:lnTo>
                  <a:lnTo>
                    <a:pt x="52" y="4"/>
                  </a:lnTo>
                  <a:lnTo>
                    <a:pt x="46" y="2"/>
                  </a:lnTo>
                  <a:lnTo>
                    <a:pt x="46" y="2"/>
                  </a:lnTo>
                  <a:lnTo>
                    <a:pt x="40" y="2"/>
                  </a:lnTo>
                  <a:lnTo>
                    <a:pt x="36" y="0"/>
                  </a:lnTo>
                  <a:lnTo>
                    <a:pt x="34" y="0"/>
                  </a:lnTo>
                  <a:lnTo>
                    <a:pt x="28" y="0"/>
                  </a:lnTo>
                  <a:lnTo>
                    <a:pt x="28" y="0"/>
                  </a:lnTo>
                  <a:lnTo>
                    <a:pt x="14" y="0"/>
                  </a:lnTo>
                  <a:lnTo>
                    <a:pt x="2" y="2"/>
                  </a:lnTo>
                  <a:lnTo>
                    <a:pt x="2" y="2"/>
                  </a:lnTo>
                  <a:lnTo>
                    <a:pt x="0" y="2"/>
                  </a:lnTo>
                  <a:lnTo>
                    <a:pt x="0" y="4"/>
                  </a:lnTo>
                  <a:lnTo>
                    <a:pt x="4" y="6"/>
                  </a:lnTo>
                  <a:lnTo>
                    <a:pt x="6" y="8"/>
                  </a:lnTo>
                  <a:lnTo>
                    <a:pt x="8" y="10"/>
                  </a:lnTo>
                  <a:lnTo>
                    <a:pt x="6" y="12"/>
                  </a:lnTo>
                  <a:lnTo>
                    <a:pt x="6" y="12"/>
                  </a:lnTo>
                  <a:lnTo>
                    <a:pt x="6" y="12"/>
                  </a:lnTo>
                  <a:lnTo>
                    <a:pt x="8" y="14"/>
                  </a:lnTo>
                  <a:lnTo>
                    <a:pt x="12" y="14"/>
                  </a:lnTo>
                  <a:lnTo>
                    <a:pt x="18" y="14"/>
                  </a:lnTo>
                  <a:lnTo>
                    <a:pt x="24" y="12"/>
                  </a:lnTo>
                  <a:lnTo>
                    <a:pt x="24" y="12"/>
                  </a:lnTo>
                  <a:lnTo>
                    <a:pt x="28" y="14"/>
                  </a:lnTo>
                  <a:lnTo>
                    <a:pt x="28" y="16"/>
                  </a:lnTo>
                  <a:lnTo>
                    <a:pt x="28" y="18"/>
                  </a:lnTo>
                  <a:lnTo>
                    <a:pt x="24" y="20"/>
                  </a:lnTo>
                  <a:lnTo>
                    <a:pt x="24" y="20"/>
                  </a:lnTo>
                  <a:lnTo>
                    <a:pt x="20" y="22"/>
                  </a:lnTo>
                  <a:lnTo>
                    <a:pt x="20" y="26"/>
                  </a:lnTo>
                  <a:lnTo>
                    <a:pt x="24" y="30"/>
                  </a:lnTo>
                  <a:lnTo>
                    <a:pt x="34" y="30"/>
                  </a:lnTo>
                  <a:lnTo>
                    <a:pt x="34" y="30"/>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Canada"/>
            <p:cNvSpPr>
              <a:spLocks/>
            </p:cNvSpPr>
            <p:nvPr/>
          </p:nvSpPr>
          <p:spPr bwMode="auto">
            <a:xfrm>
              <a:off x="1755476" y="1535906"/>
              <a:ext cx="185208" cy="52917"/>
            </a:xfrm>
            <a:custGeom>
              <a:avLst/>
              <a:gdLst/>
              <a:ahLst/>
              <a:cxnLst>
                <a:cxn ang="0">
                  <a:pos x="48" y="28"/>
                </a:cxn>
                <a:cxn ang="0">
                  <a:pos x="48" y="28"/>
                </a:cxn>
                <a:cxn ang="0">
                  <a:pos x="54" y="24"/>
                </a:cxn>
                <a:cxn ang="0">
                  <a:pos x="58" y="24"/>
                </a:cxn>
                <a:cxn ang="0">
                  <a:pos x="62" y="22"/>
                </a:cxn>
                <a:cxn ang="0">
                  <a:pos x="70" y="20"/>
                </a:cxn>
                <a:cxn ang="0">
                  <a:pos x="70" y="20"/>
                </a:cxn>
                <a:cxn ang="0">
                  <a:pos x="78" y="18"/>
                </a:cxn>
                <a:cxn ang="0">
                  <a:pos x="84" y="18"/>
                </a:cxn>
                <a:cxn ang="0">
                  <a:pos x="92" y="18"/>
                </a:cxn>
                <a:cxn ang="0">
                  <a:pos x="104" y="14"/>
                </a:cxn>
                <a:cxn ang="0">
                  <a:pos x="104" y="14"/>
                </a:cxn>
                <a:cxn ang="0">
                  <a:pos x="114" y="12"/>
                </a:cxn>
                <a:cxn ang="0">
                  <a:pos x="120" y="12"/>
                </a:cxn>
                <a:cxn ang="0">
                  <a:pos x="132" y="10"/>
                </a:cxn>
                <a:cxn ang="0">
                  <a:pos x="132" y="10"/>
                </a:cxn>
                <a:cxn ang="0">
                  <a:pos x="138" y="8"/>
                </a:cxn>
                <a:cxn ang="0">
                  <a:pos x="140" y="6"/>
                </a:cxn>
                <a:cxn ang="0">
                  <a:pos x="138" y="2"/>
                </a:cxn>
                <a:cxn ang="0">
                  <a:pos x="134" y="0"/>
                </a:cxn>
                <a:cxn ang="0">
                  <a:pos x="134" y="0"/>
                </a:cxn>
                <a:cxn ang="0">
                  <a:pos x="124" y="2"/>
                </a:cxn>
                <a:cxn ang="0">
                  <a:pos x="114" y="4"/>
                </a:cxn>
                <a:cxn ang="0">
                  <a:pos x="114" y="4"/>
                </a:cxn>
                <a:cxn ang="0">
                  <a:pos x="98" y="0"/>
                </a:cxn>
                <a:cxn ang="0">
                  <a:pos x="86" y="0"/>
                </a:cxn>
                <a:cxn ang="0">
                  <a:pos x="76" y="0"/>
                </a:cxn>
                <a:cxn ang="0">
                  <a:pos x="76" y="0"/>
                </a:cxn>
                <a:cxn ang="0">
                  <a:pos x="48" y="2"/>
                </a:cxn>
                <a:cxn ang="0">
                  <a:pos x="48" y="2"/>
                </a:cxn>
                <a:cxn ang="0">
                  <a:pos x="44" y="2"/>
                </a:cxn>
                <a:cxn ang="0">
                  <a:pos x="46" y="4"/>
                </a:cxn>
                <a:cxn ang="0">
                  <a:pos x="44" y="6"/>
                </a:cxn>
                <a:cxn ang="0">
                  <a:pos x="38" y="10"/>
                </a:cxn>
                <a:cxn ang="0">
                  <a:pos x="38" y="10"/>
                </a:cxn>
                <a:cxn ang="0">
                  <a:pos x="30" y="14"/>
                </a:cxn>
                <a:cxn ang="0">
                  <a:pos x="28" y="16"/>
                </a:cxn>
                <a:cxn ang="0">
                  <a:pos x="30" y="16"/>
                </a:cxn>
                <a:cxn ang="0">
                  <a:pos x="30" y="16"/>
                </a:cxn>
                <a:cxn ang="0">
                  <a:pos x="30" y="18"/>
                </a:cxn>
                <a:cxn ang="0">
                  <a:pos x="28" y="18"/>
                </a:cxn>
                <a:cxn ang="0">
                  <a:pos x="18" y="22"/>
                </a:cxn>
                <a:cxn ang="0">
                  <a:pos x="18" y="22"/>
                </a:cxn>
                <a:cxn ang="0">
                  <a:pos x="10" y="26"/>
                </a:cxn>
                <a:cxn ang="0">
                  <a:pos x="4" y="26"/>
                </a:cxn>
                <a:cxn ang="0">
                  <a:pos x="0" y="26"/>
                </a:cxn>
                <a:cxn ang="0">
                  <a:pos x="2" y="30"/>
                </a:cxn>
                <a:cxn ang="0">
                  <a:pos x="2" y="30"/>
                </a:cxn>
                <a:cxn ang="0">
                  <a:pos x="4" y="34"/>
                </a:cxn>
                <a:cxn ang="0">
                  <a:pos x="4" y="38"/>
                </a:cxn>
                <a:cxn ang="0">
                  <a:pos x="4" y="40"/>
                </a:cxn>
                <a:cxn ang="0">
                  <a:pos x="8" y="40"/>
                </a:cxn>
                <a:cxn ang="0">
                  <a:pos x="8" y="40"/>
                </a:cxn>
                <a:cxn ang="0">
                  <a:pos x="16" y="40"/>
                </a:cxn>
                <a:cxn ang="0">
                  <a:pos x="26" y="38"/>
                </a:cxn>
                <a:cxn ang="0">
                  <a:pos x="26" y="38"/>
                </a:cxn>
                <a:cxn ang="0">
                  <a:pos x="34" y="40"/>
                </a:cxn>
                <a:cxn ang="0">
                  <a:pos x="38" y="38"/>
                </a:cxn>
                <a:cxn ang="0">
                  <a:pos x="40" y="36"/>
                </a:cxn>
                <a:cxn ang="0">
                  <a:pos x="40" y="36"/>
                </a:cxn>
                <a:cxn ang="0">
                  <a:pos x="42" y="32"/>
                </a:cxn>
                <a:cxn ang="0">
                  <a:pos x="48" y="28"/>
                </a:cxn>
                <a:cxn ang="0">
                  <a:pos x="48" y="28"/>
                </a:cxn>
              </a:cxnLst>
              <a:rect l="0" t="0" r="r" b="b"/>
              <a:pathLst>
                <a:path w="140" h="40">
                  <a:moveTo>
                    <a:pt x="48" y="28"/>
                  </a:moveTo>
                  <a:lnTo>
                    <a:pt x="48" y="28"/>
                  </a:lnTo>
                  <a:lnTo>
                    <a:pt x="54" y="24"/>
                  </a:lnTo>
                  <a:lnTo>
                    <a:pt x="58" y="24"/>
                  </a:lnTo>
                  <a:lnTo>
                    <a:pt x="62" y="22"/>
                  </a:lnTo>
                  <a:lnTo>
                    <a:pt x="70" y="20"/>
                  </a:lnTo>
                  <a:lnTo>
                    <a:pt x="70" y="20"/>
                  </a:lnTo>
                  <a:lnTo>
                    <a:pt x="78" y="18"/>
                  </a:lnTo>
                  <a:lnTo>
                    <a:pt x="84" y="18"/>
                  </a:lnTo>
                  <a:lnTo>
                    <a:pt x="92" y="18"/>
                  </a:lnTo>
                  <a:lnTo>
                    <a:pt x="104" y="14"/>
                  </a:lnTo>
                  <a:lnTo>
                    <a:pt x="104" y="14"/>
                  </a:lnTo>
                  <a:lnTo>
                    <a:pt x="114" y="12"/>
                  </a:lnTo>
                  <a:lnTo>
                    <a:pt x="120" y="12"/>
                  </a:lnTo>
                  <a:lnTo>
                    <a:pt x="132" y="10"/>
                  </a:lnTo>
                  <a:lnTo>
                    <a:pt x="132" y="10"/>
                  </a:lnTo>
                  <a:lnTo>
                    <a:pt x="138" y="8"/>
                  </a:lnTo>
                  <a:lnTo>
                    <a:pt x="140" y="6"/>
                  </a:lnTo>
                  <a:lnTo>
                    <a:pt x="138" y="2"/>
                  </a:lnTo>
                  <a:lnTo>
                    <a:pt x="134" y="0"/>
                  </a:lnTo>
                  <a:lnTo>
                    <a:pt x="134" y="0"/>
                  </a:lnTo>
                  <a:lnTo>
                    <a:pt x="124" y="2"/>
                  </a:lnTo>
                  <a:lnTo>
                    <a:pt x="114" y="4"/>
                  </a:lnTo>
                  <a:lnTo>
                    <a:pt x="114" y="4"/>
                  </a:lnTo>
                  <a:lnTo>
                    <a:pt x="98" y="0"/>
                  </a:lnTo>
                  <a:lnTo>
                    <a:pt x="86" y="0"/>
                  </a:lnTo>
                  <a:lnTo>
                    <a:pt x="76" y="0"/>
                  </a:lnTo>
                  <a:lnTo>
                    <a:pt x="76" y="0"/>
                  </a:lnTo>
                  <a:lnTo>
                    <a:pt x="48" y="2"/>
                  </a:lnTo>
                  <a:lnTo>
                    <a:pt x="48" y="2"/>
                  </a:lnTo>
                  <a:lnTo>
                    <a:pt x="44" y="2"/>
                  </a:lnTo>
                  <a:lnTo>
                    <a:pt x="46" y="4"/>
                  </a:lnTo>
                  <a:lnTo>
                    <a:pt x="44" y="6"/>
                  </a:lnTo>
                  <a:lnTo>
                    <a:pt x="38" y="10"/>
                  </a:lnTo>
                  <a:lnTo>
                    <a:pt x="38" y="10"/>
                  </a:lnTo>
                  <a:lnTo>
                    <a:pt x="30" y="14"/>
                  </a:lnTo>
                  <a:lnTo>
                    <a:pt x="28" y="16"/>
                  </a:lnTo>
                  <a:lnTo>
                    <a:pt x="30" y="16"/>
                  </a:lnTo>
                  <a:lnTo>
                    <a:pt x="30" y="16"/>
                  </a:lnTo>
                  <a:lnTo>
                    <a:pt x="30" y="18"/>
                  </a:lnTo>
                  <a:lnTo>
                    <a:pt x="28" y="18"/>
                  </a:lnTo>
                  <a:lnTo>
                    <a:pt x="18" y="22"/>
                  </a:lnTo>
                  <a:lnTo>
                    <a:pt x="18" y="22"/>
                  </a:lnTo>
                  <a:lnTo>
                    <a:pt x="10" y="26"/>
                  </a:lnTo>
                  <a:lnTo>
                    <a:pt x="4" y="26"/>
                  </a:lnTo>
                  <a:lnTo>
                    <a:pt x="0" y="26"/>
                  </a:lnTo>
                  <a:lnTo>
                    <a:pt x="2" y="30"/>
                  </a:lnTo>
                  <a:lnTo>
                    <a:pt x="2" y="30"/>
                  </a:lnTo>
                  <a:lnTo>
                    <a:pt x="4" y="34"/>
                  </a:lnTo>
                  <a:lnTo>
                    <a:pt x="4" y="38"/>
                  </a:lnTo>
                  <a:lnTo>
                    <a:pt x="4" y="40"/>
                  </a:lnTo>
                  <a:lnTo>
                    <a:pt x="8" y="40"/>
                  </a:lnTo>
                  <a:lnTo>
                    <a:pt x="8" y="40"/>
                  </a:lnTo>
                  <a:lnTo>
                    <a:pt x="16" y="40"/>
                  </a:lnTo>
                  <a:lnTo>
                    <a:pt x="26" y="38"/>
                  </a:lnTo>
                  <a:lnTo>
                    <a:pt x="26" y="38"/>
                  </a:lnTo>
                  <a:lnTo>
                    <a:pt x="34" y="40"/>
                  </a:lnTo>
                  <a:lnTo>
                    <a:pt x="38" y="38"/>
                  </a:lnTo>
                  <a:lnTo>
                    <a:pt x="40" y="36"/>
                  </a:lnTo>
                  <a:lnTo>
                    <a:pt x="40" y="36"/>
                  </a:lnTo>
                  <a:lnTo>
                    <a:pt x="42" y="32"/>
                  </a:lnTo>
                  <a:lnTo>
                    <a:pt x="48" y="28"/>
                  </a:lnTo>
                  <a:lnTo>
                    <a:pt x="48" y="28"/>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Canada"/>
            <p:cNvSpPr>
              <a:spLocks/>
            </p:cNvSpPr>
            <p:nvPr/>
          </p:nvSpPr>
          <p:spPr bwMode="auto">
            <a:xfrm>
              <a:off x="1932747" y="1488281"/>
              <a:ext cx="105833" cy="26458"/>
            </a:xfrm>
            <a:custGeom>
              <a:avLst/>
              <a:gdLst/>
              <a:ahLst/>
              <a:cxnLst>
                <a:cxn ang="0">
                  <a:pos x="4" y="12"/>
                </a:cxn>
                <a:cxn ang="0">
                  <a:pos x="4" y="12"/>
                </a:cxn>
                <a:cxn ang="0">
                  <a:pos x="12" y="10"/>
                </a:cxn>
                <a:cxn ang="0">
                  <a:pos x="18" y="8"/>
                </a:cxn>
                <a:cxn ang="0">
                  <a:pos x="22" y="8"/>
                </a:cxn>
                <a:cxn ang="0">
                  <a:pos x="30" y="6"/>
                </a:cxn>
                <a:cxn ang="0">
                  <a:pos x="30" y="6"/>
                </a:cxn>
                <a:cxn ang="0">
                  <a:pos x="54" y="0"/>
                </a:cxn>
                <a:cxn ang="0">
                  <a:pos x="66" y="0"/>
                </a:cxn>
                <a:cxn ang="0">
                  <a:pos x="70" y="0"/>
                </a:cxn>
                <a:cxn ang="0">
                  <a:pos x="72" y="2"/>
                </a:cxn>
                <a:cxn ang="0">
                  <a:pos x="72" y="2"/>
                </a:cxn>
                <a:cxn ang="0">
                  <a:pos x="72" y="4"/>
                </a:cxn>
                <a:cxn ang="0">
                  <a:pos x="74" y="2"/>
                </a:cxn>
                <a:cxn ang="0">
                  <a:pos x="74" y="0"/>
                </a:cxn>
                <a:cxn ang="0">
                  <a:pos x="78" y="2"/>
                </a:cxn>
                <a:cxn ang="0">
                  <a:pos x="78" y="2"/>
                </a:cxn>
                <a:cxn ang="0">
                  <a:pos x="80" y="4"/>
                </a:cxn>
                <a:cxn ang="0">
                  <a:pos x="78" y="6"/>
                </a:cxn>
                <a:cxn ang="0">
                  <a:pos x="66" y="10"/>
                </a:cxn>
                <a:cxn ang="0">
                  <a:pos x="66" y="10"/>
                </a:cxn>
                <a:cxn ang="0">
                  <a:pos x="60" y="12"/>
                </a:cxn>
                <a:cxn ang="0">
                  <a:pos x="54" y="14"/>
                </a:cxn>
                <a:cxn ang="0">
                  <a:pos x="50" y="12"/>
                </a:cxn>
                <a:cxn ang="0">
                  <a:pos x="52" y="10"/>
                </a:cxn>
                <a:cxn ang="0">
                  <a:pos x="52" y="10"/>
                </a:cxn>
                <a:cxn ang="0">
                  <a:pos x="56" y="8"/>
                </a:cxn>
                <a:cxn ang="0">
                  <a:pos x="56" y="8"/>
                </a:cxn>
                <a:cxn ang="0">
                  <a:pos x="46" y="10"/>
                </a:cxn>
                <a:cxn ang="0">
                  <a:pos x="46" y="10"/>
                </a:cxn>
                <a:cxn ang="0">
                  <a:pos x="42" y="12"/>
                </a:cxn>
                <a:cxn ang="0">
                  <a:pos x="40" y="14"/>
                </a:cxn>
                <a:cxn ang="0">
                  <a:pos x="40" y="14"/>
                </a:cxn>
                <a:cxn ang="0">
                  <a:pos x="36" y="16"/>
                </a:cxn>
                <a:cxn ang="0">
                  <a:pos x="36" y="16"/>
                </a:cxn>
                <a:cxn ang="0">
                  <a:pos x="22" y="20"/>
                </a:cxn>
                <a:cxn ang="0">
                  <a:pos x="18" y="20"/>
                </a:cxn>
                <a:cxn ang="0">
                  <a:pos x="18" y="20"/>
                </a:cxn>
                <a:cxn ang="0">
                  <a:pos x="16" y="18"/>
                </a:cxn>
                <a:cxn ang="0">
                  <a:pos x="16" y="18"/>
                </a:cxn>
                <a:cxn ang="0">
                  <a:pos x="12" y="16"/>
                </a:cxn>
                <a:cxn ang="0">
                  <a:pos x="4" y="16"/>
                </a:cxn>
                <a:cxn ang="0">
                  <a:pos x="0" y="14"/>
                </a:cxn>
                <a:cxn ang="0">
                  <a:pos x="0" y="14"/>
                </a:cxn>
                <a:cxn ang="0">
                  <a:pos x="4" y="12"/>
                </a:cxn>
                <a:cxn ang="0">
                  <a:pos x="4" y="12"/>
                </a:cxn>
              </a:cxnLst>
              <a:rect l="0" t="0" r="r" b="b"/>
              <a:pathLst>
                <a:path w="80" h="20">
                  <a:moveTo>
                    <a:pt x="4" y="12"/>
                  </a:moveTo>
                  <a:lnTo>
                    <a:pt x="4" y="12"/>
                  </a:lnTo>
                  <a:lnTo>
                    <a:pt x="12" y="10"/>
                  </a:lnTo>
                  <a:lnTo>
                    <a:pt x="18" y="8"/>
                  </a:lnTo>
                  <a:lnTo>
                    <a:pt x="22" y="8"/>
                  </a:lnTo>
                  <a:lnTo>
                    <a:pt x="30" y="6"/>
                  </a:lnTo>
                  <a:lnTo>
                    <a:pt x="30" y="6"/>
                  </a:lnTo>
                  <a:lnTo>
                    <a:pt x="54" y="0"/>
                  </a:lnTo>
                  <a:lnTo>
                    <a:pt x="66" y="0"/>
                  </a:lnTo>
                  <a:lnTo>
                    <a:pt x="70" y="0"/>
                  </a:lnTo>
                  <a:lnTo>
                    <a:pt x="72" y="2"/>
                  </a:lnTo>
                  <a:lnTo>
                    <a:pt x="72" y="2"/>
                  </a:lnTo>
                  <a:lnTo>
                    <a:pt x="72" y="4"/>
                  </a:lnTo>
                  <a:lnTo>
                    <a:pt x="74" y="2"/>
                  </a:lnTo>
                  <a:lnTo>
                    <a:pt x="74" y="0"/>
                  </a:lnTo>
                  <a:lnTo>
                    <a:pt x="78" y="2"/>
                  </a:lnTo>
                  <a:lnTo>
                    <a:pt x="78" y="2"/>
                  </a:lnTo>
                  <a:lnTo>
                    <a:pt x="80" y="4"/>
                  </a:lnTo>
                  <a:lnTo>
                    <a:pt x="78" y="6"/>
                  </a:lnTo>
                  <a:lnTo>
                    <a:pt x="66" y="10"/>
                  </a:lnTo>
                  <a:lnTo>
                    <a:pt x="66" y="10"/>
                  </a:lnTo>
                  <a:lnTo>
                    <a:pt x="60" y="12"/>
                  </a:lnTo>
                  <a:lnTo>
                    <a:pt x="54" y="14"/>
                  </a:lnTo>
                  <a:lnTo>
                    <a:pt x="50" y="12"/>
                  </a:lnTo>
                  <a:lnTo>
                    <a:pt x="52" y="10"/>
                  </a:lnTo>
                  <a:lnTo>
                    <a:pt x="52" y="10"/>
                  </a:lnTo>
                  <a:lnTo>
                    <a:pt x="56" y="8"/>
                  </a:lnTo>
                  <a:lnTo>
                    <a:pt x="56" y="8"/>
                  </a:lnTo>
                  <a:lnTo>
                    <a:pt x="46" y="10"/>
                  </a:lnTo>
                  <a:lnTo>
                    <a:pt x="46" y="10"/>
                  </a:lnTo>
                  <a:lnTo>
                    <a:pt x="42" y="12"/>
                  </a:lnTo>
                  <a:lnTo>
                    <a:pt x="40" y="14"/>
                  </a:lnTo>
                  <a:lnTo>
                    <a:pt x="40" y="14"/>
                  </a:lnTo>
                  <a:lnTo>
                    <a:pt x="36" y="16"/>
                  </a:lnTo>
                  <a:lnTo>
                    <a:pt x="36" y="16"/>
                  </a:lnTo>
                  <a:lnTo>
                    <a:pt x="22" y="20"/>
                  </a:lnTo>
                  <a:lnTo>
                    <a:pt x="18" y="20"/>
                  </a:lnTo>
                  <a:lnTo>
                    <a:pt x="18" y="20"/>
                  </a:lnTo>
                  <a:lnTo>
                    <a:pt x="16" y="18"/>
                  </a:lnTo>
                  <a:lnTo>
                    <a:pt x="16" y="18"/>
                  </a:lnTo>
                  <a:lnTo>
                    <a:pt x="12" y="16"/>
                  </a:lnTo>
                  <a:lnTo>
                    <a:pt x="4" y="16"/>
                  </a:lnTo>
                  <a:lnTo>
                    <a:pt x="0" y="14"/>
                  </a:lnTo>
                  <a:lnTo>
                    <a:pt x="0" y="14"/>
                  </a:lnTo>
                  <a:lnTo>
                    <a:pt x="4" y="12"/>
                  </a:lnTo>
                  <a:lnTo>
                    <a:pt x="4" y="12"/>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Canada"/>
            <p:cNvSpPr>
              <a:spLocks/>
            </p:cNvSpPr>
            <p:nvPr/>
          </p:nvSpPr>
          <p:spPr bwMode="auto">
            <a:xfrm>
              <a:off x="2001538" y="1498865"/>
              <a:ext cx="182563" cy="42333"/>
            </a:xfrm>
            <a:custGeom>
              <a:avLst/>
              <a:gdLst/>
              <a:ahLst/>
              <a:cxnLst>
                <a:cxn ang="0">
                  <a:pos x="18" y="6"/>
                </a:cxn>
                <a:cxn ang="0">
                  <a:pos x="30" y="2"/>
                </a:cxn>
                <a:cxn ang="0">
                  <a:pos x="30" y="4"/>
                </a:cxn>
                <a:cxn ang="0">
                  <a:pos x="36" y="4"/>
                </a:cxn>
                <a:cxn ang="0">
                  <a:pos x="44" y="6"/>
                </a:cxn>
                <a:cxn ang="0">
                  <a:pos x="48" y="12"/>
                </a:cxn>
                <a:cxn ang="0">
                  <a:pos x="58" y="18"/>
                </a:cxn>
                <a:cxn ang="0">
                  <a:pos x="64" y="18"/>
                </a:cxn>
                <a:cxn ang="0">
                  <a:pos x="76" y="18"/>
                </a:cxn>
                <a:cxn ang="0">
                  <a:pos x="78" y="16"/>
                </a:cxn>
                <a:cxn ang="0">
                  <a:pos x="80" y="14"/>
                </a:cxn>
                <a:cxn ang="0">
                  <a:pos x="84" y="12"/>
                </a:cxn>
                <a:cxn ang="0">
                  <a:pos x="84" y="6"/>
                </a:cxn>
                <a:cxn ang="0">
                  <a:pos x="90" y="6"/>
                </a:cxn>
                <a:cxn ang="0">
                  <a:pos x="122" y="0"/>
                </a:cxn>
                <a:cxn ang="0">
                  <a:pos x="120" y="4"/>
                </a:cxn>
                <a:cxn ang="0">
                  <a:pos x="116" y="8"/>
                </a:cxn>
                <a:cxn ang="0">
                  <a:pos x="118" y="12"/>
                </a:cxn>
                <a:cxn ang="0">
                  <a:pos x="116" y="14"/>
                </a:cxn>
                <a:cxn ang="0">
                  <a:pos x="118" y="12"/>
                </a:cxn>
                <a:cxn ang="0">
                  <a:pos x="128" y="12"/>
                </a:cxn>
                <a:cxn ang="0">
                  <a:pos x="138" y="16"/>
                </a:cxn>
                <a:cxn ang="0">
                  <a:pos x="136" y="18"/>
                </a:cxn>
                <a:cxn ang="0">
                  <a:pos x="126" y="20"/>
                </a:cxn>
                <a:cxn ang="0">
                  <a:pos x="110" y="28"/>
                </a:cxn>
                <a:cxn ang="0">
                  <a:pos x="104" y="28"/>
                </a:cxn>
                <a:cxn ang="0">
                  <a:pos x="88" y="28"/>
                </a:cxn>
                <a:cxn ang="0">
                  <a:pos x="78" y="26"/>
                </a:cxn>
                <a:cxn ang="0">
                  <a:pos x="58" y="30"/>
                </a:cxn>
                <a:cxn ang="0">
                  <a:pos x="32" y="32"/>
                </a:cxn>
                <a:cxn ang="0">
                  <a:pos x="22" y="30"/>
                </a:cxn>
                <a:cxn ang="0">
                  <a:pos x="16" y="26"/>
                </a:cxn>
                <a:cxn ang="0">
                  <a:pos x="20" y="26"/>
                </a:cxn>
                <a:cxn ang="0">
                  <a:pos x="44" y="24"/>
                </a:cxn>
                <a:cxn ang="0">
                  <a:pos x="44" y="22"/>
                </a:cxn>
                <a:cxn ang="0">
                  <a:pos x="38" y="22"/>
                </a:cxn>
                <a:cxn ang="0">
                  <a:pos x="32" y="20"/>
                </a:cxn>
                <a:cxn ang="0">
                  <a:pos x="32" y="18"/>
                </a:cxn>
                <a:cxn ang="0">
                  <a:pos x="32" y="16"/>
                </a:cxn>
                <a:cxn ang="0">
                  <a:pos x="30" y="16"/>
                </a:cxn>
                <a:cxn ang="0">
                  <a:pos x="22" y="20"/>
                </a:cxn>
                <a:cxn ang="0">
                  <a:pos x="18" y="22"/>
                </a:cxn>
                <a:cxn ang="0">
                  <a:pos x="8" y="20"/>
                </a:cxn>
                <a:cxn ang="0">
                  <a:pos x="2" y="16"/>
                </a:cxn>
                <a:cxn ang="0">
                  <a:pos x="4" y="12"/>
                </a:cxn>
                <a:cxn ang="0">
                  <a:pos x="18" y="6"/>
                </a:cxn>
              </a:cxnLst>
              <a:rect l="0" t="0" r="r" b="b"/>
              <a:pathLst>
                <a:path w="138" h="32">
                  <a:moveTo>
                    <a:pt x="18" y="6"/>
                  </a:moveTo>
                  <a:lnTo>
                    <a:pt x="18" y="6"/>
                  </a:lnTo>
                  <a:lnTo>
                    <a:pt x="28" y="2"/>
                  </a:lnTo>
                  <a:lnTo>
                    <a:pt x="30" y="2"/>
                  </a:lnTo>
                  <a:lnTo>
                    <a:pt x="30" y="4"/>
                  </a:lnTo>
                  <a:lnTo>
                    <a:pt x="30" y="4"/>
                  </a:lnTo>
                  <a:lnTo>
                    <a:pt x="32" y="6"/>
                  </a:lnTo>
                  <a:lnTo>
                    <a:pt x="36" y="4"/>
                  </a:lnTo>
                  <a:lnTo>
                    <a:pt x="40" y="4"/>
                  </a:lnTo>
                  <a:lnTo>
                    <a:pt x="44" y="6"/>
                  </a:lnTo>
                  <a:lnTo>
                    <a:pt x="44" y="6"/>
                  </a:lnTo>
                  <a:lnTo>
                    <a:pt x="48" y="12"/>
                  </a:lnTo>
                  <a:lnTo>
                    <a:pt x="52" y="16"/>
                  </a:lnTo>
                  <a:lnTo>
                    <a:pt x="58" y="18"/>
                  </a:lnTo>
                  <a:lnTo>
                    <a:pt x="64" y="18"/>
                  </a:lnTo>
                  <a:lnTo>
                    <a:pt x="64" y="18"/>
                  </a:lnTo>
                  <a:lnTo>
                    <a:pt x="76" y="18"/>
                  </a:lnTo>
                  <a:lnTo>
                    <a:pt x="76" y="18"/>
                  </a:lnTo>
                  <a:lnTo>
                    <a:pt x="78" y="18"/>
                  </a:lnTo>
                  <a:lnTo>
                    <a:pt x="78" y="16"/>
                  </a:lnTo>
                  <a:lnTo>
                    <a:pt x="78" y="14"/>
                  </a:lnTo>
                  <a:lnTo>
                    <a:pt x="80" y="14"/>
                  </a:lnTo>
                  <a:lnTo>
                    <a:pt x="80" y="14"/>
                  </a:lnTo>
                  <a:lnTo>
                    <a:pt x="84" y="12"/>
                  </a:lnTo>
                  <a:lnTo>
                    <a:pt x="84" y="8"/>
                  </a:lnTo>
                  <a:lnTo>
                    <a:pt x="84" y="6"/>
                  </a:lnTo>
                  <a:lnTo>
                    <a:pt x="90" y="6"/>
                  </a:lnTo>
                  <a:lnTo>
                    <a:pt x="90" y="6"/>
                  </a:lnTo>
                  <a:lnTo>
                    <a:pt x="114" y="2"/>
                  </a:lnTo>
                  <a:lnTo>
                    <a:pt x="122" y="0"/>
                  </a:lnTo>
                  <a:lnTo>
                    <a:pt x="122" y="2"/>
                  </a:lnTo>
                  <a:lnTo>
                    <a:pt x="120" y="4"/>
                  </a:lnTo>
                  <a:lnTo>
                    <a:pt x="120" y="4"/>
                  </a:lnTo>
                  <a:lnTo>
                    <a:pt x="116" y="8"/>
                  </a:lnTo>
                  <a:lnTo>
                    <a:pt x="116" y="10"/>
                  </a:lnTo>
                  <a:lnTo>
                    <a:pt x="118" y="12"/>
                  </a:lnTo>
                  <a:lnTo>
                    <a:pt x="116" y="14"/>
                  </a:lnTo>
                  <a:lnTo>
                    <a:pt x="116" y="14"/>
                  </a:lnTo>
                  <a:lnTo>
                    <a:pt x="116" y="14"/>
                  </a:lnTo>
                  <a:lnTo>
                    <a:pt x="118" y="12"/>
                  </a:lnTo>
                  <a:lnTo>
                    <a:pt x="124" y="12"/>
                  </a:lnTo>
                  <a:lnTo>
                    <a:pt x="128" y="12"/>
                  </a:lnTo>
                  <a:lnTo>
                    <a:pt x="128" y="12"/>
                  </a:lnTo>
                  <a:lnTo>
                    <a:pt x="138" y="16"/>
                  </a:lnTo>
                  <a:lnTo>
                    <a:pt x="138" y="18"/>
                  </a:lnTo>
                  <a:lnTo>
                    <a:pt x="136" y="18"/>
                  </a:lnTo>
                  <a:lnTo>
                    <a:pt x="126" y="20"/>
                  </a:lnTo>
                  <a:lnTo>
                    <a:pt x="126" y="20"/>
                  </a:lnTo>
                  <a:lnTo>
                    <a:pt x="116" y="26"/>
                  </a:lnTo>
                  <a:lnTo>
                    <a:pt x="110" y="28"/>
                  </a:lnTo>
                  <a:lnTo>
                    <a:pt x="104" y="28"/>
                  </a:lnTo>
                  <a:lnTo>
                    <a:pt x="104" y="28"/>
                  </a:lnTo>
                  <a:lnTo>
                    <a:pt x="94" y="28"/>
                  </a:lnTo>
                  <a:lnTo>
                    <a:pt x="88" y="28"/>
                  </a:lnTo>
                  <a:lnTo>
                    <a:pt x="84" y="26"/>
                  </a:lnTo>
                  <a:lnTo>
                    <a:pt x="78" y="26"/>
                  </a:lnTo>
                  <a:lnTo>
                    <a:pt x="78" y="26"/>
                  </a:lnTo>
                  <a:lnTo>
                    <a:pt x="58" y="30"/>
                  </a:lnTo>
                  <a:lnTo>
                    <a:pt x="44" y="30"/>
                  </a:lnTo>
                  <a:lnTo>
                    <a:pt x="32" y="32"/>
                  </a:lnTo>
                  <a:lnTo>
                    <a:pt x="32" y="32"/>
                  </a:lnTo>
                  <a:lnTo>
                    <a:pt x="22" y="30"/>
                  </a:lnTo>
                  <a:lnTo>
                    <a:pt x="16" y="28"/>
                  </a:lnTo>
                  <a:lnTo>
                    <a:pt x="16" y="26"/>
                  </a:lnTo>
                  <a:lnTo>
                    <a:pt x="20" y="26"/>
                  </a:lnTo>
                  <a:lnTo>
                    <a:pt x="20" y="26"/>
                  </a:lnTo>
                  <a:lnTo>
                    <a:pt x="36" y="24"/>
                  </a:lnTo>
                  <a:lnTo>
                    <a:pt x="44" y="24"/>
                  </a:lnTo>
                  <a:lnTo>
                    <a:pt x="44" y="24"/>
                  </a:lnTo>
                  <a:lnTo>
                    <a:pt x="44" y="22"/>
                  </a:lnTo>
                  <a:lnTo>
                    <a:pt x="44" y="22"/>
                  </a:lnTo>
                  <a:lnTo>
                    <a:pt x="38" y="22"/>
                  </a:lnTo>
                  <a:lnTo>
                    <a:pt x="32" y="20"/>
                  </a:lnTo>
                  <a:lnTo>
                    <a:pt x="32" y="20"/>
                  </a:lnTo>
                  <a:lnTo>
                    <a:pt x="32" y="20"/>
                  </a:lnTo>
                  <a:lnTo>
                    <a:pt x="32" y="18"/>
                  </a:lnTo>
                  <a:lnTo>
                    <a:pt x="34" y="16"/>
                  </a:lnTo>
                  <a:lnTo>
                    <a:pt x="32" y="16"/>
                  </a:lnTo>
                  <a:lnTo>
                    <a:pt x="32" y="16"/>
                  </a:lnTo>
                  <a:lnTo>
                    <a:pt x="30" y="16"/>
                  </a:lnTo>
                  <a:lnTo>
                    <a:pt x="26" y="18"/>
                  </a:lnTo>
                  <a:lnTo>
                    <a:pt x="22" y="20"/>
                  </a:lnTo>
                  <a:lnTo>
                    <a:pt x="18" y="22"/>
                  </a:lnTo>
                  <a:lnTo>
                    <a:pt x="18" y="22"/>
                  </a:lnTo>
                  <a:lnTo>
                    <a:pt x="10" y="20"/>
                  </a:lnTo>
                  <a:lnTo>
                    <a:pt x="8" y="20"/>
                  </a:lnTo>
                  <a:lnTo>
                    <a:pt x="2" y="16"/>
                  </a:lnTo>
                  <a:lnTo>
                    <a:pt x="2" y="16"/>
                  </a:lnTo>
                  <a:lnTo>
                    <a:pt x="0" y="14"/>
                  </a:lnTo>
                  <a:lnTo>
                    <a:pt x="4" y="12"/>
                  </a:lnTo>
                  <a:lnTo>
                    <a:pt x="18" y="6"/>
                  </a:lnTo>
                  <a:lnTo>
                    <a:pt x="18" y="6"/>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Canada"/>
            <p:cNvSpPr>
              <a:spLocks/>
            </p:cNvSpPr>
            <p:nvPr/>
          </p:nvSpPr>
          <p:spPr bwMode="auto">
            <a:xfrm>
              <a:off x="2509538" y="1427427"/>
              <a:ext cx="555625" cy="82021"/>
            </a:xfrm>
            <a:custGeom>
              <a:avLst/>
              <a:gdLst/>
              <a:ahLst/>
              <a:cxnLst>
                <a:cxn ang="0">
                  <a:pos x="278" y="6"/>
                </a:cxn>
                <a:cxn ang="0">
                  <a:pos x="260" y="4"/>
                </a:cxn>
                <a:cxn ang="0">
                  <a:pos x="220" y="6"/>
                </a:cxn>
                <a:cxn ang="0">
                  <a:pos x="198" y="6"/>
                </a:cxn>
                <a:cxn ang="0">
                  <a:pos x="170" y="8"/>
                </a:cxn>
                <a:cxn ang="0">
                  <a:pos x="154" y="6"/>
                </a:cxn>
                <a:cxn ang="0">
                  <a:pos x="134" y="6"/>
                </a:cxn>
                <a:cxn ang="0">
                  <a:pos x="118" y="10"/>
                </a:cxn>
                <a:cxn ang="0">
                  <a:pos x="100" y="16"/>
                </a:cxn>
                <a:cxn ang="0">
                  <a:pos x="126" y="14"/>
                </a:cxn>
                <a:cxn ang="0">
                  <a:pos x="142" y="12"/>
                </a:cxn>
                <a:cxn ang="0">
                  <a:pos x="150" y="12"/>
                </a:cxn>
                <a:cxn ang="0">
                  <a:pos x="168" y="14"/>
                </a:cxn>
                <a:cxn ang="0">
                  <a:pos x="184" y="14"/>
                </a:cxn>
                <a:cxn ang="0">
                  <a:pos x="156" y="16"/>
                </a:cxn>
                <a:cxn ang="0">
                  <a:pos x="138" y="20"/>
                </a:cxn>
                <a:cxn ang="0">
                  <a:pos x="134" y="30"/>
                </a:cxn>
                <a:cxn ang="0">
                  <a:pos x="130" y="30"/>
                </a:cxn>
                <a:cxn ang="0">
                  <a:pos x="124" y="26"/>
                </a:cxn>
                <a:cxn ang="0">
                  <a:pos x="104" y="26"/>
                </a:cxn>
                <a:cxn ang="0">
                  <a:pos x="96" y="30"/>
                </a:cxn>
                <a:cxn ang="0">
                  <a:pos x="68" y="34"/>
                </a:cxn>
                <a:cxn ang="0">
                  <a:pos x="62" y="40"/>
                </a:cxn>
                <a:cxn ang="0">
                  <a:pos x="88" y="38"/>
                </a:cxn>
                <a:cxn ang="0">
                  <a:pos x="68" y="42"/>
                </a:cxn>
                <a:cxn ang="0">
                  <a:pos x="84" y="46"/>
                </a:cxn>
                <a:cxn ang="0">
                  <a:pos x="74" y="46"/>
                </a:cxn>
                <a:cxn ang="0">
                  <a:pos x="36" y="44"/>
                </a:cxn>
                <a:cxn ang="0">
                  <a:pos x="30" y="48"/>
                </a:cxn>
                <a:cxn ang="0">
                  <a:pos x="4" y="52"/>
                </a:cxn>
                <a:cxn ang="0">
                  <a:pos x="8" y="58"/>
                </a:cxn>
                <a:cxn ang="0">
                  <a:pos x="28" y="56"/>
                </a:cxn>
                <a:cxn ang="0">
                  <a:pos x="56" y="62"/>
                </a:cxn>
                <a:cxn ang="0">
                  <a:pos x="72" y="58"/>
                </a:cxn>
                <a:cxn ang="0">
                  <a:pos x="92" y="58"/>
                </a:cxn>
                <a:cxn ang="0">
                  <a:pos x="106" y="58"/>
                </a:cxn>
                <a:cxn ang="0">
                  <a:pos x="122" y="62"/>
                </a:cxn>
                <a:cxn ang="0">
                  <a:pos x="142" y="56"/>
                </a:cxn>
                <a:cxn ang="0">
                  <a:pos x="160" y="54"/>
                </a:cxn>
                <a:cxn ang="0">
                  <a:pos x="152" y="46"/>
                </a:cxn>
                <a:cxn ang="0">
                  <a:pos x="176" y="46"/>
                </a:cxn>
                <a:cxn ang="0">
                  <a:pos x="178" y="40"/>
                </a:cxn>
                <a:cxn ang="0">
                  <a:pos x="194" y="40"/>
                </a:cxn>
                <a:cxn ang="0">
                  <a:pos x="224" y="44"/>
                </a:cxn>
                <a:cxn ang="0">
                  <a:pos x="236" y="38"/>
                </a:cxn>
                <a:cxn ang="0">
                  <a:pos x="256" y="40"/>
                </a:cxn>
                <a:cxn ang="0">
                  <a:pos x="278" y="36"/>
                </a:cxn>
                <a:cxn ang="0">
                  <a:pos x="308" y="36"/>
                </a:cxn>
                <a:cxn ang="0">
                  <a:pos x="358" y="24"/>
                </a:cxn>
                <a:cxn ang="0">
                  <a:pos x="398" y="16"/>
                </a:cxn>
                <a:cxn ang="0">
                  <a:pos x="420" y="8"/>
                </a:cxn>
                <a:cxn ang="0">
                  <a:pos x="386" y="4"/>
                </a:cxn>
                <a:cxn ang="0">
                  <a:pos x="358" y="0"/>
                </a:cxn>
                <a:cxn ang="0">
                  <a:pos x="306" y="6"/>
                </a:cxn>
              </a:cxnLst>
              <a:rect l="0" t="0" r="r" b="b"/>
              <a:pathLst>
                <a:path w="420" h="62">
                  <a:moveTo>
                    <a:pt x="306" y="6"/>
                  </a:moveTo>
                  <a:lnTo>
                    <a:pt x="306" y="6"/>
                  </a:lnTo>
                  <a:lnTo>
                    <a:pt x="292" y="4"/>
                  </a:lnTo>
                  <a:lnTo>
                    <a:pt x="278" y="6"/>
                  </a:lnTo>
                  <a:lnTo>
                    <a:pt x="278" y="6"/>
                  </a:lnTo>
                  <a:lnTo>
                    <a:pt x="272" y="6"/>
                  </a:lnTo>
                  <a:lnTo>
                    <a:pt x="266" y="6"/>
                  </a:lnTo>
                  <a:lnTo>
                    <a:pt x="260" y="4"/>
                  </a:lnTo>
                  <a:lnTo>
                    <a:pt x="254" y="4"/>
                  </a:lnTo>
                  <a:lnTo>
                    <a:pt x="254" y="4"/>
                  </a:lnTo>
                  <a:lnTo>
                    <a:pt x="238" y="4"/>
                  </a:lnTo>
                  <a:lnTo>
                    <a:pt x="220" y="6"/>
                  </a:lnTo>
                  <a:lnTo>
                    <a:pt x="220" y="6"/>
                  </a:lnTo>
                  <a:lnTo>
                    <a:pt x="212" y="6"/>
                  </a:lnTo>
                  <a:lnTo>
                    <a:pt x="204" y="6"/>
                  </a:lnTo>
                  <a:lnTo>
                    <a:pt x="198" y="6"/>
                  </a:lnTo>
                  <a:lnTo>
                    <a:pt x="192" y="6"/>
                  </a:lnTo>
                  <a:lnTo>
                    <a:pt x="192" y="6"/>
                  </a:lnTo>
                  <a:lnTo>
                    <a:pt x="180" y="6"/>
                  </a:lnTo>
                  <a:lnTo>
                    <a:pt x="170" y="8"/>
                  </a:lnTo>
                  <a:lnTo>
                    <a:pt x="170" y="8"/>
                  </a:lnTo>
                  <a:lnTo>
                    <a:pt x="164" y="8"/>
                  </a:lnTo>
                  <a:lnTo>
                    <a:pt x="160" y="6"/>
                  </a:lnTo>
                  <a:lnTo>
                    <a:pt x="154" y="6"/>
                  </a:lnTo>
                  <a:lnTo>
                    <a:pt x="150" y="6"/>
                  </a:lnTo>
                  <a:lnTo>
                    <a:pt x="150" y="6"/>
                  </a:lnTo>
                  <a:lnTo>
                    <a:pt x="140" y="6"/>
                  </a:lnTo>
                  <a:lnTo>
                    <a:pt x="134" y="6"/>
                  </a:lnTo>
                  <a:lnTo>
                    <a:pt x="132" y="8"/>
                  </a:lnTo>
                  <a:lnTo>
                    <a:pt x="132" y="8"/>
                  </a:lnTo>
                  <a:lnTo>
                    <a:pt x="126" y="8"/>
                  </a:lnTo>
                  <a:lnTo>
                    <a:pt x="118" y="10"/>
                  </a:lnTo>
                  <a:lnTo>
                    <a:pt x="108" y="12"/>
                  </a:lnTo>
                  <a:lnTo>
                    <a:pt x="102" y="14"/>
                  </a:lnTo>
                  <a:lnTo>
                    <a:pt x="102" y="14"/>
                  </a:lnTo>
                  <a:lnTo>
                    <a:pt x="100" y="16"/>
                  </a:lnTo>
                  <a:lnTo>
                    <a:pt x="102" y="16"/>
                  </a:lnTo>
                  <a:lnTo>
                    <a:pt x="110" y="16"/>
                  </a:lnTo>
                  <a:lnTo>
                    <a:pt x="118" y="14"/>
                  </a:lnTo>
                  <a:lnTo>
                    <a:pt x="126" y="14"/>
                  </a:lnTo>
                  <a:lnTo>
                    <a:pt x="126" y="14"/>
                  </a:lnTo>
                  <a:lnTo>
                    <a:pt x="130" y="16"/>
                  </a:lnTo>
                  <a:lnTo>
                    <a:pt x="134" y="14"/>
                  </a:lnTo>
                  <a:lnTo>
                    <a:pt x="142" y="12"/>
                  </a:lnTo>
                  <a:lnTo>
                    <a:pt x="142" y="12"/>
                  </a:lnTo>
                  <a:lnTo>
                    <a:pt x="148" y="14"/>
                  </a:lnTo>
                  <a:lnTo>
                    <a:pt x="148" y="14"/>
                  </a:lnTo>
                  <a:lnTo>
                    <a:pt x="150" y="12"/>
                  </a:lnTo>
                  <a:lnTo>
                    <a:pt x="150" y="12"/>
                  </a:lnTo>
                  <a:lnTo>
                    <a:pt x="158" y="12"/>
                  </a:lnTo>
                  <a:lnTo>
                    <a:pt x="168" y="14"/>
                  </a:lnTo>
                  <a:lnTo>
                    <a:pt x="168" y="14"/>
                  </a:lnTo>
                  <a:lnTo>
                    <a:pt x="180" y="14"/>
                  </a:lnTo>
                  <a:lnTo>
                    <a:pt x="184" y="14"/>
                  </a:lnTo>
                  <a:lnTo>
                    <a:pt x="184" y="14"/>
                  </a:lnTo>
                  <a:lnTo>
                    <a:pt x="184" y="14"/>
                  </a:lnTo>
                  <a:lnTo>
                    <a:pt x="174" y="16"/>
                  </a:lnTo>
                  <a:lnTo>
                    <a:pt x="162" y="16"/>
                  </a:lnTo>
                  <a:lnTo>
                    <a:pt x="162" y="16"/>
                  </a:lnTo>
                  <a:lnTo>
                    <a:pt x="156" y="16"/>
                  </a:lnTo>
                  <a:lnTo>
                    <a:pt x="150" y="18"/>
                  </a:lnTo>
                  <a:lnTo>
                    <a:pt x="146" y="20"/>
                  </a:lnTo>
                  <a:lnTo>
                    <a:pt x="138" y="20"/>
                  </a:lnTo>
                  <a:lnTo>
                    <a:pt x="138" y="20"/>
                  </a:lnTo>
                  <a:lnTo>
                    <a:pt x="136" y="20"/>
                  </a:lnTo>
                  <a:lnTo>
                    <a:pt x="134" y="22"/>
                  </a:lnTo>
                  <a:lnTo>
                    <a:pt x="134" y="26"/>
                  </a:lnTo>
                  <a:lnTo>
                    <a:pt x="134" y="30"/>
                  </a:lnTo>
                  <a:lnTo>
                    <a:pt x="134" y="32"/>
                  </a:lnTo>
                  <a:lnTo>
                    <a:pt x="134" y="30"/>
                  </a:lnTo>
                  <a:lnTo>
                    <a:pt x="134" y="30"/>
                  </a:lnTo>
                  <a:lnTo>
                    <a:pt x="130" y="30"/>
                  </a:lnTo>
                  <a:lnTo>
                    <a:pt x="126" y="30"/>
                  </a:lnTo>
                  <a:lnTo>
                    <a:pt x="124" y="28"/>
                  </a:lnTo>
                  <a:lnTo>
                    <a:pt x="124" y="26"/>
                  </a:lnTo>
                  <a:lnTo>
                    <a:pt x="124" y="26"/>
                  </a:lnTo>
                  <a:lnTo>
                    <a:pt x="124" y="26"/>
                  </a:lnTo>
                  <a:lnTo>
                    <a:pt x="122" y="26"/>
                  </a:lnTo>
                  <a:lnTo>
                    <a:pt x="116" y="26"/>
                  </a:lnTo>
                  <a:lnTo>
                    <a:pt x="104" y="26"/>
                  </a:lnTo>
                  <a:lnTo>
                    <a:pt x="104" y="26"/>
                  </a:lnTo>
                  <a:lnTo>
                    <a:pt x="94" y="28"/>
                  </a:lnTo>
                  <a:lnTo>
                    <a:pt x="96" y="30"/>
                  </a:lnTo>
                  <a:lnTo>
                    <a:pt x="96" y="30"/>
                  </a:lnTo>
                  <a:lnTo>
                    <a:pt x="94" y="32"/>
                  </a:lnTo>
                  <a:lnTo>
                    <a:pt x="76" y="32"/>
                  </a:lnTo>
                  <a:lnTo>
                    <a:pt x="76" y="32"/>
                  </a:lnTo>
                  <a:lnTo>
                    <a:pt x="68" y="34"/>
                  </a:lnTo>
                  <a:lnTo>
                    <a:pt x="62" y="36"/>
                  </a:lnTo>
                  <a:lnTo>
                    <a:pt x="60" y="38"/>
                  </a:lnTo>
                  <a:lnTo>
                    <a:pt x="62" y="40"/>
                  </a:lnTo>
                  <a:lnTo>
                    <a:pt x="62" y="40"/>
                  </a:lnTo>
                  <a:lnTo>
                    <a:pt x="68" y="40"/>
                  </a:lnTo>
                  <a:lnTo>
                    <a:pt x="74" y="40"/>
                  </a:lnTo>
                  <a:lnTo>
                    <a:pt x="88" y="38"/>
                  </a:lnTo>
                  <a:lnTo>
                    <a:pt x="88" y="38"/>
                  </a:lnTo>
                  <a:lnTo>
                    <a:pt x="90" y="40"/>
                  </a:lnTo>
                  <a:lnTo>
                    <a:pt x="86" y="40"/>
                  </a:lnTo>
                  <a:lnTo>
                    <a:pt x="68" y="42"/>
                  </a:lnTo>
                  <a:lnTo>
                    <a:pt x="68" y="42"/>
                  </a:lnTo>
                  <a:lnTo>
                    <a:pt x="68" y="42"/>
                  </a:lnTo>
                  <a:lnTo>
                    <a:pt x="68" y="42"/>
                  </a:lnTo>
                  <a:lnTo>
                    <a:pt x="76" y="44"/>
                  </a:lnTo>
                  <a:lnTo>
                    <a:pt x="84" y="46"/>
                  </a:lnTo>
                  <a:lnTo>
                    <a:pt x="84" y="46"/>
                  </a:lnTo>
                  <a:lnTo>
                    <a:pt x="84" y="46"/>
                  </a:lnTo>
                  <a:lnTo>
                    <a:pt x="84" y="46"/>
                  </a:lnTo>
                  <a:lnTo>
                    <a:pt x="74" y="46"/>
                  </a:lnTo>
                  <a:lnTo>
                    <a:pt x="62" y="44"/>
                  </a:lnTo>
                  <a:lnTo>
                    <a:pt x="62" y="44"/>
                  </a:lnTo>
                  <a:lnTo>
                    <a:pt x="48" y="42"/>
                  </a:lnTo>
                  <a:lnTo>
                    <a:pt x="36" y="44"/>
                  </a:lnTo>
                  <a:lnTo>
                    <a:pt x="36" y="44"/>
                  </a:lnTo>
                  <a:lnTo>
                    <a:pt x="32" y="44"/>
                  </a:lnTo>
                  <a:lnTo>
                    <a:pt x="30" y="46"/>
                  </a:lnTo>
                  <a:lnTo>
                    <a:pt x="30" y="48"/>
                  </a:lnTo>
                  <a:lnTo>
                    <a:pt x="28" y="48"/>
                  </a:lnTo>
                  <a:lnTo>
                    <a:pt x="28" y="48"/>
                  </a:lnTo>
                  <a:lnTo>
                    <a:pt x="18" y="50"/>
                  </a:lnTo>
                  <a:lnTo>
                    <a:pt x="4" y="52"/>
                  </a:lnTo>
                  <a:lnTo>
                    <a:pt x="4" y="52"/>
                  </a:lnTo>
                  <a:lnTo>
                    <a:pt x="0" y="54"/>
                  </a:lnTo>
                  <a:lnTo>
                    <a:pt x="0" y="56"/>
                  </a:lnTo>
                  <a:lnTo>
                    <a:pt x="8" y="58"/>
                  </a:lnTo>
                  <a:lnTo>
                    <a:pt x="8" y="58"/>
                  </a:lnTo>
                  <a:lnTo>
                    <a:pt x="18" y="58"/>
                  </a:lnTo>
                  <a:lnTo>
                    <a:pt x="22" y="58"/>
                  </a:lnTo>
                  <a:lnTo>
                    <a:pt x="28" y="56"/>
                  </a:lnTo>
                  <a:lnTo>
                    <a:pt x="34" y="58"/>
                  </a:lnTo>
                  <a:lnTo>
                    <a:pt x="34" y="58"/>
                  </a:lnTo>
                  <a:lnTo>
                    <a:pt x="50" y="62"/>
                  </a:lnTo>
                  <a:lnTo>
                    <a:pt x="56" y="62"/>
                  </a:lnTo>
                  <a:lnTo>
                    <a:pt x="62" y="62"/>
                  </a:lnTo>
                  <a:lnTo>
                    <a:pt x="62" y="62"/>
                  </a:lnTo>
                  <a:lnTo>
                    <a:pt x="68" y="60"/>
                  </a:lnTo>
                  <a:lnTo>
                    <a:pt x="72" y="58"/>
                  </a:lnTo>
                  <a:lnTo>
                    <a:pt x="76" y="56"/>
                  </a:lnTo>
                  <a:lnTo>
                    <a:pt x="80" y="56"/>
                  </a:lnTo>
                  <a:lnTo>
                    <a:pt x="80" y="56"/>
                  </a:lnTo>
                  <a:lnTo>
                    <a:pt x="92" y="58"/>
                  </a:lnTo>
                  <a:lnTo>
                    <a:pt x="98" y="60"/>
                  </a:lnTo>
                  <a:lnTo>
                    <a:pt x="102" y="60"/>
                  </a:lnTo>
                  <a:lnTo>
                    <a:pt x="102" y="60"/>
                  </a:lnTo>
                  <a:lnTo>
                    <a:pt x="106" y="58"/>
                  </a:lnTo>
                  <a:lnTo>
                    <a:pt x="112" y="60"/>
                  </a:lnTo>
                  <a:lnTo>
                    <a:pt x="116" y="62"/>
                  </a:lnTo>
                  <a:lnTo>
                    <a:pt x="122" y="62"/>
                  </a:lnTo>
                  <a:lnTo>
                    <a:pt x="122" y="62"/>
                  </a:lnTo>
                  <a:lnTo>
                    <a:pt x="128" y="60"/>
                  </a:lnTo>
                  <a:lnTo>
                    <a:pt x="132" y="58"/>
                  </a:lnTo>
                  <a:lnTo>
                    <a:pt x="136" y="56"/>
                  </a:lnTo>
                  <a:lnTo>
                    <a:pt x="142" y="56"/>
                  </a:lnTo>
                  <a:lnTo>
                    <a:pt x="142" y="56"/>
                  </a:lnTo>
                  <a:lnTo>
                    <a:pt x="154" y="56"/>
                  </a:lnTo>
                  <a:lnTo>
                    <a:pt x="160" y="56"/>
                  </a:lnTo>
                  <a:lnTo>
                    <a:pt x="160" y="54"/>
                  </a:lnTo>
                  <a:lnTo>
                    <a:pt x="158" y="52"/>
                  </a:lnTo>
                  <a:lnTo>
                    <a:pt x="158" y="52"/>
                  </a:lnTo>
                  <a:lnTo>
                    <a:pt x="150" y="46"/>
                  </a:lnTo>
                  <a:lnTo>
                    <a:pt x="152" y="46"/>
                  </a:lnTo>
                  <a:lnTo>
                    <a:pt x="158" y="46"/>
                  </a:lnTo>
                  <a:lnTo>
                    <a:pt x="158" y="46"/>
                  </a:lnTo>
                  <a:lnTo>
                    <a:pt x="172" y="48"/>
                  </a:lnTo>
                  <a:lnTo>
                    <a:pt x="176" y="46"/>
                  </a:lnTo>
                  <a:lnTo>
                    <a:pt x="174" y="42"/>
                  </a:lnTo>
                  <a:lnTo>
                    <a:pt x="174" y="42"/>
                  </a:lnTo>
                  <a:lnTo>
                    <a:pt x="172" y="38"/>
                  </a:lnTo>
                  <a:lnTo>
                    <a:pt x="178" y="40"/>
                  </a:lnTo>
                  <a:lnTo>
                    <a:pt x="178" y="40"/>
                  </a:lnTo>
                  <a:lnTo>
                    <a:pt x="186" y="42"/>
                  </a:lnTo>
                  <a:lnTo>
                    <a:pt x="190" y="40"/>
                  </a:lnTo>
                  <a:lnTo>
                    <a:pt x="194" y="40"/>
                  </a:lnTo>
                  <a:lnTo>
                    <a:pt x="198" y="40"/>
                  </a:lnTo>
                  <a:lnTo>
                    <a:pt x="198" y="40"/>
                  </a:lnTo>
                  <a:lnTo>
                    <a:pt x="214" y="42"/>
                  </a:lnTo>
                  <a:lnTo>
                    <a:pt x="224" y="44"/>
                  </a:lnTo>
                  <a:lnTo>
                    <a:pt x="228" y="42"/>
                  </a:lnTo>
                  <a:lnTo>
                    <a:pt x="230" y="40"/>
                  </a:lnTo>
                  <a:lnTo>
                    <a:pt x="230" y="40"/>
                  </a:lnTo>
                  <a:lnTo>
                    <a:pt x="236" y="38"/>
                  </a:lnTo>
                  <a:lnTo>
                    <a:pt x="240" y="36"/>
                  </a:lnTo>
                  <a:lnTo>
                    <a:pt x="248" y="38"/>
                  </a:lnTo>
                  <a:lnTo>
                    <a:pt x="248" y="38"/>
                  </a:lnTo>
                  <a:lnTo>
                    <a:pt x="256" y="40"/>
                  </a:lnTo>
                  <a:lnTo>
                    <a:pt x="262" y="40"/>
                  </a:lnTo>
                  <a:lnTo>
                    <a:pt x="268" y="38"/>
                  </a:lnTo>
                  <a:lnTo>
                    <a:pt x="268" y="38"/>
                  </a:lnTo>
                  <a:lnTo>
                    <a:pt x="278" y="36"/>
                  </a:lnTo>
                  <a:lnTo>
                    <a:pt x="284" y="38"/>
                  </a:lnTo>
                  <a:lnTo>
                    <a:pt x="294" y="38"/>
                  </a:lnTo>
                  <a:lnTo>
                    <a:pt x="308" y="36"/>
                  </a:lnTo>
                  <a:lnTo>
                    <a:pt x="308" y="36"/>
                  </a:lnTo>
                  <a:lnTo>
                    <a:pt x="324" y="32"/>
                  </a:lnTo>
                  <a:lnTo>
                    <a:pt x="336" y="30"/>
                  </a:lnTo>
                  <a:lnTo>
                    <a:pt x="346" y="28"/>
                  </a:lnTo>
                  <a:lnTo>
                    <a:pt x="358" y="24"/>
                  </a:lnTo>
                  <a:lnTo>
                    <a:pt x="358" y="24"/>
                  </a:lnTo>
                  <a:lnTo>
                    <a:pt x="370" y="20"/>
                  </a:lnTo>
                  <a:lnTo>
                    <a:pt x="380" y="18"/>
                  </a:lnTo>
                  <a:lnTo>
                    <a:pt x="398" y="16"/>
                  </a:lnTo>
                  <a:lnTo>
                    <a:pt x="398" y="16"/>
                  </a:lnTo>
                  <a:lnTo>
                    <a:pt x="408" y="14"/>
                  </a:lnTo>
                  <a:lnTo>
                    <a:pt x="418" y="10"/>
                  </a:lnTo>
                  <a:lnTo>
                    <a:pt x="420" y="8"/>
                  </a:lnTo>
                  <a:lnTo>
                    <a:pt x="418" y="6"/>
                  </a:lnTo>
                  <a:lnTo>
                    <a:pt x="404" y="6"/>
                  </a:lnTo>
                  <a:lnTo>
                    <a:pt x="404" y="6"/>
                  </a:lnTo>
                  <a:lnTo>
                    <a:pt x="386" y="4"/>
                  </a:lnTo>
                  <a:lnTo>
                    <a:pt x="378" y="2"/>
                  </a:lnTo>
                  <a:lnTo>
                    <a:pt x="372" y="0"/>
                  </a:lnTo>
                  <a:lnTo>
                    <a:pt x="358" y="0"/>
                  </a:lnTo>
                  <a:lnTo>
                    <a:pt x="358" y="0"/>
                  </a:lnTo>
                  <a:lnTo>
                    <a:pt x="344" y="2"/>
                  </a:lnTo>
                  <a:lnTo>
                    <a:pt x="330" y="6"/>
                  </a:lnTo>
                  <a:lnTo>
                    <a:pt x="320" y="6"/>
                  </a:lnTo>
                  <a:lnTo>
                    <a:pt x="306" y="6"/>
                  </a:lnTo>
                  <a:lnTo>
                    <a:pt x="306" y="6"/>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Canada"/>
            <p:cNvSpPr>
              <a:spLocks/>
            </p:cNvSpPr>
            <p:nvPr/>
          </p:nvSpPr>
          <p:spPr bwMode="auto">
            <a:xfrm>
              <a:off x="2364017" y="1514740"/>
              <a:ext cx="50271" cy="18521"/>
            </a:xfrm>
            <a:custGeom>
              <a:avLst/>
              <a:gdLst/>
              <a:ahLst/>
              <a:cxnLst>
                <a:cxn ang="0">
                  <a:pos x="32" y="2"/>
                </a:cxn>
                <a:cxn ang="0">
                  <a:pos x="32" y="2"/>
                </a:cxn>
                <a:cxn ang="0">
                  <a:pos x="38" y="4"/>
                </a:cxn>
                <a:cxn ang="0">
                  <a:pos x="38" y="6"/>
                </a:cxn>
                <a:cxn ang="0">
                  <a:pos x="38" y="8"/>
                </a:cxn>
                <a:cxn ang="0">
                  <a:pos x="36" y="10"/>
                </a:cxn>
                <a:cxn ang="0">
                  <a:pos x="36" y="10"/>
                </a:cxn>
                <a:cxn ang="0">
                  <a:pos x="26" y="12"/>
                </a:cxn>
                <a:cxn ang="0">
                  <a:pos x="14" y="14"/>
                </a:cxn>
                <a:cxn ang="0">
                  <a:pos x="14" y="14"/>
                </a:cxn>
                <a:cxn ang="0">
                  <a:pos x="6" y="12"/>
                </a:cxn>
                <a:cxn ang="0">
                  <a:pos x="0" y="12"/>
                </a:cxn>
                <a:cxn ang="0">
                  <a:pos x="0" y="10"/>
                </a:cxn>
                <a:cxn ang="0">
                  <a:pos x="4" y="8"/>
                </a:cxn>
                <a:cxn ang="0">
                  <a:pos x="4" y="8"/>
                </a:cxn>
                <a:cxn ang="0">
                  <a:pos x="22" y="8"/>
                </a:cxn>
                <a:cxn ang="0">
                  <a:pos x="26" y="6"/>
                </a:cxn>
                <a:cxn ang="0">
                  <a:pos x="24" y="6"/>
                </a:cxn>
                <a:cxn ang="0">
                  <a:pos x="24" y="6"/>
                </a:cxn>
                <a:cxn ang="0">
                  <a:pos x="14" y="6"/>
                </a:cxn>
                <a:cxn ang="0">
                  <a:pos x="12" y="6"/>
                </a:cxn>
                <a:cxn ang="0">
                  <a:pos x="12" y="6"/>
                </a:cxn>
                <a:cxn ang="0">
                  <a:pos x="12" y="6"/>
                </a:cxn>
                <a:cxn ang="0">
                  <a:pos x="18" y="2"/>
                </a:cxn>
                <a:cxn ang="0">
                  <a:pos x="24" y="0"/>
                </a:cxn>
                <a:cxn ang="0">
                  <a:pos x="32" y="2"/>
                </a:cxn>
                <a:cxn ang="0">
                  <a:pos x="32" y="2"/>
                </a:cxn>
              </a:cxnLst>
              <a:rect l="0" t="0" r="r" b="b"/>
              <a:pathLst>
                <a:path w="38" h="14">
                  <a:moveTo>
                    <a:pt x="32" y="2"/>
                  </a:moveTo>
                  <a:lnTo>
                    <a:pt x="32" y="2"/>
                  </a:lnTo>
                  <a:lnTo>
                    <a:pt x="38" y="4"/>
                  </a:lnTo>
                  <a:lnTo>
                    <a:pt x="38" y="6"/>
                  </a:lnTo>
                  <a:lnTo>
                    <a:pt x="38" y="8"/>
                  </a:lnTo>
                  <a:lnTo>
                    <a:pt x="36" y="10"/>
                  </a:lnTo>
                  <a:lnTo>
                    <a:pt x="36" y="10"/>
                  </a:lnTo>
                  <a:lnTo>
                    <a:pt x="26" y="12"/>
                  </a:lnTo>
                  <a:lnTo>
                    <a:pt x="14" y="14"/>
                  </a:lnTo>
                  <a:lnTo>
                    <a:pt x="14" y="14"/>
                  </a:lnTo>
                  <a:lnTo>
                    <a:pt x="6" y="12"/>
                  </a:lnTo>
                  <a:lnTo>
                    <a:pt x="0" y="12"/>
                  </a:lnTo>
                  <a:lnTo>
                    <a:pt x="0" y="10"/>
                  </a:lnTo>
                  <a:lnTo>
                    <a:pt x="4" y="8"/>
                  </a:lnTo>
                  <a:lnTo>
                    <a:pt x="4" y="8"/>
                  </a:lnTo>
                  <a:lnTo>
                    <a:pt x="22" y="8"/>
                  </a:lnTo>
                  <a:lnTo>
                    <a:pt x="26" y="6"/>
                  </a:lnTo>
                  <a:lnTo>
                    <a:pt x="24" y="6"/>
                  </a:lnTo>
                  <a:lnTo>
                    <a:pt x="24" y="6"/>
                  </a:lnTo>
                  <a:lnTo>
                    <a:pt x="14" y="6"/>
                  </a:lnTo>
                  <a:lnTo>
                    <a:pt x="12" y="6"/>
                  </a:lnTo>
                  <a:lnTo>
                    <a:pt x="12" y="6"/>
                  </a:lnTo>
                  <a:lnTo>
                    <a:pt x="12" y="6"/>
                  </a:lnTo>
                  <a:lnTo>
                    <a:pt x="18" y="2"/>
                  </a:lnTo>
                  <a:lnTo>
                    <a:pt x="24" y="0"/>
                  </a:lnTo>
                  <a:lnTo>
                    <a:pt x="32" y="2"/>
                  </a:lnTo>
                  <a:lnTo>
                    <a:pt x="32" y="2"/>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Canada"/>
            <p:cNvSpPr>
              <a:spLocks/>
            </p:cNvSpPr>
            <p:nvPr/>
          </p:nvSpPr>
          <p:spPr bwMode="auto">
            <a:xfrm>
              <a:off x="2242309" y="1482990"/>
              <a:ext cx="145521" cy="39688"/>
            </a:xfrm>
            <a:custGeom>
              <a:avLst/>
              <a:gdLst/>
              <a:ahLst/>
              <a:cxnLst>
                <a:cxn ang="0">
                  <a:pos x="78" y="28"/>
                </a:cxn>
                <a:cxn ang="0">
                  <a:pos x="66" y="28"/>
                </a:cxn>
                <a:cxn ang="0">
                  <a:pos x="60" y="26"/>
                </a:cxn>
                <a:cxn ang="0">
                  <a:pos x="54" y="28"/>
                </a:cxn>
                <a:cxn ang="0">
                  <a:pos x="46" y="30"/>
                </a:cxn>
                <a:cxn ang="0">
                  <a:pos x="44" y="26"/>
                </a:cxn>
                <a:cxn ang="0">
                  <a:pos x="40" y="22"/>
                </a:cxn>
                <a:cxn ang="0">
                  <a:pos x="26" y="26"/>
                </a:cxn>
                <a:cxn ang="0">
                  <a:pos x="18" y="22"/>
                </a:cxn>
                <a:cxn ang="0">
                  <a:pos x="16" y="18"/>
                </a:cxn>
                <a:cxn ang="0">
                  <a:pos x="20" y="16"/>
                </a:cxn>
                <a:cxn ang="0">
                  <a:pos x="18" y="14"/>
                </a:cxn>
                <a:cxn ang="0">
                  <a:pos x="4" y="10"/>
                </a:cxn>
                <a:cxn ang="0">
                  <a:pos x="6" y="8"/>
                </a:cxn>
                <a:cxn ang="0">
                  <a:pos x="22" y="8"/>
                </a:cxn>
                <a:cxn ang="0">
                  <a:pos x="32" y="8"/>
                </a:cxn>
                <a:cxn ang="0">
                  <a:pos x="38" y="14"/>
                </a:cxn>
                <a:cxn ang="0">
                  <a:pos x="38" y="16"/>
                </a:cxn>
                <a:cxn ang="0">
                  <a:pos x="38" y="8"/>
                </a:cxn>
                <a:cxn ang="0">
                  <a:pos x="44" y="2"/>
                </a:cxn>
                <a:cxn ang="0">
                  <a:pos x="62" y="0"/>
                </a:cxn>
                <a:cxn ang="0">
                  <a:pos x="66" y="0"/>
                </a:cxn>
                <a:cxn ang="0">
                  <a:pos x="66" y="2"/>
                </a:cxn>
                <a:cxn ang="0">
                  <a:pos x="60" y="16"/>
                </a:cxn>
                <a:cxn ang="0">
                  <a:pos x="62" y="14"/>
                </a:cxn>
                <a:cxn ang="0">
                  <a:pos x="74" y="6"/>
                </a:cxn>
                <a:cxn ang="0">
                  <a:pos x="80" y="4"/>
                </a:cxn>
                <a:cxn ang="0">
                  <a:pos x="110" y="6"/>
                </a:cxn>
                <a:cxn ang="0">
                  <a:pos x="110" y="8"/>
                </a:cxn>
                <a:cxn ang="0">
                  <a:pos x="102" y="12"/>
                </a:cxn>
                <a:cxn ang="0">
                  <a:pos x="90" y="14"/>
                </a:cxn>
                <a:cxn ang="0">
                  <a:pos x="88" y="16"/>
                </a:cxn>
                <a:cxn ang="0">
                  <a:pos x="78" y="28"/>
                </a:cxn>
              </a:cxnLst>
              <a:rect l="0" t="0" r="r" b="b"/>
              <a:pathLst>
                <a:path w="110" h="30">
                  <a:moveTo>
                    <a:pt x="78" y="28"/>
                  </a:moveTo>
                  <a:lnTo>
                    <a:pt x="78" y="28"/>
                  </a:lnTo>
                  <a:lnTo>
                    <a:pt x="70" y="30"/>
                  </a:lnTo>
                  <a:lnTo>
                    <a:pt x="66" y="28"/>
                  </a:lnTo>
                  <a:lnTo>
                    <a:pt x="64" y="26"/>
                  </a:lnTo>
                  <a:lnTo>
                    <a:pt x="60" y="26"/>
                  </a:lnTo>
                  <a:lnTo>
                    <a:pt x="60" y="26"/>
                  </a:lnTo>
                  <a:lnTo>
                    <a:pt x="54" y="28"/>
                  </a:lnTo>
                  <a:lnTo>
                    <a:pt x="48" y="30"/>
                  </a:lnTo>
                  <a:lnTo>
                    <a:pt x="46" y="30"/>
                  </a:lnTo>
                  <a:lnTo>
                    <a:pt x="44" y="26"/>
                  </a:lnTo>
                  <a:lnTo>
                    <a:pt x="44" y="26"/>
                  </a:lnTo>
                  <a:lnTo>
                    <a:pt x="42" y="24"/>
                  </a:lnTo>
                  <a:lnTo>
                    <a:pt x="40" y="22"/>
                  </a:lnTo>
                  <a:lnTo>
                    <a:pt x="34" y="24"/>
                  </a:lnTo>
                  <a:lnTo>
                    <a:pt x="26" y="26"/>
                  </a:lnTo>
                  <a:lnTo>
                    <a:pt x="22" y="24"/>
                  </a:lnTo>
                  <a:lnTo>
                    <a:pt x="18" y="22"/>
                  </a:lnTo>
                  <a:lnTo>
                    <a:pt x="18" y="22"/>
                  </a:lnTo>
                  <a:lnTo>
                    <a:pt x="16" y="18"/>
                  </a:lnTo>
                  <a:lnTo>
                    <a:pt x="18" y="16"/>
                  </a:lnTo>
                  <a:lnTo>
                    <a:pt x="20" y="16"/>
                  </a:lnTo>
                  <a:lnTo>
                    <a:pt x="18" y="14"/>
                  </a:lnTo>
                  <a:lnTo>
                    <a:pt x="18" y="14"/>
                  </a:lnTo>
                  <a:lnTo>
                    <a:pt x="12" y="12"/>
                  </a:lnTo>
                  <a:lnTo>
                    <a:pt x="4" y="10"/>
                  </a:lnTo>
                  <a:lnTo>
                    <a:pt x="0" y="8"/>
                  </a:lnTo>
                  <a:lnTo>
                    <a:pt x="6" y="8"/>
                  </a:lnTo>
                  <a:lnTo>
                    <a:pt x="6" y="8"/>
                  </a:lnTo>
                  <a:lnTo>
                    <a:pt x="22" y="8"/>
                  </a:lnTo>
                  <a:lnTo>
                    <a:pt x="32" y="8"/>
                  </a:lnTo>
                  <a:lnTo>
                    <a:pt x="32" y="8"/>
                  </a:lnTo>
                  <a:lnTo>
                    <a:pt x="36" y="10"/>
                  </a:lnTo>
                  <a:lnTo>
                    <a:pt x="38" y="14"/>
                  </a:lnTo>
                  <a:lnTo>
                    <a:pt x="38" y="16"/>
                  </a:lnTo>
                  <a:lnTo>
                    <a:pt x="38" y="16"/>
                  </a:lnTo>
                  <a:lnTo>
                    <a:pt x="38" y="16"/>
                  </a:lnTo>
                  <a:lnTo>
                    <a:pt x="38" y="8"/>
                  </a:lnTo>
                  <a:lnTo>
                    <a:pt x="40" y="4"/>
                  </a:lnTo>
                  <a:lnTo>
                    <a:pt x="44" y="2"/>
                  </a:lnTo>
                  <a:lnTo>
                    <a:pt x="44" y="2"/>
                  </a:lnTo>
                  <a:lnTo>
                    <a:pt x="62" y="0"/>
                  </a:lnTo>
                  <a:lnTo>
                    <a:pt x="66" y="0"/>
                  </a:lnTo>
                  <a:lnTo>
                    <a:pt x="66" y="0"/>
                  </a:lnTo>
                  <a:lnTo>
                    <a:pt x="66" y="2"/>
                  </a:lnTo>
                  <a:lnTo>
                    <a:pt x="66" y="2"/>
                  </a:lnTo>
                  <a:lnTo>
                    <a:pt x="60" y="12"/>
                  </a:lnTo>
                  <a:lnTo>
                    <a:pt x="60" y="16"/>
                  </a:lnTo>
                  <a:lnTo>
                    <a:pt x="62" y="14"/>
                  </a:lnTo>
                  <a:lnTo>
                    <a:pt x="62" y="14"/>
                  </a:lnTo>
                  <a:lnTo>
                    <a:pt x="68" y="8"/>
                  </a:lnTo>
                  <a:lnTo>
                    <a:pt x="74" y="6"/>
                  </a:lnTo>
                  <a:lnTo>
                    <a:pt x="80" y="4"/>
                  </a:lnTo>
                  <a:lnTo>
                    <a:pt x="80" y="4"/>
                  </a:lnTo>
                  <a:lnTo>
                    <a:pt x="102" y="4"/>
                  </a:lnTo>
                  <a:lnTo>
                    <a:pt x="110" y="6"/>
                  </a:lnTo>
                  <a:lnTo>
                    <a:pt x="110" y="6"/>
                  </a:lnTo>
                  <a:lnTo>
                    <a:pt x="110" y="8"/>
                  </a:lnTo>
                  <a:lnTo>
                    <a:pt x="110" y="8"/>
                  </a:lnTo>
                  <a:lnTo>
                    <a:pt x="102" y="12"/>
                  </a:lnTo>
                  <a:lnTo>
                    <a:pt x="96" y="12"/>
                  </a:lnTo>
                  <a:lnTo>
                    <a:pt x="90" y="14"/>
                  </a:lnTo>
                  <a:lnTo>
                    <a:pt x="88" y="16"/>
                  </a:lnTo>
                  <a:lnTo>
                    <a:pt x="88" y="16"/>
                  </a:lnTo>
                  <a:lnTo>
                    <a:pt x="82" y="24"/>
                  </a:lnTo>
                  <a:lnTo>
                    <a:pt x="78" y="28"/>
                  </a:lnTo>
                  <a:lnTo>
                    <a:pt x="78" y="28"/>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Canada"/>
            <p:cNvSpPr>
              <a:spLocks/>
            </p:cNvSpPr>
            <p:nvPr/>
          </p:nvSpPr>
          <p:spPr bwMode="auto">
            <a:xfrm>
              <a:off x="2395767" y="1469760"/>
              <a:ext cx="44979" cy="15875"/>
            </a:xfrm>
            <a:custGeom>
              <a:avLst/>
              <a:gdLst/>
              <a:ahLst/>
              <a:cxnLst>
                <a:cxn ang="0">
                  <a:pos x="4" y="10"/>
                </a:cxn>
                <a:cxn ang="0">
                  <a:pos x="4" y="10"/>
                </a:cxn>
                <a:cxn ang="0">
                  <a:pos x="12" y="4"/>
                </a:cxn>
                <a:cxn ang="0">
                  <a:pos x="22" y="0"/>
                </a:cxn>
                <a:cxn ang="0">
                  <a:pos x="30" y="0"/>
                </a:cxn>
                <a:cxn ang="0">
                  <a:pos x="32" y="0"/>
                </a:cxn>
                <a:cxn ang="0">
                  <a:pos x="32" y="0"/>
                </a:cxn>
                <a:cxn ang="0">
                  <a:pos x="32" y="0"/>
                </a:cxn>
                <a:cxn ang="0">
                  <a:pos x="32" y="2"/>
                </a:cxn>
                <a:cxn ang="0">
                  <a:pos x="34" y="6"/>
                </a:cxn>
                <a:cxn ang="0">
                  <a:pos x="34" y="8"/>
                </a:cxn>
                <a:cxn ang="0">
                  <a:pos x="34" y="8"/>
                </a:cxn>
                <a:cxn ang="0">
                  <a:pos x="34" y="8"/>
                </a:cxn>
                <a:cxn ang="0">
                  <a:pos x="30" y="10"/>
                </a:cxn>
                <a:cxn ang="0">
                  <a:pos x="26" y="8"/>
                </a:cxn>
                <a:cxn ang="0">
                  <a:pos x="22" y="8"/>
                </a:cxn>
                <a:cxn ang="0">
                  <a:pos x="16" y="10"/>
                </a:cxn>
                <a:cxn ang="0">
                  <a:pos x="16" y="10"/>
                </a:cxn>
                <a:cxn ang="0">
                  <a:pos x="2" y="12"/>
                </a:cxn>
                <a:cxn ang="0">
                  <a:pos x="0" y="12"/>
                </a:cxn>
                <a:cxn ang="0">
                  <a:pos x="4" y="10"/>
                </a:cxn>
                <a:cxn ang="0">
                  <a:pos x="4" y="10"/>
                </a:cxn>
              </a:cxnLst>
              <a:rect l="0" t="0" r="r" b="b"/>
              <a:pathLst>
                <a:path w="34" h="12">
                  <a:moveTo>
                    <a:pt x="4" y="10"/>
                  </a:moveTo>
                  <a:lnTo>
                    <a:pt x="4" y="10"/>
                  </a:lnTo>
                  <a:lnTo>
                    <a:pt x="12" y="4"/>
                  </a:lnTo>
                  <a:lnTo>
                    <a:pt x="22" y="0"/>
                  </a:lnTo>
                  <a:lnTo>
                    <a:pt x="30" y="0"/>
                  </a:lnTo>
                  <a:lnTo>
                    <a:pt x="32" y="0"/>
                  </a:lnTo>
                  <a:lnTo>
                    <a:pt x="32" y="0"/>
                  </a:lnTo>
                  <a:lnTo>
                    <a:pt x="32" y="0"/>
                  </a:lnTo>
                  <a:lnTo>
                    <a:pt x="32" y="2"/>
                  </a:lnTo>
                  <a:lnTo>
                    <a:pt x="34" y="6"/>
                  </a:lnTo>
                  <a:lnTo>
                    <a:pt x="34" y="8"/>
                  </a:lnTo>
                  <a:lnTo>
                    <a:pt x="34" y="8"/>
                  </a:lnTo>
                  <a:lnTo>
                    <a:pt x="34" y="8"/>
                  </a:lnTo>
                  <a:lnTo>
                    <a:pt x="30" y="10"/>
                  </a:lnTo>
                  <a:lnTo>
                    <a:pt x="26" y="8"/>
                  </a:lnTo>
                  <a:lnTo>
                    <a:pt x="22" y="8"/>
                  </a:lnTo>
                  <a:lnTo>
                    <a:pt x="16" y="10"/>
                  </a:lnTo>
                  <a:lnTo>
                    <a:pt x="16" y="10"/>
                  </a:lnTo>
                  <a:lnTo>
                    <a:pt x="2" y="12"/>
                  </a:lnTo>
                  <a:lnTo>
                    <a:pt x="0" y="12"/>
                  </a:lnTo>
                  <a:lnTo>
                    <a:pt x="4" y="10"/>
                  </a:lnTo>
                  <a:lnTo>
                    <a:pt x="4" y="10"/>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Canada"/>
            <p:cNvSpPr>
              <a:spLocks/>
            </p:cNvSpPr>
            <p:nvPr/>
          </p:nvSpPr>
          <p:spPr bwMode="auto">
            <a:xfrm>
              <a:off x="2139122" y="1477698"/>
              <a:ext cx="82021" cy="15875"/>
            </a:xfrm>
            <a:custGeom>
              <a:avLst/>
              <a:gdLst/>
              <a:ahLst/>
              <a:cxnLst>
                <a:cxn ang="0">
                  <a:pos x="2" y="12"/>
                </a:cxn>
                <a:cxn ang="0">
                  <a:pos x="2" y="12"/>
                </a:cxn>
                <a:cxn ang="0">
                  <a:pos x="12" y="12"/>
                </a:cxn>
                <a:cxn ang="0">
                  <a:pos x="20" y="10"/>
                </a:cxn>
                <a:cxn ang="0">
                  <a:pos x="36" y="8"/>
                </a:cxn>
                <a:cxn ang="0">
                  <a:pos x="36" y="8"/>
                </a:cxn>
                <a:cxn ang="0">
                  <a:pos x="56" y="4"/>
                </a:cxn>
                <a:cxn ang="0">
                  <a:pos x="62" y="2"/>
                </a:cxn>
                <a:cxn ang="0">
                  <a:pos x="58" y="2"/>
                </a:cxn>
                <a:cxn ang="0">
                  <a:pos x="58" y="2"/>
                </a:cxn>
                <a:cxn ang="0">
                  <a:pos x="46" y="2"/>
                </a:cxn>
                <a:cxn ang="0">
                  <a:pos x="36" y="0"/>
                </a:cxn>
                <a:cxn ang="0">
                  <a:pos x="36" y="0"/>
                </a:cxn>
                <a:cxn ang="0">
                  <a:pos x="24" y="2"/>
                </a:cxn>
                <a:cxn ang="0">
                  <a:pos x="22" y="4"/>
                </a:cxn>
                <a:cxn ang="0">
                  <a:pos x="24" y="4"/>
                </a:cxn>
                <a:cxn ang="0">
                  <a:pos x="24" y="4"/>
                </a:cxn>
                <a:cxn ang="0">
                  <a:pos x="24" y="6"/>
                </a:cxn>
                <a:cxn ang="0">
                  <a:pos x="22" y="6"/>
                </a:cxn>
                <a:cxn ang="0">
                  <a:pos x="12" y="8"/>
                </a:cxn>
                <a:cxn ang="0">
                  <a:pos x="2" y="10"/>
                </a:cxn>
                <a:cxn ang="0">
                  <a:pos x="0" y="10"/>
                </a:cxn>
                <a:cxn ang="0">
                  <a:pos x="2" y="12"/>
                </a:cxn>
                <a:cxn ang="0">
                  <a:pos x="2" y="12"/>
                </a:cxn>
              </a:cxnLst>
              <a:rect l="0" t="0" r="r" b="b"/>
              <a:pathLst>
                <a:path w="62" h="12">
                  <a:moveTo>
                    <a:pt x="2" y="12"/>
                  </a:moveTo>
                  <a:lnTo>
                    <a:pt x="2" y="12"/>
                  </a:lnTo>
                  <a:lnTo>
                    <a:pt x="12" y="12"/>
                  </a:lnTo>
                  <a:lnTo>
                    <a:pt x="20" y="10"/>
                  </a:lnTo>
                  <a:lnTo>
                    <a:pt x="36" y="8"/>
                  </a:lnTo>
                  <a:lnTo>
                    <a:pt x="36" y="8"/>
                  </a:lnTo>
                  <a:lnTo>
                    <a:pt x="56" y="4"/>
                  </a:lnTo>
                  <a:lnTo>
                    <a:pt x="62" y="2"/>
                  </a:lnTo>
                  <a:lnTo>
                    <a:pt x="58" y="2"/>
                  </a:lnTo>
                  <a:lnTo>
                    <a:pt x="58" y="2"/>
                  </a:lnTo>
                  <a:lnTo>
                    <a:pt x="46" y="2"/>
                  </a:lnTo>
                  <a:lnTo>
                    <a:pt x="36" y="0"/>
                  </a:lnTo>
                  <a:lnTo>
                    <a:pt x="36" y="0"/>
                  </a:lnTo>
                  <a:lnTo>
                    <a:pt x="24" y="2"/>
                  </a:lnTo>
                  <a:lnTo>
                    <a:pt x="22" y="4"/>
                  </a:lnTo>
                  <a:lnTo>
                    <a:pt x="24" y="4"/>
                  </a:lnTo>
                  <a:lnTo>
                    <a:pt x="24" y="4"/>
                  </a:lnTo>
                  <a:lnTo>
                    <a:pt x="24" y="6"/>
                  </a:lnTo>
                  <a:lnTo>
                    <a:pt x="22" y="6"/>
                  </a:lnTo>
                  <a:lnTo>
                    <a:pt x="12" y="8"/>
                  </a:lnTo>
                  <a:lnTo>
                    <a:pt x="2" y="10"/>
                  </a:lnTo>
                  <a:lnTo>
                    <a:pt x="0" y="10"/>
                  </a:lnTo>
                  <a:lnTo>
                    <a:pt x="2" y="12"/>
                  </a:lnTo>
                  <a:lnTo>
                    <a:pt x="2" y="12"/>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Canada"/>
            <p:cNvSpPr>
              <a:spLocks/>
            </p:cNvSpPr>
            <p:nvPr/>
          </p:nvSpPr>
          <p:spPr bwMode="auto">
            <a:xfrm>
              <a:off x="2361372" y="1459177"/>
              <a:ext cx="55563" cy="23813"/>
            </a:xfrm>
            <a:custGeom>
              <a:avLst/>
              <a:gdLst/>
              <a:ahLst/>
              <a:cxnLst>
                <a:cxn ang="0">
                  <a:pos x="4" y="18"/>
                </a:cxn>
                <a:cxn ang="0">
                  <a:pos x="4" y="18"/>
                </a:cxn>
                <a:cxn ang="0">
                  <a:pos x="12" y="18"/>
                </a:cxn>
                <a:cxn ang="0">
                  <a:pos x="18" y="16"/>
                </a:cxn>
                <a:cxn ang="0">
                  <a:pos x="26" y="12"/>
                </a:cxn>
                <a:cxn ang="0">
                  <a:pos x="26" y="12"/>
                </a:cxn>
                <a:cxn ang="0">
                  <a:pos x="36" y="10"/>
                </a:cxn>
                <a:cxn ang="0">
                  <a:pos x="40" y="8"/>
                </a:cxn>
                <a:cxn ang="0">
                  <a:pos x="42" y="6"/>
                </a:cxn>
                <a:cxn ang="0">
                  <a:pos x="42" y="6"/>
                </a:cxn>
                <a:cxn ang="0">
                  <a:pos x="42" y="4"/>
                </a:cxn>
                <a:cxn ang="0">
                  <a:pos x="42" y="0"/>
                </a:cxn>
                <a:cxn ang="0">
                  <a:pos x="40" y="0"/>
                </a:cxn>
                <a:cxn ang="0">
                  <a:pos x="32" y="2"/>
                </a:cxn>
                <a:cxn ang="0">
                  <a:pos x="32" y="2"/>
                </a:cxn>
                <a:cxn ang="0">
                  <a:pos x="8" y="6"/>
                </a:cxn>
                <a:cxn ang="0">
                  <a:pos x="0" y="8"/>
                </a:cxn>
                <a:cxn ang="0">
                  <a:pos x="0" y="10"/>
                </a:cxn>
                <a:cxn ang="0">
                  <a:pos x="0" y="10"/>
                </a:cxn>
                <a:cxn ang="0">
                  <a:pos x="0" y="10"/>
                </a:cxn>
                <a:cxn ang="0">
                  <a:pos x="4" y="12"/>
                </a:cxn>
                <a:cxn ang="0">
                  <a:pos x="8" y="12"/>
                </a:cxn>
                <a:cxn ang="0">
                  <a:pos x="10" y="12"/>
                </a:cxn>
                <a:cxn ang="0">
                  <a:pos x="8" y="12"/>
                </a:cxn>
                <a:cxn ang="0">
                  <a:pos x="8" y="12"/>
                </a:cxn>
                <a:cxn ang="0">
                  <a:pos x="0" y="16"/>
                </a:cxn>
                <a:cxn ang="0">
                  <a:pos x="0" y="18"/>
                </a:cxn>
                <a:cxn ang="0">
                  <a:pos x="4" y="18"/>
                </a:cxn>
                <a:cxn ang="0">
                  <a:pos x="4" y="18"/>
                </a:cxn>
              </a:cxnLst>
              <a:rect l="0" t="0" r="r" b="b"/>
              <a:pathLst>
                <a:path w="42" h="18">
                  <a:moveTo>
                    <a:pt x="4" y="18"/>
                  </a:moveTo>
                  <a:lnTo>
                    <a:pt x="4" y="18"/>
                  </a:lnTo>
                  <a:lnTo>
                    <a:pt x="12" y="18"/>
                  </a:lnTo>
                  <a:lnTo>
                    <a:pt x="18" y="16"/>
                  </a:lnTo>
                  <a:lnTo>
                    <a:pt x="26" y="12"/>
                  </a:lnTo>
                  <a:lnTo>
                    <a:pt x="26" y="12"/>
                  </a:lnTo>
                  <a:lnTo>
                    <a:pt x="36" y="10"/>
                  </a:lnTo>
                  <a:lnTo>
                    <a:pt x="40" y="8"/>
                  </a:lnTo>
                  <a:lnTo>
                    <a:pt x="42" y="6"/>
                  </a:lnTo>
                  <a:lnTo>
                    <a:pt x="42" y="6"/>
                  </a:lnTo>
                  <a:lnTo>
                    <a:pt x="42" y="4"/>
                  </a:lnTo>
                  <a:lnTo>
                    <a:pt x="42" y="0"/>
                  </a:lnTo>
                  <a:lnTo>
                    <a:pt x="40" y="0"/>
                  </a:lnTo>
                  <a:lnTo>
                    <a:pt x="32" y="2"/>
                  </a:lnTo>
                  <a:lnTo>
                    <a:pt x="32" y="2"/>
                  </a:lnTo>
                  <a:lnTo>
                    <a:pt x="8" y="6"/>
                  </a:lnTo>
                  <a:lnTo>
                    <a:pt x="0" y="8"/>
                  </a:lnTo>
                  <a:lnTo>
                    <a:pt x="0" y="10"/>
                  </a:lnTo>
                  <a:lnTo>
                    <a:pt x="0" y="10"/>
                  </a:lnTo>
                  <a:lnTo>
                    <a:pt x="0" y="10"/>
                  </a:lnTo>
                  <a:lnTo>
                    <a:pt x="4" y="12"/>
                  </a:lnTo>
                  <a:lnTo>
                    <a:pt x="8" y="12"/>
                  </a:lnTo>
                  <a:lnTo>
                    <a:pt x="10" y="12"/>
                  </a:lnTo>
                  <a:lnTo>
                    <a:pt x="8" y="12"/>
                  </a:lnTo>
                  <a:lnTo>
                    <a:pt x="8" y="12"/>
                  </a:lnTo>
                  <a:lnTo>
                    <a:pt x="0" y="16"/>
                  </a:lnTo>
                  <a:lnTo>
                    <a:pt x="0" y="18"/>
                  </a:lnTo>
                  <a:lnTo>
                    <a:pt x="4" y="18"/>
                  </a:lnTo>
                  <a:lnTo>
                    <a:pt x="4" y="18"/>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Canada"/>
            <p:cNvSpPr>
              <a:spLocks/>
            </p:cNvSpPr>
            <p:nvPr/>
          </p:nvSpPr>
          <p:spPr bwMode="auto">
            <a:xfrm>
              <a:off x="2485726" y="1440656"/>
              <a:ext cx="142875" cy="47625"/>
            </a:xfrm>
            <a:custGeom>
              <a:avLst/>
              <a:gdLst/>
              <a:ahLst/>
              <a:cxnLst>
                <a:cxn ang="0">
                  <a:pos x="10" y="36"/>
                </a:cxn>
                <a:cxn ang="0">
                  <a:pos x="10" y="36"/>
                </a:cxn>
                <a:cxn ang="0">
                  <a:pos x="0" y="32"/>
                </a:cxn>
                <a:cxn ang="0">
                  <a:pos x="0" y="32"/>
                </a:cxn>
                <a:cxn ang="0">
                  <a:pos x="4" y="30"/>
                </a:cxn>
                <a:cxn ang="0">
                  <a:pos x="4" y="30"/>
                </a:cxn>
                <a:cxn ang="0">
                  <a:pos x="6" y="28"/>
                </a:cxn>
                <a:cxn ang="0">
                  <a:pos x="8" y="28"/>
                </a:cxn>
                <a:cxn ang="0">
                  <a:pos x="14" y="26"/>
                </a:cxn>
                <a:cxn ang="0">
                  <a:pos x="14" y="26"/>
                </a:cxn>
                <a:cxn ang="0">
                  <a:pos x="18" y="26"/>
                </a:cxn>
                <a:cxn ang="0">
                  <a:pos x="20" y="24"/>
                </a:cxn>
                <a:cxn ang="0">
                  <a:pos x="18" y="22"/>
                </a:cxn>
                <a:cxn ang="0">
                  <a:pos x="18" y="18"/>
                </a:cxn>
                <a:cxn ang="0">
                  <a:pos x="18" y="16"/>
                </a:cxn>
                <a:cxn ang="0">
                  <a:pos x="22" y="14"/>
                </a:cxn>
                <a:cxn ang="0">
                  <a:pos x="22" y="14"/>
                </a:cxn>
                <a:cxn ang="0">
                  <a:pos x="30" y="12"/>
                </a:cxn>
                <a:cxn ang="0">
                  <a:pos x="38" y="12"/>
                </a:cxn>
                <a:cxn ang="0">
                  <a:pos x="44" y="12"/>
                </a:cxn>
                <a:cxn ang="0">
                  <a:pos x="50" y="10"/>
                </a:cxn>
                <a:cxn ang="0">
                  <a:pos x="50" y="10"/>
                </a:cxn>
                <a:cxn ang="0">
                  <a:pos x="58" y="6"/>
                </a:cxn>
                <a:cxn ang="0">
                  <a:pos x="70" y="4"/>
                </a:cxn>
                <a:cxn ang="0">
                  <a:pos x="70" y="4"/>
                </a:cxn>
                <a:cxn ang="0">
                  <a:pos x="84" y="0"/>
                </a:cxn>
                <a:cxn ang="0">
                  <a:pos x="86" y="2"/>
                </a:cxn>
                <a:cxn ang="0">
                  <a:pos x="84" y="6"/>
                </a:cxn>
                <a:cxn ang="0">
                  <a:pos x="84" y="6"/>
                </a:cxn>
                <a:cxn ang="0">
                  <a:pos x="82" y="8"/>
                </a:cxn>
                <a:cxn ang="0">
                  <a:pos x="84" y="8"/>
                </a:cxn>
                <a:cxn ang="0">
                  <a:pos x="92" y="6"/>
                </a:cxn>
                <a:cxn ang="0">
                  <a:pos x="104" y="6"/>
                </a:cxn>
                <a:cxn ang="0">
                  <a:pos x="106" y="6"/>
                </a:cxn>
                <a:cxn ang="0">
                  <a:pos x="108" y="10"/>
                </a:cxn>
                <a:cxn ang="0">
                  <a:pos x="108" y="10"/>
                </a:cxn>
                <a:cxn ang="0">
                  <a:pos x="104" y="14"/>
                </a:cxn>
                <a:cxn ang="0">
                  <a:pos x="100" y="16"/>
                </a:cxn>
                <a:cxn ang="0">
                  <a:pos x="98" y="16"/>
                </a:cxn>
                <a:cxn ang="0">
                  <a:pos x="100" y="16"/>
                </a:cxn>
                <a:cxn ang="0">
                  <a:pos x="100" y="16"/>
                </a:cxn>
                <a:cxn ang="0">
                  <a:pos x="102" y="18"/>
                </a:cxn>
                <a:cxn ang="0">
                  <a:pos x="100" y="18"/>
                </a:cxn>
                <a:cxn ang="0">
                  <a:pos x="88" y="20"/>
                </a:cxn>
                <a:cxn ang="0">
                  <a:pos x="88" y="20"/>
                </a:cxn>
                <a:cxn ang="0">
                  <a:pos x="74" y="24"/>
                </a:cxn>
                <a:cxn ang="0">
                  <a:pos x="66" y="28"/>
                </a:cxn>
                <a:cxn ang="0">
                  <a:pos x="60" y="28"/>
                </a:cxn>
                <a:cxn ang="0">
                  <a:pos x="60" y="28"/>
                </a:cxn>
                <a:cxn ang="0">
                  <a:pos x="42" y="26"/>
                </a:cxn>
                <a:cxn ang="0">
                  <a:pos x="36" y="26"/>
                </a:cxn>
                <a:cxn ang="0">
                  <a:pos x="36" y="28"/>
                </a:cxn>
                <a:cxn ang="0">
                  <a:pos x="36" y="28"/>
                </a:cxn>
                <a:cxn ang="0">
                  <a:pos x="36" y="28"/>
                </a:cxn>
                <a:cxn ang="0">
                  <a:pos x="36" y="30"/>
                </a:cxn>
                <a:cxn ang="0">
                  <a:pos x="34" y="32"/>
                </a:cxn>
                <a:cxn ang="0">
                  <a:pos x="26" y="34"/>
                </a:cxn>
                <a:cxn ang="0">
                  <a:pos x="26" y="34"/>
                </a:cxn>
                <a:cxn ang="0">
                  <a:pos x="20" y="32"/>
                </a:cxn>
                <a:cxn ang="0">
                  <a:pos x="18" y="34"/>
                </a:cxn>
                <a:cxn ang="0">
                  <a:pos x="16" y="36"/>
                </a:cxn>
                <a:cxn ang="0">
                  <a:pos x="10" y="36"/>
                </a:cxn>
                <a:cxn ang="0">
                  <a:pos x="10" y="36"/>
                </a:cxn>
              </a:cxnLst>
              <a:rect l="0" t="0" r="r" b="b"/>
              <a:pathLst>
                <a:path w="108" h="36">
                  <a:moveTo>
                    <a:pt x="10" y="36"/>
                  </a:moveTo>
                  <a:lnTo>
                    <a:pt x="10" y="36"/>
                  </a:lnTo>
                  <a:lnTo>
                    <a:pt x="0" y="32"/>
                  </a:lnTo>
                  <a:lnTo>
                    <a:pt x="0" y="32"/>
                  </a:lnTo>
                  <a:lnTo>
                    <a:pt x="4" y="30"/>
                  </a:lnTo>
                  <a:lnTo>
                    <a:pt x="4" y="30"/>
                  </a:lnTo>
                  <a:lnTo>
                    <a:pt x="6" y="28"/>
                  </a:lnTo>
                  <a:lnTo>
                    <a:pt x="8" y="28"/>
                  </a:lnTo>
                  <a:lnTo>
                    <a:pt x="14" y="26"/>
                  </a:lnTo>
                  <a:lnTo>
                    <a:pt x="14" y="26"/>
                  </a:lnTo>
                  <a:lnTo>
                    <a:pt x="18" y="26"/>
                  </a:lnTo>
                  <a:lnTo>
                    <a:pt x="20" y="24"/>
                  </a:lnTo>
                  <a:lnTo>
                    <a:pt x="18" y="22"/>
                  </a:lnTo>
                  <a:lnTo>
                    <a:pt x="18" y="18"/>
                  </a:lnTo>
                  <a:lnTo>
                    <a:pt x="18" y="16"/>
                  </a:lnTo>
                  <a:lnTo>
                    <a:pt x="22" y="14"/>
                  </a:lnTo>
                  <a:lnTo>
                    <a:pt x="22" y="14"/>
                  </a:lnTo>
                  <a:lnTo>
                    <a:pt x="30" y="12"/>
                  </a:lnTo>
                  <a:lnTo>
                    <a:pt x="38" y="12"/>
                  </a:lnTo>
                  <a:lnTo>
                    <a:pt x="44" y="12"/>
                  </a:lnTo>
                  <a:lnTo>
                    <a:pt x="50" y="10"/>
                  </a:lnTo>
                  <a:lnTo>
                    <a:pt x="50" y="10"/>
                  </a:lnTo>
                  <a:lnTo>
                    <a:pt x="58" y="6"/>
                  </a:lnTo>
                  <a:lnTo>
                    <a:pt x="70" y="4"/>
                  </a:lnTo>
                  <a:lnTo>
                    <a:pt x="70" y="4"/>
                  </a:lnTo>
                  <a:lnTo>
                    <a:pt x="84" y="0"/>
                  </a:lnTo>
                  <a:lnTo>
                    <a:pt x="86" y="2"/>
                  </a:lnTo>
                  <a:lnTo>
                    <a:pt x="84" y="6"/>
                  </a:lnTo>
                  <a:lnTo>
                    <a:pt x="84" y="6"/>
                  </a:lnTo>
                  <a:lnTo>
                    <a:pt x="82" y="8"/>
                  </a:lnTo>
                  <a:lnTo>
                    <a:pt x="84" y="8"/>
                  </a:lnTo>
                  <a:lnTo>
                    <a:pt x="92" y="6"/>
                  </a:lnTo>
                  <a:lnTo>
                    <a:pt x="104" y="6"/>
                  </a:lnTo>
                  <a:lnTo>
                    <a:pt x="106" y="6"/>
                  </a:lnTo>
                  <a:lnTo>
                    <a:pt x="108" y="10"/>
                  </a:lnTo>
                  <a:lnTo>
                    <a:pt x="108" y="10"/>
                  </a:lnTo>
                  <a:lnTo>
                    <a:pt x="104" y="14"/>
                  </a:lnTo>
                  <a:lnTo>
                    <a:pt x="100" y="16"/>
                  </a:lnTo>
                  <a:lnTo>
                    <a:pt x="98" y="16"/>
                  </a:lnTo>
                  <a:lnTo>
                    <a:pt x="100" y="16"/>
                  </a:lnTo>
                  <a:lnTo>
                    <a:pt x="100" y="16"/>
                  </a:lnTo>
                  <a:lnTo>
                    <a:pt x="102" y="18"/>
                  </a:lnTo>
                  <a:lnTo>
                    <a:pt x="100" y="18"/>
                  </a:lnTo>
                  <a:lnTo>
                    <a:pt x="88" y="20"/>
                  </a:lnTo>
                  <a:lnTo>
                    <a:pt x="88" y="20"/>
                  </a:lnTo>
                  <a:lnTo>
                    <a:pt x="74" y="24"/>
                  </a:lnTo>
                  <a:lnTo>
                    <a:pt x="66" y="28"/>
                  </a:lnTo>
                  <a:lnTo>
                    <a:pt x="60" y="28"/>
                  </a:lnTo>
                  <a:lnTo>
                    <a:pt x="60" y="28"/>
                  </a:lnTo>
                  <a:lnTo>
                    <a:pt x="42" y="26"/>
                  </a:lnTo>
                  <a:lnTo>
                    <a:pt x="36" y="26"/>
                  </a:lnTo>
                  <a:lnTo>
                    <a:pt x="36" y="28"/>
                  </a:lnTo>
                  <a:lnTo>
                    <a:pt x="36" y="28"/>
                  </a:lnTo>
                  <a:lnTo>
                    <a:pt x="36" y="28"/>
                  </a:lnTo>
                  <a:lnTo>
                    <a:pt x="36" y="30"/>
                  </a:lnTo>
                  <a:lnTo>
                    <a:pt x="34" y="32"/>
                  </a:lnTo>
                  <a:lnTo>
                    <a:pt x="26" y="34"/>
                  </a:lnTo>
                  <a:lnTo>
                    <a:pt x="26" y="34"/>
                  </a:lnTo>
                  <a:lnTo>
                    <a:pt x="20" y="32"/>
                  </a:lnTo>
                  <a:lnTo>
                    <a:pt x="18" y="34"/>
                  </a:lnTo>
                  <a:lnTo>
                    <a:pt x="16" y="36"/>
                  </a:lnTo>
                  <a:lnTo>
                    <a:pt x="10" y="36"/>
                  </a:lnTo>
                  <a:lnTo>
                    <a:pt x="10" y="36"/>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Iceland"/>
            <p:cNvSpPr>
              <a:spLocks/>
            </p:cNvSpPr>
            <p:nvPr/>
          </p:nvSpPr>
          <p:spPr bwMode="auto">
            <a:xfrm>
              <a:off x="2903767" y="1443302"/>
              <a:ext cx="928688" cy="362479"/>
            </a:xfrm>
            <a:custGeom>
              <a:avLst/>
              <a:gdLst/>
              <a:ahLst/>
              <a:cxnLst>
                <a:cxn ang="0">
                  <a:pos x="214" y="6"/>
                </a:cxn>
                <a:cxn ang="0">
                  <a:pos x="292" y="10"/>
                </a:cxn>
                <a:cxn ang="0">
                  <a:pos x="354" y="4"/>
                </a:cxn>
                <a:cxn ang="0">
                  <a:pos x="406" y="8"/>
                </a:cxn>
                <a:cxn ang="0">
                  <a:pos x="474" y="4"/>
                </a:cxn>
                <a:cxn ang="0">
                  <a:pos x="540" y="8"/>
                </a:cxn>
                <a:cxn ang="0">
                  <a:pos x="606" y="10"/>
                </a:cxn>
                <a:cxn ang="0">
                  <a:pos x="640" y="8"/>
                </a:cxn>
                <a:cxn ang="0">
                  <a:pos x="648" y="18"/>
                </a:cxn>
                <a:cxn ang="0">
                  <a:pos x="658" y="12"/>
                </a:cxn>
                <a:cxn ang="0">
                  <a:pos x="692" y="18"/>
                </a:cxn>
                <a:cxn ang="0">
                  <a:pos x="674" y="32"/>
                </a:cxn>
                <a:cxn ang="0">
                  <a:pos x="684" y="40"/>
                </a:cxn>
                <a:cxn ang="0">
                  <a:pos x="650" y="54"/>
                </a:cxn>
                <a:cxn ang="0">
                  <a:pos x="650" y="76"/>
                </a:cxn>
                <a:cxn ang="0">
                  <a:pos x="608" y="80"/>
                </a:cxn>
                <a:cxn ang="0">
                  <a:pos x="568" y="88"/>
                </a:cxn>
                <a:cxn ang="0">
                  <a:pos x="592" y="98"/>
                </a:cxn>
                <a:cxn ang="0">
                  <a:pos x="616" y="106"/>
                </a:cxn>
                <a:cxn ang="0">
                  <a:pos x="576" y="106"/>
                </a:cxn>
                <a:cxn ang="0">
                  <a:pos x="550" y="104"/>
                </a:cxn>
                <a:cxn ang="0">
                  <a:pos x="536" y="122"/>
                </a:cxn>
                <a:cxn ang="0">
                  <a:pos x="582" y="120"/>
                </a:cxn>
                <a:cxn ang="0">
                  <a:pos x="578" y="130"/>
                </a:cxn>
                <a:cxn ang="0">
                  <a:pos x="542" y="138"/>
                </a:cxn>
                <a:cxn ang="0">
                  <a:pos x="500" y="148"/>
                </a:cxn>
                <a:cxn ang="0">
                  <a:pos x="454" y="152"/>
                </a:cxn>
                <a:cxn ang="0">
                  <a:pos x="432" y="150"/>
                </a:cxn>
                <a:cxn ang="0">
                  <a:pos x="398" y="170"/>
                </a:cxn>
                <a:cxn ang="0">
                  <a:pos x="360" y="176"/>
                </a:cxn>
                <a:cxn ang="0">
                  <a:pos x="324" y="182"/>
                </a:cxn>
                <a:cxn ang="0">
                  <a:pos x="290" y="198"/>
                </a:cxn>
                <a:cxn ang="0">
                  <a:pos x="280" y="214"/>
                </a:cxn>
                <a:cxn ang="0">
                  <a:pos x="260" y="226"/>
                </a:cxn>
                <a:cxn ang="0">
                  <a:pos x="244" y="248"/>
                </a:cxn>
                <a:cxn ang="0">
                  <a:pos x="224" y="262"/>
                </a:cxn>
                <a:cxn ang="0">
                  <a:pos x="196" y="270"/>
                </a:cxn>
                <a:cxn ang="0">
                  <a:pos x="174" y="260"/>
                </a:cxn>
                <a:cxn ang="0">
                  <a:pos x="140" y="248"/>
                </a:cxn>
                <a:cxn ang="0">
                  <a:pos x="122" y="226"/>
                </a:cxn>
                <a:cxn ang="0">
                  <a:pos x="134" y="200"/>
                </a:cxn>
                <a:cxn ang="0">
                  <a:pos x="108" y="186"/>
                </a:cxn>
                <a:cxn ang="0">
                  <a:pos x="108" y="168"/>
                </a:cxn>
                <a:cxn ang="0">
                  <a:pos x="122" y="154"/>
                </a:cxn>
                <a:cxn ang="0">
                  <a:pos x="152" y="146"/>
                </a:cxn>
                <a:cxn ang="0">
                  <a:pos x="166" y="136"/>
                </a:cxn>
                <a:cxn ang="0">
                  <a:pos x="166" y="124"/>
                </a:cxn>
                <a:cxn ang="0">
                  <a:pos x="152" y="114"/>
                </a:cxn>
                <a:cxn ang="0">
                  <a:pos x="176" y="110"/>
                </a:cxn>
                <a:cxn ang="0">
                  <a:pos x="160" y="106"/>
                </a:cxn>
                <a:cxn ang="0">
                  <a:pos x="128" y="106"/>
                </a:cxn>
                <a:cxn ang="0">
                  <a:pos x="146" y="86"/>
                </a:cxn>
                <a:cxn ang="0">
                  <a:pos x="142" y="72"/>
                </a:cxn>
                <a:cxn ang="0">
                  <a:pos x="108" y="60"/>
                </a:cxn>
                <a:cxn ang="0">
                  <a:pos x="44" y="56"/>
                </a:cxn>
                <a:cxn ang="0">
                  <a:pos x="30" y="48"/>
                </a:cxn>
                <a:cxn ang="0">
                  <a:pos x="28" y="42"/>
                </a:cxn>
                <a:cxn ang="0">
                  <a:pos x="42" y="30"/>
                </a:cxn>
                <a:cxn ang="0">
                  <a:pos x="84" y="16"/>
                </a:cxn>
                <a:cxn ang="0">
                  <a:pos x="166" y="12"/>
                </a:cxn>
              </a:cxnLst>
              <a:rect l="0" t="0" r="r" b="b"/>
              <a:pathLst>
                <a:path w="702" h="274">
                  <a:moveTo>
                    <a:pt x="166" y="12"/>
                  </a:moveTo>
                  <a:lnTo>
                    <a:pt x="166" y="12"/>
                  </a:lnTo>
                  <a:lnTo>
                    <a:pt x="172" y="10"/>
                  </a:lnTo>
                  <a:lnTo>
                    <a:pt x="178" y="10"/>
                  </a:lnTo>
                  <a:lnTo>
                    <a:pt x="182" y="10"/>
                  </a:lnTo>
                  <a:lnTo>
                    <a:pt x="188" y="10"/>
                  </a:lnTo>
                  <a:lnTo>
                    <a:pt x="188" y="10"/>
                  </a:lnTo>
                  <a:lnTo>
                    <a:pt x="194" y="8"/>
                  </a:lnTo>
                  <a:lnTo>
                    <a:pt x="200" y="8"/>
                  </a:lnTo>
                  <a:lnTo>
                    <a:pt x="206" y="8"/>
                  </a:lnTo>
                  <a:lnTo>
                    <a:pt x="214" y="6"/>
                  </a:lnTo>
                  <a:lnTo>
                    <a:pt x="214" y="6"/>
                  </a:lnTo>
                  <a:lnTo>
                    <a:pt x="224" y="6"/>
                  </a:lnTo>
                  <a:lnTo>
                    <a:pt x="230" y="8"/>
                  </a:lnTo>
                  <a:lnTo>
                    <a:pt x="236" y="10"/>
                  </a:lnTo>
                  <a:lnTo>
                    <a:pt x="242" y="8"/>
                  </a:lnTo>
                  <a:lnTo>
                    <a:pt x="242" y="8"/>
                  </a:lnTo>
                  <a:lnTo>
                    <a:pt x="250" y="8"/>
                  </a:lnTo>
                  <a:lnTo>
                    <a:pt x="254" y="8"/>
                  </a:lnTo>
                  <a:lnTo>
                    <a:pt x="260" y="10"/>
                  </a:lnTo>
                  <a:lnTo>
                    <a:pt x="268" y="10"/>
                  </a:lnTo>
                  <a:lnTo>
                    <a:pt x="268" y="10"/>
                  </a:lnTo>
                  <a:lnTo>
                    <a:pt x="280" y="8"/>
                  </a:lnTo>
                  <a:lnTo>
                    <a:pt x="292" y="10"/>
                  </a:lnTo>
                  <a:lnTo>
                    <a:pt x="300" y="10"/>
                  </a:lnTo>
                  <a:lnTo>
                    <a:pt x="302" y="10"/>
                  </a:lnTo>
                  <a:lnTo>
                    <a:pt x="302" y="8"/>
                  </a:lnTo>
                  <a:lnTo>
                    <a:pt x="302" y="8"/>
                  </a:lnTo>
                  <a:lnTo>
                    <a:pt x="302" y="6"/>
                  </a:lnTo>
                  <a:lnTo>
                    <a:pt x="306" y="4"/>
                  </a:lnTo>
                  <a:lnTo>
                    <a:pt x="314" y="4"/>
                  </a:lnTo>
                  <a:lnTo>
                    <a:pt x="322" y="6"/>
                  </a:lnTo>
                  <a:lnTo>
                    <a:pt x="322" y="6"/>
                  </a:lnTo>
                  <a:lnTo>
                    <a:pt x="332" y="8"/>
                  </a:lnTo>
                  <a:lnTo>
                    <a:pt x="340" y="8"/>
                  </a:lnTo>
                  <a:lnTo>
                    <a:pt x="354" y="4"/>
                  </a:lnTo>
                  <a:lnTo>
                    <a:pt x="354" y="4"/>
                  </a:lnTo>
                  <a:lnTo>
                    <a:pt x="362" y="4"/>
                  </a:lnTo>
                  <a:lnTo>
                    <a:pt x="368" y="6"/>
                  </a:lnTo>
                  <a:lnTo>
                    <a:pt x="372" y="8"/>
                  </a:lnTo>
                  <a:lnTo>
                    <a:pt x="380" y="6"/>
                  </a:lnTo>
                  <a:lnTo>
                    <a:pt x="380" y="6"/>
                  </a:lnTo>
                  <a:lnTo>
                    <a:pt x="386" y="6"/>
                  </a:lnTo>
                  <a:lnTo>
                    <a:pt x="390" y="8"/>
                  </a:lnTo>
                  <a:lnTo>
                    <a:pt x="394" y="10"/>
                  </a:lnTo>
                  <a:lnTo>
                    <a:pt x="400" y="8"/>
                  </a:lnTo>
                  <a:lnTo>
                    <a:pt x="400" y="8"/>
                  </a:lnTo>
                  <a:lnTo>
                    <a:pt x="406" y="8"/>
                  </a:lnTo>
                  <a:lnTo>
                    <a:pt x="408" y="8"/>
                  </a:lnTo>
                  <a:lnTo>
                    <a:pt x="412" y="8"/>
                  </a:lnTo>
                  <a:lnTo>
                    <a:pt x="424" y="6"/>
                  </a:lnTo>
                  <a:lnTo>
                    <a:pt x="424" y="6"/>
                  </a:lnTo>
                  <a:lnTo>
                    <a:pt x="450" y="2"/>
                  </a:lnTo>
                  <a:lnTo>
                    <a:pt x="456" y="4"/>
                  </a:lnTo>
                  <a:lnTo>
                    <a:pt x="458" y="4"/>
                  </a:lnTo>
                  <a:lnTo>
                    <a:pt x="456" y="6"/>
                  </a:lnTo>
                  <a:lnTo>
                    <a:pt x="456" y="6"/>
                  </a:lnTo>
                  <a:lnTo>
                    <a:pt x="452" y="10"/>
                  </a:lnTo>
                  <a:lnTo>
                    <a:pt x="454" y="10"/>
                  </a:lnTo>
                  <a:lnTo>
                    <a:pt x="474" y="4"/>
                  </a:lnTo>
                  <a:lnTo>
                    <a:pt x="474" y="4"/>
                  </a:lnTo>
                  <a:lnTo>
                    <a:pt x="482" y="2"/>
                  </a:lnTo>
                  <a:lnTo>
                    <a:pt x="486" y="0"/>
                  </a:lnTo>
                  <a:lnTo>
                    <a:pt x="494" y="2"/>
                  </a:lnTo>
                  <a:lnTo>
                    <a:pt x="500" y="6"/>
                  </a:lnTo>
                  <a:lnTo>
                    <a:pt x="504" y="6"/>
                  </a:lnTo>
                  <a:lnTo>
                    <a:pt x="508" y="6"/>
                  </a:lnTo>
                  <a:lnTo>
                    <a:pt x="508" y="6"/>
                  </a:lnTo>
                  <a:lnTo>
                    <a:pt x="518" y="4"/>
                  </a:lnTo>
                  <a:lnTo>
                    <a:pt x="524" y="6"/>
                  </a:lnTo>
                  <a:lnTo>
                    <a:pt x="530" y="8"/>
                  </a:lnTo>
                  <a:lnTo>
                    <a:pt x="540" y="8"/>
                  </a:lnTo>
                  <a:lnTo>
                    <a:pt x="540" y="8"/>
                  </a:lnTo>
                  <a:lnTo>
                    <a:pt x="550" y="8"/>
                  </a:lnTo>
                  <a:lnTo>
                    <a:pt x="556" y="10"/>
                  </a:lnTo>
                  <a:lnTo>
                    <a:pt x="560" y="12"/>
                  </a:lnTo>
                  <a:lnTo>
                    <a:pt x="568" y="10"/>
                  </a:lnTo>
                  <a:lnTo>
                    <a:pt x="568" y="10"/>
                  </a:lnTo>
                  <a:lnTo>
                    <a:pt x="576" y="8"/>
                  </a:lnTo>
                  <a:lnTo>
                    <a:pt x="584" y="8"/>
                  </a:lnTo>
                  <a:lnTo>
                    <a:pt x="592" y="10"/>
                  </a:lnTo>
                  <a:lnTo>
                    <a:pt x="600" y="10"/>
                  </a:lnTo>
                  <a:lnTo>
                    <a:pt x="600" y="10"/>
                  </a:lnTo>
                  <a:lnTo>
                    <a:pt x="606" y="10"/>
                  </a:lnTo>
                  <a:lnTo>
                    <a:pt x="612" y="10"/>
                  </a:lnTo>
                  <a:lnTo>
                    <a:pt x="618" y="14"/>
                  </a:lnTo>
                  <a:lnTo>
                    <a:pt x="618" y="14"/>
                  </a:lnTo>
                  <a:lnTo>
                    <a:pt x="618" y="14"/>
                  </a:lnTo>
                  <a:lnTo>
                    <a:pt x="620" y="12"/>
                  </a:lnTo>
                  <a:lnTo>
                    <a:pt x="622" y="10"/>
                  </a:lnTo>
                  <a:lnTo>
                    <a:pt x="624" y="8"/>
                  </a:lnTo>
                  <a:lnTo>
                    <a:pt x="624" y="8"/>
                  </a:lnTo>
                  <a:lnTo>
                    <a:pt x="630" y="8"/>
                  </a:lnTo>
                  <a:lnTo>
                    <a:pt x="636" y="8"/>
                  </a:lnTo>
                  <a:lnTo>
                    <a:pt x="640" y="8"/>
                  </a:lnTo>
                  <a:lnTo>
                    <a:pt x="640" y="8"/>
                  </a:lnTo>
                  <a:lnTo>
                    <a:pt x="646" y="12"/>
                  </a:lnTo>
                  <a:lnTo>
                    <a:pt x="646" y="12"/>
                  </a:lnTo>
                  <a:lnTo>
                    <a:pt x="640" y="14"/>
                  </a:lnTo>
                  <a:lnTo>
                    <a:pt x="640" y="14"/>
                  </a:lnTo>
                  <a:lnTo>
                    <a:pt x="634" y="16"/>
                  </a:lnTo>
                  <a:lnTo>
                    <a:pt x="630" y="18"/>
                  </a:lnTo>
                  <a:lnTo>
                    <a:pt x="630" y="22"/>
                  </a:lnTo>
                  <a:lnTo>
                    <a:pt x="630" y="22"/>
                  </a:lnTo>
                  <a:lnTo>
                    <a:pt x="634" y="18"/>
                  </a:lnTo>
                  <a:lnTo>
                    <a:pt x="640" y="18"/>
                  </a:lnTo>
                  <a:lnTo>
                    <a:pt x="648" y="18"/>
                  </a:lnTo>
                  <a:lnTo>
                    <a:pt x="648" y="18"/>
                  </a:lnTo>
                  <a:lnTo>
                    <a:pt x="650" y="20"/>
                  </a:lnTo>
                  <a:lnTo>
                    <a:pt x="650" y="22"/>
                  </a:lnTo>
                  <a:lnTo>
                    <a:pt x="638" y="32"/>
                  </a:lnTo>
                  <a:lnTo>
                    <a:pt x="638" y="32"/>
                  </a:lnTo>
                  <a:lnTo>
                    <a:pt x="636" y="34"/>
                  </a:lnTo>
                  <a:lnTo>
                    <a:pt x="638" y="34"/>
                  </a:lnTo>
                  <a:lnTo>
                    <a:pt x="652" y="26"/>
                  </a:lnTo>
                  <a:lnTo>
                    <a:pt x="652" y="26"/>
                  </a:lnTo>
                  <a:lnTo>
                    <a:pt x="654" y="22"/>
                  </a:lnTo>
                  <a:lnTo>
                    <a:pt x="654" y="20"/>
                  </a:lnTo>
                  <a:lnTo>
                    <a:pt x="654" y="16"/>
                  </a:lnTo>
                  <a:lnTo>
                    <a:pt x="658" y="12"/>
                  </a:lnTo>
                  <a:lnTo>
                    <a:pt x="658" y="12"/>
                  </a:lnTo>
                  <a:lnTo>
                    <a:pt x="664" y="8"/>
                  </a:lnTo>
                  <a:lnTo>
                    <a:pt x="672" y="8"/>
                  </a:lnTo>
                  <a:lnTo>
                    <a:pt x="680" y="8"/>
                  </a:lnTo>
                  <a:lnTo>
                    <a:pt x="688" y="8"/>
                  </a:lnTo>
                  <a:lnTo>
                    <a:pt x="688" y="8"/>
                  </a:lnTo>
                  <a:lnTo>
                    <a:pt x="700" y="8"/>
                  </a:lnTo>
                  <a:lnTo>
                    <a:pt x="702" y="10"/>
                  </a:lnTo>
                  <a:lnTo>
                    <a:pt x="702" y="10"/>
                  </a:lnTo>
                  <a:lnTo>
                    <a:pt x="696" y="14"/>
                  </a:lnTo>
                  <a:lnTo>
                    <a:pt x="696" y="14"/>
                  </a:lnTo>
                  <a:lnTo>
                    <a:pt x="692" y="18"/>
                  </a:lnTo>
                  <a:lnTo>
                    <a:pt x="692" y="20"/>
                  </a:lnTo>
                  <a:lnTo>
                    <a:pt x="694" y="20"/>
                  </a:lnTo>
                  <a:lnTo>
                    <a:pt x="690" y="22"/>
                  </a:lnTo>
                  <a:lnTo>
                    <a:pt x="690" y="22"/>
                  </a:lnTo>
                  <a:lnTo>
                    <a:pt x="688" y="24"/>
                  </a:lnTo>
                  <a:lnTo>
                    <a:pt x="690" y="26"/>
                  </a:lnTo>
                  <a:lnTo>
                    <a:pt x="690" y="28"/>
                  </a:lnTo>
                  <a:lnTo>
                    <a:pt x="686" y="32"/>
                  </a:lnTo>
                  <a:lnTo>
                    <a:pt x="686" y="32"/>
                  </a:lnTo>
                  <a:lnTo>
                    <a:pt x="680" y="34"/>
                  </a:lnTo>
                  <a:lnTo>
                    <a:pt x="678" y="34"/>
                  </a:lnTo>
                  <a:lnTo>
                    <a:pt x="674" y="32"/>
                  </a:lnTo>
                  <a:lnTo>
                    <a:pt x="668" y="34"/>
                  </a:lnTo>
                  <a:lnTo>
                    <a:pt x="668" y="34"/>
                  </a:lnTo>
                  <a:lnTo>
                    <a:pt x="662" y="38"/>
                  </a:lnTo>
                  <a:lnTo>
                    <a:pt x="660" y="40"/>
                  </a:lnTo>
                  <a:lnTo>
                    <a:pt x="660" y="42"/>
                  </a:lnTo>
                  <a:lnTo>
                    <a:pt x="664" y="40"/>
                  </a:lnTo>
                  <a:lnTo>
                    <a:pt x="664" y="40"/>
                  </a:lnTo>
                  <a:lnTo>
                    <a:pt x="668" y="38"/>
                  </a:lnTo>
                  <a:lnTo>
                    <a:pt x="672" y="40"/>
                  </a:lnTo>
                  <a:lnTo>
                    <a:pt x="676" y="40"/>
                  </a:lnTo>
                  <a:lnTo>
                    <a:pt x="684" y="40"/>
                  </a:lnTo>
                  <a:lnTo>
                    <a:pt x="684" y="40"/>
                  </a:lnTo>
                  <a:lnTo>
                    <a:pt x="690" y="42"/>
                  </a:lnTo>
                  <a:lnTo>
                    <a:pt x="688" y="42"/>
                  </a:lnTo>
                  <a:lnTo>
                    <a:pt x="670" y="48"/>
                  </a:lnTo>
                  <a:lnTo>
                    <a:pt x="670" y="48"/>
                  </a:lnTo>
                  <a:lnTo>
                    <a:pt x="664" y="50"/>
                  </a:lnTo>
                  <a:lnTo>
                    <a:pt x="660" y="48"/>
                  </a:lnTo>
                  <a:lnTo>
                    <a:pt x="658" y="46"/>
                  </a:lnTo>
                  <a:lnTo>
                    <a:pt x="654" y="46"/>
                  </a:lnTo>
                  <a:lnTo>
                    <a:pt x="654" y="46"/>
                  </a:lnTo>
                  <a:lnTo>
                    <a:pt x="648" y="48"/>
                  </a:lnTo>
                  <a:lnTo>
                    <a:pt x="648" y="52"/>
                  </a:lnTo>
                  <a:lnTo>
                    <a:pt x="650" y="54"/>
                  </a:lnTo>
                  <a:lnTo>
                    <a:pt x="656" y="58"/>
                  </a:lnTo>
                  <a:lnTo>
                    <a:pt x="656" y="58"/>
                  </a:lnTo>
                  <a:lnTo>
                    <a:pt x="658" y="58"/>
                  </a:lnTo>
                  <a:lnTo>
                    <a:pt x="658" y="60"/>
                  </a:lnTo>
                  <a:lnTo>
                    <a:pt x="654" y="62"/>
                  </a:lnTo>
                  <a:lnTo>
                    <a:pt x="648" y="64"/>
                  </a:lnTo>
                  <a:lnTo>
                    <a:pt x="648" y="66"/>
                  </a:lnTo>
                  <a:lnTo>
                    <a:pt x="650" y="68"/>
                  </a:lnTo>
                  <a:lnTo>
                    <a:pt x="650" y="68"/>
                  </a:lnTo>
                  <a:lnTo>
                    <a:pt x="656" y="72"/>
                  </a:lnTo>
                  <a:lnTo>
                    <a:pt x="650" y="76"/>
                  </a:lnTo>
                  <a:lnTo>
                    <a:pt x="650" y="76"/>
                  </a:lnTo>
                  <a:lnTo>
                    <a:pt x="646" y="76"/>
                  </a:lnTo>
                  <a:lnTo>
                    <a:pt x="640" y="76"/>
                  </a:lnTo>
                  <a:lnTo>
                    <a:pt x="638" y="74"/>
                  </a:lnTo>
                  <a:lnTo>
                    <a:pt x="640" y="76"/>
                  </a:lnTo>
                  <a:lnTo>
                    <a:pt x="640" y="76"/>
                  </a:lnTo>
                  <a:lnTo>
                    <a:pt x="640" y="78"/>
                  </a:lnTo>
                  <a:lnTo>
                    <a:pt x="640" y="80"/>
                  </a:lnTo>
                  <a:lnTo>
                    <a:pt x="632" y="82"/>
                  </a:lnTo>
                  <a:lnTo>
                    <a:pt x="624" y="82"/>
                  </a:lnTo>
                  <a:lnTo>
                    <a:pt x="614" y="82"/>
                  </a:lnTo>
                  <a:lnTo>
                    <a:pt x="614" y="82"/>
                  </a:lnTo>
                  <a:lnTo>
                    <a:pt x="608" y="80"/>
                  </a:lnTo>
                  <a:lnTo>
                    <a:pt x="604" y="82"/>
                  </a:lnTo>
                  <a:lnTo>
                    <a:pt x="598" y="82"/>
                  </a:lnTo>
                  <a:lnTo>
                    <a:pt x="590" y="82"/>
                  </a:lnTo>
                  <a:lnTo>
                    <a:pt x="590" y="82"/>
                  </a:lnTo>
                  <a:lnTo>
                    <a:pt x="584" y="80"/>
                  </a:lnTo>
                  <a:lnTo>
                    <a:pt x="580" y="80"/>
                  </a:lnTo>
                  <a:lnTo>
                    <a:pt x="570" y="82"/>
                  </a:lnTo>
                  <a:lnTo>
                    <a:pt x="570" y="82"/>
                  </a:lnTo>
                  <a:lnTo>
                    <a:pt x="564" y="84"/>
                  </a:lnTo>
                  <a:lnTo>
                    <a:pt x="562" y="86"/>
                  </a:lnTo>
                  <a:lnTo>
                    <a:pt x="564" y="88"/>
                  </a:lnTo>
                  <a:lnTo>
                    <a:pt x="568" y="88"/>
                  </a:lnTo>
                  <a:lnTo>
                    <a:pt x="568" y="88"/>
                  </a:lnTo>
                  <a:lnTo>
                    <a:pt x="574" y="88"/>
                  </a:lnTo>
                  <a:lnTo>
                    <a:pt x="574" y="92"/>
                  </a:lnTo>
                  <a:lnTo>
                    <a:pt x="574" y="94"/>
                  </a:lnTo>
                  <a:lnTo>
                    <a:pt x="578" y="94"/>
                  </a:lnTo>
                  <a:lnTo>
                    <a:pt x="578" y="94"/>
                  </a:lnTo>
                  <a:lnTo>
                    <a:pt x="580" y="94"/>
                  </a:lnTo>
                  <a:lnTo>
                    <a:pt x="582" y="94"/>
                  </a:lnTo>
                  <a:lnTo>
                    <a:pt x="584" y="96"/>
                  </a:lnTo>
                  <a:lnTo>
                    <a:pt x="588" y="96"/>
                  </a:lnTo>
                  <a:lnTo>
                    <a:pt x="588" y="96"/>
                  </a:lnTo>
                  <a:lnTo>
                    <a:pt x="592" y="98"/>
                  </a:lnTo>
                  <a:lnTo>
                    <a:pt x="598" y="94"/>
                  </a:lnTo>
                  <a:lnTo>
                    <a:pt x="598" y="94"/>
                  </a:lnTo>
                  <a:lnTo>
                    <a:pt x="602" y="92"/>
                  </a:lnTo>
                  <a:lnTo>
                    <a:pt x="604" y="94"/>
                  </a:lnTo>
                  <a:lnTo>
                    <a:pt x="606" y="98"/>
                  </a:lnTo>
                  <a:lnTo>
                    <a:pt x="608" y="96"/>
                  </a:lnTo>
                  <a:lnTo>
                    <a:pt x="608" y="96"/>
                  </a:lnTo>
                  <a:lnTo>
                    <a:pt x="612" y="96"/>
                  </a:lnTo>
                  <a:lnTo>
                    <a:pt x="614" y="98"/>
                  </a:lnTo>
                  <a:lnTo>
                    <a:pt x="616" y="100"/>
                  </a:lnTo>
                  <a:lnTo>
                    <a:pt x="616" y="106"/>
                  </a:lnTo>
                  <a:lnTo>
                    <a:pt x="616" y="106"/>
                  </a:lnTo>
                  <a:lnTo>
                    <a:pt x="614" y="110"/>
                  </a:lnTo>
                  <a:lnTo>
                    <a:pt x="612" y="112"/>
                  </a:lnTo>
                  <a:lnTo>
                    <a:pt x="608" y="112"/>
                  </a:lnTo>
                  <a:lnTo>
                    <a:pt x="606" y="114"/>
                  </a:lnTo>
                  <a:lnTo>
                    <a:pt x="606" y="114"/>
                  </a:lnTo>
                  <a:lnTo>
                    <a:pt x="604" y="116"/>
                  </a:lnTo>
                  <a:lnTo>
                    <a:pt x="602" y="116"/>
                  </a:lnTo>
                  <a:lnTo>
                    <a:pt x="594" y="116"/>
                  </a:lnTo>
                  <a:lnTo>
                    <a:pt x="586" y="112"/>
                  </a:lnTo>
                  <a:lnTo>
                    <a:pt x="582" y="108"/>
                  </a:lnTo>
                  <a:lnTo>
                    <a:pt x="582" y="108"/>
                  </a:lnTo>
                  <a:lnTo>
                    <a:pt x="576" y="106"/>
                  </a:lnTo>
                  <a:lnTo>
                    <a:pt x="570" y="104"/>
                  </a:lnTo>
                  <a:lnTo>
                    <a:pt x="558" y="102"/>
                  </a:lnTo>
                  <a:lnTo>
                    <a:pt x="558" y="102"/>
                  </a:lnTo>
                  <a:lnTo>
                    <a:pt x="546" y="100"/>
                  </a:lnTo>
                  <a:lnTo>
                    <a:pt x="540" y="98"/>
                  </a:lnTo>
                  <a:lnTo>
                    <a:pt x="532" y="98"/>
                  </a:lnTo>
                  <a:lnTo>
                    <a:pt x="532" y="98"/>
                  </a:lnTo>
                  <a:lnTo>
                    <a:pt x="528" y="100"/>
                  </a:lnTo>
                  <a:lnTo>
                    <a:pt x="532" y="100"/>
                  </a:lnTo>
                  <a:lnTo>
                    <a:pt x="542" y="102"/>
                  </a:lnTo>
                  <a:lnTo>
                    <a:pt x="550" y="104"/>
                  </a:lnTo>
                  <a:lnTo>
                    <a:pt x="550" y="104"/>
                  </a:lnTo>
                  <a:lnTo>
                    <a:pt x="552" y="106"/>
                  </a:lnTo>
                  <a:lnTo>
                    <a:pt x="550" y="108"/>
                  </a:lnTo>
                  <a:lnTo>
                    <a:pt x="544" y="108"/>
                  </a:lnTo>
                  <a:lnTo>
                    <a:pt x="536" y="110"/>
                  </a:lnTo>
                  <a:lnTo>
                    <a:pt x="536" y="110"/>
                  </a:lnTo>
                  <a:lnTo>
                    <a:pt x="526" y="116"/>
                  </a:lnTo>
                  <a:lnTo>
                    <a:pt x="524" y="118"/>
                  </a:lnTo>
                  <a:lnTo>
                    <a:pt x="526" y="118"/>
                  </a:lnTo>
                  <a:lnTo>
                    <a:pt x="532" y="118"/>
                  </a:lnTo>
                  <a:lnTo>
                    <a:pt x="532" y="118"/>
                  </a:lnTo>
                  <a:lnTo>
                    <a:pt x="538" y="120"/>
                  </a:lnTo>
                  <a:lnTo>
                    <a:pt x="536" y="122"/>
                  </a:lnTo>
                  <a:lnTo>
                    <a:pt x="532" y="124"/>
                  </a:lnTo>
                  <a:lnTo>
                    <a:pt x="532" y="124"/>
                  </a:lnTo>
                  <a:lnTo>
                    <a:pt x="534" y="124"/>
                  </a:lnTo>
                  <a:lnTo>
                    <a:pt x="534" y="124"/>
                  </a:lnTo>
                  <a:lnTo>
                    <a:pt x="544" y="120"/>
                  </a:lnTo>
                  <a:lnTo>
                    <a:pt x="552" y="116"/>
                  </a:lnTo>
                  <a:lnTo>
                    <a:pt x="552" y="116"/>
                  </a:lnTo>
                  <a:lnTo>
                    <a:pt x="556" y="116"/>
                  </a:lnTo>
                  <a:lnTo>
                    <a:pt x="564" y="118"/>
                  </a:lnTo>
                  <a:lnTo>
                    <a:pt x="572" y="120"/>
                  </a:lnTo>
                  <a:lnTo>
                    <a:pt x="582" y="120"/>
                  </a:lnTo>
                  <a:lnTo>
                    <a:pt x="582" y="120"/>
                  </a:lnTo>
                  <a:lnTo>
                    <a:pt x="592" y="120"/>
                  </a:lnTo>
                  <a:lnTo>
                    <a:pt x="594" y="122"/>
                  </a:lnTo>
                  <a:lnTo>
                    <a:pt x="594" y="122"/>
                  </a:lnTo>
                  <a:lnTo>
                    <a:pt x="594" y="122"/>
                  </a:lnTo>
                  <a:lnTo>
                    <a:pt x="592" y="124"/>
                  </a:lnTo>
                  <a:lnTo>
                    <a:pt x="586" y="124"/>
                  </a:lnTo>
                  <a:lnTo>
                    <a:pt x="580" y="126"/>
                  </a:lnTo>
                  <a:lnTo>
                    <a:pt x="578" y="128"/>
                  </a:lnTo>
                  <a:lnTo>
                    <a:pt x="580" y="128"/>
                  </a:lnTo>
                  <a:lnTo>
                    <a:pt x="580" y="128"/>
                  </a:lnTo>
                  <a:lnTo>
                    <a:pt x="580" y="130"/>
                  </a:lnTo>
                  <a:lnTo>
                    <a:pt x="578" y="130"/>
                  </a:lnTo>
                  <a:lnTo>
                    <a:pt x="570" y="132"/>
                  </a:lnTo>
                  <a:lnTo>
                    <a:pt x="564" y="132"/>
                  </a:lnTo>
                  <a:lnTo>
                    <a:pt x="562" y="132"/>
                  </a:lnTo>
                  <a:lnTo>
                    <a:pt x="562" y="134"/>
                  </a:lnTo>
                  <a:lnTo>
                    <a:pt x="562" y="134"/>
                  </a:lnTo>
                  <a:lnTo>
                    <a:pt x="562" y="136"/>
                  </a:lnTo>
                  <a:lnTo>
                    <a:pt x="560" y="136"/>
                  </a:lnTo>
                  <a:lnTo>
                    <a:pt x="552" y="136"/>
                  </a:lnTo>
                  <a:lnTo>
                    <a:pt x="544" y="136"/>
                  </a:lnTo>
                  <a:lnTo>
                    <a:pt x="542" y="136"/>
                  </a:lnTo>
                  <a:lnTo>
                    <a:pt x="542" y="138"/>
                  </a:lnTo>
                  <a:lnTo>
                    <a:pt x="542" y="138"/>
                  </a:lnTo>
                  <a:lnTo>
                    <a:pt x="544" y="140"/>
                  </a:lnTo>
                  <a:lnTo>
                    <a:pt x="542" y="140"/>
                  </a:lnTo>
                  <a:lnTo>
                    <a:pt x="534" y="140"/>
                  </a:lnTo>
                  <a:lnTo>
                    <a:pt x="526" y="142"/>
                  </a:lnTo>
                  <a:lnTo>
                    <a:pt x="524" y="142"/>
                  </a:lnTo>
                  <a:lnTo>
                    <a:pt x="524" y="144"/>
                  </a:lnTo>
                  <a:lnTo>
                    <a:pt x="524" y="144"/>
                  </a:lnTo>
                  <a:lnTo>
                    <a:pt x="524" y="146"/>
                  </a:lnTo>
                  <a:lnTo>
                    <a:pt x="522" y="146"/>
                  </a:lnTo>
                  <a:lnTo>
                    <a:pt x="516" y="146"/>
                  </a:lnTo>
                  <a:lnTo>
                    <a:pt x="508" y="146"/>
                  </a:lnTo>
                  <a:lnTo>
                    <a:pt x="500" y="148"/>
                  </a:lnTo>
                  <a:lnTo>
                    <a:pt x="500" y="148"/>
                  </a:lnTo>
                  <a:lnTo>
                    <a:pt x="494" y="148"/>
                  </a:lnTo>
                  <a:lnTo>
                    <a:pt x="490" y="148"/>
                  </a:lnTo>
                  <a:lnTo>
                    <a:pt x="486" y="148"/>
                  </a:lnTo>
                  <a:lnTo>
                    <a:pt x="482" y="150"/>
                  </a:lnTo>
                  <a:lnTo>
                    <a:pt x="482" y="150"/>
                  </a:lnTo>
                  <a:lnTo>
                    <a:pt x="476" y="152"/>
                  </a:lnTo>
                  <a:lnTo>
                    <a:pt x="472" y="150"/>
                  </a:lnTo>
                  <a:lnTo>
                    <a:pt x="466" y="150"/>
                  </a:lnTo>
                  <a:lnTo>
                    <a:pt x="460" y="152"/>
                  </a:lnTo>
                  <a:lnTo>
                    <a:pt x="460" y="152"/>
                  </a:lnTo>
                  <a:lnTo>
                    <a:pt x="454" y="152"/>
                  </a:lnTo>
                  <a:lnTo>
                    <a:pt x="450" y="150"/>
                  </a:lnTo>
                  <a:lnTo>
                    <a:pt x="448" y="146"/>
                  </a:lnTo>
                  <a:lnTo>
                    <a:pt x="444" y="144"/>
                  </a:lnTo>
                  <a:lnTo>
                    <a:pt x="444" y="144"/>
                  </a:lnTo>
                  <a:lnTo>
                    <a:pt x="442" y="144"/>
                  </a:lnTo>
                  <a:lnTo>
                    <a:pt x="442" y="144"/>
                  </a:lnTo>
                  <a:lnTo>
                    <a:pt x="442" y="148"/>
                  </a:lnTo>
                  <a:lnTo>
                    <a:pt x="442" y="150"/>
                  </a:lnTo>
                  <a:lnTo>
                    <a:pt x="440" y="150"/>
                  </a:lnTo>
                  <a:lnTo>
                    <a:pt x="436" y="150"/>
                  </a:lnTo>
                  <a:lnTo>
                    <a:pt x="436" y="150"/>
                  </a:lnTo>
                  <a:lnTo>
                    <a:pt x="432" y="150"/>
                  </a:lnTo>
                  <a:lnTo>
                    <a:pt x="430" y="152"/>
                  </a:lnTo>
                  <a:lnTo>
                    <a:pt x="426" y="156"/>
                  </a:lnTo>
                  <a:lnTo>
                    <a:pt x="422" y="162"/>
                  </a:lnTo>
                  <a:lnTo>
                    <a:pt x="420" y="164"/>
                  </a:lnTo>
                  <a:lnTo>
                    <a:pt x="418" y="162"/>
                  </a:lnTo>
                  <a:lnTo>
                    <a:pt x="418" y="162"/>
                  </a:lnTo>
                  <a:lnTo>
                    <a:pt x="414" y="162"/>
                  </a:lnTo>
                  <a:lnTo>
                    <a:pt x="412" y="162"/>
                  </a:lnTo>
                  <a:lnTo>
                    <a:pt x="408" y="166"/>
                  </a:lnTo>
                  <a:lnTo>
                    <a:pt x="402" y="170"/>
                  </a:lnTo>
                  <a:lnTo>
                    <a:pt x="398" y="170"/>
                  </a:lnTo>
                  <a:lnTo>
                    <a:pt x="398" y="170"/>
                  </a:lnTo>
                  <a:lnTo>
                    <a:pt x="390" y="170"/>
                  </a:lnTo>
                  <a:lnTo>
                    <a:pt x="384" y="170"/>
                  </a:lnTo>
                  <a:lnTo>
                    <a:pt x="380" y="172"/>
                  </a:lnTo>
                  <a:lnTo>
                    <a:pt x="378" y="174"/>
                  </a:lnTo>
                  <a:lnTo>
                    <a:pt x="380" y="176"/>
                  </a:lnTo>
                  <a:lnTo>
                    <a:pt x="380" y="176"/>
                  </a:lnTo>
                  <a:lnTo>
                    <a:pt x="380" y="178"/>
                  </a:lnTo>
                  <a:lnTo>
                    <a:pt x="378" y="178"/>
                  </a:lnTo>
                  <a:lnTo>
                    <a:pt x="372" y="180"/>
                  </a:lnTo>
                  <a:lnTo>
                    <a:pt x="362" y="180"/>
                  </a:lnTo>
                  <a:lnTo>
                    <a:pt x="362" y="180"/>
                  </a:lnTo>
                  <a:lnTo>
                    <a:pt x="360" y="176"/>
                  </a:lnTo>
                  <a:lnTo>
                    <a:pt x="360" y="176"/>
                  </a:lnTo>
                  <a:lnTo>
                    <a:pt x="356" y="172"/>
                  </a:lnTo>
                  <a:lnTo>
                    <a:pt x="350" y="172"/>
                  </a:lnTo>
                  <a:lnTo>
                    <a:pt x="344" y="174"/>
                  </a:lnTo>
                  <a:lnTo>
                    <a:pt x="344" y="176"/>
                  </a:lnTo>
                  <a:lnTo>
                    <a:pt x="344" y="178"/>
                  </a:lnTo>
                  <a:lnTo>
                    <a:pt x="344" y="178"/>
                  </a:lnTo>
                  <a:lnTo>
                    <a:pt x="344" y="180"/>
                  </a:lnTo>
                  <a:lnTo>
                    <a:pt x="344" y="182"/>
                  </a:lnTo>
                  <a:lnTo>
                    <a:pt x="338" y="182"/>
                  </a:lnTo>
                  <a:lnTo>
                    <a:pt x="324" y="182"/>
                  </a:lnTo>
                  <a:lnTo>
                    <a:pt x="324" y="182"/>
                  </a:lnTo>
                  <a:lnTo>
                    <a:pt x="318" y="182"/>
                  </a:lnTo>
                  <a:lnTo>
                    <a:pt x="312" y="184"/>
                  </a:lnTo>
                  <a:lnTo>
                    <a:pt x="310" y="188"/>
                  </a:lnTo>
                  <a:lnTo>
                    <a:pt x="314" y="190"/>
                  </a:lnTo>
                  <a:lnTo>
                    <a:pt x="314" y="190"/>
                  </a:lnTo>
                  <a:lnTo>
                    <a:pt x="314" y="192"/>
                  </a:lnTo>
                  <a:lnTo>
                    <a:pt x="312" y="194"/>
                  </a:lnTo>
                  <a:lnTo>
                    <a:pt x="296" y="192"/>
                  </a:lnTo>
                  <a:lnTo>
                    <a:pt x="296" y="192"/>
                  </a:lnTo>
                  <a:lnTo>
                    <a:pt x="290" y="192"/>
                  </a:lnTo>
                  <a:lnTo>
                    <a:pt x="288" y="194"/>
                  </a:lnTo>
                  <a:lnTo>
                    <a:pt x="290" y="198"/>
                  </a:lnTo>
                  <a:lnTo>
                    <a:pt x="296" y="202"/>
                  </a:lnTo>
                  <a:lnTo>
                    <a:pt x="296" y="202"/>
                  </a:lnTo>
                  <a:lnTo>
                    <a:pt x="298" y="204"/>
                  </a:lnTo>
                  <a:lnTo>
                    <a:pt x="296" y="204"/>
                  </a:lnTo>
                  <a:lnTo>
                    <a:pt x="292" y="206"/>
                  </a:lnTo>
                  <a:lnTo>
                    <a:pt x="286" y="208"/>
                  </a:lnTo>
                  <a:lnTo>
                    <a:pt x="284" y="208"/>
                  </a:lnTo>
                  <a:lnTo>
                    <a:pt x="284" y="210"/>
                  </a:lnTo>
                  <a:lnTo>
                    <a:pt x="284" y="210"/>
                  </a:lnTo>
                  <a:lnTo>
                    <a:pt x="286" y="210"/>
                  </a:lnTo>
                  <a:lnTo>
                    <a:pt x="284" y="212"/>
                  </a:lnTo>
                  <a:lnTo>
                    <a:pt x="280" y="214"/>
                  </a:lnTo>
                  <a:lnTo>
                    <a:pt x="274" y="216"/>
                  </a:lnTo>
                  <a:lnTo>
                    <a:pt x="274" y="218"/>
                  </a:lnTo>
                  <a:lnTo>
                    <a:pt x="274" y="218"/>
                  </a:lnTo>
                  <a:lnTo>
                    <a:pt x="274" y="218"/>
                  </a:lnTo>
                  <a:lnTo>
                    <a:pt x="274" y="218"/>
                  </a:lnTo>
                  <a:lnTo>
                    <a:pt x="272" y="220"/>
                  </a:lnTo>
                  <a:lnTo>
                    <a:pt x="266" y="220"/>
                  </a:lnTo>
                  <a:lnTo>
                    <a:pt x="260" y="222"/>
                  </a:lnTo>
                  <a:lnTo>
                    <a:pt x="260" y="224"/>
                  </a:lnTo>
                  <a:lnTo>
                    <a:pt x="260" y="224"/>
                  </a:lnTo>
                  <a:lnTo>
                    <a:pt x="260" y="224"/>
                  </a:lnTo>
                  <a:lnTo>
                    <a:pt x="260" y="226"/>
                  </a:lnTo>
                  <a:lnTo>
                    <a:pt x="258" y="226"/>
                  </a:lnTo>
                  <a:lnTo>
                    <a:pt x="252" y="228"/>
                  </a:lnTo>
                  <a:lnTo>
                    <a:pt x="248" y="230"/>
                  </a:lnTo>
                  <a:lnTo>
                    <a:pt x="246" y="232"/>
                  </a:lnTo>
                  <a:lnTo>
                    <a:pt x="250" y="236"/>
                  </a:lnTo>
                  <a:lnTo>
                    <a:pt x="250" y="236"/>
                  </a:lnTo>
                  <a:lnTo>
                    <a:pt x="252" y="238"/>
                  </a:lnTo>
                  <a:lnTo>
                    <a:pt x="252" y="240"/>
                  </a:lnTo>
                  <a:lnTo>
                    <a:pt x="248" y="242"/>
                  </a:lnTo>
                  <a:lnTo>
                    <a:pt x="244" y="246"/>
                  </a:lnTo>
                  <a:lnTo>
                    <a:pt x="242" y="246"/>
                  </a:lnTo>
                  <a:lnTo>
                    <a:pt x="244" y="248"/>
                  </a:lnTo>
                  <a:lnTo>
                    <a:pt x="244" y="248"/>
                  </a:lnTo>
                  <a:lnTo>
                    <a:pt x="246" y="250"/>
                  </a:lnTo>
                  <a:lnTo>
                    <a:pt x="244" y="250"/>
                  </a:lnTo>
                  <a:lnTo>
                    <a:pt x="238" y="252"/>
                  </a:lnTo>
                  <a:lnTo>
                    <a:pt x="234" y="254"/>
                  </a:lnTo>
                  <a:lnTo>
                    <a:pt x="232" y="256"/>
                  </a:lnTo>
                  <a:lnTo>
                    <a:pt x="234" y="256"/>
                  </a:lnTo>
                  <a:lnTo>
                    <a:pt x="234" y="256"/>
                  </a:lnTo>
                  <a:lnTo>
                    <a:pt x="236" y="258"/>
                  </a:lnTo>
                  <a:lnTo>
                    <a:pt x="236" y="258"/>
                  </a:lnTo>
                  <a:lnTo>
                    <a:pt x="230" y="260"/>
                  </a:lnTo>
                  <a:lnTo>
                    <a:pt x="224" y="262"/>
                  </a:lnTo>
                  <a:lnTo>
                    <a:pt x="222" y="264"/>
                  </a:lnTo>
                  <a:lnTo>
                    <a:pt x="222" y="268"/>
                  </a:lnTo>
                  <a:lnTo>
                    <a:pt x="222" y="268"/>
                  </a:lnTo>
                  <a:lnTo>
                    <a:pt x="222" y="274"/>
                  </a:lnTo>
                  <a:lnTo>
                    <a:pt x="220" y="274"/>
                  </a:lnTo>
                  <a:lnTo>
                    <a:pt x="214" y="274"/>
                  </a:lnTo>
                  <a:lnTo>
                    <a:pt x="204" y="274"/>
                  </a:lnTo>
                  <a:lnTo>
                    <a:pt x="204" y="274"/>
                  </a:lnTo>
                  <a:lnTo>
                    <a:pt x="198" y="274"/>
                  </a:lnTo>
                  <a:lnTo>
                    <a:pt x="198" y="274"/>
                  </a:lnTo>
                  <a:lnTo>
                    <a:pt x="198" y="270"/>
                  </a:lnTo>
                  <a:lnTo>
                    <a:pt x="196" y="270"/>
                  </a:lnTo>
                  <a:lnTo>
                    <a:pt x="196" y="270"/>
                  </a:lnTo>
                  <a:lnTo>
                    <a:pt x="194" y="268"/>
                  </a:lnTo>
                  <a:lnTo>
                    <a:pt x="194" y="266"/>
                  </a:lnTo>
                  <a:lnTo>
                    <a:pt x="192" y="264"/>
                  </a:lnTo>
                  <a:lnTo>
                    <a:pt x="188" y="262"/>
                  </a:lnTo>
                  <a:lnTo>
                    <a:pt x="188" y="262"/>
                  </a:lnTo>
                  <a:lnTo>
                    <a:pt x="182" y="260"/>
                  </a:lnTo>
                  <a:lnTo>
                    <a:pt x="182" y="258"/>
                  </a:lnTo>
                  <a:lnTo>
                    <a:pt x="184" y="256"/>
                  </a:lnTo>
                  <a:lnTo>
                    <a:pt x="182" y="256"/>
                  </a:lnTo>
                  <a:lnTo>
                    <a:pt x="182" y="256"/>
                  </a:lnTo>
                  <a:lnTo>
                    <a:pt x="174" y="260"/>
                  </a:lnTo>
                  <a:lnTo>
                    <a:pt x="166" y="262"/>
                  </a:lnTo>
                  <a:lnTo>
                    <a:pt x="166" y="262"/>
                  </a:lnTo>
                  <a:lnTo>
                    <a:pt x="164" y="262"/>
                  </a:lnTo>
                  <a:lnTo>
                    <a:pt x="162" y="262"/>
                  </a:lnTo>
                  <a:lnTo>
                    <a:pt x="160" y="260"/>
                  </a:lnTo>
                  <a:lnTo>
                    <a:pt x="154" y="258"/>
                  </a:lnTo>
                  <a:lnTo>
                    <a:pt x="154" y="258"/>
                  </a:lnTo>
                  <a:lnTo>
                    <a:pt x="148" y="256"/>
                  </a:lnTo>
                  <a:lnTo>
                    <a:pt x="148" y="254"/>
                  </a:lnTo>
                  <a:lnTo>
                    <a:pt x="146" y="250"/>
                  </a:lnTo>
                  <a:lnTo>
                    <a:pt x="140" y="248"/>
                  </a:lnTo>
                  <a:lnTo>
                    <a:pt x="140" y="248"/>
                  </a:lnTo>
                  <a:lnTo>
                    <a:pt x="138" y="246"/>
                  </a:lnTo>
                  <a:lnTo>
                    <a:pt x="136" y="246"/>
                  </a:lnTo>
                  <a:lnTo>
                    <a:pt x="136" y="242"/>
                  </a:lnTo>
                  <a:lnTo>
                    <a:pt x="136" y="238"/>
                  </a:lnTo>
                  <a:lnTo>
                    <a:pt x="136" y="236"/>
                  </a:lnTo>
                  <a:lnTo>
                    <a:pt x="132" y="236"/>
                  </a:lnTo>
                  <a:lnTo>
                    <a:pt x="132" y="236"/>
                  </a:lnTo>
                  <a:lnTo>
                    <a:pt x="128" y="234"/>
                  </a:lnTo>
                  <a:lnTo>
                    <a:pt x="128" y="232"/>
                  </a:lnTo>
                  <a:lnTo>
                    <a:pt x="126" y="230"/>
                  </a:lnTo>
                  <a:lnTo>
                    <a:pt x="122" y="226"/>
                  </a:lnTo>
                  <a:lnTo>
                    <a:pt x="122" y="226"/>
                  </a:lnTo>
                  <a:lnTo>
                    <a:pt x="118" y="224"/>
                  </a:lnTo>
                  <a:lnTo>
                    <a:pt x="116" y="222"/>
                  </a:lnTo>
                  <a:lnTo>
                    <a:pt x="116" y="212"/>
                  </a:lnTo>
                  <a:lnTo>
                    <a:pt x="116" y="212"/>
                  </a:lnTo>
                  <a:lnTo>
                    <a:pt x="116" y="210"/>
                  </a:lnTo>
                  <a:lnTo>
                    <a:pt x="120" y="208"/>
                  </a:lnTo>
                  <a:lnTo>
                    <a:pt x="122" y="208"/>
                  </a:lnTo>
                  <a:lnTo>
                    <a:pt x="124" y="206"/>
                  </a:lnTo>
                  <a:lnTo>
                    <a:pt x="124" y="206"/>
                  </a:lnTo>
                  <a:lnTo>
                    <a:pt x="124" y="204"/>
                  </a:lnTo>
                  <a:lnTo>
                    <a:pt x="126" y="202"/>
                  </a:lnTo>
                  <a:lnTo>
                    <a:pt x="134" y="200"/>
                  </a:lnTo>
                  <a:lnTo>
                    <a:pt x="134" y="200"/>
                  </a:lnTo>
                  <a:lnTo>
                    <a:pt x="130" y="198"/>
                  </a:lnTo>
                  <a:lnTo>
                    <a:pt x="126" y="200"/>
                  </a:lnTo>
                  <a:lnTo>
                    <a:pt x="114" y="204"/>
                  </a:lnTo>
                  <a:lnTo>
                    <a:pt x="114" y="204"/>
                  </a:lnTo>
                  <a:lnTo>
                    <a:pt x="112" y="206"/>
                  </a:lnTo>
                  <a:lnTo>
                    <a:pt x="112" y="204"/>
                  </a:lnTo>
                  <a:lnTo>
                    <a:pt x="110" y="200"/>
                  </a:lnTo>
                  <a:lnTo>
                    <a:pt x="110" y="192"/>
                  </a:lnTo>
                  <a:lnTo>
                    <a:pt x="110" y="190"/>
                  </a:lnTo>
                  <a:lnTo>
                    <a:pt x="108" y="186"/>
                  </a:lnTo>
                  <a:lnTo>
                    <a:pt x="108" y="186"/>
                  </a:lnTo>
                  <a:lnTo>
                    <a:pt x="104" y="182"/>
                  </a:lnTo>
                  <a:lnTo>
                    <a:pt x="104" y="180"/>
                  </a:lnTo>
                  <a:lnTo>
                    <a:pt x="106" y="178"/>
                  </a:lnTo>
                  <a:lnTo>
                    <a:pt x="112" y="178"/>
                  </a:lnTo>
                  <a:lnTo>
                    <a:pt x="112" y="178"/>
                  </a:lnTo>
                  <a:lnTo>
                    <a:pt x="116" y="178"/>
                  </a:lnTo>
                  <a:lnTo>
                    <a:pt x="118" y="178"/>
                  </a:lnTo>
                  <a:lnTo>
                    <a:pt x="116" y="174"/>
                  </a:lnTo>
                  <a:lnTo>
                    <a:pt x="112" y="172"/>
                  </a:lnTo>
                  <a:lnTo>
                    <a:pt x="112" y="172"/>
                  </a:lnTo>
                  <a:lnTo>
                    <a:pt x="108" y="168"/>
                  </a:lnTo>
                  <a:lnTo>
                    <a:pt x="108" y="168"/>
                  </a:lnTo>
                  <a:lnTo>
                    <a:pt x="112" y="166"/>
                  </a:lnTo>
                  <a:lnTo>
                    <a:pt x="114" y="164"/>
                  </a:lnTo>
                  <a:lnTo>
                    <a:pt x="114" y="164"/>
                  </a:lnTo>
                  <a:lnTo>
                    <a:pt x="112" y="162"/>
                  </a:lnTo>
                  <a:lnTo>
                    <a:pt x="112" y="162"/>
                  </a:lnTo>
                  <a:lnTo>
                    <a:pt x="112" y="160"/>
                  </a:lnTo>
                  <a:lnTo>
                    <a:pt x="112" y="158"/>
                  </a:lnTo>
                  <a:lnTo>
                    <a:pt x="118" y="156"/>
                  </a:lnTo>
                  <a:lnTo>
                    <a:pt x="122" y="156"/>
                  </a:lnTo>
                  <a:lnTo>
                    <a:pt x="124" y="154"/>
                  </a:lnTo>
                  <a:lnTo>
                    <a:pt x="122" y="154"/>
                  </a:lnTo>
                  <a:lnTo>
                    <a:pt x="122" y="154"/>
                  </a:lnTo>
                  <a:lnTo>
                    <a:pt x="120" y="152"/>
                  </a:lnTo>
                  <a:lnTo>
                    <a:pt x="122" y="150"/>
                  </a:lnTo>
                  <a:lnTo>
                    <a:pt x="136" y="146"/>
                  </a:lnTo>
                  <a:lnTo>
                    <a:pt x="136" y="146"/>
                  </a:lnTo>
                  <a:lnTo>
                    <a:pt x="142" y="146"/>
                  </a:lnTo>
                  <a:lnTo>
                    <a:pt x="146" y="148"/>
                  </a:lnTo>
                  <a:lnTo>
                    <a:pt x="150" y="150"/>
                  </a:lnTo>
                  <a:lnTo>
                    <a:pt x="156" y="150"/>
                  </a:lnTo>
                  <a:lnTo>
                    <a:pt x="156" y="150"/>
                  </a:lnTo>
                  <a:lnTo>
                    <a:pt x="158" y="148"/>
                  </a:lnTo>
                  <a:lnTo>
                    <a:pt x="156" y="148"/>
                  </a:lnTo>
                  <a:lnTo>
                    <a:pt x="152" y="146"/>
                  </a:lnTo>
                  <a:lnTo>
                    <a:pt x="146" y="144"/>
                  </a:lnTo>
                  <a:lnTo>
                    <a:pt x="146" y="144"/>
                  </a:lnTo>
                  <a:lnTo>
                    <a:pt x="146" y="142"/>
                  </a:lnTo>
                  <a:lnTo>
                    <a:pt x="146" y="142"/>
                  </a:lnTo>
                  <a:lnTo>
                    <a:pt x="152" y="140"/>
                  </a:lnTo>
                  <a:lnTo>
                    <a:pt x="160" y="140"/>
                  </a:lnTo>
                  <a:lnTo>
                    <a:pt x="166" y="140"/>
                  </a:lnTo>
                  <a:lnTo>
                    <a:pt x="166" y="140"/>
                  </a:lnTo>
                  <a:lnTo>
                    <a:pt x="166" y="138"/>
                  </a:lnTo>
                  <a:lnTo>
                    <a:pt x="166" y="138"/>
                  </a:lnTo>
                  <a:lnTo>
                    <a:pt x="166" y="138"/>
                  </a:lnTo>
                  <a:lnTo>
                    <a:pt x="166" y="136"/>
                  </a:lnTo>
                  <a:lnTo>
                    <a:pt x="170" y="136"/>
                  </a:lnTo>
                  <a:lnTo>
                    <a:pt x="174" y="134"/>
                  </a:lnTo>
                  <a:lnTo>
                    <a:pt x="174" y="134"/>
                  </a:lnTo>
                  <a:lnTo>
                    <a:pt x="174" y="132"/>
                  </a:lnTo>
                  <a:lnTo>
                    <a:pt x="174" y="132"/>
                  </a:lnTo>
                  <a:lnTo>
                    <a:pt x="172" y="130"/>
                  </a:lnTo>
                  <a:lnTo>
                    <a:pt x="174" y="128"/>
                  </a:lnTo>
                  <a:lnTo>
                    <a:pt x="176" y="126"/>
                  </a:lnTo>
                  <a:lnTo>
                    <a:pt x="174" y="124"/>
                  </a:lnTo>
                  <a:lnTo>
                    <a:pt x="174" y="124"/>
                  </a:lnTo>
                  <a:lnTo>
                    <a:pt x="172" y="122"/>
                  </a:lnTo>
                  <a:lnTo>
                    <a:pt x="166" y="124"/>
                  </a:lnTo>
                  <a:lnTo>
                    <a:pt x="158" y="126"/>
                  </a:lnTo>
                  <a:lnTo>
                    <a:pt x="158" y="126"/>
                  </a:lnTo>
                  <a:lnTo>
                    <a:pt x="150" y="124"/>
                  </a:lnTo>
                  <a:lnTo>
                    <a:pt x="142" y="120"/>
                  </a:lnTo>
                  <a:lnTo>
                    <a:pt x="142" y="120"/>
                  </a:lnTo>
                  <a:lnTo>
                    <a:pt x="136" y="118"/>
                  </a:lnTo>
                  <a:lnTo>
                    <a:pt x="136" y="116"/>
                  </a:lnTo>
                  <a:lnTo>
                    <a:pt x="140" y="114"/>
                  </a:lnTo>
                  <a:lnTo>
                    <a:pt x="140" y="114"/>
                  </a:lnTo>
                  <a:lnTo>
                    <a:pt x="146" y="114"/>
                  </a:lnTo>
                  <a:lnTo>
                    <a:pt x="148" y="114"/>
                  </a:lnTo>
                  <a:lnTo>
                    <a:pt x="152" y="114"/>
                  </a:lnTo>
                  <a:lnTo>
                    <a:pt x="154" y="114"/>
                  </a:lnTo>
                  <a:lnTo>
                    <a:pt x="154" y="114"/>
                  </a:lnTo>
                  <a:lnTo>
                    <a:pt x="160" y="114"/>
                  </a:lnTo>
                  <a:lnTo>
                    <a:pt x="168" y="114"/>
                  </a:lnTo>
                  <a:lnTo>
                    <a:pt x="174" y="116"/>
                  </a:lnTo>
                  <a:lnTo>
                    <a:pt x="180" y="114"/>
                  </a:lnTo>
                  <a:lnTo>
                    <a:pt x="180" y="114"/>
                  </a:lnTo>
                  <a:lnTo>
                    <a:pt x="182" y="114"/>
                  </a:lnTo>
                  <a:lnTo>
                    <a:pt x="180" y="112"/>
                  </a:lnTo>
                  <a:lnTo>
                    <a:pt x="176" y="112"/>
                  </a:lnTo>
                  <a:lnTo>
                    <a:pt x="176" y="112"/>
                  </a:lnTo>
                  <a:lnTo>
                    <a:pt x="176" y="110"/>
                  </a:lnTo>
                  <a:lnTo>
                    <a:pt x="176" y="110"/>
                  </a:lnTo>
                  <a:lnTo>
                    <a:pt x="178" y="110"/>
                  </a:lnTo>
                  <a:lnTo>
                    <a:pt x="176" y="110"/>
                  </a:lnTo>
                  <a:lnTo>
                    <a:pt x="170" y="110"/>
                  </a:lnTo>
                  <a:lnTo>
                    <a:pt x="166" y="110"/>
                  </a:lnTo>
                  <a:lnTo>
                    <a:pt x="166" y="110"/>
                  </a:lnTo>
                  <a:lnTo>
                    <a:pt x="168" y="108"/>
                  </a:lnTo>
                  <a:lnTo>
                    <a:pt x="168" y="108"/>
                  </a:lnTo>
                  <a:lnTo>
                    <a:pt x="170" y="104"/>
                  </a:lnTo>
                  <a:lnTo>
                    <a:pt x="170" y="104"/>
                  </a:lnTo>
                  <a:lnTo>
                    <a:pt x="160" y="106"/>
                  </a:lnTo>
                  <a:lnTo>
                    <a:pt x="160" y="106"/>
                  </a:lnTo>
                  <a:lnTo>
                    <a:pt x="156" y="108"/>
                  </a:lnTo>
                  <a:lnTo>
                    <a:pt x="152" y="108"/>
                  </a:lnTo>
                  <a:lnTo>
                    <a:pt x="148" y="106"/>
                  </a:lnTo>
                  <a:lnTo>
                    <a:pt x="150" y="104"/>
                  </a:lnTo>
                  <a:lnTo>
                    <a:pt x="150" y="104"/>
                  </a:lnTo>
                  <a:lnTo>
                    <a:pt x="152" y="104"/>
                  </a:lnTo>
                  <a:lnTo>
                    <a:pt x="150" y="104"/>
                  </a:lnTo>
                  <a:lnTo>
                    <a:pt x="146" y="106"/>
                  </a:lnTo>
                  <a:lnTo>
                    <a:pt x="140" y="108"/>
                  </a:lnTo>
                  <a:lnTo>
                    <a:pt x="140" y="108"/>
                  </a:lnTo>
                  <a:lnTo>
                    <a:pt x="130" y="108"/>
                  </a:lnTo>
                  <a:lnTo>
                    <a:pt x="128" y="106"/>
                  </a:lnTo>
                  <a:lnTo>
                    <a:pt x="128" y="104"/>
                  </a:lnTo>
                  <a:lnTo>
                    <a:pt x="128" y="104"/>
                  </a:lnTo>
                  <a:lnTo>
                    <a:pt x="128" y="100"/>
                  </a:lnTo>
                  <a:lnTo>
                    <a:pt x="134" y="98"/>
                  </a:lnTo>
                  <a:lnTo>
                    <a:pt x="134" y="98"/>
                  </a:lnTo>
                  <a:lnTo>
                    <a:pt x="138" y="96"/>
                  </a:lnTo>
                  <a:lnTo>
                    <a:pt x="140" y="94"/>
                  </a:lnTo>
                  <a:lnTo>
                    <a:pt x="142" y="92"/>
                  </a:lnTo>
                  <a:lnTo>
                    <a:pt x="144" y="90"/>
                  </a:lnTo>
                  <a:lnTo>
                    <a:pt x="144" y="90"/>
                  </a:lnTo>
                  <a:lnTo>
                    <a:pt x="148" y="88"/>
                  </a:lnTo>
                  <a:lnTo>
                    <a:pt x="146" y="86"/>
                  </a:lnTo>
                  <a:lnTo>
                    <a:pt x="146" y="84"/>
                  </a:lnTo>
                  <a:lnTo>
                    <a:pt x="148" y="82"/>
                  </a:lnTo>
                  <a:lnTo>
                    <a:pt x="148" y="82"/>
                  </a:lnTo>
                  <a:lnTo>
                    <a:pt x="148" y="80"/>
                  </a:lnTo>
                  <a:lnTo>
                    <a:pt x="148" y="80"/>
                  </a:lnTo>
                  <a:lnTo>
                    <a:pt x="144" y="78"/>
                  </a:lnTo>
                  <a:lnTo>
                    <a:pt x="140" y="78"/>
                  </a:lnTo>
                  <a:lnTo>
                    <a:pt x="140" y="76"/>
                  </a:lnTo>
                  <a:lnTo>
                    <a:pt x="140" y="74"/>
                  </a:lnTo>
                  <a:lnTo>
                    <a:pt x="140" y="74"/>
                  </a:lnTo>
                  <a:lnTo>
                    <a:pt x="142" y="74"/>
                  </a:lnTo>
                  <a:lnTo>
                    <a:pt x="142" y="72"/>
                  </a:lnTo>
                  <a:lnTo>
                    <a:pt x="136" y="72"/>
                  </a:lnTo>
                  <a:lnTo>
                    <a:pt x="132" y="70"/>
                  </a:lnTo>
                  <a:lnTo>
                    <a:pt x="132" y="68"/>
                  </a:lnTo>
                  <a:lnTo>
                    <a:pt x="134" y="68"/>
                  </a:lnTo>
                  <a:lnTo>
                    <a:pt x="134" y="68"/>
                  </a:lnTo>
                  <a:lnTo>
                    <a:pt x="136" y="66"/>
                  </a:lnTo>
                  <a:lnTo>
                    <a:pt x="134" y="62"/>
                  </a:lnTo>
                  <a:lnTo>
                    <a:pt x="130" y="62"/>
                  </a:lnTo>
                  <a:lnTo>
                    <a:pt x="122" y="60"/>
                  </a:lnTo>
                  <a:lnTo>
                    <a:pt x="122" y="60"/>
                  </a:lnTo>
                  <a:lnTo>
                    <a:pt x="116" y="60"/>
                  </a:lnTo>
                  <a:lnTo>
                    <a:pt x="108" y="60"/>
                  </a:lnTo>
                  <a:lnTo>
                    <a:pt x="108" y="60"/>
                  </a:lnTo>
                  <a:lnTo>
                    <a:pt x="100" y="60"/>
                  </a:lnTo>
                  <a:lnTo>
                    <a:pt x="94" y="58"/>
                  </a:lnTo>
                  <a:lnTo>
                    <a:pt x="84" y="56"/>
                  </a:lnTo>
                  <a:lnTo>
                    <a:pt x="74" y="56"/>
                  </a:lnTo>
                  <a:lnTo>
                    <a:pt x="74" y="56"/>
                  </a:lnTo>
                  <a:lnTo>
                    <a:pt x="68" y="56"/>
                  </a:lnTo>
                  <a:lnTo>
                    <a:pt x="64" y="54"/>
                  </a:lnTo>
                  <a:lnTo>
                    <a:pt x="60" y="54"/>
                  </a:lnTo>
                  <a:lnTo>
                    <a:pt x="54" y="54"/>
                  </a:lnTo>
                  <a:lnTo>
                    <a:pt x="54" y="54"/>
                  </a:lnTo>
                  <a:lnTo>
                    <a:pt x="44" y="56"/>
                  </a:lnTo>
                  <a:lnTo>
                    <a:pt x="36" y="56"/>
                  </a:lnTo>
                  <a:lnTo>
                    <a:pt x="36" y="56"/>
                  </a:lnTo>
                  <a:lnTo>
                    <a:pt x="30" y="58"/>
                  </a:lnTo>
                  <a:lnTo>
                    <a:pt x="28" y="62"/>
                  </a:lnTo>
                  <a:lnTo>
                    <a:pt x="24" y="62"/>
                  </a:lnTo>
                  <a:lnTo>
                    <a:pt x="18" y="60"/>
                  </a:lnTo>
                  <a:lnTo>
                    <a:pt x="18" y="60"/>
                  </a:lnTo>
                  <a:lnTo>
                    <a:pt x="8" y="56"/>
                  </a:lnTo>
                  <a:lnTo>
                    <a:pt x="12" y="56"/>
                  </a:lnTo>
                  <a:lnTo>
                    <a:pt x="20" y="52"/>
                  </a:lnTo>
                  <a:lnTo>
                    <a:pt x="20" y="52"/>
                  </a:lnTo>
                  <a:lnTo>
                    <a:pt x="30" y="48"/>
                  </a:lnTo>
                  <a:lnTo>
                    <a:pt x="46" y="46"/>
                  </a:lnTo>
                  <a:lnTo>
                    <a:pt x="46" y="46"/>
                  </a:lnTo>
                  <a:lnTo>
                    <a:pt x="66" y="44"/>
                  </a:lnTo>
                  <a:lnTo>
                    <a:pt x="56" y="44"/>
                  </a:lnTo>
                  <a:lnTo>
                    <a:pt x="56" y="44"/>
                  </a:lnTo>
                  <a:lnTo>
                    <a:pt x="48" y="42"/>
                  </a:lnTo>
                  <a:lnTo>
                    <a:pt x="48" y="42"/>
                  </a:lnTo>
                  <a:lnTo>
                    <a:pt x="50" y="40"/>
                  </a:lnTo>
                  <a:lnTo>
                    <a:pt x="50" y="40"/>
                  </a:lnTo>
                  <a:lnTo>
                    <a:pt x="48" y="40"/>
                  </a:lnTo>
                  <a:lnTo>
                    <a:pt x="48" y="40"/>
                  </a:lnTo>
                  <a:lnTo>
                    <a:pt x="28" y="42"/>
                  </a:lnTo>
                  <a:lnTo>
                    <a:pt x="20" y="42"/>
                  </a:lnTo>
                  <a:lnTo>
                    <a:pt x="14" y="40"/>
                  </a:lnTo>
                  <a:lnTo>
                    <a:pt x="14" y="40"/>
                  </a:lnTo>
                  <a:lnTo>
                    <a:pt x="8" y="38"/>
                  </a:lnTo>
                  <a:lnTo>
                    <a:pt x="2" y="38"/>
                  </a:lnTo>
                  <a:lnTo>
                    <a:pt x="0" y="38"/>
                  </a:lnTo>
                  <a:lnTo>
                    <a:pt x="0" y="36"/>
                  </a:lnTo>
                  <a:lnTo>
                    <a:pt x="8" y="34"/>
                  </a:lnTo>
                  <a:lnTo>
                    <a:pt x="8" y="34"/>
                  </a:lnTo>
                  <a:lnTo>
                    <a:pt x="18" y="30"/>
                  </a:lnTo>
                  <a:lnTo>
                    <a:pt x="26" y="30"/>
                  </a:lnTo>
                  <a:lnTo>
                    <a:pt x="42" y="30"/>
                  </a:lnTo>
                  <a:lnTo>
                    <a:pt x="42" y="30"/>
                  </a:lnTo>
                  <a:lnTo>
                    <a:pt x="54" y="30"/>
                  </a:lnTo>
                  <a:lnTo>
                    <a:pt x="62" y="30"/>
                  </a:lnTo>
                  <a:lnTo>
                    <a:pt x="62" y="30"/>
                  </a:lnTo>
                  <a:lnTo>
                    <a:pt x="66" y="28"/>
                  </a:lnTo>
                  <a:lnTo>
                    <a:pt x="68" y="26"/>
                  </a:lnTo>
                  <a:lnTo>
                    <a:pt x="70" y="24"/>
                  </a:lnTo>
                  <a:lnTo>
                    <a:pt x="78" y="22"/>
                  </a:lnTo>
                  <a:lnTo>
                    <a:pt x="78" y="22"/>
                  </a:lnTo>
                  <a:lnTo>
                    <a:pt x="84" y="20"/>
                  </a:lnTo>
                  <a:lnTo>
                    <a:pt x="84" y="18"/>
                  </a:lnTo>
                  <a:lnTo>
                    <a:pt x="84" y="16"/>
                  </a:lnTo>
                  <a:lnTo>
                    <a:pt x="84" y="16"/>
                  </a:lnTo>
                  <a:lnTo>
                    <a:pt x="94" y="14"/>
                  </a:lnTo>
                  <a:lnTo>
                    <a:pt x="94" y="14"/>
                  </a:lnTo>
                  <a:lnTo>
                    <a:pt x="108" y="14"/>
                  </a:lnTo>
                  <a:lnTo>
                    <a:pt x="118" y="14"/>
                  </a:lnTo>
                  <a:lnTo>
                    <a:pt x="126" y="14"/>
                  </a:lnTo>
                  <a:lnTo>
                    <a:pt x="136" y="14"/>
                  </a:lnTo>
                  <a:lnTo>
                    <a:pt x="136" y="14"/>
                  </a:lnTo>
                  <a:lnTo>
                    <a:pt x="146" y="12"/>
                  </a:lnTo>
                  <a:lnTo>
                    <a:pt x="152" y="14"/>
                  </a:lnTo>
                  <a:lnTo>
                    <a:pt x="158" y="14"/>
                  </a:lnTo>
                  <a:lnTo>
                    <a:pt x="166" y="12"/>
                  </a:lnTo>
                  <a:lnTo>
                    <a:pt x="166" y="12"/>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Greenland"/>
            <p:cNvSpPr>
              <a:spLocks/>
            </p:cNvSpPr>
            <p:nvPr/>
          </p:nvSpPr>
          <p:spPr bwMode="auto">
            <a:xfrm>
              <a:off x="3057226" y="1604698"/>
              <a:ext cx="47625" cy="18521"/>
            </a:xfrm>
            <a:custGeom>
              <a:avLst/>
              <a:gdLst/>
              <a:ahLst/>
              <a:cxnLst>
                <a:cxn ang="0">
                  <a:pos x="24" y="2"/>
                </a:cxn>
                <a:cxn ang="0">
                  <a:pos x="24" y="2"/>
                </a:cxn>
                <a:cxn ang="0">
                  <a:pos x="16" y="2"/>
                </a:cxn>
                <a:cxn ang="0">
                  <a:pos x="16" y="2"/>
                </a:cxn>
                <a:cxn ang="0">
                  <a:pos x="6" y="0"/>
                </a:cxn>
                <a:cxn ang="0">
                  <a:pos x="6" y="0"/>
                </a:cxn>
                <a:cxn ang="0">
                  <a:pos x="2" y="2"/>
                </a:cxn>
                <a:cxn ang="0">
                  <a:pos x="2" y="2"/>
                </a:cxn>
                <a:cxn ang="0">
                  <a:pos x="2" y="2"/>
                </a:cxn>
                <a:cxn ang="0">
                  <a:pos x="0" y="6"/>
                </a:cxn>
                <a:cxn ang="0">
                  <a:pos x="4" y="8"/>
                </a:cxn>
                <a:cxn ang="0">
                  <a:pos x="4" y="8"/>
                </a:cxn>
                <a:cxn ang="0">
                  <a:pos x="6" y="8"/>
                </a:cxn>
                <a:cxn ang="0">
                  <a:pos x="10" y="10"/>
                </a:cxn>
                <a:cxn ang="0">
                  <a:pos x="10" y="10"/>
                </a:cxn>
                <a:cxn ang="0">
                  <a:pos x="14" y="12"/>
                </a:cxn>
                <a:cxn ang="0">
                  <a:pos x="18" y="12"/>
                </a:cxn>
                <a:cxn ang="0">
                  <a:pos x="18" y="12"/>
                </a:cxn>
                <a:cxn ang="0">
                  <a:pos x="24" y="14"/>
                </a:cxn>
                <a:cxn ang="0">
                  <a:pos x="32" y="12"/>
                </a:cxn>
                <a:cxn ang="0">
                  <a:pos x="32" y="12"/>
                </a:cxn>
                <a:cxn ang="0">
                  <a:pos x="34" y="12"/>
                </a:cxn>
                <a:cxn ang="0">
                  <a:pos x="36" y="10"/>
                </a:cxn>
                <a:cxn ang="0">
                  <a:pos x="36" y="8"/>
                </a:cxn>
                <a:cxn ang="0">
                  <a:pos x="34" y="6"/>
                </a:cxn>
                <a:cxn ang="0">
                  <a:pos x="34" y="6"/>
                </a:cxn>
                <a:cxn ang="0">
                  <a:pos x="28" y="4"/>
                </a:cxn>
                <a:cxn ang="0">
                  <a:pos x="24" y="2"/>
                </a:cxn>
                <a:cxn ang="0">
                  <a:pos x="24" y="2"/>
                </a:cxn>
              </a:cxnLst>
              <a:rect l="0" t="0" r="r" b="b"/>
              <a:pathLst>
                <a:path w="36" h="14">
                  <a:moveTo>
                    <a:pt x="24" y="2"/>
                  </a:moveTo>
                  <a:lnTo>
                    <a:pt x="24" y="2"/>
                  </a:lnTo>
                  <a:lnTo>
                    <a:pt x="16" y="2"/>
                  </a:lnTo>
                  <a:lnTo>
                    <a:pt x="16" y="2"/>
                  </a:lnTo>
                  <a:lnTo>
                    <a:pt x="6" y="0"/>
                  </a:lnTo>
                  <a:lnTo>
                    <a:pt x="6" y="0"/>
                  </a:lnTo>
                  <a:lnTo>
                    <a:pt x="2" y="2"/>
                  </a:lnTo>
                  <a:lnTo>
                    <a:pt x="2" y="2"/>
                  </a:lnTo>
                  <a:lnTo>
                    <a:pt x="2" y="2"/>
                  </a:lnTo>
                  <a:lnTo>
                    <a:pt x="0" y="6"/>
                  </a:lnTo>
                  <a:lnTo>
                    <a:pt x="4" y="8"/>
                  </a:lnTo>
                  <a:lnTo>
                    <a:pt x="4" y="8"/>
                  </a:lnTo>
                  <a:lnTo>
                    <a:pt x="6" y="8"/>
                  </a:lnTo>
                  <a:lnTo>
                    <a:pt x="10" y="10"/>
                  </a:lnTo>
                  <a:lnTo>
                    <a:pt x="10" y="10"/>
                  </a:lnTo>
                  <a:lnTo>
                    <a:pt x="14" y="12"/>
                  </a:lnTo>
                  <a:lnTo>
                    <a:pt x="18" y="12"/>
                  </a:lnTo>
                  <a:lnTo>
                    <a:pt x="18" y="12"/>
                  </a:lnTo>
                  <a:lnTo>
                    <a:pt x="24" y="14"/>
                  </a:lnTo>
                  <a:lnTo>
                    <a:pt x="32" y="12"/>
                  </a:lnTo>
                  <a:lnTo>
                    <a:pt x="32" y="12"/>
                  </a:lnTo>
                  <a:lnTo>
                    <a:pt x="34" y="12"/>
                  </a:lnTo>
                  <a:lnTo>
                    <a:pt x="36" y="10"/>
                  </a:lnTo>
                  <a:lnTo>
                    <a:pt x="36" y="8"/>
                  </a:lnTo>
                  <a:lnTo>
                    <a:pt x="34" y="6"/>
                  </a:lnTo>
                  <a:lnTo>
                    <a:pt x="34" y="6"/>
                  </a:lnTo>
                  <a:lnTo>
                    <a:pt x="28" y="4"/>
                  </a:lnTo>
                  <a:lnTo>
                    <a:pt x="24" y="2"/>
                  </a:lnTo>
                  <a:lnTo>
                    <a:pt x="24" y="2"/>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129"/>
            <p:cNvSpPr>
              <a:spLocks/>
            </p:cNvSpPr>
            <p:nvPr/>
          </p:nvSpPr>
          <p:spPr bwMode="auto">
            <a:xfrm>
              <a:off x="5144788" y="1538552"/>
              <a:ext cx="140229" cy="58208"/>
            </a:xfrm>
            <a:custGeom>
              <a:avLst/>
              <a:gdLst/>
              <a:ahLst/>
              <a:cxnLst>
                <a:cxn ang="0">
                  <a:pos x="102" y="34"/>
                </a:cxn>
                <a:cxn ang="0">
                  <a:pos x="74" y="30"/>
                </a:cxn>
                <a:cxn ang="0">
                  <a:pos x="68" y="28"/>
                </a:cxn>
                <a:cxn ang="0">
                  <a:pos x="52" y="18"/>
                </a:cxn>
                <a:cxn ang="0">
                  <a:pos x="52" y="16"/>
                </a:cxn>
                <a:cxn ang="0">
                  <a:pos x="54" y="10"/>
                </a:cxn>
                <a:cxn ang="0">
                  <a:pos x="54" y="10"/>
                </a:cxn>
                <a:cxn ang="0">
                  <a:pos x="56" y="6"/>
                </a:cxn>
                <a:cxn ang="0">
                  <a:pos x="60" y="4"/>
                </a:cxn>
                <a:cxn ang="0">
                  <a:pos x="58" y="4"/>
                </a:cxn>
                <a:cxn ang="0">
                  <a:pos x="36" y="0"/>
                </a:cxn>
                <a:cxn ang="0">
                  <a:pos x="32" y="2"/>
                </a:cxn>
                <a:cxn ang="0">
                  <a:pos x="26" y="2"/>
                </a:cxn>
                <a:cxn ang="0">
                  <a:pos x="20" y="4"/>
                </a:cxn>
                <a:cxn ang="0">
                  <a:pos x="18" y="6"/>
                </a:cxn>
                <a:cxn ang="0">
                  <a:pos x="18" y="8"/>
                </a:cxn>
                <a:cxn ang="0">
                  <a:pos x="12" y="12"/>
                </a:cxn>
                <a:cxn ang="0">
                  <a:pos x="10" y="18"/>
                </a:cxn>
                <a:cxn ang="0">
                  <a:pos x="6" y="18"/>
                </a:cxn>
                <a:cxn ang="0">
                  <a:pos x="2" y="20"/>
                </a:cxn>
                <a:cxn ang="0">
                  <a:pos x="0" y="26"/>
                </a:cxn>
                <a:cxn ang="0">
                  <a:pos x="2" y="28"/>
                </a:cxn>
                <a:cxn ang="0">
                  <a:pos x="6" y="28"/>
                </a:cxn>
                <a:cxn ang="0">
                  <a:pos x="12" y="26"/>
                </a:cxn>
                <a:cxn ang="0">
                  <a:pos x="14" y="28"/>
                </a:cxn>
                <a:cxn ang="0">
                  <a:pos x="18" y="28"/>
                </a:cxn>
                <a:cxn ang="0">
                  <a:pos x="20" y="30"/>
                </a:cxn>
                <a:cxn ang="0">
                  <a:pos x="22" y="32"/>
                </a:cxn>
                <a:cxn ang="0">
                  <a:pos x="26" y="30"/>
                </a:cxn>
                <a:cxn ang="0">
                  <a:pos x="28" y="32"/>
                </a:cxn>
                <a:cxn ang="0">
                  <a:pos x="30" y="34"/>
                </a:cxn>
                <a:cxn ang="0">
                  <a:pos x="34" y="36"/>
                </a:cxn>
                <a:cxn ang="0">
                  <a:pos x="34" y="38"/>
                </a:cxn>
                <a:cxn ang="0">
                  <a:pos x="32" y="38"/>
                </a:cxn>
                <a:cxn ang="0">
                  <a:pos x="32" y="38"/>
                </a:cxn>
                <a:cxn ang="0">
                  <a:pos x="30" y="42"/>
                </a:cxn>
                <a:cxn ang="0">
                  <a:pos x="32" y="44"/>
                </a:cxn>
                <a:cxn ang="0">
                  <a:pos x="40" y="42"/>
                </a:cxn>
                <a:cxn ang="0">
                  <a:pos x="46" y="44"/>
                </a:cxn>
                <a:cxn ang="0">
                  <a:pos x="52" y="44"/>
                </a:cxn>
                <a:cxn ang="0">
                  <a:pos x="56" y="42"/>
                </a:cxn>
                <a:cxn ang="0">
                  <a:pos x="56" y="42"/>
                </a:cxn>
                <a:cxn ang="0">
                  <a:pos x="62" y="42"/>
                </a:cxn>
                <a:cxn ang="0">
                  <a:pos x="68" y="42"/>
                </a:cxn>
                <a:cxn ang="0">
                  <a:pos x="68" y="42"/>
                </a:cxn>
                <a:cxn ang="0">
                  <a:pos x="72" y="38"/>
                </a:cxn>
                <a:cxn ang="0">
                  <a:pos x="80" y="40"/>
                </a:cxn>
                <a:cxn ang="0">
                  <a:pos x="88" y="42"/>
                </a:cxn>
                <a:cxn ang="0">
                  <a:pos x="88" y="40"/>
                </a:cxn>
                <a:cxn ang="0">
                  <a:pos x="86" y="38"/>
                </a:cxn>
                <a:cxn ang="0">
                  <a:pos x="92" y="38"/>
                </a:cxn>
                <a:cxn ang="0">
                  <a:pos x="96" y="38"/>
                </a:cxn>
                <a:cxn ang="0">
                  <a:pos x="106" y="36"/>
                </a:cxn>
                <a:cxn ang="0">
                  <a:pos x="102" y="34"/>
                </a:cxn>
              </a:cxnLst>
              <a:rect l="0" t="0" r="r" b="b"/>
              <a:pathLst>
                <a:path w="106" h="44">
                  <a:moveTo>
                    <a:pt x="102" y="34"/>
                  </a:moveTo>
                  <a:lnTo>
                    <a:pt x="102" y="34"/>
                  </a:lnTo>
                  <a:lnTo>
                    <a:pt x="82" y="32"/>
                  </a:lnTo>
                  <a:lnTo>
                    <a:pt x="74" y="30"/>
                  </a:lnTo>
                  <a:lnTo>
                    <a:pt x="68" y="28"/>
                  </a:lnTo>
                  <a:lnTo>
                    <a:pt x="68" y="28"/>
                  </a:lnTo>
                  <a:lnTo>
                    <a:pt x="56" y="22"/>
                  </a:lnTo>
                  <a:lnTo>
                    <a:pt x="52" y="18"/>
                  </a:lnTo>
                  <a:lnTo>
                    <a:pt x="52" y="16"/>
                  </a:lnTo>
                  <a:lnTo>
                    <a:pt x="52" y="16"/>
                  </a:lnTo>
                  <a:lnTo>
                    <a:pt x="54" y="12"/>
                  </a:lnTo>
                  <a:lnTo>
                    <a:pt x="54" y="10"/>
                  </a:lnTo>
                  <a:lnTo>
                    <a:pt x="54" y="10"/>
                  </a:lnTo>
                  <a:lnTo>
                    <a:pt x="54" y="10"/>
                  </a:lnTo>
                  <a:lnTo>
                    <a:pt x="54" y="8"/>
                  </a:lnTo>
                  <a:lnTo>
                    <a:pt x="56" y="6"/>
                  </a:lnTo>
                  <a:lnTo>
                    <a:pt x="60" y="4"/>
                  </a:lnTo>
                  <a:lnTo>
                    <a:pt x="60" y="4"/>
                  </a:lnTo>
                  <a:lnTo>
                    <a:pt x="58" y="4"/>
                  </a:lnTo>
                  <a:lnTo>
                    <a:pt x="58" y="4"/>
                  </a:lnTo>
                  <a:lnTo>
                    <a:pt x="48" y="2"/>
                  </a:lnTo>
                  <a:lnTo>
                    <a:pt x="36" y="0"/>
                  </a:lnTo>
                  <a:lnTo>
                    <a:pt x="36" y="0"/>
                  </a:lnTo>
                  <a:lnTo>
                    <a:pt x="32" y="2"/>
                  </a:lnTo>
                  <a:lnTo>
                    <a:pt x="26" y="2"/>
                  </a:lnTo>
                  <a:lnTo>
                    <a:pt x="26" y="2"/>
                  </a:lnTo>
                  <a:lnTo>
                    <a:pt x="22" y="2"/>
                  </a:lnTo>
                  <a:lnTo>
                    <a:pt x="20" y="4"/>
                  </a:lnTo>
                  <a:lnTo>
                    <a:pt x="18" y="4"/>
                  </a:lnTo>
                  <a:lnTo>
                    <a:pt x="18" y="6"/>
                  </a:lnTo>
                  <a:lnTo>
                    <a:pt x="18" y="6"/>
                  </a:lnTo>
                  <a:lnTo>
                    <a:pt x="18" y="8"/>
                  </a:lnTo>
                  <a:lnTo>
                    <a:pt x="18" y="8"/>
                  </a:lnTo>
                  <a:lnTo>
                    <a:pt x="12" y="12"/>
                  </a:lnTo>
                  <a:lnTo>
                    <a:pt x="12" y="12"/>
                  </a:lnTo>
                  <a:lnTo>
                    <a:pt x="10" y="18"/>
                  </a:lnTo>
                  <a:lnTo>
                    <a:pt x="8" y="18"/>
                  </a:lnTo>
                  <a:lnTo>
                    <a:pt x="6" y="18"/>
                  </a:lnTo>
                  <a:lnTo>
                    <a:pt x="6" y="18"/>
                  </a:lnTo>
                  <a:lnTo>
                    <a:pt x="2" y="20"/>
                  </a:lnTo>
                  <a:lnTo>
                    <a:pt x="0" y="22"/>
                  </a:lnTo>
                  <a:lnTo>
                    <a:pt x="0" y="26"/>
                  </a:lnTo>
                  <a:lnTo>
                    <a:pt x="0" y="28"/>
                  </a:lnTo>
                  <a:lnTo>
                    <a:pt x="2" y="28"/>
                  </a:lnTo>
                  <a:lnTo>
                    <a:pt x="2" y="28"/>
                  </a:lnTo>
                  <a:lnTo>
                    <a:pt x="6" y="28"/>
                  </a:lnTo>
                  <a:lnTo>
                    <a:pt x="10" y="26"/>
                  </a:lnTo>
                  <a:lnTo>
                    <a:pt x="12" y="26"/>
                  </a:lnTo>
                  <a:lnTo>
                    <a:pt x="14" y="28"/>
                  </a:lnTo>
                  <a:lnTo>
                    <a:pt x="14" y="28"/>
                  </a:lnTo>
                  <a:lnTo>
                    <a:pt x="16" y="30"/>
                  </a:lnTo>
                  <a:lnTo>
                    <a:pt x="18" y="28"/>
                  </a:lnTo>
                  <a:lnTo>
                    <a:pt x="20" y="28"/>
                  </a:lnTo>
                  <a:lnTo>
                    <a:pt x="20" y="30"/>
                  </a:lnTo>
                  <a:lnTo>
                    <a:pt x="20" y="30"/>
                  </a:lnTo>
                  <a:lnTo>
                    <a:pt x="22" y="32"/>
                  </a:lnTo>
                  <a:lnTo>
                    <a:pt x="24" y="30"/>
                  </a:lnTo>
                  <a:lnTo>
                    <a:pt x="26" y="30"/>
                  </a:lnTo>
                  <a:lnTo>
                    <a:pt x="28" y="32"/>
                  </a:lnTo>
                  <a:lnTo>
                    <a:pt x="28" y="32"/>
                  </a:lnTo>
                  <a:lnTo>
                    <a:pt x="28" y="34"/>
                  </a:lnTo>
                  <a:lnTo>
                    <a:pt x="30" y="34"/>
                  </a:lnTo>
                  <a:lnTo>
                    <a:pt x="34" y="34"/>
                  </a:lnTo>
                  <a:lnTo>
                    <a:pt x="34" y="36"/>
                  </a:lnTo>
                  <a:lnTo>
                    <a:pt x="34" y="36"/>
                  </a:lnTo>
                  <a:lnTo>
                    <a:pt x="34" y="38"/>
                  </a:lnTo>
                  <a:lnTo>
                    <a:pt x="32" y="38"/>
                  </a:lnTo>
                  <a:lnTo>
                    <a:pt x="32" y="38"/>
                  </a:lnTo>
                  <a:lnTo>
                    <a:pt x="32" y="38"/>
                  </a:lnTo>
                  <a:lnTo>
                    <a:pt x="32" y="38"/>
                  </a:lnTo>
                  <a:lnTo>
                    <a:pt x="30" y="40"/>
                  </a:lnTo>
                  <a:lnTo>
                    <a:pt x="30" y="42"/>
                  </a:lnTo>
                  <a:lnTo>
                    <a:pt x="30" y="42"/>
                  </a:lnTo>
                  <a:lnTo>
                    <a:pt x="32" y="44"/>
                  </a:lnTo>
                  <a:lnTo>
                    <a:pt x="32" y="44"/>
                  </a:lnTo>
                  <a:lnTo>
                    <a:pt x="40" y="42"/>
                  </a:lnTo>
                  <a:lnTo>
                    <a:pt x="44" y="42"/>
                  </a:lnTo>
                  <a:lnTo>
                    <a:pt x="46" y="44"/>
                  </a:lnTo>
                  <a:lnTo>
                    <a:pt x="46" y="44"/>
                  </a:lnTo>
                  <a:lnTo>
                    <a:pt x="52" y="44"/>
                  </a:lnTo>
                  <a:lnTo>
                    <a:pt x="56" y="44"/>
                  </a:lnTo>
                  <a:lnTo>
                    <a:pt x="56" y="42"/>
                  </a:lnTo>
                  <a:lnTo>
                    <a:pt x="56" y="42"/>
                  </a:lnTo>
                  <a:lnTo>
                    <a:pt x="56" y="42"/>
                  </a:lnTo>
                  <a:lnTo>
                    <a:pt x="56" y="42"/>
                  </a:lnTo>
                  <a:lnTo>
                    <a:pt x="62" y="42"/>
                  </a:lnTo>
                  <a:lnTo>
                    <a:pt x="66" y="42"/>
                  </a:lnTo>
                  <a:lnTo>
                    <a:pt x="68" y="42"/>
                  </a:lnTo>
                  <a:lnTo>
                    <a:pt x="68" y="42"/>
                  </a:lnTo>
                  <a:lnTo>
                    <a:pt x="68" y="42"/>
                  </a:lnTo>
                  <a:lnTo>
                    <a:pt x="68" y="40"/>
                  </a:lnTo>
                  <a:lnTo>
                    <a:pt x="72" y="38"/>
                  </a:lnTo>
                  <a:lnTo>
                    <a:pt x="76" y="38"/>
                  </a:lnTo>
                  <a:lnTo>
                    <a:pt x="80" y="40"/>
                  </a:lnTo>
                  <a:lnTo>
                    <a:pt x="80" y="40"/>
                  </a:lnTo>
                  <a:lnTo>
                    <a:pt x="88" y="42"/>
                  </a:lnTo>
                  <a:lnTo>
                    <a:pt x="88" y="42"/>
                  </a:lnTo>
                  <a:lnTo>
                    <a:pt x="88" y="40"/>
                  </a:lnTo>
                  <a:lnTo>
                    <a:pt x="88" y="40"/>
                  </a:lnTo>
                  <a:lnTo>
                    <a:pt x="86" y="38"/>
                  </a:lnTo>
                  <a:lnTo>
                    <a:pt x="88" y="38"/>
                  </a:lnTo>
                  <a:lnTo>
                    <a:pt x="92" y="38"/>
                  </a:lnTo>
                  <a:lnTo>
                    <a:pt x="92" y="38"/>
                  </a:lnTo>
                  <a:lnTo>
                    <a:pt x="96" y="38"/>
                  </a:lnTo>
                  <a:lnTo>
                    <a:pt x="102" y="38"/>
                  </a:lnTo>
                  <a:lnTo>
                    <a:pt x="106" y="36"/>
                  </a:lnTo>
                  <a:lnTo>
                    <a:pt x="102" y="34"/>
                  </a:lnTo>
                  <a:lnTo>
                    <a:pt x="102" y="34"/>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130"/>
            <p:cNvSpPr>
              <a:spLocks/>
            </p:cNvSpPr>
            <p:nvPr/>
          </p:nvSpPr>
          <p:spPr bwMode="auto">
            <a:xfrm>
              <a:off x="5176538" y="1488281"/>
              <a:ext cx="209021" cy="50271"/>
            </a:xfrm>
            <a:custGeom>
              <a:avLst/>
              <a:gdLst/>
              <a:ahLst/>
              <a:cxnLst>
                <a:cxn ang="0">
                  <a:pos x="4" y="38"/>
                </a:cxn>
                <a:cxn ang="0">
                  <a:pos x="22" y="38"/>
                </a:cxn>
                <a:cxn ang="0">
                  <a:pos x="30" y="38"/>
                </a:cxn>
                <a:cxn ang="0">
                  <a:pos x="36" y="38"/>
                </a:cxn>
                <a:cxn ang="0">
                  <a:pos x="38" y="32"/>
                </a:cxn>
                <a:cxn ang="0">
                  <a:pos x="44" y="32"/>
                </a:cxn>
                <a:cxn ang="0">
                  <a:pos x="52" y="32"/>
                </a:cxn>
                <a:cxn ang="0">
                  <a:pos x="50" y="30"/>
                </a:cxn>
                <a:cxn ang="0">
                  <a:pos x="58" y="30"/>
                </a:cxn>
                <a:cxn ang="0">
                  <a:pos x="64" y="30"/>
                </a:cxn>
                <a:cxn ang="0">
                  <a:pos x="64" y="28"/>
                </a:cxn>
                <a:cxn ang="0">
                  <a:pos x="64" y="28"/>
                </a:cxn>
                <a:cxn ang="0">
                  <a:pos x="74" y="28"/>
                </a:cxn>
                <a:cxn ang="0">
                  <a:pos x="74" y="26"/>
                </a:cxn>
                <a:cxn ang="0">
                  <a:pos x="74" y="24"/>
                </a:cxn>
                <a:cxn ang="0">
                  <a:pos x="82" y="24"/>
                </a:cxn>
                <a:cxn ang="0">
                  <a:pos x="88" y="24"/>
                </a:cxn>
                <a:cxn ang="0">
                  <a:pos x="88" y="22"/>
                </a:cxn>
                <a:cxn ang="0">
                  <a:pos x="88" y="20"/>
                </a:cxn>
                <a:cxn ang="0">
                  <a:pos x="100" y="20"/>
                </a:cxn>
                <a:cxn ang="0">
                  <a:pos x="104" y="20"/>
                </a:cxn>
                <a:cxn ang="0">
                  <a:pos x="110" y="18"/>
                </a:cxn>
                <a:cxn ang="0">
                  <a:pos x="116" y="18"/>
                </a:cxn>
                <a:cxn ang="0">
                  <a:pos x="114" y="18"/>
                </a:cxn>
                <a:cxn ang="0">
                  <a:pos x="116" y="16"/>
                </a:cxn>
                <a:cxn ang="0">
                  <a:pos x="130" y="16"/>
                </a:cxn>
                <a:cxn ang="0">
                  <a:pos x="132" y="16"/>
                </a:cxn>
                <a:cxn ang="0">
                  <a:pos x="134" y="14"/>
                </a:cxn>
                <a:cxn ang="0">
                  <a:pos x="140" y="14"/>
                </a:cxn>
                <a:cxn ang="0">
                  <a:pos x="148" y="14"/>
                </a:cxn>
                <a:cxn ang="0">
                  <a:pos x="148" y="14"/>
                </a:cxn>
                <a:cxn ang="0">
                  <a:pos x="150" y="12"/>
                </a:cxn>
                <a:cxn ang="0">
                  <a:pos x="158" y="10"/>
                </a:cxn>
                <a:cxn ang="0">
                  <a:pos x="158" y="6"/>
                </a:cxn>
                <a:cxn ang="0">
                  <a:pos x="154" y="2"/>
                </a:cxn>
                <a:cxn ang="0">
                  <a:pos x="140" y="4"/>
                </a:cxn>
                <a:cxn ang="0">
                  <a:pos x="130" y="6"/>
                </a:cxn>
                <a:cxn ang="0">
                  <a:pos x="116" y="8"/>
                </a:cxn>
                <a:cxn ang="0">
                  <a:pos x="90" y="6"/>
                </a:cxn>
                <a:cxn ang="0">
                  <a:pos x="90" y="8"/>
                </a:cxn>
                <a:cxn ang="0">
                  <a:pos x="90" y="8"/>
                </a:cxn>
                <a:cxn ang="0">
                  <a:pos x="82" y="10"/>
                </a:cxn>
                <a:cxn ang="0">
                  <a:pos x="74" y="10"/>
                </a:cxn>
                <a:cxn ang="0">
                  <a:pos x="74" y="10"/>
                </a:cxn>
                <a:cxn ang="0">
                  <a:pos x="58" y="10"/>
                </a:cxn>
                <a:cxn ang="0">
                  <a:pos x="58" y="10"/>
                </a:cxn>
                <a:cxn ang="0">
                  <a:pos x="58" y="12"/>
                </a:cxn>
                <a:cxn ang="0">
                  <a:pos x="48" y="14"/>
                </a:cxn>
                <a:cxn ang="0">
                  <a:pos x="36" y="18"/>
                </a:cxn>
                <a:cxn ang="0">
                  <a:pos x="38" y="18"/>
                </a:cxn>
                <a:cxn ang="0">
                  <a:pos x="18" y="20"/>
                </a:cxn>
                <a:cxn ang="0">
                  <a:pos x="16" y="22"/>
                </a:cxn>
                <a:cxn ang="0">
                  <a:pos x="16" y="22"/>
                </a:cxn>
                <a:cxn ang="0">
                  <a:pos x="8" y="26"/>
                </a:cxn>
                <a:cxn ang="0">
                  <a:pos x="2" y="28"/>
                </a:cxn>
                <a:cxn ang="0">
                  <a:pos x="2" y="30"/>
                </a:cxn>
                <a:cxn ang="0">
                  <a:pos x="0" y="36"/>
                </a:cxn>
                <a:cxn ang="0">
                  <a:pos x="4" y="38"/>
                </a:cxn>
              </a:cxnLst>
              <a:rect l="0" t="0" r="r" b="b"/>
              <a:pathLst>
                <a:path w="158" h="38">
                  <a:moveTo>
                    <a:pt x="4" y="38"/>
                  </a:moveTo>
                  <a:lnTo>
                    <a:pt x="4" y="38"/>
                  </a:lnTo>
                  <a:lnTo>
                    <a:pt x="14" y="36"/>
                  </a:lnTo>
                  <a:lnTo>
                    <a:pt x="22" y="38"/>
                  </a:lnTo>
                  <a:lnTo>
                    <a:pt x="22" y="38"/>
                  </a:lnTo>
                  <a:lnTo>
                    <a:pt x="30" y="38"/>
                  </a:lnTo>
                  <a:lnTo>
                    <a:pt x="36" y="38"/>
                  </a:lnTo>
                  <a:lnTo>
                    <a:pt x="36" y="38"/>
                  </a:lnTo>
                  <a:lnTo>
                    <a:pt x="40" y="34"/>
                  </a:lnTo>
                  <a:lnTo>
                    <a:pt x="38" y="32"/>
                  </a:lnTo>
                  <a:lnTo>
                    <a:pt x="38" y="32"/>
                  </a:lnTo>
                  <a:lnTo>
                    <a:pt x="44" y="32"/>
                  </a:lnTo>
                  <a:lnTo>
                    <a:pt x="50" y="32"/>
                  </a:lnTo>
                  <a:lnTo>
                    <a:pt x="52" y="32"/>
                  </a:lnTo>
                  <a:lnTo>
                    <a:pt x="52" y="32"/>
                  </a:lnTo>
                  <a:lnTo>
                    <a:pt x="50" y="30"/>
                  </a:lnTo>
                  <a:lnTo>
                    <a:pt x="52" y="30"/>
                  </a:lnTo>
                  <a:lnTo>
                    <a:pt x="58" y="30"/>
                  </a:lnTo>
                  <a:lnTo>
                    <a:pt x="62" y="30"/>
                  </a:lnTo>
                  <a:lnTo>
                    <a:pt x="64" y="30"/>
                  </a:lnTo>
                  <a:lnTo>
                    <a:pt x="64" y="28"/>
                  </a:lnTo>
                  <a:lnTo>
                    <a:pt x="64" y="28"/>
                  </a:lnTo>
                  <a:lnTo>
                    <a:pt x="64" y="28"/>
                  </a:lnTo>
                  <a:lnTo>
                    <a:pt x="64" y="28"/>
                  </a:lnTo>
                  <a:lnTo>
                    <a:pt x="70" y="28"/>
                  </a:lnTo>
                  <a:lnTo>
                    <a:pt x="74" y="28"/>
                  </a:lnTo>
                  <a:lnTo>
                    <a:pt x="76" y="28"/>
                  </a:lnTo>
                  <a:lnTo>
                    <a:pt x="74" y="26"/>
                  </a:lnTo>
                  <a:lnTo>
                    <a:pt x="74" y="26"/>
                  </a:lnTo>
                  <a:lnTo>
                    <a:pt x="74" y="24"/>
                  </a:lnTo>
                  <a:lnTo>
                    <a:pt x="76" y="24"/>
                  </a:lnTo>
                  <a:lnTo>
                    <a:pt x="82" y="24"/>
                  </a:lnTo>
                  <a:lnTo>
                    <a:pt x="86" y="24"/>
                  </a:lnTo>
                  <a:lnTo>
                    <a:pt x="88" y="24"/>
                  </a:lnTo>
                  <a:lnTo>
                    <a:pt x="88" y="22"/>
                  </a:lnTo>
                  <a:lnTo>
                    <a:pt x="88" y="22"/>
                  </a:lnTo>
                  <a:lnTo>
                    <a:pt x="86" y="20"/>
                  </a:lnTo>
                  <a:lnTo>
                    <a:pt x="88" y="20"/>
                  </a:lnTo>
                  <a:lnTo>
                    <a:pt x="94" y="20"/>
                  </a:lnTo>
                  <a:lnTo>
                    <a:pt x="100" y="20"/>
                  </a:lnTo>
                  <a:lnTo>
                    <a:pt x="104" y="20"/>
                  </a:lnTo>
                  <a:lnTo>
                    <a:pt x="104" y="20"/>
                  </a:lnTo>
                  <a:lnTo>
                    <a:pt x="106" y="18"/>
                  </a:lnTo>
                  <a:lnTo>
                    <a:pt x="110" y="18"/>
                  </a:lnTo>
                  <a:lnTo>
                    <a:pt x="114" y="18"/>
                  </a:lnTo>
                  <a:lnTo>
                    <a:pt x="116" y="18"/>
                  </a:lnTo>
                  <a:lnTo>
                    <a:pt x="114" y="18"/>
                  </a:lnTo>
                  <a:lnTo>
                    <a:pt x="114" y="18"/>
                  </a:lnTo>
                  <a:lnTo>
                    <a:pt x="116" y="16"/>
                  </a:lnTo>
                  <a:lnTo>
                    <a:pt x="116" y="16"/>
                  </a:lnTo>
                  <a:lnTo>
                    <a:pt x="124" y="16"/>
                  </a:lnTo>
                  <a:lnTo>
                    <a:pt x="130" y="16"/>
                  </a:lnTo>
                  <a:lnTo>
                    <a:pt x="132" y="16"/>
                  </a:lnTo>
                  <a:lnTo>
                    <a:pt x="132" y="16"/>
                  </a:lnTo>
                  <a:lnTo>
                    <a:pt x="132" y="16"/>
                  </a:lnTo>
                  <a:lnTo>
                    <a:pt x="134" y="14"/>
                  </a:lnTo>
                  <a:lnTo>
                    <a:pt x="134" y="14"/>
                  </a:lnTo>
                  <a:lnTo>
                    <a:pt x="140" y="14"/>
                  </a:lnTo>
                  <a:lnTo>
                    <a:pt x="146" y="16"/>
                  </a:lnTo>
                  <a:lnTo>
                    <a:pt x="148" y="14"/>
                  </a:lnTo>
                  <a:lnTo>
                    <a:pt x="148" y="14"/>
                  </a:lnTo>
                  <a:lnTo>
                    <a:pt x="148" y="14"/>
                  </a:lnTo>
                  <a:lnTo>
                    <a:pt x="148" y="12"/>
                  </a:lnTo>
                  <a:lnTo>
                    <a:pt x="150" y="12"/>
                  </a:lnTo>
                  <a:lnTo>
                    <a:pt x="154" y="12"/>
                  </a:lnTo>
                  <a:lnTo>
                    <a:pt x="158" y="10"/>
                  </a:lnTo>
                  <a:lnTo>
                    <a:pt x="158" y="8"/>
                  </a:lnTo>
                  <a:lnTo>
                    <a:pt x="158" y="6"/>
                  </a:lnTo>
                  <a:lnTo>
                    <a:pt x="158" y="6"/>
                  </a:lnTo>
                  <a:lnTo>
                    <a:pt x="154" y="2"/>
                  </a:lnTo>
                  <a:lnTo>
                    <a:pt x="148" y="0"/>
                  </a:lnTo>
                  <a:lnTo>
                    <a:pt x="140" y="4"/>
                  </a:lnTo>
                  <a:lnTo>
                    <a:pt x="140" y="4"/>
                  </a:lnTo>
                  <a:lnTo>
                    <a:pt x="130" y="6"/>
                  </a:lnTo>
                  <a:lnTo>
                    <a:pt x="116" y="8"/>
                  </a:lnTo>
                  <a:lnTo>
                    <a:pt x="116" y="8"/>
                  </a:lnTo>
                  <a:lnTo>
                    <a:pt x="98" y="8"/>
                  </a:lnTo>
                  <a:lnTo>
                    <a:pt x="90" y="6"/>
                  </a:lnTo>
                  <a:lnTo>
                    <a:pt x="88" y="8"/>
                  </a:lnTo>
                  <a:lnTo>
                    <a:pt x="90" y="8"/>
                  </a:lnTo>
                  <a:lnTo>
                    <a:pt x="90" y="8"/>
                  </a:lnTo>
                  <a:lnTo>
                    <a:pt x="90" y="8"/>
                  </a:lnTo>
                  <a:lnTo>
                    <a:pt x="88" y="10"/>
                  </a:lnTo>
                  <a:lnTo>
                    <a:pt x="82" y="10"/>
                  </a:lnTo>
                  <a:lnTo>
                    <a:pt x="74" y="10"/>
                  </a:lnTo>
                  <a:lnTo>
                    <a:pt x="74" y="10"/>
                  </a:lnTo>
                  <a:lnTo>
                    <a:pt x="74" y="10"/>
                  </a:lnTo>
                  <a:lnTo>
                    <a:pt x="74" y="10"/>
                  </a:lnTo>
                  <a:lnTo>
                    <a:pt x="64" y="10"/>
                  </a:lnTo>
                  <a:lnTo>
                    <a:pt x="58" y="10"/>
                  </a:lnTo>
                  <a:lnTo>
                    <a:pt x="56" y="10"/>
                  </a:lnTo>
                  <a:lnTo>
                    <a:pt x="58" y="10"/>
                  </a:lnTo>
                  <a:lnTo>
                    <a:pt x="58" y="10"/>
                  </a:lnTo>
                  <a:lnTo>
                    <a:pt x="58" y="12"/>
                  </a:lnTo>
                  <a:lnTo>
                    <a:pt x="56" y="12"/>
                  </a:lnTo>
                  <a:lnTo>
                    <a:pt x="48" y="14"/>
                  </a:lnTo>
                  <a:lnTo>
                    <a:pt x="38" y="16"/>
                  </a:lnTo>
                  <a:lnTo>
                    <a:pt x="36" y="18"/>
                  </a:lnTo>
                  <a:lnTo>
                    <a:pt x="38" y="18"/>
                  </a:lnTo>
                  <a:lnTo>
                    <a:pt x="38" y="18"/>
                  </a:lnTo>
                  <a:lnTo>
                    <a:pt x="28" y="18"/>
                  </a:lnTo>
                  <a:lnTo>
                    <a:pt x="18" y="20"/>
                  </a:lnTo>
                  <a:lnTo>
                    <a:pt x="16" y="20"/>
                  </a:lnTo>
                  <a:lnTo>
                    <a:pt x="16" y="22"/>
                  </a:lnTo>
                  <a:lnTo>
                    <a:pt x="16" y="22"/>
                  </a:lnTo>
                  <a:lnTo>
                    <a:pt x="16" y="22"/>
                  </a:lnTo>
                  <a:lnTo>
                    <a:pt x="14" y="24"/>
                  </a:lnTo>
                  <a:lnTo>
                    <a:pt x="8" y="26"/>
                  </a:lnTo>
                  <a:lnTo>
                    <a:pt x="4" y="28"/>
                  </a:lnTo>
                  <a:lnTo>
                    <a:pt x="2" y="28"/>
                  </a:lnTo>
                  <a:lnTo>
                    <a:pt x="2" y="30"/>
                  </a:lnTo>
                  <a:lnTo>
                    <a:pt x="2" y="30"/>
                  </a:lnTo>
                  <a:lnTo>
                    <a:pt x="2" y="32"/>
                  </a:lnTo>
                  <a:lnTo>
                    <a:pt x="0" y="36"/>
                  </a:lnTo>
                  <a:lnTo>
                    <a:pt x="0" y="38"/>
                  </a:lnTo>
                  <a:lnTo>
                    <a:pt x="4" y="38"/>
                  </a:lnTo>
                  <a:lnTo>
                    <a:pt x="4" y="38"/>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132"/>
            <p:cNvSpPr>
              <a:spLocks/>
            </p:cNvSpPr>
            <p:nvPr/>
          </p:nvSpPr>
          <p:spPr bwMode="auto">
            <a:xfrm>
              <a:off x="8280101" y="3761052"/>
              <a:ext cx="119063" cy="68792"/>
            </a:xfrm>
            <a:custGeom>
              <a:avLst/>
              <a:gdLst/>
              <a:ahLst/>
              <a:cxnLst>
                <a:cxn ang="0">
                  <a:pos x="10" y="42"/>
                </a:cxn>
                <a:cxn ang="0">
                  <a:pos x="0" y="34"/>
                </a:cxn>
                <a:cxn ang="0">
                  <a:pos x="2" y="30"/>
                </a:cxn>
                <a:cxn ang="0">
                  <a:pos x="10" y="28"/>
                </a:cxn>
                <a:cxn ang="0">
                  <a:pos x="18" y="28"/>
                </a:cxn>
                <a:cxn ang="0">
                  <a:pos x="22" y="26"/>
                </a:cxn>
                <a:cxn ang="0">
                  <a:pos x="24" y="28"/>
                </a:cxn>
                <a:cxn ang="0">
                  <a:pos x="26" y="26"/>
                </a:cxn>
                <a:cxn ang="0">
                  <a:pos x="30" y="22"/>
                </a:cxn>
                <a:cxn ang="0">
                  <a:pos x="32" y="20"/>
                </a:cxn>
                <a:cxn ang="0">
                  <a:pos x="34" y="20"/>
                </a:cxn>
                <a:cxn ang="0">
                  <a:pos x="34" y="24"/>
                </a:cxn>
                <a:cxn ang="0">
                  <a:pos x="36" y="26"/>
                </a:cxn>
                <a:cxn ang="0">
                  <a:pos x="42" y="24"/>
                </a:cxn>
                <a:cxn ang="0">
                  <a:pos x="48" y="26"/>
                </a:cxn>
                <a:cxn ang="0">
                  <a:pos x="54" y="22"/>
                </a:cxn>
                <a:cxn ang="0">
                  <a:pos x="64" y="18"/>
                </a:cxn>
                <a:cxn ang="0">
                  <a:pos x="66" y="16"/>
                </a:cxn>
                <a:cxn ang="0">
                  <a:pos x="66" y="14"/>
                </a:cxn>
                <a:cxn ang="0">
                  <a:pos x="72" y="12"/>
                </a:cxn>
                <a:cxn ang="0">
                  <a:pos x="70" y="8"/>
                </a:cxn>
                <a:cxn ang="0">
                  <a:pos x="66" y="0"/>
                </a:cxn>
                <a:cxn ang="0">
                  <a:pos x="70" y="0"/>
                </a:cxn>
                <a:cxn ang="0">
                  <a:pos x="76" y="2"/>
                </a:cxn>
                <a:cxn ang="0">
                  <a:pos x="80" y="2"/>
                </a:cxn>
                <a:cxn ang="0">
                  <a:pos x="82" y="0"/>
                </a:cxn>
                <a:cxn ang="0">
                  <a:pos x="86" y="2"/>
                </a:cxn>
                <a:cxn ang="0">
                  <a:pos x="86" y="4"/>
                </a:cxn>
                <a:cxn ang="0">
                  <a:pos x="88" y="6"/>
                </a:cxn>
                <a:cxn ang="0">
                  <a:pos x="90" y="12"/>
                </a:cxn>
                <a:cxn ang="0">
                  <a:pos x="88" y="16"/>
                </a:cxn>
                <a:cxn ang="0">
                  <a:pos x="84" y="20"/>
                </a:cxn>
                <a:cxn ang="0">
                  <a:pos x="86" y="26"/>
                </a:cxn>
                <a:cxn ang="0">
                  <a:pos x="80" y="32"/>
                </a:cxn>
                <a:cxn ang="0">
                  <a:pos x="80" y="32"/>
                </a:cxn>
                <a:cxn ang="0">
                  <a:pos x="76" y="28"/>
                </a:cxn>
                <a:cxn ang="0">
                  <a:pos x="74" y="30"/>
                </a:cxn>
                <a:cxn ang="0">
                  <a:pos x="76" y="32"/>
                </a:cxn>
                <a:cxn ang="0">
                  <a:pos x="74" y="36"/>
                </a:cxn>
                <a:cxn ang="0">
                  <a:pos x="66" y="44"/>
                </a:cxn>
                <a:cxn ang="0">
                  <a:pos x="58" y="46"/>
                </a:cxn>
                <a:cxn ang="0">
                  <a:pos x="54" y="48"/>
                </a:cxn>
                <a:cxn ang="0">
                  <a:pos x="46" y="52"/>
                </a:cxn>
                <a:cxn ang="0">
                  <a:pos x="38" y="52"/>
                </a:cxn>
                <a:cxn ang="0">
                  <a:pos x="34" y="52"/>
                </a:cxn>
                <a:cxn ang="0">
                  <a:pos x="26" y="48"/>
                </a:cxn>
                <a:cxn ang="0">
                  <a:pos x="22" y="50"/>
                </a:cxn>
                <a:cxn ang="0">
                  <a:pos x="16" y="50"/>
                </a:cxn>
                <a:cxn ang="0">
                  <a:pos x="10" y="42"/>
                </a:cxn>
              </a:cxnLst>
              <a:rect l="0" t="0" r="r" b="b"/>
              <a:pathLst>
                <a:path w="90" h="52">
                  <a:moveTo>
                    <a:pt x="10" y="42"/>
                  </a:moveTo>
                  <a:lnTo>
                    <a:pt x="10" y="42"/>
                  </a:lnTo>
                  <a:lnTo>
                    <a:pt x="2" y="36"/>
                  </a:lnTo>
                  <a:lnTo>
                    <a:pt x="0" y="34"/>
                  </a:lnTo>
                  <a:lnTo>
                    <a:pt x="2" y="30"/>
                  </a:lnTo>
                  <a:lnTo>
                    <a:pt x="2" y="30"/>
                  </a:lnTo>
                  <a:lnTo>
                    <a:pt x="6" y="28"/>
                  </a:lnTo>
                  <a:lnTo>
                    <a:pt x="10" y="28"/>
                  </a:lnTo>
                  <a:lnTo>
                    <a:pt x="14" y="30"/>
                  </a:lnTo>
                  <a:lnTo>
                    <a:pt x="18" y="28"/>
                  </a:lnTo>
                  <a:lnTo>
                    <a:pt x="18" y="28"/>
                  </a:lnTo>
                  <a:lnTo>
                    <a:pt x="22" y="26"/>
                  </a:lnTo>
                  <a:lnTo>
                    <a:pt x="22" y="28"/>
                  </a:lnTo>
                  <a:lnTo>
                    <a:pt x="24" y="28"/>
                  </a:lnTo>
                  <a:lnTo>
                    <a:pt x="26" y="26"/>
                  </a:lnTo>
                  <a:lnTo>
                    <a:pt x="26" y="26"/>
                  </a:lnTo>
                  <a:lnTo>
                    <a:pt x="30" y="24"/>
                  </a:lnTo>
                  <a:lnTo>
                    <a:pt x="30" y="22"/>
                  </a:lnTo>
                  <a:lnTo>
                    <a:pt x="28" y="22"/>
                  </a:lnTo>
                  <a:lnTo>
                    <a:pt x="32" y="20"/>
                  </a:lnTo>
                  <a:lnTo>
                    <a:pt x="32" y="20"/>
                  </a:lnTo>
                  <a:lnTo>
                    <a:pt x="34" y="20"/>
                  </a:lnTo>
                  <a:lnTo>
                    <a:pt x="34" y="20"/>
                  </a:lnTo>
                  <a:lnTo>
                    <a:pt x="34" y="24"/>
                  </a:lnTo>
                  <a:lnTo>
                    <a:pt x="34" y="28"/>
                  </a:lnTo>
                  <a:lnTo>
                    <a:pt x="36" y="26"/>
                  </a:lnTo>
                  <a:lnTo>
                    <a:pt x="36" y="26"/>
                  </a:lnTo>
                  <a:lnTo>
                    <a:pt x="42" y="24"/>
                  </a:lnTo>
                  <a:lnTo>
                    <a:pt x="44" y="24"/>
                  </a:lnTo>
                  <a:lnTo>
                    <a:pt x="48" y="26"/>
                  </a:lnTo>
                  <a:lnTo>
                    <a:pt x="54" y="22"/>
                  </a:lnTo>
                  <a:lnTo>
                    <a:pt x="54" y="22"/>
                  </a:lnTo>
                  <a:lnTo>
                    <a:pt x="60" y="20"/>
                  </a:lnTo>
                  <a:lnTo>
                    <a:pt x="64" y="18"/>
                  </a:lnTo>
                  <a:lnTo>
                    <a:pt x="66" y="18"/>
                  </a:lnTo>
                  <a:lnTo>
                    <a:pt x="66" y="16"/>
                  </a:lnTo>
                  <a:lnTo>
                    <a:pt x="66" y="16"/>
                  </a:lnTo>
                  <a:lnTo>
                    <a:pt x="66" y="14"/>
                  </a:lnTo>
                  <a:lnTo>
                    <a:pt x="70" y="14"/>
                  </a:lnTo>
                  <a:lnTo>
                    <a:pt x="72" y="12"/>
                  </a:lnTo>
                  <a:lnTo>
                    <a:pt x="70" y="8"/>
                  </a:lnTo>
                  <a:lnTo>
                    <a:pt x="70" y="8"/>
                  </a:lnTo>
                  <a:lnTo>
                    <a:pt x="68" y="2"/>
                  </a:lnTo>
                  <a:lnTo>
                    <a:pt x="66" y="0"/>
                  </a:lnTo>
                  <a:lnTo>
                    <a:pt x="70" y="0"/>
                  </a:lnTo>
                  <a:lnTo>
                    <a:pt x="70" y="0"/>
                  </a:lnTo>
                  <a:lnTo>
                    <a:pt x="74" y="0"/>
                  </a:lnTo>
                  <a:lnTo>
                    <a:pt x="76" y="2"/>
                  </a:lnTo>
                  <a:lnTo>
                    <a:pt x="78" y="2"/>
                  </a:lnTo>
                  <a:lnTo>
                    <a:pt x="80" y="2"/>
                  </a:lnTo>
                  <a:lnTo>
                    <a:pt x="80" y="2"/>
                  </a:lnTo>
                  <a:lnTo>
                    <a:pt x="82" y="0"/>
                  </a:lnTo>
                  <a:lnTo>
                    <a:pt x="84" y="2"/>
                  </a:lnTo>
                  <a:lnTo>
                    <a:pt x="86" y="2"/>
                  </a:lnTo>
                  <a:lnTo>
                    <a:pt x="86" y="4"/>
                  </a:lnTo>
                  <a:lnTo>
                    <a:pt x="86" y="4"/>
                  </a:lnTo>
                  <a:lnTo>
                    <a:pt x="88" y="4"/>
                  </a:lnTo>
                  <a:lnTo>
                    <a:pt x="88" y="6"/>
                  </a:lnTo>
                  <a:lnTo>
                    <a:pt x="90" y="12"/>
                  </a:lnTo>
                  <a:lnTo>
                    <a:pt x="90" y="12"/>
                  </a:lnTo>
                  <a:lnTo>
                    <a:pt x="90" y="16"/>
                  </a:lnTo>
                  <a:lnTo>
                    <a:pt x="88" y="16"/>
                  </a:lnTo>
                  <a:lnTo>
                    <a:pt x="84" y="16"/>
                  </a:lnTo>
                  <a:lnTo>
                    <a:pt x="84" y="20"/>
                  </a:lnTo>
                  <a:lnTo>
                    <a:pt x="84" y="20"/>
                  </a:lnTo>
                  <a:lnTo>
                    <a:pt x="86" y="26"/>
                  </a:lnTo>
                  <a:lnTo>
                    <a:pt x="84" y="28"/>
                  </a:lnTo>
                  <a:lnTo>
                    <a:pt x="80" y="32"/>
                  </a:lnTo>
                  <a:lnTo>
                    <a:pt x="80" y="32"/>
                  </a:lnTo>
                  <a:lnTo>
                    <a:pt x="80" y="32"/>
                  </a:lnTo>
                  <a:lnTo>
                    <a:pt x="78" y="30"/>
                  </a:lnTo>
                  <a:lnTo>
                    <a:pt x="76" y="28"/>
                  </a:lnTo>
                  <a:lnTo>
                    <a:pt x="74" y="30"/>
                  </a:lnTo>
                  <a:lnTo>
                    <a:pt x="74" y="30"/>
                  </a:lnTo>
                  <a:lnTo>
                    <a:pt x="72" y="32"/>
                  </a:lnTo>
                  <a:lnTo>
                    <a:pt x="76" y="32"/>
                  </a:lnTo>
                  <a:lnTo>
                    <a:pt x="78" y="32"/>
                  </a:lnTo>
                  <a:lnTo>
                    <a:pt x="74" y="36"/>
                  </a:lnTo>
                  <a:lnTo>
                    <a:pt x="74" y="36"/>
                  </a:lnTo>
                  <a:lnTo>
                    <a:pt x="66" y="44"/>
                  </a:lnTo>
                  <a:lnTo>
                    <a:pt x="60" y="46"/>
                  </a:lnTo>
                  <a:lnTo>
                    <a:pt x="58" y="46"/>
                  </a:lnTo>
                  <a:lnTo>
                    <a:pt x="54" y="48"/>
                  </a:lnTo>
                  <a:lnTo>
                    <a:pt x="54" y="48"/>
                  </a:lnTo>
                  <a:lnTo>
                    <a:pt x="48" y="52"/>
                  </a:lnTo>
                  <a:lnTo>
                    <a:pt x="46" y="52"/>
                  </a:lnTo>
                  <a:lnTo>
                    <a:pt x="44" y="50"/>
                  </a:lnTo>
                  <a:lnTo>
                    <a:pt x="38" y="52"/>
                  </a:lnTo>
                  <a:lnTo>
                    <a:pt x="38" y="52"/>
                  </a:lnTo>
                  <a:lnTo>
                    <a:pt x="34" y="52"/>
                  </a:lnTo>
                  <a:lnTo>
                    <a:pt x="30" y="50"/>
                  </a:lnTo>
                  <a:lnTo>
                    <a:pt x="26" y="48"/>
                  </a:lnTo>
                  <a:lnTo>
                    <a:pt x="22" y="50"/>
                  </a:lnTo>
                  <a:lnTo>
                    <a:pt x="22" y="50"/>
                  </a:lnTo>
                  <a:lnTo>
                    <a:pt x="18" y="52"/>
                  </a:lnTo>
                  <a:lnTo>
                    <a:pt x="16" y="50"/>
                  </a:lnTo>
                  <a:lnTo>
                    <a:pt x="14" y="46"/>
                  </a:lnTo>
                  <a:lnTo>
                    <a:pt x="10" y="42"/>
                  </a:lnTo>
                  <a:lnTo>
                    <a:pt x="10" y="42"/>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133"/>
            <p:cNvSpPr>
              <a:spLocks/>
            </p:cNvSpPr>
            <p:nvPr/>
          </p:nvSpPr>
          <p:spPr bwMode="auto">
            <a:xfrm>
              <a:off x="8370059" y="3716073"/>
              <a:ext cx="55563" cy="60854"/>
            </a:xfrm>
            <a:custGeom>
              <a:avLst/>
              <a:gdLst/>
              <a:ahLst/>
              <a:cxnLst>
                <a:cxn ang="0">
                  <a:pos x="34" y="46"/>
                </a:cxn>
                <a:cxn ang="0">
                  <a:pos x="34" y="46"/>
                </a:cxn>
                <a:cxn ang="0">
                  <a:pos x="32" y="46"/>
                </a:cxn>
                <a:cxn ang="0">
                  <a:pos x="30" y="44"/>
                </a:cxn>
                <a:cxn ang="0">
                  <a:pos x="30" y="38"/>
                </a:cxn>
                <a:cxn ang="0">
                  <a:pos x="30" y="30"/>
                </a:cxn>
                <a:cxn ang="0">
                  <a:pos x="28" y="28"/>
                </a:cxn>
                <a:cxn ang="0">
                  <a:pos x="26" y="24"/>
                </a:cxn>
                <a:cxn ang="0">
                  <a:pos x="26" y="24"/>
                </a:cxn>
                <a:cxn ang="0">
                  <a:pos x="12" y="10"/>
                </a:cxn>
                <a:cxn ang="0">
                  <a:pos x="4" y="4"/>
                </a:cxn>
                <a:cxn ang="0">
                  <a:pos x="4" y="4"/>
                </a:cxn>
                <a:cxn ang="0">
                  <a:pos x="0" y="2"/>
                </a:cxn>
                <a:cxn ang="0">
                  <a:pos x="0" y="0"/>
                </a:cxn>
                <a:cxn ang="0">
                  <a:pos x="2" y="0"/>
                </a:cxn>
                <a:cxn ang="0">
                  <a:pos x="2" y="0"/>
                </a:cxn>
                <a:cxn ang="0">
                  <a:pos x="6" y="0"/>
                </a:cxn>
                <a:cxn ang="0">
                  <a:pos x="10" y="4"/>
                </a:cxn>
                <a:cxn ang="0">
                  <a:pos x="20" y="14"/>
                </a:cxn>
                <a:cxn ang="0">
                  <a:pos x="20" y="14"/>
                </a:cxn>
                <a:cxn ang="0">
                  <a:pos x="32" y="26"/>
                </a:cxn>
                <a:cxn ang="0">
                  <a:pos x="34" y="28"/>
                </a:cxn>
                <a:cxn ang="0">
                  <a:pos x="36" y="30"/>
                </a:cxn>
                <a:cxn ang="0">
                  <a:pos x="36" y="30"/>
                </a:cxn>
                <a:cxn ang="0">
                  <a:pos x="36" y="30"/>
                </a:cxn>
                <a:cxn ang="0">
                  <a:pos x="40" y="32"/>
                </a:cxn>
                <a:cxn ang="0">
                  <a:pos x="42" y="34"/>
                </a:cxn>
                <a:cxn ang="0">
                  <a:pos x="40" y="36"/>
                </a:cxn>
                <a:cxn ang="0">
                  <a:pos x="40" y="36"/>
                </a:cxn>
                <a:cxn ang="0">
                  <a:pos x="38" y="40"/>
                </a:cxn>
                <a:cxn ang="0">
                  <a:pos x="36" y="44"/>
                </a:cxn>
                <a:cxn ang="0">
                  <a:pos x="36" y="46"/>
                </a:cxn>
                <a:cxn ang="0">
                  <a:pos x="34" y="46"/>
                </a:cxn>
                <a:cxn ang="0">
                  <a:pos x="34" y="46"/>
                </a:cxn>
              </a:cxnLst>
              <a:rect l="0" t="0" r="r" b="b"/>
              <a:pathLst>
                <a:path w="42" h="46">
                  <a:moveTo>
                    <a:pt x="34" y="46"/>
                  </a:moveTo>
                  <a:lnTo>
                    <a:pt x="34" y="46"/>
                  </a:lnTo>
                  <a:lnTo>
                    <a:pt x="32" y="46"/>
                  </a:lnTo>
                  <a:lnTo>
                    <a:pt x="30" y="44"/>
                  </a:lnTo>
                  <a:lnTo>
                    <a:pt x="30" y="38"/>
                  </a:lnTo>
                  <a:lnTo>
                    <a:pt x="30" y="30"/>
                  </a:lnTo>
                  <a:lnTo>
                    <a:pt x="28" y="28"/>
                  </a:lnTo>
                  <a:lnTo>
                    <a:pt x="26" y="24"/>
                  </a:lnTo>
                  <a:lnTo>
                    <a:pt x="26" y="24"/>
                  </a:lnTo>
                  <a:lnTo>
                    <a:pt x="12" y="10"/>
                  </a:lnTo>
                  <a:lnTo>
                    <a:pt x="4" y="4"/>
                  </a:lnTo>
                  <a:lnTo>
                    <a:pt x="4" y="4"/>
                  </a:lnTo>
                  <a:lnTo>
                    <a:pt x="0" y="2"/>
                  </a:lnTo>
                  <a:lnTo>
                    <a:pt x="0" y="0"/>
                  </a:lnTo>
                  <a:lnTo>
                    <a:pt x="2" y="0"/>
                  </a:lnTo>
                  <a:lnTo>
                    <a:pt x="2" y="0"/>
                  </a:lnTo>
                  <a:lnTo>
                    <a:pt x="6" y="0"/>
                  </a:lnTo>
                  <a:lnTo>
                    <a:pt x="10" y="4"/>
                  </a:lnTo>
                  <a:lnTo>
                    <a:pt x="20" y="14"/>
                  </a:lnTo>
                  <a:lnTo>
                    <a:pt x="20" y="14"/>
                  </a:lnTo>
                  <a:lnTo>
                    <a:pt x="32" y="26"/>
                  </a:lnTo>
                  <a:lnTo>
                    <a:pt x="34" y="28"/>
                  </a:lnTo>
                  <a:lnTo>
                    <a:pt x="36" y="30"/>
                  </a:lnTo>
                  <a:lnTo>
                    <a:pt x="36" y="30"/>
                  </a:lnTo>
                  <a:lnTo>
                    <a:pt x="36" y="30"/>
                  </a:lnTo>
                  <a:lnTo>
                    <a:pt x="40" y="32"/>
                  </a:lnTo>
                  <a:lnTo>
                    <a:pt x="42" y="34"/>
                  </a:lnTo>
                  <a:lnTo>
                    <a:pt x="40" y="36"/>
                  </a:lnTo>
                  <a:lnTo>
                    <a:pt x="40" y="36"/>
                  </a:lnTo>
                  <a:lnTo>
                    <a:pt x="38" y="40"/>
                  </a:lnTo>
                  <a:lnTo>
                    <a:pt x="36" y="44"/>
                  </a:lnTo>
                  <a:lnTo>
                    <a:pt x="36" y="46"/>
                  </a:lnTo>
                  <a:lnTo>
                    <a:pt x="34" y="46"/>
                  </a:lnTo>
                  <a:lnTo>
                    <a:pt x="34" y="46"/>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Madagascar"/>
            <p:cNvSpPr>
              <a:spLocks/>
            </p:cNvSpPr>
            <p:nvPr/>
          </p:nvSpPr>
          <p:spPr bwMode="auto">
            <a:xfrm>
              <a:off x="5306184" y="4009761"/>
              <a:ext cx="222250" cy="428625"/>
            </a:xfrm>
            <a:custGeom>
              <a:avLst/>
              <a:gdLst/>
              <a:ahLst/>
              <a:cxnLst>
                <a:cxn ang="0">
                  <a:pos x="146" y="2"/>
                </a:cxn>
                <a:cxn ang="0">
                  <a:pos x="150" y="4"/>
                </a:cxn>
                <a:cxn ang="0">
                  <a:pos x="154" y="10"/>
                </a:cxn>
                <a:cxn ang="0">
                  <a:pos x="162" y="46"/>
                </a:cxn>
                <a:cxn ang="0">
                  <a:pos x="166" y="86"/>
                </a:cxn>
                <a:cxn ang="0">
                  <a:pos x="158" y="86"/>
                </a:cxn>
                <a:cxn ang="0">
                  <a:pos x="152" y="84"/>
                </a:cxn>
                <a:cxn ang="0">
                  <a:pos x="152" y="100"/>
                </a:cxn>
                <a:cxn ang="0">
                  <a:pos x="154" y="112"/>
                </a:cxn>
                <a:cxn ang="0">
                  <a:pos x="146" y="126"/>
                </a:cxn>
                <a:cxn ang="0">
                  <a:pos x="136" y="164"/>
                </a:cxn>
                <a:cxn ang="0">
                  <a:pos x="122" y="192"/>
                </a:cxn>
                <a:cxn ang="0">
                  <a:pos x="110" y="232"/>
                </a:cxn>
                <a:cxn ang="0">
                  <a:pos x="94" y="282"/>
                </a:cxn>
                <a:cxn ang="0">
                  <a:pos x="84" y="300"/>
                </a:cxn>
                <a:cxn ang="0">
                  <a:pos x="60" y="318"/>
                </a:cxn>
                <a:cxn ang="0">
                  <a:pos x="44" y="324"/>
                </a:cxn>
                <a:cxn ang="0">
                  <a:pos x="20" y="316"/>
                </a:cxn>
                <a:cxn ang="0">
                  <a:pos x="8" y="294"/>
                </a:cxn>
                <a:cxn ang="0">
                  <a:pos x="6" y="278"/>
                </a:cxn>
                <a:cxn ang="0">
                  <a:pos x="0" y="258"/>
                </a:cxn>
                <a:cxn ang="0">
                  <a:pos x="2" y="242"/>
                </a:cxn>
                <a:cxn ang="0">
                  <a:pos x="14" y="220"/>
                </a:cxn>
                <a:cxn ang="0">
                  <a:pos x="22" y="210"/>
                </a:cxn>
                <a:cxn ang="0">
                  <a:pos x="28" y="196"/>
                </a:cxn>
                <a:cxn ang="0">
                  <a:pos x="30" y="182"/>
                </a:cxn>
                <a:cxn ang="0">
                  <a:pos x="30" y="158"/>
                </a:cxn>
                <a:cxn ang="0">
                  <a:pos x="30" y="132"/>
                </a:cxn>
                <a:cxn ang="0">
                  <a:pos x="40" y="110"/>
                </a:cxn>
                <a:cxn ang="0">
                  <a:pos x="46" y="100"/>
                </a:cxn>
                <a:cxn ang="0">
                  <a:pos x="54" y="96"/>
                </a:cxn>
                <a:cxn ang="0">
                  <a:pos x="60" y="90"/>
                </a:cxn>
                <a:cxn ang="0">
                  <a:pos x="82" y="92"/>
                </a:cxn>
                <a:cxn ang="0">
                  <a:pos x="86" y="82"/>
                </a:cxn>
                <a:cxn ang="0">
                  <a:pos x="94" y="72"/>
                </a:cxn>
                <a:cxn ang="0">
                  <a:pos x="98" y="74"/>
                </a:cxn>
                <a:cxn ang="0">
                  <a:pos x="104" y="68"/>
                </a:cxn>
                <a:cxn ang="0">
                  <a:pos x="110" y="54"/>
                </a:cxn>
                <a:cxn ang="0">
                  <a:pos x="114" y="52"/>
                </a:cxn>
                <a:cxn ang="0">
                  <a:pos x="112" y="42"/>
                </a:cxn>
                <a:cxn ang="0">
                  <a:pos x="114" y="38"/>
                </a:cxn>
                <a:cxn ang="0">
                  <a:pos x="120" y="40"/>
                </a:cxn>
                <a:cxn ang="0">
                  <a:pos x="124" y="38"/>
                </a:cxn>
                <a:cxn ang="0">
                  <a:pos x="136" y="20"/>
                </a:cxn>
                <a:cxn ang="0">
                  <a:pos x="134" y="12"/>
                </a:cxn>
                <a:cxn ang="0">
                  <a:pos x="140" y="6"/>
                </a:cxn>
              </a:cxnLst>
              <a:rect l="0" t="0" r="r" b="b"/>
              <a:pathLst>
                <a:path w="168" h="324">
                  <a:moveTo>
                    <a:pt x="140" y="6"/>
                  </a:moveTo>
                  <a:lnTo>
                    <a:pt x="140" y="6"/>
                  </a:lnTo>
                  <a:lnTo>
                    <a:pt x="146" y="2"/>
                  </a:lnTo>
                  <a:lnTo>
                    <a:pt x="148" y="0"/>
                  </a:lnTo>
                  <a:lnTo>
                    <a:pt x="150" y="2"/>
                  </a:lnTo>
                  <a:lnTo>
                    <a:pt x="150" y="4"/>
                  </a:lnTo>
                  <a:lnTo>
                    <a:pt x="150" y="8"/>
                  </a:lnTo>
                  <a:lnTo>
                    <a:pt x="152" y="10"/>
                  </a:lnTo>
                  <a:lnTo>
                    <a:pt x="154" y="10"/>
                  </a:lnTo>
                  <a:lnTo>
                    <a:pt x="154" y="10"/>
                  </a:lnTo>
                  <a:lnTo>
                    <a:pt x="158" y="20"/>
                  </a:lnTo>
                  <a:lnTo>
                    <a:pt x="162" y="46"/>
                  </a:lnTo>
                  <a:lnTo>
                    <a:pt x="166" y="72"/>
                  </a:lnTo>
                  <a:lnTo>
                    <a:pt x="168" y="82"/>
                  </a:lnTo>
                  <a:lnTo>
                    <a:pt x="166" y="86"/>
                  </a:lnTo>
                  <a:lnTo>
                    <a:pt x="166" y="86"/>
                  </a:lnTo>
                  <a:lnTo>
                    <a:pt x="162" y="88"/>
                  </a:lnTo>
                  <a:lnTo>
                    <a:pt x="158" y="86"/>
                  </a:lnTo>
                  <a:lnTo>
                    <a:pt x="156" y="84"/>
                  </a:lnTo>
                  <a:lnTo>
                    <a:pt x="152" y="84"/>
                  </a:lnTo>
                  <a:lnTo>
                    <a:pt x="152" y="84"/>
                  </a:lnTo>
                  <a:lnTo>
                    <a:pt x="152" y="88"/>
                  </a:lnTo>
                  <a:lnTo>
                    <a:pt x="150" y="92"/>
                  </a:lnTo>
                  <a:lnTo>
                    <a:pt x="152" y="100"/>
                  </a:lnTo>
                  <a:lnTo>
                    <a:pt x="156" y="106"/>
                  </a:lnTo>
                  <a:lnTo>
                    <a:pt x="156" y="110"/>
                  </a:lnTo>
                  <a:lnTo>
                    <a:pt x="154" y="112"/>
                  </a:lnTo>
                  <a:lnTo>
                    <a:pt x="154" y="112"/>
                  </a:lnTo>
                  <a:lnTo>
                    <a:pt x="150" y="120"/>
                  </a:lnTo>
                  <a:lnTo>
                    <a:pt x="146" y="126"/>
                  </a:lnTo>
                  <a:lnTo>
                    <a:pt x="142" y="140"/>
                  </a:lnTo>
                  <a:lnTo>
                    <a:pt x="140" y="154"/>
                  </a:lnTo>
                  <a:lnTo>
                    <a:pt x="136" y="164"/>
                  </a:lnTo>
                  <a:lnTo>
                    <a:pt x="132" y="172"/>
                  </a:lnTo>
                  <a:lnTo>
                    <a:pt x="132" y="172"/>
                  </a:lnTo>
                  <a:lnTo>
                    <a:pt x="122" y="192"/>
                  </a:lnTo>
                  <a:lnTo>
                    <a:pt x="116" y="208"/>
                  </a:lnTo>
                  <a:lnTo>
                    <a:pt x="112" y="220"/>
                  </a:lnTo>
                  <a:lnTo>
                    <a:pt x="110" y="232"/>
                  </a:lnTo>
                  <a:lnTo>
                    <a:pt x="106" y="254"/>
                  </a:lnTo>
                  <a:lnTo>
                    <a:pt x="102" y="266"/>
                  </a:lnTo>
                  <a:lnTo>
                    <a:pt x="94" y="282"/>
                  </a:lnTo>
                  <a:lnTo>
                    <a:pt x="94" y="282"/>
                  </a:lnTo>
                  <a:lnTo>
                    <a:pt x="90" y="294"/>
                  </a:lnTo>
                  <a:lnTo>
                    <a:pt x="84" y="300"/>
                  </a:lnTo>
                  <a:lnTo>
                    <a:pt x="74" y="310"/>
                  </a:lnTo>
                  <a:lnTo>
                    <a:pt x="64" y="316"/>
                  </a:lnTo>
                  <a:lnTo>
                    <a:pt x="60" y="318"/>
                  </a:lnTo>
                  <a:lnTo>
                    <a:pt x="60" y="318"/>
                  </a:lnTo>
                  <a:lnTo>
                    <a:pt x="52" y="322"/>
                  </a:lnTo>
                  <a:lnTo>
                    <a:pt x="44" y="324"/>
                  </a:lnTo>
                  <a:lnTo>
                    <a:pt x="36" y="324"/>
                  </a:lnTo>
                  <a:lnTo>
                    <a:pt x="28" y="322"/>
                  </a:lnTo>
                  <a:lnTo>
                    <a:pt x="20" y="316"/>
                  </a:lnTo>
                  <a:lnTo>
                    <a:pt x="14" y="310"/>
                  </a:lnTo>
                  <a:lnTo>
                    <a:pt x="10" y="302"/>
                  </a:lnTo>
                  <a:lnTo>
                    <a:pt x="8" y="294"/>
                  </a:lnTo>
                  <a:lnTo>
                    <a:pt x="8" y="294"/>
                  </a:lnTo>
                  <a:lnTo>
                    <a:pt x="8" y="286"/>
                  </a:lnTo>
                  <a:lnTo>
                    <a:pt x="6" y="278"/>
                  </a:lnTo>
                  <a:lnTo>
                    <a:pt x="2" y="268"/>
                  </a:lnTo>
                  <a:lnTo>
                    <a:pt x="0" y="264"/>
                  </a:lnTo>
                  <a:lnTo>
                    <a:pt x="0" y="258"/>
                  </a:lnTo>
                  <a:lnTo>
                    <a:pt x="0" y="250"/>
                  </a:lnTo>
                  <a:lnTo>
                    <a:pt x="2" y="242"/>
                  </a:lnTo>
                  <a:lnTo>
                    <a:pt x="2" y="242"/>
                  </a:lnTo>
                  <a:lnTo>
                    <a:pt x="4" y="232"/>
                  </a:lnTo>
                  <a:lnTo>
                    <a:pt x="8" y="226"/>
                  </a:lnTo>
                  <a:lnTo>
                    <a:pt x="14" y="220"/>
                  </a:lnTo>
                  <a:lnTo>
                    <a:pt x="18" y="218"/>
                  </a:lnTo>
                  <a:lnTo>
                    <a:pt x="20" y="214"/>
                  </a:lnTo>
                  <a:lnTo>
                    <a:pt x="22" y="210"/>
                  </a:lnTo>
                  <a:lnTo>
                    <a:pt x="22" y="210"/>
                  </a:lnTo>
                  <a:lnTo>
                    <a:pt x="26" y="200"/>
                  </a:lnTo>
                  <a:lnTo>
                    <a:pt x="28" y="196"/>
                  </a:lnTo>
                  <a:lnTo>
                    <a:pt x="30" y="190"/>
                  </a:lnTo>
                  <a:lnTo>
                    <a:pt x="30" y="182"/>
                  </a:lnTo>
                  <a:lnTo>
                    <a:pt x="30" y="182"/>
                  </a:lnTo>
                  <a:lnTo>
                    <a:pt x="28" y="172"/>
                  </a:lnTo>
                  <a:lnTo>
                    <a:pt x="28" y="164"/>
                  </a:lnTo>
                  <a:lnTo>
                    <a:pt x="30" y="158"/>
                  </a:lnTo>
                  <a:lnTo>
                    <a:pt x="28" y="144"/>
                  </a:lnTo>
                  <a:lnTo>
                    <a:pt x="28" y="144"/>
                  </a:lnTo>
                  <a:lnTo>
                    <a:pt x="30" y="132"/>
                  </a:lnTo>
                  <a:lnTo>
                    <a:pt x="32" y="126"/>
                  </a:lnTo>
                  <a:lnTo>
                    <a:pt x="36" y="118"/>
                  </a:lnTo>
                  <a:lnTo>
                    <a:pt x="40" y="110"/>
                  </a:lnTo>
                  <a:lnTo>
                    <a:pt x="40" y="110"/>
                  </a:lnTo>
                  <a:lnTo>
                    <a:pt x="42" y="102"/>
                  </a:lnTo>
                  <a:lnTo>
                    <a:pt x="46" y="100"/>
                  </a:lnTo>
                  <a:lnTo>
                    <a:pt x="50" y="100"/>
                  </a:lnTo>
                  <a:lnTo>
                    <a:pt x="52" y="100"/>
                  </a:lnTo>
                  <a:lnTo>
                    <a:pt x="54" y="96"/>
                  </a:lnTo>
                  <a:lnTo>
                    <a:pt x="54" y="96"/>
                  </a:lnTo>
                  <a:lnTo>
                    <a:pt x="56" y="92"/>
                  </a:lnTo>
                  <a:lnTo>
                    <a:pt x="60" y="90"/>
                  </a:lnTo>
                  <a:lnTo>
                    <a:pt x="70" y="92"/>
                  </a:lnTo>
                  <a:lnTo>
                    <a:pt x="80" y="92"/>
                  </a:lnTo>
                  <a:lnTo>
                    <a:pt x="82" y="92"/>
                  </a:lnTo>
                  <a:lnTo>
                    <a:pt x="84" y="88"/>
                  </a:lnTo>
                  <a:lnTo>
                    <a:pt x="84" y="88"/>
                  </a:lnTo>
                  <a:lnTo>
                    <a:pt x="86" y="82"/>
                  </a:lnTo>
                  <a:lnTo>
                    <a:pt x="88" y="78"/>
                  </a:lnTo>
                  <a:lnTo>
                    <a:pt x="94" y="72"/>
                  </a:lnTo>
                  <a:lnTo>
                    <a:pt x="94" y="72"/>
                  </a:lnTo>
                  <a:lnTo>
                    <a:pt x="96" y="70"/>
                  </a:lnTo>
                  <a:lnTo>
                    <a:pt x="96" y="74"/>
                  </a:lnTo>
                  <a:lnTo>
                    <a:pt x="98" y="74"/>
                  </a:lnTo>
                  <a:lnTo>
                    <a:pt x="98" y="74"/>
                  </a:lnTo>
                  <a:lnTo>
                    <a:pt x="104" y="68"/>
                  </a:lnTo>
                  <a:lnTo>
                    <a:pt x="104" y="68"/>
                  </a:lnTo>
                  <a:lnTo>
                    <a:pt x="110" y="60"/>
                  </a:lnTo>
                  <a:lnTo>
                    <a:pt x="110" y="54"/>
                  </a:lnTo>
                  <a:lnTo>
                    <a:pt x="110" y="54"/>
                  </a:lnTo>
                  <a:lnTo>
                    <a:pt x="114" y="52"/>
                  </a:lnTo>
                  <a:lnTo>
                    <a:pt x="114" y="52"/>
                  </a:lnTo>
                  <a:lnTo>
                    <a:pt x="114" y="52"/>
                  </a:lnTo>
                  <a:lnTo>
                    <a:pt x="116" y="50"/>
                  </a:lnTo>
                  <a:lnTo>
                    <a:pt x="114" y="46"/>
                  </a:lnTo>
                  <a:lnTo>
                    <a:pt x="112" y="42"/>
                  </a:lnTo>
                  <a:lnTo>
                    <a:pt x="112" y="40"/>
                  </a:lnTo>
                  <a:lnTo>
                    <a:pt x="114" y="38"/>
                  </a:lnTo>
                  <a:lnTo>
                    <a:pt x="114" y="38"/>
                  </a:lnTo>
                  <a:lnTo>
                    <a:pt x="116" y="36"/>
                  </a:lnTo>
                  <a:lnTo>
                    <a:pt x="118" y="36"/>
                  </a:lnTo>
                  <a:lnTo>
                    <a:pt x="120" y="40"/>
                  </a:lnTo>
                  <a:lnTo>
                    <a:pt x="122" y="40"/>
                  </a:lnTo>
                  <a:lnTo>
                    <a:pt x="124" y="38"/>
                  </a:lnTo>
                  <a:lnTo>
                    <a:pt x="124" y="38"/>
                  </a:lnTo>
                  <a:lnTo>
                    <a:pt x="128" y="30"/>
                  </a:lnTo>
                  <a:lnTo>
                    <a:pt x="132" y="26"/>
                  </a:lnTo>
                  <a:lnTo>
                    <a:pt x="136" y="20"/>
                  </a:lnTo>
                  <a:lnTo>
                    <a:pt x="136" y="18"/>
                  </a:lnTo>
                  <a:lnTo>
                    <a:pt x="136" y="18"/>
                  </a:lnTo>
                  <a:lnTo>
                    <a:pt x="134" y="12"/>
                  </a:lnTo>
                  <a:lnTo>
                    <a:pt x="136" y="10"/>
                  </a:lnTo>
                  <a:lnTo>
                    <a:pt x="140" y="6"/>
                  </a:lnTo>
                  <a:lnTo>
                    <a:pt x="140" y="6"/>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Sri Lanka"/>
            <p:cNvSpPr>
              <a:spLocks/>
            </p:cNvSpPr>
            <p:nvPr/>
          </p:nvSpPr>
          <p:spPr bwMode="auto">
            <a:xfrm>
              <a:off x="6364518" y="3279510"/>
              <a:ext cx="68792" cy="124354"/>
            </a:xfrm>
            <a:custGeom>
              <a:avLst/>
              <a:gdLst/>
              <a:ahLst/>
              <a:cxnLst>
                <a:cxn ang="0">
                  <a:pos x="2" y="2"/>
                </a:cxn>
                <a:cxn ang="0">
                  <a:pos x="12" y="2"/>
                </a:cxn>
                <a:cxn ang="0">
                  <a:pos x="14" y="2"/>
                </a:cxn>
                <a:cxn ang="0">
                  <a:pos x="16" y="6"/>
                </a:cxn>
                <a:cxn ang="0">
                  <a:pos x="28" y="18"/>
                </a:cxn>
                <a:cxn ang="0">
                  <a:pos x="38" y="34"/>
                </a:cxn>
                <a:cxn ang="0">
                  <a:pos x="46" y="46"/>
                </a:cxn>
                <a:cxn ang="0">
                  <a:pos x="48" y="48"/>
                </a:cxn>
                <a:cxn ang="0">
                  <a:pos x="52" y="66"/>
                </a:cxn>
                <a:cxn ang="0">
                  <a:pos x="48" y="82"/>
                </a:cxn>
                <a:cxn ang="0">
                  <a:pos x="44" y="84"/>
                </a:cxn>
                <a:cxn ang="0">
                  <a:pos x="28" y="94"/>
                </a:cxn>
                <a:cxn ang="0">
                  <a:pos x="22" y="94"/>
                </a:cxn>
                <a:cxn ang="0">
                  <a:pos x="8" y="86"/>
                </a:cxn>
                <a:cxn ang="0">
                  <a:pos x="2" y="76"/>
                </a:cxn>
                <a:cxn ang="0">
                  <a:pos x="2" y="74"/>
                </a:cxn>
                <a:cxn ang="0">
                  <a:pos x="0" y="60"/>
                </a:cxn>
                <a:cxn ang="0">
                  <a:pos x="0" y="46"/>
                </a:cxn>
                <a:cxn ang="0">
                  <a:pos x="0" y="46"/>
                </a:cxn>
                <a:cxn ang="0">
                  <a:pos x="4" y="50"/>
                </a:cxn>
                <a:cxn ang="0">
                  <a:pos x="2" y="46"/>
                </a:cxn>
                <a:cxn ang="0">
                  <a:pos x="4" y="40"/>
                </a:cxn>
                <a:cxn ang="0">
                  <a:pos x="4" y="36"/>
                </a:cxn>
                <a:cxn ang="0">
                  <a:pos x="2" y="30"/>
                </a:cxn>
                <a:cxn ang="0">
                  <a:pos x="4" y="28"/>
                </a:cxn>
                <a:cxn ang="0">
                  <a:pos x="6" y="22"/>
                </a:cxn>
                <a:cxn ang="0">
                  <a:pos x="6" y="18"/>
                </a:cxn>
                <a:cxn ang="0">
                  <a:pos x="8" y="16"/>
                </a:cxn>
                <a:cxn ang="0">
                  <a:pos x="6" y="12"/>
                </a:cxn>
                <a:cxn ang="0">
                  <a:pos x="6" y="10"/>
                </a:cxn>
                <a:cxn ang="0">
                  <a:pos x="8" y="6"/>
                </a:cxn>
                <a:cxn ang="0">
                  <a:pos x="10" y="6"/>
                </a:cxn>
                <a:cxn ang="0">
                  <a:pos x="8" y="4"/>
                </a:cxn>
                <a:cxn ang="0">
                  <a:pos x="4" y="6"/>
                </a:cxn>
                <a:cxn ang="0">
                  <a:pos x="0" y="6"/>
                </a:cxn>
                <a:cxn ang="0">
                  <a:pos x="0" y="4"/>
                </a:cxn>
                <a:cxn ang="0">
                  <a:pos x="2" y="2"/>
                </a:cxn>
              </a:cxnLst>
              <a:rect l="0" t="0" r="r" b="b"/>
              <a:pathLst>
                <a:path w="52" h="94">
                  <a:moveTo>
                    <a:pt x="2" y="2"/>
                  </a:moveTo>
                  <a:lnTo>
                    <a:pt x="2" y="2"/>
                  </a:lnTo>
                  <a:lnTo>
                    <a:pt x="10" y="0"/>
                  </a:lnTo>
                  <a:lnTo>
                    <a:pt x="12" y="2"/>
                  </a:lnTo>
                  <a:lnTo>
                    <a:pt x="14" y="2"/>
                  </a:lnTo>
                  <a:lnTo>
                    <a:pt x="14" y="2"/>
                  </a:lnTo>
                  <a:lnTo>
                    <a:pt x="14" y="4"/>
                  </a:lnTo>
                  <a:lnTo>
                    <a:pt x="16" y="6"/>
                  </a:lnTo>
                  <a:lnTo>
                    <a:pt x="20" y="8"/>
                  </a:lnTo>
                  <a:lnTo>
                    <a:pt x="28" y="18"/>
                  </a:lnTo>
                  <a:lnTo>
                    <a:pt x="28" y="18"/>
                  </a:lnTo>
                  <a:lnTo>
                    <a:pt x="38" y="34"/>
                  </a:lnTo>
                  <a:lnTo>
                    <a:pt x="42" y="40"/>
                  </a:lnTo>
                  <a:lnTo>
                    <a:pt x="46" y="46"/>
                  </a:lnTo>
                  <a:lnTo>
                    <a:pt x="46" y="46"/>
                  </a:lnTo>
                  <a:lnTo>
                    <a:pt x="48" y="48"/>
                  </a:lnTo>
                  <a:lnTo>
                    <a:pt x="50" y="54"/>
                  </a:lnTo>
                  <a:lnTo>
                    <a:pt x="52" y="66"/>
                  </a:lnTo>
                  <a:lnTo>
                    <a:pt x="50" y="78"/>
                  </a:lnTo>
                  <a:lnTo>
                    <a:pt x="48" y="82"/>
                  </a:lnTo>
                  <a:lnTo>
                    <a:pt x="44" y="84"/>
                  </a:lnTo>
                  <a:lnTo>
                    <a:pt x="44" y="84"/>
                  </a:lnTo>
                  <a:lnTo>
                    <a:pt x="32" y="90"/>
                  </a:lnTo>
                  <a:lnTo>
                    <a:pt x="28" y="94"/>
                  </a:lnTo>
                  <a:lnTo>
                    <a:pt x="22" y="94"/>
                  </a:lnTo>
                  <a:lnTo>
                    <a:pt x="22" y="94"/>
                  </a:lnTo>
                  <a:lnTo>
                    <a:pt x="16" y="92"/>
                  </a:lnTo>
                  <a:lnTo>
                    <a:pt x="8" y="86"/>
                  </a:lnTo>
                  <a:lnTo>
                    <a:pt x="4" y="78"/>
                  </a:lnTo>
                  <a:lnTo>
                    <a:pt x="2" y="76"/>
                  </a:lnTo>
                  <a:lnTo>
                    <a:pt x="2" y="74"/>
                  </a:lnTo>
                  <a:lnTo>
                    <a:pt x="2" y="74"/>
                  </a:lnTo>
                  <a:lnTo>
                    <a:pt x="2" y="68"/>
                  </a:lnTo>
                  <a:lnTo>
                    <a:pt x="0" y="60"/>
                  </a:lnTo>
                  <a:lnTo>
                    <a:pt x="0" y="50"/>
                  </a:lnTo>
                  <a:lnTo>
                    <a:pt x="0" y="46"/>
                  </a:lnTo>
                  <a:lnTo>
                    <a:pt x="0" y="46"/>
                  </a:lnTo>
                  <a:lnTo>
                    <a:pt x="0" y="46"/>
                  </a:lnTo>
                  <a:lnTo>
                    <a:pt x="2" y="48"/>
                  </a:lnTo>
                  <a:lnTo>
                    <a:pt x="4" y="50"/>
                  </a:lnTo>
                  <a:lnTo>
                    <a:pt x="4" y="50"/>
                  </a:lnTo>
                  <a:lnTo>
                    <a:pt x="2" y="46"/>
                  </a:lnTo>
                  <a:lnTo>
                    <a:pt x="2" y="42"/>
                  </a:lnTo>
                  <a:lnTo>
                    <a:pt x="4" y="40"/>
                  </a:lnTo>
                  <a:lnTo>
                    <a:pt x="4" y="40"/>
                  </a:lnTo>
                  <a:lnTo>
                    <a:pt x="4" y="36"/>
                  </a:lnTo>
                  <a:lnTo>
                    <a:pt x="4" y="34"/>
                  </a:lnTo>
                  <a:lnTo>
                    <a:pt x="2" y="30"/>
                  </a:lnTo>
                  <a:lnTo>
                    <a:pt x="4" y="28"/>
                  </a:lnTo>
                  <a:lnTo>
                    <a:pt x="4" y="28"/>
                  </a:lnTo>
                  <a:lnTo>
                    <a:pt x="6" y="26"/>
                  </a:lnTo>
                  <a:lnTo>
                    <a:pt x="6" y="22"/>
                  </a:lnTo>
                  <a:lnTo>
                    <a:pt x="6" y="20"/>
                  </a:lnTo>
                  <a:lnTo>
                    <a:pt x="6" y="18"/>
                  </a:lnTo>
                  <a:lnTo>
                    <a:pt x="6" y="18"/>
                  </a:lnTo>
                  <a:lnTo>
                    <a:pt x="8" y="16"/>
                  </a:lnTo>
                  <a:lnTo>
                    <a:pt x="8" y="14"/>
                  </a:lnTo>
                  <a:lnTo>
                    <a:pt x="6" y="12"/>
                  </a:lnTo>
                  <a:lnTo>
                    <a:pt x="6" y="10"/>
                  </a:lnTo>
                  <a:lnTo>
                    <a:pt x="6" y="10"/>
                  </a:lnTo>
                  <a:lnTo>
                    <a:pt x="8" y="8"/>
                  </a:lnTo>
                  <a:lnTo>
                    <a:pt x="8" y="6"/>
                  </a:lnTo>
                  <a:lnTo>
                    <a:pt x="10" y="6"/>
                  </a:lnTo>
                  <a:lnTo>
                    <a:pt x="10" y="6"/>
                  </a:lnTo>
                  <a:lnTo>
                    <a:pt x="12" y="6"/>
                  </a:lnTo>
                  <a:lnTo>
                    <a:pt x="8" y="4"/>
                  </a:lnTo>
                  <a:lnTo>
                    <a:pt x="8" y="4"/>
                  </a:lnTo>
                  <a:lnTo>
                    <a:pt x="4" y="6"/>
                  </a:lnTo>
                  <a:lnTo>
                    <a:pt x="0" y="6"/>
                  </a:lnTo>
                  <a:lnTo>
                    <a:pt x="0" y="6"/>
                  </a:lnTo>
                  <a:lnTo>
                    <a:pt x="0" y="6"/>
                  </a:lnTo>
                  <a:lnTo>
                    <a:pt x="0" y="4"/>
                  </a:lnTo>
                  <a:lnTo>
                    <a:pt x="2" y="2"/>
                  </a:lnTo>
                  <a:lnTo>
                    <a:pt x="2" y="2"/>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Morocco"/>
            <p:cNvSpPr>
              <a:spLocks/>
            </p:cNvSpPr>
            <p:nvPr/>
          </p:nvSpPr>
          <p:spPr bwMode="auto">
            <a:xfrm>
              <a:off x="3798059" y="2435490"/>
              <a:ext cx="322792" cy="251354"/>
            </a:xfrm>
            <a:custGeom>
              <a:avLst/>
              <a:gdLst/>
              <a:ahLst/>
              <a:cxnLst>
                <a:cxn ang="0">
                  <a:pos x="4" y="184"/>
                </a:cxn>
                <a:cxn ang="0">
                  <a:pos x="22" y="178"/>
                </a:cxn>
                <a:cxn ang="0">
                  <a:pos x="40" y="170"/>
                </a:cxn>
                <a:cxn ang="0">
                  <a:pos x="48" y="162"/>
                </a:cxn>
                <a:cxn ang="0">
                  <a:pos x="72" y="140"/>
                </a:cxn>
                <a:cxn ang="0">
                  <a:pos x="76" y="130"/>
                </a:cxn>
                <a:cxn ang="0">
                  <a:pos x="66" y="120"/>
                </a:cxn>
                <a:cxn ang="0">
                  <a:pos x="66" y="110"/>
                </a:cxn>
                <a:cxn ang="0">
                  <a:pos x="84" y="84"/>
                </a:cxn>
                <a:cxn ang="0">
                  <a:pos x="92" y="66"/>
                </a:cxn>
                <a:cxn ang="0">
                  <a:pos x="112" y="56"/>
                </a:cxn>
                <a:cxn ang="0">
                  <a:pos x="136" y="28"/>
                </a:cxn>
                <a:cxn ang="0">
                  <a:pos x="146" y="14"/>
                </a:cxn>
                <a:cxn ang="0">
                  <a:pos x="154" y="6"/>
                </a:cxn>
                <a:cxn ang="0">
                  <a:pos x="164" y="2"/>
                </a:cxn>
                <a:cxn ang="0">
                  <a:pos x="166" y="6"/>
                </a:cxn>
                <a:cxn ang="0">
                  <a:pos x="174" y="8"/>
                </a:cxn>
                <a:cxn ang="0">
                  <a:pos x="188" y="14"/>
                </a:cxn>
                <a:cxn ang="0">
                  <a:pos x="196" y="14"/>
                </a:cxn>
                <a:cxn ang="0">
                  <a:pos x="208" y="10"/>
                </a:cxn>
                <a:cxn ang="0">
                  <a:pos x="208" y="12"/>
                </a:cxn>
                <a:cxn ang="0">
                  <a:pos x="214" y="16"/>
                </a:cxn>
                <a:cxn ang="0">
                  <a:pos x="220" y="18"/>
                </a:cxn>
                <a:cxn ang="0">
                  <a:pos x="224" y="38"/>
                </a:cxn>
                <a:cxn ang="0">
                  <a:pos x="222" y="54"/>
                </a:cxn>
                <a:cxn ang="0">
                  <a:pos x="228" y="64"/>
                </a:cxn>
                <a:cxn ang="0">
                  <a:pos x="242" y="72"/>
                </a:cxn>
                <a:cxn ang="0">
                  <a:pos x="240" y="80"/>
                </a:cxn>
                <a:cxn ang="0">
                  <a:pos x="242" y="86"/>
                </a:cxn>
                <a:cxn ang="0">
                  <a:pos x="224" y="86"/>
                </a:cxn>
                <a:cxn ang="0">
                  <a:pos x="202" y="90"/>
                </a:cxn>
                <a:cxn ang="0">
                  <a:pos x="188" y="96"/>
                </a:cxn>
                <a:cxn ang="0">
                  <a:pos x="188" y="108"/>
                </a:cxn>
                <a:cxn ang="0">
                  <a:pos x="190" y="110"/>
                </a:cxn>
                <a:cxn ang="0">
                  <a:pos x="158" y="126"/>
                </a:cxn>
                <a:cxn ang="0">
                  <a:pos x="142" y="142"/>
                </a:cxn>
                <a:cxn ang="0">
                  <a:pos x="126" y="146"/>
                </a:cxn>
                <a:cxn ang="0">
                  <a:pos x="122" y="142"/>
                </a:cxn>
                <a:cxn ang="0">
                  <a:pos x="110" y="156"/>
                </a:cxn>
                <a:cxn ang="0">
                  <a:pos x="104" y="152"/>
                </a:cxn>
                <a:cxn ang="0">
                  <a:pos x="96" y="156"/>
                </a:cxn>
                <a:cxn ang="0">
                  <a:pos x="92" y="162"/>
                </a:cxn>
                <a:cxn ang="0">
                  <a:pos x="82" y="174"/>
                </a:cxn>
                <a:cxn ang="0">
                  <a:pos x="0" y="190"/>
                </a:cxn>
              </a:cxnLst>
              <a:rect l="0" t="0" r="r" b="b"/>
              <a:pathLst>
                <a:path w="244" h="190">
                  <a:moveTo>
                    <a:pt x="0" y="190"/>
                  </a:moveTo>
                  <a:lnTo>
                    <a:pt x="0" y="190"/>
                  </a:lnTo>
                  <a:lnTo>
                    <a:pt x="4" y="184"/>
                  </a:lnTo>
                  <a:lnTo>
                    <a:pt x="10" y="180"/>
                  </a:lnTo>
                  <a:lnTo>
                    <a:pt x="16" y="180"/>
                  </a:lnTo>
                  <a:lnTo>
                    <a:pt x="22" y="178"/>
                  </a:lnTo>
                  <a:lnTo>
                    <a:pt x="32" y="176"/>
                  </a:lnTo>
                  <a:lnTo>
                    <a:pt x="36" y="174"/>
                  </a:lnTo>
                  <a:lnTo>
                    <a:pt x="40" y="170"/>
                  </a:lnTo>
                  <a:lnTo>
                    <a:pt x="40" y="170"/>
                  </a:lnTo>
                  <a:lnTo>
                    <a:pt x="42" y="166"/>
                  </a:lnTo>
                  <a:lnTo>
                    <a:pt x="48" y="162"/>
                  </a:lnTo>
                  <a:lnTo>
                    <a:pt x="58" y="154"/>
                  </a:lnTo>
                  <a:lnTo>
                    <a:pt x="68" y="146"/>
                  </a:lnTo>
                  <a:lnTo>
                    <a:pt x="72" y="140"/>
                  </a:lnTo>
                  <a:lnTo>
                    <a:pt x="76" y="134"/>
                  </a:lnTo>
                  <a:lnTo>
                    <a:pt x="76" y="134"/>
                  </a:lnTo>
                  <a:lnTo>
                    <a:pt x="76" y="130"/>
                  </a:lnTo>
                  <a:lnTo>
                    <a:pt x="74" y="128"/>
                  </a:lnTo>
                  <a:lnTo>
                    <a:pt x="70" y="124"/>
                  </a:lnTo>
                  <a:lnTo>
                    <a:pt x="66" y="120"/>
                  </a:lnTo>
                  <a:lnTo>
                    <a:pt x="66" y="116"/>
                  </a:lnTo>
                  <a:lnTo>
                    <a:pt x="66" y="110"/>
                  </a:lnTo>
                  <a:lnTo>
                    <a:pt x="66" y="110"/>
                  </a:lnTo>
                  <a:lnTo>
                    <a:pt x="74" y="96"/>
                  </a:lnTo>
                  <a:lnTo>
                    <a:pt x="80" y="90"/>
                  </a:lnTo>
                  <a:lnTo>
                    <a:pt x="84" y="84"/>
                  </a:lnTo>
                  <a:lnTo>
                    <a:pt x="88" y="70"/>
                  </a:lnTo>
                  <a:lnTo>
                    <a:pt x="88" y="70"/>
                  </a:lnTo>
                  <a:lnTo>
                    <a:pt x="92" y="66"/>
                  </a:lnTo>
                  <a:lnTo>
                    <a:pt x="94" y="62"/>
                  </a:lnTo>
                  <a:lnTo>
                    <a:pt x="106" y="58"/>
                  </a:lnTo>
                  <a:lnTo>
                    <a:pt x="112" y="56"/>
                  </a:lnTo>
                  <a:lnTo>
                    <a:pt x="120" y="50"/>
                  </a:lnTo>
                  <a:lnTo>
                    <a:pt x="128" y="42"/>
                  </a:lnTo>
                  <a:lnTo>
                    <a:pt x="136" y="28"/>
                  </a:lnTo>
                  <a:lnTo>
                    <a:pt x="136" y="28"/>
                  </a:lnTo>
                  <a:lnTo>
                    <a:pt x="142" y="18"/>
                  </a:lnTo>
                  <a:lnTo>
                    <a:pt x="146" y="14"/>
                  </a:lnTo>
                  <a:lnTo>
                    <a:pt x="150" y="10"/>
                  </a:lnTo>
                  <a:lnTo>
                    <a:pt x="154" y="6"/>
                  </a:lnTo>
                  <a:lnTo>
                    <a:pt x="154" y="6"/>
                  </a:lnTo>
                  <a:lnTo>
                    <a:pt x="158" y="0"/>
                  </a:lnTo>
                  <a:lnTo>
                    <a:pt x="162" y="0"/>
                  </a:lnTo>
                  <a:lnTo>
                    <a:pt x="164" y="2"/>
                  </a:lnTo>
                  <a:lnTo>
                    <a:pt x="164" y="4"/>
                  </a:lnTo>
                  <a:lnTo>
                    <a:pt x="164" y="4"/>
                  </a:lnTo>
                  <a:lnTo>
                    <a:pt x="166" y="6"/>
                  </a:lnTo>
                  <a:lnTo>
                    <a:pt x="170" y="8"/>
                  </a:lnTo>
                  <a:lnTo>
                    <a:pt x="174" y="8"/>
                  </a:lnTo>
                  <a:lnTo>
                    <a:pt x="174" y="8"/>
                  </a:lnTo>
                  <a:lnTo>
                    <a:pt x="178" y="10"/>
                  </a:lnTo>
                  <a:lnTo>
                    <a:pt x="182" y="12"/>
                  </a:lnTo>
                  <a:lnTo>
                    <a:pt x="188" y="14"/>
                  </a:lnTo>
                  <a:lnTo>
                    <a:pt x="194" y="14"/>
                  </a:lnTo>
                  <a:lnTo>
                    <a:pt x="194" y="14"/>
                  </a:lnTo>
                  <a:lnTo>
                    <a:pt x="196" y="14"/>
                  </a:lnTo>
                  <a:lnTo>
                    <a:pt x="198" y="16"/>
                  </a:lnTo>
                  <a:lnTo>
                    <a:pt x="202" y="16"/>
                  </a:lnTo>
                  <a:lnTo>
                    <a:pt x="208" y="10"/>
                  </a:lnTo>
                  <a:lnTo>
                    <a:pt x="208" y="10"/>
                  </a:lnTo>
                  <a:lnTo>
                    <a:pt x="208" y="8"/>
                  </a:lnTo>
                  <a:lnTo>
                    <a:pt x="208" y="12"/>
                  </a:lnTo>
                  <a:lnTo>
                    <a:pt x="208" y="14"/>
                  </a:lnTo>
                  <a:lnTo>
                    <a:pt x="210" y="16"/>
                  </a:lnTo>
                  <a:lnTo>
                    <a:pt x="214" y="16"/>
                  </a:lnTo>
                  <a:lnTo>
                    <a:pt x="214" y="16"/>
                  </a:lnTo>
                  <a:lnTo>
                    <a:pt x="220" y="18"/>
                  </a:lnTo>
                  <a:lnTo>
                    <a:pt x="220" y="18"/>
                  </a:lnTo>
                  <a:lnTo>
                    <a:pt x="222" y="22"/>
                  </a:lnTo>
                  <a:lnTo>
                    <a:pt x="222" y="26"/>
                  </a:lnTo>
                  <a:lnTo>
                    <a:pt x="224" y="38"/>
                  </a:lnTo>
                  <a:lnTo>
                    <a:pt x="224" y="38"/>
                  </a:lnTo>
                  <a:lnTo>
                    <a:pt x="222" y="46"/>
                  </a:lnTo>
                  <a:lnTo>
                    <a:pt x="222" y="54"/>
                  </a:lnTo>
                  <a:lnTo>
                    <a:pt x="222" y="58"/>
                  </a:lnTo>
                  <a:lnTo>
                    <a:pt x="224" y="62"/>
                  </a:lnTo>
                  <a:lnTo>
                    <a:pt x="228" y="64"/>
                  </a:lnTo>
                  <a:lnTo>
                    <a:pt x="234" y="68"/>
                  </a:lnTo>
                  <a:lnTo>
                    <a:pt x="234" y="68"/>
                  </a:lnTo>
                  <a:lnTo>
                    <a:pt x="242" y="72"/>
                  </a:lnTo>
                  <a:lnTo>
                    <a:pt x="244" y="76"/>
                  </a:lnTo>
                  <a:lnTo>
                    <a:pt x="242" y="78"/>
                  </a:lnTo>
                  <a:lnTo>
                    <a:pt x="240" y="80"/>
                  </a:lnTo>
                  <a:lnTo>
                    <a:pt x="240" y="80"/>
                  </a:lnTo>
                  <a:lnTo>
                    <a:pt x="240" y="84"/>
                  </a:lnTo>
                  <a:lnTo>
                    <a:pt x="242" y="86"/>
                  </a:lnTo>
                  <a:lnTo>
                    <a:pt x="238" y="88"/>
                  </a:lnTo>
                  <a:lnTo>
                    <a:pt x="224" y="86"/>
                  </a:lnTo>
                  <a:lnTo>
                    <a:pt x="224" y="86"/>
                  </a:lnTo>
                  <a:lnTo>
                    <a:pt x="214" y="86"/>
                  </a:lnTo>
                  <a:lnTo>
                    <a:pt x="206" y="88"/>
                  </a:lnTo>
                  <a:lnTo>
                    <a:pt x="202" y="90"/>
                  </a:lnTo>
                  <a:lnTo>
                    <a:pt x="194" y="92"/>
                  </a:lnTo>
                  <a:lnTo>
                    <a:pt x="194" y="92"/>
                  </a:lnTo>
                  <a:lnTo>
                    <a:pt x="188" y="96"/>
                  </a:lnTo>
                  <a:lnTo>
                    <a:pt x="184" y="100"/>
                  </a:lnTo>
                  <a:lnTo>
                    <a:pt x="184" y="104"/>
                  </a:lnTo>
                  <a:lnTo>
                    <a:pt x="188" y="108"/>
                  </a:lnTo>
                  <a:lnTo>
                    <a:pt x="188" y="108"/>
                  </a:lnTo>
                  <a:lnTo>
                    <a:pt x="192" y="108"/>
                  </a:lnTo>
                  <a:lnTo>
                    <a:pt x="190" y="110"/>
                  </a:lnTo>
                  <a:lnTo>
                    <a:pt x="174" y="118"/>
                  </a:lnTo>
                  <a:lnTo>
                    <a:pt x="174" y="118"/>
                  </a:lnTo>
                  <a:lnTo>
                    <a:pt x="158" y="126"/>
                  </a:lnTo>
                  <a:lnTo>
                    <a:pt x="150" y="134"/>
                  </a:lnTo>
                  <a:lnTo>
                    <a:pt x="150" y="134"/>
                  </a:lnTo>
                  <a:lnTo>
                    <a:pt x="142" y="142"/>
                  </a:lnTo>
                  <a:lnTo>
                    <a:pt x="134" y="146"/>
                  </a:lnTo>
                  <a:lnTo>
                    <a:pt x="134" y="146"/>
                  </a:lnTo>
                  <a:lnTo>
                    <a:pt x="126" y="146"/>
                  </a:lnTo>
                  <a:lnTo>
                    <a:pt x="124" y="144"/>
                  </a:lnTo>
                  <a:lnTo>
                    <a:pt x="124" y="144"/>
                  </a:lnTo>
                  <a:lnTo>
                    <a:pt x="122" y="142"/>
                  </a:lnTo>
                  <a:lnTo>
                    <a:pt x="118" y="144"/>
                  </a:lnTo>
                  <a:lnTo>
                    <a:pt x="114" y="150"/>
                  </a:lnTo>
                  <a:lnTo>
                    <a:pt x="110" y="156"/>
                  </a:lnTo>
                  <a:lnTo>
                    <a:pt x="108" y="156"/>
                  </a:lnTo>
                  <a:lnTo>
                    <a:pt x="104" y="152"/>
                  </a:lnTo>
                  <a:lnTo>
                    <a:pt x="104" y="152"/>
                  </a:lnTo>
                  <a:lnTo>
                    <a:pt x="102" y="152"/>
                  </a:lnTo>
                  <a:lnTo>
                    <a:pt x="100" y="152"/>
                  </a:lnTo>
                  <a:lnTo>
                    <a:pt x="96" y="156"/>
                  </a:lnTo>
                  <a:lnTo>
                    <a:pt x="94" y="158"/>
                  </a:lnTo>
                  <a:lnTo>
                    <a:pt x="94" y="158"/>
                  </a:lnTo>
                  <a:lnTo>
                    <a:pt x="92" y="162"/>
                  </a:lnTo>
                  <a:lnTo>
                    <a:pt x="88" y="166"/>
                  </a:lnTo>
                  <a:lnTo>
                    <a:pt x="84" y="168"/>
                  </a:lnTo>
                  <a:lnTo>
                    <a:pt x="82" y="174"/>
                  </a:lnTo>
                  <a:lnTo>
                    <a:pt x="82" y="190"/>
                  </a:lnTo>
                  <a:lnTo>
                    <a:pt x="0" y="190"/>
                  </a:lnTo>
                  <a:lnTo>
                    <a:pt x="0" y="190"/>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Algeria"/>
            <p:cNvSpPr>
              <a:spLocks/>
            </p:cNvSpPr>
            <p:nvPr/>
          </p:nvSpPr>
          <p:spPr bwMode="auto">
            <a:xfrm>
              <a:off x="3906538" y="2393156"/>
              <a:ext cx="552979" cy="592667"/>
            </a:xfrm>
            <a:custGeom>
              <a:avLst/>
              <a:gdLst/>
              <a:ahLst/>
              <a:cxnLst>
                <a:cxn ang="0">
                  <a:pos x="292" y="432"/>
                </a:cxn>
                <a:cxn ang="0">
                  <a:pos x="316" y="408"/>
                </a:cxn>
                <a:cxn ang="0">
                  <a:pos x="418" y="302"/>
                </a:cxn>
                <a:cxn ang="0">
                  <a:pos x="394" y="286"/>
                </a:cxn>
                <a:cxn ang="0">
                  <a:pos x="378" y="278"/>
                </a:cxn>
                <a:cxn ang="0">
                  <a:pos x="374" y="268"/>
                </a:cxn>
                <a:cxn ang="0">
                  <a:pos x="360" y="256"/>
                </a:cxn>
                <a:cxn ang="0">
                  <a:pos x="372" y="244"/>
                </a:cxn>
                <a:cxn ang="0">
                  <a:pos x="372" y="232"/>
                </a:cxn>
                <a:cxn ang="0">
                  <a:pos x="374" y="224"/>
                </a:cxn>
                <a:cxn ang="0">
                  <a:pos x="362" y="192"/>
                </a:cxn>
                <a:cxn ang="0">
                  <a:pos x="354" y="168"/>
                </a:cxn>
                <a:cxn ang="0">
                  <a:pos x="348" y="128"/>
                </a:cxn>
                <a:cxn ang="0">
                  <a:pos x="336" y="116"/>
                </a:cxn>
                <a:cxn ang="0">
                  <a:pos x="324" y="94"/>
                </a:cxn>
                <a:cxn ang="0">
                  <a:pos x="320" y="70"/>
                </a:cxn>
                <a:cxn ang="0">
                  <a:pos x="330" y="60"/>
                </a:cxn>
                <a:cxn ang="0">
                  <a:pos x="334" y="48"/>
                </a:cxn>
                <a:cxn ang="0">
                  <a:pos x="332" y="34"/>
                </a:cxn>
                <a:cxn ang="0">
                  <a:pos x="330" y="18"/>
                </a:cxn>
                <a:cxn ang="0">
                  <a:pos x="338" y="6"/>
                </a:cxn>
                <a:cxn ang="0">
                  <a:pos x="326" y="2"/>
                </a:cxn>
                <a:cxn ang="0">
                  <a:pos x="314" y="4"/>
                </a:cxn>
                <a:cxn ang="0">
                  <a:pos x="306" y="6"/>
                </a:cxn>
                <a:cxn ang="0">
                  <a:pos x="290" y="10"/>
                </a:cxn>
                <a:cxn ang="0">
                  <a:pos x="276" y="6"/>
                </a:cxn>
                <a:cxn ang="0">
                  <a:pos x="256" y="8"/>
                </a:cxn>
                <a:cxn ang="0">
                  <a:pos x="242" y="12"/>
                </a:cxn>
                <a:cxn ang="0">
                  <a:pos x="214" y="16"/>
                </a:cxn>
                <a:cxn ang="0">
                  <a:pos x="192" y="28"/>
                </a:cxn>
                <a:cxn ang="0">
                  <a:pos x="176" y="38"/>
                </a:cxn>
                <a:cxn ang="0">
                  <a:pos x="166" y="34"/>
                </a:cxn>
                <a:cxn ang="0">
                  <a:pos x="152" y="44"/>
                </a:cxn>
                <a:cxn ang="0">
                  <a:pos x="142" y="48"/>
                </a:cxn>
                <a:cxn ang="0">
                  <a:pos x="140" y="58"/>
                </a:cxn>
                <a:cxn ang="0">
                  <a:pos x="140" y="90"/>
                </a:cxn>
                <a:cxn ang="0">
                  <a:pos x="160" y="104"/>
                </a:cxn>
                <a:cxn ang="0">
                  <a:pos x="158" y="116"/>
                </a:cxn>
                <a:cxn ang="0">
                  <a:pos x="132" y="118"/>
                </a:cxn>
                <a:cxn ang="0">
                  <a:pos x="106" y="128"/>
                </a:cxn>
                <a:cxn ang="0">
                  <a:pos x="110" y="140"/>
                </a:cxn>
                <a:cxn ang="0">
                  <a:pos x="68" y="166"/>
                </a:cxn>
                <a:cxn ang="0">
                  <a:pos x="44" y="178"/>
                </a:cxn>
                <a:cxn ang="0">
                  <a:pos x="32" y="182"/>
                </a:cxn>
                <a:cxn ang="0">
                  <a:pos x="20" y="184"/>
                </a:cxn>
                <a:cxn ang="0">
                  <a:pos x="10" y="194"/>
                </a:cxn>
                <a:cxn ang="0">
                  <a:pos x="0" y="234"/>
                </a:cxn>
                <a:cxn ang="0">
                  <a:pos x="224" y="408"/>
                </a:cxn>
                <a:cxn ang="0">
                  <a:pos x="232" y="412"/>
                </a:cxn>
                <a:cxn ang="0">
                  <a:pos x="236" y="416"/>
                </a:cxn>
                <a:cxn ang="0">
                  <a:pos x="244" y="424"/>
                </a:cxn>
                <a:cxn ang="0">
                  <a:pos x="246" y="436"/>
                </a:cxn>
                <a:cxn ang="0">
                  <a:pos x="248" y="446"/>
                </a:cxn>
              </a:cxnLst>
              <a:rect l="0" t="0" r="r" b="b"/>
              <a:pathLst>
                <a:path w="418" h="448">
                  <a:moveTo>
                    <a:pt x="266" y="440"/>
                  </a:moveTo>
                  <a:lnTo>
                    <a:pt x="266" y="440"/>
                  </a:lnTo>
                  <a:lnTo>
                    <a:pt x="288" y="432"/>
                  </a:lnTo>
                  <a:lnTo>
                    <a:pt x="288" y="432"/>
                  </a:lnTo>
                  <a:lnTo>
                    <a:pt x="292" y="432"/>
                  </a:lnTo>
                  <a:lnTo>
                    <a:pt x="294" y="430"/>
                  </a:lnTo>
                  <a:lnTo>
                    <a:pt x="304" y="420"/>
                  </a:lnTo>
                  <a:lnTo>
                    <a:pt x="304" y="420"/>
                  </a:lnTo>
                  <a:lnTo>
                    <a:pt x="312" y="412"/>
                  </a:lnTo>
                  <a:lnTo>
                    <a:pt x="316" y="408"/>
                  </a:lnTo>
                  <a:lnTo>
                    <a:pt x="322" y="404"/>
                  </a:lnTo>
                  <a:lnTo>
                    <a:pt x="330" y="396"/>
                  </a:lnTo>
                  <a:lnTo>
                    <a:pt x="330" y="396"/>
                  </a:lnTo>
                  <a:lnTo>
                    <a:pt x="382" y="340"/>
                  </a:lnTo>
                  <a:lnTo>
                    <a:pt x="418" y="302"/>
                  </a:lnTo>
                  <a:lnTo>
                    <a:pt x="418" y="302"/>
                  </a:lnTo>
                  <a:lnTo>
                    <a:pt x="414" y="300"/>
                  </a:lnTo>
                  <a:lnTo>
                    <a:pt x="400" y="290"/>
                  </a:lnTo>
                  <a:lnTo>
                    <a:pt x="400" y="290"/>
                  </a:lnTo>
                  <a:lnTo>
                    <a:pt x="394" y="286"/>
                  </a:lnTo>
                  <a:lnTo>
                    <a:pt x="390" y="286"/>
                  </a:lnTo>
                  <a:lnTo>
                    <a:pt x="386" y="286"/>
                  </a:lnTo>
                  <a:lnTo>
                    <a:pt x="382" y="282"/>
                  </a:lnTo>
                  <a:lnTo>
                    <a:pt x="382" y="282"/>
                  </a:lnTo>
                  <a:lnTo>
                    <a:pt x="378" y="278"/>
                  </a:lnTo>
                  <a:lnTo>
                    <a:pt x="376" y="276"/>
                  </a:lnTo>
                  <a:lnTo>
                    <a:pt x="374" y="276"/>
                  </a:lnTo>
                  <a:lnTo>
                    <a:pt x="374" y="272"/>
                  </a:lnTo>
                  <a:lnTo>
                    <a:pt x="374" y="272"/>
                  </a:lnTo>
                  <a:lnTo>
                    <a:pt x="374" y="268"/>
                  </a:lnTo>
                  <a:lnTo>
                    <a:pt x="372" y="266"/>
                  </a:lnTo>
                  <a:lnTo>
                    <a:pt x="368" y="264"/>
                  </a:lnTo>
                  <a:lnTo>
                    <a:pt x="360" y="258"/>
                  </a:lnTo>
                  <a:lnTo>
                    <a:pt x="360" y="258"/>
                  </a:lnTo>
                  <a:lnTo>
                    <a:pt x="360" y="256"/>
                  </a:lnTo>
                  <a:lnTo>
                    <a:pt x="360" y="254"/>
                  </a:lnTo>
                  <a:lnTo>
                    <a:pt x="362" y="252"/>
                  </a:lnTo>
                  <a:lnTo>
                    <a:pt x="368" y="250"/>
                  </a:lnTo>
                  <a:lnTo>
                    <a:pt x="370" y="248"/>
                  </a:lnTo>
                  <a:lnTo>
                    <a:pt x="372" y="244"/>
                  </a:lnTo>
                  <a:lnTo>
                    <a:pt x="372" y="244"/>
                  </a:lnTo>
                  <a:lnTo>
                    <a:pt x="374" y="240"/>
                  </a:lnTo>
                  <a:lnTo>
                    <a:pt x="376" y="238"/>
                  </a:lnTo>
                  <a:lnTo>
                    <a:pt x="376" y="236"/>
                  </a:lnTo>
                  <a:lnTo>
                    <a:pt x="372" y="232"/>
                  </a:lnTo>
                  <a:lnTo>
                    <a:pt x="372" y="232"/>
                  </a:lnTo>
                  <a:lnTo>
                    <a:pt x="370" y="228"/>
                  </a:lnTo>
                  <a:lnTo>
                    <a:pt x="372" y="226"/>
                  </a:lnTo>
                  <a:lnTo>
                    <a:pt x="372" y="226"/>
                  </a:lnTo>
                  <a:lnTo>
                    <a:pt x="374" y="224"/>
                  </a:lnTo>
                  <a:lnTo>
                    <a:pt x="376" y="220"/>
                  </a:lnTo>
                  <a:lnTo>
                    <a:pt x="374" y="214"/>
                  </a:lnTo>
                  <a:lnTo>
                    <a:pt x="368" y="202"/>
                  </a:lnTo>
                  <a:lnTo>
                    <a:pt x="368" y="202"/>
                  </a:lnTo>
                  <a:lnTo>
                    <a:pt x="362" y="192"/>
                  </a:lnTo>
                  <a:lnTo>
                    <a:pt x="360" y="184"/>
                  </a:lnTo>
                  <a:lnTo>
                    <a:pt x="360" y="178"/>
                  </a:lnTo>
                  <a:lnTo>
                    <a:pt x="358" y="172"/>
                  </a:lnTo>
                  <a:lnTo>
                    <a:pt x="358" y="172"/>
                  </a:lnTo>
                  <a:lnTo>
                    <a:pt x="354" y="168"/>
                  </a:lnTo>
                  <a:lnTo>
                    <a:pt x="354" y="166"/>
                  </a:lnTo>
                  <a:lnTo>
                    <a:pt x="356" y="166"/>
                  </a:lnTo>
                  <a:lnTo>
                    <a:pt x="356" y="166"/>
                  </a:lnTo>
                  <a:lnTo>
                    <a:pt x="350" y="138"/>
                  </a:lnTo>
                  <a:lnTo>
                    <a:pt x="348" y="128"/>
                  </a:lnTo>
                  <a:lnTo>
                    <a:pt x="346" y="124"/>
                  </a:lnTo>
                  <a:lnTo>
                    <a:pt x="342" y="122"/>
                  </a:lnTo>
                  <a:lnTo>
                    <a:pt x="342" y="122"/>
                  </a:lnTo>
                  <a:lnTo>
                    <a:pt x="338" y="120"/>
                  </a:lnTo>
                  <a:lnTo>
                    <a:pt x="336" y="116"/>
                  </a:lnTo>
                  <a:lnTo>
                    <a:pt x="332" y="108"/>
                  </a:lnTo>
                  <a:lnTo>
                    <a:pt x="330" y="102"/>
                  </a:lnTo>
                  <a:lnTo>
                    <a:pt x="328" y="98"/>
                  </a:lnTo>
                  <a:lnTo>
                    <a:pt x="324" y="94"/>
                  </a:lnTo>
                  <a:lnTo>
                    <a:pt x="324" y="94"/>
                  </a:lnTo>
                  <a:lnTo>
                    <a:pt x="320" y="92"/>
                  </a:lnTo>
                  <a:lnTo>
                    <a:pt x="318" y="88"/>
                  </a:lnTo>
                  <a:lnTo>
                    <a:pt x="316" y="80"/>
                  </a:lnTo>
                  <a:lnTo>
                    <a:pt x="316" y="74"/>
                  </a:lnTo>
                  <a:lnTo>
                    <a:pt x="320" y="70"/>
                  </a:lnTo>
                  <a:lnTo>
                    <a:pt x="320" y="70"/>
                  </a:lnTo>
                  <a:lnTo>
                    <a:pt x="324" y="68"/>
                  </a:lnTo>
                  <a:lnTo>
                    <a:pt x="326" y="66"/>
                  </a:lnTo>
                  <a:lnTo>
                    <a:pt x="326" y="62"/>
                  </a:lnTo>
                  <a:lnTo>
                    <a:pt x="330" y="60"/>
                  </a:lnTo>
                  <a:lnTo>
                    <a:pt x="330" y="60"/>
                  </a:lnTo>
                  <a:lnTo>
                    <a:pt x="334" y="58"/>
                  </a:lnTo>
                  <a:lnTo>
                    <a:pt x="334" y="56"/>
                  </a:lnTo>
                  <a:lnTo>
                    <a:pt x="334" y="52"/>
                  </a:lnTo>
                  <a:lnTo>
                    <a:pt x="334" y="48"/>
                  </a:lnTo>
                  <a:lnTo>
                    <a:pt x="334" y="48"/>
                  </a:lnTo>
                  <a:lnTo>
                    <a:pt x="336" y="46"/>
                  </a:lnTo>
                  <a:lnTo>
                    <a:pt x="334" y="44"/>
                  </a:lnTo>
                  <a:lnTo>
                    <a:pt x="334" y="40"/>
                  </a:lnTo>
                  <a:lnTo>
                    <a:pt x="332" y="34"/>
                  </a:lnTo>
                  <a:lnTo>
                    <a:pt x="332" y="34"/>
                  </a:lnTo>
                  <a:lnTo>
                    <a:pt x="332" y="22"/>
                  </a:lnTo>
                  <a:lnTo>
                    <a:pt x="332" y="20"/>
                  </a:lnTo>
                  <a:lnTo>
                    <a:pt x="330" y="18"/>
                  </a:lnTo>
                  <a:lnTo>
                    <a:pt x="330" y="18"/>
                  </a:lnTo>
                  <a:lnTo>
                    <a:pt x="328" y="18"/>
                  </a:lnTo>
                  <a:lnTo>
                    <a:pt x="330" y="16"/>
                  </a:lnTo>
                  <a:lnTo>
                    <a:pt x="334" y="12"/>
                  </a:lnTo>
                  <a:lnTo>
                    <a:pt x="338" y="6"/>
                  </a:lnTo>
                  <a:lnTo>
                    <a:pt x="338" y="6"/>
                  </a:lnTo>
                  <a:lnTo>
                    <a:pt x="330" y="4"/>
                  </a:lnTo>
                  <a:lnTo>
                    <a:pt x="328" y="4"/>
                  </a:lnTo>
                  <a:lnTo>
                    <a:pt x="328" y="4"/>
                  </a:lnTo>
                  <a:lnTo>
                    <a:pt x="326" y="2"/>
                  </a:lnTo>
                  <a:lnTo>
                    <a:pt x="326" y="2"/>
                  </a:lnTo>
                  <a:lnTo>
                    <a:pt x="318" y="0"/>
                  </a:lnTo>
                  <a:lnTo>
                    <a:pt x="320" y="2"/>
                  </a:lnTo>
                  <a:lnTo>
                    <a:pt x="318" y="4"/>
                  </a:lnTo>
                  <a:lnTo>
                    <a:pt x="318" y="4"/>
                  </a:lnTo>
                  <a:lnTo>
                    <a:pt x="314" y="4"/>
                  </a:lnTo>
                  <a:lnTo>
                    <a:pt x="312" y="2"/>
                  </a:lnTo>
                  <a:lnTo>
                    <a:pt x="310" y="0"/>
                  </a:lnTo>
                  <a:lnTo>
                    <a:pt x="308" y="4"/>
                  </a:lnTo>
                  <a:lnTo>
                    <a:pt x="308" y="4"/>
                  </a:lnTo>
                  <a:lnTo>
                    <a:pt x="306" y="6"/>
                  </a:lnTo>
                  <a:lnTo>
                    <a:pt x="302" y="6"/>
                  </a:lnTo>
                  <a:lnTo>
                    <a:pt x="298" y="6"/>
                  </a:lnTo>
                  <a:lnTo>
                    <a:pt x="294" y="8"/>
                  </a:lnTo>
                  <a:lnTo>
                    <a:pt x="294" y="8"/>
                  </a:lnTo>
                  <a:lnTo>
                    <a:pt x="290" y="10"/>
                  </a:lnTo>
                  <a:lnTo>
                    <a:pt x="290" y="8"/>
                  </a:lnTo>
                  <a:lnTo>
                    <a:pt x="288" y="6"/>
                  </a:lnTo>
                  <a:lnTo>
                    <a:pt x="284" y="6"/>
                  </a:lnTo>
                  <a:lnTo>
                    <a:pt x="284" y="6"/>
                  </a:lnTo>
                  <a:lnTo>
                    <a:pt x="276" y="6"/>
                  </a:lnTo>
                  <a:lnTo>
                    <a:pt x="272" y="6"/>
                  </a:lnTo>
                  <a:lnTo>
                    <a:pt x="266" y="6"/>
                  </a:lnTo>
                  <a:lnTo>
                    <a:pt x="262" y="6"/>
                  </a:lnTo>
                  <a:lnTo>
                    <a:pt x="262" y="6"/>
                  </a:lnTo>
                  <a:lnTo>
                    <a:pt x="256" y="8"/>
                  </a:lnTo>
                  <a:lnTo>
                    <a:pt x="250" y="12"/>
                  </a:lnTo>
                  <a:lnTo>
                    <a:pt x="250" y="12"/>
                  </a:lnTo>
                  <a:lnTo>
                    <a:pt x="248" y="14"/>
                  </a:lnTo>
                  <a:lnTo>
                    <a:pt x="246" y="12"/>
                  </a:lnTo>
                  <a:lnTo>
                    <a:pt x="242" y="12"/>
                  </a:lnTo>
                  <a:lnTo>
                    <a:pt x="230" y="12"/>
                  </a:lnTo>
                  <a:lnTo>
                    <a:pt x="230" y="12"/>
                  </a:lnTo>
                  <a:lnTo>
                    <a:pt x="220" y="12"/>
                  </a:lnTo>
                  <a:lnTo>
                    <a:pt x="216" y="14"/>
                  </a:lnTo>
                  <a:lnTo>
                    <a:pt x="214" y="16"/>
                  </a:lnTo>
                  <a:lnTo>
                    <a:pt x="210" y="16"/>
                  </a:lnTo>
                  <a:lnTo>
                    <a:pt x="210" y="16"/>
                  </a:lnTo>
                  <a:lnTo>
                    <a:pt x="204" y="18"/>
                  </a:lnTo>
                  <a:lnTo>
                    <a:pt x="198" y="22"/>
                  </a:lnTo>
                  <a:lnTo>
                    <a:pt x="192" y="28"/>
                  </a:lnTo>
                  <a:lnTo>
                    <a:pt x="186" y="30"/>
                  </a:lnTo>
                  <a:lnTo>
                    <a:pt x="186" y="30"/>
                  </a:lnTo>
                  <a:lnTo>
                    <a:pt x="184" y="32"/>
                  </a:lnTo>
                  <a:lnTo>
                    <a:pt x="180" y="36"/>
                  </a:lnTo>
                  <a:lnTo>
                    <a:pt x="176" y="38"/>
                  </a:lnTo>
                  <a:lnTo>
                    <a:pt x="174" y="38"/>
                  </a:lnTo>
                  <a:lnTo>
                    <a:pt x="170" y="34"/>
                  </a:lnTo>
                  <a:lnTo>
                    <a:pt x="170" y="34"/>
                  </a:lnTo>
                  <a:lnTo>
                    <a:pt x="166" y="32"/>
                  </a:lnTo>
                  <a:lnTo>
                    <a:pt x="166" y="34"/>
                  </a:lnTo>
                  <a:lnTo>
                    <a:pt x="164" y="38"/>
                  </a:lnTo>
                  <a:lnTo>
                    <a:pt x="160" y="38"/>
                  </a:lnTo>
                  <a:lnTo>
                    <a:pt x="160" y="38"/>
                  </a:lnTo>
                  <a:lnTo>
                    <a:pt x="154" y="40"/>
                  </a:lnTo>
                  <a:lnTo>
                    <a:pt x="152" y="44"/>
                  </a:lnTo>
                  <a:lnTo>
                    <a:pt x="152" y="46"/>
                  </a:lnTo>
                  <a:lnTo>
                    <a:pt x="148" y="48"/>
                  </a:lnTo>
                  <a:lnTo>
                    <a:pt x="148" y="48"/>
                  </a:lnTo>
                  <a:lnTo>
                    <a:pt x="144" y="48"/>
                  </a:lnTo>
                  <a:lnTo>
                    <a:pt x="142" y="48"/>
                  </a:lnTo>
                  <a:lnTo>
                    <a:pt x="142" y="50"/>
                  </a:lnTo>
                  <a:lnTo>
                    <a:pt x="138" y="50"/>
                  </a:lnTo>
                  <a:lnTo>
                    <a:pt x="138" y="50"/>
                  </a:lnTo>
                  <a:lnTo>
                    <a:pt x="140" y="54"/>
                  </a:lnTo>
                  <a:lnTo>
                    <a:pt x="140" y="58"/>
                  </a:lnTo>
                  <a:lnTo>
                    <a:pt x="142" y="70"/>
                  </a:lnTo>
                  <a:lnTo>
                    <a:pt x="142" y="70"/>
                  </a:lnTo>
                  <a:lnTo>
                    <a:pt x="140" y="78"/>
                  </a:lnTo>
                  <a:lnTo>
                    <a:pt x="140" y="86"/>
                  </a:lnTo>
                  <a:lnTo>
                    <a:pt x="140" y="90"/>
                  </a:lnTo>
                  <a:lnTo>
                    <a:pt x="142" y="94"/>
                  </a:lnTo>
                  <a:lnTo>
                    <a:pt x="146" y="96"/>
                  </a:lnTo>
                  <a:lnTo>
                    <a:pt x="152" y="100"/>
                  </a:lnTo>
                  <a:lnTo>
                    <a:pt x="152" y="100"/>
                  </a:lnTo>
                  <a:lnTo>
                    <a:pt x="160" y="104"/>
                  </a:lnTo>
                  <a:lnTo>
                    <a:pt x="162" y="108"/>
                  </a:lnTo>
                  <a:lnTo>
                    <a:pt x="160" y="110"/>
                  </a:lnTo>
                  <a:lnTo>
                    <a:pt x="158" y="112"/>
                  </a:lnTo>
                  <a:lnTo>
                    <a:pt x="158" y="112"/>
                  </a:lnTo>
                  <a:lnTo>
                    <a:pt x="158" y="116"/>
                  </a:lnTo>
                  <a:lnTo>
                    <a:pt x="160" y="118"/>
                  </a:lnTo>
                  <a:lnTo>
                    <a:pt x="156" y="120"/>
                  </a:lnTo>
                  <a:lnTo>
                    <a:pt x="142" y="118"/>
                  </a:lnTo>
                  <a:lnTo>
                    <a:pt x="142" y="118"/>
                  </a:lnTo>
                  <a:lnTo>
                    <a:pt x="132" y="118"/>
                  </a:lnTo>
                  <a:lnTo>
                    <a:pt x="124" y="120"/>
                  </a:lnTo>
                  <a:lnTo>
                    <a:pt x="120" y="122"/>
                  </a:lnTo>
                  <a:lnTo>
                    <a:pt x="112" y="124"/>
                  </a:lnTo>
                  <a:lnTo>
                    <a:pt x="112" y="124"/>
                  </a:lnTo>
                  <a:lnTo>
                    <a:pt x="106" y="128"/>
                  </a:lnTo>
                  <a:lnTo>
                    <a:pt x="102" y="132"/>
                  </a:lnTo>
                  <a:lnTo>
                    <a:pt x="102" y="136"/>
                  </a:lnTo>
                  <a:lnTo>
                    <a:pt x="106" y="140"/>
                  </a:lnTo>
                  <a:lnTo>
                    <a:pt x="106" y="140"/>
                  </a:lnTo>
                  <a:lnTo>
                    <a:pt x="110" y="140"/>
                  </a:lnTo>
                  <a:lnTo>
                    <a:pt x="108" y="142"/>
                  </a:lnTo>
                  <a:lnTo>
                    <a:pt x="92" y="150"/>
                  </a:lnTo>
                  <a:lnTo>
                    <a:pt x="92" y="150"/>
                  </a:lnTo>
                  <a:lnTo>
                    <a:pt x="76" y="158"/>
                  </a:lnTo>
                  <a:lnTo>
                    <a:pt x="68" y="166"/>
                  </a:lnTo>
                  <a:lnTo>
                    <a:pt x="68" y="166"/>
                  </a:lnTo>
                  <a:lnTo>
                    <a:pt x="60" y="174"/>
                  </a:lnTo>
                  <a:lnTo>
                    <a:pt x="52" y="178"/>
                  </a:lnTo>
                  <a:lnTo>
                    <a:pt x="52" y="178"/>
                  </a:lnTo>
                  <a:lnTo>
                    <a:pt x="44" y="178"/>
                  </a:lnTo>
                  <a:lnTo>
                    <a:pt x="42" y="176"/>
                  </a:lnTo>
                  <a:lnTo>
                    <a:pt x="42" y="176"/>
                  </a:lnTo>
                  <a:lnTo>
                    <a:pt x="40" y="174"/>
                  </a:lnTo>
                  <a:lnTo>
                    <a:pt x="36" y="176"/>
                  </a:lnTo>
                  <a:lnTo>
                    <a:pt x="32" y="182"/>
                  </a:lnTo>
                  <a:lnTo>
                    <a:pt x="28" y="188"/>
                  </a:lnTo>
                  <a:lnTo>
                    <a:pt x="26" y="188"/>
                  </a:lnTo>
                  <a:lnTo>
                    <a:pt x="22" y="184"/>
                  </a:lnTo>
                  <a:lnTo>
                    <a:pt x="22" y="184"/>
                  </a:lnTo>
                  <a:lnTo>
                    <a:pt x="20" y="184"/>
                  </a:lnTo>
                  <a:lnTo>
                    <a:pt x="18" y="184"/>
                  </a:lnTo>
                  <a:lnTo>
                    <a:pt x="14" y="188"/>
                  </a:lnTo>
                  <a:lnTo>
                    <a:pt x="12" y="190"/>
                  </a:lnTo>
                  <a:lnTo>
                    <a:pt x="12" y="190"/>
                  </a:lnTo>
                  <a:lnTo>
                    <a:pt x="10" y="194"/>
                  </a:lnTo>
                  <a:lnTo>
                    <a:pt x="6" y="198"/>
                  </a:lnTo>
                  <a:lnTo>
                    <a:pt x="2" y="200"/>
                  </a:lnTo>
                  <a:lnTo>
                    <a:pt x="0" y="206"/>
                  </a:lnTo>
                  <a:lnTo>
                    <a:pt x="0" y="222"/>
                  </a:lnTo>
                  <a:lnTo>
                    <a:pt x="0" y="234"/>
                  </a:lnTo>
                  <a:lnTo>
                    <a:pt x="78" y="296"/>
                  </a:lnTo>
                  <a:lnTo>
                    <a:pt x="78" y="296"/>
                  </a:lnTo>
                  <a:lnTo>
                    <a:pt x="220" y="404"/>
                  </a:lnTo>
                  <a:lnTo>
                    <a:pt x="220" y="404"/>
                  </a:lnTo>
                  <a:lnTo>
                    <a:pt x="224" y="408"/>
                  </a:lnTo>
                  <a:lnTo>
                    <a:pt x="228" y="408"/>
                  </a:lnTo>
                  <a:lnTo>
                    <a:pt x="230" y="408"/>
                  </a:lnTo>
                  <a:lnTo>
                    <a:pt x="232" y="410"/>
                  </a:lnTo>
                  <a:lnTo>
                    <a:pt x="232" y="410"/>
                  </a:lnTo>
                  <a:lnTo>
                    <a:pt x="232" y="412"/>
                  </a:lnTo>
                  <a:lnTo>
                    <a:pt x="232" y="412"/>
                  </a:lnTo>
                  <a:lnTo>
                    <a:pt x="230" y="414"/>
                  </a:lnTo>
                  <a:lnTo>
                    <a:pt x="232" y="416"/>
                  </a:lnTo>
                  <a:lnTo>
                    <a:pt x="232" y="416"/>
                  </a:lnTo>
                  <a:lnTo>
                    <a:pt x="236" y="416"/>
                  </a:lnTo>
                  <a:lnTo>
                    <a:pt x="238" y="418"/>
                  </a:lnTo>
                  <a:lnTo>
                    <a:pt x="240" y="418"/>
                  </a:lnTo>
                  <a:lnTo>
                    <a:pt x="242" y="420"/>
                  </a:lnTo>
                  <a:lnTo>
                    <a:pt x="242" y="420"/>
                  </a:lnTo>
                  <a:lnTo>
                    <a:pt x="244" y="424"/>
                  </a:lnTo>
                  <a:lnTo>
                    <a:pt x="246" y="424"/>
                  </a:lnTo>
                  <a:lnTo>
                    <a:pt x="248" y="426"/>
                  </a:lnTo>
                  <a:lnTo>
                    <a:pt x="248" y="426"/>
                  </a:lnTo>
                  <a:lnTo>
                    <a:pt x="250" y="430"/>
                  </a:lnTo>
                  <a:lnTo>
                    <a:pt x="246" y="436"/>
                  </a:lnTo>
                  <a:lnTo>
                    <a:pt x="244" y="440"/>
                  </a:lnTo>
                  <a:lnTo>
                    <a:pt x="242" y="446"/>
                  </a:lnTo>
                  <a:lnTo>
                    <a:pt x="242" y="446"/>
                  </a:lnTo>
                  <a:lnTo>
                    <a:pt x="244" y="448"/>
                  </a:lnTo>
                  <a:lnTo>
                    <a:pt x="248" y="446"/>
                  </a:lnTo>
                  <a:lnTo>
                    <a:pt x="266" y="440"/>
                  </a:lnTo>
                  <a:lnTo>
                    <a:pt x="266" y="440"/>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Tunisia"/>
            <p:cNvSpPr>
              <a:spLocks/>
            </p:cNvSpPr>
            <p:nvPr/>
          </p:nvSpPr>
          <p:spPr bwMode="auto">
            <a:xfrm>
              <a:off x="4324580" y="2387865"/>
              <a:ext cx="111125" cy="224896"/>
            </a:xfrm>
            <a:custGeom>
              <a:avLst/>
              <a:gdLst/>
              <a:ahLst/>
              <a:cxnLst>
                <a:cxn ang="0">
                  <a:pos x="34" y="142"/>
                </a:cxn>
                <a:cxn ang="0">
                  <a:pos x="26" y="126"/>
                </a:cxn>
                <a:cxn ang="0">
                  <a:pos x="20" y="120"/>
                </a:cxn>
                <a:cxn ang="0">
                  <a:pos x="12" y="102"/>
                </a:cxn>
                <a:cxn ang="0">
                  <a:pos x="4" y="96"/>
                </a:cxn>
                <a:cxn ang="0">
                  <a:pos x="0" y="78"/>
                </a:cxn>
                <a:cxn ang="0">
                  <a:pos x="8" y="72"/>
                </a:cxn>
                <a:cxn ang="0">
                  <a:pos x="14" y="64"/>
                </a:cxn>
                <a:cxn ang="0">
                  <a:pos x="18" y="60"/>
                </a:cxn>
                <a:cxn ang="0">
                  <a:pos x="18" y="52"/>
                </a:cxn>
                <a:cxn ang="0">
                  <a:pos x="18" y="44"/>
                </a:cxn>
                <a:cxn ang="0">
                  <a:pos x="16" y="26"/>
                </a:cxn>
                <a:cxn ang="0">
                  <a:pos x="14" y="22"/>
                </a:cxn>
                <a:cxn ang="0">
                  <a:pos x="18" y="16"/>
                </a:cxn>
                <a:cxn ang="0">
                  <a:pos x="34" y="4"/>
                </a:cxn>
                <a:cxn ang="0">
                  <a:pos x="48" y="0"/>
                </a:cxn>
                <a:cxn ang="0">
                  <a:pos x="54" y="4"/>
                </a:cxn>
                <a:cxn ang="0">
                  <a:pos x="56" y="4"/>
                </a:cxn>
                <a:cxn ang="0">
                  <a:pos x="54" y="10"/>
                </a:cxn>
                <a:cxn ang="0">
                  <a:pos x="54" y="14"/>
                </a:cxn>
                <a:cxn ang="0">
                  <a:pos x="60" y="12"/>
                </a:cxn>
                <a:cxn ang="0">
                  <a:pos x="70" y="12"/>
                </a:cxn>
                <a:cxn ang="0">
                  <a:pos x="70" y="14"/>
                </a:cxn>
                <a:cxn ang="0">
                  <a:pos x="70" y="18"/>
                </a:cxn>
                <a:cxn ang="0">
                  <a:pos x="66" y="24"/>
                </a:cxn>
                <a:cxn ang="0">
                  <a:pos x="68" y="36"/>
                </a:cxn>
                <a:cxn ang="0">
                  <a:pos x="76" y="46"/>
                </a:cxn>
                <a:cxn ang="0">
                  <a:pos x="78" y="52"/>
                </a:cxn>
                <a:cxn ang="0">
                  <a:pos x="74" y="64"/>
                </a:cxn>
                <a:cxn ang="0">
                  <a:pos x="58" y="72"/>
                </a:cxn>
                <a:cxn ang="0">
                  <a:pos x="54" y="80"/>
                </a:cxn>
                <a:cxn ang="0">
                  <a:pos x="64" y="88"/>
                </a:cxn>
                <a:cxn ang="0">
                  <a:pos x="70" y="86"/>
                </a:cxn>
                <a:cxn ang="0">
                  <a:pos x="72" y="86"/>
                </a:cxn>
                <a:cxn ang="0">
                  <a:pos x="70" y="90"/>
                </a:cxn>
                <a:cxn ang="0">
                  <a:pos x="76" y="94"/>
                </a:cxn>
                <a:cxn ang="0">
                  <a:pos x="80" y="110"/>
                </a:cxn>
                <a:cxn ang="0">
                  <a:pos x="84" y="112"/>
                </a:cxn>
                <a:cxn ang="0">
                  <a:pos x="78" y="118"/>
                </a:cxn>
                <a:cxn ang="0">
                  <a:pos x="64" y="128"/>
                </a:cxn>
                <a:cxn ang="0">
                  <a:pos x="58" y="136"/>
                </a:cxn>
                <a:cxn ang="0">
                  <a:pos x="58" y="146"/>
                </a:cxn>
                <a:cxn ang="0">
                  <a:pos x="58" y="158"/>
                </a:cxn>
                <a:cxn ang="0">
                  <a:pos x="40" y="170"/>
                </a:cxn>
              </a:cxnLst>
              <a:rect l="0" t="0" r="r" b="b"/>
              <a:pathLst>
                <a:path w="84" h="170">
                  <a:moveTo>
                    <a:pt x="40" y="170"/>
                  </a:moveTo>
                  <a:lnTo>
                    <a:pt x="40" y="170"/>
                  </a:lnTo>
                  <a:lnTo>
                    <a:pt x="34" y="142"/>
                  </a:lnTo>
                  <a:lnTo>
                    <a:pt x="32" y="132"/>
                  </a:lnTo>
                  <a:lnTo>
                    <a:pt x="30" y="128"/>
                  </a:lnTo>
                  <a:lnTo>
                    <a:pt x="26" y="126"/>
                  </a:lnTo>
                  <a:lnTo>
                    <a:pt x="26" y="126"/>
                  </a:lnTo>
                  <a:lnTo>
                    <a:pt x="22" y="124"/>
                  </a:lnTo>
                  <a:lnTo>
                    <a:pt x="20" y="120"/>
                  </a:lnTo>
                  <a:lnTo>
                    <a:pt x="16" y="112"/>
                  </a:lnTo>
                  <a:lnTo>
                    <a:pt x="14" y="106"/>
                  </a:lnTo>
                  <a:lnTo>
                    <a:pt x="12" y="102"/>
                  </a:lnTo>
                  <a:lnTo>
                    <a:pt x="8" y="98"/>
                  </a:lnTo>
                  <a:lnTo>
                    <a:pt x="8" y="98"/>
                  </a:lnTo>
                  <a:lnTo>
                    <a:pt x="4" y="96"/>
                  </a:lnTo>
                  <a:lnTo>
                    <a:pt x="2" y="92"/>
                  </a:lnTo>
                  <a:lnTo>
                    <a:pt x="0" y="84"/>
                  </a:lnTo>
                  <a:lnTo>
                    <a:pt x="0" y="78"/>
                  </a:lnTo>
                  <a:lnTo>
                    <a:pt x="4" y="74"/>
                  </a:lnTo>
                  <a:lnTo>
                    <a:pt x="4" y="74"/>
                  </a:lnTo>
                  <a:lnTo>
                    <a:pt x="8" y="72"/>
                  </a:lnTo>
                  <a:lnTo>
                    <a:pt x="10" y="70"/>
                  </a:lnTo>
                  <a:lnTo>
                    <a:pt x="10" y="66"/>
                  </a:lnTo>
                  <a:lnTo>
                    <a:pt x="14" y="64"/>
                  </a:lnTo>
                  <a:lnTo>
                    <a:pt x="14" y="64"/>
                  </a:lnTo>
                  <a:lnTo>
                    <a:pt x="18" y="62"/>
                  </a:lnTo>
                  <a:lnTo>
                    <a:pt x="18" y="60"/>
                  </a:lnTo>
                  <a:lnTo>
                    <a:pt x="18" y="56"/>
                  </a:lnTo>
                  <a:lnTo>
                    <a:pt x="18" y="52"/>
                  </a:lnTo>
                  <a:lnTo>
                    <a:pt x="18" y="52"/>
                  </a:lnTo>
                  <a:lnTo>
                    <a:pt x="20" y="50"/>
                  </a:lnTo>
                  <a:lnTo>
                    <a:pt x="18" y="48"/>
                  </a:lnTo>
                  <a:lnTo>
                    <a:pt x="18" y="44"/>
                  </a:lnTo>
                  <a:lnTo>
                    <a:pt x="16" y="38"/>
                  </a:lnTo>
                  <a:lnTo>
                    <a:pt x="16" y="38"/>
                  </a:lnTo>
                  <a:lnTo>
                    <a:pt x="16" y="26"/>
                  </a:lnTo>
                  <a:lnTo>
                    <a:pt x="16" y="24"/>
                  </a:lnTo>
                  <a:lnTo>
                    <a:pt x="14" y="22"/>
                  </a:lnTo>
                  <a:lnTo>
                    <a:pt x="14" y="22"/>
                  </a:lnTo>
                  <a:lnTo>
                    <a:pt x="12" y="22"/>
                  </a:lnTo>
                  <a:lnTo>
                    <a:pt x="14" y="20"/>
                  </a:lnTo>
                  <a:lnTo>
                    <a:pt x="18" y="16"/>
                  </a:lnTo>
                  <a:lnTo>
                    <a:pt x="22" y="10"/>
                  </a:lnTo>
                  <a:lnTo>
                    <a:pt x="22" y="10"/>
                  </a:lnTo>
                  <a:lnTo>
                    <a:pt x="34" y="4"/>
                  </a:lnTo>
                  <a:lnTo>
                    <a:pt x="42" y="2"/>
                  </a:lnTo>
                  <a:lnTo>
                    <a:pt x="42" y="2"/>
                  </a:lnTo>
                  <a:lnTo>
                    <a:pt x="48" y="0"/>
                  </a:lnTo>
                  <a:lnTo>
                    <a:pt x="50" y="0"/>
                  </a:lnTo>
                  <a:lnTo>
                    <a:pt x="52" y="2"/>
                  </a:lnTo>
                  <a:lnTo>
                    <a:pt x="54" y="4"/>
                  </a:lnTo>
                  <a:lnTo>
                    <a:pt x="54" y="4"/>
                  </a:lnTo>
                  <a:lnTo>
                    <a:pt x="56" y="4"/>
                  </a:lnTo>
                  <a:lnTo>
                    <a:pt x="56" y="4"/>
                  </a:lnTo>
                  <a:lnTo>
                    <a:pt x="54" y="6"/>
                  </a:lnTo>
                  <a:lnTo>
                    <a:pt x="52" y="8"/>
                  </a:lnTo>
                  <a:lnTo>
                    <a:pt x="54" y="10"/>
                  </a:lnTo>
                  <a:lnTo>
                    <a:pt x="54" y="10"/>
                  </a:lnTo>
                  <a:lnTo>
                    <a:pt x="54" y="12"/>
                  </a:lnTo>
                  <a:lnTo>
                    <a:pt x="54" y="14"/>
                  </a:lnTo>
                  <a:lnTo>
                    <a:pt x="54" y="14"/>
                  </a:lnTo>
                  <a:lnTo>
                    <a:pt x="60" y="12"/>
                  </a:lnTo>
                  <a:lnTo>
                    <a:pt x="60" y="12"/>
                  </a:lnTo>
                  <a:lnTo>
                    <a:pt x="68" y="10"/>
                  </a:lnTo>
                  <a:lnTo>
                    <a:pt x="70" y="10"/>
                  </a:lnTo>
                  <a:lnTo>
                    <a:pt x="70" y="12"/>
                  </a:lnTo>
                  <a:lnTo>
                    <a:pt x="70" y="12"/>
                  </a:lnTo>
                  <a:lnTo>
                    <a:pt x="70" y="14"/>
                  </a:lnTo>
                  <a:lnTo>
                    <a:pt x="70" y="14"/>
                  </a:lnTo>
                  <a:lnTo>
                    <a:pt x="70" y="16"/>
                  </a:lnTo>
                  <a:lnTo>
                    <a:pt x="70" y="18"/>
                  </a:lnTo>
                  <a:lnTo>
                    <a:pt x="70" y="18"/>
                  </a:lnTo>
                  <a:lnTo>
                    <a:pt x="68" y="22"/>
                  </a:lnTo>
                  <a:lnTo>
                    <a:pt x="66" y="22"/>
                  </a:lnTo>
                  <a:lnTo>
                    <a:pt x="66" y="24"/>
                  </a:lnTo>
                  <a:lnTo>
                    <a:pt x="66" y="30"/>
                  </a:lnTo>
                  <a:lnTo>
                    <a:pt x="66" y="30"/>
                  </a:lnTo>
                  <a:lnTo>
                    <a:pt x="68" y="36"/>
                  </a:lnTo>
                  <a:lnTo>
                    <a:pt x="72" y="40"/>
                  </a:lnTo>
                  <a:lnTo>
                    <a:pt x="74" y="42"/>
                  </a:lnTo>
                  <a:lnTo>
                    <a:pt x="76" y="46"/>
                  </a:lnTo>
                  <a:lnTo>
                    <a:pt x="76" y="46"/>
                  </a:lnTo>
                  <a:lnTo>
                    <a:pt x="76" y="50"/>
                  </a:lnTo>
                  <a:lnTo>
                    <a:pt x="78" y="52"/>
                  </a:lnTo>
                  <a:lnTo>
                    <a:pt x="78" y="56"/>
                  </a:lnTo>
                  <a:lnTo>
                    <a:pt x="74" y="64"/>
                  </a:lnTo>
                  <a:lnTo>
                    <a:pt x="74" y="64"/>
                  </a:lnTo>
                  <a:lnTo>
                    <a:pt x="68" y="70"/>
                  </a:lnTo>
                  <a:lnTo>
                    <a:pt x="62" y="72"/>
                  </a:lnTo>
                  <a:lnTo>
                    <a:pt x="58" y="72"/>
                  </a:lnTo>
                  <a:lnTo>
                    <a:pt x="54" y="76"/>
                  </a:lnTo>
                  <a:lnTo>
                    <a:pt x="54" y="76"/>
                  </a:lnTo>
                  <a:lnTo>
                    <a:pt x="54" y="80"/>
                  </a:lnTo>
                  <a:lnTo>
                    <a:pt x="54" y="82"/>
                  </a:lnTo>
                  <a:lnTo>
                    <a:pt x="58" y="88"/>
                  </a:lnTo>
                  <a:lnTo>
                    <a:pt x="64" y="88"/>
                  </a:lnTo>
                  <a:lnTo>
                    <a:pt x="68" y="88"/>
                  </a:lnTo>
                  <a:lnTo>
                    <a:pt x="68" y="88"/>
                  </a:lnTo>
                  <a:lnTo>
                    <a:pt x="70" y="86"/>
                  </a:lnTo>
                  <a:lnTo>
                    <a:pt x="68" y="84"/>
                  </a:lnTo>
                  <a:lnTo>
                    <a:pt x="72" y="86"/>
                  </a:lnTo>
                  <a:lnTo>
                    <a:pt x="72" y="86"/>
                  </a:lnTo>
                  <a:lnTo>
                    <a:pt x="74" y="88"/>
                  </a:lnTo>
                  <a:lnTo>
                    <a:pt x="72" y="90"/>
                  </a:lnTo>
                  <a:lnTo>
                    <a:pt x="70" y="90"/>
                  </a:lnTo>
                  <a:lnTo>
                    <a:pt x="72" y="92"/>
                  </a:lnTo>
                  <a:lnTo>
                    <a:pt x="72" y="92"/>
                  </a:lnTo>
                  <a:lnTo>
                    <a:pt x="76" y="94"/>
                  </a:lnTo>
                  <a:lnTo>
                    <a:pt x="78" y="96"/>
                  </a:lnTo>
                  <a:lnTo>
                    <a:pt x="82" y="98"/>
                  </a:lnTo>
                  <a:lnTo>
                    <a:pt x="80" y="110"/>
                  </a:lnTo>
                  <a:lnTo>
                    <a:pt x="80" y="110"/>
                  </a:lnTo>
                  <a:lnTo>
                    <a:pt x="82" y="110"/>
                  </a:lnTo>
                  <a:lnTo>
                    <a:pt x="84" y="112"/>
                  </a:lnTo>
                  <a:lnTo>
                    <a:pt x="82" y="116"/>
                  </a:lnTo>
                  <a:lnTo>
                    <a:pt x="78" y="118"/>
                  </a:lnTo>
                  <a:lnTo>
                    <a:pt x="78" y="118"/>
                  </a:lnTo>
                  <a:lnTo>
                    <a:pt x="70" y="122"/>
                  </a:lnTo>
                  <a:lnTo>
                    <a:pt x="66" y="124"/>
                  </a:lnTo>
                  <a:lnTo>
                    <a:pt x="64" y="128"/>
                  </a:lnTo>
                  <a:lnTo>
                    <a:pt x="64" y="128"/>
                  </a:lnTo>
                  <a:lnTo>
                    <a:pt x="62" y="132"/>
                  </a:lnTo>
                  <a:lnTo>
                    <a:pt x="58" y="136"/>
                  </a:lnTo>
                  <a:lnTo>
                    <a:pt x="56" y="140"/>
                  </a:lnTo>
                  <a:lnTo>
                    <a:pt x="58" y="146"/>
                  </a:lnTo>
                  <a:lnTo>
                    <a:pt x="58" y="146"/>
                  </a:lnTo>
                  <a:lnTo>
                    <a:pt x="60" y="150"/>
                  </a:lnTo>
                  <a:lnTo>
                    <a:pt x="60" y="154"/>
                  </a:lnTo>
                  <a:lnTo>
                    <a:pt x="58" y="158"/>
                  </a:lnTo>
                  <a:lnTo>
                    <a:pt x="54" y="162"/>
                  </a:lnTo>
                  <a:lnTo>
                    <a:pt x="46" y="166"/>
                  </a:lnTo>
                  <a:lnTo>
                    <a:pt x="40" y="170"/>
                  </a:lnTo>
                  <a:lnTo>
                    <a:pt x="40" y="170"/>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Rwanda"/>
            <p:cNvSpPr>
              <a:spLocks/>
            </p:cNvSpPr>
            <p:nvPr/>
          </p:nvSpPr>
          <p:spPr bwMode="auto">
            <a:xfrm>
              <a:off x="4956934" y="3644636"/>
              <a:ext cx="68792" cy="68792"/>
            </a:xfrm>
            <a:custGeom>
              <a:avLst/>
              <a:gdLst/>
              <a:ahLst/>
              <a:cxnLst>
                <a:cxn ang="0">
                  <a:pos x="20" y="6"/>
                </a:cxn>
                <a:cxn ang="0">
                  <a:pos x="20" y="6"/>
                </a:cxn>
                <a:cxn ang="0">
                  <a:pos x="26" y="4"/>
                </a:cxn>
                <a:cxn ang="0">
                  <a:pos x="28" y="4"/>
                </a:cxn>
                <a:cxn ang="0">
                  <a:pos x="30" y="6"/>
                </a:cxn>
                <a:cxn ang="0">
                  <a:pos x="40" y="2"/>
                </a:cxn>
                <a:cxn ang="0">
                  <a:pos x="40" y="2"/>
                </a:cxn>
                <a:cxn ang="0">
                  <a:pos x="46" y="0"/>
                </a:cxn>
                <a:cxn ang="0">
                  <a:pos x="50" y="0"/>
                </a:cxn>
                <a:cxn ang="0">
                  <a:pos x="50" y="0"/>
                </a:cxn>
                <a:cxn ang="0">
                  <a:pos x="48" y="4"/>
                </a:cxn>
                <a:cxn ang="0">
                  <a:pos x="48" y="8"/>
                </a:cxn>
                <a:cxn ang="0">
                  <a:pos x="48" y="16"/>
                </a:cxn>
                <a:cxn ang="0">
                  <a:pos x="52" y="22"/>
                </a:cxn>
                <a:cxn ang="0">
                  <a:pos x="52" y="26"/>
                </a:cxn>
                <a:cxn ang="0">
                  <a:pos x="50" y="32"/>
                </a:cxn>
                <a:cxn ang="0">
                  <a:pos x="50" y="32"/>
                </a:cxn>
                <a:cxn ang="0">
                  <a:pos x="48" y="38"/>
                </a:cxn>
                <a:cxn ang="0">
                  <a:pos x="46" y="42"/>
                </a:cxn>
                <a:cxn ang="0">
                  <a:pos x="42" y="44"/>
                </a:cxn>
                <a:cxn ang="0">
                  <a:pos x="34" y="42"/>
                </a:cxn>
                <a:cxn ang="0">
                  <a:pos x="34" y="42"/>
                </a:cxn>
                <a:cxn ang="0">
                  <a:pos x="28" y="40"/>
                </a:cxn>
                <a:cxn ang="0">
                  <a:pos x="24" y="40"/>
                </a:cxn>
                <a:cxn ang="0">
                  <a:pos x="18" y="40"/>
                </a:cxn>
                <a:cxn ang="0">
                  <a:pos x="18" y="42"/>
                </a:cxn>
                <a:cxn ang="0">
                  <a:pos x="18" y="46"/>
                </a:cxn>
                <a:cxn ang="0">
                  <a:pos x="18" y="46"/>
                </a:cxn>
                <a:cxn ang="0">
                  <a:pos x="18" y="52"/>
                </a:cxn>
                <a:cxn ang="0">
                  <a:pos x="16" y="52"/>
                </a:cxn>
                <a:cxn ang="0">
                  <a:pos x="10" y="50"/>
                </a:cxn>
                <a:cxn ang="0">
                  <a:pos x="6" y="50"/>
                </a:cxn>
                <a:cxn ang="0">
                  <a:pos x="2" y="50"/>
                </a:cxn>
                <a:cxn ang="0">
                  <a:pos x="2" y="50"/>
                </a:cxn>
                <a:cxn ang="0">
                  <a:pos x="0" y="42"/>
                </a:cxn>
                <a:cxn ang="0">
                  <a:pos x="2" y="38"/>
                </a:cxn>
                <a:cxn ang="0">
                  <a:pos x="4" y="36"/>
                </a:cxn>
                <a:cxn ang="0">
                  <a:pos x="6" y="36"/>
                </a:cxn>
                <a:cxn ang="0">
                  <a:pos x="6" y="36"/>
                </a:cxn>
                <a:cxn ang="0">
                  <a:pos x="12" y="32"/>
                </a:cxn>
                <a:cxn ang="0">
                  <a:pos x="14" y="28"/>
                </a:cxn>
                <a:cxn ang="0">
                  <a:pos x="14" y="26"/>
                </a:cxn>
                <a:cxn ang="0">
                  <a:pos x="14" y="22"/>
                </a:cxn>
                <a:cxn ang="0">
                  <a:pos x="14" y="14"/>
                </a:cxn>
                <a:cxn ang="0">
                  <a:pos x="16" y="10"/>
                </a:cxn>
                <a:cxn ang="0">
                  <a:pos x="20" y="6"/>
                </a:cxn>
                <a:cxn ang="0">
                  <a:pos x="20" y="6"/>
                </a:cxn>
              </a:cxnLst>
              <a:rect l="0" t="0" r="r" b="b"/>
              <a:pathLst>
                <a:path w="52" h="52">
                  <a:moveTo>
                    <a:pt x="20" y="6"/>
                  </a:moveTo>
                  <a:lnTo>
                    <a:pt x="20" y="6"/>
                  </a:lnTo>
                  <a:lnTo>
                    <a:pt x="26" y="4"/>
                  </a:lnTo>
                  <a:lnTo>
                    <a:pt x="28" y="4"/>
                  </a:lnTo>
                  <a:lnTo>
                    <a:pt x="30" y="6"/>
                  </a:lnTo>
                  <a:lnTo>
                    <a:pt x="40" y="2"/>
                  </a:lnTo>
                  <a:lnTo>
                    <a:pt x="40" y="2"/>
                  </a:lnTo>
                  <a:lnTo>
                    <a:pt x="46" y="0"/>
                  </a:lnTo>
                  <a:lnTo>
                    <a:pt x="50" y="0"/>
                  </a:lnTo>
                  <a:lnTo>
                    <a:pt x="50" y="0"/>
                  </a:lnTo>
                  <a:lnTo>
                    <a:pt x="48" y="4"/>
                  </a:lnTo>
                  <a:lnTo>
                    <a:pt x="48" y="8"/>
                  </a:lnTo>
                  <a:lnTo>
                    <a:pt x="48" y="16"/>
                  </a:lnTo>
                  <a:lnTo>
                    <a:pt x="52" y="22"/>
                  </a:lnTo>
                  <a:lnTo>
                    <a:pt x="52" y="26"/>
                  </a:lnTo>
                  <a:lnTo>
                    <a:pt x="50" y="32"/>
                  </a:lnTo>
                  <a:lnTo>
                    <a:pt x="50" y="32"/>
                  </a:lnTo>
                  <a:lnTo>
                    <a:pt x="48" y="38"/>
                  </a:lnTo>
                  <a:lnTo>
                    <a:pt x="46" y="42"/>
                  </a:lnTo>
                  <a:lnTo>
                    <a:pt x="42" y="44"/>
                  </a:lnTo>
                  <a:lnTo>
                    <a:pt x="34" y="42"/>
                  </a:lnTo>
                  <a:lnTo>
                    <a:pt x="34" y="42"/>
                  </a:lnTo>
                  <a:lnTo>
                    <a:pt x="28" y="40"/>
                  </a:lnTo>
                  <a:lnTo>
                    <a:pt x="24" y="40"/>
                  </a:lnTo>
                  <a:lnTo>
                    <a:pt x="18" y="40"/>
                  </a:lnTo>
                  <a:lnTo>
                    <a:pt x="18" y="42"/>
                  </a:lnTo>
                  <a:lnTo>
                    <a:pt x="18" y="46"/>
                  </a:lnTo>
                  <a:lnTo>
                    <a:pt x="18" y="46"/>
                  </a:lnTo>
                  <a:lnTo>
                    <a:pt x="18" y="52"/>
                  </a:lnTo>
                  <a:lnTo>
                    <a:pt x="16" y="52"/>
                  </a:lnTo>
                  <a:lnTo>
                    <a:pt x="10" y="50"/>
                  </a:lnTo>
                  <a:lnTo>
                    <a:pt x="6" y="50"/>
                  </a:lnTo>
                  <a:lnTo>
                    <a:pt x="2" y="50"/>
                  </a:lnTo>
                  <a:lnTo>
                    <a:pt x="2" y="50"/>
                  </a:lnTo>
                  <a:lnTo>
                    <a:pt x="0" y="42"/>
                  </a:lnTo>
                  <a:lnTo>
                    <a:pt x="2" y="38"/>
                  </a:lnTo>
                  <a:lnTo>
                    <a:pt x="4" y="36"/>
                  </a:lnTo>
                  <a:lnTo>
                    <a:pt x="6" y="36"/>
                  </a:lnTo>
                  <a:lnTo>
                    <a:pt x="6" y="36"/>
                  </a:lnTo>
                  <a:lnTo>
                    <a:pt x="12" y="32"/>
                  </a:lnTo>
                  <a:lnTo>
                    <a:pt x="14" y="28"/>
                  </a:lnTo>
                  <a:lnTo>
                    <a:pt x="14" y="26"/>
                  </a:lnTo>
                  <a:lnTo>
                    <a:pt x="14" y="22"/>
                  </a:lnTo>
                  <a:lnTo>
                    <a:pt x="14" y="14"/>
                  </a:lnTo>
                  <a:lnTo>
                    <a:pt x="16" y="10"/>
                  </a:lnTo>
                  <a:lnTo>
                    <a:pt x="20" y="6"/>
                  </a:lnTo>
                  <a:lnTo>
                    <a:pt x="20" y="6"/>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BruneiBrunei"/>
            <p:cNvSpPr>
              <a:spLocks/>
            </p:cNvSpPr>
            <p:nvPr/>
          </p:nvSpPr>
          <p:spPr bwMode="auto">
            <a:xfrm>
              <a:off x="7319664" y="3425031"/>
              <a:ext cx="39688" cy="37042"/>
            </a:xfrm>
            <a:custGeom>
              <a:avLst/>
              <a:gdLst/>
              <a:ahLst/>
              <a:cxnLst>
                <a:cxn ang="0">
                  <a:pos x="0" y="12"/>
                </a:cxn>
                <a:cxn ang="0">
                  <a:pos x="0" y="12"/>
                </a:cxn>
                <a:cxn ang="0">
                  <a:pos x="4" y="10"/>
                </a:cxn>
                <a:cxn ang="0">
                  <a:pos x="6" y="8"/>
                </a:cxn>
                <a:cxn ang="0">
                  <a:pos x="10" y="6"/>
                </a:cxn>
                <a:cxn ang="0">
                  <a:pos x="18" y="2"/>
                </a:cxn>
                <a:cxn ang="0">
                  <a:pos x="18" y="2"/>
                </a:cxn>
                <a:cxn ang="0">
                  <a:pos x="24" y="0"/>
                </a:cxn>
                <a:cxn ang="0">
                  <a:pos x="28" y="0"/>
                </a:cxn>
                <a:cxn ang="0">
                  <a:pos x="28" y="0"/>
                </a:cxn>
                <a:cxn ang="0">
                  <a:pos x="28" y="4"/>
                </a:cxn>
                <a:cxn ang="0">
                  <a:pos x="30" y="10"/>
                </a:cxn>
                <a:cxn ang="0">
                  <a:pos x="30" y="10"/>
                </a:cxn>
                <a:cxn ang="0">
                  <a:pos x="30" y="12"/>
                </a:cxn>
                <a:cxn ang="0">
                  <a:pos x="30" y="14"/>
                </a:cxn>
                <a:cxn ang="0">
                  <a:pos x="28" y="16"/>
                </a:cxn>
                <a:cxn ang="0">
                  <a:pos x="28" y="16"/>
                </a:cxn>
                <a:cxn ang="0">
                  <a:pos x="26" y="16"/>
                </a:cxn>
                <a:cxn ang="0">
                  <a:pos x="26" y="16"/>
                </a:cxn>
                <a:cxn ang="0">
                  <a:pos x="24" y="12"/>
                </a:cxn>
                <a:cxn ang="0">
                  <a:pos x="24" y="6"/>
                </a:cxn>
                <a:cxn ang="0">
                  <a:pos x="22" y="6"/>
                </a:cxn>
                <a:cxn ang="0">
                  <a:pos x="20" y="6"/>
                </a:cxn>
                <a:cxn ang="0">
                  <a:pos x="20" y="6"/>
                </a:cxn>
                <a:cxn ang="0">
                  <a:pos x="18" y="8"/>
                </a:cxn>
                <a:cxn ang="0">
                  <a:pos x="18" y="10"/>
                </a:cxn>
                <a:cxn ang="0">
                  <a:pos x="18" y="14"/>
                </a:cxn>
                <a:cxn ang="0">
                  <a:pos x="20" y="20"/>
                </a:cxn>
                <a:cxn ang="0">
                  <a:pos x="18" y="26"/>
                </a:cxn>
                <a:cxn ang="0">
                  <a:pos x="18" y="26"/>
                </a:cxn>
                <a:cxn ang="0">
                  <a:pos x="16" y="28"/>
                </a:cxn>
                <a:cxn ang="0">
                  <a:pos x="12" y="26"/>
                </a:cxn>
                <a:cxn ang="0">
                  <a:pos x="8" y="20"/>
                </a:cxn>
                <a:cxn ang="0">
                  <a:pos x="8" y="20"/>
                </a:cxn>
                <a:cxn ang="0">
                  <a:pos x="6" y="18"/>
                </a:cxn>
                <a:cxn ang="0">
                  <a:pos x="6" y="18"/>
                </a:cxn>
                <a:cxn ang="0">
                  <a:pos x="6" y="20"/>
                </a:cxn>
                <a:cxn ang="0">
                  <a:pos x="4" y="18"/>
                </a:cxn>
                <a:cxn ang="0">
                  <a:pos x="4" y="18"/>
                </a:cxn>
                <a:cxn ang="0">
                  <a:pos x="4" y="16"/>
                </a:cxn>
                <a:cxn ang="0">
                  <a:pos x="2" y="14"/>
                </a:cxn>
                <a:cxn ang="0">
                  <a:pos x="0" y="12"/>
                </a:cxn>
                <a:cxn ang="0">
                  <a:pos x="0" y="12"/>
                </a:cxn>
              </a:cxnLst>
              <a:rect l="0" t="0" r="r" b="b"/>
              <a:pathLst>
                <a:path w="30" h="28">
                  <a:moveTo>
                    <a:pt x="0" y="12"/>
                  </a:moveTo>
                  <a:lnTo>
                    <a:pt x="0" y="12"/>
                  </a:lnTo>
                  <a:lnTo>
                    <a:pt x="4" y="10"/>
                  </a:lnTo>
                  <a:lnTo>
                    <a:pt x="6" y="8"/>
                  </a:lnTo>
                  <a:lnTo>
                    <a:pt x="10" y="6"/>
                  </a:lnTo>
                  <a:lnTo>
                    <a:pt x="18" y="2"/>
                  </a:lnTo>
                  <a:lnTo>
                    <a:pt x="18" y="2"/>
                  </a:lnTo>
                  <a:lnTo>
                    <a:pt x="24" y="0"/>
                  </a:lnTo>
                  <a:lnTo>
                    <a:pt x="28" y="0"/>
                  </a:lnTo>
                  <a:lnTo>
                    <a:pt x="28" y="0"/>
                  </a:lnTo>
                  <a:lnTo>
                    <a:pt x="28" y="4"/>
                  </a:lnTo>
                  <a:lnTo>
                    <a:pt x="30" y="10"/>
                  </a:lnTo>
                  <a:lnTo>
                    <a:pt x="30" y="10"/>
                  </a:lnTo>
                  <a:lnTo>
                    <a:pt x="30" y="12"/>
                  </a:lnTo>
                  <a:lnTo>
                    <a:pt x="30" y="14"/>
                  </a:lnTo>
                  <a:lnTo>
                    <a:pt x="28" y="16"/>
                  </a:lnTo>
                  <a:lnTo>
                    <a:pt x="28" y="16"/>
                  </a:lnTo>
                  <a:lnTo>
                    <a:pt x="26" y="16"/>
                  </a:lnTo>
                  <a:lnTo>
                    <a:pt x="26" y="16"/>
                  </a:lnTo>
                  <a:lnTo>
                    <a:pt x="24" y="12"/>
                  </a:lnTo>
                  <a:lnTo>
                    <a:pt x="24" y="6"/>
                  </a:lnTo>
                  <a:lnTo>
                    <a:pt x="22" y="6"/>
                  </a:lnTo>
                  <a:lnTo>
                    <a:pt x="20" y="6"/>
                  </a:lnTo>
                  <a:lnTo>
                    <a:pt x="20" y="6"/>
                  </a:lnTo>
                  <a:lnTo>
                    <a:pt x="18" y="8"/>
                  </a:lnTo>
                  <a:lnTo>
                    <a:pt x="18" y="10"/>
                  </a:lnTo>
                  <a:lnTo>
                    <a:pt x="18" y="14"/>
                  </a:lnTo>
                  <a:lnTo>
                    <a:pt x="20" y="20"/>
                  </a:lnTo>
                  <a:lnTo>
                    <a:pt x="18" y="26"/>
                  </a:lnTo>
                  <a:lnTo>
                    <a:pt x="18" y="26"/>
                  </a:lnTo>
                  <a:lnTo>
                    <a:pt x="16" y="28"/>
                  </a:lnTo>
                  <a:lnTo>
                    <a:pt x="12" y="26"/>
                  </a:lnTo>
                  <a:lnTo>
                    <a:pt x="8" y="20"/>
                  </a:lnTo>
                  <a:lnTo>
                    <a:pt x="8" y="20"/>
                  </a:lnTo>
                  <a:lnTo>
                    <a:pt x="6" y="18"/>
                  </a:lnTo>
                  <a:lnTo>
                    <a:pt x="6" y="18"/>
                  </a:lnTo>
                  <a:lnTo>
                    <a:pt x="6" y="20"/>
                  </a:lnTo>
                  <a:lnTo>
                    <a:pt x="4" y="18"/>
                  </a:lnTo>
                  <a:lnTo>
                    <a:pt x="4" y="18"/>
                  </a:lnTo>
                  <a:lnTo>
                    <a:pt x="4" y="16"/>
                  </a:lnTo>
                  <a:lnTo>
                    <a:pt x="2" y="14"/>
                  </a:lnTo>
                  <a:lnTo>
                    <a:pt x="0" y="12"/>
                  </a:lnTo>
                  <a:lnTo>
                    <a:pt x="0" y="12"/>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Ivory Coast (Cote D'Ivoire)"/>
            <p:cNvSpPr>
              <a:spLocks/>
            </p:cNvSpPr>
            <p:nvPr/>
          </p:nvSpPr>
          <p:spPr bwMode="auto">
            <a:xfrm>
              <a:off x="3906538" y="3258344"/>
              <a:ext cx="171979" cy="211667"/>
            </a:xfrm>
            <a:custGeom>
              <a:avLst/>
              <a:gdLst/>
              <a:ahLst/>
              <a:cxnLst>
                <a:cxn ang="0">
                  <a:pos x="112" y="140"/>
                </a:cxn>
                <a:cxn ang="0">
                  <a:pos x="104" y="136"/>
                </a:cxn>
                <a:cxn ang="0">
                  <a:pos x="94" y="136"/>
                </a:cxn>
                <a:cxn ang="0">
                  <a:pos x="98" y="138"/>
                </a:cxn>
                <a:cxn ang="0">
                  <a:pos x="108" y="140"/>
                </a:cxn>
                <a:cxn ang="0">
                  <a:pos x="86" y="142"/>
                </a:cxn>
                <a:cxn ang="0">
                  <a:pos x="60" y="146"/>
                </a:cxn>
                <a:cxn ang="0">
                  <a:pos x="52" y="144"/>
                </a:cxn>
                <a:cxn ang="0">
                  <a:pos x="48" y="148"/>
                </a:cxn>
                <a:cxn ang="0">
                  <a:pos x="24" y="160"/>
                </a:cxn>
                <a:cxn ang="0">
                  <a:pos x="16" y="160"/>
                </a:cxn>
                <a:cxn ang="0">
                  <a:pos x="16" y="156"/>
                </a:cxn>
                <a:cxn ang="0">
                  <a:pos x="18" y="138"/>
                </a:cxn>
                <a:cxn ang="0">
                  <a:pos x="24" y="134"/>
                </a:cxn>
                <a:cxn ang="0">
                  <a:pos x="22" y="126"/>
                </a:cxn>
                <a:cxn ang="0">
                  <a:pos x="16" y="120"/>
                </a:cxn>
                <a:cxn ang="0">
                  <a:pos x="8" y="114"/>
                </a:cxn>
                <a:cxn ang="0">
                  <a:pos x="4" y="114"/>
                </a:cxn>
                <a:cxn ang="0">
                  <a:pos x="0" y="106"/>
                </a:cxn>
                <a:cxn ang="0">
                  <a:pos x="2" y="96"/>
                </a:cxn>
                <a:cxn ang="0">
                  <a:pos x="2" y="88"/>
                </a:cxn>
                <a:cxn ang="0">
                  <a:pos x="4" y="80"/>
                </a:cxn>
                <a:cxn ang="0">
                  <a:pos x="8" y="72"/>
                </a:cxn>
                <a:cxn ang="0">
                  <a:pos x="8" y="68"/>
                </a:cxn>
                <a:cxn ang="0">
                  <a:pos x="4" y="64"/>
                </a:cxn>
                <a:cxn ang="0">
                  <a:pos x="10" y="58"/>
                </a:cxn>
                <a:cxn ang="0">
                  <a:pos x="16" y="56"/>
                </a:cxn>
                <a:cxn ang="0">
                  <a:pos x="16" y="50"/>
                </a:cxn>
                <a:cxn ang="0">
                  <a:pos x="16" y="44"/>
                </a:cxn>
                <a:cxn ang="0">
                  <a:pos x="16" y="34"/>
                </a:cxn>
                <a:cxn ang="0">
                  <a:pos x="14" y="30"/>
                </a:cxn>
                <a:cxn ang="0">
                  <a:pos x="10" y="28"/>
                </a:cxn>
                <a:cxn ang="0">
                  <a:pos x="6" y="26"/>
                </a:cxn>
                <a:cxn ang="0">
                  <a:pos x="6" y="20"/>
                </a:cxn>
                <a:cxn ang="0">
                  <a:pos x="14" y="10"/>
                </a:cxn>
                <a:cxn ang="0">
                  <a:pos x="20" y="4"/>
                </a:cxn>
                <a:cxn ang="0">
                  <a:pos x="28" y="10"/>
                </a:cxn>
                <a:cxn ang="0">
                  <a:pos x="34" y="6"/>
                </a:cxn>
                <a:cxn ang="0">
                  <a:pos x="42" y="2"/>
                </a:cxn>
                <a:cxn ang="0">
                  <a:pos x="50" y="6"/>
                </a:cxn>
                <a:cxn ang="0">
                  <a:pos x="56" y="2"/>
                </a:cxn>
                <a:cxn ang="0">
                  <a:pos x="66" y="6"/>
                </a:cxn>
                <a:cxn ang="0">
                  <a:pos x="74" y="18"/>
                </a:cxn>
                <a:cxn ang="0">
                  <a:pos x="84" y="22"/>
                </a:cxn>
                <a:cxn ang="0">
                  <a:pos x="100" y="20"/>
                </a:cxn>
                <a:cxn ang="0">
                  <a:pos x="110" y="20"/>
                </a:cxn>
                <a:cxn ang="0">
                  <a:pos x="114" y="20"/>
                </a:cxn>
                <a:cxn ang="0">
                  <a:pos x="122" y="26"/>
                </a:cxn>
                <a:cxn ang="0">
                  <a:pos x="126" y="34"/>
                </a:cxn>
                <a:cxn ang="0">
                  <a:pos x="128" y="46"/>
                </a:cxn>
                <a:cxn ang="0">
                  <a:pos x="124" y="72"/>
                </a:cxn>
                <a:cxn ang="0">
                  <a:pos x="120" y="86"/>
                </a:cxn>
                <a:cxn ang="0">
                  <a:pos x="118" y="98"/>
                </a:cxn>
                <a:cxn ang="0">
                  <a:pos x="116" y="116"/>
                </a:cxn>
                <a:cxn ang="0">
                  <a:pos x="120" y="128"/>
                </a:cxn>
                <a:cxn ang="0">
                  <a:pos x="124" y="134"/>
                </a:cxn>
                <a:cxn ang="0">
                  <a:pos x="122" y="138"/>
                </a:cxn>
              </a:cxnLst>
              <a:rect l="0" t="0" r="r" b="b"/>
              <a:pathLst>
                <a:path w="130" h="160">
                  <a:moveTo>
                    <a:pt x="120" y="140"/>
                  </a:moveTo>
                  <a:lnTo>
                    <a:pt x="120" y="140"/>
                  </a:lnTo>
                  <a:lnTo>
                    <a:pt x="112" y="140"/>
                  </a:lnTo>
                  <a:lnTo>
                    <a:pt x="110" y="138"/>
                  </a:lnTo>
                  <a:lnTo>
                    <a:pt x="108" y="136"/>
                  </a:lnTo>
                  <a:lnTo>
                    <a:pt x="104" y="136"/>
                  </a:lnTo>
                  <a:lnTo>
                    <a:pt x="104" y="136"/>
                  </a:lnTo>
                  <a:lnTo>
                    <a:pt x="98" y="136"/>
                  </a:lnTo>
                  <a:lnTo>
                    <a:pt x="94" y="136"/>
                  </a:lnTo>
                  <a:lnTo>
                    <a:pt x="94" y="136"/>
                  </a:lnTo>
                  <a:lnTo>
                    <a:pt x="94" y="136"/>
                  </a:lnTo>
                  <a:lnTo>
                    <a:pt x="98" y="138"/>
                  </a:lnTo>
                  <a:lnTo>
                    <a:pt x="102" y="138"/>
                  </a:lnTo>
                  <a:lnTo>
                    <a:pt x="104" y="138"/>
                  </a:lnTo>
                  <a:lnTo>
                    <a:pt x="108" y="140"/>
                  </a:lnTo>
                  <a:lnTo>
                    <a:pt x="108" y="140"/>
                  </a:lnTo>
                  <a:lnTo>
                    <a:pt x="100" y="140"/>
                  </a:lnTo>
                  <a:lnTo>
                    <a:pt x="86" y="142"/>
                  </a:lnTo>
                  <a:lnTo>
                    <a:pt x="86" y="142"/>
                  </a:lnTo>
                  <a:lnTo>
                    <a:pt x="70" y="144"/>
                  </a:lnTo>
                  <a:lnTo>
                    <a:pt x="60" y="146"/>
                  </a:lnTo>
                  <a:lnTo>
                    <a:pt x="56" y="148"/>
                  </a:lnTo>
                  <a:lnTo>
                    <a:pt x="54" y="146"/>
                  </a:lnTo>
                  <a:lnTo>
                    <a:pt x="52" y="144"/>
                  </a:lnTo>
                  <a:lnTo>
                    <a:pt x="48" y="140"/>
                  </a:lnTo>
                  <a:lnTo>
                    <a:pt x="48" y="140"/>
                  </a:lnTo>
                  <a:lnTo>
                    <a:pt x="48" y="148"/>
                  </a:lnTo>
                  <a:lnTo>
                    <a:pt x="42" y="152"/>
                  </a:lnTo>
                  <a:lnTo>
                    <a:pt x="34" y="156"/>
                  </a:lnTo>
                  <a:lnTo>
                    <a:pt x="24" y="160"/>
                  </a:lnTo>
                  <a:lnTo>
                    <a:pt x="24" y="160"/>
                  </a:lnTo>
                  <a:lnTo>
                    <a:pt x="18" y="160"/>
                  </a:lnTo>
                  <a:lnTo>
                    <a:pt x="16" y="160"/>
                  </a:lnTo>
                  <a:lnTo>
                    <a:pt x="14" y="158"/>
                  </a:lnTo>
                  <a:lnTo>
                    <a:pt x="16" y="156"/>
                  </a:lnTo>
                  <a:lnTo>
                    <a:pt x="16" y="156"/>
                  </a:lnTo>
                  <a:lnTo>
                    <a:pt x="16" y="148"/>
                  </a:lnTo>
                  <a:lnTo>
                    <a:pt x="16" y="142"/>
                  </a:lnTo>
                  <a:lnTo>
                    <a:pt x="18" y="138"/>
                  </a:lnTo>
                  <a:lnTo>
                    <a:pt x="20" y="138"/>
                  </a:lnTo>
                  <a:lnTo>
                    <a:pt x="24" y="136"/>
                  </a:lnTo>
                  <a:lnTo>
                    <a:pt x="24" y="134"/>
                  </a:lnTo>
                  <a:lnTo>
                    <a:pt x="22" y="130"/>
                  </a:lnTo>
                  <a:lnTo>
                    <a:pt x="22" y="130"/>
                  </a:lnTo>
                  <a:lnTo>
                    <a:pt x="22" y="126"/>
                  </a:lnTo>
                  <a:lnTo>
                    <a:pt x="22" y="122"/>
                  </a:lnTo>
                  <a:lnTo>
                    <a:pt x="22" y="122"/>
                  </a:lnTo>
                  <a:lnTo>
                    <a:pt x="16" y="120"/>
                  </a:lnTo>
                  <a:lnTo>
                    <a:pt x="16" y="120"/>
                  </a:lnTo>
                  <a:lnTo>
                    <a:pt x="10" y="116"/>
                  </a:lnTo>
                  <a:lnTo>
                    <a:pt x="8" y="114"/>
                  </a:lnTo>
                  <a:lnTo>
                    <a:pt x="8" y="114"/>
                  </a:lnTo>
                  <a:lnTo>
                    <a:pt x="4" y="114"/>
                  </a:lnTo>
                  <a:lnTo>
                    <a:pt x="4" y="114"/>
                  </a:lnTo>
                  <a:lnTo>
                    <a:pt x="2" y="112"/>
                  </a:lnTo>
                  <a:lnTo>
                    <a:pt x="0" y="112"/>
                  </a:lnTo>
                  <a:lnTo>
                    <a:pt x="0" y="106"/>
                  </a:lnTo>
                  <a:lnTo>
                    <a:pt x="2" y="100"/>
                  </a:lnTo>
                  <a:lnTo>
                    <a:pt x="2" y="96"/>
                  </a:lnTo>
                  <a:lnTo>
                    <a:pt x="2" y="96"/>
                  </a:lnTo>
                  <a:lnTo>
                    <a:pt x="2" y="94"/>
                  </a:lnTo>
                  <a:lnTo>
                    <a:pt x="2" y="90"/>
                  </a:lnTo>
                  <a:lnTo>
                    <a:pt x="2" y="88"/>
                  </a:lnTo>
                  <a:lnTo>
                    <a:pt x="0" y="82"/>
                  </a:lnTo>
                  <a:lnTo>
                    <a:pt x="0" y="82"/>
                  </a:lnTo>
                  <a:lnTo>
                    <a:pt x="4" y="80"/>
                  </a:lnTo>
                  <a:lnTo>
                    <a:pt x="4" y="78"/>
                  </a:lnTo>
                  <a:lnTo>
                    <a:pt x="4" y="76"/>
                  </a:lnTo>
                  <a:lnTo>
                    <a:pt x="8" y="72"/>
                  </a:lnTo>
                  <a:lnTo>
                    <a:pt x="8" y="72"/>
                  </a:lnTo>
                  <a:lnTo>
                    <a:pt x="10" y="70"/>
                  </a:lnTo>
                  <a:lnTo>
                    <a:pt x="8" y="68"/>
                  </a:lnTo>
                  <a:lnTo>
                    <a:pt x="6" y="68"/>
                  </a:lnTo>
                  <a:lnTo>
                    <a:pt x="4" y="64"/>
                  </a:lnTo>
                  <a:lnTo>
                    <a:pt x="4" y="64"/>
                  </a:lnTo>
                  <a:lnTo>
                    <a:pt x="4" y="62"/>
                  </a:lnTo>
                  <a:lnTo>
                    <a:pt x="6" y="60"/>
                  </a:lnTo>
                  <a:lnTo>
                    <a:pt x="10" y="58"/>
                  </a:lnTo>
                  <a:lnTo>
                    <a:pt x="16" y="60"/>
                  </a:lnTo>
                  <a:lnTo>
                    <a:pt x="16" y="58"/>
                  </a:lnTo>
                  <a:lnTo>
                    <a:pt x="16" y="56"/>
                  </a:lnTo>
                  <a:lnTo>
                    <a:pt x="16" y="56"/>
                  </a:lnTo>
                  <a:lnTo>
                    <a:pt x="14" y="52"/>
                  </a:lnTo>
                  <a:lnTo>
                    <a:pt x="16" y="50"/>
                  </a:lnTo>
                  <a:lnTo>
                    <a:pt x="16" y="46"/>
                  </a:lnTo>
                  <a:lnTo>
                    <a:pt x="16" y="44"/>
                  </a:lnTo>
                  <a:lnTo>
                    <a:pt x="16" y="44"/>
                  </a:lnTo>
                  <a:lnTo>
                    <a:pt x="14" y="40"/>
                  </a:lnTo>
                  <a:lnTo>
                    <a:pt x="16" y="36"/>
                  </a:lnTo>
                  <a:lnTo>
                    <a:pt x="16" y="34"/>
                  </a:lnTo>
                  <a:lnTo>
                    <a:pt x="16" y="32"/>
                  </a:lnTo>
                  <a:lnTo>
                    <a:pt x="16" y="32"/>
                  </a:lnTo>
                  <a:lnTo>
                    <a:pt x="14" y="30"/>
                  </a:lnTo>
                  <a:lnTo>
                    <a:pt x="12" y="30"/>
                  </a:lnTo>
                  <a:lnTo>
                    <a:pt x="12" y="32"/>
                  </a:lnTo>
                  <a:lnTo>
                    <a:pt x="10" y="28"/>
                  </a:lnTo>
                  <a:lnTo>
                    <a:pt x="10" y="28"/>
                  </a:lnTo>
                  <a:lnTo>
                    <a:pt x="8" y="26"/>
                  </a:lnTo>
                  <a:lnTo>
                    <a:pt x="6" y="26"/>
                  </a:lnTo>
                  <a:lnTo>
                    <a:pt x="6" y="26"/>
                  </a:lnTo>
                  <a:lnTo>
                    <a:pt x="6" y="20"/>
                  </a:lnTo>
                  <a:lnTo>
                    <a:pt x="6" y="20"/>
                  </a:lnTo>
                  <a:lnTo>
                    <a:pt x="10" y="14"/>
                  </a:lnTo>
                  <a:lnTo>
                    <a:pt x="12" y="10"/>
                  </a:lnTo>
                  <a:lnTo>
                    <a:pt x="14" y="10"/>
                  </a:lnTo>
                  <a:lnTo>
                    <a:pt x="14" y="10"/>
                  </a:lnTo>
                  <a:lnTo>
                    <a:pt x="18" y="6"/>
                  </a:lnTo>
                  <a:lnTo>
                    <a:pt x="20" y="4"/>
                  </a:lnTo>
                  <a:lnTo>
                    <a:pt x="24" y="6"/>
                  </a:lnTo>
                  <a:lnTo>
                    <a:pt x="24" y="6"/>
                  </a:lnTo>
                  <a:lnTo>
                    <a:pt x="28" y="10"/>
                  </a:lnTo>
                  <a:lnTo>
                    <a:pt x="30" y="8"/>
                  </a:lnTo>
                  <a:lnTo>
                    <a:pt x="34" y="6"/>
                  </a:lnTo>
                  <a:lnTo>
                    <a:pt x="34" y="6"/>
                  </a:lnTo>
                  <a:lnTo>
                    <a:pt x="36" y="2"/>
                  </a:lnTo>
                  <a:lnTo>
                    <a:pt x="40" y="0"/>
                  </a:lnTo>
                  <a:lnTo>
                    <a:pt x="42" y="2"/>
                  </a:lnTo>
                  <a:lnTo>
                    <a:pt x="44" y="2"/>
                  </a:lnTo>
                  <a:lnTo>
                    <a:pt x="48" y="6"/>
                  </a:lnTo>
                  <a:lnTo>
                    <a:pt x="50" y="6"/>
                  </a:lnTo>
                  <a:lnTo>
                    <a:pt x="52" y="4"/>
                  </a:lnTo>
                  <a:lnTo>
                    <a:pt x="52" y="4"/>
                  </a:lnTo>
                  <a:lnTo>
                    <a:pt x="56" y="2"/>
                  </a:lnTo>
                  <a:lnTo>
                    <a:pt x="60" y="4"/>
                  </a:lnTo>
                  <a:lnTo>
                    <a:pt x="66" y="6"/>
                  </a:lnTo>
                  <a:lnTo>
                    <a:pt x="66" y="6"/>
                  </a:lnTo>
                  <a:lnTo>
                    <a:pt x="72" y="10"/>
                  </a:lnTo>
                  <a:lnTo>
                    <a:pt x="74" y="14"/>
                  </a:lnTo>
                  <a:lnTo>
                    <a:pt x="74" y="18"/>
                  </a:lnTo>
                  <a:lnTo>
                    <a:pt x="78" y="22"/>
                  </a:lnTo>
                  <a:lnTo>
                    <a:pt x="78" y="22"/>
                  </a:lnTo>
                  <a:lnTo>
                    <a:pt x="84" y="22"/>
                  </a:lnTo>
                  <a:lnTo>
                    <a:pt x="96" y="20"/>
                  </a:lnTo>
                  <a:lnTo>
                    <a:pt x="96" y="20"/>
                  </a:lnTo>
                  <a:lnTo>
                    <a:pt x="100" y="20"/>
                  </a:lnTo>
                  <a:lnTo>
                    <a:pt x="104" y="20"/>
                  </a:lnTo>
                  <a:lnTo>
                    <a:pt x="108" y="22"/>
                  </a:lnTo>
                  <a:lnTo>
                    <a:pt x="110" y="20"/>
                  </a:lnTo>
                  <a:lnTo>
                    <a:pt x="110" y="20"/>
                  </a:lnTo>
                  <a:lnTo>
                    <a:pt x="112" y="20"/>
                  </a:lnTo>
                  <a:lnTo>
                    <a:pt x="114" y="20"/>
                  </a:lnTo>
                  <a:lnTo>
                    <a:pt x="118" y="24"/>
                  </a:lnTo>
                  <a:lnTo>
                    <a:pt x="122" y="26"/>
                  </a:lnTo>
                  <a:lnTo>
                    <a:pt x="122" y="26"/>
                  </a:lnTo>
                  <a:lnTo>
                    <a:pt x="126" y="30"/>
                  </a:lnTo>
                  <a:lnTo>
                    <a:pt x="126" y="32"/>
                  </a:lnTo>
                  <a:lnTo>
                    <a:pt x="126" y="34"/>
                  </a:lnTo>
                  <a:lnTo>
                    <a:pt x="126" y="40"/>
                  </a:lnTo>
                  <a:lnTo>
                    <a:pt x="126" y="40"/>
                  </a:lnTo>
                  <a:lnTo>
                    <a:pt x="128" y="46"/>
                  </a:lnTo>
                  <a:lnTo>
                    <a:pt x="130" y="54"/>
                  </a:lnTo>
                  <a:lnTo>
                    <a:pt x="128" y="62"/>
                  </a:lnTo>
                  <a:lnTo>
                    <a:pt x="124" y="72"/>
                  </a:lnTo>
                  <a:lnTo>
                    <a:pt x="124" y="72"/>
                  </a:lnTo>
                  <a:lnTo>
                    <a:pt x="122" y="80"/>
                  </a:lnTo>
                  <a:lnTo>
                    <a:pt x="120" y="86"/>
                  </a:lnTo>
                  <a:lnTo>
                    <a:pt x="120" y="90"/>
                  </a:lnTo>
                  <a:lnTo>
                    <a:pt x="118" y="98"/>
                  </a:lnTo>
                  <a:lnTo>
                    <a:pt x="118" y="98"/>
                  </a:lnTo>
                  <a:lnTo>
                    <a:pt x="114" y="104"/>
                  </a:lnTo>
                  <a:lnTo>
                    <a:pt x="114" y="110"/>
                  </a:lnTo>
                  <a:lnTo>
                    <a:pt x="116" y="116"/>
                  </a:lnTo>
                  <a:lnTo>
                    <a:pt x="118" y="122"/>
                  </a:lnTo>
                  <a:lnTo>
                    <a:pt x="118" y="122"/>
                  </a:lnTo>
                  <a:lnTo>
                    <a:pt x="120" y="128"/>
                  </a:lnTo>
                  <a:lnTo>
                    <a:pt x="122" y="130"/>
                  </a:lnTo>
                  <a:lnTo>
                    <a:pt x="124" y="130"/>
                  </a:lnTo>
                  <a:lnTo>
                    <a:pt x="124" y="134"/>
                  </a:lnTo>
                  <a:lnTo>
                    <a:pt x="124" y="134"/>
                  </a:lnTo>
                  <a:lnTo>
                    <a:pt x="124" y="136"/>
                  </a:lnTo>
                  <a:lnTo>
                    <a:pt x="122" y="138"/>
                  </a:lnTo>
                  <a:lnTo>
                    <a:pt x="120" y="140"/>
                  </a:lnTo>
                  <a:lnTo>
                    <a:pt x="120" y="140"/>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Swaziland"/>
            <p:cNvSpPr>
              <a:spLocks/>
            </p:cNvSpPr>
            <p:nvPr/>
          </p:nvSpPr>
          <p:spPr bwMode="auto">
            <a:xfrm>
              <a:off x="4967518" y="4483365"/>
              <a:ext cx="39688" cy="52917"/>
            </a:xfrm>
            <a:custGeom>
              <a:avLst/>
              <a:gdLst/>
              <a:ahLst/>
              <a:cxnLst>
                <a:cxn ang="0">
                  <a:pos x="30" y="26"/>
                </a:cxn>
                <a:cxn ang="0">
                  <a:pos x="30" y="26"/>
                </a:cxn>
                <a:cxn ang="0">
                  <a:pos x="28" y="28"/>
                </a:cxn>
                <a:cxn ang="0">
                  <a:pos x="30" y="32"/>
                </a:cxn>
                <a:cxn ang="0">
                  <a:pos x="30" y="36"/>
                </a:cxn>
                <a:cxn ang="0">
                  <a:pos x="28" y="38"/>
                </a:cxn>
                <a:cxn ang="0">
                  <a:pos x="28" y="38"/>
                </a:cxn>
                <a:cxn ang="0">
                  <a:pos x="24" y="40"/>
                </a:cxn>
                <a:cxn ang="0">
                  <a:pos x="20" y="40"/>
                </a:cxn>
                <a:cxn ang="0">
                  <a:pos x="16" y="38"/>
                </a:cxn>
                <a:cxn ang="0">
                  <a:pos x="8" y="34"/>
                </a:cxn>
                <a:cxn ang="0">
                  <a:pos x="8" y="34"/>
                </a:cxn>
                <a:cxn ang="0">
                  <a:pos x="0" y="28"/>
                </a:cxn>
                <a:cxn ang="0">
                  <a:pos x="0" y="24"/>
                </a:cxn>
                <a:cxn ang="0">
                  <a:pos x="0" y="18"/>
                </a:cxn>
                <a:cxn ang="0">
                  <a:pos x="4" y="10"/>
                </a:cxn>
                <a:cxn ang="0">
                  <a:pos x="4" y="10"/>
                </a:cxn>
                <a:cxn ang="0">
                  <a:pos x="8" y="4"/>
                </a:cxn>
                <a:cxn ang="0">
                  <a:pos x="10" y="0"/>
                </a:cxn>
                <a:cxn ang="0">
                  <a:pos x="14" y="0"/>
                </a:cxn>
                <a:cxn ang="0">
                  <a:pos x="22" y="4"/>
                </a:cxn>
                <a:cxn ang="0">
                  <a:pos x="22" y="4"/>
                </a:cxn>
                <a:cxn ang="0">
                  <a:pos x="26" y="8"/>
                </a:cxn>
                <a:cxn ang="0">
                  <a:pos x="28" y="12"/>
                </a:cxn>
                <a:cxn ang="0">
                  <a:pos x="28" y="18"/>
                </a:cxn>
                <a:cxn ang="0">
                  <a:pos x="30" y="26"/>
                </a:cxn>
                <a:cxn ang="0">
                  <a:pos x="30" y="26"/>
                </a:cxn>
              </a:cxnLst>
              <a:rect l="0" t="0" r="r" b="b"/>
              <a:pathLst>
                <a:path w="30" h="40">
                  <a:moveTo>
                    <a:pt x="30" y="26"/>
                  </a:moveTo>
                  <a:lnTo>
                    <a:pt x="30" y="26"/>
                  </a:lnTo>
                  <a:lnTo>
                    <a:pt x="28" y="28"/>
                  </a:lnTo>
                  <a:lnTo>
                    <a:pt x="30" y="32"/>
                  </a:lnTo>
                  <a:lnTo>
                    <a:pt x="30" y="36"/>
                  </a:lnTo>
                  <a:lnTo>
                    <a:pt x="28" y="38"/>
                  </a:lnTo>
                  <a:lnTo>
                    <a:pt x="28" y="38"/>
                  </a:lnTo>
                  <a:lnTo>
                    <a:pt x="24" y="40"/>
                  </a:lnTo>
                  <a:lnTo>
                    <a:pt x="20" y="40"/>
                  </a:lnTo>
                  <a:lnTo>
                    <a:pt x="16" y="38"/>
                  </a:lnTo>
                  <a:lnTo>
                    <a:pt x="8" y="34"/>
                  </a:lnTo>
                  <a:lnTo>
                    <a:pt x="8" y="34"/>
                  </a:lnTo>
                  <a:lnTo>
                    <a:pt x="0" y="28"/>
                  </a:lnTo>
                  <a:lnTo>
                    <a:pt x="0" y="24"/>
                  </a:lnTo>
                  <a:lnTo>
                    <a:pt x="0" y="18"/>
                  </a:lnTo>
                  <a:lnTo>
                    <a:pt x="4" y="10"/>
                  </a:lnTo>
                  <a:lnTo>
                    <a:pt x="4" y="10"/>
                  </a:lnTo>
                  <a:lnTo>
                    <a:pt x="8" y="4"/>
                  </a:lnTo>
                  <a:lnTo>
                    <a:pt x="10" y="0"/>
                  </a:lnTo>
                  <a:lnTo>
                    <a:pt x="14" y="0"/>
                  </a:lnTo>
                  <a:lnTo>
                    <a:pt x="22" y="4"/>
                  </a:lnTo>
                  <a:lnTo>
                    <a:pt x="22" y="4"/>
                  </a:lnTo>
                  <a:lnTo>
                    <a:pt x="26" y="8"/>
                  </a:lnTo>
                  <a:lnTo>
                    <a:pt x="28" y="12"/>
                  </a:lnTo>
                  <a:lnTo>
                    <a:pt x="28" y="18"/>
                  </a:lnTo>
                  <a:lnTo>
                    <a:pt x="30" y="26"/>
                  </a:lnTo>
                  <a:lnTo>
                    <a:pt x="30" y="26"/>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Lesotho"/>
            <p:cNvSpPr>
              <a:spLocks/>
            </p:cNvSpPr>
            <p:nvPr/>
          </p:nvSpPr>
          <p:spPr bwMode="auto">
            <a:xfrm>
              <a:off x="4864330" y="4546865"/>
              <a:ext cx="63500" cy="63500"/>
            </a:xfrm>
            <a:custGeom>
              <a:avLst/>
              <a:gdLst/>
              <a:ahLst/>
              <a:cxnLst>
                <a:cxn ang="0">
                  <a:pos x="38" y="2"/>
                </a:cxn>
                <a:cxn ang="0">
                  <a:pos x="38" y="2"/>
                </a:cxn>
                <a:cxn ang="0">
                  <a:pos x="26" y="0"/>
                </a:cxn>
                <a:cxn ang="0">
                  <a:pos x="20" y="2"/>
                </a:cxn>
                <a:cxn ang="0">
                  <a:pos x="14" y="8"/>
                </a:cxn>
                <a:cxn ang="0">
                  <a:pos x="10" y="14"/>
                </a:cxn>
                <a:cxn ang="0">
                  <a:pos x="10" y="14"/>
                </a:cxn>
                <a:cxn ang="0">
                  <a:pos x="0" y="26"/>
                </a:cxn>
                <a:cxn ang="0">
                  <a:pos x="0" y="30"/>
                </a:cxn>
                <a:cxn ang="0">
                  <a:pos x="4" y="38"/>
                </a:cxn>
                <a:cxn ang="0">
                  <a:pos x="4" y="38"/>
                </a:cxn>
                <a:cxn ang="0">
                  <a:pos x="10" y="46"/>
                </a:cxn>
                <a:cxn ang="0">
                  <a:pos x="16" y="48"/>
                </a:cxn>
                <a:cxn ang="0">
                  <a:pos x="20" y="48"/>
                </a:cxn>
                <a:cxn ang="0">
                  <a:pos x="24" y="44"/>
                </a:cxn>
                <a:cxn ang="0">
                  <a:pos x="24" y="44"/>
                </a:cxn>
                <a:cxn ang="0">
                  <a:pos x="28" y="38"/>
                </a:cxn>
                <a:cxn ang="0">
                  <a:pos x="32" y="36"/>
                </a:cxn>
                <a:cxn ang="0">
                  <a:pos x="38" y="34"/>
                </a:cxn>
                <a:cxn ang="0">
                  <a:pos x="44" y="28"/>
                </a:cxn>
                <a:cxn ang="0">
                  <a:pos x="44" y="28"/>
                </a:cxn>
                <a:cxn ang="0">
                  <a:pos x="48" y="22"/>
                </a:cxn>
                <a:cxn ang="0">
                  <a:pos x="48" y="18"/>
                </a:cxn>
                <a:cxn ang="0">
                  <a:pos x="48" y="14"/>
                </a:cxn>
                <a:cxn ang="0">
                  <a:pos x="48" y="14"/>
                </a:cxn>
                <a:cxn ang="0">
                  <a:pos x="46" y="6"/>
                </a:cxn>
                <a:cxn ang="0">
                  <a:pos x="42" y="4"/>
                </a:cxn>
                <a:cxn ang="0">
                  <a:pos x="38" y="2"/>
                </a:cxn>
                <a:cxn ang="0">
                  <a:pos x="38" y="2"/>
                </a:cxn>
              </a:cxnLst>
              <a:rect l="0" t="0" r="r" b="b"/>
              <a:pathLst>
                <a:path w="48" h="48">
                  <a:moveTo>
                    <a:pt x="38" y="2"/>
                  </a:moveTo>
                  <a:lnTo>
                    <a:pt x="38" y="2"/>
                  </a:lnTo>
                  <a:lnTo>
                    <a:pt x="26" y="0"/>
                  </a:lnTo>
                  <a:lnTo>
                    <a:pt x="20" y="2"/>
                  </a:lnTo>
                  <a:lnTo>
                    <a:pt x="14" y="8"/>
                  </a:lnTo>
                  <a:lnTo>
                    <a:pt x="10" y="14"/>
                  </a:lnTo>
                  <a:lnTo>
                    <a:pt x="10" y="14"/>
                  </a:lnTo>
                  <a:lnTo>
                    <a:pt x="0" y="26"/>
                  </a:lnTo>
                  <a:lnTo>
                    <a:pt x="0" y="30"/>
                  </a:lnTo>
                  <a:lnTo>
                    <a:pt x="4" y="38"/>
                  </a:lnTo>
                  <a:lnTo>
                    <a:pt x="4" y="38"/>
                  </a:lnTo>
                  <a:lnTo>
                    <a:pt x="10" y="46"/>
                  </a:lnTo>
                  <a:lnTo>
                    <a:pt x="16" y="48"/>
                  </a:lnTo>
                  <a:lnTo>
                    <a:pt x="20" y="48"/>
                  </a:lnTo>
                  <a:lnTo>
                    <a:pt x="24" y="44"/>
                  </a:lnTo>
                  <a:lnTo>
                    <a:pt x="24" y="44"/>
                  </a:lnTo>
                  <a:lnTo>
                    <a:pt x="28" y="38"/>
                  </a:lnTo>
                  <a:lnTo>
                    <a:pt x="32" y="36"/>
                  </a:lnTo>
                  <a:lnTo>
                    <a:pt x="38" y="34"/>
                  </a:lnTo>
                  <a:lnTo>
                    <a:pt x="44" y="28"/>
                  </a:lnTo>
                  <a:lnTo>
                    <a:pt x="44" y="28"/>
                  </a:lnTo>
                  <a:lnTo>
                    <a:pt x="48" y="22"/>
                  </a:lnTo>
                  <a:lnTo>
                    <a:pt x="48" y="18"/>
                  </a:lnTo>
                  <a:lnTo>
                    <a:pt x="48" y="14"/>
                  </a:lnTo>
                  <a:lnTo>
                    <a:pt x="48" y="14"/>
                  </a:lnTo>
                  <a:lnTo>
                    <a:pt x="46" y="6"/>
                  </a:lnTo>
                  <a:lnTo>
                    <a:pt x="42" y="4"/>
                  </a:lnTo>
                  <a:lnTo>
                    <a:pt x="38" y="2"/>
                  </a:lnTo>
                  <a:lnTo>
                    <a:pt x="38" y="2"/>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Mauritania"/>
            <p:cNvSpPr>
              <a:spLocks/>
            </p:cNvSpPr>
            <p:nvPr/>
          </p:nvSpPr>
          <p:spPr bwMode="auto">
            <a:xfrm>
              <a:off x="3686934" y="2702719"/>
              <a:ext cx="322792" cy="412750"/>
            </a:xfrm>
            <a:custGeom>
              <a:avLst/>
              <a:gdLst/>
              <a:ahLst/>
              <a:cxnLst>
                <a:cxn ang="0">
                  <a:pos x="0" y="162"/>
                </a:cxn>
                <a:cxn ang="0">
                  <a:pos x="4" y="164"/>
                </a:cxn>
                <a:cxn ang="0">
                  <a:pos x="10" y="178"/>
                </a:cxn>
                <a:cxn ang="0">
                  <a:pos x="8" y="188"/>
                </a:cxn>
                <a:cxn ang="0">
                  <a:pos x="6" y="196"/>
                </a:cxn>
                <a:cxn ang="0">
                  <a:pos x="10" y="196"/>
                </a:cxn>
                <a:cxn ang="0">
                  <a:pos x="6" y="202"/>
                </a:cxn>
                <a:cxn ang="0">
                  <a:pos x="14" y="216"/>
                </a:cxn>
                <a:cxn ang="0">
                  <a:pos x="14" y="242"/>
                </a:cxn>
                <a:cxn ang="0">
                  <a:pos x="8" y="264"/>
                </a:cxn>
                <a:cxn ang="0">
                  <a:pos x="8" y="274"/>
                </a:cxn>
                <a:cxn ang="0">
                  <a:pos x="16" y="270"/>
                </a:cxn>
                <a:cxn ang="0">
                  <a:pos x="22" y="272"/>
                </a:cxn>
                <a:cxn ang="0">
                  <a:pos x="28" y="272"/>
                </a:cxn>
                <a:cxn ang="0">
                  <a:pos x="36" y="272"/>
                </a:cxn>
                <a:cxn ang="0">
                  <a:pos x="40" y="268"/>
                </a:cxn>
                <a:cxn ang="0">
                  <a:pos x="42" y="268"/>
                </a:cxn>
                <a:cxn ang="0">
                  <a:pos x="48" y="270"/>
                </a:cxn>
                <a:cxn ang="0">
                  <a:pos x="58" y="276"/>
                </a:cxn>
                <a:cxn ang="0">
                  <a:pos x="66" y="282"/>
                </a:cxn>
                <a:cxn ang="0">
                  <a:pos x="70" y="284"/>
                </a:cxn>
                <a:cxn ang="0">
                  <a:pos x="72" y="290"/>
                </a:cxn>
                <a:cxn ang="0">
                  <a:pos x="76" y="298"/>
                </a:cxn>
                <a:cxn ang="0">
                  <a:pos x="80" y="304"/>
                </a:cxn>
                <a:cxn ang="0">
                  <a:pos x="88" y="312"/>
                </a:cxn>
                <a:cxn ang="0">
                  <a:pos x="96" y="304"/>
                </a:cxn>
                <a:cxn ang="0">
                  <a:pos x="102" y="296"/>
                </a:cxn>
                <a:cxn ang="0">
                  <a:pos x="106" y="292"/>
                </a:cxn>
                <a:cxn ang="0">
                  <a:pos x="112" y="292"/>
                </a:cxn>
                <a:cxn ang="0">
                  <a:pos x="122" y="302"/>
                </a:cxn>
                <a:cxn ang="0">
                  <a:pos x="132" y="300"/>
                </a:cxn>
                <a:cxn ang="0">
                  <a:pos x="146" y="300"/>
                </a:cxn>
                <a:cxn ang="0">
                  <a:pos x="152" y="294"/>
                </a:cxn>
                <a:cxn ang="0">
                  <a:pos x="154" y="298"/>
                </a:cxn>
                <a:cxn ang="0">
                  <a:pos x="156" y="300"/>
                </a:cxn>
                <a:cxn ang="0">
                  <a:pos x="234" y="274"/>
                </a:cxn>
                <a:cxn ang="0">
                  <a:pos x="222" y="258"/>
                </a:cxn>
                <a:cxn ang="0">
                  <a:pos x="244" y="62"/>
                </a:cxn>
                <a:cxn ang="0">
                  <a:pos x="98" y="34"/>
                </a:cxn>
                <a:cxn ang="0">
                  <a:pos x="96" y="92"/>
                </a:cxn>
                <a:cxn ang="0">
                  <a:pos x="86" y="98"/>
                </a:cxn>
                <a:cxn ang="0">
                  <a:pos x="76" y="108"/>
                </a:cxn>
                <a:cxn ang="0">
                  <a:pos x="76" y="144"/>
                </a:cxn>
                <a:cxn ang="0">
                  <a:pos x="14" y="144"/>
                </a:cxn>
                <a:cxn ang="0">
                  <a:pos x="0" y="150"/>
                </a:cxn>
              </a:cxnLst>
              <a:rect l="0" t="0" r="r" b="b"/>
              <a:pathLst>
                <a:path w="244" h="312">
                  <a:moveTo>
                    <a:pt x="0" y="150"/>
                  </a:moveTo>
                  <a:lnTo>
                    <a:pt x="0" y="150"/>
                  </a:lnTo>
                  <a:lnTo>
                    <a:pt x="0" y="162"/>
                  </a:lnTo>
                  <a:lnTo>
                    <a:pt x="0" y="164"/>
                  </a:lnTo>
                  <a:lnTo>
                    <a:pt x="4" y="164"/>
                  </a:lnTo>
                  <a:lnTo>
                    <a:pt x="4" y="164"/>
                  </a:lnTo>
                  <a:lnTo>
                    <a:pt x="6" y="166"/>
                  </a:lnTo>
                  <a:lnTo>
                    <a:pt x="8" y="170"/>
                  </a:lnTo>
                  <a:lnTo>
                    <a:pt x="10" y="178"/>
                  </a:lnTo>
                  <a:lnTo>
                    <a:pt x="10" y="178"/>
                  </a:lnTo>
                  <a:lnTo>
                    <a:pt x="10" y="182"/>
                  </a:lnTo>
                  <a:lnTo>
                    <a:pt x="8" y="188"/>
                  </a:lnTo>
                  <a:lnTo>
                    <a:pt x="8" y="188"/>
                  </a:lnTo>
                  <a:lnTo>
                    <a:pt x="6" y="196"/>
                  </a:lnTo>
                  <a:lnTo>
                    <a:pt x="6" y="196"/>
                  </a:lnTo>
                  <a:lnTo>
                    <a:pt x="10" y="196"/>
                  </a:lnTo>
                  <a:lnTo>
                    <a:pt x="10" y="196"/>
                  </a:lnTo>
                  <a:lnTo>
                    <a:pt x="10" y="196"/>
                  </a:lnTo>
                  <a:lnTo>
                    <a:pt x="10" y="198"/>
                  </a:lnTo>
                  <a:lnTo>
                    <a:pt x="6" y="200"/>
                  </a:lnTo>
                  <a:lnTo>
                    <a:pt x="6" y="202"/>
                  </a:lnTo>
                  <a:lnTo>
                    <a:pt x="6" y="202"/>
                  </a:lnTo>
                  <a:lnTo>
                    <a:pt x="10" y="210"/>
                  </a:lnTo>
                  <a:lnTo>
                    <a:pt x="14" y="216"/>
                  </a:lnTo>
                  <a:lnTo>
                    <a:pt x="16" y="226"/>
                  </a:lnTo>
                  <a:lnTo>
                    <a:pt x="14" y="242"/>
                  </a:lnTo>
                  <a:lnTo>
                    <a:pt x="14" y="242"/>
                  </a:lnTo>
                  <a:lnTo>
                    <a:pt x="12" y="252"/>
                  </a:lnTo>
                  <a:lnTo>
                    <a:pt x="10" y="258"/>
                  </a:lnTo>
                  <a:lnTo>
                    <a:pt x="8" y="264"/>
                  </a:lnTo>
                  <a:lnTo>
                    <a:pt x="6" y="268"/>
                  </a:lnTo>
                  <a:lnTo>
                    <a:pt x="8" y="274"/>
                  </a:lnTo>
                  <a:lnTo>
                    <a:pt x="8" y="274"/>
                  </a:lnTo>
                  <a:lnTo>
                    <a:pt x="12" y="270"/>
                  </a:lnTo>
                  <a:lnTo>
                    <a:pt x="14" y="268"/>
                  </a:lnTo>
                  <a:lnTo>
                    <a:pt x="16" y="270"/>
                  </a:lnTo>
                  <a:lnTo>
                    <a:pt x="16" y="270"/>
                  </a:lnTo>
                  <a:lnTo>
                    <a:pt x="20" y="272"/>
                  </a:lnTo>
                  <a:lnTo>
                    <a:pt x="22" y="272"/>
                  </a:lnTo>
                  <a:lnTo>
                    <a:pt x="26" y="272"/>
                  </a:lnTo>
                  <a:lnTo>
                    <a:pt x="26" y="272"/>
                  </a:lnTo>
                  <a:lnTo>
                    <a:pt x="28" y="272"/>
                  </a:lnTo>
                  <a:lnTo>
                    <a:pt x="32" y="272"/>
                  </a:lnTo>
                  <a:lnTo>
                    <a:pt x="32" y="272"/>
                  </a:lnTo>
                  <a:lnTo>
                    <a:pt x="36" y="272"/>
                  </a:lnTo>
                  <a:lnTo>
                    <a:pt x="36" y="270"/>
                  </a:lnTo>
                  <a:lnTo>
                    <a:pt x="38" y="268"/>
                  </a:lnTo>
                  <a:lnTo>
                    <a:pt x="40" y="268"/>
                  </a:lnTo>
                  <a:lnTo>
                    <a:pt x="40" y="268"/>
                  </a:lnTo>
                  <a:lnTo>
                    <a:pt x="42" y="268"/>
                  </a:lnTo>
                  <a:lnTo>
                    <a:pt x="42" y="268"/>
                  </a:lnTo>
                  <a:lnTo>
                    <a:pt x="44" y="270"/>
                  </a:lnTo>
                  <a:lnTo>
                    <a:pt x="48" y="270"/>
                  </a:lnTo>
                  <a:lnTo>
                    <a:pt x="48" y="270"/>
                  </a:lnTo>
                  <a:lnTo>
                    <a:pt x="52" y="272"/>
                  </a:lnTo>
                  <a:lnTo>
                    <a:pt x="56" y="272"/>
                  </a:lnTo>
                  <a:lnTo>
                    <a:pt x="58" y="276"/>
                  </a:lnTo>
                  <a:lnTo>
                    <a:pt x="62" y="280"/>
                  </a:lnTo>
                  <a:lnTo>
                    <a:pt x="64" y="282"/>
                  </a:lnTo>
                  <a:lnTo>
                    <a:pt x="66" y="282"/>
                  </a:lnTo>
                  <a:lnTo>
                    <a:pt x="66" y="282"/>
                  </a:lnTo>
                  <a:lnTo>
                    <a:pt x="70" y="282"/>
                  </a:lnTo>
                  <a:lnTo>
                    <a:pt x="70" y="284"/>
                  </a:lnTo>
                  <a:lnTo>
                    <a:pt x="70" y="288"/>
                  </a:lnTo>
                  <a:lnTo>
                    <a:pt x="72" y="290"/>
                  </a:lnTo>
                  <a:lnTo>
                    <a:pt x="72" y="290"/>
                  </a:lnTo>
                  <a:lnTo>
                    <a:pt x="76" y="292"/>
                  </a:lnTo>
                  <a:lnTo>
                    <a:pt x="76" y="294"/>
                  </a:lnTo>
                  <a:lnTo>
                    <a:pt x="76" y="298"/>
                  </a:lnTo>
                  <a:lnTo>
                    <a:pt x="78" y="300"/>
                  </a:lnTo>
                  <a:lnTo>
                    <a:pt x="78" y="300"/>
                  </a:lnTo>
                  <a:lnTo>
                    <a:pt x="80" y="304"/>
                  </a:lnTo>
                  <a:lnTo>
                    <a:pt x="80" y="306"/>
                  </a:lnTo>
                  <a:lnTo>
                    <a:pt x="82" y="308"/>
                  </a:lnTo>
                  <a:lnTo>
                    <a:pt x="88" y="312"/>
                  </a:lnTo>
                  <a:lnTo>
                    <a:pt x="88" y="312"/>
                  </a:lnTo>
                  <a:lnTo>
                    <a:pt x="92" y="308"/>
                  </a:lnTo>
                  <a:lnTo>
                    <a:pt x="96" y="304"/>
                  </a:lnTo>
                  <a:lnTo>
                    <a:pt x="98" y="298"/>
                  </a:lnTo>
                  <a:lnTo>
                    <a:pt x="102" y="296"/>
                  </a:lnTo>
                  <a:lnTo>
                    <a:pt x="102" y="296"/>
                  </a:lnTo>
                  <a:lnTo>
                    <a:pt x="104" y="294"/>
                  </a:lnTo>
                  <a:lnTo>
                    <a:pt x="104" y="294"/>
                  </a:lnTo>
                  <a:lnTo>
                    <a:pt x="106" y="292"/>
                  </a:lnTo>
                  <a:lnTo>
                    <a:pt x="108" y="292"/>
                  </a:lnTo>
                  <a:lnTo>
                    <a:pt x="108" y="292"/>
                  </a:lnTo>
                  <a:lnTo>
                    <a:pt x="112" y="292"/>
                  </a:lnTo>
                  <a:lnTo>
                    <a:pt x="114" y="296"/>
                  </a:lnTo>
                  <a:lnTo>
                    <a:pt x="116" y="300"/>
                  </a:lnTo>
                  <a:lnTo>
                    <a:pt x="122" y="302"/>
                  </a:lnTo>
                  <a:lnTo>
                    <a:pt x="122" y="302"/>
                  </a:lnTo>
                  <a:lnTo>
                    <a:pt x="126" y="300"/>
                  </a:lnTo>
                  <a:lnTo>
                    <a:pt x="132" y="300"/>
                  </a:lnTo>
                  <a:lnTo>
                    <a:pt x="142" y="300"/>
                  </a:lnTo>
                  <a:lnTo>
                    <a:pt x="142" y="300"/>
                  </a:lnTo>
                  <a:lnTo>
                    <a:pt x="146" y="300"/>
                  </a:lnTo>
                  <a:lnTo>
                    <a:pt x="146" y="298"/>
                  </a:lnTo>
                  <a:lnTo>
                    <a:pt x="148" y="296"/>
                  </a:lnTo>
                  <a:lnTo>
                    <a:pt x="152" y="294"/>
                  </a:lnTo>
                  <a:lnTo>
                    <a:pt x="152" y="294"/>
                  </a:lnTo>
                  <a:lnTo>
                    <a:pt x="154" y="296"/>
                  </a:lnTo>
                  <a:lnTo>
                    <a:pt x="154" y="298"/>
                  </a:lnTo>
                  <a:lnTo>
                    <a:pt x="154" y="298"/>
                  </a:lnTo>
                  <a:lnTo>
                    <a:pt x="156" y="300"/>
                  </a:lnTo>
                  <a:lnTo>
                    <a:pt x="156" y="300"/>
                  </a:lnTo>
                  <a:lnTo>
                    <a:pt x="224" y="300"/>
                  </a:lnTo>
                  <a:lnTo>
                    <a:pt x="234" y="274"/>
                  </a:lnTo>
                  <a:lnTo>
                    <a:pt x="234" y="274"/>
                  </a:lnTo>
                  <a:lnTo>
                    <a:pt x="226" y="268"/>
                  </a:lnTo>
                  <a:lnTo>
                    <a:pt x="222" y="264"/>
                  </a:lnTo>
                  <a:lnTo>
                    <a:pt x="222" y="258"/>
                  </a:lnTo>
                  <a:lnTo>
                    <a:pt x="222" y="258"/>
                  </a:lnTo>
                  <a:lnTo>
                    <a:pt x="218" y="62"/>
                  </a:lnTo>
                  <a:lnTo>
                    <a:pt x="244" y="62"/>
                  </a:lnTo>
                  <a:lnTo>
                    <a:pt x="166" y="0"/>
                  </a:lnTo>
                  <a:lnTo>
                    <a:pt x="166" y="34"/>
                  </a:lnTo>
                  <a:lnTo>
                    <a:pt x="98" y="34"/>
                  </a:lnTo>
                  <a:lnTo>
                    <a:pt x="98" y="34"/>
                  </a:lnTo>
                  <a:lnTo>
                    <a:pt x="96" y="92"/>
                  </a:lnTo>
                  <a:lnTo>
                    <a:pt x="96" y="92"/>
                  </a:lnTo>
                  <a:lnTo>
                    <a:pt x="94" y="96"/>
                  </a:lnTo>
                  <a:lnTo>
                    <a:pt x="92" y="98"/>
                  </a:lnTo>
                  <a:lnTo>
                    <a:pt x="86" y="98"/>
                  </a:lnTo>
                  <a:lnTo>
                    <a:pt x="82" y="100"/>
                  </a:lnTo>
                  <a:lnTo>
                    <a:pt x="78" y="102"/>
                  </a:lnTo>
                  <a:lnTo>
                    <a:pt x="76" y="108"/>
                  </a:lnTo>
                  <a:lnTo>
                    <a:pt x="76" y="116"/>
                  </a:lnTo>
                  <a:lnTo>
                    <a:pt x="76" y="116"/>
                  </a:lnTo>
                  <a:lnTo>
                    <a:pt x="76" y="144"/>
                  </a:lnTo>
                  <a:lnTo>
                    <a:pt x="76" y="144"/>
                  </a:lnTo>
                  <a:lnTo>
                    <a:pt x="14" y="144"/>
                  </a:lnTo>
                  <a:lnTo>
                    <a:pt x="14" y="144"/>
                  </a:lnTo>
                  <a:lnTo>
                    <a:pt x="8" y="144"/>
                  </a:lnTo>
                  <a:lnTo>
                    <a:pt x="4" y="144"/>
                  </a:lnTo>
                  <a:lnTo>
                    <a:pt x="0" y="150"/>
                  </a:lnTo>
                  <a:lnTo>
                    <a:pt x="0" y="150"/>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Burkina Faso"/>
            <p:cNvSpPr>
              <a:spLocks/>
            </p:cNvSpPr>
            <p:nvPr/>
          </p:nvSpPr>
          <p:spPr bwMode="auto">
            <a:xfrm>
              <a:off x="3993851" y="3115469"/>
              <a:ext cx="211667" cy="177271"/>
            </a:xfrm>
            <a:custGeom>
              <a:avLst/>
              <a:gdLst/>
              <a:ahLst/>
              <a:cxnLst>
                <a:cxn ang="0">
                  <a:pos x="116" y="14"/>
                </a:cxn>
                <a:cxn ang="0">
                  <a:pos x="124" y="32"/>
                </a:cxn>
                <a:cxn ang="0">
                  <a:pos x="132" y="34"/>
                </a:cxn>
                <a:cxn ang="0">
                  <a:pos x="128" y="40"/>
                </a:cxn>
                <a:cxn ang="0">
                  <a:pos x="134" y="50"/>
                </a:cxn>
                <a:cxn ang="0">
                  <a:pos x="150" y="58"/>
                </a:cxn>
                <a:cxn ang="0">
                  <a:pos x="156" y="60"/>
                </a:cxn>
                <a:cxn ang="0">
                  <a:pos x="156" y="62"/>
                </a:cxn>
                <a:cxn ang="0">
                  <a:pos x="160" y="72"/>
                </a:cxn>
                <a:cxn ang="0">
                  <a:pos x="144" y="78"/>
                </a:cxn>
                <a:cxn ang="0">
                  <a:pos x="140" y="86"/>
                </a:cxn>
                <a:cxn ang="0">
                  <a:pos x="134" y="90"/>
                </a:cxn>
                <a:cxn ang="0">
                  <a:pos x="132" y="96"/>
                </a:cxn>
                <a:cxn ang="0">
                  <a:pos x="128" y="96"/>
                </a:cxn>
                <a:cxn ang="0">
                  <a:pos x="120" y="96"/>
                </a:cxn>
                <a:cxn ang="0">
                  <a:pos x="106" y="94"/>
                </a:cxn>
                <a:cxn ang="0">
                  <a:pos x="100" y="96"/>
                </a:cxn>
                <a:cxn ang="0">
                  <a:pos x="84" y="98"/>
                </a:cxn>
                <a:cxn ang="0">
                  <a:pos x="54" y="100"/>
                </a:cxn>
                <a:cxn ang="0">
                  <a:pos x="52" y="110"/>
                </a:cxn>
                <a:cxn ang="0">
                  <a:pos x="54" y="116"/>
                </a:cxn>
                <a:cxn ang="0">
                  <a:pos x="56" y="122"/>
                </a:cxn>
                <a:cxn ang="0">
                  <a:pos x="56" y="134"/>
                </a:cxn>
                <a:cxn ang="0">
                  <a:pos x="48" y="128"/>
                </a:cxn>
                <a:cxn ang="0">
                  <a:pos x="44" y="128"/>
                </a:cxn>
                <a:cxn ang="0">
                  <a:pos x="34" y="128"/>
                </a:cxn>
                <a:cxn ang="0">
                  <a:pos x="18" y="130"/>
                </a:cxn>
                <a:cxn ang="0">
                  <a:pos x="8" y="126"/>
                </a:cxn>
                <a:cxn ang="0">
                  <a:pos x="0" y="114"/>
                </a:cxn>
                <a:cxn ang="0">
                  <a:pos x="6" y="92"/>
                </a:cxn>
                <a:cxn ang="0">
                  <a:pos x="10" y="86"/>
                </a:cxn>
                <a:cxn ang="0">
                  <a:pos x="6" y="82"/>
                </a:cxn>
                <a:cxn ang="0">
                  <a:pos x="12" y="76"/>
                </a:cxn>
                <a:cxn ang="0">
                  <a:pos x="32" y="58"/>
                </a:cxn>
                <a:cxn ang="0">
                  <a:pos x="30" y="54"/>
                </a:cxn>
                <a:cxn ang="0">
                  <a:pos x="38" y="48"/>
                </a:cxn>
                <a:cxn ang="0">
                  <a:pos x="38" y="44"/>
                </a:cxn>
                <a:cxn ang="0">
                  <a:pos x="46" y="30"/>
                </a:cxn>
                <a:cxn ang="0">
                  <a:pos x="52" y="30"/>
                </a:cxn>
                <a:cxn ang="0">
                  <a:pos x="70" y="24"/>
                </a:cxn>
                <a:cxn ang="0">
                  <a:pos x="70" y="22"/>
                </a:cxn>
                <a:cxn ang="0">
                  <a:pos x="74" y="18"/>
                </a:cxn>
                <a:cxn ang="0">
                  <a:pos x="86" y="6"/>
                </a:cxn>
                <a:cxn ang="0">
                  <a:pos x="98" y="2"/>
                </a:cxn>
                <a:cxn ang="0">
                  <a:pos x="102" y="0"/>
                </a:cxn>
              </a:cxnLst>
              <a:rect l="0" t="0" r="r" b="b"/>
              <a:pathLst>
                <a:path w="160" h="134">
                  <a:moveTo>
                    <a:pt x="116" y="4"/>
                  </a:moveTo>
                  <a:lnTo>
                    <a:pt x="116" y="4"/>
                  </a:lnTo>
                  <a:lnTo>
                    <a:pt x="116" y="14"/>
                  </a:lnTo>
                  <a:lnTo>
                    <a:pt x="118" y="22"/>
                  </a:lnTo>
                  <a:lnTo>
                    <a:pt x="122" y="30"/>
                  </a:lnTo>
                  <a:lnTo>
                    <a:pt x="124" y="32"/>
                  </a:lnTo>
                  <a:lnTo>
                    <a:pt x="128" y="34"/>
                  </a:lnTo>
                  <a:lnTo>
                    <a:pt x="128" y="34"/>
                  </a:lnTo>
                  <a:lnTo>
                    <a:pt x="132" y="34"/>
                  </a:lnTo>
                  <a:lnTo>
                    <a:pt x="132" y="36"/>
                  </a:lnTo>
                  <a:lnTo>
                    <a:pt x="128" y="40"/>
                  </a:lnTo>
                  <a:lnTo>
                    <a:pt x="128" y="40"/>
                  </a:lnTo>
                  <a:lnTo>
                    <a:pt x="126" y="42"/>
                  </a:lnTo>
                  <a:lnTo>
                    <a:pt x="126" y="44"/>
                  </a:lnTo>
                  <a:lnTo>
                    <a:pt x="134" y="50"/>
                  </a:lnTo>
                  <a:lnTo>
                    <a:pt x="134" y="50"/>
                  </a:lnTo>
                  <a:lnTo>
                    <a:pt x="144" y="56"/>
                  </a:lnTo>
                  <a:lnTo>
                    <a:pt x="150" y="58"/>
                  </a:lnTo>
                  <a:lnTo>
                    <a:pt x="152" y="58"/>
                  </a:lnTo>
                  <a:lnTo>
                    <a:pt x="156" y="60"/>
                  </a:lnTo>
                  <a:lnTo>
                    <a:pt x="156" y="60"/>
                  </a:lnTo>
                  <a:lnTo>
                    <a:pt x="158" y="62"/>
                  </a:lnTo>
                  <a:lnTo>
                    <a:pt x="156" y="62"/>
                  </a:lnTo>
                  <a:lnTo>
                    <a:pt x="156" y="62"/>
                  </a:lnTo>
                  <a:lnTo>
                    <a:pt x="154" y="64"/>
                  </a:lnTo>
                  <a:lnTo>
                    <a:pt x="160" y="72"/>
                  </a:lnTo>
                  <a:lnTo>
                    <a:pt x="160" y="72"/>
                  </a:lnTo>
                  <a:lnTo>
                    <a:pt x="154" y="76"/>
                  </a:lnTo>
                  <a:lnTo>
                    <a:pt x="150" y="76"/>
                  </a:lnTo>
                  <a:lnTo>
                    <a:pt x="144" y="78"/>
                  </a:lnTo>
                  <a:lnTo>
                    <a:pt x="142" y="82"/>
                  </a:lnTo>
                  <a:lnTo>
                    <a:pt x="142" y="82"/>
                  </a:lnTo>
                  <a:lnTo>
                    <a:pt x="140" y="86"/>
                  </a:lnTo>
                  <a:lnTo>
                    <a:pt x="136" y="88"/>
                  </a:lnTo>
                  <a:lnTo>
                    <a:pt x="136" y="90"/>
                  </a:lnTo>
                  <a:lnTo>
                    <a:pt x="134" y="90"/>
                  </a:lnTo>
                  <a:lnTo>
                    <a:pt x="134" y="90"/>
                  </a:lnTo>
                  <a:lnTo>
                    <a:pt x="134" y="98"/>
                  </a:lnTo>
                  <a:lnTo>
                    <a:pt x="132" y="96"/>
                  </a:lnTo>
                  <a:lnTo>
                    <a:pt x="132" y="96"/>
                  </a:lnTo>
                  <a:lnTo>
                    <a:pt x="128" y="96"/>
                  </a:lnTo>
                  <a:lnTo>
                    <a:pt x="128" y="96"/>
                  </a:lnTo>
                  <a:lnTo>
                    <a:pt x="126" y="98"/>
                  </a:lnTo>
                  <a:lnTo>
                    <a:pt x="124" y="98"/>
                  </a:lnTo>
                  <a:lnTo>
                    <a:pt x="120" y="96"/>
                  </a:lnTo>
                  <a:lnTo>
                    <a:pt x="110" y="96"/>
                  </a:lnTo>
                  <a:lnTo>
                    <a:pt x="110" y="96"/>
                  </a:lnTo>
                  <a:lnTo>
                    <a:pt x="106" y="94"/>
                  </a:lnTo>
                  <a:lnTo>
                    <a:pt x="104" y="94"/>
                  </a:lnTo>
                  <a:lnTo>
                    <a:pt x="102" y="94"/>
                  </a:lnTo>
                  <a:lnTo>
                    <a:pt x="100" y="96"/>
                  </a:lnTo>
                  <a:lnTo>
                    <a:pt x="100" y="96"/>
                  </a:lnTo>
                  <a:lnTo>
                    <a:pt x="94" y="98"/>
                  </a:lnTo>
                  <a:lnTo>
                    <a:pt x="84" y="98"/>
                  </a:lnTo>
                  <a:lnTo>
                    <a:pt x="58" y="98"/>
                  </a:lnTo>
                  <a:lnTo>
                    <a:pt x="58" y="98"/>
                  </a:lnTo>
                  <a:lnTo>
                    <a:pt x="54" y="100"/>
                  </a:lnTo>
                  <a:lnTo>
                    <a:pt x="52" y="104"/>
                  </a:lnTo>
                  <a:lnTo>
                    <a:pt x="52" y="108"/>
                  </a:lnTo>
                  <a:lnTo>
                    <a:pt x="52" y="110"/>
                  </a:lnTo>
                  <a:lnTo>
                    <a:pt x="52" y="110"/>
                  </a:lnTo>
                  <a:lnTo>
                    <a:pt x="54" y="114"/>
                  </a:lnTo>
                  <a:lnTo>
                    <a:pt x="54" y="116"/>
                  </a:lnTo>
                  <a:lnTo>
                    <a:pt x="54" y="118"/>
                  </a:lnTo>
                  <a:lnTo>
                    <a:pt x="56" y="122"/>
                  </a:lnTo>
                  <a:lnTo>
                    <a:pt x="56" y="122"/>
                  </a:lnTo>
                  <a:lnTo>
                    <a:pt x="60" y="130"/>
                  </a:lnTo>
                  <a:lnTo>
                    <a:pt x="60" y="132"/>
                  </a:lnTo>
                  <a:lnTo>
                    <a:pt x="56" y="134"/>
                  </a:lnTo>
                  <a:lnTo>
                    <a:pt x="56" y="134"/>
                  </a:lnTo>
                  <a:lnTo>
                    <a:pt x="52" y="132"/>
                  </a:lnTo>
                  <a:lnTo>
                    <a:pt x="48" y="128"/>
                  </a:lnTo>
                  <a:lnTo>
                    <a:pt x="46" y="128"/>
                  </a:lnTo>
                  <a:lnTo>
                    <a:pt x="44" y="128"/>
                  </a:lnTo>
                  <a:lnTo>
                    <a:pt x="44" y="128"/>
                  </a:lnTo>
                  <a:lnTo>
                    <a:pt x="42" y="130"/>
                  </a:lnTo>
                  <a:lnTo>
                    <a:pt x="38" y="128"/>
                  </a:lnTo>
                  <a:lnTo>
                    <a:pt x="34" y="128"/>
                  </a:lnTo>
                  <a:lnTo>
                    <a:pt x="30" y="128"/>
                  </a:lnTo>
                  <a:lnTo>
                    <a:pt x="30" y="128"/>
                  </a:lnTo>
                  <a:lnTo>
                    <a:pt x="18" y="130"/>
                  </a:lnTo>
                  <a:lnTo>
                    <a:pt x="12" y="130"/>
                  </a:lnTo>
                  <a:lnTo>
                    <a:pt x="12" y="130"/>
                  </a:lnTo>
                  <a:lnTo>
                    <a:pt x="8" y="126"/>
                  </a:lnTo>
                  <a:lnTo>
                    <a:pt x="8" y="122"/>
                  </a:lnTo>
                  <a:lnTo>
                    <a:pt x="6" y="118"/>
                  </a:lnTo>
                  <a:lnTo>
                    <a:pt x="0" y="114"/>
                  </a:lnTo>
                  <a:lnTo>
                    <a:pt x="0" y="114"/>
                  </a:lnTo>
                  <a:lnTo>
                    <a:pt x="4" y="98"/>
                  </a:lnTo>
                  <a:lnTo>
                    <a:pt x="6" y="92"/>
                  </a:lnTo>
                  <a:lnTo>
                    <a:pt x="10" y="90"/>
                  </a:lnTo>
                  <a:lnTo>
                    <a:pt x="10" y="86"/>
                  </a:lnTo>
                  <a:lnTo>
                    <a:pt x="10" y="86"/>
                  </a:lnTo>
                  <a:lnTo>
                    <a:pt x="8" y="82"/>
                  </a:lnTo>
                  <a:lnTo>
                    <a:pt x="6" y="82"/>
                  </a:lnTo>
                  <a:lnTo>
                    <a:pt x="6" y="82"/>
                  </a:lnTo>
                  <a:lnTo>
                    <a:pt x="6" y="80"/>
                  </a:lnTo>
                  <a:lnTo>
                    <a:pt x="12" y="76"/>
                  </a:lnTo>
                  <a:lnTo>
                    <a:pt x="12" y="76"/>
                  </a:lnTo>
                  <a:lnTo>
                    <a:pt x="28" y="66"/>
                  </a:lnTo>
                  <a:lnTo>
                    <a:pt x="32" y="60"/>
                  </a:lnTo>
                  <a:lnTo>
                    <a:pt x="32" y="58"/>
                  </a:lnTo>
                  <a:lnTo>
                    <a:pt x="32" y="56"/>
                  </a:lnTo>
                  <a:lnTo>
                    <a:pt x="32" y="56"/>
                  </a:lnTo>
                  <a:lnTo>
                    <a:pt x="30" y="54"/>
                  </a:lnTo>
                  <a:lnTo>
                    <a:pt x="30" y="52"/>
                  </a:lnTo>
                  <a:lnTo>
                    <a:pt x="34" y="52"/>
                  </a:lnTo>
                  <a:lnTo>
                    <a:pt x="38" y="48"/>
                  </a:lnTo>
                  <a:lnTo>
                    <a:pt x="38" y="46"/>
                  </a:lnTo>
                  <a:lnTo>
                    <a:pt x="38" y="44"/>
                  </a:lnTo>
                  <a:lnTo>
                    <a:pt x="38" y="44"/>
                  </a:lnTo>
                  <a:lnTo>
                    <a:pt x="38" y="40"/>
                  </a:lnTo>
                  <a:lnTo>
                    <a:pt x="40" y="34"/>
                  </a:lnTo>
                  <a:lnTo>
                    <a:pt x="46" y="30"/>
                  </a:lnTo>
                  <a:lnTo>
                    <a:pt x="50" y="30"/>
                  </a:lnTo>
                  <a:lnTo>
                    <a:pt x="52" y="30"/>
                  </a:lnTo>
                  <a:lnTo>
                    <a:pt x="52" y="30"/>
                  </a:lnTo>
                  <a:lnTo>
                    <a:pt x="60" y="30"/>
                  </a:lnTo>
                  <a:lnTo>
                    <a:pt x="68" y="28"/>
                  </a:lnTo>
                  <a:lnTo>
                    <a:pt x="70" y="24"/>
                  </a:lnTo>
                  <a:lnTo>
                    <a:pt x="72" y="24"/>
                  </a:lnTo>
                  <a:lnTo>
                    <a:pt x="70" y="22"/>
                  </a:lnTo>
                  <a:lnTo>
                    <a:pt x="70" y="22"/>
                  </a:lnTo>
                  <a:lnTo>
                    <a:pt x="66" y="20"/>
                  </a:lnTo>
                  <a:lnTo>
                    <a:pt x="70" y="20"/>
                  </a:lnTo>
                  <a:lnTo>
                    <a:pt x="74" y="18"/>
                  </a:lnTo>
                  <a:lnTo>
                    <a:pt x="80" y="14"/>
                  </a:lnTo>
                  <a:lnTo>
                    <a:pt x="80" y="14"/>
                  </a:lnTo>
                  <a:lnTo>
                    <a:pt x="86" y="6"/>
                  </a:lnTo>
                  <a:lnTo>
                    <a:pt x="90" y="6"/>
                  </a:lnTo>
                  <a:lnTo>
                    <a:pt x="94" y="6"/>
                  </a:lnTo>
                  <a:lnTo>
                    <a:pt x="98" y="2"/>
                  </a:lnTo>
                  <a:lnTo>
                    <a:pt x="98" y="2"/>
                  </a:lnTo>
                  <a:lnTo>
                    <a:pt x="100" y="0"/>
                  </a:lnTo>
                  <a:lnTo>
                    <a:pt x="102" y="0"/>
                  </a:lnTo>
                  <a:lnTo>
                    <a:pt x="116" y="4"/>
                  </a:lnTo>
                  <a:lnTo>
                    <a:pt x="116" y="4"/>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Mali"/>
            <p:cNvSpPr>
              <a:spLocks/>
            </p:cNvSpPr>
            <p:nvPr/>
          </p:nvSpPr>
          <p:spPr bwMode="auto">
            <a:xfrm>
              <a:off x="3803351" y="2784740"/>
              <a:ext cx="455083" cy="486833"/>
            </a:xfrm>
            <a:custGeom>
              <a:avLst/>
              <a:gdLst/>
              <a:ahLst/>
              <a:cxnLst>
                <a:cxn ang="0">
                  <a:pos x="150" y="342"/>
                </a:cxn>
                <a:cxn ang="0">
                  <a:pos x="152" y="332"/>
                </a:cxn>
                <a:cxn ang="0">
                  <a:pos x="156" y="326"/>
                </a:cxn>
                <a:cxn ang="0">
                  <a:pos x="176" y="308"/>
                </a:cxn>
                <a:cxn ang="0">
                  <a:pos x="174" y="302"/>
                </a:cxn>
                <a:cxn ang="0">
                  <a:pos x="182" y="294"/>
                </a:cxn>
                <a:cxn ang="0">
                  <a:pos x="190" y="280"/>
                </a:cxn>
                <a:cxn ang="0">
                  <a:pos x="204" y="280"/>
                </a:cxn>
                <a:cxn ang="0">
                  <a:pos x="214" y="272"/>
                </a:cxn>
                <a:cxn ang="0">
                  <a:pos x="218" y="268"/>
                </a:cxn>
                <a:cxn ang="0">
                  <a:pos x="234" y="256"/>
                </a:cxn>
                <a:cxn ang="0">
                  <a:pos x="244" y="250"/>
                </a:cxn>
                <a:cxn ang="0">
                  <a:pos x="264" y="254"/>
                </a:cxn>
                <a:cxn ang="0">
                  <a:pos x="270" y="250"/>
                </a:cxn>
                <a:cxn ang="0">
                  <a:pos x="284" y="244"/>
                </a:cxn>
                <a:cxn ang="0">
                  <a:pos x="308" y="238"/>
                </a:cxn>
                <a:cxn ang="0">
                  <a:pos x="322" y="232"/>
                </a:cxn>
                <a:cxn ang="0">
                  <a:pos x="338" y="222"/>
                </a:cxn>
                <a:cxn ang="0">
                  <a:pos x="342" y="204"/>
                </a:cxn>
                <a:cxn ang="0">
                  <a:pos x="344" y="198"/>
                </a:cxn>
                <a:cxn ang="0">
                  <a:pos x="344" y="144"/>
                </a:cxn>
                <a:cxn ang="0">
                  <a:pos x="320" y="150"/>
                </a:cxn>
                <a:cxn ang="0">
                  <a:pos x="326" y="130"/>
                </a:cxn>
                <a:cxn ang="0">
                  <a:pos x="320" y="124"/>
                </a:cxn>
                <a:cxn ang="0">
                  <a:pos x="314" y="120"/>
                </a:cxn>
                <a:cxn ang="0">
                  <a:pos x="310" y="116"/>
                </a:cxn>
                <a:cxn ang="0">
                  <a:pos x="308" y="112"/>
                </a:cxn>
                <a:cxn ang="0">
                  <a:pos x="298" y="108"/>
                </a:cxn>
                <a:cxn ang="0">
                  <a:pos x="134" y="196"/>
                </a:cxn>
                <a:cxn ang="0">
                  <a:pos x="146" y="212"/>
                </a:cxn>
                <a:cxn ang="0">
                  <a:pos x="68" y="238"/>
                </a:cxn>
                <a:cxn ang="0">
                  <a:pos x="64" y="232"/>
                </a:cxn>
                <a:cxn ang="0">
                  <a:pos x="58" y="238"/>
                </a:cxn>
                <a:cxn ang="0">
                  <a:pos x="38" y="238"/>
                </a:cxn>
                <a:cxn ang="0">
                  <a:pos x="26" y="234"/>
                </a:cxn>
                <a:cxn ang="0">
                  <a:pos x="18" y="230"/>
                </a:cxn>
                <a:cxn ang="0">
                  <a:pos x="14" y="234"/>
                </a:cxn>
                <a:cxn ang="0">
                  <a:pos x="0" y="250"/>
                </a:cxn>
                <a:cxn ang="0">
                  <a:pos x="4" y="260"/>
                </a:cxn>
                <a:cxn ang="0">
                  <a:pos x="4" y="280"/>
                </a:cxn>
                <a:cxn ang="0">
                  <a:pos x="10" y="282"/>
                </a:cxn>
                <a:cxn ang="0">
                  <a:pos x="14" y="314"/>
                </a:cxn>
                <a:cxn ang="0">
                  <a:pos x="20" y="318"/>
                </a:cxn>
                <a:cxn ang="0">
                  <a:pos x="26" y="320"/>
                </a:cxn>
                <a:cxn ang="0">
                  <a:pos x="34" y="318"/>
                </a:cxn>
                <a:cxn ang="0">
                  <a:pos x="42" y="320"/>
                </a:cxn>
                <a:cxn ang="0">
                  <a:pos x="54" y="318"/>
                </a:cxn>
                <a:cxn ang="0">
                  <a:pos x="58" y="312"/>
                </a:cxn>
                <a:cxn ang="0">
                  <a:pos x="66" y="318"/>
                </a:cxn>
                <a:cxn ang="0">
                  <a:pos x="72" y="328"/>
                </a:cxn>
                <a:cxn ang="0">
                  <a:pos x="74" y="334"/>
                </a:cxn>
                <a:cxn ang="0">
                  <a:pos x="72" y="348"/>
                </a:cxn>
                <a:cxn ang="0">
                  <a:pos x="82" y="358"/>
                </a:cxn>
                <a:cxn ang="0">
                  <a:pos x="90" y="366"/>
                </a:cxn>
                <a:cxn ang="0">
                  <a:pos x="98" y="362"/>
                </a:cxn>
                <a:cxn ang="0">
                  <a:pos x="108" y="366"/>
                </a:cxn>
                <a:cxn ang="0">
                  <a:pos x="118" y="358"/>
                </a:cxn>
                <a:cxn ang="0">
                  <a:pos x="128" y="364"/>
                </a:cxn>
                <a:cxn ang="0">
                  <a:pos x="138" y="362"/>
                </a:cxn>
              </a:cxnLst>
              <a:rect l="0" t="0" r="r" b="b"/>
              <a:pathLst>
                <a:path w="344" h="368">
                  <a:moveTo>
                    <a:pt x="144" y="364"/>
                  </a:moveTo>
                  <a:lnTo>
                    <a:pt x="144" y="364"/>
                  </a:lnTo>
                  <a:lnTo>
                    <a:pt x="148" y="348"/>
                  </a:lnTo>
                  <a:lnTo>
                    <a:pt x="150" y="342"/>
                  </a:lnTo>
                  <a:lnTo>
                    <a:pt x="154" y="340"/>
                  </a:lnTo>
                  <a:lnTo>
                    <a:pt x="154" y="336"/>
                  </a:lnTo>
                  <a:lnTo>
                    <a:pt x="154" y="336"/>
                  </a:lnTo>
                  <a:lnTo>
                    <a:pt x="152" y="332"/>
                  </a:lnTo>
                  <a:lnTo>
                    <a:pt x="150" y="332"/>
                  </a:lnTo>
                  <a:lnTo>
                    <a:pt x="150" y="332"/>
                  </a:lnTo>
                  <a:lnTo>
                    <a:pt x="150" y="330"/>
                  </a:lnTo>
                  <a:lnTo>
                    <a:pt x="156" y="326"/>
                  </a:lnTo>
                  <a:lnTo>
                    <a:pt x="156" y="326"/>
                  </a:lnTo>
                  <a:lnTo>
                    <a:pt x="172" y="316"/>
                  </a:lnTo>
                  <a:lnTo>
                    <a:pt x="176" y="310"/>
                  </a:lnTo>
                  <a:lnTo>
                    <a:pt x="176" y="308"/>
                  </a:lnTo>
                  <a:lnTo>
                    <a:pt x="176" y="306"/>
                  </a:lnTo>
                  <a:lnTo>
                    <a:pt x="176" y="306"/>
                  </a:lnTo>
                  <a:lnTo>
                    <a:pt x="174" y="304"/>
                  </a:lnTo>
                  <a:lnTo>
                    <a:pt x="174" y="302"/>
                  </a:lnTo>
                  <a:lnTo>
                    <a:pt x="178" y="302"/>
                  </a:lnTo>
                  <a:lnTo>
                    <a:pt x="182" y="298"/>
                  </a:lnTo>
                  <a:lnTo>
                    <a:pt x="182" y="296"/>
                  </a:lnTo>
                  <a:lnTo>
                    <a:pt x="182" y="294"/>
                  </a:lnTo>
                  <a:lnTo>
                    <a:pt x="182" y="294"/>
                  </a:lnTo>
                  <a:lnTo>
                    <a:pt x="182" y="290"/>
                  </a:lnTo>
                  <a:lnTo>
                    <a:pt x="184" y="284"/>
                  </a:lnTo>
                  <a:lnTo>
                    <a:pt x="190" y="280"/>
                  </a:lnTo>
                  <a:lnTo>
                    <a:pt x="194" y="280"/>
                  </a:lnTo>
                  <a:lnTo>
                    <a:pt x="196" y="280"/>
                  </a:lnTo>
                  <a:lnTo>
                    <a:pt x="196" y="280"/>
                  </a:lnTo>
                  <a:lnTo>
                    <a:pt x="204" y="280"/>
                  </a:lnTo>
                  <a:lnTo>
                    <a:pt x="212" y="278"/>
                  </a:lnTo>
                  <a:lnTo>
                    <a:pt x="214" y="274"/>
                  </a:lnTo>
                  <a:lnTo>
                    <a:pt x="216" y="274"/>
                  </a:lnTo>
                  <a:lnTo>
                    <a:pt x="214" y="272"/>
                  </a:lnTo>
                  <a:lnTo>
                    <a:pt x="214" y="272"/>
                  </a:lnTo>
                  <a:lnTo>
                    <a:pt x="210" y="270"/>
                  </a:lnTo>
                  <a:lnTo>
                    <a:pt x="214" y="270"/>
                  </a:lnTo>
                  <a:lnTo>
                    <a:pt x="218" y="268"/>
                  </a:lnTo>
                  <a:lnTo>
                    <a:pt x="224" y="264"/>
                  </a:lnTo>
                  <a:lnTo>
                    <a:pt x="224" y="264"/>
                  </a:lnTo>
                  <a:lnTo>
                    <a:pt x="230" y="256"/>
                  </a:lnTo>
                  <a:lnTo>
                    <a:pt x="234" y="256"/>
                  </a:lnTo>
                  <a:lnTo>
                    <a:pt x="238" y="256"/>
                  </a:lnTo>
                  <a:lnTo>
                    <a:pt x="242" y="252"/>
                  </a:lnTo>
                  <a:lnTo>
                    <a:pt x="242" y="252"/>
                  </a:lnTo>
                  <a:lnTo>
                    <a:pt x="244" y="250"/>
                  </a:lnTo>
                  <a:lnTo>
                    <a:pt x="246" y="250"/>
                  </a:lnTo>
                  <a:lnTo>
                    <a:pt x="260" y="254"/>
                  </a:lnTo>
                  <a:lnTo>
                    <a:pt x="260" y="254"/>
                  </a:lnTo>
                  <a:lnTo>
                    <a:pt x="264" y="254"/>
                  </a:lnTo>
                  <a:lnTo>
                    <a:pt x="266" y="254"/>
                  </a:lnTo>
                  <a:lnTo>
                    <a:pt x="268" y="252"/>
                  </a:lnTo>
                  <a:lnTo>
                    <a:pt x="268" y="252"/>
                  </a:lnTo>
                  <a:lnTo>
                    <a:pt x="270" y="250"/>
                  </a:lnTo>
                  <a:lnTo>
                    <a:pt x="274" y="250"/>
                  </a:lnTo>
                  <a:lnTo>
                    <a:pt x="278" y="248"/>
                  </a:lnTo>
                  <a:lnTo>
                    <a:pt x="284" y="244"/>
                  </a:lnTo>
                  <a:lnTo>
                    <a:pt x="284" y="244"/>
                  </a:lnTo>
                  <a:lnTo>
                    <a:pt x="288" y="240"/>
                  </a:lnTo>
                  <a:lnTo>
                    <a:pt x="290" y="238"/>
                  </a:lnTo>
                  <a:lnTo>
                    <a:pt x="298" y="238"/>
                  </a:lnTo>
                  <a:lnTo>
                    <a:pt x="308" y="238"/>
                  </a:lnTo>
                  <a:lnTo>
                    <a:pt x="312" y="238"/>
                  </a:lnTo>
                  <a:lnTo>
                    <a:pt x="316" y="234"/>
                  </a:lnTo>
                  <a:lnTo>
                    <a:pt x="316" y="234"/>
                  </a:lnTo>
                  <a:lnTo>
                    <a:pt x="322" y="232"/>
                  </a:lnTo>
                  <a:lnTo>
                    <a:pt x="330" y="228"/>
                  </a:lnTo>
                  <a:lnTo>
                    <a:pt x="336" y="226"/>
                  </a:lnTo>
                  <a:lnTo>
                    <a:pt x="336" y="224"/>
                  </a:lnTo>
                  <a:lnTo>
                    <a:pt x="338" y="222"/>
                  </a:lnTo>
                  <a:lnTo>
                    <a:pt x="338" y="222"/>
                  </a:lnTo>
                  <a:lnTo>
                    <a:pt x="340" y="216"/>
                  </a:lnTo>
                  <a:lnTo>
                    <a:pt x="340" y="212"/>
                  </a:lnTo>
                  <a:lnTo>
                    <a:pt x="342" y="204"/>
                  </a:lnTo>
                  <a:lnTo>
                    <a:pt x="342" y="204"/>
                  </a:lnTo>
                  <a:lnTo>
                    <a:pt x="342" y="200"/>
                  </a:lnTo>
                  <a:lnTo>
                    <a:pt x="342" y="198"/>
                  </a:lnTo>
                  <a:lnTo>
                    <a:pt x="344" y="198"/>
                  </a:lnTo>
                  <a:lnTo>
                    <a:pt x="344" y="194"/>
                  </a:lnTo>
                  <a:lnTo>
                    <a:pt x="344" y="194"/>
                  </a:lnTo>
                  <a:lnTo>
                    <a:pt x="344" y="144"/>
                  </a:lnTo>
                  <a:lnTo>
                    <a:pt x="344" y="144"/>
                  </a:lnTo>
                  <a:lnTo>
                    <a:pt x="326" y="150"/>
                  </a:lnTo>
                  <a:lnTo>
                    <a:pt x="322" y="152"/>
                  </a:lnTo>
                  <a:lnTo>
                    <a:pt x="320" y="150"/>
                  </a:lnTo>
                  <a:lnTo>
                    <a:pt x="320" y="150"/>
                  </a:lnTo>
                  <a:lnTo>
                    <a:pt x="322" y="144"/>
                  </a:lnTo>
                  <a:lnTo>
                    <a:pt x="324" y="140"/>
                  </a:lnTo>
                  <a:lnTo>
                    <a:pt x="328" y="134"/>
                  </a:lnTo>
                  <a:lnTo>
                    <a:pt x="326" y="130"/>
                  </a:lnTo>
                  <a:lnTo>
                    <a:pt x="326" y="130"/>
                  </a:lnTo>
                  <a:lnTo>
                    <a:pt x="324" y="128"/>
                  </a:lnTo>
                  <a:lnTo>
                    <a:pt x="322" y="128"/>
                  </a:lnTo>
                  <a:lnTo>
                    <a:pt x="320" y="124"/>
                  </a:lnTo>
                  <a:lnTo>
                    <a:pt x="320" y="124"/>
                  </a:lnTo>
                  <a:lnTo>
                    <a:pt x="318" y="122"/>
                  </a:lnTo>
                  <a:lnTo>
                    <a:pt x="316" y="122"/>
                  </a:lnTo>
                  <a:lnTo>
                    <a:pt x="314" y="120"/>
                  </a:lnTo>
                  <a:lnTo>
                    <a:pt x="310" y="120"/>
                  </a:lnTo>
                  <a:lnTo>
                    <a:pt x="310" y="120"/>
                  </a:lnTo>
                  <a:lnTo>
                    <a:pt x="308" y="118"/>
                  </a:lnTo>
                  <a:lnTo>
                    <a:pt x="310" y="116"/>
                  </a:lnTo>
                  <a:lnTo>
                    <a:pt x="310" y="116"/>
                  </a:lnTo>
                  <a:lnTo>
                    <a:pt x="310" y="114"/>
                  </a:lnTo>
                  <a:lnTo>
                    <a:pt x="310" y="114"/>
                  </a:lnTo>
                  <a:lnTo>
                    <a:pt x="308" y="112"/>
                  </a:lnTo>
                  <a:lnTo>
                    <a:pt x="306" y="112"/>
                  </a:lnTo>
                  <a:lnTo>
                    <a:pt x="302" y="112"/>
                  </a:lnTo>
                  <a:lnTo>
                    <a:pt x="298" y="108"/>
                  </a:lnTo>
                  <a:lnTo>
                    <a:pt x="298" y="108"/>
                  </a:lnTo>
                  <a:lnTo>
                    <a:pt x="156" y="0"/>
                  </a:lnTo>
                  <a:lnTo>
                    <a:pt x="130" y="0"/>
                  </a:lnTo>
                  <a:lnTo>
                    <a:pt x="130" y="0"/>
                  </a:lnTo>
                  <a:lnTo>
                    <a:pt x="134" y="196"/>
                  </a:lnTo>
                  <a:lnTo>
                    <a:pt x="134" y="196"/>
                  </a:lnTo>
                  <a:lnTo>
                    <a:pt x="134" y="202"/>
                  </a:lnTo>
                  <a:lnTo>
                    <a:pt x="138" y="206"/>
                  </a:lnTo>
                  <a:lnTo>
                    <a:pt x="146" y="212"/>
                  </a:lnTo>
                  <a:lnTo>
                    <a:pt x="136" y="238"/>
                  </a:lnTo>
                  <a:lnTo>
                    <a:pt x="136" y="238"/>
                  </a:lnTo>
                  <a:lnTo>
                    <a:pt x="68" y="238"/>
                  </a:lnTo>
                  <a:lnTo>
                    <a:pt x="68" y="238"/>
                  </a:lnTo>
                  <a:lnTo>
                    <a:pt x="66" y="236"/>
                  </a:lnTo>
                  <a:lnTo>
                    <a:pt x="66" y="236"/>
                  </a:lnTo>
                  <a:lnTo>
                    <a:pt x="66" y="234"/>
                  </a:lnTo>
                  <a:lnTo>
                    <a:pt x="64" y="232"/>
                  </a:lnTo>
                  <a:lnTo>
                    <a:pt x="64" y="232"/>
                  </a:lnTo>
                  <a:lnTo>
                    <a:pt x="60" y="234"/>
                  </a:lnTo>
                  <a:lnTo>
                    <a:pt x="58" y="236"/>
                  </a:lnTo>
                  <a:lnTo>
                    <a:pt x="58" y="238"/>
                  </a:lnTo>
                  <a:lnTo>
                    <a:pt x="54" y="238"/>
                  </a:lnTo>
                  <a:lnTo>
                    <a:pt x="54" y="238"/>
                  </a:lnTo>
                  <a:lnTo>
                    <a:pt x="44" y="238"/>
                  </a:lnTo>
                  <a:lnTo>
                    <a:pt x="38" y="238"/>
                  </a:lnTo>
                  <a:lnTo>
                    <a:pt x="34" y="240"/>
                  </a:lnTo>
                  <a:lnTo>
                    <a:pt x="34" y="240"/>
                  </a:lnTo>
                  <a:lnTo>
                    <a:pt x="28" y="238"/>
                  </a:lnTo>
                  <a:lnTo>
                    <a:pt x="26" y="234"/>
                  </a:lnTo>
                  <a:lnTo>
                    <a:pt x="24" y="230"/>
                  </a:lnTo>
                  <a:lnTo>
                    <a:pt x="20" y="230"/>
                  </a:lnTo>
                  <a:lnTo>
                    <a:pt x="20" y="230"/>
                  </a:lnTo>
                  <a:lnTo>
                    <a:pt x="18" y="230"/>
                  </a:lnTo>
                  <a:lnTo>
                    <a:pt x="16" y="232"/>
                  </a:lnTo>
                  <a:lnTo>
                    <a:pt x="16" y="232"/>
                  </a:lnTo>
                  <a:lnTo>
                    <a:pt x="14" y="234"/>
                  </a:lnTo>
                  <a:lnTo>
                    <a:pt x="14" y="234"/>
                  </a:lnTo>
                  <a:lnTo>
                    <a:pt x="10" y="236"/>
                  </a:lnTo>
                  <a:lnTo>
                    <a:pt x="8" y="242"/>
                  </a:lnTo>
                  <a:lnTo>
                    <a:pt x="4" y="246"/>
                  </a:lnTo>
                  <a:lnTo>
                    <a:pt x="0" y="250"/>
                  </a:lnTo>
                  <a:lnTo>
                    <a:pt x="0" y="250"/>
                  </a:lnTo>
                  <a:lnTo>
                    <a:pt x="0" y="256"/>
                  </a:lnTo>
                  <a:lnTo>
                    <a:pt x="2" y="258"/>
                  </a:lnTo>
                  <a:lnTo>
                    <a:pt x="4" y="260"/>
                  </a:lnTo>
                  <a:lnTo>
                    <a:pt x="2" y="268"/>
                  </a:lnTo>
                  <a:lnTo>
                    <a:pt x="2" y="268"/>
                  </a:lnTo>
                  <a:lnTo>
                    <a:pt x="2" y="274"/>
                  </a:lnTo>
                  <a:lnTo>
                    <a:pt x="4" y="280"/>
                  </a:lnTo>
                  <a:lnTo>
                    <a:pt x="6" y="284"/>
                  </a:lnTo>
                  <a:lnTo>
                    <a:pt x="8" y="284"/>
                  </a:lnTo>
                  <a:lnTo>
                    <a:pt x="10" y="282"/>
                  </a:lnTo>
                  <a:lnTo>
                    <a:pt x="10" y="282"/>
                  </a:lnTo>
                  <a:lnTo>
                    <a:pt x="14" y="290"/>
                  </a:lnTo>
                  <a:lnTo>
                    <a:pt x="16" y="298"/>
                  </a:lnTo>
                  <a:lnTo>
                    <a:pt x="16" y="308"/>
                  </a:lnTo>
                  <a:lnTo>
                    <a:pt x="14" y="314"/>
                  </a:lnTo>
                  <a:lnTo>
                    <a:pt x="14" y="314"/>
                  </a:lnTo>
                  <a:lnTo>
                    <a:pt x="14" y="316"/>
                  </a:lnTo>
                  <a:lnTo>
                    <a:pt x="16" y="318"/>
                  </a:lnTo>
                  <a:lnTo>
                    <a:pt x="20" y="318"/>
                  </a:lnTo>
                  <a:lnTo>
                    <a:pt x="22" y="316"/>
                  </a:lnTo>
                  <a:lnTo>
                    <a:pt x="22" y="316"/>
                  </a:lnTo>
                  <a:lnTo>
                    <a:pt x="24" y="320"/>
                  </a:lnTo>
                  <a:lnTo>
                    <a:pt x="26" y="320"/>
                  </a:lnTo>
                  <a:lnTo>
                    <a:pt x="28" y="318"/>
                  </a:lnTo>
                  <a:lnTo>
                    <a:pt x="30" y="318"/>
                  </a:lnTo>
                  <a:lnTo>
                    <a:pt x="30" y="318"/>
                  </a:lnTo>
                  <a:lnTo>
                    <a:pt x="34" y="318"/>
                  </a:lnTo>
                  <a:lnTo>
                    <a:pt x="36" y="320"/>
                  </a:lnTo>
                  <a:lnTo>
                    <a:pt x="38" y="322"/>
                  </a:lnTo>
                  <a:lnTo>
                    <a:pt x="42" y="320"/>
                  </a:lnTo>
                  <a:lnTo>
                    <a:pt x="42" y="320"/>
                  </a:lnTo>
                  <a:lnTo>
                    <a:pt x="44" y="318"/>
                  </a:lnTo>
                  <a:lnTo>
                    <a:pt x="46" y="320"/>
                  </a:lnTo>
                  <a:lnTo>
                    <a:pt x="48" y="320"/>
                  </a:lnTo>
                  <a:lnTo>
                    <a:pt x="54" y="318"/>
                  </a:lnTo>
                  <a:lnTo>
                    <a:pt x="54" y="318"/>
                  </a:lnTo>
                  <a:lnTo>
                    <a:pt x="54" y="316"/>
                  </a:lnTo>
                  <a:lnTo>
                    <a:pt x="56" y="314"/>
                  </a:lnTo>
                  <a:lnTo>
                    <a:pt x="58" y="312"/>
                  </a:lnTo>
                  <a:lnTo>
                    <a:pt x="62" y="314"/>
                  </a:lnTo>
                  <a:lnTo>
                    <a:pt x="62" y="314"/>
                  </a:lnTo>
                  <a:lnTo>
                    <a:pt x="66" y="316"/>
                  </a:lnTo>
                  <a:lnTo>
                    <a:pt x="66" y="318"/>
                  </a:lnTo>
                  <a:lnTo>
                    <a:pt x="66" y="320"/>
                  </a:lnTo>
                  <a:lnTo>
                    <a:pt x="70" y="324"/>
                  </a:lnTo>
                  <a:lnTo>
                    <a:pt x="70" y="324"/>
                  </a:lnTo>
                  <a:lnTo>
                    <a:pt x="72" y="328"/>
                  </a:lnTo>
                  <a:lnTo>
                    <a:pt x="72" y="330"/>
                  </a:lnTo>
                  <a:lnTo>
                    <a:pt x="72" y="332"/>
                  </a:lnTo>
                  <a:lnTo>
                    <a:pt x="74" y="334"/>
                  </a:lnTo>
                  <a:lnTo>
                    <a:pt x="74" y="334"/>
                  </a:lnTo>
                  <a:lnTo>
                    <a:pt x="78" y="336"/>
                  </a:lnTo>
                  <a:lnTo>
                    <a:pt x="78" y="338"/>
                  </a:lnTo>
                  <a:lnTo>
                    <a:pt x="72" y="348"/>
                  </a:lnTo>
                  <a:lnTo>
                    <a:pt x="72" y="348"/>
                  </a:lnTo>
                  <a:lnTo>
                    <a:pt x="76" y="346"/>
                  </a:lnTo>
                  <a:lnTo>
                    <a:pt x="80" y="348"/>
                  </a:lnTo>
                  <a:lnTo>
                    <a:pt x="80" y="352"/>
                  </a:lnTo>
                  <a:lnTo>
                    <a:pt x="82" y="358"/>
                  </a:lnTo>
                  <a:lnTo>
                    <a:pt x="82" y="358"/>
                  </a:lnTo>
                  <a:lnTo>
                    <a:pt x="84" y="362"/>
                  </a:lnTo>
                  <a:lnTo>
                    <a:pt x="88" y="364"/>
                  </a:lnTo>
                  <a:lnTo>
                    <a:pt x="90" y="366"/>
                  </a:lnTo>
                  <a:lnTo>
                    <a:pt x="92" y="368"/>
                  </a:lnTo>
                  <a:lnTo>
                    <a:pt x="92" y="368"/>
                  </a:lnTo>
                  <a:lnTo>
                    <a:pt x="96" y="364"/>
                  </a:lnTo>
                  <a:lnTo>
                    <a:pt x="98" y="362"/>
                  </a:lnTo>
                  <a:lnTo>
                    <a:pt x="102" y="364"/>
                  </a:lnTo>
                  <a:lnTo>
                    <a:pt x="102" y="364"/>
                  </a:lnTo>
                  <a:lnTo>
                    <a:pt x="106" y="368"/>
                  </a:lnTo>
                  <a:lnTo>
                    <a:pt x="108" y="366"/>
                  </a:lnTo>
                  <a:lnTo>
                    <a:pt x="112" y="364"/>
                  </a:lnTo>
                  <a:lnTo>
                    <a:pt x="112" y="364"/>
                  </a:lnTo>
                  <a:lnTo>
                    <a:pt x="114" y="360"/>
                  </a:lnTo>
                  <a:lnTo>
                    <a:pt x="118" y="358"/>
                  </a:lnTo>
                  <a:lnTo>
                    <a:pt x="120" y="360"/>
                  </a:lnTo>
                  <a:lnTo>
                    <a:pt x="122" y="360"/>
                  </a:lnTo>
                  <a:lnTo>
                    <a:pt x="126" y="364"/>
                  </a:lnTo>
                  <a:lnTo>
                    <a:pt x="128" y="364"/>
                  </a:lnTo>
                  <a:lnTo>
                    <a:pt x="130" y="362"/>
                  </a:lnTo>
                  <a:lnTo>
                    <a:pt x="130" y="362"/>
                  </a:lnTo>
                  <a:lnTo>
                    <a:pt x="134" y="360"/>
                  </a:lnTo>
                  <a:lnTo>
                    <a:pt x="138" y="362"/>
                  </a:lnTo>
                  <a:lnTo>
                    <a:pt x="144" y="364"/>
                  </a:lnTo>
                  <a:lnTo>
                    <a:pt x="144" y="364"/>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Nigeria"/>
            <p:cNvSpPr>
              <a:spLocks/>
            </p:cNvSpPr>
            <p:nvPr/>
          </p:nvSpPr>
          <p:spPr bwMode="auto">
            <a:xfrm>
              <a:off x="4224038" y="3144573"/>
              <a:ext cx="320146" cy="330729"/>
            </a:xfrm>
            <a:custGeom>
              <a:avLst/>
              <a:gdLst/>
              <a:ahLst/>
              <a:cxnLst>
                <a:cxn ang="0">
                  <a:pos x="228" y="20"/>
                </a:cxn>
                <a:cxn ang="0">
                  <a:pos x="230" y="30"/>
                </a:cxn>
                <a:cxn ang="0">
                  <a:pos x="240" y="42"/>
                </a:cxn>
                <a:cxn ang="0">
                  <a:pos x="236" y="60"/>
                </a:cxn>
                <a:cxn ang="0">
                  <a:pos x="216" y="96"/>
                </a:cxn>
                <a:cxn ang="0">
                  <a:pos x="214" y="112"/>
                </a:cxn>
                <a:cxn ang="0">
                  <a:pos x="210" y="118"/>
                </a:cxn>
                <a:cxn ang="0">
                  <a:pos x="208" y="130"/>
                </a:cxn>
                <a:cxn ang="0">
                  <a:pos x="202" y="142"/>
                </a:cxn>
                <a:cxn ang="0">
                  <a:pos x="194" y="156"/>
                </a:cxn>
                <a:cxn ang="0">
                  <a:pos x="184" y="176"/>
                </a:cxn>
                <a:cxn ang="0">
                  <a:pos x="176" y="186"/>
                </a:cxn>
                <a:cxn ang="0">
                  <a:pos x="168" y="190"/>
                </a:cxn>
                <a:cxn ang="0">
                  <a:pos x="160" y="186"/>
                </a:cxn>
                <a:cxn ang="0">
                  <a:pos x="144" y="184"/>
                </a:cxn>
                <a:cxn ang="0">
                  <a:pos x="126" y="210"/>
                </a:cxn>
                <a:cxn ang="0">
                  <a:pos x="118" y="228"/>
                </a:cxn>
                <a:cxn ang="0">
                  <a:pos x="110" y="240"/>
                </a:cxn>
                <a:cxn ang="0">
                  <a:pos x="102" y="244"/>
                </a:cxn>
                <a:cxn ang="0">
                  <a:pos x="94" y="242"/>
                </a:cxn>
                <a:cxn ang="0">
                  <a:pos x="88" y="248"/>
                </a:cxn>
                <a:cxn ang="0">
                  <a:pos x="82" y="250"/>
                </a:cxn>
                <a:cxn ang="0">
                  <a:pos x="76" y="250"/>
                </a:cxn>
                <a:cxn ang="0">
                  <a:pos x="56" y="238"/>
                </a:cxn>
                <a:cxn ang="0">
                  <a:pos x="52" y="232"/>
                </a:cxn>
                <a:cxn ang="0">
                  <a:pos x="56" y="226"/>
                </a:cxn>
                <a:cxn ang="0">
                  <a:pos x="52" y="228"/>
                </a:cxn>
                <a:cxn ang="0">
                  <a:pos x="50" y="222"/>
                </a:cxn>
                <a:cxn ang="0">
                  <a:pos x="54" y="218"/>
                </a:cxn>
                <a:cxn ang="0">
                  <a:pos x="50" y="214"/>
                </a:cxn>
                <a:cxn ang="0">
                  <a:pos x="28" y="204"/>
                </a:cxn>
                <a:cxn ang="0">
                  <a:pos x="12" y="200"/>
                </a:cxn>
                <a:cxn ang="0">
                  <a:pos x="2" y="188"/>
                </a:cxn>
                <a:cxn ang="0">
                  <a:pos x="2" y="162"/>
                </a:cxn>
                <a:cxn ang="0">
                  <a:pos x="4" y="126"/>
                </a:cxn>
                <a:cxn ang="0">
                  <a:pos x="6" y="116"/>
                </a:cxn>
                <a:cxn ang="0">
                  <a:pos x="16" y="104"/>
                </a:cxn>
                <a:cxn ang="0">
                  <a:pos x="14" y="96"/>
                </a:cxn>
                <a:cxn ang="0">
                  <a:pos x="20" y="84"/>
                </a:cxn>
                <a:cxn ang="0">
                  <a:pos x="16" y="66"/>
                </a:cxn>
                <a:cxn ang="0">
                  <a:pos x="14" y="54"/>
                </a:cxn>
                <a:cxn ang="0">
                  <a:pos x="18" y="26"/>
                </a:cxn>
                <a:cxn ang="0">
                  <a:pos x="32" y="4"/>
                </a:cxn>
                <a:cxn ang="0">
                  <a:pos x="48" y="2"/>
                </a:cxn>
                <a:cxn ang="0">
                  <a:pos x="60" y="2"/>
                </a:cxn>
                <a:cxn ang="0">
                  <a:pos x="72" y="4"/>
                </a:cxn>
                <a:cxn ang="0">
                  <a:pos x="84" y="16"/>
                </a:cxn>
                <a:cxn ang="0">
                  <a:pos x="94" y="16"/>
                </a:cxn>
                <a:cxn ang="0">
                  <a:pos x="106" y="18"/>
                </a:cxn>
                <a:cxn ang="0">
                  <a:pos x="144" y="22"/>
                </a:cxn>
                <a:cxn ang="0">
                  <a:pos x="166" y="10"/>
                </a:cxn>
                <a:cxn ang="0">
                  <a:pos x="206" y="12"/>
                </a:cxn>
                <a:cxn ang="0">
                  <a:pos x="216" y="4"/>
                </a:cxn>
              </a:cxnLst>
              <a:rect l="0" t="0" r="r" b="b"/>
              <a:pathLst>
                <a:path w="242" h="250">
                  <a:moveTo>
                    <a:pt x="216" y="4"/>
                  </a:moveTo>
                  <a:lnTo>
                    <a:pt x="216" y="4"/>
                  </a:lnTo>
                  <a:lnTo>
                    <a:pt x="218" y="10"/>
                  </a:lnTo>
                  <a:lnTo>
                    <a:pt x="222" y="16"/>
                  </a:lnTo>
                  <a:lnTo>
                    <a:pt x="228" y="20"/>
                  </a:lnTo>
                  <a:lnTo>
                    <a:pt x="232" y="22"/>
                  </a:lnTo>
                  <a:lnTo>
                    <a:pt x="230" y="24"/>
                  </a:lnTo>
                  <a:lnTo>
                    <a:pt x="230" y="24"/>
                  </a:lnTo>
                  <a:lnTo>
                    <a:pt x="230" y="26"/>
                  </a:lnTo>
                  <a:lnTo>
                    <a:pt x="230" y="30"/>
                  </a:lnTo>
                  <a:lnTo>
                    <a:pt x="232" y="34"/>
                  </a:lnTo>
                  <a:lnTo>
                    <a:pt x="238" y="34"/>
                  </a:lnTo>
                  <a:lnTo>
                    <a:pt x="238" y="34"/>
                  </a:lnTo>
                  <a:lnTo>
                    <a:pt x="238" y="40"/>
                  </a:lnTo>
                  <a:lnTo>
                    <a:pt x="240" y="42"/>
                  </a:lnTo>
                  <a:lnTo>
                    <a:pt x="240" y="42"/>
                  </a:lnTo>
                  <a:lnTo>
                    <a:pt x="242" y="44"/>
                  </a:lnTo>
                  <a:lnTo>
                    <a:pt x="240" y="52"/>
                  </a:lnTo>
                  <a:lnTo>
                    <a:pt x="240" y="52"/>
                  </a:lnTo>
                  <a:lnTo>
                    <a:pt x="236" y="60"/>
                  </a:lnTo>
                  <a:lnTo>
                    <a:pt x="232" y="62"/>
                  </a:lnTo>
                  <a:lnTo>
                    <a:pt x="230" y="64"/>
                  </a:lnTo>
                  <a:lnTo>
                    <a:pt x="226" y="74"/>
                  </a:lnTo>
                  <a:lnTo>
                    <a:pt x="226" y="74"/>
                  </a:lnTo>
                  <a:lnTo>
                    <a:pt x="216" y="96"/>
                  </a:lnTo>
                  <a:lnTo>
                    <a:pt x="216" y="104"/>
                  </a:lnTo>
                  <a:lnTo>
                    <a:pt x="216" y="106"/>
                  </a:lnTo>
                  <a:lnTo>
                    <a:pt x="216" y="110"/>
                  </a:lnTo>
                  <a:lnTo>
                    <a:pt x="216" y="110"/>
                  </a:lnTo>
                  <a:lnTo>
                    <a:pt x="214" y="112"/>
                  </a:lnTo>
                  <a:lnTo>
                    <a:pt x="214" y="112"/>
                  </a:lnTo>
                  <a:lnTo>
                    <a:pt x="212" y="112"/>
                  </a:lnTo>
                  <a:lnTo>
                    <a:pt x="210" y="116"/>
                  </a:lnTo>
                  <a:lnTo>
                    <a:pt x="210" y="116"/>
                  </a:lnTo>
                  <a:lnTo>
                    <a:pt x="210" y="118"/>
                  </a:lnTo>
                  <a:lnTo>
                    <a:pt x="210" y="120"/>
                  </a:lnTo>
                  <a:lnTo>
                    <a:pt x="212" y="122"/>
                  </a:lnTo>
                  <a:lnTo>
                    <a:pt x="212" y="126"/>
                  </a:lnTo>
                  <a:lnTo>
                    <a:pt x="212" y="126"/>
                  </a:lnTo>
                  <a:lnTo>
                    <a:pt x="208" y="130"/>
                  </a:lnTo>
                  <a:lnTo>
                    <a:pt x="206" y="130"/>
                  </a:lnTo>
                  <a:lnTo>
                    <a:pt x="204" y="132"/>
                  </a:lnTo>
                  <a:lnTo>
                    <a:pt x="204" y="138"/>
                  </a:lnTo>
                  <a:lnTo>
                    <a:pt x="204" y="138"/>
                  </a:lnTo>
                  <a:lnTo>
                    <a:pt x="202" y="142"/>
                  </a:lnTo>
                  <a:lnTo>
                    <a:pt x="198" y="144"/>
                  </a:lnTo>
                  <a:lnTo>
                    <a:pt x="196" y="148"/>
                  </a:lnTo>
                  <a:lnTo>
                    <a:pt x="192" y="152"/>
                  </a:lnTo>
                  <a:lnTo>
                    <a:pt x="192" y="152"/>
                  </a:lnTo>
                  <a:lnTo>
                    <a:pt x="194" y="156"/>
                  </a:lnTo>
                  <a:lnTo>
                    <a:pt x="196" y="156"/>
                  </a:lnTo>
                  <a:lnTo>
                    <a:pt x="196" y="160"/>
                  </a:lnTo>
                  <a:lnTo>
                    <a:pt x="190" y="166"/>
                  </a:lnTo>
                  <a:lnTo>
                    <a:pt x="190" y="166"/>
                  </a:lnTo>
                  <a:lnTo>
                    <a:pt x="184" y="176"/>
                  </a:lnTo>
                  <a:lnTo>
                    <a:pt x="182" y="180"/>
                  </a:lnTo>
                  <a:lnTo>
                    <a:pt x="182" y="182"/>
                  </a:lnTo>
                  <a:lnTo>
                    <a:pt x="180" y="184"/>
                  </a:lnTo>
                  <a:lnTo>
                    <a:pt x="180" y="184"/>
                  </a:lnTo>
                  <a:lnTo>
                    <a:pt x="176" y="186"/>
                  </a:lnTo>
                  <a:lnTo>
                    <a:pt x="176" y="190"/>
                  </a:lnTo>
                  <a:lnTo>
                    <a:pt x="174" y="192"/>
                  </a:lnTo>
                  <a:lnTo>
                    <a:pt x="172" y="192"/>
                  </a:lnTo>
                  <a:lnTo>
                    <a:pt x="172" y="192"/>
                  </a:lnTo>
                  <a:lnTo>
                    <a:pt x="168" y="190"/>
                  </a:lnTo>
                  <a:lnTo>
                    <a:pt x="166" y="188"/>
                  </a:lnTo>
                  <a:lnTo>
                    <a:pt x="166" y="186"/>
                  </a:lnTo>
                  <a:lnTo>
                    <a:pt x="162" y="186"/>
                  </a:lnTo>
                  <a:lnTo>
                    <a:pt x="162" y="186"/>
                  </a:lnTo>
                  <a:lnTo>
                    <a:pt x="160" y="186"/>
                  </a:lnTo>
                  <a:lnTo>
                    <a:pt x="158" y="184"/>
                  </a:lnTo>
                  <a:lnTo>
                    <a:pt x="156" y="182"/>
                  </a:lnTo>
                  <a:lnTo>
                    <a:pt x="150" y="182"/>
                  </a:lnTo>
                  <a:lnTo>
                    <a:pt x="150" y="182"/>
                  </a:lnTo>
                  <a:lnTo>
                    <a:pt x="144" y="184"/>
                  </a:lnTo>
                  <a:lnTo>
                    <a:pt x="140" y="188"/>
                  </a:lnTo>
                  <a:lnTo>
                    <a:pt x="138" y="192"/>
                  </a:lnTo>
                  <a:lnTo>
                    <a:pt x="134" y="200"/>
                  </a:lnTo>
                  <a:lnTo>
                    <a:pt x="134" y="200"/>
                  </a:lnTo>
                  <a:lnTo>
                    <a:pt x="126" y="210"/>
                  </a:lnTo>
                  <a:lnTo>
                    <a:pt x="124" y="216"/>
                  </a:lnTo>
                  <a:lnTo>
                    <a:pt x="126" y="220"/>
                  </a:lnTo>
                  <a:lnTo>
                    <a:pt x="122" y="224"/>
                  </a:lnTo>
                  <a:lnTo>
                    <a:pt x="122" y="224"/>
                  </a:lnTo>
                  <a:lnTo>
                    <a:pt x="118" y="228"/>
                  </a:lnTo>
                  <a:lnTo>
                    <a:pt x="116" y="232"/>
                  </a:lnTo>
                  <a:lnTo>
                    <a:pt x="120" y="244"/>
                  </a:lnTo>
                  <a:lnTo>
                    <a:pt x="120" y="244"/>
                  </a:lnTo>
                  <a:lnTo>
                    <a:pt x="114" y="242"/>
                  </a:lnTo>
                  <a:lnTo>
                    <a:pt x="110" y="240"/>
                  </a:lnTo>
                  <a:lnTo>
                    <a:pt x="110" y="240"/>
                  </a:lnTo>
                  <a:lnTo>
                    <a:pt x="112" y="242"/>
                  </a:lnTo>
                  <a:lnTo>
                    <a:pt x="110" y="244"/>
                  </a:lnTo>
                  <a:lnTo>
                    <a:pt x="106" y="246"/>
                  </a:lnTo>
                  <a:lnTo>
                    <a:pt x="102" y="244"/>
                  </a:lnTo>
                  <a:lnTo>
                    <a:pt x="102" y="244"/>
                  </a:lnTo>
                  <a:lnTo>
                    <a:pt x="102" y="246"/>
                  </a:lnTo>
                  <a:lnTo>
                    <a:pt x="100" y="246"/>
                  </a:lnTo>
                  <a:lnTo>
                    <a:pt x="98" y="246"/>
                  </a:lnTo>
                  <a:lnTo>
                    <a:pt x="94" y="242"/>
                  </a:lnTo>
                  <a:lnTo>
                    <a:pt x="94" y="242"/>
                  </a:lnTo>
                  <a:lnTo>
                    <a:pt x="90" y="244"/>
                  </a:lnTo>
                  <a:lnTo>
                    <a:pt x="90" y="246"/>
                  </a:lnTo>
                  <a:lnTo>
                    <a:pt x="90" y="246"/>
                  </a:lnTo>
                  <a:lnTo>
                    <a:pt x="88" y="248"/>
                  </a:lnTo>
                  <a:lnTo>
                    <a:pt x="88" y="248"/>
                  </a:lnTo>
                  <a:lnTo>
                    <a:pt x="86" y="248"/>
                  </a:lnTo>
                  <a:lnTo>
                    <a:pt x="86" y="248"/>
                  </a:lnTo>
                  <a:lnTo>
                    <a:pt x="82" y="250"/>
                  </a:lnTo>
                  <a:lnTo>
                    <a:pt x="82" y="250"/>
                  </a:lnTo>
                  <a:lnTo>
                    <a:pt x="80" y="250"/>
                  </a:lnTo>
                  <a:lnTo>
                    <a:pt x="80" y="250"/>
                  </a:lnTo>
                  <a:lnTo>
                    <a:pt x="78" y="250"/>
                  </a:lnTo>
                  <a:lnTo>
                    <a:pt x="76" y="250"/>
                  </a:lnTo>
                  <a:lnTo>
                    <a:pt x="76" y="250"/>
                  </a:lnTo>
                  <a:lnTo>
                    <a:pt x="70" y="248"/>
                  </a:lnTo>
                  <a:lnTo>
                    <a:pt x="58" y="242"/>
                  </a:lnTo>
                  <a:lnTo>
                    <a:pt x="58" y="242"/>
                  </a:lnTo>
                  <a:lnTo>
                    <a:pt x="56" y="240"/>
                  </a:lnTo>
                  <a:lnTo>
                    <a:pt x="56" y="238"/>
                  </a:lnTo>
                  <a:lnTo>
                    <a:pt x="56" y="238"/>
                  </a:lnTo>
                  <a:lnTo>
                    <a:pt x="54" y="236"/>
                  </a:lnTo>
                  <a:lnTo>
                    <a:pt x="54" y="236"/>
                  </a:lnTo>
                  <a:lnTo>
                    <a:pt x="52" y="234"/>
                  </a:lnTo>
                  <a:lnTo>
                    <a:pt x="52" y="232"/>
                  </a:lnTo>
                  <a:lnTo>
                    <a:pt x="54" y="230"/>
                  </a:lnTo>
                  <a:lnTo>
                    <a:pt x="54" y="230"/>
                  </a:lnTo>
                  <a:lnTo>
                    <a:pt x="56" y="228"/>
                  </a:lnTo>
                  <a:lnTo>
                    <a:pt x="56" y="228"/>
                  </a:lnTo>
                  <a:lnTo>
                    <a:pt x="56" y="226"/>
                  </a:lnTo>
                  <a:lnTo>
                    <a:pt x="60" y="224"/>
                  </a:lnTo>
                  <a:lnTo>
                    <a:pt x="60" y="224"/>
                  </a:lnTo>
                  <a:lnTo>
                    <a:pt x="56" y="224"/>
                  </a:lnTo>
                  <a:lnTo>
                    <a:pt x="56" y="224"/>
                  </a:lnTo>
                  <a:lnTo>
                    <a:pt x="52" y="228"/>
                  </a:lnTo>
                  <a:lnTo>
                    <a:pt x="52" y="228"/>
                  </a:lnTo>
                  <a:lnTo>
                    <a:pt x="52" y="228"/>
                  </a:lnTo>
                  <a:lnTo>
                    <a:pt x="52" y="226"/>
                  </a:lnTo>
                  <a:lnTo>
                    <a:pt x="52" y="224"/>
                  </a:lnTo>
                  <a:lnTo>
                    <a:pt x="50" y="222"/>
                  </a:lnTo>
                  <a:lnTo>
                    <a:pt x="50" y="222"/>
                  </a:lnTo>
                  <a:lnTo>
                    <a:pt x="50" y="222"/>
                  </a:lnTo>
                  <a:lnTo>
                    <a:pt x="50" y="220"/>
                  </a:lnTo>
                  <a:lnTo>
                    <a:pt x="54" y="218"/>
                  </a:lnTo>
                  <a:lnTo>
                    <a:pt x="54" y="218"/>
                  </a:lnTo>
                  <a:lnTo>
                    <a:pt x="50" y="220"/>
                  </a:lnTo>
                  <a:lnTo>
                    <a:pt x="48" y="218"/>
                  </a:lnTo>
                  <a:lnTo>
                    <a:pt x="50" y="216"/>
                  </a:lnTo>
                  <a:lnTo>
                    <a:pt x="50" y="216"/>
                  </a:lnTo>
                  <a:lnTo>
                    <a:pt x="50" y="214"/>
                  </a:lnTo>
                  <a:lnTo>
                    <a:pt x="48" y="212"/>
                  </a:lnTo>
                  <a:lnTo>
                    <a:pt x="44" y="208"/>
                  </a:lnTo>
                  <a:lnTo>
                    <a:pt x="36" y="204"/>
                  </a:lnTo>
                  <a:lnTo>
                    <a:pt x="28" y="204"/>
                  </a:lnTo>
                  <a:lnTo>
                    <a:pt x="28" y="204"/>
                  </a:lnTo>
                  <a:lnTo>
                    <a:pt x="18" y="202"/>
                  </a:lnTo>
                  <a:lnTo>
                    <a:pt x="16" y="202"/>
                  </a:lnTo>
                  <a:lnTo>
                    <a:pt x="20" y="200"/>
                  </a:lnTo>
                  <a:lnTo>
                    <a:pt x="20" y="200"/>
                  </a:lnTo>
                  <a:lnTo>
                    <a:pt x="12" y="200"/>
                  </a:lnTo>
                  <a:lnTo>
                    <a:pt x="12" y="200"/>
                  </a:lnTo>
                  <a:lnTo>
                    <a:pt x="10" y="202"/>
                  </a:lnTo>
                  <a:lnTo>
                    <a:pt x="2" y="202"/>
                  </a:lnTo>
                  <a:lnTo>
                    <a:pt x="2" y="202"/>
                  </a:lnTo>
                  <a:lnTo>
                    <a:pt x="2" y="188"/>
                  </a:lnTo>
                  <a:lnTo>
                    <a:pt x="2" y="176"/>
                  </a:lnTo>
                  <a:lnTo>
                    <a:pt x="2" y="168"/>
                  </a:lnTo>
                  <a:lnTo>
                    <a:pt x="0" y="164"/>
                  </a:lnTo>
                  <a:lnTo>
                    <a:pt x="0" y="164"/>
                  </a:lnTo>
                  <a:lnTo>
                    <a:pt x="2" y="162"/>
                  </a:lnTo>
                  <a:lnTo>
                    <a:pt x="2" y="154"/>
                  </a:lnTo>
                  <a:lnTo>
                    <a:pt x="0" y="132"/>
                  </a:lnTo>
                  <a:lnTo>
                    <a:pt x="0" y="132"/>
                  </a:lnTo>
                  <a:lnTo>
                    <a:pt x="4" y="130"/>
                  </a:lnTo>
                  <a:lnTo>
                    <a:pt x="4" y="126"/>
                  </a:lnTo>
                  <a:lnTo>
                    <a:pt x="2" y="124"/>
                  </a:lnTo>
                  <a:lnTo>
                    <a:pt x="4" y="122"/>
                  </a:lnTo>
                  <a:lnTo>
                    <a:pt x="4" y="122"/>
                  </a:lnTo>
                  <a:lnTo>
                    <a:pt x="6" y="118"/>
                  </a:lnTo>
                  <a:lnTo>
                    <a:pt x="6" y="116"/>
                  </a:lnTo>
                  <a:lnTo>
                    <a:pt x="8" y="114"/>
                  </a:lnTo>
                  <a:lnTo>
                    <a:pt x="10" y="112"/>
                  </a:lnTo>
                  <a:lnTo>
                    <a:pt x="10" y="112"/>
                  </a:lnTo>
                  <a:lnTo>
                    <a:pt x="14" y="108"/>
                  </a:lnTo>
                  <a:lnTo>
                    <a:pt x="16" y="104"/>
                  </a:lnTo>
                  <a:lnTo>
                    <a:pt x="16" y="100"/>
                  </a:lnTo>
                  <a:lnTo>
                    <a:pt x="14" y="98"/>
                  </a:lnTo>
                  <a:lnTo>
                    <a:pt x="14" y="98"/>
                  </a:lnTo>
                  <a:lnTo>
                    <a:pt x="14" y="96"/>
                  </a:lnTo>
                  <a:lnTo>
                    <a:pt x="14" y="96"/>
                  </a:lnTo>
                  <a:lnTo>
                    <a:pt x="16" y="94"/>
                  </a:lnTo>
                  <a:lnTo>
                    <a:pt x="16" y="94"/>
                  </a:lnTo>
                  <a:lnTo>
                    <a:pt x="18" y="92"/>
                  </a:lnTo>
                  <a:lnTo>
                    <a:pt x="20" y="88"/>
                  </a:lnTo>
                  <a:lnTo>
                    <a:pt x="20" y="84"/>
                  </a:lnTo>
                  <a:lnTo>
                    <a:pt x="18" y="78"/>
                  </a:lnTo>
                  <a:lnTo>
                    <a:pt x="18" y="78"/>
                  </a:lnTo>
                  <a:lnTo>
                    <a:pt x="16" y="74"/>
                  </a:lnTo>
                  <a:lnTo>
                    <a:pt x="16" y="70"/>
                  </a:lnTo>
                  <a:lnTo>
                    <a:pt x="16" y="66"/>
                  </a:lnTo>
                  <a:lnTo>
                    <a:pt x="14" y="64"/>
                  </a:lnTo>
                  <a:lnTo>
                    <a:pt x="14" y="64"/>
                  </a:lnTo>
                  <a:lnTo>
                    <a:pt x="12" y="62"/>
                  </a:lnTo>
                  <a:lnTo>
                    <a:pt x="14" y="54"/>
                  </a:lnTo>
                  <a:lnTo>
                    <a:pt x="14" y="54"/>
                  </a:lnTo>
                  <a:lnTo>
                    <a:pt x="14" y="48"/>
                  </a:lnTo>
                  <a:lnTo>
                    <a:pt x="14" y="40"/>
                  </a:lnTo>
                  <a:lnTo>
                    <a:pt x="14" y="34"/>
                  </a:lnTo>
                  <a:lnTo>
                    <a:pt x="14" y="30"/>
                  </a:lnTo>
                  <a:lnTo>
                    <a:pt x="18" y="26"/>
                  </a:lnTo>
                  <a:lnTo>
                    <a:pt x="18" y="26"/>
                  </a:lnTo>
                  <a:lnTo>
                    <a:pt x="22" y="20"/>
                  </a:lnTo>
                  <a:lnTo>
                    <a:pt x="24" y="16"/>
                  </a:lnTo>
                  <a:lnTo>
                    <a:pt x="26" y="10"/>
                  </a:lnTo>
                  <a:lnTo>
                    <a:pt x="32" y="4"/>
                  </a:lnTo>
                  <a:lnTo>
                    <a:pt x="32" y="4"/>
                  </a:lnTo>
                  <a:lnTo>
                    <a:pt x="40" y="0"/>
                  </a:lnTo>
                  <a:lnTo>
                    <a:pt x="44" y="0"/>
                  </a:lnTo>
                  <a:lnTo>
                    <a:pt x="48" y="0"/>
                  </a:lnTo>
                  <a:lnTo>
                    <a:pt x="48" y="2"/>
                  </a:lnTo>
                  <a:lnTo>
                    <a:pt x="48" y="2"/>
                  </a:lnTo>
                  <a:lnTo>
                    <a:pt x="50" y="4"/>
                  </a:lnTo>
                  <a:lnTo>
                    <a:pt x="52" y="4"/>
                  </a:lnTo>
                  <a:lnTo>
                    <a:pt x="56" y="2"/>
                  </a:lnTo>
                  <a:lnTo>
                    <a:pt x="60" y="2"/>
                  </a:lnTo>
                  <a:lnTo>
                    <a:pt x="62" y="2"/>
                  </a:lnTo>
                  <a:lnTo>
                    <a:pt x="66" y="2"/>
                  </a:lnTo>
                  <a:lnTo>
                    <a:pt x="66" y="2"/>
                  </a:lnTo>
                  <a:lnTo>
                    <a:pt x="70" y="6"/>
                  </a:lnTo>
                  <a:lnTo>
                    <a:pt x="72" y="4"/>
                  </a:lnTo>
                  <a:lnTo>
                    <a:pt x="74" y="6"/>
                  </a:lnTo>
                  <a:lnTo>
                    <a:pt x="78" y="12"/>
                  </a:lnTo>
                  <a:lnTo>
                    <a:pt x="78" y="12"/>
                  </a:lnTo>
                  <a:lnTo>
                    <a:pt x="80" y="16"/>
                  </a:lnTo>
                  <a:lnTo>
                    <a:pt x="84" y="16"/>
                  </a:lnTo>
                  <a:lnTo>
                    <a:pt x="86" y="14"/>
                  </a:lnTo>
                  <a:lnTo>
                    <a:pt x="90" y="16"/>
                  </a:lnTo>
                  <a:lnTo>
                    <a:pt x="90" y="16"/>
                  </a:lnTo>
                  <a:lnTo>
                    <a:pt x="92" y="16"/>
                  </a:lnTo>
                  <a:lnTo>
                    <a:pt x="94" y="16"/>
                  </a:lnTo>
                  <a:lnTo>
                    <a:pt x="96" y="12"/>
                  </a:lnTo>
                  <a:lnTo>
                    <a:pt x="96" y="12"/>
                  </a:lnTo>
                  <a:lnTo>
                    <a:pt x="98" y="12"/>
                  </a:lnTo>
                  <a:lnTo>
                    <a:pt x="106" y="18"/>
                  </a:lnTo>
                  <a:lnTo>
                    <a:pt x="106" y="18"/>
                  </a:lnTo>
                  <a:lnTo>
                    <a:pt x="112" y="20"/>
                  </a:lnTo>
                  <a:lnTo>
                    <a:pt x="124" y="24"/>
                  </a:lnTo>
                  <a:lnTo>
                    <a:pt x="132" y="24"/>
                  </a:lnTo>
                  <a:lnTo>
                    <a:pt x="138" y="24"/>
                  </a:lnTo>
                  <a:lnTo>
                    <a:pt x="144" y="22"/>
                  </a:lnTo>
                  <a:lnTo>
                    <a:pt x="148" y="18"/>
                  </a:lnTo>
                  <a:lnTo>
                    <a:pt x="148" y="18"/>
                  </a:lnTo>
                  <a:lnTo>
                    <a:pt x="150" y="16"/>
                  </a:lnTo>
                  <a:lnTo>
                    <a:pt x="154" y="14"/>
                  </a:lnTo>
                  <a:lnTo>
                    <a:pt x="166" y="10"/>
                  </a:lnTo>
                  <a:lnTo>
                    <a:pt x="180" y="10"/>
                  </a:lnTo>
                  <a:lnTo>
                    <a:pt x="196" y="12"/>
                  </a:lnTo>
                  <a:lnTo>
                    <a:pt x="196" y="12"/>
                  </a:lnTo>
                  <a:lnTo>
                    <a:pt x="204" y="14"/>
                  </a:lnTo>
                  <a:lnTo>
                    <a:pt x="206" y="12"/>
                  </a:lnTo>
                  <a:lnTo>
                    <a:pt x="204" y="12"/>
                  </a:lnTo>
                  <a:lnTo>
                    <a:pt x="204" y="8"/>
                  </a:lnTo>
                  <a:lnTo>
                    <a:pt x="206" y="6"/>
                  </a:lnTo>
                  <a:lnTo>
                    <a:pt x="208" y="4"/>
                  </a:lnTo>
                  <a:lnTo>
                    <a:pt x="216" y="4"/>
                  </a:lnTo>
                  <a:lnTo>
                    <a:pt x="216" y="4"/>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Chad"/>
            <p:cNvSpPr>
              <a:spLocks/>
            </p:cNvSpPr>
            <p:nvPr/>
          </p:nvSpPr>
          <p:spPr bwMode="auto">
            <a:xfrm>
              <a:off x="4520372" y="2792677"/>
              <a:ext cx="277813" cy="571500"/>
            </a:xfrm>
            <a:custGeom>
              <a:avLst/>
              <a:gdLst/>
              <a:ahLst/>
              <a:cxnLst>
                <a:cxn ang="0">
                  <a:pos x="196" y="330"/>
                </a:cxn>
                <a:cxn ang="0">
                  <a:pos x="190" y="320"/>
                </a:cxn>
                <a:cxn ang="0">
                  <a:pos x="184" y="300"/>
                </a:cxn>
                <a:cxn ang="0">
                  <a:pos x="186" y="296"/>
                </a:cxn>
                <a:cxn ang="0">
                  <a:pos x="170" y="294"/>
                </a:cxn>
                <a:cxn ang="0">
                  <a:pos x="166" y="286"/>
                </a:cxn>
                <a:cxn ang="0">
                  <a:pos x="174" y="268"/>
                </a:cxn>
                <a:cxn ang="0">
                  <a:pos x="178" y="258"/>
                </a:cxn>
                <a:cxn ang="0">
                  <a:pos x="176" y="250"/>
                </a:cxn>
                <a:cxn ang="0">
                  <a:pos x="178" y="240"/>
                </a:cxn>
                <a:cxn ang="0">
                  <a:pos x="192" y="214"/>
                </a:cxn>
                <a:cxn ang="0">
                  <a:pos x="210" y="212"/>
                </a:cxn>
                <a:cxn ang="0">
                  <a:pos x="66" y="6"/>
                </a:cxn>
                <a:cxn ang="0">
                  <a:pos x="44" y="2"/>
                </a:cxn>
                <a:cxn ang="0">
                  <a:pos x="24" y="50"/>
                </a:cxn>
                <a:cxn ang="0">
                  <a:pos x="26" y="70"/>
                </a:cxn>
                <a:cxn ang="0">
                  <a:pos x="30" y="88"/>
                </a:cxn>
                <a:cxn ang="0">
                  <a:pos x="44" y="98"/>
                </a:cxn>
                <a:cxn ang="0">
                  <a:pos x="40" y="108"/>
                </a:cxn>
                <a:cxn ang="0">
                  <a:pos x="34" y="180"/>
                </a:cxn>
                <a:cxn ang="0">
                  <a:pos x="18" y="222"/>
                </a:cxn>
                <a:cxn ang="0">
                  <a:pos x="4" y="236"/>
                </a:cxn>
                <a:cxn ang="0">
                  <a:pos x="2" y="248"/>
                </a:cxn>
                <a:cxn ang="0">
                  <a:pos x="4" y="260"/>
                </a:cxn>
                <a:cxn ang="0">
                  <a:pos x="12" y="264"/>
                </a:cxn>
                <a:cxn ang="0">
                  <a:pos x="14" y="274"/>
                </a:cxn>
                <a:cxn ang="0">
                  <a:pos x="28" y="280"/>
                </a:cxn>
                <a:cxn ang="0">
                  <a:pos x="34" y="288"/>
                </a:cxn>
                <a:cxn ang="0">
                  <a:pos x="42" y="294"/>
                </a:cxn>
                <a:cxn ang="0">
                  <a:pos x="22" y="298"/>
                </a:cxn>
                <a:cxn ang="0">
                  <a:pos x="26" y="316"/>
                </a:cxn>
                <a:cxn ang="0">
                  <a:pos x="28" y="348"/>
                </a:cxn>
                <a:cxn ang="0">
                  <a:pos x="38" y="366"/>
                </a:cxn>
                <a:cxn ang="0">
                  <a:pos x="30" y="368"/>
                </a:cxn>
                <a:cxn ang="0">
                  <a:pos x="10" y="368"/>
                </a:cxn>
                <a:cxn ang="0">
                  <a:pos x="16" y="384"/>
                </a:cxn>
                <a:cxn ang="0">
                  <a:pos x="28" y="400"/>
                </a:cxn>
                <a:cxn ang="0">
                  <a:pos x="40" y="432"/>
                </a:cxn>
                <a:cxn ang="0">
                  <a:pos x="58" y="428"/>
                </a:cxn>
                <a:cxn ang="0">
                  <a:pos x="96" y="414"/>
                </a:cxn>
                <a:cxn ang="0">
                  <a:pos x="112" y="408"/>
                </a:cxn>
                <a:cxn ang="0">
                  <a:pos x="114" y="400"/>
                </a:cxn>
                <a:cxn ang="0">
                  <a:pos x="112" y="390"/>
                </a:cxn>
                <a:cxn ang="0">
                  <a:pos x="124" y="388"/>
                </a:cxn>
                <a:cxn ang="0">
                  <a:pos x="152" y="378"/>
                </a:cxn>
                <a:cxn ang="0">
                  <a:pos x="162" y="368"/>
                </a:cxn>
                <a:cxn ang="0">
                  <a:pos x="170" y="360"/>
                </a:cxn>
                <a:cxn ang="0">
                  <a:pos x="174" y="346"/>
                </a:cxn>
                <a:cxn ang="0">
                  <a:pos x="192" y="338"/>
                </a:cxn>
              </a:cxnLst>
              <a:rect l="0" t="0" r="r" b="b"/>
              <a:pathLst>
                <a:path w="210" h="432">
                  <a:moveTo>
                    <a:pt x="198" y="338"/>
                  </a:moveTo>
                  <a:lnTo>
                    <a:pt x="198" y="338"/>
                  </a:lnTo>
                  <a:lnTo>
                    <a:pt x="198" y="332"/>
                  </a:lnTo>
                  <a:lnTo>
                    <a:pt x="196" y="330"/>
                  </a:lnTo>
                  <a:lnTo>
                    <a:pt x="194" y="328"/>
                  </a:lnTo>
                  <a:lnTo>
                    <a:pt x="194" y="328"/>
                  </a:lnTo>
                  <a:lnTo>
                    <a:pt x="190" y="326"/>
                  </a:lnTo>
                  <a:lnTo>
                    <a:pt x="190" y="320"/>
                  </a:lnTo>
                  <a:lnTo>
                    <a:pt x="188" y="314"/>
                  </a:lnTo>
                  <a:lnTo>
                    <a:pt x="186" y="306"/>
                  </a:lnTo>
                  <a:lnTo>
                    <a:pt x="186" y="306"/>
                  </a:lnTo>
                  <a:lnTo>
                    <a:pt x="184" y="300"/>
                  </a:lnTo>
                  <a:lnTo>
                    <a:pt x="184" y="298"/>
                  </a:lnTo>
                  <a:lnTo>
                    <a:pt x="186" y="298"/>
                  </a:lnTo>
                  <a:lnTo>
                    <a:pt x="186" y="296"/>
                  </a:lnTo>
                  <a:lnTo>
                    <a:pt x="186" y="296"/>
                  </a:lnTo>
                  <a:lnTo>
                    <a:pt x="182" y="292"/>
                  </a:lnTo>
                  <a:lnTo>
                    <a:pt x="180" y="292"/>
                  </a:lnTo>
                  <a:lnTo>
                    <a:pt x="174" y="292"/>
                  </a:lnTo>
                  <a:lnTo>
                    <a:pt x="170" y="294"/>
                  </a:lnTo>
                  <a:lnTo>
                    <a:pt x="168" y="294"/>
                  </a:lnTo>
                  <a:lnTo>
                    <a:pt x="166" y="292"/>
                  </a:lnTo>
                  <a:lnTo>
                    <a:pt x="166" y="292"/>
                  </a:lnTo>
                  <a:lnTo>
                    <a:pt x="166" y="286"/>
                  </a:lnTo>
                  <a:lnTo>
                    <a:pt x="166" y="280"/>
                  </a:lnTo>
                  <a:lnTo>
                    <a:pt x="168" y="274"/>
                  </a:lnTo>
                  <a:lnTo>
                    <a:pt x="174" y="270"/>
                  </a:lnTo>
                  <a:lnTo>
                    <a:pt x="174" y="268"/>
                  </a:lnTo>
                  <a:lnTo>
                    <a:pt x="174" y="266"/>
                  </a:lnTo>
                  <a:lnTo>
                    <a:pt x="174" y="266"/>
                  </a:lnTo>
                  <a:lnTo>
                    <a:pt x="174" y="262"/>
                  </a:lnTo>
                  <a:lnTo>
                    <a:pt x="178" y="258"/>
                  </a:lnTo>
                  <a:lnTo>
                    <a:pt x="180" y="256"/>
                  </a:lnTo>
                  <a:lnTo>
                    <a:pt x="180" y="254"/>
                  </a:lnTo>
                  <a:lnTo>
                    <a:pt x="180" y="254"/>
                  </a:lnTo>
                  <a:lnTo>
                    <a:pt x="176" y="250"/>
                  </a:lnTo>
                  <a:lnTo>
                    <a:pt x="176" y="248"/>
                  </a:lnTo>
                  <a:lnTo>
                    <a:pt x="178" y="246"/>
                  </a:lnTo>
                  <a:lnTo>
                    <a:pt x="178" y="240"/>
                  </a:lnTo>
                  <a:lnTo>
                    <a:pt x="178" y="240"/>
                  </a:lnTo>
                  <a:lnTo>
                    <a:pt x="180" y="232"/>
                  </a:lnTo>
                  <a:lnTo>
                    <a:pt x="182" y="226"/>
                  </a:lnTo>
                  <a:lnTo>
                    <a:pt x="192" y="214"/>
                  </a:lnTo>
                  <a:lnTo>
                    <a:pt x="192" y="214"/>
                  </a:lnTo>
                  <a:lnTo>
                    <a:pt x="196" y="210"/>
                  </a:lnTo>
                  <a:lnTo>
                    <a:pt x="200" y="212"/>
                  </a:lnTo>
                  <a:lnTo>
                    <a:pt x="202" y="214"/>
                  </a:lnTo>
                  <a:lnTo>
                    <a:pt x="210" y="212"/>
                  </a:lnTo>
                  <a:lnTo>
                    <a:pt x="206" y="114"/>
                  </a:lnTo>
                  <a:lnTo>
                    <a:pt x="206" y="114"/>
                  </a:lnTo>
                  <a:lnTo>
                    <a:pt x="66" y="6"/>
                  </a:lnTo>
                  <a:lnTo>
                    <a:pt x="66" y="6"/>
                  </a:lnTo>
                  <a:lnTo>
                    <a:pt x="56" y="0"/>
                  </a:lnTo>
                  <a:lnTo>
                    <a:pt x="50" y="0"/>
                  </a:lnTo>
                  <a:lnTo>
                    <a:pt x="44" y="2"/>
                  </a:lnTo>
                  <a:lnTo>
                    <a:pt x="44" y="2"/>
                  </a:lnTo>
                  <a:lnTo>
                    <a:pt x="20" y="14"/>
                  </a:lnTo>
                  <a:lnTo>
                    <a:pt x="20" y="14"/>
                  </a:lnTo>
                  <a:lnTo>
                    <a:pt x="24" y="36"/>
                  </a:lnTo>
                  <a:lnTo>
                    <a:pt x="24" y="50"/>
                  </a:lnTo>
                  <a:lnTo>
                    <a:pt x="24" y="64"/>
                  </a:lnTo>
                  <a:lnTo>
                    <a:pt x="24" y="64"/>
                  </a:lnTo>
                  <a:lnTo>
                    <a:pt x="24" y="66"/>
                  </a:lnTo>
                  <a:lnTo>
                    <a:pt x="26" y="70"/>
                  </a:lnTo>
                  <a:lnTo>
                    <a:pt x="28" y="74"/>
                  </a:lnTo>
                  <a:lnTo>
                    <a:pt x="28" y="82"/>
                  </a:lnTo>
                  <a:lnTo>
                    <a:pt x="28" y="82"/>
                  </a:lnTo>
                  <a:lnTo>
                    <a:pt x="30" y="88"/>
                  </a:lnTo>
                  <a:lnTo>
                    <a:pt x="32" y="90"/>
                  </a:lnTo>
                  <a:lnTo>
                    <a:pt x="36" y="94"/>
                  </a:lnTo>
                  <a:lnTo>
                    <a:pt x="42" y="98"/>
                  </a:lnTo>
                  <a:lnTo>
                    <a:pt x="44" y="98"/>
                  </a:lnTo>
                  <a:lnTo>
                    <a:pt x="44" y="102"/>
                  </a:lnTo>
                  <a:lnTo>
                    <a:pt x="44" y="102"/>
                  </a:lnTo>
                  <a:lnTo>
                    <a:pt x="42" y="106"/>
                  </a:lnTo>
                  <a:lnTo>
                    <a:pt x="40" y="108"/>
                  </a:lnTo>
                  <a:lnTo>
                    <a:pt x="36" y="114"/>
                  </a:lnTo>
                  <a:lnTo>
                    <a:pt x="34" y="120"/>
                  </a:lnTo>
                  <a:lnTo>
                    <a:pt x="34" y="120"/>
                  </a:lnTo>
                  <a:lnTo>
                    <a:pt x="34" y="180"/>
                  </a:lnTo>
                  <a:lnTo>
                    <a:pt x="34" y="180"/>
                  </a:lnTo>
                  <a:lnTo>
                    <a:pt x="32" y="190"/>
                  </a:lnTo>
                  <a:lnTo>
                    <a:pt x="30" y="200"/>
                  </a:lnTo>
                  <a:lnTo>
                    <a:pt x="18" y="222"/>
                  </a:lnTo>
                  <a:lnTo>
                    <a:pt x="18" y="222"/>
                  </a:lnTo>
                  <a:lnTo>
                    <a:pt x="12" y="230"/>
                  </a:lnTo>
                  <a:lnTo>
                    <a:pt x="8" y="234"/>
                  </a:lnTo>
                  <a:lnTo>
                    <a:pt x="4" y="236"/>
                  </a:lnTo>
                  <a:lnTo>
                    <a:pt x="4" y="240"/>
                  </a:lnTo>
                  <a:lnTo>
                    <a:pt x="4" y="240"/>
                  </a:lnTo>
                  <a:lnTo>
                    <a:pt x="4" y="246"/>
                  </a:lnTo>
                  <a:lnTo>
                    <a:pt x="2" y="248"/>
                  </a:lnTo>
                  <a:lnTo>
                    <a:pt x="0" y="252"/>
                  </a:lnTo>
                  <a:lnTo>
                    <a:pt x="0" y="256"/>
                  </a:lnTo>
                  <a:lnTo>
                    <a:pt x="0" y="256"/>
                  </a:lnTo>
                  <a:lnTo>
                    <a:pt x="4" y="260"/>
                  </a:lnTo>
                  <a:lnTo>
                    <a:pt x="6" y="262"/>
                  </a:lnTo>
                  <a:lnTo>
                    <a:pt x="8" y="262"/>
                  </a:lnTo>
                  <a:lnTo>
                    <a:pt x="12" y="264"/>
                  </a:lnTo>
                  <a:lnTo>
                    <a:pt x="12" y="264"/>
                  </a:lnTo>
                  <a:lnTo>
                    <a:pt x="16" y="264"/>
                  </a:lnTo>
                  <a:lnTo>
                    <a:pt x="16" y="266"/>
                  </a:lnTo>
                  <a:lnTo>
                    <a:pt x="16" y="270"/>
                  </a:lnTo>
                  <a:lnTo>
                    <a:pt x="14" y="274"/>
                  </a:lnTo>
                  <a:lnTo>
                    <a:pt x="16" y="276"/>
                  </a:lnTo>
                  <a:lnTo>
                    <a:pt x="20" y="278"/>
                  </a:lnTo>
                  <a:lnTo>
                    <a:pt x="20" y="278"/>
                  </a:lnTo>
                  <a:lnTo>
                    <a:pt x="28" y="280"/>
                  </a:lnTo>
                  <a:lnTo>
                    <a:pt x="34" y="282"/>
                  </a:lnTo>
                  <a:lnTo>
                    <a:pt x="34" y="284"/>
                  </a:lnTo>
                  <a:lnTo>
                    <a:pt x="34" y="286"/>
                  </a:lnTo>
                  <a:lnTo>
                    <a:pt x="34" y="288"/>
                  </a:lnTo>
                  <a:lnTo>
                    <a:pt x="34" y="290"/>
                  </a:lnTo>
                  <a:lnTo>
                    <a:pt x="36" y="292"/>
                  </a:lnTo>
                  <a:lnTo>
                    <a:pt x="42" y="294"/>
                  </a:lnTo>
                  <a:lnTo>
                    <a:pt x="42" y="294"/>
                  </a:lnTo>
                  <a:lnTo>
                    <a:pt x="38" y="296"/>
                  </a:lnTo>
                  <a:lnTo>
                    <a:pt x="34" y="294"/>
                  </a:lnTo>
                  <a:lnTo>
                    <a:pt x="30" y="294"/>
                  </a:lnTo>
                  <a:lnTo>
                    <a:pt x="22" y="298"/>
                  </a:lnTo>
                  <a:lnTo>
                    <a:pt x="22" y="298"/>
                  </a:lnTo>
                  <a:lnTo>
                    <a:pt x="22" y="310"/>
                  </a:lnTo>
                  <a:lnTo>
                    <a:pt x="24" y="314"/>
                  </a:lnTo>
                  <a:lnTo>
                    <a:pt x="26" y="316"/>
                  </a:lnTo>
                  <a:lnTo>
                    <a:pt x="26" y="328"/>
                  </a:lnTo>
                  <a:lnTo>
                    <a:pt x="26" y="328"/>
                  </a:lnTo>
                  <a:lnTo>
                    <a:pt x="26" y="338"/>
                  </a:lnTo>
                  <a:lnTo>
                    <a:pt x="28" y="348"/>
                  </a:lnTo>
                  <a:lnTo>
                    <a:pt x="44" y="364"/>
                  </a:lnTo>
                  <a:lnTo>
                    <a:pt x="44" y="364"/>
                  </a:lnTo>
                  <a:lnTo>
                    <a:pt x="40" y="366"/>
                  </a:lnTo>
                  <a:lnTo>
                    <a:pt x="38" y="366"/>
                  </a:lnTo>
                  <a:lnTo>
                    <a:pt x="30" y="364"/>
                  </a:lnTo>
                  <a:lnTo>
                    <a:pt x="30" y="364"/>
                  </a:lnTo>
                  <a:lnTo>
                    <a:pt x="32" y="366"/>
                  </a:lnTo>
                  <a:lnTo>
                    <a:pt x="30" y="368"/>
                  </a:lnTo>
                  <a:lnTo>
                    <a:pt x="20" y="366"/>
                  </a:lnTo>
                  <a:lnTo>
                    <a:pt x="20" y="366"/>
                  </a:lnTo>
                  <a:lnTo>
                    <a:pt x="14" y="366"/>
                  </a:lnTo>
                  <a:lnTo>
                    <a:pt x="10" y="368"/>
                  </a:lnTo>
                  <a:lnTo>
                    <a:pt x="10" y="370"/>
                  </a:lnTo>
                  <a:lnTo>
                    <a:pt x="12" y="376"/>
                  </a:lnTo>
                  <a:lnTo>
                    <a:pt x="12" y="376"/>
                  </a:lnTo>
                  <a:lnTo>
                    <a:pt x="16" y="384"/>
                  </a:lnTo>
                  <a:lnTo>
                    <a:pt x="18" y="388"/>
                  </a:lnTo>
                  <a:lnTo>
                    <a:pt x="22" y="390"/>
                  </a:lnTo>
                  <a:lnTo>
                    <a:pt x="28" y="400"/>
                  </a:lnTo>
                  <a:lnTo>
                    <a:pt x="28" y="400"/>
                  </a:lnTo>
                  <a:lnTo>
                    <a:pt x="40" y="420"/>
                  </a:lnTo>
                  <a:lnTo>
                    <a:pt x="42" y="426"/>
                  </a:lnTo>
                  <a:lnTo>
                    <a:pt x="40" y="432"/>
                  </a:lnTo>
                  <a:lnTo>
                    <a:pt x="40" y="432"/>
                  </a:lnTo>
                  <a:lnTo>
                    <a:pt x="50" y="430"/>
                  </a:lnTo>
                  <a:lnTo>
                    <a:pt x="52" y="430"/>
                  </a:lnTo>
                  <a:lnTo>
                    <a:pt x="54" y="430"/>
                  </a:lnTo>
                  <a:lnTo>
                    <a:pt x="58" y="428"/>
                  </a:lnTo>
                  <a:lnTo>
                    <a:pt x="58" y="428"/>
                  </a:lnTo>
                  <a:lnTo>
                    <a:pt x="70" y="422"/>
                  </a:lnTo>
                  <a:lnTo>
                    <a:pt x="84" y="418"/>
                  </a:lnTo>
                  <a:lnTo>
                    <a:pt x="96" y="414"/>
                  </a:lnTo>
                  <a:lnTo>
                    <a:pt x="104" y="412"/>
                  </a:lnTo>
                  <a:lnTo>
                    <a:pt x="104" y="412"/>
                  </a:lnTo>
                  <a:lnTo>
                    <a:pt x="108" y="408"/>
                  </a:lnTo>
                  <a:lnTo>
                    <a:pt x="112" y="408"/>
                  </a:lnTo>
                  <a:lnTo>
                    <a:pt x="114" y="406"/>
                  </a:lnTo>
                  <a:lnTo>
                    <a:pt x="114" y="402"/>
                  </a:lnTo>
                  <a:lnTo>
                    <a:pt x="114" y="402"/>
                  </a:lnTo>
                  <a:lnTo>
                    <a:pt x="114" y="400"/>
                  </a:lnTo>
                  <a:lnTo>
                    <a:pt x="114" y="398"/>
                  </a:lnTo>
                  <a:lnTo>
                    <a:pt x="110" y="396"/>
                  </a:lnTo>
                  <a:lnTo>
                    <a:pt x="108" y="394"/>
                  </a:lnTo>
                  <a:lnTo>
                    <a:pt x="112" y="390"/>
                  </a:lnTo>
                  <a:lnTo>
                    <a:pt x="112" y="390"/>
                  </a:lnTo>
                  <a:lnTo>
                    <a:pt x="118" y="388"/>
                  </a:lnTo>
                  <a:lnTo>
                    <a:pt x="120" y="388"/>
                  </a:lnTo>
                  <a:lnTo>
                    <a:pt x="124" y="388"/>
                  </a:lnTo>
                  <a:lnTo>
                    <a:pt x="130" y="386"/>
                  </a:lnTo>
                  <a:lnTo>
                    <a:pt x="130" y="386"/>
                  </a:lnTo>
                  <a:lnTo>
                    <a:pt x="146" y="380"/>
                  </a:lnTo>
                  <a:lnTo>
                    <a:pt x="152" y="378"/>
                  </a:lnTo>
                  <a:lnTo>
                    <a:pt x="156" y="376"/>
                  </a:lnTo>
                  <a:lnTo>
                    <a:pt x="156" y="376"/>
                  </a:lnTo>
                  <a:lnTo>
                    <a:pt x="160" y="372"/>
                  </a:lnTo>
                  <a:lnTo>
                    <a:pt x="162" y="368"/>
                  </a:lnTo>
                  <a:lnTo>
                    <a:pt x="164" y="364"/>
                  </a:lnTo>
                  <a:lnTo>
                    <a:pt x="168" y="362"/>
                  </a:lnTo>
                  <a:lnTo>
                    <a:pt x="168" y="362"/>
                  </a:lnTo>
                  <a:lnTo>
                    <a:pt x="170" y="360"/>
                  </a:lnTo>
                  <a:lnTo>
                    <a:pt x="172" y="358"/>
                  </a:lnTo>
                  <a:lnTo>
                    <a:pt x="172" y="354"/>
                  </a:lnTo>
                  <a:lnTo>
                    <a:pt x="172" y="348"/>
                  </a:lnTo>
                  <a:lnTo>
                    <a:pt x="174" y="346"/>
                  </a:lnTo>
                  <a:lnTo>
                    <a:pt x="178" y="344"/>
                  </a:lnTo>
                  <a:lnTo>
                    <a:pt x="178" y="344"/>
                  </a:lnTo>
                  <a:lnTo>
                    <a:pt x="188" y="340"/>
                  </a:lnTo>
                  <a:lnTo>
                    <a:pt x="192" y="338"/>
                  </a:lnTo>
                  <a:lnTo>
                    <a:pt x="194" y="336"/>
                  </a:lnTo>
                  <a:lnTo>
                    <a:pt x="198" y="338"/>
                  </a:lnTo>
                  <a:lnTo>
                    <a:pt x="198" y="338"/>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Central African Republic"/>
            <p:cNvSpPr>
              <a:spLocks/>
            </p:cNvSpPr>
            <p:nvPr/>
          </p:nvSpPr>
          <p:spPr bwMode="auto">
            <a:xfrm>
              <a:off x="4541538" y="3237177"/>
              <a:ext cx="370417" cy="293688"/>
            </a:xfrm>
            <a:custGeom>
              <a:avLst/>
              <a:gdLst/>
              <a:ahLst/>
              <a:cxnLst>
                <a:cxn ang="0">
                  <a:pos x="276" y="146"/>
                </a:cxn>
                <a:cxn ang="0">
                  <a:pos x="270" y="136"/>
                </a:cxn>
                <a:cxn ang="0">
                  <a:pos x="266" y="126"/>
                </a:cxn>
                <a:cxn ang="0">
                  <a:pos x="260" y="122"/>
                </a:cxn>
                <a:cxn ang="0">
                  <a:pos x="256" y="114"/>
                </a:cxn>
                <a:cxn ang="0">
                  <a:pos x="250" y="106"/>
                </a:cxn>
                <a:cxn ang="0">
                  <a:pos x="244" y="102"/>
                </a:cxn>
                <a:cxn ang="0">
                  <a:pos x="236" y="92"/>
                </a:cxn>
                <a:cxn ang="0">
                  <a:pos x="234" y="82"/>
                </a:cxn>
                <a:cxn ang="0">
                  <a:pos x="220" y="74"/>
                </a:cxn>
                <a:cxn ang="0">
                  <a:pos x="212" y="68"/>
                </a:cxn>
                <a:cxn ang="0">
                  <a:pos x="206" y="64"/>
                </a:cxn>
                <a:cxn ang="0">
                  <a:pos x="206" y="56"/>
                </a:cxn>
                <a:cxn ang="0">
                  <a:pos x="198" y="52"/>
                </a:cxn>
                <a:cxn ang="0">
                  <a:pos x="192" y="44"/>
                </a:cxn>
                <a:cxn ang="0">
                  <a:pos x="196" y="32"/>
                </a:cxn>
                <a:cxn ang="0">
                  <a:pos x="192" y="24"/>
                </a:cxn>
                <a:cxn ang="0">
                  <a:pos x="186" y="14"/>
                </a:cxn>
                <a:cxn ang="0">
                  <a:pos x="182" y="2"/>
                </a:cxn>
                <a:cxn ang="0">
                  <a:pos x="176" y="2"/>
                </a:cxn>
                <a:cxn ang="0">
                  <a:pos x="162" y="8"/>
                </a:cxn>
                <a:cxn ang="0">
                  <a:pos x="156" y="18"/>
                </a:cxn>
                <a:cxn ang="0">
                  <a:pos x="152" y="26"/>
                </a:cxn>
                <a:cxn ang="0">
                  <a:pos x="146" y="32"/>
                </a:cxn>
                <a:cxn ang="0">
                  <a:pos x="140" y="40"/>
                </a:cxn>
                <a:cxn ang="0">
                  <a:pos x="114" y="50"/>
                </a:cxn>
                <a:cxn ang="0">
                  <a:pos x="104" y="52"/>
                </a:cxn>
                <a:cxn ang="0">
                  <a:pos x="96" y="54"/>
                </a:cxn>
                <a:cxn ang="0">
                  <a:pos x="98" y="62"/>
                </a:cxn>
                <a:cxn ang="0">
                  <a:pos x="98" y="66"/>
                </a:cxn>
                <a:cxn ang="0">
                  <a:pos x="92" y="72"/>
                </a:cxn>
                <a:cxn ang="0">
                  <a:pos x="80" y="78"/>
                </a:cxn>
                <a:cxn ang="0">
                  <a:pos x="42" y="92"/>
                </a:cxn>
                <a:cxn ang="0">
                  <a:pos x="36" y="94"/>
                </a:cxn>
                <a:cxn ang="0">
                  <a:pos x="24" y="96"/>
                </a:cxn>
                <a:cxn ang="0">
                  <a:pos x="10" y="132"/>
                </a:cxn>
                <a:cxn ang="0">
                  <a:pos x="0" y="152"/>
                </a:cxn>
                <a:cxn ang="0">
                  <a:pos x="4" y="166"/>
                </a:cxn>
                <a:cxn ang="0">
                  <a:pos x="16" y="182"/>
                </a:cxn>
                <a:cxn ang="0">
                  <a:pos x="30" y="200"/>
                </a:cxn>
                <a:cxn ang="0">
                  <a:pos x="38" y="212"/>
                </a:cxn>
                <a:cxn ang="0">
                  <a:pos x="38" y="222"/>
                </a:cxn>
                <a:cxn ang="0">
                  <a:pos x="48" y="210"/>
                </a:cxn>
                <a:cxn ang="0">
                  <a:pos x="54" y="190"/>
                </a:cxn>
                <a:cxn ang="0">
                  <a:pos x="76" y="190"/>
                </a:cxn>
                <a:cxn ang="0">
                  <a:pos x="98" y="170"/>
                </a:cxn>
                <a:cxn ang="0">
                  <a:pos x="110" y="154"/>
                </a:cxn>
                <a:cxn ang="0">
                  <a:pos x="124" y="152"/>
                </a:cxn>
                <a:cxn ang="0">
                  <a:pos x="140" y="162"/>
                </a:cxn>
                <a:cxn ang="0">
                  <a:pos x="146" y="162"/>
                </a:cxn>
                <a:cxn ang="0">
                  <a:pos x="162" y="166"/>
                </a:cxn>
                <a:cxn ang="0">
                  <a:pos x="186" y="170"/>
                </a:cxn>
                <a:cxn ang="0">
                  <a:pos x="192" y="164"/>
                </a:cxn>
                <a:cxn ang="0">
                  <a:pos x="206" y="158"/>
                </a:cxn>
                <a:cxn ang="0">
                  <a:pos x="224" y="152"/>
                </a:cxn>
                <a:cxn ang="0">
                  <a:pos x="228" y="148"/>
                </a:cxn>
                <a:cxn ang="0">
                  <a:pos x="234" y="150"/>
                </a:cxn>
                <a:cxn ang="0">
                  <a:pos x="280" y="154"/>
                </a:cxn>
              </a:cxnLst>
              <a:rect l="0" t="0" r="r" b="b"/>
              <a:pathLst>
                <a:path w="280" h="222">
                  <a:moveTo>
                    <a:pt x="280" y="154"/>
                  </a:moveTo>
                  <a:lnTo>
                    <a:pt x="280" y="154"/>
                  </a:lnTo>
                  <a:lnTo>
                    <a:pt x="276" y="146"/>
                  </a:lnTo>
                  <a:lnTo>
                    <a:pt x="274" y="144"/>
                  </a:lnTo>
                  <a:lnTo>
                    <a:pt x="270" y="142"/>
                  </a:lnTo>
                  <a:lnTo>
                    <a:pt x="270" y="136"/>
                  </a:lnTo>
                  <a:lnTo>
                    <a:pt x="270" y="136"/>
                  </a:lnTo>
                  <a:lnTo>
                    <a:pt x="268" y="132"/>
                  </a:lnTo>
                  <a:lnTo>
                    <a:pt x="266" y="126"/>
                  </a:lnTo>
                  <a:lnTo>
                    <a:pt x="262" y="124"/>
                  </a:lnTo>
                  <a:lnTo>
                    <a:pt x="260" y="122"/>
                  </a:lnTo>
                  <a:lnTo>
                    <a:pt x="260" y="122"/>
                  </a:lnTo>
                  <a:lnTo>
                    <a:pt x="258" y="120"/>
                  </a:lnTo>
                  <a:lnTo>
                    <a:pt x="258" y="120"/>
                  </a:lnTo>
                  <a:lnTo>
                    <a:pt x="256" y="114"/>
                  </a:lnTo>
                  <a:lnTo>
                    <a:pt x="254" y="108"/>
                  </a:lnTo>
                  <a:lnTo>
                    <a:pt x="252" y="106"/>
                  </a:lnTo>
                  <a:lnTo>
                    <a:pt x="250" y="106"/>
                  </a:lnTo>
                  <a:lnTo>
                    <a:pt x="250" y="106"/>
                  </a:lnTo>
                  <a:lnTo>
                    <a:pt x="246" y="104"/>
                  </a:lnTo>
                  <a:lnTo>
                    <a:pt x="244" y="102"/>
                  </a:lnTo>
                  <a:lnTo>
                    <a:pt x="242" y="98"/>
                  </a:lnTo>
                  <a:lnTo>
                    <a:pt x="236" y="92"/>
                  </a:lnTo>
                  <a:lnTo>
                    <a:pt x="236" y="92"/>
                  </a:lnTo>
                  <a:lnTo>
                    <a:pt x="232" y="88"/>
                  </a:lnTo>
                  <a:lnTo>
                    <a:pt x="234" y="84"/>
                  </a:lnTo>
                  <a:lnTo>
                    <a:pt x="234" y="82"/>
                  </a:lnTo>
                  <a:lnTo>
                    <a:pt x="226" y="78"/>
                  </a:lnTo>
                  <a:lnTo>
                    <a:pt x="226" y="78"/>
                  </a:lnTo>
                  <a:lnTo>
                    <a:pt x="220" y="74"/>
                  </a:lnTo>
                  <a:lnTo>
                    <a:pt x="220" y="72"/>
                  </a:lnTo>
                  <a:lnTo>
                    <a:pt x="220" y="70"/>
                  </a:lnTo>
                  <a:lnTo>
                    <a:pt x="212" y="68"/>
                  </a:lnTo>
                  <a:lnTo>
                    <a:pt x="212" y="68"/>
                  </a:lnTo>
                  <a:lnTo>
                    <a:pt x="208" y="66"/>
                  </a:lnTo>
                  <a:lnTo>
                    <a:pt x="206" y="64"/>
                  </a:lnTo>
                  <a:lnTo>
                    <a:pt x="206" y="60"/>
                  </a:lnTo>
                  <a:lnTo>
                    <a:pt x="206" y="58"/>
                  </a:lnTo>
                  <a:lnTo>
                    <a:pt x="206" y="56"/>
                  </a:lnTo>
                  <a:lnTo>
                    <a:pt x="204" y="54"/>
                  </a:lnTo>
                  <a:lnTo>
                    <a:pt x="198" y="52"/>
                  </a:lnTo>
                  <a:lnTo>
                    <a:pt x="198" y="52"/>
                  </a:lnTo>
                  <a:lnTo>
                    <a:pt x="194" y="50"/>
                  </a:lnTo>
                  <a:lnTo>
                    <a:pt x="192" y="46"/>
                  </a:lnTo>
                  <a:lnTo>
                    <a:pt x="192" y="44"/>
                  </a:lnTo>
                  <a:lnTo>
                    <a:pt x="194" y="42"/>
                  </a:lnTo>
                  <a:lnTo>
                    <a:pt x="196" y="34"/>
                  </a:lnTo>
                  <a:lnTo>
                    <a:pt x="196" y="32"/>
                  </a:lnTo>
                  <a:lnTo>
                    <a:pt x="194" y="28"/>
                  </a:lnTo>
                  <a:lnTo>
                    <a:pt x="194" y="28"/>
                  </a:lnTo>
                  <a:lnTo>
                    <a:pt x="192" y="24"/>
                  </a:lnTo>
                  <a:lnTo>
                    <a:pt x="192" y="22"/>
                  </a:lnTo>
                  <a:lnTo>
                    <a:pt x="190" y="18"/>
                  </a:lnTo>
                  <a:lnTo>
                    <a:pt x="186" y="14"/>
                  </a:lnTo>
                  <a:lnTo>
                    <a:pt x="186" y="14"/>
                  </a:lnTo>
                  <a:lnTo>
                    <a:pt x="182" y="6"/>
                  </a:lnTo>
                  <a:lnTo>
                    <a:pt x="182" y="2"/>
                  </a:lnTo>
                  <a:lnTo>
                    <a:pt x="182" y="2"/>
                  </a:lnTo>
                  <a:lnTo>
                    <a:pt x="178" y="0"/>
                  </a:lnTo>
                  <a:lnTo>
                    <a:pt x="176" y="2"/>
                  </a:lnTo>
                  <a:lnTo>
                    <a:pt x="172" y="4"/>
                  </a:lnTo>
                  <a:lnTo>
                    <a:pt x="162" y="8"/>
                  </a:lnTo>
                  <a:lnTo>
                    <a:pt x="162" y="8"/>
                  </a:lnTo>
                  <a:lnTo>
                    <a:pt x="158" y="10"/>
                  </a:lnTo>
                  <a:lnTo>
                    <a:pt x="156" y="12"/>
                  </a:lnTo>
                  <a:lnTo>
                    <a:pt x="156" y="18"/>
                  </a:lnTo>
                  <a:lnTo>
                    <a:pt x="156" y="22"/>
                  </a:lnTo>
                  <a:lnTo>
                    <a:pt x="154" y="24"/>
                  </a:lnTo>
                  <a:lnTo>
                    <a:pt x="152" y="26"/>
                  </a:lnTo>
                  <a:lnTo>
                    <a:pt x="152" y="26"/>
                  </a:lnTo>
                  <a:lnTo>
                    <a:pt x="148" y="28"/>
                  </a:lnTo>
                  <a:lnTo>
                    <a:pt x="146" y="32"/>
                  </a:lnTo>
                  <a:lnTo>
                    <a:pt x="144" y="36"/>
                  </a:lnTo>
                  <a:lnTo>
                    <a:pt x="140" y="40"/>
                  </a:lnTo>
                  <a:lnTo>
                    <a:pt x="140" y="40"/>
                  </a:lnTo>
                  <a:lnTo>
                    <a:pt x="136" y="42"/>
                  </a:lnTo>
                  <a:lnTo>
                    <a:pt x="130" y="44"/>
                  </a:lnTo>
                  <a:lnTo>
                    <a:pt x="114" y="50"/>
                  </a:lnTo>
                  <a:lnTo>
                    <a:pt x="114" y="50"/>
                  </a:lnTo>
                  <a:lnTo>
                    <a:pt x="108" y="52"/>
                  </a:lnTo>
                  <a:lnTo>
                    <a:pt x="104" y="52"/>
                  </a:lnTo>
                  <a:lnTo>
                    <a:pt x="102" y="52"/>
                  </a:lnTo>
                  <a:lnTo>
                    <a:pt x="96" y="54"/>
                  </a:lnTo>
                  <a:lnTo>
                    <a:pt x="96" y="54"/>
                  </a:lnTo>
                  <a:lnTo>
                    <a:pt x="92" y="58"/>
                  </a:lnTo>
                  <a:lnTo>
                    <a:pt x="94" y="60"/>
                  </a:lnTo>
                  <a:lnTo>
                    <a:pt x="98" y="62"/>
                  </a:lnTo>
                  <a:lnTo>
                    <a:pt x="98" y="64"/>
                  </a:lnTo>
                  <a:lnTo>
                    <a:pt x="98" y="66"/>
                  </a:lnTo>
                  <a:lnTo>
                    <a:pt x="98" y="66"/>
                  </a:lnTo>
                  <a:lnTo>
                    <a:pt x="98" y="70"/>
                  </a:lnTo>
                  <a:lnTo>
                    <a:pt x="96" y="72"/>
                  </a:lnTo>
                  <a:lnTo>
                    <a:pt x="92" y="72"/>
                  </a:lnTo>
                  <a:lnTo>
                    <a:pt x="88" y="76"/>
                  </a:lnTo>
                  <a:lnTo>
                    <a:pt x="88" y="76"/>
                  </a:lnTo>
                  <a:lnTo>
                    <a:pt x="80" y="78"/>
                  </a:lnTo>
                  <a:lnTo>
                    <a:pt x="68" y="82"/>
                  </a:lnTo>
                  <a:lnTo>
                    <a:pt x="54" y="86"/>
                  </a:lnTo>
                  <a:lnTo>
                    <a:pt x="42" y="92"/>
                  </a:lnTo>
                  <a:lnTo>
                    <a:pt x="42" y="92"/>
                  </a:lnTo>
                  <a:lnTo>
                    <a:pt x="38" y="94"/>
                  </a:lnTo>
                  <a:lnTo>
                    <a:pt x="36" y="94"/>
                  </a:lnTo>
                  <a:lnTo>
                    <a:pt x="34" y="94"/>
                  </a:lnTo>
                  <a:lnTo>
                    <a:pt x="24" y="96"/>
                  </a:lnTo>
                  <a:lnTo>
                    <a:pt x="24" y="96"/>
                  </a:lnTo>
                  <a:lnTo>
                    <a:pt x="18" y="104"/>
                  </a:lnTo>
                  <a:lnTo>
                    <a:pt x="14" y="112"/>
                  </a:lnTo>
                  <a:lnTo>
                    <a:pt x="10" y="132"/>
                  </a:lnTo>
                  <a:lnTo>
                    <a:pt x="10" y="132"/>
                  </a:lnTo>
                  <a:lnTo>
                    <a:pt x="4" y="146"/>
                  </a:lnTo>
                  <a:lnTo>
                    <a:pt x="0" y="152"/>
                  </a:lnTo>
                  <a:lnTo>
                    <a:pt x="0" y="156"/>
                  </a:lnTo>
                  <a:lnTo>
                    <a:pt x="4" y="166"/>
                  </a:lnTo>
                  <a:lnTo>
                    <a:pt x="4" y="166"/>
                  </a:lnTo>
                  <a:lnTo>
                    <a:pt x="8" y="176"/>
                  </a:lnTo>
                  <a:lnTo>
                    <a:pt x="12" y="178"/>
                  </a:lnTo>
                  <a:lnTo>
                    <a:pt x="16" y="182"/>
                  </a:lnTo>
                  <a:lnTo>
                    <a:pt x="22" y="190"/>
                  </a:lnTo>
                  <a:lnTo>
                    <a:pt x="22" y="190"/>
                  </a:lnTo>
                  <a:lnTo>
                    <a:pt x="30" y="200"/>
                  </a:lnTo>
                  <a:lnTo>
                    <a:pt x="36" y="204"/>
                  </a:lnTo>
                  <a:lnTo>
                    <a:pt x="40" y="206"/>
                  </a:lnTo>
                  <a:lnTo>
                    <a:pt x="38" y="212"/>
                  </a:lnTo>
                  <a:lnTo>
                    <a:pt x="38" y="212"/>
                  </a:lnTo>
                  <a:lnTo>
                    <a:pt x="38" y="216"/>
                  </a:lnTo>
                  <a:lnTo>
                    <a:pt x="38" y="222"/>
                  </a:lnTo>
                  <a:lnTo>
                    <a:pt x="38" y="222"/>
                  </a:lnTo>
                  <a:lnTo>
                    <a:pt x="44" y="216"/>
                  </a:lnTo>
                  <a:lnTo>
                    <a:pt x="48" y="210"/>
                  </a:lnTo>
                  <a:lnTo>
                    <a:pt x="50" y="200"/>
                  </a:lnTo>
                  <a:lnTo>
                    <a:pt x="52" y="192"/>
                  </a:lnTo>
                  <a:lnTo>
                    <a:pt x="54" y="190"/>
                  </a:lnTo>
                  <a:lnTo>
                    <a:pt x="56" y="190"/>
                  </a:lnTo>
                  <a:lnTo>
                    <a:pt x="56" y="190"/>
                  </a:lnTo>
                  <a:lnTo>
                    <a:pt x="76" y="190"/>
                  </a:lnTo>
                  <a:lnTo>
                    <a:pt x="94" y="190"/>
                  </a:lnTo>
                  <a:lnTo>
                    <a:pt x="94" y="190"/>
                  </a:lnTo>
                  <a:lnTo>
                    <a:pt x="98" y="170"/>
                  </a:lnTo>
                  <a:lnTo>
                    <a:pt x="102" y="160"/>
                  </a:lnTo>
                  <a:lnTo>
                    <a:pt x="106" y="156"/>
                  </a:lnTo>
                  <a:lnTo>
                    <a:pt x="110" y="154"/>
                  </a:lnTo>
                  <a:lnTo>
                    <a:pt x="118" y="152"/>
                  </a:lnTo>
                  <a:lnTo>
                    <a:pt x="118" y="152"/>
                  </a:lnTo>
                  <a:lnTo>
                    <a:pt x="124" y="152"/>
                  </a:lnTo>
                  <a:lnTo>
                    <a:pt x="128" y="154"/>
                  </a:lnTo>
                  <a:lnTo>
                    <a:pt x="134" y="158"/>
                  </a:lnTo>
                  <a:lnTo>
                    <a:pt x="140" y="162"/>
                  </a:lnTo>
                  <a:lnTo>
                    <a:pt x="142" y="164"/>
                  </a:lnTo>
                  <a:lnTo>
                    <a:pt x="146" y="162"/>
                  </a:lnTo>
                  <a:lnTo>
                    <a:pt x="146" y="162"/>
                  </a:lnTo>
                  <a:lnTo>
                    <a:pt x="150" y="162"/>
                  </a:lnTo>
                  <a:lnTo>
                    <a:pt x="154" y="164"/>
                  </a:lnTo>
                  <a:lnTo>
                    <a:pt x="162" y="166"/>
                  </a:lnTo>
                  <a:lnTo>
                    <a:pt x="172" y="170"/>
                  </a:lnTo>
                  <a:lnTo>
                    <a:pt x="178" y="172"/>
                  </a:lnTo>
                  <a:lnTo>
                    <a:pt x="186" y="170"/>
                  </a:lnTo>
                  <a:lnTo>
                    <a:pt x="186" y="170"/>
                  </a:lnTo>
                  <a:lnTo>
                    <a:pt x="188" y="168"/>
                  </a:lnTo>
                  <a:lnTo>
                    <a:pt x="192" y="164"/>
                  </a:lnTo>
                  <a:lnTo>
                    <a:pt x="196" y="160"/>
                  </a:lnTo>
                  <a:lnTo>
                    <a:pt x="206" y="158"/>
                  </a:lnTo>
                  <a:lnTo>
                    <a:pt x="206" y="158"/>
                  </a:lnTo>
                  <a:lnTo>
                    <a:pt x="220" y="156"/>
                  </a:lnTo>
                  <a:lnTo>
                    <a:pt x="222" y="154"/>
                  </a:lnTo>
                  <a:lnTo>
                    <a:pt x="224" y="152"/>
                  </a:lnTo>
                  <a:lnTo>
                    <a:pt x="224" y="150"/>
                  </a:lnTo>
                  <a:lnTo>
                    <a:pt x="224" y="148"/>
                  </a:lnTo>
                  <a:lnTo>
                    <a:pt x="228" y="148"/>
                  </a:lnTo>
                  <a:lnTo>
                    <a:pt x="228" y="148"/>
                  </a:lnTo>
                  <a:lnTo>
                    <a:pt x="230" y="148"/>
                  </a:lnTo>
                  <a:lnTo>
                    <a:pt x="234" y="150"/>
                  </a:lnTo>
                  <a:lnTo>
                    <a:pt x="246" y="152"/>
                  </a:lnTo>
                  <a:lnTo>
                    <a:pt x="280" y="154"/>
                  </a:lnTo>
                  <a:lnTo>
                    <a:pt x="280" y="154"/>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Libya"/>
            <p:cNvSpPr>
              <a:spLocks/>
            </p:cNvSpPr>
            <p:nvPr/>
          </p:nvSpPr>
          <p:spPr bwMode="auto">
            <a:xfrm>
              <a:off x="4374851" y="2517510"/>
              <a:ext cx="439208" cy="425979"/>
            </a:xfrm>
            <a:custGeom>
              <a:avLst/>
              <a:gdLst/>
              <a:ahLst/>
              <a:cxnLst>
                <a:cxn ang="0">
                  <a:pos x="318" y="32"/>
                </a:cxn>
                <a:cxn ang="0">
                  <a:pos x="312" y="28"/>
                </a:cxn>
                <a:cxn ang="0">
                  <a:pos x="304" y="28"/>
                </a:cxn>
                <a:cxn ang="0">
                  <a:pos x="296" y="24"/>
                </a:cxn>
                <a:cxn ang="0">
                  <a:pos x="292" y="20"/>
                </a:cxn>
                <a:cxn ang="0">
                  <a:pos x="282" y="14"/>
                </a:cxn>
                <a:cxn ang="0">
                  <a:pos x="266" y="12"/>
                </a:cxn>
                <a:cxn ang="0">
                  <a:pos x="264" y="14"/>
                </a:cxn>
                <a:cxn ang="0">
                  <a:pos x="262" y="10"/>
                </a:cxn>
                <a:cxn ang="0">
                  <a:pos x="244" y="10"/>
                </a:cxn>
                <a:cxn ang="0">
                  <a:pos x="228" y="20"/>
                </a:cxn>
                <a:cxn ang="0">
                  <a:pos x="220" y="36"/>
                </a:cxn>
                <a:cxn ang="0">
                  <a:pos x="226" y="38"/>
                </a:cxn>
                <a:cxn ang="0">
                  <a:pos x="220" y="60"/>
                </a:cxn>
                <a:cxn ang="0">
                  <a:pos x="210" y="64"/>
                </a:cxn>
                <a:cxn ang="0">
                  <a:pos x="196" y="60"/>
                </a:cxn>
                <a:cxn ang="0">
                  <a:pos x="174" y="48"/>
                </a:cxn>
                <a:cxn ang="0">
                  <a:pos x="152" y="42"/>
                </a:cxn>
                <a:cxn ang="0">
                  <a:pos x="138" y="42"/>
                </a:cxn>
                <a:cxn ang="0">
                  <a:pos x="130" y="36"/>
                </a:cxn>
                <a:cxn ang="0">
                  <a:pos x="126" y="20"/>
                </a:cxn>
                <a:cxn ang="0">
                  <a:pos x="116" y="18"/>
                </a:cxn>
                <a:cxn ang="0">
                  <a:pos x="110" y="14"/>
                </a:cxn>
                <a:cxn ang="0">
                  <a:pos x="96" y="12"/>
                </a:cxn>
                <a:cxn ang="0">
                  <a:pos x="88" y="10"/>
                </a:cxn>
                <a:cxn ang="0">
                  <a:pos x="76" y="8"/>
                </a:cxn>
                <a:cxn ang="0">
                  <a:pos x="62" y="8"/>
                </a:cxn>
                <a:cxn ang="0">
                  <a:pos x="44" y="0"/>
                </a:cxn>
                <a:cxn ang="0">
                  <a:pos x="44" y="12"/>
                </a:cxn>
                <a:cxn ang="0">
                  <a:pos x="40" y="20"/>
                </a:cxn>
                <a:cxn ang="0">
                  <a:pos x="28" y="26"/>
                </a:cxn>
                <a:cxn ang="0">
                  <a:pos x="24" y="34"/>
                </a:cxn>
                <a:cxn ang="0">
                  <a:pos x="20" y="48"/>
                </a:cxn>
                <a:cxn ang="0">
                  <a:pos x="22" y="56"/>
                </a:cxn>
                <a:cxn ang="0">
                  <a:pos x="8" y="68"/>
                </a:cxn>
                <a:cxn ang="0">
                  <a:pos x="0" y="72"/>
                </a:cxn>
                <a:cxn ang="0">
                  <a:pos x="4" y="78"/>
                </a:cxn>
                <a:cxn ang="0">
                  <a:pos x="8" y="98"/>
                </a:cxn>
                <a:cxn ang="0">
                  <a:pos x="20" y="120"/>
                </a:cxn>
                <a:cxn ang="0">
                  <a:pos x="18" y="132"/>
                </a:cxn>
                <a:cxn ang="0">
                  <a:pos x="18" y="138"/>
                </a:cxn>
                <a:cxn ang="0">
                  <a:pos x="22" y="144"/>
                </a:cxn>
                <a:cxn ang="0">
                  <a:pos x="18" y="150"/>
                </a:cxn>
                <a:cxn ang="0">
                  <a:pos x="8" y="158"/>
                </a:cxn>
                <a:cxn ang="0">
                  <a:pos x="6" y="164"/>
                </a:cxn>
                <a:cxn ang="0">
                  <a:pos x="18" y="172"/>
                </a:cxn>
                <a:cxn ang="0">
                  <a:pos x="20" y="178"/>
                </a:cxn>
                <a:cxn ang="0">
                  <a:pos x="24" y="184"/>
                </a:cxn>
                <a:cxn ang="0">
                  <a:pos x="32" y="192"/>
                </a:cxn>
                <a:cxn ang="0">
                  <a:pos x="46" y="196"/>
                </a:cxn>
                <a:cxn ang="0">
                  <a:pos x="64" y="208"/>
                </a:cxn>
                <a:cxn ang="0">
                  <a:pos x="130" y="222"/>
                </a:cxn>
                <a:cxn ang="0">
                  <a:pos x="154" y="210"/>
                </a:cxn>
                <a:cxn ang="0">
                  <a:pos x="176" y="214"/>
                </a:cxn>
                <a:cxn ang="0">
                  <a:pos x="332" y="322"/>
                </a:cxn>
                <a:cxn ang="0">
                  <a:pos x="318" y="96"/>
                </a:cxn>
                <a:cxn ang="0">
                  <a:pos x="320" y="82"/>
                </a:cxn>
                <a:cxn ang="0">
                  <a:pos x="318" y="76"/>
                </a:cxn>
                <a:cxn ang="0">
                  <a:pos x="320" y="66"/>
                </a:cxn>
                <a:cxn ang="0">
                  <a:pos x="318" y="58"/>
                </a:cxn>
                <a:cxn ang="0">
                  <a:pos x="320" y="32"/>
                </a:cxn>
              </a:cxnLst>
              <a:rect l="0" t="0" r="r" b="b"/>
              <a:pathLst>
                <a:path w="332" h="322">
                  <a:moveTo>
                    <a:pt x="320" y="32"/>
                  </a:moveTo>
                  <a:lnTo>
                    <a:pt x="320" y="32"/>
                  </a:lnTo>
                  <a:lnTo>
                    <a:pt x="318" y="32"/>
                  </a:lnTo>
                  <a:lnTo>
                    <a:pt x="318" y="30"/>
                  </a:lnTo>
                  <a:lnTo>
                    <a:pt x="316" y="28"/>
                  </a:lnTo>
                  <a:lnTo>
                    <a:pt x="312" y="28"/>
                  </a:lnTo>
                  <a:lnTo>
                    <a:pt x="312" y="28"/>
                  </a:lnTo>
                  <a:lnTo>
                    <a:pt x="306" y="28"/>
                  </a:lnTo>
                  <a:lnTo>
                    <a:pt x="304" y="28"/>
                  </a:lnTo>
                  <a:lnTo>
                    <a:pt x="304" y="24"/>
                  </a:lnTo>
                  <a:lnTo>
                    <a:pt x="296" y="24"/>
                  </a:lnTo>
                  <a:lnTo>
                    <a:pt x="296" y="24"/>
                  </a:lnTo>
                  <a:lnTo>
                    <a:pt x="290" y="24"/>
                  </a:lnTo>
                  <a:lnTo>
                    <a:pt x="290" y="22"/>
                  </a:lnTo>
                  <a:lnTo>
                    <a:pt x="292" y="20"/>
                  </a:lnTo>
                  <a:lnTo>
                    <a:pt x="290" y="18"/>
                  </a:lnTo>
                  <a:lnTo>
                    <a:pt x="288" y="18"/>
                  </a:lnTo>
                  <a:lnTo>
                    <a:pt x="282" y="14"/>
                  </a:lnTo>
                  <a:lnTo>
                    <a:pt x="282" y="14"/>
                  </a:lnTo>
                  <a:lnTo>
                    <a:pt x="270" y="12"/>
                  </a:lnTo>
                  <a:lnTo>
                    <a:pt x="266" y="12"/>
                  </a:lnTo>
                  <a:lnTo>
                    <a:pt x="266" y="14"/>
                  </a:lnTo>
                  <a:lnTo>
                    <a:pt x="264" y="14"/>
                  </a:lnTo>
                  <a:lnTo>
                    <a:pt x="264" y="14"/>
                  </a:lnTo>
                  <a:lnTo>
                    <a:pt x="260" y="12"/>
                  </a:lnTo>
                  <a:lnTo>
                    <a:pt x="262" y="12"/>
                  </a:lnTo>
                  <a:lnTo>
                    <a:pt x="262" y="10"/>
                  </a:lnTo>
                  <a:lnTo>
                    <a:pt x="254" y="10"/>
                  </a:lnTo>
                  <a:lnTo>
                    <a:pt x="254" y="10"/>
                  </a:lnTo>
                  <a:lnTo>
                    <a:pt x="244" y="10"/>
                  </a:lnTo>
                  <a:lnTo>
                    <a:pt x="238" y="12"/>
                  </a:lnTo>
                  <a:lnTo>
                    <a:pt x="228" y="20"/>
                  </a:lnTo>
                  <a:lnTo>
                    <a:pt x="228" y="20"/>
                  </a:lnTo>
                  <a:lnTo>
                    <a:pt x="222" y="26"/>
                  </a:lnTo>
                  <a:lnTo>
                    <a:pt x="220" y="30"/>
                  </a:lnTo>
                  <a:lnTo>
                    <a:pt x="220" y="36"/>
                  </a:lnTo>
                  <a:lnTo>
                    <a:pt x="222" y="38"/>
                  </a:lnTo>
                  <a:lnTo>
                    <a:pt x="222" y="38"/>
                  </a:lnTo>
                  <a:lnTo>
                    <a:pt x="226" y="38"/>
                  </a:lnTo>
                  <a:lnTo>
                    <a:pt x="226" y="42"/>
                  </a:lnTo>
                  <a:lnTo>
                    <a:pt x="226" y="52"/>
                  </a:lnTo>
                  <a:lnTo>
                    <a:pt x="220" y="60"/>
                  </a:lnTo>
                  <a:lnTo>
                    <a:pt x="216" y="64"/>
                  </a:lnTo>
                  <a:lnTo>
                    <a:pt x="210" y="64"/>
                  </a:lnTo>
                  <a:lnTo>
                    <a:pt x="210" y="64"/>
                  </a:lnTo>
                  <a:lnTo>
                    <a:pt x="204" y="66"/>
                  </a:lnTo>
                  <a:lnTo>
                    <a:pt x="200" y="64"/>
                  </a:lnTo>
                  <a:lnTo>
                    <a:pt x="196" y="60"/>
                  </a:lnTo>
                  <a:lnTo>
                    <a:pt x="186" y="54"/>
                  </a:lnTo>
                  <a:lnTo>
                    <a:pt x="186" y="54"/>
                  </a:lnTo>
                  <a:lnTo>
                    <a:pt x="174" y="48"/>
                  </a:lnTo>
                  <a:lnTo>
                    <a:pt x="166" y="46"/>
                  </a:lnTo>
                  <a:lnTo>
                    <a:pt x="158" y="44"/>
                  </a:lnTo>
                  <a:lnTo>
                    <a:pt x="152" y="42"/>
                  </a:lnTo>
                  <a:lnTo>
                    <a:pt x="152" y="42"/>
                  </a:lnTo>
                  <a:lnTo>
                    <a:pt x="146" y="42"/>
                  </a:lnTo>
                  <a:lnTo>
                    <a:pt x="138" y="42"/>
                  </a:lnTo>
                  <a:lnTo>
                    <a:pt x="136" y="42"/>
                  </a:lnTo>
                  <a:lnTo>
                    <a:pt x="132" y="40"/>
                  </a:lnTo>
                  <a:lnTo>
                    <a:pt x="130" y="36"/>
                  </a:lnTo>
                  <a:lnTo>
                    <a:pt x="128" y="28"/>
                  </a:lnTo>
                  <a:lnTo>
                    <a:pt x="128" y="28"/>
                  </a:lnTo>
                  <a:lnTo>
                    <a:pt x="126" y="20"/>
                  </a:lnTo>
                  <a:lnTo>
                    <a:pt x="124" y="20"/>
                  </a:lnTo>
                  <a:lnTo>
                    <a:pt x="118" y="20"/>
                  </a:lnTo>
                  <a:lnTo>
                    <a:pt x="116" y="18"/>
                  </a:lnTo>
                  <a:lnTo>
                    <a:pt x="112" y="16"/>
                  </a:lnTo>
                  <a:lnTo>
                    <a:pt x="112" y="16"/>
                  </a:lnTo>
                  <a:lnTo>
                    <a:pt x="110" y="14"/>
                  </a:lnTo>
                  <a:lnTo>
                    <a:pt x="106" y="12"/>
                  </a:lnTo>
                  <a:lnTo>
                    <a:pt x="100" y="12"/>
                  </a:lnTo>
                  <a:lnTo>
                    <a:pt x="96" y="12"/>
                  </a:lnTo>
                  <a:lnTo>
                    <a:pt x="92" y="12"/>
                  </a:lnTo>
                  <a:lnTo>
                    <a:pt x="88" y="10"/>
                  </a:lnTo>
                  <a:lnTo>
                    <a:pt x="88" y="10"/>
                  </a:lnTo>
                  <a:lnTo>
                    <a:pt x="86" y="8"/>
                  </a:lnTo>
                  <a:lnTo>
                    <a:pt x="82" y="6"/>
                  </a:lnTo>
                  <a:lnTo>
                    <a:pt x="76" y="8"/>
                  </a:lnTo>
                  <a:lnTo>
                    <a:pt x="70" y="10"/>
                  </a:lnTo>
                  <a:lnTo>
                    <a:pt x="66" y="10"/>
                  </a:lnTo>
                  <a:lnTo>
                    <a:pt x="62" y="8"/>
                  </a:lnTo>
                  <a:lnTo>
                    <a:pt x="62" y="8"/>
                  </a:lnTo>
                  <a:lnTo>
                    <a:pt x="50" y="4"/>
                  </a:lnTo>
                  <a:lnTo>
                    <a:pt x="44" y="0"/>
                  </a:lnTo>
                  <a:lnTo>
                    <a:pt x="42" y="12"/>
                  </a:lnTo>
                  <a:lnTo>
                    <a:pt x="42" y="12"/>
                  </a:lnTo>
                  <a:lnTo>
                    <a:pt x="44" y="12"/>
                  </a:lnTo>
                  <a:lnTo>
                    <a:pt x="46" y="14"/>
                  </a:lnTo>
                  <a:lnTo>
                    <a:pt x="44" y="18"/>
                  </a:lnTo>
                  <a:lnTo>
                    <a:pt x="40" y="20"/>
                  </a:lnTo>
                  <a:lnTo>
                    <a:pt x="40" y="20"/>
                  </a:lnTo>
                  <a:lnTo>
                    <a:pt x="32" y="24"/>
                  </a:lnTo>
                  <a:lnTo>
                    <a:pt x="28" y="26"/>
                  </a:lnTo>
                  <a:lnTo>
                    <a:pt x="26" y="30"/>
                  </a:lnTo>
                  <a:lnTo>
                    <a:pt x="26" y="30"/>
                  </a:lnTo>
                  <a:lnTo>
                    <a:pt x="24" y="34"/>
                  </a:lnTo>
                  <a:lnTo>
                    <a:pt x="20" y="38"/>
                  </a:lnTo>
                  <a:lnTo>
                    <a:pt x="18" y="42"/>
                  </a:lnTo>
                  <a:lnTo>
                    <a:pt x="20" y="48"/>
                  </a:lnTo>
                  <a:lnTo>
                    <a:pt x="20" y="48"/>
                  </a:lnTo>
                  <a:lnTo>
                    <a:pt x="22" y="52"/>
                  </a:lnTo>
                  <a:lnTo>
                    <a:pt x="22" y="56"/>
                  </a:lnTo>
                  <a:lnTo>
                    <a:pt x="20" y="60"/>
                  </a:lnTo>
                  <a:lnTo>
                    <a:pt x="16" y="64"/>
                  </a:lnTo>
                  <a:lnTo>
                    <a:pt x="8" y="68"/>
                  </a:lnTo>
                  <a:lnTo>
                    <a:pt x="2" y="72"/>
                  </a:lnTo>
                  <a:lnTo>
                    <a:pt x="2" y="72"/>
                  </a:lnTo>
                  <a:lnTo>
                    <a:pt x="0" y="72"/>
                  </a:lnTo>
                  <a:lnTo>
                    <a:pt x="0" y="74"/>
                  </a:lnTo>
                  <a:lnTo>
                    <a:pt x="4" y="78"/>
                  </a:lnTo>
                  <a:lnTo>
                    <a:pt x="4" y="78"/>
                  </a:lnTo>
                  <a:lnTo>
                    <a:pt x="6" y="84"/>
                  </a:lnTo>
                  <a:lnTo>
                    <a:pt x="6" y="90"/>
                  </a:lnTo>
                  <a:lnTo>
                    <a:pt x="8" y="98"/>
                  </a:lnTo>
                  <a:lnTo>
                    <a:pt x="14" y="108"/>
                  </a:lnTo>
                  <a:lnTo>
                    <a:pt x="14" y="108"/>
                  </a:lnTo>
                  <a:lnTo>
                    <a:pt x="20" y="120"/>
                  </a:lnTo>
                  <a:lnTo>
                    <a:pt x="22" y="126"/>
                  </a:lnTo>
                  <a:lnTo>
                    <a:pt x="20" y="130"/>
                  </a:lnTo>
                  <a:lnTo>
                    <a:pt x="18" y="132"/>
                  </a:lnTo>
                  <a:lnTo>
                    <a:pt x="18" y="132"/>
                  </a:lnTo>
                  <a:lnTo>
                    <a:pt x="16" y="134"/>
                  </a:lnTo>
                  <a:lnTo>
                    <a:pt x="18" y="138"/>
                  </a:lnTo>
                  <a:lnTo>
                    <a:pt x="18" y="138"/>
                  </a:lnTo>
                  <a:lnTo>
                    <a:pt x="22" y="142"/>
                  </a:lnTo>
                  <a:lnTo>
                    <a:pt x="22" y="144"/>
                  </a:lnTo>
                  <a:lnTo>
                    <a:pt x="20" y="146"/>
                  </a:lnTo>
                  <a:lnTo>
                    <a:pt x="18" y="150"/>
                  </a:lnTo>
                  <a:lnTo>
                    <a:pt x="18" y="150"/>
                  </a:lnTo>
                  <a:lnTo>
                    <a:pt x="16" y="154"/>
                  </a:lnTo>
                  <a:lnTo>
                    <a:pt x="14" y="156"/>
                  </a:lnTo>
                  <a:lnTo>
                    <a:pt x="8" y="158"/>
                  </a:lnTo>
                  <a:lnTo>
                    <a:pt x="6" y="160"/>
                  </a:lnTo>
                  <a:lnTo>
                    <a:pt x="6" y="162"/>
                  </a:lnTo>
                  <a:lnTo>
                    <a:pt x="6" y="164"/>
                  </a:lnTo>
                  <a:lnTo>
                    <a:pt x="6" y="164"/>
                  </a:lnTo>
                  <a:lnTo>
                    <a:pt x="14" y="170"/>
                  </a:lnTo>
                  <a:lnTo>
                    <a:pt x="18" y="172"/>
                  </a:lnTo>
                  <a:lnTo>
                    <a:pt x="20" y="174"/>
                  </a:lnTo>
                  <a:lnTo>
                    <a:pt x="20" y="178"/>
                  </a:lnTo>
                  <a:lnTo>
                    <a:pt x="20" y="178"/>
                  </a:lnTo>
                  <a:lnTo>
                    <a:pt x="20" y="182"/>
                  </a:lnTo>
                  <a:lnTo>
                    <a:pt x="22" y="182"/>
                  </a:lnTo>
                  <a:lnTo>
                    <a:pt x="24" y="184"/>
                  </a:lnTo>
                  <a:lnTo>
                    <a:pt x="28" y="188"/>
                  </a:lnTo>
                  <a:lnTo>
                    <a:pt x="28" y="188"/>
                  </a:lnTo>
                  <a:lnTo>
                    <a:pt x="32" y="192"/>
                  </a:lnTo>
                  <a:lnTo>
                    <a:pt x="36" y="192"/>
                  </a:lnTo>
                  <a:lnTo>
                    <a:pt x="40" y="192"/>
                  </a:lnTo>
                  <a:lnTo>
                    <a:pt x="46" y="196"/>
                  </a:lnTo>
                  <a:lnTo>
                    <a:pt x="46" y="196"/>
                  </a:lnTo>
                  <a:lnTo>
                    <a:pt x="60" y="206"/>
                  </a:lnTo>
                  <a:lnTo>
                    <a:pt x="64" y="208"/>
                  </a:lnTo>
                  <a:lnTo>
                    <a:pt x="108" y="216"/>
                  </a:lnTo>
                  <a:lnTo>
                    <a:pt x="116" y="226"/>
                  </a:lnTo>
                  <a:lnTo>
                    <a:pt x="130" y="222"/>
                  </a:lnTo>
                  <a:lnTo>
                    <a:pt x="130" y="222"/>
                  </a:lnTo>
                  <a:lnTo>
                    <a:pt x="154" y="210"/>
                  </a:lnTo>
                  <a:lnTo>
                    <a:pt x="154" y="210"/>
                  </a:lnTo>
                  <a:lnTo>
                    <a:pt x="160" y="208"/>
                  </a:lnTo>
                  <a:lnTo>
                    <a:pt x="166" y="208"/>
                  </a:lnTo>
                  <a:lnTo>
                    <a:pt x="176" y="214"/>
                  </a:lnTo>
                  <a:lnTo>
                    <a:pt x="176" y="214"/>
                  </a:lnTo>
                  <a:lnTo>
                    <a:pt x="316" y="322"/>
                  </a:lnTo>
                  <a:lnTo>
                    <a:pt x="332" y="322"/>
                  </a:lnTo>
                  <a:lnTo>
                    <a:pt x="330" y="266"/>
                  </a:lnTo>
                  <a:lnTo>
                    <a:pt x="330" y="266"/>
                  </a:lnTo>
                  <a:lnTo>
                    <a:pt x="318" y="96"/>
                  </a:lnTo>
                  <a:lnTo>
                    <a:pt x="318" y="96"/>
                  </a:lnTo>
                  <a:lnTo>
                    <a:pt x="320" y="86"/>
                  </a:lnTo>
                  <a:lnTo>
                    <a:pt x="320" y="82"/>
                  </a:lnTo>
                  <a:lnTo>
                    <a:pt x="322" y="80"/>
                  </a:lnTo>
                  <a:lnTo>
                    <a:pt x="318" y="76"/>
                  </a:lnTo>
                  <a:lnTo>
                    <a:pt x="318" y="76"/>
                  </a:lnTo>
                  <a:lnTo>
                    <a:pt x="316" y="74"/>
                  </a:lnTo>
                  <a:lnTo>
                    <a:pt x="316" y="72"/>
                  </a:lnTo>
                  <a:lnTo>
                    <a:pt x="320" y="66"/>
                  </a:lnTo>
                  <a:lnTo>
                    <a:pt x="322" y="62"/>
                  </a:lnTo>
                  <a:lnTo>
                    <a:pt x="322" y="60"/>
                  </a:lnTo>
                  <a:lnTo>
                    <a:pt x="318" y="58"/>
                  </a:lnTo>
                  <a:lnTo>
                    <a:pt x="318" y="58"/>
                  </a:lnTo>
                  <a:lnTo>
                    <a:pt x="318" y="42"/>
                  </a:lnTo>
                  <a:lnTo>
                    <a:pt x="320" y="32"/>
                  </a:lnTo>
                  <a:lnTo>
                    <a:pt x="320" y="32"/>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Egypt"/>
            <p:cNvSpPr>
              <a:spLocks noEditPoints="1"/>
            </p:cNvSpPr>
            <p:nvPr/>
          </p:nvSpPr>
          <p:spPr bwMode="auto">
            <a:xfrm>
              <a:off x="4792893" y="2559844"/>
              <a:ext cx="330729" cy="312208"/>
            </a:xfrm>
            <a:custGeom>
              <a:avLst/>
              <a:gdLst/>
              <a:ahLst/>
              <a:cxnLst>
                <a:cxn ang="0">
                  <a:pos x="14" y="234"/>
                </a:cxn>
                <a:cxn ang="0">
                  <a:pos x="216" y="234"/>
                </a:cxn>
                <a:cxn ang="0">
                  <a:pos x="228" y="236"/>
                </a:cxn>
                <a:cxn ang="0">
                  <a:pos x="232" y="234"/>
                </a:cxn>
                <a:cxn ang="0">
                  <a:pos x="232" y="230"/>
                </a:cxn>
                <a:cxn ang="0">
                  <a:pos x="240" y="226"/>
                </a:cxn>
                <a:cxn ang="0">
                  <a:pos x="248" y="224"/>
                </a:cxn>
                <a:cxn ang="0">
                  <a:pos x="246" y="216"/>
                </a:cxn>
                <a:cxn ang="0">
                  <a:pos x="242" y="204"/>
                </a:cxn>
                <a:cxn ang="0">
                  <a:pos x="238" y="196"/>
                </a:cxn>
                <a:cxn ang="0">
                  <a:pos x="244" y="194"/>
                </a:cxn>
                <a:cxn ang="0">
                  <a:pos x="242" y="190"/>
                </a:cxn>
                <a:cxn ang="0">
                  <a:pos x="222" y="164"/>
                </a:cxn>
                <a:cxn ang="0">
                  <a:pos x="212" y="150"/>
                </a:cxn>
                <a:cxn ang="0">
                  <a:pos x="194" y="122"/>
                </a:cxn>
                <a:cxn ang="0">
                  <a:pos x="192" y="114"/>
                </a:cxn>
                <a:cxn ang="0">
                  <a:pos x="194" y="112"/>
                </a:cxn>
                <a:cxn ang="0">
                  <a:pos x="184" y="100"/>
                </a:cxn>
                <a:cxn ang="0">
                  <a:pos x="182" y="92"/>
                </a:cxn>
                <a:cxn ang="0">
                  <a:pos x="166" y="70"/>
                </a:cxn>
                <a:cxn ang="0">
                  <a:pos x="164" y="62"/>
                </a:cxn>
                <a:cxn ang="0">
                  <a:pos x="160" y="50"/>
                </a:cxn>
                <a:cxn ang="0">
                  <a:pos x="156" y="34"/>
                </a:cxn>
                <a:cxn ang="0">
                  <a:pos x="158" y="38"/>
                </a:cxn>
                <a:cxn ang="0">
                  <a:pos x="164" y="48"/>
                </a:cxn>
                <a:cxn ang="0">
                  <a:pos x="174" y="60"/>
                </a:cxn>
                <a:cxn ang="0">
                  <a:pos x="182" y="72"/>
                </a:cxn>
                <a:cxn ang="0">
                  <a:pos x="196" y="92"/>
                </a:cxn>
                <a:cxn ang="0">
                  <a:pos x="206" y="98"/>
                </a:cxn>
                <a:cxn ang="0">
                  <a:pos x="212" y="88"/>
                </a:cxn>
                <a:cxn ang="0">
                  <a:pos x="210" y="74"/>
                </a:cxn>
                <a:cxn ang="0">
                  <a:pos x="212" y="62"/>
                </a:cxn>
                <a:cxn ang="0">
                  <a:pos x="214" y="50"/>
                </a:cxn>
                <a:cxn ang="0">
                  <a:pos x="194" y="18"/>
                </a:cxn>
                <a:cxn ang="0">
                  <a:pos x="198" y="10"/>
                </a:cxn>
                <a:cxn ang="0">
                  <a:pos x="192" y="10"/>
                </a:cxn>
                <a:cxn ang="0">
                  <a:pos x="178" y="16"/>
                </a:cxn>
                <a:cxn ang="0">
                  <a:pos x="164" y="14"/>
                </a:cxn>
                <a:cxn ang="0">
                  <a:pos x="138" y="8"/>
                </a:cxn>
                <a:cxn ang="0">
                  <a:pos x="126" y="8"/>
                </a:cxn>
                <a:cxn ang="0">
                  <a:pos x="112" y="8"/>
                </a:cxn>
                <a:cxn ang="0">
                  <a:pos x="104" y="12"/>
                </a:cxn>
                <a:cxn ang="0">
                  <a:pos x="100" y="16"/>
                </a:cxn>
                <a:cxn ang="0">
                  <a:pos x="90" y="22"/>
                </a:cxn>
                <a:cxn ang="0">
                  <a:pos x="82" y="18"/>
                </a:cxn>
                <a:cxn ang="0">
                  <a:pos x="72" y="16"/>
                </a:cxn>
                <a:cxn ang="0">
                  <a:pos x="68" y="14"/>
                </a:cxn>
                <a:cxn ang="0">
                  <a:pos x="62" y="14"/>
                </a:cxn>
                <a:cxn ang="0">
                  <a:pos x="44" y="6"/>
                </a:cxn>
                <a:cxn ang="0">
                  <a:pos x="22" y="4"/>
                </a:cxn>
                <a:cxn ang="0">
                  <a:pos x="10" y="6"/>
                </a:cxn>
                <a:cxn ang="0">
                  <a:pos x="2" y="10"/>
                </a:cxn>
                <a:cxn ang="0">
                  <a:pos x="6" y="28"/>
                </a:cxn>
                <a:cxn ang="0">
                  <a:pos x="0" y="40"/>
                </a:cxn>
                <a:cxn ang="0">
                  <a:pos x="2" y="44"/>
                </a:cxn>
                <a:cxn ang="0">
                  <a:pos x="4" y="54"/>
                </a:cxn>
                <a:cxn ang="0">
                  <a:pos x="14" y="234"/>
                </a:cxn>
              </a:cxnLst>
              <a:rect l="0" t="0" r="r" b="b"/>
              <a:pathLst>
                <a:path w="250" h="236">
                  <a:moveTo>
                    <a:pt x="14" y="234"/>
                  </a:moveTo>
                  <a:lnTo>
                    <a:pt x="216" y="234"/>
                  </a:lnTo>
                  <a:lnTo>
                    <a:pt x="14" y="234"/>
                  </a:lnTo>
                  <a:lnTo>
                    <a:pt x="14" y="234"/>
                  </a:lnTo>
                  <a:close/>
                  <a:moveTo>
                    <a:pt x="14" y="234"/>
                  </a:moveTo>
                  <a:lnTo>
                    <a:pt x="216" y="234"/>
                  </a:lnTo>
                  <a:lnTo>
                    <a:pt x="216" y="234"/>
                  </a:lnTo>
                  <a:lnTo>
                    <a:pt x="222" y="236"/>
                  </a:lnTo>
                  <a:lnTo>
                    <a:pt x="228" y="236"/>
                  </a:lnTo>
                  <a:lnTo>
                    <a:pt x="232" y="236"/>
                  </a:lnTo>
                  <a:lnTo>
                    <a:pt x="232" y="234"/>
                  </a:lnTo>
                  <a:lnTo>
                    <a:pt x="232" y="234"/>
                  </a:lnTo>
                  <a:lnTo>
                    <a:pt x="232" y="234"/>
                  </a:lnTo>
                  <a:lnTo>
                    <a:pt x="230" y="232"/>
                  </a:lnTo>
                  <a:lnTo>
                    <a:pt x="232" y="230"/>
                  </a:lnTo>
                  <a:lnTo>
                    <a:pt x="236" y="230"/>
                  </a:lnTo>
                  <a:lnTo>
                    <a:pt x="240" y="226"/>
                  </a:lnTo>
                  <a:lnTo>
                    <a:pt x="240" y="226"/>
                  </a:lnTo>
                  <a:lnTo>
                    <a:pt x="242" y="224"/>
                  </a:lnTo>
                  <a:lnTo>
                    <a:pt x="244" y="222"/>
                  </a:lnTo>
                  <a:lnTo>
                    <a:pt x="248" y="224"/>
                  </a:lnTo>
                  <a:lnTo>
                    <a:pt x="250" y="220"/>
                  </a:lnTo>
                  <a:lnTo>
                    <a:pt x="250" y="220"/>
                  </a:lnTo>
                  <a:lnTo>
                    <a:pt x="246" y="216"/>
                  </a:lnTo>
                  <a:lnTo>
                    <a:pt x="246" y="214"/>
                  </a:lnTo>
                  <a:lnTo>
                    <a:pt x="246" y="212"/>
                  </a:lnTo>
                  <a:lnTo>
                    <a:pt x="242" y="204"/>
                  </a:lnTo>
                  <a:lnTo>
                    <a:pt x="242" y="204"/>
                  </a:lnTo>
                  <a:lnTo>
                    <a:pt x="238" y="200"/>
                  </a:lnTo>
                  <a:lnTo>
                    <a:pt x="238" y="196"/>
                  </a:lnTo>
                  <a:lnTo>
                    <a:pt x="238" y="196"/>
                  </a:lnTo>
                  <a:lnTo>
                    <a:pt x="240" y="196"/>
                  </a:lnTo>
                  <a:lnTo>
                    <a:pt x="244" y="194"/>
                  </a:lnTo>
                  <a:lnTo>
                    <a:pt x="244" y="194"/>
                  </a:lnTo>
                  <a:lnTo>
                    <a:pt x="242" y="190"/>
                  </a:lnTo>
                  <a:lnTo>
                    <a:pt x="242" y="190"/>
                  </a:lnTo>
                  <a:lnTo>
                    <a:pt x="230" y="178"/>
                  </a:lnTo>
                  <a:lnTo>
                    <a:pt x="224" y="172"/>
                  </a:lnTo>
                  <a:lnTo>
                    <a:pt x="222" y="164"/>
                  </a:lnTo>
                  <a:lnTo>
                    <a:pt x="222" y="164"/>
                  </a:lnTo>
                  <a:lnTo>
                    <a:pt x="218" y="156"/>
                  </a:lnTo>
                  <a:lnTo>
                    <a:pt x="212" y="150"/>
                  </a:lnTo>
                  <a:lnTo>
                    <a:pt x="204" y="140"/>
                  </a:lnTo>
                  <a:lnTo>
                    <a:pt x="194" y="122"/>
                  </a:lnTo>
                  <a:lnTo>
                    <a:pt x="194" y="122"/>
                  </a:lnTo>
                  <a:lnTo>
                    <a:pt x="192" y="116"/>
                  </a:lnTo>
                  <a:lnTo>
                    <a:pt x="192" y="114"/>
                  </a:lnTo>
                  <a:lnTo>
                    <a:pt x="192" y="114"/>
                  </a:lnTo>
                  <a:lnTo>
                    <a:pt x="194" y="112"/>
                  </a:lnTo>
                  <a:lnTo>
                    <a:pt x="194" y="112"/>
                  </a:lnTo>
                  <a:lnTo>
                    <a:pt x="194" y="112"/>
                  </a:lnTo>
                  <a:lnTo>
                    <a:pt x="190" y="106"/>
                  </a:lnTo>
                  <a:lnTo>
                    <a:pt x="190" y="106"/>
                  </a:lnTo>
                  <a:lnTo>
                    <a:pt x="184" y="100"/>
                  </a:lnTo>
                  <a:lnTo>
                    <a:pt x="184" y="98"/>
                  </a:lnTo>
                  <a:lnTo>
                    <a:pt x="186" y="98"/>
                  </a:lnTo>
                  <a:lnTo>
                    <a:pt x="182" y="92"/>
                  </a:lnTo>
                  <a:lnTo>
                    <a:pt x="182" y="92"/>
                  </a:lnTo>
                  <a:lnTo>
                    <a:pt x="172" y="80"/>
                  </a:lnTo>
                  <a:lnTo>
                    <a:pt x="166" y="70"/>
                  </a:lnTo>
                  <a:lnTo>
                    <a:pt x="166" y="70"/>
                  </a:lnTo>
                  <a:lnTo>
                    <a:pt x="164" y="66"/>
                  </a:lnTo>
                  <a:lnTo>
                    <a:pt x="164" y="62"/>
                  </a:lnTo>
                  <a:lnTo>
                    <a:pt x="164" y="58"/>
                  </a:lnTo>
                  <a:lnTo>
                    <a:pt x="160" y="50"/>
                  </a:lnTo>
                  <a:lnTo>
                    <a:pt x="160" y="50"/>
                  </a:lnTo>
                  <a:lnTo>
                    <a:pt x="156" y="44"/>
                  </a:lnTo>
                  <a:lnTo>
                    <a:pt x="156" y="40"/>
                  </a:lnTo>
                  <a:lnTo>
                    <a:pt x="156" y="34"/>
                  </a:lnTo>
                  <a:lnTo>
                    <a:pt x="152" y="26"/>
                  </a:lnTo>
                  <a:lnTo>
                    <a:pt x="152" y="26"/>
                  </a:lnTo>
                  <a:lnTo>
                    <a:pt x="158" y="38"/>
                  </a:lnTo>
                  <a:lnTo>
                    <a:pt x="160" y="44"/>
                  </a:lnTo>
                  <a:lnTo>
                    <a:pt x="164" y="48"/>
                  </a:lnTo>
                  <a:lnTo>
                    <a:pt x="164" y="48"/>
                  </a:lnTo>
                  <a:lnTo>
                    <a:pt x="168" y="52"/>
                  </a:lnTo>
                  <a:lnTo>
                    <a:pt x="170" y="56"/>
                  </a:lnTo>
                  <a:lnTo>
                    <a:pt x="174" y="60"/>
                  </a:lnTo>
                  <a:lnTo>
                    <a:pt x="178" y="66"/>
                  </a:lnTo>
                  <a:lnTo>
                    <a:pt x="178" y="66"/>
                  </a:lnTo>
                  <a:lnTo>
                    <a:pt x="182" y="72"/>
                  </a:lnTo>
                  <a:lnTo>
                    <a:pt x="186" y="78"/>
                  </a:lnTo>
                  <a:lnTo>
                    <a:pt x="190" y="84"/>
                  </a:lnTo>
                  <a:lnTo>
                    <a:pt x="196" y="92"/>
                  </a:lnTo>
                  <a:lnTo>
                    <a:pt x="196" y="92"/>
                  </a:lnTo>
                  <a:lnTo>
                    <a:pt x="204" y="100"/>
                  </a:lnTo>
                  <a:lnTo>
                    <a:pt x="206" y="98"/>
                  </a:lnTo>
                  <a:lnTo>
                    <a:pt x="210" y="94"/>
                  </a:lnTo>
                  <a:lnTo>
                    <a:pt x="210" y="94"/>
                  </a:lnTo>
                  <a:lnTo>
                    <a:pt x="212" y="88"/>
                  </a:lnTo>
                  <a:lnTo>
                    <a:pt x="212" y="84"/>
                  </a:lnTo>
                  <a:lnTo>
                    <a:pt x="210" y="80"/>
                  </a:lnTo>
                  <a:lnTo>
                    <a:pt x="210" y="74"/>
                  </a:lnTo>
                  <a:lnTo>
                    <a:pt x="210" y="74"/>
                  </a:lnTo>
                  <a:lnTo>
                    <a:pt x="212" y="66"/>
                  </a:lnTo>
                  <a:lnTo>
                    <a:pt x="212" y="62"/>
                  </a:lnTo>
                  <a:lnTo>
                    <a:pt x="212" y="56"/>
                  </a:lnTo>
                  <a:lnTo>
                    <a:pt x="214" y="50"/>
                  </a:lnTo>
                  <a:lnTo>
                    <a:pt x="214" y="50"/>
                  </a:lnTo>
                  <a:lnTo>
                    <a:pt x="196" y="20"/>
                  </a:lnTo>
                  <a:lnTo>
                    <a:pt x="196" y="20"/>
                  </a:lnTo>
                  <a:lnTo>
                    <a:pt x="194" y="18"/>
                  </a:lnTo>
                  <a:lnTo>
                    <a:pt x="194" y="14"/>
                  </a:lnTo>
                  <a:lnTo>
                    <a:pt x="196" y="12"/>
                  </a:lnTo>
                  <a:lnTo>
                    <a:pt x="198" y="10"/>
                  </a:lnTo>
                  <a:lnTo>
                    <a:pt x="196" y="6"/>
                  </a:lnTo>
                  <a:lnTo>
                    <a:pt x="196" y="6"/>
                  </a:lnTo>
                  <a:lnTo>
                    <a:pt x="192" y="10"/>
                  </a:lnTo>
                  <a:lnTo>
                    <a:pt x="186" y="14"/>
                  </a:lnTo>
                  <a:lnTo>
                    <a:pt x="182" y="16"/>
                  </a:lnTo>
                  <a:lnTo>
                    <a:pt x="178" y="16"/>
                  </a:lnTo>
                  <a:lnTo>
                    <a:pt x="170" y="14"/>
                  </a:lnTo>
                  <a:lnTo>
                    <a:pt x="164" y="14"/>
                  </a:lnTo>
                  <a:lnTo>
                    <a:pt x="164" y="14"/>
                  </a:lnTo>
                  <a:lnTo>
                    <a:pt x="150" y="12"/>
                  </a:lnTo>
                  <a:lnTo>
                    <a:pt x="138" y="8"/>
                  </a:lnTo>
                  <a:lnTo>
                    <a:pt x="138" y="8"/>
                  </a:lnTo>
                  <a:lnTo>
                    <a:pt x="132" y="6"/>
                  </a:lnTo>
                  <a:lnTo>
                    <a:pt x="130" y="8"/>
                  </a:lnTo>
                  <a:lnTo>
                    <a:pt x="126" y="8"/>
                  </a:lnTo>
                  <a:lnTo>
                    <a:pt x="122" y="6"/>
                  </a:lnTo>
                  <a:lnTo>
                    <a:pt x="122" y="6"/>
                  </a:lnTo>
                  <a:lnTo>
                    <a:pt x="112" y="8"/>
                  </a:lnTo>
                  <a:lnTo>
                    <a:pt x="106" y="10"/>
                  </a:lnTo>
                  <a:lnTo>
                    <a:pt x="104" y="12"/>
                  </a:lnTo>
                  <a:lnTo>
                    <a:pt x="104" y="12"/>
                  </a:lnTo>
                  <a:lnTo>
                    <a:pt x="104" y="12"/>
                  </a:lnTo>
                  <a:lnTo>
                    <a:pt x="104" y="14"/>
                  </a:lnTo>
                  <a:lnTo>
                    <a:pt x="100" y="16"/>
                  </a:lnTo>
                  <a:lnTo>
                    <a:pt x="96" y="18"/>
                  </a:lnTo>
                  <a:lnTo>
                    <a:pt x="90" y="22"/>
                  </a:lnTo>
                  <a:lnTo>
                    <a:pt x="90" y="22"/>
                  </a:lnTo>
                  <a:lnTo>
                    <a:pt x="86" y="24"/>
                  </a:lnTo>
                  <a:lnTo>
                    <a:pt x="84" y="22"/>
                  </a:lnTo>
                  <a:lnTo>
                    <a:pt x="82" y="18"/>
                  </a:lnTo>
                  <a:lnTo>
                    <a:pt x="78" y="16"/>
                  </a:lnTo>
                  <a:lnTo>
                    <a:pt x="78" y="16"/>
                  </a:lnTo>
                  <a:lnTo>
                    <a:pt x="72" y="16"/>
                  </a:lnTo>
                  <a:lnTo>
                    <a:pt x="72" y="12"/>
                  </a:lnTo>
                  <a:lnTo>
                    <a:pt x="72" y="12"/>
                  </a:lnTo>
                  <a:lnTo>
                    <a:pt x="68" y="14"/>
                  </a:lnTo>
                  <a:lnTo>
                    <a:pt x="68" y="14"/>
                  </a:lnTo>
                  <a:lnTo>
                    <a:pt x="66" y="14"/>
                  </a:lnTo>
                  <a:lnTo>
                    <a:pt x="62" y="14"/>
                  </a:lnTo>
                  <a:lnTo>
                    <a:pt x="52" y="8"/>
                  </a:lnTo>
                  <a:lnTo>
                    <a:pt x="52" y="8"/>
                  </a:lnTo>
                  <a:lnTo>
                    <a:pt x="44" y="6"/>
                  </a:lnTo>
                  <a:lnTo>
                    <a:pt x="34" y="4"/>
                  </a:lnTo>
                  <a:lnTo>
                    <a:pt x="26" y="4"/>
                  </a:lnTo>
                  <a:lnTo>
                    <a:pt x="22" y="4"/>
                  </a:lnTo>
                  <a:lnTo>
                    <a:pt x="22" y="4"/>
                  </a:lnTo>
                  <a:lnTo>
                    <a:pt x="16" y="6"/>
                  </a:lnTo>
                  <a:lnTo>
                    <a:pt x="10" y="6"/>
                  </a:lnTo>
                  <a:lnTo>
                    <a:pt x="4" y="0"/>
                  </a:lnTo>
                  <a:lnTo>
                    <a:pt x="4" y="0"/>
                  </a:lnTo>
                  <a:lnTo>
                    <a:pt x="2" y="10"/>
                  </a:lnTo>
                  <a:lnTo>
                    <a:pt x="2" y="26"/>
                  </a:lnTo>
                  <a:lnTo>
                    <a:pt x="2" y="26"/>
                  </a:lnTo>
                  <a:lnTo>
                    <a:pt x="6" y="28"/>
                  </a:lnTo>
                  <a:lnTo>
                    <a:pt x="6" y="30"/>
                  </a:lnTo>
                  <a:lnTo>
                    <a:pt x="4" y="34"/>
                  </a:lnTo>
                  <a:lnTo>
                    <a:pt x="0" y="40"/>
                  </a:lnTo>
                  <a:lnTo>
                    <a:pt x="0" y="42"/>
                  </a:lnTo>
                  <a:lnTo>
                    <a:pt x="2" y="44"/>
                  </a:lnTo>
                  <a:lnTo>
                    <a:pt x="2" y="44"/>
                  </a:lnTo>
                  <a:lnTo>
                    <a:pt x="6" y="48"/>
                  </a:lnTo>
                  <a:lnTo>
                    <a:pt x="4" y="50"/>
                  </a:lnTo>
                  <a:lnTo>
                    <a:pt x="4" y="54"/>
                  </a:lnTo>
                  <a:lnTo>
                    <a:pt x="2" y="64"/>
                  </a:lnTo>
                  <a:lnTo>
                    <a:pt x="2" y="64"/>
                  </a:lnTo>
                  <a:lnTo>
                    <a:pt x="14" y="234"/>
                  </a:lnTo>
                  <a:lnTo>
                    <a:pt x="14" y="234"/>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Turkmenistan"/>
            <p:cNvSpPr>
              <a:spLocks/>
            </p:cNvSpPr>
            <p:nvPr/>
          </p:nvSpPr>
          <p:spPr bwMode="auto">
            <a:xfrm>
              <a:off x="5480809" y="2247635"/>
              <a:ext cx="357188" cy="201083"/>
            </a:xfrm>
            <a:custGeom>
              <a:avLst/>
              <a:gdLst/>
              <a:ahLst/>
              <a:cxnLst>
                <a:cxn ang="0">
                  <a:pos x="48" y="24"/>
                </a:cxn>
                <a:cxn ang="0">
                  <a:pos x="34" y="10"/>
                </a:cxn>
                <a:cxn ang="0">
                  <a:pos x="8" y="8"/>
                </a:cxn>
                <a:cxn ang="0">
                  <a:pos x="6" y="28"/>
                </a:cxn>
                <a:cxn ang="0">
                  <a:pos x="10" y="22"/>
                </a:cxn>
                <a:cxn ang="0">
                  <a:pos x="8" y="16"/>
                </a:cxn>
                <a:cxn ang="0">
                  <a:pos x="22" y="12"/>
                </a:cxn>
                <a:cxn ang="0">
                  <a:pos x="32" y="20"/>
                </a:cxn>
                <a:cxn ang="0">
                  <a:pos x="36" y="26"/>
                </a:cxn>
                <a:cxn ang="0">
                  <a:pos x="28" y="32"/>
                </a:cxn>
                <a:cxn ang="0">
                  <a:pos x="22" y="34"/>
                </a:cxn>
                <a:cxn ang="0">
                  <a:pos x="12" y="34"/>
                </a:cxn>
                <a:cxn ang="0">
                  <a:pos x="8" y="38"/>
                </a:cxn>
                <a:cxn ang="0">
                  <a:pos x="14" y="50"/>
                </a:cxn>
                <a:cxn ang="0">
                  <a:pos x="22" y="50"/>
                </a:cxn>
                <a:cxn ang="0">
                  <a:pos x="24" y="54"/>
                </a:cxn>
                <a:cxn ang="0">
                  <a:pos x="14" y="54"/>
                </a:cxn>
                <a:cxn ang="0">
                  <a:pos x="14" y="60"/>
                </a:cxn>
                <a:cxn ang="0">
                  <a:pos x="24" y="62"/>
                </a:cxn>
                <a:cxn ang="0">
                  <a:pos x="32" y="66"/>
                </a:cxn>
                <a:cxn ang="0">
                  <a:pos x="44" y="74"/>
                </a:cxn>
                <a:cxn ang="0">
                  <a:pos x="46" y="98"/>
                </a:cxn>
                <a:cxn ang="0">
                  <a:pos x="56" y="100"/>
                </a:cxn>
                <a:cxn ang="0">
                  <a:pos x="66" y="82"/>
                </a:cxn>
                <a:cxn ang="0">
                  <a:pos x="82" y="80"/>
                </a:cxn>
                <a:cxn ang="0">
                  <a:pos x="96" y="78"/>
                </a:cxn>
                <a:cxn ang="0">
                  <a:pos x="106" y="86"/>
                </a:cxn>
                <a:cxn ang="0">
                  <a:pos x="146" y="98"/>
                </a:cxn>
                <a:cxn ang="0">
                  <a:pos x="164" y="108"/>
                </a:cxn>
                <a:cxn ang="0">
                  <a:pos x="182" y="114"/>
                </a:cxn>
                <a:cxn ang="0">
                  <a:pos x="186" y="124"/>
                </a:cxn>
                <a:cxn ang="0">
                  <a:pos x="198" y="140"/>
                </a:cxn>
                <a:cxn ang="0">
                  <a:pos x="212" y="142"/>
                </a:cxn>
                <a:cxn ang="0">
                  <a:pos x="222" y="152"/>
                </a:cxn>
                <a:cxn ang="0">
                  <a:pos x="230" y="140"/>
                </a:cxn>
                <a:cxn ang="0">
                  <a:pos x="236" y="132"/>
                </a:cxn>
                <a:cxn ang="0">
                  <a:pos x="252" y="120"/>
                </a:cxn>
                <a:cxn ang="0">
                  <a:pos x="256" y="102"/>
                </a:cxn>
                <a:cxn ang="0">
                  <a:pos x="270" y="96"/>
                </a:cxn>
                <a:cxn ang="0">
                  <a:pos x="268" y="80"/>
                </a:cxn>
                <a:cxn ang="0">
                  <a:pos x="258" y="76"/>
                </a:cxn>
                <a:cxn ang="0">
                  <a:pos x="236" y="74"/>
                </a:cxn>
                <a:cxn ang="0">
                  <a:pos x="208" y="60"/>
                </a:cxn>
                <a:cxn ang="0">
                  <a:pos x="158" y="22"/>
                </a:cxn>
                <a:cxn ang="0">
                  <a:pos x="140" y="24"/>
                </a:cxn>
                <a:cxn ang="0">
                  <a:pos x="128" y="18"/>
                </a:cxn>
                <a:cxn ang="0">
                  <a:pos x="126" y="10"/>
                </a:cxn>
                <a:cxn ang="0">
                  <a:pos x="104" y="0"/>
                </a:cxn>
                <a:cxn ang="0">
                  <a:pos x="96" y="4"/>
                </a:cxn>
                <a:cxn ang="0">
                  <a:pos x="88" y="8"/>
                </a:cxn>
                <a:cxn ang="0">
                  <a:pos x="78" y="16"/>
                </a:cxn>
                <a:cxn ang="0">
                  <a:pos x="76" y="28"/>
                </a:cxn>
              </a:cxnLst>
              <a:rect l="0" t="0" r="r" b="b"/>
              <a:pathLst>
                <a:path w="270" h="152">
                  <a:moveTo>
                    <a:pt x="70" y="28"/>
                  </a:moveTo>
                  <a:lnTo>
                    <a:pt x="70" y="28"/>
                  </a:lnTo>
                  <a:lnTo>
                    <a:pt x="54" y="28"/>
                  </a:lnTo>
                  <a:lnTo>
                    <a:pt x="48" y="24"/>
                  </a:lnTo>
                  <a:lnTo>
                    <a:pt x="42" y="18"/>
                  </a:lnTo>
                  <a:lnTo>
                    <a:pt x="42" y="18"/>
                  </a:lnTo>
                  <a:lnTo>
                    <a:pt x="40" y="14"/>
                  </a:lnTo>
                  <a:lnTo>
                    <a:pt x="34" y="10"/>
                  </a:lnTo>
                  <a:lnTo>
                    <a:pt x="28" y="6"/>
                  </a:lnTo>
                  <a:lnTo>
                    <a:pt x="22" y="6"/>
                  </a:lnTo>
                  <a:lnTo>
                    <a:pt x="16" y="6"/>
                  </a:lnTo>
                  <a:lnTo>
                    <a:pt x="8" y="8"/>
                  </a:lnTo>
                  <a:lnTo>
                    <a:pt x="4" y="14"/>
                  </a:lnTo>
                  <a:lnTo>
                    <a:pt x="0" y="22"/>
                  </a:lnTo>
                  <a:lnTo>
                    <a:pt x="0" y="22"/>
                  </a:lnTo>
                  <a:lnTo>
                    <a:pt x="6" y="28"/>
                  </a:lnTo>
                  <a:lnTo>
                    <a:pt x="8" y="30"/>
                  </a:lnTo>
                  <a:lnTo>
                    <a:pt x="8" y="30"/>
                  </a:lnTo>
                  <a:lnTo>
                    <a:pt x="10" y="26"/>
                  </a:lnTo>
                  <a:lnTo>
                    <a:pt x="10" y="22"/>
                  </a:lnTo>
                  <a:lnTo>
                    <a:pt x="10" y="20"/>
                  </a:lnTo>
                  <a:lnTo>
                    <a:pt x="10" y="20"/>
                  </a:lnTo>
                  <a:lnTo>
                    <a:pt x="8" y="18"/>
                  </a:lnTo>
                  <a:lnTo>
                    <a:pt x="8" y="16"/>
                  </a:lnTo>
                  <a:lnTo>
                    <a:pt x="12" y="12"/>
                  </a:lnTo>
                  <a:lnTo>
                    <a:pt x="12" y="12"/>
                  </a:lnTo>
                  <a:lnTo>
                    <a:pt x="20" y="12"/>
                  </a:lnTo>
                  <a:lnTo>
                    <a:pt x="22" y="12"/>
                  </a:lnTo>
                  <a:lnTo>
                    <a:pt x="24" y="14"/>
                  </a:lnTo>
                  <a:lnTo>
                    <a:pt x="24" y="14"/>
                  </a:lnTo>
                  <a:lnTo>
                    <a:pt x="26" y="18"/>
                  </a:lnTo>
                  <a:lnTo>
                    <a:pt x="32" y="20"/>
                  </a:lnTo>
                  <a:lnTo>
                    <a:pt x="36" y="22"/>
                  </a:lnTo>
                  <a:lnTo>
                    <a:pt x="38" y="24"/>
                  </a:lnTo>
                  <a:lnTo>
                    <a:pt x="36" y="26"/>
                  </a:lnTo>
                  <a:lnTo>
                    <a:pt x="36" y="26"/>
                  </a:lnTo>
                  <a:lnTo>
                    <a:pt x="34" y="28"/>
                  </a:lnTo>
                  <a:lnTo>
                    <a:pt x="34" y="30"/>
                  </a:lnTo>
                  <a:lnTo>
                    <a:pt x="32" y="32"/>
                  </a:lnTo>
                  <a:lnTo>
                    <a:pt x="28" y="32"/>
                  </a:lnTo>
                  <a:lnTo>
                    <a:pt x="28" y="32"/>
                  </a:lnTo>
                  <a:lnTo>
                    <a:pt x="24" y="32"/>
                  </a:lnTo>
                  <a:lnTo>
                    <a:pt x="24" y="32"/>
                  </a:lnTo>
                  <a:lnTo>
                    <a:pt x="22" y="34"/>
                  </a:lnTo>
                  <a:lnTo>
                    <a:pt x="20" y="34"/>
                  </a:lnTo>
                  <a:lnTo>
                    <a:pt x="20" y="34"/>
                  </a:lnTo>
                  <a:lnTo>
                    <a:pt x="16" y="36"/>
                  </a:lnTo>
                  <a:lnTo>
                    <a:pt x="12" y="34"/>
                  </a:lnTo>
                  <a:lnTo>
                    <a:pt x="8" y="30"/>
                  </a:lnTo>
                  <a:lnTo>
                    <a:pt x="8" y="30"/>
                  </a:lnTo>
                  <a:lnTo>
                    <a:pt x="8" y="34"/>
                  </a:lnTo>
                  <a:lnTo>
                    <a:pt x="8" y="38"/>
                  </a:lnTo>
                  <a:lnTo>
                    <a:pt x="10" y="48"/>
                  </a:lnTo>
                  <a:lnTo>
                    <a:pt x="10" y="48"/>
                  </a:lnTo>
                  <a:lnTo>
                    <a:pt x="12" y="48"/>
                  </a:lnTo>
                  <a:lnTo>
                    <a:pt x="14" y="50"/>
                  </a:lnTo>
                  <a:lnTo>
                    <a:pt x="18" y="48"/>
                  </a:lnTo>
                  <a:lnTo>
                    <a:pt x="22" y="48"/>
                  </a:lnTo>
                  <a:lnTo>
                    <a:pt x="22" y="48"/>
                  </a:lnTo>
                  <a:lnTo>
                    <a:pt x="22" y="50"/>
                  </a:lnTo>
                  <a:lnTo>
                    <a:pt x="22" y="50"/>
                  </a:lnTo>
                  <a:lnTo>
                    <a:pt x="22" y="52"/>
                  </a:lnTo>
                  <a:lnTo>
                    <a:pt x="24" y="54"/>
                  </a:lnTo>
                  <a:lnTo>
                    <a:pt x="24" y="54"/>
                  </a:lnTo>
                  <a:lnTo>
                    <a:pt x="22" y="56"/>
                  </a:lnTo>
                  <a:lnTo>
                    <a:pt x="22" y="56"/>
                  </a:lnTo>
                  <a:lnTo>
                    <a:pt x="16" y="56"/>
                  </a:lnTo>
                  <a:lnTo>
                    <a:pt x="14" y="54"/>
                  </a:lnTo>
                  <a:lnTo>
                    <a:pt x="12" y="54"/>
                  </a:lnTo>
                  <a:lnTo>
                    <a:pt x="12" y="54"/>
                  </a:lnTo>
                  <a:lnTo>
                    <a:pt x="14" y="60"/>
                  </a:lnTo>
                  <a:lnTo>
                    <a:pt x="14" y="60"/>
                  </a:lnTo>
                  <a:lnTo>
                    <a:pt x="18" y="66"/>
                  </a:lnTo>
                  <a:lnTo>
                    <a:pt x="20" y="66"/>
                  </a:lnTo>
                  <a:lnTo>
                    <a:pt x="20" y="64"/>
                  </a:lnTo>
                  <a:lnTo>
                    <a:pt x="24" y="62"/>
                  </a:lnTo>
                  <a:lnTo>
                    <a:pt x="24" y="62"/>
                  </a:lnTo>
                  <a:lnTo>
                    <a:pt x="26" y="62"/>
                  </a:lnTo>
                  <a:lnTo>
                    <a:pt x="30" y="64"/>
                  </a:lnTo>
                  <a:lnTo>
                    <a:pt x="32" y="66"/>
                  </a:lnTo>
                  <a:lnTo>
                    <a:pt x="38" y="70"/>
                  </a:lnTo>
                  <a:lnTo>
                    <a:pt x="38" y="70"/>
                  </a:lnTo>
                  <a:lnTo>
                    <a:pt x="42" y="72"/>
                  </a:lnTo>
                  <a:lnTo>
                    <a:pt x="44" y="74"/>
                  </a:lnTo>
                  <a:lnTo>
                    <a:pt x="44" y="80"/>
                  </a:lnTo>
                  <a:lnTo>
                    <a:pt x="44" y="88"/>
                  </a:lnTo>
                  <a:lnTo>
                    <a:pt x="46" y="98"/>
                  </a:lnTo>
                  <a:lnTo>
                    <a:pt x="46" y="98"/>
                  </a:lnTo>
                  <a:lnTo>
                    <a:pt x="46" y="102"/>
                  </a:lnTo>
                  <a:lnTo>
                    <a:pt x="50" y="102"/>
                  </a:lnTo>
                  <a:lnTo>
                    <a:pt x="56" y="100"/>
                  </a:lnTo>
                  <a:lnTo>
                    <a:pt x="56" y="100"/>
                  </a:lnTo>
                  <a:lnTo>
                    <a:pt x="58" y="96"/>
                  </a:lnTo>
                  <a:lnTo>
                    <a:pt x="60" y="92"/>
                  </a:lnTo>
                  <a:lnTo>
                    <a:pt x="60" y="86"/>
                  </a:lnTo>
                  <a:lnTo>
                    <a:pt x="66" y="82"/>
                  </a:lnTo>
                  <a:lnTo>
                    <a:pt x="66" y="82"/>
                  </a:lnTo>
                  <a:lnTo>
                    <a:pt x="72" y="80"/>
                  </a:lnTo>
                  <a:lnTo>
                    <a:pt x="78" y="80"/>
                  </a:lnTo>
                  <a:lnTo>
                    <a:pt x="82" y="80"/>
                  </a:lnTo>
                  <a:lnTo>
                    <a:pt x="86" y="80"/>
                  </a:lnTo>
                  <a:lnTo>
                    <a:pt x="86" y="80"/>
                  </a:lnTo>
                  <a:lnTo>
                    <a:pt x="90" y="78"/>
                  </a:lnTo>
                  <a:lnTo>
                    <a:pt x="96" y="78"/>
                  </a:lnTo>
                  <a:lnTo>
                    <a:pt x="100" y="80"/>
                  </a:lnTo>
                  <a:lnTo>
                    <a:pt x="104" y="84"/>
                  </a:lnTo>
                  <a:lnTo>
                    <a:pt x="104" y="84"/>
                  </a:lnTo>
                  <a:lnTo>
                    <a:pt x="106" y="86"/>
                  </a:lnTo>
                  <a:lnTo>
                    <a:pt x="110" y="88"/>
                  </a:lnTo>
                  <a:lnTo>
                    <a:pt x="124" y="92"/>
                  </a:lnTo>
                  <a:lnTo>
                    <a:pt x="140" y="96"/>
                  </a:lnTo>
                  <a:lnTo>
                    <a:pt x="146" y="98"/>
                  </a:lnTo>
                  <a:lnTo>
                    <a:pt x="152" y="102"/>
                  </a:lnTo>
                  <a:lnTo>
                    <a:pt x="152" y="102"/>
                  </a:lnTo>
                  <a:lnTo>
                    <a:pt x="160" y="108"/>
                  </a:lnTo>
                  <a:lnTo>
                    <a:pt x="164" y="108"/>
                  </a:lnTo>
                  <a:lnTo>
                    <a:pt x="170" y="108"/>
                  </a:lnTo>
                  <a:lnTo>
                    <a:pt x="176" y="110"/>
                  </a:lnTo>
                  <a:lnTo>
                    <a:pt x="176" y="110"/>
                  </a:lnTo>
                  <a:lnTo>
                    <a:pt x="182" y="114"/>
                  </a:lnTo>
                  <a:lnTo>
                    <a:pt x="184" y="118"/>
                  </a:lnTo>
                  <a:lnTo>
                    <a:pt x="184" y="120"/>
                  </a:lnTo>
                  <a:lnTo>
                    <a:pt x="186" y="124"/>
                  </a:lnTo>
                  <a:lnTo>
                    <a:pt x="186" y="124"/>
                  </a:lnTo>
                  <a:lnTo>
                    <a:pt x="190" y="128"/>
                  </a:lnTo>
                  <a:lnTo>
                    <a:pt x="194" y="136"/>
                  </a:lnTo>
                  <a:lnTo>
                    <a:pt x="194" y="136"/>
                  </a:lnTo>
                  <a:lnTo>
                    <a:pt x="198" y="140"/>
                  </a:lnTo>
                  <a:lnTo>
                    <a:pt x="202" y="142"/>
                  </a:lnTo>
                  <a:lnTo>
                    <a:pt x="206" y="142"/>
                  </a:lnTo>
                  <a:lnTo>
                    <a:pt x="206" y="142"/>
                  </a:lnTo>
                  <a:lnTo>
                    <a:pt x="212" y="142"/>
                  </a:lnTo>
                  <a:lnTo>
                    <a:pt x="214" y="144"/>
                  </a:lnTo>
                  <a:lnTo>
                    <a:pt x="218" y="148"/>
                  </a:lnTo>
                  <a:lnTo>
                    <a:pt x="222" y="152"/>
                  </a:lnTo>
                  <a:lnTo>
                    <a:pt x="222" y="152"/>
                  </a:lnTo>
                  <a:lnTo>
                    <a:pt x="222" y="150"/>
                  </a:lnTo>
                  <a:lnTo>
                    <a:pt x="228" y="144"/>
                  </a:lnTo>
                  <a:lnTo>
                    <a:pt x="228" y="144"/>
                  </a:lnTo>
                  <a:lnTo>
                    <a:pt x="230" y="140"/>
                  </a:lnTo>
                  <a:lnTo>
                    <a:pt x="230" y="138"/>
                  </a:lnTo>
                  <a:lnTo>
                    <a:pt x="230" y="134"/>
                  </a:lnTo>
                  <a:lnTo>
                    <a:pt x="236" y="132"/>
                  </a:lnTo>
                  <a:lnTo>
                    <a:pt x="236" y="132"/>
                  </a:lnTo>
                  <a:lnTo>
                    <a:pt x="248" y="126"/>
                  </a:lnTo>
                  <a:lnTo>
                    <a:pt x="252" y="124"/>
                  </a:lnTo>
                  <a:lnTo>
                    <a:pt x="252" y="120"/>
                  </a:lnTo>
                  <a:lnTo>
                    <a:pt x="252" y="120"/>
                  </a:lnTo>
                  <a:lnTo>
                    <a:pt x="252" y="110"/>
                  </a:lnTo>
                  <a:lnTo>
                    <a:pt x="254" y="106"/>
                  </a:lnTo>
                  <a:lnTo>
                    <a:pt x="256" y="102"/>
                  </a:lnTo>
                  <a:lnTo>
                    <a:pt x="256" y="102"/>
                  </a:lnTo>
                  <a:lnTo>
                    <a:pt x="260" y="102"/>
                  </a:lnTo>
                  <a:lnTo>
                    <a:pt x="262" y="100"/>
                  </a:lnTo>
                  <a:lnTo>
                    <a:pt x="264" y="98"/>
                  </a:lnTo>
                  <a:lnTo>
                    <a:pt x="270" y="96"/>
                  </a:lnTo>
                  <a:lnTo>
                    <a:pt x="270" y="96"/>
                  </a:lnTo>
                  <a:lnTo>
                    <a:pt x="268" y="90"/>
                  </a:lnTo>
                  <a:lnTo>
                    <a:pt x="268" y="84"/>
                  </a:lnTo>
                  <a:lnTo>
                    <a:pt x="268" y="80"/>
                  </a:lnTo>
                  <a:lnTo>
                    <a:pt x="264" y="78"/>
                  </a:lnTo>
                  <a:lnTo>
                    <a:pt x="264" y="78"/>
                  </a:lnTo>
                  <a:lnTo>
                    <a:pt x="260" y="78"/>
                  </a:lnTo>
                  <a:lnTo>
                    <a:pt x="258" y="76"/>
                  </a:lnTo>
                  <a:lnTo>
                    <a:pt x="252" y="76"/>
                  </a:lnTo>
                  <a:lnTo>
                    <a:pt x="244" y="74"/>
                  </a:lnTo>
                  <a:lnTo>
                    <a:pt x="244" y="74"/>
                  </a:lnTo>
                  <a:lnTo>
                    <a:pt x="236" y="74"/>
                  </a:lnTo>
                  <a:lnTo>
                    <a:pt x="230" y="70"/>
                  </a:lnTo>
                  <a:lnTo>
                    <a:pt x="224" y="66"/>
                  </a:lnTo>
                  <a:lnTo>
                    <a:pt x="208" y="60"/>
                  </a:lnTo>
                  <a:lnTo>
                    <a:pt x="208" y="60"/>
                  </a:lnTo>
                  <a:lnTo>
                    <a:pt x="188" y="52"/>
                  </a:lnTo>
                  <a:lnTo>
                    <a:pt x="176" y="44"/>
                  </a:lnTo>
                  <a:lnTo>
                    <a:pt x="168" y="36"/>
                  </a:lnTo>
                  <a:lnTo>
                    <a:pt x="158" y="22"/>
                  </a:lnTo>
                  <a:lnTo>
                    <a:pt x="158" y="22"/>
                  </a:lnTo>
                  <a:lnTo>
                    <a:pt x="154" y="20"/>
                  </a:lnTo>
                  <a:lnTo>
                    <a:pt x="152" y="20"/>
                  </a:lnTo>
                  <a:lnTo>
                    <a:pt x="140" y="24"/>
                  </a:lnTo>
                  <a:lnTo>
                    <a:pt x="140" y="24"/>
                  </a:lnTo>
                  <a:lnTo>
                    <a:pt x="134" y="24"/>
                  </a:lnTo>
                  <a:lnTo>
                    <a:pt x="130" y="22"/>
                  </a:lnTo>
                  <a:lnTo>
                    <a:pt x="128" y="18"/>
                  </a:lnTo>
                  <a:lnTo>
                    <a:pt x="128" y="14"/>
                  </a:lnTo>
                  <a:lnTo>
                    <a:pt x="128" y="14"/>
                  </a:lnTo>
                  <a:lnTo>
                    <a:pt x="128" y="12"/>
                  </a:lnTo>
                  <a:lnTo>
                    <a:pt x="126" y="10"/>
                  </a:lnTo>
                  <a:lnTo>
                    <a:pt x="120" y="6"/>
                  </a:lnTo>
                  <a:lnTo>
                    <a:pt x="112" y="2"/>
                  </a:lnTo>
                  <a:lnTo>
                    <a:pt x="104" y="0"/>
                  </a:lnTo>
                  <a:lnTo>
                    <a:pt x="104" y="0"/>
                  </a:lnTo>
                  <a:lnTo>
                    <a:pt x="100" y="0"/>
                  </a:lnTo>
                  <a:lnTo>
                    <a:pt x="102" y="2"/>
                  </a:lnTo>
                  <a:lnTo>
                    <a:pt x="102" y="4"/>
                  </a:lnTo>
                  <a:lnTo>
                    <a:pt x="96" y="4"/>
                  </a:lnTo>
                  <a:lnTo>
                    <a:pt x="96" y="4"/>
                  </a:lnTo>
                  <a:lnTo>
                    <a:pt x="92" y="4"/>
                  </a:lnTo>
                  <a:lnTo>
                    <a:pt x="90" y="6"/>
                  </a:lnTo>
                  <a:lnTo>
                    <a:pt x="88" y="8"/>
                  </a:lnTo>
                  <a:lnTo>
                    <a:pt x="84" y="10"/>
                  </a:lnTo>
                  <a:lnTo>
                    <a:pt x="84" y="10"/>
                  </a:lnTo>
                  <a:lnTo>
                    <a:pt x="80" y="14"/>
                  </a:lnTo>
                  <a:lnTo>
                    <a:pt x="78" y="16"/>
                  </a:lnTo>
                  <a:lnTo>
                    <a:pt x="80" y="22"/>
                  </a:lnTo>
                  <a:lnTo>
                    <a:pt x="80" y="26"/>
                  </a:lnTo>
                  <a:lnTo>
                    <a:pt x="80" y="26"/>
                  </a:lnTo>
                  <a:lnTo>
                    <a:pt x="76" y="28"/>
                  </a:lnTo>
                  <a:lnTo>
                    <a:pt x="70" y="28"/>
                  </a:lnTo>
                  <a:lnTo>
                    <a:pt x="70" y="28"/>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Kyrgyzstan"/>
            <p:cNvSpPr>
              <a:spLocks/>
            </p:cNvSpPr>
            <p:nvPr/>
          </p:nvSpPr>
          <p:spPr bwMode="auto">
            <a:xfrm>
              <a:off x="5898851" y="2226469"/>
              <a:ext cx="254000" cy="108479"/>
            </a:xfrm>
            <a:custGeom>
              <a:avLst/>
              <a:gdLst/>
              <a:ahLst/>
              <a:cxnLst>
                <a:cxn ang="0">
                  <a:pos x="30" y="68"/>
                </a:cxn>
                <a:cxn ang="0">
                  <a:pos x="20" y="70"/>
                </a:cxn>
                <a:cxn ang="0">
                  <a:pos x="8" y="70"/>
                </a:cxn>
                <a:cxn ang="0">
                  <a:pos x="0" y="76"/>
                </a:cxn>
                <a:cxn ang="0">
                  <a:pos x="10" y="78"/>
                </a:cxn>
                <a:cxn ang="0">
                  <a:pos x="22" y="78"/>
                </a:cxn>
                <a:cxn ang="0">
                  <a:pos x="36" y="78"/>
                </a:cxn>
                <a:cxn ang="0">
                  <a:pos x="46" y="80"/>
                </a:cxn>
                <a:cxn ang="0">
                  <a:pos x="90" y="76"/>
                </a:cxn>
                <a:cxn ang="0">
                  <a:pos x="94" y="52"/>
                </a:cxn>
                <a:cxn ang="0">
                  <a:pos x="106" y="46"/>
                </a:cxn>
                <a:cxn ang="0">
                  <a:pos x="112" y="44"/>
                </a:cxn>
                <a:cxn ang="0">
                  <a:pos x="122" y="46"/>
                </a:cxn>
                <a:cxn ang="0">
                  <a:pos x="132" y="48"/>
                </a:cxn>
                <a:cxn ang="0">
                  <a:pos x="138" y="38"/>
                </a:cxn>
                <a:cxn ang="0">
                  <a:pos x="150" y="34"/>
                </a:cxn>
                <a:cxn ang="0">
                  <a:pos x="158" y="34"/>
                </a:cxn>
                <a:cxn ang="0">
                  <a:pos x="172" y="26"/>
                </a:cxn>
                <a:cxn ang="0">
                  <a:pos x="176" y="22"/>
                </a:cxn>
                <a:cxn ang="0">
                  <a:pos x="186" y="16"/>
                </a:cxn>
                <a:cxn ang="0">
                  <a:pos x="192" y="12"/>
                </a:cxn>
                <a:cxn ang="0">
                  <a:pos x="186" y="14"/>
                </a:cxn>
                <a:cxn ang="0">
                  <a:pos x="178" y="10"/>
                </a:cxn>
                <a:cxn ang="0">
                  <a:pos x="166" y="8"/>
                </a:cxn>
                <a:cxn ang="0">
                  <a:pos x="162" y="6"/>
                </a:cxn>
                <a:cxn ang="0">
                  <a:pos x="104" y="6"/>
                </a:cxn>
                <a:cxn ang="0">
                  <a:pos x="82" y="0"/>
                </a:cxn>
                <a:cxn ang="0">
                  <a:pos x="72" y="6"/>
                </a:cxn>
                <a:cxn ang="0">
                  <a:pos x="70" y="10"/>
                </a:cxn>
                <a:cxn ang="0">
                  <a:pos x="52" y="6"/>
                </a:cxn>
                <a:cxn ang="0">
                  <a:pos x="40" y="8"/>
                </a:cxn>
                <a:cxn ang="0">
                  <a:pos x="26" y="16"/>
                </a:cxn>
                <a:cxn ang="0">
                  <a:pos x="32" y="18"/>
                </a:cxn>
                <a:cxn ang="0">
                  <a:pos x="24" y="32"/>
                </a:cxn>
                <a:cxn ang="0">
                  <a:pos x="14" y="48"/>
                </a:cxn>
                <a:cxn ang="0">
                  <a:pos x="20" y="44"/>
                </a:cxn>
                <a:cxn ang="0">
                  <a:pos x="32" y="44"/>
                </a:cxn>
                <a:cxn ang="0">
                  <a:pos x="42" y="44"/>
                </a:cxn>
                <a:cxn ang="0">
                  <a:pos x="50" y="38"/>
                </a:cxn>
                <a:cxn ang="0">
                  <a:pos x="56" y="42"/>
                </a:cxn>
                <a:cxn ang="0">
                  <a:pos x="68" y="50"/>
                </a:cxn>
                <a:cxn ang="0">
                  <a:pos x="78" y="52"/>
                </a:cxn>
                <a:cxn ang="0">
                  <a:pos x="78" y="54"/>
                </a:cxn>
                <a:cxn ang="0">
                  <a:pos x="50" y="64"/>
                </a:cxn>
                <a:cxn ang="0">
                  <a:pos x="40" y="64"/>
                </a:cxn>
                <a:cxn ang="0">
                  <a:pos x="30" y="64"/>
                </a:cxn>
              </a:cxnLst>
              <a:rect l="0" t="0" r="r" b="b"/>
              <a:pathLst>
                <a:path w="192" h="82">
                  <a:moveTo>
                    <a:pt x="30" y="64"/>
                  </a:moveTo>
                  <a:lnTo>
                    <a:pt x="30" y="64"/>
                  </a:lnTo>
                  <a:lnTo>
                    <a:pt x="30" y="68"/>
                  </a:lnTo>
                  <a:lnTo>
                    <a:pt x="28" y="72"/>
                  </a:lnTo>
                  <a:lnTo>
                    <a:pt x="24" y="72"/>
                  </a:lnTo>
                  <a:lnTo>
                    <a:pt x="20" y="70"/>
                  </a:lnTo>
                  <a:lnTo>
                    <a:pt x="20" y="70"/>
                  </a:lnTo>
                  <a:lnTo>
                    <a:pt x="14" y="70"/>
                  </a:lnTo>
                  <a:lnTo>
                    <a:pt x="8" y="70"/>
                  </a:lnTo>
                  <a:lnTo>
                    <a:pt x="2" y="72"/>
                  </a:lnTo>
                  <a:lnTo>
                    <a:pt x="0" y="76"/>
                  </a:lnTo>
                  <a:lnTo>
                    <a:pt x="0" y="76"/>
                  </a:lnTo>
                  <a:lnTo>
                    <a:pt x="0" y="78"/>
                  </a:lnTo>
                  <a:lnTo>
                    <a:pt x="2" y="78"/>
                  </a:lnTo>
                  <a:lnTo>
                    <a:pt x="10" y="78"/>
                  </a:lnTo>
                  <a:lnTo>
                    <a:pt x="18" y="78"/>
                  </a:lnTo>
                  <a:lnTo>
                    <a:pt x="22" y="78"/>
                  </a:lnTo>
                  <a:lnTo>
                    <a:pt x="22" y="78"/>
                  </a:lnTo>
                  <a:lnTo>
                    <a:pt x="26" y="80"/>
                  </a:lnTo>
                  <a:lnTo>
                    <a:pt x="32" y="78"/>
                  </a:lnTo>
                  <a:lnTo>
                    <a:pt x="36" y="78"/>
                  </a:lnTo>
                  <a:lnTo>
                    <a:pt x="40" y="78"/>
                  </a:lnTo>
                  <a:lnTo>
                    <a:pt x="40" y="78"/>
                  </a:lnTo>
                  <a:lnTo>
                    <a:pt x="46" y="80"/>
                  </a:lnTo>
                  <a:lnTo>
                    <a:pt x="58" y="82"/>
                  </a:lnTo>
                  <a:lnTo>
                    <a:pt x="74" y="80"/>
                  </a:lnTo>
                  <a:lnTo>
                    <a:pt x="90" y="76"/>
                  </a:lnTo>
                  <a:lnTo>
                    <a:pt x="90" y="76"/>
                  </a:lnTo>
                  <a:lnTo>
                    <a:pt x="92" y="62"/>
                  </a:lnTo>
                  <a:lnTo>
                    <a:pt x="94" y="52"/>
                  </a:lnTo>
                  <a:lnTo>
                    <a:pt x="100" y="46"/>
                  </a:lnTo>
                  <a:lnTo>
                    <a:pt x="104" y="46"/>
                  </a:lnTo>
                  <a:lnTo>
                    <a:pt x="106" y="46"/>
                  </a:lnTo>
                  <a:lnTo>
                    <a:pt x="106" y="46"/>
                  </a:lnTo>
                  <a:lnTo>
                    <a:pt x="112" y="48"/>
                  </a:lnTo>
                  <a:lnTo>
                    <a:pt x="112" y="44"/>
                  </a:lnTo>
                  <a:lnTo>
                    <a:pt x="112" y="44"/>
                  </a:lnTo>
                  <a:lnTo>
                    <a:pt x="114" y="44"/>
                  </a:lnTo>
                  <a:lnTo>
                    <a:pt x="122" y="46"/>
                  </a:lnTo>
                  <a:lnTo>
                    <a:pt x="122" y="46"/>
                  </a:lnTo>
                  <a:lnTo>
                    <a:pt x="130" y="48"/>
                  </a:lnTo>
                  <a:lnTo>
                    <a:pt x="132" y="48"/>
                  </a:lnTo>
                  <a:lnTo>
                    <a:pt x="132" y="46"/>
                  </a:lnTo>
                  <a:lnTo>
                    <a:pt x="134" y="40"/>
                  </a:lnTo>
                  <a:lnTo>
                    <a:pt x="138" y="38"/>
                  </a:lnTo>
                  <a:lnTo>
                    <a:pt x="142" y="36"/>
                  </a:lnTo>
                  <a:lnTo>
                    <a:pt x="142" y="36"/>
                  </a:lnTo>
                  <a:lnTo>
                    <a:pt x="150" y="34"/>
                  </a:lnTo>
                  <a:lnTo>
                    <a:pt x="152" y="36"/>
                  </a:lnTo>
                  <a:lnTo>
                    <a:pt x="154" y="36"/>
                  </a:lnTo>
                  <a:lnTo>
                    <a:pt x="158" y="34"/>
                  </a:lnTo>
                  <a:lnTo>
                    <a:pt x="158" y="34"/>
                  </a:lnTo>
                  <a:lnTo>
                    <a:pt x="166" y="28"/>
                  </a:lnTo>
                  <a:lnTo>
                    <a:pt x="172" y="26"/>
                  </a:lnTo>
                  <a:lnTo>
                    <a:pt x="174" y="24"/>
                  </a:lnTo>
                  <a:lnTo>
                    <a:pt x="176" y="22"/>
                  </a:lnTo>
                  <a:lnTo>
                    <a:pt x="176" y="22"/>
                  </a:lnTo>
                  <a:lnTo>
                    <a:pt x="176" y="18"/>
                  </a:lnTo>
                  <a:lnTo>
                    <a:pt x="180" y="18"/>
                  </a:lnTo>
                  <a:lnTo>
                    <a:pt x="186" y="16"/>
                  </a:lnTo>
                  <a:lnTo>
                    <a:pt x="190" y="16"/>
                  </a:lnTo>
                  <a:lnTo>
                    <a:pt x="192" y="14"/>
                  </a:lnTo>
                  <a:lnTo>
                    <a:pt x="192" y="12"/>
                  </a:lnTo>
                  <a:lnTo>
                    <a:pt x="192" y="12"/>
                  </a:lnTo>
                  <a:lnTo>
                    <a:pt x="188" y="16"/>
                  </a:lnTo>
                  <a:lnTo>
                    <a:pt x="186" y="14"/>
                  </a:lnTo>
                  <a:lnTo>
                    <a:pt x="184" y="10"/>
                  </a:lnTo>
                  <a:lnTo>
                    <a:pt x="182" y="10"/>
                  </a:lnTo>
                  <a:lnTo>
                    <a:pt x="178" y="10"/>
                  </a:lnTo>
                  <a:lnTo>
                    <a:pt x="178" y="10"/>
                  </a:lnTo>
                  <a:lnTo>
                    <a:pt x="170" y="10"/>
                  </a:lnTo>
                  <a:lnTo>
                    <a:pt x="166" y="8"/>
                  </a:lnTo>
                  <a:lnTo>
                    <a:pt x="166" y="6"/>
                  </a:lnTo>
                  <a:lnTo>
                    <a:pt x="162" y="6"/>
                  </a:lnTo>
                  <a:lnTo>
                    <a:pt x="162" y="6"/>
                  </a:lnTo>
                  <a:lnTo>
                    <a:pt x="152" y="6"/>
                  </a:lnTo>
                  <a:lnTo>
                    <a:pt x="136" y="6"/>
                  </a:lnTo>
                  <a:lnTo>
                    <a:pt x="104" y="6"/>
                  </a:lnTo>
                  <a:lnTo>
                    <a:pt x="104" y="6"/>
                  </a:lnTo>
                  <a:lnTo>
                    <a:pt x="92" y="4"/>
                  </a:lnTo>
                  <a:lnTo>
                    <a:pt x="82" y="0"/>
                  </a:lnTo>
                  <a:lnTo>
                    <a:pt x="74" y="0"/>
                  </a:lnTo>
                  <a:lnTo>
                    <a:pt x="72" y="2"/>
                  </a:lnTo>
                  <a:lnTo>
                    <a:pt x="72" y="6"/>
                  </a:lnTo>
                  <a:lnTo>
                    <a:pt x="72" y="6"/>
                  </a:lnTo>
                  <a:lnTo>
                    <a:pt x="70" y="10"/>
                  </a:lnTo>
                  <a:lnTo>
                    <a:pt x="70" y="10"/>
                  </a:lnTo>
                  <a:lnTo>
                    <a:pt x="64" y="10"/>
                  </a:lnTo>
                  <a:lnTo>
                    <a:pt x="56" y="8"/>
                  </a:lnTo>
                  <a:lnTo>
                    <a:pt x="52" y="6"/>
                  </a:lnTo>
                  <a:lnTo>
                    <a:pt x="48" y="8"/>
                  </a:lnTo>
                  <a:lnTo>
                    <a:pt x="48" y="8"/>
                  </a:lnTo>
                  <a:lnTo>
                    <a:pt x="40" y="8"/>
                  </a:lnTo>
                  <a:lnTo>
                    <a:pt x="38" y="8"/>
                  </a:lnTo>
                  <a:lnTo>
                    <a:pt x="34" y="8"/>
                  </a:lnTo>
                  <a:lnTo>
                    <a:pt x="26" y="16"/>
                  </a:lnTo>
                  <a:lnTo>
                    <a:pt x="26" y="16"/>
                  </a:lnTo>
                  <a:lnTo>
                    <a:pt x="30" y="16"/>
                  </a:lnTo>
                  <a:lnTo>
                    <a:pt x="32" y="18"/>
                  </a:lnTo>
                  <a:lnTo>
                    <a:pt x="30" y="24"/>
                  </a:lnTo>
                  <a:lnTo>
                    <a:pt x="24" y="32"/>
                  </a:lnTo>
                  <a:lnTo>
                    <a:pt x="24" y="32"/>
                  </a:lnTo>
                  <a:lnTo>
                    <a:pt x="16" y="42"/>
                  </a:lnTo>
                  <a:lnTo>
                    <a:pt x="14" y="46"/>
                  </a:lnTo>
                  <a:lnTo>
                    <a:pt x="14" y="48"/>
                  </a:lnTo>
                  <a:lnTo>
                    <a:pt x="16" y="48"/>
                  </a:lnTo>
                  <a:lnTo>
                    <a:pt x="20" y="44"/>
                  </a:lnTo>
                  <a:lnTo>
                    <a:pt x="20" y="44"/>
                  </a:lnTo>
                  <a:lnTo>
                    <a:pt x="24" y="42"/>
                  </a:lnTo>
                  <a:lnTo>
                    <a:pt x="28" y="42"/>
                  </a:lnTo>
                  <a:lnTo>
                    <a:pt x="32" y="44"/>
                  </a:lnTo>
                  <a:lnTo>
                    <a:pt x="36" y="46"/>
                  </a:lnTo>
                  <a:lnTo>
                    <a:pt x="40" y="46"/>
                  </a:lnTo>
                  <a:lnTo>
                    <a:pt x="42" y="44"/>
                  </a:lnTo>
                  <a:lnTo>
                    <a:pt x="42" y="44"/>
                  </a:lnTo>
                  <a:lnTo>
                    <a:pt x="48" y="38"/>
                  </a:lnTo>
                  <a:lnTo>
                    <a:pt x="50" y="38"/>
                  </a:lnTo>
                  <a:lnTo>
                    <a:pt x="54" y="38"/>
                  </a:lnTo>
                  <a:lnTo>
                    <a:pt x="56" y="42"/>
                  </a:lnTo>
                  <a:lnTo>
                    <a:pt x="56" y="42"/>
                  </a:lnTo>
                  <a:lnTo>
                    <a:pt x="58" y="46"/>
                  </a:lnTo>
                  <a:lnTo>
                    <a:pt x="62" y="46"/>
                  </a:lnTo>
                  <a:lnTo>
                    <a:pt x="68" y="50"/>
                  </a:lnTo>
                  <a:lnTo>
                    <a:pt x="68" y="50"/>
                  </a:lnTo>
                  <a:lnTo>
                    <a:pt x="72" y="50"/>
                  </a:lnTo>
                  <a:lnTo>
                    <a:pt x="78" y="52"/>
                  </a:lnTo>
                  <a:lnTo>
                    <a:pt x="82" y="52"/>
                  </a:lnTo>
                  <a:lnTo>
                    <a:pt x="78" y="54"/>
                  </a:lnTo>
                  <a:lnTo>
                    <a:pt x="78" y="54"/>
                  </a:lnTo>
                  <a:lnTo>
                    <a:pt x="62" y="62"/>
                  </a:lnTo>
                  <a:lnTo>
                    <a:pt x="56" y="64"/>
                  </a:lnTo>
                  <a:lnTo>
                    <a:pt x="50" y="64"/>
                  </a:lnTo>
                  <a:lnTo>
                    <a:pt x="50" y="64"/>
                  </a:lnTo>
                  <a:lnTo>
                    <a:pt x="44" y="62"/>
                  </a:lnTo>
                  <a:lnTo>
                    <a:pt x="40" y="64"/>
                  </a:lnTo>
                  <a:lnTo>
                    <a:pt x="36" y="64"/>
                  </a:lnTo>
                  <a:lnTo>
                    <a:pt x="30" y="64"/>
                  </a:lnTo>
                  <a:lnTo>
                    <a:pt x="30" y="64"/>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Afghanistan"/>
            <p:cNvSpPr>
              <a:spLocks/>
            </p:cNvSpPr>
            <p:nvPr/>
          </p:nvSpPr>
          <p:spPr bwMode="auto">
            <a:xfrm>
              <a:off x="5729518" y="2350823"/>
              <a:ext cx="328083" cy="275167"/>
            </a:xfrm>
            <a:custGeom>
              <a:avLst/>
              <a:gdLst/>
              <a:ahLst/>
              <a:cxnLst>
                <a:cxn ang="0">
                  <a:pos x="74" y="22"/>
                </a:cxn>
                <a:cxn ang="0">
                  <a:pos x="66" y="28"/>
                </a:cxn>
                <a:cxn ang="0">
                  <a:pos x="64" y="46"/>
                </a:cxn>
                <a:cxn ang="0">
                  <a:pos x="42" y="56"/>
                </a:cxn>
                <a:cxn ang="0">
                  <a:pos x="40" y="66"/>
                </a:cxn>
                <a:cxn ang="0">
                  <a:pos x="30" y="70"/>
                </a:cxn>
                <a:cxn ang="0">
                  <a:pos x="18" y="64"/>
                </a:cxn>
                <a:cxn ang="0">
                  <a:pos x="6" y="58"/>
                </a:cxn>
                <a:cxn ang="0">
                  <a:pos x="6" y="70"/>
                </a:cxn>
                <a:cxn ang="0">
                  <a:pos x="10" y="80"/>
                </a:cxn>
                <a:cxn ang="0">
                  <a:pos x="0" y="96"/>
                </a:cxn>
                <a:cxn ang="0">
                  <a:pos x="6" y="108"/>
                </a:cxn>
                <a:cxn ang="0">
                  <a:pos x="10" y="126"/>
                </a:cxn>
                <a:cxn ang="0">
                  <a:pos x="12" y="150"/>
                </a:cxn>
                <a:cxn ang="0">
                  <a:pos x="24" y="154"/>
                </a:cxn>
                <a:cxn ang="0">
                  <a:pos x="40" y="164"/>
                </a:cxn>
                <a:cxn ang="0">
                  <a:pos x="36" y="192"/>
                </a:cxn>
                <a:cxn ang="0">
                  <a:pos x="60" y="206"/>
                </a:cxn>
                <a:cxn ang="0">
                  <a:pos x="88" y="208"/>
                </a:cxn>
                <a:cxn ang="0">
                  <a:pos x="140" y="192"/>
                </a:cxn>
                <a:cxn ang="0">
                  <a:pos x="136" y="186"/>
                </a:cxn>
                <a:cxn ang="0">
                  <a:pos x="134" y="180"/>
                </a:cxn>
                <a:cxn ang="0">
                  <a:pos x="144" y="164"/>
                </a:cxn>
                <a:cxn ang="0">
                  <a:pos x="156" y="166"/>
                </a:cxn>
                <a:cxn ang="0">
                  <a:pos x="160" y="158"/>
                </a:cxn>
                <a:cxn ang="0">
                  <a:pos x="170" y="152"/>
                </a:cxn>
                <a:cxn ang="0">
                  <a:pos x="176" y="142"/>
                </a:cxn>
                <a:cxn ang="0">
                  <a:pos x="170" y="126"/>
                </a:cxn>
                <a:cxn ang="0">
                  <a:pos x="182" y="118"/>
                </a:cxn>
                <a:cxn ang="0">
                  <a:pos x="184" y="110"/>
                </a:cxn>
                <a:cxn ang="0">
                  <a:pos x="174" y="102"/>
                </a:cxn>
                <a:cxn ang="0">
                  <a:pos x="186" y="100"/>
                </a:cxn>
                <a:cxn ang="0">
                  <a:pos x="218" y="100"/>
                </a:cxn>
                <a:cxn ang="0">
                  <a:pos x="214" y="94"/>
                </a:cxn>
                <a:cxn ang="0">
                  <a:pos x="210" y="78"/>
                </a:cxn>
                <a:cxn ang="0">
                  <a:pos x="206" y="66"/>
                </a:cxn>
                <a:cxn ang="0">
                  <a:pos x="204" y="48"/>
                </a:cxn>
                <a:cxn ang="0">
                  <a:pos x="218" y="42"/>
                </a:cxn>
                <a:cxn ang="0">
                  <a:pos x="224" y="34"/>
                </a:cxn>
                <a:cxn ang="0">
                  <a:pos x="242" y="26"/>
                </a:cxn>
                <a:cxn ang="0">
                  <a:pos x="248" y="20"/>
                </a:cxn>
                <a:cxn ang="0">
                  <a:pos x="230" y="24"/>
                </a:cxn>
                <a:cxn ang="0">
                  <a:pos x="226" y="22"/>
                </a:cxn>
                <a:cxn ang="0">
                  <a:pos x="224" y="20"/>
                </a:cxn>
                <a:cxn ang="0">
                  <a:pos x="212" y="28"/>
                </a:cxn>
                <a:cxn ang="0">
                  <a:pos x="198" y="30"/>
                </a:cxn>
                <a:cxn ang="0">
                  <a:pos x="186" y="12"/>
                </a:cxn>
                <a:cxn ang="0">
                  <a:pos x="180" y="10"/>
                </a:cxn>
                <a:cxn ang="0">
                  <a:pos x="180" y="0"/>
                </a:cxn>
                <a:cxn ang="0">
                  <a:pos x="166" y="6"/>
                </a:cxn>
                <a:cxn ang="0">
                  <a:pos x="164" y="12"/>
                </a:cxn>
                <a:cxn ang="0">
                  <a:pos x="156" y="14"/>
                </a:cxn>
                <a:cxn ang="0">
                  <a:pos x="156" y="20"/>
                </a:cxn>
                <a:cxn ang="0">
                  <a:pos x="144" y="22"/>
                </a:cxn>
                <a:cxn ang="0">
                  <a:pos x="128" y="24"/>
                </a:cxn>
                <a:cxn ang="0">
                  <a:pos x="118" y="18"/>
                </a:cxn>
                <a:cxn ang="0">
                  <a:pos x="104" y="20"/>
                </a:cxn>
                <a:cxn ang="0">
                  <a:pos x="92" y="20"/>
                </a:cxn>
              </a:cxnLst>
              <a:rect l="0" t="0" r="r" b="b"/>
              <a:pathLst>
                <a:path w="248" h="208">
                  <a:moveTo>
                    <a:pt x="82" y="18"/>
                  </a:moveTo>
                  <a:lnTo>
                    <a:pt x="82" y="18"/>
                  </a:lnTo>
                  <a:lnTo>
                    <a:pt x="76" y="20"/>
                  </a:lnTo>
                  <a:lnTo>
                    <a:pt x="74" y="22"/>
                  </a:lnTo>
                  <a:lnTo>
                    <a:pt x="72" y="24"/>
                  </a:lnTo>
                  <a:lnTo>
                    <a:pt x="68" y="24"/>
                  </a:lnTo>
                  <a:lnTo>
                    <a:pt x="68" y="24"/>
                  </a:lnTo>
                  <a:lnTo>
                    <a:pt x="66" y="28"/>
                  </a:lnTo>
                  <a:lnTo>
                    <a:pt x="64" y="32"/>
                  </a:lnTo>
                  <a:lnTo>
                    <a:pt x="64" y="42"/>
                  </a:lnTo>
                  <a:lnTo>
                    <a:pt x="64" y="42"/>
                  </a:lnTo>
                  <a:lnTo>
                    <a:pt x="64" y="46"/>
                  </a:lnTo>
                  <a:lnTo>
                    <a:pt x="60" y="48"/>
                  </a:lnTo>
                  <a:lnTo>
                    <a:pt x="48" y="54"/>
                  </a:lnTo>
                  <a:lnTo>
                    <a:pt x="48" y="54"/>
                  </a:lnTo>
                  <a:lnTo>
                    <a:pt x="42" y="56"/>
                  </a:lnTo>
                  <a:lnTo>
                    <a:pt x="42" y="60"/>
                  </a:lnTo>
                  <a:lnTo>
                    <a:pt x="42" y="62"/>
                  </a:lnTo>
                  <a:lnTo>
                    <a:pt x="40" y="66"/>
                  </a:lnTo>
                  <a:lnTo>
                    <a:pt x="40" y="66"/>
                  </a:lnTo>
                  <a:lnTo>
                    <a:pt x="34" y="72"/>
                  </a:lnTo>
                  <a:lnTo>
                    <a:pt x="34" y="74"/>
                  </a:lnTo>
                  <a:lnTo>
                    <a:pt x="34" y="74"/>
                  </a:lnTo>
                  <a:lnTo>
                    <a:pt x="30" y="70"/>
                  </a:lnTo>
                  <a:lnTo>
                    <a:pt x="26" y="66"/>
                  </a:lnTo>
                  <a:lnTo>
                    <a:pt x="24" y="64"/>
                  </a:lnTo>
                  <a:lnTo>
                    <a:pt x="18" y="64"/>
                  </a:lnTo>
                  <a:lnTo>
                    <a:pt x="18" y="64"/>
                  </a:lnTo>
                  <a:lnTo>
                    <a:pt x="14" y="64"/>
                  </a:lnTo>
                  <a:lnTo>
                    <a:pt x="10" y="62"/>
                  </a:lnTo>
                  <a:lnTo>
                    <a:pt x="6" y="58"/>
                  </a:lnTo>
                  <a:lnTo>
                    <a:pt x="6" y="58"/>
                  </a:lnTo>
                  <a:lnTo>
                    <a:pt x="6" y="62"/>
                  </a:lnTo>
                  <a:lnTo>
                    <a:pt x="6" y="62"/>
                  </a:lnTo>
                  <a:lnTo>
                    <a:pt x="8" y="66"/>
                  </a:lnTo>
                  <a:lnTo>
                    <a:pt x="6" y="70"/>
                  </a:lnTo>
                  <a:lnTo>
                    <a:pt x="6" y="70"/>
                  </a:lnTo>
                  <a:lnTo>
                    <a:pt x="6" y="74"/>
                  </a:lnTo>
                  <a:lnTo>
                    <a:pt x="8" y="78"/>
                  </a:lnTo>
                  <a:lnTo>
                    <a:pt x="10" y="80"/>
                  </a:lnTo>
                  <a:lnTo>
                    <a:pt x="8" y="86"/>
                  </a:lnTo>
                  <a:lnTo>
                    <a:pt x="8" y="86"/>
                  </a:lnTo>
                  <a:lnTo>
                    <a:pt x="4" y="92"/>
                  </a:lnTo>
                  <a:lnTo>
                    <a:pt x="0" y="96"/>
                  </a:lnTo>
                  <a:lnTo>
                    <a:pt x="0" y="98"/>
                  </a:lnTo>
                  <a:lnTo>
                    <a:pt x="2" y="102"/>
                  </a:lnTo>
                  <a:lnTo>
                    <a:pt x="2" y="102"/>
                  </a:lnTo>
                  <a:lnTo>
                    <a:pt x="6" y="108"/>
                  </a:lnTo>
                  <a:lnTo>
                    <a:pt x="6" y="114"/>
                  </a:lnTo>
                  <a:lnTo>
                    <a:pt x="6" y="118"/>
                  </a:lnTo>
                  <a:lnTo>
                    <a:pt x="10" y="126"/>
                  </a:lnTo>
                  <a:lnTo>
                    <a:pt x="10" y="126"/>
                  </a:lnTo>
                  <a:lnTo>
                    <a:pt x="12" y="130"/>
                  </a:lnTo>
                  <a:lnTo>
                    <a:pt x="12" y="136"/>
                  </a:lnTo>
                  <a:lnTo>
                    <a:pt x="12" y="146"/>
                  </a:lnTo>
                  <a:lnTo>
                    <a:pt x="12" y="150"/>
                  </a:lnTo>
                  <a:lnTo>
                    <a:pt x="14" y="152"/>
                  </a:lnTo>
                  <a:lnTo>
                    <a:pt x="16" y="154"/>
                  </a:lnTo>
                  <a:lnTo>
                    <a:pt x="24" y="154"/>
                  </a:lnTo>
                  <a:lnTo>
                    <a:pt x="24" y="154"/>
                  </a:lnTo>
                  <a:lnTo>
                    <a:pt x="32" y="154"/>
                  </a:lnTo>
                  <a:lnTo>
                    <a:pt x="36" y="156"/>
                  </a:lnTo>
                  <a:lnTo>
                    <a:pt x="38" y="158"/>
                  </a:lnTo>
                  <a:lnTo>
                    <a:pt x="40" y="164"/>
                  </a:lnTo>
                  <a:lnTo>
                    <a:pt x="36" y="176"/>
                  </a:lnTo>
                  <a:lnTo>
                    <a:pt x="30" y="190"/>
                  </a:lnTo>
                  <a:lnTo>
                    <a:pt x="30" y="190"/>
                  </a:lnTo>
                  <a:lnTo>
                    <a:pt x="36" y="192"/>
                  </a:lnTo>
                  <a:lnTo>
                    <a:pt x="44" y="198"/>
                  </a:lnTo>
                  <a:lnTo>
                    <a:pt x="44" y="198"/>
                  </a:lnTo>
                  <a:lnTo>
                    <a:pt x="52" y="202"/>
                  </a:lnTo>
                  <a:lnTo>
                    <a:pt x="60" y="206"/>
                  </a:lnTo>
                  <a:lnTo>
                    <a:pt x="70" y="206"/>
                  </a:lnTo>
                  <a:lnTo>
                    <a:pt x="80" y="206"/>
                  </a:lnTo>
                  <a:lnTo>
                    <a:pt x="80" y="206"/>
                  </a:lnTo>
                  <a:lnTo>
                    <a:pt x="88" y="208"/>
                  </a:lnTo>
                  <a:lnTo>
                    <a:pt x="100" y="206"/>
                  </a:lnTo>
                  <a:lnTo>
                    <a:pt x="124" y="200"/>
                  </a:lnTo>
                  <a:lnTo>
                    <a:pt x="124" y="200"/>
                  </a:lnTo>
                  <a:lnTo>
                    <a:pt x="140" y="192"/>
                  </a:lnTo>
                  <a:lnTo>
                    <a:pt x="142" y="190"/>
                  </a:lnTo>
                  <a:lnTo>
                    <a:pt x="138" y="188"/>
                  </a:lnTo>
                  <a:lnTo>
                    <a:pt x="138" y="188"/>
                  </a:lnTo>
                  <a:lnTo>
                    <a:pt x="136" y="186"/>
                  </a:lnTo>
                  <a:lnTo>
                    <a:pt x="136" y="186"/>
                  </a:lnTo>
                  <a:lnTo>
                    <a:pt x="136" y="184"/>
                  </a:lnTo>
                  <a:lnTo>
                    <a:pt x="134" y="180"/>
                  </a:lnTo>
                  <a:lnTo>
                    <a:pt x="134" y="180"/>
                  </a:lnTo>
                  <a:lnTo>
                    <a:pt x="134" y="178"/>
                  </a:lnTo>
                  <a:lnTo>
                    <a:pt x="134" y="174"/>
                  </a:lnTo>
                  <a:lnTo>
                    <a:pt x="138" y="168"/>
                  </a:lnTo>
                  <a:lnTo>
                    <a:pt x="144" y="164"/>
                  </a:lnTo>
                  <a:lnTo>
                    <a:pt x="148" y="164"/>
                  </a:lnTo>
                  <a:lnTo>
                    <a:pt x="152" y="164"/>
                  </a:lnTo>
                  <a:lnTo>
                    <a:pt x="152" y="164"/>
                  </a:lnTo>
                  <a:lnTo>
                    <a:pt x="156" y="166"/>
                  </a:lnTo>
                  <a:lnTo>
                    <a:pt x="158" y="164"/>
                  </a:lnTo>
                  <a:lnTo>
                    <a:pt x="162" y="162"/>
                  </a:lnTo>
                  <a:lnTo>
                    <a:pt x="160" y="158"/>
                  </a:lnTo>
                  <a:lnTo>
                    <a:pt x="160" y="158"/>
                  </a:lnTo>
                  <a:lnTo>
                    <a:pt x="160" y="154"/>
                  </a:lnTo>
                  <a:lnTo>
                    <a:pt x="162" y="154"/>
                  </a:lnTo>
                  <a:lnTo>
                    <a:pt x="166" y="154"/>
                  </a:lnTo>
                  <a:lnTo>
                    <a:pt x="170" y="152"/>
                  </a:lnTo>
                  <a:lnTo>
                    <a:pt x="174" y="148"/>
                  </a:lnTo>
                  <a:lnTo>
                    <a:pt x="174" y="148"/>
                  </a:lnTo>
                  <a:lnTo>
                    <a:pt x="176" y="144"/>
                  </a:lnTo>
                  <a:lnTo>
                    <a:pt x="176" y="142"/>
                  </a:lnTo>
                  <a:lnTo>
                    <a:pt x="172" y="138"/>
                  </a:lnTo>
                  <a:lnTo>
                    <a:pt x="170" y="132"/>
                  </a:lnTo>
                  <a:lnTo>
                    <a:pt x="168" y="130"/>
                  </a:lnTo>
                  <a:lnTo>
                    <a:pt x="170" y="126"/>
                  </a:lnTo>
                  <a:lnTo>
                    <a:pt x="170" y="126"/>
                  </a:lnTo>
                  <a:lnTo>
                    <a:pt x="172" y="120"/>
                  </a:lnTo>
                  <a:lnTo>
                    <a:pt x="178" y="120"/>
                  </a:lnTo>
                  <a:lnTo>
                    <a:pt x="182" y="118"/>
                  </a:lnTo>
                  <a:lnTo>
                    <a:pt x="184" y="114"/>
                  </a:lnTo>
                  <a:lnTo>
                    <a:pt x="184" y="114"/>
                  </a:lnTo>
                  <a:lnTo>
                    <a:pt x="184" y="112"/>
                  </a:lnTo>
                  <a:lnTo>
                    <a:pt x="184" y="110"/>
                  </a:lnTo>
                  <a:lnTo>
                    <a:pt x="180" y="108"/>
                  </a:lnTo>
                  <a:lnTo>
                    <a:pt x="174" y="104"/>
                  </a:lnTo>
                  <a:lnTo>
                    <a:pt x="174" y="102"/>
                  </a:lnTo>
                  <a:lnTo>
                    <a:pt x="174" y="102"/>
                  </a:lnTo>
                  <a:lnTo>
                    <a:pt x="174" y="102"/>
                  </a:lnTo>
                  <a:lnTo>
                    <a:pt x="176" y="100"/>
                  </a:lnTo>
                  <a:lnTo>
                    <a:pt x="178" y="100"/>
                  </a:lnTo>
                  <a:lnTo>
                    <a:pt x="186" y="100"/>
                  </a:lnTo>
                  <a:lnTo>
                    <a:pt x="208" y="102"/>
                  </a:lnTo>
                  <a:lnTo>
                    <a:pt x="208" y="102"/>
                  </a:lnTo>
                  <a:lnTo>
                    <a:pt x="216" y="102"/>
                  </a:lnTo>
                  <a:lnTo>
                    <a:pt x="218" y="100"/>
                  </a:lnTo>
                  <a:lnTo>
                    <a:pt x="218" y="100"/>
                  </a:lnTo>
                  <a:lnTo>
                    <a:pt x="216" y="96"/>
                  </a:lnTo>
                  <a:lnTo>
                    <a:pt x="214" y="94"/>
                  </a:lnTo>
                  <a:lnTo>
                    <a:pt x="214" y="94"/>
                  </a:lnTo>
                  <a:lnTo>
                    <a:pt x="210" y="90"/>
                  </a:lnTo>
                  <a:lnTo>
                    <a:pt x="208" y="86"/>
                  </a:lnTo>
                  <a:lnTo>
                    <a:pt x="208" y="82"/>
                  </a:lnTo>
                  <a:lnTo>
                    <a:pt x="210" y="78"/>
                  </a:lnTo>
                  <a:lnTo>
                    <a:pt x="212" y="72"/>
                  </a:lnTo>
                  <a:lnTo>
                    <a:pt x="210" y="70"/>
                  </a:lnTo>
                  <a:lnTo>
                    <a:pt x="206" y="66"/>
                  </a:lnTo>
                  <a:lnTo>
                    <a:pt x="206" y="66"/>
                  </a:lnTo>
                  <a:lnTo>
                    <a:pt x="200" y="60"/>
                  </a:lnTo>
                  <a:lnTo>
                    <a:pt x="198" y="56"/>
                  </a:lnTo>
                  <a:lnTo>
                    <a:pt x="200" y="54"/>
                  </a:lnTo>
                  <a:lnTo>
                    <a:pt x="204" y="48"/>
                  </a:lnTo>
                  <a:lnTo>
                    <a:pt x="204" y="48"/>
                  </a:lnTo>
                  <a:lnTo>
                    <a:pt x="208" y="44"/>
                  </a:lnTo>
                  <a:lnTo>
                    <a:pt x="214" y="44"/>
                  </a:lnTo>
                  <a:lnTo>
                    <a:pt x="218" y="42"/>
                  </a:lnTo>
                  <a:lnTo>
                    <a:pt x="220" y="38"/>
                  </a:lnTo>
                  <a:lnTo>
                    <a:pt x="220" y="38"/>
                  </a:lnTo>
                  <a:lnTo>
                    <a:pt x="220" y="36"/>
                  </a:lnTo>
                  <a:lnTo>
                    <a:pt x="224" y="34"/>
                  </a:lnTo>
                  <a:lnTo>
                    <a:pt x="232" y="32"/>
                  </a:lnTo>
                  <a:lnTo>
                    <a:pt x="244" y="30"/>
                  </a:lnTo>
                  <a:lnTo>
                    <a:pt x="244" y="30"/>
                  </a:lnTo>
                  <a:lnTo>
                    <a:pt x="242" y="26"/>
                  </a:lnTo>
                  <a:lnTo>
                    <a:pt x="242" y="26"/>
                  </a:lnTo>
                  <a:lnTo>
                    <a:pt x="240" y="24"/>
                  </a:lnTo>
                  <a:lnTo>
                    <a:pt x="240" y="22"/>
                  </a:lnTo>
                  <a:lnTo>
                    <a:pt x="248" y="20"/>
                  </a:lnTo>
                  <a:lnTo>
                    <a:pt x="248" y="20"/>
                  </a:lnTo>
                  <a:lnTo>
                    <a:pt x="238" y="20"/>
                  </a:lnTo>
                  <a:lnTo>
                    <a:pt x="234" y="22"/>
                  </a:lnTo>
                  <a:lnTo>
                    <a:pt x="230" y="24"/>
                  </a:lnTo>
                  <a:lnTo>
                    <a:pt x="228" y="24"/>
                  </a:lnTo>
                  <a:lnTo>
                    <a:pt x="228" y="24"/>
                  </a:lnTo>
                  <a:lnTo>
                    <a:pt x="226" y="24"/>
                  </a:lnTo>
                  <a:lnTo>
                    <a:pt x="226" y="22"/>
                  </a:lnTo>
                  <a:lnTo>
                    <a:pt x="228" y="20"/>
                  </a:lnTo>
                  <a:lnTo>
                    <a:pt x="226" y="20"/>
                  </a:lnTo>
                  <a:lnTo>
                    <a:pt x="226" y="20"/>
                  </a:lnTo>
                  <a:lnTo>
                    <a:pt x="224" y="20"/>
                  </a:lnTo>
                  <a:lnTo>
                    <a:pt x="222" y="22"/>
                  </a:lnTo>
                  <a:lnTo>
                    <a:pt x="218" y="24"/>
                  </a:lnTo>
                  <a:lnTo>
                    <a:pt x="212" y="28"/>
                  </a:lnTo>
                  <a:lnTo>
                    <a:pt x="212" y="28"/>
                  </a:lnTo>
                  <a:lnTo>
                    <a:pt x="204" y="34"/>
                  </a:lnTo>
                  <a:lnTo>
                    <a:pt x="202" y="34"/>
                  </a:lnTo>
                  <a:lnTo>
                    <a:pt x="198" y="30"/>
                  </a:lnTo>
                  <a:lnTo>
                    <a:pt x="198" y="30"/>
                  </a:lnTo>
                  <a:lnTo>
                    <a:pt x="192" y="22"/>
                  </a:lnTo>
                  <a:lnTo>
                    <a:pt x="188" y="16"/>
                  </a:lnTo>
                  <a:lnTo>
                    <a:pt x="186" y="12"/>
                  </a:lnTo>
                  <a:lnTo>
                    <a:pt x="186" y="12"/>
                  </a:lnTo>
                  <a:lnTo>
                    <a:pt x="186" y="10"/>
                  </a:lnTo>
                  <a:lnTo>
                    <a:pt x="186" y="10"/>
                  </a:lnTo>
                  <a:lnTo>
                    <a:pt x="182" y="10"/>
                  </a:lnTo>
                  <a:lnTo>
                    <a:pt x="180" y="10"/>
                  </a:lnTo>
                  <a:lnTo>
                    <a:pt x="182" y="6"/>
                  </a:lnTo>
                  <a:lnTo>
                    <a:pt x="182" y="6"/>
                  </a:lnTo>
                  <a:lnTo>
                    <a:pt x="182" y="2"/>
                  </a:lnTo>
                  <a:lnTo>
                    <a:pt x="180" y="0"/>
                  </a:lnTo>
                  <a:lnTo>
                    <a:pt x="174" y="0"/>
                  </a:lnTo>
                  <a:lnTo>
                    <a:pt x="168" y="2"/>
                  </a:lnTo>
                  <a:lnTo>
                    <a:pt x="168" y="2"/>
                  </a:lnTo>
                  <a:lnTo>
                    <a:pt x="166" y="6"/>
                  </a:lnTo>
                  <a:lnTo>
                    <a:pt x="164" y="8"/>
                  </a:lnTo>
                  <a:lnTo>
                    <a:pt x="166" y="10"/>
                  </a:lnTo>
                  <a:lnTo>
                    <a:pt x="164" y="12"/>
                  </a:lnTo>
                  <a:lnTo>
                    <a:pt x="164" y="12"/>
                  </a:lnTo>
                  <a:lnTo>
                    <a:pt x="162" y="12"/>
                  </a:lnTo>
                  <a:lnTo>
                    <a:pt x="160" y="12"/>
                  </a:lnTo>
                  <a:lnTo>
                    <a:pt x="160" y="12"/>
                  </a:lnTo>
                  <a:lnTo>
                    <a:pt x="156" y="14"/>
                  </a:lnTo>
                  <a:lnTo>
                    <a:pt x="156" y="14"/>
                  </a:lnTo>
                  <a:lnTo>
                    <a:pt x="154" y="16"/>
                  </a:lnTo>
                  <a:lnTo>
                    <a:pt x="154" y="18"/>
                  </a:lnTo>
                  <a:lnTo>
                    <a:pt x="156" y="20"/>
                  </a:lnTo>
                  <a:lnTo>
                    <a:pt x="154" y="22"/>
                  </a:lnTo>
                  <a:lnTo>
                    <a:pt x="154" y="22"/>
                  </a:lnTo>
                  <a:lnTo>
                    <a:pt x="150" y="24"/>
                  </a:lnTo>
                  <a:lnTo>
                    <a:pt x="144" y="22"/>
                  </a:lnTo>
                  <a:lnTo>
                    <a:pt x="140" y="22"/>
                  </a:lnTo>
                  <a:lnTo>
                    <a:pt x="134" y="24"/>
                  </a:lnTo>
                  <a:lnTo>
                    <a:pt x="134" y="24"/>
                  </a:lnTo>
                  <a:lnTo>
                    <a:pt x="128" y="24"/>
                  </a:lnTo>
                  <a:lnTo>
                    <a:pt x="126" y="22"/>
                  </a:lnTo>
                  <a:lnTo>
                    <a:pt x="124" y="18"/>
                  </a:lnTo>
                  <a:lnTo>
                    <a:pt x="122" y="18"/>
                  </a:lnTo>
                  <a:lnTo>
                    <a:pt x="118" y="18"/>
                  </a:lnTo>
                  <a:lnTo>
                    <a:pt x="118" y="18"/>
                  </a:lnTo>
                  <a:lnTo>
                    <a:pt x="110" y="20"/>
                  </a:lnTo>
                  <a:lnTo>
                    <a:pt x="108" y="20"/>
                  </a:lnTo>
                  <a:lnTo>
                    <a:pt x="104" y="20"/>
                  </a:lnTo>
                  <a:lnTo>
                    <a:pt x="104" y="20"/>
                  </a:lnTo>
                  <a:lnTo>
                    <a:pt x="102" y="18"/>
                  </a:lnTo>
                  <a:lnTo>
                    <a:pt x="98" y="20"/>
                  </a:lnTo>
                  <a:lnTo>
                    <a:pt x="92" y="20"/>
                  </a:lnTo>
                  <a:lnTo>
                    <a:pt x="82" y="18"/>
                  </a:lnTo>
                  <a:lnTo>
                    <a:pt x="82" y="18"/>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Uzbekistan"/>
            <p:cNvSpPr>
              <a:spLocks/>
            </p:cNvSpPr>
            <p:nvPr/>
          </p:nvSpPr>
          <p:spPr bwMode="auto">
            <a:xfrm>
              <a:off x="5544309" y="2155031"/>
              <a:ext cx="463021" cy="222250"/>
            </a:xfrm>
            <a:custGeom>
              <a:avLst/>
              <a:gdLst/>
              <a:ahLst/>
              <a:cxnLst>
                <a:cxn ang="0">
                  <a:pos x="32" y="96"/>
                </a:cxn>
                <a:cxn ang="0">
                  <a:pos x="32" y="84"/>
                </a:cxn>
                <a:cxn ang="0">
                  <a:pos x="42" y="76"/>
                </a:cxn>
                <a:cxn ang="0">
                  <a:pos x="54" y="74"/>
                </a:cxn>
                <a:cxn ang="0">
                  <a:pos x="56" y="70"/>
                </a:cxn>
                <a:cxn ang="0">
                  <a:pos x="80" y="82"/>
                </a:cxn>
                <a:cxn ang="0">
                  <a:pos x="82" y="92"/>
                </a:cxn>
                <a:cxn ang="0">
                  <a:pos x="104" y="90"/>
                </a:cxn>
                <a:cxn ang="0">
                  <a:pos x="120" y="106"/>
                </a:cxn>
                <a:cxn ang="0">
                  <a:pos x="160" y="130"/>
                </a:cxn>
                <a:cxn ang="0">
                  <a:pos x="196" y="144"/>
                </a:cxn>
                <a:cxn ang="0">
                  <a:pos x="212" y="148"/>
                </a:cxn>
                <a:cxn ang="0">
                  <a:pos x="220" y="154"/>
                </a:cxn>
                <a:cxn ang="0">
                  <a:pos x="232" y="168"/>
                </a:cxn>
                <a:cxn ang="0">
                  <a:pos x="244" y="168"/>
                </a:cxn>
                <a:cxn ang="0">
                  <a:pos x="258" y="166"/>
                </a:cxn>
                <a:cxn ang="0">
                  <a:pos x="262" y="148"/>
                </a:cxn>
                <a:cxn ang="0">
                  <a:pos x="258" y="144"/>
                </a:cxn>
                <a:cxn ang="0">
                  <a:pos x="250" y="142"/>
                </a:cxn>
                <a:cxn ang="0">
                  <a:pos x="242" y="132"/>
                </a:cxn>
                <a:cxn ang="0">
                  <a:pos x="260" y="128"/>
                </a:cxn>
                <a:cxn ang="0">
                  <a:pos x="256" y="122"/>
                </a:cxn>
                <a:cxn ang="0">
                  <a:pos x="270" y="112"/>
                </a:cxn>
                <a:cxn ang="0">
                  <a:pos x="282" y="112"/>
                </a:cxn>
                <a:cxn ang="0">
                  <a:pos x="292" y="108"/>
                </a:cxn>
                <a:cxn ang="0">
                  <a:pos x="292" y="114"/>
                </a:cxn>
                <a:cxn ang="0">
                  <a:pos x="304" y="118"/>
                </a:cxn>
                <a:cxn ang="0">
                  <a:pos x="318" y="118"/>
                </a:cxn>
                <a:cxn ang="0">
                  <a:pos x="346" y="108"/>
                </a:cxn>
                <a:cxn ang="0">
                  <a:pos x="336" y="104"/>
                </a:cxn>
                <a:cxn ang="0">
                  <a:pos x="324" y="96"/>
                </a:cxn>
                <a:cxn ang="0">
                  <a:pos x="316" y="92"/>
                </a:cxn>
                <a:cxn ang="0">
                  <a:pos x="304" y="100"/>
                </a:cxn>
                <a:cxn ang="0">
                  <a:pos x="288" y="98"/>
                </a:cxn>
                <a:cxn ang="0">
                  <a:pos x="282" y="100"/>
                </a:cxn>
                <a:cxn ang="0">
                  <a:pos x="298" y="78"/>
                </a:cxn>
                <a:cxn ang="0">
                  <a:pos x="294" y="70"/>
                </a:cxn>
                <a:cxn ang="0">
                  <a:pos x="280" y="86"/>
                </a:cxn>
                <a:cxn ang="0">
                  <a:pos x="264" y="102"/>
                </a:cxn>
                <a:cxn ang="0">
                  <a:pos x="262" y="114"/>
                </a:cxn>
                <a:cxn ang="0">
                  <a:pos x="252" y="114"/>
                </a:cxn>
                <a:cxn ang="0">
                  <a:pos x="252" y="108"/>
                </a:cxn>
                <a:cxn ang="0">
                  <a:pos x="218" y="106"/>
                </a:cxn>
                <a:cxn ang="0">
                  <a:pos x="194" y="76"/>
                </a:cxn>
                <a:cxn ang="0">
                  <a:pos x="190" y="64"/>
                </a:cxn>
                <a:cxn ang="0">
                  <a:pos x="166" y="44"/>
                </a:cxn>
                <a:cxn ang="0">
                  <a:pos x="156" y="42"/>
                </a:cxn>
                <a:cxn ang="0">
                  <a:pos x="150" y="48"/>
                </a:cxn>
                <a:cxn ang="0">
                  <a:pos x="98" y="44"/>
                </a:cxn>
                <a:cxn ang="0">
                  <a:pos x="94" y="26"/>
                </a:cxn>
                <a:cxn ang="0">
                  <a:pos x="88" y="34"/>
                </a:cxn>
                <a:cxn ang="0">
                  <a:pos x="78" y="40"/>
                </a:cxn>
                <a:cxn ang="0">
                  <a:pos x="58" y="46"/>
                </a:cxn>
                <a:cxn ang="0">
                  <a:pos x="46" y="44"/>
                </a:cxn>
                <a:cxn ang="0">
                  <a:pos x="34" y="38"/>
                </a:cxn>
                <a:cxn ang="0">
                  <a:pos x="28" y="28"/>
                </a:cxn>
                <a:cxn ang="0">
                  <a:pos x="32" y="14"/>
                </a:cxn>
                <a:cxn ang="0">
                  <a:pos x="30" y="0"/>
                </a:cxn>
                <a:cxn ang="0">
                  <a:pos x="8" y="10"/>
                </a:cxn>
                <a:cxn ang="0">
                  <a:pos x="0" y="22"/>
                </a:cxn>
              </a:cxnLst>
              <a:rect l="0" t="0" r="r" b="b"/>
              <a:pathLst>
                <a:path w="350" h="168">
                  <a:moveTo>
                    <a:pt x="22" y="98"/>
                  </a:moveTo>
                  <a:lnTo>
                    <a:pt x="22" y="98"/>
                  </a:lnTo>
                  <a:lnTo>
                    <a:pt x="28" y="98"/>
                  </a:lnTo>
                  <a:lnTo>
                    <a:pt x="32" y="96"/>
                  </a:lnTo>
                  <a:lnTo>
                    <a:pt x="32" y="96"/>
                  </a:lnTo>
                  <a:lnTo>
                    <a:pt x="32" y="92"/>
                  </a:lnTo>
                  <a:lnTo>
                    <a:pt x="30" y="86"/>
                  </a:lnTo>
                  <a:lnTo>
                    <a:pt x="32" y="84"/>
                  </a:lnTo>
                  <a:lnTo>
                    <a:pt x="36" y="80"/>
                  </a:lnTo>
                  <a:lnTo>
                    <a:pt x="36" y="80"/>
                  </a:lnTo>
                  <a:lnTo>
                    <a:pt x="40" y="78"/>
                  </a:lnTo>
                  <a:lnTo>
                    <a:pt x="42" y="76"/>
                  </a:lnTo>
                  <a:lnTo>
                    <a:pt x="44" y="74"/>
                  </a:lnTo>
                  <a:lnTo>
                    <a:pt x="48" y="74"/>
                  </a:lnTo>
                  <a:lnTo>
                    <a:pt x="48" y="74"/>
                  </a:lnTo>
                  <a:lnTo>
                    <a:pt x="54" y="74"/>
                  </a:lnTo>
                  <a:lnTo>
                    <a:pt x="54" y="72"/>
                  </a:lnTo>
                  <a:lnTo>
                    <a:pt x="52" y="70"/>
                  </a:lnTo>
                  <a:lnTo>
                    <a:pt x="56" y="70"/>
                  </a:lnTo>
                  <a:lnTo>
                    <a:pt x="56" y="70"/>
                  </a:lnTo>
                  <a:lnTo>
                    <a:pt x="64" y="72"/>
                  </a:lnTo>
                  <a:lnTo>
                    <a:pt x="72" y="76"/>
                  </a:lnTo>
                  <a:lnTo>
                    <a:pt x="78" y="80"/>
                  </a:lnTo>
                  <a:lnTo>
                    <a:pt x="80" y="82"/>
                  </a:lnTo>
                  <a:lnTo>
                    <a:pt x="80" y="84"/>
                  </a:lnTo>
                  <a:lnTo>
                    <a:pt x="80" y="84"/>
                  </a:lnTo>
                  <a:lnTo>
                    <a:pt x="80" y="88"/>
                  </a:lnTo>
                  <a:lnTo>
                    <a:pt x="82" y="92"/>
                  </a:lnTo>
                  <a:lnTo>
                    <a:pt x="86" y="94"/>
                  </a:lnTo>
                  <a:lnTo>
                    <a:pt x="92" y="94"/>
                  </a:lnTo>
                  <a:lnTo>
                    <a:pt x="92" y="94"/>
                  </a:lnTo>
                  <a:lnTo>
                    <a:pt x="104" y="90"/>
                  </a:lnTo>
                  <a:lnTo>
                    <a:pt x="106" y="90"/>
                  </a:lnTo>
                  <a:lnTo>
                    <a:pt x="110" y="92"/>
                  </a:lnTo>
                  <a:lnTo>
                    <a:pt x="110" y="92"/>
                  </a:lnTo>
                  <a:lnTo>
                    <a:pt x="120" y="106"/>
                  </a:lnTo>
                  <a:lnTo>
                    <a:pt x="128" y="114"/>
                  </a:lnTo>
                  <a:lnTo>
                    <a:pt x="140" y="122"/>
                  </a:lnTo>
                  <a:lnTo>
                    <a:pt x="160" y="130"/>
                  </a:lnTo>
                  <a:lnTo>
                    <a:pt x="160" y="130"/>
                  </a:lnTo>
                  <a:lnTo>
                    <a:pt x="176" y="136"/>
                  </a:lnTo>
                  <a:lnTo>
                    <a:pt x="182" y="140"/>
                  </a:lnTo>
                  <a:lnTo>
                    <a:pt x="188" y="144"/>
                  </a:lnTo>
                  <a:lnTo>
                    <a:pt x="196" y="144"/>
                  </a:lnTo>
                  <a:lnTo>
                    <a:pt x="196" y="144"/>
                  </a:lnTo>
                  <a:lnTo>
                    <a:pt x="204" y="146"/>
                  </a:lnTo>
                  <a:lnTo>
                    <a:pt x="210" y="146"/>
                  </a:lnTo>
                  <a:lnTo>
                    <a:pt x="212" y="148"/>
                  </a:lnTo>
                  <a:lnTo>
                    <a:pt x="216" y="148"/>
                  </a:lnTo>
                  <a:lnTo>
                    <a:pt x="216" y="148"/>
                  </a:lnTo>
                  <a:lnTo>
                    <a:pt x="220" y="150"/>
                  </a:lnTo>
                  <a:lnTo>
                    <a:pt x="220" y="154"/>
                  </a:lnTo>
                  <a:lnTo>
                    <a:pt x="220" y="160"/>
                  </a:lnTo>
                  <a:lnTo>
                    <a:pt x="222" y="166"/>
                  </a:lnTo>
                  <a:lnTo>
                    <a:pt x="222" y="166"/>
                  </a:lnTo>
                  <a:lnTo>
                    <a:pt x="232" y="168"/>
                  </a:lnTo>
                  <a:lnTo>
                    <a:pt x="238" y="168"/>
                  </a:lnTo>
                  <a:lnTo>
                    <a:pt x="242" y="166"/>
                  </a:lnTo>
                  <a:lnTo>
                    <a:pt x="244" y="168"/>
                  </a:lnTo>
                  <a:lnTo>
                    <a:pt x="244" y="168"/>
                  </a:lnTo>
                  <a:lnTo>
                    <a:pt x="248" y="168"/>
                  </a:lnTo>
                  <a:lnTo>
                    <a:pt x="250" y="168"/>
                  </a:lnTo>
                  <a:lnTo>
                    <a:pt x="258" y="166"/>
                  </a:lnTo>
                  <a:lnTo>
                    <a:pt x="258" y="166"/>
                  </a:lnTo>
                  <a:lnTo>
                    <a:pt x="258" y="158"/>
                  </a:lnTo>
                  <a:lnTo>
                    <a:pt x="262" y="152"/>
                  </a:lnTo>
                  <a:lnTo>
                    <a:pt x="264" y="148"/>
                  </a:lnTo>
                  <a:lnTo>
                    <a:pt x="262" y="148"/>
                  </a:lnTo>
                  <a:lnTo>
                    <a:pt x="260" y="146"/>
                  </a:lnTo>
                  <a:lnTo>
                    <a:pt x="260" y="146"/>
                  </a:lnTo>
                  <a:lnTo>
                    <a:pt x="256" y="146"/>
                  </a:lnTo>
                  <a:lnTo>
                    <a:pt x="258" y="144"/>
                  </a:lnTo>
                  <a:lnTo>
                    <a:pt x="258" y="144"/>
                  </a:lnTo>
                  <a:lnTo>
                    <a:pt x="256" y="142"/>
                  </a:lnTo>
                  <a:lnTo>
                    <a:pt x="250" y="142"/>
                  </a:lnTo>
                  <a:lnTo>
                    <a:pt x="250" y="142"/>
                  </a:lnTo>
                  <a:lnTo>
                    <a:pt x="244" y="140"/>
                  </a:lnTo>
                  <a:lnTo>
                    <a:pt x="240" y="136"/>
                  </a:lnTo>
                  <a:lnTo>
                    <a:pt x="240" y="134"/>
                  </a:lnTo>
                  <a:lnTo>
                    <a:pt x="242" y="132"/>
                  </a:lnTo>
                  <a:lnTo>
                    <a:pt x="246" y="130"/>
                  </a:lnTo>
                  <a:lnTo>
                    <a:pt x="250" y="130"/>
                  </a:lnTo>
                  <a:lnTo>
                    <a:pt x="250" y="130"/>
                  </a:lnTo>
                  <a:lnTo>
                    <a:pt x="260" y="128"/>
                  </a:lnTo>
                  <a:lnTo>
                    <a:pt x="264" y="126"/>
                  </a:lnTo>
                  <a:lnTo>
                    <a:pt x="264" y="124"/>
                  </a:lnTo>
                  <a:lnTo>
                    <a:pt x="264" y="122"/>
                  </a:lnTo>
                  <a:lnTo>
                    <a:pt x="256" y="122"/>
                  </a:lnTo>
                  <a:lnTo>
                    <a:pt x="256" y="122"/>
                  </a:lnTo>
                  <a:lnTo>
                    <a:pt x="264" y="120"/>
                  </a:lnTo>
                  <a:lnTo>
                    <a:pt x="268" y="116"/>
                  </a:lnTo>
                  <a:lnTo>
                    <a:pt x="270" y="112"/>
                  </a:lnTo>
                  <a:lnTo>
                    <a:pt x="270" y="112"/>
                  </a:lnTo>
                  <a:lnTo>
                    <a:pt x="272" y="114"/>
                  </a:lnTo>
                  <a:lnTo>
                    <a:pt x="276" y="114"/>
                  </a:lnTo>
                  <a:lnTo>
                    <a:pt x="282" y="112"/>
                  </a:lnTo>
                  <a:lnTo>
                    <a:pt x="288" y="108"/>
                  </a:lnTo>
                  <a:lnTo>
                    <a:pt x="290" y="108"/>
                  </a:lnTo>
                  <a:lnTo>
                    <a:pt x="292" y="108"/>
                  </a:lnTo>
                  <a:lnTo>
                    <a:pt x="292" y="108"/>
                  </a:lnTo>
                  <a:lnTo>
                    <a:pt x="296" y="112"/>
                  </a:lnTo>
                  <a:lnTo>
                    <a:pt x="296" y="112"/>
                  </a:lnTo>
                  <a:lnTo>
                    <a:pt x="292" y="114"/>
                  </a:lnTo>
                  <a:lnTo>
                    <a:pt x="292" y="114"/>
                  </a:lnTo>
                  <a:lnTo>
                    <a:pt x="292" y="116"/>
                  </a:lnTo>
                  <a:lnTo>
                    <a:pt x="298" y="118"/>
                  </a:lnTo>
                  <a:lnTo>
                    <a:pt x="298" y="118"/>
                  </a:lnTo>
                  <a:lnTo>
                    <a:pt x="304" y="118"/>
                  </a:lnTo>
                  <a:lnTo>
                    <a:pt x="308" y="118"/>
                  </a:lnTo>
                  <a:lnTo>
                    <a:pt x="312" y="116"/>
                  </a:lnTo>
                  <a:lnTo>
                    <a:pt x="318" y="118"/>
                  </a:lnTo>
                  <a:lnTo>
                    <a:pt x="318" y="118"/>
                  </a:lnTo>
                  <a:lnTo>
                    <a:pt x="324" y="118"/>
                  </a:lnTo>
                  <a:lnTo>
                    <a:pt x="330" y="116"/>
                  </a:lnTo>
                  <a:lnTo>
                    <a:pt x="346" y="108"/>
                  </a:lnTo>
                  <a:lnTo>
                    <a:pt x="346" y="108"/>
                  </a:lnTo>
                  <a:lnTo>
                    <a:pt x="350" y="106"/>
                  </a:lnTo>
                  <a:lnTo>
                    <a:pt x="346" y="106"/>
                  </a:lnTo>
                  <a:lnTo>
                    <a:pt x="340" y="104"/>
                  </a:lnTo>
                  <a:lnTo>
                    <a:pt x="336" y="104"/>
                  </a:lnTo>
                  <a:lnTo>
                    <a:pt x="336" y="104"/>
                  </a:lnTo>
                  <a:lnTo>
                    <a:pt x="330" y="100"/>
                  </a:lnTo>
                  <a:lnTo>
                    <a:pt x="326" y="100"/>
                  </a:lnTo>
                  <a:lnTo>
                    <a:pt x="324" y="96"/>
                  </a:lnTo>
                  <a:lnTo>
                    <a:pt x="324" y="96"/>
                  </a:lnTo>
                  <a:lnTo>
                    <a:pt x="322" y="92"/>
                  </a:lnTo>
                  <a:lnTo>
                    <a:pt x="318" y="92"/>
                  </a:lnTo>
                  <a:lnTo>
                    <a:pt x="316" y="92"/>
                  </a:lnTo>
                  <a:lnTo>
                    <a:pt x="310" y="98"/>
                  </a:lnTo>
                  <a:lnTo>
                    <a:pt x="310" y="98"/>
                  </a:lnTo>
                  <a:lnTo>
                    <a:pt x="308" y="100"/>
                  </a:lnTo>
                  <a:lnTo>
                    <a:pt x="304" y="100"/>
                  </a:lnTo>
                  <a:lnTo>
                    <a:pt x="300" y="98"/>
                  </a:lnTo>
                  <a:lnTo>
                    <a:pt x="296" y="96"/>
                  </a:lnTo>
                  <a:lnTo>
                    <a:pt x="292" y="96"/>
                  </a:lnTo>
                  <a:lnTo>
                    <a:pt x="288" y="98"/>
                  </a:lnTo>
                  <a:lnTo>
                    <a:pt x="288" y="98"/>
                  </a:lnTo>
                  <a:lnTo>
                    <a:pt x="284" y="102"/>
                  </a:lnTo>
                  <a:lnTo>
                    <a:pt x="282" y="102"/>
                  </a:lnTo>
                  <a:lnTo>
                    <a:pt x="282" y="100"/>
                  </a:lnTo>
                  <a:lnTo>
                    <a:pt x="284" y="96"/>
                  </a:lnTo>
                  <a:lnTo>
                    <a:pt x="292" y="86"/>
                  </a:lnTo>
                  <a:lnTo>
                    <a:pt x="292" y="86"/>
                  </a:lnTo>
                  <a:lnTo>
                    <a:pt x="298" y="78"/>
                  </a:lnTo>
                  <a:lnTo>
                    <a:pt x="300" y="72"/>
                  </a:lnTo>
                  <a:lnTo>
                    <a:pt x="298" y="70"/>
                  </a:lnTo>
                  <a:lnTo>
                    <a:pt x="294" y="70"/>
                  </a:lnTo>
                  <a:lnTo>
                    <a:pt x="294" y="70"/>
                  </a:lnTo>
                  <a:lnTo>
                    <a:pt x="288" y="74"/>
                  </a:lnTo>
                  <a:lnTo>
                    <a:pt x="288" y="74"/>
                  </a:lnTo>
                  <a:lnTo>
                    <a:pt x="282" y="80"/>
                  </a:lnTo>
                  <a:lnTo>
                    <a:pt x="280" y="86"/>
                  </a:lnTo>
                  <a:lnTo>
                    <a:pt x="276" y="92"/>
                  </a:lnTo>
                  <a:lnTo>
                    <a:pt x="270" y="98"/>
                  </a:lnTo>
                  <a:lnTo>
                    <a:pt x="270" y="98"/>
                  </a:lnTo>
                  <a:lnTo>
                    <a:pt x="264" y="102"/>
                  </a:lnTo>
                  <a:lnTo>
                    <a:pt x="262" y="106"/>
                  </a:lnTo>
                  <a:lnTo>
                    <a:pt x="262" y="110"/>
                  </a:lnTo>
                  <a:lnTo>
                    <a:pt x="262" y="112"/>
                  </a:lnTo>
                  <a:lnTo>
                    <a:pt x="262" y="114"/>
                  </a:lnTo>
                  <a:lnTo>
                    <a:pt x="258" y="114"/>
                  </a:lnTo>
                  <a:lnTo>
                    <a:pt x="258" y="114"/>
                  </a:lnTo>
                  <a:lnTo>
                    <a:pt x="254" y="114"/>
                  </a:lnTo>
                  <a:lnTo>
                    <a:pt x="252" y="114"/>
                  </a:lnTo>
                  <a:lnTo>
                    <a:pt x="254" y="110"/>
                  </a:lnTo>
                  <a:lnTo>
                    <a:pt x="256" y="108"/>
                  </a:lnTo>
                  <a:lnTo>
                    <a:pt x="252" y="108"/>
                  </a:lnTo>
                  <a:lnTo>
                    <a:pt x="252" y="108"/>
                  </a:lnTo>
                  <a:lnTo>
                    <a:pt x="234" y="110"/>
                  </a:lnTo>
                  <a:lnTo>
                    <a:pt x="226" y="110"/>
                  </a:lnTo>
                  <a:lnTo>
                    <a:pt x="222" y="108"/>
                  </a:lnTo>
                  <a:lnTo>
                    <a:pt x="218" y="106"/>
                  </a:lnTo>
                  <a:lnTo>
                    <a:pt x="216" y="102"/>
                  </a:lnTo>
                  <a:lnTo>
                    <a:pt x="214" y="90"/>
                  </a:lnTo>
                  <a:lnTo>
                    <a:pt x="204" y="92"/>
                  </a:lnTo>
                  <a:lnTo>
                    <a:pt x="194" y="76"/>
                  </a:lnTo>
                  <a:lnTo>
                    <a:pt x="202" y="76"/>
                  </a:lnTo>
                  <a:lnTo>
                    <a:pt x="198" y="58"/>
                  </a:lnTo>
                  <a:lnTo>
                    <a:pt x="190" y="64"/>
                  </a:lnTo>
                  <a:lnTo>
                    <a:pt x="190" y="64"/>
                  </a:lnTo>
                  <a:lnTo>
                    <a:pt x="178" y="50"/>
                  </a:lnTo>
                  <a:lnTo>
                    <a:pt x="174" y="46"/>
                  </a:lnTo>
                  <a:lnTo>
                    <a:pt x="170" y="44"/>
                  </a:lnTo>
                  <a:lnTo>
                    <a:pt x="166" y="44"/>
                  </a:lnTo>
                  <a:lnTo>
                    <a:pt x="160" y="42"/>
                  </a:lnTo>
                  <a:lnTo>
                    <a:pt x="160" y="42"/>
                  </a:lnTo>
                  <a:lnTo>
                    <a:pt x="156" y="38"/>
                  </a:lnTo>
                  <a:lnTo>
                    <a:pt x="156" y="42"/>
                  </a:lnTo>
                  <a:lnTo>
                    <a:pt x="154" y="46"/>
                  </a:lnTo>
                  <a:lnTo>
                    <a:pt x="152" y="48"/>
                  </a:lnTo>
                  <a:lnTo>
                    <a:pt x="150" y="48"/>
                  </a:lnTo>
                  <a:lnTo>
                    <a:pt x="150" y="48"/>
                  </a:lnTo>
                  <a:lnTo>
                    <a:pt x="104" y="46"/>
                  </a:lnTo>
                  <a:lnTo>
                    <a:pt x="104" y="46"/>
                  </a:lnTo>
                  <a:lnTo>
                    <a:pt x="102" y="46"/>
                  </a:lnTo>
                  <a:lnTo>
                    <a:pt x="98" y="44"/>
                  </a:lnTo>
                  <a:lnTo>
                    <a:pt x="94" y="36"/>
                  </a:lnTo>
                  <a:lnTo>
                    <a:pt x="92" y="30"/>
                  </a:lnTo>
                  <a:lnTo>
                    <a:pt x="92" y="26"/>
                  </a:lnTo>
                  <a:lnTo>
                    <a:pt x="94" y="26"/>
                  </a:lnTo>
                  <a:lnTo>
                    <a:pt x="94" y="26"/>
                  </a:lnTo>
                  <a:lnTo>
                    <a:pt x="90" y="30"/>
                  </a:lnTo>
                  <a:lnTo>
                    <a:pt x="90" y="32"/>
                  </a:lnTo>
                  <a:lnTo>
                    <a:pt x="88" y="34"/>
                  </a:lnTo>
                  <a:lnTo>
                    <a:pt x="86" y="36"/>
                  </a:lnTo>
                  <a:lnTo>
                    <a:pt x="86" y="36"/>
                  </a:lnTo>
                  <a:lnTo>
                    <a:pt x="82" y="38"/>
                  </a:lnTo>
                  <a:lnTo>
                    <a:pt x="78" y="40"/>
                  </a:lnTo>
                  <a:lnTo>
                    <a:pt x="76" y="44"/>
                  </a:lnTo>
                  <a:lnTo>
                    <a:pt x="66" y="46"/>
                  </a:lnTo>
                  <a:lnTo>
                    <a:pt x="66" y="46"/>
                  </a:lnTo>
                  <a:lnTo>
                    <a:pt x="58" y="46"/>
                  </a:lnTo>
                  <a:lnTo>
                    <a:pt x="54" y="46"/>
                  </a:lnTo>
                  <a:lnTo>
                    <a:pt x="52" y="44"/>
                  </a:lnTo>
                  <a:lnTo>
                    <a:pt x="46" y="44"/>
                  </a:lnTo>
                  <a:lnTo>
                    <a:pt x="46" y="44"/>
                  </a:lnTo>
                  <a:lnTo>
                    <a:pt x="40" y="44"/>
                  </a:lnTo>
                  <a:lnTo>
                    <a:pt x="38" y="42"/>
                  </a:lnTo>
                  <a:lnTo>
                    <a:pt x="38" y="40"/>
                  </a:lnTo>
                  <a:lnTo>
                    <a:pt x="34" y="38"/>
                  </a:lnTo>
                  <a:lnTo>
                    <a:pt x="34" y="38"/>
                  </a:lnTo>
                  <a:lnTo>
                    <a:pt x="32" y="36"/>
                  </a:lnTo>
                  <a:lnTo>
                    <a:pt x="30" y="34"/>
                  </a:lnTo>
                  <a:lnTo>
                    <a:pt x="28" y="28"/>
                  </a:lnTo>
                  <a:lnTo>
                    <a:pt x="28" y="22"/>
                  </a:lnTo>
                  <a:lnTo>
                    <a:pt x="30" y="16"/>
                  </a:lnTo>
                  <a:lnTo>
                    <a:pt x="30" y="16"/>
                  </a:lnTo>
                  <a:lnTo>
                    <a:pt x="32" y="14"/>
                  </a:lnTo>
                  <a:lnTo>
                    <a:pt x="32" y="12"/>
                  </a:lnTo>
                  <a:lnTo>
                    <a:pt x="30" y="8"/>
                  </a:lnTo>
                  <a:lnTo>
                    <a:pt x="30" y="0"/>
                  </a:lnTo>
                  <a:lnTo>
                    <a:pt x="30" y="0"/>
                  </a:lnTo>
                  <a:lnTo>
                    <a:pt x="30" y="2"/>
                  </a:lnTo>
                  <a:lnTo>
                    <a:pt x="26" y="4"/>
                  </a:lnTo>
                  <a:lnTo>
                    <a:pt x="14" y="6"/>
                  </a:lnTo>
                  <a:lnTo>
                    <a:pt x="8" y="10"/>
                  </a:lnTo>
                  <a:lnTo>
                    <a:pt x="2" y="12"/>
                  </a:lnTo>
                  <a:lnTo>
                    <a:pt x="0" y="16"/>
                  </a:lnTo>
                  <a:lnTo>
                    <a:pt x="0" y="22"/>
                  </a:lnTo>
                  <a:lnTo>
                    <a:pt x="0" y="22"/>
                  </a:lnTo>
                  <a:lnTo>
                    <a:pt x="22" y="98"/>
                  </a:lnTo>
                  <a:lnTo>
                    <a:pt x="22" y="98"/>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Pakistan"/>
            <p:cNvSpPr>
              <a:spLocks/>
            </p:cNvSpPr>
            <p:nvPr/>
          </p:nvSpPr>
          <p:spPr bwMode="auto">
            <a:xfrm>
              <a:off x="5769205" y="2387865"/>
              <a:ext cx="396875" cy="425979"/>
            </a:xfrm>
            <a:custGeom>
              <a:avLst/>
              <a:gdLst/>
              <a:ahLst/>
              <a:cxnLst>
                <a:cxn ang="0">
                  <a:pos x="152" y="314"/>
                </a:cxn>
                <a:cxn ang="0">
                  <a:pos x="146" y="304"/>
                </a:cxn>
                <a:cxn ang="0">
                  <a:pos x="132" y="292"/>
                </a:cxn>
                <a:cxn ang="0">
                  <a:pos x="124" y="286"/>
                </a:cxn>
                <a:cxn ang="0">
                  <a:pos x="116" y="286"/>
                </a:cxn>
                <a:cxn ang="0">
                  <a:pos x="96" y="290"/>
                </a:cxn>
                <a:cxn ang="0">
                  <a:pos x="80" y="286"/>
                </a:cxn>
                <a:cxn ang="0">
                  <a:pos x="64" y="284"/>
                </a:cxn>
                <a:cxn ang="0">
                  <a:pos x="44" y="282"/>
                </a:cxn>
                <a:cxn ang="0">
                  <a:pos x="34" y="282"/>
                </a:cxn>
                <a:cxn ang="0">
                  <a:pos x="32" y="262"/>
                </a:cxn>
                <a:cxn ang="0">
                  <a:pos x="42" y="244"/>
                </a:cxn>
                <a:cxn ang="0">
                  <a:pos x="52" y="242"/>
                </a:cxn>
                <a:cxn ang="0">
                  <a:pos x="56" y="230"/>
                </a:cxn>
                <a:cxn ang="0">
                  <a:pos x="44" y="212"/>
                </a:cxn>
                <a:cxn ang="0">
                  <a:pos x="22" y="198"/>
                </a:cxn>
                <a:cxn ang="0">
                  <a:pos x="14" y="170"/>
                </a:cxn>
                <a:cxn ang="0">
                  <a:pos x="50" y="178"/>
                </a:cxn>
                <a:cxn ang="0">
                  <a:pos x="112" y="162"/>
                </a:cxn>
                <a:cxn ang="0">
                  <a:pos x="104" y="152"/>
                </a:cxn>
                <a:cxn ang="0">
                  <a:pos x="118" y="136"/>
                </a:cxn>
                <a:cxn ang="0">
                  <a:pos x="130" y="130"/>
                </a:cxn>
                <a:cxn ang="0">
                  <a:pos x="144" y="120"/>
                </a:cxn>
                <a:cxn ang="0">
                  <a:pos x="138" y="102"/>
                </a:cxn>
                <a:cxn ang="0">
                  <a:pos x="154" y="86"/>
                </a:cxn>
                <a:cxn ang="0">
                  <a:pos x="144" y="74"/>
                </a:cxn>
                <a:cxn ang="0">
                  <a:pos x="178" y="74"/>
                </a:cxn>
                <a:cxn ang="0">
                  <a:pos x="184" y="66"/>
                </a:cxn>
                <a:cxn ang="0">
                  <a:pos x="182" y="44"/>
                </a:cxn>
                <a:cxn ang="0">
                  <a:pos x="170" y="26"/>
                </a:cxn>
                <a:cxn ang="0">
                  <a:pos x="190" y="10"/>
                </a:cxn>
                <a:cxn ang="0">
                  <a:pos x="214" y="2"/>
                </a:cxn>
                <a:cxn ang="0">
                  <a:pos x="256" y="16"/>
                </a:cxn>
                <a:cxn ang="0">
                  <a:pos x="258" y="30"/>
                </a:cxn>
                <a:cxn ang="0">
                  <a:pos x="284" y="34"/>
                </a:cxn>
                <a:cxn ang="0">
                  <a:pos x="300" y="56"/>
                </a:cxn>
                <a:cxn ang="0">
                  <a:pos x="262" y="64"/>
                </a:cxn>
                <a:cxn ang="0">
                  <a:pos x="222" y="62"/>
                </a:cxn>
                <a:cxn ang="0">
                  <a:pos x="226" y="74"/>
                </a:cxn>
                <a:cxn ang="0">
                  <a:pos x="234" y="88"/>
                </a:cxn>
                <a:cxn ang="0">
                  <a:pos x="250" y="88"/>
                </a:cxn>
                <a:cxn ang="0">
                  <a:pos x="260" y="96"/>
                </a:cxn>
                <a:cxn ang="0">
                  <a:pos x="266" y="108"/>
                </a:cxn>
                <a:cxn ang="0">
                  <a:pos x="260" y="122"/>
                </a:cxn>
                <a:cxn ang="0">
                  <a:pos x="268" y="138"/>
                </a:cxn>
                <a:cxn ang="0">
                  <a:pos x="256" y="168"/>
                </a:cxn>
                <a:cxn ang="0">
                  <a:pos x="238" y="192"/>
                </a:cxn>
                <a:cxn ang="0">
                  <a:pos x="214" y="220"/>
                </a:cxn>
                <a:cxn ang="0">
                  <a:pos x="196" y="220"/>
                </a:cxn>
                <a:cxn ang="0">
                  <a:pos x="180" y="244"/>
                </a:cxn>
                <a:cxn ang="0">
                  <a:pos x="192" y="262"/>
                </a:cxn>
                <a:cxn ang="0">
                  <a:pos x="226" y="292"/>
                </a:cxn>
                <a:cxn ang="0">
                  <a:pos x="226" y="304"/>
                </a:cxn>
                <a:cxn ang="0">
                  <a:pos x="216" y="310"/>
                </a:cxn>
                <a:cxn ang="0">
                  <a:pos x="196" y="310"/>
                </a:cxn>
                <a:cxn ang="0">
                  <a:pos x="178" y="310"/>
                </a:cxn>
                <a:cxn ang="0">
                  <a:pos x="162" y="322"/>
                </a:cxn>
              </a:cxnLst>
              <a:rect l="0" t="0" r="r" b="b"/>
              <a:pathLst>
                <a:path w="300" h="322">
                  <a:moveTo>
                    <a:pt x="162" y="322"/>
                  </a:moveTo>
                  <a:lnTo>
                    <a:pt x="162" y="322"/>
                  </a:lnTo>
                  <a:lnTo>
                    <a:pt x="152" y="320"/>
                  </a:lnTo>
                  <a:lnTo>
                    <a:pt x="150" y="318"/>
                  </a:lnTo>
                  <a:lnTo>
                    <a:pt x="150" y="318"/>
                  </a:lnTo>
                  <a:lnTo>
                    <a:pt x="152" y="314"/>
                  </a:lnTo>
                  <a:lnTo>
                    <a:pt x="152" y="312"/>
                  </a:lnTo>
                  <a:lnTo>
                    <a:pt x="150" y="310"/>
                  </a:lnTo>
                  <a:lnTo>
                    <a:pt x="150" y="310"/>
                  </a:lnTo>
                  <a:lnTo>
                    <a:pt x="150" y="308"/>
                  </a:lnTo>
                  <a:lnTo>
                    <a:pt x="148" y="306"/>
                  </a:lnTo>
                  <a:lnTo>
                    <a:pt x="146" y="304"/>
                  </a:lnTo>
                  <a:lnTo>
                    <a:pt x="138" y="302"/>
                  </a:lnTo>
                  <a:lnTo>
                    <a:pt x="138" y="302"/>
                  </a:lnTo>
                  <a:lnTo>
                    <a:pt x="132" y="302"/>
                  </a:lnTo>
                  <a:lnTo>
                    <a:pt x="132" y="300"/>
                  </a:lnTo>
                  <a:lnTo>
                    <a:pt x="132" y="296"/>
                  </a:lnTo>
                  <a:lnTo>
                    <a:pt x="132" y="292"/>
                  </a:lnTo>
                  <a:lnTo>
                    <a:pt x="132" y="292"/>
                  </a:lnTo>
                  <a:lnTo>
                    <a:pt x="130" y="288"/>
                  </a:lnTo>
                  <a:lnTo>
                    <a:pt x="126" y="286"/>
                  </a:lnTo>
                  <a:lnTo>
                    <a:pt x="122" y="286"/>
                  </a:lnTo>
                  <a:lnTo>
                    <a:pt x="122" y="286"/>
                  </a:lnTo>
                  <a:lnTo>
                    <a:pt x="124" y="286"/>
                  </a:lnTo>
                  <a:lnTo>
                    <a:pt x="126" y="288"/>
                  </a:lnTo>
                  <a:lnTo>
                    <a:pt x="126" y="288"/>
                  </a:lnTo>
                  <a:lnTo>
                    <a:pt x="126" y="288"/>
                  </a:lnTo>
                  <a:lnTo>
                    <a:pt x="124" y="290"/>
                  </a:lnTo>
                  <a:lnTo>
                    <a:pt x="120" y="288"/>
                  </a:lnTo>
                  <a:lnTo>
                    <a:pt x="116" y="286"/>
                  </a:lnTo>
                  <a:lnTo>
                    <a:pt x="114" y="288"/>
                  </a:lnTo>
                  <a:lnTo>
                    <a:pt x="114" y="288"/>
                  </a:lnTo>
                  <a:lnTo>
                    <a:pt x="104" y="288"/>
                  </a:lnTo>
                  <a:lnTo>
                    <a:pt x="98" y="288"/>
                  </a:lnTo>
                  <a:lnTo>
                    <a:pt x="98" y="288"/>
                  </a:lnTo>
                  <a:lnTo>
                    <a:pt x="96" y="290"/>
                  </a:lnTo>
                  <a:lnTo>
                    <a:pt x="90" y="290"/>
                  </a:lnTo>
                  <a:lnTo>
                    <a:pt x="86" y="288"/>
                  </a:lnTo>
                  <a:lnTo>
                    <a:pt x="84" y="284"/>
                  </a:lnTo>
                  <a:lnTo>
                    <a:pt x="84" y="284"/>
                  </a:lnTo>
                  <a:lnTo>
                    <a:pt x="82" y="286"/>
                  </a:lnTo>
                  <a:lnTo>
                    <a:pt x="80" y="286"/>
                  </a:lnTo>
                  <a:lnTo>
                    <a:pt x="76" y="284"/>
                  </a:lnTo>
                  <a:lnTo>
                    <a:pt x="76" y="284"/>
                  </a:lnTo>
                  <a:lnTo>
                    <a:pt x="74" y="282"/>
                  </a:lnTo>
                  <a:lnTo>
                    <a:pt x="72" y="284"/>
                  </a:lnTo>
                  <a:lnTo>
                    <a:pt x="70" y="286"/>
                  </a:lnTo>
                  <a:lnTo>
                    <a:pt x="64" y="284"/>
                  </a:lnTo>
                  <a:lnTo>
                    <a:pt x="64" y="284"/>
                  </a:lnTo>
                  <a:lnTo>
                    <a:pt x="60" y="282"/>
                  </a:lnTo>
                  <a:lnTo>
                    <a:pt x="56" y="284"/>
                  </a:lnTo>
                  <a:lnTo>
                    <a:pt x="52" y="284"/>
                  </a:lnTo>
                  <a:lnTo>
                    <a:pt x="44" y="282"/>
                  </a:lnTo>
                  <a:lnTo>
                    <a:pt x="44" y="282"/>
                  </a:lnTo>
                  <a:lnTo>
                    <a:pt x="38" y="282"/>
                  </a:lnTo>
                  <a:lnTo>
                    <a:pt x="38" y="284"/>
                  </a:lnTo>
                  <a:lnTo>
                    <a:pt x="36" y="286"/>
                  </a:lnTo>
                  <a:lnTo>
                    <a:pt x="32" y="284"/>
                  </a:lnTo>
                  <a:lnTo>
                    <a:pt x="32" y="284"/>
                  </a:lnTo>
                  <a:lnTo>
                    <a:pt x="34" y="282"/>
                  </a:lnTo>
                  <a:lnTo>
                    <a:pt x="34" y="278"/>
                  </a:lnTo>
                  <a:lnTo>
                    <a:pt x="34" y="272"/>
                  </a:lnTo>
                  <a:lnTo>
                    <a:pt x="32" y="266"/>
                  </a:lnTo>
                  <a:lnTo>
                    <a:pt x="32" y="266"/>
                  </a:lnTo>
                  <a:lnTo>
                    <a:pt x="32" y="264"/>
                  </a:lnTo>
                  <a:lnTo>
                    <a:pt x="32" y="262"/>
                  </a:lnTo>
                  <a:lnTo>
                    <a:pt x="36" y="256"/>
                  </a:lnTo>
                  <a:lnTo>
                    <a:pt x="40" y="252"/>
                  </a:lnTo>
                  <a:lnTo>
                    <a:pt x="42" y="250"/>
                  </a:lnTo>
                  <a:lnTo>
                    <a:pt x="42" y="248"/>
                  </a:lnTo>
                  <a:lnTo>
                    <a:pt x="42" y="248"/>
                  </a:lnTo>
                  <a:lnTo>
                    <a:pt x="42" y="244"/>
                  </a:lnTo>
                  <a:lnTo>
                    <a:pt x="42" y="242"/>
                  </a:lnTo>
                  <a:lnTo>
                    <a:pt x="46" y="242"/>
                  </a:lnTo>
                  <a:lnTo>
                    <a:pt x="50" y="244"/>
                  </a:lnTo>
                  <a:lnTo>
                    <a:pt x="50" y="242"/>
                  </a:lnTo>
                  <a:lnTo>
                    <a:pt x="50" y="242"/>
                  </a:lnTo>
                  <a:lnTo>
                    <a:pt x="52" y="242"/>
                  </a:lnTo>
                  <a:lnTo>
                    <a:pt x="54" y="240"/>
                  </a:lnTo>
                  <a:lnTo>
                    <a:pt x="56" y="238"/>
                  </a:lnTo>
                  <a:lnTo>
                    <a:pt x="56" y="236"/>
                  </a:lnTo>
                  <a:lnTo>
                    <a:pt x="56" y="236"/>
                  </a:lnTo>
                  <a:lnTo>
                    <a:pt x="56" y="234"/>
                  </a:lnTo>
                  <a:lnTo>
                    <a:pt x="56" y="230"/>
                  </a:lnTo>
                  <a:lnTo>
                    <a:pt x="56" y="226"/>
                  </a:lnTo>
                  <a:lnTo>
                    <a:pt x="54" y="226"/>
                  </a:lnTo>
                  <a:lnTo>
                    <a:pt x="54" y="226"/>
                  </a:lnTo>
                  <a:lnTo>
                    <a:pt x="50" y="226"/>
                  </a:lnTo>
                  <a:lnTo>
                    <a:pt x="48" y="226"/>
                  </a:lnTo>
                  <a:lnTo>
                    <a:pt x="44" y="212"/>
                  </a:lnTo>
                  <a:lnTo>
                    <a:pt x="44" y="212"/>
                  </a:lnTo>
                  <a:lnTo>
                    <a:pt x="38" y="200"/>
                  </a:lnTo>
                  <a:lnTo>
                    <a:pt x="36" y="200"/>
                  </a:lnTo>
                  <a:lnTo>
                    <a:pt x="30" y="200"/>
                  </a:lnTo>
                  <a:lnTo>
                    <a:pt x="30" y="200"/>
                  </a:lnTo>
                  <a:lnTo>
                    <a:pt x="22" y="198"/>
                  </a:lnTo>
                  <a:lnTo>
                    <a:pt x="20" y="194"/>
                  </a:lnTo>
                  <a:lnTo>
                    <a:pt x="14" y="182"/>
                  </a:lnTo>
                  <a:lnTo>
                    <a:pt x="0" y="162"/>
                  </a:lnTo>
                  <a:lnTo>
                    <a:pt x="0" y="162"/>
                  </a:lnTo>
                  <a:lnTo>
                    <a:pt x="6" y="164"/>
                  </a:lnTo>
                  <a:lnTo>
                    <a:pt x="14" y="170"/>
                  </a:lnTo>
                  <a:lnTo>
                    <a:pt x="14" y="170"/>
                  </a:lnTo>
                  <a:lnTo>
                    <a:pt x="22" y="174"/>
                  </a:lnTo>
                  <a:lnTo>
                    <a:pt x="30" y="178"/>
                  </a:lnTo>
                  <a:lnTo>
                    <a:pt x="40" y="178"/>
                  </a:lnTo>
                  <a:lnTo>
                    <a:pt x="50" y="178"/>
                  </a:lnTo>
                  <a:lnTo>
                    <a:pt x="50" y="178"/>
                  </a:lnTo>
                  <a:lnTo>
                    <a:pt x="58" y="180"/>
                  </a:lnTo>
                  <a:lnTo>
                    <a:pt x="70" y="178"/>
                  </a:lnTo>
                  <a:lnTo>
                    <a:pt x="94" y="172"/>
                  </a:lnTo>
                  <a:lnTo>
                    <a:pt x="94" y="172"/>
                  </a:lnTo>
                  <a:lnTo>
                    <a:pt x="110" y="164"/>
                  </a:lnTo>
                  <a:lnTo>
                    <a:pt x="112" y="162"/>
                  </a:lnTo>
                  <a:lnTo>
                    <a:pt x="108" y="160"/>
                  </a:lnTo>
                  <a:lnTo>
                    <a:pt x="108" y="160"/>
                  </a:lnTo>
                  <a:lnTo>
                    <a:pt x="106" y="158"/>
                  </a:lnTo>
                  <a:lnTo>
                    <a:pt x="106" y="158"/>
                  </a:lnTo>
                  <a:lnTo>
                    <a:pt x="106" y="156"/>
                  </a:lnTo>
                  <a:lnTo>
                    <a:pt x="104" y="152"/>
                  </a:lnTo>
                  <a:lnTo>
                    <a:pt x="104" y="152"/>
                  </a:lnTo>
                  <a:lnTo>
                    <a:pt x="104" y="150"/>
                  </a:lnTo>
                  <a:lnTo>
                    <a:pt x="104" y="146"/>
                  </a:lnTo>
                  <a:lnTo>
                    <a:pt x="108" y="140"/>
                  </a:lnTo>
                  <a:lnTo>
                    <a:pt x="114" y="136"/>
                  </a:lnTo>
                  <a:lnTo>
                    <a:pt x="118" y="136"/>
                  </a:lnTo>
                  <a:lnTo>
                    <a:pt x="122" y="136"/>
                  </a:lnTo>
                  <a:lnTo>
                    <a:pt x="122" y="136"/>
                  </a:lnTo>
                  <a:lnTo>
                    <a:pt x="126" y="138"/>
                  </a:lnTo>
                  <a:lnTo>
                    <a:pt x="128" y="136"/>
                  </a:lnTo>
                  <a:lnTo>
                    <a:pt x="132" y="134"/>
                  </a:lnTo>
                  <a:lnTo>
                    <a:pt x="130" y="130"/>
                  </a:lnTo>
                  <a:lnTo>
                    <a:pt x="130" y="130"/>
                  </a:lnTo>
                  <a:lnTo>
                    <a:pt x="130" y="126"/>
                  </a:lnTo>
                  <a:lnTo>
                    <a:pt x="132" y="126"/>
                  </a:lnTo>
                  <a:lnTo>
                    <a:pt x="136" y="126"/>
                  </a:lnTo>
                  <a:lnTo>
                    <a:pt x="140" y="124"/>
                  </a:lnTo>
                  <a:lnTo>
                    <a:pt x="144" y="120"/>
                  </a:lnTo>
                  <a:lnTo>
                    <a:pt x="144" y="120"/>
                  </a:lnTo>
                  <a:lnTo>
                    <a:pt x="146" y="116"/>
                  </a:lnTo>
                  <a:lnTo>
                    <a:pt x="146" y="114"/>
                  </a:lnTo>
                  <a:lnTo>
                    <a:pt x="142" y="110"/>
                  </a:lnTo>
                  <a:lnTo>
                    <a:pt x="140" y="104"/>
                  </a:lnTo>
                  <a:lnTo>
                    <a:pt x="138" y="102"/>
                  </a:lnTo>
                  <a:lnTo>
                    <a:pt x="140" y="98"/>
                  </a:lnTo>
                  <a:lnTo>
                    <a:pt x="140" y="98"/>
                  </a:lnTo>
                  <a:lnTo>
                    <a:pt x="142" y="92"/>
                  </a:lnTo>
                  <a:lnTo>
                    <a:pt x="148" y="92"/>
                  </a:lnTo>
                  <a:lnTo>
                    <a:pt x="152" y="90"/>
                  </a:lnTo>
                  <a:lnTo>
                    <a:pt x="154" y="86"/>
                  </a:lnTo>
                  <a:lnTo>
                    <a:pt x="154" y="86"/>
                  </a:lnTo>
                  <a:lnTo>
                    <a:pt x="154" y="84"/>
                  </a:lnTo>
                  <a:lnTo>
                    <a:pt x="154" y="82"/>
                  </a:lnTo>
                  <a:lnTo>
                    <a:pt x="150" y="80"/>
                  </a:lnTo>
                  <a:lnTo>
                    <a:pt x="144" y="76"/>
                  </a:lnTo>
                  <a:lnTo>
                    <a:pt x="144" y="74"/>
                  </a:lnTo>
                  <a:lnTo>
                    <a:pt x="144" y="74"/>
                  </a:lnTo>
                  <a:lnTo>
                    <a:pt x="144" y="74"/>
                  </a:lnTo>
                  <a:lnTo>
                    <a:pt x="146" y="72"/>
                  </a:lnTo>
                  <a:lnTo>
                    <a:pt x="148" y="72"/>
                  </a:lnTo>
                  <a:lnTo>
                    <a:pt x="156" y="72"/>
                  </a:lnTo>
                  <a:lnTo>
                    <a:pt x="178" y="74"/>
                  </a:lnTo>
                  <a:lnTo>
                    <a:pt x="178" y="74"/>
                  </a:lnTo>
                  <a:lnTo>
                    <a:pt x="186" y="74"/>
                  </a:lnTo>
                  <a:lnTo>
                    <a:pt x="188" y="72"/>
                  </a:lnTo>
                  <a:lnTo>
                    <a:pt x="188" y="72"/>
                  </a:lnTo>
                  <a:lnTo>
                    <a:pt x="186" y="68"/>
                  </a:lnTo>
                  <a:lnTo>
                    <a:pt x="184" y="66"/>
                  </a:lnTo>
                  <a:lnTo>
                    <a:pt x="184" y="66"/>
                  </a:lnTo>
                  <a:lnTo>
                    <a:pt x="180" y="62"/>
                  </a:lnTo>
                  <a:lnTo>
                    <a:pt x="178" y="58"/>
                  </a:lnTo>
                  <a:lnTo>
                    <a:pt x="178" y="54"/>
                  </a:lnTo>
                  <a:lnTo>
                    <a:pt x="180" y="50"/>
                  </a:lnTo>
                  <a:lnTo>
                    <a:pt x="182" y="44"/>
                  </a:lnTo>
                  <a:lnTo>
                    <a:pt x="180" y="42"/>
                  </a:lnTo>
                  <a:lnTo>
                    <a:pt x="176" y="38"/>
                  </a:lnTo>
                  <a:lnTo>
                    <a:pt x="176" y="38"/>
                  </a:lnTo>
                  <a:lnTo>
                    <a:pt x="170" y="32"/>
                  </a:lnTo>
                  <a:lnTo>
                    <a:pt x="168" y="28"/>
                  </a:lnTo>
                  <a:lnTo>
                    <a:pt x="170" y="26"/>
                  </a:lnTo>
                  <a:lnTo>
                    <a:pt x="174" y="20"/>
                  </a:lnTo>
                  <a:lnTo>
                    <a:pt x="174" y="20"/>
                  </a:lnTo>
                  <a:lnTo>
                    <a:pt x="178" y="16"/>
                  </a:lnTo>
                  <a:lnTo>
                    <a:pt x="184" y="16"/>
                  </a:lnTo>
                  <a:lnTo>
                    <a:pt x="188" y="14"/>
                  </a:lnTo>
                  <a:lnTo>
                    <a:pt x="190" y="10"/>
                  </a:lnTo>
                  <a:lnTo>
                    <a:pt x="190" y="10"/>
                  </a:lnTo>
                  <a:lnTo>
                    <a:pt x="190" y="8"/>
                  </a:lnTo>
                  <a:lnTo>
                    <a:pt x="194" y="6"/>
                  </a:lnTo>
                  <a:lnTo>
                    <a:pt x="202" y="4"/>
                  </a:lnTo>
                  <a:lnTo>
                    <a:pt x="214" y="2"/>
                  </a:lnTo>
                  <a:lnTo>
                    <a:pt x="214" y="2"/>
                  </a:lnTo>
                  <a:lnTo>
                    <a:pt x="218" y="2"/>
                  </a:lnTo>
                  <a:lnTo>
                    <a:pt x="220" y="0"/>
                  </a:lnTo>
                  <a:lnTo>
                    <a:pt x="226" y="2"/>
                  </a:lnTo>
                  <a:lnTo>
                    <a:pt x="240" y="8"/>
                  </a:lnTo>
                  <a:lnTo>
                    <a:pt x="240" y="8"/>
                  </a:lnTo>
                  <a:lnTo>
                    <a:pt x="256" y="16"/>
                  </a:lnTo>
                  <a:lnTo>
                    <a:pt x="256" y="18"/>
                  </a:lnTo>
                  <a:lnTo>
                    <a:pt x="256" y="20"/>
                  </a:lnTo>
                  <a:lnTo>
                    <a:pt x="256" y="20"/>
                  </a:lnTo>
                  <a:lnTo>
                    <a:pt x="254" y="26"/>
                  </a:lnTo>
                  <a:lnTo>
                    <a:pt x="256" y="30"/>
                  </a:lnTo>
                  <a:lnTo>
                    <a:pt x="258" y="30"/>
                  </a:lnTo>
                  <a:lnTo>
                    <a:pt x="264" y="30"/>
                  </a:lnTo>
                  <a:lnTo>
                    <a:pt x="274" y="30"/>
                  </a:lnTo>
                  <a:lnTo>
                    <a:pt x="278" y="30"/>
                  </a:lnTo>
                  <a:lnTo>
                    <a:pt x="282" y="30"/>
                  </a:lnTo>
                  <a:lnTo>
                    <a:pt x="282" y="30"/>
                  </a:lnTo>
                  <a:lnTo>
                    <a:pt x="284" y="34"/>
                  </a:lnTo>
                  <a:lnTo>
                    <a:pt x="288" y="36"/>
                  </a:lnTo>
                  <a:lnTo>
                    <a:pt x="292" y="38"/>
                  </a:lnTo>
                  <a:lnTo>
                    <a:pt x="296" y="46"/>
                  </a:lnTo>
                  <a:lnTo>
                    <a:pt x="296" y="46"/>
                  </a:lnTo>
                  <a:lnTo>
                    <a:pt x="300" y="52"/>
                  </a:lnTo>
                  <a:lnTo>
                    <a:pt x="300" y="56"/>
                  </a:lnTo>
                  <a:lnTo>
                    <a:pt x="296" y="58"/>
                  </a:lnTo>
                  <a:lnTo>
                    <a:pt x="290" y="58"/>
                  </a:lnTo>
                  <a:lnTo>
                    <a:pt x="290" y="58"/>
                  </a:lnTo>
                  <a:lnTo>
                    <a:pt x="278" y="60"/>
                  </a:lnTo>
                  <a:lnTo>
                    <a:pt x="270" y="62"/>
                  </a:lnTo>
                  <a:lnTo>
                    <a:pt x="262" y="64"/>
                  </a:lnTo>
                  <a:lnTo>
                    <a:pt x="242" y="62"/>
                  </a:lnTo>
                  <a:lnTo>
                    <a:pt x="242" y="62"/>
                  </a:lnTo>
                  <a:lnTo>
                    <a:pt x="232" y="60"/>
                  </a:lnTo>
                  <a:lnTo>
                    <a:pt x="226" y="60"/>
                  </a:lnTo>
                  <a:lnTo>
                    <a:pt x="224" y="62"/>
                  </a:lnTo>
                  <a:lnTo>
                    <a:pt x="222" y="62"/>
                  </a:lnTo>
                  <a:lnTo>
                    <a:pt x="224" y="66"/>
                  </a:lnTo>
                  <a:lnTo>
                    <a:pt x="228" y="70"/>
                  </a:lnTo>
                  <a:lnTo>
                    <a:pt x="228" y="70"/>
                  </a:lnTo>
                  <a:lnTo>
                    <a:pt x="224" y="70"/>
                  </a:lnTo>
                  <a:lnTo>
                    <a:pt x="224" y="72"/>
                  </a:lnTo>
                  <a:lnTo>
                    <a:pt x="226" y="74"/>
                  </a:lnTo>
                  <a:lnTo>
                    <a:pt x="230" y="78"/>
                  </a:lnTo>
                  <a:lnTo>
                    <a:pt x="232" y="80"/>
                  </a:lnTo>
                  <a:lnTo>
                    <a:pt x="232" y="84"/>
                  </a:lnTo>
                  <a:lnTo>
                    <a:pt x="232" y="84"/>
                  </a:lnTo>
                  <a:lnTo>
                    <a:pt x="232" y="86"/>
                  </a:lnTo>
                  <a:lnTo>
                    <a:pt x="234" y="88"/>
                  </a:lnTo>
                  <a:lnTo>
                    <a:pt x="238" y="86"/>
                  </a:lnTo>
                  <a:lnTo>
                    <a:pt x="244" y="84"/>
                  </a:lnTo>
                  <a:lnTo>
                    <a:pt x="246" y="84"/>
                  </a:lnTo>
                  <a:lnTo>
                    <a:pt x="248" y="84"/>
                  </a:lnTo>
                  <a:lnTo>
                    <a:pt x="248" y="84"/>
                  </a:lnTo>
                  <a:lnTo>
                    <a:pt x="250" y="88"/>
                  </a:lnTo>
                  <a:lnTo>
                    <a:pt x="250" y="90"/>
                  </a:lnTo>
                  <a:lnTo>
                    <a:pt x="250" y="94"/>
                  </a:lnTo>
                  <a:lnTo>
                    <a:pt x="250" y="96"/>
                  </a:lnTo>
                  <a:lnTo>
                    <a:pt x="252" y="98"/>
                  </a:lnTo>
                  <a:lnTo>
                    <a:pt x="260" y="96"/>
                  </a:lnTo>
                  <a:lnTo>
                    <a:pt x="260" y="96"/>
                  </a:lnTo>
                  <a:lnTo>
                    <a:pt x="264" y="96"/>
                  </a:lnTo>
                  <a:lnTo>
                    <a:pt x="266" y="96"/>
                  </a:lnTo>
                  <a:lnTo>
                    <a:pt x="264" y="100"/>
                  </a:lnTo>
                  <a:lnTo>
                    <a:pt x="264" y="106"/>
                  </a:lnTo>
                  <a:lnTo>
                    <a:pt x="264" y="108"/>
                  </a:lnTo>
                  <a:lnTo>
                    <a:pt x="266" y="108"/>
                  </a:lnTo>
                  <a:lnTo>
                    <a:pt x="266" y="108"/>
                  </a:lnTo>
                  <a:lnTo>
                    <a:pt x="270" y="110"/>
                  </a:lnTo>
                  <a:lnTo>
                    <a:pt x="268" y="112"/>
                  </a:lnTo>
                  <a:lnTo>
                    <a:pt x="264" y="116"/>
                  </a:lnTo>
                  <a:lnTo>
                    <a:pt x="260" y="118"/>
                  </a:lnTo>
                  <a:lnTo>
                    <a:pt x="260" y="122"/>
                  </a:lnTo>
                  <a:lnTo>
                    <a:pt x="260" y="126"/>
                  </a:lnTo>
                  <a:lnTo>
                    <a:pt x="264" y="128"/>
                  </a:lnTo>
                  <a:lnTo>
                    <a:pt x="264" y="128"/>
                  </a:lnTo>
                  <a:lnTo>
                    <a:pt x="270" y="136"/>
                  </a:lnTo>
                  <a:lnTo>
                    <a:pt x="270" y="136"/>
                  </a:lnTo>
                  <a:lnTo>
                    <a:pt x="268" y="138"/>
                  </a:lnTo>
                  <a:lnTo>
                    <a:pt x="264" y="140"/>
                  </a:lnTo>
                  <a:lnTo>
                    <a:pt x="262" y="144"/>
                  </a:lnTo>
                  <a:lnTo>
                    <a:pt x="258" y="150"/>
                  </a:lnTo>
                  <a:lnTo>
                    <a:pt x="258" y="158"/>
                  </a:lnTo>
                  <a:lnTo>
                    <a:pt x="258" y="158"/>
                  </a:lnTo>
                  <a:lnTo>
                    <a:pt x="256" y="168"/>
                  </a:lnTo>
                  <a:lnTo>
                    <a:pt x="254" y="176"/>
                  </a:lnTo>
                  <a:lnTo>
                    <a:pt x="250" y="180"/>
                  </a:lnTo>
                  <a:lnTo>
                    <a:pt x="246" y="182"/>
                  </a:lnTo>
                  <a:lnTo>
                    <a:pt x="240" y="186"/>
                  </a:lnTo>
                  <a:lnTo>
                    <a:pt x="238" y="188"/>
                  </a:lnTo>
                  <a:lnTo>
                    <a:pt x="238" y="192"/>
                  </a:lnTo>
                  <a:lnTo>
                    <a:pt x="238" y="192"/>
                  </a:lnTo>
                  <a:lnTo>
                    <a:pt x="236" y="196"/>
                  </a:lnTo>
                  <a:lnTo>
                    <a:pt x="232" y="204"/>
                  </a:lnTo>
                  <a:lnTo>
                    <a:pt x="226" y="212"/>
                  </a:lnTo>
                  <a:lnTo>
                    <a:pt x="214" y="220"/>
                  </a:lnTo>
                  <a:lnTo>
                    <a:pt x="214" y="220"/>
                  </a:lnTo>
                  <a:lnTo>
                    <a:pt x="208" y="222"/>
                  </a:lnTo>
                  <a:lnTo>
                    <a:pt x="206" y="222"/>
                  </a:lnTo>
                  <a:lnTo>
                    <a:pt x="204" y="220"/>
                  </a:lnTo>
                  <a:lnTo>
                    <a:pt x="202" y="218"/>
                  </a:lnTo>
                  <a:lnTo>
                    <a:pt x="202" y="216"/>
                  </a:lnTo>
                  <a:lnTo>
                    <a:pt x="196" y="220"/>
                  </a:lnTo>
                  <a:lnTo>
                    <a:pt x="196" y="220"/>
                  </a:lnTo>
                  <a:lnTo>
                    <a:pt x="182" y="234"/>
                  </a:lnTo>
                  <a:lnTo>
                    <a:pt x="180" y="240"/>
                  </a:lnTo>
                  <a:lnTo>
                    <a:pt x="180" y="242"/>
                  </a:lnTo>
                  <a:lnTo>
                    <a:pt x="180" y="244"/>
                  </a:lnTo>
                  <a:lnTo>
                    <a:pt x="180" y="244"/>
                  </a:lnTo>
                  <a:lnTo>
                    <a:pt x="186" y="246"/>
                  </a:lnTo>
                  <a:lnTo>
                    <a:pt x="190" y="248"/>
                  </a:lnTo>
                  <a:lnTo>
                    <a:pt x="192" y="252"/>
                  </a:lnTo>
                  <a:lnTo>
                    <a:pt x="192" y="258"/>
                  </a:lnTo>
                  <a:lnTo>
                    <a:pt x="192" y="258"/>
                  </a:lnTo>
                  <a:lnTo>
                    <a:pt x="192" y="262"/>
                  </a:lnTo>
                  <a:lnTo>
                    <a:pt x="194" y="266"/>
                  </a:lnTo>
                  <a:lnTo>
                    <a:pt x="198" y="270"/>
                  </a:lnTo>
                  <a:lnTo>
                    <a:pt x="208" y="276"/>
                  </a:lnTo>
                  <a:lnTo>
                    <a:pt x="220" y="286"/>
                  </a:lnTo>
                  <a:lnTo>
                    <a:pt x="220" y="286"/>
                  </a:lnTo>
                  <a:lnTo>
                    <a:pt x="226" y="292"/>
                  </a:lnTo>
                  <a:lnTo>
                    <a:pt x="230" y="296"/>
                  </a:lnTo>
                  <a:lnTo>
                    <a:pt x="230" y="300"/>
                  </a:lnTo>
                  <a:lnTo>
                    <a:pt x="228" y="300"/>
                  </a:lnTo>
                  <a:lnTo>
                    <a:pt x="224" y="302"/>
                  </a:lnTo>
                  <a:lnTo>
                    <a:pt x="224" y="302"/>
                  </a:lnTo>
                  <a:lnTo>
                    <a:pt x="226" y="304"/>
                  </a:lnTo>
                  <a:lnTo>
                    <a:pt x="226" y="304"/>
                  </a:lnTo>
                  <a:lnTo>
                    <a:pt x="232" y="308"/>
                  </a:lnTo>
                  <a:lnTo>
                    <a:pt x="224" y="310"/>
                  </a:lnTo>
                  <a:lnTo>
                    <a:pt x="224" y="310"/>
                  </a:lnTo>
                  <a:lnTo>
                    <a:pt x="218" y="312"/>
                  </a:lnTo>
                  <a:lnTo>
                    <a:pt x="216" y="310"/>
                  </a:lnTo>
                  <a:lnTo>
                    <a:pt x="216" y="308"/>
                  </a:lnTo>
                  <a:lnTo>
                    <a:pt x="216" y="306"/>
                  </a:lnTo>
                  <a:lnTo>
                    <a:pt x="210" y="308"/>
                  </a:lnTo>
                  <a:lnTo>
                    <a:pt x="210" y="308"/>
                  </a:lnTo>
                  <a:lnTo>
                    <a:pt x="202" y="310"/>
                  </a:lnTo>
                  <a:lnTo>
                    <a:pt x="196" y="310"/>
                  </a:lnTo>
                  <a:lnTo>
                    <a:pt x="190" y="310"/>
                  </a:lnTo>
                  <a:lnTo>
                    <a:pt x="186" y="312"/>
                  </a:lnTo>
                  <a:lnTo>
                    <a:pt x="186" y="312"/>
                  </a:lnTo>
                  <a:lnTo>
                    <a:pt x="182" y="312"/>
                  </a:lnTo>
                  <a:lnTo>
                    <a:pt x="180" y="312"/>
                  </a:lnTo>
                  <a:lnTo>
                    <a:pt x="178" y="310"/>
                  </a:lnTo>
                  <a:lnTo>
                    <a:pt x="174" y="312"/>
                  </a:lnTo>
                  <a:lnTo>
                    <a:pt x="174" y="312"/>
                  </a:lnTo>
                  <a:lnTo>
                    <a:pt x="170" y="316"/>
                  </a:lnTo>
                  <a:lnTo>
                    <a:pt x="168" y="316"/>
                  </a:lnTo>
                  <a:lnTo>
                    <a:pt x="166" y="316"/>
                  </a:lnTo>
                  <a:lnTo>
                    <a:pt x="162" y="322"/>
                  </a:lnTo>
                  <a:lnTo>
                    <a:pt x="162" y="322"/>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Oman"/>
            <p:cNvSpPr>
              <a:spLocks/>
            </p:cNvSpPr>
            <p:nvPr/>
          </p:nvSpPr>
          <p:spPr bwMode="auto">
            <a:xfrm>
              <a:off x="5570768" y="2784740"/>
              <a:ext cx="206375" cy="272521"/>
            </a:xfrm>
            <a:custGeom>
              <a:avLst/>
              <a:gdLst/>
              <a:ahLst/>
              <a:cxnLst>
                <a:cxn ang="0">
                  <a:pos x="40" y="206"/>
                </a:cxn>
                <a:cxn ang="0">
                  <a:pos x="54" y="200"/>
                </a:cxn>
                <a:cxn ang="0">
                  <a:pos x="58" y="198"/>
                </a:cxn>
                <a:cxn ang="0">
                  <a:pos x="72" y="194"/>
                </a:cxn>
                <a:cxn ang="0">
                  <a:pos x="80" y="190"/>
                </a:cxn>
                <a:cxn ang="0">
                  <a:pos x="84" y="182"/>
                </a:cxn>
                <a:cxn ang="0">
                  <a:pos x="84" y="176"/>
                </a:cxn>
                <a:cxn ang="0">
                  <a:pos x="90" y="174"/>
                </a:cxn>
                <a:cxn ang="0">
                  <a:pos x="102" y="172"/>
                </a:cxn>
                <a:cxn ang="0">
                  <a:pos x="108" y="166"/>
                </a:cxn>
                <a:cxn ang="0">
                  <a:pos x="108" y="162"/>
                </a:cxn>
                <a:cxn ang="0">
                  <a:pos x="110" y="150"/>
                </a:cxn>
                <a:cxn ang="0">
                  <a:pos x="120" y="144"/>
                </a:cxn>
                <a:cxn ang="0">
                  <a:pos x="126" y="144"/>
                </a:cxn>
                <a:cxn ang="0">
                  <a:pos x="134" y="146"/>
                </a:cxn>
                <a:cxn ang="0">
                  <a:pos x="128" y="132"/>
                </a:cxn>
                <a:cxn ang="0">
                  <a:pos x="128" y="126"/>
                </a:cxn>
                <a:cxn ang="0">
                  <a:pos x="130" y="108"/>
                </a:cxn>
                <a:cxn ang="0">
                  <a:pos x="136" y="100"/>
                </a:cxn>
                <a:cxn ang="0">
                  <a:pos x="136" y="100"/>
                </a:cxn>
                <a:cxn ang="0">
                  <a:pos x="142" y="98"/>
                </a:cxn>
                <a:cxn ang="0">
                  <a:pos x="150" y="74"/>
                </a:cxn>
                <a:cxn ang="0">
                  <a:pos x="154" y="66"/>
                </a:cxn>
                <a:cxn ang="0">
                  <a:pos x="156" y="62"/>
                </a:cxn>
                <a:cxn ang="0">
                  <a:pos x="152" y="60"/>
                </a:cxn>
                <a:cxn ang="0">
                  <a:pos x="150" y="58"/>
                </a:cxn>
                <a:cxn ang="0">
                  <a:pos x="144" y="52"/>
                </a:cxn>
                <a:cxn ang="0">
                  <a:pos x="142" y="46"/>
                </a:cxn>
                <a:cxn ang="0">
                  <a:pos x="140" y="40"/>
                </a:cxn>
                <a:cxn ang="0">
                  <a:pos x="136" y="36"/>
                </a:cxn>
                <a:cxn ang="0">
                  <a:pos x="132" y="34"/>
                </a:cxn>
                <a:cxn ang="0">
                  <a:pos x="128" y="34"/>
                </a:cxn>
                <a:cxn ang="0">
                  <a:pos x="122" y="30"/>
                </a:cxn>
                <a:cxn ang="0">
                  <a:pos x="106" y="22"/>
                </a:cxn>
                <a:cxn ang="0">
                  <a:pos x="96" y="14"/>
                </a:cxn>
                <a:cxn ang="0">
                  <a:pos x="96" y="12"/>
                </a:cxn>
                <a:cxn ang="0">
                  <a:pos x="86" y="6"/>
                </a:cxn>
                <a:cxn ang="0">
                  <a:pos x="82" y="0"/>
                </a:cxn>
                <a:cxn ang="0">
                  <a:pos x="78" y="2"/>
                </a:cxn>
                <a:cxn ang="0">
                  <a:pos x="70" y="4"/>
                </a:cxn>
                <a:cxn ang="0">
                  <a:pos x="68" y="12"/>
                </a:cxn>
                <a:cxn ang="0">
                  <a:pos x="68" y="20"/>
                </a:cxn>
                <a:cxn ang="0">
                  <a:pos x="74" y="26"/>
                </a:cxn>
                <a:cxn ang="0">
                  <a:pos x="74" y="28"/>
                </a:cxn>
                <a:cxn ang="0">
                  <a:pos x="68" y="32"/>
                </a:cxn>
                <a:cxn ang="0">
                  <a:pos x="60" y="36"/>
                </a:cxn>
                <a:cxn ang="0">
                  <a:pos x="60" y="36"/>
                </a:cxn>
                <a:cxn ang="0">
                  <a:pos x="64" y="42"/>
                </a:cxn>
                <a:cxn ang="0">
                  <a:pos x="64" y="46"/>
                </a:cxn>
                <a:cxn ang="0">
                  <a:pos x="58" y="54"/>
                </a:cxn>
                <a:cxn ang="0">
                  <a:pos x="56" y="64"/>
                </a:cxn>
                <a:cxn ang="0">
                  <a:pos x="70" y="76"/>
                </a:cxn>
                <a:cxn ang="0">
                  <a:pos x="0" y="154"/>
                </a:cxn>
                <a:cxn ang="0">
                  <a:pos x="0" y="164"/>
                </a:cxn>
                <a:cxn ang="0">
                  <a:pos x="4" y="176"/>
                </a:cxn>
                <a:cxn ang="0">
                  <a:pos x="18" y="184"/>
                </a:cxn>
                <a:cxn ang="0">
                  <a:pos x="28" y="188"/>
                </a:cxn>
                <a:cxn ang="0">
                  <a:pos x="34" y="192"/>
                </a:cxn>
                <a:cxn ang="0">
                  <a:pos x="30" y="198"/>
                </a:cxn>
                <a:cxn ang="0">
                  <a:pos x="34" y="204"/>
                </a:cxn>
                <a:cxn ang="0">
                  <a:pos x="40" y="206"/>
                </a:cxn>
              </a:cxnLst>
              <a:rect l="0" t="0" r="r" b="b"/>
              <a:pathLst>
                <a:path w="156" h="206">
                  <a:moveTo>
                    <a:pt x="40" y="206"/>
                  </a:moveTo>
                  <a:lnTo>
                    <a:pt x="40" y="206"/>
                  </a:lnTo>
                  <a:lnTo>
                    <a:pt x="46" y="204"/>
                  </a:lnTo>
                  <a:lnTo>
                    <a:pt x="54" y="200"/>
                  </a:lnTo>
                  <a:lnTo>
                    <a:pt x="54" y="200"/>
                  </a:lnTo>
                  <a:lnTo>
                    <a:pt x="58" y="198"/>
                  </a:lnTo>
                  <a:lnTo>
                    <a:pt x="66" y="196"/>
                  </a:lnTo>
                  <a:lnTo>
                    <a:pt x="72" y="194"/>
                  </a:lnTo>
                  <a:lnTo>
                    <a:pt x="80" y="190"/>
                  </a:lnTo>
                  <a:lnTo>
                    <a:pt x="80" y="190"/>
                  </a:lnTo>
                  <a:lnTo>
                    <a:pt x="84" y="184"/>
                  </a:lnTo>
                  <a:lnTo>
                    <a:pt x="84" y="182"/>
                  </a:lnTo>
                  <a:lnTo>
                    <a:pt x="84" y="180"/>
                  </a:lnTo>
                  <a:lnTo>
                    <a:pt x="84" y="176"/>
                  </a:lnTo>
                  <a:lnTo>
                    <a:pt x="84" y="176"/>
                  </a:lnTo>
                  <a:lnTo>
                    <a:pt x="90" y="174"/>
                  </a:lnTo>
                  <a:lnTo>
                    <a:pt x="98" y="172"/>
                  </a:lnTo>
                  <a:lnTo>
                    <a:pt x="102" y="172"/>
                  </a:lnTo>
                  <a:lnTo>
                    <a:pt x="106" y="170"/>
                  </a:lnTo>
                  <a:lnTo>
                    <a:pt x="108" y="166"/>
                  </a:lnTo>
                  <a:lnTo>
                    <a:pt x="108" y="162"/>
                  </a:lnTo>
                  <a:lnTo>
                    <a:pt x="108" y="162"/>
                  </a:lnTo>
                  <a:lnTo>
                    <a:pt x="108" y="156"/>
                  </a:lnTo>
                  <a:lnTo>
                    <a:pt x="110" y="150"/>
                  </a:lnTo>
                  <a:lnTo>
                    <a:pt x="116" y="144"/>
                  </a:lnTo>
                  <a:lnTo>
                    <a:pt x="120" y="144"/>
                  </a:lnTo>
                  <a:lnTo>
                    <a:pt x="126" y="144"/>
                  </a:lnTo>
                  <a:lnTo>
                    <a:pt x="126" y="144"/>
                  </a:lnTo>
                  <a:lnTo>
                    <a:pt x="132" y="146"/>
                  </a:lnTo>
                  <a:lnTo>
                    <a:pt x="134" y="146"/>
                  </a:lnTo>
                  <a:lnTo>
                    <a:pt x="134" y="144"/>
                  </a:lnTo>
                  <a:lnTo>
                    <a:pt x="128" y="132"/>
                  </a:lnTo>
                  <a:lnTo>
                    <a:pt x="128" y="132"/>
                  </a:lnTo>
                  <a:lnTo>
                    <a:pt x="128" y="126"/>
                  </a:lnTo>
                  <a:lnTo>
                    <a:pt x="126" y="120"/>
                  </a:lnTo>
                  <a:lnTo>
                    <a:pt x="130" y="108"/>
                  </a:lnTo>
                  <a:lnTo>
                    <a:pt x="134" y="100"/>
                  </a:lnTo>
                  <a:lnTo>
                    <a:pt x="136" y="100"/>
                  </a:lnTo>
                  <a:lnTo>
                    <a:pt x="136" y="100"/>
                  </a:lnTo>
                  <a:lnTo>
                    <a:pt x="136" y="100"/>
                  </a:lnTo>
                  <a:lnTo>
                    <a:pt x="140" y="102"/>
                  </a:lnTo>
                  <a:lnTo>
                    <a:pt x="142" y="98"/>
                  </a:lnTo>
                  <a:lnTo>
                    <a:pt x="146" y="88"/>
                  </a:lnTo>
                  <a:lnTo>
                    <a:pt x="150" y="74"/>
                  </a:lnTo>
                  <a:lnTo>
                    <a:pt x="154" y="66"/>
                  </a:lnTo>
                  <a:lnTo>
                    <a:pt x="154" y="66"/>
                  </a:lnTo>
                  <a:lnTo>
                    <a:pt x="156" y="64"/>
                  </a:lnTo>
                  <a:lnTo>
                    <a:pt x="156" y="62"/>
                  </a:lnTo>
                  <a:lnTo>
                    <a:pt x="154" y="60"/>
                  </a:lnTo>
                  <a:lnTo>
                    <a:pt x="152" y="60"/>
                  </a:lnTo>
                  <a:lnTo>
                    <a:pt x="152" y="60"/>
                  </a:lnTo>
                  <a:lnTo>
                    <a:pt x="150" y="58"/>
                  </a:lnTo>
                  <a:lnTo>
                    <a:pt x="146" y="56"/>
                  </a:lnTo>
                  <a:lnTo>
                    <a:pt x="144" y="52"/>
                  </a:lnTo>
                  <a:lnTo>
                    <a:pt x="142" y="46"/>
                  </a:lnTo>
                  <a:lnTo>
                    <a:pt x="142" y="46"/>
                  </a:lnTo>
                  <a:lnTo>
                    <a:pt x="140" y="40"/>
                  </a:lnTo>
                  <a:lnTo>
                    <a:pt x="140" y="40"/>
                  </a:lnTo>
                  <a:lnTo>
                    <a:pt x="138" y="40"/>
                  </a:lnTo>
                  <a:lnTo>
                    <a:pt x="136" y="36"/>
                  </a:lnTo>
                  <a:lnTo>
                    <a:pt x="136" y="36"/>
                  </a:lnTo>
                  <a:lnTo>
                    <a:pt x="132" y="34"/>
                  </a:lnTo>
                  <a:lnTo>
                    <a:pt x="130" y="34"/>
                  </a:lnTo>
                  <a:lnTo>
                    <a:pt x="128" y="34"/>
                  </a:lnTo>
                  <a:lnTo>
                    <a:pt x="122" y="30"/>
                  </a:lnTo>
                  <a:lnTo>
                    <a:pt x="122" y="30"/>
                  </a:lnTo>
                  <a:lnTo>
                    <a:pt x="114" y="26"/>
                  </a:lnTo>
                  <a:lnTo>
                    <a:pt x="106" y="22"/>
                  </a:lnTo>
                  <a:lnTo>
                    <a:pt x="100" y="18"/>
                  </a:lnTo>
                  <a:lnTo>
                    <a:pt x="96" y="14"/>
                  </a:lnTo>
                  <a:lnTo>
                    <a:pt x="96" y="14"/>
                  </a:lnTo>
                  <a:lnTo>
                    <a:pt x="96" y="12"/>
                  </a:lnTo>
                  <a:lnTo>
                    <a:pt x="92" y="8"/>
                  </a:lnTo>
                  <a:lnTo>
                    <a:pt x="86" y="6"/>
                  </a:lnTo>
                  <a:lnTo>
                    <a:pt x="82" y="0"/>
                  </a:lnTo>
                  <a:lnTo>
                    <a:pt x="82" y="0"/>
                  </a:lnTo>
                  <a:lnTo>
                    <a:pt x="80" y="2"/>
                  </a:lnTo>
                  <a:lnTo>
                    <a:pt x="78" y="2"/>
                  </a:lnTo>
                  <a:lnTo>
                    <a:pt x="74" y="2"/>
                  </a:lnTo>
                  <a:lnTo>
                    <a:pt x="70" y="4"/>
                  </a:lnTo>
                  <a:lnTo>
                    <a:pt x="68" y="8"/>
                  </a:lnTo>
                  <a:lnTo>
                    <a:pt x="68" y="12"/>
                  </a:lnTo>
                  <a:lnTo>
                    <a:pt x="68" y="12"/>
                  </a:lnTo>
                  <a:lnTo>
                    <a:pt x="68" y="20"/>
                  </a:lnTo>
                  <a:lnTo>
                    <a:pt x="72" y="24"/>
                  </a:lnTo>
                  <a:lnTo>
                    <a:pt x="74" y="26"/>
                  </a:lnTo>
                  <a:lnTo>
                    <a:pt x="74" y="28"/>
                  </a:lnTo>
                  <a:lnTo>
                    <a:pt x="74" y="28"/>
                  </a:lnTo>
                  <a:lnTo>
                    <a:pt x="70" y="32"/>
                  </a:lnTo>
                  <a:lnTo>
                    <a:pt x="68" y="32"/>
                  </a:lnTo>
                  <a:lnTo>
                    <a:pt x="64" y="32"/>
                  </a:lnTo>
                  <a:lnTo>
                    <a:pt x="60" y="36"/>
                  </a:lnTo>
                  <a:lnTo>
                    <a:pt x="60" y="36"/>
                  </a:lnTo>
                  <a:lnTo>
                    <a:pt x="60" y="36"/>
                  </a:lnTo>
                  <a:lnTo>
                    <a:pt x="62" y="38"/>
                  </a:lnTo>
                  <a:lnTo>
                    <a:pt x="64" y="42"/>
                  </a:lnTo>
                  <a:lnTo>
                    <a:pt x="64" y="46"/>
                  </a:lnTo>
                  <a:lnTo>
                    <a:pt x="64" y="46"/>
                  </a:lnTo>
                  <a:lnTo>
                    <a:pt x="60" y="52"/>
                  </a:lnTo>
                  <a:lnTo>
                    <a:pt x="58" y="54"/>
                  </a:lnTo>
                  <a:lnTo>
                    <a:pt x="56" y="56"/>
                  </a:lnTo>
                  <a:lnTo>
                    <a:pt x="56" y="64"/>
                  </a:lnTo>
                  <a:lnTo>
                    <a:pt x="56" y="64"/>
                  </a:lnTo>
                  <a:lnTo>
                    <a:pt x="70" y="76"/>
                  </a:lnTo>
                  <a:lnTo>
                    <a:pt x="60" y="126"/>
                  </a:lnTo>
                  <a:lnTo>
                    <a:pt x="0" y="154"/>
                  </a:lnTo>
                  <a:lnTo>
                    <a:pt x="0" y="154"/>
                  </a:lnTo>
                  <a:lnTo>
                    <a:pt x="0" y="164"/>
                  </a:lnTo>
                  <a:lnTo>
                    <a:pt x="2" y="172"/>
                  </a:lnTo>
                  <a:lnTo>
                    <a:pt x="4" y="176"/>
                  </a:lnTo>
                  <a:lnTo>
                    <a:pt x="10" y="180"/>
                  </a:lnTo>
                  <a:lnTo>
                    <a:pt x="18" y="184"/>
                  </a:lnTo>
                  <a:lnTo>
                    <a:pt x="28" y="188"/>
                  </a:lnTo>
                  <a:lnTo>
                    <a:pt x="28" y="188"/>
                  </a:lnTo>
                  <a:lnTo>
                    <a:pt x="32" y="190"/>
                  </a:lnTo>
                  <a:lnTo>
                    <a:pt x="34" y="192"/>
                  </a:lnTo>
                  <a:lnTo>
                    <a:pt x="32" y="196"/>
                  </a:lnTo>
                  <a:lnTo>
                    <a:pt x="30" y="198"/>
                  </a:lnTo>
                  <a:lnTo>
                    <a:pt x="30" y="202"/>
                  </a:lnTo>
                  <a:lnTo>
                    <a:pt x="34" y="204"/>
                  </a:lnTo>
                  <a:lnTo>
                    <a:pt x="40" y="206"/>
                  </a:lnTo>
                  <a:lnTo>
                    <a:pt x="40" y="206"/>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Bhutan"/>
            <p:cNvSpPr>
              <a:spLocks/>
            </p:cNvSpPr>
            <p:nvPr/>
          </p:nvSpPr>
          <p:spPr bwMode="auto">
            <a:xfrm>
              <a:off x="6528559" y="2663031"/>
              <a:ext cx="89958" cy="42333"/>
            </a:xfrm>
            <a:custGeom>
              <a:avLst/>
              <a:gdLst/>
              <a:ahLst/>
              <a:cxnLst>
                <a:cxn ang="0">
                  <a:pos x="0" y="22"/>
                </a:cxn>
                <a:cxn ang="0">
                  <a:pos x="0" y="22"/>
                </a:cxn>
                <a:cxn ang="0">
                  <a:pos x="4" y="10"/>
                </a:cxn>
                <a:cxn ang="0">
                  <a:pos x="8" y="4"/>
                </a:cxn>
                <a:cxn ang="0">
                  <a:pos x="14" y="0"/>
                </a:cxn>
                <a:cxn ang="0">
                  <a:pos x="22" y="0"/>
                </a:cxn>
                <a:cxn ang="0">
                  <a:pos x="22" y="0"/>
                </a:cxn>
                <a:cxn ang="0">
                  <a:pos x="32" y="0"/>
                </a:cxn>
                <a:cxn ang="0">
                  <a:pos x="38" y="2"/>
                </a:cxn>
                <a:cxn ang="0">
                  <a:pos x="42" y="4"/>
                </a:cxn>
                <a:cxn ang="0">
                  <a:pos x="46" y="6"/>
                </a:cxn>
                <a:cxn ang="0">
                  <a:pos x="46" y="6"/>
                </a:cxn>
                <a:cxn ang="0">
                  <a:pos x="48" y="8"/>
                </a:cxn>
                <a:cxn ang="0">
                  <a:pos x="50" y="6"/>
                </a:cxn>
                <a:cxn ang="0">
                  <a:pos x="50" y="6"/>
                </a:cxn>
                <a:cxn ang="0">
                  <a:pos x="52" y="10"/>
                </a:cxn>
                <a:cxn ang="0">
                  <a:pos x="54" y="12"/>
                </a:cxn>
                <a:cxn ang="0">
                  <a:pos x="64" y="12"/>
                </a:cxn>
                <a:cxn ang="0">
                  <a:pos x="64" y="12"/>
                </a:cxn>
                <a:cxn ang="0">
                  <a:pos x="66" y="14"/>
                </a:cxn>
                <a:cxn ang="0">
                  <a:pos x="68" y="18"/>
                </a:cxn>
                <a:cxn ang="0">
                  <a:pos x="68" y="28"/>
                </a:cxn>
                <a:cxn ang="0">
                  <a:pos x="68" y="28"/>
                </a:cxn>
                <a:cxn ang="0">
                  <a:pos x="68" y="28"/>
                </a:cxn>
                <a:cxn ang="0">
                  <a:pos x="66" y="30"/>
                </a:cxn>
                <a:cxn ang="0">
                  <a:pos x="58" y="28"/>
                </a:cxn>
                <a:cxn ang="0">
                  <a:pos x="50" y="28"/>
                </a:cxn>
                <a:cxn ang="0">
                  <a:pos x="42" y="30"/>
                </a:cxn>
                <a:cxn ang="0">
                  <a:pos x="42" y="30"/>
                </a:cxn>
                <a:cxn ang="0">
                  <a:pos x="38" y="32"/>
                </a:cxn>
                <a:cxn ang="0">
                  <a:pos x="32" y="32"/>
                </a:cxn>
                <a:cxn ang="0">
                  <a:pos x="28" y="30"/>
                </a:cxn>
                <a:cxn ang="0">
                  <a:pos x="24" y="26"/>
                </a:cxn>
                <a:cxn ang="0">
                  <a:pos x="24" y="26"/>
                </a:cxn>
                <a:cxn ang="0">
                  <a:pos x="20" y="24"/>
                </a:cxn>
                <a:cxn ang="0">
                  <a:pos x="12" y="24"/>
                </a:cxn>
                <a:cxn ang="0">
                  <a:pos x="6" y="24"/>
                </a:cxn>
                <a:cxn ang="0">
                  <a:pos x="0" y="22"/>
                </a:cxn>
                <a:cxn ang="0">
                  <a:pos x="0" y="22"/>
                </a:cxn>
              </a:cxnLst>
              <a:rect l="0" t="0" r="r" b="b"/>
              <a:pathLst>
                <a:path w="68" h="32">
                  <a:moveTo>
                    <a:pt x="0" y="22"/>
                  </a:moveTo>
                  <a:lnTo>
                    <a:pt x="0" y="22"/>
                  </a:lnTo>
                  <a:lnTo>
                    <a:pt x="4" y="10"/>
                  </a:lnTo>
                  <a:lnTo>
                    <a:pt x="8" y="4"/>
                  </a:lnTo>
                  <a:lnTo>
                    <a:pt x="14" y="0"/>
                  </a:lnTo>
                  <a:lnTo>
                    <a:pt x="22" y="0"/>
                  </a:lnTo>
                  <a:lnTo>
                    <a:pt x="22" y="0"/>
                  </a:lnTo>
                  <a:lnTo>
                    <a:pt x="32" y="0"/>
                  </a:lnTo>
                  <a:lnTo>
                    <a:pt x="38" y="2"/>
                  </a:lnTo>
                  <a:lnTo>
                    <a:pt x="42" y="4"/>
                  </a:lnTo>
                  <a:lnTo>
                    <a:pt x="46" y="6"/>
                  </a:lnTo>
                  <a:lnTo>
                    <a:pt x="46" y="6"/>
                  </a:lnTo>
                  <a:lnTo>
                    <a:pt x="48" y="8"/>
                  </a:lnTo>
                  <a:lnTo>
                    <a:pt x="50" y="6"/>
                  </a:lnTo>
                  <a:lnTo>
                    <a:pt x="50" y="6"/>
                  </a:lnTo>
                  <a:lnTo>
                    <a:pt x="52" y="10"/>
                  </a:lnTo>
                  <a:lnTo>
                    <a:pt x="54" y="12"/>
                  </a:lnTo>
                  <a:lnTo>
                    <a:pt x="64" y="12"/>
                  </a:lnTo>
                  <a:lnTo>
                    <a:pt x="64" y="12"/>
                  </a:lnTo>
                  <a:lnTo>
                    <a:pt x="66" y="14"/>
                  </a:lnTo>
                  <a:lnTo>
                    <a:pt x="68" y="18"/>
                  </a:lnTo>
                  <a:lnTo>
                    <a:pt x="68" y="28"/>
                  </a:lnTo>
                  <a:lnTo>
                    <a:pt x="68" y="28"/>
                  </a:lnTo>
                  <a:lnTo>
                    <a:pt x="68" y="28"/>
                  </a:lnTo>
                  <a:lnTo>
                    <a:pt x="66" y="30"/>
                  </a:lnTo>
                  <a:lnTo>
                    <a:pt x="58" y="28"/>
                  </a:lnTo>
                  <a:lnTo>
                    <a:pt x="50" y="28"/>
                  </a:lnTo>
                  <a:lnTo>
                    <a:pt x="42" y="30"/>
                  </a:lnTo>
                  <a:lnTo>
                    <a:pt x="42" y="30"/>
                  </a:lnTo>
                  <a:lnTo>
                    <a:pt x="38" y="32"/>
                  </a:lnTo>
                  <a:lnTo>
                    <a:pt x="32" y="32"/>
                  </a:lnTo>
                  <a:lnTo>
                    <a:pt x="28" y="30"/>
                  </a:lnTo>
                  <a:lnTo>
                    <a:pt x="24" y="26"/>
                  </a:lnTo>
                  <a:lnTo>
                    <a:pt x="24" y="26"/>
                  </a:lnTo>
                  <a:lnTo>
                    <a:pt x="20" y="24"/>
                  </a:lnTo>
                  <a:lnTo>
                    <a:pt x="12" y="24"/>
                  </a:lnTo>
                  <a:lnTo>
                    <a:pt x="6" y="24"/>
                  </a:lnTo>
                  <a:lnTo>
                    <a:pt x="0" y="22"/>
                  </a:lnTo>
                  <a:lnTo>
                    <a:pt x="0" y="22"/>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Nepal"/>
            <p:cNvSpPr>
              <a:spLocks/>
            </p:cNvSpPr>
            <p:nvPr/>
          </p:nvSpPr>
          <p:spPr bwMode="auto">
            <a:xfrm>
              <a:off x="6277205" y="2620698"/>
              <a:ext cx="235479" cy="121708"/>
            </a:xfrm>
            <a:custGeom>
              <a:avLst/>
              <a:gdLst/>
              <a:ahLst/>
              <a:cxnLst>
                <a:cxn ang="0">
                  <a:pos x="24" y="0"/>
                </a:cxn>
                <a:cxn ang="0">
                  <a:pos x="36" y="2"/>
                </a:cxn>
                <a:cxn ang="0">
                  <a:pos x="48" y="6"/>
                </a:cxn>
                <a:cxn ang="0">
                  <a:pos x="52" y="8"/>
                </a:cxn>
                <a:cxn ang="0">
                  <a:pos x="58" y="6"/>
                </a:cxn>
                <a:cxn ang="0">
                  <a:pos x="70" y="8"/>
                </a:cxn>
                <a:cxn ang="0">
                  <a:pos x="76" y="12"/>
                </a:cxn>
                <a:cxn ang="0">
                  <a:pos x="100" y="26"/>
                </a:cxn>
                <a:cxn ang="0">
                  <a:pos x="110" y="30"/>
                </a:cxn>
                <a:cxn ang="0">
                  <a:pos x="112" y="34"/>
                </a:cxn>
                <a:cxn ang="0">
                  <a:pos x="118" y="34"/>
                </a:cxn>
                <a:cxn ang="0">
                  <a:pos x="126" y="36"/>
                </a:cxn>
                <a:cxn ang="0">
                  <a:pos x="128" y="42"/>
                </a:cxn>
                <a:cxn ang="0">
                  <a:pos x="132" y="42"/>
                </a:cxn>
                <a:cxn ang="0">
                  <a:pos x="156" y="40"/>
                </a:cxn>
                <a:cxn ang="0">
                  <a:pos x="176" y="46"/>
                </a:cxn>
                <a:cxn ang="0">
                  <a:pos x="178" y="50"/>
                </a:cxn>
                <a:cxn ang="0">
                  <a:pos x="172" y="60"/>
                </a:cxn>
                <a:cxn ang="0">
                  <a:pos x="164" y="70"/>
                </a:cxn>
                <a:cxn ang="0">
                  <a:pos x="166" y="72"/>
                </a:cxn>
                <a:cxn ang="0">
                  <a:pos x="168" y="84"/>
                </a:cxn>
                <a:cxn ang="0">
                  <a:pos x="164" y="92"/>
                </a:cxn>
                <a:cxn ang="0">
                  <a:pos x="156" y="92"/>
                </a:cxn>
                <a:cxn ang="0">
                  <a:pos x="150" y="92"/>
                </a:cxn>
                <a:cxn ang="0">
                  <a:pos x="146" y="92"/>
                </a:cxn>
                <a:cxn ang="0">
                  <a:pos x="138" y="90"/>
                </a:cxn>
                <a:cxn ang="0">
                  <a:pos x="128" y="88"/>
                </a:cxn>
                <a:cxn ang="0">
                  <a:pos x="122" y="88"/>
                </a:cxn>
                <a:cxn ang="0">
                  <a:pos x="116" y="82"/>
                </a:cxn>
                <a:cxn ang="0">
                  <a:pos x="112" y="82"/>
                </a:cxn>
                <a:cxn ang="0">
                  <a:pos x="110" y="80"/>
                </a:cxn>
                <a:cxn ang="0">
                  <a:pos x="102" y="72"/>
                </a:cxn>
                <a:cxn ang="0">
                  <a:pos x="84" y="66"/>
                </a:cxn>
                <a:cxn ang="0">
                  <a:pos x="76" y="66"/>
                </a:cxn>
                <a:cxn ang="0">
                  <a:pos x="74" y="68"/>
                </a:cxn>
                <a:cxn ang="0">
                  <a:pos x="70" y="68"/>
                </a:cxn>
                <a:cxn ang="0">
                  <a:pos x="58" y="66"/>
                </a:cxn>
                <a:cxn ang="0">
                  <a:pos x="54" y="64"/>
                </a:cxn>
                <a:cxn ang="0">
                  <a:pos x="54" y="60"/>
                </a:cxn>
                <a:cxn ang="0">
                  <a:pos x="40" y="56"/>
                </a:cxn>
                <a:cxn ang="0">
                  <a:pos x="24" y="46"/>
                </a:cxn>
                <a:cxn ang="0">
                  <a:pos x="20" y="42"/>
                </a:cxn>
                <a:cxn ang="0">
                  <a:pos x="10" y="42"/>
                </a:cxn>
                <a:cxn ang="0">
                  <a:pos x="4" y="38"/>
                </a:cxn>
                <a:cxn ang="0">
                  <a:pos x="2" y="32"/>
                </a:cxn>
                <a:cxn ang="0">
                  <a:pos x="14" y="22"/>
                </a:cxn>
                <a:cxn ang="0">
                  <a:pos x="18" y="16"/>
                </a:cxn>
                <a:cxn ang="0">
                  <a:pos x="16" y="12"/>
                </a:cxn>
                <a:cxn ang="0">
                  <a:pos x="18" y="10"/>
                </a:cxn>
                <a:cxn ang="0">
                  <a:pos x="24" y="0"/>
                </a:cxn>
              </a:cxnLst>
              <a:rect l="0" t="0" r="r" b="b"/>
              <a:pathLst>
                <a:path w="178" h="92">
                  <a:moveTo>
                    <a:pt x="24" y="0"/>
                  </a:moveTo>
                  <a:lnTo>
                    <a:pt x="24" y="0"/>
                  </a:lnTo>
                  <a:lnTo>
                    <a:pt x="30" y="2"/>
                  </a:lnTo>
                  <a:lnTo>
                    <a:pt x="36" y="2"/>
                  </a:lnTo>
                  <a:lnTo>
                    <a:pt x="42" y="2"/>
                  </a:lnTo>
                  <a:lnTo>
                    <a:pt x="48" y="6"/>
                  </a:lnTo>
                  <a:lnTo>
                    <a:pt x="48" y="6"/>
                  </a:lnTo>
                  <a:lnTo>
                    <a:pt x="52" y="8"/>
                  </a:lnTo>
                  <a:lnTo>
                    <a:pt x="54" y="8"/>
                  </a:lnTo>
                  <a:lnTo>
                    <a:pt x="58" y="6"/>
                  </a:lnTo>
                  <a:lnTo>
                    <a:pt x="64" y="6"/>
                  </a:lnTo>
                  <a:lnTo>
                    <a:pt x="70" y="8"/>
                  </a:lnTo>
                  <a:lnTo>
                    <a:pt x="76" y="12"/>
                  </a:lnTo>
                  <a:lnTo>
                    <a:pt x="76" y="12"/>
                  </a:lnTo>
                  <a:lnTo>
                    <a:pt x="92" y="22"/>
                  </a:lnTo>
                  <a:lnTo>
                    <a:pt x="100" y="26"/>
                  </a:lnTo>
                  <a:lnTo>
                    <a:pt x="106" y="26"/>
                  </a:lnTo>
                  <a:lnTo>
                    <a:pt x="110" y="30"/>
                  </a:lnTo>
                  <a:lnTo>
                    <a:pt x="110" y="30"/>
                  </a:lnTo>
                  <a:lnTo>
                    <a:pt x="112" y="34"/>
                  </a:lnTo>
                  <a:lnTo>
                    <a:pt x="114" y="36"/>
                  </a:lnTo>
                  <a:lnTo>
                    <a:pt x="118" y="34"/>
                  </a:lnTo>
                  <a:lnTo>
                    <a:pt x="124" y="34"/>
                  </a:lnTo>
                  <a:lnTo>
                    <a:pt x="126" y="36"/>
                  </a:lnTo>
                  <a:lnTo>
                    <a:pt x="128" y="42"/>
                  </a:lnTo>
                  <a:lnTo>
                    <a:pt x="128" y="42"/>
                  </a:lnTo>
                  <a:lnTo>
                    <a:pt x="130" y="42"/>
                  </a:lnTo>
                  <a:lnTo>
                    <a:pt x="132" y="42"/>
                  </a:lnTo>
                  <a:lnTo>
                    <a:pt x="140" y="40"/>
                  </a:lnTo>
                  <a:lnTo>
                    <a:pt x="156" y="40"/>
                  </a:lnTo>
                  <a:lnTo>
                    <a:pt x="164" y="42"/>
                  </a:lnTo>
                  <a:lnTo>
                    <a:pt x="176" y="46"/>
                  </a:lnTo>
                  <a:lnTo>
                    <a:pt x="176" y="46"/>
                  </a:lnTo>
                  <a:lnTo>
                    <a:pt x="178" y="50"/>
                  </a:lnTo>
                  <a:lnTo>
                    <a:pt x="178" y="54"/>
                  </a:lnTo>
                  <a:lnTo>
                    <a:pt x="172" y="60"/>
                  </a:lnTo>
                  <a:lnTo>
                    <a:pt x="166" y="66"/>
                  </a:lnTo>
                  <a:lnTo>
                    <a:pt x="164" y="70"/>
                  </a:lnTo>
                  <a:lnTo>
                    <a:pt x="166" y="72"/>
                  </a:lnTo>
                  <a:lnTo>
                    <a:pt x="166" y="72"/>
                  </a:lnTo>
                  <a:lnTo>
                    <a:pt x="168" y="78"/>
                  </a:lnTo>
                  <a:lnTo>
                    <a:pt x="168" y="84"/>
                  </a:lnTo>
                  <a:lnTo>
                    <a:pt x="166" y="88"/>
                  </a:lnTo>
                  <a:lnTo>
                    <a:pt x="164" y="92"/>
                  </a:lnTo>
                  <a:lnTo>
                    <a:pt x="164" y="92"/>
                  </a:lnTo>
                  <a:lnTo>
                    <a:pt x="156" y="92"/>
                  </a:lnTo>
                  <a:lnTo>
                    <a:pt x="152" y="92"/>
                  </a:lnTo>
                  <a:lnTo>
                    <a:pt x="150" y="92"/>
                  </a:lnTo>
                  <a:lnTo>
                    <a:pt x="146" y="92"/>
                  </a:lnTo>
                  <a:lnTo>
                    <a:pt x="146" y="92"/>
                  </a:lnTo>
                  <a:lnTo>
                    <a:pt x="140" y="92"/>
                  </a:lnTo>
                  <a:lnTo>
                    <a:pt x="138" y="90"/>
                  </a:lnTo>
                  <a:lnTo>
                    <a:pt x="136" y="88"/>
                  </a:lnTo>
                  <a:lnTo>
                    <a:pt x="128" y="88"/>
                  </a:lnTo>
                  <a:lnTo>
                    <a:pt x="128" y="88"/>
                  </a:lnTo>
                  <a:lnTo>
                    <a:pt x="122" y="88"/>
                  </a:lnTo>
                  <a:lnTo>
                    <a:pt x="118" y="84"/>
                  </a:lnTo>
                  <a:lnTo>
                    <a:pt x="116" y="82"/>
                  </a:lnTo>
                  <a:lnTo>
                    <a:pt x="112" y="82"/>
                  </a:lnTo>
                  <a:lnTo>
                    <a:pt x="112" y="82"/>
                  </a:lnTo>
                  <a:lnTo>
                    <a:pt x="110" y="82"/>
                  </a:lnTo>
                  <a:lnTo>
                    <a:pt x="110" y="80"/>
                  </a:lnTo>
                  <a:lnTo>
                    <a:pt x="108" y="76"/>
                  </a:lnTo>
                  <a:lnTo>
                    <a:pt x="102" y="72"/>
                  </a:lnTo>
                  <a:lnTo>
                    <a:pt x="102" y="72"/>
                  </a:lnTo>
                  <a:lnTo>
                    <a:pt x="84" y="66"/>
                  </a:lnTo>
                  <a:lnTo>
                    <a:pt x="78" y="66"/>
                  </a:lnTo>
                  <a:lnTo>
                    <a:pt x="76" y="66"/>
                  </a:lnTo>
                  <a:lnTo>
                    <a:pt x="74" y="68"/>
                  </a:lnTo>
                  <a:lnTo>
                    <a:pt x="74" y="68"/>
                  </a:lnTo>
                  <a:lnTo>
                    <a:pt x="74" y="68"/>
                  </a:lnTo>
                  <a:lnTo>
                    <a:pt x="70" y="68"/>
                  </a:lnTo>
                  <a:lnTo>
                    <a:pt x="58" y="66"/>
                  </a:lnTo>
                  <a:lnTo>
                    <a:pt x="58" y="66"/>
                  </a:lnTo>
                  <a:lnTo>
                    <a:pt x="54" y="66"/>
                  </a:lnTo>
                  <a:lnTo>
                    <a:pt x="54" y="64"/>
                  </a:lnTo>
                  <a:lnTo>
                    <a:pt x="56" y="62"/>
                  </a:lnTo>
                  <a:lnTo>
                    <a:pt x="54" y="60"/>
                  </a:lnTo>
                  <a:lnTo>
                    <a:pt x="54" y="60"/>
                  </a:lnTo>
                  <a:lnTo>
                    <a:pt x="40" y="56"/>
                  </a:lnTo>
                  <a:lnTo>
                    <a:pt x="32" y="52"/>
                  </a:lnTo>
                  <a:lnTo>
                    <a:pt x="24" y="46"/>
                  </a:lnTo>
                  <a:lnTo>
                    <a:pt x="24" y="46"/>
                  </a:lnTo>
                  <a:lnTo>
                    <a:pt x="20" y="42"/>
                  </a:lnTo>
                  <a:lnTo>
                    <a:pt x="16" y="42"/>
                  </a:lnTo>
                  <a:lnTo>
                    <a:pt x="10" y="42"/>
                  </a:lnTo>
                  <a:lnTo>
                    <a:pt x="4" y="38"/>
                  </a:lnTo>
                  <a:lnTo>
                    <a:pt x="4" y="38"/>
                  </a:lnTo>
                  <a:lnTo>
                    <a:pt x="0" y="36"/>
                  </a:lnTo>
                  <a:lnTo>
                    <a:pt x="2" y="32"/>
                  </a:lnTo>
                  <a:lnTo>
                    <a:pt x="8" y="28"/>
                  </a:lnTo>
                  <a:lnTo>
                    <a:pt x="14" y="22"/>
                  </a:lnTo>
                  <a:lnTo>
                    <a:pt x="14" y="22"/>
                  </a:lnTo>
                  <a:lnTo>
                    <a:pt x="18" y="16"/>
                  </a:lnTo>
                  <a:lnTo>
                    <a:pt x="18" y="14"/>
                  </a:lnTo>
                  <a:lnTo>
                    <a:pt x="16" y="12"/>
                  </a:lnTo>
                  <a:lnTo>
                    <a:pt x="18" y="10"/>
                  </a:lnTo>
                  <a:lnTo>
                    <a:pt x="18" y="10"/>
                  </a:lnTo>
                  <a:lnTo>
                    <a:pt x="22" y="2"/>
                  </a:lnTo>
                  <a:lnTo>
                    <a:pt x="24" y="0"/>
                  </a:lnTo>
                  <a:lnTo>
                    <a:pt x="24" y="0"/>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Bangladesh"/>
            <p:cNvSpPr>
              <a:spLocks/>
            </p:cNvSpPr>
            <p:nvPr/>
          </p:nvSpPr>
          <p:spPr bwMode="auto">
            <a:xfrm>
              <a:off x="6499455" y="2710656"/>
              <a:ext cx="166688" cy="209021"/>
            </a:xfrm>
            <a:custGeom>
              <a:avLst/>
              <a:gdLst/>
              <a:ahLst/>
              <a:cxnLst>
                <a:cxn ang="0">
                  <a:pos x="118" y="150"/>
                </a:cxn>
                <a:cxn ang="0">
                  <a:pos x="122" y="144"/>
                </a:cxn>
                <a:cxn ang="0">
                  <a:pos x="122" y="130"/>
                </a:cxn>
                <a:cxn ang="0">
                  <a:pos x="124" y="128"/>
                </a:cxn>
                <a:cxn ang="0">
                  <a:pos x="112" y="98"/>
                </a:cxn>
                <a:cxn ang="0">
                  <a:pos x="104" y="86"/>
                </a:cxn>
                <a:cxn ang="0">
                  <a:pos x="98" y="88"/>
                </a:cxn>
                <a:cxn ang="0">
                  <a:pos x="94" y="90"/>
                </a:cxn>
                <a:cxn ang="0">
                  <a:pos x="90" y="90"/>
                </a:cxn>
                <a:cxn ang="0">
                  <a:pos x="82" y="86"/>
                </a:cxn>
                <a:cxn ang="0">
                  <a:pos x="82" y="76"/>
                </a:cxn>
                <a:cxn ang="0">
                  <a:pos x="96" y="70"/>
                </a:cxn>
                <a:cxn ang="0">
                  <a:pos x="106" y="64"/>
                </a:cxn>
                <a:cxn ang="0">
                  <a:pos x="110" y="56"/>
                </a:cxn>
                <a:cxn ang="0">
                  <a:pos x="112" y="50"/>
                </a:cxn>
                <a:cxn ang="0">
                  <a:pos x="92" y="46"/>
                </a:cxn>
                <a:cxn ang="0">
                  <a:pos x="62" y="44"/>
                </a:cxn>
                <a:cxn ang="0">
                  <a:pos x="50" y="36"/>
                </a:cxn>
                <a:cxn ang="0">
                  <a:pos x="40" y="18"/>
                </a:cxn>
                <a:cxn ang="0">
                  <a:pos x="34" y="22"/>
                </a:cxn>
                <a:cxn ang="0">
                  <a:pos x="32" y="12"/>
                </a:cxn>
                <a:cxn ang="0">
                  <a:pos x="28" y="10"/>
                </a:cxn>
                <a:cxn ang="0">
                  <a:pos x="24" y="14"/>
                </a:cxn>
                <a:cxn ang="0">
                  <a:pos x="16" y="0"/>
                </a:cxn>
                <a:cxn ang="0">
                  <a:pos x="14" y="14"/>
                </a:cxn>
                <a:cxn ang="0">
                  <a:pos x="2" y="22"/>
                </a:cxn>
                <a:cxn ang="0">
                  <a:pos x="4" y="26"/>
                </a:cxn>
                <a:cxn ang="0">
                  <a:pos x="28" y="40"/>
                </a:cxn>
                <a:cxn ang="0">
                  <a:pos x="26" y="44"/>
                </a:cxn>
                <a:cxn ang="0">
                  <a:pos x="18" y="54"/>
                </a:cxn>
                <a:cxn ang="0">
                  <a:pos x="20" y="64"/>
                </a:cxn>
                <a:cxn ang="0">
                  <a:pos x="38" y="76"/>
                </a:cxn>
                <a:cxn ang="0">
                  <a:pos x="38" y="88"/>
                </a:cxn>
                <a:cxn ang="0">
                  <a:pos x="40" y="94"/>
                </a:cxn>
                <a:cxn ang="0">
                  <a:pos x="38" y="98"/>
                </a:cxn>
                <a:cxn ang="0">
                  <a:pos x="46" y="110"/>
                </a:cxn>
                <a:cxn ang="0">
                  <a:pos x="46" y="128"/>
                </a:cxn>
                <a:cxn ang="0">
                  <a:pos x="50" y="130"/>
                </a:cxn>
                <a:cxn ang="0">
                  <a:pos x="54" y="128"/>
                </a:cxn>
                <a:cxn ang="0">
                  <a:pos x="58" y="130"/>
                </a:cxn>
                <a:cxn ang="0">
                  <a:pos x="62" y="126"/>
                </a:cxn>
                <a:cxn ang="0">
                  <a:pos x="64" y="126"/>
                </a:cxn>
                <a:cxn ang="0">
                  <a:pos x="64" y="120"/>
                </a:cxn>
                <a:cxn ang="0">
                  <a:pos x="72" y="126"/>
                </a:cxn>
                <a:cxn ang="0">
                  <a:pos x="76" y="120"/>
                </a:cxn>
                <a:cxn ang="0">
                  <a:pos x="78" y="116"/>
                </a:cxn>
                <a:cxn ang="0">
                  <a:pos x="76" y="112"/>
                </a:cxn>
                <a:cxn ang="0">
                  <a:pos x="78" y="108"/>
                </a:cxn>
                <a:cxn ang="0">
                  <a:pos x="74" y="104"/>
                </a:cxn>
                <a:cxn ang="0">
                  <a:pos x="74" y="102"/>
                </a:cxn>
                <a:cxn ang="0">
                  <a:pos x="76" y="96"/>
                </a:cxn>
                <a:cxn ang="0">
                  <a:pos x="86" y="108"/>
                </a:cxn>
                <a:cxn ang="0">
                  <a:pos x="88" y="108"/>
                </a:cxn>
                <a:cxn ang="0">
                  <a:pos x="98" y="128"/>
                </a:cxn>
                <a:cxn ang="0">
                  <a:pos x="106" y="144"/>
                </a:cxn>
                <a:cxn ang="0">
                  <a:pos x="116" y="158"/>
                </a:cxn>
              </a:cxnLst>
              <a:rect l="0" t="0" r="r" b="b"/>
              <a:pathLst>
                <a:path w="126" h="158">
                  <a:moveTo>
                    <a:pt x="116" y="158"/>
                  </a:moveTo>
                  <a:lnTo>
                    <a:pt x="116" y="158"/>
                  </a:lnTo>
                  <a:lnTo>
                    <a:pt x="118" y="150"/>
                  </a:lnTo>
                  <a:lnTo>
                    <a:pt x="120" y="148"/>
                  </a:lnTo>
                  <a:lnTo>
                    <a:pt x="122" y="148"/>
                  </a:lnTo>
                  <a:lnTo>
                    <a:pt x="122" y="144"/>
                  </a:lnTo>
                  <a:lnTo>
                    <a:pt x="122" y="144"/>
                  </a:lnTo>
                  <a:lnTo>
                    <a:pt x="120" y="134"/>
                  </a:lnTo>
                  <a:lnTo>
                    <a:pt x="122" y="130"/>
                  </a:lnTo>
                  <a:lnTo>
                    <a:pt x="126" y="130"/>
                  </a:lnTo>
                  <a:lnTo>
                    <a:pt x="126" y="130"/>
                  </a:lnTo>
                  <a:lnTo>
                    <a:pt x="124" y="128"/>
                  </a:lnTo>
                  <a:lnTo>
                    <a:pt x="120" y="124"/>
                  </a:lnTo>
                  <a:lnTo>
                    <a:pt x="116" y="112"/>
                  </a:lnTo>
                  <a:lnTo>
                    <a:pt x="112" y="98"/>
                  </a:lnTo>
                  <a:lnTo>
                    <a:pt x="108" y="88"/>
                  </a:lnTo>
                  <a:lnTo>
                    <a:pt x="108" y="88"/>
                  </a:lnTo>
                  <a:lnTo>
                    <a:pt x="104" y="86"/>
                  </a:lnTo>
                  <a:lnTo>
                    <a:pt x="102" y="86"/>
                  </a:lnTo>
                  <a:lnTo>
                    <a:pt x="100" y="88"/>
                  </a:lnTo>
                  <a:lnTo>
                    <a:pt x="98" y="88"/>
                  </a:lnTo>
                  <a:lnTo>
                    <a:pt x="98" y="88"/>
                  </a:lnTo>
                  <a:lnTo>
                    <a:pt x="94" y="88"/>
                  </a:lnTo>
                  <a:lnTo>
                    <a:pt x="94" y="90"/>
                  </a:lnTo>
                  <a:lnTo>
                    <a:pt x="92" y="92"/>
                  </a:lnTo>
                  <a:lnTo>
                    <a:pt x="90" y="90"/>
                  </a:lnTo>
                  <a:lnTo>
                    <a:pt x="90" y="90"/>
                  </a:lnTo>
                  <a:lnTo>
                    <a:pt x="88" y="88"/>
                  </a:lnTo>
                  <a:lnTo>
                    <a:pt x="84" y="88"/>
                  </a:lnTo>
                  <a:lnTo>
                    <a:pt x="82" y="86"/>
                  </a:lnTo>
                  <a:lnTo>
                    <a:pt x="80" y="82"/>
                  </a:lnTo>
                  <a:lnTo>
                    <a:pt x="80" y="82"/>
                  </a:lnTo>
                  <a:lnTo>
                    <a:pt x="82" y="76"/>
                  </a:lnTo>
                  <a:lnTo>
                    <a:pt x="86" y="72"/>
                  </a:lnTo>
                  <a:lnTo>
                    <a:pt x="90" y="70"/>
                  </a:lnTo>
                  <a:lnTo>
                    <a:pt x="96" y="70"/>
                  </a:lnTo>
                  <a:lnTo>
                    <a:pt x="104" y="68"/>
                  </a:lnTo>
                  <a:lnTo>
                    <a:pt x="108" y="68"/>
                  </a:lnTo>
                  <a:lnTo>
                    <a:pt x="106" y="64"/>
                  </a:lnTo>
                  <a:lnTo>
                    <a:pt x="106" y="64"/>
                  </a:lnTo>
                  <a:lnTo>
                    <a:pt x="106" y="60"/>
                  </a:lnTo>
                  <a:lnTo>
                    <a:pt x="110" y="56"/>
                  </a:lnTo>
                  <a:lnTo>
                    <a:pt x="112" y="52"/>
                  </a:lnTo>
                  <a:lnTo>
                    <a:pt x="112" y="50"/>
                  </a:lnTo>
                  <a:lnTo>
                    <a:pt x="112" y="50"/>
                  </a:lnTo>
                  <a:lnTo>
                    <a:pt x="108" y="46"/>
                  </a:lnTo>
                  <a:lnTo>
                    <a:pt x="104" y="46"/>
                  </a:lnTo>
                  <a:lnTo>
                    <a:pt x="92" y="46"/>
                  </a:lnTo>
                  <a:lnTo>
                    <a:pt x="76" y="48"/>
                  </a:lnTo>
                  <a:lnTo>
                    <a:pt x="68" y="48"/>
                  </a:lnTo>
                  <a:lnTo>
                    <a:pt x="62" y="44"/>
                  </a:lnTo>
                  <a:lnTo>
                    <a:pt x="62" y="44"/>
                  </a:lnTo>
                  <a:lnTo>
                    <a:pt x="56" y="42"/>
                  </a:lnTo>
                  <a:lnTo>
                    <a:pt x="50" y="36"/>
                  </a:lnTo>
                  <a:lnTo>
                    <a:pt x="46" y="26"/>
                  </a:lnTo>
                  <a:lnTo>
                    <a:pt x="42" y="18"/>
                  </a:lnTo>
                  <a:lnTo>
                    <a:pt x="40" y="18"/>
                  </a:lnTo>
                  <a:lnTo>
                    <a:pt x="36" y="20"/>
                  </a:lnTo>
                  <a:lnTo>
                    <a:pt x="36" y="20"/>
                  </a:lnTo>
                  <a:lnTo>
                    <a:pt x="34" y="22"/>
                  </a:lnTo>
                  <a:lnTo>
                    <a:pt x="34" y="20"/>
                  </a:lnTo>
                  <a:lnTo>
                    <a:pt x="34" y="16"/>
                  </a:lnTo>
                  <a:lnTo>
                    <a:pt x="32" y="12"/>
                  </a:lnTo>
                  <a:lnTo>
                    <a:pt x="32" y="12"/>
                  </a:lnTo>
                  <a:lnTo>
                    <a:pt x="30" y="10"/>
                  </a:lnTo>
                  <a:lnTo>
                    <a:pt x="28" y="10"/>
                  </a:lnTo>
                  <a:lnTo>
                    <a:pt x="28" y="14"/>
                  </a:lnTo>
                  <a:lnTo>
                    <a:pt x="26" y="16"/>
                  </a:lnTo>
                  <a:lnTo>
                    <a:pt x="24" y="14"/>
                  </a:lnTo>
                  <a:lnTo>
                    <a:pt x="18" y="0"/>
                  </a:lnTo>
                  <a:lnTo>
                    <a:pt x="18" y="0"/>
                  </a:lnTo>
                  <a:lnTo>
                    <a:pt x="16" y="0"/>
                  </a:lnTo>
                  <a:lnTo>
                    <a:pt x="14" y="2"/>
                  </a:lnTo>
                  <a:lnTo>
                    <a:pt x="14" y="14"/>
                  </a:lnTo>
                  <a:lnTo>
                    <a:pt x="14" y="14"/>
                  </a:lnTo>
                  <a:lnTo>
                    <a:pt x="12" y="18"/>
                  </a:lnTo>
                  <a:lnTo>
                    <a:pt x="8" y="20"/>
                  </a:lnTo>
                  <a:lnTo>
                    <a:pt x="2" y="22"/>
                  </a:lnTo>
                  <a:lnTo>
                    <a:pt x="0" y="24"/>
                  </a:lnTo>
                  <a:lnTo>
                    <a:pt x="0" y="24"/>
                  </a:lnTo>
                  <a:lnTo>
                    <a:pt x="4" y="26"/>
                  </a:lnTo>
                  <a:lnTo>
                    <a:pt x="14" y="32"/>
                  </a:lnTo>
                  <a:lnTo>
                    <a:pt x="24" y="36"/>
                  </a:lnTo>
                  <a:lnTo>
                    <a:pt x="28" y="40"/>
                  </a:lnTo>
                  <a:lnTo>
                    <a:pt x="28" y="42"/>
                  </a:lnTo>
                  <a:lnTo>
                    <a:pt x="28" y="42"/>
                  </a:lnTo>
                  <a:lnTo>
                    <a:pt x="26" y="44"/>
                  </a:lnTo>
                  <a:lnTo>
                    <a:pt x="24" y="46"/>
                  </a:lnTo>
                  <a:lnTo>
                    <a:pt x="20" y="48"/>
                  </a:lnTo>
                  <a:lnTo>
                    <a:pt x="18" y="54"/>
                  </a:lnTo>
                  <a:lnTo>
                    <a:pt x="18" y="54"/>
                  </a:lnTo>
                  <a:lnTo>
                    <a:pt x="18" y="60"/>
                  </a:lnTo>
                  <a:lnTo>
                    <a:pt x="20" y="64"/>
                  </a:lnTo>
                  <a:lnTo>
                    <a:pt x="28" y="68"/>
                  </a:lnTo>
                  <a:lnTo>
                    <a:pt x="36" y="74"/>
                  </a:lnTo>
                  <a:lnTo>
                    <a:pt x="38" y="76"/>
                  </a:lnTo>
                  <a:lnTo>
                    <a:pt x="38" y="80"/>
                  </a:lnTo>
                  <a:lnTo>
                    <a:pt x="38" y="80"/>
                  </a:lnTo>
                  <a:lnTo>
                    <a:pt x="38" y="88"/>
                  </a:lnTo>
                  <a:lnTo>
                    <a:pt x="40" y="90"/>
                  </a:lnTo>
                  <a:lnTo>
                    <a:pt x="40" y="90"/>
                  </a:lnTo>
                  <a:lnTo>
                    <a:pt x="40" y="94"/>
                  </a:lnTo>
                  <a:lnTo>
                    <a:pt x="40" y="94"/>
                  </a:lnTo>
                  <a:lnTo>
                    <a:pt x="38" y="96"/>
                  </a:lnTo>
                  <a:lnTo>
                    <a:pt x="38" y="98"/>
                  </a:lnTo>
                  <a:lnTo>
                    <a:pt x="40" y="102"/>
                  </a:lnTo>
                  <a:lnTo>
                    <a:pt x="44" y="106"/>
                  </a:lnTo>
                  <a:lnTo>
                    <a:pt x="46" y="110"/>
                  </a:lnTo>
                  <a:lnTo>
                    <a:pt x="46" y="118"/>
                  </a:lnTo>
                  <a:lnTo>
                    <a:pt x="46" y="128"/>
                  </a:lnTo>
                  <a:lnTo>
                    <a:pt x="46" y="128"/>
                  </a:lnTo>
                  <a:lnTo>
                    <a:pt x="48" y="128"/>
                  </a:lnTo>
                  <a:lnTo>
                    <a:pt x="50" y="130"/>
                  </a:lnTo>
                  <a:lnTo>
                    <a:pt x="50" y="130"/>
                  </a:lnTo>
                  <a:lnTo>
                    <a:pt x="50" y="130"/>
                  </a:lnTo>
                  <a:lnTo>
                    <a:pt x="52" y="128"/>
                  </a:lnTo>
                  <a:lnTo>
                    <a:pt x="54" y="128"/>
                  </a:lnTo>
                  <a:lnTo>
                    <a:pt x="56" y="128"/>
                  </a:lnTo>
                  <a:lnTo>
                    <a:pt x="56" y="128"/>
                  </a:lnTo>
                  <a:lnTo>
                    <a:pt x="58" y="130"/>
                  </a:lnTo>
                  <a:lnTo>
                    <a:pt x="58" y="128"/>
                  </a:lnTo>
                  <a:lnTo>
                    <a:pt x="60" y="126"/>
                  </a:lnTo>
                  <a:lnTo>
                    <a:pt x="62" y="126"/>
                  </a:lnTo>
                  <a:lnTo>
                    <a:pt x="62" y="126"/>
                  </a:lnTo>
                  <a:lnTo>
                    <a:pt x="64" y="128"/>
                  </a:lnTo>
                  <a:lnTo>
                    <a:pt x="64" y="126"/>
                  </a:lnTo>
                  <a:lnTo>
                    <a:pt x="62" y="122"/>
                  </a:lnTo>
                  <a:lnTo>
                    <a:pt x="62" y="122"/>
                  </a:lnTo>
                  <a:lnTo>
                    <a:pt x="64" y="120"/>
                  </a:lnTo>
                  <a:lnTo>
                    <a:pt x="68" y="124"/>
                  </a:lnTo>
                  <a:lnTo>
                    <a:pt x="68" y="124"/>
                  </a:lnTo>
                  <a:lnTo>
                    <a:pt x="72" y="126"/>
                  </a:lnTo>
                  <a:lnTo>
                    <a:pt x="72" y="124"/>
                  </a:lnTo>
                  <a:lnTo>
                    <a:pt x="74" y="122"/>
                  </a:lnTo>
                  <a:lnTo>
                    <a:pt x="76" y="120"/>
                  </a:lnTo>
                  <a:lnTo>
                    <a:pt x="76" y="120"/>
                  </a:lnTo>
                  <a:lnTo>
                    <a:pt x="78" y="118"/>
                  </a:lnTo>
                  <a:lnTo>
                    <a:pt x="78" y="116"/>
                  </a:lnTo>
                  <a:lnTo>
                    <a:pt x="78" y="112"/>
                  </a:lnTo>
                  <a:lnTo>
                    <a:pt x="76" y="112"/>
                  </a:lnTo>
                  <a:lnTo>
                    <a:pt x="76" y="112"/>
                  </a:lnTo>
                  <a:lnTo>
                    <a:pt x="76" y="110"/>
                  </a:lnTo>
                  <a:lnTo>
                    <a:pt x="78" y="108"/>
                  </a:lnTo>
                  <a:lnTo>
                    <a:pt x="78" y="108"/>
                  </a:lnTo>
                  <a:lnTo>
                    <a:pt x="76" y="106"/>
                  </a:lnTo>
                  <a:lnTo>
                    <a:pt x="76" y="106"/>
                  </a:lnTo>
                  <a:lnTo>
                    <a:pt x="74" y="104"/>
                  </a:lnTo>
                  <a:lnTo>
                    <a:pt x="70" y="102"/>
                  </a:lnTo>
                  <a:lnTo>
                    <a:pt x="70" y="102"/>
                  </a:lnTo>
                  <a:lnTo>
                    <a:pt x="74" y="102"/>
                  </a:lnTo>
                  <a:lnTo>
                    <a:pt x="76" y="102"/>
                  </a:lnTo>
                  <a:lnTo>
                    <a:pt x="76" y="96"/>
                  </a:lnTo>
                  <a:lnTo>
                    <a:pt x="76" y="96"/>
                  </a:lnTo>
                  <a:lnTo>
                    <a:pt x="78" y="104"/>
                  </a:lnTo>
                  <a:lnTo>
                    <a:pt x="82" y="106"/>
                  </a:lnTo>
                  <a:lnTo>
                    <a:pt x="86" y="108"/>
                  </a:lnTo>
                  <a:lnTo>
                    <a:pt x="90" y="108"/>
                  </a:lnTo>
                  <a:lnTo>
                    <a:pt x="90" y="108"/>
                  </a:lnTo>
                  <a:lnTo>
                    <a:pt x="88" y="108"/>
                  </a:lnTo>
                  <a:lnTo>
                    <a:pt x="88" y="110"/>
                  </a:lnTo>
                  <a:lnTo>
                    <a:pt x="92" y="118"/>
                  </a:lnTo>
                  <a:lnTo>
                    <a:pt x="98" y="128"/>
                  </a:lnTo>
                  <a:lnTo>
                    <a:pt x="104" y="138"/>
                  </a:lnTo>
                  <a:lnTo>
                    <a:pt x="104" y="138"/>
                  </a:lnTo>
                  <a:lnTo>
                    <a:pt x="106" y="144"/>
                  </a:lnTo>
                  <a:lnTo>
                    <a:pt x="110" y="150"/>
                  </a:lnTo>
                  <a:lnTo>
                    <a:pt x="116" y="158"/>
                  </a:lnTo>
                  <a:lnTo>
                    <a:pt x="116" y="158"/>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179"/>
            <p:cNvSpPr>
              <a:spLocks/>
            </p:cNvSpPr>
            <p:nvPr/>
          </p:nvSpPr>
          <p:spPr bwMode="auto">
            <a:xfrm>
              <a:off x="7290559" y="2223823"/>
              <a:ext cx="121708" cy="150813"/>
            </a:xfrm>
            <a:custGeom>
              <a:avLst/>
              <a:gdLst/>
              <a:ahLst/>
              <a:cxnLst>
                <a:cxn ang="0">
                  <a:pos x="92" y="92"/>
                </a:cxn>
                <a:cxn ang="0">
                  <a:pos x="90" y="96"/>
                </a:cxn>
                <a:cxn ang="0">
                  <a:pos x="82" y="98"/>
                </a:cxn>
                <a:cxn ang="0">
                  <a:pos x="74" y="100"/>
                </a:cxn>
                <a:cxn ang="0">
                  <a:pos x="62" y="114"/>
                </a:cxn>
                <a:cxn ang="0">
                  <a:pos x="58" y="112"/>
                </a:cxn>
                <a:cxn ang="0">
                  <a:pos x="56" y="110"/>
                </a:cxn>
                <a:cxn ang="0">
                  <a:pos x="42" y="110"/>
                </a:cxn>
                <a:cxn ang="0">
                  <a:pos x="30" y="108"/>
                </a:cxn>
                <a:cxn ang="0">
                  <a:pos x="32" y="106"/>
                </a:cxn>
                <a:cxn ang="0">
                  <a:pos x="30" y="102"/>
                </a:cxn>
                <a:cxn ang="0">
                  <a:pos x="16" y="100"/>
                </a:cxn>
                <a:cxn ang="0">
                  <a:pos x="18" y="98"/>
                </a:cxn>
                <a:cxn ang="0">
                  <a:pos x="12" y="98"/>
                </a:cxn>
                <a:cxn ang="0">
                  <a:pos x="14" y="94"/>
                </a:cxn>
                <a:cxn ang="0">
                  <a:pos x="20" y="86"/>
                </a:cxn>
                <a:cxn ang="0">
                  <a:pos x="18" y="84"/>
                </a:cxn>
                <a:cxn ang="0">
                  <a:pos x="12" y="82"/>
                </a:cxn>
                <a:cxn ang="0">
                  <a:pos x="10" y="80"/>
                </a:cxn>
                <a:cxn ang="0">
                  <a:pos x="14" y="74"/>
                </a:cxn>
                <a:cxn ang="0">
                  <a:pos x="14" y="72"/>
                </a:cxn>
                <a:cxn ang="0">
                  <a:pos x="4" y="70"/>
                </a:cxn>
                <a:cxn ang="0">
                  <a:pos x="0" y="68"/>
                </a:cxn>
                <a:cxn ang="0">
                  <a:pos x="0" y="66"/>
                </a:cxn>
                <a:cxn ang="0">
                  <a:pos x="2" y="64"/>
                </a:cxn>
                <a:cxn ang="0">
                  <a:pos x="14" y="54"/>
                </a:cxn>
                <a:cxn ang="0">
                  <a:pos x="18" y="44"/>
                </a:cxn>
                <a:cxn ang="0">
                  <a:pos x="22" y="38"/>
                </a:cxn>
                <a:cxn ang="0">
                  <a:pos x="30" y="30"/>
                </a:cxn>
                <a:cxn ang="0">
                  <a:pos x="46" y="28"/>
                </a:cxn>
                <a:cxn ang="0">
                  <a:pos x="54" y="30"/>
                </a:cxn>
                <a:cxn ang="0">
                  <a:pos x="62" y="26"/>
                </a:cxn>
                <a:cxn ang="0">
                  <a:pos x="58" y="22"/>
                </a:cxn>
                <a:cxn ang="0">
                  <a:pos x="56" y="20"/>
                </a:cxn>
                <a:cxn ang="0">
                  <a:pos x="70" y="16"/>
                </a:cxn>
                <a:cxn ang="0">
                  <a:pos x="70" y="12"/>
                </a:cxn>
                <a:cxn ang="0">
                  <a:pos x="68" y="8"/>
                </a:cxn>
                <a:cxn ang="0">
                  <a:pos x="74" y="4"/>
                </a:cxn>
                <a:cxn ang="0">
                  <a:pos x="74" y="0"/>
                </a:cxn>
                <a:cxn ang="0">
                  <a:pos x="76" y="0"/>
                </a:cxn>
                <a:cxn ang="0">
                  <a:pos x="88" y="10"/>
                </a:cxn>
                <a:cxn ang="0">
                  <a:pos x="92" y="6"/>
                </a:cxn>
                <a:cxn ang="0">
                  <a:pos x="90" y="12"/>
                </a:cxn>
                <a:cxn ang="0">
                  <a:pos x="86" y="22"/>
                </a:cxn>
                <a:cxn ang="0">
                  <a:pos x="86" y="26"/>
                </a:cxn>
                <a:cxn ang="0">
                  <a:pos x="86" y="34"/>
                </a:cxn>
                <a:cxn ang="0">
                  <a:pos x="82" y="36"/>
                </a:cxn>
                <a:cxn ang="0">
                  <a:pos x="82" y="38"/>
                </a:cxn>
                <a:cxn ang="0">
                  <a:pos x="88" y="38"/>
                </a:cxn>
                <a:cxn ang="0">
                  <a:pos x="90" y="44"/>
                </a:cxn>
                <a:cxn ang="0">
                  <a:pos x="88" y="48"/>
                </a:cxn>
                <a:cxn ang="0">
                  <a:pos x="88" y="60"/>
                </a:cxn>
                <a:cxn ang="0">
                  <a:pos x="88" y="66"/>
                </a:cxn>
                <a:cxn ang="0">
                  <a:pos x="86" y="66"/>
                </a:cxn>
                <a:cxn ang="0">
                  <a:pos x="74" y="66"/>
                </a:cxn>
                <a:cxn ang="0">
                  <a:pos x="70" y="72"/>
                </a:cxn>
                <a:cxn ang="0">
                  <a:pos x="68" y="78"/>
                </a:cxn>
                <a:cxn ang="0">
                  <a:pos x="72" y="78"/>
                </a:cxn>
                <a:cxn ang="0">
                  <a:pos x="76" y="78"/>
                </a:cxn>
                <a:cxn ang="0">
                  <a:pos x="86" y="86"/>
                </a:cxn>
                <a:cxn ang="0">
                  <a:pos x="90" y="88"/>
                </a:cxn>
                <a:cxn ang="0">
                  <a:pos x="92" y="92"/>
                </a:cxn>
              </a:cxnLst>
              <a:rect l="0" t="0" r="r" b="b"/>
              <a:pathLst>
                <a:path w="92" h="114">
                  <a:moveTo>
                    <a:pt x="92" y="92"/>
                  </a:moveTo>
                  <a:lnTo>
                    <a:pt x="92" y="92"/>
                  </a:lnTo>
                  <a:lnTo>
                    <a:pt x="90" y="94"/>
                  </a:lnTo>
                  <a:lnTo>
                    <a:pt x="90" y="96"/>
                  </a:lnTo>
                  <a:lnTo>
                    <a:pt x="88" y="98"/>
                  </a:lnTo>
                  <a:lnTo>
                    <a:pt x="82" y="98"/>
                  </a:lnTo>
                  <a:lnTo>
                    <a:pt x="82" y="98"/>
                  </a:lnTo>
                  <a:lnTo>
                    <a:pt x="74" y="100"/>
                  </a:lnTo>
                  <a:lnTo>
                    <a:pt x="70" y="104"/>
                  </a:lnTo>
                  <a:lnTo>
                    <a:pt x="62" y="114"/>
                  </a:lnTo>
                  <a:lnTo>
                    <a:pt x="62" y="114"/>
                  </a:lnTo>
                  <a:lnTo>
                    <a:pt x="58" y="112"/>
                  </a:lnTo>
                  <a:lnTo>
                    <a:pt x="56" y="110"/>
                  </a:lnTo>
                  <a:lnTo>
                    <a:pt x="56" y="110"/>
                  </a:lnTo>
                  <a:lnTo>
                    <a:pt x="42" y="110"/>
                  </a:lnTo>
                  <a:lnTo>
                    <a:pt x="42" y="110"/>
                  </a:lnTo>
                  <a:lnTo>
                    <a:pt x="34" y="108"/>
                  </a:lnTo>
                  <a:lnTo>
                    <a:pt x="30" y="108"/>
                  </a:lnTo>
                  <a:lnTo>
                    <a:pt x="32" y="106"/>
                  </a:lnTo>
                  <a:lnTo>
                    <a:pt x="32" y="106"/>
                  </a:lnTo>
                  <a:lnTo>
                    <a:pt x="32" y="104"/>
                  </a:lnTo>
                  <a:lnTo>
                    <a:pt x="30" y="102"/>
                  </a:lnTo>
                  <a:lnTo>
                    <a:pt x="24" y="102"/>
                  </a:lnTo>
                  <a:lnTo>
                    <a:pt x="16" y="100"/>
                  </a:lnTo>
                  <a:lnTo>
                    <a:pt x="16" y="100"/>
                  </a:lnTo>
                  <a:lnTo>
                    <a:pt x="18" y="98"/>
                  </a:lnTo>
                  <a:lnTo>
                    <a:pt x="18" y="98"/>
                  </a:lnTo>
                  <a:lnTo>
                    <a:pt x="12" y="98"/>
                  </a:lnTo>
                  <a:lnTo>
                    <a:pt x="12" y="96"/>
                  </a:lnTo>
                  <a:lnTo>
                    <a:pt x="14" y="94"/>
                  </a:lnTo>
                  <a:lnTo>
                    <a:pt x="14" y="94"/>
                  </a:lnTo>
                  <a:lnTo>
                    <a:pt x="20" y="86"/>
                  </a:lnTo>
                  <a:lnTo>
                    <a:pt x="20" y="84"/>
                  </a:lnTo>
                  <a:lnTo>
                    <a:pt x="18" y="84"/>
                  </a:lnTo>
                  <a:lnTo>
                    <a:pt x="14" y="82"/>
                  </a:lnTo>
                  <a:lnTo>
                    <a:pt x="12" y="82"/>
                  </a:lnTo>
                  <a:lnTo>
                    <a:pt x="10" y="80"/>
                  </a:lnTo>
                  <a:lnTo>
                    <a:pt x="10" y="80"/>
                  </a:lnTo>
                  <a:lnTo>
                    <a:pt x="12" y="76"/>
                  </a:lnTo>
                  <a:lnTo>
                    <a:pt x="14" y="74"/>
                  </a:lnTo>
                  <a:lnTo>
                    <a:pt x="16" y="74"/>
                  </a:lnTo>
                  <a:lnTo>
                    <a:pt x="14" y="72"/>
                  </a:lnTo>
                  <a:lnTo>
                    <a:pt x="14" y="72"/>
                  </a:lnTo>
                  <a:lnTo>
                    <a:pt x="4" y="70"/>
                  </a:lnTo>
                  <a:lnTo>
                    <a:pt x="0" y="68"/>
                  </a:lnTo>
                  <a:lnTo>
                    <a:pt x="0" y="68"/>
                  </a:lnTo>
                  <a:lnTo>
                    <a:pt x="0" y="66"/>
                  </a:lnTo>
                  <a:lnTo>
                    <a:pt x="0" y="66"/>
                  </a:lnTo>
                  <a:lnTo>
                    <a:pt x="2" y="64"/>
                  </a:lnTo>
                  <a:lnTo>
                    <a:pt x="2" y="64"/>
                  </a:lnTo>
                  <a:lnTo>
                    <a:pt x="10" y="58"/>
                  </a:lnTo>
                  <a:lnTo>
                    <a:pt x="14" y="54"/>
                  </a:lnTo>
                  <a:lnTo>
                    <a:pt x="16" y="50"/>
                  </a:lnTo>
                  <a:lnTo>
                    <a:pt x="18" y="44"/>
                  </a:lnTo>
                  <a:lnTo>
                    <a:pt x="18" y="44"/>
                  </a:lnTo>
                  <a:lnTo>
                    <a:pt x="22" y="38"/>
                  </a:lnTo>
                  <a:lnTo>
                    <a:pt x="26" y="32"/>
                  </a:lnTo>
                  <a:lnTo>
                    <a:pt x="30" y="30"/>
                  </a:lnTo>
                  <a:lnTo>
                    <a:pt x="34" y="28"/>
                  </a:lnTo>
                  <a:lnTo>
                    <a:pt x="46" y="28"/>
                  </a:lnTo>
                  <a:lnTo>
                    <a:pt x="46" y="28"/>
                  </a:lnTo>
                  <a:lnTo>
                    <a:pt x="54" y="30"/>
                  </a:lnTo>
                  <a:lnTo>
                    <a:pt x="60" y="28"/>
                  </a:lnTo>
                  <a:lnTo>
                    <a:pt x="62" y="26"/>
                  </a:lnTo>
                  <a:lnTo>
                    <a:pt x="58" y="22"/>
                  </a:lnTo>
                  <a:lnTo>
                    <a:pt x="58" y="22"/>
                  </a:lnTo>
                  <a:lnTo>
                    <a:pt x="56" y="20"/>
                  </a:lnTo>
                  <a:lnTo>
                    <a:pt x="56" y="20"/>
                  </a:lnTo>
                  <a:lnTo>
                    <a:pt x="62" y="18"/>
                  </a:lnTo>
                  <a:lnTo>
                    <a:pt x="70" y="16"/>
                  </a:lnTo>
                  <a:lnTo>
                    <a:pt x="70" y="14"/>
                  </a:lnTo>
                  <a:lnTo>
                    <a:pt x="70" y="12"/>
                  </a:lnTo>
                  <a:lnTo>
                    <a:pt x="70" y="12"/>
                  </a:lnTo>
                  <a:lnTo>
                    <a:pt x="68" y="8"/>
                  </a:lnTo>
                  <a:lnTo>
                    <a:pt x="70" y="6"/>
                  </a:lnTo>
                  <a:lnTo>
                    <a:pt x="74" y="4"/>
                  </a:lnTo>
                  <a:lnTo>
                    <a:pt x="74" y="0"/>
                  </a:lnTo>
                  <a:lnTo>
                    <a:pt x="74" y="0"/>
                  </a:lnTo>
                  <a:lnTo>
                    <a:pt x="74" y="0"/>
                  </a:lnTo>
                  <a:lnTo>
                    <a:pt x="76" y="0"/>
                  </a:lnTo>
                  <a:lnTo>
                    <a:pt x="82" y="6"/>
                  </a:lnTo>
                  <a:lnTo>
                    <a:pt x="88" y="10"/>
                  </a:lnTo>
                  <a:lnTo>
                    <a:pt x="90" y="8"/>
                  </a:lnTo>
                  <a:lnTo>
                    <a:pt x="92" y="6"/>
                  </a:lnTo>
                  <a:lnTo>
                    <a:pt x="92" y="6"/>
                  </a:lnTo>
                  <a:lnTo>
                    <a:pt x="90" y="12"/>
                  </a:lnTo>
                  <a:lnTo>
                    <a:pt x="88" y="16"/>
                  </a:lnTo>
                  <a:lnTo>
                    <a:pt x="86" y="22"/>
                  </a:lnTo>
                  <a:lnTo>
                    <a:pt x="86" y="26"/>
                  </a:lnTo>
                  <a:lnTo>
                    <a:pt x="86" y="26"/>
                  </a:lnTo>
                  <a:lnTo>
                    <a:pt x="86" y="30"/>
                  </a:lnTo>
                  <a:lnTo>
                    <a:pt x="86" y="34"/>
                  </a:lnTo>
                  <a:lnTo>
                    <a:pt x="82" y="36"/>
                  </a:lnTo>
                  <a:lnTo>
                    <a:pt x="82" y="36"/>
                  </a:lnTo>
                  <a:lnTo>
                    <a:pt x="82" y="36"/>
                  </a:lnTo>
                  <a:lnTo>
                    <a:pt x="82" y="38"/>
                  </a:lnTo>
                  <a:lnTo>
                    <a:pt x="86" y="38"/>
                  </a:lnTo>
                  <a:lnTo>
                    <a:pt x="88" y="38"/>
                  </a:lnTo>
                  <a:lnTo>
                    <a:pt x="90" y="40"/>
                  </a:lnTo>
                  <a:lnTo>
                    <a:pt x="90" y="44"/>
                  </a:lnTo>
                  <a:lnTo>
                    <a:pt x="88" y="48"/>
                  </a:lnTo>
                  <a:lnTo>
                    <a:pt x="88" y="48"/>
                  </a:lnTo>
                  <a:lnTo>
                    <a:pt x="88" y="54"/>
                  </a:lnTo>
                  <a:lnTo>
                    <a:pt x="88" y="60"/>
                  </a:lnTo>
                  <a:lnTo>
                    <a:pt x="90" y="64"/>
                  </a:lnTo>
                  <a:lnTo>
                    <a:pt x="88" y="66"/>
                  </a:lnTo>
                  <a:lnTo>
                    <a:pt x="86" y="66"/>
                  </a:lnTo>
                  <a:lnTo>
                    <a:pt x="86" y="66"/>
                  </a:lnTo>
                  <a:lnTo>
                    <a:pt x="78" y="66"/>
                  </a:lnTo>
                  <a:lnTo>
                    <a:pt x="74" y="66"/>
                  </a:lnTo>
                  <a:lnTo>
                    <a:pt x="72" y="68"/>
                  </a:lnTo>
                  <a:lnTo>
                    <a:pt x="70" y="72"/>
                  </a:lnTo>
                  <a:lnTo>
                    <a:pt x="70" y="72"/>
                  </a:lnTo>
                  <a:lnTo>
                    <a:pt x="68" y="78"/>
                  </a:lnTo>
                  <a:lnTo>
                    <a:pt x="68" y="78"/>
                  </a:lnTo>
                  <a:lnTo>
                    <a:pt x="72" y="78"/>
                  </a:lnTo>
                  <a:lnTo>
                    <a:pt x="72" y="78"/>
                  </a:lnTo>
                  <a:lnTo>
                    <a:pt x="76" y="78"/>
                  </a:lnTo>
                  <a:lnTo>
                    <a:pt x="78" y="80"/>
                  </a:lnTo>
                  <a:lnTo>
                    <a:pt x="86" y="86"/>
                  </a:lnTo>
                  <a:lnTo>
                    <a:pt x="86" y="86"/>
                  </a:lnTo>
                  <a:lnTo>
                    <a:pt x="90" y="88"/>
                  </a:lnTo>
                  <a:lnTo>
                    <a:pt x="92" y="88"/>
                  </a:lnTo>
                  <a:lnTo>
                    <a:pt x="92" y="92"/>
                  </a:lnTo>
                  <a:lnTo>
                    <a:pt x="92" y="92"/>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Laos"/>
            <p:cNvSpPr>
              <a:spLocks/>
            </p:cNvSpPr>
            <p:nvPr/>
          </p:nvSpPr>
          <p:spPr bwMode="auto">
            <a:xfrm>
              <a:off x="6877809" y="2866760"/>
              <a:ext cx="261938" cy="280458"/>
            </a:xfrm>
            <a:custGeom>
              <a:avLst/>
              <a:gdLst/>
              <a:ahLst/>
              <a:cxnLst>
                <a:cxn ang="0">
                  <a:pos x="8" y="2"/>
                </a:cxn>
                <a:cxn ang="0">
                  <a:pos x="4" y="6"/>
                </a:cxn>
                <a:cxn ang="0">
                  <a:pos x="12" y="20"/>
                </a:cxn>
                <a:cxn ang="0">
                  <a:pos x="18" y="30"/>
                </a:cxn>
                <a:cxn ang="0">
                  <a:pos x="14" y="36"/>
                </a:cxn>
                <a:cxn ang="0">
                  <a:pos x="6" y="30"/>
                </a:cxn>
                <a:cxn ang="0">
                  <a:pos x="0" y="42"/>
                </a:cxn>
                <a:cxn ang="0">
                  <a:pos x="0" y="52"/>
                </a:cxn>
                <a:cxn ang="0">
                  <a:pos x="4" y="56"/>
                </a:cxn>
                <a:cxn ang="0">
                  <a:pos x="6" y="60"/>
                </a:cxn>
                <a:cxn ang="0">
                  <a:pos x="18" y="64"/>
                </a:cxn>
                <a:cxn ang="0">
                  <a:pos x="28" y="66"/>
                </a:cxn>
                <a:cxn ang="0">
                  <a:pos x="22" y="84"/>
                </a:cxn>
                <a:cxn ang="0">
                  <a:pos x="20" y="110"/>
                </a:cxn>
                <a:cxn ang="0">
                  <a:pos x="24" y="110"/>
                </a:cxn>
                <a:cxn ang="0">
                  <a:pos x="38" y="102"/>
                </a:cxn>
                <a:cxn ang="0">
                  <a:pos x="46" y="106"/>
                </a:cxn>
                <a:cxn ang="0">
                  <a:pos x="60" y="110"/>
                </a:cxn>
                <a:cxn ang="0">
                  <a:pos x="76" y="106"/>
                </a:cxn>
                <a:cxn ang="0">
                  <a:pos x="86" y="114"/>
                </a:cxn>
                <a:cxn ang="0">
                  <a:pos x="108" y="132"/>
                </a:cxn>
                <a:cxn ang="0">
                  <a:pos x="108" y="142"/>
                </a:cxn>
                <a:cxn ang="0">
                  <a:pos x="122" y="162"/>
                </a:cxn>
                <a:cxn ang="0">
                  <a:pos x="130" y="162"/>
                </a:cxn>
                <a:cxn ang="0">
                  <a:pos x="138" y="170"/>
                </a:cxn>
                <a:cxn ang="0">
                  <a:pos x="140" y="178"/>
                </a:cxn>
                <a:cxn ang="0">
                  <a:pos x="142" y="188"/>
                </a:cxn>
                <a:cxn ang="0">
                  <a:pos x="140" y="196"/>
                </a:cxn>
                <a:cxn ang="0">
                  <a:pos x="136" y="202"/>
                </a:cxn>
                <a:cxn ang="0">
                  <a:pos x="156" y="210"/>
                </a:cxn>
                <a:cxn ang="0">
                  <a:pos x="160" y="210"/>
                </a:cxn>
                <a:cxn ang="0">
                  <a:pos x="158" y="196"/>
                </a:cxn>
                <a:cxn ang="0">
                  <a:pos x="162" y="190"/>
                </a:cxn>
                <a:cxn ang="0">
                  <a:pos x="176" y="198"/>
                </a:cxn>
                <a:cxn ang="0">
                  <a:pos x="198" y="212"/>
                </a:cxn>
                <a:cxn ang="0">
                  <a:pos x="192" y="194"/>
                </a:cxn>
                <a:cxn ang="0">
                  <a:pos x="182" y="176"/>
                </a:cxn>
                <a:cxn ang="0">
                  <a:pos x="180" y="162"/>
                </a:cxn>
                <a:cxn ang="0">
                  <a:pos x="160" y="154"/>
                </a:cxn>
                <a:cxn ang="0">
                  <a:pos x="146" y="148"/>
                </a:cxn>
                <a:cxn ang="0">
                  <a:pos x="140" y="130"/>
                </a:cxn>
                <a:cxn ang="0">
                  <a:pos x="132" y="122"/>
                </a:cxn>
                <a:cxn ang="0">
                  <a:pos x="118" y="108"/>
                </a:cxn>
                <a:cxn ang="0">
                  <a:pos x="114" y="96"/>
                </a:cxn>
                <a:cxn ang="0">
                  <a:pos x="110" y="92"/>
                </a:cxn>
                <a:cxn ang="0">
                  <a:pos x="90" y="82"/>
                </a:cxn>
                <a:cxn ang="0">
                  <a:pos x="80" y="74"/>
                </a:cxn>
                <a:cxn ang="0">
                  <a:pos x="94" y="68"/>
                </a:cxn>
                <a:cxn ang="0">
                  <a:pos x="102" y="68"/>
                </a:cxn>
                <a:cxn ang="0">
                  <a:pos x="106" y="58"/>
                </a:cxn>
                <a:cxn ang="0">
                  <a:pos x="98" y="46"/>
                </a:cxn>
                <a:cxn ang="0">
                  <a:pos x="68" y="42"/>
                </a:cxn>
                <a:cxn ang="0">
                  <a:pos x="50" y="38"/>
                </a:cxn>
                <a:cxn ang="0">
                  <a:pos x="44" y="30"/>
                </a:cxn>
                <a:cxn ang="0">
                  <a:pos x="44" y="24"/>
                </a:cxn>
                <a:cxn ang="0">
                  <a:pos x="22" y="6"/>
                </a:cxn>
              </a:cxnLst>
              <a:rect l="0" t="0" r="r" b="b"/>
              <a:pathLst>
                <a:path w="198" h="212">
                  <a:moveTo>
                    <a:pt x="18" y="0"/>
                  </a:moveTo>
                  <a:lnTo>
                    <a:pt x="18" y="0"/>
                  </a:lnTo>
                  <a:lnTo>
                    <a:pt x="8" y="2"/>
                  </a:lnTo>
                  <a:lnTo>
                    <a:pt x="6" y="4"/>
                  </a:lnTo>
                  <a:lnTo>
                    <a:pt x="4" y="6"/>
                  </a:lnTo>
                  <a:lnTo>
                    <a:pt x="4" y="6"/>
                  </a:lnTo>
                  <a:lnTo>
                    <a:pt x="6" y="10"/>
                  </a:lnTo>
                  <a:lnTo>
                    <a:pt x="8" y="14"/>
                  </a:lnTo>
                  <a:lnTo>
                    <a:pt x="12" y="20"/>
                  </a:lnTo>
                  <a:lnTo>
                    <a:pt x="16" y="26"/>
                  </a:lnTo>
                  <a:lnTo>
                    <a:pt x="16" y="26"/>
                  </a:lnTo>
                  <a:lnTo>
                    <a:pt x="18" y="30"/>
                  </a:lnTo>
                  <a:lnTo>
                    <a:pt x="16" y="32"/>
                  </a:lnTo>
                  <a:lnTo>
                    <a:pt x="16" y="34"/>
                  </a:lnTo>
                  <a:lnTo>
                    <a:pt x="14" y="36"/>
                  </a:lnTo>
                  <a:lnTo>
                    <a:pt x="8" y="34"/>
                  </a:lnTo>
                  <a:lnTo>
                    <a:pt x="6" y="30"/>
                  </a:lnTo>
                  <a:lnTo>
                    <a:pt x="6" y="30"/>
                  </a:lnTo>
                  <a:lnTo>
                    <a:pt x="2" y="34"/>
                  </a:lnTo>
                  <a:lnTo>
                    <a:pt x="0" y="38"/>
                  </a:lnTo>
                  <a:lnTo>
                    <a:pt x="0" y="42"/>
                  </a:lnTo>
                  <a:lnTo>
                    <a:pt x="2" y="48"/>
                  </a:lnTo>
                  <a:lnTo>
                    <a:pt x="2" y="50"/>
                  </a:lnTo>
                  <a:lnTo>
                    <a:pt x="0" y="52"/>
                  </a:lnTo>
                  <a:lnTo>
                    <a:pt x="0" y="52"/>
                  </a:lnTo>
                  <a:lnTo>
                    <a:pt x="2" y="56"/>
                  </a:lnTo>
                  <a:lnTo>
                    <a:pt x="4" y="56"/>
                  </a:lnTo>
                  <a:lnTo>
                    <a:pt x="4" y="56"/>
                  </a:lnTo>
                  <a:lnTo>
                    <a:pt x="6" y="60"/>
                  </a:lnTo>
                  <a:lnTo>
                    <a:pt x="6" y="60"/>
                  </a:lnTo>
                  <a:lnTo>
                    <a:pt x="8" y="64"/>
                  </a:lnTo>
                  <a:lnTo>
                    <a:pt x="10" y="66"/>
                  </a:lnTo>
                  <a:lnTo>
                    <a:pt x="18" y="64"/>
                  </a:lnTo>
                  <a:lnTo>
                    <a:pt x="24" y="64"/>
                  </a:lnTo>
                  <a:lnTo>
                    <a:pt x="26" y="64"/>
                  </a:lnTo>
                  <a:lnTo>
                    <a:pt x="28" y="66"/>
                  </a:lnTo>
                  <a:lnTo>
                    <a:pt x="28" y="66"/>
                  </a:lnTo>
                  <a:lnTo>
                    <a:pt x="28" y="72"/>
                  </a:lnTo>
                  <a:lnTo>
                    <a:pt x="22" y="84"/>
                  </a:lnTo>
                  <a:lnTo>
                    <a:pt x="20" y="98"/>
                  </a:lnTo>
                  <a:lnTo>
                    <a:pt x="20" y="104"/>
                  </a:lnTo>
                  <a:lnTo>
                    <a:pt x="20" y="110"/>
                  </a:lnTo>
                  <a:lnTo>
                    <a:pt x="20" y="110"/>
                  </a:lnTo>
                  <a:lnTo>
                    <a:pt x="22" y="112"/>
                  </a:lnTo>
                  <a:lnTo>
                    <a:pt x="24" y="110"/>
                  </a:lnTo>
                  <a:lnTo>
                    <a:pt x="30" y="106"/>
                  </a:lnTo>
                  <a:lnTo>
                    <a:pt x="34" y="104"/>
                  </a:lnTo>
                  <a:lnTo>
                    <a:pt x="38" y="102"/>
                  </a:lnTo>
                  <a:lnTo>
                    <a:pt x="42" y="102"/>
                  </a:lnTo>
                  <a:lnTo>
                    <a:pt x="46" y="106"/>
                  </a:lnTo>
                  <a:lnTo>
                    <a:pt x="46" y="106"/>
                  </a:lnTo>
                  <a:lnTo>
                    <a:pt x="52" y="110"/>
                  </a:lnTo>
                  <a:lnTo>
                    <a:pt x="56" y="112"/>
                  </a:lnTo>
                  <a:lnTo>
                    <a:pt x="60" y="110"/>
                  </a:lnTo>
                  <a:lnTo>
                    <a:pt x="64" y="108"/>
                  </a:lnTo>
                  <a:lnTo>
                    <a:pt x="70" y="108"/>
                  </a:lnTo>
                  <a:lnTo>
                    <a:pt x="76" y="106"/>
                  </a:lnTo>
                  <a:lnTo>
                    <a:pt x="80" y="108"/>
                  </a:lnTo>
                  <a:lnTo>
                    <a:pt x="86" y="114"/>
                  </a:lnTo>
                  <a:lnTo>
                    <a:pt x="86" y="114"/>
                  </a:lnTo>
                  <a:lnTo>
                    <a:pt x="98" y="124"/>
                  </a:lnTo>
                  <a:lnTo>
                    <a:pt x="104" y="128"/>
                  </a:lnTo>
                  <a:lnTo>
                    <a:pt x="108" y="132"/>
                  </a:lnTo>
                  <a:lnTo>
                    <a:pt x="108" y="138"/>
                  </a:lnTo>
                  <a:lnTo>
                    <a:pt x="108" y="138"/>
                  </a:lnTo>
                  <a:lnTo>
                    <a:pt x="108" y="142"/>
                  </a:lnTo>
                  <a:lnTo>
                    <a:pt x="108" y="146"/>
                  </a:lnTo>
                  <a:lnTo>
                    <a:pt x="114" y="156"/>
                  </a:lnTo>
                  <a:lnTo>
                    <a:pt x="122" y="162"/>
                  </a:lnTo>
                  <a:lnTo>
                    <a:pt x="126" y="162"/>
                  </a:lnTo>
                  <a:lnTo>
                    <a:pt x="130" y="162"/>
                  </a:lnTo>
                  <a:lnTo>
                    <a:pt x="130" y="162"/>
                  </a:lnTo>
                  <a:lnTo>
                    <a:pt x="132" y="166"/>
                  </a:lnTo>
                  <a:lnTo>
                    <a:pt x="136" y="168"/>
                  </a:lnTo>
                  <a:lnTo>
                    <a:pt x="138" y="170"/>
                  </a:lnTo>
                  <a:lnTo>
                    <a:pt x="138" y="174"/>
                  </a:lnTo>
                  <a:lnTo>
                    <a:pt x="138" y="174"/>
                  </a:lnTo>
                  <a:lnTo>
                    <a:pt x="140" y="178"/>
                  </a:lnTo>
                  <a:lnTo>
                    <a:pt x="142" y="182"/>
                  </a:lnTo>
                  <a:lnTo>
                    <a:pt x="144" y="184"/>
                  </a:lnTo>
                  <a:lnTo>
                    <a:pt x="142" y="188"/>
                  </a:lnTo>
                  <a:lnTo>
                    <a:pt x="142" y="188"/>
                  </a:lnTo>
                  <a:lnTo>
                    <a:pt x="140" y="192"/>
                  </a:lnTo>
                  <a:lnTo>
                    <a:pt x="140" y="196"/>
                  </a:lnTo>
                  <a:lnTo>
                    <a:pt x="138" y="198"/>
                  </a:lnTo>
                  <a:lnTo>
                    <a:pt x="136" y="202"/>
                  </a:lnTo>
                  <a:lnTo>
                    <a:pt x="136" y="202"/>
                  </a:lnTo>
                  <a:lnTo>
                    <a:pt x="150" y="204"/>
                  </a:lnTo>
                  <a:lnTo>
                    <a:pt x="154" y="206"/>
                  </a:lnTo>
                  <a:lnTo>
                    <a:pt x="156" y="210"/>
                  </a:lnTo>
                  <a:lnTo>
                    <a:pt x="158" y="212"/>
                  </a:lnTo>
                  <a:lnTo>
                    <a:pt x="158" y="212"/>
                  </a:lnTo>
                  <a:lnTo>
                    <a:pt x="160" y="210"/>
                  </a:lnTo>
                  <a:lnTo>
                    <a:pt x="160" y="208"/>
                  </a:lnTo>
                  <a:lnTo>
                    <a:pt x="160" y="202"/>
                  </a:lnTo>
                  <a:lnTo>
                    <a:pt x="158" y="196"/>
                  </a:lnTo>
                  <a:lnTo>
                    <a:pt x="160" y="192"/>
                  </a:lnTo>
                  <a:lnTo>
                    <a:pt x="162" y="190"/>
                  </a:lnTo>
                  <a:lnTo>
                    <a:pt x="162" y="190"/>
                  </a:lnTo>
                  <a:lnTo>
                    <a:pt x="164" y="190"/>
                  </a:lnTo>
                  <a:lnTo>
                    <a:pt x="168" y="192"/>
                  </a:lnTo>
                  <a:lnTo>
                    <a:pt x="176" y="198"/>
                  </a:lnTo>
                  <a:lnTo>
                    <a:pt x="186" y="206"/>
                  </a:lnTo>
                  <a:lnTo>
                    <a:pt x="192" y="210"/>
                  </a:lnTo>
                  <a:lnTo>
                    <a:pt x="198" y="212"/>
                  </a:lnTo>
                  <a:lnTo>
                    <a:pt x="198" y="212"/>
                  </a:lnTo>
                  <a:lnTo>
                    <a:pt x="196" y="204"/>
                  </a:lnTo>
                  <a:lnTo>
                    <a:pt x="192" y="194"/>
                  </a:lnTo>
                  <a:lnTo>
                    <a:pt x="184" y="180"/>
                  </a:lnTo>
                  <a:lnTo>
                    <a:pt x="184" y="180"/>
                  </a:lnTo>
                  <a:lnTo>
                    <a:pt x="182" y="176"/>
                  </a:lnTo>
                  <a:lnTo>
                    <a:pt x="182" y="174"/>
                  </a:lnTo>
                  <a:lnTo>
                    <a:pt x="182" y="166"/>
                  </a:lnTo>
                  <a:lnTo>
                    <a:pt x="180" y="162"/>
                  </a:lnTo>
                  <a:lnTo>
                    <a:pt x="176" y="160"/>
                  </a:lnTo>
                  <a:lnTo>
                    <a:pt x="170" y="156"/>
                  </a:lnTo>
                  <a:lnTo>
                    <a:pt x="160" y="154"/>
                  </a:lnTo>
                  <a:lnTo>
                    <a:pt x="160" y="154"/>
                  </a:lnTo>
                  <a:lnTo>
                    <a:pt x="152" y="150"/>
                  </a:lnTo>
                  <a:lnTo>
                    <a:pt x="146" y="148"/>
                  </a:lnTo>
                  <a:lnTo>
                    <a:pt x="144" y="142"/>
                  </a:lnTo>
                  <a:lnTo>
                    <a:pt x="142" y="138"/>
                  </a:lnTo>
                  <a:lnTo>
                    <a:pt x="140" y="130"/>
                  </a:lnTo>
                  <a:lnTo>
                    <a:pt x="138" y="126"/>
                  </a:lnTo>
                  <a:lnTo>
                    <a:pt x="132" y="122"/>
                  </a:lnTo>
                  <a:lnTo>
                    <a:pt x="132" y="122"/>
                  </a:lnTo>
                  <a:lnTo>
                    <a:pt x="126" y="120"/>
                  </a:lnTo>
                  <a:lnTo>
                    <a:pt x="122" y="116"/>
                  </a:lnTo>
                  <a:lnTo>
                    <a:pt x="118" y="108"/>
                  </a:lnTo>
                  <a:lnTo>
                    <a:pt x="116" y="100"/>
                  </a:lnTo>
                  <a:lnTo>
                    <a:pt x="116" y="98"/>
                  </a:lnTo>
                  <a:lnTo>
                    <a:pt x="114" y="96"/>
                  </a:lnTo>
                  <a:lnTo>
                    <a:pt x="114" y="96"/>
                  </a:lnTo>
                  <a:lnTo>
                    <a:pt x="112" y="94"/>
                  </a:lnTo>
                  <a:lnTo>
                    <a:pt x="110" y="92"/>
                  </a:lnTo>
                  <a:lnTo>
                    <a:pt x="106" y="88"/>
                  </a:lnTo>
                  <a:lnTo>
                    <a:pt x="90" y="82"/>
                  </a:lnTo>
                  <a:lnTo>
                    <a:pt x="90" y="82"/>
                  </a:lnTo>
                  <a:lnTo>
                    <a:pt x="84" y="80"/>
                  </a:lnTo>
                  <a:lnTo>
                    <a:pt x="80" y="76"/>
                  </a:lnTo>
                  <a:lnTo>
                    <a:pt x="80" y="74"/>
                  </a:lnTo>
                  <a:lnTo>
                    <a:pt x="82" y="72"/>
                  </a:lnTo>
                  <a:lnTo>
                    <a:pt x="88" y="68"/>
                  </a:lnTo>
                  <a:lnTo>
                    <a:pt x="94" y="68"/>
                  </a:lnTo>
                  <a:lnTo>
                    <a:pt x="94" y="68"/>
                  </a:lnTo>
                  <a:lnTo>
                    <a:pt x="98" y="68"/>
                  </a:lnTo>
                  <a:lnTo>
                    <a:pt x="102" y="68"/>
                  </a:lnTo>
                  <a:lnTo>
                    <a:pt x="104" y="64"/>
                  </a:lnTo>
                  <a:lnTo>
                    <a:pt x="106" y="58"/>
                  </a:lnTo>
                  <a:lnTo>
                    <a:pt x="106" y="58"/>
                  </a:lnTo>
                  <a:lnTo>
                    <a:pt x="104" y="54"/>
                  </a:lnTo>
                  <a:lnTo>
                    <a:pt x="98" y="46"/>
                  </a:lnTo>
                  <a:lnTo>
                    <a:pt x="98" y="46"/>
                  </a:lnTo>
                  <a:lnTo>
                    <a:pt x="94" y="44"/>
                  </a:lnTo>
                  <a:lnTo>
                    <a:pt x="88" y="42"/>
                  </a:lnTo>
                  <a:lnTo>
                    <a:pt x="68" y="42"/>
                  </a:lnTo>
                  <a:lnTo>
                    <a:pt x="68" y="42"/>
                  </a:lnTo>
                  <a:lnTo>
                    <a:pt x="58" y="40"/>
                  </a:lnTo>
                  <a:lnTo>
                    <a:pt x="50" y="38"/>
                  </a:lnTo>
                  <a:lnTo>
                    <a:pt x="46" y="34"/>
                  </a:lnTo>
                  <a:lnTo>
                    <a:pt x="44" y="32"/>
                  </a:lnTo>
                  <a:lnTo>
                    <a:pt x="44" y="30"/>
                  </a:lnTo>
                  <a:lnTo>
                    <a:pt x="44" y="30"/>
                  </a:lnTo>
                  <a:lnTo>
                    <a:pt x="44" y="26"/>
                  </a:lnTo>
                  <a:lnTo>
                    <a:pt x="44" y="24"/>
                  </a:lnTo>
                  <a:lnTo>
                    <a:pt x="36" y="20"/>
                  </a:lnTo>
                  <a:lnTo>
                    <a:pt x="26" y="12"/>
                  </a:lnTo>
                  <a:lnTo>
                    <a:pt x="22" y="6"/>
                  </a:lnTo>
                  <a:lnTo>
                    <a:pt x="18" y="0"/>
                  </a:lnTo>
                  <a:lnTo>
                    <a:pt x="18" y="0"/>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Myanmar"/>
            <p:cNvSpPr>
              <a:spLocks/>
            </p:cNvSpPr>
            <p:nvPr/>
          </p:nvSpPr>
          <p:spPr bwMode="auto">
            <a:xfrm>
              <a:off x="6652914" y="2652448"/>
              <a:ext cx="248708" cy="632354"/>
            </a:xfrm>
            <a:custGeom>
              <a:avLst/>
              <a:gdLst/>
              <a:ahLst/>
              <a:cxnLst>
                <a:cxn ang="0">
                  <a:pos x="150" y="220"/>
                </a:cxn>
                <a:cxn ang="0">
                  <a:pos x="132" y="226"/>
                </a:cxn>
                <a:cxn ang="0">
                  <a:pos x="132" y="248"/>
                </a:cxn>
                <a:cxn ang="0">
                  <a:pos x="120" y="256"/>
                </a:cxn>
                <a:cxn ang="0">
                  <a:pos x="126" y="268"/>
                </a:cxn>
                <a:cxn ang="0">
                  <a:pos x="142" y="288"/>
                </a:cxn>
                <a:cxn ang="0">
                  <a:pos x="170" y="312"/>
                </a:cxn>
                <a:cxn ang="0">
                  <a:pos x="158" y="318"/>
                </a:cxn>
                <a:cxn ang="0">
                  <a:pos x="158" y="336"/>
                </a:cxn>
                <a:cxn ang="0">
                  <a:pos x="154" y="352"/>
                </a:cxn>
                <a:cxn ang="0">
                  <a:pos x="178" y="378"/>
                </a:cxn>
                <a:cxn ang="0">
                  <a:pos x="188" y="428"/>
                </a:cxn>
                <a:cxn ang="0">
                  <a:pos x="176" y="462"/>
                </a:cxn>
                <a:cxn ang="0">
                  <a:pos x="174" y="478"/>
                </a:cxn>
                <a:cxn ang="0">
                  <a:pos x="174" y="440"/>
                </a:cxn>
                <a:cxn ang="0">
                  <a:pos x="170" y="420"/>
                </a:cxn>
                <a:cxn ang="0">
                  <a:pos x="158" y="378"/>
                </a:cxn>
                <a:cxn ang="0">
                  <a:pos x="148" y="352"/>
                </a:cxn>
                <a:cxn ang="0">
                  <a:pos x="134" y="314"/>
                </a:cxn>
                <a:cxn ang="0">
                  <a:pos x="116" y="290"/>
                </a:cxn>
                <a:cxn ang="0">
                  <a:pos x="114" y="320"/>
                </a:cxn>
                <a:cxn ang="0">
                  <a:pos x="100" y="332"/>
                </a:cxn>
                <a:cxn ang="0">
                  <a:pos x="84" y="330"/>
                </a:cxn>
                <a:cxn ang="0">
                  <a:pos x="68" y="330"/>
                </a:cxn>
                <a:cxn ang="0">
                  <a:pos x="62" y="314"/>
                </a:cxn>
                <a:cxn ang="0">
                  <a:pos x="60" y="266"/>
                </a:cxn>
                <a:cxn ang="0">
                  <a:pos x="24" y="220"/>
                </a:cxn>
                <a:cxn ang="0">
                  <a:pos x="12" y="214"/>
                </a:cxn>
                <a:cxn ang="0">
                  <a:pos x="4" y="192"/>
                </a:cxn>
                <a:cxn ang="0">
                  <a:pos x="10" y="174"/>
                </a:cxn>
                <a:cxn ang="0">
                  <a:pos x="20" y="148"/>
                </a:cxn>
                <a:cxn ang="0">
                  <a:pos x="34" y="142"/>
                </a:cxn>
                <a:cxn ang="0">
                  <a:pos x="34" y="104"/>
                </a:cxn>
                <a:cxn ang="0">
                  <a:pos x="32" y="78"/>
                </a:cxn>
                <a:cxn ang="0">
                  <a:pos x="52" y="48"/>
                </a:cxn>
                <a:cxn ang="0">
                  <a:pos x="82" y="30"/>
                </a:cxn>
                <a:cxn ang="0">
                  <a:pos x="80" y="16"/>
                </a:cxn>
                <a:cxn ang="0">
                  <a:pos x="72" y="0"/>
                </a:cxn>
                <a:cxn ang="0">
                  <a:pos x="102" y="20"/>
                </a:cxn>
                <a:cxn ang="0">
                  <a:pos x="112" y="28"/>
                </a:cxn>
                <a:cxn ang="0">
                  <a:pos x="124" y="68"/>
                </a:cxn>
                <a:cxn ang="0">
                  <a:pos x="106" y="80"/>
                </a:cxn>
                <a:cxn ang="0">
                  <a:pos x="102" y="98"/>
                </a:cxn>
                <a:cxn ang="0">
                  <a:pos x="102" y="112"/>
                </a:cxn>
                <a:cxn ang="0">
                  <a:pos x="96" y="124"/>
                </a:cxn>
                <a:cxn ang="0">
                  <a:pos x="108" y="126"/>
                </a:cxn>
                <a:cxn ang="0">
                  <a:pos x="116" y="136"/>
                </a:cxn>
                <a:cxn ang="0">
                  <a:pos x="122" y="146"/>
                </a:cxn>
                <a:cxn ang="0">
                  <a:pos x="132" y="150"/>
                </a:cxn>
                <a:cxn ang="0">
                  <a:pos x="122" y="170"/>
                </a:cxn>
                <a:cxn ang="0">
                  <a:pos x="150" y="182"/>
                </a:cxn>
                <a:cxn ang="0">
                  <a:pos x="176" y="192"/>
                </a:cxn>
                <a:cxn ang="0">
                  <a:pos x="172" y="212"/>
                </a:cxn>
              </a:cxnLst>
              <a:rect l="0" t="0" r="r" b="b"/>
              <a:pathLst>
                <a:path w="188" h="478">
                  <a:moveTo>
                    <a:pt x="170" y="214"/>
                  </a:moveTo>
                  <a:lnTo>
                    <a:pt x="170" y="214"/>
                  </a:lnTo>
                  <a:lnTo>
                    <a:pt x="154" y="216"/>
                  </a:lnTo>
                  <a:lnTo>
                    <a:pt x="152" y="216"/>
                  </a:lnTo>
                  <a:lnTo>
                    <a:pt x="150" y="220"/>
                  </a:lnTo>
                  <a:lnTo>
                    <a:pt x="150" y="220"/>
                  </a:lnTo>
                  <a:lnTo>
                    <a:pt x="150" y="222"/>
                  </a:lnTo>
                  <a:lnTo>
                    <a:pt x="148" y="222"/>
                  </a:lnTo>
                  <a:lnTo>
                    <a:pt x="144" y="222"/>
                  </a:lnTo>
                  <a:lnTo>
                    <a:pt x="138" y="222"/>
                  </a:lnTo>
                  <a:lnTo>
                    <a:pt x="134" y="224"/>
                  </a:lnTo>
                  <a:lnTo>
                    <a:pt x="132" y="226"/>
                  </a:lnTo>
                  <a:lnTo>
                    <a:pt x="132" y="226"/>
                  </a:lnTo>
                  <a:lnTo>
                    <a:pt x="130" y="230"/>
                  </a:lnTo>
                  <a:lnTo>
                    <a:pt x="128" y="234"/>
                  </a:lnTo>
                  <a:lnTo>
                    <a:pt x="130" y="240"/>
                  </a:lnTo>
                  <a:lnTo>
                    <a:pt x="132" y="244"/>
                  </a:lnTo>
                  <a:lnTo>
                    <a:pt x="132" y="248"/>
                  </a:lnTo>
                  <a:lnTo>
                    <a:pt x="130" y="250"/>
                  </a:lnTo>
                  <a:lnTo>
                    <a:pt x="130" y="250"/>
                  </a:lnTo>
                  <a:lnTo>
                    <a:pt x="128" y="254"/>
                  </a:lnTo>
                  <a:lnTo>
                    <a:pt x="124" y="254"/>
                  </a:lnTo>
                  <a:lnTo>
                    <a:pt x="122" y="254"/>
                  </a:lnTo>
                  <a:lnTo>
                    <a:pt x="120" y="256"/>
                  </a:lnTo>
                  <a:lnTo>
                    <a:pt x="120" y="256"/>
                  </a:lnTo>
                  <a:lnTo>
                    <a:pt x="120" y="260"/>
                  </a:lnTo>
                  <a:lnTo>
                    <a:pt x="122" y="262"/>
                  </a:lnTo>
                  <a:lnTo>
                    <a:pt x="124" y="266"/>
                  </a:lnTo>
                  <a:lnTo>
                    <a:pt x="126" y="268"/>
                  </a:lnTo>
                  <a:lnTo>
                    <a:pt x="126" y="268"/>
                  </a:lnTo>
                  <a:lnTo>
                    <a:pt x="124" y="270"/>
                  </a:lnTo>
                  <a:lnTo>
                    <a:pt x="124" y="272"/>
                  </a:lnTo>
                  <a:lnTo>
                    <a:pt x="130" y="276"/>
                  </a:lnTo>
                  <a:lnTo>
                    <a:pt x="136" y="282"/>
                  </a:lnTo>
                  <a:lnTo>
                    <a:pt x="142" y="288"/>
                  </a:lnTo>
                  <a:lnTo>
                    <a:pt x="142" y="288"/>
                  </a:lnTo>
                  <a:lnTo>
                    <a:pt x="150" y="296"/>
                  </a:lnTo>
                  <a:lnTo>
                    <a:pt x="158" y="302"/>
                  </a:lnTo>
                  <a:lnTo>
                    <a:pt x="166" y="306"/>
                  </a:lnTo>
                  <a:lnTo>
                    <a:pt x="170" y="310"/>
                  </a:lnTo>
                  <a:lnTo>
                    <a:pt x="170" y="310"/>
                  </a:lnTo>
                  <a:lnTo>
                    <a:pt x="170" y="312"/>
                  </a:lnTo>
                  <a:lnTo>
                    <a:pt x="168" y="312"/>
                  </a:lnTo>
                  <a:lnTo>
                    <a:pt x="164" y="312"/>
                  </a:lnTo>
                  <a:lnTo>
                    <a:pt x="160" y="314"/>
                  </a:lnTo>
                  <a:lnTo>
                    <a:pt x="160" y="316"/>
                  </a:lnTo>
                  <a:lnTo>
                    <a:pt x="158" y="318"/>
                  </a:lnTo>
                  <a:lnTo>
                    <a:pt x="158" y="318"/>
                  </a:lnTo>
                  <a:lnTo>
                    <a:pt x="158" y="322"/>
                  </a:lnTo>
                  <a:lnTo>
                    <a:pt x="160" y="324"/>
                  </a:lnTo>
                  <a:lnTo>
                    <a:pt x="160" y="326"/>
                  </a:lnTo>
                  <a:lnTo>
                    <a:pt x="158" y="332"/>
                  </a:lnTo>
                  <a:lnTo>
                    <a:pt x="158" y="332"/>
                  </a:lnTo>
                  <a:lnTo>
                    <a:pt x="158" y="336"/>
                  </a:lnTo>
                  <a:lnTo>
                    <a:pt x="158" y="340"/>
                  </a:lnTo>
                  <a:lnTo>
                    <a:pt x="160" y="344"/>
                  </a:lnTo>
                  <a:lnTo>
                    <a:pt x="158" y="346"/>
                  </a:lnTo>
                  <a:lnTo>
                    <a:pt x="158" y="346"/>
                  </a:lnTo>
                  <a:lnTo>
                    <a:pt x="156" y="348"/>
                  </a:lnTo>
                  <a:lnTo>
                    <a:pt x="154" y="352"/>
                  </a:lnTo>
                  <a:lnTo>
                    <a:pt x="156" y="356"/>
                  </a:lnTo>
                  <a:lnTo>
                    <a:pt x="162" y="364"/>
                  </a:lnTo>
                  <a:lnTo>
                    <a:pt x="172" y="372"/>
                  </a:lnTo>
                  <a:lnTo>
                    <a:pt x="172" y="372"/>
                  </a:lnTo>
                  <a:lnTo>
                    <a:pt x="176" y="374"/>
                  </a:lnTo>
                  <a:lnTo>
                    <a:pt x="178" y="378"/>
                  </a:lnTo>
                  <a:lnTo>
                    <a:pt x="178" y="386"/>
                  </a:lnTo>
                  <a:lnTo>
                    <a:pt x="178" y="398"/>
                  </a:lnTo>
                  <a:lnTo>
                    <a:pt x="180" y="406"/>
                  </a:lnTo>
                  <a:lnTo>
                    <a:pt x="184" y="418"/>
                  </a:lnTo>
                  <a:lnTo>
                    <a:pt x="184" y="418"/>
                  </a:lnTo>
                  <a:lnTo>
                    <a:pt x="188" y="428"/>
                  </a:lnTo>
                  <a:lnTo>
                    <a:pt x="188" y="434"/>
                  </a:lnTo>
                  <a:lnTo>
                    <a:pt x="186" y="440"/>
                  </a:lnTo>
                  <a:lnTo>
                    <a:pt x="184" y="446"/>
                  </a:lnTo>
                  <a:lnTo>
                    <a:pt x="178" y="454"/>
                  </a:lnTo>
                  <a:lnTo>
                    <a:pt x="176" y="458"/>
                  </a:lnTo>
                  <a:lnTo>
                    <a:pt x="176" y="462"/>
                  </a:lnTo>
                  <a:lnTo>
                    <a:pt x="176" y="462"/>
                  </a:lnTo>
                  <a:lnTo>
                    <a:pt x="176" y="470"/>
                  </a:lnTo>
                  <a:lnTo>
                    <a:pt x="176" y="472"/>
                  </a:lnTo>
                  <a:lnTo>
                    <a:pt x="174" y="474"/>
                  </a:lnTo>
                  <a:lnTo>
                    <a:pt x="174" y="478"/>
                  </a:lnTo>
                  <a:lnTo>
                    <a:pt x="174" y="478"/>
                  </a:lnTo>
                  <a:lnTo>
                    <a:pt x="168" y="468"/>
                  </a:lnTo>
                  <a:lnTo>
                    <a:pt x="168" y="460"/>
                  </a:lnTo>
                  <a:lnTo>
                    <a:pt x="168" y="452"/>
                  </a:lnTo>
                  <a:lnTo>
                    <a:pt x="170" y="448"/>
                  </a:lnTo>
                  <a:lnTo>
                    <a:pt x="174" y="444"/>
                  </a:lnTo>
                  <a:lnTo>
                    <a:pt x="174" y="440"/>
                  </a:lnTo>
                  <a:lnTo>
                    <a:pt x="174" y="434"/>
                  </a:lnTo>
                  <a:lnTo>
                    <a:pt x="170" y="430"/>
                  </a:lnTo>
                  <a:lnTo>
                    <a:pt x="170" y="430"/>
                  </a:lnTo>
                  <a:lnTo>
                    <a:pt x="166" y="426"/>
                  </a:lnTo>
                  <a:lnTo>
                    <a:pt x="168" y="424"/>
                  </a:lnTo>
                  <a:lnTo>
                    <a:pt x="170" y="420"/>
                  </a:lnTo>
                  <a:lnTo>
                    <a:pt x="170" y="416"/>
                  </a:lnTo>
                  <a:lnTo>
                    <a:pt x="170" y="410"/>
                  </a:lnTo>
                  <a:lnTo>
                    <a:pt x="170" y="410"/>
                  </a:lnTo>
                  <a:lnTo>
                    <a:pt x="162" y="386"/>
                  </a:lnTo>
                  <a:lnTo>
                    <a:pt x="160" y="378"/>
                  </a:lnTo>
                  <a:lnTo>
                    <a:pt x="158" y="378"/>
                  </a:lnTo>
                  <a:lnTo>
                    <a:pt x="156" y="378"/>
                  </a:lnTo>
                  <a:lnTo>
                    <a:pt x="156" y="378"/>
                  </a:lnTo>
                  <a:lnTo>
                    <a:pt x="156" y="378"/>
                  </a:lnTo>
                  <a:lnTo>
                    <a:pt x="154" y="376"/>
                  </a:lnTo>
                  <a:lnTo>
                    <a:pt x="152" y="368"/>
                  </a:lnTo>
                  <a:lnTo>
                    <a:pt x="148" y="352"/>
                  </a:lnTo>
                  <a:lnTo>
                    <a:pt x="148" y="352"/>
                  </a:lnTo>
                  <a:lnTo>
                    <a:pt x="142" y="334"/>
                  </a:lnTo>
                  <a:lnTo>
                    <a:pt x="138" y="322"/>
                  </a:lnTo>
                  <a:lnTo>
                    <a:pt x="138" y="322"/>
                  </a:lnTo>
                  <a:lnTo>
                    <a:pt x="136" y="318"/>
                  </a:lnTo>
                  <a:lnTo>
                    <a:pt x="134" y="314"/>
                  </a:lnTo>
                  <a:lnTo>
                    <a:pt x="132" y="312"/>
                  </a:lnTo>
                  <a:lnTo>
                    <a:pt x="132" y="306"/>
                  </a:lnTo>
                  <a:lnTo>
                    <a:pt x="132" y="306"/>
                  </a:lnTo>
                  <a:lnTo>
                    <a:pt x="128" y="308"/>
                  </a:lnTo>
                  <a:lnTo>
                    <a:pt x="126" y="306"/>
                  </a:lnTo>
                  <a:lnTo>
                    <a:pt x="116" y="290"/>
                  </a:lnTo>
                  <a:lnTo>
                    <a:pt x="116" y="290"/>
                  </a:lnTo>
                  <a:lnTo>
                    <a:pt x="120" y="310"/>
                  </a:lnTo>
                  <a:lnTo>
                    <a:pt x="120" y="316"/>
                  </a:lnTo>
                  <a:lnTo>
                    <a:pt x="118" y="318"/>
                  </a:lnTo>
                  <a:lnTo>
                    <a:pt x="114" y="320"/>
                  </a:lnTo>
                  <a:lnTo>
                    <a:pt x="114" y="320"/>
                  </a:lnTo>
                  <a:lnTo>
                    <a:pt x="110" y="324"/>
                  </a:lnTo>
                  <a:lnTo>
                    <a:pt x="106" y="330"/>
                  </a:lnTo>
                  <a:lnTo>
                    <a:pt x="104" y="332"/>
                  </a:lnTo>
                  <a:lnTo>
                    <a:pt x="102" y="332"/>
                  </a:lnTo>
                  <a:lnTo>
                    <a:pt x="100" y="332"/>
                  </a:lnTo>
                  <a:lnTo>
                    <a:pt x="100" y="332"/>
                  </a:lnTo>
                  <a:lnTo>
                    <a:pt x="98" y="330"/>
                  </a:lnTo>
                  <a:lnTo>
                    <a:pt x="94" y="332"/>
                  </a:lnTo>
                  <a:lnTo>
                    <a:pt x="92" y="334"/>
                  </a:lnTo>
                  <a:lnTo>
                    <a:pt x="88" y="332"/>
                  </a:lnTo>
                  <a:lnTo>
                    <a:pt x="88" y="332"/>
                  </a:lnTo>
                  <a:lnTo>
                    <a:pt x="84" y="330"/>
                  </a:lnTo>
                  <a:lnTo>
                    <a:pt x="80" y="332"/>
                  </a:lnTo>
                  <a:lnTo>
                    <a:pt x="76" y="334"/>
                  </a:lnTo>
                  <a:lnTo>
                    <a:pt x="72" y="330"/>
                  </a:lnTo>
                  <a:lnTo>
                    <a:pt x="72" y="330"/>
                  </a:lnTo>
                  <a:lnTo>
                    <a:pt x="70" y="328"/>
                  </a:lnTo>
                  <a:lnTo>
                    <a:pt x="68" y="330"/>
                  </a:lnTo>
                  <a:lnTo>
                    <a:pt x="66" y="330"/>
                  </a:lnTo>
                  <a:lnTo>
                    <a:pt x="62" y="330"/>
                  </a:lnTo>
                  <a:lnTo>
                    <a:pt x="62" y="330"/>
                  </a:lnTo>
                  <a:lnTo>
                    <a:pt x="60" y="328"/>
                  </a:lnTo>
                  <a:lnTo>
                    <a:pt x="60" y="324"/>
                  </a:lnTo>
                  <a:lnTo>
                    <a:pt x="62" y="314"/>
                  </a:lnTo>
                  <a:lnTo>
                    <a:pt x="64" y="308"/>
                  </a:lnTo>
                  <a:lnTo>
                    <a:pt x="66" y="300"/>
                  </a:lnTo>
                  <a:lnTo>
                    <a:pt x="66" y="288"/>
                  </a:lnTo>
                  <a:lnTo>
                    <a:pt x="64" y="276"/>
                  </a:lnTo>
                  <a:lnTo>
                    <a:pt x="64" y="276"/>
                  </a:lnTo>
                  <a:lnTo>
                    <a:pt x="60" y="266"/>
                  </a:lnTo>
                  <a:lnTo>
                    <a:pt x="56" y="258"/>
                  </a:lnTo>
                  <a:lnTo>
                    <a:pt x="48" y="248"/>
                  </a:lnTo>
                  <a:lnTo>
                    <a:pt x="34" y="230"/>
                  </a:lnTo>
                  <a:lnTo>
                    <a:pt x="34" y="230"/>
                  </a:lnTo>
                  <a:lnTo>
                    <a:pt x="26" y="220"/>
                  </a:lnTo>
                  <a:lnTo>
                    <a:pt x="24" y="220"/>
                  </a:lnTo>
                  <a:lnTo>
                    <a:pt x="24" y="220"/>
                  </a:lnTo>
                  <a:lnTo>
                    <a:pt x="22" y="222"/>
                  </a:lnTo>
                  <a:lnTo>
                    <a:pt x="16" y="216"/>
                  </a:lnTo>
                  <a:lnTo>
                    <a:pt x="16" y="216"/>
                  </a:lnTo>
                  <a:lnTo>
                    <a:pt x="12" y="212"/>
                  </a:lnTo>
                  <a:lnTo>
                    <a:pt x="12" y="214"/>
                  </a:lnTo>
                  <a:lnTo>
                    <a:pt x="10" y="214"/>
                  </a:lnTo>
                  <a:lnTo>
                    <a:pt x="8" y="214"/>
                  </a:lnTo>
                  <a:lnTo>
                    <a:pt x="0" y="202"/>
                  </a:lnTo>
                  <a:lnTo>
                    <a:pt x="0" y="202"/>
                  </a:lnTo>
                  <a:lnTo>
                    <a:pt x="2" y="194"/>
                  </a:lnTo>
                  <a:lnTo>
                    <a:pt x="4" y="192"/>
                  </a:lnTo>
                  <a:lnTo>
                    <a:pt x="6" y="192"/>
                  </a:lnTo>
                  <a:lnTo>
                    <a:pt x="6" y="188"/>
                  </a:lnTo>
                  <a:lnTo>
                    <a:pt x="6" y="188"/>
                  </a:lnTo>
                  <a:lnTo>
                    <a:pt x="4" y="178"/>
                  </a:lnTo>
                  <a:lnTo>
                    <a:pt x="6" y="174"/>
                  </a:lnTo>
                  <a:lnTo>
                    <a:pt x="10" y="174"/>
                  </a:lnTo>
                  <a:lnTo>
                    <a:pt x="10" y="174"/>
                  </a:lnTo>
                  <a:lnTo>
                    <a:pt x="16" y="174"/>
                  </a:lnTo>
                  <a:lnTo>
                    <a:pt x="20" y="170"/>
                  </a:lnTo>
                  <a:lnTo>
                    <a:pt x="22" y="162"/>
                  </a:lnTo>
                  <a:lnTo>
                    <a:pt x="20" y="148"/>
                  </a:lnTo>
                  <a:lnTo>
                    <a:pt x="20" y="148"/>
                  </a:lnTo>
                  <a:lnTo>
                    <a:pt x="22" y="144"/>
                  </a:lnTo>
                  <a:lnTo>
                    <a:pt x="22" y="140"/>
                  </a:lnTo>
                  <a:lnTo>
                    <a:pt x="26" y="140"/>
                  </a:lnTo>
                  <a:lnTo>
                    <a:pt x="28" y="142"/>
                  </a:lnTo>
                  <a:lnTo>
                    <a:pt x="32" y="142"/>
                  </a:lnTo>
                  <a:lnTo>
                    <a:pt x="34" y="142"/>
                  </a:lnTo>
                  <a:lnTo>
                    <a:pt x="34" y="138"/>
                  </a:lnTo>
                  <a:lnTo>
                    <a:pt x="34" y="132"/>
                  </a:lnTo>
                  <a:lnTo>
                    <a:pt x="34" y="132"/>
                  </a:lnTo>
                  <a:lnTo>
                    <a:pt x="34" y="120"/>
                  </a:lnTo>
                  <a:lnTo>
                    <a:pt x="36" y="112"/>
                  </a:lnTo>
                  <a:lnTo>
                    <a:pt x="34" y="104"/>
                  </a:lnTo>
                  <a:lnTo>
                    <a:pt x="32" y="98"/>
                  </a:lnTo>
                  <a:lnTo>
                    <a:pt x="28" y="92"/>
                  </a:lnTo>
                  <a:lnTo>
                    <a:pt x="28" y="92"/>
                  </a:lnTo>
                  <a:lnTo>
                    <a:pt x="26" y="86"/>
                  </a:lnTo>
                  <a:lnTo>
                    <a:pt x="28" y="82"/>
                  </a:lnTo>
                  <a:lnTo>
                    <a:pt x="32" y="78"/>
                  </a:lnTo>
                  <a:lnTo>
                    <a:pt x="32" y="72"/>
                  </a:lnTo>
                  <a:lnTo>
                    <a:pt x="32" y="72"/>
                  </a:lnTo>
                  <a:lnTo>
                    <a:pt x="32" y="68"/>
                  </a:lnTo>
                  <a:lnTo>
                    <a:pt x="34" y="66"/>
                  </a:lnTo>
                  <a:lnTo>
                    <a:pt x="42" y="58"/>
                  </a:lnTo>
                  <a:lnTo>
                    <a:pt x="52" y="48"/>
                  </a:lnTo>
                  <a:lnTo>
                    <a:pt x="62" y="34"/>
                  </a:lnTo>
                  <a:lnTo>
                    <a:pt x="62" y="34"/>
                  </a:lnTo>
                  <a:lnTo>
                    <a:pt x="66" y="32"/>
                  </a:lnTo>
                  <a:lnTo>
                    <a:pt x="70" y="30"/>
                  </a:lnTo>
                  <a:lnTo>
                    <a:pt x="78" y="30"/>
                  </a:lnTo>
                  <a:lnTo>
                    <a:pt x="82" y="30"/>
                  </a:lnTo>
                  <a:lnTo>
                    <a:pt x="82" y="28"/>
                  </a:lnTo>
                  <a:lnTo>
                    <a:pt x="78" y="24"/>
                  </a:lnTo>
                  <a:lnTo>
                    <a:pt x="78" y="24"/>
                  </a:lnTo>
                  <a:lnTo>
                    <a:pt x="76" y="20"/>
                  </a:lnTo>
                  <a:lnTo>
                    <a:pt x="76" y="18"/>
                  </a:lnTo>
                  <a:lnTo>
                    <a:pt x="80" y="16"/>
                  </a:lnTo>
                  <a:lnTo>
                    <a:pt x="82" y="14"/>
                  </a:lnTo>
                  <a:lnTo>
                    <a:pt x="80" y="10"/>
                  </a:lnTo>
                  <a:lnTo>
                    <a:pt x="78" y="6"/>
                  </a:lnTo>
                  <a:lnTo>
                    <a:pt x="68" y="0"/>
                  </a:lnTo>
                  <a:lnTo>
                    <a:pt x="68" y="0"/>
                  </a:lnTo>
                  <a:lnTo>
                    <a:pt x="72" y="0"/>
                  </a:lnTo>
                  <a:lnTo>
                    <a:pt x="76" y="0"/>
                  </a:lnTo>
                  <a:lnTo>
                    <a:pt x="82" y="2"/>
                  </a:lnTo>
                  <a:lnTo>
                    <a:pt x="90" y="8"/>
                  </a:lnTo>
                  <a:lnTo>
                    <a:pt x="90" y="8"/>
                  </a:lnTo>
                  <a:lnTo>
                    <a:pt x="100" y="16"/>
                  </a:lnTo>
                  <a:lnTo>
                    <a:pt x="102" y="20"/>
                  </a:lnTo>
                  <a:lnTo>
                    <a:pt x="102" y="22"/>
                  </a:lnTo>
                  <a:lnTo>
                    <a:pt x="106" y="20"/>
                  </a:lnTo>
                  <a:lnTo>
                    <a:pt x="106" y="20"/>
                  </a:lnTo>
                  <a:lnTo>
                    <a:pt x="108" y="18"/>
                  </a:lnTo>
                  <a:lnTo>
                    <a:pt x="110" y="20"/>
                  </a:lnTo>
                  <a:lnTo>
                    <a:pt x="112" y="28"/>
                  </a:lnTo>
                  <a:lnTo>
                    <a:pt x="114" y="42"/>
                  </a:lnTo>
                  <a:lnTo>
                    <a:pt x="116" y="50"/>
                  </a:lnTo>
                  <a:lnTo>
                    <a:pt x="120" y="58"/>
                  </a:lnTo>
                  <a:lnTo>
                    <a:pt x="120" y="58"/>
                  </a:lnTo>
                  <a:lnTo>
                    <a:pt x="124" y="66"/>
                  </a:lnTo>
                  <a:lnTo>
                    <a:pt x="124" y="68"/>
                  </a:lnTo>
                  <a:lnTo>
                    <a:pt x="122" y="68"/>
                  </a:lnTo>
                  <a:lnTo>
                    <a:pt x="118" y="66"/>
                  </a:lnTo>
                  <a:lnTo>
                    <a:pt x="116" y="66"/>
                  </a:lnTo>
                  <a:lnTo>
                    <a:pt x="116" y="66"/>
                  </a:lnTo>
                  <a:lnTo>
                    <a:pt x="110" y="76"/>
                  </a:lnTo>
                  <a:lnTo>
                    <a:pt x="106" y="80"/>
                  </a:lnTo>
                  <a:lnTo>
                    <a:pt x="102" y="86"/>
                  </a:lnTo>
                  <a:lnTo>
                    <a:pt x="102" y="88"/>
                  </a:lnTo>
                  <a:lnTo>
                    <a:pt x="104" y="92"/>
                  </a:lnTo>
                  <a:lnTo>
                    <a:pt x="104" y="92"/>
                  </a:lnTo>
                  <a:lnTo>
                    <a:pt x="104" y="96"/>
                  </a:lnTo>
                  <a:lnTo>
                    <a:pt x="102" y="98"/>
                  </a:lnTo>
                  <a:lnTo>
                    <a:pt x="100" y="98"/>
                  </a:lnTo>
                  <a:lnTo>
                    <a:pt x="98" y="100"/>
                  </a:lnTo>
                  <a:lnTo>
                    <a:pt x="98" y="100"/>
                  </a:lnTo>
                  <a:lnTo>
                    <a:pt x="96" y="106"/>
                  </a:lnTo>
                  <a:lnTo>
                    <a:pt x="98" y="108"/>
                  </a:lnTo>
                  <a:lnTo>
                    <a:pt x="102" y="112"/>
                  </a:lnTo>
                  <a:lnTo>
                    <a:pt x="106" y="114"/>
                  </a:lnTo>
                  <a:lnTo>
                    <a:pt x="108" y="118"/>
                  </a:lnTo>
                  <a:lnTo>
                    <a:pt x="108" y="118"/>
                  </a:lnTo>
                  <a:lnTo>
                    <a:pt x="106" y="120"/>
                  </a:lnTo>
                  <a:lnTo>
                    <a:pt x="100" y="122"/>
                  </a:lnTo>
                  <a:lnTo>
                    <a:pt x="96" y="124"/>
                  </a:lnTo>
                  <a:lnTo>
                    <a:pt x="94" y="124"/>
                  </a:lnTo>
                  <a:lnTo>
                    <a:pt x="94" y="126"/>
                  </a:lnTo>
                  <a:lnTo>
                    <a:pt x="94" y="126"/>
                  </a:lnTo>
                  <a:lnTo>
                    <a:pt x="94" y="130"/>
                  </a:lnTo>
                  <a:lnTo>
                    <a:pt x="96" y="130"/>
                  </a:lnTo>
                  <a:lnTo>
                    <a:pt x="108" y="126"/>
                  </a:lnTo>
                  <a:lnTo>
                    <a:pt x="108" y="126"/>
                  </a:lnTo>
                  <a:lnTo>
                    <a:pt x="118" y="124"/>
                  </a:lnTo>
                  <a:lnTo>
                    <a:pt x="120" y="126"/>
                  </a:lnTo>
                  <a:lnTo>
                    <a:pt x="118" y="130"/>
                  </a:lnTo>
                  <a:lnTo>
                    <a:pt x="118" y="130"/>
                  </a:lnTo>
                  <a:lnTo>
                    <a:pt x="116" y="136"/>
                  </a:lnTo>
                  <a:lnTo>
                    <a:pt x="116" y="138"/>
                  </a:lnTo>
                  <a:lnTo>
                    <a:pt x="120" y="140"/>
                  </a:lnTo>
                  <a:lnTo>
                    <a:pt x="120" y="142"/>
                  </a:lnTo>
                  <a:lnTo>
                    <a:pt x="120" y="142"/>
                  </a:lnTo>
                  <a:lnTo>
                    <a:pt x="120" y="144"/>
                  </a:lnTo>
                  <a:lnTo>
                    <a:pt x="122" y="146"/>
                  </a:lnTo>
                  <a:lnTo>
                    <a:pt x="126" y="148"/>
                  </a:lnTo>
                  <a:lnTo>
                    <a:pt x="130" y="146"/>
                  </a:lnTo>
                  <a:lnTo>
                    <a:pt x="130" y="146"/>
                  </a:lnTo>
                  <a:lnTo>
                    <a:pt x="132" y="148"/>
                  </a:lnTo>
                  <a:lnTo>
                    <a:pt x="132" y="148"/>
                  </a:lnTo>
                  <a:lnTo>
                    <a:pt x="132" y="150"/>
                  </a:lnTo>
                  <a:lnTo>
                    <a:pt x="136" y="150"/>
                  </a:lnTo>
                  <a:lnTo>
                    <a:pt x="140" y="150"/>
                  </a:lnTo>
                  <a:lnTo>
                    <a:pt x="140" y="152"/>
                  </a:lnTo>
                  <a:lnTo>
                    <a:pt x="140" y="152"/>
                  </a:lnTo>
                  <a:lnTo>
                    <a:pt x="122" y="170"/>
                  </a:lnTo>
                  <a:lnTo>
                    <a:pt x="122" y="170"/>
                  </a:lnTo>
                  <a:lnTo>
                    <a:pt x="122" y="174"/>
                  </a:lnTo>
                  <a:lnTo>
                    <a:pt x="124" y="176"/>
                  </a:lnTo>
                  <a:lnTo>
                    <a:pt x="134" y="176"/>
                  </a:lnTo>
                  <a:lnTo>
                    <a:pt x="148" y="176"/>
                  </a:lnTo>
                  <a:lnTo>
                    <a:pt x="148" y="176"/>
                  </a:lnTo>
                  <a:lnTo>
                    <a:pt x="150" y="182"/>
                  </a:lnTo>
                  <a:lnTo>
                    <a:pt x="154" y="186"/>
                  </a:lnTo>
                  <a:lnTo>
                    <a:pt x="158" y="188"/>
                  </a:lnTo>
                  <a:lnTo>
                    <a:pt x="162" y="188"/>
                  </a:lnTo>
                  <a:lnTo>
                    <a:pt x="170" y="190"/>
                  </a:lnTo>
                  <a:lnTo>
                    <a:pt x="174" y="192"/>
                  </a:lnTo>
                  <a:lnTo>
                    <a:pt x="176" y="192"/>
                  </a:lnTo>
                  <a:lnTo>
                    <a:pt x="176" y="192"/>
                  </a:lnTo>
                  <a:lnTo>
                    <a:pt x="172" y="196"/>
                  </a:lnTo>
                  <a:lnTo>
                    <a:pt x="170" y="200"/>
                  </a:lnTo>
                  <a:lnTo>
                    <a:pt x="170" y="204"/>
                  </a:lnTo>
                  <a:lnTo>
                    <a:pt x="172" y="210"/>
                  </a:lnTo>
                  <a:lnTo>
                    <a:pt x="172" y="212"/>
                  </a:lnTo>
                  <a:lnTo>
                    <a:pt x="170" y="214"/>
                  </a:lnTo>
                  <a:lnTo>
                    <a:pt x="170" y="214"/>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Sierra Leone"/>
            <p:cNvSpPr>
              <a:spLocks/>
            </p:cNvSpPr>
            <p:nvPr/>
          </p:nvSpPr>
          <p:spPr bwMode="auto">
            <a:xfrm>
              <a:off x="3771601" y="3282156"/>
              <a:ext cx="79375" cy="100542"/>
            </a:xfrm>
            <a:custGeom>
              <a:avLst/>
              <a:gdLst/>
              <a:ahLst/>
              <a:cxnLst>
                <a:cxn ang="0">
                  <a:pos x="38" y="76"/>
                </a:cxn>
                <a:cxn ang="0">
                  <a:pos x="38" y="70"/>
                </a:cxn>
                <a:cxn ang="0">
                  <a:pos x="52" y="58"/>
                </a:cxn>
                <a:cxn ang="0">
                  <a:pos x="60" y="46"/>
                </a:cxn>
                <a:cxn ang="0">
                  <a:pos x="60" y="42"/>
                </a:cxn>
                <a:cxn ang="0">
                  <a:pos x="58" y="36"/>
                </a:cxn>
                <a:cxn ang="0">
                  <a:pos x="58" y="30"/>
                </a:cxn>
                <a:cxn ang="0">
                  <a:pos x="58" y="26"/>
                </a:cxn>
                <a:cxn ang="0">
                  <a:pos x="58" y="24"/>
                </a:cxn>
                <a:cxn ang="0">
                  <a:pos x="52" y="20"/>
                </a:cxn>
                <a:cxn ang="0">
                  <a:pos x="50" y="18"/>
                </a:cxn>
                <a:cxn ang="0">
                  <a:pos x="50" y="14"/>
                </a:cxn>
                <a:cxn ang="0">
                  <a:pos x="50" y="8"/>
                </a:cxn>
                <a:cxn ang="0">
                  <a:pos x="46" y="8"/>
                </a:cxn>
                <a:cxn ang="0">
                  <a:pos x="42" y="4"/>
                </a:cxn>
                <a:cxn ang="0">
                  <a:pos x="36" y="2"/>
                </a:cxn>
                <a:cxn ang="0">
                  <a:pos x="30" y="0"/>
                </a:cxn>
                <a:cxn ang="0">
                  <a:pos x="22" y="4"/>
                </a:cxn>
                <a:cxn ang="0">
                  <a:pos x="18" y="6"/>
                </a:cxn>
                <a:cxn ang="0">
                  <a:pos x="12" y="10"/>
                </a:cxn>
                <a:cxn ang="0">
                  <a:pos x="8" y="18"/>
                </a:cxn>
                <a:cxn ang="0">
                  <a:pos x="6" y="20"/>
                </a:cxn>
                <a:cxn ang="0">
                  <a:pos x="4" y="24"/>
                </a:cxn>
                <a:cxn ang="0">
                  <a:pos x="0" y="26"/>
                </a:cxn>
                <a:cxn ang="0">
                  <a:pos x="2" y="30"/>
                </a:cxn>
                <a:cxn ang="0">
                  <a:pos x="2" y="32"/>
                </a:cxn>
                <a:cxn ang="0">
                  <a:pos x="0" y="34"/>
                </a:cxn>
                <a:cxn ang="0">
                  <a:pos x="4" y="36"/>
                </a:cxn>
                <a:cxn ang="0">
                  <a:pos x="4" y="36"/>
                </a:cxn>
                <a:cxn ang="0">
                  <a:pos x="4" y="38"/>
                </a:cxn>
                <a:cxn ang="0">
                  <a:pos x="2" y="40"/>
                </a:cxn>
                <a:cxn ang="0">
                  <a:pos x="0" y="40"/>
                </a:cxn>
                <a:cxn ang="0">
                  <a:pos x="6" y="46"/>
                </a:cxn>
                <a:cxn ang="0">
                  <a:pos x="8" y="50"/>
                </a:cxn>
                <a:cxn ang="0">
                  <a:pos x="10" y="52"/>
                </a:cxn>
                <a:cxn ang="0">
                  <a:pos x="8" y="54"/>
                </a:cxn>
                <a:cxn ang="0">
                  <a:pos x="12" y="58"/>
                </a:cxn>
                <a:cxn ang="0">
                  <a:pos x="16" y="60"/>
                </a:cxn>
                <a:cxn ang="0">
                  <a:pos x="20" y="58"/>
                </a:cxn>
                <a:cxn ang="0">
                  <a:pos x="20" y="60"/>
                </a:cxn>
                <a:cxn ang="0">
                  <a:pos x="22" y="62"/>
                </a:cxn>
                <a:cxn ang="0">
                  <a:pos x="22" y="62"/>
                </a:cxn>
                <a:cxn ang="0">
                  <a:pos x="22" y="64"/>
                </a:cxn>
                <a:cxn ang="0">
                  <a:pos x="22" y="66"/>
                </a:cxn>
                <a:cxn ang="0">
                  <a:pos x="18" y="66"/>
                </a:cxn>
                <a:cxn ang="0">
                  <a:pos x="18" y="66"/>
                </a:cxn>
                <a:cxn ang="0">
                  <a:pos x="32" y="74"/>
                </a:cxn>
                <a:cxn ang="0">
                  <a:pos x="38" y="76"/>
                </a:cxn>
              </a:cxnLst>
              <a:rect l="0" t="0" r="r" b="b"/>
              <a:pathLst>
                <a:path w="60" h="76">
                  <a:moveTo>
                    <a:pt x="38" y="76"/>
                  </a:moveTo>
                  <a:lnTo>
                    <a:pt x="38" y="76"/>
                  </a:lnTo>
                  <a:lnTo>
                    <a:pt x="36" y="72"/>
                  </a:lnTo>
                  <a:lnTo>
                    <a:pt x="38" y="70"/>
                  </a:lnTo>
                  <a:lnTo>
                    <a:pt x="52" y="58"/>
                  </a:lnTo>
                  <a:lnTo>
                    <a:pt x="52" y="58"/>
                  </a:lnTo>
                  <a:lnTo>
                    <a:pt x="58" y="50"/>
                  </a:lnTo>
                  <a:lnTo>
                    <a:pt x="60" y="46"/>
                  </a:lnTo>
                  <a:lnTo>
                    <a:pt x="60" y="44"/>
                  </a:lnTo>
                  <a:lnTo>
                    <a:pt x="60" y="42"/>
                  </a:lnTo>
                  <a:lnTo>
                    <a:pt x="60" y="42"/>
                  </a:lnTo>
                  <a:lnTo>
                    <a:pt x="58" y="36"/>
                  </a:lnTo>
                  <a:lnTo>
                    <a:pt x="58" y="32"/>
                  </a:lnTo>
                  <a:lnTo>
                    <a:pt x="58" y="30"/>
                  </a:lnTo>
                  <a:lnTo>
                    <a:pt x="58" y="26"/>
                  </a:lnTo>
                  <a:lnTo>
                    <a:pt x="58" y="26"/>
                  </a:lnTo>
                  <a:lnTo>
                    <a:pt x="56" y="24"/>
                  </a:lnTo>
                  <a:lnTo>
                    <a:pt x="58" y="24"/>
                  </a:lnTo>
                  <a:lnTo>
                    <a:pt x="56" y="22"/>
                  </a:lnTo>
                  <a:lnTo>
                    <a:pt x="52" y="20"/>
                  </a:lnTo>
                  <a:lnTo>
                    <a:pt x="52" y="20"/>
                  </a:lnTo>
                  <a:lnTo>
                    <a:pt x="50" y="18"/>
                  </a:lnTo>
                  <a:lnTo>
                    <a:pt x="48" y="18"/>
                  </a:lnTo>
                  <a:lnTo>
                    <a:pt x="50" y="14"/>
                  </a:lnTo>
                  <a:lnTo>
                    <a:pt x="50" y="10"/>
                  </a:lnTo>
                  <a:lnTo>
                    <a:pt x="50" y="8"/>
                  </a:lnTo>
                  <a:lnTo>
                    <a:pt x="46" y="8"/>
                  </a:lnTo>
                  <a:lnTo>
                    <a:pt x="46" y="8"/>
                  </a:lnTo>
                  <a:lnTo>
                    <a:pt x="44" y="6"/>
                  </a:lnTo>
                  <a:lnTo>
                    <a:pt x="42" y="4"/>
                  </a:lnTo>
                  <a:lnTo>
                    <a:pt x="40" y="2"/>
                  </a:lnTo>
                  <a:lnTo>
                    <a:pt x="36" y="2"/>
                  </a:lnTo>
                  <a:lnTo>
                    <a:pt x="36" y="2"/>
                  </a:lnTo>
                  <a:lnTo>
                    <a:pt x="30" y="0"/>
                  </a:lnTo>
                  <a:lnTo>
                    <a:pt x="26" y="2"/>
                  </a:lnTo>
                  <a:lnTo>
                    <a:pt x="22" y="4"/>
                  </a:lnTo>
                  <a:lnTo>
                    <a:pt x="18" y="6"/>
                  </a:lnTo>
                  <a:lnTo>
                    <a:pt x="18" y="6"/>
                  </a:lnTo>
                  <a:lnTo>
                    <a:pt x="14" y="6"/>
                  </a:lnTo>
                  <a:lnTo>
                    <a:pt x="12" y="10"/>
                  </a:lnTo>
                  <a:lnTo>
                    <a:pt x="10" y="14"/>
                  </a:lnTo>
                  <a:lnTo>
                    <a:pt x="8" y="18"/>
                  </a:lnTo>
                  <a:lnTo>
                    <a:pt x="8" y="18"/>
                  </a:lnTo>
                  <a:lnTo>
                    <a:pt x="6" y="20"/>
                  </a:lnTo>
                  <a:lnTo>
                    <a:pt x="4" y="22"/>
                  </a:lnTo>
                  <a:lnTo>
                    <a:pt x="4" y="24"/>
                  </a:lnTo>
                  <a:lnTo>
                    <a:pt x="0" y="26"/>
                  </a:lnTo>
                  <a:lnTo>
                    <a:pt x="0" y="26"/>
                  </a:lnTo>
                  <a:lnTo>
                    <a:pt x="0" y="28"/>
                  </a:lnTo>
                  <a:lnTo>
                    <a:pt x="2" y="30"/>
                  </a:lnTo>
                  <a:lnTo>
                    <a:pt x="2" y="30"/>
                  </a:lnTo>
                  <a:lnTo>
                    <a:pt x="2" y="32"/>
                  </a:lnTo>
                  <a:lnTo>
                    <a:pt x="2" y="32"/>
                  </a:lnTo>
                  <a:lnTo>
                    <a:pt x="0" y="34"/>
                  </a:lnTo>
                  <a:lnTo>
                    <a:pt x="2" y="34"/>
                  </a:lnTo>
                  <a:lnTo>
                    <a:pt x="4" y="36"/>
                  </a:lnTo>
                  <a:lnTo>
                    <a:pt x="4" y="36"/>
                  </a:lnTo>
                  <a:lnTo>
                    <a:pt x="4" y="36"/>
                  </a:lnTo>
                  <a:lnTo>
                    <a:pt x="4" y="38"/>
                  </a:lnTo>
                  <a:lnTo>
                    <a:pt x="4" y="38"/>
                  </a:lnTo>
                  <a:lnTo>
                    <a:pt x="4" y="40"/>
                  </a:lnTo>
                  <a:lnTo>
                    <a:pt x="2" y="40"/>
                  </a:lnTo>
                  <a:lnTo>
                    <a:pt x="2" y="40"/>
                  </a:lnTo>
                  <a:lnTo>
                    <a:pt x="0" y="40"/>
                  </a:lnTo>
                  <a:lnTo>
                    <a:pt x="0" y="42"/>
                  </a:lnTo>
                  <a:lnTo>
                    <a:pt x="6" y="46"/>
                  </a:lnTo>
                  <a:lnTo>
                    <a:pt x="6" y="46"/>
                  </a:lnTo>
                  <a:lnTo>
                    <a:pt x="8" y="50"/>
                  </a:lnTo>
                  <a:lnTo>
                    <a:pt x="10" y="52"/>
                  </a:lnTo>
                  <a:lnTo>
                    <a:pt x="10" y="52"/>
                  </a:lnTo>
                  <a:lnTo>
                    <a:pt x="10" y="52"/>
                  </a:lnTo>
                  <a:lnTo>
                    <a:pt x="8" y="54"/>
                  </a:lnTo>
                  <a:lnTo>
                    <a:pt x="6" y="54"/>
                  </a:lnTo>
                  <a:lnTo>
                    <a:pt x="12" y="58"/>
                  </a:lnTo>
                  <a:lnTo>
                    <a:pt x="12" y="58"/>
                  </a:lnTo>
                  <a:lnTo>
                    <a:pt x="16" y="60"/>
                  </a:lnTo>
                  <a:lnTo>
                    <a:pt x="18" y="60"/>
                  </a:lnTo>
                  <a:lnTo>
                    <a:pt x="20" y="58"/>
                  </a:lnTo>
                  <a:lnTo>
                    <a:pt x="20" y="60"/>
                  </a:lnTo>
                  <a:lnTo>
                    <a:pt x="20" y="60"/>
                  </a:lnTo>
                  <a:lnTo>
                    <a:pt x="20" y="62"/>
                  </a:lnTo>
                  <a:lnTo>
                    <a:pt x="22" y="62"/>
                  </a:lnTo>
                  <a:lnTo>
                    <a:pt x="24" y="62"/>
                  </a:lnTo>
                  <a:lnTo>
                    <a:pt x="22" y="62"/>
                  </a:lnTo>
                  <a:lnTo>
                    <a:pt x="22" y="62"/>
                  </a:lnTo>
                  <a:lnTo>
                    <a:pt x="22" y="64"/>
                  </a:lnTo>
                  <a:lnTo>
                    <a:pt x="24" y="66"/>
                  </a:lnTo>
                  <a:lnTo>
                    <a:pt x="22" y="66"/>
                  </a:lnTo>
                  <a:lnTo>
                    <a:pt x="18" y="66"/>
                  </a:lnTo>
                  <a:lnTo>
                    <a:pt x="18" y="66"/>
                  </a:lnTo>
                  <a:lnTo>
                    <a:pt x="18" y="66"/>
                  </a:lnTo>
                  <a:lnTo>
                    <a:pt x="18" y="66"/>
                  </a:lnTo>
                  <a:lnTo>
                    <a:pt x="24" y="70"/>
                  </a:lnTo>
                  <a:lnTo>
                    <a:pt x="32" y="74"/>
                  </a:lnTo>
                  <a:lnTo>
                    <a:pt x="38" y="76"/>
                  </a:lnTo>
                  <a:lnTo>
                    <a:pt x="38" y="76"/>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Liberia"/>
            <p:cNvSpPr>
              <a:spLocks/>
            </p:cNvSpPr>
            <p:nvPr/>
          </p:nvSpPr>
          <p:spPr bwMode="auto">
            <a:xfrm>
              <a:off x="3819226" y="3332427"/>
              <a:ext cx="119063" cy="132292"/>
            </a:xfrm>
            <a:custGeom>
              <a:avLst/>
              <a:gdLst/>
              <a:ahLst/>
              <a:cxnLst>
                <a:cxn ang="0">
                  <a:pos x="82" y="100"/>
                </a:cxn>
                <a:cxn ang="0">
                  <a:pos x="82" y="86"/>
                </a:cxn>
                <a:cxn ang="0">
                  <a:pos x="86" y="82"/>
                </a:cxn>
                <a:cxn ang="0">
                  <a:pos x="90" y="78"/>
                </a:cxn>
                <a:cxn ang="0">
                  <a:pos x="88" y="74"/>
                </a:cxn>
                <a:cxn ang="0">
                  <a:pos x="88" y="66"/>
                </a:cxn>
                <a:cxn ang="0">
                  <a:pos x="82" y="64"/>
                </a:cxn>
                <a:cxn ang="0">
                  <a:pos x="76" y="60"/>
                </a:cxn>
                <a:cxn ang="0">
                  <a:pos x="74" y="58"/>
                </a:cxn>
                <a:cxn ang="0">
                  <a:pos x="70" y="58"/>
                </a:cxn>
                <a:cxn ang="0">
                  <a:pos x="66" y="56"/>
                </a:cxn>
                <a:cxn ang="0">
                  <a:pos x="68" y="44"/>
                </a:cxn>
                <a:cxn ang="0">
                  <a:pos x="68" y="40"/>
                </a:cxn>
                <a:cxn ang="0">
                  <a:pos x="68" y="34"/>
                </a:cxn>
                <a:cxn ang="0">
                  <a:pos x="66" y="26"/>
                </a:cxn>
                <a:cxn ang="0">
                  <a:pos x="64" y="24"/>
                </a:cxn>
                <a:cxn ang="0">
                  <a:pos x="60" y="26"/>
                </a:cxn>
                <a:cxn ang="0">
                  <a:pos x="58" y="30"/>
                </a:cxn>
                <a:cxn ang="0">
                  <a:pos x="50" y="30"/>
                </a:cxn>
                <a:cxn ang="0">
                  <a:pos x="48" y="28"/>
                </a:cxn>
                <a:cxn ang="0">
                  <a:pos x="50" y="22"/>
                </a:cxn>
                <a:cxn ang="0">
                  <a:pos x="46" y="12"/>
                </a:cxn>
                <a:cxn ang="0">
                  <a:pos x="38" y="0"/>
                </a:cxn>
                <a:cxn ang="0">
                  <a:pos x="24" y="4"/>
                </a:cxn>
                <a:cxn ang="0">
                  <a:pos x="24" y="6"/>
                </a:cxn>
                <a:cxn ang="0">
                  <a:pos x="22" y="12"/>
                </a:cxn>
                <a:cxn ang="0">
                  <a:pos x="16" y="20"/>
                </a:cxn>
                <a:cxn ang="0">
                  <a:pos x="0" y="34"/>
                </a:cxn>
                <a:cxn ang="0">
                  <a:pos x="2" y="38"/>
                </a:cxn>
                <a:cxn ang="0">
                  <a:pos x="8" y="42"/>
                </a:cxn>
                <a:cxn ang="0">
                  <a:pos x="4" y="44"/>
                </a:cxn>
                <a:cxn ang="0">
                  <a:pos x="8" y="46"/>
                </a:cxn>
                <a:cxn ang="0">
                  <a:pos x="16" y="52"/>
                </a:cxn>
                <a:cxn ang="0">
                  <a:pos x="22" y="56"/>
                </a:cxn>
                <a:cxn ang="0">
                  <a:pos x="22" y="58"/>
                </a:cxn>
                <a:cxn ang="0">
                  <a:pos x="26" y="64"/>
                </a:cxn>
                <a:cxn ang="0">
                  <a:pos x="34" y="70"/>
                </a:cxn>
                <a:cxn ang="0">
                  <a:pos x="44" y="78"/>
                </a:cxn>
                <a:cxn ang="0">
                  <a:pos x="50" y="84"/>
                </a:cxn>
                <a:cxn ang="0">
                  <a:pos x="54" y="86"/>
                </a:cxn>
                <a:cxn ang="0">
                  <a:pos x="54" y="88"/>
                </a:cxn>
                <a:cxn ang="0">
                  <a:pos x="58" y="90"/>
                </a:cxn>
                <a:cxn ang="0">
                  <a:pos x="72" y="98"/>
                </a:cxn>
                <a:cxn ang="0">
                  <a:pos x="82" y="100"/>
                </a:cxn>
              </a:cxnLst>
              <a:rect l="0" t="0" r="r" b="b"/>
              <a:pathLst>
                <a:path w="90" h="100">
                  <a:moveTo>
                    <a:pt x="82" y="100"/>
                  </a:moveTo>
                  <a:lnTo>
                    <a:pt x="82" y="100"/>
                  </a:lnTo>
                  <a:lnTo>
                    <a:pt x="82" y="92"/>
                  </a:lnTo>
                  <a:lnTo>
                    <a:pt x="82" y="86"/>
                  </a:lnTo>
                  <a:lnTo>
                    <a:pt x="84" y="82"/>
                  </a:lnTo>
                  <a:lnTo>
                    <a:pt x="86" y="82"/>
                  </a:lnTo>
                  <a:lnTo>
                    <a:pt x="90" y="80"/>
                  </a:lnTo>
                  <a:lnTo>
                    <a:pt x="90" y="78"/>
                  </a:lnTo>
                  <a:lnTo>
                    <a:pt x="88" y="74"/>
                  </a:lnTo>
                  <a:lnTo>
                    <a:pt x="88" y="74"/>
                  </a:lnTo>
                  <a:lnTo>
                    <a:pt x="88" y="70"/>
                  </a:lnTo>
                  <a:lnTo>
                    <a:pt x="88" y="66"/>
                  </a:lnTo>
                  <a:lnTo>
                    <a:pt x="88" y="66"/>
                  </a:lnTo>
                  <a:lnTo>
                    <a:pt x="82" y="64"/>
                  </a:lnTo>
                  <a:lnTo>
                    <a:pt x="82" y="64"/>
                  </a:lnTo>
                  <a:lnTo>
                    <a:pt x="76" y="60"/>
                  </a:lnTo>
                  <a:lnTo>
                    <a:pt x="74" y="58"/>
                  </a:lnTo>
                  <a:lnTo>
                    <a:pt x="74" y="58"/>
                  </a:lnTo>
                  <a:lnTo>
                    <a:pt x="70" y="58"/>
                  </a:lnTo>
                  <a:lnTo>
                    <a:pt x="70" y="58"/>
                  </a:lnTo>
                  <a:lnTo>
                    <a:pt x="68" y="56"/>
                  </a:lnTo>
                  <a:lnTo>
                    <a:pt x="66" y="56"/>
                  </a:lnTo>
                  <a:lnTo>
                    <a:pt x="66" y="50"/>
                  </a:lnTo>
                  <a:lnTo>
                    <a:pt x="68" y="44"/>
                  </a:lnTo>
                  <a:lnTo>
                    <a:pt x="68" y="40"/>
                  </a:lnTo>
                  <a:lnTo>
                    <a:pt x="68" y="40"/>
                  </a:lnTo>
                  <a:lnTo>
                    <a:pt x="68" y="38"/>
                  </a:lnTo>
                  <a:lnTo>
                    <a:pt x="68" y="34"/>
                  </a:lnTo>
                  <a:lnTo>
                    <a:pt x="68" y="32"/>
                  </a:lnTo>
                  <a:lnTo>
                    <a:pt x="66" y="26"/>
                  </a:lnTo>
                  <a:lnTo>
                    <a:pt x="66" y="26"/>
                  </a:lnTo>
                  <a:lnTo>
                    <a:pt x="64" y="24"/>
                  </a:lnTo>
                  <a:lnTo>
                    <a:pt x="62" y="22"/>
                  </a:lnTo>
                  <a:lnTo>
                    <a:pt x="60" y="26"/>
                  </a:lnTo>
                  <a:lnTo>
                    <a:pt x="60" y="26"/>
                  </a:lnTo>
                  <a:lnTo>
                    <a:pt x="58" y="30"/>
                  </a:lnTo>
                  <a:lnTo>
                    <a:pt x="54" y="30"/>
                  </a:lnTo>
                  <a:lnTo>
                    <a:pt x="50" y="30"/>
                  </a:lnTo>
                  <a:lnTo>
                    <a:pt x="50" y="30"/>
                  </a:lnTo>
                  <a:lnTo>
                    <a:pt x="48" y="28"/>
                  </a:lnTo>
                  <a:lnTo>
                    <a:pt x="48" y="26"/>
                  </a:lnTo>
                  <a:lnTo>
                    <a:pt x="50" y="22"/>
                  </a:lnTo>
                  <a:lnTo>
                    <a:pt x="46" y="12"/>
                  </a:lnTo>
                  <a:lnTo>
                    <a:pt x="46" y="12"/>
                  </a:lnTo>
                  <a:lnTo>
                    <a:pt x="42" y="4"/>
                  </a:lnTo>
                  <a:lnTo>
                    <a:pt x="38" y="0"/>
                  </a:lnTo>
                  <a:lnTo>
                    <a:pt x="32" y="0"/>
                  </a:lnTo>
                  <a:lnTo>
                    <a:pt x="24" y="4"/>
                  </a:lnTo>
                  <a:lnTo>
                    <a:pt x="24" y="4"/>
                  </a:lnTo>
                  <a:lnTo>
                    <a:pt x="24" y="6"/>
                  </a:lnTo>
                  <a:lnTo>
                    <a:pt x="24" y="8"/>
                  </a:lnTo>
                  <a:lnTo>
                    <a:pt x="22" y="12"/>
                  </a:lnTo>
                  <a:lnTo>
                    <a:pt x="16" y="20"/>
                  </a:lnTo>
                  <a:lnTo>
                    <a:pt x="16" y="20"/>
                  </a:lnTo>
                  <a:lnTo>
                    <a:pt x="2" y="32"/>
                  </a:lnTo>
                  <a:lnTo>
                    <a:pt x="0" y="34"/>
                  </a:lnTo>
                  <a:lnTo>
                    <a:pt x="2" y="38"/>
                  </a:lnTo>
                  <a:lnTo>
                    <a:pt x="2" y="38"/>
                  </a:lnTo>
                  <a:lnTo>
                    <a:pt x="8" y="42"/>
                  </a:lnTo>
                  <a:lnTo>
                    <a:pt x="8" y="42"/>
                  </a:lnTo>
                  <a:lnTo>
                    <a:pt x="6" y="44"/>
                  </a:lnTo>
                  <a:lnTo>
                    <a:pt x="4" y="44"/>
                  </a:lnTo>
                  <a:lnTo>
                    <a:pt x="8" y="46"/>
                  </a:lnTo>
                  <a:lnTo>
                    <a:pt x="8" y="46"/>
                  </a:lnTo>
                  <a:lnTo>
                    <a:pt x="12" y="50"/>
                  </a:lnTo>
                  <a:lnTo>
                    <a:pt x="16" y="52"/>
                  </a:lnTo>
                  <a:lnTo>
                    <a:pt x="18" y="54"/>
                  </a:lnTo>
                  <a:lnTo>
                    <a:pt x="22" y="56"/>
                  </a:lnTo>
                  <a:lnTo>
                    <a:pt x="22" y="56"/>
                  </a:lnTo>
                  <a:lnTo>
                    <a:pt x="22" y="58"/>
                  </a:lnTo>
                  <a:lnTo>
                    <a:pt x="22" y="60"/>
                  </a:lnTo>
                  <a:lnTo>
                    <a:pt x="26" y="64"/>
                  </a:lnTo>
                  <a:lnTo>
                    <a:pt x="34" y="70"/>
                  </a:lnTo>
                  <a:lnTo>
                    <a:pt x="34" y="70"/>
                  </a:lnTo>
                  <a:lnTo>
                    <a:pt x="42" y="74"/>
                  </a:lnTo>
                  <a:lnTo>
                    <a:pt x="44" y="78"/>
                  </a:lnTo>
                  <a:lnTo>
                    <a:pt x="46" y="82"/>
                  </a:lnTo>
                  <a:lnTo>
                    <a:pt x="50" y="84"/>
                  </a:lnTo>
                  <a:lnTo>
                    <a:pt x="50" y="84"/>
                  </a:lnTo>
                  <a:lnTo>
                    <a:pt x="54" y="86"/>
                  </a:lnTo>
                  <a:lnTo>
                    <a:pt x="54" y="86"/>
                  </a:lnTo>
                  <a:lnTo>
                    <a:pt x="54" y="88"/>
                  </a:lnTo>
                  <a:lnTo>
                    <a:pt x="58" y="90"/>
                  </a:lnTo>
                  <a:lnTo>
                    <a:pt x="58" y="90"/>
                  </a:lnTo>
                  <a:lnTo>
                    <a:pt x="68" y="94"/>
                  </a:lnTo>
                  <a:lnTo>
                    <a:pt x="72" y="98"/>
                  </a:lnTo>
                  <a:lnTo>
                    <a:pt x="74" y="100"/>
                  </a:lnTo>
                  <a:lnTo>
                    <a:pt x="82" y="100"/>
                  </a:lnTo>
                  <a:lnTo>
                    <a:pt x="82" y="100"/>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Gambia"/>
            <p:cNvSpPr>
              <a:spLocks/>
            </p:cNvSpPr>
            <p:nvPr/>
          </p:nvSpPr>
          <p:spPr bwMode="auto">
            <a:xfrm>
              <a:off x="3684288" y="3155156"/>
              <a:ext cx="82021" cy="23813"/>
            </a:xfrm>
            <a:custGeom>
              <a:avLst/>
              <a:gdLst/>
              <a:ahLst/>
              <a:cxnLst>
                <a:cxn ang="0">
                  <a:pos x="2" y="18"/>
                </a:cxn>
                <a:cxn ang="0">
                  <a:pos x="2" y="18"/>
                </a:cxn>
                <a:cxn ang="0">
                  <a:pos x="12" y="16"/>
                </a:cxn>
                <a:cxn ang="0">
                  <a:pos x="16" y="14"/>
                </a:cxn>
                <a:cxn ang="0">
                  <a:pos x="16" y="14"/>
                </a:cxn>
                <a:cxn ang="0">
                  <a:pos x="20" y="12"/>
                </a:cxn>
                <a:cxn ang="0">
                  <a:pos x="28" y="10"/>
                </a:cxn>
                <a:cxn ang="0">
                  <a:pos x="28" y="10"/>
                </a:cxn>
                <a:cxn ang="0">
                  <a:pos x="32" y="10"/>
                </a:cxn>
                <a:cxn ang="0">
                  <a:pos x="38" y="10"/>
                </a:cxn>
                <a:cxn ang="0">
                  <a:pos x="44" y="10"/>
                </a:cxn>
                <a:cxn ang="0">
                  <a:pos x="54" y="10"/>
                </a:cxn>
                <a:cxn ang="0">
                  <a:pos x="54" y="10"/>
                </a:cxn>
                <a:cxn ang="0">
                  <a:pos x="62" y="6"/>
                </a:cxn>
                <a:cxn ang="0">
                  <a:pos x="62" y="6"/>
                </a:cxn>
                <a:cxn ang="0">
                  <a:pos x="56" y="6"/>
                </a:cxn>
                <a:cxn ang="0">
                  <a:pos x="56" y="6"/>
                </a:cxn>
                <a:cxn ang="0">
                  <a:pos x="48" y="4"/>
                </a:cxn>
                <a:cxn ang="0">
                  <a:pos x="38" y="2"/>
                </a:cxn>
                <a:cxn ang="0">
                  <a:pos x="30" y="0"/>
                </a:cxn>
                <a:cxn ang="0">
                  <a:pos x="24" y="0"/>
                </a:cxn>
                <a:cxn ang="0">
                  <a:pos x="24" y="0"/>
                </a:cxn>
                <a:cxn ang="0">
                  <a:pos x="20" y="0"/>
                </a:cxn>
                <a:cxn ang="0">
                  <a:pos x="20" y="2"/>
                </a:cxn>
                <a:cxn ang="0">
                  <a:pos x="16" y="2"/>
                </a:cxn>
                <a:cxn ang="0">
                  <a:pos x="0" y="4"/>
                </a:cxn>
                <a:cxn ang="0">
                  <a:pos x="0" y="4"/>
                </a:cxn>
                <a:cxn ang="0">
                  <a:pos x="2" y="10"/>
                </a:cxn>
                <a:cxn ang="0">
                  <a:pos x="4" y="12"/>
                </a:cxn>
                <a:cxn ang="0">
                  <a:pos x="4" y="14"/>
                </a:cxn>
                <a:cxn ang="0">
                  <a:pos x="8" y="12"/>
                </a:cxn>
                <a:cxn ang="0">
                  <a:pos x="8" y="12"/>
                </a:cxn>
                <a:cxn ang="0">
                  <a:pos x="10" y="12"/>
                </a:cxn>
                <a:cxn ang="0">
                  <a:pos x="10" y="10"/>
                </a:cxn>
                <a:cxn ang="0">
                  <a:pos x="14" y="8"/>
                </a:cxn>
                <a:cxn ang="0">
                  <a:pos x="26" y="6"/>
                </a:cxn>
                <a:cxn ang="0">
                  <a:pos x="26" y="6"/>
                </a:cxn>
                <a:cxn ang="0">
                  <a:pos x="14" y="8"/>
                </a:cxn>
                <a:cxn ang="0">
                  <a:pos x="12" y="10"/>
                </a:cxn>
                <a:cxn ang="0">
                  <a:pos x="12" y="12"/>
                </a:cxn>
                <a:cxn ang="0">
                  <a:pos x="10" y="14"/>
                </a:cxn>
                <a:cxn ang="0">
                  <a:pos x="10" y="14"/>
                </a:cxn>
                <a:cxn ang="0">
                  <a:pos x="4" y="14"/>
                </a:cxn>
                <a:cxn ang="0">
                  <a:pos x="2" y="14"/>
                </a:cxn>
                <a:cxn ang="0">
                  <a:pos x="2" y="14"/>
                </a:cxn>
                <a:cxn ang="0">
                  <a:pos x="2" y="18"/>
                </a:cxn>
                <a:cxn ang="0">
                  <a:pos x="2" y="18"/>
                </a:cxn>
              </a:cxnLst>
              <a:rect l="0" t="0" r="r" b="b"/>
              <a:pathLst>
                <a:path w="62" h="18">
                  <a:moveTo>
                    <a:pt x="2" y="18"/>
                  </a:moveTo>
                  <a:lnTo>
                    <a:pt x="2" y="18"/>
                  </a:lnTo>
                  <a:lnTo>
                    <a:pt x="12" y="16"/>
                  </a:lnTo>
                  <a:lnTo>
                    <a:pt x="16" y="14"/>
                  </a:lnTo>
                  <a:lnTo>
                    <a:pt x="16" y="14"/>
                  </a:lnTo>
                  <a:lnTo>
                    <a:pt x="20" y="12"/>
                  </a:lnTo>
                  <a:lnTo>
                    <a:pt x="28" y="10"/>
                  </a:lnTo>
                  <a:lnTo>
                    <a:pt x="28" y="10"/>
                  </a:lnTo>
                  <a:lnTo>
                    <a:pt x="32" y="10"/>
                  </a:lnTo>
                  <a:lnTo>
                    <a:pt x="38" y="10"/>
                  </a:lnTo>
                  <a:lnTo>
                    <a:pt x="44" y="10"/>
                  </a:lnTo>
                  <a:lnTo>
                    <a:pt x="54" y="10"/>
                  </a:lnTo>
                  <a:lnTo>
                    <a:pt x="54" y="10"/>
                  </a:lnTo>
                  <a:lnTo>
                    <a:pt x="62" y="6"/>
                  </a:lnTo>
                  <a:lnTo>
                    <a:pt x="62" y="6"/>
                  </a:lnTo>
                  <a:lnTo>
                    <a:pt x="56" y="6"/>
                  </a:lnTo>
                  <a:lnTo>
                    <a:pt x="56" y="6"/>
                  </a:lnTo>
                  <a:lnTo>
                    <a:pt x="48" y="4"/>
                  </a:lnTo>
                  <a:lnTo>
                    <a:pt x="38" y="2"/>
                  </a:lnTo>
                  <a:lnTo>
                    <a:pt x="30" y="0"/>
                  </a:lnTo>
                  <a:lnTo>
                    <a:pt x="24" y="0"/>
                  </a:lnTo>
                  <a:lnTo>
                    <a:pt x="24" y="0"/>
                  </a:lnTo>
                  <a:lnTo>
                    <a:pt x="20" y="0"/>
                  </a:lnTo>
                  <a:lnTo>
                    <a:pt x="20" y="2"/>
                  </a:lnTo>
                  <a:lnTo>
                    <a:pt x="16" y="2"/>
                  </a:lnTo>
                  <a:lnTo>
                    <a:pt x="0" y="4"/>
                  </a:lnTo>
                  <a:lnTo>
                    <a:pt x="0" y="4"/>
                  </a:lnTo>
                  <a:lnTo>
                    <a:pt x="2" y="10"/>
                  </a:lnTo>
                  <a:lnTo>
                    <a:pt x="4" y="12"/>
                  </a:lnTo>
                  <a:lnTo>
                    <a:pt x="4" y="14"/>
                  </a:lnTo>
                  <a:lnTo>
                    <a:pt x="8" y="12"/>
                  </a:lnTo>
                  <a:lnTo>
                    <a:pt x="8" y="12"/>
                  </a:lnTo>
                  <a:lnTo>
                    <a:pt x="10" y="12"/>
                  </a:lnTo>
                  <a:lnTo>
                    <a:pt x="10" y="10"/>
                  </a:lnTo>
                  <a:lnTo>
                    <a:pt x="14" y="8"/>
                  </a:lnTo>
                  <a:lnTo>
                    <a:pt x="26" y="6"/>
                  </a:lnTo>
                  <a:lnTo>
                    <a:pt x="26" y="6"/>
                  </a:lnTo>
                  <a:lnTo>
                    <a:pt x="14" y="8"/>
                  </a:lnTo>
                  <a:lnTo>
                    <a:pt x="12" y="10"/>
                  </a:lnTo>
                  <a:lnTo>
                    <a:pt x="12" y="12"/>
                  </a:lnTo>
                  <a:lnTo>
                    <a:pt x="10" y="14"/>
                  </a:lnTo>
                  <a:lnTo>
                    <a:pt x="10" y="14"/>
                  </a:lnTo>
                  <a:lnTo>
                    <a:pt x="4" y="14"/>
                  </a:lnTo>
                  <a:lnTo>
                    <a:pt x="2" y="14"/>
                  </a:lnTo>
                  <a:lnTo>
                    <a:pt x="2" y="14"/>
                  </a:lnTo>
                  <a:lnTo>
                    <a:pt x="2" y="18"/>
                  </a:lnTo>
                  <a:lnTo>
                    <a:pt x="2" y="18"/>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Senegal"/>
            <p:cNvSpPr>
              <a:spLocks/>
            </p:cNvSpPr>
            <p:nvPr/>
          </p:nvSpPr>
          <p:spPr bwMode="auto">
            <a:xfrm>
              <a:off x="3655184" y="3057260"/>
              <a:ext cx="169333" cy="148167"/>
            </a:xfrm>
            <a:custGeom>
              <a:avLst/>
              <a:gdLst/>
              <a:ahLst/>
              <a:cxnLst>
                <a:cxn ang="0">
                  <a:pos x="106" y="40"/>
                </a:cxn>
                <a:cxn ang="0">
                  <a:pos x="102" y="32"/>
                </a:cxn>
                <a:cxn ang="0">
                  <a:pos x="100" y="26"/>
                </a:cxn>
                <a:cxn ang="0">
                  <a:pos x="96" y="22"/>
                </a:cxn>
                <a:cxn ang="0">
                  <a:pos x="94" y="14"/>
                </a:cxn>
                <a:cxn ang="0">
                  <a:pos x="88" y="14"/>
                </a:cxn>
                <a:cxn ang="0">
                  <a:pos x="80" y="4"/>
                </a:cxn>
                <a:cxn ang="0">
                  <a:pos x="72" y="2"/>
                </a:cxn>
                <a:cxn ang="0">
                  <a:pos x="66" y="0"/>
                </a:cxn>
                <a:cxn ang="0">
                  <a:pos x="62" y="0"/>
                </a:cxn>
                <a:cxn ang="0">
                  <a:pos x="56" y="4"/>
                </a:cxn>
                <a:cxn ang="0">
                  <a:pos x="50" y="4"/>
                </a:cxn>
                <a:cxn ang="0">
                  <a:pos x="44" y="4"/>
                </a:cxn>
                <a:cxn ang="0">
                  <a:pos x="38" y="2"/>
                </a:cxn>
                <a:cxn ang="0">
                  <a:pos x="32" y="6"/>
                </a:cxn>
                <a:cxn ang="0">
                  <a:pos x="20" y="30"/>
                </a:cxn>
                <a:cxn ang="0">
                  <a:pos x="6" y="46"/>
                </a:cxn>
                <a:cxn ang="0">
                  <a:pos x="4" y="54"/>
                </a:cxn>
                <a:cxn ang="0">
                  <a:pos x="8" y="56"/>
                </a:cxn>
                <a:cxn ang="0">
                  <a:pos x="10" y="60"/>
                </a:cxn>
                <a:cxn ang="0">
                  <a:pos x="12" y="62"/>
                </a:cxn>
                <a:cxn ang="0">
                  <a:pos x="18" y="66"/>
                </a:cxn>
                <a:cxn ang="0">
                  <a:pos x="26" y="66"/>
                </a:cxn>
                <a:cxn ang="0">
                  <a:pos x="18" y="68"/>
                </a:cxn>
                <a:cxn ang="0">
                  <a:pos x="22" y="74"/>
                </a:cxn>
                <a:cxn ang="0">
                  <a:pos x="22" y="78"/>
                </a:cxn>
                <a:cxn ang="0">
                  <a:pos x="42" y="76"/>
                </a:cxn>
                <a:cxn ang="0">
                  <a:pos x="46" y="74"/>
                </a:cxn>
                <a:cxn ang="0">
                  <a:pos x="70" y="78"/>
                </a:cxn>
                <a:cxn ang="0">
                  <a:pos x="84" y="80"/>
                </a:cxn>
                <a:cxn ang="0">
                  <a:pos x="76" y="84"/>
                </a:cxn>
                <a:cxn ang="0">
                  <a:pos x="54" y="84"/>
                </a:cxn>
                <a:cxn ang="0">
                  <a:pos x="42" y="86"/>
                </a:cxn>
                <a:cxn ang="0">
                  <a:pos x="34" y="90"/>
                </a:cxn>
                <a:cxn ang="0">
                  <a:pos x="22" y="100"/>
                </a:cxn>
                <a:cxn ang="0">
                  <a:pos x="24" y="102"/>
                </a:cxn>
                <a:cxn ang="0">
                  <a:pos x="32" y="100"/>
                </a:cxn>
                <a:cxn ang="0">
                  <a:pos x="38" y="98"/>
                </a:cxn>
                <a:cxn ang="0">
                  <a:pos x="44" y="98"/>
                </a:cxn>
                <a:cxn ang="0">
                  <a:pos x="52" y="98"/>
                </a:cxn>
                <a:cxn ang="0">
                  <a:pos x="58" y="100"/>
                </a:cxn>
                <a:cxn ang="0">
                  <a:pos x="52" y="102"/>
                </a:cxn>
                <a:cxn ang="0">
                  <a:pos x="48" y="100"/>
                </a:cxn>
                <a:cxn ang="0">
                  <a:pos x="44" y="100"/>
                </a:cxn>
                <a:cxn ang="0">
                  <a:pos x="34" y="102"/>
                </a:cxn>
                <a:cxn ang="0">
                  <a:pos x="28" y="102"/>
                </a:cxn>
                <a:cxn ang="0">
                  <a:pos x="26" y="104"/>
                </a:cxn>
                <a:cxn ang="0">
                  <a:pos x="24" y="112"/>
                </a:cxn>
                <a:cxn ang="0">
                  <a:pos x="28" y="108"/>
                </a:cxn>
                <a:cxn ang="0">
                  <a:pos x="38" y="106"/>
                </a:cxn>
                <a:cxn ang="0">
                  <a:pos x="62" y="102"/>
                </a:cxn>
                <a:cxn ang="0">
                  <a:pos x="78" y="104"/>
                </a:cxn>
                <a:cxn ang="0">
                  <a:pos x="92" y="106"/>
                </a:cxn>
                <a:cxn ang="0">
                  <a:pos x="102" y="106"/>
                </a:cxn>
                <a:cxn ang="0">
                  <a:pos x="126" y="108"/>
                </a:cxn>
                <a:cxn ang="0">
                  <a:pos x="128" y="92"/>
                </a:cxn>
                <a:cxn ang="0">
                  <a:pos x="122" y="76"/>
                </a:cxn>
                <a:cxn ang="0">
                  <a:pos x="116" y="74"/>
                </a:cxn>
                <a:cxn ang="0">
                  <a:pos x="114" y="62"/>
                </a:cxn>
                <a:cxn ang="0">
                  <a:pos x="112" y="50"/>
                </a:cxn>
              </a:cxnLst>
              <a:rect l="0" t="0" r="r" b="b"/>
              <a:pathLst>
                <a:path w="128" h="112">
                  <a:moveTo>
                    <a:pt x="112" y="44"/>
                  </a:moveTo>
                  <a:lnTo>
                    <a:pt x="112" y="44"/>
                  </a:lnTo>
                  <a:lnTo>
                    <a:pt x="106" y="40"/>
                  </a:lnTo>
                  <a:lnTo>
                    <a:pt x="104" y="38"/>
                  </a:lnTo>
                  <a:lnTo>
                    <a:pt x="104" y="36"/>
                  </a:lnTo>
                  <a:lnTo>
                    <a:pt x="102" y="32"/>
                  </a:lnTo>
                  <a:lnTo>
                    <a:pt x="102" y="32"/>
                  </a:lnTo>
                  <a:lnTo>
                    <a:pt x="100" y="30"/>
                  </a:lnTo>
                  <a:lnTo>
                    <a:pt x="100" y="26"/>
                  </a:lnTo>
                  <a:lnTo>
                    <a:pt x="100" y="24"/>
                  </a:lnTo>
                  <a:lnTo>
                    <a:pt x="96" y="22"/>
                  </a:lnTo>
                  <a:lnTo>
                    <a:pt x="96" y="22"/>
                  </a:lnTo>
                  <a:lnTo>
                    <a:pt x="94" y="20"/>
                  </a:lnTo>
                  <a:lnTo>
                    <a:pt x="94" y="16"/>
                  </a:lnTo>
                  <a:lnTo>
                    <a:pt x="94" y="14"/>
                  </a:lnTo>
                  <a:lnTo>
                    <a:pt x="90" y="14"/>
                  </a:lnTo>
                  <a:lnTo>
                    <a:pt x="90" y="14"/>
                  </a:lnTo>
                  <a:lnTo>
                    <a:pt x="88" y="14"/>
                  </a:lnTo>
                  <a:lnTo>
                    <a:pt x="86" y="12"/>
                  </a:lnTo>
                  <a:lnTo>
                    <a:pt x="82" y="8"/>
                  </a:lnTo>
                  <a:lnTo>
                    <a:pt x="80" y="4"/>
                  </a:lnTo>
                  <a:lnTo>
                    <a:pt x="76" y="4"/>
                  </a:lnTo>
                  <a:lnTo>
                    <a:pt x="72" y="2"/>
                  </a:lnTo>
                  <a:lnTo>
                    <a:pt x="72" y="2"/>
                  </a:lnTo>
                  <a:lnTo>
                    <a:pt x="68" y="2"/>
                  </a:lnTo>
                  <a:lnTo>
                    <a:pt x="66" y="0"/>
                  </a:lnTo>
                  <a:lnTo>
                    <a:pt x="66" y="0"/>
                  </a:lnTo>
                  <a:lnTo>
                    <a:pt x="64" y="0"/>
                  </a:lnTo>
                  <a:lnTo>
                    <a:pt x="64" y="0"/>
                  </a:lnTo>
                  <a:lnTo>
                    <a:pt x="62" y="0"/>
                  </a:lnTo>
                  <a:lnTo>
                    <a:pt x="60" y="2"/>
                  </a:lnTo>
                  <a:lnTo>
                    <a:pt x="60" y="4"/>
                  </a:lnTo>
                  <a:lnTo>
                    <a:pt x="56" y="4"/>
                  </a:lnTo>
                  <a:lnTo>
                    <a:pt x="56" y="4"/>
                  </a:lnTo>
                  <a:lnTo>
                    <a:pt x="52" y="4"/>
                  </a:lnTo>
                  <a:lnTo>
                    <a:pt x="50" y="4"/>
                  </a:lnTo>
                  <a:lnTo>
                    <a:pt x="50" y="4"/>
                  </a:lnTo>
                  <a:lnTo>
                    <a:pt x="46" y="4"/>
                  </a:lnTo>
                  <a:lnTo>
                    <a:pt x="44" y="4"/>
                  </a:lnTo>
                  <a:lnTo>
                    <a:pt x="40" y="2"/>
                  </a:lnTo>
                  <a:lnTo>
                    <a:pt x="40" y="2"/>
                  </a:lnTo>
                  <a:lnTo>
                    <a:pt x="38" y="2"/>
                  </a:lnTo>
                  <a:lnTo>
                    <a:pt x="36" y="2"/>
                  </a:lnTo>
                  <a:lnTo>
                    <a:pt x="32" y="6"/>
                  </a:lnTo>
                  <a:lnTo>
                    <a:pt x="32" y="6"/>
                  </a:lnTo>
                  <a:lnTo>
                    <a:pt x="28" y="16"/>
                  </a:lnTo>
                  <a:lnTo>
                    <a:pt x="20" y="30"/>
                  </a:lnTo>
                  <a:lnTo>
                    <a:pt x="20" y="30"/>
                  </a:lnTo>
                  <a:lnTo>
                    <a:pt x="12" y="42"/>
                  </a:lnTo>
                  <a:lnTo>
                    <a:pt x="6" y="46"/>
                  </a:lnTo>
                  <a:lnTo>
                    <a:pt x="6" y="46"/>
                  </a:lnTo>
                  <a:lnTo>
                    <a:pt x="0" y="52"/>
                  </a:lnTo>
                  <a:lnTo>
                    <a:pt x="0" y="52"/>
                  </a:lnTo>
                  <a:lnTo>
                    <a:pt x="4" y="54"/>
                  </a:lnTo>
                  <a:lnTo>
                    <a:pt x="4" y="54"/>
                  </a:lnTo>
                  <a:lnTo>
                    <a:pt x="8" y="56"/>
                  </a:lnTo>
                  <a:lnTo>
                    <a:pt x="8" y="56"/>
                  </a:lnTo>
                  <a:lnTo>
                    <a:pt x="6" y="58"/>
                  </a:lnTo>
                  <a:lnTo>
                    <a:pt x="10" y="60"/>
                  </a:lnTo>
                  <a:lnTo>
                    <a:pt x="10" y="60"/>
                  </a:lnTo>
                  <a:lnTo>
                    <a:pt x="14" y="62"/>
                  </a:lnTo>
                  <a:lnTo>
                    <a:pt x="14" y="62"/>
                  </a:lnTo>
                  <a:lnTo>
                    <a:pt x="12" y="62"/>
                  </a:lnTo>
                  <a:lnTo>
                    <a:pt x="14" y="66"/>
                  </a:lnTo>
                  <a:lnTo>
                    <a:pt x="14" y="66"/>
                  </a:lnTo>
                  <a:lnTo>
                    <a:pt x="18" y="66"/>
                  </a:lnTo>
                  <a:lnTo>
                    <a:pt x="20" y="66"/>
                  </a:lnTo>
                  <a:lnTo>
                    <a:pt x="22" y="64"/>
                  </a:lnTo>
                  <a:lnTo>
                    <a:pt x="26" y="66"/>
                  </a:lnTo>
                  <a:lnTo>
                    <a:pt x="26" y="66"/>
                  </a:lnTo>
                  <a:lnTo>
                    <a:pt x="20" y="66"/>
                  </a:lnTo>
                  <a:lnTo>
                    <a:pt x="18" y="68"/>
                  </a:lnTo>
                  <a:lnTo>
                    <a:pt x="20" y="70"/>
                  </a:lnTo>
                  <a:lnTo>
                    <a:pt x="20" y="70"/>
                  </a:lnTo>
                  <a:lnTo>
                    <a:pt x="22" y="74"/>
                  </a:lnTo>
                  <a:lnTo>
                    <a:pt x="22" y="74"/>
                  </a:lnTo>
                  <a:lnTo>
                    <a:pt x="20" y="76"/>
                  </a:lnTo>
                  <a:lnTo>
                    <a:pt x="22" y="78"/>
                  </a:lnTo>
                  <a:lnTo>
                    <a:pt x="22" y="78"/>
                  </a:lnTo>
                  <a:lnTo>
                    <a:pt x="38" y="76"/>
                  </a:lnTo>
                  <a:lnTo>
                    <a:pt x="42" y="76"/>
                  </a:lnTo>
                  <a:lnTo>
                    <a:pt x="42" y="74"/>
                  </a:lnTo>
                  <a:lnTo>
                    <a:pt x="46" y="74"/>
                  </a:lnTo>
                  <a:lnTo>
                    <a:pt x="46" y="74"/>
                  </a:lnTo>
                  <a:lnTo>
                    <a:pt x="52" y="74"/>
                  </a:lnTo>
                  <a:lnTo>
                    <a:pt x="60" y="76"/>
                  </a:lnTo>
                  <a:lnTo>
                    <a:pt x="70" y="78"/>
                  </a:lnTo>
                  <a:lnTo>
                    <a:pt x="78" y="80"/>
                  </a:lnTo>
                  <a:lnTo>
                    <a:pt x="78" y="80"/>
                  </a:lnTo>
                  <a:lnTo>
                    <a:pt x="84" y="80"/>
                  </a:lnTo>
                  <a:lnTo>
                    <a:pt x="84" y="80"/>
                  </a:lnTo>
                  <a:lnTo>
                    <a:pt x="76" y="84"/>
                  </a:lnTo>
                  <a:lnTo>
                    <a:pt x="76" y="84"/>
                  </a:lnTo>
                  <a:lnTo>
                    <a:pt x="66" y="84"/>
                  </a:lnTo>
                  <a:lnTo>
                    <a:pt x="60" y="84"/>
                  </a:lnTo>
                  <a:lnTo>
                    <a:pt x="54" y="84"/>
                  </a:lnTo>
                  <a:lnTo>
                    <a:pt x="50" y="84"/>
                  </a:lnTo>
                  <a:lnTo>
                    <a:pt x="50" y="84"/>
                  </a:lnTo>
                  <a:lnTo>
                    <a:pt x="42" y="86"/>
                  </a:lnTo>
                  <a:lnTo>
                    <a:pt x="38" y="88"/>
                  </a:lnTo>
                  <a:lnTo>
                    <a:pt x="38" y="88"/>
                  </a:lnTo>
                  <a:lnTo>
                    <a:pt x="34" y="90"/>
                  </a:lnTo>
                  <a:lnTo>
                    <a:pt x="24" y="92"/>
                  </a:lnTo>
                  <a:lnTo>
                    <a:pt x="24" y="92"/>
                  </a:lnTo>
                  <a:lnTo>
                    <a:pt x="22" y="100"/>
                  </a:lnTo>
                  <a:lnTo>
                    <a:pt x="22" y="102"/>
                  </a:lnTo>
                  <a:lnTo>
                    <a:pt x="24" y="102"/>
                  </a:lnTo>
                  <a:lnTo>
                    <a:pt x="24" y="102"/>
                  </a:lnTo>
                  <a:lnTo>
                    <a:pt x="28" y="100"/>
                  </a:lnTo>
                  <a:lnTo>
                    <a:pt x="30" y="98"/>
                  </a:lnTo>
                  <a:lnTo>
                    <a:pt x="32" y="100"/>
                  </a:lnTo>
                  <a:lnTo>
                    <a:pt x="34" y="100"/>
                  </a:lnTo>
                  <a:lnTo>
                    <a:pt x="34" y="100"/>
                  </a:lnTo>
                  <a:lnTo>
                    <a:pt x="38" y="98"/>
                  </a:lnTo>
                  <a:lnTo>
                    <a:pt x="40" y="98"/>
                  </a:lnTo>
                  <a:lnTo>
                    <a:pt x="42" y="98"/>
                  </a:lnTo>
                  <a:lnTo>
                    <a:pt x="44" y="98"/>
                  </a:lnTo>
                  <a:lnTo>
                    <a:pt x="44" y="98"/>
                  </a:lnTo>
                  <a:lnTo>
                    <a:pt x="48" y="98"/>
                  </a:lnTo>
                  <a:lnTo>
                    <a:pt x="52" y="98"/>
                  </a:lnTo>
                  <a:lnTo>
                    <a:pt x="54" y="100"/>
                  </a:lnTo>
                  <a:lnTo>
                    <a:pt x="58" y="100"/>
                  </a:lnTo>
                  <a:lnTo>
                    <a:pt x="58" y="100"/>
                  </a:lnTo>
                  <a:lnTo>
                    <a:pt x="56" y="100"/>
                  </a:lnTo>
                  <a:lnTo>
                    <a:pt x="54" y="102"/>
                  </a:lnTo>
                  <a:lnTo>
                    <a:pt x="52" y="102"/>
                  </a:lnTo>
                  <a:lnTo>
                    <a:pt x="52" y="102"/>
                  </a:lnTo>
                  <a:lnTo>
                    <a:pt x="48" y="100"/>
                  </a:lnTo>
                  <a:lnTo>
                    <a:pt x="48" y="100"/>
                  </a:lnTo>
                  <a:lnTo>
                    <a:pt x="46" y="100"/>
                  </a:lnTo>
                  <a:lnTo>
                    <a:pt x="44" y="100"/>
                  </a:lnTo>
                  <a:lnTo>
                    <a:pt x="44" y="100"/>
                  </a:lnTo>
                  <a:lnTo>
                    <a:pt x="38" y="100"/>
                  </a:lnTo>
                  <a:lnTo>
                    <a:pt x="36" y="102"/>
                  </a:lnTo>
                  <a:lnTo>
                    <a:pt x="34" y="102"/>
                  </a:lnTo>
                  <a:lnTo>
                    <a:pt x="34" y="102"/>
                  </a:lnTo>
                  <a:lnTo>
                    <a:pt x="28" y="102"/>
                  </a:lnTo>
                  <a:lnTo>
                    <a:pt x="28" y="102"/>
                  </a:lnTo>
                  <a:lnTo>
                    <a:pt x="28" y="104"/>
                  </a:lnTo>
                  <a:lnTo>
                    <a:pt x="26" y="104"/>
                  </a:lnTo>
                  <a:lnTo>
                    <a:pt x="26" y="104"/>
                  </a:lnTo>
                  <a:lnTo>
                    <a:pt x="22" y="106"/>
                  </a:lnTo>
                  <a:lnTo>
                    <a:pt x="22" y="108"/>
                  </a:lnTo>
                  <a:lnTo>
                    <a:pt x="24" y="112"/>
                  </a:lnTo>
                  <a:lnTo>
                    <a:pt x="24" y="112"/>
                  </a:lnTo>
                  <a:lnTo>
                    <a:pt x="28" y="110"/>
                  </a:lnTo>
                  <a:lnTo>
                    <a:pt x="28" y="108"/>
                  </a:lnTo>
                  <a:lnTo>
                    <a:pt x="30" y="106"/>
                  </a:lnTo>
                  <a:lnTo>
                    <a:pt x="38" y="106"/>
                  </a:lnTo>
                  <a:lnTo>
                    <a:pt x="38" y="106"/>
                  </a:lnTo>
                  <a:lnTo>
                    <a:pt x="50" y="104"/>
                  </a:lnTo>
                  <a:lnTo>
                    <a:pt x="56" y="102"/>
                  </a:lnTo>
                  <a:lnTo>
                    <a:pt x="62" y="102"/>
                  </a:lnTo>
                  <a:lnTo>
                    <a:pt x="62" y="102"/>
                  </a:lnTo>
                  <a:lnTo>
                    <a:pt x="78" y="104"/>
                  </a:lnTo>
                  <a:lnTo>
                    <a:pt x="78" y="104"/>
                  </a:lnTo>
                  <a:lnTo>
                    <a:pt x="84" y="104"/>
                  </a:lnTo>
                  <a:lnTo>
                    <a:pt x="88" y="106"/>
                  </a:lnTo>
                  <a:lnTo>
                    <a:pt x="92" y="106"/>
                  </a:lnTo>
                  <a:lnTo>
                    <a:pt x="96" y="106"/>
                  </a:lnTo>
                  <a:lnTo>
                    <a:pt x="96" y="106"/>
                  </a:lnTo>
                  <a:lnTo>
                    <a:pt x="102" y="106"/>
                  </a:lnTo>
                  <a:lnTo>
                    <a:pt x="108" y="108"/>
                  </a:lnTo>
                  <a:lnTo>
                    <a:pt x="114" y="108"/>
                  </a:lnTo>
                  <a:lnTo>
                    <a:pt x="126" y="108"/>
                  </a:lnTo>
                  <a:lnTo>
                    <a:pt x="126" y="108"/>
                  </a:lnTo>
                  <a:lnTo>
                    <a:pt x="128" y="102"/>
                  </a:lnTo>
                  <a:lnTo>
                    <a:pt x="128" y="92"/>
                  </a:lnTo>
                  <a:lnTo>
                    <a:pt x="126" y="84"/>
                  </a:lnTo>
                  <a:lnTo>
                    <a:pt x="122" y="76"/>
                  </a:lnTo>
                  <a:lnTo>
                    <a:pt x="122" y="76"/>
                  </a:lnTo>
                  <a:lnTo>
                    <a:pt x="120" y="78"/>
                  </a:lnTo>
                  <a:lnTo>
                    <a:pt x="118" y="78"/>
                  </a:lnTo>
                  <a:lnTo>
                    <a:pt x="116" y="74"/>
                  </a:lnTo>
                  <a:lnTo>
                    <a:pt x="114" y="68"/>
                  </a:lnTo>
                  <a:lnTo>
                    <a:pt x="114" y="62"/>
                  </a:lnTo>
                  <a:lnTo>
                    <a:pt x="114" y="62"/>
                  </a:lnTo>
                  <a:lnTo>
                    <a:pt x="116" y="54"/>
                  </a:lnTo>
                  <a:lnTo>
                    <a:pt x="114" y="52"/>
                  </a:lnTo>
                  <a:lnTo>
                    <a:pt x="112" y="50"/>
                  </a:lnTo>
                  <a:lnTo>
                    <a:pt x="112" y="44"/>
                  </a:lnTo>
                  <a:lnTo>
                    <a:pt x="112" y="44"/>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Guinea-Bissau"/>
            <p:cNvSpPr>
              <a:spLocks/>
            </p:cNvSpPr>
            <p:nvPr/>
          </p:nvSpPr>
          <p:spPr bwMode="auto">
            <a:xfrm>
              <a:off x="3686934" y="3192198"/>
              <a:ext cx="71438" cy="50271"/>
            </a:xfrm>
            <a:custGeom>
              <a:avLst/>
              <a:gdLst/>
              <a:ahLst/>
              <a:cxnLst>
                <a:cxn ang="0">
                  <a:pos x="28" y="38"/>
                </a:cxn>
                <a:cxn ang="0">
                  <a:pos x="34" y="32"/>
                </a:cxn>
                <a:cxn ang="0">
                  <a:pos x="38" y="28"/>
                </a:cxn>
                <a:cxn ang="0">
                  <a:pos x="44" y="26"/>
                </a:cxn>
                <a:cxn ang="0">
                  <a:pos x="48" y="26"/>
                </a:cxn>
                <a:cxn ang="0">
                  <a:pos x="54" y="18"/>
                </a:cxn>
                <a:cxn ang="0">
                  <a:pos x="52" y="14"/>
                </a:cxn>
                <a:cxn ang="0">
                  <a:pos x="52" y="10"/>
                </a:cxn>
                <a:cxn ang="0">
                  <a:pos x="54" y="2"/>
                </a:cxn>
                <a:cxn ang="0">
                  <a:pos x="38" y="0"/>
                </a:cxn>
                <a:cxn ang="0">
                  <a:pos x="32" y="0"/>
                </a:cxn>
                <a:cxn ang="0">
                  <a:pos x="14" y="4"/>
                </a:cxn>
                <a:cxn ang="0">
                  <a:pos x="6" y="4"/>
                </a:cxn>
                <a:cxn ang="0">
                  <a:pos x="4" y="8"/>
                </a:cxn>
                <a:cxn ang="0">
                  <a:pos x="0" y="10"/>
                </a:cxn>
                <a:cxn ang="0">
                  <a:pos x="8" y="10"/>
                </a:cxn>
                <a:cxn ang="0">
                  <a:pos x="2" y="14"/>
                </a:cxn>
                <a:cxn ang="0">
                  <a:pos x="6" y="16"/>
                </a:cxn>
                <a:cxn ang="0">
                  <a:pos x="10" y="18"/>
                </a:cxn>
                <a:cxn ang="0">
                  <a:pos x="12" y="16"/>
                </a:cxn>
                <a:cxn ang="0">
                  <a:pos x="14" y="16"/>
                </a:cxn>
                <a:cxn ang="0">
                  <a:pos x="14" y="18"/>
                </a:cxn>
                <a:cxn ang="0">
                  <a:pos x="12" y="20"/>
                </a:cxn>
                <a:cxn ang="0">
                  <a:pos x="16" y="20"/>
                </a:cxn>
                <a:cxn ang="0">
                  <a:pos x="26" y="16"/>
                </a:cxn>
                <a:cxn ang="0">
                  <a:pos x="30" y="18"/>
                </a:cxn>
                <a:cxn ang="0">
                  <a:pos x="26" y="18"/>
                </a:cxn>
                <a:cxn ang="0">
                  <a:pos x="14" y="22"/>
                </a:cxn>
                <a:cxn ang="0">
                  <a:pos x="16" y="24"/>
                </a:cxn>
                <a:cxn ang="0">
                  <a:pos x="18" y="26"/>
                </a:cxn>
                <a:cxn ang="0">
                  <a:pos x="20" y="26"/>
                </a:cxn>
                <a:cxn ang="0">
                  <a:pos x="22" y="24"/>
                </a:cxn>
                <a:cxn ang="0">
                  <a:pos x="28" y="20"/>
                </a:cxn>
                <a:cxn ang="0">
                  <a:pos x="26" y="24"/>
                </a:cxn>
                <a:cxn ang="0">
                  <a:pos x="28" y="28"/>
                </a:cxn>
                <a:cxn ang="0">
                  <a:pos x="26" y="26"/>
                </a:cxn>
                <a:cxn ang="0">
                  <a:pos x="22" y="28"/>
                </a:cxn>
                <a:cxn ang="0">
                  <a:pos x="22" y="32"/>
                </a:cxn>
                <a:cxn ang="0">
                  <a:pos x="24" y="34"/>
                </a:cxn>
                <a:cxn ang="0">
                  <a:pos x="28" y="38"/>
                </a:cxn>
              </a:cxnLst>
              <a:rect l="0" t="0" r="r" b="b"/>
              <a:pathLst>
                <a:path w="54" h="38">
                  <a:moveTo>
                    <a:pt x="28" y="38"/>
                  </a:moveTo>
                  <a:lnTo>
                    <a:pt x="28" y="38"/>
                  </a:lnTo>
                  <a:lnTo>
                    <a:pt x="30" y="34"/>
                  </a:lnTo>
                  <a:lnTo>
                    <a:pt x="34" y="32"/>
                  </a:lnTo>
                  <a:lnTo>
                    <a:pt x="34" y="32"/>
                  </a:lnTo>
                  <a:lnTo>
                    <a:pt x="38" y="28"/>
                  </a:lnTo>
                  <a:lnTo>
                    <a:pt x="42" y="26"/>
                  </a:lnTo>
                  <a:lnTo>
                    <a:pt x="44" y="26"/>
                  </a:lnTo>
                  <a:lnTo>
                    <a:pt x="44" y="26"/>
                  </a:lnTo>
                  <a:lnTo>
                    <a:pt x="48" y="26"/>
                  </a:lnTo>
                  <a:lnTo>
                    <a:pt x="52" y="22"/>
                  </a:lnTo>
                  <a:lnTo>
                    <a:pt x="54" y="18"/>
                  </a:lnTo>
                  <a:lnTo>
                    <a:pt x="52" y="14"/>
                  </a:lnTo>
                  <a:lnTo>
                    <a:pt x="52" y="14"/>
                  </a:lnTo>
                  <a:lnTo>
                    <a:pt x="50" y="12"/>
                  </a:lnTo>
                  <a:lnTo>
                    <a:pt x="52" y="10"/>
                  </a:lnTo>
                  <a:lnTo>
                    <a:pt x="54" y="8"/>
                  </a:lnTo>
                  <a:lnTo>
                    <a:pt x="54" y="2"/>
                  </a:lnTo>
                  <a:lnTo>
                    <a:pt x="54" y="2"/>
                  </a:lnTo>
                  <a:lnTo>
                    <a:pt x="38" y="0"/>
                  </a:lnTo>
                  <a:lnTo>
                    <a:pt x="38" y="0"/>
                  </a:lnTo>
                  <a:lnTo>
                    <a:pt x="32" y="0"/>
                  </a:lnTo>
                  <a:lnTo>
                    <a:pt x="26" y="2"/>
                  </a:lnTo>
                  <a:lnTo>
                    <a:pt x="14" y="4"/>
                  </a:lnTo>
                  <a:lnTo>
                    <a:pt x="14" y="4"/>
                  </a:lnTo>
                  <a:lnTo>
                    <a:pt x="6" y="4"/>
                  </a:lnTo>
                  <a:lnTo>
                    <a:pt x="4" y="6"/>
                  </a:lnTo>
                  <a:lnTo>
                    <a:pt x="4" y="8"/>
                  </a:lnTo>
                  <a:lnTo>
                    <a:pt x="0" y="10"/>
                  </a:lnTo>
                  <a:lnTo>
                    <a:pt x="0" y="10"/>
                  </a:lnTo>
                  <a:lnTo>
                    <a:pt x="2" y="12"/>
                  </a:lnTo>
                  <a:lnTo>
                    <a:pt x="8" y="10"/>
                  </a:lnTo>
                  <a:lnTo>
                    <a:pt x="8" y="10"/>
                  </a:lnTo>
                  <a:lnTo>
                    <a:pt x="2" y="14"/>
                  </a:lnTo>
                  <a:lnTo>
                    <a:pt x="4" y="14"/>
                  </a:lnTo>
                  <a:lnTo>
                    <a:pt x="6" y="16"/>
                  </a:lnTo>
                  <a:lnTo>
                    <a:pt x="6" y="16"/>
                  </a:lnTo>
                  <a:lnTo>
                    <a:pt x="10" y="18"/>
                  </a:lnTo>
                  <a:lnTo>
                    <a:pt x="12" y="16"/>
                  </a:lnTo>
                  <a:lnTo>
                    <a:pt x="12" y="16"/>
                  </a:lnTo>
                  <a:lnTo>
                    <a:pt x="14" y="16"/>
                  </a:lnTo>
                  <a:lnTo>
                    <a:pt x="14" y="16"/>
                  </a:lnTo>
                  <a:lnTo>
                    <a:pt x="14" y="16"/>
                  </a:lnTo>
                  <a:lnTo>
                    <a:pt x="14" y="18"/>
                  </a:lnTo>
                  <a:lnTo>
                    <a:pt x="12" y="18"/>
                  </a:lnTo>
                  <a:lnTo>
                    <a:pt x="12" y="20"/>
                  </a:lnTo>
                  <a:lnTo>
                    <a:pt x="12" y="20"/>
                  </a:lnTo>
                  <a:lnTo>
                    <a:pt x="16" y="20"/>
                  </a:lnTo>
                  <a:lnTo>
                    <a:pt x="20" y="18"/>
                  </a:lnTo>
                  <a:lnTo>
                    <a:pt x="26" y="16"/>
                  </a:lnTo>
                  <a:lnTo>
                    <a:pt x="30" y="18"/>
                  </a:lnTo>
                  <a:lnTo>
                    <a:pt x="30" y="18"/>
                  </a:lnTo>
                  <a:lnTo>
                    <a:pt x="30" y="18"/>
                  </a:lnTo>
                  <a:lnTo>
                    <a:pt x="26" y="18"/>
                  </a:lnTo>
                  <a:lnTo>
                    <a:pt x="22" y="20"/>
                  </a:lnTo>
                  <a:lnTo>
                    <a:pt x="14" y="22"/>
                  </a:lnTo>
                  <a:lnTo>
                    <a:pt x="14" y="22"/>
                  </a:lnTo>
                  <a:lnTo>
                    <a:pt x="16" y="24"/>
                  </a:lnTo>
                  <a:lnTo>
                    <a:pt x="16" y="26"/>
                  </a:lnTo>
                  <a:lnTo>
                    <a:pt x="18" y="26"/>
                  </a:lnTo>
                  <a:lnTo>
                    <a:pt x="20" y="26"/>
                  </a:lnTo>
                  <a:lnTo>
                    <a:pt x="20" y="26"/>
                  </a:lnTo>
                  <a:lnTo>
                    <a:pt x="20" y="26"/>
                  </a:lnTo>
                  <a:lnTo>
                    <a:pt x="22" y="24"/>
                  </a:lnTo>
                  <a:lnTo>
                    <a:pt x="24" y="22"/>
                  </a:lnTo>
                  <a:lnTo>
                    <a:pt x="28" y="20"/>
                  </a:lnTo>
                  <a:lnTo>
                    <a:pt x="28" y="20"/>
                  </a:lnTo>
                  <a:lnTo>
                    <a:pt x="26" y="24"/>
                  </a:lnTo>
                  <a:lnTo>
                    <a:pt x="26" y="26"/>
                  </a:lnTo>
                  <a:lnTo>
                    <a:pt x="28" y="28"/>
                  </a:lnTo>
                  <a:lnTo>
                    <a:pt x="26" y="26"/>
                  </a:lnTo>
                  <a:lnTo>
                    <a:pt x="26" y="26"/>
                  </a:lnTo>
                  <a:lnTo>
                    <a:pt x="24" y="26"/>
                  </a:lnTo>
                  <a:lnTo>
                    <a:pt x="22" y="28"/>
                  </a:lnTo>
                  <a:lnTo>
                    <a:pt x="22" y="32"/>
                  </a:lnTo>
                  <a:lnTo>
                    <a:pt x="22" y="32"/>
                  </a:lnTo>
                  <a:lnTo>
                    <a:pt x="24" y="32"/>
                  </a:lnTo>
                  <a:lnTo>
                    <a:pt x="24" y="34"/>
                  </a:lnTo>
                  <a:lnTo>
                    <a:pt x="24" y="36"/>
                  </a:lnTo>
                  <a:lnTo>
                    <a:pt x="28" y="38"/>
                  </a:lnTo>
                  <a:lnTo>
                    <a:pt x="28" y="38"/>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Guinea"/>
            <p:cNvSpPr>
              <a:spLocks/>
            </p:cNvSpPr>
            <p:nvPr/>
          </p:nvSpPr>
          <p:spPr bwMode="auto">
            <a:xfrm>
              <a:off x="3723976" y="3194844"/>
              <a:ext cx="203729" cy="177271"/>
            </a:xfrm>
            <a:custGeom>
              <a:avLst/>
              <a:gdLst/>
              <a:ahLst/>
              <a:cxnLst>
                <a:cxn ang="0">
                  <a:pos x="134" y="126"/>
                </a:cxn>
                <a:cxn ang="0">
                  <a:pos x="126" y="134"/>
                </a:cxn>
                <a:cxn ang="0">
                  <a:pos x="120" y="130"/>
                </a:cxn>
                <a:cxn ang="0">
                  <a:pos x="114" y="108"/>
                </a:cxn>
                <a:cxn ang="0">
                  <a:pos x="96" y="108"/>
                </a:cxn>
                <a:cxn ang="0">
                  <a:pos x="94" y="92"/>
                </a:cxn>
                <a:cxn ang="0">
                  <a:pos x="92" y="88"/>
                </a:cxn>
                <a:cxn ang="0">
                  <a:pos x="84" y="84"/>
                </a:cxn>
                <a:cxn ang="0">
                  <a:pos x="82" y="74"/>
                </a:cxn>
                <a:cxn ang="0">
                  <a:pos x="76" y="68"/>
                </a:cxn>
                <a:cxn ang="0">
                  <a:pos x="62" y="68"/>
                </a:cxn>
                <a:cxn ang="0">
                  <a:pos x="50" y="72"/>
                </a:cxn>
                <a:cxn ang="0">
                  <a:pos x="44" y="84"/>
                </a:cxn>
                <a:cxn ang="0">
                  <a:pos x="36" y="92"/>
                </a:cxn>
                <a:cxn ang="0">
                  <a:pos x="38" y="88"/>
                </a:cxn>
                <a:cxn ang="0">
                  <a:pos x="28" y="78"/>
                </a:cxn>
                <a:cxn ang="0">
                  <a:pos x="26" y="70"/>
                </a:cxn>
                <a:cxn ang="0">
                  <a:pos x="16" y="58"/>
                </a:cxn>
                <a:cxn ang="0">
                  <a:pos x="10" y="52"/>
                </a:cxn>
                <a:cxn ang="0">
                  <a:pos x="2" y="44"/>
                </a:cxn>
                <a:cxn ang="0">
                  <a:pos x="2" y="32"/>
                </a:cxn>
                <a:cxn ang="0">
                  <a:pos x="14" y="24"/>
                </a:cxn>
                <a:cxn ang="0">
                  <a:pos x="24" y="20"/>
                </a:cxn>
                <a:cxn ang="0">
                  <a:pos x="22" y="10"/>
                </a:cxn>
                <a:cxn ang="0">
                  <a:pos x="26" y="0"/>
                </a:cxn>
                <a:cxn ang="0">
                  <a:pos x="44" y="2"/>
                </a:cxn>
                <a:cxn ang="0">
                  <a:pos x="62" y="4"/>
                </a:cxn>
                <a:cxn ang="0">
                  <a:pos x="76" y="8"/>
                </a:cxn>
                <a:cxn ang="0">
                  <a:pos x="84" y="10"/>
                </a:cxn>
                <a:cxn ang="0">
                  <a:pos x="90" y="8"/>
                </a:cxn>
                <a:cxn ang="0">
                  <a:pos x="102" y="10"/>
                </a:cxn>
                <a:cxn ang="0">
                  <a:pos x="108" y="10"/>
                </a:cxn>
                <a:cxn ang="0">
                  <a:pos x="116" y="4"/>
                </a:cxn>
                <a:cxn ang="0">
                  <a:pos x="126" y="6"/>
                </a:cxn>
                <a:cxn ang="0">
                  <a:pos x="130" y="14"/>
                </a:cxn>
                <a:cxn ang="0">
                  <a:pos x="134" y="24"/>
                </a:cxn>
                <a:cxn ang="0">
                  <a:pos x="132" y="38"/>
                </a:cxn>
                <a:cxn ang="0">
                  <a:pos x="140" y="42"/>
                </a:cxn>
                <a:cxn ang="0">
                  <a:pos x="148" y="54"/>
                </a:cxn>
                <a:cxn ang="0">
                  <a:pos x="150" y="58"/>
                </a:cxn>
                <a:cxn ang="0">
                  <a:pos x="144" y="74"/>
                </a:cxn>
                <a:cxn ang="0">
                  <a:pos x="148" y="76"/>
                </a:cxn>
                <a:cxn ang="0">
                  <a:pos x="154" y="80"/>
                </a:cxn>
                <a:cxn ang="0">
                  <a:pos x="152" y="88"/>
                </a:cxn>
                <a:cxn ang="0">
                  <a:pos x="154" y="98"/>
                </a:cxn>
                <a:cxn ang="0">
                  <a:pos x="154" y="106"/>
                </a:cxn>
                <a:cxn ang="0">
                  <a:pos x="142" y="110"/>
                </a:cxn>
                <a:cxn ang="0">
                  <a:pos x="146" y="116"/>
                </a:cxn>
                <a:cxn ang="0">
                  <a:pos x="142" y="124"/>
                </a:cxn>
                <a:cxn ang="0">
                  <a:pos x="138" y="130"/>
                </a:cxn>
              </a:cxnLst>
              <a:rect l="0" t="0" r="r" b="b"/>
              <a:pathLst>
                <a:path w="154" h="134">
                  <a:moveTo>
                    <a:pt x="138" y="130"/>
                  </a:moveTo>
                  <a:lnTo>
                    <a:pt x="138" y="130"/>
                  </a:lnTo>
                  <a:lnTo>
                    <a:pt x="136" y="128"/>
                  </a:lnTo>
                  <a:lnTo>
                    <a:pt x="134" y="126"/>
                  </a:lnTo>
                  <a:lnTo>
                    <a:pt x="132" y="130"/>
                  </a:lnTo>
                  <a:lnTo>
                    <a:pt x="132" y="130"/>
                  </a:lnTo>
                  <a:lnTo>
                    <a:pt x="130" y="134"/>
                  </a:lnTo>
                  <a:lnTo>
                    <a:pt x="126" y="134"/>
                  </a:lnTo>
                  <a:lnTo>
                    <a:pt x="122" y="134"/>
                  </a:lnTo>
                  <a:lnTo>
                    <a:pt x="122" y="134"/>
                  </a:lnTo>
                  <a:lnTo>
                    <a:pt x="120" y="132"/>
                  </a:lnTo>
                  <a:lnTo>
                    <a:pt x="120" y="130"/>
                  </a:lnTo>
                  <a:lnTo>
                    <a:pt x="122" y="126"/>
                  </a:lnTo>
                  <a:lnTo>
                    <a:pt x="118" y="116"/>
                  </a:lnTo>
                  <a:lnTo>
                    <a:pt x="118" y="116"/>
                  </a:lnTo>
                  <a:lnTo>
                    <a:pt x="114" y="108"/>
                  </a:lnTo>
                  <a:lnTo>
                    <a:pt x="110" y="104"/>
                  </a:lnTo>
                  <a:lnTo>
                    <a:pt x="104" y="104"/>
                  </a:lnTo>
                  <a:lnTo>
                    <a:pt x="96" y="108"/>
                  </a:lnTo>
                  <a:lnTo>
                    <a:pt x="96" y="108"/>
                  </a:lnTo>
                  <a:lnTo>
                    <a:pt x="94" y="102"/>
                  </a:lnTo>
                  <a:lnTo>
                    <a:pt x="94" y="98"/>
                  </a:lnTo>
                  <a:lnTo>
                    <a:pt x="94" y="96"/>
                  </a:lnTo>
                  <a:lnTo>
                    <a:pt x="94" y="92"/>
                  </a:lnTo>
                  <a:lnTo>
                    <a:pt x="94" y="92"/>
                  </a:lnTo>
                  <a:lnTo>
                    <a:pt x="92" y="90"/>
                  </a:lnTo>
                  <a:lnTo>
                    <a:pt x="94" y="90"/>
                  </a:lnTo>
                  <a:lnTo>
                    <a:pt x="92" y="88"/>
                  </a:lnTo>
                  <a:lnTo>
                    <a:pt x="88" y="86"/>
                  </a:lnTo>
                  <a:lnTo>
                    <a:pt x="88" y="86"/>
                  </a:lnTo>
                  <a:lnTo>
                    <a:pt x="86" y="84"/>
                  </a:lnTo>
                  <a:lnTo>
                    <a:pt x="84" y="84"/>
                  </a:lnTo>
                  <a:lnTo>
                    <a:pt x="86" y="80"/>
                  </a:lnTo>
                  <a:lnTo>
                    <a:pt x="86" y="76"/>
                  </a:lnTo>
                  <a:lnTo>
                    <a:pt x="86" y="74"/>
                  </a:lnTo>
                  <a:lnTo>
                    <a:pt x="82" y="74"/>
                  </a:lnTo>
                  <a:lnTo>
                    <a:pt x="82" y="74"/>
                  </a:lnTo>
                  <a:lnTo>
                    <a:pt x="80" y="72"/>
                  </a:lnTo>
                  <a:lnTo>
                    <a:pt x="78" y="70"/>
                  </a:lnTo>
                  <a:lnTo>
                    <a:pt x="76" y="68"/>
                  </a:lnTo>
                  <a:lnTo>
                    <a:pt x="72" y="68"/>
                  </a:lnTo>
                  <a:lnTo>
                    <a:pt x="72" y="68"/>
                  </a:lnTo>
                  <a:lnTo>
                    <a:pt x="66" y="66"/>
                  </a:lnTo>
                  <a:lnTo>
                    <a:pt x="62" y="68"/>
                  </a:lnTo>
                  <a:lnTo>
                    <a:pt x="58" y="70"/>
                  </a:lnTo>
                  <a:lnTo>
                    <a:pt x="54" y="72"/>
                  </a:lnTo>
                  <a:lnTo>
                    <a:pt x="54" y="72"/>
                  </a:lnTo>
                  <a:lnTo>
                    <a:pt x="50" y="72"/>
                  </a:lnTo>
                  <a:lnTo>
                    <a:pt x="48" y="76"/>
                  </a:lnTo>
                  <a:lnTo>
                    <a:pt x="46" y="80"/>
                  </a:lnTo>
                  <a:lnTo>
                    <a:pt x="44" y="84"/>
                  </a:lnTo>
                  <a:lnTo>
                    <a:pt x="44" y="84"/>
                  </a:lnTo>
                  <a:lnTo>
                    <a:pt x="42" y="86"/>
                  </a:lnTo>
                  <a:lnTo>
                    <a:pt x="40" y="88"/>
                  </a:lnTo>
                  <a:lnTo>
                    <a:pt x="40" y="90"/>
                  </a:lnTo>
                  <a:lnTo>
                    <a:pt x="36" y="92"/>
                  </a:lnTo>
                  <a:lnTo>
                    <a:pt x="36" y="92"/>
                  </a:lnTo>
                  <a:lnTo>
                    <a:pt x="34" y="92"/>
                  </a:lnTo>
                  <a:lnTo>
                    <a:pt x="34" y="90"/>
                  </a:lnTo>
                  <a:lnTo>
                    <a:pt x="38" y="88"/>
                  </a:lnTo>
                  <a:lnTo>
                    <a:pt x="38" y="86"/>
                  </a:lnTo>
                  <a:lnTo>
                    <a:pt x="38" y="86"/>
                  </a:lnTo>
                  <a:lnTo>
                    <a:pt x="34" y="84"/>
                  </a:lnTo>
                  <a:lnTo>
                    <a:pt x="28" y="78"/>
                  </a:lnTo>
                  <a:lnTo>
                    <a:pt x="24" y="74"/>
                  </a:lnTo>
                  <a:lnTo>
                    <a:pt x="24" y="72"/>
                  </a:lnTo>
                  <a:lnTo>
                    <a:pt x="26" y="70"/>
                  </a:lnTo>
                  <a:lnTo>
                    <a:pt x="26" y="70"/>
                  </a:lnTo>
                  <a:lnTo>
                    <a:pt x="20" y="70"/>
                  </a:lnTo>
                  <a:lnTo>
                    <a:pt x="16" y="66"/>
                  </a:lnTo>
                  <a:lnTo>
                    <a:pt x="16" y="62"/>
                  </a:lnTo>
                  <a:lnTo>
                    <a:pt x="16" y="58"/>
                  </a:lnTo>
                  <a:lnTo>
                    <a:pt x="16" y="58"/>
                  </a:lnTo>
                  <a:lnTo>
                    <a:pt x="16" y="56"/>
                  </a:lnTo>
                  <a:lnTo>
                    <a:pt x="12" y="54"/>
                  </a:lnTo>
                  <a:lnTo>
                    <a:pt x="10" y="52"/>
                  </a:lnTo>
                  <a:lnTo>
                    <a:pt x="10" y="48"/>
                  </a:lnTo>
                  <a:lnTo>
                    <a:pt x="10" y="48"/>
                  </a:lnTo>
                  <a:lnTo>
                    <a:pt x="6" y="48"/>
                  </a:lnTo>
                  <a:lnTo>
                    <a:pt x="2" y="44"/>
                  </a:lnTo>
                  <a:lnTo>
                    <a:pt x="0" y="40"/>
                  </a:lnTo>
                  <a:lnTo>
                    <a:pt x="0" y="36"/>
                  </a:lnTo>
                  <a:lnTo>
                    <a:pt x="0" y="36"/>
                  </a:lnTo>
                  <a:lnTo>
                    <a:pt x="2" y="32"/>
                  </a:lnTo>
                  <a:lnTo>
                    <a:pt x="6" y="30"/>
                  </a:lnTo>
                  <a:lnTo>
                    <a:pt x="6" y="30"/>
                  </a:lnTo>
                  <a:lnTo>
                    <a:pt x="10" y="26"/>
                  </a:lnTo>
                  <a:lnTo>
                    <a:pt x="14" y="24"/>
                  </a:lnTo>
                  <a:lnTo>
                    <a:pt x="16" y="24"/>
                  </a:lnTo>
                  <a:lnTo>
                    <a:pt x="16" y="24"/>
                  </a:lnTo>
                  <a:lnTo>
                    <a:pt x="20" y="24"/>
                  </a:lnTo>
                  <a:lnTo>
                    <a:pt x="24" y="20"/>
                  </a:lnTo>
                  <a:lnTo>
                    <a:pt x="26" y="16"/>
                  </a:lnTo>
                  <a:lnTo>
                    <a:pt x="24" y="12"/>
                  </a:lnTo>
                  <a:lnTo>
                    <a:pt x="24" y="12"/>
                  </a:lnTo>
                  <a:lnTo>
                    <a:pt x="22" y="10"/>
                  </a:lnTo>
                  <a:lnTo>
                    <a:pt x="24" y="8"/>
                  </a:lnTo>
                  <a:lnTo>
                    <a:pt x="26" y="6"/>
                  </a:lnTo>
                  <a:lnTo>
                    <a:pt x="26" y="0"/>
                  </a:lnTo>
                  <a:lnTo>
                    <a:pt x="26" y="0"/>
                  </a:lnTo>
                  <a:lnTo>
                    <a:pt x="32" y="0"/>
                  </a:lnTo>
                  <a:lnTo>
                    <a:pt x="36" y="2"/>
                  </a:lnTo>
                  <a:lnTo>
                    <a:pt x="40" y="2"/>
                  </a:lnTo>
                  <a:lnTo>
                    <a:pt x="44" y="2"/>
                  </a:lnTo>
                  <a:lnTo>
                    <a:pt x="44" y="2"/>
                  </a:lnTo>
                  <a:lnTo>
                    <a:pt x="50" y="2"/>
                  </a:lnTo>
                  <a:lnTo>
                    <a:pt x="56" y="4"/>
                  </a:lnTo>
                  <a:lnTo>
                    <a:pt x="62" y="4"/>
                  </a:lnTo>
                  <a:lnTo>
                    <a:pt x="74" y="4"/>
                  </a:lnTo>
                  <a:lnTo>
                    <a:pt x="74" y="4"/>
                  </a:lnTo>
                  <a:lnTo>
                    <a:pt x="74" y="6"/>
                  </a:lnTo>
                  <a:lnTo>
                    <a:pt x="76" y="8"/>
                  </a:lnTo>
                  <a:lnTo>
                    <a:pt x="80" y="8"/>
                  </a:lnTo>
                  <a:lnTo>
                    <a:pt x="82" y="6"/>
                  </a:lnTo>
                  <a:lnTo>
                    <a:pt x="82" y="6"/>
                  </a:lnTo>
                  <a:lnTo>
                    <a:pt x="84" y="10"/>
                  </a:lnTo>
                  <a:lnTo>
                    <a:pt x="86" y="10"/>
                  </a:lnTo>
                  <a:lnTo>
                    <a:pt x="88" y="8"/>
                  </a:lnTo>
                  <a:lnTo>
                    <a:pt x="90" y="8"/>
                  </a:lnTo>
                  <a:lnTo>
                    <a:pt x="90" y="8"/>
                  </a:lnTo>
                  <a:lnTo>
                    <a:pt x="94" y="8"/>
                  </a:lnTo>
                  <a:lnTo>
                    <a:pt x="96" y="10"/>
                  </a:lnTo>
                  <a:lnTo>
                    <a:pt x="98" y="12"/>
                  </a:lnTo>
                  <a:lnTo>
                    <a:pt x="102" y="10"/>
                  </a:lnTo>
                  <a:lnTo>
                    <a:pt x="102" y="10"/>
                  </a:lnTo>
                  <a:lnTo>
                    <a:pt x="104" y="8"/>
                  </a:lnTo>
                  <a:lnTo>
                    <a:pt x="106" y="10"/>
                  </a:lnTo>
                  <a:lnTo>
                    <a:pt x="108" y="10"/>
                  </a:lnTo>
                  <a:lnTo>
                    <a:pt x="114" y="8"/>
                  </a:lnTo>
                  <a:lnTo>
                    <a:pt x="114" y="8"/>
                  </a:lnTo>
                  <a:lnTo>
                    <a:pt x="114" y="6"/>
                  </a:lnTo>
                  <a:lnTo>
                    <a:pt x="116" y="4"/>
                  </a:lnTo>
                  <a:lnTo>
                    <a:pt x="118" y="2"/>
                  </a:lnTo>
                  <a:lnTo>
                    <a:pt x="122" y="4"/>
                  </a:lnTo>
                  <a:lnTo>
                    <a:pt x="122" y="4"/>
                  </a:lnTo>
                  <a:lnTo>
                    <a:pt x="126" y="6"/>
                  </a:lnTo>
                  <a:lnTo>
                    <a:pt x="126" y="8"/>
                  </a:lnTo>
                  <a:lnTo>
                    <a:pt x="126" y="10"/>
                  </a:lnTo>
                  <a:lnTo>
                    <a:pt x="130" y="14"/>
                  </a:lnTo>
                  <a:lnTo>
                    <a:pt x="130" y="14"/>
                  </a:lnTo>
                  <a:lnTo>
                    <a:pt x="132" y="18"/>
                  </a:lnTo>
                  <a:lnTo>
                    <a:pt x="132" y="20"/>
                  </a:lnTo>
                  <a:lnTo>
                    <a:pt x="132" y="22"/>
                  </a:lnTo>
                  <a:lnTo>
                    <a:pt x="134" y="24"/>
                  </a:lnTo>
                  <a:lnTo>
                    <a:pt x="134" y="24"/>
                  </a:lnTo>
                  <a:lnTo>
                    <a:pt x="138" y="26"/>
                  </a:lnTo>
                  <a:lnTo>
                    <a:pt x="138" y="28"/>
                  </a:lnTo>
                  <a:lnTo>
                    <a:pt x="132" y="38"/>
                  </a:lnTo>
                  <a:lnTo>
                    <a:pt x="132" y="38"/>
                  </a:lnTo>
                  <a:lnTo>
                    <a:pt x="136" y="36"/>
                  </a:lnTo>
                  <a:lnTo>
                    <a:pt x="140" y="38"/>
                  </a:lnTo>
                  <a:lnTo>
                    <a:pt x="140" y="42"/>
                  </a:lnTo>
                  <a:lnTo>
                    <a:pt x="142" y="48"/>
                  </a:lnTo>
                  <a:lnTo>
                    <a:pt x="142" y="48"/>
                  </a:lnTo>
                  <a:lnTo>
                    <a:pt x="144" y="52"/>
                  </a:lnTo>
                  <a:lnTo>
                    <a:pt x="148" y="54"/>
                  </a:lnTo>
                  <a:lnTo>
                    <a:pt x="150" y="56"/>
                  </a:lnTo>
                  <a:lnTo>
                    <a:pt x="152" y="58"/>
                  </a:lnTo>
                  <a:lnTo>
                    <a:pt x="152" y="58"/>
                  </a:lnTo>
                  <a:lnTo>
                    <a:pt x="150" y="58"/>
                  </a:lnTo>
                  <a:lnTo>
                    <a:pt x="148" y="62"/>
                  </a:lnTo>
                  <a:lnTo>
                    <a:pt x="144" y="68"/>
                  </a:lnTo>
                  <a:lnTo>
                    <a:pt x="144" y="68"/>
                  </a:lnTo>
                  <a:lnTo>
                    <a:pt x="144" y="74"/>
                  </a:lnTo>
                  <a:lnTo>
                    <a:pt x="144" y="74"/>
                  </a:lnTo>
                  <a:lnTo>
                    <a:pt x="146" y="74"/>
                  </a:lnTo>
                  <a:lnTo>
                    <a:pt x="148" y="76"/>
                  </a:lnTo>
                  <a:lnTo>
                    <a:pt x="148" y="76"/>
                  </a:lnTo>
                  <a:lnTo>
                    <a:pt x="150" y="80"/>
                  </a:lnTo>
                  <a:lnTo>
                    <a:pt x="150" y="78"/>
                  </a:lnTo>
                  <a:lnTo>
                    <a:pt x="152" y="78"/>
                  </a:lnTo>
                  <a:lnTo>
                    <a:pt x="154" y="80"/>
                  </a:lnTo>
                  <a:lnTo>
                    <a:pt x="154" y="80"/>
                  </a:lnTo>
                  <a:lnTo>
                    <a:pt x="154" y="82"/>
                  </a:lnTo>
                  <a:lnTo>
                    <a:pt x="154" y="84"/>
                  </a:lnTo>
                  <a:lnTo>
                    <a:pt x="152" y="88"/>
                  </a:lnTo>
                  <a:lnTo>
                    <a:pt x="154" y="92"/>
                  </a:lnTo>
                  <a:lnTo>
                    <a:pt x="154" y="92"/>
                  </a:lnTo>
                  <a:lnTo>
                    <a:pt x="154" y="94"/>
                  </a:lnTo>
                  <a:lnTo>
                    <a:pt x="154" y="98"/>
                  </a:lnTo>
                  <a:lnTo>
                    <a:pt x="152" y="100"/>
                  </a:lnTo>
                  <a:lnTo>
                    <a:pt x="154" y="104"/>
                  </a:lnTo>
                  <a:lnTo>
                    <a:pt x="154" y="104"/>
                  </a:lnTo>
                  <a:lnTo>
                    <a:pt x="154" y="106"/>
                  </a:lnTo>
                  <a:lnTo>
                    <a:pt x="154" y="108"/>
                  </a:lnTo>
                  <a:lnTo>
                    <a:pt x="148" y="106"/>
                  </a:lnTo>
                  <a:lnTo>
                    <a:pt x="144" y="108"/>
                  </a:lnTo>
                  <a:lnTo>
                    <a:pt x="142" y="110"/>
                  </a:lnTo>
                  <a:lnTo>
                    <a:pt x="142" y="112"/>
                  </a:lnTo>
                  <a:lnTo>
                    <a:pt x="142" y="112"/>
                  </a:lnTo>
                  <a:lnTo>
                    <a:pt x="144" y="116"/>
                  </a:lnTo>
                  <a:lnTo>
                    <a:pt x="146" y="116"/>
                  </a:lnTo>
                  <a:lnTo>
                    <a:pt x="148" y="118"/>
                  </a:lnTo>
                  <a:lnTo>
                    <a:pt x="146" y="120"/>
                  </a:lnTo>
                  <a:lnTo>
                    <a:pt x="146" y="120"/>
                  </a:lnTo>
                  <a:lnTo>
                    <a:pt x="142" y="124"/>
                  </a:lnTo>
                  <a:lnTo>
                    <a:pt x="142" y="126"/>
                  </a:lnTo>
                  <a:lnTo>
                    <a:pt x="142" y="128"/>
                  </a:lnTo>
                  <a:lnTo>
                    <a:pt x="138" y="130"/>
                  </a:lnTo>
                  <a:lnTo>
                    <a:pt x="138" y="130"/>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Togo"/>
            <p:cNvSpPr>
              <a:spLocks/>
            </p:cNvSpPr>
            <p:nvPr/>
          </p:nvSpPr>
          <p:spPr bwMode="auto">
            <a:xfrm>
              <a:off x="4136726" y="3242469"/>
              <a:ext cx="66146" cy="179917"/>
            </a:xfrm>
            <a:custGeom>
              <a:avLst/>
              <a:gdLst/>
              <a:ahLst/>
              <a:cxnLst>
                <a:cxn ang="0">
                  <a:pos x="20" y="0"/>
                </a:cxn>
                <a:cxn ang="0">
                  <a:pos x="16" y="2"/>
                </a:cxn>
                <a:cxn ang="0">
                  <a:pos x="2" y="0"/>
                </a:cxn>
                <a:cxn ang="0">
                  <a:pos x="0" y="8"/>
                </a:cxn>
                <a:cxn ang="0">
                  <a:pos x="2" y="14"/>
                </a:cxn>
                <a:cxn ang="0">
                  <a:pos x="2" y="18"/>
                </a:cxn>
                <a:cxn ang="0">
                  <a:pos x="2" y="20"/>
                </a:cxn>
                <a:cxn ang="0">
                  <a:pos x="8" y="20"/>
                </a:cxn>
                <a:cxn ang="0">
                  <a:pos x="8" y="24"/>
                </a:cxn>
                <a:cxn ang="0">
                  <a:pos x="8" y="30"/>
                </a:cxn>
                <a:cxn ang="0">
                  <a:pos x="12" y="36"/>
                </a:cxn>
                <a:cxn ang="0">
                  <a:pos x="12" y="44"/>
                </a:cxn>
                <a:cxn ang="0">
                  <a:pos x="12" y="48"/>
                </a:cxn>
                <a:cxn ang="0">
                  <a:pos x="14" y="54"/>
                </a:cxn>
                <a:cxn ang="0">
                  <a:pos x="18" y="58"/>
                </a:cxn>
                <a:cxn ang="0">
                  <a:pos x="20" y="58"/>
                </a:cxn>
                <a:cxn ang="0">
                  <a:pos x="20" y="68"/>
                </a:cxn>
                <a:cxn ang="0">
                  <a:pos x="20" y="74"/>
                </a:cxn>
                <a:cxn ang="0">
                  <a:pos x="20" y="76"/>
                </a:cxn>
                <a:cxn ang="0">
                  <a:pos x="18" y="78"/>
                </a:cxn>
                <a:cxn ang="0">
                  <a:pos x="20" y="84"/>
                </a:cxn>
                <a:cxn ang="0">
                  <a:pos x="20" y="86"/>
                </a:cxn>
                <a:cxn ang="0">
                  <a:pos x="18" y="94"/>
                </a:cxn>
                <a:cxn ang="0">
                  <a:pos x="16" y="108"/>
                </a:cxn>
                <a:cxn ang="0">
                  <a:pos x="16" y="114"/>
                </a:cxn>
                <a:cxn ang="0">
                  <a:pos x="22" y="120"/>
                </a:cxn>
                <a:cxn ang="0">
                  <a:pos x="24" y="124"/>
                </a:cxn>
                <a:cxn ang="0">
                  <a:pos x="28" y="128"/>
                </a:cxn>
                <a:cxn ang="0">
                  <a:pos x="32" y="136"/>
                </a:cxn>
                <a:cxn ang="0">
                  <a:pos x="42" y="134"/>
                </a:cxn>
                <a:cxn ang="0">
                  <a:pos x="50" y="130"/>
                </a:cxn>
                <a:cxn ang="0">
                  <a:pos x="48" y="124"/>
                </a:cxn>
                <a:cxn ang="0">
                  <a:pos x="42" y="118"/>
                </a:cxn>
                <a:cxn ang="0">
                  <a:pos x="40" y="112"/>
                </a:cxn>
                <a:cxn ang="0">
                  <a:pos x="42" y="108"/>
                </a:cxn>
                <a:cxn ang="0">
                  <a:pos x="44" y="104"/>
                </a:cxn>
                <a:cxn ang="0">
                  <a:pos x="42" y="62"/>
                </a:cxn>
                <a:cxn ang="0">
                  <a:pos x="42" y="56"/>
                </a:cxn>
                <a:cxn ang="0">
                  <a:pos x="38" y="54"/>
                </a:cxn>
                <a:cxn ang="0">
                  <a:pos x="34" y="48"/>
                </a:cxn>
                <a:cxn ang="0">
                  <a:pos x="34" y="34"/>
                </a:cxn>
                <a:cxn ang="0">
                  <a:pos x="30" y="28"/>
                </a:cxn>
                <a:cxn ang="0">
                  <a:pos x="22" y="24"/>
                </a:cxn>
                <a:cxn ang="0">
                  <a:pos x="18" y="12"/>
                </a:cxn>
                <a:cxn ang="0">
                  <a:pos x="20" y="0"/>
                </a:cxn>
              </a:cxnLst>
              <a:rect l="0" t="0" r="r" b="b"/>
              <a:pathLst>
                <a:path w="50" h="136">
                  <a:moveTo>
                    <a:pt x="20" y="0"/>
                  </a:moveTo>
                  <a:lnTo>
                    <a:pt x="20" y="0"/>
                  </a:lnTo>
                  <a:lnTo>
                    <a:pt x="18" y="2"/>
                  </a:lnTo>
                  <a:lnTo>
                    <a:pt x="16" y="2"/>
                  </a:lnTo>
                  <a:lnTo>
                    <a:pt x="12" y="0"/>
                  </a:lnTo>
                  <a:lnTo>
                    <a:pt x="2" y="0"/>
                  </a:lnTo>
                  <a:lnTo>
                    <a:pt x="2" y="0"/>
                  </a:lnTo>
                  <a:lnTo>
                    <a:pt x="0" y="8"/>
                  </a:lnTo>
                  <a:lnTo>
                    <a:pt x="0" y="12"/>
                  </a:lnTo>
                  <a:lnTo>
                    <a:pt x="2" y="14"/>
                  </a:lnTo>
                  <a:lnTo>
                    <a:pt x="2" y="18"/>
                  </a:lnTo>
                  <a:lnTo>
                    <a:pt x="2" y="18"/>
                  </a:lnTo>
                  <a:lnTo>
                    <a:pt x="2" y="20"/>
                  </a:lnTo>
                  <a:lnTo>
                    <a:pt x="2" y="20"/>
                  </a:lnTo>
                  <a:lnTo>
                    <a:pt x="6" y="20"/>
                  </a:lnTo>
                  <a:lnTo>
                    <a:pt x="8" y="20"/>
                  </a:lnTo>
                  <a:lnTo>
                    <a:pt x="8" y="24"/>
                  </a:lnTo>
                  <a:lnTo>
                    <a:pt x="8" y="24"/>
                  </a:lnTo>
                  <a:lnTo>
                    <a:pt x="8" y="28"/>
                  </a:lnTo>
                  <a:lnTo>
                    <a:pt x="8" y="30"/>
                  </a:lnTo>
                  <a:lnTo>
                    <a:pt x="10" y="32"/>
                  </a:lnTo>
                  <a:lnTo>
                    <a:pt x="12" y="36"/>
                  </a:lnTo>
                  <a:lnTo>
                    <a:pt x="12" y="36"/>
                  </a:lnTo>
                  <a:lnTo>
                    <a:pt x="12" y="44"/>
                  </a:lnTo>
                  <a:lnTo>
                    <a:pt x="12" y="46"/>
                  </a:lnTo>
                  <a:lnTo>
                    <a:pt x="12" y="48"/>
                  </a:lnTo>
                  <a:lnTo>
                    <a:pt x="12" y="48"/>
                  </a:lnTo>
                  <a:lnTo>
                    <a:pt x="14" y="54"/>
                  </a:lnTo>
                  <a:lnTo>
                    <a:pt x="16" y="58"/>
                  </a:lnTo>
                  <a:lnTo>
                    <a:pt x="18" y="58"/>
                  </a:lnTo>
                  <a:lnTo>
                    <a:pt x="18" y="58"/>
                  </a:lnTo>
                  <a:lnTo>
                    <a:pt x="20" y="58"/>
                  </a:lnTo>
                  <a:lnTo>
                    <a:pt x="20" y="60"/>
                  </a:lnTo>
                  <a:lnTo>
                    <a:pt x="20" y="68"/>
                  </a:lnTo>
                  <a:lnTo>
                    <a:pt x="20" y="68"/>
                  </a:lnTo>
                  <a:lnTo>
                    <a:pt x="20" y="74"/>
                  </a:lnTo>
                  <a:lnTo>
                    <a:pt x="20" y="76"/>
                  </a:lnTo>
                  <a:lnTo>
                    <a:pt x="20" y="76"/>
                  </a:lnTo>
                  <a:lnTo>
                    <a:pt x="20" y="76"/>
                  </a:lnTo>
                  <a:lnTo>
                    <a:pt x="18" y="78"/>
                  </a:lnTo>
                  <a:lnTo>
                    <a:pt x="20" y="82"/>
                  </a:lnTo>
                  <a:lnTo>
                    <a:pt x="20" y="84"/>
                  </a:lnTo>
                  <a:lnTo>
                    <a:pt x="20" y="86"/>
                  </a:lnTo>
                  <a:lnTo>
                    <a:pt x="20" y="86"/>
                  </a:lnTo>
                  <a:lnTo>
                    <a:pt x="18" y="90"/>
                  </a:lnTo>
                  <a:lnTo>
                    <a:pt x="18" y="94"/>
                  </a:lnTo>
                  <a:lnTo>
                    <a:pt x="18" y="100"/>
                  </a:lnTo>
                  <a:lnTo>
                    <a:pt x="16" y="108"/>
                  </a:lnTo>
                  <a:lnTo>
                    <a:pt x="16" y="108"/>
                  </a:lnTo>
                  <a:lnTo>
                    <a:pt x="16" y="114"/>
                  </a:lnTo>
                  <a:lnTo>
                    <a:pt x="18" y="116"/>
                  </a:lnTo>
                  <a:lnTo>
                    <a:pt x="22" y="120"/>
                  </a:lnTo>
                  <a:lnTo>
                    <a:pt x="24" y="124"/>
                  </a:lnTo>
                  <a:lnTo>
                    <a:pt x="24" y="124"/>
                  </a:lnTo>
                  <a:lnTo>
                    <a:pt x="26" y="128"/>
                  </a:lnTo>
                  <a:lnTo>
                    <a:pt x="28" y="128"/>
                  </a:lnTo>
                  <a:lnTo>
                    <a:pt x="30" y="130"/>
                  </a:lnTo>
                  <a:lnTo>
                    <a:pt x="32" y="136"/>
                  </a:lnTo>
                  <a:lnTo>
                    <a:pt x="32" y="136"/>
                  </a:lnTo>
                  <a:lnTo>
                    <a:pt x="42" y="134"/>
                  </a:lnTo>
                  <a:lnTo>
                    <a:pt x="46" y="134"/>
                  </a:lnTo>
                  <a:lnTo>
                    <a:pt x="50" y="130"/>
                  </a:lnTo>
                  <a:lnTo>
                    <a:pt x="50" y="130"/>
                  </a:lnTo>
                  <a:lnTo>
                    <a:pt x="48" y="124"/>
                  </a:lnTo>
                  <a:lnTo>
                    <a:pt x="44" y="122"/>
                  </a:lnTo>
                  <a:lnTo>
                    <a:pt x="42" y="118"/>
                  </a:lnTo>
                  <a:lnTo>
                    <a:pt x="40" y="112"/>
                  </a:lnTo>
                  <a:lnTo>
                    <a:pt x="40" y="112"/>
                  </a:lnTo>
                  <a:lnTo>
                    <a:pt x="42" y="108"/>
                  </a:lnTo>
                  <a:lnTo>
                    <a:pt x="42" y="108"/>
                  </a:lnTo>
                  <a:lnTo>
                    <a:pt x="44" y="106"/>
                  </a:lnTo>
                  <a:lnTo>
                    <a:pt x="44" y="104"/>
                  </a:lnTo>
                  <a:lnTo>
                    <a:pt x="44" y="104"/>
                  </a:lnTo>
                  <a:lnTo>
                    <a:pt x="42" y="62"/>
                  </a:lnTo>
                  <a:lnTo>
                    <a:pt x="42" y="62"/>
                  </a:lnTo>
                  <a:lnTo>
                    <a:pt x="42" y="56"/>
                  </a:lnTo>
                  <a:lnTo>
                    <a:pt x="38" y="54"/>
                  </a:lnTo>
                  <a:lnTo>
                    <a:pt x="38" y="54"/>
                  </a:lnTo>
                  <a:lnTo>
                    <a:pt x="36" y="50"/>
                  </a:lnTo>
                  <a:lnTo>
                    <a:pt x="34" y="48"/>
                  </a:lnTo>
                  <a:lnTo>
                    <a:pt x="34" y="40"/>
                  </a:lnTo>
                  <a:lnTo>
                    <a:pt x="34" y="34"/>
                  </a:lnTo>
                  <a:lnTo>
                    <a:pt x="32" y="30"/>
                  </a:lnTo>
                  <a:lnTo>
                    <a:pt x="30" y="28"/>
                  </a:lnTo>
                  <a:lnTo>
                    <a:pt x="30" y="28"/>
                  </a:lnTo>
                  <a:lnTo>
                    <a:pt x="22" y="24"/>
                  </a:lnTo>
                  <a:lnTo>
                    <a:pt x="20" y="20"/>
                  </a:lnTo>
                  <a:lnTo>
                    <a:pt x="18" y="12"/>
                  </a:lnTo>
                  <a:lnTo>
                    <a:pt x="20" y="0"/>
                  </a:lnTo>
                  <a:lnTo>
                    <a:pt x="20" y="0"/>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Ghana"/>
            <p:cNvSpPr>
              <a:spLocks/>
            </p:cNvSpPr>
            <p:nvPr/>
          </p:nvSpPr>
          <p:spPr bwMode="auto">
            <a:xfrm>
              <a:off x="4057351" y="3239823"/>
              <a:ext cx="121708" cy="214313"/>
            </a:xfrm>
            <a:custGeom>
              <a:avLst/>
              <a:gdLst/>
              <a:ahLst/>
              <a:cxnLst>
                <a:cxn ang="0">
                  <a:pos x="12" y="38"/>
                </a:cxn>
                <a:cxn ang="0">
                  <a:pos x="8" y="28"/>
                </a:cxn>
                <a:cxn ang="0">
                  <a:pos x="6" y="20"/>
                </a:cxn>
                <a:cxn ang="0">
                  <a:pos x="4" y="14"/>
                </a:cxn>
                <a:cxn ang="0">
                  <a:pos x="10" y="4"/>
                </a:cxn>
                <a:cxn ang="0">
                  <a:pos x="46" y="4"/>
                </a:cxn>
                <a:cxn ang="0">
                  <a:pos x="54" y="0"/>
                </a:cxn>
                <a:cxn ang="0">
                  <a:pos x="62" y="2"/>
                </a:cxn>
                <a:cxn ang="0">
                  <a:pos x="60" y="14"/>
                </a:cxn>
                <a:cxn ang="0">
                  <a:pos x="62" y="20"/>
                </a:cxn>
                <a:cxn ang="0">
                  <a:pos x="66" y="22"/>
                </a:cxn>
                <a:cxn ang="0">
                  <a:pos x="68" y="26"/>
                </a:cxn>
                <a:cxn ang="0">
                  <a:pos x="70" y="34"/>
                </a:cxn>
                <a:cxn ang="0">
                  <a:pos x="72" y="46"/>
                </a:cxn>
                <a:cxn ang="0">
                  <a:pos x="72" y="50"/>
                </a:cxn>
                <a:cxn ang="0">
                  <a:pos x="78" y="60"/>
                </a:cxn>
                <a:cxn ang="0">
                  <a:pos x="80" y="62"/>
                </a:cxn>
                <a:cxn ang="0">
                  <a:pos x="80" y="76"/>
                </a:cxn>
                <a:cxn ang="0">
                  <a:pos x="80" y="78"/>
                </a:cxn>
                <a:cxn ang="0">
                  <a:pos x="80" y="86"/>
                </a:cxn>
                <a:cxn ang="0">
                  <a:pos x="78" y="92"/>
                </a:cxn>
                <a:cxn ang="0">
                  <a:pos x="76" y="110"/>
                </a:cxn>
                <a:cxn ang="0">
                  <a:pos x="78" y="118"/>
                </a:cxn>
                <a:cxn ang="0">
                  <a:pos x="84" y="126"/>
                </a:cxn>
                <a:cxn ang="0">
                  <a:pos x="90" y="132"/>
                </a:cxn>
                <a:cxn ang="0">
                  <a:pos x="88" y="146"/>
                </a:cxn>
                <a:cxn ang="0">
                  <a:pos x="82" y="144"/>
                </a:cxn>
                <a:cxn ang="0">
                  <a:pos x="80" y="146"/>
                </a:cxn>
                <a:cxn ang="0">
                  <a:pos x="74" y="150"/>
                </a:cxn>
                <a:cxn ang="0">
                  <a:pos x="52" y="158"/>
                </a:cxn>
                <a:cxn ang="0">
                  <a:pos x="40" y="162"/>
                </a:cxn>
                <a:cxn ang="0">
                  <a:pos x="32" y="162"/>
                </a:cxn>
                <a:cxn ang="0">
                  <a:pos x="20" y="156"/>
                </a:cxn>
                <a:cxn ang="0">
                  <a:pos x="6" y="154"/>
                </a:cxn>
                <a:cxn ang="0">
                  <a:pos x="10" y="150"/>
                </a:cxn>
                <a:cxn ang="0">
                  <a:pos x="10" y="144"/>
                </a:cxn>
                <a:cxn ang="0">
                  <a:pos x="4" y="136"/>
                </a:cxn>
                <a:cxn ang="0">
                  <a:pos x="0" y="124"/>
                </a:cxn>
                <a:cxn ang="0">
                  <a:pos x="4" y="112"/>
                </a:cxn>
                <a:cxn ang="0">
                  <a:pos x="8" y="94"/>
                </a:cxn>
                <a:cxn ang="0">
                  <a:pos x="14" y="76"/>
                </a:cxn>
                <a:cxn ang="0">
                  <a:pos x="12" y="54"/>
                </a:cxn>
                <a:cxn ang="0">
                  <a:pos x="12" y="46"/>
                </a:cxn>
                <a:cxn ang="0">
                  <a:pos x="8" y="40"/>
                </a:cxn>
              </a:cxnLst>
              <a:rect l="0" t="0" r="r" b="b"/>
              <a:pathLst>
                <a:path w="92" h="162">
                  <a:moveTo>
                    <a:pt x="8" y="40"/>
                  </a:moveTo>
                  <a:lnTo>
                    <a:pt x="8" y="40"/>
                  </a:lnTo>
                  <a:lnTo>
                    <a:pt x="12" y="38"/>
                  </a:lnTo>
                  <a:lnTo>
                    <a:pt x="12" y="36"/>
                  </a:lnTo>
                  <a:lnTo>
                    <a:pt x="8" y="28"/>
                  </a:lnTo>
                  <a:lnTo>
                    <a:pt x="8" y="28"/>
                  </a:lnTo>
                  <a:lnTo>
                    <a:pt x="6" y="24"/>
                  </a:lnTo>
                  <a:lnTo>
                    <a:pt x="6" y="22"/>
                  </a:lnTo>
                  <a:lnTo>
                    <a:pt x="6" y="20"/>
                  </a:lnTo>
                  <a:lnTo>
                    <a:pt x="4" y="16"/>
                  </a:lnTo>
                  <a:lnTo>
                    <a:pt x="4" y="16"/>
                  </a:lnTo>
                  <a:lnTo>
                    <a:pt x="4" y="14"/>
                  </a:lnTo>
                  <a:lnTo>
                    <a:pt x="4" y="10"/>
                  </a:lnTo>
                  <a:lnTo>
                    <a:pt x="6" y="6"/>
                  </a:lnTo>
                  <a:lnTo>
                    <a:pt x="10" y="4"/>
                  </a:lnTo>
                  <a:lnTo>
                    <a:pt x="10" y="4"/>
                  </a:lnTo>
                  <a:lnTo>
                    <a:pt x="36" y="4"/>
                  </a:lnTo>
                  <a:lnTo>
                    <a:pt x="46" y="4"/>
                  </a:lnTo>
                  <a:lnTo>
                    <a:pt x="52" y="2"/>
                  </a:lnTo>
                  <a:lnTo>
                    <a:pt x="52" y="2"/>
                  </a:lnTo>
                  <a:lnTo>
                    <a:pt x="54" y="0"/>
                  </a:lnTo>
                  <a:lnTo>
                    <a:pt x="56" y="0"/>
                  </a:lnTo>
                  <a:lnTo>
                    <a:pt x="58" y="0"/>
                  </a:lnTo>
                  <a:lnTo>
                    <a:pt x="62" y="2"/>
                  </a:lnTo>
                  <a:lnTo>
                    <a:pt x="62" y="2"/>
                  </a:lnTo>
                  <a:lnTo>
                    <a:pt x="60" y="10"/>
                  </a:lnTo>
                  <a:lnTo>
                    <a:pt x="60" y="14"/>
                  </a:lnTo>
                  <a:lnTo>
                    <a:pt x="62" y="16"/>
                  </a:lnTo>
                  <a:lnTo>
                    <a:pt x="62" y="20"/>
                  </a:lnTo>
                  <a:lnTo>
                    <a:pt x="62" y="20"/>
                  </a:lnTo>
                  <a:lnTo>
                    <a:pt x="62" y="22"/>
                  </a:lnTo>
                  <a:lnTo>
                    <a:pt x="62" y="22"/>
                  </a:lnTo>
                  <a:lnTo>
                    <a:pt x="66" y="22"/>
                  </a:lnTo>
                  <a:lnTo>
                    <a:pt x="68" y="22"/>
                  </a:lnTo>
                  <a:lnTo>
                    <a:pt x="68" y="26"/>
                  </a:lnTo>
                  <a:lnTo>
                    <a:pt x="68" y="26"/>
                  </a:lnTo>
                  <a:lnTo>
                    <a:pt x="68" y="30"/>
                  </a:lnTo>
                  <a:lnTo>
                    <a:pt x="68" y="32"/>
                  </a:lnTo>
                  <a:lnTo>
                    <a:pt x="70" y="34"/>
                  </a:lnTo>
                  <a:lnTo>
                    <a:pt x="72" y="38"/>
                  </a:lnTo>
                  <a:lnTo>
                    <a:pt x="72" y="38"/>
                  </a:lnTo>
                  <a:lnTo>
                    <a:pt x="72" y="46"/>
                  </a:lnTo>
                  <a:lnTo>
                    <a:pt x="72" y="48"/>
                  </a:lnTo>
                  <a:lnTo>
                    <a:pt x="72" y="50"/>
                  </a:lnTo>
                  <a:lnTo>
                    <a:pt x="72" y="50"/>
                  </a:lnTo>
                  <a:lnTo>
                    <a:pt x="74" y="56"/>
                  </a:lnTo>
                  <a:lnTo>
                    <a:pt x="76" y="60"/>
                  </a:lnTo>
                  <a:lnTo>
                    <a:pt x="78" y="60"/>
                  </a:lnTo>
                  <a:lnTo>
                    <a:pt x="78" y="60"/>
                  </a:lnTo>
                  <a:lnTo>
                    <a:pt x="80" y="60"/>
                  </a:lnTo>
                  <a:lnTo>
                    <a:pt x="80" y="62"/>
                  </a:lnTo>
                  <a:lnTo>
                    <a:pt x="80" y="70"/>
                  </a:lnTo>
                  <a:lnTo>
                    <a:pt x="80" y="70"/>
                  </a:lnTo>
                  <a:lnTo>
                    <a:pt x="80" y="76"/>
                  </a:lnTo>
                  <a:lnTo>
                    <a:pt x="80" y="78"/>
                  </a:lnTo>
                  <a:lnTo>
                    <a:pt x="80" y="78"/>
                  </a:lnTo>
                  <a:lnTo>
                    <a:pt x="80" y="78"/>
                  </a:lnTo>
                  <a:lnTo>
                    <a:pt x="78" y="80"/>
                  </a:lnTo>
                  <a:lnTo>
                    <a:pt x="80" y="84"/>
                  </a:lnTo>
                  <a:lnTo>
                    <a:pt x="80" y="86"/>
                  </a:lnTo>
                  <a:lnTo>
                    <a:pt x="80" y="88"/>
                  </a:lnTo>
                  <a:lnTo>
                    <a:pt x="80" y="88"/>
                  </a:lnTo>
                  <a:lnTo>
                    <a:pt x="78" y="92"/>
                  </a:lnTo>
                  <a:lnTo>
                    <a:pt x="78" y="96"/>
                  </a:lnTo>
                  <a:lnTo>
                    <a:pt x="78" y="102"/>
                  </a:lnTo>
                  <a:lnTo>
                    <a:pt x="76" y="110"/>
                  </a:lnTo>
                  <a:lnTo>
                    <a:pt x="76" y="110"/>
                  </a:lnTo>
                  <a:lnTo>
                    <a:pt x="76" y="116"/>
                  </a:lnTo>
                  <a:lnTo>
                    <a:pt x="78" y="118"/>
                  </a:lnTo>
                  <a:lnTo>
                    <a:pt x="82" y="122"/>
                  </a:lnTo>
                  <a:lnTo>
                    <a:pt x="84" y="126"/>
                  </a:lnTo>
                  <a:lnTo>
                    <a:pt x="84" y="126"/>
                  </a:lnTo>
                  <a:lnTo>
                    <a:pt x="86" y="130"/>
                  </a:lnTo>
                  <a:lnTo>
                    <a:pt x="88" y="130"/>
                  </a:lnTo>
                  <a:lnTo>
                    <a:pt x="90" y="132"/>
                  </a:lnTo>
                  <a:lnTo>
                    <a:pt x="92" y="138"/>
                  </a:lnTo>
                  <a:lnTo>
                    <a:pt x="92" y="138"/>
                  </a:lnTo>
                  <a:lnTo>
                    <a:pt x="88" y="146"/>
                  </a:lnTo>
                  <a:lnTo>
                    <a:pt x="86" y="146"/>
                  </a:lnTo>
                  <a:lnTo>
                    <a:pt x="84" y="146"/>
                  </a:lnTo>
                  <a:lnTo>
                    <a:pt x="82" y="144"/>
                  </a:lnTo>
                  <a:lnTo>
                    <a:pt x="78" y="144"/>
                  </a:lnTo>
                  <a:lnTo>
                    <a:pt x="78" y="144"/>
                  </a:lnTo>
                  <a:lnTo>
                    <a:pt x="80" y="146"/>
                  </a:lnTo>
                  <a:lnTo>
                    <a:pt x="80" y="146"/>
                  </a:lnTo>
                  <a:lnTo>
                    <a:pt x="74" y="150"/>
                  </a:lnTo>
                  <a:lnTo>
                    <a:pt x="74" y="150"/>
                  </a:lnTo>
                  <a:lnTo>
                    <a:pt x="66" y="156"/>
                  </a:lnTo>
                  <a:lnTo>
                    <a:pt x="52" y="158"/>
                  </a:lnTo>
                  <a:lnTo>
                    <a:pt x="52" y="158"/>
                  </a:lnTo>
                  <a:lnTo>
                    <a:pt x="44" y="160"/>
                  </a:lnTo>
                  <a:lnTo>
                    <a:pt x="42" y="160"/>
                  </a:lnTo>
                  <a:lnTo>
                    <a:pt x="40" y="162"/>
                  </a:lnTo>
                  <a:lnTo>
                    <a:pt x="36" y="162"/>
                  </a:lnTo>
                  <a:lnTo>
                    <a:pt x="36" y="162"/>
                  </a:lnTo>
                  <a:lnTo>
                    <a:pt x="32" y="162"/>
                  </a:lnTo>
                  <a:lnTo>
                    <a:pt x="30" y="160"/>
                  </a:lnTo>
                  <a:lnTo>
                    <a:pt x="28" y="158"/>
                  </a:lnTo>
                  <a:lnTo>
                    <a:pt x="20" y="156"/>
                  </a:lnTo>
                  <a:lnTo>
                    <a:pt x="20" y="156"/>
                  </a:lnTo>
                  <a:lnTo>
                    <a:pt x="10" y="156"/>
                  </a:lnTo>
                  <a:lnTo>
                    <a:pt x="6" y="154"/>
                  </a:lnTo>
                  <a:lnTo>
                    <a:pt x="6" y="154"/>
                  </a:lnTo>
                  <a:lnTo>
                    <a:pt x="8" y="152"/>
                  </a:lnTo>
                  <a:lnTo>
                    <a:pt x="10" y="150"/>
                  </a:lnTo>
                  <a:lnTo>
                    <a:pt x="10" y="148"/>
                  </a:lnTo>
                  <a:lnTo>
                    <a:pt x="10" y="148"/>
                  </a:lnTo>
                  <a:lnTo>
                    <a:pt x="10" y="144"/>
                  </a:lnTo>
                  <a:lnTo>
                    <a:pt x="8" y="144"/>
                  </a:lnTo>
                  <a:lnTo>
                    <a:pt x="6" y="142"/>
                  </a:lnTo>
                  <a:lnTo>
                    <a:pt x="4" y="136"/>
                  </a:lnTo>
                  <a:lnTo>
                    <a:pt x="4" y="136"/>
                  </a:lnTo>
                  <a:lnTo>
                    <a:pt x="2" y="130"/>
                  </a:lnTo>
                  <a:lnTo>
                    <a:pt x="0" y="124"/>
                  </a:lnTo>
                  <a:lnTo>
                    <a:pt x="0" y="118"/>
                  </a:lnTo>
                  <a:lnTo>
                    <a:pt x="4" y="112"/>
                  </a:lnTo>
                  <a:lnTo>
                    <a:pt x="4" y="112"/>
                  </a:lnTo>
                  <a:lnTo>
                    <a:pt x="6" y="104"/>
                  </a:lnTo>
                  <a:lnTo>
                    <a:pt x="6" y="100"/>
                  </a:lnTo>
                  <a:lnTo>
                    <a:pt x="8" y="94"/>
                  </a:lnTo>
                  <a:lnTo>
                    <a:pt x="10" y="86"/>
                  </a:lnTo>
                  <a:lnTo>
                    <a:pt x="10" y="86"/>
                  </a:lnTo>
                  <a:lnTo>
                    <a:pt x="14" y="76"/>
                  </a:lnTo>
                  <a:lnTo>
                    <a:pt x="16" y="68"/>
                  </a:lnTo>
                  <a:lnTo>
                    <a:pt x="14" y="60"/>
                  </a:lnTo>
                  <a:lnTo>
                    <a:pt x="12" y="54"/>
                  </a:lnTo>
                  <a:lnTo>
                    <a:pt x="12" y="54"/>
                  </a:lnTo>
                  <a:lnTo>
                    <a:pt x="12" y="48"/>
                  </a:lnTo>
                  <a:lnTo>
                    <a:pt x="12" y="46"/>
                  </a:lnTo>
                  <a:lnTo>
                    <a:pt x="12" y="44"/>
                  </a:lnTo>
                  <a:lnTo>
                    <a:pt x="8" y="40"/>
                  </a:lnTo>
                  <a:lnTo>
                    <a:pt x="8" y="40"/>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195"/>
            <p:cNvSpPr>
              <a:spLocks/>
            </p:cNvSpPr>
            <p:nvPr/>
          </p:nvSpPr>
          <p:spPr bwMode="auto">
            <a:xfrm>
              <a:off x="8055205" y="3700198"/>
              <a:ext cx="267229" cy="267229"/>
            </a:xfrm>
            <a:custGeom>
              <a:avLst/>
              <a:gdLst/>
              <a:ahLst/>
              <a:cxnLst>
                <a:cxn ang="0">
                  <a:pos x="10" y="168"/>
                </a:cxn>
                <a:cxn ang="0">
                  <a:pos x="22" y="162"/>
                </a:cxn>
                <a:cxn ang="0">
                  <a:pos x="38" y="164"/>
                </a:cxn>
                <a:cxn ang="0">
                  <a:pos x="50" y="154"/>
                </a:cxn>
                <a:cxn ang="0">
                  <a:pos x="24" y="150"/>
                </a:cxn>
                <a:cxn ang="0">
                  <a:pos x="16" y="140"/>
                </a:cxn>
                <a:cxn ang="0">
                  <a:pos x="26" y="146"/>
                </a:cxn>
                <a:cxn ang="0">
                  <a:pos x="40" y="148"/>
                </a:cxn>
                <a:cxn ang="0">
                  <a:pos x="42" y="142"/>
                </a:cxn>
                <a:cxn ang="0">
                  <a:pos x="56" y="142"/>
                </a:cxn>
                <a:cxn ang="0">
                  <a:pos x="48" y="130"/>
                </a:cxn>
                <a:cxn ang="0">
                  <a:pos x="54" y="134"/>
                </a:cxn>
                <a:cxn ang="0">
                  <a:pos x="52" y="128"/>
                </a:cxn>
                <a:cxn ang="0">
                  <a:pos x="66" y="126"/>
                </a:cxn>
                <a:cxn ang="0">
                  <a:pos x="74" y="126"/>
                </a:cxn>
                <a:cxn ang="0">
                  <a:pos x="82" y="128"/>
                </a:cxn>
                <a:cxn ang="0">
                  <a:pos x="102" y="140"/>
                </a:cxn>
                <a:cxn ang="0">
                  <a:pos x="110" y="156"/>
                </a:cxn>
                <a:cxn ang="0">
                  <a:pos x="114" y="160"/>
                </a:cxn>
                <a:cxn ang="0">
                  <a:pos x="116" y="162"/>
                </a:cxn>
                <a:cxn ang="0">
                  <a:pos x="124" y="172"/>
                </a:cxn>
                <a:cxn ang="0">
                  <a:pos x="128" y="176"/>
                </a:cxn>
                <a:cxn ang="0">
                  <a:pos x="138" y="188"/>
                </a:cxn>
                <a:cxn ang="0">
                  <a:pos x="164" y="192"/>
                </a:cxn>
                <a:cxn ang="0">
                  <a:pos x="184" y="198"/>
                </a:cxn>
                <a:cxn ang="0">
                  <a:pos x="194" y="198"/>
                </a:cxn>
                <a:cxn ang="0">
                  <a:pos x="198" y="196"/>
                </a:cxn>
                <a:cxn ang="0">
                  <a:pos x="194" y="192"/>
                </a:cxn>
                <a:cxn ang="0">
                  <a:pos x="180" y="184"/>
                </a:cxn>
                <a:cxn ang="0">
                  <a:pos x="186" y="178"/>
                </a:cxn>
                <a:cxn ang="0">
                  <a:pos x="172" y="170"/>
                </a:cxn>
                <a:cxn ang="0">
                  <a:pos x="170" y="160"/>
                </a:cxn>
                <a:cxn ang="0">
                  <a:pos x="162" y="156"/>
                </a:cxn>
                <a:cxn ang="0">
                  <a:pos x="160" y="150"/>
                </a:cxn>
                <a:cxn ang="0">
                  <a:pos x="156" y="138"/>
                </a:cxn>
                <a:cxn ang="0">
                  <a:pos x="150" y="134"/>
                </a:cxn>
                <a:cxn ang="0">
                  <a:pos x="146" y="122"/>
                </a:cxn>
                <a:cxn ang="0">
                  <a:pos x="142" y="116"/>
                </a:cxn>
                <a:cxn ang="0">
                  <a:pos x="136" y="110"/>
                </a:cxn>
                <a:cxn ang="0">
                  <a:pos x="136" y="98"/>
                </a:cxn>
                <a:cxn ang="0">
                  <a:pos x="144" y="96"/>
                </a:cxn>
                <a:cxn ang="0">
                  <a:pos x="152" y="96"/>
                </a:cxn>
                <a:cxn ang="0">
                  <a:pos x="148" y="84"/>
                </a:cxn>
                <a:cxn ang="0">
                  <a:pos x="118" y="70"/>
                </a:cxn>
                <a:cxn ang="0">
                  <a:pos x="114" y="66"/>
                </a:cxn>
                <a:cxn ang="0">
                  <a:pos x="106" y="64"/>
                </a:cxn>
                <a:cxn ang="0">
                  <a:pos x="106" y="58"/>
                </a:cxn>
                <a:cxn ang="0">
                  <a:pos x="104" y="48"/>
                </a:cxn>
                <a:cxn ang="0">
                  <a:pos x="94" y="40"/>
                </a:cxn>
                <a:cxn ang="0">
                  <a:pos x="90" y="36"/>
                </a:cxn>
                <a:cxn ang="0">
                  <a:pos x="72" y="28"/>
                </a:cxn>
                <a:cxn ang="0">
                  <a:pos x="50" y="16"/>
                </a:cxn>
                <a:cxn ang="0">
                  <a:pos x="16" y="0"/>
                </a:cxn>
                <a:cxn ang="0">
                  <a:pos x="0" y="164"/>
                </a:cxn>
              </a:cxnLst>
              <a:rect l="0" t="0" r="r" b="b"/>
              <a:pathLst>
                <a:path w="202" h="202">
                  <a:moveTo>
                    <a:pt x="0" y="164"/>
                  </a:moveTo>
                  <a:lnTo>
                    <a:pt x="0" y="164"/>
                  </a:lnTo>
                  <a:lnTo>
                    <a:pt x="4" y="164"/>
                  </a:lnTo>
                  <a:lnTo>
                    <a:pt x="8" y="166"/>
                  </a:lnTo>
                  <a:lnTo>
                    <a:pt x="10" y="168"/>
                  </a:lnTo>
                  <a:lnTo>
                    <a:pt x="16" y="168"/>
                  </a:lnTo>
                  <a:lnTo>
                    <a:pt x="16" y="168"/>
                  </a:lnTo>
                  <a:lnTo>
                    <a:pt x="20" y="166"/>
                  </a:lnTo>
                  <a:lnTo>
                    <a:pt x="20" y="164"/>
                  </a:lnTo>
                  <a:lnTo>
                    <a:pt x="22" y="162"/>
                  </a:lnTo>
                  <a:lnTo>
                    <a:pt x="26" y="166"/>
                  </a:lnTo>
                  <a:lnTo>
                    <a:pt x="26" y="166"/>
                  </a:lnTo>
                  <a:lnTo>
                    <a:pt x="32" y="168"/>
                  </a:lnTo>
                  <a:lnTo>
                    <a:pt x="36" y="166"/>
                  </a:lnTo>
                  <a:lnTo>
                    <a:pt x="38" y="164"/>
                  </a:lnTo>
                  <a:lnTo>
                    <a:pt x="44" y="162"/>
                  </a:lnTo>
                  <a:lnTo>
                    <a:pt x="44" y="162"/>
                  </a:lnTo>
                  <a:lnTo>
                    <a:pt x="48" y="160"/>
                  </a:lnTo>
                  <a:lnTo>
                    <a:pt x="50" y="156"/>
                  </a:lnTo>
                  <a:lnTo>
                    <a:pt x="50" y="154"/>
                  </a:lnTo>
                  <a:lnTo>
                    <a:pt x="48" y="152"/>
                  </a:lnTo>
                  <a:lnTo>
                    <a:pt x="40" y="152"/>
                  </a:lnTo>
                  <a:lnTo>
                    <a:pt x="40" y="152"/>
                  </a:lnTo>
                  <a:lnTo>
                    <a:pt x="28" y="152"/>
                  </a:lnTo>
                  <a:lnTo>
                    <a:pt x="24" y="150"/>
                  </a:lnTo>
                  <a:lnTo>
                    <a:pt x="22" y="146"/>
                  </a:lnTo>
                  <a:lnTo>
                    <a:pt x="22" y="146"/>
                  </a:lnTo>
                  <a:lnTo>
                    <a:pt x="20" y="144"/>
                  </a:lnTo>
                  <a:lnTo>
                    <a:pt x="18" y="142"/>
                  </a:lnTo>
                  <a:lnTo>
                    <a:pt x="16" y="140"/>
                  </a:lnTo>
                  <a:lnTo>
                    <a:pt x="14" y="138"/>
                  </a:lnTo>
                  <a:lnTo>
                    <a:pt x="14" y="138"/>
                  </a:lnTo>
                  <a:lnTo>
                    <a:pt x="22" y="142"/>
                  </a:lnTo>
                  <a:lnTo>
                    <a:pt x="24" y="142"/>
                  </a:lnTo>
                  <a:lnTo>
                    <a:pt x="26" y="146"/>
                  </a:lnTo>
                  <a:lnTo>
                    <a:pt x="26" y="146"/>
                  </a:lnTo>
                  <a:lnTo>
                    <a:pt x="28" y="148"/>
                  </a:lnTo>
                  <a:lnTo>
                    <a:pt x="32" y="148"/>
                  </a:lnTo>
                  <a:lnTo>
                    <a:pt x="40" y="148"/>
                  </a:lnTo>
                  <a:lnTo>
                    <a:pt x="40" y="148"/>
                  </a:lnTo>
                  <a:lnTo>
                    <a:pt x="50" y="150"/>
                  </a:lnTo>
                  <a:lnTo>
                    <a:pt x="48" y="148"/>
                  </a:lnTo>
                  <a:lnTo>
                    <a:pt x="48" y="148"/>
                  </a:lnTo>
                  <a:lnTo>
                    <a:pt x="42" y="144"/>
                  </a:lnTo>
                  <a:lnTo>
                    <a:pt x="42" y="142"/>
                  </a:lnTo>
                  <a:lnTo>
                    <a:pt x="44" y="144"/>
                  </a:lnTo>
                  <a:lnTo>
                    <a:pt x="44" y="144"/>
                  </a:lnTo>
                  <a:lnTo>
                    <a:pt x="50" y="144"/>
                  </a:lnTo>
                  <a:lnTo>
                    <a:pt x="54" y="144"/>
                  </a:lnTo>
                  <a:lnTo>
                    <a:pt x="56" y="142"/>
                  </a:lnTo>
                  <a:lnTo>
                    <a:pt x="52" y="138"/>
                  </a:lnTo>
                  <a:lnTo>
                    <a:pt x="52" y="138"/>
                  </a:lnTo>
                  <a:lnTo>
                    <a:pt x="50" y="134"/>
                  </a:lnTo>
                  <a:lnTo>
                    <a:pt x="48" y="132"/>
                  </a:lnTo>
                  <a:lnTo>
                    <a:pt x="48" y="130"/>
                  </a:lnTo>
                  <a:lnTo>
                    <a:pt x="44" y="130"/>
                  </a:lnTo>
                  <a:lnTo>
                    <a:pt x="44" y="130"/>
                  </a:lnTo>
                  <a:lnTo>
                    <a:pt x="50" y="130"/>
                  </a:lnTo>
                  <a:lnTo>
                    <a:pt x="52" y="132"/>
                  </a:lnTo>
                  <a:lnTo>
                    <a:pt x="54" y="134"/>
                  </a:lnTo>
                  <a:lnTo>
                    <a:pt x="58" y="136"/>
                  </a:lnTo>
                  <a:lnTo>
                    <a:pt x="58" y="136"/>
                  </a:lnTo>
                  <a:lnTo>
                    <a:pt x="60" y="134"/>
                  </a:lnTo>
                  <a:lnTo>
                    <a:pt x="58" y="132"/>
                  </a:lnTo>
                  <a:lnTo>
                    <a:pt x="52" y="128"/>
                  </a:lnTo>
                  <a:lnTo>
                    <a:pt x="52" y="128"/>
                  </a:lnTo>
                  <a:lnTo>
                    <a:pt x="60" y="130"/>
                  </a:lnTo>
                  <a:lnTo>
                    <a:pt x="60" y="126"/>
                  </a:lnTo>
                  <a:lnTo>
                    <a:pt x="60" y="126"/>
                  </a:lnTo>
                  <a:lnTo>
                    <a:pt x="66" y="126"/>
                  </a:lnTo>
                  <a:lnTo>
                    <a:pt x="68" y="124"/>
                  </a:lnTo>
                  <a:lnTo>
                    <a:pt x="68" y="124"/>
                  </a:lnTo>
                  <a:lnTo>
                    <a:pt x="72" y="128"/>
                  </a:lnTo>
                  <a:lnTo>
                    <a:pt x="74" y="126"/>
                  </a:lnTo>
                  <a:lnTo>
                    <a:pt x="74" y="126"/>
                  </a:lnTo>
                  <a:lnTo>
                    <a:pt x="78" y="124"/>
                  </a:lnTo>
                  <a:lnTo>
                    <a:pt x="78" y="124"/>
                  </a:lnTo>
                  <a:lnTo>
                    <a:pt x="80" y="126"/>
                  </a:lnTo>
                  <a:lnTo>
                    <a:pt x="82" y="128"/>
                  </a:lnTo>
                  <a:lnTo>
                    <a:pt x="82" y="128"/>
                  </a:lnTo>
                  <a:lnTo>
                    <a:pt x="88" y="134"/>
                  </a:lnTo>
                  <a:lnTo>
                    <a:pt x="90" y="134"/>
                  </a:lnTo>
                  <a:lnTo>
                    <a:pt x="96" y="136"/>
                  </a:lnTo>
                  <a:lnTo>
                    <a:pt x="96" y="136"/>
                  </a:lnTo>
                  <a:lnTo>
                    <a:pt x="102" y="140"/>
                  </a:lnTo>
                  <a:lnTo>
                    <a:pt x="108" y="146"/>
                  </a:lnTo>
                  <a:lnTo>
                    <a:pt x="110" y="152"/>
                  </a:lnTo>
                  <a:lnTo>
                    <a:pt x="110" y="154"/>
                  </a:lnTo>
                  <a:lnTo>
                    <a:pt x="110" y="156"/>
                  </a:lnTo>
                  <a:lnTo>
                    <a:pt x="110" y="156"/>
                  </a:lnTo>
                  <a:lnTo>
                    <a:pt x="108" y="158"/>
                  </a:lnTo>
                  <a:lnTo>
                    <a:pt x="110" y="160"/>
                  </a:lnTo>
                  <a:lnTo>
                    <a:pt x="112" y="162"/>
                  </a:lnTo>
                  <a:lnTo>
                    <a:pt x="114" y="160"/>
                  </a:lnTo>
                  <a:lnTo>
                    <a:pt x="114" y="160"/>
                  </a:lnTo>
                  <a:lnTo>
                    <a:pt x="116" y="160"/>
                  </a:lnTo>
                  <a:lnTo>
                    <a:pt x="118" y="160"/>
                  </a:lnTo>
                  <a:lnTo>
                    <a:pt x="118" y="160"/>
                  </a:lnTo>
                  <a:lnTo>
                    <a:pt x="116" y="162"/>
                  </a:lnTo>
                  <a:lnTo>
                    <a:pt x="116" y="162"/>
                  </a:lnTo>
                  <a:lnTo>
                    <a:pt x="116" y="164"/>
                  </a:lnTo>
                  <a:lnTo>
                    <a:pt x="116" y="168"/>
                  </a:lnTo>
                  <a:lnTo>
                    <a:pt x="118" y="172"/>
                  </a:lnTo>
                  <a:lnTo>
                    <a:pt x="124" y="172"/>
                  </a:lnTo>
                  <a:lnTo>
                    <a:pt x="124" y="172"/>
                  </a:lnTo>
                  <a:lnTo>
                    <a:pt x="126" y="170"/>
                  </a:lnTo>
                  <a:lnTo>
                    <a:pt x="126" y="170"/>
                  </a:lnTo>
                  <a:lnTo>
                    <a:pt x="126" y="172"/>
                  </a:lnTo>
                  <a:lnTo>
                    <a:pt x="128" y="176"/>
                  </a:lnTo>
                  <a:lnTo>
                    <a:pt x="128" y="176"/>
                  </a:lnTo>
                  <a:lnTo>
                    <a:pt x="130" y="182"/>
                  </a:lnTo>
                  <a:lnTo>
                    <a:pt x="130" y="186"/>
                  </a:lnTo>
                  <a:lnTo>
                    <a:pt x="132" y="186"/>
                  </a:lnTo>
                  <a:lnTo>
                    <a:pt x="138" y="188"/>
                  </a:lnTo>
                  <a:lnTo>
                    <a:pt x="138" y="188"/>
                  </a:lnTo>
                  <a:lnTo>
                    <a:pt x="150" y="190"/>
                  </a:lnTo>
                  <a:lnTo>
                    <a:pt x="156" y="190"/>
                  </a:lnTo>
                  <a:lnTo>
                    <a:pt x="160" y="190"/>
                  </a:lnTo>
                  <a:lnTo>
                    <a:pt x="164" y="192"/>
                  </a:lnTo>
                  <a:lnTo>
                    <a:pt x="164" y="192"/>
                  </a:lnTo>
                  <a:lnTo>
                    <a:pt x="168" y="194"/>
                  </a:lnTo>
                  <a:lnTo>
                    <a:pt x="172" y="196"/>
                  </a:lnTo>
                  <a:lnTo>
                    <a:pt x="186" y="196"/>
                  </a:lnTo>
                  <a:lnTo>
                    <a:pt x="186" y="196"/>
                  </a:lnTo>
                  <a:lnTo>
                    <a:pt x="184" y="198"/>
                  </a:lnTo>
                  <a:lnTo>
                    <a:pt x="186" y="200"/>
                  </a:lnTo>
                  <a:lnTo>
                    <a:pt x="196" y="202"/>
                  </a:lnTo>
                  <a:lnTo>
                    <a:pt x="196" y="202"/>
                  </a:lnTo>
                  <a:lnTo>
                    <a:pt x="196" y="200"/>
                  </a:lnTo>
                  <a:lnTo>
                    <a:pt x="194" y="198"/>
                  </a:lnTo>
                  <a:lnTo>
                    <a:pt x="192" y="198"/>
                  </a:lnTo>
                  <a:lnTo>
                    <a:pt x="192" y="196"/>
                  </a:lnTo>
                  <a:lnTo>
                    <a:pt x="192" y="196"/>
                  </a:lnTo>
                  <a:lnTo>
                    <a:pt x="192" y="196"/>
                  </a:lnTo>
                  <a:lnTo>
                    <a:pt x="198" y="196"/>
                  </a:lnTo>
                  <a:lnTo>
                    <a:pt x="202" y="194"/>
                  </a:lnTo>
                  <a:lnTo>
                    <a:pt x="202" y="194"/>
                  </a:lnTo>
                  <a:lnTo>
                    <a:pt x="202" y="194"/>
                  </a:lnTo>
                  <a:lnTo>
                    <a:pt x="198" y="194"/>
                  </a:lnTo>
                  <a:lnTo>
                    <a:pt x="194" y="192"/>
                  </a:lnTo>
                  <a:lnTo>
                    <a:pt x="190" y="190"/>
                  </a:lnTo>
                  <a:lnTo>
                    <a:pt x="190" y="190"/>
                  </a:lnTo>
                  <a:lnTo>
                    <a:pt x="186" y="188"/>
                  </a:lnTo>
                  <a:lnTo>
                    <a:pt x="182" y="186"/>
                  </a:lnTo>
                  <a:lnTo>
                    <a:pt x="180" y="184"/>
                  </a:lnTo>
                  <a:lnTo>
                    <a:pt x="184" y="182"/>
                  </a:lnTo>
                  <a:lnTo>
                    <a:pt x="184" y="182"/>
                  </a:lnTo>
                  <a:lnTo>
                    <a:pt x="188" y="182"/>
                  </a:lnTo>
                  <a:lnTo>
                    <a:pt x="188" y="180"/>
                  </a:lnTo>
                  <a:lnTo>
                    <a:pt x="186" y="178"/>
                  </a:lnTo>
                  <a:lnTo>
                    <a:pt x="180" y="176"/>
                  </a:lnTo>
                  <a:lnTo>
                    <a:pt x="180" y="176"/>
                  </a:lnTo>
                  <a:lnTo>
                    <a:pt x="176" y="176"/>
                  </a:lnTo>
                  <a:lnTo>
                    <a:pt x="172" y="174"/>
                  </a:lnTo>
                  <a:lnTo>
                    <a:pt x="172" y="170"/>
                  </a:lnTo>
                  <a:lnTo>
                    <a:pt x="174" y="166"/>
                  </a:lnTo>
                  <a:lnTo>
                    <a:pt x="174" y="166"/>
                  </a:lnTo>
                  <a:lnTo>
                    <a:pt x="174" y="164"/>
                  </a:lnTo>
                  <a:lnTo>
                    <a:pt x="174" y="162"/>
                  </a:lnTo>
                  <a:lnTo>
                    <a:pt x="170" y="160"/>
                  </a:lnTo>
                  <a:lnTo>
                    <a:pt x="166" y="162"/>
                  </a:lnTo>
                  <a:lnTo>
                    <a:pt x="166" y="162"/>
                  </a:lnTo>
                  <a:lnTo>
                    <a:pt x="164" y="162"/>
                  </a:lnTo>
                  <a:lnTo>
                    <a:pt x="164" y="158"/>
                  </a:lnTo>
                  <a:lnTo>
                    <a:pt x="162" y="156"/>
                  </a:lnTo>
                  <a:lnTo>
                    <a:pt x="160" y="154"/>
                  </a:lnTo>
                  <a:lnTo>
                    <a:pt x="160" y="154"/>
                  </a:lnTo>
                  <a:lnTo>
                    <a:pt x="158" y="152"/>
                  </a:lnTo>
                  <a:lnTo>
                    <a:pt x="158" y="152"/>
                  </a:lnTo>
                  <a:lnTo>
                    <a:pt x="160" y="150"/>
                  </a:lnTo>
                  <a:lnTo>
                    <a:pt x="158" y="148"/>
                  </a:lnTo>
                  <a:lnTo>
                    <a:pt x="158" y="148"/>
                  </a:lnTo>
                  <a:lnTo>
                    <a:pt x="158" y="144"/>
                  </a:lnTo>
                  <a:lnTo>
                    <a:pt x="158" y="140"/>
                  </a:lnTo>
                  <a:lnTo>
                    <a:pt x="156" y="138"/>
                  </a:lnTo>
                  <a:lnTo>
                    <a:pt x="154" y="138"/>
                  </a:lnTo>
                  <a:lnTo>
                    <a:pt x="154" y="138"/>
                  </a:lnTo>
                  <a:lnTo>
                    <a:pt x="152" y="136"/>
                  </a:lnTo>
                  <a:lnTo>
                    <a:pt x="150" y="134"/>
                  </a:lnTo>
                  <a:lnTo>
                    <a:pt x="150" y="134"/>
                  </a:lnTo>
                  <a:lnTo>
                    <a:pt x="148" y="132"/>
                  </a:lnTo>
                  <a:lnTo>
                    <a:pt x="148" y="132"/>
                  </a:lnTo>
                  <a:lnTo>
                    <a:pt x="146" y="128"/>
                  </a:lnTo>
                  <a:lnTo>
                    <a:pt x="146" y="124"/>
                  </a:lnTo>
                  <a:lnTo>
                    <a:pt x="146" y="122"/>
                  </a:lnTo>
                  <a:lnTo>
                    <a:pt x="144" y="120"/>
                  </a:lnTo>
                  <a:lnTo>
                    <a:pt x="144" y="120"/>
                  </a:lnTo>
                  <a:lnTo>
                    <a:pt x="144" y="122"/>
                  </a:lnTo>
                  <a:lnTo>
                    <a:pt x="142" y="120"/>
                  </a:lnTo>
                  <a:lnTo>
                    <a:pt x="142" y="116"/>
                  </a:lnTo>
                  <a:lnTo>
                    <a:pt x="142" y="112"/>
                  </a:lnTo>
                  <a:lnTo>
                    <a:pt x="140" y="110"/>
                  </a:lnTo>
                  <a:lnTo>
                    <a:pt x="138" y="110"/>
                  </a:lnTo>
                  <a:lnTo>
                    <a:pt x="138" y="110"/>
                  </a:lnTo>
                  <a:lnTo>
                    <a:pt x="136" y="110"/>
                  </a:lnTo>
                  <a:lnTo>
                    <a:pt x="136" y="106"/>
                  </a:lnTo>
                  <a:lnTo>
                    <a:pt x="136" y="102"/>
                  </a:lnTo>
                  <a:lnTo>
                    <a:pt x="136" y="98"/>
                  </a:lnTo>
                  <a:lnTo>
                    <a:pt x="136" y="98"/>
                  </a:lnTo>
                  <a:lnTo>
                    <a:pt x="136" y="98"/>
                  </a:lnTo>
                  <a:lnTo>
                    <a:pt x="136" y="98"/>
                  </a:lnTo>
                  <a:lnTo>
                    <a:pt x="140" y="98"/>
                  </a:lnTo>
                  <a:lnTo>
                    <a:pt x="144" y="98"/>
                  </a:lnTo>
                  <a:lnTo>
                    <a:pt x="144" y="98"/>
                  </a:lnTo>
                  <a:lnTo>
                    <a:pt x="144" y="96"/>
                  </a:lnTo>
                  <a:lnTo>
                    <a:pt x="144" y="96"/>
                  </a:lnTo>
                  <a:lnTo>
                    <a:pt x="144" y="96"/>
                  </a:lnTo>
                  <a:lnTo>
                    <a:pt x="146" y="96"/>
                  </a:lnTo>
                  <a:lnTo>
                    <a:pt x="148" y="98"/>
                  </a:lnTo>
                  <a:lnTo>
                    <a:pt x="152" y="96"/>
                  </a:lnTo>
                  <a:lnTo>
                    <a:pt x="152" y="94"/>
                  </a:lnTo>
                  <a:lnTo>
                    <a:pt x="152" y="90"/>
                  </a:lnTo>
                  <a:lnTo>
                    <a:pt x="152" y="90"/>
                  </a:lnTo>
                  <a:lnTo>
                    <a:pt x="150" y="86"/>
                  </a:lnTo>
                  <a:lnTo>
                    <a:pt x="148" y="84"/>
                  </a:lnTo>
                  <a:lnTo>
                    <a:pt x="138" y="80"/>
                  </a:lnTo>
                  <a:lnTo>
                    <a:pt x="130" y="76"/>
                  </a:lnTo>
                  <a:lnTo>
                    <a:pt x="122" y="72"/>
                  </a:lnTo>
                  <a:lnTo>
                    <a:pt x="122" y="72"/>
                  </a:lnTo>
                  <a:lnTo>
                    <a:pt x="118" y="70"/>
                  </a:lnTo>
                  <a:lnTo>
                    <a:pt x="116" y="70"/>
                  </a:lnTo>
                  <a:lnTo>
                    <a:pt x="114" y="70"/>
                  </a:lnTo>
                  <a:lnTo>
                    <a:pt x="114" y="68"/>
                  </a:lnTo>
                  <a:lnTo>
                    <a:pt x="114" y="68"/>
                  </a:lnTo>
                  <a:lnTo>
                    <a:pt x="114" y="66"/>
                  </a:lnTo>
                  <a:lnTo>
                    <a:pt x="112" y="66"/>
                  </a:lnTo>
                  <a:lnTo>
                    <a:pt x="110" y="66"/>
                  </a:lnTo>
                  <a:lnTo>
                    <a:pt x="108" y="66"/>
                  </a:lnTo>
                  <a:lnTo>
                    <a:pt x="108" y="66"/>
                  </a:lnTo>
                  <a:lnTo>
                    <a:pt x="106" y="64"/>
                  </a:lnTo>
                  <a:lnTo>
                    <a:pt x="104" y="64"/>
                  </a:lnTo>
                  <a:lnTo>
                    <a:pt x="102" y="64"/>
                  </a:lnTo>
                  <a:lnTo>
                    <a:pt x="104" y="60"/>
                  </a:lnTo>
                  <a:lnTo>
                    <a:pt x="104" y="60"/>
                  </a:lnTo>
                  <a:lnTo>
                    <a:pt x="106" y="58"/>
                  </a:lnTo>
                  <a:lnTo>
                    <a:pt x="106" y="56"/>
                  </a:lnTo>
                  <a:lnTo>
                    <a:pt x="106" y="54"/>
                  </a:lnTo>
                  <a:lnTo>
                    <a:pt x="104" y="50"/>
                  </a:lnTo>
                  <a:lnTo>
                    <a:pt x="104" y="50"/>
                  </a:lnTo>
                  <a:lnTo>
                    <a:pt x="104" y="48"/>
                  </a:lnTo>
                  <a:lnTo>
                    <a:pt x="102" y="48"/>
                  </a:lnTo>
                  <a:lnTo>
                    <a:pt x="100" y="46"/>
                  </a:lnTo>
                  <a:lnTo>
                    <a:pt x="96" y="44"/>
                  </a:lnTo>
                  <a:lnTo>
                    <a:pt x="96" y="44"/>
                  </a:lnTo>
                  <a:lnTo>
                    <a:pt x="94" y="40"/>
                  </a:lnTo>
                  <a:lnTo>
                    <a:pt x="92" y="40"/>
                  </a:lnTo>
                  <a:lnTo>
                    <a:pt x="92" y="40"/>
                  </a:lnTo>
                  <a:lnTo>
                    <a:pt x="90" y="38"/>
                  </a:lnTo>
                  <a:lnTo>
                    <a:pt x="90" y="38"/>
                  </a:lnTo>
                  <a:lnTo>
                    <a:pt x="90" y="36"/>
                  </a:lnTo>
                  <a:lnTo>
                    <a:pt x="88" y="34"/>
                  </a:lnTo>
                  <a:lnTo>
                    <a:pt x="84" y="34"/>
                  </a:lnTo>
                  <a:lnTo>
                    <a:pt x="78" y="32"/>
                  </a:lnTo>
                  <a:lnTo>
                    <a:pt x="76" y="32"/>
                  </a:lnTo>
                  <a:lnTo>
                    <a:pt x="72" y="28"/>
                  </a:lnTo>
                  <a:lnTo>
                    <a:pt x="72" y="28"/>
                  </a:lnTo>
                  <a:lnTo>
                    <a:pt x="68" y="22"/>
                  </a:lnTo>
                  <a:lnTo>
                    <a:pt x="64" y="20"/>
                  </a:lnTo>
                  <a:lnTo>
                    <a:pt x="56" y="16"/>
                  </a:lnTo>
                  <a:lnTo>
                    <a:pt x="50" y="16"/>
                  </a:lnTo>
                  <a:lnTo>
                    <a:pt x="46" y="14"/>
                  </a:lnTo>
                  <a:lnTo>
                    <a:pt x="46" y="14"/>
                  </a:lnTo>
                  <a:lnTo>
                    <a:pt x="40" y="10"/>
                  </a:lnTo>
                  <a:lnTo>
                    <a:pt x="32" y="6"/>
                  </a:lnTo>
                  <a:lnTo>
                    <a:pt x="16" y="0"/>
                  </a:lnTo>
                  <a:lnTo>
                    <a:pt x="16" y="0"/>
                  </a:lnTo>
                  <a:lnTo>
                    <a:pt x="12" y="52"/>
                  </a:lnTo>
                  <a:lnTo>
                    <a:pt x="8" y="98"/>
                  </a:lnTo>
                  <a:lnTo>
                    <a:pt x="0" y="164"/>
                  </a:lnTo>
                  <a:lnTo>
                    <a:pt x="0" y="164"/>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Benin"/>
            <p:cNvSpPr>
              <a:spLocks/>
            </p:cNvSpPr>
            <p:nvPr/>
          </p:nvSpPr>
          <p:spPr bwMode="auto">
            <a:xfrm>
              <a:off x="4160538" y="3202781"/>
              <a:ext cx="89958" cy="211667"/>
            </a:xfrm>
            <a:custGeom>
              <a:avLst/>
              <a:gdLst/>
              <a:ahLst/>
              <a:cxnLst>
                <a:cxn ang="0">
                  <a:pos x="50" y="158"/>
                </a:cxn>
                <a:cxn ang="0">
                  <a:pos x="50" y="132"/>
                </a:cxn>
                <a:cxn ang="0">
                  <a:pos x="48" y="120"/>
                </a:cxn>
                <a:cxn ang="0">
                  <a:pos x="50" y="118"/>
                </a:cxn>
                <a:cxn ang="0">
                  <a:pos x="48" y="88"/>
                </a:cxn>
                <a:cxn ang="0">
                  <a:pos x="52" y="86"/>
                </a:cxn>
                <a:cxn ang="0">
                  <a:pos x="50" y="80"/>
                </a:cxn>
                <a:cxn ang="0">
                  <a:pos x="52" y="78"/>
                </a:cxn>
                <a:cxn ang="0">
                  <a:pos x="54" y="72"/>
                </a:cxn>
                <a:cxn ang="0">
                  <a:pos x="58" y="68"/>
                </a:cxn>
                <a:cxn ang="0">
                  <a:pos x="62" y="64"/>
                </a:cxn>
                <a:cxn ang="0">
                  <a:pos x="64" y="56"/>
                </a:cxn>
                <a:cxn ang="0">
                  <a:pos x="62" y="54"/>
                </a:cxn>
                <a:cxn ang="0">
                  <a:pos x="62" y="52"/>
                </a:cxn>
                <a:cxn ang="0">
                  <a:pos x="64" y="50"/>
                </a:cxn>
                <a:cxn ang="0">
                  <a:pos x="68" y="44"/>
                </a:cxn>
                <a:cxn ang="0">
                  <a:pos x="66" y="34"/>
                </a:cxn>
                <a:cxn ang="0">
                  <a:pos x="64" y="30"/>
                </a:cxn>
                <a:cxn ang="0">
                  <a:pos x="64" y="22"/>
                </a:cxn>
                <a:cxn ang="0">
                  <a:pos x="62" y="20"/>
                </a:cxn>
                <a:cxn ang="0">
                  <a:pos x="62" y="10"/>
                </a:cxn>
                <a:cxn ang="0">
                  <a:pos x="52" y="2"/>
                </a:cxn>
                <a:cxn ang="0">
                  <a:pos x="42" y="2"/>
                </a:cxn>
                <a:cxn ang="0">
                  <a:pos x="34" y="6"/>
                </a:cxn>
                <a:cxn ang="0">
                  <a:pos x="24" y="10"/>
                </a:cxn>
                <a:cxn ang="0">
                  <a:pos x="16" y="16"/>
                </a:cxn>
                <a:cxn ang="0">
                  <a:pos x="14" y="20"/>
                </a:cxn>
                <a:cxn ang="0">
                  <a:pos x="10" y="24"/>
                </a:cxn>
                <a:cxn ang="0">
                  <a:pos x="8" y="24"/>
                </a:cxn>
                <a:cxn ang="0">
                  <a:pos x="6" y="30"/>
                </a:cxn>
                <a:cxn ang="0">
                  <a:pos x="2" y="30"/>
                </a:cxn>
                <a:cxn ang="0">
                  <a:pos x="0" y="42"/>
                </a:cxn>
                <a:cxn ang="0">
                  <a:pos x="4" y="54"/>
                </a:cxn>
                <a:cxn ang="0">
                  <a:pos x="12" y="58"/>
                </a:cxn>
                <a:cxn ang="0">
                  <a:pos x="16" y="64"/>
                </a:cxn>
                <a:cxn ang="0">
                  <a:pos x="16" y="78"/>
                </a:cxn>
                <a:cxn ang="0">
                  <a:pos x="20" y="84"/>
                </a:cxn>
                <a:cxn ang="0">
                  <a:pos x="24" y="86"/>
                </a:cxn>
                <a:cxn ang="0">
                  <a:pos x="24" y="92"/>
                </a:cxn>
                <a:cxn ang="0">
                  <a:pos x="26" y="134"/>
                </a:cxn>
                <a:cxn ang="0">
                  <a:pos x="24" y="138"/>
                </a:cxn>
                <a:cxn ang="0">
                  <a:pos x="22" y="142"/>
                </a:cxn>
                <a:cxn ang="0">
                  <a:pos x="24" y="148"/>
                </a:cxn>
                <a:cxn ang="0">
                  <a:pos x="30" y="154"/>
                </a:cxn>
                <a:cxn ang="0">
                  <a:pos x="32" y="160"/>
                </a:cxn>
                <a:cxn ang="0">
                  <a:pos x="40" y="160"/>
                </a:cxn>
                <a:cxn ang="0">
                  <a:pos x="40" y="158"/>
                </a:cxn>
                <a:cxn ang="0">
                  <a:pos x="40" y="156"/>
                </a:cxn>
                <a:cxn ang="0">
                  <a:pos x="44" y="158"/>
                </a:cxn>
                <a:cxn ang="0">
                  <a:pos x="44" y="158"/>
                </a:cxn>
                <a:cxn ang="0">
                  <a:pos x="50" y="158"/>
                </a:cxn>
              </a:cxnLst>
              <a:rect l="0" t="0" r="r" b="b"/>
              <a:pathLst>
                <a:path w="68" h="160">
                  <a:moveTo>
                    <a:pt x="50" y="158"/>
                  </a:moveTo>
                  <a:lnTo>
                    <a:pt x="50" y="158"/>
                  </a:lnTo>
                  <a:lnTo>
                    <a:pt x="50" y="144"/>
                  </a:lnTo>
                  <a:lnTo>
                    <a:pt x="50" y="132"/>
                  </a:lnTo>
                  <a:lnTo>
                    <a:pt x="50" y="124"/>
                  </a:lnTo>
                  <a:lnTo>
                    <a:pt x="48" y="120"/>
                  </a:lnTo>
                  <a:lnTo>
                    <a:pt x="48" y="120"/>
                  </a:lnTo>
                  <a:lnTo>
                    <a:pt x="50" y="118"/>
                  </a:lnTo>
                  <a:lnTo>
                    <a:pt x="50" y="110"/>
                  </a:lnTo>
                  <a:lnTo>
                    <a:pt x="48" y="88"/>
                  </a:lnTo>
                  <a:lnTo>
                    <a:pt x="48" y="88"/>
                  </a:lnTo>
                  <a:lnTo>
                    <a:pt x="52" y="86"/>
                  </a:lnTo>
                  <a:lnTo>
                    <a:pt x="52" y="82"/>
                  </a:lnTo>
                  <a:lnTo>
                    <a:pt x="50" y="80"/>
                  </a:lnTo>
                  <a:lnTo>
                    <a:pt x="52" y="78"/>
                  </a:lnTo>
                  <a:lnTo>
                    <a:pt x="52" y="78"/>
                  </a:lnTo>
                  <a:lnTo>
                    <a:pt x="54" y="74"/>
                  </a:lnTo>
                  <a:lnTo>
                    <a:pt x="54" y="72"/>
                  </a:lnTo>
                  <a:lnTo>
                    <a:pt x="56" y="70"/>
                  </a:lnTo>
                  <a:lnTo>
                    <a:pt x="58" y="68"/>
                  </a:lnTo>
                  <a:lnTo>
                    <a:pt x="58" y="68"/>
                  </a:lnTo>
                  <a:lnTo>
                    <a:pt x="62" y="64"/>
                  </a:lnTo>
                  <a:lnTo>
                    <a:pt x="64" y="60"/>
                  </a:lnTo>
                  <a:lnTo>
                    <a:pt x="64" y="56"/>
                  </a:lnTo>
                  <a:lnTo>
                    <a:pt x="62" y="54"/>
                  </a:lnTo>
                  <a:lnTo>
                    <a:pt x="62" y="54"/>
                  </a:lnTo>
                  <a:lnTo>
                    <a:pt x="62" y="52"/>
                  </a:lnTo>
                  <a:lnTo>
                    <a:pt x="62" y="52"/>
                  </a:lnTo>
                  <a:lnTo>
                    <a:pt x="64" y="50"/>
                  </a:lnTo>
                  <a:lnTo>
                    <a:pt x="64" y="50"/>
                  </a:lnTo>
                  <a:lnTo>
                    <a:pt x="66" y="48"/>
                  </a:lnTo>
                  <a:lnTo>
                    <a:pt x="68" y="44"/>
                  </a:lnTo>
                  <a:lnTo>
                    <a:pt x="68" y="40"/>
                  </a:lnTo>
                  <a:lnTo>
                    <a:pt x="66" y="34"/>
                  </a:lnTo>
                  <a:lnTo>
                    <a:pt x="66" y="34"/>
                  </a:lnTo>
                  <a:lnTo>
                    <a:pt x="64" y="30"/>
                  </a:lnTo>
                  <a:lnTo>
                    <a:pt x="64" y="26"/>
                  </a:lnTo>
                  <a:lnTo>
                    <a:pt x="64" y="22"/>
                  </a:lnTo>
                  <a:lnTo>
                    <a:pt x="62" y="20"/>
                  </a:lnTo>
                  <a:lnTo>
                    <a:pt x="62" y="20"/>
                  </a:lnTo>
                  <a:lnTo>
                    <a:pt x="60" y="18"/>
                  </a:lnTo>
                  <a:lnTo>
                    <a:pt x="62" y="10"/>
                  </a:lnTo>
                  <a:lnTo>
                    <a:pt x="62" y="10"/>
                  </a:lnTo>
                  <a:lnTo>
                    <a:pt x="52" y="2"/>
                  </a:lnTo>
                  <a:lnTo>
                    <a:pt x="46" y="0"/>
                  </a:lnTo>
                  <a:lnTo>
                    <a:pt x="42" y="2"/>
                  </a:lnTo>
                  <a:lnTo>
                    <a:pt x="34" y="6"/>
                  </a:lnTo>
                  <a:lnTo>
                    <a:pt x="34" y="6"/>
                  </a:lnTo>
                  <a:lnTo>
                    <a:pt x="28" y="10"/>
                  </a:lnTo>
                  <a:lnTo>
                    <a:pt x="24" y="10"/>
                  </a:lnTo>
                  <a:lnTo>
                    <a:pt x="18" y="12"/>
                  </a:lnTo>
                  <a:lnTo>
                    <a:pt x="16" y="16"/>
                  </a:lnTo>
                  <a:lnTo>
                    <a:pt x="16" y="16"/>
                  </a:lnTo>
                  <a:lnTo>
                    <a:pt x="14" y="20"/>
                  </a:lnTo>
                  <a:lnTo>
                    <a:pt x="10" y="22"/>
                  </a:lnTo>
                  <a:lnTo>
                    <a:pt x="10" y="24"/>
                  </a:lnTo>
                  <a:lnTo>
                    <a:pt x="8" y="24"/>
                  </a:lnTo>
                  <a:lnTo>
                    <a:pt x="8" y="24"/>
                  </a:lnTo>
                  <a:lnTo>
                    <a:pt x="8" y="32"/>
                  </a:lnTo>
                  <a:lnTo>
                    <a:pt x="6" y="30"/>
                  </a:lnTo>
                  <a:lnTo>
                    <a:pt x="6" y="30"/>
                  </a:lnTo>
                  <a:lnTo>
                    <a:pt x="2" y="30"/>
                  </a:lnTo>
                  <a:lnTo>
                    <a:pt x="2" y="30"/>
                  </a:lnTo>
                  <a:lnTo>
                    <a:pt x="0" y="42"/>
                  </a:lnTo>
                  <a:lnTo>
                    <a:pt x="2" y="50"/>
                  </a:lnTo>
                  <a:lnTo>
                    <a:pt x="4" y="54"/>
                  </a:lnTo>
                  <a:lnTo>
                    <a:pt x="12" y="58"/>
                  </a:lnTo>
                  <a:lnTo>
                    <a:pt x="12" y="58"/>
                  </a:lnTo>
                  <a:lnTo>
                    <a:pt x="14" y="60"/>
                  </a:lnTo>
                  <a:lnTo>
                    <a:pt x="16" y="64"/>
                  </a:lnTo>
                  <a:lnTo>
                    <a:pt x="16" y="70"/>
                  </a:lnTo>
                  <a:lnTo>
                    <a:pt x="16" y="78"/>
                  </a:lnTo>
                  <a:lnTo>
                    <a:pt x="18" y="80"/>
                  </a:lnTo>
                  <a:lnTo>
                    <a:pt x="20" y="84"/>
                  </a:lnTo>
                  <a:lnTo>
                    <a:pt x="20" y="84"/>
                  </a:lnTo>
                  <a:lnTo>
                    <a:pt x="24" y="86"/>
                  </a:lnTo>
                  <a:lnTo>
                    <a:pt x="24" y="92"/>
                  </a:lnTo>
                  <a:lnTo>
                    <a:pt x="24" y="92"/>
                  </a:lnTo>
                  <a:lnTo>
                    <a:pt x="26" y="134"/>
                  </a:lnTo>
                  <a:lnTo>
                    <a:pt x="26" y="134"/>
                  </a:lnTo>
                  <a:lnTo>
                    <a:pt x="26" y="136"/>
                  </a:lnTo>
                  <a:lnTo>
                    <a:pt x="24" y="138"/>
                  </a:lnTo>
                  <a:lnTo>
                    <a:pt x="24" y="138"/>
                  </a:lnTo>
                  <a:lnTo>
                    <a:pt x="22" y="142"/>
                  </a:lnTo>
                  <a:lnTo>
                    <a:pt x="22" y="142"/>
                  </a:lnTo>
                  <a:lnTo>
                    <a:pt x="24" y="148"/>
                  </a:lnTo>
                  <a:lnTo>
                    <a:pt x="26" y="152"/>
                  </a:lnTo>
                  <a:lnTo>
                    <a:pt x="30" y="154"/>
                  </a:lnTo>
                  <a:lnTo>
                    <a:pt x="32" y="160"/>
                  </a:lnTo>
                  <a:lnTo>
                    <a:pt x="32" y="160"/>
                  </a:lnTo>
                  <a:lnTo>
                    <a:pt x="38" y="160"/>
                  </a:lnTo>
                  <a:lnTo>
                    <a:pt x="40" y="160"/>
                  </a:lnTo>
                  <a:lnTo>
                    <a:pt x="40" y="158"/>
                  </a:lnTo>
                  <a:lnTo>
                    <a:pt x="40" y="158"/>
                  </a:lnTo>
                  <a:lnTo>
                    <a:pt x="38" y="158"/>
                  </a:lnTo>
                  <a:lnTo>
                    <a:pt x="40" y="156"/>
                  </a:lnTo>
                  <a:lnTo>
                    <a:pt x="44" y="158"/>
                  </a:lnTo>
                  <a:lnTo>
                    <a:pt x="44" y="158"/>
                  </a:lnTo>
                  <a:lnTo>
                    <a:pt x="44" y="158"/>
                  </a:lnTo>
                  <a:lnTo>
                    <a:pt x="44" y="158"/>
                  </a:lnTo>
                  <a:lnTo>
                    <a:pt x="50" y="158"/>
                  </a:lnTo>
                  <a:lnTo>
                    <a:pt x="50" y="158"/>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00"/>
            <p:cNvSpPr>
              <a:spLocks/>
            </p:cNvSpPr>
            <p:nvPr/>
          </p:nvSpPr>
          <p:spPr bwMode="auto">
            <a:xfrm>
              <a:off x="5274434" y="2316427"/>
              <a:ext cx="568854" cy="447146"/>
            </a:xfrm>
            <a:custGeom>
              <a:avLst/>
              <a:gdLst/>
              <a:ahLst/>
              <a:cxnLst>
                <a:cxn ang="0">
                  <a:pos x="378" y="334"/>
                </a:cxn>
                <a:cxn ang="0">
                  <a:pos x="364" y="332"/>
                </a:cxn>
                <a:cxn ang="0">
                  <a:pos x="328" y="330"/>
                </a:cxn>
                <a:cxn ang="0">
                  <a:pos x="312" y="314"/>
                </a:cxn>
                <a:cxn ang="0">
                  <a:pos x="292" y="294"/>
                </a:cxn>
                <a:cxn ang="0">
                  <a:pos x="266" y="302"/>
                </a:cxn>
                <a:cxn ang="0">
                  <a:pos x="238" y="304"/>
                </a:cxn>
                <a:cxn ang="0">
                  <a:pos x="216" y="290"/>
                </a:cxn>
                <a:cxn ang="0">
                  <a:pos x="206" y="278"/>
                </a:cxn>
                <a:cxn ang="0">
                  <a:pos x="196" y="272"/>
                </a:cxn>
                <a:cxn ang="0">
                  <a:pos x="186" y="256"/>
                </a:cxn>
                <a:cxn ang="0">
                  <a:pos x="170" y="242"/>
                </a:cxn>
                <a:cxn ang="0">
                  <a:pos x="150" y="224"/>
                </a:cxn>
                <a:cxn ang="0">
                  <a:pos x="134" y="214"/>
                </a:cxn>
                <a:cxn ang="0">
                  <a:pos x="130" y="224"/>
                </a:cxn>
                <a:cxn ang="0">
                  <a:pos x="116" y="210"/>
                </a:cxn>
                <a:cxn ang="0">
                  <a:pos x="108" y="188"/>
                </a:cxn>
                <a:cxn ang="0">
                  <a:pos x="84" y="160"/>
                </a:cxn>
                <a:cxn ang="0">
                  <a:pos x="60" y="146"/>
                </a:cxn>
                <a:cxn ang="0">
                  <a:pos x="50" y="130"/>
                </a:cxn>
                <a:cxn ang="0">
                  <a:pos x="50" y="120"/>
                </a:cxn>
                <a:cxn ang="0">
                  <a:pos x="56" y="96"/>
                </a:cxn>
                <a:cxn ang="0">
                  <a:pos x="60" y="84"/>
                </a:cxn>
                <a:cxn ang="0">
                  <a:pos x="40" y="74"/>
                </a:cxn>
                <a:cxn ang="0">
                  <a:pos x="36" y="70"/>
                </a:cxn>
                <a:cxn ang="0">
                  <a:pos x="26" y="56"/>
                </a:cxn>
                <a:cxn ang="0">
                  <a:pos x="20" y="46"/>
                </a:cxn>
                <a:cxn ang="0">
                  <a:pos x="8" y="28"/>
                </a:cxn>
                <a:cxn ang="0">
                  <a:pos x="0" y="8"/>
                </a:cxn>
                <a:cxn ang="0">
                  <a:pos x="10" y="0"/>
                </a:cxn>
                <a:cxn ang="0">
                  <a:pos x="24" y="12"/>
                </a:cxn>
                <a:cxn ang="0">
                  <a:pos x="56" y="12"/>
                </a:cxn>
                <a:cxn ang="0">
                  <a:pos x="76" y="10"/>
                </a:cxn>
                <a:cxn ang="0">
                  <a:pos x="76" y="24"/>
                </a:cxn>
                <a:cxn ang="0">
                  <a:pos x="98" y="36"/>
                </a:cxn>
                <a:cxn ang="0">
                  <a:pos x="118" y="52"/>
                </a:cxn>
                <a:cxn ang="0">
                  <a:pos x="158" y="70"/>
                </a:cxn>
                <a:cxn ang="0">
                  <a:pos x="186" y="66"/>
                </a:cxn>
                <a:cxn ang="0">
                  <a:pos x="200" y="62"/>
                </a:cxn>
                <a:cxn ang="0">
                  <a:pos x="206" y="62"/>
                </a:cxn>
                <a:cxn ang="0">
                  <a:pos x="212" y="48"/>
                </a:cxn>
                <a:cxn ang="0">
                  <a:pos x="222" y="30"/>
                </a:cxn>
                <a:cxn ang="0">
                  <a:pos x="246" y="26"/>
                </a:cxn>
                <a:cxn ang="0">
                  <a:pos x="266" y="36"/>
                </a:cxn>
                <a:cxn ang="0">
                  <a:pos x="316" y="56"/>
                </a:cxn>
                <a:cxn ang="0">
                  <a:pos x="340" y="66"/>
                </a:cxn>
                <a:cxn ang="0">
                  <a:pos x="350" y="84"/>
                </a:cxn>
                <a:cxn ang="0">
                  <a:pos x="350" y="100"/>
                </a:cxn>
                <a:cxn ang="0">
                  <a:pos x="344" y="122"/>
                </a:cxn>
                <a:cxn ang="0">
                  <a:pos x="350" y="144"/>
                </a:cxn>
                <a:cxn ang="0">
                  <a:pos x="356" y="176"/>
                </a:cxn>
                <a:cxn ang="0">
                  <a:pos x="380" y="182"/>
                </a:cxn>
                <a:cxn ang="0">
                  <a:pos x="388" y="236"/>
                </a:cxn>
                <a:cxn ang="0">
                  <a:pos x="412" y="254"/>
                </a:cxn>
                <a:cxn ang="0">
                  <a:pos x="428" y="280"/>
                </a:cxn>
                <a:cxn ang="0">
                  <a:pos x="430" y="292"/>
                </a:cxn>
                <a:cxn ang="0">
                  <a:pos x="420" y="296"/>
                </a:cxn>
                <a:cxn ang="0">
                  <a:pos x="414" y="306"/>
                </a:cxn>
                <a:cxn ang="0">
                  <a:pos x="408" y="326"/>
                </a:cxn>
              </a:cxnLst>
              <a:rect l="0" t="0" r="r" b="b"/>
              <a:pathLst>
                <a:path w="430" h="338">
                  <a:moveTo>
                    <a:pt x="402" y="338"/>
                  </a:moveTo>
                  <a:lnTo>
                    <a:pt x="402" y="338"/>
                  </a:lnTo>
                  <a:lnTo>
                    <a:pt x="392" y="338"/>
                  </a:lnTo>
                  <a:lnTo>
                    <a:pt x="386" y="336"/>
                  </a:lnTo>
                  <a:lnTo>
                    <a:pt x="380" y="334"/>
                  </a:lnTo>
                  <a:lnTo>
                    <a:pt x="378" y="334"/>
                  </a:lnTo>
                  <a:lnTo>
                    <a:pt x="376" y="334"/>
                  </a:lnTo>
                  <a:lnTo>
                    <a:pt x="376" y="334"/>
                  </a:lnTo>
                  <a:lnTo>
                    <a:pt x="376" y="336"/>
                  </a:lnTo>
                  <a:lnTo>
                    <a:pt x="374" y="336"/>
                  </a:lnTo>
                  <a:lnTo>
                    <a:pt x="370" y="334"/>
                  </a:lnTo>
                  <a:lnTo>
                    <a:pt x="364" y="332"/>
                  </a:lnTo>
                  <a:lnTo>
                    <a:pt x="352" y="332"/>
                  </a:lnTo>
                  <a:lnTo>
                    <a:pt x="352" y="332"/>
                  </a:lnTo>
                  <a:lnTo>
                    <a:pt x="344" y="334"/>
                  </a:lnTo>
                  <a:lnTo>
                    <a:pt x="338" y="332"/>
                  </a:lnTo>
                  <a:lnTo>
                    <a:pt x="332" y="330"/>
                  </a:lnTo>
                  <a:lnTo>
                    <a:pt x="328" y="330"/>
                  </a:lnTo>
                  <a:lnTo>
                    <a:pt x="328" y="330"/>
                  </a:lnTo>
                  <a:lnTo>
                    <a:pt x="322" y="328"/>
                  </a:lnTo>
                  <a:lnTo>
                    <a:pt x="320" y="324"/>
                  </a:lnTo>
                  <a:lnTo>
                    <a:pt x="316" y="320"/>
                  </a:lnTo>
                  <a:lnTo>
                    <a:pt x="312" y="314"/>
                  </a:lnTo>
                  <a:lnTo>
                    <a:pt x="312" y="314"/>
                  </a:lnTo>
                  <a:lnTo>
                    <a:pt x="310" y="308"/>
                  </a:lnTo>
                  <a:lnTo>
                    <a:pt x="308" y="302"/>
                  </a:lnTo>
                  <a:lnTo>
                    <a:pt x="306" y="298"/>
                  </a:lnTo>
                  <a:lnTo>
                    <a:pt x="298" y="294"/>
                  </a:lnTo>
                  <a:lnTo>
                    <a:pt x="298" y="294"/>
                  </a:lnTo>
                  <a:lnTo>
                    <a:pt x="292" y="294"/>
                  </a:lnTo>
                  <a:lnTo>
                    <a:pt x="288" y="294"/>
                  </a:lnTo>
                  <a:lnTo>
                    <a:pt x="282" y="296"/>
                  </a:lnTo>
                  <a:lnTo>
                    <a:pt x="276" y="300"/>
                  </a:lnTo>
                  <a:lnTo>
                    <a:pt x="272" y="302"/>
                  </a:lnTo>
                  <a:lnTo>
                    <a:pt x="272" y="302"/>
                  </a:lnTo>
                  <a:lnTo>
                    <a:pt x="266" y="302"/>
                  </a:lnTo>
                  <a:lnTo>
                    <a:pt x="260" y="304"/>
                  </a:lnTo>
                  <a:lnTo>
                    <a:pt x="254" y="306"/>
                  </a:lnTo>
                  <a:lnTo>
                    <a:pt x="248" y="304"/>
                  </a:lnTo>
                  <a:lnTo>
                    <a:pt x="248" y="304"/>
                  </a:lnTo>
                  <a:lnTo>
                    <a:pt x="242" y="302"/>
                  </a:lnTo>
                  <a:lnTo>
                    <a:pt x="238" y="304"/>
                  </a:lnTo>
                  <a:lnTo>
                    <a:pt x="232" y="302"/>
                  </a:lnTo>
                  <a:lnTo>
                    <a:pt x="228" y="298"/>
                  </a:lnTo>
                  <a:lnTo>
                    <a:pt x="228" y="298"/>
                  </a:lnTo>
                  <a:lnTo>
                    <a:pt x="222" y="292"/>
                  </a:lnTo>
                  <a:lnTo>
                    <a:pt x="220" y="290"/>
                  </a:lnTo>
                  <a:lnTo>
                    <a:pt x="216" y="290"/>
                  </a:lnTo>
                  <a:lnTo>
                    <a:pt x="214" y="284"/>
                  </a:lnTo>
                  <a:lnTo>
                    <a:pt x="214" y="284"/>
                  </a:lnTo>
                  <a:lnTo>
                    <a:pt x="212" y="282"/>
                  </a:lnTo>
                  <a:lnTo>
                    <a:pt x="210" y="282"/>
                  </a:lnTo>
                  <a:lnTo>
                    <a:pt x="208" y="282"/>
                  </a:lnTo>
                  <a:lnTo>
                    <a:pt x="206" y="278"/>
                  </a:lnTo>
                  <a:lnTo>
                    <a:pt x="206" y="278"/>
                  </a:lnTo>
                  <a:lnTo>
                    <a:pt x="204" y="276"/>
                  </a:lnTo>
                  <a:lnTo>
                    <a:pt x="202" y="276"/>
                  </a:lnTo>
                  <a:lnTo>
                    <a:pt x="200" y="274"/>
                  </a:lnTo>
                  <a:lnTo>
                    <a:pt x="196" y="272"/>
                  </a:lnTo>
                  <a:lnTo>
                    <a:pt x="196" y="272"/>
                  </a:lnTo>
                  <a:lnTo>
                    <a:pt x="192" y="270"/>
                  </a:lnTo>
                  <a:lnTo>
                    <a:pt x="190" y="270"/>
                  </a:lnTo>
                  <a:lnTo>
                    <a:pt x="188" y="268"/>
                  </a:lnTo>
                  <a:lnTo>
                    <a:pt x="188" y="264"/>
                  </a:lnTo>
                  <a:lnTo>
                    <a:pt x="188" y="264"/>
                  </a:lnTo>
                  <a:lnTo>
                    <a:pt x="186" y="256"/>
                  </a:lnTo>
                  <a:lnTo>
                    <a:pt x="180" y="252"/>
                  </a:lnTo>
                  <a:lnTo>
                    <a:pt x="178" y="248"/>
                  </a:lnTo>
                  <a:lnTo>
                    <a:pt x="176" y="244"/>
                  </a:lnTo>
                  <a:lnTo>
                    <a:pt x="176" y="244"/>
                  </a:lnTo>
                  <a:lnTo>
                    <a:pt x="174" y="242"/>
                  </a:lnTo>
                  <a:lnTo>
                    <a:pt x="170" y="242"/>
                  </a:lnTo>
                  <a:lnTo>
                    <a:pt x="166" y="240"/>
                  </a:lnTo>
                  <a:lnTo>
                    <a:pt x="160" y="232"/>
                  </a:lnTo>
                  <a:lnTo>
                    <a:pt x="160" y="232"/>
                  </a:lnTo>
                  <a:lnTo>
                    <a:pt x="154" y="224"/>
                  </a:lnTo>
                  <a:lnTo>
                    <a:pt x="152" y="222"/>
                  </a:lnTo>
                  <a:lnTo>
                    <a:pt x="150" y="224"/>
                  </a:lnTo>
                  <a:lnTo>
                    <a:pt x="146" y="224"/>
                  </a:lnTo>
                  <a:lnTo>
                    <a:pt x="144" y="224"/>
                  </a:lnTo>
                  <a:lnTo>
                    <a:pt x="142" y="224"/>
                  </a:lnTo>
                  <a:lnTo>
                    <a:pt x="142" y="224"/>
                  </a:lnTo>
                  <a:lnTo>
                    <a:pt x="136" y="218"/>
                  </a:lnTo>
                  <a:lnTo>
                    <a:pt x="134" y="214"/>
                  </a:lnTo>
                  <a:lnTo>
                    <a:pt x="134" y="214"/>
                  </a:lnTo>
                  <a:lnTo>
                    <a:pt x="134" y="218"/>
                  </a:lnTo>
                  <a:lnTo>
                    <a:pt x="134" y="220"/>
                  </a:lnTo>
                  <a:lnTo>
                    <a:pt x="132" y="220"/>
                  </a:lnTo>
                  <a:lnTo>
                    <a:pt x="130" y="224"/>
                  </a:lnTo>
                  <a:lnTo>
                    <a:pt x="130" y="224"/>
                  </a:lnTo>
                  <a:lnTo>
                    <a:pt x="126" y="218"/>
                  </a:lnTo>
                  <a:lnTo>
                    <a:pt x="124" y="214"/>
                  </a:lnTo>
                  <a:lnTo>
                    <a:pt x="124" y="212"/>
                  </a:lnTo>
                  <a:lnTo>
                    <a:pt x="120" y="210"/>
                  </a:lnTo>
                  <a:lnTo>
                    <a:pt x="120" y="210"/>
                  </a:lnTo>
                  <a:lnTo>
                    <a:pt x="116" y="210"/>
                  </a:lnTo>
                  <a:lnTo>
                    <a:pt x="114" y="206"/>
                  </a:lnTo>
                  <a:lnTo>
                    <a:pt x="112" y="202"/>
                  </a:lnTo>
                  <a:lnTo>
                    <a:pt x="110" y="198"/>
                  </a:lnTo>
                  <a:lnTo>
                    <a:pt x="110" y="198"/>
                  </a:lnTo>
                  <a:lnTo>
                    <a:pt x="110" y="194"/>
                  </a:lnTo>
                  <a:lnTo>
                    <a:pt x="108" y="188"/>
                  </a:lnTo>
                  <a:lnTo>
                    <a:pt x="100" y="172"/>
                  </a:lnTo>
                  <a:lnTo>
                    <a:pt x="100" y="172"/>
                  </a:lnTo>
                  <a:lnTo>
                    <a:pt x="94" y="168"/>
                  </a:lnTo>
                  <a:lnTo>
                    <a:pt x="92" y="166"/>
                  </a:lnTo>
                  <a:lnTo>
                    <a:pt x="90" y="164"/>
                  </a:lnTo>
                  <a:lnTo>
                    <a:pt x="84" y="160"/>
                  </a:lnTo>
                  <a:lnTo>
                    <a:pt x="84" y="160"/>
                  </a:lnTo>
                  <a:lnTo>
                    <a:pt x="76" y="154"/>
                  </a:lnTo>
                  <a:lnTo>
                    <a:pt x="68" y="152"/>
                  </a:lnTo>
                  <a:lnTo>
                    <a:pt x="62" y="150"/>
                  </a:lnTo>
                  <a:lnTo>
                    <a:pt x="60" y="148"/>
                  </a:lnTo>
                  <a:lnTo>
                    <a:pt x="60" y="146"/>
                  </a:lnTo>
                  <a:lnTo>
                    <a:pt x="60" y="146"/>
                  </a:lnTo>
                  <a:lnTo>
                    <a:pt x="60" y="142"/>
                  </a:lnTo>
                  <a:lnTo>
                    <a:pt x="60" y="138"/>
                  </a:lnTo>
                  <a:lnTo>
                    <a:pt x="54" y="134"/>
                  </a:lnTo>
                  <a:lnTo>
                    <a:pt x="50" y="132"/>
                  </a:lnTo>
                  <a:lnTo>
                    <a:pt x="50" y="130"/>
                  </a:lnTo>
                  <a:lnTo>
                    <a:pt x="52" y="128"/>
                  </a:lnTo>
                  <a:lnTo>
                    <a:pt x="52" y="128"/>
                  </a:lnTo>
                  <a:lnTo>
                    <a:pt x="54" y="126"/>
                  </a:lnTo>
                  <a:lnTo>
                    <a:pt x="52" y="126"/>
                  </a:lnTo>
                  <a:lnTo>
                    <a:pt x="50" y="124"/>
                  </a:lnTo>
                  <a:lnTo>
                    <a:pt x="50" y="120"/>
                  </a:lnTo>
                  <a:lnTo>
                    <a:pt x="50" y="120"/>
                  </a:lnTo>
                  <a:lnTo>
                    <a:pt x="56" y="108"/>
                  </a:lnTo>
                  <a:lnTo>
                    <a:pt x="58" y="102"/>
                  </a:lnTo>
                  <a:lnTo>
                    <a:pt x="56" y="100"/>
                  </a:lnTo>
                  <a:lnTo>
                    <a:pt x="56" y="100"/>
                  </a:lnTo>
                  <a:lnTo>
                    <a:pt x="56" y="96"/>
                  </a:lnTo>
                  <a:lnTo>
                    <a:pt x="58" y="94"/>
                  </a:lnTo>
                  <a:lnTo>
                    <a:pt x="58" y="92"/>
                  </a:lnTo>
                  <a:lnTo>
                    <a:pt x="60" y="88"/>
                  </a:lnTo>
                  <a:lnTo>
                    <a:pt x="60" y="88"/>
                  </a:lnTo>
                  <a:lnTo>
                    <a:pt x="60" y="84"/>
                  </a:lnTo>
                  <a:lnTo>
                    <a:pt x="60" y="84"/>
                  </a:lnTo>
                  <a:lnTo>
                    <a:pt x="52" y="86"/>
                  </a:lnTo>
                  <a:lnTo>
                    <a:pt x="52" y="86"/>
                  </a:lnTo>
                  <a:lnTo>
                    <a:pt x="46" y="84"/>
                  </a:lnTo>
                  <a:lnTo>
                    <a:pt x="44" y="80"/>
                  </a:lnTo>
                  <a:lnTo>
                    <a:pt x="42" y="78"/>
                  </a:lnTo>
                  <a:lnTo>
                    <a:pt x="40" y="74"/>
                  </a:lnTo>
                  <a:lnTo>
                    <a:pt x="40" y="74"/>
                  </a:lnTo>
                  <a:lnTo>
                    <a:pt x="38" y="74"/>
                  </a:lnTo>
                  <a:lnTo>
                    <a:pt x="40" y="72"/>
                  </a:lnTo>
                  <a:lnTo>
                    <a:pt x="40" y="72"/>
                  </a:lnTo>
                  <a:lnTo>
                    <a:pt x="36" y="70"/>
                  </a:lnTo>
                  <a:lnTo>
                    <a:pt x="36" y="70"/>
                  </a:lnTo>
                  <a:lnTo>
                    <a:pt x="34" y="66"/>
                  </a:lnTo>
                  <a:lnTo>
                    <a:pt x="32" y="62"/>
                  </a:lnTo>
                  <a:lnTo>
                    <a:pt x="28" y="60"/>
                  </a:lnTo>
                  <a:lnTo>
                    <a:pt x="28" y="60"/>
                  </a:lnTo>
                  <a:lnTo>
                    <a:pt x="28" y="58"/>
                  </a:lnTo>
                  <a:lnTo>
                    <a:pt x="26" y="56"/>
                  </a:lnTo>
                  <a:lnTo>
                    <a:pt x="26" y="56"/>
                  </a:lnTo>
                  <a:lnTo>
                    <a:pt x="24" y="54"/>
                  </a:lnTo>
                  <a:lnTo>
                    <a:pt x="22" y="50"/>
                  </a:lnTo>
                  <a:lnTo>
                    <a:pt x="22" y="46"/>
                  </a:lnTo>
                  <a:lnTo>
                    <a:pt x="20" y="46"/>
                  </a:lnTo>
                  <a:lnTo>
                    <a:pt x="20" y="46"/>
                  </a:lnTo>
                  <a:lnTo>
                    <a:pt x="16" y="46"/>
                  </a:lnTo>
                  <a:lnTo>
                    <a:pt x="12" y="42"/>
                  </a:lnTo>
                  <a:lnTo>
                    <a:pt x="8" y="36"/>
                  </a:lnTo>
                  <a:lnTo>
                    <a:pt x="8" y="32"/>
                  </a:lnTo>
                  <a:lnTo>
                    <a:pt x="8" y="32"/>
                  </a:lnTo>
                  <a:lnTo>
                    <a:pt x="8" y="28"/>
                  </a:lnTo>
                  <a:lnTo>
                    <a:pt x="6" y="26"/>
                  </a:lnTo>
                  <a:lnTo>
                    <a:pt x="4" y="24"/>
                  </a:lnTo>
                  <a:lnTo>
                    <a:pt x="2" y="20"/>
                  </a:lnTo>
                  <a:lnTo>
                    <a:pt x="2" y="20"/>
                  </a:lnTo>
                  <a:lnTo>
                    <a:pt x="0" y="10"/>
                  </a:lnTo>
                  <a:lnTo>
                    <a:pt x="0" y="8"/>
                  </a:lnTo>
                  <a:lnTo>
                    <a:pt x="4" y="8"/>
                  </a:lnTo>
                  <a:lnTo>
                    <a:pt x="4" y="8"/>
                  </a:lnTo>
                  <a:lnTo>
                    <a:pt x="8" y="8"/>
                  </a:lnTo>
                  <a:lnTo>
                    <a:pt x="8" y="6"/>
                  </a:lnTo>
                  <a:lnTo>
                    <a:pt x="8" y="4"/>
                  </a:lnTo>
                  <a:lnTo>
                    <a:pt x="10" y="0"/>
                  </a:lnTo>
                  <a:lnTo>
                    <a:pt x="10" y="0"/>
                  </a:lnTo>
                  <a:lnTo>
                    <a:pt x="16" y="4"/>
                  </a:lnTo>
                  <a:lnTo>
                    <a:pt x="20" y="6"/>
                  </a:lnTo>
                  <a:lnTo>
                    <a:pt x="22" y="8"/>
                  </a:lnTo>
                  <a:lnTo>
                    <a:pt x="22" y="8"/>
                  </a:lnTo>
                  <a:lnTo>
                    <a:pt x="24" y="12"/>
                  </a:lnTo>
                  <a:lnTo>
                    <a:pt x="26" y="16"/>
                  </a:lnTo>
                  <a:lnTo>
                    <a:pt x="34" y="18"/>
                  </a:lnTo>
                  <a:lnTo>
                    <a:pt x="42" y="18"/>
                  </a:lnTo>
                  <a:lnTo>
                    <a:pt x="46" y="18"/>
                  </a:lnTo>
                  <a:lnTo>
                    <a:pt x="46" y="18"/>
                  </a:lnTo>
                  <a:lnTo>
                    <a:pt x="56" y="12"/>
                  </a:lnTo>
                  <a:lnTo>
                    <a:pt x="56" y="12"/>
                  </a:lnTo>
                  <a:lnTo>
                    <a:pt x="66" y="4"/>
                  </a:lnTo>
                  <a:lnTo>
                    <a:pt x="68" y="4"/>
                  </a:lnTo>
                  <a:lnTo>
                    <a:pt x="70" y="6"/>
                  </a:lnTo>
                  <a:lnTo>
                    <a:pt x="70" y="6"/>
                  </a:lnTo>
                  <a:lnTo>
                    <a:pt x="76" y="10"/>
                  </a:lnTo>
                  <a:lnTo>
                    <a:pt x="76" y="12"/>
                  </a:lnTo>
                  <a:lnTo>
                    <a:pt x="74" y="14"/>
                  </a:lnTo>
                  <a:lnTo>
                    <a:pt x="74" y="14"/>
                  </a:lnTo>
                  <a:lnTo>
                    <a:pt x="78" y="16"/>
                  </a:lnTo>
                  <a:lnTo>
                    <a:pt x="78" y="20"/>
                  </a:lnTo>
                  <a:lnTo>
                    <a:pt x="76" y="24"/>
                  </a:lnTo>
                  <a:lnTo>
                    <a:pt x="72" y="26"/>
                  </a:lnTo>
                  <a:lnTo>
                    <a:pt x="72" y="26"/>
                  </a:lnTo>
                  <a:lnTo>
                    <a:pt x="82" y="32"/>
                  </a:lnTo>
                  <a:lnTo>
                    <a:pt x="88" y="36"/>
                  </a:lnTo>
                  <a:lnTo>
                    <a:pt x="92" y="38"/>
                  </a:lnTo>
                  <a:lnTo>
                    <a:pt x="98" y="36"/>
                  </a:lnTo>
                  <a:lnTo>
                    <a:pt x="98" y="36"/>
                  </a:lnTo>
                  <a:lnTo>
                    <a:pt x="100" y="44"/>
                  </a:lnTo>
                  <a:lnTo>
                    <a:pt x="104" y="50"/>
                  </a:lnTo>
                  <a:lnTo>
                    <a:pt x="108" y="52"/>
                  </a:lnTo>
                  <a:lnTo>
                    <a:pt x="118" y="52"/>
                  </a:lnTo>
                  <a:lnTo>
                    <a:pt x="118" y="52"/>
                  </a:lnTo>
                  <a:lnTo>
                    <a:pt x="124" y="52"/>
                  </a:lnTo>
                  <a:lnTo>
                    <a:pt x="128" y="54"/>
                  </a:lnTo>
                  <a:lnTo>
                    <a:pt x="134" y="60"/>
                  </a:lnTo>
                  <a:lnTo>
                    <a:pt x="142" y="66"/>
                  </a:lnTo>
                  <a:lnTo>
                    <a:pt x="142" y="66"/>
                  </a:lnTo>
                  <a:lnTo>
                    <a:pt x="158" y="70"/>
                  </a:lnTo>
                  <a:lnTo>
                    <a:pt x="166" y="68"/>
                  </a:lnTo>
                  <a:lnTo>
                    <a:pt x="170" y="66"/>
                  </a:lnTo>
                  <a:lnTo>
                    <a:pt x="176" y="66"/>
                  </a:lnTo>
                  <a:lnTo>
                    <a:pt x="176" y="66"/>
                  </a:lnTo>
                  <a:lnTo>
                    <a:pt x="182" y="66"/>
                  </a:lnTo>
                  <a:lnTo>
                    <a:pt x="186" y="66"/>
                  </a:lnTo>
                  <a:lnTo>
                    <a:pt x="190" y="62"/>
                  </a:lnTo>
                  <a:lnTo>
                    <a:pt x="194" y="62"/>
                  </a:lnTo>
                  <a:lnTo>
                    <a:pt x="194" y="62"/>
                  </a:lnTo>
                  <a:lnTo>
                    <a:pt x="200" y="62"/>
                  </a:lnTo>
                  <a:lnTo>
                    <a:pt x="202" y="62"/>
                  </a:lnTo>
                  <a:lnTo>
                    <a:pt x="200" y="62"/>
                  </a:lnTo>
                  <a:lnTo>
                    <a:pt x="200" y="62"/>
                  </a:lnTo>
                  <a:lnTo>
                    <a:pt x="194" y="66"/>
                  </a:lnTo>
                  <a:lnTo>
                    <a:pt x="194" y="66"/>
                  </a:lnTo>
                  <a:lnTo>
                    <a:pt x="200" y="66"/>
                  </a:lnTo>
                  <a:lnTo>
                    <a:pt x="200" y="66"/>
                  </a:lnTo>
                  <a:lnTo>
                    <a:pt x="206" y="62"/>
                  </a:lnTo>
                  <a:lnTo>
                    <a:pt x="206" y="58"/>
                  </a:lnTo>
                  <a:lnTo>
                    <a:pt x="202" y="46"/>
                  </a:lnTo>
                  <a:lnTo>
                    <a:pt x="202" y="46"/>
                  </a:lnTo>
                  <a:lnTo>
                    <a:pt x="202" y="50"/>
                  </a:lnTo>
                  <a:lnTo>
                    <a:pt x="206" y="50"/>
                  </a:lnTo>
                  <a:lnTo>
                    <a:pt x="212" y="48"/>
                  </a:lnTo>
                  <a:lnTo>
                    <a:pt x="212" y="48"/>
                  </a:lnTo>
                  <a:lnTo>
                    <a:pt x="214" y="44"/>
                  </a:lnTo>
                  <a:lnTo>
                    <a:pt x="216" y="40"/>
                  </a:lnTo>
                  <a:lnTo>
                    <a:pt x="216" y="34"/>
                  </a:lnTo>
                  <a:lnTo>
                    <a:pt x="222" y="30"/>
                  </a:lnTo>
                  <a:lnTo>
                    <a:pt x="222" y="30"/>
                  </a:lnTo>
                  <a:lnTo>
                    <a:pt x="228" y="28"/>
                  </a:lnTo>
                  <a:lnTo>
                    <a:pt x="234" y="28"/>
                  </a:lnTo>
                  <a:lnTo>
                    <a:pt x="238" y="28"/>
                  </a:lnTo>
                  <a:lnTo>
                    <a:pt x="242" y="28"/>
                  </a:lnTo>
                  <a:lnTo>
                    <a:pt x="242" y="28"/>
                  </a:lnTo>
                  <a:lnTo>
                    <a:pt x="246" y="26"/>
                  </a:lnTo>
                  <a:lnTo>
                    <a:pt x="252" y="26"/>
                  </a:lnTo>
                  <a:lnTo>
                    <a:pt x="256" y="28"/>
                  </a:lnTo>
                  <a:lnTo>
                    <a:pt x="260" y="32"/>
                  </a:lnTo>
                  <a:lnTo>
                    <a:pt x="260" y="32"/>
                  </a:lnTo>
                  <a:lnTo>
                    <a:pt x="262" y="34"/>
                  </a:lnTo>
                  <a:lnTo>
                    <a:pt x="266" y="36"/>
                  </a:lnTo>
                  <a:lnTo>
                    <a:pt x="280" y="40"/>
                  </a:lnTo>
                  <a:lnTo>
                    <a:pt x="296" y="44"/>
                  </a:lnTo>
                  <a:lnTo>
                    <a:pt x="302" y="46"/>
                  </a:lnTo>
                  <a:lnTo>
                    <a:pt x="308" y="50"/>
                  </a:lnTo>
                  <a:lnTo>
                    <a:pt x="308" y="50"/>
                  </a:lnTo>
                  <a:lnTo>
                    <a:pt x="316" y="56"/>
                  </a:lnTo>
                  <a:lnTo>
                    <a:pt x="320" y="56"/>
                  </a:lnTo>
                  <a:lnTo>
                    <a:pt x="326" y="56"/>
                  </a:lnTo>
                  <a:lnTo>
                    <a:pt x="332" y="58"/>
                  </a:lnTo>
                  <a:lnTo>
                    <a:pt x="332" y="58"/>
                  </a:lnTo>
                  <a:lnTo>
                    <a:pt x="338" y="62"/>
                  </a:lnTo>
                  <a:lnTo>
                    <a:pt x="340" y="66"/>
                  </a:lnTo>
                  <a:lnTo>
                    <a:pt x="340" y="68"/>
                  </a:lnTo>
                  <a:lnTo>
                    <a:pt x="342" y="72"/>
                  </a:lnTo>
                  <a:lnTo>
                    <a:pt x="342" y="72"/>
                  </a:lnTo>
                  <a:lnTo>
                    <a:pt x="346" y="76"/>
                  </a:lnTo>
                  <a:lnTo>
                    <a:pt x="350" y="84"/>
                  </a:lnTo>
                  <a:lnTo>
                    <a:pt x="350" y="84"/>
                  </a:lnTo>
                  <a:lnTo>
                    <a:pt x="350" y="88"/>
                  </a:lnTo>
                  <a:lnTo>
                    <a:pt x="350" y="88"/>
                  </a:lnTo>
                  <a:lnTo>
                    <a:pt x="352" y="92"/>
                  </a:lnTo>
                  <a:lnTo>
                    <a:pt x="350" y="96"/>
                  </a:lnTo>
                  <a:lnTo>
                    <a:pt x="350" y="96"/>
                  </a:lnTo>
                  <a:lnTo>
                    <a:pt x="350" y="100"/>
                  </a:lnTo>
                  <a:lnTo>
                    <a:pt x="352" y="104"/>
                  </a:lnTo>
                  <a:lnTo>
                    <a:pt x="354" y="106"/>
                  </a:lnTo>
                  <a:lnTo>
                    <a:pt x="352" y="112"/>
                  </a:lnTo>
                  <a:lnTo>
                    <a:pt x="352" y="112"/>
                  </a:lnTo>
                  <a:lnTo>
                    <a:pt x="348" y="118"/>
                  </a:lnTo>
                  <a:lnTo>
                    <a:pt x="344" y="122"/>
                  </a:lnTo>
                  <a:lnTo>
                    <a:pt x="344" y="124"/>
                  </a:lnTo>
                  <a:lnTo>
                    <a:pt x="346" y="128"/>
                  </a:lnTo>
                  <a:lnTo>
                    <a:pt x="346" y="128"/>
                  </a:lnTo>
                  <a:lnTo>
                    <a:pt x="350" y="134"/>
                  </a:lnTo>
                  <a:lnTo>
                    <a:pt x="350" y="140"/>
                  </a:lnTo>
                  <a:lnTo>
                    <a:pt x="350" y="144"/>
                  </a:lnTo>
                  <a:lnTo>
                    <a:pt x="354" y="152"/>
                  </a:lnTo>
                  <a:lnTo>
                    <a:pt x="354" y="152"/>
                  </a:lnTo>
                  <a:lnTo>
                    <a:pt x="356" y="156"/>
                  </a:lnTo>
                  <a:lnTo>
                    <a:pt x="356" y="162"/>
                  </a:lnTo>
                  <a:lnTo>
                    <a:pt x="356" y="172"/>
                  </a:lnTo>
                  <a:lnTo>
                    <a:pt x="356" y="176"/>
                  </a:lnTo>
                  <a:lnTo>
                    <a:pt x="358" y="178"/>
                  </a:lnTo>
                  <a:lnTo>
                    <a:pt x="360" y="180"/>
                  </a:lnTo>
                  <a:lnTo>
                    <a:pt x="368" y="180"/>
                  </a:lnTo>
                  <a:lnTo>
                    <a:pt x="368" y="180"/>
                  </a:lnTo>
                  <a:lnTo>
                    <a:pt x="376" y="180"/>
                  </a:lnTo>
                  <a:lnTo>
                    <a:pt x="380" y="182"/>
                  </a:lnTo>
                  <a:lnTo>
                    <a:pt x="382" y="184"/>
                  </a:lnTo>
                  <a:lnTo>
                    <a:pt x="384" y="190"/>
                  </a:lnTo>
                  <a:lnTo>
                    <a:pt x="380" y="202"/>
                  </a:lnTo>
                  <a:lnTo>
                    <a:pt x="374" y="216"/>
                  </a:lnTo>
                  <a:lnTo>
                    <a:pt x="374" y="216"/>
                  </a:lnTo>
                  <a:lnTo>
                    <a:pt x="388" y="236"/>
                  </a:lnTo>
                  <a:lnTo>
                    <a:pt x="394" y="248"/>
                  </a:lnTo>
                  <a:lnTo>
                    <a:pt x="396" y="252"/>
                  </a:lnTo>
                  <a:lnTo>
                    <a:pt x="404" y="254"/>
                  </a:lnTo>
                  <a:lnTo>
                    <a:pt x="404" y="254"/>
                  </a:lnTo>
                  <a:lnTo>
                    <a:pt x="410" y="254"/>
                  </a:lnTo>
                  <a:lnTo>
                    <a:pt x="412" y="254"/>
                  </a:lnTo>
                  <a:lnTo>
                    <a:pt x="418" y="266"/>
                  </a:lnTo>
                  <a:lnTo>
                    <a:pt x="418" y="266"/>
                  </a:lnTo>
                  <a:lnTo>
                    <a:pt x="422" y="280"/>
                  </a:lnTo>
                  <a:lnTo>
                    <a:pt x="424" y="280"/>
                  </a:lnTo>
                  <a:lnTo>
                    <a:pt x="428" y="280"/>
                  </a:lnTo>
                  <a:lnTo>
                    <a:pt x="428" y="280"/>
                  </a:lnTo>
                  <a:lnTo>
                    <a:pt x="430" y="280"/>
                  </a:lnTo>
                  <a:lnTo>
                    <a:pt x="430" y="284"/>
                  </a:lnTo>
                  <a:lnTo>
                    <a:pt x="430" y="288"/>
                  </a:lnTo>
                  <a:lnTo>
                    <a:pt x="430" y="290"/>
                  </a:lnTo>
                  <a:lnTo>
                    <a:pt x="430" y="290"/>
                  </a:lnTo>
                  <a:lnTo>
                    <a:pt x="430" y="292"/>
                  </a:lnTo>
                  <a:lnTo>
                    <a:pt x="428" y="294"/>
                  </a:lnTo>
                  <a:lnTo>
                    <a:pt x="426" y="296"/>
                  </a:lnTo>
                  <a:lnTo>
                    <a:pt x="424" y="296"/>
                  </a:lnTo>
                  <a:lnTo>
                    <a:pt x="424" y="296"/>
                  </a:lnTo>
                  <a:lnTo>
                    <a:pt x="424" y="298"/>
                  </a:lnTo>
                  <a:lnTo>
                    <a:pt x="420" y="296"/>
                  </a:lnTo>
                  <a:lnTo>
                    <a:pt x="416" y="296"/>
                  </a:lnTo>
                  <a:lnTo>
                    <a:pt x="416" y="298"/>
                  </a:lnTo>
                  <a:lnTo>
                    <a:pt x="416" y="302"/>
                  </a:lnTo>
                  <a:lnTo>
                    <a:pt x="416" y="302"/>
                  </a:lnTo>
                  <a:lnTo>
                    <a:pt x="416" y="304"/>
                  </a:lnTo>
                  <a:lnTo>
                    <a:pt x="414" y="306"/>
                  </a:lnTo>
                  <a:lnTo>
                    <a:pt x="410" y="310"/>
                  </a:lnTo>
                  <a:lnTo>
                    <a:pt x="406" y="316"/>
                  </a:lnTo>
                  <a:lnTo>
                    <a:pt x="406" y="318"/>
                  </a:lnTo>
                  <a:lnTo>
                    <a:pt x="406" y="320"/>
                  </a:lnTo>
                  <a:lnTo>
                    <a:pt x="406" y="320"/>
                  </a:lnTo>
                  <a:lnTo>
                    <a:pt x="408" y="326"/>
                  </a:lnTo>
                  <a:lnTo>
                    <a:pt x="408" y="332"/>
                  </a:lnTo>
                  <a:lnTo>
                    <a:pt x="408" y="336"/>
                  </a:lnTo>
                  <a:lnTo>
                    <a:pt x="406" y="338"/>
                  </a:lnTo>
                  <a:lnTo>
                    <a:pt x="402" y="338"/>
                  </a:lnTo>
                  <a:lnTo>
                    <a:pt x="402" y="338"/>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Azerbaijan"/>
            <p:cNvSpPr>
              <a:spLocks/>
            </p:cNvSpPr>
            <p:nvPr/>
          </p:nvSpPr>
          <p:spPr bwMode="auto">
            <a:xfrm>
              <a:off x="5303538" y="2327010"/>
              <a:ext cx="31750" cy="13229"/>
            </a:xfrm>
            <a:custGeom>
              <a:avLst/>
              <a:gdLst/>
              <a:ahLst/>
              <a:cxnLst>
                <a:cxn ang="0">
                  <a:pos x="0" y="0"/>
                </a:cxn>
                <a:cxn ang="0">
                  <a:pos x="0" y="0"/>
                </a:cxn>
                <a:cxn ang="0">
                  <a:pos x="2" y="4"/>
                </a:cxn>
                <a:cxn ang="0">
                  <a:pos x="4" y="8"/>
                </a:cxn>
                <a:cxn ang="0">
                  <a:pos x="12" y="10"/>
                </a:cxn>
                <a:cxn ang="0">
                  <a:pos x="20" y="10"/>
                </a:cxn>
                <a:cxn ang="0">
                  <a:pos x="24" y="10"/>
                </a:cxn>
                <a:cxn ang="0">
                  <a:pos x="24" y="10"/>
                </a:cxn>
                <a:cxn ang="0">
                  <a:pos x="18" y="4"/>
                </a:cxn>
                <a:cxn ang="0">
                  <a:pos x="12" y="2"/>
                </a:cxn>
                <a:cxn ang="0">
                  <a:pos x="6" y="0"/>
                </a:cxn>
                <a:cxn ang="0">
                  <a:pos x="0" y="0"/>
                </a:cxn>
                <a:cxn ang="0">
                  <a:pos x="0" y="0"/>
                </a:cxn>
              </a:cxnLst>
              <a:rect l="0" t="0" r="r" b="b"/>
              <a:pathLst>
                <a:path w="24" h="10">
                  <a:moveTo>
                    <a:pt x="0" y="0"/>
                  </a:moveTo>
                  <a:lnTo>
                    <a:pt x="0" y="0"/>
                  </a:lnTo>
                  <a:lnTo>
                    <a:pt x="2" y="4"/>
                  </a:lnTo>
                  <a:lnTo>
                    <a:pt x="4" y="8"/>
                  </a:lnTo>
                  <a:lnTo>
                    <a:pt x="12" y="10"/>
                  </a:lnTo>
                  <a:lnTo>
                    <a:pt x="20" y="10"/>
                  </a:lnTo>
                  <a:lnTo>
                    <a:pt x="24" y="10"/>
                  </a:lnTo>
                  <a:lnTo>
                    <a:pt x="24" y="10"/>
                  </a:lnTo>
                  <a:lnTo>
                    <a:pt x="18" y="4"/>
                  </a:lnTo>
                  <a:lnTo>
                    <a:pt x="12" y="2"/>
                  </a:lnTo>
                  <a:lnTo>
                    <a:pt x="6" y="0"/>
                  </a:lnTo>
                  <a:lnTo>
                    <a:pt x="0" y="0"/>
                  </a:lnTo>
                  <a:lnTo>
                    <a:pt x="0" y="0"/>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Armenia"/>
            <p:cNvSpPr>
              <a:spLocks/>
            </p:cNvSpPr>
            <p:nvPr/>
          </p:nvSpPr>
          <p:spPr bwMode="auto">
            <a:xfrm>
              <a:off x="5250622" y="2276740"/>
              <a:ext cx="97896" cy="63500"/>
            </a:xfrm>
            <a:custGeom>
              <a:avLst/>
              <a:gdLst/>
              <a:ahLst/>
              <a:cxnLst>
                <a:cxn ang="0">
                  <a:pos x="28" y="0"/>
                </a:cxn>
                <a:cxn ang="0">
                  <a:pos x="28" y="0"/>
                </a:cxn>
                <a:cxn ang="0">
                  <a:pos x="34" y="2"/>
                </a:cxn>
                <a:cxn ang="0">
                  <a:pos x="40" y="6"/>
                </a:cxn>
                <a:cxn ang="0">
                  <a:pos x="40" y="6"/>
                </a:cxn>
                <a:cxn ang="0">
                  <a:pos x="44" y="8"/>
                </a:cxn>
                <a:cxn ang="0">
                  <a:pos x="44" y="12"/>
                </a:cxn>
                <a:cxn ang="0">
                  <a:pos x="44" y="12"/>
                </a:cxn>
                <a:cxn ang="0">
                  <a:pos x="46" y="18"/>
                </a:cxn>
                <a:cxn ang="0">
                  <a:pos x="48" y="18"/>
                </a:cxn>
                <a:cxn ang="0">
                  <a:pos x="50" y="20"/>
                </a:cxn>
                <a:cxn ang="0">
                  <a:pos x="52" y="24"/>
                </a:cxn>
                <a:cxn ang="0">
                  <a:pos x="52" y="24"/>
                </a:cxn>
                <a:cxn ang="0">
                  <a:pos x="52" y="30"/>
                </a:cxn>
                <a:cxn ang="0">
                  <a:pos x="56" y="32"/>
                </a:cxn>
                <a:cxn ang="0">
                  <a:pos x="62" y="36"/>
                </a:cxn>
                <a:cxn ang="0">
                  <a:pos x="70" y="38"/>
                </a:cxn>
                <a:cxn ang="0">
                  <a:pos x="72" y="40"/>
                </a:cxn>
                <a:cxn ang="0">
                  <a:pos x="74" y="42"/>
                </a:cxn>
                <a:cxn ang="0">
                  <a:pos x="74" y="42"/>
                </a:cxn>
                <a:cxn ang="0">
                  <a:pos x="64" y="48"/>
                </a:cxn>
                <a:cxn ang="0">
                  <a:pos x="64" y="48"/>
                </a:cxn>
                <a:cxn ang="0">
                  <a:pos x="58" y="42"/>
                </a:cxn>
                <a:cxn ang="0">
                  <a:pos x="52" y="40"/>
                </a:cxn>
                <a:cxn ang="0">
                  <a:pos x="46" y="38"/>
                </a:cxn>
                <a:cxn ang="0">
                  <a:pos x="40" y="38"/>
                </a:cxn>
                <a:cxn ang="0">
                  <a:pos x="40" y="38"/>
                </a:cxn>
                <a:cxn ang="0">
                  <a:pos x="38" y="36"/>
                </a:cxn>
                <a:cxn ang="0">
                  <a:pos x="34" y="34"/>
                </a:cxn>
                <a:cxn ang="0">
                  <a:pos x="28" y="30"/>
                </a:cxn>
                <a:cxn ang="0">
                  <a:pos x="28" y="30"/>
                </a:cxn>
                <a:cxn ang="0">
                  <a:pos x="24" y="26"/>
                </a:cxn>
                <a:cxn ang="0">
                  <a:pos x="22" y="24"/>
                </a:cxn>
                <a:cxn ang="0">
                  <a:pos x="20" y="22"/>
                </a:cxn>
                <a:cxn ang="0">
                  <a:pos x="12" y="20"/>
                </a:cxn>
                <a:cxn ang="0">
                  <a:pos x="12" y="20"/>
                </a:cxn>
                <a:cxn ang="0">
                  <a:pos x="6" y="18"/>
                </a:cxn>
                <a:cxn ang="0">
                  <a:pos x="4" y="18"/>
                </a:cxn>
                <a:cxn ang="0">
                  <a:pos x="4" y="16"/>
                </a:cxn>
                <a:cxn ang="0">
                  <a:pos x="4" y="12"/>
                </a:cxn>
                <a:cxn ang="0">
                  <a:pos x="4" y="8"/>
                </a:cxn>
                <a:cxn ang="0">
                  <a:pos x="4" y="6"/>
                </a:cxn>
                <a:cxn ang="0">
                  <a:pos x="0" y="2"/>
                </a:cxn>
                <a:cxn ang="0">
                  <a:pos x="0" y="2"/>
                </a:cxn>
                <a:cxn ang="0">
                  <a:pos x="18" y="2"/>
                </a:cxn>
                <a:cxn ang="0">
                  <a:pos x="28" y="0"/>
                </a:cxn>
                <a:cxn ang="0">
                  <a:pos x="28" y="0"/>
                </a:cxn>
              </a:cxnLst>
              <a:rect l="0" t="0" r="r" b="b"/>
              <a:pathLst>
                <a:path w="74" h="48">
                  <a:moveTo>
                    <a:pt x="28" y="0"/>
                  </a:moveTo>
                  <a:lnTo>
                    <a:pt x="28" y="0"/>
                  </a:lnTo>
                  <a:lnTo>
                    <a:pt x="34" y="2"/>
                  </a:lnTo>
                  <a:lnTo>
                    <a:pt x="40" y="6"/>
                  </a:lnTo>
                  <a:lnTo>
                    <a:pt x="40" y="6"/>
                  </a:lnTo>
                  <a:lnTo>
                    <a:pt x="44" y="8"/>
                  </a:lnTo>
                  <a:lnTo>
                    <a:pt x="44" y="12"/>
                  </a:lnTo>
                  <a:lnTo>
                    <a:pt x="44" y="12"/>
                  </a:lnTo>
                  <a:lnTo>
                    <a:pt x="46" y="18"/>
                  </a:lnTo>
                  <a:lnTo>
                    <a:pt x="48" y="18"/>
                  </a:lnTo>
                  <a:lnTo>
                    <a:pt x="50" y="20"/>
                  </a:lnTo>
                  <a:lnTo>
                    <a:pt x="52" y="24"/>
                  </a:lnTo>
                  <a:lnTo>
                    <a:pt x="52" y="24"/>
                  </a:lnTo>
                  <a:lnTo>
                    <a:pt x="52" y="30"/>
                  </a:lnTo>
                  <a:lnTo>
                    <a:pt x="56" y="32"/>
                  </a:lnTo>
                  <a:lnTo>
                    <a:pt x="62" y="36"/>
                  </a:lnTo>
                  <a:lnTo>
                    <a:pt x="70" y="38"/>
                  </a:lnTo>
                  <a:lnTo>
                    <a:pt x="72" y="40"/>
                  </a:lnTo>
                  <a:lnTo>
                    <a:pt x="74" y="42"/>
                  </a:lnTo>
                  <a:lnTo>
                    <a:pt x="74" y="42"/>
                  </a:lnTo>
                  <a:lnTo>
                    <a:pt x="64" y="48"/>
                  </a:lnTo>
                  <a:lnTo>
                    <a:pt x="64" y="48"/>
                  </a:lnTo>
                  <a:lnTo>
                    <a:pt x="58" y="42"/>
                  </a:lnTo>
                  <a:lnTo>
                    <a:pt x="52" y="40"/>
                  </a:lnTo>
                  <a:lnTo>
                    <a:pt x="46" y="38"/>
                  </a:lnTo>
                  <a:lnTo>
                    <a:pt x="40" y="38"/>
                  </a:lnTo>
                  <a:lnTo>
                    <a:pt x="40" y="38"/>
                  </a:lnTo>
                  <a:lnTo>
                    <a:pt x="38" y="36"/>
                  </a:lnTo>
                  <a:lnTo>
                    <a:pt x="34" y="34"/>
                  </a:lnTo>
                  <a:lnTo>
                    <a:pt x="28" y="30"/>
                  </a:lnTo>
                  <a:lnTo>
                    <a:pt x="28" y="30"/>
                  </a:lnTo>
                  <a:lnTo>
                    <a:pt x="24" y="26"/>
                  </a:lnTo>
                  <a:lnTo>
                    <a:pt x="22" y="24"/>
                  </a:lnTo>
                  <a:lnTo>
                    <a:pt x="20" y="22"/>
                  </a:lnTo>
                  <a:lnTo>
                    <a:pt x="12" y="20"/>
                  </a:lnTo>
                  <a:lnTo>
                    <a:pt x="12" y="20"/>
                  </a:lnTo>
                  <a:lnTo>
                    <a:pt x="6" y="18"/>
                  </a:lnTo>
                  <a:lnTo>
                    <a:pt x="4" y="18"/>
                  </a:lnTo>
                  <a:lnTo>
                    <a:pt x="4" y="16"/>
                  </a:lnTo>
                  <a:lnTo>
                    <a:pt x="4" y="12"/>
                  </a:lnTo>
                  <a:lnTo>
                    <a:pt x="4" y="8"/>
                  </a:lnTo>
                  <a:lnTo>
                    <a:pt x="4" y="6"/>
                  </a:lnTo>
                  <a:lnTo>
                    <a:pt x="0" y="2"/>
                  </a:lnTo>
                  <a:lnTo>
                    <a:pt x="0" y="2"/>
                  </a:lnTo>
                  <a:lnTo>
                    <a:pt x="18" y="2"/>
                  </a:lnTo>
                  <a:lnTo>
                    <a:pt x="28" y="0"/>
                  </a:lnTo>
                  <a:lnTo>
                    <a:pt x="28" y="0"/>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Kuwait"/>
            <p:cNvSpPr>
              <a:spLocks/>
            </p:cNvSpPr>
            <p:nvPr/>
          </p:nvSpPr>
          <p:spPr bwMode="auto">
            <a:xfrm>
              <a:off x="5385559" y="2607469"/>
              <a:ext cx="50271" cy="37042"/>
            </a:xfrm>
            <a:custGeom>
              <a:avLst/>
              <a:gdLst/>
              <a:ahLst/>
              <a:cxnLst>
                <a:cxn ang="0">
                  <a:pos x="0" y="18"/>
                </a:cxn>
                <a:cxn ang="0">
                  <a:pos x="0" y="18"/>
                </a:cxn>
                <a:cxn ang="0">
                  <a:pos x="6" y="16"/>
                </a:cxn>
                <a:cxn ang="0">
                  <a:pos x="10" y="12"/>
                </a:cxn>
                <a:cxn ang="0">
                  <a:pos x="14" y="4"/>
                </a:cxn>
                <a:cxn ang="0">
                  <a:pos x="16" y="2"/>
                </a:cxn>
                <a:cxn ang="0">
                  <a:pos x="20" y="0"/>
                </a:cxn>
                <a:cxn ang="0">
                  <a:pos x="24" y="2"/>
                </a:cxn>
                <a:cxn ang="0">
                  <a:pos x="30" y="4"/>
                </a:cxn>
                <a:cxn ang="0">
                  <a:pos x="30" y="4"/>
                </a:cxn>
                <a:cxn ang="0">
                  <a:pos x="36" y="6"/>
                </a:cxn>
                <a:cxn ang="0">
                  <a:pos x="38" y="8"/>
                </a:cxn>
                <a:cxn ang="0">
                  <a:pos x="36" y="12"/>
                </a:cxn>
                <a:cxn ang="0">
                  <a:pos x="38" y="12"/>
                </a:cxn>
                <a:cxn ang="0">
                  <a:pos x="38" y="12"/>
                </a:cxn>
                <a:cxn ang="0">
                  <a:pos x="38" y="14"/>
                </a:cxn>
                <a:cxn ang="0">
                  <a:pos x="38" y="14"/>
                </a:cxn>
                <a:cxn ang="0">
                  <a:pos x="34" y="16"/>
                </a:cxn>
                <a:cxn ang="0">
                  <a:pos x="30" y="20"/>
                </a:cxn>
                <a:cxn ang="0">
                  <a:pos x="28" y="24"/>
                </a:cxn>
                <a:cxn ang="0">
                  <a:pos x="30" y="28"/>
                </a:cxn>
                <a:cxn ang="0">
                  <a:pos x="30" y="28"/>
                </a:cxn>
                <a:cxn ang="0">
                  <a:pos x="22" y="28"/>
                </a:cxn>
                <a:cxn ang="0">
                  <a:pos x="18" y="28"/>
                </a:cxn>
                <a:cxn ang="0">
                  <a:pos x="16" y="26"/>
                </a:cxn>
                <a:cxn ang="0">
                  <a:pos x="16" y="24"/>
                </a:cxn>
                <a:cxn ang="0">
                  <a:pos x="14" y="22"/>
                </a:cxn>
                <a:cxn ang="0">
                  <a:pos x="12" y="20"/>
                </a:cxn>
                <a:cxn ang="0">
                  <a:pos x="8" y="18"/>
                </a:cxn>
                <a:cxn ang="0">
                  <a:pos x="0" y="18"/>
                </a:cxn>
                <a:cxn ang="0">
                  <a:pos x="0" y="18"/>
                </a:cxn>
              </a:cxnLst>
              <a:rect l="0" t="0" r="r" b="b"/>
              <a:pathLst>
                <a:path w="38" h="28">
                  <a:moveTo>
                    <a:pt x="0" y="18"/>
                  </a:moveTo>
                  <a:lnTo>
                    <a:pt x="0" y="18"/>
                  </a:lnTo>
                  <a:lnTo>
                    <a:pt x="6" y="16"/>
                  </a:lnTo>
                  <a:lnTo>
                    <a:pt x="10" y="12"/>
                  </a:lnTo>
                  <a:lnTo>
                    <a:pt x="14" y="4"/>
                  </a:lnTo>
                  <a:lnTo>
                    <a:pt x="16" y="2"/>
                  </a:lnTo>
                  <a:lnTo>
                    <a:pt x="20" y="0"/>
                  </a:lnTo>
                  <a:lnTo>
                    <a:pt x="24" y="2"/>
                  </a:lnTo>
                  <a:lnTo>
                    <a:pt x="30" y="4"/>
                  </a:lnTo>
                  <a:lnTo>
                    <a:pt x="30" y="4"/>
                  </a:lnTo>
                  <a:lnTo>
                    <a:pt x="36" y="6"/>
                  </a:lnTo>
                  <a:lnTo>
                    <a:pt x="38" y="8"/>
                  </a:lnTo>
                  <a:lnTo>
                    <a:pt x="36" y="12"/>
                  </a:lnTo>
                  <a:lnTo>
                    <a:pt x="38" y="12"/>
                  </a:lnTo>
                  <a:lnTo>
                    <a:pt x="38" y="12"/>
                  </a:lnTo>
                  <a:lnTo>
                    <a:pt x="38" y="14"/>
                  </a:lnTo>
                  <a:lnTo>
                    <a:pt x="38" y="14"/>
                  </a:lnTo>
                  <a:lnTo>
                    <a:pt x="34" y="16"/>
                  </a:lnTo>
                  <a:lnTo>
                    <a:pt x="30" y="20"/>
                  </a:lnTo>
                  <a:lnTo>
                    <a:pt x="28" y="24"/>
                  </a:lnTo>
                  <a:lnTo>
                    <a:pt x="30" y="28"/>
                  </a:lnTo>
                  <a:lnTo>
                    <a:pt x="30" y="28"/>
                  </a:lnTo>
                  <a:lnTo>
                    <a:pt x="22" y="28"/>
                  </a:lnTo>
                  <a:lnTo>
                    <a:pt x="18" y="28"/>
                  </a:lnTo>
                  <a:lnTo>
                    <a:pt x="16" y="26"/>
                  </a:lnTo>
                  <a:lnTo>
                    <a:pt x="16" y="24"/>
                  </a:lnTo>
                  <a:lnTo>
                    <a:pt x="14" y="22"/>
                  </a:lnTo>
                  <a:lnTo>
                    <a:pt x="12" y="20"/>
                  </a:lnTo>
                  <a:lnTo>
                    <a:pt x="8" y="18"/>
                  </a:lnTo>
                  <a:lnTo>
                    <a:pt x="0" y="18"/>
                  </a:lnTo>
                  <a:lnTo>
                    <a:pt x="0" y="18"/>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Azerbaijan"/>
            <p:cNvSpPr>
              <a:spLocks/>
            </p:cNvSpPr>
            <p:nvPr/>
          </p:nvSpPr>
          <p:spPr bwMode="auto">
            <a:xfrm>
              <a:off x="5287663" y="2258219"/>
              <a:ext cx="134938" cy="108479"/>
            </a:xfrm>
            <a:custGeom>
              <a:avLst/>
              <a:gdLst/>
              <a:ahLst/>
              <a:cxnLst>
                <a:cxn ang="0">
                  <a:pos x="46" y="56"/>
                </a:cxn>
                <a:cxn ang="0">
                  <a:pos x="58" y="48"/>
                </a:cxn>
                <a:cxn ang="0">
                  <a:pos x="60" y="50"/>
                </a:cxn>
                <a:cxn ang="0">
                  <a:pos x="66" y="56"/>
                </a:cxn>
                <a:cxn ang="0">
                  <a:pos x="64" y="58"/>
                </a:cxn>
                <a:cxn ang="0">
                  <a:pos x="68" y="64"/>
                </a:cxn>
                <a:cxn ang="0">
                  <a:pos x="62" y="70"/>
                </a:cxn>
                <a:cxn ang="0">
                  <a:pos x="72" y="76"/>
                </a:cxn>
                <a:cxn ang="0">
                  <a:pos x="82" y="82"/>
                </a:cxn>
                <a:cxn ang="0">
                  <a:pos x="88" y="80"/>
                </a:cxn>
                <a:cxn ang="0">
                  <a:pos x="82" y="66"/>
                </a:cxn>
                <a:cxn ang="0">
                  <a:pos x="84" y="60"/>
                </a:cxn>
                <a:cxn ang="0">
                  <a:pos x="86" y="64"/>
                </a:cxn>
                <a:cxn ang="0">
                  <a:pos x="90" y="66"/>
                </a:cxn>
                <a:cxn ang="0">
                  <a:pos x="90" y="64"/>
                </a:cxn>
                <a:cxn ang="0">
                  <a:pos x="88" y="58"/>
                </a:cxn>
                <a:cxn ang="0">
                  <a:pos x="90" y="54"/>
                </a:cxn>
                <a:cxn ang="0">
                  <a:pos x="90" y="48"/>
                </a:cxn>
                <a:cxn ang="0">
                  <a:pos x="92" y="40"/>
                </a:cxn>
                <a:cxn ang="0">
                  <a:pos x="94" y="40"/>
                </a:cxn>
                <a:cxn ang="0">
                  <a:pos x="102" y="40"/>
                </a:cxn>
                <a:cxn ang="0">
                  <a:pos x="102" y="38"/>
                </a:cxn>
                <a:cxn ang="0">
                  <a:pos x="96" y="30"/>
                </a:cxn>
                <a:cxn ang="0">
                  <a:pos x="94" y="30"/>
                </a:cxn>
                <a:cxn ang="0">
                  <a:pos x="90" y="30"/>
                </a:cxn>
                <a:cxn ang="0">
                  <a:pos x="80" y="24"/>
                </a:cxn>
                <a:cxn ang="0">
                  <a:pos x="70" y="12"/>
                </a:cxn>
                <a:cxn ang="0">
                  <a:pos x="58" y="0"/>
                </a:cxn>
                <a:cxn ang="0">
                  <a:pos x="52" y="4"/>
                </a:cxn>
                <a:cxn ang="0">
                  <a:pos x="36" y="8"/>
                </a:cxn>
                <a:cxn ang="0">
                  <a:pos x="22" y="2"/>
                </a:cxn>
                <a:cxn ang="0">
                  <a:pos x="26" y="14"/>
                </a:cxn>
                <a:cxn ang="0">
                  <a:pos x="26" y="16"/>
                </a:cxn>
                <a:cxn ang="0">
                  <a:pos x="16" y="14"/>
                </a:cxn>
                <a:cxn ang="0">
                  <a:pos x="0" y="14"/>
                </a:cxn>
                <a:cxn ang="0">
                  <a:pos x="6" y="16"/>
                </a:cxn>
                <a:cxn ang="0">
                  <a:pos x="12" y="20"/>
                </a:cxn>
                <a:cxn ang="0">
                  <a:pos x="16" y="26"/>
                </a:cxn>
                <a:cxn ang="0">
                  <a:pos x="18" y="32"/>
                </a:cxn>
                <a:cxn ang="0">
                  <a:pos x="22" y="34"/>
                </a:cxn>
                <a:cxn ang="0">
                  <a:pos x="24" y="38"/>
                </a:cxn>
                <a:cxn ang="0">
                  <a:pos x="28" y="46"/>
                </a:cxn>
                <a:cxn ang="0">
                  <a:pos x="42" y="52"/>
                </a:cxn>
                <a:cxn ang="0">
                  <a:pos x="46" y="56"/>
                </a:cxn>
              </a:cxnLst>
              <a:rect l="0" t="0" r="r" b="b"/>
              <a:pathLst>
                <a:path w="102" h="82">
                  <a:moveTo>
                    <a:pt x="46" y="56"/>
                  </a:moveTo>
                  <a:lnTo>
                    <a:pt x="46" y="56"/>
                  </a:lnTo>
                  <a:lnTo>
                    <a:pt x="56" y="48"/>
                  </a:lnTo>
                  <a:lnTo>
                    <a:pt x="58" y="48"/>
                  </a:lnTo>
                  <a:lnTo>
                    <a:pt x="60" y="50"/>
                  </a:lnTo>
                  <a:lnTo>
                    <a:pt x="60" y="50"/>
                  </a:lnTo>
                  <a:lnTo>
                    <a:pt x="66" y="54"/>
                  </a:lnTo>
                  <a:lnTo>
                    <a:pt x="66" y="56"/>
                  </a:lnTo>
                  <a:lnTo>
                    <a:pt x="64" y="58"/>
                  </a:lnTo>
                  <a:lnTo>
                    <a:pt x="64" y="58"/>
                  </a:lnTo>
                  <a:lnTo>
                    <a:pt x="68" y="60"/>
                  </a:lnTo>
                  <a:lnTo>
                    <a:pt x="68" y="64"/>
                  </a:lnTo>
                  <a:lnTo>
                    <a:pt x="66" y="68"/>
                  </a:lnTo>
                  <a:lnTo>
                    <a:pt x="62" y="70"/>
                  </a:lnTo>
                  <a:lnTo>
                    <a:pt x="62" y="70"/>
                  </a:lnTo>
                  <a:lnTo>
                    <a:pt x="72" y="76"/>
                  </a:lnTo>
                  <a:lnTo>
                    <a:pt x="78" y="80"/>
                  </a:lnTo>
                  <a:lnTo>
                    <a:pt x="82" y="82"/>
                  </a:lnTo>
                  <a:lnTo>
                    <a:pt x="88" y="80"/>
                  </a:lnTo>
                  <a:lnTo>
                    <a:pt x="88" y="80"/>
                  </a:lnTo>
                  <a:lnTo>
                    <a:pt x="84" y="70"/>
                  </a:lnTo>
                  <a:lnTo>
                    <a:pt x="82" y="66"/>
                  </a:lnTo>
                  <a:lnTo>
                    <a:pt x="82" y="62"/>
                  </a:lnTo>
                  <a:lnTo>
                    <a:pt x="84" y="60"/>
                  </a:lnTo>
                  <a:lnTo>
                    <a:pt x="84" y="60"/>
                  </a:lnTo>
                  <a:lnTo>
                    <a:pt x="86" y="64"/>
                  </a:lnTo>
                  <a:lnTo>
                    <a:pt x="88" y="66"/>
                  </a:lnTo>
                  <a:lnTo>
                    <a:pt x="90" y="66"/>
                  </a:lnTo>
                  <a:lnTo>
                    <a:pt x="90" y="66"/>
                  </a:lnTo>
                  <a:lnTo>
                    <a:pt x="90" y="64"/>
                  </a:lnTo>
                  <a:lnTo>
                    <a:pt x="88" y="60"/>
                  </a:lnTo>
                  <a:lnTo>
                    <a:pt x="88" y="58"/>
                  </a:lnTo>
                  <a:lnTo>
                    <a:pt x="90" y="54"/>
                  </a:lnTo>
                  <a:lnTo>
                    <a:pt x="90" y="54"/>
                  </a:lnTo>
                  <a:lnTo>
                    <a:pt x="90" y="50"/>
                  </a:lnTo>
                  <a:lnTo>
                    <a:pt x="90" y="48"/>
                  </a:lnTo>
                  <a:lnTo>
                    <a:pt x="90" y="44"/>
                  </a:lnTo>
                  <a:lnTo>
                    <a:pt x="92" y="40"/>
                  </a:lnTo>
                  <a:lnTo>
                    <a:pt x="92" y="40"/>
                  </a:lnTo>
                  <a:lnTo>
                    <a:pt x="94" y="40"/>
                  </a:lnTo>
                  <a:lnTo>
                    <a:pt x="98" y="40"/>
                  </a:lnTo>
                  <a:lnTo>
                    <a:pt x="102" y="40"/>
                  </a:lnTo>
                  <a:lnTo>
                    <a:pt x="102" y="40"/>
                  </a:lnTo>
                  <a:lnTo>
                    <a:pt x="102" y="38"/>
                  </a:lnTo>
                  <a:lnTo>
                    <a:pt x="100" y="34"/>
                  </a:lnTo>
                  <a:lnTo>
                    <a:pt x="96" y="30"/>
                  </a:lnTo>
                  <a:lnTo>
                    <a:pt x="94" y="30"/>
                  </a:lnTo>
                  <a:lnTo>
                    <a:pt x="94" y="30"/>
                  </a:lnTo>
                  <a:lnTo>
                    <a:pt x="92" y="32"/>
                  </a:lnTo>
                  <a:lnTo>
                    <a:pt x="90" y="30"/>
                  </a:lnTo>
                  <a:lnTo>
                    <a:pt x="80" y="24"/>
                  </a:lnTo>
                  <a:lnTo>
                    <a:pt x="80" y="24"/>
                  </a:lnTo>
                  <a:lnTo>
                    <a:pt x="76" y="18"/>
                  </a:lnTo>
                  <a:lnTo>
                    <a:pt x="70" y="12"/>
                  </a:lnTo>
                  <a:lnTo>
                    <a:pt x="66" y="6"/>
                  </a:lnTo>
                  <a:lnTo>
                    <a:pt x="58" y="0"/>
                  </a:lnTo>
                  <a:lnTo>
                    <a:pt x="58" y="0"/>
                  </a:lnTo>
                  <a:lnTo>
                    <a:pt x="52" y="4"/>
                  </a:lnTo>
                  <a:lnTo>
                    <a:pt x="44" y="8"/>
                  </a:lnTo>
                  <a:lnTo>
                    <a:pt x="36" y="8"/>
                  </a:lnTo>
                  <a:lnTo>
                    <a:pt x="22" y="2"/>
                  </a:lnTo>
                  <a:lnTo>
                    <a:pt x="22" y="2"/>
                  </a:lnTo>
                  <a:lnTo>
                    <a:pt x="24" y="10"/>
                  </a:lnTo>
                  <a:lnTo>
                    <a:pt x="26" y="14"/>
                  </a:lnTo>
                  <a:lnTo>
                    <a:pt x="26" y="16"/>
                  </a:lnTo>
                  <a:lnTo>
                    <a:pt x="26" y="16"/>
                  </a:lnTo>
                  <a:lnTo>
                    <a:pt x="20" y="16"/>
                  </a:lnTo>
                  <a:lnTo>
                    <a:pt x="16" y="14"/>
                  </a:lnTo>
                  <a:lnTo>
                    <a:pt x="10" y="14"/>
                  </a:lnTo>
                  <a:lnTo>
                    <a:pt x="0" y="14"/>
                  </a:lnTo>
                  <a:lnTo>
                    <a:pt x="0" y="14"/>
                  </a:lnTo>
                  <a:lnTo>
                    <a:pt x="6" y="16"/>
                  </a:lnTo>
                  <a:lnTo>
                    <a:pt x="12" y="20"/>
                  </a:lnTo>
                  <a:lnTo>
                    <a:pt x="12" y="20"/>
                  </a:lnTo>
                  <a:lnTo>
                    <a:pt x="16" y="22"/>
                  </a:lnTo>
                  <a:lnTo>
                    <a:pt x="16" y="26"/>
                  </a:lnTo>
                  <a:lnTo>
                    <a:pt x="16" y="26"/>
                  </a:lnTo>
                  <a:lnTo>
                    <a:pt x="18" y="32"/>
                  </a:lnTo>
                  <a:lnTo>
                    <a:pt x="20" y="32"/>
                  </a:lnTo>
                  <a:lnTo>
                    <a:pt x="22" y="34"/>
                  </a:lnTo>
                  <a:lnTo>
                    <a:pt x="24" y="38"/>
                  </a:lnTo>
                  <a:lnTo>
                    <a:pt x="24" y="38"/>
                  </a:lnTo>
                  <a:lnTo>
                    <a:pt x="24" y="44"/>
                  </a:lnTo>
                  <a:lnTo>
                    <a:pt x="28" y="46"/>
                  </a:lnTo>
                  <a:lnTo>
                    <a:pt x="34" y="50"/>
                  </a:lnTo>
                  <a:lnTo>
                    <a:pt x="42" y="52"/>
                  </a:lnTo>
                  <a:lnTo>
                    <a:pt x="44" y="54"/>
                  </a:lnTo>
                  <a:lnTo>
                    <a:pt x="46" y="56"/>
                  </a:lnTo>
                  <a:lnTo>
                    <a:pt x="46" y="56"/>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15"/>
            <p:cNvSpPr>
              <a:spLocks/>
            </p:cNvSpPr>
            <p:nvPr/>
          </p:nvSpPr>
          <p:spPr bwMode="auto">
            <a:xfrm>
              <a:off x="4351038" y="2282031"/>
              <a:ext cx="31750" cy="63500"/>
            </a:xfrm>
            <a:custGeom>
              <a:avLst/>
              <a:gdLst/>
              <a:ahLst/>
              <a:cxnLst>
                <a:cxn ang="0">
                  <a:pos x="14" y="0"/>
                </a:cxn>
                <a:cxn ang="0">
                  <a:pos x="18" y="2"/>
                </a:cxn>
                <a:cxn ang="0">
                  <a:pos x="20" y="4"/>
                </a:cxn>
                <a:cxn ang="0">
                  <a:pos x="22" y="8"/>
                </a:cxn>
                <a:cxn ang="0">
                  <a:pos x="24" y="14"/>
                </a:cxn>
                <a:cxn ang="0">
                  <a:pos x="24" y="18"/>
                </a:cxn>
                <a:cxn ang="0">
                  <a:pos x="22" y="20"/>
                </a:cxn>
                <a:cxn ang="0">
                  <a:pos x="22" y="22"/>
                </a:cxn>
                <a:cxn ang="0">
                  <a:pos x="22" y="28"/>
                </a:cxn>
                <a:cxn ang="0">
                  <a:pos x="22" y="32"/>
                </a:cxn>
                <a:cxn ang="0">
                  <a:pos x="22" y="34"/>
                </a:cxn>
                <a:cxn ang="0">
                  <a:pos x="22" y="40"/>
                </a:cxn>
                <a:cxn ang="0">
                  <a:pos x="22" y="44"/>
                </a:cxn>
                <a:cxn ang="0">
                  <a:pos x="20" y="42"/>
                </a:cxn>
                <a:cxn ang="0">
                  <a:pos x="14" y="40"/>
                </a:cxn>
                <a:cxn ang="0">
                  <a:pos x="16" y="44"/>
                </a:cxn>
                <a:cxn ang="0">
                  <a:pos x="14" y="46"/>
                </a:cxn>
                <a:cxn ang="0">
                  <a:pos x="10" y="46"/>
                </a:cxn>
                <a:cxn ang="0">
                  <a:pos x="8" y="46"/>
                </a:cxn>
                <a:cxn ang="0">
                  <a:pos x="8" y="46"/>
                </a:cxn>
                <a:cxn ang="0">
                  <a:pos x="4" y="42"/>
                </a:cxn>
                <a:cxn ang="0">
                  <a:pos x="4" y="40"/>
                </a:cxn>
                <a:cxn ang="0">
                  <a:pos x="4" y="28"/>
                </a:cxn>
                <a:cxn ang="0">
                  <a:pos x="4" y="28"/>
                </a:cxn>
                <a:cxn ang="0">
                  <a:pos x="4" y="26"/>
                </a:cxn>
                <a:cxn ang="0">
                  <a:pos x="4" y="22"/>
                </a:cxn>
                <a:cxn ang="0">
                  <a:pos x="6" y="20"/>
                </a:cxn>
                <a:cxn ang="0">
                  <a:pos x="4" y="14"/>
                </a:cxn>
                <a:cxn ang="0">
                  <a:pos x="0" y="12"/>
                </a:cxn>
                <a:cxn ang="0">
                  <a:pos x="0" y="8"/>
                </a:cxn>
                <a:cxn ang="0">
                  <a:pos x="0" y="4"/>
                </a:cxn>
                <a:cxn ang="0">
                  <a:pos x="2" y="4"/>
                </a:cxn>
                <a:cxn ang="0">
                  <a:pos x="8" y="4"/>
                </a:cxn>
                <a:cxn ang="0">
                  <a:pos x="10" y="2"/>
                </a:cxn>
                <a:cxn ang="0">
                  <a:pos x="14" y="0"/>
                </a:cxn>
              </a:cxnLst>
              <a:rect l="0" t="0" r="r" b="b"/>
              <a:pathLst>
                <a:path w="24" h="48">
                  <a:moveTo>
                    <a:pt x="14" y="0"/>
                  </a:moveTo>
                  <a:lnTo>
                    <a:pt x="14" y="0"/>
                  </a:lnTo>
                  <a:lnTo>
                    <a:pt x="16" y="0"/>
                  </a:lnTo>
                  <a:lnTo>
                    <a:pt x="18" y="2"/>
                  </a:lnTo>
                  <a:lnTo>
                    <a:pt x="18" y="2"/>
                  </a:lnTo>
                  <a:lnTo>
                    <a:pt x="20" y="4"/>
                  </a:lnTo>
                  <a:lnTo>
                    <a:pt x="22" y="8"/>
                  </a:lnTo>
                  <a:lnTo>
                    <a:pt x="22" y="8"/>
                  </a:lnTo>
                  <a:lnTo>
                    <a:pt x="22" y="10"/>
                  </a:lnTo>
                  <a:lnTo>
                    <a:pt x="24" y="14"/>
                  </a:lnTo>
                  <a:lnTo>
                    <a:pt x="24" y="14"/>
                  </a:lnTo>
                  <a:lnTo>
                    <a:pt x="24" y="18"/>
                  </a:lnTo>
                  <a:lnTo>
                    <a:pt x="24" y="18"/>
                  </a:lnTo>
                  <a:lnTo>
                    <a:pt x="22" y="20"/>
                  </a:lnTo>
                  <a:lnTo>
                    <a:pt x="22" y="22"/>
                  </a:lnTo>
                  <a:lnTo>
                    <a:pt x="22" y="22"/>
                  </a:lnTo>
                  <a:lnTo>
                    <a:pt x="24" y="24"/>
                  </a:lnTo>
                  <a:lnTo>
                    <a:pt x="22" y="28"/>
                  </a:lnTo>
                  <a:lnTo>
                    <a:pt x="22" y="28"/>
                  </a:lnTo>
                  <a:lnTo>
                    <a:pt x="22" y="32"/>
                  </a:lnTo>
                  <a:lnTo>
                    <a:pt x="22" y="34"/>
                  </a:lnTo>
                  <a:lnTo>
                    <a:pt x="22" y="34"/>
                  </a:lnTo>
                  <a:lnTo>
                    <a:pt x="22" y="36"/>
                  </a:lnTo>
                  <a:lnTo>
                    <a:pt x="22" y="40"/>
                  </a:lnTo>
                  <a:lnTo>
                    <a:pt x="22" y="42"/>
                  </a:lnTo>
                  <a:lnTo>
                    <a:pt x="22" y="44"/>
                  </a:lnTo>
                  <a:lnTo>
                    <a:pt x="22" y="44"/>
                  </a:lnTo>
                  <a:lnTo>
                    <a:pt x="20" y="42"/>
                  </a:lnTo>
                  <a:lnTo>
                    <a:pt x="18" y="42"/>
                  </a:lnTo>
                  <a:lnTo>
                    <a:pt x="14" y="40"/>
                  </a:lnTo>
                  <a:lnTo>
                    <a:pt x="14" y="40"/>
                  </a:lnTo>
                  <a:lnTo>
                    <a:pt x="16" y="44"/>
                  </a:lnTo>
                  <a:lnTo>
                    <a:pt x="16" y="46"/>
                  </a:lnTo>
                  <a:lnTo>
                    <a:pt x="14" y="46"/>
                  </a:lnTo>
                  <a:lnTo>
                    <a:pt x="14" y="46"/>
                  </a:lnTo>
                  <a:lnTo>
                    <a:pt x="10" y="46"/>
                  </a:lnTo>
                  <a:lnTo>
                    <a:pt x="8" y="48"/>
                  </a:lnTo>
                  <a:lnTo>
                    <a:pt x="8" y="46"/>
                  </a:lnTo>
                  <a:lnTo>
                    <a:pt x="8" y="46"/>
                  </a:lnTo>
                  <a:lnTo>
                    <a:pt x="8" y="46"/>
                  </a:lnTo>
                  <a:lnTo>
                    <a:pt x="6" y="44"/>
                  </a:lnTo>
                  <a:lnTo>
                    <a:pt x="4" y="42"/>
                  </a:lnTo>
                  <a:lnTo>
                    <a:pt x="4" y="40"/>
                  </a:lnTo>
                  <a:lnTo>
                    <a:pt x="4" y="40"/>
                  </a:lnTo>
                  <a:lnTo>
                    <a:pt x="4" y="32"/>
                  </a:lnTo>
                  <a:lnTo>
                    <a:pt x="4" y="28"/>
                  </a:lnTo>
                  <a:lnTo>
                    <a:pt x="4" y="28"/>
                  </a:lnTo>
                  <a:lnTo>
                    <a:pt x="4" y="28"/>
                  </a:lnTo>
                  <a:lnTo>
                    <a:pt x="6" y="26"/>
                  </a:lnTo>
                  <a:lnTo>
                    <a:pt x="4" y="26"/>
                  </a:lnTo>
                  <a:lnTo>
                    <a:pt x="4" y="24"/>
                  </a:lnTo>
                  <a:lnTo>
                    <a:pt x="4" y="22"/>
                  </a:lnTo>
                  <a:lnTo>
                    <a:pt x="4" y="22"/>
                  </a:lnTo>
                  <a:lnTo>
                    <a:pt x="6" y="20"/>
                  </a:lnTo>
                  <a:lnTo>
                    <a:pt x="6" y="16"/>
                  </a:lnTo>
                  <a:lnTo>
                    <a:pt x="4" y="14"/>
                  </a:lnTo>
                  <a:lnTo>
                    <a:pt x="4" y="14"/>
                  </a:lnTo>
                  <a:lnTo>
                    <a:pt x="0" y="12"/>
                  </a:lnTo>
                  <a:lnTo>
                    <a:pt x="0" y="8"/>
                  </a:lnTo>
                  <a:lnTo>
                    <a:pt x="0" y="8"/>
                  </a:lnTo>
                  <a:lnTo>
                    <a:pt x="0" y="4"/>
                  </a:lnTo>
                  <a:lnTo>
                    <a:pt x="0" y="4"/>
                  </a:lnTo>
                  <a:lnTo>
                    <a:pt x="2" y="4"/>
                  </a:lnTo>
                  <a:lnTo>
                    <a:pt x="2" y="4"/>
                  </a:lnTo>
                  <a:lnTo>
                    <a:pt x="6" y="6"/>
                  </a:lnTo>
                  <a:lnTo>
                    <a:pt x="8" y="4"/>
                  </a:lnTo>
                  <a:lnTo>
                    <a:pt x="8" y="4"/>
                  </a:lnTo>
                  <a:lnTo>
                    <a:pt x="10" y="2"/>
                  </a:lnTo>
                  <a:lnTo>
                    <a:pt x="14" y="0"/>
                  </a:lnTo>
                  <a:lnTo>
                    <a:pt x="14" y="0"/>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Albania"/>
            <p:cNvSpPr>
              <a:spLocks/>
            </p:cNvSpPr>
            <p:nvPr/>
          </p:nvSpPr>
          <p:spPr bwMode="auto">
            <a:xfrm>
              <a:off x="4626205" y="2244990"/>
              <a:ext cx="47625" cy="82021"/>
            </a:xfrm>
            <a:custGeom>
              <a:avLst/>
              <a:gdLst/>
              <a:ahLst/>
              <a:cxnLst>
                <a:cxn ang="0">
                  <a:pos x="26" y="62"/>
                </a:cxn>
                <a:cxn ang="0">
                  <a:pos x="18" y="56"/>
                </a:cxn>
                <a:cxn ang="0">
                  <a:pos x="18" y="54"/>
                </a:cxn>
                <a:cxn ang="0">
                  <a:pos x="14" y="52"/>
                </a:cxn>
                <a:cxn ang="0">
                  <a:pos x="10" y="50"/>
                </a:cxn>
                <a:cxn ang="0">
                  <a:pos x="8" y="44"/>
                </a:cxn>
                <a:cxn ang="0">
                  <a:pos x="6" y="42"/>
                </a:cxn>
                <a:cxn ang="0">
                  <a:pos x="8" y="42"/>
                </a:cxn>
                <a:cxn ang="0">
                  <a:pos x="12" y="44"/>
                </a:cxn>
                <a:cxn ang="0">
                  <a:pos x="12" y="42"/>
                </a:cxn>
                <a:cxn ang="0">
                  <a:pos x="8" y="38"/>
                </a:cxn>
                <a:cxn ang="0">
                  <a:pos x="6" y="36"/>
                </a:cxn>
                <a:cxn ang="0">
                  <a:pos x="6" y="30"/>
                </a:cxn>
                <a:cxn ang="0">
                  <a:pos x="6" y="30"/>
                </a:cxn>
                <a:cxn ang="0">
                  <a:pos x="8" y="26"/>
                </a:cxn>
                <a:cxn ang="0">
                  <a:pos x="8" y="26"/>
                </a:cxn>
                <a:cxn ang="0">
                  <a:pos x="6" y="24"/>
                </a:cxn>
                <a:cxn ang="0">
                  <a:pos x="6" y="20"/>
                </a:cxn>
                <a:cxn ang="0">
                  <a:pos x="4" y="14"/>
                </a:cxn>
                <a:cxn ang="0">
                  <a:pos x="2" y="12"/>
                </a:cxn>
                <a:cxn ang="0">
                  <a:pos x="6" y="10"/>
                </a:cxn>
                <a:cxn ang="0">
                  <a:pos x="4" y="10"/>
                </a:cxn>
                <a:cxn ang="0">
                  <a:pos x="0" y="8"/>
                </a:cxn>
                <a:cxn ang="0">
                  <a:pos x="2" y="6"/>
                </a:cxn>
                <a:cxn ang="0">
                  <a:pos x="0" y="4"/>
                </a:cxn>
                <a:cxn ang="0">
                  <a:pos x="0" y="2"/>
                </a:cxn>
                <a:cxn ang="0">
                  <a:pos x="6" y="0"/>
                </a:cxn>
                <a:cxn ang="0">
                  <a:pos x="12" y="0"/>
                </a:cxn>
                <a:cxn ang="0">
                  <a:pos x="18" y="4"/>
                </a:cxn>
                <a:cxn ang="0">
                  <a:pos x="20" y="10"/>
                </a:cxn>
                <a:cxn ang="0">
                  <a:pos x="22" y="16"/>
                </a:cxn>
                <a:cxn ang="0">
                  <a:pos x="24" y="18"/>
                </a:cxn>
                <a:cxn ang="0">
                  <a:pos x="26" y="22"/>
                </a:cxn>
                <a:cxn ang="0">
                  <a:pos x="32" y="26"/>
                </a:cxn>
                <a:cxn ang="0">
                  <a:pos x="36" y="36"/>
                </a:cxn>
                <a:cxn ang="0">
                  <a:pos x="36" y="40"/>
                </a:cxn>
                <a:cxn ang="0">
                  <a:pos x="32" y="50"/>
                </a:cxn>
                <a:cxn ang="0">
                  <a:pos x="30" y="56"/>
                </a:cxn>
                <a:cxn ang="0">
                  <a:pos x="26" y="58"/>
                </a:cxn>
                <a:cxn ang="0">
                  <a:pos x="26" y="60"/>
                </a:cxn>
                <a:cxn ang="0">
                  <a:pos x="26" y="62"/>
                </a:cxn>
              </a:cxnLst>
              <a:rect l="0" t="0" r="r" b="b"/>
              <a:pathLst>
                <a:path w="36" h="62">
                  <a:moveTo>
                    <a:pt x="26" y="62"/>
                  </a:moveTo>
                  <a:lnTo>
                    <a:pt x="26" y="62"/>
                  </a:lnTo>
                  <a:lnTo>
                    <a:pt x="22" y="60"/>
                  </a:lnTo>
                  <a:lnTo>
                    <a:pt x="18" y="56"/>
                  </a:lnTo>
                  <a:lnTo>
                    <a:pt x="18" y="54"/>
                  </a:lnTo>
                  <a:lnTo>
                    <a:pt x="18" y="54"/>
                  </a:lnTo>
                  <a:lnTo>
                    <a:pt x="16" y="52"/>
                  </a:lnTo>
                  <a:lnTo>
                    <a:pt x="14" y="52"/>
                  </a:lnTo>
                  <a:lnTo>
                    <a:pt x="12" y="52"/>
                  </a:lnTo>
                  <a:lnTo>
                    <a:pt x="10" y="50"/>
                  </a:lnTo>
                  <a:lnTo>
                    <a:pt x="10" y="50"/>
                  </a:lnTo>
                  <a:lnTo>
                    <a:pt x="8" y="44"/>
                  </a:lnTo>
                  <a:lnTo>
                    <a:pt x="6" y="42"/>
                  </a:lnTo>
                  <a:lnTo>
                    <a:pt x="6" y="42"/>
                  </a:lnTo>
                  <a:lnTo>
                    <a:pt x="6" y="40"/>
                  </a:lnTo>
                  <a:lnTo>
                    <a:pt x="8" y="42"/>
                  </a:lnTo>
                  <a:lnTo>
                    <a:pt x="8" y="42"/>
                  </a:lnTo>
                  <a:lnTo>
                    <a:pt x="12" y="44"/>
                  </a:lnTo>
                  <a:lnTo>
                    <a:pt x="12" y="44"/>
                  </a:lnTo>
                  <a:lnTo>
                    <a:pt x="12" y="42"/>
                  </a:lnTo>
                  <a:lnTo>
                    <a:pt x="12" y="42"/>
                  </a:lnTo>
                  <a:lnTo>
                    <a:pt x="8" y="38"/>
                  </a:lnTo>
                  <a:lnTo>
                    <a:pt x="6" y="36"/>
                  </a:lnTo>
                  <a:lnTo>
                    <a:pt x="6" y="36"/>
                  </a:lnTo>
                  <a:lnTo>
                    <a:pt x="6" y="32"/>
                  </a:lnTo>
                  <a:lnTo>
                    <a:pt x="6" y="30"/>
                  </a:lnTo>
                  <a:lnTo>
                    <a:pt x="6" y="30"/>
                  </a:lnTo>
                  <a:lnTo>
                    <a:pt x="6" y="30"/>
                  </a:lnTo>
                  <a:lnTo>
                    <a:pt x="8" y="26"/>
                  </a:lnTo>
                  <a:lnTo>
                    <a:pt x="8" y="26"/>
                  </a:lnTo>
                  <a:lnTo>
                    <a:pt x="8" y="26"/>
                  </a:lnTo>
                  <a:lnTo>
                    <a:pt x="8" y="26"/>
                  </a:lnTo>
                  <a:lnTo>
                    <a:pt x="6" y="26"/>
                  </a:lnTo>
                  <a:lnTo>
                    <a:pt x="6" y="24"/>
                  </a:lnTo>
                  <a:lnTo>
                    <a:pt x="6" y="20"/>
                  </a:lnTo>
                  <a:lnTo>
                    <a:pt x="6" y="20"/>
                  </a:lnTo>
                  <a:lnTo>
                    <a:pt x="6" y="16"/>
                  </a:lnTo>
                  <a:lnTo>
                    <a:pt x="4" y="14"/>
                  </a:lnTo>
                  <a:lnTo>
                    <a:pt x="2" y="12"/>
                  </a:lnTo>
                  <a:lnTo>
                    <a:pt x="2" y="12"/>
                  </a:lnTo>
                  <a:lnTo>
                    <a:pt x="2" y="12"/>
                  </a:lnTo>
                  <a:lnTo>
                    <a:pt x="6" y="10"/>
                  </a:lnTo>
                  <a:lnTo>
                    <a:pt x="6" y="10"/>
                  </a:lnTo>
                  <a:lnTo>
                    <a:pt x="4" y="10"/>
                  </a:lnTo>
                  <a:lnTo>
                    <a:pt x="4" y="10"/>
                  </a:lnTo>
                  <a:lnTo>
                    <a:pt x="0" y="8"/>
                  </a:lnTo>
                  <a:lnTo>
                    <a:pt x="0" y="8"/>
                  </a:lnTo>
                  <a:lnTo>
                    <a:pt x="2" y="6"/>
                  </a:lnTo>
                  <a:lnTo>
                    <a:pt x="2" y="6"/>
                  </a:lnTo>
                  <a:lnTo>
                    <a:pt x="0" y="4"/>
                  </a:lnTo>
                  <a:lnTo>
                    <a:pt x="0" y="4"/>
                  </a:lnTo>
                  <a:lnTo>
                    <a:pt x="0" y="2"/>
                  </a:lnTo>
                  <a:lnTo>
                    <a:pt x="0" y="2"/>
                  </a:lnTo>
                  <a:lnTo>
                    <a:pt x="6" y="0"/>
                  </a:lnTo>
                  <a:lnTo>
                    <a:pt x="6" y="0"/>
                  </a:lnTo>
                  <a:lnTo>
                    <a:pt x="12" y="0"/>
                  </a:lnTo>
                  <a:lnTo>
                    <a:pt x="16" y="2"/>
                  </a:lnTo>
                  <a:lnTo>
                    <a:pt x="18" y="4"/>
                  </a:lnTo>
                  <a:lnTo>
                    <a:pt x="18" y="4"/>
                  </a:lnTo>
                  <a:lnTo>
                    <a:pt x="20" y="10"/>
                  </a:lnTo>
                  <a:lnTo>
                    <a:pt x="22" y="16"/>
                  </a:lnTo>
                  <a:lnTo>
                    <a:pt x="22" y="16"/>
                  </a:lnTo>
                  <a:lnTo>
                    <a:pt x="22" y="18"/>
                  </a:lnTo>
                  <a:lnTo>
                    <a:pt x="24" y="18"/>
                  </a:lnTo>
                  <a:lnTo>
                    <a:pt x="24" y="20"/>
                  </a:lnTo>
                  <a:lnTo>
                    <a:pt x="26" y="22"/>
                  </a:lnTo>
                  <a:lnTo>
                    <a:pt x="26" y="22"/>
                  </a:lnTo>
                  <a:lnTo>
                    <a:pt x="32" y="26"/>
                  </a:lnTo>
                  <a:lnTo>
                    <a:pt x="34" y="30"/>
                  </a:lnTo>
                  <a:lnTo>
                    <a:pt x="36" y="36"/>
                  </a:lnTo>
                  <a:lnTo>
                    <a:pt x="36" y="36"/>
                  </a:lnTo>
                  <a:lnTo>
                    <a:pt x="36" y="40"/>
                  </a:lnTo>
                  <a:lnTo>
                    <a:pt x="34" y="44"/>
                  </a:lnTo>
                  <a:lnTo>
                    <a:pt x="32" y="50"/>
                  </a:lnTo>
                  <a:lnTo>
                    <a:pt x="32" y="50"/>
                  </a:lnTo>
                  <a:lnTo>
                    <a:pt x="30" y="56"/>
                  </a:lnTo>
                  <a:lnTo>
                    <a:pt x="26" y="58"/>
                  </a:lnTo>
                  <a:lnTo>
                    <a:pt x="26" y="58"/>
                  </a:lnTo>
                  <a:lnTo>
                    <a:pt x="26" y="58"/>
                  </a:lnTo>
                  <a:lnTo>
                    <a:pt x="26" y="60"/>
                  </a:lnTo>
                  <a:lnTo>
                    <a:pt x="26" y="60"/>
                  </a:lnTo>
                  <a:lnTo>
                    <a:pt x="26" y="62"/>
                  </a:lnTo>
                  <a:lnTo>
                    <a:pt x="26" y="62"/>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25"/>
            <p:cNvSpPr>
              <a:spLocks/>
            </p:cNvSpPr>
            <p:nvPr/>
          </p:nvSpPr>
          <p:spPr bwMode="auto">
            <a:xfrm>
              <a:off x="4597101" y="1914260"/>
              <a:ext cx="66146" cy="21167"/>
            </a:xfrm>
            <a:custGeom>
              <a:avLst/>
              <a:gdLst/>
              <a:ahLst/>
              <a:cxnLst>
                <a:cxn ang="0">
                  <a:pos x="2" y="14"/>
                </a:cxn>
                <a:cxn ang="0">
                  <a:pos x="2" y="14"/>
                </a:cxn>
                <a:cxn ang="0">
                  <a:pos x="4" y="12"/>
                </a:cxn>
                <a:cxn ang="0">
                  <a:pos x="8" y="12"/>
                </a:cxn>
                <a:cxn ang="0">
                  <a:pos x="8" y="12"/>
                </a:cxn>
                <a:cxn ang="0">
                  <a:pos x="8" y="10"/>
                </a:cxn>
                <a:cxn ang="0">
                  <a:pos x="6" y="10"/>
                </a:cxn>
                <a:cxn ang="0">
                  <a:pos x="2" y="10"/>
                </a:cxn>
                <a:cxn ang="0">
                  <a:pos x="2" y="10"/>
                </a:cxn>
                <a:cxn ang="0">
                  <a:pos x="2" y="10"/>
                </a:cxn>
                <a:cxn ang="0">
                  <a:pos x="0" y="8"/>
                </a:cxn>
                <a:cxn ang="0">
                  <a:pos x="0" y="8"/>
                </a:cxn>
                <a:cxn ang="0">
                  <a:pos x="0" y="8"/>
                </a:cxn>
                <a:cxn ang="0">
                  <a:pos x="4" y="8"/>
                </a:cxn>
                <a:cxn ang="0">
                  <a:pos x="4" y="8"/>
                </a:cxn>
                <a:cxn ang="0">
                  <a:pos x="8" y="8"/>
                </a:cxn>
                <a:cxn ang="0">
                  <a:pos x="10" y="6"/>
                </a:cxn>
                <a:cxn ang="0">
                  <a:pos x="10" y="6"/>
                </a:cxn>
                <a:cxn ang="0">
                  <a:pos x="14" y="4"/>
                </a:cxn>
                <a:cxn ang="0">
                  <a:pos x="18" y="2"/>
                </a:cxn>
                <a:cxn ang="0">
                  <a:pos x="18" y="2"/>
                </a:cxn>
                <a:cxn ang="0">
                  <a:pos x="20" y="0"/>
                </a:cxn>
                <a:cxn ang="0">
                  <a:pos x="20" y="0"/>
                </a:cxn>
                <a:cxn ang="0">
                  <a:pos x="20" y="4"/>
                </a:cxn>
                <a:cxn ang="0">
                  <a:pos x="20" y="6"/>
                </a:cxn>
                <a:cxn ang="0">
                  <a:pos x="24" y="2"/>
                </a:cxn>
                <a:cxn ang="0">
                  <a:pos x="24" y="2"/>
                </a:cxn>
                <a:cxn ang="0">
                  <a:pos x="28" y="4"/>
                </a:cxn>
                <a:cxn ang="0">
                  <a:pos x="30" y="4"/>
                </a:cxn>
                <a:cxn ang="0">
                  <a:pos x="30" y="4"/>
                </a:cxn>
                <a:cxn ang="0">
                  <a:pos x="38" y="4"/>
                </a:cxn>
                <a:cxn ang="0">
                  <a:pos x="44" y="2"/>
                </a:cxn>
                <a:cxn ang="0">
                  <a:pos x="48" y="4"/>
                </a:cxn>
                <a:cxn ang="0">
                  <a:pos x="48" y="4"/>
                </a:cxn>
                <a:cxn ang="0">
                  <a:pos x="50" y="6"/>
                </a:cxn>
                <a:cxn ang="0">
                  <a:pos x="50" y="8"/>
                </a:cxn>
                <a:cxn ang="0">
                  <a:pos x="48" y="12"/>
                </a:cxn>
                <a:cxn ang="0">
                  <a:pos x="48" y="12"/>
                </a:cxn>
                <a:cxn ang="0">
                  <a:pos x="46" y="14"/>
                </a:cxn>
                <a:cxn ang="0">
                  <a:pos x="42" y="14"/>
                </a:cxn>
                <a:cxn ang="0">
                  <a:pos x="38" y="12"/>
                </a:cxn>
                <a:cxn ang="0">
                  <a:pos x="32" y="14"/>
                </a:cxn>
                <a:cxn ang="0">
                  <a:pos x="32" y="14"/>
                </a:cxn>
                <a:cxn ang="0">
                  <a:pos x="28" y="16"/>
                </a:cxn>
                <a:cxn ang="0">
                  <a:pos x="22" y="16"/>
                </a:cxn>
                <a:cxn ang="0">
                  <a:pos x="16" y="14"/>
                </a:cxn>
                <a:cxn ang="0">
                  <a:pos x="2" y="14"/>
                </a:cxn>
                <a:cxn ang="0">
                  <a:pos x="2" y="14"/>
                </a:cxn>
              </a:cxnLst>
              <a:rect l="0" t="0" r="r" b="b"/>
              <a:pathLst>
                <a:path w="50" h="16">
                  <a:moveTo>
                    <a:pt x="2" y="14"/>
                  </a:moveTo>
                  <a:lnTo>
                    <a:pt x="2" y="14"/>
                  </a:lnTo>
                  <a:lnTo>
                    <a:pt x="4" y="12"/>
                  </a:lnTo>
                  <a:lnTo>
                    <a:pt x="8" y="12"/>
                  </a:lnTo>
                  <a:lnTo>
                    <a:pt x="8" y="12"/>
                  </a:lnTo>
                  <a:lnTo>
                    <a:pt x="8" y="10"/>
                  </a:lnTo>
                  <a:lnTo>
                    <a:pt x="6" y="10"/>
                  </a:lnTo>
                  <a:lnTo>
                    <a:pt x="2" y="10"/>
                  </a:lnTo>
                  <a:lnTo>
                    <a:pt x="2" y="10"/>
                  </a:lnTo>
                  <a:lnTo>
                    <a:pt x="2" y="10"/>
                  </a:lnTo>
                  <a:lnTo>
                    <a:pt x="0" y="8"/>
                  </a:lnTo>
                  <a:lnTo>
                    <a:pt x="0" y="8"/>
                  </a:lnTo>
                  <a:lnTo>
                    <a:pt x="0" y="8"/>
                  </a:lnTo>
                  <a:lnTo>
                    <a:pt x="4" y="8"/>
                  </a:lnTo>
                  <a:lnTo>
                    <a:pt x="4" y="8"/>
                  </a:lnTo>
                  <a:lnTo>
                    <a:pt x="8" y="8"/>
                  </a:lnTo>
                  <a:lnTo>
                    <a:pt x="10" y="6"/>
                  </a:lnTo>
                  <a:lnTo>
                    <a:pt x="10" y="6"/>
                  </a:lnTo>
                  <a:lnTo>
                    <a:pt x="14" y="4"/>
                  </a:lnTo>
                  <a:lnTo>
                    <a:pt x="18" y="2"/>
                  </a:lnTo>
                  <a:lnTo>
                    <a:pt x="18" y="2"/>
                  </a:lnTo>
                  <a:lnTo>
                    <a:pt x="20" y="0"/>
                  </a:lnTo>
                  <a:lnTo>
                    <a:pt x="20" y="0"/>
                  </a:lnTo>
                  <a:lnTo>
                    <a:pt x="20" y="4"/>
                  </a:lnTo>
                  <a:lnTo>
                    <a:pt x="20" y="6"/>
                  </a:lnTo>
                  <a:lnTo>
                    <a:pt x="24" y="2"/>
                  </a:lnTo>
                  <a:lnTo>
                    <a:pt x="24" y="2"/>
                  </a:lnTo>
                  <a:lnTo>
                    <a:pt x="28" y="4"/>
                  </a:lnTo>
                  <a:lnTo>
                    <a:pt x="30" y="4"/>
                  </a:lnTo>
                  <a:lnTo>
                    <a:pt x="30" y="4"/>
                  </a:lnTo>
                  <a:lnTo>
                    <a:pt x="38" y="4"/>
                  </a:lnTo>
                  <a:lnTo>
                    <a:pt x="44" y="2"/>
                  </a:lnTo>
                  <a:lnTo>
                    <a:pt x="48" y="4"/>
                  </a:lnTo>
                  <a:lnTo>
                    <a:pt x="48" y="4"/>
                  </a:lnTo>
                  <a:lnTo>
                    <a:pt x="50" y="6"/>
                  </a:lnTo>
                  <a:lnTo>
                    <a:pt x="50" y="8"/>
                  </a:lnTo>
                  <a:lnTo>
                    <a:pt x="48" y="12"/>
                  </a:lnTo>
                  <a:lnTo>
                    <a:pt x="48" y="12"/>
                  </a:lnTo>
                  <a:lnTo>
                    <a:pt x="46" y="14"/>
                  </a:lnTo>
                  <a:lnTo>
                    <a:pt x="42" y="14"/>
                  </a:lnTo>
                  <a:lnTo>
                    <a:pt x="38" y="12"/>
                  </a:lnTo>
                  <a:lnTo>
                    <a:pt x="32" y="14"/>
                  </a:lnTo>
                  <a:lnTo>
                    <a:pt x="32" y="14"/>
                  </a:lnTo>
                  <a:lnTo>
                    <a:pt x="28" y="16"/>
                  </a:lnTo>
                  <a:lnTo>
                    <a:pt x="22" y="16"/>
                  </a:lnTo>
                  <a:lnTo>
                    <a:pt x="16" y="14"/>
                  </a:lnTo>
                  <a:lnTo>
                    <a:pt x="2" y="14"/>
                  </a:lnTo>
                  <a:lnTo>
                    <a:pt x="2" y="14"/>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Belarus"/>
            <p:cNvSpPr>
              <a:spLocks/>
            </p:cNvSpPr>
            <p:nvPr/>
          </p:nvSpPr>
          <p:spPr bwMode="auto">
            <a:xfrm>
              <a:off x="4681768" y="1871927"/>
              <a:ext cx="232833" cy="129646"/>
            </a:xfrm>
            <a:custGeom>
              <a:avLst/>
              <a:gdLst/>
              <a:ahLst/>
              <a:cxnLst>
                <a:cxn ang="0">
                  <a:pos x="144" y="58"/>
                </a:cxn>
                <a:cxn ang="0">
                  <a:pos x="146" y="50"/>
                </a:cxn>
                <a:cxn ang="0">
                  <a:pos x="152" y="52"/>
                </a:cxn>
                <a:cxn ang="0">
                  <a:pos x="168" y="52"/>
                </a:cxn>
                <a:cxn ang="0">
                  <a:pos x="176" y="46"/>
                </a:cxn>
                <a:cxn ang="0">
                  <a:pos x="172" y="42"/>
                </a:cxn>
                <a:cxn ang="0">
                  <a:pos x="162" y="36"/>
                </a:cxn>
                <a:cxn ang="0">
                  <a:pos x="154" y="36"/>
                </a:cxn>
                <a:cxn ang="0">
                  <a:pos x="152" y="34"/>
                </a:cxn>
                <a:cxn ang="0">
                  <a:pos x="148" y="30"/>
                </a:cxn>
                <a:cxn ang="0">
                  <a:pos x="140" y="30"/>
                </a:cxn>
                <a:cxn ang="0">
                  <a:pos x="124" y="22"/>
                </a:cxn>
                <a:cxn ang="0">
                  <a:pos x="120" y="16"/>
                </a:cxn>
                <a:cxn ang="0">
                  <a:pos x="116" y="10"/>
                </a:cxn>
                <a:cxn ang="0">
                  <a:pos x="114" y="4"/>
                </a:cxn>
                <a:cxn ang="0">
                  <a:pos x="106" y="0"/>
                </a:cxn>
                <a:cxn ang="0">
                  <a:pos x="96" y="6"/>
                </a:cxn>
                <a:cxn ang="0">
                  <a:pos x="90" y="6"/>
                </a:cxn>
                <a:cxn ang="0">
                  <a:pos x="88" y="4"/>
                </a:cxn>
                <a:cxn ang="0">
                  <a:pos x="68" y="2"/>
                </a:cxn>
                <a:cxn ang="0">
                  <a:pos x="66" y="6"/>
                </a:cxn>
                <a:cxn ang="0">
                  <a:pos x="68" y="14"/>
                </a:cxn>
                <a:cxn ang="0">
                  <a:pos x="58" y="16"/>
                </a:cxn>
                <a:cxn ang="0">
                  <a:pos x="52" y="22"/>
                </a:cxn>
                <a:cxn ang="0">
                  <a:pos x="50" y="28"/>
                </a:cxn>
                <a:cxn ang="0">
                  <a:pos x="52" y="32"/>
                </a:cxn>
                <a:cxn ang="0">
                  <a:pos x="42" y="34"/>
                </a:cxn>
                <a:cxn ang="0">
                  <a:pos x="36" y="38"/>
                </a:cxn>
                <a:cxn ang="0">
                  <a:pos x="30" y="44"/>
                </a:cxn>
                <a:cxn ang="0">
                  <a:pos x="30" y="50"/>
                </a:cxn>
                <a:cxn ang="0">
                  <a:pos x="32" y="54"/>
                </a:cxn>
                <a:cxn ang="0">
                  <a:pos x="26" y="54"/>
                </a:cxn>
                <a:cxn ang="0">
                  <a:pos x="16" y="56"/>
                </a:cxn>
                <a:cxn ang="0">
                  <a:pos x="0" y="52"/>
                </a:cxn>
                <a:cxn ang="0">
                  <a:pos x="4" y="62"/>
                </a:cxn>
                <a:cxn ang="0">
                  <a:pos x="10" y="68"/>
                </a:cxn>
                <a:cxn ang="0">
                  <a:pos x="4" y="76"/>
                </a:cxn>
                <a:cxn ang="0">
                  <a:pos x="4" y="86"/>
                </a:cxn>
                <a:cxn ang="0">
                  <a:pos x="12" y="92"/>
                </a:cxn>
                <a:cxn ang="0">
                  <a:pos x="26" y="90"/>
                </a:cxn>
                <a:cxn ang="0">
                  <a:pos x="44" y="88"/>
                </a:cxn>
                <a:cxn ang="0">
                  <a:pos x="76" y="98"/>
                </a:cxn>
                <a:cxn ang="0">
                  <a:pos x="92" y="92"/>
                </a:cxn>
                <a:cxn ang="0">
                  <a:pos x="96" y="96"/>
                </a:cxn>
                <a:cxn ang="0">
                  <a:pos x="106" y="94"/>
                </a:cxn>
                <a:cxn ang="0">
                  <a:pos x="112" y="92"/>
                </a:cxn>
                <a:cxn ang="0">
                  <a:pos x="118" y="88"/>
                </a:cxn>
                <a:cxn ang="0">
                  <a:pos x="126" y="90"/>
                </a:cxn>
                <a:cxn ang="0">
                  <a:pos x="142" y="92"/>
                </a:cxn>
                <a:cxn ang="0">
                  <a:pos x="144" y="88"/>
                </a:cxn>
                <a:cxn ang="0">
                  <a:pos x="140" y="72"/>
                </a:cxn>
                <a:cxn ang="0">
                  <a:pos x="154" y="70"/>
                </a:cxn>
              </a:cxnLst>
              <a:rect l="0" t="0" r="r" b="b"/>
              <a:pathLst>
                <a:path w="176" h="98">
                  <a:moveTo>
                    <a:pt x="154" y="70"/>
                  </a:moveTo>
                  <a:lnTo>
                    <a:pt x="154" y="70"/>
                  </a:lnTo>
                  <a:lnTo>
                    <a:pt x="144" y="58"/>
                  </a:lnTo>
                  <a:lnTo>
                    <a:pt x="144" y="54"/>
                  </a:lnTo>
                  <a:lnTo>
                    <a:pt x="144" y="52"/>
                  </a:lnTo>
                  <a:lnTo>
                    <a:pt x="146" y="50"/>
                  </a:lnTo>
                  <a:lnTo>
                    <a:pt x="148" y="50"/>
                  </a:lnTo>
                  <a:lnTo>
                    <a:pt x="152" y="52"/>
                  </a:lnTo>
                  <a:lnTo>
                    <a:pt x="152" y="52"/>
                  </a:lnTo>
                  <a:lnTo>
                    <a:pt x="156" y="54"/>
                  </a:lnTo>
                  <a:lnTo>
                    <a:pt x="160" y="54"/>
                  </a:lnTo>
                  <a:lnTo>
                    <a:pt x="168" y="52"/>
                  </a:lnTo>
                  <a:lnTo>
                    <a:pt x="168" y="52"/>
                  </a:lnTo>
                  <a:lnTo>
                    <a:pt x="174" y="50"/>
                  </a:lnTo>
                  <a:lnTo>
                    <a:pt x="176" y="46"/>
                  </a:lnTo>
                  <a:lnTo>
                    <a:pt x="174" y="44"/>
                  </a:lnTo>
                  <a:lnTo>
                    <a:pt x="172" y="42"/>
                  </a:lnTo>
                  <a:lnTo>
                    <a:pt x="172" y="42"/>
                  </a:lnTo>
                  <a:lnTo>
                    <a:pt x="168" y="40"/>
                  </a:lnTo>
                  <a:lnTo>
                    <a:pt x="166" y="40"/>
                  </a:lnTo>
                  <a:lnTo>
                    <a:pt x="162" y="36"/>
                  </a:lnTo>
                  <a:lnTo>
                    <a:pt x="162" y="36"/>
                  </a:lnTo>
                  <a:lnTo>
                    <a:pt x="158" y="36"/>
                  </a:lnTo>
                  <a:lnTo>
                    <a:pt x="154" y="36"/>
                  </a:lnTo>
                  <a:lnTo>
                    <a:pt x="154" y="36"/>
                  </a:lnTo>
                  <a:lnTo>
                    <a:pt x="150" y="34"/>
                  </a:lnTo>
                  <a:lnTo>
                    <a:pt x="152" y="34"/>
                  </a:lnTo>
                  <a:lnTo>
                    <a:pt x="152" y="32"/>
                  </a:lnTo>
                  <a:lnTo>
                    <a:pt x="148" y="30"/>
                  </a:lnTo>
                  <a:lnTo>
                    <a:pt x="148" y="30"/>
                  </a:lnTo>
                  <a:lnTo>
                    <a:pt x="144" y="30"/>
                  </a:lnTo>
                  <a:lnTo>
                    <a:pt x="140" y="30"/>
                  </a:lnTo>
                  <a:lnTo>
                    <a:pt x="140" y="30"/>
                  </a:lnTo>
                  <a:lnTo>
                    <a:pt x="126" y="24"/>
                  </a:lnTo>
                  <a:lnTo>
                    <a:pt x="124" y="22"/>
                  </a:lnTo>
                  <a:lnTo>
                    <a:pt x="124" y="22"/>
                  </a:lnTo>
                  <a:lnTo>
                    <a:pt x="124" y="22"/>
                  </a:lnTo>
                  <a:lnTo>
                    <a:pt x="124" y="18"/>
                  </a:lnTo>
                  <a:lnTo>
                    <a:pt x="120" y="16"/>
                  </a:lnTo>
                  <a:lnTo>
                    <a:pt x="120" y="16"/>
                  </a:lnTo>
                  <a:lnTo>
                    <a:pt x="116" y="12"/>
                  </a:lnTo>
                  <a:lnTo>
                    <a:pt x="116" y="10"/>
                  </a:lnTo>
                  <a:lnTo>
                    <a:pt x="118" y="8"/>
                  </a:lnTo>
                  <a:lnTo>
                    <a:pt x="118" y="6"/>
                  </a:lnTo>
                  <a:lnTo>
                    <a:pt x="114" y="4"/>
                  </a:lnTo>
                  <a:lnTo>
                    <a:pt x="114" y="4"/>
                  </a:lnTo>
                  <a:lnTo>
                    <a:pt x="110" y="2"/>
                  </a:lnTo>
                  <a:lnTo>
                    <a:pt x="106" y="0"/>
                  </a:lnTo>
                  <a:lnTo>
                    <a:pt x="104" y="0"/>
                  </a:lnTo>
                  <a:lnTo>
                    <a:pt x="104" y="0"/>
                  </a:lnTo>
                  <a:lnTo>
                    <a:pt x="96" y="6"/>
                  </a:lnTo>
                  <a:lnTo>
                    <a:pt x="92" y="8"/>
                  </a:lnTo>
                  <a:lnTo>
                    <a:pt x="92" y="8"/>
                  </a:lnTo>
                  <a:lnTo>
                    <a:pt x="90" y="6"/>
                  </a:lnTo>
                  <a:lnTo>
                    <a:pt x="90" y="6"/>
                  </a:lnTo>
                  <a:lnTo>
                    <a:pt x="90" y="6"/>
                  </a:lnTo>
                  <a:lnTo>
                    <a:pt x="88" y="4"/>
                  </a:lnTo>
                  <a:lnTo>
                    <a:pt x="80" y="4"/>
                  </a:lnTo>
                  <a:lnTo>
                    <a:pt x="72" y="4"/>
                  </a:lnTo>
                  <a:lnTo>
                    <a:pt x="68" y="2"/>
                  </a:lnTo>
                  <a:lnTo>
                    <a:pt x="68" y="2"/>
                  </a:lnTo>
                  <a:lnTo>
                    <a:pt x="66" y="4"/>
                  </a:lnTo>
                  <a:lnTo>
                    <a:pt x="66" y="6"/>
                  </a:lnTo>
                  <a:lnTo>
                    <a:pt x="68" y="10"/>
                  </a:lnTo>
                  <a:lnTo>
                    <a:pt x="70" y="14"/>
                  </a:lnTo>
                  <a:lnTo>
                    <a:pt x="68" y="14"/>
                  </a:lnTo>
                  <a:lnTo>
                    <a:pt x="64" y="14"/>
                  </a:lnTo>
                  <a:lnTo>
                    <a:pt x="64" y="14"/>
                  </a:lnTo>
                  <a:lnTo>
                    <a:pt x="58" y="16"/>
                  </a:lnTo>
                  <a:lnTo>
                    <a:pt x="56" y="18"/>
                  </a:lnTo>
                  <a:lnTo>
                    <a:pt x="56" y="20"/>
                  </a:lnTo>
                  <a:lnTo>
                    <a:pt x="52" y="22"/>
                  </a:lnTo>
                  <a:lnTo>
                    <a:pt x="52" y="22"/>
                  </a:lnTo>
                  <a:lnTo>
                    <a:pt x="50" y="26"/>
                  </a:lnTo>
                  <a:lnTo>
                    <a:pt x="50" y="28"/>
                  </a:lnTo>
                  <a:lnTo>
                    <a:pt x="52" y="28"/>
                  </a:lnTo>
                  <a:lnTo>
                    <a:pt x="52" y="32"/>
                  </a:lnTo>
                  <a:lnTo>
                    <a:pt x="52" y="32"/>
                  </a:lnTo>
                  <a:lnTo>
                    <a:pt x="50" y="34"/>
                  </a:lnTo>
                  <a:lnTo>
                    <a:pt x="46" y="34"/>
                  </a:lnTo>
                  <a:lnTo>
                    <a:pt x="42" y="34"/>
                  </a:lnTo>
                  <a:lnTo>
                    <a:pt x="40" y="36"/>
                  </a:lnTo>
                  <a:lnTo>
                    <a:pt x="40" y="36"/>
                  </a:lnTo>
                  <a:lnTo>
                    <a:pt x="36" y="38"/>
                  </a:lnTo>
                  <a:lnTo>
                    <a:pt x="34" y="38"/>
                  </a:lnTo>
                  <a:lnTo>
                    <a:pt x="32" y="40"/>
                  </a:lnTo>
                  <a:lnTo>
                    <a:pt x="30" y="44"/>
                  </a:lnTo>
                  <a:lnTo>
                    <a:pt x="30" y="44"/>
                  </a:lnTo>
                  <a:lnTo>
                    <a:pt x="30" y="48"/>
                  </a:lnTo>
                  <a:lnTo>
                    <a:pt x="30" y="50"/>
                  </a:lnTo>
                  <a:lnTo>
                    <a:pt x="32" y="52"/>
                  </a:lnTo>
                  <a:lnTo>
                    <a:pt x="32" y="54"/>
                  </a:lnTo>
                  <a:lnTo>
                    <a:pt x="32" y="54"/>
                  </a:lnTo>
                  <a:lnTo>
                    <a:pt x="30" y="54"/>
                  </a:lnTo>
                  <a:lnTo>
                    <a:pt x="28" y="54"/>
                  </a:lnTo>
                  <a:lnTo>
                    <a:pt x="26" y="54"/>
                  </a:lnTo>
                  <a:lnTo>
                    <a:pt x="22" y="54"/>
                  </a:lnTo>
                  <a:lnTo>
                    <a:pt x="22" y="54"/>
                  </a:lnTo>
                  <a:lnTo>
                    <a:pt x="16" y="56"/>
                  </a:lnTo>
                  <a:lnTo>
                    <a:pt x="12" y="56"/>
                  </a:lnTo>
                  <a:lnTo>
                    <a:pt x="8" y="54"/>
                  </a:lnTo>
                  <a:lnTo>
                    <a:pt x="0" y="52"/>
                  </a:lnTo>
                  <a:lnTo>
                    <a:pt x="0" y="52"/>
                  </a:lnTo>
                  <a:lnTo>
                    <a:pt x="2" y="56"/>
                  </a:lnTo>
                  <a:lnTo>
                    <a:pt x="4" y="62"/>
                  </a:lnTo>
                  <a:lnTo>
                    <a:pt x="4" y="62"/>
                  </a:lnTo>
                  <a:lnTo>
                    <a:pt x="8" y="64"/>
                  </a:lnTo>
                  <a:lnTo>
                    <a:pt x="10" y="68"/>
                  </a:lnTo>
                  <a:lnTo>
                    <a:pt x="10" y="72"/>
                  </a:lnTo>
                  <a:lnTo>
                    <a:pt x="4" y="76"/>
                  </a:lnTo>
                  <a:lnTo>
                    <a:pt x="4" y="76"/>
                  </a:lnTo>
                  <a:lnTo>
                    <a:pt x="0" y="78"/>
                  </a:lnTo>
                  <a:lnTo>
                    <a:pt x="0" y="82"/>
                  </a:lnTo>
                  <a:lnTo>
                    <a:pt x="4" y="86"/>
                  </a:lnTo>
                  <a:lnTo>
                    <a:pt x="6" y="96"/>
                  </a:lnTo>
                  <a:lnTo>
                    <a:pt x="6" y="96"/>
                  </a:lnTo>
                  <a:lnTo>
                    <a:pt x="12" y="92"/>
                  </a:lnTo>
                  <a:lnTo>
                    <a:pt x="14" y="92"/>
                  </a:lnTo>
                  <a:lnTo>
                    <a:pt x="16" y="94"/>
                  </a:lnTo>
                  <a:lnTo>
                    <a:pt x="26" y="90"/>
                  </a:lnTo>
                  <a:lnTo>
                    <a:pt x="26" y="90"/>
                  </a:lnTo>
                  <a:lnTo>
                    <a:pt x="36" y="88"/>
                  </a:lnTo>
                  <a:lnTo>
                    <a:pt x="44" y="88"/>
                  </a:lnTo>
                  <a:lnTo>
                    <a:pt x="58" y="92"/>
                  </a:lnTo>
                  <a:lnTo>
                    <a:pt x="70" y="96"/>
                  </a:lnTo>
                  <a:lnTo>
                    <a:pt x="76" y="98"/>
                  </a:lnTo>
                  <a:lnTo>
                    <a:pt x="84" y="96"/>
                  </a:lnTo>
                  <a:lnTo>
                    <a:pt x="84" y="96"/>
                  </a:lnTo>
                  <a:lnTo>
                    <a:pt x="92" y="92"/>
                  </a:lnTo>
                  <a:lnTo>
                    <a:pt x="94" y="94"/>
                  </a:lnTo>
                  <a:lnTo>
                    <a:pt x="94" y="94"/>
                  </a:lnTo>
                  <a:lnTo>
                    <a:pt x="96" y="96"/>
                  </a:lnTo>
                  <a:lnTo>
                    <a:pt x="100" y="96"/>
                  </a:lnTo>
                  <a:lnTo>
                    <a:pt x="100" y="96"/>
                  </a:lnTo>
                  <a:lnTo>
                    <a:pt x="106" y="94"/>
                  </a:lnTo>
                  <a:lnTo>
                    <a:pt x="106" y="94"/>
                  </a:lnTo>
                  <a:lnTo>
                    <a:pt x="108" y="96"/>
                  </a:lnTo>
                  <a:lnTo>
                    <a:pt x="112" y="92"/>
                  </a:lnTo>
                  <a:lnTo>
                    <a:pt x="112" y="92"/>
                  </a:lnTo>
                  <a:lnTo>
                    <a:pt x="116" y="88"/>
                  </a:lnTo>
                  <a:lnTo>
                    <a:pt x="118" y="88"/>
                  </a:lnTo>
                  <a:lnTo>
                    <a:pt x="120" y="90"/>
                  </a:lnTo>
                  <a:lnTo>
                    <a:pt x="126" y="90"/>
                  </a:lnTo>
                  <a:lnTo>
                    <a:pt x="126" y="90"/>
                  </a:lnTo>
                  <a:lnTo>
                    <a:pt x="132" y="90"/>
                  </a:lnTo>
                  <a:lnTo>
                    <a:pt x="138" y="92"/>
                  </a:lnTo>
                  <a:lnTo>
                    <a:pt x="142" y="92"/>
                  </a:lnTo>
                  <a:lnTo>
                    <a:pt x="144" y="90"/>
                  </a:lnTo>
                  <a:lnTo>
                    <a:pt x="144" y="88"/>
                  </a:lnTo>
                  <a:lnTo>
                    <a:pt x="144" y="88"/>
                  </a:lnTo>
                  <a:lnTo>
                    <a:pt x="142" y="82"/>
                  </a:lnTo>
                  <a:lnTo>
                    <a:pt x="140" y="76"/>
                  </a:lnTo>
                  <a:lnTo>
                    <a:pt x="140" y="72"/>
                  </a:lnTo>
                  <a:lnTo>
                    <a:pt x="142" y="70"/>
                  </a:lnTo>
                  <a:lnTo>
                    <a:pt x="146" y="70"/>
                  </a:lnTo>
                  <a:lnTo>
                    <a:pt x="154" y="70"/>
                  </a:lnTo>
                  <a:lnTo>
                    <a:pt x="154" y="70"/>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Geogia"/>
            <p:cNvSpPr>
              <a:spLocks/>
            </p:cNvSpPr>
            <p:nvPr/>
          </p:nvSpPr>
          <p:spPr bwMode="auto">
            <a:xfrm>
              <a:off x="5118330" y="2200010"/>
              <a:ext cx="203729" cy="79375"/>
            </a:xfrm>
            <a:custGeom>
              <a:avLst/>
              <a:gdLst/>
              <a:ahLst/>
              <a:cxnLst>
                <a:cxn ang="0">
                  <a:pos x="0" y="2"/>
                </a:cxn>
                <a:cxn ang="0">
                  <a:pos x="10" y="6"/>
                </a:cxn>
                <a:cxn ang="0">
                  <a:pos x="28" y="16"/>
                </a:cxn>
                <a:cxn ang="0">
                  <a:pos x="36" y="20"/>
                </a:cxn>
                <a:cxn ang="0">
                  <a:pos x="44" y="22"/>
                </a:cxn>
                <a:cxn ang="0">
                  <a:pos x="46" y="26"/>
                </a:cxn>
                <a:cxn ang="0">
                  <a:pos x="50" y="30"/>
                </a:cxn>
                <a:cxn ang="0">
                  <a:pos x="54" y="38"/>
                </a:cxn>
                <a:cxn ang="0">
                  <a:pos x="54" y="48"/>
                </a:cxn>
                <a:cxn ang="0">
                  <a:pos x="62" y="48"/>
                </a:cxn>
                <a:cxn ang="0">
                  <a:pos x="78" y="52"/>
                </a:cxn>
                <a:cxn ang="0">
                  <a:pos x="88" y="50"/>
                </a:cxn>
                <a:cxn ang="0">
                  <a:pos x="92" y="50"/>
                </a:cxn>
                <a:cxn ang="0">
                  <a:pos x="90" y="56"/>
                </a:cxn>
                <a:cxn ang="0">
                  <a:pos x="94" y="60"/>
                </a:cxn>
                <a:cxn ang="0">
                  <a:pos x="100" y="60"/>
                </a:cxn>
                <a:cxn ang="0">
                  <a:pos x="128" y="58"/>
                </a:cxn>
                <a:cxn ang="0">
                  <a:pos x="138" y="58"/>
                </a:cxn>
                <a:cxn ang="0">
                  <a:pos x="148" y="60"/>
                </a:cxn>
                <a:cxn ang="0">
                  <a:pos x="154" y="60"/>
                </a:cxn>
                <a:cxn ang="0">
                  <a:pos x="152" y="54"/>
                </a:cxn>
                <a:cxn ang="0">
                  <a:pos x="150" y="46"/>
                </a:cxn>
                <a:cxn ang="0">
                  <a:pos x="128" y="32"/>
                </a:cxn>
                <a:cxn ang="0">
                  <a:pos x="116" y="24"/>
                </a:cxn>
                <a:cxn ang="0">
                  <a:pos x="108" y="22"/>
                </a:cxn>
                <a:cxn ang="0">
                  <a:pos x="94" y="24"/>
                </a:cxn>
                <a:cxn ang="0">
                  <a:pos x="78" y="18"/>
                </a:cxn>
                <a:cxn ang="0">
                  <a:pos x="72" y="14"/>
                </a:cxn>
                <a:cxn ang="0">
                  <a:pos x="54" y="10"/>
                </a:cxn>
                <a:cxn ang="0">
                  <a:pos x="24" y="4"/>
                </a:cxn>
                <a:cxn ang="0">
                  <a:pos x="14" y="0"/>
                </a:cxn>
                <a:cxn ang="0">
                  <a:pos x="2" y="2"/>
                </a:cxn>
                <a:cxn ang="0">
                  <a:pos x="0" y="2"/>
                </a:cxn>
              </a:cxnLst>
              <a:rect l="0" t="0" r="r" b="b"/>
              <a:pathLst>
                <a:path w="154" h="60">
                  <a:moveTo>
                    <a:pt x="0" y="2"/>
                  </a:moveTo>
                  <a:lnTo>
                    <a:pt x="0" y="2"/>
                  </a:lnTo>
                  <a:lnTo>
                    <a:pt x="6" y="6"/>
                  </a:lnTo>
                  <a:lnTo>
                    <a:pt x="10" y="6"/>
                  </a:lnTo>
                  <a:lnTo>
                    <a:pt x="16" y="8"/>
                  </a:lnTo>
                  <a:lnTo>
                    <a:pt x="28" y="16"/>
                  </a:lnTo>
                  <a:lnTo>
                    <a:pt x="28" y="16"/>
                  </a:lnTo>
                  <a:lnTo>
                    <a:pt x="36" y="20"/>
                  </a:lnTo>
                  <a:lnTo>
                    <a:pt x="40" y="20"/>
                  </a:lnTo>
                  <a:lnTo>
                    <a:pt x="44" y="22"/>
                  </a:lnTo>
                  <a:lnTo>
                    <a:pt x="46" y="26"/>
                  </a:lnTo>
                  <a:lnTo>
                    <a:pt x="46" y="26"/>
                  </a:lnTo>
                  <a:lnTo>
                    <a:pt x="48" y="28"/>
                  </a:lnTo>
                  <a:lnTo>
                    <a:pt x="50" y="30"/>
                  </a:lnTo>
                  <a:lnTo>
                    <a:pt x="52" y="32"/>
                  </a:lnTo>
                  <a:lnTo>
                    <a:pt x="54" y="38"/>
                  </a:lnTo>
                  <a:lnTo>
                    <a:pt x="54" y="38"/>
                  </a:lnTo>
                  <a:lnTo>
                    <a:pt x="54" y="48"/>
                  </a:lnTo>
                  <a:lnTo>
                    <a:pt x="54" y="48"/>
                  </a:lnTo>
                  <a:lnTo>
                    <a:pt x="62" y="48"/>
                  </a:lnTo>
                  <a:lnTo>
                    <a:pt x="68" y="50"/>
                  </a:lnTo>
                  <a:lnTo>
                    <a:pt x="78" y="52"/>
                  </a:lnTo>
                  <a:lnTo>
                    <a:pt x="88" y="50"/>
                  </a:lnTo>
                  <a:lnTo>
                    <a:pt x="88" y="50"/>
                  </a:lnTo>
                  <a:lnTo>
                    <a:pt x="92" y="48"/>
                  </a:lnTo>
                  <a:lnTo>
                    <a:pt x="92" y="50"/>
                  </a:lnTo>
                  <a:lnTo>
                    <a:pt x="92" y="52"/>
                  </a:lnTo>
                  <a:lnTo>
                    <a:pt x="90" y="56"/>
                  </a:lnTo>
                  <a:lnTo>
                    <a:pt x="92" y="58"/>
                  </a:lnTo>
                  <a:lnTo>
                    <a:pt x="94" y="60"/>
                  </a:lnTo>
                  <a:lnTo>
                    <a:pt x="100" y="60"/>
                  </a:lnTo>
                  <a:lnTo>
                    <a:pt x="100" y="60"/>
                  </a:lnTo>
                  <a:lnTo>
                    <a:pt x="118" y="60"/>
                  </a:lnTo>
                  <a:lnTo>
                    <a:pt x="128" y="58"/>
                  </a:lnTo>
                  <a:lnTo>
                    <a:pt x="128" y="58"/>
                  </a:lnTo>
                  <a:lnTo>
                    <a:pt x="138" y="58"/>
                  </a:lnTo>
                  <a:lnTo>
                    <a:pt x="144" y="58"/>
                  </a:lnTo>
                  <a:lnTo>
                    <a:pt x="148" y="60"/>
                  </a:lnTo>
                  <a:lnTo>
                    <a:pt x="154" y="60"/>
                  </a:lnTo>
                  <a:lnTo>
                    <a:pt x="154" y="60"/>
                  </a:lnTo>
                  <a:lnTo>
                    <a:pt x="154" y="58"/>
                  </a:lnTo>
                  <a:lnTo>
                    <a:pt x="152" y="54"/>
                  </a:lnTo>
                  <a:lnTo>
                    <a:pt x="150" y="46"/>
                  </a:lnTo>
                  <a:lnTo>
                    <a:pt x="150" y="46"/>
                  </a:lnTo>
                  <a:lnTo>
                    <a:pt x="134" y="38"/>
                  </a:lnTo>
                  <a:lnTo>
                    <a:pt x="128" y="32"/>
                  </a:lnTo>
                  <a:lnTo>
                    <a:pt x="124" y="28"/>
                  </a:lnTo>
                  <a:lnTo>
                    <a:pt x="116" y="24"/>
                  </a:lnTo>
                  <a:lnTo>
                    <a:pt x="116" y="24"/>
                  </a:lnTo>
                  <a:lnTo>
                    <a:pt x="108" y="22"/>
                  </a:lnTo>
                  <a:lnTo>
                    <a:pt x="102" y="22"/>
                  </a:lnTo>
                  <a:lnTo>
                    <a:pt x="94" y="24"/>
                  </a:lnTo>
                  <a:lnTo>
                    <a:pt x="88" y="24"/>
                  </a:lnTo>
                  <a:lnTo>
                    <a:pt x="78" y="18"/>
                  </a:lnTo>
                  <a:lnTo>
                    <a:pt x="78" y="18"/>
                  </a:lnTo>
                  <a:lnTo>
                    <a:pt x="72" y="14"/>
                  </a:lnTo>
                  <a:lnTo>
                    <a:pt x="66" y="12"/>
                  </a:lnTo>
                  <a:lnTo>
                    <a:pt x="54" y="10"/>
                  </a:lnTo>
                  <a:lnTo>
                    <a:pt x="40" y="8"/>
                  </a:lnTo>
                  <a:lnTo>
                    <a:pt x="24" y="4"/>
                  </a:lnTo>
                  <a:lnTo>
                    <a:pt x="24" y="4"/>
                  </a:lnTo>
                  <a:lnTo>
                    <a:pt x="14" y="0"/>
                  </a:lnTo>
                  <a:lnTo>
                    <a:pt x="6" y="0"/>
                  </a:lnTo>
                  <a:lnTo>
                    <a:pt x="2" y="2"/>
                  </a:lnTo>
                  <a:lnTo>
                    <a:pt x="0" y="2"/>
                  </a:lnTo>
                  <a:lnTo>
                    <a:pt x="0" y="2"/>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39"/>
            <p:cNvSpPr>
              <a:spLocks/>
            </p:cNvSpPr>
            <p:nvPr/>
          </p:nvSpPr>
          <p:spPr bwMode="auto">
            <a:xfrm>
              <a:off x="4798184" y="2075656"/>
              <a:ext cx="79375" cy="84667"/>
            </a:xfrm>
            <a:custGeom>
              <a:avLst/>
              <a:gdLst/>
              <a:ahLst/>
              <a:cxnLst>
                <a:cxn ang="0">
                  <a:pos x="30" y="64"/>
                </a:cxn>
                <a:cxn ang="0">
                  <a:pos x="32" y="64"/>
                </a:cxn>
                <a:cxn ang="0">
                  <a:pos x="34" y="64"/>
                </a:cxn>
                <a:cxn ang="0">
                  <a:pos x="38" y="58"/>
                </a:cxn>
                <a:cxn ang="0">
                  <a:pos x="40" y="50"/>
                </a:cxn>
                <a:cxn ang="0">
                  <a:pos x="44" y="52"/>
                </a:cxn>
                <a:cxn ang="0">
                  <a:pos x="48" y="52"/>
                </a:cxn>
                <a:cxn ang="0">
                  <a:pos x="48" y="52"/>
                </a:cxn>
                <a:cxn ang="0">
                  <a:pos x="52" y="54"/>
                </a:cxn>
                <a:cxn ang="0">
                  <a:pos x="54" y="54"/>
                </a:cxn>
                <a:cxn ang="0">
                  <a:pos x="60" y="52"/>
                </a:cxn>
                <a:cxn ang="0">
                  <a:pos x="58" y="52"/>
                </a:cxn>
                <a:cxn ang="0">
                  <a:pos x="56" y="46"/>
                </a:cxn>
                <a:cxn ang="0">
                  <a:pos x="52" y="38"/>
                </a:cxn>
                <a:cxn ang="0">
                  <a:pos x="52" y="36"/>
                </a:cxn>
                <a:cxn ang="0">
                  <a:pos x="50" y="32"/>
                </a:cxn>
                <a:cxn ang="0">
                  <a:pos x="48" y="28"/>
                </a:cxn>
                <a:cxn ang="0">
                  <a:pos x="46" y="20"/>
                </a:cxn>
                <a:cxn ang="0">
                  <a:pos x="46" y="16"/>
                </a:cxn>
                <a:cxn ang="0">
                  <a:pos x="44" y="14"/>
                </a:cxn>
                <a:cxn ang="0">
                  <a:pos x="44" y="12"/>
                </a:cxn>
                <a:cxn ang="0">
                  <a:pos x="42" y="12"/>
                </a:cxn>
                <a:cxn ang="0">
                  <a:pos x="38" y="10"/>
                </a:cxn>
                <a:cxn ang="0">
                  <a:pos x="34" y="8"/>
                </a:cxn>
                <a:cxn ang="0">
                  <a:pos x="32" y="8"/>
                </a:cxn>
                <a:cxn ang="0">
                  <a:pos x="30" y="6"/>
                </a:cxn>
                <a:cxn ang="0">
                  <a:pos x="28" y="6"/>
                </a:cxn>
                <a:cxn ang="0">
                  <a:pos x="20" y="2"/>
                </a:cxn>
                <a:cxn ang="0">
                  <a:pos x="10" y="4"/>
                </a:cxn>
                <a:cxn ang="0">
                  <a:pos x="4" y="6"/>
                </a:cxn>
                <a:cxn ang="0">
                  <a:pos x="0" y="6"/>
                </a:cxn>
                <a:cxn ang="0">
                  <a:pos x="6" y="16"/>
                </a:cxn>
                <a:cxn ang="0">
                  <a:pos x="8" y="18"/>
                </a:cxn>
                <a:cxn ang="0">
                  <a:pos x="10" y="24"/>
                </a:cxn>
                <a:cxn ang="0">
                  <a:pos x="14" y="26"/>
                </a:cxn>
                <a:cxn ang="0">
                  <a:pos x="16" y="28"/>
                </a:cxn>
                <a:cxn ang="0">
                  <a:pos x="16" y="30"/>
                </a:cxn>
                <a:cxn ang="0">
                  <a:pos x="20" y="34"/>
                </a:cxn>
                <a:cxn ang="0">
                  <a:pos x="20" y="36"/>
                </a:cxn>
                <a:cxn ang="0">
                  <a:pos x="20" y="40"/>
                </a:cxn>
                <a:cxn ang="0">
                  <a:pos x="20" y="42"/>
                </a:cxn>
                <a:cxn ang="0">
                  <a:pos x="20" y="44"/>
                </a:cxn>
                <a:cxn ang="0">
                  <a:pos x="22" y="50"/>
                </a:cxn>
                <a:cxn ang="0">
                  <a:pos x="22" y="50"/>
                </a:cxn>
                <a:cxn ang="0">
                  <a:pos x="26" y="52"/>
                </a:cxn>
                <a:cxn ang="0">
                  <a:pos x="26" y="54"/>
                </a:cxn>
                <a:cxn ang="0">
                  <a:pos x="28" y="58"/>
                </a:cxn>
                <a:cxn ang="0">
                  <a:pos x="28" y="60"/>
                </a:cxn>
                <a:cxn ang="0">
                  <a:pos x="30" y="64"/>
                </a:cxn>
              </a:cxnLst>
              <a:rect l="0" t="0" r="r" b="b"/>
              <a:pathLst>
                <a:path w="60" h="64">
                  <a:moveTo>
                    <a:pt x="30" y="64"/>
                  </a:moveTo>
                  <a:lnTo>
                    <a:pt x="30" y="64"/>
                  </a:lnTo>
                  <a:lnTo>
                    <a:pt x="32" y="64"/>
                  </a:lnTo>
                  <a:lnTo>
                    <a:pt x="32" y="64"/>
                  </a:lnTo>
                  <a:lnTo>
                    <a:pt x="34" y="64"/>
                  </a:lnTo>
                  <a:lnTo>
                    <a:pt x="34" y="64"/>
                  </a:lnTo>
                  <a:lnTo>
                    <a:pt x="38" y="62"/>
                  </a:lnTo>
                  <a:lnTo>
                    <a:pt x="38" y="58"/>
                  </a:lnTo>
                  <a:lnTo>
                    <a:pt x="40" y="50"/>
                  </a:lnTo>
                  <a:lnTo>
                    <a:pt x="40" y="50"/>
                  </a:lnTo>
                  <a:lnTo>
                    <a:pt x="42" y="50"/>
                  </a:lnTo>
                  <a:lnTo>
                    <a:pt x="44" y="52"/>
                  </a:lnTo>
                  <a:lnTo>
                    <a:pt x="46" y="52"/>
                  </a:lnTo>
                  <a:lnTo>
                    <a:pt x="48" y="52"/>
                  </a:lnTo>
                  <a:lnTo>
                    <a:pt x="48" y="52"/>
                  </a:lnTo>
                  <a:lnTo>
                    <a:pt x="48" y="52"/>
                  </a:lnTo>
                  <a:lnTo>
                    <a:pt x="50" y="54"/>
                  </a:lnTo>
                  <a:lnTo>
                    <a:pt x="52" y="54"/>
                  </a:lnTo>
                  <a:lnTo>
                    <a:pt x="54" y="54"/>
                  </a:lnTo>
                  <a:lnTo>
                    <a:pt x="54" y="54"/>
                  </a:lnTo>
                  <a:lnTo>
                    <a:pt x="58" y="52"/>
                  </a:lnTo>
                  <a:lnTo>
                    <a:pt x="60" y="52"/>
                  </a:lnTo>
                  <a:lnTo>
                    <a:pt x="58" y="52"/>
                  </a:lnTo>
                  <a:lnTo>
                    <a:pt x="58" y="52"/>
                  </a:lnTo>
                  <a:lnTo>
                    <a:pt x="56" y="48"/>
                  </a:lnTo>
                  <a:lnTo>
                    <a:pt x="56" y="46"/>
                  </a:lnTo>
                  <a:lnTo>
                    <a:pt x="54" y="42"/>
                  </a:lnTo>
                  <a:lnTo>
                    <a:pt x="52" y="38"/>
                  </a:lnTo>
                  <a:lnTo>
                    <a:pt x="52" y="38"/>
                  </a:lnTo>
                  <a:lnTo>
                    <a:pt x="52" y="36"/>
                  </a:lnTo>
                  <a:lnTo>
                    <a:pt x="52" y="34"/>
                  </a:lnTo>
                  <a:lnTo>
                    <a:pt x="50" y="32"/>
                  </a:lnTo>
                  <a:lnTo>
                    <a:pt x="48" y="28"/>
                  </a:lnTo>
                  <a:lnTo>
                    <a:pt x="48" y="28"/>
                  </a:lnTo>
                  <a:lnTo>
                    <a:pt x="46" y="22"/>
                  </a:lnTo>
                  <a:lnTo>
                    <a:pt x="46" y="20"/>
                  </a:lnTo>
                  <a:lnTo>
                    <a:pt x="46" y="18"/>
                  </a:lnTo>
                  <a:lnTo>
                    <a:pt x="46" y="16"/>
                  </a:lnTo>
                  <a:lnTo>
                    <a:pt x="46" y="16"/>
                  </a:lnTo>
                  <a:lnTo>
                    <a:pt x="44" y="14"/>
                  </a:lnTo>
                  <a:lnTo>
                    <a:pt x="46" y="14"/>
                  </a:lnTo>
                  <a:lnTo>
                    <a:pt x="44" y="12"/>
                  </a:lnTo>
                  <a:lnTo>
                    <a:pt x="42" y="12"/>
                  </a:lnTo>
                  <a:lnTo>
                    <a:pt x="42" y="12"/>
                  </a:lnTo>
                  <a:lnTo>
                    <a:pt x="40" y="10"/>
                  </a:lnTo>
                  <a:lnTo>
                    <a:pt x="38" y="10"/>
                  </a:lnTo>
                  <a:lnTo>
                    <a:pt x="36" y="8"/>
                  </a:lnTo>
                  <a:lnTo>
                    <a:pt x="34" y="8"/>
                  </a:lnTo>
                  <a:lnTo>
                    <a:pt x="34" y="8"/>
                  </a:lnTo>
                  <a:lnTo>
                    <a:pt x="32" y="8"/>
                  </a:lnTo>
                  <a:lnTo>
                    <a:pt x="30" y="6"/>
                  </a:lnTo>
                  <a:lnTo>
                    <a:pt x="30" y="6"/>
                  </a:lnTo>
                  <a:lnTo>
                    <a:pt x="28" y="6"/>
                  </a:lnTo>
                  <a:lnTo>
                    <a:pt x="28" y="6"/>
                  </a:lnTo>
                  <a:lnTo>
                    <a:pt x="24" y="4"/>
                  </a:lnTo>
                  <a:lnTo>
                    <a:pt x="20" y="2"/>
                  </a:lnTo>
                  <a:lnTo>
                    <a:pt x="16" y="0"/>
                  </a:lnTo>
                  <a:lnTo>
                    <a:pt x="10" y="4"/>
                  </a:lnTo>
                  <a:lnTo>
                    <a:pt x="10" y="4"/>
                  </a:lnTo>
                  <a:lnTo>
                    <a:pt x="4" y="6"/>
                  </a:lnTo>
                  <a:lnTo>
                    <a:pt x="0" y="6"/>
                  </a:lnTo>
                  <a:lnTo>
                    <a:pt x="0" y="6"/>
                  </a:lnTo>
                  <a:lnTo>
                    <a:pt x="4" y="12"/>
                  </a:lnTo>
                  <a:lnTo>
                    <a:pt x="6" y="16"/>
                  </a:lnTo>
                  <a:lnTo>
                    <a:pt x="6" y="16"/>
                  </a:lnTo>
                  <a:lnTo>
                    <a:pt x="8" y="18"/>
                  </a:lnTo>
                  <a:lnTo>
                    <a:pt x="10" y="24"/>
                  </a:lnTo>
                  <a:lnTo>
                    <a:pt x="10" y="24"/>
                  </a:lnTo>
                  <a:lnTo>
                    <a:pt x="12" y="26"/>
                  </a:lnTo>
                  <a:lnTo>
                    <a:pt x="14" y="26"/>
                  </a:lnTo>
                  <a:lnTo>
                    <a:pt x="16" y="28"/>
                  </a:lnTo>
                  <a:lnTo>
                    <a:pt x="16" y="28"/>
                  </a:lnTo>
                  <a:lnTo>
                    <a:pt x="16" y="28"/>
                  </a:lnTo>
                  <a:lnTo>
                    <a:pt x="16" y="30"/>
                  </a:lnTo>
                  <a:lnTo>
                    <a:pt x="18" y="32"/>
                  </a:lnTo>
                  <a:lnTo>
                    <a:pt x="20" y="34"/>
                  </a:lnTo>
                  <a:lnTo>
                    <a:pt x="20" y="36"/>
                  </a:lnTo>
                  <a:lnTo>
                    <a:pt x="20" y="36"/>
                  </a:lnTo>
                  <a:lnTo>
                    <a:pt x="20" y="38"/>
                  </a:lnTo>
                  <a:lnTo>
                    <a:pt x="20" y="40"/>
                  </a:lnTo>
                  <a:lnTo>
                    <a:pt x="20" y="42"/>
                  </a:lnTo>
                  <a:lnTo>
                    <a:pt x="20" y="42"/>
                  </a:lnTo>
                  <a:lnTo>
                    <a:pt x="20" y="42"/>
                  </a:lnTo>
                  <a:lnTo>
                    <a:pt x="20" y="44"/>
                  </a:lnTo>
                  <a:lnTo>
                    <a:pt x="22" y="46"/>
                  </a:lnTo>
                  <a:lnTo>
                    <a:pt x="22" y="50"/>
                  </a:lnTo>
                  <a:lnTo>
                    <a:pt x="22" y="50"/>
                  </a:lnTo>
                  <a:lnTo>
                    <a:pt x="22" y="50"/>
                  </a:lnTo>
                  <a:lnTo>
                    <a:pt x="24" y="52"/>
                  </a:lnTo>
                  <a:lnTo>
                    <a:pt x="26" y="52"/>
                  </a:lnTo>
                  <a:lnTo>
                    <a:pt x="26" y="54"/>
                  </a:lnTo>
                  <a:lnTo>
                    <a:pt x="26" y="54"/>
                  </a:lnTo>
                  <a:lnTo>
                    <a:pt x="28" y="56"/>
                  </a:lnTo>
                  <a:lnTo>
                    <a:pt x="28" y="58"/>
                  </a:lnTo>
                  <a:lnTo>
                    <a:pt x="28" y="58"/>
                  </a:lnTo>
                  <a:lnTo>
                    <a:pt x="28" y="60"/>
                  </a:lnTo>
                  <a:lnTo>
                    <a:pt x="30" y="64"/>
                  </a:lnTo>
                  <a:lnTo>
                    <a:pt x="30" y="64"/>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5" name="Lebanon"/>
            <p:cNvSpPr>
              <a:spLocks/>
            </p:cNvSpPr>
            <p:nvPr/>
          </p:nvSpPr>
          <p:spPr bwMode="auto">
            <a:xfrm>
              <a:off x="5065413" y="2475177"/>
              <a:ext cx="47625" cy="44979"/>
            </a:xfrm>
            <a:custGeom>
              <a:avLst/>
              <a:gdLst/>
              <a:ahLst/>
              <a:cxnLst>
                <a:cxn ang="0">
                  <a:pos x="14" y="4"/>
                </a:cxn>
                <a:cxn ang="0">
                  <a:pos x="14" y="4"/>
                </a:cxn>
                <a:cxn ang="0">
                  <a:pos x="12" y="8"/>
                </a:cxn>
                <a:cxn ang="0">
                  <a:pos x="10" y="10"/>
                </a:cxn>
                <a:cxn ang="0">
                  <a:pos x="8" y="12"/>
                </a:cxn>
                <a:cxn ang="0">
                  <a:pos x="6" y="16"/>
                </a:cxn>
                <a:cxn ang="0">
                  <a:pos x="6" y="16"/>
                </a:cxn>
                <a:cxn ang="0">
                  <a:pos x="4" y="22"/>
                </a:cxn>
                <a:cxn ang="0">
                  <a:pos x="2" y="24"/>
                </a:cxn>
                <a:cxn ang="0">
                  <a:pos x="0" y="28"/>
                </a:cxn>
                <a:cxn ang="0">
                  <a:pos x="0" y="34"/>
                </a:cxn>
                <a:cxn ang="0">
                  <a:pos x="18" y="34"/>
                </a:cxn>
                <a:cxn ang="0">
                  <a:pos x="18" y="34"/>
                </a:cxn>
                <a:cxn ang="0">
                  <a:pos x="22" y="30"/>
                </a:cxn>
                <a:cxn ang="0">
                  <a:pos x="22" y="28"/>
                </a:cxn>
                <a:cxn ang="0">
                  <a:pos x="20" y="26"/>
                </a:cxn>
                <a:cxn ang="0">
                  <a:pos x="22" y="24"/>
                </a:cxn>
                <a:cxn ang="0">
                  <a:pos x="22" y="24"/>
                </a:cxn>
                <a:cxn ang="0">
                  <a:pos x="26" y="22"/>
                </a:cxn>
                <a:cxn ang="0">
                  <a:pos x="28" y="22"/>
                </a:cxn>
                <a:cxn ang="0">
                  <a:pos x="30" y="22"/>
                </a:cxn>
                <a:cxn ang="0">
                  <a:pos x="32" y="22"/>
                </a:cxn>
                <a:cxn ang="0">
                  <a:pos x="32" y="22"/>
                </a:cxn>
                <a:cxn ang="0">
                  <a:pos x="34" y="20"/>
                </a:cxn>
                <a:cxn ang="0">
                  <a:pos x="32" y="18"/>
                </a:cxn>
                <a:cxn ang="0">
                  <a:pos x="32" y="16"/>
                </a:cxn>
                <a:cxn ang="0">
                  <a:pos x="34" y="14"/>
                </a:cxn>
                <a:cxn ang="0">
                  <a:pos x="34" y="14"/>
                </a:cxn>
                <a:cxn ang="0">
                  <a:pos x="36" y="12"/>
                </a:cxn>
                <a:cxn ang="0">
                  <a:pos x="36" y="10"/>
                </a:cxn>
                <a:cxn ang="0">
                  <a:pos x="34" y="6"/>
                </a:cxn>
                <a:cxn ang="0">
                  <a:pos x="30" y="2"/>
                </a:cxn>
                <a:cxn ang="0">
                  <a:pos x="26" y="0"/>
                </a:cxn>
                <a:cxn ang="0">
                  <a:pos x="26" y="0"/>
                </a:cxn>
                <a:cxn ang="0">
                  <a:pos x="20" y="0"/>
                </a:cxn>
                <a:cxn ang="0">
                  <a:pos x="14" y="4"/>
                </a:cxn>
                <a:cxn ang="0">
                  <a:pos x="14" y="4"/>
                </a:cxn>
              </a:cxnLst>
              <a:rect l="0" t="0" r="r" b="b"/>
              <a:pathLst>
                <a:path w="36" h="34">
                  <a:moveTo>
                    <a:pt x="14" y="4"/>
                  </a:moveTo>
                  <a:lnTo>
                    <a:pt x="14" y="4"/>
                  </a:lnTo>
                  <a:lnTo>
                    <a:pt x="12" y="8"/>
                  </a:lnTo>
                  <a:lnTo>
                    <a:pt x="10" y="10"/>
                  </a:lnTo>
                  <a:lnTo>
                    <a:pt x="8" y="12"/>
                  </a:lnTo>
                  <a:lnTo>
                    <a:pt x="6" y="16"/>
                  </a:lnTo>
                  <a:lnTo>
                    <a:pt x="6" y="16"/>
                  </a:lnTo>
                  <a:lnTo>
                    <a:pt x="4" y="22"/>
                  </a:lnTo>
                  <a:lnTo>
                    <a:pt x="2" y="24"/>
                  </a:lnTo>
                  <a:lnTo>
                    <a:pt x="0" y="28"/>
                  </a:lnTo>
                  <a:lnTo>
                    <a:pt x="0" y="34"/>
                  </a:lnTo>
                  <a:lnTo>
                    <a:pt x="18" y="34"/>
                  </a:lnTo>
                  <a:lnTo>
                    <a:pt x="18" y="34"/>
                  </a:lnTo>
                  <a:lnTo>
                    <a:pt x="22" y="30"/>
                  </a:lnTo>
                  <a:lnTo>
                    <a:pt x="22" y="28"/>
                  </a:lnTo>
                  <a:lnTo>
                    <a:pt x="20" y="26"/>
                  </a:lnTo>
                  <a:lnTo>
                    <a:pt x="22" y="24"/>
                  </a:lnTo>
                  <a:lnTo>
                    <a:pt x="22" y="24"/>
                  </a:lnTo>
                  <a:lnTo>
                    <a:pt x="26" y="22"/>
                  </a:lnTo>
                  <a:lnTo>
                    <a:pt x="28" y="22"/>
                  </a:lnTo>
                  <a:lnTo>
                    <a:pt x="30" y="22"/>
                  </a:lnTo>
                  <a:lnTo>
                    <a:pt x="32" y="22"/>
                  </a:lnTo>
                  <a:lnTo>
                    <a:pt x="32" y="22"/>
                  </a:lnTo>
                  <a:lnTo>
                    <a:pt x="34" y="20"/>
                  </a:lnTo>
                  <a:lnTo>
                    <a:pt x="32" y="18"/>
                  </a:lnTo>
                  <a:lnTo>
                    <a:pt x="32" y="16"/>
                  </a:lnTo>
                  <a:lnTo>
                    <a:pt x="34" y="14"/>
                  </a:lnTo>
                  <a:lnTo>
                    <a:pt x="34" y="14"/>
                  </a:lnTo>
                  <a:lnTo>
                    <a:pt x="36" y="12"/>
                  </a:lnTo>
                  <a:lnTo>
                    <a:pt x="36" y="10"/>
                  </a:lnTo>
                  <a:lnTo>
                    <a:pt x="34" y="6"/>
                  </a:lnTo>
                  <a:lnTo>
                    <a:pt x="30" y="2"/>
                  </a:lnTo>
                  <a:lnTo>
                    <a:pt x="26" y="0"/>
                  </a:lnTo>
                  <a:lnTo>
                    <a:pt x="26" y="0"/>
                  </a:lnTo>
                  <a:lnTo>
                    <a:pt x="20" y="0"/>
                  </a:lnTo>
                  <a:lnTo>
                    <a:pt x="14" y="4"/>
                  </a:lnTo>
                  <a:lnTo>
                    <a:pt x="14" y="4"/>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242"/>
            <p:cNvSpPr>
              <a:spLocks/>
            </p:cNvSpPr>
            <p:nvPr/>
          </p:nvSpPr>
          <p:spPr bwMode="auto">
            <a:xfrm>
              <a:off x="4800830" y="2255573"/>
              <a:ext cx="79375" cy="55563"/>
            </a:xfrm>
            <a:custGeom>
              <a:avLst/>
              <a:gdLst/>
              <a:ahLst/>
              <a:cxnLst>
                <a:cxn ang="0">
                  <a:pos x="0" y="28"/>
                </a:cxn>
                <a:cxn ang="0">
                  <a:pos x="2" y="28"/>
                </a:cxn>
                <a:cxn ang="0">
                  <a:pos x="6" y="30"/>
                </a:cxn>
                <a:cxn ang="0">
                  <a:pos x="8" y="36"/>
                </a:cxn>
                <a:cxn ang="0">
                  <a:pos x="10" y="36"/>
                </a:cxn>
                <a:cxn ang="0">
                  <a:pos x="20" y="30"/>
                </a:cxn>
                <a:cxn ang="0">
                  <a:pos x="24" y="30"/>
                </a:cxn>
                <a:cxn ang="0">
                  <a:pos x="24" y="32"/>
                </a:cxn>
                <a:cxn ang="0">
                  <a:pos x="22" y="32"/>
                </a:cxn>
                <a:cxn ang="0">
                  <a:pos x="12" y="40"/>
                </a:cxn>
                <a:cxn ang="0">
                  <a:pos x="10" y="42"/>
                </a:cxn>
                <a:cxn ang="0">
                  <a:pos x="18" y="40"/>
                </a:cxn>
                <a:cxn ang="0">
                  <a:pos x="30" y="32"/>
                </a:cxn>
                <a:cxn ang="0">
                  <a:pos x="32" y="30"/>
                </a:cxn>
                <a:cxn ang="0">
                  <a:pos x="34" y="28"/>
                </a:cxn>
                <a:cxn ang="0">
                  <a:pos x="34" y="26"/>
                </a:cxn>
                <a:cxn ang="0">
                  <a:pos x="38" y="24"/>
                </a:cxn>
                <a:cxn ang="0">
                  <a:pos x="42" y="20"/>
                </a:cxn>
                <a:cxn ang="0">
                  <a:pos x="44" y="22"/>
                </a:cxn>
                <a:cxn ang="0">
                  <a:pos x="48" y="24"/>
                </a:cxn>
                <a:cxn ang="0">
                  <a:pos x="50" y="22"/>
                </a:cxn>
                <a:cxn ang="0">
                  <a:pos x="56" y="22"/>
                </a:cxn>
                <a:cxn ang="0">
                  <a:pos x="60" y="18"/>
                </a:cxn>
                <a:cxn ang="0">
                  <a:pos x="60" y="18"/>
                </a:cxn>
                <a:cxn ang="0">
                  <a:pos x="52" y="14"/>
                </a:cxn>
                <a:cxn ang="0">
                  <a:pos x="42" y="8"/>
                </a:cxn>
                <a:cxn ang="0">
                  <a:pos x="36" y="2"/>
                </a:cxn>
                <a:cxn ang="0">
                  <a:pos x="18" y="0"/>
                </a:cxn>
                <a:cxn ang="0">
                  <a:pos x="16" y="0"/>
                </a:cxn>
                <a:cxn ang="0">
                  <a:pos x="8" y="4"/>
                </a:cxn>
                <a:cxn ang="0">
                  <a:pos x="4" y="4"/>
                </a:cxn>
                <a:cxn ang="0">
                  <a:pos x="2" y="8"/>
                </a:cxn>
                <a:cxn ang="0">
                  <a:pos x="6" y="10"/>
                </a:cxn>
                <a:cxn ang="0">
                  <a:pos x="6" y="12"/>
                </a:cxn>
                <a:cxn ang="0">
                  <a:pos x="4" y="16"/>
                </a:cxn>
                <a:cxn ang="0">
                  <a:pos x="0" y="18"/>
                </a:cxn>
                <a:cxn ang="0">
                  <a:pos x="2" y="22"/>
                </a:cxn>
                <a:cxn ang="0">
                  <a:pos x="0" y="28"/>
                </a:cxn>
              </a:cxnLst>
              <a:rect l="0" t="0" r="r" b="b"/>
              <a:pathLst>
                <a:path w="60" h="42">
                  <a:moveTo>
                    <a:pt x="0" y="28"/>
                  </a:moveTo>
                  <a:lnTo>
                    <a:pt x="0" y="28"/>
                  </a:lnTo>
                  <a:lnTo>
                    <a:pt x="0" y="28"/>
                  </a:lnTo>
                  <a:lnTo>
                    <a:pt x="2" y="28"/>
                  </a:lnTo>
                  <a:lnTo>
                    <a:pt x="6" y="30"/>
                  </a:lnTo>
                  <a:lnTo>
                    <a:pt x="6" y="30"/>
                  </a:lnTo>
                  <a:lnTo>
                    <a:pt x="6" y="34"/>
                  </a:lnTo>
                  <a:lnTo>
                    <a:pt x="8" y="36"/>
                  </a:lnTo>
                  <a:lnTo>
                    <a:pt x="10" y="36"/>
                  </a:lnTo>
                  <a:lnTo>
                    <a:pt x="10" y="36"/>
                  </a:lnTo>
                  <a:lnTo>
                    <a:pt x="14" y="34"/>
                  </a:lnTo>
                  <a:lnTo>
                    <a:pt x="20" y="30"/>
                  </a:lnTo>
                  <a:lnTo>
                    <a:pt x="20" y="30"/>
                  </a:lnTo>
                  <a:lnTo>
                    <a:pt x="24" y="30"/>
                  </a:lnTo>
                  <a:lnTo>
                    <a:pt x="24" y="30"/>
                  </a:lnTo>
                  <a:lnTo>
                    <a:pt x="24" y="32"/>
                  </a:lnTo>
                  <a:lnTo>
                    <a:pt x="22" y="32"/>
                  </a:lnTo>
                  <a:lnTo>
                    <a:pt x="22" y="32"/>
                  </a:lnTo>
                  <a:lnTo>
                    <a:pt x="16" y="34"/>
                  </a:lnTo>
                  <a:lnTo>
                    <a:pt x="12" y="40"/>
                  </a:lnTo>
                  <a:lnTo>
                    <a:pt x="12" y="40"/>
                  </a:lnTo>
                  <a:lnTo>
                    <a:pt x="10" y="42"/>
                  </a:lnTo>
                  <a:lnTo>
                    <a:pt x="12" y="42"/>
                  </a:lnTo>
                  <a:lnTo>
                    <a:pt x="18" y="40"/>
                  </a:lnTo>
                  <a:lnTo>
                    <a:pt x="18" y="40"/>
                  </a:lnTo>
                  <a:lnTo>
                    <a:pt x="30" y="32"/>
                  </a:lnTo>
                  <a:lnTo>
                    <a:pt x="30" y="32"/>
                  </a:lnTo>
                  <a:lnTo>
                    <a:pt x="32" y="30"/>
                  </a:lnTo>
                  <a:lnTo>
                    <a:pt x="32" y="28"/>
                  </a:lnTo>
                  <a:lnTo>
                    <a:pt x="34" y="28"/>
                  </a:lnTo>
                  <a:lnTo>
                    <a:pt x="34" y="26"/>
                  </a:lnTo>
                  <a:lnTo>
                    <a:pt x="34" y="26"/>
                  </a:lnTo>
                  <a:lnTo>
                    <a:pt x="36" y="26"/>
                  </a:lnTo>
                  <a:lnTo>
                    <a:pt x="38" y="24"/>
                  </a:lnTo>
                  <a:lnTo>
                    <a:pt x="38" y="22"/>
                  </a:lnTo>
                  <a:lnTo>
                    <a:pt x="42" y="20"/>
                  </a:lnTo>
                  <a:lnTo>
                    <a:pt x="42" y="20"/>
                  </a:lnTo>
                  <a:lnTo>
                    <a:pt x="44" y="22"/>
                  </a:lnTo>
                  <a:lnTo>
                    <a:pt x="46" y="22"/>
                  </a:lnTo>
                  <a:lnTo>
                    <a:pt x="48" y="24"/>
                  </a:lnTo>
                  <a:lnTo>
                    <a:pt x="50" y="22"/>
                  </a:lnTo>
                  <a:lnTo>
                    <a:pt x="50" y="22"/>
                  </a:lnTo>
                  <a:lnTo>
                    <a:pt x="52" y="22"/>
                  </a:lnTo>
                  <a:lnTo>
                    <a:pt x="56" y="22"/>
                  </a:lnTo>
                  <a:lnTo>
                    <a:pt x="58" y="22"/>
                  </a:lnTo>
                  <a:lnTo>
                    <a:pt x="60" y="18"/>
                  </a:lnTo>
                  <a:lnTo>
                    <a:pt x="60" y="18"/>
                  </a:lnTo>
                  <a:lnTo>
                    <a:pt x="60" y="18"/>
                  </a:lnTo>
                  <a:lnTo>
                    <a:pt x="58" y="18"/>
                  </a:lnTo>
                  <a:lnTo>
                    <a:pt x="52" y="14"/>
                  </a:lnTo>
                  <a:lnTo>
                    <a:pt x="52" y="14"/>
                  </a:lnTo>
                  <a:lnTo>
                    <a:pt x="42" y="8"/>
                  </a:lnTo>
                  <a:lnTo>
                    <a:pt x="36" y="2"/>
                  </a:lnTo>
                  <a:lnTo>
                    <a:pt x="36" y="2"/>
                  </a:lnTo>
                  <a:lnTo>
                    <a:pt x="26" y="2"/>
                  </a:lnTo>
                  <a:lnTo>
                    <a:pt x="18" y="0"/>
                  </a:lnTo>
                  <a:lnTo>
                    <a:pt x="18" y="0"/>
                  </a:lnTo>
                  <a:lnTo>
                    <a:pt x="16" y="0"/>
                  </a:lnTo>
                  <a:lnTo>
                    <a:pt x="12" y="0"/>
                  </a:lnTo>
                  <a:lnTo>
                    <a:pt x="8" y="4"/>
                  </a:lnTo>
                  <a:lnTo>
                    <a:pt x="8" y="4"/>
                  </a:lnTo>
                  <a:lnTo>
                    <a:pt x="4" y="4"/>
                  </a:lnTo>
                  <a:lnTo>
                    <a:pt x="2" y="8"/>
                  </a:lnTo>
                  <a:lnTo>
                    <a:pt x="2" y="8"/>
                  </a:lnTo>
                  <a:lnTo>
                    <a:pt x="6" y="10"/>
                  </a:lnTo>
                  <a:lnTo>
                    <a:pt x="6" y="10"/>
                  </a:lnTo>
                  <a:lnTo>
                    <a:pt x="6" y="12"/>
                  </a:lnTo>
                  <a:lnTo>
                    <a:pt x="6" y="12"/>
                  </a:lnTo>
                  <a:lnTo>
                    <a:pt x="4" y="14"/>
                  </a:lnTo>
                  <a:lnTo>
                    <a:pt x="4" y="16"/>
                  </a:lnTo>
                  <a:lnTo>
                    <a:pt x="2" y="16"/>
                  </a:lnTo>
                  <a:lnTo>
                    <a:pt x="0" y="18"/>
                  </a:lnTo>
                  <a:lnTo>
                    <a:pt x="0" y="18"/>
                  </a:lnTo>
                  <a:lnTo>
                    <a:pt x="2" y="22"/>
                  </a:lnTo>
                  <a:lnTo>
                    <a:pt x="2" y="24"/>
                  </a:lnTo>
                  <a:lnTo>
                    <a:pt x="0" y="28"/>
                  </a:lnTo>
                  <a:lnTo>
                    <a:pt x="0" y="28"/>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243"/>
            <p:cNvSpPr>
              <a:spLocks/>
            </p:cNvSpPr>
            <p:nvPr/>
          </p:nvSpPr>
          <p:spPr bwMode="auto">
            <a:xfrm>
              <a:off x="5070705" y="2387865"/>
              <a:ext cx="169333" cy="148167"/>
            </a:xfrm>
            <a:custGeom>
              <a:avLst/>
              <a:gdLst/>
              <a:ahLst/>
              <a:cxnLst>
                <a:cxn ang="0">
                  <a:pos x="2" y="32"/>
                </a:cxn>
                <a:cxn ang="0">
                  <a:pos x="0" y="36"/>
                </a:cxn>
                <a:cxn ang="0">
                  <a:pos x="4" y="42"/>
                </a:cxn>
                <a:cxn ang="0">
                  <a:pos x="8" y="46"/>
                </a:cxn>
                <a:cxn ang="0">
                  <a:pos x="6" y="52"/>
                </a:cxn>
                <a:cxn ang="0">
                  <a:pos x="6" y="62"/>
                </a:cxn>
                <a:cxn ang="0">
                  <a:pos x="10" y="70"/>
                </a:cxn>
                <a:cxn ang="0">
                  <a:pos x="22" y="66"/>
                </a:cxn>
                <a:cxn ang="0">
                  <a:pos x="26" y="68"/>
                </a:cxn>
                <a:cxn ang="0">
                  <a:pos x="32" y="76"/>
                </a:cxn>
                <a:cxn ang="0">
                  <a:pos x="30" y="80"/>
                </a:cxn>
                <a:cxn ang="0">
                  <a:pos x="28" y="82"/>
                </a:cxn>
                <a:cxn ang="0">
                  <a:pos x="30" y="86"/>
                </a:cxn>
                <a:cxn ang="0">
                  <a:pos x="28" y="88"/>
                </a:cxn>
                <a:cxn ang="0">
                  <a:pos x="24" y="88"/>
                </a:cxn>
                <a:cxn ang="0">
                  <a:pos x="18" y="90"/>
                </a:cxn>
                <a:cxn ang="0">
                  <a:pos x="16" y="92"/>
                </a:cxn>
                <a:cxn ang="0">
                  <a:pos x="18" y="96"/>
                </a:cxn>
                <a:cxn ang="0">
                  <a:pos x="12" y="106"/>
                </a:cxn>
                <a:cxn ang="0">
                  <a:pos x="26" y="112"/>
                </a:cxn>
                <a:cxn ang="0">
                  <a:pos x="34" y="110"/>
                </a:cxn>
                <a:cxn ang="0">
                  <a:pos x="66" y="90"/>
                </a:cxn>
                <a:cxn ang="0">
                  <a:pos x="110" y="62"/>
                </a:cxn>
                <a:cxn ang="0">
                  <a:pos x="116" y="58"/>
                </a:cxn>
                <a:cxn ang="0">
                  <a:pos x="114" y="50"/>
                </a:cxn>
                <a:cxn ang="0">
                  <a:pos x="114" y="40"/>
                </a:cxn>
                <a:cxn ang="0">
                  <a:pos x="114" y="30"/>
                </a:cxn>
                <a:cxn ang="0">
                  <a:pos x="112" y="20"/>
                </a:cxn>
                <a:cxn ang="0">
                  <a:pos x="116" y="14"/>
                </a:cxn>
                <a:cxn ang="0">
                  <a:pos x="128" y="4"/>
                </a:cxn>
                <a:cxn ang="0">
                  <a:pos x="124" y="0"/>
                </a:cxn>
                <a:cxn ang="0">
                  <a:pos x="116" y="2"/>
                </a:cxn>
                <a:cxn ang="0">
                  <a:pos x="106" y="4"/>
                </a:cxn>
                <a:cxn ang="0">
                  <a:pos x="86" y="6"/>
                </a:cxn>
                <a:cxn ang="0">
                  <a:pos x="66" y="14"/>
                </a:cxn>
                <a:cxn ang="0">
                  <a:pos x="50" y="14"/>
                </a:cxn>
                <a:cxn ang="0">
                  <a:pos x="42" y="12"/>
                </a:cxn>
                <a:cxn ang="0">
                  <a:pos x="26" y="16"/>
                </a:cxn>
                <a:cxn ang="0">
                  <a:pos x="14" y="14"/>
                </a:cxn>
                <a:cxn ang="0">
                  <a:pos x="14" y="24"/>
                </a:cxn>
                <a:cxn ang="0">
                  <a:pos x="16" y="30"/>
                </a:cxn>
                <a:cxn ang="0">
                  <a:pos x="2" y="32"/>
                </a:cxn>
              </a:cxnLst>
              <a:rect l="0" t="0" r="r" b="b"/>
              <a:pathLst>
                <a:path w="128" h="112">
                  <a:moveTo>
                    <a:pt x="2" y="32"/>
                  </a:moveTo>
                  <a:lnTo>
                    <a:pt x="2" y="32"/>
                  </a:lnTo>
                  <a:lnTo>
                    <a:pt x="2" y="36"/>
                  </a:lnTo>
                  <a:lnTo>
                    <a:pt x="0" y="36"/>
                  </a:lnTo>
                  <a:lnTo>
                    <a:pt x="0" y="38"/>
                  </a:lnTo>
                  <a:lnTo>
                    <a:pt x="4" y="42"/>
                  </a:lnTo>
                  <a:lnTo>
                    <a:pt x="4" y="42"/>
                  </a:lnTo>
                  <a:lnTo>
                    <a:pt x="8" y="46"/>
                  </a:lnTo>
                  <a:lnTo>
                    <a:pt x="6" y="48"/>
                  </a:lnTo>
                  <a:lnTo>
                    <a:pt x="6" y="52"/>
                  </a:lnTo>
                  <a:lnTo>
                    <a:pt x="6" y="56"/>
                  </a:lnTo>
                  <a:lnTo>
                    <a:pt x="6" y="62"/>
                  </a:lnTo>
                  <a:lnTo>
                    <a:pt x="10" y="70"/>
                  </a:lnTo>
                  <a:lnTo>
                    <a:pt x="10" y="70"/>
                  </a:lnTo>
                  <a:lnTo>
                    <a:pt x="16" y="66"/>
                  </a:lnTo>
                  <a:lnTo>
                    <a:pt x="22" y="66"/>
                  </a:lnTo>
                  <a:lnTo>
                    <a:pt x="22" y="66"/>
                  </a:lnTo>
                  <a:lnTo>
                    <a:pt x="26" y="68"/>
                  </a:lnTo>
                  <a:lnTo>
                    <a:pt x="30" y="72"/>
                  </a:lnTo>
                  <a:lnTo>
                    <a:pt x="32" y="76"/>
                  </a:lnTo>
                  <a:lnTo>
                    <a:pt x="32" y="78"/>
                  </a:lnTo>
                  <a:lnTo>
                    <a:pt x="30" y="80"/>
                  </a:lnTo>
                  <a:lnTo>
                    <a:pt x="30" y="80"/>
                  </a:lnTo>
                  <a:lnTo>
                    <a:pt x="28" y="82"/>
                  </a:lnTo>
                  <a:lnTo>
                    <a:pt x="28" y="84"/>
                  </a:lnTo>
                  <a:lnTo>
                    <a:pt x="30" y="86"/>
                  </a:lnTo>
                  <a:lnTo>
                    <a:pt x="28" y="88"/>
                  </a:lnTo>
                  <a:lnTo>
                    <a:pt x="28" y="88"/>
                  </a:lnTo>
                  <a:lnTo>
                    <a:pt x="26" y="88"/>
                  </a:lnTo>
                  <a:lnTo>
                    <a:pt x="24" y="88"/>
                  </a:lnTo>
                  <a:lnTo>
                    <a:pt x="22" y="88"/>
                  </a:lnTo>
                  <a:lnTo>
                    <a:pt x="18" y="90"/>
                  </a:lnTo>
                  <a:lnTo>
                    <a:pt x="18" y="90"/>
                  </a:lnTo>
                  <a:lnTo>
                    <a:pt x="16" y="92"/>
                  </a:lnTo>
                  <a:lnTo>
                    <a:pt x="18" y="94"/>
                  </a:lnTo>
                  <a:lnTo>
                    <a:pt x="18" y="96"/>
                  </a:lnTo>
                  <a:lnTo>
                    <a:pt x="14" y="100"/>
                  </a:lnTo>
                  <a:lnTo>
                    <a:pt x="12" y="106"/>
                  </a:lnTo>
                  <a:lnTo>
                    <a:pt x="12" y="106"/>
                  </a:lnTo>
                  <a:lnTo>
                    <a:pt x="26" y="112"/>
                  </a:lnTo>
                  <a:lnTo>
                    <a:pt x="30" y="112"/>
                  </a:lnTo>
                  <a:lnTo>
                    <a:pt x="34" y="110"/>
                  </a:lnTo>
                  <a:lnTo>
                    <a:pt x="34" y="110"/>
                  </a:lnTo>
                  <a:lnTo>
                    <a:pt x="66" y="90"/>
                  </a:lnTo>
                  <a:lnTo>
                    <a:pt x="66" y="90"/>
                  </a:lnTo>
                  <a:lnTo>
                    <a:pt x="110" y="62"/>
                  </a:lnTo>
                  <a:lnTo>
                    <a:pt x="110" y="62"/>
                  </a:lnTo>
                  <a:lnTo>
                    <a:pt x="116" y="58"/>
                  </a:lnTo>
                  <a:lnTo>
                    <a:pt x="116" y="56"/>
                  </a:lnTo>
                  <a:lnTo>
                    <a:pt x="114" y="50"/>
                  </a:lnTo>
                  <a:lnTo>
                    <a:pt x="114" y="40"/>
                  </a:lnTo>
                  <a:lnTo>
                    <a:pt x="114" y="40"/>
                  </a:lnTo>
                  <a:lnTo>
                    <a:pt x="116" y="34"/>
                  </a:lnTo>
                  <a:lnTo>
                    <a:pt x="114" y="30"/>
                  </a:lnTo>
                  <a:lnTo>
                    <a:pt x="112" y="24"/>
                  </a:lnTo>
                  <a:lnTo>
                    <a:pt x="112" y="20"/>
                  </a:lnTo>
                  <a:lnTo>
                    <a:pt x="116" y="14"/>
                  </a:lnTo>
                  <a:lnTo>
                    <a:pt x="116" y="14"/>
                  </a:lnTo>
                  <a:lnTo>
                    <a:pt x="122" y="10"/>
                  </a:lnTo>
                  <a:lnTo>
                    <a:pt x="128" y="4"/>
                  </a:lnTo>
                  <a:lnTo>
                    <a:pt x="128" y="4"/>
                  </a:lnTo>
                  <a:lnTo>
                    <a:pt x="124" y="0"/>
                  </a:lnTo>
                  <a:lnTo>
                    <a:pt x="120" y="0"/>
                  </a:lnTo>
                  <a:lnTo>
                    <a:pt x="116" y="2"/>
                  </a:lnTo>
                  <a:lnTo>
                    <a:pt x="106" y="4"/>
                  </a:lnTo>
                  <a:lnTo>
                    <a:pt x="106" y="4"/>
                  </a:lnTo>
                  <a:lnTo>
                    <a:pt x="96" y="4"/>
                  </a:lnTo>
                  <a:lnTo>
                    <a:pt x="86" y="6"/>
                  </a:lnTo>
                  <a:lnTo>
                    <a:pt x="72" y="12"/>
                  </a:lnTo>
                  <a:lnTo>
                    <a:pt x="66" y="14"/>
                  </a:lnTo>
                  <a:lnTo>
                    <a:pt x="58" y="14"/>
                  </a:lnTo>
                  <a:lnTo>
                    <a:pt x="50" y="14"/>
                  </a:lnTo>
                  <a:lnTo>
                    <a:pt x="42" y="12"/>
                  </a:lnTo>
                  <a:lnTo>
                    <a:pt x="42" y="12"/>
                  </a:lnTo>
                  <a:lnTo>
                    <a:pt x="34" y="16"/>
                  </a:lnTo>
                  <a:lnTo>
                    <a:pt x="26" y="16"/>
                  </a:lnTo>
                  <a:lnTo>
                    <a:pt x="20" y="16"/>
                  </a:lnTo>
                  <a:lnTo>
                    <a:pt x="14" y="14"/>
                  </a:lnTo>
                  <a:lnTo>
                    <a:pt x="14" y="14"/>
                  </a:lnTo>
                  <a:lnTo>
                    <a:pt x="14" y="24"/>
                  </a:lnTo>
                  <a:lnTo>
                    <a:pt x="16" y="30"/>
                  </a:lnTo>
                  <a:lnTo>
                    <a:pt x="16" y="30"/>
                  </a:lnTo>
                  <a:lnTo>
                    <a:pt x="10" y="34"/>
                  </a:lnTo>
                  <a:lnTo>
                    <a:pt x="2" y="32"/>
                  </a:lnTo>
                  <a:lnTo>
                    <a:pt x="2" y="32"/>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Jordan"/>
            <p:cNvSpPr>
              <a:spLocks/>
            </p:cNvSpPr>
            <p:nvPr/>
          </p:nvSpPr>
          <p:spPr bwMode="auto">
            <a:xfrm>
              <a:off x="5065413" y="2506927"/>
              <a:ext cx="108479" cy="137583"/>
            </a:xfrm>
            <a:custGeom>
              <a:avLst/>
              <a:gdLst/>
              <a:ahLst/>
              <a:cxnLst>
                <a:cxn ang="0">
                  <a:pos x="70" y="0"/>
                </a:cxn>
                <a:cxn ang="0">
                  <a:pos x="80" y="26"/>
                </a:cxn>
                <a:cxn ang="0">
                  <a:pos x="82" y="32"/>
                </a:cxn>
                <a:cxn ang="0">
                  <a:pos x="72" y="38"/>
                </a:cxn>
                <a:cxn ang="0">
                  <a:pos x="66" y="70"/>
                </a:cxn>
                <a:cxn ang="0">
                  <a:pos x="58" y="74"/>
                </a:cxn>
                <a:cxn ang="0">
                  <a:pos x="52" y="82"/>
                </a:cxn>
                <a:cxn ang="0">
                  <a:pos x="46" y="84"/>
                </a:cxn>
                <a:cxn ang="0">
                  <a:pos x="38" y="88"/>
                </a:cxn>
                <a:cxn ang="0">
                  <a:pos x="32" y="100"/>
                </a:cxn>
                <a:cxn ang="0">
                  <a:pos x="28" y="104"/>
                </a:cxn>
                <a:cxn ang="0">
                  <a:pos x="26" y="104"/>
                </a:cxn>
                <a:cxn ang="0">
                  <a:pos x="18" y="96"/>
                </a:cxn>
                <a:cxn ang="0">
                  <a:pos x="10" y="90"/>
                </a:cxn>
                <a:cxn ang="0">
                  <a:pos x="8" y="90"/>
                </a:cxn>
                <a:cxn ang="0">
                  <a:pos x="12" y="56"/>
                </a:cxn>
                <a:cxn ang="0">
                  <a:pos x="12" y="50"/>
                </a:cxn>
                <a:cxn ang="0">
                  <a:pos x="8" y="48"/>
                </a:cxn>
                <a:cxn ang="0">
                  <a:pos x="2" y="50"/>
                </a:cxn>
                <a:cxn ang="0">
                  <a:pos x="0" y="50"/>
                </a:cxn>
                <a:cxn ang="0">
                  <a:pos x="4" y="44"/>
                </a:cxn>
                <a:cxn ang="0">
                  <a:pos x="4" y="38"/>
                </a:cxn>
                <a:cxn ang="0">
                  <a:pos x="2" y="36"/>
                </a:cxn>
                <a:cxn ang="0">
                  <a:pos x="0" y="28"/>
                </a:cxn>
                <a:cxn ang="0">
                  <a:pos x="2" y="20"/>
                </a:cxn>
                <a:cxn ang="0">
                  <a:pos x="4" y="18"/>
                </a:cxn>
                <a:cxn ang="0">
                  <a:pos x="8" y="20"/>
                </a:cxn>
                <a:cxn ang="0">
                  <a:pos x="10" y="22"/>
                </a:cxn>
                <a:cxn ang="0">
                  <a:pos x="12" y="20"/>
                </a:cxn>
                <a:cxn ang="0">
                  <a:pos x="12" y="16"/>
                </a:cxn>
                <a:cxn ang="0">
                  <a:pos x="16" y="16"/>
                </a:cxn>
                <a:cxn ang="0">
                  <a:pos x="34" y="22"/>
                </a:cxn>
                <a:cxn ang="0">
                  <a:pos x="38" y="20"/>
                </a:cxn>
                <a:cxn ang="0">
                  <a:pos x="70" y="0"/>
                </a:cxn>
              </a:cxnLst>
              <a:rect l="0" t="0" r="r" b="b"/>
              <a:pathLst>
                <a:path w="82" h="104">
                  <a:moveTo>
                    <a:pt x="70" y="0"/>
                  </a:moveTo>
                  <a:lnTo>
                    <a:pt x="70" y="0"/>
                  </a:lnTo>
                  <a:lnTo>
                    <a:pt x="78" y="18"/>
                  </a:lnTo>
                  <a:lnTo>
                    <a:pt x="80" y="26"/>
                  </a:lnTo>
                  <a:lnTo>
                    <a:pt x="82" y="32"/>
                  </a:lnTo>
                  <a:lnTo>
                    <a:pt x="82" y="32"/>
                  </a:lnTo>
                  <a:lnTo>
                    <a:pt x="78" y="36"/>
                  </a:lnTo>
                  <a:lnTo>
                    <a:pt x="72" y="38"/>
                  </a:lnTo>
                  <a:lnTo>
                    <a:pt x="42" y="42"/>
                  </a:lnTo>
                  <a:lnTo>
                    <a:pt x="66" y="70"/>
                  </a:lnTo>
                  <a:lnTo>
                    <a:pt x="66" y="70"/>
                  </a:lnTo>
                  <a:lnTo>
                    <a:pt x="58" y="74"/>
                  </a:lnTo>
                  <a:lnTo>
                    <a:pt x="56" y="80"/>
                  </a:lnTo>
                  <a:lnTo>
                    <a:pt x="52" y="82"/>
                  </a:lnTo>
                  <a:lnTo>
                    <a:pt x="46" y="84"/>
                  </a:lnTo>
                  <a:lnTo>
                    <a:pt x="46" y="84"/>
                  </a:lnTo>
                  <a:lnTo>
                    <a:pt x="42" y="86"/>
                  </a:lnTo>
                  <a:lnTo>
                    <a:pt x="38" y="88"/>
                  </a:lnTo>
                  <a:lnTo>
                    <a:pt x="34" y="94"/>
                  </a:lnTo>
                  <a:lnTo>
                    <a:pt x="32" y="100"/>
                  </a:lnTo>
                  <a:lnTo>
                    <a:pt x="30" y="102"/>
                  </a:lnTo>
                  <a:lnTo>
                    <a:pt x="28" y="104"/>
                  </a:lnTo>
                  <a:lnTo>
                    <a:pt x="28" y="104"/>
                  </a:lnTo>
                  <a:lnTo>
                    <a:pt x="26" y="104"/>
                  </a:lnTo>
                  <a:lnTo>
                    <a:pt x="24" y="102"/>
                  </a:lnTo>
                  <a:lnTo>
                    <a:pt x="18" y="96"/>
                  </a:lnTo>
                  <a:lnTo>
                    <a:pt x="14" y="92"/>
                  </a:lnTo>
                  <a:lnTo>
                    <a:pt x="10" y="90"/>
                  </a:lnTo>
                  <a:lnTo>
                    <a:pt x="8" y="90"/>
                  </a:lnTo>
                  <a:lnTo>
                    <a:pt x="8" y="90"/>
                  </a:lnTo>
                  <a:lnTo>
                    <a:pt x="10" y="74"/>
                  </a:lnTo>
                  <a:lnTo>
                    <a:pt x="12" y="56"/>
                  </a:lnTo>
                  <a:lnTo>
                    <a:pt x="12" y="56"/>
                  </a:lnTo>
                  <a:lnTo>
                    <a:pt x="12" y="50"/>
                  </a:lnTo>
                  <a:lnTo>
                    <a:pt x="10" y="48"/>
                  </a:lnTo>
                  <a:lnTo>
                    <a:pt x="8" y="48"/>
                  </a:lnTo>
                  <a:lnTo>
                    <a:pt x="4" y="50"/>
                  </a:lnTo>
                  <a:lnTo>
                    <a:pt x="2" y="50"/>
                  </a:lnTo>
                  <a:lnTo>
                    <a:pt x="0" y="50"/>
                  </a:lnTo>
                  <a:lnTo>
                    <a:pt x="0" y="50"/>
                  </a:lnTo>
                  <a:lnTo>
                    <a:pt x="0" y="46"/>
                  </a:lnTo>
                  <a:lnTo>
                    <a:pt x="4" y="44"/>
                  </a:lnTo>
                  <a:lnTo>
                    <a:pt x="6" y="40"/>
                  </a:lnTo>
                  <a:lnTo>
                    <a:pt x="4" y="38"/>
                  </a:lnTo>
                  <a:lnTo>
                    <a:pt x="2" y="36"/>
                  </a:lnTo>
                  <a:lnTo>
                    <a:pt x="2" y="36"/>
                  </a:lnTo>
                  <a:lnTo>
                    <a:pt x="2" y="34"/>
                  </a:lnTo>
                  <a:lnTo>
                    <a:pt x="0" y="28"/>
                  </a:lnTo>
                  <a:lnTo>
                    <a:pt x="0" y="22"/>
                  </a:lnTo>
                  <a:lnTo>
                    <a:pt x="2" y="20"/>
                  </a:lnTo>
                  <a:lnTo>
                    <a:pt x="4" y="18"/>
                  </a:lnTo>
                  <a:lnTo>
                    <a:pt x="4" y="18"/>
                  </a:lnTo>
                  <a:lnTo>
                    <a:pt x="6" y="18"/>
                  </a:lnTo>
                  <a:lnTo>
                    <a:pt x="8" y="20"/>
                  </a:lnTo>
                  <a:lnTo>
                    <a:pt x="8" y="22"/>
                  </a:lnTo>
                  <a:lnTo>
                    <a:pt x="10" y="22"/>
                  </a:lnTo>
                  <a:lnTo>
                    <a:pt x="10" y="22"/>
                  </a:lnTo>
                  <a:lnTo>
                    <a:pt x="12" y="20"/>
                  </a:lnTo>
                  <a:lnTo>
                    <a:pt x="12" y="18"/>
                  </a:lnTo>
                  <a:lnTo>
                    <a:pt x="12" y="16"/>
                  </a:lnTo>
                  <a:lnTo>
                    <a:pt x="16" y="16"/>
                  </a:lnTo>
                  <a:lnTo>
                    <a:pt x="16" y="16"/>
                  </a:lnTo>
                  <a:lnTo>
                    <a:pt x="30" y="22"/>
                  </a:lnTo>
                  <a:lnTo>
                    <a:pt x="34" y="22"/>
                  </a:lnTo>
                  <a:lnTo>
                    <a:pt x="38" y="20"/>
                  </a:lnTo>
                  <a:lnTo>
                    <a:pt x="38" y="20"/>
                  </a:lnTo>
                  <a:lnTo>
                    <a:pt x="70" y="0"/>
                  </a:lnTo>
                  <a:lnTo>
                    <a:pt x="70" y="0"/>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Saudi Arabia"/>
            <p:cNvSpPr>
              <a:spLocks/>
            </p:cNvSpPr>
            <p:nvPr/>
          </p:nvSpPr>
          <p:spPr bwMode="auto">
            <a:xfrm>
              <a:off x="5075997" y="2549260"/>
              <a:ext cx="587375" cy="545042"/>
            </a:xfrm>
            <a:custGeom>
              <a:avLst/>
              <a:gdLst/>
              <a:ahLst/>
              <a:cxnLst>
                <a:cxn ang="0">
                  <a:pos x="354" y="182"/>
                </a:cxn>
                <a:cxn ang="0">
                  <a:pos x="352" y="180"/>
                </a:cxn>
                <a:cxn ang="0">
                  <a:pos x="336" y="170"/>
                </a:cxn>
                <a:cxn ang="0">
                  <a:pos x="326" y="156"/>
                </a:cxn>
                <a:cxn ang="0">
                  <a:pos x="320" y="140"/>
                </a:cxn>
                <a:cxn ang="0">
                  <a:pos x="316" y="130"/>
                </a:cxn>
                <a:cxn ang="0">
                  <a:pos x="310" y="124"/>
                </a:cxn>
                <a:cxn ang="0">
                  <a:pos x="296" y="114"/>
                </a:cxn>
                <a:cxn ang="0">
                  <a:pos x="296" y="110"/>
                </a:cxn>
                <a:cxn ang="0">
                  <a:pos x="288" y="104"/>
                </a:cxn>
                <a:cxn ang="0">
                  <a:pos x="266" y="70"/>
                </a:cxn>
                <a:cxn ang="0">
                  <a:pos x="252" y="72"/>
                </a:cxn>
                <a:cxn ang="0">
                  <a:pos x="246" y="64"/>
                </a:cxn>
                <a:cxn ang="0">
                  <a:pos x="210" y="62"/>
                </a:cxn>
                <a:cxn ang="0">
                  <a:pos x="170" y="46"/>
                </a:cxn>
                <a:cxn ang="0">
                  <a:pos x="134" y="18"/>
                </a:cxn>
                <a:cxn ang="0">
                  <a:pos x="74" y="0"/>
                </a:cxn>
                <a:cxn ang="0">
                  <a:pos x="34" y="10"/>
                </a:cxn>
                <a:cxn ang="0">
                  <a:pos x="48" y="48"/>
                </a:cxn>
                <a:cxn ang="0">
                  <a:pos x="34" y="54"/>
                </a:cxn>
                <a:cxn ang="0">
                  <a:pos x="22" y="70"/>
                </a:cxn>
                <a:cxn ang="0">
                  <a:pos x="16" y="70"/>
                </a:cxn>
                <a:cxn ang="0">
                  <a:pos x="0" y="58"/>
                </a:cxn>
                <a:cxn ang="0">
                  <a:pos x="2" y="68"/>
                </a:cxn>
                <a:cxn ang="0">
                  <a:pos x="4" y="80"/>
                </a:cxn>
                <a:cxn ang="0">
                  <a:pos x="4" y="90"/>
                </a:cxn>
                <a:cxn ang="0">
                  <a:pos x="10" y="98"/>
                </a:cxn>
                <a:cxn ang="0">
                  <a:pos x="24" y="116"/>
                </a:cxn>
                <a:cxn ang="0">
                  <a:pos x="24" y="122"/>
                </a:cxn>
                <a:cxn ang="0">
                  <a:pos x="50" y="160"/>
                </a:cxn>
                <a:cxn ang="0">
                  <a:pos x="60" y="186"/>
                </a:cxn>
                <a:cxn ang="0">
                  <a:pos x="76" y="194"/>
                </a:cxn>
                <a:cxn ang="0">
                  <a:pos x="86" y="204"/>
                </a:cxn>
                <a:cxn ang="0">
                  <a:pos x="90" y="220"/>
                </a:cxn>
                <a:cxn ang="0">
                  <a:pos x="110" y="260"/>
                </a:cxn>
                <a:cxn ang="0">
                  <a:pos x="104" y="266"/>
                </a:cxn>
                <a:cxn ang="0">
                  <a:pos x="108" y="278"/>
                </a:cxn>
                <a:cxn ang="0">
                  <a:pos x="132" y="298"/>
                </a:cxn>
                <a:cxn ang="0">
                  <a:pos x="150" y="328"/>
                </a:cxn>
                <a:cxn ang="0">
                  <a:pos x="172" y="352"/>
                </a:cxn>
                <a:cxn ang="0">
                  <a:pos x="186" y="382"/>
                </a:cxn>
                <a:cxn ang="0">
                  <a:pos x="192" y="390"/>
                </a:cxn>
                <a:cxn ang="0">
                  <a:pos x="192" y="394"/>
                </a:cxn>
                <a:cxn ang="0">
                  <a:pos x="204" y="386"/>
                </a:cxn>
                <a:cxn ang="0">
                  <a:pos x="210" y="380"/>
                </a:cxn>
                <a:cxn ang="0">
                  <a:pos x="226" y="378"/>
                </a:cxn>
                <a:cxn ang="0">
                  <a:pos x="258" y="388"/>
                </a:cxn>
                <a:cxn ang="0">
                  <a:pos x="270" y="396"/>
                </a:cxn>
                <a:cxn ang="0">
                  <a:pos x="286" y="396"/>
                </a:cxn>
                <a:cxn ang="0">
                  <a:pos x="374" y="332"/>
                </a:cxn>
                <a:cxn ang="0">
                  <a:pos x="430" y="242"/>
                </a:cxn>
                <a:cxn ang="0">
                  <a:pos x="366" y="224"/>
                </a:cxn>
                <a:cxn ang="0">
                  <a:pos x="356" y="200"/>
                </a:cxn>
                <a:cxn ang="0">
                  <a:pos x="354" y="184"/>
                </a:cxn>
              </a:cxnLst>
              <a:rect l="0" t="0" r="r" b="b"/>
              <a:pathLst>
                <a:path w="444" h="412">
                  <a:moveTo>
                    <a:pt x="354" y="184"/>
                  </a:moveTo>
                  <a:lnTo>
                    <a:pt x="354" y="184"/>
                  </a:lnTo>
                  <a:lnTo>
                    <a:pt x="352" y="184"/>
                  </a:lnTo>
                  <a:lnTo>
                    <a:pt x="354" y="182"/>
                  </a:lnTo>
                  <a:lnTo>
                    <a:pt x="354" y="182"/>
                  </a:lnTo>
                  <a:lnTo>
                    <a:pt x="354" y="180"/>
                  </a:lnTo>
                  <a:lnTo>
                    <a:pt x="352" y="180"/>
                  </a:lnTo>
                  <a:lnTo>
                    <a:pt x="352" y="180"/>
                  </a:lnTo>
                  <a:lnTo>
                    <a:pt x="352" y="178"/>
                  </a:lnTo>
                  <a:lnTo>
                    <a:pt x="352" y="178"/>
                  </a:lnTo>
                  <a:lnTo>
                    <a:pt x="344" y="176"/>
                  </a:lnTo>
                  <a:lnTo>
                    <a:pt x="336" y="170"/>
                  </a:lnTo>
                  <a:lnTo>
                    <a:pt x="336" y="170"/>
                  </a:lnTo>
                  <a:lnTo>
                    <a:pt x="330" y="164"/>
                  </a:lnTo>
                  <a:lnTo>
                    <a:pt x="326" y="156"/>
                  </a:lnTo>
                  <a:lnTo>
                    <a:pt x="326" y="156"/>
                  </a:lnTo>
                  <a:lnTo>
                    <a:pt x="322" y="148"/>
                  </a:lnTo>
                  <a:lnTo>
                    <a:pt x="320" y="144"/>
                  </a:lnTo>
                  <a:lnTo>
                    <a:pt x="320" y="140"/>
                  </a:lnTo>
                  <a:lnTo>
                    <a:pt x="320" y="140"/>
                  </a:lnTo>
                  <a:lnTo>
                    <a:pt x="320" y="134"/>
                  </a:lnTo>
                  <a:lnTo>
                    <a:pt x="318" y="132"/>
                  </a:lnTo>
                  <a:lnTo>
                    <a:pt x="316" y="132"/>
                  </a:lnTo>
                  <a:lnTo>
                    <a:pt x="316" y="130"/>
                  </a:lnTo>
                  <a:lnTo>
                    <a:pt x="316" y="130"/>
                  </a:lnTo>
                  <a:lnTo>
                    <a:pt x="314" y="126"/>
                  </a:lnTo>
                  <a:lnTo>
                    <a:pt x="312" y="126"/>
                  </a:lnTo>
                  <a:lnTo>
                    <a:pt x="310" y="124"/>
                  </a:lnTo>
                  <a:lnTo>
                    <a:pt x="304" y="120"/>
                  </a:lnTo>
                  <a:lnTo>
                    <a:pt x="304" y="120"/>
                  </a:lnTo>
                  <a:lnTo>
                    <a:pt x="298" y="114"/>
                  </a:lnTo>
                  <a:lnTo>
                    <a:pt x="296" y="114"/>
                  </a:lnTo>
                  <a:lnTo>
                    <a:pt x="298" y="112"/>
                  </a:lnTo>
                  <a:lnTo>
                    <a:pt x="298" y="112"/>
                  </a:lnTo>
                  <a:lnTo>
                    <a:pt x="298" y="110"/>
                  </a:lnTo>
                  <a:lnTo>
                    <a:pt x="296" y="110"/>
                  </a:lnTo>
                  <a:lnTo>
                    <a:pt x="292" y="110"/>
                  </a:lnTo>
                  <a:lnTo>
                    <a:pt x="288" y="112"/>
                  </a:lnTo>
                  <a:lnTo>
                    <a:pt x="288" y="112"/>
                  </a:lnTo>
                  <a:lnTo>
                    <a:pt x="288" y="104"/>
                  </a:lnTo>
                  <a:lnTo>
                    <a:pt x="280" y="88"/>
                  </a:lnTo>
                  <a:lnTo>
                    <a:pt x="280" y="88"/>
                  </a:lnTo>
                  <a:lnTo>
                    <a:pt x="270" y="72"/>
                  </a:lnTo>
                  <a:lnTo>
                    <a:pt x="266" y="70"/>
                  </a:lnTo>
                  <a:lnTo>
                    <a:pt x="264" y="72"/>
                  </a:lnTo>
                  <a:lnTo>
                    <a:pt x="264" y="72"/>
                  </a:lnTo>
                  <a:lnTo>
                    <a:pt x="256" y="72"/>
                  </a:lnTo>
                  <a:lnTo>
                    <a:pt x="252" y="72"/>
                  </a:lnTo>
                  <a:lnTo>
                    <a:pt x="250" y="70"/>
                  </a:lnTo>
                  <a:lnTo>
                    <a:pt x="250" y="68"/>
                  </a:lnTo>
                  <a:lnTo>
                    <a:pt x="248" y="66"/>
                  </a:lnTo>
                  <a:lnTo>
                    <a:pt x="246" y="64"/>
                  </a:lnTo>
                  <a:lnTo>
                    <a:pt x="242" y="62"/>
                  </a:lnTo>
                  <a:lnTo>
                    <a:pt x="234" y="62"/>
                  </a:lnTo>
                  <a:lnTo>
                    <a:pt x="234" y="62"/>
                  </a:lnTo>
                  <a:lnTo>
                    <a:pt x="210" y="62"/>
                  </a:lnTo>
                  <a:lnTo>
                    <a:pt x="194" y="60"/>
                  </a:lnTo>
                  <a:lnTo>
                    <a:pt x="182" y="56"/>
                  </a:lnTo>
                  <a:lnTo>
                    <a:pt x="170" y="46"/>
                  </a:lnTo>
                  <a:lnTo>
                    <a:pt x="170" y="46"/>
                  </a:lnTo>
                  <a:lnTo>
                    <a:pt x="156" y="34"/>
                  </a:lnTo>
                  <a:lnTo>
                    <a:pt x="150" y="26"/>
                  </a:lnTo>
                  <a:lnTo>
                    <a:pt x="146" y="22"/>
                  </a:lnTo>
                  <a:lnTo>
                    <a:pt x="134" y="18"/>
                  </a:lnTo>
                  <a:lnTo>
                    <a:pt x="134" y="18"/>
                  </a:lnTo>
                  <a:lnTo>
                    <a:pt x="108" y="4"/>
                  </a:lnTo>
                  <a:lnTo>
                    <a:pt x="96" y="2"/>
                  </a:lnTo>
                  <a:lnTo>
                    <a:pt x="74" y="0"/>
                  </a:lnTo>
                  <a:lnTo>
                    <a:pt x="74" y="0"/>
                  </a:lnTo>
                  <a:lnTo>
                    <a:pt x="70" y="4"/>
                  </a:lnTo>
                  <a:lnTo>
                    <a:pt x="64" y="6"/>
                  </a:lnTo>
                  <a:lnTo>
                    <a:pt x="34" y="10"/>
                  </a:lnTo>
                  <a:lnTo>
                    <a:pt x="58" y="38"/>
                  </a:lnTo>
                  <a:lnTo>
                    <a:pt x="58" y="38"/>
                  </a:lnTo>
                  <a:lnTo>
                    <a:pt x="50" y="42"/>
                  </a:lnTo>
                  <a:lnTo>
                    <a:pt x="48" y="48"/>
                  </a:lnTo>
                  <a:lnTo>
                    <a:pt x="44" y="50"/>
                  </a:lnTo>
                  <a:lnTo>
                    <a:pt x="38" y="52"/>
                  </a:lnTo>
                  <a:lnTo>
                    <a:pt x="38" y="52"/>
                  </a:lnTo>
                  <a:lnTo>
                    <a:pt x="34" y="54"/>
                  </a:lnTo>
                  <a:lnTo>
                    <a:pt x="30" y="56"/>
                  </a:lnTo>
                  <a:lnTo>
                    <a:pt x="26" y="62"/>
                  </a:lnTo>
                  <a:lnTo>
                    <a:pt x="24" y="68"/>
                  </a:lnTo>
                  <a:lnTo>
                    <a:pt x="22" y="70"/>
                  </a:lnTo>
                  <a:lnTo>
                    <a:pt x="20" y="72"/>
                  </a:lnTo>
                  <a:lnTo>
                    <a:pt x="20" y="72"/>
                  </a:lnTo>
                  <a:lnTo>
                    <a:pt x="18" y="72"/>
                  </a:lnTo>
                  <a:lnTo>
                    <a:pt x="16" y="70"/>
                  </a:lnTo>
                  <a:lnTo>
                    <a:pt x="10" y="64"/>
                  </a:lnTo>
                  <a:lnTo>
                    <a:pt x="6" y="60"/>
                  </a:lnTo>
                  <a:lnTo>
                    <a:pt x="2" y="58"/>
                  </a:lnTo>
                  <a:lnTo>
                    <a:pt x="0" y="58"/>
                  </a:lnTo>
                  <a:lnTo>
                    <a:pt x="0" y="58"/>
                  </a:lnTo>
                  <a:lnTo>
                    <a:pt x="2" y="62"/>
                  </a:lnTo>
                  <a:lnTo>
                    <a:pt x="4" y="64"/>
                  </a:lnTo>
                  <a:lnTo>
                    <a:pt x="2" y="68"/>
                  </a:lnTo>
                  <a:lnTo>
                    <a:pt x="2" y="68"/>
                  </a:lnTo>
                  <a:lnTo>
                    <a:pt x="0" y="72"/>
                  </a:lnTo>
                  <a:lnTo>
                    <a:pt x="2" y="76"/>
                  </a:lnTo>
                  <a:lnTo>
                    <a:pt x="4" y="80"/>
                  </a:lnTo>
                  <a:lnTo>
                    <a:pt x="2" y="86"/>
                  </a:lnTo>
                  <a:lnTo>
                    <a:pt x="2" y="86"/>
                  </a:lnTo>
                  <a:lnTo>
                    <a:pt x="2" y="90"/>
                  </a:lnTo>
                  <a:lnTo>
                    <a:pt x="4" y="90"/>
                  </a:lnTo>
                  <a:lnTo>
                    <a:pt x="8" y="92"/>
                  </a:lnTo>
                  <a:lnTo>
                    <a:pt x="10" y="94"/>
                  </a:lnTo>
                  <a:lnTo>
                    <a:pt x="10" y="98"/>
                  </a:lnTo>
                  <a:lnTo>
                    <a:pt x="10" y="98"/>
                  </a:lnTo>
                  <a:lnTo>
                    <a:pt x="14" y="106"/>
                  </a:lnTo>
                  <a:lnTo>
                    <a:pt x="20" y="112"/>
                  </a:lnTo>
                  <a:lnTo>
                    <a:pt x="24" y="114"/>
                  </a:lnTo>
                  <a:lnTo>
                    <a:pt x="24" y="116"/>
                  </a:lnTo>
                  <a:lnTo>
                    <a:pt x="24" y="118"/>
                  </a:lnTo>
                  <a:lnTo>
                    <a:pt x="24" y="118"/>
                  </a:lnTo>
                  <a:lnTo>
                    <a:pt x="24" y="120"/>
                  </a:lnTo>
                  <a:lnTo>
                    <a:pt x="24" y="122"/>
                  </a:lnTo>
                  <a:lnTo>
                    <a:pt x="28" y="128"/>
                  </a:lnTo>
                  <a:lnTo>
                    <a:pt x="38" y="140"/>
                  </a:lnTo>
                  <a:lnTo>
                    <a:pt x="50" y="160"/>
                  </a:lnTo>
                  <a:lnTo>
                    <a:pt x="50" y="160"/>
                  </a:lnTo>
                  <a:lnTo>
                    <a:pt x="54" y="170"/>
                  </a:lnTo>
                  <a:lnTo>
                    <a:pt x="54" y="172"/>
                  </a:lnTo>
                  <a:lnTo>
                    <a:pt x="54" y="176"/>
                  </a:lnTo>
                  <a:lnTo>
                    <a:pt x="60" y="186"/>
                  </a:lnTo>
                  <a:lnTo>
                    <a:pt x="60" y="186"/>
                  </a:lnTo>
                  <a:lnTo>
                    <a:pt x="64" y="190"/>
                  </a:lnTo>
                  <a:lnTo>
                    <a:pt x="70" y="192"/>
                  </a:lnTo>
                  <a:lnTo>
                    <a:pt x="76" y="194"/>
                  </a:lnTo>
                  <a:lnTo>
                    <a:pt x="80" y="198"/>
                  </a:lnTo>
                  <a:lnTo>
                    <a:pt x="80" y="198"/>
                  </a:lnTo>
                  <a:lnTo>
                    <a:pt x="84" y="202"/>
                  </a:lnTo>
                  <a:lnTo>
                    <a:pt x="86" y="204"/>
                  </a:lnTo>
                  <a:lnTo>
                    <a:pt x="88" y="206"/>
                  </a:lnTo>
                  <a:lnTo>
                    <a:pt x="88" y="210"/>
                  </a:lnTo>
                  <a:lnTo>
                    <a:pt x="88" y="210"/>
                  </a:lnTo>
                  <a:lnTo>
                    <a:pt x="90" y="220"/>
                  </a:lnTo>
                  <a:lnTo>
                    <a:pt x="96" y="232"/>
                  </a:lnTo>
                  <a:lnTo>
                    <a:pt x="108" y="256"/>
                  </a:lnTo>
                  <a:lnTo>
                    <a:pt x="108" y="256"/>
                  </a:lnTo>
                  <a:lnTo>
                    <a:pt x="110" y="260"/>
                  </a:lnTo>
                  <a:lnTo>
                    <a:pt x="110" y="264"/>
                  </a:lnTo>
                  <a:lnTo>
                    <a:pt x="108" y="264"/>
                  </a:lnTo>
                  <a:lnTo>
                    <a:pt x="106" y="266"/>
                  </a:lnTo>
                  <a:lnTo>
                    <a:pt x="104" y="266"/>
                  </a:lnTo>
                  <a:lnTo>
                    <a:pt x="106" y="270"/>
                  </a:lnTo>
                  <a:lnTo>
                    <a:pt x="106" y="270"/>
                  </a:lnTo>
                  <a:lnTo>
                    <a:pt x="108" y="274"/>
                  </a:lnTo>
                  <a:lnTo>
                    <a:pt x="108" y="278"/>
                  </a:lnTo>
                  <a:lnTo>
                    <a:pt x="112" y="282"/>
                  </a:lnTo>
                  <a:lnTo>
                    <a:pt x="122" y="290"/>
                  </a:lnTo>
                  <a:lnTo>
                    <a:pt x="122" y="290"/>
                  </a:lnTo>
                  <a:lnTo>
                    <a:pt x="132" y="298"/>
                  </a:lnTo>
                  <a:lnTo>
                    <a:pt x="140" y="306"/>
                  </a:lnTo>
                  <a:lnTo>
                    <a:pt x="144" y="312"/>
                  </a:lnTo>
                  <a:lnTo>
                    <a:pt x="146" y="318"/>
                  </a:lnTo>
                  <a:lnTo>
                    <a:pt x="150" y="328"/>
                  </a:lnTo>
                  <a:lnTo>
                    <a:pt x="154" y="332"/>
                  </a:lnTo>
                  <a:lnTo>
                    <a:pt x="158" y="338"/>
                  </a:lnTo>
                  <a:lnTo>
                    <a:pt x="158" y="338"/>
                  </a:lnTo>
                  <a:lnTo>
                    <a:pt x="172" y="352"/>
                  </a:lnTo>
                  <a:lnTo>
                    <a:pt x="180" y="368"/>
                  </a:lnTo>
                  <a:lnTo>
                    <a:pt x="180" y="368"/>
                  </a:lnTo>
                  <a:lnTo>
                    <a:pt x="186" y="378"/>
                  </a:lnTo>
                  <a:lnTo>
                    <a:pt x="186" y="382"/>
                  </a:lnTo>
                  <a:lnTo>
                    <a:pt x="186" y="384"/>
                  </a:lnTo>
                  <a:lnTo>
                    <a:pt x="190" y="386"/>
                  </a:lnTo>
                  <a:lnTo>
                    <a:pt x="190" y="386"/>
                  </a:lnTo>
                  <a:lnTo>
                    <a:pt x="192" y="390"/>
                  </a:lnTo>
                  <a:lnTo>
                    <a:pt x="190" y="390"/>
                  </a:lnTo>
                  <a:lnTo>
                    <a:pt x="190" y="392"/>
                  </a:lnTo>
                  <a:lnTo>
                    <a:pt x="192" y="394"/>
                  </a:lnTo>
                  <a:lnTo>
                    <a:pt x="192" y="394"/>
                  </a:lnTo>
                  <a:lnTo>
                    <a:pt x="202" y="392"/>
                  </a:lnTo>
                  <a:lnTo>
                    <a:pt x="204" y="390"/>
                  </a:lnTo>
                  <a:lnTo>
                    <a:pt x="204" y="388"/>
                  </a:lnTo>
                  <a:lnTo>
                    <a:pt x="204" y="386"/>
                  </a:lnTo>
                  <a:lnTo>
                    <a:pt x="204" y="384"/>
                  </a:lnTo>
                  <a:lnTo>
                    <a:pt x="206" y="382"/>
                  </a:lnTo>
                  <a:lnTo>
                    <a:pt x="206" y="382"/>
                  </a:lnTo>
                  <a:lnTo>
                    <a:pt x="210" y="380"/>
                  </a:lnTo>
                  <a:lnTo>
                    <a:pt x="210" y="378"/>
                  </a:lnTo>
                  <a:lnTo>
                    <a:pt x="210" y="376"/>
                  </a:lnTo>
                  <a:lnTo>
                    <a:pt x="214" y="376"/>
                  </a:lnTo>
                  <a:lnTo>
                    <a:pt x="226" y="378"/>
                  </a:lnTo>
                  <a:lnTo>
                    <a:pt x="226" y="378"/>
                  </a:lnTo>
                  <a:lnTo>
                    <a:pt x="244" y="382"/>
                  </a:lnTo>
                  <a:lnTo>
                    <a:pt x="252" y="386"/>
                  </a:lnTo>
                  <a:lnTo>
                    <a:pt x="258" y="388"/>
                  </a:lnTo>
                  <a:lnTo>
                    <a:pt x="262" y="392"/>
                  </a:lnTo>
                  <a:lnTo>
                    <a:pt x="262" y="392"/>
                  </a:lnTo>
                  <a:lnTo>
                    <a:pt x="268" y="394"/>
                  </a:lnTo>
                  <a:lnTo>
                    <a:pt x="270" y="396"/>
                  </a:lnTo>
                  <a:lnTo>
                    <a:pt x="272" y="402"/>
                  </a:lnTo>
                  <a:lnTo>
                    <a:pt x="270" y="412"/>
                  </a:lnTo>
                  <a:lnTo>
                    <a:pt x="270" y="412"/>
                  </a:lnTo>
                  <a:lnTo>
                    <a:pt x="286" y="396"/>
                  </a:lnTo>
                  <a:lnTo>
                    <a:pt x="306" y="376"/>
                  </a:lnTo>
                  <a:lnTo>
                    <a:pt x="326" y="352"/>
                  </a:lnTo>
                  <a:lnTo>
                    <a:pt x="326" y="352"/>
                  </a:lnTo>
                  <a:lnTo>
                    <a:pt x="374" y="332"/>
                  </a:lnTo>
                  <a:lnTo>
                    <a:pt x="434" y="304"/>
                  </a:lnTo>
                  <a:lnTo>
                    <a:pt x="444" y="254"/>
                  </a:lnTo>
                  <a:lnTo>
                    <a:pt x="444" y="254"/>
                  </a:lnTo>
                  <a:lnTo>
                    <a:pt x="430" y="242"/>
                  </a:lnTo>
                  <a:lnTo>
                    <a:pt x="430" y="242"/>
                  </a:lnTo>
                  <a:lnTo>
                    <a:pt x="418" y="248"/>
                  </a:lnTo>
                  <a:lnTo>
                    <a:pt x="366" y="224"/>
                  </a:lnTo>
                  <a:lnTo>
                    <a:pt x="366" y="224"/>
                  </a:lnTo>
                  <a:lnTo>
                    <a:pt x="366" y="218"/>
                  </a:lnTo>
                  <a:lnTo>
                    <a:pt x="364" y="212"/>
                  </a:lnTo>
                  <a:lnTo>
                    <a:pt x="358" y="202"/>
                  </a:lnTo>
                  <a:lnTo>
                    <a:pt x="356" y="200"/>
                  </a:lnTo>
                  <a:lnTo>
                    <a:pt x="354" y="194"/>
                  </a:lnTo>
                  <a:lnTo>
                    <a:pt x="352" y="190"/>
                  </a:lnTo>
                  <a:lnTo>
                    <a:pt x="354" y="184"/>
                  </a:lnTo>
                  <a:lnTo>
                    <a:pt x="354" y="184"/>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Tajikistan"/>
            <p:cNvSpPr>
              <a:spLocks/>
            </p:cNvSpPr>
            <p:nvPr/>
          </p:nvSpPr>
          <p:spPr bwMode="auto">
            <a:xfrm>
              <a:off x="5861809" y="2297906"/>
              <a:ext cx="198438" cy="97896"/>
            </a:xfrm>
            <a:custGeom>
              <a:avLst/>
              <a:gdLst/>
              <a:ahLst/>
              <a:cxnLst>
                <a:cxn ang="0">
                  <a:pos x="22" y="58"/>
                </a:cxn>
                <a:cxn ang="0">
                  <a:pos x="28" y="64"/>
                </a:cxn>
                <a:cxn ang="0">
                  <a:pos x="40" y="62"/>
                </a:cxn>
                <a:cxn ang="0">
                  <a:pos x="54" y="62"/>
                </a:cxn>
                <a:cxn ang="0">
                  <a:pos x="54" y="58"/>
                </a:cxn>
                <a:cxn ang="0">
                  <a:pos x="56" y="54"/>
                </a:cxn>
                <a:cxn ang="0">
                  <a:pos x="62" y="52"/>
                </a:cxn>
                <a:cxn ang="0">
                  <a:pos x="66" y="50"/>
                </a:cxn>
                <a:cxn ang="0">
                  <a:pos x="68" y="42"/>
                </a:cxn>
                <a:cxn ang="0">
                  <a:pos x="80" y="40"/>
                </a:cxn>
                <a:cxn ang="0">
                  <a:pos x="82" y="46"/>
                </a:cxn>
                <a:cxn ang="0">
                  <a:pos x="86" y="50"/>
                </a:cxn>
                <a:cxn ang="0">
                  <a:pos x="86" y="52"/>
                </a:cxn>
                <a:cxn ang="0">
                  <a:pos x="98" y="70"/>
                </a:cxn>
                <a:cxn ang="0">
                  <a:pos x="104" y="74"/>
                </a:cxn>
                <a:cxn ang="0">
                  <a:pos x="118" y="64"/>
                </a:cxn>
                <a:cxn ang="0">
                  <a:pos x="126" y="60"/>
                </a:cxn>
                <a:cxn ang="0">
                  <a:pos x="126" y="62"/>
                </a:cxn>
                <a:cxn ang="0">
                  <a:pos x="128" y="64"/>
                </a:cxn>
                <a:cxn ang="0">
                  <a:pos x="138" y="60"/>
                </a:cxn>
                <a:cxn ang="0">
                  <a:pos x="150" y="56"/>
                </a:cxn>
                <a:cxn ang="0">
                  <a:pos x="146" y="44"/>
                </a:cxn>
                <a:cxn ang="0">
                  <a:pos x="138" y="32"/>
                </a:cxn>
                <a:cxn ang="0">
                  <a:pos x="136" y="26"/>
                </a:cxn>
                <a:cxn ang="0">
                  <a:pos x="124" y="28"/>
                </a:cxn>
                <a:cxn ang="0">
                  <a:pos x="118" y="22"/>
                </a:cxn>
                <a:cxn ang="0">
                  <a:pos x="74" y="26"/>
                </a:cxn>
                <a:cxn ang="0">
                  <a:pos x="64" y="24"/>
                </a:cxn>
                <a:cxn ang="0">
                  <a:pos x="50" y="24"/>
                </a:cxn>
                <a:cxn ang="0">
                  <a:pos x="38" y="24"/>
                </a:cxn>
                <a:cxn ang="0">
                  <a:pos x="28" y="22"/>
                </a:cxn>
                <a:cxn ang="0">
                  <a:pos x="36" y="16"/>
                </a:cxn>
                <a:cxn ang="0">
                  <a:pos x="48" y="16"/>
                </a:cxn>
                <a:cxn ang="0">
                  <a:pos x="58" y="14"/>
                </a:cxn>
                <a:cxn ang="0">
                  <a:pos x="52" y="8"/>
                </a:cxn>
                <a:cxn ang="0">
                  <a:pos x="56" y="4"/>
                </a:cxn>
                <a:cxn ang="0">
                  <a:pos x="52" y="0"/>
                </a:cxn>
                <a:cxn ang="0">
                  <a:pos x="42" y="4"/>
                </a:cxn>
                <a:cxn ang="0">
                  <a:pos x="30" y="4"/>
                </a:cxn>
                <a:cxn ang="0">
                  <a:pos x="24" y="12"/>
                </a:cxn>
                <a:cxn ang="0">
                  <a:pos x="24" y="14"/>
                </a:cxn>
                <a:cxn ang="0">
                  <a:pos x="20" y="20"/>
                </a:cxn>
                <a:cxn ang="0">
                  <a:pos x="6" y="22"/>
                </a:cxn>
                <a:cxn ang="0">
                  <a:pos x="0" y="28"/>
                </a:cxn>
                <a:cxn ang="0">
                  <a:pos x="10" y="34"/>
                </a:cxn>
                <a:cxn ang="0">
                  <a:pos x="18" y="36"/>
                </a:cxn>
                <a:cxn ang="0">
                  <a:pos x="20" y="38"/>
                </a:cxn>
                <a:cxn ang="0">
                  <a:pos x="22" y="44"/>
                </a:cxn>
                <a:cxn ang="0">
                  <a:pos x="18" y="58"/>
                </a:cxn>
              </a:cxnLst>
              <a:rect l="0" t="0" r="r" b="b"/>
              <a:pathLst>
                <a:path w="150" h="74">
                  <a:moveTo>
                    <a:pt x="18" y="58"/>
                  </a:moveTo>
                  <a:lnTo>
                    <a:pt x="18" y="58"/>
                  </a:lnTo>
                  <a:lnTo>
                    <a:pt x="22" y="58"/>
                  </a:lnTo>
                  <a:lnTo>
                    <a:pt x="24" y="58"/>
                  </a:lnTo>
                  <a:lnTo>
                    <a:pt x="26" y="62"/>
                  </a:lnTo>
                  <a:lnTo>
                    <a:pt x="28" y="64"/>
                  </a:lnTo>
                  <a:lnTo>
                    <a:pt x="34" y="64"/>
                  </a:lnTo>
                  <a:lnTo>
                    <a:pt x="34" y="64"/>
                  </a:lnTo>
                  <a:lnTo>
                    <a:pt x="40" y="62"/>
                  </a:lnTo>
                  <a:lnTo>
                    <a:pt x="44" y="62"/>
                  </a:lnTo>
                  <a:lnTo>
                    <a:pt x="50" y="64"/>
                  </a:lnTo>
                  <a:lnTo>
                    <a:pt x="54" y="62"/>
                  </a:lnTo>
                  <a:lnTo>
                    <a:pt x="54" y="62"/>
                  </a:lnTo>
                  <a:lnTo>
                    <a:pt x="56" y="60"/>
                  </a:lnTo>
                  <a:lnTo>
                    <a:pt x="54" y="58"/>
                  </a:lnTo>
                  <a:lnTo>
                    <a:pt x="54" y="56"/>
                  </a:lnTo>
                  <a:lnTo>
                    <a:pt x="56" y="54"/>
                  </a:lnTo>
                  <a:lnTo>
                    <a:pt x="56" y="54"/>
                  </a:lnTo>
                  <a:lnTo>
                    <a:pt x="60" y="52"/>
                  </a:lnTo>
                  <a:lnTo>
                    <a:pt x="60" y="52"/>
                  </a:lnTo>
                  <a:lnTo>
                    <a:pt x="62" y="52"/>
                  </a:lnTo>
                  <a:lnTo>
                    <a:pt x="64" y="52"/>
                  </a:lnTo>
                  <a:lnTo>
                    <a:pt x="64" y="52"/>
                  </a:lnTo>
                  <a:lnTo>
                    <a:pt x="66" y="50"/>
                  </a:lnTo>
                  <a:lnTo>
                    <a:pt x="64" y="48"/>
                  </a:lnTo>
                  <a:lnTo>
                    <a:pt x="66" y="46"/>
                  </a:lnTo>
                  <a:lnTo>
                    <a:pt x="68" y="42"/>
                  </a:lnTo>
                  <a:lnTo>
                    <a:pt x="68" y="42"/>
                  </a:lnTo>
                  <a:lnTo>
                    <a:pt x="74" y="40"/>
                  </a:lnTo>
                  <a:lnTo>
                    <a:pt x="80" y="40"/>
                  </a:lnTo>
                  <a:lnTo>
                    <a:pt x="82" y="42"/>
                  </a:lnTo>
                  <a:lnTo>
                    <a:pt x="82" y="46"/>
                  </a:lnTo>
                  <a:lnTo>
                    <a:pt x="82" y="46"/>
                  </a:lnTo>
                  <a:lnTo>
                    <a:pt x="80" y="50"/>
                  </a:lnTo>
                  <a:lnTo>
                    <a:pt x="82" y="50"/>
                  </a:lnTo>
                  <a:lnTo>
                    <a:pt x="86" y="50"/>
                  </a:lnTo>
                  <a:lnTo>
                    <a:pt x="86" y="50"/>
                  </a:lnTo>
                  <a:lnTo>
                    <a:pt x="86" y="52"/>
                  </a:lnTo>
                  <a:lnTo>
                    <a:pt x="86" y="52"/>
                  </a:lnTo>
                  <a:lnTo>
                    <a:pt x="88" y="56"/>
                  </a:lnTo>
                  <a:lnTo>
                    <a:pt x="92" y="62"/>
                  </a:lnTo>
                  <a:lnTo>
                    <a:pt x="98" y="70"/>
                  </a:lnTo>
                  <a:lnTo>
                    <a:pt x="98" y="70"/>
                  </a:lnTo>
                  <a:lnTo>
                    <a:pt x="102" y="74"/>
                  </a:lnTo>
                  <a:lnTo>
                    <a:pt x="104" y="74"/>
                  </a:lnTo>
                  <a:lnTo>
                    <a:pt x="112" y="68"/>
                  </a:lnTo>
                  <a:lnTo>
                    <a:pt x="112" y="68"/>
                  </a:lnTo>
                  <a:lnTo>
                    <a:pt x="118" y="64"/>
                  </a:lnTo>
                  <a:lnTo>
                    <a:pt x="122" y="62"/>
                  </a:lnTo>
                  <a:lnTo>
                    <a:pt x="124" y="60"/>
                  </a:lnTo>
                  <a:lnTo>
                    <a:pt x="126" y="60"/>
                  </a:lnTo>
                  <a:lnTo>
                    <a:pt x="126" y="60"/>
                  </a:lnTo>
                  <a:lnTo>
                    <a:pt x="128" y="60"/>
                  </a:lnTo>
                  <a:lnTo>
                    <a:pt x="126" y="62"/>
                  </a:lnTo>
                  <a:lnTo>
                    <a:pt x="126" y="64"/>
                  </a:lnTo>
                  <a:lnTo>
                    <a:pt x="128" y="64"/>
                  </a:lnTo>
                  <a:lnTo>
                    <a:pt x="128" y="64"/>
                  </a:lnTo>
                  <a:lnTo>
                    <a:pt x="130" y="64"/>
                  </a:lnTo>
                  <a:lnTo>
                    <a:pt x="134" y="62"/>
                  </a:lnTo>
                  <a:lnTo>
                    <a:pt x="138" y="60"/>
                  </a:lnTo>
                  <a:lnTo>
                    <a:pt x="148" y="60"/>
                  </a:lnTo>
                  <a:lnTo>
                    <a:pt x="148" y="60"/>
                  </a:lnTo>
                  <a:lnTo>
                    <a:pt x="150" y="56"/>
                  </a:lnTo>
                  <a:lnTo>
                    <a:pt x="148" y="48"/>
                  </a:lnTo>
                  <a:lnTo>
                    <a:pt x="148" y="48"/>
                  </a:lnTo>
                  <a:lnTo>
                    <a:pt x="146" y="44"/>
                  </a:lnTo>
                  <a:lnTo>
                    <a:pt x="140" y="42"/>
                  </a:lnTo>
                  <a:lnTo>
                    <a:pt x="138" y="38"/>
                  </a:lnTo>
                  <a:lnTo>
                    <a:pt x="138" y="32"/>
                  </a:lnTo>
                  <a:lnTo>
                    <a:pt x="138" y="32"/>
                  </a:lnTo>
                  <a:lnTo>
                    <a:pt x="138" y="28"/>
                  </a:lnTo>
                  <a:lnTo>
                    <a:pt x="136" y="26"/>
                  </a:lnTo>
                  <a:lnTo>
                    <a:pt x="130" y="26"/>
                  </a:lnTo>
                  <a:lnTo>
                    <a:pt x="126" y="28"/>
                  </a:lnTo>
                  <a:lnTo>
                    <a:pt x="124" y="28"/>
                  </a:lnTo>
                  <a:lnTo>
                    <a:pt x="120" y="26"/>
                  </a:lnTo>
                  <a:lnTo>
                    <a:pt x="118" y="22"/>
                  </a:lnTo>
                  <a:lnTo>
                    <a:pt x="118" y="22"/>
                  </a:lnTo>
                  <a:lnTo>
                    <a:pt x="102" y="26"/>
                  </a:lnTo>
                  <a:lnTo>
                    <a:pt x="86" y="28"/>
                  </a:lnTo>
                  <a:lnTo>
                    <a:pt x="74" y="26"/>
                  </a:lnTo>
                  <a:lnTo>
                    <a:pt x="68" y="24"/>
                  </a:lnTo>
                  <a:lnTo>
                    <a:pt x="68" y="24"/>
                  </a:lnTo>
                  <a:lnTo>
                    <a:pt x="64" y="24"/>
                  </a:lnTo>
                  <a:lnTo>
                    <a:pt x="60" y="24"/>
                  </a:lnTo>
                  <a:lnTo>
                    <a:pt x="54" y="26"/>
                  </a:lnTo>
                  <a:lnTo>
                    <a:pt x="50" y="24"/>
                  </a:lnTo>
                  <a:lnTo>
                    <a:pt x="50" y="24"/>
                  </a:lnTo>
                  <a:lnTo>
                    <a:pt x="46" y="24"/>
                  </a:lnTo>
                  <a:lnTo>
                    <a:pt x="38" y="24"/>
                  </a:lnTo>
                  <a:lnTo>
                    <a:pt x="30" y="24"/>
                  </a:lnTo>
                  <a:lnTo>
                    <a:pt x="28" y="24"/>
                  </a:lnTo>
                  <a:lnTo>
                    <a:pt x="28" y="22"/>
                  </a:lnTo>
                  <a:lnTo>
                    <a:pt x="28" y="22"/>
                  </a:lnTo>
                  <a:lnTo>
                    <a:pt x="30" y="18"/>
                  </a:lnTo>
                  <a:lnTo>
                    <a:pt x="36" y="16"/>
                  </a:lnTo>
                  <a:lnTo>
                    <a:pt x="42" y="16"/>
                  </a:lnTo>
                  <a:lnTo>
                    <a:pt x="48" y="16"/>
                  </a:lnTo>
                  <a:lnTo>
                    <a:pt x="48" y="16"/>
                  </a:lnTo>
                  <a:lnTo>
                    <a:pt x="52" y="18"/>
                  </a:lnTo>
                  <a:lnTo>
                    <a:pt x="56" y="18"/>
                  </a:lnTo>
                  <a:lnTo>
                    <a:pt x="58" y="14"/>
                  </a:lnTo>
                  <a:lnTo>
                    <a:pt x="58" y="10"/>
                  </a:lnTo>
                  <a:lnTo>
                    <a:pt x="58" y="10"/>
                  </a:lnTo>
                  <a:lnTo>
                    <a:pt x="52" y="8"/>
                  </a:lnTo>
                  <a:lnTo>
                    <a:pt x="52" y="6"/>
                  </a:lnTo>
                  <a:lnTo>
                    <a:pt x="52" y="6"/>
                  </a:lnTo>
                  <a:lnTo>
                    <a:pt x="56" y="4"/>
                  </a:lnTo>
                  <a:lnTo>
                    <a:pt x="56" y="4"/>
                  </a:lnTo>
                  <a:lnTo>
                    <a:pt x="52" y="0"/>
                  </a:lnTo>
                  <a:lnTo>
                    <a:pt x="52" y="0"/>
                  </a:lnTo>
                  <a:lnTo>
                    <a:pt x="50" y="0"/>
                  </a:lnTo>
                  <a:lnTo>
                    <a:pt x="48" y="0"/>
                  </a:lnTo>
                  <a:lnTo>
                    <a:pt x="42" y="4"/>
                  </a:lnTo>
                  <a:lnTo>
                    <a:pt x="36" y="6"/>
                  </a:lnTo>
                  <a:lnTo>
                    <a:pt x="32" y="6"/>
                  </a:lnTo>
                  <a:lnTo>
                    <a:pt x="30" y="4"/>
                  </a:lnTo>
                  <a:lnTo>
                    <a:pt x="30" y="4"/>
                  </a:lnTo>
                  <a:lnTo>
                    <a:pt x="28" y="8"/>
                  </a:lnTo>
                  <a:lnTo>
                    <a:pt x="24" y="12"/>
                  </a:lnTo>
                  <a:lnTo>
                    <a:pt x="16" y="14"/>
                  </a:lnTo>
                  <a:lnTo>
                    <a:pt x="16" y="14"/>
                  </a:lnTo>
                  <a:lnTo>
                    <a:pt x="24" y="14"/>
                  </a:lnTo>
                  <a:lnTo>
                    <a:pt x="24" y="16"/>
                  </a:lnTo>
                  <a:lnTo>
                    <a:pt x="24" y="18"/>
                  </a:lnTo>
                  <a:lnTo>
                    <a:pt x="20" y="20"/>
                  </a:lnTo>
                  <a:lnTo>
                    <a:pt x="10" y="22"/>
                  </a:lnTo>
                  <a:lnTo>
                    <a:pt x="10" y="22"/>
                  </a:lnTo>
                  <a:lnTo>
                    <a:pt x="6" y="22"/>
                  </a:lnTo>
                  <a:lnTo>
                    <a:pt x="2" y="24"/>
                  </a:lnTo>
                  <a:lnTo>
                    <a:pt x="0" y="26"/>
                  </a:lnTo>
                  <a:lnTo>
                    <a:pt x="0" y="28"/>
                  </a:lnTo>
                  <a:lnTo>
                    <a:pt x="4" y="32"/>
                  </a:lnTo>
                  <a:lnTo>
                    <a:pt x="10" y="34"/>
                  </a:lnTo>
                  <a:lnTo>
                    <a:pt x="10" y="34"/>
                  </a:lnTo>
                  <a:lnTo>
                    <a:pt x="16" y="34"/>
                  </a:lnTo>
                  <a:lnTo>
                    <a:pt x="18" y="36"/>
                  </a:lnTo>
                  <a:lnTo>
                    <a:pt x="18" y="36"/>
                  </a:lnTo>
                  <a:lnTo>
                    <a:pt x="16" y="38"/>
                  </a:lnTo>
                  <a:lnTo>
                    <a:pt x="20" y="38"/>
                  </a:lnTo>
                  <a:lnTo>
                    <a:pt x="20" y="38"/>
                  </a:lnTo>
                  <a:lnTo>
                    <a:pt x="22" y="40"/>
                  </a:lnTo>
                  <a:lnTo>
                    <a:pt x="24" y="40"/>
                  </a:lnTo>
                  <a:lnTo>
                    <a:pt x="22" y="44"/>
                  </a:lnTo>
                  <a:lnTo>
                    <a:pt x="18" y="50"/>
                  </a:lnTo>
                  <a:lnTo>
                    <a:pt x="18" y="58"/>
                  </a:lnTo>
                  <a:lnTo>
                    <a:pt x="18" y="58"/>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252"/>
            <p:cNvSpPr>
              <a:spLocks/>
            </p:cNvSpPr>
            <p:nvPr/>
          </p:nvSpPr>
          <p:spPr bwMode="auto">
            <a:xfrm>
              <a:off x="1877184" y="2885281"/>
              <a:ext cx="15875" cy="13229"/>
            </a:xfrm>
            <a:custGeom>
              <a:avLst/>
              <a:gdLst/>
              <a:ahLst/>
              <a:cxnLst>
                <a:cxn ang="0">
                  <a:pos x="6" y="0"/>
                </a:cxn>
                <a:cxn ang="0">
                  <a:pos x="6" y="0"/>
                </a:cxn>
                <a:cxn ang="0">
                  <a:pos x="4" y="0"/>
                </a:cxn>
                <a:cxn ang="0">
                  <a:pos x="2" y="2"/>
                </a:cxn>
                <a:cxn ang="0">
                  <a:pos x="2" y="2"/>
                </a:cxn>
                <a:cxn ang="0">
                  <a:pos x="2" y="4"/>
                </a:cxn>
                <a:cxn ang="0">
                  <a:pos x="2" y="4"/>
                </a:cxn>
                <a:cxn ang="0">
                  <a:pos x="4" y="6"/>
                </a:cxn>
                <a:cxn ang="0">
                  <a:pos x="4" y="6"/>
                </a:cxn>
                <a:cxn ang="0">
                  <a:pos x="4" y="6"/>
                </a:cxn>
                <a:cxn ang="0">
                  <a:pos x="4" y="6"/>
                </a:cxn>
                <a:cxn ang="0">
                  <a:pos x="0" y="6"/>
                </a:cxn>
                <a:cxn ang="0">
                  <a:pos x="0" y="6"/>
                </a:cxn>
                <a:cxn ang="0">
                  <a:pos x="0" y="6"/>
                </a:cxn>
                <a:cxn ang="0">
                  <a:pos x="0" y="6"/>
                </a:cxn>
                <a:cxn ang="0">
                  <a:pos x="0" y="6"/>
                </a:cxn>
                <a:cxn ang="0">
                  <a:pos x="0" y="6"/>
                </a:cxn>
                <a:cxn ang="0">
                  <a:pos x="2" y="8"/>
                </a:cxn>
                <a:cxn ang="0">
                  <a:pos x="6" y="10"/>
                </a:cxn>
                <a:cxn ang="0">
                  <a:pos x="6" y="10"/>
                </a:cxn>
                <a:cxn ang="0">
                  <a:pos x="8" y="10"/>
                </a:cxn>
                <a:cxn ang="0">
                  <a:pos x="12" y="8"/>
                </a:cxn>
                <a:cxn ang="0">
                  <a:pos x="12" y="8"/>
                </a:cxn>
                <a:cxn ang="0">
                  <a:pos x="12" y="8"/>
                </a:cxn>
                <a:cxn ang="0">
                  <a:pos x="12" y="6"/>
                </a:cxn>
                <a:cxn ang="0">
                  <a:pos x="12" y="6"/>
                </a:cxn>
                <a:cxn ang="0">
                  <a:pos x="12" y="4"/>
                </a:cxn>
                <a:cxn ang="0">
                  <a:pos x="12" y="4"/>
                </a:cxn>
                <a:cxn ang="0">
                  <a:pos x="12" y="2"/>
                </a:cxn>
                <a:cxn ang="0">
                  <a:pos x="12" y="2"/>
                </a:cxn>
                <a:cxn ang="0">
                  <a:pos x="12" y="0"/>
                </a:cxn>
                <a:cxn ang="0">
                  <a:pos x="12" y="0"/>
                </a:cxn>
                <a:cxn ang="0">
                  <a:pos x="10" y="0"/>
                </a:cxn>
                <a:cxn ang="0">
                  <a:pos x="10" y="0"/>
                </a:cxn>
                <a:cxn ang="0">
                  <a:pos x="6" y="0"/>
                </a:cxn>
                <a:cxn ang="0">
                  <a:pos x="6" y="0"/>
                </a:cxn>
              </a:cxnLst>
              <a:rect l="0" t="0" r="r" b="b"/>
              <a:pathLst>
                <a:path w="12" h="10">
                  <a:moveTo>
                    <a:pt x="6" y="0"/>
                  </a:moveTo>
                  <a:lnTo>
                    <a:pt x="6" y="0"/>
                  </a:lnTo>
                  <a:lnTo>
                    <a:pt x="4" y="0"/>
                  </a:lnTo>
                  <a:lnTo>
                    <a:pt x="2" y="2"/>
                  </a:lnTo>
                  <a:lnTo>
                    <a:pt x="2" y="2"/>
                  </a:lnTo>
                  <a:lnTo>
                    <a:pt x="2" y="4"/>
                  </a:lnTo>
                  <a:lnTo>
                    <a:pt x="2" y="4"/>
                  </a:lnTo>
                  <a:lnTo>
                    <a:pt x="4" y="6"/>
                  </a:lnTo>
                  <a:lnTo>
                    <a:pt x="4" y="6"/>
                  </a:lnTo>
                  <a:lnTo>
                    <a:pt x="4" y="6"/>
                  </a:lnTo>
                  <a:lnTo>
                    <a:pt x="4" y="6"/>
                  </a:lnTo>
                  <a:lnTo>
                    <a:pt x="0" y="6"/>
                  </a:lnTo>
                  <a:lnTo>
                    <a:pt x="0" y="6"/>
                  </a:lnTo>
                  <a:lnTo>
                    <a:pt x="0" y="6"/>
                  </a:lnTo>
                  <a:lnTo>
                    <a:pt x="0" y="6"/>
                  </a:lnTo>
                  <a:lnTo>
                    <a:pt x="0" y="6"/>
                  </a:lnTo>
                  <a:lnTo>
                    <a:pt x="0" y="6"/>
                  </a:lnTo>
                  <a:lnTo>
                    <a:pt x="2" y="8"/>
                  </a:lnTo>
                  <a:lnTo>
                    <a:pt x="6" y="10"/>
                  </a:lnTo>
                  <a:lnTo>
                    <a:pt x="6" y="10"/>
                  </a:lnTo>
                  <a:lnTo>
                    <a:pt x="8" y="10"/>
                  </a:lnTo>
                  <a:lnTo>
                    <a:pt x="12" y="8"/>
                  </a:lnTo>
                  <a:lnTo>
                    <a:pt x="12" y="8"/>
                  </a:lnTo>
                  <a:lnTo>
                    <a:pt x="12" y="8"/>
                  </a:lnTo>
                  <a:lnTo>
                    <a:pt x="12" y="6"/>
                  </a:lnTo>
                  <a:lnTo>
                    <a:pt x="12" y="6"/>
                  </a:lnTo>
                  <a:lnTo>
                    <a:pt x="12" y="4"/>
                  </a:lnTo>
                  <a:lnTo>
                    <a:pt x="12" y="4"/>
                  </a:lnTo>
                  <a:lnTo>
                    <a:pt x="12" y="2"/>
                  </a:lnTo>
                  <a:lnTo>
                    <a:pt x="12" y="2"/>
                  </a:lnTo>
                  <a:lnTo>
                    <a:pt x="12" y="0"/>
                  </a:lnTo>
                  <a:lnTo>
                    <a:pt x="12" y="0"/>
                  </a:lnTo>
                  <a:lnTo>
                    <a:pt x="10" y="0"/>
                  </a:lnTo>
                  <a:lnTo>
                    <a:pt x="10" y="0"/>
                  </a:lnTo>
                  <a:lnTo>
                    <a:pt x="6" y="0"/>
                  </a:lnTo>
                  <a:lnTo>
                    <a:pt x="6" y="0"/>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Argentina"/>
            <p:cNvSpPr>
              <a:spLocks/>
            </p:cNvSpPr>
            <p:nvPr/>
          </p:nvSpPr>
          <p:spPr bwMode="auto">
            <a:xfrm>
              <a:off x="2289934" y="4359011"/>
              <a:ext cx="415396" cy="878417"/>
            </a:xfrm>
            <a:custGeom>
              <a:avLst/>
              <a:gdLst/>
              <a:ahLst/>
              <a:cxnLst>
                <a:cxn ang="0">
                  <a:pos x="174" y="652"/>
                </a:cxn>
                <a:cxn ang="0">
                  <a:pos x="164" y="640"/>
                </a:cxn>
                <a:cxn ang="0">
                  <a:pos x="178" y="622"/>
                </a:cxn>
                <a:cxn ang="0">
                  <a:pos x="190" y="600"/>
                </a:cxn>
                <a:cxn ang="0">
                  <a:pos x="200" y="570"/>
                </a:cxn>
                <a:cxn ang="0">
                  <a:pos x="162" y="548"/>
                </a:cxn>
                <a:cxn ang="0">
                  <a:pos x="190" y="520"/>
                </a:cxn>
                <a:cxn ang="0">
                  <a:pos x="192" y="500"/>
                </a:cxn>
                <a:cxn ang="0">
                  <a:pos x="200" y="478"/>
                </a:cxn>
                <a:cxn ang="0">
                  <a:pos x="202" y="472"/>
                </a:cxn>
                <a:cxn ang="0">
                  <a:pos x="202" y="460"/>
                </a:cxn>
                <a:cxn ang="0">
                  <a:pos x="184" y="464"/>
                </a:cxn>
                <a:cxn ang="0">
                  <a:pos x="170" y="436"/>
                </a:cxn>
                <a:cxn ang="0">
                  <a:pos x="192" y="438"/>
                </a:cxn>
                <a:cxn ang="0">
                  <a:pos x="218" y="414"/>
                </a:cxn>
                <a:cxn ang="0">
                  <a:pos x="220" y="396"/>
                </a:cxn>
                <a:cxn ang="0">
                  <a:pos x="226" y="388"/>
                </a:cxn>
                <a:cxn ang="0">
                  <a:pos x="296" y="372"/>
                </a:cxn>
                <a:cxn ang="0">
                  <a:pos x="310" y="330"/>
                </a:cxn>
                <a:cxn ang="0">
                  <a:pos x="288" y="302"/>
                </a:cxn>
                <a:cxn ang="0">
                  <a:pos x="254" y="276"/>
                </a:cxn>
                <a:cxn ang="0">
                  <a:pos x="250" y="218"/>
                </a:cxn>
                <a:cxn ang="0">
                  <a:pos x="260" y="180"/>
                </a:cxn>
                <a:cxn ang="0">
                  <a:pos x="284" y="146"/>
                </a:cxn>
                <a:cxn ang="0">
                  <a:pos x="296" y="130"/>
                </a:cxn>
                <a:cxn ang="0">
                  <a:pos x="310" y="98"/>
                </a:cxn>
                <a:cxn ang="0">
                  <a:pos x="292" y="104"/>
                </a:cxn>
                <a:cxn ang="0">
                  <a:pos x="268" y="124"/>
                </a:cxn>
                <a:cxn ang="0">
                  <a:pos x="240" y="126"/>
                </a:cxn>
                <a:cxn ang="0">
                  <a:pos x="222" y="100"/>
                </a:cxn>
                <a:cxn ang="0">
                  <a:pos x="210" y="72"/>
                </a:cxn>
                <a:cxn ang="0">
                  <a:pos x="162" y="50"/>
                </a:cxn>
                <a:cxn ang="0">
                  <a:pos x="124" y="10"/>
                </a:cxn>
                <a:cxn ang="0">
                  <a:pos x="86" y="6"/>
                </a:cxn>
                <a:cxn ang="0">
                  <a:pos x="80" y="16"/>
                </a:cxn>
                <a:cxn ang="0">
                  <a:pos x="48" y="0"/>
                </a:cxn>
                <a:cxn ang="0">
                  <a:pos x="30" y="20"/>
                </a:cxn>
                <a:cxn ang="0">
                  <a:pos x="18" y="58"/>
                </a:cxn>
                <a:cxn ang="0">
                  <a:pos x="6" y="88"/>
                </a:cxn>
                <a:cxn ang="0">
                  <a:pos x="18" y="124"/>
                </a:cxn>
                <a:cxn ang="0">
                  <a:pos x="6" y="156"/>
                </a:cxn>
                <a:cxn ang="0">
                  <a:pos x="4" y="196"/>
                </a:cxn>
                <a:cxn ang="0">
                  <a:pos x="10" y="236"/>
                </a:cxn>
                <a:cxn ang="0">
                  <a:pos x="22" y="268"/>
                </a:cxn>
                <a:cxn ang="0">
                  <a:pos x="30" y="288"/>
                </a:cxn>
                <a:cxn ang="0">
                  <a:pos x="24" y="330"/>
                </a:cxn>
                <a:cxn ang="0">
                  <a:pos x="38" y="380"/>
                </a:cxn>
                <a:cxn ang="0">
                  <a:pos x="30" y="400"/>
                </a:cxn>
                <a:cxn ang="0">
                  <a:pos x="40" y="440"/>
                </a:cxn>
                <a:cxn ang="0">
                  <a:pos x="42" y="462"/>
                </a:cxn>
                <a:cxn ang="0">
                  <a:pos x="54" y="478"/>
                </a:cxn>
                <a:cxn ang="0">
                  <a:pos x="62" y="490"/>
                </a:cxn>
                <a:cxn ang="0">
                  <a:pos x="70" y="514"/>
                </a:cxn>
                <a:cxn ang="0">
                  <a:pos x="64" y="530"/>
                </a:cxn>
                <a:cxn ang="0">
                  <a:pos x="78" y="570"/>
                </a:cxn>
                <a:cxn ang="0">
                  <a:pos x="78" y="590"/>
                </a:cxn>
                <a:cxn ang="0">
                  <a:pos x="82" y="620"/>
                </a:cxn>
                <a:cxn ang="0">
                  <a:pos x="106" y="634"/>
                </a:cxn>
                <a:cxn ang="0">
                  <a:pos x="120" y="654"/>
                </a:cxn>
              </a:cxnLst>
              <a:rect l="0" t="0" r="r" b="b"/>
              <a:pathLst>
                <a:path w="314" h="664">
                  <a:moveTo>
                    <a:pt x="184" y="664"/>
                  </a:moveTo>
                  <a:lnTo>
                    <a:pt x="184" y="664"/>
                  </a:lnTo>
                  <a:lnTo>
                    <a:pt x="182" y="662"/>
                  </a:lnTo>
                  <a:lnTo>
                    <a:pt x="182" y="662"/>
                  </a:lnTo>
                  <a:lnTo>
                    <a:pt x="182" y="660"/>
                  </a:lnTo>
                  <a:lnTo>
                    <a:pt x="180" y="658"/>
                  </a:lnTo>
                  <a:lnTo>
                    <a:pt x="180" y="658"/>
                  </a:lnTo>
                  <a:lnTo>
                    <a:pt x="176" y="656"/>
                  </a:lnTo>
                  <a:lnTo>
                    <a:pt x="176" y="654"/>
                  </a:lnTo>
                  <a:lnTo>
                    <a:pt x="174" y="652"/>
                  </a:lnTo>
                  <a:lnTo>
                    <a:pt x="170" y="650"/>
                  </a:lnTo>
                  <a:lnTo>
                    <a:pt x="170" y="650"/>
                  </a:lnTo>
                  <a:lnTo>
                    <a:pt x="168" y="648"/>
                  </a:lnTo>
                  <a:lnTo>
                    <a:pt x="168" y="648"/>
                  </a:lnTo>
                  <a:lnTo>
                    <a:pt x="170" y="648"/>
                  </a:lnTo>
                  <a:lnTo>
                    <a:pt x="168" y="646"/>
                  </a:lnTo>
                  <a:lnTo>
                    <a:pt x="168" y="646"/>
                  </a:lnTo>
                  <a:lnTo>
                    <a:pt x="166" y="644"/>
                  </a:lnTo>
                  <a:lnTo>
                    <a:pt x="166" y="642"/>
                  </a:lnTo>
                  <a:lnTo>
                    <a:pt x="164" y="640"/>
                  </a:lnTo>
                  <a:lnTo>
                    <a:pt x="162" y="640"/>
                  </a:lnTo>
                  <a:lnTo>
                    <a:pt x="162" y="640"/>
                  </a:lnTo>
                  <a:lnTo>
                    <a:pt x="162" y="638"/>
                  </a:lnTo>
                  <a:lnTo>
                    <a:pt x="162" y="634"/>
                  </a:lnTo>
                  <a:lnTo>
                    <a:pt x="162" y="632"/>
                  </a:lnTo>
                  <a:lnTo>
                    <a:pt x="162" y="632"/>
                  </a:lnTo>
                  <a:lnTo>
                    <a:pt x="166" y="626"/>
                  </a:lnTo>
                  <a:lnTo>
                    <a:pt x="172" y="626"/>
                  </a:lnTo>
                  <a:lnTo>
                    <a:pt x="176" y="626"/>
                  </a:lnTo>
                  <a:lnTo>
                    <a:pt x="178" y="622"/>
                  </a:lnTo>
                  <a:lnTo>
                    <a:pt x="178" y="622"/>
                  </a:lnTo>
                  <a:lnTo>
                    <a:pt x="184" y="614"/>
                  </a:lnTo>
                  <a:lnTo>
                    <a:pt x="186" y="612"/>
                  </a:lnTo>
                  <a:lnTo>
                    <a:pt x="186" y="608"/>
                  </a:lnTo>
                  <a:lnTo>
                    <a:pt x="186" y="608"/>
                  </a:lnTo>
                  <a:lnTo>
                    <a:pt x="186" y="604"/>
                  </a:lnTo>
                  <a:lnTo>
                    <a:pt x="188" y="602"/>
                  </a:lnTo>
                  <a:lnTo>
                    <a:pt x="190" y="602"/>
                  </a:lnTo>
                  <a:lnTo>
                    <a:pt x="190" y="600"/>
                  </a:lnTo>
                  <a:lnTo>
                    <a:pt x="190" y="600"/>
                  </a:lnTo>
                  <a:lnTo>
                    <a:pt x="190" y="598"/>
                  </a:lnTo>
                  <a:lnTo>
                    <a:pt x="192" y="596"/>
                  </a:lnTo>
                  <a:lnTo>
                    <a:pt x="196" y="594"/>
                  </a:lnTo>
                  <a:lnTo>
                    <a:pt x="202" y="584"/>
                  </a:lnTo>
                  <a:lnTo>
                    <a:pt x="202" y="584"/>
                  </a:lnTo>
                  <a:lnTo>
                    <a:pt x="200" y="580"/>
                  </a:lnTo>
                  <a:lnTo>
                    <a:pt x="202" y="578"/>
                  </a:lnTo>
                  <a:lnTo>
                    <a:pt x="202" y="576"/>
                  </a:lnTo>
                  <a:lnTo>
                    <a:pt x="200" y="570"/>
                  </a:lnTo>
                  <a:lnTo>
                    <a:pt x="200" y="570"/>
                  </a:lnTo>
                  <a:lnTo>
                    <a:pt x="196" y="566"/>
                  </a:lnTo>
                  <a:lnTo>
                    <a:pt x="194" y="564"/>
                  </a:lnTo>
                  <a:lnTo>
                    <a:pt x="188" y="564"/>
                  </a:lnTo>
                  <a:lnTo>
                    <a:pt x="182" y="564"/>
                  </a:lnTo>
                  <a:lnTo>
                    <a:pt x="180" y="562"/>
                  </a:lnTo>
                  <a:lnTo>
                    <a:pt x="174" y="558"/>
                  </a:lnTo>
                  <a:lnTo>
                    <a:pt x="174" y="558"/>
                  </a:lnTo>
                  <a:lnTo>
                    <a:pt x="170" y="554"/>
                  </a:lnTo>
                  <a:lnTo>
                    <a:pt x="166" y="552"/>
                  </a:lnTo>
                  <a:lnTo>
                    <a:pt x="162" y="548"/>
                  </a:lnTo>
                  <a:lnTo>
                    <a:pt x="162" y="540"/>
                  </a:lnTo>
                  <a:lnTo>
                    <a:pt x="162" y="540"/>
                  </a:lnTo>
                  <a:lnTo>
                    <a:pt x="166" y="532"/>
                  </a:lnTo>
                  <a:lnTo>
                    <a:pt x="168" y="530"/>
                  </a:lnTo>
                  <a:lnTo>
                    <a:pt x="172" y="528"/>
                  </a:lnTo>
                  <a:lnTo>
                    <a:pt x="176" y="526"/>
                  </a:lnTo>
                  <a:lnTo>
                    <a:pt x="176" y="526"/>
                  </a:lnTo>
                  <a:lnTo>
                    <a:pt x="180" y="522"/>
                  </a:lnTo>
                  <a:lnTo>
                    <a:pt x="186" y="522"/>
                  </a:lnTo>
                  <a:lnTo>
                    <a:pt x="190" y="520"/>
                  </a:lnTo>
                  <a:lnTo>
                    <a:pt x="190" y="518"/>
                  </a:lnTo>
                  <a:lnTo>
                    <a:pt x="190" y="516"/>
                  </a:lnTo>
                  <a:lnTo>
                    <a:pt x="190" y="516"/>
                  </a:lnTo>
                  <a:lnTo>
                    <a:pt x="188" y="514"/>
                  </a:lnTo>
                  <a:lnTo>
                    <a:pt x="188" y="512"/>
                  </a:lnTo>
                  <a:lnTo>
                    <a:pt x="192" y="508"/>
                  </a:lnTo>
                  <a:lnTo>
                    <a:pt x="194" y="506"/>
                  </a:lnTo>
                  <a:lnTo>
                    <a:pt x="194" y="504"/>
                  </a:lnTo>
                  <a:lnTo>
                    <a:pt x="192" y="500"/>
                  </a:lnTo>
                  <a:lnTo>
                    <a:pt x="192" y="500"/>
                  </a:lnTo>
                  <a:lnTo>
                    <a:pt x="190" y="496"/>
                  </a:lnTo>
                  <a:lnTo>
                    <a:pt x="192" y="494"/>
                  </a:lnTo>
                  <a:lnTo>
                    <a:pt x="192" y="492"/>
                  </a:lnTo>
                  <a:lnTo>
                    <a:pt x="192" y="486"/>
                  </a:lnTo>
                  <a:lnTo>
                    <a:pt x="192" y="486"/>
                  </a:lnTo>
                  <a:lnTo>
                    <a:pt x="192" y="482"/>
                  </a:lnTo>
                  <a:lnTo>
                    <a:pt x="196" y="480"/>
                  </a:lnTo>
                  <a:lnTo>
                    <a:pt x="200" y="480"/>
                  </a:lnTo>
                  <a:lnTo>
                    <a:pt x="200" y="478"/>
                  </a:lnTo>
                  <a:lnTo>
                    <a:pt x="200" y="478"/>
                  </a:lnTo>
                  <a:lnTo>
                    <a:pt x="198" y="476"/>
                  </a:lnTo>
                  <a:lnTo>
                    <a:pt x="192" y="476"/>
                  </a:lnTo>
                  <a:lnTo>
                    <a:pt x="188" y="474"/>
                  </a:lnTo>
                  <a:lnTo>
                    <a:pt x="186" y="474"/>
                  </a:lnTo>
                  <a:lnTo>
                    <a:pt x="186" y="474"/>
                  </a:lnTo>
                  <a:lnTo>
                    <a:pt x="188" y="472"/>
                  </a:lnTo>
                  <a:lnTo>
                    <a:pt x="192" y="470"/>
                  </a:lnTo>
                  <a:lnTo>
                    <a:pt x="198" y="470"/>
                  </a:lnTo>
                  <a:lnTo>
                    <a:pt x="202" y="472"/>
                  </a:lnTo>
                  <a:lnTo>
                    <a:pt x="202" y="472"/>
                  </a:lnTo>
                  <a:lnTo>
                    <a:pt x="204" y="474"/>
                  </a:lnTo>
                  <a:lnTo>
                    <a:pt x="206" y="474"/>
                  </a:lnTo>
                  <a:lnTo>
                    <a:pt x="208" y="472"/>
                  </a:lnTo>
                  <a:lnTo>
                    <a:pt x="208" y="470"/>
                  </a:lnTo>
                  <a:lnTo>
                    <a:pt x="208" y="470"/>
                  </a:lnTo>
                  <a:lnTo>
                    <a:pt x="208" y="466"/>
                  </a:lnTo>
                  <a:lnTo>
                    <a:pt x="210" y="462"/>
                  </a:lnTo>
                  <a:lnTo>
                    <a:pt x="208" y="460"/>
                  </a:lnTo>
                  <a:lnTo>
                    <a:pt x="202" y="460"/>
                  </a:lnTo>
                  <a:lnTo>
                    <a:pt x="202" y="460"/>
                  </a:lnTo>
                  <a:lnTo>
                    <a:pt x="198" y="462"/>
                  </a:lnTo>
                  <a:lnTo>
                    <a:pt x="200" y="462"/>
                  </a:lnTo>
                  <a:lnTo>
                    <a:pt x="202" y="464"/>
                  </a:lnTo>
                  <a:lnTo>
                    <a:pt x="198" y="466"/>
                  </a:lnTo>
                  <a:lnTo>
                    <a:pt x="198" y="466"/>
                  </a:lnTo>
                  <a:lnTo>
                    <a:pt x="194" y="468"/>
                  </a:lnTo>
                  <a:lnTo>
                    <a:pt x="192" y="466"/>
                  </a:lnTo>
                  <a:lnTo>
                    <a:pt x="190" y="464"/>
                  </a:lnTo>
                  <a:lnTo>
                    <a:pt x="190" y="464"/>
                  </a:lnTo>
                  <a:lnTo>
                    <a:pt x="184" y="464"/>
                  </a:lnTo>
                  <a:lnTo>
                    <a:pt x="182" y="462"/>
                  </a:lnTo>
                  <a:lnTo>
                    <a:pt x="180" y="460"/>
                  </a:lnTo>
                  <a:lnTo>
                    <a:pt x="182" y="456"/>
                  </a:lnTo>
                  <a:lnTo>
                    <a:pt x="182" y="454"/>
                  </a:lnTo>
                  <a:lnTo>
                    <a:pt x="182" y="448"/>
                  </a:lnTo>
                  <a:lnTo>
                    <a:pt x="178" y="444"/>
                  </a:lnTo>
                  <a:lnTo>
                    <a:pt x="172" y="440"/>
                  </a:lnTo>
                  <a:lnTo>
                    <a:pt x="172" y="440"/>
                  </a:lnTo>
                  <a:lnTo>
                    <a:pt x="170" y="438"/>
                  </a:lnTo>
                  <a:lnTo>
                    <a:pt x="170" y="436"/>
                  </a:lnTo>
                  <a:lnTo>
                    <a:pt x="172" y="432"/>
                  </a:lnTo>
                  <a:lnTo>
                    <a:pt x="178" y="432"/>
                  </a:lnTo>
                  <a:lnTo>
                    <a:pt x="178" y="432"/>
                  </a:lnTo>
                  <a:lnTo>
                    <a:pt x="178" y="434"/>
                  </a:lnTo>
                  <a:lnTo>
                    <a:pt x="178" y="434"/>
                  </a:lnTo>
                  <a:lnTo>
                    <a:pt x="178" y="436"/>
                  </a:lnTo>
                  <a:lnTo>
                    <a:pt x="180" y="436"/>
                  </a:lnTo>
                  <a:lnTo>
                    <a:pt x="186" y="436"/>
                  </a:lnTo>
                  <a:lnTo>
                    <a:pt x="192" y="438"/>
                  </a:lnTo>
                  <a:lnTo>
                    <a:pt x="192" y="438"/>
                  </a:lnTo>
                  <a:lnTo>
                    <a:pt x="198" y="440"/>
                  </a:lnTo>
                  <a:lnTo>
                    <a:pt x="204" y="440"/>
                  </a:lnTo>
                  <a:lnTo>
                    <a:pt x="214" y="436"/>
                  </a:lnTo>
                  <a:lnTo>
                    <a:pt x="222" y="430"/>
                  </a:lnTo>
                  <a:lnTo>
                    <a:pt x="224" y="428"/>
                  </a:lnTo>
                  <a:lnTo>
                    <a:pt x="222" y="426"/>
                  </a:lnTo>
                  <a:lnTo>
                    <a:pt x="222" y="426"/>
                  </a:lnTo>
                  <a:lnTo>
                    <a:pt x="220" y="424"/>
                  </a:lnTo>
                  <a:lnTo>
                    <a:pt x="218" y="418"/>
                  </a:lnTo>
                  <a:lnTo>
                    <a:pt x="218" y="414"/>
                  </a:lnTo>
                  <a:lnTo>
                    <a:pt x="220" y="410"/>
                  </a:lnTo>
                  <a:lnTo>
                    <a:pt x="220" y="410"/>
                  </a:lnTo>
                  <a:lnTo>
                    <a:pt x="224" y="410"/>
                  </a:lnTo>
                  <a:lnTo>
                    <a:pt x="226" y="406"/>
                  </a:lnTo>
                  <a:lnTo>
                    <a:pt x="226" y="404"/>
                  </a:lnTo>
                  <a:lnTo>
                    <a:pt x="222" y="402"/>
                  </a:lnTo>
                  <a:lnTo>
                    <a:pt x="222" y="402"/>
                  </a:lnTo>
                  <a:lnTo>
                    <a:pt x="220" y="400"/>
                  </a:lnTo>
                  <a:lnTo>
                    <a:pt x="220" y="398"/>
                  </a:lnTo>
                  <a:lnTo>
                    <a:pt x="220" y="396"/>
                  </a:lnTo>
                  <a:lnTo>
                    <a:pt x="216" y="394"/>
                  </a:lnTo>
                  <a:lnTo>
                    <a:pt x="216" y="394"/>
                  </a:lnTo>
                  <a:lnTo>
                    <a:pt x="214" y="392"/>
                  </a:lnTo>
                  <a:lnTo>
                    <a:pt x="214" y="388"/>
                  </a:lnTo>
                  <a:lnTo>
                    <a:pt x="218" y="384"/>
                  </a:lnTo>
                  <a:lnTo>
                    <a:pt x="218" y="384"/>
                  </a:lnTo>
                  <a:lnTo>
                    <a:pt x="220" y="384"/>
                  </a:lnTo>
                  <a:lnTo>
                    <a:pt x="220" y="386"/>
                  </a:lnTo>
                  <a:lnTo>
                    <a:pt x="222" y="388"/>
                  </a:lnTo>
                  <a:lnTo>
                    <a:pt x="226" y="388"/>
                  </a:lnTo>
                  <a:lnTo>
                    <a:pt x="226" y="388"/>
                  </a:lnTo>
                  <a:lnTo>
                    <a:pt x="230" y="388"/>
                  </a:lnTo>
                  <a:lnTo>
                    <a:pt x="240" y="390"/>
                  </a:lnTo>
                  <a:lnTo>
                    <a:pt x="254" y="388"/>
                  </a:lnTo>
                  <a:lnTo>
                    <a:pt x="264" y="386"/>
                  </a:lnTo>
                  <a:lnTo>
                    <a:pt x="274" y="382"/>
                  </a:lnTo>
                  <a:lnTo>
                    <a:pt x="274" y="382"/>
                  </a:lnTo>
                  <a:lnTo>
                    <a:pt x="284" y="378"/>
                  </a:lnTo>
                  <a:lnTo>
                    <a:pt x="292" y="376"/>
                  </a:lnTo>
                  <a:lnTo>
                    <a:pt x="296" y="372"/>
                  </a:lnTo>
                  <a:lnTo>
                    <a:pt x="300" y="368"/>
                  </a:lnTo>
                  <a:lnTo>
                    <a:pt x="304" y="364"/>
                  </a:lnTo>
                  <a:lnTo>
                    <a:pt x="308" y="354"/>
                  </a:lnTo>
                  <a:lnTo>
                    <a:pt x="308" y="354"/>
                  </a:lnTo>
                  <a:lnTo>
                    <a:pt x="310" y="350"/>
                  </a:lnTo>
                  <a:lnTo>
                    <a:pt x="312" y="346"/>
                  </a:lnTo>
                  <a:lnTo>
                    <a:pt x="314" y="342"/>
                  </a:lnTo>
                  <a:lnTo>
                    <a:pt x="312" y="332"/>
                  </a:lnTo>
                  <a:lnTo>
                    <a:pt x="312" y="332"/>
                  </a:lnTo>
                  <a:lnTo>
                    <a:pt x="310" y="330"/>
                  </a:lnTo>
                  <a:lnTo>
                    <a:pt x="308" y="330"/>
                  </a:lnTo>
                  <a:lnTo>
                    <a:pt x="302" y="330"/>
                  </a:lnTo>
                  <a:lnTo>
                    <a:pt x="300" y="328"/>
                  </a:lnTo>
                  <a:lnTo>
                    <a:pt x="298" y="326"/>
                  </a:lnTo>
                  <a:lnTo>
                    <a:pt x="296" y="322"/>
                  </a:lnTo>
                  <a:lnTo>
                    <a:pt x="296" y="314"/>
                  </a:lnTo>
                  <a:lnTo>
                    <a:pt x="296" y="314"/>
                  </a:lnTo>
                  <a:lnTo>
                    <a:pt x="296" y="310"/>
                  </a:lnTo>
                  <a:lnTo>
                    <a:pt x="294" y="306"/>
                  </a:lnTo>
                  <a:lnTo>
                    <a:pt x="288" y="302"/>
                  </a:lnTo>
                  <a:lnTo>
                    <a:pt x="280" y="296"/>
                  </a:lnTo>
                  <a:lnTo>
                    <a:pt x="272" y="292"/>
                  </a:lnTo>
                  <a:lnTo>
                    <a:pt x="258" y="288"/>
                  </a:lnTo>
                  <a:lnTo>
                    <a:pt x="254" y="286"/>
                  </a:lnTo>
                  <a:lnTo>
                    <a:pt x="256" y="284"/>
                  </a:lnTo>
                  <a:lnTo>
                    <a:pt x="256" y="284"/>
                  </a:lnTo>
                  <a:lnTo>
                    <a:pt x="258" y="282"/>
                  </a:lnTo>
                  <a:lnTo>
                    <a:pt x="258" y="282"/>
                  </a:lnTo>
                  <a:lnTo>
                    <a:pt x="256" y="278"/>
                  </a:lnTo>
                  <a:lnTo>
                    <a:pt x="254" y="276"/>
                  </a:lnTo>
                  <a:lnTo>
                    <a:pt x="252" y="272"/>
                  </a:lnTo>
                  <a:lnTo>
                    <a:pt x="252" y="266"/>
                  </a:lnTo>
                  <a:lnTo>
                    <a:pt x="254" y="258"/>
                  </a:lnTo>
                  <a:lnTo>
                    <a:pt x="254" y="258"/>
                  </a:lnTo>
                  <a:lnTo>
                    <a:pt x="254" y="254"/>
                  </a:lnTo>
                  <a:lnTo>
                    <a:pt x="254" y="250"/>
                  </a:lnTo>
                  <a:lnTo>
                    <a:pt x="252" y="242"/>
                  </a:lnTo>
                  <a:lnTo>
                    <a:pt x="248" y="230"/>
                  </a:lnTo>
                  <a:lnTo>
                    <a:pt x="248" y="224"/>
                  </a:lnTo>
                  <a:lnTo>
                    <a:pt x="250" y="218"/>
                  </a:lnTo>
                  <a:lnTo>
                    <a:pt x="250" y="218"/>
                  </a:lnTo>
                  <a:lnTo>
                    <a:pt x="250" y="208"/>
                  </a:lnTo>
                  <a:lnTo>
                    <a:pt x="250" y="204"/>
                  </a:lnTo>
                  <a:lnTo>
                    <a:pt x="250" y="198"/>
                  </a:lnTo>
                  <a:lnTo>
                    <a:pt x="252" y="188"/>
                  </a:lnTo>
                  <a:lnTo>
                    <a:pt x="252" y="188"/>
                  </a:lnTo>
                  <a:lnTo>
                    <a:pt x="254" y="186"/>
                  </a:lnTo>
                  <a:lnTo>
                    <a:pt x="258" y="182"/>
                  </a:lnTo>
                  <a:lnTo>
                    <a:pt x="258" y="182"/>
                  </a:lnTo>
                  <a:lnTo>
                    <a:pt x="260" y="180"/>
                  </a:lnTo>
                  <a:lnTo>
                    <a:pt x="262" y="178"/>
                  </a:lnTo>
                  <a:lnTo>
                    <a:pt x="264" y="172"/>
                  </a:lnTo>
                  <a:lnTo>
                    <a:pt x="272" y="158"/>
                  </a:lnTo>
                  <a:lnTo>
                    <a:pt x="272" y="158"/>
                  </a:lnTo>
                  <a:lnTo>
                    <a:pt x="278" y="152"/>
                  </a:lnTo>
                  <a:lnTo>
                    <a:pt x="280" y="152"/>
                  </a:lnTo>
                  <a:lnTo>
                    <a:pt x="282" y="152"/>
                  </a:lnTo>
                  <a:lnTo>
                    <a:pt x="284" y="150"/>
                  </a:lnTo>
                  <a:lnTo>
                    <a:pt x="284" y="150"/>
                  </a:lnTo>
                  <a:lnTo>
                    <a:pt x="284" y="146"/>
                  </a:lnTo>
                  <a:lnTo>
                    <a:pt x="282" y="146"/>
                  </a:lnTo>
                  <a:lnTo>
                    <a:pt x="282" y="144"/>
                  </a:lnTo>
                  <a:lnTo>
                    <a:pt x="282" y="142"/>
                  </a:lnTo>
                  <a:lnTo>
                    <a:pt x="282" y="142"/>
                  </a:lnTo>
                  <a:lnTo>
                    <a:pt x="284" y="140"/>
                  </a:lnTo>
                  <a:lnTo>
                    <a:pt x="286" y="140"/>
                  </a:lnTo>
                  <a:lnTo>
                    <a:pt x="290" y="138"/>
                  </a:lnTo>
                  <a:lnTo>
                    <a:pt x="292" y="136"/>
                  </a:lnTo>
                  <a:lnTo>
                    <a:pt x="292" y="136"/>
                  </a:lnTo>
                  <a:lnTo>
                    <a:pt x="296" y="130"/>
                  </a:lnTo>
                  <a:lnTo>
                    <a:pt x="300" y="130"/>
                  </a:lnTo>
                  <a:lnTo>
                    <a:pt x="304" y="128"/>
                  </a:lnTo>
                  <a:lnTo>
                    <a:pt x="308" y="122"/>
                  </a:lnTo>
                  <a:lnTo>
                    <a:pt x="308" y="122"/>
                  </a:lnTo>
                  <a:lnTo>
                    <a:pt x="314" y="112"/>
                  </a:lnTo>
                  <a:lnTo>
                    <a:pt x="312" y="108"/>
                  </a:lnTo>
                  <a:lnTo>
                    <a:pt x="310" y="106"/>
                  </a:lnTo>
                  <a:lnTo>
                    <a:pt x="310" y="104"/>
                  </a:lnTo>
                  <a:lnTo>
                    <a:pt x="310" y="104"/>
                  </a:lnTo>
                  <a:lnTo>
                    <a:pt x="310" y="98"/>
                  </a:lnTo>
                  <a:lnTo>
                    <a:pt x="308" y="92"/>
                  </a:lnTo>
                  <a:lnTo>
                    <a:pt x="306" y="90"/>
                  </a:lnTo>
                  <a:lnTo>
                    <a:pt x="304" y="88"/>
                  </a:lnTo>
                  <a:lnTo>
                    <a:pt x="300" y="88"/>
                  </a:lnTo>
                  <a:lnTo>
                    <a:pt x="294" y="90"/>
                  </a:lnTo>
                  <a:lnTo>
                    <a:pt x="294" y="90"/>
                  </a:lnTo>
                  <a:lnTo>
                    <a:pt x="294" y="96"/>
                  </a:lnTo>
                  <a:lnTo>
                    <a:pt x="292" y="100"/>
                  </a:lnTo>
                  <a:lnTo>
                    <a:pt x="292" y="100"/>
                  </a:lnTo>
                  <a:lnTo>
                    <a:pt x="292" y="104"/>
                  </a:lnTo>
                  <a:lnTo>
                    <a:pt x="290" y="106"/>
                  </a:lnTo>
                  <a:lnTo>
                    <a:pt x="288" y="108"/>
                  </a:lnTo>
                  <a:lnTo>
                    <a:pt x="286" y="110"/>
                  </a:lnTo>
                  <a:lnTo>
                    <a:pt x="286" y="110"/>
                  </a:lnTo>
                  <a:lnTo>
                    <a:pt x="284" y="116"/>
                  </a:lnTo>
                  <a:lnTo>
                    <a:pt x="280" y="120"/>
                  </a:lnTo>
                  <a:lnTo>
                    <a:pt x="280" y="120"/>
                  </a:lnTo>
                  <a:lnTo>
                    <a:pt x="276" y="126"/>
                  </a:lnTo>
                  <a:lnTo>
                    <a:pt x="272" y="126"/>
                  </a:lnTo>
                  <a:lnTo>
                    <a:pt x="268" y="124"/>
                  </a:lnTo>
                  <a:lnTo>
                    <a:pt x="264" y="126"/>
                  </a:lnTo>
                  <a:lnTo>
                    <a:pt x="264" y="126"/>
                  </a:lnTo>
                  <a:lnTo>
                    <a:pt x="260" y="128"/>
                  </a:lnTo>
                  <a:lnTo>
                    <a:pt x="258" y="128"/>
                  </a:lnTo>
                  <a:lnTo>
                    <a:pt x="256" y="128"/>
                  </a:lnTo>
                  <a:lnTo>
                    <a:pt x="252" y="130"/>
                  </a:lnTo>
                  <a:lnTo>
                    <a:pt x="252" y="130"/>
                  </a:lnTo>
                  <a:lnTo>
                    <a:pt x="250" y="130"/>
                  </a:lnTo>
                  <a:lnTo>
                    <a:pt x="248" y="128"/>
                  </a:lnTo>
                  <a:lnTo>
                    <a:pt x="240" y="126"/>
                  </a:lnTo>
                  <a:lnTo>
                    <a:pt x="230" y="122"/>
                  </a:lnTo>
                  <a:lnTo>
                    <a:pt x="226" y="120"/>
                  </a:lnTo>
                  <a:lnTo>
                    <a:pt x="218" y="122"/>
                  </a:lnTo>
                  <a:lnTo>
                    <a:pt x="218" y="122"/>
                  </a:lnTo>
                  <a:lnTo>
                    <a:pt x="214" y="120"/>
                  </a:lnTo>
                  <a:lnTo>
                    <a:pt x="214" y="118"/>
                  </a:lnTo>
                  <a:lnTo>
                    <a:pt x="218" y="108"/>
                  </a:lnTo>
                  <a:lnTo>
                    <a:pt x="218" y="108"/>
                  </a:lnTo>
                  <a:lnTo>
                    <a:pt x="222" y="104"/>
                  </a:lnTo>
                  <a:lnTo>
                    <a:pt x="222" y="100"/>
                  </a:lnTo>
                  <a:lnTo>
                    <a:pt x="222" y="96"/>
                  </a:lnTo>
                  <a:lnTo>
                    <a:pt x="226" y="92"/>
                  </a:lnTo>
                  <a:lnTo>
                    <a:pt x="226" y="92"/>
                  </a:lnTo>
                  <a:lnTo>
                    <a:pt x="226" y="88"/>
                  </a:lnTo>
                  <a:lnTo>
                    <a:pt x="226" y="86"/>
                  </a:lnTo>
                  <a:lnTo>
                    <a:pt x="222" y="84"/>
                  </a:lnTo>
                  <a:lnTo>
                    <a:pt x="218" y="80"/>
                  </a:lnTo>
                  <a:lnTo>
                    <a:pt x="218" y="80"/>
                  </a:lnTo>
                  <a:lnTo>
                    <a:pt x="214" y="74"/>
                  </a:lnTo>
                  <a:lnTo>
                    <a:pt x="210" y="72"/>
                  </a:lnTo>
                  <a:lnTo>
                    <a:pt x="198" y="64"/>
                  </a:lnTo>
                  <a:lnTo>
                    <a:pt x="198" y="64"/>
                  </a:lnTo>
                  <a:lnTo>
                    <a:pt x="192" y="60"/>
                  </a:lnTo>
                  <a:lnTo>
                    <a:pt x="188" y="60"/>
                  </a:lnTo>
                  <a:lnTo>
                    <a:pt x="186" y="60"/>
                  </a:lnTo>
                  <a:lnTo>
                    <a:pt x="180" y="56"/>
                  </a:lnTo>
                  <a:lnTo>
                    <a:pt x="180" y="56"/>
                  </a:lnTo>
                  <a:lnTo>
                    <a:pt x="170" y="52"/>
                  </a:lnTo>
                  <a:lnTo>
                    <a:pt x="164" y="50"/>
                  </a:lnTo>
                  <a:lnTo>
                    <a:pt x="162" y="50"/>
                  </a:lnTo>
                  <a:lnTo>
                    <a:pt x="158" y="46"/>
                  </a:lnTo>
                  <a:lnTo>
                    <a:pt x="158" y="46"/>
                  </a:lnTo>
                  <a:lnTo>
                    <a:pt x="144" y="34"/>
                  </a:lnTo>
                  <a:lnTo>
                    <a:pt x="132" y="24"/>
                  </a:lnTo>
                  <a:lnTo>
                    <a:pt x="132" y="24"/>
                  </a:lnTo>
                  <a:lnTo>
                    <a:pt x="128" y="22"/>
                  </a:lnTo>
                  <a:lnTo>
                    <a:pt x="126" y="20"/>
                  </a:lnTo>
                  <a:lnTo>
                    <a:pt x="126" y="18"/>
                  </a:lnTo>
                  <a:lnTo>
                    <a:pt x="126" y="12"/>
                  </a:lnTo>
                  <a:lnTo>
                    <a:pt x="124" y="10"/>
                  </a:lnTo>
                  <a:lnTo>
                    <a:pt x="120" y="8"/>
                  </a:lnTo>
                  <a:lnTo>
                    <a:pt x="120" y="8"/>
                  </a:lnTo>
                  <a:lnTo>
                    <a:pt x="116" y="8"/>
                  </a:lnTo>
                  <a:lnTo>
                    <a:pt x="114" y="8"/>
                  </a:lnTo>
                  <a:lnTo>
                    <a:pt x="110" y="6"/>
                  </a:lnTo>
                  <a:lnTo>
                    <a:pt x="102" y="8"/>
                  </a:lnTo>
                  <a:lnTo>
                    <a:pt x="102" y="8"/>
                  </a:lnTo>
                  <a:lnTo>
                    <a:pt x="96" y="8"/>
                  </a:lnTo>
                  <a:lnTo>
                    <a:pt x="90" y="6"/>
                  </a:lnTo>
                  <a:lnTo>
                    <a:pt x="86" y="6"/>
                  </a:lnTo>
                  <a:lnTo>
                    <a:pt x="84" y="8"/>
                  </a:lnTo>
                  <a:lnTo>
                    <a:pt x="84" y="8"/>
                  </a:lnTo>
                  <a:lnTo>
                    <a:pt x="82" y="14"/>
                  </a:lnTo>
                  <a:lnTo>
                    <a:pt x="84" y="18"/>
                  </a:lnTo>
                  <a:lnTo>
                    <a:pt x="84" y="20"/>
                  </a:lnTo>
                  <a:lnTo>
                    <a:pt x="82" y="24"/>
                  </a:lnTo>
                  <a:lnTo>
                    <a:pt x="82" y="24"/>
                  </a:lnTo>
                  <a:lnTo>
                    <a:pt x="82" y="24"/>
                  </a:lnTo>
                  <a:lnTo>
                    <a:pt x="82" y="22"/>
                  </a:lnTo>
                  <a:lnTo>
                    <a:pt x="80" y="16"/>
                  </a:lnTo>
                  <a:lnTo>
                    <a:pt x="76" y="10"/>
                  </a:lnTo>
                  <a:lnTo>
                    <a:pt x="72" y="8"/>
                  </a:lnTo>
                  <a:lnTo>
                    <a:pt x="68" y="6"/>
                  </a:lnTo>
                  <a:lnTo>
                    <a:pt x="68" y="6"/>
                  </a:lnTo>
                  <a:lnTo>
                    <a:pt x="58" y="6"/>
                  </a:lnTo>
                  <a:lnTo>
                    <a:pt x="52" y="6"/>
                  </a:lnTo>
                  <a:lnTo>
                    <a:pt x="52" y="6"/>
                  </a:lnTo>
                  <a:lnTo>
                    <a:pt x="50" y="6"/>
                  </a:lnTo>
                  <a:lnTo>
                    <a:pt x="50" y="4"/>
                  </a:lnTo>
                  <a:lnTo>
                    <a:pt x="48" y="0"/>
                  </a:lnTo>
                  <a:lnTo>
                    <a:pt x="42" y="0"/>
                  </a:lnTo>
                  <a:lnTo>
                    <a:pt x="42" y="0"/>
                  </a:lnTo>
                  <a:lnTo>
                    <a:pt x="42" y="2"/>
                  </a:lnTo>
                  <a:lnTo>
                    <a:pt x="40" y="4"/>
                  </a:lnTo>
                  <a:lnTo>
                    <a:pt x="34" y="10"/>
                  </a:lnTo>
                  <a:lnTo>
                    <a:pt x="30" y="14"/>
                  </a:lnTo>
                  <a:lnTo>
                    <a:pt x="28" y="16"/>
                  </a:lnTo>
                  <a:lnTo>
                    <a:pt x="28" y="18"/>
                  </a:lnTo>
                  <a:lnTo>
                    <a:pt x="28" y="18"/>
                  </a:lnTo>
                  <a:lnTo>
                    <a:pt x="30" y="20"/>
                  </a:lnTo>
                  <a:lnTo>
                    <a:pt x="28" y="20"/>
                  </a:lnTo>
                  <a:lnTo>
                    <a:pt x="24" y="24"/>
                  </a:lnTo>
                  <a:lnTo>
                    <a:pt x="24" y="24"/>
                  </a:lnTo>
                  <a:lnTo>
                    <a:pt x="28" y="26"/>
                  </a:lnTo>
                  <a:lnTo>
                    <a:pt x="28" y="28"/>
                  </a:lnTo>
                  <a:lnTo>
                    <a:pt x="30" y="30"/>
                  </a:lnTo>
                  <a:lnTo>
                    <a:pt x="30" y="30"/>
                  </a:lnTo>
                  <a:lnTo>
                    <a:pt x="26" y="48"/>
                  </a:lnTo>
                  <a:lnTo>
                    <a:pt x="24" y="52"/>
                  </a:lnTo>
                  <a:lnTo>
                    <a:pt x="18" y="58"/>
                  </a:lnTo>
                  <a:lnTo>
                    <a:pt x="18" y="58"/>
                  </a:lnTo>
                  <a:lnTo>
                    <a:pt x="8" y="64"/>
                  </a:lnTo>
                  <a:lnTo>
                    <a:pt x="8" y="66"/>
                  </a:lnTo>
                  <a:lnTo>
                    <a:pt x="8" y="68"/>
                  </a:lnTo>
                  <a:lnTo>
                    <a:pt x="12" y="70"/>
                  </a:lnTo>
                  <a:lnTo>
                    <a:pt x="12" y="72"/>
                  </a:lnTo>
                  <a:lnTo>
                    <a:pt x="10" y="76"/>
                  </a:lnTo>
                  <a:lnTo>
                    <a:pt x="10" y="76"/>
                  </a:lnTo>
                  <a:lnTo>
                    <a:pt x="6" y="84"/>
                  </a:lnTo>
                  <a:lnTo>
                    <a:pt x="6" y="88"/>
                  </a:lnTo>
                  <a:lnTo>
                    <a:pt x="8" y="92"/>
                  </a:lnTo>
                  <a:lnTo>
                    <a:pt x="12" y="96"/>
                  </a:lnTo>
                  <a:lnTo>
                    <a:pt x="16" y="102"/>
                  </a:lnTo>
                  <a:lnTo>
                    <a:pt x="16" y="104"/>
                  </a:lnTo>
                  <a:lnTo>
                    <a:pt x="14" y="108"/>
                  </a:lnTo>
                  <a:lnTo>
                    <a:pt x="14" y="108"/>
                  </a:lnTo>
                  <a:lnTo>
                    <a:pt x="18" y="112"/>
                  </a:lnTo>
                  <a:lnTo>
                    <a:pt x="20" y="114"/>
                  </a:lnTo>
                  <a:lnTo>
                    <a:pt x="20" y="118"/>
                  </a:lnTo>
                  <a:lnTo>
                    <a:pt x="18" y="124"/>
                  </a:lnTo>
                  <a:lnTo>
                    <a:pt x="18" y="124"/>
                  </a:lnTo>
                  <a:lnTo>
                    <a:pt x="14" y="130"/>
                  </a:lnTo>
                  <a:lnTo>
                    <a:pt x="14" y="134"/>
                  </a:lnTo>
                  <a:lnTo>
                    <a:pt x="12" y="138"/>
                  </a:lnTo>
                  <a:lnTo>
                    <a:pt x="10" y="142"/>
                  </a:lnTo>
                  <a:lnTo>
                    <a:pt x="10" y="142"/>
                  </a:lnTo>
                  <a:lnTo>
                    <a:pt x="6" y="146"/>
                  </a:lnTo>
                  <a:lnTo>
                    <a:pt x="8" y="148"/>
                  </a:lnTo>
                  <a:lnTo>
                    <a:pt x="8" y="152"/>
                  </a:lnTo>
                  <a:lnTo>
                    <a:pt x="6" y="156"/>
                  </a:lnTo>
                  <a:lnTo>
                    <a:pt x="6" y="156"/>
                  </a:lnTo>
                  <a:lnTo>
                    <a:pt x="2" y="160"/>
                  </a:lnTo>
                  <a:lnTo>
                    <a:pt x="2" y="164"/>
                  </a:lnTo>
                  <a:lnTo>
                    <a:pt x="2" y="170"/>
                  </a:lnTo>
                  <a:lnTo>
                    <a:pt x="4" y="176"/>
                  </a:lnTo>
                  <a:lnTo>
                    <a:pt x="4" y="182"/>
                  </a:lnTo>
                  <a:lnTo>
                    <a:pt x="4" y="182"/>
                  </a:lnTo>
                  <a:lnTo>
                    <a:pt x="2" y="188"/>
                  </a:lnTo>
                  <a:lnTo>
                    <a:pt x="2" y="192"/>
                  </a:lnTo>
                  <a:lnTo>
                    <a:pt x="4" y="196"/>
                  </a:lnTo>
                  <a:lnTo>
                    <a:pt x="2" y="204"/>
                  </a:lnTo>
                  <a:lnTo>
                    <a:pt x="2" y="204"/>
                  </a:lnTo>
                  <a:lnTo>
                    <a:pt x="0" y="210"/>
                  </a:lnTo>
                  <a:lnTo>
                    <a:pt x="0" y="216"/>
                  </a:lnTo>
                  <a:lnTo>
                    <a:pt x="0" y="226"/>
                  </a:lnTo>
                  <a:lnTo>
                    <a:pt x="2" y="232"/>
                  </a:lnTo>
                  <a:lnTo>
                    <a:pt x="6" y="234"/>
                  </a:lnTo>
                  <a:lnTo>
                    <a:pt x="6" y="234"/>
                  </a:lnTo>
                  <a:lnTo>
                    <a:pt x="8" y="234"/>
                  </a:lnTo>
                  <a:lnTo>
                    <a:pt x="10" y="236"/>
                  </a:lnTo>
                  <a:lnTo>
                    <a:pt x="12" y="240"/>
                  </a:lnTo>
                  <a:lnTo>
                    <a:pt x="10" y="244"/>
                  </a:lnTo>
                  <a:lnTo>
                    <a:pt x="10" y="244"/>
                  </a:lnTo>
                  <a:lnTo>
                    <a:pt x="8" y="246"/>
                  </a:lnTo>
                  <a:lnTo>
                    <a:pt x="10" y="250"/>
                  </a:lnTo>
                  <a:lnTo>
                    <a:pt x="14" y="254"/>
                  </a:lnTo>
                  <a:lnTo>
                    <a:pt x="20" y="260"/>
                  </a:lnTo>
                  <a:lnTo>
                    <a:pt x="22" y="264"/>
                  </a:lnTo>
                  <a:lnTo>
                    <a:pt x="22" y="268"/>
                  </a:lnTo>
                  <a:lnTo>
                    <a:pt x="22" y="268"/>
                  </a:lnTo>
                  <a:lnTo>
                    <a:pt x="22" y="276"/>
                  </a:lnTo>
                  <a:lnTo>
                    <a:pt x="24" y="276"/>
                  </a:lnTo>
                  <a:lnTo>
                    <a:pt x="26" y="274"/>
                  </a:lnTo>
                  <a:lnTo>
                    <a:pt x="26" y="274"/>
                  </a:lnTo>
                  <a:lnTo>
                    <a:pt x="30" y="274"/>
                  </a:lnTo>
                  <a:lnTo>
                    <a:pt x="32" y="274"/>
                  </a:lnTo>
                  <a:lnTo>
                    <a:pt x="32" y="276"/>
                  </a:lnTo>
                  <a:lnTo>
                    <a:pt x="32" y="282"/>
                  </a:lnTo>
                  <a:lnTo>
                    <a:pt x="32" y="282"/>
                  </a:lnTo>
                  <a:lnTo>
                    <a:pt x="30" y="288"/>
                  </a:lnTo>
                  <a:lnTo>
                    <a:pt x="32" y="292"/>
                  </a:lnTo>
                  <a:lnTo>
                    <a:pt x="34" y="296"/>
                  </a:lnTo>
                  <a:lnTo>
                    <a:pt x="30" y="302"/>
                  </a:lnTo>
                  <a:lnTo>
                    <a:pt x="30" y="302"/>
                  </a:lnTo>
                  <a:lnTo>
                    <a:pt x="34" y="306"/>
                  </a:lnTo>
                  <a:lnTo>
                    <a:pt x="36" y="310"/>
                  </a:lnTo>
                  <a:lnTo>
                    <a:pt x="34" y="316"/>
                  </a:lnTo>
                  <a:lnTo>
                    <a:pt x="28" y="322"/>
                  </a:lnTo>
                  <a:lnTo>
                    <a:pt x="28" y="322"/>
                  </a:lnTo>
                  <a:lnTo>
                    <a:pt x="24" y="330"/>
                  </a:lnTo>
                  <a:lnTo>
                    <a:pt x="22" y="336"/>
                  </a:lnTo>
                  <a:lnTo>
                    <a:pt x="24" y="342"/>
                  </a:lnTo>
                  <a:lnTo>
                    <a:pt x="24" y="352"/>
                  </a:lnTo>
                  <a:lnTo>
                    <a:pt x="24" y="352"/>
                  </a:lnTo>
                  <a:lnTo>
                    <a:pt x="26" y="356"/>
                  </a:lnTo>
                  <a:lnTo>
                    <a:pt x="28" y="360"/>
                  </a:lnTo>
                  <a:lnTo>
                    <a:pt x="32" y="366"/>
                  </a:lnTo>
                  <a:lnTo>
                    <a:pt x="38" y="372"/>
                  </a:lnTo>
                  <a:lnTo>
                    <a:pt x="38" y="376"/>
                  </a:lnTo>
                  <a:lnTo>
                    <a:pt x="38" y="380"/>
                  </a:lnTo>
                  <a:lnTo>
                    <a:pt x="38" y="380"/>
                  </a:lnTo>
                  <a:lnTo>
                    <a:pt x="36" y="382"/>
                  </a:lnTo>
                  <a:lnTo>
                    <a:pt x="32" y="384"/>
                  </a:lnTo>
                  <a:lnTo>
                    <a:pt x="32" y="384"/>
                  </a:lnTo>
                  <a:lnTo>
                    <a:pt x="34" y="390"/>
                  </a:lnTo>
                  <a:lnTo>
                    <a:pt x="34" y="390"/>
                  </a:lnTo>
                  <a:lnTo>
                    <a:pt x="36" y="394"/>
                  </a:lnTo>
                  <a:lnTo>
                    <a:pt x="34" y="396"/>
                  </a:lnTo>
                  <a:lnTo>
                    <a:pt x="30" y="400"/>
                  </a:lnTo>
                  <a:lnTo>
                    <a:pt x="30" y="400"/>
                  </a:lnTo>
                  <a:lnTo>
                    <a:pt x="32" y="404"/>
                  </a:lnTo>
                  <a:lnTo>
                    <a:pt x="32" y="404"/>
                  </a:lnTo>
                  <a:lnTo>
                    <a:pt x="32" y="406"/>
                  </a:lnTo>
                  <a:lnTo>
                    <a:pt x="30" y="408"/>
                  </a:lnTo>
                  <a:lnTo>
                    <a:pt x="30" y="410"/>
                  </a:lnTo>
                  <a:lnTo>
                    <a:pt x="32" y="414"/>
                  </a:lnTo>
                  <a:lnTo>
                    <a:pt x="32" y="414"/>
                  </a:lnTo>
                  <a:lnTo>
                    <a:pt x="32" y="422"/>
                  </a:lnTo>
                  <a:lnTo>
                    <a:pt x="34" y="430"/>
                  </a:lnTo>
                  <a:lnTo>
                    <a:pt x="40" y="440"/>
                  </a:lnTo>
                  <a:lnTo>
                    <a:pt x="44" y="446"/>
                  </a:lnTo>
                  <a:lnTo>
                    <a:pt x="44" y="448"/>
                  </a:lnTo>
                  <a:lnTo>
                    <a:pt x="42" y="450"/>
                  </a:lnTo>
                  <a:lnTo>
                    <a:pt x="42" y="450"/>
                  </a:lnTo>
                  <a:lnTo>
                    <a:pt x="38" y="452"/>
                  </a:lnTo>
                  <a:lnTo>
                    <a:pt x="40" y="454"/>
                  </a:lnTo>
                  <a:lnTo>
                    <a:pt x="42" y="456"/>
                  </a:lnTo>
                  <a:lnTo>
                    <a:pt x="42" y="460"/>
                  </a:lnTo>
                  <a:lnTo>
                    <a:pt x="42" y="460"/>
                  </a:lnTo>
                  <a:lnTo>
                    <a:pt x="42" y="462"/>
                  </a:lnTo>
                  <a:lnTo>
                    <a:pt x="42" y="464"/>
                  </a:lnTo>
                  <a:lnTo>
                    <a:pt x="46" y="466"/>
                  </a:lnTo>
                  <a:lnTo>
                    <a:pt x="48" y="466"/>
                  </a:lnTo>
                  <a:lnTo>
                    <a:pt x="48" y="470"/>
                  </a:lnTo>
                  <a:lnTo>
                    <a:pt x="48" y="470"/>
                  </a:lnTo>
                  <a:lnTo>
                    <a:pt x="46" y="470"/>
                  </a:lnTo>
                  <a:lnTo>
                    <a:pt x="48" y="472"/>
                  </a:lnTo>
                  <a:lnTo>
                    <a:pt x="50" y="474"/>
                  </a:lnTo>
                  <a:lnTo>
                    <a:pt x="54" y="476"/>
                  </a:lnTo>
                  <a:lnTo>
                    <a:pt x="54" y="478"/>
                  </a:lnTo>
                  <a:lnTo>
                    <a:pt x="52" y="482"/>
                  </a:lnTo>
                  <a:lnTo>
                    <a:pt x="52" y="482"/>
                  </a:lnTo>
                  <a:lnTo>
                    <a:pt x="50" y="486"/>
                  </a:lnTo>
                  <a:lnTo>
                    <a:pt x="50" y="488"/>
                  </a:lnTo>
                  <a:lnTo>
                    <a:pt x="52" y="490"/>
                  </a:lnTo>
                  <a:lnTo>
                    <a:pt x="54" y="488"/>
                  </a:lnTo>
                  <a:lnTo>
                    <a:pt x="54" y="488"/>
                  </a:lnTo>
                  <a:lnTo>
                    <a:pt x="58" y="486"/>
                  </a:lnTo>
                  <a:lnTo>
                    <a:pt x="60" y="486"/>
                  </a:lnTo>
                  <a:lnTo>
                    <a:pt x="62" y="490"/>
                  </a:lnTo>
                  <a:lnTo>
                    <a:pt x="60" y="494"/>
                  </a:lnTo>
                  <a:lnTo>
                    <a:pt x="60" y="494"/>
                  </a:lnTo>
                  <a:lnTo>
                    <a:pt x="58" y="498"/>
                  </a:lnTo>
                  <a:lnTo>
                    <a:pt x="54" y="498"/>
                  </a:lnTo>
                  <a:lnTo>
                    <a:pt x="54" y="500"/>
                  </a:lnTo>
                  <a:lnTo>
                    <a:pt x="54" y="504"/>
                  </a:lnTo>
                  <a:lnTo>
                    <a:pt x="54" y="504"/>
                  </a:lnTo>
                  <a:lnTo>
                    <a:pt x="60" y="508"/>
                  </a:lnTo>
                  <a:lnTo>
                    <a:pt x="66" y="512"/>
                  </a:lnTo>
                  <a:lnTo>
                    <a:pt x="70" y="514"/>
                  </a:lnTo>
                  <a:lnTo>
                    <a:pt x="70" y="516"/>
                  </a:lnTo>
                  <a:lnTo>
                    <a:pt x="68" y="518"/>
                  </a:lnTo>
                  <a:lnTo>
                    <a:pt x="68" y="518"/>
                  </a:lnTo>
                  <a:lnTo>
                    <a:pt x="66" y="520"/>
                  </a:lnTo>
                  <a:lnTo>
                    <a:pt x="66" y="522"/>
                  </a:lnTo>
                  <a:lnTo>
                    <a:pt x="66" y="524"/>
                  </a:lnTo>
                  <a:lnTo>
                    <a:pt x="64" y="528"/>
                  </a:lnTo>
                  <a:lnTo>
                    <a:pt x="64" y="528"/>
                  </a:lnTo>
                  <a:lnTo>
                    <a:pt x="64" y="528"/>
                  </a:lnTo>
                  <a:lnTo>
                    <a:pt x="64" y="530"/>
                  </a:lnTo>
                  <a:lnTo>
                    <a:pt x="68" y="532"/>
                  </a:lnTo>
                  <a:lnTo>
                    <a:pt x="74" y="536"/>
                  </a:lnTo>
                  <a:lnTo>
                    <a:pt x="74" y="540"/>
                  </a:lnTo>
                  <a:lnTo>
                    <a:pt x="74" y="544"/>
                  </a:lnTo>
                  <a:lnTo>
                    <a:pt x="74" y="544"/>
                  </a:lnTo>
                  <a:lnTo>
                    <a:pt x="72" y="550"/>
                  </a:lnTo>
                  <a:lnTo>
                    <a:pt x="72" y="556"/>
                  </a:lnTo>
                  <a:lnTo>
                    <a:pt x="76" y="562"/>
                  </a:lnTo>
                  <a:lnTo>
                    <a:pt x="78" y="568"/>
                  </a:lnTo>
                  <a:lnTo>
                    <a:pt x="78" y="570"/>
                  </a:lnTo>
                  <a:lnTo>
                    <a:pt x="78" y="572"/>
                  </a:lnTo>
                  <a:lnTo>
                    <a:pt x="78" y="572"/>
                  </a:lnTo>
                  <a:lnTo>
                    <a:pt x="74" y="576"/>
                  </a:lnTo>
                  <a:lnTo>
                    <a:pt x="76" y="576"/>
                  </a:lnTo>
                  <a:lnTo>
                    <a:pt x="76" y="578"/>
                  </a:lnTo>
                  <a:lnTo>
                    <a:pt x="74" y="582"/>
                  </a:lnTo>
                  <a:lnTo>
                    <a:pt x="74" y="582"/>
                  </a:lnTo>
                  <a:lnTo>
                    <a:pt x="74" y="584"/>
                  </a:lnTo>
                  <a:lnTo>
                    <a:pt x="74" y="588"/>
                  </a:lnTo>
                  <a:lnTo>
                    <a:pt x="78" y="590"/>
                  </a:lnTo>
                  <a:lnTo>
                    <a:pt x="82" y="594"/>
                  </a:lnTo>
                  <a:lnTo>
                    <a:pt x="82" y="596"/>
                  </a:lnTo>
                  <a:lnTo>
                    <a:pt x="80" y="598"/>
                  </a:lnTo>
                  <a:lnTo>
                    <a:pt x="80" y="598"/>
                  </a:lnTo>
                  <a:lnTo>
                    <a:pt x="80" y="604"/>
                  </a:lnTo>
                  <a:lnTo>
                    <a:pt x="82" y="608"/>
                  </a:lnTo>
                  <a:lnTo>
                    <a:pt x="84" y="610"/>
                  </a:lnTo>
                  <a:lnTo>
                    <a:pt x="84" y="614"/>
                  </a:lnTo>
                  <a:lnTo>
                    <a:pt x="84" y="614"/>
                  </a:lnTo>
                  <a:lnTo>
                    <a:pt x="82" y="620"/>
                  </a:lnTo>
                  <a:lnTo>
                    <a:pt x="82" y="626"/>
                  </a:lnTo>
                  <a:lnTo>
                    <a:pt x="86" y="634"/>
                  </a:lnTo>
                  <a:lnTo>
                    <a:pt x="88" y="638"/>
                  </a:lnTo>
                  <a:lnTo>
                    <a:pt x="88" y="638"/>
                  </a:lnTo>
                  <a:lnTo>
                    <a:pt x="90" y="636"/>
                  </a:lnTo>
                  <a:lnTo>
                    <a:pt x="94" y="634"/>
                  </a:lnTo>
                  <a:lnTo>
                    <a:pt x="98" y="630"/>
                  </a:lnTo>
                  <a:lnTo>
                    <a:pt x="102" y="630"/>
                  </a:lnTo>
                  <a:lnTo>
                    <a:pt x="102" y="630"/>
                  </a:lnTo>
                  <a:lnTo>
                    <a:pt x="106" y="634"/>
                  </a:lnTo>
                  <a:lnTo>
                    <a:pt x="106" y="638"/>
                  </a:lnTo>
                  <a:lnTo>
                    <a:pt x="104" y="640"/>
                  </a:lnTo>
                  <a:lnTo>
                    <a:pt x="106" y="644"/>
                  </a:lnTo>
                  <a:lnTo>
                    <a:pt x="106" y="644"/>
                  </a:lnTo>
                  <a:lnTo>
                    <a:pt x="108" y="648"/>
                  </a:lnTo>
                  <a:lnTo>
                    <a:pt x="108" y="650"/>
                  </a:lnTo>
                  <a:lnTo>
                    <a:pt x="110" y="652"/>
                  </a:lnTo>
                  <a:lnTo>
                    <a:pt x="116" y="652"/>
                  </a:lnTo>
                  <a:lnTo>
                    <a:pt x="116" y="652"/>
                  </a:lnTo>
                  <a:lnTo>
                    <a:pt x="120" y="654"/>
                  </a:lnTo>
                  <a:lnTo>
                    <a:pt x="124" y="656"/>
                  </a:lnTo>
                  <a:lnTo>
                    <a:pt x="124" y="658"/>
                  </a:lnTo>
                  <a:lnTo>
                    <a:pt x="158" y="658"/>
                  </a:lnTo>
                  <a:lnTo>
                    <a:pt x="158" y="658"/>
                  </a:lnTo>
                  <a:lnTo>
                    <a:pt x="162" y="660"/>
                  </a:lnTo>
                  <a:lnTo>
                    <a:pt x="166" y="658"/>
                  </a:lnTo>
                  <a:lnTo>
                    <a:pt x="172" y="660"/>
                  </a:lnTo>
                  <a:lnTo>
                    <a:pt x="184" y="664"/>
                  </a:lnTo>
                  <a:lnTo>
                    <a:pt x="184" y="664"/>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Australia"/>
            <p:cNvSpPr>
              <a:spLocks/>
            </p:cNvSpPr>
            <p:nvPr/>
          </p:nvSpPr>
          <p:spPr bwMode="auto">
            <a:xfrm>
              <a:off x="7129164" y="3978010"/>
              <a:ext cx="1132417" cy="1021292"/>
            </a:xfrm>
            <a:custGeom>
              <a:avLst/>
              <a:gdLst/>
              <a:ahLst/>
              <a:cxnLst/>
              <a:rect l="l" t="t" r="r" b="b"/>
              <a:pathLst>
                <a:path w="1132417" h="1021292">
                  <a:moveTo>
                    <a:pt x="743479" y="936625"/>
                  </a:moveTo>
                  <a:lnTo>
                    <a:pt x="751416" y="936625"/>
                  </a:lnTo>
                  <a:lnTo>
                    <a:pt x="754062" y="939271"/>
                  </a:lnTo>
                  <a:lnTo>
                    <a:pt x="751416" y="941917"/>
                  </a:lnTo>
                  <a:lnTo>
                    <a:pt x="748771" y="944563"/>
                  </a:lnTo>
                  <a:lnTo>
                    <a:pt x="748771" y="949854"/>
                  </a:lnTo>
                  <a:lnTo>
                    <a:pt x="748771" y="952500"/>
                  </a:lnTo>
                  <a:lnTo>
                    <a:pt x="746125" y="952500"/>
                  </a:lnTo>
                  <a:lnTo>
                    <a:pt x="743479" y="955146"/>
                  </a:lnTo>
                  <a:lnTo>
                    <a:pt x="740833" y="960438"/>
                  </a:lnTo>
                  <a:lnTo>
                    <a:pt x="738187" y="965730"/>
                  </a:lnTo>
                  <a:lnTo>
                    <a:pt x="732896" y="973667"/>
                  </a:lnTo>
                  <a:lnTo>
                    <a:pt x="727604" y="978959"/>
                  </a:lnTo>
                  <a:lnTo>
                    <a:pt x="727604" y="976313"/>
                  </a:lnTo>
                  <a:lnTo>
                    <a:pt x="727604" y="973667"/>
                  </a:lnTo>
                  <a:lnTo>
                    <a:pt x="724958" y="973667"/>
                  </a:lnTo>
                  <a:lnTo>
                    <a:pt x="719666" y="978959"/>
                  </a:lnTo>
                  <a:lnTo>
                    <a:pt x="709083" y="992188"/>
                  </a:lnTo>
                  <a:lnTo>
                    <a:pt x="701145" y="997480"/>
                  </a:lnTo>
                  <a:lnTo>
                    <a:pt x="695854" y="997480"/>
                  </a:lnTo>
                  <a:lnTo>
                    <a:pt x="690562" y="1000125"/>
                  </a:lnTo>
                  <a:lnTo>
                    <a:pt x="685270" y="1002771"/>
                  </a:lnTo>
                  <a:lnTo>
                    <a:pt x="679979" y="1005417"/>
                  </a:lnTo>
                  <a:lnTo>
                    <a:pt x="674687" y="1008063"/>
                  </a:lnTo>
                  <a:lnTo>
                    <a:pt x="666749" y="1008063"/>
                  </a:lnTo>
                  <a:lnTo>
                    <a:pt x="664104" y="1013355"/>
                  </a:lnTo>
                  <a:lnTo>
                    <a:pt x="656166" y="1018646"/>
                  </a:lnTo>
                  <a:lnTo>
                    <a:pt x="650874" y="1021292"/>
                  </a:lnTo>
                  <a:lnTo>
                    <a:pt x="645583" y="1018646"/>
                  </a:lnTo>
                  <a:lnTo>
                    <a:pt x="637645" y="1016001"/>
                  </a:lnTo>
                  <a:lnTo>
                    <a:pt x="640291" y="1016001"/>
                  </a:lnTo>
                  <a:lnTo>
                    <a:pt x="640291" y="1013355"/>
                  </a:lnTo>
                  <a:lnTo>
                    <a:pt x="637645" y="1008063"/>
                  </a:lnTo>
                  <a:lnTo>
                    <a:pt x="637645" y="1002771"/>
                  </a:lnTo>
                  <a:lnTo>
                    <a:pt x="640291" y="1000125"/>
                  </a:lnTo>
                  <a:lnTo>
                    <a:pt x="640291" y="994834"/>
                  </a:lnTo>
                  <a:lnTo>
                    <a:pt x="640291" y="986896"/>
                  </a:lnTo>
                  <a:lnTo>
                    <a:pt x="642937" y="981605"/>
                  </a:lnTo>
                  <a:lnTo>
                    <a:pt x="642937" y="976313"/>
                  </a:lnTo>
                  <a:lnTo>
                    <a:pt x="645583" y="976313"/>
                  </a:lnTo>
                  <a:lnTo>
                    <a:pt x="648229" y="978959"/>
                  </a:lnTo>
                  <a:lnTo>
                    <a:pt x="648229" y="984250"/>
                  </a:lnTo>
                  <a:lnTo>
                    <a:pt x="653520" y="973667"/>
                  </a:lnTo>
                  <a:lnTo>
                    <a:pt x="656166" y="968375"/>
                  </a:lnTo>
                  <a:lnTo>
                    <a:pt x="653520" y="963084"/>
                  </a:lnTo>
                  <a:lnTo>
                    <a:pt x="653520" y="957792"/>
                  </a:lnTo>
                  <a:lnTo>
                    <a:pt x="653520" y="955146"/>
                  </a:lnTo>
                  <a:lnTo>
                    <a:pt x="656166" y="947209"/>
                  </a:lnTo>
                  <a:lnTo>
                    <a:pt x="661458" y="941917"/>
                  </a:lnTo>
                  <a:lnTo>
                    <a:pt x="664104" y="941917"/>
                  </a:lnTo>
                  <a:lnTo>
                    <a:pt x="669395" y="941917"/>
                  </a:lnTo>
                  <a:lnTo>
                    <a:pt x="674687" y="944563"/>
                  </a:lnTo>
                  <a:lnTo>
                    <a:pt x="674687" y="941917"/>
                  </a:lnTo>
                  <a:lnTo>
                    <a:pt x="677333" y="941917"/>
                  </a:lnTo>
                  <a:lnTo>
                    <a:pt x="679979" y="941917"/>
                  </a:lnTo>
                  <a:lnTo>
                    <a:pt x="687916" y="944563"/>
                  </a:lnTo>
                  <a:lnTo>
                    <a:pt x="695854" y="947209"/>
                  </a:lnTo>
                  <a:lnTo>
                    <a:pt x="706437" y="947209"/>
                  </a:lnTo>
                  <a:lnTo>
                    <a:pt x="709083" y="947209"/>
                  </a:lnTo>
                  <a:lnTo>
                    <a:pt x="714375" y="947209"/>
                  </a:lnTo>
                  <a:lnTo>
                    <a:pt x="722312" y="944563"/>
                  </a:lnTo>
                  <a:lnTo>
                    <a:pt x="727604" y="944563"/>
                  </a:lnTo>
                  <a:lnTo>
                    <a:pt x="735541" y="939271"/>
                  </a:lnTo>
                  <a:close/>
                  <a:moveTo>
                    <a:pt x="965730" y="0"/>
                  </a:moveTo>
                  <a:lnTo>
                    <a:pt x="971021" y="0"/>
                  </a:lnTo>
                  <a:lnTo>
                    <a:pt x="973667" y="0"/>
                  </a:lnTo>
                  <a:lnTo>
                    <a:pt x="973667" y="2646"/>
                  </a:lnTo>
                  <a:lnTo>
                    <a:pt x="976313" y="5292"/>
                  </a:lnTo>
                  <a:lnTo>
                    <a:pt x="978959" y="10583"/>
                  </a:lnTo>
                  <a:lnTo>
                    <a:pt x="976313" y="18521"/>
                  </a:lnTo>
                  <a:lnTo>
                    <a:pt x="973667" y="26458"/>
                  </a:lnTo>
                  <a:lnTo>
                    <a:pt x="976313" y="29104"/>
                  </a:lnTo>
                  <a:lnTo>
                    <a:pt x="978959" y="31750"/>
                  </a:lnTo>
                  <a:lnTo>
                    <a:pt x="978959" y="37042"/>
                  </a:lnTo>
                  <a:lnTo>
                    <a:pt x="978959" y="39687"/>
                  </a:lnTo>
                  <a:lnTo>
                    <a:pt x="981605" y="42333"/>
                  </a:lnTo>
                  <a:lnTo>
                    <a:pt x="984251" y="44979"/>
                  </a:lnTo>
                  <a:lnTo>
                    <a:pt x="984251" y="50271"/>
                  </a:lnTo>
                  <a:lnTo>
                    <a:pt x="981605" y="52917"/>
                  </a:lnTo>
                  <a:lnTo>
                    <a:pt x="984251" y="52917"/>
                  </a:lnTo>
                  <a:lnTo>
                    <a:pt x="986896" y="50271"/>
                  </a:lnTo>
                  <a:lnTo>
                    <a:pt x="989542" y="52917"/>
                  </a:lnTo>
                  <a:lnTo>
                    <a:pt x="989542" y="55562"/>
                  </a:lnTo>
                  <a:lnTo>
                    <a:pt x="989542" y="58208"/>
                  </a:lnTo>
                  <a:lnTo>
                    <a:pt x="989542" y="60854"/>
                  </a:lnTo>
                  <a:lnTo>
                    <a:pt x="989542" y="68792"/>
                  </a:lnTo>
                  <a:lnTo>
                    <a:pt x="989542" y="74083"/>
                  </a:lnTo>
                  <a:lnTo>
                    <a:pt x="989542" y="82021"/>
                  </a:lnTo>
                  <a:lnTo>
                    <a:pt x="986896" y="89958"/>
                  </a:lnTo>
                  <a:lnTo>
                    <a:pt x="984251" y="95250"/>
                  </a:lnTo>
                  <a:lnTo>
                    <a:pt x="986896" y="97896"/>
                  </a:lnTo>
                  <a:lnTo>
                    <a:pt x="989542" y="100542"/>
                  </a:lnTo>
                  <a:lnTo>
                    <a:pt x="989542" y="105833"/>
                  </a:lnTo>
                  <a:lnTo>
                    <a:pt x="986896" y="111125"/>
                  </a:lnTo>
                  <a:lnTo>
                    <a:pt x="989542" y="113771"/>
                  </a:lnTo>
                  <a:lnTo>
                    <a:pt x="994834" y="113771"/>
                  </a:lnTo>
                  <a:lnTo>
                    <a:pt x="1000126" y="113771"/>
                  </a:lnTo>
                  <a:lnTo>
                    <a:pt x="1002771" y="111125"/>
                  </a:lnTo>
                  <a:lnTo>
                    <a:pt x="1008063" y="108479"/>
                  </a:lnTo>
                  <a:lnTo>
                    <a:pt x="1010709" y="113771"/>
                  </a:lnTo>
                  <a:lnTo>
                    <a:pt x="1008063" y="116417"/>
                  </a:lnTo>
                  <a:lnTo>
                    <a:pt x="1010709" y="119062"/>
                  </a:lnTo>
                  <a:lnTo>
                    <a:pt x="1016001" y="124354"/>
                  </a:lnTo>
                  <a:lnTo>
                    <a:pt x="1023938" y="129646"/>
                  </a:lnTo>
                  <a:lnTo>
                    <a:pt x="1026584" y="129646"/>
                  </a:lnTo>
                  <a:lnTo>
                    <a:pt x="1029230" y="132292"/>
                  </a:lnTo>
                  <a:lnTo>
                    <a:pt x="1031876" y="134937"/>
                  </a:lnTo>
                  <a:lnTo>
                    <a:pt x="1031876" y="140229"/>
                  </a:lnTo>
                  <a:lnTo>
                    <a:pt x="1026584" y="142875"/>
                  </a:lnTo>
                  <a:lnTo>
                    <a:pt x="1026584" y="148167"/>
                  </a:lnTo>
                  <a:lnTo>
                    <a:pt x="1026584" y="156104"/>
                  </a:lnTo>
                  <a:lnTo>
                    <a:pt x="1023938" y="158750"/>
                  </a:lnTo>
                  <a:lnTo>
                    <a:pt x="1021292" y="164041"/>
                  </a:lnTo>
                  <a:lnTo>
                    <a:pt x="1021292" y="166687"/>
                  </a:lnTo>
                  <a:lnTo>
                    <a:pt x="1021292" y="171979"/>
                  </a:lnTo>
                  <a:lnTo>
                    <a:pt x="1021292" y="177271"/>
                  </a:lnTo>
                  <a:lnTo>
                    <a:pt x="1018646" y="179916"/>
                  </a:lnTo>
                  <a:lnTo>
                    <a:pt x="1021292" y="187854"/>
                  </a:lnTo>
                  <a:lnTo>
                    <a:pt x="1026584" y="198437"/>
                  </a:lnTo>
                  <a:lnTo>
                    <a:pt x="1026584" y="209021"/>
                  </a:lnTo>
                  <a:lnTo>
                    <a:pt x="1026584" y="216958"/>
                  </a:lnTo>
                  <a:lnTo>
                    <a:pt x="1023938" y="224896"/>
                  </a:lnTo>
                  <a:lnTo>
                    <a:pt x="1018646" y="238125"/>
                  </a:lnTo>
                  <a:lnTo>
                    <a:pt x="1018646" y="243416"/>
                  </a:lnTo>
                  <a:lnTo>
                    <a:pt x="1018646" y="248708"/>
                  </a:lnTo>
                  <a:lnTo>
                    <a:pt x="1021292" y="254000"/>
                  </a:lnTo>
                  <a:lnTo>
                    <a:pt x="1023938" y="259291"/>
                  </a:lnTo>
                  <a:lnTo>
                    <a:pt x="1026584" y="264583"/>
                  </a:lnTo>
                  <a:lnTo>
                    <a:pt x="1037167" y="269875"/>
                  </a:lnTo>
                  <a:lnTo>
                    <a:pt x="1045105" y="275166"/>
                  </a:lnTo>
                  <a:lnTo>
                    <a:pt x="1047751" y="280458"/>
                  </a:lnTo>
                  <a:lnTo>
                    <a:pt x="1050396" y="285750"/>
                  </a:lnTo>
                  <a:lnTo>
                    <a:pt x="1055688" y="285750"/>
                  </a:lnTo>
                  <a:lnTo>
                    <a:pt x="1060980" y="285750"/>
                  </a:lnTo>
                  <a:lnTo>
                    <a:pt x="1063626" y="288396"/>
                  </a:lnTo>
                  <a:lnTo>
                    <a:pt x="1066271" y="291041"/>
                  </a:lnTo>
                  <a:lnTo>
                    <a:pt x="1068917" y="291041"/>
                  </a:lnTo>
                  <a:lnTo>
                    <a:pt x="1071563" y="291041"/>
                  </a:lnTo>
                  <a:lnTo>
                    <a:pt x="1071563" y="293687"/>
                  </a:lnTo>
                  <a:lnTo>
                    <a:pt x="1071563" y="298979"/>
                  </a:lnTo>
                  <a:lnTo>
                    <a:pt x="1076855" y="301625"/>
                  </a:lnTo>
                  <a:lnTo>
                    <a:pt x="1079501" y="304271"/>
                  </a:lnTo>
                  <a:lnTo>
                    <a:pt x="1082146" y="309562"/>
                  </a:lnTo>
                  <a:lnTo>
                    <a:pt x="1082146" y="317500"/>
                  </a:lnTo>
                  <a:lnTo>
                    <a:pt x="1079501" y="314854"/>
                  </a:lnTo>
                  <a:lnTo>
                    <a:pt x="1076855" y="314854"/>
                  </a:lnTo>
                  <a:lnTo>
                    <a:pt x="1074209" y="314854"/>
                  </a:lnTo>
                  <a:lnTo>
                    <a:pt x="1071563" y="317500"/>
                  </a:lnTo>
                  <a:lnTo>
                    <a:pt x="1074209" y="320146"/>
                  </a:lnTo>
                  <a:lnTo>
                    <a:pt x="1076855" y="325437"/>
                  </a:lnTo>
                  <a:lnTo>
                    <a:pt x="1079501" y="333375"/>
                  </a:lnTo>
                  <a:lnTo>
                    <a:pt x="1079501" y="336021"/>
                  </a:lnTo>
                  <a:lnTo>
                    <a:pt x="1079501" y="341312"/>
                  </a:lnTo>
                  <a:lnTo>
                    <a:pt x="1076855" y="346604"/>
                  </a:lnTo>
                  <a:lnTo>
                    <a:pt x="1076855" y="349250"/>
                  </a:lnTo>
                  <a:lnTo>
                    <a:pt x="1079501" y="351896"/>
                  </a:lnTo>
                  <a:lnTo>
                    <a:pt x="1079501" y="354541"/>
                  </a:lnTo>
                  <a:lnTo>
                    <a:pt x="1076855" y="367771"/>
                  </a:lnTo>
                  <a:lnTo>
                    <a:pt x="1079501" y="370416"/>
                  </a:lnTo>
                  <a:lnTo>
                    <a:pt x="1082146" y="375708"/>
                  </a:lnTo>
                  <a:lnTo>
                    <a:pt x="1084792" y="367771"/>
                  </a:lnTo>
                  <a:lnTo>
                    <a:pt x="1090084" y="365125"/>
                  </a:lnTo>
                  <a:lnTo>
                    <a:pt x="1095376" y="370416"/>
                  </a:lnTo>
                  <a:lnTo>
                    <a:pt x="1103313" y="378354"/>
                  </a:lnTo>
                  <a:lnTo>
                    <a:pt x="1100667" y="373062"/>
                  </a:lnTo>
                  <a:lnTo>
                    <a:pt x="1100667" y="370416"/>
                  </a:lnTo>
                  <a:lnTo>
                    <a:pt x="1100667" y="367771"/>
                  </a:lnTo>
                  <a:lnTo>
                    <a:pt x="1105959" y="367771"/>
                  </a:lnTo>
                  <a:lnTo>
                    <a:pt x="1108605" y="370416"/>
                  </a:lnTo>
                  <a:lnTo>
                    <a:pt x="1108605" y="378354"/>
                  </a:lnTo>
                  <a:lnTo>
                    <a:pt x="1103313" y="391583"/>
                  </a:lnTo>
                  <a:lnTo>
                    <a:pt x="1103313" y="396875"/>
                  </a:lnTo>
                  <a:lnTo>
                    <a:pt x="1100667" y="402166"/>
                  </a:lnTo>
                  <a:lnTo>
                    <a:pt x="1105959" y="410104"/>
                  </a:lnTo>
                  <a:lnTo>
                    <a:pt x="1108605" y="415396"/>
                  </a:lnTo>
                  <a:lnTo>
                    <a:pt x="1108605" y="418041"/>
                  </a:lnTo>
                  <a:lnTo>
                    <a:pt x="1108605" y="423333"/>
                  </a:lnTo>
                  <a:lnTo>
                    <a:pt x="1111251" y="423333"/>
                  </a:lnTo>
                  <a:lnTo>
                    <a:pt x="1113896" y="425979"/>
                  </a:lnTo>
                  <a:lnTo>
                    <a:pt x="1119188" y="447146"/>
                  </a:lnTo>
                  <a:lnTo>
                    <a:pt x="1121834" y="457729"/>
                  </a:lnTo>
                  <a:lnTo>
                    <a:pt x="1124480" y="455083"/>
                  </a:lnTo>
                  <a:lnTo>
                    <a:pt x="1127126" y="444500"/>
                  </a:lnTo>
                  <a:lnTo>
                    <a:pt x="1129771" y="441854"/>
                  </a:lnTo>
                  <a:lnTo>
                    <a:pt x="1132417" y="447146"/>
                  </a:lnTo>
                  <a:lnTo>
                    <a:pt x="1132417" y="449791"/>
                  </a:lnTo>
                  <a:lnTo>
                    <a:pt x="1129771" y="455083"/>
                  </a:lnTo>
                  <a:lnTo>
                    <a:pt x="1127126" y="463020"/>
                  </a:lnTo>
                  <a:lnTo>
                    <a:pt x="1124480" y="465666"/>
                  </a:lnTo>
                  <a:lnTo>
                    <a:pt x="1124480" y="473604"/>
                  </a:lnTo>
                  <a:lnTo>
                    <a:pt x="1127126" y="478895"/>
                  </a:lnTo>
                  <a:lnTo>
                    <a:pt x="1124480" y="484187"/>
                  </a:lnTo>
                  <a:lnTo>
                    <a:pt x="1119188" y="492125"/>
                  </a:lnTo>
                  <a:lnTo>
                    <a:pt x="1116542" y="500062"/>
                  </a:lnTo>
                  <a:lnTo>
                    <a:pt x="1113896" y="502708"/>
                  </a:lnTo>
                  <a:lnTo>
                    <a:pt x="1116542" y="505354"/>
                  </a:lnTo>
                  <a:lnTo>
                    <a:pt x="1119188" y="510645"/>
                  </a:lnTo>
                  <a:lnTo>
                    <a:pt x="1119188" y="518583"/>
                  </a:lnTo>
                  <a:lnTo>
                    <a:pt x="1113896" y="539750"/>
                  </a:lnTo>
                  <a:lnTo>
                    <a:pt x="1103313" y="563562"/>
                  </a:lnTo>
                  <a:lnTo>
                    <a:pt x="1095376" y="574145"/>
                  </a:lnTo>
                  <a:lnTo>
                    <a:pt x="1087438" y="584729"/>
                  </a:lnTo>
                  <a:lnTo>
                    <a:pt x="1074209" y="600604"/>
                  </a:lnTo>
                  <a:lnTo>
                    <a:pt x="1063626" y="616479"/>
                  </a:lnTo>
                  <a:lnTo>
                    <a:pt x="1058334" y="627062"/>
                  </a:lnTo>
                  <a:lnTo>
                    <a:pt x="1053042" y="635000"/>
                  </a:lnTo>
                  <a:lnTo>
                    <a:pt x="1042459" y="645583"/>
                  </a:lnTo>
                  <a:lnTo>
                    <a:pt x="1042459" y="650875"/>
                  </a:lnTo>
                  <a:lnTo>
                    <a:pt x="1045105" y="653520"/>
                  </a:lnTo>
                  <a:lnTo>
                    <a:pt x="1045105" y="658812"/>
                  </a:lnTo>
                  <a:lnTo>
                    <a:pt x="1039813" y="664104"/>
                  </a:lnTo>
                  <a:lnTo>
                    <a:pt x="1023938" y="677333"/>
                  </a:lnTo>
                  <a:lnTo>
                    <a:pt x="1000126" y="698500"/>
                  </a:lnTo>
                  <a:lnTo>
                    <a:pt x="997480" y="703791"/>
                  </a:lnTo>
                  <a:lnTo>
                    <a:pt x="992188" y="709083"/>
                  </a:lnTo>
                  <a:lnTo>
                    <a:pt x="981605" y="711729"/>
                  </a:lnTo>
                  <a:lnTo>
                    <a:pt x="973667" y="714375"/>
                  </a:lnTo>
                  <a:lnTo>
                    <a:pt x="973667" y="717020"/>
                  </a:lnTo>
                  <a:lnTo>
                    <a:pt x="973667" y="719666"/>
                  </a:lnTo>
                  <a:lnTo>
                    <a:pt x="973667" y="722312"/>
                  </a:lnTo>
                  <a:lnTo>
                    <a:pt x="971021" y="722312"/>
                  </a:lnTo>
                  <a:lnTo>
                    <a:pt x="965730" y="722312"/>
                  </a:lnTo>
                  <a:lnTo>
                    <a:pt x="960438" y="727604"/>
                  </a:lnTo>
                  <a:lnTo>
                    <a:pt x="949855" y="743479"/>
                  </a:lnTo>
                  <a:lnTo>
                    <a:pt x="933980" y="762000"/>
                  </a:lnTo>
                  <a:lnTo>
                    <a:pt x="918105" y="777875"/>
                  </a:lnTo>
                  <a:lnTo>
                    <a:pt x="912813" y="783166"/>
                  </a:lnTo>
                  <a:lnTo>
                    <a:pt x="910167" y="791104"/>
                  </a:lnTo>
                  <a:lnTo>
                    <a:pt x="907521" y="799041"/>
                  </a:lnTo>
                  <a:lnTo>
                    <a:pt x="904876" y="799041"/>
                  </a:lnTo>
                  <a:lnTo>
                    <a:pt x="899584" y="804333"/>
                  </a:lnTo>
                  <a:lnTo>
                    <a:pt x="891646" y="812270"/>
                  </a:lnTo>
                  <a:lnTo>
                    <a:pt x="883709" y="812270"/>
                  </a:lnTo>
                  <a:lnTo>
                    <a:pt x="878417" y="812270"/>
                  </a:lnTo>
                  <a:lnTo>
                    <a:pt x="873126" y="814916"/>
                  </a:lnTo>
                  <a:lnTo>
                    <a:pt x="867834" y="822854"/>
                  </a:lnTo>
                  <a:lnTo>
                    <a:pt x="862542" y="828145"/>
                  </a:lnTo>
                  <a:lnTo>
                    <a:pt x="857251" y="833437"/>
                  </a:lnTo>
                  <a:lnTo>
                    <a:pt x="851959" y="836083"/>
                  </a:lnTo>
                  <a:lnTo>
                    <a:pt x="849313" y="838729"/>
                  </a:lnTo>
                  <a:lnTo>
                    <a:pt x="846667" y="844020"/>
                  </a:lnTo>
                  <a:lnTo>
                    <a:pt x="844021" y="849312"/>
                  </a:lnTo>
                  <a:lnTo>
                    <a:pt x="844021" y="851958"/>
                  </a:lnTo>
                  <a:lnTo>
                    <a:pt x="841376" y="849312"/>
                  </a:lnTo>
                  <a:lnTo>
                    <a:pt x="838730" y="851958"/>
                  </a:lnTo>
                  <a:lnTo>
                    <a:pt x="836084" y="854604"/>
                  </a:lnTo>
                  <a:lnTo>
                    <a:pt x="825500" y="854604"/>
                  </a:lnTo>
                  <a:lnTo>
                    <a:pt x="799042" y="851958"/>
                  </a:lnTo>
                  <a:lnTo>
                    <a:pt x="791105" y="851958"/>
                  </a:lnTo>
                  <a:lnTo>
                    <a:pt x="785813" y="854604"/>
                  </a:lnTo>
                  <a:lnTo>
                    <a:pt x="772584" y="865187"/>
                  </a:lnTo>
                  <a:lnTo>
                    <a:pt x="762000" y="875770"/>
                  </a:lnTo>
                  <a:lnTo>
                    <a:pt x="748771" y="883708"/>
                  </a:lnTo>
                  <a:lnTo>
                    <a:pt x="740834" y="886354"/>
                  </a:lnTo>
                  <a:lnTo>
                    <a:pt x="738188" y="886354"/>
                  </a:lnTo>
                  <a:lnTo>
                    <a:pt x="738188" y="881062"/>
                  </a:lnTo>
                  <a:lnTo>
                    <a:pt x="732896" y="878416"/>
                  </a:lnTo>
                  <a:lnTo>
                    <a:pt x="724959" y="878416"/>
                  </a:lnTo>
                  <a:lnTo>
                    <a:pt x="722313" y="875770"/>
                  </a:lnTo>
                  <a:lnTo>
                    <a:pt x="722313" y="873125"/>
                  </a:lnTo>
                  <a:lnTo>
                    <a:pt x="724959" y="870479"/>
                  </a:lnTo>
                  <a:lnTo>
                    <a:pt x="727605" y="867833"/>
                  </a:lnTo>
                  <a:lnTo>
                    <a:pt x="719667" y="870479"/>
                  </a:lnTo>
                  <a:lnTo>
                    <a:pt x="711730" y="870479"/>
                  </a:lnTo>
                  <a:lnTo>
                    <a:pt x="714375" y="865187"/>
                  </a:lnTo>
                  <a:lnTo>
                    <a:pt x="719667" y="862541"/>
                  </a:lnTo>
                  <a:lnTo>
                    <a:pt x="717021" y="862541"/>
                  </a:lnTo>
                  <a:lnTo>
                    <a:pt x="714375" y="862541"/>
                  </a:lnTo>
                  <a:lnTo>
                    <a:pt x="711730" y="862541"/>
                  </a:lnTo>
                  <a:lnTo>
                    <a:pt x="714375" y="854604"/>
                  </a:lnTo>
                  <a:lnTo>
                    <a:pt x="714375" y="849312"/>
                  </a:lnTo>
                  <a:lnTo>
                    <a:pt x="711730" y="849312"/>
                  </a:lnTo>
                  <a:lnTo>
                    <a:pt x="709084" y="851958"/>
                  </a:lnTo>
                  <a:lnTo>
                    <a:pt x="703792" y="857250"/>
                  </a:lnTo>
                  <a:lnTo>
                    <a:pt x="703792" y="859895"/>
                  </a:lnTo>
                  <a:lnTo>
                    <a:pt x="709084" y="859895"/>
                  </a:lnTo>
                  <a:lnTo>
                    <a:pt x="709084" y="862541"/>
                  </a:lnTo>
                  <a:lnTo>
                    <a:pt x="703792" y="865187"/>
                  </a:lnTo>
                  <a:lnTo>
                    <a:pt x="701146" y="865187"/>
                  </a:lnTo>
                  <a:lnTo>
                    <a:pt x="695855" y="865187"/>
                  </a:lnTo>
                  <a:lnTo>
                    <a:pt x="687917" y="870479"/>
                  </a:lnTo>
                  <a:lnTo>
                    <a:pt x="679980" y="875770"/>
                  </a:lnTo>
                  <a:lnTo>
                    <a:pt x="677334" y="875770"/>
                  </a:lnTo>
                  <a:lnTo>
                    <a:pt x="677334" y="873125"/>
                  </a:lnTo>
                  <a:lnTo>
                    <a:pt x="672042" y="873125"/>
                  </a:lnTo>
                  <a:lnTo>
                    <a:pt x="664105" y="875770"/>
                  </a:lnTo>
                  <a:lnTo>
                    <a:pt x="658813" y="873125"/>
                  </a:lnTo>
                  <a:lnTo>
                    <a:pt x="656167" y="870479"/>
                  </a:lnTo>
                  <a:lnTo>
                    <a:pt x="648230" y="870479"/>
                  </a:lnTo>
                  <a:lnTo>
                    <a:pt x="642938" y="870479"/>
                  </a:lnTo>
                  <a:lnTo>
                    <a:pt x="637646" y="867833"/>
                  </a:lnTo>
                  <a:lnTo>
                    <a:pt x="629708" y="862541"/>
                  </a:lnTo>
                  <a:lnTo>
                    <a:pt x="616479" y="857250"/>
                  </a:lnTo>
                  <a:lnTo>
                    <a:pt x="605896" y="851958"/>
                  </a:lnTo>
                  <a:lnTo>
                    <a:pt x="605896" y="849312"/>
                  </a:lnTo>
                  <a:lnTo>
                    <a:pt x="605896" y="846666"/>
                  </a:lnTo>
                  <a:lnTo>
                    <a:pt x="605896" y="841375"/>
                  </a:lnTo>
                  <a:lnTo>
                    <a:pt x="603250" y="836083"/>
                  </a:lnTo>
                  <a:lnTo>
                    <a:pt x="600604" y="833437"/>
                  </a:lnTo>
                  <a:lnTo>
                    <a:pt x="597958" y="828145"/>
                  </a:lnTo>
                  <a:lnTo>
                    <a:pt x="597958" y="825500"/>
                  </a:lnTo>
                  <a:lnTo>
                    <a:pt x="603250" y="820208"/>
                  </a:lnTo>
                  <a:lnTo>
                    <a:pt x="611187" y="812270"/>
                  </a:lnTo>
                  <a:lnTo>
                    <a:pt x="613833" y="806979"/>
                  </a:lnTo>
                  <a:lnTo>
                    <a:pt x="616479" y="799041"/>
                  </a:lnTo>
                  <a:lnTo>
                    <a:pt x="616479" y="793750"/>
                  </a:lnTo>
                  <a:lnTo>
                    <a:pt x="619125" y="791104"/>
                  </a:lnTo>
                  <a:lnTo>
                    <a:pt x="627062" y="788458"/>
                  </a:lnTo>
                  <a:lnTo>
                    <a:pt x="632354" y="785812"/>
                  </a:lnTo>
                  <a:lnTo>
                    <a:pt x="627062" y="783166"/>
                  </a:lnTo>
                  <a:lnTo>
                    <a:pt x="621771" y="783166"/>
                  </a:lnTo>
                  <a:lnTo>
                    <a:pt x="619125" y="785812"/>
                  </a:lnTo>
                  <a:lnTo>
                    <a:pt x="613833" y="785812"/>
                  </a:lnTo>
                  <a:lnTo>
                    <a:pt x="597958" y="783166"/>
                  </a:lnTo>
                  <a:lnTo>
                    <a:pt x="608542" y="777875"/>
                  </a:lnTo>
                  <a:lnTo>
                    <a:pt x="613833" y="772583"/>
                  </a:lnTo>
                  <a:lnTo>
                    <a:pt x="613833" y="764645"/>
                  </a:lnTo>
                  <a:lnTo>
                    <a:pt x="613833" y="754062"/>
                  </a:lnTo>
                  <a:lnTo>
                    <a:pt x="613833" y="748770"/>
                  </a:lnTo>
                  <a:lnTo>
                    <a:pt x="611187" y="748770"/>
                  </a:lnTo>
                  <a:lnTo>
                    <a:pt x="600604" y="762000"/>
                  </a:lnTo>
                  <a:lnTo>
                    <a:pt x="595312" y="769937"/>
                  </a:lnTo>
                  <a:lnTo>
                    <a:pt x="590021" y="775229"/>
                  </a:lnTo>
                  <a:lnTo>
                    <a:pt x="582083" y="775229"/>
                  </a:lnTo>
                  <a:lnTo>
                    <a:pt x="574146" y="775229"/>
                  </a:lnTo>
                  <a:lnTo>
                    <a:pt x="568854" y="775229"/>
                  </a:lnTo>
                  <a:lnTo>
                    <a:pt x="566208" y="775229"/>
                  </a:lnTo>
                  <a:lnTo>
                    <a:pt x="566208" y="772583"/>
                  </a:lnTo>
                  <a:lnTo>
                    <a:pt x="566208" y="769937"/>
                  </a:lnTo>
                  <a:lnTo>
                    <a:pt x="574146" y="764645"/>
                  </a:lnTo>
                  <a:lnTo>
                    <a:pt x="579437" y="764645"/>
                  </a:lnTo>
                  <a:lnTo>
                    <a:pt x="584729" y="762000"/>
                  </a:lnTo>
                  <a:lnTo>
                    <a:pt x="584729" y="759354"/>
                  </a:lnTo>
                  <a:lnTo>
                    <a:pt x="587375" y="754062"/>
                  </a:lnTo>
                  <a:lnTo>
                    <a:pt x="590021" y="748770"/>
                  </a:lnTo>
                  <a:lnTo>
                    <a:pt x="597958" y="743479"/>
                  </a:lnTo>
                  <a:lnTo>
                    <a:pt x="608542" y="735541"/>
                  </a:lnTo>
                  <a:lnTo>
                    <a:pt x="619125" y="727604"/>
                  </a:lnTo>
                  <a:lnTo>
                    <a:pt x="619125" y="724958"/>
                  </a:lnTo>
                  <a:lnTo>
                    <a:pt x="619125" y="722312"/>
                  </a:lnTo>
                  <a:lnTo>
                    <a:pt x="616479" y="719666"/>
                  </a:lnTo>
                  <a:lnTo>
                    <a:pt x="621771" y="717020"/>
                  </a:lnTo>
                  <a:lnTo>
                    <a:pt x="624417" y="711729"/>
                  </a:lnTo>
                  <a:lnTo>
                    <a:pt x="624417" y="706437"/>
                  </a:lnTo>
                  <a:lnTo>
                    <a:pt x="621771" y="701145"/>
                  </a:lnTo>
                  <a:lnTo>
                    <a:pt x="627062" y="695854"/>
                  </a:lnTo>
                  <a:lnTo>
                    <a:pt x="619125" y="698500"/>
                  </a:lnTo>
                  <a:lnTo>
                    <a:pt x="616479" y="703791"/>
                  </a:lnTo>
                  <a:lnTo>
                    <a:pt x="613833" y="709083"/>
                  </a:lnTo>
                  <a:lnTo>
                    <a:pt x="611187" y="711729"/>
                  </a:lnTo>
                  <a:lnTo>
                    <a:pt x="608542" y="711729"/>
                  </a:lnTo>
                  <a:lnTo>
                    <a:pt x="605896" y="714375"/>
                  </a:lnTo>
                  <a:lnTo>
                    <a:pt x="600604" y="722312"/>
                  </a:lnTo>
                  <a:lnTo>
                    <a:pt x="595312" y="730250"/>
                  </a:lnTo>
                  <a:lnTo>
                    <a:pt x="592667" y="732895"/>
                  </a:lnTo>
                  <a:lnTo>
                    <a:pt x="587375" y="732895"/>
                  </a:lnTo>
                  <a:lnTo>
                    <a:pt x="582083" y="732895"/>
                  </a:lnTo>
                  <a:lnTo>
                    <a:pt x="574146" y="738187"/>
                  </a:lnTo>
                  <a:lnTo>
                    <a:pt x="563562" y="746125"/>
                  </a:lnTo>
                  <a:lnTo>
                    <a:pt x="550333" y="751416"/>
                  </a:lnTo>
                  <a:lnTo>
                    <a:pt x="547687" y="754062"/>
                  </a:lnTo>
                  <a:lnTo>
                    <a:pt x="550333" y="756708"/>
                  </a:lnTo>
                  <a:lnTo>
                    <a:pt x="545042" y="759354"/>
                  </a:lnTo>
                  <a:lnTo>
                    <a:pt x="534458" y="762000"/>
                  </a:lnTo>
                  <a:lnTo>
                    <a:pt x="531812" y="756708"/>
                  </a:lnTo>
                  <a:lnTo>
                    <a:pt x="529167" y="751416"/>
                  </a:lnTo>
                  <a:lnTo>
                    <a:pt x="531812" y="746125"/>
                  </a:lnTo>
                  <a:lnTo>
                    <a:pt x="534458" y="735541"/>
                  </a:lnTo>
                  <a:lnTo>
                    <a:pt x="534458" y="724958"/>
                  </a:lnTo>
                  <a:lnTo>
                    <a:pt x="534458" y="714375"/>
                  </a:lnTo>
                  <a:lnTo>
                    <a:pt x="531812" y="711729"/>
                  </a:lnTo>
                  <a:lnTo>
                    <a:pt x="526521" y="709083"/>
                  </a:lnTo>
                  <a:lnTo>
                    <a:pt x="518583" y="706437"/>
                  </a:lnTo>
                  <a:lnTo>
                    <a:pt x="515937" y="701145"/>
                  </a:lnTo>
                  <a:lnTo>
                    <a:pt x="513292" y="698500"/>
                  </a:lnTo>
                  <a:lnTo>
                    <a:pt x="515937" y="695854"/>
                  </a:lnTo>
                  <a:lnTo>
                    <a:pt x="515937" y="693208"/>
                  </a:lnTo>
                  <a:lnTo>
                    <a:pt x="513292" y="687916"/>
                  </a:lnTo>
                  <a:lnTo>
                    <a:pt x="508000" y="682625"/>
                  </a:lnTo>
                  <a:lnTo>
                    <a:pt x="500062" y="682625"/>
                  </a:lnTo>
                  <a:lnTo>
                    <a:pt x="494771" y="685270"/>
                  </a:lnTo>
                  <a:lnTo>
                    <a:pt x="492125" y="682625"/>
                  </a:lnTo>
                  <a:lnTo>
                    <a:pt x="492125" y="679979"/>
                  </a:lnTo>
                  <a:lnTo>
                    <a:pt x="486833" y="679979"/>
                  </a:lnTo>
                  <a:lnTo>
                    <a:pt x="481542" y="682625"/>
                  </a:lnTo>
                  <a:lnTo>
                    <a:pt x="476250" y="679979"/>
                  </a:lnTo>
                  <a:lnTo>
                    <a:pt x="468312" y="674687"/>
                  </a:lnTo>
                  <a:lnTo>
                    <a:pt x="460375" y="666750"/>
                  </a:lnTo>
                  <a:lnTo>
                    <a:pt x="455083" y="666750"/>
                  </a:lnTo>
                  <a:lnTo>
                    <a:pt x="449792" y="666750"/>
                  </a:lnTo>
                  <a:lnTo>
                    <a:pt x="439208" y="666750"/>
                  </a:lnTo>
                  <a:lnTo>
                    <a:pt x="428625" y="664104"/>
                  </a:lnTo>
                  <a:lnTo>
                    <a:pt x="415396" y="664104"/>
                  </a:lnTo>
                  <a:lnTo>
                    <a:pt x="399521" y="666750"/>
                  </a:lnTo>
                  <a:lnTo>
                    <a:pt x="381000" y="674687"/>
                  </a:lnTo>
                  <a:lnTo>
                    <a:pt x="370417" y="679979"/>
                  </a:lnTo>
                  <a:lnTo>
                    <a:pt x="362479" y="685270"/>
                  </a:lnTo>
                  <a:lnTo>
                    <a:pt x="346604" y="687916"/>
                  </a:lnTo>
                  <a:lnTo>
                    <a:pt x="322792" y="690562"/>
                  </a:lnTo>
                  <a:lnTo>
                    <a:pt x="309562" y="690562"/>
                  </a:lnTo>
                  <a:lnTo>
                    <a:pt x="296333" y="690562"/>
                  </a:lnTo>
                  <a:lnTo>
                    <a:pt x="285750" y="693208"/>
                  </a:lnTo>
                  <a:lnTo>
                    <a:pt x="264583" y="703791"/>
                  </a:lnTo>
                  <a:lnTo>
                    <a:pt x="256646" y="709083"/>
                  </a:lnTo>
                  <a:lnTo>
                    <a:pt x="248708" y="711729"/>
                  </a:lnTo>
                  <a:lnTo>
                    <a:pt x="238125" y="714375"/>
                  </a:lnTo>
                  <a:lnTo>
                    <a:pt x="238125" y="717020"/>
                  </a:lnTo>
                  <a:lnTo>
                    <a:pt x="235479" y="724958"/>
                  </a:lnTo>
                  <a:lnTo>
                    <a:pt x="224896" y="732895"/>
                  </a:lnTo>
                  <a:lnTo>
                    <a:pt x="211666" y="738187"/>
                  </a:lnTo>
                  <a:lnTo>
                    <a:pt x="206375" y="735541"/>
                  </a:lnTo>
                  <a:lnTo>
                    <a:pt x="203729" y="732895"/>
                  </a:lnTo>
                  <a:lnTo>
                    <a:pt x="201083" y="735541"/>
                  </a:lnTo>
                  <a:lnTo>
                    <a:pt x="198437" y="738187"/>
                  </a:lnTo>
                  <a:lnTo>
                    <a:pt x="193146" y="738187"/>
                  </a:lnTo>
                  <a:lnTo>
                    <a:pt x="187854" y="738187"/>
                  </a:lnTo>
                  <a:lnTo>
                    <a:pt x="179916" y="740833"/>
                  </a:lnTo>
                  <a:lnTo>
                    <a:pt x="177271" y="740833"/>
                  </a:lnTo>
                  <a:lnTo>
                    <a:pt x="174625" y="740833"/>
                  </a:lnTo>
                  <a:lnTo>
                    <a:pt x="169333" y="738187"/>
                  </a:lnTo>
                  <a:lnTo>
                    <a:pt x="166687" y="735541"/>
                  </a:lnTo>
                  <a:lnTo>
                    <a:pt x="164041" y="735541"/>
                  </a:lnTo>
                  <a:lnTo>
                    <a:pt x="156104" y="735541"/>
                  </a:lnTo>
                  <a:lnTo>
                    <a:pt x="148166" y="735541"/>
                  </a:lnTo>
                  <a:lnTo>
                    <a:pt x="140229" y="735541"/>
                  </a:lnTo>
                  <a:lnTo>
                    <a:pt x="124354" y="740833"/>
                  </a:lnTo>
                  <a:lnTo>
                    <a:pt x="119062" y="740833"/>
                  </a:lnTo>
                  <a:lnTo>
                    <a:pt x="116416" y="740833"/>
                  </a:lnTo>
                  <a:lnTo>
                    <a:pt x="108479" y="743479"/>
                  </a:lnTo>
                  <a:lnTo>
                    <a:pt x="100541" y="748770"/>
                  </a:lnTo>
                  <a:lnTo>
                    <a:pt x="97896" y="754062"/>
                  </a:lnTo>
                  <a:lnTo>
                    <a:pt x="97896" y="756708"/>
                  </a:lnTo>
                  <a:lnTo>
                    <a:pt x="92604" y="756708"/>
                  </a:lnTo>
                  <a:lnTo>
                    <a:pt x="87312" y="756708"/>
                  </a:lnTo>
                  <a:lnTo>
                    <a:pt x="84666" y="762000"/>
                  </a:lnTo>
                  <a:lnTo>
                    <a:pt x="79375" y="764645"/>
                  </a:lnTo>
                  <a:lnTo>
                    <a:pt x="76729" y="767291"/>
                  </a:lnTo>
                  <a:lnTo>
                    <a:pt x="71437" y="767291"/>
                  </a:lnTo>
                  <a:lnTo>
                    <a:pt x="68791" y="769937"/>
                  </a:lnTo>
                  <a:lnTo>
                    <a:pt x="66146" y="769937"/>
                  </a:lnTo>
                  <a:lnTo>
                    <a:pt x="60854" y="769937"/>
                  </a:lnTo>
                  <a:lnTo>
                    <a:pt x="58208" y="769937"/>
                  </a:lnTo>
                  <a:lnTo>
                    <a:pt x="55562" y="772583"/>
                  </a:lnTo>
                  <a:lnTo>
                    <a:pt x="52916" y="775229"/>
                  </a:lnTo>
                  <a:lnTo>
                    <a:pt x="47625" y="772583"/>
                  </a:lnTo>
                  <a:lnTo>
                    <a:pt x="39687" y="769937"/>
                  </a:lnTo>
                  <a:lnTo>
                    <a:pt x="37041" y="769937"/>
                  </a:lnTo>
                  <a:lnTo>
                    <a:pt x="31750" y="769937"/>
                  </a:lnTo>
                  <a:lnTo>
                    <a:pt x="29104" y="764645"/>
                  </a:lnTo>
                  <a:lnTo>
                    <a:pt x="23812" y="759354"/>
                  </a:lnTo>
                  <a:lnTo>
                    <a:pt x="21166" y="756708"/>
                  </a:lnTo>
                  <a:lnTo>
                    <a:pt x="13229" y="756708"/>
                  </a:lnTo>
                  <a:lnTo>
                    <a:pt x="7937" y="756708"/>
                  </a:lnTo>
                  <a:lnTo>
                    <a:pt x="7937" y="754062"/>
                  </a:lnTo>
                  <a:lnTo>
                    <a:pt x="5291" y="748770"/>
                  </a:lnTo>
                  <a:lnTo>
                    <a:pt x="5291" y="743479"/>
                  </a:lnTo>
                  <a:lnTo>
                    <a:pt x="2646" y="740833"/>
                  </a:lnTo>
                  <a:lnTo>
                    <a:pt x="0" y="738187"/>
                  </a:lnTo>
                  <a:lnTo>
                    <a:pt x="2646" y="735541"/>
                  </a:lnTo>
                  <a:lnTo>
                    <a:pt x="5291" y="732895"/>
                  </a:lnTo>
                  <a:lnTo>
                    <a:pt x="7937" y="735541"/>
                  </a:lnTo>
                  <a:lnTo>
                    <a:pt x="10583" y="735541"/>
                  </a:lnTo>
                  <a:lnTo>
                    <a:pt x="18521" y="732895"/>
                  </a:lnTo>
                  <a:lnTo>
                    <a:pt x="26458" y="730250"/>
                  </a:lnTo>
                  <a:lnTo>
                    <a:pt x="26458" y="727604"/>
                  </a:lnTo>
                  <a:lnTo>
                    <a:pt x="26458" y="724958"/>
                  </a:lnTo>
                  <a:lnTo>
                    <a:pt x="29104" y="719666"/>
                  </a:lnTo>
                  <a:lnTo>
                    <a:pt x="31750" y="714375"/>
                  </a:lnTo>
                  <a:lnTo>
                    <a:pt x="31750" y="709083"/>
                  </a:lnTo>
                  <a:lnTo>
                    <a:pt x="31750" y="703791"/>
                  </a:lnTo>
                  <a:lnTo>
                    <a:pt x="31750" y="698500"/>
                  </a:lnTo>
                  <a:lnTo>
                    <a:pt x="34396" y="695854"/>
                  </a:lnTo>
                  <a:lnTo>
                    <a:pt x="37041" y="698500"/>
                  </a:lnTo>
                  <a:lnTo>
                    <a:pt x="39687" y="701145"/>
                  </a:lnTo>
                  <a:lnTo>
                    <a:pt x="42333" y="698500"/>
                  </a:lnTo>
                  <a:lnTo>
                    <a:pt x="42333" y="695854"/>
                  </a:lnTo>
                  <a:lnTo>
                    <a:pt x="42333" y="693208"/>
                  </a:lnTo>
                  <a:lnTo>
                    <a:pt x="44979" y="685270"/>
                  </a:lnTo>
                  <a:lnTo>
                    <a:pt x="47625" y="677333"/>
                  </a:lnTo>
                  <a:lnTo>
                    <a:pt x="47625" y="669395"/>
                  </a:lnTo>
                  <a:lnTo>
                    <a:pt x="47625" y="650875"/>
                  </a:lnTo>
                  <a:lnTo>
                    <a:pt x="50271" y="627062"/>
                  </a:lnTo>
                  <a:lnTo>
                    <a:pt x="50271" y="616479"/>
                  </a:lnTo>
                  <a:lnTo>
                    <a:pt x="55562" y="605895"/>
                  </a:lnTo>
                  <a:lnTo>
                    <a:pt x="58208" y="595312"/>
                  </a:lnTo>
                  <a:lnTo>
                    <a:pt x="55562" y="584729"/>
                  </a:lnTo>
                  <a:lnTo>
                    <a:pt x="52916" y="574145"/>
                  </a:lnTo>
                  <a:lnTo>
                    <a:pt x="50271" y="566208"/>
                  </a:lnTo>
                  <a:lnTo>
                    <a:pt x="42333" y="550333"/>
                  </a:lnTo>
                  <a:lnTo>
                    <a:pt x="42333" y="542395"/>
                  </a:lnTo>
                  <a:lnTo>
                    <a:pt x="42333" y="537104"/>
                  </a:lnTo>
                  <a:lnTo>
                    <a:pt x="44979" y="531812"/>
                  </a:lnTo>
                  <a:lnTo>
                    <a:pt x="44979" y="523875"/>
                  </a:lnTo>
                  <a:lnTo>
                    <a:pt x="42333" y="515937"/>
                  </a:lnTo>
                  <a:lnTo>
                    <a:pt x="39687" y="497416"/>
                  </a:lnTo>
                  <a:lnTo>
                    <a:pt x="39687" y="492125"/>
                  </a:lnTo>
                  <a:lnTo>
                    <a:pt x="42333" y="489479"/>
                  </a:lnTo>
                  <a:lnTo>
                    <a:pt x="47625" y="494770"/>
                  </a:lnTo>
                  <a:lnTo>
                    <a:pt x="55562" y="500062"/>
                  </a:lnTo>
                  <a:lnTo>
                    <a:pt x="55562" y="494770"/>
                  </a:lnTo>
                  <a:lnTo>
                    <a:pt x="55562" y="484187"/>
                  </a:lnTo>
                  <a:lnTo>
                    <a:pt x="55562" y="473604"/>
                  </a:lnTo>
                  <a:lnTo>
                    <a:pt x="55562" y="468312"/>
                  </a:lnTo>
                  <a:lnTo>
                    <a:pt x="58208" y="465666"/>
                  </a:lnTo>
                  <a:lnTo>
                    <a:pt x="60854" y="468312"/>
                  </a:lnTo>
                  <a:lnTo>
                    <a:pt x="60854" y="476250"/>
                  </a:lnTo>
                  <a:lnTo>
                    <a:pt x="60854" y="484187"/>
                  </a:lnTo>
                  <a:lnTo>
                    <a:pt x="63500" y="497416"/>
                  </a:lnTo>
                  <a:lnTo>
                    <a:pt x="66146" y="492125"/>
                  </a:lnTo>
                  <a:lnTo>
                    <a:pt x="68791" y="486833"/>
                  </a:lnTo>
                  <a:lnTo>
                    <a:pt x="71437" y="484187"/>
                  </a:lnTo>
                  <a:lnTo>
                    <a:pt x="74083" y="478895"/>
                  </a:lnTo>
                  <a:lnTo>
                    <a:pt x="71437" y="463020"/>
                  </a:lnTo>
                  <a:lnTo>
                    <a:pt x="68791" y="447146"/>
                  </a:lnTo>
                  <a:lnTo>
                    <a:pt x="68791" y="439208"/>
                  </a:lnTo>
                  <a:lnTo>
                    <a:pt x="68791" y="431271"/>
                  </a:lnTo>
                  <a:lnTo>
                    <a:pt x="76729" y="423333"/>
                  </a:lnTo>
                  <a:lnTo>
                    <a:pt x="84666" y="418041"/>
                  </a:lnTo>
                  <a:lnTo>
                    <a:pt x="84666" y="412750"/>
                  </a:lnTo>
                  <a:lnTo>
                    <a:pt x="84666" y="410104"/>
                  </a:lnTo>
                  <a:lnTo>
                    <a:pt x="84666" y="407458"/>
                  </a:lnTo>
                  <a:lnTo>
                    <a:pt x="89958" y="404812"/>
                  </a:lnTo>
                  <a:lnTo>
                    <a:pt x="92604" y="402166"/>
                  </a:lnTo>
                  <a:lnTo>
                    <a:pt x="92604" y="399521"/>
                  </a:lnTo>
                  <a:lnTo>
                    <a:pt x="89958" y="396875"/>
                  </a:lnTo>
                  <a:lnTo>
                    <a:pt x="87312" y="394229"/>
                  </a:lnTo>
                  <a:lnTo>
                    <a:pt x="87312" y="391583"/>
                  </a:lnTo>
                  <a:lnTo>
                    <a:pt x="111125" y="365125"/>
                  </a:lnTo>
                  <a:lnTo>
                    <a:pt x="108479" y="378354"/>
                  </a:lnTo>
                  <a:lnTo>
                    <a:pt x="108479" y="383646"/>
                  </a:lnTo>
                  <a:lnTo>
                    <a:pt x="108479" y="386291"/>
                  </a:lnTo>
                  <a:lnTo>
                    <a:pt x="113771" y="381000"/>
                  </a:lnTo>
                  <a:lnTo>
                    <a:pt x="119062" y="378354"/>
                  </a:lnTo>
                  <a:lnTo>
                    <a:pt x="119062" y="370416"/>
                  </a:lnTo>
                  <a:lnTo>
                    <a:pt x="119062" y="365125"/>
                  </a:lnTo>
                  <a:lnTo>
                    <a:pt x="121708" y="362479"/>
                  </a:lnTo>
                  <a:lnTo>
                    <a:pt x="127000" y="359833"/>
                  </a:lnTo>
                  <a:lnTo>
                    <a:pt x="137583" y="357187"/>
                  </a:lnTo>
                  <a:lnTo>
                    <a:pt x="145521" y="351896"/>
                  </a:lnTo>
                  <a:lnTo>
                    <a:pt x="150812" y="343958"/>
                  </a:lnTo>
                  <a:lnTo>
                    <a:pt x="158750" y="333375"/>
                  </a:lnTo>
                  <a:lnTo>
                    <a:pt x="166687" y="325437"/>
                  </a:lnTo>
                  <a:lnTo>
                    <a:pt x="169333" y="325437"/>
                  </a:lnTo>
                  <a:lnTo>
                    <a:pt x="174625" y="328083"/>
                  </a:lnTo>
                  <a:lnTo>
                    <a:pt x="187854" y="325437"/>
                  </a:lnTo>
                  <a:lnTo>
                    <a:pt x="203729" y="320146"/>
                  </a:lnTo>
                  <a:lnTo>
                    <a:pt x="222250" y="317500"/>
                  </a:lnTo>
                  <a:lnTo>
                    <a:pt x="227542" y="317500"/>
                  </a:lnTo>
                  <a:lnTo>
                    <a:pt x="227542" y="314854"/>
                  </a:lnTo>
                  <a:lnTo>
                    <a:pt x="230187" y="312208"/>
                  </a:lnTo>
                  <a:lnTo>
                    <a:pt x="238125" y="309562"/>
                  </a:lnTo>
                  <a:lnTo>
                    <a:pt x="254000" y="306916"/>
                  </a:lnTo>
                  <a:lnTo>
                    <a:pt x="261937" y="304271"/>
                  </a:lnTo>
                  <a:lnTo>
                    <a:pt x="275167" y="298979"/>
                  </a:lnTo>
                  <a:lnTo>
                    <a:pt x="301625" y="293687"/>
                  </a:lnTo>
                  <a:lnTo>
                    <a:pt x="320146" y="285750"/>
                  </a:lnTo>
                  <a:lnTo>
                    <a:pt x="330729" y="277812"/>
                  </a:lnTo>
                  <a:lnTo>
                    <a:pt x="338667" y="267229"/>
                  </a:lnTo>
                  <a:lnTo>
                    <a:pt x="354542" y="240771"/>
                  </a:lnTo>
                  <a:lnTo>
                    <a:pt x="359833" y="235479"/>
                  </a:lnTo>
                  <a:lnTo>
                    <a:pt x="370417" y="235479"/>
                  </a:lnTo>
                  <a:lnTo>
                    <a:pt x="373062" y="232833"/>
                  </a:lnTo>
                  <a:lnTo>
                    <a:pt x="370417" y="230187"/>
                  </a:lnTo>
                  <a:lnTo>
                    <a:pt x="365125" y="224896"/>
                  </a:lnTo>
                  <a:lnTo>
                    <a:pt x="365125" y="222250"/>
                  </a:lnTo>
                  <a:lnTo>
                    <a:pt x="365125" y="219604"/>
                  </a:lnTo>
                  <a:lnTo>
                    <a:pt x="367771" y="211666"/>
                  </a:lnTo>
                  <a:lnTo>
                    <a:pt x="365125" y="209021"/>
                  </a:lnTo>
                  <a:lnTo>
                    <a:pt x="370417" y="203729"/>
                  </a:lnTo>
                  <a:lnTo>
                    <a:pt x="378354" y="195791"/>
                  </a:lnTo>
                  <a:lnTo>
                    <a:pt x="386292" y="190500"/>
                  </a:lnTo>
                  <a:lnTo>
                    <a:pt x="391583" y="185208"/>
                  </a:lnTo>
                  <a:lnTo>
                    <a:pt x="394229" y="185208"/>
                  </a:lnTo>
                  <a:lnTo>
                    <a:pt x="396875" y="185208"/>
                  </a:lnTo>
                  <a:lnTo>
                    <a:pt x="396875" y="187854"/>
                  </a:lnTo>
                  <a:lnTo>
                    <a:pt x="394229" y="190500"/>
                  </a:lnTo>
                  <a:lnTo>
                    <a:pt x="399521" y="198437"/>
                  </a:lnTo>
                  <a:lnTo>
                    <a:pt x="410104" y="214312"/>
                  </a:lnTo>
                  <a:lnTo>
                    <a:pt x="410104" y="206375"/>
                  </a:lnTo>
                  <a:lnTo>
                    <a:pt x="410104" y="201083"/>
                  </a:lnTo>
                  <a:lnTo>
                    <a:pt x="412750" y="195791"/>
                  </a:lnTo>
                  <a:lnTo>
                    <a:pt x="418042" y="195791"/>
                  </a:lnTo>
                  <a:lnTo>
                    <a:pt x="407458" y="182562"/>
                  </a:lnTo>
                  <a:lnTo>
                    <a:pt x="407458" y="179916"/>
                  </a:lnTo>
                  <a:lnTo>
                    <a:pt x="412750" y="179916"/>
                  </a:lnTo>
                  <a:lnTo>
                    <a:pt x="415396" y="177271"/>
                  </a:lnTo>
                  <a:lnTo>
                    <a:pt x="415396" y="171979"/>
                  </a:lnTo>
                  <a:lnTo>
                    <a:pt x="415396" y="166687"/>
                  </a:lnTo>
                  <a:lnTo>
                    <a:pt x="423333" y="169333"/>
                  </a:lnTo>
                  <a:lnTo>
                    <a:pt x="428625" y="171979"/>
                  </a:lnTo>
                  <a:lnTo>
                    <a:pt x="433917" y="174625"/>
                  </a:lnTo>
                  <a:lnTo>
                    <a:pt x="431271" y="177271"/>
                  </a:lnTo>
                  <a:lnTo>
                    <a:pt x="428625" y="182562"/>
                  </a:lnTo>
                  <a:lnTo>
                    <a:pt x="433917" y="179916"/>
                  </a:lnTo>
                  <a:lnTo>
                    <a:pt x="447146" y="182562"/>
                  </a:lnTo>
                  <a:lnTo>
                    <a:pt x="439208" y="177271"/>
                  </a:lnTo>
                  <a:lnTo>
                    <a:pt x="439208" y="174625"/>
                  </a:lnTo>
                  <a:lnTo>
                    <a:pt x="439208" y="171979"/>
                  </a:lnTo>
                  <a:lnTo>
                    <a:pt x="449792" y="158750"/>
                  </a:lnTo>
                  <a:lnTo>
                    <a:pt x="444500" y="161396"/>
                  </a:lnTo>
                  <a:lnTo>
                    <a:pt x="439208" y="171979"/>
                  </a:lnTo>
                  <a:lnTo>
                    <a:pt x="436562" y="164041"/>
                  </a:lnTo>
                  <a:lnTo>
                    <a:pt x="436562" y="158750"/>
                  </a:lnTo>
                  <a:lnTo>
                    <a:pt x="441854" y="153458"/>
                  </a:lnTo>
                  <a:lnTo>
                    <a:pt x="447146" y="150812"/>
                  </a:lnTo>
                  <a:lnTo>
                    <a:pt x="447146" y="148167"/>
                  </a:lnTo>
                  <a:lnTo>
                    <a:pt x="447146" y="145521"/>
                  </a:lnTo>
                  <a:lnTo>
                    <a:pt x="449792" y="142875"/>
                  </a:lnTo>
                  <a:lnTo>
                    <a:pt x="452437" y="145521"/>
                  </a:lnTo>
                  <a:lnTo>
                    <a:pt x="455083" y="148167"/>
                  </a:lnTo>
                  <a:lnTo>
                    <a:pt x="457729" y="150812"/>
                  </a:lnTo>
                  <a:lnTo>
                    <a:pt x="460375" y="148167"/>
                  </a:lnTo>
                  <a:lnTo>
                    <a:pt x="463021" y="145521"/>
                  </a:lnTo>
                  <a:lnTo>
                    <a:pt x="457729" y="140229"/>
                  </a:lnTo>
                  <a:lnTo>
                    <a:pt x="455083" y="137583"/>
                  </a:lnTo>
                  <a:lnTo>
                    <a:pt x="455083" y="134937"/>
                  </a:lnTo>
                  <a:lnTo>
                    <a:pt x="460375" y="132292"/>
                  </a:lnTo>
                  <a:lnTo>
                    <a:pt x="468312" y="132292"/>
                  </a:lnTo>
                  <a:lnTo>
                    <a:pt x="468312" y="129646"/>
                  </a:lnTo>
                  <a:lnTo>
                    <a:pt x="463021" y="127000"/>
                  </a:lnTo>
                  <a:lnTo>
                    <a:pt x="468312" y="127000"/>
                  </a:lnTo>
                  <a:lnTo>
                    <a:pt x="473604" y="127000"/>
                  </a:lnTo>
                  <a:lnTo>
                    <a:pt x="476250" y="124354"/>
                  </a:lnTo>
                  <a:lnTo>
                    <a:pt x="473604" y="121708"/>
                  </a:lnTo>
                  <a:lnTo>
                    <a:pt x="468312" y="116417"/>
                  </a:lnTo>
                  <a:lnTo>
                    <a:pt x="470958" y="116417"/>
                  </a:lnTo>
                  <a:lnTo>
                    <a:pt x="476250" y="116417"/>
                  </a:lnTo>
                  <a:lnTo>
                    <a:pt x="478896" y="113771"/>
                  </a:lnTo>
                  <a:lnTo>
                    <a:pt x="478896" y="111125"/>
                  </a:lnTo>
                  <a:lnTo>
                    <a:pt x="481542" y="108479"/>
                  </a:lnTo>
                  <a:lnTo>
                    <a:pt x="489479" y="116417"/>
                  </a:lnTo>
                  <a:lnTo>
                    <a:pt x="489479" y="111125"/>
                  </a:lnTo>
                  <a:lnTo>
                    <a:pt x="492125" y="108479"/>
                  </a:lnTo>
                  <a:lnTo>
                    <a:pt x="489479" y="105833"/>
                  </a:lnTo>
                  <a:lnTo>
                    <a:pt x="489479" y="100542"/>
                  </a:lnTo>
                  <a:lnTo>
                    <a:pt x="492125" y="97896"/>
                  </a:lnTo>
                  <a:lnTo>
                    <a:pt x="500062" y="95250"/>
                  </a:lnTo>
                  <a:lnTo>
                    <a:pt x="505354" y="95250"/>
                  </a:lnTo>
                  <a:lnTo>
                    <a:pt x="505354" y="97896"/>
                  </a:lnTo>
                  <a:lnTo>
                    <a:pt x="508000" y="97896"/>
                  </a:lnTo>
                  <a:lnTo>
                    <a:pt x="510646" y="97896"/>
                  </a:lnTo>
                  <a:lnTo>
                    <a:pt x="513292" y="95250"/>
                  </a:lnTo>
                  <a:lnTo>
                    <a:pt x="515937" y="97896"/>
                  </a:lnTo>
                  <a:lnTo>
                    <a:pt x="521229" y="100542"/>
                  </a:lnTo>
                  <a:lnTo>
                    <a:pt x="526521" y="100542"/>
                  </a:lnTo>
                  <a:lnTo>
                    <a:pt x="531812" y="100542"/>
                  </a:lnTo>
                  <a:lnTo>
                    <a:pt x="537104" y="108479"/>
                  </a:lnTo>
                  <a:lnTo>
                    <a:pt x="542396" y="116417"/>
                  </a:lnTo>
                  <a:lnTo>
                    <a:pt x="547687" y="119062"/>
                  </a:lnTo>
                  <a:lnTo>
                    <a:pt x="550333" y="121708"/>
                  </a:lnTo>
                  <a:lnTo>
                    <a:pt x="547687" y="124354"/>
                  </a:lnTo>
                  <a:lnTo>
                    <a:pt x="545042" y="127000"/>
                  </a:lnTo>
                  <a:lnTo>
                    <a:pt x="545042" y="129646"/>
                  </a:lnTo>
                  <a:lnTo>
                    <a:pt x="547687" y="132292"/>
                  </a:lnTo>
                  <a:lnTo>
                    <a:pt x="542396" y="140229"/>
                  </a:lnTo>
                  <a:lnTo>
                    <a:pt x="550333" y="134937"/>
                  </a:lnTo>
                  <a:lnTo>
                    <a:pt x="552979" y="134937"/>
                  </a:lnTo>
                  <a:lnTo>
                    <a:pt x="550333" y="132292"/>
                  </a:lnTo>
                  <a:lnTo>
                    <a:pt x="550333" y="127000"/>
                  </a:lnTo>
                  <a:lnTo>
                    <a:pt x="555625" y="127000"/>
                  </a:lnTo>
                  <a:lnTo>
                    <a:pt x="563562" y="127000"/>
                  </a:lnTo>
                  <a:lnTo>
                    <a:pt x="574146" y="129646"/>
                  </a:lnTo>
                  <a:lnTo>
                    <a:pt x="582083" y="132292"/>
                  </a:lnTo>
                  <a:lnTo>
                    <a:pt x="584729" y="134937"/>
                  </a:lnTo>
                  <a:lnTo>
                    <a:pt x="587375" y="140229"/>
                  </a:lnTo>
                  <a:lnTo>
                    <a:pt x="597958" y="148167"/>
                  </a:lnTo>
                  <a:lnTo>
                    <a:pt x="590021" y="137583"/>
                  </a:lnTo>
                  <a:lnTo>
                    <a:pt x="592667" y="134937"/>
                  </a:lnTo>
                  <a:lnTo>
                    <a:pt x="595312" y="132292"/>
                  </a:lnTo>
                  <a:lnTo>
                    <a:pt x="590021" y="132292"/>
                  </a:lnTo>
                  <a:lnTo>
                    <a:pt x="587375" y="129646"/>
                  </a:lnTo>
                  <a:lnTo>
                    <a:pt x="587375" y="124354"/>
                  </a:lnTo>
                  <a:lnTo>
                    <a:pt x="590021" y="121708"/>
                  </a:lnTo>
                  <a:lnTo>
                    <a:pt x="579437" y="119062"/>
                  </a:lnTo>
                  <a:lnTo>
                    <a:pt x="576792" y="116417"/>
                  </a:lnTo>
                  <a:lnTo>
                    <a:pt x="576792" y="113771"/>
                  </a:lnTo>
                  <a:lnTo>
                    <a:pt x="582083" y="108479"/>
                  </a:lnTo>
                  <a:lnTo>
                    <a:pt x="587375" y="97896"/>
                  </a:lnTo>
                  <a:lnTo>
                    <a:pt x="590021" y="100542"/>
                  </a:lnTo>
                  <a:lnTo>
                    <a:pt x="592667" y="97896"/>
                  </a:lnTo>
                  <a:lnTo>
                    <a:pt x="592667" y="95250"/>
                  </a:lnTo>
                  <a:lnTo>
                    <a:pt x="595312" y="87312"/>
                  </a:lnTo>
                  <a:lnTo>
                    <a:pt x="600604" y="84667"/>
                  </a:lnTo>
                  <a:lnTo>
                    <a:pt x="603250" y="79375"/>
                  </a:lnTo>
                  <a:lnTo>
                    <a:pt x="605896" y="74083"/>
                  </a:lnTo>
                  <a:lnTo>
                    <a:pt x="608542" y="74083"/>
                  </a:lnTo>
                  <a:lnTo>
                    <a:pt x="616479" y="74083"/>
                  </a:lnTo>
                  <a:lnTo>
                    <a:pt x="619125" y="74083"/>
                  </a:lnTo>
                  <a:lnTo>
                    <a:pt x="616479" y="68792"/>
                  </a:lnTo>
                  <a:lnTo>
                    <a:pt x="613833" y="66146"/>
                  </a:lnTo>
                  <a:lnTo>
                    <a:pt x="613833" y="63500"/>
                  </a:lnTo>
                  <a:lnTo>
                    <a:pt x="616479" y="63500"/>
                  </a:lnTo>
                  <a:lnTo>
                    <a:pt x="619125" y="60854"/>
                  </a:lnTo>
                  <a:lnTo>
                    <a:pt x="616479" y="58208"/>
                  </a:lnTo>
                  <a:lnTo>
                    <a:pt x="619125" y="55562"/>
                  </a:lnTo>
                  <a:lnTo>
                    <a:pt x="621771" y="52917"/>
                  </a:lnTo>
                  <a:lnTo>
                    <a:pt x="624417" y="52917"/>
                  </a:lnTo>
                  <a:lnTo>
                    <a:pt x="632354" y="55562"/>
                  </a:lnTo>
                  <a:lnTo>
                    <a:pt x="627062" y="52917"/>
                  </a:lnTo>
                  <a:lnTo>
                    <a:pt x="627062" y="50271"/>
                  </a:lnTo>
                  <a:lnTo>
                    <a:pt x="640292" y="42333"/>
                  </a:lnTo>
                  <a:lnTo>
                    <a:pt x="645584" y="42333"/>
                  </a:lnTo>
                  <a:lnTo>
                    <a:pt x="648230" y="44979"/>
                  </a:lnTo>
                  <a:lnTo>
                    <a:pt x="650875" y="47625"/>
                  </a:lnTo>
                  <a:lnTo>
                    <a:pt x="656167" y="47625"/>
                  </a:lnTo>
                  <a:lnTo>
                    <a:pt x="658813" y="44979"/>
                  </a:lnTo>
                  <a:lnTo>
                    <a:pt x="661459" y="47625"/>
                  </a:lnTo>
                  <a:lnTo>
                    <a:pt x="664105" y="47625"/>
                  </a:lnTo>
                  <a:lnTo>
                    <a:pt x="669396" y="47625"/>
                  </a:lnTo>
                  <a:lnTo>
                    <a:pt x="674688" y="42333"/>
                  </a:lnTo>
                  <a:lnTo>
                    <a:pt x="677334" y="39687"/>
                  </a:lnTo>
                  <a:lnTo>
                    <a:pt x="682625" y="39687"/>
                  </a:lnTo>
                  <a:lnTo>
                    <a:pt x="690563" y="42333"/>
                  </a:lnTo>
                  <a:lnTo>
                    <a:pt x="685271" y="37042"/>
                  </a:lnTo>
                  <a:lnTo>
                    <a:pt x="685271" y="31750"/>
                  </a:lnTo>
                  <a:lnTo>
                    <a:pt x="685271" y="26458"/>
                  </a:lnTo>
                  <a:lnTo>
                    <a:pt x="685271" y="21167"/>
                  </a:lnTo>
                  <a:lnTo>
                    <a:pt x="682625" y="23812"/>
                  </a:lnTo>
                  <a:lnTo>
                    <a:pt x="677334" y="23812"/>
                  </a:lnTo>
                  <a:lnTo>
                    <a:pt x="672042" y="21167"/>
                  </a:lnTo>
                  <a:lnTo>
                    <a:pt x="669396" y="13229"/>
                  </a:lnTo>
                  <a:lnTo>
                    <a:pt x="677334" y="13229"/>
                  </a:lnTo>
                  <a:lnTo>
                    <a:pt x="682625" y="13229"/>
                  </a:lnTo>
                  <a:lnTo>
                    <a:pt x="685271" y="13229"/>
                  </a:lnTo>
                  <a:lnTo>
                    <a:pt x="690563" y="18521"/>
                  </a:lnTo>
                  <a:lnTo>
                    <a:pt x="693209" y="18521"/>
                  </a:lnTo>
                  <a:lnTo>
                    <a:pt x="693209" y="15875"/>
                  </a:lnTo>
                  <a:lnTo>
                    <a:pt x="698500" y="18521"/>
                  </a:lnTo>
                  <a:lnTo>
                    <a:pt x="703792" y="29104"/>
                  </a:lnTo>
                  <a:lnTo>
                    <a:pt x="706438" y="31750"/>
                  </a:lnTo>
                  <a:lnTo>
                    <a:pt x="711730" y="34396"/>
                  </a:lnTo>
                  <a:lnTo>
                    <a:pt x="724959" y="31750"/>
                  </a:lnTo>
                  <a:lnTo>
                    <a:pt x="724959" y="34396"/>
                  </a:lnTo>
                  <a:lnTo>
                    <a:pt x="730250" y="34396"/>
                  </a:lnTo>
                  <a:lnTo>
                    <a:pt x="732896" y="37042"/>
                  </a:lnTo>
                  <a:lnTo>
                    <a:pt x="735542" y="39687"/>
                  </a:lnTo>
                  <a:lnTo>
                    <a:pt x="738188" y="37042"/>
                  </a:lnTo>
                  <a:lnTo>
                    <a:pt x="743480" y="34396"/>
                  </a:lnTo>
                  <a:lnTo>
                    <a:pt x="746125" y="37042"/>
                  </a:lnTo>
                  <a:lnTo>
                    <a:pt x="748771" y="37042"/>
                  </a:lnTo>
                  <a:lnTo>
                    <a:pt x="751417" y="37042"/>
                  </a:lnTo>
                  <a:lnTo>
                    <a:pt x="754063" y="39687"/>
                  </a:lnTo>
                  <a:lnTo>
                    <a:pt x="756709" y="42333"/>
                  </a:lnTo>
                  <a:lnTo>
                    <a:pt x="759355" y="42333"/>
                  </a:lnTo>
                  <a:lnTo>
                    <a:pt x="764646" y="37042"/>
                  </a:lnTo>
                  <a:lnTo>
                    <a:pt x="769938" y="34396"/>
                  </a:lnTo>
                  <a:lnTo>
                    <a:pt x="772584" y="34396"/>
                  </a:lnTo>
                  <a:lnTo>
                    <a:pt x="772584" y="37042"/>
                  </a:lnTo>
                  <a:lnTo>
                    <a:pt x="772584" y="39687"/>
                  </a:lnTo>
                  <a:lnTo>
                    <a:pt x="775230" y="39687"/>
                  </a:lnTo>
                  <a:lnTo>
                    <a:pt x="775230" y="42333"/>
                  </a:lnTo>
                  <a:lnTo>
                    <a:pt x="772584" y="44979"/>
                  </a:lnTo>
                  <a:lnTo>
                    <a:pt x="772584" y="47625"/>
                  </a:lnTo>
                  <a:lnTo>
                    <a:pt x="777875" y="47625"/>
                  </a:lnTo>
                  <a:lnTo>
                    <a:pt x="783167" y="47625"/>
                  </a:lnTo>
                  <a:lnTo>
                    <a:pt x="783167" y="44979"/>
                  </a:lnTo>
                  <a:lnTo>
                    <a:pt x="780521" y="44979"/>
                  </a:lnTo>
                  <a:lnTo>
                    <a:pt x="780521" y="42333"/>
                  </a:lnTo>
                  <a:lnTo>
                    <a:pt x="780521" y="39687"/>
                  </a:lnTo>
                  <a:lnTo>
                    <a:pt x="788459" y="34396"/>
                  </a:lnTo>
                  <a:lnTo>
                    <a:pt x="791105" y="34396"/>
                  </a:lnTo>
                  <a:lnTo>
                    <a:pt x="791105" y="37042"/>
                  </a:lnTo>
                  <a:lnTo>
                    <a:pt x="793750" y="44979"/>
                  </a:lnTo>
                  <a:lnTo>
                    <a:pt x="793750" y="50271"/>
                  </a:lnTo>
                  <a:lnTo>
                    <a:pt x="796396" y="50271"/>
                  </a:lnTo>
                  <a:lnTo>
                    <a:pt x="799042" y="47625"/>
                  </a:lnTo>
                  <a:lnTo>
                    <a:pt x="801688" y="44979"/>
                  </a:lnTo>
                  <a:lnTo>
                    <a:pt x="804334" y="47625"/>
                  </a:lnTo>
                  <a:lnTo>
                    <a:pt x="804334" y="52917"/>
                  </a:lnTo>
                  <a:lnTo>
                    <a:pt x="799042" y="55562"/>
                  </a:lnTo>
                  <a:lnTo>
                    <a:pt x="796396" y="58208"/>
                  </a:lnTo>
                  <a:lnTo>
                    <a:pt x="796396" y="60854"/>
                  </a:lnTo>
                  <a:lnTo>
                    <a:pt x="796396" y="63500"/>
                  </a:lnTo>
                  <a:lnTo>
                    <a:pt x="799042" y="66146"/>
                  </a:lnTo>
                  <a:lnTo>
                    <a:pt x="791105" y="66146"/>
                  </a:lnTo>
                  <a:lnTo>
                    <a:pt x="785813" y="66146"/>
                  </a:lnTo>
                  <a:lnTo>
                    <a:pt x="788459" y="68792"/>
                  </a:lnTo>
                  <a:lnTo>
                    <a:pt x="793750" y="71437"/>
                  </a:lnTo>
                  <a:lnTo>
                    <a:pt x="791105" y="74083"/>
                  </a:lnTo>
                  <a:lnTo>
                    <a:pt x="785813" y="79375"/>
                  </a:lnTo>
                  <a:lnTo>
                    <a:pt x="783167" y="82021"/>
                  </a:lnTo>
                  <a:lnTo>
                    <a:pt x="780521" y="82021"/>
                  </a:lnTo>
                  <a:lnTo>
                    <a:pt x="772584" y="76729"/>
                  </a:lnTo>
                  <a:lnTo>
                    <a:pt x="775230" y="79375"/>
                  </a:lnTo>
                  <a:lnTo>
                    <a:pt x="775230" y="82021"/>
                  </a:lnTo>
                  <a:lnTo>
                    <a:pt x="769938" y="84667"/>
                  </a:lnTo>
                  <a:lnTo>
                    <a:pt x="764646" y="84667"/>
                  </a:lnTo>
                  <a:lnTo>
                    <a:pt x="767292" y="87312"/>
                  </a:lnTo>
                  <a:lnTo>
                    <a:pt x="769938" y="89958"/>
                  </a:lnTo>
                  <a:lnTo>
                    <a:pt x="769938" y="92604"/>
                  </a:lnTo>
                  <a:lnTo>
                    <a:pt x="764646" y="95250"/>
                  </a:lnTo>
                  <a:lnTo>
                    <a:pt x="767292" y="97896"/>
                  </a:lnTo>
                  <a:lnTo>
                    <a:pt x="772584" y="97896"/>
                  </a:lnTo>
                  <a:lnTo>
                    <a:pt x="772584" y="100542"/>
                  </a:lnTo>
                  <a:lnTo>
                    <a:pt x="769938" y="100542"/>
                  </a:lnTo>
                  <a:lnTo>
                    <a:pt x="767292" y="105833"/>
                  </a:lnTo>
                  <a:lnTo>
                    <a:pt x="764646" y="111125"/>
                  </a:lnTo>
                  <a:lnTo>
                    <a:pt x="764646" y="113771"/>
                  </a:lnTo>
                  <a:lnTo>
                    <a:pt x="762000" y="113771"/>
                  </a:lnTo>
                  <a:lnTo>
                    <a:pt x="759355" y="116417"/>
                  </a:lnTo>
                  <a:lnTo>
                    <a:pt x="759355" y="119062"/>
                  </a:lnTo>
                  <a:lnTo>
                    <a:pt x="756709" y="124354"/>
                  </a:lnTo>
                  <a:lnTo>
                    <a:pt x="751417" y="129646"/>
                  </a:lnTo>
                  <a:lnTo>
                    <a:pt x="748771" y="132292"/>
                  </a:lnTo>
                  <a:lnTo>
                    <a:pt x="751417" y="134937"/>
                  </a:lnTo>
                  <a:lnTo>
                    <a:pt x="756709" y="137583"/>
                  </a:lnTo>
                  <a:lnTo>
                    <a:pt x="759355" y="137583"/>
                  </a:lnTo>
                  <a:lnTo>
                    <a:pt x="764646" y="142875"/>
                  </a:lnTo>
                  <a:lnTo>
                    <a:pt x="769938" y="150812"/>
                  </a:lnTo>
                  <a:lnTo>
                    <a:pt x="767292" y="158750"/>
                  </a:lnTo>
                  <a:lnTo>
                    <a:pt x="772584" y="161396"/>
                  </a:lnTo>
                  <a:lnTo>
                    <a:pt x="775230" y="166687"/>
                  </a:lnTo>
                  <a:lnTo>
                    <a:pt x="777875" y="169333"/>
                  </a:lnTo>
                  <a:lnTo>
                    <a:pt x="785813" y="169333"/>
                  </a:lnTo>
                  <a:lnTo>
                    <a:pt x="791105" y="171979"/>
                  </a:lnTo>
                  <a:lnTo>
                    <a:pt x="796396" y="174625"/>
                  </a:lnTo>
                  <a:lnTo>
                    <a:pt x="799042" y="179916"/>
                  </a:lnTo>
                  <a:lnTo>
                    <a:pt x="801688" y="179916"/>
                  </a:lnTo>
                  <a:lnTo>
                    <a:pt x="804334" y="179916"/>
                  </a:lnTo>
                  <a:lnTo>
                    <a:pt x="806980" y="185208"/>
                  </a:lnTo>
                  <a:lnTo>
                    <a:pt x="809625" y="190500"/>
                  </a:lnTo>
                  <a:lnTo>
                    <a:pt x="812271" y="190500"/>
                  </a:lnTo>
                  <a:lnTo>
                    <a:pt x="814917" y="190500"/>
                  </a:lnTo>
                  <a:lnTo>
                    <a:pt x="820209" y="193146"/>
                  </a:lnTo>
                  <a:lnTo>
                    <a:pt x="820209" y="195791"/>
                  </a:lnTo>
                  <a:lnTo>
                    <a:pt x="822855" y="195791"/>
                  </a:lnTo>
                  <a:lnTo>
                    <a:pt x="830792" y="195791"/>
                  </a:lnTo>
                  <a:lnTo>
                    <a:pt x="838730" y="198437"/>
                  </a:lnTo>
                  <a:lnTo>
                    <a:pt x="841376" y="198437"/>
                  </a:lnTo>
                  <a:lnTo>
                    <a:pt x="841376" y="203729"/>
                  </a:lnTo>
                  <a:lnTo>
                    <a:pt x="844021" y="209021"/>
                  </a:lnTo>
                  <a:lnTo>
                    <a:pt x="849313" y="211666"/>
                  </a:lnTo>
                  <a:lnTo>
                    <a:pt x="854605" y="211666"/>
                  </a:lnTo>
                  <a:lnTo>
                    <a:pt x="859896" y="214312"/>
                  </a:lnTo>
                  <a:lnTo>
                    <a:pt x="862542" y="216958"/>
                  </a:lnTo>
                  <a:lnTo>
                    <a:pt x="865188" y="214312"/>
                  </a:lnTo>
                  <a:lnTo>
                    <a:pt x="873126" y="216958"/>
                  </a:lnTo>
                  <a:lnTo>
                    <a:pt x="881063" y="214312"/>
                  </a:lnTo>
                  <a:lnTo>
                    <a:pt x="889001" y="211666"/>
                  </a:lnTo>
                  <a:lnTo>
                    <a:pt x="894292" y="206375"/>
                  </a:lnTo>
                  <a:lnTo>
                    <a:pt x="896938" y="198437"/>
                  </a:lnTo>
                  <a:lnTo>
                    <a:pt x="896938" y="190500"/>
                  </a:lnTo>
                  <a:lnTo>
                    <a:pt x="902230" y="182562"/>
                  </a:lnTo>
                  <a:lnTo>
                    <a:pt x="910167" y="169333"/>
                  </a:lnTo>
                  <a:lnTo>
                    <a:pt x="915459" y="158750"/>
                  </a:lnTo>
                  <a:lnTo>
                    <a:pt x="920751" y="148167"/>
                  </a:lnTo>
                  <a:lnTo>
                    <a:pt x="920751" y="140229"/>
                  </a:lnTo>
                  <a:lnTo>
                    <a:pt x="920751" y="134937"/>
                  </a:lnTo>
                  <a:lnTo>
                    <a:pt x="918105" y="127000"/>
                  </a:lnTo>
                  <a:lnTo>
                    <a:pt x="918105" y="119062"/>
                  </a:lnTo>
                  <a:lnTo>
                    <a:pt x="920751" y="105833"/>
                  </a:lnTo>
                  <a:lnTo>
                    <a:pt x="923396" y="92604"/>
                  </a:lnTo>
                  <a:lnTo>
                    <a:pt x="923396" y="87312"/>
                  </a:lnTo>
                  <a:lnTo>
                    <a:pt x="923396" y="84667"/>
                  </a:lnTo>
                  <a:lnTo>
                    <a:pt x="926042" y="79375"/>
                  </a:lnTo>
                  <a:lnTo>
                    <a:pt x="931334" y="71437"/>
                  </a:lnTo>
                  <a:lnTo>
                    <a:pt x="939271" y="63500"/>
                  </a:lnTo>
                  <a:lnTo>
                    <a:pt x="941917" y="58208"/>
                  </a:lnTo>
                  <a:lnTo>
                    <a:pt x="941917" y="55562"/>
                  </a:lnTo>
                  <a:lnTo>
                    <a:pt x="941917" y="50271"/>
                  </a:lnTo>
                  <a:lnTo>
                    <a:pt x="947209" y="47625"/>
                  </a:lnTo>
                  <a:lnTo>
                    <a:pt x="947209" y="44979"/>
                  </a:lnTo>
                  <a:lnTo>
                    <a:pt x="941917" y="42333"/>
                  </a:lnTo>
                  <a:lnTo>
                    <a:pt x="939271" y="37042"/>
                  </a:lnTo>
                  <a:lnTo>
                    <a:pt x="941917" y="34396"/>
                  </a:lnTo>
                  <a:lnTo>
                    <a:pt x="947209" y="26458"/>
                  </a:lnTo>
                  <a:lnTo>
                    <a:pt x="955146" y="18521"/>
                  </a:lnTo>
                  <a:lnTo>
                    <a:pt x="957792" y="13229"/>
                  </a:lnTo>
                  <a:lnTo>
                    <a:pt x="957792" y="10583"/>
                  </a:lnTo>
                  <a:lnTo>
                    <a:pt x="957792" y="7937"/>
                  </a:lnTo>
                  <a:lnTo>
                    <a:pt x="957792" y="5292"/>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Austria"/>
            <p:cNvSpPr>
              <a:spLocks/>
            </p:cNvSpPr>
            <p:nvPr/>
          </p:nvSpPr>
          <p:spPr bwMode="auto">
            <a:xfrm>
              <a:off x="4366913" y="2062427"/>
              <a:ext cx="193146" cy="76729"/>
            </a:xfrm>
            <a:custGeom>
              <a:avLst/>
              <a:gdLst/>
              <a:ahLst/>
              <a:cxnLst>
                <a:cxn ang="0">
                  <a:pos x="76" y="12"/>
                </a:cxn>
                <a:cxn ang="0">
                  <a:pos x="72" y="14"/>
                </a:cxn>
                <a:cxn ang="0">
                  <a:pos x="68" y="20"/>
                </a:cxn>
                <a:cxn ang="0">
                  <a:pos x="64" y="22"/>
                </a:cxn>
                <a:cxn ang="0">
                  <a:pos x="66" y="24"/>
                </a:cxn>
                <a:cxn ang="0">
                  <a:pos x="66" y="26"/>
                </a:cxn>
                <a:cxn ang="0">
                  <a:pos x="66" y="30"/>
                </a:cxn>
                <a:cxn ang="0">
                  <a:pos x="64" y="32"/>
                </a:cxn>
                <a:cxn ang="0">
                  <a:pos x="60" y="28"/>
                </a:cxn>
                <a:cxn ang="0">
                  <a:pos x="56" y="28"/>
                </a:cxn>
                <a:cxn ang="0">
                  <a:pos x="52" y="28"/>
                </a:cxn>
                <a:cxn ang="0">
                  <a:pos x="48" y="32"/>
                </a:cxn>
                <a:cxn ang="0">
                  <a:pos x="40" y="34"/>
                </a:cxn>
                <a:cxn ang="0">
                  <a:pos x="32" y="32"/>
                </a:cxn>
                <a:cxn ang="0">
                  <a:pos x="30" y="32"/>
                </a:cxn>
                <a:cxn ang="0">
                  <a:pos x="24" y="34"/>
                </a:cxn>
                <a:cxn ang="0">
                  <a:pos x="22" y="38"/>
                </a:cxn>
                <a:cxn ang="0">
                  <a:pos x="14" y="36"/>
                </a:cxn>
                <a:cxn ang="0">
                  <a:pos x="0" y="36"/>
                </a:cxn>
                <a:cxn ang="0">
                  <a:pos x="2" y="40"/>
                </a:cxn>
                <a:cxn ang="0">
                  <a:pos x="4" y="44"/>
                </a:cxn>
                <a:cxn ang="0">
                  <a:pos x="10" y="48"/>
                </a:cxn>
                <a:cxn ang="0">
                  <a:pos x="16" y="46"/>
                </a:cxn>
                <a:cxn ang="0">
                  <a:pos x="18" y="52"/>
                </a:cxn>
                <a:cxn ang="0">
                  <a:pos x="26" y="52"/>
                </a:cxn>
                <a:cxn ang="0">
                  <a:pos x="32" y="50"/>
                </a:cxn>
                <a:cxn ang="0">
                  <a:pos x="40" y="48"/>
                </a:cxn>
                <a:cxn ang="0">
                  <a:pos x="52" y="46"/>
                </a:cxn>
                <a:cxn ang="0">
                  <a:pos x="54" y="48"/>
                </a:cxn>
                <a:cxn ang="0">
                  <a:pos x="60" y="52"/>
                </a:cxn>
                <a:cxn ang="0">
                  <a:pos x="66" y="54"/>
                </a:cxn>
                <a:cxn ang="0">
                  <a:pos x="74" y="56"/>
                </a:cxn>
                <a:cxn ang="0">
                  <a:pos x="78" y="56"/>
                </a:cxn>
                <a:cxn ang="0">
                  <a:pos x="98" y="56"/>
                </a:cxn>
                <a:cxn ang="0">
                  <a:pos x="108" y="50"/>
                </a:cxn>
                <a:cxn ang="0">
                  <a:pos x="114" y="50"/>
                </a:cxn>
                <a:cxn ang="0">
                  <a:pos x="122" y="50"/>
                </a:cxn>
                <a:cxn ang="0">
                  <a:pos x="128" y="50"/>
                </a:cxn>
                <a:cxn ang="0">
                  <a:pos x="132" y="44"/>
                </a:cxn>
                <a:cxn ang="0">
                  <a:pos x="134" y="38"/>
                </a:cxn>
                <a:cxn ang="0">
                  <a:pos x="134" y="32"/>
                </a:cxn>
                <a:cxn ang="0">
                  <a:pos x="130" y="28"/>
                </a:cxn>
                <a:cxn ang="0">
                  <a:pos x="140" y="30"/>
                </a:cxn>
                <a:cxn ang="0">
                  <a:pos x="146" y="26"/>
                </a:cxn>
                <a:cxn ang="0">
                  <a:pos x="146" y="16"/>
                </a:cxn>
                <a:cxn ang="0">
                  <a:pos x="136" y="14"/>
                </a:cxn>
                <a:cxn ang="0">
                  <a:pos x="118" y="4"/>
                </a:cxn>
                <a:cxn ang="0">
                  <a:pos x="112" y="4"/>
                </a:cxn>
                <a:cxn ang="0">
                  <a:pos x="108" y="4"/>
                </a:cxn>
                <a:cxn ang="0">
                  <a:pos x="98" y="0"/>
                </a:cxn>
                <a:cxn ang="0">
                  <a:pos x="96" y="6"/>
                </a:cxn>
                <a:cxn ang="0">
                  <a:pos x="92" y="10"/>
                </a:cxn>
                <a:cxn ang="0">
                  <a:pos x="86" y="10"/>
                </a:cxn>
                <a:cxn ang="0">
                  <a:pos x="78" y="8"/>
                </a:cxn>
              </a:cxnLst>
              <a:rect l="0" t="0" r="r" b="b"/>
              <a:pathLst>
                <a:path w="146" h="58">
                  <a:moveTo>
                    <a:pt x="78" y="8"/>
                  </a:moveTo>
                  <a:lnTo>
                    <a:pt x="78" y="8"/>
                  </a:lnTo>
                  <a:lnTo>
                    <a:pt x="76" y="12"/>
                  </a:lnTo>
                  <a:lnTo>
                    <a:pt x="74" y="14"/>
                  </a:lnTo>
                  <a:lnTo>
                    <a:pt x="72" y="14"/>
                  </a:lnTo>
                  <a:lnTo>
                    <a:pt x="72" y="14"/>
                  </a:lnTo>
                  <a:lnTo>
                    <a:pt x="72" y="16"/>
                  </a:lnTo>
                  <a:lnTo>
                    <a:pt x="70" y="18"/>
                  </a:lnTo>
                  <a:lnTo>
                    <a:pt x="68" y="20"/>
                  </a:lnTo>
                  <a:lnTo>
                    <a:pt x="66" y="20"/>
                  </a:lnTo>
                  <a:lnTo>
                    <a:pt x="66" y="20"/>
                  </a:lnTo>
                  <a:lnTo>
                    <a:pt x="64" y="22"/>
                  </a:lnTo>
                  <a:lnTo>
                    <a:pt x="64" y="22"/>
                  </a:lnTo>
                  <a:lnTo>
                    <a:pt x="66" y="24"/>
                  </a:lnTo>
                  <a:lnTo>
                    <a:pt x="66" y="24"/>
                  </a:lnTo>
                  <a:lnTo>
                    <a:pt x="66" y="24"/>
                  </a:lnTo>
                  <a:lnTo>
                    <a:pt x="66" y="26"/>
                  </a:lnTo>
                  <a:lnTo>
                    <a:pt x="66" y="26"/>
                  </a:lnTo>
                  <a:lnTo>
                    <a:pt x="66" y="28"/>
                  </a:lnTo>
                  <a:lnTo>
                    <a:pt x="66" y="28"/>
                  </a:lnTo>
                  <a:lnTo>
                    <a:pt x="66" y="30"/>
                  </a:lnTo>
                  <a:lnTo>
                    <a:pt x="66" y="32"/>
                  </a:lnTo>
                  <a:lnTo>
                    <a:pt x="64" y="32"/>
                  </a:lnTo>
                  <a:lnTo>
                    <a:pt x="64" y="32"/>
                  </a:lnTo>
                  <a:lnTo>
                    <a:pt x="62" y="30"/>
                  </a:lnTo>
                  <a:lnTo>
                    <a:pt x="60" y="28"/>
                  </a:lnTo>
                  <a:lnTo>
                    <a:pt x="60" y="28"/>
                  </a:lnTo>
                  <a:lnTo>
                    <a:pt x="58" y="28"/>
                  </a:lnTo>
                  <a:lnTo>
                    <a:pt x="58" y="28"/>
                  </a:lnTo>
                  <a:lnTo>
                    <a:pt x="56" y="28"/>
                  </a:lnTo>
                  <a:lnTo>
                    <a:pt x="56" y="28"/>
                  </a:lnTo>
                  <a:lnTo>
                    <a:pt x="54" y="28"/>
                  </a:lnTo>
                  <a:lnTo>
                    <a:pt x="52" y="28"/>
                  </a:lnTo>
                  <a:lnTo>
                    <a:pt x="52" y="28"/>
                  </a:lnTo>
                  <a:lnTo>
                    <a:pt x="50" y="30"/>
                  </a:lnTo>
                  <a:lnTo>
                    <a:pt x="48" y="32"/>
                  </a:lnTo>
                  <a:lnTo>
                    <a:pt x="48" y="32"/>
                  </a:lnTo>
                  <a:lnTo>
                    <a:pt x="42" y="34"/>
                  </a:lnTo>
                  <a:lnTo>
                    <a:pt x="40" y="34"/>
                  </a:lnTo>
                  <a:lnTo>
                    <a:pt x="38" y="34"/>
                  </a:lnTo>
                  <a:lnTo>
                    <a:pt x="38" y="34"/>
                  </a:lnTo>
                  <a:lnTo>
                    <a:pt x="32" y="32"/>
                  </a:lnTo>
                  <a:lnTo>
                    <a:pt x="30" y="32"/>
                  </a:lnTo>
                  <a:lnTo>
                    <a:pt x="30" y="32"/>
                  </a:lnTo>
                  <a:lnTo>
                    <a:pt x="30" y="32"/>
                  </a:lnTo>
                  <a:lnTo>
                    <a:pt x="28" y="34"/>
                  </a:lnTo>
                  <a:lnTo>
                    <a:pt x="26" y="34"/>
                  </a:lnTo>
                  <a:lnTo>
                    <a:pt x="24" y="34"/>
                  </a:lnTo>
                  <a:lnTo>
                    <a:pt x="24" y="36"/>
                  </a:lnTo>
                  <a:lnTo>
                    <a:pt x="24" y="36"/>
                  </a:lnTo>
                  <a:lnTo>
                    <a:pt x="22" y="38"/>
                  </a:lnTo>
                  <a:lnTo>
                    <a:pt x="20" y="38"/>
                  </a:lnTo>
                  <a:lnTo>
                    <a:pt x="14" y="36"/>
                  </a:lnTo>
                  <a:lnTo>
                    <a:pt x="14" y="36"/>
                  </a:lnTo>
                  <a:lnTo>
                    <a:pt x="6" y="34"/>
                  </a:lnTo>
                  <a:lnTo>
                    <a:pt x="2" y="34"/>
                  </a:lnTo>
                  <a:lnTo>
                    <a:pt x="0" y="36"/>
                  </a:lnTo>
                  <a:lnTo>
                    <a:pt x="0" y="36"/>
                  </a:lnTo>
                  <a:lnTo>
                    <a:pt x="4" y="38"/>
                  </a:lnTo>
                  <a:lnTo>
                    <a:pt x="2" y="40"/>
                  </a:lnTo>
                  <a:lnTo>
                    <a:pt x="2" y="42"/>
                  </a:lnTo>
                  <a:lnTo>
                    <a:pt x="4" y="44"/>
                  </a:lnTo>
                  <a:lnTo>
                    <a:pt x="4" y="44"/>
                  </a:lnTo>
                  <a:lnTo>
                    <a:pt x="8" y="44"/>
                  </a:lnTo>
                  <a:lnTo>
                    <a:pt x="8" y="46"/>
                  </a:lnTo>
                  <a:lnTo>
                    <a:pt x="10" y="48"/>
                  </a:lnTo>
                  <a:lnTo>
                    <a:pt x="12" y="48"/>
                  </a:lnTo>
                  <a:lnTo>
                    <a:pt x="12" y="48"/>
                  </a:lnTo>
                  <a:lnTo>
                    <a:pt x="16" y="46"/>
                  </a:lnTo>
                  <a:lnTo>
                    <a:pt x="16" y="48"/>
                  </a:lnTo>
                  <a:lnTo>
                    <a:pt x="18" y="52"/>
                  </a:lnTo>
                  <a:lnTo>
                    <a:pt x="18" y="52"/>
                  </a:lnTo>
                  <a:lnTo>
                    <a:pt x="22" y="50"/>
                  </a:lnTo>
                  <a:lnTo>
                    <a:pt x="26" y="52"/>
                  </a:lnTo>
                  <a:lnTo>
                    <a:pt x="26" y="52"/>
                  </a:lnTo>
                  <a:lnTo>
                    <a:pt x="28" y="52"/>
                  </a:lnTo>
                  <a:lnTo>
                    <a:pt x="30" y="52"/>
                  </a:lnTo>
                  <a:lnTo>
                    <a:pt x="32" y="50"/>
                  </a:lnTo>
                  <a:lnTo>
                    <a:pt x="34" y="48"/>
                  </a:lnTo>
                  <a:lnTo>
                    <a:pt x="34" y="48"/>
                  </a:lnTo>
                  <a:lnTo>
                    <a:pt x="40" y="48"/>
                  </a:lnTo>
                  <a:lnTo>
                    <a:pt x="46" y="48"/>
                  </a:lnTo>
                  <a:lnTo>
                    <a:pt x="46" y="48"/>
                  </a:lnTo>
                  <a:lnTo>
                    <a:pt x="52" y="46"/>
                  </a:lnTo>
                  <a:lnTo>
                    <a:pt x="54" y="48"/>
                  </a:lnTo>
                  <a:lnTo>
                    <a:pt x="54" y="48"/>
                  </a:lnTo>
                  <a:lnTo>
                    <a:pt x="54" y="48"/>
                  </a:lnTo>
                  <a:lnTo>
                    <a:pt x="54" y="50"/>
                  </a:lnTo>
                  <a:lnTo>
                    <a:pt x="56" y="50"/>
                  </a:lnTo>
                  <a:lnTo>
                    <a:pt x="60" y="52"/>
                  </a:lnTo>
                  <a:lnTo>
                    <a:pt x="60" y="52"/>
                  </a:lnTo>
                  <a:lnTo>
                    <a:pt x="62" y="54"/>
                  </a:lnTo>
                  <a:lnTo>
                    <a:pt x="66" y="54"/>
                  </a:lnTo>
                  <a:lnTo>
                    <a:pt x="66" y="54"/>
                  </a:lnTo>
                  <a:lnTo>
                    <a:pt x="70" y="56"/>
                  </a:lnTo>
                  <a:lnTo>
                    <a:pt x="74" y="56"/>
                  </a:lnTo>
                  <a:lnTo>
                    <a:pt x="78" y="56"/>
                  </a:lnTo>
                  <a:lnTo>
                    <a:pt x="78" y="56"/>
                  </a:lnTo>
                  <a:lnTo>
                    <a:pt x="78" y="56"/>
                  </a:lnTo>
                  <a:lnTo>
                    <a:pt x="92" y="58"/>
                  </a:lnTo>
                  <a:lnTo>
                    <a:pt x="98" y="56"/>
                  </a:lnTo>
                  <a:lnTo>
                    <a:pt x="98" y="56"/>
                  </a:lnTo>
                  <a:lnTo>
                    <a:pt x="104" y="52"/>
                  </a:lnTo>
                  <a:lnTo>
                    <a:pt x="106" y="50"/>
                  </a:lnTo>
                  <a:lnTo>
                    <a:pt x="108" y="50"/>
                  </a:lnTo>
                  <a:lnTo>
                    <a:pt x="108" y="50"/>
                  </a:lnTo>
                  <a:lnTo>
                    <a:pt x="112" y="52"/>
                  </a:lnTo>
                  <a:lnTo>
                    <a:pt x="114" y="50"/>
                  </a:lnTo>
                  <a:lnTo>
                    <a:pt x="114" y="50"/>
                  </a:lnTo>
                  <a:lnTo>
                    <a:pt x="118" y="48"/>
                  </a:lnTo>
                  <a:lnTo>
                    <a:pt x="122" y="50"/>
                  </a:lnTo>
                  <a:lnTo>
                    <a:pt x="122" y="50"/>
                  </a:lnTo>
                  <a:lnTo>
                    <a:pt x="126" y="52"/>
                  </a:lnTo>
                  <a:lnTo>
                    <a:pt x="128" y="50"/>
                  </a:lnTo>
                  <a:lnTo>
                    <a:pt x="128" y="48"/>
                  </a:lnTo>
                  <a:lnTo>
                    <a:pt x="128" y="48"/>
                  </a:lnTo>
                  <a:lnTo>
                    <a:pt x="132" y="44"/>
                  </a:lnTo>
                  <a:lnTo>
                    <a:pt x="134" y="42"/>
                  </a:lnTo>
                  <a:lnTo>
                    <a:pt x="134" y="42"/>
                  </a:lnTo>
                  <a:lnTo>
                    <a:pt x="134" y="38"/>
                  </a:lnTo>
                  <a:lnTo>
                    <a:pt x="136" y="36"/>
                  </a:lnTo>
                  <a:lnTo>
                    <a:pt x="136" y="34"/>
                  </a:lnTo>
                  <a:lnTo>
                    <a:pt x="134" y="32"/>
                  </a:lnTo>
                  <a:lnTo>
                    <a:pt x="134" y="32"/>
                  </a:lnTo>
                  <a:lnTo>
                    <a:pt x="130" y="28"/>
                  </a:lnTo>
                  <a:lnTo>
                    <a:pt x="130" y="28"/>
                  </a:lnTo>
                  <a:lnTo>
                    <a:pt x="134" y="28"/>
                  </a:lnTo>
                  <a:lnTo>
                    <a:pt x="134" y="28"/>
                  </a:lnTo>
                  <a:lnTo>
                    <a:pt x="140" y="30"/>
                  </a:lnTo>
                  <a:lnTo>
                    <a:pt x="142" y="30"/>
                  </a:lnTo>
                  <a:lnTo>
                    <a:pt x="146" y="26"/>
                  </a:lnTo>
                  <a:lnTo>
                    <a:pt x="146" y="26"/>
                  </a:lnTo>
                  <a:lnTo>
                    <a:pt x="146" y="20"/>
                  </a:lnTo>
                  <a:lnTo>
                    <a:pt x="146" y="16"/>
                  </a:lnTo>
                  <a:lnTo>
                    <a:pt x="146" y="16"/>
                  </a:lnTo>
                  <a:lnTo>
                    <a:pt x="142" y="16"/>
                  </a:lnTo>
                  <a:lnTo>
                    <a:pt x="140" y="16"/>
                  </a:lnTo>
                  <a:lnTo>
                    <a:pt x="136" y="14"/>
                  </a:lnTo>
                  <a:lnTo>
                    <a:pt x="136" y="14"/>
                  </a:lnTo>
                  <a:lnTo>
                    <a:pt x="128" y="10"/>
                  </a:lnTo>
                  <a:lnTo>
                    <a:pt x="118" y="4"/>
                  </a:lnTo>
                  <a:lnTo>
                    <a:pt x="118" y="4"/>
                  </a:lnTo>
                  <a:lnTo>
                    <a:pt x="114" y="4"/>
                  </a:lnTo>
                  <a:lnTo>
                    <a:pt x="112" y="4"/>
                  </a:lnTo>
                  <a:lnTo>
                    <a:pt x="110" y="6"/>
                  </a:lnTo>
                  <a:lnTo>
                    <a:pt x="108" y="4"/>
                  </a:lnTo>
                  <a:lnTo>
                    <a:pt x="108" y="4"/>
                  </a:lnTo>
                  <a:lnTo>
                    <a:pt x="104" y="2"/>
                  </a:lnTo>
                  <a:lnTo>
                    <a:pt x="98" y="0"/>
                  </a:lnTo>
                  <a:lnTo>
                    <a:pt x="98" y="0"/>
                  </a:lnTo>
                  <a:lnTo>
                    <a:pt x="96" y="0"/>
                  </a:lnTo>
                  <a:lnTo>
                    <a:pt x="96" y="2"/>
                  </a:lnTo>
                  <a:lnTo>
                    <a:pt x="96" y="6"/>
                  </a:lnTo>
                  <a:lnTo>
                    <a:pt x="94" y="10"/>
                  </a:lnTo>
                  <a:lnTo>
                    <a:pt x="94" y="10"/>
                  </a:lnTo>
                  <a:lnTo>
                    <a:pt x="92" y="10"/>
                  </a:lnTo>
                  <a:lnTo>
                    <a:pt x="90" y="10"/>
                  </a:lnTo>
                  <a:lnTo>
                    <a:pt x="86" y="10"/>
                  </a:lnTo>
                  <a:lnTo>
                    <a:pt x="86" y="10"/>
                  </a:lnTo>
                  <a:lnTo>
                    <a:pt x="84" y="10"/>
                  </a:lnTo>
                  <a:lnTo>
                    <a:pt x="78" y="8"/>
                  </a:lnTo>
                  <a:lnTo>
                    <a:pt x="78" y="8"/>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Belgium"/>
            <p:cNvSpPr>
              <a:spLocks/>
            </p:cNvSpPr>
            <p:nvPr/>
          </p:nvSpPr>
          <p:spPr bwMode="auto">
            <a:xfrm>
              <a:off x="4205518" y="2004219"/>
              <a:ext cx="79375" cy="50271"/>
            </a:xfrm>
            <a:custGeom>
              <a:avLst/>
              <a:gdLst/>
              <a:ahLst/>
              <a:cxnLst>
                <a:cxn ang="0">
                  <a:pos x="0" y="10"/>
                </a:cxn>
                <a:cxn ang="0">
                  <a:pos x="10" y="8"/>
                </a:cxn>
                <a:cxn ang="0">
                  <a:pos x="14" y="4"/>
                </a:cxn>
                <a:cxn ang="0">
                  <a:pos x="20" y="0"/>
                </a:cxn>
                <a:cxn ang="0">
                  <a:pos x="32" y="6"/>
                </a:cxn>
                <a:cxn ang="0">
                  <a:pos x="38" y="4"/>
                </a:cxn>
                <a:cxn ang="0">
                  <a:pos x="42" y="4"/>
                </a:cxn>
                <a:cxn ang="0">
                  <a:pos x="46" y="4"/>
                </a:cxn>
                <a:cxn ang="0">
                  <a:pos x="48" y="6"/>
                </a:cxn>
                <a:cxn ang="0">
                  <a:pos x="48" y="8"/>
                </a:cxn>
                <a:cxn ang="0">
                  <a:pos x="52" y="8"/>
                </a:cxn>
                <a:cxn ang="0">
                  <a:pos x="52" y="10"/>
                </a:cxn>
                <a:cxn ang="0">
                  <a:pos x="56" y="14"/>
                </a:cxn>
                <a:cxn ang="0">
                  <a:pos x="58" y="16"/>
                </a:cxn>
                <a:cxn ang="0">
                  <a:pos x="56" y="22"/>
                </a:cxn>
                <a:cxn ang="0">
                  <a:pos x="60" y="26"/>
                </a:cxn>
                <a:cxn ang="0">
                  <a:pos x="60" y="30"/>
                </a:cxn>
                <a:cxn ang="0">
                  <a:pos x="52" y="38"/>
                </a:cxn>
                <a:cxn ang="0">
                  <a:pos x="50" y="36"/>
                </a:cxn>
                <a:cxn ang="0">
                  <a:pos x="48" y="36"/>
                </a:cxn>
                <a:cxn ang="0">
                  <a:pos x="46" y="36"/>
                </a:cxn>
                <a:cxn ang="0">
                  <a:pos x="44" y="38"/>
                </a:cxn>
                <a:cxn ang="0">
                  <a:pos x="42" y="38"/>
                </a:cxn>
                <a:cxn ang="0">
                  <a:pos x="40" y="36"/>
                </a:cxn>
                <a:cxn ang="0">
                  <a:pos x="36" y="34"/>
                </a:cxn>
                <a:cxn ang="0">
                  <a:pos x="34" y="32"/>
                </a:cxn>
                <a:cxn ang="0">
                  <a:pos x="34" y="26"/>
                </a:cxn>
                <a:cxn ang="0">
                  <a:pos x="34" y="24"/>
                </a:cxn>
                <a:cxn ang="0">
                  <a:pos x="32" y="24"/>
                </a:cxn>
                <a:cxn ang="0">
                  <a:pos x="30" y="28"/>
                </a:cxn>
                <a:cxn ang="0">
                  <a:pos x="28" y="28"/>
                </a:cxn>
                <a:cxn ang="0">
                  <a:pos x="24" y="26"/>
                </a:cxn>
                <a:cxn ang="0">
                  <a:pos x="24" y="22"/>
                </a:cxn>
                <a:cxn ang="0">
                  <a:pos x="20" y="20"/>
                </a:cxn>
                <a:cxn ang="0">
                  <a:pos x="14" y="18"/>
                </a:cxn>
                <a:cxn ang="0">
                  <a:pos x="12" y="16"/>
                </a:cxn>
                <a:cxn ang="0">
                  <a:pos x="8" y="14"/>
                </a:cxn>
                <a:cxn ang="0">
                  <a:pos x="2" y="12"/>
                </a:cxn>
                <a:cxn ang="0">
                  <a:pos x="0" y="10"/>
                </a:cxn>
              </a:cxnLst>
              <a:rect l="0" t="0" r="r" b="b"/>
              <a:pathLst>
                <a:path w="60" h="38">
                  <a:moveTo>
                    <a:pt x="0" y="10"/>
                  </a:moveTo>
                  <a:lnTo>
                    <a:pt x="0" y="10"/>
                  </a:lnTo>
                  <a:lnTo>
                    <a:pt x="6" y="10"/>
                  </a:lnTo>
                  <a:lnTo>
                    <a:pt x="10" y="8"/>
                  </a:lnTo>
                  <a:lnTo>
                    <a:pt x="10" y="8"/>
                  </a:lnTo>
                  <a:lnTo>
                    <a:pt x="14" y="4"/>
                  </a:lnTo>
                  <a:lnTo>
                    <a:pt x="20" y="0"/>
                  </a:lnTo>
                  <a:lnTo>
                    <a:pt x="20" y="0"/>
                  </a:lnTo>
                  <a:lnTo>
                    <a:pt x="26" y="6"/>
                  </a:lnTo>
                  <a:lnTo>
                    <a:pt x="32" y="6"/>
                  </a:lnTo>
                  <a:lnTo>
                    <a:pt x="32" y="6"/>
                  </a:lnTo>
                  <a:lnTo>
                    <a:pt x="38" y="4"/>
                  </a:lnTo>
                  <a:lnTo>
                    <a:pt x="40" y="4"/>
                  </a:lnTo>
                  <a:lnTo>
                    <a:pt x="42" y="4"/>
                  </a:lnTo>
                  <a:lnTo>
                    <a:pt x="42" y="4"/>
                  </a:lnTo>
                  <a:lnTo>
                    <a:pt x="46" y="4"/>
                  </a:lnTo>
                  <a:lnTo>
                    <a:pt x="48" y="4"/>
                  </a:lnTo>
                  <a:lnTo>
                    <a:pt x="48" y="6"/>
                  </a:lnTo>
                  <a:lnTo>
                    <a:pt x="48" y="6"/>
                  </a:lnTo>
                  <a:lnTo>
                    <a:pt x="48" y="8"/>
                  </a:lnTo>
                  <a:lnTo>
                    <a:pt x="50" y="8"/>
                  </a:lnTo>
                  <a:lnTo>
                    <a:pt x="52" y="8"/>
                  </a:lnTo>
                  <a:lnTo>
                    <a:pt x="52" y="10"/>
                  </a:lnTo>
                  <a:lnTo>
                    <a:pt x="52" y="10"/>
                  </a:lnTo>
                  <a:lnTo>
                    <a:pt x="52" y="14"/>
                  </a:lnTo>
                  <a:lnTo>
                    <a:pt x="56" y="14"/>
                  </a:lnTo>
                  <a:lnTo>
                    <a:pt x="56" y="14"/>
                  </a:lnTo>
                  <a:lnTo>
                    <a:pt x="58" y="16"/>
                  </a:lnTo>
                  <a:lnTo>
                    <a:pt x="58" y="18"/>
                  </a:lnTo>
                  <a:lnTo>
                    <a:pt x="56" y="22"/>
                  </a:lnTo>
                  <a:lnTo>
                    <a:pt x="56" y="22"/>
                  </a:lnTo>
                  <a:lnTo>
                    <a:pt x="60" y="26"/>
                  </a:lnTo>
                  <a:lnTo>
                    <a:pt x="60" y="30"/>
                  </a:lnTo>
                  <a:lnTo>
                    <a:pt x="60" y="30"/>
                  </a:lnTo>
                  <a:lnTo>
                    <a:pt x="56" y="34"/>
                  </a:lnTo>
                  <a:lnTo>
                    <a:pt x="52" y="38"/>
                  </a:lnTo>
                  <a:lnTo>
                    <a:pt x="52" y="38"/>
                  </a:lnTo>
                  <a:lnTo>
                    <a:pt x="50" y="36"/>
                  </a:lnTo>
                  <a:lnTo>
                    <a:pt x="48" y="36"/>
                  </a:lnTo>
                  <a:lnTo>
                    <a:pt x="48" y="36"/>
                  </a:lnTo>
                  <a:lnTo>
                    <a:pt x="46" y="36"/>
                  </a:lnTo>
                  <a:lnTo>
                    <a:pt x="46" y="36"/>
                  </a:lnTo>
                  <a:lnTo>
                    <a:pt x="44" y="38"/>
                  </a:lnTo>
                  <a:lnTo>
                    <a:pt x="44" y="38"/>
                  </a:lnTo>
                  <a:lnTo>
                    <a:pt x="42" y="38"/>
                  </a:lnTo>
                  <a:lnTo>
                    <a:pt x="42" y="38"/>
                  </a:lnTo>
                  <a:lnTo>
                    <a:pt x="42" y="38"/>
                  </a:lnTo>
                  <a:lnTo>
                    <a:pt x="40" y="36"/>
                  </a:lnTo>
                  <a:lnTo>
                    <a:pt x="38" y="34"/>
                  </a:lnTo>
                  <a:lnTo>
                    <a:pt x="36" y="34"/>
                  </a:lnTo>
                  <a:lnTo>
                    <a:pt x="36" y="34"/>
                  </a:lnTo>
                  <a:lnTo>
                    <a:pt x="34" y="32"/>
                  </a:lnTo>
                  <a:lnTo>
                    <a:pt x="34" y="30"/>
                  </a:lnTo>
                  <a:lnTo>
                    <a:pt x="34" y="26"/>
                  </a:lnTo>
                  <a:lnTo>
                    <a:pt x="34" y="26"/>
                  </a:lnTo>
                  <a:lnTo>
                    <a:pt x="34" y="24"/>
                  </a:lnTo>
                  <a:lnTo>
                    <a:pt x="34" y="24"/>
                  </a:lnTo>
                  <a:lnTo>
                    <a:pt x="32" y="24"/>
                  </a:lnTo>
                  <a:lnTo>
                    <a:pt x="32" y="24"/>
                  </a:lnTo>
                  <a:lnTo>
                    <a:pt x="30" y="28"/>
                  </a:lnTo>
                  <a:lnTo>
                    <a:pt x="28" y="28"/>
                  </a:lnTo>
                  <a:lnTo>
                    <a:pt x="28" y="28"/>
                  </a:lnTo>
                  <a:lnTo>
                    <a:pt x="24" y="28"/>
                  </a:lnTo>
                  <a:lnTo>
                    <a:pt x="24" y="26"/>
                  </a:lnTo>
                  <a:lnTo>
                    <a:pt x="24" y="26"/>
                  </a:lnTo>
                  <a:lnTo>
                    <a:pt x="24" y="22"/>
                  </a:lnTo>
                  <a:lnTo>
                    <a:pt x="20" y="20"/>
                  </a:lnTo>
                  <a:lnTo>
                    <a:pt x="20" y="20"/>
                  </a:lnTo>
                  <a:lnTo>
                    <a:pt x="18" y="20"/>
                  </a:lnTo>
                  <a:lnTo>
                    <a:pt x="14" y="18"/>
                  </a:lnTo>
                  <a:lnTo>
                    <a:pt x="14" y="18"/>
                  </a:lnTo>
                  <a:lnTo>
                    <a:pt x="12" y="16"/>
                  </a:lnTo>
                  <a:lnTo>
                    <a:pt x="8" y="14"/>
                  </a:lnTo>
                  <a:lnTo>
                    <a:pt x="8" y="14"/>
                  </a:lnTo>
                  <a:lnTo>
                    <a:pt x="4" y="14"/>
                  </a:lnTo>
                  <a:lnTo>
                    <a:pt x="2" y="12"/>
                  </a:lnTo>
                  <a:lnTo>
                    <a:pt x="0" y="10"/>
                  </a:lnTo>
                  <a:lnTo>
                    <a:pt x="0" y="10"/>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Brazil"/>
            <p:cNvSpPr>
              <a:spLocks/>
            </p:cNvSpPr>
            <p:nvPr/>
          </p:nvSpPr>
          <p:spPr bwMode="auto">
            <a:xfrm>
              <a:off x="2083559" y="3448844"/>
              <a:ext cx="1082146" cy="1277938"/>
            </a:xfrm>
            <a:custGeom>
              <a:avLst/>
              <a:gdLst/>
              <a:ahLst/>
              <a:cxnLst>
                <a:cxn ang="0">
                  <a:pos x="496" y="82"/>
                </a:cxn>
                <a:cxn ang="0">
                  <a:pos x="476" y="152"/>
                </a:cxn>
                <a:cxn ang="0">
                  <a:pos x="474" y="168"/>
                </a:cxn>
                <a:cxn ang="0">
                  <a:pos x="502" y="128"/>
                </a:cxn>
                <a:cxn ang="0">
                  <a:pos x="536" y="152"/>
                </a:cxn>
                <a:cxn ang="0">
                  <a:pos x="502" y="174"/>
                </a:cxn>
                <a:cxn ang="0">
                  <a:pos x="522" y="196"/>
                </a:cxn>
                <a:cxn ang="0">
                  <a:pos x="552" y="150"/>
                </a:cxn>
                <a:cxn ang="0">
                  <a:pos x="612" y="188"/>
                </a:cxn>
                <a:cxn ang="0">
                  <a:pos x="666" y="212"/>
                </a:cxn>
                <a:cxn ang="0">
                  <a:pos x="766" y="254"/>
                </a:cxn>
                <a:cxn ang="0">
                  <a:pos x="818" y="322"/>
                </a:cxn>
                <a:cxn ang="0">
                  <a:pos x="762" y="434"/>
                </a:cxn>
                <a:cxn ang="0">
                  <a:pos x="736" y="488"/>
                </a:cxn>
                <a:cxn ang="0">
                  <a:pos x="734" y="580"/>
                </a:cxn>
                <a:cxn ang="0">
                  <a:pos x="724" y="632"/>
                </a:cxn>
                <a:cxn ang="0">
                  <a:pos x="700" y="692"/>
                </a:cxn>
                <a:cxn ang="0">
                  <a:pos x="650" y="708"/>
                </a:cxn>
                <a:cxn ang="0">
                  <a:pos x="582" y="774"/>
                </a:cxn>
                <a:cxn ang="0">
                  <a:pos x="584" y="836"/>
                </a:cxn>
                <a:cxn ang="0">
                  <a:pos x="554" y="888"/>
                </a:cxn>
                <a:cxn ang="0">
                  <a:pos x="526" y="952"/>
                </a:cxn>
                <a:cxn ang="0">
                  <a:pos x="494" y="924"/>
                </a:cxn>
                <a:cxn ang="0">
                  <a:pos x="448" y="900"/>
                </a:cxn>
                <a:cxn ang="0">
                  <a:pos x="408" y="876"/>
                </a:cxn>
                <a:cxn ang="0">
                  <a:pos x="440" y="838"/>
                </a:cxn>
                <a:cxn ang="0">
                  <a:pos x="456" y="818"/>
                </a:cxn>
                <a:cxn ang="0">
                  <a:pos x="456" y="776"/>
                </a:cxn>
                <a:cxn ang="0">
                  <a:pos x="428" y="734"/>
                </a:cxn>
                <a:cxn ang="0">
                  <a:pos x="404" y="696"/>
                </a:cxn>
                <a:cxn ang="0">
                  <a:pos x="376" y="648"/>
                </a:cxn>
                <a:cxn ang="0">
                  <a:pos x="364" y="602"/>
                </a:cxn>
                <a:cxn ang="0">
                  <a:pos x="344" y="566"/>
                </a:cxn>
                <a:cxn ang="0">
                  <a:pos x="298" y="530"/>
                </a:cxn>
                <a:cxn ang="0">
                  <a:pos x="272" y="488"/>
                </a:cxn>
                <a:cxn ang="0">
                  <a:pos x="224" y="454"/>
                </a:cxn>
                <a:cxn ang="0">
                  <a:pos x="182" y="394"/>
                </a:cxn>
                <a:cxn ang="0">
                  <a:pos x="130" y="416"/>
                </a:cxn>
                <a:cxn ang="0">
                  <a:pos x="78" y="422"/>
                </a:cxn>
                <a:cxn ang="0">
                  <a:pos x="68" y="380"/>
                </a:cxn>
                <a:cxn ang="0">
                  <a:pos x="18" y="382"/>
                </a:cxn>
                <a:cxn ang="0">
                  <a:pos x="2" y="328"/>
                </a:cxn>
                <a:cxn ang="0">
                  <a:pos x="20" y="282"/>
                </a:cxn>
                <a:cxn ang="0">
                  <a:pos x="64" y="244"/>
                </a:cxn>
                <a:cxn ang="0">
                  <a:pos x="80" y="148"/>
                </a:cxn>
                <a:cxn ang="0">
                  <a:pos x="86" y="110"/>
                </a:cxn>
                <a:cxn ang="0">
                  <a:pos x="110" y="88"/>
                </a:cxn>
                <a:cxn ang="0">
                  <a:pos x="128" y="88"/>
                </a:cxn>
                <a:cxn ang="0">
                  <a:pos x="158" y="116"/>
                </a:cxn>
                <a:cxn ang="0">
                  <a:pos x="194" y="98"/>
                </a:cxn>
                <a:cxn ang="0">
                  <a:pos x="210" y="70"/>
                </a:cxn>
                <a:cxn ang="0">
                  <a:pos x="192" y="24"/>
                </a:cxn>
                <a:cxn ang="0">
                  <a:pos x="244" y="28"/>
                </a:cxn>
                <a:cxn ang="0">
                  <a:pos x="276" y="0"/>
                </a:cxn>
                <a:cxn ang="0">
                  <a:pos x="296" y="24"/>
                </a:cxn>
                <a:cxn ang="0">
                  <a:pos x="294" y="60"/>
                </a:cxn>
                <a:cxn ang="0">
                  <a:pos x="304" y="96"/>
                </a:cxn>
                <a:cxn ang="0">
                  <a:pos x="342" y="86"/>
                </a:cxn>
                <a:cxn ang="0">
                  <a:pos x="374" y="80"/>
                </a:cxn>
                <a:cxn ang="0">
                  <a:pos x="394" y="74"/>
                </a:cxn>
                <a:cxn ang="0">
                  <a:pos x="418" y="80"/>
                </a:cxn>
                <a:cxn ang="0">
                  <a:pos x="448" y="62"/>
                </a:cxn>
                <a:cxn ang="0">
                  <a:pos x="466" y="24"/>
                </a:cxn>
              </a:cxnLst>
              <a:rect l="0" t="0" r="r" b="b"/>
              <a:pathLst>
                <a:path w="818" h="966">
                  <a:moveTo>
                    <a:pt x="468" y="20"/>
                  </a:moveTo>
                  <a:lnTo>
                    <a:pt x="468" y="20"/>
                  </a:lnTo>
                  <a:lnTo>
                    <a:pt x="470" y="20"/>
                  </a:lnTo>
                  <a:lnTo>
                    <a:pt x="472" y="22"/>
                  </a:lnTo>
                  <a:lnTo>
                    <a:pt x="476" y="28"/>
                  </a:lnTo>
                  <a:lnTo>
                    <a:pt x="476" y="28"/>
                  </a:lnTo>
                  <a:lnTo>
                    <a:pt x="480" y="30"/>
                  </a:lnTo>
                  <a:lnTo>
                    <a:pt x="480" y="30"/>
                  </a:lnTo>
                  <a:lnTo>
                    <a:pt x="482" y="34"/>
                  </a:lnTo>
                  <a:lnTo>
                    <a:pt x="482" y="34"/>
                  </a:lnTo>
                  <a:lnTo>
                    <a:pt x="490" y="64"/>
                  </a:lnTo>
                  <a:lnTo>
                    <a:pt x="496" y="82"/>
                  </a:lnTo>
                  <a:lnTo>
                    <a:pt x="496" y="82"/>
                  </a:lnTo>
                  <a:lnTo>
                    <a:pt x="504" y="86"/>
                  </a:lnTo>
                  <a:lnTo>
                    <a:pt x="508" y="92"/>
                  </a:lnTo>
                  <a:lnTo>
                    <a:pt x="506" y="98"/>
                  </a:lnTo>
                  <a:lnTo>
                    <a:pt x="502" y="104"/>
                  </a:lnTo>
                  <a:lnTo>
                    <a:pt x="502" y="104"/>
                  </a:lnTo>
                  <a:lnTo>
                    <a:pt x="498" y="110"/>
                  </a:lnTo>
                  <a:lnTo>
                    <a:pt x="496" y="114"/>
                  </a:lnTo>
                  <a:lnTo>
                    <a:pt x="492" y="118"/>
                  </a:lnTo>
                  <a:lnTo>
                    <a:pt x="488" y="122"/>
                  </a:lnTo>
                  <a:lnTo>
                    <a:pt x="488" y="122"/>
                  </a:lnTo>
                  <a:lnTo>
                    <a:pt x="482" y="128"/>
                  </a:lnTo>
                  <a:lnTo>
                    <a:pt x="480" y="134"/>
                  </a:lnTo>
                  <a:lnTo>
                    <a:pt x="476" y="152"/>
                  </a:lnTo>
                  <a:lnTo>
                    <a:pt x="476" y="152"/>
                  </a:lnTo>
                  <a:lnTo>
                    <a:pt x="474" y="156"/>
                  </a:lnTo>
                  <a:lnTo>
                    <a:pt x="472" y="160"/>
                  </a:lnTo>
                  <a:lnTo>
                    <a:pt x="464" y="168"/>
                  </a:lnTo>
                  <a:lnTo>
                    <a:pt x="460" y="170"/>
                  </a:lnTo>
                  <a:lnTo>
                    <a:pt x="462" y="168"/>
                  </a:lnTo>
                  <a:lnTo>
                    <a:pt x="462" y="168"/>
                  </a:lnTo>
                  <a:lnTo>
                    <a:pt x="464" y="166"/>
                  </a:lnTo>
                  <a:lnTo>
                    <a:pt x="468" y="166"/>
                  </a:lnTo>
                  <a:lnTo>
                    <a:pt x="472" y="172"/>
                  </a:lnTo>
                  <a:lnTo>
                    <a:pt x="476" y="184"/>
                  </a:lnTo>
                  <a:lnTo>
                    <a:pt x="476" y="184"/>
                  </a:lnTo>
                  <a:lnTo>
                    <a:pt x="474" y="168"/>
                  </a:lnTo>
                  <a:lnTo>
                    <a:pt x="474" y="168"/>
                  </a:lnTo>
                  <a:lnTo>
                    <a:pt x="474" y="166"/>
                  </a:lnTo>
                  <a:lnTo>
                    <a:pt x="476" y="164"/>
                  </a:lnTo>
                  <a:lnTo>
                    <a:pt x="482" y="160"/>
                  </a:lnTo>
                  <a:lnTo>
                    <a:pt x="488" y="158"/>
                  </a:lnTo>
                  <a:lnTo>
                    <a:pt x="492" y="152"/>
                  </a:lnTo>
                  <a:lnTo>
                    <a:pt x="492" y="152"/>
                  </a:lnTo>
                  <a:lnTo>
                    <a:pt x="492" y="148"/>
                  </a:lnTo>
                  <a:lnTo>
                    <a:pt x="492" y="144"/>
                  </a:lnTo>
                  <a:lnTo>
                    <a:pt x="492" y="140"/>
                  </a:lnTo>
                  <a:lnTo>
                    <a:pt x="496" y="134"/>
                  </a:lnTo>
                  <a:lnTo>
                    <a:pt x="496" y="134"/>
                  </a:lnTo>
                  <a:lnTo>
                    <a:pt x="502" y="128"/>
                  </a:lnTo>
                  <a:lnTo>
                    <a:pt x="506" y="128"/>
                  </a:lnTo>
                  <a:lnTo>
                    <a:pt x="510" y="130"/>
                  </a:lnTo>
                  <a:lnTo>
                    <a:pt x="520" y="130"/>
                  </a:lnTo>
                  <a:lnTo>
                    <a:pt x="520" y="130"/>
                  </a:lnTo>
                  <a:lnTo>
                    <a:pt x="540" y="128"/>
                  </a:lnTo>
                  <a:lnTo>
                    <a:pt x="544" y="130"/>
                  </a:lnTo>
                  <a:lnTo>
                    <a:pt x="546" y="132"/>
                  </a:lnTo>
                  <a:lnTo>
                    <a:pt x="544" y="134"/>
                  </a:lnTo>
                  <a:lnTo>
                    <a:pt x="544" y="134"/>
                  </a:lnTo>
                  <a:lnTo>
                    <a:pt x="542" y="140"/>
                  </a:lnTo>
                  <a:lnTo>
                    <a:pt x="542" y="142"/>
                  </a:lnTo>
                  <a:lnTo>
                    <a:pt x="540" y="146"/>
                  </a:lnTo>
                  <a:lnTo>
                    <a:pt x="536" y="152"/>
                  </a:lnTo>
                  <a:lnTo>
                    <a:pt x="536" y="152"/>
                  </a:lnTo>
                  <a:lnTo>
                    <a:pt x="530" y="158"/>
                  </a:lnTo>
                  <a:lnTo>
                    <a:pt x="530" y="160"/>
                  </a:lnTo>
                  <a:lnTo>
                    <a:pt x="532" y="164"/>
                  </a:lnTo>
                  <a:lnTo>
                    <a:pt x="528" y="166"/>
                  </a:lnTo>
                  <a:lnTo>
                    <a:pt x="528" y="166"/>
                  </a:lnTo>
                  <a:lnTo>
                    <a:pt x="524" y="168"/>
                  </a:lnTo>
                  <a:lnTo>
                    <a:pt x="520" y="168"/>
                  </a:lnTo>
                  <a:lnTo>
                    <a:pt x="516" y="170"/>
                  </a:lnTo>
                  <a:lnTo>
                    <a:pt x="510" y="172"/>
                  </a:lnTo>
                  <a:lnTo>
                    <a:pt x="510" y="172"/>
                  </a:lnTo>
                  <a:lnTo>
                    <a:pt x="506" y="174"/>
                  </a:lnTo>
                  <a:lnTo>
                    <a:pt x="502" y="174"/>
                  </a:lnTo>
                  <a:lnTo>
                    <a:pt x="500" y="174"/>
                  </a:lnTo>
                  <a:lnTo>
                    <a:pt x="492" y="176"/>
                  </a:lnTo>
                  <a:lnTo>
                    <a:pt x="492" y="176"/>
                  </a:lnTo>
                  <a:lnTo>
                    <a:pt x="498" y="176"/>
                  </a:lnTo>
                  <a:lnTo>
                    <a:pt x="500" y="178"/>
                  </a:lnTo>
                  <a:lnTo>
                    <a:pt x="504" y="180"/>
                  </a:lnTo>
                  <a:lnTo>
                    <a:pt x="512" y="176"/>
                  </a:lnTo>
                  <a:lnTo>
                    <a:pt x="512" y="176"/>
                  </a:lnTo>
                  <a:lnTo>
                    <a:pt x="518" y="174"/>
                  </a:lnTo>
                  <a:lnTo>
                    <a:pt x="518" y="176"/>
                  </a:lnTo>
                  <a:lnTo>
                    <a:pt x="518" y="184"/>
                  </a:lnTo>
                  <a:lnTo>
                    <a:pt x="518" y="190"/>
                  </a:lnTo>
                  <a:lnTo>
                    <a:pt x="522" y="196"/>
                  </a:lnTo>
                  <a:lnTo>
                    <a:pt x="522" y="196"/>
                  </a:lnTo>
                  <a:lnTo>
                    <a:pt x="522" y="184"/>
                  </a:lnTo>
                  <a:lnTo>
                    <a:pt x="524" y="176"/>
                  </a:lnTo>
                  <a:lnTo>
                    <a:pt x="528" y="172"/>
                  </a:lnTo>
                  <a:lnTo>
                    <a:pt x="534" y="172"/>
                  </a:lnTo>
                  <a:lnTo>
                    <a:pt x="534" y="172"/>
                  </a:lnTo>
                  <a:lnTo>
                    <a:pt x="536" y="170"/>
                  </a:lnTo>
                  <a:lnTo>
                    <a:pt x="536" y="168"/>
                  </a:lnTo>
                  <a:lnTo>
                    <a:pt x="538" y="162"/>
                  </a:lnTo>
                  <a:lnTo>
                    <a:pt x="542" y="156"/>
                  </a:lnTo>
                  <a:lnTo>
                    <a:pt x="546" y="152"/>
                  </a:lnTo>
                  <a:lnTo>
                    <a:pt x="552" y="150"/>
                  </a:lnTo>
                  <a:lnTo>
                    <a:pt x="552" y="150"/>
                  </a:lnTo>
                  <a:lnTo>
                    <a:pt x="558" y="148"/>
                  </a:lnTo>
                  <a:lnTo>
                    <a:pt x="564" y="148"/>
                  </a:lnTo>
                  <a:lnTo>
                    <a:pt x="572" y="152"/>
                  </a:lnTo>
                  <a:lnTo>
                    <a:pt x="582" y="160"/>
                  </a:lnTo>
                  <a:lnTo>
                    <a:pt x="598" y="168"/>
                  </a:lnTo>
                  <a:lnTo>
                    <a:pt x="598" y="168"/>
                  </a:lnTo>
                  <a:lnTo>
                    <a:pt x="614" y="176"/>
                  </a:lnTo>
                  <a:lnTo>
                    <a:pt x="618" y="182"/>
                  </a:lnTo>
                  <a:lnTo>
                    <a:pt x="618" y="184"/>
                  </a:lnTo>
                  <a:lnTo>
                    <a:pt x="618" y="184"/>
                  </a:lnTo>
                  <a:lnTo>
                    <a:pt x="614" y="186"/>
                  </a:lnTo>
                  <a:lnTo>
                    <a:pt x="614" y="186"/>
                  </a:lnTo>
                  <a:lnTo>
                    <a:pt x="612" y="188"/>
                  </a:lnTo>
                  <a:lnTo>
                    <a:pt x="612" y="188"/>
                  </a:lnTo>
                  <a:lnTo>
                    <a:pt x="616" y="190"/>
                  </a:lnTo>
                  <a:lnTo>
                    <a:pt x="618" y="196"/>
                  </a:lnTo>
                  <a:lnTo>
                    <a:pt x="618" y="198"/>
                  </a:lnTo>
                  <a:lnTo>
                    <a:pt x="618" y="204"/>
                  </a:lnTo>
                  <a:lnTo>
                    <a:pt x="618" y="204"/>
                  </a:lnTo>
                  <a:lnTo>
                    <a:pt x="624" y="198"/>
                  </a:lnTo>
                  <a:lnTo>
                    <a:pt x="626" y="196"/>
                  </a:lnTo>
                  <a:lnTo>
                    <a:pt x="632" y="196"/>
                  </a:lnTo>
                  <a:lnTo>
                    <a:pt x="640" y="200"/>
                  </a:lnTo>
                  <a:lnTo>
                    <a:pt x="640" y="200"/>
                  </a:lnTo>
                  <a:lnTo>
                    <a:pt x="654" y="208"/>
                  </a:lnTo>
                  <a:lnTo>
                    <a:pt x="666" y="212"/>
                  </a:lnTo>
                  <a:lnTo>
                    <a:pt x="678" y="216"/>
                  </a:lnTo>
                  <a:lnTo>
                    <a:pt x="684" y="216"/>
                  </a:lnTo>
                  <a:lnTo>
                    <a:pt x="684" y="216"/>
                  </a:lnTo>
                  <a:lnTo>
                    <a:pt x="694" y="212"/>
                  </a:lnTo>
                  <a:lnTo>
                    <a:pt x="704" y="214"/>
                  </a:lnTo>
                  <a:lnTo>
                    <a:pt x="712" y="218"/>
                  </a:lnTo>
                  <a:lnTo>
                    <a:pt x="724" y="226"/>
                  </a:lnTo>
                  <a:lnTo>
                    <a:pt x="724" y="226"/>
                  </a:lnTo>
                  <a:lnTo>
                    <a:pt x="736" y="234"/>
                  </a:lnTo>
                  <a:lnTo>
                    <a:pt x="746" y="242"/>
                  </a:lnTo>
                  <a:lnTo>
                    <a:pt x="756" y="248"/>
                  </a:lnTo>
                  <a:lnTo>
                    <a:pt x="766" y="254"/>
                  </a:lnTo>
                  <a:lnTo>
                    <a:pt x="766" y="254"/>
                  </a:lnTo>
                  <a:lnTo>
                    <a:pt x="770" y="256"/>
                  </a:lnTo>
                  <a:lnTo>
                    <a:pt x="776" y="258"/>
                  </a:lnTo>
                  <a:lnTo>
                    <a:pt x="786" y="258"/>
                  </a:lnTo>
                  <a:lnTo>
                    <a:pt x="792" y="258"/>
                  </a:lnTo>
                  <a:lnTo>
                    <a:pt x="798" y="258"/>
                  </a:lnTo>
                  <a:lnTo>
                    <a:pt x="802" y="262"/>
                  </a:lnTo>
                  <a:lnTo>
                    <a:pt x="806" y="266"/>
                  </a:lnTo>
                  <a:lnTo>
                    <a:pt x="806" y="266"/>
                  </a:lnTo>
                  <a:lnTo>
                    <a:pt x="814" y="286"/>
                  </a:lnTo>
                  <a:lnTo>
                    <a:pt x="818" y="298"/>
                  </a:lnTo>
                  <a:lnTo>
                    <a:pt x="818" y="310"/>
                  </a:lnTo>
                  <a:lnTo>
                    <a:pt x="818" y="310"/>
                  </a:lnTo>
                  <a:lnTo>
                    <a:pt x="818" y="322"/>
                  </a:lnTo>
                  <a:lnTo>
                    <a:pt x="818" y="338"/>
                  </a:lnTo>
                  <a:lnTo>
                    <a:pt x="816" y="352"/>
                  </a:lnTo>
                  <a:lnTo>
                    <a:pt x="814" y="358"/>
                  </a:lnTo>
                  <a:lnTo>
                    <a:pt x="810" y="364"/>
                  </a:lnTo>
                  <a:lnTo>
                    <a:pt x="810" y="364"/>
                  </a:lnTo>
                  <a:lnTo>
                    <a:pt x="802" y="372"/>
                  </a:lnTo>
                  <a:lnTo>
                    <a:pt x="798" y="382"/>
                  </a:lnTo>
                  <a:lnTo>
                    <a:pt x="790" y="390"/>
                  </a:lnTo>
                  <a:lnTo>
                    <a:pt x="782" y="402"/>
                  </a:lnTo>
                  <a:lnTo>
                    <a:pt x="782" y="402"/>
                  </a:lnTo>
                  <a:lnTo>
                    <a:pt x="774" y="408"/>
                  </a:lnTo>
                  <a:lnTo>
                    <a:pt x="770" y="416"/>
                  </a:lnTo>
                  <a:lnTo>
                    <a:pt x="762" y="434"/>
                  </a:lnTo>
                  <a:lnTo>
                    <a:pt x="756" y="450"/>
                  </a:lnTo>
                  <a:lnTo>
                    <a:pt x="752" y="458"/>
                  </a:lnTo>
                  <a:lnTo>
                    <a:pt x="746" y="464"/>
                  </a:lnTo>
                  <a:lnTo>
                    <a:pt x="746" y="464"/>
                  </a:lnTo>
                  <a:lnTo>
                    <a:pt x="744" y="464"/>
                  </a:lnTo>
                  <a:lnTo>
                    <a:pt x="740" y="464"/>
                  </a:lnTo>
                  <a:lnTo>
                    <a:pt x="734" y="460"/>
                  </a:lnTo>
                  <a:lnTo>
                    <a:pt x="732" y="460"/>
                  </a:lnTo>
                  <a:lnTo>
                    <a:pt x="732" y="460"/>
                  </a:lnTo>
                  <a:lnTo>
                    <a:pt x="736" y="470"/>
                  </a:lnTo>
                  <a:lnTo>
                    <a:pt x="736" y="470"/>
                  </a:lnTo>
                  <a:lnTo>
                    <a:pt x="738" y="478"/>
                  </a:lnTo>
                  <a:lnTo>
                    <a:pt x="736" y="488"/>
                  </a:lnTo>
                  <a:lnTo>
                    <a:pt x="736" y="500"/>
                  </a:lnTo>
                  <a:lnTo>
                    <a:pt x="738" y="508"/>
                  </a:lnTo>
                  <a:lnTo>
                    <a:pt x="740" y="516"/>
                  </a:lnTo>
                  <a:lnTo>
                    <a:pt x="740" y="516"/>
                  </a:lnTo>
                  <a:lnTo>
                    <a:pt x="742" y="522"/>
                  </a:lnTo>
                  <a:lnTo>
                    <a:pt x="744" y="526"/>
                  </a:lnTo>
                  <a:lnTo>
                    <a:pt x="742" y="536"/>
                  </a:lnTo>
                  <a:lnTo>
                    <a:pt x="738" y="546"/>
                  </a:lnTo>
                  <a:lnTo>
                    <a:pt x="738" y="562"/>
                  </a:lnTo>
                  <a:lnTo>
                    <a:pt x="738" y="562"/>
                  </a:lnTo>
                  <a:lnTo>
                    <a:pt x="738" y="570"/>
                  </a:lnTo>
                  <a:lnTo>
                    <a:pt x="738" y="574"/>
                  </a:lnTo>
                  <a:lnTo>
                    <a:pt x="734" y="580"/>
                  </a:lnTo>
                  <a:lnTo>
                    <a:pt x="732" y="584"/>
                  </a:lnTo>
                  <a:lnTo>
                    <a:pt x="732" y="586"/>
                  </a:lnTo>
                  <a:lnTo>
                    <a:pt x="732" y="590"/>
                  </a:lnTo>
                  <a:lnTo>
                    <a:pt x="734" y="596"/>
                  </a:lnTo>
                  <a:lnTo>
                    <a:pt x="734" y="596"/>
                  </a:lnTo>
                  <a:lnTo>
                    <a:pt x="736" y="604"/>
                  </a:lnTo>
                  <a:lnTo>
                    <a:pt x="736" y="608"/>
                  </a:lnTo>
                  <a:lnTo>
                    <a:pt x="732" y="610"/>
                  </a:lnTo>
                  <a:lnTo>
                    <a:pt x="730" y="614"/>
                  </a:lnTo>
                  <a:lnTo>
                    <a:pt x="726" y="616"/>
                  </a:lnTo>
                  <a:lnTo>
                    <a:pt x="724" y="620"/>
                  </a:lnTo>
                  <a:lnTo>
                    <a:pt x="722" y="624"/>
                  </a:lnTo>
                  <a:lnTo>
                    <a:pt x="724" y="632"/>
                  </a:lnTo>
                  <a:lnTo>
                    <a:pt x="724" y="632"/>
                  </a:lnTo>
                  <a:lnTo>
                    <a:pt x="724" y="640"/>
                  </a:lnTo>
                  <a:lnTo>
                    <a:pt x="724" y="646"/>
                  </a:lnTo>
                  <a:lnTo>
                    <a:pt x="720" y="652"/>
                  </a:lnTo>
                  <a:lnTo>
                    <a:pt x="716" y="656"/>
                  </a:lnTo>
                  <a:lnTo>
                    <a:pt x="710" y="660"/>
                  </a:lnTo>
                  <a:lnTo>
                    <a:pt x="708" y="664"/>
                  </a:lnTo>
                  <a:lnTo>
                    <a:pt x="704" y="670"/>
                  </a:lnTo>
                  <a:lnTo>
                    <a:pt x="704" y="678"/>
                  </a:lnTo>
                  <a:lnTo>
                    <a:pt x="704" y="678"/>
                  </a:lnTo>
                  <a:lnTo>
                    <a:pt x="704" y="688"/>
                  </a:lnTo>
                  <a:lnTo>
                    <a:pt x="702" y="690"/>
                  </a:lnTo>
                  <a:lnTo>
                    <a:pt x="700" y="692"/>
                  </a:lnTo>
                  <a:lnTo>
                    <a:pt x="696" y="694"/>
                  </a:lnTo>
                  <a:lnTo>
                    <a:pt x="690" y="698"/>
                  </a:lnTo>
                  <a:lnTo>
                    <a:pt x="690" y="698"/>
                  </a:lnTo>
                  <a:lnTo>
                    <a:pt x="680" y="708"/>
                  </a:lnTo>
                  <a:lnTo>
                    <a:pt x="676" y="710"/>
                  </a:lnTo>
                  <a:lnTo>
                    <a:pt x="674" y="710"/>
                  </a:lnTo>
                  <a:lnTo>
                    <a:pt x="670" y="708"/>
                  </a:lnTo>
                  <a:lnTo>
                    <a:pt x="668" y="708"/>
                  </a:lnTo>
                  <a:lnTo>
                    <a:pt x="668" y="708"/>
                  </a:lnTo>
                  <a:lnTo>
                    <a:pt x="668" y="708"/>
                  </a:lnTo>
                  <a:lnTo>
                    <a:pt x="664" y="710"/>
                  </a:lnTo>
                  <a:lnTo>
                    <a:pt x="658" y="710"/>
                  </a:lnTo>
                  <a:lnTo>
                    <a:pt x="650" y="708"/>
                  </a:lnTo>
                  <a:lnTo>
                    <a:pt x="642" y="708"/>
                  </a:lnTo>
                  <a:lnTo>
                    <a:pt x="640" y="708"/>
                  </a:lnTo>
                  <a:lnTo>
                    <a:pt x="636" y="712"/>
                  </a:lnTo>
                  <a:lnTo>
                    <a:pt x="636" y="712"/>
                  </a:lnTo>
                  <a:lnTo>
                    <a:pt x="630" y="718"/>
                  </a:lnTo>
                  <a:lnTo>
                    <a:pt x="622" y="722"/>
                  </a:lnTo>
                  <a:lnTo>
                    <a:pt x="612" y="730"/>
                  </a:lnTo>
                  <a:lnTo>
                    <a:pt x="596" y="746"/>
                  </a:lnTo>
                  <a:lnTo>
                    <a:pt x="596" y="746"/>
                  </a:lnTo>
                  <a:lnTo>
                    <a:pt x="588" y="754"/>
                  </a:lnTo>
                  <a:lnTo>
                    <a:pt x="584" y="762"/>
                  </a:lnTo>
                  <a:lnTo>
                    <a:pt x="582" y="768"/>
                  </a:lnTo>
                  <a:lnTo>
                    <a:pt x="582" y="774"/>
                  </a:lnTo>
                  <a:lnTo>
                    <a:pt x="584" y="784"/>
                  </a:lnTo>
                  <a:lnTo>
                    <a:pt x="586" y="788"/>
                  </a:lnTo>
                  <a:lnTo>
                    <a:pt x="586" y="788"/>
                  </a:lnTo>
                  <a:lnTo>
                    <a:pt x="584" y="796"/>
                  </a:lnTo>
                  <a:lnTo>
                    <a:pt x="586" y="802"/>
                  </a:lnTo>
                  <a:lnTo>
                    <a:pt x="588" y="812"/>
                  </a:lnTo>
                  <a:lnTo>
                    <a:pt x="590" y="820"/>
                  </a:lnTo>
                  <a:lnTo>
                    <a:pt x="590" y="824"/>
                  </a:lnTo>
                  <a:lnTo>
                    <a:pt x="586" y="828"/>
                  </a:lnTo>
                  <a:lnTo>
                    <a:pt x="586" y="828"/>
                  </a:lnTo>
                  <a:lnTo>
                    <a:pt x="584" y="830"/>
                  </a:lnTo>
                  <a:lnTo>
                    <a:pt x="584" y="832"/>
                  </a:lnTo>
                  <a:lnTo>
                    <a:pt x="584" y="836"/>
                  </a:lnTo>
                  <a:lnTo>
                    <a:pt x="584" y="840"/>
                  </a:lnTo>
                  <a:lnTo>
                    <a:pt x="582" y="842"/>
                  </a:lnTo>
                  <a:lnTo>
                    <a:pt x="578" y="846"/>
                  </a:lnTo>
                  <a:lnTo>
                    <a:pt x="570" y="852"/>
                  </a:lnTo>
                  <a:lnTo>
                    <a:pt x="570" y="852"/>
                  </a:lnTo>
                  <a:lnTo>
                    <a:pt x="564" y="858"/>
                  </a:lnTo>
                  <a:lnTo>
                    <a:pt x="558" y="862"/>
                  </a:lnTo>
                  <a:lnTo>
                    <a:pt x="556" y="866"/>
                  </a:lnTo>
                  <a:lnTo>
                    <a:pt x="556" y="870"/>
                  </a:lnTo>
                  <a:lnTo>
                    <a:pt x="558" y="878"/>
                  </a:lnTo>
                  <a:lnTo>
                    <a:pt x="556" y="882"/>
                  </a:lnTo>
                  <a:lnTo>
                    <a:pt x="554" y="888"/>
                  </a:lnTo>
                  <a:lnTo>
                    <a:pt x="554" y="888"/>
                  </a:lnTo>
                  <a:lnTo>
                    <a:pt x="552" y="892"/>
                  </a:lnTo>
                  <a:lnTo>
                    <a:pt x="550" y="898"/>
                  </a:lnTo>
                  <a:lnTo>
                    <a:pt x="550" y="908"/>
                  </a:lnTo>
                  <a:lnTo>
                    <a:pt x="550" y="914"/>
                  </a:lnTo>
                  <a:lnTo>
                    <a:pt x="548" y="918"/>
                  </a:lnTo>
                  <a:lnTo>
                    <a:pt x="544" y="924"/>
                  </a:lnTo>
                  <a:lnTo>
                    <a:pt x="536" y="928"/>
                  </a:lnTo>
                  <a:lnTo>
                    <a:pt x="536" y="928"/>
                  </a:lnTo>
                  <a:lnTo>
                    <a:pt x="532" y="934"/>
                  </a:lnTo>
                  <a:lnTo>
                    <a:pt x="528" y="936"/>
                  </a:lnTo>
                  <a:lnTo>
                    <a:pt x="528" y="942"/>
                  </a:lnTo>
                  <a:lnTo>
                    <a:pt x="528" y="946"/>
                  </a:lnTo>
                  <a:lnTo>
                    <a:pt x="526" y="952"/>
                  </a:lnTo>
                  <a:lnTo>
                    <a:pt x="520" y="958"/>
                  </a:lnTo>
                  <a:lnTo>
                    <a:pt x="510" y="966"/>
                  </a:lnTo>
                  <a:lnTo>
                    <a:pt x="510" y="966"/>
                  </a:lnTo>
                  <a:lnTo>
                    <a:pt x="506" y="958"/>
                  </a:lnTo>
                  <a:lnTo>
                    <a:pt x="508" y="950"/>
                  </a:lnTo>
                  <a:lnTo>
                    <a:pt x="508" y="950"/>
                  </a:lnTo>
                  <a:lnTo>
                    <a:pt x="510" y="942"/>
                  </a:lnTo>
                  <a:lnTo>
                    <a:pt x="510" y="940"/>
                  </a:lnTo>
                  <a:lnTo>
                    <a:pt x="506" y="938"/>
                  </a:lnTo>
                  <a:lnTo>
                    <a:pt x="502" y="932"/>
                  </a:lnTo>
                  <a:lnTo>
                    <a:pt x="502" y="932"/>
                  </a:lnTo>
                  <a:lnTo>
                    <a:pt x="496" y="926"/>
                  </a:lnTo>
                  <a:lnTo>
                    <a:pt x="494" y="924"/>
                  </a:lnTo>
                  <a:lnTo>
                    <a:pt x="492" y="924"/>
                  </a:lnTo>
                  <a:lnTo>
                    <a:pt x="486" y="918"/>
                  </a:lnTo>
                  <a:lnTo>
                    <a:pt x="486" y="918"/>
                  </a:lnTo>
                  <a:lnTo>
                    <a:pt x="478" y="910"/>
                  </a:lnTo>
                  <a:lnTo>
                    <a:pt x="470" y="906"/>
                  </a:lnTo>
                  <a:lnTo>
                    <a:pt x="464" y="906"/>
                  </a:lnTo>
                  <a:lnTo>
                    <a:pt x="460" y="902"/>
                  </a:lnTo>
                  <a:lnTo>
                    <a:pt x="460" y="902"/>
                  </a:lnTo>
                  <a:lnTo>
                    <a:pt x="456" y="898"/>
                  </a:lnTo>
                  <a:lnTo>
                    <a:pt x="454" y="900"/>
                  </a:lnTo>
                  <a:lnTo>
                    <a:pt x="450" y="900"/>
                  </a:lnTo>
                  <a:lnTo>
                    <a:pt x="450" y="900"/>
                  </a:lnTo>
                  <a:lnTo>
                    <a:pt x="448" y="900"/>
                  </a:lnTo>
                  <a:lnTo>
                    <a:pt x="448" y="898"/>
                  </a:lnTo>
                  <a:lnTo>
                    <a:pt x="446" y="894"/>
                  </a:lnTo>
                  <a:lnTo>
                    <a:pt x="446" y="888"/>
                  </a:lnTo>
                  <a:lnTo>
                    <a:pt x="444" y="882"/>
                  </a:lnTo>
                  <a:lnTo>
                    <a:pt x="444" y="882"/>
                  </a:lnTo>
                  <a:lnTo>
                    <a:pt x="438" y="874"/>
                  </a:lnTo>
                  <a:lnTo>
                    <a:pt x="436" y="870"/>
                  </a:lnTo>
                  <a:lnTo>
                    <a:pt x="434" y="868"/>
                  </a:lnTo>
                  <a:lnTo>
                    <a:pt x="434" y="868"/>
                  </a:lnTo>
                  <a:lnTo>
                    <a:pt x="426" y="870"/>
                  </a:lnTo>
                  <a:lnTo>
                    <a:pt x="420" y="872"/>
                  </a:lnTo>
                  <a:lnTo>
                    <a:pt x="416" y="876"/>
                  </a:lnTo>
                  <a:lnTo>
                    <a:pt x="408" y="876"/>
                  </a:lnTo>
                  <a:lnTo>
                    <a:pt x="408" y="876"/>
                  </a:lnTo>
                  <a:lnTo>
                    <a:pt x="410" y="874"/>
                  </a:lnTo>
                  <a:lnTo>
                    <a:pt x="414" y="870"/>
                  </a:lnTo>
                  <a:lnTo>
                    <a:pt x="414" y="870"/>
                  </a:lnTo>
                  <a:lnTo>
                    <a:pt x="416" y="868"/>
                  </a:lnTo>
                  <a:lnTo>
                    <a:pt x="418" y="866"/>
                  </a:lnTo>
                  <a:lnTo>
                    <a:pt x="420" y="860"/>
                  </a:lnTo>
                  <a:lnTo>
                    <a:pt x="428" y="846"/>
                  </a:lnTo>
                  <a:lnTo>
                    <a:pt x="428" y="846"/>
                  </a:lnTo>
                  <a:lnTo>
                    <a:pt x="434" y="840"/>
                  </a:lnTo>
                  <a:lnTo>
                    <a:pt x="436" y="840"/>
                  </a:lnTo>
                  <a:lnTo>
                    <a:pt x="438" y="840"/>
                  </a:lnTo>
                  <a:lnTo>
                    <a:pt x="440" y="838"/>
                  </a:lnTo>
                  <a:lnTo>
                    <a:pt x="440" y="838"/>
                  </a:lnTo>
                  <a:lnTo>
                    <a:pt x="440" y="834"/>
                  </a:lnTo>
                  <a:lnTo>
                    <a:pt x="438" y="834"/>
                  </a:lnTo>
                  <a:lnTo>
                    <a:pt x="438" y="832"/>
                  </a:lnTo>
                  <a:lnTo>
                    <a:pt x="438" y="830"/>
                  </a:lnTo>
                  <a:lnTo>
                    <a:pt x="438" y="830"/>
                  </a:lnTo>
                  <a:lnTo>
                    <a:pt x="440" y="828"/>
                  </a:lnTo>
                  <a:lnTo>
                    <a:pt x="442" y="828"/>
                  </a:lnTo>
                  <a:lnTo>
                    <a:pt x="446" y="826"/>
                  </a:lnTo>
                  <a:lnTo>
                    <a:pt x="448" y="824"/>
                  </a:lnTo>
                  <a:lnTo>
                    <a:pt x="448" y="824"/>
                  </a:lnTo>
                  <a:lnTo>
                    <a:pt x="452" y="818"/>
                  </a:lnTo>
                  <a:lnTo>
                    <a:pt x="456" y="818"/>
                  </a:lnTo>
                  <a:lnTo>
                    <a:pt x="460" y="816"/>
                  </a:lnTo>
                  <a:lnTo>
                    <a:pt x="464" y="810"/>
                  </a:lnTo>
                  <a:lnTo>
                    <a:pt x="464" y="810"/>
                  </a:lnTo>
                  <a:lnTo>
                    <a:pt x="470" y="800"/>
                  </a:lnTo>
                  <a:lnTo>
                    <a:pt x="468" y="796"/>
                  </a:lnTo>
                  <a:lnTo>
                    <a:pt x="466" y="794"/>
                  </a:lnTo>
                  <a:lnTo>
                    <a:pt x="466" y="792"/>
                  </a:lnTo>
                  <a:lnTo>
                    <a:pt x="466" y="792"/>
                  </a:lnTo>
                  <a:lnTo>
                    <a:pt x="466" y="786"/>
                  </a:lnTo>
                  <a:lnTo>
                    <a:pt x="464" y="780"/>
                  </a:lnTo>
                  <a:lnTo>
                    <a:pt x="462" y="778"/>
                  </a:lnTo>
                  <a:lnTo>
                    <a:pt x="460" y="776"/>
                  </a:lnTo>
                  <a:lnTo>
                    <a:pt x="456" y="776"/>
                  </a:lnTo>
                  <a:lnTo>
                    <a:pt x="450" y="778"/>
                  </a:lnTo>
                  <a:lnTo>
                    <a:pt x="450" y="778"/>
                  </a:lnTo>
                  <a:lnTo>
                    <a:pt x="452" y="762"/>
                  </a:lnTo>
                  <a:lnTo>
                    <a:pt x="452" y="754"/>
                  </a:lnTo>
                  <a:lnTo>
                    <a:pt x="450" y="750"/>
                  </a:lnTo>
                  <a:lnTo>
                    <a:pt x="448" y="744"/>
                  </a:lnTo>
                  <a:lnTo>
                    <a:pt x="448" y="744"/>
                  </a:lnTo>
                  <a:lnTo>
                    <a:pt x="448" y="736"/>
                  </a:lnTo>
                  <a:lnTo>
                    <a:pt x="446" y="734"/>
                  </a:lnTo>
                  <a:lnTo>
                    <a:pt x="440" y="732"/>
                  </a:lnTo>
                  <a:lnTo>
                    <a:pt x="434" y="734"/>
                  </a:lnTo>
                  <a:lnTo>
                    <a:pt x="434" y="734"/>
                  </a:lnTo>
                  <a:lnTo>
                    <a:pt x="428" y="734"/>
                  </a:lnTo>
                  <a:lnTo>
                    <a:pt x="426" y="732"/>
                  </a:lnTo>
                  <a:lnTo>
                    <a:pt x="426" y="728"/>
                  </a:lnTo>
                  <a:lnTo>
                    <a:pt x="424" y="720"/>
                  </a:lnTo>
                  <a:lnTo>
                    <a:pt x="424" y="720"/>
                  </a:lnTo>
                  <a:lnTo>
                    <a:pt x="422" y="714"/>
                  </a:lnTo>
                  <a:lnTo>
                    <a:pt x="424" y="708"/>
                  </a:lnTo>
                  <a:lnTo>
                    <a:pt x="424" y="704"/>
                  </a:lnTo>
                  <a:lnTo>
                    <a:pt x="422" y="702"/>
                  </a:lnTo>
                  <a:lnTo>
                    <a:pt x="418" y="700"/>
                  </a:lnTo>
                  <a:lnTo>
                    <a:pt x="418" y="700"/>
                  </a:lnTo>
                  <a:lnTo>
                    <a:pt x="412" y="696"/>
                  </a:lnTo>
                  <a:lnTo>
                    <a:pt x="408" y="696"/>
                  </a:lnTo>
                  <a:lnTo>
                    <a:pt x="404" y="696"/>
                  </a:lnTo>
                  <a:lnTo>
                    <a:pt x="404" y="696"/>
                  </a:lnTo>
                  <a:lnTo>
                    <a:pt x="396" y="696"/>
                  </a:lnTo>
                  <a:lnTo>
                    <a:pt x="390" y="694"/>
                  </a:lnTo>
                  <a:lnTo>
                    <a:pt x="384" y="692"/>
                  </a:lnTo>
                  <a:lnTo>
                    <a:pt x="376" y="690"/>
                  </a:lnTo>
                  <a:lnTo>
                    <a:pt x="376" y="690"/>
                  </a:lnTo>
                  <a:lnTo>
                    <a:pt x="370" y="690"/>
                  </a:lnTo>
                  <a:lnTo>
                    <a:pt x="370" y="686"/>
                  </a:lnTo>
                  <a:lnTo>
                    <a:pt x="376" y="668"/>
                  </a:lnTo>
                  <a:lnTo>
                    <a:pt x="376" y="668"/>
                  </a:lnTo>
                  <a:lnTo>
                    <a:pt x="378" y="658"/>
                  </a:lnTo>
                  <a:lnTo>
                    <a:pt x="378" y="654"/>
                  </a:lnTo>
                  <a:lnTo>
                    <a:pt x="376" y="648"/>
                  </a:lnTo>
                  <a:lnTo>
                    <a:pt x="370" y="640"/>
                  </a:lnTo>
                  <a:lnTo>
                    <a:pt x="370" y="640"/>
                  </a:lnTo>
                  <a:lnTo>
                    <a:pt x="364" y="632"/>
                  </a:lnTo>
                  <a:lnTo>
                    <a:pt x="364" y="630"/>
                  </a:lnTo>
                  <a:lnTo>
                    <a:pt x="364" y="626"/>
                  </a:lnTo>
                  <a:lnTo>
                    <a:pt x="362" y="620"/>
                  </a:lnTo>
                  <a:lnTo>
                    <a:pt x="362" y="620"/>
                  </a:lnTo>
                  <a:lnTo>
                    <a:pt x="366" y="618"/>
                  </a:lnTo>
                  <a:lnTo>
                    <a:pt x="362" y="612"/>
                  </a:lnTo>
                  <a:lnTo>
                    <a:pt x="362" y="612"/>
                  </a:lnTo>
                  <a:lnTo>
                    <a:pt x="362" y="610"/>
                  </a:lnTo>
                  <a:lnTo>
                    <a:pt x="362" y="606"/>
                  </a:lnTo>
                  <a:lnTo>
                    <a:pt x="364" y="602"/>
                  </a:lnTo>
                  <a:lnTo>
                    <a:pt x="364" y="598"/>
                  </a:lnTo>
                  <a:lnTo>
                    <a:pt x="364" y="598"/>
                  </a:lnTo>
                  <a:lnTo>
                    <a:pt x="362" y="596"/>
                  </a:lnTo>
                  <a:lnTo>
                    <a:pt x="362" y="592"/>
                  </a:lnTo>
                  <a:lnTo>
                    <a:pt x="366" y="588"/>
                  </a:lnTo>
                  <a:lnTo>
                    <a:pt x="366" y="582"/>
                  </a:lnTo>
                  <a:lnTo>
                    <a:pt x="364" y="580"/>
                  </a:lnTo>
                  <a:lnTo>
                    <a:pt x="362" y="578"/>
                  </a:lnTo>
                  <a:lnTo>
                    <a:pt x="362" y="578"/>
                  </a:lnTo>
                  <a:lnTo>
                    <a:pt x="358" y="574"/>
                  </a:lnTo>
                  <a:lnTo>
                    <a:pt x="356" y="570"/>
                  </a:lnTo>
                  <a:lnTo>
                    <a:pt x="352" y="568"/>
                  </a:lnTo>
                  <a:lnTo>
                    <a:pt x="344" y="566"/>
                  </a:lnTo>
                  <a:lnTo>
                    <a:pt x="344" y="566"/>
                  </a:lnTo>
                  <a:lnTo>
                    <a:pt x="338" y="564"/>
                  </a:lnTo>
                  <a:lnTo>
                    <a:pt x="338" y="562"/>
                  </a:lnTo>
                  <a:lnTo>
                    <a:pt x="338" y="560"/>
                  </a:lnTo>
                  <a:lnTo>
                    <a:pt x="342" y="556"/>
                  </a:lnTo>
                  <a:lnTo>
                    <a:pt x="342" y="552"/>
                  </a:lnTo>
                  <a:lnTo>
                    <a:pt x="342" y="548"/>
                  </a:lnTo>
                  <a:lnTo>
                    <a:pt x="308" y="548"/>
                  </a:lnTo>
                  <a:lnTo>
                    <a:pt x="308" y="548"/>
                  </a:lnTo>
                  <a:lnTo>
                    <a:pt x="298" y="534"/>
                  </a:lnTo>
                  <a:lnTo>
                    <a:pt x="296" y="530"/>
                  </a:lnTo>
                  <a:lnTo>
                    <a:pt x="298" y="530"/>
                  </a:lnTo>
                  <a:lnTo>
                    <a:pt x="298" y="530"/>
                  </a:lnTo>
                  <a:lnTo>
                    <a:pt x="298" y="528"/>
                  </a:lnTo>
                  <a:lnTo>
                    <a:pt x="298" y="528"/>
                  </a:lnTo>
                  <a:lnTo>
                    <a:pt x="296" y="524"/>
                  </a:lnTo>
                  <a:lnTo>
                    <a:pt x="298" y="522"/>
                  </a:lnTo>
                  <a:lnTo>
                    <a:pt x="298" y="518"/>
                  </a:lnTo>
                  <a:lnTo>
                    <a:pt x="296" y="514"/>
                  </a:lnTo>
                  <a:lnTo>
                    <a:pt x="296" y="514"/>
                  </a:lnTo>
                  <a:lnTo>
                    <a:pt x="296" y="506"/>
                  </a:lnTo>
                  <a:lnTo>
                    <a:pt x="296" y="502"/>
                  </a:lnTo>
                  <a:lnTo>
                    <a:pt x="294" y="498"/>
                  </a:lnTo>
                  <a:lnTo>
                    <a:pt x="284" y="492"/>
                  </a:lnTo>
                  <a:lnTo>
                    <a:pt x="284" y="492"/>
                  </a:lnTo>
                  <a:lnTo>
                    <a:pt x="272" y="488"/>
                  </a:lnTo>
                  <a:lnTo>
                    <a:pt x="270" y="484"/>
                  </a:lnTo>
                  <a:lnTo>
                    <a:pt x="268" y="482"/>
                  </a:lnTo>
                  <a:lnTo>
                    <a:pt x="260" y="478"/>
                  </a:lnTo>
                  <a:lnTo>
                    <a:pt x="260" y="478"/>
                  </a:lnTo>
                  <a:lnTo>
                    <a:pt x="250" y="474"/>
                  </a:lnTo>
                  <a:lnTo>
                    <a:pt x="248" y="470"/>
                  </a:lnTo>
                  <a:lnTo>
                    <a:pt x="246" y="466"/>
                  </a:lnTo>
                  <a:lnTo>
                    <a:pt x="240" y="464"/>
                  </a:lnTo>
                  <a:lnTo>
                    <a:pt x="240" y="464"/>
                  </a:lnTo>
                  <a:lnTo>
                    <a:pt x="238" y="464"/>
                  </a:lnTo>
                  <a:lnTo>
                    <a:pt x="234" y="462"/>
                  </a:lnTo>
                  <a:lnTo>
                    <a:pt x="230" y="458"/>
                  </a:lnTo>
                  <a:lnTo>
                    <a:pt x="224" y="454"/>
                  </a:lnTo>
                  <a:lnTo>
                    <a:pt x="220" y="454"/>
                  </a:lnTo>
                  <a:lnTo>
                    <a:pt x="214" y="454"/>
                  </a:lnTo>
                  <a:lnTo>
                    <a:pt x="214" y="454"/>
                  </a:lnTo>
                  <a:lnTo>
                    <a:pt x="206" y="454"/>
                  </a:lnTo>
                  <a:lnTo>
                    <a:pt x="202" y="452"/>
                  </a:lnTo>
                  <a:lnTo>
                    <a:pt x="198" y="448"/>
                  </a:lnTo>
                  <a:lnTo>
                    <a:pt x="196" y="444"/>
                  </a:lnTo>
                  <a:lnTo>
                    <a:pt x="192" y="440"/>
                  </a:lnTo>
                  <a:lnTo>
                    <a:pt x="192" y="440"/>
                  </a:lnTo>
                  <a:lnTo>
                    <a:pt x="188" y="438"/>
                  </a:lnTo>
                  <a:lnTo>
                    <a:pt x="186" y="434"/>
                  </a:lnTo>
                  <a:lnTo>
                    <a:pt x="182" y="420"/>
                  </a:lnTo>
                  <a:lnTo>
                    <a:pt x="182" y="394"/>
                  </a:lnTo>
                  <a:lnTo>
                    <a:pt x="182" y="394"/>
                  </a:lnTo>
                  <a:lnTo>
                    <a:pt x="180" y="390"/>
                  </a:lnTo>
                  <a:lnTo>
                    <a:pt x="176" y="390"/>
                  </a:lnTo>
                  <a:lnTo>
                    <a:pt x="166" y="390"/>
                  </a:lnTo>
                  <a:lnTo>
                    <a:pt x="154" y="394"/>
                  </a:lnTo>
                  <a:lnTo>
                    <a:pt x="148" y="398"/>
                  </a:lnTo>
                  <a:lnTo>
                    <a:pt x="148" y="398"/>
                  </a:lnTo>
                  <a:lnTo>
                    <a:pt x="142" y="404"/>
                  </a:lnTo>
                  <a:lnTo>
                    <a:pt x="136" y="406"/>
                  </a:lnTo>
                  <a:lnTo>
                    <a:pt x="132" y="408"/>
                  </a:lnTo>
                  <a:lnTo>
                    <a:pt x="132" y="412"/>
                  </a:lnTo>
                  <a:lnTo>
                    <a:pt x="132" y="412"/>
                  </a:lnTo>
                  <a:lnTo>
                    <a:pt x="130" y="416"/>
                  </a:lnTo>
                  <a:lnTo>
                    <a:pt x="128" y="418"/>
                  </a:lnTo>
                  <a:lnTo>
                    <a:pt x="124" y="418"/>
                  </a:lnTo>
                  <a:lnTo>
                    <a:pt x="118" y="420"/>
                  </a:lnTo>
                  <a:lnTo>
                    <a:pt x="118" y="420"/>
                  </a:lnTo>
                  <a:lnTo>
                    <a:pt x="114" y="424"/>
                  </a:lnTo>
                  <a:lnTo>
                    <a:pt x="110" y="424"/>
                  </a:lnTo>
                  <a:lnTo>
                    <a:pt x="104" y="420"/>
                  </a:lnTo>
                  <a:lnTo>
                    <a:pt x="98" y="420"/>
                  </a:lnTo>
                  <a:lnTo>
                    <a:pt x="90" y="420"/>
                  </a:lnTo>
                  <a:lnTo>
                    <a:pt x="90" y="420"/>
                  </a:lnTo>
                  <a:lnTo>
                    <a:pt x="84" y="422"/>
                  </a:lnTo>
                  <a:lnTo>
                    <a:pt x="80" y="424"/>
                  </a:lnTo>
                  <a:lnTo>
                    <a:pt x="78" y="422"/>
                  </a:lnTo>
                  <a:lnTo>
                    <a:pt x="76" y="422"/>
                  </a:lnTo>
                  <a:lnTo>
                    <a:pt x="74" y="414"/>
                  </a:lnTo>
                  <a:lnTo>
                    <a:pt x="72" y="406"/>
                  </a:lnTo>
                  <a:lnTo>
                    <a:pt x="72" y="406"/>
                  </a:lnTo>
                  <a:lnTo>
                    <a:pt x="70" y="394"/>
                  </a:lnTo>
                  <a:lnTo>
                    <a:pt x="70" y="390"/>
                  </a:lnTo>
                  <a:lnTo>
                    <a:pt x="72" y="386"/>
                  </a:lnTo>
                  <a:lnTo>
                    <a:pt x="72" y="386"/>
                  </a:lnTo>
                  <a:lnTo>
                    <a:pt x="74" y="382"/>
                  </a:lnTo>
                  <a:lnTo>
                    <a:pt x="72" y="380"/>
                  </a:lnTo>
                  <a:lnTo>
                    <a:pt x="70" y="378"/>
                  </a:lnTo>
                  <a:lnTo>
                    <a:pt x="68" y="380"/>
                  </a:lnTo>
                  <a:lnTo>
                    <a:pt x="68" y="380"/>
                  </a:lnTo>
                  <a:lnTo>
                    <a:pt x="56" y="390"/>
                  </a:lnTo>
                  <a:lnTo>
                    <a:pt x="52" y="392"/>
                  </a:lnTo>
                  <a:lnTo>
                    <a:pt x="42" y="392"/>
                  </a:lnTo>
                  <a:lnTo>
                    <a:pt x="42" y="392"/>
                  </a:lnTo>
                  <a:lnTo>
                    <a:pt x="36" y="392"/>
                  </a:lnTo>
                  <a:lnTo>
                    <a:pt x="32" y="390"/>
                  </a:lnTo>
                  <a:lnTo>
                    <a:pt x="30" y="390"/>
                  </a:lnTo>
                  <a:lnTo>
                    <a:pt x="28" y="388"/>
                  </a:lnTo>
                  <a:lnTo>
                    <a:pt x="28" y="384"/>
                  </a:lnTo>
                  <a:lnTo>
                    <a:pt x="26" y="382"/>
                  </a:lnTo>
                  <a:lnTo>
                    <a:pt x="24" y="382"/>
                  </a:lnTo>
                  <a:lnTo>
                    <a:pt x="24" y="382"/>
                  </a:lnTo>
                  <a:lnTo>
                    <a:pt x="18" y="382"/>
                  </a:lnTo>
                  <a:lnTo>
                    <a:pt x="20" y="378"/>
                  </a:lnTo>
                  <a:lnTo>
                    <a:pt x="22" y="374"/>
                  </a:lnTo>
                  <a:lnTo>
                    <a:pt x="20" y="372"/>
                  </a:lnTo>
                  <a:lnTo>
                    <a:pt x="18" y="368"/>
                  </a:lnTo>
                  <a:lnTo>
                    <a:pt x="18" y="368"/>
                  </a:lnTo>
                  <a:lnTo>
                    <a:pt x="14" y="362"/>
                  </a:lnTo>
                  <a:lnTo>
                    <a:pt x="10" y="354"/>
                  </a:lnTo>
                  <a:lnTo>
                    <a:pt x="8" y="346"/>
                  </a:lnTo>
                  <a:lnTo>
                    <a:pt x="4" y="340"/>
                  </a:lnTo>
                  <a:lnTo>
                    <a:pt x="4" y="340"/>
                  </a:lnTo>
                  <a:lnTo>
                    <a:pt x="0" y="332"/>
                  </a:lnTo>
                  <a:lnTo>
                    <a:pt x="0" y="330"/>
                  </a:lnTo>
                  <a:lnTo>
                    <a:pt x="2" y="328"/>
                  </a:lnTo>
                  <a:lnTo>
                    <a:pt x="2" y="328"/>
                  </a:lnTo>
                  <a:lnTo>
                    <a:pt x="2" y="328"/>
                  </a:lnTo>
                  <a:lnTo>
                    <a:pt x="0" y="324"/>
                  </a:lnTo>
                  <a:lnTo>
                    <a:pt x="0" y="320"/>
                  </a:lnTo>
                  <a:lnTo>
                    <a:pt x="2" y="316"/>
                  </a:lnTo>
                  <a:lnTo>
                    <a:pt x="4" y="314"/>
                  </a:lnTo>
                  <a:lnTo>
                    <a:pt x="10" y="308"/>
                  </a:lnTo>
                  <a:lnTo>
                    <a:pt x="12" y="306"/>
                  </a:lnTo>
                  <a:lnTo>
                    <a:pt x="14" y="300"/>
                  </a:lnTo>
                  <a:lnTo>
                    <a:pt x="14" y="300"/>
                  </a:lnTo>
                  <a:lnTo>
                    <a:pt x="16" y="292"/>
                  </a:lnTo>
                  <a:lnTo>
                    <a:pt x="18" y="286"/>
                  </a:lnTo>
                  <a:lnTo>
                    <a:pt x="20" y="282"/>
                  </a:lnTo>
                  <a:lnTo>
                    <a:pt x="22" y="278"/>
                  </a:lnTo>
                  <a:lnTo>
                    <a:pt x="22" y="278"/>
                  </a:lnTo>
                  <a:lnTo>
                    <a:pt x="24" y="274"/>
                  </a:lnTo>
                  <a:lnTo>
                    <a:pt x="28" y="270"/>
                  </a:lnTo>
                  <a:lnTo>
                    <a:pt x="32" y="266"/>
                  </a:lnTo>
                  <a:lnTo>
                    <a:pt x="38" y="262"/>
                  </a:lnTo>
                  <a:lnTo>
                    <a:pt x="38" y="262"/>
                  </a:lnTo>
                  <a:lnTo>
                    <a:pt x="46" y="254"/>
                  </a:lnTo>
                  <a:lnTo>
                    <a:pt x="52" y="250"/>
                  </a:lnTo>
                  <a:lnTo>
                    <a:pt x="58" y="250"/>
                  </a:lnTo>
                  <a:lnTo>
                    <a:pt x="60" y="246"/>
                  </a:lnTo>
                  <a:lnTo>
                    <a:pt x="60" y="246"/>
                  </a:lnTo>
                  <a:lnTo>
                    <a:pt x="64" y="244"/>
                  </a:lnTo>
                  <a:lnTo>
                    <a:pt x="66" y="244"/>
                  </a:lnTo>
                  <a:lnTo>
                    <a:pt x="68" y="244"/>
                  </a:lnTo>
                  <a:lnTo>
                    <a:pt x="72" y="240"/>
                  </a:lnTo>
                  <a:lnTo>
                    <a:pt x="72" y="240"/>
                  </a:lnTo>
                  <a:lnTo>
                    <a:pt x="74" y="230"/>
                  </a:lnTo>
                  <a:lnTo>
                    <a:pt x="76" y="220"/>
                  </a:lnTo>
                  <a:lnTo>
                    <a:pt x="80" y="196"/>
                  </a:lnTo>
                  <a:lnTo>
                    <a:pt x="82" y="172"/>
                  </a:lnTo>
                  <a:lnTo>
                    <a:pt x="84" y="160"/>
                  </a:lnTo>
                  <a:lnTo>
                    <a:pt x="84" y="160"/>
                  </a:lnTo>
                  <a:lnTo>
                    <a:pt x="84" y="158"/>
                  </a:lnTo>
                  <a:lnTo>
                    <a:pt x="84" y="156"/>
                  </a:lnTo>
                  <a:lnTo>
                    <a:pt x="80" y="148"/>
                  </a:lnTo>
                  <a:lnTo>
                    <a:pt x="76" y="138"/>
                  </a:lnTo>
                  <a:lnTo>
                    <a:pt x="72" y="130"/>
                  </a:lnTo>
                  <a:lnTo>
                    <a:pt x="72" y="130"/>
                  </a:lnTo>
                  <a:lnTo>
                    <a:pt x="70" y="126"/>
                  </a:lnTo>
                  <a:lnTo>
                    <a:pt x="72" y="124"/>
                  </a:lnTo>
                  <a:lnTo>
                    <a:pt x="76" y="120"/>
                  </a:lnTo>
                  <a:lnTo>
                    <a:pt x="80" y="120"/>
                  </a:lnTo>
                  <a:lnTo>
                    <a:pt x="86" y="120"/>
                  </a:lnTo>
                  <a:lnTo>
                    <a:pt x="86" y="120"/>
                  </a:lnTo>
                  <a:lnTo>
                    <a:pt x="88" y="120"/>
                  </a:lnTo>
                  <a:lnTo>
                    <a:pt x="88" y="120"/>
                  </a:lnTo>
                  <a:lnTo>
                    <a:pt x="88" y="114"/>
                  </a:lnTo>
                  <a:lnTo>
                    <a:pt x="86" y="110"/>
                  </a:lnTo>
                  <a:lnTo>
                    <a:pt x="84" y="108"/>
                  </a:lnTo>
                  <a:lnTo>
                    <a:pt x="82" y="108"/>
                  </a:lnTo>
                  <a:lnTo>
                    <a:pt x="82" y="108"/>
                  </a:lnTo>
                  <a:lnTo>
                    <a:pt x="78" y="106"/>
                  </a:lnTo>
                  <a:lnTo>
                    <a:pt x="76" y="104"/>
                  </a:lnTo>
                  <a:lnTo>
                    <a:pt x="76" y="98"/>
                  </a:lnTo>
                  <a:lnTo>
                    <a:pt x="76" y="98"/>
                  </a:lnTo>
                  <a:lnTo>
                    <a:pt x="92" y="96"/>
                  </a:lnTo>
                  <a:lnTo>
                    <a:pt x="106" y="94"/>
                  </a:lnTo>
                  <a:lnTo>
                    <a:pt x="106" y="94"/>
                  </a:lnTo>
                  <a:lnTo>
                    <a:pt x="112" y="92"/>
                  </a:lnTo>
                  <a:lnTo>
                    <a:pt x="112" y="90"/>
                  </a:lnTo>
                  <a:lnTo>
                    <a:pt x="110" y="88"/>
                  </a:lnTo>
                  <a:lnTo>
                    <a:pt x="112" y="88"/>
                  </a:lnTo>
                  <a:lnTo>
                    <a:pt x="112" y="88"/>
                  </a:lnTo>
                  <a:lnTo>
                    <a:pt x="116" y="88"/>
                  </a:lnTo>
                  <a:lnTo>
                    <a:pt x="118" y="90"/>
                  </a:lnTo>
                  <a:lnTo>
                    <a:pt x="118" y="92"/>
                  </a:lnTo>
                  <a:lnTo>
                    <a:pt x="120" y="92"/>
                  </a:lnTo>
                  <a:lnTo>
                    <a:pt x="120" y="92"/>
                  </a:lnTo>
                  <a:lnTo>
                    <a:pt x="122" y="92"/>
                  </a:lnTo>
                  <a:lnTo>
                    <a:pt x="122" y="90"/>
                  </a:lnTo>
                  <a:lnTo>
                    <a:pt x="124" y="88"/>
                  </a:lnTo>
                  <a:lnTo>
                    <a:pt x="126" y="88"/>
                  </a:lnTo>
                  <a:lnTo>
                    <a:pt x="126" y="88"/>
                  </a:lnTo>
                  <a:lnTo>
                    <a:pt x="128" y="88"/>
                  </a:lnTo>
                  <a:lnTo>
                    <a:pt x="128" y="90"/>
                  </a:lnTo>
                  <a:lnTo>
                    <a:pt x="128" y="96"/>
                  </a:lnTo>
                  <a:lnTo>
                    <a:pt x="128" y="102"/>
                  </a:lnTo>
                  <a:lnTo>
                    <a:pt x="130" y="104"/>
                  </a:lnTo>
                  <a:lnTo>
                    <a:pt x="134" y="104"/>
                  </a:lnTo>
                  <a:lnTo>
                    <a:pt x="134" y="104"/>
                  </a:lnTo>
                  <a:lnTo>
                    <a:pt x="138" y="108"/>
                  </a:lnTo>
                  <a:lnTo>
                    <a:pt x="140" y="108"/>
                  </a:lnTo>
                  <a:lnTo>
                    <a:pt x="142" y="108"/>
                  </a:lnTo>
                  <a:lnTo>
                    <a:pt x="142" y="108"/>
                  </a:lnTo>
                  <a:lnTo>
                    <a:pt x="146" y="110"/>
                  </a:lnTo>
                  <a:lnTo>
                    <a:pt x="152" y="114"/>
                  </a:lnTo>
                  <a:lnTo>
                    <a:pt x="158" y="116"/>
                  </a:lnTo>
                  <a:lnTo>
                    <a:pt x="160" y="116"/>
                  </a:lnTo>
                  <a:lnTo>
                    <a:pt x="162" y="116"/>
                  </a:lnTo>
                  <a:lnTo>
                    <a:pt x="162" y="116"/>
                  </a:lnTo>
                  <a:lnTo>
                    <a:pt x="168" y="114"/>
                  </a:lnTo>
                  <a:lnTo>
                    <a:pt x="170" y="114"/>
                  </a:lnTo>
                  <a:lnTo>
                    <a:pt x="174" y="114"/>
                  </a:lnTo>
                  <a:lnTo>
                    <a:pt x="178" y="110"/>
                  </a:lnTo>
                  <a:lnTo>
                    <a:pt x="178" y="110"/>
                  </a:lnTo>
                  <a:lnTo>
                    <a:pt x="186" y="102"/>
                  </a:lnTo>
                  <a:lnTo>
                    <a:pt x="190" y="100"/>
                  </a:lnTo>
                  <a:lnTo>
                    <a:pt x="192" y="100"/>
                  </a:lnTo>
                  <a:lnTo>
                    <a:pt x="194" y="98"/>
                  </a:lnTo>
                  <a:lnTo>
                    <a:pt x="194" y="98"/>
                  </a:lnTo>
                  <a:lnTo>
                    <a:pt x="196" y="96"/>
                  </a:lnTo>
                  <a:lnTo>
                    <a:pt x="198" y="96"/>
                  </a:lnTo>
                  <a:lnTo>
                    <a:pt x="200" y="96"/>
                  </a:lnTo>
                  <a:lnTo>
                    <a:pt x="202" y="90"/>
                  </a:lnTo>
                  <a:lnTo>
                    <a:pt x="202" y="90"/>
                  </a:lnTo>
                  <a:lnTo>
                    <a:pt x="202" y="84"/>
                  </a:lnTo>
                  <a:lnTo>
                    <a:pt x="206" y="82"/>
                  </a:lnTo>
                  <a:lnTo>
                    <a:pt x="210" y="82"/>
                  </a:lnTo>
                  <a:lnTo>
                    <a:pt x="218" y="78"/>
                  </a:lnTo>
                  <a:lnTo>
                    <a:pt x="218" y="78"/>
                  </a:lnTo>
                  <a:lnTo>
                    <a:pt x="216" y="70"/>
                  </a:lnTo>
                  <a:lnTo>
                    <a:pt x="210" y="70"/>
                  </a:lnTo>
                  <a:lnTo>
                    <a:pt x="210" y="70"/>
                  </a:lnTo>
                  <a:lnTo>
                    <a:pt x="206" y="70"/>
                  </a:lnTo>
                  <a:lnTo>
                    <a:pt x="202" y="68"/>
                  </a:lnTo>
                  <a:lnTo>
                    <a:pt x="198" y="62"/>
                  </a:lnTo>
                  <a:lnTo>
                    <a:pt x="196" y="54"/>
                  </a:lnTo>
                  <a:lnTo>
                    <a:pt x="198" y="46"/>
                  </a:lnTo>
                  <a:lnTo>
                    <a:pt x="198" y="46"/>
                  </a:lnTo>
                  <a:lnTo>
                    <a:pt x="198" y="42"/>
                  </a:lnTo>
                  <a:lnTo>
                    <a:pt x="198" y="38"/>
                  </a:lnTo>
                  <a:lnTo>
                    <a:pt x="192" y="32"/>
                  </a:lnTo>
                  <a:lnTo>
                    <a:pt x="188" y="28"/>
                  </a:lnTo>
                  <a:lnTo>
                    <a:pt x="188" y="26"/>
                  </a:lnTo>
                  <a:lnTo>
                    <a:pt x="192" y="24"/>
                  </a:lnTo>
                  <a:lnTo>
                    <a:pt x="192" y="24"/>
                  </a:lnTo>
                  <a:lnTo>
                    <a:pt x="198" y="24"/>
                  </a:lnTo>
                  <a:lnTo>
                    <a:pt x="202" y="24"/>
                  </a:lnTo>
                  <a:lnTo>
                    <a:pt x="210" y="28"/>
                  </a:lnTo>
                  <a:lnTo>
                    <a:pt x="216" y="30"/>
                  </a:lnTo>
                  <a:lnTo>
                    <a:pt x="218" y="30"/>
                  </a:lnTo>
                  <a:lnTo>
                    <a:pt x="224" y="30"/>
                  </a:lnTo>
                  <a:lnTo>
                    <a:pt x="224" y="30"/>
                  </a:lnTo>
                  <a:lnTo>
                    <a:pt x="232" y="28"/>
                  </a:lnTo>
                  <a:lnTo>
                    <a:pt x="238" y="30"/>
                  </a:lnTo>
                  <a:lnTo>
                    <a:pt x="240" y="30"/>
                  </a:lnTo>
                  <a:lnTo>
                    <a:pt x="242" y="30"/>
                  </a:lnTo>
                  <a:lnTo>
                    <a:pt x="242" y="30"/>
                  </a:lnTo>
                  <a:lnTo>
                    <a:pt x="244" y="28"/>
                  </a:lnTo>
                  <a:lnTo>
                    <a:pt x="244" y="28"/>
                  </a:lnTo>
                  <a:lnTo>
                    <a:pt x="242" y="26"/>
                  </a:lnTo>
                  <a:lnTo>
                    <a:pt x="244" y="26"/>
                  </a:lnTo>
                  <a:lnTo>
                    <a:pt x="244" y="26"/>
                  </a:lnTo>
                  <a:lnTo>
                    <a:pt x="250" y="24"/>
                  </a:lnTo>
                  <a:lnTo>
                    <a:pt x="256" y="22"/>
                  </a:lnTo>
                  <a:lnTo>
                    <a:pt x="264" y="16"/>
                  </a:lnTo>
                  <a:lnTo>
                    <a:pt x="264" y="16"/>
                  </a:lnTo>
                  <a:lnTo>
                    <a:pt x="268" y="12"/>
                  </a:lnTo>
                  <a:lnTo>
                    <a:pt x="272" y="10"/>
                  </a:lnTo>
                  <a:lnTo>
                    <a:pt x="274" y="8"/>
                  </a:lnTo>
                  <a:lnTo>
                    <a:pt x="276" y="0"/>
                  </a:lnTo>
                  <a:lnTo>
                    <a:pt x="276" y="0"/>
                  </a:lnTo>
                  <a:lnTo>
                    <a:pt x="282" y="2"/>
                  </a:lnTo>
                  <a:lnTo>
                    <a:pt x="286" y="2"/>
                  </a:lnTo>
                  <a:lnTo>
                    <a:pt x="288" y="2"/>
                  </a:lnTo>
                  <a:lnTo>
                    <a:pt x="288" y="8"/>
                  </a:lnTo>
                  <a:lnTo>
                    <a:pt x="288" y="8"/>
                  </a:lnTo>
                  <a:lnTo>
                    <a:pt x="286" y="12"/>
                  </a:lnTo>
                  <a:lnTo>
                    <a:pt x="290" y="12"/>
                  </a:lnTo>
                  <a:lnTo>
                    <a:pt x="294" y="12"/>
                  </a:lnTo>
                  <a:lnTo>
                    <a:pt x="294" y="14"/>
                  </a:lnTo>
                  <a:lnTo>
                    <a:pt x="294" y="16"/>
                  </a:lnTo>
                  <a:lnTo>
                    <a:pt x="294" y="16"/>
                  </a:lnTo>
                  <a:lnTo>
                    <a:pt x="296" y="20"/>
                  </a:lnTo>
                  <a:lnTo>
                    <a:pt x="296" y="24"/>
                  </a:lnTo>
                  <a:lnTo>
                    <a:pt x="300" y="26"/>
                  </a:lnTo>
                  <a:lnTo>
                    <a:pt x="300" y="26"/>
                  </a:lnTo>
                  <a:lnTo>
                    <a:pt x="300" y="28"/>
                  </a:lnTo>
                  <a:lnTo>
                    <a:pt x="294" y="36"/>
                  </a:lnTo>
                  <a:lnTo>
                    <a:pt x="294" y="36"/>
                  </a:lnTo>
                  <a:lnTo>
                    <a:pt x="290" y="42"/>
                  </a:lnTo>
                  <a:lnTo>
                    <a:pt x="290" y="46"/>
                  </a:lnTo>
                  <a:lnTo>
                    <a:pt x="292" y="48"/>
                  </a:lnTo>
                  <a:lnTo>
                    <a:pt x="290" y="50"/>
                  </a:lnTo>
                  <a:lnTo>
                    <a:pt x="290" y="50"/>
                  </a:lnTo>
                  <a:lnTo>
                    <a:pt x="290" y="54"/>
                  </a:lnTo>
                  <a:lnTo>
                    <a:pt x="292" y="56"/>
                  </a:lnTo>
                  <a:lnTo>
                    <a:pt x="294" y="60"/>
                  </a:lnTo>
                  <a:lnTo>
                    <a:pt x="292" y="62"/>
                  </a:lnTo>
                  <a:lnTo>
                    <a:pt x="292" y="62"/>
                  </a:lnTo>
                  <a:lnTo>
                    <a:pt x="290" y="66"/>
                  </a:lnTo>
                  <a:lnTo>
                    <a:pt x="292" y="68"/>
                  </a:lnTo>
                  <a:lnTo>
                    <a:pt x="294" y="70"/>
                  </a:lnTo>
                  <a:lnTo>
                    <a:pt x="296" y="76"/>
                  </a:lnTo>
                  <a:lnTo>
                    <a:pt x="296" y="76"/>
                  </a:lnTo>
                  <a:lnTo>
                    <a:pt x="298" y="84"/>
                  </a:lnTo>
                  <a:lnTo>
                    <a:pt x="300" y="86"/>
                  </a:lnTo>
                  <a:lnTo>
                    <a:pt x="302" y="88"/>
                  </a:lnTo>
                  <a:lnTo>
                    <a:pt x="302" y="90"/>
                  </a:lnTo>
                  <a:lnTo>
                    <a:pt x="302" y="90"/>
                  </a:lnTo>
                  <a:lnTo>
                    <a:pt x="304" y="96"/>
                  </a:lnTo>
                  <a:lnTo>
                    <a:pt x="308" y="98"/>
                  </a:lnTo>
                  <a:lnTo>
                    <a:pt x="310" y="100"/>
                  </a:lnTo>
                  <a:lnTo>
                    <a:pt x="314" y="102"/>
                  </a:lnTo>
                  <a:lnTo>
                    <a:pt x="314" y="102"/>
                  </a:lnTo>
                  <a:lnTo>
                    <a:pt x="316" y="100"/>
                  </a:lnTo>
                  <a:lnTo>
                    <a:pt x="318" y="98"/>
                  </a:lnTo>
                  <a:lnTo>
                    <a:pt x="322" y="100"/>
                  </a:lnTo>
                  <a:lnTo>
                    <a:pt x="322" y="100"/>
                  </a:lnTo>
                  <a:lnTo>
                    <a:pt x="322" y="96"/>
                  </a:lnTo>
                  <a:lnTo>
                    <a:pt x="326" y="92"/>
                  </a:lnTo>
                  <a:lnTo>
                    <a:pt x="334" y="90"/>
                  </a:lnTo>
                  <a:lnTo>
                    <a:pt x="334" y="90"/>
                  </a:lnTo>
                  <a:lnTo>
                    <a:pt x="342" y="86"/>
                  </a:lnTo>
                  <a:lnTo>
                    <a:pt x="344" y="84"/>
                  </a:lnTo>
                  <a:lnTo>
                    <a:pt x="346" y="82"/>
                  </a:lnTo>
                  <a:lnTo>
                    <a:pt x="348" y="82"/>
                  </a:lnTo>
                  <a:lnTo>
                    <a:pt x="348" y="82"/>
                  </a:lnTo>
                  <a:lnTo>
                    <a:pt x="348" y="82"/>
                  </a:lnTo>
                  <a:lnTo>
                    <a:pt x="350" y="84"/>
                  </a:lnTo>
                  <a:lnTo>
                    <a:pt x="352" y="86"/>
                  </a:lnTo>
                  <a:lnTo>
                    <a:pt x="360" y="84"/>
                  </a:lnTo>
                  <a:lnTo>
                    <a:pt x="360" y="84"/>
                  </a:lnTo>
                  <a:lnTo>
                    <a:pt x="374" y="86"/>
                  </a:lnTo>
                  <a:lnTo>
                    <a:pt x="378" y="84"/>
                  </a:lnTo>
                  <a:lnTo>
                    <a:pt x="378" y="82"/>
                  </a:lnTo>
                  <a:lnTo>
                    <a:pt x="374" y="80"/>
                  </a:lnTo>
                  <a:lnTo>
                    <a:pt x="372" y="78"/>
                  </a:lnTo>
                  <a:lnTo>
                    <a:pt x="376" y="76"/>
                  </a:lnTo>
                  <a:lnTo>
                    <a:pt x="376" y="76"/>
                  </a:lnTo>
                  <a:lnTo>
                    <a:pt x="378" y="78"/>
                  </a:lnTo>
                  <a:lnTo>
                    <a:pt x="380" y="78"/>
                  </a:lnTo>
                  <a:lnTo>
                    <a:pt x="384" y="78"/>
                  </a:lnTo>
                  <a:lnTo>
                    <a:pt x="384" y="78"/>
                  </a:lnTo>
                  <a:lnTo>
                    <a:pt x="386" y="78"/>
                  </a:lnTo>
                  <a:lnTo>
                    <a:pt x="388" y="76"/>
                  </a:lnTo>
                  <a:lnTo>
                    <a:pt x="388" y="74"/>
                  </a:lnTo>
                  <a:lnTo>
                    <a:pt x="392" y="72"/>
                  </a:lnTo>
                  <a:lnTo>
                    <a:pt x="392" y="72"/>
                  </a:lnTo>
                  <a:lnTo>
                    <a:pt x="394" y="74"/>
                  </a:lnTo>
                  <a:lnTo>
                    <a:pt x="396" y="74"/>
                  </a:lnTo>
                  <a:lnTo>
                    <a:pt x="396" y="76"/>
                  </a:lnTo>
                  <a:lnTo>
                    <a:pt x="400" y="76"/>
                  </a:lnTo>
                  <a:lnTo>
                    <a:pt x="400" y="76"/>
                  </a:lnTo>
                  <a:lnTo>
                    <a:pt x="404" y="78"/>
                  </a:lnTo>
                  <a:lnTo>
                    <a:pt x="406" y="78"/>
                  </a:lnTo>
                  <a:lnTo>
                    <a:pt x="406" y="78"/>
                  </a:lnTo>
                  <a:lnTo>
                    <a:pt x="410" y="78"/>
                  </a:lnTo>
                  <a:lnTo>
                    <a:pt x="410" y="80"/>
                  </a:lnTo>
                  <a:lnTo>
                    <a:pt x="412" y="80"/>
                  </a:lnTo>
                  <a:lnTo>
                    <a:pt x="414" y="80"/>
                  </a:lnTo>
                  <a:lnTo>
                    <a:pt x="414" y="80"/>
                  </a:lnTo>
                  <a:lnTo>
                    <a:pt x="418" y="80"/>
                  </a:lnTo>
                  <a:lnTo>
                    <a:pt x="420" y="84"/>
                  </a:lnTo>
                  <a:lnTo>
                    <a:pt x="422" y="84"/>
                  </a:lnTo>
                  <a:lnTo>
                    <a:pt x="430" y="82"/>
                  </a:lnTo>
                  <a:lnTo>
                    <a:pt x="430" y="82"/>
                  </a:lnTo>
                  <a:lnTo>
                    <a:pt x="438" y="80"/>
                  </a:lnTo>
                  <a:lnTo>
                    <a:pt x="440" y="78"/>
                  </a:lnTo>
                  <a:lnTo>
                    <a:pt x="440" y="74"/>
                  </a:lnTo>
                  <a:lnTo>
                    <a:pt x="440" y="74"/>
                  </a:lnTo>
                  <a:lnTo>
                    <a:pt x="442" y="70"/>
                  </a:lnTo>
                  <a:lnTo>
                    <a:pt x="444" y="70"/>
                  </a:lnTo>
                  <a:lnTo>
                    <a:pt x="446" y="68"/>
                  </a:lnTo>
                  <a:lnTo>
                    <a:pt x="448" y="62"/>
                  </a:lnTo>
                  <a:lnTo>
                    <a:pt x="448" y="62"/>
                  </a:lnTo>
                  <a:lnTo>
                    <a:pt x="450" y="54"/>
                  </a:lnTo>
                  <a:lnTo>
                    <a:pt x="454" y="50"/>
                  </a:lnTo>
                  <a:lnTo>
                    <a:pt x="456" y="48"/>
                  </a:lnTo>
                  <a:lnTo>
                    <a:pt x="456" y="46"/>
                  </a:lnTo>
                  <a:lnTo>
                    <a:pt x="456" y="46"/>
                  </a:lnTo>
                  <a:lnTo>
                    <a:pt x="458" y="40"/>
                  </a:lnTo>
                  <a:lnTo>
                    <a:pt x="460" y="38"/>
                  </a:lnTo>
                  <a:lnTo>
                    <a:pt x="462" y="36"/>
                  </a:lnTo>
                  <a:lnTo>
                    <a:pt x="462" y="32"/>
                  </a:lnTo>
                  <a:lnTo>
                    <a:pt x="462" y="32"/>
                  </a:lnTo>
                  <a:lnTo>
                    <a:pt x="462" y="26"/>
                  </a:lnTo>
                  <a:lnTo>
                    <a:pt x="464" y="26"/>
                  </a:lnTo>
                  <a:lnTo>
                    <a:pt x="466" y="24"/>
                  </a:lnTo>
                  <a:lnTo>
                    <a:pt x="468" y="20"/>
                  </a:lnTo>
                  <a:lnTo>
                    <a:pt x="468" y="20"/>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Bulgaria"/>
            <p:cNvSpPr>
              <a:spLocks/>
            </p:cNvSpPr>
            <p:nvPr/>
          </p:nvSpPr>
          <p:spPr bwMode="auto">
            <a:xfrm>
              <a:off x="4700288" y="2197365"/>
              <a:ext cx="158750" cy="74083"/>
            </a:xfrm>
            <a:custGeom>
              <a:avLst/>
              <a:gdLst/>
              <a:ahLst/>
              <a:cxnLst>
                <a:cxn ang="0">
                  <a:pos x="112" y="44"/>
                </a:cxn>
                <a:cxn ang="0">
                  <a:pos x="110" y="44"/>
                </a:cxn>
                <a:cxn ang="0">
                  <a:pos x="110" y="42"/>
                </a:cxn>
                <a:cxn ang="0">
                  <a:pos x="106" y="36"/>
                </a:cxn>
                <a:cxn ang="0">
                  <a:pos x="104" y="34"/>
                </a:cxn>
                <a:cxn ang="0">
                  <a:pos x="104" y="30"/>
                </a:cxn>
                <a:cxn ang="0">
                  <a:pos x="106" y="28"/>
                </a:cxn>
                <a:cxn ang="0">
                  <a:pos x="110" y="26"/>
                </a:cxn>
                <a:cxn ang="0">
                  <a:pos x="114" y="16"/>
                </a:cxn>
                <a:cxn ang="0">
                  <a:pos x="118" y="14"/>
                </a:cxn>
                <a:cxn ang="0">
                  <a:pos x="120" y="10"/>
                </a:cxn>
                <a:cxn ang="0">
                  <a:pos x="110" y="6"/>
                </a:cxn>
                <a:cxn ang="0">
                  <a:pos x="96" y="6"/>
                </a:cxn>
                <a:cxn ang="0">
                  <a:pos x="88" y="2"/>
                </a:cxn>
                <a:cxn ang="0">
                  <a:pos x="80" y="0"/>
                </a:cxn>
                <a:cxn ang="0">
                  <a:pos x="64" y="6"/>
                </a:cxn>
                <a:cxn ang="0">
                  <a:pos x="56" y="12"/>
                </a:cxn>
                <a:cxn ang="0">
                  <a:pos x="42" y="10"/>
                </a:cxn>
                <a:cxn ang="0">
                  <a:pos x="30" y="10"/>
                </a:cxn>
                <a:cxn ang="0">
                  <a:pos x="18" y="8"/>
                </a:cxn>
                <a:cxn ang="0">
                  <a:pos x="10" y="8"/>
                </a:cxn>
                <a:cxn ang="0">
                  <a:pos x="8" y="4"/>
                </a:cxn>
                <a:cxn ang="0">
                  <a:pos x="2" y="4"/>
                </a:cxn>
                <a:cxn ang="0">
                  <a:pos x="2" y="10"/>
                </a:cxn>
                <a:cxn ang="0">
                  <a:pos x="6" y="20"/>
                </a:cxn>
                <a:cxn ang="0">
                  <a:pos x="6" y="26"/>
                </a:cxn>
                <a:cxn ang="0">
                  <a:pos x="6" y="32"/>
                </a:cxn>
                <a:cxn ang="0">
                  <a:pos x="4" y="36"/>
                </a:cxn>
                <a:cxn ang="0">
                  <a:pos x="10" y="40"/>
                </a:cxn>
                <a:cxn ang="0">
                  <a:pos x="20" y="56"/>
                </a:cxn>
                <a:cxn ang="0">
                  <a:pos x="32" y="56"/>
                </a:cxn>
                <a:cxn ang="0">
                  <a:pos x="38" y="52"/>
                </a:cxn>
                <a:cxn ang="0">
                  <a:pos x="42" y="54"/>
                </a:cxn>
                <a:cxn ang="0">
                  <a:pos x="50" y="54"/>
                </a:cxn>
                <a:cxn ang="0">
                  <a:pos x="56" y="56"/>
                </a:cxn>
                <a:cxn ang="0">
                  <a:pos x="64" y="56"/>
                </a:cxn>
                <a:cxn ang="0">
                  <a:pos x="70" y="56"/>
                </a:cxn>
                <a:cxn ang="0">
                  <a:pos x="74" y="54"/>
                </a:cxn>
                <a:cxn ang="0">
                  <a:pos x="78" y="52"/>
                </a:cxn>
                <a:cxn ang="0">
                  <a:pos x="84" y="48"/>
                </a:cxn>
                <a:cxn ang="0">
                  <a:pos x="92" y="44"/>
                </a:cxn>
                <a:cxn ang="0">
                  <a:pos x="102" y="46"/>
                </a:cxn>
              </a:cxnLst>
              <a:rect l="0" t="0" r="r" b="b"/>
              <a:pathLst>
                <a:path w="120" h="56">
                  <a:moveTo>
                    <a:pt x="112" y="46"/>
                  </a:moveTo>
                  <a:lnTo>
                    <a:pt x="112" y="46"/>
                  </a:lnTo>
                  <a:lnTo>
                    <a:pt x="112" y="44"/>
                  </a:lnTo>
                  <a:lnTo>
                    <a:pt x="110" y="44"/>
                  </a:lnTo>
                  <a:lnTo>
                    <a:pt x="110" y="44"/>
                  </a:lnTo>
                  <a:lnTo>
                    <a:pt x="110" y="44"/>
                  </a:lnTo>
                  <a:lnTo>
                    <a:pt x="110" y="44"/>
                  </a:lnTo>
                  <a:lnTo>
                    <a:pt x="110" y="42"/>
                  </a:lnTo>
                  <a:lnTo>
                    <a:pt x="110" y="42"/>
                  </a:lnTo>
                  <a:lnTo>
                    <a:pt x="106" y="38"/>
                  </a:lnTo>
                  <a:lnTo>
                    <a:pt x="106" y="36"/>
                  </a:lnTo>
                  <a:lnTo>
                    <a:pt x="106" y="36"/>
                  </a:lnTo>
                  <a:lnTo>
                    <a:pt x="106" y="36"/>
                  </a:lnTo>
                  <a:lnTo>
                    <a:pt x="106" y="36"/>
                  </a:lnTo>
                  <a:lnTo>
                    <a:pt x="104" y="34"/>
                  </a:lnTo>
                  <a:lnTo>
                    <a:pt x="104" y="34"/>
                  </a:lnTo>
                  <a:lnTo>
                    <a:pt x="104" y="34"/>
                  </a:lnTo>
                  <a:lnTo>
                    <a:pt x="104" y="30"/>
                  </a:lnTo>
                  <a:lnTo>
                    <a:pt x="104" y="30"/>
                  </a:lnTo>
                  <a:lnTo>
                    <a:pt x="106" y="28"/>
                  </a:lnTo>
                  <a:lnTo>
                    <a:pt x="106" y="28"/>
                  </a:lnTo>
                  <a:lnTo>
                    <a:pt x="108" y="28"/>
                  </a:lnTo>
                  <a:lnTo>
                    <a:pt x="110" y="26"/>
                  </a:lnTo>
                  <a:lnTo>
                    <a:pt x="110" y="26"/>
                  </a:lnTo>
                  <a:lnTo>
                    <a:pt x="112" y="20"/>
                  </a:lnTo>
                  <a:lnTo>
                    <a:pt x="114" y="16"/>
                  </a:lnTo>
                  <a:lnTo>
                    <a:pt x="114" y="16"/>
                  </a:lnTo>
                  <a:lnTo>
                    <a:pt x="116" y="12"/>
                  </a:lnTo>
                  <a:lnTo>
                    <a:pt x="118" y="14"/>
                  </a:lnTo>
                  <a:lnTo>
                    <a:pt x="118" y="14"/>
                  </a:lnTo>
                  <a:lnTo>
                    <a:pt x="120" y="14"/>
                  </a:lnTo>
                  <a:lnTo>
                    <a:pt x="120" y="10"/>
                  </a:lnTo>
                  <a:lnTo>
                    <a:pt x="120" y="10"/>
                  </a:lnTo>
                  <a:lnTo>
                    <a:pt x="114" y="8"/>
                  </a:lnTo>
                  <a:lnTo>
                    <a:pt x="112" y="8"/>
                  </a:lnTo>
                  <a:lnTo>
                    <a:pt x="110" y="6"/>
                  </a:lnTo>
                  <a:lnTo>
                    <a:pt x="108" y="6"/>
                  </a:lnTo>
                  <a:lnTo>
                    <a:pt x="108" y="6"/>
                  </a:lnTo>
                  <a:lnTo>
                    <a:pt x="96" y="6"/>
                  </a:lnTo>
                  <a:lnTo>
                    <a:pt x="92" y="4"/>
                  </a:lnTo>
                  <a:lnTo>
                    <a:pt x="88" y="2"/>
                  </a:lnTo>
                  <a:lnTo>
                    <a:pt x="88" y="2"/>
                  </a:lnTo>
                  <a:lnTo>
                    <a:pt x="88" y="0"/>
                  </a:lnTo>
                  <a:lnTo>
                    <a:pt x="86" y="0"/>
                  </a:lnTo>
                  <a:lnTo>
                    <a:pt x="80" y="0"/>
                  </a:lnTo>
                  <a:lnTo>
                    <a:pt x="80" y="0"/>
                  </a:lnTo>
                  <a:lnTo>
                    <a:pt x="70" y="4"/>
                  </a:lnTo>
                  <a:lnTo>
                    <a:pt x="64" y="6"/>
                  </a:lnTo>
                  <a:lnTo>
                    <a:pt x="60" y="10"/>
                  </a:lnTo>
                  <a:lnTo>
                    <a:pt x="60" y="10"/>
                  </a:lnTo>
                  <a:lnTo>
                    <a:pt x="56" y="12"/>
                  </a:lnTo>
                  <a:lnTo>
                    <a:pt x="50" y="12"/>
                  </a:lnTo>
                  <a:lnTo>
                    <a:pt x="50" y="12"/>
                  </a:lnTo>
                  <a:lnTo>
                    <a:pt x="42" y="10"/>
                  </a:lnTo>
                  <a:lnTo>
                    <a:pt x="36" y="10"/>
                  </a:lnTo>
                  <a:lnTo>
                    <a:pt x="36" y="10"/>
                  </a:lnTo>
                  <a:lnTo>
                    <a:pt x="30" y="10"/>
                  </a:lnTo>
                  <a:lnTo>
                    <a:pt x="24" y="10"/>
                  </a:lnTo>
                  <a:lnTo>
                    <a:pt x="24" y="10"/>
                  </a:lnTo>
                  <a:lnTo>
                    <a:pt x="18" y="8"/>
                  </a:lnTo>
                  <a:lnTo>
                    <a:pt x="14" y="8"/>
                  </a:lnTo>
                  <a:lnTo>
                    <a:pt x="14" y="8"/>
                  </a:lnTo>
                  <a:lnTo>
                    <a:pt x="10" y="8"/>
                  </a:lnTo>
                  <a:lnTo>
                    <a:pt x="8" y="4"/>
                  </a:lnTo>
                  <a:lnTo>
                    <a:pt x="8" y="4"/>
                  </a:lnTo>
                  <a:lnTo>
                    <a:pt x="8" y="4"/>
                  </a:lnTo>
                  <a:lnTo>
                    <a:pt x="4" y="2"/>
                  </a:lnTo>
                  <a:lnTo>
                    <a:pt x="4" y="2"/>
                  </a:lnTo>
                  <a:lnTo>
                    <a:pt x="2" y="4"/>
                  </a:lnTo>
                  <a:lnTo>
                    <a:pt x="0" y="6"/>
                  </a:lnTo>
                  <a:lnTo>
                    <a:pt x="2" y="10"/>
                  </a:lnTo>
                  <a:lnTo>
                    <a:pt x="2" y="10"/>
                  </a:lnTo>
                  <a:lnTo>
                    <a:pt x="4" y="16"/>
                  </a:lnTo>
                  <a:lnTo>
                    <a:pt x="6" y="20"/>
                  </a:lnTo>
                  <a:lnTo>
                    <a:pt x="6" y="20"/>
                  </a:lnTo>
                  <a:lnTo>
                    <a:pt x="8" y="24"/>
                  </a:lnTo>
                  <a:lnTo>
                    <a:pt x="6" y="26"/>
                  </a:lnTo>
                  <a:lnTo>
                    <a:pt x="6" y="26"/>
                  </a:lnTo>
                  <a:lnTo>
                    <a:pt x="4" y="28"/>
                  </a:lnTo>
                  <a:lnTo>
                    <a:pt x="6" y="30"/>
                  </a:lnTo>
                  <a:lnTo>
                    <a:pt x="6" y="32"/>
                  </a:lnTo>
                  <a:lnTo>
                    <a:pt x="6" y="34"/>
                  </a:lnTo>
                  <a:lnTo>
                    <a:pt x="6" y="34"/>
                  </a:lnTo>
                  <a:lnTo>
                    <a:pt x="4" y="36"/>
                  </a:lnTo>
                  <a:lnTo>
                    <a:pt x="6" y="38"/>
                  </a:lnTo>
                  <a:lnTo>
                    <a:pt x="10" y="40"/>
                  </a:lnTo>
                  <a:lnTo>
                    <a:pt x="10" y="40"/>
                  </a:lnTo>
                  <a:lnTo>
                    <a:pt x="18" y="46"/>
                  </a:lnTo>
                  <a:lnTo>
                    <a:pt x="20" y="52"/>
                  </a:lnTo>
                  <a:lnTo>
                    <a:pt x="20" y="56"/>
                  </a:lnTo>
                  <a:lnTo>
                    <a:pt x="20" y="56"/>
                  </a:lnTo>
                  <a:lnTo>
                    <a:pt x="28" y="56"/>
                  </a:lnTo>
                  <a:lnTo>
                    <a:pt x="32" y="56"/>
                  </a:lnTo>
                  <a:lnTo>
                    <a:pt x="34" y="56"/>
                  </a:lnTo>
                  <a:lnTo>
                    <a:pt x="34" y="56"/>
                  </a:lnTo>
                  <a:lnTo>
                    <a:pt x="38" y="52"/>
                  </a:lnTo>
                  <a:lnTo>
                    <a:pt x="40" y="52"/>
                  </a:lnTo>
                  <a:lnTo>
                    <a:pt x="42" y="54"/>
                  </a:lnTo>
                  <a:lnTo>
                    <a:pt x="42" y="54"/>
                  </a:lnTo>
                  <a:lnTo>
                    <a:pt x="46" y="54"/>
                  </a:lnTo>
                  <a:lnTo>
                    <a:pt x="50" y="54"/>
                  </a:lnTo>
                  <a:lnTo>
                    <a:pt x="50" y="54"/>
                  </a:lnTo>
                  <a:lnTo>
                    <a:pt x="54" y="56"/>
                  </a:lnTo>
                  <a:lnTo>
                    <a:pt x="56" y="56"/>
                  </a:lnTo>
                  <a:lnTo>
                    <a:pt x="56" y="56"/>
                  </a:lnTo>
                  <a:lnTo>
                    <a:pt x="62" y="56"/>
                  </a:lnTo>
                  <a:lnTo>
                    <a:pt x="64" y="56"/>
                  </a:lnTo>
                  <a:lnTo>
                    <a:pt x="64" y="56"/>
                  </a:lnTo>
                  <a:lnTo>
                    <a:pt x="64" y="56"/>
                  </a:lnTo>
                  <a:lnTo>
                    <a:pt x="66" y="54"/>
                  </a:lnTo>
                  <a:lnTo>
                    <a:pt x="70" y="56"/>
                  </a:lnTo>
                  <a:lnTo>
                    <a:pt x="74" y="56"/>
                  </a:lnTo>
                  <a:lnTo>
                    <a:pt x="74" y="54"/>
                  </a:lnTo>
                  <a:lnTo>
                    <a:pt x="74" y="54"/>
                  </a:lnTo>
                  <a:lnTo>
                    <a:pt x="74" y="54"/>
                  </a:lnTo>
                  <a:lnTo>
                    <a:pt x="74" y="50"/>
                  </a:lnTo>
                  <a:lnTo>
                    <a:pt x="78" y="52"/>
                  </a:lnTo>
                  <a:lnTo>
                    <a:pt x="78" y="52"/>
                  </a:lnTo>
                  <a:lnTo>
                    <a:pt x="80" y="48"/>
                  </a:lnTo>
                  <a:lnTo>
                    <a:pt x="84" y="48"/>
                  </a:lnTo>
                  <a:lnTo>
                    <a:pt x="84" y="48"/>
                  </a:lnTo>
                  <a:lnTo>
                    <a:pt x="88" y="44"/>
                  </a:lnTo>
                  <a:lnTo>
                    <a:pt x="92" y="44"/>
                  </a:lnTo>
                  <a:lnTo>
                    <a:pt x="94" y="44"/>
                  </a:lnTo>
                  <a:lnTo>
                    <a:pt x="94" y="44"/>
                  </a:lnTo>
                  <a:lnTo>
                    <a:pt x="102" y="46"/>
                  </a:lnTo>
                  <a:lnTo>
                    <a:pt x="112" y="46"/>
                  </a:lnTo>
                  <a:lnTo>
                    <a:pt x="112" y="46"/>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Cambodia"/>
            <p:cNvSpPr>
              <a:spLocks/>
            </p:cNvSpPr>
            <p:nvPr/>
          </p:nvSpPr>
          <p:spPr bwMode="auto">
            <a:xfrm>
              <a:off x="6978351" y="3118115"/>
              <a:ext cx="161396" cy="153458"/>
            </a:xfrm>
            <a:custGeom>
              <a:avLst/>
              <a:gdLst/>
              <a:ahLst/>
              <a:cxnLst>
                <a:cxn ang="0">
                  <a:pos x="50" y="114"/>
                </a:cxn>
                <a:cxn ang="0">
                  <a:pos x="46" y="116"/>
                </a:cxn>
                <a:cxn ang="0">
                  <a:pos x="46" y="112"/>
                </a:cxn>
                <a:cxn ang="0">
                  <a:pos x="42" y="106"/>
                </a:cxn>
                <a:cxn ang="0">
                  <a:pos x="34" y="108"/>
                </a:cxn>
                <a:cxn ang="0">
                  <a:pos x="32" y="108"/>
                </a:cxn>
                <a:cxn ang="0">
                  <a:pos x="26" y="106"/>
                </a:cxn>
                <a:cxn ang="0">
                  <a:pos x="28" y="102"/>
                </a:cxn>
                <a:cxn ang="0">
                  <a:pos x="30" y="102"/>
                </a:cxn>
                <a:cxn ang="0">
                  <a:pos x="32" y="96"/>
                </a:cxn>
                <a:cxn ang="0">
                  <a:pos x="26" y="90"/>
                </a:cxn>
                <a:cxn ang="0">
                  <a:pos x="24" y="92"/>
                </a:cxn>
                <a:cxn ang="0">
                  <a:pos x="24" y="96"/>
                </a:cxn>
                <a:cxn ang="0">
                  <a:pos x="22" y="98"/>
                </a:cxn>
                <a:cxn ang="0">
                  <a:pos x="18" y="96"/>
                </a:cxn>
                <a:cxn ang="0">
                  <a:pos x="18" y="88"/>
                </a:cxn>
                <a:cxn ang="0">
                  <a:pos x="18" y="72"/>
                </a:cxn>
                <a:cxn ang="0">
                  <a:pos x="10" y="60"/>
                </a:cxn>
                <a:cxn ang="0">
                  <a:pos x="0" y="44"/>
                </a:cxn>
                <a:cxn ang="0">
                  <a:pos x="0" y="40"/>
                </a:cxn>
                <a:cxn ang="0">
                  <a:pos x="16" y="18"/>
                </a:cxn>
                <a:cxn ang="0">
                  <a:pos x="20" y="16"/>
                </a:cxn>
                <a:cxn ang="0">
                  <a:pos x="28" y="18"/>
                </a:cxn>
                <a:cxn ang="0">
                  <a:pos x="30" y="16"/>
                </a:cxn>
                <a:cxn ang="0">
                  <a:pos x="36" y="16"/>
                </a:cxn>
                <a:cxn ang="0">
                  <a:pos x="40" y="16"/>
                </a:cxn>
                <a:cxn ang="0">
                  <a:pos x="44" y="16"/>
                </a:cxn>
                <a:cxn ang="0">
                  <a:pos x="52" y="16"/>
                </a:cxn>
                <a:cxn ang="0">
                  <a:pos x="60" y="12"/>
                </a:cxn>
                <a:cxn ang="0">
                  <a:pos x="78" y="16"/>
                </a:cxn>
                <a:cxn ang="0">
                  <a:pos x="82" y="22"/>
                </a:cxn>
                <a:cxn ang="0">
                  <a:pos x="84" y="20"/>
                </a:cxn>
                <a:cxn ang="0">
                  <a:pos x="84" y="12"/>
                </a:cxn>
                <a:cxn ang="0">
                  <a:pos x="84" y="2"/>
                </a:cxn>
                <a:cxn ang="0">
                  <a:pos x="86" y="0"/>
                </a:cxn>
                <a:cxn ang="0">
                  <a:pos x="92" y="2"/>
                </a:cxn>
                <a:cxn ang="0">
                  <a:pos x="110" y="16"/>
                </a:cxn>
                <a:cxn ang="0">
                  <a:pos x="122" y="22"/>
                </a:cxn>
                <a:cxn ang="0">
                  <a:pos x="120" y="30"/>
                </a:cxn>
                <a:cxn ang="0">
                  <a:pos x="114" y="50"/>
                </a:cxn>
                <a:cxn ang="0">
                  <a:pos x="116" y="60"/>
                </a:cxn>
                <a:cxn ang="0">
                  <a:pos x="122" y="66"/>
                </a:cxn>
                <a:cxn ang="0">
                  <a:pos x="116" y="74"/>
                </a:cxn>
                <a:cxn ang="0">
                  <a:pos x="110" y="74"/>
                </a:cxn>
                <a:cxn ang="0">
                  <a:pos x="102" y="74"/>
                </a:cxn>
                <a:cxn ang="0">
                  <a:pos x="94" y="82"/>
                </a:cxn>
                <a:cxn ang="0">
                  <a:pos x="82" y="90"/>
                </a:cxn>
                <a:cxn ang="0">
                  <a:pos x="76" y="90"/>
                </a:cxn>
                <a:cxn ang="0">
                  <a:pos x="76" y="92"/>
                </a:cxn>
                <a:cxn ang="0">
                  <a:pos x="82" y="98"/>
                </a:cxn>
                <a:cxn ang="0">
                  <a:pos x="88" y="104"/>
                </a:cxn>
                <a:cxn ang="0">
                  <a:pos x="88" y="106"/>
                </a:cxn>
                <a:cxn ang="0">
                  <a:pos x="84" y="106"/>
                </a:cxn>
                <a:cxn ang="0">
                  <a:pos x="78" y="100"/>
                </a:cxn>
                <a:cxn ang="0">
                  <a:pos x="72" y="102"/>
                </a:cxn>
                <a:cxn ang="0">
                  <a:pos x="62" y="106"/>
                </a:cxn>
                <a:cxn ang="0">
                  <a:pos x="54" y="110"/>
                </a:cxn>
                <a:cxn ang="0">
                  <a:pos x="50" y="114"/>
                </a:cxn>
              </a:cxnLst>
              <a:rect l="0" t="0" r="r" b="b"/>
              <a:pathLst>
                <a:path w="122" h="116">
                  <a:moveTo>
                    <a:pt x="50" y="114"/>
                  </a:moveTo>
                  <a:lnTo>
                    <a:pt x="50" y="114"/>
                  </a:lnTo>
                  <a:lnTo>
                    <a:pt x="48" y="116"/>
                  </a:lnTo>
                  <a:lnTo>
                    <a:pt x="46" y="116"/>
                  </a:lnTo>
                  <a:lnTo>
                    <a:pt x="46" y="112"/>
                  </a:lnTo>
                  <a:lnTo>
                    <a:pt x="46" y="112"/>
                  </a:lnTo>
                  <a:lnTo>
                    <a:pt x="44" y="108"/>
                  </a:lnTo>
                  <a:lnTo>
                    <a:pt x="42" y="106"/>
                  </a:lnTo>
                  <a:lnTo>
                    <a:pt x="38" y="106"/>
                  </a:lnTo>
                  <a:lnTo>
                    <a:pt x="34" y="108"/>
                  </a:lnTo>
                  <a:lnTo>
                    <a:pt x="34" y="108"/>
                  </a:lnTo>
                  <a:lnTo>
                    <a:pt x="32" y="108"/>
                  </a:lnTo>
                  <a:lnTo>
                    <a:pt x="30" y="108"/>
                  </a:lnTo>
                  <a:lnTo>
                    <a:pt x="26" y="106"/>
                  </a:lnTo>
                  <a:lnTo>
                    <a:pt x="26" y="102"/>
                  </a:lnTo>
                  <a:lnTo>
                    <a:pt x="28" y="102"/>
                  </a:lnTo>
                  <a:lnTo>
                    <a:pt x="30" y="102"/>
                  </a:lnTo>
                  <a:lnTo>
                    <a:pt x="30" y="102"/>
                  </a:lnTo>
                  <a:lnTo>
                    <a:pt x="32" y="100"/>
                  </a:lnTo>
                  <a:lnTo>
                    <a:pt x="32" y="96"/>
                  </a:lnTo>
                  <a:lnTo>
                    <a:pt x="30" y="92"/>
                  </a:lnTo>
                  <a:lnTo>
                    <a:pt x="26" y="90"/>
                  </a:lnTo>
                  <a:lnTo>
                    <a:pt x="26" y="90"/>
                  </a:lnTo>
                  <a:lnTo>
                    <a:pt x="24" y="92"/>
                  </a:lnTo>
                  <a:lnTo>
                    <a:pt x="24" y="94"/>
                  </a:lnTo>
                  <a:lnTo>
                    <a:pt x="24" y="96"/>
                  </a:lnTo>
                  <a:lnTo>
                    <a:pt x="22" y="98"/>
                  </a:lnTo>
                  <a:lnTo>
                    <a:pt x="22" y="98"/>
                  </a:lnTo>
                  <a:lnTo>
                    <a:pt x="18" y="98"/>
                  </a:lnTo>
                  <a:lnTo>
                    <a:pt x="18" y="96"/>
                  </a:lnTo>
                  <a:lnTo>
                    <a:pt x="18" y="88"/>
                  </a:lnTo>
                  <a:lnTo>
                    <a:pt x="18" y="88"/>
                  </a:lnTo>
                  <a:lnTo>
                    <a:pt x="20" y="80"/>
                  </a:lnTo>
                  <a:lnTo>
                    <a:pt x="18" y="72"/>
                  </a:lnTo>
                  <a:lnTo>
                    <a:pt x="16" y="66"/>
                  </a:lnTo>
                  <a:lnTo>
                    <a:pt x="10" y="60"/>
                  </a:lnTo>
                  <a:lnTo>
                    <a:pt x="2" y="50"/>
                  </a:lnTo>
                  <a:lnTo>
                    <a:pt x="0" y="44"/>
                  </a:lnTo>
                  <a:lnTo>
                    <a:pt x="0" y="40"/>
                  </a:lnTo>
                  <a:lnTo>
                    <a:pt x="0" y="40"/>
                  </a:lnTo>
                  <a:lnTo>
                    <a:pt x="10" y="28"/>
                  </a:lnTo>
                  <a:lnTo>
                    <a:pt x="16" y="18"/>
                  </a:lnTo>
                  <a:lnTo>
                    <a:pt x="16" y="18"/>
                  </a:lnTo>
                  <a:lnTo>
                    <a:pt x="20" y="16"/>
                  </a:lnTo>
                  <a:lnTo>
                    <a:pt x="24" y="16"/>
                  </a:lnTo>
                  <a:lnTo>
                    <a:pt x="28" y="18"/>
                  </a:lnTo>
                  <a:lnTo>
                    <a:pt x="30" y="16"/>
                  </a:lnTo>
                  <a:lnTo>
                    <a:pt x="30" y="16"/>
                  </a:lnTo>
                  <a:lnTo>
                    <a:pt x="34" y="16"/>
                  </a:lnTo>
                  <a:lnTo>
                    <a:pt x="36" y="16"/>
                  </a:lnTo>
                  <a:lnTo>
                    <a:pt x="38" y="18"/>
                  </a:lnTo>
                  <a:lnTo>
                    <a:pt x="40" y="16"/>
                  </a:lnTo>
                  <a:lnTo>
                    <a:pt x="40" y="16"/>
                  </a:lnTo>
                  <a:lnTo>
                    <a:pt x="44" y="16"/>
                  </a:lnTo>
                  <a:lnTo>
                    <a:pt x="46" y="16"/>
                  </a:lnTo>
                  <a:lnTo>
                    <a:pt x="52" y="16"/>
                  </a:lnTo>
                  <a:lnTo>
                    <a:pt x="60" y="12"/>
                  </a:lnTo>
                  <a:lnTo>
                    <a:pt x="60" y="12"/>
                  </a:lnTo>
                  <a:lnTo>
                    <a:pt x="74" y="14"/>
                  </a:lnTo>
                  <a:lnTo>
                    <a:pt x="78" y="16"/>
                  </a:lnTo>
                  <a:lnTo>
                    <a:pt x="80" y="20"/>
                  </a:lnTo>
                  <a:lnTo>
                    <a:pt x="82" y="22"/>
                  </a:lnTo>
                  <a:lnTo>
                    <a:pt x="82" y="22"/>
                  </a:lnTo>
                  <a:lnTo>
                    <a:pt x="84" y="20"/>
                  </a:lnTo>
                  <a:lnTo>
                    <a:pt x="84" y="18"/>
                  </a:lnTo>
                  <a:lnTo>
                    <a:pt x="84" y="12"/>
                  </a:lnTo>
                  <a:lnTo>
                    <a:pt x="82" y="6"/>
                  </a:lnTo>
                  <a:lnTo>
                    <a:pt x="84" y="2"/>
                  </a:lnTo>
                  <a:lnTo>
                    <a:pt x="86" y="0"/>
                  </a:lnTo>
                  <a:lnTo>
                    <a:pt x="86" y="0"/>
                  </a:lnTo>
                  <a:lnTo>
                    <a:pt x="88" y="0"/>
                  </a:lnTo>
                  <a:lnTo>
                    <a:pt x="92" y="2"/>
                  </a:lnTo>
                  <a:lnTo>
                    <a:pt x="100" y="8"/>
                  </a:lnTo>
                  <a:lnTo>
                    <a:pt x="110" y="16"/>
                  </a:lnTo>
                  <a:lnTo>
                    <a:pt x="116" y="20"/>
                  </a:lnTo>
                  <a:lnTo>
                    <a:pt x="122" y="22"/>
                  </a:lnTo>
                  <a:lnTo>
                    <a:pt x="122" y="22"/>
                  </a:lnTo>
                  <a:lnTo>
                    <a:pt x="120" y="30"/>
                  </a:lnTo>
                  <a:lnTo>
                    <a:pt x="116" y="40"/>
                  </a:lnTo>
                  <a:lnTo>
                    <a:pt x="114" y="50"/>
                  </a:lnTo>
                  <a:lnTo>
                    <a:pt x="114" y="56"/>
                  </a:lnTo>
                  <a:lnTo>
                    <a:pt x="116" y="60"/>
                  </a:lnTo>
                  <a:lnTo>
                    <a:pt x="116" y="60"/>
                  </a:lnTo>
                  <a:lnTo>
                    <a:pt x="122" y="66"/>
                  </a:lnTo>
                  <a:lnTo>
                    <a:pt x="120" y="72"/>
                  </a:lnTo>
                  <a:lnTo>
                    <a:pt x="116" y="74"/>
                  </a:lnTo>
                  <a:lnTo>
                    <a:pt x="110" y="74"/>
                  </a:lnTo>
                  <a:lnTo>
                    <a:pt x="110" y="74"/>
                  </a:lnTo>
                  <a:lnTo>
                    <a:pt x="106" y="72"/>
                  </a:lnTo>
                  <a:lnTo>
                    <a:pt x="102" y="74"/>
                  </a:lnTo>
                  <a:lnTo>
                    <a:pt x="94" y="82"/>
                  </a:lnTo>
                  <a:lnTo>
                    <a:pt x="94" y="82"/>
                  </a:lnTo>
                  <a:lnTo>
                    <a:pt x="86" y="88"/>
                  </a:lnTo>
                  <a:lnTo>
                    <a:pt x="82" y="90"/>
                  </a:lnTo>
                  <a:lnTo>
                    <a:pt x="80" y="88"/>
                  </a:lnTo>
                  <a:lnTo>
                    <a:pt x="76" y="90"/>
                  </a:lnTo>
                  <a:lnTo>
                    <a:pt x="76" y="90"/>
                  </a:lnTo>
                  <a:lnTo>
                    <a:pt x="76" y="92"/>
                  </a:lnTo>
                  <a:lnTo>
                    <a:pt x="78" y="94"/>
                  </a:lnTo>
                  <a:lnTo>
                    <a:pt x="82" y="98"/>
                  </a:lnTo>
                  <a:lnTo>
                    <a:pt x="88" y="102"/>
                  </a:lnTo>
                  <a:lnTo>
                    <a:pt x="88" y="104"/>
                  </a:lnTo>
                  <a:lnTo>
                    <a:pt x="88" y="106"/>
                  </a:lnTo>
                  <a:lnTo>
                    <a:pt x="88" y="106"/>
                  </a:lnTo>
                  <a:lnTo>
                    <a:pt x="86" y="106"/>
                  </a:lnTo>
                  <a:lnTo>
                    <a:pt x="84" y="106"/>
                  </a:lnTo>
                  <a:lnTo>
                    <a:pt x="82" y="102"/>
                  </a:lnTo>
                  <a:lnTo>
                    <a:pt x="78" y="100"/>
                  </a:lnTo>
                  <a:lnTo>
                    <a:pt x="74" y="100"/>
                  </a:lnTo>
                  <a:lnTo>
                    <a:pt x="72" y="102"/>
                  </a:lnTo>
                  <a:lnTo>
                    <a:pt x="72" y="102"/>
                  </a:lnTo>
                  <a:lnTo>
                    <a:pt x="62" y="106"/>
                  </a:lnTo>
                  <a:lnTo>
                    <a:pt x="56" y="108"/>
                  </a:lnTo>
                  <a:lnTo>
                    <a:pt x="54" y="110"/>
                  </a:lnTo>
                  <a:lnTo>
                    <a:pt x="50" y="114"/>
                  </a:lnTo>
                  <a:lnTo>
                    <a:pt x="50" y="114"/>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Canada"/>
            <p:cNvSpPr>
              <a:spLocks/>
            </p:cNvSpPr>
            <p:nvPr/>
          </p:nvSpPr>
          <p:spPr bwMode="auto">
            <a:xfrm>
              <a:off x="1054330" y="1562365"/>
              <a:ext cx="1791229" cy="701146"/>
            </a:xfrm>
            <a:custGeom>
              <a:avLst/>
              <a:gdLst/>
              <a:ahLst/>
              <a:cxnLst/>
              <a:rect l="l" t="t" r="r" b="b"/>
              <a:pathLst>
                <a:path w="1791229" h="701146">
                  <a:moveTo>
                    <a:pt x="973667" y="518584"/>
                  </a:moveTo>
                  <a:lnTo>
                    <a:pt x="973667" y="518584"/>
                  </a:lnTo>
                  <a:lnTo>
                    <a:pt x="968375" y="521229"/>
                  </a:lnTo>
                  <a:close/>
                  <a:moveTo>
                    <a:pt x="63500" y="457729"/>
                  </a:moveTo>
                  <a:lnTo>
                    <a:pt x="68792" y="457729"/>
                  </a:lnTo>
                  <a:lnTo>
                    <a:pt x="74084" y="460375"/>
                  </a:lnTo>
                  <a:lnTo>
                    <a:pt x="76729" y="463021"/>
                  </a:lnTo>
                  <a:lnTo>
                    <a:pt x="76729" y="465667"/>
                  </a:lnTo>
                  <a:lnTo>
                    <a:pt x="79375" y="468312"/>
                  </a:lnTo>
                  <a:lnTo>
                    <a:pt x="89959" y="468312"/>
                  </a:lnTo>
                  <a:lnTo>
                    <a:pt x="92604" y="468312"/>
                  </a:lnTo>
                  <a:lnTo>
                    <a:pt x="97896" y="470958"/>
                  </a:lnTo>
                  <a:lnTo>
                    <a:pt x="103188" y="476250"/>
                  </a:lnTo>
                  <a:lnTo>
                    <a:pt x="105834" y="476250"/>
                  </a:lnTo>
                  <a:lnTo>
                    <a:pt x="111125" y="478896"/>
                  </a:lnTo>
                  <a:lnTo>
                    <a:pt x="111125" y="484188"/>
                  </a:lnTo>
                  <a:lnTo>
                    <a:pt x="113771" y="489479"/>
                  </a:lnTo>
                  <a:lnTo>
                    <a:pt x="116417" y="492125"/>
                  </a:lnTo>
                  <a:lnTo>
                    <a:pt x="113771" y="494771"/>
                  </a:lnTo>
                  <a:lnTo>
                    <a:pt x="113771" y="497417"/>
                  </a:lnTo>
                  <a:lnTo>
                    <a:pt x="116417" y="500063"/>
                  </a:lnTo>
                  <a:lnTo>
                    <a:pt x="121709" y="502708"/>
                  </a:lnTo>
                  <a:lnTo>
                    <a:pt x="124354" y="505354"/>
                  </a:lnTo>
                  <a:lnTo>
                    <a:pt x="124354" y="508000"/>
                  </a:lnTo>
                  <a:lnTo>
                    <a:pt x="129646" y="518584"/>
                  </a:lnTo>
                  <a:lnTo>
                    <a:pt x="129646" y="523875"/>
                  </a:lnTo>
                  <a:lnTo>
                    <a:pt x="129646" y="526521"/>
                  </a:lnTo>
                  <a:lnTo>
                    <a:pt x="116417" y="526521"/>
                  </a:lnTo>
                  <a:lnTo>
                    <a:pt x="108479" y="526521"/>
                  </a:lnTo>
                  <a:lnTo>
                    <a:pt x="100542" y="523875"/>
                  </a:lnTo>
                  <a:lnTo>
                    <a:pt x="89959" y="518584"/>
                  </a:lnTo>
                  <a:lnTo>
                    <a:pt x="87313" y="515938"/>
                  </a:lnTo>
                  <a:lnTo>
                    <a:pt x="87313" y="513292"/>
                  </a:lnTo>
                  <a:lnTo>
                    <a:pt x="89959" y="510646"/>
                  </a:lnTo>
                  <a:lnTo>
                    <a:pt x="84667" y="510646"/>
                  </a:lnTo>
                  <a:lnTo>
                    <a:pt x="79375" y="510646"/>
                  </a:lnTo>
                  <a:lnTo>
                    <a:pt x="74084" y="505354"/>
                  </a:lnTo>
                  <a:lnTo>
                    <a:pt x="74084" y="500063"/>
                  </a:lnTo>
                  <a:lnTo>
                    <a:pt x="71438" y="494771"/>
                  </a:lnTo>
                  <a:lnTo>
                    <a:pt x="66146" y="492125"/>
                  </a:lnTo>
                  <a:lnTo>
                    <a:pt x="63500" y="489479"/>
                  </a:lnTo>
                  <a:lnTo>
                    <a:pt x="63500" y="486833"/>
                  </a:lnTo>
                  <a:lnTo>
                    <a:pt x="60854" y="484188"/>
                  </a:lnTo>
                  <a:lnTo>
                    <a:pt x="58209" y="481542"/>
                  </a:lnTo>
                  <a:lnTo>
                    <a:pt x="58209" y="478896"/>
                  </a:lnTo>
                  <a:lnTo>
                    <a:pt x="55563" y="478896"/>
                  </a:lnTo>
                  <a:lnTo>
                    <a:pt x="52917" y="478896"/>
                  </a:lnTo>
                  <a:lnTo>
                    <a:pt x="50271" y="478896"/>
                  </a:lnTo>
                  <a:lnTo>
                    <a:pt x="50271" y="476250"/>
                  </a:lnTo>
                  <a:lnTo>
                    <a:pt x="55563" y="473604"/>
                  </a:lnTo>
                  <a:lnTo>
                    <a:pt x="55563" y="468312"/>
                  </a:lnTo>
                  <a:lnTo>
                    <a:pt x="55563" y="465667"/>
                  </a:lnTo>
                  <a:lnTo>
                    <a:pt x="52917" y="463021"/>
                  </a:lnTo>
                  <a:lnTo>
                    <a:pt x="52917" y="460375"/>
                  </a:lnTo>
                  <a:close/>
                  <a:moveTo>
                    <a:pt x="1270000" y="0"/>
                  </a:moveTo>
                  <a:lnTo>
                    <a:pt x="1277938" y="2646"/>
                  </a:lnTo>
                  <a:lnTo>
                    <a:pt x="1285875" y="7937"/>
                  </a:lnTo>
                  <a:lnTo>
                    <a:pt x="1285875" y="10583"/>
                  </a:lnTo>
                  <a:lnTo>
                    <a:pt x="1285875" y="13229"/>
                  </a:lnTo>
                  <a:lnTo>
                    <a:pt x="1283229" y="15875"/>
                  </a:lnTo>
                  <a:lnTo>
                    <a:pt x="1285875" y="18521"/>
                  </a:lnTo>
                  <a:lnTo>
                    <a:pt x="1291167" y="23812"/>
                  </a:lnTo>
                  <a:lnTo>
                    <a:pt x="1293813" y="26458"/>
                  </a:lnTo>
                  <a:lnTo>
                    <a:pt x="1293813" y="29104"/>
                  </a:lnTo>
                  <a:lnTo>
                    <a:pt x="1293813" y="31750"/>
                  </a:lnTo>
                  <a:lnTo>
                    <a:pt x="1285875" y="31750"/>
                  </a:lnTo>
                  <a:lnTo>
                    <a:pt x="1283229" y="31750"/>
                  </a:lnTo>
                  <a:lnTo>
                    <a:pt x="1283229" y="29104"/>
                  </a:lnTo>
                  <a:lnTo>
                    <a:pt x="1277938" y="29104"/>
                  </a:lnTo>
                  <a:lnTo>
                    <a:pt x="1275292" y="31750"/>
                  </a:lnTo>
                  <a:lnTo>
                    <a:pt x="1277938" y="34396"/>
                  </a:lnTo>
                  <a:lnTo>
                    <a:pt x="1277938" y="37042"/>
                  </a:lnTo>
                  <a:lnTo>
                    <a:pt x="1277938" y="39687"/>
                  </a:lnTo>
                  <a:lnTo>
                    <a:pt x="1275292" y="42333"/>
                  </a:lnTo>
                  <a:lnTo>
                    <a:pt x="1270000" y="44979"/>
                  </a:lnTo>
                  <a:lnTo>
                    <a:pt x="1277938" y="44979"/>
                  </a:lnTo>
                  <a:lnTo>
                    <a:pt x="1285875" y="47625"/>
                  </a:lnTo>
                  <a:lnTo>
                    <a:pt x="1285875" y="50271"/>
                  </a:lnTo>
                  <a:lnTo>
                    <a:pt x="1285875" y="52917"/>
                  </a:lnTo>
                  <a:lnTo>
                    <a:pt x="1277938" y="60854"/>
                  </a:lnTo>
                  <a:lnTo>
                    <a:pt x="1293813" y="60854"/>
                  </a:lnTo>
                  <a:lnTo>
                    <a:pt x="1299104" y="58208"/>
                  </a:lnTo>
                  <a:lnTo>
                    <a:pt x="1307042" y="52917"/>
                  </a:lnTo>
                  <a:lnTo>
                    <a:pt x="1312333" y="50271"/>
                  </a:lnTo>
                  <a:lnTo>
                    <a:pt x="1314979" y="50271"/>
                  </a:lnTo>
                  <a:lnTo>
                    <a:pt x="1322917" y="52917"/>
                  </a:lnTo>
                  <a:lnTo>
                    <a:pt x="1325563" y="55562"/>
                  </a:lnTo>
                  <a:lnTo>
                    <a:pt x="1328208" y="58208"/>
                  </a:lnTo>
                  <a:lnTo>
                    <a:pt x="1328208" y="63500"/>
                  </a:lnTo>
                  <a:lnTo>
                    <a:pt x="1322917" y="66146"/>
                  </a:lnTo>
                  <a:lnTo>
                    <a:pt x="1317625" y="71437"/>
                  </a:lnTo>
                  <a:lnTo>
                    <a:pt x="1317625" y="76729"/>
                  </a:lnTo>
                  <a:lnTo>
                    <a:pt x="1320271" y="82021"/>
                  </a:lnTo>
                  <a:lnTo>
                    <a:pt x="1320271" y="87312"/>
                  </a:lnTo>
                  <a:lnTo>
                    <a:pt x="1338792" y="76729"/>
                  </a:lnTo>
                  <a:lnTo>
                    <a:pt x="1352021" y="71437"/>
                  </a:lnTo>
                  <a:lnTo>
                    <a:pt x="1362604" y="68792"/>
                  </a:lnTo>
                  <a:lnTo>
                    <a:pt x="1370542" y="63500"/>
                  </a:lnTo>
                  <a:lnTo>
                    <a:pt x="1381125" y="58208"/>
                  </a:lnTo>
                  <a:lnTo>
                    <a:pt x="1391708" y="55562"/>
                  </a:lnTo>
                  <a:lnTo>
                    <a:pt x="1386417" y="52917"/>
                  </a:lnTo>
                  <a:lnTo>
                    <a:pt x="1383771" y="50271"/>
                  </a:lnTo>
                  <a:lnTo>
                    <a:pt x="1386417" y="47625"/>
                  </a:lnTo>
                  <a:lnTo>
                    <a:pt x="1389063" y="44979"/>
                  </a:lnTo>
                  <a:lnTo>
                    <a:pt x="1399646" y="39687"/>
                  </a:lnTo>
                  <a:lnTo>
                    <a:pt x="1407583" y="39687"/>
                  </a:lnTo>
                  <a:lnTo>
                    <a:pt x="1412875" y="39687"/>
                  </a:lnTo>
                  <a:lnTo>
                    <a:pt x="1423458" y="42333"/>
                  </a:lnTo>
                  <a:lnTo>
                    <a:pt x="1434042" y="44979"/>
                  </a:lnTo>
                  <a:lnTo>
                    <a:pt x="1441979" y="44979"/>
                  </a:lnTo>
                  <a:lnTo>
                    <a:pt x="1447271" y="47625"/>
                  </a:lnTo>
                  <a:lnTo>
                    <a:pt x="1463146" y="55562"/>
                  </a:lnTo>
                  <a:lnTo>
                    <a:pt x="1465792" y="58208"/>
                  </a:lnTo>
                  <a:lnTo>
                    <a:pt x="1463146" y="60854"/>
                  </a:lnTo>
                  <a:lnTo>
                    <a:pt x="1457854" y="60854"/>
                  </a:lnTo>
                  <a:lnTo>
                    <a:pt x="1457854" y="63500"/>
                  </a:lnTo>
                  <a:lnTo>
                    <a:pt x="1455208" y="66146"/>
                  </a:lnTo>
                  <a:lnTo>
                    <a:pt x="1447271" y="66146"/>
                  </a:lnTo>
                  <a:lnTo>
                    <a:pt x="1441979" y="66146"/>
                  </a:lnTo>
                  <a:lnTo>
                    <a:pt x="1441979" y="68792"/>
                  </a:lnTo>
                  <a:lnTo>
                    <a:pt x="1441979" y="71437"/>
                  </a:lnTo>
                  <a:lnTo>
                    <a:pt x="1441979" y="74083"/>
                  </a:lnTo>
                  <a:lnTo>
                    <a:pt x="1439333" y="76729"/>
                  </a:lnTo>
                  <a:lnTo>
                    <a:pt x="1439333" y="79375"/>
                  </a:lnTo>
                  <a:lnTo>
                    <a:pt x="1441979" y="82021"/>
                  </a:lnTo>
                  <a:lnTo>
                    <a:pt x="1441979" y="84667"/>
                  </a:lnTo>
                  <a:lnTo>
                    <a:pt x="1441979" y="87312"/>
                  </a:lnTo>
                  <a:lnTo>
                    <a:pt x="1431396" y="95250"/>
                  </a:lnTo>
                  <a:lnTo>
                    <a:pt x="1418167" y="97896"/>
                  </a:lnTo>
                  <a:lnTo>
                    <a:pt x="1410229" y="97896"/>
                  </a:lnTo>
                  <a:lnTo>
                    <a:pt x="1404938" y="97896"/>
                  </a:lnTo>
                  <a:lnTo>
                    <a:pt x="1394354" y="100542"/>
                  </a:lnTo>
                  <a:lnTo>
                    <a:pt x="1386417" y="103187"/>
                  </a:lnTo>
                  <a:lnTo>
                    <a:pt x="1381125" y="103187"/>
                  </a:lnTo>
                  <a:lnTo>
                    <a:pt x="1375833" y="103187"/>
                  </a:lnTo>
                  <a:lnTo>
                    <a:pt x="1370542" y="103187"/>
                  </a:lnTo>
                  <a:lnTo>
                    <a:pt x="1365250" y="105833"/>
                  </a:lnTo>
                  <a:lnTo>
                    <a:pt x="1362604" y="103187"/>
                  </a:lnTo>
                  <a:lnTo>
                    <a:pt x="1357313" y="97896"/>
                  </a:lnTo>
                  <a:lnTo>
                    <a:pt x="1349375" y="95250"/>
                  </a:lnTo>
                  <a:lnTo>
                    <a:pt x="1344083" y="92604"/>
                  </a:lnTo>
                  <a:lnTo>
                    <a:pt x="1342760" y="93266"/>
                  </a:lnTo>
                  <a:lnTo>
                    <a:pt x="1341438" y="92604"/>
                  </a:lnTo>
                  <a:lnTo>
                    <a:pt x="1338792" y="92604"/>
                  </a:lnTo>
                  <a:lnTo>
                    <a:pt x="1338792" y="95250"/>
                  </a:lnTo>
                  <a:lnTo>
                    <a:pt x="1342760" y="93266"/>
                  </a:lnTo>
                  <a:lnTo>
                    <a:pt x="1346729" y="95250"/>
                  </a:lnTo>
                  <a:lnTo>
                    <a:pt x="1354667" y="100542"/>
                  </a:lnTo>
                  <a:lnTo>
                    <a:pt x="1357313" y="105833"/>
                  </a:lnTo>
                  <a:lnTo>
                    <a:pt x="1357313" y="108479"/>
                  </a:lnTo>
                  <a:lnTo>
                    <a:pt x="1352021" y="108479"/>
                  </a:lnTo>
                  <a:lnTo>
                    <a:pt x="1344083" y="108479"/>
                  </a:lnTo>
                  <a:lnTo>
                    <a:pt x="1336146" y="108479"/>
                  </a:lnTo>
                  <a:lnTo>
                    <a:pt x="1333500" y="108479"/>
                  </a:lnTo>
                  <a:lnTo>
                    <a:pt x="1330854" y="103187"/>
                  </a:lnTo>
                  <a:lnTo>
                    <a:pt x="1330854" y="100542"/>
                  </a:lnTo>
                  <a:lnTo>
                    <a:pt x="1325563" y="100542"/>
                  </a:lnTo>
                  <a:lnTo>
                    <a:pt x="1320271" y="100542"/>
                  </a:lnTo>
                  <a:lnTo>
                    <a:pt x="1309688" y="103187"/>
                  </a:lnTo>
                  <a:lnTo>
                    <a:pt x="1304396" y="105833"/>
                  </a:lnTo>
                  <a:lnTo>
                    <a:pt x="1304396" y="108479"/>
                  </a:lnTo>
                  <a:lnTo>
                    <a:pt x="1312333" y="111125"/>
                  </a:lnTo>
                  <a:lnTo>
                    <a:pt x="1314979" y="111125"/>
                  </a:lnTo>
                  <a:lnTo>
                    <a:pt x="1314979" y="113771"/>
                  </a:lnTo>
                  <a:lnTo>
                    <a:pt x="1309688" y="116417"/>
                  </a:lnTo>
                  <a:lnTo>
                    <a:pt x="1293813" y="121708"/>
                  </a:lnTo>
                  <a:lnTo>
                    <a:pt x="1270000" y="127000"/>
                  </a:lnTo>
                  <a:lnTo>
                    <a:pt x="1264708" y="129646"/>
                  </a:lnTo>
                  <a:lnTo>
                    <a:pt x="1251479" y="127000"/>
                  </a:lnTo>
                  <a:lnTo>
                    <a:pt x="1246188" y="127000"/>
                  </a:lnTo>
                  <a:lnTo>
                    <a:pt x="1240896" y="124354"/>
                  </a:lnTo>
                  <a:lnTo>
                    <a:pt x="1238250" y="119062"/>
                  </a:lnTo>
                  <a:lnTo>
                    <a:pt x="1235604" y="116417"/>
                  </a:lnTo>
                  <a:lnTo>
                    <a:pt x="1232958" y="113771"/>
                  </a:lnTo>
                  <a:lnTo>
                    <a:pt x="1217083" y="113771"/>
                  </a:lnTo>
                  <a:lnTo>
                    <a:pt x="1227667" y="116417"/>
                  </a:lnTo>
                  <a:lnTo>
                    <a:pt x="1232958" y="121708"/>
                  </a:lnTo>
                  <a:lnTo>
                    <a:pt x="1238250" y="127000"/>
                  </a:lnTo>
                  <a:lnTo>
                    <a:pt x="1246188" y="129646"/>
                  </a:lnTo>
                  <a:lnTo>
                    <a:pt x="1259417" y="132292"/>
                  </a:lnTo>
                  <a:lnTo>
                    <a:pt x="1267354" y="132292"/>
                  </a:lnTo>
                  <a:lnTo>
                    <a:pt x="1270000" y="132292"/>
                  </a:lnTo>
                  <a:lnTo>
                    <a:pt x="1262063" y="137583"/>
                  </a:lnTo>
                  <a:lnTo>
                    <a:pt x="1240896" y="148167"/>
                  </a:lnTo>
                  <a:lnTo>
                    <a:pt x="1232958" y="153458"/>
                  </a:lnTo>
                  <a:lnTo>
                    <a:pt x="1222375" y="153458"/>
                  </a:lnTo>
                  <a:lnTo>
                    <a:pt x="1206500" y="153458"/>
                  </a:lnTo>
                  <a:lnTo>
                    <a:pt x="1198563" y="153458"/>
                  </a:lnTo>
                  <a:lnTo>
                    <a:pt x="1193271" y="148167"/>
                  </a:lnTo>
                  <a:lnTo>
                    <a:pt x="1190625" y="153458"/>
                  </a:lnTo>
                  <a:lnTo>
                    <a:pt x="1187979" y="156104"/>
                  </a:lnTo>
                  <a:lnTo>
                    <a:pt x="1177396" y="158750"/>
                  </a:lnTo>
                  <a:lnTo>
                    <a:pt x="1169458" y="158750"/>
                  </a:lnTo>
                  <a:lnTo>
                    <a:pt x="1158875" y="156104"/>
                  </a:lnTo>
                  <a:lnTo>
                    <a:pt x="1145646" y="153458"/>
                  </a:lnTo>
                  <a:lnTo>
                    <a:pt x="1116542" y="153458"/>
                  </a:lnTo>
                  <a:lnTo>
                    <a:pt x="1135063" y="156104"/>
                  </a:lnTo>
                  <a:lnTo>
                    <a:pt x="1135063" y="158750"/>
                  </a:lnTo>
                  <a:lnTo>
                    <a:pt x="1129771" y="161396"/>
                  </a:lnTo>
                  <a:lnTo>
                    <a:pt x="1143000" y="158750"/>
                  </a:lnTo>
                  <a:lnTo>
                    <a:pt x="1153583" y="158750"/>
                  </a:lnTo>
                  <a:lnTo>
                    <a:pt x="1158875" y="158750"/>
                  </a:lnTo>
                  <a:lnTo>
                    <a:pt x="1161521" y="164042"/>
                  </a:lnTo>
                  <a:lnTo>
                    <a:pt x="1164167" y="169333"/>
                  </a:lnTo>
                  <a:lnTo>
                    <a:pt x="1161521" y="171979"/>
                  </a:lnTo>
                  <a:lnTo>
                    <a:pt x="1153583" y="171979"/>
                  </a:lnTo>
                  <a:lnTo>
                    <a:pt x="1140354" y="171979"/>
                  </a:lnTo>
                  <a:lnTo>
                    <a:pt x="1124479" y="171979"/>
                  </a:lnTo>
                  <a:lnTo>
                    <a:pt x="1124479" y="174625"/>
                  </a:lnTo>
                  <a:lnTo>
                    <a:pt x="1129771" y="177271"/>
                  </a:lnTo>
                  <a:lnTo>
                    <a:pt x="1127125" y="179917"/>
                  </a:lnTo>
                  <a:lnTo>
                    <a:pt x="1111250" y="182562"/>
                  </a:lnTo>
                  <a:lnTo>
                    <a:pt x="1105958" y="185208"/>
                  </a:lnTo>
                  <a:lnTo>
                    <a:pt x="1100667" y="190500"/>
                  </a:lnTo>
                  <a:lnTo>
                    <a:pt x="1095375" y="190500"/>
                  </a:lnTo>
                  <a:lnTo>
                    <a:pt x="1087438" y="193146"/>
                  </a:lnTo>
                  <a:lnTo>
                    <a:pt x="1074208" y="198437"/>
                  </a:lnTo>
                  <a:lnTo>
                    <a:pt x="1066271" y="203729"/>
                  </a:lnTo>
                  <a:lnTo>
                    <a:pt x="1058333" y="206375"/>
                  </a:lnTo>
                  <a:lnTo>
                    <a:pt x="1053042" y="206375"/>
                  </a:lnTo>
                  <a:lnTo>
                    <a:pt x="1053042" y="209021"/>
                  </a:lnTo>
                  <a:lnTo>
                    <a:pt x="1047750" y="214312"/>
                  </a:lnTo>
                  <a:lnTo>
                    <a:pt x="1031875" y="219604"/>
                  </a:lnTo>
                  <a:lnTo>
                    <a:pt x="1026583" y="222250"/>
                  </a:lnTo>
                  <a:lnTo>
                    <a:pt x="1026583" y="224896"/>
                  </a:lnTo>
                  <a:lnTo>
                    <a:pt x="1026583" y="227542"/>
                  </a:lnTo>
                  <a:lnTo>
                    <a:pt x="1018646" y="227542"/>
                  </a:lnTo>
                  <a:lnTo>
                    <a:pt x="1013354" y="230187"/>
                  </a:lnTo>
                  <a:lnTo>
                    <a:pt x="1013354" y="232833"/>
                  </a:lnTo>
                  <a:lnTo>
                    <a:pt x="1008062" y="238125"/>
                  </a:lnTo>
                  <a:lnTo>
                    <a:pt x="1000125" y="243417"/>
                  </a:lnTo>
                  <a:lnTo>
                    <a:pt x="997479" y="251354"/>
                  </a:lnTo>
                  <a:lnTo>
                    <a:pt x="992187" y="256646"/>
                  </a:lnTo>
                  <a:lnTo>
                    <a:pt x="984250" y="264583"/>
                  </a:lnTo>
                  <a:lnTo>
                    <a:pt x="992187" y="264583"/>
                  </a:lnTo>
                  <a:lnTo>
                    <a:pt x="992187" y="272521"/>
                  </a:lnTo>
                  <a:lnTo>
                    <a:pt x="994833" y="269875"/>
                  </a:lnTo>
                  <a:lnTo>
                    <a:pt x="1000125" y="269875"/>
                  </a:lnTo>
                  <a:lnTo>
                    <a:pt x="1010708" y="267229"/>
                  </a:lnTo>
                  <a:lnTo>
                    <a:pt x="1016000" y="269875"/>
                  </a:lnTo>
                  <a:lnTo>
                    <a:pt x="1018646" y="272521"/>
                  </a:lnTo>
                  <a:lnTo>
                    <a:pt x="1018646" y="277812"/>
                  </a:lnTo>
                  <a:lnTo>
                    <a:pt x="1018646" y="280458"/>
                  </a:lnTo>
                  <a:lnTo>
                    <a:pt x="1018646" y="285750"/>
                  </a:lnTo>
                  <a:lnTo>
                    <a:pt x="1021292" y="291042"/>
                  </a:lnTo>
                  <a:lnTo>
                    <a:pt x="1021292" y="296333"/>
                  </a:lnTo>
                  <a:lnTo>
                    <a:pt x="1021292" y="298979"/>
                  </a:lnTo>
                  <a:lnTo>
                    <a:pt x="1010708" y="304271"/>
                  </a:lnTo>
                  <a:lnTo>
                    <a:pt x="1005417" y="304271"/>
                  </a:lnTo>
                  <a:lnTo>
                    <a:pt x="1002771" y="304271"/>
                  </a:lnTo>
                  <a:lnTo>
                    <a:pt x="994833" y="309562"/>
                  </a:lnTo>
                  <a:lnTo>
                    <a:pt x="1000125" y="306917"/>
                  </a:lnTo>
                  <a:lnTo>
                    <a:pt x="1010708" y="306917"/>
                  </a:lnTo>
                  <a:lnTo>
                    <a:pt x="1021292" y="304271"/>
                  </a:lnTo>
                  <a:lnTo>
                    <a:pt x="1034521" y="301625"/>
                  </a:lnTo>
                  <a:lnTo>
                    <a:pt x="1045104" y="298979"/>
                  </a:lnTo>
                  <a:lnTo>
                    <a:pt x="1050396" y="301625"/>
                  </a:lnTo>
                  <a:lnTo>
                    <a:pt x="1053042" y="304271"/>
                  </a:lnTo>
                  <a:lnTo>
                    <a:pt x="1055688" y="309562"/>
                  </a:lnTo>
                  <a:lnTo>
                    <a:pt x="1060979" y="312208"/>
                  </a:lnTo>
                  <a:lnTo>
                    <a:pt x="1074208" y="314854"/>
                  </a:lnTo>
                  <a:lnTo>
                    <a:pt x="1087438" y="317500"/>
                  </a:lnTo>
                  <a:lnTo>
                    <a:pt x="1092729" y="320146"/>
                  </a:lnTo>
                  <a:lnTo>
                    <a:pt x="1095375" y="322792"/>
                  </a:lnTo>
                  <a:lnTo>
                    <a:pt x="1098021" y="328083"/>
                  </a:lnTo>
                  <a:lnTo>
                    <a:pt x="1100667" y="328083"/>
                  </a:lnTo>
                  <a:lnTo>
                    <a:pt x="1103313" y="328083"/>
                  </a:lnTo>
                  <a:lnTo>
                    <a:pt x="1108604" y="330729"/>
                  </a:lnTo>
                  <a:lnTo>
                    <a:pt x="1119188" y="336021"/>
                  </a:lnTo>
                  <a:lnTo>
                    <a:pt x="1127125" y="336021"/>
                  </a:lnTo>
                  <a:lnTo>
                    <a:pt x="1132417" y="338667"/>
                  </a:lnTo>
                  <a:lnTo>
                    <a:pt x="1132417" y="343958"/>
                  </a:lnTo>
                  <a:lnTo>
                    <a:pt x="1132417" y="346604"/>
                  </a:lnTo>
                  <a:lnTo>
                    <a:pt x="1137708" y="346604"/>
                  </a:lnTo>
                  <a:lnTo>
                    <a:pt x="1150938" y="346604"/>
                  </a:lnTo>
                  <a:lnTo>
                    <a:pt x="1164167" y="346604"/>
                  </a:lnTo>
                  <a:lnTo>
                    <a:pt x="1174750" y="349250"/>
                  </a:lnTo>
                  <a:lnTo>
                    <a:pt x="1180042" y="351896"/>
                  </a:lnTo>
                  <a:lnTo>
                    <a:pt x="1187979" y="351896"/>
                  </a:lnTo>
                  <a:lnTo>
                    <a:pt x="1190625" y="351896"/>
                  </a:lnTo>
                  <a:lnTo>
                    <a:pt x="1187979" y="357188"/>
                  </a:lnTo>
                  <a:lnTo>
                    <a:pt x="1180042" y="362479"/>
                  </a:lnTo>
                  <a:lnTo>
                    <a:pt x="1180042" y="365125"/>
                  </a:lnTo>
                  <a:lnTo>
                    <a:pt x="1182688" y="367771"/>
                  </a:lnTo>
                  <a:lnTo>
                    <a:pt x="1182688" y="373063"/>
                  </a:lnTo>
                  <a:lnTo>
                    <a:pt x="1177396" y="375708"/>
                  </a:lnTo>
                  <a:lnTo>
                    <a:pt x="1174750" y="375708"/>
                  </a:lnTo>
                  <a:lnTo>
                    <a:pt x="1172104" y="375708"/>
                  </a:lnTo>
                  <a:lnTo>
                    <a:pt x="1166813" y="378354"/>
                  </a:lnTo>
                  <a:lnTo>
                    <a:pt x="1164167" y="378354"/>
                  </a:lnTo>
                  <a:lnTo>
                    <a:pt x="1153583" y="375708"/>
                  </a:lnTo>
                  <a:lnTo>
                    <a:pt x="1156229" y="378354"/>
                  </a:lnTo>
                  <a:lnTo>
                    <a:pt x="1158875" y="378354"/>
                  </a:lnTo>
                  <a:lnTo>
                    <a:pt x="1166813" y="381000"/>
                  </a:lnTo>
                  <a:lnTo>
                    <a:pt x="1172104" y="383646"/>
                  </a:lnTo>
                  <a:lnTo>
                    <a:pt x="1174750" y="383646"/>
                  </a:lnTo>
                  <a:lnTo>
                    <a:pt x="1174750" y="388938"/>
                  </a:lnTo>
                  <a:lnTo>
                    <a:pt x="1174750" y="394229"/>
                  </a:lnTo>
                  <a:lnTo>
                    <a:pt x="1174750" y="396875"/>
                  </a:lnTo>
                  <a:lnTo>
                    <a:pt x="1161521" y="396875"/>
                  </a:lnTo>
                  <a:lnTo>
                    <a:pt x="1169458" y="399521"/>
                  </a:lnTo>
                  <a:lnTo>
                    <a:pt x="1174750" y="404813"/>
                  </a:lnTo>
                  <a:lnTo>
                    <a:pt x="1177396" y="407458"/>
                  </a:lnTo>
                  <a:lnTo>
                    <a:pt x="1177396" y="412750"/>
                  </a:lnTo>
                  <a:lnTo>
                    <a:pt x="1177396" y="420688"/>
                  </a:lnTo>
                  <a:lnTo>
                    <a:pt x="1177396" y="425979"/>
                  </a:lnTo>
                  <a:lnTo>
                    <a:pt x="1180042" y="428625"/>
                  </a:lnTo>
                  <a:lnTo>
                    <a:pt x="1182688" y="431271"/>
                  </a:lnTo>
                  <a:lnTo>
                    <a:pt x="1177396" y="431271"/>
                  </a:lnTo>
                  <a:lnTo>
                    <a:pt x="1172104" y="436563"/>
                  </a:lnTo>
                  <a:lnTo>
                    <a:pt x="1166813" y="439208"/>
                  </a:lnTo>
                  <a:lnTo>
                    <a:pt x="1164167" y="444500"/>
                  </a:lnTo>
                  <a:lnTo>
                    <a:pt x="1172104" y="436563"/>
                  </a:lnTo>
                  <a:lnTo>
                    <a:pt x="1185333" y="431271"/>
                  </a:lnTo>
                  <a:lnTo>
                    <a:pt x="1187979" y="431271"/>
                  </a:lnTo>
                  <a:lnTo>
                    <a:pt x="1190625" y="431271"/>
                  </a:lnTo>
                  <a:lnTo>
                    <a:pt x="1190625" y="439208"/>
                  </a:lnTo>
                  <a:lnTo>
                    <a:pt x="1190625" y="447146"/>
                  </a:lnTo>
                  <a:lnTo>
                    <a:pt x="1190625" y="449792"/>
                  </a:lnTo>
                  <a:lnTo>
                    <a:pt x="1195917" y="447146"/>
                  </a:lnTo>
                  <a:lnTo>
                    <a:pt x="1198563" y="449792"/>
                  </a:lnTo>
                  <a:lnTo>
                    <a:pt x="1201208" y="449792"/>
                  </a:lnTo>
                  <a:lnTo>
                    <a:pt x="1201208" y="447146"/>
                  </a:lnTo>
                  <a:lnTo>
                    <a:pt x="1201208" y="444500"/>
                  </a:lnTo>
                  <a:lnTo>
                    <a:pt x="1206500" y="441854"/>
                  </a:lnTo>
                  <a:lnTo>
                    <a:pt x="1219729" y="439208"/>
                  </a:lnTo>
                  <a:lnTo>
                    <a:pt x="1222375" y="439208"/>
                  </a:lnTo>
                  <a:lnTo>
                    <a:pt x="1225021" y="441854"/>
                  </a:lnTo>
                  <a:lnTo>
                    <a:pt x="1227667" y="449792"/>
                  </a:lnTo>
                  <a:lnTo>
                    <a:pt x="1230313" y="452438"/>
                  </a:lnTo>
                  <a:lnTo>
                    <a:pt x="1235604" y="455083"/>
                  </a:lnTo>
                  <a:lnTo>
                    <a:pt x="1230313" y="449792"/>
                  </a:lnTo>
                  <a:lnTo>
                    <a:pt x="1230313" y="447146"/>
                  </a:lnTo>
                  <a:lnTo>
                    <a:pt x="1232958" y="447146"/>
                  </a:lnTo>
                  <a:lnTo>
                    <a:pt x="1240896" y="447146"/>
                  </a:lnTo>
                  <a:lnTo>
                    <a:pt x="1232958" y="441854"/>
                  </a:lnTo>
                  <a:lnTo>
                    <a:pt x="1230313" y="439208"/>
                  </a:lnTo>
                  <a:lnTo>
                    <a:pt x="1230313" y="433917"/>
                  </a:lnTo>
                  <a:lnTo>
                    <a:pt x="1232958" y="431271"/>
                  </a:lnTo>
                  <a:lnTo>
                    <a:pt x="1235604" y="431271"/>
                  </a:lnTo>
                  <a:lnTo>
                    <a:pt x="1246188" y="428625"/>
                  </a:lnTo>
                  <a:lnTo>
                    <a:pt x="1248833" y="425979"/>
                  </a:lnTo>
                  <a:lnTo>
                    <a:pt x="1254125" y="423333"/>
                  </a:lnTo>
                  <a:lnTo>
                    <a:pt x="1256771" y="418042"/>
                  </a:lnTo>
                  <a:lnTo>
                    <a:pt x="1256771" y="412750"/>
                  </a:lnTo>
                  <a:lnTo>
                    <a:pt x="1256771" y="404813"/>
                  </a:lnTo>
                  <a:lnTo>
                    <a:pt x="1259417" y="402167"/>
                  </a:lnTo>
                  <a:lnTo>
                    <a:pt x="1262063" y="396875"/>
                  </a:lnTo>
                  <a:lnTo>
                    <a:pt x="1259417" y="381000"/>
                  </a:lnTo>
                  <a:lnTo>
                    <a:pt x="1259417" y="375708"/>
                  </a:lnTo>
                  <a:lnTo>
                    <a:pt x="1256771" y="375708"/>
                  </a:lnTo>
                  <a:lnTo>
                    <a:pt x="1254125" y="373063"/>
                  </a:lnTo>
                  <a:lnTo>
                    <a:pt x="1251479" y="370417"/>
                  </a:lnTo>
                  <a:lnTo>
                    <a:pt x="1248833" y="367771"/>
                  </a:lnTo>
                  <a:lnTo>
                    <a:pt x="1246188" y="367771"/>
                  </a:lnTo>
                  <a:lnTo>
                    <a:pt x="1248833" y="362479"/>
                  </a:lnTo>
                  <a:lnTo>
                    <a:pt x="1259417" y="362479"/>
                  </a:lnTo>
                  <a:lnTo>
                    <a:pt x="1285875" y="357188"/>
                  </a:lnTo>
                  <a:lnTo>
                    <a:pt x="1299104" y="354542"/>
                  </a:lnTo>
                  <a:lnTo>
                    <a:pt x="1314979" y="346604"/>
                  </a:lnTo>
                  <a:lnTo>
                    <a:pt x="1330854" y="338667"/>
                  </a:lnTo>
                  <a:lnTo>
                    <a:pt x="1346729" y="325438"/>
                  </a:lnTo>
                  <a:lnTo>
                    <a:pt x="1359958" y="309562"/>
                  </a:lnTo>
                  <a:lnTo>
                    <a:pt x="1365250" y="296333"/>
                  </a:lnTo>
                  <a:lnTo>
                    <a:pt x="1365250" y="288396"/>
                  </a:lnTo>
                  <a:lnTo>
                    <a:pt x="1359958" y="280458"/>
                  </a:lnTo>
                  <a:lnTo>
                    <a:pt x="1349375" y="272521"/>
                  </a:lnTo>
                  <a:lnTo>
                    <a:pt x="1346729" y="269875"/>
                  </a:lnTo>
                  <a:lnTo>
                    <a:pt x="1346729" y="267229"/>
                  </a:lnTo>
                  <a:lnTo>
                    <a:pt x="1349375" y="264583"/>
                  </a:lnTo>
                  <a:lnTo>
                    <a:pt x="1349375" y="259292"/>
                  </a:lnTo>
                  <a:lnTo>
                    <a:pt x="1352021" y="256646"/>
                  </a:lnTo>
                  <a:lnTo>
                    <a:pt x="1367896" y="251354"/>
                  </a:lnTo>
                  <a:lnTo>
                    <a:pt x="1375833" y="248708"/>
                  </a:lnTo>
                  <a:lnTo>
                    <a:pt x="1375833" y="246062"/>
                  </a:lnTo>
                  <a:lnTo>
                    <a:pt x="1381125" y="243417"/>
                  </a:lnTo>
                  <a:lnTo>
                    <a:pt x="1386417" y="240771"/>
                  </a:lnTo>
                  <a:lnTo>
                    <a:pt x="1386417" y="238125"/>
                  </a:lnTo>
                  <a:lnTo>
                    <a:pt x="1383771" y="238125"/>
                  </a:lnTo>
                  <a:lnTo>
                    <a:pt x="1383771" y="235479"/>
                  </a:lnTo>
                  <a:lnTo>
                    <a:pt x="1386417" y="232833"/>
                  </a:lnTo>
                  <a:lnTo>
                    <a:pt x="1391708" y="230187"/>
                  </a:lnTo>
                  <a:lnTo>
                    <a:pt x="1399646" y="222250"/>
                  </a:lnTo>
                  <a:lnTo>
                    <a:pt x="1397000" y="219604"/>
                  </a:lnTo>
                  <a:lnTo>
                    <a:pt x="1394354" y="219604"/>
                  </a:lnTo>
                  <a:lnTo>
                    <a:pt x="1394354" y="216958"/>
                  </a:lnTo>
                  <a:lnTo>
                    <a:pt x="1397000" y="216958"/>
                  </a:lnTo>
                  <a:lnTo>
                    <a:pt x="1402292" y="211667"/>
                  </a:lnTo>
                  <a:lnTo>
                    <a:pt x="1404938" y="209021"/>
                  </a:lnTo>
                  <a:lnTo>
                    <a:pt x="1407583" y="203729"/>
                  </a:lnTo>
                  <a:lnTo>
                    <a:pt x="1410229" y="193146"/>
                  </a:lnTo>
                  <a:lnTo>
                    <a:pt x="1412875" y="185208"/>
                  </a:lnTo>
                  <a:lnTo>
                    <a:pt x="1418167" y="182562"/>
                  </a:lnTo>
                  <a:lnTo>
                    <a:pt x="1420813" y="179917"/>
                  </a:lnTo>
                  <a:lnTo>
                    <a:pt x="1434042" y="177271"/>
                  </a:lnTo>
                  <a:lnTo>
                    <a:pt x="1447271" y="177271"/>
                  </a:lnTo>
                  <a:lnTo>
                    <a:pt x="1473729" y="185208"/>
                  </a:lnTo>
                  <a:lnTo>
                    <a:pt x="1484313" y="187854"/>
                  </a:lnTo>
                  <a:lnTo>
                    <a:pt x="1492250" y="187854"/>
                  </a:lnTo>
                  <a:lnTo>
                    <a:pt x="1502833" y="182562"/>
                  </a:lnTo>
                  <a:lnTo>
                    <a:pt x="1505479" y="179917"/>
                  </a:lnTo>
                  <a:lnTo>
                    <a:pt x="1513417" y="182562"/>
                  </a:lnTo>
                  <a:lnTo>
                    <a:pt x="1521354" y="185208"/>
                  </a:lnTo>
                  <a:lnTo>
                    <a:pt x="1531937" y="193146"/>
                  </a:lnTo>
                  <a:lnTo>
                    <a:pt x="1531937" y="201083"/>
                  </a:lnTo>
                  <a:lnTo>
                    <a:pt x="1537229" y="206375"/>
                  </a:lnTo>
                  <a:lnTo>
                    <a:pt x="1539875" y="206375"/>
                  </a:lnTo>
                  <a:lnTo>
                    <a:pt x="1545167" y="209021"/>
                  </a:lnTo>
                  <a:lnTo>
                    <a:pt x="1550458" y="214312"/>
                  </a:lnTo>
                  <a:lnTo>
                    <a:pt x="1555750" y="211667"/>
                  </a:lnTo>
                  <a:lnTo>
                    <a:pt x="1558396" y="209021"/>
                  </a:lnTo>
                  <a:lnTo>
                    <a:pt x="1561042" y="209021"/>
                  </a:lnTo>
                  <a:lnTo>
                    <a:pt x="1563687" y="211667"/>
                  </a:lnTo>
                  <a:lnTo>
                    <a:pt x="1563687" y="214312"/>
                  </a:lnTo>
                  <a:lnTo>
                    <a:pt x="1561042" y="216958"/>
                  </a:lnTo>
                  <a:lnTo>
                    <a:pt x="1563687" y="219604"/>
                  </a:lnTo>
                  <a:lnTo>
                    <a:pt x="1566333" y="222250"/>
                  </a:lnTo>
                  <a:lnTo>
                    <a:pt x="1571625" y="219604"/>
                  </a:lnTo>
                  <a:lnTo>
                    <a:pt x="1576917" y="216958"/>
                  </a:lnTo>
                  <a:lnTo>
                    <a:pt x="1579562" y="216958"/>
                  </a:lnTo>
                  <a:lnTo>
                    <a:pt x="1582208" y="219604"/>
                  </a:lnTo>
                  <a:lnTo>
                    <a:pt x="1582208" y="222250"/>
                  </a:lnTo>
                  <a:lnTo>
                    <a:pt x="1576917" y="224896"/>
                  </a:lnTo>
                  <a:lnTo>
                    <a:pt x="1568979" y="227542"/>
                  </a:lnTo>
                  <a:lnTo>
                    <a:pt x="1563687" y="230187"/>
                  </a:lnTo>
                  <a:lnTo>
                    <a:pt x="1561042" y="230187"/>
                  </a:lnTo>
                  <a:lnTo>
                    <a:pt x="1563687" y="235479"/>
                  </a:lnTo>
                  <a:lnTo>
                    <a:pt x="1566333" y="238125"/>
                  </a:lnTo>
                  <a:lnTo>
                    <a:pt x="1550458" y="243417"/>
                  </a:lnTo>
                  <a:lnTo>
                    <a:pt x="1555750" y="243417"/>
                  </a:lnTo>
                  <a:lnTo>
                    <a:pt x="1558396" y="243417"/>
                  </a:lnTo>
                  <a:lnTo>
                    <a:pt x="1561042" y="246062"/>
                  </a:lnTo>
                  <a:lnTo>
                    <a:pt x="1561042" y="251354"/>
                  </a:lnTo>
                  <a:lnTo>
                    <a:pt x="1558396" y="254000"/>
                  </a:lnTo>
                  <a:lnTo>
                    <a:pt x="1547812" y="256646"/>
                  </a:lnTo>
                  <a:lnTo>
                    <a:pt x="1539875" y="261937"/>
                  </a:lnTo>
                  <a:lnTo>
                    <a:pt x="1537229" y="264583"/>
                  </a:lnTo>
                  <a:lnTo>
                    <a:pt x="1537229" y="267229"/>
                  </a:lnTo>
                  <a:lnTo>
                    <a:pt x="1550458" y="264583"/>
                  </a:lnTo>
                  <a:lnTo>
                    <a:pt x="1561042" y="264583"/>
                  </a:lnTo>
                  <a:lnTo>
                    <a:pt x="1563687" y="267229"/>
                  </a:lnTo>
                  <a:lnTo>
                    <a:pt x="1561042" y="272521"/>
                  </a:lnTo>
                  <a:lnTo>
                    <a:pt x="1550458" y="280458"/>
                  </a:lnTo>
                  <a:lnTo>
                    <a:pt x="1545167" y="280458"/>
                  </a:lnTo>
                  <a:lnTo>
                    <a:pt x="1542521" y="280458"/>
                  </a:lnTo>
                  <a:lnTo>
                    <a:pt x="1542521" y="275167"/>
                  </a:lnTo>
                  <a:lnTo>
                    <a:pt x="1537229" y="280458"/>
                  </a:lnTo>
                  <a:lnTo>
                    <a:pt x="1529292" y="285750"/>
                  </a:lnTo>
                  <a:lnTo>
                    <a:pt x="1537229" y="285750"/>
                  </a:lnTo>
                  <a:lnTo>
                    <a:pt x="1539875" y="288396"/>
                  </a:lnTo>
                  <a:lnTo>
                    <a:pt x="1539875" y="293687"/>
                  </a:lnTo>
                  <a:lnTo>
                    <a:pt x="1553104" y="283104"/>
                  </a:lnTo>
                  <a:lnTo>
                    <a:pt x="1566333" y="277812"/>
                  </a:lnTo>
                  <a:lnTo>
                    <a:pt x="1576917" y="275167"/>
                  </a:lnTo>
                  <a:lnTo>
                    <a:pt x="1576917" y="277812"/>
                  </a:lnTo>
                  <a:lnTo>
                    <a:pt x="1576917" y="280458"/>
                  </a:lnTo>
                  <a:lnTo>
                    <a:pt x="1576917" y="285750"/>
                  </a:lnTo>
                  <a:lnTo>
                    <a:pt x="1579562" y="285750"/>
                  </a:lnTo>
                  <a:lnTo>
                    <a:pt x="1584854" y="285750"/>
                  </a:lnTo>
                  <a:lnTo>
                    <a:pt x="1584854" y="288396"/>
                  </a:lnTo>
                  <a:lnTo>
                    <a:pt x="1590146" y="280458"/>
                  </a:lnTo>
                  <a:lnTo>
                    <a:pt x="1598083" y="275167"/>
                  </a:lnTo>
                  <a:lnTo>
                    <a:pt x="1606021" y="272521"/>
                  </a:lnTo>
                  <a:lnTo>
                    <a:pt x="1613958" y="267229"/>
                  </a:lnTo>
                  <a:lnTo>
                    <a:pt x="1616604" y="264583"/>
                  </a:lnTo>
                  <a:lnTo>
                    <a:pt x="1619250" y="267229"/>
                  </a:lnTo>
                  <a:lnTo>
                    <a:pt x="1619250" y="272521"/>
                  </a:lnTo>
                  <a:lnTo>
                    <a:pt x="1619250" y="275167"/>
                  </a:lnTo>
                  <a:lnTo>
                    <a:pt x="1621896" y="275167"/>
                  </a:lnTo>
                  <a:lnTo>
                    <a:pt x="1621896" y="272521"/>
                  </a:lnTo>
                  <a:lnTo>
                    <a:pt x="1624542" y="267229"/>
                  </a:lnTo>
                  <a:lnTo>
                    <a:pt x="1627187" y="264583"/>
                  </a:lnTo>
                  <a:lnTo>
                    <a:pt x="1635125" y="259292"/>
                  </a:lnTo>
                  <a:lnTo>
                    <a:pt x="1640417" y="259292"/>
                  </a:lnTo>
                  <a:lnTo>
                    <a:pt x="1643062" y="256646"/>
                  </a:lnTo>
                  <a:lnTo>
                    <a:pt x="1643062" y="251354"/>
                  </a:lnTo>
                  <a:lnTo>
                    <a:pt x="1643062" y="246062"/>
                  </a:lnTo>
                  <a:lnTo>
                    <a:pt x="1643062" y="243417"/>
                  </a:lnTo>
                  <a:lnTo>
                    <a:pt x="1645708" y="243417"/>
                  </a:lnTo>
                  <a:lnTo>
                    <a:pt x="1653646" y="235479"/>
                  </a:lnTo>
                  <a:lnTo>
                    <a:pt x="1658937" y="230187"/>
                  </a:lnTo>
                  <a:lnTo>
                    <a:pt x="1664229" y="224896"/>
                  </a:lnTo>
                  <a:lnTo>
                    <a:pt x="1666875" y="224896"/>
                  </a:lnTo>
                  <a:lnTo>
                    <a:pt x="1666875" y="227542"/>
                  </a:lnTo>
                  <a:lnTo>
                    <a:pt x="1672167" y="232833"/>
                  </a:lnTo>
                  <a:lnTo>
                    <a:pt x="1677458" y="235479"/>
                  </a:lnTo>
                  <a:lnTo>
                    <a:pt x="1680104" y="238125"/>
                  </a:lnTo>
                  <a:lnTo>
                    <a:pt x="1680104" y="240771"/>
                  </a:lnTo>
                  <a:lnTo>
                    <a:pt x="1680104" y="243417"/>
                  </a:lnTo>
                  <a:lnTo>
                    <a:pt x="1680104" y="246062"/>
                  </a:lnTo>
                  <a:lnTo>
                    <a:pt x="1682750" y="248708"/>
                  </a:lnTo>
                  <a:lnTo>
                    <a:pt x="1682750" y="251354"/>
                  </a:lnTo>
                  <a:lnTo>
                    <a:pt x="1682750" y="256646"/>
                  </a:lnTo>
                  <a:lnTo>
                    <a:pt x="1685396" y="256646"/>
                  </a:lnTo>
                  <a:lnTo>
                    <a:pt x="1688042" y="259292"/>
                  </a:lnTo>
                  <a:lnTo>
                    <a:pt x="1688042" y="264583"/>
                  </a:lnTo>
                  <a:lnTo>
                    <a:pt x="1688042" y="267229"/>
                  </a:lnTo>
                  <a:lnTo>
                    <a:pt x="1688042" y="269875"/>
                  </a:lnTo>
                  <a:lnTo>
                    <a:pt x="1693333" y="272521"/>
                  </a:lnTo>
                  <a:lnTo>
                    <a:pt x="1695979" y="277812"/>
                  </a:lnTo>
                  <a:lnTo>
                    <a:pt x="1695979" y="280458"/>
                  </a:lnTo>
                  <a:lnTo>
                    <a:pt x="1693333" y="285750"/>
                  </a:lnTo>
                  <a:lnTo>
                    <a:pt x="1701271" y="288396"/>
                  </a:lnTo>
                  <a:lnTo>
                    <a:pt x="1703917" y="291042"/>
                  </a:lnTo>
                  <a:lnTo>
                    <a:pt x="1703917" y="293687"/>
                  </a:lnTo>
                  <a:lnTo>
                    <a:pt x="1703917" y="296333"/>
                  </a:lnTo>
                  <a:lnTo>
                    <a:pt x="1695979" y="301625"/>
                  </a:lnTo>
                  <a:lnTo>
                    <a:pt x="1680104" y="306917"/>
                  </a:lnTo>
                  <a:lnTo>
                    <a:pt x="1688042" y="306917"/>
                  </a:lnTo>
                  <a:lnTo>
                    <a:pt x="1703917" y="304271"/>
                  </a:lnTo>
                  <a:lnTo>
                    <a:pt x="1706562" y="304271"/>
                  </a:lnTo>
                  <a:lnTo>
                    <a:pt x="1709208" y="304271"/>
                  </a:lnTo>
                  <a:lnTo>
                    <a:pt x="1706562" y="309562"/>
                  </a:lnTo>
                  <a:lnTo>
                    <a:pt x="1701271" y="314854"/>
                  </a:lnTo>
                  <a:lnTo>
                    <a:pt x="1701271" y="320146"/>
                  </a:lnTo>
                  <a:lnTo>
                    <a:pt x="1703917" y="322792"/>
                  </a:lnTo>
                  <a:lnTo>
                    <a:pt x="1706562" y="325438"/>
                  </a:lnTo>
                  <a:lnTo>
                    <a:pt x="1709208" y="328083"/>
                  </a:lnTo>
                  <a:lnTo>
                    <a:pt x="1709208" y="336021"/>
                  </a:lnTo>
                  <a:lnTo>
                    <a:pt x="1709208" y="343958"/>
                  </a:lnTo>
                  <a:lnTo>
                    <a:pt x="1711854" y="341313"/>
                  </a:lnTo>
                  <a:lnTo>
                    <a:pt x="1717146" y="341313"/>
                  </a:lnTo>
                  <a:lnTo>
                    <a:pt x="1719792" y="343958"/>
                  </a:lnTo>
                  <a:lnTo>
                    <a:pt x="1719792" y="346604"/>
                  </a:lnTo>
                  <a:lnTo>
                    <a:pt x="1719792" y="349250"/>
                  </a:lnTo>
                  <a:lnTo>
                    <a:pt x="1725083" y="349250"/>
                  </a:lnTo>
                  <a:lnTo>
                    <a:pt x="1730375" y="349250"/>
                  </a:lnTo>
                  <a:lnTo>
                    <a:pt x="1730375" y="351896"/>
                  </a:lnTo>
                  <a:lnTo>
                    <a:pt x="1735667" y="354542"/>
                  </a:lnTo>
                  <a:lnTo>
                    <a:pt x="1740958" y="354542"/>
                  </a:lnTo>
                  <a:lnTo>
                    <a:pt x="1740958" y="357188"/>
                  </a:lnTo>
                  <a:lnTo>
                    <a:pt x="1743604" y="359833"/>
                  </a:lnTo>
                  <a:lnTo>
                    <a:pt x="1748896" y="359833"/>
                  </a:lnTo>
                  <a:lnTo>
                    <a:pt x="1764771" y="362479"/>
                  </a:lnTo>
                  <a:lnTo>
                    <a:pt x="1767417" y="365125"/>
                  </a:lnTo>
                  <a:lnTo>
                    <a:pt x="1759479" y="367771"/>
                  </a:lnTo>
                  <a:lnTo>
                    <a:pt x="1735667" y="370417"/>
                  </a:lnTo>
                  <a:lnTo>
                    <a:pt x="1725083" y="373063"/>
                  </a:lnTo>
                  <a:lnTo>
                    <a:pt x="1711854" y="375708"/>
                  </a:lnTo>
                  <a:lnTo>
                    <a:pt x="1701271" y="375708"/>
                  </a:lnTo>
                  <a:lnTo>
                    <a:pt x="1701271" y="378354"/>
                  </a:lnTo>
                  <a:lnTo>
                    <a:pt x="1688042" y="386292"/>
                  </a:lnTo>
                  <a:lnTo>
                    <a:pt x="1701271" y="386292"/>
                  </a:lnTo>
                  <a:lnTo>
                    <a:pt x="1714500" y="383646"/>
                  </a:lnTo>
                  <a:lnTo>
                    <a:pt x="1738312" y="375708"/>
                  </a:lnTo>
                  <a:lnTo>
                    <a:pt x="1754187" y="373063"/>
                  </a:lnTo>
                  <a:lnTo>
                    <a:pt x="1759479" y="373063"/>
                  </a:lnTo>
                  <a:lnTo>
                    <a:pt x="1767417" y="375708"/>
                  </a:lnTo>
                  <a:lnTo>
                    <a:pt x="1770062" y="378354"/>
                  </a:lnTo>
                  <a:lnTo>
                    <a:pt x="1767417" y="381000"/>
                  </a:lnTo>
                  <a:lnTo>
                    <a:pt x="1764771" y="381000"/>
                  </a:lnTo>
                  <a:lnTo>
                    <a:pt x="1767417" y="383646"/>
                  </a:lnTo>
                  <a:lnTo>
                    <a:pt x="1770062" y="383646"/>
                  </a:lnTo>
                  <a:lnTo>
                    <a:pt x="1775354" y="383646"/>
                  </a:lnTo>
                  <a:lnTo>
                    <a:pt x="1780646" y="381000"/>
                  </a:lnTo>
                  <a:lnTo>
                    <a:pt x="1785937" y="383646"/>
                  </a:lnTo>
                  <a:lnTo>
                    <a:pt x="1791229" y="386292"/>
                  </a:lnTo>
                  <a:lnTo>
                    <a:pt x="1791229" y="391583"/>
                  </a:lnTo>
                  <a:lnTo>
                    <a:pt x="1785937" y="394229"/>
                  </a:lnTo>
                  <a:lnTo>
                    <a:pt x="1783292" y="396875"/>
                  </a:lnTo>
                  <a:lnTo>
                    <a:pt x="1785937" y="402167"/>
                  </a:lnTo>
                  <a:lnTo>
                    <a:pt x="1788583" y="404813"/>
                  </a:lnTo>
                  <a:lnTo>
                    <a:pt x="1785937" y="404813"/>
                  </a:lnTo>
                  <a:lnTo>
                    <a:pt x="1788583" y="407458"/>
                  </a:lnTo>
                  <a:lnTo>
                    <a:pt x="1791229" y="410104"/>
                  </a:lnTo>
                  <a:lnTo>
                    <a:pt x="1791229" y="412750"/>
                  </a:lnTo>
                  <a:lnTo>
                    <a:pt x="1791229" y="418042"/>
                  </a:lnTo>
                  <a:lnTo>
                    <a:pt x="1785937" y="420688"/>
                  </a:lnTo>
                  <a:lnTo>
                    <a:pt x="1778000" y="425979"/>
                  </a:lnTo>
                  <a:lnTo>
                    <a:pt x="1767417" y="431271"/>
                  </a:lnTo>
                  <a:lnTo>
                    <a:pt x="1762125" y="428625"/>
                  </a:lnTo>
                  <a:lnTo>
                    <a:pt x="1759479" y="428625"/>
                  </a:lnTo>
                  <a:lnTo>
                    <a:pt x="1743604" y="436563"/>
                  </a:lnTo>
                  <a:lnTo>
                    <a:pt x="1730375" y="441854"/>
                  </a:lnTo>
                  <a:lnTo>
                    <a:pt x="1727729" y="441854"/>
                  </a:lnTo>
                  <a:lnTo>
                    <a:pt x="1727729" y="444500"/>
                  </a:lnTo>
                  <a:lnTo>
                    <a:pt x="1727729" y="447146"/>
                  </a:lnTo>
                  <a:lnTo>
                    <a:pt x="1725083" y="447146"/>
                  </a:lnTo>
                  <a:lnTo>
                    <a:pt x="1722437" y="447146"/>
                  </a:lnTo>
                  <a:lnTo>
                    <a:pt x="1717146" y="452438"/>
                  </a:lnTo>
                  <a:lnTo>
                    <a:pt x="1714500" y="455083"/>
                  </a:lnTo>
                  <a:lnTo>
                    <a:pt x="1711854" y="455083"/>
                  </a:lnTo>
                  <a:lnTo>
                    <a:pt x="1706562" y="455083"/>
                  </a:lnTo>
                  <a:lnTo>
                    <a:pt x="1685396" y="463021"/>
                  </a:lnTo>
                  <a:lnTo>
                    <a:pt x="1666875" y="468313"/>
                  </a:lnTo>
                  <a:lnTo>
                    <a:pt x="1658937" y="468313"/>
                  </a:lnTo>
                  <a:lnTo>
                    <a:pt x="1651000" y="465667"/>
                  </a:lnTo>
                  <a:lnTo>
                    <a:pt x="1632479" y="468313"/>
                  </a:lnTo>
                  <a:lnTo>
                    <a:pt x="1621896" y="468313"/>
                  </a:lnTo>
                  <a:lnTo>
                    <a:pt x="1616604" y="468313"/>
                  </a:lnTo>
                  <a:lnTo>
                    <a:pt x="1606021" y="465667"/>
                  </a:lnTo>
                  <a:lnTo>
                    <a:pt x="1571625" y="465667"/>
                  </a:lnTo>
                  <a:lnTo>
                    <a:pt x="1521354" y="470959"/>
                  </a:lnTo>
                  <a:lnTo>
                    <a:pt x="1513417" y="473604"/>
                  </a:lnTo>
                  <a:lnTo>
                    <a:pt x="1510771" y="476250"/>
                  </a:lnTo>
                  <a:lnTo>
                    <a:pt x="1510771" y="478896"/>
                  </a:lnTo>
                  <a:lnTo>
                    <a:pt x="1508125" y="484188"/>
                  </a:lnTo>
                  <a:lnTo>
                    <a:pt x="1502833" y="486834"/>
                  </a:lnTo>
                  <a:lnTo>
                    <a:pt x="1481667" y="489479"/>
                  </a:lnTo>
                  <a:lnTo>
                    <a:pt x="1473729" y="492125"/>
                  </a:lnTo>
                  <a:lnTo>
                    <a:pt x="1468438" y="497417"/>
                  </a:lnTo>
                  <a:lnTo>
                    <a:pt x="1465792" y="500063"/>
                  </a:lnTo>
                  <a:lnTo>
                    <a:pt x="1460500" y="497417"/>
                  </a:lnTo>
                  <a:lnTo>
                    <a:pt x="1457854" y="497417"/>
                  </a:lnTo>
                  <a:lnTo>
                    <a:pt x="1455208" y="500063"/>
                  </a:lnTo>
                  <a:lnTo>
                    <a:pt x="1452563" y="502709"/>
                  </a:lnTo>
                  <a:lnTo>
                    <a:pt x="1447271" y="505354"/>
                  </a:lnTo>
                  <a:lnTo>
                    <a:pt x="1439333" y="508000"/>
                  </a:lnTo>
                  <a:lnTo>
                    <a:pt x="1431396" y="510646"/>
                  </a:lnTo>
                  <a:lnTo>
                    <a:pt x="1415521" y="523875"/>
                  </a:lnTo>
                  <a:lnTo>
                    <a:pt x="1399646" y="534459"/>
                  </a:lnTo>
                  <a:lnTo>
                    <a:pt x="1386417" y="542396"/>
                  </a:lnTo>
                  <a:lnTo>
                    <a:pt x="1378479" y="545042"/>
                  </a:lnTo>
                  <a:lnTo>
                    <a:pt x="1375833" y="547688"/>
                  </a:lnTo>
                  <a:lnTo>
                    <a:pt x="1370542" y="552979"/>
                  </a:lnTo>
                  <a:lnTo>
                    <a:pt x="1359958" y="560917"/>
                  </a:lnTo>
                  <a:lnTo>
                    <a:pt x="1373188" y="555625"/>
                  </a:lnTo>
                  <a:lnTo>
                    <a:pt x="1391708" y="545042"/>
                  </a:lnTo>
                  <a:lnTo>
                    <a:pt x="1412875" y="531813"/>
                  </a:lnTo>
                  <a:lnTo>
                    <a:pt x="1447271" y="518584"/>
                  </a:lnTo>
                  <a:lnTo>
                    <a:pt x="1481667" y="508000"/>
                  </a:lnTo>
                  <a:lnTo>
                    <a:pt x="1510771" y="500063"/>
                  </a:lnTo>
                  <a:lnTo>
                    <a:pt x="1529292" y="497417"/>
                  </a:lnTo>
                  <a:lnTo>
                    <a:pt x="1539875" y="500063"/>
                  </a:lnTo>
                  <a:lnTo>
                    <a:pt x="1547812" y="502709"/>
                  </a:lnTo>
                  <a:lnTo>
                    <a:pt x="1550458" y="508000"/>
                  </a:lnTo>
                  <a:lnTo>
                    <a:pt x="1547812" y="510646"/>
                  </a:lnTo>
                  <a:lnTo>
                    <a:pt x="1547812" y="508000"/>
                  </a:lnTo>
                  <a:lnTo>
                    <a:pt x="1545167" y="508000"/>
                  </a:lnTo>
                  <a:lnTo>
                    <a:pt x="1545167" y="510646"/>
                  </a:lnTo>
                  <a:lnTo>
                    <a:pt x="1545167" y="513292"/>
                  </a:lnTo>
                  <a:lnTo>
                    <a:pt x="1547812" y="513292"/>
                  </a:lnTo>
                  <a:lnTo>
                    <a:pt x="1547812" y="515938"/>
                  </a:lnTo>
                  <a:lnTo>
                    <a:pt x="1542521" y="518584"/>
                  </a:lnTo>
                  <a:lnTo>
                    <a:pt x="1539875" y="518584"/>
                  </a:lnTo>
                  <a:lnTo>
                    <a:pt x="1531937" y="518584"/>
                  </a:lnTo>
                  <a:lnTo>
                    <a:pt x="1524000" y="523875"/>
                  </a:lnTo>
                  <a:lnTo>
                    <a:pt x="1516063" y="526521"/>
                  </a:lnTo>
                  <a:lnTo>
                    <a:pt x="1510771" y="526521"/>
                  </a:lnTo>
                  <a:lnTo>
                    <a:pt x="1505479" y="526521"/>
                  </a:lnTo>
                  <a:lnTo>
                    <a:pt x="1497542" y="531813"/>
                  </a:lnTo>
                  <a:lnTo>
                    <a:pt x="1505479" y="531813"/>
                  </a:lnTo>
                  <a:lnTo>
                    <a:pt x="1508125" y="531813"/>
                  </a:lnTo>
                  <a:lnTo>
                    <a:pt x="1516063" y="531813"/>
                  </a:lnTo>
                  <a:lnTo>
                    <a:pt x="1518708" y="531813"/>
                  </a:lnTo>
                  <a:lnTo>
                    <a:pt x="1521354" y="534459"/>
                  </a:lnTo>
                  <a:lnTo>
                    <a:pt x="1521354" y="537104"/>
                  </a:lnTo>
                  <a:lnTo>
                    <a:pt x="1521354" y="539750"/>
                  </a:lnTo>
                  <a:lnTo>
                    <a:pt x="1516063" y="545042"/>
                  </a:lnTo>
                  <a:lnTo>
                    <a:pt x="1508125" y="547688"/>
                  </a:lnTo>
                  <a:lnTo>
                    <a:pt x="1513417" y="550334"/>
                  </a:lnTo>
                  <a:lnTo>
                    <a:pt x="1516063" y="555625"/>
                  </a:lnTo>
                  <a:lnTo>
                    <a:pt x="1521354" y="566209"/>
                  </a:lnTo>
                  <a:lnTo>
                    <a:pt x="1524000" y="576792"/>
                  </a:lnTo>
                  <a:lnTo>
                    <a:pt x="1531937" y="579438"/>
                  </a:lnTo>
                  <a:lnTo>
                    <a:pt x="1537229" y="582084"/>
                  </a:lnTo>
                  <a:lnTo>
                    <a:pt x="1539875" y="587375"/>
                  </a:lnTo>
                  <a:lnTo>
                    <a:pt x="1550458" y="590021"/>
                  </a:lnTo>
                  <a:lnTo>
                    <a:pt x="1558396" y="590021"/>
                  </a:lnTo>
                  <a:lnTo>
                    <a:pt x="1561042" y="592667"/>
                  </a:lnTo>
                  <a:lnTo>
                    <a:pt x="1561042" y="595313"/>
                  </a:lnTo>
                  <a:lnTo>
                    <a:pt x="1568979" y="592667"/>
                  </a:lnTo>
                  <a:lnTo>
                    <a:pt x="1576917" y="590021"/>
                  </a:lnTo>
                  <a:lnTo>
                    <a:pt x="1576917" y="592667"/>
                  </a:lnTo>
                  <a:lnTo>
                    <a:pt x="1576917" y="595313"/>
                  </a:lnTo>
                  <a:lnTo>
                    <a:pt x="1582208" y="592667"/>
                  </a:lnTo>
                  <a:lnTo>
                    <a:pt x="1587500" y="592667"/>
                  </a:lnTo>
                  <a:lnTo>
                    <a:pt x="1592792" y="592667"/>
                  </a:lnTo>
                  <a:lnTo>
                    <a:pt x="1592792" y="595313"/>
                  </a:lnTo>
                  <a:lnTo>
                    <a:pt x="1590146" y="595313"/>
                  </a:lnTo>
                  <a:lnTo>
                    <a:pt x="1595437" y="597959"/>
                  </a:lnTo>
                  <a:lnTo>
                    <a:pt x="1592792" y="603250"/>
                  </a:lnTo>
                  <a:lnTo>
                    <a:pt x="1584854" y="605896"/>
                  </a:lnTo>
                  <a:lnTo>
                    <a:pt x="1576917" y="608542"/>
                  </a:lnTo>
                  <a:lnTo>
                    <a:pt x="1568979" y="611188"/>
                  </a:lnTo>
                  <a:lnTo>
                    <a:pt x="1561042" y="616479"/>
                  </a:lnTo>
                  <a:lnTo>
                    <a:pt x="1553104" y="621771"/>
                  </a:lnTo>
                  <a:lnTo>
                    <a:pt x="1545167" y="619125"/>
                  </a:lnTo>
                  <a:lnTo>
                    <a:pt x="1539875" y="619125"/>
                  </a:lnTo>
                  <a:lnTo>
                    <a:pt x="1537229" y="621771"/>
                  </a:lnTo>
                  <a:lnTo>
                    <a:pt x="1537229" y="624417"/>
                  </a:lnTo>
                  <a:lnTo>
                    <a:pt x="1526646" y="624417"/>
                  </a:lnTo>
                  <a:lnTo>
                    <a:pt x="1518708" y="621771"/>
                  </a:lnTo>
                  <a:lnTo>
                    <a:pt x="1516063" y="624417"/>
                  </a:lnTo>
                  <a:lnTo>
                    <a:pt x="1513417" y="627063"/>
                  </a:lnTo>
                  <a:lnTo>
                    <a:pt x="1505479" y="629709"/>
                  </a:lnTo>
                  <a:lnTo>
                    <a:pt x="1500188" y="629709"/>
                  </a:lnTo>
                  <a:lnTo>
                    <a:pt x="1500188" y="632354"/>
                  </a:lnTo>
                  <a:lnTo>
                    <a:pt x="1502833" y="635000"/>
                  </a:lnTo>
                  <a:lnTo>
                    <a:pt x="1497542" y="637646"/>
                  </a:lnTo>
                  <a:lnTo>
                    <a:pt x="1489604" y="642938"/>
                  </a:lnTo>
                  <a:lnTo>
                    <a:pt x="1481667" y="645584"/>
                  </a:lnTo>
                  <a:lnTo>
                    <a:pt x="1476375" y="650875"/>
                  </a:lnTo>
                  <a:lnTo>
                    <a:pt x="1471083" y="650875"/>
                  </a:lnTo>
                  <a:lnTo>
                    <a:pt x="1468438" y="648229"/>
                  </a:lnTo>
                  <a:lnTo>
                    <a:pt x="1468438" y="650875"/>
                  </a:lnTo>
                  <a:lnTo>
                    <a:pt x="1468438" y="653521"/>
                  </a:lnTo>
                  <a:lnTo>
                    <a:pt x="1465792" y="656167"/>
                  </a:lnTo>
                  <a:lnTo>
                    <a:pt x="1460500" y="653521"/>
                  </a:lnTo>
                  <a:lnTo>
                    <a:pt x="1460500" y="650875"/>
                  </a:lnTo>
                  <a:lnTo>
                    <a:pt x="1460500" y="645584"/>
                  </a:lnTo>
                  <a:lnTo>
                    <a:pt x="1457854" y="640292"/>
                  </a:lnTo>
                  <a:lnTo>
                    <a:pt x="1460500" y="635000"/>
                  </a:lnTo>
                  <a:lnTo>
                    <a:pt x="1479021" y="619125"/>
                  </a:lnTo>
                  <a:lnTo>
                    <a:pt x="1492250" y="611188"/>
                  </a:lnTo>
                  <a:lnTo>
                    <a:pt x="1502833" y="608542"/>
                  </a:lnTo>
                  <a:lnTo>
                    <a:pt x="1513417" y="608542"/>
                  </a:lnTo>
                  <a:lnTo>
                    <a:pt x="1518708" y="608542"/>
                  </a:lnTo>
                  <a:lnTo>
                    <a:pt x="1539875" y="603250"/>
                  </a:lnTo>
                  <a:lnTo>
                    <a:pt x="1526646" y="605896"/>
                  </a:lnTo>
                  <a:lnTo>
                    <a:pt x="1513417" y="603250"/>
                  </a:lnTo>
                  <a:lnTo>
                    <a:pt x="1508125" y="603250"/>
                  </a:lnTo>
                  <a:lnTo>
                    <a:pt x="1500188" y="605896"/>
                  </a:lnTo>
                  <a:lnTo>
                    <a:pt x="1494896" y="605896"/>
                  </a:lnTo>
                  <a:lnTo>
                    <a:pt x="1489604" y="605896"/>
                  </a:lnTo>
                  <a:lnTo>
                    <a:pt x="1492250" y="603250"/>
                  </a:lnTo>
                  <a:lnTo>
                    <a:pt x="1500188" y="600604"/>
                  </a:lnTo>
                  <a:lnTo>
                    <a:pt x="1505479" y="597959"/>
                  </a:lnTo>
                  <a:lnTo>
                    <a:pt x="1505479" y="595313"/>
                  </a:lnTo>
                  <a:lnTo>
                    <a:pt x="1505479" y="590021"/>
                  </a:lnTo>
                  <a:lnTo>
                    <a:pt x="1500188" y="587375"/>
                  </a:lnTo>
                  <a:lnTo>
                    <a:pt x="1502833" y="592667"/>
                  </a:lnTo>
                  <a:lnTo>
                    <a:pt x="1500188" y="595313"/>
                  </a:lnTo>
                  <a:lnTo>
                    <a:pt x="1484313" y="605896"/>
                  </a:lnTo>
                  <a:lnTo>
                    <a:pt x="1471083" y="608542"/>
                  </a:lnTo>
                  <a:lnTo>
                    <a:pt x="1463146" y="608542"/>
                  </a:lnTo>
                  <a:lnTo>
                    <a:pt x="1457854" y="608542"/>
                  </a:lnTo>
                  <a:lnTo>
                    <a:pt x="1452563" y="611188"/>
                  </a:lnTo>
                  <a:lnTo>
                    <a:pt x="1449917" y="605896"/>
                  </a:lnTo>
                  <a:lnTo>
                    <a:pt x="1444625" y="605896"/>
                  </a:lnTo>
                  <a:lnTo>
                    <a:pt x="1444625" y="608542"/>
                  </a:lnTo>
                  <a:lnTo>
                    <a:pt x="1439333" y="603250"/>
                  </a:lnTo>
                  <a:lnTo>
                    <a:pt x="1436688" y="597959"/>
                  </a:lnTo>
                  <a:lnTo>
                    <a:pt x="1434042" y="595313"/>
                  </a:lnTo>
                  <a:lnTo>
                    <a:pt x="1431396" y="595313"/>
                  </a:lnTo>
                  <a:lnTo>
                    <a:pt x="1431396" y="590021"/>
                  </a:lnTo>
                  <a:lnTo>
                    <a:pt x="1441979" y="555625"/>
                  </a:lnTo>
                  <a:lnTo>
                    <a:pt x="1444625" y="552979"/>
                  </a:lnTo>
                  <a:lnTo>
                    <a:pt x="1441979" y="550334"/>
                  </a:lnTo>
                  <a:lnTo>
                    <a:pt x="1439333" y="547688"/>
                  </a:lnTo>
                  <a:lnTo>
                    <a:pt x="1436688" y="542396"/>
                  </a:lnTo>
                  <a:lnTo>
                    <a:pt x="1434042" y="542396"/>
                  </a:lnTo>
                  <a:lnTo>
                    <a:pt x="1418167" y="547688"/>
                  </a:lnTo>
                  <a:lnTo>
                    <a:pt x="1412875" y="550334"/>
                  </a:lnTo>
                  <a:lnTo>
                    <a:pt x="1410229" y="550334"/>
                  </a:lnTo>
                  <a:lnTo>
                    <a:pt x="1404938" y="547688"/>
                  </a:lnTo>
                  <a:lnTo>
                    <a:pt x="1402292" y="547688"/>
                  </a:lnTo>
                  <a:lnTo>
                    <a:pt x="1391708" y="555625"/>
                  </a:lnTo>
                  <a:lnTo>
                    <a:pt x="1386417" y="560917"/>
                  </a:lnTo>
                  <a:lnTo>
                    <a:pt x="1383771" y="563563"/>
                  </a:lnTo>
                  <a:lnTo>
                    <a:pt x="1378479" y="566209"/>
                  </a:lnTo>
                  <a:lnTo>
                    <a:pt x="1375833" y="571500"/>
                  </a:lnTo>
                  <a:lnTo>
                    <a:pt x="1367896" y="579438"/>
                  </a:lnTo>
                  <a:lnTo>
                    <a:pt x="1365250" y="582084"/>
                  </a:lnTo>
                  <a:lnTo>
                    <a:pt x="1365250" y="584729"/>
                  </a:lnTo>
                  <a:lnTo>
                    <a:pt x="1362604" y="590021"/>
                  </a:lnTo>
                  <a:lnTo>
                    <a:pt x="1357313" y="592667"/>
                  </a:lnTo>
                  <a:lnTo>
                    <a:pt x="1352021" y="595313"/>
                  </a:lnTo>
                  <a:lnTo>
                    <a:pt x="1346729" y="600604"/>
                  </a:lnTo>
                  <a:lnTo>
                    <a:pt x="1341438" y="603250"/>
                  </a:lnTo>
                  <a:lnTo>
                    <a:pt x="1338792" y="605896"/>
                  </a:lnTo>
                  <a:lnTo>
                    <a:pt x="1336146" y="605896"/>
                  </a:lnTo>
                  <a:lnTo>
                    <a:pt x="1328208" y="611188"/>
                  </a:lnTo>
                  <a:lnTo>
                    <a:pt x="1243542" y="611188"/>
                  </a:lnTo>
                  <a:lnTo>
                    <a:pt x="1238250" y="611188"/>
                  </a:lnTo>
                  <a:lnTo>
                    <a:pt x="1230313" y="613834"/>
                  </a:lnTo>
                  <a:lnTo>
                    <a:pt x="1222375" y="624417"/>
                  </a:lnTo>
                  <a:lnTo>
                    <a:pt x="1214438" y="632354"/>
                  </a:lnTo>
                  <a:lnTo>
                    <a:pt x="1206500" y="637646"/>
                  </a:lnTo>
                  <a:lnTo>
                    <a:pt x="1201208" y="640292"/>
                  </a:lnTo>
                  <a:lnTo>
                    <a:pt x="1190625" y="640292"/>
                  </a:lnTo>
                  <a:lnTo>
                    <a:pt x="1185333" y="640292"/>
                  </a:lnTo>
                  <a:lnTo>
                    <a:pt x="1187979" y="642938"/>
                  </a:lnTo>
                  <a:lnTo>
                    <a:pt x="1190625" y="642938"/>
                  </a:lnTo>
                  <a:lnTo>
                    <a:pt x="1190625" y="645584"/>
                  </a:lnTo>
                  <a:lnTo>
                    <a:pt x="1187979" y="645584"/>
                  </a:lnTo>
                  <a:lnTo>
                    <a:pt x="1185333" y="648229"/>
                  </a:lnTo>
                  <a:lnTo>
                    <a:pt x="1180042" y="648229"/>
                  </a:lnTo>
                  <a:lnTo>
                    <a:pt x="1172104" y="645584"/>
                  </a:lnTo>
                  <a:lnTo>
                    <a:pt x="1156229" y="645584"/>
                  </a:lnTo>
                  <a:lnTo>
                    <a:pt x="1137708" y="648229"/>
                  </a:lnTo>
                  <a:lnTo>
                    <a:pt x="1121833" y="656167"/>
                  </a:lnTo>
                  <a:lnTo>
                    <a:pt x="1111250" y="661459"/>
                  </a:lnTo>
                  <a:lnTo>
                    <a:pt x="1108604" y="664104"/>
                  </a:lnTo>
                  <a:lnTo>
                    <a:pt x="1111250" y="666750"/>
                  </a:lnTo>
                  <a:lnTo>
                    <a:pt x="1121833" y="669396"/>
                  </a:lnTo>
                  <a:lnTo>
                    <a:pt x="1121833" y="672042"/>
                  </a:lnTo>
                  <a:lnTo>
                    <a:pt x="1121833" y="674688"/>
                  </a:lnTo>
                  <a:lnTo>
                    <a:pt x="1113896" y="674688"/>
                  </a:lnTo>
                  <a:lnTo>
                    <a:pt x="1103313" y="674688"/>
                  </a:lnTo>
                  <a:lnTo>
                    <a:pt x="1098021" y="677334"/>
                  </a:lnTo>
                  <a:lnTo>
                    <a:pt x="1095375" y="679979"/>
                  </a:lnTo>
                  <a:lnTo>
                    <a:pt x="1100667" y="679979"/>
                  </a:lnTo>
                  <a:lnTo>
                    <a:pt x="1098021" y="682625"/>
                  </a:lnTo>
                  <a:lnTo>
                    <a:pt x="1087438" y="679979"/>
                  </a:lnTo>
                  <a:lnTo>
                    <a:pt x="1079500" y="679979"/>
                  </a:lnTo>
                  <a:lnTo>
                    <a:pt x="1074208" y="682625"/>
                  </a:lnTo>
                  <a:lnTo>
                    <a:pt x="1071563" y="685271"/>
                  </a:lnTo>
                  <a:lnTo>
                    <a:pt x="1068917" y="687917"/>
                  </a:lnTo>
                  <a:lnTo>
                    <a:pt x="1063625" y="687917"/>
                  </a:lnTo>
                  <a:lnTo>
                    <a:pt x="1060979" y="687917"/>
                  </a:lnTo>
                  <a:lnTo>
                    <a:pt x="1055688" y="690563"/>
                  </a:lnTo>
                  <a:lnTo>
                    <a:pt x="1045104" y="690563"/>
                  </a:lnTo>
                  <a:lnTo>
                    <a:pt x="1039812" y="695854"/>
                  </a:lnTo>
                  <a:lnTo>
                    <a:pt x="1034521" y="701146"/>
                  </a:lnTo>
                  <a:lnTo>
                    <a:pt x="1031875" y="701146"/>
                  </a:lnTo>
                  <a:lnTo>
                    <a:pt x="1031875" y="698500"/>
                  </a:lnTo>
                  <a:lnTo>
                    <a:pt x="1026583" y="698500"/>
                  </a:lnTo>
                  <a:lnTo>
                    <a:pt x="1023937" y="698500"/>
                  </a:lnTo>
                  <a:lnTo>
                    <a:pt x="1021292" y="698500"/>
                  </a:lnTo>
                  <a:lnTo>
                    <a:pt x="1016000" y="695854"/>
                  </a:lnTo>
                  <a:lnTo>
                    <a:pt x="1021292" y="690563"/>
                  </a:lnTo>
                  <a:lnTo>
                    <a:pt x="1026583" y="685271"/>
                  </a:lnTo>
                  <a:lnTo>
                    <a:pt x="1034521" y="685271"/>
                  </a:lnTo>
                  <a:lnTo>
                    <a:pt x="1037167" y="682625"/>
                  </a:lnTo>
                  <a:lnTo>
                    <a:pt x="1034521" y="679979"/>
                  </a:lnTo>
                  <a:lnTo>
                    <a:pt x="1034521" y="674688"/>
                  </a:lnTo>
                  <a:lnTo>
                    <a:pt x="1037167" y="669396"/>
                  </a:lnTo>
                  <a:lnTo>
                    <a:pt x="1042458" y="664104"/>
                  </a:lnTo>
                  <a:lnTo>
                    <a:pt x="1053042" y="661459"/>
                  </a:lnTo>
                  <a:lnTo>
                    <a:pt x="1063625" y="653521"/>
                  </a:lnTo>
                  <a:lnTo>
                    <a:pt x="1063625" y="648229"/>
                  </a:lnTo>
                  <a:lnTo>
                    <a:pt x="1063625" y="642938"/>
                  </a:lnTo>
                  <a:lnTo>
                    <a:pt x="1066271" y="640292"/>
                  </a:lnTo>
                  <a:lnTo>
                    <a:pt x="1071563" y="635000"/>
                  </a:lnTo>
                  <a:lnTo>
                    <a:pt x="1084792" y="627063"/>
                  </a:lnTo>
                  <a:lnTo>
                    <a:pt x="1084792" y="621771"/>
                  </a:lnTo>
                  <a:lnTo>
                    <a:pt x="1084792" y="616479"/>
                  </a:lnTo>
                  <a:lnTo>
                    <a:pt x="1084792" y="611188"/>
                  </a:lnTo>
                  <a:lnTo>
                    <a:pt x="1082146" y="608542"/>
                  </a:lnTo>
                  <a:lnTo>
                    <a:pt x="1079500" y="608542"/>
                  </a:lnTo>
                  <a:lnTo>
                    <a:pt x="1082146" y="605896"/>
                  </a:lnTo>
                  <a:lnTo>
                    <a:pt x="1084792" y="605896"/>
                  </a:lnTo>
                  <a:lnTo>
                    <a:pt x="1087438" y="608542"/>
                  </a:lnTo>
                  <a:lnTo>
                    <a:pt x="1090083" y="611188"/>
                  </a:lnTo>
                  <a:lnTo>
                    <a:pt x="1092729" y="621771"/>
                  </a:lnTo>
                  <a:lnTo>
                    <a:pt x="1095375" y="621771"/>
                  </a:lnTo>
                  <a:lnTo>
                    <a:pt x="1098021" y="621771"/>
                  </a:lnTo>
                  <a:lnTo>
                    <a:pt x="1100667" y="621771"/>
                  </a:lnTo>
                  <a:lnTo>
                    <a:pt x="1105958" y="624417"/>
                  </a:lnTo>
                  <a:lnTo>
                    <a:pt x="1108604" y="624417"/>
                  </a:lnTo>
                  <a:lnTo>
                    <a:pt x="1111250" y="619125"/>
                  </a:lnTo>
                  <a:lnTo>
                    <a:pt x="1111250" y="616479"/>
                  </a:lnTo>
                  <a:lnTo>
                    <a:pt x="1116542" y="616479"/>
                  </a:lnTo>
                  <a:lnTo>
                    <a:pt x="1119188" y="619125"/>
                  </a:lnTo>
                  <a:lnTo>
                    <a:pt x="1121833" y="619125"/>
                  </a:lnTo>
                  <a:lnTo>
                    <a:pt x="1121833" y="616479"/>
                  </a:lnTo>
                  <a:lnTo>
                    <a:pt x="1119188" y="613834"/>
                  </a:lnTo>
                  <a:lnTo>
                    <a:pt x="1119188" y="611188"/>
                  </a:lnTo>
                  <a:lnTo>
                    <a:pt x="1119188" y="603250"/>
                  </a:lnTo>
                  <a:lnTo>
                    <a:pt x="1119188" y="600604"/>
                  </a:lnTo>
                  <a:lnTo>
                    <a:pt x="1116542" y="597959"/>
                  </a:lnTo>
                  <a:lnTo>
                    <a:pt x="1113896" y="597959"/>
                  </a:lnTo>
                  <a:lnTo>
                    <a:pt x="1108604" y="592667"/>
                  </a:lnTo>
                  <a:lnTo>
                    <a:pt x="1103313" y="584729"/>
                  </a:lnTo>
                  <a:lnTo>
                    <a:pt x="1098021" y="584729"/>
                  </a:lnTo>
                  <a:lnTo>
                    <a:pt x="1090083" y="584729"/>
                  </a:lnTo>
                  <a:lnTo>
                    <a:pt x="1082146" y="582084"/>
                  </a:lnTo>
                  <a:lnTo>
                    <a:pt x="1071563" y="579438"/>
                  </a:lnTo>
                  <a:lnTo>
                    <a:pt x="1068917" y="579438"/>
                  </a:lnTo>
                  <a:lnTo>
                    <a:pt x="1060979" y="579438"/>
                  </a:lnTo>
                  <a:lnTo>
                    <a:pt x="1053042" y="579438"/>
                  </a:lnTo>
                  <a:lnTo>
                    <a:pt x="1042458" y="576792"/>
                  </a:lnTo>
                  <a:lnTo>
                    <a:pt x="1037167" y="574146"/>
                  </a:lnTo>
                  <a:lnTo>
                    <a:pt x="1037167" y="571500"/>
                  </a:lnTo>
                  <a:lnTo>
                    <a:pt x="1039812" y="568854"/>
                  </a:lnTo>
                  <a:lnTo>
                    <a:pt x="1034521" y="566209"/>
                  </a:lnTo>
                  <a:lnTo>
                    <a:pt x="1034521" y="560917"/>
                  </a:lnTo>
                  <a:lnTo>
                    <a:pt x="1037167" y="558271"/>
                  </a:lnTo>
                  <a:lnTo>
                    <a:pt x="1034521" y="552979"/>
                  </a:lnTo>
                  <a:lnTo>
                    <a:pt x="1031875" y="550334"/>
                  </a:lnTo>
                  <a:lnTo>
                    <a:pt x="1031875" y="547688"/>
                  </a:lnTo>
                  <a:lnTo>
                    <a:pt x="1037167" y="539750"/>
                  </a:lnTo>
                  <a:lnTo>
                    <a:pt x="1034521" y="539750"/>
                  </a:lnTo>
                  <a:lnTo>
                    <a:pt x="1026583" y="539750"/>
                  </a:lnTo>
                  <a:lnTo>
                    <a:pt x="1021292" y="539750"/>
                  </a:lnTo>
                  <a:lnTo>
                    <a:pt x="1018646" y="537104"/>
                  </a:lnTo>
                  <a:lnTo>
                    <a:pt x="1016000" y="531813"/>
                  </a:lnTo>
                  <a:lnTo>
                    <a:pt x="1013354" y="526521"/>
                  </a:lnTo>
                  <a:lnTo>
                    <a:pt x="1008062" y="518584"/>
                  </a:lnTo>
                  <a:lnTo>
                    <a:pt x="1005417" y="513292"/>
                  </a:lnTo>
                  <a:lnTo>
                    <a:pt x="1000125" y="513292"/>
                  </a:lnTo>
                  <a:lnTo>
                    <a:pt x="992187" y="513292"/>
                  </a:lnTo>
                  <a:lnTo>
                    <a:pt x="986896" y="510646"/>
                  </a:lnTo>
                  <a:lnTo>
                    <a:pt x="984250" y="510646"/>
                  </a:lnTo>
                  <a:lnTo>
                    <a:pt x="978958" y="508000"/>
                  </a:lnTo>
                  <a:lnTo>
                    <a:pt x="981604" y="513292"/>
                  </a:lnTo>
                  <a:lnTo>
                    <a:pt x="978958" y="515938"/>
                  </a:lnTo>
                  <a:lnTo>
                    <a:pt x="973667" y="518584"/>
                  </a:lnTo>
                  <a:lnTo>
                    <a:pt x="973667" y="513292"/>
                  </a:lnTo>
                  <a:lnTo>
                    <a:pt x="973667" y="510646"/>
                  </a:lnTo>
                  <a:lnTo>
                    <a:pt x="971021" y="513292"/>
                  </a:lnTo>
                  <a:lnTo>
                    <a:pt x="968375" y="515938"/>
                  </a:lnTo>
                  <a:lnTo>
                    <a:pt x="965729" y="518584"/>
                  </a:lnTo>
                  <a:lnTo>
                    <a:pt x="960437" y="521229"/>
                  </a:lnTo>
                  <a:lnTo>
                    <a:pt x="957792" y="523875"/>
                  </a:lnTo>
                  <a:lnTo>
                    <a:pt x="957792" y="521229"/>
                  </a:lnTo>
                  <a:lnTo>
                    <a:pt x="955146" y="518584"/>
                  </a:lnTo>
                  <a:lnTo>
                    <a:pt x="955146" y="515938"/>
                  </a:lnTo>
                  <a:lnTo>
                    <a:pt x="949854" y="521229"/>
                  </a:lnTo>
                  <a:lnTo>
                    <a:pt x="939271" y="529167"/>
                  </a:lnTo>
                  <a:lnTo>
                    <a:pt x="931333" y="531813"/>
                  </a:lnTo>
                  <a:lnTo>
                    <a:pt x="918104" y="534459"/>
                  </a:lnTo>
                  <a:lnTo>
                    <a:pt x="910167" y="531813"/>
                  </a:lnTo>
                  <a:lnTo>
                    <a:pt x="904875" y="529167"/>
                  </a:lnTo>
                  <a:lnTo>
                    <a:pt x="891646" y="526521"/>
                  </a:lnTo>
                  <a:lnTo>
                    <a:pt x="881062" y="529167"/>
                  </a:lnTo>
                  <a:lnTo>
                    <a:pt x="875771" y="529167"/>
                  </a:lnTo>
                  <a:lnTo>
                    <a:pt x="870479" y="526521"/>
                  </a:lnTo>
                  <a:lnTo>
                    <a:pt x="865187" y="523875"/>
                  </a:lnTo>
                  <a:lnTo>
                    <a:pt x="862542" y="523875"/>
                  </a:lnTo>
                  <a:lnTo>
                    <a:pt x="857250" y="523875"/>
                  </a:lnTo>
                  <a:lnTo>
                    <a:pt x="849312" y="521229"/>
                  </a:lnTo>
                  <a:lnTo>
                    <a:pt x="836083" y="515938"/>
                  </a:lnTo>
                  <a:lnTo>
                    <a:pt x="825500" y="513292"/>
                  </a:lnTo>
                  <a:lnTo>
                    <a:pt x="817562" y="510646"/>
                  </a:lnTo>
                  <a:lnTo>
                    <a:pt x="814917" y="510646"/>
                  </a:lnTo>
                  <a:lnTo>
                    <a:pt x="814917" y="505354"/>
                  </a:lnTo>
                  <a:lnTo>
                    <a:pt x="817562" y="502709"/>
                  </a:lnTo>
                  <a:lnTo>
                    <a:pt x="820208" y="494771"/>
                  </a:lnTo>
                  <a:lnTo>
                    <a:pt x="817562" y="492125"/>
                  </a:lnTo>
                  <a:lnTo>
                    <a:pt x="812271" y="494771"/>
                  </a:lnTo>
                  <a:lnTo>
                    <a:pt x="809625" y="494771"/>
                  </a:lnTo>
                  <a:lnTo>
                    <a:pt x="804333" y="500063"/>
                  </a:lnTo>
                  <a:lnTo>
                    <a:pt x="799042" y="508000"/>
                  </a:lnTo>
                  <a:lnTo>
                    <a:pt x="791104" y="510646"/>
                  </a:lnTo>
                  <a:lnTo>
                    <a:pt x="148167" y="510646"/>
                  </a:lnTo>
                  <a:lnTo>
                    <a:pt x="132292" y="494771"/>
                  </a:lnTo>
                  <a:lnTo>
                    <a:pt x="119063" y="481542"/>
                  </a:lnTo>
                  <a:lnTo>
                    <a:pt x="111125" y="476250"/>
                  </a:lnTo>
                  <a:lnTo>
                    <a:pt x="108479" y="470959"/>
                  </a:lnTo>
                  <a:lnTo>
                    <a:pt x="103188" y="465667"/>
                  </a:lnTo>
                  <a:lnTo>
                    <a:pt x="95250" y="463021"/>
                  </a:lnTo>
                  <a:lnTo>
                    <a:pt x="87313" y="463021"/>
                  </a:lnTo>
                  <a:lnTo>
                    <a:pt x="84667" y="460375"/>
                  </a:lnTo>
                  <a:lnTo>
                    <a:pt x="79375" y="457729"/>
                  </a:lnTo>
                  <a:lnTo>
                    <a:pt x="76729" y="452438"/>
                  </a:lnTo>
                  <a:lnTo>
                    <a:pt x="82021" y="447146"/>
                  </a:lnTo>
                  <a:lnTo>
                    <a:pt x="84667" y="439208"/>
                  </a:lnTo>
                  <a:lnTo>
                    <a:pt x="87313" y="428625"/>
                  </a:lnTo>
                  <a:lnTo>
                    <a:pt x="84667" y="415396"/>
                  </a:lnTo>
                  <a:lnTo>
                    <a:pt x="87313" y="404813"/>
                  </a:lnTo>
                  <a:lnTo>
                    <a:pt x="87313" y="402167"/>
                  </a:lnTo>
                  <a:lnTo>
                    <a:pt x="87313" y="399521"/>
                  </a:lnTo>
                  <a:lnTo>
                    <a:pt x="84667" y="396875"/>
                  </a:lnTo>
                  <a:lnTo>
                    <a:pt x="82021" y="394229"/>
                  </a:lnTo>
                  <a:lnTo>
                    <a:pt x="82021" y="391583"/>
                  </a:lnTo>
                  <a:lnTo>
                    <a:pt x="89958" y="375708"/>
                  </a:lnTo>
                  <a:lnTo>
                    <a:pt x="92604" y="373063"/>
                  </a:lnTo>
                  <a:lnTo>
                    <a:pt x="89958" y="373063"/>
                  </a:lnTo>
                  <a:lnTo>
                    <a:pt x="87313" y="373063"/>
                  </a:lnTo>
                  <a:lnTo>
                    <a:pt x="95250" y="359833"/>
                  </a:lnTo>
                  <a:lnTo>
                    <a:pt x="103188" y="357188"/>
                  </a:lnTo>
                  <a:lnTo>
                    <a:pt x="105833" y="351896"/>
                  </a:lnTo>
                  <a:lnTo>
                    <a:pt x="108479" y="349250"/>
                  </a:lnTo>
                  <a:lnTo>
                    <a:pt x="113771" y="343958"/>
                  </a:lnTo>
                  <a:lnTo>
                    <a:pt x="116417" y="341313"/>
                  </a:lnTo>
                  <a:lnTo>
                    <a:pt x="116417" y="338667"/>
                  </a:lnTo>
                  <a:lnTo>
                    <a:pt x="111125" y="333375"/>
                  </a:lnTo>
                  <a:lnTo>
                    <a:pt x="105833" y="328083"/>
                  </a:lnTo>
                  <a:lnTo>
                    <a:pt x="105833" y="325438"/>
                  </a:lnTo>
                  <a:lnTo>
                    <a:pt x="105833" y="322792"/>
                  </a:lnTo>
                  <a:lnTo>
                    <a:pt x="108479" y="320146"/>
                  </a:lnTo>
                  <a:lnTo>
                    <a:pt x="108479" y="317500"/>
                  </a:lnTo>
                  <a:lnTo>
                    <a:pt x="105833" y="317500"/>
                  </a:lnTo>
                  <a:lnTo>
                    <a:pt x="105833" y="312208"/>
                  </a:lnTo>
                  <a:lnTo>
                    <a:pt x="108479" y="304271"/>
                  </a:lnTo>
                  <a:lnTo>
                    <a:pt x="108479" y="296333"/>
                  </a:lnTo>
                  <a:lnTo>
                    <a:pt x="108479" y="277812"/>
                  </a:lnTo>
                  <a:lnTo>
                    <a:pt x="105833" y="261937"/>
                  </a:lnTo>
                  <a:lnTo>
                    <a:pt x="105833" y="256646"/>
                  </a:lnTo>
                  <a:lnTo>
                    <a:pt x="105833" y="254000"/>
                  </a:lnTo>
                  <a:lnTo>
                    <a:pt x="111125" y="248708"/>
                  </a:lnTo>
                  <a:lnTo>
                    <a:pt x="95250" y="248708"/>
                  </a:lnTo>
                  <a:lnTo>
                    <a:pt x="87313" y="251354"/>
                  </a:lnTo>
                  <a:lnTo>
                    <a:pt x="84667" y="254000"/>
                  </a:lnTo>
                  <a:lnTo>
                    <a:pt x="84667" y="256646"/>
                  </a:lnTo>
                  <a:lnTo>
                    <a:pt x="76729" y="256646"/>
                  </a:lnTo>
                  <a:lnTo>
                    <a:pt x="68792" y="256646"/>
                  </a:lnTo>
                  <a:lnTo>
                    <a:pt x="63500" y="259292"/>
                  </a:lnTo>
                  <a:lnTo>
                    <a:pt x="58208" y="261937"/>
                  </a:lnTo>
                  <a:lnTo>
                    <a:pt x="47625" y="261937"/>
                  </a:lnTo>
                  <a:lnTo>
                    <a:pt x="42333" y="259292"/>
                  </a:lnTo>
                  <a:lnTo>
                    <a:pt x="37042" y="254000"/>
                  </a:lnTo>
                  <a:lnTo>
                    <a:pt x="34396" y="243417"/>
                  </a:lnTo>
                  <a:lnTo>
                    <a:pt x="31750" y="243417"/>
                  </a:lnTo>
                  <a:lnTo>
                    <a:pt x="26458" y="243417"/>
                  </a:lnTo>
                  <a:lnTo>
                    <a:pt x="23812" y="243417"/>
                  </a:lnTo>
                  <a:lnTo>
                    <a:pt x="15875" y="240771"/>
                  </a:lnTo>
                  <a:lnTo>
                    <a:pt x="7937" y="240771"/>
                  </a:lnTo>
                  <a:lnTo>
                    <a:pt x="0" y="240771"/>
                  </a:lnTo>
                  <a:lnTo>
                    <a:pt x="42333" y="209021"/>
                  </a:lnTo>
                  <a:lnTo>
                    <a:pt x="84667" y="179917"/>
                  </a:lnTo>
                  <a:lnTo>
                    <a:pt x="164042" y="127000"/>
                  </a:lnTo>
                  <a:lnTo>
                    <a:pt x="232833" y="84667"/>
                  </a:lnTo>
                  <a:lnTo>
                    <a:pt x="293688" y="50271"/>
                  </a:lnTo>
                  <a:lnTo>
                    <a:pt x="309563" y="50271"/>
                  </a:lnTo>
                  <a:lnTo>
                    <a:pt x="325438" y="52917"/>
                  </a:lnTo>
                  <a:lnTo>
                    <a:pt x="357188" y="66146"/>
                  </a:lnTo>
                  <a:lnTo>
                    <a:pt x="365125" y="68792"/>
                  </a:lnTo>
                  <a:lnTo>
                    <a:pt x="365125" y="63500"/>
                  </a:lnTo>
                  <a:lnTo>
                    <a:pt x="365125" y="58208"/>
                  </a:lnTo>
                  <a:lnTo>
                    <a:pt x="367771" y="55562"/>
                  </a:lnTo>
                  <a:lnTo>
                    <a:pt x="373063" y="52917"/>
                  </a:lnTo>
                  <a:lnTo>
                    <a:pt x="386292" y="52917"/>
                  </a:lnTo>
                  <a:lnTo>
                    <a:pt x="399521" y="52917"/>
                  </a:lnTo>
                  <a:lnTo>
                    <a:pt x="407458" y="52917"/>
                  </a:lnTo>
                  <a:lnTo>
                    <a:pt x="410104" y="52917"/>
                  </a:lnTo>
                  <a:lnTo>
                    <a:pt x="404813" y="58208"/>
                  </a:lnTo>
                  <a:lnTo>
                    <a:pt x="402167" y="63500"/>
                  </a:lnTo>
                  <a:lnTo>
                    <a:pt x="404813" y="63500"/>
                  </a:lnTo>
                  <a:lnTo>
                    <a:pt x="423333" y="52917"/>
                  </a:lnTo>
                  <a:lnTo>
                    <a:pt x="433917" y="50271"/>
                  </a:lnTo>
                  <a:lnTo>
                    <a:pt x="444500" y="50271"/>
                  </a:lnTo>
                  <a:lnTo>
                    <a:pt x="455083" y="50271"/>
                  </a:lnTo>
                  <a:lnTo>
                    <a:pt x="468313" y="47625"/>
                  </a:lnTo>
                  <a:lnTo>
                    <a:pt x="497417" y="39687"/>
                  </a:lnTo>
                  <a:lnTo>
                    <a:pt x="515938" y="34396"/>
                  </a:lnTo>
                  <a:lnTo>
                    <a:pt x="523875" y="34396"/>
                  </a:lnTo>
                  <a:lnTo>
                    <a:pt x="529167" y="37042"/>
                  </a:lnTo>
                  <a:lnTo>
                    <a:pt x="531813" y="39687"/>
                  </a:lnTo>
                  <a:lnTo>
                    <a:pt x="523875" y="42333"/>
                  </a:lnTo>
                  <a:lnTo>
                    <a:pt x="497417" y="47625"/>
                  </a:lnTo>
                  <a:lnTo>
                    <a:pt x="484188" y="50271"/>
                  </a:lnTo>
                  <a:lnTo>
                    <a:pt x="473604" y="58208"/>
                  </a:lnTo>
                  <a:lnTo>
                    <a:pt x="484188" y="52917"/>
                  </a:lnTo>
                  <a:lnTo>
                    <a:pt x="497417" y="52917"/>
                  </a:lnTo>
                  <a:lnTo>
                    <a:pt x="515938" y="50271"/>
                  </a:lnTo>
                  <a:lnTo>
                    <a:pt x="526521" y="47625"/>
                  </a:lnTo>
                  <a:lnTo>
                    <a:pt x="534458" y="44979"/>
                  </a:lnTo>
                  <a:lnTo>
                    <a:pt x="537104" y="47625"/>
                  </a:lnTo>
                  <a:lnTo>
                    <a:pt x="537104" y="50271"/>
                  </a:lnTo>
                  <a:lnTo>
                    <a:pt x="539750" y="52917"/>
                  </a:lnTo>
                  <a:lnTo>
                    <a:pt x="547688" y="50271"/>
                  </a:lnTo>
                  <a:lnTo>
                    <a:pt x="563563" y="39687"/>
                  </a:lnTo>
                  <a:lnTo>
                    <a:pt x="563563" y="34396"/>
                  </a:lnTo>
                  <a:lnTo>
                    <a:pt x="563563" y="31750"/>
                  </a:lnTo>
                  <a:lnTo>
                    <a:pt x="566208" y="29104"/>
                  </a:lnTo>
                  <a:lnTo>
                    <a:pt x="568854" y="29104"/>
                  </a:lnTo>
                  <a:lnTo>
                    <a:pt x="582083" y="34396"/>
                  </a:lnTo>
                  <a:lnTo>
                    <a:pt x="587375" y="37042"/>
                  </a:lnTo>
                  <a:lnTo>
                    <a:pt x="590021" y="39687"/>
                  </a:lnTo>
                  <a:lnTo>
                    <a:pt x="590021" y="47625"/>
                  </a:lnTo>
                  <a:lnTo>
                    <a:pt x="590021" y="52917"/>
                  </a:lnTo>
                  <a:lnTo>
                    <a:pt x="600604" y="52917"/>
                  </a:lnTo>
                  <a:lnTo>
                    <a:pt x="605896" y="50271"/>
                  </a:lnTo>
                  <a:lnTo>
                    <a:pt x="605896" y="47625"/>
                  </a:lnTo>
                  <a:lnTo>
                    <a:pt x="605896" y="44979"/>
                  </a:lnTo>
                  <a:lnTo>
                    <a:pt x="611188" y="39687"/>
                  </a:lnTo>
                  <a:lnTo>
                    <a:pt x="616479" y="37042"/>
                  </a:lnTo>
                  <a:lnTo>
                    <a:pt x="616479" y="34396"/>
                  </a:lnTo>
                  <a:lnTo>
                    <a:pt x="619125" y="31750"/>
                  </a:lnTo>
                  <a:lnTo>
                    <a:pt x="627063" y="29104"/>
                  </a:lnTo>
                  <a:lnTo>
                    <a:pt x="642938" y="26458"/>
                  </a:lnTo>
                  <a:lnTo>
                    <a:pt x="645583" y="29104"/>
                  </a:lnTo>
                  <a:lnTo>
                    <a:pt x="640292" y="34396"/>
                  </a:lnTo>
                  <a:lnTo>
                    <a:pt x="632354" y="37042"/>
                  </a:lnTo>
                  <a:lnTo>
                    <a:pt x="635000" y="39687"/>
                  </a:lnTo>
                  <a:lnTo>
                    <a:pt x="635000" y="42333"/>
                  </a:lnTo>
                  <a:lnTo>
                    <a:pt x="627063" y="50271"/>
                  </a:lnTo>
                  <a:lnTo>
                    <a:pt x="645583" y="47625"/>
                  </a:lnTo>
                  <a:lnTo>
                    <a:pt x="653521" y="44979"/>
                  </a:lnTo>
                  <a:lnTo>
                    <a:pt x="658813" y="42333"/>
                  </a:lnTo>
                  <a:lnTo>
                    <a:pt x="669396" y="39687"/>
                  </a:lnTo>
                  <a:lnTo>
                    <a:pt x="682625" y="39687"/>
                  </a:lnTo>
                  <a:lnTo>
                    <a:pt x="693208" y="42333"/>
                  </a:lnTo>
                  <a:lnTo>
                    <a:pt x="703792" y="47625"/>
                  </a:lnTo>
                  <a:lnTo>
                    <a:pt x="722313" y="50271"/>
                  </a:lnTo>
                  <a:lnTo>
                    <a:pt x="759354" y="55562"/>
                  </a:lnTo>
                  <a:lnTo>
                    <a:pt x="769937" y="55562"/>
                  </a:lnTo>
                  <a:lnTo>
                    <a:pt x="772583" y="52917"/>
                  </a:lnTo>
                  <a:lnTo>
                    <a:pt x="769937" y="52917"/>
                  </a:lnTo>
                  <a:lnTo>
                    <a:pt x="767292" y="50271"/>
                  </a:lnTo>
                  <a:lnTo>
                    <a:pt x="769937" y="50271"/>
                  </a:lnTo>
                  <a:lnTo>
                    <a:pt x="785812" y="52917"/>
                  </a:lnTo>
                  <a:lnTo>
                    <a:pt x="791104" y="55562"/>
                  </a:lnTo>
                  <a:lnTo>
                    <a:pt x="793750" y="58208"/>
                  </a:lnTo>
                  <a:lnTo>
                    <a:pt x="796396" y="63500"/>
                  </a:lnTo>
                  <a:lnTo>
                    <a:pt x="796396" y="66146"/>
                  </a:lnTo>
                  <a:lnTo>
                    <a:pt x="788458" y="66146"/>
                  </a:lnTo>
                  <a:lnTo>
                    <a:pt x="783167" y="63500"/>
                  </a:lnTo>
                  <a:lnTo>
                    <a:pt x="772583" y="66146"/>
                  </a:lnTo>
                  <a:lnTo>
                    <a:pt x="769937" y="66146"/>
                  </a:lnTo>
                  <a:lnTo>
                    <a:pt x="764646" y="71437"/>
                  </a:lnTo>
                  <a:lnTo>
                    <a:pt x="777875" y="71437"/>
                  </a:lnTo>
                  <a:lnTo>
                    <a:pt x="780521" y="74083"/>
                  </a:lnTo>
                  <a:lnTo>
                    <a:pt x="783167" y="76729"/>
                  </a:lnTo>
                  <a:lnTo>
                    <a:pt x="793750" y="76729"/>
                  </a:lnTo>
                  <a:lnTo>
                    <a:pt x="801687" y="76729"/>
                  </a:lnTo>
                  <a:lnTo>
                    <a:pt x="809625" y="79375"/>
                  </a:lnTo>
                  <a:lnTo>
                    <a:pt x="814917" y="82021"/>
                  </a:lnTo>
                  <a:lnTo>
                    <a:pt x="825500" y="79375"/>
                  </a:lnTo>
                  <a:lnTo>
                    <a:pt x="838729" y="76729"/>
                  </a:lnTo>
                  <a:lnTo>
                    <a:pt x="846667" y="76729"/>
                  </a:lnTo>
                  <a:lnTo>
                    <a:pt x="854604" y="74083"/>
                  </a:lnTo>
                  <a:lnTo>
                    <a:pt x="862542" y="71437"/>
                  </a:lnTo>
                  <a:lnTo>
                    <a:pt x="873125" y="68792"/>
                  </a:lnTo>
                  <a:lnTo>
                    <a:pt x="881062" y="68792"/>
                  </a:lnTo>
                  <a:lnTo>
                    <a:pt x="896937" y="79375"/>
                  </a:lnTo>
                  <a:lnTo>
                    <a:pt x="902229" y="84667"/>
                  </a:lnTo>
                  <a:lnTo>
                    <a:pt x="896937" y="87312"/>
                  </a:lnTo>
                  <a:lnTo>
                    <a:pt x="894292" y="89958"/>
                  </a:lnTo>
                  <a:lnTo>
                    <a:pt x="889000" y="92604"/>
                  </a:lnTo>
                  <a:lnTo>
                    <a:pt x="886354" y="100542"/>
                  </a:lnTo>
                  <a:lnTo>
                    <a:pt x="886354" y="108479"/>
                  </a:lnTo>
                  <a:lnTo>
                    <a:pt x="889000" y="97896"/>
                  </a:lnTo>
                  <a:lnTo>
                    <a:pt x="891646" y="95250"/>
                  </a:lnTo>
                  <a:lnTo>
                    <a:pt x="899583" y="92604"/>
                  </a:lnTo>
                  <a:lnTo>
                    <a:pt x="904875" y="87312"/>
                  </a:lnTo>
                  <a:lnTo>
                    <a:pt x="904875" y="84667"/>
                  </a:lnTo>
                  <a:lnTo>
                    <a:pt x="904875" y="82021"/>
                  </a:lnTo>
                  <a:lnTo>
                    <a:pt x="904875" y="79375"/>
                  </a:lnTo>
                  <a:lnTo>
                    <a:pt x="915458" y="74083"/>
                  </a:lnTo>
                  <a:lnTo>
                    <a:pt x="933979" y="68792"/>
                  </a:lnTo>
                  <a:lnTo>
                    <a:pt x="947208" y="68792"/>
                  </a:lnTo>
                  <a:lnTo>
                    <a:pt x="955146" y="66146"/>
                  </a:lnTo>
                  <a:lnTo>
                    <a:pt x="965729" y="66146"/>
                  </a:lnTo>
                  <a:lnTo>
                    <a:pt x="968375" y="66146"/>
                  </a:lnTo>
                  <a:lnTo>
                    <a:pt x="971021" y="63500"/>
                  </a:lnTo>
                  <a:lnTo>
                    <a:pt x="968375" y="60854"/>
                  </a:lnTo>
                  <a:lnTo>
                    <a:pt x="965729" y="60854"/>
                  </a:lnTo>
                  <a:lnTo>
                    <a:pt x="960437" y="63500"/>
                  </a:lnTo>
                  <a:lnTo>
                    <a:pt x="957792" y="63500"/>
                  </a:lnTo>
                  <a:lnTo>
                    <a:pt x="955146" y="60854"/>
                  </a:lnTo>
                  <a:lnTo>
                    <a:pt x="952500" y="63500"/>
                  </a:lnTo>
                  <a:lnTo>
                    <a:pt x="947208" y="63500"/>
                  </a:lnTo>
                  <a:lnTo>
                    <a:pt x="944562" y="63500"/>
                  </a:lnTo>
                  <a:lnTo>
                    <a:pt x="941917" y="63500"/>
                  </a:lnTo>
                  <a:lnTo>
                    <a:pt x="936625" y="66146"/>
                  </a:lnTo>
                  <a:lnTo>
                    <a:pt x="928687" y="68792"/>
                  </a:lnTo>
                  <a:lnTo>
                    <a:pt x="926042" y="66146"/>
                  </a:lnTo>
                  <a:lnTo>
                    <a:pt x="923396" y="66146"/>
                  </a:lnTo>
                  <a:lnTo>
                    <a:pt x="918104" y="66146"/>
                  </a:lnTo>
                  <a:lnTo>
                    <a:pt x="918104" y="63500"/>
                  </a:lnTo>
                  <a:lnTo>
                    <a:pt x="918104" y="60854"/>
                  </a:lnTo>
                  <a:lnTo>
                    <a:pt x="923396" y="58208"/>
                  </a:lnTo>
                  <a:lnTo>
                    <a:pt x="933979" y="55562"/>
                  </a:lnTo>
                  <a:lnTo>
                    <a:pt x="949854" y="52917"/>
                  </a:lnTo>
                  <a:lnTo>
                    <a:pt x="960437" y="50271"/>
                  </a:lnTo>
                  <a:lnTo>
                    <a:pt x="968375" y="47625"/>
                  </a:lnTo>
                  <a:lnTo>
                    <a:pt x="978958" y="47625"/>
                  </a:lnTo>
                  <a:lnTo>
                    <a:pt x="981604" y="47625"/>
                  </a:lnTo>
                  <a:lnTo>
                    <a:pt x="981604" y="50271"/>
                  </a:lnTo>
                  <a:lnTo>
                    <a:pt x="978958" y="52917"/>
                  </a:lnTo>
                  <a:lnTo>
                    <a:pt x="976312" y="58208"/>
                  </a:lnTo>
                  <a:lnTo>
                    <a:pt x="976312" y="60854"/>
                  </a:lnTo>
                  <a:lnTo>
                    <a:pt x="981604" y="63500"/>
                  </a:lnTo>
                  <a:lnTo>
                    <a:pt x="981604" y="66146"/>
                  </a:lnTo>
                  <a:lnTo>
                    <a:pt x="984250" y="63500"/>
                  </a:lnTo>
                  <a:lnTo>
                    <a:pt x="989542" y="63500"/>
                  </a:lnTo>
                  <a:lnTo>
                    <a:pt x="989542" y="66146"/>
                  </a:lnTo>
                  <a:lnTo>
                    <a:pt x="989542" y="68792"/>
                  </a:lnTo>
                  <a:lnTo>
                    <a:pt x="992187" y="71437"/>
                  </a:lnTo>
                  <a:lnTo>
                    <a:pt x="1000125" y="74083"/>
                  </a:lnTo>
                  <a:lnTo>
                    <a:pt x="1010708" y="74083"/>
                  </a:lnTo>
                  <a:lnTo>
                    <a:pt x="1037167" y="74083"/>
                  </a:lnTo>
                  <a:lnTo>
                    <a:pt x="1053042" y="74083"/>
                  </a:lnTo>
                  <a:lnTo>
                    <a:pt x="1066271" y="71437"/>
                  </a:lnTo>
                  <a:lnTo>
                    <a:pt x="1079500" y="68792"/>
                  </a:lnTo>
                  <a:lnTo>
                    <a:pt x="1084792" y="71437"/>
                  </a:lnTo>
                  <a:lnTo>
                    <a:pt x="1090083" y="71437"/>
                  </a:lnTo>
                  <a:lnTo>
                    <a:pt x="1095375" y="76729"/>
                  </a:lnTo>
                  <a:lnTo>
                    <a:pt x="1098021" y="76729"/>
                  </a:lnTo>
                  <a:lnTo>
                    <a:pt x="1103313" y="74083"/>
                  </a:lnTo>
                  <a:lnTo>
                    <a:pt x="1111250" y="74083"/>
                  </a:lnTo>
                  <a:lnTo>
                    <a:pt x="1119188" y="71437"/>
                  </a:lnTo>
                  <a:lnTo>
                    <a:pt x="1121833" y="68792"/>
                  </a:lnTo>
                  <a:lnTo>
                    <a:pt x="1124479" y="66146"/>
                  </a:lnTo>
                  <a:lnTo>
                    <a:pt x="1127125" y="71437"/>
                  </a:lnTo>
                  <a:lnTo>
                    <a:pt x="1132417" y="76729"/>
                  </a:lnTo>
                  <a:lnTo>
                    <a:pt x="1137708" y="79375"/>
                  </a:lnTo>
                  <a:lnTo>
                    <a:pt x="1140354" y="79375"/>
                  </a:lnTo>
                  <a:lnTo>
                    <a:pt x="1143000" y="76729"/>
                  </a:lnTo>
                  <a:lnTo>
                    <a:pt x="1140354" y="74083"/>
                  </a:lnTo>
                  <a:lnTo>
                    <a:pt x="1135063" y="71437"/>
                  </a:lnTo>
                  <a:lnTo>
                    <a:pt x="1129771" y="68792"/>
                  </a:lnTo>
                  <a:lnTo>
                    <a:pt x="1127125" y="60854"/>
                  </a:lnTo>
                  <a:lnTo>
                    <a:pt x="1135063" y="63500"/>
                  </a:lnTo>
                  <a:lnTo>
                    <a:pt x="1140354" y="60854"/>
                  </a:lnTo>
                  <a:lnTo>
                    <a:pt x="1143000" y="58208"/>
                  </a:lnTo>
                  <a:lnTo>
                    <a:pt x="1145646" y="60854"/>
                  </a:lnTo>
                  <a:lnTo>
                    <a:pt x="1153583" y="66146"/>
                  </a:lnTo>
                  <a:lnTo>
                    <a:pt x="1158875" y="66146"/>
                  </a:lnTo>
                  <a:lnTo>
                    <a:pt x="1158875" y="68792"/>
                  </a:lnTo>
                  <a:lnTo>
                    <a:pt x="1156229" y="71437"/>
                  </a:lnTo>
                  <a:lnTo>
                    <a:pt x="1150938" y="74083"/>
                  </a:lnTo>
                  <a:lnTo>
                    <a:pt x="1150938" y="76729"/>
                  </a:lnTo>
                  <a:lnTo>
                    <a:pt x="1150938" y="79375"/>
                  </a:lnTo>
                  <a:lnTo>
                    <a:pt x="1143000" y="87312"/>
                  </a:lnTo>
                  <a:lnTo>
                    <a:pt x="1153583" y="82021"/>
                  </a:lnTo>
                  <a:lnTo>
                    <a:pt x="1158875" y="79375"/>
                  </a:lnTo>
                  <a:lnTo>
                    <a:pt x="1158875" y="74083"/>
                  </a:lnTo>
                  <a:lnTo>
                    <a:pt x="1166813" y="71437"/>
                  </a:lnTo>
                  <a:lnTo>
                    <a:pt x="1172104" y="68792"/>
                  </a:lnTo>
                  <a:lnTo>
                    <a:pt x="1177396" y="68792"/>
                  </a:lnTo>
                  <a:lnTo>
                    <a:pt x="1185333" y="71437"/>
                  </a:lnTo>
                  <a:lnTo>
                    <a:pt x="1195917" y="71437"/>
                  </a:lnTo>
                  <a:lnTo>
                    <a:pt x="1219729" y="68792"/>
                  </a:lnTo>
                  <a:lnTo>
                    <a:pt x="1222375" y="68792"/>
                  </a:lnTo>
                  <a:lnTo>
                    <a:pt x="1219729" y="66146"/>
                  </a:lnTo>
                  <a:lnTo>
                    <a:pt x="1217083" y="63500"/>
                  </a:lnTo>
                  <a:lnTo>
                    <a:pt x="1214438" y="66146"/>
                  </a:lnTo>
                  <a:lnTo>
                    <a:pt x="1211792" y="68792"/>
                  </a:lnTo>
                  <a:lnTo>
                    <a:pt x="1209146" y="66146"/>
                  </a:lnTo>
                  <a:lnTo>
                    <a:pt x="1206500" y="66146"/>
                  </a:lnTo>
                  <a:lnTo>
                    <a:pt x="1206500" y="63500"/>
                  </a:lnTo>
                  <a:lnTo>
                    <a:pt x="1211792" y="60854"/>
                  </a:lnTo>
                  <a:lnTo>
                    <a:pt x="1222375" y="58208"/>
                  </a:lnTo>
                  <a:lnTo>
                    <a:pt x="1227667" y="58208"/>
                  </a:lnTo>
                  <a:lnTo>
                    <a:pt x="1232958" y="58208"/>
                  </a:lnTo>
                  <a:lnTo>
                    <a:pt x="1240896" y="55562"/>
                  </a:lnTo>
                  <a:lnTo>
                    <a:pt x="1248833" y="50271"/>
                  </a:lnTo>
                  <a:lnTo>
                    <a:pt x="1243542" y="50271"/>
                  </a:lnTo>
                  <a:lnTo>
                    <a:pt x="1232958" y="52917"/>
                  </a:lnTo>
                  <a:lnTo>
                    <a:pt x="1222375" y="55562"/>
                  </a:lnTo>
                  <a:lnTo>
                    <a:pt x="1214438" y="52917"/>
                  </a:lnTo>
                  <a:lnTo>
                    <a:pt x="1209146" y="52917"/>
                  </a:lnTo>
                  <a:lnTo>
                    <a:pt x="1206500" y="52917"/>
                  </a:lnTo>
                  <a:lnTo>
                    <a:pt x="1201208" y="52917"/>
                  </a:lnTo>
                  <a:lnTo>
                    <a:pt x="1193271" y="47625"/>
                  </a:lnTo>
                  <a:lnTo>
                    <a:pt x="1190625" y="42333"/>
                  </a:lnTo>
                  <a:lnTo>
                    <a:pt x="1190625" y="37042"/>
                  </a:lnTo>
                  <a:lnTo>
                    <a:pt x="1201208" y="34396"/>
                  </a:lnTo>
                  <a:lnTo>
                    <a:pt x="1211792" y="31750"/>
                  </a:lnTo>
                  <a:lnTo>
                    <a:pt x="1214438" y="29104"/>
                  </a:lnTo>
                  <a:lnTo>
                    <a:pt x="1214438" y="26458"/>
                  </a:lnTo>
                  <a:lnTo>
                    <a:pt x="1214438" y="23812"/>
                  </a:lnTo>
                  <a:lnTo>
                    <a:pt x="1219729" y="21167"/>
                  </a:lnTo>
                  <a:lnTo>
                    <a:pt x="1232958" y="13229"/>
                  </a:lnTo>
                  <a:lnTo>
                    <a:pt x="1238250" y="10583"/>
                  </a:lnTo>
                  <a:lnTo>
                    <a:pt x="1240896" y="13229"/>
                  </a:lnTo>
                  <a:lnTo>
                    <a:pt x="1243542" y="13229"/>
                  </a:lnTo>
                  <a:lnTo>
                    <a:pt x="1248833" y="10583"/>
                  </a:lnTo>
                  <a:lnTo>
                    <a:pt x="1248833" y="7937"/>
                  </a:lnTo>
                  <a:lnTo>
                    <a:pt x="1246188" y="7937"/>
                  </a:lnTo>
                  <a:lnTo>
                    <a:pt x="1243542" y="7937"/>
                  </a:lnTo>
                  <a:lnTo>
                    <a:pt x="1246188" y="5292"/>
                  </a:lnTo>
                  <a:lnTo>
                    <a:pt x="1259417" y="2646"/>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Chile"/>
            <p:cNvSpPr>
              <a:spLocks/>
            </p:cNvSpPr>
            <p:nvPr/>
          </p:nvSpPr>
          <p:spPr bwMode="auto">
            <a:xfrm>
              <a:off x="2210559" y="4226719"/>
              <a:ext cx="322792" cy="1045104"/>
            </a:xfrm>
            <a:custGeom>
              <a:avLst/>
              <a:gdLst/>
              <a:ahLst/>
              <a:cxnLst>
                <a:cxn ang="0">
                  <a:pos x="218" y="766"/>
                </a:cxn>
                <a:cxn ang="0">
                  <a:pos x="212" y="776"/>
                </a:cxn>
                <a:cxn ang="0">
                  <a:pos x="186" y="786"/>
                </a:cxn>
                <a:cxn ang="0">
                  <a:pos x="198" y="782"/>
                </a:cxn>
                <a:cxn ang="0">
                  <a:pos x="184" y="766"/>
                </a:cxn>
                <a:cxn ang="0">
                  <a:pos x="184" y="774"/>
                </a:cxn>
                <a:cxn ang="0">
                  <a:pos x="198" y="774"/>
                </a:cxn>
                <a:cxn ang="0">
                  <a:pos x="176" y="784"/>
                </a:cxn>
                <a:cxn ang="0">
                  <a:pos x="160" y="770"/>
                </a:cxn>
                <a:cxn ang="0">
                  <a:pos x="162" y="762"/>
                </a:cxn>
                <a:cxn ang="0">
                  <a:pos x="158" y="760"/>
                </a:cxn>
                <a:cxn ang="0">
                  <a:pos x="134" y="738"/>
                </a:cxn>
                <a:cxn ang="0">
                  <a:pos x="124" y="720"/>
                </a:cxn>
                <a:cxn ang="0">
                  <a:pos x="128" y="708"/>
                </a:cxn>
                <a:cxn ang="0">
                  <a:pos x="112" y="696"/>
                </a:cxn>
                <a:cxn ang="0">
                  <a:pos x="104" y="682"/>
                </a:cxn>
                <a:cxn ang="0">
                  <a:pos x="104" y="680"/>
                </a:cxn>
                <a:cxn ang="0">
                  <a:pos x="98" y="658"/>
                </a:cxn>
                <a:cxn ang="0">
                  <a:pos x="76" y="656"/>
                </a:cxn>
                <a:cxn ang="0">
                  <a:pos x="82" y="640"/>
                </a:cxn>
                <a:cxn ang="0">
                  <a:pos x="108" y="640"/>
                </a:cxn>
                <a:cxn ang="0">
                  <a:pos x="102" y="608"/>
                </a:cxn>
                <a:cxn ang="0">
                  <a:pos x="96" y="574"/>
                </a:cxn>
                <a:cxn ang="0">
                  <a:pos x="82" y="554"/>
                </a:cxn>
                <a:cxn ang="0">
                  <a:pos x="68" y="536"/>
                </a:cxn>
                <a:cxn ang="0">
                  <a:pos x="58" y="492"/>
                </a:cxn>
                <a:cxn ang="0">
                  <a:pos x="42" y="460"/>
                </a:cxn>
                <a:cxn ang="0">
                  <a:pos x="50" y="448"/>
                </a:cxn>
                <a:cxn ang="0">
                  <a:pos x="50" y="420"/>
                </a:cxn>
                <a:cxn ang="0">
                  <a:pos x="56" y="374"/>
                </a:cxn>
                <a:cxn ang="0">
                  <a:pos x="30" y="288"/>
                </a:cxn>
                <a:cxn ang="0">
                  <a:pos x="40" y="284"/>
                </a:cxn>
                <a:cxn ang="0">
                  <a:pos x="30" y="270"/>
                </a:cxn>
                <a:cxn ang="0">
                  <a:pos x="34" y="176"/>
                </a:cxn>
                <a:cxn ang="0">
                  <a:pos x="22" y="136"/>
                </a:cxn>
                <a:cxn ang="0">
                  <a:pos x="26" y="92"/>
                </a:cxn>
                <a:cxn ang="0">
                  <a:pos x="16" y="52"/>
                </a:cxn>
                <a:cxn ang="0">
                  <a:pos x="0" y="12"/>
                </a:cxn>
                <a:cxn ang="0">
                  <a:pos x="42" y="38"/>
                </a:cxn>
                <a:cxn ang="0">
                  <a:pos x="70" y="124"/>
                </a:cxn>
                <a:cxn ang="0">
                  <a:pos x="78" y="158"/>
                </a:cxn>
                <a:cxn ang="0">
                  <a:pos x="72" y="196"/>
                </a:cxn>
                <a:cxn ang="0">
                  <a:pos x="74" y="234"/>
                </a:cxn>
                <a:cxn ang="0">
                  <a:pos x="62" y="270"/>
                </a:cxn>
                <a:cxn ang="0">
                  <a:pos x="60" y="326"/>
                </a:cxn>
                <a:cxn ang="0">
                  <a:pos x="74" y="354"/>
                </a:cxn>
                <a:cxn ang="0">
                  <a:pos x="92" y="376"/>
                </a:cxn>
                <a:cxn ang="0">
                  <a:pos x="88" y="422"/>
                </a:cxn>
                <a:cxn ang="0">
                  <a:pos x="98" y="476"/>
                </a:cxn>
                <a:cxn ang="0">
                  <a:pos x="90" y="500"/>
                </a:cxn>
                <a:cxn ang="0">
                  <a:pos x="104" y="546"/>
                </a:cxn>
                <a:cxn ang="0">
                  <a:pos x="106" y="566"/>
                </a:cxn>
                <a:cxn ang="0">
                  <a:pos x="110" y="586"/>
                </a:cxn>
                <a:cxn ang="0">
                  <a:pos x="114" y="598"/>
                </a:cxn>
                <a:cxn ang="0">
                  <a:pos x="126" y="622"/>
                </a:cxn>
                <a:cxn ang="0">
                  <a:pos x="132" y="650"/>
                </a:cxn>
                <a:cxn ang="0">
                  <a:pos x="134" y="682"/>
                </a:cxn>
                <a:cxn ang="0">
                  <a:pos x="144" y="714"/>
                </a:cxn>
                <a:cxn ang="0">
                  <a:pos x="162" y="730"/>
                </a:cxn>
                <a:cxn ang="0">
                  <a:pos x="180" y="754"/>
                </a:cxn>
              </a:cxnLst>
              <a:rect l="0" t="0" r="r" b="b"/>
              <a:pathLst>
                <a:path w="244" h="790">
                  <a:moveTo>
                    <a:pt x="244" y="764"/>
                  </a:moveTo>
                  <a:lnTo>
                    <a:pt x="244" y="764"/>
                  </a:lnTo>
                  <a:lnTo>
                    <a:pt x="238" y="762"/>
                  </a:lnTo>
                  <a:lnTo>
                    <a:pt x="236" y="762"/>
                  </a:lnTo>
                  <a:lnTo>
                    <a:pt x="234" y="762"/>
                  </a:lnTo>
                  <a:lnTo>
                    <a:pt x="230" y="762"/>
                  </a:lnTo>
                  <a:lnTo>
                    <a:pt x="230" y="762"/>
                  </a:lnTo>
                  <a:lnTo>
                    <a:pt x="228" y="762"/>
                  </a:lnTo>
                  <a:lnTo>
                    <a:pt x="224" y="764"/>
                  </a:lnTo>
                  <a:lnTo>
                    <a:pt x="222" y="766"/>
                  </a:lnTo>
                  <a:lnTo>
                    <a:pt x="218" y="766"/>
                  </a:lnTo>
                  <a:lnTo>
                    <a:pt x="218" y="766"/>
                  </a:lnTo>
                  <a:lnTo>
                    <a:pt x="216" y="764"/>
                  </a:lnTo>
                  <a:lnTo>
                    <a:pt x="216" y="766"/>
                  </a:lnTo>
                  <a:lnTo>
                    <a:pt x="214" y="766"/>
                  </a:lnTo>
                  <a:lnTo>
                    <a:pt x="212" y="768"/>
                  </a:lnTo>
                  <a:lnTo>
                    <a:pt x="212" y="768"/>
                  </a:lnTo>
                  <a:lnTo>
                    <a:pt x="210" y="768"/>
                  </a:lnTo>
                  <a:lnTo>
                    <a:pt x="210" y="770"/>
                  </a:lnTo>
                  <a:lnTo>
                    <a:pt x="212" y="772"/>
                  </a:lnTo>
                  <a:lnTo>
                    <a:pt x="212" y="776"/>
                  </a:lnTo>
                  <a:lnTo>
                    <a:pt x="212" y="776"/>
                  </a:lnTo>
                  <a:lnTo>
                    <a:pt x="210" y="782"/>
                  </a:lnTo>
                  <a:lnTo>
                    <a:pt x="212" y="786"/>
                  </a:lnTo>
                  <a:lnTo>
                    <a:pt x="212" y="786"/>
                  </a:lnTo>
                  <a:lnTo>
                    <a:pt x="212" y="790"/>
                  </a:lnTo>
                  <a:lnTo>
                    <a:pt x="210" y="790"/>
                  </a:lnTo>
                  <a:lnTo>
                    <a:pt x="204" y="790"/>
                  </a:lnTo>
                  <a:lnTo>
                    <a:pt x="198" y="790"/>
                  </a:lnTo>
                  <a:lnTo>
                    <a:pt x="198" y="790"/>
                  </a:lnTo>
                  <a:lnTo>
                    <a:pt x="190" y="788"/>
                  </a:lnTo>
                  <a:lnTo>
                    <a:pt x="188" y="788"/>
                  </a:lnTo>
                  <a:lnTo>
                    <a:pt x="186" y="786"/>
                  </a:lnTo>
                  <a:lnTo>
                    <a:pt x="186" y="786"/>
                  </a:lnTo>
                  <a:lnTo>
                    <a:pt x="188" y="784"/>
                  </a:lnTo>
                  <a:lnTo>
                    <a:pt x="188" y="782"/>
                  </a:lnTo>
                  <a:lnTo>
                    <a:pt x="194" y="780"/>
                  </a:lnTo>
                  <a:lnTo>
                    <a:pt x="194" y="780"/>
                  </a:lnTo>
                  <a:lnTo>
                    <a:pt x="196" y="782"/>
                  </a:lnTo>
                  <a:lnTo>
                    <a:pt x="198" y="784"/>
                  </a:lnTo>
                  <a:lnTo>
                    <a:pt x="198" y="786"/>
                  </a:lnTo>
                  <a:lnTo>
                    <a:pt x="198" y="786"/>
                  </a:lnTo>
                  <a:lnTo>
                    <a:pt x="198" y="786"/>
                  </a:lnTo>
                  <a:lnTo>
                    <a:pt x="198" y="782"/>
                  </a:lnTo>
                  <a:lnTo>
                    <a:pt x="200" y="780"/>
                  </a:lnTo>
                  <a:lnTo>
                    <a:pt x="202" y="778"/>
                  </a:lnTo>
                  <a:lnTo>
                    <a:pt x="202" y="778"/>
                  </a:lnTo>
                  <a:lnTo>
                    <a:pt x="204" y="776"/>
                  </a:lnTo>
                  <a:lnTo>
                    <a:pt x="204" y="774"/>
                  </a:lnTo>
                  <a:lnTo>
                    <a:pt x="202" y="770"/>
                  </a:lnTo>
                  <a:lnTo>
                    <a:pt x="200" y="768"/>
                  </a:lnTo>
                  <a:lnTo>
                    <a:pt x="200" y="768"/>
                  </a:lnTo>
                  <a:lnTo>
                    <a:pt x="192" y="764"/>
                  </a:lnTo>
                  <a:lnTo>
                    <a:pt x="188" y="766"/>
                  </a:lnTo>
                  <a:lnTo>
                    <a:pt x="184" y="766"/>
                  </a:lnTo>
                  <a:lnTo>
                    <a:pt x="184" y="766"/>
                  </a:lnTo>
                  <a:lnTo>
                    <a:pt x="182" y="768"/>
                  </a:lnTo>
                  <a:lnTo>
                    <a:pt x="180" y="768"/>
                  </a:lnTo>
                  <a:lnTo>
                    <a:pt x="178" y="768"/>
                  </a:lnTo>
                  <a:lnTo>
                    <a:pt x="174" y="766"/>
                  </a:lnTo>
                  <a:lnTo>
                    <a:pt x="174" y="766"/>
                  </a:lnTo>
                  <a:lnTo>
                    <a:pt x="172" y="768"/>
                  </a:lnTo>
                  <a:lnTo>
                    <a:pt x="172" y="770"/>
                  </a:lnTo>
                  <a:lnTo>
                    <a:pt x="180" y="774"/>
                  </a:lnTo>
                  <a:lnTo>
                    <a:pt x="180" y="774"/>
                  </a:lnTo>
                  <a:lnTo>
                    <a:pt x="184" y="774"/>
                  </a:lnTo>
                  <a:lnTo>
                    <a:pt x="186" y="772"/>
                  </a:lnTo>
                  <a:lnTo>
                    <a:pt x="188" y="770"/>
                  </a:lnTo>
                  <a:lnTo>
                    <a:pt x="190" y="770"/>
                  </a:lnTo>
                  <a:lnTo>
                    <a:pt x="190" y="770"/>
                  </a:lnTo>
                  <a:lnTo>
                    <a:pt x="192" y="770"/>
                  </a:lnTo>
                  <a:lnTo>
                    <a:pt x="194" y="768"/>
                  </a:lnTo>
                  <a:lnTo>
                    <a:pt x="196" y="768"/>
                  </a:lnTo>
                  <a:lnTo>
                    <a:pt x="200" y="770"/>
                  </a:lnTo>
                  <a:lnTo>
                    <a:pt x="200" y="770"/>
                  </a:lnTo>
                  <a:lnTo>
                    <a:pt x="200" y="774"/>
                  </a:lnTo>
                  <a:lnTo>
                    <a:pt x="198" y="774"/>
                  </a:lnTo>
                  <a:lnTo>
                    <a:pt x="196" y="776"/>
                  </a:lnTo>
                  <a:lnTo>
                    <a:pt x="192" y="778"/>
                  </a:lnTo>
                  <a:lnTo>
                    <a:pt x="192" y="778"/>
                  </a:lnTo>
                  <a:lnTo>
                    <a:pt x="188" y="780"/>
                  </a:lnTo>
                  <a:lnTo>
                    <a:pt x="184" y="782"/>
                  </a:lnTo>
                  <a:lnTo>
                    <a:pt x="182" y="782"/>
                  </a:lnTo>
                  <a:lnTo>
                    <a:pt x="182" y="784"/>
                  </a:lnTo>
                  <a:lnTo>
                    <a:pt x="182" y="784"/>
                  </a:lnTo>
                  <a:lnTo>
                    <a:pt x="182" y="786"/>
                  </a:lnTo>
                  <a:lnTo>
                    <a:pt x="180" y="786"/>
                  </a:lnTo>
                  <a:lnTo>
                    <a:pt x="176" y="784"/>
                  </a:lnTo>
                  <a:lnTo>
                    <a:pt x="172" y="782"/>
                  </a:lnTo>
                  <a:lnTo>
                    <a:pt x="170" y="778"/>
                  </a:lnTo>
                  <a:lnTo>
                    <a:pt x="170" y="778"/>
                  </a:lnTo>
                  <a:lnTo>
                    <a:pt x="170" y="776"/>
                  </a:lnTo>
                  <a:lnTo>
                    <a:pt x="166" y="776"/>
                  </a:lnTo>
                  <a:lnTo>
                    <a:pt x="164" y="778"/>
                  </a:lnTo>
                  <a:lnTo>
                    <a:pt x="164" y="776"/>
                  </a:lnTo>
                  <a:lnTo>
                    <a:pt x="164" y="776"/>
                  </a:lnTo>
                  <a:lnTo>
                    <a:pt x="164" y="774"/>
                  </a:lnTo>
                  <a:lnTo>
                    <a:pt x="162" y="772"/>
                  </a:lnTo>
                  <a:lnTo>
                    <a:pt x="160" y="770"/>
                  </a:lnTo>
                  <a:lnTo>
                    <a:pt x="162" y="770"/>
                  </a:lnTo>
                  <a:lnTo>
                    <a:pt x="162" y="770"/>
                  </a:lnTo>
                  <a:lnTo>
                    <a:pt x="164" y="768"/>
                  </a:lnTo>
                  <a:lnTo>
                    <a:pt x="160" y="768"/>
                  </a:lnTo>
                  <a:lnTo>
                    <a:pt x="156" y="766"/>
                  </a:lnTo>
                  <a:lnTo>
                    <a:pt x="154" y="764"/>
                  </a:lnTo>
                  <a:lnTo>
                    <a:pt x="154" y="764"/>
                  </a:lnTo>
                  <a:lnTo>
                    <a:pt x="152" y="762"/>
                  </a:lnTo>
                  <a:lnTo>
                    <a:pt x="154" y="762"/>
                  </a:lnTo>
                  <a:lnTo>
                    <a:pt x="158" y="762"/>
                  </a:lnTo>
                  <a:lnTo>
                    <a:pt x="162" y="762"/>
                  </a:lnTo>
                  <a:lnTo>
                    <a:pt x="162" y="762"/>
                  </a:lnTo>
                  <a:lnTo>
                    <a:pt x="162" y="760"/>
                  </a:lnTo>
                  <a:lnTo>
                    <a:pt x="160" y="756"/>
                  </a:lnTo>
                  <a:lnTo>
                    <a:pt x="150" y="748"/>
                  </a:lnTo>
                  <a:lnTo>
                    <a:pt x="150" y="748"/>
                  </a:lnTo>
                  <a:lnTo>
                    <a:pt x="152" y="752"/>
                  </a:lnTo>
                  <a:lnTo>
                    <a:pt x="156" y="756"/>
                  </a:lnTo>
                  <a:lnTo>
                    <a:pt x="160" y="760"/>
                  </a:lnTo>
                  <a:lnTo>
                    <a:pt x="160" y="760"/>
                  </a:lnTo>
                  <a:lnTo>
                    <a:pt x="158" y="760"/>
                  </a:lnTo>
                  <a:lnTo>
                    <a:pt x="158" y="760"/>
                  </a:lnTo>
                  <a:lnTo>
                    <a:pt x="154" y="758"/>
                  </a:lnTo>
                  <a:lnTo>
                    <a:pt x="148" y="754"/>
                  </a:lnTo>
                  <a:lnTo>
                    <a:pt x="146" y="748"/>
                  </a:lnTo>
                  <a:lnTo>
                    <a:pt x="144" y="744"/>
                  </a:lnTo>
                  <a:lnTo>
                    <a:pt x="144" y="744"/>
                  </a:lnTo>
                  <a:lnTo>
                    <a:pt x="138" y="744"/>
                  </a:lnTo>
                  <a:lnTo>
                    <a:pt x="136" y="742"/>
                  </a:lnTo>
                  <a:lnTo>
                    <a:pt x="132" y="740"/>
                  </a:lnTo>
                  <a:lnTo>
                    <a:pt x="132" y="740"/>
                  </a:lnTo>
                  <a:lnTo>
                    <a:pt x="132" y="738"/>
                  </a:lnTo>
                  <a:lnTo>
                    <a:pt x="134" y="738"/>
                  </a:lnTo>
                  <a:lnTo>
                    <a:pt x="140" y="736"/>
                  </a:lnTo>
                  <a:lnTo>
                    <a:pt x="140" y="736"/>
                  </a:lnTo>
                  <a:lnTo>
                    <a:pt x="136" y="736"/>
                  </a:lnTo>
                  <a:lnTo>
                    <a:pt x="132" y="734"/>
                  </a:lnTo>
                  <a:lnTo>
                    <a:pt x="130" y="732"/>
                  </a:lnTo>
                  <a:lnTo>
                    <a:pt x="124" y="730"/>
                  </a:lnTo>
                  <a:lnTo>
                    <a:pt x="124" y="730"/>
                  </a:lnTo>
                  <a:lnTo>
                    <a:pt x="118" y="728"/>
                  </a:lnTo>
                  <a:lnTo>
                    <a:pt x="124" y="722"/>
                  </a:lnTo>
                  <a:lnTo>
                    <a:pt x="124" y="722"/>
                  </a:lnTo>
                  <a:lnTo>
                    <a:pt x="124" y="720"/>
                  </a:lnTo>
                  <a:lnTo>
                    <a:pt x="126" y="718"/>
                  </a:lnTo>
                  <a:lnTo>
                    <a:pt x="130" y="720"/>
                  </a:lnTo>
                  <a:lnTo>
                    <a:pt x="132" y="724"/>
                  </a:lnTo>
                  <a:lnTo>
                    <a:pt x="132" y="724"/>
                  </a:lnTo>
                  <a:lnTo>
                    <a:pt x="134" y="722"/>
                  </a:lnTo>
                  <a:lnTo>
                    <a:pt x="134" y="722"/>
                  </a:lnTo>
                  <a:lnTo>
                    <a:pt x="132" y="718"/>
                  </a:lnTo>
                  <a:lnTo>
                    <a:pt x="130" y="718"/>
                  </a:lnTo>
                  <a:lnTo>
                    <a:pt x="130" y="714"/>
                  </a:lnTo>
                  <a:lnTo>
                    <a:pt x="128" y="708"/>
                  </a:lnTo>
                  <a:lnTo>
                    <a:pt x="128" y="708"/>
                  </a:lnTo>
                  <a:lnTo>
                    <a:pt x="124" y="716"/>
                  </a:lnTo>
                  <a:lnTo>
                    <a:pt x="122" y="716"/>
                  </a:lnTo>
                  <a:lnTo>
                    <a:pt x="120" y="712"/>
                  </a:lnTo>
                  <a:lnTo>
                    <a:pt x="120" y="712"/>
                  </a:lnTo>
                  <a:lnTo>
                    <a:pt x="118" y="710"/>
                  </a:lnTo>
                  <a:lnTo>
                    <a:pt x="116" y="710"/>
                  </a:lnTo>
                  <a:lnTo>
                    <a:pt x="116" y="708"/>
                  </a:lnTo>
                  <a:lnTo>
                    <a:pt x="114" y="704"/>
                  </a:lnTo>
                  <a:lnTo>
                    <a:pt x="114" y="704"/>
                  </a:lnTo>
                  <a:lnTo>
                    <a:pt x="112" y="698"/>
                  </a:lnTo>
                  <a:lnTo>
                    <a:pt x="112" y="696"/>
                  </a:lnTo>
                  <a:lnTo>
                    <a:pt x="114" y="692"/>
                  </a:lnTo>
                  <a:lnTo>
                    <a:pt x="114" y="692"/>
                  </a:lnTo>
                  <a:lnTo>
                    <a:pt x="110" y="694"/>
                  </a:lnTo>
                  <a:lnTo>
                    <a:pt x="108" y="694"/>
                  </a:lnTo>
                  <a:lnTo>
                    <a:pt x="108" y="692"/>
                  </a:lnTo>
                  <a:lnTo>
                    <a:pt x="106" y="688"/>
                  </a:lnTo>
                  <a:lnTo>
                    <a:pt x="106" y="688"/>
                  </a:lnTo>
                  <a:lnTo>
                    <a:pt x="102" y="684"/>
                  </a:lnTo>
                  <a:lnTo>
                    <a:pt x="102" y="682"/>
                  </a:lnTo>
                  <a:lnTo>
                    <a:pt x="104" y="682"/>
                  </a:lnTo>
                  <a:lnTo>
                    <a:pt x="104" y="682"/>
                  </a:lnTo>
                  <a:lnTo>
                    <a:pt x="108" y="682"/>
                  </a:lnTo>
                  <a:lnTo>
                    <a:pt x="110" y="682"/>
                  </a:lnTo>
                  <a:lnTo>
                    <a:pt x="114" y="682"/>
                  </a:lnTo>
                  <a:lnTo>
                    <a:pt x="124" y="684"/>
                  </a:lnTo>
                  <a:lnTo>
                    <a:pt x="124" y="684"/>
                  </a:lnTo>
                  <a:lnTo>
                    <a:pt x="118" y="680"/>
                  </a:lnTo>
                  <a:lnTo>
                    <a:pt x="116" y="678"/>
                  </a:lnTo>
                  <a:lnTo>
                    <a:pt x="114" y="678"/>
                  </a:lnTo>
                  <a:lnTo>
                    <a:pt x="112" y="678"/>
                  </a:lnTo>
                  <a:lnTo>
                    <a:pt x="108" y="680"/>
                  </a:lnTo>
                  <a:lnTo>
                    <a:pt x="104" y="680"/>
                  </a:lnTo>
                  <a:lnTo>
                    <a:pt x="102" y="678"/>
                  </a:lnTo>
                  <a:lnTo>
                    <a:pt x="102" y="678"/>
                  </a:lnTo>
                  <a:lnTo>
                    <a:pt x="96" y="676"/>
                  </a:lnTo>
                  <a:lnTo>
                    <a:pt x="96" y="674"/>
                  </a:lnTo>
                  <a:lnTo>
                    <a:pt x="100" y="670"/>
                  </a:lnTo>
                  <a:lnTo>
                    <a:pt x="100" y="670"/>
                  </a:lnTo>
                  <a:lnTo>
                    <a:pt x="102" y="664"/>
                  </a:lnTo>
                  <a:lnTo>
                    <a:pt x="102" y="660"/>
                  </a:lnTo>
                  <a:lnTo>
                    <a:pt x="102" y="658"/>
                  </a:lnTo>
                  <a:lnTo>
                    <a:pt x="98" y="658"/>
                  </a:lnTo>
                  <a:lnTo>
                    <a:pt x="98" y="658"/>
                  </a:lnTo>
                  <a:lnTo>
                    <a:pt x="96" y="658"/>
                  </a:lnTo>
                  <a:lnTo>
                    <a:pt x="90" y="658"/>
                  </a:lnTo>
                  <a:lnTo>
                    <a:pt x="86" y="658"/>
                  </a:lnTo>
                  <a:lnTo>
                    <a:pt x="82" y="656"/>
                  </a:lnTo>
                  <a:lnTo>
                    <a:pt x="82" y="656"/>
                  </a:lnTo>
                  <a:lnTo>
                    <a:pt x="80" y="654"/>
                  </a:lnTo>
                  <a:lnTo>
                    <a:pt x="80" y="656"/>
                  </a:lnTo>
                  <a:lnTo>
                    <a:pt x="80" y="662"/>
                  </a:lnTo>
                  <a:lnTo>
                    <a:pt x="80" y="662"/>
                  </a:lnTo>
                  <a:lnTo>
                    <a:pt x="78" y="658"/>
                  </a:lnTo>
                  <a:lnTo>
                    <a:pt x="76" y="656"/>
                  </a:lnTo>
                  <a:lnTo>
                    <a:pt x="74" y="656"/>
                  </a:lnTo>
                  <a:lnTo>
                    <a:pt x="78" y="650"/>
                  </a:lnTo>
                  <a:lnTo>
                    <a:pt x="78" y="650"/>
                  </a:lnTo>
                  <a:lnTo>
                    <a:pt x="80" y="648"/>
                  </a:lnTo>
                  <a:lnTo>
                    <a:pt x="82" y="648"/>
                  </a:lnTo>
                  <a:lnTo>
                    <a:pt x="82" y="648"/>
                  </a:lnTo>
                  <a:lnTo>
                    <a:pt x="84" y="646"/>
                  </a:lnTo>
                  <a:lnTo>
                    <a:pt x="84" y="646"/>
                  </a:lnTo>
                  <a:lnTo>
                    <a:pt x="84" y="642"/>
                  </a:lnTo>
                  <a:lnTo>
                    <a:pt x="84" y="642"/>
                  </a:lnTo>
                  <a:lnTo>
                    <a:pt x="82" y="640"/>
                  </a:lnTo>
                  <a:lnTo>
                    <a:pt x="88" y="638"/>
                  </a:lnTo>
                  <a:lnTo>
                    <a:pt x="88" y="638"/>
                  </a:lnTo>
                  <a:lnTo>
                    <a:pt x="90" y="638"/>
                  </a:lnTo>
                  <a:lnTo>
                    <a:pt x="94" y="638"/>
                  </a:lnTo>
                  <a:lnTo>
                    <a:pt x="98" y="642"/>
                  </a:lnTo>
                  <a:lnTo>
                    <a:pt x="102" y="646"/>
                  </a:lnTo>
                  <a:lnTo>
                    <a:pt x="104" y="646"/>
                  </a:lnTo>
                  <a:lnTo>
                    <a:pt x="104" y="646"/>
                  </a:lnTo>
                  <a:lnTo>
                    <a:pt x="106" y="644"/>
                  </a:lnTo>
                  <a:lnTo>
                    <a:pt x="106" y="642"/>
                  </a:lnTo>
                  <a:lnTo>
                    <a:pt x="108" y="640"/>
                  </a:lnTo>
                  <a:lnTo>
                    <a:pt x="110" y="636"/>
                  </a:lnTo>
                  <a:lnTo>
                    <a:pt x="110" y="636"/>
                  </a:lnTo>
                  <a:lnTo>
                    <a:pt x="112" y="632"/>
                  </a:lnTo>
                  <a:lnTo>
                    <a:pt x="112" y="630"/>
                  </a:lnTo>
                  <a:lnTo>
                    <a:pt x="102" y="624"/>
                  </a:lnTo>
                  <a:lnTo>
                    <a:pt x="102" y="624"/>
                  </a:lnTo>
                  <a:lnTo>
                    <a:pt x="98" y="618"/>
                  </a:lnTo>
                  <a:lnTo>
                    <a:pt x="100" y="614"/>
                  </a:lnTo>
                  <a:lnTo>
                    <a:pt x="100" y="612"/>
                  </a:lnTo>
                  <a:lnTo>
                    <a:pt x="102" y="608"/>
                  </a:lnTo>
                  <a:lnTo>
                    <a:pt x="102" y="608"/>
                  </a:lnTo>
                  <a:lnTo>
                    <a:pt x="100" y="604"/>
                  </a:lnTo>
                  <a:lnTo>
                    <a:pt x="102" y="602"/>
                  </a:lnTo>
                  <a:lnTo>
                    <a:pt x="102" y="600"/>
                  </a:lnTo>
                  <a:lnTo>
                    <a:pt x="102" y="596"/>
                  </a:lnTo>
                  <a:lnTo>
                    <a:pt x="102" y="596"/>
                  </a:lnTo>
                  <a:lnTo>
                    <a:pt x="98" y="590"/>
                  </a:lnTo>
                  <a:lnTo>
                    <a:pt x="100" y="586"/>
                  </a:lnTo>
                  <a:lnTo>
                    <a:pt x="102" y="584"/>
                  </a:lnTo>
                  <a:lnTo>
                    <a:pt x="98" y="578"/>
                  </a:lnTo>
                  <a:lnTo>
                    <a:pt x="98" y="578"/>
                  </a:lnTo>
                  <a:lnTo>
                    <a:pt x="96" y="574"/>
                  </a:lnTo>
                  <a:lnTo>
                    <a:pt x="96" y="572"/>
                  </a:lnTo>
                  <a:lnTo>
                    <a:pt x="96" y="570"/>
                  </a:lnTo>
                  <a:lnTo>
                    <a:pt x="96" y="566"/>
                  </a:lnTo>
                  <a:lnTo>
                    <a:pt x="96" y="566"/>
                  </a:lnTo>
                  <a:lnTo>
                    <a:pt x="92" y="564"/>
                  </a:lnTo>
                  <a:lnTo>
                    <a:pt x="92" y="560"/>
                  </a:lnTo>
                  <a:lnTo>
                    <a:pt x="90" y="558"/>
                  </a:lnTo>
                  <a:lnTo>
                    <a:pt x="88" y="554"/>
                  </a:lnTo>
                  <a:lnTo>
                    <a:pt x="88" y="554"/>
                  </a:lnTo>
                  <a:lnTo>
                    <a:pt x="84" y="552"/>
                  </a:lnTo>
                  <a:lnTo>
                    <a:pt x="82" y="554"/>
                  </a:lnTo>
                  <a:lnTo>
                    <a:pt x="80" y="554"/>
                  </a:lnTo>
                  <a:lnTo>
                    <a:pt x="76" y="554"/>
                  </a:lnTo>
                  <a:lnTo>
                    <a:pt x="76" y="554"/>
                  </a:lnTo>
                  <a:lnTo>
                    <a:pt x="74" y="552"/>
                  </a:lnTo>
                  <a:lnTo>
                    <a:pt x="74" y="554"/>
                  </a:lnTo>
                  <a:lnTo>
                    <a:pt x="72" y="556"/>
                  </a:lnTo>
                  <a:lnTo>
                    <a:pt x="72" y="554"/>
                  </a:lnTo>
                  <a:lnTo>
                    <a:pt x="72" y="554"/>
                  </a:lnTo>
                  <a:lnTo>
                    <a:pt x="68" y="548"/>
                  </a:lnTo>
                  <a:lnTo>
                    <a:pt x="70" y="542"/>
                  </a:lnTo>
                  <a:lnTo>
                    <a:pt x="68" y="536"/>
                  </a:lnTo>
                  <a:lnTo>
                    <a:pt x="64" y="528"/>
                  </a:lnTo>
                  <a:lnTo>
                    <a:pt x="64" y="528"/>
                  </a:lnTo>
                  <a:lnTo>
                    <a:pt x="62" y="524"/>
                  </a:lnTo>
                  <a:lnTo>
                    <a:pt x="62" y="522"/>
                  </a:lnTo>
                  <a:lnTo>
                    <a:pt x="66" y="518"/>
                  </a:lnTo>
                  <a:lnTo>
                    <a:pt x="68" y="514"/>
                  </a:lnTo>
                  <a:lnTo>
                    <a:pt x="68" y="512"/>
                  </a:lnTo>
                  <a:lnTo>
                    <a:pt x="68" y="506"/>
                  </a:lnTo>
                  <a:lnTo>
                    <a:pt x="62" y="500"/>
                  </a:lnTo>
                  <a:lnTo>
                    <a:pt x="62" y="500"/>
                  </a:lnTo>
                  <a:lnTo>
                    <a:pt x="58" y="492"/>
                  </a:lnTo>
                  <a:lnTo>
                    <a:pt x="58" y="486"/>
                  </a:lnTo>
                  <a:lnTo>
                    <a:pt x="56" y="482"/>
                  </a:lnTo>
                  <a:lnTo>
                    <a:pt x="54" y="478"/>
                  </a:lnTo>
                  <a:lnTo>
                    <a:pt x="54" y="478"/>
                  </a:lnTo>
                  <a:lnTo>
                    <a:pt x="54" y="478"/>
                  </a:lnTo>
                  <a:lnTo>
                    <a:pt x="56" y="476"/>
                  </a:lnTo>
                  <a:lnTo>
                    <a:pt x="56" y="474"/>
                  </a:lnTo>
                  <a:lnTo>
                    <a:pt x="50" y="468"/>
                  </a:lnTo>
                  <a:lnTo>
                    <a:pt x="50" y="468"/>
                  </a:lnTo>
                  <a:lnTo>
                    <a:pt x="44" y="464"/>
                  </a:lnTo>
                  <a:lnTo>
                    <a:pt x="42" y="460"/>
                  </a:lnTo>
                  <a:lnTo>
                    <a:pt x="40" y="456"/>
                  </a:lnTo>
                  <a:lnTo>
                    <a:pt x="42" y="452"/>
                  </a:lnTo>
                  <a:lnTo>
                    <a:pt x="42" y="452"/>
                  </a:lnTo>
                  <a:lnTo>
                    <a:pt x="42" y="448"/>
                  </a:lnTo>
                  <a:lnTo>
                    <a:pt x="44" y="448"/>
                  </a:lnTo>
                  <a:lnTo>
                    <a:pt x="44" y="452"/>
                  </a:lnTo>
                  <a:lnTo>
                    <a:pt x="44" y="452"/>
                  </a:lnTo>
                  <a:lnTo>
                    <a:pt x="46" y="454"/>
                  </a:lnTo>
                  <a:lnTo>
                    <a:pt x="48" y="456"/>
                  </a:lnTo>
                  <a:lnTo>
                    <a:pt x="52" y="454"/>
                  </a:lnTo>
                  <a:lnTo>
                    <a:pt x="50" y="448"/>
                  </a:lnTo>
                  <a:lnTo>
                    <a:pt x="50" y="448"/>
                  </a:lnTo>
                  <a:lnTo>
                    <a:pt x="48" y="442"/>
                  </a:lnTo>
                  <a:lnTo>
                    <a:pt x="50" y="440"/>
                  </a:lnTo>
                  <a:lnTo>
                    <a:pt x="52" y="438"/>
                  </a:lnTo>
                  <a:lnTo>
                    <a:pt x="52" y="436"/>
                  </a:lnTo>
                  <a:lnTo>
                    <a:pt x="52" y="436"/>
                  </a:lnTo>
                  <a:lnTo>
                    <a:pt x="50" y="430"/>
                  </a:lnTo>
                  <a:lnTo>
                    <a:pt x="50" y="428"/>
                  </a:lnTo>
                  <a:lnTo>
                    <a:pt x="52" y="426"/>
                  </a:lnTo>
                  <a:lnTo>
                    <a:pt x="50" y="420"/>
                  </a:lnTo>
                  <a:lnTo>
                    <a:pt x="50" y="420"/>
                  </a:lnTo>
                  <a:lnTo>
                    <a:pt x="50" y="416"/>
                  </a:lnTo>
                  <a:lnTo>
                    <a:pt x="50" y="414"/>
                  </a:lnTo>
                  <a:lnTo>
                    <a:pt x="52" y="412"/>
                  </a:lnTo>
                  <a:lnTo>
                    <a:pt x="56" y="410"/>
                  </a:lnTo>
                  <a:lnTo>
                    <a:pt x="56" y="406"/>
                  </a:lnTo>
                  <a:lnTo>
                    <a:pt x="56" y="402"/>
                  </a:lnTo>
                  <a:lnTo>
                    <a:pt x="56" y="402"/>
                  </a:lnTo>
                  <a:lnTo>
                    <a:pt x="54" y="392"/>
                  </a:lnTo>
                  <a:lnTo>
                    <a:pt x="56" y="386"/>
                  </a:lnTo>
                  <a:lnTo>
                    <a:pt x="56" y="382"/>
                  </a:lnTo>
                  <a:lnTo>
                    <a:pt x="56" y="374"/>
                  </a:lnTo>
                  <a:lnTo>
                    <a:pt x="56" y="374"/>
                  </a:lnTo>
                  <a:lnTo>
                    <a:pt x="54" y="366"/>
                  </a:lnTo>
                  <a:lnTo>
                    <a:pt x="52" y="360"/>
                  </a:lnTo>
                  <a:lnTo>
                    <a:pt x="50" y="352"/>
                  </a:lnTo>
                  <a:lnTo>
                    <a:pt x="46" y="342"/>
                  </a:lnTo>
                  <a:lnTo>
                    <a:pt x="46" y="342"/>
                  </a:lnTo>
                  <a:lnTo>
                    <a:pt x="40" y="326"/>
                  </a:lnTo>
                  <a:lnTo>
                    <a:pt x="34" y="312"/>
                  </a:lnTo>
                  <a:lnTo>
                    <a:pt x="30" y="290"/>
                  </a:lnTo>
                  <a:lnTo>
                    <a:pt x="30" y="290"/>
                  </a:lnTo>
                  <a:lnTo>
                    <a:pt x="30" y="288"/>
                  </a:lnTo>
                  <a:lnTo>
                    <a:pt x="32" y="290"/>
                  </a:lnTo>
                  <a:lnTo>
                    <a:pt x="34" y="292"/>
                  </a:lnTo>
                  <a:lnTo>
                    <a:pt x="36" y="290"/>
                  </a:lnTo>
                  <a:lnTo>
                    <a:pt x="36" y="290"/>
                  </a:lnTo>
                  <a:lnTo>
                    <a:pt x="36" y="290"/>
                  </a:lnTo>
                  <a:lnTo>
                    <a:pt x="36" y="288"/>
                  </a:lnTo>
                  <a:lnTo>
                    <a:pt x="34" y="286"/>
                  </a:lnTo>
                  <a:lnTo>
                    <a:pt x="36" y="284"/>
                  </a:lnTo>
                  <a:lnTo>
                    <a:pt x="36" y="284"/>
                  </a:lnTo>
                  <a:lnTo>
                    <a:pt x="38" y="284"/>
                  </a:lnTo>
                  <a:lnTo>
                    <a:pt x="40" y="284"/>
                  </a:lnTo>
                  <a:lnTo>
                    <a:pt x="40" y="286"/>
                  </a:lnTo>
                  <a:lnTo>
                    <a:pt x="42" y="284"/>
                  </a:lnTo>
                  <a:lnTo>
                    <a:pt x="42" y="284"/>
                  </a:lnTo>
                  <a:lnTo>
                    <a:pt x="40" y="282"/>
                  </a:lnTo>
                  <a:lnTo>
                    <a:pt x="38" y="280"/>
                  </a:lnTo>
                  <a:lnTo>
                    <a:pt x="36" y="280"/>
                  </a:lnTo>
                  <a:lnTo>
                    <a:pt x="36" y="274"/>
                  </a:lnTo>
                  <a:lnTo>
                    <a:pt x="36" y="274"/>
                  </a:lnTo>
                  <a:lnTo>
                    <a:pt x="34" y="272"/>
                  </a:lnTo>
                  <a:lnTo>
                    <a:pt x="34" y="270"/>
                  </a:lnTo>
                  <a:lnTo>
                    <a:pt x="30" y="270"/>
                  </a:lnTo>
                  <a:lnTo>
                    <a:pt x="30" y="268"/>
                  </a:lnTo>
                  <a:lnTo>
                    <a:pt x="28" y="264"/>
                  </a:lnTo>
                  <a:lnTo>
                    <a:pt x="30" y="246"/>
                  </a:lnTo>
                  <a:lnTo>
                    <a:pt x="30" y="246"/>
                  </a:lnTo>
                  <a:lnTo>
                    <a:pt x="32" y="222"/>
                  </a:lnTo>
                  <a:lnTo>
                    <a:pt x="32" y="202"/>
                  </a:lnTo>
                  <a:lnTo>
                    <a:pt x="32" y="202"/>
                  </a:lnTo>
                  <a:lnTo>
                    <a:pt x="34" y="188"/>
                  </a:lnTo>
                  <a:lnTo>
                    <a:pt x="36" y="182"/>
                  </a:lnTo>
                  <a:lnTo>
                    <a:pt x="36" y="178"/>
                  </a:lnTo>
                  <a:lnTo>
                    <a:pt x="34" y="176"/>
                  </a:lnTo>
                  <a:lnTo>
                    <a:pt x="34" y="176"/>
                  </a:lnTo>
                  <a:lnTo>
                    <a:pt x="30" y="170"/>
                  </a:lnTo>
                  <a:lnTo>
                    <a:pt x="30" y="168"/>
                  </a:lnTo>
                  <a:lnTo>
                    <a:pt x="32" y="164"/>
                  </a:lnTo>
                  <a:lnTo>
                    <a:pt x="30" y="158"/>
                  </a:lnTo>
                  <a:lnTo>
                    <a:pt x="30" y="158"/>
                  </a:lnTo>
                  <a:lnTo>
                    <a:pt x="28" y="152"/>
                  </a:lnTo>
                  <a:lnTo>
                    <a:pt x="26" y="148"/>
                  </a:lnTo>
                  <a:lnTo>
                    <a:pt x="26" y="142"/>
                  </a:lnTo>
                  <a:lnTo>
                    <a:pt x="22" y="136"/>
                  </a:lnTo>
                  <a:lnTo>
                    <a:pt x="22" y="136"/>
                  </a:lnTo>
                  <a:lnTo>
                    <a:pt x="20" y="132"/>
                  </a:lnTo>
                  <a:lnTo>
                    <a:pt x="22" y="130"/>
                  </a:lnTo>
                  <a:lnTo>
                    <a:pt x="24" y="126"/>
                  </a:lnTo>
                  <a:lnTo>
                    <a:pt x="26" y="114"/>
                  </a:lnTo>
                  <a:lnTo>
                    <a:pt x="26" y="114"/>
                  </a:lnTo>
                  <a:lnTo>
                    <a:pt x="24" y="106"/>
                  </a:lnTo>
                  <a:lnTo>
                    <a:pt x="22" y="106"/>
                  </a:lnTo>
                  <a:lnTo>
                    <a:pt x="22" y="104"/>
                  </a:lnTo>
                  <a:lnTo>
                    <a:pt x="24" y="100"/>
                  </a:lnTo>
                  <a:lnTo>
                    <a:pt x="24" y="100"/>
                  </a:lnTo>
                  <a:lnTo>
                    <a:pt x="26" y="92"/>
                  </a:lnTo>
                  <a:lnTo>
                    <a:pt x="24" y="88"/>
                  </a:lnTo>
                  <a:lnTo>
                    <a:pt x="22" y="84"/>
                  </a:lnTo>
                  <a:lnTo>
                    <a:pt x="18" y="78"/>
                  </a:lnTo>
                  <a:lnTo>
                    <a:pt x="18" y="78"/>
                  </a:lnTo>
                  <a:lnTo>
                    <a:pt x="16" y="72"/>
                  </a:lnTo>
                  <a:lnTo>
                    <a:pt x="18" y="70"/>
                  </a:lnTo>
                  <a:lnTo>
                    <a:pt x="20" y="70"/>
                  </a:lnTo>
                  <a:lnTo>
                    <a:pt x="18" y="66"/>
                  </a:lnTo>
                  <a:lnTo>
                    <a:pt x="18" y="66"/>
                  </a:lnTo>
                  <a:lnTo>
                    <a:pt x="18" y="58"/>
                  </a:lnTo>
                  <a:lnTo>
                    <a:pt x="16" y="52"/>
                  </a:lnTo>
                  <a:lnTo>
                    <a:pt x="16" y="46"/>
                  </a:lnTo>
                  <a:lnTo>
                    <a:pt x="14" y="40"/>
                  </a:lnTo>
                  <a:lnTo>
                    <a:pt x="14" y="40"/>
                  </a:lnTo>
                  <a:lnTo>
                    <a:pt x="10" y="34"/>
                  </a:lnTo>
                  <a:lnTo>
                    <a:pt x="10" y="32"/>
                  </a:lnTo>
                  <a:lnTo>
                    <a:pt x="10" y="30"/>
                  </a:lnTo>
                  <a:lnTo>
                    <a:pt x="8" y="26"/>
                  </a:lnTo>
                  <a:lnTo>
                    <a:pt x="8" y="26"/>
                  </a:lnTo>
                  <a:lnTo>
                    <a:pt x="4" y="16"/>
                  </a:lnTo>
                  <a:lnTo>
                    <a:pt x="0" y="12"/>
                  </a:lnTo>
                  <a:lnTo>
                    <a:pt x="0" y="12"/>
                  </a:lnTo>
                  <a:lnTo>
                    <a:pt x="10" y="8"/>
                  </a:lnTo>
                  <a:lnTo>
                    <a:pt x="12" y="6"/>
                  </a:lnTo>
                  <a:lnTo>
                    <a:pt x="10" y="4"/>
                  </a:lnTo>
                  <a:lnTo>
                    <a:pt x="10" y="2"/>
                  </a:lnTo>
                  <a:lnTo>
                    <a:pt x="10" y="0"/>
                  </a:lnTo>
                  <a:lnTo>
                    <a:pt x="14" y="0"/>
                  </a:lnTo>
                  <a:lnTo>
                    <a:pt x="14" y="0"/>
                  </a:lnTo>
                  <a:lnTo>
                    <a:pt x="24" y="10"/>
                  </a:lnTo>
                  <a:lnTo>
                    <a:pt x="30" y="16"/>
                  </a:lnTo>
                  <a:lnTo>
                    <a:pt x="34" y="24"/>
                  </a:lnTo>
                  <a:lnTo>
                    <a:pt x="42" y="38"/>
                  </a:lnTo>
                  <a:lnTo>
                    <a:pt x="42" y="38"/>
                  </a:lnTo>
                  <a:lnTo>
                    <a:pt x="46" y="46"/>
                  </a:lnTo>
                  <a:lnTo>
                    <a:pt x="46" y="54"/>
                  </a:lnTo>
                  <a:lnTo>
                    <a:pt x="48" y="64"/>
                  </a:lnTo>
                  <a:lnTo>
                    <a:pt x="52" y="74"/>
                  </a:lnTo>
                  <a:lnTo>
                    <a:pt x="52" y="74"/>
                  </a:lnTo>
                  <a:lnTo>
                    <a:pt x="60" y="86"/>
                  </a:lnTo>
                  <a:lnTo>
                    <a:pt x="64" y="98"/>
                  </a:lnTo>
                  <a:lnTo>
                    <a:pt x="66" y="114"/>
                  </a:lnTo>
                  <a:lnTo>
                    <a:pt x="68" y="120"/>
                  </a:lnTo>
                  <a:lnTo>
                    <a:pt x="70" y="124"/>
                  </a:lnTo>
                  <a:lnTo>
                    <a:pt x="74" y="126"/>
                  </a:lnTo>
                  <a:lnTo>
                    <a:pt x="84" y="124"/>
                  </a:lnTo>
                  <a:lnTo>
                    <a:pt x="84" y="124"/>
                  </a:lnTo>
                  <a:lnTo>
                    <a:pt x="88" y="126"/>
                  </a:lnTo>
                  <a:lnTo>
                    <a:pt x="88" y="128"/>
                  </a:lnTo>
                  <a:lnTo>
                    <a:pt x="90" y="130"/>
                  </a:lnTo>
                  <a:lnTo>
                    <a:pt x="90" y="130"/>
                  </a:lnTo>
                  <a:lnTo>
                    <a:pt x="86" y="148"/>
                  </a:lnTo>
                  <a:lnTo>
                    <a:pt x="84" y="152"/>
                  </a:lnTo>
                  <a:lnTo>
                    <a:pt x="78" y="158"/>
                  </a:lnTo>
                  <a:lnTo>
                    <a:pt x="78" y="158"/>
                  </a:lnTo>
                  <a:lnTo>
                    <a:pt x="68" y="164"/>
                  </a:lnTo>
                  <a:lnTo>
                    <a:pt x="68" y="166"/>
                  </a:lnTo>
                  <a:lnTo>
                    <a:pt x="68" y="168"/>
                  </a:lnTo>
                  <a:lnTo>
                    <a:pt x="72" y="170"/>
                  </a:lnTo>
                  <a:lnTo>
                    <a:pt x="72" y="172"/>
                  </a:lnTo>
                  <a:lnTo>
                    <a:pt x="70" y="176"/>
                  </a:lnTo>
                  <a:lnTo>
                    <a:pt x="70" y="176"/>
                  </a:lnTo>
                  <a:lnTo>
                    <a:pt x="66" y="184"/>
                  </a:lnTo>
                  <a:lnTo>
                    <a:pt x="66" y="188"/>
                  </a:lnTo>
                  <a:lnTo>
                    <a:pt x="68" y="192"/>
                  </a:lnTo>
                  <a:lnTo>
                    <a:pt x="72" y="196"/>
                  </a:lnTo>
                  <a:lnTo>
                    <a:pt x="76" y="202"/>
                  </a:lnTo>
                  <a:lnTo>
                    <a:pt x="76" y="204"/>
                  </a:lnTo>
                  <a:lnTo>
                    <a:pt x="74" y="208"/>
                  </a:lnTo>
                  <a:lnTo>
                    <a:pt x="74" y="208"/>
                  </a:lnTo>
                  <a:lnTo>
                    <a:pt x="78" y="212"/>
                  </a:lnTo>
                  <a:lnTo>
                    <a:pt x="80" y="214"/>
                  </a:lnTo>
                  <a:lnTo>
                    <a:pt x="80" y="218"/>
                  </a:lnTo>
                  <a:lnTo>
                    <a:pt x="78" y="224"/>
                  </a:lnTo>
                  <a:lnTo>
                    <a:pt x="78" y="224"/>
                  </a:lnTo>
                  <a:lnTo>
                    <a:pt x="74" y="230"/>
                  </a:lnTo>
                  <a:lnTo>
                    <a:pt x="74" y="234"/>
                  </a:lnTo>
                  <a:lnTo>
                    <a:pt x="72" y="238"/>
                  </a:lnTo>
                  <a:lnTo>
                    <a:pt x="70" y="242"/>
                  </a:lnTo>
                  <a:lnTo>
                    <a:pt x="70" y="242"/>
                  </a:lnTo>
                  <a:lnTo>
                    <a:pt x="66" y="246"/>
                  </a:lnTo>
                  <a:lnTo>
                    <a:pt x="68" y="248"/>
                  </a:lnTo>
                  <a:lnTo>
                    <a:pt x="68" y="252"/>
                  </a:lnTo>
                  <a:lnTo>
                    <a:pt x="66" y="256"/>
                  </a:lnTo>
                  <a:lnTo>
                    <a:pt x="66" y="256"/>
                  </a:lnTo>
                  <a:lnTo>
                    <a:pt x="62" y="260"/>
                  </a:lnTo>
                  <a:lnTo>
                    <a:pt x="62" y="264"/>
                  </a:lnTo>
                  <a:lnTo>
                    <a:pt x="62" y="270"/>
                  </a:lnTo>
                  <a:lnTo>
                    <a:pt x="64" y="276"/>
                  </a:lnTo>
                  <a:lnTo>
                    <a:pt x="64" y="282"/>
                  </a:lnTo>
                  <a:lnTo>
                    <a:pt x="64" y="282"/>
                  </a:lnTo>
                  <a:lnTo>
                    <a:pt x="62" y="288"/>
                  </a:lnTo>
                  <a:lnTo>
                    <a:pt x="62" y="292"/>
                  </a:lnTo>
                  <a:lnTo>
                    <a:pt x="64" y="296"/>
                  </a:lnTo>
                  <a:lnTo>
                    <a:pt x="62" y="304"/>
                  </a:lnTo>
                  <a:lnTo>
                    <a:pt x="62" y="304"/>
                  </a:lnTo>
                  <a:lnTo>
                    <a:pt x="60" y="310"/>
                  </a:lnTo>
                  <a:lnTo>
                    <a:pt x="60" y="316"/>
                  </a:lnTo>
                  <a:lnTo>
                    <a:pt x="60" y="326"/>
                  </a:lnTo>
                  <a:lnTo>
                    <a:pt x="62" y="332"/>
                  </a:lnTo>
                  <a:lnTo>
                    <a:pt x="66" y="334"/>
                  </a:lnTo>
                  <a:lnTo>
                    <a:pt x="66" y="334"/>
                  </a:lnTo>
                  <a:lnTo>
                    <a:pt x="68" y="334"/>
                  </a:lnTo>
                  <a:lnTo>
                    <a:pt x="70" y="336"/>
                  </a:lnTo>
                  <a:lnTo>
                    <a:pt x="72" y="340"/>
                  </a:lnTo>
                  <a:lnTo>
                    <a:pt x="70" y="344"/>
                  </a:lnTo>
                  <a:lnTo>
                    <a:pt x="70" y="344"/>
                  </a:lnTo>
                  <a:lnTo>
                    <a:pt x="68" y="346"/>
                  </a:lnTo>
                  <a:lnTo>
                    <a:pt x="70" y="350"/>
                  </a:lnTo>
                  <a:lnTo>
                    <a:pt x="74" y="354"/>
                  </a:lnTo>
                  <a:lnTo>
                    <a:pt x="80" y="360"/>
                  </a:lnTo>
                  <a:lnTo>
                    <a:pt x="82" y="364"/>
                  </a:lnTo>
                  <a:lnTo>
                    <a:pt x="82" y="368"/>
                  </a:lnTo>
                  <a:lnTo>
                    <a:pt x="82" y="368"/>
                  </a:lnTo>
                  <a:lnTo>
                    <a:pt x="82" y="376"/>
                  </a:lnTo>
                  <a:lnTo>
                    <a:pt x="84" y="376"/>
                  </a:lnTo>
                  <a:lnTo>
                    <a:pt x="86" y="374"/>
                  </a:lnTo>
                  <a:lnTo>
                    <a:pt x="86" y="374"/>
                  </a:lnTo>
                  <a:lnTo>
                    <a:pt x="90" y="374"/>
                  </a:lnTo>
                  <a:lnTo>
                    <a:pt x="92" y="374"/>
                  </a:lnTo>
                  <a:lnTo>
                    <a:pt x="92" y="376"/>
                  </a:lnTo>
                  <a:lnTo>
                    <a:pt x="92" y="382"/>
                  </a:lnTo>
                  <a:lnTo>
                    <a:pt x="92" y="382"/>
                  </a:lnTo>
                  <a:lnTo>
                    <a:pt x="90" y="388"/>
                  </a:lnTo>
                  <a:lnTo>
                    <a:pt x="92" y="392"/>
                  </a:lnTo>
                  <a:lnTo>
                    <a:pt x="94" y="396"/>
                  </a:lnTo>
                  <a:lnTo>
                    <a:pt x="90" y="402"/>
                  </a:lnTo>
                  <a:lnTo>
                    <a:pt x="90" y="402"/>
                  </a:lnTo>
                  <a:lnTo>
                    <a:pt x="94" y="406"/>
                  </a:lnTo>
                  <a:lnTo>
                    <a:pt x="96" y="410"/>
                  </a:lnTo>
                  <a:lnTo>
                    <a:pt x="94" y="416"/>
                  </a:lnTo>
                  <a:lnTo>
                    <a:pt x="88" y="422"/>
                  </a:lnTo>
                  <a:lnTo>
                    <a:pt x="88" y="422"/>
                  </a:lnTo>
                  <a:lnTo>
                    <a:pt x="84" y="430"/>
                  </a:lnTo>
                  <a:lnTo>
                    <a:pt x="82" y="436"/>
                  </a:lnTo>
                  <a:lnTo>
                    <a:pt x="84" y="442"/>
                  </a:lnTo>
                  <a:lnTo>
                    <a:pt x="84" y="452"/>
                  </a:lnTo>
                  <a:lnTo>
                    <a:pt x="84" y="452"/>
                  </a:lnTo>
                  <a:lnTo>
                    <a:pt x="86" y="456"/>
                  </a:lnTo>
                  <a:lnTo>
                    <a:pt x="88" y="460"/>
                  </a:lnTo>
                  <a:lnTo>
                    <a:pt x="92" y="466"/>
                  </a:lnTo>
                  <a:lnTo>
                    <a:pt x="98" y="472"/>
                  </a:lnTo>
                  <a:lnTo>
                    <a:pt x="98" y="476"/>
                  </a:lnTo>
                  <a:lnTo>
                    <a:pt x="98" y="480"/>
                  </a:lnTo>
                  <a:lnTo>
                    <a:pt x="98" y="480"/>
                  </a:lnTo>
                  <a:lnTo>
                    <a:pt x="96" y="482"/>
                  </a:lnTo>
                  <a:lnTo>
                    <a:pt x="92" y="484"/>
                  </a:lnTo>
                  <a:lnTo>
                    <a:pt x="92" y="484"/>
                  </a:lnTo>
                  <a:lnTo>
                    <a:pt x="94" y="490"/>
                  </a:lnTo>
                  <a:lnTo>
                    <a:pt x="94" y="490"/>
                  </a:lnTo>
                  <a:lnTo>
                    <a:pt x="96" y="494"/>
                  </a:lnTo>
                  <a:lnTo>
                    <a:pt x="94" y="496"/>
                  </a:lnTo>
                  <a:lnTo>
                    <a:pt x="90" y="500"/>
                  </a:lnTo>
                  <a:lnTo>
                    <a:pt x="90" y="500"/>
                  </a:lnTo>
                  <a:lnTo>
                    <a:pt x="92" y="504"/>
                  </a:lnTo>
                  <a:lnTo>
                    <a:pt x="92" y="504"/>
                  </a:lnTo>
                  <a:lnTo>
                    <a:pt x="92" y="506"/>
                  </a:lnTo>
                  <a:lnTo>
                    <a:pt x="90" y="508"/>
                  </a:lnTo>
                  <a:lnTo>
                    <a:pt x="90" y="510"/>
                  </a:lnTo>
                  <a:lnTo>
                    <a:pt x="92" y="514"/>
                  </a:lnTo>
                  <a:lnTo>
                    <a:pt x="92" y="514"/>
                  </a:lnTo>
                  <a:lnTo>
                    <a:pt x="92" y="522"/>
                  </a:lnTo>
                  <a:lnTo>
                    <a:pt x="94" y="530"/>
                  </a:lnTo>
                  <a:lnTo>
                    <a:pt x="100" y="540"/>
                  </a:lnTo>
                  <a:lnTo>
                    <a:pt x="104" y="546"/>
                  </a:lnTo>
                  <a:lnTo>
                    <a:pt x="104" y="548"/>
                  </a:lnTo>
                  <a:lnTo>
                    <a:pt x="102" y="550"/>
                  </a:lnTo>
                  <a:lnTo>
                    <a:pt x="102" y="550"/>
                  </a:lnTo>
                  <a:lnTo>
                    <a:pt x="98" y="552"/>
                  </a:lnTo>
                  <a:lnTo>
                    <a:pt x="100" y="554"/>
                  </a:lnTo>
                  <a:lnTo>
                    <a:pt x="102" y="556"/>
                  </a:lnTo>
                  <a:lnTo>
                    <a:pt x="102" y="560"/>
                  </a:lnTo>
                  <a:lnTo>
                    <a:pt x="102" y="560"/>
                  </a:lnTo>
                  <a:lnTo>
                    <a:pt x="102" y="562"/>
                  </a:lnTo>
                  <a:lnTo>
                    <a:pt x="102" y="564"/>
                  </a:lnTo>
                  <a:lnTo>
                    <a:pt x="106" y="566"/>
                  </a:lnTo>
                  <a:lnTo>
                    <a:pt x="108" y="566"/>
                  </a:lnTo>
                  <a:lnTo>
                    <a:pt x="108" y="570"/>
                  </a:lnTo>
                  <a:lnTo>
                    <a:pt x="108" y="570"/>
                  </a:lnTo>
                  <a:lnTo>
                    <a:pt x="106" y="570"/>
                  </a:lnTo>
                  <a:lnTo>
                    <a:pt x="108" y="572"/>
                  </a:lnTo>
                  <a:lnTo>
                    <a:pt x="110" y="574"/>
                  </a:lnTo>
                  <a:lnTo>
                    <a:pt x="114" y="576"/>
                  </a:lnTo>
                  <a:lnTo>
                    <a:pt x="114" y="578"/>
                  </a:lnTo>
                  <a:lnTo>
                    <a:pt x="112" y="582"/>
                  </a:lnTo>
                  <a:lnTo>
                    <a:pt x="112" y="582"/>
                  </a:lnTo>
                  <a:lnTo>
                    <a:pt x="110" y="586"/>
                  </a:lnTo>
                  <a:lnTo>
                    <a:pt x="110" y="588"/>
                  </a:lnTo>
                  <a:lnTo>
                    <a:pt x="112" y="590"/>
                  </a:lnTo>
                  <a:lnTo>
                    <a:pt x="114" y="588"/>
                  </a:lnTo>
                  <a:lnTo>
                    <a:pt x="114" y="588"/>
                  </a:lnTo>
                  <a:lnTo>
                    <a:pt x="118" y="586"/>
                  </a:lnTo>
                  <a:lnTo>
                    <a:pt x="120" y="586"/>
                  </a:lnTo>
                  <a:lnTo>
                    <a:pt x="122" y="590"/>
                  </a:lnTo>
                  <a:lnTo>
                    <a:pt x="120" y="594"/>
                  </a:lnTo>
                  <a:lnTo>
                    <a:pt x="120" y="594"/>
                  </a:lnTo>
                  <a:lnTo>
                    <a:pt x="118" y="598"/>
                  </a:lnTo>
                  <a:lnTo>
                    <a:pt x="114" y="598"/>
                  </a:lnTo>
                  <a:lnTo>
                    <a:pt x="114" y="600"/>
                  </a:lnTo>
                  <a:lnTo>
                    <a:pt x="114" y="604"/>
                  </a:lnTo>
                  <a:lnTo>
                    <a:pt x="114" y="604"/>
                  </a:lnTo>
                  <a:lnTo>
                    <a:pt x="120" y="608"/>
                  </a:lnTo>
                  <a:lnTo>
                    <a:pt x="126" y="612"/>
                  </a:lnTo>
                  <a:lnTo>
                    <a:pt x="130" y="614"/>
                  </a:lnTo>
                  <a:lnTo>
                    <a:pt x="130" y="616"/>
                  </a:lnTo>
                  <a:lnTo>
                    <a:pt x="128" y="618"/>
                  </a:lnTo>
                  <a:lnTo>
                    <a:pt x="128" y="618"/>
                  </a:lnTo>
                  <a:lnTo>
                    <a:pt x="126" y="620"/>
                  </a:lnTo>
                  <a:lnTo>
                    <a:pt x="126" y="622"/>
                  </a:lnTo>
                  <a:lnTo>
                    <a:pt x="126" y="624"/>
                  </a:lnTo>
                  <a:lnTo>
                    <a:pt x="124" y="628"/>
                  </a:lnTo>
                  <a:lnTo>
                    <a:pt x="124" y="628"/>
                  </a:lnTo>
                  <a:lnTo>
                    <a:pt x="124" y="628"/>
                  </a:lnTo>
                  <a:lnTo>
                    <a:pt x="124" y="630"/>
                  </a:lnTo>
                  <a:lnTo>
                    <a:pt x="128" y="632"/>
                  </a:lnTo>
                  <a:lnTo>
                    <a:pt x="134" y="636"/>
                  </a:lnTo>
                  <a:lnTo>
                    <a:pt x="134" y="640"/>
                  </a:lnTo>
                  <a:lnTo>
                    <a:pt x="134" y="644"/>
                  </a:lnTo>
                  <a:lnTo>
                    <a:pt x="134" y="644"/>
                  </a:lnTo>
                  <a:lnTo>
                    <a:pt x="132" y="650"/>
                  </a:lnTo>
                  <a:lnTo>
                    <a:pt x="132" y="656"/>
                  </a:lnTo>
                  <a:lnTo>
                    <a:pt x="136" y="662"/>
                  </a:lnTo>
                  <a:lnTo>
                    <a:pt x="138" y="668"/>
                  </a:lnTo>
                  <a:lnTo>
                    <a:pt x="138" y="670"/>
                  </a:lnTo>
                  <a:lnTo>
                    <a:pt x="138" y="672"/>
                  </a:lnTo>
                  <a:lnTo>
                    <a:pt x="138" y="672"/>
                  </a:lnTo>
                  <a:lnTo>
                    <a:pt x="134" y="676"/>
                  </a:lnTo>
                  <a:lnTo>
                    <a:pt x="136" y="676"/>
                  </a:lnTo>
                  <a:lnTo>
                    <a:pt x="136" y="678"/>
                  </a:lnTo>
                  <a:lnTo>
                    <a:pt x="134" y="682"/>
                  </a:lnTo>
                  <a:lnTo>
                    <a:pt x="134" y="682"/>
                  </a:lnTo>
                  <a:lnTo>
                    <a:pt x="134" y="684"/>
                  </a:lnTo>
                  <a:lnTo>
                    <a:pt x="134" y="688"/>
                  </a:lnTo>
                  <a:lnTo>
                    <a:pt x="138" y="690"/>
                  </a:lnTo>
                  <a:lnTo>
                    <a:pt x="142" y="694"/>
                  </a:lnTo>
                  <a:lnTo>
                    <a:pt x="142" y="696"/>
                  </a:lnTo>
                  <a:lnTo>
                    <a:pt x="140" y="698"/>
                  </a:lnTo>
                  <a:lnTo>
                    <a:pt x="140" y="698"/>
                  </a:lnTo>
                  <a:lnTo>
                    <a:pt x="140" y="704"/>
                  </a:lnTo>
                  <a:lnTo>
                    <a:pt x="142" y="708"/>
                  </a:lnTo>
                  <a:lnTo>
                    <a:pt x="144" y="710"/>
                  </a:lnTo>
                  <a:lnTo>
                    <a:pt x="144" y="714"/>
                  </a:lnTo>
                  <a:lnTo>
                    <a:pt x="144" y="714"/>
                  </a:lnTo>
                  <a:lnTo>
                    <a:pt x="142" y="720"/>
                  </a:lnTo>
                  <a:lnTo>
                    <a:pt x="142" y="726"/>
                  </a:lnTo>
                  <a:lnTo>
                    <a:pt x="146" y="734"/>
                  </a:lnTo>
                  <a:lnTo>
                    <a:pt x="148" y="738"/>
                  </a:lnTo>
                  <a:lnTo>
                    <a:pt x="148" y="738"/>
                  </a:lnTo>
                  <a:lnTo>
                    <a:pt x="150" y="736"/>
                  </a:lnTo>
                  <a:lnTo>
                    <a:pt x="154" y="734"/>
                  </a:lnTo>
                  <a:lnTo>
                    <a:pt x="158" y="730"/>
                  </a:lnTo>
                  <a:lnTo>
                    <a:pt x="162" y="730"/>
                  </a:lnTo>
                  <a:lnTo>
                    <a:pt x="162" y="730"/>
                  </a:lnTo>
                  <a:lnTo>
                    <a:pt x="166" y="734"/>
                  </a:lnTo>
                  <a:lnTo>
                    <a:pt x="166" y="738"/>
                  </a:lnTo>
                  <a:lnTo>
                    <a:pt x="164" y="740"/>
                  </a:lnTo>
                  <a:lnTo>
                    <a:pt x="166" y="744"/>
                  </a:lnTo>
                  <a:lnTo>
                    <a:pt x="166" y="744"/>
                  </a:lnTo>
                  <a:lnTo>
                    <a:pt x="168" y="748"/>
                  </a:lnTo>
                  <a:lnTo>
                    <a:pt x="168" y="750"/>
                  </a:lnTo>
                  <a:lnTo>
                    <a:pt x="170" y="752"/>
                  </a:lnTo>
                  <a:lnTo>
                    <a:pt x="176" y="752"/>
                  </a:lnTo>
                  <a:lnTo>
                    <a:pt x="176" y="752"/>
                  </a:lnTo>
                  <a:lnTo>
                    <a:pt x="180" y="754"/>
                  </a:lnTo>
                  <a:lnTo>
                    <a:pt x="184" y="756"/>
                  </a:lnTo>
                  <a:lnTo>
                    <a:pt x="184" y="758"/>
                  </a:lnTo>
                  <a:lnTo>
                    <a:pt x="218" y="758"/>
                  </a:lnTo>
                  <a:lnTo>
                    <a:pt x="218" y="758"/>
                  </a:lnTo>
                  <a:lnTo>
                    <a:pt x="222" y="760"/>
                  </a:lnTo>
                  <a:lnTo>
                    <a:pt x="226" y="758"/>
                  </a:lnTo>
                  <a:lnTo>
                    <a:pt x="232" y="760"/>
                  </a:lnTo>
                  <a:lnTo>
                    <a:pt x="244" y="764"/>
                  </a:lnTo>
                  <a:lnTo>
                    <a:pt x="244" y="764"/>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China"/>
            <p:cNvSpPr>
              <a:spLocks/>
            </p:cNvSpPr>
            <p:nvPr/>
          </p:nvSpPr>
          <p:spPr bwMode="auto">
            <a:xfrm>
              <a:off x="6017914" y="1943365"/>
              <a:ext cx="1394354" cy="992188"/>
            </a:xfrm>
            <a:custGeom>
              <a:avLst/>
              <a:gdLst/>
              <a:ahLst/>
              <a:cxnLst>
                <a:cxn ang="0">
                  <a:pos x="124" y="124"/>
                </a:cxn>
                <a:cxn ang="0">
                  <a:pos x="80" y="176"/>
                </a:cxn>
                <a:cxn ang="0">
                  <a:pos x="96" y="230"/>
                </a:cxn>
                <a:cxn ang="0">
                  <a:pos x="42" y="262"/>
                </a:cxn>
                <a:cxn ang="0">
                  <a:pos x="8" y="296"/>
                </a:cxn>
                <a:cxn ang="0">
                  <a:pos x="26" y="338"/>
                </a:cxn>
                <a:cxn ang="0">
                  <a:pos x="94" y="366"/>
                </a:cxn>
                <a:cxn ang="0">
                  <a:pos x="156" y="450"/>
                </a:cxn>
                <a:cxn ang="0">
                  <a:pos x="200" y="498"/>
                </a:cxn>
                <a:cxn ang="0">
                  <a:pos x="288" y="534"/>
                </a:cxn>
                <a:cxn ang="0">
                  <a:pos x="372" y="558"/>
                </a:cxn>
                <a:cxn ang="0">
                  <a:pos x="432" y="550"/>
                </a:cxn>
                <a:cxn ang="0">
                  <a:pos x="524" y="522"/>
                </a:cxn>
                <a:cxn ang="0">
                  <a:pos x="556" y="536"/>
                </a:cxn>
                <a:cxn ang="0">
                  <a:pos x="602" y="604"/>
                </a:cxn>
                <a:cxn ang="0">
                  <a:pos x="586" y="650"/>
                </a:cxn>
                <a:cxn ang="0">
                  <a:pos x="596" y="674"/>
                </a:cxn>
                <a:cxn ang="0">
                  <a:pos x="602" y="710"/>
                </a:cxn>
                <a:cxn ang="0">
                  <a:pos x="666" y="724"/>
                </a:cxn>
                <a:cxn ang="0">
                  <a:pos x="692" y="700"/>
                </a:cxn>
                <a:cxn ang="0">
                  <a:pos x="730" y="694"/>
                </a:cxn>
                <a:cxn ang="0">
                  <a:pos x="780" y="698"/>
                </a:cxn>
                <a:cxn ang="0">
                  <a:pos x="806" y="718"/>
                </a:cxn>
                <a:cxn ang="0">
                  <a:pos x="840" y="720"/>
                </a:cxn>
                <a:cxn ang="0">
                  <a:pos x="860" y="732"/>
                </a:cxn>
                <a:cxn ang="0">
                  <a:pos x="856" y="712"/>
                </a:cxn>
                <a:cxn ang="0">
                  <a:pos x="912" y="694"/>
                </a:cxn>
                <a:cxn ang="0">
                  <a:pos x="944" y="684"/>
                </a:cxn>
                <a:cxn ang="0">
                  <a:pos x="986" y="656"/>
                </a:cxn>
                <a:cxn ang="0">
                  <a:pos x="1012" y="620"/>
                </a:cxn>
                <a:cxn ang="0">
                  <a:pos x="1026" y="582"/>
                </a:cxn>
                <a:cxn ang="0">
                  <a:pos x="1034" y="530"/>
                </a:cxn>
                <a:cxn ang="0">
                  <a:pos x="992" y="510"/>
                </a:cxn>
                <a:cxn ang="0">
                  <a:pos x="1016" y="492"/>
                </a:cxn>
                <a:cxn ang="0">
                  <a:pos x="988" y="472"/>
                </a:cxn>
                <a:cxn ang="0">
                  <a:pos x="974" y="442"/>
                </a:cxn>
                <a:cxn ang="0">
                  <a:pos x="922" y="402"/>
                </a:cxn>
                <a:cxn ang="0">
                  <a:pos x="942" y="370"/>
                </a:cxn>
                <a:cxn ang="0">
                  <a:pos x="962" y="348"/>
                </a:cxn>
                <a:cxn ang="0">
                  <a:pos x="906" y="352"/>
                </a:cxn>
                <a:cxn ang="0">
                  <a:pos x="834" y="310"/>
                </a:cxn>
                <a:cxn ang="0">
                  <a:pos x="886" y="270"/>
                </a:cxn>
                <a:cxn ang="0">
                  <a:pos x="904" y="302"/>
                </a:cxn>
                <a:cxn ang="0">
                  <a:pos x="916" y="306"/>
                </a:cxn>
                <a:cxn ang="0">
                  <a:pos x="980" y="256"/>
                </a:cxn>
                <a:cxn ang="0">
                  <a:pos x="1032" y="224"/>
                </a:cxn>
                <a:cxn ang="0">
                  <a:pos x="1038" y="186"/>
                </a:cxn>
                <a:cxn ang="0">
                  <a:pos x="1042" y="120"/>
                </a:cxn>
                <a:cxn ang="0">
                  <a:pos x="970" y="96"/>
                </a:cxn>
                <a:cxn ang="0">
                  <a:pos x="764" y="0"/>
                </a:cxn>
                <a:cxn ang="0">
                  <a:pos x="730" y="26"/>
                </a:cxn>
                <a:cxn ang="0">
                  <a:pos x="644" y="90"/>
                </a:cxn>
                <a:cxn ang="0">
                  <a:pos x="710" y="100"/>
                </a:cxn>
                <a:cxn ang="0">
                  <a:pos x="750" y="132"/>
                </a:cxn>
                <a:cxn ang="0">
                  <a:pos x="684" y="168"/>
                </a:cxn>
                <a:cxn ang="0">
                  <a:pos x="678" y="206"/>
                </a:cxn>
                <a:cxn ang="0">
                  <a:pos x="526" y="222"/>
                </a:cxn>
                <a:cxn ang="0">
                  <a:pos x="412" y="210"/>
                </a:cxn>
                <a:cxn ang="0">
                  <a:pos x="380" y="176"/>
                </a:cxn>
                <a:cxn ang="0">
                  <a:pos x="276" y="156"/>
                </a:cxn>
                <a:cxn ang="0">
                  <a:pos x="226" y="108"/>
                </a:cxn>
              </a:cxnLst>
              <a:rect l="0" t="0" r="r" b="b"/>
              <a:pathLst>
                <a:path w="1054" h="750">
                  <a:moveTo>
                    <a:pt x="182" y="88"/>
                  </a:moveTo>
                  <a:lnTo>
                    <a:pt x="182" y="88"/>
                  </a:lnTo>
                  <a:lnTo>
                    <a:pt x="180" y="88"/>
                  </a:lnTo>
                  <a:lnTo>
                    <a:pt x="176" y="88"/>
                  </a:lnTo>
                  <a:lnTo>
                    <a:pt x="176" y="88"/>
                  </a:lnTo>
                  <a:lnTo>
                    <a:pt x="174" y="90"/>
                  </a:lnTo>
                  <a:lnTo>
                    <a:pt x="172" y="92"/>
                  </a:lnTo>
                  <a:lnTo>
                    <a:pt x="160" y="92"/>
                  </a:lnTo>
                  <a:lnTo>
                    <a:pt x="156" y="92"/>
                  </a:lnTo>
                  <a:lnTo>
                    <a:pt x="152" y="96"/>
                  </a:lnTo>
                  <a:lnTo>
                    <a:pt x="152" y="104"/>
                  </a:lnTo>
                  <a:lnTo>
                    <a:pt x="154" y="116"/>
                  </a:lnTo>
                  <a:lnTo>
                    <a:pt x="154" y="116"/>
                  </a:lnTo>
                  <a:lnTo>
                    <a:pt x="154" y="118"/>
                  </a:lnTo>
                  <a:lnTo>
                    <a:pt x="152" y="120"/>
                  </a:lnTo>
                  <a:lnTo>
                    <a:pt x="144" y="124"/>
                  </a:lnTo>
                  <a:lnTo>
                    <a:pt x="134" y="126"/>
                  </a:lnTo>
                  <a:lnTo>
                    <a:pt x="124" y="124"/>
                  </a:lnTo>
                  <a:lnTo>
                    <a:pt x="124" y="124"/>
                  </a:lnTo>
                  <a:lnTo>
                    <a:pt x="118" y="122"/>
                  </a:lnTo>
                  <a:lnTo>
                    <a:pt x="114" y="122"/>
                  </a:lnTo>
                  <a:lnTo>
                    <a:pt x="110" y="124"/>
                  </a:lnTo>
                  <a:lnTo>
                    <a:pt x="110" y="128"/>
                  </a:lnTo>
                  <a:lnTo>
                    <a:pt x="110" y="138"/>
                  </a:lnTo>
                  <a:lnTo>
                    <a:pt x="112" y="156"/>
                  </a:lnTo>
                  <a:lnTo>
                    <a:pt x="112" y="156"/>
                  </a:lnTo>
                  <a:lnTo>
                    <a:pt x="112" y="160"/>
                  </a:lnTo>
                  <a:lnTo>
                    <a:pt x="112" y="162"/>
                  </a:lnTo>
                  <a:lnTo>
                    <a:pt x="104" y="162"/>
                  </a:lnTo>
                  <a:lnTo>
                    <a:pt x="94" y="162"/>
                  </a:lnTo>
                  <a:lnTo>
                    <a:pt x="86" y="164"/>
                  </a:lnTo>
                  <a:lnTo>
                    <a:pt x="86" y="164"/>
                  </a:lnTo>
                  <a:lnTo>
                    <a:pt x="80" y="168"/>
                  </a:lnTo>
                  <a:lnTo>
                    <a:pt x="78" y="172"/>
                  </a:lnTo>
                  <a:lnTo>
                    <a:pt x="78" y="176"/>
                  </a:lnTo>
                  <a:lnTo>
                    <a:pt x="80" y="176"/>
                  </a:lnTo>
                  <a:lnTo>
                    <a:pt x="80" y="176"/>
                  </a:lnTo>
                  <a:lnTo>
                    <a:pt x="82" y="176"/>
                  </a:lnTo>
                  <a:lnTo>
                    <a:pt x="86" y="178"/>
                  </a:lnTo>
                  <a:lnTo>
                    <a:pt x="94" y="188"/>
                  </a:lnTo>
                  <a:lnTo>
                    <a:pt x="102" y="196"/>
                  </a:lnTo>
                  <a:lnTo>
                    <a:pt x="104" y="202"/>
                  </a:lnTo>
                  <a:lnTo>
                    <a:pt x="102" y="204"/>
                  </a:lnTo>
                  <a:lnTo>
                    <a:pt x="102" y="204"/>
                  </a:lnTo>
                  <a:lnTo>
                    <a:pt x="100" y="208"/>
                  </a:lnTo>
                  <a:lnTo>
                    <a:pt x="100" y="212"/>
                  </a:lnTo>
                  <a:lnTo>
                    <a:pt x="104" y="216"/>
                  </a:lnTo>
                  <a:lnTo>
                    <a:pt x="106" y="222"/>
                  </a:lnTo>
                  <a:lnTo>
                    <a:pt x="106" y="224"/>
                  </a:lnTo>
                  <a:lnTo>
                    <a:pt x="102" y="226"/>
                  </a:lnTo>
                  <a:lnTo>
                    <a:pt x="102" y="226"/>
                  </a:lnTo>
                  <a:lnTo>
                    <a:pt x="102" y="228"/>
                  </a:lnTo>
                  <a:lnTo>
                    <a:pt x="100" y="230"/>
                  </a:lnTo>
                  <a:lnTo>
                    <a:pt x="96" y="230"/>
                  </a:lnTo>
                  <a:lnTo>
                    <a:pt x="90" y="232"/>
                  </a:lnTo>
                  <a:lnTo>
                    <a:pt x="86" y="232"/>
                  </a:lnTo>
                  <a:lnTo>
                    <a:pt x="86" y="236"/>
                  </a:lnTo>
                  <a:lnTo>
                    <a:pt x="86" y="236"/>
                  </a:lnTo>
                  <a:lnTo>
                    <a:pt x="84" y="238"/>
                  </a:lnTo>
                  <a:lnTo>
                    <a:pt x="82" y="240"/>
                  </a:lnTo>
                  <a:lnTo>
                    <a:pt x="76" y="242"/>
                  </a:lnTo>
                  <a:lnTo>
                    <a:pt x="68" y="248"/>
                  </a:lnTo>
                  <a:lnTo>
                    <a:pt x="68" y="248"/>
                  </a:lnTo>
                  <a:lnTo>
                    <a:pt x="64" y="250"/>
                  </a:lnTo>
                  <a:lnTo>
                    <a:pt x="62" y="250"/>
                  </a:lnTo>
                  <a:lnTo>
                    <a:pt x="60" y="248"/>
                  </a:lnTo>
                  <a:lnTo>
                    <a:pt x="52" y="250"/>
                  </a:lnTo>
                  <a:lnTo>
                    <a:pt x="52" y="250"/>
                  </a:lnTo>
                  <a:lnTo>
                    <a:pt x="48" y="252"/>
                  </a:lnTo>
                  <a:lnTo>
                    <a:pt x="44" y="254"/>
                  </a:lnTo>
                  <a:lnTo>
                    <a:pt x="42" y="260"/>
                  </a:lnTo>
                  <a:lnTo>
                    <a:pt x="42" y="262"/>
                  </a:lnTo>
                  <a:lnTo>
                    <a:pt x="40" y="262"/>
                  </a:lnTo>
                  <a:lnTo>
                    <a:pt x="32" y="260"/>
                  </a:lnTo>
                  <a:lnTo>
                    <a:pt x="32" y="260"/>
                  </a:lnTo>
                  <a:lnTo>
                    <a:pt x="24" y="258"/>
                  </a:lnTo>
                  <a:lnTo>
                    <a:pt x="22" y="258"/>
                  </a:lnTo>
                  <a:lnTo>
                    <a:pt x="22" y="258"/>
                  </a:lnTo>
                  <a:lnTo>
                    <a:pt x="22" y="262"/>
                  </a:lnTo>
                  <a:lnTo>
                    <a:pt x="16" y="260"/>
                  </a:lnTo>
                  <a:lnTo>
                    <a:pt x="16" y="260"/>
                  </a:lnTo>
                  <a:lnTo>
                    <a:pt x="14" y="260"/>
                  </a:lnTo>
                  <a:lnTo>
                    <a:pt x="10" y="260"/>
                  </a:lnTo>
                  <a:lnTo>
                    <a:pt x="4" y="266"/>
                  </a:lnTo>
                  <a:lnTo>
                    <a:pt x="2" y="276"/>
                  </a:lnTo>
                  <a:lnTo>
                    <a:pt x="0" y="290"/>
                  </a:lnTo>
                  <a:lnTo>
                    <a:pt x="0" y="290"/>
                  </a:lnTo>
                  <a:lnTo>
                    <a:pt x="2" y="294"/>
                  </a:lnTo>
                  <a:lnTo>
                    <a:pt x="6" y="296"/>
                  </a:lnTo>
                  <a:lnTo>
                    <a:pt x="8" y="296"/>
                  </a:lnTo>
                  <a:lnTo>
                    <a:pt x="12" y="294"/>
                  </a:lnTo>
                  <a:lnTo>
                    <a:pt x="18" y="294"/>
                  </a:lnTo>
                  <a:lnTo>
                    <a:pt x="20" y="296"/>
                  </a:lnTo>
                  <a:lnTo>
                    <a:pt x="20" y="300"/>
                  </a:lnTo>
                  <a:lnTo>
                    <a:pt x="20" y="300"/>
                  </a:lnTo>
                  <a:lnTo>
                    <a:pt x="20" y="306"/>
                  </a:lnTo>
                  <a:lnTo>
                    <a:pt x="22" y="310"/>
                  </a:lnTo>
                  <a:lnTo>
                    <a:pt x="28" y="312"/>
                  </a:lnTo>
                  <a:lnTo>
                    <a:pt x="30" y="316"/>
                  </a:lnTo>
                  <a:lnTo>
                    <a:pt x="30" y="316"/>
                  </a:lnTo>
                  <a:lnTo>
                    <a:pt x="32" y="324"/>
                  </a:lnTo>
                  <a:lnTo>
                    <a:pt x="30" y="328"/>
                  </a:lnTo>
                  <a:lnTo>
                    <a:pt x="30" y="328"/>
                  </a:lnTo>
                  <a:lnTo>
                    <a:pt x="22" y="330"/>
                  </a:lnTo>
                  <a:lnTo>
                    <a:pt x="22" y="332"/>
                  </a:lnTo>
                  <a:lnTo>
                    <a:pt x="24" y="334"/>
                  </a:lnTo>
                  <a:lnTo>
                    <a:pt x="24" y="334"/>
                  </a:lnTo>
                  <a:lnTo>
                    <a:pt x="26" y="338"/>
                  </a:lnTo>
                  <a:lnTo>
                    <a:pt x="26" y="338"/>
                  </a:lnTo>
                  <a:lnTo>
                    <a:pt x="30" y="338"/>
                  </a:lnTo>
                  <a:lnTo>
                    <a:pt x="32" y="336"/>
                  </a:lnTo>
                  <a:lnTo>
                    <a:pt x="38" y="338"/>
                  </a:lnTo>
                  <a:lnTo>
                    <a:pt x="52" y="344"/>
                  </a:lnTo>
                  <a:lnTo>
                    <a:pt x="52" y="344"/>
                  </a:lnTo>
                  <a:lnTo>
                    <a:pt x="68" y="352"/>
                  </a:lnTo>
                  <a:lnTo>
                    <a:pt x="68" y="354"/>
                  </a:lnTo>
                  <a:lnTo>
                    <a:pt x="68" y="356"/>
                  </a:lnTo>
                  <a:lnTo>
                    <a:pt x="68" y="356"/>
                  </a:lnTo>
                  <a:lnTo>
                    <a:pt x="66" y="362"/>
                  </a:lnTo>
                  <a:lnTo>
                    <a:pt x="68" y="366"/>
                  </a:lnTo>
                  <a:lnTo>
                    <a:pt x="70" y="366"/>
                  </a:lnTo>
                  <a:lnTo>
                    <a:pt x="76" y="366"/>
                  </a:lnTo>
                  <a:lnTo>
                    <a:pt x="86" y="366"/>
                  </a:lnTo>
                  <a:lnTo>
                    <a:pt x="90" y="366"/>
                  </a:lnTo>
                  <a:lnTo>
                    <a:pt x="94" y="366"/>
                  </a:lnTo>
                  <a:lnTo>
                    <a:pt x="94" y="366"/>
                  </a:lnTo>
                  <a:lnTo>
                    <a:pt x="98" y="368"/>
                  </a:lnTo>
                  <a:lnTo>
                    <a:pt x="102" y="370"/>
                  </a:lnTo>
                  <a:lnTo>
                    <a:pt x="110" y="370"/>
                  </a:lnTo>
                  <a:lnTo>
                    <a:pt x="116" y="372"/>
                  </a:lnTo>
                  <a:lnTo>
                    <a:pt x="124" y="378"/>
                  </a:lnTo>
                  <a:lnTo>
                    <a:pt x="132" y="388"/>
                  </a:lnTo>
                  <a:lnTo>
                    <a:pt x="144" y="404"/>
                  </a:lnTo>
                  <a:lnTo>
                    <a:pt x="144" y="404"/>
                  </a:lnTo>
                  <a:lnTo>
                    <a:pt x="138" y="412"/>
                  </a:lnTo>
                  <a:lnTo>
                    <a:pt x="138" y="414"/>
                  </a:lnTo>
                  <a:lnTo>
                    <a:pt x="140" y="416"/>
                  </a:lnTo>
                  <a:lnTo>
                    <a:pt x="148" y="424"/>
                  </a:lnTo>
                  <a:lnTo>
                    <a:pt x="152" y="430"/>
                  </a:lnTo>
                  <a:lnTo>
                    <a:pt x="156" y="436"/>
                  </a:lnTo>
                  <a:lnTo>
                    <a:pt x="156" y="436"/>
                  </a:lnTo>
                  <a:lnTo>
                    <a:pt x="158" y="444"/>
                  </a:lnTo>
                  <a:lnTo>
                    <a:pt x="158" y="448"/>
                  </a:lnTo>
                  <a:lnTo>
                    <a:pt x="156" y="450"/>
                  </a:lnTo>
                  <a:lnTo>
                    <a:pt x="152" y="450"/>
                  </a:lnTo>
                  <a:lnTo>
                    <a:pt x="148" y="450"/>
                  </a:lnTo>
                  <a:lnTo>
                    <a:pt x="148" y="450"/>
                  </a:lnTo>
                  <a:lnTo>
                    <a:pt x="150" y="454"/>
                  </a:lnTo>
                  <a:lnTo>
                    <a:pt x="150" y="454"/>
                  </a:lnTo>
                  <a:lnTo>
                    <a:pt x="156" y="460"/>
                  </a:lnTo>
                  <a:lnTo>
                    <a:pt x="156" y="464"/>
                  </a:lnTo>
                  <a:lnTo>
                    <a:pt x="156" y="470"/>
                  </a:lnTo>
                  <a:lnTo>
                    <a:pt x="160" y="478"/>
                  </a:lnTo>
                  <a:lnTo>
                    <a:pt x="160" y="478"/>
                  </a:lnTo>
                  <a:lnTo>
                    <a:pt x="164" y="482"/>
                  </a:lnTo>
                  <a:lnTo>
                    <a:pt x="168" y="484"/>
                  </a:lnTo>
                  <a:lnTo>
                    <a:pt x="176" y="488"/>
                  </a:lnTo>
                  <a:lnTo>
                    <a:pt x="182" y="488"/>
                  </a:lnTo>
                  <a:lnTo>
                    <a:pt x="188" y="492"/>
                  </a:lnTo>
                  <a:lnTo>
                    <a:pt x="188" y="492"/>
                  </a:lnTo>
                  <a:lnTo>
                    <a:pt x="194" y="496"/>
                  </a:lnTo>
                  <a:lnTo>
                    <a:pt x="200" y="498"/>
                  </a:lnTo>
                  <a:lnTo>
                    <a:pt x="208" y="500"/>
                  </a:lnTo>
                  <a:lnTo>
                    <a:pt x="214" y="508"/>
                  </a:lnTo>
                  <a:lnTo>
                    <a:pt x="214" y="508"/>
                  </a:lnTo>
                  <a:lnTo>
                    <a:pt x="220" y="512"/>
                  </a:lnTo>
                  <a:lnTo>
                    <a:pt x="220" y="512"/>
                  </a:lnTo>
                  <a:lnTo>
                    <a:pt x="226" y="514"/>
                  </a:lnTo>
                  <a:lnTo>
                    <a:pt x="232" y="514"/>
                  </a:lnTo>
                  <a:lnTo>
                    <a:pt x="238" y="514"/>
                  </a:lnTo>
                  <a:lnTo>
                    <a:pt x="244" y="518"/>
                  </a:lnTo>
                  <a:lnTo>
                    <a:pt x="244" y="518"/>
                  </a:lnTo>
                  <a:lnTo>
                    <a:pt x="248" y="520"/>
                  </a:lnTo>
                  <a:lnTo>
                    <a:pt x="250" y="520"/>
                  </a:lnTo>
                  <a:lnTo>
                    <a:pt x="254" y="518"/>
                  </a:lnTo>
                  <a:lnTo>
                    <a:pt x="260" y="518"/>
                  </a:lnTo>
                  <a:lnTo>
                    <a:pt x="266" y="520"/>
                  </a:lnTo>
                  <a:lnTo>
                    <a:pt x="272" y="524"/>
                  </a:lnTo>
                  <a:lnTo>
                    <a:pt x="272" y="524"/>
                  </a:lnTo>
                  <a:lnTo>
                    <a:pt x="288" y="534"/>
                  </a:lnTo>
                  <a:lnTo>
                    <a:pt x="296" y="538"/>
                  </a:lnTo>
                  <a:lnTo>
                    <a:pt x="302" y="538"/>
                  </a:lnTo>
                  <a:lnTo>
                    <a:pt x="306" y="542"/>
                  </a:lnTo>
                  <a:lnTo>
                    <a:pt x="306" y="542"/>
                  </a:lnTo>
                  <a:lnTo>
                    <a:pt x="308" y="546"/>
                  </a:lnTo>
                  <a:lnTo>
                    <a:pt x="310" y="548"/>
                  </a:lnTo>
                  <a:lnTo>
                    <a:pt x="314" y="546"/>
                  </a:lnTo>
                  <a:lnTo>
                    <a:pt x="320" y="546"/>
                  </a:lnTo>
                  <a:lnTo>
                    <a:pt x="322" y="548"/>
                  </a:lnTo>
                  <a:lnTo>
                    <a:pt x="324" y="554"/>
                  </a:lnTo>
                  <a:lnTo>
                    <a:pt x="324" y="554"/>
                  </a:lnTo>
                  <a:lnTo>
                    <a:pt x="326" y="554"/>
                  </a:lnTo>
                  <a:lnTo>
                    <a:pt x="328" y="554"/>
                  </a:lnTo>
                  <a:lnTo>
                    <a:pt x="336" y="552"/>
                  </a:lnTo>
                  <a:lnTo>
                    <a:pt x="352" y="552"/>
                  </a:lnTo>
                  <a:lnTo>
                    <a:pt x="360" y="554"/>
                  </a:lnTo>
                  <a:lnTo>
                    <a:pt x="372" y="558"/>
                  </a:lnTo>
                  <a:lnTo>
                    <a:pt x="372" y="558"/>
                  </a:lnTo>
                  <a:lnTo>
                    <a:pt x="372" y="552"/>
                  </a:lnTo>
                  <a:lnTo>
                    <a:pt x="374" y="550"/>
                  </a:lnTo>
                  <a:lnTo>
                    <a:pt x="376" y="548"/>
                  </a:lnTo>
                  <a:lnTo>
                    <a:pt x="380" y="548"/>
                  </a:lnTo>
                  <a:lnTo>
                    <a:pt x="380" y="548"/>
                  </a:lnTo>
                  <a:lnTo>
                    <a:pt x="384" y="546"/>
                  </a:lnTo>
                  <a:lnTo>
                    <a:pt x="384" y="548"/>
                  </a:lnTo>
                  <a:lnTo>
                    <a:pt x="386" y="566"/>
                  </a:lnTo>
                  <a:lnTo>
                    <a:pt x="386" y="566"/>
                  </a:lnTo>
                  <a:lnTo>
                    <a:pt x="390" y="554"/>
                  </a:lnTo>
                  <a:lnTo>
                    <a:pt x="394" y="548"/>
                  </a:lnTo>
                  <a:lnTo>
                    <a:pt x="400" y="544"/>
                  </a:lnTo>
                  <a:lnTo>
                    <a:pt x="408" y="544"/>
                  </a:lnTo>
                  <a:lnTo>
                    <a:pt x="408" y="544"/>
                  </a:lnTo>
                  <a:lnTo>
                    <a:pt x="418" y="544"/>
                  </a:lnTo>
                  <a:lnTo>
                    <a:pt x="424" y="546"/>
                  </a:lnTo>
                  <a:lnTo>
                    <a:pt x="428" y="548"/>
                  </a:lnTo>
                  <a:lnTo>
                    <a:pt x="432" y="550"/>
                  </a:lnTo>
                  <a:lnTo>
                    <a:pt x="432" y="550"/>
                  </a:lnTo>
                  <a:lnTo>
                    <a:pt x="434" y="552"/>
                  </a:lnTo>
                  <a:lnTo>
                    <a:pt x="436" y="550"/>
                  </a:lnTo>
                  <a:lnTo>
                    <a:pt x="436" y="550"/>
                  </a:lnTo>
                  <a:lnTo>
                    <a:pt x="446" y="548"/>
                  </a:lnTo>
                  <a:lnTo>
                    <a:pt x="462" y="540"/>
                  </a:lnTo>
                  <a:lnTo>
                    <a:pt x="462" y="540"/>
                  </a:lnTo>
                  <a:lnTo>
                    <a:pt x="472" y="536"/>
                  </a:lnTo>
                  <a:lnTo>
                    <a:pt x="476" y="532"/>
                  </a:lnTo>
                  <a:lnTo>
                    <a:pt x="478" y="530"/>
                  </a:lnTo>
                  <a:lnTo>
                    <a:pt x="482" y="526"/>
                  </a:lnTo>
                  <a:lnTo>
                    <a:pt x="482" y="526"/>
                  </a:lnTo>
                  <a:lnTo>
                    <a:pt x="490" y="526"/>
                  </a:lnTo>
                  <a:lnTo>
                    <a:pt x="494" y="528"/>
                  </a:lnTo>
                  <a:lnTo>
                    <a:pt x="502" y="528"/>
                  </a:lnTo>
                  <a:lnTo>
                    <a:pt x="512" y="526"/>
                  </a:lnTo>
                  <a:lnTo>
                    <a:pt x="512" y="526"/>
                  </a:lnTo>
                  <a:lnTo>
                    <a:pt x="524" y="522"/>
                  </a:lnTo>
                  <a:lnTo>
                    <a:pt x="526" y="524"/>
                  </a:lnTo>
                  <a:lnTo>
                    <a:pt x="526" y="526"/>
                  </a:lnTo>
                  <a:lnTo>
                    <a:pt x="524" y="530"/>
                  </a:lnTo>
                  <a:lnTo>
                    <a:pt x="526" y="530"/>
                  </a:lnTo>
                  <a:lnTo>
                    <a:pt x="532" y="530"/>
                  </a:lnTo>
                  <a:lnTo>
                    <a:pt x="532" y="530"/>
                  </a:lnTo>
                  <a:lnTo>
                    <a:pt x="528" y="536"/>
                  </a:lnTo>
                  <a:lnTo>
                    <a:pt x="528" y="538"/>
                  </a:lnTo>
                  <a:lnTo>
                    <a:pt x="528" y="538"/>
                  </a:lnTo>
                  <a:lnTo>
                    <a:pt x="532" y="538"/>
                  </a:lnTo>
                  <a:lnTo>
                    <a:pt x="538" y="538"/>
                  </a:lnTo>
                  <a:lnTo>
                    <a:pt x="538" y="538"/>
                  </a:lnTo>
                  <a:lnTo>
                    <a:pt x="542" y="540"/>
                  </a:lnTo>
                  <a:lnTo>
                    <a:pt x="544" y="538"/>
                  </a:lnTo>
                  <a:lnTo>
                    <a:pt x="548" y="536"/>
                  </a:lnTo>
                  <a:lnTo>
                    <a:pt x="548" y="536"/>
                  </a:lnTo>
                  <a:lnTo>
                    <a:pt x="552" y="536"/>
                  </a:lnTo>
                  <a:lnTo>
                    <a:pt x="556" y="536"/>
                  </a:lnTo>
                  <a:lnTo>
                    <a:pt x="562" y="538"/>
                  </a:lnTo>
                  <a:lnTo>
                    <a:pt x="570" y="544"/>
                  </a:lnTo>
                  <a:lnTo>
                    <a:pt x="570" y="544"/>
                  </a:lnTo>
                  <a:lnTo>
                    <a:pt x="580" y="552"/>
                  </a:lnTo>
                  <a:lnTo>
                    <a:pt x="582" y="556"/>
                  </a:lnTo>
                  <a:lnTo>
                    <a:pt x="582" y="558"/>
                  </a:lnTo>
                  <a:lnTo>
                    <a:pt x="586" y="556"/>
                  </a:lnTo>
                  <a:lnTo>
                    <a:pt x="586" y="556"/>
                  </a:lnTo>
                  <a:lnTo>
                    <a:pt x="588" y="554"/>
                  </a:lnTo>
                  <a:lnTo>
                    <a:pt x="590" y="556"/>
                  </a:lnTo>
                  <a:lnTo>
                    <a:pt x="592" y="564"/>
                  </a:lnTo>
                  <a:lnTo>
                    <a:pt x="594" y="578"/>
                  </a:lnTo>
                  <a:lnTo>
                    <a:pt x="596" y="586"/>
                  </a:lnTo>
                  <a:lnTo>
                    <a:pt x="600" y="594"/>
                  </a:lnTo>
                  <a:lnTo>
                    <a:pt x="600" y="594"/>
                  </a:lnTo>
                  <a:lnTo>
                    <a:pt x="604" y="602"/>
                  </a:lnTo>
                  <a:lnTo>
                    <a:pt x="604" y="604"/>
                  </a:lnTo>
                  <a:lnTo>
                    <a:pt x="602" y="604"/>
                  </a:lnTo>
                  <a:lnTo>
                    <a:pt x="598" y="602"/>
                  </a:lnTo>
                  <a:lnTo>
                    <a:pt x="596" y="602"/>
                  </a:lnTo>
                  <a:lnTo>
                    <a:pt x="596" y="602"/>
                  </a:lnTo>
                  <a:lnTo>
                    <a:pt x="590" y="612"/>
                  </a:lnTo>
                  <a:lnTo>
                    <a:pt x="586" y="616"/>
                  </a:lnTo>
                  <a:lnTo>
                    <a:pt x="582" y="622"/>
                  </a:lnTo>
                  <a:lnTo>
                    <a:pt x="582" y="624"/>
                  </a:lnTo>
                  <a:lnTo>
                    <a:pt x="584" y="628"/>
                  </a:lnTo>
                  <a:lnTo>
                    <a:pt x="584" y="628"/>
                  </a:lnTo>
                  <a:lnTo>
                    <a:pt x="584" y="632"/>
                  </a:lnTo>
                  <a:lnTo>
                    <a:pt x="582" y="634"/>
                  </a:lnTo>
                  <a:lnTo>
                    <a:pt x="580" y="634"/>
                  </a:lnTo>
                  <a:lnTo>
                    <a:pt x="578" y="636"/>
                  </a:lnTo>
                  <a:lnTo>
                    <a:pt x="578" y="636"/>
                  </a:lnTo>
                  <a:lnTo>
                    <a:pt x="576" y="642"/>
                  </a:lnTo>
                  <a:lnTo>
                    <a:pt x="578" y="644"/>
                  </a:lnTo>
                  <a:lnTo>
                    <a:pt x="582" y="648"/>
                  </a:lnTo>
                  <a:lnTo>
                    <a:pt x="586" y="650"/>
                  </a:lnTo>
                  <a:lnTo>
                    <a:pt x="588" y="654"/>
                  </a:lnTo>
                  <a:lnTo>
                    <a:pt x="588" y="654"/>
                  </a:lnTo>
                  <a:lnTo>
                    <a:pt x="586" y="656"/>
                  </a:lnTo>
                  <a:lnTo>
                    <a:pt x="580" y="658"/>
                  </a:lnTo>
                  <a:lnTo>
                    <a:pt x="576" y="660"/>
                  </a:lnTo>
                  <a:lnTo>
                    <a:pt x="574" y="660"/>
                  </a:lnTo>
                  <a:lnTo>
                    <a:pt x="574" y="662"/>
                  </a:lnTo>
                  <a:lnTo>
                    <a:pt x="574" y="662"/>
                  </a:lnTo>
                  <a:lnTo>
                    <a:pt x="574" y="666"/>
                  </a:lnTo>
                  <a:lnTo>
                    <a:pt x="576" y="666"/>
                  </a:lnTo>
                  <a:lnTo>
                    <a:pt x="588" y="662"/>
                  </a:lnTo>
                  <a:lnTo>
                    <a:pt x="588" y="662"/>
                  </a:lnTo>
                  <a:lnTo>
                    <a:pt x="598" y="660"/>
                  </a:lnTo>
                  <a:lnTo>
                    <a:pt x="600" y="662"/>
                  </a:lnTo>
                  <a:lnTo>
                    <a:pt x="598" y="666"/>
                  </a:lnTo>
                  <a:lnTo>
                    <a:pt x="598" y="666"/>
                  </a:lnTo>
                  <a:lnTo>
                    <a:pt x="596" y="672"/>
                  </a:lnTo>
                  <a:lnTo>
                    <a:pt x="596" y="674"/>
                  </a:lnTo>
                  <a:lnTo>
                    <a:pt x="600" y="676"/>
                  </a:lnTo>
                  <a:lnTo>
                    <a:pt x="600" y="678"/>
                  </a:lnTo>
                  <a:lnTo>
                    <a:pt x="600" y="678"/>
                  </a:lnTo>
                  <a:lnTo>
                    <a:pt x="600" y="680"/>
                  </a:lnTo>
                  <a:lnTo>
                    <a:pt x="602" y="682"/>
                  </a:lnTo>
                  <a:lnTo>
                    <a:pt x="606" y="684"/>
                  </a:lnTo>
                  <a:lnTo>
                    <a:pt x="610" y="682"/>
                  </a:lnTo>
                  <a:lnTo>
                    <a:pt x="610" y="682"/>
                  </a:lnTo>
                  <a:lnTo>
                    <a:pt x="612" y="684"/>
                  </a:lnTo>
                  <a:lnTo>
                    <a:pt x="612" y="684"/>
                  </a:lnTo>
                  <a:lnTo>
                    <a:pt x="612" y="686"/>
                  </a:lnTo>
                  <a:lnTo>
                    <a:pt x="616" y="686"/>
                  </a:lnTo>
                  <a:lnTo>
                    <a:pt x="620" y="686"/>
                  </a:lnTo>
                  <a:lnTo>
                    <a:pt x="620" y="688"/>
                  </a:lnTo>
                  <a:lnTo>
                    <a:pt x="620" y="688"/>
                  </a:lnTo>
                  <a:lnTo>
                    <a:pt x="602" y="706"/>
                  </a:lnTo>
                  <a:lnTo>
                    <a:pt x="602" y="706"/>
                  </a:lnTo>
                  <a:lnTo>
                    <a:pt x="602" y="710"/>
                  </a:lnTo>
                  <a:lnTo>
                    <a:pt x="604" y="712"/>
                  </a:lnTo>
                  <a:lnTo>
                    <a:pt x="614" y="712"/>
                  </a:lnTo>
                  <a:lnTo>
                    <a:pt x="628" y="712"/>
                  </a:lnTo>
                  <a:lnTo>
                    <a:pt x="628" y="712"/>
                  </a:lnTo>
                  <a:lnTo>
                    <a:pt x="630" y="718"/>
                  </a:lnTo>
                  <a:lnTo>
                    <a:pt x="634" y="722"/>
                  </a:lnTo>
                  <a:lnTo>
                    <a:pt x="638" y="724"/>
                  </a:lnTo>
                  <a:lnTo>
                    <a:pt x="642" y="724"/>
                  </a:lnTo>
                  <a:lnTo>
                    <a:pt x="650" y="726"/>
                  </a:lnTo>
                  <a:lnTo>
                    <a:pt x="654" y="728"/>
                  </a:lnTo>
                  <a:lnTo>
                    <a:pt x="656" y="728"/>
                  </a:lnTo>
                  <a:lnTo>
                    <a:pt x="656" y="728"/>
                  </a:lnTo>
                  <a:lnTo>
                    <a:pt x="658" y="732"/>
                  </a:lnTo>
                  <a:lnTo>
                    <a:pt x="664" y="734"/>
                  </a:lnTo>
                  <a:lnTo>
                    <a:pt x="666" y="732"/>
                  </a:lnTo>
                  <a:lnTo>
                    <a:pt x="666" y="730"/>
                  </a:lnTo>
                  <a:lnTo>
                    <a:pt x="668" y="728"/>
                  </a:lnTo>
                  <a:lnTo>
                    <a:pt x="666" y="724"/>
                  </a:lnTo>
                  <a:lnTo>
                    <a:pt x="666" y="724"/>
                  </a:lnTo>
                  <a:lnTo>
                    <a:pt x="662" y="718"/>
                  </a:lnTo>
                  <a:lnTo>
                    <a:pt x="658" y="712"/>
                  </a:lnTo>
                  <a:lnTo>
                    <a:pt x="656" y="708"/>
                  </a:lnTo>
                  <a:lnTo>
                    <a:pt x="654" y="704"/>
                  </a:lnTo>
                  <a:lnTo>
                    <a:pt x="654" y="704"/>
                  </a:lnTo>
                  <a:lnTo>
                    <a:pt x="656" y="702"/>
                  </a:lnTo>
                  <a:lnTo>
                    <a:pt x="658" y="700"/>
                  </a:lnTo>
                  <a:lnTo>
                    <a:pt x="668" y="698"/>
                  </a:lnTo>
                  <a:lnTo>
                    <a:pt x="668" y="698"/>
                  </a:lnTo>
                  <a:lnTo>
                    <a:pt x="678" y="696"/>
                  </a:lnTo>
                  <a:lnTo>
                    <a:pt x="678" y="696"/>
                  </a:lnTo>
                  <a:lnTo>
                    <a:pt x="682" y="696"/>
                  </a:lnTo>
                  <a:lnTo>
                    <a:pt x="686" y="700"/>
                  </a:lnTo>
                  <a:lnTo>
                    <a:pt x="688" y="702"/>
                  </a:lnTo>
                  <a:lnTo>
                    <a:pt x="692" y="702"/>
                  </a:lnTo>
                  <a:lnTo>
                    <a:pt x="692" y="702"/>
                  </a:lnTo>
                  <a:lnTo>
                    <a:pt x="692" y="700"/>
                  </a:lnTo>
                  <a:lnTo>
                    <a:pt x="690" y="698"/>
                  </a:lnTo>
                  <a:lnTo>
                    <a:pt x="690" y="694"/>
                  </a:lnTo>
                  <a:lnTo>
                    <a:pt x="692" y="690"/>
                  </a:lnTo>
                  <a:lnTo>
                    <a:pt x="692" y="690"/>
                  </a:lnTo>
                  <a:lnTo>
                    <a:pt x="694" y="688"/>
                  </a:lnTo>
                  <a:lnTo>
                    <a:pt x="696" y="690"/>
                  </a:lnTo>
                  <a:lnTo>
                    <a:pt x="698" y="692"/>
                  </a:lnTo>
                  <a:lnTo>
                    <a:pt x="700" y="696"/>
                  </a:lnTo>
                  <a:lnTo>
                    <a:pt x="704" y="696"/>
                  </a:lnTo>
                  <a:lnTo>
                    <a:pt x="706" y="694"/>
                  </a:lnTo>
                  <a:lnTo>
                    <a:pt x="706" y="694"/>
                  </a:lnTo>
                  <a:lnTo>
                    <a:pt x="712" y="694"/>
                  </a:lnTo>
                  <a:lnTo>
                    <a:pt x="714" y="696"/>
                  </a:lnTo>
                  <a:lnTo>
                    <a:pt x="716" y="696"/>
                  </a:lnTo>
                  <a:lnTo>
                    <a:pt x="720" y="696"/>
                  </a:lnTo>
                  <a:lnTo>
                    <a:pt x="720" y="696"/>
                  </a:lnTo>
                  <a:lnTo>
                    <a:pt x="726" y="694"/>
                  </a:lnTo>
                  <a:lnTo>
                    <a:pt x="730" y="694"/>
                  </a:lnTo>
                  <a:lnTo>
                    <a:pt x="732" y="694"/>
                  </a:lnTo>
                  <a:lnTo>
                    <a:pt x="730" y="688"/>
                  </a:lnTo>
                  <a:lnTo>
                    <a:pt x="730" y="688"/>
                  </a:lnTo>
                  <a:lnTo>
                    <a:pt x="732" y="684"/>
                  </a:lnTo>
                  <a:lnTo>
                    <a:pt x="736" y="682"/>
                  </a:lnTo>
                  <a:lnTo>
                    <a:pt x="746" y="678"/>
                  </a:lnTo>
                  <a:lnTo>
                    <a:pt x="746" y="678"/>
                  </a:lnTo>
                  <a:lnTo>
                    <a:pt x="750" y="678"/>
                  </a:lnTo>
                  <a:lnTo>
                    <a:pt x="750" y="678"/>
                  </a:lnTo>
                  <a:lnTo>
                    <a:pt x="752" y="682"/>
                  </a:lnTo>
                  <a:lnTo>
                    <a:pt x="754" y="684"/>
                  </a:lnTo>
                  <a:lnTo>
                    <a:pt x="756" y="688"/>
                  </a:lnTo>
                  <a:lnTo>
                    <a:pt x="760" y="690"/>
                  </a:lnTo>
                  <a:lnTo>
                    <a:pt x="768" y="690"/>
                  </a:lnTo>
                  <a:lnTo>
                    <a:pt x="768" y="690"/>
                  </a:lnTo>
                  <a:lnTo>
                    <a:pt x="776" y="692"/>
                  </a:lnTo>
                  <a:lnTo>
                    <a:pt x="782" y="694"/>
                  </a:lnTo>
                  <a:lnTo>
                    <a:pt x="780" y="698"/>
                  </a:lnTo>
                  <a:lnTo>
                    <a:pt x="774" y="700"/>
                  </a:lnTo>
                  <a:lnTo>
                    <a:pt x="774" y="700"/>
                  </a:lnTo>
                  <a:lnTo>
                    <a:pt x="770" y="704"/>
                  </a:lnTo>
                  <a:lnTo>
                    <a:pt x="768" y="706"/>
                  </a:lnTo>
                  <a:lnTo>
                    <a:pt x="774" y="710"/>
                  </a:lnTo>
                  <a:lnTo>
                    <a:pt x="774" y="710"/>
                  </a:lnTo>
                  <a:lnTo>
                    <a:pt x="776" y="714"/>
                  </a:lnTo>
                  <a:lnTo>
                    <a:pt x="780" y="712"/>
                  </a:lnTo>
                  <a:lnTo>
                    <a:pt x="780" y="712"/>
                  </a:lnTo>
                  <a:lnTo>
                    <a:pt x="782" y="712"/>
                  </a:lnTo>
                  <a:lnTo>
                    <a:pt x="784" y="712"/>
                  </a:lnTo>
                  <a:lnTo>
                    <a:pt x="788" y="716"/>
                  </a:lnTo>
                  <a:lnTo>
                    <a:pt x="794" y="720"/>
                  </a:lnTo>
                  <a:lnTo>
                    <a:pt x="796" y="720"/>
                  </a:lnTo>
                  <a:lnTo>
                    <a:pt x="800" y="720"/>
                  </a:lnTo>
                  <a:lnTo>
                    <a:pt x="800" y="720"/>
                  </a:lnTo>
                  <a:lnTo>
                    <a:pt x="806" y="718"/>
                  </a:lnTo>
                  <a:lnTo>
                    <a:pt x="806" y="718"/>
                  </a:lnTo>
                  <a:lnTo>
                    <a:pt x="810" y="716"/>
                  </a:lnTo>
                  <a:lnTo>
                    <a:pt x="810" y="714"/>
                  </a:lnTo>
                  <a:lnTo>
                    <a:pt x="810" y="712"/>
                  </a:lnTo>
                  <a:lnTo>
                    <a:pt x="812" y="710"/>
                  </a:lnTo>
                  <a:lnTo>
                    <a:pt x="812" y="710"/>
                  </a:lnTo>
                  <a:lnTo>
                    <a:pt x="812" y="710"/>
                  </a:lnTo>
                  <a:lnTo>
                    <a:pt x="814" y="712"/>
                  </a:lnTo>
                  <a:lnTo>
                    <a:pt x="818" y="714"/>
                  </a:lnTo>
                  <a:lnTo>
                    <a:pt x="822" y="718"/>
                  </a:lnTo>
                  <a:lnTo>
                    <a:pt x="826" y="716"/>
                  </a:lnTo>
                  <a:lnTo>
                    <a:pt x="830" y="714"/>
                  </a:lnTo>
                  <a:lnTo>
                    <a:pt x="830" y="714"/>
                  </a:lnTo>
                  <a:lnTo>
                    <a:pt x="828" y="718"/>
                  </a:lnTo>
                  <a:lnTo>
                    <a:pt x="830" y="720"/>
                  </a:lnTo>
                  <a:lnTo>
                    <a:pt x="834" y="720"/>
                  </a:lnTo>
                  <a:lnTo>
                    <a:pt x="838" y="716"/>
                  </a:lnTo>
                  <a:lnTo>
                    <a:pt x="838" y="716"/>
                  </a:lnTo>
                  <a:lnTo>
                    <a:pt x="840" y="720"/>
                  </a:lnTo>
                  <a:lnTo>
                    <a:pt x="838" y="720"/>
                  </a:lnTo>
                  <a:lnTo>
                    <a:pt x="834" y="726"/>
                  </a:lnTo>
                  <a:lnTo>
                    <a:pt x="834" y="726"/>
                  </a:lnTo>
                  <a:lnTo>
                    <a:pt x="834" y="730"/>
                  </a:lnTo>
                  <a:lnTo>
                    <a:pt x="834" y="734"/>
                  </a:lnTo>
                  <a:lnTo>
                    <a:pt x="840" y="742"/>
                  </a:lnTo>
                  <a:lnTo>
                    <a:pt x="840" y="742"/>
                  </a:lnTo>
                  <a:lnTo>
                    <a:pt x="840" y="744"/>
                  </a:lnTo>
                  <a:lnTo>
                    <a:pt x="842" y="746"/>
                  </a:lnTo>
                  <a:lnTo>
                    <a:pt x="846" y="750"/>
                  </a:lnTo>
                  <a:lnTo>
                    <a:pt x="852" y="748"/>
                  </a:lnTo>
                  <a:lnTo>
                    <a:pt x="852" y="748"/>
                  </a:lnTo>
                  <a:lnTo>
                    <a:pt x="858" y="746"/>
                  </a:lnTo>
                  <a:lnTo>
                    <a:pt x="860" y="742"/>
                  </a:lnTo>
                  <a:lnTo>
                    <a:pt x="862" y="738"/>
                  </a:lnTo>
                  <a:lnTo>
                    <a:pt x="862" y="734"/>
                  </a:lnTo>
                  <a:lnTo>
                    <a:pt x="862" y="734"/>
                  </a:lnTo>
                  <a:lnTo>
                    <a:pt x="860" y="732"/>
                  </a:lnTo>
                  <a:lnTo>
                    <a:pt x="858" y="732"/>
                  </a:lnTo>
                  <a:lnTo>
                    <a:pt x="856" y="732"/>
                  </a:lnTo>
                  <a:lnTo>
                    <a:pt x="856" y="730"/>
                  </a:lnTo>
                  <a:lnTo>
                    <a:pt x="856" y="730"/>
                  </a:lnTo>
                  <a:lnTo>
                    <a:pt x="856" y="728"/>
                  </a:lnTo>
                  <a:lnTo>
                    <a:pt x="854" y="726"/>
                  </a:lnTo>
                  <a:lnTo>
                    <a:pt x="850" y="726"/>
                  </a:lnTo>
                  <a:lnTo>
                    <a:pt x="848" y="726"/>
                  </a:lnTo>
                  <a:lnTo>
                    <a:pt x="848" y="726"/>
                  </a:lnTo>
                  <a:lnTo>
                    <a:pt x="846" y="724"/>
                  </a:lnTo>
                  <a:lnTo>
                    <a:pt x="848" y="722"/>
                  </a:lnTo>
                  <a:lnTo>
                    <a:pt x="852" y="720"/>
                  </a:lnTo>
                  <a:lnTo>
                    <a:pt x="856" y="718"/>
                  </a:lnTo>
                  <a:lnTo>
                    <a:pt x="856" y="716"/>
                  </a:lnTo>
                  <a:lnTo>
                    <a:pt x="856" y="714"/>
                  </a:lnTo>
                  <a:lnTo>
                    <a:pt x="852" y="710"/>
                  </a:lnTo>
                  <a:lnTo>
                    <a:pt x="852" y="710"/>
                  </a:lnTo>
                  <a:lnTo>
                    <a:pt x="856" y="712"/>
                  </a:lnTo>
                  <a:lnTo>
                    <a:pt x="862" y="716"/>
                  </a:lnTo>
                  <a:lnTo>
                    <a:pt x="866" y="716"/>
                  </a:lnTo>
                  <a:lnTo>
                    <a:pt x="866" y="716"/>
                  </a:lnTo>
                  <a:lnTo>
                    <a:pt x="868" y="714"/>
                  </a:lnTo>
                  <a:lnTo>
                    <a:pt x="868" y="714"/>
                  </a:lnTo>
                  <a:lnTo>
                    <a:pt x="870" y="710"/>
                  </a:lnTo>
                  <a:lnTo>
                    <a:pt x="874" y="710"/>
                  </a:lnTo>
                  <a:lnTo>
                    <a:pt x="878" y="710"/>
                  </a:lnTo>
                  <a:lnTo>
                    <a:pt x="882" y="706"/>
                  </a:lnTo>
                  <a:lnTo>
                    <a:pt x="882" y="706"/>
                  </a:lnTo>
                  <a:lnTo>
                    <a:pt x="890" y="704"/>
                  </a:lnTo>
                  <a:lnTo>
                    <a:pt x="898" y="702"/>
                  </a:lnTo>
                  <a:lnTo>
                    <a:pt x="906" y="698"/>
                  </a:lnTo>
                  <a:lnTo>
                    <a:pt x="906" y="696"/>
                  </a:lnTo>
                  <a:lnTo>
                    <a:pt x="906" y="692"/>
                  </a:lnTo>
                  <a:lnTo>
                    <a:pt x="906" y="692"/>
                  </a:lnTo>
                  <a:lnTo>
                    <a:pt x="910" y="694"/>
                  </a:lnTo>
                  <a:lnTo>
                    <a:pt x="912" y="694"/>
                  </a:lnTo>
                  <a:lnTo>
                    <a:pt x="916" y="690"/>
                  </a:lnTo>
                  <a:lnTo>
                    <a:pt x="916" y="680"/>
                  </a:lnTo>
                  <a:lnTo>
                    <a:pt x="916" y="680"/>
                  </a:lnTo>
                  <a:lnTo>
                    <a:pt x="920" y="686"/>
                  </a:lnTo>
                  <a:lnTo>
                    <a:pt x="922" y="686"/>
                  </a:lnTo>
                  <a:lnTo>
                    <a:pt x="922" y="686"/>
                  </a:lnTo>
                  <a:lnTo>
                    <a:pt x="924" y="684"/>
                  </a:lnTo>
                  <a:lnTo>
                    <a:pt x="928" y="686"/>
                  </a:lnTo>
                  <a:lnTo>
                    <a:pt x="928" y="686"/>
                  </a:lnTo>
                  <a:lnTo>
                    <a:pt x="930" y="688"/>
                  </a:lnTo>
                  <a:lnTo>
                    <a:pt x="932" y="688"/>
                  </a:lnTo>
                  <a:lnTo>
                    <a:pt x="934" y="684"/>
                  </a:lnTo>
                  <a:lnTo>
                    <a:pt x="938" y="680"/>
                  </a:lnTo>
                  <a:lnTo>
                    <a:pt x="938" y="680"/>
                  </a:lnTo>
                  <a:lnTo>
                    <a:pt x="940" y="680"/>
                  </a:lnTo>
                  <a:lnTo>
                    <a:pt x="940" y="680"/>
                  </a:lnTo>
                  <a:lnTo>
                    <a:pt x="942" y="682"/>
                  </a:lnTo>
                  <a:lnTo>
                    <a:pt x="944" y="684"/>
                  </a:lnTo>
                  <a:lnTo>
                    <a:pt x="948" y="680"/>
                  </a:lnTo>
                  <a:lnTo>
                    <a:pt x="954" y="676"/>
                  </a:lnTo>
                  <a:lnTo>
                    <a:pt x="958" y="676"/>
                  </a:lnTo>
                  <a:lnTo>
                    <a:pt x="962" y="676"/>
                  </a:lnTo>
                  <a:lnTo>
                    <a:pt x="962" y="676"/>
                  </a:lnTo>
                  <a:lnTo>
                    <a:pt x="966" y="676"/>
                  </a:lnTo>
                  <a:lnTo>
                    <a:pt x="968" y="674"/>
                  </a:lnTo>
                  <a:lnTo>
                    <a:pt x="970" y="670"/>
                  </a:lnTo>
                  <a:lnTo>
                    <a:pt x="976" y="670"/>
                  </a:lnTo>
                  <a:lnTo>
                    <a:pt x="976" y="670"/>
                  </a:lnTo>
                  <a:lnTo>
                    <a:pt x="982" y="668"/>
                  </a:lnTo>
                  <a:lnTo>
                    <a:pt x="982" y="666"/>
                  </a:lnTo>
                  <a:lnTo>
                    <a:pt x="982" y="666"/>
                  </a:lnTo>
                  <a:lnTo>
                    <a:pt x="984" y="664"/>
                  </a:lnTo>
                  <a:lnTo>
                    <a:pt x="984" y="664"/>
                  </a:lnTo>
                  <a:lnTo>
                    <a:pt x="986" y="662"/>
                  </a:lnTo>
                  <a:lnTo>
                    <a:pt x="988" y="660"/>
                  </a:lnTo>
                  <a:lnTo>
                    <a:pt x="986" y="656"/>
                  </a:lnTo>
                  <a:lnTo>
                    <a:pt x="986" y="654"/>
                  </a:lnTo>
                  <a:lnTo>
                    <a:pt x="990" y="652"/>
                  </a:lnTo>
                  <a:lnTo>
                    <a:pt x="990" y="652"/>
                  </a:lnTo>
                  <a:lnTo>
                    <a:pt x="994" y="650"/>
                  </a:lnTo>
                  <a:lnTo>
                    <a:pt x="994" y="648"/>
                  </a:lnTo>
                  <a:lnTo>
                    <a:pt x="996" y="644"/>
                  </a:lnTo>
                  <a:lnTo>
                    <a:pt x="998" y="642"/>
                  </a:lnTo>
                  <a:lnTo>
                    <a:pt x="998" y="642"/>
                  </a:lnTo>
                  <a:lnTo>
                    <a:pt x="1002" y="640"/>
                  </a:lnTo>
                  <a:lnTo>
                    <a:pt x="1002" y="638"/>
                  </a:lnTo>
                  <a:lnTo>
                    <a:pt x="1002" y="634"/>
                  </a:lnTo>
                  <a:lnTo>
                    <a:pt x="1004" y="632"/>
                  </a:lnTo>
                  <a:lnTo>
                    <a:pt x="1008" y="632"/>
                  </a:lnTo>
                  <a:lnTo>
                    <a:pt x="1008" y="632"/>
                  </a:lnTo>
                  <a:lnTo>
                    <a:pt x="1014" y="632"/>
                  </a:lnTo>
                  <a:lnTo>
                    <a:pt x="1014" y="628"/>
                  </a:lnTo>
                  <a:lnTo>
                    <a:pt x="1012" y="622"/>
                  </a:lnTo>
                  <a:lnTo>
                    <a:pt x="1012" y="620"/>
                  </a:lnTo>
                  <a:lnTo>
                    <a:pt x="1014" y="616"/>
                  </a:lnTo>
                  <a:lnTo>
                    <a:pt x="1014" y="616"/>
                  </a:lnTo>
                  <a:lnTo>
                    <a:pt x="1018" y="610"/>
                  </a:lnTo>
                  <a:lnTo>
                    <a:pt x="1018" y="610"/>
                  </a:lnTo>
                  <a:lnTo>
                    <a:pt x="1014" y="610"/>
                  </a:lnTo>
                  <a:lnTo>
                    <a:pt x="1012" y="608"/>
                  </a:lnTo>
                  <a:lnTo>
                    <a:pt x="1012" y="608"/>
                  </a:lnTo>
                  <a:lnTo>
                    <a:pt x="1008" y="606"/>
                  </a:lnTo>
                  <a:lnTo>
                    <a:pt x="1012" y="604"/>
                  </a:lnTo>
                  <a:lnTo>
                    <a:pt x="1018" y="604"/>
                  </a:lnTo>
                  <a:lnTo>
                    <a:pt x="1020" y="602"/>
                  </a:lnTo>
                  <a:lnTo>
                    <a:pt x="1020" y="598"/>
                  </a:lnTo>
                  <a:lnTo>
                    <a:pt x="1020" y="598"/>
                  </a:lnTo>
                  <a:lnTo>
                    <a:pt x="1022" y="592"/>
                  </a:lnTo>
                  <a:lnTo>
                    <a:pt x="1024" y="590"/>
                  </a:lnTo>
                  <a:lnTo>
                    <a:pt x="1026" y="588"/>
                  </a:lnTo>
                  <a:lnTo>
                    <a:pt x="1026" y="582"/>
                  </a:lnTo>
                  <a:lnTo>
                    <a:pt x="1026" y="582"/>
                  </a:lnTo>
                  <a:lnTo>
                    <a:pt x="1026" y="566"/>
                  </a:lnTo>
                  <a:lnTo>
                    <a:pt x="1028" y="560"/>
                  </a:lnTo>
                  <a:lnTo>
                    <a:pt x="1030" y="558"/>
                  </a:lnTo>
                  <a:lnTo>
                    <a:pt x="1030" y="556"/>
                  </a:lnTo>
                  <a:lnTo>
                    <a:pt x="1030" y="556"/>
                  </a:lnTo>
                  <a:lnTo>
                    <a:pt x="1030" y="552"/>
                  </a:lnTo>
                  <a:lnTo>
                    <a:pt x="1030" y="550"/>
                  </a:lnTo>
                  <a:lnTo>
                    <a:pt x="1034" y="546"/>
                  </a:lnTo>
                  <a:lnTo>
                    <a:pt x="1036" y="544"/>
                  </a:lnTo>
                  <a:lnTo>
                    <a:pt x="1036" y="542"/>
                  </a:lnTo>
                  <a:lnTo>
                    <a:pt x="1032" y="538"/>
                  </a:lnTo>
                  <a:lnTo>
                    <a:pt x="1032" y="538"/>
                  </a:lnTo>
                  <a:lnTo>
                    <a:pt x="1028" y="536"/>
                  </a:lnTo>
                  <a:lnTo>
                    <a:pt x="1032" y="536"/>
                  </a:lnTo>
                  <a:lnTo>
                    <a:pt x="1034" y="534"/>
                  </a:lnTo>
                  <a:lnTo>
                    <a:pt x="1036" y="534"/>
                  </a:lnTo>
                  <a:lnTo>
                    <a:pt x="1034" y="530"/>
                  </a:lnTo>
                  <a:lnTo>
                    <a:pt x="1034" y="530"/>
                  </a:lnTo>
                  <a:lnTo>
                    <a:pt x="1032" y="526"/>
                  </a:lnTo>
                  <a:lnTo>
                    <a:pt x="1030" y="526"/>
                  </a:lnTo>
                  <a:lnTo>
                    <a:pt x="1028" y="528"/>
                  </a:lnTo>
                  <a:lnTo>
                    <a:pt x="1024" y="528"/>
                  </a:lnTo>
                  <a:lnTo>
                    <a:pt x="1024" y="528"/>
                  </a:lnTo>
                  <a:lnTo>
                    <a:pt x="1028" y="526"/>
                  </a:lnTo>
                  <a:lnTo>
                    <a:pt x="1032" y="520"/>
                  </a:lnTo>
                  <a:lnTo>
                    <a:pt x="1032" y="520"/>
                  </a:lnTo>
                  <a:lnTo>
                    <a:pt x="1026" y="520"/>
                  </a:lnTo>
                  <a:lnTo>
                    <a:pt x="1022" y="518"/>
                  </a:lnTo>
                  <a:lnTo>
                    <a:pt x="1016" y="514"/>
                  </a:lnTo>
                  <a:lnTo>
                    <a:pt x="1010" y="510"/>
                  </a:lnTo>
                  <a:lnTo>
                    <a:pt x="1008" y="510"/>
                  </a:lnTo>
                  <a:lnTo>
                    <a:pt x="1004" y="510"/>
                  </a:lnTo>
                  <a:lnTo>
                    <a:pt x="1004" y="510"/>
                  </a:lnTo>
                  <a:lnTo>
                    <a:pt x="998" y="512"/>
                  </a:lnTo>
                  <a:lnTo>
                    <a:pt x="994" y="510"/>
                  </a:lnTo>
                  <a:lnTo>
                    <a:pt x="992" y="510"/>
                  </a:lnTo>
                  <a:lnTo>
                    <a:pt x="984" y="514"/>
                  </a:lnTo>
                  <a:lnTo>
                    <a:pt x="984" y="514"/>
                  </a:lnTo>
                  <a:lnTo>
                    <a:pt x="988" y="512"/>
                  </a:lnTo>
                  <a:lnTo>
                    <a:pt x="990" y="508"/>
                  </a:lnTo>
                  <a:lnTo>
                    <a:pt x="996" y="508"/>
                  </a:lnTo>
                  <a:lnTo>
                    <a:pt x="1000" y="508"/>
                  </a:lnTo>
                  <a:lnTo>
                    <a:pt x="1000" y="506"/>
                  </a:lnTo>
                  <a:lnTo>
                    <a:pt x="1000" y="506"/>
                  </a:lnTo>
                  <a:lnTo>
                    <a:pt x="1000" y="504"/>
                  </a:lnTo>
                  <a:lnTo>
                    <a:pt x="1004" y="502"/>
                  </a:lnTo>
                  <a:lnTo>
                    <a:pt x="1008" y="502"/>
                  </a:lnTo>
                  <a:lnTo>
                    <a:pt x="1008" y="498"/>
                  </a:lnTo>
                  <a:lnTo>
                    <a:pt x="1008" y="498"/>
                  </a:lnTo>
                  <a:lnTo>
                    <a:pt x="1008" y="496"/>
                  </a:lnTo>
                  <a:lnTo>
                    <a:pt x="1012" y="494"/>
                  </a:lnTo>
                  <a:lnTo>
                    <a:pt x="1014" y="492"/>
                  </a:lnTo>
                  <a:lnTo>
                    <a:pt x="1016" y="492"/>
                  </a:lnTo>
                  <a:lnTo>
                    <a:pt x="1016" y="492"/>
                  </a:lnTo>
                  <a:lnTo>
                    <a:pt x="1014" y="488"/>
                  </a:lnTo>
                  <a:lnTo>
                    <a:pt x="1012" y="484"/>
                  </a:lnTo>
                  <a:lnTo>
                    <a:pt x="1004" y="480"/>
                  </a:lnTo>
                  <a:lnTo>
                    <a:pt x="998" y="478"/>
                  </a:lnTo>
                  <a:lnTo>
                    <a:pt x="996" y="478"/>
                  </a:lnTo>
                  <a:lnTo>
                    <a:pt x="996" y="478"/>
                  </a:lnTo>
                  <a:lnTo>
                    <a:pt x="994" y="476"/>
                  </a:lnTo>
                  <a:lnTo>
                    <a:pt x="990" y="476"/>
                  </a:lnTo>
                  <a:lnTo>
                    <a:pt x="984" y="478"/>
                  </a:lnTo>
                  <a:lnTo>
                    <a:pt x="978" y="478"/>
                  </a:lnTo>
                  <a:lnTo>
                    <a:pt x="974" y="476"/>
                  </a:lnTo>
                  <a:lnTo>
                    <a:pt x="972" y="472"/>
                  </a:lnTo>
                  <a:lnTo>
                    <a:pt x="972" y="472"/>
                  </a:lnTo>
                  <a:lnTo>
                    <a:pt x="976" y="476"/>
                  </a:lnTo>
                  <a:lnTo>
                    <a:pt x="980" y="476"/>
                  </a:lnTo>
                  <a:lnTo>
                    <a:pt x="984" y="474"/>
                  </a:lnTo>
                  <a:lnTo>
                    <a:pt x="984" y="474"/>
                  </a:lnTo>
                  <a:lnTo>
                    <a:pt x="988" y="472"/>
                  </a:lnTo>
                  <a:lnTo>
                    <a:pt x="990" y="472"/>
                  </a:lnTo>
                  <a:lnTo>
                    <a:pt x="998" y="474"/>
                  </a:lnTo>
                  <a:lnTo>
                    <a:pt x="1004" y="476"/>
                  </a:lnTo>
                  <a:lnTo>
                    <a:pt x="1010" y="478"/>
                  </a:lnTo>
                  <a:lnTo>
                    <a:pt x="1010" y="478"/>
                  </a:lnTo>
                  <a:lnTo>
                    <a:pt x="1010" y="474"/>
                  </a:lnTo>
                  <a:lnTo>
                    <a:pt x="1010" y="472"/>
                  </a:lnTo>
                  <a:lnTo>
                    <a:pt x="1004" y="470"/>
                  </a:lnTo>
                  <a:lnTo>
                    <a:pt x="1004" y="470"/>
                  </a:lnTo>
                  <a:lnTo>
                    <a:pt x="1000" y="466"/>
                  </a:lnTo>
                  <a:lnTo>
                    <a:pt x="998" y="464"/>
                  </a:lnTo>
                  <a:lnTo>
                    <a:pt x="998" y="462"/>
                  </a:lnTo>
                  <a:lnTo>
                    <a:pt x="994" y="462"/>
                  </a:lnTo>
                  <a:lnTo>
                    <a:pt x="994" y="462"/>
                  </a:lnTo>
                  <a:lnTo>
                    <a:pt x="988" y="460"/>
                  </a:lnTo>
                  <a:lnTo>
                    <a:pt x="982" y="456"/>
                  </a:lnTo>
                  <a:lnTo>
                    <a:pt x="978" y="450"/>
                  </a:lnTo>
                  <a:lnTo>
                    <a:pt x="974" y="442"/>
                  </a:lnTo>
                  <a:lnTo>
                    <a:pt x="974" y="442"/>
                  </a:lnTo>
                  <a:lnTo>
                    <a:pt x="972" y="436"/>
                  </a:lnTo>
                  <a:lnTo>
                    <a:pt x="970" y="434"/>
                  </a:lnTo>
                  <a:lnTo>
                    <a:pt x="966" y="434"/>
                  </a:lnTo>
                  <a:lnTo>
                    <a:pt x="964" y="430"/>
                  </a:lnTo>
                  <a:lnTo>
                    <a:pt x="964" y="430"/>
                  </a:lnTo>
                  <a:lnTo>
                    <a:pt x="962" y="424"/>
                  </a:lnTo>
                  <a:lnTo>
                    <a:pt x="962" y="424"/>
                  </a:lnTo>
                  <a:lnTo>
                    <a:pt x="958" y="422"/>
                  </a:lnTo>
                  <a:lnTo>
                    <a:pt x="956" y="420"/>
                  </a:lnTo>
                  <a:lnTo>
                    <a:pt x="956" y="420"/>
                  </a:lnTo>
                  <a:lnTo>
                    <a:pt x="950" y="414"/>
                  </a:lnTo>
                  <a:lnTo>
                    <a:pt x="946" y="410"/>
                  </a:lnTo>
                  <a:lnTo>
                    <a:pt x="936" y="406"/>
                  </a:lnTo>
                  <a:lnTo>
                    <a:pt x="928" y="404"/>
                  </a:lnTo>
                  <a:lnTo>
                    <a:pt x="924" y="404"/>
                  </a:lnTo>
                  <a:lnTo>
                    <a:pt x="922" y="402"/>
                  </a:lnTo>
                  <a:lnTo>
                    <a:pt x="922" y="402"/>
                  </a:lnTo>
                  <a:lnTo>
                    <a:pt x="922" y="400"/>
                  </a:lnTo>
                  <a:lnTo>
                    <a:pt x="924" y="396"/>
                  </a:lnTo>
                  <a:lnTo>
                    <a:pt x="930" y="392"/>
                  </a:lnTo>
                  <a:lnTo>
                    <a:pt x="932" y="390"/>
                  </a:lnTo>
                  <a:lnTo>
                    <a:pt x="932" y="388"/>
                  </a:lnTo>
                  <a:lnTo>
                    <a:pt x="928" y="386"/>
                  </a:lnTo>
                  <a:lnTo>
                    <a:pt x="928" y="386"/>
                  </a:lnTo>
                  <a:lnTo>
                    <a:pt x="926" y="386"/>
                  </a:lnTo>
                  <a:lnTo>
                    <a:pt x="926" y="386"/>
                  </a:lnTo>
                  <a:lnTo>
                    <a:pt x="932" y="384"/>
                  </a:lnTo>
                  <a:lnTo>
                    <a:pt x="936" y="382"/>
                  </a:lnTo>
                  <a:lnTo>
                    <a:pt x="938" y="380"/>
                  </a:lnTo>
                  <a:lnTo>
                    <a:pt x="938" y="378"/>
                  </a:lnTo>
                  <a:lnTo>
                    <a:pt x="938" y="378"/>
                  </a:lnTo>
                  <a:lnTo>
                    <a:pt x="936" y="374"/>
                  </a:lnTo>
                  <a:lnTo>
                    <a:pt x="938" y="374"/>
                  </a:lnTo>
                  <a:lnTo>
                    <a:pt x="940" y="372"/>
                  </a:lnTo>
                  <a:lnTo>
                    <a:pt x="942" y="370"/>
                  </a:lnTo>
                  <a:lnTo>
                    <a:pt x="942" y="370"/>
                  </a:lnTo>
                  <a:lnTo>
                    <a:pt x="944" y="368"/>
                  </a:lnTo>
                  <a:lnTo>
                    <a:pt x="944" y="368"/>
                  </a:lnTo>
                  <a:lnTo>
                    <a:pt x="946" y="368"/>
                  </a:lnTo>
                  <a:lnTo>
                    <a:pt x="948" y="364"/>
                  </a:lnTo>
                  <a:lnTo>
                    <a:pt x="948" y="364"/>
                  </a:lnTo>
                  <a:lnTo>
                    <a:pt x="950" y="362"/>
                  </a:lnTo>
                  <a:lnTo>
                    <a:pt x="952" y="360"/>
                  </a:lnTo>
                  <a:lnTo>
                    <a:pt x="956" y="360"/>
                  </a:lnTo>
                  <a:lnTo>
                    <a:pt x="958" y="360"/>
                  </a:lnTo>
                  <a:lnTo>
                    <a:pt x="960" y="360"/>
                  </a:lnTo>
                  <a:lnTo>
                    <a:pt x="960" y="358"/>
                  </a:lnTo>
                  <a:lnTo>
                    <a:pt x="960" y="358"/>
                  </a:lnTo>
                  <a:lnTo>
                    <a:pt x="962" y="356"/>
                  </a:lnTo>
                  <a:lnTo>
                    <a:pt x="962" y="354"/>
                  </a:lnTo>
                  <a:lnTo>
                    <a:pt x="962" y="354"/>
                  </a:lnTo>
                  <a:lnTo>
                    <a:pt x="964" y="350"/>
                  </a:lnTo>
                  <a:lnTo>
                    <a:pt x="962" y="348"/>
                  </a:lnTo>
                  <a:lnTo>
                    <a:pt x="956" y="348"/>
                  </a:lnTo>
                  <a:lnTo>
                    <a:pt x="956" y="348"/>
                  </a:lnTo>
                  <a:lnTo>
                    <a:pt x="948" y="346"/>
                  </a:lnTo>
                  <a:lnTo>
                    <a:pt x="942" y="348"/>
                  </a:lnTo>
                  <a:lnTo>
                    <a:pt x="940" y="348"/>
                  </a:lnTo>
                  <a:lnTo>
                    <a:pt x="938" y="346"/>
                  </a:lnTo>
                  <a:lnTo>
                    <a:pt x="938" y="346"/>
                  </a:lnTo>
                  <a:lnTo>
                    <a:pt x="934" y="342"/>
                  </a:lnTo>
                  <a:lnTo>
                    <a:pt x="926" y="342"/>
                  </a:lnTo>
                  <a:lnTo>
                    <a:pt x="920" y="342"/>
                  </a:lnTo>
                  <a:lnTo>
                    <a:pt x="918" y="342"/>
                  </a:lnTo>
                  <a:lnTo>
                    <a:pt x="918" y="344"/>
                  </a:lnTo>
                  <a:lnTo>
                    <a:pt x="918" y="344"/>
                  </a:lnTo>
                  <a:lnTo>
                    <a:pt x="916" y="346"/>
                  </a:lnTo>
                  <a:lnTo>
                    <a:pt x="914" y="348"/>
                  </a:lnTo>
                  <a:lnTo>
                    <a:pt x="908" y="348"/>
                  </a:lnTo>
                  <a:lnTo>
                    <a:pt x="908" y="348"/>
                  </a:lnTo>
                  <a:lnTo>
                    <a:pt x="906" y="352"/>
                  </a:lnTo>
                  <a:lnTo>
                    <a:pt x="902" y="354"/>
                  </a:lnTo>
                  <a:lnTo>
                    <a:pt x="894" y="354"/>
                  </a:lnTo>
                  <a:lnTo>
                    <a:pt x="886" y="350"/>
                  </a:lnTo>
                  <a:lnTo>
                    <a:pt x="884" y="348"/>
                  </a:lnTo>
                  <a:lnTo>
                    <a:pt x="884" y="346"/>
                  </a:lnTo>
                  <a:lnTo>
                    <a:pt x="884" y="346"/>
                  </a:lnTo>
                  <a:lnTo>
                    <a:pt x="886" y="342"/>
                  </a:lnTo>
                  <a:lnTo>
                    <a:pt x="884" y="338"/>
                  </a:lnTo>
                  <a:lnTo>
                    <a:pt x="882" y="336"/>
                  </a:lnTo>
                  <a:lnTo>
                    <a:pt x="880" y="334"/>
                  </a:lnTo>
                  <a:lnTo>
                    <a:pt x="868" y="332"/>
                  </a:lnTo>
                  <a:lnTo>
                    <a:pt x="856" y="334"/>
                  </a:lnTo>
                  <a:lnTo>
                    <a:pt x="856" y="334"/>
                  </a:lnTo>
                  <a:lnTo>
                    <a:pt x="852" y="328"/>
                  </a:lnTo>
                  <a:lnTo>
                    <a:pt x="850" y="324"/>
                  </a:lnTo>
                  <a:lnTo>
                    <a:pt x="842" y="318"/>
                  </a:lnTo>
                  <a:lnTo>
                    <a:pt x="836" y="314"/>
                  </a:lnTo>
                  <a:lnTo>
                    <a:pt x="834" y="310"/>
                  </a:lnTo>
                  <a:lnTo>
                    <a:pt x="834" y="304"/>
                  </a:lnTo>
                  <a:lnTo>
                    <a:pt x="834" y="304"/>
                  </a:lnTo>
                  <a:lnTo>
                    <a:pt x="836" y="298"/>
                  </a:lnTo>
                  <a:lnTo>
                    <a:pt x="840" y="296"/>
                  </a:lnTo>
                  <a:lnTo>
                    <a:pt x="844" y="296"/>
                  </a:lnTo>
                  <a:lnTo>
                    <a:pt x="850" y="296"/>
                  </a:lnTo>
                  <a:lnTo>
                    <a:pt x="856" y="298"/>
                  </a:lnTo>
                  <a:lnTo>
                    <a:pt x="860" y="298"/>
                  </a:lnTo>
                  <a:lnTo>
                    <a:pt x="864" y="296"/>
                  </a:lnTo>
                  <a:lnTo>
                    <a:pt x="866" y="290"/>
                  </a:lnTo>
                  <a:lnTo>
                    <a:pt x="866" y="290"/>
                  </a:lnTo>
                  <a:lnTo>
                    <a:pt x="868" y="286"/>
                  </a:lnTo>
                  <a:lnTo>
                    <a:pt x="870" y="282"/>
                  </a:lnTo>
                  <a:lnTo>
                    <a:pt x="876" y="280"/>
                  </a:lnTo>
                  <a:lnTo>
                    <a:pt x="884" y="276"/>
                  </a:lnTo>
                  <a:lnTo>
                    <a:pt x="886" y="274"/>
                  </a:lnTo>
                  <a:lnTo>
                    <a:pt x="886" y="270"/>
                  </a:lnTo>
                  <a:lnTo>
                    <a:pt x="886" y="270"/>
                  </a:lnTo>
                  <a:lnTo>
                    <a:pt x="888" y="268"/>
                  </a:lnTo>
                  <a:lnTo>
                    <a:pt x="888" y="266"/>
                  </a:lnTo>
                  <a:lnTo>
                    <a:pt x="892" y="266"/>
                  </a:lnTo>
                  <a:lnTo>
                    <a:pt x="896" y="266"/>
                  </a:lnTo>
                  <a:lnTo>
                    <a:pt x="894" y="260"/>
                  </a:lnTo>
                  <a:lnTo>
                    <a:pt x="894" y="260"/>
                  </a:lnTo>
                  <a:lnTo>
                    <a:pt x="900" y="264"/>
                  </a:lnTo>
                  <a:lnTo>
                    <a:pt x="904" y="268"/>
                  </a:lnTo>
                  <a:lnTo>
                    <a:pt x="914" y="270"/>
                  </a:lnTo>
                  <a:lnTo>
                    <a:pt x="918" y="272"/>
                  </a:lnTo>
                  <a:lnTo>
                    <a:pt x="918" y="274"/>
                  </a:lnTo>
                  <a:lnTo>
                    <a:pt x="916" y="280"/>
                  </a:lnTo>
                  <a:lnTo>
                    <a:pt x="910" y="286"/>
                  </a:lnTo>
                  <a:lnTo>
                    <a:pt x="910" y="286"/>
                  </a:lnTo>
                  <a:lnTo>
                    <a:pt x="904" y="294"/>
                  </a:lnTo>
                  <a:lnTo>
                    <a:pt x="902" y="298"/>
                  </a:lnTo>
                  <a:lnTo>
                    <a:pt x="902" y="300"/>
                  </a:lnTo>
                  <a:lnTo>
                    <a:pt x="904" y="302"/>
                  </a:lnTo>
                  <a:lnTo>
                    <a:pt x="910" y="300"/>
                  </a:lnTo>
                  <a:lnTo>
                    <a:pt x="912" y="300"/>
                  </a:lnTo>
                  <a:lnTo>
                    <a:pt x="910" y="300"/>
                  </a:lnTo>
                  <a:lnTo>
                    <a:pt x="910" y="300"/>
                  </a:lnTo>
                  <a:lnTo>
                    <a:pt x="908" y="302"/>
                  </a:lnTo>
                  <a:lnTo>
                    <a:pt x="908" y="304"/>
                  </a:lnTo>
                  <a:lnTo>
                    <a:pt x="910" y="304"/>
                  </a:lnTo>
                  <a:lnTo>
                    <a:pt x="908" y="306"/>
                  </a:lnTo>
                  <a:lnTo>
                    <a:pt x="908" y="306"/>
                  </a:lnTo>
                  <a:lnTo>
                    <a:pt x="904" y="310"/>
                  </a:lnTo>
                  <a:lnTo>
                    <a:pt x="904" y="312"/>
                  </a:lnTo>
                  <a:lnTo>
                    <a:pt x="906" y="312"/>
                  </a:lnTo>
                  <a:lnTo>
                    <a:pt x="912" y="312"/>
                  </a:lnTo>
                  <a:lnTo>
                    <a:pt x="912" y="312"/>
                  </a:lnTo>
                  <a:lnTo>
                    <a:pt x="914" y="310"/>
                  </a:lnTo>
                  <a:lnTo>
                    <a:pt x="914" y="308"/>
                  </a:lnTo>
                  <a:lnTo>
                    <a:pt x="914" y="308"/>
                  </a:lnTo>
                  <a:lnTo>
                    <a:pt x="916" y="306"/>
                  </a:lnTo>
                  <a:lnTo>
                    <a:pt x="916" y="306"/>
                  </a:lnTo>
                  <a:lnTo>
                    <a:pt x="922" y="302"/>
                  </a:lnTo>
                  <a:lnTo>
                    <a:pt x="928" y="294"/>
                  </a:lnTo>
                  <a:lnTo>
                    <a:pt x="936" y="288"/>
                  </a:lnTo>
                  <a:lnTo>
                    <a:pt x="942" y="286"/>
                  </a:lnTo>
                  <a:lnTo>
                    <a:pt x="948" y="284"/>
                  </a:lnTo>
                  <a:lnTo>
                    <a:pt x="948" y="284"/>
                  </a:lnTo>
                  <a:lnTo>
                    <a:pt x="954" y="284"/>
                  </a:lnTo>
                  <a:lnTo>
                    <a:pt x="956" y="282"/>
                  </a:lnTo>
                  <a:lnTo>
                    <a:pt x="962" y="278"/>
                  </a:lnTo>
                  <a:lnTo>
                    <a:pt x="962" y="278"/>
                  </a:lnTo>
                  <a:lnTo>
                    <a:pt x="964" y="276"/>
                  </a:lnTo>
                  <a:lnTo>
                    <a:pt x="964" y="276"/>
                  </a:lnTo>
                  <a:lnTo>
                    <a:pt x="972" y="270"/>
                  </a:lnTo>
                  <a:lnTo>
                    <a:pt x="976" y="266"/>
                  </a:lnTo>
                  <a:lnTo>
                    <a:pt x="978" y="262"/>
                  </a:lnTo>
                  <a:lnTo>
                    <a:pt x="980" y="256"/>
                  </a:lnTo>
                  <a:lnTo>
                    <a:pt x="980" y="256"/>
                  </a:lnTo>
                  <a:lnTo>
                    <a:pt x="984" y="250"/>
                  </a:lnTo>
                  <a:lnTo>
                    <a:pt x="988" y="244"/>
                  </a:lnTo>
                  <a:lnTo>
                    <a:pt x="992" y="242"/>
                  </a:lnTo>
                  <a:lnTo>
                    <a:pt x="996" y="240"/>
                  </a:lnTo>
                  <a:lnTo>
                    <a:pt x="1008" y="240"/>
                  </a:lnTo>
                  <a:lnTo>
                    <a:pt x="1008" y="240"/>
                  </a:lnTo>
                  <a:lnTo>
                    <a:pt x="1016" y="242"/>
                  </a:lnTo>
                  <a:lnTo>
                    <a:pt x="1022" y="240"/>
                  </a:lnTo>
                  <a:lnTo>
                    <a:pt x="1024" y="238"/>
                  </a:lnTo>
                  <a:lnTo>
                    <a:pt x="1020" y="234"/>
                  </a:lnTo>
                  <a:lnTo>
                    <a:pt x="1020" y="234"/>
                  </a:lnTo>
                  <a:lnTo>
                    <a:pt x="1018" y="232"/>
                  </a:lnTo>
                  <a:lnTo>
                    <a:pt x="1018" y="232"/>
                  </a:lnTo>
                  <a:lnTo>
                    <a:pt x="1024" y="230"/>
                  </a:lnTo>
                  <a:lnTo>
                    <a:pt x="1032" y="228"/>
                  </a:lnTo>
                  <a:lnTo>
                    <a:pt x="1032" y="226"/>
                  </a:lnTo>
                  <a:lnTo>
                    <a:pt x="1032" y="224"/>
                  </a:lnTo>
                  <a:lnTo>
                    <a:pt x="1032" y="224"/>
                  </a:lnTo>
                  <a:lnTo>
                    <a:pt x="1030" y="220"/>
                  </a:lnTo>
                  <a:lnTo>
                    <a:pt x="1032" y="218"/>
                  </a:lnTo>
                  <a:lnTo>
                    <a:pt x="1036" y="216"/>
                  </a:lnTo>
                  <a:lnTo>
                    <a:pt x="1036" y="212"/>
                  </a:lnTo>
                  <a:lnTo>
                    <a:pt x="1036" y="212"/>
                  </a:lnTo>
                  <a:lnTo>
                    <a:pt x="1036" y="212"/>
                  </a:lnTo>
                  <a:lnTo>
                    <a:pt x="1038" y="212"/>
                  </a:lnTo>
                  <a:lnTo>
                    <a:pt x="1044" y="218"/>
                  </a:lnTo>
                  <a:lnTo>
                    <a:pt x="1050" y="222"/>
                  </a:lnTo>
                  <a:lnTo>
                    <a:pt x="1052" y="220"/>
                  </a:lnTo>
                  <a:lnTo>
                    <a:pt x="1054" y="218"/>
                  </a:lnTo>
                  <a:lnTo>
                    <a:pt x="1054" y="218"/>
                  </a:lnTo>
                  <a:lnTo>
                    <a:pt x="1050" y="214"/>
                  </a:lnTo>
                  <a:lnTo>
                    <a:pt x="1046" y="208"/>
                  </a:lnTo>
                  <a:lnTo>
                    <a:pt x="1044" y="198"/>
                  </a:lnTo>
                  <a:lnTo>
                    <a:pt x="1044" y="198"/>
                  </a:lnTo>
                  <a:lnTo>
                    <a:pt x="1042" y="192"/>
                  </a:lnTo>
                  <a:lnTo>
                    <a:pt x="1038" y="186"/>
                  </a:lnTo>
                  <a:lnTo>
                    <a:pt x="1028" y="180"/>
                  </a:lnTo>
                  <a:lnTo>
                    <a:pt x="1022" y="174"/>
                  </a:lnTo>
                  <a:lnTo>
                    <a:pt x="1022" y="172"/>
                  </a:lnTo>
                  <a:lnTo>
                    <a:pt x="1026" y="170"/>
                  </a:lnTo>
                  <a:lnTo>
                    <a:pt x="1026" y="170"/>
                  </a:lnTo>
                  <a:lnTo>
                    <a:pt x="1034" y="162"/>
                  </a:lnTo>
                  <a:lnTo>
                    <a:pt x="1040" y="158"/>
                  </a:lnTo>
                  <a:lnTo>
                    <a:pt x="1042" y="154"/>
                  </a:lnTo>
                  <a:lnTo>
                    <a:pt x="1042" y="152"/>
                  </a:lnTo>
                  <a:lnTo>
                    <a:pt x="1042" y="146"/>
                  </a:lnTo>
                  <a:lnTo>
                    <a:pt x="1044" y="144"/>
                  </a:lnTo>
                  <a:lnTo>
                    <a:pt x="1046" y="142"/>
                  </a:lnTo>
                  <a:lnTo>
                    <a:pt x="1046" y="142"/>
                  </a:lnTo>
                  <a:lnTo>
                    <a:pt x="1052" y="136"/>
                  </a:lnTo>
                  <a:lnTo>
                    <a:pt x="1054" y="132"/>
                  </a:lnTo>
                  <a:lnTo>
                    <a:pt x="1052" y="128"/>
                  </a:lnTo>
                  <a:lnTo>
                    <a:pt x="1048" y="126"/>
                  </a:lnTo>
                  <a:lnTo>
                    <a:pt x="1042" y="120"/>
                  </a:lnTo>
                  <a:lnTo>
                    <a:pt x="1040" y="116"/>
                  </a:lnTo>
                  <a:lnTo>
                    <a:pt x="1042" y="112"/>
                  </a:lnTo>
                  <a:lnTo>
                    <a:pt x="1042" y="112"/>
                  </a:lnTo>
                  <a:lnTo>
                    <a:pt x="1046" y="106"/>
                  </a:lnTo>
                  <a:lnTo>
                    <a:pt x="1046" y="102"/>
                  </a:lnTo>
                  <a:lnTo>
                    <a:pt x="1044" y="96"/>
                  </a:lnTo>
                  <a:lnTo>
                    <a:pt x="1038" y="92"/>
                  </a:lnTo>
                  <a:lnTo>
                    <a:pt x="1034" y="90"/>
                  </a:lnTo>
                  <a:lnTo>
                    <a:pt x="1028" y="88"/>
                  </a:lnTo>
                  <a:lnTo>
                    <a:pt x="1020" y="88"/>
                  </a:lnTo>
                  <a:lnTo>
                    <a:pt x="1014" y="92"/>
                  </a:lnTo>
                  <a:lnTo>
                    <a:pt x="1014" y="92"/>
                  </a:lnTo>
                  <a:lnTo>
                    <a:pt x="1002" y="98"/>
                  </a:lnTo>
                  <a:lnTo>
                    <a:pt x="998" y="102"/>
                  </a:lnTo>
                  <a:lnTo>
                    <a:pt x="992" y="102"/>
                  </a:lnTo>
                  <a:lnTo>
                    <a:pt x="986" y="102"/>
                  </a:lnTo>
                  <a:lnTo>
                    <a:pt x="978" y="100"/>
                  </a:lnTo>
                  <a:lnTo>
                    <a:pt x="970" y="96"/>
                  </a:lnTo>
                  <a:lnTo>
                    <a:pt x="958" y="90"/>
                  </a:lnTo>
                  <a:lnTo>
                    <a:pt x="958" y="90"/>
                  </a:lnTo>
                  <a:lnTo>
                    <a:pt x="948" y="84"/>
                  </a:lnTo>
                  <a:lnTo>
                    <a:pt x="938" y="80"/>
                  </a:lnTo>
                  <a:lnTo>
                    <a:pt x="918" y="74"/>
                  </a:lnTo>
                  <a:lnTo>
                    <a:pt x="906" y="70"/>
                  </a:lnTo>
                  <a:lnTo>
                    <a:pt x="896" y="64"/>
                  </a:lnTo>
                  <a:lnTo>
                    <a:pt x="884" y="56"/>
                  </a:lnTo>
                  <a:lnTo>
                    <a:pt x="870" y="46"/>
                  </a:lnTo>
                  <a:lnTo>
                    <a:pt x="870" y="46"/>
                  </a:lnTo>
                  <a:lnTo>
                    <a:pt x="856" y="34"/>
                  </a:lnTo>
                  <a:lnTo>
                    <a:pt x="842" y="24"/>
                  </a:lnTo>
                  <a:lnTo>
                    <a:pt x="830" y="16"/>
                  </a:lnTo>
                  <a:lnTo>
                    <a:pt x="816" y="10"/>
                  </a:lnTo>
                  <a:lnTo>
                    <a:pt x="804" y="6"/>
                  </a:lnTo>
                  <a:lnTo>
                    <a:pt x="790" y="2"/>
                  </a:lnTo>
                  <a:lnTo>
                    <a:pt x="778" y="0"/>
                  </a:lnTo>
                  <a:lnTo>
                    <a:pt x="764" y="0"/>
                  </a:lnTo>
                  <a:lnTo>
                    <a:pt x="764" y="0"/>
                  </a:lnTo>
                  <a:lnTo>
                    <a:pt x="746" y="0"/>
                  </a:lnTo>
                  <a:lnTo>
                    <a:pt x="738" y="4"/>
                  </a:lnTo>
                  <a:lnTo>
                    <a:pt x="732" y="6"/>
                  </a:lnTo>
                  <a:lnTo>
                    <a:pt x="722" y="8"/>
                  </a:lnTo>
                  <a:lnTo>
                    <a:pt x="722" y="8"/>
                  </a:lnTo>
                  <a:lnTo>
                    <a:pt x="714" y="8"/>
                  </a:lnTo>
                  <a:lnTo>
                    <a:pt x="708" y="10"/>
                  </a:lnTo>
                  <a:lnTo>
                    <a:pt x="706" y="12"/>
                  </a:lnTo>
                  <a:lnTo>
                    <a:pt x="704" y="14"/>
                  </a:lnTo>
                  <a:lnTo>
                    <a:pt x="706" y="16"/>
                  </a:lnTo>
                  <a:lnTo>
                    <a:pt x="708" y="18"/>
                  </a:lnTo>
                  <a:lnTo>
                    <a:pt x="718" y="18"/>
                  </a:lnTo>
                  <a:lnTo>
                    <a:pt x="718" y="18"/>
                  </a:lnTo>
                  <a:lnTo>
                    <a:pt x="726" y="18"/>
                  </a:lnTo>
                  <a:lnTo>
                    <a:pt x="730" y="20"/>
                  </a:lnTo>
                  <a:lnTo>
                    <a:pt x="730" y="22"/>
                  </a:lnTo>
                  <a:lnTo>
                    <a:pt x="730" y="26"/>
                  </a:lnTo>
                  <a:lnTo>
                    <a:pt x="726" y="32"/>
                  </a:lnTo>
                  <a:lnTo>
                    <a:pt x="722" y="42"/>
                  </a:lnTo>
                  <a:lnTo>
                    <a:pt x="722" y="42"/>
                  </a:lnTo>
                  <a:lnTo>
                    <a:pt x="720" y="54"/>
                  </a:lnTo>
                  <a:lnTo>
                    <a:pt x="718" y="60"/>
                  </a:lnTo>
                  <a:lnTo>
                    <a:pt x="716" y="68"/>
                  </a:lnTo>
                  <a:lnTo>
                    <a:pt x="712" y="72"/>
                  </a:lnTo>
                  <a:lnTo>
                    <a:pt x="704" y="76"/>
                  </a:lnTo>
                  <a:lnTo>
                    <a:pt x="694" y="76"/>
                  </a:lnTo>
                  <a:lnTo>
                    <a:pt x="678" y="74"/>
                  </a:lnTo>
                  <a:lnTo>
                    <a:pt x="678" y="74"/>
                  </a:lnTo>
                  <a:lnTo>
                    <a:pt x="654" y="68"/>
                  </a:lnTo>
                  <a:lnTo>
                    <a:pt x="654" y="68"/>
                  </a:lnTo>
                  <a:lnTo>
                    <a:pt x="644" y="74"/>
                  </a:lnTo>
                  <a:lnTo>
                    <a:pt x="640" y="78"/>
                  </a:lnTo>
                  <a:lnTo>
                    <a:pt x="640" y="82"/>
                  </a:lnTo>
                  <a:lnTo>
                    <a:pt x="642" y="84"/>
                  </a:lnTo>
                  <a:lnTo>
                    <a:pt x="644" y="90"/>
                  </a:lnTo>
                  <a:lnTo>
                    <a:pt x="644" y="92"/>
                  </a:lnTo>
                  <a:lnTo>
                    <a:pt x="638" y="96"/>
                  </a:lnTo>
                  <a:lnTo>
                    <a:pt x="638" y="96"/>
                  </a:lnTo>
                  <a:lnTo>
                    <a:pt x="632" y="100"/>
                  </a:lnTo>
                  <a:lnTo>
                    <a:pt x="632" y="104"/>
                  </a:lnTo>
                  <a:lnTo>
                    <a:pt x="632" y="106"/>
                  </a:lnTo>
                  <a:lnTo>
                    <a:pt x="634" y="108"/>
                  </a:lnTo>
                  <a:lnTo>
                    <a:pt x="640" y="108"/>
                  </a:lnTo>
                  <a:lnTo>
                    <a:pt x="656" y="106"/>
                  </a:lnTo>
                  <a:lnTo>
                    <a:pt x="656" y="106"/>
                  </a:lnTo>
                  <a:lnTo>
                    <a:pt x="672" y="104"/>
                  </a:lnTo>
                  <a:lnTo>
                    <a:pt x="682" y="104"/>
                  </a:lnTo>
                  <a:lnTo>
                    <a:pt x="688" y="104"/>
                  </a:lnTo>
                  <a:lnTo>
                    <a:pt x="692" y="106"/>
                  </a:lnTo>
                  <a:lnTo>
                    <a:pt x="696" y="108"/>
                  </a:lnTo>
                  <a:lnTo>
                    <a:pt x="698" y="106"/>
                  </a:lnTo>
                  <a:lnTo>
                    <a:pt x="710" y="100"/>
                  </a:lnTo>
                  <a:lnTo>
                    <a:pt x="710" y="100"/>
                  </a:lnTo>
                  <a:lnTo>
                    <a:pt x="714" y="96"/>
                  </a:lnTo>
                  <a:lnTo>
                    <a:pt x="720" y="92"/>
                  </a:lnTo>
                  <a:lnTo>
                    <a:pt x="724" y="92"/>
                  </a:lnTo>
                  <a:lnTo>
                    <a:pt x="728" y="94"/>
                  </a:lnTo>
                  <a:lnTo>
                    <a:pt x="742" y="98"/>
                  </a:lnTo>
                  <a:lnTo>
                    <a:pt x="760" y="110"/>
                  </a:lnTo>
                  <a:lnTo>
                    <a:pt x="760" y="110"/>
                  </a:lnTo>
                  <a:lnTo>
                    <a:pt x="764" y="112"/>
                  </a:lnTo>
                  <a:lnTo>
                    <a:pt x="768" y="116"/>
                  </a:lnTo>
                  <a:lnTo>
                    <a:pt x="770" y="120"/>
                  </a:lnTo>
                  <a:lnTo>
                    <a:pt x="770" y="124"/>
                  </a:lnTo>
                  <a:lnTo>
                    <a:pt x="768" y="126"/>
                  </a:lnTo>
                  <a:lnTo>
                    <a:pt x="766" y="128"/>
                  </a:lnTo>
                  <a:lnTo>
                    <a:pt x="762" y="130"/>
                  </a:lnTo>
                  <a:lnTo>
                    <a:pt x="758" y="130"/>
                  </a:lnTo>
                  <a:lnTo>
                    <a:pt x="758" y="130"/>
                  </a:lnTo>
                  <a:lnTo>
                    <a:pt x="752" y="130"/>
                  </a:lnTo>
                  <a:lnTo>
                    <a:pt x="750" y="132"/>
                  </a:lnTo>
                  <a:lnTo>
                    <a:pt x="748" y="134"/>
                  </a:lnTo>
                  <a:lnTo>
                    <a:pt x="742" y="134"/>
                  </a:lnTo>
                  <a:lnTo>
                    <a:pt x="742" y="134"/>
                  </a:lnTo>
                  <a:lnTo>
                    <a:pt x="734" y="134"/>
                  </a:lnTo>
                  <a:lnTo>
                    <a:pt x="730" y="136"/>
                  </a:lnTo>
                  <a:lnTo>
                    <a:pt x="724" y="144"/>
                  </a:lnTo>
                  <a:lnTo>
                    <a:pt x="724" y="144"/>
                  </a:lnTo>
                  <a:lnTo>
                    <a:pt x="718" y="150"/>
                  </a:lnTo>
                  <a:lnTo>
                    <a:pt x="714" y="152"/>
                  </a:lnTo>
                  <a:lnTo>
                    <a:pt x="708" y="154"/>
                  </a:lnTo>
                  <a:lnTo>
                    <a:pt x="702" y="154"/>
                  </a:lnTo>
                  <a:lnTo>
                    <a:pt x="700" y="156"/>
                  </a:lnTo>
                  <a:lnTo>
                    <a:pt x="698" y="160"/>
                  </a:lnTo>
                  <a:lnTo>
                    <a:pt x="698" y="160"/>
                  </a:lnTo>
                  <a:lnTo>
                    <a:pt x="696" y="166"/>
                  </a:lnTo>
                  <a:lnTo>
                    <a:pt x="692" y="168"/>
                  </a:lnTo>
                  <a:lnTo>
                    <a:pt x="688" y="168"/>
                  </a:lnTo>
                  <a:lnTo>
                    <a:pt x="684" y="168"/>
                  </a:lnTo>
                  <a:lnTo>
                    <a:pt x="678" y="164"/>
                  </a:lnTo>
                  <a:lnTo>
                    <a:pt x="674" y="164"/>
                  </a:lnTo>
                  <a:lnTo>
                    <a:pt x="672" y="168"/>
                  </a:lnTo>
                  <a:lnTo>
                    <a:pt x="672" y="168"/>
                  </a:lnTo>
                  <a:lnTo>
                    <a:pt x="672" y="172"/>
                  </a:lnTo>
                  <a:lnTo>
                    <a:pt x="674" y="176"/>
                  </a:lnTo>
                  <a:lnTo>
                    <a:pt x="678" y="178"/>
                  </a:lnTo>
                  <a:lnTo>
                    <a:pt x="686" y="180"/>
                  </a:lnTo>
                  <a:lnTo>
                    <a:pt x="686" y="180"/>
                  </a:lnTo>
                  <a:lnTo>
                    <a:pt x="690" y="182"/>
                  </a:lnTo>
                  <a:lnTo>
                    <a:pt x="694" y="184"/>
                  </a:lnTo>
                  <a:lnTo>
                    <a:pt x="694" y="190"/>
                  </a:lnTo>
                  <a:lnTo>
                    <a:pt x="694" y="194"/>
                  </a:lnTo>
                  <a:lnTo>
                    <a:pt x="690" y="198"/>
                  </a:lnTo>
                  <a:lnTo>
                    <a:pt x="688" y="202"/>
                  </a:lnTo>
                  <a:lnTo>
                    <a:pt x="684" y="206"/>
                  </a:lnTo>
                  <a:lnTo>
                    <a:pt x="678" y="206"/>
                  </a:lnTo>
                  <a:lnTo>
                    <a:pt x="678" y="206"/>
                  </a:lnTo>
                  <a:lnTo>
                    <a:pt x="676" y="206"/>
                  </a:lnTo>
                  <a:lnTo>
                    <a:pt x="674" y="208"/>
                  </a:lnTo>
                  <a:lnTo>
                    <a:pt x="670" y="214"/>
                  </a:lnTo>
                  <a:lnTo>
                    <a:pt x="668" y="216"/>
                  </a:lnTo>
                  <a:lnTo>
                    <a:pt x="664" y="218"/>
                  </a:lnTo>
                  <a:lnTo>
                    <a:pt x="658" y="220"/>
                  </a:lnTo>
                  <a:lnTo>
                    <a:pt x="650" y="220"/>
                  </a:lnTo>
                  <a:lnTo>
                    <a:pt x="650" y="220"/>
                  </a:lnTo>
                  <a:lnTo>
                    <a:pt x="632" y="220"/>
                  </a:lnTo>
                  <a:lnTo>
                    <a:pt x="620" y="222"/>
                  </a:lnTo>
                  <a:lnTo>
                    <a:pt x="610" y="224"/>
                  </a:lnTo>
                  <a:lnTo>
                    <a:pt x="602" y="228"/>
                  </a:lnTo>
                  <a:lnTo>
                    <a:pt x="594" y="230"/>
                  </a:lnTo>
                  <a:lnTo>
                    <a:pt x="584" y="232"/>
                  </a:lnTo>
                  <a:lnTo>
                    <a:pt x="572" y="232"/>
                  </a:lnTo>
                  <a:lnTo>
                    <a:pt x="554" y="230"/>
                  </a:lnTo>
                  <a:lnTo>
                    <a:pt x="554" y="230"/>
                  </a:lnTo>
                  <a:lnTo>
                    <a:pt x="526" y="222"/>
                  </a:lnTo>
                  <a:lnTo>
                    <a:pt x="520" y="218"/>
                  </a:lnTo>
                  <a:lnTo>
                    <a:pt x="516" y="216"/>
                  </a:lnTo>
                  <a:lnTo>
                    <a:pt x="512" y="214"/>
                  </a:lnTo>
                  <a:lnTo>
                    <a:pt x="502" y="212"/>
                  </a:lnTo>
                  <a:lnTo>
                    <a:pt x="502" y="212"/>
                  </a:lnTo>
                  <a:lnTo>
                    <a:pt x="492" y="210"/>
                  </a:lnTo>
                  <a:lnTo>
                    <a:pt x="484" y="208"/>
                  </a:lnTo>
                  <a:lnTo>
                    <a:pt x="476" y="208"/>
                  </a:lnTo>
                  <a:lnTo>
                    <a:pt x="468" y="210"/>
                  </a:lnTo>
                  <a:lnTo>
                    <a:pt x="468" y="210"/>
                  </a:lnTo>
                  <a:lnTo>
                    <a:pt x="458" y="212"/>
                  </a:lnTo>
                  <a:lnTo>
                    <a:pt x="448" y="210"/>
                  </a:lnTo>
                  <a:lnTo>
                    <a:pt x="440" y="210"/>
                  </a:lnTo>
                  <a:lnTo>
                    <a:pt x="430" y="210"/>
                  </a:lnTo>
                  <a:lnTo>
                    <a:pt x="430" y="210"/>
                  </a:lnTo>
                  <a:lnTo>
                    <a:pt x="424" y="210"/>
                  </a:lnTo>
                  <a:lnTo>
                    <a:pt x="418" y="210"/>
                  </a:lnTo>
                  <a:lnTo>
                    <a:pt x="412" y="210"/>
                  </a:lnTo>
                  <a:lnTo>
                    <a:pt x="404" y="216"/>
                  </a:lnTo>
                  <a:lnTo>
                    <a:pt x="404" y="216"/>
                  </a:lnTo>
                  <a:lnTo>
                    <a:pt x="400" y="218"/>
                  </a:lnTo>
                  <a:lnTo>
                    <a:pt x="398" y="218"/>
                  </a:lnTo>
                  <a:lnTo>
                    <a:pt x="398" y="212"/>
                  </a:lnTo>
                  <a:lnTo>
                    <a:pt x="398" y="204"/>
                  </a:lnTo>
                  <a:lnTo>
                    <a:pt x="396" y="200"/>
                  </a:lnTo>
                  <a:lnTo>
                    <a:pt x="392" y="196"/>
                  </a:lnTo>
                  <a:lnTo>
                    <a:pt x="392" y="196"/>
                  </a:lnTo>
                  <a:lnTo>
                    <a:pt x="388" y="192"/>
                  </a:lnTo>
                  <a:lnTo>
                    <a:pt x="386" y="188"/>
                  </a:lnTo>
                  <a:lnTo>
                    <a:pt x="386" y="184"/>
                  </a:lnTo>
                  <a:lnTo>
                    <a:pt x="384" y="184"/>
                  </a:lnTo>
                  <a:lnTo>
                    <a:pt x="384" y="184"/>
                  </a:lnTo>
                  <a:lnTo>
                    <a:pt x="382" y="184"/>
                  </a:lnTo>
                  <a:lnTo>
                    <a:pt x="380" y="182"/>
                  </a:lnTo>
                  <a:lnTo>
                    <a:pt x="380" y="178"/>
                  </a:lnTo>
                  <a:lnTo>
                    <a:pt x="380" y="176"/>
                  </a:lnTo>
                  <a:lnTo>
                    <a:pt x="376" y="178"/>
                  </a:lnTo>
                  <a:lnTo>
                    <a:pt x="376" y="178"/>
                  </a:lnTo>
                  <a:lnTo>
                    <a:pt x="374" y="180"/>
                  </a:lnTo>
                  <a:lnTo>
                    <a:pt x="368" y="180"/>
                  </a:lnTo>
                  <a:lnTo>
                    <a:pt x="354" y="178"/>
                  </a:lnTo>
                  <a:lnTo>
                    <a:pt x="334" y="170"/>
                  </a:lnTo>
                  <a:lnTo>
                    <a:pt x="334" y="170"/>
                  </a:lnTo>
                  <a:lnTo>
                    <a:pt x="324" y="166"/>
                  </a:lnTo>
                  <a:lnTo>
                    <a:pt x="314" y="166"/>
                  </a:lnTo>
                  <a:lnTo>
                    <a:pt x="284" y="170"/>
                  </a:lnTo>
                  <a:lnTo>
                    <a:pt x="284" y="170"/>
                  </a:lnTo>
                  <a:lnTo>
                    <a:pt x="274" y="170"/>
                  </a:lnTo>
                  <a:lnTo>
                    <a:pt x="272" y="170"/>
                  </a:lnTo>
                  <a:lnTo>
                    <a:pt x="274" y="168"/>
                  </a:lnTo>
                  <a:lnTo>
                    <a:pt x="278" y="164"/>
                  </a:lnTo>
                  <a:lnTo>
                    <a:pt x="278" y="160"/>
                  </a:lnTo>
                  <a:lnTo>
                    <a:pt x="276" y="156"/>
                  </a:lnTo>
                  <a:lnTo>
                    <a:pt x="276" y="156"/>
                  </a:lnTo>
                  <a:lnTo>
                    <a:pt x="272" y="152"/>
                  </a:lnTo>
                  <a:lnTo>
                    <a:pt x="274" y="148"/>
                  </a:lnTo>
                  <a:lnTo>
                    <a:pt x="274" y="146"/>
                  </a:lnTo>
                  <a:lnTo>
                    <a:pt x="270" y="142"/>
                  </a:lnTo>
                  <a:lnTo>
                    <a:pt x="270" y="142"/>
                  </a:lnTo>
                  <a:lnTo>
                    <a:pt x="264" y="138"/>
                  </a:lnTo>
                  <a:lnTo>
                    <a:pt x="260" y="134"/>
                  </a:lnTo>
                  <a:lnTo>
                    <a:pt x="256" y="126"/>
                  </a:lnTo>
                  <a:lnTo>
                    <a:pt x="254" y="118"/>
                  </a:lnTo>
                  <a:lnTo>
                    <a:pt x="250" y="116"/>
                  </a:lnTo>
                  <a:lnTo>
                    <a:pt x="246" y="114"/>
                  </a:lnTo>
                  <a:lnTo>
                    <a:pt x="246" y="114"/>
                  </a:lnTo>
                  <a:lnTo>
                    <a:pt x="238" y="110"/>
                  </a:lnTo>
                  <a:lnTo>
                    <a:pt x="236" y="108"/>
                  </a:lnTo>
                  <a:lnTo>
                    <a:pt x="236" y="108"/>
                  </a:lnTo>
                  <a:lnTo>
                    <a:pt x="232" y="106"/>
                  </a:lnTo>
                  <a:lnTo>
                    <a:pt x="230" y="104"/>
                  </a:lnTo>
                  <a:lnTo>
                    <a:pt x="226" y="108"/>
                  </a:lnTo>
                  <a:lnTo>
                    <a:pt x="224" y="110"/>
                  </a:lnTo>
                  <a:lnTo>
                    <a:pt x="220" y="110"/>
                  </a:lnTo>
                  <a:lnTo>
                    <a:pt x="218" y="110"/>
                  </a:lnTo>
                  <a:lnTo>
                    <a:pt x="214" y="106"/>
                  </a:lnTo>
                  <a:lnTo>
                    <a:pt x="214" y="106"/>
                  </a:lnTo>
                  <a:lnTo>
                    <a:pt x="208" y="102"/>
                  </a:lnTo>
                  <a:lnTo>
                    <a:pt x="204" y="100"/>
                  </a:lnTo>
                  <a:lnTo>
                    <a:pt x="196" y="98"/>
                  </a:lnTo>
                  <a:lnTo>
                    <a:pt x="190" y="96"/>
                  </a:lnTo>
                  <a:lnTo>
                    <a:pt x="186" y="94"/>
                  </a:lnTo>
                  <a:lnTo>
                    <a:pt x="184" y="90"/>
                  </a:lnTo>
                  <a:lnTo>
                    <a:pt x="182" y="88"/>
                  </a:lnTo>
                  <a:lnTo>
                    <a:pt x="182" y="88"/>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Costa Rica"/>
            <p:cNvSpPr>
              <a:spLocks/>
            </p:cNvSpPr>
            <p:nvPr/>
          </p:nvSpPr>
          <p:spPr bwMode="auto">
            <a:xfrm>
              <a:off x="1747538" y="3253052"/>
              <a:ext cx="95250" cy="95250"/>
            </a:xfrm>
            <a:custGeom>
              <a:avLst/>
              <a:gdLst/>
              <a:ahLst/>
              <a:cxnLst>
                <a:cxn ang="0">
                  <a:pos x="6" y="2"/>
                </a:cxn>
                <a:cxn ang="0">
                  <a:pos x="14" y="0"/>
                </a:cxn>
                <a:cxn ang="0">
                  <a:pos x="22" y="2"/>
                </a:cxn>
                <a:cxn ang="0">
                  <a:pos x="28" y="0"/>
                </a:cxn>
                <a:cxn ang="0">
                  <a:pos x="38" y="6"/>
                </a:cxn>
                <a:cxn ang="0">
                  <a:pos x="42" y="6"/>
                </a:cxn>
                <a:cxn ang="0">
                  <a:pos x="48" y="6"/>
                </a:cxn>
                <a:cxn ang="0">
                  <a:pos x="56" y="4"/>
                </a:cxn>
                <a:cxn ang="0">
                  <a:pos x="56" y="4"/>
                </a:cxn>
                <a:cxn ang="0">
                  <a:pos x="58" y="10"/>
                </a:cxn>
                <a:cxn ang="0">
                  <a:pos x="60" y="16"/>
                </a:cxn>
                <a:cxn ang="0">
                  <a:pos x="72" y="32"/>
                </a:cxn>
                <a:cxn ang="0">
                  <a:pos x="68" y="34"/>
                </a:cxn>
                <a:cxn ang="0">
                  <a:pos x="64" y="38"/>
                </a:cxn>
                <a:cxn ang="0">
                  <a:pos x="66" y="44"/>
                </a:cxn>
                <a:cxn ang="0">
                  <a:pos x="66" y="50"/>
                </a:cxn>
                <a:cxn ang="0">
                  <a:pos x="64" y="54"/>
                </a:cxn>
                <a:cxn ang="0">
                  <a:pos x="64" y="60"/>
                </a:cxn>
                <a:cxn ang="0">
                  <a:pos x="62" y="62"/>
                </a:cxn>
                <a:cxn ang="0">
                  <a:pos x="62" y="66"/>
                </a:cxn>
                <a:cxn ang="0">
                  <a:pos x="62" y="72"/>
                </a:cxn>
                <a:cxn ang="0">
                  <a:pos x="60" y="70"/>
                </a:cxn>
                <a:cxn ang="0">
                  <a:pos x="58" y="66"/>
                </a:cxn>
                <a:cxn ang="0">
                  <a:pos x="56" y="66"/>
                </a:cxn>
                <a:cxn ang="0">
                  <a:pos x="58" y="62"/>
                </a:cxn>
                <a:cxn ang="0">
                  <a:pos x="56" y="60"/>
                </a:cxn>
                <a:cxn ang="0">
                  <a:pos x="52" y="60"/>
                </a:cxn>
                <a:cxn ang="0">
                  <a:pos x="52" y="62"/>
                </a:cxn>
                <a:cxn ang="0">
                  <a:pos x="54" y="64"/>
                </a:cxn>
                <a:cxn ang="0">
                  <a:pos x="48" y="62"/>
                </a:cxn>
                <a:cxn ang="0">
                  <a:pos x="48" y="56"/>
                </a:cxn>
                <a:cxn ang="0">
                  <a:pos x="46" y="54"/>
                </a:cxn>
                <a:cxn ang="0">
                  <a:pos x="48" y="50"/>
                </a:cxn>
                <a:cxn ang="0">
                  <a:pos x="36" y="42"/>
                </a:cxn>
                <a:cxn ang="0">
                  <a:pos x="26" y="36"/>
                </a:cxn>
                <a:cxn ang="0">
                  <a:pos x="24" y="32"/>
                </a:cxn>
                <a:cxn ang="0">
                  <a:pos x="22" y="26"/>
                </a:cxn>
                <a:cxn ang="0">
                  <a:pos x="16" y="24"/>
                </a:cxn>
                <a:cxn ang="0">
                  <a:pos x="18" y="28"/>
                </a:cxn>
                <a:cxn ang="0">
                  <a:pos x="20" y="30"/>
                </a:cxn>
                <a:cxn ang="0">
                  <a:pos x="18" y="34"/>
                </a:cxn>
                <a:cxn ang="0">
                  <a:pos x="14" y="32"/>
                </a:cxn>
                <a:cxn ang="0">
                  <a:pos x="6" y="24"/>
                </a:cxn>
                <a:cxn ang="0">
                  <a:pos x="8" y="20"/>
                </a:cxn>
                <a:cxn ang="0">
                  <a:pos x="6" y="14"/>
                </a:cxn>
                <a:cxn ang="0">
                  <a:pos x="6" y="10"/>
                </a:cxn>
                <a:cxn ang="0">
                  <a:pos x="2" y="8"/>
                </a:cxn>
                <a:cxn ang="0">
                  <a:pos x="0" y="6"/>
                </a:cxn>
                <a:cxn ang="0">
                  <a:pos x="6" y="4"/>
                </a:cxn>
                <a:cxn ang="0">
                  <a:pos x="6" y="2"/>
                </a:cxn>
              </a:cxnLst>
              <a:rect l="0" t="0" r="r" b="b"/>
              <a:pathLst>
                <a:path w="72" h="72">
                  <a:moveTo>
                    <a:pt x="6" y="2"/>
                  </a:moveTo>
                  <a:lnTo>
                    <a:pt x="6" y="2"/>
                  </a:lnTo>
                  <a:lnTo>
                    <a:pt x="10" y="0"/>
                  </a:lnTo>
                  <a:lnTo>
                    <a:pt x="14" y="0"/>
                  </a:lnTo>
                  <a:lnTo>
                    <a:pt x="18" y="2"/>
                  </a:lnTo>
                  <a:lnTo>
                    <a:pt x="22" y="2"/>
                  </a:lnTo>
                  <a:lnTo>
                    <a:pt x="22" y="2"/>
                  </a:lnTo>
                  <a:lnTo>
                    <a:pt x="28" y="0"/>
                  </a:lnTo>
                  <a:lnTo>
                    <a:pt x="34" y="2"/>
                  </a:lnTo>
                  <a:lnTo>
                    <a:pt x="38" y="6"/>
                  </a:lnTo>
                  <a:lnTo>
                    <a:pt x="42" y="6"/>
                  </a:lnTo>
                  <a:lnTo>
                    <a:pt x="42" y="6"/>
                  </a:lnTo>
                  <a:lnTo>
                    <a:pt x="46" y="4"/>
                  </a:lnTo>
                  <a:lnTo>
                    <a:pt x="48" y="6"/>
                  </a:lnTo>
                  <a:lnTo>
                    <a:pt x="50" y="6"/>
                  </a:lnTo>
                  <a:lnTo>
                    <a:pt x="56" y="4"/>
                  </a:lnTo>
                  <a:lnTo>
                    <a:pt x="56" y="4"/>
                  </a:lnTo>
                  <a:lnTo>
                    <a:pt x="56" y="4"/>
                  </a:lnTo>
                  <a:lnTo>
                    <a:pt x="58" y="6"/>
                  </a:lnTo>
                  <a:lnTo>
                    <a:pt x="58" y="10"/>
                  </a:lnTo>
                  <a:lnTo>
                    <a:pt x="58" y="10"/>
                  </a:lnTo>
                  <a:lnTo>
                    <a:pt x="60" y="16"/>
                  </a:lnTo>
                  <a:lnTo>
                    <a:pt x="62" y="22"/>
                  </a:lnTo>
                  <a:lnTo>
                    <a:pt x="72" y="32"/>
                  </a:lnTo>
                  <a:lnTo>
                    <a:pt x="72" y="32"/>
                  </a:lnTo>
                  <a:lnTo>
                    <a:pt x="68" y="34"/>
                  </a:lnTo>
                  <a:lnTo>
                    <a:pt x="64" y="36"/>
                  </a:lnTo>
                  <a:lnTo>
                    <a:pt x="64" y="38"/>
                  </a:lnTo>
                  <a:lnTo>
                    <a:pt x="64" y="40"/>
                  </a:lnTo>
                  <a:lnTo>
                    <a:pt x="66" y="44"/>
                  </a:lnTo>
                  <a:lnTo>
                    <a:pt x="68" y="48"/>
                  </a:lnTo>
                  <a:lnTo>
                    <a:pt x="66" y="50"/>
                  </a:lnTo>
                  <a:lnTo>
                    <a:pt x="66" y="50"/>
                  </a:lnTo>
                  <a:lnTo>
                    <a:pt x="64" y="54"/>
                  </a:lnTo>
                  <a:lnTo>
                    <a:pt x="64" y="58"/>
                  </a:lnTo>
                  <a:lnTo>
                    <a:pt x="64" y="60"/>
                  </a:lnTo>
                  <a:lnTo>
                    <a:pt x="62" y="62"/>
                  </a:lnTo>
                  <a:lnTo>
                    <a:pt x="62" y="62"/>
                  </a:lnTo>
                  <a:lnTo>
                    <a:pt x="60" y="64"/>
                  </a:lnTo>
                  <a:lnTo>
                    <a:pt x="62" y="66"/>
                  </a:lnTo>
                  <a:lnTo>
                    <a:pt x="62" y="68"/>
                  </a:lnTo>
                  <a:lnTo>
                    <a:pt x="62" y="72"/>
                  </a:lnTo>
                  <a:lnTo>
                    <a:pt x="62" y="72"/>
                  </a:lnTo>
                  <a:lnTo>
                    <a:pt x="60" y="70"/>
                  </a:lnTo>
                  <a:lnTo>
                    <a:pt x="60" y="68"/>
                  </a:lnTo>
                  <a:lnTo>
                    <a:pt x="58" y="66"/>
                  </a:lnTo>
                  <a:lnTo>
                    <a:pt x="58" y="66"/>
                  </a:lnTo>
                  <a:lnTo>
                    <a:pt x="56" y="66"/>
                  </a:lnTo>
                  <a:lnTo>
                    <a:pt x="56" y="64"/>
                  </a:lnTo>
                  <a:lnTo>
                    <a:pt x="58" y="62"/>
                  </a:lnTo>
                  <a:lnTo>
                    <a:pt x="56" y="60"/>
                  </a:lnTo>
                  <a:lnTo>
                    <a:pt x="56" y="60"/>
                  </a:lnTo>
                  <a:lnTo>
                    <a:pt x="52" y="58"/>
                  </a:lnTo>
                  <a:lnTo>
                    <a:pt x="52" y="60"/>
                  </a:lnTo>
                  <a:lnTo>
                    <a:pt x="52" y="62"/>
                  </a:lnTo>
                  <a:lnTo>
                    <a:pt x="52" y="62"/>
                  </a:lnTo>
                  <a:lnTo>
                    <a:pt x="54" y="62"/>
                  </a:lnTo>
                  <a:lnTo>
                    <a:pt x="54" y="64"/>
                  </a:lnTo>
                  <a:lnTo>
                    <a:pt x="48" y="62"/>
                  </a:lnTo>
                  <a:lnTo>
                    <a:pt x="48" y="62"/>
                  </a:lnTo>
                  <a:lnTo>
                    <a:pt x="44" y="60"/>
                  </a:lnTo>
                  <a:lnTo>
                    <a:pt x="48" y="56"/>
                  </a:lnTo>
                  <a:lnTo>
                    <a:pt x="48" y="56"/>
                  </a:lnTo>
                  <a:lnTo>
                    <a:pt x="46" y="54"/>
                  </a:lnTo>
                  <a:lnTo>
                    <a:pt x="46" y="52"/>
                  </a:lnTo>
                  <a:lnTo>
                    <a:pt x="48" y="50"/>
                  </a:lnTo>
                  <a:lnTo>
                    <a:pt x="48" y="50"/>
                  </a:lnTo>
                  <a:lnTo>
                    <a:pt x="36" y="42"/>
                  </a:lnTo>
                  <a:lnTo>
                    <a:pt x="26" y="36"/>
                  </a:lnTo>
                  <a:lnTo>
                    <a:pt x="26" y="36"/>
                  </a:lnTo>
                  <a:lnTo>
                    <a:pt x="24" y="32"/>
                  </a:lnTo>
                  <a:lnTo>
                    <a:pt x="24" y="32"/>
                  </a:lnTo>
                  <a:lnTo>
                    <a:pt x="26" y="30"/>
                  </a:lnTo>
                  <a:lnTo>
                    <a:pt x="22" y="26"/>
                  </a:lnTo>
                  <a:lnTo>
                    <a:pt x="22" y="26"/>
                  </a:lnTo>
                  <a:lnTo>
                    <a:pt x="16" y="24"/>
                  </a:lnTo>
                  <a:lnTo>
                    <a:pt x="16" y="24"/>
                  </a:lnTo>
                  <a:lnTo>
                    <a:pt x="18" y="28"/>
                  </a:lnTo>
                  <a:lnTo>
                    <a:pt x="18" y="28"/>
                  </a:lnTo>
                  <a:lnTo>
                    <a:pt x="20" y="30"/>
                  </a:lnTo>
                  <a:lnTo>
                    <a:pt x="20" y="32"/>
                  </a:lnTo>
                  <a:lnTo>
                    <a:pt x="18" y="34"/>
                  </a:lnTo>
                  <a:lnTo>
                    <a:pt x="14" y="32"/>
                  </a:lnTo>
                  <a:lnTo>
                    <a:pt x="14" y="32"/>
                  </a:lnTo>
                  <a:lnTo>
                    <a:pt x="6" y="26"/>
                  </a:lnTo>
                  <a:lnTo>
                    <a:pt x="6" y="24"/>
                  </a:lnTo>
                  <a:lnTo>
                    <a:pt x="8" y="20"/>
                  </a:lnTo>
                  <a:lnTo>
                    <a:pt x="8" y="20"/>
                  </a:lnTo>
                  <a:lnTo>
                    <a:pt x="6" y="16"/>
                  </a:lnTo>
                  <a:lnTo>
                    <a:pt x="6" y="14"/>
                  </a:lnTo>
                  <a:lnTo>
                    <a:pt x="6" y="10"/>
                  </a:lnTo>
                  <a:lnTo>
                    <a:pt x="6" y="10"/>
                  </a:lnTo>
                  <a:lnTo>
                    <a:pt x="4" y="8"/>
                  </a:lnTo>
                  <a:lnTo>
                    <a:pt x="2" y="8"/>
                  </a:lnTo>
                  <a:lnTo>
                    <a:pt x="0" y="6"/>
                  </a:lnTo>
                  <a:lnTo>
                    <a:pt x="0" y="6"/>
                  </a:lnTo>
                  <a:lnTo>
                    <a:pt x="0" y="6"/>
                  </a:lnTo>
                  <a:lnTo>
                    <a:pt x="6" y="4"/>
                  </a:lnTo>
                  <a:lnTo>
                    <a:pt x="6" y="4"/>
                  </a:lnTo>
                  <a:lnTo>
                    <a:pt x="6" y="2"/>
                  </a:lnTo>
                  <a:lnTo>
                    <a:pt x="6" y="2"/>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Colombia"/>
            <p:cNvSpPr>
              <a:spLocks/>
            </p:cNvSpPr>
            <p:nvPr/>
          </p:nvSpPr>
          <p:spPr bwMode="auto">
            <a:xfrm>
              <a:off x="1924809" y="3202781"/>
              <a:ext cx="336021" cy="563563"/>
            </a:xfrm>
            <a:custGeom>
              <a:avLst/>
              <a:gdLst/>
              <a:ahLst/>
              <a:cxnLst>
                <a:cxn ang="0">
                  <a:pos x="60" y="110"/>
                </a:cxn>
                <a:cxn ang="0">
                  <a:pos x="62" y="100"/>
                </a:cxn>
                <a:cxn ang="0">
                  <a:pos x="64" y="92"/>
                </a:cxn>
                <a:cxn ang="0">
                  <a:pos x="80" y="78"/>
                </a:cxn>
                <a:cxn ang="0">
                  <a:pos x="84" y="60"/>
                </a:cxn>
                <a:cxn ang="0">
                  <a:pos x="92" y="42"/>
                </a:cxn>
                <a:cxn ang="0">
                  <a:pos x="110" y="36"/>
                </a:cxn>
                <a:cxn ang="0">
                  <a:pos x="114" y="34"/>
                </a:cxn>
                <a:cxn ang="0">
                  <a:pos x="152" y="16"/>
                </a:cxn>
                <a:cxn ang="0">
                  <a:pos x="160" y="2"/>
                </a:cxn>
                <a:cxn ang="0">
                  <a:pos x="176" y="0"/>
                </a:cxn>
                <a:cxn ang="0">
                  <a:pos x="176" y="14"/>
                </a:cxn>
                <a:cxn ang="0">
                  <a:pos x="142" y="50"/>
                </a:cxn>
                <a:cxn ang="0">
                  <a:pos x="130" y="78"/>
                </a:cxn>
                <a:cxn ang="0">
                  <a:pos x="134" y="86"/>
                </a:cxn>
                <a:cxn ang="0">
                  <a:pos x="140" y="94"/>
                </a:cxn>
                <a:cxn ang="0">
                  <a:pos x="144" y="128"/>
                </a:cxn>
                <a:cxn ang="0">
                  <a:pos x="170" y="144"/>
                </a:cxn>
                <a:cxn ang="0">
                  <a:pos x="196" y="148"/>
                </a:cxn>
                <a:cxn ang="0">
                  <a:pos x="228" y="164"/>
                </a:cxn>
                <a:cxn ang="0">
                  <a:pos x="244" y="166"/>
                </a:cxn>
                <a:cxn ang="0">
                  <a:pos x="240" y="178"/>
                </a:cxn>
                <a:cxn ang="0">
                  <a:pos x="236" y="200"/>
                </a:cxn>
                <a:cxn ang="0">
                  <a:pos x="248" y="224"/>
                </a:cxn>
                <a:cxn ang="0">
                  <a:pos x="246" y="250"/>
                </a:cxn>
                <a:cxn ang="0">
                  <a:pos x="248" y="288"/>
                </a:cxn>
                <a:cxn ang="0">
                  <a:pos x="244" y="274"/>
                </a:cxn>
                <a:cxn ang="0">
                  <a:pos x="238" y="276"/>
                </a:cxn>
                <a:cxn ang="0">
                  <a:pos x="232" y="278"/>
                </a:cxn>
                <a:cxn ang="0">
                  <a:pos x="196" y="290"/>
                </a:cxn>
                <a:cxn ang="0">
                  <a:pos x="208" y="300"/>
                </a:cxn>
                <a:cxn ang="0">
                  <a:pos x="196" y="306"/>
                </a:cxn>
                <a:cxn ang="0">
                  <a:pos x="200" y="334"/>
                </a:cxn>
                <a:cxn ang="0">
                  <a:pos x="200" y="382"/>
                </a:cxn>
                <a:cxn ang="0">
                  <a:pos x="180" y="416"/>
                </a:cxn>
                <a:cxn ang="0">
                  <a:pos x="190" y="388"/>
                </a:cxn>
                <a:cxn ang="0">
                  <a:pos x="172" y="388"/>
                </a:cxn>
                <a:cxn ang="0">
                  <a:pos x="150" y="386"/>
                </a:cxn>
                <a:cxn ang="0">
                  <a:pos x="124" y="374"/>
                </a:cxn>
                <a:cxn ang="0">
                  <a:pos x="114" y="356"/>
                </a:cxn>
                <a:cxn ang="0">
                  <a:pos x="98" y="336"/>
                </a:cxn>
                <a:cxn ang="0">
                  <a:pos x="56" y="316"/>
                </a:cxn>
                <a:cxn ang="0">
                  <a:pos x="46" y="318"/>
                </a:cxn>
                <a:cxn ang="0">
                  <a:pos x="4" y="292"/>
                </a:cxn>
                <a:cxn ang="0">
                  <a:pos x="4" y="284"/>
                </a:cxn>
                <a:cxn ang="0">
                  <a:pos x="18" y="272"/>
                </a:cxn>
                <a:cxn ang="0">
                  <a:pos x="20" y="256"/>
                </a:cxn>
                <a:cxn ang="0">
                  <a:pos x="38" y="244"/>
                </a:cxn>
                <a:cxn ang="0">
                  <a:pos x="52" y="222"/>
                </a:cxn>
                <a:cxn ang="0">
                  <a:pos x="48" y="222"/>
                </a:cxn>
                <a:cxn ang="0">
                  <a:pos x="44" y="210"/>
                </a:cxn>
                <a:cxn ang="0">
                  <a:pos x="38" y="176"/>
                </a:cxn>
                <a:cxn ang="0">
                  <a:pos x="44" y="162"/>
                </a:cxn>
                <a:cxn ang="0">
                  <a:pos x="40" y="146"/>
                </a:cxn>
                <a:cxn ang="0">
                  <a:pos x="34" y="140"/>
                </a:cxn>
                <a:cxn ang="0">
                  <a:pos x="30" y="132"/>
                </a:cxn>
                <a:cxn ang="0">
                  <a:pos x="36" y="122"/>
                </a:cxn>
                <a:cxn ang="0">
                  <a:pos x="44" y="114"/>
                </a:cxn>
                <a:cxn ang="0">
                  <a:pos x="44" y="104"/>
                </a:cxn>
                <a:cxn ang="0">
                  <a:pos x="46" y="94"/>
                </a:cxn>
              </a:cxnLst>
              <a:rect l="0" t="0" r="r" b="b"/>
              <a:pathLst>
                <a:path w="254" h="426">
                  <a:moveTo>
                    <a:pt x="46" y="94"/>
                  </a:moveTo>
                  <a:lnTo>
                    <a:pt x="46" y="94"/>
                  </a:lnTo>
                  <a:lnTo>
                    <a:pt x="48" y="96"/>
                  </a:lnTo>
                  <a:lnTo>
                    <a:pt x="50" y="98"/>
                  </a:lnTo>
                  <a:lnTo>
                    <a:pt x="54" y="102"/>
                  </a:lnTo>
                  <a:lnTo>
                    <a:pt x="60" y="110"/>
                  </a:lnTo>
                  <a:lnTo>
                    <a:pt x="60" y="110"/>
                  </a:lnTo>
                  <a:lnTo>
                    <a:pt x="58" y="106"/>
                  </a:lnTo>
                  <a:lnTo>
                    <a:pt x="58" y="106"/>
                  </a:lnTo>
                  <a:lnTo>
                    <a:pt x="60" y="104"/>
                  </a:lnTo>
                  <a:lnTo>
                    <a:pt x="60" y="104"/>
                  </a:lnTo>
                  <a:lnTo>
                    <a:pt x="62" y="100"/>
                  </a:lnTo>
                  <a:lnTo>
                    <a:pt x="58" y="98"/>
                  </a:lnTo>
                  <a:lnTo>
                    <a:pt x="56" y="98"/>
                  </a:lnTo>
                  <a:lnTo>
                    <a:pt x="56" y="96"/>
                  </a:lnTo>
                  <a:lnTo>
                    <a:pt x="56" y="96"/>
                  </a:lnTo>
                  <a:lnTo>
                    <a:pt x="60" y="94"/>
                  </a:lnTo>
                  <a:lnTo>
                    <a:pt x="64" y="92"/>
                  </a:lnTo>
                  <a:lnTo>
                    <a:pt x="68" y="86"/>
                  </a:lnTo>
                  <a:lnTo>
                    <a:pt x="68" y="86"/>
                  </a:lnTo>
                  <a:lnTo>
                    <a:pt x="72" y="80"/>
                  </a:lnTo>
                  <a:lnTo>
                    <a:pt x="76" y="78"/>
                  </a:lnTo>
                  <a:lnTo>
                    <a:pt x="80" y="78"/>
                  </a:lnTo>
                  <a:lnTo>
                    <a:pt x="80" y="78"/>
                  </a:lnTo>
                  <a:lnTo>
                    <a:pt x="84" y="74"/>
                  </a:lnTo>
                  <a:lnTo>
                    <a:pt x="82" y="72"/>
                  </a:lnTo>
                  <a:lnTo>
                    <a:pt x="82" y="70"/>
                  </a:lnTo>
                  <a:lnTo>
                    <a:pt x="82" y="66"/>
                  </a:lnTo>
                  <a:lnTo>
                    <a:pt x="82" y="66"/>
                  </a:lnTo>
                  <a:lnTo>
                    <a:pt x="84" y="60"/>
                  </a:lnTo>
                  <a:lnTo>
                    <a:pt x="84" y="56"/>
                  </a:lnTo>
                  <a:lnTo>
                    <a:pt x="84" y="52"/>
                  </a:lnTo>
                  <a:lnTo>
                    <a:pt x="86" y="50"/>
                  </a:lnTo>
                  <a:lnTo>
                    <a:pt x="86" y="50"/>
                  </a:lnTo>
                  <a:lnTo>
                    <a:pt x="88" y="46"/>
                  </a:lnTo>
                  <a:lnTo>
                    <a:pt x="92" y="42"/>
                  </a:lnTo>
                  <a:lnTo>
                    <a:pt x="96" y="38"/>
                  </a:lnTo>
                  <a:lnTo>
                    <a:pt x="102" y="36"/>
                  </a:lnTo>
                  <a:lnTo>
                    <a:pt x="102" y="36"/>
                  </a:lnTo>
                  <a:lnTo>
                    <a:pt x="110" y="34"/>
                  </a:lnTo>
                  <a:lnTo>
                    <a:pt x="110" y="34"/>
                  </a:lnTo>
                  <a:lnTo>
                    <a:pt x="110" y="36"/>
                  </a:lnTo>
                  <a:lnTo>
                    <a:pt x="108" y="40"/>
                  </a:lnTo>
                  <a:lnTo>
                    <a:pt x="108" y="40"/>
                  </a:lnTo>
                  <a:lnTo>
                    <a:pt x="112" y="42"/>
                  </a:lnTo>
                  <a:lnTo>
                    <a:pt x="112" y="42"/>
                  </a:lnTo>
                  <a:lnTo>
                    <a:pt x="112" y="38"/>
                  </a:lnTo>
                  <a:lnTo>
                    <a:pt x="114" y="34"/>
                  </a:lnTo>
                  <a:lnTo>
                    <a:pt x="120" y="30"/>
                  </a:lnTo>
                  <a:lnTo>
                    <a:pt x="124" y="28"/>
                  </a:lnTo>
                  <a:lnTo>
                    <a:pt x="124" y="28"/>
                  </a:lnTo>
                  <a:lnTo>
                    <a:pt x="128" y="28"/>
                  </a:lnTo>
                  <a:lnTo>
                    <a:pt x="132" y="26"/>
                  </a:lnTo>
                  <a:lnTo>
                    <a:pt x="152" y="16"/>
                  </a:lnTo>
                  <a:lnTo>
                    <a:pt x="152" y="16"/>
                  </a:lnTo>
                  <a:lnTo>
                    <a:pt x="156" y="12"/>
                  </a:lnTo>
                  <a:lnTo>
                    <a:pt x="160" y="10"/>
                  </a:lnTo>
                  <a:lnTo>
                    <a:pt x="160" y="8"/>
                  </a:lnTo>
                  <a:lnTo>
                    <a:pt x="160" y="6"/>
                  </a:lnTo>
                  <a:lnTo>
                    <a:pt x="160" y="2"/>
                  </a:lnTo>
                  <a:lnTo>
                    <a:pt x="162" y="2"/>
                  </a:lnTo>
                  <a:lnTo>
                    <a:pt x="162" y="2"/>
                  </a:lnTo>
                  <a:lnTo>
                    <a:pt x="168" y="2"/>
                  </a:lnTo>
                  <a:lnTo>
                    <a:pt x="168" y="0"/>
                  </a:lnTo>
                  <a:lnTo>
                    <a:pt x="170" y="0"/>
                  </a:lnTo>
                  <a:lnTo>
                    <a:pt x="176" y="0"/>
                  </a:lnTo>
                  <a:lnTo>
                    <a:pt x="176" y="0"/>
                  </a:lnTo>
                  <a:lnTo>
                    <a:pt x="180" y="2"/>
                  </a:lnTo>
                  <a:lnTo>
                    <a:pt x="182" y="6"/>
                  </a:lnTo>
                  <a:lnTo>
                    <a:pt x="182" y="10"/>
                  </a:lnTo>
                  <a:lnTo>
                    <a:pt x="176" y="14"/>
                  </a:lnTo>
                  <a:lnTo>
                    <a:pt x="176" y="14"/>
                  </a:lnTo>
                  <a:lnTo>
                    <a:pt x="162" y="22"/>
                  </a:lnTo>
                  <a:lnTo>
                    <a:pt x="150" y="44"/>
                  </a:lnTo>
                  <a:lnTo>
                    <a:pt x="150" y="44"/>
                  </a:lnTo>
                  <a:lnTo>
                    <a:pt x="148" y="44"/>
                  </a:lnTo>
                  <a:lnTo>
                    <a:pt x="142" y="50"/>
                  </a:lnTo>
                  <a:lnTo>
                    <a:pt x="142" y="50"/>
                  </a:lnTo>
                  <a:lnTo>
                    <a:pt x="140" y="56"/>
                  </a:lnTo>
                  <a:lnTo>
                    <a:pt x="140" y="58"/>
                  </a:lnTo>
                  <a:lnTo>
                    <a:pt x="140" y="62"/>
                  </a:lnTo>
                  <a:lnTo>
                    <a:pt x="138" y="66"/>
                  </a:lnTo>
                  <a:lnTo>
                    <a:pt x="138" y="66"/>
                  </a:lnTo>
                  <a:lnTo>
                    <a:pt x="130" y="78"/>
                  </a:lnTo>
                  <a:lnTo>
                    <a:pt x="128" y="84"/>
                  </a:lnTo>
                  <a:lnTo>
                    <a:pt x="128" y="84"/>
                  </a:lnTo>
                  <a:lnTo>
                    <a:pt x="128" y="84"/>
                  </a:lnTo>
                  <a:lnTo>
                    <a:pt x="130" y="84"/>
                  </a:lnTo>
                  <a:lnTo>
                    <a:pt x="132" y="84"/>
                  </a:lnTo>
                  <a:lnTo>
                    <a:pt x="134" y="86"/>
                  </a:lnTo>
                  <a:lnTo>
                    <a:pt x="134" y="86"/>
                  </a:lnTo>
                  <a:lnTo>
                    <a:pt x="136" y="88"/>
                  </a:lnTo>
                  <a:lnTo>
                    <a:pt x="138" y="86"/>
                  </a:lnTo>
                  <a:lnTo>
                    <a:pt x="140" y="88"/>
                  </a:lnTo>
                  <a:lnTo>
                    <a:pt x="140" y="94"/>
                  </a:lnTo>
                  <a:lnTo>
                    <a:pt x="140" y="94"/>
                  </a:lnTo>
                  <a:lnTo>
                    <a:pt x="144" y="110"/>
                  </a:lnTo>
                  <a:lnTo>
                    <a:pt x="144" y="116"/>
                  </a:lnTo>
                  <a:lnTo>
                    <a:pt x="144" y="122"/>
                  </a:lnTo>
                  <a:lnTo>
                    <a:pt x="144" y="122"/>
                  </a:lnTo>
                  <a:lnTo>
                    <a:pt x="144" y="124"/>
                  </a:lnTo>
                  <a:lnTo>
                    <a:pt x="144" y="128"/>
                  </a:lnTo>
                  <a:lnTo>
                    <a:pt x="150" y="132"/>
                  </a:lnTo>
                  <a:lnTo>
                    <a:pt x="156" y="136"/>
                  </a:lnTo>
                  <a:lnTo>
                    <a:pt x="162" y="140"/>
                  </a:lnTo>
                  <a:lnTo>
                    <a:pt x="162" y="140"/>
                  </a:lnTo>
                  <a:lnTo>
                    <a:pt x="166" y="142"/>
                  </a:lnTo>
                  <a:lnTo>
                    <a:pt x="170" y="144"/>
                  </a:lnTo>
                  <a:lnTo>
                    <a:pt x="176" y="142"/>
                  </a:lnTo>
                  <a:lnTo>
                    <a:pt x="182" y="140"/>
                  </a:lnTo>
                  <a:lnTo>
                    <a:pt x="186" y="142"/>
                  </a:lnTo>
                  <a:lnTo>
                    <a:pt x="190" y="144"/>
                  </a:lnTo>
                  <a:lnTo>
                    <a:pt x="190" y="144"/>
                  </a:lnTo>
                  <a:lnTo>
                    <a:pt x="196" y="148"/>
                  </a:lnTo>
                  <a:lnTo>
                    <a:pt x="200" y="148"/>
                  </a:lnTo>
                  <a:lnTo>
                    <a:pt x="206" y="156"/>
                  </a:lnTo>
                  <a:lnTo>
                    <a:pt x="206" y="156"/>
                  </a:lnTo>
                  <a:lnTo>
                    <a:pt x="214" y="162"/>
                  </a:lnTo>
                  <a:lnTo>
                    <a:pt x="220" y="164"/>
                  </a:lnTo>
                  <a:lnTo>
                    <a:pt x="228" y="164"/>
                  </a:lnTo>
                  <a:lnTo>
                    <a:pt x="238" y="160"/>
                  </a:lnTo>
                  <a:lnTo>
                    <a:pt x="238" y="160"/>
                  </a:lnTo>
                  <a:lnTo>
                    <a:pt x="244" y="160"/>
                  </a:lnTo>
                  <a:lnTo>
                    <a:pt x="246" y="160"/>
                  </a:lnTo>
                  <a:lnTo>
                    <a:pt x="246" y="162"/>
                  </a:lnTo>
                  <a:lnTo>
                    <a:pt x="244" y="166"/>
                  </a:lnTo>
                  <a:lnTo>
                    <a:pt x="244" y="166"/>
                  </a:lnTo>
                  <a:lnTo>
                    <a:pt x="242" y="170"/>
                  </a:lnTo>
                  <a:lnTo>
                    <a:pt x="242" y="172"/>
                  </a:lnTo>
                  <a:lnTo>
                    <a:pt x="242" y="176"/>
                  </a:lnTo>
                  <a:lnTo>
                    <a:pt x="240" y="178"/>
                  </a:lnTo>
                  <a:lnTo>
                    <a:pt x="240" y="178"/>
                  </a:lnTo>
                  <a:lnTo>
                    <a:pt x="238" y="180"/>
                  </a:lnTo>
                  <a:lnTo>
                    <a:pt x="240" y="184"/>
                  </a:lnTo>
                  <a:lnTo>
                    <a:pt x="240" y="188"/>
                  </a:lnTo>
                  <a:lnTo>
                    <a:pt x="238" y="194"/>
                  </a:lnTo>
                  <a:lnTo>
                    <a:pt x="238" y="194"/>
                  </a:lnTo>
                  <a:lnTo>
                    <a:pt x="236" y="200"/>
                  </a:lnTo>
                  <a:lnTo>
                    <a:pt x="238" y="204"/>
                  </a:lnTo>
                  <a:lnTo>
                    <a:pt x="238" y="212"/>
                  </a:lnTo>
                  <a:lnTo>
                    <a:pt x="240" y="218"/>
                  </a:lnTo>
                  <a:lnTo>
                    <a:pt x="246" y="218"/>
                  </a:lnTo>
                  <a:lnTo>
                    <a:pt x="246" y="218"/>
                  </a:lnTo>
                  <a:lnTo>
                    <a:pt x="248" y="224"/>
                  </a:lnTo>
                  <a:lnTo>
                    <a:pt x="248" y="230"/>
                  </a:lnTo>
                  <a:lnTo>
                    <a:pt x="246" y="236"/>
                  </a:lnTo>
                  <a:lnTo>
                    <a:pt x="240" y="248"/>
                  </a:lnTo>
                  <a:lnTo>
                    <a:pt x="240" y="248"/>
                  </a:lnTo>
                  <a:lnTo>
                    <a:pt x="242" y="248"/>
                  </a:lnTo>
                  <a:lnTo>
                    <a:pt x="246" y="250"/>
                  </a:lnTo>
                  <a:lnTo>
                    <a:pt x="250" y="258"/>
                  </a:lnTo>
                  <a:lnTo>
                    <a:pt x="252" y="272"/>
                  </a:lnTo>
                  <a:lnTo>
                    <a:pt x="254" y="290"/>
                  </a:lnTo>
                  <a:lnTo>
                    <a:pt x="254" y="290"/>
                  </a:lnTo>
                  <a:lnTo>
                    <a:pt x="250" y="290"/>
                  </a:lnTo>
                  <a:lnTo>
                    <a:pt x="248" y="288"/>
                  </a:lnTo>
                  <a:lnTo>
                    <a:pt x="248" y="282"/>
                  </a:lnTo>
                  <a:lnTo>
                    <a:pt x="248" y="276"/>
                  </a:lnTo>
                  <a:lnTo>
                    <a:pt x="248" y="274"/>
                  </a:lnTo>
                  <a:lnTo>
                    <a:pt x="246" y="274"/>
                  </a:lnTo>
                  <a:lnTo>
                    <a:pt x="246" y="274"/>
                  </a:lnTo>
                  <a:lnTo>
                    <a:pt x="244" y="274"/>
                  </a:lnTo>
                  <a:lnTo>
                    <a:pt x="242" y="276"/>
                  </a:lnTo>
                  <a:lnTo>
                    <a:pt x="242" y="278"/>
                  </a:lnTo>
                  <a:lnTo>
                    <a:pt x="240" y="278"/>
                  </a:lnTo>
                  <a:lnTo>
                    <a:pt x="240" y="278"/>
                  </a:lnTo>
                  <a:lnTo>
                    <a:pt x="238" y="278"/>
                  </a:lnTo>
                  <a:lnTo>
                    <a:pt x="238" y="276"/>
                  </a:lnTo>
                  <a:lnTo>
                    <a:pt x="236" y="274"/>
                  </a:lnTo>
                  <a:lnTo>
                    <a:pt x="232" y="274"/>
                  </a:lnTo>
                  <a:lnTo>
                    <a:pt x="232" y="274"/>
                  </a:lnTo>
                  <a:lnTo>
                    <a:pt x="230" y="274"/>
                  </a:lnTo>
                  <a:lnTo>
                    <a:pt x="232" y="276"/>
                  </a:lnTo>
                  <a:lnTo>
                    <a:pt x="232" y="278"/>
                  </a:lnTo>
                  <a:lnTo>
                    <a:pt x="226" y="280"/>
                  </a:lnTo>
                  <a:lnTo>
                    <a:pt x="226" y="280"/>
                  </a:lnTo>
                  <a:lnTo>
                    <a:pt x="212" y="282"/>
                  </a:lnTo>
                  <a:lnTo>
                    <a:pt x="196" y="284"/>
                  </a:lnTo>
                  <a:lnTo>
                    <a:pt x="196" y="284"/>
                  </a:lnTo>
                  <a:lnTo>
                    <a:pt x="196" y="290"/>
                  </a:lnTo>
                  <a:lnTo>
                    <a:pt x="198" y="292"/>
                  </a:lnTo>
                  <a:lnTo>
                    <a:pt x="202" y="294"/>
                  </a:lnTo>
                  <a:lnTo>
                    <a:pt x="202" y="294"/>
                  </a:lnTo>
                  <a:lnTo>
                    <a:pt x="204" y="294"/>
                  </a:lnTo>
                  <a:lnTo>
                    <a:pt x="206" y="296"/>
                  </a:lnTo>
                  <a:lnTo>
                    <a:pt x="208" y="300"/>
                  </a:lnTo>
                  <a:lnTo>
                    <a:pt x="208" y="306"/>
                  </a:lnTo>
                  <a:lnTo>
                    <a:pt x="208" y="306"/>
                  </a:lnTo>
                  <a:lnTo>
                    <a:pt x="206" y="306"/>
                  </a:lnTo>
                  <a:lnTo>
                    <a:pt x="206" y="306"/>
                  </a:lnTo>
                  <a:lnTo>
                    <a:pt x="200" y="306"/>
                  </a:lnTo>
                  <a:lnTo>
                    <a:pt x="196" y="306"/>
                  </a:lnTo>
                  <a:lnTo>
                    <a:pt x="192" y="310"/>
                  </a:lnTo>
                  <a:lnTo>
                    <a:pt x="190" y="312"/>
                  </a:lnTo>
                  <a:lnTo>
                    <a:pt x="192" y="316"/>
                  </a:lnTo>
                  <a:lnTo>
                    <a:pt x="192" y="316"/>
                  </a:lnTo>
                  <a:lnTo>
                    <a:pt x="196" y="324"/>
                  </a:lnTo>
                  <a:lnTo>
                    <a:pt x="200" y="334"/>
                  </a:lnTo>
                  <a:lnTo>
                    <a:pt x="204" y="342"/>
                  </a:lnTo>
                  <a:lnTo>
                    <a:pt x="204" y="344"/>
                  </a:lnTo>
                  <a:lnTo>
                    <a:pt x="204" y="346"/>
                  </a:lnTo>
                  <a:lnTo>
                    <a:pt x="204" y="346"/>
                  </a:lnTo>
                  <a:lnTo>
                    <a:pt x="202" y="358"/>
                  </a:lnTo>
                  <a:lnTo>
                    <a:pt x="200" y="382"/>
                  </a:lnTo>
                  <a:lnTo>
                    <a:pt x="196" y="406"/>
                  </a:lnTo>
                  <a:lnTo>
                    <a:pt x="194" y="416"/>
                  </a:lnTo>
                  <a:lnTo>
                    <a:pt x="192" y="426"/>
                  </a:lnTo>
                  <a:lnTo>
                    <a:pt x="192" y="426"/>
                  </a:lnTo>
                  <a:lnTo>
                    <a:pt x="182" y="420"/>
                  </a:lnTo>
                  <a:lnTo>
                    <a:pt x="180" y="416"/>
                  </a:lnTo>
                  <a:lnTo>
                    <a:pt x="182" y="412"/>
                  </a:lnTo>
                  <a:lnTo>
                    <a:pt x="186" y="402"/>
                  </a:lnTo>
                  <a:lnTo>
                    <a:pt x="186" y="402"/>
                  </a:lnTo>
                  <a:lnTo>
                    <a:pt x="190" y="398"/>
                  </a:lnTo>
                  <a:lnTo>
                    <a:pt x="190" y="392"/>
                  </a:lnTo>
                  <a:lnTo>
                    <a:pt x="190" y="388"/>
                  </a:lnTo>
                  <a:lnTo>
                    <a:pt x="188" y="386"/>
                  </a:lnTo>
                  <a:lnTo>
                    <a:pt x="184" y="384"/>
                  </a:lnTo>
                  <a:lnTo>
                    <a:pt x="182" y="384"/>
                  </a:lnTo>
                  <a:lnTo>
                    <a:pt x="176" y="386"/>
                  </a:lnTo>
                  <a:lnTo>
                    <a:pt x="176" y="386"/>
                  </a:lnTo>
                  <a:lnTo>
                    <a:pt x="172" y="388"/>
                  </a:lnTo>
                  <a:lnTo>
                    <a:pt x="170" y="386"/>
                  </a:lnTo>
                  <a:lnTo>
                    <a:pt x="164" y="384"/>
                  </a:lnTo>
                  <a:lnTo>
                    <a:pt x="158" y="382"/>
                  </a:lnTo>
                  <a:lnTo>
                    <a:pt x="156" y="384"/>
                  </a:lnTo>
                  <a:lnTo>
                    <a:pt x="150" y="386"/>
                  </a:lnTo>
                  <a:lnTo>
                    <a:pt x="150" y="386"/>
                  </a:lnTo>
                  <a:lnTo>
                    <a:pt x="142" y="388"/>
                  </a:lnTo>
                  <a:lnTo>
                    <a:pt x="138" y="388"/>
                  </a:lnTo>
                  <a:lnTo>
                    <a:pt x="132" y="386"/>
                  </a:lnTo>
                  <a:lnTo>
                    <a:pt x="128" y="386"/>
                  </a:lnTo>
                  <a:lnTo>
                    <a:pt x="128" y="386"/>
                  </a:lnTo>
                  <a:lnTo>
                    <a:pt x="124" y="374"/>
                  </a:lnTo>
                  <a:lnTo>
                    <a:pt x="122" y="368"/>
                  </a:lnTo>
                  <a:lnTo>
                    <a:pt x="118" y="366"/>
                  </a:lnTo>
                  <a:lnTo>
                    <a:pt x="116" y="362"/>
                  </a:lnTo>
                  <a:lnTo>
                    <a:pt x="116" y="362"/>
                  </a:lnTo>
                  <a:lnTo>
                    <a:pt x="114" y="358"/>
                  </a:lnTo>
                  <a:lnTo>
                    <a:pt x="114" y="356"/>
                  </a:lnTo>
                  <a:lnTo>
                    <a:pt x="108" y="354"/>
                  </a:lnTo>
                  <a:lnTo>
                    <a:pt x="104" y="352"/>
                  </a:lnTo>
                  <a:lnTo>
                    <a:pt x="102" y="348"/>
                  </a:lnTo>
                  <a:lnTo>
                    <a:pt x="100" y="344"/>
                  </a:lnTo>
                  <a:lnTo>
                    <a:pt x="100" y="344"/>
                  </a:lnTo>
                  <a:lnTo>
                    <a:pt x="98" y="336"/>
                  </a:lnTo>
                  <a:lnTo>
                    <a:pt x="92" y="330"/>
                  </a:lnTo>
                  <a:lnTo>
                    <a:pt x="86" y="328"/>
                  </a:lnTo>
                  <a:lnTo>
                    <a:pt x="80" y="328"/>
                  </a:lnTo>
                  <a:lnTo>
                    <a:pt x="80" y="328"/>
                  </a:lnTo>
                  <a:lnTo>
                    <a:pt x="62" y="318"/>
                  </a:lnTo>
                  <a:lnTo>
                    <a:pt x="56" y="316"/>
                  </a:lnTo>
                  <a:lnTo>
                    <a:pt x="54" y="316"/>
                  </a:lnTo>
                  <a:lnTo>
                    <a:pt x="56" y="318"/>
                  </a:lnTo>
                  <a:lnTo>
                    <a:pt x="56" y="318"/>
                  </a:lnTo>
                  <a:lnTo>
                    <a:pt x="54" y="318"/>
                  </a:lnTo>
                  <a:lnTo>
                    <a:pt x="54" y="320"/>
                  </a:lnTo>
                  <a:lnTo>
                    <a:pt x="46" y="318"/>
                  </a:lnTo>
                  <a:lnTo>
                    <a:pt x="38" y="314"/>
                  </a:lnTo>
                  <a:lnTo>
                    <a:pt x="32" y="310"/>
                  </a:lnTo>
                  <a:lnTo>
                    <a:pt x="32" y="310"/>
                  </a:lnTo>
                  <a:lnTo>
                    <a:pt x="28" y="304"/>
                  </a:lnTo>
                  <a:lnTo>
                    <a:pt x="22" y="300"/>
                  </a:lnTo>
                  <a:lnTo>
                    <a:pt x="4" y="292"/>
                  </a:lnTo>
                  <a:lnTo>
                    <a:pt x="4" y="292"/>
                  </a:lnTo>
                  <a:lnTo>
                    <a:pt x="4" y="288"/>
                  </a:lnTo>
                  <a:lnTo>
                    <a:pt x="2" y="290"/>
                  </a:lnTo>
                  <a:lnTo>
                    <a:pt x="0" y="288"/>
                  </a:lnTo>
                  <a:lnTo>
                    <a:pt x="4" y="284"/>
                  </a:lnTo>
                  <a:lnTo>
                    <a:pt x="4" y="284"/>
                  </a:lnTo>
                  <a:lnTo>
                    <a:pt x="10" y="278"/>
                  </a:lnTo>
                  <a:lnTo>
                    <a:pt x="14" y="276"/>
                  </a:lnTo>
                  <a:lnTo>
                    <a:pt x="16" y="276"/>
                  </a:lnTo>
                  <a:lnTo>
                    <a:pt x="18" y="276"/>
                  </a:lnTo>
                  <a:lnTo>
                    <a:pt x="18" y="276"/>
                  </a:lnTo>
                  <a:lnTo>
                    <a:pt x="18" y="272"/>
                  </a:lnTo>
                  <a:lnTo>
                    <a:pt x="16" y="268"/>
                  </a:lnTo>
                  <a:lnTo>
                    <a:pt x="14" y="266"/>
                  </a:lnTo>
                  <a:lnTo>
                    <a:pt x="14" y="260"/>
                  </a:lnTo>
                  <a:lnTo>
                    <a:pt x="14" y="260"/>
                  </a:lnTo>
                  <a:lnTo>
                    <a:pt x="18" y="258"/>
                  </a:lnTo>
                  <a:lnTo>
                    <a:pt x="20" y="256"/>
                  </a:lnTo>
                  <a:lnTo>
                    <a:pt x="28" y="254"/>
                  </a:lnTo>
                  <a:lnTo>
                    <a:pt x="34" y="252"/>
                  </a:lnTo>
                  <a:lnTo>
                    <a:pt x="36" y="250"/>
                  </a:lnTo>
                  <a:lnTo>
                    <a:pt x="36" y="248"/>
                  </a:lnTo>
                  <a:lnTo>
                    <a:pt x="36" y="248"/>
                  </a:lnTo>
                  <a:lnTo>
                    <a:pt x="38" y="244"/>
                  </a:lnTo>
                  <a:lnTo>
                    <a:pt x="42" y="238"/>
                  </a:lnTo>
                  <a:lnTo>
                    <a:pt x="48" y="232"/>
                  </a:lnTo>
                  <a:lnTo>
                    <a:pt x="54" y="226"/>
                  </a:lnTo>
                  <a:lnTo>
                    <a:pt x="54" y="226"/>
                  </a:lnTo>
                  <a:lnTo>
                    <a:pt x="52" y="224"/>
                  </a:lnTo>
                  <a:lnTo>
                    <a:pt x="52" y="222"/>
                  </a:lnTo>
                  <a:lnTo>
                    <a:pt x="54" y="222"/>
                  </a:lnTo>
                  <a:lnTo>
                    <a:pt x="52" y="220"/>
                  </a:lnTo>
                  <a:lnTo>
                    <a:pt x="52" y="220"/>
                  </a:lnTo>
                  <a:lnTo>
                    <a:pt x="50" y="222"/>
                  </a:lnTo>
                  <a:lnTo>
                    <a:pt x="50" y="222"/>
                  </a:lnTo>
                  <a:lnTo>
                    <a:pt x="48" y="222"/>
                  </a:lnTo>
                  <a:lnTo>
                    <a:pt x="44" y="222"/>
                  </a:lnTo>
                  <a:lnTo>
                    <a:pt x="44" y="222"/>
                  </a:lnTo>
                  <a:lnTo>
                    <a:pt x="42" y="220"/>
                  </a:lnTo>
                  <a:lnTo>
                    <a:pt x="40" y="216"/>
                  </a:lnTo>
                  <a:lnTo>
                    <a:pt x="44" y="210"/>
                  </a:lnTo>
                  <a:lnTo>
                    <a:pt x="44" y="210"/>
                  </a:lnTo>
                  <a:lnTo>
                    <a:pt x="44" y="204"/>
                  </a:lnTo>
                  <a:lnTo>
                    <a:pt x="44" y="198"/>
                  </a:lnTo>
                  <a:lnTo>
                    <a:pt x="42" y="182"/>
                  </a:lnTo>
                  <a:lnTo>
                    <a:pt x="42" y="182"/>
                  </a:lnTo>
                  <a:lnTo>
                    <a:pt x="40" y="178"/>
                  </a:lnTo>
                  <a:lnTo>
                    <a:pt x="38" y="176"/>
                  </a:lnTo>
                  <a:lnTo>
                    <a:pt x="38" y="176"/>
                  </a:lnTo>
                  <a:lnTo>
                    <a:pt x="38" y="174"/>
                  </a:lnTo>
                  <a:lnTo>
                    <a:pt x="38" y="174"/>
                  </a:lnTo>
                  <a:lnTo>
                    <a:pt x="44" y="170"/>
                  </a:lnTo>
                  <a:lnTo>
                    <a:pt x="46" y="168"/>
                  </a:lnTo>
                  <a:lnTo>
                    <a:pt x="44" y="162"/>
                  </a:lnTo>
                  <a:lnTo>
                    <a:pt x="44" y="162"/>
                  </a:lnTo>
                  <a:lnTo>
                    <a:pt x="40" y="154"/>
                  </a:lnTo>
                  <a:lnTo>
                    <a:pt x="42" y="154"/>
                  </a:lnTo>
                  <a:lnTo>
                    <a:pt x="42" y="152"/>
                  </a:lnTo>
                  <a:lnTo>
                    <a:pt x="42" y="152"/>
                  </a:lnTo>
                  <a:lnTo>
                    <a:pt x="40" y="146"/>
                  </a:lnTo>
                  <a:lnTo>
                    <a:pt x="40" y="144"/>
                  </a:lnTo>
                  <a:lnTo>
                    <a:pt x="38" y="144"/>
                  </a:lnTo>
                  <a:lnTo>
                    <a:pt x="38" y="144"/>
                  </a:lnTo>
                  <a:lnTo>
                    <a:pt x="38" y="144"/>
                  </a:lnTo>
                  <a:lnTo>
                    <a:pt x="36" y="140"/>
                  </a:lnTo>
                  <a:lnTo>
                    <a:pt x="34" y="140"/>
                  </a:lnTo>
                  <a:lnTo>
                    <a:pt x="32" y="140"/>
                  </a:lnTo>
                  <a:lnTo>
                    <a:pt x="32" y="138"/>
                  </a:lnTo>
                  <a:lnTo>
                    <a:pt x="32" y="138"/>
                  </a:lnTo>
                  <a:lnTo>
                    <a:pt x="30" y="134"/>
                  </a:lnTo>
                  <a:lnTo>
                    <a:pt x="30" y="134"/>
                  </a:lnTo>
                  <a:lnTo>
                    <a:pt x="30" y="132"/>
                  </a:lnTo>
                  <a:lnTo>
                    <a:pt x="30" y="132"/>
                  </a:lnTo>
                  <a:lnTo>
                    <a:pt x="32" y="128"/>
                  </a:lnTo>
                  <a:lnTo>
                    <a:pt x="34" y="124"/>
                  </a:lnTo>
                  <a:lnTo>
                    <a:pt x="34" y="124"/>
                  </a:lnTo>
                  <a:lnTo>
                    <a:pt x="34" y="122"/>
                  </a:lnTo>
                  <a:lnTo>
                    <a:pt x="36" y="122"/>
                  </a:lnTo>
                  <a:lnTo>
                    <a:pt x="38" y="122"/>
                  </a:lnTo>
                  <a:lnTo>
                    <a:pt x="44" y="120"/>
                  </a:lnTo>
                  <a:lnTo>
                    <a:pt x="44" y="120"/>
                  </a:lnTo>
                  <a:lnTo>
                    <a:pt x="46" y="116"/>
                  </a:lnTo>
                  <a:lnTo>
                    <a:pt x="46" y="114"/>
                  </a:lnTo>
                  <a:lnTo>
                    <a:pt x="44" y="114"/>
                  </a:lnTo>
                  <a:lnTo>
                    <a:pt x="46" y="110"/>
                  </a:lnTo>
                  <a:lnTo>
                    <a:pt x="46" y="110"/>
                  </a:lnTo>
                  <a:lnTo>
                    <a:pt x="48" y="108"/>
                  </a:lnTo>
                  <a:lnTo>
                    <a:pt x="46" y="108"/>
                  </a:lnTo>
                  <a:lnTo>
                    <a:pt x="44" y="106"/>
                  </a:lnTo>
                  <a:lnTo>
                    <a:pt x="44" y="104"/>
                  </a:lnTo>
                  <a:lnTo>
                    <a:pt x="44" y="104"/>
                  </a:lnTo>
                  <a:lnTo>
                    <a:pt x="44" y="102"/>
                  </a:lnTo>
                  <a:lnTo>
                    <a:pt x="44" y="100"/>
                  </a:lnTo>
                  <a:lnTo>
                    <a:pt x="44" y="98"/>
                  </a:lnTo>
                  <a:lnTo>
                    <a:pt x="46" y="94"/>
                  </a:lnTo>
                  <a:lnTo>
                    <a:pt x="46" y="94"/>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Croatia and Slovenia"/>
            <p:cNvSpPr>
              <a:spLocks/>
            </p:cNvSpPr>
            <p:nvPr/>
          </p:nvSpPr>
          <p:spPr bwMode="auto">
            <a:xfrm>
              <a:off x="4470101" y="2125927"/>
              <a:ext cx="256646" cy="166688"/>
            </a:xfrm>
            <a:custGeom>
              <a:avLst/>
              <a:gdLst/>
              <a:ahLst/>
              <a:cxnLst>
                <a:cxn ang="0">
                  <a:pos x="112" y="94"/>
                </a:cxn>
                <a:cxn ang="0">
                  <a:pos x="104" y="88"/>
                </a:cxn>
                <a:cxn ang="0">
                  <a:pos x="106" y="86"/>
                </a:cxn>
                <a:cxn ang="0">
                  <a:pos x="98" y="86"/>
                </a:cxn>
                <a:cxn ang="0">
                  <a:pos x="82" y="80"/>
                </a:cxn>
                <a:cxn ang="0">
                  <a:pos x="82" y="78"/>
                </a:cxn>
                <a:cxn ang="0">
                  <a:pos x="68" y="72"/>
                </a:cxn>
                <a:cxn ang="0">
                  <a:pos x="58" y="66"/>
                </a:cxn>
                <a:cxn ang="0">
                  <a:pos x="40" y="54"/>
                </a:cxn>
                <a:cxn ang="0">
                  <a:pos x="40" y="50"/>
                </a:cxn>
                <a:cxn ang="0">
                  <a:pos x="28" y="42"/>
                </a:cxn>
                <a:cxn ang="0">
                  <a:pos x="24" y="32"/>
                </a:cxn>
                <a:cxn ang="0">
                  <a:pos x="20" y="40"/>
                </a:cxn>
                <a:cxn ang="0">
                  <a:pos x="14" y="40"/>
                </a:cxn>
                <a:cxn ang="0">
                  <a:pos x="10" y="28"/>
                </a:cxn>
                <a:cxn ang="0">
                  <a:pos x="12" y="24"/>
                </a:cxn>
                <a:cxn ang="0">
                  <a:pos x="6" y="18"/>
                </a:cxn>
                <a:cxn ang="0">
                  <a:pos x="2" y="12"/>
                </a:cxn>
                <a:cxn ang="0">
                  <a:pos x="0" y="8"/>
                </a:cxn>
                <a:cxn ang="0">
                  <a:pos x="26" y="4"/>
                </a:cxn>
                <a:cxn ang="0">
                  <a:pos x="34" y="4"/>
                </a:cxn>
                <a:cxn ang="0">
                  <a:pos x="44" y="2"/>
                </a:cxn>
                <a:cxn ang="0">
                  <a:pos x="50" y="0"/>
                </a:cxn>
                <a:cxn ang="0">
                  <a:pos x="56" y="4"/>
                </a:cxn>
                <a:cxn ang="0">
                  <a:pos x="58" y="8"/>
                </a:cxn>
                <a:cxn ang="0">
                  <a:pos x="68" y="14"/>
                </a:cxn>
                <a:cxn ang="0">
                  <a:pos x="84" y="20"/>
                </a:cxn>
                <a:cxn ang="0">
                  <a:pos x="90" y="22"/>
                </a:cxn>
                <a:cxn ang="0">
                  <a:pos x="104" y="14"/>
                </a:cxn>
                <a:cxn ang="0">
                  <a:pos x="112" y="16"/>
                </a:cxn>
                <a:cxn ang="0">
                  <a:pos x="132" y="14"/>
                </a:cxn>
                <a:cxn ang="0">
                  <a:pos x="138" y="22"/>
                </a:cxn>
                <a:cxn ang="0">
                  <a:pos x="142" y="26"/>
                </a:cxn>
                <a:cxn ang="0">
                  <a:pos x="148" y="32"/>
                </a:cxn>
                <a:cxn ang="0">
                  <a:pos x="152" y="38"/>
                </a:cxn>
                <a:cxn ang="0">
                  <a:pos x="156" y="44"/>
                </a:cxn>
                <a:cxn ang="0">
                  <a:pos x="162" y="46"/>
                </a:cxn>
                <a:cxn ang="0">
                  <a:pos x="170" y="48"/>
                </a:cxn>
                <a:cxn ang="0">
                  <a:pos x="174" y="48"/>
                </a:cxn>
                <a:cxn ang="0">
                  <a:pos x="174" y="54"/>
                </a:cxn>
                <a:cxn ang="0">
                  <a:pos x="174" y="60"/>
                </a:cxn>
                <a:cxn ang="0">
                  <a:pos x="180" y="74"/>
                </a:cxn>
                <a:cxn ang="0">
                  <a:pos x="180" y="80"/>
                </a:cxn>
                <a:cxn ang="0">
                  <a:pos x="180" y="88"/>
                </a:cxn>
                <a:cxn ang="0">
                  <a:pos x="184" y="94"/>
                </a:cxn>
                <a:cxn ang="0">
                  <a:pos x="194" y="110"/>
                </a:cxn>
                <a:cxn ang="0">
                  <a:pos x="190" y="114"/>
                </a:cxn>
                <a:cxn ang="0">
                  <a:pos x="184" y="114"/>
                </a:cxn>
                <a:cxn ang="0">
                  <a:pos x="178" y="118"/>
                </a:cxn>
                <a:cxn ang="0">
                  <a:pos x="162" y="122"/>
                </a:cxn>
                <a:cxn ang="0">
                  <a:pos x="152" y="120"/>
                </a:cxn>
                <a:cxn ang="0">
                  <a:pos x="142" y="110"/>
                </a:cxn>
                <a:cxn ang="0">
                  <a:pos x="140" y="106"/>
                </a:cxn>
                <a:cxn ang="0">
                  <a:pos x="134" y="92"/>
                </a:cxn>
                <a:cxn ang="0">
                  <a:pos x="118" y="92"/>
                </a:cxn>
                <a:cxn ang="0">
                  <a:pos x="120" y="96"/>
                </a:cxn>
              </a:cxnLst>
              <a:rect l="0" t="0" r="r" b="b"/>
              <a:pathLst>
                <a:path w="194" h="126">
                  <a:moveTo>
                    <a:pt x="118" y="98"/>
                  </a:moveTo>
                  <a:lnTo>
                    <a:pt x="118" y="98"/>
                  </a:lnTo>
                  <a:lnTo>
                    <a:pt x="116" y="96"/>
                  </a:lnTo>
                  <a:lnTo>
                    <a:pt x="112" y="94"/>
                  </a:lnTo>
                  <a:lnTo>
                    <a:pt x="112" y="94"/>
                  </a:lnTo>
                  <a:lnTo>
                    <a:pt x="108" y="92"/>
                  </a:lnTo>
                  <a:lnTo>
                    <a:pt x="104" y="88"/>
                  </a:lnTo>
                  <a:lnTo>
                    <a:pt x="104" y="88"/>
                  </a:lnTo>
                  <a:lnTo>
                    <a:pt x="102" y="88"/>
                  </a:lnTo>
                  <a:lnTo>
                    <a:pt x="102" y="86"/>
                  </a:lnTo>
                  <a:lnTo>
                    <a:pt x="106" y="86"/>
                  </a:lnTo>
                  <a:lnTo>
                    <a:pt x="106" y="86"/>
                  </a:lnTo>
                  <a:lnTo>
                    <a:pt x="104" y="86"/>
                  </a:lnTo>
                  <a:lnTo>
                    <a:pt x="104" y="86"/>
                  </a:lnTo>
                  <a:lnTo>
                    <a:pt x="98" y="86"/>
                  </a:lnTo>
                  <a:lnTo>
                    <a:pt x="98" y="86"/>
                  </a:lnTo>
                  <a:lnTo>
                    <a:pt x="90" y="84"/>
                  </a:lnTo>
                  <a:lnTo>
                    <a:pt x="84" y="82"/>
                  </a:lnTo>
                  <a:lnTo>
                    <a:pt x="84" y="82"/>
                  </a:lnTo>
                  <a:lnTo>
                    <a:pt x="82" y="80"/>
                  </a:lnTo>
                  <a:lnTo>
                    <a:pt x="84" y="80"/>
                  </a:lnTo>
                  <a:lnTo>
                    <a:pt x="84" y="80"/>
                  </a:lnTo>
                  <a:lnTo>
                    <a:pt x="82" y="78"/>
                  </a:lnTo>
                  <a:lnTo>
                    <a:pt x="82" y="78"/>
                  </a:lnTo>
                  <a:lnTo>
                    <a:pt x="70" y="70"/>
                  </a:lnTo>
                  <a:lnTo>
                    <a:pt x="70" y="70"/>
                  </a:lnTo>
                  <a:lnTo>
                    <a:pt x="68" y="70"/>
                  </a:lnTo>
                  <a:lnTo>
                    <a:pt x="68" y="72"/>
                  </a:lnTo>
                  <a:lnTo>
                    <a:pt x="66" y="72"/>
                  </a:lnTo>
                  <a:lnTo>
                    <a:pt x="64" y="70"/>
                  </a:lnTo>
                  <a:lnTo>
                    <a:pt x="64" y="70"/>
                  </a:lnTo>
                  <a:lnTo>
                    <a:pt x="58" y="66"/>
                  </a:lnTo>
                  <a:lnTo>
                    <a:pt x="52" y="62"/>
                  </a:lnTo>
                  <a:lnTo>
                    <a:pt x="52" y="62"/>
                  </a:lnTo>
                  <a:lnTo>
                    <a:pt x="40" y="56"/>
                  </a:lnTo>
                  <a:lnTo>
                    <a:pt x="40" y="54"/>
                  </a:lnTo>
                  <a:lnTo>
                    <a:pt x="42" y="52"/>
                  </a:lnTo>
                  <a:lnTo>
                    <a:pt x="42" y="52"/>
                  </a:lnTo>
                  <a:lnTo>
                    <a:pt x="44" y="52"/>
                  </a:lnTo>
                  <a:lnTo>
                    <a:pt x="40" y="50"/>
                  </a:lnTo>
                  <a:lnTo>
                    <a:pt x="40" y="50"/>
                  </a:lnTo>
                  <a:lnTo>
                    <a:pt x="32" y="46"/>
                  </a:lnTo>
                  <a:lnTo>
                    <a:pt x="30" y="44"/>
                  </a:lnTo>
                  <a:lnTo>
                    <a:pt x="28" y="42"/>
                  </a:lnTo>
                  <a:lnTo>
                    <a:pt x="28" y="42"/>
                  </a:lnTo>
                  <a:lnTo>
                    <a:pt x="28" y="36"/>
                  </a:lnTo>
                  <a:lnTo>
                    <a:pt x="26" y="34"/>
                  </a:lnTo>
                  <a:lnTo>
                    <a:pt x="24" y="32"/>
                  </a:lnTo>
                  <a:lnTo>
                    <a:pt x="24" y="30"/>
                  </a:lnTo>
                  <a:lnTo>
                    <a:pt x="24" y="30"/>
                  </a:lnTo>
                  <a:lnTo>
                    <a:pt x="22" y="36"/>
                  </a:lnTo>
                  <a:lnTo>
                    <a:pt x="20" y="40"/>
                  </a:lnTo>
                  <a:lnTo>
                    <a:pt x="20" y="40"/>
                  </a:lnTo>
                  <a:lnTo>
                    <a:pt x="16" y="42"/>
                  </a:lnTo>
                  <a:lnTo>
                    <a:pt x="16" y="42"/>
                  </a:lnTo>
                  <a:lnTo>
                    <a:pt x="14" y="40"/>
                  </a:lnTo>
                  <a:lnTo>
                    <a:pt x="14" y="40"/>
                  </a:lnTo>
                  <a:lnTo>
                    <a:pt x="10" y="32"/>
                  </a:lnTo>
                  <a:lnTo>
                    <a:pt x="8" y="30"/>
                  </a:lnTo>
                  <a:lnTo>
                    <a:pt x="10" y="28"/>
                  </a:lnTo>
                  <a:lnTo>
                    <a:pt x="10" y="28"/>
                  </a:lnTo>
                  <a:lnTo>
                    <a:pt x="12" y="26"/>
                  </a:lnTo>
                  <a:lnTo>
                    <a:pt x="14" y="26"/>
                  </a:lnTo>
                  <a:lnTo>
                    <a:pt x="12" y="24"/>
                  </a:lnTo>
                  <a:lnTo>
                    <a:pt x="10" y="24"/>
                  </a:lnTo>
                  <a:lnTo>
                    <a:pt x="10" y="24"/>
                  </a:lnTo>
                  <a:lnTo>
                    <a:pt x="10" y="20"/>
                  </a:lnTo>
                  <a:lnTo>
                    <a:pt x="6" y="18"/>
                  </a:lnTo>
                  <a:lnTo>
                    <a:pt x="4" y="16"/>
                  </a:lnTo>
                  <a:lnTo>
                    <a:pt x="2" y="14"/>
                  </a:lnTo>
                  <a:lnTo>
                    <a:pt x="2" y="14"/>
                  </a:lnTo>
                  <a:lnTo>
                    <a:pt x="2" y="12"/>
                  </a:lnTo>
                  <a:lnTo>
                    <a:pt x="2" y="12"/>
                  </a:lnTo>
                  <a:lnTo>
                    <a:pt x="0" y="10"/>
                  </a:lnTo>
                  <a:lnTo>
                    <a:pt x="0" y="8"/>
                  </a:lnTo>
                  <a:lnTo>
                    <a:pt x="0" y="8"/>
                  </a:lnTo>
                  <a:lnTo>
                    <a:pt x="14" y="10"/>
                  </a:lnTo>
                  <a:lnTo>
                    <a:pt x="20" y="8"/>
                  </a:lnTo>
                  <a:lnTo>
                    <a:pt x="20" y="8"/>
                  </a:lnTo>
                  <a:lnTo>
                    <a:pt x="26" y="4"/>
                  </a:lnTo>
                  <a:lnTo>
                    <a:pt x="28" y="2"/>
                  </a:lnTo>
                  <a:lnTo>
                    <a:pt x="30" y="2"/>
                  </a:lnTo>
                  <a:lnTo>
                    <a:pt x="30" y="2"/>
                  </a:lnTo>
                  <a:lnTo>
                    <a:pt x="34" y="4"/>
                  </a:lnTo>
                  <a:lnTo>
                    <a:pt x="36" y="2"/>
                  </a:lnTo>
                  <a:lnTo>
                    <a:pt x="36" y="2"/>
                  </a:lnTo>
                  <a:lnTo>
                    <a:pt x="40" y="0"/>
                  </a:lnTo>
                  <a:lnTo>
                    <a:pt x="44" y="2"/>
                  </a:lnTo>
                  <a:lnTo>
                    <a:pt x="44" y="2"/>
                  </a:lnTo>
                  <a:lnTo>
                    <a:pt x="48" y="4"/>
                  </a:lnTo>
                  <a:lnTo>
                    <a:pt x="50" y="2"/>
                  </a:lnTo>
                  <a:lnTo>
                    <a:pt x="50" y="0"/>
                  </a:lnTo>
                  <a:lnTo>
                    <a:pt x="50" y="0"/>
                  </a:lnTo>
                  <a:lnTo>
                    <a:pt x="54" y="2"/>
                  </a:lnTo>
                  <a:lnTo>
                    <a:pt x="56" y="2"/>
                  </a:lnTo>
                  <a:lnTo>
                    <a:pt x="56" y="4"/>
                  </a:lnTo>
                  <a:lnTo>
                    <a:pt x="56" y="4"/>
                  </a:lnTo>
                  <a:lnTo>
                    <a:pt x="56" y="4"/>
                  </a:lnTo>
                  <a:lnTo>
                    <a:pt x="58" y="6"/>
                  </a:lnTo>
                  <a:lnTo>
                    <a:pt x="58" y="8"/>
                  </a:lnTo>
                  <a:lnTo>
                    <a:pt x="58" y="8"/>
                  </a:lnTo>
                  <a:lnTo>
                    <a:pt x="60" y="10"/>
                  </a:lnTo>
                  <a:lnTo>
                    <a:pt x="60" y="10"/>
                  </a:lnTo>
                  <a:lnTo>
                    <a:pt x="68" y="14"/>
                  </a:lnTo>
                  <a:lnTo>
                    <a:pt x="72" y="16"/>
                  </a:lnTo>
                  <a:lnTo>
                    <a:pt x="72" y="16"/>
                  </a:lnTo>
                  <a:lnTo>
                    <a:pt x="78" y="18"/>
                  </a:lnTo>
                  <a:lnTo>
                    <a:pt x="84" y="20"/>
                  </a:lnTo>
                  <a:lnTo>
                    <a:pt x="84" y="20"/>
                  </a:lnTo>
                  <a:lnTo>
                    <a:pt x="86" y="22"/>
                  </a:lnTo>
                  <a:lnTo>
                    <a:pt x="90" y="22"/>
                  </a:lnTo>
                  <a:lnTo>
                    <a:pt x="90" y="22"/>
                  </a:lnTo>
                  <a:lnTo>
                    <a:pt x="94" y="20"/>
                  </a:lnTo>
                  <a:lnTo>
                    <a:pt x="96" y="16"/>
                  </a:lnTo>
                  <a:lnTo>
                    <a:pt x="96" y="16"/>
                  </a:lnTo>
                  <a:lnTo>
                    <a:pt x="104" y="14"/>
                  </a:lnTo>
                  <a:lnTo>
                    <a:pt x="108" y="14"/>
                  </a:lnTo>
                  <a:lnTo>
                    <a:pt x="110" y="14"/>
                  </a:lnTo>
                  <a:lnTo>
                    <a:pt x="110" y="14"/>
                  </a:lnTo>
                  <a:lnTo>
                    <a:pt x="112" y="16"/>
                  </a:lnTo>
                  <a:lnTo>
                    <a:pt x="120" y="14"/>
                  </a:lnTo>
                  <a:lnTo>
                    <a:pt x="120" y="14"/>
                  </a:lnTo>
                  <a:lnTo>
                    <a:pt x="130" y="14"/>
                  </a:lnTo>
                  <a:lnTo>
                    <a:pt x="132" y="14"/>
                  </a:lnTo>
                  <a:lnTo>
                    <a:pt x="132" y="14"/>
                  </a:lnTo>
                  <a:lnTo>
                    <a:pt x="134" y="18"/>
                  </a:lnTo>
                  <a:lnTo>
                    <a:pt x="136" y="20"/>
                  </a:lnTo>
                  <a:lnTo>
                    <a:pt x="138" y="22"/>
                  </a:lnTo>
                  <a:lnTo>
                    <a:pt x="138" y="24"/>
                  </a:lnTo>
                  <a:lnTo>
                    <a:pt x="138" y="24"/>
                  </a:lnTo>
                  <a:lnTo>
                    <a:pt x="140" y="26"/>
                  </a:lnTo>
                  <a:lnTo>
                    <a:pt x="142" y="26"/>
                  </a:lnTo>
                  <a:lnTo>
                    <a:pt x="144" y="28"/>
                  </a:lnTo>
                  <a:lnTo>
                    <a:pt x="146" y="30"/>
                  </a:lnTo>
                  <a:lnTo>
                    <a:pt x="146" y="30"/>
                  </a:lnTo>
                  <a:lnTo>
                    <a:pt x="148" y="32"/>
                  </a:lnTo>
                  <a:lnTo>
                    <a:pt x="152" y="36"/>
                  </a:lnTo>
                  <a:lnTo>
                    <a:pt x="152" y="36"/>
                  </a:lnTo>
                  <a:lnTo>
                    <a:pt x="152" y="38"/>
                  </a:lnTo>
                  <a:lnTo>
                    <a:pt x="152" y="38"/>
                  </a:lnTo>
                  <a:lnTo>
                    <a:pt x="150" y="40"/>
                  </a:lnTo>
                  <a:lnTo>
                    <a:pt x="150" y="40"/>
                  </a:lnTo>
                  <a:lnTo>
                    <a:pt x="154" y="44"/>
                  </a:lnTo>
                  <a:lnTo>
                    <a:pt x="156" y="44"/>
                  </a:lnTo>
                  <a:lnTo>
                    <a:pt x="158" y="44"/>
                  </a:lnTo>
                  <a:lnTo>
                    <a:pt x="158" y="44"/>
                  </a:lnTo>
                  <a:lnTo>
                    <a:pt x="160" y="44"/>
                  </a:lnTo>
                  <a:lnTo>
                    <a:pt x="162" y="46"/>
                  </a:lnTo>
                  <a:lnTo>
                    <a:pt x="166" y="50"/>
                  </a:lnTo>
                  <a:lnTo>
                    <a:pt x="166" y="50"/>
                  </a:lnTo>
                  <a:lnTo>
                    <a:pt x="168" y="50"/>
                  </a:lnTo>
                  <a:lnTo>
                    <a:pt x="170" y="48"/>
                  </a:lnTo>
                  <a:lnTo>
                    <a:pt x="172" y="48"/>
                  </a:lnTo>
                  <a:lnTo>
                    <a:pt x="174" y="48"/>
                  </a:lnTo>
                  <a:lnTo>
                    <a:pt x="174" y="48"/>
                  </a:lnTo>
                  <a:lnTo>
                    <a:pt x="174" y="48"/>
                  </a:lnTo>
                  <a:lnTo>
                    <a:pt x="174" y="50"/>
                  </a:lnTo>
                  <a:lnTo>
                    <a:pt x="170" y="52"/>
                  </a:lnTo>
                  <a:lnTo>
                    <a:pt x="170" y="52"/>
                  </a:lnTo>
                  <a:lnTo>
                    <a:pt x="174" y="54"/>
                  </a:lnTo>
                  <a:lnTo>
                    <a:pt x="178" y="56"/>
                  </a:lnTo>
                  <a:lnTo>
                    <a:pt x="178" y="56"/>
                  </a:lnTo>
                  <a:lnTo>
                    <a:pt x="176" y="58"/>
                  </a:lnTo>
                  <a:lnTo>
                    <a:pt x="174" y="60"/>
                  </a:lnTo>
                  <a:lnTo>
                    <a:pt x="176" y="64"/>
                  </a:lnTo>
                  <a:lnTo>
                    <a:pt x="176" y="64"/>
                  </a:lnTo>
                  <a:lnTo>
                    <a:pt x="178" y="70"/>
                  </a:lnTo>
                  <a:lnTo>
                    <a:pt x="180" y="74"/>
                  </a:lnTo>
                  <a:lnTo>
                    <a:pt x="180" y="74"/>
                  </a:lnTo>
                  <a:lnTo>
                    <a:pt x="182" y="78"/>
                  </a:lnTo>
                  <a:lnTo>
                    <a:pt x="180" y="80"/>
                  </a:lnTo>
                  <a:lnTo>
                    <a:pt x="180" y="80"/>
                  </a:lnTo>
                  <a:lnTo>
                    <a:pt x="178" y="82"/>
                  </a:lnTo>
                  <a:lnTo>
                    <a:pt x="180" y="84"/>
                  </a:lnTo>
                  <a:lnTo>
                    <a:pt x="180" y="86"/>
                  </a:lnTo>
                  <a:lnTo>
                    <a:pt x="180" y="88"/>
                  </a:lnTo>
                  <a:lnTo>
                    <a:pt x="180" y="88"/>
                  </a:lnTo>
                  <a:lnTo>
                    <a:pt x="178" y="90"/>
                  </a:lnTo>
                  <a:lnTo>
                    <a:pt x="180" y="92"/>
                  </a:lnTo>
                  <a:lnTo>
                    <a:pt x="184" y="94"/>
                  </a:lnTo>
                  <a:lnTo>
                    <a:pt x="184" y="94"/>
                  </a:lnTo>
                  <a:lnTo>
                    <a:pt x="192" y="100"/>
                  </a:lnTo>
                  <a:lnTo>
                    <a:pt x="194" y="106"/>
                  </a:lnTo>
                  <a:lnTo>
                    <a:pt x="194" y="110"/>
                  </a:lnTo>
                  <a:lnTo>
                    <a:pt x="194" y="110"/>
                  </a:lnTo>
                  <a:lnTo>
                    <a:pt x="192" y="112"/>
                  </a:lnTo>
                  <a:lnTo>
                    <a:pt x="190" y="114"/>
                  </a:lnTo>
                  <a:lnTo>
                    <a:pt x="190" y="114"/>
                  </a:lnTo>
                  <a:lnTo>
                    <a:pt x="190" y="116"/>
                  </a:lnTo>
                  <a:lnTo>
                    <a:pt x="188" y="116"/>
                  </a:lnTo>
                  <a:lnTo>
                    <a:pt x="184" y="114"/>
                  </a:lnTo>
                  <a:lnTo>
                    <a:pt x="184" y="114"/>
                  </a:lnTo>
                  <a:lnTo>
                    <a:pt x="182" y="114"/>
                  </a:lnTo>
                  <a:lnTo>
                    <a:pt x="180" y="114"/>
                  </a:lnTo>
                  <a:lnTo>
                    <a:pt x="178" y="118"/>
                  </a:lnTo>
                  <a:lnTo>
                    <a:pt x="178" y="118"/>
                  </a:lnTo>
                  <a:lnTo>
                    <a:pt x="174" y="122"/>
                  </a:lnTo>
                  <a:lnTo>
                    <a:pt x="170" y="122"/>
                  </a:lnTo>
                  <a:lnTo>
                    <a:pt x="162" y="122"/>
                  </a:lnTo>
                  <a:lnTo>
                    <a:pt x="162" y="122"/>
                  </a:lnTo>
                  <a:lnTo>
                    <a:pt x="158" y="122"/>
                  </a:lnTo>
                  <a:lnTo>
                    <a:pt x="154" y="126"/>
                  </a:lnTo>
                  <a:lnTo>
                    <a:pt x="154" y="126"/>
                  </a:lnTo>
                  <a:lnTo>
                    <a:pt x="152" y="120"/>
                  </a:lnTo>
                  <a:lnTo>
                    <a:pt x="150" y="116"/>
                  </a:lnTo>
                  <a:lnTo>
                    <a:pt x="144" y="112"/>
                  </a:lnTo>
                  <a:lnTo>
                    <a:pt x="144" y="112"/>
                  </a:lnTo>
                  <a:lnTo>
                    <a:pt x="142" y="110"/>
                  </a:lnTo>
                  <a:lnTo>
                    <a:pt x="142" y="108"/>
                  </a:lnTo>
                  <a:lnTo>
                    <a:pt x="140" y="108"/>
                  </a:lnTo>
                  <a:lnTo>
                    <a:pt x="140" y="106"/>
                  </a:lnTo>
                  <a:lnTo>
                    <a:pt x="140" y="106"/>
                  </a:lnTo>
                  <a:lnTo>
                    <a:pt x="138" y="100"/>
                  </a:lnTo>
                  <a:lnTo>
                    <a:pt x="136" y="94"/>
                  </a:lnTo>
                  <a:lnTo>
                    <a:pt x="136" y="94"/>
                  </a:lnTo>
                  <a:lnTo>
                    <a:pt x="134" y="92"/>
                  </a:lnTo>
                  <a:lnTo>
                    <a:pt x="130" y="90"/>
                  </a:lnTo>
                  <a:lnTo>
                    <a:pt x="124" y="90"/>
                  </a:lnTo>
                  <a:lnTo>
                    <a:pt x="124" y="90"/>
                  </a:lnTo>
                  <a:lnTo>
                    <a:pt x="118" y="92"/>
                  </a:lnTo>
                  <a:lnTo>
                    <a:pt x="118" y="92"/>
                  </a:lnTo>
                  <a:lnTo>
                    <a:pt x="118" y="94"/>
                  </a:lnTo>
                  <a:lnTo>
                    <a:pt x="118" y="94"/>
                  </a:lnTo>
                  <a:lnTo>
                    <a:pt x="120" y="96"/>
                  </a:lnTo>
                  <a:lnTo>
                    <a:pt x="120" y="96"/>
                  </a:lnTo>
                  <a:lnTo>
                    <a:pt x="118" y="98"/>
                  </a:lnTo>
                  <a:lnTo>
                    <a:pt x="118" y="98"/>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Czech Republic"/>
            <p:cNvSpPr>
              <a:spLocks/>
            </p:cNvSpPr>
            <p:nvPr/>
          </p:nvSpPr>
          <p:spPr bwMode="auto">
            <a:xfrm>
              <a:off x="4427768" y="2012156"/>
              <a:ext cx="166688" cy="71438"/>
            </a:xfrm>
            <a:custGeom>
              <a:avLst/>
              <a:gdLst/>
              <a:ahLst/>
              <a:cxnLst>
                <a:cxn ang="0">
                  <a:pos x="100" y="54"/>
                </a:cxn>
                <a:cxn ang="0">
                  <a:pos x="106" y="48"/>
                </a:cxn>
                <a:cxn ang="0">
                  <a:pos x="110" y="46"/>
                </a:cxn>
                <a:cxn ang="0">
                  <a:pos x="118" y="38"/>
                </a:cxn>
                <a:cxn ang="0">
                  <a:pos x="126" y="28"/>
                </a:cxn>
                <a:cxn ang="0">
                  <a:pos x="116" y="22"/>
                </a:cxn>
                <a:cxn ang="0">
                  <a:pos x="102" y="18"/>
                </a:cxn>
                <a:cxn ang="0">
                  <a:pos x="100" y="16"/>
                </a:cxn>
                <a:cxn ang="0">
                  <a:pos x="96" y="12"/>
                </a:cxn>
                <a:cxn ang="0">
                  <a:pos x="92" y="12"/>
                </a:cxn>
                <a:cxn ang="0">
                  <a:pos x="86" y="10"/>
                </a:cxn>
                <a:cxn ang="0">
                  <a:pos x="86" y="12"/>
                </a:cxn>
                <a:cxn ang="0">
                  <a:pos x="86" y="14"/>
                </a:cxn>
                <a:cxn ang="0">
                  <a:pos x="82" y="16"/>
                </a:cxn>
                <a:cxn ang="0">
                  <a:pos x="82" y="16"/>
                </a:cxn>
                <a:cxn ang="0">
                  <a:pos x="76" y="12"/>
                </a:cxn>
                <a:cxn ang="0">
                  <a:pos x="72" y="10"/>
                </a:cxn>
                <a:cxn ang="0">
                  <a:pos x="52" y="6"/>
                </a:cxn>
                <a:cxn ang="0">
                  <a:pos x="48" y="6"/>
                </a:cxn>
                <a:cxn ang="0">
                  <a:pos x="44" y="6"/>
                </a:cxn>
                <a:cxn ang="0">
                  <a:pos x="40" y="2"/>
                </a:cxn>
                <a:cxn ang="0">
                  <a:pos x="34" y="4"/>
                </a:cxn>
                <a:cxn ang="0">
                  <a:pos x="30" y="8"/>
                </a:cxn>
                <a:cxn ang="0">
                  <a:pos x="24" y="10"/>
                </a:cxn>
                <a:cxn ang="0">
                  <a:pos x="12" y="14"/>
                </a:cxn>
                <a:cxn ang="0">
                  <a:pos x="0" y="14"/>
                </a:cxn>
                <a:cxn ang="0">
                  <a:pos x="0" y="16"/>
                </a:cxn>
                <a:cxn ang="0">
                  <a:pos x="8" y="26"/>
                </a:cxn>
                <a:cxn ang="0">
                  <a:pos x="12" y="30"/>
                </a:cxn>
                <a:cxn ang="0">
                  <a:pos x="16" y="32"/>
                </a:cxn>
                <a:cxn ang="0">
                  <a:pos x="28" y="40"/>
                </a:cxn>
                <a:cxn ang="0">
                  <a:pos x="32" y="42"/>
                </a:cxn>
                <a:cxn ang="0">
                  <a:pos x="32" y="46"/>
                </a:cxn>
                <a:cxn ang="0">
                  <a:pos x="40" y="48"/>
                </a:cxn>
                <a:cxn ang="0">
                  <a:pos x="44" y="48"/>
                </a:cxn>
                <a:cxn ang="0">
                  <a:pos x="48" y="48"/>
                </a:cxn>
                <a:cxn ang="0">
                  <a:pos x="50" y="44"/>
                </a:cxn>
                <a:cxn ang="0">
                  <a:pos x="50" y="38"/>
                </a:cxn>
                <a:cxn ang="0">
                  <a:pos x="52" y="38"/>
                </a:cxn>
                <a:cxn ang="0">
                  <a:pos x="62" y="42"/>
                </a:cxn>
                <a:cxn ang="0">
                  <a:pos x="64" y="44"/>
                </a:cxn>
                <a:cxn ang="0">
                  <a:pos x="68" y="42"/>
                </a:cxn>
                <a:cxn ang="0">
                  <a:pos x="72" y="42"/>
                </a:cxn>
                <a:cxn ang="0">
                  <a:pos x="90" y="52"/>
                </a:cxn>
                <a:cxn ang="0">
                  <a:pos x="94" y="54"/>
                </a:cxn>
                <a:cxn ang="0">
                  <a:pos x="100" y="54"/>
                </a:cxn>
              </a:cxnLst>
              <a:rect l="0" t="0" r="r" b="b"/>
              <a:pathLst>
                <a:path w="126" h="54">
                  <a:moveTo>
                    <a:pt x="100" y="54"/>
                  </a:moveTo>
                  <a:lnTo>
                    <a:pt x="100" y="54"/>
                  </a:lnTo>
                  <a:lnTo>
                    <a:pt x="102" y="52"/>
                  </a:lnTo>
                  <a:lnTo>
                    <a:pt x="106" y="48"/>
                  </a:lnTo>
                  <a:lnTo>
                    <a:pt x="110" y="46"/>
                  </a:lnTo>
                  <a:lnTo>
                    <a:pt x="110" y="46"/>
                  </a:lnTo>
                  <a:lnTo>
                    <a:pt x="118" y="42"/>
                  </a:lnTo>
                  <a:lnTo>
                    <a:pt x="118" y="38"/>
                  </a:lnTo>
                  <a:lnTo>
                    <a:pt x="120" y="34"/>
                  </a:lnTo>
                  <a:lnTo>
                    <a:pt x="126" y="28"/>
                  </a:lnTo>
                  <a:lnTo>
                    <a:pt x="126" y="28"/>
                  </a:lnTo>
                  <a:lnTo>
                    <a:pt x="116" y="22"/>
                  </a:lnTo>
                  <a:lnTo>
                    <a:pt x="108" y="20"/>
                  </a:lnTo>
                  <a:lnTo>
                    <a:pt x="102" y="18"/>
                  </a:lnTo>
                  <a:lnTo>
                    <a:pt x="100" y="16"/>
                  </a:lnTo>
                  <a:lnTo>
                    <a:pt x="100" y="16"/>
                  </a:lnTo>
                  <a:lnTo>
                    <a:pt x="98" y="12"/>
                  </a:lnTo>
                  <a:lnTo>
                    <a:pt x="96" y="12"/>
                  </a:lnTo>
                  <a:lnTo>
                    <a:pt x="96" y="12"/>
                  </a:lnTo>
                  <a:lnTo>
                    <a:pt x="92" y="12"/>
                  </a:lnTo>
                  <a:lnTo>
                    <a:pt x="88" y="10"/>
                  </a:lnTo>
                  <a:lnTo>
                    <a:pt x="86" y="10"/>
                  </a:lnTo>
                  <a:lnTo>
                    <a:pt x="86" y="12"/>
                  </a:lnTo>
                  <a:lnTo>
                    <a:pt x="86" y="12"/>
                  </a:lnTo>
                  <a:lnTo>
                    <a:pt x="88" y="14"/>
                  </a:lnTo>
                  <a:lnTo>
                    <a:pt x="86" y="14"/>
                  </a:lnTo>
                  <a:lnTo>
                    <a:pt x="84" y="14"/>
                  </a:lnTo>
                  <a:lnTo>
                    <a:pt x="82" y="16"/>
                  </a:lnTo>
                  <a:lnTo>
                    <a:pt x="82" y="16"/>
                  </a:lnTo>
                  <a:lnTo>
                    <a:pt x="82" y="16"/>
                  </a:lnTo>
                  <a:lnTo>
                    <a:pt x="80" y="14"/>
                  </a:lnTo>
                  <a:lnTo>
                    <a:pt x="76" y="12"/>
                  </a:lnTo>
                  <a:lnTo>
                    <a:pt x="72" y="10"/>
                  </a:lnTo>
                  <a:lnTo>
                    <a:pt x="72" y="10"/>
                  </a:lnTo>
                  <a:lnTo>
                    <a:pt x="58" y="8"/>
                  </a:lnTo>
                  <a:lnTo>
                    <a:pt x="52" y="6"/>
                  </a:lnTo>
                  <a:lnTo>
                    <a:pt x="50" y="4"/>
                  </a:lnTo>
                  <a:lnTo>
                    <a:pt x="48" y="6"/>
                  </a:lnTo>
                  <a:lnTo>
                    <a:pt x="48" y="6"/>
                  </a:lnTo>
                  <a:lnTo>
                    <a:pt x="44" y="6"/>
                  </a:lnTo>
                  <a:lnTo>
                    <a:pt x="40" y="2"/>
                  </a:lnTo>
                  <a:lnTo>
                    <a:pt x="40" y="2"/>
                  </a:lnTo>
                  <a:lnTo>
                    <a:pt x="38" y="0"/>
                  </a:lnTo>
                  <a:lnTo>
                    <a:pt x="34" y="4"/>
                  </a:lnTo>
                  <a:lnTo>
                    <a:pt x="34" y="4"/>
                  </a:lnTo>
                  <a:lnTo>
                    <a:pt x="30" y="8"/>
                  </a:lnTo>
                  <a:lnTo>
                    <a:pt x="24" y="10"/>
                  </a:lnTo>
                  <a:lnTo>
                    <a:pt x="24" y="10"/>
                  </a:lnTo>
                  <a:lnTo>
                    <a:pt x="12" y="14"/>
                  </a:lnTo>
                  <a:lnTo>
                    <a:pt x="12" y="14"/>
                  </a:lnTo>
                  <a:lnTo>
                    <a:pt x="4" y="14"/>
                  </a:lnTo>
                  <a:lnTo>
                    <a:pt x="0" y="14"/>
                  </a:lnTo>
                  <a:lnTo>
                    <a:pt x="0" y="16"/>
                  </a:lnTo>
                  <a:lnTo>
                    <a:pt x="0" y="16"/>
                  </a:lnTo>
                  <a:lnTo>
                    <a:pt x="4" y="20"/>
                  </a:lnTo>
                  <a:lnTo>
                    <a:pt x="8" y="26"/>
                  </a:lnTo>
                  <a:lnTo>
                    <a:pt x="8" y="26"/>
                  </a:lnTo>
                  <a:lnTo>
                    <a:pt x="12" y="30"/>
                  </a:lnTo>
                  <a:lnTo>
                    <a:pt x="16" y="32"/>
                  </a:lnTo>
                  <a:lnTo>
                    <a:pt x="16" y="32"/>
                  </a:lnTo>
                  <a:lnTo>
                    <a:pt x="24" y="38"/>
                  </a:lnTo>
                  <a:lnTo>
                    <a:pt x="28" y="40"/>
                  </a:lnTo>
                  <a:lnTo>
                    <a:pt x="28" y="40"/>
                  </a:lnTo>
                  <a:lnTo>
                    <a:pt x="32" y="42"/>
                  </a:lnTo>
                  <a:lnTo>
                    <a:pt x="32" y="46"/>
                  </a:lnTo>
                  <a:lnTo>
                    <a:pt x="32" y="46"/>
                  </a:lnTo>
                  <a:lnTo>
                    <a:pt x="38" y="48"/>
                  </a:lnTo>
                  <a:lnTo>
                    <a:pt x="40" y="48"/>
                  </a:lnTo>
                  <a:lnTo>
                    <a:pt x="40" y="48"/>
                  </a:lnTo>
                  <a:lnTo>
                    <a:pt x="44" y="48"/>
                  </a:lnTo>
                  <a:lnTo>
                    <a:pt x="46" y="48"/>
                  </a:lnTo>
                  <a:lnTo>
                    <a:pt x="48" y="48"/>
                  </a:lnTo>
                  <a:lnTo>
                    <a:pt x="48" y="48"/>
                  </a:lnTo>
                  <a:lnTo>
                    <a:pt x="50" y="44"/>
                  </a:lnTo>
                  <a:lnTo>
                    <a:pt x="50" y="40"/>
                  </a:lnTo>
                  <a:lnTo>
                    <a:pt x="50" y="38"/>
                  </a:lnTo>
                  <a:lnTo>
                    <a:pt x="52" y="38"/>
                  </a:lnTo>
                  <a:lnTo>
                    <a:pt x="52" y="38"/>
                  </a:lnTo>
                  <a:lnTo>
                    <a:pt x="58" y="40"/>
                  </a:lnTo>
                  <a:lnTo>
                    <a:pt x="62" y="42"/>
                  </a:lnTo>
                  <a:lnTo>
                    <a:pt x="62" y="42"/>
                  </a:lnTo>
                  <a:lnTo>
                    <a:pt x="64" y="44"/>
                  </a:lnTo>
                  <a:lnTo>
                    <a:pt x="66" y="42"/>
                  </a:lnTo>
                  <a:lnTo>
                    <a:pt x="68" y="42"/>
                  </a:lnTo>
                  <a:lnTo>
                    <a:pt x="72" y="42"/>
                  </a:lnTo>
                  <a:lnTo>
                    <a:pt x="72" y="42"/>
                  </a:lnTo>
                  <a:lnTo>
                    <a:pt x="82" y="48"/>
                  </a:lnTo>
                  <a:lnTo>
                    <a:pt x="90" y="52"/>
                  </a:lnTo>
                  <a:lnTo>
                    <a:pt x="90" y="52"/>
                  </a:lnTo>
                  <a:lnTo>
                    <a:pt x="94" y="54"/>
                  </a:lnTo>
                  <a:lnTo>
                    <a:pt x="96" y="54"/>
                  </a:lnTo>
                  <a:lnTo>
                    <a:pt x="100" y="54"/>
                  </a:lnTo>
                  <a:lnTo>
                    <a:pt x="100" y="54"/>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Denmark"/>
            <p:cNvSpPr>
              <a:spLocks/>
            </p:cNvSpPr>
            <p:nvPr/>
          </p:nvSpPr>
          <p:spPr bwMode="auto">
            <a:xfrm>
              <a:off x="4321934" y="1856050"/>
              <a:ext cx="95250" cy="68792"/>
            </a:xfrm>
            <a:custGeom>
              <a:avLst/>
              <a:gdLst/>
              <a:ahLst/>
              <a:cxnLst/>
              <a:rect l="l" t="t" r="r" b="b"/>
              <a:pathLst>
                <a:path w="95250" h="68792">
                  <a:moveTo>
                    <a:pt x="47625" y="52918"/>
                  </a:moveTo>
                  <a:lnTo>
                    <a:pt x="50271" y="52918"/>
                  </a:lnTo>
                  <a:lnTo>
                    <a:pt x="52917" y="55564"/>
                  </a:lnTo>
                  <a:lnTo>
                    <a:pt x="55563" y="55564"/>
                  </a:lnTo>
                  <a:lnTo>
                    <a:pt x="55563" y="52918"/>
                  </a:lnTo>
                  <a:lnTo>
                    <a:pt x="58208" y="55564"/>
                  </a:lnTo>
                  <a:lnTo>
                    <a:pt x="60854" y="58210"/>
                  </a:lnTo>
                  <a:lnTo>
                    <a:pt x="58208" y="60855"/>
                  </a:lnTo>
                  <a:lnTo>
                    <a:pt x="55563" y="63501"/>
                  </a:lnTo>
                  <a:lnTo>
                    <a:pt x="50271" y="63501"/>
                  </a:lnTo>
                  <a:lnTo>
                    <a:pt x="44979" y="60855"/>
                  </a:lnTo>
                  <a:lnTo>
                    <a:pt x="37042" y="58210"/>
                  </a:lnTo>
                  <a:lnTo>
                    <a:pt x="34396" y="55564"/>
                  </a:lnTo>
                  <a:lnTo>
                    <a:pt x="37042" y="55564"/>
                  </a:lnTo>
                  <a:close/>
                  <a:moveTo>
                    <a:pt x="87313" y="34397"/>
                  </a:moveTo>
                  <a:lnTo>
                    <a:pt x="92604" y="34397"/>
                  </a:lnTo>
                  <a:lnTo>
                    <a:pt x="95250" y="34397"/>
                  </a:lnTo>
                  <a:lnTo>
                    <a:pt x="95250" y="39689"/>
                  </a:lnTo>
                  <a:lnTo>
                    <a:pt x="95250" y="44980"/>
                  </a:lnTo>
                  <a:lnTo>
                    <a:pt x="92604" y="47626"/>
                  </a:lnTo>
                  <a:lnTo>
                    <a:pt x="89959" y="50272"/>
                  </a:lnTo>
                  <a:lnTo>
                    <a:pt x="92604" y="52918"/>
                  </a:lnTo>
                  <a:lnTo>
                    <a:pt x="95250" y="52918"/>
                  </a:lnTo>
                  <a:lnTo>
                    <a:pt x="92604" y="55564"/>
                  </a:lnTo>
                  <a:lnTo>
                    <a:pt x="89959" y="58210"/>
                  </a:lnTo>
                  <a:lnTo>
                    <a:pt x="87313" y="60855"/>
                  </a:lnTo>
                  <a:lnTo>
                    <a:pt x="89959" y="66147"/>
                  </a:lnTo>
                  <a:lnTo>
                    <a:pt x="84667" y="66147"/>
                  </a:lnTo>
                  <a:lnTo>
                    <a:pt x="76729" y="63501"/>
                  </a:lnTo>
                  <a:lnTo>
                    <a:pt x="74084" y="63501"/>
                  </a:lnTo>
                  <a:lnTo>
                    <a:pt x="74084" y="60855"/>
                  </a:lnTo>
                  <a:lnTo>
                    <a:pt x="76729" y="60855"/>
                  </a:lnTo>
                  <a:lnTo>
                    <a:pt x="79375" y="58210"/>
                  </a:lnTo>
                  <a:lnTo>
                    <a:pt x="74084" y="60855"/>
                  </a:lnTo>
                  <a:lnTo>
                    <a:pt x="68792" y="60855"/>
                  </a:lnTo>
                  <a:lnTo>
                    <a:pt x="66146" y="58210"/>
                  </a:lnTo>
                  <a:lnTo>
                    <a:pt x="66146" y="52918"/>
                  </a:lnTo>
                  <a:lnTo>
                    <a:pt x="66146" y="50272"/>
                  </a:lnTo>
                  <a:lnTo>
                    <a:pt x="63500" y="47626"/>
                  </a:lnTo>
                  <a:lnTo>
                    <a:pt x="66146" y="44980"/>
                  </a:lnTo>
                  <a:lnTo>
                    <a:pt x="74084" y="44980"/>
                  </a:lnTo>
                  <a:lnTo>
                    <a:pt x="79375" y="42334"/>
                  </a:lnTo>
                  <a:lnTo>
                    <a:pt x="76729" y="39689"/>
                  </a:lnTo>
                  <a:lnTo>
                    <a:pt x="82021" y="39689"/>
                  </a:lnTo>
                  <a:lnTo>
                    <a:pt x="84667" y="44980"/>
                  </a:lnTo>
                  <a:lnTo>
                    <a:pt x="84667" y="42334"/>
                  </a:lnTo>
                  <a:lnTo>
                    <a:pt x="87313" y="42334"/>
                  </a:lnTo>
                  <a:lnTo>
                    <a:pt x="87313" y="44980"/>
                  </a:lnTo>
                  <a:lnTo>
                    <a:pt x="89959" y="42334"/>
                  </a:lnTo>
                  <a:lnTo>
                    <a:pt x="89959" y="39689"/>
                  </a:lnTo>
                  <a:lnTo>
                    <a:pt x="87313" y="39689"/>
                  </a:lnTo>
                  <a:lnTo>
                    <a:pt x="84667" y="39689"/>
                  </a:lnTo>
                  <a:lnTo>
                    <a:pt x="84667" y="37043"/>
                  </a:lnTo>
                  <a:close/>
                  <a:moveTo>
                    <a:pt x="29105" y="13229"/>
                  </a:moveTo>
                  <a:lnTo>
                    <a:pt x="34396" y="15875"/>
                  </a:lnTo>
                  <a:lnTo>
                    <a:pt x="37042" y="18521"/>
                  </a:lnTo>
                  <a:lnTo>
                    <a:pt x="39688" y="23812"/>
                  </a:lnTo>
                  <a:lnTo>
                    <a:pt x="39688" y="26458"/>
                  </a:lnTo>
                  <a:lnTo>
                    <a:pt x="42334" y="26458"/>
                  </a:lnTo>
                  <a:lnTo>
                    <a:pt x="42334" y="29104"/>
                  </a:lnTo>
                  <a:lnTo>
                    <a:pt x="47626" y="29104"/>
                  </a:lnTo>
                  <a:lnTo>
                    <a:pt x="52917" y="29104"/>
                  </a:lnTo>
                  <a:lnTo>
                    <a:pt x="55563" y="31750"/>
                  </a:lnTo>
                  <a:lnTo>
                    <a:pt x="55563" y="34396"/>
                  </a:lnTo>
                  <a:lnTo>
                    <a:pt x="50272" y="34396"/>
                  </a:lnTo>
                  <a:lnTo>
                    <a:pt x="47626" y="37042"/>
                  </a:lnTo>
                  <a:lnTo>
                    <a:pt x="44980" y="39688"/>
                  </a:lnTo>
                  <a:lnTo>
                    <a:pt x="42334" y="39688"/>
                  </a:lnTo>
                  <a:lnTo>
                    <a:pt x="39688" y="42333"/>
                  </a:lnTo>
                  <a:lnTo>
                    <a:pt x="39688" y="44979"/>
                  </a:lnTo>
                  <a:lnTo>
                    <a:pt x="37042" y="47625"/>
                  </a:lnTo>
                  <a:lnTo>
                    <a:pt x="34396" y="47625"/>
                  </a:lnTo>
                  <a:lnTo>
                    <a:pt x="34396" y="50271"/>
                  </a:lnTo>
                  <a:lnTo>
                    <a:pt x="37042" y="52917"/>
                  </a:lnTo>
                  <a:lnTo>
                    <a:pt x="34396" y="52917"/>
                  </a:lnTo>
                  <a:lnTo>
                    <a:pt x="31751" y="55563"/>
                  </a:lnTo>
                  <a:lnTo>
                    <a:pt x="29105" y="58209"/>
                  </a:lnTo>
                  <a:lnTo>
                    <a:pt x="31751" y="60854"/>
                  </a:lnTo>
                  <a:lnTo>
                    <a:pt x="31751" y="63500"/>
                  </a:lnTo>
                  <a:lnTo>
                    <a:pt x="37042" y="63500"/>
                  </a:lnTo>
                  <a:lnTo>
                    <a:pt x="39688" y="66146"/>
                  </a:lnTo>
                  <a:lnTo>
                    <a:pt x="37042" y="66146"/>
                  </a:lnTo>
                  <a:lnTo>
                    <a:pt x="31751" y="68792"/>
                  </a:lnTo>
                  <a:lnTo>
                    <a:pt x="26459" y="66146"/>
                  </a:lnTo>
                  <a:lnTo>
                    <a:pt x="21167" y="66146"/>
                  </a:lnTo>
                  <a:lnTo>
                    <a:pt x="15875" y="66146"/>
                  </a:lnTo>
                  <a:lnTo>
                    <a:pt x="15875" y="63500"/>
                  </a:lnTo>
                  <a:lnTo>
                    <a:pt x="15875" y="60854"/>
                  </a:lnTo>
                  <a:lnTo>
                    <a:pt x="15875" y="55563"/>
                  </a:lnTo>
                  <a:lnTo>
                    <a:pt x="13230" y="55563"/>
                  </a:lnTo>
                  <a:lnTo>
                    <a:pt x="10584" y="52917"/>
                  </a:lnTo>
                  <a:lnTo>
                    <a:pt x="7938" y="50271"/>
                  </a:lnTo>
                  <a:lnTo>
                    <a:pt x="10584" y="50271"/>
                  </a:lnTo>
                  <a:lnTo>
                    <a:pt x="7938" y="47625"/>
                  </a:lnTo>
                  <a:lnTo>
                    <a:pt x="7938" y="42333"/>
                  </a:lnTo>
                  <a:lnTo>
                    <a:pt x="5292" y="42333"/>
                  </a:lnTo>
                  <a:lnTo>
                    <a:pt x="2646" y="42333"/>
                  </a:lnTo>
                  <a:lnTo>
                    <a:pt x="2646" y="39688"/>
                  </a:lnTo>
                  <a:lnTo>
                    <a:pt x="2646" y="37042"/>
                  </a:lnTo>
                  <a:lnTo>
                    <a:pt x="5292" y="34396"/>
                  </a:lnTo>
                  <a:lnTo>
                    <a:pt x="5292" y="31750"/>
                  </a:lnTo>
                  <a:lnTo>
                    <a:pt x="2646" y="29104"/>
                  </a:lnTo>
                  <a:lnTo>
                    <a:pt x="0" y="26458"/>
                  </a:lnTo>
                  <a:lnTo>
                    <a:pt x="0" y="23812"/>
                  </a:lnTo>
                  <a:lnTo>
                    <a:pt x="0" y="21167"/>
                  </a:lnTo>
                  <a:lnTo>
                    <a:pt x="2646" y="18521"/>
                  </a:lnTo>
                  <a:lnTo>
                    <a:pt x="5292" y="18521"/>
                  </a:lnTo>
                  <a:lnTo>
                    <a:pt x="7938" y="23812"/>
                  </a:lnTo>
                  <a:lnTo>
                    <a:pt x="13230" y="23812"/>
                  </a:lnTo>
                  <a:lnTo>
                    <a:pt x="13230" y="21167"/>
                  </a:lnTo>
                  <a:lnTo>
                    <a:pt x="13230" y="18521"/>
                  </a:lnTo>
                  <a:lnTo>
                    <a:pt x="15875" y="15875"/>
                  </a:lnTo>
                  <a:lnTo>
                    <a:pt x="18521" y="15875"/>
                  </a:lnTo>
                  <a:lnTo>
                    <a:pt x="18521" y="18521"/>
                  </a:lnTo>
                  <a:lnTo>
                    <a:pt x="18521" y="23812"/>
                  </a:lnTo>
                  <a:lnTo>
                    <a:pt x="21167" y="23812"/>
                  </a:lnTo>
                  <a:lnTo>
                    <a:pt x="21167" y="15875"/>
                  </a:lnTo>
                  <a:lnTo>
                    <a:pt x="23813" y="15875"/>
                  </a:lnTo>
                  <a:lnTo>
                    <a:pt x="26459" y="15875"/>
                  </a:lnTo>
                  <a:close/>
                  <a:moveTo>
                    <a:pt x="10584" y="10583"/>
                  </a:moveTo>
                  <a:lnTo>
                    <a:pt x="13230" y="10583"/>
                  </a:lnTo>
                  <a:lnTo>
                    <a:pt x="15876" y="10583"/>
                  </a:lnTo>
                  <a:lnTo>
                    <a:pt x="18522" y="10583"/>
                  </a:lnTo>
                  <a:lnTo>
                    <a:pt x="21167" y="13229"/>
                  </a:lnTo>
                  <a:lnTo>
                    <a:pt x="18522" y="13229"/>
                  </a:lnTo>
                  <a:lnTo>
                    <a:pt x="13230" y="13229"/>
                  </a:lnTo>
                  <a:lnTo>
                    <a:pt x="10584" y="18521"/>
                  </a:lnTo>
                  <a:lnTo>
                    <a:pt x="10584" y="21167"/>
                  </a:lnTo>
                  <a:lnTo>
                    <a:pt x="7938" y="18521"/>
                  </a:lnTo>
                  <a:lnTo>
                    <a:pt x="5292" y="15875"/>
                  </a:lnTo>
                  <a:close/>
                  <a:moveTo>
                    <a:pt x="42334" y="0"/>
                  </a:moveTo>
                  <a:lnTo>
                    <a:pt x="44980" y="0"/>
                  </a:lnTo>
                  <a:lnTo>
                    <a:pt x="44980" y="2646"/>
                  </a:lnTo>
                  <a:lnTo>
                    <a:pt x="42334" y="2646"/>
                  </a:lnTo>
                  <a:lnTo>
                    <a:pt x="44980" y="5292"/>
                  </a:lnTo>
                  <a:lnTo>
                    <a:pt x="44980" y="7938"/>
                  </a:lnTo>
                  <a:lnTo>
                    <a:pt x="44980" y="10583"/>
                  </a:lnTo>
                  <a:lnTo>
                    <a:pt x="42334" y="13229"/>
                  </a:lnTo>
                  <a:lnTo>
                    <a:pt x="39689" y="18521"/>
                  </a:lnTo>
                  <a:lnTo>
                    <a:pt x="34397" y="13229"/>
                  </a:lnTo>
                  <a:lnTo>
                    <a:pt x="29105" y="10583"/>
                  </a:lnTo>
                  <a:lnTo>
                    <a:pt x="26459" y="10583"/>
                  </a:lnTo>
                  <a:lnTo>
                    <a:pt x="23813" y="13229"/>
                  </a:lnTo>
                  <a:lnTo>
                    <a:pt x="21167" y="13229"/>
                  </a:lnTo>
                  <a:lnTo>
                    <a:pt x="23813" y="10583"/>
                  </a:lnTo>
                  <a:lnTo>
                    <a:pt x="29105" y="5292"/>
                  </a:lnTo>
                  <a:lnTo>
                    <a:pt x="37043" y="2646"/>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Estonia"/>
            <p:cNvSpPr>
              <a:spLocks/>
            </p:cNvSpPr>
            <p:nvPr/>
          </p:nvSpPr>
          <p:spPr bwMode="auto">
            <a:xfrm>
              <a:off x="4668538" y="1813719"/>
              <a:ext cx="97896" cy="39688"/>
            </a:xfrm>
            <a:custGeom>
              <a:avLst/>
              <a:gdLst/>
              <a:ahLst/>
              <a:cxnLst>
                <a:cxn ang="0">
                  <a:pos x="18" y="30"/>
                </a:cxn>
                <a:cxn ang="0">
                  <a:pos x="18" y="24"/>
                </a:cxn>
                <a:cxn ang="0">
                  <a:pos x="14" y="24"/>
                </a:cxn>
                <a:cxn ang="0">
                  <a:pos x="14" y="26"/>
                </a:cxn>
                <a:cxn ang="0">
                  <a:pos x="10" y="24"/>
                </a:cxn>
                <a:cxn ang="0">
                  <a:pos x="10" y="22"/>
                </a:cxn>
                <a:cxn ang="0">
                  <a:pos x="6" y="20"/>
                </a:cxn>
                <a:cxn ang="0">
                  <a:pos x="4" y="16"/>
                </a:cxn>
                <a:cxn ang="0">
                  <a:pos x="6" y="16"/>
                </a:cxn>
                <a:cxn ang="0">
                  <a:pos x="8" y="14"/>
                </a:cxn>
                <a:cxn ang="0">
                  <a:pos x="0" y="12"/>
                </a:cxn>
                <a:cxn ang="0">
                  <a:pos x="0" y="10"/>
                </a:cxn>
                <a:cxn ang="0">
                  <a:pos x="0" y="8"/>
                </a:cxn>
                <a:cxn ang="0">
                  <a:pos x="4" y="6"/>
                </a:cxn>
                <a:cxn ang="0">
                  <a:pos x="8" y="4"/>
                </a:cxn>
                <a:cxn ang="0">
                  <a:pos x="10" y="2"/>
                </a:cxn>
                <a:cxn ang="0">
                  <a:pos x="14" y="2"/>
                </a:cxn>
                <a:cxn ang="0">
                  <a:pos x="16" y="2"/>
                </a:cxn>
                <a:cxn ang="0">
                  <a:pos x="20" y="2"/>
                </a:cxn>
                <a:cxn ang="0">
                  <a:pos x="22" y="2"/>
                </a:cxn>
                <a:cxn ang="0">
                  <a:pos x="24" y="0"/>
                </a:cxn>
                <a:cxn ang="0">
                  <a:pos x="28" y="0"/>
                </a:cxn>
                <a:cxn ang="0">
                  <a:pos x="30" y="0"/>
                </a:cxn>
                <a:cxn ang="0">
                  <a:pos x="34" y="0"/>
                </a:cxn>
                <a:cxn ang="0">
                  <a:pos x="38" y="2"/>
                </a:cxn>
                <a:cxn ang="0">
                  <a:pos x="40" y="0"/>
                </a:cxn>
                <a:cxn ang="0">
                  <a:pos x="44" y="2"/>
                </a:cxn>
                <a:cxn ang="0">
                  <a:pos x="52" y="6"/>
                </a:cxn>
                <a:cxn ang="0">
                  <a:pos x="62" y="6"/>
                </a:cxn>
                <a:cxn ang="0">
                  <a:pos x="68" y="6"/>
                </a:cxn>
                <a:cxn ang="0">
                  <a:pos x="70" y="4"/>
                </a:cxn>
                <a:cxn ang="0">
                  <a:pos x="74" y="8"/>
                </a:cxn>
                <a:cxn ang="0">
                  <a:pos x="72" y="26"/>
                </a:cxn>
                <a:cxn ang="0">
                  <a:pos x="60" y="30"/>
                </a:cxn>
                <a:cxn ang="0">
                  <a:pos x="56" y="28"/>
                </a:cxn>
                <a:cxn ang="0">
                  <a:pos x="46" y="28"/>
                </a:cxn>
                <a:cxn ang="0">
                  <a:pos x="44" y="26"/>
                </a:cxn>
                <a:cxn ang="0">
                  <a:pos x="44" y="24"/>
                </a:cxn>
                <a:cxn ang="0">
                  <a:pos x="32" y="24"/>
                </a:cxn>
                <a:cxn ang="0">
                  <a:pos x="28" y="24"/>
                </a:cxn>
                <a:cxn ang="0">
                  <a:pos x="18" y="30"/>
                </a:cxn>
              </a:cxnLst>
              <a:rect l="0" t="0" r="r" b="b"/>
              <a:pathLst>
                <a:path w="74" h="30">
                  <a:moveTo>
                    <a:pt x="18" y="30"/>
                  </a:moveTo>
                  <a:lnTo>
                    <a:pt x="18" y="30"/>
                  </a:lnTo>
                  <a:lnTo>
                    <a:pt x="18" y="26"/>
                  </a:lnTo>
                  <a:lnTo>
                    <a:pt x="18" y="24"/>
                  </a:lnTo>
                  <a:lnTo>
                    <a:pt x="16" y="22"/>
                  </a:lnTo>
                  <a:lnTo>
                    <a:pt x="14" y="24"/>
                  </a:lnTo>
                  <a:lnTo>
                    <a:pt x="14" y="24"/>
                  </a:lnTo>
                  <a:lnTo>
                    <a:pt x="14" y="26"/>
                  </a:lnTo>
                  <a:lnTo>
                    <a:pt x="12" y="26"/>
                  </a:lnTo>
                  <a:lnTo>
                    <a:pt x="10" y="24"/>
                  </a:lnTo>
                  <a:lnTo>
                    <a:pt x="10" y="22"/>
                  </a:lnTo>
                  <a:lnTo>
                    <a:pt x="10" y="22"/>
                  </a:lnTo>
                  <a:lnTo>
                    <a:pt x="8" y="20"/>
                  </a:lnTo>
                  <a:lnTo>
                    <a:pt x="6" y="20"/>
                  </a:lnTo>
                  <a:lnTo>
                    <a:pt x="4" y="18"/>
                  </a:lnTo>
                  <a:lnTo>
                    <a:pt x="4" y="16"/>
                  </a:lnTo>
                  <a:lnTo>
                    <a:pt x="4" y="16"/>
                  </a:lnTo>
                  <a:lnTo>
                    <a:pt x="6" y="16"/>
                  </a:lnTo>
                  <a:lnTo>
                    <a:pt x="8" y="14"/>
                  </a:lnTo>
                  <a:lnTo>
                    <a:pt x="8" y="14"/>
                  </a:lnTo>
                  <a:lnTo>
                    <a:pt x="2" y="14"/>
                  </a:lnTo>
                  <a:lnTo>
                    <a:pt x="0" y="12"/>
                  </a:lnTo>
                  <a:lnTo>
                    <a:pt x="0" y="10"/>
                  </a:lnTo>
                  <a:lnTo>
                    <a:pt x="0" y="10"/>
                  </a:lnTo>
                  <a:lnTo>
                    <a:pt x="2" y="8"/>
                  </a:lnTo>
                  <a:lnTo>
                    <a:pt x="0" y="8"/>
                  </a:lnTo>
                  <a:lnTo>
                    <a:pt x="0" y="6"/>
                  </a:lnTo>
                  <a:lnTo>
                    <a:pt x="4" y="6"/>
                  </a:lnTo>
                  <a:lnTo>
                    <a:pt x="4" y="6"/>
                  </a:lnTo>
                  <a:lnTo>
                    <a:pt x="8" y="4"/>
                  </a:lnTo>
                  <a:lnTo>
                    <a:pt x="10" y="4"/>
                  </a:lnTo>
                  <a:lnTo>
                    <a:pt x="10" y="2"/>
                  </a:lnTo>
                  <a:lnTo>
                    <a:pt x="14" y="2"/>
                  </a:lnTo>
                  <a:lnTo>
                    <a:pt x="14" y="2"/>
                  </a:lnTo>
                  <a:lnTo>
                    <a:pt x="16" y="2"/>
                  </a:lnTo>
                  <a:lnTo>
                    <a:pt x="16" y="2"/>
                  </a:lnTo>
                  <a:lnTo>
                    <a:pt x="18" y="0"/>
                  </a:lnTo>
                  <a:lnTo>
                    <a:pt x="20" y="2"/>
                  </a:lnTo>
                  <a:lnTo>
                    <a:pt x="20" y="2"/>
                  </a:lnTo>
                  <a:lnTo>
                    <a:pt x="22" y="2"/>
                  </a:lnTo>
                  <a:lnTo>
                    <a:pt x="24" y="0"/>
                  </a:lnTo>
                  <a:lnTo>
                    <a:pt x="24" y="0"/>
                  </a:lnTo>
                  <a:lnTo>
                    <a:pt x="28" y="0"/>
                  </a:lnTo>
                  <a:lnTo>
                    <a:pt x="28" y="0"/>
                  </a:lnTo>
                  <a:lnTo>
                    <a:pt x="30" y="0"/>
                  </a:lnTo>
                  <a:lnTo>
                    <a:pt x="30" y="0"/>
                  </a:lnTo>
                  <a:lnTo>
                    <a:pt x="32" y="0"/>
                  </a:lnTo>
                  <a:lnTo>
                    <a:pt x="34" y="0"/>
                  </a:lnTo>
                  <a:lnTo>
                    <a:pt x="34" y="0"/>
                  </a:lnTo>
                  <a:lnTo>
                    <a:pt x="38" y="2"/>
                  </a:lnTo>
                  <a:lnTo>
                    <a:pt x="38" y="2"/>
                  </a:lnTo>
                  <a:lnTo>
                    <a:pt x="40" y="0"/>
                  </a:lnTo>
                  <a:lnTo>
                    <a:pt x="44" y="2"/>
                  </a:lnTo>
                  <a:lnTo>
                    <a:pt x="44" y="2"/>
                  </a:lnTo>
                  <a:lnTo>
                    <a:pt x="48" y="6"/>
                  </a:lnTo>
                  <a:lnTo>
                    <a:pt x="52" y="6"/>
                  </a:lnTo>
                  <a:lnTo>
                    <a:pt x="56" y="6"/>
                  </a:lnTo>
                  <a:lnTo>
                    <a:pt x="62" y="6"/>
                  </a:lnTo>
                  <a:lnTo>
                    <a:pt x="62" y="6"/>
                  </a:lnTo>
                  <a:lnTo>
                    <a:pt x="68" y="6"/>
                  </a:lnTo>
                  <a:lnTo>
                    <a:pt x="70" y="4"/>
                  </a:lnTo>
                  <a:lnTo>
                    <a:pt x="70" y="4"/>
                  </a:lnTo>
                  <a:lnTo>
                    <a:pt x="74" y="6"/>
                  </a:lnTo>
                  <a:lnTo>
                    <a:pt x="74" y="8"/>
                  </a:lnTo>
                  <a:lnTo>
                    <a:pt x="72" y="12"/>
                  </a:lnTo>
                  <a:lnTo>
                    <a:pt x="72" y="26"/>
                  </a:lnTo>
                  <a:lnTo>
                    <a:pt x="72" y="26"/>
                  </a:lnTo>
                  <a:lnTo>
                    <a:pt x="60" y="30"/>
                  </a:lnTo>
                  <a:lnTo>
                    <a:pt x="60" y="30"/>
                  </a:lnTo>
                  <a:lnTo>
                    <a:pt x="56" y="28"/>
                  </a:lnTo>
                  <a:lnTo>
                    <a:pt x="50" y="28"/>
                  </a:lnTo>
                  <a:lnTo>
                    <a:pt x="46" y="28"/>
                  </a:lnTo>
                  <a:lnTo>
                    <a:pt x="44" y="28"/>
                  </a:lnTo>
                  <a:lnTo>
                    <a:pt x="44" y="26"/>
                  </a:lnTo>
                  <a:lnTo>
                    <a:pt x="44" y="26"/>
                  </a:lnTo>
                  <a:lnTo>
                    <a:pt x="44" y="24"/>
                  </a:lnTo>
                  <a:lnTo>
                    <a:pt x="42" y="24"/>
                  </a:lnTo>
                  <a:lnTo>
                    <a:pt x="32" y="24"/>
                  </a:lnTo>
                  <a:lnTo>
                    <a:pt x="32" y="24"/>
                  </a:lnTo>
                  <a:lnTo>
                    <a:pt x="28" y="24"/>
                  </a:lnTo>
                  <a:lnTo>
                    <a:pt x="24" y="24"/>
                  </a:lnTo>
                  <a:lnTo>
                    <a:pt x="18" y="30"/>
                  </a:lnTo>
                  <a:lnTo>
                    <a:pt x="18" y="30"/>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inland"/>
            <p:cNvSpPr>
              <a:spLocks/>
            </p:cNvSpPr>
            <p:nvPr/>
          </p:nvSpPr>
          <p:spPr bwMode="auto">
            <a:xfrm>
              <a:off x="4557413" y="1599406"/>
              <a:ext cx="248708" cy="211667"/>
            </a:xfrm>
            <a:custGeom>
              <a:avLst/>
              <a:gdLst/>
              <a:ahLst/>
              <a:cxnLst>
                <a:cxn ang="0">
                  <a:pos x="130" y="144"/>
                </a:cxn>
                <a:cxn ang="0">
                  <a:pos x="108" y="148"/>
                </a:cxn>
                <a:cxn ang="0">
                  <a:pos x="94" y="150"/>
                </a:cxn>
                <a:cxn ang="0">
                  <a:pos x="82" y="150"/>
                </a:cxn>
                <a:cxn ang="0">
                  <a:pos x="68" y="156"/>
                </a:cxn>
                <a:cxn ang="0">
                  <a:pos x="58" y="156"/>
                </a:cxn>
                <a:cxn ang="0">
                  <a:pos x="52" y="152"/>
                </a:cxn>
                <a:cxn ang="0">
                  <a:pos x="44" y="148"/>
                </a:cxn>
                <a:cxn ang="0">
                  <a:pos x="38" y="146"/>
                </a:cxn>
                <a:cxn ang="0">
                  <a:pos x="34" y="136"/>
                </a:cxn>
                <a:cxn ang="0">
                  <a:pos x="32" y="130"/>
                </a:cxn>
                <a:cxn ang="0">
                  <a:pos x="30" y="124"/>
                </a:cxn>
                <a:cxn ang="0">
                  <a:pos x="28" y="120"/>
                </a:cxn>
                <a:cxn ang="0">
                  <a:pos x="30" y="116"/>
                </a:cxn>
                <a:cxn ang="0">
                  <a:pos x="28" y="112"/>
                </a:cxn>
                <a:cxn ang="0">
                  <a:pos x="34" y="110"/>
                </a:cxn>
                <a:cxn ang="0">
                  <a:pos x="34" y="108"/>
                </a:cxn>
                <a:cxn ang="0">
                  <a:pos x="40" y="106"/>
                </a:cxn>
                <a:cxn ang="0">
                  <a:pos x="48" y="102"/>
                </a:cxn>
                <a:cxn ang="0">
                  <a:pos x="56" y="98"/>
                </a:cxn>
                <a:cxn ang="0">
                  <a:pos x="60" y="96"/>
                </a:cxn>
                <a:cxn ang="0">
                  <a:pos x="66" y="94"/>
                </a:cxn>
                <a:cxn ang="0">
                  <a:pos x="80" y="84"/>
                </a:cxn>
                <a:cxn ang="0">
                  <a:pos x="88" y="84"/>
                </a:cxn>
                <a:cxn ang="0">
                  <a:pos x="86" y="78"/>
                </a:cxn>
                <a:cxn ang="0">
                  <a:pos x="70" y="72"/>
                </a:cxn>
                <a:cxn ang="0">
                  <a:pos x="60" y="66"/>
                </a:cxn>
                <a:cxn ang="0">
                  <a:pos x="54" y="54"/>
                </a:cxn>
                <a:cxn ang="0">
                  <a:pos x="46" y="42"/>
                </a:cxn>
                <a:cxn ang="0">
                  <a:pos x="42" y="36"/>
                </a:cxn>
                <a:cxn ang="0">
                  <a:pos x="8" y="26"/>
                </a:cxn>
                <a:cxn ang="0">
                  <a:pos x="2" y="18"/>
                </a:cxn>
                <a:cxn ang="0">
                  <a:pos x="8" y="14"/>
                </a:cxn>
                <a:cxn ang="0">
                  <a:pos x="36" y="24"/>
                </a:cxn>
                <a:cxn ang="0">
                  <a:pos x="54" y="26"/>
                </a:cxn>
                <a:cxn ang="0">
                  <a:pos x="68" y="32"/>
                </a:cxn>
                <a:cxn ang="0">
                  <a:pos x="80" y="22"/>
                </a:cxn>
                <a:cxn ang="0">
                  <a:pos x="84" y="12"/>
                </a:cxn>
                <a:cxn ang="0">
                  <a:pos x="102" y="2"/>
                </a:cxn>
                <a:cxn ang="0">
                  <a:pos x="112" y="2"/>
                </a:cxn>
                <a:cxn ang="0">
                  <a:pos x="124" y="10"/>
                </a:cxn>
                <a:cxn ang="0">
                  <a:pos x="124" y="20"/>
                </a:cxn>
                <a:cxn ang="0">
                  <a:pos x="132" y="30"/>
                </a:cxn>
                <a:cxn ang="0">
                  <a:pos x="142" y="40"/>
                </a:cxn>
                <a:cxn ang="0">
                  <a:pos x="150" y="54"/>
                </a:cxn>
                <a:cxn ang="0">
                  <a:pos x="158" y="66"/>
                </a:cxn>
                <a:cxn ang="0">
                  <a:pos x="164" y="76"/>
                </a:cxn>
                <a:cxn ang="0">
                  <a:pos x="164" y="84"/>
                </a:cxn>
                <a:cxn ang="0">
                  <a:pos x="170" y="94"/>
                </a:cxn>
                <a:cxn ang="0">
                  <a:pos x="188" y="108"/>
                </a:cxn>
                <a:cxn ang="0">
                  <a:pos x="180" y="120"/>
                </a:cxn>
                <a:cxn ang="0">
                  <a:pos x="172" y="126"/>
                </a:cxn>
                <a:cxn ang="0">
                  <a:pos x="148" y="142"/>
                </a:cxn>
              </a:cxnLst>
              <a:rect l="0" t="0" r="r" b="b"/>
              <a:pathLst>
                <a:path w="188" h="160">
                  <a:moveTo>
                    <a:pt x="148" y="146"/>
                  </a:moveTo>
                  <a:lnTo>
                    <a:pt x="148" y="146"/>
                  </a:lnTo>
                  <a:lnTo>
                    <a:pt x="138" y="146"/>
                  </a:lnTo>
                  <a:lnTo>
                    <a:pt x="132" y="146"/>
                  </a:lnTo>
                  <a:lnTo>
                    <a:pt x="130" y="144"/>
                  </a:lnTo>
                  <a:lnTo>
                    <a:pt x="126" y="146"/>
                  </a:lnTo>
                  <a:lnTo>
                    <a:pt x="126" y="146"/>
                  </a:lnTo>
                  <a:lnTo>
                    <a:pt x="118" y="148"/>
                  </a:lnTo>
                  <a:lnTo>
                    <a:pt x="112" y="148"/>
                  </a:lnTo>
                  <a:lnTo>
                    <a:pt x="108" y="148"/>
                  </a:lnTo>
                  <a:lnTo>
                    <a:pt x="104" y="148"/>
                  </a:lnTo>
                  <a:lnTo>
                    <a:pt x="104" y="148"/>
                  </a:lnTo>
                  <a:lnTo>
                    <a:pt x="100" y="150"/>
                  </a:lnTo>
                  <a:lnTo>
                    <a:pt x="96" y="150"/>
                  </a:lnTo>
                  <a:lnTo>
                    <a:pt x="94" y="150"/>
                  </a:lnTo>
                  <a:lnTo>
                    <a:pt x="92" y="152"/>
                  </a:lnTo>
                  <a:lnTo>
                    <a:pt x="92" y="152"/>
                  </a:lnTo>
                  <a:lnTo>
                    <a:pt x="90" y="152"/>
                  </a:lnTo>
                  <a:lnTo>
                    <a:pt x="86" y="152"/>
                  </a:lnTo>
                  <a:lnTo>
                    <a:pt x="82" y="150"/>
                  </a:lnTo>
                  <a:lnTo>
                    <a:pt x="78" y="150"/>
                  </a:lnTo>
                  <a:lnTo>
                    <a:pt x="78" y="150"/>
                  </a:lnTo>
                  <a:lnTo>
                    <a:pt x="72" y="154"/>
                  </a:lnTo>
                  <a:lnTo>
                    <a:pt x="70" y="154"/>
                  </a:lnTo>
                  <a:lnTo>
                    <a:pt x="68" y="156"/>
                  </a:lnTo>
                  <a:lnTo>
                    <a:pt x="68" y="156"/>
                  </a:lnTo>
                  <a:lnTo>
                    <a:pt x="62" y="158"/>
                  </a:lnTo>
                  <a:lnTo>
                    <a:pt x="56" y="160"/>
                  </a:lnTo>
                  <a:lnTo>
                    <a:pt x="56" y="160"/>
                  </a:lnTo>
                  <a:lnTo>
                    <a:pt x="58" y="156"/>
                  </a:lnTo>
                  <a:lnTo>
                    <a:pt x="58" y="154"/>
                  </a:lnTo>
                  <a:lnTo>
                    <a:pt x="56" y="154"/>
                  </a:lnTo>
                  <a:lnTo>
                    <a:pt x="56" y="154"/>
                  </a:lnTo>
                  <a:lnTo>
                    <a:pt x="52" y="154"/>
                  </a:lnTo>
                  <a:lnTo>
                    <a:pt x="52" y="152"/>
                  </a:lnTo>
                  <a:lnTo>
                    <a:pt x="52" y="146"/>
                  </a:lnTo>
                  <a:lnTo>
                    <a:pt x="52" y="146"/>
                  </a:lnTo>
                  <a:lnTo>
                    <a:pt x="46" y="150"/>
                  </a:lnTo>
                  <a:lnTo>
                    <a:pt x="44" y="150"/>
                  </a:lnTo>
                  <a:lnTo>
                    <a:pt x="44" y="148"/>
                  </a:lnTo>
                  <a:lnTo>
                    <a:pt x="44" y="146"/>
                  </a:lnTo>
                  <a:lnTo>
                    <a:pt x="42" y="144"/>
                  </a:lnTo>
                  <a:lnTo>
                    <a:pt x="40" y="144"/>
                  </a:lnTo>
                  <a:lnTo>
                    <a:pt x="40" y="144"/>
                  </a:lnTo>
                  <a:lnTo>
                    <a:pt x="38" y="146"/>
                  </a:lnTo>
                  <a:lnTo>
                    <a:pt x="36" y="144"/>
                  </a:lnTo>
                  <a:lnTo>
                    <a:pt x="36" y="142"/>
                  </a:lnTo>
                  <a:lnTo>
                    <a:pt x="36" y="138"/>
                  </a:lnTo>
                  <a:lnTo>
                    <a:pt x="36" y="138"/>
                  </a:lnTo>
                  <a:lnTo>
                    <a:pt x="34" y="136"/>
                  </a:lnTo>
                  <a:lnTo>
                    <a:pt x="34" y="134"/>
                  </a:lnTo>
                  <a:lnTo>
                    <a:pt x="36" y="134"/>
                  </a:lnTo>
                  <a:lnTo>
                    <a:pt x="34" y="132"/>
                  </a:lnTo>
                  <a:lnTo>
                    <a:pt x="34" y="132"/>
                  </a:lnTo>
                  <a:lnTo>
                    <a:pt x="32" y="130"/>
                  </a:lnTo>
                  <a:lnTo>
                    <a:pt x="30" y="128"/>
                  </a:lnTo>
                  <a:lnTo>
                    <a:pt x="30" y="128"/>
                  </a:lnTo>
                  <a:lnTo>
                    <a:pt x="30" y="126"/>
                  </a:lnTo>
                  <a:lnTo>
                    <a:pt x="30" y="126"/>
                  </a:lnTo>
                  <a:lnTo>
                    <a:pt x="30" y="124"/>
                  </a:lnTo>
                  <a:lnTo>
                    <a:pt x="28" y="124"/>
                  </a:lnTo>
                  <a:lnTo>
                    <a:pt x="28" y="124"/>
                  </a:lnTo>
                  <a:lnTo>
                    <a:pt x="28" y="122"/>
                  </a:lnTo>
                  <a:lnTo>
                    <a:pt x="28" y="122"/>
                  </a:lnTo>
                  <a:lnTo>
                    <a:pt x="28" y="120"/>
                  </a:lnTo>
                  <a:lnTo>
                    <a:pt x="28" y="118"/>
                  </a:lnTo>
                  <a:lnTo>
                    <a:pt x="28" y="118"/>
                  </a:lnTo>
                  <a:lnTo>
                    <a:pt x="28" y="118"/>
                  </a:lnTo>
                  <a:lnTo>
                    <a:pt x="28" y="116"/>
                  </a:lnTo>
                  <a:lnTo>
                    <a:pt x="30" y="116"/>
                  </a:lnTo>
                  <a:lnTo>
                    <a:pt x="28" y="116"/>
                  </a:lnTo>
                  <a:lnTo>
                    <a:pt x="28" y="116"/>
                  </a:lnTo>
                  <a:lnTo>
                    <a:pt x="26" y="114"/>
                  </a:lnTo>
                  <a:lnTo>
                    <a:pt x="26" y="112"/>
                  </a:lnTo>
                  <a:lnTo>
                    <a:pt x="28" y="112"/>
                  </a:lnTo>
                  <a:lnTo>
                    <a:pt x="30" y="112"/>
                  </a:lnTo>
                  <a:lnTo>
                    <a:pt x="30" y="112"/>
                  </a:lnTo>
                  <a:lnTo>
                    <a:pt x="32" y="112"/>
                  </a:lnTo>
                  <a:lnTo>
                    <a:pt x="32" y="112"/>
                  </a:lnTo>
                  <a:lnTo>
                    <a:pt x="34" y="110"/>
                  </a:lnTo>
                  <a:lnTo>
                    <a:pt x="32" y="110"/>
                  </a:lnTo>
                  <a:lnTo>
                    <a:pt x="32" y="110"/>
                  </a:lnTo>
                  <a:lnTo>
                    <a:pt x="30" y="108"/>
                  </a:lnTo>
                  <a:lnTo>
                    <a:pt x="32" y="108"/>
                  </a:lnTo>
                  <a:lnTo>
                    <a:pt x="34" y="108"/>
                  </a:lnTo>
                  <a:lnTo>
                    <a:pt x="34" y="108"/>
                  </a:lnTo>
                  <a:lnTo>
                    <a:pt x="38" y="106"/>
                  </a:lnTo>
                  <a:lnTo>
                    <a:pt x="38" y="106"/>
                  </a:lnTo>
                  <a:lnTo>
                    <a:pt x="38" y="106"/>
                  </a:lnTo>
                  <a:lnTo>
                    <a:pt x="40" y="106"/>
                  </a:lnTo>
                  <a:lnTo>
                    <a:pt x="42" y="104"/>
                  </a:lnTo>
                  <a:lnTo>
                    <a:pt x="44" y="102"/>
                  </a:lnTo>
                  <a:lnTo>
                    <a:pt x="46" y="102"/>
                  </a:lnTo>
                  <a:lnTo>
                    <a:pt x="46" y="102"/>
                  </a:lnTo>
                  <a:lnTo>
                    <a:pt x="48" y="102"/>
                  </a:lnTo>
                  <a:lnTo>
                    <a:pt x="50" y="100"/>
                  </a:lnTo>
                  <a:lnTo>
                    <a:pt x="50" y="98"/>
                  </a:lnTo>
                  <a:lnTo>
                    <a:pt x="54" y="98"/>
                  </a:lnTo>
                  <a:lnTo>
                    <a:pt x="54" y="98"/>
                  </a:lnTo>
                  <a:lnTo>
                    <a:pt x="56" y="98"/>
                  </a:lnTo>
                  <a:lnTo>
                    <a:pt x="56" y="98"/>
                  </a:lnTo>
                  <a:lnTo>
                    <a:pt x="58" y="96"/>
                  </a:lnTo>
                  <a:lnTo>
                    <a:pt x="58" y="96"/>
                  </a:lnTo>
                  <a:lnTo>
                    <a:pt x="58" y="96"/>
                  </a:lnTo>
                  <a:lnTo>
                    <a:pt x="60" y="96"/>
                  </a:lnTo>
                  <a:lnTo>
                    <a:pt x="60" y="94"/>
                  </a:lnTo>
                  <a:lnTo>
                    <a:pt x="62" y="94"/>
                  </a:lnTo>
                  <a:lnTo>
                    <a:pt x="64" y="94"/>
                  </a:lnTo>
                  <a:lnTo>
                    <a:pt x="64" y="94"/>
                  </a:lnTo>
                  <a:lnTo>
                    <a:pt x="66" y="94"/>
                  </a:lnTo>
                  <a:lnTo>
                    <a:pt x="68" y="92"/>
                  </a:lnTo>
                  <a:lnTo>
                    <a:pt x="72" y="90"/>
                  </a:lnTo>
                  <a:lnTo>
                    <a:pt x="72" y="90"/>
                  </a:lnTo>
                  <a:lnTo>
                    <a:pt x="76" y="88"/>
                  </a:lnTo>
                  <a:lnTo>
                    <a:pt x="80" y="84"/>
                  </a:lnTo>
                  <a:lnTo>
                    <a:pt x="80" y="84"/>
                  </a:lnTo>
                  <a:lnTo>
                    <a:pt x="82" y="82"/>
                  </a:lnTo>
                  <a:lnTo>
                    <a:pt x="84" y="84"/>
                  </a:lnTo>
                  <a:lnTo>
                    <a:pt x="84" y="84"/>
                  </a:lnTo>
                  <a:lnTo>
                    <a:pt x="88" y="84"/>
                  </a:lnTo>
                  <a:lnTo>
                    <a:pt x="88" y="84"/>
                  </a:lnTo>
                  <a:lnTo>
                    <a:pt x="88" y="84"/>
                  </a:lnTo>
                  <a:lnTo>
                    <a:pt x="88" y="82"/>
                  </a:lnTo>
                  <a:lnTo>
                    <a:pt x="86" y="80"/>
                  </a:lnTo>
                  <a:lnTo>
                    <a:pt x="86" y="78"/>
                  </a:lnTo>
                  <a:lnTo>
                    <a:pt x="86" y="78"/>
                  </a:lnTo>
                  <a:lnTo>
                    <a:pt x="84" y="76"/>
                  </a:lnTo>
                  <a:lnTo>
                    <a:pt x="82" y="74"/>
                  </a:lnTo>
                  <a:lnTo>
                    <a:pt x="76" y="72"/>
                  </a:lnTo>
                  <a:lnTo>
                    <a:pt x="70" y="72"/>
                  </a:lnTo>
                  <a:lnTo>
                    <a:pt x="66" y="70"/>
                  </a:lnTo>
                  <a:lnTo>
                    <a:pt x="66" y="70"/>
                  </a:lnTo>
                  <a:lnTo>
                    <a:pt x="62" y="68"/>
                  </a:lnTo>
                  <a:lnTo>
                    <a:pt x="60" y="66"/>
                  </a:lnTo>
                  <a:lnTo>
                    <a:pt x="60" y="66"/>
                  </a:lnTo>
                  <a:lnTo>
                    <a:pt x="56" y="64"/>
                  </a:lnTo>
                  <a:lnTo>
                    <a:pt x="56" y="64"/>
                  </a:lnTo>
                  <a:lnTo>
                    <a:pt x="56" y="60"/>
                  </a:lnTo>
                  <a:lnTo>
                    <a:pt x="56" y="56"/>
                  </a:lnTo>
                  <a:lnTo>
                    <a:pt x="54" y="54"/>
                  </a:lnTo>
                  <a:lnTo>
                    <a:pt x="50" y="50"/>
                  </a:lnTo>
                  <a:lnTo>
                    <a:pt x="50" y="50"/>
                  </a:lnTo>
                  <a:lnTo>
                    <a:pt x="46" y="46"/>
                  </a:lnTo>
                  <a:lnTo>
                    <a:pt x="46" y="44"/>
                  </a:lnTo>
                  <a:lnTo>
                    <a:pt x="46" y="42"/>
                  </a:lnTo>
                  <a:lnTo>
                    <a:pt x="44" y="42"/>
                  </a:lnTo>
                  <a:lnTo>
                    <a:pt x="44" y="42"/>
                  </a:lnTo>
                  <a:lnTo>
                    <a:pt x="42" y="40"/>
                  </a:lnTo>
                  <a:lnTo>
                    <a:pt x="42" y="38"/>
                  </a:lnTo>
                  <a:lnTo>
                    <a:pt x="42" y="36"/>
                  </a:lnTo>
                  <a:lnTo>
                    <a:pt x="36" y="32"/>
                  </a:lnTo>
                  <a:lnTo>
                    <a:pt x="36" y="32"/>
                  </a:lnTo>
                  <a:lnTo>
                    <a:pt x="28" y="28"/>
                  </a:lnTo>
                  <a:lnTo>
                    <a:pt x="18" y="28"/>
                  </a:lnTo>
                  <a:lnTo>
                    <a:pt x="8" y="26"/>
                  </a:lnTo>
                  <a:lnTo>
                    <a:pt x="4" y="24"/>
                  </a:lnTo>
                  <a:lnTo>
                    <a:pt x="0" y="20"/>
                  </a:lnTo>
                  <a:lnTo>
                    <a:pt x="0" y="20"/>
                  </a:lnTo>
                  <a:lnTo>
                    <a:pt x="2" y="20"/>
                  </a:lnTo>
                  <a:lnTo>
                    <a:pt x="2" y="18"/>
                  </a:lnTo>
                  <a:lnTo>
                    <a:pt x="2" y="18"/>
                  </a:lnTo>
                  <a:lnTo>
                    <a:pt x="2" y="16"/>
                  </a:lnTo>
                  <a:lnTo>
                    <a:pt x="2" y="16"/>
                  </a:lnTo>
                  <a:lnTo>
                    <a:pt x="6" y="14"/>
                  </a:lnTo>
                  <a:lnTo>
                    <a:pt x="8" y="14"/>
                  </a:lnTo>
                  <a:lnTo>
                    <a:pt x="10" y="16"/>
                  </a:lnTo>
                  <a:lnTo>
                    <a:pt x="10" y="16"/>
                  </a:lnTo>
                  <a:lnTo>
                    <a:pt x="14" y="18"/>
                  </a:lnTo>
                  <a:lnTo>
                    <a:pt x="20" y="20"/>
                  </a:lnTo>
                  <a:lnTo>
                    <a:pt x="36" y="24"/>
                  </a:lnTo>
                  <a:lnTo>
                    <a:pt x="36" y="24"/>
                  </a:lnTo>
                  <a:lnTo>
                    <a:pt x="46" y="26"/>
                  </a:lnTo>
                  <a:lnTo>
                    <a:pt x="52" y="26"/>
                  </a:lnTo>
                  <a:lnTo>
                    <a:pt x="54" y="26"/>
                  </a:lnTo>
                  <a:lnTo>
                    <a:pt x="54" y="26"/>
                  </a:lnTo>
                  <a:lnTo>
                    <a:pt x="56" y="22"/>
                  </a:lnTo>
                  <a:lnTo>
                    <a:pt x="58" y="24"/>
                  </a:lnTo>
                  <a:lnTo>
                    <a:pt x="58" y="24"/>
                  </a:lnTo>
                  <a:lnTo>
                    <a:pt x="66" y="30"/>
                  </a:lnTo>
                  <a:lnTo>
                    <a:pt x="68" y="32"/>
                  </a:lnTo>
                  <a:lnTo>
                    <a:pt x="72" y="30"/>
                  </a:lnTo>
                  <a:lnTo>
                    <a:pt x="72" y="30"/>
                  </a:lnTo>
                  <a:lnTo>
                    <a:pt x="74" y="24"/>
                  </a:lnTo>
                  <a:lnTo>
                    <a:pt x="80" y="22"/>
                  </a:lnTo>
                  <a:lnTo>
                    <a:pt x="80" y="22"/>
                  </a:lnTo>
                  <a:lnTo>
                    <a:pt x="82" y="20"/>
                  </a:lnTo>
                  <a:lnTo>
                    <a:pt x="82" y="18"/>
                  </a:lnTo>
                  <a:lnTo>
                    <a:pt x="82" y="18"/>
                  </a:lnTo>
                  <a:lnTo>
                    <a:pt x="80" y="14"/>
                  </a:lnTo>
                  <a:lnTo>
                    <a:pt x="84" y="12"/>
                  </a:lnTo>
                  <a:lnTo>
                    <a:pt x="92" y="6"/>
                  </a:lnTo>
                  <a:lnTo>
                    <a:pt x="92" y="6"/>
                  </a:lnTo>
                  <a:lnTo>
                    <a:pt x="94" y="4"/>
                  </a:lnTo>
                  <a:lnTo>
                    <a:pt x="96" y="4"/>
                  </a:lnTo>
                  <a:lnTo>
                    <a:pt x="102" y="2"/>
                  </a:lnTo>
                  <a:lnTo>
                    <a:pt x="102" y="2"/>
                  </a:lnTo>
                  <a:lnTo>
                    <a:pt x="108" y="0"/>
                  </a:lnTo>
                  <a:lnTo>
                    <a:pt x="110" y="0"/>
                  </a:lnTo>
                  <a:lnTo>
                    <a:pt x="112" y="2"/>
                  </a:lnTo>
                  <a:lnTo>
                    <a:pt x="112" y="2"/>
                  </a:lnTo>
                  <a:lnTo>
                    <a:pt x="112" y="4"/>
                  </a:lnTo>
                  <a:lnTo>
                    <a:pt x="116" y="6"/>
                  </a:lnTo>
                  <a:lnTo>
                    <a:pt x="122" y="8"/>
                  </a:lnTo>
                  <a:lnTo>
                    <a:pt x="122" y="8"/>
                  </a:lnTo>
                  <a:lnTo>
                    <a:pt x="124" y="10"/>
                  </a:lnTo>
                  <a:lnTo>
                    <a:pt x="124" y="12"/>
                  </a:lnTo>
                  <a:lnTo>
                    <a:pt x="122" y="16"/>
                  </a:lnTo>
                  <a:lnTo>
                    <a:pt x="122" y="18"/>
                  </a:lnTo>
                  <a:lnTo>
                    <a:pt x="122" y="18"/>
                  </a:lnTo>
                  <a:lnTo>
                    <a:pt x="124" y="20"/>
                  </a:lnTo>
                  <a:lnTo>
                    <a:pt x="124" y="22"/>
                  </a:lnTo>
                  <a:lnTo>
                    <a:pt x="126" y="26"/>
                  </a:lnTo>
                  <a:lnTo>
                    <a:pt x="126" y="26"/>
                  </a:lnTo>
                  <a:lnTo>
                    <a:pt x="128" y="30"/>
                  </a:lnTo>
                  <a:lnTo>
                    <a:pt x="132" y="30"/>
                  </a:lnTo>
                  <a:lnTo>
                    <a:pt x="134" y="30"/>
                  </a:lnTo>
                  <a:lnTo>
                    <a:pt x="138" y="34"/>
                  </a:lnTo>
                  <a:lnTo>
                    <a:pt x="138" y="34"/>
                  </a:lnTo>
                  <a:lnTo>
                    <a:pt x="142" y="38"/>
                  </a:lnTo>
                  <a:lnTo>
                    <a:pt x="142" y="40"/>
                  </a:lnTo>
                  <a:lnTo>
                    <a:pt x="142" y="44"/>
                  </a:lnTo>
                  <a:lnTo>
                    <a:pt x="142" y="46"/>
                  </a:lnTo>
                  <a:lnTo>
                    <a:pt x="142" y="48"/>
                  </a:lnTo>
                  <a:lnTo>
                    <a:pt x="150" y="54"/>
                  </a:lnTo>
                  <a:lnTo>
                    <a:pt x="150" y="54"/>
                  </a:lnTo>
                  <a:lnTo>
                    <a:pt x="158" y="60"/>
                  </a:lnTo>
                  <a:lnTo>
                    <a:pt x="160" y="64"/>
                  </a:lnTo>
                  <a:lnTo>
                    <a:pt x="160" y="66"/>
                  </a:lnTo>
                  <a:lnTo>
                    <a:pt x="158" y="66"/>
                  </a:lnTo>
                  <a:lnTo>
                    <a:pt x="158" y="66"/>
                  </a:lnTo>
                  <a:lnTo>
                    <a:pt x="156" y="68"/>
                  </a:lnTo>
                  <a:lnTo>
                    <a:pt x="158" y="70"/>
                  </a:lnTo>
                  <a:lnTo>
                    <a:pt x="160" y="74"/>
                  </a:lnTo>
                  <a:lnTo>
                    <a:pt x="164" y="76"/>
                  </a:lnTo>
                  <a:lnTo>
                    <a:pt x="164" y="76"/>
                  </a:lnTo>
                  <a:lnTo>
                    <a:pt x="166" y="78"/>
                  </a:lnTo>
                  <a:lnTo>
                    <a:pt x="162" y="80"/>
                  </a:lnTo>
                  <a:lnTo>
                    <a:pt x="162" y="82"/>
                  </a:lnTo>
                  <a:lnTo>
                    <a:pt x="164" y="84"/>
                  </a:lnTo>
                  <a:lnTo>
                    <a:pt x="164" y="84"/>
                  </a:lnTo>
                  <a:lnTo>
                    <a:pt x="172" y="88"/>
                  </a:lnTo>
                  <a:lnTo>
                    <a:pt x="174" y="90"/>
                  </a:lnTo>
                  <a:lnTo>
                    <a:pt x="174" y="92"/>
                  </a:lnTo>
                  <a:lnTo>
                    <a:pt x="172" y="94"/>
                  </a:lnTo>
                  <a:lnTo>
                    <a:pt x="170" y="94"/>
                  </a:lnTo>
                  <a:lnTo>
                    <a:pt x="170" y="96"/>
                  </a:lnTo>
                  <a:lnTo>
                    <a:pt x="180" y="100"/>
                  </a:lnTo>
                  <a:lnTo>
                    <a:pt x="180" y="100"/>
                  </a:lnTo>
                  <a:lnTo>
                    <a:pt x="188" y="104"/>
                  </a:lnTo>
                  <a:lnTo>
                    <a:pt x="188" y="108"/>
                  </a:lnTo>
                  <a:lnTo>
                    <a:pt x="186" y="112"/>
                  </a:lnTo>
                  <a:lnTo>
                    <a:pt x="182" y="116"/>
                  </a:lnTo>
                  <a:lnTo>
                    <a:pt x="182" y="116"/>
                  </a:lnTo>
                  <a:lnTo>
                    <a:pt x="180" y="118"/>
                  </a:lnTo>
                  <a:lnTo>
                    <a:pt x="180" y="120"/>
                  </a:lnTo>
                  <a:lnTo>
                    <a:pt x="180" y="122"/>
                  </a:lnTo>
                  <a:lnTo>
                    <a:pt x="178" y="122"/>
                  </a:lnTo>
                  <a:lnTo>
                    <a:pt x="178" y="122"/>
                  </a:lnTo>
                  <a:lnTo>
                    <a:pt x="174" y="122"/>
                  </a:lnTo>
                  <a:lnTo>
                    <a:pt x="172" y="126"/>
                  </a:lnTo>
                  <a:lnTo>
                    <a:pt x="168" y="130"/>
                  </a:lnTo>
                  <a:lnTo>
                    <a:pt x="160" y="134"/>
                  </a:lnTo>
                  <a:lnTo>
                    <a:pt x="160" y="134"/>
                  </a:lnTo>
                  <a:lnTo>
                    <a:pt x="152" y="140"/>
                  </a:lnTo>
                  <a:lnTo>
                    <a:pt x="148" y="142"/>
                  </a:lnTo>
                  <a:lnTo>
                    <a:pt x="148" y="146"/>
                  </a:lnTo>
                  <a:lnTo>
                    <a:pt x="148" y="146"/>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ance"/>
            <p:cNvSpPr>
              <a:spLocks/>
            </p:cNvSpPr>
            <p:nvPr/>
          </p:nvSpPr>
          <p:spPr bwMode="auto">
            <a:xfrm>
              <a:off x="4036184" y="2017448"/>
              <a:ext cx="293688" cy="230188"/>
            </a:xfrm>
            <a:custGeom>
              <a:avLst/>
              <a:gdLst/>
              <a:ahLst/>
              <a:cxnLst>
                <a:cxn ang="0">
                  <a:pos x="210" y="152"/>
                </a:cxn>
                <a:cxn ang="0">
                  <a:pos x="196" y="160"/>
                </a:cxn>
                <a:cxn ang="0">
                  <a:pos x="180" y="152"/>
                </a:cxn>
                <a:cxn ang="0">
                  <a:pos x="168" y="154"/>
                </a:cxn>
                <a:cxn ang="0">
                  <a:pos x="146" y="164"/>
                </a:cxn>
                <a:cxn ang="0">
                  <a:pos x="136" y="172"/>
                </a:cxn>
                <a:cxn ang="0">
                  <a:pos x="120" y="172"/>
                </a:cxn>
                <a:cxn ang="0">
                  <a:pos x="108" y="172"/>
                </a:cxn>
                <a:cxn ang="0">
                  <a:pos x="94" y="172"/>
                </a:cxn>
                <a:cxn ang="0">
                  <a:pos x="74" y="164"/>
                </a:cxn>
                <a:cxn ang="0">
                  <a:pos x="60" y="160"/>
                </a:cxn>
                <a:cxn ang="0">
                  <a:pos x="50" y="154"/>
                </a:cxn>
                <a:cxn ang="0">
                  <a:pos x="62" y="132"/>
                </a:cxn>
                <a:cxn ang="0">
                  <a:pos x="74" y="120"/>
                </a:cxn>
                <a:cxn ang="0">
                  <a:pos x="68" y="100"/>
                </a:cxn>
                <a:cxn ang="0">
                  <a:pos x="66" y="96"/>
                </a:cxn>
                <a:cxn ang="0">
                  <a:pos x="48" y="82"/>
                </a:cxn>
                <a:cxn ang="0">
                  <a:pos x="48" y="76"/>
                </a:cxn>
                <a:cxn ang="0">
                  <a:pos x="44" y="72"/>
                </a:cxn>
                <a:cxn ang="0">
                  <a:pos x="36" y="66"/>
                </a:cxn>
                <a:cxn ang="0">
                  <a:pos x="26" y="66"/>
                </a:cxn>
                <a:cxn ang="0">
                  <a:pos x="8" y="62"/>
                </a:cxn>
                <a:cxn ang="0">
                  <a:pos x="4" y="56"/>
                </a:cxn>
                <a:cxn ang="0">
                  <a:pos x="6" y="52"/>
                </a:cxn>
                <a:cxn ang="0">
                  <a:pos x="0" y="46"/>
                </a:cxn>
                <a:cxn ang="0">
                  <a:pos x="16" y="44"/>
                </a:cxn>
                <a:cxn ang="0">
                  <a:pos x="30" y="44"/>
                </a:cxn>
                <a:cxn ang="0">
                  <a:pos x="40" y="44"/>
                </a:cxn>
                <a:cxn ang="0">
                  <a:pos x="54" y="46"/>
                </a:cxn>
                <a:cxn ang="0">
                  <a:pos x="54" y="34"/>
                </a:cxn>
                <a:cxn ang="0">
                  <a:pos x="54" y="24"/>
                </a:cxn>
                <a:cxn ang="0">
                  <a:pos x="64" y="30"/>
                </a:cxn>
                <a:cxn ang="0">
                  <a:pos x="72" y="32"/>
                </a:cxn>
                <a:cxn ang="0">
                  <a:pos x="86" y="30"/>
                </a:cxn>
                <a:cxn ang="0">
                  <a:pos x="92" y="22"/>
                </a:cxn>
                <a:cxn ang="0">
                  <a:pos x="112" y="14"/>
                </a:cxn>
                <a:cxn ang="0">
                  <a:pos x="116" y="4"/>
                </a:cxn>
                <a:cxn ang="0">
                  <a:pos x="132" y="4"/>
                </a:cxn>
                <a:cxn ang="0">
                  <a:pos x="148" y="10"/>
                </a:cxn>
                <a:cxn ang="0">
                  <a:pos x="156" y="18"/>
                </a:cxn>
                <a:cxn ang="0">
                  <a:pos x="162" y="16"/>
                </a:cxn>
                <a:cxn ang="0">
                  <a:pos x="170" y="28"/>
                </a:cxn>
                <a:cxn ang="0">
                  <a:pos x="176" y="26"/>
                </a:cxn>
                <a:cxn ang="0">
                  <a:pos x="194" y="30"/>
                </a:cxn>
                <a:cxn ang="0">
                  <a:pos x="214" y="38"/>
                </a:cxn>
                <a:cxn ang="0">
                  <a:pos x="214" y="56"/>
                </a:cxn>
                <a:cxn ang="0">
                  <a:pos x="212" y="68"/>
                </a:cxn>
                <a:cxn ang="0">
                  <a:pos x="204" y="70"/>
                </a:cxn>
                <a:cxn ang="0">
                  <a:pos x="192" y="80"/>
                </a:cxn>
                <a:cxn ang="0">
                  <a:pos x="194" y="94"/>
                </a:cxn>
                <a:cxn ang="0">
                  <a:pos x="206" y="98"/>
                </a:cxn>
                <a:cxn ang="0">
                  <a:pos x="210" y="110"/>
                </a:cxn>
                <a:cxn ang="0">
                  <a:pos x="206" y="118"/>
                </a:cxn>
                <a:cxn ang="0">
                  <a:pos x="210" y="132"/>
                </a:cxn>
                <a:cxn ang="0">
                  <a:pos x="222" y="140"/>
                </a:cxn>
              </a:cxnLst>
              <a:rect l="0" t="0" r="r" b="b"/>
              <a:pathLst>
                <a:path w="222" h="174">
                  <a:moveTo>
                    <a:pt x="220" y="146"/>
                  </a:moveTo>
                  <a:lnTo>
                    <a:pt x="220" y="146"/>
                  </a:lnTo>
                  <a:lnTo>
                    <a:pt x="214" y="148"/>
                  </a:lnTo>
                  <a:lnTo>
                    <a:pt x="214" y="148"/>
                  </a:lnTo>
                  <a:lnTo>
                    <a:pt x="210" y="150"/>
                  </a:lnTo>
                  <a:lnTo>
                    <a:pt x="210" y="152"/>
                  </a:lnTo>
                  <a:lnTo>
                    <a:pt x="210" y="152"/>
                  </a:lnTo>
                  <a:lnTo>
                    <a:pt x="208" y="152"/>
                  </a:lnTo>
                  <a:lnTo>
                    <a:pt x="204" y="156"/>
                  </a:lnTo>
                  <a:lnTo>
                    <a:pt x="204" y="156"/>
                  </a:lnTo>
                  <a:lnTo>
                    <a:pt x="200" y="160"/>
                  </a:lnTo>
                  <a:lnTo>
                    <a:pt x="196" y="160"/>
                  </a:lnTo>
                  <a:lnTo>
                    <a:pt x="196" y="160"/>
                  </a:lnTo>
                  <a:lnTo>
                    <a:pt x="196" y="160"/>
                  </a:lnTo>
                  <a:lnTo>
                    <a:pt x="194" y="160"/>
                  </a:lnTo>
                  <a:lnTo>
                    <a:pt x="190" y="156"/>
                  </a:lnTo>
                  <a:lnTo>
                    <a:pt x="190" y="156"/>
                  </a:lnTo>
                  <a:lnTo>
                    <a:pt x="186" y="154"/>
                  </a:lnTo>
                  <a:lnTo>
                    <a:pt x="182" y="154"/>
                  </a:lnTo>
                  <a:lnTo>
                    <a:pt x="182" y="154"/>
                  </a:lnTo>
                  <a:lnTo>
                    <a:pt x="180" y="152"/>
                  </a:lnTo>
                  <a:lnTo>
                    <a:pt x="180" y="152"/>
                  </a:lnTo>
                  <a:lnTo>
                    <a:pt x="178" y="150"/>
                  </a:lnTo>
                  <a:lnTo>
                    <a:pt x="176" y="150"/>
                  </a:lnTo>
                  <a:lnTo>
                    <a:pt x="176" y="150"/>
                  </a:lnTo>
                  <a:lnTo>
                    <a:pt x="172" y="152"/>
                  </a:lnTo>
                  <a:lnTo>
                    <a:pt x="168" y="154"/>
                  </a:lnTo>
                  <a:lnTo>
                    <a:pt x="168" y="154"/>
                  </a:lnTo>
                  <a:lnTo>
                    <a:pt x="162" y="154"/>
                  </a:lnTo>
                  <a:lnTo>
                    <a:pt x="160" y="154"/>
                  </a:lnTo>
                  <a:lnTo>
                    <a:pt x="160" y="154"/>
                  </a:lnTo>
                  <a:lnTo>
                    <a:pt x="156" y="156"/>
                  </a:lnTo>
                  <a:lnTo>
                    <a:pt x="150" y="162"/>
                  </a:lnTo>
                  <a:lnTo>
                    <a:pt x="150" y="162"/>
                  </a:lnTo>
                  <a:lnTo>
                    <a:pt x="146" y="164"/>
                  </a:lnTo>
                  <a:lnTo>
                    <a:pt x="144" y="168"/>
                  </a:lnTo>
                  <a:lnTo>
                    <a:pt x="144" y="168"/>
                  </a:lnTo>
                  <a:lnTo>
                    <a:pt x="142" y="170"/>
                  </a:lnTo>
                  <a:lnTo>
                    <a:pt x="142" y="172"/>
                  </a:lnTo>
                  <a:lnTo>
                    <a:pt x="142" y="172"/>
                  </a:lnTo>
                  <a:lnTo>
                    <a:pt x="140" y="170"/>
                  </a:lnTo>
                  <a:lnTo>
                    <a:pt x="136" y="172"/>
                  </a:lnTo>
                  <a:lnTo>
                    <a:pt x="136" y="172"/>
                  </a:lnTo>
                  <a:lnTo>
                    <a:pt x="130" y="172"/>
                  </a:lnTo>
                  <a:lnTo>
                    <a:pt x="128" y="172"/>
                  </a:lnTo>
                  <a:lnTo>
                    <a:pt x="126" y="174"/>
                  </a:lnTo>
                  <a:lnTo>
                    <a:pt x="126" y="174"/>
                  </a:lnTo>
                  <a:lnTo>
                    <a:pt x="124" y="174"/>
                  </a:lnTo>
                  <a:lnTo>
                    <a:pt x="120" y="172"/>
                  </a:lnTo>
                  <a:lnTo>
                    <a:pt x="118" y="172"/>
                  </a:lnTo>
                  <a:lnTo>
                    <a:pt x="114" y="174"/>
                  </a:lnTo>
                  <a:lnTo>
                    <a:pt x="114" y="174"/>
                  </a:lnTo>
                  <a:lnTo>
                    <a:pt x="112" y="174"/>
                  </a:lnTo>
                  <a:lnTo>
                    <a:pt x="110" y="174"/>
                  </a:lnTo>
                  <a:lnTo>
                    <a:pt x="108" y="174"/>
                  </a:lnTo>
                  <a:lnTo>
                    <a:pt x="108" y="172"/>
                  </a:lnTo>
                  <a:lnTo>
                    <a:pt x="108" y="172"/>
                  </a:lnTo>
                  <a:lnTo>
                    <a:pt x="106" y="172"/>
                  </a:lnTo>
                  <a:lnTo>
                    <a:pt x="102" y="170"/>
                  </a:lnTo>
                  <a:lnTo>
                    <a:pt x="98" y="168"/>
                  </a:lnTo>
                  <a:lnTo>
                    <a:pt x="96" y="168"/>
                  </a:lnTo>
                  <a:lnTo>
                    <a:pt x="96" y="168"/>
                  </a:lnTo>
                  <a:lnTo>
                    <a:pt x="94" y="172"/>
                  </a:lnTo>
                  <a:lnTo>
                    <a:pt x="94" y="172"/>
                  </a:lnTo>
                  <a:lnTo>
                    <a:pt x="90" y="172"/>
                  </a:lnTo>
                  <a:lnTo>
                    <a:pt x="90" y="172"/>
                  </a:lnTo>
                  <a:lnTo>
                    <a:pt x="86" y="170"/>
                  </a:lnTo>
                  <a:lnTo>
                    <a:pt x="80" y="168"/>
                  </a:lnTo>
                  <a:lnTo>
                    <a:pt x="80" y="168"/>
                  </a:lnTo>
                  <a:lnTo>
                    <a:pt x="74" y="164"/>
                  </a:lnTo>
                  <a:lnTo>
                    <a:pt x="70" y="164"/>
                  </a:lnTo>
                  <a:lnTo>
                    <a:pt x="70" y="164"/>
                  </a:lnTo>
                  <a:lnTo>
                    <a:pt x="66" y="164"/>
                  </a:lnTo>
                  <a:lnTo>
                    <a:pt x="64" y="162"/>
                  </a:lnTo>
                  <a:lnTo>
                    <a:pt x="62" y="160"/>
                  </a:lnTo>
                  <a:lnTo>
                    <a:pt x="60" y="160"/>
                  </a:lnTo>
                  <a:lnTo>
                    <a:pt x="60" y="160"/>
                  </a:lnTo>
                  <a:lnTo>
                    <a:pt x="56" y="160"/>
                  </a:lnTo>
                  <a:lnTo>
                    <a:pt x="56" y="158"/>
                  </a:lnTo>
                  <a:lnTo>
                    <a:pt x="56" y="156"/>
                  </a:lnTo>
                  <a:lnTo>
                    <a:pt x="54" y="156"/>
                  </a:lnTo>
                  <a:lnTo>
                    <a:pt x="54" y="156"/>
                  </a:lnTo>
                  <a:lnTo>
                    <a:pt x="52" y="156"/>
                  </a:lnTo>
                  <a:lnTo>
                    <a:pt x="50" y="154"/>
                  </a:lnTo>
                  <a:lnTo>
                    <a:pt x="50" y="154"/>
                  </a:lnTo>
                  <a:lnTo>
                    <a:pt x="54" y="154"/>
                  </a:lnTo>
                  <a:lnTo>
                    <a:pt x="56" y="150"/>
                  </a:lnTo>
                  <a:lnTo>
                    <a:pt x="56" y="150"/>
                  </a:lnTo>
                  <a:lnTo>
                    <a:pt x="58" y="142"/>
                  </a:lnTo>
                  <a:lnTo>
                    <a:pt x="62" y="132"/>
                  </a:lnTo>
                  <a:lnTo>
                    <a:pt x="62" y="132"/>
                  </a:lnTo>
                  <a:lnTo>
                    <a:pt x="64" y="126"/>
                  </a:lnTo>
                  <a:lnTo>
                    <a:pt x="66" y="116"/>
                  </a:lnTo>
                  <a:lnTo>
                    <a:pt x="66" y="116"/>
                  </a:lnTo>
                  <a:lnTo>
                    <a:pt x="68" y="114"/>
                  </a:lnTo>
                  <a:lnTo>
                    <a:pt x="70" y="114"/>
                  </a:lnTo>
                  <a:lnTo>
                    <a:pt x="74" y="120"/>
                  </a:lnTo>
                  <a:lnTo>
                    <a:pt x="74" y="120"/>
                  </a:lnTo>
                  <a:lnTo>
                    <a:pt x="72" y="114"/>
                  </a:lnTo>
                  <a:lnTo>
                    <a:pt x="70" y="112"/>
                  </a:lnTo>
                  <a:lnTo>
                    <a:pt x="68" y="110"/>
                  </a:lnTo>
                  <a:lnTo>
                    <a:pt x="68" y="106"/>
                  </a:lnTo>
                  <a:lnTo>
                    <a:pt x="68" y="106"/>
                  </a:lnTo>
                  <a:lnTo>
                    <a:pt x="70" y="102"/>
                  </a:lnTo>
                  <a:lnTo>
                    <a:pt x="68" y="100"/>
                  </a:lnTo>
                  <a:lnTo>
                    <a:pt x="68" y="100"/>
                  </a:lnTo>
                  <a:lnTo>
                    <a:pt x="68" y="98"/>
                  </a:lnTo>
                  <a:lnTo>
                    <a:pt x="68" y="96"/>
                  </a:lnTo>
                  <a:lnTo>
                    <a:pt x="70" y="94"/>
                  </a:lnTo>
                  <a:lnTo>
                    <a:pt x="68" y="96"/>
                  </a:lnTo>
                  <a:lnTo>
                    <a:pt x="68" y="96"/>
                  </a:lnTo>
                  <a:lnTo>
                    <a:pt x="66" y="96"/>
                  </a:lnTo>
                  <a:lnTo>
                    <a:pt x="66" y="96"/>
                  </a:lnTo>
                  <a:lnTo>
                    <a:pt x="62" y="92"/>
                  </a:lnTo>
                  <a:lnTo>
                    <a:pt x="62" y="92"/>
                  </a:lnTo>
                  <a:lnTo>
                    <a:pt x="56" y="90"/>
                  </a:lnTo>
                  <a:lnTo>
                    <a:pt x="52" y="88"/>
                  </a:lnTo>
                  <a:lnTo>
                    <a:pt x="52" y="88"/>
                  </a:lnTo>
                  <a:lnTo>
                    <a:pt x="48" y="82"/>
                  </a:lnTo>
                  <a:lnTo>
                    <a:pt x="48" y="82"/>
                  </a:lnTo>
                  <a:lnTo>
                    <a:pt x="48" y="80"/>
                  </a:lnTo>
                  <a:lnTo>
                    <a:pt x="48" y="80"/>
                  </a:lnTo>
                  <a:lnTo>
                    <a:pt x="48" y="78"/>
                  </a:lnTo>
                  <a:lnTo>
                    <a:pt x="48" y="78"/>
                  </a:lnTo>
                  <a:lnTo>
                    <a:pt x="48" y="78"/>
                  </a:lnTo>
                  <a:lnTo>
                    <a:pt x="48" y="76"/>
                  </a:lnTo>
                  <a:lnTo>
                    <a:pt x="48" y="76"/>
                  </a:lnTo>
                  <a:lnTo>
                    <a:pt x="50" y="76"/>
                  </a:lnTo>
                  <a:lnTo>
                    <a:pt x="48" y="74"/>
                  </a:lnTo>
                  <a:lnTo>
                    <a:pt x="48" y="74"/>
                  </a:lnTo>
                  <a:lnTo>
                    <a:pt x="44" y="74"/>
                  </a:lnTo>
                  <a:lnTo>
                    <a:pt x="44" y="72"/>
                  </a:lnTo>
                  <a:lnTo>
                    <a:pt x="44" y="72"/>
                  </a:lnTo>
                  <a:lnTo>
                    <a:pt x="44" y="72"/>
                  </a:lnTo>
                  <a:lnTo>
                    <a:pt x="44" y="70"/>
                  </a:lnTo>
                  <a:lnTo>
                    <a:pt x="44" y="70"/>
                  </a:lnTo>
                  <a:lnTo>
                    <a:pt x="40" y="68"/>
                  </a:lnTo>
                  <a:lnTo>
                    <a:pt x="40" y="68"/>
                  </a:lnTo>
                  <a:lnTo>
                    <a:pt x="38" y="66"/>
                  </a:lnTo>
                  <a:lnTo>
                    <a:pt x="36" y="66"/>
                  </a:lnTo>
                  <a:lnTo>
                    <a:pt x="34" y="66"/>
                  </a:lnTo>
                  <a:lnTo>
                    <a:pt x="34" y="66"/>
                  </a:lnTo>
                  <a:lnTo>
                    <a:pt x="32" y="66"/>
                  </a:lnTo>
                  <a:lnTo>
                    <a:pt x="30" y="68"/>
                  </a:lnTo>
                  <a:lnTo>
                    <a:pt x="28" y="68"/>
                  </a:lnTo>
                  <a:lnTo>
                    <a:pt x="26" y="66"/>
                  </a:lnTo>
                  <a:lnTo>
                    <a:pt x="26" y="66"/>
                  </a:lnTo>
                  <a:lnTo>
                    <a:pt x="24" y="64"/>
                  </a:lnTo>
                  <a:lnTo>
                    <a:pt x="18" y="62"/>
                  </a:lnTo>
                  <a:lnTo>
                    <a:pt x="18" y="62"/>
                  </a:lnTo>
                  <a:lnTo>
                    <a:pt x="16" y="60"/>
                  </a:lnTo>
                  <a:lnTo>
                    <a:pt x="14" y="60"/>
                  </a:lnTo>
                  <a:lnTo>
                    <a:pt x="12" y="62"/>
                  </a:lnTo>
                  <a:lnTo>
                    <a:pt x="8" y="62"/>
                  </a:lnTo>
                  <a:lnTo>
                    <a:pt x="8" y="62"/>
                  </a:lnTo>
                  <a:lnTo>
                    <a:pt x="6" y="60"/>
                  </a:lnTo>
                  <a:lnTo>
                    <a:pt x="6" y="58"/>
                  </a:lnTo>
                  <a:lnTo>
                    <a:pt x="6" y="58"/>
                  </a:lnTo>
                  <a:lnTo>
                    <a:pt x="4" y="56"/>
                  </a:lnTo>
                  <a:lnTo>
                    <a:pt x="4" y="56"/>
                  </a:lnTo>
                  <a:lnTo>
                    <a:pt x="4" y="56"/>
                  </a:lnTo>
                  <a:lnTo>
                    <a:pt x="4" y="54"/>
                  </a:lnTo>
                  <a:lnTo>
                    <a:pt x="8" y="54"/>
                  </a:lnTo>
                  <a:lnTo>
                    <a:pt x="8" y="54"/>
                  </a:lnTo>
                  <a:lnTo>
                    <a:pt x="8" y="54"/>
                  </a:lnTo>
                  <a:lnTo>
                    <a:pt x="8" y="52"/>
                  </a:lnTo>
                  <a:lnTo>
                    <a:pt x="6" y="52"/>
                  </a:lnTo>
                  <a:lnTo>
                    <a:pt x="6" y="52"/>
                  </a:lnTo>
                  <a:lnTo>
                    <a:pt x="6" y="52"/>
                  </a:lnTo>
                  <a:lnTo>
                    <a:pt x="6" y="52"/>
                  </a:lnTo>
                  <a:lnTo>
                    <a:pt x="6" y="50"/>
                  </a:lnTo>
                  <a:lnTo>
                    <a:pt x="0" y="50"/>
                  </a:lnTo>
                  <a:lnTo>
                    <a:pt x="0" y="50"/>
                  </a:lnTo>
                  <a:lnTo>
                    <a:pt x="0" y="48"/>
                  </a:lnTo>
                  <a:lnTo>
                    <a:pt x="0" y="46"/>
                  </a:lnTo>
                  <a:lnTo>
                    <a:pt x="0" y="46"/>
                  </a:lnTo>
                  <a:lnTo>
                    <a:pt x="4" y="46"/>
                  </a:lnTo>
                  <a:lnTo>
                    <a:pt x="8" y="46"/>
                  </a:lnTo>
                  <a:lnTo>
                    <a:pt x="8" y="46"/>
                  </a:lnTo>
                  <a:lnTo>
                    <a:pt x="14" y="44"/>
                  </a:lnTo>
                  <a:lnTo>
                    <a:pt x="16" y="44"/>
                  </a:lnTo>
                  <a:lnTo>
                    <a:pt x="16" y="44"/>
                  </a:lnTo>
                  <a:lnTo>
                    <a:pt x="18" y="42"/>
                  </a:lnTo>
                  <a:lnTo>
                    <a:pt x="22" y="42"/>
                  </a:lnTo>
                  <a:lnTo>
                    <a:pt x="22" y="42"/>
                  </a:lnTo>
                  <a:lnTo>
                    <a:pt x="26" y="40"/>
                  </a:lnTo>
                  <a:lnTo>
                    <a:pt x="28" y="42"/>
                  </a:lnTo>
                  <a:lnTo>
                    <a:pt x="28" y="42"/>
                  </a:lnTo>
                  <a:lnTo>
                    <a:pt x="30" y="44"/>
                  </a:lnTo>
                  <a:lnTo>
                    <a:pt x="30" y="46"/>
                  </a:lnTo>
                  <a:lnTo>
                    <a:pt x="32" y="46"/>
                  </a:lnTo>
                  <a:lnTo>
                    <a:pt x="32" y="46"/>
                  </a:lnTo>
                  <a:lnTo>
                    <a:pt x="36" y="44"/>
                  </a:lnTo>
                  <a:lnTo>
                    <a:pt x="38" y="44"/>
                  </a:lnTo>
                  <a:lnTo>
                    <a:pt x="38" y="44"/>
                  </a:lnTo>
                  <a:lnTo>
                    <a:pt x="40" y="44"/>
                  </a:lnTo>
                  <a:lnTo>
                    <a:pt x="44" y="44"/>
                  </a:lnTo>
                  <a:lnTo>
                    <a:pt x="44" y="44"/>
                  </a:lnTo>
                  <a:lnTo>
                    <a:pt x="48" y="46"/>
                  </a:lnTo>
                  <a:lnTo>
                    <a:pt x="52" y="46"/>
                  </a:lnTo>
                  <a:lnTo>
                    <a:pt x="52" y="46"/>
                  </a:lnTo>
                  <a:lnTo>
                    <a:pt x="54" y="46"/>
                  </a:lnTo>
                  <a:lnTo>
                    <a:pt x="54" y="46"/>
                  </a:lnTo>
                  <a:lnTo>
                    <a:pt x="52" y="44"/>
                  </a:lnTo>
                  <a:lnTo>
                    <a:pt x="52" y="42"/>
                  </a:lnTo>
                  <a:lnTo>
                    <a:pt x="52" y="42"/>
                  </a:lnTo>
                  <a:lnTo>
                    <a:pt x="54" y="40"/>
                  </a:lnTo>
                  <a:lnTo>
                    <a:pt x="54" y="36"/>
                  </a:lnTo>
                  <a:lnTo>
                    <a:pt x="54" y="36"/>
                  </a:lnTo>
                  <a:lnTo>
                    <a:pt x="54" y="34"/>
                  </a:lnTo>
                  <a:lnTo>
                    <a:pt x="52" y="30"/>
                  </a:lnTo>
                  <a:lnTo>
                    <a:pt x="52" y="30"/>
                  </a:lnTo>
                  <a:lnTo>
                    <a:pt x="50" y="24"/>
                  </a:lnTo>
                  <a:lnTo>
                    <a:pt x="50" y="24"/>
                  </a:lnTo>
                  <a:lnTo>
                    <a:pt x="50" y="24"/>
                  </a:lnTo>
                  <a:lnTo>
                    <a:pt x="52" y="22"/>
                  </a:lnTo>
                  <a:lnTo>
                    <a:pt x="54" y="24"/>
                  </a:lnTo>
                  <a:lnTo>
                    <a:pt x="54" y="24"/>
                  </a:lnTo>
                  <a:lnTo>
                    <a:pt x="58" y="24"/>
                  </a:lnTo>
                  <a:lnTo>
                    <a:pt x="60" y="24"/>
                  </a:lnTo>
                  <a:lnTo>
                    <a:pt x="60" y="24"/>
                  </a:lnTo>
                  <a:lnTo>
                    <a:pt x="60" y="24"/>
                  </a:lnTo>
                  <a:lnTo>
                    <a:pt x="62" y="28"/>
                  </a:lnTo>
                  <a:lnTo>
                    <a:pt x="64" y="30"/>
                  </a:lnTo>
                  <a:lnTo>
                    <a:pt x="64" y="30"/>
                  </a:lnTo>
                  <a:lnTo>
                    <a:pt x="64" y="34"/>
                  </a:lnTo>
                  <a:lnTo>
                    <a:pt x="66" y="34"/>
                  </a:lnTo>
                  <a:lnTo>
                    <a:pt x="68" y="34"/>
                  </a:lnTo>
                  <a:lnTo>
                    <a:pt x="68" y="34"/>
                  </a:lnTo>
                  <a:lnTo>
                    <a:pt x="70" y="32"/>
                  </a:lnTo>
                  <a:lnTo>
                    <a:pt x="72" y="32"/>
                  </a:lnTo>
                  <a:lnTo>
                    <a:pt x="72" y="32"/>
                  </a:lnTo>
                  <a:lnTo>
                    <a:pt x="74" y="32"/>
                  </a:lnTo>
                  <a:lnTo>
                    <a:pt x="76" y="32"/>
                  </a:lnTo>
                  <a:lnTo>
                    <a:pt x="78" y="30"/>
                  </a:lnTo>
                  <a:lnTo>
                    <a:pt x="82" y="30"/>
                  </a:lnTo>
                  <a:lnTo>
                    <a:pt x="82" y="30"/>
                  </a:lnTo>
                  <a:lnTo>
                    <a:pt x="86" y="30"/>
                  </a:lnTo>
                  <a:lnTo>
                    <a:pt x="84" y="28"/>
                  </a:lnTo>
                  <a:lnTo>
                    <a:pt x="84" y="28"/>
                  </a:lnTo>
                  <a:lnTo>
                    <a:pt x="84" y="26"/>
                  </a:lnTo>
                  <a:lnTo>
                    <a:pt x="86" y="24"/>
                  </a:lnTo>
                  <a:lnTo>
                    <a:pt x="86" y="24"/>
                  </a:lnTo>
                  <a:lnTo>
                    <a:pt x="88" y="24"/>
                  </a:lnTo>
                  <a:lnTo>
                    <a:pt x="92" y="22"/>
                  </a:lnTo>
                  <a:lnTo>
                    <a:pt x="92" y="22"/>
                  </a:lnTo>
                  <a:lnTo>
                    <a:pt x="100" y="20"/>
                  </a:lnTo>
                  <a:lnTo>
                    <a:pt x="100" y="20"/>
                  </a:lnTo>
                  <a:lnTo>
                    <a:pt x="108" y="18"/>
                  </a:lnTo>
                  <a:lnTo>
                    <a:pt x="110" y="18"/>
                  </a:lnTo>
                  <a:lnTo>
                    <a:pt x="112" y="14"/>
                  </a:lnTo>
                  <a:lnTo>
                    <a:pt x="112" y="14"/>
                  </a:lnTo>
                  <a:lnTo>
                    <a:pt x="112" y="12"/>
                  </a:lnTo>
                  <a:lnTo>
                    <a:pt x="112" y="10"/>
                  </a:lnTo>
                  <a:lnTo>
                    <a:pt x="112" y="10"/>
                  </a:lnTo>
                  <a:lnTo>
                    <a:pt x="114" y="8"/>
                  </a:lnTo>
                  <a:lnTo>
                    <a:pt x="116" y="6"/>
                  </a:lnTo>
                  <a:lnTo>
                    <a:pt x="116" y="6"/>
                  </a:lnTo>
                  <a:lnTo>
                    <a:pt x="116" y="4"/>
                  </a:lnTo>
                  <a:lnTo>
                    <a:pt x="116" y="2"/>
                  </a:lnTo>
                  <a:lnTo>
                    <a:pt x="118" y="2"/>
                  </a:lnTo>
                  <a:lnTo>
                    <a:pt x="118" y="2"/>
                  </a:lnTo>
                  <a:lnTo>
                    <a:pt x="128" y="0"/>
                  </a:lnTo>
                  <a:lnTo>
                    <a:pt x="128" y="0"/>
                  </a:lnTo>
                  <a:lnTo>
                    <a:pt x="130" y="2"/>
                  </a:lnTo>
                  <a:lnTo>
                    <a:pt x="132" y="4"/>
                  </a:lnTo>
                  <a:lnTo>
                    <a:pt x="136" y="4"/>
                  </a:lnTo>
                  <a:lnTo>
                    <a:pt x="136" y="4"/>
                  </a:lnTo>
                  <a:lnTo>
                    <a:pt x="140" y="6"/>
                  </a:lnTo>
                  <a:lnTo>
                    <a:pt x="142" y="8"/>
                  </a:lnTo>
                  <a:lnTo>
                    <a:pt x="142" y="8"/>
                  </a:lnTo>
                  <a:lnTo>
                    <a:pt x="146" y="10"/>
                  </a:lnTo>
                  <a:lnTo>
                    <a:pt x="148" y="10"/>
                  </a:lnTo>
                  <a:lnTo>
                    <a:pt x="148" y="10"/>
                  </a:lnTo>
                  <a:lnTo>
                    <a:pt x="152" y="12"/>
                  </a:lnTo>
                  <a:lnTo>
                    <a:pt x="152" y="16"/>
                  </a:lnTo>
                  <a:lnTo>
                    <a:pt x="152" y="16"/>
                  </a:lnTo>
                  <a:lnTo>
                    <a:pt x="152" y="18"/>
                  </a:lnTo>
                  <a:lnTo>
                    <a:pt x="156" y="18"/>
                  </a:lnTo>
                  <a:lnTo>
                    <a:pt x="156" y="18"/>
                  </a:lnTo>
                  <a:lnTo>
                    <a:pt x="158" y="18"/>
                  </a:lnTo>
                  <a:lnTo>
                    <a:pt x="160" y="14"/>
                  </a:lnTo>
                  <a:lnTo>
                    <a:pt x="160" y="14"/>
                  </a:lnTo>
                  <a:lnTo>
                    <a:pt x="162" y="14"/>
                  </a:lnTo>
                  <a:lnTo>
                    <a:pt x="162" y="14"/>
                  </a:lnTo>
                  <a:lnTo>
                    <a:pt x="162" y="16"/>
                  </a:lnTo>
                  <a:lnTo>
                    <a:pt x="162" y="16"/>
                  </a:lnTo>
                  <a:lnTo>
                    <a:pt x="162" y="20"/>
                  </a:lnTo>
                  <a:lnTo>
                    <a:pt x="162" y="22"/>
                  </a:lnTo>
                  <a:lnTo>
                    <a:pt x="164" y="24"/>
                  </a:lnTo>
                  <a:lnTo>
                    <a:pt x="164" y="24"/>
                  </a:lnTo>
                  <a:lnTo>
                    <a:pt x="166" y="24"/>
                  </a:lnTo>
                  <a:lnTo>
                    <a:pt x="168" y="26"/>
                  </a:lnTo>
                  <a:lnTo>
                    <a:pt x="170" y="28"/>
                  </a:lnTo>
                  <a:lnTo>
                    <a:pt x="170" y="28"/>
                  </a:lnTo>
                  <a:lnTo>
                    <a:pt x="170" y="28"/>
                  </a:lnTo>
                  <a:lnTo>
                    <a:pt x="172" y="28"/>
                  </a:lnTo>
                  <a:lnTo>
                    <a:pt x="172" y="28"/>
                  </a:lnTo>
                  <a:lnTo>
                    <a:pt x="174" y="26"/>
                  </a:lnTo>
                  <a:lnTo>
                    <a:pt x="174" y="26"/>
                  </a:lnTo>
                  <a:lnTo>
                    <a:pt x="176" y="26"/>
                  </a:lnTo>
                  <a:lnTo>
                    <a:pt x="176" y="26"/>
                  </a:lnTo>
                  <a:lnTo>
                    <a:pt x="178" y="26"/>
                  </a:lnTo>
                  <a:lnTo>
                    <a:pt x="180" y="28"/>
                  </a:lnTo>
                  <a:lnTo>
                    <a:pt x="180" y="28"/>
                  </a:lnTo>
                  <a:lnTo>
                    <a:pt x="188" y="28"/>
                  </a:lnTo>
                  <a:lnTo>
                    <a:pt x="188" y="28"/>
                  </a:lnTo>
                  <a:lnTo>
                    <a:pt x="194" y="30"/>
                  </a:lnTo>
                  <a:lnTo>
                    <a:pt x="194" y="30"/>
                  </a:lnTo>
                  <a:lnTo>
                    <a:pt x="198" y="34"/>
                  </a:lnTo>
                  <a:lnTo>
                    <a:pt x="200" y="36"/>
                  </a:lnTo>
                  <a:lnTo>
                    <a:pt x="202" y="36"/>
                  </a:lnTo>
                  <a:lnTo>
                    <a:pt x="202" y="36"/>
                  </a:lnTo>
                  <a:lnTo>
                    <a:pt x="208" y="36"/>
                  </a:lnTo>
                  <a:lnTo>
                    <a:pt x="214" y="38"/>
                  </a:lnTo>
                  <a:lnTo>
                    <a:pt x="214" y="38"/>
                  </a:lnTo>
                  <a:lnTo>
                    <a:pt x="220" y="40"/>
                  </a:lnTo>
                  <a:lnTo>
                    <a:pt x="220" y="40"/>
                  </a:lnTo>
                  <a:lnTo>
                    <a:pt x="220" y="42"/>
                  </a:lnTo>
                  <a:lnTo>
                    <a:pt x="220" y="42"/>
                  </a:lnTo>
                  <a:lnTo>
                    <a:pt x="216" y="48"/>
                  </a:lnTo>
                  <a:lnTo>
                    <a:pt x="214" y="56"/>
                  </a:lnTo>
                  <a:lnTo>
                    <a:pt x="214" y="56"/>
                  </a:lnTo>
                  <a:lnTo>
                    <a:pt x="212" y="60"/>
                  </a:lnTo>
                  <a:lnTo>
                    <a:pt x="212" y="64"/>
                  </a:lnTo>
                  <a:lnTo>
                    <a:pt x="212" y="64"/>
                  </a:lnTo>
                  <a:lnTo>
                    <a:pt x="214" y="66"/>
                  </a:lnTo>
                  <a:lnTo>
                    <a:pt x="214" y="66"/>
                  </a:lnTo>
                  <a:lnTo>
                    <a:pt x="212" y="68"/>
                  </a:lnTo>
                  <a:lnTo>
                    <a:pt x="210" y="68"/>
                  </a:lnTo>
                  <a:lnTo>
                    <a:pt x="210" y="68"/>
                  </a:lnTo>
                  <a:lnTo>
                    <a:pt x="206" y="68"/>
                  </a:lnTo>
                  <a:lnTo>
                    <a:pt x="204" y="68"/>
                  </a:lnTo>
                  <a:lnTo>
                    <a:pt x="202" y="70"/>
                  </a:lnTo>
                  <a:lnTo>
                    <a:pt x="204" y="70"/>
                  </a:lnTo>
                  <a:lnTo>
                    <a:pt x="204" y="70"/>
                  </a:lnTo>
                  <a:lnTo>
                    <a:pt x="204" y="72"/>
                  </a:lnTo>
                  <a:lnTo>
                    <a:pt x="204" y="72"/>
                  </a:lnTo>
                  <a:lnTo>
                    <a:pt x="202" y="74"/>
                  </a:lnTo>
                  <a:lnTo>
                    <a:pt x="202" y="74"/>
                  </a:lnTo>
                  <a:lnTo>
                    <a:pt x="196" y="78"/>
                  </a:lnTo>
                  <a:lnTo>
                    <a:pt x="194" y="78"/>
                  </a:lnTo>
                  <a:lnTo>
                    <a:pt x="192" y="80"/>
                  </a:lnTo>
                  <a:lnTo>
                    <a:pt x="192" y="80"/>
                  </a:lnTo>
                  <a:lnTo>
                    <a:pt x="190" y="88"/>
                  </a:lnTo>
                  <a:lnTo>
                    <a:pt x="188" y="96"/>
                  </a:lnTo>
                  <a:lnTo>
                    <a:pt x="188" y="96"/>
                  </a:lnTo>
                  <a:lnTo>
                    <a:pt x="190" y="98"/>
                  </a:lnTo>
                  <a:lnTo>
                    <a:pt x="190" y="96"/>
                  </a:lnTo>
                  <a:lnTo>
                    <a:pt x="194" y="94"/>
                  </a:lnTo>
                  <a:lnTo>
                    <a:pt x="194" y="94"/>
                  </a:lnTo>
                  <a:lnTo>
                    <a:pt x="198" y="92"/>
                  </a:lnTo>
                  <a:lnTo>
                    <a:pt x="200" y="92"/>
                  </a:lnTo>
                  <a:lnTo>
                    <a:pt x="202" y="92"/>
                  </a:lnTo>
                  <a:lnTo>
                    <a:pt x="202" y="92"/>
                  </a:lnTo>
                  <a:lnTo>
                    <a:pt x="204" y="94"/>
                  </a:lnTo>
                  <a:lnTo>
                    <a:pt x="206" y="98"/>
                  </a:lnTo>
                  <a:lnTo>
                    <a:pt x="206" y="98"/>
                  </a:lnTo>
                  <a:lnTo>
                    <a:pt x="206" y="100"/>
                  </a:lnTo>
                  <a:lnTo>
                    <a:pt x="208" y="102"/>
                  </a:lnTo>
                  <a:lnTo>
                    <a:pt x="208" y="102"/>
                  </a:lnTo>
                  <a:lnTo>
                    <a:pt x="208" y="106"/>
                  </a:lnTo>
                  <a:lnTo>
                    <a:pt x="210" y="110"/>
                  </a:lnTo>
                  <a:lnTo>
                    <a:pt x="210" y="110"/>
                  </a:lnTo>
                  <a:lnTo>
                    <a:pt x="210" y="110"/>
                  </a:lnTo>
                  <a:lnTo>
                    <a:pt x="212" y="110"/>
                  </a:lnTo>
                  <a:lnTo>
                    <a:pt x="212" y="112"/>
                  </a:lnTo>
                  <a:lnTo>
                    <a:pt x="212" y="112"/>
                  </a:lnTo>
                  <a:lnTo>
                    <a:pt x="212" y="112"/>
                  </a:lnTo>
                  <a:lnTo>
                    <a:pt x="206" y="118"/>
                  </a:lnTo>
                  <a:lnTo>
                    <a:pt x="206" y="118"/>
                  </a:lnTo>
                  <a:lnTo>
                    <a:pt x="206" y="120"/>
                  </a:lnTo>
                  <a:lnTo>
                    <a:pt x="208" y="120"/>
                  </a:lnTo>
                  <a:lnTo>
                    <a:pt x="212" y="122"/>
                  </a:lnTo>
                  <a:lnTo>
                    <a:pt x="212" y="124"/>
                  </a:lnTo>
                  <a:lnTo>
                    <a:pt x="212" y="124"/>
                  </a:lnTo>
                  <a:lnTo>
                    <a:pt x="210" y="128"/>
                  </a:lnTo>
                  <a:lnTo>
                    <a:pt x="210" y="132"/>
                  </a:lnTo>
                  <a:lnTo>
                    <a:pt x="210" y="132"/>
                  </a:lnTo>
                  <a:lnTo>
                    <a:pt x="212" y="138"/>
                  </a:lnTo>
                  <a:lnTo>
                    <a:pt x="212" y="138"/>
                  </a:lnTo>
                  <a:lnTo>
                    <a:pt x="214" y="140"/>
                  </a:lnTo>
                  <a:lnTo>
                    <a:pt x="214" y="140"/>
                  </a:lnTo>
                  <a:lnTo>
                    <a:pt x="220" y="140"/>
                  </a:lnTo>
                  <a:lnTo>
                    <a:pt x="222" y="140"/>
                  </a:lnTo>
                  <a:lnTo>
                    <a:pt x="222" y="142"/>
                  </a:lnTo>
                  <a:lnTo>
                    <a:pt x="222" y="142"/>
                  </a:lnTo>
                  <a:lnTo>
                    <a:pt x="220" y="146"/>
                  </a:lnTo>
                  <a:lnTo>
                    <a:pt x="220" y="146"/>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Germany"/>
            <p:cNvSpPr>
              <a:spLocks/>
            </p:cNvSpPr>
            <p:nvPr/>
          </p:nvSpPr>
          <p:spPr bwMode="auto">
            <a:xfrm>
              <a:off x="4279601" y="1922198"/>
              <a:ext cx="211667" cy="190500"/>
            </a:xfrm>
            <a:custGeom>
              <a:avLst/>
              <a:gdLst/>
              <a:ahLst/>
              <a:cxnLst>
                <a:cxn ang="0">
                  <a:pos x="48" y="0"/>
                </a:cxn>
                <a:cxn ang="0">
                  <a:pos x="50" y="6"/>
                </a:cxn>
                <a:cxn ang="0">
                  <a:pos x="46" y="8"/>
                </a:cxn>
                <a:cxn ang="0">
                  <a:pos x="50" y="10"/>
                </a:cxn>
                <a:cxn ang="0">
                  <a:pos x="52" y="14"/>
                </a:cxn>
                <a:cxn ang="0">
                  <a:pos x="60" y="18"/>
                </a:cxn>
                <a:cxn ang="0">
                  <a:pos x="58" y="18"/>
                </a:cxn>
                <a:cxn ang="0">
                  <a:pos x="48" y="18"/>
                </a:cxn>
                <a:cxn ang="0">
                  <a:pos x="46" y="26"/>
                </a:cxn>
                <a:cxn ang="0">
                  <a:pos x="40" y="28"/>
                </a:cxn>
                <a:cxn ang="0">
                  <a:pos x="38" y="26"/>
                </a:cxn>
                <a:cxn ang="0">
                  <a:pos x="36" y="22"/>
                </a:cxn>
                <a:cxn ang="0">
                  <a:pos x="22" y="28"/>
                </a:cxn>
                <a:cxn ang="0">
                  <a:pos x="18" y="34"/>
                </a:cxn>
                <a:cxn ang="0">
                  <a:pos x="18" y="36"/>
                </a:cxn>
                <a:cxn ang="0">
                  <a:pos x="16" y="48"/>
                </a:cxn>
                <a:cxn ang="0">
                  <a:pos x="14" y="54"/>
                </a:cxn>
                <a:cxn ang="0">
                  <a:pos x="2" y="60"/>
                </a:cxn>
                <a:cxn ang="0">
                  <a:pos x="0" y="70"/>
                </a:cxn>
                <a:cxn ang="0">
                  <a:pos x="0" y="76"/>
                </a:cxn>
                <a:cxn ang="0">
                  <a:pos x="0" y="84"/>
                </a:cxn>
                <a:cxn ang="0">
                  <a:pos x="4" y="100"/>
                </a:cxn>
                <a:cxn ang="0">
                  <a:pos x="16" y="108"/>
                </a:cxn>
                <a:cxn ang="0">
                  <a:pos x="30" y="110"/>
                </a:cxn>
                <a:cxn ang="0">
                  <a:pos x="32" y="120"/>
                </a:cxn>
                <a:cxn ang="0">
                  <a:pos x="28" y="136"/>
                </a:cxn>
                <a:cxn ang="0">
                  <a:pos x="42" y="140"/>
                </a:cxn>
                <a:cxn ang="0">
                  <a:pos x="48" y="138"/>
                </a:cxn>
                <a:cxn ang="0">
                  <a:pos x="68" y="140"/>
                </a:cxn>
                <a:cxn ang="0">
                  <a:pos x="88" y="144"/>
                </a:cxn>
                <a:cxn ang="0">
                  <a:pos x="94" y="140"/>
                </a:cxn>
                <a:cxn ang="0">
                  <a:pos x="104" y="140"/>
                </a:cxn>
                <a:cxn ang="0">
                  <a:pos x="114" y="138"/>
                </a:cxn>
                <a:cxn ang="0">
                  <a:pos x="122" y="134"/>
                </a:cxn>
                <a:cxn ang="0">
                  <a:pos x="126" y="134"/>
                </a:cxn>
                <a:cxn ang="0">
                  <a:pos x="132" y="136"/>
                </a:cxn>
                <a:cxn ang="0">
                  <a:pos x="132" y="130"/>
                </a:cxn>
                <a:cxn ang="0">
                  <a:pos x="132" y="126"/>
                </a:cxn>
                <a:cxn ang="0">
                  <a:pos x="138" y="120"/>
                </a:cxn>
                <a:cxn ang="0">
                  <a:pos x="144" y="114"/>
                </a:cxn>
                <a:cxn ang="0">
                  <a:pos x="128" y="100"/>
                </a:cxn>
                <a:cxn ang="0">
                  <a:pos x="116" y="88"/>
                </a:cxn>
                <a:cxn ang="0">
                  <a:pos x="124" y="82"/>
                </a:cxn>
                <a:cxn ang="0">
                  <a:pos x="146" y="72"/>
                </a:cxn>
                <a:cxn ang="0">
                  <a:pos x="156" y="74"/>
                </a:cxn>
                <a:cxn ang="0">
                  <a:pos x="160" y="68"/>
                </a:cxn>
                <a:cxn ang="0">
                  <a:pos x="154" y="42"/>
                </a:cxn>
                <a:cxn ang="0">
                  <a:pos x="148" y="38"/>
                </a:cxn>
                <a:cxn ang="0">
                  <a:pos x="142" y="32"/>
                </a:cxn>
                <a:cxn ang="0">
                  <a:pos x="146" y="22"/>
                </a:cxn>
                <a:cxn ang="0">
                  <a:pos x="140" y="14"/>
                </a:cxn>
                <a:cxn ang="0">
                  <a:pos x="136" y="8"/>
                </a:cxn>
                <a:cxn ang="0">
                  <a:pos x="130" y="12"/>
                </a:cxn>
                <a:cxn ang="0">
                  <a:pos x="118" y="14"/>
                </a:cxn>
                <a:cxn ang="0">
                  <a:pos x="122" y="10"/>
                </a:cxn>
                <a:cxn ang="0">
                  <a:pos x="110" y="14"/>
                </a:cxn>
                <a:cxn ang="0">
                  <a:pos x="98" y="14"/>
                </a:cxn>
                <a:cxn ang="0">
                  <a:pos x="86" y="14"/>
                </a:cxn>
                <a:cxn ang="0">
                  <a:pos x="78" y="12"/>
                </a:cxn>
                <a:cxn ang="0">
                  <a:pos x="76" y="8"/>
                </a:cxn>
                <a:cxn ang="0">
                  <a:pos x="68" y="8"/>
                </a:cxn>
                <a:cxn ang="0">
                  <a:pos x="62" y="2"/>
                </a:cxn>
              </a:cxnLst>
              <a:rect l="0" t="0" r="r" b="b"/>
              <a:pathLst>
                <a:path w="160" h="144">
                  <a:moveTo>
                    <a:pt x="60" y="0"/>
                  </a:moveTo>
                  <a:lnTo>
                    <a:pt x="60" y="0"/>
                  </a:lnTo>
                  <a:lnTo>
                    <a:pt x="56" y="2"/>
                  </a:lnTo>
                  <a:lnTo>
                    <a:pt x="52" y="0"/>
                  </a:lnTo>
                  <a:lnTo>
                    <a:pt x="48" y="0"/>
                  </a:lnTo>
                  <a:lnTo>
                    <a:pt x="44" y="0"/>
                  </a:lnTo>
                  <a:lnTo>
                    <a:pt x="44" y="0"/>
                  </a:lnTo>
                  <a:lnTo>
                    <a:pt x="48" y="6"/>
                  </a:lnTo>
                  <a:lnTo>
                    <a:pt x="48" y="6"/>
                  </a:lnTo>
                  <a:lnTo>
                    <a:pt x="50" y="6"/>
                  </a:lnTo>
                  <a:lnTo>
                    <a:pt x="48" y="6"/>
                  </a:lnTo>
                  <a:lnTo>
                    <a:pt x="48" y="6"/>
                  </a:lnTo>
                  <a:lnTo>
                    <a:pt x="46" y="8"/>
                  </a:lnTo>
                  <a:lnTo>
                    <a:pt x="46" y="8"/>
                  </a:lnTo>
                  <a:lnTo>
                    <a:pt x="46" y="8"/>
                  </a:lnTo>
                  <a:lnTo>
                    <a:pt x="48" y="8"/>
                  </a:lnTo>
                  <a:lnTo>
                    <a:pt x="50" y="8"/>
                  </a:lnTo>
                  <a:lnTo>
                    <a:pt x="50" y="10"/>
                  </a:lnTo>
                  <a:lnTo>
                    <a:pt x="50" y="10"/>
                  </a:lnTo>
                  <a:lnTo>
                    <a:pt x="50" y="10"/>
                  </a:lnTo>
                  <a:lnTo>
                    <a:pt x="52" y="12"/>
                  </a:lnTo>
                  <a:lnTo>
                    <a:pt x="52" y="12"/>
                  </a:lnTo>
                  <a:lnTo>
                    <a:pt x="54" y="12"/>
                  </a:lnTo>
                  <a:lnTo>
                    <a:pt x="54" y="12"/>
                  </a:lnTo>
                  <a:lnTo>
                    <a:pt x="52" y="14"/>
                  </a:lnTo>
                  <a:lnTo>
                    <a:pt x="52" y="14"/>
                  </a:lnTo>
                  <a:lnTo>
                    <a:pt x="54" y="16"/>
                  </a:lnTo>
                  <a:lnTo>
                    <a:pt x="56" y="16"/>
                  </a:lnTo>
                  <a:lnTo>
                    <a:pt x="56" y="16"/>
                  </a:lnTo>
                  <a:lnTo>
                    <a:pt x="60" y="18"/>
                  </a:lnTo>
                  <a:lnTo>
                    <a:pt x="64" y="22"/>
                  </a:lnTo>
                  <a:lnTo>
                    <a:pt x="64" y="22"/>
                  </a:lnTo>
                  <a:lnTo>
                    <a:pt x="60" y="20"/>
                  </a:lnTo>
                  <a:lnTo>
                    <a:pt x="58" y="18"/>
                  </a:lnTo>
                  <a:lnTo>
                    <a:pt x="58" y="18"/>
                  </a:lnTo>
                  <a:lnTo>
                    <a:pt x="54" y="18"/>
                  </a:lnTo>
                  <a:lnTo>
                    <a:pt x="50" y="16"/>
                  </a:lnTo>
                  <a:lnTo>
                    <a:pt x="50" y="16"/>
                  </a:lnTo>
                  <a:lnTo>
                    <a:pt x="48" y="16"/>
                  </a:lnTo>
                  <a:lnTo>
                    <a:pt x="48" y="18"/>
                  </a:lnTo>
                  <a:lnTo>
                    <a:pt x="46" y="22"/>
                  </a:lnTo>
                  <a:lnTo>
                    <a:pt x="46" y="22"/>
                  </a:lnTo>
                  <a:lnTo>
                    <a:pt x="46" y="24"/>
                  </a:lnTo>
                  <a:lnTo>
                    <a:pt x="46" y="26"/>
                  </a:lnTo>
                  <a:lnTo>
                    <a:pt x="46" y="26"/>
                  </a:lnTo>
                  <a:lnTo>
                    <a:pt x="44" y="24"/>
                  </a:lnTo>
                  <a:lnTo>
                    <a:pt x="40" y="26"/>
                  </a:lnTo>
                  <a:lnTo>
                    <a:pt x="40" y="26"/>
                  </a:lnTo>
                  <a:lnTo>
                    <a:pt x="40" y="26"/>
                  </a:lnTo>
                  <a:lnTo>
                    <a:pt x="40" y="28"/>
                  </a:lnTo>
                  <a:lnTo>
                    <a:pt x="40" y="28"/>
                  </a:lnTo>
                  <a:lnTo>
                    <a:pt x="38" y="28"/>
                  </a:lnTo>
                  <a:lnTo>
                    <a:pt x="38" y="26"/>
                  </a:lnTo>
                  <a:lnTo>
                    <a:pt x="38" y="26"/>
                  </a:lnTo>
                  <a:lnTo>
                    <a:pt x="38" y="26"/>
                  </a:lnTo>
                  <a:lnTo>
                    <a:pt x="38" y="26"/>
                  </a:lnTo>
                  <a:lnTo>
                    <a:pt x="38" y="26"/>
                  </a:lnTo>
                  <a:lnTo>
                    <a:pt x="38" y="24"/>
                  </a:lnTo>
                  <a:lnTo>
                    <a:pt x="38" y="24"/>
                  </a:lnTo>
                  <a:lnTo>
                    <a:pt x="36" y="22"/>
                  </a:lnTo>
                  <a:lnTo>
                    <a:pt x="30" y="24"/>
                  </a:lnTo>
                  <a:lnTo>
                    <a:pt x="30" y="24"/>
                  </a:lnTo>
                  <a:lnTo>
                    <a:pt x="28" y="24"/>
                  </a:lnTo>
                  <a:lnTo>
                    <a:pt x="22" y="28"/>
                  </a:lnTo>
                  <a:lnTo>
                    <a:pt x="22" y="28"/>
                  </a:lnTo>
                  <a:lnTo>
                    <a:pt x="20" y="30"/>
                  </a:lnTo>
                  <a:lnTo>
                    <a:pt x="18" y="30"/>
                  </a:lnTo>
                  <a:lnTo>
                    <a:pt x="18" y="30"/>
                  </a:lnTo>
                  <a:lnTo>
                    <a:pt x="18" y="32"/>
                  </a:lnTo>
                  <a:lnTo>
                    <a:pt x="18" y="34"/>
                  </a:lnTo>
                  <a:lnTo>
                    <a:pt x="18" y="32"/>
                  </a:lnTo>
                  <a:lnTo>
                    <a:pt x="18" y="32"/>
                  </a:lnTo>
                  <a:lnTo>
                    <a:pt x="16" y="34"/>
                  </a:lnTo>
                  <a:lnTo>
                    <a:pt x="18" y="34"/>
                  </a:lnTo>
                  <a:lnTo>
                    <a:pt x="18" y="36"/>
                  </a:lnTo>
                  <a:lnTo>
                    <a:pt x="16" y="38"/>
                  </a:lnTo>
                  <a:lnTo>
                    <a:pt x="16" y="38"/>
                  </a:lnTo>
                  <a:lnTo>
                    <a:pt x="14" y="44"/>
                  </a:lnTo>
                  <a:lnTo>
                    <a:pt x="14" y="46"/>
                  </a:lnTo>
                  <a:lnTo>
                    <a:pt x="16" y="48"/>
                  </a:lnTo>
                  <a:lnTo>
                    <a:pt x="16" y="48"/>
                  </a:lnTo>
                  <a:lnTo>
                    <a:pt x="18" y="48"/>
                  </a:lnTo>
                  <a:lnTo>
                    <a:pt x="18" y="50"/>
                  </a:lnTo>
                  <a:lnTo>
                    <a:pt x="14" y="54"/>
                  </a:lnTo>
                  <a:lnTo>
                    <a:pt x="14" y="54"/>
                  </a:lnTo>
                  <a:lnTo>
                    <a:pt x="10" y="56"/>
                  </a:lnTo>
                  <a:lnTo>
                    <a:pt x="4" y="56"/>
                  </a:lnTo>
                  <a:lnTo>
                    <a:pt x="4" y="56"/>
                  </a:lnTo>
                  <a:lnTo>
                    <a:pt x="2" y="58"/>
                  </a:lnTo>
                  <a:lnTo>
                    <a:pt x="2" y="60"/>
                  </a:lnTo>
                  <a:lnTo>
                    <a:pt x="2" y="60"/>
                  </a:lnTo>
                  <a:lnTo>
                    <a:pt x="2" y="62"/>
                  </a:lnTo>
                  <a:lnTo>
                    <a:pt x="2" y="66"/>
                  </a:lnTo>
                  <a:lnTo>
                    <a:pt x="0" y="68"/>
                  </a:lnTo>
                  <a:lnTo>
                    <a:pt x="0" y="70"/>
                  </a:lnTo>
                  <a:lnTo>
                    <a:pt x="0" y="70"/>
                  </a:lnTo>
                  <a:lnTo>
                    <a:pt x="2" y="72"/>
                  </a:lnTo>
                  <a:lnTo>
                    <a:pt x="0" y="72"/>
                  </a:lnTo>
                  <a:lnTo>
                    <a:pt x="0" y="74"/>
                  </a:lnTo>
                  <a:lnTo>
                    <a:pt x="0" y="76"/>
                  </a:lnTo>
                  <a:lnTo>
                    <a:pt x="0" y="76"/>
                  </a:lnTo>
                  <a:lnTo>
                    <a:pt x="2" y="78"/>
                  </a:lnTo>
                  <a:lnTo>
                    <a:pt x="2" y="80"/>
                  </a:lnTo>
                  <a:lnTo>
                    <a:pt x="0" y="84"/>
                  </a:lnTo>
                  <a:lnTo>
                    <a:pt x="0" y="84"/>
                  </a:lnTo>
                  <a:lnTo>
                    <a:pt x="4" y="88"/>
                  </a:lnTo>
                  <a:lnTo>
                    <a:pt x="4" y="92"/>
                  </a:lnTo>
                  <a:lnTo>
                    <a:pt x="4" y="92"/>
                  </a:lnTo>
                  <a:lnTo>
                    <a:pt x="6" y="94"/>
                  </a:lnTo>
                  <a:lnTo>
                    <a:pt x="4" y="100"/>
                  </a:lnTo>
                  <a:lnTo>
                    <a:pt x="4" y="100"/>
                  </a:lnTo>
                  <a:lnTo>
                    <a:pt x="10" y="102"/>
                  </a:lnTo>
                  <a:lnTo>
                    <a:pt x="10" y="102"/>
                  </a:lnTo>
                  <a:lnTo>
                    <a:pt x="14" y="106"/>
                  </a:lnTo>
                  <a:lnTo>
                    <a:pt x="16" y="108"/>
                  </a:lnTo>
                  <a:lnTo>
                    <a:pt x="18" y="108"/>
                  </a:lnTo>
                  <a:lnTo>
                    <a:pt x="18" y="108"/>
                  </a:lnTo>
                  <a:lnTo>
                    <a:pt x="24" y="108"/>
                  </a:lnTo>
                  <a:lnTo>
                    <a:pt x="30" y="110"/>
                  </a:lnTo>
                  <a:lnTo>
                    <a:pt x="30" y="110"/>
                  </a:lnTo>
                  <a:lnTo>
                    <a:pt x="36" y="112"/>
                  </a:lnTo>
                  <a:lnTo>
                    <a:pt x="36" y="112"/>
                  </a:lnTo>
                  <a:lnTo>
                    <a:pt x="36" y="114"/>
                  </a:lnTo>
                  <a:lnTo>
                    <a:pt x="36" y="114"/>
                  </a:lnTo>
                  <a:lnTo>
                    <a:pt x="32" y="120"/>
                  </a:lnTo>
                  <a:lnTo>
                    <a:pt x="30" y="128"/>
                  </a:lnTo>
                  <a:lnTo>
                    <a:pt x="30" y="128"/>
                  </a:lnTo>
                  <a:lnTo>
                    <a:pt x="28" y="132"/>
                  </a:lnTo>
                  <a:lnTo>
                    <a:pt x="28" y="136"/>
                  </a:lnTo>
                  <a:lnTo>
                    <a:pt x="28" y="136"/>
                  </a:lnTo>
                  <a:lnTo>
                    <a:pt x="30" y="138"/>
                  </a:lnTo>
                  <a:lnTo>
                    <a:pt x="30" y="138"/>
                  </a:lnTo>
                  <a:lnTo>
                    <a:pt x="32" y="138"/>
                  </a:lnTo>
                  <a:lnTo>
                    <a:pt x="32" y="138"/>
                  </a:lnTo>
                  <a:lnTo>
                    <a:pt x="42" y="140"/>
                  </a:lnTo>
                  <a:lnTo>
                    <a:pt x="46" y="140"/>
                  </a:lnTo>
                  <a:lnTo>
                    <a:pt x="48" y="140"/>
                  </a:lnTo>
                  <a:lnTo>
                    <a:pt x="48" y="138"/>
                  </a:lnTo>
                  <a:lnTo>
                    <a:pt x="48" y="138"/>
                  </a:lnTo>
                  <a:lnTo>
                    <a:pt x="48" y="138"/>
                  </a:lnTo>
                  <a:lnTo>
                    <a:pt x="48" y="138"/>
                  </a:lnTo>
                  <a:lnTo>
                    <a:pt x="52" y="138"/>
                  </a:lnTo>
                  <a:lnTo>
                    <a:pt x="66" y="142"/>
                  </a:lnTo>
                  <a:lnTo>
                    <a:pt x="66" y="142"/>
                  </a:lnTo>
                  <a:lnTo>
                    <a:pt x="68" y="140"/>
                  </a:lnTo>
                  <a:lnTo>
                    <a:pt x="72" y="140"/>
                  </a:lnTo>
                  <a:lnTo>
                    <a:pt x="80" y="142"/>
                  </a:lnTo>
                  <a:lnTo>
                    <a:pt x="80" y="142"/>
                  </a:lnTo>
                  <a:lnTo>
                    <a:pt x="86" y="144"/>
                  </a:lnTo>
                  <a:lnTo>
                    <a:pt x="88" y="144"/>
                  </a:lnTo>
                  <a:lnTo>
                    <a:pt x="90" y="142"/>
                  </a:lnTo>
                  <a:lnTo>
                    <a:pt x="90" y="142"/>
                  </a:lnTo>
                  <a:lnTo>
                    <a:pt x="90" y="140"/>
                  </a:lnTo>
                  <a:lnTo>
                    <a:pt x="92" y="140"/>
                  </a:lnTo>
                  <a:lnTo>
                    <a:pt x="94" y="140"/>
                  </a:lnTo>
                  <a:lnTo>
                    <a:pt x="96" y="138"/>
                  </a:lnTo>
                  <a:lnTo>
                    <a:pt x="96" y="138"/>
                  </a:lnTo>
                  <a:lnTo>
                    <a:pt x="96" y="138"/>
                  </a:lnTo>
                  <a:lnTo>
                    <a:pt x="98" y="138"/>
                  </a:lnTo>
                  <a:lnTo>
                    <a:pt x="104" y="140"/>
                  </a:lnTo>
                  <a:lnTo>
                    <a:pt x="104" y="140"/>
                  </a:lnTo>
                  <a:lnTo>
                    <a:pt x="106" y="140"/>
                  </a:lnTo>
                  <a:lnTo>
                    <a:pt x="108" y="140"/>
                  </a:lnTo>
                  <a:lnTo>
                    <a:pt x="114" y="138"/>
                  </a:lnTo>
                  <a:lnTo>
                    <a:pt x="114" y="138"/>
                  </a:lnTo>
                  <a:lnTo>
                    <a:pt x="116" y="136"/>
                  </a:lnTo>
                  <a:lnTo>
                    <a:pt x="118" y="134"/>
                  </a:lnTo>
                  <a:lnTo>
                    <a:pt x="118" y="134"/>
                  </a:lnTo>
                  <a:lnTo>
                    <a:pt x="120" y="134"/>
                  </a:lnTo>
                  <a:lnTo>
                    <a:pt x="122" y="134"/>
                  </a:lnTo>
                  <a:lnTo>
                    <a:pt x="122" y="134"/>
                  </a:lnTo>
                  <a:lnTo>
                    <a:pt x="124" y="134"/>
                  </a:lnTo>
                  <a:lnTo>
                    <a:pt x="124" y="134"/>
                  </a:lnTo>
                  <a:lnTo>
                    <a:pt x="126" y="134"/>
                  </a:lnTo>
                  <a:lnTo>
                    <a:pt x="126" y="134"/>
                  </a:lnTo>
                  <a:lnTo>
                    <a:pt x="128" y="136"/>
                  </a:lnTo>
                  <a:lnTo>
                    <a:pt x="130" y="138"/>
                  </a:lnTo>
                  <a:lnTo>
                    <a:pt x="130" y="138"/>
                  </a:lnTo>
                  <a:lnTo>
                    <a:pt x="132" y="138"/>
                  </a:lnTo>
                  <a:lnTo>
                    <a:pt x="132" y="136"/>
                  </a:lnTo>
                  <a:lnTo>
                    <a:pt x="132" y="134"/>
                  </a:lnTo>
                  <a:lnTo>
                    <a:pt x="132" y="134"/>
                  </a:lnTo>
                  <a:lnTo>
                    <a:pt x="132" y="132"/>
                  </a:lnTo>
                  <a:lnTo>
                    <a:pt x="132" y="132"/>
                  </a:lnTo>
                  <a:lnTo>
                    <a:pt x="132" y="130"/>
                  </a:lnTo>
                  <a:lnTo>
                    <a:pt x="132" y="130"/>
                  </a:lnTo>
                  <a:lnTo>
                    <a:pt x="132" y="130"/>
                  </a:lnTo>
                  <a:lnTo>
                    <a:pt x="130" y="128"/>
                  </a:lnTo>
                  <a:lnTo>
                    <a:pt x="130" y="128"/>
                  </a:lnTo>
                  <a:lnTo>
                    <a:pt x="132" y="126"/>
                  </a:lnTo>
                  <a:lnTo>
                    <a:pt x="132" y="126"/>
                  </a:lnTo>
                  <a:lnTo>
                    <a:pt x="134" y="126"/>
                  </a:lnTo>
                  <a:lnTo>
                    <a:pt x="136" y="124"/>
                  </a:lnTo>
                  <a:lnTo>
                    <a:pt x="138" y="122"/>
                  </a:lnTo>
                  <a:lnTo>
                    <a:pt x="138" y="120"/>
                  </a:lnTo>
                  <a:lnTo>
                    <a:pt x="138" y="120"/>
                  </a:lnTo>
                  <a:lnTo>
                    <a:pt x="140" y="120"/>
                  </a:lnTo>
                  <a:lnTo>
                    <a:pt x="142" y="118"/>
                  </a:lnTo>
                  <a:lnTo>
                    <a:pt x="144" y="114"/>
                  </a:lnTo>
                  <a:lnTo>
                    <a:pt x="144" y="114"/>
                  </a:lnTo>
                  <a:lnTo>
                    <a:pt x="144" y="110"/>
                  </a:lnTo>
                  <a:lnTo>
                    <a:pt x="140" y="108"/>
                  </a:lnTo>
                  <a:lnTo>
                    <a:pt x="140" y="108"/>
                  </a:lnTo>
                  <a:lnTo>
                    <a:pt x="136" y="106"/>
                  </a:lnTo>
                  <a:lnTo>
                    <a:pt x="128" y="100"/>
                  </a:lnTo>
                  <a:lnTo>
                    <a:pt x="128" y="100"/>
                  </a:lnTo>
                  <a:lnTo>
                    <a:pt x="124" y="98"/>
                  </a:lnTo>
                  <a:lnTo>
                    <a:pt x="120" y="94"/>
                  </a:lnTo>
                  <a:lnTo>
                    <a:pt x="120" y="94"/>
                  </a:lnTo>
                  <a:lnTo>
                    <a:pt x="116" y="88"/>
                  </a:lnTo>
                  <a:lnTo>
                    <a:pt x="112" y="84"/>
                  </a:lnTo>
                  <a:lnTo>
                    <a:pt x="112" y="84"/>
                  </a:lnTo>
                  <a:lnTo>
                    <a:pt x="112" y="82"/>
                  </a:lnTo>
                  <a:lnTo>
                    <a:pt x="116" y="82"/>
                  </a:lnTo>
                  <a:lnTo>
                    <a:pt x="124" y="82"/>
                  </a:lnTo>
                  <a:lnTo>
                    <a:pt x="124" y="82"/>
                  </a:lnTo>
                  <a:lnTo>
                    <a:pt x="136" y="78"/>
                  </a:lnTo>
                  <a:lnTo>
                    <a:pt x="136" y="78"/>
                  </a:lnTo>
                  <a:lnTo>
                    <a:pt x="142" y="76"/>
                  </a:lnTo>
                  <a:lnTo>
                    <a:pt x="146" y="72"/>
                  </a:lnTo>
                  <a:lnTo>
                    <a:pt x="146" y="72"/>
                  </a:lnTo>
                  <a:lnTo>
                    <a:pt x="150" y="68"/>
                  </a:lnTo>
                  <a:lnTo>
                    <a:pt x="152" y="70"/>
                  </a:lnTo>
                  <a:lnTo>
                    <a:pt x="152" y="70"/>
                  </a:lnTo>
                  <a:lnTo>
                    <a:pt x="156" y="74"/>
                  </a:lnTo>
                  <a:lnTo>
                    <a:pt x="160" y="74"/>
                  </a:lnTo>
                  <a:lnTo>
                    <a:pt x="160" y="74"/>
                  </a:lnTo>
                  <a:lnTo>
                    <a:pt x="160" y="72"/>
                  </a:lnTo>
                  <a:lnTo>
                    <a:pt x="160" y="68"/>
                  </a:lnTo>
                  <a:lnTo>
                    <a:pt x="160" y="68"/>
                  </a:lnTo>
                  <a:lnTo>
                    <a:pt x="158" y="60"/>
                  </a:lnTo>
                  <a:lnTo>
                    <a:pt x="154" y="50"/>
                  </a:lnTo>
                  <a:lnTo>
                    <a:pt x="154" y="50"/>
                  </a:lnTo>
                  <a:lnTo>
                    <a:pt x="154" y="46"/>
                  </a:lnTo>
                  <a:lnTo>
                    <a:pt x="154" y="42"/>
                  </a:lnTo>
                  <a:lnTo>
                    <a:pt x="154" y="42"/>
                  </a:lnTo>
                  <a:lnTo>
                    <a:pt x="152" y="40"/>
                  </a:lnTo>
                  <a:lnTo>
                    <a:pt x="150" y="40"/>
                  </a:lnTo>
                  <a:lnTo>
                    <a:pt x="148" y="38"/>
                  </a:lnTo>
                  <a:lnTo>
                    <a:pt x="148" y="38"/>
                  </a:lnTo>
                  <a:lnTo>
                    <a:pt x="144" y="36"/>
                  </a:lnTo>
                  <a:lnTo>
                    <a:pt x="142" y="36"/>
                  </a:lnTo>
                  <a:lnTo>
                    <a:pt x="142" y="34"/>
                  </a:lnTo>
                  <a:lnTo>
                    <a:pt x="142" y="34"/>
                  </a:lnTo>
                  <a:lnTo>
                    <a:pt x="142" y="32"/>
                  </a:lnTo>
                  <a:lnTo>
                    <a:pt x="144" y="28"/>
                  </a:lnTo>
                  <a:lnTo>
                    <a:pt x="146" y="26"/>
                  </a:lnTo>
                  <a:lnTo>
                    <a:pt x="146" y="26"/>
                  </a:lnTo>
                  <a:lnTo>
                    <a:pt x="146" y="26"/>
                  </a:lnTo>
                  <a:lnTo>
                    <a:pt x="146" y="22"/>
                  </a:lnTo>
                  <a:lnTo>
                    <a:pt x="146" y="18"/>
                  </a:lnTo>
                  <a:lnTo>
                    <a:pt x="146" y="18"/>
                  </a:lnTo>
                  <a:lnTo>
                    <a:pt x="142" y="16"/>
                  </a:lnTo>
                  <a:lnTo>
                    <a:pt x="140" y="14"/>
                  </a:lnTo>
                  <a:lnTo>
                    <a:pt x="140" y="14"/>
                  </a:lnTo>
                  <a:lnTo>
                    <a:pt x="138" y="12"/>
                  </a:lnTo>
                  <a:lnTo>
                    <a:pt x="138" y="10"/>
                  </a:lnTo>
                  <a:lnTo>
                    <a:pt x="138" y="10"/>
                  </a:lnTo>
                  <a:lnTo>
                    <a:pt x="136" y="8"/>
                  </a:lnTo>
                  <a:lnTo>
                    <a:pt x="136" y="8"/>
                  </a:lnTo>
                  <a:lnTo>
                    <a:pt x="134" y="8"/>
                  </a:lnTo>
                  <a:lnTo>
                    <a:pt x="132" y="10"/>
                  </a:lnTo>
                  <a:lnTo>
                    <a:pt x="132" y="12"/>
                  </a:lnTo>
                  <a:lnTo>
                    <a:pt x="130" y="12"/>
                  </a:lnTo>
                  <a:lnTo>
                    <a:pt x="130" y="12"/>
                  </a:lnTo>
                  <a:lnTo>
                    <a:pt x="128" y="10"/>
                  </a:lnTo>
                  <a:lnTo>
                    <a:pt x="124" y="10"/>
                  </a:lnTo>
                  <a:lnTo>
                    <a:pt x="124" y="10"/>
                  </a:lnTo>
                  <a:lnTo>
                    <a:pt x="118" y="14"/>
                  </a:lnTo>
                  <a:lnTo>
                    <a:pt x="118" y="14"/>
                  </a:lnTo>
                  <a:lnTo>
                    <a:pt x="116" y="14"/>
                  </a:lnTo>
                  <a:lnTo>
                    <a:pt x="118" y="12"/>
                  </a:lnTo>
                  <a:lnTo>
                    <a:pt x="118" y="12"/>
                  </a:lnTo>
                  <a:lnTo>
                    <a:pt x="122" y="10"/>
                  </a:lnTo>
                  <a:lnTo>
                    <a:pt x="122" y="10"/>
                  </a:lnTo>
                  <a:lnTo>
                    <a:pt x="122" y="10"/>
                  </a:lnTo>
                  <a:lnTo>
                    <a:pt x="118" y="10"/>
                  </a:lnTo>
                  <a:lnTo>
                    <a:pt x="118" y="10"/>
                  </a:lnTo>
                  <a:lnTo>
                    <a:pt x="114" y="12"/>
                  </a:lnTo>
                  <a:lnTo>
                    <a:pt x="110" y="14"/>
                  </a:lnTo>
                  <a:lnTo>
                    <a:pt x="110" y="14"/>
                  </a:lnTo>
                  <a:lnTo>
                    <a:pt x="104" y="14"/>
                  </a:lnTo>
                  <a:lnTo>
                    <a:pt x="100" y="14"/>
                  </a:lnTo>
                  <a:lnTo>
                    <a:pt x="100" y="14"/>
                  </a:lnTo>
                  <a:lnTo>
                    <a:pt x="98" y="14"/>
                  </a:lnTo>
                  <a:lnTo>
                    <a:pt x="94" y="16"/>
                  </a:lnTo>
                  <a:lnTo>
                    <a:pt x="94" y="16"/>
                  </a:lnTo>
                  <a:lnTo>
                    <a:pt x="92" y="16"/>
                  </a:lnTo>
                  <a:lnTo>
                    <a:pt x="90" y="16"/>
                  </a:lnTo>
                  <a:lnTo>
                    <a:pt x="86" y="14"/>
                  </a:lnTo>
                  <a:lnTo>
                    <a:pt x="86" y="14"/>
                  </a:lnTo>
                  <a:lnTo>
                    <a:pt x="82" y="14"/>
                  </a:lnTo>
                  <a:lnTo>
                    <a:pt x="78" y="14"/>
                  </a:lnTo>
                  <a:lnTo>
                    <a:pt x="78" y="14"/>
                  </a:lnTo>
                  <a:lnTo>
                    <a:pt x="78" y="12"/>
                  </a:lnTo>
                  <a:lnTo>
                    <a:pt x="80" y="12"/>
                  </a:lnTo>
                  <a:lnTo>
                    <a:pt x="82" y="10"/>
                  </a:lnTo>
                  <a:lnTo>
                    <a:pt x="78" y="8"/>
                  </a:lnTo>
                  <a:lnTo>
                    <a:pt x="78" y="8"/>
                  </a:lnTo>
                  <a:lnTo>
                    <a:pt x="76" y="8"/>
                  </a:lnTo>
                  <a:lnTo>
                    <a:pt x="74" y="6"/>
                  </a:lnTo>
                  <a:lnTo>
                    <a:pt x="74" y="6"/>
                  </a:lnTo>
                  <a:lnTo>
                    <a:pt x="70" y="6"/>
                  </a:lnTo>
                  <a:lnTo>
                    <a:pt x="68" y="8"/>
                  </a:lnTo>
                  <a:lnTo>
                    <a:pt x="68" y="8"/>
                  </a:lnTo>
                  <a:lnTo>
                    <a:pt x="66" y="4"/>
                  </a:lnTo>
                  <a:lnTo>
                    <a:pt x="62" y="6"/>
                  </a:lnTo>
                  <a:lnTo>
                    <a:pt x="62" y="6"/>
                  </a:lnTo>
                  <a:lnTo>
                    <a:pt x="64" y="4"/>
                  </a:lnTo>
                  <a:lnTo>
                    <a:pt x="62" y="2"/>
                  </a:lnTo>
                  <a:lnTo>
                    <a:pt x="60" y="0"/>
                  </a:lnTo>
                  <a:lnTo>
                    <a:pt x="60" y="0"/>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Greece"/>
            <p:cNvSpPr>
              <a:spLocks/>
            </p:cNvSpPr>
            <p:nvPr/>
          </p:nvSpPr>
          <p:spPr bwMode="auto">
            <a:xfrm>
              <a:off x="4657955" y="2263510"/>
              <a:ext cx="150813" cy="156104"/>
            </a:xfrm>
            <a:custGeom>
              <a:avLst/>
              <a:gdLst/>
              <a:ahLst/>
              <a:cxnLst>
                <a:cxn ang="0">
                  <a:pos x="6" y="50"/>
                </a:cxn>
                <a:cxn ang="0">
                  <a:pos x="12" y="58"/>
                </a:cxn>
                <a:cxn ang="0">
                  <a:pos x="20" y="66"/>
                </a:cxn>
                <a:cxn ang="0">
                  <a:pos x="24" y="64"/>
                </a:cxn>
                <a:cxn ang="0">
                  <a:pos x="28" y="64"/>
                </a:cxn>
                <a:cxn ang="0">
                  <a:pos x="22" y="68"/>
                </a:cxn>
                <a:cxn ang="0">
                  <a:pos x="30" y="74"/>
                </a:cxn>
                <a:cxn ang="0">
                  <a:pos x="44" y="74"/>
                </a:cxn>
                <a:cxn ang="0">
                  <a:pos x="58" y="78"/>
                </a:cxn>
                <a:cxn ang="0">
                  <a:pos x="52" y="80"/>
                </a:cxn>
                <a:cxn ang="0">
                  <a:pos x="36" y="78"/>
                </a:cxn>
                <a:cxn ang="0">
                  <a:pos x="26" y="82"/>
                </a:cxn>
                <a:cxn ang="0">
                  <a:pos x="28" y="92"/>
                </a:cxn>
                <a:cxn ang="0">
                  <a:pos x="38" y="98"/>
                </a:cxn>
                <a:cxn ang="0">
                  <a:pos x="46" y="110"/>
                </a:cxn>
                <a:cxn ang="0">
                  <a:pos x="54" y="110"/>
                </a:cxn>
                <a:cxn ang="0">
                  <a:pos x="58" y="114"/>
                </a:cxn>
                <a:cxn ang="0">
                  <a:pos x="66" y="118"/>
                </a:cxn>
                <a:cxn ang="0">
                  <a:pos x="60" y="102"/>
                </a:cxn>
                <a:cxn ang="0">
                  <a:pos x="58" y="96"/>
                </a:cxn>
                <a:cxn ang="0">
                  <a:pos x="64" y="98"/>
                </a:cxn>
                <a:cxn ang="0">
                  <a:pos x="66" y="92"/>
                </a:cxn>
                <a:cxn ang="0">
                  <a:pos x="64" y="86"/>
                </a:cxn>
                <a:cxn ang="0">
                  <a:pos x="78" y="90"/>
                </a:cxn>
                <a:cxn ang="0">
                  <a:pos x="80" y="80"/>
                </a:cxn>
                <a:cxn ang="0">
                  <a:pos x="66" y="70"/>
                </a:cxn>
                <a:cxn ang="0">
                  <a:pos x="56" y="64"/>
                </a:cxn>
                <a:cxn ang="0">
                  <a:pos x="50" y="58"/>
                </a:cxn>
                <a:cxn ang="0">
                  <a:pos x="50" y="50"/>
                </a:cxn>
                <a:cxn ang="0">
                  <a:pos x="56" y="54"/>
                </a:cxn>
                <a:cxn ang="0">
                  <a:pos x="56" y="46"/>
                </a:cxn>
                <a:cxn ang="0">
                  <a:pos x="48" y="36"/>
                </a:cxn>
                <a:cxn ang="0">
                  <a:pos x="48" y="30"/>
                </a:cxn>
                <a:cxn ang="0">
                  <a:pos x="60" y="34"/>
                </a:cxn>
                <a:cxn ang="0">
                  <a:pos x="64" y="36"/>
                </a:cxn>
                <a:cxn ang="0">
                  <a:pos x="68" y="38"/>
                </a:cxn>
                <a:cxn ang="0">
                  <a:pos x="70" y="36"/>
                </a:cxn>
                <a:cxn ang="0">
                  <a:pos x="68" y="28"/>
                </a:cxn>
                <a:cxn ang="0">
                  <a:pos x="76" y="24"/>
                </a:cxn>
                <a:cxn ang="0">
                  <a:pos x="84" y="20"/>
                </a:cxn>
                <a:cxn ang="0">
                  <a:pos x="90" y="22"/>
                </a:cxn>
                <a:cxn ang="0">
                  <a:pos x="108" y="22"/>
                </a:cxn>
                <a:cxn ang="0">
                  <a:pos x="112" y="10"/>
                </a:cxn>
                <a:cxn ang="0">
                  <a:pos x="110" y="2"/>
                </a:cxn>
                <a:cxn ang="0">
                  <a:pos x="106" y="6"/>
                </a:cxn>
                <a:cxn ang="0">
                  <a:pos x="94" y="6"/>
                </a:cxn>
                <a:cxn ang="0">
                  <a:pos x="78" y="4"/>
                </a:cxn>
                <a:cxn ang="0">
                  <a:pos x="66" y="6"/>
                </a:cxn>
                <a:cxn ang="0">
                  <a:pos x="48" y="10"/>
                </a:cxn>
                <a:cxn ang="0">
                  <a:pos x="40" y="10"/>
                </a:cxn>
                <a:cxn ang="0">
                  <a:pos x="20" y="18"/>
                </a:cxn>
                <a:cxn ang="0">
                  <a:pos x="10" y="30"/>
                </a:cxn>
                <a:cxn ang="0">
                  <a:pos x="2" y="44"/>
                </a:cxn>
              </a:cxnLst>
              <a:rect l="0" t="0" r="r" b="b"/>
              <a:pathLst>
                <a:path w="114" h="118">
                  <a:moveTo>
                    <a:pt x="2" y="48"/>
                  </a:moveTo>
                  <a:lnTo>
                    <a:pt x="2" y="48"/>
                  </a:lnTo>
                  <a:lnTo>
                    <a:pt x="0" y="48"/>
                  </a:lnTo>
                  <a:lnTo>
                    <a:pt x="2" y="50"/>
                  </a:lnTo>
                  <a:lnTo>
                    <a:pt x="2" y="50"/>
                  </a:lnTo>
                  <a:lnTo>
                    <a:pt x="6" y="50"/>
                  </a:lnTo>
                  <a:lnTo>
                    <a:pt x="8" y="52"/>
                  </a:lnTo>
                  <a:lnTo>
                    <a:pt x="8" y="54"/>
                  </a:lnTo>
                  <a:lnTo>
                    <a:pt x="8" y="54"/>
                  </a:lnTo>
                  <a:lnTo>
                    <a:pt x="10" y="56"/>
                  </a:lnTo>
                  <a:lnTo>
                    <a:pt x="10" y="56"/>
                  </a:lnTo>
                  <a:lnTo>
                    <a:pt x="12" y="58"/>
                  </a:lnTo>
                  <a:lnTo>
                    <a:pt x="14" y="58"/>
                  </a:lnTo>
                  <a:lnTo>
                    <a:pt x="14" y="58"/>
                  </a:lnTo>
                  <a:lnTo>
                    <a:pt x="16" y="62"/>
                  </a:lnTo>
                  <a:lnTo>
                    <a:pt x="20" y="66"/>
                  </a:lnTo>
                  <a:lnTo>
                    <a:pt x="20" y="66"/>
                  </a:lnTo>
                  <a:lnTo>
                    <a:pt x="20" y="66"/>
                  </a:lnTo>
                  <a:lnTo>
                    <a:pt x="22" y="66"/>
                  </a:lnTo>
                  <a:lnTo>
                    <a:pt x="22" y="62"/>
                  </a:lnTo>
                  <a:lnTo>
                    <a:pt x="22" y="62"/>
                  </a:lnTo>
                  <a:lnTo>
                    <a:pt x="22" y="62"/>
                  </a:lnTo>
                  <a:lnTo>
                    <a:pt x="22" y="62"/>
                  </a:lnTo>
                  <a:lnTo>
                    <a:pt x="24" y="64"/>
                  </a:lnTo>
                  <a:lnTo>
                    <a:pt x="26" y="62"/>
                  </a:lnTo>
                  <a:lnTo>
                    <a:pt x="26" y="62"/>
                  </a:lnTo>
                  <a:lnTo>
                    <a:pt x="26" y="62"/>
                  </a:lnTo>
                  <a:lnTo>
                    <a:pt x="26" y="64"/>
                  </a:lnTo>
                  <a:lnTo>
                    <a:pt x="28" y="64"/>
                  </a:lnTo>
                  <a:lnTo>
                    <a:pt x="28" y="64"/>
                  </a:lnTo>
                  <a:lnTo>
                    <a:pt x="30" y="66"/>
                  </a:lnTo>
                  <a:lnTo>
                    <a:pt x="28" y="66"/>
                  </a:lnTo>
                  <a:lnTo>
                    <a:pt x="28" y="66"/>
                  </a:lnTo>
                  <a:lnTo>
                    <a:pt x="22" y="66"/>
                  </a:lnTo>
                  <a:lnTo>
                    <a:pt x="22" y="68"/>
                  </a:lnTo>
                  <a:lnTo>
                    <a:pt x="22" y="68"/>
                  </a:lnTo>
                  <a:lnTo>
                    <a:pt x="24" y="72"/>
                  </a:lnTo>
                  <a:lnTo>
                    <a:pt x="26" y="74"/>
                  </a:lnTo>
                  <a:lnTo>
                    <a:pt x="26" y="74"/>
                  </a:lnTo>
                  <a:lnTo>
                    <a:pt x="28" y="76"/>
                  </a:lnTo>
                  <a:lnTo>
                    <a:pt x="30" y="74"/>
                  </a:lnTo>
                  <a:lnTo>
                    <a:pt x="30" y="74"/>
                  </a:lnTo>
                  <a:lnTo>
                    <a:pt x="32" y="72"/>
                  </a:lnTo>
                  <a:lnTo>
                    <a:pt x="34" y="74"/>
                  </a:lnTo>
                  <a:lnTo>
                    <a:pt x="38" y="76"/>
                  </a:lnTo>
                  <a:lnTo>
                    <a:pt x="40" y="76"/>
                  </a:lnTo>
                  <a:lnTo>
                    <a:pt x="40" y="76"/>
                  </a:lnTo>
                  <a:lnTo>
                    <a:pt x="44" y="74"/>
                  </a:lnTo>
                  <a:lnTo>
                    <a:pt x="50" y="78"/>
                  </a:lnTo>
                  <a:lnTo>
                    <a:pt x="50" y="78"/>
                  </a:lnTo>
                  <a:lnTo>
                    <a:pt x="54" y="80"/>
                  </a:lnTo>
                  <a:lnTo>
                    <a:pt x="58" y="78"/>
                  </a:lnTo>
                  <a:lnTo>
                    <a:pt x="58" y="78"/>
                  </a:lnTo>
                  <a:lnTo>
                    <a:pt x="58" y="78"/>
                  </a:lnTo>
                  <a:lnTo>
                    <a:pt x="58" y="78"/>
                  </a:lnTo>
                  <a:lnTo>
                    <a:pt x="56" y="80"/>
                  </a:lnTo>
                  <a:lnTo>
                    <a:pt x="58" y="82"/>
                  </a:lnTo>
                  <a:lnTo>
                    <a:pt x="58" y="82"/>
                  </a:lnTo>
                  <a:lnTo>
                    <a:pt x="52" y="80"/>
                  </a:lnTo>
                  <a:lnTo>
                    <a:pt x="52" y="80"/>
                  </a:lnTo>
                  <a:lnTo>
                    <a:pt x="48" y="80"/>
                  </a:lnTo>
                  <a:lnTo>
                    <a:pt x="44" y="78"/>
                  </a:lnTo>
                  <a:lnTo>
                    <a:pt x="44" y="78"/>
                  </a:lnTo>
                  <a:lnTo>
                    <a:pt x="40" y="78"/>
                  </a:lnTo>
                  <a:lnTo>
                    <a:pt x="38" y="78"/>
                  </a:lnTo>
                  <a:lnTo>
                    <a:pt x="36" y="78"/>
                  </a:lnTo>
                  <a:lnTo>
                    <a:pt x="34" y="78"/>
                  </a:lnTo>
                  <a:lnTo>
                    <a:pt x="34" y="78"/>
                  </a:lnTo>
                  <a:lnTo>
                    <a:pt x="32" y="78"/>
                  </a:lnTo>
                  <a:lnTo>
                    <a:pt x="30" y="80"/>
                  </a:lnTo>
                  <a:lnTo>
                    <a:pt x="28" y="82"/>
                  </a:lnTo>
                  <a:lnTo>
                    <a:pt x="26" y="82"/>
                  </a:lnTo>
                  <a:lnTo>
                    <a:pt x="26" y="82"/>
                  </a:lnTo>
                  <a:lnTo>
                    <a:pt x="24" y="84"/>
                  </a:lnTo>
                  <a:lnTo>
                    <a:pt x="26" y="86"/>
                  </a:lnTo>
                  <a:lnTo>
                    <a:pt x="26" y="86"/>
                  </a:lnTo>
                  <a:lnTo>
                    <a:pt x="28" y="88"/>
                  </a:lnTo>
                  <a:lnTo>
                    <a:pt x="28" y="92"/>
                  </a:lnTo>
                  <a:lnTo>
                    <a:pt x="28" y="92"/>
                  </a:lnTo>
                  <a:lnTo>
                    <a:pt x="30" y="90"/>
                  </a:lnTo>
                  <a:lnTo>
                    <a:pt x="32" y="90"/>
                  </a:lnTo>
                  <a:lnTo>
                    <a:pt x="36" y="94"/>
                  </a:lnTo>
                  <a:lnTo>
                    <a:pt x="38" y="98"/>
                  </a:lnTo>
                  <a:lnTo>
                    <a:pt x="38" y="98"/>
                  </a:lnTo>
                  <a:lnTo>
                    <a:pt x="36" y="100"/>
                  </a:lnTo>
                  <a:lnTo>
                    <a:pt x="36" y="100"/>
                  </a:lnTo>
                  <a:lnTo>
                    <a:pt x="34" y="102"/>
                  </a:lnTo>
                  <a:lnTo>
                    <a:pt x="36" y="104"/>
                  </a:lnTo>
                  <a:lnTo>
                    <a:pt x="46" y="110"/>
                  </a:lnTo>
                  <a:lnTo>
                    <a:pt x="46" y="110"/>
                  </a:lnTo>
                  <a:lnTo>
                    <a:pt x="50" y="112"/>
                  </a:lnTo>
                  <a:lnTo>
                    <a:pt x="50" y="112"/>
                  </a:lnTo>
                  <a:lnTo>
                    <a:pt x="52" y="110"/>
                  </a:lnTo>
                  <a:lnTo>
                    <a:pt x="52" y="110"/>
                  </a:lnTo>
                  <a:lnTo>
                    <a:pt x="52" y="108"/>
                  </a:lnTo>
                  <a:lnTo>
                    <a:pt x="54" y="110"/>
                  </a:lnTo>
                  <a:lnTo>
                    <a:pt x="54" y="114"/>
                  </a:lnTo>
                  <a:lnTo>
                    <a:pt x="54" y="114"/>
                  </a:lnTo>
                  <a:lnTo>
                    <a:pt x="56" y="116"/>
                  </a:lnTo>
                  <a:lnTo>
                    <a:pt x="56" y="116"/>
                  </a:lnTo>
                  <a:lnTo>
                    <a:pt x="58" y="116"/>
                  </a:lnTo>
                  <a:lnTo>
                    <a:pt x="58" y="114"/>
                  </a:lnTo>
                  <a:lnTo>
                    <a:pt x="58" y="114"/>
                  </a:lnTo>
                  <a:lnTo>
                    <a:pt x="58" y="112"/>
                  </a:lnTo>
                  <a:lnTo>
                    <a:pt x="60" y="112"/>
                  </a:lnTo>
                  <a:lnTo>
                    <a:pt x="64" y="116"/>
                  </a:lnTo>
                  <a:lnTo>
                    <a:pt x="64" y="116"/>
                  </a:lnTo>
                  <a:lnTo>
                    <a:pt x="66" y="118"/>
                  </a:lnTo>
                  <a:lnTo>
                    <a:pt x="66" y="116"/>
                  </a:lnTo>
                  <a:lnTo>
                    <a:pt x="64" y="112"/>
                  </a:lnTo>
                  <a:lnTo>
                    <a:pt x="64" y="112"/>
                  </a:lnTo>
                  <a:lnTo>
                    <a:pt x="60" y="106"/>
                  </a:lnTo>
                  <a:lnTo>
                    <a:pt x="60" y="106"/>
                  </a:lnTo>
                  <a:lnTo>
                    <a:pt x="60" y="102"/>
                  </a:lnTo>
                  <a:lnTo>
                    <a:pt x="60" y="102"/>
                  </a:lnTo>
                  <a:lnTo>
                    <a:pt x="60" y="100"/>
                  </a:lnTo>
                  <a:lnTo>
                    <a:pt x="60" y="100"/>
                  </a:lnTo>
                  <a:lnTo>
                    <a:pt x="58" y="98"/>
                  </a:lnTo>
                  <a:lnTo>
                    <a:pt x="56" y="96"/>
                  </a:lnTo>
                  <a:lnTo>
                    <a:pt x="58" y="96"/>
                  </a:lnTo>
                  <a:lnTo>
                    <a:pt x="58" y="96"/>
                  </a:lnTo>
                  <a:lnTo>
                    <a:pt x="60" y="98"/>
                  </a:lnTo>
                  <a:lnTo>
                    <a:pt x="62" y="98"/>
                  </a:lnTo>
                  <a:lnTo>
                    <a:pt x="62" y="98"/>
                  </a:lnTo>
                  <a:lnTo>
                    <a:pt x="62" y="100"/>
                  </a:lnTo>
                  <a:lnTo>
                    <a:pt x="64" y="98"/>
                  </a:lnTo>
                  <a:lnTo>
                    <a:pt x="66" y="96"/>
                  </a:lnTo>
                  <a:lnTo>
                    <a:pt x="66" y="96"/>
                  </a:lnTo>
                  <a:lnTo>
                    <a:pt x="68" y="94"/>
                  </a:lnTo>
                  <a:lnTo>
                    <a:pt x="68" y="94"/>
                  </a:lnTo>
                  <a:lnTo>
                    <a:pt x="66" y="92"/>
                  </a:lnTo>
                  <a:lnTo>
                    <a:pt x="66" y="92"/>
                  </a:lnTo>
                  <a:lnTo>
                    <a:pt x="64" y="90"/>
                  </a:lnTo>
                  <a:lnTo>
                    <a:pt x="64" y="88"/>
                  </a:lnTo>
                  <a:lnTo>
                    <a:pt x="64" y="88"/>
                  </a:lnTo>
                  <a:lnTo>
                    <a:pt x="64" y="88"/>
                  </a:lnTo>
                  <a:lnTo>
                    <a:pt x="62" y="86"/>
                  </a:lnTo>
                  <a:lnTo>
                    <a:pt x="64" y="86"/>
                  </a:lnTo>
                  <a:lnTo>
                    <a:pt x="70" y="86"/>
                  </a:lnTo>
                  <a:lnTo>
                    <a:pt x="70" y="86"/>
                  </a:lnTo>
                  <a:lnTo>
                    <a:pt x="74" y="84"/>
                  </a:lnTo>
                  <a:lnTo>
                    <a:pt x="76" y="86"/>
                  </a:lnTo>
                  <a:lnTo>
                    <a:pt x="76" y="86"/>
                  </a:lnTo>
                  <a:lnTo>
                    <a:pt x="78" y="90"/>
                  </a:lnTo>
                  <a:lnTo>
                    <a:pt x="80" y="90"/>
                  </a:lnTo>
                  <a:lnTo>
                    <a:pt x="80" y="88"/>
                  </a:lnTo>
                  <a:lnTo>
                    <a:pt x="80" y="88"/>
                  </a:lnTo>
                  <a:lnTo>
                    <a:pt x="82" y="84"/>
                  </a:lnTo>
                  <a:lnTo>
                    <a:pt x="80" y="80"/>
                  </a:lnTo>
                  <a:lnTo>
                    <a:pt x="80" y="80"/>
                  </a:lnTo>
                  <a:lnTo>
                    <a:pt x="76" y="76"/>
                  </a:lnTo>
                  <a:lnTo>
                    <a:pt x="72" y="74"/>
                  </a:lnTo>
                  <a:lnTo>
                    <a:pt x="72" y="74"/>
                  </a:lnTo>
                  <a:lnTo>
                    <a:pt x="68" y="74"/>
                  </a:lnTo>
                  <a:lnTo>
                    <a:pt x="66" y="70"/>
                  </a:lnTo>
                  <a:lnTo>
                    <a:pt x="66" y="70"/>
                  </a:lnTo>
                  <a:lnTo>
                    <a:pt x="62" y="68"/>
                  </a:lnTo>
                  <a:lnTo>
                    <a:pt x="56" y="68"/>
                  </a:lnTo>
                  <a:lnTo>
                    <a:pt x="56" y="68"/>
                  </a:lnTo>
                  <a:lnTo>
                    <a:pt x="56" y="68"/>
                  </a:lnTo>
                  <a:lnTo>
                    <a:pt x="56" y="66"/>
                  </a:lnTo>
                  <a:lnTo>
                    <a:pt x="56" y="64"/>
                  </a:lnTo>
                  <a:lnTo>
                    <a:pt x="56" y="62"/>
                  </a:lnTo>
                  <a:lnTo>
                    <a:pt x="56" y="62"/>
                  </a:lnTo>
                  <a:lnTo>
                    <a:pt x="56" y="60"/>
                  </a:lnTo>
                  <a:lnTo>
                    <a:pt x="54" y="58"/>
                  </a:lnTo>
                  <a:lnTo>
                    <a:pt x="54" y="58"/>
                  </a:lnTo>
                  <a:lnTo>
                    <a:pt x="50" y="58"/>
                  </a:lnTo>
                  <a:lnTo>
                    <a:pt x="52" y="56"/>
                  </a:lnTo>
                  <a:lnTo>
                    <a:pt x="52" y="56"/>
                  </a:lnTo>
                  <a:lnTo>
                    <a:pt x="54" y="56"/>
                  </a:lnTo>
                  <a:lnTo>
                    <a:pt x="52" y="52"/>
                  </a:lnTo>
                  <a:lnTo>
                    <a:pt x="52" y="52"/>
                  </a:lnTo>
                  <a:lnTo>
                    <a:pt x="50" y="50"/>
                  </a:lnTo>
                  <a:lnTo>
                    <a:pt x="52" y="50"/>
                  </a:lnTo>
                  <a:lnTo>
                    <a:pt x="54" y="50"/>
                  </a:lnTo>
                  <a:lnTo>
                    <a:pt x="54" y="50"/>
                  </a:lnTo>
                  <a:lnTo>
                    <a:pt x="56" y="52"/>
                  </a:lnTo>
                  <a:lnTo>
                    <a:pt x="56" y="54"/>
                  </a:lnTo>
                  <a:lnTo>
                    <a:pt x="56" y="54"/>
                  </a:lnTo>
                  <a:lnTo>
                    <a:pt x="56" y="56"/>
                  </a:lnTo>
                  <a:lnTo>
                    <a:pt x="58" y="56"/>
                  </a:lnTo>
                  <a:lnTo>
                    <a:pt x="58" y="56"/>
                  </a:lnTo>
                  <a:lnTo>
                    <a:pt x="60" y="54"/>
                  </a:lnTo>
                  <a:lnTo>
                    <a:pt x="58" y="52"/>
                  </a:lnTo>
                  <a:lnTo>
                    <a:pt x="56" y="46"/>
                  </a:lnTo>
                  <a:lnTo>
                    <a:pt x="56" y="46"/>
                  </a:lnTo>
                  <a:lnTo>
                    <a:pt x="52" y="44"/>
                  </a:lnTo>
                  <a:lnTo>
                    <a:pt x="50" y="42"/>
                  </a:lnTo>
                  <a:lnTo>
                    <a:pt x="50" y="42"/>
                  </a:lnTo>
                  <a:lnTo>
                    <a:pt x="48" y="38"/>
                  </a:lnTo>
                  <a:lnTo>
                    <a:pt x="48" y="36"/>
                  </a:lnTo>
                  <a:lnTo>
                    <a:pt x="48" y="36"/>
                  </a:lnTo>
                  <a:lnTo>
                    <a:pt x="48" y="34"/>
                  </a:lnTo>
                  <a:lnTo>
                    <a:pt x="48" y="32"/>
                  </a:lnTo>
                  <a:lnTo>
                    <a:pt x="48" y="30"/>
                  </a:lnTo>
                  <a:lnTo>
                    <a:pt x="48" y="30"/>
                  </a:lnTo>
                  <a:lnTo>
                    <a:pt x="48" y="30"/>
                  </a:lnTo>
                  <a:lnTo>
                    <a:pt x="52" y="30"/>
                  </a:lnTo>
                  <a:lnTo>
                    <a:pt x="52" y="32"/>
                  </a:lnTo>
                  <a:lnTo>
                    <a:pt x="52" y="32"/>
                  </a:lnTo>
                  <a:lnTo>
                    <a:pt x="54" y="34"/>
                  </a:lnTo>
                  <a:lnTo>
                    <a:pt x="56" y="34"/>
                  </a:lnTo>
                  <a:lnTo>
                    <a:pt x="60" y="34"/>
                  </a:lnTo>
                  <a:lnTo>
                    <a:pt x="60" y="34"/>
                  </a:lnTo>
                  <a:lnTo>
                    <a:pt x="60" y="36"/>
                  </a:lnTo>
                  <a:lnTo>
                    <a:pt x="60" y="38"/>
                  </a:lnTo>
                  <a:lnTo>
                    <a:pt x="60" y="38"/>
                  </a:lnTo>
                  <a:lnTo>
                    <a:pt x="64" y="38"/>
                  </a:lnTo>
                  <a:lnTo>
                    <a:pt x="64" y="36"/>
                  </a:lnTo>
                  <a:lnTo>
                    <a:pt x="64" y="36"/>
                  </a:lnTo>
                  <a:lnTo>
                    <a:pt x="64" y="36"/>
                  </a:lnTo>
                  <a:lnTo>
                    <a:pt x="66" y="38"/>
                  </a:lnTo>
                  <a:lnTo>
                    <a:pt x="66" y="38"/>
                  </a:lnTo>
                  <a:lnTo>
                    <a:pt x="68" y="38"/>
                  </a:lnTo>
                  <a:lnTo>
                    <a:pt x="68" y="38"/>
                  </a:lnTo>
                  <a:lnTo>
                    <a:pt x="66" y="34"/>
                  </a:lnTo>
                  <a:lnTo>
                    <a:pt x="66" y="34"/>
                  </a:lnTo>
                  <a:lnTo>
                    <a:pt x="66" y="34"/>
                  </a:lnTo>
                  <a:lnTo>
                    <a:pt x="66" y="34"/>
                  </a:lnTo>
                  <a:lnTo>
                    <a:pt x="70" y="36"/>
                  </a:lnTo>
                  <a:lnTo>
                    <a:pt x="70" y="36"/>
                  </a:lnTo>
                  <a:lnTo>
                    <a:pt x="72" y="36"/>
                  </a:lnTo>
                  <a:lnTo>
                    <a:pt x="72" y="36"/>
                  </a:lnTo>
                  <a:lnTo>
                    <a:pt x="70" y="32"/>
                  </a:lnTo>
                  <a:lnTo>
                    <a:pt x="70" y="32"/>
                  </a:lnTo>
                  <a:lnTo>
                    <a:pt x="68" y="30"/>
                  </a:lnTo>
                  <a:lnTo>
                    <a:pt x="68" y="28"/>
                  </a:lnTo>
                  <a:lnTo>
                    <a:pt x="68" y="28"/>
                  </a:lnTo>
                  <a:lnTo>
                    <a:pt x="70" y="26"/>
                  </a:lnTo>
                  <a:lnTo>
                    <a:pt x="72" y="26"/>
                  </a:lnTo>
                  <a:lnTo>
                    <a:pt x="74" y="26"/>
                  </a:lnTo>
                  <a:lnTo>
                    <a:pt x="76" y="24"/>
                  </a:lnTo>
                  <a:lnTo>
                    <a:pt x="76" y="24"/>
                  </a:lnTo>
                  <a:lnTo>
                    <a:pt x="76" y="22"/>
                  </a:lnTo>
                  <a:lnTo>
                    <a:pt x="78" y="22"/>
                  </a:lnTo>
                  <a:lnTo>
                    <a:pt x="82" y="24"/>
                  </a:lnTo>
                  <a:lnTo>
                    <a:pt x="82" y="22"/>
                  </a:lnTo>
                  <a:lnTo>
                    <a:pt x="82" y="22"/>
                  </a:lnTo>
                  <a:lnTo>
                    <a:pt x="84" y="20"/>
                  </a:lnTo>
                  <a:lnTo>
                    <a:pt x="86" y="20"/>
                  </a:lnTo>
                  <a:lnTo>
                    <a:pt x="88" y="20"/>
                  </a:lnTo>
                  <a:lnTo>
                    <a:pt x="88" y="22"/>
                  </a:lnTo>
                  <a:lnTo>
                    <a:pt x="88" y="22"/>
                  </a:lnTo>
                  <a:lnTo>
                    <a:pt x="88" y="22"/>
                  </a:lnTo>
                  <a:lnTo>
                    <a:pt x="90" y="22"/>
                  </a:lnTo>
                  <a:lnTo>
                    <a:pt x="96" y="22"/>
                  </a:lnTo>
                  <a:lnTo>
                    <a:pt x="96" y="22"/>
                  </a:lnTo>
                  <a:lnTo>
                    <a:pt x="100" y="22"/>
                  </a:lnTo>
                  <a:lnTo>
                    <a:pt x="104" y="22"/>
                  </a:lnTo>
                  <a:lnTo>
                    <a:pt x="108" y="22"/>
                  </a:lnTo>
                  <a:lnTo>
                    <a:pt x="108" y="22"/>
                  </a:lnTo>
                  <a:lnTo>
                    <a:pt x="110" y="18"/>
                  </a:lnTo>
                  <a:lnTo>
                    <a:pt x="110" y="16"/>
                  </a:lnTo>
                  <a:lnTo>
                    <a:pt x="108" y="12"/>
                  </a:lnTo>
                  <a:lnTo>
                    <a:pt x="108" y="12"/>
                  </a:lnTo>
                  <a:lnTo>
                    <a:pt x="110" y="10"/>
                  </a:lnTo>
                  <a:lnTo>
                    <a:pt x="112" y="10"/>
                  </a:lnTo>
                  <a:lnTo>
                    <a:pt x="112" y="8"/>
                  </a:lnTo>
                  <a:lnTo>
                    <a:pt x="114" y="6"/>
                  </a:lnTo>
                  <a:lnTo>
                    <a:pt x="114" y="6"/>
                  </a:lnTo>
                  <a:lnTo>
                    <a:pt x="114" y="4"/>
                  </a:lnTo>
                  <a:lnTo>
                    <a:pt x="114" y="4"/>
                  </a:lnTo>
                  <a:lnTo>
                    <a:pt x="110" y="2"/>
                  </a:lnTo>
                  <a:lnTo>
                    <a:pt x="110" y="2"/>
                  </a:lnTo>
                  <a:lnTo>
                    <a:pt x="106" y="0"/>
                  </a:lnTo>
                  <a:lnTo>
                    <a:pt x="106" y="4"/>
                  </a:lnTo>
                  <a:lnTo>
                    <a:pt x="106" y="4"/>
                  </a:lnTo>
                  <a:lnTo>
                    <a:pt x="106" y="4"/>
                  </a:lnTo>
                  <a:lnTo>
                    <a:pt x="106" y="6"/>
                  </a:lnTo>
                  <a:lnTo>
                    <a:pt x="102" y="6"/>
                  </a:lnTo>
                  <a:lnTo>
                    <a:pt x="98" y="4"/>
                  </a:lnTo>
                  <a:lnTo>
                    <a:pt x="96" y="6"/>
                  </a:lnTo>
                  <a:lnTo>
                    <a:pt x="96" y="6"/>
                  </a:lnTo>
                  <a:lnTo>
                    <a:pt x="96" y="6"/>
                  </a:lnTo>
                  <a:lnTo>
                    <a:pt x="94" y="6"/>
                  </a:lnTo>
                  <a:lnTo>
                    <a:pt x="88" y="6"/>
                  </a:lnTo>
                  <a:lnTo>
                    <a:pt x="88" y="6"/>
                  </a:lnTo>
                  <a:lnTo>
                    <a:pt x="86" y="6"/>
                  </a:lnTo>
                  <a:lnTo>
                    <a:pt x="82" y="4"/>
                  </a:lnTo>
                  <a:lnTo>
                    <a:pt x="82" y="4"/>
                  </a:lnTo>
                  <a:lnTo>
                    <a:pt x="78" y="4"/>
                  </a:lnTo>
                  <a:lnTo>
                    <a:pt x="74" y="4"/>
                  </a:lnTo>
                  <a:lnTo>
                    <a:pt x="74" y="4"/>
                  </a:lnTo>
                  <a:lnTo>
                    <a:pt x="72" y="2"/>
                  </a:lnTo>
                  <a:lnTo>
                    <a:pt x="70" y="2"/>
                  </a:lnTo>
                  <a:lnTo>
                    <a:pt x="66" y="6"/>
                  </a:lnTo>
                  <a:lnTo>
                    <a:pt x="66" y="6"/>
                  </a:lnTo>
                  <a:lnTo>
                    <a:pt x="64" y="6"/>
                  </a:lnTo>
                  <a:lnTo>
                    <a:pt x="60" y="6"/>
                  </a:lnTo>
                  <a:lnTo>
                    <a:pt x="52" y="6"/>
                  </a:lnTo>
                  <a:lnTo>
                    <a:pt x="52" y="6"/>
                  </a:lnTo>
                  <a:lnTo>
                    <a:pt x="50" y="8"/>
                  </a:lnTo>
                  <a:lnTo>
                    <a:pt x="48" y="10"/>
                  </a:lnTo>
                  <a:lnTo>
                    <a:pt x="48" y="10"/>
                  </a:lnTo>
                  <a:lnTo>
                    <a:pt x="48" y="12"/>
                  </a:lnTo>
                  <a:lnTo>
                    <a:pt x="46" y="12"/>
                  </a:lnTo>
                  <a:lnTo>
                    <a:pt x="42" y="10"/>
                  </a:lnTo>
                  <a:lnTo>
                    <a:pt x="42" y="10"/>
                  </a:lnTo>
                  <a:lnTo>
                    <a:pt x="40" y="10"/>
                  </a:lnTo>
                  <a:lnTo>
                    <a:pt x="38" y="10"/>
                  </a:lnTo>
                  <a:lnTo>
                    <a:pt x="36" y="14"/>
                  </a:lnTo>
                  <a:lnTo>
                    <a:pt x="36" y="14"/>
                  </a:lnTo>
                  <a:lnTo>
                    <a:pt x="32" y="18"/>
                  </a:lnTo>
                  <a:lnTo>
                    <a:pt x="28" y="18"/>
                  </a:lnTo>
                  <a:lnTo>
                    <a:pt x="20" y="18"/>
                  </a:lnTo>
                  <a:lnTo>
                    <a:pt x="20" y="18"/>
                  </a:lnTo>
                  <a:lnTo>
                    <a:pt x="16" y="18"/>
                  </a:lnTo>
                  <a:lnTo>
                    <a:pt x="12" y="22"/>
                  </a:lnTo>
                  <a:lnTo>
                    <a:pt x="12" y="22"/>
                  </a:lnTo>
                  <a:lnTo>
                    <a:pt x="12" y="26"/>
                  </a:lnTo>
                  <a:lnTo>
                    <a:pt x="10" y="30"/>
                  </a:lnTo>
                  <a:lnTo>
                    <a:pt x="8" y="36"/>
                  </a:lnTo>
                  <a:lnTo>
                    <a:pt x="8" y="36"/>
                  </a:lnTo>
                  <a:lnTo>
                    <a:pt x="6" y="42"/>
                  </a:lnTo>
                  <a:lnTo>
                    <a:pt x="2" y="44"/>
                  </a:lnTo>
                  <a:lnTo>
                    <a:pt x="2" y="44"/>
                  </a:lnTo>
                  <a:lnTo>
                    <a:pt x="2" y="44"/>
                  </a:lnTo>
                  <a:lnTo>
                    <a:pt x="2" y="46"/>
                  </a:lnTo>
                  <a:lnTo>
                    <a:pt x="2" y="46"/>
                  </a:lnTo>
                  <a:lnTo>
                    <a:pt x="2" y="48"/>
                  </a:lnTo>
                  <a:lnTo>
                    <a:pt x="2" y="48"/>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Hungary"/>
            <p:cNvSpPr>
              <a:spLocks/>
            </p:cNvSpPr>
            <p:nvPr/>
          </p:nvSpPr>
          <p:spPr bwMode="auto">
            <a:xfrm>
              <a:off x="4536247" y="2073010"/>
              <a:ext cx="148167" cy="82021"/>
            </a:xfrm>
            <a:custGeom>
              <a:avLst/>
              <a:gdLst/>
              <a:ahLst/>
              <a:cxnLst>
                <a:cxn ang="0">
                  <a:pos x="112" y="14"/>
                </a:cxn>
                <a:cxn ang="0">
                  <a:pos x="106" y="8"/>
                </a:cxn>
                <a:cxn ang="0">
                  <a:pos x="106" y="4"/>
                </a:cxn>
                <a:cxn ang="0">
                  <a:pos x="98" y="6"/>
                </a:cxn>
                <a:cxn ang="0">
                  <a:pos x="90" y="2"/>
                </a:cxn>
                <a:cxn ang="0">
                  <a:pos x="82" y="2"/>
                </a:cxn>
                <a:cxn ang="0">
                  <a:pos x="76" y="4"/>
                </a:cxn>
                <a:cxn ang="0">
                  <a:pos x="72" y="4"/>
                </a:cxn>
                <a:cxn ang="0">
                  <a:pos x="62" y="10"/>
                </a:cxn>
                <a:cxn ang="0">
                  <a:pos x="54" y="12"/>
                </a:cxn>
                <a:cxn ang="0">
                  <a:pos x="44" y="14"/>
                </a:cxn>
                <a:cxn ang="0">
                  <a:pos x="40" y="16"/>
                </a:cxn>
                <a:cxn ang="0">
                  <a:pos x="42" y="18"/>
                </a:cxn>
                <a:cxn ang="0">
                  <a:pos x="38" y="20"/>
                </a:cxn>
                <a:cxn ang="0">
                  <a:pos x="30" y="20"/>
                </a:cxn>
                <a:cxn ang="0">
                  <a:pos x="18" y="18"/>
                </a:cxn>
                <a:cxn ang="0">
                  <a:pos x="14" y="22"/>
                </a:cxn>
                <a:cxn ang="0">
                  <a:pos x="6" y="20"/>
                </a:cxn>
                <a:cxn ang="0">
                  <a:pos x="2" y="20"/>
                </a:cxn>
                <a:cxn ang="0">
                  <a:pos x="6" y="24"/>
                </a:cxn>
                <a:cxn ang="0">
                  <a:pos x="8" y="26"/>
                </a:cxn>
                <a:cxn ang="0">
                  <a:pos x="6" y="30"/>
                </a:cxn>
                <a:cxn ang="0">
                  <a:pos x="6" y="34"/>
                </a:cxn>
                <a:cxn ang="0">
                  <a:pos x="0" y="40"/>
                </a:cxn>
                <a:cxn ang="0">
                  <a:pos x="4" y="42"/>
                </a:cxn>
                <a:cxn ang="0">
                  <a:pos x="6" y="44"/>
                </a:cxn>
                <a:cxn ang="0">
                  <a:pos x="6" y="44"/>
                </a:cxn>
                <a:cxn ang="0">
                  <a:pos x="8" y="48"/>
                </a:cxn>
                <a:cxn ang="0">
                  <a:pos x="10" y="50"/>
                </a:cxn>
                <a:cxn ang="0">
                  <a:pos x="18" y="54"/>
                </a:cxn>
                <a:cxn ang="0">
                  <a:pos x="22" y="56"/>
                </a:cxn>
                <a:cxn ang="0">
                  <a:pos x="34" y="60"/>
                </a:cxn>
                <a:cxn ang="0">
                  <a:pos x="36" y="62"/>
                </a:cxn>
                <a:cxn ang="0">
                  <a:pos x="40" y="62"/>
                </a:cxn>
                <a:cxn ang="0">
                  <a:pos x="46" y="56"/>
                </a:cxn>
                <a:cxn ang="0">
                  <a:pos x="54" y="54"/>
                </a:cxn>
                <a:cxn ang="0">
                  <a:pos x="60" y="54"/>
                </a:cxn>
                <a:cxn ang="0">
                  <a:pos x="62" y="56"/>
                </a:cxn>
                <a:cxn ang="0">
                  <a:pos x="70" y="54"/>
                </a:cxn>
                <a:cxn ang="0">
                  <a:pos x="82" y="54"/>
                </a:cxn>
                <a:cxn ang="0">
                  <a:pos x="86" y="54"/>
                </a:cxn>
                <a:cxn ang="0">
                  <a:pos x="90" y="50"/>
                </a:cxn>
                <a:cxn ang="0">
                  <a:pos x="98" y="38"/>
                </a:cxn>
                <a:cxn ang="0">
                  <a:pos x="104" y="28"/>
                </a:cxn>
                <a:cxn ang="0">
                  <a:pos x="102" y="24"/>
                </a:cxn>
                <a:cxn ang="0">
                  <a:pos x="104" y="20"/>
                </a:cxn>
                <a:cxn ang="0">
                  <a:pos x="112" y="14"/>
                </a:cxn>
              </a:cxnLst>
              <a:rect l="0" t="0" r="r" b="b"/>
              <a:pathLst>
                <a:path w="112" h="62">
                  <a:moveTo>
                    <a:pt x="112" y="14"/>
                  </a:moveTo>
                  <a:lnTo>
                    <a:pt x="112" y="14"/>
                  </a:lnTo>
                  <a:lnTo>
                    <a:pt x="110" y="12"/>
                  </a:lnTo>
                  <a:lnTo>
                    <a:pt x="106" y="8"/>
                  </a:lnTo>
                  <a:lnTo>
                    <a:pt x="106" y="8"/>
                  </a:lnTo>
                  <a:lnTo>
                    <a:pt x="106" y="4"/>
                  </a:lnTo>
                  <a:lnTo>
                    <a:pt x="106" y="4"/>
                  </a:lnTo>
                  <a:lnTo>
                    <a:pt x="98" y="6"/>
                  </a:lnTo>
                  <a:lnTo>
                    <a:pt x="90" y="2"/>
                  </a:lnTo>
                  <a:lnTo>
                    <a:pt x="90" y="2"/>
                  </a:lnTo>
                  <a:lnTo>
                    <a:pt x="84" y="0"/>
                  </a:lnTo>
                  <a:lnTo>
                    <a:pt x="82" y="2"/>
                  </a:lnTo>
                  <a:lnTo>
                    <a:pt x="80" y="4"/>
                  </a:lnTo>
                  <a:lnTo>
                    <a:pt x="76" y="4"/>
                  </a:lnTo>
                  <a:lnTo>
                    <a:pt x="76" y="4"/>
                  </a:lnTo>
                  <a:lnTo>
                    <a:pt x="72" y="4"/>
                  </a:lnTo>
                  <a:lnTo>
                    <a:pt x="68" y="6"/>
                  </a:lnTo>
                  <a:lnTo>
                    <a:pt x="62" y="10"/>
                  </a:lnTo>
                  <a:lnTo>
                    <a:pt x="62" y="10"/>
                  </a:lnTo>
                  <a:lnTo>
                    <a:pt x="54" y="12"/>
                  </a:lnTo>
                  <a:lnTo>
                    <a:pt x="44" y="14"/>
                  </a:lnTo>
                  <a:lnTo>
                    <a:pt x="44" y="14"/>
                  </a:lnTo>
                  <a:lnTo>
                    <a:pt x="42" y="14"/>
                  </a:lnTo>
                  <a:lnTo>
                    <a:pt x="40" y="16"/>
                  </a:lnTo>
                  <a:lnTo>
                    <a:pt x="42" y="18"/>
                  </a:lnTo>
                  <a:lnTo>
                    <a:pt x="42" y="18"/>
                  </a:lnTo>
                  <a:lnTo>
                    <a:pt x="40" y="20"/>
                  </a:lnTo>
                  <a:lnTo>
                    <a:pt x="38" y="20"/>
                  </a:lnTo>
                  <a:lnTo>
                    <a:pt x="30" y="20"/>
                  </a:lnTo>
                  <a:lnTo>
                    <a:pt x="30" y="20"/>
                  </a:lnTo>
                  <a:lnTo>
                    <a:pt x="24" y="20"/>
                  </a:lnTo>
                  <a:lnTo>
                    <a:pt x="18" y="18"/>
                  </a:lnTo>
                  <a:lnTo>
                    <a:pt x="18" y="18"/>
                  </a:lnTo>
                  <a:lnTo>
                    <a:pt x="14" y="22"/>
                  </a:lnTo>
                  <a:lnTo>
                    <a:pt x="12" y="22"/>
                  </a:lnTo>
                  <a:lnTo>
                    <a:pt x="6" y="20"/>
                  </a:lnTo>
                  <a:lnTo>
                    <a:pt x="6" y="20"/>
                  </a:lnTo>
                  <a:lnTo>
                    <a:pt x="2" y="20"/>
                  </a:lnTo>
                  <a:lnTo>
                    <a:pt x="2" y="20"/>
                  </a:lnTo>
                  <a:lnTo>
                    <a:pt x="6" y="24"/>
                  </a:lnTo>
                  <a:lnTo>
                    <a:pt x="6" y="24"/>
                  </a:lnTo>
                  <a:lnTo>
                    <a:pt x="8" y="26"/>
                  </a:lnTo>
                  <a:lnTo>
                    <a:pt x="8" y="28"/>
                  </a:lnTo>
                  <a:lnTo>
                    <a:pt x="6" y="30"/>
                  </a:lnTo>
                  <a:lnTo>
                    <a:pt x="6" y="34"/>
                  </a:lnTo>
                  <a:lnTo>
                    <a:pt x="6" y="34"/>
                  </a:lnTo>
                  <a:lnTo>
                    <a:pt x="4" y="36"/>
                  </a:lnTo>
                  <a:lnTo>
                    <a:pt x="0" y="40"/>
                  </a:lnTo>
                  <a:lnTo>
                    <a:pt x="0" y="40"/>
                  </a:lnTo>
                  <a:lnTo>
                    <a:pt x="4" y="42"/>
                  </a:lnTo>
                  <a:lnTo>
                    <a:pt x="6" y="42"/>
                  </a:lnTo>
                  <a:lnTo>
                    <a:pt x="6" y="44"/>
                  </a:lnTo>
                  <a:lnTo>
                    <a:pt x="6" y="44"/>
                  </a:lnTo>
                  <a:lnTo>
                    <a:pt x="6" y="44"/>
                  </a:lnTo>
                  <a:lnTo>
                    <a:pt x="8" y="46"/>
                  </a:lnTo>
                  <a:lnTo>
                    <a:pt x="8" y="48"/>
                  </a:lnTo>
                  <a:lnTo>
                    <a:pt x="8" y="48"/>
                  </a:lnTo>
                  <a:lnTo>
                    <a:pt x="10" y="50"/>
                  </a:lnTo>
                  <a:lnTo>
                    <a:pt x="10" y="50"/>
                  </a:lnTo>
                  <a:lnTo>
                    <a:pt x="18" y="54"/>
                  </a:lnTo>
                  <a:lnTo>
                    <a:pt x="22" y="56"/>
                  </a:lnTo>
                  <a:lnTo>
                    <a:pt x="22" y="56"/>
                  </a:lnTo>
                  <a:lnTo>
                    <a:pt x="28" y="58"/>
                  </a:lnTo>
                  <a:lnTo>
                    <a:pt x="34" y="60"/>
                  </a:lnTo>
                  <a:lnTo>
                    <a:pt x="34" y="60"/>
                  </a:lnTo>
                  <a:lnTo>
                    <a:pt x="36" y="62"/>
                  </a:lnTo>
                  <a:lnTo>
                    <a:pt x="40" y="62"/>
                  </a:lnTo>
                  <a:lnTo>
                    <a:pt x="40" y="62"/>
                  </a:lnTo>
                  <a:lnTo>
                    <a:pt x="44" y="60"/>
                  </a:lnTo>
                  <a:lnTo>
                    <a:pt x="46" y="56"/>
                  </a:lnTo>
                  <a:lnTo>
                    <a:pt x="46" y="56"/>
                  </a:lnTo>
                  <a:lnTo>
                    <a:pt x="54" y="54"/>
                  </a:lnTo>
                  <a:lnTo>
                    <a:pt x="58" y="54"/>
                  </a:lnTo>
                  <a:lnTo>
                    <a:pt x="60" y="54"/>
                  </a:lnTo>
                  <a:lnTo>
                    <a:pt x="60" y="54"/>
                  </a:lnTo>
                  <a:lnTo>
                    <a:pt x="62" y="56"/>
                  </a:lnTo>
                  <a:lnTo>
                    <a:pt x="70" y="54"/>
                  </a:lnTo>
                  <a:lnTo>
                    <a:pt x="70" y="54"/>
                  </a:lnTo>
                  <a:lnTo>
                    <a:pt x="80" y="54"/>
                  </a:lnTo>
                  <a:lnTo>
                    <a:pt x="82" y="54"/>
                  </a:lnTo>
                  <a:lnTo>
                    <a:pt x="82" y="54"/>
                  </a:lnTo>
                  <a:lnTo>
                    <a:pt x="86" y="54"/>
                  </a:lnTo>
                  <a:lnTo>
                    <a:pt x="90" y="50"/>
                  </a:lnTo>
                  <a:lnTo>
                    <a:pt x="90" y="50"/>
                  </a:lnTo>
                  <a:lnTo>
                    <a:pt x="98" y="38"/>
                  </a:lnTo>
                  <a:lnTo>
                    <a:pt x="98" y="38"/>
                  </a:lnTo>
                  <a:lnTo>
                    <a:pt x="102" y="34"/>
                  </a:lnTo>
                  <a:lnTo>
                    <a:pt x="104" y="28"/>
                  </a:lnTo>
                  <a:lnTo>
                    <a:pt x="104" y="28"/>
                  </a:lnTo>
                  <a:lnTo>
                    <a:pt x="102" y="24"/>
                  </a:lnTo>
                  <a:lnTo>
                    <a:pt x="104" y="20"/>
                  </a:lnTo>
                  <a:lnTo>
                    <a:pt x="104" y="20"/>
                  </a:lnTo>
                  <a:lnTo>
                    <a:pt x="112" y="14"/>
                  </a:lnTo>
                  <a:lnTo>
                    <a:pt x="112" y="14"/>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Iceland"/>
            <p:cNvSpPr>
              <a:spLocks/>
            </p:cNvSpPr>
            <p:nvPr/>
          </p:nvSpPr>
          <p:spPr bwMode="auto">
            <a:xfrm>
              <a:off x="3631372" y="1668198"/>
              <a:ext cx="211667" cy="66146"/>
            </a:xfrm>
            <a:custGeom>
              <a:avLst/>
              <a:gdLst/>
              <a:ahLst/>
              <a:cxnLst>
                <a:cxn ang="0">
                  <a:pos x="28" y="44"/>
                </a:cxn>
                <a:cxn ang="0">
                  <a:pos x="42" y="44"/>
                </a:cxn>
                <a:cxn ang="0">
                  <a:pos x="58" y="48"/>
                </a:cxn>
                <a:cxn ang="0">
                  <a:pos x="88" y="48"/>
                </a:cxn>
                <a:cxn ang="0">
                  <a:pos x="106" y="42"/>
                </a:cxn>
                <a:cxn ang="0">
                  <a:pos x="124" y="36"/>
                </a:cxn>
                <a:cxn ang="0">
                  <a:pos x="138" y="34"/>
                </a:cxn>
                <a:cxn ang="0">
                  <a:pos x="146" y="30"/>
                </a:cxn>
                <a:cxn ang="0">
                  <a:pos x="152" y="26"/>
                </a:cxn>
                <a:cxn ang="0">
                  <a:pos x="154" y="22"/>
                </a:cxn>
                <a:cxn ang="0">
                  <a:pos x="160" y="18"/>
                </a:cxn>
                <a:cxn ang="0">
                  <a:pos x="156" y="16"/>
                </a:cxn>
                <a:cxn ang="0">
                  <a:pos x="152" y="12"/>
                </a:cxn>
                <a:cxn ang="0">
                  <a:pos x="140" y="12"/>
                </a:cxn>
                <a:cxn ang="0">
                  <a:pos x="144" y="6"/>
                </a:cxn>
                <a:cxn ang="0">
                  <a:pos x="144" y="4"/>
                </a:cxn>
                <a:cxn ang="0">
                  <a:pos x="146" y="2"/>
                </a:cxn>
                <a:cxn ang="0">
                  <a:pos x="130" y="6"/>
                </a:cxn>
                <a:cxn ang="0">
                  <a:pos x="126" y="2"/>
                </a:cxn>
                <a:cxn ang="0">
                  <a:pos x="118" y="2"/>
                </a:cxn>
                <a:cxn ang="0">
                  <a:pos x="116" y="6"/>
                </a:cxn>
                <a:cxn ang="0">
                  <a:pos x="110" y="6"/>
                </a:cxn>
                <a:cxn ang="0">
                  <a:pos x="104" y="10"/>
                </a:cxn>
                <a:cxn ang="0">
                  <a:pos x="96" y="12"/>
                </a:cxn>
                <a:cxn ang="0">
                  <a:pos x="90" y="10"/>
                </a:cxn>
                <a:cxn ang="0">
                  <a:pos x="84" y="6"/>
                </a:cxn>
                <a:cxn ang="0">
                  <a:pos x="74" y="10"/>
                </a:cxn>
                <a:cxn ang="0">
                  <a:pos x="70" y="12"/>
                </a:cxn>
                <a:cxn ang="0">
                  <a:pos x="68" y="8"/>
                </a:cxn>
                <a:cxn ang="0">
                  <a:pos x="60" y="12"/>
                </a:cxn>
                <a:cxn ang="0">
                  <a:pos x="58" y="16"/>
                </a:cxn>
                <a:cxn ang="0">
                  <a:pos x="54" y="16"/>
                </a:cxn>
                <a:cxn ang="0">
                  <a:pos x="50" y="22"/>
                </a:cxn>
                <a:cxn ang="0">
                  <a:pos x="46" y="18"/>
                </a:cxn>
                <a:cxn ang="0">
                  <a:pos x="46" y="16"/>
                </a:cxn>
                <a:cxn ang="0">
                  <a:pos x="46" y="12"/>
                </a:cxn>
                <a:cxn ang="0">
                  <a:pos x="42" y="8"/>
                </a:cxn>
                <a:cxn ang="0">
                  <a:pos x="34" y="4"/>
                </a:cxn>
                <a:cxn ang="0">
                  <a:pos x="30" y="6"/>
                </a:cxn>
                <a:cxn ang="0">
                  <a:pos x="30" y="8"/>
                </a:cxn>
                <a:cxn ang="0">
                  <a:pos x="32" y="12"/>
                </a:cxn>
                <a:cxn ang="0">
                  <a:pos x="18" y="8"/>
                </a:cxn>
                <a:cxn ang="0">
                  <a:pos x="14" y="10"/>
                </a:cxn>
                <a:cxn ang="0">
                  <a:pos x="12" y="12"/>
                </a:cxn>
                <a:cxn ang="0">
                  <a:pos x="18" y="14"/>
                </a:cxn>
                <a:cxn ang="0">
                  <a:pos x="10" y="14"/>
                </a:cxn>
                <a:cxn ang="0">
                  <a:pos x="8" y="16"/>
                </a:cxn>
                <a:cxn ang="0">
                  <a:pos x="0" y="18"/>
                </a:cxn>
                <a:cxn ang="0">
                  <a:pos x="4" y="18"/>
                </a:cxn>
                <a:cxn ang="0">
                  <a:pos x="24" y="18"/>
                </a:cxn>
                <a:cxn ang="0">
                  <a:pos x="38" y="18"/>
                </a:cxn>
                <a:cxn ang="0">
                  <a:pos x="26" y="24"/>
                </a:cxn>
                <a:cxn ang="0">
                  <a:pos x="30" y="24"/>
                </a:cxn>
                <a:cxn ang="0">
                  <a:pos x="30" y="26"/>
                </a:cxn>
                <a:cxn ang="0">
                  <a:pos x="4" y="30"/>
                </a:cxn>
                <a:cxn ang="0">
                  <a:pos x="10" y="30"/>
                </a:cxn>
                <a:cxn ang="0">
                  <a:pos x="24" y="30"/>
                </a:cxn>
                <a:cxn ang="0">
                  <a:pos x="32" y="34"/>
                </a:cxn>
                <a:cxn ang="0">
                  <a:pos x="36" y="36"/>
                </a:cxn>
                <a:cxn ang="0">
                  <a:pos x="32" y="36"/>
                </a:cxn>
                <a:cxn ang="0">
                  <a:pos x="16" y="44"/>
                </a:cxn>
              </a:cxnLst>
              <a:rect l="0" t="0" r="r" b="b"/>
              <a:pathLst>
                <a:path w="160" h="50">
                  <a:moveTo>
                    <a:pt x="16" y="44"/>
                  </a:moveTo>
                  <a:lnTo>
                    <a:pt x="16" y="44"/>
                  </a:lnTo>
                  <a:lnTo>
                    <a:pt x="22" y="44"/>
                  </a:lnTo>
                  <a:lnTo>
                    <a:pt x="22" y="44"/>
                  </a:lnTo>
                  <a:lnTo>
                    <a:pt x="28" y="44"/>
                  </a:lnTo>
                  <a:lnTo>
                    <a:pt x="34" y="44"/>
                  </a:lnTo>
                  <a:lnTo>
                    <a:pt x="34" y="44"/>
                  </a:lnTo>
                  <a:lnTo>
                    <a:pt x="36" y="44"/>
                  </a:lnTo>
                  <a:lnTo>
                    <a:pt x="36" y="44"/>
                  </a:lnTo>
                  <a:lnTo>
                    <a:pt x="42" y="44"/>
                  </a:lnTo>
                  <a:lnTo>
                    <a:pt x="46" y="44"/>
                  </a:lnTo>
                  <a:lnTo>
                    <a:pt x="54" y="48"/>
                  </a:lnTo>
                  <a:lnTo>
                    <a:pt x="54" y="48"/>
                  </a:lnTo>
                  <a:lnTo>
                    <a:pt x="58" y="48"/>
                  </a:lnTo>
                  <a:lnTo>
                    <a:pt x="58" y="48"/>
                  </a:lnTo>
                  <a:lnTo>
                    <a:pt x="66" y="50"/>
                  </a:lnTo>
                  <a:lnTo>
                    <a:pt x="76" y="50"/>
                  </a:lnTo>
                  <a:lnTo>
                    <a:pt x="76" y="50"/>
                  </a:lnTo>
                  <a:lnTo>
                    <a:pt x="88" y="48"/>
                  </a:lnTo>
                  <a:lnTo>
                    <a:pt x="88" y="48"/>
                  </a:lnTo>
                  <a:lnTo>
                    <a:pt x="94" y="44"/>
                  </a:lnTo>
                  <a:lnTo>
                    <a:pt x="94" y="44"/>
                  </a:lnTo>
                  <a:lnTo>
                    <a:pt x="100" y="42"/>
                  </a:lnTo>
                  <a:lnTo>
                    <a:pt x="106" y="42"/>
                  </a:lnTo>
                  <a:lnTo>
                    <a:pt x="106" y="42"/>
                  </a:lnTo>
                  <a:lnTo>
                    <a:pt x="112" y="40"/>
                  </a:lnTo>
                  <a:lnTo>
                    <a:pt x="112" y="40"/>
                  </a:lnTo>
                  <a:lnTo>
                    <a:pt x="116" y="40"/>
                  </a:lnTo>
                  <a:lnTo>
                    <a:pt x="116" y="40"/>
                  </a:lnTo>
                  <a:lnTo>
                    <a:pt x="124" y="36"/>
                  </a:lnTo>
                  <a:lnTo>
                    <a:pt x="124" y="36"/>
                  </a:lnTo>
                  <a:lnTo>
                    <a:pt x="130" y="34"/>
                  </a:lnTo>
                  <a:lnTo>
                    <a:pt x="136" y="34"/>
                  </a:lnTo>
                  <a:lnTo>
                    <a:pt x="136" y="34"/>
                  </a:lnTo>
                  <a:lnTo>
                    <a:pt x="138" y="34"/>
                  </a:lnTo>
                  <a:lnTo>
                    <a:pt x="138" y="34"/>
                  </a:lnTo>
                  <a:lnTo>
                    <a:pt x="144" y="32"/>
                  </a:lnTo>
                  <a:lnTo>
                    <a:pt x="144" y="32"/>
                  </a:lnTo>
                  <a:lnTo>
                    <a:pt x="146" y="30"/>
                  </a:lnTo>
                  <a:lnTo>
                    <a:pt x="146" y="30"/>
                  </a:lnTo>
                  <a:lnTo>
                    <a:pt x="146" y="28"/>
                  </a:lnTo>
                  <a:lnTo>
                    <a:pt x="148" y="26"/>
                  </a:lnTo>
                  <a:lnTo>
                    <a:pt x="148" y="26"/>
                  </a:lnTo>
                  <a:lnTo>
                    <a:pt x="150" y="26"/>
                  </a:lnTo>
                  <a:lnTo>
                    <a:pt x="152" y="26"/>
                  </a:lnTo>
                  <a:lnTo>
                    <a:pt x="152" y="26"/>
                  </a:lnTo>
                  <a:lnTo>
                    <a:pt x="152" y="26"/>
                  </a:lnTo>
                  <a:lnTo>
                    <a:pt x="152" y="26"/>
                  </a:lnTo>
                  <a:lnTo>
                    <a:pt x="154" y="24"/>
                  </a:lnTo>
                  <a:lnTo>
                    <a:pt x="154" y="22"/>
                  </a:lnTo>
                  <a:lnTo>
                    <a:pt x="154" y="22"/>
                  </a:lnTo>
                  <a:lnTo>
                    <a:pt x="158" y="22"/>
                  </a:lnTo>
                  <a:lnTo>
                    <a:pt x="158" y="22"/>
                  </a:lnTo>
                  <a:lnTo>
                    <a:pt x="160" y="20"/>
                  </a:lnTo>
                  <a:lnTo>
                    <a:pt x="160" y="18"/>
                  </a:lnTo>
                  <a:lnTo>
                    <a:pt x="160" y="18"/>
                  </a:lnTo>
                  <a:lnTo>
                    <a:pt x="158" y="18"/>
                  </a:lnTo>
                  <a:lnTo>
                    <a:pt x="154" y="18"/>
                  </a:lnTo>
                  <a:lnTo>
                    <a:pt x="154" y="18"/>
                  </a:lnTo>
                  <a:lnTo>
                    <a:pt x="156" y="16"/>
                  </a:lnTo>
                  <a:lnTo>
                    <a:pt x="156" y="16"/>
                  </a:lnTo>
                  <a:lnTo>
                    <a:pt x="156" y="14"/>
                  </a:lnTo>
                  <a:lnTo>
                    <a:pt x="156" y="14"/>
                  </a:lnTo>
                  <a:lnTo>
                    <a:pt x="152" y="12"/>
                  </a:lnTo>
                  <a:lnTo>
                    <a:pt x="152" y="12"/>
                  </a:lnTo>
                  <a:lnTo>
                    <a:pt x="148" y="12"/>
                  </a:lnTo>
                  <a:lnTo>
                    <a:pt x="148" y="12"/>
                  </a:lnTo>
                  <a:lnTo>
                    <a:pt x="148" y="12"/>
                  </a:lnTo>
                  <a:lnTo>
                    <a:pt x="148" y="12"/>
                  </a:lnTo>
                  <a:lnTo>
                    <a:pt x="140" y="12"/>
                  </a:lnTo>
                  <a:lnTo>
                    <a:pt x="140" y="12"/>
                  </a:lnTo>
                  <a:lnTo>
                    <a:pt x="144" y="10"/>
                  </a:lnTo>
                  <a:lnTo>
                    <a:pt x="146" y="8"/>
                  </a:lnTo>
                  <a:lnTo>
                    <a:pt x="144" y="6"/>
                  </a:lnTo>
                  <a:lnTo>
                    <a:pt x="144" y="6"/>
                  </a:lnTo>
                  <a:lnTo>
                    <a:pt x="140" y="6"/>
                  </a:lnTo>
                  <a:lnTo>
                    <a:pt x="140" y="6"/>
                  </a:lnTo>
                  <a:lnTo>
                    <a:pt x="140" y="6"/>
                  </a:lnTo>
                  <a:lnTo>
                    <a:pt x="140" y="6"/>
                  </a:lnTo>
                  <a:lnTo>
                    <a:pt x="144" y="4"/>
                  </a:lnTo>
                  <a:lnTo>
                    <a:pt x="144" y="4"/>
                  </a:lnTo>
                  <a:lnTo>
                    <a:pt x="144" y="4"/>
                  </a:lnTo>
                  <a:lnTo>
                    <a:pt x="144" y="4"/>
                  </a:lnTo>
                  <a:lnTo>
                    <a:pt x="146" y="2"/>
                  </a:lnTo>
                  <a:lnTo>
                    <a:pt x="146" y="2"/>
                  </a:lnTo>
                  <a:lnTo>
                    <a:pt x="140" y="2"/>
                  </a:lnTo>
                  <a:lnTo>
                    <a:pt x="136" y="4"/>
                  </a:lnTo>
                  <a:lnTo>
                    <a:pt x="136" y="4"/>
                  </a:lnTo>
                  <a:lnTo>
                    <a:pt x="130" y="6"/>
                  </a:lnTo>
                  <a:lnTo>
                    <a:pt x="130" y="6"/>
                  </a:lnTo>
                  <a:lnTo>
                    <a:pt x="130" y="4"/>
                  </a:lnTo>
                  <a:lnTo>
                    <a:pt x="130" y="4"/>
                  </a:lnTo>
                  <a:lnTo>
                    <a:pt x="130" y="4"/>
                  </a:lnTo>
                  <a:lnTo>
                    <a:pt x="130" y="4"/>
                  </a:lnTo>
                  <a:lnTo>
                    <a:pt x="126" y="2"/>
                  </a:lnTo>
                  <a:lnTo>
                    <a:pt x="124" y="0"/>
                  </a:lnTo>
                  <a:lnTo>
                    <a:pt x="124" y="0"/>
                  </a:lnTo>
                  <a:lnTo>
                    <a:pt x="124" y="0"/>
                  </a:lnTo>
                  <a:lnTo>
                    <a:pt x="124" y="0"/>
                  </a:lnTo>
                  <a:lnTo>
                    <a:pt x="118" y="2"/>
                  </a:lnTo>
                  <a:lnTo>
                    <a:pt x="118" y="2"/>
                  </a:lnTo>
                  <a:lnTo>
                    <a:pt x="116" y="2"/>
                  </a:lnTo>
                  <a:lnTo>
                    <a:pt x="116" y="2"/>
                  </a:lnTo>
                  <a:lnTo>
                    <a:pt x="118" y="4"/>
                  </a:lnTo>
                  <a:lnTo>
                    <a:pt x="116" y="6"/>
                  </a:lnTo>
                  <a:lnTo>
                    <a:pt x="116" y="6"/>
                  </a:lnTo>
                  <a:lnTo>
                    <a:pt x="118" y="6"/>
                  </a:lnTo>
                  <a:lnTo>
                    <a:pt x="118" y="6"/>
                  </a:lnTo>
                  <a:lnTo>
                    <a:pt x="114" y="6"/>
                  </a:lnTo>
                  <a:lnTo>
                    <a:pt x="110" y="6"/>
                  </a:lnTo>
                  <a:lnTo>
                    <a:pt x="110" y="6"/>
                  </a:lnTo>
                  <a:lnTo>
                    <a:pt x="108" y="8"/>
                  </a:lnTo>
                  <a:lnTo>
                    <a:pt x="106" y="8"/>
                  </a:lnTo>
                  <a:lnTo>
                    <a:pt x="106" y="10"/>
                  </a:lnTo>
                  <a:lnTo>
                    <a:pt x="104" y="10"/>
                  </a:lnTo>
                  <a:lnTo>
                    <a:pt x="104" y="10"/>
                  </a:lnTo>
                  <a:lnTo>
                    <a:pt x="98" y="8"/>
                  </a:lnTo>
                  <a:lnTo>
                    <a:pt x="92" y="8"/>
                  </a:lnTo>
                  <a:lnTo>
                    <a:pt x="92" y="8"/>
                  </a:lnTo>
                  <a:lnTo>
                    <a:pt x="96" y="12"/>
                  </a:lnTo>
                  <a:lnTo>
                    <a:pt x="96" y="12"/>
                  </a:lnTo>
                  <a:lnTo>
                    <a:pt x="96" y="12"/>
                  </a:lnTo>
                  <a:lnTo>
                    <a:pt x="96" y="12"/>
                  </a:lnTo>
                  <a:lnTo>
                    <a:pt x="92" y="12"/>
                  </a:lnTo>
                  <a:lnTo>
                    <a:pt x="90" y="10"/>
                  </a:lnTo>
                  <a:lnTo>
                    <a:pt x="90" y="10"/>
                  </a:lnTo>
                  <a:lnTo>
                    <a:pt x="88" y="8"/>
                  </a:lnTo>
                  <a:lnTo>
                    <a:pt x="88" y="8"/>
                  </a:lnTo>
                  <a:lnTo>
                    <a:pt x="88" y="8"/>
                  </a:lnTo>
                  <a:lnTo>
                    <a:pt x="84" y="6"/>
                  </a:lnTo>
                  <a:lnTo>
                    <a:pt x="84" y="6"/>
                  </a:lnTo>
                  <a:lnTo>
                    <a:pt x="76" y="10"/>
                  </a:lnTo>
                  <a:lnTo>
                    <a:pt x="76" y="10"/>
                  </a:lnTo>
                  <a:lnTo>
                    <a:pt x="74" y="10"/>
                  </a:lnTo>
                  <a:lnTo>
                    <a:pt x="74" y="10"/>
                  </a:lnTo>
                  <a:lnTo>
                    <a:pt x="76" y="12"/>
                  </a:lnTo>
                  <a:lnTo>
                    <a:pt x="76" y="12"/>
                  </a:lnTo>
                  <a:lnTo>
                    <a:pt x="74" y="14"/>
                  </a:lnTo>
                  <a:lnTo>
                    <a:pt x="74" y="14"/>
                  </a:lnTo>
                  <a:lnTo>
                    <a:pt x="70" y="12"/>
                  </a:lnTo>
                  <a:lnTo>
                    <a:pt x="70" y="10"/>
                  </a:lnTo>
                  <a:lnTo>
                    <a:pt x="70" y="10"/>
                  </a:lnTo>
                  <a:lnTo>
                    <a:pt x="68" y="10"/>
                  </a:lnTo>
                  <a:lnTo>
                    <a:pt x="68" y="10"/>
                  </a:lnTo>
                  <a:lnTo>
                    <a:pt x="68" y="8"/>
                  </a:lnTo>
                  <a:lnTo>
                    <a:pt x="66" y="8"/>
                  </a:lnTo>
                  <a:lnTo>
                    <a:pt x="62" y="8"/>
                  </a:lnTo>
                  <a:lnTo>
                    <a:pt x="62" y="8"/>
                  </a:lnTo>
                  <a:lnTo>
                    <a:pt x="60" y="12"/>
                  </a:lnTo>
                  <a:lnTo>
                    <a:pt x="60" y="12"/>
                  </a:lnTo>
                  <a:lnTo>
                    <a:pt x="62" y="14"/>
                  </a:lnTo>
                  <a:lnTo>
                    <a:pt x="62" y="14"/>
                  </a:lnTo>
                  <a:lnTo>
                    <a:pt x="60" y="16"/>
                  </a:lnTo>
                  <a:lnTo>
                    <a:pt x="60" y="16"/>
                  </a:lnTo>
                  <a:lnTo>
                    <a:pt x="58" y="16"/>
                  </a:lnTo>
                  <a:lnTo>
                    <a:pt x="58" y="16"/>
                  </a:lnTo>
                  <a:lnTo>
                    <a:pt x="56" y="16"/>
                  </a:lnTo>
                  <a:lnTo>
                    <a:pt x="56" y="16"/>
                  </a:lnTo>
                  <a:lnTo>
                    <a:pt x="54" y="16"/>
                  </a:lnTo>
                  <a:lnTo>
                    <a:pt x="54" y="16"/>
                  </a:lnTo>
                  <a:lnTo>
                    <a:pt x="50" y="18"/>
                  </a:lnTo>
                  <a:lnTo>
                    <a:pt x="50" y="18"/>
                  </a:lnTo>
                  <a:lnTo>
                    <a:pt x="50" y="20"/>
                  </a:lnTo>
                  <a:lnTo>
                    <a:pt x="50" y="20"/>
                  </a:lnTo>
                  <a:lnTo>
                    <a:pt x="50" y="22"/>
                  </a:lnTo>
                  <a:lnTo>
                    <a:pt x="50" y="22"/>
                  </a:lnTo>
                  <a:lnTo>
                    <a:pt x="48" y="22"/>
                  </a:lnTo>
                  <a:lnTo>
                    <a:pt x="48" y="22"/>
                  </a:lnTo>
                  <a:lnTo>
                    <a:pt x="46" y="20"/>
                  </a:lnTo>
                  <a:lnTo>
                    <a:pt x="46" y="18"/>
                  </a:lnTo>
                  <a:lnTo>
                    <a:pt x="46" y="18"/>
                  </a:lnTo>
                  <a:lnTo>
                    <a:pt x="40" y="16"/>
                  </a:lnTo>
                  <a:lnTo>
                    <a:pt x="40" y="16"/>
                  </a:lnTo>
                  <a:lnTo>
                    <a:pt x="46" y="16"/>
                  </a:lnTo>
                  <a:lnTo>
                    <a:pt x="46" y="16"/>
                  </a:lnTo>
                  <a:lnTo>
                    <a:pt x="46" y="16"/>
                  </a:lnTo>
                  <a:lnTo>
                    <a:pt x="46" y="16"/>
                  </a:lnTo>
                  <a:lnTo>
                    <a:pt x="48" y="14"/>
                  </a:lnTo>
                  <a:lnTo>
                    <a:pt x="46" y="12"/>
                  </a:lnTo>
                  <a:lnTo>
                    <a:pt x="46" y="12"/>
                  </a:lnTo>
                  <a:lnTo>
                    <a:pt x="46" y="10"/>
                  </a:lnTo>
                  <a:lnTo>
                    <a:pt x="46" y="10"/>
                  </a:lnTo>
                  <a:lnTo>
                    <a:pt x="44" y="10"/>
                  </a:lnTo>
                  <a:lnTo>
                    <a:pt x="42" y="8"/>
                  </a:lnTo>
                  <a:lnTo>
                    <a:pt x="42" y="8"/>
                  </a:lnTo>
                  <a:lnTo>
                    <a:pt x="40" y="6"/>
                  </a:lnTo>
                  <a:lnTo>
                    <a:pt x="40" y="6"/>
                  </a:lnTo>
                  <a:lnTo>
                    <a:pt x="38" y="4"/>
                  </a:lnTo>
                  <a:lnTo>
                    <a:pt x="34" y="4"/>
                  </a:lnTo>
                  <a:lnTo>
                    <a:pt x="34" y="4"/>
                  </a:lnTo>
                  <a:lnTo>
                    <a:pt x="26" y="4"/>
                  </a:lnTo>
                  <a:lnTo>
                    <a:pt x="26" y="4"/>
                  </a:lnTo>
                  <a:lnTo>
                    <a:pt x="24" y="6"/>
                  </a:lnTo>
                  <a:lnTo>
                    <a:pt x="24" y="6"/>
                  </a:lnTo>
                  <a:lnTo>
                    <a:pt x="30" y="6"/>
                  </a:lnTo>
                  <a:lnTo>
                    <a:pt x="30" y="6"/>
                  </a:lnTo>
                  <a:lnTo>
                    <a:pt x="32" y="6"/>
                  </a:lnTo>
                  <a:lnTo>
                    <a:pt x="32" y="6"/>
                  </a:lnTo>
                  <a:lnTo>
                    <a:pt x="30" y="8"/>
                  </a:lnTo>
                  <a:lnTo>
                    <a:pt x="30" y="8"/>
                  </a:lnTo>
                  <a:lnTo>
                    <a:pt x="32" y="8"/>
                  </a:lnTo>
                  <a:lnTo>
                    <a:pt x="32" y="8"/>
                  </a:lnTo>
                  <a:lnTo>
                    <a:pt x="34" y="10"/>
                  </a:lnTo>
                  <a:lnTo>
                    <a:pt x="34" y="12"/>
                  </a:lnTo>
                  <a:lnTo>
                    <a:pt x="32" y="12"/>
                  </a:lnTo>
                  <a:lnTo>
                    <a:pt x="32" y="12"/>
                  </a:lnTo>
                  <a:lnTo>
                    <a:pt x="22" y="8"/>
                  </a:lnTo>
                  <a:lnTo>
                    <a:pt x="22" y="8"/>
                  </a:lnTo>
                  <a:lnTo>
                    <a:pt x="18" y="8"/>
                  </a:lnTo>
                  <a:lnTo>
                    <a:pt x="18" y="8"/>
                  </a:lnTo>
                  <a:lnTo>
                    <a:pt x="18" y="10"/>
                  </a:lnTo>
                  <a:lnTo>
                    <a:pt x="20" y="10"/>
                  </a:lnTo>
                  <a:lnTo>
                    <a:pt x="20" y="10"/>
                  </a:lnTo>
                  <a:lnTo>
                    <a:pt x="16" y="10"/>
                  </a:lnTo>
                  <a:lnTo>
                    <a:pt x="14" y="10"/>
                  </a:lnTo>
                  <a:lnTo>
                    <a:pt x="14" y="10"/>
                  </a:lnTo>
                  <a:lnTo>
                    <a:pt x="14" y="12"/>
                  </a:lnTo>
                  <a:lnTo>
                    <a:pt x="16" y="12"/>
                  </a:lnTo>
                  <a:lnTo>
                    <a:pt x="16" y="12"/>
                  </a:lnTo>
                  <a:lnTo>
                    <a:pt x="12" y="12"/>
                  </a:lnTo>
                  <a:lnTo>
                    <a:pt x="12" y="12"/>
                  </a:lnTo>
                  <a:lnTo>
                    <a:pt x="14" y="14"/>
                  </a:lnTo>
                  <a:lnTo>
                    <a:pt x="18" y="14"/>
                  </a:lnTo>
                  <a:lnTo>
                    <a:pt x="18" y="14"/>
                  </a:lnTo>
                  <a:lnTo>
                    <a:pt x="18" y="14"/>
                  </a:lnTo>
                  <a:lnTo>
                    <a:pt x="18" y="14"/>
                  </a:lnTo>
                  <a:lnTo>
                    <a:pt x="14" y="16"/>
                  </a:lnTo>
                  <a:lnTo>
                    <a:pt x="14" y="16"/>
                  </a:lnTo>
                  <a:lnTo>
                    <a:pt x="10" y="14"/>
                  </a:lnTo>
                  <a:lnTo>
                    <a:pt x="10" y="14"/>
                  </a:lnTo>
                  <a:lnTo>
                    <a:pt x="8" y="14"/>
                  </a:lnTo>
                  <a:lnTo>
                    <a:pt x="8" y="14"/>
                  </a:lnTo>
                  <a:lnTo>
                    <a:pt x="8" y="14"/>
                  </a:lnTo>
                  <a:lnTo>
                    <a:pt x="8" y="16"/>
                  </a:lnTo>
                  <a:lnTo>
                    <a:pt x="8" y="16"/>
                  </a:lnTo>
                  <a:lnTo>
                    <a:pt x="8" y="16"/>
                  </a:lnTo>
                  <a:lnTo>
                    <a:pt x="8" y="16"/>
                  </a:lnTo>
                  <a:lnTo>
                    <a:pt x="4" y="16"/>
                  </a:lnTo>
                  <a:lnTo>
                    <a:pt x="0" y="18"/>
                  </a:lnTo>
                  <a:lnTo>
                    <a:pt x="0" y="18"/>
                  </a:lnTo>
                  <a:lnTo>
                    <a:pt x="0" y="18"/>
                  </a:lnTo>
                  <a:lnTo>
                    <a:pt x="0" y="18"/>
                  </a:lnTo>
                  <a:lnTo>
                    <a:pt x="0" y="18"/>
                  </a:lnTo>
                  <a:lnTo>
                    <a:pt x="4" y="18"/>
                  </a:lnTo>
                  <a:lnTo>
                    <a:pt x="4" y="18"/>
                  </a:lnTo>
                  <a:lnTo>
                    <a:pt x="8" y="20"/>
                  </a:lnTo>
                  <a:lnTo>
                    <a:pt x="12" y="20"/>
                  </a:lnTo>
                  <a:lnTo>
                    <a:pt x="12" y="20"/>
                  </a:lnTo>
                  <a:lnTo>
                    <a:pt x="24" y="18"/>
                  </a:lnTo>
                  <a:lnTo>
                    <a:pt x="24" y="18"/>
                  </a:lnTo>
                  <a:lnTo>
                    <a:pt x="24" y="18"/>
                  </a:lnTo>
                  <a:lnTo>
                    <a:pt x="24" y="18"/>
                  </a:lnTo>
                  <a:lnTo>
                    <a:pt x="28" y="18"/>
                  </a:lnTo>
                  <a:lnTo>
                    <a:pt x="28" y="18"/>
                  </a:lnTo>
                  <a:lnTo>
                    <a:pt x="38" y="18"/>
                  </a:lnTo>
                  <a:lnTo>
                    <a:pt x="38" y="18"/>
                  </a:lnTo>
                  <a:lnTo>
                    <a:pt x="38" y="20"/>
                  </a:lnTo>
                  <a:lnTo>
                    <a:pt x="38" y="20"/>
                  </a:lnTo>
                  <a:lnTo>
                    <a:pt x="30" y="20"/>
                  </a:lnTo>
                  <a:lnTo>
                    <a:pt x="26" y="24"/>
                  </a:lnTo>
                  <a:lnTo>
                    <a:pt x="26" y="24"/>
                  </a:lnTo>
                  <a:lnTo>
                    <a:pt x="30" y="24"/>
                  </a:lnTo>
                  <a:lnTo>
                    <a:pt x="30" y="24"/>
                  </a:lnTo>
                  <a:lnTo>
                    <a:pt x="30" y="24"/>
                  </a:lnTo>
                  <a:lnTo>
                    <a:pt x="30" y="24"/>
                  </a:lnTo>
                  <a:lnTo>
                    <a:pt x="36" y="24"/>
                  </a:lnTo>
                  <a:lnTo>
                    <a:pt x="38" y="24"/>
                  </a:lnTo>
                  <a:lnTo>
                    <a:pt x="38" y="24"/>
                  </a:lnTo>
                  <a:lnTo>
                    <a:pt x="38" y="24"/>
                  </a:lnTo>
                  <a:lnTo>
                    <a:pt x="30" y="26"/>
                  </a:lnTo>
                  <a:lnTo>
                    <a:pt x="22" y="26"/>
                  </a:lnTo>
                  <a:lnTo>
                    <a:pt x="22" y="26"/>
                  </a:lnTo>
                  <a:lnTo>
                    <a:pt x="12" y="28"/>
                  </a:lnTo>
                  <a:lnTo>
                    <a:pt x="4" y="30"/>
                  </a:lnTo>
                  <a:lnTo>
                    <a:pt x="4" y="30"/>
                  </a:lnTo>
                  <a:lnTo>
                    <a:pt x="6" y="30"/>
                  </a:lnTo>
                  <a:lnTo>
                    <a:pt x="6" y="30"/>
                  </a:lnTo>
                  <a:lnTo>
                    <a:pt x="6" y="30"/>
                  </a:lnTo>
                  <a:lnTo>
                    <a:pt x="6" y="30"/>
                  </a:lnTo>
                  <a:lnTo>
                    <a:pt x="10" y="30"/>
                  </a:lnTo>
                  <a:lnTo>
                    <a:pt x="10" y="30"/>
                  </a:lnTo>
                  <a:lnTo>
                    <a:pt x="18" y="28"/>
                  </a:lnTo>
                  <a:lnTo>
                    <a:pt x="24" y="30"/>
                  </a:lnTo>
                  <a:lnTo>
                    <a:pt x="24" y="30"/>
                  </a:lnTo>
                  <a:lnTo>
                    <a:pt x="24" y="30"/>
                  </a:lnTo>
                  <a:lnTo>
                    <a:pt x="24" y="30"/>
                  </a:lnTo>
                  <a:lnTo>
                    <a:pt x="26" y="32"/>
                  </a:lnTo>
                  <a:lnTo>
                    <a:pt x="26" y="32"/>
                  </a:lnTo>
                  <a:lnTo>
                    <a:pt x="28" y="34"/>
                  </a:lnTo>
                  <a:lnTo>
                    <a:pt x="32" y="34"/>
                  </a:lnTo>
                  <a:lnTo>
                    <a:pt x="32" y="34"/>
                  </a:lnTo>
                  <a:lnTo>
                    <a:pt x="32" y="34"/>
                  </a:lnTo>
                  <a:lnTo>
                    <a:pt x="30" y="36"/>
                  </a:lnTo>
                  <a:lnTo>
                    <a:pt x="30" y="36"/>
                  </a:lnTo>
                  <a:lnTo>
                    <a:pt x="36" y="36"/>
                  </a:lnTo>
                  <a:lnTo>
                    <a:pt x="36" y="36"/>
                  </a:lnTo>
                  <a:lnTo>
                    <a:pt x="36" y="36"/>
                  </a:lnTo>
                  <a:lnTo>
                    <a:pt x="36" y="36"/>
                  </a:lnTo>
                  <a:lnTo>
                    <a:pt x="32" y="36"/>
                  </a:lnTo>
                  <a:lnTo>
                    <a:pt x="32" y="36"/>
                  </a:lnTo>
                  <a:lnTo>
                    <a:pt x="30" y="38"/>
                  </a:lnTo>
                  <a:lnTo>
                    <a:pt x="28" y="40"/>
                  </a:lnTo>
                  <a:lnTo>
                    <a:pt x="18" y="42"/>
                  </a:lnTo>
                  <a:lnTo>
                    <a:pt x="18" y="42"/>
                  </a:lnTo>
                  <a:lnTo>
                    <a:pt x="16" y="44"/>
                  </a:lnTo>
                  <a:lnTo>
                    <a:pt x="16" y="44"/>
                  </a:lnTo>
                  <a:lnTo>
                    <a:pt x="16" y="44"/>
                  </a:lnTo>
                  <a:lnTo>
                    <a:pt x="16" y="44"/>
                  </a:lnTo>
                  <a:lnTo>
                    <a:pt x="16" y="44"/>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India"/>
            <p:cNvSpPr>
              <a:spLocks/>
            </p:cNvSpPr>
            <p:nvPr/>
          </p:nvSpPr>
          <p:spPr bwMode="auto">
            <a:xfrm>
              <a:off x="5983518" y="2427552"/>
              <a:ext cx="777875" cy="920750"/>
            </a:xfrm>
            <a:custGeom>
              <a:avLst/>
              <a:gdLst/>
              <a:ahLst/>
              <a:cxnLst>
                <a:cxn ang="0">
                  <a:pos x="388" y="234"/>
                </a:cxn>
                <a:cxn ang="0">
                  <a:pos x="350" y="234"/>
                </a:cxn>
                <a:cxn ang="0">
                  <a:pos x="300" y="212"/>
                </a:cxn>
                <a:cxn ang="0">
                  <a:pos x="276" y="206"/>
                </a:cxn>
                <a:cxn ang="0">
                  <a:pos x="230" y="174"/>
                </a:cxn>
                <a:cxn ang="0">
                  <a:pos x="240" y="142"/>
                </a:cxn>
                <a:cxn ang="0">
                  <a:pos x="182" y="104"/>
                </a:cxn>
                <a:cxn ang="0">
                  <a:pos x="182" y="70"/>
                </a:cxn>
                <a:cxn ang="0">
                  <a:pos x="128" y="4"/>
                </a:cxn>
                <a:cxn ang="0">
                  <a:pos x="128" y="28"/>
                </a:cxn>
                <a:cxn ang="0">
                  <a:pos x="66" y="40"/>
                </a:cxn>
                <a:cxn ang="0">
                  <a:pos x="82" y="54"/>
                </a:cxn>
                <a:cxn ang="0">
                  <a:pos x="104" y="66"/>
                </a:cxn>
                <a:cxn ang="0">
                  <a:pos x="102" y="98"/>
                </a:cxn>
                <a:cxn ang="0">
                  <a:pos x="88" y="150"/>
                </a:cxn>
                <a:cxn ang="0">
                  <a:pos x="44" y="192"/>
                </a:cxn>
                <a:cxn ang="0">
                  <a:pos x="28" y="218"/>
                </a:cxn>
                <a:cxn ang="0">
                  <a:pos x="68" y="270"/>
                </a:cxn>
                <a:cxn ang="0">
                  <a:pos x="54" y="276"/>
                </a:cxn>
                <a:cxn ang="0">
                  <a:pos x="12" y="282"/>
                </a:cxn>
                <a:cxn ang="0">
                  <a:pos x="18" y="306"/>
                </a:cxn>
                <a:cxn ang="0">
                  <a:pos x="44" y="324"/>
                </a:cxn>
                <a:cxn ang="0">
                  <a:pos x="20" y="334"/>
                </a:cxn>
                <a:cxn ang="0">
                  <a:pos x="58" y="376"/>
                </a:cxn>
                <a:cxn ang="0">
                  <a:pos x="88" y="354"/>
                </a:cxn>
                <a:cxn ang="0">
                  <a:pos x="94" y="354"/>
                </a:cxn>
                <a:cxn ang="0">
                  <a:pos x="110" y="386"/>
                </a:cxn>
                <a:cxn ang="0">
                  <a:pos x="114" y="410"/>
                </a:cxn>
                <a:cxn ang="0">
                  <a:pos x="142" y="508"/>
                </a:cxn>
                <a:cxn ang="0">
                  <a:pos x="168" y="572"/>
                </a:cxn>
                <a:cxn ang="0">
                  <a:pos x="210" y="660"/>
                </a:cxn>
                <a:cxn ang="0">
                  <a:pos x="252" y="690"/>
                </a:cxn>
                <a:cxn ang="0">
                  <a:pos x="264" y="660"/>
                </a:cxn>
                <a:cxn ang="0">
                  <a:pos x="284" y="638"/>
                </a:cxn>
                <a:cxn ang="0">
                  <a:pos x="288" y="582"/>
                </a:cxn>
                <a:cxn ang="0">
                  <a:pos x="286" y="532"/>
                </a:cxn>
                <a:cxn ang="0">
                  <a:pos x="300" y="490"/>
                </a:cxn>
                <a:cxn ang="0">
                  <a:pos x="328" y="464"/>
                </a:cxn>
                <a:cxn ang="0">
                  <a:pos x="352" y="432"/>
                </a:cxn>
                <a:cxn ang="0">
                  <a:pos x="382" y="390"/>
                </a:cxn>
                <a:cxn ang="0">
                  <a:pos x="398" y="354"/>
                </a:cxn>
                <a:cxn ang="0">
                  <a:pos x="420" y="332"/>
                </a:cxn>
                <a:cxn ang="0">
                  <a:pos x="432" y="338"/>
                </a:cxn>
                <a:cxn ang="0">
                  <a:pos x="430" y="308"/>
                </a:cxn>
                <a:cxn ang="0">
                  <a:pos x="408" y="268"/>
                </a:cxn>
                <a:cxn ang="0">
                  <a:pos x="390" y="238"/>
                </a:cxn>
                <a:cxn ang="0">
                  <a:pos x="418" y="228"/>
                </a:cxn>
                <a:cxn ang="0">
                  <a:pos x="436" y="240"/>
                </a:cxn>
                <a:cxn ang="0">
                  <a:pos x="502" y="266"/>
                </a:cxn>
                <a:cxn ang="0">
                  <a:pos x="470" y="296"/>
                </a:cxn>
                <a:cxn ang="0">
                  <a:pos x="492" y="300"/>
                </a:cxn>
                <a:cxn ang="0">
                  <a:pos x="528" y="332"/>
                </a:cxn>
                <a:cxn ang="0">
                  <a:pos x="540" y="290"/>
                </a:cxn>
                <a:cxn ang="0">
                  <a:pos x="540" y="236"/>
                </a:cxn>
                <a:cxn ang="0">
                  <a:pos x="582" y="190"/>
                </a:cxn>
                <a:cxn ang="0">
                  <a:pos x="558" y="172"/>
                </a:cxn>
                <a:cxn ang="0">
                  <a:pos x="538" y="160"/>
                </a:cxn>
                <a:cxn ang="0">
                  <a:pos x="462" y="184"/>
                </a:cxn>
                <a:cxn ang="0">
                  <a:pos x="470" y="206"/>
                </a:cxn>
                <a:cxn ang="0">
                  <a:pos x="412" y="200"/>
                </a:cxn>
              </a:cxnLst>
              <a:rect l="0" t="0" r="r" b="b"/>
              <a:pathLst>
                <a:path w="588" h="696">
                  <a:moveTo>
                    <a:pt x="398" y="192"/>
                  </a:moveTo>
                  <a:lnTo>
                    <a:pt x="398" y="192"/>
                  </a:lnTo>
                  <a:lnTo>
                    <a:pt x="400" y="196"/>
                  </a:lnTo>
                  <a:lnTo>
                    <a:pt x="400" y="200"/>
                  </a:lnTo>
                  <a:lnTo>
                    <a:pt x="394" y="206"/>
                  </a:lnTo>
                  <a:lnTo>
                    <a:pt x="388" y="212"/>
                  </a:lnTo>
                  <a:lnTo>
                    <a:pt x="386" y="216"/>
                  </a:lnTo>
                  <a:lnTo>
                    <a:pt x="388" y="218"/>
                  </a:lnTo>
                  <a:lnTo>
                    <a:pt x="388" y="218"/>
                  </a:lnTo>
                  <a:lnTo>
                    <a:pt x="390" y="224"/>
                  </a:lnTo>
                  <a:lnTo>
                    <a:pt x="390" y="230"/>
                  </a:lnTo>
                  <a:lnTo>
                    <a:pt x="388" y="234"/>
                  </a:lnTo>
                  <a:lnTo>
                    <a:pt x="386" y="238"/>
                  </a:lnTo>
                  <a:lnTo>
                    <a:pt x="386" y="238"/>
                  </a:lnTo>
                  <a:lnTo>
                    <a:pt x="378" y="238"/>
                  </a:lnTo>
                  <a:lnTo>
                    <a:pt x="374" y="238"/>
                  </a:lnTo>
                  <a:lnTo>
                    <a:pt x="372" y="238"/>
                  </a:lnTo>
                  <a:lnTo>
                    <a:pt x="368" y="238"/>
                  </a:lnTo>
                  <a:lnTo>
                    <a:pt x="368" y="238"/>
                  </a:lnTo>
                  <a:lnTo>
                    <a:pt x="362" y="238"/>
                  </a:lnTo>
                  <a:lnTo>
                    <a:pt x="360" y="236"/>
                  </a:lnTo>
                  <a:lnTo>
                    <a:pt x="358" y="234"/>
                  </a:lnTo>
                  <a:lnTo>
                    <a:pt x="350" y="234"/>
                  </a:lnTo>
                  <a:lnTo>
                    <a:pt x="350" y="234"/>
                  </a:lnTo>
                  <a:lnTo>
                    <a:pt x="344" y="234"/>
                  </a:lnTo>
                  <a:lnTo>
                    <a:pt x="340" y="230"/>
                  </a:lnTo>
                  <a:lnTo>
                    <a:pt x="338" y="228"/>
                  </a:lnTo>
                  <a:lnTo>
                    <a:pt x="334" y="228"/>
                  </a:lnTo>
                  <a:lnTo>
                    <a:pt x="334" y="228"/>
                  </a:lnTo>
                  <a:lnTo>
                    <a:pt x="332" y="228"/>
                  </a:lnTo>
                  <a:lnTo>
                    <a:pt x="332" y="226"/>
                  </a:lnTo>
                  <a:lnTo>
                    <a:pt x="330" y="222"/>
                  </a:lnTo>
                  <a:lnTo>
                    <a:pt x="324" y="218"/>
                  </a:lnTo>
                  <a:lnTo>
                    <a:pt x="324" y="218"/>
                  </a:lnTo>
                  <a:lnTo>
                    <a:pt x="306" y="212"/>
                  </a:lnTo>
                  <a:lnTo>
                    <a:pt x="300" y="212"/>
                  </a:lnTo>
                  <a:lnTo>
                    <a:pt x="298" y="212"/>
                  </a:lnTo>
                  <a:lnTo>
                    <a:pt x="296" y="214"/>
                  </a:lnTo>
                  <a:lnTo>
                    <a:pt x="296" y="214"/>
                  </a:lnTo>
                  <a:lnTo>
                    <a:pt x="296" y="214"/>
                  </a:lnTo>
                  <a:lnTo>
                    <a:pt x="292" y="214"/>
                  </a:lnTo>
                  <a:lnTo>
                    <a:pt x="280" y="212"/>
                  </a:lnTo>
                  <a:lnTo>
                    <a:pt x="280" y="212"/>
                  </a:lnTo>
                  <a:lnTo>
                    <a:pt x="276" y="212"/>
                  </a:lnTo>
                  <a:lnTo>
                    <a:pt x="276" y="210"/>
                  </a:lnTo>
                  <a:lnTo>
                    <a:pt x="278" y="208"/>
                  </a:lnTo>
                  <a:lnTo>
                    <a:pt x="276" y="206"/>
                  </a:lnTo>
                  <a:lnTo>
                    <a:pt x="276" y="206"/>
                  </a:lnTo>
                  <a:lnTo>
                    <a:pt x="262" y="202"/>
                  </a:lnTo>
                  <a:lnTo>
                    <a:pt x="254" y="198"/>
                  </a:lnTo>
                  <a:lnTo>
                    <a:pt x="246" y="192"/>
                  </a:lnTo>
                  <a:lnTo>
                    <a:pt x="246" y="192"/>
                  </a:lnTo>
                  <a:lnTo>
                    <a:pt x="242" y="188"/>
                  </a:lnTo>
                  <a:lnTo>
                    <a:pt x="238" y="188"/>
                  </a:lnTo>
                  <a:lnTo>
                    <a:pt x="232" y="188"/>
                  </a:lnTo>
                  <a:lnTo>
                    <a:pt x="226" y="184"/>
                  </a:lnTo>
                  <a:lnTo>
                    <a:pt x="226" y="184"/>
                  </a:lnTo>
                  <a:lnTo>
                    <a:pt x="222" y="182"/>
                  </a:lnTo>
                  <a:lnTo>
                    <a:pt x="224" y="178"/>
                  </a:lnTo>
                  <a:lnTo>
                    <a:pt x="230" y="174"/>
                  </a:lnTo>
                  <a:lnTo>
                    <a:pt x="236" y="168"/>
                  </a:lnTo>
                  <a:lnTo>
                    <a:pt x="236" y="168"/>
                  </a:lnTo>
                  <a:lnTo>
                    <a:pt x="240" y="162"/>
                  </a:lnTo>
                  <a:lnTo>
                    <a:pt x="240" y="160"/>
                  </a:lnTo>
                  <a:lnTo>
                    <a:pt x="238" y="158"/>
                  </a:lnTo>
                  <a:lnTo>
                    <a:pt x="240" y="156"/>
                  </a:lnTo>
                  <a:lnTo>
                    <a:pt x="240" y="156"/>
                  </a:lnTo>
                  <a:lnTo>
                    <a:pt x="244" y="148"/>
                  </a:lnTo>
                  <a:lnTo>
                    <a:pt x="246" y="146"/>
                  </a:lnTo>
                  <a:lnTo>
                    <a:pt x="246" y="146"/>
                  </a:lnTo>
                  <a:lnTo>
                    <a:pt x="240" y="142"/>
                  </a:lnTo>
                  <a:lnTo>
                    <a:pt x="240" y="142"/>
                  </a:lnTo>
                  <a:lnTo>
                    <a:pt x="234" y="134"/>
                  </a:lnTo>
                  <a:lnTo>
                    <a:pt x="226" y="132"/>
                  </a:lnTo>
                  <a:lnTo>
                    <a:pt x="220" y="130"/>
                  </a:lnTo>
                  <a:lnTo>
                    <a:pt x="214" y="126"/>
                  </a:lnTo>
                  <a:lnTo>
                    <a:pt x="214" y="126"/>
                  </a:lnTo>
                  <a:lnTo>
                    <a:pt x="208" y="122"/>
                  </a:lnTo>
                  <a:lnTo>
                    <a:pt x="202" y="122"/>
                  </a:lnTo>
                  <a:lnTo>
                    <a:pt x="194" y="118"/>
                  </a:lnTo>
                  <a:lnTo>
                    <a:pt x="190" y="116"/>
                  </a:lnTo>
                  <a:lnTo>
                    <a:pt x="186" y="112"/>
                  </a:lnTo>
                  <a:lnTo>
                    <a:pt x="186" y="112"/>
                  </a:lnTo>
                  <a:lnTo>
                    <a:pt x="182" y="104"/>
                  </a:lnTo>
                  <a:lnTo>
                    <a:pt x="182" y="98"/>
                  </a:lnTo>
                  <a:lnTo>
                    <a:pt x="182" y="94"/>
                  </a:lnTo>
                  <a:lnTo>
                    <a:pt x="176" y="88"/>
                  </a:lnTo>
                  <a:lnTo>
                    <a:pt x="176" y="88"/>
                  </a:lnTo>
                  <a:lnTo>
                    <a:pt x="174" y="84"/>
                  </a:lnTo>
                  <a:lnTo>
                    <a:pt x="174" y="84"/>
                  </a:lnTo>
                  <a:lnTo>
                    <a:pt x="178" y="84"/>
                  </a:lnTo>
                  <a:lnTo>
                    <a:pt x="182" y="84"/>
                  </a:lnTo>
                  <a:lnTo>
                    <a:pt x="184" y="82"/>
                  </a:lnTo>
                  <a:lnTo>
                    <a:pt x="184" y="78"/>
                  </a:lnTo>
                  <a:lnTo>
                    <a:pt x="182" y="70"/>
                  </a:lnTo>
                  <a:lnTo>
                    <a:pt x="182" y="70"/>
                  </a:lnTo>
                  <a:lnTo>
                    <a:pt x="178" y="64"/>
                  </a:lnTo>
                  <a:lnTo>
                    <a:pt x="174" y="58"/>
                  </a:lnTo>
                  <a:lnTo>
                    <a:pt x="166" y="50"/>
                  </a:lnTo>
                  <a:lnTo>
                    <a:pt x="164" y="48"/>
                  </a:lnTo>
                  <a:lnTo>
                    <a:pt x="164" y="46"/>
                  </a:lnTo>
                  <a:lnTo>
                    <a:pt x="170" y="38"/>
                  </a:lnTo>
                  <a:lnTo>
                    <a:pt x="170" y="38"/>
                  </a:lnTo>
                  <a:lnTo>
                    <a:pt x="158" y="22"/>
                  </a:lnTo>
                  <a:lnTo>
                    <a:pt x="150" y="12"/>
                  </a:lnTo>
                  <a:lnTo>
                    <a:pt x="142" y="6"/>
                  </a:lnTo>
                  <a:lnTo>
                    <a:pt x="136" y="4"/>
                  </a:lnTo>
                  <a:lnTo>
                    <a:pt x="128" y="4"/>
                  </a:lnTo>
                  <a:lnTo>
                    <a:pt x="124" y="2"/>
                  </a:lnTo>
                  <a:lnTo>
                    <a:pt x="120" y="0"/>
                  </a:lnTo>
                  <a:lnTo>
                    <a:pt x="120" y="0"/>
                  </a:lnTo>
                  <a:lnTo>
                    <a:pt x="122" y="4"/>
                  </a:lnTo>
                  <a:lnTo>
                    <a:pt x="126" y="6"/>
                  </a:lnTo>
                  <a:lnTo>
                    <a:pt x="130" y="8"/>
                  </a:lnTo>
                  <a:lnTo>
                    <a:pt x="134" y="16"/>
                  </a:lnTo>
                  <a:lnTo>
                    <a:pt x="134" y="16"/>
                  </a:lnTo>
                  <a:lnTo>
                    <a:pt x="138" y="22"/>
                  </a:lnTo>
                  <a:lnTo>
                    <a:pt x="138" y="26"/>
                  </a:lnTo>
                  <a:lnTo>
                    <a:pt x="134" y="28"/>
                  </a:lnTo>
                  <a:lnTo>
                    <a:pt x="128" y="28"/>
                  </a:lnTo>
                  <a:lnTo>
                    <a:pt x="128" y="28"/>
                  </a:lnTo>
                  <a:lnTo>
                    <a:pt x="116" y="30"/>
                  </a:lnTo>
                  <a:lnTo>
                    <a:pt x="108" y="32"/>
                  </a:lnTo>
                  <a:lnTo>
                    <a:pt x="100" y="34"/>
                  </a:lnTo>
                  <a:lnTo>
                    <a:pt x="80" y="32"/>
                  </a:lnTo>
                  <a:lnTo>
                    <a:pt x="80" y="32"/>
                  </a:lnTo>
                  <a:lnTo>
                    <a:pt x="70" y="30"/>
                  </a:lnTo>
                  <a:lnTo>
                    <a:pt x="64" y="30"/>
                  </a:lnTo>
                  <a:lnTo>
                    <a:pt x="62" y="32"/>
                  </a:lnTo>
                  <a:lnTo>
                    <a:pt x="60" y="32"/>
                  </a:lnTo>
                  <a:lnTo>
                    <a:pt x="62" y="36"/>
                  </a:lnTo>
                  <a:lnTo>
                    <a:pt x="66" y="40"/>
                  </a:lnTo>
                  <a:lnTo>
                    <a:pt x="66" y="40"/>
                  </a:lnTo>
                  <a:lnTo>
                    <a:pt x="62" y="40"/>
                  </a:lnTo>
                  <a:lnTo>
                    <a:pt x="62" y="42"/>
                  </a:lnTo>
                  <a:lnTo>
                    <a:pt x="64" y="44"/>
                  </a:lnTo>
                  <a:lnTo>
                    <a:pt x="68" y="48"/>
                  </a:lnTo>
                  <a:lnTo>
                    <a:pt x="70" y="50"/>
                  </a:lnTo>
                  <a:lnTo>
                    <a:pt x="70" y="54"/>
                  </a:lnTo>
                  <a:lnTo>
                    <a:pt x="70" y="54"/>
                  </a:lnTo>
                  <a:lnTo>
                    <a:pt x="70" y="56"/>
                  </a:lnTo>
                  <a:lnTo>
                    <a:pt x="72" y="58"/>
                  </a:lnTo>
                  <a:lnTo>
                    <a:pt x="76" y="56"/>
                  </a:lnTo>
                  <a:lnTo>
                    <a:pt x="82" y="54"/>
                  </a:lnTo>
                  <a:lnTo>
                    <a:pt x="84" y="54"/>
                  </a:lnTo>
                  <a:lnTo>
                    <a:pt x="86" y="54"/>
                  </a:lnTo>
                  <a:lnTo>
                    <a:pt x="86" y="54"/>
                  </a:lnTo>
                  <a:lnTo>
                    <a:pt x="88" y="58"/>
                  </a:lnTo>
                  <a:lnTo>
                    <a:pt x="88" y="60"/>
                  </a:lnTo>
                  <a:lnTo>
                    <a:pt x="88" y="64"/>
                  </a:lnTo>
                  <a:lnTo>
                    <a:pt x="88" y="66"/>
                  </a:lnTo>
                  <a:lnTo>
                    <a:pt x="90" y="68"/>
                  </a:lnTo>
                  <a:lnTo>
                    <a:pt x="98" y="66"/>
                  </a:lnTo>
                  <a:lnTo>
                    <a:pt x="98" y="66"/>
                  </a:lnTo>
                  <a:lnTo>
                    <a:pt x="102" y="66"/>
                  </a:lnTo>
                  <a:lnTo>
                    <a:pt x="104" y="66"/>
                  </a:lnTo>
                  <a:lnTo>
                    <a:pt x="102" y="70"/>
                  </a:lnTo>
                  <a:lnTo>
                    <a:pt x="102" y="76"/>
                  </a:lnTo>
                  <a:lnTo>
                    <a:pt x="102" y="78"/>
                  </a:lnTo>
                  <a:lnTo>
                    <a:pt x="104" y="78"/>
                  </a:lnTo>
                  <a:lnTo>
                    <a:pt x="104" y="78"/>
                  </a:lnTo>
                  <a:lnTo>
                    <a:pt x="108" y="80"/>
                  </a:lnTo>
                  <a:lnTo>
                    <a:pt x="106" y="82"/>
                  </a:lnTo>
                  <a:lnTo>
                    <a:pt x="102" y="86"/>
                  </a:lnTo>
                  <a:lnTo>
                    <a:pt x="98" y="88"/>
                  </a:lnTo>
                  <a:lnTo>
                    <a:pt x="98" y="92"/>
                  </a:lnTo>
                  <a:lnTo>
                    <a:pt x="98" y="96"/>
                  </a:lnTo>
                  <a:lnTo>
                    <a:pt x="102" y="98"/>
                  </a:lnTo>
                  <a:lnTo>
                    <a:pt x="102" y="98"/>
                  </a:lnTo>
                  <a:lnTo>
                    <a:pt x="108" y="106"/>
                  </a:lnTo>
                  <a:lnTo>
                    <a:pt x="108" y="106"/>
                  </a:lnTo>
                  <a:lnTo>
                    <a:pt x="106" y="108"/>
                  </a:lnTo>
                  <a:lnTo>
                    <a:pt x="102" y="110"/>
                  </a:lnTo>
                  <a:lnTo>
                    <a:pt x="100" y="114"/>
                  </a:lnTo>
                  <a:lnTo>
                    <a:pt x="96" y="120"/>
                  </a:lnTo>
                  <a:lnTo>
                    <a:pt x="96" y="128"/>
                  </a:lnTo>
                  <a:lnTo>
                    <a:pt x="96" y="128"/>
                  </a:lnTo>
                  <a:lnTo>
                    <a:pt x="94" y="138"/>
                  </a:lnTo>
                  <a:lnTo>
                    <a:pt x="92" y="146"/>
                  </a:lnTo>
                  <a:lnTo>
                    <a:pt x="88" y="150"/>
                  </a:lnTo>
                  <a:lnTo>
                    <a:pt x="84" y="152"/>
                  </a:lnTo>
                  <a:lnTo>
                    <a:pt x="78" y="156"/>
                  </a:lnTo>
                  <a:lnTo>
                    <a:pt x="76" y="158"/>
                  </a:lnTo>
                  <a:lnTo>
                    <a:pt x="76" y="162"/>
                  </a:lnTo>
                  <a:lnTo>
                    <a:pt x="76" y="162"/>
                  </a:lnTo>
                  <a:lnTo>
                    <a:pt x="74" y="166"/>
                  </a:lnTo>
                  <a:lnTo>
                    <a:pt x="70" y="174"/>
                  </a:lnTo>
                  <a:lnTo>
                    <a:pt x="64" y="182"/>
                  </a:lnTo>
                  <a:lnTo>
                    <a:pt x="52" y="190"/>
                  </a:lnTo>
                  <a:lnTo>
                    <a:pt x="52" y="190"/>
                  </a:lnTo>
                  <a:lnTo>
                    <a:pt x="46" y="192"/>
                  </a:lnTo>
                  <a:lnTo>
                    <a:pt x="44" y="192"/>
                  </a:lnTo>
                  <a:lnTo>
                    <a:pt x="42" y="190"/>
                  </a:lnTo>
                  <a:lnTo>
                    <a:pt x="40" y="188"/>
                  </a:lnTo>
                  <a:lnTo>
                    <a:pt x="40" y="186"/>
                  </a:lnTo>
                  <a:lnTo>
                    <a:pt x="34" y="190"/>
                  </a:lnTo>
                  <a:lnTo>
                    <a:pt x="34" y="190"/>
                  </a:lnTo>
                  <a:lnTo>
                    <a:pt x="20" y="204"/>
                  </a:lnTo>
                  <a:lnTo>
                    <a:pt x="18" y="210"/>
                  </a:lnTo>
                  <a:lnTo>
                    <a:pt x="18" y="212"/>
                  </a:lnTo>
                  <a:lnTo>
                    <a:pt x="18" y="214"/>
                  </a:lnTo>
                  <a:lnTo>
                    <a:pt x="18" y="214"/>
                  </a:lnTo>
                  <a:lnTo>
                    <a:pt x="24" y="216"/>
                  </a:lnTo>
                  <a:lnTo>
                    <a:pt x="28" y="218"/>
                  </a:lnTo>
                  <a:lnTo>
                    <a:pt x="30" y="222"/>
                  </a:lnTo>
                  <a:lnTo>
                    <a:pt x="30" y="228"/>
                  </a:lnTo>
                  <a:lnTo>
                    <a:pt x="30" y="228"/>
                  </a:lnTo>
                  <a:lnTo>
                    <a:pt x="30" y="232"/>
                  </a:lnTo>
                  <a:lnTo>
                    <a:pt x="32" y="236"/>
                  </a:lnTo>
                  <a:lnTo>
                    <a:pt x="36" y="240"/>
                  </a:lnTo>
                  <a:lnTo>
                    <a:pt x="46" y="246"/>
                  </a:lnTo>
                  <a:lnTo>
                    <a:pt x="58" y="256"/>
                  </a:lnTo>
                  <a:lnTo>
                    <a:pt x="58" y="256"/>
                  </a:lnTo>
                  <a:lnTo>
                    <a:pt x="64" y="262"/>
                  </a:lnTo>
                  <a:lnTo>
                    <a:pt x="68" y="266"/>
                  </a:lnTo>
                  <a:lnTo>
                    <a:pt x="68" y="270"/>
                  </a:lnTo>
                  <a:lnTo>
                    <a:pt x="66" y="270"/>
                  </a:lnTo>
                  <a:lnTo>
                    <a:pt x="62" y="272"/>
                  </a:lnTo>
                  <a:lnTo>
                    <a:pt x="62" y="272"/>
                  </a:lnTo>
                  <a:lnTo>
                    <a:pt x="64" y="274"/>
                  </a:lnTo>
                  <a:lnTo>
                    <a:pt x="64" y="274"/>
                  </a:lnTo>
                  <a:lnTo>
                    <a:pt x="70" y="278"/>
                  </a:lnTo>
                  <a:lnTo>
                    <a:pt x="62" y="280"/>
                  </a:lnTo>
                  <a:lnTo>
                    <a:pt x="62" y="280"/>
                  </a:lnTo>
                  <a:lnTo>
                    <a:pt x="56" y="282"/>
                  </a:lnTo>
                  <a:lnTo>
                    <a:pt x="54" y="280"/>
                  </a:lnTo>
                  <a:lnTo>
                    <a:pt x="54" y="278"/>
                  </a:lnTo>
                  <a:lnTo>
                    <a:pt x="54" y="276"/>
                  </a:lnTo>
                  <a:lnTo>
                    <a:pt x="48" y="278"/>
                  </a:lnTo>
                  <a:lnTo>
                    <a:pt x="48" y="278"/>
                  </a:lnTo>
                  <a:lnTo>
                    <a:pt x="40" y="280"/>
                  </a:lnTo>
                  <a:lnTo>
                    <a:pt x="34" y="280"/>
                  </a:lnTo>
                  <a:lnTo>
                    <a:pt x="28" y="280"/>
                  </a:lnTo>
                  <a:lnTo>
                    <a:pt x="24" y="282"/>
                  </a:lnTo>
                  <a:lnTo>
                    <a:pt x="24" y="282"/>
                  </a:lnTo>
                  <a:lnTo>
                    <a:pt x="20" y="282"/>
                  </a:lnTo>
                  <a:lnTo>
                    <a:pt x="18" y="282"/>
                  </a:lnTo>
                  <a:lnTo>
                    <a:pt x="16" y="280"/>
                  </a:lnTo>
                  <a:lnTo>
                    <a:pt x="12" y="282"/>
                  </a:lnTo>
                  <a:lnTo>
                    <a:pt x="12" y="282"/>
                  </a:lnTo>
                  <a:lnTo>
                    <a:pt x="8" y="286"/>
                  </a:lnTo>
                  <a:lnTo>
                    <a:pt x="6" y="286"/>
                  </a:lnTo>
                  <a:lnTo>
                    <a:pt x="4" y="286"/>
                  </a:lnTo>
                  <a:lnTo>
                    <a:pt x="0" y="292"/>
                  </a:lnTo>
                  <a:lnTo>
                    <a:pt x="0" y="292"/>
                  </a:lnTo>
                  <a:lnTo>
                    <a:pt x="6" y="296"/>
                  </a:lnTo>
                  <a:lnTo>
                    <a:pt x="10" y="298"/>
                  </a:lnTo>
                  <a:lnTo>
                    <a:pt x="14" y="300"/>
                  </a:lnTo>
                  <a:lnTo>
                    <a:pt x="22" y="300"/>
                  </a:lnTo>
                  <a:lnTo>
                    <a:pt x="22" y="300"/>
                  </a:lnTo>
                  <a:lnTo>
                    <a:pt x="18" y="302"/>
                  </a:lnTo>
                  <a:lnTo>
                    <a:pt x="18" y="306"/>
                  </a:lnTo>
                  <a:lnTo>
                    <a:pt x="20" y="310"/>
                  </a:lnTo>
                  <a:lnTo>
                    <a:pt x="20" y="310"/>
                  </a:lnTo>
                  <a:lnTo>
                    <a:pt x="22" y="316"/>
                  </a:lnTo>
                  <a:lnTo>
                    <a:pt x="22" y="322"/>
                  </a:lnTo>
                  <a:lnTo>
                    <a:pt x="24" y="326"/>
                  </a:lnTo>
                  <a:lnTo>
                    <a:pt x="26" y="326"/>
                  </a:lnTo>
                  <a:lnTo>
                    <a:pt x="30" y="324"/>
                  </a:lnTo>
                  <a:lnTo>
                    <a:pt x="30" y="324"/>
                  </a:lnTo>
                  <a:lnTo>
                    <a:pt x="32" y="324"/>
                  </a:lnTo>
                  <a:lnTo>
                    <a:pt x="36" y="324"/>
                  </a:lnTo>
                  <a:lnTo>
                    <a:pt x="40" y="324"/>
                  </a:lnTo>
                  <a:lnTo>
                    <a:pt x="44" y="324"/>
                  </a:lnTo>
                  <a:lnTo>
                    <a:pt x="44" y="324"/>
                  </a:lnTo>
                  <a:lnTo>
                    <a:pt x="44" y="330"/>
                  </a:lnTo>
                  <a:lnTo>
                    <a:pt x="42" y="332"/>
                  </a:lnTo>
                  <a:lnTo>
                    <a:pt x="40" y="334"/>
                  </a:lnTo>
                  <a:lnTo>
                    <a:pt x="40" y="334"/>
                  </a:lnTo>
                  <a:lnTo>
                    <a:pt x="34" y="336"/>
                  </a:lnTo>
                  <a:lnTo>
                    <a:pt x="30" y="336"/>
                  </a:lnTo>
                  <a:lnTo>
                    <a:pt x="26" y="334"/>
                  </a:lnTo>
                  <a:lnTo>
                    <a:pt x="24" y="334"/>
                  </a:lnTo>
                  <a:lnTo>
                    <a:pt x="24" y="334"/>
                  </a:lnTo>
                  <a:lnTo>
                    <a:pt x="22" y="336"/>
                  </a:lnTo>
                  <a:lnTo>
                    <a:pt x="20" y="334"/>
                  </a:lnTo>
                  <a:lnTo>
                    <a:pt x="18" y="334"/>
                  </a:lnTo>
                  <a:lnTo>
                    <a:pt x="18" y="334"/>
                  </a:lnTo>
                  <a:lnTo>
                    <a:pt x="18" y="334"/>
                  </a:lnTo>
                  <a:lnTo>
                    <a:pt x="16" y="336"/>
                  </a:lnTo>
                  <a:lnTo>
                    <a:pt x="16" y="338"/>
                  </a:lnTo>
                  <a:lnTo>
                    <a:pt x="18" y="342"/>
                  </a:lnTo>
                  <a:lnTo>
                    <a:pt x="24" y="344"/>
                  </a:lnTo>
                  <a:lnTo>
                    <a:pt x="24" y="344"/>
                  </a:lnTo>
                  <a:lnTo>
                    <a:pt x="32" y="352"/>
                  </a:lnTo>
                  <a:lnTo>
                    <a:pt x="40" y="362"/>
                  </a:lnTo>
                  <a:lnTo>
                    <a:pt x="52" y="374"/>
                  </a:lnTo>
                  <a:lnTo>
                    <a:pt x="58" y="376"/>
                  </a:lnTo>
                  <a:lnTo>
                    <a:pt x="64" y="378"/>
                  </a:lnTo>
                  <a:lnTo>
                    <a:pt x="64" y="378"/>
                  </a:lnTo>
                  <a:lnTo>
                    <a:pt x="68" y="378"/>
                  </a:lnTo>
                  <a:lnTo>
                    <a:pt x="70" y="376"/>
                  </a:lnTo>
                  <a:lnTo>
                    <a:pt x="72" y="374"/>
                  </a:lnTo>
                  <a:lnTo>
                    <a:pt x="80" y="370"/>
                  </a:lnTo>
                  <a:lnTo>
                    <a:pt x="80" y="370"/>
                  </a:lnTo>
                  <a:lnTo>
                    <a:pt x="84" y="368"/>
                  </a:lnTo>
                  <a:lnTo>
                    <a:pt x="88" y="364"/>
                  </a:lnTo>
                  <a:lnTo>
                    <a:pt x="90" y="360"/>
                  </a:lnTo>
                  <a:lnTo>
                    <a:pt x="88" y="354"/>
                  </a:lnTo>
                  <a:lnTo>
                    <a:pt x="88" y="354"/>
                  </a:lnTo>
                  <a:lnTo>
                    <a:pt x="86" y="348"/>
                  </a:lnTo>
                  <a:lnTo>
                    <a:pt x="88" y="344"/>
                  </a:lnTo>
                  <a:lnTo>
                    <a:pt x="92" y="336"/>
                  </a:lnTo>
                  <a:lnTo>
                    <a:pt x="92" y="336"/>
                  </a:lnTo>
                  <a:lnTo>
                    <a:pt x="92" y="342"/>
                  </a:lnTo>
                  <a:lnTo>
                    <a:pt x="94" y="344"/>
                  </a:lnTo>
                  <a:lnTo>
                    <a:pt x="98" y="344"/>
                  </a:lnTo>
                  <a:lnTo>
                    <a:pt x="106" y="342"/>
                  </a:lnTo>
                  <a:lnTo>
                    <a:pt x="106" y="342"/>
                  </a:lnTo>
                  <a:lnTo>
                    <a:pt x="96" y="346"/>
                  </a:lnTo>
                  <a:lnTo>
                    <a:pt x="94" y="350"/>
                  </a:lnTo>
                  <a:lnTo>
                    <a:pt x="94" y="354"/>
                  </a:lnTo>
                  <a:lnTo>
                    <a:pt x="94" y="354"/>
                  </a:lnTo>
                  <a:lnTo>
                    <a:pt x="96" y="356"/>
                  </a:lnTo>
                  <a:lnTo>
                    <a:pt x="98" y="358"/>
                  </a:lnTo>
                  <a:lnTo>
                    <a:pt x="100" y="358"/>
                  </a:lnTo>
                  <a:lnTo>
                    <a:pt x="100" y="358"/>
                  </a:lnTo>
                  <a:lnTo>
                    <a:pt x="98" y="362"/>
                  </a:lnTo>
                  <a:lnTo>
                    <a:pt x="100" y="366"/>
                  </a:lnTo>
                  <a:lnTo>
                    <a:pt x="106" y="366"/>
                  </a:lnTo>
                  <a:lnTo>
                    <a:pt x="106" y="366"/>
                  </a:lnTo>
                  <a:lnTo>
                    <a:pt x="102" y="370"/>
                  </a:lnTo>
                  <a:lnTo>
                    <a:pt x="102" y="372"/>
                  </a:lnTo>
                  <a:lnTo>
                    <a:pt x="110" y="386"/>
                  </a:lnTo>
                  <a:lnTo>
                    <a:pt x="110" y="386"/>
                  </a:lnTo>
                  <a:lnTo>
                    <a:pt x="106" y="390"/>
                  </a:lnTo>
                  <a:lnTo>
                    <a:pt x="106" y="396"/>
                  </a:lnTo>
                  <a:lnTo>
                    <a:pt x="106" y="400"/>
                  </a:lnTo>
                  <a:lnTo>
                    <a:pt x="106" y="404"/>
                  </a:lnTo>
                  <a:lnTo>
                    <a:pt x="106" y="404"/>
                  </a:lnTo>
                  <a:lnTo>
                    <a:pt x="108" y="408"/>
                  </a:lnTo>
                  <a:lnTo>
                    <a:pt x="108" y="412"/>
                  </a:lnTo>
                  <a:lnTo>
                    <a:pt x="110" y="414"/>
                  </a:lnTo>
                  <a:lnTo>
                    <a:pt x="112" y="412"/>
                  </a:lnTo>
                  <a:lnTo>
                    <a:pt x="112" y="412"/>
                  </a:lnTo>
                  <a:lnTo>
                    <a:pt x="114" y="410"/>
                  </a:lnTo>
                  <a:lnTo>
                    <a:pt x="112" y="414"/>
                  </a:lnTo>
                  <a:lnTo>
                    <a:pt x="110" y="420"/>
                  </a:lnTo>
                  <a:lnTo>
                    <a:pt x="110" y="424"/>
                  </a:lnTo>
                  <a:lnTo>
                    <a:pt x="112" y="430"/>
                  </a:lnTo>
                  <a:lnTo>
                    <a:pt x="112" y="430"/>
                  </a:lnTo>
                  <a:lnTo>
                    <a:pt x="116" y="446"/>
                  </a:lnTo>
                  <a:lnTo>
                    <a:pt x="122" y="466"/>
                  </a:lnTo>
                  <a:lnTo>
                    <a:pt x="128" y="488"/>
                  </a:lnTo>
                  <a:lnTo>
                    <a:pt x="132" y="496"/>
                  </a:lnTo>
                  <a:lnTo>
                    <a:pt x="138" y="502"/>
                  </a:lnTo>
                  <a:lnTo>
                    <a:pt x="138" y="502"/>
                  </a:lnTo>
                  <a:lnTo>
                    <a:pt x="142" y="508"/>
                  </a:lnTo>
                  <a:lnTo>
                    <a:pt x="146" y="514"/>
                  </a:lnTo>
                  <a:lnTo>
                    <a:pt x="152" y="528"/>
                  </a:lnTo>
                  <a:lnTo>
                    <a:pt x="156" y="542"/>
                  </a:lnTo>
                  <a:lnTo>
                    <a:pt x="160" y="548"/>
                  </a:lnTo>
                  <a:lnTo>
                    <a:pt x="164" y="554"/>
                  </a:lnTo>
                  <a:lnTo>
                    <a:pt x="164" y="554"/>
                  </a:lnTo>
                  <a:lnTo>
                    <a:pt x="164" y="554"/>
                  </a:lnTo>
                  <a:lnTo>
                    <a:pt x="162" y="554"/>
                  </a:lnTo>
                  <a:lnTo>
                    <a:pt x="162" y="554"/>
                  </a:lnTo>
                  <a:lnTo>
                    <a:pt x="162" y="558"/>
                  </a:lnTo>
                  <a:lnTo>
                    <a:pt x="168" y="572"/>
                  </a:lnTo>
                  <a:lnTo>
                    <a:pt x="168" y="572"/>
                  </a:lnTo>
                  <a:lnTo>
                    <a:pt x="176" y="588"/>
                  </a:lnTo>
                  <a:lnTo>
                    <a:pt x="186" y="602"/>
                  </a:lnTo>
                  <a:lnTo>
                    <a:pt x="194" y="618"/>
                  </a:lnTo>
                  <a:lnTo>
                    <a:pt x="198" y="628"/>
                  </a:lnTo>
                  <a:lnTo>
                    <a:pt x="198" y="636"/>
                  </a:lnTo>
                  <a:lnTo>
                    <a:pt x="198" y="636"/>
                  </a:lnTo>
                  <a:lnTo>
                    <a:pt x="200" y="638"/>
                  </a:lnTo>
                  <a:lnTo>
                    <a:pt x="202" y="640"/>
                  </a:lnTo>
                  <a:lnTo>
                    <a:pt x="206" y="644"/>
                  </a:lnTo>
                  <a:lnTo>
                    <a:pt x="208" y="654"/>
                  </a:lnTo>
                  <a:lnTo>
                    <a:pt x="208" y="654"/>
                  </a:lnTo>
                  <a:lnTo>
                    <a:pt x="210" y="660"/>
                  </a:lnTo>
                  <a:lnTo>
                    <a:pt x="212" y="664"/>
                  </a:lnTo>
                  <a:lnTo>
                    <a:pt x="214" y="668"/>
                  </a:lnTo>
                  <a:lnTo>
                    <a:pt x="218" y="674"/>
                  </a:lnTo>
                  <a:lnTo>
                    <a:pt x="218" y="674"/>
                  </a:lnTo>
                  <a:lnTo>
                    <a:pt x="222" y="682"/>
                  </a:lnTo>
                  <a:lnTo>
                    <a:pt x="226" y="686"/>
                  </a:lnTo>
                  <a:lnTo>
                    <a:pt x="236" y="692"/>
                  </a:lnTo>
                  <a:lnTo>
                    <a:pt x="236" y="692"/>
                  </a:lnTo>
                  <a:lnTo>
                    <a:pt x="242" y="696"/>
                  </a:lnTo>
                  <a:lnTo>
                    <a:pt x="246" y="694"/>
                  </a:lnTo>
                  <a:lnTo>
                    <a:pt x="248" y="692"/>
                  </a:lnTo>
                  <a:lnTo>
                    <a:pt x="252" y="690"/>
                  </a:lnTo>
                  <a:lnTo>
                    <a:pt x="252" y="690"/>
                  </a:lnTo>
                  <a:lnTo>
                    <a:pt x="258" y="688"/>
                  </a:lnTo>
                  <a:lnTo>
                    <a:pt x="260" y="686"/>
                  </a:lnTo>
                  <a:lnTo>
                    <a:pt x="260" y="680"/>
                  </a:lnTo>
                  <a:lnTo>
                    <a:pt x="260" y="676"/>
                  </a:lnTo>
                  <a:lnTo>
                    <a:pt x="262" y="674"/>
                  </a:lnTo>
                  <a:lnTo>
                    <a:pt x="268" y="670"/>
                  </a:lnTo>
                  <a:lnTo>
                    <a:pt x="274" y="666"/>
                  </a:lnTo>
                  <a:lnTo>
                    <a:pt x="274" y="666"/>
                  </a:lnTo>
                  <a:lnTo>
                    <a:pt x="272" y="664"/>
                  </a:lnTo>
                  <a:lnTo>
                    <a:pt x="266" y="662"/>
                  </a:lnTo>
                  <a:lnTo>
                    <a:pt x="264" y="660"/>
                  </a:lnTo>
                  <a:lnTo>
                    <a:pt x="264" y="660"/>
                  </a:lnTo>
                  <a:lnTo>
                    <a:pt x="264" y="656"/>
                  </a:lnTo>
                  <a:lnTo>
                    <a:pt x="266" y="654"/>
                  </a:lnTo>
                  <a:lnTo>
                    <a:pt x="266" y="654"/>
                  </a:lnTo>
                  <a:lnTo>
                    <a:pt x="270" y="650"/>
                  </a:lnTo>
                  <a:lnTo>
                    <a:pt x="270" y="646"/>
                  </a:lnTo>
                  <a:lnTo>
                    <a:pt x="270" y="640"/>
                  </a:lnTo>
                  <a:lnTo>
                    <a:pt x="272" y="638"/>
                  </a:lnTo>
                  <a:lnTo>
                    <a:pt x="278" y="638"/>
                  </a:lnTo>
                  <a:lnTo>
                    <a:pt x="278" y="638"/>
                  </a:lnTo>
                  <a:lnTo>
                    <a:pt x="284" y="640"/>
                  </a:lnTo>
                  <a:lnTo>
                    <a:pt x="284" y="638"/>
                  </a:lnTo>
                  <a:lnTo>
                    <a:pt x="284" y="636"/>
                  </a:lnTo>
                  <a:lnTo>
                    <a:pt x="282" y="630"/>
                  </a:lnTo>
                  <a:lnTo>
                    <a:pt x="282" y="622"/>
                  </a:lnTo>
                  <a:lnTo>
                    <a:pt x="282" y="622"/>
                  </a:lnTo>
                  <a:lnTo>
                    <a:pt x="284" y="616"/>
                  </a:lnTo>
                  <a:lnTo>
                    <a:pt x="282" y="610"/>
                  </a:lnTo>
                  <a:lnTo>
                    <a:pt x="280" y="604"/>
                  </a:lnTo>
                  <a:lnTo>
                    <a:pt x="280" y="598"/>
                  </a:lnTo>
                  <a:lnTo>
                    <a:pt x="280" y="598"/>
                  </a:lnTo>
                  <a:lnTo>
                    <a:pt x="282" y="592"/>
                  </a:lnTo>
                  <a:lnTo>
                    <a:pt x="286" y="588"/>
                  </a:lnTo>
                  <a:lnTo>
                    <a:pt x="288" y="582"/>
                  </a:lnTo>
                  <a:lnTo>
                    <a:pt x="290" y="572"/>
                  </a:lnTo>
                  <a:lnTo>
                    <a:pt x="290" y="572"/>
                  </a:lnTo>
                  <a:lnTo>
                    <a:pt x="292" y="562"/>
                  </a:lnTo>
                  <a:lnTo>
                    <a:pt x="292" y="558"/>
                  </a:lnTo>
                  <a:lnTo>
                    <a:pt x="292" y="554"/>
                  </a:lnTo>
                  <a:lnTo>
                    <a:pt x="286" y="550"/>
                  </a:lnTo>
                  <a:lnTo>
                    <a:pt x="286" y="550"/>
                  </a:lnTo>
                  <a:lnTo>
                    <a:pt x="280" y="548"/>
                  </a:lnTo>
                  <a:lnTo>
                    <a:pt x="284" y="544"/>
                  </a:lnTo>
                  <a:lnTo>
                    <a:pt x="286" y="542"/>
                  </a:lnTo>
                  <a:lnTo>
                    <a:pt x="286" y="538"/>
                  </a:lnTo>
                  <a:lnTo>
                    <a:pt x="286" y="532"/>
                  </a:lnTo>
                  <a:lnTo>
                    <a:pt x="284" y="524"/>
                  </a:lnTo>
                  <a:lnTo>
                    <a:pt x="284" y="524"/>
                  </a:lnTo>
                  <a:lnTo>
                    <a:pt x="280" y="514"/>
                  </a:lnTo>
                  <a:lnTo>
                    <a:pt x="280" y="506"/>
                  </a:lnTo>
                  <a:lnTo>
                    <a:pt x="280" y="500"/>
                  </a:lnTo>
                  <a:lnTo>
                    <a:pt x="282" y="496"/>
                  </a:lnTo>
                  <a:lnTo>
                    <a:pt x="286" y="494"/>
                  </a:lnTo>
                  <a:lnTo>
                    <a:pt x="290" y="492"/>
                  </a:lnTo>
                  <a:lnTo>
                    <a:pt x="294" y="494"/>
                  </a:lnTo>
                  <a:lnTo>
                    <a:pt x="294" y="494"/>
                  </a:lnTo>
                  <a:lnTo>
                    <a:pt x="298" y="494"/>
                  </a:lnTo>
                  <a:lnTo>
                    <a:pt x="300" y="490"/>
                  </a:lnTo>
                  <a:lnTo>
                    <a:pt x="300" y="488"/>
                  </a:lnTo>
                  <a:lnTo>
                    <a:pt x="304" y="484"/>
                  </a:lnTo>
                  <a:lnTo>
                    <a:pt x="304" y="484"/>
                  </a:lnTo>
                  <a:lnTo>
                    <a:pt x="306" y="482"/>
                  </a:lnTo>
                  <a:lnTo>
                    <a:pt x="306" y="480"/>
                  </a:lnTo>
                  <a:lnTo>
                    <a:pt x="308" y="478"/>
                  </a:lnTo>
                  <a:lnTo>
                    <a:pt x="314" y="476"/>
                  </a:lnTo>
                  <a:lnTo>
                    <a:pt x="314" y="476"/>
                  </a:lnTo>
                  <a:lnTo>
                    <a:pt x="320" y="474"/>
                  </a:lnTo>
                  <a:lnTo>
                    <a:pt x="324" y="472"/>
                  </a:lnTo>
                  <a:lnTo>
                    <a:pt x="328" y="464"/>
                  </a:lnTo>
                  <a:lnTo>
                    <a:pt x="328" y="464"/>
                  </a:lnTo>
                  <a:lnTo>
                    <a:pt x="330" y="462"/>
                  </a:lnTo>
                  <a:lnTo>
                    <a:pt x="328" y="462"/>
                  </a:lnTo>
                  <a:lnTo>
                    <a:pt x="326" y="460"/>
                  </a:lnTo>
                  <a:lnTo>
                    <a:pt x="324" y="460"/>
                  </a:lnTo>
                  <a:lnTo>
                    <a:pt x="326" y="458"/>
                  </a:lnTo>
                  <a:lnTo>
                    <a:pt x="332" y="454"/>
                  </a:lnTo>
                  <a:lnTo>
                    <a:pt x="332" y="454"/>
                  </a:lnTo>
                  <a:lnTo>
                    <a:pt x="340" y="450"/>
                  </a:lnTo>
                  <a:lnTo>
                    <a:pt x="344" y="442"/>
                  </a:lnTo>
                  <a:lnTo>
                    <a:pt x="348" y="436"/>
                  </a:lnTo>
                  <a:lnTo>
                    <a:pt x="352" y="432"/>
                  </a:lnTo>
                  <a:lnTo>
                    <a:pt x="352" y="432"/>
                  </a:lnTo>
                  <a:lnTo>
                    <a:pt x="358" y="426"/>
                  </a:lnTo>
                  <a:lnTo>
                    <a:pt x="362" y="420"/>
                  </a:lnTo>
                  <a:lnTo>
                    <a:pt x="364" y="412"/>
                  </a:lnTo>
                  <a:lnTo>
                    <a:pt x="366" y="408"/>
                  </a:lnTo>
                  <a:lnTo>
                    <a:pt x="368" y="402"/>
                  </a:lnTo>
                  <a:lnTo>
                    <a:pt x="372" y="398"/>
                  </a:lnTo>
                  <a:lnTo>
                    <a:pt x="380" y="394"/>
                  </a:lnTo>
                  <a:lnTo>
                    <a:pt x="380" y="394"/>
                  </a:lnTo>
                  <a:lnTo>
                    <a:pt x="376" y="392"/>
                  </a:lnTo>
                  <a:lnTo>
                    <a:pt x="378" y="390"/>
                  </a:lnTo>
                  <a:lnTo>
                    <a:pt x="380" y="390"/>
                  </a:lnTo>
                  <a:lnTo>
                    <a:pt x="382" y="390"/>
                  </a:lnTo>
                  <a:lnTo>
                    <a:pt x="382" y="392"/>
                  </a:lnTo>
                  <a:lnTo>
                    <a:pt x="382" y="392"/>
                  </a:lnTo>
                  <a:lnTo>
                    <a:pt x="388" y="390"/>
                  </a:lnTo>
                  <a:lnTo>
                    <a:pt x="392" y="388"/>
                  </a:lnTo>
                  <a:lnTo>
                    <a:pt x="398" y="382"/>
                  </a:lnTo>
                  <a:lnTo>
                    <a:pt x="400" y="374"/>
                  </a:lnTo>
                  <a:lnTo>
                    <a:pt x="402" y="370"/>
                  </a:lnTo>
                  <a:lnTo>
                    <a:pt x="402" y="370"/>
                  </a:lnTo>
                  <a:lnTo>
                    <a:pt x="404" y="366"/>
                  </a:lnTo>
                  <a:lnTo>
                    <a:pt x="404" y="364"/>
                  </a:lnTo>
                  <a:lnTo>
                    <a:pt x="400" y="358"/>
                  </a:lnTo>
                  <a:lnTo>
                    <a:pt x="398" y="354"/>
                  </a:lnTo>
                  <a:lnTo>
                    <a:pt x="398" y="352"/>
                  </a:lnTo>
                  <a:lnTo>
                    <a:pt x="400" y="350"/>
                  </a:lnTo>
                  <a:lnTo>
                    <a:pt x="400" y="350"/>
                  </a:lnTo>
                  <a:lnTo>
                    <a:pt x="410" y="346"/>
                  </a:lnTo>
                  <a:lnTo>
                    <a:pt x="414" y="342"/>
                  </a:lnTo>
                  <a:lnTo>
                    <a:pt x="414" y="340"/>
                  </a:lnTo>
                  <a:lnTo>
                    <a:pt x="414" y="340"/>
                  </a:lnTo>
                  <a:lnTo>
                    <a:pt x="418" y="340"/>
                  </a:lnTo>
                  <a:lnTo>
                    <a:pt x="418" y="340"/>
                  </a:lnTo>
                  <a:lnTo>
                    <a:pt x="420" y="338"/>
                  </a:lnTo>
                  <a:lnTo>
                    <a:pt x="420" y="334"/>
                  </a:lnTo>
                  <a:lnTo>
                    <a:pt x="420" y="332"/>
                  </a:lnTo>
                  <a:lnTo>
                    <a:pt x="420" y="334"/>
                  </a:lnTo>
                  <a:lnTo>
                    <a:pt x="420" y="334"/>
                  </a:lnTo>
                  <a:lnTo>
                    <a:pt x="422" y="338"/>
                  </a:lnTo>
                  <a:lnTo>
                    <a:pt x="422" y="342"/>
                  </a:lnTo>
                  <a:lnTo>
                    <a:pt x="422" y="344"/>
                  </a:lnTo>
                  <a:lnTo>
                    <a:pt x="424" y="346"/>
                  </a:lnTo>
                  <a:lnTo>
                    <a:pt x="424" y="346"/>
                  </a:lnTo>
                  <a:lnTo>
                    <a:pt x="428" y="344"/>
                  </a:lnTo>
                  <a:lnTo>
                    <a:pt x="430" y="342"/>
                  </a:lnTo>
                  <a:lnTo>
                    <a:pt x="430" y="340"/>
                  </a:lnTo>
                  <a:lnTo>
                    <a:pt x="432" y="338"/>
                  </a:lnTo>
                  <a:lnTo>
                    <a:pt x="432" y="338"/>
                  </a:lnTo>
                  <a:lnTo>
                    <a:pt x="434" y="338"/>
                  </a:lnTo>
                  <a:lnTo>
                    <a:pt x="434" y="340"/>
                  </a:lnTo>
                  <a:lnTo>
                    <a:pt x="434" y="342"/>
                  </a:lnTo>
                  <a:lnTo>
                    <a:pt x="436" y="342"/>
                  </a:lnTo>
                  <a:lnTo>
                    <a:pt x="436" y="342"/>
                  </a:lnTo>
                  <a:lnTo>
                    <a:pt x="436" y="332"/>
                  </a:lnTo>
                  <a:lnTo>
                    <a:pt x="436" y="324"/>
                  </a:lnTo>
                  <a:lnTo>
                    <a:pt x="434" y="320"/>
                  </a:lnTo>
                  <a:lnTo>
                    <a:pt x="430" y="316"/>
                  </a:lnTo>
                  <a:lnTo>
                    <a:pt x="428" y="312"/>
                  </a:lnTo>
                  <a:lnTo>
                    <a:pt x="428" y="310"/>
                  </a:lnTo>
                  <a:lnTo>
                    <a:pt x="430" y="308"/>
                  </a:lnTo>
                  <a:lnTo>
                    <a:pt x="430" y="308"/>
                  </a:lnTo>
                  <a:lnTo>
                    <a:pt x="430" y="304"/>
                  </a:lnTo>
                  <a:lnTo>
                    <a:pt x="430" y="304"/>
                  </a:lnTo>
                  <a:lnTo>
                    <a:pt x="428" y="302"/>
                  </a:lnTo>
                  <a:lnTo>
                    <a:pt x="428" y="294"/>
                  </a:lnTo>
                  <a:lnTo>
                    <a:pt x="428" y="294"/>
                  </a:lnTo>
                  <a:lnTo>
                    <a:pt x="428" y="290"/>
                  </a:lnTo>
                  <a:lnTo>
                    <a:pt x="426" y="288"/>
                  </a:lnTo>
                  <a:lnTo>
                    <a:pt x="418" y="282"/>
                  </a:lnTo>
                  <a:lnTo>
                    <a:pt x="410" y="278"/>
                  </a:lnTo>
                  <a:lnTo>
                    <a:pt x="408" y="274"/>
                  </a:lnTo>
                  <a:lnTo>
                    <a:pt x="408" y="268"/>
                  </a:lnTo>
                  <a:lnTo>
                    <a:pt x="408" y="268"/>
                  </a:lnTo>
                  <a:lnTo>
                    <a:pt x="410" y="262"/>
                  </a:lnTo>
                  <a:lnTo>
                    <a:pt x="414" y="260"/>
                  </a:lnTo>
                  <a:lnTo>
                    <a:pt x="416" y="258"/>
                  </a:lnTo>
                  <a:lnTo>
                    <a:pt x="418" y="256"/>
                  </a:lnTo>
                  <a:lnTo>
                    <a:pt x="418" y="256"/>
                  </a:lnTo>
                  <a:lnTo>
                    <a:pt x="418" y="254"/>
                  </a:lnTo>
                  <a:lnTo>
                    <a:pt x="414" y="250"/>
                  </a:lnTo>
                  <a:lnTo>
                    <a:pt x="404" y="246"/>
                  </a:lnTo>
                  <a:lnTo>
                    <a:pt x="394" y="240"/>
                  </a:lnTo>
                  <a:lnTo>
                    <a:pt x="390" y="238"/>
                  </a:lnTo>
                  <a:lnTo>
                    <a:pt x="390" y="238"/>
                  </a:lnTo>
                  <a:lnTo>
                    <a:pt x="392" y="236"/>
                  </a:lnTo>
                  <a:lnTo>
                    <a:pt x="398" y="234"/>
                  </a:lnTo>
                  <a:lnTo>
                    <a:pt x="402" y="232"/>
                  </a:lnTo>
                  <a:lnTo>
                    <a:pt x="404" y="228"/>
                  </a:lnTo>
                  <a:lnTo>
                    <a:pt x="404" y="228"/>
                  </a:lnTo>
                  <a:lnTo>
                    <a:pt x="404" y="216"/>
                  </a:lnTo>
                  <a:lnTo>
                    <a:pt x="406" y="214"/>
                  </a:lnTo>
                  <a:lnTo>
                    <a:pt x="408" y="214"/>
                  </a:lnTo>
                  <a:lnTo>
                    <a:pt x="408" y="214"/>
                  </a:lnTo>
                  <a:lnTo>
                    <a:pt x="414" y="228"/>
                  </a:lnTo>
                  <a:lnTo>
                    <a:pt x="416" y="230"/>
                  </a:lnTo>
                  <a:lnTo>
                    <a:pt x="418" y="228"/>
                  </a:lnTo>
                  <a:lnTo>
                    <a:pt x="418" y="224"/>
                  </a:lnTo>
                  <a:lnTo>
                    <a:pt x="420" y="224"/>
                  </a:lnTo>
                  <a:lnTo>
                    <a:pt x="422" y="226"/>
                  </a:lnTo>
                  <a:lnTo>
                    <a:pt x="422" y="226"/>
                  </a:lnTo>
                  <a:lnTo>
                    <a:pt x="424" y="230"/>
                  </a:lnTo>
                  <a:lnTo>
                    <a:pt x="424" y="234"/>
                  </a:lnTo>
                  <a:lnTo>
                    <a:pt x="424" y="236"/>
                  </a:lnTo>
                  <a:lnTo>
                    <a:pt x="426" y="234"/>
                  </a:lnTo>
                  <a:lnTo>
                    <a:pt x="426" y="234"/>
                  </a:lnTo>
                  <a:lnTo>
                    <a:pt x="430" y="232"/>
                  </a:lnTo>
                  <a:lnTo>
                    <a:pt x="432" y="232"/>
                  </a:lnTo>
                  <a:lnTo>
                    <a:pt x="436" y="240"/>
                  </a:lnTo>
                  <a:lnTo>
                    <a:pt x="440" y="250"/>
                  </a:lnTo>
                  <a:lnTo>
                    <a:pt x="446" y="256"/>
                  </a:lnTo>
                  <a:lnTo>
                    <a:pt x="452" y="258"/>
                  </a:lnTo>
                  <a:lnTo>
                    <a:pt x="452" y="258"/>
                  </a:lnTo>
                  <a:lnTo>
                    <a:pt x="458" y="262"/>
                  </a:lnTo>
                  <a:lnTo>
                    <a:pt x="466" y="262"/>
                  </a:lnTo>
                  <a:lnTo>
                    <a:pt x="482" y="260"/>
                  </a:lnTo>
                  <a:lnTo>
                    <a:pt x="494" y="260"/>
                  </a:lnTo>
                  <a:lnTo>
                    <a:pt x="498" y="260"/>
                  </a:lnTo>
                  <a:lnTo>
                    <a:pt x="502" y="264"/>
                  </a:lnTo>
                  <a:lnTo>
                    <a:pt x="502" y="264"/>
                  </a:lnTo>
                  <a:lnTo>
                    <a:pt x="502" y="266"/>
                  </a:lnTo>
                  <a:lnTo>
                    <a:pt x="500" y="270"/>
                  </a:lnTo>
                  <a:lnTo>
                    <a:pt x="496" y="274"/>
                  </a:lnTo>
                  <a:lnTo>
                    <a:pt x="496" y="278"/>
                  </a:lnTo>
                  <a:lnTo>
                    <a:pt x="496" y="278"/>
                  </a:lnTo>
                  <a:lnTo>
                    <a:pt x="498" y="282"/>
                  </a:lnTo>
                  <a:lnTo>
                    <a:pt x="494" y="282"/>
                  </a:lnTo>
                  <a:lnTo>
                    <a:pt x="486" y="284"/>
                  </a:lnTo>
                  <a:lnTo>
                    <a:pt x="480" y="284"/>
                  </a:lnTo>
                  <a:lnTo>
                    <a:pt x="476" y="286"/>
                  </a:lnTo>
                  <a:lnTo>
                    <a:pt x="472" y="290"/>
                  </a:lnTo>
                  <a:lnTo>
                    <a:pt x="470" y="296"/>
                  </a:lnTo>
                  <a:lnTo>
                    <a:pt x="470" y="296"/>
                  </a:lnTo>
                  <a:lnTo>
                    <a:pt x="472" y="300"/>
                  </a:lnTo>
                  <a:lnTo>
                    <a:pt x="474" y="302"/>
                  </a:lnTo>
                  <a:lnTo>
                    <a:pt x="478" y="302"/>
                  </a:lnTo>
                  <a:lnTo>
                    <a:pt x="480" y="304"/>
                  </a:lnTo>
                  <a:lnTo>
                    <a:pt x="480" y="304"/>
                  </a:lnTo>
                  <a:lnTo>
                    <a:pt x="482" y="306"/>
                  </a:lnTo>
                  <a:lnTo>
                    <a:pt x="484" y="304"/>
                  </a:lnTo>
                  <a:lnTo>
                    <a:pt x="484" y="302"/>
                  </a:lnTo>
                  <a:lnTo>
                    <a:pt x="488" y="302"/>
                  </a:lnTo>
                  <a:lnTo>
                    <a:pt x="488" y="302"/>
                  </a:lnTo>
                  <a:lnTo>
                    <a:pt x="490" y="302"/>
                  </a:lnTo>
                  <a:lnTo>
                    <a:pt x="492" y="300"/>
                  </a:lnTo>
                  <a:lnTo>
                    <a:pt x="494" y="300"/>
                  </a:lnTo>
                  <a:lnTo>
                    <a:pt x="498" y="302"/>
                  </a:lnTo>
                  <a:lnTo>
                    <a:pt x="498" y="302"/>
                  </a:lnTo>
                  <a:lnTo>
                    <a:pt x="502" y="312"/>
                  </a:lnTo>
                  <a:lnTo>
                    <a:pt x="506" y="326"/>
                  </a:lnTo>
                  <a:lnTo>
                    <a:pt x="510" y="338"/>
                  </a:lnTo>
                  <a:lnTo>
                    <a:pt x="514" y="342"/>
                  </a:lnTo>
                  <a:lnTo>
                    <a:pt x="516" y="344"/>
                  </a:lnTo>
                  <a:lnTo>
                    <a:pt x="516" y="344"/>
                  </a:lnTo>
                  <a:lnTo>
                    <a:pt x="522" y="344"/>
                  </a:lnTo>
                  <a:lnTo>
                    <a:pt x="526" y="340"/>
                  </a:lnTo>
                  <a:lnTo>
                    <a:pt x="528" y="332"/>
                  </a:lnTo>
                  <a:lnTo>
                    <a:pt x="526" y="318"/>
                  </a:lnTo>
                  <a:lnTo>
                    <a:pt x="526" y="318"/>
                  </a:lnTo>
                  <a:lnTo>
                    <a:pt x="528" y="314"/>
                  </a:lnTo>
                  <a:lnTo>
                    <a:pt x="528" y="310"/>
                  </a:lnTo>
                  <a:lnTo>
                    <a:pt x="532" y="310"/>
                  </a:lnTo>
                  <a:lnTo>
                    <a:pt x="534" y="312"/>
                  </a:lnTo>
                  <a:lnTo>
                    <a:pt x="538" y="312"/>
                  </a:lnTo>
                  <a:lnTo>
                    <a:pt x="540" y="312"/>
                  </a:lnTo>
                  <a:lnTo>
                    <a:pt x="540" y="308"/>
                  </a:lnTo>
                  <a:lnTo>
                    <a:pt x="540" y="302"/>
                  </a:lnTo>
                  <a:lnTo>
                    <a:pt x="540" y="302"/>
                  </a:lnTo>
                  <a:lnTo>
                    <a:pt x="540" y="290"/>
                  </a:lnTo>
                  <a:lnTo>
                    <a:pt x="542" y="282"/>
                  </a:lnTo>
                  <a:lnTo>
                    <a:pt x="540" y="274"/>
                  </a:lnTo>
                  <a:lnTo>
                    <a:pt x="538" y="268"/>
                  </a:lnTo>
                  <a:lnTo>
                    <a:pt x="534" y="262"/>
                  </a:lnTo>
                  <a:lnTo>
                    <a:pt x="534" y="262"/>
                  </a:lnTo>
                  <a:lnTo>
                    <a:pt x="532" y="256"/>
                  </a:lnTo>
                  <a:lnTo>
                    <a:pt x="534" y="252"/>
                  </a:lnTo>
                  <a:lnTo>
                    <a:pt x="538" y="248"/>
                  </a:lnTo>
                  <a:lnTo>
                    <a:pt x="538" y="242"/>
                  </a:lnTo>
                  <a:lnTo>
                    <a:pt x="538" y="242"/>
                  </a:lnTo>
                  <a:lnTo>
                    <a:pt x="538" y="238"/>
                  </a:lnTo>
                  <a:lnTo>
                    <a:pt x="540" y="236"/>
                  </a:lnTo>
                  <a:lnTo>
                    <a:pt x="548" y="228"/>
                  </a:lnTo>
                  <a:lnTo>
                    <a:pt x="558" y="218"/>
                  </a:lnTo>
                  <a:lnTo>
                    <a:pt x="568" y="204"/>
                  </a:lnTo>
                  <a:lnTo>
                    <a:pt x="568" y="204"/>
                  </a:lnTo>
                  <a:lnTo>
                    <a:pt x="572" y="202"/>
                  </a:lnTo>
                  <a:lnTo>
                    <a:pt x="576" y="200"/>
                  </a:lnTo>
                  <a:lnTo>
                    <a:pt x="584" y="200"/>
                  </a:lnTo>
                  <a:lnTo>
                    <a:pt x="588" y="200"/>
                  </a:lnTo>
                  <a:lnTo>
                    <a:pt x="588" y="198"/>
                  </a:lnTo>
                  <a:lnTo>
                    <a:pt x="584" y="194"/>
                  </a:lnTo>
                  <a:lnTo>
                    <a:pt x="584" y="194"/>
                  </a:lnTo>
                  <a:lnTo>
                    <a:pt x="582" y="190"/>
                  </a:lnTo>
                  <a:lnTo>
                    <a:pt x="582" y="188"/>
                  </a:lnTo>
                  <a:lnTo>
                    <a:pt x="586" y="186"/>
                  </a:lnTo>
                  <a:lnTo>
                    <a:pt x="588" y="184"/>
                  </a:lnTo>
                  <a:lnTo>
                    <a:pt x="586" y="180"/>
                  </a:lnTo>
                  <a:lnTo>
                    <a:pt x="584" y="176"/>
                  </a:lnTo>
                  <a:lnTo>
                    <a:pt x="574" y="170"/>
                  </a:lnTo>
                  <a:lnTo>
                    <a:pt x="574" y="170"/>
                  </a:lnTo>
                  <a:lnTo>
                    <a:pt x="570" y="172"/>
                  </a:lnTo>
                  <a:lnTo>
                    <a:pt x="568" y="174"/>
                  </a:lnTo>
                  <a:lnTo>
                    <a:pt x="564" y="172"/>
                  </a:lnTo>
                  <a:lnTo>
                    <a:pt x="564" y="172"/>
                  </a:lnTo>
                  <a:lnTo>
                    <a:pt x="558" y="172"/>
                  </a:lnTo>
                  <a:lnTo>
                    <a:pt x="554" y="172"/>
                  </a:lnTo>
                  <a:lnTo>
                    <a:pt x="554" y="172"/>
                  </a:lnTo>
                  <a:lnTo>
                    <a:pt x="554" y="170"/>
                  </a:lnTo>
                  <a:lnTo>
                    <a:pt x="558" y="164"/>
                  </a:lnTo>
                  <a:lnTo>
                    <a:pt x="558" y="164"/>
                  </a:lnTo>
                  <a:lnTo>
                    <a:pt x="552" y="164"/>
                  </a:lnTo>
                  <a:lnTo>
                    <a:pt x="550" y="164"/>
                  </a:lnTo>
                  <a:lnTo>
                    <a:pt x="552" y="160"/>
                  </a:lnTo>
                  <a:lnTo>
                    <a:pt x="552" y="158"/>
                  </a:lnTo>
                  <a:lnTo>
                    <a:pt x="550" y="156"/>
                  </a:lnTo>
                  <a:lnTo>
                    <a:pt x="538" y="160"/>
                  </a:lnTo>
                  <a:lnTo>
                    <a:pt x="538" y="160"/>
                  </a:lnTo>
                  <a:lnTo>
                    <a:pt x="528" y="162"/>
                  </a:lnTo>
                  <a:lnTo>
                    <a:pt x="520" y="162"/>
                  </a:lnTo>
                  <a:lnTo>
                    <a:pt x="516" y="160"/>
                  </a:lnTo>
                  <a:lnTo>
                    <a:pt x="508" y="160"/>
                  </a:lnTo>
                  <a:lnTo>
                    <a:pt x="508" y="160"/>
                  </a:lnTo>
                  <a:lnTo>
                    <a:pt x="504" y="164"/>
                  </a:lnTo>
                  <a:lnTo>
                    <a:pt x="502" y="166"/>
                  </a:lnTo>
                  <a:lnTo>
                    <a:pt x="498" y="170"/>
                  </a:lnTo>
                  <a:lnTo>
                    <a:pt x="488" y="174"/>
                  </a:lnTo>
                  <a:lnTo>
                    <a:pt x="488" y="174"/>
                  </a:lnTo>
                  <a:lnTo>
                    <a:pt x="472" y="182"/>
                  </a:lnTo>
                  <a:lnTo>
                    <a:pt x="462" y="184"/>
                  </a:lnTo>
                  <a:lnTo>
                    <a:pt x="462" y="184"/>
                  </a:lnTo>
                  <a:lnTo>
                    <a:pt x="464" y="188"/>
                  </a:lnTo>
                  <a:lnTo>
                    <a:pt x="466" y="190"/>
                  </a:lnTo>
                  <a:lnTo>
                    <a:pt x="476" y="190"/>
                  </a:lnTo>
                  <a:lnTo>
                    <a:pt x="476" y="190"/>
                  </a:lnTo>
                  <a:lnTo>
                    <a:pt x="478" y="192"/>
                  </a:lnTo>
                  <a:lnTo>
                    <a:pt x="480" y="196"/>
                  </a:lnTo>
                  <a:lnTo>
                    <a:pt x="480" y="206"/>
                  </a:lnTo>
                  <a:lnTo>
                    <a:pt x="480" y="206"/>
                  </a:lnTo>
                  <a:lnTo>
                    <a:pt x="480" y="206"/>
                  </a:lnTo>
                  <a:lnTo>
                    <a:pt x="478" y="208"/>
                  </a:lnTo>
                  <a:lnTo>
                    <a:pt x="470" y="206"/>
                  </a:lnTo>
                  <a:lnTo>
                    <a:pt x="462" y="206"/>
                  </a:lnTo>
                  <a:lnTo>
                    <a:pt x="454" y="208"/>
                  </a:lnTo>
                  <a:lnTo>
                    <a:pt x="454" y="208"/>
                  </a:lnTo>
                  <a:lnTo>
                    <a:pt x="450" y="210"/>
                  </a:lnTo>
                  <a:lnTo>
                    <a:pt x="444" y="210"/>
                  </a:lnTo>
                  <a:lnTo>
                    <a:pt x="440" y="208"/>
                  </a:lnTo>
                  <a:lnTo>
                    <a:pt x="436" y="204"/>
                  </a:lnTo>
                  <a:lnTo>
                    <a:pt x="436" y="204"/>
                  </a:lnTo>
                  <a:lnTo>
                    <a:pt x="432" y="202"/>
                  </a:lnTo>
                  <a:lnTo>
                    <a:pt x="424" y="202"/>
                  </a:lnTo>
                  <a:lnTo>
                    <a:pt x="418" y="202"/>
                  </a:lnTo>
                  <a:lnTo>
                    <a:pt x="412" y="200"/>
                  </a:lnTo>
                  <a:lnTo>
                    <a:pt x="412" y="200"/>
                  </a:lnTo>
                  <a:lnTo>
                    <a:pt x="410" y="182"/>
                  </a:lnTo>
                  <a:lnTo>
                    <a:pt x="410" y="180"/>
                  </a:lnTo>
                  <a:lnTo>
                    <a:pt x="406" y="182"/>
                  </a:lnTo>
                  <a:lnTo>
                    <a:pt x="406" y="182"/>
                  </a:lnTo>
                  <a:lnTo>
                    <a:pt x="402" y="182"/>
                  </a:lnTo>
                  <a:lnTo>
                    <a:pt x="400" y="184"/>
                  </a:lnTo>
                  <a:lnTo>
                    <a:pt x="398" y="186"/>
                  </a:lnTo>
                  <a:lnTo>
                    <a:pt x="398" y="192"/>
                  </a:lnTo>
                  <a:lnTo>
                    <a:pt x="398" y="192"/>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Indonesia"/>
            <p:cNvSpPr>
              <a:spLocks/>
            </p:cNvSpPr>
            <p:nvPr/>
          </p:nvSpPr>
          <p:spPr bwMode="auto">
            <a:xfrm>
              <a:off x="6790497" y="3425031"/>
              <a:ext cx="1285875" cy="545042"/>
            </a:xfrm>
            <a:custGeom>
              <a:avLst/>
              <a:gdLst/>
              <a:ahLst/>
              <a:cxnLst/>
              <a:rect l="l" t="t" r="r" b="b"/>
              <a:pathLst>
                <a:path w="1285875" h="545042">
                  <a:moveTo>
                    <a:pt x="767292" y="529167"/>
                  </a:moveTo>
                  <a:lnTo>
                    <a:pt x="769938" y="529167"/>
                  </a:lnTo>
                  <a:lnTo>
                    <a:pt x="769938" y="531813"/>
                  </a:lnTo>
                  <a:lnTo>
                    <a:pt x="769938" y="534459"/>
                  </a:lnTo>
                  <a:lnTo>
                    <a:pt x="769938" y="537105"/>
                  </a:lnTo>
                  <a:lnTo>
                    <a:pt x="767292" y="537105"/>
                  </a:lnTo>
                  <a:lnTo>
                    <a:pt x="764646" y="539750"/>
                  </a:lnTo>
                  <a:lnTo>
                    <a:pt x="762000" y="542396"/>
                  </a:lnTo>
                  <a:lnTo>
                    <a:pt x="759354" y="542396"/>
                  </a:lnTo>
                  <a:lnTo>
                    <a:pt x="756708" y="542396"/>
                  </a:lnTo>
                  <a:lnTo>
                    <a:pt x="754063" y="545042"/>
                  </a:lnTo>
                  <a:lnTo>
                    <a:pt x="751417" y="542396"/>
                  </a:lnTo>
                  <a:lnTo>
                    <a:pt x="751417" y="539750"/>
                  </a:lnTo>
                  <a:lnTo>
                    <a:pt x="756708" y="537105"/>
                  </a:lnTo>
                  <a:lnTo>
                    <a:pt x="759354" y="534459"/>
                  </a:lnTo>
                  <a:lnTo>
                    <a:pt x="762000" y="534459"/>
                  </a:lnTo>
                  <a:lnTo>
                    <a:pt x="759354" y="531813"/>
                  </a:lnTo>
                  <a:lnTo>
                    <a:pt x="762000" y="531813"/>
                  </a:lnTo>
                  <a:close/>
                  <a:moveTo>
                    <a:pt x="669396" y="497417"/>
                  </a:moveTo>
                  <a:lnTo>
                    <a:pt x="677333" y="497417"/>
                  </a:lnTo>
                  <a:lnTo>
                    <a:pt x="685271" y="500063"/>
                  </a:lnTo>
                  <a:lnTo>
                    <a:pt x="687917" y="502709"/>
                  </a:lnTo>
                  <a:lnTo>
                    <a:pt x="690563" y="502709"/>
                  </a:lnTo>
                  <a:lnTo>
                    <a:pt x="695854" y="500063"/>
                  </a:lnTo>
                  <a:lnTo>
                    <a:pt x="695854" y="502709"/>
                  </a:lnTo>
                  <a:lnTo>
                    <a:pt x="698500" y="508000"/>
                  </a:lnTo>
                  <a:lnTo>
                    <a:pt x="701146" y="510646"/>
                  </a:lnTo>
                  <a:lnTo>
                    <a:pt x="701146" y="513292"/>
                  </a:lnTo>
                  <a:lnTo>
                    <a:pt x="703792" y="513292"/>
                  </a:lnTo>
                  <a:lnTo>
                    <a:pt x="706438" y="515938"/>
                  </a:lnTo>
                  <a:lnTo>
                    <a:pt x="706438" y="518584"/>
                  </a:lnTo>
                  <a:lnTo>
                    <a:pt x="706438" y="523875"/>
                  </a:lnTo>
                  <a:lnTo>
                    <a:pt x="701146" y="526521"/>
                  </a:lnTo>
                  <a:lnTo>
                    <a:pt x="698500" y="526521"/>
                  </a:lnTo>
                  <a:lnTo>
                    <a:pt x="693208" y="529167"/>
                  </a:lnTo>
                  <a:lnTo>
                    <a:pt x="687917" y="526521"/>
                  </a:lnTo>
                  <a:lnTo>
                    <a:pt x="685271" y="523875"/>
                  </a:lnTo>
                  <a:lnTo>
                    <a:pt x="685271" y="521230"/>
                  </a:lnTo>
                  <a:lnTo>
                    <a:pt x="679979" y="518584"/>
                  </a:lnTo>
                  <a:lnTo>
                    <a:pt x="672042" y="515938"/>
                  </a:lnTo>
                  <a:lnTo>
                    <a:pt x="666750" y="513292"/>
                  </a:lnTo>
                  <a:lnTo>
                    <a:pt x="661458" y="513292"/>
                  </a:lnTo>
                  <a:lnTo>
                    <a:pt x="653521" y="508000"/>
                  </a:lnTo>
                  <a:lnTo>
                    <a:pt x="650875" y="505355"/>
                  </a:lnTo>
                  <a:lnTo>
                    <a:pt x="653521" y="502709"/>
                  </a:lnTo>
                  <a:lnTo>
                    <a:pt x="658812" y="500063"/>
                  </a:lnTo>
                  <a:lnTo>
                    <a:pt x="664104" y="500063"/>
                  </a:lnTo>
                  <a:close/>
                  <a:moveTo>
                    <a:pt x="881063" y="463021"/>
                  </a:moveTo>
                  <a:lnTo>
                    <a:pt x="883709" y="465667"/>
                  </a:lnTo>
                  <a:lnTo>
                    <a:pt x="886354" y="465667"/>
                  </a:lnTo>
                  <a:lnTo>
                    <a:pt x="889000" y="465667"/>
                  </a:lnTo>
                  <a:lnTo>
                    <a:pt x="886354" y="468313"/>
                  </a:lnTo>
                  <a:lnTo>
                    <a:pt x="881063" y="473604"/>
                  </a:lnTo>
                  <a:lnTo>
                    <a:pt x="875771" y="478896"/>
                  </a:lnTo>
                  <a:lnTo>
                    <a:pt x="865188" y="478896"/>
                  </a:lnTo>
                  <a:lnTo>
                    <a:pt x="859896" y="481542"/>
                  </a:lnTo>
                  <a:lnTo>
                    <a:pt x="857250" y="484188"/>
                  </a:lnTo>
                  <a:lnTo>
                    <a:pt x="854604" y="484188"/>
                  </a:lnTo>
                  <a:lnTo>
                    <a:pt x="851959" y="484188"/>
                  </a:lnTo>
                  <a:lnTo>
                    <a:pt x="849313" y="484188"/>
                  </a:lnTo>
                  <a:lnTo>
                    <a:pt x="846667" y="486834"/>
                  </a:lnTo>
                  <a:lnTo>
                    <a:pt x="844021" y="489479"/>
                  </a:lnTo>
                  <a:lnTo>
                    <a:pt x="838729" y="492125"/>
                  </a:lnTo>
                  <a:lnTo>
                    <a:pt x="836084" y="494771"/>
                  </a:lnTo>
                  <a:lnTo>
                    <a:pt x="833438" y="494771"/>
                  </a:lnTo>
                  <a:lnTo>
                    <a:pt x="833438" y="497417"/>
                  </a:lnTo>
                  <a:lnTo>
                    <a:pt x="830792" y="502709"/>
                  </a:lnTo>
                  <a:lnTo>
                    <a:pt x="828146" y="505354"/>
                  </a:lnTo>
                  <a:lnTo>
                    <a:pt x="825500" y="508000"/>
                  </a:lnTo>
                  <a:lnTo>
                    <a:pt x="822854" y="508000"/>
                  </a:lnTo>
                  <a:lnTo>
                    <a:pt x="820209" y="510646"/>
                  </a:lnTo>
                  <a:lnTo>
                    <a:pt x="817563" y="513292"/>
                  </a:lnTo>
                  <a:lnTo>
                    <a:pt x="814917" y="515938"/>
                  </a:lnTo>
                  <a:lnTo>
                    <a:pt x="812271" y="518584"/>
                  </a:lnTo>
                  <a:lnTo>
                    <a:pt x="806979" y="518584"/>
                  </a:lnTo>
                  <a:lnTo>
                    <a:pt x="804334" y="518584"/>
                  </a:lnTo>
                  <a:lnTo>
                    <a:pt x="804334" y="521229"/>
                  </a:lnTo>
                  <a:lnTo>
                    <a:pt x="801688" y="521229"/>
                  </a:lnTo>
                  <a:lnTo>
                    <a:pt x="796396" y="523875"/>
                  </a:lnTo>
                  <a:lnTo>
                    <a:pt x="780521" y="526521"/>
                  </a:lnTo>
                  <a:lnTo>
                    <a:pt x="777875" y="526521"/>
                  </a:lnTo>
                  <a:lnTo>
                    <a:pt x="777875" y="523875"/>
                  </a:lnTo>
                  <a:lnTo>
                    <a:pt x="783167" y="518584"/>
                  </a:lnTo>
                  <a:lnTo>
                    <a:pt x="785813" y="518584"/>
                  </a:lnTo>
                  <a:lnTo>
                    <a:pt x="783167" y="515938"/>
                  </a:lnTo>
                  <a:lnTo>
                    <a:pt x="780521" y="513292"/>
                  </a:lnTo>
                  <a:lnTo>
                    <a:pt x="783167" y="505354"/>
                  </a:lnTo>
                  <a:lnTo>
                    <a:pt x="785813" y="502709"/>
                  </a:lnTo>
                  <a:lnTo>
                    <a:pt x="788459" y="500063"/>
                  </a:lnTo>
                  <a:lnTo>
                    <a:pt x="793750" y="497417"/>
                  </a:lnTo>
                  <a:lnTo>
                    <a:pt x="799042" y="497417"/>
                  </a:lnTo>
                  <a:lnTo>
                    <a:pt x="804334" y="494771"/>
                  </a:lnTo>
                  <a:lnTo>
                    <a:pt x="806979" y="492125"/>
                  </a:lnTo>
                  <a:lnTo>
                    <a:pt x="809625" y="489479"/>
                  </a:lnTo>
                  <a:lnTo>
                    <a:pt x="817563" y="486834"/>
                  </a:lnTo>
                  <a:lnTo>
                    <a:pt x="820209" y="484188"/>
                  </a:lnTo>
                  <a:lnTo>
                    <a:pt x="825500" y="478896"/>
                  </a:lnTo>
                  <a:lnTo>
                    <a:pt x="833438" y="476250"/>
                  </a:lnTo>
                  <a:lnTo>
                    <a:pt x="838729" y="470959"/>
                  </a:lnTo>
                  <a:lnTo>
                    <a:pt x="844021" y="468313"/>
                  </a:lnTo>
                  <a:lnTo>
                    <a:pt x="854604" y="468313"/>
                  </a:lnTo>
                  <a:lnTo>
                    <a:pt x="859896" y="468313"/>
                  </a:lnTo>
                  <a:lnTo>
                    <a:pt x="865188" y="465667"/>
                  </a:lnTo>
                  <a:lnTo>
                    <a:pt x="870479" y="465667"/>
                  </a:lnTo>
                  <a:close/>
                  <a:moveTo>
                    <a:pt x="584729" y="460375"/>
                  </a:moveTo>
                  <a:lnTo>
                    <a:pt x="590020" y="460375"/>
                  </a:lnTo>
                  <a:lnTo>
                    <a:pt x="592666" y="463021"/>
                  </a:lnTo>
                  <a:lnTo>
                    <a:pt x="597958" y="465667"/>
                  </a:lnTo>
                  <a:lnTo>
                    <a:pt x="595312" y="468313"/>
                  </a:lnTo>
                  <a:lnTo>
                    <a:pt x="592666" y="470959"/>
                  </a:lnTo>
                  <a:lnTo>
                    <a:pt x="592666" y="476250"/>
                  </a:lnTo>
                  <a:lnTo>
                    <a:pt x="592666" y="478896"/>
                  </a:lnTo>
                  <a:lnTo>
                    <a:pt x="590020" y="481542"/>
                  </a:lnTo>
                  <a:lnTo>
                    <a:pt x="587375" y="481542"/>
                  </a:lnTo>
                  <a:lnTo>
                    <a:pt x="582083" y="481542"/>
                  </a:lnTo>
                  <a:lnTo>
                    <a:pt x="576791" y="478896"/>
                  </a:lnTo>
                  <a:lnTo>
                    <a:pt x="571500" y="478896"/>
                  </a:lnTo>
                  <a:lnTo>
                    <a:pt x="571500" y="476250"/>
                  </a:lnTo>
                  <a:lnTo>
                    <a:pt x="574146" y="476250"/>
                  </a:lnTo>
                  <a:lnTo>
                    <a:pt x="576791" y="476250"/>
                  </a:lnTo>
                  <a:lnTo>
                    <a:pt x="579437" y="473605"/>
                  </a:lnTo>
                  <a:lnTo>
                    <a:pt x="579437" y="470959"/>
                  </a:lnTo>
                  <a:lnTo>
                    <a:pt x="579437" y="465667"/>
                  </a:lnTo>
                  <a:lnTo>
                    <a:pt x="579437" y="463021"/>
                  </a:lnTo>
                  <a:close/>
                  <a:moveTo>
                    <a:pt x="785813" y="457730"/>
                  </a:moveTo>
                  <a:lnTo>
                    <a:pt x="788459" y="457730"/>
                  </a:lnTo>
                  <a:lnTo>
                    <a:pt x="791104" y="457730"/>
                  </a:lnTo>
                  <a:lnTo>
                    <a:pt x="793750" y="457730"/>
                  </a:lnTo>
                  <a:lnTo>
                    <a:pt x="791104" y="460376"/>
                  </a:lnTo>
                  <a:lnTo>
                    <a:pt x="788459" y="463022"/>
                  </a:lnTo>
                  <a:lnTo>
                    <a:pt x="783167" y="463022"/>
                  </a:lnTo>
                  <a:lnTo>
                    <a:pt x="783167" y="460376"/>
                  </a:lnTo>
                  <a:close/>
                  <a:moveTo>
                    <a:pt x="822854" y="455084"/>
                  </a:moveTo>
                  <a:lnTo>
                    <a:pt x="825500" y="455084"/>
                  </a:lnTo>
                  <a:lnTo>
                    <a:pt x="825500" y="457730"/>
                  </a:lnTo>
                  <a:lnTo>
                    <a:pt x="828146" y="457730"/>
                  </a:lnTo>
                  <a:lnTo>
                    <a:pt x="833437" y="455084"/>
                  </a:lnTo>
                  <a:lnTo>
                    <a:pt x="836083" y="455084"/>
                  </a:lnTo>
                  <a:lnTo>
                    <a:pt x="836083" y="460375"/>
                  </a:lnTo>
                  <a:lnTo>
                    <a:pt x="836083" y="463021"/>
                  </a:lnTo>
                  <a:lnTo>
                    <a:pt x="828146" y="465667"/>
                  </a:lnTo>
                  <a:lnTo>
                    <a:pt x="820208" y="465667"/>
                  </a:lnTo>
                  <a:lnTo>
                    <a:pt x="817562" y="465667"/>
                  </a:lnTo>
                  <a:lnTo>
                    <a:pt x="820208" y="463021"/>
                  </a:lnTo>
                  <a:lnTo>
                    <a:pt x="822854" y="460375"/>
                  </a:lnTo>
                  <a:lnTo>
                    <a:pt x="820208" y="457730"/>
                  </a:lnTo>
                  <a:close/>
                  <a:moveTo>
                    <a:pt x="814916" y="455084"/>
                  </a:moveTo>
                  <a:lnTo>
                    <a:pt x="817562" y="457730"/>
                  </a:lnTo>
                  <a:lnTo>
                    <a:pt x="817562" y="460375"/>
                  </a:lnTo>
                  <a:lnTo>
                    <a:pt x="814916" y="465667"/>
                  </a:lnTo>
                  <a:lnTo>
                    <a:pt x="812271" y="468313"/>
                  </a:lnTo>
                  <a:lnTo>
                    <a:pt x="809625" y="468313"/>
                  </a:lnTo>
                  <a:lnTo>
                    <a:pt x="806979" y="468313"/>
                  </a:lnTo>
                  <a:lnTo>
                    <a:pt x="806979" y="463022"/>
                  </a:lnTo>
                  <a:lnTo>
                    <a:pt x="809625" y="460375"/>
                  </a:lnTo>
                  <a:lnTo>
                    <a:pt x="812271" y="460375"/>
                  </a:lnTo>
                  <a:lnTo>
                    <a:pt x="812271" y="457730"/>
                  </a:lnTo>
                  <a:close/>
                  <a:moveTo>
                    <a:pt x="801688" y="455084"/>
                  </a:moveTo>
                  <a:lnTo>
                    <a:pt x="804333" y="455084"/>
                  </a:lnTo>
                  <a:lnTo>
                    <a:pt x="806979" y="457730"/>
                  </a:lnTo>
                  <a:lnTo>
                    <a:pt x="806979" y="460376"/>
                  </a:lnTo>
                  <a:lnTo>
                    <a:pt x="804333" y="463022"/>
                  </a:lnTo>
                  <a:lnTo>
                    <a:pt x="801688" y="465667"/>
                  </a:lnTo>
                  <a:lnTo>
                    <a:pt x="801688" y="468313"/>
                  </a:lnTo>
                  <a:lnTo>
                    <a:pt x="801688" y="470959"/>
                  </a:lnTo>
                  <a:lnTo>
                    <a:pt x="799042" y="470959"/>
                  </a:lnTo>
                  <a:lnTo>
                    <a:pt x="796396" y="470959"/>
                  </a:lnTo>
                  <a:lnTo>
                    <a:pt x="791104" y="470959"/>
                  </a:lnTo>
                  <a:lnTo>
                    <a:pt x="788458" y="470959"/>
                  </a:lnTo>
                  <a:lnTo>
                    <a:pt x="791104" y="468313"/>
                  </a:lnTo>
                  <a:lnTo>
                    <a:pt x="793750" y="463022"/>
                  </a:lnTo>
                  <a:lnTo>
                    <a:pt x="796396" y="460376"/>
                  </a:lnTo>
                  <a:lnTo>
                    <a:pt x="796396" y="457730"/>
                  </a:lnTo>
                  <a:close/>
                  <a:moveTo>
                    <a:pt x="642937" y="455084"/>
                  </a:moveTo>
                  <a:lnTo>
                    <a:pt x="645583" y="457730"/>
                  </a:lnTo>
                  <a:lnTo>
                    <a:pt x="648229" y="457730"/>
                  </a:lnTo>
                  <a:lnTo>
                    <a:pt x="645583" y="463022"/>
                  </a:lnTo>
                  <a:lnTo>
                    <a:pt x="648229" y="463022"/>
                  </a:lnTo>
                  <a:lnTo>
                    <a:pt x="650875" y="463022"/>
                  </a:lnTo>
                  <a:lnTo>
                    <a:pt x="653520" y="463022"/>
                  </a:lnTo>
                  <a:lnTo>
                    <a:pt x="656166" y="463022"/>
                  </a:lnTo>
                  <a:lnTo>
                    <a:pt x="658812" y="463022"/>
                  </a:lnTo>
                  <a:lnTo>
                    <a:pt x="661458" y="463022"/>
                  </a:lnTo>
                  <a:lnTo>
                    <a:pt x="664104" y="465667"/>
                  </a:lnTo>
                  <a:lnTo>
                    <a:pt x="661458" y="468313"/>
                  </a:lnTo>
                  <a:lnTo>
                    <a:pt x="661458" y="470959"/>
                  </a:lnTo>
                  <a:lnTo>
                    <a:pt x="664104" y="470959"/>
                  </a:lnTo>
                  <a:lnTo>
                    <a:pt x="664104" y="473605"/>
                  </a:lnTo>
                  <a:lnTo>
                    <a:pt x="661458" y="473605"/>
                  </a:lnTo>
                  <a:lnTo>
                    <a:pt x="658812" y="473605"/>
                  </a:lnTo>
                  <a:lnTo>
                    <a:pt x="653520" y="473605"/>
                  </a:lnTo>
                  <a:lnTo>
                    <a:pt x="648229" y="476251"/>
                  </a:lnTo>
                  <a:lnTo>
                    <a:pt x="653520" y="476251"/>
                  </a:lnTo>
                  <a:lnTo>
                    <a:pt x="656166" y="476251"/>
                  </a:lnTo>
                  <a:lnTo>
                    <a:pt x="653520" y="478897"/>
                  </a:lnTo>
                  <a:lnTo>
                    <a:pt x="648229" y="481542"/>
                  </a:lnTo>
                  <a:lnTo>
                    <a:pt x="645583" y="481542"/>
                  </a:lnTo>
                  <a:lnTo>
                    <a:pt x="642937" y="478897"/>
                  </a:lnTo>
                  <a:lnTo>
                    <a:pt x="642937" y="476251"/>
                  </a:lnTo>
                  <a:lnTo>
                    <a:pt x="640291" y="478897"/>
                  </a:lnTo>
                  <a:lnTo>
                    <a:pt x="637645" y="481542"/>
                  </a:lnTo>
                  <a:lnTo>
                    <a:pt x="635000" y="481542"/>
                  </a:lnTo>
                  <a:lnTo>
                    <a:pt x="632354" y="481542"/>
                  </a:lnTo>
                  <a:lnTo>
                    <a:pt x="629708" y="481542"/>
                  </a:lnTo>
                  <a:lnTo>
                    <a:pt x="627062" y="484188"/>
                  </a:lnTo>
                  <a:lnTo>
                    <a:pt x="621770" y="486834"/>
                  </a:lnTo>
                  <a:lnTo>
                    <a:pt x="616479" y="486834"/>
                  </a:lnTo>
                  <a:lnTo>
                    <a:pt x="613833" y="486834"/>
                  </a:lnTo>
                  <a:lnTo>
                    <a:pt x="611187" y="486834"/>
                  </a:lnTo>
                  <a:lnTo>
                    <a:pt x="608541" y="486834"/>
                  </a:lnTo>
                  <a:lnTo>
                    <a:pt x="603250" y="484188"/>
                  </a:lnTo>
                  <a:lnTo>
                    <a:pt x="600604" y="481542"/>
                  </a:lnTo>
                  <a:lnTo>
                    <a:pt x="600604" y="478897"/>
                  </a:lnTo>
                  <a:lnTo>
                    <a:pt x="603250" y="476251"/>
                  </a:lnTo>
                  <a:lnTo>
                    <a:pt x="603250" y="473605"/>
                  </a:lnTo>
                  <a:lnTo>
                    <a:pt x="600604" y="470959"/>
                  </a:lnTo>
                  <a:lnTo>
                    <a:pt x="603250" y="468313"/>
                  </a:lnTo>
                  <a:lnTo>
                    <a:pt x="608541" y="465667"/>
                  </a:lnTo>
                  <a:lnTo>
                    <a:pt x="608541" y="463022"/>
                  </a:lnTo>
                  <a:lnTo>
                    <a:pt x="611187" y="463022"/>
                  </a:lnTo>
                  <a:lnTo>
                    <a:pt x="619125" y="463022"/>
                  </a:lnTo>
                  <a:lnTo>
                    <a:pt x="621770" y="463022"/>
                  </a:lnTo>
                  <a:lnTo>
                    <a:pt x="624416" y="465667"/>
                  </a:lnTo>
                  <a:lnTo>
                    <a:pt x="627062" y="470959"/>
                  </a:lnTo>
                  <a:lnTo>
                    <a:pt x="629708" y="473605"/>
                  </a:lnTo>
                  <a:lnTo>
                    <a:pt x="637645" y="470959"/>
                  </a:lnTo>
                  <a:lnTo>
                    <a:pt x="640291" y="470959"/>
                  </a:lnTo>
                  <a:lnTo>
                    <a:pt x="640291" y="468313"/>
                  </a:lnTo>
                  <a:lnTo>
                    <a:pt x="635000" y="465667"/>
                  </a:lnTo>
                  <a:lnTo>
                    <a:pt x="632354" y="465667"/>
                  </a:lnTo>
                  <a:lnTo>
                    <a:pt x="627062" y="463022"/>
                  </a:lnTo>
                  <a:lnTo>
                    <a:pt x="627062" y="460376"/>
                  </a:lnTo>
                  <a:lnTo>
                    <a:pt x="629708" y="457730"/>
                  </a:lnTo>
                  <a:lnTo>
                    <a:pt x="632354" y="457730"/>
                  </a:lnTo>
                  <a:lnTo>
                    <a:pt x="637645" y="457730"/>
                  </a:lnTo>
                  <a:close/>
                  <a:moveTo>
                    <a:pt x="767292" y="452438"/>
                  </a:moveTo>
                  <a:lnTo>
                    <a:pt x="772583" y="452438"/>
                  </a:lnTo>
                  <a:lnTo>
                    <a:pt x="777875" y="452438"/>
                  </a:lnTo>
                  <a:lnTo>
                    <a:pt x="777875" y="455084"/>
                  </a:lnTo>
                  <a:lnTo>
                    <a:pt x="780521" y="460375"/>
                  </a:lnTo>
                  <a:lnTo>
                    <a:pt x="777875" y="463021"/>
                  </a:lnTo>
                  <a:lnTo>
                    <a:pt x="775229" y="463021"/>
                  </a:lnTo>
                  <a:lnTo>
                    <a:pt x="775229" y="465667"/>
                  </a:lnTo>
                  <a:lnTo>
                    <a:pt x="772583" y="465667"/>
                  </a:lnTo>
                  <a:lnTo>
                    <a:pt x="769937" y="468313"/>
                  </a:lnTo>
                  <a:lnTo>
                    <a:pt x="769937" y="470959"/>
                  </a:lnTo>
                  <a:lnTo>
                    <a:pt x="767292" y="470959"/>
                  </a:lnTo>
                  <a:lnTo>
                    <a:pt x="764646" y="470959"/>
                  </a:lnTo>
                  <a:lnTo>
                    <a:pt x="764646" y="473605"/>
                  </a:lnTo>
                  <a:lnTo>
                    <a:pt x="762000" y="473605"/>
                  </a:lnTo>
                  <a:lnTo>
                    <a:pt x="759354" y="473605"/>
                  </a:lnTo>
                  <a:lnTo>
                    <a:pt x="759354" y="476250"/>
                  </a:lnTo>
                  <a:lnTo>
                    <a:pt x="756708" y="476250"/>
                  </a:lnTo>
                  <a:lnTo>
                    <a:pt x="754062" y="476250"/>
                  </a:lnTo>
                  <a:lnTo>
                    <a:pt x="751417" y="476250"/>
                  </a:lnTo>
                  <a:lnTo>
                    <a:pt x="748771" y="478896"/>
                  </a:lnTo>
                  <a:lnTo>
                    <a:pt x="743479" y="476250"/>
                  </a:lnTo>
                  <a:lnTo>
                    <a:pt x="738187" y="473605"/>
                  </a:lnTo>
                  <a:lnTo>
                    <a:pt x="732896" y="476250"/>
                  </a:lnTo>
                  <a:lnTo>
                    <a:pt x="727604" y="481542"/>
                  </a:lnTo>
                  <a:lnTo>
                    <a:pt x="724958" y="481542"/>
                  </a:lnTo>
                  <a:lnTo>
                    <a:pt x="719667" y="481542"/>
                  </a:lnTo>
                  <a:lnTo>
                    <a:pt x="717021" y="481542"/>
                  </a:lnTo>
                  <a:lnTo>
                    <a:pt x="711729" y="481542"/>
                  </a:lnTo>
                  <a:lnTo>
                    <a:pt x="706438" y="481542"/>
                  </a:lnTo>
                  <a:lnTo>
                    <a:pt x="703792" y="481542"/>
                  </a:lnTo>
                  <a:lnTo>
                    <a:pt x="693208" y="476250"/>
                  </a:lnTo>
                  <a:lnTo>
                    <a:pt x="687917" y="476250"/>
                  </a:lnTo>
                  <a:lnTo>
                    <a:pt x="682625" y="476250"/>
                  </a:lnTo>
                  <a:lnTo>
                    <a:pt x="679979" y="476250"/>
                  </a:lnTo>
                  <a:lnTo>
                    <a:pt x="677333" y="476250"/>
                  </a:lnTo>
                  <a:lnTo>
                    <a:pt x="672042" y="476250"/>
                  </a:lnTo>
                  <a:lnTo>
                    <a:pt x="674688" y="473605"/>
                  </a:lnTo>
                  <a:lnTo>
                    <a:pt x="672042" y="468313"/>
                  </a:lnTo>
                  <a:lnTo>
                    <a:pt x="672042" y="465667"/>
                  </a:lnTo>
                  <a:lnTo>
                    <a:pt x="674688" y="465667"/>
                  </a:lnTo>
                  <a:lnTo>
                    <a:pt x="674688" y="463021"/>
                  </a:lnTo>
                  <a:lnTo>
                    <a:pt x="677333" y="463021"/>
                  </a:lnTo>
                  <a:lnTo>
                    <a:pt x="679979" y="463021"/>
                  </a:lnTo>
                  <a:lnTo>
                    <a:pt x="679979" y="460375"/>
                  </a:lnTo>
                  <a:lnTo>
                    <a:pt x="682625" y="460375"/>
                  </a:lnTo>
                  <a:lnTo>
                    <a:pt x="685271" y="457730"/>
                  </a:lnTo>
                  <a:lnTo>
                    <a:pt x="687917" y="460375"/>
                  </a:lnTo>
                  <a:lnTo>
                    <a:pt x="690563" y="460375"/>
                  </a:lnTo>
                  <a:lnTo>
                    <a:pt x="693208" y="463021"/>
                  </a:lnTo>
                  <a:lnTo>
                    <a:pt x="695854" y="463021"/>
                  </a:lnTo>
                  <a:lnTo>
                    <a:pt x="698500" y="463021"/>
                  </a:lnTo>
                  <a:lnTo>
                    <a:pt x="701146" y="463021"/>
                  </a:lnTo>
                  <a:lnTo>
                    <a:pt x="703792" y="463021"/>
                  </a:lnTo>
                  <a:lnTo>
                    <a:pt x="709083" y="463021"/>
                  </a:lnTo>
                  <a:lnTo>
                    <a:pt x="711729" y="463021"/>
                  </a:lnTo>
                  <a:lnTo>
                    <a:pt x="714375" y="463021"/>
                  </a:lnTo>
                  <a:lnTo>
                    <a:pt x="719667" y="460375"/>
                  </a:lnTo>
                  <a:lnTo>
                    <a:pt x="722313" y="463021"/>
                  </a:lnTo>
                  <a:lnTo>
                    <a:pt x="727604" y="463021"/>
                  </a:lnTo>
                  <a:lnTo>
                    <a:pt x="730250" y="465667"/>
                  </a:lnTo>
                  <a:lnTo>
                    <a:pt x="732896" y="465667"/>
                  </a:lnTo>
                  <a:lnTo>
                    <a:pt x="738187" y="465667"/>
                  </a:lnTo>
                  <a:lnTo>
                    <a:pt x="740833" y="468313"/>
                  </a:lnTo>
                  <a:lnTo>
                    <a:pt x="740833" y="465667"/>
                  </a:lnTo>
                  <a:lnTo>
                    <a:pt x="743479" y="465667"/>
                  </a:lnTo>
                  <a:lnTo>
                    <a:pt x="743479" y="463021"/>
                  </a:lnTo>
                  <a:lnTo>
                    <a:pt x="748771" y="463021"/>
                  </a:lnTo>
                  <a:lnTo>
                    <a:pt x="754062" y="460375"/>
                  </a:lnTo>
                  <a:lnTo>
                    <a:pt x="762000" y="460375"/>
                  </a:lnTo>
                  <a:lnTo>
                    <a:pt x="769937" y="457730"/>
                  </a:lnTo>
                  <a:lnTo>
                    <a:pt x="772583" y="457730"/>
                  </a:lnTo>
                  <a:lnTo>
                    <a:pt x="769937" y="455084"/>
                  </a:lnTo>
                  <a:lnTo>
                    <a:pt x="767292" y="455084"/>
                  </a:lnTo>
                  <a:close/>
                  <a:moveTo>
                    <a:pt x="560917" y="452438"/>
                  </a:moveTo>
                  <a:lnTo>
                    <a:pt x="568854" y="455084"/>
                  </a:lnTo>
                  <a:lnTo>
                    <a:pt x="571500" y="460375"/>
                  </a:lnTo>
                  <a:lnTo>
                    <a:pt x="576792" y="463021"/>
                  </a:lnTo>
                  <a:lnTo>
                    <a:pt x="574146" y="465667"/>
                  </a:lnTo>
                  <a:lnTo>
                    <a:pt x="571500" y="465667"/>
                  </a:lnTo>
                  <a:lnTo>
                    <a:pt x="571500" y="468313"/>
                  </a:lnTo>
                  <a:lnTo>
                    <a:pt x="568854" y="470959"/>
                  </a:lnTo>
                  <a:lnTo>
                    <a:pt x="566208" y="468313"/>
                  </a:lnTo>
                  <a:lnTo>
                    <a:pt x="566208" y="470959"/>
                  </a:lnTo>
                  <a:lnTo>
                    <a:pt x="563562" y="473605"/>
                  </a:lnTo>
                  <a:lnTo>
                    <a:pt x="560917" y="476250"/>
                  </a:lnTo>
                  <a:lnTo>
                    <a:pt x="560917" y="478896"/>
                  </a:lnTo>
                  <a:lnTo>
                    <a:pt x="558271" y="478896"/>
                  </a:lnTo>
                  <a:lnTo>
                    <a:pt x="555625" y="478896"/>
                  </a:lnTo>
                  <a:lnTo>
                    <a:pt x="555625" y="476250"/>
                  </a:lnTo>
                  <a:lnTo>
                    <a:pt x="555625" y="473605"/>
                  </a:lnTo>
                  <a:lnTo>
                    <a:pt x="555625" y="470959"/>
                  </a:lnTo>
                  <a:lnTo>
                    <a:pt x="552979" y="468313"/>
                  </a:lnTo>
                  <a:lnTo>
                    <a:pt x="545041" y="465667"/>
                  </a:lnTo>
                  <a:lnTo>
                    <a:pt x="542396" y="463021"/>
                  </a:lnTo>
                  <a:lnTo>
                    <a:pt x="539750" y="460375"/>
                  </a:lnTo>
                  <a:lnTo>
                    <a:pt x="542396" y="457729"/>
                  </a:lnTo>
                  <a:lnTo>
                    <a:pt x="547687" y="457729"/>
                  </a:lnTo>
                  <a:lnTo>
                    <a:pt x="552979" y="455084"/>
                  </a:lnTo>
                  <a:lnTo>
                    <a:pt x="558271" y="455084"/>
                  </a:lnTo>
                  <a:close/>
                  <a:moveTo>
                    <a:pt x="867834" y="439209"/>
                  </a:moveTo>
                  <a:lnTo>
                    <a:pt x="873126" y="439209"/>
                  </a:lnTo>
                  <a:lnTo>
                    <a:pt x="878417" y="444500"/>
                  </a:lnTo>
                  <a:lnTo>
                    <a:pt x="881063" y="444500"/>
                  </a:lnTo>
                  <a:lnTo>
                    <a:pt x="881063" y="447146"/>
                  </a:lnTo>
                  <a:lnTo>
                    <a:pt x="878417" y="449792"/>
                  </a:lnTo>
                  <a:lnTo>
                    <a:pt x="870480" y="449792"/>
                  </a:lnTo>
                  <a:lnTo>
                    <a:pt x="865188" y="452438"/>
                  </a:lnTo>
                  <a:lnTo>
                    <a:pt x="862542" y="452438"/>
                  </a:lnTo>
                  <a:lnTo>
                    <a:pt x="854605" y="452438"/>
                  </a:lnTo>
                  <a:lnTo>
                    <a:pt x="846667" y="452438"/>
                  </a:lnTo>
                  <a:lnTo>
                    <a:pt x="851959" y="444500"/>
                  </a:lnTo>
                  <a:lnTo>
                    <a:pt x="854605" y="441855"/>
                  </a:lnTo>
                  <a:lnTo>
                    <a:pt x="857251" y="441855"/>
                  </a:lnTo>
                  <a:lnTo>
                    <a:pt x="862542" y="441855"/>
                  </a:lnTo>
                  <a:lnTo>
                    <a:pt x="865188" y="441855"/>
                  </a:lnTo>
                  <a:close/>
                  <a:moveTo>
                    <a:pt x="1185333" y="436563"/>
                  </a:moveTo>
                  <a:lnTo>
                    <a:pt x="1190625" y="436563"/>
                  </a:lnTo>
                  <a:lnTo>
                    <a:pt x="1195916" y="436563"/>
                  </a:lnTo>
                  <a:lnTo>
                    <a:pt x="1198562" y="439209"/>
                  </a:lnTo>
                  <a:lnTo>
                    <a:pt x="1195916" y="444501"/>
                  </a:lnTo>
                  <a:lnTo>
                    <a:pt x="1193271" y="447147"/>
                  </a:lnTo>
                  <a:lnTo>
                    <a:pt x="1195916" y="449792"/>
                  </a:lnTo>
                  <a:lnTo>
                    <a:pt x="1195916" y="463022"/>
                  </a:lnTo>
                  <a:lnTo>
                    <a:pt x="1193271" y="468313"/>
                  </a:lnTo>
                  <a:lnTo>
                    <a:pt x="1190625" y="470959"/>
                  </a:lnTo>
                  <a:lnTo>
                    <a:pt x="1187979" y="470959"/>
                  </a:lnTo>
                  <a:lnTo>
                    <a:pt x="1182687" y="470959"/>
                  </a:lnTo>
                  <a:lnTo>
                    <a:pt x="1174750" y="473605"/>
                  </a:lnTo>
                  <a:lnTo>
                    <a:pt x="1172104" y="470959"/>
                  </a:lnTo>
                  <a:lnTo>
                    <a:pt x="1172104" y="468313"/>
                  </a:lnTo>
                  <a:lnTo>
                    <a:pt x="1180042" y="444501"/>
                  </a:lnTo>
                  <a:close/>
                  <a:moveTo>
                    <a:pt x="529166" y="412750"/>
                  </a:moveTo>
                  <a:lnTo>
                    <a:pt x="534458" y="415396"/>
                  </a:lnTo>
                  <a:lnTo>
                    <a:pt x="531812" y="418042"/>
                  </a:lnTo>
                  <a:lnTo>
                    <a:pt x="529166" y="418042"/>
                  </a:lnTo>
                  <a:lnTo>
                    <a:pt x="526520" y="420687"/>
                  </a:lnTo>
                  <a:lnTo>
                    <a:pt x="526520" y="423333"/>
                  </a:lnTo>
                  <a:lnTo>
                    <a:pt x="523875" y="423333"/>
                  </a:lnTo>
                  <a:lnTo>
                    <a:pt x="518583" y="423333"/>
                  </a:lnTo>
                  <a:lnTo>
                    <a:pt x="510645" y="423333"/>
                  </a:lnTo>
                  <a:lnTo>
                    <a:pt x="508000" y="425979"/>
                  </a:lnTo>
                  <a:lnTo>
                    <a:pt x="505354" y="428625"/>
                  </a:lnTo>
                  <a:lnTo>
                    <a:pt x="500062" y="425979"/>
                  </a:lnTo>
                  <a:lnTo>
                    <a:pt x="494771" y="428625"/>
                  </a:lnTo>
                  <a:lnTo>
                    <a:pt x="492125" y="428625"/>
                  </a:lnTo>
                  <a:lnTo>
                    <a:pt x="492125" y="425979"/>
                  </a:lnTo>
                  <a:lnTo>
                    <a:pt x="494771" y="423333"/>
                  </a:lnTo>
                  <a:lnTo>
                    <a:pt x="492125" y="420687"/>
                  </a:lnTo>
                  <a:lnTo>
                    <a:pt x="494771" y="418042"/>
                  </a:lnTo>
                  <a:lnTo>
                    <a:pt x="502708" y="415396"/>
                  </a:lnTo>
                  <a:lnTo>
                    <a:pt x="513291" y="415396"/>
                  </a:lnTo>
                  <a:lnTo>
                    <a:pt x="521229" y="415396"/>
                  </a:lnTo>
                  <a:close/>
                  <a:moveTo>
                    <a:pt x="312208" y="383646"/>
                  </a:moveTo>
                  <a:lnTo>
                    <a:pt x="314854" y="386292"/>
                  </a:lnTo>
                  <a:lnTo>
                    <a:pt x="317500" y="386292"/>
                  </a:lnTo>
                  <a:lnTo>
                    <a:pt x="325438" y="383646"/>
                  </a:lnTo>
                  <a:lnTo>
                    <a:pt x="328083" y="386292"/>
                  </a:lnTo>
                  <a:lnTo>
                    <a:pt x="333375" y="388938"/>
                  </a:lnTo>
                  <a:lnTo>
                    <a:pt x="336021" y="388938"/>
                  </a:lnTo>
                  <a:lnTo>
                    <a:pt x="338667" y="386292"/>
                  </a:lnTo>
                  <a:lnTo>
                    <a:pt x="341313" y="386292"/>
                  </a:lnTo>
                  <a:lnTo>
                    <a:pt x="346604" y="386292"/>
                  </a:lnTo>
                  <a:lnTo>
                    <a:pt x="351896" y="388938"/>
                  </a:lnTo>
                  <a:lnTo>
                    <a:pt x="354542" y="388938"/>
                  </a:lnTo>
                  <a:lnTo>
                    <a:pt x="357188" y="391583"/>
                  </a:lnTo>
                  <a:lnTo>
                    <a:pt x="359833" y="391583"/>
                  </a:lnTo>
                  <a:lnTo>
                    <a:pt x="362479" y="391583"/>
                  </a:lnTo>
                  <a:lnTo>
                    <a:pt x="362479" y="394229"/>
                  </a:lnTo>
                  <a:lnTo>
                    <a:pt x="365125" y="394229"/>
                  </a:lnTo>
                  <a:lnTo>
                    <a:pt x="367771" y="394229"/>
                  </a:lnTo>
                  <a:lnTo>
                    <a:pt x="373063" y="391583"/>
                  </a:lnTo>
                  <a:lnTo>
                    <a:pt x="378354" y="394229"/>
                  </a:lnTo>
                  <a:lnTo>
                    <a:pt x="381000" y="399521"/>
                  </a:lnTo>
                  <a:lnTo>
                    <a:pt x="378354" y="402167"/>
                  </a:lnTo>
                  <a:lnTo>
                    <a:pt x="375708" y="404813"/>
                  </a:lnTo>
                  <a:lnTo>
                    <a:pt x="378354" y="404813"/>
                  </a:lnTo>
                  <a:lnTo>
                    <a:pt x="381000" y="407458"/>
                  </a:lnTo>
                  <a:lnTo>
                    <a:pt x="388938" y="407458"/>
                  </a:lnTo>
                  <a:lnTo>
                    <a:pt x="407458" y="407458"/>
                  </a:lnTo>
                  <a:lnTo>
                    <a:pt x="412750" y="410104"/>
                  </a:lnTo>
                  <a:lnTo>
                    <a:pt x="418042" y="407458"/>
                  </a:lnTo>
                  <a:lnTo>
                    <a:pt x="420688" y="407458"/>
                  </a:lnTo>
                  <a:lnTo>
                    <a:pt x="425979" y="410104"/>
                  </a:lnTo>
                  <a:lnTo>
                    <a:pt x="428625" y="407458"/>
                  </a:lnTo>
                  <a:lnTo>
                    <a:pt x="428625" y="404813"/>
                  </a:lnTo>
                  <a:lnTo>
                    <a:pt x="431271" y="396875"/>
                  </a:lnTo>
                  <a:lnTo>
                    <a:pt x="436563" y="394229"/>
                  </a:lnTo>
                  <a:lnTo>
                    <a:pt x="441854" y="394229"/>
                  </a:lnTo>
                  <a:lnTo>
                    <a:pt x="444500" y="399521"/>
                  </a:lnTo>
                  <a:lnTo>
                    <a:pt x="447146" y="404813"/>
                  </a:lnTo>
                  <a:lnTo>
                    <a:pt x="449792" y="407458"/>
                  </a:lnTo>
                  <a:lnTo>
                    <a:pt x="455083" y="407458"/>
                  </a:lnTo>
                  <a:lnTo>
                    <a:pt x="457729" y="404813"/>
                  </a:lnTo>
                  <a:lnTo>
                    <a:pt x="463021" y="407458"/>
                  </a:lnTo>
                  <a:lnTo>
                    <a:pt x="468313" y="410104"/>
                  </a:lnTo>
                  <a:lnTo>
                    <a:pt x="473604" y="415396"/>
                  </a:lnTo>
                  <a:lnTo>
                    <a:pt x="478896" y="418042"/>
                  </a:lnTo>
                  <a:lnTo>
                    <a:pt x="489479" y="420688"/>
                  </a:lnTo>
                  <a:lnTo>
                    <a:pt x="489479" y="423333"/>
                  </a:lnTo>
                  <a:lnTo>
                    <a:pt x="489479" y="428625"/>
                  </a:lnTo>
                  <a:lnTo>
                    <a:pt x="489479" y="431271"/>
                  </a:lnTo>
                  <a:lnTo>
                    <a:pt x="492125" y="431271"/>
                  </a:lnTo>
                  <a:lnTo>
                    <a:pt x="492125" y="436563"/>
                  </a:lnTo>
                  <a:lnTo>
                    <a:pt x="494771" y="439208"/>
                  </a:lnTo>
                  <a:lnTo>
                    <a:pt x="500063" y="441854"/>
                  </a:lnTo>
                  <a:lnTo>
                    <a:pt x="510646" y="444500"/>
                  </a:lnTo>
                  <a:lnTo>
                    <a:pt x="515938" y="441854"/>
                  </a:lnTo>
                  <a:lnTo>
                    <a:pt x="523875" y="441854"/>
                  </a:lnTo>
                  <a:lnTo>
                    <a:pt x="526521" y="441854"/>
                  </a:lnTo>
                  <a:lnTo>
                    <a:pt x="539750" y="447146"/>
                  </a:lnTo>
                  <a:lnTo>
                    <a:pt x="542396" y="449792"/>
                  </a:lnTo>
                  <a:lnTo>
                    <a:pt x="537104" y="457729"/>
                  </a:lnTo>
                  <a:lnTo>
                    <a:pt x="534458" y="463021"/>
                  </a:lnTo>
                  <a:lnTo>
                    <a:pt x="534458" y="465667"/>
                  </a:lnTo>
                  <a:lnTo>
                    <a:pt x="539750" y="470959"/>
                  </a:lnTo>
                  <a:lnTo>
                    <a:pt x="542396" y="476250"/>
                  </a:lnTo>
                  <a:lnTo>
                    <a:pt x="545042" y="478896"/>
                  </a:lnTo>
                  <a:lnTo>
                    <a:pt x="539750" y="478896"/>
                  </a:lnTo>
                  <a:lnTo>
                    <a:pt x="537104" y="478896"/>
                  </a:lnTo>
                  <a:lnTo>
                    <a:pt x="529167" y="476250"/>
                  </a:lnTo>
                  <a:lnTo>
                    <a:pt x="521229" y="470959"/>
                  </a:lnTo>
                  <a:lnTo>
                    <a:pt x="515938" y="470959"/>
                  </a:lnTo>
                  <a:lnTo>
                    <a:pt x="510646" y="470959"/>
                  </a:lnTo>
                  <a:lnTo>
                    <a:pt x="489479" y="470959"/>
                  </a:lnTo>
                  <a:lnTo>
                    <a:pt x="478896" y="470959"/>
                  </a:lnTo>
                  <a:lnTo>
                    <a:pt x="473604" y="468313"/>
                  </a:lnTo>
                  <a:lnTo>
                    <a:pt x="463021" y="468313"/>
                  </a:lnTo>
                  <a:lnTo>
                    <a:pt x="452438" y="465667"/>
                  </a:lnTo>
                  <a:lnTo>
                    <a:pt x="444500" y="463021"/>
                  </a:lnTo>
                  <a:lnTo>
                    <a:pt x="439208" y="457729"/>
                  </a:lnTo>
                  <a:lnTo>
                    <a:pt x="428625" y="455083"/>
                  </a:lnTo>
                  <a:lnTo>
                    <a:pt x="410104" y="455083"/>
                  </a:lnTo>
                  <a:lnTo>
                    <a:pt x="399521" y="449792"/>
                  </a:lnTo>
                  <a:lnTo>
                    <a:pt x="388938" y="447146"/>
                  </a:lnTo>
                  <a:lnTo>
                    <a:pt x="381000" y="444500"/>
                  </a:lnTo>
                  <a:lnTo>
                    <a:pt x="375708" y="447146"/>
                  </a:lnTo>
                  <a:lnTo>
                    <a:pt x="370417" y="447146"/>
                  </a:lnTo>
                  <a:lnTo>
                    <a:pt x="365125" y="444500"/>
                  </a:lnTo>
                  <a:lnTo>
                    <a:pt x="359833" y="441854"/>
                  </a:lnTo>
                  <a:lnTo>
                    <a:pt x="354542" y="441854"/>
                  </a:lnTo>
                  <a:lnTo>
                    <a:pt x="351896" y="441854"/>
                  </a:lnTo>
                  <a:lnTo>
                    <a:pt x="346604" y="439208"/>
                  </a:lnTo>
                  <a:lnTo>
                    <a:pt x="328083" y="433917"/>
                  </a:lnTo>
                  <a:lnTo>
                    <a:pt x="317500" y="433917"/>
                  </a:lnTo>
                  <a:lnTo>
                    <a:pt x="314854" y="431271"/>
                  </a:lnTo>
                  <a:lnTo>
                    <a:pt x="314854" y="428625"/>
                  </a:lnTo>
                  <a:lnTo>
                    <a:pt x="320146" y="425979"/>
                  </a:lnTo>
                  <a:lnTo>
                    <a:pt x="328083" y="420688"/>
                  </a:lnTo>
                  <a:lnTo>
                    <a:pt x="330729" y="420688"/>
                  </a:lnTo>
                  <a:lnTo>
                    <a:pt x="330729" y="418042"/>
                  </a:lnTo>
                  <a:lnTo>
                    <a:pt x="325438" y="418042"/>
                  </a:lnTo>
                  <a:lnTo>
                    <a:pt x="322792" y="418042"/>
                  </a:lnTo>
                  <a:lnTo>
                    <a:pt x="320146" y="418042"/>
                  </a:lnTo>
                  <a:lnTo>
                    <a:pt x="317500" y="418042"/>
                  </a:lnTo>
                  <a:lnTo>
                    <a:pt x="312208" y="415396"/>
                  </a:lnTo>
                  <a:lnTo>
                    <a:pt x="306917" y="415396"/>
                  </a:lnTo>
                  <a:lnTo>
                    <a:pt x="296333" y="412750"/>
                  </a:lnTo>
                  <a:lnTo>
                    <a:pt x="291042" y="412750"/>
                  </a:lnTo>
                  <a:lnTo>
                    <a:pt x="293688" y="407458"/>
                  </a:lnTo>
                  <a:lnTo>
                    <a:pt x="296333" y="407458"/>
                  </a:lnTo>
                  <a:lnTo>
                    <a:pt x="301625" y="410104"/>
                  </a:lnTo>
                  <a:lnTo>
                    <a:pt x="304271" y="407458"/>
                  </a:lnTo>
                  <a:lnTo>
                    <a:pt x="304271" y="402167"/>
                  </a:lnTo>
                  <a:lnTo>
                    <a:pt x="306917" y="402167"/>
                  </a:lnTo>
                  <a:lnTo>
                    <a:pt x="306917" y="396875"/>
                  </a:lnTo>
                  <a:lnTo>
                    <a:pt x="304271" y="391583"/>
                  </a:lnTo>
                  <a:lnTo>
                    <a:pt x="306917" y="386292"/>
                  </a:lnTo>
                  <a:close/>
                  <a:moveTo>
                    <a:pt x="756708" y="362480"/>
                  </a:moveTo>
                  <a:lnTo>
                    <a:pt x="759353" y="362480"/>
                  </a:lnTo>
                  <a:lnTo>
                    <a:pt x="764645" y="365126"/>
                  </a:lnTo>
                  <a:lnTo>
                    <a:pt x="767291" y="367772"/>
                  </a:lnTo>
                  <a:lnTo>
                    <a:pt x="767291" y="373063"/>
                  </a:lnTo>
                  <a:lnTo>
                    <a:pt x="767291" y="375709"/>
                  </a:lnTo>
                  <a:lnTo>
                    <a:pt x="764645" y="378355"/>
                  </a:lnTo>
                  <a:lnTo>
                    <a:pt x="759353" y="375709"/>
                  </a:lnTo>
                  <a:lnTo>
                    <a:pt x="756708" y="370417"/>
                  </a:lnTo>
                  <a:lnTo>
                    <a:pt x="754062" y="365126"/>
                  </a:lnTo>
                  <a:close/>
                  <a:moveTo>
                    <a:pt x="777875" y="341313"/>
                  </a:moveTo>
                  <a:lnTo>
                    <a:pt x="777875" y="346605"/>
                  </a:lnTo>
                  <a:lnTo>
                    <a:pt x="777875" y="349250"/>
                  </a:lnTo>
                  <a:lnTo>
                    <a:pt x="777875" y="351896"/>
                  </a:lnTo>
                  <a:lnTo>
                    <a:pt x="780521" y="354542"/>
                  </a:lnTo>
                  <a:lnTo>
                    <a:pt x="780521" y="357188"/>
                  </a:lnTo>
                  <a:lnTo>
                    <a:pt x="780521" y="359834"/>
                  </a:lnTo>
                  <a:lnTo>
                    <a:pt x="775229" y="362480"/>
                  </a:lnTo>
                  <a:lnTo>
                    <a:pt x="769938" y="362480"/>
                  </a:lnTo>
                  <a:lnTo>
                    <a:pt x="767292" y="359834"/>
                  </a:lnTo>
                  <a:lnTo>
                    <a:pt x="767292" y="357188"/>
                  </a:lnTo>
                  <a:lnTo>
                    <a:pt x="767292" y="354542"/>
                  </a:lnTo>
                  <a:lnTo>
                    <a:pt x="769938" y="351896"/>
                  </a:lnTo>
                  <a:lnTo>
                    <a:pt x="767292" y="349250"/>
                  </a:lnTo>
                  <a:lnTo>
                    <a:pt x="767292" y="346605"/>
                  </a:lnTo>
                  <a:lnTo>
                    <a:pt x="769938" y="343959"/>
                  </a:lnTo>
                  <a:close/>
                  <a:moveTo>
                    <a:pt x="785813" y="330730"/>
                  </a:moveTo>
                  <a:lnTo>
                    <a:pt x="791105" y="336022"/>
                  </a:lnTo>
                  <a:lnTo>
                    <a:pt x="793751" y="336022"/>
                  </a:lnTo>
                  <a:lnTo>
                    <a:pt x="796397" y="338667"/>
                  </a:lnTo>
                  <a:lnTo>
                    <a:pt x="793751" y="338667"/>
                  </a:lnTo>
                  <a:lnTo>
                    <a:pt x="791105" y="341313"/>
                  </a:lnTo>
                  <a:lnTo>
                    <a:pt x="793751" y="346605"/>
                  </a:lnTo>
                  <a:lnTo>
                    <a:pt x="796397" y="351897"/>
                  </a:lnTo>
                  <a:lnTo>
                    <a:pt x="799042" y="349251"/>
                  </a:lnTo>
                  <a:lnTo>
                    <a:pt x="801688" y="349251"/>
                  </a:lnTo>
                  <a:lnTo>
                    <a:pt x="804334" y="351897"/>
                  </a:lnTo>
                  <a:lnTo>
                    <a:pt x="801688" y="354542"/>
                  </a:lnTo>
                  <a:lnTo>
                    <a:pt x="799042" y="354542"/>
                  </a:lnTo>
                  <a:lnTo>
                    <a:pt x="796397" y="357188"/>
                  </a:lnTo>
                  <a:lnTo>
                    <a:pt x="793751" y="359834"/>
                  </a:lnTo>
                  <a:lnTo>
                    <a:pt x="793751" y="365126"/>
                  </a:lnTo>
                  <a:lnTo>
                    <a:pt x="791105" y="365126"/>
                  </a:lnTo>
                  <a:lnTo>
                    <a:pt x="785813" y="365126"/>
                  </a:lnTo>
                  <a:lnTo>
                    <a:pt x="783167" y="362480"/>
                  </a:lnTo>
                  <a:lnTo>
                    <a:pt x="783167" y="354542"/>
                  </a:lnTo>
                  <a:lnTo>
                    <a:pt x="783167" y="343959"/>
                  </a:lnTo>
                  <a:lnTo>
                    <a:pt x="780521" y="336022"/>
                  </a:lnTo>
                  <a:lnTo>
                    <a:pt x="783167" y="333376"/>
                  </a:lnTo>
                  <a:close/>
                  <a:moveTo>
                    <a:pt x="865188" y="296334"/>
                  </a:moveTo>
                  <a:lnTo>
                    <a:pt x="870480" y="296334"/>
                  </a:lnTo>
                  <a:lnTo>
                    <a:pt x="878417" y="296334"/>
                  </a:lnTo>
                  <a:lnTo>
                    <a:pt x="889001" y="298980"/>
                  </a:lnTo>
                  <a:lnTo>
                    <a:pt x="894292" y="304271"/>
                  </a:lnTo>
                  <a:lnTo>
                    <a:pt x="894292" y="306917"/>
                  </a:lnTo>
                  <a:lnTo>
                    <a:pt x="894292" y="309563"/>
                  </a:lnTo>
                  <a:lnTo>
                    <a:pt x="891647" y="314854"/>
                  </a:lnTo>
                  <a:lnTo>
                    <a:pt x="894292" y="314854"/>
                  </a:lnTo>
                  <a:lnTo>
                    <a:pt x="896938" y="317500"/>
                  </a:lnTo>
                  <a:lnTo>
                    <a:pt x="896938" y="320146"/>
                  </a:lnTo>
                  <a:lnTo>
                    <a:pt x="883709" y="322792"/>
                  </a:lnTo>
                  <a:lnTo>
                    <a:pt x="873126" y="320146"/>
                  </a:lnTo>
                  <a:lnTo>
                    <a:pt x="867834" y="317500"/>
                  </a:lnTo>
                  <a:lnTo>
                    <a:pt x="859896" y="306917"/>
                  </a:lnTo>
                  <a:lnTo>
                    <a:pt x="859896" y="304271"/>
                  </a:lnTo>
                  <a:lnTo>
                    <a:pt x="859896" y="298980"/>
                  </a:lnTo>
                  <a:lnTo>
                    <a:pt x="862542" y="298980"/>
                  </a:lnTo>
                  <a:close/>
                  <a:moveTo>
                    <a:pt x="933979" y="285750"/>
                  </a:moveTo>
                  <a:lnTo>
                    <a:pt x="941917" y="285750"/>
                  </a:lnTo>
                  <a:lnTo>
                    <a:pt x="949854" y="285750"/>
                  </a:lnTo>
                  <a:lnTo>
                    <a:pt x="955146" y="288396"/>
                  </a:lnTo>
                  <a:lnTo>
                    <a:pt x="957792" y="285750"/>
                  </a:lnTo>
                  <a:lnTo>
                    <a:pt x="960438" y="285750"/>
                  </a:lnTo>
                  <a:lnTo>
                    <a:pt x="960438" y="288396"/>
                  </a:lnTo>
                  <a:lnTo>
                    <a:pt x="963084" y="291042"/>
                  </a:lnTo>
                  <a:lnTo>
                    <a:pt x="968375" y="288396"/>
                  </a:lnTo>
                  <a:lnTo>
                    <a:pt x="973667" y="288396"/>
                  </a:lnTo>
                  <a:lnTo>
                    <a:pt x="984250" y="288396"/>
                  </a:lnTo>
                  <a:lnTo>
                    <a:pt x="989542" y="288396"/>
                  </a:lnTo>
                  <a:lnTo>
                    <a:pt x="992188" y="288396"/>
                  </a:lnTo>
                  <a:lnTo>
                    <a:pt x="994834" y="288396"/>
                  </a:lnTo>
                  <a:lnTo>
                    <a:pt x="994834" y="291042"/>
                  </a:lnTo>
                  <a:lnTo>
                    <a:pt x="997480" y="296333"/>
                  </a:lnTo>
                  <a:lnTo>
                    <a:pt x="1000125" y="296333"/>
                  </a:lnTo>
                  <a:lnTo>
                    <a:pt x="1000125" y="298979"/>
                  </a:lnTo>
                  <a:lnTo>
                    <a:pt x="1000125" y="304271"/>
                  </a:lnTo>
                  <a:lnTo>
                    <a:pt x="1000125" y="306917"/>
                  </a:lnTo>
                  <a:lnTo>
                    <a:pt x="1002771" y="309563"/>
                  </a:lnTo>
                  <a:lnTo>
                    <a:pt x="1002771" y="317500"/>
                  </a:lnTo>
                  <a:lnTo>
                    <a:pt x="1000125" y="320146"/>
                  </a:lnTo>
                  <a:lnTo>
                    <a:pt x="997480" y="322792"/>
                  </a:lnTo>
                  <a:lnTo>
                    <a:pt x="989542" y="317500"/>
                  </a:lnTo>
                  <a:lnTo>
                    <a:pt x="984250" y="314854"/>
                  </a:lnTo>
                  <a:lnTo>
                    <a:pt x="978959" y="312208"/>
                  </a:lnTo>
                  <a:lnTo>
                    <a:pt x="976313" y="304271"/>
                  </a:lnTo>
                  <a:lnTo>
                    <a:pt x="968375" y="304271"/>
                  </a:lnTo>
                  <a:lnTo>
                    <a:pt x="965729" y="304271"/>
                  </a:lnTo>
                  <a:lnTo>
                    <a:pt x="965729" y="306917"/>
                  </a:lnTo>
                  <a:lnTo>
                    <a:pt x="960438" y="306917"/>
                  </a:lnTo>
                  <a:lnTo>
                    <a:pt x="952500" y="306917"/>
                  </a:lnTo>
                  <a:lnTo>
                    <a:pt x="949854" y="309563"/>
                  </a:lnTo>
                  <a:lnTo>
                    <a:pt x="944563" y="309563"/>
                  </a:lnTo>
                  <a:lnTo>
                    <a:pt x="941917" y="306917"/>
                  </a:lnTo>
                  <a:lnTo>
                    <a:pt x="939271" y="304271"/>
                  </a:lnTo>
                  <a:lnTo>
                    <a:pt x="936625" y="306917"/>
                  </a:lnTo>
                  <a:lnTo>
                    <a:pt x="933979" y="309563"/>
                  </a:lnTo>
                  <a:lnTo>
                    <a:pt x="931333" y="312208"/>
                  </a:lnTo>
                  <a:lnTo>
                    <a:pt x="926042" y="309563"/>
                  </a:lnTo>
                  <a:lnTo>
                    <a:pt x="926042" y="306917"/>
                  </a:lnTo>
                  <a:lnTo>
                    <a:pt x="923396" y="306917"/>
                  </a:lnTo>
                  <a:lnTo>
                    <a:pt x="918104" y="309563"/>
                  </a:lnTo>
                  <a:lnTo>
                    <a:pt x="915458" y="314854"/>
                  </a:lnTo>
                  <a:lnTo>
                    <a:pt x="915458" y="306917"/>
                  </a:lnTo>
                  <a:lnTo>
                    <a:pt x="918104" y="304271"/>
                  </a:lnTo>
                  <a:lnTo>
                    <a:pt x="923396" y="301625"/>
                  </a:lnTo>
                  <a:lnTo>
                    <a:pt x="923396" y="293687"/>
                  </a:lnTo>
                  <a:lnTo>
                    <a:pt x="923396" y="291042"/>
                  </a:lnTo>
                  <a:lnTo>
                    <a:pt x="926042" y="288396"/>
                  </a:lnTo>
                  <a:close/>
                  <a:moveTo>
                    <a:pt x="973667" y="251355"/>
                  </a:moveTo>
                  <a:lnTo>
                    <a:pt x="981604" y="251355"/>
                  </a:lnTo>
                  <a:lnTo>
                    <a:pt x="981604" y="254001"/>
                  </a:lnTo>
                  <a:lnTo>
                    <a:pt x="981604" y="259292"/>
                  </a:lnTo>
                  <a:lnTo>
                    <a:pt x="976313" y="261938"/>
                  </a:lnTo>
                  <a:lnTo>
                    <a:pt x="968375" y="261938"/>
                  </a:lnTo>
                  <a:lnTo>
                    <a:pt x="963083" y="256646"/>
                  </a:lnTo>
                  <a:lnTo>
                    <a:pt x="963083" y="254001"/>
                  </a:lnTo>
                  <a:lnTo>
                    <a:pt x="965729" y="254001"/>
                  </a:lnTo>
                  <a:close/>
                  <a:moveTo>
                    <a:pt x="1037167" y="198438"/>
                  </a:moveTo>
                  <a:lnTo>
                    <a:pt x="1047751" y="201084"/>
                  </a:lnTo>
                  <a:lnTo>
                    <a:pt x="1058334" y="206375"/>
                  </a:lnTo>
                  <a:lnTo>
                    <a:pt x="1060980" y="209021"/>
                  </a:lnTo>
                  <a:lnTo>
                    <a:pt x="1063625" y="211667"/>
                  </a:lnTo>
                  <a:lnTo>
                    <a:pt x="1066271" y="214313"/>
                  </a:lnTo>
                  <a:lnTo>
                    <a:pt x="1074209" y="214313"/>
                  </a:lnTo>
                  <a:lnTo>
                    <a:pt x="1076855" y="214313"/>
                  </a:lnTo>
                  <a:lnTo>
                    <a:pt x="1079500" y="211667"/>
                  </a:lnTo>
                  <a:lnTo>
                    <a:pt x="1087438" y="216959"/>
                  </a:lnTo>
                  <a:lnTo>
                    <a:pt x="1084792" y="216959"/>
                  </a:lnTo>
                  <a:lnTo>
                    <a:pt x="1084792" y="219605"/>
                  </a:lnTo>
                  <a:lnTo>
                    <a:pt x="1087438" y="224896"/>
                  </a:lnTo>
                  <a:lnTo>
                    <a:pt x="1090084" y="230188"/>
                  </a:lnTo>
                  <a:lnTo>
                    <a:pt x="1090084" y="232834"/>
                  </a:lnTo>
                  <a:lnTo>
                    <a:pt x="1087438" y="238125"/>
                  </a:lnTo>
                  <a:lnTo>
                    <a:pt x="1084792" y="246063"/>
                  </a:lnTo>
                  <a:lnTo>
                    <a:pt x="1084792" y="254000"/>
                  </a:lnTo>
                  <a:lnTo>
                    <a:pt x="1090084" y="275167"/>
                  </a:lnTo>
                  <a:lnTo>
                    <a:pt x="1095375" y="272521"/>
                  </a:lnTo>
                  <a:lnTo>
                    <a:pt x="1095375" y="277813"/>
                  </a:lnTo>
                  <a:lnTo>
                    <a:pt x="1095375" y="283105"/>
                  </a:lnTo>
                  <a:lnTo>
                    <a:pt x="1098021" y="283105"/>
                  </a:lnTo>
                  <a:lnTo>
                    <a:pt x="1098021" y="280459"/>
                  </a:lnTo>
                  <a:lnTo>
                    <a:pt x="1100667" y="283105"/>
                  </a:lnTo>
                  <a:lnTo>
                    <a:pt x="1100667" y="285751"/>
                  </a:lnTo>
                  <a:lnTo>
                    <a:pt x="1103313" y="293688"/>
                  </a:lnTo>
                  <a:lnTo>
                    <a:pt x="1108605" y="293688"/>
                  </a:lnTo>
                  <a:lnTo>
                    <a:pt x="1113896" y="296334"/>
                  </a:lnTo>
                  <a:lnTo>
                    <a:pt x="1121834" y="293688"/>
                  </a:lnTo>
                  <a:lnTo>
                    <a:pt x="1121834" y="291042"/>
                  </a:lnTo>
                  <a:lnTo>
                    <a:pt x="1121834" y="288396"/>
                  </a:lnTo>
                  <a:lnTo>
                    <a:pt x="1124480" y="283105"/>
                  </a:lnTo>
                  <a:lnTo>
                    <a:pt x="1129771" y="280459"/>
                  </a:lnTo>
                  <a:lnTo>
                    <a:pt x="1129771" y="277813"/>
                  </a:lnTo>
                  <a:lnTo>
                    <a:pt x="1132417" y="272521"/>
                  </a:lnTo>
                  <a:lnTo>
                    <a:pt x="1135063" y="269875"/>
                  </a:lnTo>
                  <a:lnTo>
                    <a:pt x="1137709" y="267230"/>
                  </a:lnTo>
                  <a:lnTo>
                    <a:pt x="1137709" y="264584"/>
                  </a:lnTo>
                  <a:lnTo>
                    <a:pt x="1137709" y="261938"/>
                  </a:lnTo>
                  <a:lnTo>
                    <a:pt x="1140355" y="256646"/>
                  </a:lnTo>
                  <a:lnTo>
                    <a:pt x="1145646" y="254000"/>
                  </a:lnTo>
                  <a:lnTo>
                    <a:pt x="1148292" y="254000"/>
                  </a:lnTo>
                  <a:lnTo>
                    <a:pt x="1150938" y="254000"/>
                  </a:lnTo>
                  <a:lnTo>
                    <a:pt x="1150938" y="256646"/>
                  </a:lnTo>
                  <a:lnTo>
                    <a:pt x="1153584" y="254000"/>
                  </a:lnTo>
                  <a:lnTo>
                    <a:pt x="1156230" y="251355"/>
                  </a:lnTo>
                  <a:lnTo>
                    <a:pt x="1156230" y="246063"/>
                  </a:lnTo>
                  <a:lnTo>
                    <a:pt x="1158875" y="243417"/>
                  </a:lnTo>
                  <a:lnTo>
                    <a:pt x="1172105" y="232834"/>
                  </a:lnTo>
                  <a:lnTo>
                    <a:pt x="1182688" y="230188"/>
                  </a:lnTo>
                  <a:lnTo>
                    <a:pt x="1190625" y="232834"/>
                  </a:lnTo>
                  <a:lnTo>
                    <a:pt x="1219729" y="248709"/>
                  </a:lnTo>
                  <a:lnTo>
                    <a:pt x="1235604" y="254000"/>
                  </a:lnTo>
                  <a:lnTo>
                    <a:pt x="1251479" y="261938"/>
                  </a:lnTo>
                  <a:lnTo>
                    <a:pt x="1259417" y="264584"/>
                  </a:lnTo>
                  <a:lnTo>
                    <a:pt x="1262063" y="264584"/>
                  </a:lnTo>
                  <a:lnTo>
                    <a:pt x="1264709" y="264584"/>
                  </a:lnTo>
                  <a:lnTo>
                    <a:pt x="1272646" y="267230"/>
                  </a:lnTo>
                  <a:lnTo>
                    <a:pt x="1277938" y="269875"/>
                  </a:lnTo>
                  <a:lnTo>
                    <a:pt x="1280584" y="272521"/>
                  </a:lnTo>
                  <a:lnTo>
                    <a:pt x="1285875" y="275167"/>
                  </a:lnTo>
                  <a:lnTo>
                    <a:pt x="1280584" y="343959"/>
                  </a:lnTo>
                  <a:lnTo>
                    <a:pt x="1275292" y="404813"/>
                  </a:lnTo>
                  <a:lnTo>
                    <a:pt x="1264709" y="492126"/>
                  </a:lnTo>
                  <a:lnTo>
                    <a:pt x="1262063" y="492126"/>
                  </a:lnTo>
                  <a:lnTo>
                    <a:pt x="1259417" y="489480"/>
                  </a:lnTo>
                  <a:lnTo>
                    <a:pt x="1254125" y="481543"/>
                  </a:lnTo>
                  <a:lnTo>
                    <a:pt x="1248834" y="473605"/>
                  </a:lnTo>
                  <a:lnTo>
                    <a:pt x="1246188" y="470959"/>
                  </a:lnTo>
                  <a:lnTo>
                    <a:pt x="1243542" y="468314"/>
                  </a:lnTo>
                  <a:lnTo>
                    <a:pt x="1238250" y="465668"/>
                  </a:lnTo>
                  <a:lnTo>
                    <a:pt x="1238250" y="463022"/>
                  </a:lnTo>
                  <a:lnTo>
                    <a:pt x="1240896" y="460376"/>
                  </a:lnTo>
                  <a:lnTo>
                    <a:pt x="1240896" y="455084"/>
                  </a:lnTo>
                  <a:lnTo>
                    <a:pt x="1235604" y="460376"/>
                  </a:lnTo>
                  <a:lnTo>
                    <a:pt x="1232959" y="463022"/>
                  </a:lnTo>
                  <a:lnTo>
                    <a:pt x="1227667" y="463022"/>
                  </a:lnTo>
                  <a:lnTo>
                    <a:pt x="1219729" y="463022"/>
                  </a:lnTo>
                  <a:lnTo>
                    <a:pt x="1217084" y="463022"/>
                  </a:lnTo>
                  <a:lnTo>
                    <a:pt x="1214438" y="460376"/>
                  </a:lnTo>
                  <a:lnTo>
                    <a:pt x="1209146" y="463022"/>
                  </a:lnTo>
                  <a:lnTo>
                    <a:pt x="1203854" y="463022"/>
                  </a:lnTo>
                  <a:lnTo>
                    <a:pt x="1201209" y="460376"/>
                  </a:lnTo>
                  <a:lnTo>
                    <a:pt x="1201209" y="455084"/>
                  </a:lnTo>
                  <a:lnTo>
                    <a:pt x="1198563" y="449792"/>
                  </a:lnTo>
                  <a:lnTo>
                    <a:pt x="1195917" y="447147"/>
                  </a:lnTo>
                  <a:lnTo>
                    <a:pt x="1198563" y="444501"/>
                  </a:lnTo>
                  <a:lnTo>
                    <a:pt x="1201209" y="439209"/>
                  </a:lnTo>
                  <a:lnTo>
                    <a:pt x="1193271" y="433917"/>
                  </a:lnTo>
                  <a:lnTo>
                    <a:pt x="1190625" y="431272"/>
                  </a:lnTo>
                  <a:lnTo>
                    <a:pt x="1195917" y="428626"/>
                  </a:lnTo>
                  <a:lnTo>
                    <a:pt x="1206500" y="428626"/>
                  </a:lnTo>
                  <a:lnTo>
                    <a:pt x="1195917" y="423334"/>
                  </a:lnTo>
                  <a:lnTo>
                    <a:pt x="1187980" y="418042"/>
                  </a:lnTo>
                  <a:lnTo>
                    <a:pt x="1187980" y="412751"/>
                  </a:lnTo>
                  <a:lnTo>
                    <a:pt x="1190625" y="412751"/>
                  </a:lnTo>
                  <a:lnTo>
                    <a:pt x="1193271" y="410105"/>
                  </a:lnTo>
                  <a:lnTo>
                    <a:pt x="1195917" y="407459"/>
                  </a:lnTo>
                  <a:lnTo>
                    <a:pt x="1201209" y="407459"/>
                  </a:lnTo>
                  <a:lnTo>
                    <a:pt x="1211792" y="410105"/>
                  </a:lnTo>
                  <a:lnTo>
                    <a:pt x="1203854" y="404813"/>
                  </a:lnTo>
                  <a:lnTo>
                    <a:pt x="1193271" y="402167"/>
                  </a:lnTo>
                  <a:lnTo>
                    <a:pt x="1187980" y="396876"/>
                  </a:lnTo>
                  <a:lnTo>
                    <a:pt x="1185334" y="394230"/>
                  </a:lnTo>
                  <a:lnTo>
                    <a:pt x="1187980" y="394230"/>
                  </a:lnTo>
                  <a:lnTo>
                    <a:pt x="1190625" y="391584"/>
                  </a:lnTo>
                  <a:lnTo>
                    <a:pt x="1193271" y="391584"/>
                  </a:lnTo>
                  <a:lnTo>
                    <a:pt x="1193271" y="388938"/>
                  </a:lnTo>
                  <a:lnTo>
                    <a:pt x="1187980" y="383647"/>
                  </a:lnTo>
                  <a:lnTo>
                    <a:pt x="1182688" y="378355"/>
                  </a:lnTo>
                  <a:lnTo>
                    <a:pt x="1182688" y="375709"/>
                  </a:lnTo>
                  <a:lnTo>
                    <a:pt x="1193271" y="373063"/>
                  </a:lnTo>
                  <a:lnTo>
                    <a:pt x="1185334" y="373063"/>
                  </a:lnTo>
                  <a:lnTo>
                    <a:pt x="1182688" y="373063"/>
                  </a:lnTo>
                  <a:lnTo>
                    <a:pt x="1193271" y="367771"/>
                  </a:lnTo>
                  <a:lnTo>
                    <a:pt x="1182688" y="367771"/>
                  </a:lnTo>
                  <a:lnTo>
                    <a:pt x="1177396" y="365126"/>
                  </a:lnTo>
                  <a:lnTo>
                    <a:pt x="1180042" y="362480"/>
                  </a:lnTo>
                  <a:lnTo>
                    <a:pt x="1182688" y="357188"/>
                  </a:lnTo>
                  <a:lnTo>
                    <a:pt x="1177396" y="359834"/>
                  </a:lnTo>
                  <a:lnTo>
                    <a:pt x="1174750" y="357188"/>
                  </a:lnTo>
                  <a:lnTo>
                    <a:pt x="1172105" y="351896"/>
                  </a:lnTo>
                  <a:lnTo>
                    <a:pt x="1169459" y="349251"/>
                  </a:lnTo>
                  <a:lnTo>
                    <a:pt x="1164167" y="349251"/>
                  </a:lnTo>
                  <a:lnTo>
                    <a:pt x="1156230" y="349251"/>
                  </a:lnTo>
                  <a:lnTo>
                    <a:pt x="1145646" y="343959"/>
                  </a:lnTo>
                  <a:lnTo>
                    <a:pt x="1135063" y="338667"/>
                  </a:lnTo>
                  <a:lnTo>
                    <a:pt x="1124480" y="338667"/>
                  </a:lnTo>
                  <a:lnTo>
                    <a:pt x="1119188" y="341313"/>
                  </a:lnTo>
                  <a:lnTo>
                    <a:pt x="1116542" y="338667"/>
                  </a:lnTo>
                  <a:lnTo>
                    <a:pt x="1116542" y="336021"/>
                  </a:lnTo>
                  <a:lnTo>
                    <a:pt x="1111250" y="336021"/>
                  </a:lnTo>
                  <a:lnTo>
                    <a:pt x="1108605" y="333376"/>
                  </a:lnTo>
                  <a:lnTo>
                    <a:pt x="1108605" y="330730"/>
                  </a:lnTo>
                  <a:lnTo>
                    <a:pt x="1105959" y="330730"/>
                  </a:lnTo>
                  <a:lnTo>
                    <a:pt x="1100667" y="328084"/>
                  </a:lnTo>
                  <a:lnTo>
                    <a:pt x="1098021" y="325438"/>
                  </a:lnTo>
                  <a:lnTo>
                    <a:pt x="1095375" y="320146"/>
                  </a:lnTo>
                  <a:lnTo>
                    <a:pt x="1090084" y="317501"/>
                  </a:lnTo>
                  <a:lnTo>
                    <a:pt x="1082146" y="314855"/>
                  </a:lnTo>
                  <a:lnTo>
                    <a:pt x="1082146" y="312209"/>
                  </a:lnTo>
                  <a:lnTo>
                    <a:pt x="1084792" y="312209"/>
                  </a:lnTo>
                  <a:lnTo>
                    <a:pt x="1090084" y="309563"/>
                  </a:lnTo>
                  <a:lnTo>
                    <a:pt x="1084792" y="309563"/>
                  </a:lnTo>
                  <a:lnTo>
                    <a:pt x="1082146" y="312209"/>
                  </a:lnTo>
                  <a:lnTo>
                    <a:pt x="1079500" y="312209"/>
                  </a:lnTo>
                  <a:lnTo>
                    <a:pt x="1076855" y="312209"/>
                  </a:lnTo>
                  <a:lnTo>
                    <a:pt x="1074209" y="309563"/>
                  </a:lnTo>
                  <a:lnTo>
                    <a:pt x="1074209" y="306917"/>
                  </a:lnTo>
                  <a:lnTo>
                    <a:pt x="1074209" y="304271"/>
                  </a:lnTo>
                  <a:lnTo>
                    <a:pt x="1074209" y="301626"/>
                  </a:lnTo>
                  <a:lnTo>
                    <a:pt x="1074209" y="298980"/>
                  </a:lnTo>
                  <a:lnTo>
                    <a:pt x="1074209" y="296334"/>
                  </a:lnTo>
                  <a:lnTo>
                    <a:pt x="1076855" y="296334"/>
                  </a:lnTo>
                  <a:lnTo>
                    <a:pt x="1076855" y="293688"/>
                  </a:lnTo>
                  <a:lnTo>
                    <a:pt x="1071563" y="296334"/>
                  </a:lnTo>
                  <a:lnTo>
                    <a:pt x="1071563" y="301626"/>
                  </a:lnTo>
                  <a:lnTo>
                    <a:pt x="1068917" y="301626"/>
                  </a:lnTo>
                  <a:lnTo>
                    <a:pt x="1068917" y="304271"/>
                  </a:lnTo>
                  <a:lnTo>
                    <a:pt x="1071563" y="306917"/>
                  </a:lnTo>
                  <a:lnTo>
                    <a:pt x="1071563" y="309563"/>
                  </a:lnTo>
                  <a:lnTo>
                    <a:pt x="1066271" y="312209"/>
                  </a:lnTo>
                  <a:lnTo>
                    <a:pt x="1063625" y="314855"/>
                  </a:lnTo>
                  <a:lnTo>
                    <a:pt x="1063625" y="320146"/>
                  </a:lnTo>
                  <a:lnTo>
                    <a:pt x="1063625" y="322792"/>
                  </a:lnTo>
                  <a:lnTo>
                    <a:pt x="1055688" y="325438"/>
                  </a:lnTo>
                  <a:lnTo>
                    <a:pt x="1050396" y="325438"/>
                  </a:lnTo>
                  <a:lnTo>
                    <a:pt x="1047751" y="322792"/>
                  </a:lnTo>
                  <a:lnTo>
                    <a:pt x="1047751" y="314855"/>
                  </a:lnTo>
                  <a:lnTo>
                    <a:pt x="1042459" y="309563"/>
                  </a:lnTo>
                  <a:lnTo>
                    <a:pt x="1042459" y="306917"/>
                  </a:lnTo>
                  <a:lnTo>
                    <a:pt x="1047751" y="304271"/>
                  </a:lnTo>
                  <a:lnTo>
                    <a:pt x="1050396" y="304271"/>
                  </a:lnTo>
                  <a:lnTo>
                    <a:pt x="1050396" y="301626"/>
                  </a:lnTo>
                  <a:lnTo>
                    <a:pt x="1047751" y="301626"/>
                  </a:lnTo>
                  <a:lnTo>
                    <a:pt x="1047751" y="296334"/>
                  </a:lnTo>
                  <a:lnTo>
                    <a:pt x="1047751" y="293688"/>
                  </a:lnTo>
                  <a:lnTo>
                    <a:pt x="1045105" y="293688"/>
                  </a:lnTo>
                  <a:lnTo>
                    <a:pt x="1042459" y="293688"/>
                  </a:lnTo>
                  <a:lnTo>
                    <a:pt x="1039813" y="288396"/>
                  </a:lnTo>
                  <a:lnTo>
                    <a:pt x="1034521" y="285751"/>
                  </a:lnTo>
                  <a:lnTo>
                    <a:pt x="1031876" y="283105"/>
                  </a:lnTo>
                  <a:lnTo>
                    <a:pt x="1029230" y="280459"/>
                  </a:lnTo>
                  <a:lnTo>
                    <a:pt x="1023938" y="277813"/>
                  </a:lnTo>
                  <a:lnTo>
                    <a:pt x="1021292" y="277813"/>
                  </a:lnTo>
                  <a:lnTo>
                    <a:pt x="1018646" y="277813"/>
                  </a:lnTo>
                  <a:lnTo>
                    <a:pt x="1016001" y="275167"/>
                  </a:lnTo>
                  <a:lnTo>
                    <a:pt x="1018646" y="272521"/>
                  </a:lnTo>
                  <a:lnTo>
                    <a:pt x="1026584" y="267230"/>
                  </a:lnTo>
                  <a:lnTo>
                    <a:pt x="1037167" y="267230"/>
                  </a:lnTo>
                  <a:lnTo>
                    <a:pt x="1045105" y="267230"/>
                  </a:lnTo>
                  <a:lnTo>
                    <a:pt x="1047751" y="269875"/>
                  </a:lnTo>
                  <a:lnTo>
                    <a:pt x="1047751" y="267230"/>
                  </a:lnTo>
                  <a:lnTo>
                    <a:pt x="1050396" y="264584"/>
                  </a:lnTo>
                  <a:lnTo>
                    <a:pt x="1053042" y="261938"/>
                  </a:lnTo>
                  <a:lnTo>
                    <a:pt x="1060980" y="261938"/>
                  </a:lnTo>
                  <a:lnTo>
                    <a:pt x="1060980" y="267230"/>
                  </a:lnTo>
                  <a:lnTo>
                    <a:pt x="1066271" y="264584"/>
                  </a:lnTo>
                  <a:lnTo>
                    <a:pt x="1074209" y="264584"/>
                  </a:lnTo>
                  <a:lnTo>
                    <a:pt x="1076855" y="264584"/>
                  </a:lnTo>
                  <a:lnTo>
                    <a:pt x="1076855" y="261938"/>
                  </a:lnTo>
                  <a:lnTo>
                    <a:pt x="1074209" y="259292"/>
                  </a:lnTo>
                  <a:lnTo>
                    <a:pt x="1074209" y="254000"/>
                  </a:lnTo>
                  <a:lnTo>
                    <a:pt x="1074209" y="251355"/>
                  </a:lnTo>
                  <a:lnTo>
                    <a:pt x="1071563" y="254000"/>
                  </a:lnTo>
                  <a:lnTo>
                    <a:pt x="1068917" y="256646"/>
                  </a:lnTo>
                  <a:lnTo>
                    <a:pt x="1060980" y="256646"/>
                  </a:lnTo>
                  <a:lnTo>
                    <a:pt x="1055688" y="254000"/>
                  </a:lnTo>
                  <a:lnTo>
                    <a:pt x="1050396" y="256646"/>
                  </a:lnTo>
                  <a:lnTo>
                    <a:pt x="1047751" y="256646"/>
                  </a:lnTo>
                  <a:lnTo>
                    <a:pt x="1045105" y="256646"/>
                  </a:lnTo>
                  <a:lnTo>
                    <a:pt x="1039813" y="256646"/>
                  </a:lnTo>
                  <a:lnTo>
                    <a:pt x="1037167" y="256646"/>
                  </a:lnTo>
                  <a:lnTo>
                    <a:pt x="1034521" y="259292"/>
                  </a:lnTo>
                  <a:lnTo>
                    <a:pt x="1029230" y="256646"/>
                  </a:lnTo>
                  <a:lnTo>
                    <a:pt x="1023938" y="254000"/>
                  </a:lnTo>
                  <a:lnTo>
                    <a:pt x="1023938" y="251355"/>
                  </a:lnTo>
                  <a:lnTo>
                    <a:pt x="1026584" y="251355"/>
                  </a:lnTo>
                  <a:lnTo>
                    <a:pt x="1026584" y="248709"/>
                  </a:lnTo>
                  <a:lnTo>
                    <a:pt x="1023938" y="243417"/>
                  </a:lnTo>
                  <a:lnTo>
                    <a:pt x="1026584" y="243417"/>
                  </a:lnTo>
                  <a:lnTo>
                    <a:pt x="1029230" y="240771"/>
                  </a:lnTo>
                  <a:lnTo>
                    <a:pt x="1026584" y="240771"/>
                  </a:lnTo>
                  <a:lnTo>
                    <a:pt x="1023938" y="238125"/>
                  </a:lnTo>
                  <a:lnTo>
                    <a:pt x="1021292" y="235480"/>
                  </a:lnTo>
                  <a:lnTo>
                    <a:pt x="1016001" y="238125"/>
                  </a:lnTo>
                  <a:lnTo>
                    <a:pt x="1013355" y="238125"/>
                  </a:lnTo>
                  <a:lnTo>
                    <a:pt x="1010709" y="235480"/>
                  </a:lnTo>
                  <a:lnTo>
                    <a:pt x="1010709" y="232834"/>
                  </a:lnTo>
                  <a:lnTo>
                    <a:pt x="1005417" y="232834"/>
                  </a:lnTo>
                  <a:lnTo>
                    <a:pt x="1002771" y="235480"/>
                  </a:lnTo>
                  <a:lnTo>
                    <a:pt x="1000126" y="235480"/>
                  </a:lnTo>
                  <a:lnTo>
                    <a:pt x="989542" y="230188"/>
                  </a:lnTo>
                  <a:lnTo>
                    <a:pt x="994834" y="227542"/>
                  </a:lnTo>
                  <a:lnTo>
                    <a:pt x="994834" y="224896"/>
                  </a:lnTo>
                  <a:lnTo>
                    <a:pt x="997480" y="222250"/>
                  </a:lnTo>
                  <a:lnTo>
                    <a:pt x="1002771" y="222250"/>
                  </a:lnTo>
                  <a:lnTo>
                    <a:pt x="1002771" y="219605"/>
                  </a:lnTo>
                  <a:lnTo>
                    <a:pt x="1005417" y="214313"/>
                  </a:lnTo>
                  <a:lnTo>
                    <a:pt x="1010709" y="214313"/>
                  </a:lnTo>
                  <a:lnTo>
                    <a:pt x="1013355" y="211667"/>
                  </a:lnTo>
                  <a:lnTo>
                    <a:pt x="1016001" y="209021"/>
                  </a:lnTo>
                  <a:lnTo>
                    <a:pt x="1018646" y="206375"/>
                  </a:lnTo>
                  <a:lnTo>
                    <a:pt x="1023938" y="203730"/>
                  </a:lnTo>
                  <a:lnTo>
                    <a:pt x="1029230" y="201084"/>
                  </a:lnTo>
                  <a:close/>
                  <a:moveTo>
                    <a:pt x="825500" y="132292"/>
                  </a:moveTo>
                  <a:lnTo>
                    <a:pt x="828146" y="132292"/>
                  </a:lnTo>
                  <a:lnTo>
                    <a:pt x="833438" y="132292"/>
                  </a:lnTo>
                  <a:lnTo>
                    <a:pt x="838729" y="132292"/>
                  </a:lnTo>
                  <a:lnTo>
                    <a:pt x="838729" y="134938"/>
                  </a:lnTo>
                  <a:lnTo>
                    <a:pt x="836083" y="140229"/>
                  </a:lnTo>
                  <a:lnTo>
                    <a:pt x="833438" y="145521"/>
                  </a:lnTo>
                  <a:lnTo>
                    <a:pt x="830792" y="153459"/>
                  </a:lnTo>
                  <a:lnTo>
                    <a:pt x="825500" y="156104"/>
                  </a:lnTo>
                  <a:lnTo>
                    <a:pt x="817563" y="161396"/>
                  </a:lnTo>
                  <a:lnTo>
                    <a:pt x="817563" y="164042"/>
                  </a:lnTo>
                  <a:lnTo>
                    <a:pt x="814917" y="166688"/>
                  </a:lnTo>
                  <a:lnTo>
                    <a:pt x="814917" y="169334"/>
                  </a:lnTo>
                  <a:lnTo>
                    <a:pt x="809625" y="174625"/>
                  </a:lnTo>
                  <a:lnTo>
                    <a:pt x="796396" y="179917"/>
                  </a:lnTo>
                  <a:lnTo>
                    <a:pt x="783167" y="182563"/>
                  </a:lnTo>
                  <a:lnTo>
                    <a:pt x="777875" y="179917"/>
                  </a:lnTo>
                  <a:lnTo>
                    <a:pt x="775229" y="177271"/>
                  </a:lnTo>
                  <a:lnTo>
                    <a:pt x="772583" y="177271"/>
                  </a:lnTo>
                  <a:lnTo>
                    <a:pt x="769937" y="174625"/>
                  </a:lnTo>
                  <a:lnTo>
                    <a:pt x="762000" y="174625"/>
                  </a:lnTo>
                  <a:lnTo>
                    <a:pt x="751416" y="174625"/>
                  </a:lnTo>
                  <a:lnTo>
                    <a:pt x="748770" y="174625"/>
                  </a:lnTo>
                  <a:lnTo>
                    <a:pt x="746125" y="174625"/>
                  </a:lnTo>
                  <a:lnTo>
                    <a:pt x="743479" y="171979"/>
                  </a:lnTo>
                  <a:lnTo>
                    <a:pt x="732895" y="171979"/>
                  </a:lnTo>
                  <a:lnTo>
                    <a:pt x="722312" y="174625"/>
                  </a:lnTo>
                  <a:lnTo>
                    <a:pt x="717020" y="177271"/>
                  </a:lnTo>
                  <a:lnTo>
                    <a:pt x="709083" y="185209"/>
                  </a:lnTo>
                  <a:lnTo>
                    <a:pt x="703791" y="193146"/>
                  </a:lnTo>
                  <a:lnTo>
                    <a:pt x="703791" y="201084"/>
                  </a:lnTo>
                  <a:lnTo>
                    <a:pt x="706437" y="209021"/>
                  </a:lnTo>
                  <a:lnTo>
                    <a:pt x="711729" y="216959"/>
                  </a:lnTo>
                  <a:lnTo>
                    <a:pt x="717020" y="219604"/>
                  </a:lnTo>
                  <a:lnTo>
                    <a:pt x="719666" y="224896"/>
                  </a:lnTo>
                  <a:lnTo>
                    <a:pt x="719666" y="232834"/>
                  </a:lnTo>
                  <a:lnTo>
                    <a:pt x="727604" y="232834"/>
                  </a:lnTo>
                  <a:lnTo>
                    <a:pt x="730250" y="230188"/>
                  </a:lnTo>
                  <a:lnTo>
                    <a:pt x="730250" y="227542"/>
                  </a:lnTo>
                  <a:lnTo>
                    <a:pt x="735541" y="222250"/>
                  </a:lnTo>
                  <a:lnTo>
                    <a:pt x="743479" y="216959"/>
                  </a:lnTo>
                  <a:lnTo>
                    <a:pt x="746125" y="219604"/>
                  </a:lnTo>
                  <a:lnTo>
                    <a:pt x="748770" y="219604"/>
                  </a:lnTo>
                  <a:lnTo>
                    <a:pt x="756708" y="216959"/>
                  </a:lnTo>
                  <a:lnTo>
                    <a:pt x="762000" y="214313"/>
                  </a:lnTo>
                  <a:lnTo>
                    <a:pt x="767291" y="214313"/>
                  </a:lnTo>
                  <a:lnTo>
                    <a:pt x="772583" y="214313"/>
                  </a:lnTo>
                  <a:lnTo>
                    <a:pt x="777875" y="211667"/>
                  </a:lnTo>
                  <a:lnTo>
                    <a:pt x="777875" y="209021"/>
                  </a:lnTo>
                  <a:lnTo>
                    <a:pt x="780521" y="206375"/>
                  </a:lnTo>
                  <a:lnTo>
                    <a:pt x="788458" y="206375"/>
                  </a:lnTo>
                  <a:lnTo>
                    <a:pt x="796396" y="209021"/>
                  </a:lnTo>
                  <a:lnTo>
                    <a:pt x="796396" y="214313"/>
                  </a:lnTo>
                  <a:lnTo>
                    <a:pt x="793750" y="222250"/>
                  </a:lnTo>
                  <a:lnTo>
                    <a:pt x="788458" y="227542"/>
                  </a:lnTo>
                  <a:lnTo>
                    <a:pt x="785813" y="224896"/>
                  </a:lnTo>
                  <a:lnTo>
                    <a:pt x="783167" y="222250"/>
                  </a:lnTo>
                  <a:lnTo>
                    <a:pt x="777875" y="219604"/>
                  </a:lnTo>
                  <a:lnTo>
                    <a:pt x="775229" y="224896"/>
                  </a:lnTo>
                  <a:lnTo>
                    <a:pt x="772583" y="232834"/>
                  </a:lnTo>
                  <a:lnTo>
                    <a:pt x="769937" y="240771"/>
                  </a:lnTo>
                  <a:lnTo>
                    <a:pt x="764645" y="246063"/>
                  </a:lnTo>
                  <a:lnTo>
                    <a:pt x="759354" y="246063"/>
                  </a:lnTo>
                  <a:lnTo>
                    <a:pt x="754062" y="251354"/>
                  </a:lnTo>
                  <a:lnTo>
                    <a:pt x="748770" y="256646"/>
                  </a:lnTo>
                  <a:lnTo>
                    <a:pt x="746125" y="256646"/>
                  </a:lnTo>
                  <a:lnTo>
                    <a:pt x="740833" y="256646"/>
                  </a:lnTo>
                  <a:lnTo>
                    <a:pt x="746125" y="259292"/>
                  </a:lnTo>
                  <a:lnTo>
                    <a:pt x="748770" y="261938"/>
                  </a:lnTo>
                  <a:lnTo>
                    <a:pt x="748770" y="267229"/>
                  </a:lnTo>
                  <a:lnTo>
                    <a:pt x="746125" y="269875"/>
                  </a:lnTo>
                  <a:lnTo>
                    <a:pt x="748770" y="269875"/>
                  </a:lnTo>
                  <a:lnTo>
                    <a:pt x="754062" y="272521"/>
                  </a:lnTo>
                  <a:lnTo>
                    <a:pt x="756708" y="283104"/>
                  </a:lnTo>
                  <a:lnTo>
                    <a:pt x="759354" y="285750"/>
                  </a:lnTo>
                  <a:lnTo>
                    <a:pt x="762000" y="288396"/>
                  </a:lnTo>
                  <a:lnTo>
                    <a:pt x="764645" y="293688"/>
                  </a:lnTo>
                  <a:lnTo>
                    <a:pt x="764645" y="304271"/>
                  </a:lnTo>
                  <a:lnTo>
                    <a:pt x="767291" y="312209"/>
                  </a:lnTo>
                  <a:lnTo>
                    <a:pt x="769937" y="314854"/>
                  </a:lnTo>
                  <a:lnTo>
                    <a:pt x="772583" y="314854"/>
                  </a:lnTo>
                  <a:lnTo>
                    <a:pt x="772583" y="320146"/>
                  </a:lnTo>
                  <a:lnTo>
                    <a:pt x="772583" y="325438"/>
                  </a:lnTo>
                  <a:lnTo>
                    <a:pt x="775229" y="325438"/>
                  </a:lnTo>
                  <a:lnTo>
                    <a:pt x="777875" y="325438"/>
                  </a:lnTo>
                  <a:lnTo>
                    <a:pt x="777875" y="330729"/>
                  </a:lnTo>
                  <a:lnTo>
                    <a:pt x="777875" y="336021"/>
                  </a:lnTo>
                  <a:lnTo>
                    <a:pt x="775229" y="338667"/>
                  </a:lnTo>
                  <a:lnTo>
                    <a:pt x="767291" y="338667"/>
                  </a:lnTo>
                  <a:lnTo>
                    <a:pt x="762000" y="341313"/>
                  </a:lnTo>
                  <a:lnTo>
                    <a:pt x="759354" y="341313"/>
                  </a:lnTo>
                  <a:lnTo>
                    <a:pt x="756708" y="346604"/>
                  </a:lnTo>
                  <a:lnTo>
                    <a:pt x="756708" y="351896"/>
                  </a:lnTo>
                  <a:lnTo>
                    <a:pt x="759354" y="357188"/>
                  </a:lnTo>
                  <a:lnTo>
                    <a:pt x="756708" y="357188"/>
                  </a:lnTo>
                  <a:lnTo>
                    <a:pt x="746125" y="354542"/>
                  </a:lnTo>
                  <a:lnTo>
                    <a:pt x="740833" y="351896"/>
                  </a:lnTo>
                  <a:lnTo>
                    <a:pt x="738187" y="346604"/>
                  </a:lnTo>
                  <a:lnTo>
                    <a:pt x="738187" y="343959"/>
                  </a:lnTo>
                  <a:lnTo>
                    <a:pt x="738187" y="338667"/>
                  </a:lnTo>
                  <a:lnTo>
                    <a:pt x="743479" y="333375"/>
                  </a:lnTo>
                  <a:lnTo>
                    <a:pt x="743479" y="330729"/>
                  </a:lnTo>
                  <a:lnTo>
                    <a:pt x="743479" y="328084"/>
                  </a:lnTo>
                  <a:lnTo>
                    <a:pt x="735541" y="325438"/>
                  </a:lnTo>
                  <a:lnTo>
                    <a:pt x="727604" y="317500"/>
                  </a:lnTo>
                  <a:lnTo>
                    <a:pt x="724958" y="309563"/>
                  </a:lnTo>
                  <a:lnTo>
                    <a:pt x="724958" y="306917"/>
                  </a:lnTo>
                  <a:lnTo>
                    <a:pt x="727604" y="304271"/>
                  </a:lnTo>
                  <a:lnTo>
                    <a:pt x="730250" y="296334"/>
                  </a:lnTo>
                  <a:lnTo>
                    <a:pt x="732895" y="291042"/>
                  </a:lnTo>
                  <a:lnTo>
                    <a:pt x="727604" y="283104"/>
                  </a:lnTo>
                  <a:lnTo>
                    <a:pt x="724958" y="280459"/>
                  </a:lnTo>
                  <a:lnTo>
                    <a:pt x="719666" y="280459"/>
                  </a:lnTo>
                  <a:lnTo>
                    <a:pt x="719666" y="285750"/>
                  </a:lnTo>
                  <a:lnTo>
                    <a:pt x="717020" y="288396"/>
                  </a:lnTo>
                  <a:lnTo>
                    <a:pt x="711729" y="296334"/>
                  </a:lnTo>
                  <a:lnTo>
                    <a:pt x="706437" y="301625"/>
                  </a:lnTo>
                  <a:lnTo>
                    <a:pt x="706437" y="304271"/>
                  </a:lnTo>
                  <a:lnTo>
                    <a:pt x="709083" y="306917"/>
                  </a:lnTo>
                  <a:lnTo>
                    <a:pt x="711729" y="309563"/>
                  </a:lnTo>
                  <a:lnTo>
                    <a:pt x="714375" y="312209"/>
                  </a:lnTo>
                  <a:lnTo>
                    <a:pt x="711729" y="322792"/>
                  </a:lnTo>
                  <a:lnTo>
                    <a:pt x="709083" y="330729"/>
                  </a:lnTo>
                  <a:lnTo>
                    <a:pt x="709083" y="333375"/>
                  </a:lnTo>
                  <a:lnTo>
                    <a:pt x="711729" y="336021"/>
                  </a:lnTo>
                  <a:lnTo>
                    <a:pt x="714375" y="343959"/>
                  </a:lnTo>
                  <a:lnTo>
                    <a:pt x="714375" y="354542"/>
                  </a:lnTo>
                  <a:lnTo>
                    <a:pt x="714375" y="359834"/>
                  </a:lnTo>
                  <a:lnTo>
                    <a:pt x="711729" y="362479"/>
                  </a:lnTo>
                  <a:lnTo>
                    <a:pt x="709083" y="367771"/>
                  </a:lnTo>
                  <a:lnTo>
                    <a:pt x="706437" y="370417"/>
                  </a:lnTo>
                  <a:lnTo>
                    <a:pt x="711729" y="378354"/>
                  </a:lnTo>
                  <a:lnTo>
                    <a:pt x="711729" y="381000"/>
                  </a:lnTo>
                  <a:lnTo>
                    <a:pt x="701145" y="383646"/>
                  </a:lnTo>
                  <a:lnTo>
                    <a:pt x="693208" y="386292"/>
                  </a:lnTo>
                  <a:lnTo>
                    <a:pt x="685270" y="383646"/>
                  </a:lnTo>
                  <a:lnTo>
                    <a:pt x="682625" y="381000"/>
                  </a:lnTo>
                  <a:lnTo>
                    <a:pt x="679979" y="378354"/>
                  </a:lnTo>
                  <a:lnTo>
                    <a:pt x="679979" y="370417"/>
                  </a:lnTo>
                  <a:lnTo>
                    <a:pt x="682625" y="365125"/>
                  </a:lnTo>
                  <a:lnTo>
                    <a:pt x="682625" y="359834"/>
                  </a:lnTo>
                  <a:lnTo>
                    <a:pt x="682625" y="354542"/>
                  </a:lnTo>
                  <a:lnTo>
                    <a:pt x="685270" y="346604"/>
                  </a:lnTo>
                  <a:lnTo>
                    <a:pt x="687916" y="341313"/>
                  </a:lnTo>
                  <a:lnTo>
                    <a:pt x="690562" y="333375"/>
                  </a:lnTo>
                  <a:lnTo>
                    <a:pt x="685270" y="322792"/>
                  </a:lnTo>
                  <a:lnTo>
                    <a:pt x="677333" y="314854"/>
                  </a:lnTo>
                  <a:lnTo>
                    <a:pt x="674687" y="312209"/>
                  </a:lnTo>
                  <a:lnTo>
                    <a:pt x="672041" y="312209"/>
                  </a:lnTo>
                  <a:lnTo>
                    <a:pt x="666750" y="312209"/>
                  </a:lnTo>
                  <a:lnTo>
                    <a:pt x="664104" y="309563"/>
                  </a:lnTo>
                  <a:lnTo>
                    <a:pt x="664104" y="306917"/>
                  </a:lnTo>
                  <a:lnTo>
                    <a:pt x="666750" y="301625"/>
                  </a:lnTo>
                  <a:lnTo>
                    <a:pt x="672041" y="298979"/>
                  </a:lnTo>
                  <a:lnTo>
                    <a:pt x="672041" y="293688"/>
                  </a:lnTo>
                  <a:lnTo>
                    <a:pt x="672041" y="285750"/>
                  </a:lnTo>
                  <a:lnTo>
                    <a:pt x="669395" y="275167"/>
                  </a:lnTo>
                  <a:lnTo>
                    <a:pt x="672041" y="272521"/>
                  </a:lnTo>
                  <a:lnTo>
                    <a:pt x="677333" y="269875"/>
                  </a:lnTo>
                  <a:lnTo>
                    <a:pt x="674687" y="259292"/>
                  </a:lnTo>
                  <a:lnTo>
                    <a:pt x="674687" y="251354"/>
                  </a:lnTo>
                  <a:lnTo>
                    <a:pt x="677333" y="243417"/>
                  </a:lnTo>
                  <a:lnTo>
                    <a:pt x="679979" y="235479"/>
                  </a:lnTo>
                  <a:lnTo>
                    <a:pt x="685270" y="230188"/>
                  </a:lnTo>
                  <a:lnTo>
                    <a:pt x="687916" y="230188"/>
                  </a:lnTo>
                  <a:lnTo>
                    <a:pt x="690562" y="235479"/>
                  </a:lnTo>
                  <a:lnTo>
                    <a:pt x="690562" y="230188"/>
                  </a:lnTo>
                  <a:lnTo>
                    <a:pt x="687916" y="227542"/>
                  </a:lnTo>
                  <a:lnTo>
                    <a:pt x="685270" y="224896"/>
                  </a:lnTo>
                  <a:lnTo>
                    <a:pt x="687916" y="214313"/>
                  </a:lnTo>
                  <a:lnTo>
                    <a:pt x="687916" y="206375"/>
                  </a:lnTo>
                  <a:lnTo>
                    <a:pt x="687916" y="203729"/>
                  </a:lnTo>
                  <a:lnTo>
                    <a:pt x="687916" y="201084"/>
                  </a:lnTo>
                  <a:lnTo>
                    <a:pt x="690562" y="195792"/>
                  </a:lnTo>
                  <a:lnTo>
                    <a:pt x="690562" y="190500"/>
                  </a:lnTo>
                  <a:lnTo>
                    <a:pt x="687916" y="182563"/>
                  </a:lnTo>
                  <a:lnTo>
                    <a:pt x="687916" y="174625"/>
                  </a:lnTo>
                  <a:lnTo>
                    <a:pt x="690562" y="171979"/>
                  </a:lnTo>
                  <a:lnTo>
                    <a:pt x="693208" y="169334"/>
                  </a:lnTo>
                  <a:lnTo>
                    <a:pt x="695854" y="166688"/>
                  </a:lnTo>
                  <a:lnTo>
                    <a:pt x="695854" y="164042"/>
                  </a:lnTo>
                  <a:lnTo>
                    <a:pt x="693208" y="164042"/>
                  </a:lnTo>
                  <a:lnTo>
                    <a:pt x="695854" y="161396"/>
                  </a:lnTo>
                  <a:lnTo>
                    <a:pt x="698500" y="158750"/>
                  </a:lnTo>
                  <a:lnTo>
                    <a:pt x="701145" y="164042"/>
                  </a:lnTo>
                  <a:lnTo>
                    <a:pt x="703791" y="166688"/>
                  </a:lnTo>
                  <a:lnTo>
                    <a:pt x="709083" y="164042"/>
                  </a:lnTo>
                  <a:lnTo>
                    <a:pt x="714375" y="158750"/>
                  </a:lnTo>
                  <a:lnTo>
                    <a:pt x="714375" y="153459"/>
                  </a:lnTo>
                  <a:lnTo>
                    <a:pt x="717020" y="148167"/>
                  </a:lnTo>
                  <a:lnTo>
                    <a:pt x="722312" y="145521"/>
                  </a:lnTo>
                  <a:lnTo>
                    <a:pt x="727604" y="145521"/>
                  </a:lnTo>
                  <a:lnTo>
                    <a:pt x="730250" y="150813"/>
                  </a:lnTo>
                  <a:lnTo>
                    <a:pt x="735541" y="153459"/>
                  </a:lnTo>
                  <a:lnTo>
                    <a:pt x="740833" y="153459"/>
                  </a:lnTo>
                  <a:lnTo>
                    <a:pt x="748770" y="153459"/>
                  </a:lnTo>
                  <a:lnTo>
                    <a:pt x="756708" y="156104"/>
                  </a:lnTo>
                  <a:lnTo>
                    <a:pt x="762000" y="158750"/>
                  </a:lnTo>
                  <a:lnTo>
                    <a:pt x="769937" y="158750"/>
                  </a:lnTo>
                  <a:lnTo>
                    <a:pt x="775229" y="156104"/>
                  </a:lnTo>
                  <a:lnTo>
                    <a:pt x="783167" y="158750"/>
                  </a:lnTo>
                  <a:lnTo>
                    <a:pt x="791104" y="158750"/>
                  </a:lnTo>
                  <a:lnTo>
                    <a:pt x="801688" y="153459"/>
                  </a:lnTo>
                  <a:lnTo>
                    <a:pt x="812271" y="148167"/>
                  </a:lnTo>
                  <a:lnTo>
                    <a:pt x="817563" y="142875"/>
                  </a:lnTo>
                  <a:lnTo>
                    <a:pt x="817563" y="140229"/>
                  </a:lnTo>
                  <a:lnTo>
                    <a:pt x="820208" y="137584"/>
                  </a:lnTo>
                  <a:lnTo>
                    <a:pt x="825500" y="134938"/>
                  </a:lnTo>
                  <a:close/>
                  <a:moveTo>
                    <a:pt x="907521" y="116417"/>
                  </a:moveTo>
                  <a:lnTo>
                    <a:pt x="910166" y="116417"/>
                  </a:lnTo>
                  <a:lnTo>
                    <a:pt x="912812" y="119063"/>
                  </a:lnTo>
                  <a:lnTo>
                    <a:pt x="910166" y="121709"/>
                  </a:lnTo>
                  <a:lnTo>
                    <a:pt x="907521" y="127000"/>
                  </a:lnTo>
                  <a:lnTo>
                    <a:pt x="907521" y="129646"/>
                  </a:lnTo>
                  <a:lnTo>
                    <a:pt x="910166" y="132292"/>
                  </a:lnTo>
                  <a:lnTo>
                    <a:pt x="912812" y="134938"/>
                  </a:lnTo>
                  <a:lnTo>
                    <a:pt x="912812" y="140229"/>
                  </a:lnTo>
                  <a:lnTo>
                    <a:pt x="910166" y="145521"/>
                  </a:lnTo>
                  <a:lnTo>
                    <a:pt x="907521" y="150813"/>
                  </a:lnTo>
                  <a:lnTo>
                    <a:pt x="904875" y="153459"/>
                  </a:lnTo>
                  <a:lnTo>
                    <a:pt x="907521" y="156105"/>
                  </a:lnTo>
                  <a:lnTo>
                    <a:pt x="912812" y="158750"/>
                  </a:lnTo>
                  <a:lnTo>
                    <a:pt x="912812" y="156105"/>
                  </a:lnTo>
                  <a:lnTo>
                    <a:pt x="912812" y="153459"/>
                  </a:lnTo>
                  <a:lnTo>
                    <a:pt x="918104" y="150813"/>
                  </a:lnTo>
                  <a:lnTo>
                    <a:pt x="920750" y="150813"/>
                  </a:lnTo>
                  <a:lnTo>
                    <a:pt x="918104" y="148167"/>
                  </a:lnTo>
                  <a:lnTo>
                    <a:pt x="920750" y="142875"/>
                  </a:lnTo>
                  <a:lnTo>
                    <a:pt x="931333" y="140229"/>
                  </a:lnTo>
                  <a:lnTo>
                    <a:pt x="933979" y="145521"/>
                  </a:lnTo>
                  <a:lnTo>
                    <a:pt x="933979" y="150813"/>
                  </a:lnTo>
                  <a:lnTo>
                    <a:pt x="931333" y="156105"/>
                  </a:lnTo>
                  <a:lnTo>
                    <a:pt x="928687" y="158750"/>
                  </a:lnTo>
                  <a:lnTo>
                    <a:pt x="920750" y="161396"/>
                  </a:lnTo>
                  <a:lnTo>
                    <a:pt x="920750" y="164042"/>
                  </a:lnTo>
                  <a:lnTo>
                    <a:pt x="926041" y="164042"/>
                  </a:lnTo>
                  <a:lnTo>
                    <a:pt x="933979" y="166688"/>
                  </a:lnTo>
                  <a:lnTo>
                    <a:pt x="933979" y="171980"/>
                  </a:lnTo>
                  <a:lnTo>
                    <a:pt x="933979" y="177271"/>
                  </a:lnTo>
                  <a:lnTo>
                    <a:pt x="936625" y="179917"/>
                  </a:lnTo>
                  <a:lnTo>
                    <a:pt x="941916" y="185209"/>
                  </a:lnTo>
                  <a:lnTo>
                    <a:pt x="920750" y="174625"/>
                  </a:lnTo>
                  <a:lnTo>
                    <a:pt x="915458" y="174625"/>
                  </a:lnTo>
                  <a:lnTo>
                    <a:pt x="912812" y="177271"/>
                  </a:lnTo>
                  <a:lnTo>
                    <a:pt x="912812" y="179917"/>
                  </a:lnTo>
                  <a:lnTo>
                    <a:pt x="915458" y="182563"/>
                  </a:lnTo>
                  <a:lnTo>
                    <a:pt x="915458" y="185209"/>
                  </a:lnTo>
                  <a:lnTo>
                    <a:pt x="915458" y="187855"/>
                  </a:lnTo>
                  <a:lnTo>
                    <a:pt x="915458" y="193146"/>
                  </a:lnTo>
                  <a:lnTo>
                    <a:pt x="918104" y="198438"/>
                  </a:lnTo>
                  <a:lnTo>
                    <a:pt x="926041" y="216959"/>
                  </a:lnTo>
                  <a:lnTo>
                    <a:pt x="918104" y="211667"/>
                  </a:lnTo>
                  <a:lnTo>
                    <a:pt x="910166" y="206376"/>
                  </a:lnTo>
                  <a:lnTo>
                    <a:pt x="907521" y="203730"/>
                  </a:lnTo>
                  <a:lnTo>
                    <a:pt x="907521" y="201084"/>
                  </a:lnTo>
                  <a:lnTo>
                    <a:pt x="904875" y="198438"/>
                  </a:lnTo>
                  <a:lnTo>
                    <a:pt x="902229" y="195792"/>
                  </a:lnTo>
                  <a:lnTo>
                    <a:pt x="902229" y="190500"/>
                  </a:lnTo>
                  <a:lnTo>
                    <a:pt x="904875" y="182563"/>
                  </a:lnTo>
                  <a:lnTo>
                    <a:pt x="902229" y="177271"/>
                  </a:lnTo>
                  <a:lnTo>
                    <a:pt x="902229" y="174625"/>
                  </a:lnTo>
                  <a:lnTo>
                    <a:pt x="899583" y="171980"/>
                  </a:lnTo>
                  <a:lnTo>
                    <a:pt x="896937" y="169334"/>
                  </a:lnTo>
                  <a:lnTo>
                    <a:pt x="896937" y="166688"/>
                  </a:lnTo>
                  <a:lnTo>
                    <a:pt x="904875" y="164042"/>
                  </a:lnTo>
                  <a:lnTo>
                    <a:pt x="899583" y="161396"/>
                  </a:lnTo>
                  <a:lnTo>
                    <a:pt x="896937" y="161396"/>
                  </a:lnTo>
                  <a:lnTo>
                    <a:pt x="896937" y="156105"/>
                  </a:lnTo>
                  <a:lnTo>
                    <a:pt x="896937" y="148167"/>
                  </a:lnTo>
                  <a:lnTo>
                    <a:pt x="896937" y="132292"/>
                  </a:lnTo>
                  <a:lnTo>
                    <a:pt x="904875" y="121709"/>
                  </a:lnTo>
                  <a:close/>
                  <a:moveTo>
                    <a:pt x="584729" y="39688"/>
                  </a:moveTo>
                  <a:lnTo>
                    <a:pt x="590021" y="39688"/>
                  </a:lnTo>
                  <a:lnTo>
                    <a:pt x="592666" y="39688"/>
                  </a:lnTo>
                  <a:lnTo>
                    <a:pt x="597958" y="42334"/>
                  </a:lnTo>
                  <a:lnTo>
                    <a:pt x="605896" y="39688"/>
                  </a:lnTo>
                  <a:lnTo>
                    <a:pt x="621771" y="42334"/>
                  </a:lnTo>
                  <a:lnTo>
                    <a:pt x="627062" y="52917"/>
                  </a:lnTo>
                  <a:lnTo>
                    <a:pt x="629708" y="58209"/>
                  </a:lnTo>
                  <a:lnTo>
                    <a:pt x="632354" y="63500"/>
                  </a:lnTo>
                  <a:lnTo>
                    <a:pt x="627062" y="66146"/>
                  </a:lnTo>
                  <a:lnTo>
                    <a:pt x="624416" y="68792"/>
                  </a:lnTo>
                  <a:lnTo>
                    <a:pt x="624416" y="71438"/>
                  </a:lnTo>
                  <a:lnTo>
                    <a:pt x="619125" y="74084"/>
                  </a:lnTo>
                  <a:lnTo>
                    <a:pt x="621771" y="76730"/>
                  </a:lnTo>
                  <a:lnTo>
                    <a:pt x="627062" y="79375"/>
                  </a:lnTo>
                  <a:lnTo>
                    <a:pt x="629708" y="82021"/>
                  </a:lnTo>
                  <a:lnTo>
                    <a:pt x="632354" y="87313"/>
                  </a:lnTo>
                  <a:lnTo>
                    <a:pt x="632354" y="95250"/>
                  </a:lnTo>
                  <a:lnTo>
                    <a:pt x="635000" y="100542"/>
                  </a:lnTo>
                  <a:lnTo>
                    <a:pt x="640291" y="108480"/>
                  </a:lnTo>
                  <a:lnTo>
                    <a:pt x="645583" y="113771"/>
                  </a:lnTo>
                  <a:lnTo>
                    <a:pt x="648229" y="116417"/>
                  </a:lnTo>
                  <a:lnTo>
                    <a:pt x="645583" y="119063"/>
                  </a:lnTo>
                  <a:lnTo>
                    <a:pt x="635000" y="119063"/>
                  </a:lnTo>
                  <a:lnTo>
                    <a:pt x="640291" y="127000"/>
                  </a:lnTo>
                  <a:lnTo>
                    <a:pt x="645583" y="127000"/>
                  </a:lnTo>
                  <a:lnTo>
                    <a:pt x="650875" y="129646"/>
                  </a:lnTo>
                  <a:lnTo>
                    <a:pt x="658812" y="137584"/>
                  </a:lnTo>
                  <a:lnTo>
                    <a:pt x="664104" y="142875"/>
                  </a:lnTo>
                  <a:lnTo>
                    <a:pt x="666750" y="145521"/>
                  </a:lnTo>
                  <a:lnTo>
                    <a:pt x="666750" y="148167"/>
                  </a:lnTo>
                  <a:lnTo>
                    <a:pt x="666750" y="150813"/>
                  </a:lnTo>
                  <a:lnTo>
                    <a:pt x="664104" y="153459"/>
                  </a:lnTo>
                  <a:lnTo>
                    <a:pt x="653521" y="153459"/>
                  </a:lnTo>
                  <a:lnTo>
                    <a:pt x="645583" y="153459"/>
                  </a:lnTo>
                  <a:lnTo>
                    <a:pt x="645583" y="156105"/>
                  </a:lnTo>
                  <a:lnTo>
                    <a:pt x="640291" y="156105"/>
                  </a:lnTo>
                  <a:lnTo>
                    <a:pt x="637646" y="158750"/>
                  </a:lnTo>
                  <a:lnTo>
                    <a:pt x="635000" y="158750"/>
                  </a:lnTo>
                  <a:lnTo>
                    <a:pt x="637646" y="161396"/>
                  </a:lnTo>
                  <a:lnTo>
                    <a:pt x="635000" y="161396"/>
                  </a:lnTo>
                  <a:lnTo>
                    <a:pt x="635000" y="169334"/>
                  </a:lnTo>
                  <a:lnTo>
                    <a:pt x="632354" y="182563"/>
                  </a:lnTo>
                  <a:lnTo>
                    <a:pt x="632354" y="187855"/>
                  </a:lnTo>
                  <a:lnTo>
                    <a:pt x="629708" y="190500"/>
                  </a:lnTo>
                  <a:lnTo>
                    <a:pt x="627062" y="193146"/>
                  </a:lnTo>
                  <a:lnTo>
                    <a:pt x="629708" y="198438"/>
                  </a:lnTo>
                  <a:lnTo>
                    <a:pt x="632354" y="201084"/>
                  </a:lnTo>
                  <a:lnTo>
                    <a:pt x="635000" y="201084"/>
                  </a:lnTo>
                  <a:lnTo>
                    <a:pt x="637646" y="201084"/>
                  </a:lnTo>
                  <a:lnTo>
                    <a:pt x="635000" y="209021"/>
                  </a:lnTo>
                  <a:lnTo>
                    <a:pt x="632354" y="211667"/>
                  </a:lnTo>
                  <a:lnTo>
                    <a:pt x="627062" y="211667"/>
                  </a:lnTo>
                  <a:lnTo>
                    <a:pt x="621771" y="211667"/>
                  </a:lnTo>
                  <a:lnTo>
                    <a:pt x="621771" y="216959"/>
                  </a:lnTo>
                  <a:lnTo>
                    <a:pt x="619125" y="219605"/>
                  </a:lnTo>
                  <a:lnTo>
                    <a:pt x="613833" y="222250"/>
                  </a:lnTo>
                  <a:lnTo>
                    <a:pt x="608541" y="224896"/>
                  </a:lnTo>
                  <a:lnTo>
                    <a:pt x="605896" y="222250"/>
                  </a:lnTo>
                  <a:lnTo>
                    <a:pt x="605896" y="224896"/>
                  </a:lnTo>
                  <a:lnTo>
                    <a:pt x="608541" y="224896"/>
                  </a:lnTo>
                  <a:lnTo>
                    <a:pt x="608541" y="227542"/>
                  </a:lnTo>
                  <a:lnTo>
                    <a:pt x="603250" y="230188"/>
                  </a:lnTo>
                  <a:lnTo>
                    <a:pt x="597958" y="235480"/>
                  </a:lnTo>
                  <a:lnTo>
                    <a:pt x="600604" y="235480"/>
                  </a:lnTo>
                  <a:lnTo>
                    <a:pt x="603250" y="238125"/>
                  </a:lnTo>
                  <a:lnTo>
                    <a:pt x="600604" y="240771"/>
                  </a:lnTo>
                  <a:lnTo>
                    <a:pt x="597958" y="246063"/>
                  </a:lnTo>
                  <a:lnTo>
                    <a:pt x="600604" y="246063"/>
                  </a:lnTo>
                  <a:lnTo>
                    <a:pt x="592666" y="251355"/>
                  </a:lnTo>
                  <a:lnTo>
                    <a:pt x="595312" y="251355"/>
                  </a:lnTo>
                  <a:lnTo>
                    <a:pt x="597958" y="251355"/>
                  </a:lnTo>
                  <a:lnTo>
                    <a:pt x="597958" y="256646"/>
                  </a:lnTo>
                  <a:lnTo>
                    <a:pt x="597958" y="261938"/>
                  </a:lnTo>
                  <a:lnTo>
                    <a:pt x="603250" y="261938"/>
                  </a:lnTo>
                  <a:lnTo>
                    <a:pt x="605896" y="264584"/>
                  </a:lnTo>
                  <a:lnTo>
                    <a:pt x="597958" y="280459"/>
                  </a:lnTo>
                  <a:lnTo>
                    <a:pt x="592666" y="275167"/>
                  </a:lnTo>
                  <a:lnTo>
                    <a:pt x="595312" y="283105"/>
                  </a:lnTo>
                  <a:lnTo>
                    <a:pt x="597958" y="288396"/>
                  </a:lnTo>
                  <a:lnTo>
                    <a:pt x="595312" y="296334"/>
                  </a:lnTo>
                  <a:lnTo>
                    <a:pt x="582083" y="312209"/>
                  </a:lnTo>
                  <a:lnTo>
                    <a:pt x="574146" y="317501"/>
                  </a:lnTo>
                  <a:lnTo>
                    <a:pt x="563562" y="325438"/>
                  </a:lnTo>
                  <a:lnTo>
                    <a:pt x="555625" y="328084"/>
                  </a:lnTo>
                  <a:lnTo>
                    <a:pt x="552979" y="325438"/>
                  </a:lnTo>
                  <a:lnTo>
                    <a:pt x="552979" y="322792"/>
                  </a:lnTo>
                  <a:lnTo>
                    <a:pt x="550333" y="314855"/>
                  </a:lnTo>
                  <a:lnTo>
                    <a:pt x="547687" y="309563"/>
                  </a:lnTo>
                  <a:lnTo>
                    <a:pt x="542396" y="304271"/>
                  </a:lnTo>
                  <a:lnTo>
                    <a:pt x="539750" y="301626"/>
                  </a:lnTo>
                  <a:lnTo>
                    <a:pt x="534458" y="304271"/>
                  </a:lnTo>
                  <a:lnTo>
                    <a:pt x="529166" y="304271"/>
                  </a:lnTo>
                  <a:lnTo>
                    <a:pt x="526521" y="301626"/>
                  </a:lnTo>
                  <a:lnTo>
                    <a:pt x="529166" y="301626"/>
                  </a:lnTo>
                  <a:lnTo>
                    <a:pt x="529166" y="298980"/>
                  </a:lnTo>
                  <a:lnTo>
                    <a:pt x="526521" y="296334"/>
                  </a:lnTo>
                  <a:lnTo>
                    <a:pt x="521229" y="296334"/>
                  </a:lnTo>
                  <a:lnTo>
                    <a:pt x="518583" y="296334"/>
                  </a:lnTo>
                  <a:lnTo>
                    <a:pt x="518583" y="298980"/>
                  </a:lnTo>
                  <a:lnTo>
                    <a:pt x="513291" y="296334"/>
                  </a:lnTo>
                  <a:lnTo>
                    <a:pt x="510645" y="296334"/>
                  </a:lnTo>
                  <a:lnTo>
                    <a:pt x="505354" y="296334"/>
                  </a:lnTo>
                  <a:lnTo>
                    <a:pt x="502708" y="301626"/>
                  </a:lnTo>
                  <a:lnTo>
                    <a:pt x="500062" y="301626"/>
                  </a:lnTo>
                  <a:lnTo>
                    <a:pt x="494770" y="298980"/>
                  </a:lnTo>
                  <a:lnTo>
                    <a:pt x="489479" y="296334"/>
                  </a:lnTo>
                  <a:lnTo>
                    <a:pt x="484187" y="296334"/>
                  </a:lnTo>
                  <a:lnTo>
                    <a:pt x="481541" y="296334"/>
                  </a:lnTo>
                  <a:lnTo>
                    <a:pt x="470958" y="301626"/>
                  </a:lnTo>
                  <a:lnTo>
                    <a:pt x="470958" y="298980"/>
                  </a:lnTo>
                  <a:lnTo>
                    <a:pt x="468312" y="298980"/>
                  </a:lnTo>
                  <a:lnTo>
                    <a:pt x="468312" y="291042"/>
                  </a:lnTo>
                  <a:lnTo>
                    <a:pt x="468312" y="288396"/>
                  </a:lnTo>
                  <a:lnTo>
                    <a:pt x="465666" y="293688"/>
                  </a:lnTo>
                  <a:lnTo>
                    <a:pt x="463020" y="291042"/>
                  </a:lnTo>
                  <a:lnTo>
                    <a:pt x="460375" y="288396"/>
                  </a:lnTo>
                  <a:lnTo>
                    <a:pt x="457729" y="288396"/>
                  </a:lnTo>
                  <a:lnTo>
                    <a:pt x="455083" y="291042"/>
                  </a:lnTo>
                  <a:lnTo>
                    <a:pt x="452437" y="293688"/>
                  </a:lnTo>
                  <a:lnTo>
                    <a:pt x="449791" y="291042"/>
                  </a:lnTo>
                  <a:lnTo>
                    <a:pt x="444500" y="291042"/>
                  </a:lnTo>
                  <a:lnTo>
                    <a:pt x="441854" y="291042"/>
                  </a:lnTo>
                  <a:lnTo>
                    <a:pt x="439208" y="291042"/>
                  </a:lnTo>
                  <a:lnTo>
                    <a:pt x="436562" y="288396"/>
                  </a:lnTo>
                  <a:lnTo>
                    <a:pt x="433916" y="288396"/>
                  </a:lnTo>
                  <a:lnTo>
                    <a:pt x="428625" y="291042"/>
                  </a:lnTo>
                  <a:lnTo>
                    <a:pt x="425979" y="291042"/>
                  </a:lnTo>
                  <a:lnTo>
                    <a:pt x="423333" y="280459"/>
                  </a:lnTo>
                  <a:lnTo>
                    <a:pt x="423333" y="267230"/>
                  </a:lnTo>
                  <a:lnTo>
                    <a:pt x="423333" y="256646"/>
                  </a:lnTo>
                  <a:lnTo>
                    <a:pt x="423333" y="251355"/>
                  </a:lnTo>
                  <a:lnTo>
                    <a:pt x="420687" y="248709"/>
                  </a:lnTo>
                  <a:lnTo>
                    <a:pt x="418041" y="246063"/>
                  </a:lnTo>
                  <a:lnTo>
                    <a:pt x="423333" y="240771"/>
                  </a:lnTo>
                  <a:lnTo>
                    <a:pt x="423333" y="235480"/>
                  </a:lnTo>
                  <a:lnTo>
                    <a:pt x="420687" y="230188"/>
                  </a:lnTo>
                  <a:lnTo>
                    <a:pt x="418041" y="227542"/>
                  </a:lnTo>
                  <a:lnTo>
                    <a:pt x="415395" y="222250"/>
                  </a:lnTo>
                  <a:lnTo>
                    <a:pt x="415395" y="219605"/>
                  </a:lnTo>
                  <a:lnTo>
                    <a:pt x="410104" y="222250"/>
                  </a:lnTo>
                  <a:lnTo>
                    <a:pt x="404812" y="222250"/>
                  </a:lnTo>
                  <a:lnTo>
                    <a:pt x="404812" y="219605"/>
                  </a:lnTo>
                  <a:lnTo>
                    <a:pt x="404812" y="216959"/>
                  </a:lnTo>
                  <a:lnTo>
                    <a:pt x="407458" y="209021"/>
                  </a:lnTo>
                  <a:lnTo>
                    <a:pt x="404812" y="209021"/>
                  </a:lnTo>
                  <a:lnTo>
                    <a:pt x="399520" y="209021"/>
                  </a:lnTo>
                  <a:lnTo>
                    <a:pt x="396875" y="209021"/>
                  </a:lnTo>
                  <a:lnTo>
                    <a:pt x="396875" y="203730"/>
                  </a:lnTo>
                  <a:lnTo>
                    <a:pt x="396875" y="195792"/>
                  </a:lnTo>
                  <a:lnTo>
                    <a:pt x="399520" y="195792"/>
                  </a:lnTo>
                  <a:lnTo>
                    <a:pt x="402166" y="198438"/>
                  </a:lnTo>
                  <a:lnTo>
                    <a:pt x="404812" y="195792"/>
                  </a:lnTo>
                  <a:lnTo>
                    <a:pt x="402166" y="193146"/>
                  </a:lnTo>
                  <a:lnTo>
                    <a:pt x="399520" y="193146"/>
                  </a:lnTo>
                  <a:lnTo>
                    <a:pt x="396875" y="193146"/>
                  </a:lnTo>
                  <a:lnTo>
                    <a:pt x="394229" y="187855"/>
                  </a:lnTo>
                  <a:lnTo>
                    <a:pt x="396875" y="182563"/>
                  </a:lnTo>
                  <a:lnTo>
                    <a:pt x="399520" y="179917"/>
                  </a:lnTo>
                  <a:lnTo>
                    <a:pt x="399520" y="177271"/>
                  </a:lnTo>
                  <a:lnTo>
                    <a:pt x="396875" y="171980"/>
                  </a:lnTo>
                  <a:lnTo>
                    <a:pt x="394229" y="169334"/>
                  </a:lnTo>
                  <a:lnTo>
                    <a:pt x="396875" y="164042"/>
                  </a:lnTo>
                  <a:lnTo>
                    <a:pt x="396875" y="158750"/>
                  </a:lnTo>
                  <a:lnTo>
                    <a:pt x="399520" y="153459"/>
                  </a:lnTo>
                  <a:lnTo>
                    <a:pt x="396875" y="142875"/>
                  </a:lnTo>
                  <a:lnTo>
                    <a:pt x="396875" y="137584"/>
                  </a:lnTo>
                  <a:lnTo>
                    <a:pt x="399520" y="132292"/>
                  </a:lnTo>
                  <a:lnTo>
                    <a:pt x="402166" y="129646"/>
                  </a:lnTo>
                  <a:lnTo>
                    <a:pt x="402166" y="127000"/>
                  </a:lnTo>
                  <a:lnTo>
                    <a:pt x="402166" y="124355"/>
                  </a:lnTo>
                  <a:lnTo>
                    <a:pt x="407458" y="121709"/>
                  </a:lnTo>
                  <a:lnTo>
                    <a:pt x="410104" y="124355"/>
                  </a:lnTo>
                  <a:lnTo>
                    <a:pt x="410104" y="127000"/>
                  </a:lnTo>
                  <a:lnTo>
                    <a:pt x="412750" y="127000"/>
                  </a:lnTo>
                  <a:lnTo>
                    <a:pt x="415395" y="132292"/>
                  </a:lnTo>
                  <a:lnTo>
                    <a:pt x="420687" y="134938"/>
                  </a:lnTo>
                  <a:lnTo>
                    <a:pt x="420687" y="140230"/>
                  </a:lnTo>
                  <a:lnTo>
                    <a:pt x="420687" y="142875"/>
                  </a:lnTo>
                  <a:lnTo>
                    <a:pt x="423333" y="145521"/>
                  </a:lnTo>
                  <a:lnTo>
                    <a:pt x="428625" y="148167"/>
                  </a:lnTo>
                  <a:lnTo>
                    <a:pt x="428625" y="150813"/>
                  </a:lnTo>
                  <a:lnTo>
                    <a:pt x="431270" y="156105"/>
                  </a:lnTo>
                  <a:lnTo>
                    <a:pt x="436562" y="158750"/>
                  </a:lnTo>
                  <a:lnTo>
                    <a:pt x="447145" y="156105"/>
                  </a:lnTo>
                  <a:lnTo>
                    <a:pt x="457729" y="153459"/>
                  </a:lnTo>
                  <a:lnTo>
                    <a:pt x="465666" y="153459"/>
                  </a:lnTo>
                  <a:lnTo>
                    <a:pt x="468312" y="153459"/>
                  </a:lnTo>
                  <a:lnTo>
                    <a:pt x="473604" y="150813"/>
                  </a:lnTo>
                  <a:lnTo>
                    <a:pt x="478895" y="148167"/>
                  </a:lnTo>
                  <a:lnTo>
                    <a:pt x="481541" y="145521"/>
                  </a:lnTo>
                  <a:lnTo>
                    <a:pt x="481541" y="142875"/>
                  </a:lnTo>
                  <a:lnTo>
                    <a:pt x="486833" y="140230"/>
                  </a:lnTo>
                  <a:lnTo>
                    <a:pt x="492125" y="137584"/>
                  </a:lnTo>
                  <a:lnTo>
                    <a:pt x="497416" y="137584"/>
                  </a:lnTo>
                  <a:lnTo>
                    <a:pt x="500062" y="137584"/>
                  </a:lnTo>
                  <a:lnTo>
                    <a:pt x="500062" y="140230"/>
                  </a:lnTo>
                  <a:lnTo>
                    <a:pt x="502708" y="142875"/>
                  </a:lnTo>
                  <a:lnTo>
                    <a:pt x="508000" y="145521"/>
                  </a:lnTo>
                  <a:lnTo>
                    <a:pt x="518583" y="145521"/>
                  </a:lnTo>
                  <a:lnTo>
                    <a:pt x="531812" y="140230"/>
                  </a:lnTo>
                  <a:lnTo>
                    <a:pt x="537104" y="137584"/>
                  </a:lnTo>
                  <a:lnTo>
                    <a:pt x="539750" y="134938"/>
                  </a:lnTo>
                  <a:lnTo>
                    <a:pt x="545041" y="129646"/>
                  </a:lnTo>
                  <a:lnTo>
                    <a:pt x="547687" y="124355"/>
                  </a:lnTo>
                  <a:lnTo>
                    <a:pt x="550333" y="119063"/>
                  </a:lnTo>
                  <a:lnTo>
                    <a:pt x="552979" y="108480"/>
                  </a:lnTo>
                  <a:lnTo>
                    <a:pt x="555625" y="95250"/>
                  </a:lnTo>
                  <a:lnTo>
                    <a:pt x="558271" y="89959"/>
                  </a:lnTo>
                  <a:lnTo>
                    <a:pt x="563562" y="84667"/>
                  </a:lnTo>
                  <a:lnTo>
                    <a:pt x="568854" y="79375"/>
                  </a:lnTo>
                  <a:lnTo>
                    <a:pt x="574146" y="74084"/>
                  </a:lnTo>
                  <a:lnTo>
                    <a:pt x="574146" y="63500"/>
                  </a:lnTo>
                  <a:lnTo>
                    <a:pt x="574146" y="52917"/>
                  </a:lnTo>
                  <a:lnTo>
                    <a:pt x="574146" y="50271"/>
                  </a:lnTo>
                  <a:lnTo>
                    <a:pt x="576791" y="47625"/>
                  </a:lnTo>
                  <a:lnTo>
                    <a:pt x="576791" y="44980"/>
                  </a:lnTo>
                  <a:lnTo>
                    <a:pt x="579437" y="42334"/>
                  </a:lnTo>
                  <a:close/>
                  <a:moveTo>
                    <a:pt x="10583" y="0"/>
                  </a:moveTo>
                  <a:lnTo>
                    <a:pt x="13229" y="0"/>
                  </a:lnTo>
                  <a:lnTo>
                    <a:pt x="23812" y="5292"/>
                  </a:lnTo>
                  <a:lnTo>
                    <a:pt x="34396" y="10583"/>
                  </a:lnTo>
                  <a:lnTo>
                    <a:pt x="42333" y="13229"/>
                  </a:lnTo>
                  <a:lnTo>
                    <a:pt x="47625" y="13229"/>
                  </a:lnTo>
                  <a:lnTo>
                    <a:pt x="55562" y="10583"/>
                  </a:lnTo>
                  <a:lnTo>
                    <a:pt x="60854" y="10583"/>
                  </a:lnTo>
                  <a:lnTo>
                    <a:pt x="63500" y="10583"/>
                  </a:lnTo>
                  <a:lnTo>
                    <a:pt x="68791" y="13229"/>
                  </a:lnTo>
                  <a:lnTo>
                    <a:pt x="71437" y="13229"/>
                  </a:lnTo>
                  <a:lnTo>
                    <a:pt x="74083" y="15875"/>
                  </a:lnTo>
                  <a:lnTo>
                    <a:pt x="76729" y="21167"/>
                  </a:lnTo>
                  <a:lnTo>
                    <a:pt x="79375" y="29104"/>
                  </a:lnTo>
                  <a:lnTo>
                    <a:pt x="82021" y="31750"/>
                  </a:lnTo>
                  <a:lnTo>
                    <a:pt x="87312" y="34396"/>
                  </a:lnTo>
                  <a:lnTo>
                    <a:pt x="89958" y="37042"/>
                  </a:lnTo>
                  <a:lnTo>
                    <a:pt x="92604" y="39687"/>
                  </a:lnTo>
                  <a:lnTo>
                    <a:pt x="92604" y="44979"/>
                  </a:lnTo>
                  <a:lnTo>
                    <a:pt x="89958" y="47625"/>
                  </a:lnTo>
                  <a:lnTo>
                    <a:pt x="97895" y="52917"/>
                  </a:lnTo>
                  <a:lnTo>
                    <a:pt x="105833" y="55562"/>
                  </a:lnTo>
                  <a:lnTo>
                    <a:pt x="105833" y="58208"/>
                  </a:lnTo>
                  <a:lnTo>
                    <a:pt x="108479" y="60854"/>
                  </a:lnTo>
                  <a:lnTo>
                    <a:pt x="116416" y="63500"/>
                  </a:lnTo>
                  <a:lnTo>
                    <a:pt x="129645" y="71437"/>
                  </a:lnTo>
                  <a:lnTo>
                    <a:pt x="137583" y="79375"/>
                  </a:lnTo>
                  <a:lnTo>
                    <a:pt x="140229" y="87312"/>
                  </a:lnTo>
                  <a:lnTo>
                    <a:pt x="142875" y="92604"/>
                  </a:lnTo>
                  <a:lnTo>
                    <a:pt x="145520" y="92604"/>
                  </a:lnTo>
                  <a:lnTo>
                    <a:pt x="148166" y="95250"/>
                  </a:lnTo>
                  <a:lnTo>
                    <a:pt x="150812" y="103187"/>
                  </a:lnTo>
                  <a:lnTo>
                    <a:pt x="153458" y="108479"/>
                  </a:lnTo>
                  <a:lnTo>
                    <a:pt x="158750" y="108479"/>
                  </a:lnTo>
                  <a:lnTo>
                    <a:pt x="161395" y="113771"/>
                  </a:lnTo>
                  <a:lnTo>
                    <a:pt x="169333" y="124354"/>
                  </a:lnTo>
                  <a:lnTo>
                    <a:pt x="169333" y="119062"/>
                  </a:lnTo>
                  <a:lnTo>
                    <a:pt x="166687" y="113771"/>
                  </a:lnTo>
                  <a:lnTo>
                    <a:pt x="166687" y="111125"/>
                  </a:lnTo>
                  <a:lnTo>
                    <a:pt x="169333" y="111125"/>
                  </a:lnTo>
                  <a:lnTo>
                    <a:pt x="171979" y="111125"/>
                  </a:lnTo>
                  <a:lnTo>
                    <a:pt x="174625" y="113771"/>
                  </a:lnTo>
                  <a:lnTo>
                    <a:pt x="177270" y="119062"/>
                  </a:lnTo>
                  <a:lnTo>
                    <a:pt x="179916" y="124354"/>
                  </a:lnTo>
                  <a:lnTo>
                    <a:pt x="182562" y="127000"/>
                  </a:lnTo>
                  <a:lnTo>
                    <a:pt x="185208" y="127000"/>
                  </a:lnTo>
                  <a:lnTo>
                    <a:pt x="190500" y="127000"/>
                  </a:lnTo>
                  <a:lnTo>
                    <a:pt x="193145" y="129646"/>
                  </a:lnTo>
                  <a:lnTo>
                    <a:pt x="201083" y="142875"/>
                  </a:lnTo>
                  <a:lnTo>
                    <a:pt x="209020" y="156104"/>
                  </a:lnTo>
                  <a:lnTo>
                    <a:pt x="211666" y="158750"/>
                  </a:lnTo>
                  <a:lnTo>
                    <a:pt x="216958" y="161396"/>
                  </a:lnTo>
                  <a:lnTo>
                    <a:pt x="222250" y="164042"/>
                  </a:lnTo>
                  <a:lnTo>
                    <a:pt x="227541" y="166687"/>
                  </a:lnTo>
                  <a:lnTo>
                    <a:pt x="230187" y="171979"/>
                  </a:lnTo>
                  <a:lnTo>
                    <a:pt x="230187" y="174625"/>
                  </a:lnTo>
                  <a:lnTo>
                    <a:pt x="219604" y="179917"/>
                  </a:lnTo>
                  <a:lnTo>
                    <a:pt x="211666" y="185208"/>
                  </a:lnTo>
                  <a:lnTo>
                    <a:pt x="232833" y="177271"/>
                  </a:lnTo>
                  <a:lnTo>
                    <a:pt x="238125" y="174625"/>
                  </a:lnTo>
                  <a:lnTo>
                    <a:pt x="240770" y="174625"/>
                  </a:lnTo>
                  <a:lnTo>
                    <a:pt x="246062" y="177271"/>
                  </a:lnTo>
                  <a:lnTo>
                    <a:pt x="251354" y="182562"/>
                  </a:lnTo>
                  <a:lnTo>
                    <a:pt x="253999" y="185208"/>
                  </a:lnTo>
                  <a:lnTo>
                    <a:pt x="251354" y="187854"/>
                  </a:lnTo>
                  <a:lnTo>
                    <a:pt x="240770" y="193146"/>
                  </a:lnTo>
                  <a:lnTo>
                    <a:pt x="232833" y="198437"/>
                  </a:lnTo>
                  <a:lnTo>
                    <a:pt x="230187" y="198437"/>
                  </a:lnTo>
                  <a:lnTo>
                    <a:pt x="232833" y="201083"/>
                  </a:lnTo>
                  <a:lnTo>
                    <a:pt x="238125" y="203729"/>
                  </a:lnTo>
                  <a:lnTo>
                    <a:pt x="238125" y="206375"/>
                  </a:lnTo>
                  <a:lnTo>
                    <a:pt x="238125" y="209021"/>
                  </a:lnTo>
                  <a:lnTo>
                    <a:pt x="238125" y="214312"/>
                  </a:lnTo>
                  <a:lnTo>
                    <a:pt x="238125" y="216958"/>
                  </a:lnTo>
                  <a:lnTo>
                    <a:pt x="243416" y="219604"/>
                  </a:lnTo>
                  <a:lnTo>
                    <a:pt x="248708" y="224896"/>
                  </a:lnTo>
                  <a:lnTo>
                    <a:pt x="251354" y="224896"/>
                  </a:lnTo>
                  <a:lnTo>
                    <a:pt x="259291" y="224896"/>
                  </a:lnTo>
                  <a:lnTo>
                    <a:pt x="264583" y="224896"/>
                  </a:lnTo>
                  <a:lnTo>
                    <a:pt x="267229" y="224896"/>
                  </a:lnTo>
                  <a:lnTo>
                    <a:pt x="269874" y="232833"/>
                  </a:lnTo>
                  <a:lnTo>
                    <a:pt x="267229" y="240771"/>
                  </a:lnTo>
                  <a:lnTo>
                    <a:pt x="267229" y="248708"/>
                  </a:lnTo>
                  <a:lnTo>
                    <a:pt x="269874" y="251354"/>
                  </a:lnTo>
                  <a:lnTo>
                    <a:pt x="275166" y="251354"/>
                  </a:lnTo>
                  <a:lnTo>
                    <a:pt x="277812" y="251354"/>
                  </a:lnTo>
                  <a:lnTo>
                    <a:pt x="280458" y="251354"/>
                  </a:lnTo>
                  <a:lnTo>
                    <a:pt x="280458" y="256646"/>
                  </a:lnTo>
                  <a:lnTo>
                    <a:pt x="277812" y="267229"/>
                  </a:lnTo>
                  <a:lnTo>
                    <a:pt x="277812" y="275167"/>
                  </a:lnTo>
                  <a:lnTo>
                    <a:pt x="280458" y="267229"/>
                  </a:lnTo>
                  <a:lnTo>
                    <a:pt x="280458" y="264583"/>
                  </a:lnTo>
                  <a:lnTo>
                    <a:pt x="291041" y="267229"/>
                  </a:lnTo>
                  <a:lnTo>
                    <a:pt x="298979" y="269875"/>
                  </a:lnTo>
                  <a:lnTo>
                    <a:pt x="301624" y="275167"/>
                  </a:lnTo>
                  <a:lnTo>
                    <a:pt x="301624" y="277812"/>
                  </a:lnTo>
                  <a:lnTo>
                    <a:pt x="304270" y="277812"/>
                  </a:lnTo>
                  <a:lnTo>
                    <a:pt x="306916" y="280458"/>
                  </a:lnTo>
                  <a:lnTo>
                    <a:pt x="309562" y="283104"/>
                  </a:lnTo>
                  <a:lnTo>
                    <a:pt x="306916" y="283104"/>
                  </a:lnTo>
                  <a:lnTo>
                    <a:pt x="309562" y="285750"/>
                  </a:lnTo>
                  <a:lnTo>
                    <a:pt x="312208" y="285750"/>
                  </a:lnTo>
                  <a:lnTo>
                    <a:pt x="312208" y="288396"/>
                  </a:lnTo>
                  <a:lnTo>
                    <a:pt x="306916" y="291042"/>
                  </a:lnTo>
                  <a:lnTo>
                    <a:pt x="304270" y="296333"/>
                  </a:lnTo>
                  <a:lnTo>
                    <a:pt x="304270" y="298979"/>
                  </a:lnTo>
                  <a:lnTo>
                    <a:pt x="304270" y="304271"/>
                  </a:lnTo>
                  <a:lnTo>
                    <a:pt x="306916" y="306917"/>
                  </a:lnTo>
                  <a:lnTo>
                    <a:pt x="306916" y="309562"/>
                  </a:lnTo>
                  <a:lnTo>
                    <a:pt x="304270" y="317500"/>
                  </a:lnTo>
                  <a:lnTo>
                    <a:pt x="301624" y="328083"/>
                  </a:lnTo>
                  <a:lnTo>
                    <a:pt x="301624" y="330729"/>
                  </a:lnTo>
                  <a:lnTo>
                    <a:pt x="304270" y="336021"/>
                  </a:lnTo>
                  <a:lnTo>
                    <a:pt x="301624" y="351896"/>
                  </a:lnTo>
                  <a:lnTo>
                    <a:pt x="304270" y="378354"/>
                  </a:lnTo>
                  <a:lnTo>
                    <a:pt x="304270" y="381000"/>
                  </a:lnTo>
                  <a:lnTo>
                    <a:pt x="301624" y="383646"/>
                  </a:lnTo>
                  <a:lnTo>
                    <a:pt x="296333" y="378354"/>
                  </a:lnTo>
                  <a:lnTo>
                    <a:pt x="293687" y="373063"/>
                  </a:lnTo>
                  <a:lnTo>
                    <a:pt x="291041" y="373063"/>
                  </a:lnTo>
                  <a:lnTo>
                    <a:pt x="291041" y="375708"/>
                  </a:lnTo>
                  <a:lnTo>
                    <a:pt x="291041" y="381000"/>
                  </a:lnTo>
                  <a:lnTo>
                    <a:pt x="285749" y="381000"/>
                  </a:lnTo>
                  <a:lnTo>
                    <a:pt x="280458" y="378354"/>
                  </a:lnTo>
                  <a:lnTo>
                    <a:pt x="275166" y="375708"/>
                  </a:lnTo>
                  <a:lnTo>
                    <a:pt x="272520" y="375708"/>
                  </a:lnTo>
                  <a:lnTo>
                    <a:pt x="269874" y="375708"/>
                  </a:lnTo>
                  <a:lnTo>
                    <a:pt x="267229" y="373063"/>
                  </a:lnTo>
                  <a:lnTo>
                    <a:pt x="264583" y="373063"/>
                  </a:lnTo>
                  <a:lnTo>
                    <a:pt x="267229" y="378354"/>
                  </a:lnTo>
                  <a:lnTo>
                    <a:pt x="272520" y="381000"/>
                  </a:lnTo>
                  <a:lnTo>
                    <a:pt x="269874" y="383646"/>
                  </a:lnTo>
                  <a:lnTo>
                    <a:pt x="264583" y="378354"/>
                  </a:lnTo>
                  <a:lnTo>
                    <a:pt x="261937" y="373063"/>
                  </a:lnTo>
                  <a:lnTo>
                    <a:pt x="259291" y="367771"/>
                  </a:lnTo>
                  <a:lnTo>
                    <a:pt x="253999" y="365125"/>
                  </a:lnTo>
                  <a:lnTo>
                    <a:pt x="251354" y="359833"/>
                  </a:lnTo>
                  <a:lnTo>
                    <a:pt x="248708" y="357188"/>
                  </a:lnTo>
                  <a:lnTo>
                    <a:pt x="246062" y="351896"/>
                  </a:lnTo>
                  <a:lnTo>
                    <a:pt x="240770" y="351896"/>
                  </a:lnTo>
                  <a:lnTo>
                    <a:pt x="232833" y="349250"/>
                  </a:lnTo>
                  <a:lnTo>
                    <a:pt x="227541" y="341313"/>
                  </a:lnTo>
                  <a:lnTo>
                    <a:pt x="222250" y="333375"/>
                  </a:lnTo>
                  <a:lnTo>
                    <a:pt x="211666" y="325437"/>
                  </a:lnTo>
                  <a:lnTo>
                    <a:pt x="206375" y="317500"/>
                  </a:lnTo>
                  <a:lnTo>
                    <a:pt x="201083" y="312208"/>
                  </a:lnTo>
                  <a:lnTo>
                    <a:pt x="198437" y="304271"/>
                  </a:lnTo>
                  <a:lnTo>
                    <a:pt x="195791" y="296333"/>
                  </a:lnTo>
                  <a:lnTo>
                    <a:pt x="193145" y="293687"/>
                  </a:lnTo>
                  <a:lnTo>
                    <a:pt x="187854" y="291042"/>
                  </a:lnTo>
                  <a:lnTo>
                    <a:pt x="177270" y="285750"/>
                  </a:lnTo>
                  <a:lnTo>
                    <a:pt x="174625" y="277812"/>
                  </a:lnTo>
                  <a:lnTo>
                    <a:pt x="169333" y="269875"/>
                  </a:lnTo>
                  <a:lnTo>
                    <a:pt x="164041" y="259292"/>
                  </a:lnTo>
                  <a:lnTo>
                    <a:pt x="161395" y="256646"/>
                  </a:lnTo>
                  <a:lnTo>
                    <a:pt x="161395" y="254000"/>
                  </a:lnTo>
                  <a:lnTo>
                    <a:pt x="164041" y="251354"/>
                  </a:lnTo>
                  <a:lnTo>
                    <a:pt x="158750" y="240771"/>
                  </a:lnTo>
                  <a:lnTo>
                    <a:pt x="142875" y="216958"/>
                  </a:lnTo>
                  <a:lnTo>
                    <a:pt x="137583" y="198437"/>
                  </a:lnTo>
                  <a:lnTo>
                    <a:pt x="134937" y="190500"/>
                  </a:lnTo>
                  <a:lnTo>
                    <a:pt x="134937" y="187854"/>
                  </a:lnTo>
                  <a:lnTo>
                    <a:pt x="132291" y="185208"/>
                  </a:lnTo>
                  <a:lnTo>
                    <a:pt x="124354" y="182562"/>
                  </a:lnTo>
                  <a:lnTo>
                    <a:pt x="119062" y="179917"/>
                  </a:lnTo>
                  <a:lnTo>
                    <a:pt x="116416" y="179917"/>
                  </a:lnTo>
                  <a:lnTo>
                    <a:pt x="116416" y="174625"/>
                  </a:lnTo>
                  <a:lnTo>
                    <a:pt x="116416" y="169333"/>
                  </a:lnTo>
                  <a:lnTo>
                    <a:pt x="113770" y="166687"/>
                  </a:lnTo>
                  <a:lnTo>
                    <a:pt x="113770" y="161396"/>
                  </a:lnTo>
                  <a:lnTo>
                    <a:pt x="113770" y="156104"/>
                  </a:lnTo>
                  <a:lnTo>
                    <a:pt x="113770" y="150812"/>
                  </a:lnTo>
                  <a:lnTo>
                    <a:pt x="111125" y="145521"/>
                  </a:lnTo>
                  <a:lnTo>
                    <a:pt x="108479" y="137583"/>
                  </a:lnTo>
                  <a:lnTo>
                    <a:pt x="111125" y="132292"/>
                  </a:lnTo>
                  <a:lnTo>
                    <a:pt x="92604" y="116417"/>
                  </a:lnTo>
                  <a:lnTo>
                    <a:pt x="84666" y="113771"/>
                  </a:lnTo>
                  <a:lnTo>
                    <a:pt x="79375" y="111125"/>
                  </a:lnTo>
                  <a:lnTo>
                    <a:pt x="76729" y="113771"/>
                  </a:lnTo>
                  <a:lnTo>
                    <a:pt x="74083" y="111125"/>
                  </a:lnTo>
                  <a:lnTo>
                    <a:pt x="76729" y="100542"/>
                  </a:lnTo>
                  <a:lnTo>
                    <a:pt x="74083" y="95250"/>
                  </a:lnTo>
                  <a:lnTo>
                    <a:pt x="71437" y="89958"/>
                  </a:lnTo>
                  <a:lnTo>
                    <a:pt x="68791" y="87312"/>
                  </a:lnTo>
                  <a:lnTo>
                    <a:pt x="66146" y="82021"/>
                  </a:lnTo>
                  <a:lnTo>
                    <a:pt x="63500" y="76729"/>
                  </a:lnTo>
                  <a:lnTo>
                    <a:pt x="60854" y="74083"/>
                  </a:lnTo>
                  <a:lnTo>
                    <a:pt x="55562" y="71437"/>
                  </a:lnTo>
                  <a:lnTo>
                    <a:pt x="50271" y="66146"/>
                  </a:lnTo>
                  <a:lnTo>
                    <a:pt x="47625" y="60854"/>
                  </a:lnTo>
                  <a:lnTo>
                    <a:pt x="44979" y="60854"/>
                  </a:lnTo>
                  <a:lnTo>
                    <a:pt x="39687" y="60854"/>
                  </a:lnTo>
                  <a:lnTo>
                    <a:pt x="34396" y="60854"/>
                  </a:lnTo>
                  <a:lnTo>
                    <a:pt x="34396" y="52917"/>
                  </a:lnTo>
                  <a:lnTo>
                    <a:pt x="31750" y="47625"/>
                  </a:lnTo>
                  <a:lnTo>
                    <a:pt x="29104" y="44979"/>
                  </a:lnTo>
                  <a:lnTo>
                    <a:pt x="23812" y="37042"/>
                  </a:lnTo>
                  <a:lnTo>
                    <a:pt x="15875" y="31750"/>
                  </a:lnTo>
                  <a:lnTo>
                    <a:pt x="10583" y="23812"/>
                  </a:lnTo>
                  <a:lnTo>
                    <a:pt x="7937" y="15875"/>
                  </a:lnTo>
                  <a:lnTo>
                    <a:pt x="2646" y="10583"/>
                  </a:lnTo>
                  <a:lnTo>
                    <a:pt x="0" y="10583"/>
                  </a:lnTo>
                  <a:lnTo>
                    <a:pt x="5291" y="2646"/>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Iraq"/>
            <p:cNvSpPr>
              <a:spLocks/>
            </p:cNvSpPr>
            <p:nvPr/>
          </p:nvSpPr>
          <p:spPr bwMode="auto">
            <a:xfrm>
              <a:off x="5158018" y="2385219"/>
              <a:ext cx="288396" cy="246063"/>
            </a:xfrm>
            <a:custGeom>
              <a:avLst/>
              <a:gdLst/>
              <a:ahLst/>
              <a:cxnLst>
                <a:cxn ang="0">
                  <a:pos x="34" y="126"/>
                </a:cxn>
                <a:cxn ang="0">
                  <a:pos x="72" y="142"/>
                </a:cxn>
                <a:cxn ang="0">
                  <a:pos x="94" y="158"/>
                </a:cxn>
                <a:cxn ang="0">
                  <a:pos x="120" y="180"/>
                </a:cxn>
                <a:cxn ang="0">
                  <a:pos x="172" y="186"/>
                </a:cxn>
                <a:cxn ang="0">
                  <a:pos x="182" y="180"/>
                </a:cxn>
                <a:cxn ang="0">
                  <a:pos x="192" y="168"/>
                </a:cxn>
                <a:cxn ang="0">
                  <a:pos x="202" y="172"/>
                </a:cxn>
                <a:cxn ang="0">
                  <a:pos x="208" y="170"/>
                </a:cxn>
                <a:cxn ang="0">
                  <a:pos x="214" y="176"/>
                </a:cxn>
                <a:cxn ang="0">
                  <a:pos x="218" y="172"/>
                </a:cxn>
                <a:cxn ang="0">
                  <a:pos x="212" y="160"/>
                </a:cxn>
                <a:cxn ang="0">
                  <a:pos x="204" y="158"/>
                </a:cxn>
                <a:cxn ang="0">
                  <a:pos x="198" y="146"/>
                </a:cxn>
                <a:cxn ang="0">
                  <a:pos x="196" y="136"/>
                </a:cxn>
                <a:cxn ang="0">
                  <a:pos x="182" y="116"/>
                </a:cxn>
                <a:cxn ang="0">
                  <a:pos x="172" y="108"/>
                </a:cxn>
                <a:cxn ang="0">
                  <a:pos x="156" y="100"/>
                </a:cxn>
                <a:cxn ang="0">
                  <a:pos x="148" y="94"/>
                </a:cxn>
                <a:cxn ang="0">
                  <a:pos x="148" y="86"/>
                </a:cxn>
                <a:cxn ang="0">
                  <a:pos x="138" y="78"/>
                </a:cxn>
                <a:cxn ang="0">
                  <a:pos x="142" y="74"/>
                </a:cxn>
                <a:cxn ang="0">
                  <a:pos x="138" y="68"/>
                </a:cxn>
                <a:cxn ang="0">
                  <a:pos x="146" y="50"/>
                </a:cxn>
                <a:cxn ang="0">
                  <a:pos x="144" y="44"/>
                </a:cxn>
                <a:cxn ang="0">
                  <a:pos x="148" y="36"/>
                </a:cxn>
                <a:cxn ang="0">
                  <a:pos x="148" y="32"/>
                </a:cxn>
                <a:cxn ang="0">
                  <a:pos x="134" y="32"/>
                </a:cxn>
                <a:cxn ang="0">
                  <a:pos x="128" y="22"/>
                </a:cxn>
                <a:cxn ang="0">
                  <a:pos x="128" y="20"/>
                </a:cxn>
                <a:cxn ang="0">
                  <a:pos x="124" y="18"/>
                </a:cxn>
                <a:cxn ang="0">
                  <a:pos x="116" y="8"/>
                </a:cxn>
                <a:cxn ang="0">
                  <a:pos x="106" y="10"/>
                </a:cxn>
                <a:cxn ang="0">
                  <a:pos x="98" y="6"/>
                </a:cxn>
                <a:cxn ang="0">
                  <a:pos x="90" y="4"/>
                </a:cxn>
                <a:cxn ang="0">
                  <a:pos x="76" y="0"/>
                </a:cxn>
                <a:cxn ang="0">
                  <a:pos x="62" y="6"/>
                </a:cxn>
                <a:cxn ang="0">
                  <a:pos x="50" y="16"/>
                </a:cxn>
                <a:cxn ang="0">
                  <a:pos x="46" y="26"/>
                </a:cxn>
                <a:cxn ang="0">
                  <a:pos x="48" y="42"/>
                </a:cxn>
                <a:cxn ang="0">
                  <a:pos x="50" y="58"/>
                </a:cxn>
                <a:cxn ang="0">
                  <a:pos x="44" y="64"/>
                </a:cxn>
                <a:cxn ang="0">
                  <a:pos x="8" y="110"/>
                </a:cxn>
                <a:cxn ang="0">
                  <a:pos x="12" y="124"/>
                </a:cxn>
              </a:cxnLst>
              <a:rect l="0" t="0" r="r" b="b"/>
              <a:pathLst>
                <a:path w="218" h="186">
                  <a:moveTo>
                    <a:pt x="12" y="124"/>
                  </a:moveTo>
                  <a:lnTo>
                    <a:pt x="12" y="124"/>
                  </a:lnTo>
                  <a:lnTo>
                    <a:pt x="34" y="126"/>
                  </a:lnTo>
                  <a:lnTo>
                    <a:pt x="46" y="128"/>
                  </a:lnTo>
                  <a:lnTo>
                    <a:pt x="72" y="142"/>
                  </a:lnTo>
                  <a:lnTo>
                    <a:pt x="72" y="142"/>
                  </a:lnTo>
                  <a:lnTo>
                    <a:pt x="84" y="146"/>
                  </a:lnTo>
                  <a:lnTo>
                    <a:pt x="88" y="150"/>
                  </a:lnTo>
                  <a:lnTo>
                    <a:pt x="94" y="158"/>
                  </a:lnTo>
                  <a:lnTo>
                    <a:pt x="108" y="170"/>
                  </a:lnTo>
                  <a:lnTo>
                    <a:pt x="108" y="170"/>
                  </a:lnTo>
                  <a:lnTo>
                    <a:pt x="120" y="180"/>
                  </a:lnTo>
                  <a:lnTo>
                    <a:pt x="132" y="184"/>
                  </a:lnTo>
                  <a:lnTo>
                    <a:pt x="148" y="186"/>
                  </a:lnTo>
                  <a:lnTo>
                    <a:pt x="172" y="186"/>
                  </a:lnTo>
                  <a:lnTo>
                    <a:pt x="172" y="186"/>
                  </a:lnTo>
                  <a:lnTo>
                    <a:pt x="178" y="184"/>
                  </a:lnTo>
                  <a:lnTo>
                    <a:pt x="182" y="180"/>
                  </a:lnTo>
                  <a:lnTo>
                    <a:pt x="186" y="172"/>
                  </a:lnTo>
                  <a:lnTo>
                    <a:pt x="188" y="170"/>
                  </a:lnTo>
                  <a:lnTo>
                    <a:pt x="192" y="168"/>
                  </a:lnTo>
                  <a:lnTo>
                    <a:pt x="196" y="170"/>
                  </a:lnTo>
                  <a:lnTo>
                    <a:pt x="202" y="172"/>
                  </a:lnTo>
                  <a:lnTo>
                    <a:pt x="202" y="172"/>
                  </a:lnTo>
                  <a:lnTo>
                    <a:pt x="204" y="168"/>
                  </a:lnTo>
                  <a:lnTo>
                    <a:pt x="206" y="168"/>
                  </a:lnTo>
                  <a:lnTo>
                    <a:pt x="208" y="170"/>
                  </a:lnTo>
                  <a:lnTo>
                    <a:pt x="208" y="170"/>
                  </a:lnTo>
                  <a:lnTo>
                    <a:pt x="212" y="176"/>
                  </a:lnTo>
                  <a:lnTo>
                    <a:pt x="214" y="176"/>
                  </a:lnTo>
                  <a:lnTo>
                    <a:pt x="214" y="174"/>
                  </a:lnTo>
                  <a:lnTo>
                    <a:pt x="218" y="172"/>
                  </a:lnTo>
                  <a:lnTo>
                    <a:pt x="218" y="172"/>
                  </a:lnTo>
                  <a:lnTo>
                    <a:pt x="214" y="166"/>
                  </a:lnTo>
                  <a:lnTo>
                    <a:pt x="212" y="162"/>
                  </a:lnTo>
                  <a:lnTo>
                    <a:pt x="212" y="160"/>
                  </a:lnTo>
                  <a:lnTo>
                    <a:pt x="208" y="158"/>
                  </a:lnTo>
                  <a:lnTo>
                    <a:pt x="208" y="158"/>
                  </a:lnTo>
                  <a:lnTo>
                    <a:pt x="204" y="158"/>
                  </a:lnTo>
                  <a:lnTo>
                    <a:pt x="202" y="154"/>
                  </a:lnTo>
                  <a:lnTo>
                    <a:pt x="200" y="150"/>
                  </a:lnTo>
                  <a:lnTo>
                    <a:pt x="198" y="146"/>
                  </a:lnTo>
                  <a:lnTo>
                    <a:pt x="198" y="146"/>
                  </a:lnTo>
                  <a:lnTo>
                    <a:pt x="198" y="142"/>
                  </a:lnTo>
                  <a:lnTo>
                    <a:pt x="196" y="136"/>
                  </a:lnTo>
                  <a:lnTo>
                    <a:pt x="188" y="120"/>
                  </a:lnTo>
                  <a:lnTo>
                    <a:pt x="188" y="120"/>
                  </a:lnTo>
                  <a:lnTo>
                    <a:pt x="182" y="116"/>
                  </a:lnTo>
                  <a:lnTo>
                    <a:pt x="180" y="114"/>
                  </a:lnTo>
                  <a:lnTo>
                    <a:pt x="178" y="112"/>
                  </a:lnTo>
                  <a:lnTo>
                    <a:pt x="172" y="108"/>
                  </a:lnTo>
                  <a:lnTo>
                    <a:pt x="172" y="108"/>
                  </a:lnTo>
                  <a:lnTo>
                    <a:pt x="164" y="102"/>
                  </a:lnTo>
                  <a:lnTo>
                    <a:pt x="156" y="100"/>
                  </a:lnTo>
                  <a:lnTo>
                    <a:pt x="150" y="98"/>
                  </a:lnTo>
                  <a:lnTo>
                    <a:pt x="148" y="96"/>
                  </a:lnTo>
                  <a:lnTo>
                    <a:pt x="148" y="94"/>
                  </a:lnTo>
                  <a:lnTo>
                    <a:pt x="148" y="94"/>
                  </a:lnTo>
                  <a:lnTo>
                    <a:pt x="148" y="90"/>
                  </a:lnTo>
                  <a:lnTo>
                    <a:pt x="148" y="86"/>
                  </a:lnTo>
                  <a:lnTo>
                    <a:pt x="142" y="82"/>
                  </a:lnTo>
                  <a:lnTo>
                    <a:pt x="138" y="80"/>
                  </a:lnTo>
                  <a:lnTo>
                    <a:pt x="138" y="78"/>
                  </a:lnTo>
                  <a:lnTo>
                    <a:pt x="140" y="76"/>
                  </a:lnTo>
                  <a:lnTo>
                    <a:pt x="140" y="76"/>
                  </a:lnTo>
                  <a:lnTo>
                    <a:pt x="142" y="74"/>
                  </a:lnTo>
                  <a:lnTo>
                    <a:pt x="140" y="74"/>
                  </a:lnTo>
                  <a:lnTo>
                    <a:pt x="138" y="72"/>
                  </a:lnTo>
                  <a:lnTo>
                    <a:pt x="138" y="68"/>
                  </a:lnTo>
                  <a:lnTo>
                    <a:pt x="138" y="68"/>
                  </a:lnTo>
                  <a:lnTo>
                    <a:pt x="144" y="56"/>
                  </a:lnTo>
                  <a:lnTo>
                    <a:pt x="146" y="50"/>
                  </a:lnTo>
                  <a:lnTo>
                    <a:pt x="144" y="48"/>
                  </a:lnTo>
                  <a:lnTo>
                    <a:pt x="144" y="48"/>
                  </a:lnTo>
                  <a:lnTo>
                    <a:pt x="144" y="44"/>
                  </a:lnTo>
                  <a:lnTo>
                    <a:pt x="146" y="42"/>
                  </a:lnTo>
                  <a:lnTo>
                    <a:pt x="146" y="40"/>
                  </a:lnTo>
                  <a:lnTo>
                    <a:pt x="148" y="36"/>
                  </a:lnTo>
                  <a:lnTo>
                    <a:pt x="148" y="36"/>
                  </a:lnTo>
                  <a:lnTo>
                    <a:pt x="148" y="32"/>
                  </a:lnTo>
                  <a:lnTo>
                    <a:pt x="148" y="32"/>
                  </a:lnTo>
                  <a:lnTo>
                    <a:pt x="140" y="34"/>
                  </a:lnTo>
                  <a:lnTo>
                    <a:pt x="140" y="34"/>
                  </a:lnTo>
                  <a:lnTo>
                    <a:pt x="134" y="32"/>
                  </a:lnTo>
                  <a:lnTo>
                    <a:pt x="132" y="28"/>
                  </a:lnTo>
                  <a:lnTo>
                    <a:pt x="130" y="26"/>
                  </a:lnTo>
                  <a:lnTo>
                    <a:pt x="128" y="22"/>
                  </a:lnTo>
                  <a:lnTo>
                    <a:pt x="128" y="22"/>
                  </a:lnTo>
                  <a:lnTo>
                    <a:pt x="126" y="22"/>
                  </a:lnTo>
                  <a:lnTo>
                    <a:pt x="128" y="20"/>
                  </a:lnTo>
                  <a:lnTo>
                    <a:pt x="128" y="20"/>
                  </a:lnTo>
                  <a:lnTo>
                    <a:pt x="124" y="18"/>
                  </a:lnTo>
                  <a:lnTo>
                    <a:pt x="124" y="18"/>
                  </a:lnTo>
                  <a:lnTo>
                    <a:pt x="122" y="14"/>
                  </a:lnTo>
                  <a:lnTo>
                    <a:pt x="120" y="10"/>
                  </a:lnTo>
                  <a:lnTo>
                    <a:pt x="116" y="8"/>
                  </a:lnTo>
                  <a:lnTo>
                    <a:pt x="116" y="8"/>
                  </a:lnTo>
                  <a:lnTo>
                    <a:pt x="108" y="12"/>
                  </a:lnTo>
                  <a:lnTo>
                    <a:pt x="106" y="10"/>
                  </a:lnTo>
                  <a:lnTo>
                    <a:pt x="104" y="6"/>
                  </a:lnTo>
                  <a:lnTo>
                    <a:pt x="102" y="6"/>
                  </a:lnTo>
                  <a:lnTo>
                    <a:pt x="98" y="6"/>
                  </a:lnTo>
                  <a:lnTo>
                    <a:pt x="98" y="6"/>
                  </a:lnTo>
                  <a:lnTo>
                    <a:pt x="94" y="4"/>
                  </a:lnTo>
                  <a:lnTo>
                    <a:pt x="90" y="4"/>
                  </a:lnTo>
                  <a:lnTo>
                    <a:pt x="86" y="2"/>
                  </a:lnTo>
                  <a:lnTo>
                    <a:pt x="76" y="0"/>
                  </a:lnTo>
                  <a:lnTo>
                    <a:pt x="76" y="0"/>
                  </a:lnTo>
                  <a:lnTo>
                    <a:pt x="70" y="0"/>
                  </a:lnTo>
                  <a:lnTo>
                    <a:pt x="66" y="2"/>
                  </a:lnTo>
                  <a:lnTo>
                    <a:pt x="62" y="6"/>
                  </a:lnTo>
                  <a:lnTo>
                    <a:pt x="62" y="6"/>
                  </a:lnTo>
                  <a:lnTo>
                    <a:pt x="56" y="12"/>
                  </a:lnTo>
                  <a:lnTo>
                    <a:pt x="50" y="16"/>
                  </a:lnTo>
                  <a:lnTo>
                    <a:pt x="50" y="16"/>
                  </a:lnTo>
                  <a:lnTo>
                    <a:pt x="46" y="22"/>
                  </a:lnTo>
                  <a:lnTo>
                    <a:pt x="46" y="26"/>
                  </a:lnTo>
                  <a:lnTo>
                    <a:pt x="48" y="32"/>
                  </a:lnTo>
                  <a:lnTo>
                    <a:pt x="50" y="36"/>
                  </a:lnTo>
                  <a:lnTo>
                    <a:pt x="48" y="42"/>
                  </a:lnTo>
                  <a:lnTo>
                    <a:pt x="48" y="42"/>
                  </a:lnTo>
                  <a:lnTo>
                    <a:pt x="48" y="52"/>
                  </a:lnTo>
                  <a:lnTo>
                    <a:pt x="50" y="58"/>
                  </a:lnTo>
                  <a:lnTo>
                    <a:pt x="50" y="60"/>
                  </a:lnTo>
                  <a:lnTo>
                    <a:pt x="44" y="64"/>
                  </a:lnTo>
                  <a:lnTo>
                    <a:pt x="44" y="64"/>
                  </a:lnTo>
                  <a:lnTo>
                    <a:pt x="0" y="92"/>
                  </a:lnTo>
                  <a:lnTo>
                    <a:pt x="0" y="92"/>
                  </a:lnTo>
                  <a:lnTo>
                    <a:pt x="8" y="110"/>
                  </a:lnTo>
                  <a:lnTo>
                    <a:pt x="10" y="118"/>
                  </a:lnTo>
                  <a:lnTo>
                    <a:pt x="12" y="124"/>
                  </a:lnTo>
                  <a:lnTo>
                    <a:pt x="12" y="124"/>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Ireland"/>
            <p:cNvSpPr>
              <a:spLocks/>
            </p:cNvSpPr>
            <p:nvPr/>
          </p:nvSpPr>
          <p:spPr bwMode="auto">
            <a:xfrm>
              <a:off x="3909184" y="1906323"/>
              <a:ext cx="100542" cy="92604"/>
            </a:xfrm>
            <a:custGeom>
              <a:avLst/>
              <a:gdLst/>
              <a:ahLst/>
              <a:cxnLst>
                <a:cxn ang="0">
                  <a:pos x="66" y="2"/>
                </a:cxn>
                <a:cxn ang="0">
                  <a:pos x="58" y="2"/>
                </a:cxn>
                <a:cxn ang="0">
                  <a:pos x="56" y="4"/>
                </a:cxn>
                <a:cxn ang="0">
                  <a:pos x="50" y="2"/>
                </a:cxn>
                <a:cxn ang="0">
                  <a:pos x="44" y="4"/>
                </a:cxn>
                <a:cxn ang="0">
                  <a:pos x="42" y="8"/>
                </a:cxn>
                <a:cxn ang="0">
                  <a:pos x="36" y="10"/>
                </a:cxn>
                <a:cxn ang="0">
                  <a:pos x="44" y="14"/>
                </a:cxn>
                <a:cxn ang="0">
                  <a:pos x="42" y="16"/>
                </a:cxn>
                <a:cxn ang="0">
                  <a:pos x="38" y="20"/>
                </a:cxn>
                <a:cxn ang="0">
                  <a:pos x="32" y="18"/>
                </a:cxn>
                <a:cxn ang="0">
                  <a:pos x="20" y="18"/>
                </a:cxn>
                <a:cxn ang="0">
                  <a:pos x="16" y="20"/>
                </a:cxn>
                <a:cxn ang="0">
                  <a:pos x="14" y="22"/>
                </a:cxn>
                <a:cxn ang="0">
                  <a:pos x="14" y="24"/>
                </a:cxn>
                <a:cxn ang="0">
                  <a:pos x="18" y="28"/>
                </a:cxn>
                <a:cxn ang="0">
                  <a:pos x="16" y="30"/>
                </a:cxn>
                <a:cxn ang="0">
                  <a:pos x="12" y="32"/>
                </a:cxn>
                <a:cxn ang="0">
                  <a:pos x="10" y="34"/>
                </a:cxn>
                <a:cxn ang="0">
                  <a:pos x="14" y="36"/>
                </a:cxn>
                <a:cxn ang="0">
                  <a:pos x="20" y="38"/>
                </a:cxn>
                <a:cxn ang="0">
                  <a:pos x="28" y="38"/>
                </a:cxn>
                <a:cxn ang="0">
                  <a:pos x="22" y="42"/>
                </a:cxn>
                <a:cxn ang="0">
                  <a:pos x="20" y="46"/>
                </a:cxn>
                <a:cxn ang="0">
                  <a:pos x="14" y="48"/>
                </a:cxn>
                <a:cxn ang="0">
                  <a:pos x="20" y="50"/>
                </a:cxn>
                <a:cxn ang="0">
                  <a:pos x="28" y="46"/>
                </a:cxn>
                <a:cxn ang="0">
                  <a:pos x="32" y="48"/>
                </a:cxn>
                <a:cxn ang="0">
                  <a:pos x="14" y="52"/>
                </a:cxn>
                <a:cxn ang="0">
                  <a:pos x="14" y="56"/>
                </a:cxn>
                <a:cxn ang="0">
                  <a:pos x="8" y="56"/>
                </a:cxn>
                <a:cxn ang="0">
                  <a:pos x="2" y="58"/>
                </a:cxn>
                <a:cxn ang="0">
                  <a:pos x="14" y="58"/>
                </a:cxn>
                <a:cxn ang="0">
                  <a:pos x="0" y="62"/>
                </a:cxn>
                <a:cxn ang="0">
                  <a:pos x="6" y="64"/>
                </a:cxn>
                <a:cxn ang="0">
                  <a:pos x="6" y="66"/>
                </a:cxn>
                <a:cxn ang="0">
                  <a:pos x="10" y="66"/>
                </a:cxn>
                <a:cxn ang="0">
                  <a:pos x="12" y="68"/>
                </a:cxn>
                <a:cxn ang="0">
                  <a:pos x="12" y="70"/>
                </a:cxn>
                <a:cxn ang="0">
                  <a:pos x="26" y="68"/>
                </a:cxn>
                <a:cxn ang="0">
                  <a:pos x="36" y="66"/>
                </a:cxn>
                <a:cxn ang="0">
                  <a:pos x="42" y="64"/>
                </a:cxn>
                <a:cxn ang="0">
                  <a:pos x="48" y="60"/>
                </a:cxn>
                <a:cxn ang="0">
                  <a:pos x="58" y="60"/>
                </a:cxn>
                <a:cxn ang="0">
                  <a:pos x="60" y="60"/>
                </a:cxn>
                <a:cxn ang="0">
                  <a:pos x="68" y="60"/>
                </a:cxn>
                <a:cxn ang="0">
                  <a:pos x="70" y="56"/>
                </a:cxn>
                <a:cxn ang="0">
                  <a:pos x="76" y="50"/>
                </a:cxn>
                <a:cxn ang="0">
                  <a:pos x="76" y="44"/>
                </a:cxn>
                <a:cxn ang="0">
                  <a:pos x="74" y="38"/>
                </a:cxn>
                <a:cxn ang="0">
                  <a:pos x="76" y="34"/>
                </a:cxn>
                <a:cxn ang="0">
                  <a:pos x="74" y="30"/>
                </a:cxn>
                <a:cxn ang="0">
                  <a:pos x="74" y="26"/>
                </a:cxn>
                <a:cxn ang="0">
                  <a:pos x="72" y="24"/>
                </a:cxn>
                <a:cxn ang="0">
                  <a:pos x="66" y="20"/>
                </a:cxn>
                <a:cxn ang="0">
                  <a:pos x="58" y="20"/>
                </a:cxn>
                <a:cxn ang="0">
                  <a:pos x="52" y="12"/>
                </a:cxn>
                <a:cxn ang="0">
                  <a:pos x="56" y="8"/>
                </a:cxn>
              </a:cxnLst>
              <a:rect l="0" t="0" r="r" b="b"/>
              <a:pathLst>
                <a:path w="76" h="70">
                  <a:moveTo>
                    <a:pt x="60" y="6"/>
                  </a:moveTo>
                  <a:lnTo>
                    <a:pt x="60" y="6"/>
                  </a:lnTo>
                  <a:lnTo>
                    <a:pt x="64" y="4"/>
                  </a:lnTo>
                  <a:lnTo>
                    <a:pt x="64" y="4"/>
                  </a:lnTo>
                  <a:lnTo>
                    <a:pt x="66" y="2"/>
                  </a:lnTo>
                  <a:lnTo>
                    <a:pt x="62" y="0"/>
                  </a:lnTo>
                  <a:lnTo>
                    <a:pt x="62" y="0"/>
                  </a:lnTo>
                  <a:lnTo>
                    <a:pt x="60" y="0"/>
                  </a:lnTo>
                  <a:lnTo>
                    <a:pt x="58" y="2"/>
                  </a:lnTo>
                  <a:lnTo>
                    <a:pt x="58" y="2"/>
                  </a:lnTo>
                  <a:lnTo>
                    <a:pt x="58" y="2"/>
                  </a:lnTo>
                  <a:lnTo>
                    <a:pt x="58" y="4"/>
                  </a:lnTo>
                  <a:lnTo>
                    <a:pt x="56" y="6"/>
                  </a:lnTo>
                  <a:lnTo>
                    <a:pt x="56" y="6"/>
                  </a:lnTo>
                  <a:lnTo>
                    <a:pt x="56" y="4"/>
                  </a:lnTo>
                  <a:lnTo>
                    <a:pt x="54" y="2"/>
                  </a:lnTo>
                  <a:lnTo>
                    <a:pt x="54" y="2"/>
                  </a:lnTo>
                  <a:lnTo>
                    <a:pt x="52" y="2"/>
                  </a:lnTo>
                  <a:lnTo>
                    <a:pt x="50" y="2"/>
                  </a:lnTo>
                  <a:lnTo>
                    <a:pt x="50" y="2"/>
                  </a:lnTo>
                  <a:lnTo>
                    <a:pt x="48" y="2"/>
                  </a:lnTo>
                  <a:lnTo>
                    <a:pt x="46" y="2"/>
                  </a:lnTo>
                  <a:lnTo>
                    <a:pt x="46" y="2"/>
                  </a:lnTo>
                  <a:lnTo>
                    <a:pt x="44" y="2"/>
                  </a:lnTo>
                  <a:lnTo>
                    <a:pt x="44" y="4"/>
                  </a:lnTo>
                  <a:lnTo>
                    <a:pt x="42" y="6"/>
                  </a:lnTo>
                  <a:lnTo>
                    <a:pt x="42" y="6"/>
                  </a:lnTo>
                  <a:lnTo>
                    <a:pt x="40" y="6"/>
                  </a:lnTo>
                  <a:lnTo>
                    <a:pt x="42" y="8"/>
                  </a:lnTo>
                  <a:lnTo>
                    <a:pt x="42" y="8"/>
                  </a:lnTo>
                  <a:lnTo>
                    <a:pt x="40" y="8"/>
                  </a:lnTo>
                  <a:lnTo>
                    <a:pt x="40" y="8"/>
                  </a:lnTo>
                  <a:lnTo>
                    <a:pt x="38" y="10"/>
                  </a:lnTo>
                  <a:lnTo>
                    <a:pt x="36" y="10"/>
                  </a:lnTo>
                  <a:lnTo>
                    <a:pt x="36" y="10"/>
                  </a:lnTo>
                  <a:lnTo>
                    <a:pt x="34" y="12"/>
                  </a:lnTo>
                  <a:lnTo>
                    <a:pt x="36" y="12"/>
                  </a:lnTo>
                  <a:lnTo>
                    <a:pt x="36" y="12"/>
                  </a:lnTo>
                  <a:lnTo>
                    <a:pt x="40" y="14"/>
                  </a:lnTo>
                  <a:lnTo>
                    <a:pt x="44" y="14"/>
                  </a:lnTo>
                  <a:lnTo>
                    <a:pt x="44" y="14"/>
                  </a:lnTo>
                  <a:lnTo>
                    <a:pt x="44" y="14"/>
                  </a:lnTo>
                  <a:lnTo>
                    <a:pt x="42" y="16"/>
                  </a:lnTo>
                  <a:lnTo>
                    <a:pt x="42" y="16"/>
                  </a:lnTo>
                  <a:lnTo>
                    <a:pt x="42" y="16"/>
                  </a:lnTo>
                  <a:lnTo>
                    <a:pt x="38" y="18"/>
                  </a:lnTo>
                  <a:lnTo>
                    <a:pt x="38" y="18"/>
                  </a:lnTo>
                  <a:lnTo>
                    <a:pt x="36" y="18"/>
                  </a:lnTo>
                  <a:lnTo>
                    <a:pt x="38" y="20"/>
                  </a:lnTo>
                  <a:lnTo>
                    <a:pt x="38" y="20"/>
                  </a:lnTo>
                  <a:lnTo>
                    <a:pt x="38" y="20"/>
                  </a:lnTo>
                  <a:lnTo>
                    <a:pt x="38" y="20"/>
                  </a:lnTo>
                  <a:lnTo>
                    <a:pt x="36" y="20"/>
                  </a:lnTo>
                  <a:lnTo>
                    <a:pt x="32" y="18"/>
                  </a:lnTo>
                  <a:lnTo>
                    <a:pt x="32" y="18"/>
                  </a:lnTo>
                  <a:lnTo>
                    <a:pt x="30" y="20"/>
                  </a:lnTo>
                  <a:lnTo>
                    <a:pt x="28" y="20"/>
                  </a:lnTo>
                  <a:lnTo>
                    <a:pt x="28" y="18"/>
                  </a:lnTo>
                  <a:lnTo>
                    <a:pt x="28" y="18"/>
                  </a:lnTo>
                  <a:lnTo>
                    <a:pt x="20" y="18"/>
                  </a:lnTo>
                  <a:lnTo>
                    <a:pt x="20" y="18"/>
                  </a:lnTo>
                  <a:lnTo>
                    <a:pt x="16" y="18"/>
                  </a:lnTo>
                  <a:lnTo>
                    <a:pt x="16" y="18"/>
                  </a:lnTo>
                  <a:lnTo>
                    <a:pt x="14" y="20"/>
                  </a:lnTo>
                  <a:lnTo>
                    <a:pt x="16" y="20"/>
                  </a:lnTo>
                  <a:lnTo>
                    <a:pt x="16" y="20"/>
                  </a:lnTo>
                  <a:lnTo>
                    <a:pt x="16" y="20"/>
                  </a:lnTo>
                  <a:lnTo>
                    <a:pt x="16" y="24"/>
                  </a:lnTo>
                  <a:lnTo>
                    <a:pt x="16" y="24"/>
                  </a:lnTo>
                  <a:lnTo>
                    <a:pt x="14" y="22"/>
                  </a:lnTo>
                  <a:lnTo>
                    <a:pt x="12" y="24"/>
                  </a:lnTo>
                  <a:lnTo>
                    <a:pt x="12" y="24"/>
                  </a:lnTo>
                  <a:lnTo>
                    <a:pt x="12" y="24"/>
                  </a:lnTo>
                  <a:lnTo>
                    <a:pt x="14" y="24"/>
                  </a:lnTo>
                  <a:lnTo>
                    <a:pt x="14" y="24"/>
                  </a:lnTo>
                  <a:lnTo>
                    <a:pt x="16" y="26"/>
                  </a:lnTo>
                  <a:lnTo>
                    <a:pt x="18" y="26"/>
                  </a:lnTo>
                  <a:lnTo>
                    <a:pt x="18" y="26"/>
                  </a:lnTo>
                  <a:lnTo>
                    <a:pt x="20" y="26"/>
                  </a:lnTo>
                  <a:lnTo>
                    <a:pt x="18" y="28"/>
                  </a:lnTo>
                  <a:lnTo>
                    <a:pt x="18" y="28"/>
                  </a:lnTo>
                  <a:lnTo>
                    <a:pt x="14" y="28"/>
                  </a:lnTo>
                  <a:lnTo>
                    <a:pt x="16" y="30"/>
                  </a:lnTo>
                  <a:lnTo>
                    <a:pt x="16" y="30"/>
                  </a:lnTo>
                  <a:lnTo>
                    <a:pt x="16" y="30"/>
                  </a:lnTo>
                  <a:lnTo>
                    <a:pt x="16" y="32"/>
                  </a:lnTo>
                  <a:lnTo>
                    <a:pt x="12" y="30"/>
                  </a:lnTo>
                  <a:lnTo>
                    <a:pt x="12" y="30"/>
                  </a:lnTo>
                  <a:lnTo>
                    <a:pt x="10" y="32"/>
                  </a:lnTo>
                  <a:lnTo>
                    <a:pt x="12" y="32"/>
                  </a:lnTo>
                  <a:lnTo>
                    <a:pt x="12" y="32"/>
                  </a:lnTo>
                  <a:lnTo>
                    <a:pt x="10" y="34"/>
                  </a:lnTo>
                  <a:lnTo>
                    <a:pt x="10" y="34"/>
                  </a:lnTo>
                  <a:lnTo>
                    <a:pt x="10" y="34"/>
                  </a:lnTo>
                  <a:lnTo>
                    <a:pt x="10" y="34"/>
                  </a:lnTo>
                  <a:lnTo>
                    <a:pt x="14" y="34"/>
                  </a:lnTo>
                  <a:lnTo>
                    <a:pt x="14" y="34"/>
                  </a:lnTo>
                  <a:lnTo>
                    <a:pt x="16" y="34"/>
                  </a:lnTo>
                  <a:lnTo>
                    <a:pt x="14" y="36"/>
                  </a:lnTo>
                  <a:lnTo>
                    <a:pt x="14" y="36"/>
                  </a:lnTo>
                  <a:lnTo>
                    <a:pt x="14" y="36"/>
                  </a:lnTo>
                  <a:lnTo>
                    <a:pt x="18" y="36"/>
                  </a:lnTo>
                  <a:lnTo>
                    <a:pt x="18" y="36"/>
                  </a:lnTo>
                  <a:lnTo>
                    <a:pt x="20" y="36"/>
                  </a:lnTo>
                  <a:lnTo>
                    <a:pt x="20" y="38"/>
                  </a:lnTo>
                  <a:lnTo>
                    <a:pt x="20" y="38"/>
                  </a:lnTo>
                  <a:lnTo>
                    <a:pt x="20" y="38"/>
                  </a:lnTo>
                  <a:lnTo>
                    <a:pt x="22" y="38"/>
                  </a:lnTo>
                  <a:lnTo>
                    <a:pt x="28" y="38"/>
                  </a:lnTo>
                  <a:lnTo>
                    <a:pt x="28" y="38"/>
                  </a:lnTo>
                  <a:lnTo>
                    <a:pt x="30" y="38"/>
                  </a:lnTo>
                  <a:lnTo>
                    <a:pt x="26" y="40"/>
                  </a:lnTo>
                  <a:lnTo>
                    <a:pt x="26" y="40"/>
                  </a:lnTo>
                  <a:lnTo>
                    <a:pt x="24" y="40"/>
                  </a:lnTo>
                  <a:lnTo>
                    <a:pt x="22" y="42"/>
                  </a:lnTo>
                  <a:lnTo>
                    <a:pt x="22" y="42"/>
                  </a:lnTo>
                  <a:lnTo>
                    <a:pt x="20" y="44"/>
                  </a:lnTo>
                  <a:lnTo>
                    <a:pt x="22" y="44"/>
                  </a:lnTo>
                  <a:lnTo>
                    <a:pt x="22" y="44"/>
                  </a:lnTo>
                  <a:lnTo>
                    <a:pt x="20" y="46"/>
                  </a:lnTo>
                  <a:lnTo>
                    <a:pt x="18" y="46"/>
                  </a:lnTo>
                  <a:lnTo>
                    <a:pt x="18" y="46"/>
                  </a:lnTo>
                  <a:lnTo>
                    <a:pt x="18" y="46"/>
                  </a:lnTo>
                  <a:lnTo>
                    <a:pt x="14" y="48"/>
                  </a:lnTo>
                  <a:lnTo>
                    <a:pt x="14" y="48"/>
                  </a:lnTo>
                  <a:lnTo>
                    <a:pt x="12" y="50"/>
                  </a:lnTo>
                  <a:lnTo>
                    <a:pt x="14" y="50"/>
                  </a:lnTo>
                  <a:lnTo>
                    <a:pt x="14" y="50"/>
                  </a:lnTo>
                  <a:lnTo>
                    <a:pt x="18" y="50"/>
                  </a:lnTo>
                  <a:lnTo>
                    <a:pt x="20" y="50"/>
                  </a:lnTo>
                  <a:lnTo>
                    <a:pt x="20" y="50"/>
                  </a:lnTo>
                  <a:lnTo>
                    <a:pt x="24" y="50"/>
                  </a:lnTo>
                  <a:lnTo>
                    <a:pt x="28" y="48"/>
                  </a:lnTo>
                  <a:lnTo>
                    <a:pt x="28" y="48"/>
                  </a:lnTo>
                  <a:lnTo>
                    <a:pt x="28" y="46"/>
                  </a:lnTo>
                  <a:lnTo>
                    <a:pt x="28" y="48"/>
                  </a:lnTo>
                  <a:lnTo>
                    <a:pt x="28" y="48"/>
                  </a:lnTo>
                  <a:lnTo>
                    <a:pt x="28" y="48"/>
                  </a:lnTo>
                  <a:lnTo>
                    <a:pt x="32" y="48"/>
                  </a:lnTo>
                  <a:lnTo>
                    <a:pt x="32" y="48"/>
                  </a:lnTo>
                  <a:lnTo>
                    <a:pt x="18" y="50"/>
                  </a:lnTo>
                  <a:lnTo>
                    <a:pt x="18" y="50"/>
                  </a:lnTo>
                  <a:lnTo>
                    <a:pt x="16" y="50"/>
                  </a:lnTo>
                  <a:lnTo>
                    <a:pt x="14" y="52"/>
                  </a:lnTo>
                  <a:lnTo>
                    <a:pt x="14" y="52"/>
                  </a:lnTo>
                  <a:lnTo>
                    <a:pt x="12" y="54"/>
                  </a:lnTo>
                  <a:lnTo>
                    <a:pt x="12" y="54"/>
                  </a:lnTo>
                  <a:lnTo>
                    <a:pt x="12" y="54"/>
                  </a:lnTo>
                  <a:lnTo>
                    <a:pt x="12" y="54"/>
                  </a:lnTo>
                  <a:lnTo>
                    <a:pt x="14" y="56"/>
                  </a:lnTo>
                  <a:lnTo>
                    <a:pt x="14" y="56"/>
                  </a:lnTo>
                  <a:lnTo>
                    <a:pt x="12" y="56"/>
                  </a:lnTo>
                  <a:lnTo>
                    <a:pt x="10" y="56"/>
                  </a:lnTo>
                  <a:lnTo>
                    <a:pt x="10" y="56"/>
                  </a:lnTo>
                  <a:lnTo>
                    <a:pt x="8" y="56"/>
                  </a:lnTo>
                  <a:lnTo>
                    <a:pt x="4" y="56"/>
                  </a:lnTo>
                  <a:lnTo>
                    <a:pt x="4" y="56"/>
                  </a:lnTo>
                  <a:lnTo>
                    <a:pt x="0" y="58"/>
                  </a:lnTo>
                  <a:lnTo>
                    <a:pt x="0" y="58"/>
                  </a:lnTo>
                  <a:lnTo>
                    <a:pt x="2" y="58"/>
                  </a:lnTo>
                  <a:lnTo>
                    <a:pt x="2" y="58"/>
                  </a:lnTo>
                  <a:lnTo>
                    <a:pt x="6" y="58"/>
                  </a:lnTo>
                  <a:lnTo>
                    <a:pt x="6" y="58"/>
                  </a:lnTo>
                  <a:lnTo>
                    <a:pt x="14" y="58"/>
                  </a:lnTo>
                  <a:lnTo>
                    <a:pt x="14" y="58"/>
                  </a:lnTo>
                  <a:lnTo>
                    <a:pt x="10" y="58"/>
                  </a:lnTo>
                  <a:lnTo>
                    <a:pt x="10" y="58"/>
                  </a:lnTo>
                  <a:lnTo>
                    <a:pt x="2" y="62"/>
                  </a:lnTo>
                  <a:lnTo>
                    <a:pt x="2" y="62"/>
                  </a:lnTo>
                  <a:lnTo>
                    <a:pt x="0" y="62"/>
                  </a:lnTo>
                  <a:lnTo>
                    <a:pt x="0" y="64"/>
                  </a:lnTo>
                  <a:lnTo>
                    <a:pt x="4" y="64"/>
                  </a:lnTo>
                  <a:lnTo>
                    <a:pt x="4" y="64"/>
                  </a:lnTo>
                  <a:lnTo>
                    <a:pt x="6" y="64"/>
                  </a:lnTo>
                  <a:lnTo>
                    <a:pt x="6" y="64"/>
                  </a:lnTo>
                  <a:lnTo>
                    <a:pt x="8" y="64"/>
                  </a:lnTo>
                  <a:lnTo>
                    <a:pt x="8" y="64"/>
                  </a:lnTo>
                  <a:lnTo>
                    <a:pt x="16" y="62"/>
                  </a:lnTo>
                  <a:lnTo>
                    <a:pt x="16" y="62"/>
                  </a:lnTo>
                  <a:lnTo>
                    <a:pt x="6" y="66"/>
                  </a:lnTo>
                  <a:lnTo>
                    <a:pt x="6" y="66"/>
                  </a:lnTo>
                  <a:lnTo>
                    <a:pt x="6" y="66"/>
                  </a:lnTo>
                  <a:lnTo>
                    <a:pt x="6" y="68"/>
                  </a:lnTo>
                  <a:lnTo>
                    <a:pt x="10" y="66"/>
                  </a:lnTo>
                  <a:lnTo>
                    <a:pt x="10" y="66"/>
                  </a:lnTo>
                  <a:lnTo>
                    <a:pt x="12" y="66"/>
                  </a:lnTo>
                  <a:lnTo>
                    <a:pt x="16" y="66"/>
                  </a:lnTo>
                  <a:lnTo>
                    <a:pt x="16" y="66"/>
                  </a:lnTo>
                  <a:lnTo>
                    <a:pt x="14" y="68"/>
                  </a:lnTo>
                  <a:lnTo>
                    <a:pt x="12" y="68"/>
                  </a:lnTo>
                  <a:lnTo>
                    <a:pt x="12" y="68"/>
                  </a:lnTo>
                  <a:lnTo>
                    <a:pt x="10" y="70"/>
                  </a:lnTo>
                  <a:lnTo>
                    <a:pt x="10" y="70"/>
                  </a:lnTo>
                  <a:lnTo>
                    <a:pt x="12" y="70"/>
                  </a:lnTo>
                  <a:lnTo>
                    <a:pt x="12" y="70"/>
                  </a:lnTo>
                  <a:lnTo>
                    <a:pt x="16" y="70"/>
                  </a:lnTo>
                  <a:lnTo>
                    <a:pt x="18" y="70"/>
                  </a:lnTo>
                  <a:lnTo>
                    <a:pt x="18" y="70"/>
                  </a:lnTo>
                  <a:lnTo>
                    <a:pt x="22" y="70"/>
                  </a:lnTo>
                  <a:lnTo>
                    <a:pt x="26" y="68"/>
                  </a:lnTo>
                  <a:lnTo>
                    <a:pt x="26" y="68"/>
                  </a:lnTo>
                  <a:lnTo>
                    <a:pt x="30" y="68"/>
                  </a:lnTo>
                  <a:lnTo>
                    <a:pt x="32" y="68"/>
                  </a:lnTo>
                  <a:lnTo>
                    <a:pt x="32" y="68"/>
                  </a:lnTo>
                  <a:lnTo>
                    <a:pt x="36" y="66"/>
                  </a:lnTo>
                  <a:lnTo>
                    <a:pt x="38" y="66"/>
                  </a:lnTo>
                  <a:lnTo>
                    <a:pt x="38" y="66"/>
                  </a:lnTo>
                  <a:lnTo>
                    <a:pt x="40" y="64"/>
                  </a:lnTo>
                  <a:lnTo>
                    <a:pt x="42" y="64"/>
                  </a:lnTo>
                  <a:lnTo>
                    <a:pt x="42" y="64"/>
                  </a:lnTo>
                  <a:lnTo>
                    <a:pt x="44" y="62"/>
                  </a:lnTo>
                  <a:lnTo>
                    <a:pt x="44" y="62"/>
                  </a:lnTo>
                  <a:lnTo>
                    <a:pt x="46" y="62"/>
                  </a:lnTo>
                  <a:lnTo>
                    <a:pt x="48" y="60"/>
                  </a:lnTo>
                  <a:lnTo>
                    <a:pt x="48" y="60"/>
                  </a:lnTo>
                  <a:lnTo>
                    <a:pt x="50" y="60"/>
                  </a:lnTo>
                  <a:lnTo>
                    <a:pt x="52" y="60"/>
                  </a:lnTo>
                  <a:lnTo>
                    <a:pt x="52" y="60"/>
                  </a:lnTo>
                  <a:lnTo>
                    <a:pt x="58" y="60"/>
                  </a:lnTo>
                  <a:lnTo>
                    <a:pt x="58" y="60"/>
                  </a:lnTo>
                  <a:lnTo>
                    <a:pt x="60" y="54"/>
                  </a:lnTo>
                  <a:lnTo>
                    <a:pt x="60" y="54"/>
                  </a:lnTo>
                  <a:lnTo>
                    <a:pt x="60" y="60"/>
                  </a:lnTo>
                  <a:lnTo>
                    <a:pt x="60" y="60"/>
                  </a:lnTo>
                  <a:lnTo>
                    <a:pt x="60" y="60"/>
                  </a:lnTo>
                  <a:lnTo>
                    <a:pt x="62" y="60"/>
                  </a:lnTo>
                  <a:lnTo>
                    <a:pt x="64" y="58"/>
                  </a:lnTo>
                  <a:lnTo>
                    <a:pt x="64" y="58"/>
                  </a:lnTo>
                  <a:lnTo>
                    <a:pt x="64" y="58"/>
                  </a:lnTo>
                  <a:lnTo>
                    <a:pt x="68" y="60"/>
                  </a:lnTo>
                  <a:lnTo>
                    <a:pt x="70" y="60"/>
                  </a:lnTo>
                  <a:lnTo>
                    <a:pt x="70" y="60"/>
                  </a:lnTo>
                  <a:lnTo>
                    <a:pt x="72" y="60"/>
                  </a:lnTo>
                  <a:lnTo>
                    <a:pt x="70" y="58"/>
                  </a:lnTo>
                  <a:lnTo>
                    <a:pt x="70" y="56"/>
                  </a:lnTo>
                  <a:lnTo>
                    <a:pt x="70" y="56"/>
                  </a:lnTo>
                  <a:lnTo>
                    <a:pt x="74" y="52"/>
                  </a:lnTo>
                  <a:lnTo>
                    <a:pt x="74" y="52"/>
                  </a:lnTo>
                  <a:lnTo>
                    <a:pt x="74" y="50"/>
                  </a:lnTo>
                  <a:lnTo>
                    <a:pt x="76" y="50"/>
                  </a:lnTo>
                  <a:lnTo>
                    <a:pt x="76" y="50"/>
                  </a:lnTo>
                  <a:lnTo>
                    <a:pt x="76" y="48"/>
                  </a:lnTo>
                  <a:lnTo>
                    <a:pt x="76" y="46"/>
                  </a:lnTo>
                  <a:lnTo>
                    <a:pt x="76" y="46"/>
                  </a:lnTo>
                  <a:lnTo>
                    <a:pt x="76" y="44"/>
                  </a:lnTo>
                  <a:lnTo>
                    <a:pt x="76" y="42"/>
                  </a:lnTo>
                  <a:lnTo>
                    <a:pt x="76" y="42"/>
                  </a:lnTo>
                  <a:lnTo>
                    <a:pt x="74" y="38"/>
                  </a:lnTo>
                  <a:lnTo>
                    <a:pt x="74" y="38"/>
                  </a:lnTo>
                  <a:lnTo>
                    <a:pt x="74" y="38"/>
                  </a:lnTo>
                  <a:lnTo>
                    <a:pt x="74" y="38"/>
                  </a:lnTo>
                  <a:lnTo>
                    <a:pt x="76" y="36"/>
                  </a:lnTo>
                  <a:lnTo>
                    <a:pt x="76" y="36"/>
                  </a:lnTo>
                  <a:lnTo>
                    <a:pt x="76" y="36"/>
                  </a:lnTo>
                  <a:lnTo>
                    <a:pt x="76" y="34"/>
                  </a:lnTo>
                  <a:lnTo>
                    <a:pt x="76" y="34"/>
                  </a:lnTo>
                  <a:lnTo>
                    <a:pt x="76" y="34"/>
                  </a:lnTo>
                  <a:lnTo>
                    <a:pt x="76" y="34"/>
                  </a:lnTo>
                  <a:lnTo>
                    <a:pt x="74" y="30"/>
                  </a:lnTo>
                  <a:lnTo>
                    <a:pt x="74" y="30"/>
                  </a:lnTo>
                  <a:lnTo>
                    <a:pt x="74" y="30"/>
                  </a:lnTo>
                  <a:lnTo>
                    <a:pt x="72" y="28"/>
                  </a:lnTo>
                  <a:lnTo>
                    <a:pt x="72" y="28"/>
                  </a:lnTo>
                  <a:lnTo>
                    <a:pt x="72" y="26"/>
                  </a:lnTo>
                  <a:lnTo>
                    <a:pt x="74" y="26"/>
                  </a:lnTo>
                  <a:lnTo>
                    <a:pt x="74" y="26"/>
                  </a:lnTo>
                  <a:lnTo>
                    <a:pt x="76" y="26"/>
                  </a:lnTo>
                  <a:lnTo>
                    <a:pt x="76" y="26"/>
                  </a:lnTo>
                  <a:lnTo>
                    <a:pt x="76" y="26"/>
                  </a:lnTo>
                  <a:lnTo>
                    <a:pt x="72" y="24"/>
                  </a:lnTo>
                  <a:lnTo>
                    <a:pt x="68" y="24"/>
                  </a:lnTo>
                  <a:lnTo>
                    <a:pt x="68" y="24"/>
                  </a:lnTo>
                  <a:lnTo>
                    <a:pt x="68" y="24"/>
                  </a:lnTo>
                  <a:lnTo>
                    <a:pt x="66" y="22"/>
                  </a:lnTo>
                  <a:lnTo>
                    <a:pt x="66" y="20"/>
                  </a:lnTo>
                  <a:lnTo>
                    <a:pt x="66" y="20"/>
                  </a:lnTo>
                  <a:lnTo>
                    <a:pt x="62" y="16"/>
                  </a:lnTo>
                  <a:lnTo>
                    <a:pt x="60" y="18"/>
                  </a:lnTo>
                  <a:lnTo>
                    <a:pt x="60" y="18"/>
                  </a:lnTo>
                  <a:lnTo>
                    <a:pt x="58" y="20"/>
                  </a:lnTo>
                  <a:lnTo>
                    <a:pt x="56" y="20"/>
                  </a:lnTo>
                  <a:lnTo>
                    <a:pt x="50" y="18"/>
                  </a:lnTo>
                  <a:lnTo>
                    <a:pt x="50" y="18"/>
                  </a:lnTo>
                  <a:lnTo>
                    <a:pt x="48" y="14"/>
                  </a:lnTo>
                  <a:lnTo>
                    <a:pt x="52" y="12"/>
                  </a:lnTo>
                  <a:lnTo>
                    <a:pt x="52" y="12"/>
                  </a:lnTo>
                  <a:lnTo>
                    <a:pt x="52" y="12"/>
                  </a:lnTo>
                  <a:lnTo>
                    <a:pt x="52" y="10"/>
                  </a:lnTo>
                  <a:lnTo>
                    <a:pt x="54" y="8"/>
                  </a:lnTo>
                  <a:lnTo>
                    <a:pt x="56" y="8"/>
                  </a:lnTo>
                  <a:lnTo>
                    <a:pt x="56" y="8"/>
                  </a:lnTo>
                  <a:lnTo>
                    <a:pt x="58" y="8"/>
                  </a:lnTo>
                  <a:lnTo>
                    <a:pt x="60" y="6"/>
                  </a:lnTo>
                  <a:lnTo>
                    <a:pt x="60" y="6"/>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Israel"/>
            <p:cNvSpPr>
              <a:spLocks/>
            </p:cNvSpPr>
            <p:nvPr/>
          </p:nvSpPr>
          <p:spPr bwMode="auto">
            <a:xfrm>
              <a:off x="5049538" y="2520156"/>
              <a:ext cx="39688" cy="105833"/>
            </a:xfrm>
            <a:custGeom>
              <a:avLst/>
              <a:gdLst/>
              <a:ahLst/>
              <a:cxnLst>
                <a:cxn ang="0">
                  <a:pos x="20" y="80"/>
                </a:cxn>
                <a:cxn ang="0">
                  <a:pos x="20" y="80"/>
                </a:cxn>
                <a:cxn ang="0">
                  <a:pos x="2" y="50"/>
                </a:cxn>
                <a:cxn ang="0">
                  <a:pos x="2" y="50"/>
                </a:cxn>
                <a:cxn ang="0">
                  <a:pos x="0" y="48"/>
                </a:cxn>
                <a:cxn ang="0">
                  <a:pos x="0" y="44"/>
                </a:cxn>
                <a:cxn ang="0">
                  <a:pos x="2" y="42"/>
                </a:cxn>
                <a:cxn ang="0">
                  <a:pos x="4" y="40"/>
                </a:cxn>
                <a:cxn ang="0">
                  <a:pos x="2" y="36"/>
                </a:cxn>
                <a:cxn ang="0">
                  <a:pos x="2" y="36"/>
                </a:cxn>
                <a:cxn ang="0">
                  <a:pos x="4" y="28"/>
                </a:cxn>
                <a:cxn ang="0">
                  <a:pos x="6" y="24"/>
                </a:cxn>
                <a:cxn ang="0">
                  <a:pos x="6" y="22"/>
                </a:cxn>
                <a:cxn ang="0">
                  <a:pos x="8" y="16"/>
                </a:cxn>
                <a:cxn ang="0">
                  <a:pos x="8" y="16"/>
                </a:cxn>
                <a:cxn ang="0">
                  <a:pos x="8" y="12"/>
                </a:cxn>
                <a:cxn ang="0">
                  <a:pos x="10" y="8"/>
                </a:cxn>
                <a:cxn ang="0">
                  <a:pos x="12" y="4"/>
                </a:cxn>
                <a:cxn ang="0">
                  <a:pos x="12" y="0"/>
                </a:cxn>
                <a:cxn ang="0">
                  <a:pos x="30" y="0"/>
                </a:cxn>
                <a:cxn ang="0">
                  <a:pos x="28" y="6"/>
                </a:cxn>
                <a:cxn ang="0">
                  <a:pos x="28" y="6"/>
                </a:cxn>
                <a:cxn ang="0">
                  <a:pos x="24" y="6"/>
                </a:cxn>
                <a:cxn ang="0">
                  <a:pos x="24" y="8"/>
                </a:cxn>
                <a:cxn ang="0">
                  <a:pos x="24" y="10"/>
                </a:cxn>
                <a:cxn ang="0">
                  <a:pos x="22" y="12"/>
                </a:cxn>
                <a:cxn ang="0">
                  <a:pos x="22" y="12"/>
                </a:cxn>
                <a:cxn ang="0">
                  <a:pos x="20" y="12"/>
                </a:cxn>
                <a:cxn ang="0">
                  <a:pos x="20" y="10"/>
                </a:cxn>
                <a:cxn ang="0">
                  <a:pos x="18" y="8"/>
                </a:cxn>
                <a:cxn ang="0">
                  <a:pos x="16" y="8"/>
                </a:cxn>
                <a:cxn ang="0">
                  <a:pos x="16" y="8"/>
                </a:cxn>
                <a:cxn ang="0">
                  <a:pos x="14" y="10"/>
                </a:cxn>
                <a:cxn ang="0">
                  <a:pos x="12" y="12"/>
                </a:cxn>
                <a:cxn ang="0">
                  <a:pos x="12" y="18"/>
                </a:cxn>
                <a:cxn ang="0">
                  <a:pos x="14" y="24"/>
                </a:cxn>
                <a:cxn ang="0">
                  <a:pos x="14" y="26"/>
                </a:cxn>
                <a:cxn ang="0">
                  <a:pos x="14" y="26"/>
                </a:cxn>
                <a:cxn ang="0">
                  <a:pos x="16" y="28"/>
                </a:cxn>
                <a:cxn ang="0">
                  <a:pos x="18" y="30"/>
                </a:cxn>
                <a:cxn ang="0">
                  <a:pos x="16" y="34"/>
                </a:cxn>
                <a:cxn ang="0">
                  <a:pos x="12" y="36"/>
                </a:cxn>
                <a:cxn ang="0">
                  <a:pos x="12" y="40"/>
                </a:cxn>
                <a:cxn ang="0">
                  <a:pos x="12" y="40"/>
                </a:cxn>
                <a:cxn ang="0">
                  <a:pos x="14" y="40"/>
                </a:cxn>
                <a:cxn ang="0">
                  <a:pos x="16" y="40"/>
                </a:cxn>
                <a:cxn ang="0">
                  <a:pos x="20" y="38"/>
                </a:cxn>
                <a:cxn ang="0">
                  <a:pos x="22" y="38"/>
                </a:cxn>
                <a:cxn ang="0">
                  <a:pos x="24" y="40"/>
                </a:cxn>
                <a:cxn ang="0">
                  <a:pos x="24" y="46"/>
                </a:cxn>
                <a:cxn ang="0">
                  <a:pos x="24" y="46"/>
                </a:cxn>
                <a:cxn ang="0">
                  <a:pos x="22" y="64"/>
                </a:cxn>
                <a:cxn ang="0">
                  <a:pos x="20" y="80"/>
                </a:cxn>
                <a:cxn ang="0">
                  <a:pos x="20" y="80"/>
                </a:cxn>
              </a:cxnLst>
              <a:rect l="0" t="0" r="r" b="b"/>
              <a:pathLst>
                <a:path w="30" h="80">
                  <a:moveTo>
                    <a:pt x="20" y="80"/>
                  </a:moveTo>
                  <a:lnTo>
                    <a:pt x="20" y="80"/>
                  </a:lnTo>
                  <a:lnTo>
                    <a:pt x="2" y="50"/>
                  </a:lnTo>
                  <a:lnTo>
                    <a:pt x="2" y="50"/>
                  </a:lnTo>
                  <a:lnTo>
                    <a:pt x="0" y="48"/>
                  </a:lnTo>
                  <a:lnTo>
                    <a:pt x="0" y="44"/>
                  </a:lnTo>
                  <a:lnTo>
                    <a:pt x="2" y="42"/>
                  </a:lnTo>
                  <a:lnTo>
                    <a:pt x="4" y="40"/>
                  </a:lnTo>
                  <a:lnTo>
                    <a:pt x="2" y="36"/>
                  </a:lnTo>
                  <a:lnTo>
                    <a:pt x="2" y="36"/>
                  </a:lnTo>
                  <a:lnTo>
                    <a:pt x="4" y="28"/>
                  </a:lnTo>
                  <a:lnTo>
                    <a:pt x="6" y="24"/>
                  </a:lnTo>
                  <a:lnTo>
                    <a:pt x="6" y="22"/>
                  </a:lnTo>
                  <a:lnTo>
                    <a:pt x="8" y="16"/>
                  </a:lnTo>
                  <a:lnTo>
                    <a:pt x="8" y="16"/>
                  </a:lnTo>
                  <a:lnTo>
                    <a:pt x="8" y="12"/>
                  </a:lnTo>
                  <a:lnTo>
                    <a:pt x="10" y="8"/>
                  </a:lnTo>
                  <a:lnTo>
                    <a:pt x="12" y="4"/>
                  </a:lnTo>
                  <a:lnTo>
                    <a:pt x="12" y="0"/>
                  </a:lnTo>
                  <a:lnTo>
                    <a:pt x="30" y="0"/>
                  </a:lnTo>
                  <a:lnTo>
                    <a:pt x="28" y="6"/>
                  </a:lnTo>
                  <a:lnTo>
                    <a:pt x="28" y="6"/>
                  </a:lnTo>
                  <a:lnTo>
                    <a:pt x="24" y="6"/>
                  </a:lnTo>
                  <a:lnTo>
                    <a:pt x="24" y="8"/>
                  </a:lnTo>
                  <a:lnTo>
                    <a:pt x="24" y="10"/>
                  </a:lnTo>
                  <a:lnTo>
                    <a:pt x="22" y="12"/>
                  </a:lnTo>
                  <a:lnTo>
                    <a:pt x="22" y="12"/>
                  </a:lnTo>
                  <a:lnTo>
                    <a:pt x="20" y="12"/>
                  </a:lnTo>
                  <a:lnTo>
                    <a:pt x="20" y="10"/>
                  </a:lnTo>
                  <a:lnTo>
                    <a:pt x="18" y="8"/>
                  </a:lnTo>
                  <a:lnTo>
                    <a:pt x="16" y="8"/>
                  </a:lnTo>
                  <a:lnTo>
                    <a:pt x="16" y="8"/>
                  </a:lnTo>
                  <a:lnTo>
                    <a:pt x="14" y="10"/>
                  </a:lnTo>
                  <a:lnTo>
                    <a:pt x="12" y="12"/>
                  </a:lnTo>
                  <a:lnTo>
                    <a:pt x="12" y="18"/>
                  </a:lnTo>
                  <a:lnTo>
                    <a:pt x="14" y="24"/>
                  </a:lnTo>
                  <a:lnTo>
                    <a:pt x="14" y="26"/>
                  </a:lnTo>
                  <a:lnTo>
                    <a:pt x="14" y="26"/>
                  </a:lnTo>
                  <a:lnTo>
                    <a:pt x="16" y="28"/>
                  </a:lnTo>
                  <a:lnTo>
                    <a:pt x="18" y="30"/>
                  </a:lnTo>
                  <a:lnTo>
                    <a:pt x="16" y="34"/>
                  </a:lnTo>
                  <a:lnTo>
                    <a:pt x="12" y="36"/>
                  </a:lnTo>
                  <a:lnTo>
                    <a:pt x="12" y="40"/>
                  </a:lnTo>
                  <a:lnTo>
                    <a:pt x="12" y="40"/>
                  </a:lnTo>
                  <a:lnTo>
                    <a:pt x="14" y="40"/>
                  </a:lnTo>
                  <a:lnTo>
                    <a:pt x="16" y="40"/>
                  </a:lnTo>
                  <a:lnTo>
                    <a:pt x="20" y="38"/>
                  </a:lnTo>
                  <a:lnTo>
                    <a:pt x="22" y="38"/>
                  </a:lnTo>
                  <a:lnTo>
                    <a:pt x="24" y="40"/>
                  </a:lnTo>
                  <a:lnTo>
                    <a:pt x="24" y="46"/>
                  </a:lnTo>
                  <a:lnTo>
                    <a:pt x="24" y="46"/>
                  </a:lnTo>
                  <a:lnTo>
                    <a:pt x="22" y="64"/>
                  </a:lnTo>
                  <a:lnTo>
                    <a:pt x="20" y="80"/>
                  </a:lnTo>
                  <a:lnTo>
                    <a:pt x="20" y="80"/>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Italy"/>
            <p:cNvSpPr>
              <a:spLocks/>
            </p:cNvSpPr>
            <p:nvPr/>
          </p:nvSpPr>
          <p:spPr bwMode="auto">
            <a:xfrm>
              <a:off x="4308705" y="2123280"/>
              <a:ext cx="298979" cy="283104"/>
            </a:xfrm>
            <a:custGeom>
              <a:avLst/>
              <a:gdLst/>
              <a:ahLst/>
              <a:cxnLst/>
              <a:rect l="l" t="t" r="r" b="b"/>
              <a:pathLst>
                <a:path w="298979" h="283104">
                  <a:moveTo>
                    <a:pt x="235479" y="238125"/>
                  </a:moveTo>
                  <a:lnTo>
                    <a:pt x="235479" y="240771"/>
                  </a:lnTo>
                  <a:lnTo>
                    <a:pt x="232833" y="248708"/>
                  </a:lnTo>
                  <a:lnTo>
                    <a:pt x="227542" y="254000"/>
                  </a:lnTo>
                  <a:lnTo>
                    <a:pt x="224896" y="256646"/>
                  </a:lnTo>
                  <a:lnTo>
                    <a:pt x="224896" y="259292"/>
                  </a:lnTo>
                  <a:lnTo>
                    <a:pt x="227542" y="261938"/>
                  </a:lnTo>
                  <a:lnTo>
                    <a:pt x="224896" y="261938"/>
                  </a:lnTo>
                  <a:lnTo>
                    <a:pt x="224896" y="264583"/>
                  </a:lnTo>
                  <a:lnTo>
                    <a:pt x="224896" y="267229"/>
                  </a:lnTo>
                  <a:lnTo>
                    <a:pt x="224896" y="269875"/>
                  </a:lnTo>
                  <a:lnTo>
                    <a:pt x="224896" y="275167"/>
                  </a:lnTo>
                  <a:lnTo>
                    <a:pt x="222250" y="280458"/>
                  </a:lnTo>
                  <a:lnTo>
                    <a:pt x="222250" y="283104"/>
                  </a:lnTo>
                  <a:lnTo>
                    <a:pt x="219604" y="283104"/>
                  </a:lnTo>
                  <a:lnTo>
                    <a:pt x="214313" y="280458"/>
                  </a:lnTo>
                  <a:lnTo>
                    <a:pt x="211667" y="280458"/>
                  </a:lnTo>
                  <a:lnTo>
                    <a:pt x="209021" y="280458"/>
                  </a:lnTo>
                  <a:lnTo>
                    <a:pt x="206375" y="280458"/>
                  </a:lnTo>
                  <a:lnTo>
                    <a:pt x="201083" y="275167"/>
                  </a:lnTo>
                  <a:lnTo>
                    <a:pt x="198438" y="272521"/>
                  </a:lnTo>
                  <a:lnTo>
                    <a:pt x="190500" y="272521"/>
                  </a:lnTo>
                  <a:lnTo>
                    <a:pt x="185208" y="272521"/>
                  </a:lnTo>
                  <a:lnTo>
                    <a:pt x="182562" y="269875"/>
                  </a:lnTo>
                  <a:lnTo>
                    <a:pt x="177271" y="264583"/>
                  </a:lnTo>
                  <a:lnTo>
                    <a:pt x="169333" y="261938"/>
                  </a:lnTo>
                  <a:lnTo>
                    <a:pt x="164042" y="259292"/>
                  </a:lnTo>
                  <a:lnTo>
                    <a:pt x="156104" y="256646"/>
                  </a:lnTo>
                  <a:lnTo>
                    <a:pt x="153458" y="254000"/>
                  </a:lnTo>
                  <a:lnTo>
                    <a:pt x="156104" y="248708"/>
                  </a:lnTo>
                  <a:lnTo>
                    <a:pt x="161396" y="243417"/>
                  </a:lnTo>
                  <a:lnTo>
                    <a:pt x="164042" y="243417"/>
                  </a:lnTo>
                  <a:lnTo>
                    <a:pt x="166687" y="243417"/>
                  </a:lnTo>
                  <a:lnTo>
                    <a:pt x="171979" y="246063"/>
                  </a:lnTo>
                  <a:lnTo>
                    <a:pt x="174625" y="243417"/>
                  </a:lnTo>
                  <a:lnTo>
                    <a:pt x="179917" y="243417"/>
                  </a:lnTo>
                  <a:lnTo>
                    <a:pt x="182562" y="243417"/>
                  </a:lnTo>
                  <a:lnTo>
                    <a:pt x="187854" y="246063"/>
                  </a:lnTo>
                  <a:lnTo>
                    <a:pt x="190500" y="246063"/>
                  </a:lnTo>
                  <a:lnTo>
                    <a:pt x="195792" y="248708"/>
                  </a:lnTo>
                  <a:lnTo>
                    <a:pt x="198438" y="246063"/>
                  </a:lnTo>
                  <a:lnTo>
                    <a:pt x="201083" y="246063"/>
                  </a:lnTo>
                  <a:lnTo>
                    <a:pt x="203729" y="246063"/>
                  </a:lnTo>
                  <a:lnTo>
                    <a:pt x="209021" y="246063"/>
                  </a:lnTo>
                  <a:lnTo>
                    <a:pt x="211667" y="243417"/>
                  </a:lnTo>
                  <a:lnTo>
                    <a:pt x="214313" y="240771"/>
                  </a:lnTo>
                  <a:lnTo>
                    <a:pt x="219604" y="243417"/>
                  </a:lnTo>
                  <a:lnTo>
                    <a:pt x="222250" y="243417"/>
                  </a:lnTo>
                  <a:lnTo>
                    <a:pt x="224896" y="243417"/>
                  </a:lnTo>
                  <a:lnTo>
                    <a:pt x="227542" y="240771"/>
                  </a:lnTo>
                  <a:lnTo>
                    <a:pt x="232833" y="240771"/>
                  </a:lnTo>
                  <a:close/>
                  <a:moveTo>
                    <a:pt x="127000" y="0"/>
                  </a:moveTo>
                  <a:lnTo>
                    <a:pt x="129646" y="2646"/>
                  </a:lnTo>
                  <a:lnTo>
                    <a:pt x="129646" y="5292"/>
                  </a:lnTo>
                  <a:lnTo>
                    <a:pt x="132291" y="5292"/>
                  </a:lnTo>
                  <a:lnTo>
                    <a:pt x="137583" y="7937"/>
                  </a:lnTo>
                  <a:lnTo>
                    <a:pt x="140229" y="10583"/>
                  </a:lnTo>
                  <a:lnTo>
                    <a:pt x="145521" y="10583"/>
                  </a:lnTo>
                  <a:lnTo>
                    <a:pt x="150812" y="13229"/>
                  </a:lnTo>
                  <a:lnTo>
                    <a:pt x="156104" y="13229"/>
                  </a:lnTo>
                  <a:lnTo>
                    <a:pt x="161396" y="13229"/>
                  </a:lnTo>
                  <a:lnTo>
                    <a:pt x="161396" y="15875"/>
                  </a:lnTo>
                  <a:lnTo>
                    <a:pt x="164042" y="18521"/>
                  </a:lnTo>
                  <a:lnTo>
                    <a:pt x="164042" y="21167"/>
                  </a:lnTo>
                  <a:lnTo>
                    <a:pt x="166688" y="23812"/>
                  </a:lnTo>
                  <a:lnTo>
                    <a:pt x="169333" y="26458"/>
                  </a:lnTo>
                  <a:lnTo>
                    <a:pt x="174625" y="29104"/>
                  </a:lnTo>
                  <a:lnTo>
                    <a:pt x="174625" y="34396"/>
                  </a:lnTo>
                  <a:lnTo>
                    <a:pt x="171979" y="34396"/>
                  </a:lnTo>
                  <a:lnTo>
                    <a:pt x="169333" y="31750"/>
                  </a:lnTo>
                  <a:lnTo>
                    <a:pt x="169333" y="29104"/>
                  </a:lnTo>
                  <a:lnTo>
                    <a:pt x="166688" y="31750"/>
                  </a:lnTo>
                  <a:lnTo>
                    <a:pt x="164042" y="37042"/>
                  </a:lnTo>
                  <a:lnTo>
                    <a:pt x="158750" y="39687"/>
                  </a:lnTo>
                  <a:lnTo>
                    <a:pt x="148166" y="39687"/>
                  </a:lnTo>
                  <a:lnTo>
                    <a:pt x="145521" y="42333"/>
                  </a:lnTo>
                  <a:lnTo>
                    <a:pt x="145521" y="44979"/>
                  </a:lnTo>
                  <a:lnTo>
                    <a:pt x="148166" y="50271"/>
                  </a:lnTo>
                  <a:lnTo>
                    <a:pt x="148166" y="52917"/>
                  </a:lnTo>
                  <a:lnTo>
                    <a:pt x="145521" y="52917"/>
                  </a:lnTo>
                  <a:lnTo>
                    <a:pt x="142875" y="55562"/>
                  </a:lnTo>
                  <a:lnTo>
                    <a:pt x="145521" y="60854"/>
                  </a:lnTo>
                  <a:lnTo>
                    <a:pt x="145521" y="63500"/>
                  </a:lnTo>
                  <a:lnTo>
                    <a:pt x="145521" y="68791"/>
                  </a:lnTo>
                  <a:lnTo>
                    <a:pt x="145521" y="71437"/>
                  </a:lnTo>
                  <a:lnTo>
                    <a:pt x="148166" y="74083"/>
                  </a:lnTo>
                  <a:lnTo>
                    <a:pt x="156104" y="76729"/>
                  </a:lnTo>
                  <a:lnTo>
                    <a:pt x="166688" y="82021"/>
                  </a:lnTo>
                  <a:lnTo>
                    <a:pt x="171979" y="89958"/>
                  </a:lnTo>
                  <a:lnTo>
                    <a:pt x="177271" y="97896"/>
                  </a:lnTo>
                  <a:lnTo>
                    <a:pt x="182563" y="108479"/>
                  </a:lnTo>
                  <a:lnTo>
                    <a:pt x="187854" y="113771"/>
                  </a:lnTo>
                  <a:lnTo>
                    <a:pt x="193146" y="119062"/>
                  </a:lnTo>
                  <a:lnTo>
                    <a:pt x="206375" y="132291"/>
                  </a:lnTo>
                  <a:lnTo>
                    <a:pt x="211667" y="134937"/>
                  </a:lnTo>
                  <a:lnTo>
                    <a:pt x="214313" y="134937"/>
                  </a:lnTo>
                  <a:lnTo>
                    <a:pt x="222250" y="137583"/>
                  </a:lnTo>
                  <a:lnTo>
                    <a:pt x="224896" y="137583"/>
                  </a:lnTo>
                  <a:lnTo>
                    <a:pt x="230188" y="137583"/>
                  </a:lnTo>
                  <a:lnTo>
                    <a:pt x="232833" y="137583"/>
                  </a:lnTo>
                  <a:lnTo>
                    <a:pt x="238125" y="137583"/>
                  </a:lnTo>
                  <a:lnTo>
                    <a:pt x="243417" y="142875"/>
                  </a:lnTo>
                  <a:lnTo>
                    <a:pt x="240771" y="145521"/>
                  </a:lnTo>
                  <a:lnTo>
                    <a:pt x="235479" y="148166"/>
                  </a:lnTo>
                  <a:lnTo>
                    <a:pt x="240771" y="150812"/>
                  </a:lnTo>
                  <a:lnTo>
                    <a:pt x="254000" y="156104"/>
                  </a:lnTo>
                  <a:lnTo>
                    <a:pt x="264583" y="161396"/>
                  </a:lnTo>
                  <a:lnTo>
                    <a:pt x="272521" y="166687"/>
                  </a:lnTo>
                  <a:lnTo>
                    <a:pt x="277813" y="171979"/>
                  </a:lnTo>
                  <a:lnTo>
                    <a:pt x="285750" y="171979"/>
                  </a:lnTo>
                  <a:lnTo>
                    <a:pt x="293688" y="177271"/>
                  </a:lnTo>
                  <a:lnTo>
                    <a:pt x="298979" y="182562"/>
                  </a:lnTo>
                  <a:lnTo>
                    <a:pt x="298979" y="185208"/>
                  </a:lnTo>
                  <a:lnTo>
                    <a:pt x="296333" y="187854"/>
                  </a:lnTo>
                  <a:lnTo>
                    <a:pt x="296333" y="190500"/>
                  </a:lnTo>
                  <a:lnTo>
                    <a:pt x="296333" y="193146"/>
                  </a:lnTo>
                  <a:lnTo>
                    <a:pt x="293688" y="193146"/>
                  </a:lnTo>
                  <a:lnTo>
                    <a:pt x="291042" y="187854"/>
                  </a:lnTo>
                  <a:lnTo>
                    <a:pt x="285750" y="182562"/>
                  </a:lnTo>
                  <a:lnTo>
                    <a:pt x="277813" y="182562"/>
                  </a:lnTo>
                  <a:lnTo>
                    <a:pt x="275167" y="182562"/>
                  </a:lnTo>
                  <a:lnTo>
                    <a:pt x="272521" y="179916"/>
                  </a:lnTo>
                  <a:lnTo>
                    <a:pt x="269875" y="177271"/>
                  </a:lnTo>
                  <a:lnTo>
                    <a:pt x="267229" y="179916"/>
                  </a:lnTo>
                  <a:lnTo>
                    <a:pt x="261938" y="185208"/>
                  </a:lnTo>
                  <a:lnTo>
                    <a:pt x="261938" y="187854"/>
                  </a:lnTo>
                  <a:lnTo>
                    <a:pt x="261938" y="193146"/>
                  </a:lnTo>
                  <a:lnTo>
                    <a:pt x="261938" y="195791"/>
                  </a:lnTo>
                  <a:lnTo>
                    <a:pt x="259292" y="198437"/>
                  </a:lnTo>
                  <a:lnTo>
                    <a:pt x="264583" y="198437"/>
                  </a:lnTo>
                  <a:lnTo>
                    <a:pt x="269875" y="203729"/>
                  </a:lnTo>
                  <a:lnTo>
                    <a:pt x="269875" y="206375"/>
                  </a:lnTo>
                  <a:lnTo>
                    <a:pt x="275167" y="211666"/>
                  </a:lnTo>
                  <a:lnTo>
                    <a:pt x="275167" y="214312"/>
                  </a:lnTo>
                  <a:lnTo>
                    <a:pt x="275167" y="216958"/>
                  </a:lnTo>
                  <a:lnTo>
                    <a:pt x="272521" y="216958"/>
                  </a:lnTo>
                  <a:lnTo>
                    <a:pt x="269875" y="216958"/>
                  </a:lnTo>
                  <a:lnTo>
                    <a:pt x="267229" y="216958"/>
                  </a:lnTo>
                  <a:lnTo>
                    <a:pt x="267229" y="222250"/>
                  </a:lnTo>
                  <a:lnTo>
                    <a:pt x="267229" y="227541"/>
                  </a:lnTo>
                  <a:lnTo>
                    <a:pt x="261938" y="232833"/>
                  </a:lnTo>
                  <a:lnTo>
                    <a:pt x="259292" y="235479"/>
                  </a:lnTo>
                  <a:lnTo>
                    <a:pt x="256646" y="240771"/>
                  </a:lnTo>
                  <a:lnTo>
                    <a:pt x="254000" y="246062"/>
                  </a:lnTo>
                  <a:lnTo>
                    <a:pt x="251354" y="248708"/>
                  </a:lnTo>
                  <a:lnTo>
                    <a:pt x="243417" y="251354"/>
                  </a:lnTo>
                  <a:lnTo>
                    <a:pt x="240771" y="251354"/>
                  </a:lnTo>
                  <a:lnTo>
                    <a:pt x="238125" y="248708"/>
                  </a:lnTo>
                  <a:lnTo>
                    <a:pt x="235479" y="246062"/>
                  </a:lnTo>
                  <a:lnTo>
                    <a:pt x="238125" y="243417"/>
                  </a:lnTo>
                  <a:lnTo>
                    <a:pt x="240771" y="235479"/>
                  </a:lnTo>
                  <a:lnTo>
                    <a:pt x="240771" y="232833"/>
                  </a:lnTo>
                  <a:lnTo>
                    <a:pt x="238125" y="230187"/>
                  </a:lnTo>
                  <a:lnTo>
                    <a:pt x="240771" y="227541"/>
                  </a:lnTo>
                  <a:lnTo>
                    <a:pt x="246063" y="222250"/>
                  </a:lnTo>
                  <a:lnTo>
                    <a:pt x="243417" y="216958"/>
                  </a:lnTo>
                  <a:lnTo>
                    <a:pt x="238125" y="206375"/>
                  </a:lnTo>
                  <a:lnTo>
                    <a:pt x="235479" y="201083"/>
                  </a:lnTo>
                  <a:lnTo>
                    <a:pt x="232833" y="195791"/>
                  </a:lnTo>
                  <a:lnTo>
                    <a:pt x="232833" y="190500"/>
                  </a:lnTo>
                  <a:lnTo>
                    <a:pt x="227542" y="190500"/>
                  </a:lnTo>
                  <a:lnTo>
                    <a:pt x="222250" y="190500"/>
                  </a:lnTo>
                  <a:lnTo>
                    <a:pt x="216958" y="187854"/>
                  </a:lnTo>
                  <a:lnTo>
                    <a:pt x="211667" y="185208"/>
                  </a:lnTo>
                  <a:lnTo>
                    <a:pt x="209021" y="182562"/>
                  </a:lnTo>
                  <a:lnTo>
                    <a:pt x="209021" y="179916"/>
                  </a:lnTo>
                  <a:lnTo>
                    <a:pt x="211667" y="179916"/>
                  </a:lnTo>
                  <a:lnTo>
                    <a:pt x="206375" y="177271"/>
                  </a:lnTo>
                  <a:lnTo>
                    <a:pt x="198438" y="174625"/>
                  </a:lnTo>
                  <a:lnTo>
                    <a:pt x="195792" y="171979"/>
                  </a:lnTo>
                  <a:lnTo>
                    <a:pt x="195792" y="166687"/>
                  </a:lnTo>
                  <a:lnTo>
                    <a:pt x="193146" y="169333"/>
                  </a:lnTo>
                  <a:lnTo>
                    <a:pt x="187854" y="169333"/>
                  </a:lnTo>
                  <a:lnTo>
                    <a:pt x="185208" y="166687"/>
                  </a:lnTo>
                  <a:lnTo>
                    <a:pt x="182563" y="164041"/>
                  </a:lnTo>
                  <a:lnTo>
                    <a:pt x="179917" y="161396"/>
                  </a:lnTo>
                  <a:lnTo>
                    <a:pt x="171979" y="161396"/>
                  </a:lnTo>
                  <a:lnTo>
                    <a:pt x="164042" y="158750"/>
                  </a:lnTo>
                  <a:lnTo>
                    <a:pt x="148166" y="145521"/>
                  </a:lnTo>
                  <a:lnTo>
                    <a:pt x="145521" y="142875"/>
                  </a:lnTo>
                  <a:lnTo>
                    <a:pt x="142875" y="140229"/>
                  </a:lnTo>
                  <a:lnTo>
                    <a:pt x="140229" y="137583"/>
                  </a:lnTo>
                  <a:lnTo>
                    <a:pt x="132291" y="132291"/>
                  </a:lnTo>
                  <a:lnTo>
                    <a:pt x="129646" y="127000"/>
                  </a:lnTo>
                  <a:lnTo>
                    <a:pt x="129646" y="124354"/>
                  </a:lnTo>
                  <a:lnTo>
                    <a:pt x="127000" y="124354"/>
                  </a:lnTo>
                  <a:lnTo>
                    <a:pt x="121708" y="124354"/>
                  </a:lnTo>
                  <a:lnTo>
                    <a:pt x="119062" y="124354"/>
                  </a:lnTo>
                  <a:lnTo>
                    <a:pt x="116416" y="119062"/>
                  </a:lnTo>
                  <a:lnTo>
                    <a:pt x="111125" y="111125"/>
                  </a:lnTo>
                  <a:lnTo>
                    <a:pt x="103187" y="103187"/>
                  </a:lnTo>
                  <a:lnTo>
                    <a:pt x="100541" y="100541"/>
                  </a:lnTo>
                  <a:lnTo>
                    <a:pt x="97896" y="97896"/>
                  </a:lnTo>
                  <a:lnTo>
                    <a:pt x="97896" y="95250"/>
                  </a:lnTo>
                  <a:lnTo>
                    <a:pt x="95250" y="92604"/>
                  </a:lnTo>
                  <a:lnTo>
                    <a:pt x="92604" y="89958"/>
                  </a:lnTo>
                  <a:lnTo>
                    <a:pt x="89958" y="84666"/>
                  </a:lnTo>
                  <a:lnTo>
                    <a:pt x="84666" y="79375"/>
                  </a:lnTo>
                  <a:lnTo>
                    <a:pt x="74083" y="74083"/>
                  </a:lnTo>
                  <a:lnTo>
                    <a:pt x="63500" y="71437"/>
                  </a:lnTo>
                  <a:lnTo>
                    <a:pt x="52916" y="71437"/>
                  </a:lnTo>
                  <a:lnTo>
                    <a:pt x="47625" y="71437"/>
                  </a:lnTo>
                  <a:lnTo>
                    <a:pt x="42333" y="74083"/>
                  </a:lnTo>
                  <a:lnTo>
                    <a:pt x="29104" y="82021"/>
                  </a:lnTo>
                  <a:lnTo>
                    <a:pt x="18521" y="87312"/>
                  </a:lnTo>
                  <a:lnTo>
                    <a:pt x="21166" y="82021"/>
                  </a:lnTo>
                  <a:lnTo>
                    <a:pt x="21166" y="79375"/>
                  </a:lnTo>
                  <a:lnTo>
                    <a:pt x="18521" y="79375"/>
                  </a:lnTo>
                  <a:lnTo>
                    <a:pt x="10583" y="79375"/>
                  </a:lnTo>
                  <a:lnTo>
                    <a:pt x="7937" y="76729"/>
                  </a:lnTo>
                  <a:lnTo>
                    <a:pt x="5291" y="68791"/>
                  </a:lnTo>
                  <a:lnTo>
                    <a:pt x="5291" y="63500"/>
                  </a:lnTo>
                  <a:lnTo>
                    <a:pt x="7937" y="58208"/>
                  </a:lnTo>
                  <a:lnTo>
                    <a:pt x="7937" y="55562"/>
                  </a:lnTo>
                  <a:lnTo>
                    <a:pt x="2646" y="52917"/>
                  </a:lnTo>
                  <a:lnTo>
                    <a:pt x="0" y="52917"/>
                  </a:lnTo>
                  <a:lnTo>
                    <a:pt x="0" y="50271"/>
                  </a:lnTo>
                  <a:lnTo>
                    <a:pt x="7937" y="42333"/>
                  </a:lnTo>
                  <a:lnTo>
                    <a:pt x="7937" y="39687"/>
                  </a:lnTo>
                  <a:lnTo>
                    <a:pt x="5291" y="39687"/>
                  </a:lnTo>
                  <a:lnTo>
                    <a:pt x="2646" y="34396"/>
                  </a:lnTo>
                  <a:lnTo>
                    <a:pt x="2646" y="29104"/>
                  </a:lnTo>
                  <a:lnTo>
                    <a:pt x="7937" y="26458"/>
                  </a:lnTo>
                  <a:lnTo>
                    <a:pt x="15875" y="26458"/>
                  </a:lnTo>
                  <a:lnTo>
                    <a:pt x="21166" y="29104"/>
                  </a:lnTo>
                  <a:lnTo>
                    <a:pt x="23812" y="26458"/>
                  </a:lnTo>
                  <a:lnTo>
                    <a:pt x="29104" y="21167"/>
                  </a:lnTo>
                  <a:lnTo>
                    <a:pt x="34396" y="15875"/>
                  </a:lnTo>
                  <a:lnTo>
                    <a:pt x="39687" y="15875"/>
                  </a:lnTo>
                  <a:lnTo>
                    <a:pt x="39687" y="18521"/>
                  </a:lnTo>
                  <a:lnTo>
                    <a:pt x="39687" y="21167"/>
                  </a:lnTo>
                  <a:lnTo>
                    <a:pt x="42333" y="23812"/>
                  </a:lnTo>
                  <a:lnTo>
                    <a:pt x="50271" y="26458"/>
                  </a:lnTo>
                  <a:lnTo>
                    <a:pt x="52916" y="26458"/>
                  </a:lnTo>
                  <a:lnTo>
                    <a:pt x="55562" y="21167"/>
                  </a:lnTo>
                  <a:lnTo>
                    <a:pt x="58208" y="18521"/>
                  </a:lnTo>
                  <a:lnTo>
                    <a:pt x="60854" y="15875"/>
                  </a:lnTo>
                  <a:lnTo>
                    <a:pt x="60854" y="13229"/>
                  </a:lnTo>
                  <a:lnTo>
                    <a:pt x="63500" y="13229"/>
                  </a:lnTo>
                  <a:lnTo>
                    <a:pt x="66146" y="15875"/>
                  </a:lnTo>
                  <a:lnTo>
                    <a:pt x="68791" y="15875"/>
                  </a:lnTo>
                  <a:lnTo>
                    <a:pt x="71437" y="15875"/>
                  </a:lnTo>
                  <a:lnTo>
                    <a:pt x="74083" y="18521"/>
                  </a:lnTo>
                  <a:lnTo>
                    <a:pt x="76729" y="18521"/>
                  </a:lnTo>
                  <a:lnTo>
                    <a:pt x="76729" y="15875"/>
                  </a:lnTo>
                  <a:lnTo>
                    <a:pt x="74083" y="10583"/>
                  </a:lnTo>
                  <a:lnTo>
                    <a:pt x="76729" y="10583"/>
                  </a:lnTo>
                  <a:lnTo>
                    <a:pt x="82021" y="10583"/>
                  </a:lnTo>
                  <a:lnTo>
                    <a:pt x="82021" y="7937"/>
                  </a:lnTo>
                  <a:lnTo>
                    <a:pt x="87312" y="5292"/>
                  </a:lnTo>
                  <a:lnTo>
                    <a:pt x="92604" y="7937"/>
                  </a:lnTo>
                  <a:lnTo>
                    <a:pt x="95250" y="7937"/>
                  </a:lnTo>
                  <a:lnTo>
                    <a:pt x="97896" y="7937"/>
                  </a:lnTo>
                  <a:lnTo>
                    <a:pt x="100541" y="5292"/>
                  </a:lnTo>
                  <a:lnTo>
                    <a:pt x="103187" y="2646"/>
                  </a:lnTo>
                  <a:lnTo>
                    <a:pt x="111125" y="2646"/>
                  </a:lnTo>
                  <a:lnTo>
                    <a:pt x="119062" y="2646"/>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Japan"/>
            <p:cNvSpPr>
              <a:spLocks/>
            </p:cNvSpPr>
            <p:nvPr/>
          </p:nvSpPr>
          <p:spPr bwMode="auto">
            <a:xfrm>
              <a:off x="7523392" y="2157676"/>
              <a:ext cx="251354" cy="418042"/>
            </a:xfrm>
            <a:custGeom>
              <a:avLst/>
              <a:gdLst/>
              <a:ahLst/>
              <a:cxnLst/>
              <a:rect l="l" t="t" r="r" b="b"/>
              <a:pathLst>
                <a:path w="251354" h="418042">
                  <a:moveTo>
                    <a:pt x="21166" y="336021"/>
                  </a:moveTo>
                  <a:lnTo>
                    <a:pt x="29104" y="336021"/>
                  </a:lnTo>
                  <a:lnTo>
                    <a:pt x="29104" y="338667"/>
                  </a:lnTo>
                  <a:lnTo>
                    <a:pt x="29104" y="341313"/>
                  </a:lnTo>
                  <a:lnTo>
                    <a:pt x="34396" y="343959"/>
                  </a:lnTo>
                  <a:lnTo>
                    <a:pt x="39687" y="343959"/>
                  </a:lnTo>
                  <a:lnTo>
                    <a:pt x="42333" y="343959"/>
                  </a:lnTo>
                  <a:lnTo>
                    <a:pt x="44979" y="341313"/>
                  </a:lnTo>
                  <a:lnTo>
                    <a:pt x="47625" y="341313"/>
                  </a:lnTo>
                  <a:lnTo>
                    <a:pt x="52917" y="346604"/>
                  </a:lnTo>
                  <a:lnTo>
                    <a:pt x="52917" y="351896"/>
                  </a:lnTo>
                  <a:lnTo>
                    <a:pt x="55562" y="351896"/>
                  </a:lnTo>
                  <a:lnTo>
                    <a:pt x="60854" y="354542"/>
                  </a:lnTo>
                  <a:lnTo>
                    <a:pt x="63500" y="357188"/>
                  </a:lnTo>
                  <a:lnTo>
                    <a:pt x="66146" y="359834"/>
                  </a:lnTo>
                  <a:lnTo>
                    <a:pt x="66146" y="362480"/>
                  </a:lnTo>
                  <a:lnTo>
                    <a:pt x="66146" y="365125"/>
                  </a:lnTo>
                  <a:lnTo>
                    <a:pt x="63500" y="370417"/>
                  </a:lnTo>
                  <a:lnTo>
                    <a:pt x="63500" y="378355"/>
                  </a:lnTo>
                  <a:lnTo>
                    <a:pt x="66146" y="391584"/>
                  </a:lnTo>
                  <a:lnTo>
                    <a:pt x="66146" y="394230"/>
                  </a:lnTo>
                  <a:lnTo>
                    <a:pt x="66146" y="396875"/>
                  </a:lnTo>
                  <a:lnTo>
                    <a:pt x="63500" y="402167"/>
                  </a:lnTo>
                  <a:lnTo>
                    <a:pt x="63500" y="410105"/>
                  </a:lnTo>
                  <a:lnTo>
                    <a:pt x="63500" y="412750"/>
                  </a:lnTo>
                  <a:lnTo>
                    <a:pt x="60854" y="415396"/>
                  </a:lnTo>
                  <a:lnTo>
                    <a:pt x="55562" y="418042"/>
                  </a:lnTo>
                  <a:lnTo>
                    <a:pt x="55562" y="415396"/>
                  </a:lnTo>
                  <a:lnTo>
                    <a:pt x="58208" y="412750"/>
                  </a:lnTo>
                  <a:lnTo>
                    <a:pt x="58208" y="410105"/>
                  </a:lnTo>
                  <a:lnTo>
                    <a:pt x="55562" y="410105"/>
                  </a:lnTo>
                  <a:lnTo>
                    <a:pt x="52917" y="407459"/>
                  </a:lnTo>
                  <a:lnTo>
                    <a:pt x="52917" y="410105"/>
                  </a:lnTo>
                  <a:lnTo>
                    <a:pt x="52917" y="412750"/>
                  </a:lnTo>
                  <a:lnTo>
                    <a:pt x="50271" y="415396"/>
                  </a:lnTo>
                  <a:lnTo>
                    <a:pt x="47625" y="415396"/>
                  </a:lnTo>
                  <a:lnTo>
                    <a:pt x="42333" y="415396"/>
                  </a:lnTo>
                  <a:lnTo>
                    <a:pt x="42333" y="412750"/>
                  </a:lnTo>
                  <a:lnTo>
                    <a:pt x="42333" y="410105"/>
                  </a:lnTo>
                  <a:lnTo>
                    <a:pt x="39687" y="407459"/>
                  </a:lnTo>
                  <a:lnTo>
                    <a:pt x="37042" y="404813"/>
                  </a:lnTo>
                  <a:lnTo>
                    <a:pt x="31750" y="402167"/>
                  </a:lnTo>
                  <a:lnTo>
                    <a:pt x="29104" y="399521"/>
                  </a:lnTo>
                  <a:lnTo>
                    <a:pt x="29104" y="396875"/>
                  </a:lnTo>
                  <a:lnTo>
                    <a:pt x="34396" y="394230"/>
                  </a:lnTo>
                  <a:lnTo>
                    <a:pt x="34396" y="388938"/>
                  </a:lnTo>
                  <a:lnTo>
                    <a:pt x="34396" y="383646"/>
                  </a:lnTo>
                  <a:lnTo>
                    <a:pt x="29104" y="381000"/>
                  </a:lnTo>
                  <a:lnTo>
                    <a:pt x="29104" y="378355"/>
                  </a:lnTo>
                  <a:lnTo>
                    <a:pt x="29104" y="375709"/>
                  </a:lnTo>
                  <a:lnTo>
                    <a:pt x="26458" y="370417"/>
                  </a:lnTo>
                  <a:lnTo>
                    <a:pt x="18521" y="365125"/>
                  </a:lnTo>
                  <a:lnTo>
                    <a:pt x="18521" y="367771"/>
                  </a:lnTo>
                  <a:lnTo>
                    <a:pt x="21166" y="370417"/>
                  </a:lnTo>
                  <a:lnTo>
                    <a:pt x="18521" y="373063"/>
                  </a:lnTo>
                  <a:lnTo>
                    <a:pt x="15875" y="375709"/>
                  </a:lnTo>
                  <a:lnTo>
                    <a:pt x="13229" y="373063"/>
                  </a:lnTo>
                  <a:lnTo>
                    <a:pt x="13229" y="370417"/>
                  </a:lnTo>
                  <a:lnTo>
                    <a:pt x="10583" y="370417"/>
                  </a:lnTo>
                  <a:lnTo>
                    <a:pt x="5291" y="367771"/>
                  </a:lnTo>
                  <a:lnTo>
                    <a:pt x="2646" y="359834"/>
                  </a:lnTo>
                  <a:lnTo>
                    <a:pt x="0" y="357188"/>
                  </a:lnTo>
                  <a:lnTo>
                    <a:pt x="0" y="354542"/>
                  </a:lnTo>
                  <a:lnTo>
                    <a:pt x="2646" y="349250"/>
                  </a:lnTo>
                  <a:lnTo>
                    <a:pt x="5291" y="351896"/>
                  </a:lnTo>
                  <a:lnTo>
                    <a:pt x="7937" y="351896"/>
                  </a:lnTo>
                  <a:lnTo>
                    <a:pt x="7937" y="343959"/>
                  </a:lnTo>
                  <a:lnTo>
                    <a:pt x="10583" y="341313"/>
                  </a:lnTo>
                  <a:lnTo>
                    <a:pt x="13229" y="338667"/>
                  </a:lnTo>
                  <a:close/>
                  <a:moveTo>
                    <a:pt x="89959" y="325438"/>
                  </a:moveTo>
                  <a:lnTo>
                    <a:pt x="97896" y="325438"/>
                  </a:lnTo>
                  <a:lnTo>
                    <a:pt x="105834" y="325438"/>
                  </a:lnTo>
                  <a:lnTo>
                    <a:pt x="105834" y="328084"/>
                  </a:lnTo>
                  <a:lnTo>
                    <a:pt x="111126" y="328084"/>
                  </a:lnTo>
                  <a:lnTo>
                    <a:pt x="116417" y="333376"/>
                  </a:lnTo>
                  <a:lnTo>
                    <a:pt x="119063" y="336021"/>
                  </a:lnTo>
                  <a:lnTo>
                    <a:pt x="119063" y="338667"/>
                  </a:lnTo>
                  <a:lnTo>
                    <a:pt x="119063" y="341313"/>
                  </a:lnTo>
                  <a:lnTo>
                    <a:pt x="113772" y="349250"/>
                  </a:lnTo>
                  <a:lnTo>
                    <a:pt x="113772" y="351896"/>
                  </a:lnTo>
                  <a:lnTo>
                    <a:pt x="113772" y="354542"/>
                  </a:lnTo>
                  <a:lnTo>
                    <a:pt x="111126" y="354542"/>
                  </a:lnTo>
                  <a:lnTo>
                    <a:pt x="105834" y="351896"/>
                  </a:lnTo>
                  <a:lnTo>
                    <a:pt x="103188" y="349250"/>
                  </a:lnTo>
                  <a:lnTo>
                    <a:pt x="97896" y="351896"/>
                  </a:lnTo>
                  <a:lnTo>
                    <a:pt x="95251" y="354542"/>
                  </a:lnTo>
                  <a:lnTo>
                    <a:pt x="95251" y="359834"/>
                  </a:lnTo>
                  <a:lnTo>
                    <a:pt x="92605" y="365125"/>
                  </a:lnTo>
                  <a:lnTo>
                    <a:pt x="95251" y="367771"/>
                  </a:lnTo>
                  <a:lnTo>
                    <a:pt x="89959" y="367771"/>
                  </a:lnTo>
                  <a:lnTo>
                    <a:pt x="87313" y="367771"/>
                  </a:lnTo>
                  <a:lnTo>
                    <a:pt x="84667" y="365125"/>
                  </a:lnTo>
                  <a:lnTo>
                    <a:pt x="82021" y="365125"/>
                  </a:lnTo>
                  <a:lnTo>
                    <a:pt x="79375" y="359834"/>
                  </a:lnTo>
                  <a:lnTo>
                    <a:pt x="79375" y="357188"/>
                  </a:lnTo>
                  <a:lnTo>
                    <a:pt x="76729" y="354542"/>
                  </a:lnTo>
                  <a:lnTo>
                    <a:pt x="74083" y="354542"/>
                  </a:lnTo>
                  <a:lnTo>
                    <a:pt x="68792" y="354542"/>
                  </a:lnTo>
                  <a:lnTo>
                    <a:pt x="66146" y="357188"/>
                  </a:lnTo>
                  <a:lnTo>
                    <a:pt x="66146" y="354542"/>
                  </a:lnTo>
                  <a:lnTo>
                    <a:pt x="68792" y="351896"/>
                  </a:lnTo>
                  <a:lnTo>
                    <a:pt x="68792" y="343959"/>
                  </a:lnTo>
                  <a:lnTo>
                    <a:pt x="71437" y="338667"/>
                  </a:lnTo>
                  <a:lnTo>
                    <a:pt x="76729" y="330730"/>
                  </a:lnTo>
                  <a:lnTo>
                    <a:pt x="79375" y="330730"/>
                  </a:lnTo>
                  <a:lnTo>
                    <a:pt x="82021" y="330730"/>
                  </a:lnTo>
                  <a:lnTo>
                    <a:pt x="82021" y="333376"/>
                  </a:lnTo>
                  <a:lnTo>
                    <a:pt x="87313" y="330730"/>
                  </a:lnTo>
                  <a:lnTo>
                    <a:pt x="87313" y="328084"/>
                  </a:lnTo>
                  <a:close/>
                  <a:moveTo>
                    <a:pt x="150813" y="111125"/>
                  </a:moveTo>
                  <a:lnTo>
                    <a:pt x="158750" y="113771"/>
                  </a:lnTo>
                  <a:lnTo>
                    <a:pt x="164042" y="113771"/>
                  </a:lnTo>
                  <a:lnTo>
                    <a:pt x="166688" y="113771"/>
                  </a:lnTo>
                  <a:lnTo>
                    <a:pt x="169333" y="116417"/>
                  </a:lnTo>
                  <a:lnTo>
                    <a:pt x="169333" y="121708"/>
                  </a:lnTo>
                  <a:lnTo>
                    <a:pt x="169333" y="127000"/>
                  </a:lnTo>
                  <a:lnTo>
                    <a:pt x="171979" y="129646"/>
                  </a:lnTo>
                  <a:lnTo>
                    <a:pt x="182563" y="132292"/>
                  </a:lnTo>
                  <a:lnTo>
                    <a:pt x="193146" y="137584"/>
                  </a:lnTo>
                  <a:lnTo>
                    <a:pt x="203729" y="142875"/>
                  </a:lnTo>
                  <a:lnTo>
                    <a:pt x="214313" y="156104"/>
                  </a:lnTo>
                  <a:lnTo>
                    <a:pt x="216958" y="164042"/>
                  </a:lnTo>
                  <a:lnTo>
                    <a:pt x="219604" y="171979"/>
                  </a:lnTo>
                  <a:lnTo>
                    <a:pt x="224896" y="190500"/>
                  </a:lnTo>
                  <a:lnTo>
                    <a:pt x="227542" y="195792"/>
                  </a:lnTo>
                  <a:lnTo>
                    <a:pt x="224896" y="198438"/>
                  </a:lnTo>
                  <a:lnTo>
                    <a:pt x="222250" y="195792"/>
                  </a:lnTo>
                  <a:lnTo>
                    <a:pt x="219604" y="195792"/>
                  </a:lnTo>
                  <a:lnTo>
                    <a:pt x="216958" y="198438"/>
                  </a:lnTo>
                  <a:lnTo>
                    <a:pt x="216958" y="206375"/>
                  </a:lnTo>
                  <a:lnTo>
                    <a:pt x="222250" y="211667"/>
                  </a:lnTo>
                  <a:lnTo>
                    <a:pt x="230188" y="219605"/>
                  </a:lnTo>
                  <a:lnTo>
                    <a:pt x="235479" y="227542"/>
                  </a:lnTo>
                  <a:lnTo>
                    <a:pt x="235479" y="235480"/>
                  </a:lnTo>
                  <a:lnTo>
                    <a:pt x="235479" y="254000"/>
                  </a:lnTo>
                  <a:lnTo>
                    <a:pt x="238125" y="261938"/>
                  </a:lnTo>
                  <a:lnTo>
                    <a:pt x="240771" y="264584"/>
                  </a:lnTo>
                  <a:lnTo>
                    <a:pt x="248708" y="269875"/>
                  </a:lnTo>
                  <a:lnTo>
                    <a:pt x="251354" y="275167"/>
                  </a:lnTo>
                  <a:lnTo>
                    <a:pt x="248708" y="280459"/>
                  </a:lnTo>
                  <a:lnTo>
                    <a:pt x="246063" y="288396"/>
                  </a:lnTo>
                  <a:lnTo>
                    <a:pt x="246063" y="293688"/>
                  </a:lnTo>
                  <a:lnTo>
                    <a:pt x="243417" y="296334"/>
                  </a:lnTo>
                  <a:lnTo>
                    <a:pt x="238125" y="301626"/>
                  </a:lnTo>
                  <a:lnTo>
                    <a:pt x="238125" y="293688"/>
                  </a:lnTo>
                  <a:lnTo>
                    <a:pt x="235479" y="283105"/>
                  </a:lnTo>
                  <a:lnTo>
                    <a:pt x="232833" y="280459"/>
                  </a:lnTo>
                  <a:lnTo>
                    <a:pt x="230188" y="280459"/>
                  </a:lnTo>
                  <a:lnTo>
                    <a:pt x="227542" y="283105"/>
                  </a:lnTo>
                  <a:lnTo>
                    <a:pt x="227542" y="285751"/>
                  </a:lnTo>
                  <a:lnTo>
                    <a:pt x="230188" y="288396"/>
                  </a:lnTo>
                  <a:lnTo>
                    <a:pt x="230188" y="291042"/>
                  </a:lnTo>
                  <a:lnTo>
                    <a:pt x="230188" y="293688"/>
                  </a:lnTo>
                  <a:lnTo>
                    <a:pt x="230188" y="296334"/>
                  </a:lnTo>
                  <a:lnTo>
                    <a:pt x="227542" y="296334"/>
                  </a:lnTo>
                  <a:lnTo>
                    <a:pt x="222250" y="298980"/>
                  </a:lnTo>
                  <a:lnTo>
                    <a:pt x="224896" y="301626"/>
                  </a:lnTo>
                  <a:lnTo>
                    <a:pt x="224896" y="306917"/>
                  </a:lnTo>
                  <a:lnTo>
                    <a:pt x="222250" y="309563"/>
                  </a:lnTo>
                  <a:lnTo>
                    <a:pt x="219604" y="309563"/>
                  </a:lnTo>
                  <a:lnTo>
                    <a:pt x="216958" y="306917"/>
                  </a:lnTo>
                  <a:lnTo>
                    <a:pt x="214313" y="304271"/>
                  </a:lnTo>
                  <a:lnTo>
                    <a:pt x="211667" y="301626"/>
                  </a:lnTo>
                  <a:lnTo>
                    <a:pt x="209021" y="301626"/>
                  </a:lnTo>
                  <a:lnTo>
                    <a:pt x="206375" y="306917"/>
                  </a:lnTo>
                  <a:lnTo>
                    <a:pt x="203729" y="309563"/>
                  </a:lnTo>
                  <a:lnTo>
                    <a:pt x="198438" y="312209"/>
                  </a:lnTo>
                  <a:lnTo>
                    <a:pt x="190500" y="312209"/>
                  </a:lnTo>
                  <a:lnTo>
                    <a:pt x="174625" y="309563"/>
                  </a:lnTo>
                  <a:lnTo>
                    <a:pt x="171979" y="309563"/>
                  </a:lnTo>
                  <a:lnTo>
                    <a:pt x="174625" y="306917"/>
                  </a:lnTo>
                  <a:lnTo>
                    <a:pt x="171979" y="306917"/>
                  </a:lnTo>
                  <a:lnTo>
                    <a:pt x="164042" y="306917"/>
                  </a:lnTo>
                  <a:lnTo>
                    <a:pt x="161396" y="304271"/>
                  </a:lnTo>
                  <a:lnTo>
                    <a:pt x="158750" y="304271"/>
                  </a:lnTo>
                  <a:lnTo>
                    <a:pt x="158750" y="306917"/>
                  </a:lnTo>
                  <a:lnTo>
                    <a:pt x="158750" y="309563"/>
                  </a:lnTo>
                  <a:lnTo>
                    <a:pt x="161396" y="312209"/>
                  </a:lnTo>
                  <a:lnTo>
                    <a:pt x="164042" y="312209"/>
                  </a:lnTo>
                  <a:lnTo>
                    <a:pt x="166688" y="312209"/>
                  </a:lnTo>
                  <a:lnTo>
                    <a:pt x="169333" y="314855"/>
                  </a:lnTo>
                  <a:lnTo>
                    <a:pt x="171979" y="317501"/>
                  </a:lnTo>
                  <a:lnTo>
                    <a:pt x="169333" y="320146"/>
                  </a:lnTo>
                  <a:lnTo>
                    <a:pt x="166688" y="322792"/>
                  </a:lnTo>
                  <a:lnTo>
                    <a:pt x="164042" y="328084"/>
                  </a:lnTo>
                  <a:lnTo>
                    <a:pt x="164042" y="333376"/>
                  </a:lnTo>
                  <a:lnTo>
                    <a:pt x="164042" y="336021"/>
                  </a:lnTo>
                  <a:lnTo>
                    <a:pt x="166688" y="338667"/>
                  </a:lnTo>
                  <a:lnTo>
                    <a:pt x="161396" y="341313"/>
                  </a:lnTo>
                  <a:lnTo>
                    <a:pt x="153458" y="338667"/>
                  </a:lnTo>
                  <a:lnTo>
                    <a:pt x="145521" y="336021"/>
                  </a:lnTo>
                  <a:lnTo>
                    <a:pt x="140229" y="336021"/>
                  </a:lnTo>
                  <a:lnTo>
                    <a:pt x="134938" y="333376"/>
                  </a:lnTo>
                  <a:lnTo>
                    <a:pt x="132292" y="333376"/>
                  </a:lnTo>
                  <a:lnTo>
                    <a:pt x="132292" y="325438"/>
                  </a:lnTo>
                  <a:lnTo>
                    <a:pt x="132292" y="320146"/>
                  </a:lnTo>
                  <a:lnTo>
                    <a:pt x="129646" y="317501"/>
                  </a:lnTo>
                  <a:lnTo>
                    <a:pt x="127000" y="314855"/>
                  </a:lnTo>
                  <a:lnTo>
                    <a:pt x="129646" y="309563"/>
                  </a:lnTo>
                  <a:lnTo>
                    <a:pt x="119063" y="312209"/>
                  </a:lnTo>
                  <a:lnTo>
                    <a:pt x="105833" y="309563"/>
                  </a:lnTo>
                  <a:lnTo>
                    <a:pt x="100542" y="312209"/>
                  </a:lnTo>
                  <a:lnTo>
                    <a:pt x="97896" y="312209"/>
                  </a:lnTo>
                  <a:lnTo>
                    <a:pt x="97896" y="314855"/>
                  </a:lnTo>
                  <a:lnTo>
                    <a:pt x="92604" y="314855"/>
                  </a:lnTo>
                  <a:lnTo>
                    <a:pt x="87313" y="314855"/>
                  </a:lnTo>
                  <a:lnTo>
                    <a:pt x="84667" y="317501"/>
                  </a:lnTo>
                  <a:lnTo>
                    <a:pt x="82020" y="320146"/>
                  </a:lnTo>
                  <a:lnTo>
                    <a:pt x="76729" y="317501"/>
                  </a:lnTo>
                  <a:lnTo>
                    <a:pt x="74083" y="317501"/>
                  </a:lnTo>
                  <a:lnTo>
                    <a:pt x="71437" y="320146"/>
                  </a:lnTo>
                  <a:lnTo>
                    <a:pt x="71437" y="322792"/>
                  </a:lnTo>
                  <a:lnTo>
                    <a:pt x="66145" y="320146"/>
                  </a:lnTo>
                  <a:lnTo>
                    <a:pt x="63500" y="322792"/>
                  </a:lnTo>
                  <a:lnTo>
                    <a:pt x="60854" y="328084"/>
                  </a:lnTo>
                  <a:lnTo>
                    <a:pt x="58208" y="333376"/>
                  </a:lnTo>
                  <a:lnTo>
                    <a:pt x="55562" y="333376"/>
                  </a:lnTo>
                  <a:lnTo>
                    <a:pt x="52916" y="333376"/>
                  </a:lnTo>
                  <a:lnTo>
                    <a:pt x="44979" y="330730"/>
                  </a:lnTo>
                  <a:lnTo>
                    <a:pt x="37041" y="333376"/>
                  </a:lnTo>
                  <a:lnTo>
                    <a:pt x="29104" y="333376"/>
                  </a:lnTo>
                  <a:lnTo>
                    <a:pt x="23812" y="333376"/>
                  </a:lnTo>
                  <a:lnTo>
                    <a:pt x="18520" y="328084"/>
                  </a:lnTo>
                  <a:lnTo>
                    <a:pt x="13229" y="322792"/>
                  </a:lnTo>
                  <a:lnTo>
                    <a:pt x="13229" y="320146"/>
                  </a:lnTo>
                  <a:lnTo>
                    <a:pt x="15875" y="320146"/>
                  </a:lnTo>
                  <a:lnTo>
                    <a:pt x="23812" y="317501"/>
                  </a:lnTo>
                  <a:lnTo>
                    <a:pt x="26458" y="317501"/>
                  </a:lnTo>
                  <a:lnTo>
                    <a:pt x="29104" y="314855"/>
                  </a:lnTo>
                  <a:lnTo>
                    <a:pt x="34395" y="304271"/>
                  </a:lnTo>
                  <a:lnTo>
                    <a:pt x="39687" y="296334"/>
                  </a:lnTo>
                  <a:lnTo>
                    <a:pt x="44979" y="291042"/>
                  </a:lnTo>
                  <a:lnTo>
                    <a:pt x="42333" y="288396"/>
                  </a:lnTo>
                  <a:lnTo>
                    <a:pt x="50270" y="285751"/>
                  </a:lnTo>
                  <a:lnTo>
                    <a:pt x="58208" y="283105"/>
                  </a:lnTo>
                  <a:lnTo>
                    <a:pt x="63500" y="283105"/>
                  </a:lnTo>
                  <a:lnTo>
                    <a:pt x="76729" y="280459"/>
                  </a:lnTo>
                  <a:lnTo>
                    <a:pt x="95250" y="275167"/>
                  </a:lnTo>
                  <a:lnTo>
                    <a:pt x="97896" y="275167"/>
                  </a:lnTo>
                  <a:lnTo>
                    <a:pt x="100542" y="275167"/>
                  </a:lnTo>
                  <a:lnTo>
                    <a:pt x="103188" y="277813"/>
                  </a:lnTo>
                  <a:lnTo>
                    <a:pt x="105833" y="275167"/>
                  </a:lnTo>
                  <a:lnTo>
                    <a:pt x="111125" y="275167"/>
                  </a:lnTo>
                  <a:lnTo>
                    <a:pt x="113771" y="277813"/>
                  </a:lnTo>
                  <a:lnTo>
                    <a:pt x="116417" y="280459"/>
                  </a:lnTo>
                  <a:lnTo>
                    <a:pt x="121708" y="277813"/>
                  </a:lnTo>
                  <a:lnTo>
                    <a:pt x="124354" y="275167"/>
                  </a:lnTo>
                  <a:lnTo>
                    <a:pt x="121708" y="272521"/>
                  </a:lnTo>
                  <a:lnTo>
                    <a:pt x="119063" y="269875"/>
                  </a:lnTo>
                  <a:lnTo>
                    <a:pt x="119063" y="261938"/>
                  </a:lnTo>
                  <a:lnTo>
                    <a:pt x="119063" y="254000"/>
                  </a:lnTo>
                  <a:lnTo>
                    <a:pt x="116417" y="248709"/>
                  </a:lnTo>
                  <a:lnTo>
                    <a:pt x="113771" y="243417"/>
                  </a:lnTo>
                  <a:lnTo>
                    <a:pt x="116417" y="235480"/>
                  </a:lnTo>
                  <a:lnTo>
                    <a:pt x="124354" y="224896"/>
                  </a:lnTo>
                  <a:lnTo>
                    <a:pt x="127000" y="224896"/>
                  </a:lnTo>
                  <a:lnTo>
                    <a:pt x="129646" y="224896"/>
                  </a:lnTo>
                  <a:lnTo>
                    <a:pt x="129646" y="227542"/>
                  </a:lnTo>
                  <a:lnTo>
                    <a:pt x="129646" y="232834"/>
                  </a:lnTo>
                  <a:lnTo>
                    <a:pt x="127000" y="235480"/>
                  </a:lnTo>
                  <a:lnTo>
                    <a:pt x="129646" y="235480"/>
                  </a:lnTo>
                  <a:lnTo>
                    <a:pt x="132292" y="238125"/>
                  </a:lnTo>
                  <a:lnTo>
                    <a:pt x="132292" y="243417"/>
                  </a:lnTo>
                  <a:lnTo>
                    <a:pt x="137583" y="243417"/>
                  </a:lnTo>
                  <a:lnTo>
                    <a:pt x="145521" y="235480"/>
                  </a:lnTo>
                  <a:lnTo>
                    <a:pt x="158750" y="224896"/>
                  </a:lnTo>
                  <a:lnTo>
                    <a:pt x="164042" y="219605"/>
                  </a:lnTo>
                  <a:lnTo>
                    <a:pt x="164042" y="214313"/>
                  </a:lnTo>
                  <a:lnTo>
                    <a:pt x="164042" y="209021"/>
                  </a:lnTo>
                  <a:lnTo>
                    <a:pt x="166688" y="203729"/>
                  </a:lnTo>
                  <a:lnTo>
                    <a:pt x="169333" y="193146"/>
                  </a:lnTo>
                  <a:lnTo>
                    <a:pt x="166688" y="182563"/>
                  </a:lnTo>
                  <a:lnTo>
                    <a:pt x="164042" y="174625"/>
                  </a:lnTo>
                  <a:lnTo>
                    <a:pt x="158750" y="169334"/>
                  </a:lnTo>
                  <a:lnTo>
                    <a:pt x="156104" y="166688"/>
                  </a:lnTo>
                  <a:lnTo>
                    <a:pt x="153458" y="166688"/>
                  </a:lnTo>
                  <a:lnTo>
                    <a:pt x="150813" y="166688"/>
                  </a:lnTo>
                  <a:lnTo>
                    <a:pt x="148167" y="164042"/>
                  </a:lnTo>
                  <a:lnTo>
                    <a:pt x="148167" y="161396"/>
                  </a:lnTo>
                  <a:lnTo>
                    <a:pt x="150813" y="158750"/>
                  </a:lnTo>
                  <a:lnTo>
                    <a:pt x="150813" y="153459"/>
                  </a:lnTo>
                  <a:lnTo>
                    <a:pt x="140229" y="142875"/>
                  </a:lnTo>
                  <a:lnTo>
                    <a:pt x="137583" y="140229"/>
                  </a:lnTo>
                  <a:lnTo>
                    <a:pt x="137583" y="137584"/>
                  </a:lnTo>
                  <a:lnTo>
                    <a:pt x="142875" y="132292"/>
                  </a:lnTo>
                  <a:lnTo>
                    <a:pt x="140229" y="129646"/>
                  </a:lnTo>
                  <a:lnTo>
                    <a:pt x="137583" y="127000"/>
                  </a:lnTo>
                  <a:lnTo>
                    <a:pt x="137583" y="124354"/>
                  </a:lnTo>
                  <a:lnTo>
                    <a:pt x="140229" y="121708"/>
                  </a:lnTo>
                  <a:lnTo>
                    <a:pt x="142875" y="121708"/>
                  </a:lnTo>
                  <a:lnTo>
                    <a:pt x="148167" y="124354"/>
                  </a:lnTo>
                  <a:lnTo>
                    <a:pt x="153458" y="127000"/>
                  </a:lnTo>
                  <a:lnTo>
                    <a:pt x="156104" y="127000"/>
                  </a:lnTo>
                  <a:lnTo>
                    <a:pt x="158750" y="119063"/>
                  </a:lnTo>
                  <a:lnTo>
                    <a:pt x="158750" y="116417"/>
                  </a:lnTo>
                  <a:lnTo>
                    <a:pt x="153458" y="119063"/>
                  </a:lnTo>
                  <a:lnTo>
                    <a:pt x="150813" y="121708"/>
                  </a:lnTo>
                  <a:lnTo>
                    <a:pt x="148167" y="121708"/>
                  </a:lnTo>
                  <a:lnTo>
                    <a:pt x="148167" y="116417"/>
                  </a:lnTo>
                  <a:lnTo>
                    <a:pt x="148167" y="113771"/>
                  </a:lnTo>
                  <a:close/>
                  <a:moveTo>
                    <a:pt x="89958" y="0"/>
                  </a:moveTo>
                  <a:lnTo>
                    <a:pt x="92604" y="0"/>
                  </a:lnTo>
                  <a:lnTo>
                    <a:pt x="95250" y="2646"/>
                  </a:lnTo>
                  <a:lnTo>
                    <a:pt x="105833" y="10584"/>
                  </a:lnTo>
                  <a:lnTo>
                    <a:pt x="113771" y="15875"/>
                  </a:lnTo>
                  <a:lnTo>
                    <a:pt x="124354" y="21167"/>
                  </a:lnTo>
                  <a:lnTo>
                    <a:pt x="134937" y="23813"/>
                  </a:lnTo>
                  <a:lnTo>
                    <a:pt x="142875" y="29104"/>
                  </a:lnTo>
                  <a:lnTo>
                    <a:pt x="153458" y="34396"/>
                  </a:lnTo>
                  <a:lnTo>
                    <a:pt x="164042" y="37042"/>
                  </a:lnTo>
                  <a:lnTo>
                    <a:pt x="185208" y="42334"/>
                  </a:lnTo>
                  <a:lnTo>
                    <a:pt x="193146" y="44979"/>
                  </a:lnTo>
                  <a:lnTo>
                    <a:pt x="195792" y="42334"/>
                  </a:lnTo>
                  <a:lnTo>
                    <a:pt x="203729" y="37042"/>
                  </a:lnTo>
                  <a:lnTo>
                    <a:pt x="209021" y="29104"/>
                  </a:lnTo>
                  <a:lnTo>
                    <a:pt x="211667" y="29104"/>
                  </a:lnTo>
                  <a:lnTo>
                    <a:pt x="209021" y="42334"/>
                  </a:lnTo>
                  <a:lnTo>
                    <a:pt x="209021" y="47625"/>
                  </a:lnTo>
                  <a:lnTo>
                    <a:pt x="211667" y="50271"/>
                  </a:lnTo>
                  <a:lnTo>
                    <a:pt x="216958" y="50271"/>
                  </a:lnTo>
                  <a:lnTo>
                    <a:pt x="216958" y="52917"/>
                  </a:lnTo>
                  <a:lnTo>
                    <a:pt x="219604" y="58209"/>
                  </a:lnTo>
                  <a:lnTo>
                    <a:pt x="222250" y="58209"/>
                  </a:lnTo>
                  <a:lnTo>
                    <a:pt x="230188" y="58209"/>
                  </a:lnTo>
                  <a:lnTo>
                    <a:pt x="235479" y="58209"/>
                  </a:lnTo>
                  <a:lnTo>
                    <a:pt x="227542" y="63500"/>
                  </a:lnTo>
                  <a:lnTo>
                    <a:pt x="216958" y="71438"/>
                  </a:lnTo>
                  <a:lnTo>
                    <a:pt x="211667" y="71438"/>
                  </a:lnTo>
                  <a:lnTo>
                    <a:pt x="203729" y="71438"/>
                  </a:lnTo>
                  <a:lnTo>
                    <a:pt x="198437" y="74084"/>
                  </a:lnTo>
                  <a:lnTo>
                    <a:pt x="193146" y="79375"/>
                  </a:lnTo>
                  <a:lnTo>
                    <a:pt x="193146" y="84667"/>
                  </a:lnTo>
                  <a:lnTo>
                    <a:pt x="193146" y="89959"/>
                  </a:lnTo>
                  <a:lnTo>
                    <a:pt x="198437" y="95251"/>
                  </a:lnTo>
                  <a:lnTo>
                    <a:pt x="195792" y="95251"/>
                  </a:lnTo>
                  <a:lnTo>
                    <a:pt x="187854" y="95251"/>
                  </a:lnTo>
                  <a:lnTo>
                    <a:pt x="177271" y="92605"/>
                  </a:lnTo>
                  <a:lnTo>
                    <a:pt x="169333" y="89959"/>
                  </a:lnTo>
                  <a:lnTo>
                    <a:pt x="161396" y="89959"/>
                  </a:lnTo>
                  <a:lnTo>
                    <a:pt x="150812" y="84667"/>
                  </a:lnTo>
                  <a:lnTo>
                    <a:pt x="145521" y="82021"/>
                  </a:lnTo>
                  <a:lnTo>
                    <a:pt x="142875" y="82021"/>
                  </a:lnTo>
                  <a:lnTo>
                    <a:pt x="137583" y="84667"/>
                  </a:lnTo>
                  <a:lnTo>
                    <a:pt x="134937" y="87313"/>
                  </a:lnTo>
                  <a:lnTo>
                    <a:pt x="132291" y="89959"/>
                  </a:lnTo>
                  <a:lnTo>
                    <a:pt x="129646" y="87313"/>
                  </a:lnTo>
                  <a:lnTo>
                    <a:pt x="121708" y="87313"/>
                  </a:lnTo>
                  <a:lnTo>
                    <a:pt x="116416" y="89959"/>
                  </a:lnTo>
                  <a:lnTo>
                    <a:pt x="116416" y="92605"/>
                  </a:lnTo>
                  <a:lnTo>
                    <a:pt x="124354" y="95251"/>
                  </a:lnTo>
                  <a:lnTo>
                    <a:pt x="134937" y="97896"/>
                  </a:lnTo>
                  <a:lnTo>
                    <a:pt x="142875" y="103188"/>
                  </a:lnTo>
                  <a:lnTo>
                    <a:pt x="148166" y="108480"/>
                  </a:lnTo>
                  <a:lnTo>
                    <a:pt x="137583" y="111126"/>
                  </a:lnTo>
                  <a:lnTo>
                    <a:pt x="134937" y="116417"/>
                  </a:lnTo>
                  <a:lnTo>
                    <a:pt x="132291" y="119063"/>
                  </a:lnTo>
                  <a:lnTo>
                    <a:pt x="127000" y="119063"/>
                  </a:lnTo>
                  <a:lnTo>
                    <a:pt x="124354" y="119063"/>
                  </a:lnTo>
                  <a:lnTo>
                    <a:pt x="121708" y="116417"/>
                  </a:lnTo>
                  <a:lnTo>
                    <a:pt x="121708" y="108480"/>
                  </a:lnTo>
                  <a:lnTo>
                    <a:pt x="121708" y="103188"/>
                  </a:lnTo>
                  <a:lnTo>
                    <a:pt x="119062" y="103188"/>
                  </a:lnTo>
                  <a:lnTo>
                    <a:pt x="116416" y="100542"/>
                  </a:lnTo>
                  <a:lnTo>
                    <a:pt x="108479" y="97896"/>
                  </a:lnTo>
                  <a:lnTo>
                    <a:pt x="103187" y="95251"/>
                  </a:lnTo>
                  <a:lnTo>
                    <a:pt x="100541" y="89959"/>
                  </a:lnTo>
                  <a:lnTo>
                    <a:pt x="103187" y="84667"/>
                  </a:lnTo>
                  <a:lnTo>
                    <a:pt x="105833" y="82021"/>
                  </a:lnTo>
                  <a:lnTo>
                    <a:pt x="105833" y="79375"/>
                  </a:lnTo>
                  <a:lnTo>
                    <a:pt x="103187" y="74084"/>
                  </a:lnTo>
                  <a:lnTo>
                    <a:pt x="97895" y="71438"/>
                  </a:lnTo>
                  <a:lnTo>
                    <a:pt x="97895" y="68792"/>
                  </a:lnTo>
                  <a:lnTo>
                    <a:pt x="100541" y="68792"/>
                  </a:lnTo>
                  <a:lnTo>
                    <a:pt x="105833" y="68792"/>
                  </a:lnTo>
                  <a:lnTo>
                    <a:pt x="111125" y="68792"/>
                  </a:lnTo>
                  <a:lnTo>
                    <a:pt x="116416" y="63500"/>
                  </a:lnTo>
                  <a:lnTo>
                    <a:pt x="116416" y="60855"/>
                  </a:lnTo>
                  <a:lnTo>
                    <a:pt x="111125" y="55563"/>
                  </a:lnTo>
                  <a:lnTo>
                    <a:pt x="108479" y="50271"/>
                  </a:lnTo>
                  <a:lnTo>
                    <a:pt x="108479" y="47625"/>
                  </a:lnTo>
                  <a:lnTo>
                    <a:pt x="108479" y="42334"/>
                  </a:lnTo>
                  <a:lnTo>
                    <a:pt x="111125" y="39688"/>
                  </a:lnTo>
                  <a:lnTo>
                    <a:pt x="108479" y="37042"/>
                  </a:lnTo>
                  <a:lnTo>
                    <a:pt x="103187" y="34396"/>
                  </a:lnTo>
                  <a:lnTo>
                    <a:pt x="100541" y="31750"/>
                  </a:lnTo>
                  <a:lnTo>
                    <a:pt x="95250" y="21167"/>
                  </a:lnTo>
                  <a:lnTo>
                    <a:pt x="89958" y="15875"/>
                  </a:lnTo>
                  <a:lnTo>
                    <a:pt x="84666" y="13229"/>
                  </a:lnTo>
                  <a:lnTo>
                    <a:pt x="84666" y="10584"/>
                  </a:lnTo>
                  <a:lnTo>
                    <a:pt x="87312" y="7938"/>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Kazakhstan"/>
            <p:cNvSpPr>
              <a:spLocks/>
            </p:cNvSpPr>
            <p:nvPr/>
          </p:nvSpPr>
          <p:spPr bwMode="auto">
            <a:xfrm>
              <a:off x="5274434" y="1903677"/>
              <a:ext cx="976313" cy="402167"/>
            </a:xfrm>
            <a:custGeom>
              <a:avLst/>
              <a:gdLst/>
              <a:ahLst/>
              <a:cxnLst>
                <a:cxn ang="0">
                  <a:pos x="474" y="288"/>
                </a:cxn>
                <a:cxn ang="0">
                  <a:pos x="456" y="304"/>
                </a:cxn>
                <a:cxn ang="0">
                  <a:pos x="420" y="292"/>
                </a:cxn>
                <a:cxn ang="0">
                  <a:pos x="378" y="236"/>
                </a:cxn>
                <a:cxn ang="0">
                  <a:pos x="354" y="238"/>
                </a:cxn>
                <a:cxn ang="0">
                  <a:pos x="298" y="216"/>
                </a:cxn>
                <a:cxn ang="0">
                  <a:pos x="288" y="192"/>
                </a:cxn>
                <a:cxn ang="0">
                  <a:pos x="276" y="178"/>
                </a:cxn>
                <a:cxn ang="0">
                  <a:pos x="252" y="176"/>
                </a:cxn>
                <a:cxn ang="0">
                  <a:pos x="240" y="186"/>
                </a:cxn>
                <a:cxn ang="0">
                  <a:pos x="206" y="202"/>
                </a:cxn>
                <a:cxn ang="0">
                  <a:pos x="198" y="278"/>
                </a:cxn>
                <a:cxn ang="0">
                  <a:pos x="156" y="282"/>
                </a:cxn>
                <a:cxn ang="0">
                  <a:pos x="150" y="250"/>
                </a:cxn>
                <a:cxn ang="0">
                  <a:pos x="128" y="240"/>
                </a:cxn>
                <a:cxn ang="0">
                  <a:pos x="98" y="222"/>
                </a:cxn>
                <a:cxn ang="0">
                  <a:pos x="102" y="214"/>
                </a:cxn>
                <a:cxn ang="0">
                  <a:pos x="96" y="204"/>
                </a:cxn>
                <a:cxn ang="0">
                  <a:pos x="120" y="192"/>
                </a:cxn>
                <a:cxn ang="0">
                  <a:pos x="134" y="192"/>
                </a:cxn>
                <a:cxn ang="0">
                  <a:pos x="132" y="172"/>
                </a:cxn>
                <a:cxn ang="0">
                  <a:pos x="122" y="152"/>
                </a:cxn>
                <a:cxn ang="0">
                  <a:pos x="82" y="160"/>
                </a:cxn>
                <a:cxn ang="0">
                  <a:pos x="54" y="168"/>
                </a:cxn>
                <a:cxn ang="0">
                  <a:pos x="46" y="150"/>
                </a:cxn>
                <a:cxn ang="0">
                  <a:pos x="16" y="142"/>
                </a:cxn>
                <a:cxn ang="0">
                  <a:pos x="0" y="126"/>
                </a:cxn>
                <a:cxn ang="0">
                  <a:pos x="10" y="86"/>
                </a:cxn>
                <a:cxn ang="0">
                  <a:pos x="32" y="94"/>
                </a:cxn>
                <a:cxn ang="0">
                  <a:pos x="38" y="78"/>
                </a:cxn>
                <a:cxn ang="0">
                  <a:pos x="56" y="64"/>
                </a:cxn>
                <a:cxn ang="0">
                  <a:pos x="86" y="66"/>
                </a:cxn>
                <a:cxn ang="0">
                  <a:pos x="118" y="72"/>
                </a:cxn>
                <a:cxn ang="0">
                  <a:pos x="148" y="74"/>
                </a:cxn>
                <a:cxn ang="0">
                  <a:pos x="172" y="78"/>
                </a:cxn>
                <a:cxn ang="0">
                  <a:pos x="198" y="82"/>
                </a:cxn>
                <a:cxn ang="0">
                  <a:pos x="246" y="84"/>
                </a:cxn>
                <a:cxn ang="0">
                  <a:pos x="230" y="66"/>
                </a:cxn>
                <a:cxn ang="0">
                  <a:pos x="228" y="46"/>
                </a:cxn>
                <a:cxn ang="0">
                  <a:pos x="208" y="36"/>
                </a:cxn>
                <a:cxn ang="0">
                  <a:pos x="282" y="22"/>
                </a:cxn>
                <a:cxn ang="0">
                  <a:pos x="338" y="10"/>
                </a:cxn>
                <a:cxn ang="0">
                  <a:pos x="374" y="4"/>
                </a:cxn>
                <a:cxn ang="0">
                  <a:pos x="382" y="22"/>
                </a:cxn>
                <a:cxn ang="0">
                  <a:pos x="406" y="22"/>
                </a:cxn>
                <a:cxn ang="0">
                  <a:pos x="422" y="34"/>
                </a:cxn>
                <a:cxn ang="0">
                  <a:pos x="444" y="24"/>
                </a:cxn>
                <a:cxn ang="0">
                  <a:pos x="462" y="26"/>
                </a:cxn>
                <a:cxn ang="0">
                  <a:pos x="568" y="88"/>
                </a:cxn>
                <a:cxn ang="0">
                  <a:pos x="592" y="90"/>
                </a:cxn>
                <a:cxn ang="0">
                  <a:pos x="640" y="96"/>
                </a:cxn>
                <a:cxn ang="0">
                  <a:pos x="664" y="108"/>
                </a:cxn>
                <a:cxn ang="0">
                  <a:pos x="690" y="104"/>
                </a:cxn>
                <a:cxn ang="0">
                  <a:pos x="726" y="114"/>
                </a:cxn>
                <a:cxn ang="0">
                  <a:pos x="722" y="122"/>
                </a:cxn>
                <a:cxn ang="0">
                  <a:pos x="696" y="156"/>
                </a:cxn>
                <a:cxn ang="0">
                  <a:pos x="674" y="186"/>
                </a:cxn>
                <a:cxn ang="0">
                  <a:pos x="640" y="206"/>
                </a:cxn>
                <a:cxn ang="0">
                  <a:pos x="664" y="234"/>
                </a:cxn>
                <a:cxn ang="0">
                  <a:pos x="658" y="258"/>
                </a:cxn>
                <a:cxn ang="0">
                  <a:pos x="634" y="250"/>
                </a:cxn>
                <a:cxn ang="0">
                  <a:pos x="544" y="250"/>
                </a:cxn>
                <a:cxn ang="0">
                  <a:pos x="512" y="252"/>
                </a:cxn>
              </a:cxnLst>
              <a:rect l="0" t="0" r="r" b="b"/>
              <a:pathLst>
                <a:path w="738" h="304">
                  <a:moveTo>
                    <a:pt x="498" y="260"/>
                  </a:moveTo>
                  <a:lnTo>
                    <a:pt x="498" y="260"/>
                  </a:lnTo>
                  <a:lnTo>
                    <a:pt x="492" y="264"/>
                  </a:lnTo>
                  <a:lnTo>
                    <a:pt x="492" y="264"/>
                  </a:lnTo>
                  <a:lnTo>
                    <a:pt x="486" y="270"/>
                  </a:lnTo>
                  <a:lnTo>
                    <a:pt x="484" y="276"/>
                  </a:lnTo>
                  <a:lnTo>
                    <a:pt x="480" y="282"/>
                  </a:lnTo>
                  <a:lnTo>
                    <a:pt x="474" y="288"/>
                  </a:lnTo>
                  <a:lnTo>
                    <a:pt x="474" y="288"/>
                  </a:lnTo>
                  <a:lnTo>
                    <a:pt x="468" y="292"/>
                  </a:lnTo>
                  <a:lnTo>
                    <a:pt x="466" y="296"/>
                  </a:lnTo>
                  <a:lnTo>
                    <a:pt x="466" y="300"/>
                  </a:lnTo>
                  <a:lnTo>
                    <a:pt x="466" y="302"/>
                  </a:lnTo>
                  <a:lnTo>
                    <a:pt x="466" y="304"/>
                  </a:lnTo>
                  <a:lnTo>
                    <a:pt x="462" y="304"/>
                  </a:lnTo>
                  <a:lnTo>
                    <a:pt x="462" y="304"/>
                  </a:lnTo>
                  <a:lnTo>
                    <a:pt x="458" y="304"/>
                  </a:lnTo>
                  <a:lnTo>
                    <a:pt x="456" y="304"/>
                  </a:lnTo>
                  <a:lnTo>
                    <a:pt x="458" y="300"/>
                  </a:lnTo>
                  <a:lnTo>
                    <a:pt x="460" y="298"/>
                  </a:lnTo>
                  <a:lnTo>
                    <a:pt x="456" y="298"/>
                  </a:lnTo>
                  <a:lnTo>
                    <a:pt x="456" y="298"/>
                  </a:lnTo>
                  <a:lnTo>
                    <a:pt x="438" y="300"/>
                  </a:lnTo>
                  <a:lnTo>
                    <a:pt x="430" y="300"/>
                  </a:lnTo>
                  <a:lnTo>
                    <a:pt x="426" y="298"/>
                  </a:lnTo>
                  <a:lnTo>
                    <a:pt x="422" y="296"/>
                  </a:lnTo>
                  <a:lnTo>
                    <a:pt x="420" y="292"/>
                  </a:lnTo>
                  <a:lnTo>
                    <a:pt x="418" y="280"/>
                  </a:lnTo>
                  <a:lnTo>
                    <a:pt x="408" y="282"/>
                  </a:lnTo>
                  <a:lnTo>
                    <a:pt x="398" y="266"/>
                  </a:lnTo>
                  <a:lnTo>
                    <a:pt x="406" y="266"/>
                  </a:lnTo>
                  <a:lnTo>
                    <a:pt x="402" y="248"/>
                  </a:lnTo>
                  <a:lnTo>
                    <a:pt x="394" y="254"/>
                  </a:lnTo>
                  <a:lnTo>
                    <a:pt x="394" y="254"/>
                  </a:lnTo>
                  <a:lnTo>
                    <a:pt x="382" y="240"/>
                  </a:lnTo>
                  <a:lnTo>
                    <a:pt x="378" y="236"/>
                  </a:lnTo>
                  <a:lnTo>
                    <a:pt x="374" y="234"/>
                  </a:lnTo>
                  <a:lnTo>
                    <a:pt x="370" y="234"/>
                  </a:lnTo>
                  <a:lnTo>
                    <a:pt x="364" y="232"/>
                  </a:lnTo>
                  <a:lnTo>
                    <a:pt x="364" y="232"/>
                  </a:lnTo>
                  <a:lnTo>
                    <a:pt x="360" y="228"/>
                  </a:lnTo>
                  <a:lnTo>
                    <a:pt x="360" y="232"/>
                  </a:lnTo>
                  <a:lnTo>
                    <a:pt x="358" y="236"/>
                  </a:lnTo>
                  <a:lnTo>
                    <a:pt x="356" y="238"/>
                  </a:lnTo>
                  <a:lnTo>
                    <a:pt x="354" y="238"/>
                  </a:lnTo>
                  <a:lnTo>
                    <a:pt x="354" y="238"/>
                  </a:lnTo>
                  <a:lnTo>
                    <a:pt x="308" y="236"/>
                  </a:lnTo>
                  <a:lnTo>
                    <a:pt x="308" y="236"/>
                  </a:lnTo>
                  <a:lnTo>
                    <a:pt x="306" y="236"/>
                  </a:lnTo>
                  <a:lnTo>
                    <a:pt x="302" y="234"/>
                  </a:lnTo>
                  <a:lnTo>
                    <a:pt x="298" y="226"/>
                  </a:lnTo>
                  <a:lnTo>
                    <a:pt x="296" y="220"/>
                  </a:lnTo>
                  <a:lnTo>
                    <a:pt x="296" y="216"/>
                  </a:lnTo>
                  <a:lnTo>
                    <a:pt x="298" y="216"/>
                  </a:lnTo>
                  <a:lnTo>
                    <a:pt x="298" y="216"/>
                  </a:lnTo>
                  <a:lnTo>
                    <a:pt x="298" y="214"/>
                  </a:lnTo>
                  <a:lnTo>
                    <a:pt x="298" y="212"/>
                  </a:lnTo>
                  <a:lnTo>
                    <a:pt x="296" y="206"/>
                  </a:lnTo>
                  <a:lnTo>
                    <a:pt x="292" y="198"/>
                  </a:lnTo>
                  <a:lnTo>
                    <a:pt x="290" y="196"/>
                  </a:lnTo>
                  <a:lnTo>
                    <a:pt x="286" y="194"/>
                  </a:lnTo>
                  <a:lnTo>
                    <a:pt x="286" y="194"/>
                  </a:lnTo>
                  <a:lnTo>
                    <a:pt x="288" y="192"/>
                  </a:lnTo>
                  <a:lnTo>
                    <a:pt x="288" y="192"/>
                  </a:lnTo>
                  <a:lnTo>
                    <a:pt x="286" y="190"/>
                  </a:lnTo>
                  <a:lnTo>
                    <a:pt x="286" y="190"/>
                  </a:lnTo>
                  <a:lnTo>
                    <a:pt x="284" y="190"/>
                  </a:lnTo>
                  <a:lnTo>
                    <a:pt x="282" y="188"/>
                  </a:lnTo>
                  <a:lnTo>
                    <a:pt x="282" y="182"/>
                  </a:lnTo>
                  <a:lnTo>
                    <a:pt x="280" y="180"/>
                  </a:lnTo>
                  <a:lnTo>
                    <a:pt x="280" y="178"/>
                  </a:lnTo>
                  <a:lnTo>
                    <a:pt x="276" y="178"/>
                  </a:lnTo>
                  <a:lnTo>
                    <a:pt x="270" y="178"/>
                  </a:lnTo>
                  <a:lnTo>
                    <a:pt x="270" y="178"/>
                  </a:lnTo>
                  <a:lnTo>
                    <a:pt x="264" y="180"/>
                  </a:lnTo>
                  <a:lnTo>
                    <a:pt x="260" y="178"/>
                  </a:lnTo>
                  <a:lnTo>
                    <a:pt x="258" y="178"/>
                  </a:lnTo>
                  <a:lnTo>
                    <a:pt x="258" y="176"/>
                  </a:lnTo>
                  <a:lnTo>
                    <a:pt x="256" y="174"/>
                  </a:lnTo>
                  <a:lnTo>
                    <a:pt x="252" y="176"/>
                  </a:lnTo>
                  <a:lnTo>
                    <a:pt x="252" y="176"/>
                  </a:lnTo>
                  <a:lnTo>
                    <a:pt x="250" y="178"/>
                  </a:lnTo>
                  <a:lnTo>
                    <a:pt x="248" y="178"/>
                  </a:lnTo>
                  <a:lnTo>
                    <a:pt x="246" y="174"/>
                  </a:lnTo>
                  <a:lnTo>
                    <a:pt x="244" y="172"/>
                  </a:lnTo>
                  <a:lnTo>
                    <a:pt x="244" y="180"/>
                  </a:lnTo>
                  <a:lnTo>
                    <a:pt x="244" y="180"/>
                  </a:lnTo>
                  <a:lnTo>
                    <a:pt x="244" y="188"/>
                  </a:lnTo>
                  <a:lnTo>
                    <a:pt x="244" y="192"/>
                  </a:lnTo>
                  <a:lnTo>
                    <a:pt x="240" y="186"/>
                  </a:lnTo>
                  <a:lnTo>
                    <a:pt x="236" y="182"/>
                  </a:lnTo>
                  <a:lnTo>
                    <a:pt x="236" y="182"/>
                  </a:lnTo>
                  <a:lnTo>
                    <a:pt x="234" y="190"/>
                  </a:lnTo>
                  <a:lnTo>
                    <a:pt x="234" y="190"/>
                  </a:lnTo>
                  <a:lnTo>
                    <a:pt x="234" y="192"/>
                  </a:lnTo>
                  <a:lnTo>
                    <a:pt x="230" y="194"/>
                  </a:lnTo>
                  <a:lnTo>
                    <a:pt x="218" y="196"/>
                  </a:lnTo>
                  <a:lnTo>
                    <a:pt x="212" y="200"/>
                  </a:lnTo>
                  <a:lnTo>
                    <a:pt x="206" y="202"/>
                  </a:lnTo>
                  <a:lnTo>
                    <a:pt x="204" y="206"/>
                  </a:lnTo>
                  <a:lnTo>
                    <a:pt x="204" y="212"/>
                  </a:lnTo>
                  <a:lnTo>
                    <a:pt x="204" y="212"/>
                  </a:lnTo>
                  <a:lnTo>
                    <a:pt x="226" y="288"/>
                  </a:lnTo>
                  <a:lnTo>
                    <a:pt x="226" y="288"/>
                  </a:lnTo>
                  <a:lnTo>
                    <a:pt x="210" y="288"/>
                  </a:lnTo>
                  <a:lnTo>
                    <a:pt x="204" y="284"/>
                  </a:lnTo>
                  <a:lnTo>
                    <a:pt x="198" y="278"/>
                  </a:lnTo>
                  <a:lnTo>
                    <a:pt x="198" y="278"/>
                  </a:lnTo>
                  <a:lnTo>
                    <a:pt x="196" y="274"/>
                  </a:lnTo>
                  <a:lnTo>
                    <a:pt x="190" y="270"/>
                  </a:lnTo>
                  <a:lnTo>
                    <a:pt x="184" y="266"/>
                  </a:lnTo>
                  <a:lnTo>
                    <a:pt x="178" y="266"/>
                  </a:lnTo>
                  <a:lnTo>
                    <a:pt x="172" y="266"/>
                  </a:lnTo>
                  <a:lnTo>
                    <a:pt x="164" y="268"/>
                  </a:lnTo>
                  <a:lnTo>
                    <a:pt x="160" y="274"/>
                  </a:lnTo>
                  <a:lnTo>
                    <a:pt x="156" y="282"/>
                  </a:lnTo>
                  <a:lnTo>
                    <a:pt x="156" y="282"/>
                  </a:lnTo>
                  <a:lnTo>
                    <a:pt x="152" y="280"/>
                  </a:lnTo>
                  <a:lnTo>
                    <a:pt x="148" y="278"/>
                  </a:lnTo>
                  <a:lnTo>
                    <a:pt x="146" y="272"/>
                  </a:lnTo>
                  <a:lnTo>
                    <a:pt x="146" y="266"/>
                  </a:lnTo>
                  <a:lnTo>
                    <a:pt x="148" y="264"/>
                  </a:lnTo>
                  <a:lnTo>
                    <a:pt x="148" y="264"/>
                  </a:lnTo>
                  <a:lnTo>
                    <a:pt x="150" y="260"/>
                  </a:lnTo>
                  <a:lnTo>
                    <a:pt x="150" y="256"/>
                  </a:lnTo>
                  <a:lnTo>
                    <a:pt x="150" y="250"/>
                  </a:lnTo>
                  <a:lnTo>
                    <a:pt x="150" y="250"/>
                  </a:lnTo>
                  <a:lnTo>
                    <a:pt x="150" y="246"/>
                  </a:lnTo>
                  <a:lnTo>
                    <a:pt x="148" y="246"/>
                  </a:lnTo>
                  <a:lnTo>
                    <a:pt x="138" y="248"/>
                  </a:lnTo>
                  <a:lnTo>
                    <a:pt x="128" y="248"/>
                  </a:lnTo>
                  <a:lnTo>
                    <a:pt x="126" y="248"/>
                  </a:lnTo>
                  <a:lnTo>
                    <a:pt x="126" y="244"/>
                  </a:lnTo>
                  <a:lnTo>
                    <a:pt x="126" y="244"/>
                  </a:lnTo>
                  <a:lnTo>
                    <a:pt x="128" y="240"/>
                  </a:lnTo>
                  <a:lnTo>
                    <a:pt x="126" y="240"/>
                  </a:lnTo>
                  <a:lnTo>
                    <a:pt x="120" y="238"/>
                  </a:lnTo>
                  <a:lnTo>
                    <a:pt x="114" y="238"/>
                  </a:lnTo>
                  <a:lnTo>
                    <a:pt x="112" y="236"/>
                  </a:lnTo>
                  <a:lnTo>
                    <a:pt x="110" y="232"/>
                  </a:lnTo>
                  <a:lnTo>
                    <a:pt x="110" y="232"/>
                  </a:lnTo>
                  <a:lnTo>
                    <a:pt x="106" y="226"/>
                  </a:lnTo>
                  <a:lnTo>
                    <a:pt x="102" y="224"/>
                  </a:lnTo>
                  <a:lnTo>
                    <a:pt x="98" y="222"/>
                  </a:lnTo>
                  <a:lnTo>
                    <a:pt x="94" y="222"/>
                  </a:lnTo>
                  <a:lnTo>
                    <a:pt x="86" y="222"/>
                  </a:lnTo>
                  <a:lnTo>
                    <a:pt x="82" y="220"/>
                  </a:lnTo>
                  <a:lnTo>
                    <a:pt x="80" y="216"/>
                  </a:lnTo>
                  <a:lnTo>
                    <a:pt x="80" y="216"/>
                  </a:lnTo>
                  <a:lnTo>
                    <a:pt x="80" y="214"/>
                  </a:lnTo>
                  <a:lnTo>
                    <a:pt x="84" y="214"/>
                  </a:lnTo>
                  <a:lnTo>
                    <a:pt x="92" y="212"/>
                  </a:lnTo>
                  <a:lnTo>
                    <a:pt x="102" y="214"/>
                  </a:lnTo>
                  <a:lnTo>
                    <a:pt x="106" y="212"/>
                  </a:lnTo>
                  <a:lnTo>
                    <a:pt x="108" y="212"/>
                  </a:lnTo>
                  <a:lnTo>
                    <a:pt x="108" y="212"/>
                  </a:lnTo>
                  <a:lnTo>
                    <a:pt x="110" y="210"/>
                  </a:lnTo>
                  <a:lnTo>
                    <a:pt x="106" y="210"/>
                  </a:lnTo>
                  <a:lnTo>
                    <a:pt x="102" y="208"/>
                  </a:lnTo>
                  <a:lnTo>
                    <a:pt x="96" y="206"/>
                  </a:lnTo>
                  <a:lnTo>
                    <a:pt x="96" y="206"/>
                  </a:lnTo>
                  <a:lnTo>
                    <a:pt x="96" y="204"/>
                  </a:lnTo>
                  <a:lnTo>
                    <a:pt x="94" y="202"/>
                  </a:lnTo>
                  <a:lnTo>
                    <a:pt x="98" y="196"/>
                  </a:lnTo>
                  <a:lnTo>
                    <a:pt x="102" y="192"/>
                  </a:lnTo>
                  <a:lnTo>
                    <a:pt x="106" y="192"/>
                  </a:lnTo>
                  <a:lnTo>
                    <a:pt x="108" y="192"/>
                  </a:lnTo>
                  <a:lnTo>
                    <a:pt x="108" y="192"/>
                  </a:lnTo>
                  <a:lnTo>
                    <a:pt x="112" y="194"/>
                  </a:lnTo>
                  <a:lnTo>
                    <a:pt x="116" y="192"/>
                  </a:lnTo>
                  <a:lnTo>
                    <a:pt x="120" y="192"/>
                  </a:lnTo>
                  <a:lnTo>
                    <a:pt x="126" y="196"/>
                  </a:lnTo>
                  <a:lnTo>
                    <a:pt x="126" y="196"/>
                  </a:lnTo>
                  <a:lnTo>
                    <a:pt x="130" y="198"/>
                  </a:lnTo>
                  <a:lnTo>
                    <a:pt x="134" y="200"/>
                  </a:lnTo>
                  <a:lnTo>
                    <a:pt x="138" y="198"/>
                  </a:lnTo>
                  <a:lnTo>
                    <a:pt x="136" y="196"/>
                  </a:lnTo>
                  <a:lnTo>
                    <a:pt x="136" y="196"/>
                  </a:lnTo>
                  <a:lnTo>
                    <a:pt x="134" y="194"/>
                  </a:lnTo>
                  <a:lnTo>
                    <a:pt x="134" y="192"/>
                  </a:lnTo>
                  <a:lnTo>
                    <a:pt x="138" y="190"/>
                  </a:lnTo>
                  <a:lnTo>
                    <a:pt x="140" y="188"/>
                  </a:lnTo>
                  <a:lnTo>
                    <a:pt x="140" y="186"/>
                  </a:lnTo>
                  <a:lnTo>
                    <a:pt x="138" y="184"/>
                  </a:lnTo>
                  <a:lnTo>
                    <a:pt x="138" y="184"/>
                  </a:lnTo>
                  <a:lnTo>
                    <a:pt x="136" y="180"/>
                  </a:lnTo>
                  <a:lnTo>
                    <a:pt x="136" y="178"/>
                  </a:lnTo>
                  <a:lnTo>
                    <a:pt x="136" y="174"/>
                  </a:lnTo>
                  <a:lnTo>
                    <a:pt x="132" y="172"/>
                  </a:lnTo>
                  <a:lnTo>
                    <a:pt x="132" y="172"/>
                  </a:lnTo>
                  <a:lnTo>
                    <a:pt x="130" y="172"/>
                  </a:lnTo>
                  <a:lnTo>
                    <a:pt x="130" y="168"/>
                  </a:lnTo>
                  <a:lnTo>
                    <a:pt x="130" y="166"/>
                  </a:lnTo>
                  <a:lnTo>
                    <a:pt x="128" y="162"/>
                  </a:lnTo>
                  <a:lnTo>
                    <a:pt x="128" y="162"/>
                  </a:lnTo>
                  <a:lnTo>
                    <a:pt x="124" y="160"/>
                  </a:lnTo>
                  <a:lnTo>
                    <a:pt x="124" y="154"/>
                  </a:lnTo>
                  <a:lnTo>
                    <a:pt x="122" y="152"/>
                  </a:lnTo>
                  <a:lnTo>
                    <a:pt x="120" y="152"/>
                  </a:lnTo>
                  <a:lnTo>
                    <a:pt x="116" y="150"/>
                  </a:lnTo>
                  <a:lnTo>
                    <a:pt x="110" y="150"/>
                  </a:lnTo>
                  <a:lnTo>
                    <a:pt x="110" y="150"/>
                  </a:lnTo>
                  <a:lnTo>
                    <a:pt x="90" y="154"/>
                  </a:lnTo>
                  <a:lnTo>
                    <a:pt x="88" y="154"/>
                  </a:lnTo>
                  <a:lnTo>
                    <a:pt x="86" y="156"/>
                  </a:lnTo>
                  <a:lnTo>
                    <a:pt x="86" y="156"/>
                  </a:lnTo>
                  <a:lnTo>
                    <a:pt x="82" y="160"/>
                  </a:lnTo>
                  <a:lnTo>
                    <a:pt x="78" y="162"/>
                  </a:lnTo>
                  <a:lnTo>
                    <a:pt x="74" y="162"/>
                  </a:lnTo>
                  <a:lnTo>
                    <a:pt x="68" y="166"/>
                  </a:lnTo>
                  <a:lnTo>
                    <a:pt x="68" y="166"/>
                  </a:lnTo>
                  <a:lnTo>
                    <a:pt x="60" y="170"/>
                  </a:lnTo>
                  <a:lnTo>
                    <a:pt x="58" y="172"/>
                  </a:lnTo>
                  <a:lnTo>
                    <a:pt x="58" y="172"/>
                  </a:lnTo>
                  <a:lnTo>
                    <a:pt x="58" y="170"/>
                  </a:lnTo>
                  <a:lnTo>
                    <a:pt x="54" y="168"/>
                  </a:lnTo>
                  <a:lnTo>
                    <a:pt x="54" y="168"/>
                  </a:lnTo>
                  <a:lnTo>
                    <a:pt x="52" y="166"/>
                  </a:lnTo>
                  <a:lnTo>
                    <a:pt x="52" y="164"/>
                  </a:lnTo>
                  <a:lnTo>
                    <a:pt x="56" y="162"/>
                  </a:lnTo>
                  <a:lnTo>
                    <a:pt x="56" y="160"/>
                  </a:lnTo>
                  <a:lnTo>
                    <a:pt x="56" y="158"/>
                  </a:lnTo>
                  <a:lnTo>
                    <a:pt x="54" y="154"/>
                  </a:lnTo>
                  <a:lnTo>
                    <a:pt x="46" y="150"/>
                  </a:lnTo>
                  <a:lnTo>
                    <a:pt x="46" y="150"/>
                  </a:lnTo>
                  <a:lnTo>
                    <a:pt x="38" y="144"/>
                  </a:lnTo>
                  <a:lnTo>
                    <a:pt x="32" y="144"/>
                  </a:lnTo>
                  <a:lnTo>
                    <a:pt x="30" y="144"/>
                  </a:lnTo>
                  <a:lnTo>
                    <a:pt x="26" y="140"/>
                  </a:lnTo>
                  <a:lnTo>
                    <a:pt x="26" y="140"/>
                  </a:lnTo>
                  <a:lnTo>
                    <a:pt x="24" y="140"/>
                  </a:lnTo>
                  <a:lnTo>
                    <a:pt x="22" y="140"/>
                  </a:lnTo>
                  <a:lnTo>
                    <a:pt x="18" y="142"/>
                  </a:lnTo>
                  <a:lnTo>
                    <a:pt x="16" y="142"/>
                  </a:lnTo>
                  <a:lnTo>
                    <a:pt x="14" y="142"/>
                  </a:lnTo>
                  <a:lnTo>
                    <a:pt x="12" y="140"/>
                  </a:lnTo>
                  <a:lnTo>
                    <a:pt x="10" y="136"/>
                  </a:lnTo>
                  <a:lnTo>
                    <a:pt x="10" y="136"/>
                  </a:lnTo>
                  <a:lnTo>
                    <a:pt x="10" y="132"/>
                  </a:lnTo>
                  <a:lnTo>
                    <a:pt x="8" y="132"/>
                  </a:lnTo>
                  <a:lnTo>
                    <a:pt x="2" y="130"/>
                  </a:lnTo>
                  <a:lnTo>
                    <a:pt x="2" y="128"/>
                  </a:lnTo>
                  <a:lnTo>
                    <a:pt x="0" y="126"/>
                  </a:lnTo>
                  <a:lnTo>
                    <a:pt x="4" y="118"/>
                  </a:lnTo>
                  <a:lnTo>
                    <a:pt x="4" y="118"/>
                  </a:lnTo>
                  <a:lnTo>
                    <a:pt x="8" y="108"/>
                  </a:lnTo>
                  <a:lnTo>
                    <a:pt x="8" y="106"/>
                  </a:lnTo>
                  <a:lnTo>
                    <a:pt x="6" y="102"/>
                  </a:lnTo>
                  <a:lnTo>
                    <a:pt x="6" y="98"/>
                  </a:lnTo>
                  <a:lnTo>
                    <a:pt x="6" y="98"/>
                  </a:lnTo>
                  <a:lnTo>
                    <a:pt x="8" y="92"/>
                  </a:lnTo>
                  <a:lnTo>
                    <a:pt x="10" y="86"/>
                  </a:lnTo>
                  <a:lnTo>
                    <a:pt x="12" y="84"/>
                  </a:lnTo>
                  <a:lnTo>
                    <a:pt x="14" y="88"/>
                  </a:lnTo>
                  <a:lnTo>
                    <a:pt x="14" y="88"/>
                  </a:lnTo>
                  <a:lnTo>
                    <a:pt x="20" y="98"/>
                  </a:lnTo>
                  <a:lnTo>
                    <a:pt x="24" y="102"/>
                  </a:lnTo>
                  <a:lnTo>
                    <a:pt x="30" y="100"/>
                  </a:lnTo>
                  <a:lnTo>
                    <a:pt x="30" y="100"/>
                  </a:lnTo>
                  <a:lnTo>
                    <a:pt x="32" y="98"/>
                  </a:lnTo>
                  <a:lnTo>
                    <a:pt x="32" y="94"/>
                  </a:lnTo>
                  <a:lnTo>
                    <a:pt x="28" y="90"/>
                  </a:lnTo>
                  <a:lnTo>
                    <a:pt x="22" y="84"/>
                  </a:lnTo>
                  <a:lnTo>
                    <a:pt x="22" y="84"/>
                  </a:lnTo>
                  <a:lnTo>
                    <a:pt x="26" y="84"/>
                  </a:lnTo>
                  <a:lnTo>
                    <a:pt x="30" y="86"/>
                  </a:lnTo>
                  <a:lnTo>
                    <a:pt x="32" y="86"/>
                  </a:lnTo>
                  <a:lnTo>
                    <a:pt x="34" y="82"/>
                  </a:lnTo>
                  <a:lnTo>
                    <a:pt x="34" y="82"/>
                  </a:lnTo>
                  <a:lnTo>
                    <a:pt x="38" y="78"/>
                  </a:lnTo>
                  <a:lnTo>
                    <a:pt x="42" y="74"/>
                  </a:lnTo>
                  <a:lnTo>
                    <a:pt x="46" y="70"/>
                  </a:lnTo>
                  <a:lnTo>
                    <a:pt x="46" y="66"/>
                  </a:lnTo>
                  <a:lnTo>
                    <a:pt x="46" y="66"/>
                  </a:lnTo>
                  <a:lnTo>
                    <a:pt x="46" y="62"/>
                  </a:lnTo>
                  <a:lnTo>
                    <a:pt x="50" y="60"/>
                  </a:lnTo>
                  <a:lnTo>
                    <a:pt x="54" y="62"/>
                  </a:lnTo>
                  <a:lnTo>
                    <a:pt x="56" y="64"/>
                  </a:lnTo>
                  <a:lnTo>
                    <a:pt x="56" y="64"/>
                  </a:lnTo>
                  <a:lnTo>
                    <a:pt x="60" y="68"/>
                  </a:lnTo>
                  <a:lnTo>
                    <a:pt x="62" y="68"/>
                  </a:lnTo>
                  <a:lnTo>
                    <a:pt x="68" y="66"/>
                  </a:lnTo>
                  <a:lnTo>
                    <a:pt x="72" y="62"/>
                  </a:lnTo>
                  <a:lnTo>
                    <a:pt x="76" y="62"/>
                  </a:lnTo>
                  <a:lnTo>
                    <a:pt x="78" y="64"/>
                  </a:lnTo>
                  <a:lnTo>
                    <a:pt x="78" y="64"/>
                  </a:lnTo>
                  <a:lnTo>
                    <a:pt x="84" y="66"/>
                  </a:lnTo>
                  <a:lnTo>
                    <a:pt x="86" y="66"/>
                  </a:lnTo>
                  <a:lnTo>
                    <a:pt x="92" y="64"/>
                  </a:lnTo>
                  <a:lnTo>
                    <a:pt x="94" y="64"/>
                  </a:lnTo>
                  <a:lnTo>
                    <a:pt x="98" y="64"/>
                  </a:lnTo>
                  <a:lnTo>
                    <a:pt x="104" y="68"/>
                  </a:lnTo>
                  <a:lnTo>
                    <a:pt x="112" y="74"/>
                  </a:lnTo>
                  <a:lnTo>
                    <a:pt x="112" y="74"/>
                  </a:lnTo>
                  <a:lnTo>
                    <a:pt x="114" y="76"/>
                  </a:lnTo>
                  <a:lnTo>
                    <a:pt x="116" y="76"/>
                  </a:lnTo>
                  <a:lnTo>
                    <a:pt x="118" y="72"/>
                  </a:lnTo>
                  <a:lnTo>
                    <a:pt x="118" y="70"/>
                  </a:lnTo>
                  <a:lnTo>
                    <a:pt x="120" y="70"/>
                  </a:lnTo>
                  <a:lnTo>
                    <a:pt x="126" y="72"/>
                  </a:lnTo>
                  <a:lnTo>
                    <a:pt x="134" y="76"/>
                  </a:lnTo>
                  <a:lnTo>
                    <a:pt x="134" y="76"/>
                  </a:lnTo>
                  <a:lnTo>
                    <a:pt x="142" y="80"/>
                  </a:lnTo>
                  <a:lnTo>
                    <a:pt x="146" y="82"/>
                  </a:lnTo>
                  <a:lnTo>
                    <a:pt x="148" y="78"/>
                  </a:lnTo>
                  <a:lnTo>
                    <a:pt x="148" y="74"/>
                  </a:lnTo>
                  <a:lnTo>
                    <a:pt x="148" y="74"/>
                  </a:lnTo>
                  <a:lnTo>
                    <a:pt x="150" y="72"/>
                  </a:lnTo>
                  <a:lnTo>
                    <a:pt x="152" y="74"/>
                  </a:lnTo>
                  <a:lnTo>
                    <a:pt x="156" y="74"/>
                  </a:lnTo>
                  <a:lnTo>
                    <a:pt x="162" y="74"/>
                  </a:lnTo>
                  <a:lnTo>
                    <a:pt x="162" y="74"/>
                  </a:lnTo>
                  <a:lnTo>
                    <a:pt x="168" y="72"/>
                  </a:lnTo>
                  <a:lnTo>
                    <a:pt x="170" y="76"/>
                  </a:lnTo>
                  <a:lnTo>
                    <a:pt x="172" y="78"/>
                  </a:lnTo>
                  <a:lnTo>
                    <a:pt x="178" y="76"/>
                  </a:lnTo>
                  <a:lnTo>
                    <a:pt x="178" y="76"/>
                  </a:lnTo>
                  <a:lnTo>
                    <a:pt x="194" y="72"/>
                  </a:lnTo>
                  <a:lnTo>
                    <a:pt x="200" y="70"/>
                  </a:lnTo>
                  <a:lnTo>
                    <a:pt x="202" y="72"/>
                  </a:lnTo>
                  <a:lnTo>
                    <a:pt x="202" y="74"/>
                  </a:lnTo>
                  <a:lnTo>
                    <a:pt x="202" y="74"/>
                  </a:lnTo>
                  <a:lnTo>
                    <a:pt x="198" y="78"/>
                  </a:lnTo>
                  <a:lnTo>
                    <a:pt x="198" y="82"/>
                  </a:lnTo>
                  <a:lnTo>
                    <a:pt x="200" y="84"/>
                  </a:lnTo>
                  <a:lnTo>
                    <a:pt x="204" y="84"/>
                  </a:lnTo>
                  <a:lnTo>
                    <a:pt x="210" y="82"/>
                  </a:lnTo>
                  <a:lnTo>
                    <a:pt x="214" y="80"/>
                  </a:lnTo>
                  <a:lnTo>
                    <a:pt x="216" y="76"/>
                  </a:lnTo>
                  <a:lnTo>
                    <a:pt x="216" y="76"/>
                  </a:lnTo>
                  <a:lnTo>
                    <a:pt x="230" y="82"/>
                  </a:lnTo>
                  <a:lnTo>
                    <a:pt x="240" y="84"/>
                  </a:lnTo>
                  <a:lnTo>
                    <a:pt x="246" y="84"/>
                  </a:lnTo>
                  <a:lnTo>
                    <a:pt x="250" y="82"/>
                  </a:lnTo>
                  <a:lnTo>
                    <a:pt x="252" y="80"/>
                  </a:lnTo>
                  <a:lnTo>
                    <a:pt x="252" y="74"/>
                  </a:lnTo>
                  <a:lnTo>
                    <a:pt x="252" y="74"/>
                  </a:lnTo>
                  <a:lnTo>
                    <a:pt x="252" y="70"/>
                  </a:lnTo>
                  <a:lnTo>
                    <a:pt x="250" y="68"/>
                  </a:lnTo>
                  <a:lnTo>
                    <a:pt x="246" y="66"/>
                  </a:lnTo>
                  <a:lnTo>
                    <a:pt x="242" y="66"/>
                  </a:lnTo>
                  <a:lnTo>
                    <a:pt x="230" y="66"/>
                  </a:lnTo>
                  <a:lnTo>
                    <a:pt x="214" y="62"/>
                  </a:lnTo>
                  <a:lnTo>
                    <a:pt x="214" y="62"/>
                  </a:lnTo>
                  <a:lnTo>
                    <a:pt x="208" y="60"/>
                  </a:lnTo>
                  <a:lnTo>
                    <a:pt x="208" y="60"/>
                  </a:lnTo>
                  <a:lnTo>
                    <a:pt x="208" y="58"/>
                  </a:lnTo>
                  <a:lnTo>
                    <a:pt x="218" y="52"/>
                  </a:lnTo>
                  <a:lnTo>
                    <a:pt x="228" y="48"/>
                  </a:lnTo>
                  <a:lnTo>
                    <a:pt x="228" y="48"/>
                  </a:lnTo>
                  <a:lnTo>
                    <a:pt x="228" y="46"/>
                  </a:lnTo>
                  <a:lnTo>
                    <a:pt x="222" y="46"/>
                  </a:lnTo>
                  <a:lnTo>
                    <a:pt x="222" y="46"/>
                  </a:lnTo>
                  <a:lnTo>
                    <a:pt x="214" y="44"/>
                  </a:lnTo>
                  <a:lnTo>
                    <a:pt x="214" y="42"/>
                  </a:lnTo>
                  <a:lnTo>
                    <a:pt x="214" y="42"/>
                  </a:lnTo>
                  <a:lnTo>
                    <a:pt x="216" y="40"/>
                  </a:lnTo>
                  <a:lnTo>
                    <a:pt x="212" y="38"/>
                  </a:lnTo>
                  <a:lnTo>
                    <a:pt x="212" y="38"/>
                  </a:lnTo>
                  <a:lnTo>
                    <a:pt x="208" y="36"/>
                  </a:lnTo>
                  <a:lnTo>
                    <a:pt x="208" y="34"/>
                  </a:lnTo>
                  <a:lnTo>
                    <a:pt x="214" y="28"/>
                  </a:lnTo>
                  <a:lnTo>
                    <a:pt x="214" y="28"/>
                  </a:lnTo>
                  <a:lnTo>
                    <a:pt x="218" y="26"/>
                  </a:lnTo>
                  <a:lnTo>
                    <a:pt x="226" y="24"/>
                  </a:lnTo>
                  <a:lnTo>
                    <a:pt x="246" y="22"/>
                  </a:lnTo>
                  <a:lnTo>
                    <a:pt x="246" y="22"/>
                  </a:lnTo>
                  <a:lnTo>
                    <a:pt x="266" y="22"/>
                  </a:lnTo>
                  <a:lnTo>
                    <a:pt x="282" y="22"/>
                  </a:lnTo>
                  <a:lnTo>
                    <a:pt x="288" y="20"/>
                  </a:lnTo>
                  <a:lnTo>
                    <a:pt x="290" y="18"/>
                  </a:lnTo>
                  <a:lnTo>
                    <a:pt x="290" y="18"/>
                  </a:lnTo>
                  <a:lnTo>
                    <a:pt x="294" y="16"/>
                  </a:lnTo>
                  <a:lnTo>
                    <a:pt x="302" y="16"/>
                  </a:lnTo>
                  <a:lnTo>
                    <a:pt x="328" y="14"/>
                  </a:lnTo>
                  <a:lnTo>
                    <a:pt x="328" y="14"/>
                  </a:lnTo>
                  <a:lnTo>
                    <a:pt x="334" y="12"/>
                  </a:lnTo>
                  <a:lnTo>
                    <a:pt x="338" y="10"/>
                  </a:lnTo>
                  <a:lnTo>
                    <a:pt x="342" y="6"/>
                  </a:lnTo>
                  <a:lnTo>
                    <a:pt x="348" y="2"/>
                  </a:lnTo>
                  <a:lnTo>
                    <a:pt x="350" y="2"/>
                  </a:lnTo>
                  <a:lnTo>
                    <a:pt x="356" y="2"/>
                  </a:lnTo>
                  <a:lnTo>
                    <a:pt x="356" y="2"/>
                  </a:lnTo>
                  <a:lnTo>
                    <a:pt x="364" y="2"/>
                  </a:lnTo>
                  <a:lnTo>
                    <a:pt x="370" y="0"/>
                  </a:lnTo>
                  <a:lnTo>
                    <a:pt x="374" y="0"/>
                  </a:lnTo>
                  <a:lnTo>
                    <a:pt x="374" y="4"/>
                  </a:lnTo>
                  <a:lnTo>
                    <a:pt x="374" y="4"/>
                  </a:lnTo>
                  <a:lnTo>
                    <a:pt x="376" y="10"/>
                  </a:lnTo>
                  <a:lnTo>
                    <a:pt x="378" y="12"/>
                  </a:lnTo>
                  <a:lnTo>
                    <a:pt x="380" y="12"/>
                  </a:lnTo>
                  <a:lnTo>
                    <a:pt x="378" y="16"/>
                  </a:lnTo>
                  <a:lnTo>
                    <a:pt x="378" y="16"/>
                  </a:lnTo>
                  <a:lnTo>
                    <a:pt x="378" y="16"/>
                  </a:lnTo>
                  <a:lnTo>
                    <a:pt x="378" y="18"/>
                  </a:lnTo>
                  <a:lnTo>
                    <a:pt x="382" y="22"/>
                  </a:lnTo>
                  <a:lnTo>
                    <a:pt x="388" y="22"/>
                  </a:lnTo>
                  <a:lnTo>
                    <a:pt x="392" y="22"/>
                  </a:lnTo>
                  <a:lnTo>
                    <a:pt x="392" y="22"/>
                  </a:lnTo>
                  <a:lnTo>
                    <a:pt x="394" y="20"/>
                  </a:lnTo>
                  <a:lnTo>
                    <a:pt x="396" y="20"/>
                  </a:lnTo>
                  <a:lnTo>
                    <a:pt x="398" y="22"/>
                  </a:lnTo>
                  <a:lnTo>
                    <a:pt x="402" y="24"/>
                  </a:lnTo>
                  <a:lnTo>
                    <a:pt x="404" y="24"/>
                  </a:lnTo>
                  <a:lnTo>
                    <a:pt x="406" y="22"/>
                  </a:lnTo>
                  <a:lnTo>
                    <a:pt x="406" y="22"/>
                  </a:lnTo>
                  <a:lnTo>
                    <a:pt x="408" y="20"/>
                  </a:lnTo>
                  <a:lnTo>
                    <a:pt x="412" y="22"/>
                  </a:lnTo>
                  <a:lnTo>
                    <a:pt x="416" y="22"/>
                  </a:lnTo>
                  <a:lnTo>
                    <a:pt x="422" y="22"/>
                  </a:lnTo>
                  <a:lnTo>
                    <a:pt x="422" y="22"/>
                  </a:lnTo>
                  <a:lnTo>
                    <a:pt x="420" y="32"/>
                  </a:lnTo>
                  <a:lnTo>
                    <a:pt x="422" y="34"/>
                  </a:lnTo>
                  <a:lnTo>
                    <a:pt x="422" y="34"/>
                  </a:lnTo>
                  <a:lnTo>
                    <a:pt x="428" y="32"/>
                  </a:lnTo>
                  <a:lnTo>
                    <a:pt x="432" y="32"/>
                  </a:lnTo>
                  <a:lnTo>
                    <a:pt x="438" y="32"/>
                  </a:lnTo>
                  <a:lnTo>
                    <a:pt x="438" y="32"/>
                  </a:lnTo>
                  <a:lnTo>
                    <a:pt x="444" y="32"/>
                  </a:lnTo>
                  <a:lnTo>
                    <a:pt x="444" y="30"/>
                  </a:lnTo>
                  <a:lnTo>
                    <a:pt x="442" y="26"/>
                  </a:lnTo>
                  <a:lnTo>
                    <a:pt x="442" y="26"/>
                  </a:lnTo>
                  <a:lnTo>
                    <a:pt x="444" y="24"/>
                  </a:lnTo>
                  <a:lnTo>
                    <a:pt x="444" y="24"/>
                  </a:lnTo>
                  <a:lnTo>
                    <a:pt x="450" y="24"/>
                  </a:lnTo>
                  <a:lnTo>
                    <a:pt x="452" y="22"/>
                  </a:lnTo>
                  <a:lnTo>
                    <a:pt x="456" y="20"/>
                  </a:lnTo>
                  <a:lnTo>
                    <a:pt x="460" y="20"/>
                  </a:lnTo>
                  <a:lnTo>
                    <a:pt x="460" y="20"/>
                  </a:lnTo>
                  <a:lnTo>
                    <a:pt x="470" y="20"/>
                  </a:lnTo>
                  <a:lnTo>
                    <a:pt x="470" y="22"/>
                  </a:lnTo>
                  <a:lnTo>
                    <a:pt x="462" y="26"/>
                  </a:lnTo>
                  <a:lnTo>
                    <a:pt x="462" y="26"/>
                  </a:lnTo>
                  <a:lnTo>
                    <a:pt x="486" y="34"/>
                  </a:lnTo>
                  <a:lnTo>
                    <a:pt x="506" y="42"/>
                  </a:lnTo>
                  <a:lnTo>
                    <a:pt x="520" y="50"/>
                  </a:lnTo>
                  <a:lnTo>
                    <a:pt x="532" y="56"/>
                  </a:lnTo>
                  <a:lnTo>
                    <a:pt x="548" y="72"/>
                  </a:lnTo>
                  <a:lnTo>
                    <a:pt x="562" y="84"/>
                  </a:lnTo>
                  <a:lnTo>
                    <a:pt x="562" y="84"/>
                  </a:lnTo>
                  <a:lnTo>
                    <a:pt x="568" y="88"/>
                  </a:lnTo>
                  <a:lnTo>
                    <a:pt x="572" y="88"/>
                  </a:lnTo>
                  <a:lnTo>
                    <a:pt x="574" y="86"/>
                  </a:lnTo>
                  <a:lnTo>
                    <a:pt x="576" y="82"/>
                  </a:lnTo>
                  <a:lnTo>
                    <a:pt x="578" y="78"/>
                  </a:lnTo>
                  <a:lnTo>
                    <a:pt x="580" y="78"/>
                  </a:lnTo>
                  <a:lnTo>
                    <a:pt x="584" y="84"/>
                  </a:lnTo>
                  <a:lnTo>
                    <a:pt x="584" y="84"/>
                  </a:lnTo>
                  <a:lnTo>
                    <a:pt x="588" y="88"/>
                  </a:lnTo>
                  <a:lnTo>
                    <a:pt x="592" y="90"/>
                  </a:lnTo>
                  <a:lnTo>
                    <a:pt x="598" y="88"/>
                  </a:lnTo>
                  <a:lnTo>
                    <a:pt x="606" y="88"/>
                  </a:lnTo>
                  <a:lnTo>
                    <a:pt x="618" y="84"/>
                  </a:lnTo>
                  <a:lnTo>
                    <a:pt x="624" y="84"/>
                  </a:lnTo>
                  <a:lnTo>
                    <a:pt x="628" y="88"/>
                  </a:lnTo>
                  <a:lnTo>
                    <a:pt x="628" y="88"/>
                  </a:lnTo>
                  <a:lnTo>
                    <a:pt x="632" y="94"/>
                  </a:lnTo>
                  <a:lnTo>
                    <a:pt x="636" y="94"/>
                  </a:lnTo>
                  <a:lnTo>
                    <a:pt x="640" y="96"/>
                  </a:lnTo>
                  <a:lnTo>
                    <a:pt x="646" y="102"/>
                  </a:lnTo>
                  <a:lnTo>
                    <a:pt x="646" y="102"/>
                  </a:lnTo>
                  <a:lnTo>
                    <a:pt x="648" y="104"/>
                  </a:lnTo>
                  <a:lnTo>
                    <a:pt x="650" y="106"/>
                  </a:lnTo>
                  <a:lnTo>
                    <a:pt x="654" y="104"/>
                  </a:lnTo>
                  <a:lnTo>
                    <a:pt x="658" y="104"/>
                  </a:lnTo>
                  <a:lnTo>
                    <a:pt x="660" y="104"/>
                  </a:lnTo>
                  <a:lnTo>
                    <a:pt x="664" y="108"/>
                  </a:lnTo>
                  <a:lnTo>
                    <a:pt x="664" y="108"/>
                  </a:lnTo>
                  <a:lnTo>
                    <a:pt x="668" y="110"/>
                  </a:lnTo>
                  <a:lnTo>
                    <a:pt x="672" y="110"/>
                  </a:lnTo>
                  <a:lnTo>
                    <a:pt x="676" y="110"/>
                  </a:lnTo>
                  <a:lnTo>
                    <a:pt x="678" y="108"/>
                  </a:lnTo>
                  <a:lnTo>
                    <a:pt x="678" y="108"/>
                  </a:lnTo>
                  <a:lnTo>
                    <a:pt x="680" y="106"/>
                  </a:lnTo>
                  <a:lnTo>
                    <a:pt x="682" y="104"/>
                  </a:lnTo>
                  <a:lnTo>
                    <a:pt x="690" y="104"/>
                  </a:lnTo>
                  <a:lnTo>
                    <a:pt x="690" y="104"/>
                  </a:lnTo>
                  <a:lnTo>
                    <a:pt x="694" y="104"/>
                  </a:lnTo>
                  <a:lnTo>
                    <a:pt x="696" y="104"/>
                  </a:lnTo>
                  <a:lnTo>
                    <a:pt x="700" y="102"/>
                  </a:lnTo>
                  <a:lnTo>
                    <a:pt x="708" y="102"/>
                  </a:lnTo>
                  <a:lnTo>
                    <a:pt x="708" y="102"/>
                  </a:lnTo>
                  <a:lnTo>
                    <a:pt x="714" y="104"/>
                  </a:lnTo>
                  <a:lnTo>
                    <a:pt x="718" y="108"/>
                  </a:lnTo>
                  <a:lnTo>
                    <a:pt x="722" y="112"/>
                  </a:lnTo>
                  <a:lnTo>
                    <a:pt x="726" y="114"/>
                  </a:lnTo>
                  <a:lnTo>
                    <a:pt x="726" y="114"/>
                  </a:lnTo>
                  <a:lnTo>
                    <a:pt x="728" y="114"/>
                  </a:lnTo>
                  <a:lnTo>
                    <a:pt x="728" y="116"/>
                  </a:lnTo>
                  <a:lnTo>
                    <a:pt x="730" y="118"/>
                  </a:lnTo>
                  <a:lnTo>
                    <a:pt x="738" y="118"/>
                  </a:lnTo>
                  <a:lnTo>
                    <a:pt x="738" y="118"/>
                  </a:lnTo>
                  <a:lnTo>
                    <a:pt x="736" y="120"/>
                  </a:lnTo>
                  <a:lnTo>
                    <a:pt x="734" y="122"/>
                  </a:lnTo>
                  <a:lnTo>
                    <a:pt x="722" y="122"/>
                  </a:lnTo>
                  <a:lnTo>
                    <a:pt x="718" y="122"/>
                  </a:lnTo>
                  <a:lnTo>
                    <a:pt x="714" y="126"/>
                  </a:lnTo>
                  <a:lnTo>
                    <a:pt x="714" y="134"/>
                  </a:lnTo>
                  <a:lnTo>
                    <a:pt x="716" y="146"/>
                  </a:lnTo>
                  <a:lnTo>
                    <a:pt x="716" y="146"/>
                  </a:lnTo>
                  <a:lnTo>
                    <a:pt x="716" y="148"/>
                  </a:lnTo>
                  <a:lnTo>
                    <a:pt x="714" y="150"/>
                  </a:lnTo>
                  <a:lnTo>
                    <a:pt x="706" y="154"/>
                  </a:lnTo>
                  <a:lnTo>
                    <a:pt x="696" y="156"/>
                  </a:lnTo>
                  <a:lnTo>
                    <a:pt x="686" y="154"/>
                  </a:lnTo>
                  <a:lnTo>
                    <a:pt x="686" y="154"/>
                  </a:lnTo>
                  <a:lnTo>
                    <a:pt x="680" y="152"/>
                  </a:lnTo>
                  <a:lnTo>
                    <a:pt x="676" y="152"/>
                  </a:lnTo>
                  <a:lnTo>
                    <a:pt x="672" y="154"/>
                  </a:lnTo>
                  <a:lnTo>
                    <a:pt x="672" y="158"/>
                  </a:lnTo>
                  <a:lnTo>
                    <a:pt x="672" y="168"/>
                  </a:lnTo>
                  <a:lnTo>
                    <a:pt x="674" y="186"/>
                  </a:lnTo>
                  <a:lnTo>
                    <a:pt x="674" y="186"/>
                  </a:lnTo>
                  <a:lnTo>
                    <a:pt x="674" y="190"/>
                  </a:lnTo>
                  <a:lnTo>
                    <a:pt x="674" y="192"/>
                  </a:lnTo>
                  <a:lnTo>
                    <a:pt x="666" y="192"/>
                  </a:lnTo>
                  <a:lnTo>
                    <a:pt x="656" y="192"/>
                  </a:lnTo>
                  <a:lnTo>
                    <a:pt x="648" y="194"/>
                  </a:lnTo>
                  <a:lnTo>
                    <a:pt x="648" y="194"/>
                  </a:lnTo>
                  <a:lnTo>
                    <a:pt x="642" y="198"/>
                  </a:lnTo>
                  <a:lnTo>
                    <a:pt x="640" y="202"/>
                  </a:lnTo>
                  <a:lnTo>
                    <a:pt x="640" y="206"/>
                  </a:lnTo>
                  <a:lnTo>
                    <a:pt x="642" y="206"/>
                  </a:lnTo>
                  <a:lnTo>
                    <a:pt x="642" y="206"/>
                  </a:lnTo>
                  <a:lnTo>
                    <a:pt x="644" y="206"/>
                  </a:lnTo>
                  <a:lnTo>
                    <a:pt x="648" y="208"/>
                  </a:lnTo>
                  <a:lnTo>
                    <a:pt x="656" y="218"/>
                  </a:lnTo>
                  <a:lnTo>
                    <a:pt x="664" y="226"/>
                  </a:lnTo>
                  <a:lnTo>
                    <a:pt x="666" y="232"/>
                  </a:lnTo>
                  <a:lnTo>
                    <a:pt x="664" y="234"/>
                  </a:lnTo>
                  <a:lnTo>
                    <a:pt x="664" y="234"/>
                  </a:lnTo>
                  <a:lnTo>
                    <a:pt x="662" y="238"/>
                  </a:lnTo>
                  <a:lnTo>
                    <a:pt x="662" y="242"/>
                  </a:lnTo>
                  <a:lnTo>
                    <a:pt x="666" y="246"/>
                  </a:lnTo>
                  <a:lnTo>
                    <a:pt x="668" y="252"/>
                  </a:lnTo>
                  <a:lnTo>
                    <a:pt x="668" y="254"/>
                  </a:lnTo>
                  <a:lnTo>
                    <a:pt x="664" y="256"/>
                  </a:lnTo>
                  <a:lnTo>
                    <a:pt x="664" y="256"/>
                  </a:lnTo>
                  <a:lnTo>
                    <a:pt x="660" y="260"/>
                  </a:lnTo>
                  <a:lnTo>
                    <a:pt x="658" y="258"/>
                  </a:lnTo>
                  <a:lnTo>
                    <a:pt x="656" y="254"/>
                  </a:lnTo>
                  <a:lnTo>
                    <a:pt x="654" y="254"/>
                  </a:lnTo>
                  <a:lnTo>
                    <a:pt x="650" y="254"/>
                  </a:lnTo>
                  <a:lnTo>
                    <a:pt x="650" y="254"/>
                  </a:lnTo>
                  <a:lnTo>
                    <a:pt x="642" y="254"/>
                  </a:lnTo>
                  <a:lnTo>
                    <a:pt x="638" y="252"/>
                  </a:lnTo>
                  <a:lnTo>
                    <a:pt x="638" y="250"/>
                  </a:lnTo>
                  <a:lnTo>
                    <a:pt x="634" y="250"/>
                  </a:lnTo>
                  <a:lnTo>
                    <a:pt x="634" y="250"/>
                  </a:lnTo>
                  <a:lnTo>
                    <a:pt x="624" y="250"/>
                  </a:lnTo>
                  <a:lnTo>
                    <a:pt x="608" y="250"/>
                  </a:lnTo>
                  <a:lnTo>
                    <a:pt x="576" y="250"/>
                  </a:lnTo>
                  <a:lnTo>
                    <a:pt x="576" y="250"/>
                  </a:lnTo>
                  <a:lnTo>
                    <a:pt x="564" y="248"/>
                  </a:lnTo>
                  <a:lnTo>
                    <a:pt x="554" y="244"/>
                  </a:lnTo>
                  <a:lnTo>
                    <a:pt x="546" y="244"/>
                  </a:lnTo>
                  <a:lnTo>
                    <a:pt x="544" y="246"/>
                  </a:lnTo>
                  <a:lnTo>
                    <a:pt x="544" y="250"/>
                  </a:lnTo>
                  <a:lnTo>
                    <a:pt x="544" y="250"/>
                  </a:lnTo>
                  <a:lnTo>
                    <a:pt x="542" y="254"/>
                  </a:lnTo>
                  <a:lnTo>
                    <a:pt x="542" y="254"/>
                  </a:lnTo>
                  <a:lnTo>
                    <a:pt x="536" y="254"/>
                  </a:lnTo>
                  <a:lnTo>
                    <a:pt x="528" y="252"/>
                  </a:lnTo>
                  <a:lnTo>
                    <a:pt x="524" y="250"/>
                  </a:lnTo>
                  <a:lnTo>
                    <a:pt x="520" y="252"/>
                  </a:lnTo>
                  <a:lnTo>
                    <a:pt x="520" y="252"/>
                  </a:lnTo>
                  <a:lnTo>
                    <a:pt x="512" y="252"/>
                  </a:lnTo>
                  <a:lnTo>
                    <a:pt x="510" y="252"/>
                  </a:lnTo>
                  <a:lnTo>
                    <a:pt x="506" y="252"/>
                  </a:lnTo>
                  <a:lnTo>
                    <a:pt x="498" y="260"/>
                  </a:lnTo>
                  <a:lnTo>
                    <a:pt x="498" y="260"/>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Latvia"/>
            <p:cNvSpPr>
              <a:spLocks/>
            </p:cNvSpPr>
            <p:nvPr/>
          </p:nvSpPr>
          <p:spPr bwMode="auto">
            <a:xfrm>
              <a:off x="4623559" y="1845469"/>
              <a:ext cx="150813" cy="55563"/>
            </a:xfrm>
            <a:custGeom>
              <a:avLst/>
              <a:gdLst/>
              <a:ahLst/>
              <a:cxnLst>
                <a:cxn ang="0">
                  <a:pos x="2" y="42"/>
                </a:cxn>
                <a:cxn ang="0">
                  <a:pos x="0" y="32"/>
                </a:cxn>
                <a:cxn ang="0">
                  <a:pos x="2" y="28"/>
                </a:cxn>
                <a:cxn ang="0">
                  <a:pos x="4" y="22"/>
                </a:cxn>
                <a:cxn ang="0">
                  <a:pos x="6" y="16"/>
                </a:cxn>
                <a:cxn ang="0">
                  <a:pos x="10" y="12"/>
                </a:cxn>
                <a:cxn ang="0">
                  <a:pos x="16" y="8"/>
                </a:cxn>
                <a:cxn ang="0">
                  <a:pos x="22" y="6"/>
                </a:cxn>
                <a:cxn ang="0">
                  <a:pos x="24" y="8"/>
                </a:cxn>
                <a:cxn ang="0">
                  <a:pos x="28" y="12"/>
                </a:cxn>
                <a:cxn ang="0">
                  <a:pos x="32" y="12"/>
                </a:cxn>
                <a:cxn ang="0">
                  <a:pos x="34" y="16"/>
                </a:cxn>
                <a:cxn ang="0">
                  <a:pos x="38" y="20"/>
                </a:cxn>
                <a:cxn ang="0">
                  <a:pos x="42" y="22"/>
                </a:cxn>
                <a:cxn ang="0">
                  <a:pos x="46" y="22"/>
                </a:cxn>
                <a:cxn ang="0">
                  <a:pos x="50" y="22"/>
                </a:cxn>
                <a:cxn ang="0">
                  <a:pos x="54" y="16"/>
                </a:cxn>
                <a:cxn ang="0">
                  <a:pos x="54" y="14"/>
                </a:cxn>
                <a:cxn ang="0">
                  <a:pos x="52" y="6"/>
                </a:cxn>
                <a:cxn ang="0">
                  <a:pos x="58" y="0"/>
                </a:cxn>
                <a:cxn ang="0">
                  <a:pos x="66" y="0"/>
                </a:cxn>
                <a:cxn ang="0">
                  <a:pos x="76" y="0"/>
                </a:cxn>
                <a:cxn ang="0">
                  <a:pos x="78" y="2"/>
                </a:cxn>
                <a:cxn ang="0">
                  <a:pos x="78" y="4"/>
                </a:cxn>
                <a:cxn ang="0">
                  <a:pos x="84" y="4"/>
                </a:cxn>
                <a:cxn ang="0">
                  <a:pos x="94" y="6"/>
                </a:cxn>
                <a:cxn ang="0">
                  <a:pos x="106" y="2"/>
                </a:cxn>
                <a:cxn ang="0">
                  <a:pos x="104" y="6"/>
                </a:cxn>
                <a:cxn ang="0">
                  <a:pos x="108" y="6"/>
                </a:cxn>
                <a:cxn ang="0">
                  <a:pos x="108" y="10"/>
                </a:cxn>
                <a:cxn ang="0">
                  <a:pos x="108" y="14"/>
                </a:cxn>
                <a:cxn ang="0">
                  <a:pos x="112" y="22"/>
                </a:cxn>
                <a:cxn ang="0">
                  <a:pos x="110" y="24"/>
                </a:cxn>
                <a:cxn ang="0">
                  <a:pos x="112" y="30"/>
                </a:cxn>
                <a:cxn ang="0">
                  <a:pos x="112" y="34"/>
                </a:cxn>
                <a:cxn ang="0">
                  <a:pos x="108" y="34"/>
                </a:cxn>
                <a:cxn ang="0">
                  <a:pos x="100" y="38"/>
                </a:cxn>
                <a:cxn ang="0">
                  <a:pos x="96" y="42"/>
                </a:cxn>
                <a:cxn ang="0">
                  <a:pos x="74" y="38"/>
                </a:cxn>
                <a:cxn ang="0">
                  <a:pos x="62" y="32"/>
                </a:cxn>
                <a:cxn ang="0">
                  <a:pos x="58" y="34"/>
                </a:cxn>
                <a:cxn ang="0">
                  <a:pos x="50" y="34"/>
                </a:cxn>
                <a:cxn ang="0">
                  <a:pos x="40" y="30"/>
                </a:cxn>
                <a:cxn ang="0">
                  <a:pos x="32" y="30"/>
                </a:cxn>
                <a:cxn ang="0">
                  <a:pos x="18" y="30"/>
                </a:cxn>
                <a:cxn ang="0">
                  <a:pos x="8" y="36"/>
                </a:cxn>
                <a:cxn ang="0">
                  <a:pos x="2" y="42"/>
                </a:cxn>
              </a:cxnLst>
              <a:rect l="0" t="0" r="r" b="b"/>
              <a:pathLst>
                <a:path w="114" h="42">
                  <a:moveTo>
                    <a:pt x="2" y="42"/>
                  </a:moveTo>
                  <a:lnTo>
                    <a:pt x="2" y="42"/>
                  </a:lnTo>
                  <a:lnTo>
                    <a:pt x="0" y="34"/>
                  </a:lnTo>
                  <a:lnTo>
                    <a:pt x="0" y="32"/>
                  </a:lnTo>
                  <a:lnTo>
                    <a:pt x="2" y="28"/>
                  </a:lnTo>
                  <a:lnTo>
                    <a:pt x="2" y="28"/>
                  </a:lnTo>
                  <a:lnTo>
                    <a:pt x="4" y="26"/>
                  </a:lnTo>
                  <a:lnTo>
                    <a:pt x="4" y="22"/>
                  </a:lnTo>
                  <a:lnTo>
                    <a:pt x="4" y="20"/>
                  </a:lnTo>
                  <a:lnTo>
                    <a:pt x="6" y="16"/>
                  </a:lnTo>
                  <a:lnTo>
                    <a:pt x="6" y="16"/>
                  </a:lnTo>
                  <a:lnTo>
                    <a:pt x="10" y="12"/>
                  </a:lnTo>
                  <a:lnTo>
                    <a:pt x="16" y="8"/>
                  </a:lnTo>
                  <a:lnTo>
                    <a:pt x="16" y="8"/>
                  </a:lnTo>
                  <a:lnTo>
                    <a:pt x="20" y="6"/>
                  </a:lnTo>
                  <a:lnTo>
                    <a:pt x="22" y="6"/>
                  </a:lnTo>
                  <a:lnTo>
                    <a:pt x="24" y="8"/>
                  </a:lnTo>
                  <a:lnTo>
                    <a:pt x="24" y="8"/>
                  </a:lnTo>
                  <a:lnTo>
                    <a:pt x="26" y="10"/>
                  </a:lnTo>
                  <a:lnTo>
                    <a:pt x="28" y="12"/>
                  </a:lnTo>
                  <a:lnTo>
                    <a:pt x="32" y="12"/>
                  </a:lnTo>
                  <a:lnTo>
                    <a:pt x="32" y="12"/>
                  </a:lnTo>
                  <a:lnTo>
                    <a:pt x="34" y="14"/>
                  </a:lnTo>
                  <a:lnTo>
                    <a:pt x="34" y="16"/>
                  </a:lnTo>
                  <a:lnTo>
                    <a:pt x="36" y="18"/>
                  </a:lnTo>
                  <a:lnTo>
                    <a:pt x="38" y="20"/>
                  </a:lnTo>
                  <a:lnTo>
                    <a:pt x="38" y="20"/>
                  </a:lnTo>
                  <a:lnTo>
                    <a:pt x="42" y="22"/>
                  </a:lnTo>
                  <a:lnTo>
                    <a:pt x="44" y="22"/>
                  </a:lnTo>
                  <a:lnTo>
                    <a:pt x="46" y="22"/>
                  </a:lnTo>
                  <a:lnTo>
                    <a:pt x="46" y="22"/>
                  </a:lnTo>
                  <a:lnTo>
                    <a:pt x="50" y="22"/>
                  </a:lnTo>
                  <a:lnTo>
                    <a:pt x="52" y="20"/>
                  </a:lnTo>
                  <a:lnTo>
                    <a:pt x="54" y="16"/>
                  </a:lnTo>
                  <a:lnTo>
                    <a:pt x="54" y="16"/>
                  </a:lnTo>
                  <a:lnTo>
                    <a:pt x="54" y="14"/>
                  </a:lnTo>
                  <a:lnTo>
                    <a:pt x="54" y="10"/>
                  </a:lnTo>
                  <a:lnTo>
                    <a:pt x="52" y="6"/>
                  </a:lnTo>
                  <a:lnTo>
                    <a:pt x="52" y="6"/>
                  </a:lnTo>
                  <a:lnTo>
                    <a:pt x="58" y="0"/>
                  </a:lnTo>
                  <a:lnTo>
                    <a:pt x="62" y="0"/>
                  </a:lnTo>
                  <a:lnTo>
                    <a:pt x="66" y="0"/>
                  </a:lnTo>
                  <a:lnTo>
                    <a:pt x="66" y="0"/>
                  </a:lnTo>
                  <a:lnTo>
                    <a:pt x="76" y="0"/>
                  </a:lnTo>
                  <a:lnTo>
                    <a:pt x="78" y="0"/>
                  </a:lnTo>
                  <a:lnTo>
                    <a:pt x="78" y="2"/>
                  </a:lnTo>
                  <a:lnTo>
                    <a:pt x="78" y="2"/>
                  </a:lnTo>
                  <a:lnTo>
                    <a:pt x="78" y="4"/>
                  </a:lnTo>
                  <a:lnTo>
                    <a:pt x="80" y="4"/>
                  </a:lnTo>
                  <a:lnTo>
                    <a:pt x="84" y="4"/>
                  </a:lnTo>
                  <a:lnTo>
                    <a:pt x="90" y="4"/>
                  </a:lnTo>
                  <a:lnTo>
                    <a:pt x="94" y="6"/>
                  </a:lnTo>
                  <a:lnTo>
                    <a:pt x="94" y="6"/>
                  </a:lnTo>
                  <a:lnTo>
                    <a:pt x="106" y="2"/>
                  </a:lnTo>
                  <a:lnTo>
                    <a:pt x="106" y="2"/>
                  </a:lnTo>
                  <a:lnTo>
                    <a:pt x="104" y="6"/>
                  </a:lnTo>
                  <a:lnTo>
                    <a:pt x="106" y="6"/>
                  </a:lnTo>
                  <a:lnTo>
                    <a:pt x="108" y="6"/>
                  </a:lnTo>
                  <a:lnTo>
                    <a:pt x="108" y="10"/>
                  </a:lnTo>
                  <a:lnTo>
                    <a:pt x="108" y="10"/>
                  </a:lnTo>
                  <a:lnTo>
                    <a:pt x="106" y="14"/>
                  </a:lnTo>
                  <a:lnTo>
                    <a:pt x="108" y="14"/>
                  </a:lnTo>
                  <a:lnTo>
                    <a:pt x="110" y="16"/>
                  </a:lnTo>
                  <a:lnTo>
                    <a:pt x="112" y="22"/>
                  </a:lnTo>
                  <a:lnTo>
                    <a:pt x="112" y="22"/>
                  </a:lnTo>
                  <a:lnTo>
                    <a:pt x="110" y="24"/>
                  </a:lnTo>
                  <a:lnTo>
                    <a:pt x="110" y="26"/>
                  </a:lnTo>
                  <a:lnTo>
                    <a:pt x="112" y="30"/>
                  </a:lnTo>
                  <a:lnTo>
                    <a:pt x="114" y="34"/>
                  </a:lnTo>
                  <a:lnTo>
                    <a:pt x="112" y="34"/>
                  </a:lnTo>
                  <a:lnTo>
                    <a:pt x="108" y="34"/>
                  </a:lnTo>
                  <a:lnTo>
                    <a:pt x="108" y="34"/>
                  </a:lnTo>
                  <a:lnTo>
                    <a:pt x="102" y="36"/>
                  </a:lnTo>
                  <a:lnTo>
                    <a:pt x="100" y="38"/>
                  </a:lnTo>
                  <a:lnTo>
                    <a:pt x="100" y="40"/>
                  </a:lnTo>
                  <a:lnTo>
                    <a:pt x="96" y="42"/>
                  </a:lnTo>
                  <a:lnTo>
                    <a:pt x="96" y="42"/>
                  </a:lnTo>
                  <a:lnTo>
                    <a:pt x="74" y="38"/>
                  </a:lnTo>
                  <a:lnTo>
                    <a:pt x="66" y="36"/>
                  </a:lnTo>
                  <a:lnTo>
                    <a:pt x="62" y="32"/>
                  </a:lnTo>
                  <a:lnTo>
                    <a:pt x="58" y="34"/>
                  </a:lnTo>
                  <a:lnTo>
                    <a:pt x="58" y="34"/>
                  </a:lnTo>
                  <a:lnTo>
                    <a:pt x="54" y="34"/>
                  </a:lnTo>
                  <a:lnTo>
                    <a:pt x="50" y="34"/>
                  </a:lnTo>
                  <a:lnTo>
                    <a:pt x="46" y="32"/>
                  </a:lnTo>
                  <a:lnTo>
                    <a:pt x="40" y="30"/>
                  </a:lnTo>
                  <a:lnTo>
                    <a:pt x="40" y="30"/>
                  </a:lnTo>
                  <a:lnTo>
                    <a:pt x="32" y="30"/>
                  </a:lnTo>
                  <a:lnTo>
                    <a:pt x="24" y="30"/>
                  </a:lnTo>
                  <a:lnTo>
                    <a:pt x="18" y="30"/>
                  </a:lnTo>
                  <a:lnTo>
                    <a:pt x="12" y="32"/>
                  </a:lnTo>
                  <a:lnTo>
                    <a:pt x="8" y="36"/>
                  </a:lnTo>
                  <a:lnTo>
                    <a:pt x="2" y="42"/>
                  </a:lnTo>
                  <a:lnTo>
                    <a:pt x="2" y="42"/>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Lithuania"/>
            <p:cNvSpPr>
              <a:spLocks/>
            </p:cNvSpPr>
            <p:nvPr/>
          </p:nvSpPr>
          <p:spPr bwMode="auto">
            <a:xfrm>
              <a:off x="4626205" y="1885156"/>
              <a:ext cx="124354" cy="60854"/>
            </a:xfrm>
            <a:custGeom>
              <a:avLst/>
              <a:gdLst/>
              <a:ahLst/>
              <a:cxnLst>
                <a:cxn ang="0">
                  <a:pos x="26" y="34"/>
                </a:cxn>
                <a:cxn ang="0">
                  <a:pos x="30" y="34"/>
                </a:cxn>
                <a:cxn ang="0">
                  <a:pos x="34" y="36"/>
                </a:cxn>
                <a:cxn ang="0">
                  <a:pos x="36" y="36"/>
                </a:cxn>
                <a:cxn ang="0">
                  <a:pos x="42" y="42"/>
                </a:cxn>
                <a:cxn ang="0">
                  <a:pos x="50" y="44"/>
                </a:cxn>
                <a:cxn ang="0">
                  <a:pos x="58" y="46"/>
                </a:cxn>
                <a:cxn ang="0">
                  <a:pos x="64" y="44"/>
                </a:cxn>
                <a:cxn ang="0">
                  <a:pos x="70" y="44"/>
                </a:cxn>
                <a:cxn ang="0">
                  <a:pos x="74" y="44"/>
                </a:cxn>
                <a:cxn ang="0">
                  <a:pos x="74" y="42"/>
                </a:cxn>
                <a:cxn ang="0">
                  <a:pos x="72" y="38"/>
                </a:cxn>
                <a:cxn ang="0">
                  <a:pos x="72" y="34"/>
                </a:cxn>
                <a:cxn ang="0">
                  <a:pos x="76" y="28"/>
                </a:cxn>
                <a:cxn ang="0">
                  <a:pos x="82" y="26"/>
                </a:cxn>
                <a:cxn ang="0">
                  <a:pos x="84" y="24"/>
                </a:cxn>
                <a:cxn ang="0">
                  <a:pos x="92" y="24"/>
                </a:cxn>
                <a:cxn ang="0">
                  <a:pos x="94" y="22"/>
                </a:cxn>
                <a:cxn ang="0">
                  <a:pos x="92" y="18"/>
                </a:cxn>
                <a:cxn ang="0">
                  <a:pos x="94" y="12"/>
                </a:cxn>
                <a:cxn ang="0">
                  <a:pos x="72" y="8"/>
                </a:cxn>
                <a:cxn ang="0">
                  <a:pos x="60" y="2"/>
                </a:cxn>
                <a:cxn ang="0">
                  <a:pos x="56" y="4"/>
                </a:cxn>
                <a:cxn ang="0">
                  <a:pos x="48" y="4"/>
                </a:cxn>
                <a:cxn ang="0">
                  <a:pos x="38" y="0"/>
                </a:cxn>
                <a:cxn ang="0">
                  <a:pos x="30" y="0"/>
                </a:cxn>
                <a:cxn ang="0">
                  <a:pos x="16" y="0"/>
                </a:cxn>
                <a:cxn ang="0">
                  <a:pos x="6" y="6"/>
                </a:cxn>
                <a:cxn ang="0">
                  <a:pos x="0" y="12"/>
                </a:cxn>
                <a:cxn ang="0">
                  <a:pos x="2" y="20"/>
                </a:cxn>
                <a:cxn ang="0">
                  <a:pos x="2" y="24"/>
                </a:cxn>
                <a:cxn ang="0">
                  <a:pos x="6" y="26"/>
                </a:cxn>
                <a:cxn ang="0">
                  <a:pos x="8" y="26"/>
                </a:cxn>
                <a:cxn ang="0">
                  <a:pos x="22" y="24"/>
                </a:cxn>
                <a:cxn ang="0">
                  <a:pos x="26" y="26"/>
                </a:cxn>
                <a:cxn ang="0">
                  <a:pos x="28" y="30"/>
                </a:cxn>
                <a:cxn ang="0">
                  <a:pos x="26" y="34"/>
                </a:cxn>
              </a:cxnLst>
              <a:rect l="0" t="0" r="r" b="b"/>
              <a:pathLst>
                <a:path w="94" h="46">
                  <a:moveTo>
                    <a:pt x="26" y="34"/>
                  </a:moveTo>
                  <a:lnTo>
                    <a:pt x="26" y="34"/>
                  </a:lnTo>
                  <a:lnTo>
                    <a:pt x="30" y="34"/>
                  </a:lnTo>
                  <a:lnTo>
                    <a:pt x="30" y="34"/>
                  </a:lnTo>
                  <a:lnTo>
                    <a:pt x="32" y="36"/>
                  </a:lnTo>
                  <a:lnTo>
                    <a:pt x="34" y="36"/>
                  </a:lnTo>
                  <a:lnTo>
                    <a:pt x="34" y="36"/>
                  </a:lnTo>
                  <a:lnTo>
                    <a:pt x="36" y="36"/>
                  </a:lnTo>
                  <a:lnTo>
                    <a:pt x="38" y="38"/>
                  </a:lnTo>
                  <a:lnTo>
                    <a:pt x="42" y="42"/>
                  </a:lnTo>
                  <a:lnTo>
                    <a:pt x="42" y="42"/>
                  </a:lnTo>
                  <a:lnTo>
                    <a:pt x="50" y="44"/>
                  </a:lnTo>
                  <a:lnTo>
                    <a:pt x="54" y="46"/>
                  </a:lnTo>
                  <a:lnTo>
                    <a:pt x="58" y="46"/>
                  </a:lnTo>
                  <a:lnTo>
                    <a:pt x="64" y="44"/>
                  </a:lnTo>
                  <a:lnTo>
                    <a:pt x="64" y="44"/>
                  </a:lnTo>
                  <a:lnTo>
                    <a:pt x="68" y="44"/>
                  </a:lnTo>
                  <a:lnTo>
                    <a:pt x="70" y="44"/>
                  </a:lnTo>
                  <a:lnTo>
                    <a:pt x="72" y="44"/>
                  </a:lnTo>
                  <a:lnTo>
                    <a:pt x="74" y="44"/>
                  </a:lnTo>
                  <a:lnTo>
                    <a:pt x="74" y="44"/>
                  </a:lnTo>
                  <a:lnTo>
                    <a:pt x="74" y="42"/>
                  </a:lnTo>
                  <a:lnTo>
                    <a:pt x="72" y="40"/>
                  </a:lnTo>
                  <a:lnTo>
                    <a:pt x="72" y="38"/>
                  </a:lnTo>
                  <a:lnTo>
                    <a:pt x="72" y="34"/>
                  </a:lnTo>
                  <a:lnTo>
                    <a:pt x="72" y="34"/>
                  </a:lnTo>
                  <a:lnTo>
                    <a:pt x="74" y="30"/>
                  </a:lnTo>
                  <a:lnTo>
                    <a:pt x="76" y="28"/>
                  </a:lnTo>
                  <a:lnTo>
                    <a:pt x="78" y="28"/>
                  </a:lnTo>
                  <a:lnTo>
                    <a:pt x="82" y="26"/>
                  </a:lnTo>
                  <a:lnTo>
                    <a:pt x="82" y="26"/>
                  </a:lnTo>
                  <a:lnTo>
                    <a:pt x="84" y="24"/>
                  </a:lnTo>
                  <a:lnTo>
                    <a:pt x="88" y="24"/>
                  </a:lnTo>
                  <a:lnTo>
                    <a:pt x="92" y="24"/>
                  </a:lnTo>
                  <a:lnTo>
                    <a:pt x="94" y="22"/>
                  </a:lnTo>
                  <a:lnTo>
                    <a:pt x="94" y="22"/>
                  </a:lnTo>
                  <a:lnTo>
                    <a:pt x="94" y="18"/>
                  </a:lnTo>
                  <a:lnTo>
                    <a:pt x="92" y="18"/>
                  </a:lnTo>
                  <a:lnTo>
                    <a:pt x="92" y="16"/>
                  </a:lnTo>
                  <a:lnTo>
                    <a:pt x="94" y="12"/>
                  </a:lnTo>
                  <a:lnTo>
                    <a:pt x="94" y="12"/>
                  </a:lnTo>
                  <a:lnTo>
                    <a:pt x="72" y="8"/>
                  </a:lnTo>
                  <a:lnTo>
                    <a:pt x="64" y="6"/>
                  </a:lnTo>
                  <a:lnTo>
                    <a:pt x="60" y="2"/>
                  </a:lnTo>
                  <a:lnTo>
                    <a:pt x="56" y="4"/>
                  </a:lnTo>
                  <a:lnTo>
                    <a:pt x="56" y="4"/>
                  </a:lnTo>
                  <a:lnTo>
                    <a:pt x="52" y="4"/>
                  </a:lnTo>
                  <a:lnTo>
                    <a:pt x="48" y="4"/>
                  </a:lnTo>
                  <a:lnTo>
                    <a:pt x="44" y="2"/>
                  </a:lnTo>
                  <a:lnTo>
                    <a:pt x="38" y="0"/>
                  </a:lnTo>
                  <a:lnTo>
                    <a:pt x="38" y="0"/>
                  </a:lnTo>
                  <a:lnTo>
                    <a:pt x="30" y="0"/>
                  </a:lnTo>
                  <a:lnTo>
                    <a:pt x="22" y="0"/>
                  </a:lnTo>
                  <a:lnTo>
                    <a:pt x="16" y="0"/>
                  </a:lnTo>
                  <a:lnTo>
                    <a:pt x="10" y="2"/>
                  </a:lnTo>
                  <a:lnTo>
                    <a:pt x="6" y="6"/>
                  </a:lnTo>
                  <a:lnTo>
                    <a:pt x="0" y="12"/>
                  </a:lnTo>
                  <a:lnTo>
                    <a:pt x="0" y="12"/>
                  </a:lnTo>
                  <a:lnTo>
                    <a:pt x="0" y="18"/>
                  </a:lnTo>
                  <a:lnTo>
                    <a:pt x="2" y="20"/>
                  </a:lnTo>
                  <a:lnTo>
                    <a:pt x="2" y="22"/>
                  </a:lnTo>
                  <a:lnTo>
                    <a:pt x="2" y="24"/>
                  </a:lnTo>
                  <a:lnTo>
                    <a:pt x="2" y="24"/>
                  </a:lnTo>
                  <a:lnTo>
                    <a:pt x="6" y="26"/>
                  </a:lnTo>
                  <a:lnTo>
                    <a:pt x="8" y="26"/>
                  </a:lnTo>
                  <a:lnTo>
                    <a:pt x="8" y="26"/>
                  </a:lnTo>
                  <a:lnTo>
                    <a:pt x="16" y="26"/>
                  </a:lnTo>
                  <a:lnTo>
                    <a:pt x="22" y="24"/>
                  </a:lnTo>
                  <a:lnTo>
                    <a:pt x="26" y="26"/>
                  </a:lnTo>
                  <a:lnTo>
                    <a:pt x="26" y="26"/>
                  </a:lnTo>
                  <a:lnTo>
                    <a:pt x="28" y="28"/>
                  </a:lnTo>
                  <a:lnTo>
                    <a:pt x="28" y="30"/>
                  </a:lnTo>
                  <a:lnTo>
                    <a:pt x="26" y="34"/>
                  </a:lnTo>
                  <a:lnTo>
                    <a:pt x="26" y="34"/>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Luxembourg"/>
            <p:cNvSpPr>
              <a:spLocks/>
            </p:cNvSpPr>
            <p:nvPr/>
          </p:nvSpPr>
          <p:spPr bwMode="auto">
            <a:xfrm>
              <a:off x="4274309" y="2043906"/>
              <a:ext cx="13229" cy="10583"/>
            </a:xfrm>
            <a:custGeom>
              <a:avLst/>
              <a:gdLst/>
              <a:ahLst/>
              <a:cxnLst>
                <a:cxn ang="0">
                  <a:pos x="8" y="8"/>
                </a:cxn>
                <a:cxn ang="0">
                  <a:pos x="8" y="8"/>
                </a:cxn>
                <a:cxn ang="0">
                  <a:pos x="0" y="8"/>
                </a:cxn>
                <a:cxn ang="0">
                  <a:pos x="0" y="8"/>
                </a:cxn>
                <a:cxn ang="0">
                  <a:pos x="4" y="4"/>
                </a:cxn>
                <a:cxn ang="0">
                  <a:pos x="8" y="0"/>
                </a:cxn>
                <a:cxn ang="0">
                  <a:pos x="8" y="0"/>
                </a:cxn>
                <a:cxn ang="0">
                  <a:pos x="10" y="2"/>
                </a:cxn>
                <a:cxn ang="0">
                  <a:pos x="8" y="8"/>
                </a:cxn>
                <a:cxn ang="0">
                  <a:pos x="8" y="8"/>
                </a:cxn>
              </a:cxnLst>
              <a:rect l="0" t="0" r="r" b="b"/>
              <a:pathLst>
                <a:path w="10" h="8">
                  <a:moveTo>
                    <a:pt x="8" y="8"/>
                  </a:moveTo>
                  <a:lnTo>
                    <a:pt x="8" y="8"/>
                  </a:lnTo>
                  <a:lnTo>
                    <a:pt x="0" y="8"/>
                  </a:lnTo>
                  <a:lnTo>
                    <a:pt x="0" y="8"/>
                  </a:lnTo>
                  <a:lnTo>
                    <a:pt x="4" y="4"/>
                  </a:lnTo>
                  <a:lnTo>
                    <a:pt x="8" y="0"/>
                  </a:lnTo>
                  <a:lnTo>
                    <a:pt x="8" y="0"/>
                  </a:lnTo>
                  <a:lnTo>
                    <a:pt x="10" y="2"/>
                  </a:lnTo>
                  <a:lnTo>
                    <a:pt x="8" y="8"/>
                  </a:lnTo>
                  <a:lnTo>
                    <a:pt x="8" y="8"/>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Malaysia"/>
            <p:cNvSpPr>
              <a:spLocks/>
            </p:cNvSpPr>
            <p:nvPr/>
          </p:nvSpPr>
          <p:spPr bwMode="auto">
            <a:xfrm>
              <a:off x="6930726" y="3372115"/>
              <a:ext cx="539875" cy="211667"/>
            </a:xfrm>
            <a:custGeom>
              <a:avLst/>
              <a:gdLst/>
              <a:ahLst/>
              <a:cxnLst/>
              <a:rect l="l" t="t" r="r" b="b"/>
              <a:pathLst>
                <a:path w="539875" h="211667">
                  <a:moveTo>
                    <a:pt x="5292" y="26458"/>
                  </a:moveTo>
                  <a:lnTo>
                    <a:pt x="10584" y="26458"/>
                  </a:lnTo>
                  <a:lnTo>
                    <a:pt x="21167" y="31750"/>
                  </a:lnTo>
                  <a:lnTo>
                    <a:pt x="26459" y="37041"/>
                  </a:lnTo>
                  <a:lnTo>
                    <a:pt x="34396" y="39687"/>
                  </a:lnTo>
                  <a:lnTo>
                    <a:pt x="42334" y="37041"/>
                  </a:lnTo>
                  <a:lnTo>
                    <a:pt x="44980" y="34396"/>
                  </a:lnTo>
                  <a:lnTo>
                    <a:pt x="47625" y="31750"/>
                  </a:lnTo>
                  <a:lnTo>
                    <a:pt x="52917" y="26458"/>
                  </a:lnTo>
                  <a:lnTo>
                    <a:pt x="60855" y="37041"/>
                  </a:lnTo>
                  <a:lnTo>
                    <a:pt x="66146" y="39687"/>
                  </a:lnTo>
                  <a:lnTo>
                    <a:pt x="71438" y="44979"/>
                  </a:lnTo>
                  <a:lnTo>
                    <a:pt x="74084" y="47625"/>
                  </a:lnTo>
                  <a:lnTo>
                    <a:pt x="76730" y="52916"/>
                  </a:lnTo>
                  <a:lnTo>
                    <a:pt x="87313" y="58208"/>
                  </a:lnTo>
                  <a:lnTo>
                    <a:pt x="97896" y="68791"/>
                  </a:lnTo>
                  <a:lnTo>
                    <a:pt x="103188" y="76729"/>
                  </a:lnTo>
                  <a:lnTo>
                    <a:pt x="105834" y="84666"/>
                  </a:lnTo>
                  <a:lnTo>
                    <a:pt x="105834" y="92604"/>
                  </a:lnTo>
                  <a:lnTo>
                    <a:pt x="105834" y="100541"/>
                  </a:lnTo>
                  <a:lnTo>
                    <a:pt x="103188" y="105833"/>
                  </a:lnTo>
                  <a:lnTo>
                    <a:pt x="100542" y="108479"/>
                  </a:lnTo>
                  <a:lnTo>
                    <a:pt x="92605" y="113771"/>
                  </a:lnTo>
                  <a:lnTo>
                    <a:pt x="95250" y="116416"/>
                  </a:lnTo>
                  <a:lnTo>
                    <a:pt x="100542" y="124354"/>
                  </a:lnTo>
                  <a:lnTo>
                    <a:pt x="97896" y="129646"/>
                  </a:lnTo>
                  <a:lnTo>
                    <a:pt x="97896" y="134937"/>
                  </a:lnTo>
                  <a:lnTo>
                    <a:pt x="103188" y="145521"/>
                  </a:lnTo>
                  <a:lnTo>
                    <a:pt x="108480" y="153458"/>
                  </a:lnTo>
                  <a:lnTo>
                    <a:pt x="111126" y="158750"/>
                  </a:lnTo>
                  <a:lnTo>
                    <a:pt x="113771" y="164041"/>
                  </a:lnTo>
                  <a:lnTo>
                    <a:pt x="121709" y="174625"/>
                  </a:lnTo>
                  <a:lnTo>
                    <a:pt x="132292" y="187854"/>
                  </a:lnTo>
                  <a:lnTo>
                    <a:pt x="132292" y="193145"/>
                  </a:lnTo>
                  <a:lnTo>
                    <a:pt x="132292" y="195791"/>
                  </a:lnTo>
                  <a:lnTo>
                    <a:pt x="129646" y="198437"/>
                  </a:lnTo>
                  <a:lnTo>
                    <a:pt x="127001" y="198437"/>
                  </a:lnTo>
                  <a:lnTo>
                    <a:pt x="119063" y="195791"/>
                  </a:lnTo>
                  <a:lnTo>
                    <a:pt x="116417" y="193145"/>
                  </a:lnTo>
                  <a:lnTo>
                    <a:pt x="113771" y="195791"/>
                  </a:lnTo>
                  <a:lnTo>
                    <a:pt x="111126" y="198437"/>
                  </a:lnTo>
                  <a:lnTo>
                    <a:pt x="108480" y="195791"/>
                  </a:lnTo>
                  <a:lnTo>
                    <a:pt x="100542" y="187854"/>
                  </a:lnTo>
                  <a:lnTo>
                    <a:pt x="95250" y="182562"/>
                  </a:lnTo>
                  <a:lnTo>
                    <a:pt x="84667" y="177270"/>
                  </a:lnTo>
                  <a:lnTo>
                    <a:pt x="79375" y="174625"/>
                  </a:lnTo>
                  <a:lnTo>
                    <a:pt x="76730" y="171979"/>
                  </a:lnTo>
                  <a:lnTo>
                    <a:pt x="74084" y="169333"/>
                  </a:lnTo>
                  <a:lnTo>
                    <a:pt x="60855" y="161396"/>
                  </a:lnTo>
                  <a:lnTo>
                    <a:pt x="55563" y="158750"/>
                  </a:lnTo>
                  <a:lnTo>
                    <a:pt x="52917" y="156104"/>
                  </a:lnTo>
                  <a:lnTo>
                    <a:pt x="50271" y="153458"/>
                  </a:lnTo>
                  <a:lnTo>
                    <a:pt x="44980" y="148166"/>
                  </a:lnTo>
                  <a:lnTo>
                    <a:pt x="37042" y="142875"/>
                  </a:lnTo>
                  <a:lnTo>
                    <a:pt x="37042" y="140229"/>
                  </a:lnTo>
                  <a:lnTo>
                    <a:pt x="39688" y="137583"/>
                  </a:lnTo>
                  <a:lnTo>
                    <a:pt x="39688" y="132291"/>
                  </a:lnTo>
                  <a:lnTo>
                    <a:pt x="37042" y="129646"/>
                  </a:lnTo>
                  <a:lnTo>
                    <a:pt x="31750" y="121708"/>
                  </a:lnTo>
                  <a:lnTo>
                    <a:pt x="26459" y="116416"/>
                  </a:lnTo>
                  <a:lnTo>
                    <a:pt x="26459" y="113771"/>
                  </a:lnTo>
                  <a:lnTo>
                    <a:pt x="26459" y="108479"/>
                  </a:lnTo>
                  <a:lnTo>
                    <a:pt x="29104" y="105833"/>
                  </a:lnTo>
                  <a:lnTo>
                    <a:pt x="26459" y="103187"/>
                  </a:lnTo>
                  <a:lnTo>
                    <a:pt x="21167" y="97896"/>
                  </a:lnTo>
                  <a:lnTo>
                    <a:pt x="21167" y="92604"/>
                  </a:lnTo>
                  <a:lnTo>
                    <a:pt x="18521" y="84666"/>
                  </a:lnTo>
                  <a:lnTo>
                    <a:pt x="15875" y="79375"/>
                  </a:lnTo>
                  <a:lnTo>
                    <a:pt x="13229" y="74083"/>
                  </a:lnTo>
                  <a:lnTo>
                    <a:pt x="13229" y="71437"/>
                  </a:lnTo>
                  <a:lnTo>
                    <a:pt x="13229" y="68791"/>
                  </a:lnTo>
                  <a:lnTo>
                    <a:pt x="13229" y="66146"/>
                  </a:lnTo>
                  <a:lnTo>
                    <a:pt x="10584" y="60854"/>
                  </a:lnTo>
                  <a:lnTo>
                    <a:pt x="10584" y="52916"/>
                  </a:lnTo>
                  <a:lnTo>
                    <a:pt x="7938" y="42333"/>
                  </a:lnTo>
                  <a:lnTo>
                    <a:pt x="0" y="29104"/>
                  </a:lnTo>
                  <a:close/>
                  <a:moveTo>
                    <a:pt x="455209" y="0"/>
                  </a:moveTo>
                  <a:lnTo>
                    <a:pt x="460500" y="0"/>
                  </a:lnTo>
                  <a:lnTo>
                    <a:pt x="460500" y="5292"/>
                  </a:lnTo>
                  <a:lnTo>
                    <a:pt x="460500" y="7937"/>
                  </a:lnTo>
                  <a:lnTo>
                    <a:pt x="463146" y="7937"/>
                  </a:lnTo>
                  <a:lnTo>
                    <a:pt x="468438" y="5292"/>
                  </a:lnTo>
                  <a:lnTo>
                    <a:pt x="468438" y="2646"/>
                  </a:lnTo>
                  <a:lnTo>
                    <a:pt x="468438" y="0"/>
                  </a:lnTo>
                  <a:lnTo>
                    <a:pt x="471084" y="0"/>
                  </a:lnTo>
                  <a:lnTo>
                    <a:pt x="473729" y="0"/>
                  </a:lnTo>
                  <a:lnTo>
                    <a:pt x="476375" y="0"/>
                  </a:lnTo>
                  <a:lnTo>
                    <a:pt x="476375" y="5292"/>
                  </a:lnTo>
                  <a:lnTo>
                    <a:pt x="476375" y="10583"/>
                  </a:lnTo>
                  <a:lnTo>
                    <a:pt x="481667" y="10583"/>
                  </a:lnTo>
                  <a:lnTo>
                    <a:pt x="486959" y="7937"/>
                  </a:lnTo>
                  <a:lnTo>
                    <a:pt x="486959" y="10583"/>
                  </a:lnTo>
                  <a:lnTo>
                    <a:pt x="486959" y="13229"/>
                  </a:lnTo>
                  <a:lnTo>
                    <a:pt x="489604" y="15875"/>
                  </a:lnTo>
                  <a:lnTo>
                    <a:pt x="492250" y="18521"/>
                  </a:lnTo>
                  <a:lnTo>
                    <a:pt x="489604" y="21167"/>
                  </a:lnTo>
                  <a:lnTo>
                    <a:pt x="484313" y="23812"/>
                  </a:lnTo>
                  <a:lnTo>
                    <a:pt x="486959" y="26459"/>
                  </a:lnTo>
                  <a:lnTo>
                    <a:pt x="492250" y="29104"/>
                  </a:lnTo>
                  <a:lnTo>
                    <a:pt x="484313" y="31750"/>
                  </a:lnTo>
                  <a:lnTo>
                    <a:pt x="492250" y="34396"/>
                  </a:lnTo>
                  <a:lnTo>
                    <a:pt x="497542" y="31750"/>
                  </a:lnTo>
                  <a:lnTo>
                    <a:pt x="500188" y="29104"/>
                  </a:lnTo>
                  <a:lnTo>
                    <a:pt x="502834" y="31750"/>
                  </a:lnTo>
                  <a:lnTo>
                    <a:pt x="505479" y="37042"/>
                  </a:lnTo>
                  <a:lnTo>
                    <a:pt x="505479" y="42334"/>
                  </a:lnTo>
                  <a:lnTo>
                    <a:pt x="505479" y="44979"/>
                  </a:lnTo>
                  <a:lnTo>
                    <a:pt x="508125" y="42334"/>
                  </a:lnTo>
                  <a:lnTo>
                    <a:pt x="510771" y="39688"/>
                  </a:lnTo>
                  <a:lnTo>
                    <a:pt x="516063" y="42334"/>
                  </a:lnTo>
                  <a:lnTo>
                    <a:pt x="521354" y="44979"/>
                  </a:lnTo>
                  <a:lnTo>
                    <a:pt x="526646" y="47625"/>
                  </a:lnTo>
                  <a:lnTo>
                    <a:pt x="529292" y="50271"/>
                  </a:lnTo>
                  <a:lnTo>
                    <a:pt x="531938" y="47625"/>
                  </a:lnTo>
                  <a:lnTo>
                    <a:pt x="534584" y="47625"/>
                  </a:lnTo>
                  <a:lnTo>
                    <a:pt x="539875" y="52917"/>
                  </a:lnTo>
                  <a:lnTo>
                    <a:pt x="539875" y="58209"/>
                  </a:lnTo>
                  <a:lnTo>
                    <a:pt x="537229" y="60854"/>
                  </a:lnTo>
                  <a:lnTo>
                    <a:pt x="534584" y="60854"/>
                  </a:lnTo>
                  <a:lnTo>
                    <a:pt x="526646" y="60854"/>
                  </a:lnTo>
                  <a:lnTo>
                    <a:pt x="524000" y="63500"/>
                  </a:lnTo>
                  <a:lnTo>
                    <a:pt x="518709" y="66146"/>
                  </a:lnTo>
                  <a:lnTo>
                    <a:pt x="516063" y="66146"/>
                  </a:lnTo>
                  <a:lnTo>
                    <a:pt x="510771" y="66146"/>
                  </a:lnTo>
                  <a:lnTo>
                    <a:pt x="508125" y="71438"/>
                  </a:lnTo>
                  <a:lnTo>
                    <a:pt x="513417" y="76729"/>
                  </a:lnTo>
                  <a:lnTo>
                    <a:pt x="524000" y="79375"/>
                  </a:lnTo>
                  <a:lnTo>
                    <a:pt x="529292" y="79375"/>
                  </a:lnTo>
                  <a:lnTo>
                    <a:pt x="524000" y="82021"/>
                  </a:lnTo>
                  <a:lnTo>
                    <a:pt x="516063" y="84667"/>
                  </a:lnTo>
                  <a:lnTo>
                    <a:pt x="508125" y="89959"/>
                  </a:lnTo>
                  <a:lnTo>
                    <a:pt x="502834" y="89959"/>
                  </a:lnTo>
                  <a:lnTo>
                    <a:pt x="492250" y="84667"/>
                  </a:lnTo>
                  <a:lnTo>
                    <a:pt x="492250" y="92604"/>
                  </a:lnTo>
                  <a:lnTo>
                    <a:pt x="489604" y="95250"/>
                  </a:lnTo>
                  <a:lnTo>
                    <a:pt x="473729" y="92604"/>
                  </a:lnTo>
                  <a:lnTo>
                    <a:pt x="465792" y="95250"/>
                  </a:lnTo>
                  <a:lnTo>
                    <a:pt x="460500" y="92604"/>
                  </a:lnTo>
                  <a:lnTo>
                    <a:pt x="457855" y="92604"/>
                  </a:lnTo>
                  <a:lnTo>
                    <a:pt x="452563" y="92604"/>
                  </a:lnTo>
                  <a:lnTo>
                    <a:pt x="447271" y="95250"/>
                  </a:lnTo>
                  <a:lnTo>
                    <a:pt x="444625" y="97896"/>
                  </a:lnTo>
                  <a:lnTo>
                    <a:pt x="444625" y="100542"/>
                  </a:lnTo>
                  <a:lnTo>
                    <a:pt x="441980" y="103188"/>
                  </a:lnTo>
                  <a:lnTo>
                    <a:pt x="441980" y="105834"/>
                  </a:lnTo>
                  <a:lnTo>
                    <a:pt x="441980" y="116417"/>
                  </a:lnTo>
                  <a:lnTo>
                    <a:pt x="441980" y="127000"/>
                  </a:lnTo>
                  <a:lnTo>
                    <a:pt x="436688" y="132292"/>
                  </a:lnTo>
                  <a:lnTo>
                    <a:pt x="431396" y="137584"/>
                  </a:lnTo>
                  <a:lnTo>
                    <a:pt x="426105" y="142875"/>
                  </a:lnTo>
                  <a:lnTo>
                    <a:pt x="423459" y="148167"/>
                  </a:lnTo>
                  <a:lnTo>
                    <a:pt x="420813" y="161396"/>
                  </a:lnTo>
                  <a:lnTo>
                    <a:pt x="418167" y="171980"/>
                  </a:lnTo>
                  <a:lnTo>
                    <a:pt x="415521" y="177271"/>
                  </a:lnTo>
                  <a:lnTo>
                    <a:pt x="412875" y="182563"/>
                  </a:lnTo>
                  <a:lnTo>
                    <a:pt x="407584" y="187855"/>
                  </a:lnTo>
                  <a:lnTo>
                    <a:pt x="404938" y="190500"/>
                  </a:lnTo>
                  <a:lnTo>
                    <a:pt x="399646" y="193146"/>
                  </a:lnTo>
                  <a:lnTo>
                    <a:pt x="386417" y="198438"/>
                  </a:lnTo>
                  <a:lnTo>
                    <a:pt x="375834" y="198438"/>
                  </a:lnTo>
                  <a:lnTo>
                    <a:pt x="370542" y="195792"/>
                  </a:lnTo>
                  <a:lnTo>
                    <a:pt x="367896" y="193146"/>
                  </a:lnTo>
                  <a:lnTo>
                    <a:pt x="367896" y="190500"/>
                  </a:lnTo>
                  <a:lnTo>
                    <a:pt x="365250" y="190500"/>
                  </a:lnTo>
                  <a:lnTo>
                    <a:pt x="359959" y="190500"/>
                  </a:lnTo>
                  <a:lnTo>
                    <a:pt x="354667" y="193146"/>
                  </a:lnTo>
                  <a:lnTo>
                    <a:pt x="349375" y="195792"/>
                  </a:lnTo>
                  <a:lnTo>
                    <a:pt x="349375" y="198438"/>
                  </a:lnTo>
                  <a:lnTo>
                    <a:pt x="346730" y="201084"/>
                  </a:lnTo>
                  <a:lnTo>
                    <a:pt x="341438" y="203730"/>
                  </a:lnTo>
                  <a:lnTo>
                    <a:pt x="336146" y="206375"/>
                  </a:lnTo>
                  <a:lnTo>
                    <a:pt x="333501" y="206375"/>
                  </a:lnTo>
                  <a:lnTo>
                    <a:pt x="325563" y="206375"/>
                  </a:lnTo>
                  <a:lnTo>
                    <a:pt x="314980" y="209021"/>
                  </a:lnTo>
                  <a:lnTo>
                    <a:pt x="304396" y="211667"/>
                  </a:lnTo>
                  <a:lnTo>
                    <a:pt x="299105" y="209021"/>
                  </a:lnTo>
                  <a:lnTo>
                    <a:pt x="296459" y="203730"/>
                  </a:lnTo>
                  <a:lnTo>
                    <a:pt x="296459" y="201084"/>
                  </a:lnTo>
                  <a:lnTo>
                    <a:pt x="291167" y="198438"/>
                  </a:lnTo>
                  <a:lnTo>
                    <a:pt x="288521" y="195792"/>
                  </a:lnTo>
                  <a:lnTo>
                    <a:pt x="288521" y="193146"/>
                  </a:lnTo>
                  <a:lnTo>
                    <a:pt x="288521" y="187855"/>
                  </a:lnTo>
                  <a:lnTo>
                    <a:pt x="283230" y="185209"/>
                  </a:lnTo>
                  <a:lnTo>
                    <a:pt x="280584" y="179917"/>
                  </a:lnTo>
                  <a:lnTo>
                    <a:pt x="277938" y="179917"/>
                  </a:lnTo>
                  <a:lnTo>
                    <a:pt x="277938" y="177271"/>
                  </a:lnTo>
                  <a:lnTo>
                    <a:pt x="275292" y="174625"/>
                  </a:lnTo>
                  <a:lnTo>
                    <a:pt x="275292" y="171980"/>
                  </a:lnTo>
                  <a:lnTo>
                    <a:pt x="277938" y="171980"/>
                  </a:lnTo>
                  <a:lnTo>
                    <a:pt x="280584" y="177271"/>
                  </a:lnTo>
                  <a:lnTo>
                    <a:pt x="291167" y="177271"/>
                  </a:lnTo>
                  <a:lnTo>
                    <a:pt x="301751" y="177271"/>
                  </a:lnTo>
                  <a:lnTo>
                    <a:pt x="307042" y="179917"/>
                  </a:lnTo>
                  <a:lnTo>
                    <a:pt x="309688" y="185209"/>
                  </a:lnTo>
                  <a:lnTo>
                    <a:pt x="312334" y="185209"/>
                  </a:lnTo>
                  <a:lnTo>
                    <a:pt x="322917" y="187855"/>
                  </a:lnTo>
                  <a:lnTo>
                    <a:pt x="328209" y="190500"/>
                  </a:lnTo>
                  <a:lnTo>
                    <a:pt x="325563" y="187855"/>
                  </a:lnTo>
                  <a:lnTo>
                    <a:pt x="314980" y="182563"/>
                  </a:lnTo>
                  <a:lnTo>
                    <a:pt x="312334" y="179917"/>
                  </a:lnTo>
                  <a:lnTo>
                    <a:pt x="309688" y="177271"/>
                  </a:lnTo>
                  <a:lnTo>
                    <a:pt x="314980" y="169334"/>
                  </a:lnTo>
                  <a:lnTo>
                    <a:pt x="320271" y="164042"/>
                  </a:lnTo>
                  <a:lnTo>
                    <a:pt x="320271" y="161396"/>
                  </a:lnTo>
                  <a:lnTo>
                    <a:pt x="320271" y="158750"/>
                  </a:lnTo>
                  <a:lnTo>
                    <a:pt x="320271" y="156105"/>
                  </a:lnTo>
                  <a:lnTo>
                    <a:pt x="320271" y="153459"/>
                  </a:lnTo>
                  <a:lnTo>
                    <a:pt x="322917" y="148167"/>
                  </a:lnTo>
                  <a:lnTo>
                    <a:pt x="325563" y="142875"/>
                  </a:lnTo>
                  <a:lnTo>
                    <a:pt x="328209" y="142875"/>
                  </a:lnTo>
                  <a:lnTo>
                    <a:pt x="333501" y="142875"/>
                  </a:lnTo>
                  <a:lnTo>
                    <a:pt x="346730" y="134938"/>
                  </a:lnTo>
                  <a:lnTo>
                    <a:pt x="359959" y="129646"/>
                  </a:lnTo>
                  <a:lnTo>
                    <a:pt x="365250" y="124354"/>
                  </a:lnTo>
                  <a:lnTo>
                    <a:pt x="370542" y="113771"/>
                  </a:lnTo>
                  <a:lnTo>
                    <a:pt x="381125" y="92604"/>
                  </a:lnTo>
                  <a:lnTo>
                    <a:pt x="389063" y="82021"/>
                  </a:lnTo>
                  <a:lnTo>
                    <a:pt x="389063" y="74084"/>
                  </a:lnTo>
                  <a:lnTo>
                    <a:pt x="391709" y="71438"/>
                  </a:lnTo>
                  <a:lnTo>
                    <a:pt x="397000" y="68792"/>
                  </a:lnTo>
                  <a:lnTo>
                    <a:pt x="399646" y="71438"/>
                  </a:lnTo>
                  <a:lnTo>
                    <a:pt x="402292" y="74084"/>
                  </a:lnTo>
                  <a:lnTo>
                    <a:pt x="402292" y="76729"/>
                  </a:lnTo>
                  <a:lnTo>
                    <a:pt x="404938" y="79375"/>
                  </a:lnTo>
                  <a:lnTo>
                    <a:pt x="404938" y="76729"/>
                  </a:lnTo>
                  <a:lnTo>
                    <a:pt x="407584" y="79375"/>
                  </a:lnTo>
                  <a:lnTo>
                    <a:pt x="412875" y="87313"/>
                  </a:lnTo>
                  <a:lnTo>
                    <a:pt x="418167" y="89959"/>
                  </a:lnTo>
                  <a:lnTo>
                    <a:pt x="420813" y="87313"/>
                  </a:lnTo>
                  <a:lnTo>
                    <a:pt x="423459" y="79375"/>
                  </a:lnTo>
                  <a:lnTo>
                    <a:pt x="420813" y="71438"/>
                  </a:lnTo>
                  <a:lnTo>
                    <a:pt x="420813" y="66146"/>
                  </a:lnTo>
                  <a:lnTo>
                    <a:pt x="420813" y="63500"/>
                  </a:lnTo>
                  <a:lnTo>
                    <a:pt x="423459" y="60854"/>
                  </a:lnTo>
                  <a:lnTo>
                    <a:pt x="426105" y="60854"/>
                  </a:lnTo>
                  <a:lnTo>
                    <a:pt x="428750" y="60854"/>
                  </a:lnTo>
                  <a:lnTo>
                    <a:pt x="428750" y="68792"/>
                  </a:lnTo>
                  <a:lnTo>
                    <a:pt x="431396" y="74084"/>
                  </a:lnTo>
                  <a:lnTo>
                    <a:pt x="434042" y="74084"/>
                  </a:lnTo>
                  <a:lnTo>
                    <a:pt x="436688" y="71438"/>
                  </a:lnTo>
                  <a:lnTo>
                    <a:pt x="436688" y="68792"/>
                  </a:lnTo>
                  <a:lnTo>
                    <a:pt x="436688" y="66146"/>
                  </a:lnTo>
                  <a:lnTo>
                    <a:pt x="434042" y="58209"/>
                  </a:lnTo>
                  <a:lnTo>
                    <a:pt x="434042" y="52917"/>
                  </a:lnTo>
                  <a:lnTo>
                    <a:pt x="436688" y="52917"/>
                  </a:lnTo>
                  <a:lnTo>
                    <a:pt x="439334" y="50271"/>
                  </a:lnTo>
                  <a:lnTo>
                    <a:pt x="439334" y="47625"/>
                  </a:lnTo>
                  <a:lnTo>
                    <a:pt x="436688" y="42334"/>
                  </a:lnTo>
                  <a:lnTo>
                    <a:pt x="436688" y="39688"/>
                  </a:lnTo>
                  <a:lnTo>
                    <a:pt x="439334" y="37042"/>
                  </a:lnTo>
                  <a:lnTo>
                    <a:pt x="444625" y="31750"/>
                  </a:lnTo>
                  <a:lnTo>
                    <a:pt x="441980" y="29104"/>
                  </a:lnTo>
                  <a:lnTo>
                    <a:pt x="441980" y="26459"/>
                  </a:lnTo>
                  <a:lnTo>
                    <a:pt x="447271" y="21167"/>
                  </a:lnTo>
                  <a:lnTo>
                    <a:pt x="452563" y="13229"/>
                  </a:lnTo>
                  <a:lnTo>
                    <a:pt x="452563" y="7937"/>
                  </a:lnTo>
                  <a:lnTo>
                    <a:pt x="455209" y="2646"/>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Mexico"/>
            <p:cNvSpPr>
              <a:spLocks/>
            </p:cNvSpPr>
            <p:nvPr/>
          </p:nvSpPr>
          <p:spPr bwMode="auto">
            <a:xfrm>
              <a:off x="1067559" y="2546615"/>
              <a:ext cx="709083" cy="582083"/>
            </a:xfrm>
            <a:custGeom>
              <a:avLst/>
              <a:gdLst/>
              <a:ahLst/>
              <a:cxnLst>
                <a:cxn ang="0">
                  <a:pos x="326" y="228"/>
                </a:cxn>
                <a:cxn ang="0">
                  <a:pos x="324" y="274"/>
                </a:cxn>
                <a:cxn ang="0">
                  <a:pos x="340" y="326"/>
                </a:cxn>
                <a:cxn ang="0">
                  <a:pos x="360" y="342"/>
                </a:cxn>
                <a:cxn ang="0">
                  <a:pos x="406" y="336"/>
                </a:cxn>
                <a:cxn ang="0">
                  <a:pos x="430" y="330"/>
                </a:cxn>
                <a:cxn ang="0">
                  <a:pos x="442" y="322"/>
                </a:cxn>
                <a:cxn ang="0">
                  <a:pos x="456" y="296"/>
                </a:cxn>
                <a:cxn ang="0">
                  <a:pos x="498" y="266"/>
                </a:cxn>
                <a:cxn ang="0">
                  <a:pos x="532" y="270"/>
                </a:cxn>
                <a:cxn ang="0">
                  <a:pos x="522" y="304"/>
                </a:cxn>
                <a:cxn ang="0">
                  <a:pos x="516" y="314"/>
                </a:cxn>
                <a:cxn ang="0">
                  <a:pos x="500" y="356"/>
                </a:cxn>
                <a:cxn ang="0">
                  <a:pos x="492" y="346"/>
                </a:cxn>
                <a:cxn ang="0">
                  <a:pos x="432" y="364"/>
                </a:cxn>
                <a:cxn ang="0">
                  <a:pos x="428" y="386"/>
                </a:cxn>
                <a:cxn ang="0">
                  <a:pos x="424" y="402"/>
                </a:cxn>
                <a:cxn ang="0">
                  <a:pos x="380" y="420"/>
                </a:cxn>
                <a:cxn ang="0">
                  <a:pos x="356" y="402"/>
                </a:cxn>
                <a:cxn ang="0">
                  <a:pos x="350" y="406"/>
                </a:cxn>
                <a:cxn ang="0">
                  <a:pos x="312" y="416"/>
                </a:cxn>
                <a:cxn ang="0">
                  <a:pos x="274" y="402"/>
                </a:cxn>
                <a:cxn ang="0">
                  <a:pos x="234" y="378"/>
                </a:cxn>
                <a:cxn ang="0">
                  <a:pos x="186" y="352"/>
                </a:cxn>
                <a:cxn ang="0">
                  <a:pos x="162" y="334"/>
                </a:cxn>
                <a:cxn ang="0">
                  <a:pos x="144" y="308"/>
                </a:cxn>
                <a:cxn ang="0">
                  <a:pos x="154" y="286"/>
                </a:cxn>
                <a:cxn ang="0">
                  <a:pos x="160" y="266"/>
                </a:cxn>
                <a:cxn ang="0">
                  <a:pos x="124" y="192"/>
                </a:cxn>
                <a:cxn ang="0">
                  <a:pos x="118" y="186"/>
                </a:cxn>
                <a:cxn ang="0">
                  <a:pos x="108" y="160"/>
                </a:cxn>
                <a:cxn ang="0">
                  <a:pos x="94" y="134"/>
                </a:cxn>
                <a:cxn ang="0">
                  <a:pos x="84" y="112"/>
                </a:cxn>
                <a:cxn ang="0">
                  <a:pos x="72" y="90"/>
                </a:cxn>
                <a:cxn ang="0">
                  <a:pos x="66" y="52"/>
                </a:cxn>
                <a:cxn ang="0">
                  <a:pos x="50" y="26"/>
                </a:cxn>
                <a:cxn ang="0">
                  <a:pos x="38" y="42"/>
                </a:cxn>
                <a:cxn ang="0">
                  <a:pos x="50" y="90"/>
                </a:cxn>
                <a:cxn ang="0">
                  <a:pos x="58" y="116"/>
                </a:cxn>
                <a:cxn ang="0">
                  <a:pos x="68" y="148"/>
                </a:cxn>
                <a:cxn ang="0">
                  <a:pos x="66" y="168"/>
                </a:cxn>
                <a:cxn ang="0">
                  <a:pos x="76" y="164"/>
                </a:cxn>
                <a:cxn ang="0">
                  <a:pos x="74" y="202"/>
                </a:cxn>
                <a:cxn ang="0">
                  <a:pos x="86" y="214"/>
                </a:cxn>
                <a:cxn ang="0">
                  <a:pos x="70" y="232"/>
                </a:cxn>
                <a:cxn ang="0">
                  <a:pos x="46" y="192"/>
                </a:cxn>
                <a:cxn ang="0">
                  <a:pos x="44" y="162"/>
                </a:cxn>
                <a:cxn ang="0">
                  <a:pos x="24" y="140"/>
                </a:cxn>
                <a:cxn ang="0">
                  <a:pos x="6" y="118"/>
                </a:cxn>
                <a:cxn ang="0">
                  <a:pos x="22" y="114"/>
                </a:cxn>
                <a:cxn ang="0">
                  <a:pos x="28" y="104"/>
                </a:cxn>
                <a:cxn ang="0">
                  <a:pos x="4" y="60"/>
                </a:cxn>
                <a:cxn ang="0">
                  <a:pos x="2" y="32"/>
                </a:cxn>
                <a:cxn ang="0">
                  <a:pos x="4" y="2"/>
                </a:cxn>
                <a:cxn ang="0">
                  <a:pos x="200" y="22"/>
                </a:cxn>
                <a:cxn ang="0">
                  <a:pos x="224" y="46"/>
                </a:cxn>
                <a:cxn ang="0">
                  <a:pos x="252" y="72"/>
                </a:cxn>
                <a:cxn ang="0">
                  <a:pos x="278" y="68"/>
                </a:cxn>
                <a:cxn ang="0">
                  <a:pos x="312" y="140"/>
                </a:cxn>
              </a:cxnLst>
              <a:rect l="0" t="0" r="r" b="b"/>
              <a:pathLst>
                <a:path w="536" h="440">
                  <a:moveTo>
                    <a:pt x="346" y="160"/>
                  </a:moveTo>
                  <a:lnTo>
                    <a:pt x="346" y="160"/>
                  </a:lnTo>
                  <a:lnTo>
                    <a:pt x="346" y="168"/>
                  </a:lnTo>
                  <a:lnTo>
                    <a:pt x="344" y="174"/>
                  </a:lnTo>
                  <a:lnTo>
                    <a:pt x="338" y="182"/>
                  </a:lnTo>
                  <a:lnTo>
                    <a:pt x="338" y="182"/>
                  </a:lnTo>
                  <a:lnTo>
                    <a:pt x="334" y="188"/>
                  </a:lnTo>
                  <a:lnTo>
                    <a:pt x="332" y="196"/>
                  </a:lnTo>
                  <a:lnTo>
                    <a:pt x="328" y="212"/>
                  </a:lnTo>
                  <a:lnTo>
                    <a:pt x="326" y="228"/>
                  </a:lnTo>
                  <a:lnTo>
                    <a:pt x="324" y="236"/>
                  </a:lnTo>
                  <a:lnTo>
                    <a:pt x="322" y="242"/>
                  </a:lnTo>
                  <a:lnTo>
                    <a:pt x="322" y="242"/>
                  </a:lnTo>
                  <a:lnTo>
                    <a:pt x="320" y="246"/>
                  </a:lnTo>
                  <a:lnTo>
                    <a:pt x="318" y="252"/>
                  </a:lnTo>
                  <a:lnTo>
                    <a:pt x="320" y="260"/>
                  </a:lnTo>
                  <a:lnTo>
                    <a:pt x="324" y="266"/>
                  </a:lnTo>
                  <a:lnTo>
                    <a:pt x="324" y="270"/>
                  </a:lnTo>
                  <a:lnTo>
                    <a:pt x="324" y="274"/>
                  </a:lnTo>
                  <a:lnTo>
                    <a:pt x="324" y="274"/>
                  </a:lnTo>
                  <a:lnTo>
                    <a:pt x="322" y="278"/>
                  </a:lnTo>
                  <a:lnTo>
                    <a:pt x="322" y="282"/>
                  </a:lnTo>
                  <a:lnTo>
                    <a:pt x="324" y="292"/>
                  </a:lnTo>
                  <a:lnTo>
                    <a:pt x="334" y="312"/>
                  </a:lnTo>
                  <a:lnTo>
                    <a:pt x="334" y="312"/>
                  </a:lnTo>
                  <a:lnTo>
                    <a:pt x="336" y="318"/>
                  </a:lnTo>
                  <a:lnTo>
                    <a:pt x="336" y="322"/>
                  </a:lnTo>
                  <a:lnTo>
                    <a:pt x="336" y="324"/>
                  </a:lnTo>
                  <a:lnTo>
                    <a:pt x="340" y="326"/>
                  </a:lnTo>
                  <a:lnTo>
                    <a:pt x="340" y="326"/>
                  </a:lnTo>
                  <a:lnTo>
                    <a:pt x="342" y="328"/>
                  </a:lnTo>
                  <a:lnTo>
                    <a:pt x="342" y="330"/>
                  </a:lnTo>
                  <a:lnTo>
                    <a:pt x="342" y="334"/>
                  </a:lnTo>
                  <a:lnTo>
                    <a:pt x="344" y="338"/>
                  </a:lnTo>
                  <a:lnTo>
                    <a:pt x="346" y="338"/>
                  </a:lnTo>
                  <a:lnTo>
                    <a:pt x="348" y="338"/>
                  </a:lnTo>
                  <a:lnTo>
                    <a:pt x="348" y="338"/>
                  </a:lnTo>
                  <a:lnTo>
                    <a:pt x="352" y="338"/>
                  </a:lnTo>
                  <a:lnTo>
                    <a:pt x="356" y="340"/>
                  </a:lnTo>
                  <a:lnTo>
                    <a:pt x="360" y="342"/>
                  </a:lnTo>
                  <a:lnTo>
                    <a:pt x="360" y="342"/>
                  </a:lnTo>
                  <a:lnTo>
                    <a:pt x="366" y="346"/>
                  </a:lnTo>
                  <a:lnTo>
                    <a:pt x="372" y="346"/>
                  </a:lnTo>
                  <a:lnTo>
                    <a:pt x="378" y="344"/>
                  </a:lnTo>
                  <a:lnTo>
                    <a:pt x="378" y="344"/>
                  </a:lnTo>
                  <a:lnTo>
                    <a:pt x="386" y="340"/>
                  </a:lnTo>
                  <a:lnTo>
                    <a:pt x="392" y="340"/>
                  </a:lnTo>
                  <a:lnTo>
                    <a:pt x="398" y="338"/>
                  </a:lnTo>
                  <a:lnTo>
                    <a:pt x="406" y="336"/>
                  </a:lnTo>
                  <a:lnTo>
                    <a:pt x="406" y="336"/>
                  </a:lnTo>
                  <a:lnTo>
                    <a:pt x="412" y="334"/>
                  </a:lnTo>
                  <a:lnTo>
                    <a:pt x="416" y="332"/>
                  </a:lnTo>
                  <a:lnTo>
                    <a:pt x="420" y="332"/>
                  </a:lnTo>
                  <a:lnTo>
                    <a:pt x="424" y="330"/>
                  </a:lnTo>
                  <a:lnTo>
                    <a:pt x="424" y="330"/>
                  </a:lnTo>
                  <a:lnTo>
                    <a:pt x="428" y="328"/>
                  </a:lnTo>
                  <a:lnTo>
                    <a:pt x="432" y="328"/>
                  </a:lnTo>
                  <a:lnTo>
                    <a:pt x="432" y="330"/>
                  </a:lnTo>
                  <a:lnTo>
                    <a:pt x="430" y="330"/>
                  </a:lnTo>
                  <a:lnTo>
                    <a:pt x="430" y="330"/>
                  </a:lnTo>
                  <a:lnTo>
                    <a:pt x="426" y="332"/>
                  </a:lnTo>
                  <a:lnTo>
                    <a:pt x="426" y="334"/>
                  </a:lnTo>
                  <a:lnTo>
                    <a:pt x="428" y="334"/>
                  </a:lnTo>
                  <a:lnTo>
                    <a:pt x="434" y="332"/>
                  </a:lnTo>
                  <a:lnTo>
                    <a:pt x="434" y="332"/>
                  </a:lnTo>
                  <a:lnTo>
                    <a:pt x="438" y="330"/>
                  </a:lnTo>
                  <a:lnTo>
                    <a:pt x="436" y="328"/>
                  </a:lnTo>
                  <a:lnTo>
                    <a:pt x="436" y="326"/>
                  </a:lnTo>
                  <a:lnTo>
                    <a:pt x="436" y="326"/>
                  </a:lnTo>
                  <a:lnTo>
                    <a:pt x="442" y="322"/>
                  </a:lnTo>
                  <a:lnTo>
                    <a:pt x="442" y="322"/>
                  </a:lnTo>
                  <a:lnTo>
                    <a:pt x="444" y="320"/>
                  </a:lnTo>
                  <a:lnTo>
                    <a:pt x="446" y="318"/>
                  </a:lnTo>
                  <a:lnTo>
                    <a:pt x="446" y="312"/>
                  </a:lnTo>
                  <a:lnTo>
                    <a:pt x="448" y="308"/>
                  </a:lnTo>
                  <a:lnTo>
                    <a:pt x="450" y="306"/>
                  </a:lnTo>
                  <a:lnTo>
                    <a:pt x="452" y="304"/>
                  </a:lnTo>
                  <a:lnTo>
                    <a:pt x="452" y="304"/>
                  </a:lnTo>
                  <a:lnTo>
                    <a:pt x="454" y="302"/>
                  </a:lnTo>
                  <a:lnTo>
                    <a:pt x="456" y="296"/>
                  </a:lnTo>
                  <a:lnTo>
                    <a:pt x="456" y="280"/>
                  </a:lnTo>
                  <a:lnTo>
                    <a:pt x="456" y="280"/>
                  </a:lnTo>
                  <a:lnTo>
                    <a:pt x="456" y="276"/>
                  </a:lnTo>
                  <a:lnTo>
                    <a:pt x="460" y="274"/>
                  </a:lnTo>
                  <a:lnTo>
                    <a:pt x="470" y="268"/>
                  </a:lnTo>
                  <a:lnTo>
                    <a:pt x="482" y="266"/>
                  </a:lnTo>
                  <a:lnTo>
                    <a:pt x="488" y="266"/>
                  </a:lnTo>
                  <a:lnTo>
                    <a:pt x="488" y="266"/>
                  </a:lnTo>
                  <a:lnTo>
                    <a:pt x="492" y="268"/>
                  </a:lnTo>
                  <a:lnTo>
                    <a:pt x="498" y="266"/>
                  </a:lnTo>
                  <a:lnTo>
                    <a:pt x="504" y="264"/>
                  </a:lnTo>
                  <a:lnTo>
                    <a:pt x="514" y="264"/>
                  </a:lnTo>
                  <a:lnTo>
                    <a:pt x="514" y="264"/>
                  </a:lnTo>
                  <a:lnTo>
                    <a:pt x="520" y="264"/>
                  </a:lnTo>
                  <a:lnTo>
                    <a:pt x="524" y="264"/>
                  </a:lnTo>
                  <a:lnTo>
                    <a:pt x="526" y="264"/>
                  </a:lnTo>
                  <a:lnTo>
                    <a:pt x="528" y="266"/>
                  </a:lnTo>
                  <a:lnTo>
                    <a:pt x="528" y="266"/>
                  </a:lnTo>
                  <a:lnTo>
                    <a:pt x="532" y="270"/>
                  </a:lnTo>
                  <a:lnTo>
                    <a:pt x="532" y="270"/>
                  </a:lnTo>
                  <a:lnTo>
                    <a:pt x="534" y="272"/>
                  </a:lnTo>
                  <a:lnTo>
                    <a:pt x="536" y="274"/>
                  </a:lnTo>
                  <a:lnTo>
                    <a:pt x="536" y="274"/>
                  </a:lnTo>
                  <a:lnTo>
                    <a:pt x="536" y="280"/>
                  </a:lnTo>
                  <a:lnTo>
                    <a:pt x="534" y="284"/>
                  </a:lnTo>
                  <a:lnTo>
                    <a:pt x="530" y="288"/>
                  </a:lnTo>
                  <a:lnTo>
                    <a:pt x="526" y="292"/>
                  </a:lnTo>
                  <a:lnTo>
                    <a:pt x="526" y="292"/>
                  </a:lnTo>
                  <a:lnTo>
                    <a:pt x="524" y="300"/>
                  </a:lnTo>
                  <a:lnTo>
                    <a:pt x="522" y="304"/>
                  </a:lnTo>
                  <a:lnTo>
                    <a:pt x="518" y="304"/>
                  </a:lnTo>
                  <a:lnTo>
                    <a:pt x="518" y="304"/>
                  </a:lnTo>
                  <a:lnTo>
                    <a:pt x="516" y="306"/>
                  </a:lnTo>
                  <a:lnTo>
                    <a:pt x="516" y="306"/>
                  </a:lnTo>
                  <a:lnTo>
                    <a:pt x="518" y="306"/>
                  </a:lnTo>
                  <a:lnTo>
                    <a:pt x="518" y="306"/>
                  </a:lnTo>
                  <a:lnTo>
                    <a:pt x="518" y="306"/>
                  </a:lnTo>
                  <a:lnTo>
                    <a:pt x="520" y="308"/>
                  </a:lnTo>
                  <a:lnTo>
                    <a:pt x="520" y="310"/>
                  </a:lnTo>
                  <a:lnTo>
                    <a:pt x="516" y="314"/>
                  </a:lnTo>
                  <a:lnTo>
                    <a:pt x="516" y="314"/>
                  </a:lnTo>
                  <a:lnTo>
                    <a:pt x="512" y="322"/>
                  </a:lnTo>
                  <a:lnTo>
                    <a:pt x="508" y="330"/>
                  </a:lnTo>
                  <a:lnTo>
                    <a:pt x="506" y="338"/>
                  </a:lnTo>
                  <a:lnTo>
                    <a:pt x="504" y="342"/>
                  </a:lnTo>
                  <a:lnTo>
                    <a:pt x="504" y="342"/>
                  </a:lnTo>
                  <a:lnTo>
                    <a:pt x="502" y="344"/>
                  </a:lnTo>
                  <a:lnTo>
                    <a:pt x="502" y="350"/>
                  </a:lnTo>
                  <a:lnTo>
                    <a:pt x="502" y="354"/>
                  </a:lnTo>
                  <a:lnTo>
                    <a:pt x="500" y="356"/>
                  </a:lnTo>
                  <a:lnTo>
                    <a:pt x="500" y="356"/>
                  </a:lnTo>
                  <a:lnTo>
                    <a:pt x="500" y="350"/>
                  </a:lnTo>
                  <a:lnTo>
                    <a:pt x="498" y="346"/>
                  </a:lnTo>
                  <a:lnTo>
                    <a:pt x="498" y="344"/>
                  </a:lnTo>
                  <a:lnTo>
                    <a:pt x="498" y="338"/>
                  </a:lnTo>
                  <a:lnTo>
                    <a:pt x="498" y="338"/>
                  </a:lnTo>
                  <a:lnTo>
                    <a:pt x="494" y="344"/>
                  </a:lnTo>
                  <a:lnTo>
                    <a:pt x="492" y="346"/>
                  </a:lnTo>
                  <a:lnTo>
                    <a:pt x="492" y="346"/>
                  </a:lnTo>
                  <a:lnTo>
                    <a:pt x="492" y="346"/>
                  </a:lnTo>
                  <a:lnTo>
                    <a:pt x="484" y="354"/>
                  </a:lnTo>
                  <a:lnTo>
                    <a:pt x="480" y="358"/>
                  </a:lnTo>
                  <a:lnTo>
                    <a:pt x="478" y="358"/>
                  </a:lnTo>
                  <a:lnTo>
                    <a:pt x="476" y="358"/>
                  </a:lnTo>
                  <a:lnTo>
                    <a:pt x="474" y="356"/>
                  </a:lnTo>
                  <a:lnTo>
                    <a:pt x="472" y="356"/>
                  </a:lnTo>
                  <a:lnTo>
                    <a:pt x="468" y="360"/>
                  </a:lnTo>
                  <a:lnTo>
                    <a:pt x="434" y="360"/>
                  </a:lnTo>
                  <a:lnTo>
                    <a:pt x="434" y="360"/>
                  </a:lnTo>
                  <a:lnTo>
                    <a:pt x="432" y="364"/>
                  </a:lnTo>
                  <a:lnTo>
                    <a:pt x="434" y="368"/>
                  </a:lnTo>
                  <a:lnTo>
                    <a:pt x="436" y="370"/>
                  </a:lnTo>
                  <a:lnTo>
                    <a:pt x="438" y="374"/>
                  </a:lnTo>
                  <a:lnTo>
                    <a:pt x="438" y="374"/>
                  </a:lnTo>
                  <a:lnTo>
                    <a:pt x="436" y="378"/>
                  </a:lnTo>
                  <a:lnTo>
                    <a:pt x="432" y="378"/>
                  </a:lnTo>
                  <a:lnTo>
                    <a:pt x="428" y="380"/>
                  </a:lnTo>
                  <a:lnTo>
                    <a:pt x="426" y="384"/>
                  </a:lnTo>
                  <a:lnTo>
                    <a:pt x="426" y="384"/>
                  </a:lnTo>
                  <a:lnTo>
                    <a:pt x="428" y="386"/>
                  </a:lnTo>
                  <a:lnTo>
                    <a:pt x="432" y="388"/>
                  </a:lnTo>
                  <a:lnTo>
                    <a:pt x="436" y="390"/>
                  </a:lnTo>
                  <a:lnTo>
                    <a:pt x="436" y="392"/>
                  </a:lnTo>
                  <a:lnTo>
                    <a:pt x="436" y="392"/>
                  </a:lnTo>
                  <a:lnTo>
                    <a:pt x="436" y="396"/>
                  </a:lnTo>
                  <a:lnTo>
                    <a:pt x="438" y="398"/>
                  </a:lnTo>
                  <a:lnTo>
                    <a:pt x="440" y="400"/>
                  </a:lnTo>
                  <a:lnTo>
                    <a:pt x="440" y="404"/>
                  </a:lnTo>
                  <a:lnTo>
                    <a:pt x="440" y="404"/>
                  </a:lnTo>
                  <a:lnTo>
                    <a:pt x="424" y="402"/>
                  </a:lnTo>
                  <a:lnTo>
                    <a:pt x="418" y="404"/>
                  </a:lnTo>
                  <a:lnTo>
                    <a:pt x="412" y="406"/>
                  </a:lnTo>
                  <a:lnTo>
                    <a:pt x="408" y="410"/>
                  </a:lnTo>
                  <a:lnTo>
                    <a:pt x="402" y="416"/>
                  </a:lnTo>
                  <a:lnTo>
                    <a:pt x="400" y="426"/>
                  </a:lnTo>
                  <a:lnTo>
                    <a:pt x="396" y="440"/>
                  </a:lnTo>
                  <a:lnTo>
                    <a:pt x="396" y="440"/>
                  </a:lnTo>
                  <a:lnTo>
                    <a:pt x="392" y="434"/>
                  </a:lnTo>
                  <a:lnTo>
                    <a:pt x="388" y="428"/>
                  </a:lnTo>
                  <a:lnTo>
                    <a:pt x="380" y="420"/>
                  </a:lnTo>
                  <a:lnTo>
                    <a:pt x="380" y="420"/>
                  </a:lnTo>
                  <a:lnTo>
                    <a:pt x="368" y="412"/>
                  </a:lnTo>
                  <a:lnTo>
                    <a:pt x="362" y="408"/>
                  </a:lnTo>
                  <a:lnTo>
                    <a:pt x="358" y="408"/>
                  </a:lnTo>
                  <a:lnTo>
                    <a:pt x="354" y="406"/>
                  </a:lnTo>
                  <a:lnTo>
                    <a:pt x="354" y="406"/>
                  </a:lnTo>
                  <a:lnTo>
                    <a:pt x="358" y="404"/>
                  </a:lnTo>
                  <a:lnTo>
                    <a:pt x="358" y="402"/>
                  </a:lnTo>
                  <a:lnTo>
                    <a:pt x="358" y="400"/>
                  </a:lnTo>
                  <a:lnTo>
                    <a:pt x="356" y="402"/>
                  </a:lnTo>
                  <a:lnTo>
                    <a:pt x="356" y="402"/>
                  </a:lnTo>
                  <a:lnTo>
                    <a:pt x="352" y="402"/>
                  </a:lnTo>
                  <a:lnTo>
                    <a:pt x="350" y="402"/>
                  </a:lnTo>
                  <a:lnTo>
                    <a:pt x="348" y="402"/>
                  </a:lnTo>
                  <a:lnTo>
                    <a:pt x="346" y="404"/>
                  </a:lnTo>
                  <a:lnTo>
                    <a:pt x="346" y="404"/>
                  </a:lnTo>
                  <a:lnTo>
                    <a:pt x="344" y="404"/>
                  </a:lnTo>
                  <a:lnTo>
                    <a:pt x="346" y="406"/>
                  </a:lnTo>
                  <a:lnTo>
                    <a:pt x="348" y="406"/>
                  </a:lnTo>
                  <a:lnTo>
                    <a:pt x="350" y="406"/>
                  </a:lnTo>
                  <a:lnTo>
                    <a:pt x="346" y="408"/>
                  </a:lnTo>
                  <a:lnTo>
                    <a:pt x="346" y="408"/>
                  </a:lnTo>
                  <a:lnTo>
                    <a:pt x="340" y="408"/>
                  </a:lnTo>
                  <a:lnTo>
                    <a:pt x="338" y="410"/>
                  </a:lnTo>
                  <a:lnTo>
                    <a:pt x="334" y="412"/>
                  </a:lnTo>
                  <a:lnTo>
                    <a:pt x="328" y="412"/>
                  </a:lnTo>
                  <a:lnTo>
                    <a:pt x="328" y="412"/>
                  </a:lnTo>
                  <a:lnTo>
                    <a:pt x="322" y="414"/>
                  </a:lnTo>
                  <a:lnTo>
                    <a:pt x="318" y="416"/>
                  </a:lnTo>
                  <a:lnTo>
                    <a:pt x="312" y="416"/>
                  </a:lnTo>
                  <a:lnTo>
                    <a:pt x="304" y="412"/>
                  </a:lnTo>
                  <a:lnTo>
                    <a:pt x="304" y="412"/>
                  </a:lnTo>
                  <a:lnTo>
                    <a:pt x="300" y="412"/>
                  </a:lnTo>
                  <a:lnTo>
                    <a:pt x="294" y="412"/>
                  </a:lnTo>
                  <a:lnTo>
                    <a:pt x="290" y="410"/>
                  </a:lnTo>
                  <a:lnTo>
                    <a:pt x="284" y="406"/>
                  </a:lnTo>
                  <a:lnTo>
                    <a:pt x="284" y="406"/>
                  </a:lnTo>
                  <a:lnTo>
                    <a:pt x="282" y="404"/>
                  </a:lnTo>
                  <a:lnTo>
                    <a:pt x="278" y="404"/>
                  </a:lnTo>
                  <a:lnTo>
                    <a:pt x="274" y="402"/>
                  </a:lnTo>
                  <a:lnTo>
                    <a:pt x="270" y="396"/>
                  </a:lnTo>
                  <a:lnTo>
                    <a:pt x="270" y="396"/>
                  </a:lnTo>
                  <a:lnTo>
                    <a:pt x="266" y="394"/>
                  </a:lnTo>
                  <a:lnTo>
                    <a:pt x="260" y="392"/>
                  </a:lnTo>
                  <a:lnTo>
                    <a:pt x="256" y="392"/>
                  </a:lnTo>
                  <a:lnTo>
                    <a:pt x="250" y="386"/>
                  </a:lnTo>
                  <a:lnTo>
                    <a:pt x="250" y="386"/>
                  </a:lnTo>
                  <a:lnTo>
                    <a:pt x="248" y="384"/>
                  </a:lnTo>
                  <a:lnTo>
                    <a:pt x="242" y="382"/>
                  </a:lnTo>
                  <a:lnTo>
                    <a:pt x="234" y="378"/>
                  </a:lnTo>
                  <a:lnTo>
                    <a:pt x="224" y="374"/>
                  </a:lnTo>
                  <a:lnTo>
                    <a:pt x="220" y="370"/>
                  </a:lnTo>
                  <a:lnTo>
                    <a:pt x="216" y="366"/>
                  </a:lnTo>
                  <a:lnTo>
                    <a:pt x="216" y="366"/>
                  </a:lnTo>
                  <a:lnTo>
                    <a:pt x="214" y="360"/>
                  </a:lnTo>
                  <a:lnTo>
                    <a:pt x="212" y="360"/>
                  </a:lnTo>
                  <a:lnTo>
                    <a:pt x="208" y="360"/>
                  </a:lnTo>
                  <a:lnTo>
                    <a:pt x="200" y="358"/>
                  </a:lnTo>
                  <a:lnTo>
                    <a:pt x="200" y="358"/>
                  </a:lnTo>
                  <a:lnTo>
                    <a:pt x="186" y="352"/>
                  </a:lnTo>
                  <a:lnTo>
                    <a:pt x="182" y="348"/>
                  </a:lnTo>
                  <a:lnTo>
                    <a:pt x="182" y="346"/>
                  </a:lnTo>
                  <a:lnTo>
                    <a:pt x="178" y="344"/>
                  </a:lnTo>
                  <a:lnTo>
                    <a:pt x="178" y="344"/>
                  </a:lnTo>
                  <a:lnTo>
                    <a:pt x="174" y="342"/>
                  </a:lnTo>
                  <a:lnTo>
                    <a:pt x="170" y="340"/>
                  </a:lnTo>
                  <a:lnTo>
                    <a:pt x="168" y="338"/>
                  </a:lnTo>
                  <a:lnTo>
                    <a:pt x="164" y="336"/>
                  </a:lnTo>
                  <a:lnTo>
                    <a:pt x="164" y="336"/>
                  </a:lnTo>
                  <a:lnTo>
                    <a:pt x="162" y="334"/>
                  </a:lnTo>
                  <a:lnTo>
                    <a:pt x="162" y="332"/>
                  </a:lnTo>
                  <a:lnTo>
                    <a:pt x="162" y="330"/>
                  </a:lnTo>
                  <a:lnTo>
                    <a:pt x="158" y="328"/>
                  </a:lnTo>
                  <a:lnTo>
                    <a:pt x="158" y="328"/>
                  </a:lnTo>
                  <a:lnTo>
                    <a:pt x="154" y="324"/>
                  </a:lnTo>
                  <a:lnTo>
                    <a:pt x="152" y="320"/>
                  </a:lnTo>
                  <a:lnTo>
                    <a:pt x="148" y="314"/>
                  </a:lnTo>
                  <a:lnTo>
                    <a:pt x="146" y="310"/>
                  </a:lnTo>
                  <a:lnTo>
                    <a:pt x="146" y="310"/>
                  </a:lnTo>
                  <a:lnTo>
                    <a:pt x="144" y="308"/>
                  </a:lnTo>
                  <a:lnTo>
                    <a:pt x="146" y="308"/>
                  </a:lnTo>
                  <a:lnTo>
                    <a:pt x="148" y="304"/>
                  </a:lnTo>
                  <a:lnTo>
                    <a:pt x="152" y="302"/>
                  </a:lnTo>
                  <a:lnTo>
                    <a:pt x="148" y="300"/>
                  </a:lnTo>
                  <a:lnTo>
                    <a:pt x="148" y="300"/>
                  </a:lnTo>
                  <a:lnTo>
                    <a:pt x="144" y="300"/>
                  </a:lnTo>
                  <a:lnTo>
                    <a:pt x="146" y="296"/>
                  </a:lnTo>
                  <a:lnTo>
                    <a:pt x="150" y="292"/>
                  </a:lnTo>
                  <a:lnTo>
                    <a:pt x="154" y="286"/>
                  </a:lnTo>
                  <a:lnTo>
                    <a:pt x="154" y="286"/>
                  </a:lnTo>
                  <a:lnTo>
                    <a:pt x="156" y="282"/>
                  </a:lnTo>
                  <a:lnTo>
                    <a:pt x="158" y="282"/>
                  </a:lnTo>
                  <a:lnTo>
                    <a:pt x="160" y="282"/>
                  </a:lnTo>
                  <a:lnTo>
                    <a:pt x="158" y="278"/>
                  </a:lnTo>
                  <a:lnTo>
                    <a:pt x="158" y="278"/>
                  </a:lnTo>
                  <a:lnTo>
                    <a:pt x="158" y="274"/>
                  </a:lnTo>
                  <a:lnTo>
                    <a:pt x="160" y="274"/>
                  </a:lnTo>
                  <a:lnTo>
                    <a:pt x="162" y="274"/>
                  </a:lnTo>
                  <a:lnTo>
                    <a:pt x="160" y="266"/>
                  </a:lnTo>
                  <a:lnTo>
                    <a:pt x="160" y="266"/>
                  </a:lnTo>
                  <a:lnTo>
                    <a:pt x="158" y="260"/>
                  </a:lnTo>
                  <a:lnTo>
                    <a:pt x="158" y="258"/>
                  </a:lnTo>
                  <a:lnTo>
                    <a:pt x="156" y="252"/>
                  </a:lnTo>
                  <a:lnTo>
                    <a:pt x="150" y="242"/>
                  </a:lnTo>
                  <a:lnTo>
                    <a:pt x="150" y="242"/>
                  </a:lnTo>
                  <a:lnTo>
                    <a:pt x="140" y="222"/>
                  </a:lnTo>
                  <a:lnTo>
                    <a:pt x="134" y="210"/>
                  </a:lnTo>
                  <a:lnTo>
                    <a:pt x="124" y="194"/>
                  </a:lnTo>
                  <a:lnTo>
                    <a:pt x="124" y="194"/>
                  </a:lnTo>
                  <a:lnTo>
                    <a:pt x="124" y="192"/>
                  </a:lnTo>
                  <a:lnTo>
                    <a:pt x="126" y="192"/>
                  </a:lnTo>
                  <a:lnTo>
                    <a:pt x="128" y="194"/>
                  </a:lnTo>
                  <a:lnTo>
                    <a:pt x="130" y="194"/>
                  </a:lnTo>
                  <a:lnTo>
                    <a:pt x="126" y="188"/>
                  </a:lnTo>
                  <a:lnTo>
                    <a:pt x="126" y="188"/>
                  </a:lnTo>
                  <a:lnTo>
                    <a:pt x="122" y="186"/>
                  </a:lnTo>
                  <a:lnTo>
                    <a:pt x="122" y="186"/>
                  </a:lnTo>
                  <a:lnTo>
                    <a:pt x="122" y="188"/>
                  </a:lnTo>
                  <a:lnTo>
                    <a:pt x="118" y="186"/>
                  </a:lnTo>
                  <a:lnTo>
                    <a:pt x="118" y="186"/>
                  </a:lnTo>
                  <a:lnTo>
                    <a:pt x="112" y="180"/>
                  </a:lnTo>
                  <a:lnTo>
                    <a:pt x="110" y="178"/>
                  </a:lnTo>
                  <a:lnTo>
                    <a:pt x="110" y="174"/>
                  </a:lnTo>
                  <a:lnTo>
                    <a:pt x="110" y="174"/>
                  </a:lnTo>
                  <a:lnTo>
                    <a:pt x="108" y="172"/>
                  </a:lnTo>
                  <a:lnTo>
                    <a:pt x="108" y="172"/>
                  </a:lnTo>
                  <a:lnTo>
                    <a:pt x="106" y="172"/>
                  </a:lnTo>
                  <a:lnTo>
                    <a:pt x="106" y="166"/>
                  </a:lnTo>
                  <a:lnTo>
                    <a:pt x="106" y="166"/>
                  </a:lnTo>
                  <a:lnTo>
                    <a:pt x="108" y="160"/>
                  </a:lnTo>
                  <a:lnTo>
                    <a:pt x="110" y="156"/>
                  </a:lnTo>
                  <a:lnTo>
                    <a:pt x="110" y="152"/>
                  </a:lnTo>
                  <a:lnTo>
                    <a:pt x="110" y="152"/>
                  </a:lnTo>
                  <a:lnTo>
                    <a:pt x="104" y="144"/>
                  </a:lnTo>
                  <a:lnTo>
                    <a:pt x="102" y="142"/>
                  </a:lnTo>
                  <a:lnTo>
                    <a:pt x="100" y="142"/>
                  </a:lnTo>
                  <a:lnTo>
                    <a:pt x="100" y="142"/>
                  </a:lnTo>
                  <a:lnTo>
                    <a:pt x="98" y="142"/>
                  </a:lnTo>
                  <a:lnTo>
                    <a:pt x="96" y="140"/>
                  </a:lnTo>
                  <a:lnTo>
                    <a:pt x="94" y="134"/>
                  </a:lnTo>
                  <a:lnTo>
                    <a:pt x="94" y="134"/>
                  </a:lnTo>
                  <a:lnTo>
                    <a:pt x="94" y="130"/>
                  </a:lnTo>
                  <a:lnTo>
                    <a:pt x="90" y="126"/>
                  </a:lnTo>
                  <a:lnTo>
                    <a:pt x="86" y="124"/>
                  </a:lnTo>
                  <a:lnTo>
                    <a:pt x="86" y="118"/>
                  </a:lnTo>
                  <a:lnTo>
                    <a:pt x="86" y="118"/>
                  </a:lnTo>
                  <a:lnTo>
                    <a:pt x="88" y="114"/>
                  </a:lnTo>
                  <a:lnTo>
                    <a:pt x="86" y="112"/>
                  </a:lnTo>
                  <a:lnTo>
                    <a:pt x="86" y="110"/>
                  </a:lnTo>
                  <a:lnTo>
                    <a:pt x="84" y="112"/>
                  </a:lnTo>
                  <a:lnTo>
                    <a:pt x="84" y="112"/>
                  </a:lnTo>
                  <a:lnTo>
                    <a:pt x="84" y="114"/>
                  </a:lnTo>
                  <a:lnTo>
                    <a:pt x="82" y="112"/>
                  </a:lnTo>
                  <a:lnTo>
                    <a:pt x="78" y="106"/>
                  </a:lnTo>
                  <a:lnTo>
                    <a:pt x="78" y="106"/>
                  </a:lnTo>
                  <a:lnTo>
                    <a:pt x="72" y="98"/>
                  </a:lnTo>
                  <a:lnTo>
                    <a:pt x="72" y="96"/>
                  </a:lnTo>
                  <a:lnTo>
                    <a:pt x="72" y="94"/>
                  </a:lnTo>
                  <a:lnTo>
                    <a:pt x="72" y="94"/>
                  </a:lnTo>
                  <a:lnTo>
                    <a:pt x="72" y="90"/>
                  </a:lnTo>
                  <a:lnTo>
                    <a:pt x="72" y="88"/>
                  </a:lnTo>
                  <a:lnTo>
                    <a:pt x="70" y="84"/>
                  </a:lnTo>
                  <a:lnTo>
                    <a:pt x="70" y="76"/>
                  </a:lnTo>
                  <a:lnTo>
                    <a:pt x="70" y="76"/>
                  </a:lnTo>
                  <a:lnTo>
                    <a:pt x="70" y="66"/>
                  </a:lnTo>
                  <a:lnTo>
                    <a:pt x="70" y="62"/>
                  </a:lnTo>
                  <a:lnTo>
                    <a:pt x="68" y="58"/>
                  </a:lnTo>
                  <a:lnTo>
                    <a:pt x="68" y="58"/>
                  </a:lnTo>
                  <a:lnTo>
                    <a:pt x="66" y="54"/>
                  </a:lnTo>
                  <a:lnTo>
                    <a:pt x="66" y="52"/>
                  </a:lnTo>
                  <a:lnTo>
                    <a:pt x="68" y="44"/>
                  </a:lnTo>
                  <a:lnTo>
                    <a:pt x="68" y="42"/>
                  </a:lnTo>
                  <a:lnTo>
                    <a:pt x="66" y="38"/>
                  </a:lnTo>
                  <a:lnTo>
                    <a:pt x="64" y="34"/>
                  </a:lnTo>
                  <a:lnTo>
                    <a:pt x="58" y="32"/>
                  </a:lnTo>
                  <a:lnTo>
                    <a:pt x="58" y="32"/>
                  </a:lnTo>
                  <a:lnTo>
                    <a:pt x="58" y="28"/>
                  </a:lnTo>
                  <a:lnTo>
                    <a:pt x="56" y="26"/>
                  </a:lnTo>
                  <a:lnTo>
                    <a:pt x="54" y="24"/>
                  </a:lnTo>
                  <a:lnTo>
                    <a:pt x="50" y="26"/>
                  </a:lnTo>
                  <a:lnTo>
                    <a:pt x="50" y="26"/>
                  </a:lnTo>
                  <a:lnTo>
                    <a:pt x="48" y="28"/>
                  </a:lnTo>
                  <a:lnTo>
                    <a:pt x="46" y="26"/>
                  </a:lnTo>
                  <a:lnTo>
                    <a:pt x="44" y="22"/>
                  </a:lnTo>
                  <a:lnTo>
                    <a:pt x="40" y="20"/>
                  </a:lnTo>
                  <a:lnTo>
                    <a:pt x="40" y="20"/>
                  </a:lnTo>
                  <a:lnTo>
                    <a:pt x="42" y="24"/>
                  </a:lnTo>
                  <a:lnTo>
                    <a:pt x="42" y="28"/>
                  </a:lnTo>
                  <a:lnTo>
                    <a:pt x="40" y="36"/>
                  </a:lnTo>
                  <a:lnTo>
                    <a:pt x="38" y="42"/>
                  </a:lnTo>
                  <a:lnTo>
                    <a:pt x="38" y="44"/>
                  </a:lnTo>
                  <a:lnTo>
                    <a:pt x="40" y="46"/>
                  </a:lnTo>
                  <a:lnTo>
                    <a:pt x="40" y="46"/>
                  </a:lnTo>
                  <a:lnTo>
                    <a:pt x="40" y="52"/>
                  </a:lnTo>
                  <a:lnTo>
                    <a:pt x="38" y="62"/>
                  </a:lnTo>
                  <a:lnTo>
                    <a:pt x="40" y="72"/>
                  </a:lnTo>
                  <a:lnTo>
                    <a:pt x="42" y="78"/>
                  </a:lnTo>
                  <a:lnTo>
                    <a:pt x="42" y="78"/>
                  </a:lnTo>
                  <a:lnTo>
                    <a:pt x="46" y="84"/>
                  </a:lnTo>
                  <a:lnTo>
                    <a:pt x="50" y="90"/>
                  </a:lnTo>
                  <a:lnTo>
                    <a:pt x="54" y="98"/>
                  </a:lnTo>
                  <a:lnTo>
                    <a:pt x="54" y="104"/>
                  </a:lnTo>
                  <a:lnTo>
                    <a:pt x="54" y="106"/>
                  </a:lnTo>
                  <a:lnTo>
                    <a:pt x="56" y="106"/>
                  </a:lnTo>
                  <a:lnTo>
                    <a:pt x="56" y="106"/>
                  </a:lnTo>
                  <a:lnTo>
                    <a:pt x="56" y="106"/>
                  </a:lnTo>
                  <a:lnTo>
                    <a:pt x="58" y="110"/>
                  </a:lnTo>
                  <a:lnTo>
                    <a:pt x="58" y="114"/>
                  </a:lnTo>
                  <a:lnTo>
                    <a:pt x="58" y="116"/>
                  </a:lnTo>
                  <a:lnTo>
                    <a:pt x="58" y="116"/>
                  </a:lnTo>
                  <a:lnTo>
                    <a:pt x="60" y="118"/>
                  </a:lnTo>
                  <a:lnTo>
                    <a:pt x="58" y="122"/>
                  </a:lnTo>
                  <a:lnTo>
                    <a:pt x="58" y="126"/>
                  </a:lnTo>
                  <a:lnTo>
                    <a:pt x="62" y="130"/>
                  </a:lnTo>
                  <a:lnTo>
                    <a:pt x="62" y="130"/>
                  </a:lnTo>
                  <a:lnTo>
                    <a:pt x="66" y="136"/>
                  </a:lnTo>
                  <a:lnTo>
                    <a:pt x="66" y="140"/>
                  </a:lnTo>
                  <a:lnTo>
                    <a:pt x="66" y="144"/>
                  </a:lnTo>
                  <a:lnTo>
                    <a:pt x="68" y="148"/>
                  </a:lnTo>
                  <a:lnTo>
                    <a:pt x="68" y="148"/>
                  </a:lnTo>
                  <a:lnTo>
                    <a:pt x="70" y="150"/>
                  </a:lnTo>
                  <a:lnTo>
                    <a:pt x="68" y="150"/>
                  </a:lnTo>
                  <a:lnTo>
                    <a:pt x="68" y="152"/>
                  </a:lnTo>
                  <a:lnTo>
                    <a:pt x="68" y="156"/>
                  </a:lnTo>
                  <a:lnTo>
                    <a:pt x="68" y="156"/>
                  </a:lnTo>
                  <a:lnTo>
                    <a:pt x="66" y="162"/>
                  </a:lnTo>
                  <a:lnTo>
                    <a:pt x="64" y="166"/>
                  </a:lnTo>
                  <a:lnTo>
                    <a:pt x="66" y="168"/>
                  </a:lnTo>
                  <a:lnTo>
                    <a:pt x="66" y="168"/>
                  </a:lnTo>
                  <a:lnTo>
                    <a:pt x="66" y="168"/>
                  </a:lnTo>
                  <a:lnTo>
                    <a:pt x="68" y="166"/>
                  </a:lnTo>
                  <a:lnTo>
                    <a:pt x="70" y="164"/>
                  </a:lnTo>
                  <a:lnTo>
                    <a:pt x="68" y="162"/>
                  </a:lnTo>
                  <a:lnTo>
                    <a:pt x="68" y="160"/>
                  </a:lnTo>
                  <a:lnTo>
                    <a:pt x="68" y="160"/>
                  </a:lnTo>
                  <a:lnTo>
                    <a:pt x="70" y="154"/>
                  </a:lnTo>
                  <a:lnTo>
                    <a:pt x="70" y="154"/>
                  </a:lnTo>
                  <a:lnTo>
                    <a:pt x="74" y="160"/>
                  </a:lnTo>
                  <a:lnTo>
                    <a:pt x="74" y="160"/>
                  </a:lnTo>
                  <a:lnTo>
                    <a:pt x="76" y="164"/>
                  </a:lnTo>
                  <a:lnTo>
                    <a:pt x="76" y="168"/>
                  </a:lnTo>
                  <a:lnTo>
                    <a:pt x="74" y="174"/>
                  </a:lnTo>
                  <a:lnTo>
                    <a:pt x="74" y="174"/>
                  </a:lnTo>
                  <a:lnTo>
                    <a:pt x="74" y="184"/>
                  </a:lnTo>
                  <a:lnTo>
                    <a:pt x="74" y="188"/>
                  </a:lnTo>
                  <a:lnTo>
                    <a:pt x="72" y="192"/>
                  </a:lnTo>
                  <a:lnTo>
                    <a:pt x="72" y="192"/>
                  </a:lnTo>
                  <a:lnTo>
                    <a:pt x="70" y="194"/>
                  </a:lnTo>
                  <a:lnTo>
                    <a:pt x="72" y="198"/>
                  </a:lnTo>
                  <a:lnTo>
                    <a:pt x="74" y="202"/>
                  </a:lnTo>
                  <a:lnTo>
                    <a:pt x="76" y="202"/>
                  </a:lnTo>
                  <a:lnTo>
                    <a:pt x="78" y="202"/>
                  </a:lnTo>
                  <a:lnTo>
                    <a:pt x="78" y="202"/>
                  </a:lnTo>
                  <a:lnTo>
                    <a:pt x="80" y="202"/>
                  </a:lnTo>
                  <a:lnTo>
                    <a:pt x="82" y="204"/>
                  </a:lnTo>
                  <a:lnTo>
                    <a:pt x="82" y="208"/>
                  </a:lnTo>
                  <a:lnTo>
                    <a:pt x="84" y="210"/>
                  </a:lnTo>
                  <a:lnTo>
                    <a:pt x="84" y="210"/>
                  </a:lnTo>
                  <a:lnTo>
                    <a:pt x="86" y="210"/>
                  </a:lnTo>
                  <a:lnTo>
                    <a:pt x="86" y="214"/>
                  </a:lnTo>
                  <a:lnTo>
                    <a:pt x="86" y="218"/>
                  </a:lnTo>
                  <a:lnTo>
                    <a:pt x="86" y="220"/>
                  </a:lnTo>
                  <a:lnTo>
                    <a:pt x="86" y="220"/>
                  </a:lnTo>
                  <a:lnTo>
                    <a:pt x="88" y="222"/>
                  </a:lnTo>
                  <a:lnTo>
                    <a:pt x="88" y="226"/>
                  </a:lnTo>
                  <a:lnTo>
                    <a:pt x="84" y="230"/>
                  </a:lnTo>
                  <a:lnTo>
                    <a:pt x="76" y="234"/>
                  </a:lnTo>
                  <a:lnTo>
                    <a:pt x="76" y="234"/>
                  </a:lnTo>
                  <a:lnTo>
                    <a:pt x="72" y="234"/>
                  </a:lnTo>
                  <a:lnTo>
                    <a:pt x="70" y="232"/>
                  </a:lnTo>
                  <a:lnTo>
                    <a:pt x="68" y="228"/>
                  </a:lnTo>
                  <a:lnTo>
                    <a:pt x="66" y="220"/>
                  </a:lnTo>
                  <a:lnTo>
                    <a:pt x="64" y="216"/>
                  </a:lnTo>
                  <a:lnTo>
                    <a:pt x="60" y="214"/>
                  </a:lnTo>
                  <a:lnTo>
                    <a:pt x="60" y="214"/>
                  </a:lnTo>
                  <a:lnTo>
                    <a:pt x="54" y="210"/>
                  </a:lnTo>
                  <a:lnTo>
                    <a:pt x="50" y="204"/>
                  </a:lnTo>
                  <a:lnTo>
                    <a:pt x="48" y="198"/>
                  </a:lnTo>
                  <a:lnTo>
                    <a:pt x="48" y="198"/>
                  </a:lnTo>
                  <a:lnTo>
                    <a:pt x="46" y="192"/>
                  </a:lnTo>
                  <a:lnTo>
                    <a:pt x="44" y="190"/>
                  </a:lnTo>
                  <a:lnTo>
                    <a:pt x="42" y="190"/>
                  </a:lnTo>
                  <a:lnTo>
                    <a:pt x="42" y="190"/>
                  </a:lnTo>
                  <a:lnTo>
                    <a:pt x="42" y="192"/>
                  </a:lnTo>
                  <a:lnTo>
                    <a:pt x="40" y="190"/>
                  </a:lnTo>
                  <a:lnTo>
                    <a:pt x="40" y="186"/>
                  </a:lnTo>
                  <a:lnTo>
                    <a:pt x="42" y="176"/>
                  </a:lnTo>
                  <a:lnTo>
                    <a:pt x="42" y="176"/>
                  </a:lnTo>
                  <a:lnTo>
                    <a:pt x="44" y="168"/>
                  </a:lnTo>
                  <a:lnTo>
                    <a:pt x="44" y="162"/>
                  </a:lnTo>
                  <a:lnTo>
                    <a:pt x="42" y="158"/>
                  </a:lnTo>
                  <a:lnTo>
                    <a:pt x="40" y="154"/>
                  </a:lnTo>
                  <a:lnTo>
                    <a:pt x="34" y="148"/>
                  </a:lnTo>
                  <a:lnTo>
                    <a:pt x="32" y="144"/>
                  </a:lnTo>
                  <a:lnTo>
                    <a:pt x="32" y="140"/>
                  </a:lnTo>
                  <a:lnTo>
                    <a:pt x="32" y="140"/>
                  </a:lnTo>
                  <a:lnTo>
                    <a:pt x="30" y="142"/>
                  </a:lnTo>
                  <a:lnTo>
                    <a:pt x="28" y="140"/>
                  </a:lnTo>
                  <a:lnTo>
                    <a:pt x="26" y="138"/>
                  </a:lnTo>
                  <a:lnTo>
                    <a:pt x="24" y="140"/>
                  </a:lnTo>
                  <a:lnTo>
                    <a:pt x="24" y="140"/>
                  </a:lnTo>
                  <a:lnTo>
                    <a:pt x="20" y="140"/>
                  </a:lnTo>
                  <a:lnTo>
                    <a:pt x="20" y="138"/>
                  </a:lnTo>
                  <a:lnTo>
                    <a:pt x="16" y="132"/>
                  </a:lnTo>
                  <a:lnTo>
                    <a:pt x="10" y="128"/>
                  </a:lnTo>
                  <a:lnTo>
                    <a:pt x="10" y="128"/>
                  </a:lnTo>
                  <a:lnTo>
                    <a:pt x="8" y="126"/>
                  </a:lnTo>
                  <a:lnTo>
                    <a:pt x="10" y="124"/>
                  </a:lnTo>
                  <a:lnTo>
                    <a:pt x="10" y="122"/>
                  </a:lnTo>
                  <a:lnTo>
                    <a:pt x="6" y="118"/>
                  </a:lnTo>
                  <a:lnTo>
                    <a:pt x="6" y="118"/>
                  </a:lnTo>
                  <a:lnTo>
                    <a:pt x="4" y="116"/>
                  </a:lnTo>
                  <a:lnTo>
                    <a:pt x="4" y="114"/>
                  </a:lnTo>
                  <a:lnTo>
                    <a:pt x="12" y="114"/>
                  </a:lnTo>
                  <a:lnTo>
                    <a:pt x="12" y="114"/>
                  </a:lnTo>
                  <a:lnTo>
                    <a:pt x="16" y="114"/>
                  </a:lnTo>
                  <a:lnTo>
                    <a:pt x="20" y="112"/>
                  </a:lnTo>
                  <a:lnTo>
                    <a:pt x="20" y="112"/>
                  </a:lnTo>
                  <a:lnTo>
                    <a:pt x="22" y="114"/>
                  </a:lnTo>
                  <a:lnTo>
                    <a:pt x="22" y="114"/>
                  </a:lnTo>
                  <a:lnTo>
                    <a:pt x="24" y="116"/>
                  </a:lnTo>
                  <a:lnTo>
                    <a:pt x="26" y="116"/>
                  </a:lnTo>
                  <a:lnTo>
                    <a:pt x="26" y="114"/>
                  </a:lnTo>
                  <a:lnTo>
                    <a:pt x="26" y="112"/>
                  </a:lnTo>
                  <a:lnTo>
                    <a:pt x="26" y="112"/>
                  </a:lnTo>
                  <a:lnTo>
                    <a:pt x="24" y="112"/>
                  </a:lnTo>
                  <a:lnTo>
                    <a:pt x="22" y="110"/>
                  </a:lnTo>
                  <a:lnTo>
                    <a:pt x="26" y="106"/>
                  </a:lnTo>
                  <a:lnTo>
                    <a:pt x="26" y="106"/>
                  </a:lnTo>
                  <a:lnTo>
                    <a:pt x="28" y="104"/>
                  </a:lnTo>
                  <a:lnTo>
                    <a:pt x="30" y="98"/>
                  </a:lnTo>
                  <a:lnTo>
                    <a:pt x="26" y="92"/>
                  </a:lnTo>
                  <a:lnTo>
                    <a:pt x="20" y="84"/>
                  </a:lnTo>
                  <a:lnTo>
                    <a:pt x="20" y="84"/>
                  </a:lnTo>
                  <a:lnTo>
                    <a:pt x="8" y="72"/>
                  </a:lnTo>
                  <a:lnTo>
                    <a:pt x="6" y="68"/>
                  </a:lnTo>
                  <a:lnTo>
                    <a:pt x="6" y="64"/>
                  </a:lnTo>
                  <a:lnTo>
                    <a:pt x="6" y="64"/>
                  </a:lnTo>
                  <a:lnTo>
                    <a:pt x="6" y="60"/>
                  </a:lnTo>
                  <a:lnTo>
                    <a:pt x="4" y="60"/>
                  </a:lnTo>
                  <a:lnTo>
                    <a:pt x="2" y="60"/>
                  </a:lnTo>
                  <a:lnTo>
                    <a:pt x="4" y="54"/>
                  </a:lnTo>
                  <a:lnTo>
                    <a:pt x="4" y="54"/>
                  </a:lnTo>
                  <a:lnTo>
                    <a:pt x="4" y="48"/>
                  </a:lnTo>
                  <a:lnTo>
                    <a:pt x="2" y="46"/>
                  </a:lnTo>
                  <a:lnTo>
                    <a:pt x="0" y="44"/>
                  </a:lnTo>
                  <a:lnTo>
                    <a:pt x="2" y="38"/>
                  </a:lnTo>
                  <a:lnTo>
                    <a:pt x="2" y="38"/>
                  </a:lnTo>
                  <a:lnTo>
                    <a:pt x="2" y="34"/>
                  </a:lnTo>
                  <a:lnTo>
                    <a:pt x="2" y="32"/>
                  </a:lnTo>
                  <a:lnTo>
                    <a:pt x="0" y="28"/>
                  </a:lnTo>
                  <a:lnTo>
                    <a:pt x="2" y="24"/>
                  </a:lnTo>
                  <a:lnTo>
                    <a:pt x="2" y="24"/>
                  </a:lnTo>
                  <a:lnTo>
                    <a:pt x="4" y="18"/>
                  </a:lnTo>
                  <a:lnTo>
                    <a:pt x="2" y="14"/>
                  </a:lnTo>
                  <a:lnTo>
                    <a:pt x="0" y="12"/>
                  </a:lnTo>
                  <a:lnTo>
                    <a:pt x="2" y="8"/>
                  </a:lnTo>
                  <a:lnTo>
                    <a:pt x="2" y="8"/>
                  </a:lnTo>
                  <a:lnTo>
                    <a:pt x="4" y="4"/>
                  </a:lnTo>
                  <a:lnTo>
                    <a:pt x="4" y="2"/>
                  </a:lnTo>
                  <a:lnTo>
                    <a:pt x="2" y="2"/>
                  </a:lnTo>
                  <a:lnTo>
                    <a:pt x="4" y="0"/>
                  </a:lnTo>
                  <a:lnTo>
                    <a:pt x="4" y="0"/>
                  </a:lnTo>
                  <a:lnTo>
                    <a:pt x="30" y="0"/>
                  </a:lnTo>
                  <a:lnTo>
                    <a:pt x="50" y="0"/>
                  </a:lnTo>
                  <a:lnTo>
                    <a:pt x="50" y="4"/>
                  </a:lnTo>
                  <a:lnTo>
                    <a:pt x="114" y="30"/>
                  </a:lnTo>
                  <a:lnTo>
                    <a:pt x="162" y="30"/>
                  </a:lnTo>
                  <a:lnTo>
                    <a:pt x="168" y="22"/>
                  </a:lnTo>
                  <a:lnTo>
                    <a:pt x="200" y="22"/>
                  </a:lnTo>
                  <a:lnTo>
                    <a:pt x="200" y="22"/>
                  </a:lnTo>
                  <a:lnTo>
                    <a:pt x="202" y="24"/>
                  </a:lnTo>
                  <a:lnTo>
                    <a:pt x="210" y="30"/>
                  </a:lnTo>
                  <a:lnTo>
                    <a:pt x="210" y="30"/>
                  </a:lnTo>
                  <a:lnTo>
                    <a:pt x="214" y="34"/>
                  </a:lnTo>
                  <a:lnTo>
                    <a:pt x="214" y="36"/>
                  </a:lnTo>
                  <a:lnTo>
                    <a:pt x="216" y="38"/>
                  </a:lnTo>
                  <a:lnTo>
                    <a:pt x="220" y="42"/>
                  </a:lnTo>
                  <a:lnTo>
                    <a:pt x="220" y="42"/>
                  </a:lnTo>
                  <a:lnTo>
                    <a:pt x="224" y="46"/>
                  </a:lnTo>
                  <a:lnTo>
                    <a:pt x="226" y="50"/>
                  </a:lnTo>
                  <a:lnTo>
                    <a:pt x="226" y="56"/>
                  </a:lnTo>
                  <a:lnTo>
                    <a:pt x="226" y="64"/>
                  </a:lnTo>
                  <a:lnTo>
                    <a:pt x="226" y="66"/>
                  </a:lnTo>
                  <a:lnTo>
                    <a:pt x="230" y="70"/>
                  </a:lnTo>
                  <a:lnTo>
                    <a:pt x="230" y="70"/>
                  </a:lnTo>
                  <a:lnTo>
                    <a:pt x="238" y="76"/>
                  </a:lnTo>
                  <a:lnTo>
                    <a:pt x="244" y="78"/>
                  </a:lnTo>
                  <a:lnTo>
                    <a:pt x="248" y="78"/>
                  </a:lnTo>
                  <a:lnTo>
                    <a:pt x="252" y="72"/>
                  </a:lnTo>
                  <a:lnTo>
                    <a:pt x="252" y="72"/>
                  </a:lnTo>
                  <a:lnTo>
                    <a:pt x="256" y="68"/>
                  </a:lnTo>
                  <a:lnTo>
                    <a:pt x="258" y="66"/>
                  </a:lnTo>
                  <a:lnTo>
                    <a:pt x="262" y="66"/>
                  </a:lnTo>
                  <a:lnTo>
                    <a:pt x="264" y="64"/>
                  </a:lnTo>
                  <a:lnTo>
                    <a:pt x="264" y="64"/>
                  </a:lnTo>
                  <a:lnTo>
                    <a:pt x="266" y="64"/>
                  </a:lnTo>
                  <a:lnTo>
                    <a:pt x="268" y="64"/>
                  </a:lnTo>
                  <a:lnTo>
                    <a:pt x="278" y="68"/>
                  </a:lnTo>
                  <a:lnTo>
                    <a:pt x="278" y="68"/>
                  </a:lnTo>
                  <a:lnTo>
                    <a:pt x="286" y="70"/>
                  </a:lnTo>
                  <a:lnTo>
                    <a:pt x="290" y="76"/>
                  </a:lnTo>
                  <a:lnTo>
                    <a:pt x="296" y="84"/>
                  </a:lnTo>
                  <a:lnTo>
                    <a:pt x="300" y="100"/>
                  </a:lnTo>
                  <a:lnTo>
                    <a:pt x="300" y="100"/>
                  </a:lnTo>
                  <a:lnTo>
                    <a:pt x="304" y="120"/>
                  </a:lnTo>
                  <a:lnTo>
                    <a:pt x="308" y="128"/>
                  </a:lnTo>
                  <a:lnTo>
                    <a:pt x="310" y="132"/>
                  </a:lnTo>
                  <a:lnTo>
                    <a:pt x="312" y="140"/>
                  </a:lnTo>
                  <a:lnTo>
                    <a:pt x="312" y="140"/>
                  </a:lnTo>
                  <a:lnTo>
                    <a:pt x="312" y="148"/>
                  </a:lnTo>
                  <a:lnTo>
                    <a:pt x="314" y="150"/>
                  </a:lnTo>
                  <a:lnTo>
                    <a:pt x="316" y="152"/>
                  </a:lnTo>
                  <a:lnTo>
                    <a:pt x="326" y="156"/>
                  </a:lnTo>
                  <a:lnTo>
                    <a:pt x="346" y="160"/>
                  </a:lnTo>
                  <a:lnTo>
                    <a:pt x="346" y="160"/>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Netherlands"/>
            <p:cNvSpPr>
              <a:spLocks/>
            </p:cNvSpPr>
            <p:nvPr/>
          </p:nvSpPr>
          <p:spPr bwMode="auto">
            <a:xfrm>
              <a:off x="4231976" y="1959240"/>
              <a:ext cx="71438" cy="63500"/>
            </a:xfrm>
            <a:custGeom>
              <a:avLst/>
              <a:gdLst/>
              <a:ahLst/>
              <a:cxnLst>
                <a:cxn ang="0">
                  <a:pos x="32" y="48"/>
                </a:cxn>
                <a:cxn ang="0">
                  <a:pos x="32" y="42"/>
                </a:cxn>
                <a:cxn ang="0">
                  <a:pos x="28" y="40"/>
                </a:cxn>
                <a:cxn ang="0">
                  <a:pos x="26" y="38"/>
                </a:cxn>
                <a:cxn ang="0">
                  <a:pos x="20" y="38"/>
                </a:cxn>
                <a:cxn ang="0">
                  <a:pos x="12" y="40"/>
                </a:cxn>
                <a:cxn ang="0">
                  <a:pos x="0" y="34"/>
                </a:cxn>
                <a:cxn ang="0">
                  <a:pos x="6" y="36"/>
                </a:cxn>
                <a:cxn ang="0">
                  <a:pos x="10" y="36"/>
                </a:cxn>
                <a:cxn ang="0">
                  <a:pos x="14" y="36"/>
                </a:cxn>
                <a:cxn ang="0">
                  <a:pos x="16" y="34"/>
                </a:cxn>
                <a:cxn ang="0">
                  <a:pos x="14" y="34"/>
                </a:cxn>
                <a:cxn ang="0">
                  <a:pos x="10" y="32"/>
                </a:cxn>
                <a:cxn ang="0">
                  <a:pos x="16" y="30"/>
                </a:cxn>
                <a:cxn ang="0">
                  <a:pos x="12" y="30"/>
                </a:cxn>
                <a:cxn ang="0">
                  <a:pos x="10" y="26"/>
                </a:cxn>
                <a:cxn ang="0">
                  <a:pos x="16" y="18"/>
                </a:cxn>
                <a:cxn ang="0">
                  <a:pos x="22" y="8"/>
                </a:cxn>
                <a:cxn ang="0">
                  <a:pos x="24" y="8"/>
                </a:cxn>
                <a:cxn ang="0">
                  <a:pos x="26" y="10"/>
                </a:cxn>
                <a:cxn ang="0">
                  <a:pos x="26" y="14"/>
                </a:cxn>
                <a:cxn ang="0">
                  <a:pos x="30" y="16"/>
                </a:cxn>
                <a:cxn ang="0">
                  <a:pos x="28" y="16"/>
                </a:cxn>
                <a:cxn ang="0">
                  <a:pos x="28" y="20"/>
                </a:cxn>
                <a:cxn ang="0">
                  <a:pos x="26" y="20"/>
                </a:cxn>
                <a:cxn ang="0">
                  <a:pos x="30" y="20"/>
                </a:cxn>
                <a:cxn ang="0">
                  <a:pos x="34" y="16"/>
                </a:cxn>
                <a:cxn ang="0">
                  <a:pos x="36" y="14"/>
                </a:cxn>
                <a:cxn ang="0">
                  <a:pos x="36" y="10"/>
                </a:cxn>
                <a:cxn ang="0">
                  <a:pos x="34" y="4"/>
                </a:cxn>
                <a:cxn ang="0">
                  <a:pos x="38" y="2"/>
                </a:cxn>
                <a:cxn ang="0">
                  <a:pos x="44" y="2"/>
                </a:cxn>
                <a:cxn ang="0">
                  <a:pos x="52" y="0"/>
                </a:cxn>
                <a:cxn ang="0">
                  <a:pos x="52" y="2"/>
                </a:cxn>
                <a:cxn ang="0">
                  <a:pos x="52" y="6"/>
                </a:cxn>
                <a:cxn ang="0">
                  <a:pos x="52" y="10"/>
                </a:cxn>
                <a:cxn ang="0">
                  <a:pos x="50" y="18"/>
                </a:cxn>
                <a:cxn ang="0">
                  <a:pos x="54" y="20"/>
                </a:cxn>
                <a:cxn ang="0">
                  <a:pos x="50" y="26"/>
                </a:cxn>
                <a:cxn ang="0">
                  <a:pos x="40" y="28"/>
                </a:cxn>
                <a:cxn ang="0">
                  <a:pos x="38" y="32"/>
                </a:cxn>
                <a:cxn ang="0">
                  <a:pos x="36" y="40"/>
                </a:cxn>
                <a:cxn ang="0">
                  <a:pos x="38" y="44"/>
                </a:cxn>
                <a:cxn ang="0">
                  <a:pos x="36" y="48"/>
                </a:cxn>
              </a:cxnLst>
              <a:rect l="0" t="0" r="r" b="b"/>
              <a:pathLst>
                <a:path w="54" h="48">
                  <a:moveTo>
                    <a:pt x="36" y="48"/>
                  </a:moveTo>
                  <a:lnTo>
                    <a:pt x="36" y="48"/>
                  </a:lnTo>
                  <a:lnTo>
                    <a:pt x="32" y="48"/>
                  </a:lnTo>
                  <a:lnTo>
                    <a:pt x="32" y="44"/>
                  </a:lnTo>
                  <a:lnTo>
                    <a:pt x="32" y="44"/>
                  </a:lnTo>
                  <a:lnTo>
                    <a:pt x="32" y="42"/>
                  </a:lnTo>
                  <a:lnTo>
                    <a:pt x="30" y="42"/>
                  </a:lnTo>
                  <a:lnTo>
                    <a:pt x="28" y="42"/>
                  </a:lnTo>
                  <a:lnTo>
                    <a:pt x="28" y="40"/>
                  </a:lnTo>
                  <a:lnTo>
                    <a:pt x="28" y="40"/>
                  </a:lnTo>
                  <a:lnTo>
                    <a:pt x="28" y="38"/>
                  </a:lnTo>
                  <a:lnTo>
                    <a:pt x="26" y="38"/>
                  </a:lnTo>
                  <a:lnTo>
                    <a:pt x="22" y="38"/>
                  </a:lnTo>
                  <a:lnTo>
                    <a:pt x="22" y="38"/>
                  </a:lnTo>
                  <a:lnTo>
                    <a:pt x="20" y="38"/>
                  </a:lnTo>
                  <a:lnTo>
                    <a:pt x="18" y="38"/>
                  </a:lnTo>
                  <a:lnTo>
                    <a:pt x="12" y="40"/>
                  </a:lnTo>
                  <a:lnTo>
                    <a:pt x="12" y="40"/>
                  </a:lnTo>
                  <a:lnTo>
                    <a:pt x="6" y="40"/>
                  </a:lnTo>
                  <a:lnTo>
                    <a:pt x="0" y="34"/>
                  </a:lnTo>
                  <a:lnTo>
                    <a:pt x="0" y="34"/>
                  </a:lnTo>
                  <a:lnTo>
                    <a:pt x="4" y="36"/>
                  </a:lnTo>
                  <a:lnTo>
                    <a:pt x="6" y="36"/>
                  </a:lnTo>
                  <a:lnTo>
                    <a:pt x="6" y="36"/>
                  </a:lnTo>
                  <a:lnTo>
                    <a:pt x="8" y="38"/>
                  </a:lnTo>
                  <a:lnTo>
                    <a:pt x="8" y="36"/>
                  </a:lnTo>
                  <a:lnTo>
                    <a:pt x="10" y="36"/>
                  </a:lnTo>
                  <a:lnTo>
                    <a:pt x="12" y="36"/>
                  </a:lnTo>
                  <a:lnTo>
                    <a:pt x="12" y="36"/>
                  </a:lnTo>
                  <a:lnTo>
                    <a:pt x="14" y="36"/>
                  </a:lnTo>
                  <a:lnTo>
                    <a:pt x="16" y="38"/>
                  </a:lnTo>
                  <a:lnTo>
                    <a:pt x="16" y="38"/>
                  </a:lnTo>
                  <a:lnTo>
                    <a:pt x="16" y="34"/>
                  </a:lnTo>
                  <a:lnTo>
                    <a:pt x="16" y="34"/>
                  </a:lnTo>
                  <a:lnTo>
                    <a:pt x="14" y="34"/>
                  </a:lnTo>
                  <a:lnTo>
                    <a:pt x="14" y="34"/>
                  </a:lnTo>
                  <a:lnTo>
                    <a:pt x="12" y="32"/>
                  </a:lnTo>
                  <a:lnTo>
                    <a:pt x="10" y="32"/>
                  </a:lnTo>
                  <a:lnTo>
                    <a:pt x="10" y="32"/>
                  </a:lnTo>
                  <a:lnTo>
                    <a:pt x="10" y="32"/>
                  </a:lnTo>
                  <a:lnTo>
                    <a:pt x="14" y="32"/>
                  </a:lnTo>
                  <a:lnTo>
                    <a:pt x="16" y="30"/>
                  </a:lnTo>
                  <a:lnTo>
                    <a:pt x="16" y="30"/>
                  </a:lnTo>
                  <a:lnTo>
                    <a:pt x="16" y="30"/>
                  </a:lnTo>
                  <a:lnTo>
                    <a:pt x="12" y="30"/>
                  </a:lnTo>
                  <a:lnTo>
                    <a:pt x="10" y="28"/>
                  </a:lnTo>
                  <a:lnTo>
                    <a:pt x="10" y="26"/>
                  </a:lnTo>
                  <a:lnTo>
                    <a:pt x="10" y="26"/>
                  </a:lnTo>
                  <a:lnTo>
                    <a:pt x="14" y="22"/>
                  </a:lnTo>
                  <a:lnTo>
                    <a:pt x="16" y="18"/>
                  </a:lnTo>
                  <a:lnTo>
                    <a:pt x="16" y="18"/>
                  </a:lnTo>
                  <a:lnTo>
                    <a:pt x="20" y="12"/>
                  </a:lnTo>
                  <a:lnTo>
                    <a:pt x="22" y="8"/>
                  </a:lnTo>
                  <a:lnTo>
                    <a:pt x="22" y="8"/>
                  </a:lnTo>
                  <a:lnTo>
                    <a:pt x="24" y="6"/>
                  </a:lnTo>
                  <a:lnTo>
                    <a:pt x="24" y="8"/>
                  </a:lnTo>
                  <a:lnTo>
                    <a:pt x="24" y="8"/>
                  </a:lnTo>
                  <a:lnTo>
                    <a:pt x="24" y="10"/>
                  </a:lnTo>
                  <a:lnTo>
                    <a:pt x="26" y="10"/>
                  </a:lnTo>
                  <a:lnTo>
                    <a:pt x="26" y="10"/>
                  </a:lnTo>
                  <a:lnTo>
                    <a:pt x="28" y="10"/>
                  </a:lnTo>
                  <a:lnTo>
                    <a:pt x="28" y="10"/>
                  </a:lnTo>
                  <a:lnTo>
                    <a:pt x="26" y="14"/>
                  </a:lnTo>
                  <a:lnTo>
                    <a:pt x="28" y="14"/>
                  </a:lnTo>
                  <a:lnTo>
                    <a:pt x="28" y="14"/>
                  </a:lnTo>
                  <a:lnTo>
                    <a:pt x="30" y="16"/>
                  </a:lnTo>
                  <a:lnTo>
                    <a:pt x="28" y="16"/>
                  </a:lnTo>
                  <a:lnTo>
                    <a:pt x="28" y="16"/>
                  </a:lnTo>
                  <a:lnTo>
                    <a:pt x="28" y="16"/>
                  </a:lnTo>
                  <a:lnTo>
                    <a:pt x="28" y="18"/>
                  </a:lnTo>
                  <a:lnTo>
                    <a:pt x="28" y="18"/>
                  </a:lnTo>
                  <a:lnTo>
                    <a:pt x="28" y="20"/>
                  </a:lnTo>
                  <a:lnTo>
                    <a:pt x="26" y="20"/>
                  </a:lnTo>
                  <a:lnTo>
                    <a:pt x="26" y="20"/>
                  </a:lnTo>
                  <a:lnTo>
                    <a:pt x="26" y="20"/>
                  </a:lnTo>
                  <a:lnTo>
                    <a:pt x="28" y="20"/>
                  </a:lnTo>
                  <a:lnTo>
                    <a:pt x="30" y="20"/>
                  </a:lnTo>
                  <a:lnTo>
                    <a:pt x="30" y="20"/>
                  </a:lnTo>
                  <a:lnTo>
                    <a:pt x="32" y="18"/>
                  </a:lnTo>
                  <a:lnTo>
                    <a:pt x="34" y="16"/>
                  </a:lnTo>
                  <a:lnTo>
                    <a:pt x="34" y="16"/>
                  </a:lnTo>
                  <a:lnTo>
                    <a:pt x="36" y="16"/>
                  </a:lnTo>
                  <a:lnTo>
                    <a:pt x="36" y="14"/>
                  </a:lnTo>
                  <a:lnTo>
                    <a:pt x="36" y="14"/>
                  </a:lnTo>
                  <a:lnTo>
                    <a:pt x="36" y="10"/>
                  </a:lnTo>
                  <a:lnTo>
                    <a:pt x="38" y="10"/>
                  </a:lnTo>
                  <a:lnTo>
                    <a:pt x="36" y="10"/>
                  </a:lnTo>
                  <a:lnTo>
                    <a:pt x="36" y="10"/>
                  </a:lnTo>
                  <a:lnTo>
                    <a:pt x="34" y="8"/>
                  </a:lnTo>
                  <a:lnTo>
                    <a:pt x="34" y="4"/>
                  </a:lnTo>
                  <a:lnTo>
                    <a:pt x="34" y="4"/>
                  </a:lnTo>
                  <a:lnTo>
                    <a:pt x="34" y="2"/>
                  </a:lnTo>
                  <a:lnTo>
                    <a:pt x="38" y="2"/>
                  </a:lnTo>
                  <a:lnTo>
                    <a:pt x="38" y="2"/>
                  </a:lnTo>
                  <a:lnTo>
                    <a:pt x="42" y="2"/>
                  </a:lnTo>
                  <a:lnTo>
                    <a:pt x="44" y="2"/>
                  </a:lnTo>
                  <a:lnTo>
                    <a:pt x="44" y="2"/>
                  </a:lnTo>
                  <a:lnTo>
                    <a:pt x="48" y="0"/>
                  </a:lnTo>
                  <a:lnTo>
                    <a:pt x="52" y="0"/>
                  </a:lnTo>
                  <a:lnTo>
                    <a:pt x="54" y="0"/>
                  </a:lnTo>
                  <a:lnTo>
                    <a:pt x="54" y="0"/>
                  </a:lnTo>
                  <a:lnTo>
                    <a:pt x="52" y="2"/>
                  </a:lnTo>
                  <a:lnTo>
                    <a:pt x="54" y="4"/>
                  </a:lnTo>
                  <a:lnTo>
                    <a:pt x="54" y="4"/>
                  </a:lnTo>
                  <a:lnTo>
                    <a:pt x="52" y="6"/>
                  </a:lnTo>
                  <a:lnTo>
                    <a:pt x="54" y="6"/>
                  </a:lnTo>
                  <a:lnTo>
                    <a:pt x="54" y="8"/>
                  </a:lnTo>
                  <a:lnTo>
                    <a:pt x="52" y="10"/>
                  </a:lnTo>
                  <a:lnTo>
                    <a:pt x="52" y="10"/>
                  </a:lnTo>
                  <a:lnTo>
                    <a:pt x="50" y="16"/>
                  </a:lnTo>
                  <a:lnTo>
                    <a:pt x="50" y="18"/>
                  </a:lnTo>
                  <a:lnTo>
                    <a:pt x="52" y="20"/>
                  </a:lnTo>
                  <a:lnTo>
                    <a:pt x="52" y="20"/>
                  </a:lnTo>
                  <a:lnTo>
                    <a:pt x="54" y="20"/>
                  </a:lnTo>
                  <a:lnTo>
                    <a:pt x="54" y="22"/>
                  </a:lnTo>
                  <a:lnTo>
                    <a:pt x="50" y="26"/>
                  </a:lnTo>
                  <a:lnTo>
                    <a:pt x="50" y="26"/>
                  </a:lnTo>
                  <a:lnTo>
                    <a:pt x="46" y="28"/>
                  </a:lnTo>
                  <a:lnTo>
                    <a:pt x="40" y="28"/>
                  </a:lnTo>
                  <a:lnTo>
                    <a:pt x="40" y="28"/>
                  </a:lnTo>
                  <a:lnTo>
                    <a:pt x="38" y="30"/>
                  </a:lnTo>
                  <a:lnTo>
                    <a:pt x="38" y="32"/>
                  </a:lnTo>
                  <a:lnTo>
                    <a:pt x="38" y="32"/>
                  </a:lnTo>
                  <a:lnTo>
                    <a:pt x="38" y="34"/>
                  </a:lnTo>
                  <a:lnTo>
                    <a:pt x="38" y="38"/>
                  </a:lnTo>
                  <a:lnTo>
                    <a:pt x="36" y="40"/>
                  </a:lnTo>
                  <a:lnTo>
                    <a:pt x="36" y="42"/>
                  </a:lnTo>
                  <a:lnTo>
                    <a:pt x="36" y="42"/>
                  </a:lnTo>
                  <a:lnTo>
                    <a:pt x="38" y="44"/>
                  </a:lnTo>
                  <a:lnTo>
                    <a:pt x="36" y="44"/>
                  </a:lnTo>
                  <a:lnTo>
                    <a:pt x="36" y="46"/>
                  </a:lnTo>
                  <a:lnTo>
                    <a:pt x="36" y="48"/>
                  </a:lnTo>
                  <a:lnTo>
                    <a:pt x="36" y="48"/>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New Zealand"/>
            <p:cNvSpPr>
              <a:spLocks/>
            </p:cNvSpPr>
            <p:nvPr/>
          </p:nvSpPr>
          <p:spPr bwMode="auto">
            <a:xfrm>
              <a:off x="8232476" y="4710905"/>
              <a:ext cx="510646" cy="365126"/>
            </a:xfrm>
            <a:custGeom>
              <a:avLst/>
              <a:gdLst/>
              <a:ahLst/>
              <a:cxnLst/>
              <a:rect l="l" t="t" r="r" b="b"/>
              <a:pathLst>
                <a:path w="510646" h="365126">
                  <a:moveTo>
                    <a:pt x="227542" y="275168"/>
                  </a:moveTo>
                  <a:lnTo>
                    <a:pt x="227542" y="277814"/>
                  </a:lnTo>
                  <a:lnTo>
                    <a:pt x="230188" y="277814"/>
                  </a:lnTo>
                  <a:lnTo>
                    <a:pt x="230188" y="275168"/>
                  </a:lnTo>
                  <a:close/>
                  <a:moveTo>
                    <a:pt x="293688" y="185209"/>
                  </a:moveTo>
                  <a:lnTo>
                    <a:pt x="301625" y="187855"/>
                  </a:lnTo>
                  <a:lnTo>
                    <a:pt x="296334" y="187855"/>
                  </a:lnTo>
                  <a:lnTo>
                    <a:pt x="291042" y="187855"/>
                  </a:lnTo>
                  <a:lnTo>
                    <a:pt x="291042" y="190501"/>
                  </a:lnTo>
                  <a:lnTo>
                    <a:pt x="291042" y="193147"/>
                  </a:lnTo>
                  <a:lnTo>
                    <a:pt x="293688" y="193147"/>
                  </a:lnTo>
                  <a:lnTo>
                    <a:pt x="293688" y="195793"/>
                  </a:lnTo>
                  <a:lnTo>
                    <a:pt x="291042" y="198438"/>
                  </a:lnTo>
                  <a:lnTo>
                    <a:pt x="293688" y="201084"/>
                  </a:lnTo>
                  <a:lnTo>
                    <a:pt x="296334" y="198438"/>
                  </a:lnTo>
                  <a:lnTo>
                    <a:pt x="301625" y="195793"/>
                  </a:lnTo>
                  <a:lnTo>
                    <a:pt x="304271" y="195793"/>
                  </a:lnTo>
                  <a:lnTo>
                    <a:pt x="306917" y="193147"/>
                  </a:lnTo>
                  <a:lnTo>
                    <a:pt x="309563" y="190501"/>
                  </a:lnTo>
                  <a:lnTo>
                    <a:pt x="312208" y="190501"/>
                  </a:lnTo>
                  <a:lnTo>
                    <a:pt x="312208" y="193147"/>
                  </a:lnTo>
                  <a:lnTo>
                    <a:pt x="309563" y="193147"/>
                  </a:lnTo>
                  <a:lnTo>
                    <a:pt x="309563" y="195793"/>
                  </a:lnTo>
                  <a:lnTo>
                    <a:pt x="312208" y="195793"/>
                  </a:lnTo>
                  <a:lnTo>
                    <a:pt x="314854" y="195793"/>
                  </a:lnTo>
                  <a:lnTo>
                    <a:pt x="317500" y="198438"/>
                  </a:lnTo>
                  <a:lnTo>
                    <a:pt x="314854" y="198438"/>
                  </a:lnTo>
                  <a:lnTo>
                    <a:pt x="317500" y="201084"/>
                  </a:lnTo>
                  <a:lnTo>
                    <a:pt x="320146" y="201084"/>
                  </a:lnTo>
                  <a:lnTo>
                    <a:pt x="317500" y="203730"/>
                  </a:lnTo>
                  <a:lnTo>
                    <a:pt x="314854" y="203730"/>
                  </a:lnTo>
                  <a:lnTo>
                    <a:pt x="312208" y="206376"/>
                  </a:lnTo>
                  <a:lnTo>
                    <a:pt x="309563" y="206376"/>
                  </a:lnTo>
                  <a:lnTo>
                    <a:pt x="312208" y="209022"/>
                  </a:lnTo>
                  <a:lnTo>
                    <a:pt x="312208" y="211668"/>
                  </a:lnTo>
                  <a:lnTo>
                    <a:pt x="309563" y="216959"/>
                  </a:lnTo>
                  <a:lnTo>
                    <a:pt x="296334" y="224897"/>
                  </a:lnTo>
                  <a:lnTo>
                    <a:pt x="293688" y="227543"/>
                  </a:lnTo>
                  <a:lnTo>
                    <a:pt x="291042" y="230188"/>
                  </a:lnTo>
                  <a:lnTo>
                    <a:pt x="283104" y="232834"/>
                  </a:lnTo>
                  <a:lnTo>
                    <a:pt x="280458" y="235480"/>
                  </a:lnTo>
                  <a:lnTo>
                    <a:pt x="283104" y="235480"/>
                  </a:lnTo>
                  <a:lnTo>
                    <a:pt x="283104" y="238126"/>
                  </a:lnTo>
                  <a:lnTo>
                    <a:pt x="280458" y="238126"/>
                  </a:lnTo>
                  <a:lnTo>
                    <a:pt x="277813" y="238126"/>
                  </a:lnTo>
                  <a:lnTo>
                    <a:pt x="275167" y="238126"/>
                  </a:lnTo>
                  <a:lnTo>
                    <a:pt x="275167" y="240772"/>
                  </a:lnTo>
                  <a:lnTo>
                    <a:pt x="261938" y="251355"/>
                  </a:lnTo>
                  <a:lnTo>
                    <a:pt x="259292" y="251355"/>
                  </a:lnTo>
                  <a:lnTo>
                    <a:pt x="259292" y="254001"/>
                  </a:lnTo>
                  <a:lnTo>
                    <a:pt x="256646" y="256647"/>
                  </a:lnTo>
                  <a:lnTo>
                    <a:pt x="254000" y="256647"/>
                  </a:lnTo>
                  <a:lnTo>
                    <a:pt x="251354" y="259293"/>
                  </a:lnTo>
                  <a:lnTo>
                    <a:pt x="243417" y="259293"/>
                  </a:lnTo>
                  <a:lnTo>
                    <a:pt x="235479" y="259293"/>
                  </a:lnTo>
                  <a:lnTo>
                    <a:pt x="232833" y="261939"/>
                  </a:lnTo>
                  <a:lnTo>
                    <a:pt x="230188" y="267230"/>
                  </a:lnTo>
                  <a:lnTo>
                    <a:pt x="227542" y="267230"/>
                  </a:lnTo>
                  <a:lnTo>
                    <a:pt x="227542" y="269876"/>
                  </a:lnTo>
                  <a:lnTo>
                    <a:pt x="227542" y="272522"/>
                  </a:lnTo>
                  <a:lnTo>
                    <a:pt x="230188" y="272522"/>
                  </a:lnTo>
                  <a:lnTo>
                    <a:pt x="232833" y="272522"/>
                  </a:lnTo>
                  <a:lnTo>
                    <a:pt x="232833" y="275168"/>
                  </a:lnTo>
                  <a:lnTo>
                    <a:pt x="235479" y="275168"/>
                  </a:lnTo>
                  <a:lnTo>
                    <a:pt x="235479" y="277814"/>
                  </a:lnTo>
                  <a:lnTo>
                    <a:pt x="235479" y="280459"/>
                  </a:lnTo>
                  <a:lnTo>
                    <a:pt x="232833" y="280459"/>
                  </a:lnTo>
                  <a:lnTo>
                    <a:pt x="230188" y="280459"/>
                  </a:lnTo>
                  <a:lnTo>
                    <a:pt x="232833" y="283105"/>
                  </a:lnTo>
                  <a:lnTo>
                    <a:pt x="230188" y="283105"/>
                  </a:lnTo>
                  <a:lnTo>
                    <a:pt x="227542" y="283105"/>
                  </a:lnTo>
                  <a:lnTo>
                    <a:pt x="224896" y="283105"/>
                  </a:lnTo>
                  <a:lnTo>
                    <a:pt x="222250" y="280459"/>
                  </a:lnTo>
                  <a:lnTo>
                    <a:pt x="219604" y="280459"/>
                  </a:lnTo>
                  <a:lnTo>
                    <a:pt x="219604" y="277814"/>
                  </a:lnTo>
                  <a:lnTo>
                    <a:pt x="216958" y="277814"/>
                  </a:lnTo>
                  <a:lnTo>
                    <a:pt x="209021" y="277814"/>
                  </a:lnTo>
                  <a:lnTo>
                    <a:pt x="193146" y="283105"/>
                  </a:lnTo>
                  <a:lnTo>
                    <a:pt x="174625" y="293689"/>
                  </a:lnTo>
                  <a:lnTo>
                    <a:pt x="171979" y="296334"/>
                  </a:lnTo>
                  <a:lnTo>
                    <a:pt x="169333" y="298980"/>
                  </a:lnTo>
                  <a:lnTo>
                    <a:pt x="164042" y="304272"/>
                  </a:lnTo>
                  <a:lnTo>
                    <a:pt x="161396" y="306918"/>
                  </a:lnTo>
                  <a:lnTo>
                    <a:pt x="161396" y="312209"/>
                  </a:lnTo>
                  <a:lnTo>
                    <a:pt x="158750" y="314855"/>
                  </a:lnTo>
                  <a:lnTo>
                    <a:pt x="150813" y="317501"/>
                  </a:lnTo>
                  <a:lnTo>
                    <a:pt x="142875" y="322793"/>
                  </a:lnTo>
                  <a:lnTo>
                    <a:pt x="140229" y="325439"/>
                  </a:lnTo>
                  <a:lnTo>
                    <a:pt x="137584" y="328085"/>
                  </a:lnTo>
                  <a:lnTo>
                    <a:pt x="132292" y="330730"/>
                  </a:lnTo>
                  <a:lnTo>
                    <a:pt x="124354" y="333376"/>
                  </a:lnTo>
                  <a:lnTo>
                    <a:pt x="121709" y="338668"/>
                  </a:lnTo>
                  <a:lnTo>
                    <a:pt x="119063" y="338668"/>
                  </a:lnTo>
                  <a:lnTo>
                    <a:pt x="116417" y="341314"/>
                  </a:lnTo>
                  <a:lnTo>
                    <a:pt x="108479" y="343960"/>
                  </a:lnTo>
                  <a:lnTo>
                    <a:pt x="105834" y="349251"/>
                  </a:lnTo>
                  <a:lnTo>
                    <a:pt x="103188" y="351897"/>
                  </a:lnTo>
                  <a:lnTo>
                    <a:pt x="95250" y="357189"/>
                  </a:lnTo>
                  <a:lnTo>
                    <a:pt x="92604" y="359835"/>
                  </a:lnTo>
                  <a:lnTo>
                    <a:pt x="89959" y="359835"/>
                  </a:lnTo>
                  <a:lnTo>
                    <a:pt x="84667" y="359835"/>
                  </a:lnTo>
                  <a:lnTo>
                    <a:pt x="82021" y="359835"/>
                  </a:lnTo>
                  <a:lnTo>
                    <a:pt x="79375" y="362480"/>
                  </a:lnTo>
                  <a:lnTo>
                    <a:pt x="76729" y="362480"/>
                  </a:lnTo>
                  <a:lnTo>
                    <a:pt x="71438" y="365126"/>
                  </a:lnTo>
                  <a:lnTo>
                    <a:pt x="63500" y="365126"/>
                  </a:lnTo>
                  <a:lnTo>
                    <a:pt x="58209" y="362480"/>
                  </a:lnTo>
                  <a:lnTo>
                    <a:pt x="52917" y="362480"/>
                  </a:lnTo>
                  <a:lnTo>
                    <a:pt x="42334" y="362480"/>
                  </a:lnTo>
                  <a:lnTo>
                    <a:pt x="37042" y="362480"/>
                  </a:lnTo>
                  <a:lnTo>
                    <a:pt x="37042" y="359835"/>
                  </a:lnTo>
                  <a:lnTo>
                    <a:pt x="37042" y="357189"/>
                  </a:lnTo>
                  <a:lnTo>
                    <a:pt x="34396" y="357189"/>
                  </a:lnTo>
                  <a:lnTo>
                    <a:pt x="29104" y="357189"/>
                  </a:lnTo>
                  <a:lnTo>
                    <a:pt x="26459" y="354543"/>
                  </a:lnTo>
                  <a:lnTo>
                    <a:pt x="23813" y="354543"/>
                  </a:lnTo>
                  <a:lnTo>
                    <a:pt x="21167" y="354543"/>
                  </a:lnTo>
                  <a:lnTo>
                    <a:pt x="18521" y="357189"/>
                  </a:lnTo>
                  <a:lnTo>
                    <a:pt x="18521" y="354543"/>
                  </a:lnTo>
                  <a:lnTo>
                    <a:pt x="10584" y="354543"/>
                  </a:lnTo>
                  <a:lnTo>
                    <a:pt x="5292" y="351897"/>
                  </a:lnTo>
                  <a:lnTo>
                    <a:pt x="0" y="349251"/>
                  </a:lnTo>
                  <a:lnTo>
                    <a:pt x="0" y="346605"/>
                  </a:lnTo>
                  <a:lnTo>
                    <a:pt x="2646" y="346605"/>
                  </a:lnTo>
                  <a:lnTo>
                    <a:pt x="10584" y="346605"/>
                  </a:lnTo>
                  <a:lnTo>
                    <a:pt x="10584" y="343960"/>
                  </a:lnTo>
                  <a:lnTo>
                    <a:pt x="7938" y="343960"/>
                  </a:lnTo>
                  <a:lnTo>
                    <a:pt x="5292" y="341314"/>
                  </a:lnTo>
                  <a:lnTo>
                    <a:pt x="7938" y="338668"/>
                  </a:lnTo>
                  <a:lnTo>
                    <a:pt x="2646" y="338668"/>
                  </a:lnTo>
                  <a:lnTo>
                    <a:pt x="2646" y="336022"/>
                  </a:lnTo>
                  <a:lnTo>
                    <a:pt x="7938" y="333376"/>
                  </a:lnTo>
                  <a:lnTo>
                    <a:pt x="10584" y="330730"/>
                  </a:lnTo>
                  <a:lnTo>
                    <a:pt x="18521" y="328085"/>
                  </a:lnTo>
                  <a:lnTo>
                    <a:pt x="18521" y="325439"/>
                  </a:lnTo>
                  <a:lnTo>
                    <a:pt x="23813" y="325439"/>
                  </a:lnTo>
                  <a:lnTo>
                    <a:pt x="26459" y="322793"/>
                  </a:lnTo>
                  <a:lnTo>
                    <a:pt x="26459" y="320147"/>
                  </a:lnTo>
                  <a:lnTo>
                    <a:pt x="29104" y="320147"/>
                  </a:lnTo>
                  <a:lnTo>
                    <a:pt x="39688" y="314855"/>
                  </a:lnTo>
                  <a:lnTo>
                    <a:pt x="47625" y="312209"/>
                  </a:lnTo>
                  <a:lnTo>
                    <a:pt x="55563" y="309564"/>
                  </a:lnTo>
                  <a:lnTo>
                    <a:pt x="60854" y="309564"/>
                  </a:lnTo>
                  <a:lnTo>
                    <a:pt x="66146" y="306918"/>
                  </a:lnTo>
                  <a:lnTo>
                    <a:pt x="71438" y="301626"/>
                  </a:lnTo>
                  <a:lnTo>
                    <a:pt x="74084" y="301626"/>
                  </a:lnTo>
                  <a:lnTo>
                    <a:pt x="79375" y="298980"/>
                  </a:lnTo>
                  <a:lnTo>
                    <a:pt x="87313" y="296334"/>
                  </a:lnTo>
                  <a:lnTo>
                    <a:pt x="92604" y="291043"/>
                  </a:lnTo>
                  <a:lnTo>
                    <a:pt x="97896" y="288397"/>
                  </a:lnTo>
                  <a:lnTo>
                    <a:pt x="100542" y="288397"/>
                  </a:lnTo>
                  <a:lnTo>
                    <a:pt x="108479" y="288397"/>
                  </a:lnTo>
                  <a:lnTo>
                    <a:pt x="111125" y="285751"/>
                  </a:lnTo>
                  <a:lnTo>
                    <a:pt x="116417" y="283105"/>
                  </a:lnTo>
                  <a:lnTo>
                    <a:pt x="121709" y="280459"/>
                  </a:lnTo>
                  <a:lnTo>
                    <a:pt x="127000" y="277814"/>
                  </a:lnTo>
                  <a:lnTo>
                    <a:pt x="140229" y="272522"/>
                  </a:lnTo>
                  <a:lnTo>
                    <a:pt x="142875" y="269876"/>
                  </a:lnTo>
                  <a:lnTo>
                    <a:pt x="145521" y="269876"/>
                  </a:lnTo>
                  <a:lnTo>
                    <a:pt x="145521" y="272522"/>
                  </a:lnTo>
                  <a:lnTo>
                    <a:pt x="148167" y="269876"/>
                  </a:lnTo>
                  <a:lnTo>
                    <a:pt x="156104" y="267230"/>
                  </a:lnTo>
                  <a:lnTo>
                    <a:pt x="161396" y="264584"/>
                  </a:lnTo>
                  <a:lnTo>
                    <a:pt x="166688" y="261939"/>
                  </a:lnTo>
                  <a:lnTo>
                    <a:pt x="174625" y="256647"/>
                  </a:lnTo>
                  <a:lnTo>
                    <a:pt x="182563" y="254001"/>
                  </a:lnTo>
                  <a:lnTo>
                    <a:pt x="187854" y="248709"/>
                  </a:lnTo>
                  <a:lnTo>
                    <a:pt x="193146" y="248709"/>
                  </a:lnTo>
                  <a:lnTo>
                    <a:pt x="206375" y="243418"/>
                  </a:lnTo>
                  <a:lnTo>
                    <a:pt x="214313" y="238126"/>
                  </a:lnTo>
                  <a:lnTo>
                    <a:pt x="216958" y="235480"/>
                  </a:lnTo>
                  <a:lnTo>
                    <a:pt x="219604" y="235480"/>
                  </a:lnTo>
                  <a:lnTo>
                    <a:pt x="222250" y="235480"/>
                  </a:lnTo>
                  <a:lnTo>
                    <a:pt x="227542" y="230188"/>
                  </a:lnTo>
                  <a:lnTo>
                    <a:pt x="232833" y="222251"/>
                  </a:lnTo>
                  <a:lnTo>
                    <a:pt x="238125" y="216959"/>
                  </a:lnTo>
                  <a:lnTo>
                    <a:pt x="240771" y="214313"/>
                  </a:lnTo>
                  <a:lnTo>
                    <a:pt x="248708" y="214313"/>
                  </a:lnTo>
                  <a:lnTo>
                    <a:pt x="259292" y="209022"/>
                  </a:lnTo>
                  <a:lnTo>
                    <a:pt x="264583" y="206376"/>
                  </a:lnTo>
                  <a:lnTo>
                    <a:pt x="269875" y="203730"/>
                  </a:lnTo>
                  <a:lnTo>
                    <a:pt x="275167" y="195793"/>
                  </a:lnTo>
                  <a:lnTo>
                    <a:pt x="283104" y="190501"/>
                  </a:lnTo>
                  <a:lnTo>
                    <a:pt x="288396" y="187855"/>
                  </a:lnTo>
                  <a:close/>
                  <a:moveTo>
                    <a:pt x="444500" y="37041"/>
                  </a:moveTo>
                  <a:lnTo>
                    <a:pt x="444500" y="39687"/>
                  </a:lnTo>
                  <a:lnTo>
                    <a:pt x="447146" y="39687"/>
                  </a:lnTo>
                  <a:close/>
                  <a:moveTo>
                    <a:pt x="425979" y="0"/>
                  </a:moveTo>
                  <a:lnTo>
                    <a:pt x="431271" y="0"/>
                  </a:lnTo>
                  <a:lnTo>
                    <a:pt x="431271" y="2646"/>
                  </a:lnTo>
                  <a:lnTo>
                    <a:pt x="431271" y="5291"/>
                  </a:lnTo>
                  <a:lnTo>
                    <a:pt x="433917" y="7937"/>
                  </a:lnTo>
                  <a:lnTo>
                    <a:pt x="433917" y="10583"/>
                  </a:lnTo>
                  <a:lnTo>
                    <a:pt x="433917" y="13229"/>
                  </a:lnTo>
                  <a:lnTo>
                    <a:pt x="436563" y="13229"/>
                  </a:lnTo>
                  <a:lnTo>
                    <a:pt x="439208" y="13229"/>
                  </a:lnTo>
                  <a:lnTo>
                    <a:pt x="436563" y="15875"/>
                  </a:lnTo>
                  <a:lnTo>
                    <a:pt x="439208" y="15875"/>
                  </a:lnTo>
                  <a:lnTo>
                    <a:pt x="441854" y="15875"/>
                  </a:lnTo>
                  <a:lnTo>
                    <a:pt x="444500" y="18521"/>
                  </a:lnTo>
                  <a:lnTo>
                    <a:pt x="441854" y="18521"/>
                  </a:lnTo>
                  <a:lnTo>
                    <a:pt x="444500" y="21166"/>
                  </a:lnTo>
                  <a:lnTo>
                    <a:pt x="447146" y="21166"/>
                  </a:lnTo>
                  <a:lnTo>
                    <a:pt x="447146" y="23812"/>
                  </a:lnTo>
                  <a:lnTo>
                    <a:pt x="449792" y="26458"/>
                  </a:lnTo>
                  <a:lnTo>
                    <a:pt x="449792" y="29104"/>
                  </a:lnTo>
                  <a:lnTo>
                    <a:pt x="452438" y="31750"/>
                  </a:lnTo>
                  <a:lnTo>
                    <a:pt x="452438" y="37041"/>
                  </a:lnTo>
                  <a:lnTo>
                    <a:pt x="449792" y="37041"/>
                  </a:lnTo>
                  <a:lnTo>
                    <a:pt x="449792" y="39687"/>
                  </a:lnTo>
                  <a:lnTo>
                    <a:pt x="449792" y="42333"/>
                  </a:lnTo>
                  <a:lnTo>
                    <a:pt x="447146" y="42333"/>
                  </a:lnTo>
                  <a:lnTo>
                    <a:pt x="444500" y="44979"/>
                  </a:lnTo>
                  <a:lnTo>
                    <a:pt x="444500" y="47625"/>
                  </a:lnTo>
                  <a:lnTo>
                    <a:pt x="444500" y="50271"/>
                  </a:lnTo>
                  <a:lnTo>
                    <a:pt x="444500" y="52916"/>
                  </a:lnTo>
                  <a:lnTo>
                    <a:pt x="444500" y="55562"/>
                  </a:lnTo>
                  <a:lnTo>
                    <a:pt x="447146" y="55562"/>
                  </a:lnTo>
                  <a:lnTo>
                    <a:pt x="444500" y="58208"/>
                  </a:lnTo>
                  <a:lnTo>
                    <a:pt x="441854" y="60854"/>
                  </a:lnTo>
                  <a:lnTo>
                    <a:pt x="441854" y="63500"/>
                  </a:lnTo>
                  <a:lnTo>
                    <a:pt x="441854" y="66146"/>
                  </a:lnTo>
                  <a:lnTo>
                    <a:pt x="441854" y="68791"/>
                  </a:lnTo>
                  <a:lnTo>
                    <a:pt x="441854" y="71437"/>
                  </a:lnTo>
                  <a:lnTo>
                    <a:pt x="439208" y="74083"/>
                  </a:lnTo>
                  <a:lnTo>
                    <a:pt x="436563" y="71437"/>
                  </a:lnTo>
                  <a:lnTo>
                    <a:pt x="436563" y="74083"/>
                  </a:lnTo>
                  <a:lnTo>
                    <a:pt x="439208" y="74083"/>
                  </a:lnTo>
                  <a:lnTo>
                    <a:pt x="439208" y="76729"/>
                  </a:lnTo>
                  <a:lnTo>
                    <a:pt x="441854" y="74083"/>
                  </a:lnTo>
                  <a:lnTo>
                    <a:pt x="444500" y="74083"/>
                  </a:lnTo>
                  <a:lnTo>
                    <a:pt x="444500" y="76729"/>
                  </a:lnTo>
                  <a:lnTo>
                    <a:pt x="447146" y="76729"/>
                  </a:lnTo>
                  <a:lnTo>
                    <a:pt x="447146" y="79375"/>
                  </a:lnTo>
                  <a:lnTo>
                    <a:pt x="447146" y="82021"/>
                  </a:lnTo>
                  <a:lnTo>
                    <a:pt x="447146" y="84666"/>
                  </a:lnTo>
                  <a:lnTo>
                    <a:pt x="449792" y="84666"/>
                  </a:lnTo>
                  <a:lnTo>
                    <a:pt x="452438" y="84666"/>
                  </a:lnTo>
                  <a:lnTo>
                    <a:pt x="452438" y="82021"/>
                  </a:lnTo>
                  <a:lnTo>
                    <a:pt x="452438" y="79375"/>
                  </a:lnTo>
                  <a:lnTo>
                    <a:pt x="452438" y="76729"/>
                  </a:lnTo>
                  <a:lnTo>
                    <a:pt x="452438" y="74083"/>
                  </a:lnTo>
                  <a:lnTo>
                    <a:pt x="452438" y="71437"/>
                  </a:lnTo>
                  <a:lnTo>
                    <a:pt x="452438" y="68791"/>
                  </a:lnTo>
                  <a:lnTo>
                    <a:pt x="452438" y="66146"/>
                  </a:lnTo>
                  <a:lnTo>
                    <a:pt x="455084" y="68791"/>
                  </a:lnTo>
                  <a:lnTo>
                    <a:pt x="457729" y="68791"/>
                  </a:lnTo>
                  <a:lnTo>
                    <a:pt x="455084" y="71437"/>
                  </a:lnTo>
                  <a:lnTo>
                    <a:pt x="457729" y="71437"/>
                  </a:lnTo>
                  <a:lnTo>
                    <a:pt x="460375" y="71437"/>
                  </a:lnTo>
                  <a:lnTo>
                    <a:pt x="457729" y="74083"/>
                  </a:lnTo>
                  <a:lnTo>
                    <a:pt x="455084" y="74083"/>
                  </a:lnTo>
                  <a:lnTo>
                    <a:pt x="457729" y="76729"/>
                  </a:lnTo>
                  <a:lnTo>
                    <a:pt x="457729" y="79375"/>
                  </a:lnTo>
                  <a:lnTo>
                    <a:pt x="457729" y="87312"/>
                  </a:lnTo>
                  <a:lnTo>
                    <a:pt x="455084" y="89958"/>
                  </a:lnTo>
                  <a:lnTo>
                    <a:pt x="457729" y="92604"/>
                  </a:lnTo>
                  <a:lnTo>
                    <a:pt x="457729" y="95250"/>
                  </a:lnTo>
                  <a:lnTo>
                    <a:pt x="460375" y="97896"/>
                  </a:lnTo>
                  <a:lnTo>
                    <a:pt x="468313" y="100542"/>
                  </a:lnTo>
                  <a:lnTo>
                    <a:pt x="473604" y="103187"/>
                  </a:lnTo>
                  <a:lnTo>
                    <a:pt x="478896" y="103187"/>
                  </a:lnTo>
                  <a:lnTo>
                    <a:pt x="484188" y="100542"/>
                  </a:lnTo>
                  <a:lnTo>
                    <a:pt x="489479" y="97896"/>
                  </a:lnTo>
                  <a:lnTo>
                    <a:pt x="492125" y="97896"/>
                  </a:lnTo>
                  <a:lnTo>
                    <a:pt x="500063" y="95250"/>
                  </a:lnTo>
                  <a:lnTo>
                    <a:pt x="502708" y="95250"/>
                  </a:lnTo>
                  <a:lnTo>
                    <a:pt x="508000" y="95250"/>
                  </a:lnTo>
                  <a:lnTo>
                    <a:pt x="508000" y="97896"/>
                  </a:lnTo>
                  <a:lnTo>
                    <a:pt x="510646" y="100542"/>
                  </a:lnTo>
                  <a:lnTo>
                    <a:pt x="508000" y="103187"/>
                  </a:lnTo>
                  <a:lnTo>
                    <a:pt x="505354" y="105833"/>
                  </a:lnTo>
                  <a:lnTo>
                    <a:pt x="505354" y="108479"/>
                  </a:lnTo>
                  <a:lnTo>
                    <a:pt x="502708" y="111125"/>
                  </a:lnTo>
                  <a:lnTo>
                    <a:pt x="502708" y="113771"/>
                  </a:lnTo>
                  <a:lnTo>
                    <a:pt x="500063" y="116417"/>
                  </a:lnTo>
                  <a:lnTo>
                    <a:pt x="497417" y="119062"/>
                  </a:lnTo>
                  <a:lnTo>
                    <a:pt x="497417" y="121708"/>
                  </a:lnTo>
                  <a:lnTo>
                    <a:pt x="489479" y="124354"/>
                  </a:lnTo>
                  <a:lnTo>
                    <a:pt x="486834" y="124354"/>
                  </a:lnTo>
                  <a:lnTo>
                    <a:pt x="484188" y="124354"/>
                  </a:lnTo>
                  <a:lnTo>
                    <a:pt x="481542" y="127000"/>
                  </a:lnTo>
                  <a:lnTo>
                    <a:pt x="478896" y="132292"/>
                  </a:lnTo>
                  <a:lnTo>
                    <a:pt x="476250" y="137583"/>
                  </a:lnTo>
                  <a:lnTo>
                    <a:pt x="473604" y="140229"/>
                  </a:lnTo>
                  <a:lnTo>
                    <a:pt x="476250" y="140229"/>
                  </a:lnTo>
                  <a:lnTo>
                    <a:pt x="478896" y="142875"/>
                  </a:lnTo>
                  <a:lnTo>
                    <a:pt x="476250" y="142875"/>
                  </a:lnTo>
                  <a:lnTo>
                    <a:pt x="470958" y="148167"/>
                  </a:lnTo>
                  <a:lnTo>
                    <a:pt x="470958" y="145521"/>
                  </a:lnTo>
                  <a:lnTo>
                    <a:pt x="470958" y="142875"/>
                  </a:lnTo>
                  <a:lnTo>
                    <a:pt x="473604" y="142875"/>
                  </a:lnTo>
                  <a:lnTo>
                    <a:pt x="470958" y="140229"/>
                  </a:lnTo>
                  <a:lnTo>
                    <a:pt x="455084" y="140229"/>
                  </a:lnTo>
                  <a:lnTo>
                    <a:pt x="436563" y="145521"/>
                  </a:lnTo>
                  <a:lnTo>
                    <a:pt x="433917" y="148167"/>
                  </a:lnTo>
                  <a:lnTo>
                    <a:pt x="433917" y="150812"/>
                  </a:lnTo>
                  <a:lnTo>
                    <a:pt x="428625" y="153458"/>
                  </a:lnTo>
                  <a:lnTo>
                    <a:pt x="428625" y="156104"/>
                  </a:lnTo>
                  <a:lnTo>
                    <a:pt x="425979" y="158750"/>
                  </a:lnTo>
                  <a:lnTo>
                    <a:pt x="425979" y="161396"/>
                  </a:lnTo>
                  <a:lnTo>
                    <a:pt x="428625" y="161396"/>
                  </a:lnTo>
                  <a:lnTo>
                    <a:pt x="428625" y="164042"/>
                  </a:lnTo>
                  <a:lnTo>
                    <a:pt x="425979" y="164042"/>
                  </a:lnTo>
                  <a:lnTo>
                    <a:pt x="423334" y="164042"/>
                  </a:lnTo>
                  <a:lnTo>
                    <a:pt x="420688" y="166687"/>
                  </a:lnTo>
                  <a:lnTo>
                    <a:pt x="418042" y="169333"/>
                  </a:lnTo>
                  <a:lnTo>
                    <a:pt x="415396" y="171979"/>
                  </a:lnTo>
                  <a:lnTo>
                    <a:pt x="412750" y="174625"/>
                  </a:lnTo>
                  <a:lnTo>
                    <a:pt x="410104" y="174625"/>
                  </a:lnTo>
                  <a:lnTo>
                    <a:pt x="407458" y="174625"/>
                  </a:lnTo>
                  <a:lnTo>
                    <a:pt x="404813" y="177271"/>
                  </a:lnTo>
                  <a:lnTo>
                    <a:pt x="402167" y="182562"/>
                  </a:lnTo>
                  <a:lnTo>
                    <a:pt x="396875" y="182562"/>
                  </a:lnTo>
                  <a:lnTo>
                    <a:pt x="394229" y="185208"/>
                  </a:lnTo>
                  <a:lnTo>
                    <a:pt x="391584" y="185208"/>
                  </a:lnTo>
                  <a:lnTo>
                    <a:pt x="388938" y="187855"/>
                  </a:lnTo>
                  <a:lnTo>
                    <a:pt x="381000" y="193146"/>
                  </a:lnTo>
                  <a:lnTo>
                    <a:pt x="378354" y="195792"/>
                  </a:lnTo>
                  <a:lnTo>
                    <a:pt x="375708" y="198438"/>
                  </a:lnTo>
                  <a:lnTo>
                    <a:pt x="373063" y="201084"/>
                  </a:lnTo>
                  <a:lnTo>
                    <a:pt x="367771" y="203730"/>
                  </a:lnTo>
                  <a:lnTo>
                    <a:pt x="359834" y="206375"/>
                  </a:lnTo>
                  <a:lnTo>
                    <a:pt x="354542" y="209021"/>
                  </a:lnTo>
                  <a:lnTo>
                    <a:pt x="354542" y="206375"/>
                  </a:lnTo>
                  <a:lnTo>
                    <a:pt x="351896" y="203730"/>
                  </a:lnTo>
                  <a:lnTo>
                    <a:pt x="349250" y="203730"/>
                  </a:lnTo>
                  <a:lnTo>
                    <a:pt x="346604" y="206375"/>
                  </a:lnTo>
                  <a:lnTo>
                    <a:pt x="346604" y="203730"/>
                  </a:lnTo>
                  <a:lnTo>
                    <a:pt x="346604" y="201084"/>
                  </a:lnTo>
                  <a:lnTo>
                    <a:pt x="346604" y="198438"/>
                  </a:lnTo>
                  <a:lnTo>
                    <a:pt x="343958" y="198438"/>
                  </a:lnTo>
                  <a:lnTo>
                    <a:pt x="343958" y="201084"/>
                  </a:lnTo>
                  <a:lnTo>
                    <a:pt x="341313" y="203730"/>
                  </a:lnTo>
                  <a:lnTo>
                    <a:pt x="338667" y="203730"/>
                  </a:lnTo>
                  <a:lnTo>
                    <a:pt x="336021" y="201084"/>
                  </a:lnTo>
                  <a:lnTo>
                    <a:pt x="336021" y="198438"/>
                  </a:lnTo>
                  <a:lnTo>
                    <a:pt x="338667" y="198438"/>
                  </a:lnTo>
                  <a:lnTo>
                    <a:pt x="341313" y="195792"/>
                  </a:lnTo>
                  <a:lnTo>
                    <a:pt x="343958" y="193146"/>
                  </a:lnTo>
                  <a:lnTo>
                    <a:pt x="346604" y="193146"/>
                  </a:lnTo>
                  <a:lnTo>
                    <a:pt x="349250" y="190500"/>
                  </a:lnTo>
                  <a:lnTo>
                    <a:pt x="354542" y="185208"/>
                  </a:lnTo>
                  <a:lnTo>
                    <a:pt x="359834" y="177271"/>
                  </a:lnTo>
                  <a:lnTo>
                    <a:pt x="362479" y="171979"/>
                  </a:lnTo>
                  <a:lnTo>
                    <a:pt x="362479" y="169333"/>
                  </a:lnTo>
                  <a:lnTo>
                    <a:pt x="359834" y="164042"/>
                  </a:lnTo>
                  <a:lnTo>
                    <a:pt x="357188" y="164042"/>
                  </a:lnTo>
                  <a:lnTo>
                    <a:pt x="354542" y="161396"/>
                  </a:lnTo>
                  <a:lnTo>
                    <a:pt x="351896" y="158750"/>
                  </a:lnTo>
                  <a:lnTo>
                    <a:pt x="349250" y="158750"/>
                  </a:lnTo>
                  <a:lnTo>
                    <a:pt x="346604" y="156104"/>
                  </a:lnTo>
                  <a:lnTo>
                    <a:pt x="346604" y="150812"/>
                  </a:lnTo>
                  <a:lnTo>
                    <a:pt x="349250" y="148167"/>
                  </a:lnTo>
                  <a:lnTo>
                    <a:pt x="354542" y="142875"/>
                  </a:lnTo>
                  <a:lnTo>
                    <a:pt x="359834" y="140229"/>
                  </a:lnTo>
                  <a:lnTo>
                    <a:pt x="365125" y="137583"/>
                  </a:lnTo>
                  <a:lnTo>
                    <a:pt x="370417" y="137583"/>
                  </a:lnTo>
                  <a:lnTo>
                    <a:pt x="373063" y="134937"/>
                  </a:lnTo>
                  <a:lnTo>
                    <a:pt x="381000" y="129646"/>
                  </a:lnTo>
                  <a:lnTo>
                    <a:pt x="386292" y="127000"/>
                  </a:lnTo>
                  <a:lnTo>
                    <a:pt x="388938" y="121708"/>
                  </a:lnTo>
                  <a:lnTo>
                    <a:pt x="394229" y="119062"/>
                  </a:lnTo>
                  <a:lnTo>
                    <a:pt x="396875" y="119062"/>
                  </a:lnTo>
                  <a:lnTo>
                    <a:pt x="402167" y="111125"/>
                  </a:lnTo>
                  <a:lnTo>
                    <a:pt x="404813" y="103187"/>
                  </a:lnTo>
                  <a:lnTo>
                    <a:pt x="407458" y="103187"/>
                  </a:lnTo>
                  <a:lnTo>
                    <a:pt x="407458" y="105833"/>
                  </a:lnTo>
                  <a:lnTo>
                    <a:pt x="412750" y="103187"/>
                  </a:lnTo>
                  <a:lnTo>
                    <a:pt x="410104" y="103187"/>
                  </a:lnTo>
                  <a:lnTo>
                    <a:pt x="410104" y="100542"/>
                  </a:lnTo>
                  <a:lnTo>
                    <a:pt x="412750" y="97896"/>
                  </a:lnTo>
                  <a:lnTo>
                    <a:pt x="415396" y="97896"/>
                  </a:lnTo>
                  <a:lnTo>
                    <a:pt x="418042" y="92604"/>
                  </a:lnTo>
                  <a:lnTo>
                    <a:pt x="420688" y="89958"/>
                  </a:lnTo>
                  <a:lnTo>
                    <a:pt x="423334" y="84666"/>
                  </a:lnTo>
                  <a:lnTo>
                    <a:pt x="425979" y="82021"/>
                  </a:lnTo>
                  <a:lnTo>
                    <a:pt x="425979" y="84666"/>
                  </a:lnTo>
                  <a:lnTo>
                    <a:pt x="428625" y="82021"/>
                  </a:lnTo>
                  <a:lnTo>
                    <a:pt x="433917" y="82021"/>
                  </a:lnTo>
                  <a:lnTo>
                    <a:pt x="431271" y="79375"/>
                  </a:lnTo>
                  <a:lnTo>
                    <a:pt x="431271" y="76729"/>
                  </a:lnTo>
                  <a:lnTo>
                    <a:pt x="428625" y="79375"/>
                  </a:lnTo>
                  <a:lnTo>
                    <a:pt x="425979" y="79375"/>
                  </a:lnTo>
                  <a:lnTo>
                    <a:pt x="423334" y="76729"/>
                  </a:lnTo>
                  <a:lnTo>
                    <a:pt x="425979" y="76729"/>
                  </a:lnTo>
                  <a:lnTo>
                    <a:pt x="425979" y="74083"/>
                  </a:lnTo>
                  <a:lnTo>
                    <a:pt x="428625" y="71437"/>
                  </a:lnTo>
                  <a:lnTo>
                    <a:pt x="428625" y="58208"/>
                  </a:lnTo>
                  <a:lnTo>
                    <a:pt x="428625" y="55562"/>
                  </a:lnTo>
                  <a:lnTo>
                    <a:pt x="431271" y="55562"/>
                  </a:lnTo>
                  <a:lnTo>
                    <a:pt x="431271" y="58208"/>
                  </a:lnTo>
                  <a:lnTo>
                    <a:pt x="431271" y="60854"/>
                  </a:lnTo>
                  <a:lnTo>
                    <a:pt x="433917" y="60854"/>
                  </a:lnTo>
                  <a:lnTo>
                    <a:pt x="436563" y="60854"/>
                  </a:lnTo>
                  <a:lnTo>
                    <a:pt x="436563" y="58208"/>
                  </a:lnTo>
                  <a:lnTo>
                    <a:pt x="436563" y="55562"/>
                  </a:lnTo>
                  <a:lnTo>
                    <a:pt x="433917" y="55562"/>
                  </a:lnTo>
                  <a:lnTo>
                    <a:pt x="431271" y="52916"/>
                  </a:lnTo>
                  <a:lnTo>
                    <a:pt x="433917" y="52916"/>
                  </a:lnTo>
                  <a:lnTo>
                    <a:pt x="436563" y="52916"/>
                  </a:lnTo>
                  <a:lnTo>
                    <a:pt x="439208" y="50271"/>
                  </a:lnTo>
                  <a:lnTo>
                    <a:pt x="436563" y="50271"/>
                  </a:lnTo>
                  <a:lnTo>
                    <a:pt x="433917" y="50271"/>
                  </a:lnTo>
                  <a:lnTo>
                    <a:pt x="433917" y="47625"/>
                  </a:lnTo>
                  <a:lnTo>
                    <a:pt x="431271" y="50271"/>
                  </a:lnTo>
                  <a:lnTo>
                    <a:pt x="431271" y="52916"/>
                  </a:lnTo>
                  <a:lnTo>
                    <a:pt x="428625" y="52916"/>
                  </a:lnTo>
                  <a:lnTo>
                    <a:pt x="428625" y="50271"/>
                  </a:lnTo>
                  <a:lnTo>
                    <a:pt x="428625" y="42333"/>
                  </a:lnTo>
                  <a:lnTo>
                    <a:pt x="428625" y="37041"/>
                  </a:lnTo>
                  <a:lnTo>
                    <a:pt x="425979" y="29104"/>
                  </a:lnTo>
                  <a:lnTo>
                    <a:pt x="425979" y="26458"/>
                  </a:lnTo>
                  <a:lnTo>
                    <a:pt x="428625" y="26458"/>
                  </a:lnTo>
                  <a:lnTo>
                    <a:pt x="431271" y="23812"/>
                  </a:lnTo>
                  <a:lnTo>
                    <a:pt x="428625" y="23812"/>
                  </a:lnTo>
                  <a:lnTo>
                    <a:pt x="425979" y="26458"/>
                  </a:lnTo>
                  <a:lnTo>
                    <a:pt x="425979" y="21166"/>
                  </a:lnTo>
                  <a:lnTo>
                    <a:pt x="425979" y="15875"/>
                  </a:lnTo>
                  <a:lnTo>
                    <a:pt x="428625" y="15875"/>
                  </a:lnTo>
                  <a:lnTo>
                    <a:pt x="428625" y="7937"/>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Norway"/>
            <p:cNvSpPr>
              <a:spLocks/>
            </p:cNvSpPr>
            <p:nvPr/>
          </p:nvSpPr>
          <p:spPr bwMode="auto">
            <a:xfrm>
              <a:off x="4242559" y="1580885"/>
              <a:ext cx="502708" cy="272521"/>
            </a:xfrm>
            <a:custGeom>
              <a:avLst/>
              <a:gdLst/>
              <a:ahLst/>
              <a:cxnLst>
                <a:cxn ang="0">
                  <a:pos x="96" y="176"/>
                </a:cxn>
                <a:cxn ang="0">
                  <a:pos x="94" y="184"/>
                </a:cxn>
                <a:cxn ang="0">
                  <a:pos x="80" y="194"/>
                </a:cxn>
                <a:cxn ang="0">
                  <a:pos x="60" y="204"/>
                </a:cxn>
                <a:cxn ang="0">
                  <a:pos x="34" y="206"/>
                </a:cxn>
                <a:cxn ang="0">
                  <a:pos x="18" y="196"/>
                </a:cxn>
                <a:cxn ang="0">
                  <a:pos x="14" y="182"/>
                </a:cxn>
                <a:cxn ang="0">
                  <a:pos x="26" y="170"/>
                </a:cxn>
                <a:cxn ang="0">
                  <a:pos x="6" y="182"/>
                </a:cxn>
                <a:cxn ang="0">
                  <a:pos x="16" y="168"/>
                </a:cxn>
                <a:cxn ang="0">
                  <a:pos x="10" y="162"/>
                </a:cxn>
                <a:cxn ang="0">
                  <a:pos x="0" y="158"/>
                </a:cxn>
                <a:cxn ang="0">
                  <a:pos x="2" y="152"/>
                </a:cxn>
                <a:cxn ang="0">
                  <a:pos x="16" y="148"/>
                </a:cxn>
                <a:cxn ang="0">
                  <a:pos x="36" y="148"/>
                </a:cxn>
                <a:cxn ang="0">
                  <a:pos x="24" y="146"/>
                </a:cxn>
                <a:cxn ang="0">
                  <a:pos x="6" y="146"/>
                </a:cxn>
                <a:cxn ang="0">
                  <a:pos x="6" y="134"/>
                </a:cxn>
                <a:cxn ang="0">
                  <a:pos x="34" y="122"/>
                </a:cxn>
                <a:cxn ang="0">
                  <a:pos x="52" y="118"/>
                </a:cxn>
                <a:cxn ang="0">
                  <a:pos x="70" y="110"/>
                </a:cxn>
                <a:cxn ang="0">
                  <a:pos x="90" y="110"/>
                </a:cxn>
                <a:cxn ang="0">
                  <a:pos x="90" y="108"/>
                </a:cxn>
                <a:cxn ang="0">
                  <a:pos x="90" y="100"/>
                </a:cxn>
                <a:cxn ang="0">
                  <a:pos x="108" y="88"/>
                </a:cxn>
                <a:cxn ang="0">
                  <a:pos x="126" y="72"/>
                </a:cxn>
                <a:cxn ang="0">
                  <a:pos x="134" y="64"/>
                </a:cxn>
                <a:cxn ang="0">
                  <a:pos x="148" y="56"/>
                </a:cxn>
                <a:cxn ang="0">
                  <a:pos x="166" y="48"/>
                </a:cxn>
                <a:cxn ang="0">
                  <a:pos x="182" y="38"/>
                </a:cxn>
                <a:cxn ang="0">
                  <a:pos x="196" y="30"/>
                </a:cxn>
                <a:cxn ang="0">
                  <a:pos x="220" y="26"/>
                </a:cxn>
                <a:cxn ang="0">
                  <a:pos x="242" y="22"/>
                </a:cxn>
                <a:cxn ang="0">
                  <a:pos x="260" y="16"/>
                </a:cxn>
                <a:cxn ang="0">
                  <a:pos x="290" y="10"/>
                </a:cxn>
                <a:cxn ang="0">
                  <a:pos x="310" y="12"/>
                </a:cxn>
                <a:cxn ang="0">
                  <a:pos x="320" y="2"/>
                </a:cxn>
                <a:cxn ang="0">
                  <a:pos x="324" y="16"/>
                </a:cxn>
                <a:cxn ang="0">
                  <a:pos x="336" y="12"/>
                </a:cxn>
                <a:cxn ang="0">
                  <a:pos x="348" y="4"/>
                </a:cxn>
                <a:cxn ang="0">
                  <a:pos x="354" y="10"/>
                </a:cxn>
                <a:cxn ang="0">
                  <a:pos x="372" y="12"/>
                </a:cxn>
                <a:cxn ang="0">
                  <a:pos x="364" y="18"/>
                </a:cxn>
                <a:cxn ang="0">
                  <a:pos x="368" y="32"/>
                </a:cxn>
                <a:cxn ang="0">
                  <a:pos x="360" y="30"/>
                </a:cxn>
                <a:cxn ang="0">
                  <a:pos x="350" y="16"/>
                </a:cxn>
                <a:cxn ang="0">
                  <a:pos x="330" y="20"/>
                </a:cxn>
                <a:cxn ang="0">
                  <a:pos x="312" y="38"/>
                </a:cxn>
                <a:cxn ang="0">
                  <a:pos x="292" y="40"/>
                </a:cxn>
                <a:cxn ang="0">
                  <a:pos x="248" y="30"/>
                </a:cxn>
                <a:cxn ang="0">
                  <a:pos x="240" y="34"/>
                </a:cxn>
                <a:cxn ang="0">
                  <a:pos x="208" y="42"/>
                </a:cxn>
                <a:cxn ang="0">
                  <a:pos x="170" y="60"/>
                </a:cxn>
                <a:cxn ang="0">
                  <a:pos x="154" y="72"/>
                </a:cxn>
                <a:cxn ang="0">
                  <a:pos x="148" y="94"/>
                </a:cxn>
                <a:cxn ang="0">
                  <a:pos x="116" y="112"/>
                </a:cxn>
                <a:cxn ang="0">
                  <a:pos x="120" y="134"/>
                </a:cxn>
                <a:cxn ang="0">
                  <a:pos x="120" y="150"/>
                </a:cxn>
                <a:cxn ang="0">
                  <a:pos x="112" y="172"/>
                </a:cxn>
                <a:cxn ang="0">
                  <a:pos x="110" y="186"/>
                </a:cxn>
              </a:cxnLst>
              <a:rect l="0" t="0" r="r" b="b"/>
              <a:pathLst>
                <a:path w="380" h="206">
                  <a:moveTo>
                    <a:pt x="108" y="186"/>
                  </a:moveTo>
                  <a:lnTo>
                    <a:pt x="108" y="186"/>
                  </a:lnTo>
                  <a:lnTo>
                    <a:pt x="104" y="184"/>
                  </a:lnTo>
                  <a:lnTo>
                    <a:pt x="102" y="184"/>
                  </a:lnTo>
                  <a:lnTo>
                    <a:pt x="98" y="186"/>
                  </a:lnTo>
                  <a:lnTo>
                    <a:pt x="98" y="182"/>
                  </a:lnTo>
                  <a:lnTo>
                    <a:pt x="98" y="182"/>
                  </a:lnTo>
                  <a:lnTo>
                    <a:pt x="96" y="176"/>
                  </a:lnTo>
                  <a:lnTo>
                    <a:pt x="96" y="170"/>
                  </a:lnTo>
                  <a:lnTo>
                    <a:pt x="96" y="170"/>
                  </a:lnTo>
                  <a:lnTo>
                    <a:pt x="94" y="176"/>
                  </a:lnTo>
                  <a:lnTo>
                    <a:pt x="94" y="178"/>
                  </a:lnTo>
                  <a:lnTo>
                    <a:pt x="92" y="178"/>
                  </a:lnTo>
                  <a:lnTo>
                    <a:pt x="92" y="178"/>
                  </a:lnTo>
                  <a:lnTo>
                    <a:pt x="94" y="180"/>
                  </a:lnTo>
                  <a:lnTo>
                    <a:pt x="94" y="184"/>
                  </a:lnTo>
                  <a:lnTo>
                    <a:pt x="94" y="186"/>
                  </a:lnTo>
                  <a:lnTo>
                    <a:pt x="90" y="188"/>
                  </a:lnTo>
                  <a:lnTo>
                    <a:pt x="90" y="188"/>
                  </a:lnTo>
                  <a:lnTo>
                    <a:pt x="84" y="188"/>
                  </a:lnTo>
                  <a:lnTo>
                    <a:pt x="80" y="186"/>
                  </a:lnTo>
                  <a:lnTo>
                    <a:pt x="80" y="186"/>
                  </a:lnTo>
                  <a:lnTo>
                    <a:pt x="80" y="190"/>
                  </a:lnTo>
                  <a:lnTo>
                    <a:pt x="80" y="194"/>
                  </a:lnTo>
                  <a:lnTo>
                    <a:pt x="76" y="196"/>
                  </a:lnTo>
                  <a:lnTo>
                    <a:pt x="74" y="198"/>
                  </a:lnTo>
                  <a:lnTo>
                    <a:pt x="74" y="198"/>
                  </a:lnTo>
                  <a:lnTo>
                    <a:pt x="70" y="198"/>
                  </a:lnTo>
                  <a:lnTo>
                    <a:pt x="68" y="200"/>
                  </a:lnTo>
                  <a:lnTo>
                    <a:pt x="64" y="202"/>
                  </a:lnTo>
                  <a:lnTo>
                    <a:pt x="60" y="204"/>
                  </a:lnTo>
                  <a:lnTo>
                    <a:pt x="60" y="204"/>
                  </a:lnTo>
                  <a:lnTo>
                    <a:pt x="54" y="204"/>
                  </a:lnTo>
                  <a:lnTo>
                    <a:pt x="50" y="206"/>
                  </a:lnTo>
                  <a:lnTo>
                    <a:pt x="48" y="206"/>
                  </a:lnTo>
                  <a:lnTo>
                    <a:pt x="44" y="206"/>
                  </a:lnTo>
                  <a:lnTo>
                    <a:pt x="44" y="206"/>
                  </a:lnTo>
                  <a:lnTo>
                    <a:pt x="40" y="204"/>
                  </a:lnTo>
                  <a:lnTo>
                    <a:pt x="36" y="206"/>
                  </a:lnTo>
                  <a:lnTo>
                    <a:pt x="34" y="206"/>
                  </a:lnTo>
                  <a:lnTo>
                    <a:pt x="38" y="204"/>
                  </a:lnTo>
                  <a:lnTo>
                    <a:pt x="38" y="204"/>
                  </a:lnTo>
                  <a:lnTo>
                    <a:pt x="26" y="202"/>
                  </a:lnTo>
                  <a:lnTo>
                    <a:pt x="26" y="200"/>
                  </a:lnTo>
                  <a:lnTo>
                    <a:pt x="30" y="198"/>
                  </a:lnTo>
                  <a:lnTo>
                    <a:pt x="30" y="198"/>
                  </a:lnTo>
                  <a:lnTo>
                    <a:pt x="22" y="198"/>
                  </a:lnTo>
                  <a:lnTo>
                    <a:pt x="18" y="196"/>
                  </a:lnTo>
                  <a:lnTo>
                    <a:pt x="16" y="194"/>
                  </a:lnTo>
                  <a:lnTo>
                    <a:pt x="16" y="194"/>
                  </a:lnTo>
                  <a:lnTo>
                    <a:pt x="14" y="192"/>
                  </a:lnTo>
                  <a:lnTo>
                    <a:pt x="10" y="190"/>
                  </a:lnTo>
                  <a:lnTo>
                    <a:pt x="8" y="188"/>
                  </a:lnTo>
                  <a:lnTo>
                    <a:pt x="10" y="184"/>
                  </a:lnTo>
                  <a:lnTo>
                    <a:pt x="10" y="184"/>
                  </a:lnTo>
                  <a:lnTo>
                    <a:pt x="14" y="182"/>
                  </a:lnTo>
                  <a:lnTo>
                    <a:pt x="16" y="182"/>
                  </a:lnTo>
                  <a:lnTo>
                    <a:pt x="18" y="184"/>
                  </a:lnTo>
                  <a:lnTo>
                    <a:pt x="22" y="184"/>
                  </a:lnTo>
                  <a:lnTo>
                    <a:pt x="22" y="184"/>
                  </a:lnTo>
                  <a:lnTo>
                    <a:pt x="18" y="180"/>
                  </a:lnTo>
                  <a:lnTo>
                    <a:pt x="18" y="178"/>
                  </a:lnTo>
                  <a:lnTo>
                    <a:pt x="26" y="170"/>
                  </a:lnTo>
                  <a:lnTo>
                    <a:pt x="26" y="170"/>
                  </a:lnTo>
                  <a:lnTo>
                    <a:pt x="18" y="174"/>
                  </a:lnTo>
                  <a:lnTo>
                    <a:pt x="16" y="176"/>
                  </a:lnTo>
                  <a:lnTo>
                    <a:pt x="16" y="176"/>
                  </a:lnTo>
                  <a:lnTo>
                    <a:pt x="14" y="178"/>
                  </a:lnTo>
                  <a:lnTo>
                    <a:pt x="14" y="178"/>
                  </a:lnTo>
                  <a:lnTo>
                    <a:pt x="10" y="178"/>
                  </a:lnTo>
                  <a:lnTo>
                    <a:pt x="10" y="176"/>
                  </a:lnTo>
                  <a:lnTo>
                    <a:pt x="6" y="182"/>
                  </a:lnTo>
                  <a:lnTo>
                    <a:pt x="6" y="182"/>
                  </a:lnTo>
                  <a:lnTo>
                    <a:pt x="6" y="170"/>
                  </a:lnTo>
                  <a:lnTo>
                    <a:pt x="8" y="168"/>
                  </a:lnTo>
                  <a:lnTo>
                    <a:pt x="10" y="168"/>
                  </a:lnTo>
                  <a:lnTo>
                    <a:pt x="10" y="168"/>
                  </a:lnTo>
                  <a:lnTo>
                    <a:pt x="12" y="170"/>
                  </a:lnTo>
                  <a:lnTo>
                    <a:pt x="14" y="170"/>
                  </a:lnTo>
                  <a:lnTo>
                    <a:pt x="16" y="168"/>
                  </a:lnTo>
                  <a:lnTo>
                    <a:pt x="16" y="166"/>
                  </a:lnTo>
                  <a:lnTo>
                    <a:pt x="16" y="166"/>
                  </a:lnTo>
                  <a:lnTo>
                    <a:pt x="14" y="166"/>
                  </a:lnTo>
                  <a:lnTo>
                    <a:pt x="12" y="166"/>
                  </a:lnTo>
                  <a:lnTo>
                    <a:pt x="10" y="166"/>
                  </a:lnTo>
                  <a:lnTo>
                    <a:pt x="10" y="164"/>
                  </a:lnTo>
                  <a:lnTo>
                    <a:pt x="10" y="164"/>
                  </a:lnTo>
                  <a:lnTo>
                    <a:pt x="10" y="162"/>
                  </a:lnTo>
                  <a:lnTo>
                    <a:pt x="8" y="164"/>
                  </a:lnTo>
                  <a:lnTo>
                    <a:pt x="8" y="164"/>
                  </a:lnTo>
                  <a:lnTo>
                    <a:pt x="8" y="162"/>
                  </a:lnTo>
                  <a:lnTo>
                    <a:pt x="8" y="162"/>
                  </a:lnTo>
                  <a:lnTo>
                    <a:pt x="4" y="162"/>
                  </a:lnTo>
                  <a:lnTo>
                    <a:pt x="2" y="162"/>
                  </a:lnTo>
                  <a:lnTo>
                    <a:pt x="0" y="158"/>
                  </a:lnTo>
                  <a:lnTo>
                    <a:pt x="0" y="158"/>
                  </a:lnTo>
                  <a:lnTo>
                    <a:pt x="2" y="158"/>
                  </a:lnTo>
                  <a:lnTo>
                    <a:pt x="4" y="158"/>
                  </a:lnTo>
                  <a:lnTo>
                    <a:pt x="6" y="156"/>
                  </a:lnTo>
                  <a:lnTo>
                    <a:pt x="8" y="154"/>
                  </a:lnTo>
                  <a:lnTo>
                    <a:pt x="8" y="154"/>
                  </a:lnTo>
                  <a:lnTo>
                    <a:pt x="2" y="156"/>
                  </a:lnTo>
                  <a:lnTo>
                    <a:pt x="0" y="154"/>
                  </a:lnTo>
                  <a:lnTo>
                    <a:pt x="2" y="152"/>
                  </a:lnTo>
                  <a:lnTo>
                    <a:pt x="2" y="152"/>
                  </a:lnTo>
                  <a:lnTo>
                    <a:pt x="2" y="150"/>
                  </a:lnTo>
                  <a:lnTo>
                    <a:pt x="0" y="150"/>
                  </a:lnTo>
                  <a:lnTo>
                    <a:pt x="0" y="148"/>
                  </a:lnTo>
                  <a:lnTo>
                    <a:pt x="4" y="148"/>
                  </a:lnTo>
                  <a:lnTo>
                    <a:pt x="4" y="148"/>
                  </a:lnTo>
                  <a:lnTo>
                    <a:pt x="12" y="148"/>
                  </a:lnTo>
                  <a:lnTo>
                    <a:pt x="16" y="148"/>
                  </a:lnTo>
                  <a:lnTo>
                    <a:pt x="18" y="148"/>
                  </a:lnTo>
                  <a:lnTo>
                    <a:pt x="18" y="148"/>
                  </a:lnTo>
                  <a:lnTo>
                    <a:pt x="22" y="148"/>
                  </a:lnTo>
                  <a:lnTo>
                    <a:pt x="24" y="148"/>
                  </a:lnTo>
                  <a:lnTo>
                    <a:pt x="26" y="148"/>
                  </a:lnTo>
                  <a:lnTo>
                    <a:pt x="32" y="148"/>
                  </a:lnTo>
                  <a:lnTo>
                    <a:pt x="32" y="148"/>
                  </a:lnTo>
                  <a:lnTo>
                    <a:pt x="36" y="148"/>
                  </a:lnTo>
                  <a:lnTo>
                    <a:pt x="38" y="146"/>
                  </a:lnTo>
                  <a:lnTo>
                    <a:pt x="38" y="144"/>
                  </a:lnTo>
                  <a:lnTo>
                    <a:pt x="38" y="144"/>
                  </a:lnTo>
                  <a:lnTo>
                    <a:pt x="36" y="146"/>
                  </a:lnTo>
                  <a:lnTo>
                    <a:pt x="34" y="146"/>
                  </a:lnTo>
                  <a:lnTo>
                    <a:pt x="28" y="146"/>
                  </a:lnTo>
                  <a:lnTo>
                    <a:pt x="28" y="146"/>
                  </a:lnTo>
                  <a:lnTo>
                    <a:pt x="24" y="146"/>
                  </a:lnTo>
                  <a:lnTo>
                    <a:pt x="22" y="146"/>
                  </a:lnTo>
                  <a:lnTo>
                    <a:pt x="22" y="146"/>
                  </a:lnTo>
                  <a:lnTo>
                    <a:pt x="18" y="146"/>
                  </a:lnTo>
                  <a:lnTo>
                    <a:pt x="18" y="146"/>
                  </a:lnTo>
                  <a:lnTo>
                    <a:pt x="14" y="146"/>
                  </a:lnTo>
                  <a:lnTo>
                    <a:pt x="12" y="146"/>
                  </a:lnTo>
                  <a:lnTo>
                    <a:pt x="6" y="146"/>
                  </a:lnTo>
                  <a:lnTo>
                    <a:pt x="6" y="146"/>
                  </a:lnTo>
                  <a:lnTo>
                    <a:pt x="2" y="146"/>
                  </a:lnTo>
                  <a:lnTo>
                    <a:pt x="0" y="144"/>
                  </a:lnTo>
                  <a:lnTo>
                    <a:pt x="4" y="140"/>
                  </a:lnTo>
                  <a:lnTo>
                    <a:pt x="10" y="140"/>
                  </a:lnTo>
                  <a:lnTo>
                    <a:pt x="10" y="140"/>
                  </a:lnTo>
                  <a:lnTo>
                    <a:pt x="2" y="138"/>
                  </a:lnTo>
                  <a:lnTo>
                    <a:pt x="2" y="136"/>
                  </a:lnTo>
                  <a:lnTo>
                    <a:pt x="6" y="134"/>
                  </a:lnTo>
                  <a:lnTo>
                    <a:pt x="6" y="134"/>
                  </a:lnTo>
                  <a:lnTo>
                    <a:pt x="10" y="132"/>
                  </a:lnTo>
                  <a:lnTo>
                    <a:pt x="14" y="130"/>
                  </a:lnTo>
                  <a:lnTo>
                    <a:pt x="14" y="130"/>
                  </a:lnTo>
                  <a:lnTo>
                    <a:pt x="22" y="126"/>
                  </a:lnTo>
                  <a:lnTo>
                    <a:pt x="28" y="124"/>
                  </a:lnTo>
                  <a:lnTo>
                    <a:pt x="28" y="124"/>
                  </a:lnTo>
                  <a:lnTo>
                    <a:pt x="34" y="122"/>
                  </a:lnTo>
                  <a:lnTo>
                    <a:pt x="40" y="124"/>
                  </a:lnTo>
                  <a:lnTo>
                    <a:pt x="40" y="124"/>
                  </a:lnTo>
                  <a:lnTo>
                    <a:pt x="38" y="118"/>
                  </a:lnTo>
                  <a:lnTo>
                    <a:pt x="42" y="118"/>
                  </a:lnTo>
                  <a:lnTo>
                    <a:pt x="42" y="118"/>
                  </a:lnTo>
                  <a:lnTo>
                    <a:pt x="50" y="116"/>
                  </a:lnTo>
                  <a:lnTo>
                    <a:pt x="52" y="116"/>
                  </a:lnTo>
                  <a:lnTo>
                    <a:pt x="52" y="118"/>
                  </a:lnTo>
                  <a:lnTo>
                    <a:pt x="52" y="118"/>
                  </a:lnTo>
                  <a:lnTo>
                    <a:pt x="54" y="114"/>
                  </a:lnTo>
                  <a:lnTo>
                    <a:pt x="58" y="114"/>
                  </a:lnTo>
                  <a:lnTo>
                    <a:pt x="62" y="112"/>
                  </a:lnTo>
                  <a:lnTo>
                    <a:pt x="66" y="114"/>
                  </a:lnTo>
                  <a:lnTo>
                    <a:pt x="66" y="114"/>
                  </a:lnTo>
                  <a:lnTo>
                    <a:pt x="66" y="110"/>
                  </a:lnTo>
                  <a:lnTo>
                    <a:pt x="70" y="110"/>
                  </a:lnTo>
                  <a:lnTo>
                    <a:pt x="74" y="110"/>
                  </a:lnTo>
                  <a:lnTo>
                    <a:pt x="76" y="112"/>
                  </a:lnTo>
                  <a:lnTo>
                    <a:pt x="76" y="112"/>
                  </a:lnTo>
                  <a:lnTo>
                    <a:pt x="76" y="106"/>
                  </a:lnTo>
                  <a:lnTo>
                    <a:pt x="82" y="110"/>
                  </a:lnTo>
                  <a:lnTo>
                    <a:pt x="82" y="110"/>
                  </a:lnTo>
                  <a:lnTo>
                    <a:pt x="88" y="110"/>
                  </a:lnTo>
                  <a:lnTo>
                    <a:pt x="90" y="110"/>
                  </a:lnTo>
                  <a:lnTo>
                    <a:pt x="92" y="110"/>
                  </a:lnTo>
                  <a:lnTo>
                    <a:pt x="98" y="112"/>
                  </a:lnTo>
                  <a:lnTo>
                    <a:pt x="98" y="112"/>
                  </a:lnTo>
                  <a:lnTo>
                    <a:pt x="96" y="110"/>
                  </a:lnTo>
                  <a:lnTo>
                    <a:pt x="96" y="108"/>
                  </a:lnTo>
                  <a:lnTo>
                    <a:pt x="100" y="106"/>
                  </a:lnTo>
                  <a:lnTo>
                    <a:pt x="100" y="106"/>
                  </a:lnTo>
                  <a:lnTo>
                    <a:pt x="90" y="108"/>
                  </a:lnTo>
                  <a:lnTo>
                    <a:pt x="82" y="106"/>
                  </a:lnTo>
                  <a:lnTo>
                    <a:pt x="82" y="106"/>
                  </a:lnTo>
                  <a:lnTo>
                    <a:pt x="84" y="106"/>
                  </a:lnTo>
                  <a:lnTo>
                    <a:pt x="84" y="104"/>
                  </a:lnTo>
                  <a:lnTo>
                    <a:pt x="84" y="104"/>
                  </a:lnTo>
                  <a:lnTo>
                    <a:pt x="86" y="102"/>
                  </a:lnTo>
                  <a:lnTo>
                    <a:pt x="86" y="102"/>
                  </a:lnTo>
                  <a:lnTo>
                    <a:pt x="90" y="100"/>
                  </a:lnTo>
                  <a:lnTo>
                    <a:pt x="92" y="98"/>
                  </a:lnTo>
                  <a:lnTo>
                    <a:pt x="94" y="98"/>
                  </a:lnTo>
                  <a:lnTo>
                    <a:pt x="96" y="96"/>
                  </a:lnTo>
                  <a:lnTo>
                    <a:pt x="96" y="96"/>
                  </a:lnTo>
                  <a:lnTo>
                    <a:pt x="100" y="94"/>
                  </a:lnTo>
                  <a:lnTo>
                    <a:pt x="106" y="90"/>
                  </a:lnTo>
                  <a:lnTo>
                    <a:pt x="106" y="90"/>
                  </a:lnTo>
                  <a:lnTo>
                    <a:pt x="108" y="88"/>
                  </a:lnTo>
                  <a:lnTo>
                    <a:pt x="110" y="84"/>
                  </a:lnTo>
                  <a:lnTo>
                    <a:pt x="110" y="82"/>
                  </a:lnTo>
                  <a:lnTo>
                    <a:pt x="114" y="82"/>
                  </a:lnTo>
                  <a:lnTo>
                    <a:pt x="114" y="82"/>
                  </a:lnTo>
                  <a:lnTo>
                    <a:pt x="118" y="80"/>
                  </a:lnTo>
                  <a:lnTo>
                    <a:pt x="120" y="76"/>
                  </a:lnTo>
                  <a:lnTo>
                    <a:pt x="124" y="74"/>
                  </a:lnTo>
                  <a:lnTo>
                    <a:pt x="126" y="72"/>
                  </a:lnTo>
                  <a:lnTo>
                    <a:pt x="126" y="72"/>
                  </a:lnTo>
                  <a:lnTo>
                    <a:pt x="130" y="72"/>
                  </a:lnTo>
                  <a:lnTo>
                    <a:pt x="130" y="70"/>
                  </a:lnTo>
                  <a:lnTo>
                    <a:pt x="130" y="68"/>
                  </a:lnTo>
                  <a:lnTo>
                    <a:pt x="132" y="68"/>
                  </a:lnTo>
                  <a:lnTo>
                    <a:pt x="132" y="68"/>
                  </a:lnTo>
                  <a:lnTo>
                    <a:pt x="134" y="66"/>
                  </a:lnTo>
                  <a:lnTo>
                    <a:pt x="134" y="64"/>
                  </a:lnTo>
                  <a:lnTo>
                    <a:pt x="136" y="62"/>
                  </a:lnTo>
                  <a:lnTo>
                    <a:pt x="138" y="62"/>
                  </a:lnTo>
                  <a:lnTo>
                    <a:pt x="138" y="62"/>
                  </a:lnTo>
                  <a:lnTo>
                    <a:pt x="142" y="60"/>
                  </a:lnTo>
                  <a:lnTo>
                    <a:pt x="144" y="58"/>
                  </a:lnTo>
                  <a:lnTo>
                    <a:pt x="146" y="56"/>
                  </a:lnTo>
                  <a:lnTo>
                    <a:pt x="148" y="56"/>
                  </a:lnTo>
                  <a:lnTo>
                    <a:pt x="148" y="56"/>
                  </a:lnTo>
                  <a:lnTo>
                    <a:pt x="150" y="56"/>
                  </a:lnTo>
                  <a:lnTo>
                    <a:pt x="152" y="54"/>
                  </a:lnTo>
                  <a:lnTo>
                    <a:pt x="154" y="52"/>
                  </a:lnTo>
                  <a:lnTo>
                    <a:pt x="160" y="52"/>
                  </a:lnTo>
                  <a:lnTo>
                    <a:pt x="160" y="52"/>
                  </a:lnTo>
                  <a:lnTo>
                    <a:pt x="164" y="52"/>
                  </a:lnTo>
                  <a:lnTo>
                    <a:pt x="166" y="50"/>
                  </a:lnTo>
                  <a:lnTo>
                    <a:pt x="166" y="48"/>
                  </a:lnTo>
                  <a:lnTo>
                    <a:pt x="168" y="48"/>
                  </a:lnTo>
                  <a:lnTo>
                    <a:pt x="168" y="48"/>
                  </a:lnTo>
                  <a:lnTo>
                    <a:pt x="172" y="46"/>
                  </a:lnTo>
                  <a:lnTo>
                    <a:pt x="172" y="44"/>
                  </a:lnTo>
                  <a:lnTo>
                    <a:pt x="174" y="42"/>
                  </a:lnTo>
                  <a:lnTo>
                    <a:pt x="178" y="40"/>
                  </a:lnTo>
                  <a:lnTo>
                    <a:pt x="178" y="40"/>
                  </a:lnTo>
                  <a:lnTo>
                    <a:pt x="182" y="38"/>
                  </a:lnTo>
                  <a:lnTo>
                    <a:pt x="184" y="38"/>
                  </a:lnTo>
                  <a:lnTo>
                    <a:pt x="186" y="36"/>
                  </a:lnTo>
                  <a:lnTo>
                    <a:pt x="188" y="36"/>
                  </a:lnTo>
                  <a:lnTo>
                    <a:pt x="188" y="36"/>
                  </a:lnTo>
                  <a:lnTo>
                    <a:pt x="192" y="34"/>
                  </a:lnTo>
                  <a:lnTo>
                    <a:pt x="192" y="32"/>
                  </a:lnTo>
                  <a:lnTo>
                    <a:pt x="194" y="30"/>
                  </a:lnTo>
                  <a:lnTo>
                    <a:pt x="196" y="30"/>
                  </a:lnTo>
                  <a:lnTo>
                    <a:pt x="196" y="30"/>
                  </a:lnTo>
                  <a:lnTo>
                    <a:pt x="200" y="30"/>
                  </a:lnTo>
                  <a:lnTo>
                    <a:pt x="206" y="28"/>
                  </a:lnTo>
                  <a:lnTo>
                    <a:pt x="210" y="26"/>
                  </a:lnTo>
                  <a:lnTo>
                    <a:pt x="214" y="26"/>
                  </a:lnTo>
                  <a:lnTo>
                    <a:pt x="214" y="26"/>
                  </a:lnTo>
                  <a:lnTo>
                    <a:pt x="218" y="26"/>
                  </a:lnTo>
                  <a:lnTo>
                    <a:pt x="220" y="26"/>
                  </a:lnTo>
                  <a:lnTo>
                    <a:pt x="224" y="24"/>
                  </a:lnTo>
                  <a:lnTo>
                    <a:pt x="228" y="24"/>
                  </a:lnTo>
                  <a:lnTo>
                    <a:pt x="228" y="24"/>
                  </a:lnTo>
                  <a:lnTo>
                    <a:pt x="232" y="24"/>
                  </a:lnTo>
                  <a:lnTo>
                    <a:pt x="234" y="24"/>
                  </a:lnTo>
                  <a:lnTo>
                    <a:pt x="238" y="22"/>
                  </a:lnTo>
                  <a:lnTo>
                    <a:pt x="242" y="22"/>
                  </a:lnTo>
                  <a:lnTo>
                    <a:pt x="242" y="22"/>
                  </a:lnTo>
                  <a:lnTo>
                    <a:pt x="248" y="22"/>
                  </a:lnTo>
                  <a:lnTo>
                    <a:pt x="248" y="20"/>
                  </a:lnTo>
                  <a:lnTo>
                    <a:pt x="248" y="18"/>
                  </a:lnTo>
                  <a:lnTo>
                    <a:pt x="252" y="18"/>
                  </a:lnTo>
                  <a:lnTo>
                    <a:pt x="252" y="18"/>
                  </a:lnTo>
                  <a:lnTo>
                    <a:pt x="256" y="18"/>
                  </a:lnTo>
                  <a:lnTo>
                    <a:pt x="258" y="16"/>
                  </a:lnTo>
                  <a:lnTo>
                    <a:pt x="260" y="16"/>
                  </a:lnTo>
                  <a:lnTo>
                    <a:pt x="264" y="16"/>
                  </a:lnTo>
                  <a:lnTo>
                    <a:pt x="264" y="16"/>
                  </a:lnTo>
                  <a:lnTo>
                    <a:pt x="268" y="16"/>
                  </a:lnTo>
                  <a:lnTo>
                    <a:pt x="276" y="16"/>
                  </a:lnTo>
                  <a:lnTo>
                    <a:pt x="276" y="16"/>
                  </a:lnTo>
                  <a:lnTo>
                    <a:pt x="282" y="14"/>
                  </a:lnTo>
                  <a:lnTo>
                    <a:pt x="286" y="12"/>
                  </a:lnTo>
                  <a:lnTo>
                    <a:pt x="290" y="10"/>
                  </a:lnTo>
                  <a:lnTo>
                    <a:pt x="294" y="14"/>
                  </a:lnTo>
                  <a:lnTo>
                    <a:pt x="294" y="14"/>
                  </a:lnTo>
                  <a:lnTo>
                    <a:pt x="298" y="10"/>
                  </a:lnTo>
                  <a:lnTo>
                    <a:pt x="300" y="8"/>
                  </a:lnTo>
                  <a:lnTo>
                    <a:pt x="304" y="10"/>
                  </a:lnTo>
                  <a:lnTo>
                    <a:pt x="308" y="16"/>
                  </a:lnTo>
                  <a:lnTo>
                    <a:pt x="308" y="16"/>
                  </a:lnTo>
                  <a:lnTo>
                    <a:pt x="310" y="12"/>
                  </a:lnTo>
                  <a:lnTo>
                    <a:pt x="310" y="10"/>
                  </a:lnTo>
                  <a:lnTo>
                    <a:pt x="308" y="8"/>
                  </a:lnTo>
                  <a:lnTo>
                    <a:pt x="306" y="6"/>
                  </a:lnTo>
                  <a:lnTo>
                    <a:pt x="310" y="4"/>
                  </a:lnTo>
                  <a:lnTo>
                    <a:pt x="310" y="4"/>
                  </a:lnTo>
                  <a:lnTo>
                    <a:pt x="316" y="0"/>
                  </a:lnTo>
                  <a:lnTo>
                    <a:pt x="318" y="2"/>
                  </a:lnTo>
                  <a:lnTo>
                    <a:pt x="320" y="2"/>
                  </a:lnTo>
                  <a:lnTo>
                    <a:pt x="324" y="2"/>
                  </a:lnTo>
                  <a:lnTo>
                    <a:pt x="324" y="2"/>
                  </a:lnTo>
                  <a:lnTo>
                    <a:pt x="326" y="2"/>
                  </a:lnTo>
                  <a:lnTo>
                    <a:pt x="326" y="4"/>
                  </a:lnTo>
                  <a:lnTo>
                    <a:pt x="324" y="10"/>
                  </a:lnTo>
                  <a:lnTo>
                    <a:pt x="320" y="16"/>
                  </a:lnTo>
                  <a:lnTo>
                    <a:pt x="322" y="16"/>
                  </a:lnTo>
                  <a:lnTo>
                    <a:pt x="324" y="16"/>
                  </a:lnTo>
                  <a:lnTo>
                    <a:pt x="324" y="16"/>
                  </a:lnTo>
                  <a:lnTo>
                    <a:pt x="330" y="12"/>
                  </a:lnTo>
                  <a:lnTo>
                    <a:pt x="332" y="8"/>
                  </a:lnTo>
                  <a:lnTo>
                    <a:pt x="334" y="6"/>
                  </a:lnTo>
                  <a:lnTo>
                    <a:pt x="336" y="4"/>
                  </a:lnTo>
                  <a:lnTo>
                    <a:pt x="336" y="4"/>
                  </a:lnTo>
                  <a:lnTo>
                    <a:pt x="336" y="8"/>
                  </a:lnTo>
                  <a:lnTo>
                    <a:pt x="336" y="12"/>
                  </a:lnTo>
                  <a:lnTo>
                    <a:pt x="338" y="12"/>
                  </a:lnTo>
                  <a:lnTo>
                    <a:pt x="338" y="12"/>
                  </a:lnTo>
                  <a:lnTo>
                    <a:pt x="340" y="10"/>
                  </a:lnTo>
                  <a:lnTo>
                    <a:pt x="340" y="6"/>
                  </a:lnTo>
                  <a:lnTo>
                    <a:pt x="342" y="4"/>
                  </a:lnTo>
                  <a:lnTo>
                    <a:pt x="346" y="4"/>
                  </a:lnTo>
                  <a:lnTo>
                    <a:pt x="346" y="4"/>
                  </a:lnTo>
                  <a:lnTo>
                    <a:pt x="348" y="4"/>
                  </a:lnTo>
                  <a:lnTo>
                    <a:pt x="350" y="6"/>
                  </a:lnTo>
                  <a:lnTo>
                    <a:pt x="350" y="8"/>
                  </a:lnTo>
                  <a:lnTo>
                    <a:pt x="348" y="10"/>
                  </a:lnTo>
                  <a:lnTo>
                    <a:pt x="348" y="10"/>
                  </a:lnTo>
                  <a:lnTo>
                    <a:pt x="348" y="10"/>
                  </a:lnTo>
                  <a:lnTo>
                    <a:pt x="352" y="10"/>
                  </a:lnTo>
                  <a:lnTo>
                    <a:pt x="352" y="10"/>
                  </a:lnTo>
                  <a:lnTo>
                    <a:pt x="354" y="10"/>
                  </a:lnTo>
                  <a:lnTo>
                    <a:pt x="356" y="10"/>
                  </a:lnTo>
                  <a:lnTo>
                    <a:pt x="356" y="10"/>
                  </a:lnTo>
                  <a:lnTo>
                    <a:pt x="360" y="8"/>
                  </a:lnTo>
                  <a:lnTo>
                    <a:pt x="362" y="8"/>
                  </a:lnTo>
                  <a:lnTo>
                    <a:pt x="364" y="10"/>
                  </a:lnTo>
                  <a:lnTo>
                    <a:pt x="366" y="12"/>
                  </a:lnTo>
                  <a:lnTo>
                    <a:pt x="366" y="12"/>
                  </a:lnTo>
                  <a:lnTo>
                    <a:pt x="372" y="12"/>
                  </a:lnTo>
                  <a:lnTo>
                    <a:pt x="376" y="12"/>
                  </a:lnTo>
                  <a:lnTo>
                    <a:pt x="380" y="16"/>
                  </a:lnTo>
                  <a:lnTo>
                    <a:pt x="380" y="16"/>
                  </a:lnTo>
                  <a:lnTo>
                    <a:pt x="380" y="18"/>
                  </a:lnTo>
                  <a:lnTo>
                    <a:pt x="378" y="18"/>
                  </a:lnTo>
                  <a:lnTo>
                    <a:pt x="372" y="18"/>
                  </a:lnTo>
                  <a:lnTo>
                    <a:pt x="364" y="18"/>
                  </a:lnTo>
                  <a:lnTo>
                    <a:pt x="364" y="18"/>
                  </a:lnTo>
                  <a:lnTo>
                    <a:pt x="378" y="22"/>
                  </a:lnTo>
                  <a:lnTo>
                    <a:pt x="378" y="22"/>
                  </a:lnTo>
                  <a:lnTo>
                    <a:pt x="378" y="26"/>
                  </a:lnTo>
                  <a:lnTo>
                    <a:pt x="376" y="26"/>
                  </a:lnTo>
                  <a:lnTo>
                    <a:pt x="374" y="26"/>
                  </a:lnTo>
                  <a:lnTo>
                    <a:pt x="372" y="26"/>
                  </a:lnTo>
                  <a:lnTo>
                    <a:pt x="372" y="26"/>
                  </a:lnTo>
                  <a:lnTo>
                    <a:pt x="368" y="32"/>
                  </a:lnTo>
                  <a:lnTo>
                    <a:pt x="366" y="36"/>
                  </a:lnTo>
                  <a:lnTo>
                    <a:pt x="364" y="40"/>
                  </a:lnTo>
                  <a:lnTo>
                    <a:pt x="364" y="40"/>
                  </a:lnTo>
                  <a:lnTo>
                    <a:pt x="362" y="36"/>
                  </a:lnTo>
                  <a:lnTo>
                    <a:pt x="362" y="34"/>
                  </a:lnTo>
                  <a:lnTo>
                    <a:pt x="360" y="32"/>
                  </a:lnTo>
                  <a:lnTo>
                    <a:pt x="360" y="32"/>
                  </a:lnTo>
                  <a:lnTo>
                    <a:pt x="360" y="30"/>
                  </a:lnTo>
                  <a:lnTo>
                    <a:pt x="362" y="26"/>
                  </a:lnTo>
                  <a:lnTo>
                    <a:pt x="362" y="24"/>
                  </a:lnTo>
                  <a:lnTo>
                    <a:pt x="360" y="22"/>
                  </a:lnTo>
                  <a:lnTo>
                    <a:pt x="360" y="22"/>
                  </a:lnTo>
                  <a:lnTo>
                    <a:pt x="354" y="20"/>
                  </a:lnTo>
                  <a:lnTo>
                    <a:pt x="350" y="18"/>
                  </a:lnTo>
                  <a:lnTo>
                    <a:pt x="350" y="16"/>
                  </a:lnTo>
                  <a:lnTo>
                    <a:pt x="350" y="16"/>
                  </a:lnTo>
                  <a:lnTo>
                    <a:pt x="348" y="14"/>
                  </a:lnTo>
                  <a:lnTo>
                    <a:pt x="346" y="14"/>
                  </a:lnTo>
                  <a:lnTo>
                    <a:pt x="340" y="16"/>
                  </a:lnTo>
                  <a:lnTo>
                    <a:pt x="340" y="16"/>
                  </a:lnTo>
                  <a:lnTo>
                    <a:pt x="334" y="18"/>
                  </a:lnTo>
                  <a:lnTo>
                    <a:pt x="332" y="18"/>
                  </a:lnTo>
                  <a:lnTo>
                    <a:pt x="330" y="20"/>
                  </a:lnTo>
                  <a:lnTo>
                    <a:pt x="330" y="20"/>
                  </a:lnTo>
                  <a:lnTo>
                    <a:pt x="322" y="26"/>
                  </a:lnTo>
                  <a:lnTo>
                    <a:pt x="318" y="28"/>
                  </a:lnTo>
                  <a:lnTo>
                    <a:pt x="320" y="32"/>
                  </a:lnTo>
                  <a:lnTo>
                    <a:pt x="320" y="32"/>
                  </a:lnTo>
                  <a:lnTo>
                    <a:pt x="320" y="34"/>
                  </a:lnTo>
                  <a:lnTo>
                    <a:pt x="318" y="36"/>
                  </a:lnTo>
                  <a:lnTo>
                    <a:pt x="318" y="36"/>
                  </a:lnTo>
                  <a:lnTo>
                    <a:pt x="312" y="38"/>
                  </a:lnTo>
                  <a:lnTo>
                    <a:pt x="310" y="44"/>
                  </a:lnTo>
                  <a:lnTo>
                    <a:pt x="310" y="44"/>
                  </a:lnTo>
                  <a:lnTo>
                    <a:pt x="306" y="46"/>
                  </a:lnTo>
                  <a:lnTo>
                    <a:pt x="304" y="44"/>
                  </a:lnTo>
                  <a:lnTo>
                    <a:pt x="296" y="38"/>
                  </a:lnTo>
                  <a:lnTo>
                    <a:pt x="296" y="38"/>
                  </a:lnTo>
                  <a:lnTo>
                    <a:pt x="294" y="36"/>
                  </a:lnTo>
                  <a:lnTo>
                    <a:pt x="292" y="40"/>
                  </a:lnTo>
                  <a:lnTo>
                    <a:pt x="292" y="40"/>
                  </a:lnTo>
                  <a:lnTo>
                    <a:pt x="290" y="40"/>
                  </a:lnTo>
                  <a:lnTo>
                    <a:pt x="284" y="40"/>
                  </a:lnTo>
                  <a:lnTo>
                    <a:pt x="274" y="38"/>
                  </a:lnTo>
                  <a:lnTo>
                    <a:pt x="274" y="38"/>
                  </a:lnTo>
                  <a:lnTo>
                    <a:pt x="258" y="34"/>
                  </a:lnTo>
                  <a:lnTo>
                    <a:pt x="252" y="32"/>
                  </a:lnTo>
                  <a:lnTo>
                    <a:pt x="248" y="30"/>
                  </a:lnTo>
                  <a:lnTo>
                    <a:pt x="248" y="30"/>
                  </a:lnTo>
                  <a:lnTo>
                    <a:pt x="246" y="28"/>
                  </a:lnTo>
                  <a:lnTo>
                    <a:pt x="244" y="28"/>
                  </a:lnTo>
                  <a:lnTo>
                    <a:pt x="240" y="30"/>
                  </a:lnTo>
                  <a:lnTo>
                    <a:pt x="240" y="30"/>
                  </a:lnTo>
                  <a:lnTo>
                    <a:pt x="240" y="32"/>
                  </a:lnTo>
                  <a:lnTo>
                    <a:pt x="240" y="32"/>
                  </a:lnTo>
                  <a:lnTo>
                    <a:pt x="240" y="34"/>
                  </a:lnTo>
                  <a:lnTo>
                    <a:pt x="238" y="34"/>
                  </a:lnTo>
                  <a:lnTo>
                    <a:pt x="238" y="34"/>
                  </a:lnTo>
                  <a:lnTo>
                    <a:pt x="226" y="40"/>
                  </a:lnTo>
                  <a:lnTo>
                    <a:pt x="218" y="44"/>
                  </a:lnTo>
                  <a:lnTo>
                    <a:pt x="218" y="44"/>
                  </a:lnTo>
                  <a:lnTo>
                    <a:pt x="214" y="44"/>
                  </a:lnTo>
                  <a:lnTo>
                    <a:pt x="212" y="44"/>
                  </a:lnTo>
                  <a:lnTo>
                    <a:pt x="208" y="42"/>
                  </a:lnTo>
                  <a:lnTo>
                    <a:pt x="206" y="40"/>
                  </a:lnTo>
                  <a:lnTo>
                    <a:pt x="204" y="40"/>
                  </a:lnTo>
                  <a:lnTo>
                    <a:pt x="194" y="44"/>
                  </a:lnTo>
                  <a:lnTo>
                    <a:pt x="194" y="44"/>
                  </a:lnTo>
                  <a:lnTo>
                    <a:pt x="184" y="50"/>
                  </a:lnTo>
                  <a:lnTo>
                    <a:pt x="176" y="54"/>
                  </a:lnTo>
                  <a:lnTo>
                    <a:pt x="176" y="54"/>
                  </a:lnTo>
                  <a:lnTo>
                    <a:pt x="170" y="60"/>
                  </a:lnTo>
                  <a:lnTo>
                    <a:pt x="168" y="64"/>
                  </a:lnTo>
                  <a:lnTo>
                    <a:pt x="168" y="68"/>
                  </a:lnTo>
                  <a:lnTo>
                    <a:pt x="166" y="70"/>
                  </a:lnTo>
                  <a:lnTo>
                    <a:pt x="166" y="70"/>
                  </a:lnTo>
                  <a:lnTo>
                    <a:pt x="162" y="70"/>
                  </a:lnTo>
                  <a:lnTo>
                    <a:pt x="160" y="70"/>
                  </a:lnTo>
                  <a:lnTo>
                    <a:pt x="156" y="70"/>
                  </a:lnTo>
                  <a:lnTo>
                    <a:pt x="154" y="72"/>
                  </a:lnTo>
                  <a:lnTo>
                    <a:pt x="154" y="72"/>
                  </a:lnTo>
                  <a:lnTo>
                    <a:pt x="152" y="74"/>
                  </a:lnTo>
                  <a:lnTo>
                    <a:pt x="152" y="78"/>
                  </a:lnTo>
                  <a:lnTo>
                    <a:pt x="152" y="82"/>
                  </a:lnTo>
                  <a:lnTo>
                    <a:pt x="150" y="86"/>
                  </a:lnTo>
                  <a:lnTo>
                    <a:pt x="150" y="86"/>
                  </a:lnTo>
                  <a:lnTo>
                    <a:pt x="148" y="90"/>
                  </a:lnTo>
                  <a:lnTo>
                    <a:pt x="148" y="94"/>
                  </a:lnTo>
                  <a:lnTo>
                    <a:pt x="148" y="96"/>
                  </a:lnTo>
                  <a:lnTo>
                    <a:pt x="146" y="98"/>
                  </a:lnTo>
                  <a:lnTo>
                    <a:pt x="138" y="100"/>
                  </a:lnTo>
                  <a:lnTo>
                    <a:pt x="138" y="100"/>
                  </a:lnTo>
                  <a:lnTo>
                    <a:pt x="130" y="102"/>
                  </a:lnTo>
                  <a:lnTo>
                    <a:pt x="126" y="106"/>
                  </a:lnTo>
                  <a:lnTo>
                    <a:pt x="122" y="110"/>
                  </a:lnTo>
                  <a:lnTo>
                    <a:pt x="116" y="112"/>
                  </a:lnTo>
                  <a:lnTo>
                    <a:pt x="116" y="112"/>
                  </a:lnTo>
                  <a:lnTo>
                    <a:pt x="116" y="114"/>
                  </a:lnTo>
                  <a:lnTo>
                    <a:pt x="118" y="116"/>
                  </a:lnTo>
                  <a:lnTo>
                    <a:pt x="118" y="120"/>
                  </a:lnTo>
                  <a:lnTo>
                    <a:pt x="118" y="120"/>
                  </a:lnTo>
                  <a:lnTo>
                    <a:pt x="118" y="126"/>
                  </a:lnTo>
                  <a:lnTo>
                    <a:pt x="118" y="130"/>
                  </a:lnTo>
                  <a:lnTo>
                    <a:pt x="120" y="134"/>
                  </a:lnTo>
                  <a:lnTo>
                    <a:pt x="120" y="134"/>
                  </a:lnTo>
                  <a:lnTo>
                    <a:pt x="120" y="138"/>
                  </a:lnTo>
                  <a:lnTo>
                    <a:pt x="122" y="140"/>
                  </a:lnTo>
                  <a:lnTo>
                    <a:pt x="124" y="142"/>
                  </a:lnTo>
                  <a:lnTo>
                    <a:pt x="126" y="144"/>
                  </a:lnTo>
                  <a:lnTo>
                    <a:pt x="126" y="144"/>
                  </a:lnTo>
                  <a:lnTo>
                    <a:pt x="124" y="148"/>
                  </a:lnTo>
                  <a:lnTo>
                    <a:pt x="120" y="150"/>
                  </a:lnTo>
                  <a:lnTo>
                    <a:pt x="120" y="150"/>
                  </a:lnTo>
                  <a:lnTo>
                    <a:pt x="122" y="156"/>
                  </a:lnTo>
                  <a:lnTo>
                    <a:pt x="122" y="160"/>
                  </a:lnTo>
                  <a:lnTo>
                    <a:pt x="120" y="164"/>
                  </a:lnTo>
                  <a:lnTo>
                    <a:pt x="118" y="166"/>
                  </a:lnTo>
                  <a:lnTo>
                    <a:pt x="114" y="170"/>
                  </a:lnTo>
                  <a:lnTo>
                    <a:pt x="112" y="172"/>
                  </a:lnTo>
                  <a:lnTo>
                    <a:pt x="112" y="172"/>
                  </a:lnTo>
                  <a:lnTo>
                    <a:pt x="112" y="174"/>
                  </a:lnTo>
                  <a:lnTo>
                    <a:pt x="112" y="176"/>
                  </a:lnTo>
                  <a:lnTo>
                    <a:pt x="110" y="178"/>
                  </a:lnTo>
                  <a:lnTo>
                    <a:pt x="112" y="180"/>
                  </a:lnTo>
                  <a:lnTo>
                    <a:pt x="112" y="180"/>
                  </a:lnTo>
                  <a:lnTo>
                    <a:pt x="114" y="184"/>
                  </a:lnTo>
                  <a:lnTo>
                    <a:pt x="112" y="186"/>
                  </a:lnTo>
                  <a:lnTo>
                    <a:pt x="110" y="186"/>
                  </a:lnTo>
                  <a:lnTo>
                    <a:pt x="108" y="186"/>
                  </a:lnTo>
                  <a:lnTo>
                    <a:pt x="108" y="186"/>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Peru"/>
            <p:cNvSpPr>
              <a:spLocks/>
            </p:cNvSpPr>
            <p:nvPr/>
          </p:nvSpPr>
          <p:spPr bwMode="auto">
            <a:xfrm>
              <a:off x="1863955" y="3636698"/>
              <a:ext cx="381000" cy="605896"/>
            </a:xfrm>
            <a:custGeom>
              <a:avLst/>
              <a:gdLst/>
              <a:ahLst/>
              <a:cxnLst>
                <a:cxn ang="0">
                  <a:pos x="6" y="96"/>
                </a:cxn>
                <a:cxn ang="0">
                  <a:pos x="6" y="104"/>
                </a:cxn>
                <a:cxn ang="0">
                  <a:pos x="4" y="114"/>
                </a:cxn>
                <a:cxn ang="0">
                  <a:pos x="6" y="122"/>
                </a:cxn>
                <a:cxn ang="0">
                  <a:pos x="14" y="140"/>
                </a:cxn>
                <a:cxn ang="0">
                  <a:pos x="30" y="170"/>
                </a:cxn>
                <a:cxn ang="0">
                  <a:pos x="46" y="188"/>
                </a:cxn>
                <a:cxn ang="0">
                  <a:pos x="60" y="204"/>
                </a:cxn>
                <a:cxn ang="0">
                  <a:pos x="76" y="234"/>
                </a:cxn>
                <a:cxn ang="0">
                  <a:pos x="96" y="286"/>
                </a:cxn>
                <a:cxn ang="0">
                  <a:pos x="108" y="310"/>
                </a:cxn>
                <a:cxn ang="0">
                  <a:pos x="110" y="322"/>
                </a:cxn>
                <a:cxn ang="0">
                  <a:pos x="124" y="350"/>
                </a:cxn>
                <a:cxn ang="0">
                  <a:pos x="118" y="350"/>
                </a:cxn>
                <a:cxn ang="0">
                  <a:pos x="138" y="372"/>
                </a:cxn>
                <a:cxn ang="0">
                  <a:pos x="162" y="392"/>
                </a:cxn>
                <a:cxn ang="0">
                  <a:pos x="196" y="410"/>
                </a:cxn>
                <a:cxn ang="0">
                  <a:pos x="244" y="440"/>
                </a:cxn>
                <a:cxn ang="0">
                  <a:pos x="272" y="454"/>
                </a:cxn>
                <a:cxn ang="0">
                  <a:pos x="276" y="446"/>
                </a:cxn>
                <a:cxn ang="0">
                  <a:pos x="278" y="430"/>
                </a:cxn>
                <a:cxn ang="0">
                  <a:pos x="286" y="412"/>
                </a:cxn>
                <a:cxn ang="0">
                  <a:pos x="282" y="390"/>
                </a:cxn>
                <a:cxn ang="0">
                  <a:pos x="284" y="380"/>
                </a:cxn>
                <a:cxn ang="0">
                  <a:pos x="280" y="362"/>
                </a:cxn>
                <a:cxn ang="0">
                  <a:pos x="276" y="334"/>
                </a:cxn>
                <a:cxn ang="0">
                  <a:pos x="282" y="316"/>
                </a:cxn>
                <a:cxn ang="0">
                  <a:pos x="250" y="280"/>
                </a:cxn>
                <a:cxn ang="0">
                  <a:pos x="238" y="264"/>
                </a:cxn>
                <a:cxn ang="0">
                  <a:pos x="238" y="244"/>
                </a:cxn>
                <a:cxn ang="0">
                  <a:pos x="234" y="238"/>
                </a:cxn>
                <a:cxn ang="0">
                  <a:pos x="202" y="250"/>
                </a:cxn>
                <a:cxn ang="0">
                  <a:pos x="192" y="240"/>
                </a:cxn>
                <a:cxn ang="0">
                  <a:pos x="188" y="232"/>
                </a:cxn>
                <a:cxn ang="0">
                  <a:pos x="176" y="212"/>
                </a:cxn>
                <a:cxn ang="0">
                  <a:pos x="166" y="188"/>
                </a:cxn>
                <a:cxn ang="0">
                  <a:pos x="166" y="178"/>
                </a:cxn>
                <a:cxn ang="0">
                  <a:pos x="180" y="158"/>
                </a:cxn>
                <a:cxn ang="0">
                  <a:pos x="188" y="136"/>
                </a:cxn>
                <a:cxn ang="0">
                  <a:pos x="204" y="120"/>
                </a:cxn>
                <a:cxn ang="0">
                  <a:pos x="226" y="104"/>
                </a:cxn>
                <a:cxn ang="0">
                  <a:pos x="238" y="98"/>
                </a:cxn>
                <a:cxn ang="0">
                  <a:pos x="232" y="74"/>
                </a:cxn>
                <a:cxn ang="0">
                  <a:pos x="234" y="58"/>
                </a:cxn>
                <a:cxn ang="0">
                  <a:pos x="218" y="60"/>
                </a:cxn>
                <a:cxn ang="0">
                  <a:pos x="196" y="58"/>
                </a:cxn>
                <a:cxn ang="0">
                  <a:pos x="174" y="58"/>
                </a:cxn>
                <a:cxn ang="0">
                  <a:pos x="162" y="34"/>
                </a:cxn>
                <a:cxn ang="0">
                  <a:pos x="150" y="24"/>
                </a:cxn>
                <a:cxn ang="0">
                  <a:pos x="138" y="2"/>
                </a:cxn>
                <a:cxn ang="0">
                  <a:pos x="128" y="24"/>
                </a:cxn>
                <a:cxn ang="0">
                  <a:pos x="98" y="60"/>
                </a:cxn>
                <a:cxn ang="0">
                  <a:pos x="70" y="76"/>
                </a:cxn>
                <a:cxn ang="0">
                  <a:pos x="60" y="92"/>
                </a:cxn>
                <a:cxn ang="0">
                  <a:pos x="46" y="106"/>
                </a:cxn>
                <a:cxn ang="0">
                  <a:pos x="28" y="98"/>
                </a:cxn>
                <a:cxn ang="0">
                  <a:pos x="18" y="86"/>
                </a:cxn>
              </a:cxnLst>
              <a:rect l="0" t="0" r="r" b="b"/>
              <a:pathLst>
                <a:path w="288" h="458">
                  <a:moveTo>
                    <a:pt x="18" y="86"/>
                  </a:moveTo>
                  <a:lnTo>
                    <a:pt x="18" y="86"/>
                  </a:lnTo>
                  <a:lnTo>
                    <a:pt x="14" y="88"/>
                  </a:lnTo>
                  <a:lnTo>
                    <a:pt x="10" y="92"/>
                  </a:lnTo>
                  <a:lnTo>
                    <a:pt x="6" y="96"/>
                  </a:lnTo>
                  <a:lnTo>
                    <a:pt x="4" y="98"/>
                  </a:lnTo>
                  <a:lnTo>
                    <a:pt x="6" y="100"/>
                  </a:lnTo>
                  <a:lnTo>
                    <a:pt x="6" y="100"/>
                  </a:lnTo>
                  <a:lnTo>
                    <a:pt x="6" y="102"/>
                  </a:lnTo>
                  <a:lnTo>
                    <a:pt x="6" y="104"/>
                  </a:lnTo>
                  <a:lnTo>
                    <a:pt x="4" y="106"/>
                  </a:lnTo>
                  <a:lnTo>
                    <a:pt x="6" y="112"/>
                  </a:lnTo>
                  <a:lnTo>
                    <a:pt x="6" y="112"/>
                  </a:lnTo>
                  <a:lnTo>
                    <a:pt x="6" y="112"/>
                  </a:lnTo>
                  <a:lnTo>
                    <a:pt x="4" y="114"/>
                  </a:lnTo>
                  <a:lnTo>
                    <a:pt x="2" y="114"/>
                  </a:lnTo>
                  <a:lnTo>
                    <a:pt x="0" y="114"/>
                  </a:lnTo>
                  <a:lnTo>
                    <a:pt x="0" y="116"/>
                  </a:lnTo>
                  <a:lnTo>
                    <a:pt x="6" y="122"/>
                  </a:lnTo>
                  <a:lnTo>
                    <a:pt x="6" y="122"/>
                  </a:lnTo>
                  <a:lnTo>
                    <a:pt x="12" y="128"/>
                  </a:lnTo>
                  <a:lnTo>
                    <a:pt x="12" y="132"/>
                  </a:lnTo>
                  <a:lnTo>
                    <a:pt x="12" y="136"/>
                  </a:lnTo>
                  <a:lnTo>
                    <a:pt x="14" y="140"/>
                  </a:lnTo>
                  <a:lnTo>
                    <a:pt x="14" y="140"/>
                  </a:lnTo>
                  <a:lnTo>
                    <a:pt x="14" y="146"/>
                  </a:lnTo>
                  <a:lnTo>
                    <a:pt x="14" y="152"/>
                  </a:lnTo>
                  <a:lnTo>
                    <a:pt x="20" y="160"/>
                  </a:lnTo>
                  <a:lnTo>
                    <a:pt x="20" y="160"/>
                  </a:lnTo>
                  <a:lnTo>
                    <a:pt x="30" y="170"/>
                  </a:lnTo>
                  <a:lnTo>
                    <a:pt x="36" y="174"/>
                  </a:lnTo>
                  <a:lnTo>
                    <a:pt x="40" y="178"/>
                  </a:lnTo>
                  <a:lnTo>
                    <a:pt x="42" y="182"/>
                  </a:lnTo>
                  <a:lnTo>
                    <a:pt x="42" y="182"/>
                  </a:lnTo>
                  <a:lnTo>
                    <a:pt x="46" y="188"/>
                  </a:lnTo>
                  <a:lnTo>
                    <a:pt x="50" y="192"/>
                  </a:lnTo>
                  <a:lnTo>
                    <a:pt x="54" y="196"/>
                  </a:lnTo>
                  <a:lnTo>
                    <a:pt x="58" y="202"/>
                  </a:lnTo>
                  <a:lnTo>
                    <a:pt x="58" y="202"/>
                  </a:lnTo>
                  <a:lnTo>
                    <a:pt x="60" y="204"/>
                  </a:lnTo>
                  <a:lnTo>
                    <a:pt x="62" y="206"/>
                  </a:lnTo>
                  <a:lnTo>
                    <a:pt x="66" y="210"/>
                  </a:lnTo>
                  <a:lnTo>
                    <a:pt x="70" y="220"/>
                  </a:lnTo>
                  <a:lnTo>
                    <a:pt x="70" y="220"/>
                  </a:lnTo>
                  <a:lnTo>
                    <a:pt x="76" y="234"/>
                  </a:lnTo>
                  <a:lnTo>
                    <a:pt x="82" y="248"/>
                  </a:lnTo>
                  <a:lnTo>
                    <a:pt x="88" y="262"/>
                  </a:lnTo>
                  <a:lnTo>
                    <a:pt x="92" y="274"/>
                  </a:lnTo>
                  <a:lnTo>
                    <a:pt x="92" y="274"/>
                  </a:lnTo>
                  <a:lnTo>
                    <a:pt x="96" y="286"/>
                  </a:lnTo>
                  <a:lnTo>
                    <a:pt x="100" y="290"/>
                  </a:lnTo>
                  <a:lnTo>
                    <a:pt x="104" y="296"/>
                  </a:lnTo>
                  <a:lnTo>
                    <a:pt x="106" y="304"/>
                  </a:lnTo>
                  <a:lnTo>
                    <a:pt x="106" y="304"/>
                  </a:lnTo>
                  <a:lnTo>
                    <a:pt x="108" y="310"/>
                  </a:lnTo>
                  <a:lnTo>
                    <a:pt x="110" y="314"/>
                  </a:lnTo>
                  <a:lnTo>
                    <a:pt x="112" y="316"/>
                  </a:lnTo>
                  <a:lnTo>
                    <a:pt x="112" y="320"/>
                  </a:lnTo>
                  <a:lnTo>
                    <a:pt x="112" y="320"/>
                  </a:lnTo>
                  <a:lnTo>
                    <a:pt x="110" y="322"/>
                  </a:lnTo>
                  <a:lnTo>
                    <a:pt x="112" y="326"/>
                  </a:lnTo>
                  <a:lnTo>
                    <a:pt x="116" y="336"/>
                  </a:lnTo>
                  <a:lnTo>
                    <a:pt x="122" y="344"/>
                  </a:lnTo>
                  <a:lnTo>
                    <a:pt x="124" y="350"/>
                  </a:lnTo>
                  <a:lnTo>
                    <a:pt x="124" y="350"/>
                  </a:lnTo>
                  <a:lnTo>
                    <a:pt x="122" y="350"/>
                  </a:lnTo>
                  <a:lnTo>
                    <a:pt x="120" y="348"/>
                  </a:lnTo>
                  <a:lnTo>
                    <a:pt x="118" y="348"/>
                  </a:lnTo>
                  <a:lnTo>
                    <a:pt x="118" y="350"/>
                  </a:lnTo>
                  <a:lnTo>
                    <a:pt x="118" y="350"/>
                  </a:lnTo>
                  <a:lnTo>
                    <a:pt x="122" y="356"/>
                  </a:lnTo>
                  <a:lnTo>
                    <a:pt x="128" y="360"/>
                  </a:lnTo>
                  <a:lnTo>
                    <a:pt x="134" y="364"/>
                  </a:lnTo>
                  <a:lnTo>
                    <a:pt x="138" y="372"/>
                  </a:lnTo>
                  <a:lnTo>
                    <a:pt x="138" y="372"/>
                  </a:lnTo>
                  <a:lnTo>
                    <a:pt x="144" y="376"/>
                  </a:lnTo>
                  <a:lnTo>
                    <a:pt x="150" y="380"/>
                  </a:lnTo>
                  <a:lnTo>
                    <a:pt x="156" y="386"/>
                  </a:lnTo>
                  <a:lnTo>
                    <a:pt x="162" y="392"/>
                  </a:lnTo>
                  <a:lnTo>
                    <a:pt x="162" y="392"/>
                  </a:lnTo>
                  <a:lnTo>
                    <a:pt x="170" y="398"/>
                  </a:lnTo>
                  <a:lnTo>
                    <a:pt x="178" y="400"/>
                  </a:lnTo>
                  <a:lnTo>
                    <a:pt x="186" y="404"/>
                  </a:lnTo>
                  <a:lnTo>
                    <a:pt x="196" y="410"/>
                  </a:lnTo>
                  <a:lnTo>
                    <a:pt x="196" y="410"/>
                  </a:lnTo>
                  <a:lnTo>
                    <a:pt x="220" y="422"/>
                  </a:lnTo>
                  <a:lnTo>
                    <a:pt x="236" y="430"/>
                  </a:lnTo>
                  <a:lnTo>
                    <a:pt x="242" y="436"/>
                  </a:lnTo>
                  <a:lnTo>
                    <a:pt x="244" y="440"/>
                  </a:lnTo>
                  <a:lnTo>
                    <a:pt x="244" y="440"/>
                  </a:lnTo>
                  <a:lnTo>
                    <a:pt x="248" y="444"/>
                  </a:lnTo>
                  <a:lnTo>
                    <a:pt x="252" y="448"/>
                  </a:lnTo>
                  <a:lnTo>
                    <a:pt x="262" y="458"/>
                  </a:lnTo>
                  <a:lnTo>
                    <a:pt x="262" y="458"/>
                  </a:lnTo>
                  <a:lnTo>
                    <a:pt x="272" y="454"/>
                  </a:lnTo>
                  <a:lnTo>
                    <a:pt x="274" y="452"/>
                  </a:lnTo>
                  <a:lnTo>
                    <a:pt x="272" y="450"/>
                  </a:lnTo>
                  <a:lnTo>
                    <a:pt x="272" y="448"/>
                  </a:lnTo>
                  <a:lnTo>
                    <a:pt x="272" y="446"/>
                  </a:lnTo>
                  <a:lnTo>
                    <a:pt x="276" y="446"/>
                  </a:lnTo>
                  <a:lnTo>
                    <a:pt x="276" y="446"/>
                  </a:lnTo>
                  <a:lnTo>
                    <a:pt x="278" y="438"/>
                  </a:lnTo>
                  <a:lnTo>
                    <a:pt x="278" y="436"/>
                  </a:lnTo>
                  <a:lnTo>
                    <a:pt x="276" y="434"/>
                  </a:lnTo>
                  <a:lnTo>
                    <a:pt x="278" y="430"/>
                  </a:lnTo>
                  <a:lnTo>
                    <a:pt x="278" y="430"/>
                  </a:lnTo>
                  <a:lnTo>
                    <a:pt x="282" y="424"/>
                  </a:lnTo>
                  <a:lnTo>
                    <a:pt x="282" y="422"/>
                  </a:lnTo>
                  <a:lnTo>
                    <a:pt x="282" y="418"/>
                  </a:lnTo>
                  <a:lnTo>
                    <a:pt x="286" y="412"/>
                  </a:lnTo>
                  <a:lnTo>
                    <a:pt x="286" y="412"/>
                  </a:lnTo>
                  <a:lnTo>
                    <a:pt x="288" y="406"/>
                  </a:lnTo>
                  <a:lnTo>
                    <a:pt x="288" y="402"/>
                  </a:lnTo>
                  <a:lnTo>
                    <a:pt x="286" y="396"/>
                  </a:lnTo>
                  <a:lnTo>
                    <a:pt x="282" y="390"/>
                  </a:lnTo>
                  <a:lnTo>
                    <a:pt x="282" y="388"/>
                  </a:lnTo>
                  <a:lnTo>
                    <a:pt x="284" y="384"/>
                  </a:lnTo>
                  <a:lnTo>
                    <a:pt x="284" y="384"/>
                  </a:lnTo>
                  <a:lnTo>
                    <a:pt x="284" y="382"/>
                  </a:lnTo>
                  <a:lnTo>
                    <a:pt x="284" y="380"/>
                  </a:lnTo>
                  <a:lnTo>
                    <a:pt x="280" y="376"/>
                  </a:lnTo>
                  <a:lnTo>
                    <a:pt x="278" y="374"/>
                  </a:lnTo>
                  <a:lnTo>
                    <a:pt x="276" y="372"/>
                  </a:lnTo>
                  <a:lnTo>
                    <a:pt x="276" y="368"/>
                  </a:lnTo>
                  <a:lnTo>
                    <a:pt x="280" y="362"/>
                  </a:lnTo>
                  <a:lnTo>
                    <a:pt x="280" y="362"/>
                  </a:lnTo>
                  <a:lnTo>
                    <a:pt x="280" y="358"/>
                  </a:lnTo>
                  <a:lnTo>
                    <a:pt x="280" y="354"/>
                  </a:lnTo>
                  <a:lnTo>
                    <a:pt x="278" y="344"/>
                  </a:lnTo>
                  <a:lnTo>
                    <a:pt x="276" y="334"/>
                  </a:lnTo>
                  <a:lnTo>
                    <a:pt x="276" y="328"/>
                  </a:lnTo>
                  <a:lnTo>
                    <a:pt x="278" y="324"/>
                  </a:lnTo>
                  <a:lnTo>
                    <a:pt x="278" y="324"/>
                  </a:lnTo>
                  <a:lnTo>
                    <a:pt x="280" y="318"/>
                  </a:lnTo>
                  <a:lnTo>
                    <a:pt x="282" y="316"/>
                  </a:lnTo>
                  <a:lnTo>
                    <a:pt x="278" y="306"/>
                  </a:lnTo>
                  <a:lnTo>
                    <a:pt x="268" y="296"/>
                  </a:lnTo>
                  <a:lnTo>
                    <a:pt x="256" y="278"/>
                  </a:lnTo>
                  <a:lnTo>
                    <a:pt x="256" y="278"/>
                  </a:lnTo>
                  <a:lnTo>
                    <a:pt x="250" y="280"/>
                  </a:lnTo>
                  <a:lnTo>
                    <a:pt x="246" y="282"/>
                  </a:lnTo>
                  <a:lnTo>
                    <a:pt x="244" y="280"/>
                  </a:lnTo>
                  <a:lnTo>
                    <a:pt x="242" y="280"/>
                  </a:lnTo>
                  <a:lnTo>
                    <a:pt x="240" y="272"/>
                  </a:lnTo>
                  <a:lnTo>
                    <a:pt x="238" y="264"/>
                  </a:lnTo>
                  <a:lnTo>
                    <a:pt x="238" y="264"/>
                  </a:lnTo>
                  <a:lnTo>
                    <a:pt x="236" y="252"/>
                  </a:lnTo>
                  <a:lnTo>
                    <a:pt x="236" y="248"/>
                  </a:lnTo>
                  <a:lnTo>
                    <a:pt x="238" y="244"/>
                  </a:lnTo>
                  <a:lnTo>
                    <a:pt x="238" y="244"/>
                  </a:lnTo>
                  <a:lnTo>
                    <a:pt x="240" y="240"/>
                  </a:lnTo>
                  <a:lnTo>
                    <a:pt x="238" y="238"/>
                  </a:lnTo>
                  <a:lnTo>
                    <a:pt x="236" y="236"/>
                  </a:lnTo>
                  <a:lnTo>
                    <a:pt x="234" y="238"/>
                  </a:lnTo>
                  <a:lnTo>
                    <a:pt x="234" y="238"/>
                  </a:lnTo>
                  <a:lnTo>
                    <a:pt x="222" y="248"/>
                  </a:lnTo>
                  <a:lnTo>
                    <a:pt x="218" y="250"/>
                  </a:lnTo>
                  <a:lnTo>
                    <a:pt x="208" y="250"/>
                  </a:lnTo>
                  <a:lnTo>
                    <a:pt x="208" y="250"/>
                  </a:lnTo>
                  <a:lnTo>
                    <a:pt x="202" y="250"/>
                  </a:lnTo>
                  <a:lnTo>
                    <a:pt x="198" y="248"/>
                  </a:lnTo>
                  <a:lnTo>
                    <a:pt x="196" y="248"/>
                  </a:lnTo>
                  <a:lnTo>
                    <a:pt x="194" y="246"/>
                  </a:lnTo>
                  <a:lnTo>
                    <a:pt x="194" y="242"/>
                  </a:lnTo>
                  <a:lnTo>
                    <a:pt x="192" y="240"/>
                  </a:lnTo>
                  <a:lnTo>
                    <a:pt x="190" y="240"/>
                  </a:lnTo>
                  <a:lnTo>
                    <a:pt x="190" y="240"/>
                  </a:lnTo>
                  <a:lnTo>
                    <a:pt x="184" y="240"/>
                  </a:lnTo>
                  <a:lnTo>
                    <a:pt x="186" y="236"/>
                  </a:lnTo>
                  <a:lnTo>
                    <a:pt x="188" y="232"/>
                  </a:lnTo>
                  <a:lnTo>
                    <a:pt x="186" y="230"/>
                  </a:lnTo>
                  <a:lnTo>
                    <a:pt x="184" y="226"/>
                  </a:lnTo>
                  <a:lnTo>
                    <a:pt x="184" y="226"/>
                  </a:lnTo>
                  <a:lnTo>
                    <a:pt x="180" y="220"/>
                  </a:lnTo>
                  <a:lnTo>
                    <a:pt x="176" y="212"/>
                  </a:lnTo>
                  <a:lnTo>
                    <a:pt x="174" y="204"/>
                  </a:lnTo>
                  <a:lnTo>
                    <a:pt x="170" y="198"/>
                  </a:lnTo>
                  <a:lnTo>
                    <a:pt x="170" y="198"/>
                  </a:lnTo>
                  <a:lnTo>
                    <a:pt x="166" y="190"/>
                  </a:lnTo>
                  <a:lnTo>
                    <a:pt x="166" y="188"/>
                  </a:lnTo>
                  <a:lnTo>
                    <a:pt x="168" y="186"/>
                  </a:lnTo>
                  <a:lnTo>
                    <a:pt x="168" y="186"/>
                  </a:lnTo>
                  <a:lnTo>
                    <a:pt x="168" y="186"/>
                  </a:lnTo>
                  <a:lnTo>
                    <a:pt x="166" y="182"/>
                  </a:lnTo>
                  <a:lnTo>
                    <a:pt x="166" y="178"/>
                  </a:lnTo>
                  <a:lnTo>
                    <a:pt x="168" y="174"/>
                  </a:lnTo>
                  <a:lnTo>
                    <a:pt x="170" y="172"/>
                  </a:lnTo>
                  <a:lnTo>
                    <a:pt x="176" y="166"/>
                  </a:lnTo>
                  <a:lnTo>
                    <a:pt x="178" y="164"/>
                  </a:lnTo>
                  <a:lnTo>
                    <a:pt x="180" y="158"/>
                  </a:lnTo>
                  <a:lnTo>
                    <a:pt x="180" y="158"/>
                  </a:lnTo>
                  <a:lnTo>
                    <a:pt x="182" y="150"/>
                  </a:lnTo>
                  <a:lnTo>
                    <a:pt x="184" y="144"/>
                  </a:lnTo>
                  <a:lnTo>
                    <a:pt x="186" y="140"/>
                  </a:lnTo>
                  <a:lnTo>
                    <a:pt x="188" y="136"/>
                  </a:lnTo>
                  <a:lnTo>
                    <a:pt x="188" y="136"/>
                  </a:lnTo>
                  <a:lnTo>
                    <a:pt x="190" y="132"/>
                  </a:lnTo>
                  <a:lnTo>
                    <a:pt x="194" y="128"/>
                  </a:lnTo>
                  <a:lnTo>
                    <a:pt x="198" y="124"/>
                  </a:lnTo>
                  <a:lnTo>
                    <a:pt x="204" y="120"/>
                  </a:lnTo>
                  <a:lnTo>
                    <a:pt x="204" y="120"/>
                  </a:lnTo>
                  <a:lnTo>
                    <a:pt x="212" y="112"/>
                  </a:lnTo>
                  <a:lnTo>
                    <a:pt x="218" y="108"/>
                  </a:lnTo>
                  <a:lnTo>
                    <a:pt x="224" y="108"/>
                  </a:lnTo>
                  <a:lnTo>
                    <a:pt x="226" y="104"/>
                  </a:lnTo>
                  <a:lnTo>
                    <a:pt x="226" y="104"/>
                  </a:lnTo>
                  <a:lnTo>
                    <a:pt x="230" y="102"/>
                  </a:lnTo>
                  <a:lnTo>
                    <a:pt x="232" y="102"/>
                  </a:lnTo>
                  <a:lnTo>
                    <a:pt x="234" y="102"/>
                  </a:lnTo>
                  <a:lnTo>
                    <a:pt x="238" y="98"/>
                  </a:lnTo>
                  <a:lnTo>
                    <a:pt x="238" y="98"/>
                  </a:lnTo>
                  <a:lnTo>
                    <a:pt x="228" y="92"/>
                  </a:lnTo>
                  <a:lnTo>
                    <a:pt x="226" y="88"/>
                  </a:lnTo>
                  <a:lnTo>
                    <a:pt x="228" y="84"/>
                  </a:lnTo>
                  <a:lnTo>
                    <a:pt x="232" y="74"/>
                  </a:lnTo>
                  <a:lnTo>
                    <a:pt x="232" y="74"/>
                  </a:lnTo>
                  <a:lnTo>
                    <a:pt x="236" y="70"/>
                  </a:lnTo>
                  <a:lnTo>
                    <a:pt x="236" y="64"/>
                  </a:lnTo>
                  <a:lnTo>
                    <a:pt x="236" y="60"/>
                  </a:lnTo>
                  <a:lnTo>
                    <a:pt x="234" y="58"/>
                  </a:lnTo>
                  <a:lnTo>
                    <a:pt x="230" y="56"/>
                  </a:lnTo>
                  <a:lnTo>
                    <a:pt x="228" y="56"/>
                  </a:lnTo>
                  <a:lnTo>
                    <a:pt x="222" y="58"/>
                  </a:lnTo>
                  <a:lnTo>
                    <a:pt x="222" y="58"/>
                  </a:lnTo>
                  <a:lnTo>
                    <a:pt x="218" y="60"/>
                  </a:lnTo>
                  <a:lnTo>
                    <a:pt x="216" y="58"/>
                  </a:lnTo>
                  <a:lnTo>
                    <a:pt x="210" y="56"/>
                  </a:lnTo>
                  <a:lnTo>
                    <a:pt x="204" y="54"/>
                  </a:lnTo>
                  <a:lnTo>
                    <a:pt x="202" y="56"/>
                  </a:lnTo>
                  <a:lnTo>
                    <a:pt x="196" y="58"/>
                  </a:lnTo>
                  <a:lnTo>
                    <a:pt x="196" y="58"/>
                  </a:lnTo>
                  <a:lnTo>
                    <a:pt x="188" y="60"/>
                  </a:lnTo>
                  <a:lnTo>
                    <a:pt x="184" y="60"/>
                  </a:lnTo>
                  <a:lnTo>
                    <a:pt x="178" y="58"/>
                  </a:lnTo>
                  <a:lnTo>
                    <a:pt x="174" y="58"/>
                  </a:lnTo>
                  <a:lnTo>
                    <a:pt x="174" y="58"/>
                  </a:lnTo>
                  <a:lnTo>
                    <a:pt x="170" y="46"/>
                  </a:lnTo>
                  <a:lnTo>
                    <a:pt x="168" y="40"/>
                  </a:lnTo>
                  <a:lnTo>
                    <a:pt x="164" y="38"/>
                  </a:lnTo>
                  <a:lnTo>
                    <a:pt x="162" y="34"/>
                  </a:lnTo>
                  <a:lnTo>
                    <a:pt x="162" y="34"/>
                  </a:lnTo>
                  <a:lnTo>
                    <a:pt x="160" y="30"/>
                  </a:lnTo>
                  <a:lnTo>
                    <a:pt x="160" y="28"/>
                  </a:lnTo>
                  <a:lnTo>
                    <a:pt x="154" y="26"/>
                  </a:lnTo>
                  <a:lnTo>
                    <a:pt x="150" y="24"/>
                  </a:lnTo>
                  <a:lnTo>
                    <a:pt x="148" y="20"/>
                  </a:lnTo>
                  <a:lnTo>
                    <a:pt x="146" y="16"/>
                  </a:lnTo>
                  <a:lnTo>
                    <a:pt x="146" y="16"/>
                  </a:lnTo>
                  <a:lnTo>
                    <a:pt x="144" y="8"/>
                  </a:lnTo>
                  <a:lnTo>
                    <a:pt x="138" y="2"/>
                  </a:lnTo>
                  <a:lnTo>
                    <a:pt x="132" y="0"/>
                  </a:lnTo>
                  <a:lnTo>
                    <a:pt x="126" y="0"/>
                  </a:lnTo>
                  <a:lnTo>
                    <a:pt x="126" y="0"/>
                  </a:lnTo>
                  <a:lnTo>
                    <a:pt x="128" y="16"/>
                  </a:lnTo>
                  <a:lnTo>
                    <a:pt x="128" y="24"/>
                  </a:lnTo>
                  <a:lnTo>
                    <a:pt x="122" y="32"/>
                  </a:lnTo>
                  <a:lnTo>
                    <a:pt x="122" y="32"/>
                  </a:lnTo>
                  <a:lnTo>
                    <a:pt x="114" y="42"/>
                  </a:lnTo>
                  <a:lnTo>
                    <a:pt x="108" y="52"/>
                  </a:lnTo>
                  <a:lnTo>
                    <a:pt x="98" y="60"/>
                  </a:lnTo>
                  <a:lnTo>
                    <a:pt x="84" y="68"/>
                  </a:lnTo>
                  <a:lnTo>
                    <a:pt x="84" y="68"/>
                  </a:lnTo>
                  <a:lnTo>
                    <a:pt x="74" y="72"/>
                  </a:lnTo>
                  <a:lnTo>
                    <a:pt x="72" y="74"/>
                  </a:lnTo>
                  <a:lnTo>
                    <a:pt x="70" y="76"/>
                  </a:lnTo>
                  <a:lnTo>
                    <a:pt x="66" y="80"/>
                  </a:lnTo>
                  <a:lnTo>
                    <a:pt x="66" y="80"/>
                  </a:lnTo>
                  <a:lnTo>
                    <a:pt x="60" y="84"/>
                  </a:lnTo>
                  <a:lnTo>
                    <a:pt x="60" y="88"/>
                  </a:lnTo>
                  <a:lnTo>
                    <a:pt x="60" y="92"/>
                  </a:lnTo>
                  <a:lnTo>
                    <a:pt x="58" y="96"/>
                  </a:lnTo>
                  <a:lnTo>
                    <a:pt x="54" y="100"/>
                  </a:lnTo>
                  <a:lnTo>
                    <a:pt x="54" y="100"/>
                  </a:lnTo>
                  <a:lnTo>
                    <a:pt x="50" y="104"/>
                  </a:lnTo>
                  <a:lnTo>
                    <a:pt x="46" y="106"/>
                  </a:lnTo>
                  <a:lnTo>
                    <a:pt x="42" y="104"/>
                  </a:lnTo>
                  <a:lnTo>
                    <a:pt x="38" y="102"/>
                  </a:lnTo>
                  <a:lnTo>
                    <a:pt x="32" y="98"/>
                  </a:lnTo>
                  <a:lnTo>
                    <a:pt x="30" y="98"/>
                  </a:lnTo>
                  <a:lnTo>
                    <a:pt x="28" y="98"/>
                  </a:lnTo>
                  <a:lnTo>
                    <a:pt x="28" y="98"/>
                  </a:lnTo>
                  <a:lnTo>
                    <a:pt x="20" y="100"/>
                  </a:lnTo>
                  <a:lnTo>
                    <a:pt x="18" y="98"/>
                  </a:lnTo>
                  <a:lnTo>
                    <a:pt x="16" y="94"/>
                  </a:lnTo>
                  <a:lnTo>
                    <a:pt x="18" y="86"/>
                  </a:lnTo>
                  <a:lnTo>
                    <a:pt x="18" y="86"/>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Philippines"/>
            <p:cNvSpPr>
              <a:spLocks/>
            </p:cNvSpPr>
            <p:nvPr/>
          </p:nvSpPr>
          <p:spPr bwMode="auto">
            <a:xfrm>
              <a:off x="7399038" y="2975240"/>
              <a:ext cx="269874" cy="449791"/>
            </a:xfrm>
            <a:custGeom>
              <a:avLst/>
              <a:gdLst/>
              <a:ahLst/>
              <a:cxnLst/>
              <a:rect l="l" t="t" r="r" b="b"/>
              <a:pathLst>
                <a:path w="269874" h="449791">
                  <a:moveTo>
                    <a:pt x="132292" y="410104"/>
                  </a:moveTo>
                  <a:lnTo>
                    <a:pt x="137584" y="410104"/>
                  </a:lnTo>
                  <a:lnTo>
                    <a:pt x="142875" y="412750"/>
                  </a:lnTo>
                  <a:lnTo>
                    <a:pt x="145521" y="415396"/>
                  </a:lnTo>
                  <a:lnTo>
                    <a:pt x="142875" y="418042"/>
                  </a:lnTo>
                  <a:lnTo>
                    <a:pt x="140230" y="420687"/>
                  </a:lnTo>
                  <a:lnTo>
                    <a:pt x="137584" y="423333"/>
                  </a:lnTo>
                  <a:lnTo>
                    <a:pt x="134938" y="423333"/>
                  </a:lnTo>
                  <a:lnTo>
                    <a:pt x="132292" y="420687"/>
                  </a:lnTo>
                  <a:lnTo>
                    <a:pt x="127000" y="415396"/>
                  </a:lnTo>
                  <a:lnTo>
                    <a:pt x="127000" y="412750"/>
                  </a:lnTo>
                  <a:lnTo>
                    <a:pt x="129646" y="412750"/>
                  </a:lnTo>
                  <a:close/>
                  <a:moveTo>
                    <a:pt x="232833" y="306916"/>
                  </a:moveTo>
                  <a:lnTo>
                    <a:pt x="240770" y="314854"/>
                  </a:lnTo>
                  <a:lnTo>
                    <a:pt x="246062" y="320145"/>
                  </a:lnTo>
                  <a:lnTo>
                    <a:pt x="248708" y="322791"/>
                  </a:lnTo>
                  <a:lnTo>
                    <a:pt x="251353" y="325437"/>
                  </a:lnTo>
                  <a:lnTo>
                    <a:pt x="248708" y="328083"/>
                  </a:lnTo>
                  <a:lnTo>
                    <a:pt x="251353" y="330729"/>
                  </a:lnTo>
                  <a:lnTo>
                    <a:pt x="253999" y="328083"/>
                  </a:lnTo>
                  <a:lnTo>
                    <a:pt x="253999" y="333374"/>
                  </a:lnTo>
                  <a:lnTo>
                    <a:pt x="251353" y="336020"/>
                  </a:lnTo>
                  <a:lnTo>
                    <a:pt x="253999" y="338666"/>
                  </a:lnTo>
                  <a:lnTo>
                    <a:pt x="256645" y="341312"/>
                  </a:lnTo>
                  <a:lnTo>
                    <a:pt x="259291" y="343958"/>
                  </a:lnTo>
                  <a:lnTo>
                    <a:pt x="259291" y="346604"/>
                  </a:lnTo>
                  <a:lnTo>
                    <a:pt x="256645" y="349249"/>
                  </a:lnTo>
                  <a:lnTo>
                    <a:pt x="253999" y="351895"/>
                  </a:lnTo>
                  <a:lnTo>
                    <a:pt x="253999" y="354541"/>
                  </a:lnTo>
                  <a:lnTo>
                    <a:pt x="256645" y="354541"/>
                  </a:lnTo>
                  <a:lnTo>
                    <a:pt x="259291" y="354541"/>
                  </a:lnTo>
                  <a:lnTo>
                    <a:pt x="261937" y="354541"/>
                  </a:lnTo>
                  <a:lnTo>
                    <a:pt x="261937" y="357187"/>
                  </a:lnTo>
                  <a:lnTo>
                    <a:pt x="261937" y="359833"/>
                  </a:lnTo>
                  <a:lnTo>
                    <a:pt x="264583" y="359833"/>
                  </a:lnTo>
                  <a:lnTo>
                    <a:pt x="264583" y="362479"/>
                  </a:lnTo>
                  <a:lnTo>
                    <a:pt x="264583" y="367770"/>
                  </a:lnTo>
                  <a:lnTo>
                    <a:pt x="261937" y="370416"/>
                  </a:lnTo>
                  <a:lnTo>
                    <a:pt x="264583" y="373062"/>
                  </a:lnTo>
                  <a:lnTo>
                    <a:pt x="267228" y="375708"/>
                  </a:lnTo>
                  <a:lnTo>
                    <a:pt x="269874" y="380999"/>
                  </a:lnTo>
                  <a:lnTo>
                    <a:pt x="267228" y="386291"/>
                  </a:lnTo>
                  <a:lnTo>
                    <a:pt x="267228" y="388937"/>
                  </a:lnTo>
                  <a:lnTo>
                    <a:pt x="264583" y="394229"/>
                  </a:lnTo>
                  <a:lnTo>
                    <a:pt x="261937" y="394229"/>
                  </a:lnTo>
                  <a:lnTo>
                    <a:pt x="259291" y="396874"/>
                  </a:lnTo>
                  <a:lnTo>
                    <a:pt x="261937" y="402166"/>
                  </a:lnTo>
                  <a:lnTo>
                    <a:pt x="261937" y="407458"/>
                  </a:lnTo>
                  <a:lnTo>
                    <a:pt x="261937" y="412749"/>
                  </a:lnTo>
                  <a:lnTo>
                    <a:pt x="261937" y="415395"/>
                  </a:lnTo>
                  <a:lnTo>
                    <a:pt x="259291" y="410104"/>
                  </a:lnTo>
                  <a:lnTo>
                    <a:pt x="256645" y="404812"/>
                  </a:lnTo>
                  <a:lnTo>
                    <a:pt x="256645" y="402166"/>
                  </a:lnTo>
                  <a:lnTo>
                    <a:pt x="256645" y="399520"/>
                  </a:lnTo>
                  <a:lnTo>
                    <a:pt x="253999" y="396874"/>
                  </a:lnTo>
                  <a:lnTo>
                    <a:pt x="251353" y="394229"/>
                  </a:lnTo>
                  <a:lnTo>
                    <a:pt x="251353" y="388937"/>
                  </a:lnTo>
                  <a:lnTo>
                    <a:pt x="248708" y="383645"/>
                  </a:lnTo>
                  <a:lnTo>
                    <a:pt x="248708" y="380999"/>
                  </a:lnTo>
                  <a:lnTo>
                    <a:pt x="246062" y="383645"/>
                  </a:lnTo>
                  <a:lnTo>
                    <a:pt x="246062" y="388937"/>
                  </a:lnTo>
                  <a:lnTo>
                    <a:pt x="246062" y="394229"/>
                  </a:lnTo>
                  <a:lnTo>
                    <a:pt x="243416" y="396874"/>
                  </a:lnTo>
                  <a:lnTo>
                    <a:pt x="240770" y="396874"/>
                  </a:lnTo>
                  <a:lnTo>
                    <a:pt x="240770" y="399520"/>
                  </a:lnTo>
                  <a:lnTo>
                    <a:pt x="240770" y="402166"/>
                  </a:lnTo>
                  <a:lnTo>
                    <a:pt x="240770" y="404812"/>
                  </a:lnTo>
                  <a:lnTo>
                    <a:pt x="238124" y="407458"/>
                  </a:lnTo>
                  <a:lnTo>
                    <a:pt x="240770" y="410104"/>
                  </a:lnTo>
                  <a:lnTo>
                    <a:pt x="240770" y="412749"/>
                  </a:lnTo>
                  <a:lnTo>
                    <a:pt x="243416" y="412749"/>
                  </a:lnTo>
                  <a:lnTo>
                    <a:pt x="246062" y="412749"/>
                  </a:lnTo>
                  <a:lnTo>
                    <a:pt x="248708" y="412749"/>
                  </a:lnTo>
                  <a:lnTo>
                    <a:pt x="251353" y="418041"/>
                  </a:lnTo>
                  <a:lnTo>
                    <a:pt x="253999" y="420687"/>
                  </a:lnTo>
                  <a:lnTo>
                    <a:pt x="253999" y="428624"/>
                  </a:lnTo>
                  <a:lnTo>
                    <a:pt x="253999" y="431270"/>
                  </a:lnTo>
                  <a:lnTo>
                    <a:pt x="253999" y="436562"/>
                  </a:lnTo>
                  <a:lnTo>
                    <a:pt x="246062" y="441854"/>
                  </a:lnTo>
                  <a:lnTo>
                    <a:pt x="246062" y="444499"/>
                  </a:lnTo>
                  <a:lnTo>
                    <a:pt x="246062" y="447145"/>
                  </a:lnTo>
                  <a:lnTo>
                    <a:pt x="243416" y="449791"/>
                  </a:lnTo>
                  <a:lnTo>
                    <a:pt x="238124" y="447145"/>
                  </a:lnTo>
                  <a:lnTo>
                    <a:pt x="235478" y="444499"/>
                  </a:lnTo>
                  <a:lnTo>
                    <a:pt x="232833" y="441854"/>
                  </a:lnTo>
                  <a:lnTo>
                    <a:pt x="235478" y="441854"/>
                  </a:lnTo>
                  <a:lnTo>
                    <a:pt x="235478" y="433916"/>
                  </a:lnTo>
                  <a:lnTo>
                    <a:pt x="235478" y="431270"/>
                  </a:lnTo>
                  <a:lnTo>
                    <a:pt x="232833" y="433916"/>
                  </a:lnTo>
                  <a:lnTo>
                    <a:pt x="232833" y="436562"/>
                  </a:lnTo>
                  <a:lnTo>
                    <a:pt x="230187" y="436562"/>
                  </a:lnTo>
                  <a:lnTo>
                    <a:pt x="224895" y="433916"/>
                  </a:lnTo>
                  <a:lnTo>
                    <a:pt x="216958" y="431270"/>
                  </a:lnTo>
                  <a:lnTo>
                    <a:pt x="209020" y="428624"/>
                  </a:lnTo>
                  <a:lnTo>
                    <a:pt x="201083" y="423333"/>
                  </a:lnTo>
                  <a:lnTo>
                    <a:pt x="195791" y="418041"/>
                  </a:lnTo>
                  <a:lnTo>
                    <a:pt x="193145" y="415395"/>
                  </a:lnTo>
                  <a:lnTo>
                    <a:pt x="193145" y="412749"/>
                  </a:lnTo>
                  <a:lnTo>
                    <a:pt x="195791" y="410104"/>
                  </a:lnTo>
                  <a:lnTo>
                    <a:pt x="193145" y="407458"/>
                  </a:lnTo>
                  <a:lnTo>
                    <a:pt x="190499" y="402166"/>
                  </a:lnTo>
                  <a:lnTo>
                    <a:pt x="190499" y="399520"/>
                  </a:lnTo>
                  <a:lnTo>
                    <a:pt x="190499" y="394229"/>
                  </a:lnTo>
                  <a:lnTo>
                    <a:pt x="190499" y="388937"/>
                  </a:lnTo>
                  <a:lnTo>
                    <a:pt x="193145" y="386291"/>
                  </a:lnTo>
                  <a:lnTo>
                    <a:pt x="195791" y="386291"/>
                  </a:lnTo>
                  <a:lnTo>
                    <a:pt x="198437" y="383645"/>
                  </a:lnTo>
                  <a:lnTo>
                    <a:pt x="198437" y="380999"/>
                  </a:lnTo>
                  <a:lnTo>
                    <a:pt x="201083" y="380999"/>
                  </a:lnTo>
                  <a:lnTo>
                    <a:pt x="201083" y="378354"/>
                  </a:lnTo>
                  <a:lnTo>
                    <a:pt x="198437" y="375708"/>
                  </a:lnTo>
                  <a:lnTo>
                    <a:pt x="190499" y="367770"/>
                  </a:lnTo>
                  <a:lnTo>
                    <a:pt x="185208" y="365124"/>
                  </a:lnTo>
                  <a:lnTo>
                    <a:pt x="182562" y="365124"/>
                  </a:lnTo>
                  <a:lnTo>
                    <a:pt x="182562" y="367770"/>
                  </a:lnTo>
                  <a:lnTo>
                    <a:pt x="185208" y="370416"/>
                  </a:lnTo>
                  <a:lnTo>
                    <a:pt x="182562" y="373062"/>
                  </a:lnTo>
                  <a:lnTo>
                    <a:pt x="182562" y="375708"/>
                  </a:lnTo>
                  <a:lnTo>
                    <a:pt x="185208" y="378354"/>
                  </a:lnTo>
                  <a:lnTo>
                    <a:pt x="182562" y="380999"/>
                  </a:lnTo>
                  <a:lnTo>
                    <a:pt x="179916" y="378354"/>
                  </a:lnTo>
                  <a:lnTo>
                    <a:pt x="177270" y="375708"/>
                  </a:lnTo>
                  <a:lnTo>
                    <a:pt x="174624" y="378354"/>
                  </a:lnTo>
                  <a:lnTo>
                    <a:pt x="174624" y="380999"/>
                  </a:lnTo>
                  <a:lnTo>
                    <a:pt x="171979" y="380999"/>
                  </a:lnTo>
                  <a:lnTo>
                    <a:pt x="169333" y="378354"/>
                  </a:lnTo>
                  <a:lnTo>
                    <a:pt x="166687" y="378354"/>
                  </a:lnTo>
                  <a:lnTo>
                    <a:pt x="164041" y="375708"/>
                  </a:lnTo>
                  <a:lnTo>
                    <a:pt x="161395" y="373062"/>
                  </a:lnTo>
                  <a:lnTo>
                    <a:pt x="161395" y="370416"/>
                  </a:lnTo>
                  <a:lnTo>
                    <a:pt x="161395" y="367770"/>
                  </a:lnTo>
                  <a:lnTo>
                    <a:pt x="158750" y="367770"/>
                  </a:lnTo>
                  <a:lnTo>
                    <a:pt x="156104" y="367770"/>
                  </a:lnTo>
                  <a:lnTo>
                    <a:pt x="153458" y="370416"/>
                  </a:lnTo>
                  <a:lnTo>
                    <a:pt x="150812" y="373062"/>
                  </a:lnTo>
                  <a:lnTo>
                    <a:pt x="150812" y="380999"/>
                  </a:lnTo>
                  <a:lnTo>
                    <a:pt x="150812" y="383645"/>
                  </a:lnTo>
                  <a:lnTo>
                    <a:pt x="150812" y="388937"/>
                  </a:lnTo>
                  <a:lnTo>
                    <a:pt x="148166" y="394229"/>
                  </a:lnTo>
                  <a:lnTo>
                    <a:pt x="145520" y="396874"/>
                  </a:lnTo>
                  <a:lnTo>
                    <a:pt x="142875" y="399520"/>
                  </a:lnTo>
                  <a:lnTo>
                    <a:pt x="134937" y="399520"/>
                  </a:lnTo>
                  <a:lnTo>
                    <a:pt x="132291" y="399520"/>
                  </a:lnTo>
                  <a:lnTo>
                    <a:pt x="132291" y="396874"/>
                  </a:lnTo>
                  <a:lnTo>
                    <a:pt x="132291" y="391583"/>
                  </a:lnTo>
                  <a:lnTo>
                    <a:pt x="132291" y="388937"/>
                  </a:lnTo>
                  <a:lnTo>
                    <a:pt x="137583" y="388937"/>
                  </a:lnTo>
                  <a:lnTo>
                    <a:pt x="137583" y="386291"/>
                  </a:lnTo>
                  <a:lnTo>
                    <a:pt x="134937" y="386291"/>
                  </a:lnTo>
                  <a:lnTo>
                    <a:pt x="134937" y="383645"/>
                  </a:lnTo>
                  <a:lnTo>
                    <a:pt x="137583" y="380999"/>
                  </a:lnTo>
                  <a:lnTo>
                    <a:pt x="137583" y="378354"/>
                  </a:lnTo>
                  <a:lnTo>
                    <a:pt x="140229" y="375708"/>
                  </a:lnTo>
                  <a:lnTo>
                    <a:pt x="137583" y="370416"/>
                  </a:lnTo>
                  <a:lnTo>
                    <a:pt x="137583" y="365124"/>
                  </a:lnTo>
                  <a:lnTo>
                    <a:pt x="140229" y="362479"/>
                  </a:lnTo>
                  <a:lnTo>
                    <a:pt x="145520" y="359833"/>
                  </a:lnTo>
                  <a:lnTo>
                    <a:pt x="150812" y="357187"/>
                  </a:lnTo>
                  <a:lnTo>
                    <a:pt x="158750" y="357187"/>
                  </a:lnTo>
                  <a:lnTo>
                    <a:pt x="161395" y="354541"/>
                  </a:lnTo>
                  <a:lnTo>
                    <a:pt x="158750" y="351895"/>
                  </a:lnTo>
                  <a:lnTo>
                    <a:pt x="158750" y="349249"/>
                  </a:lnTo>
                  <a:lnTo>
                    <a:pt x="161395" y="349249"/>
                  </a:lnTo>
                  <a:lnTo>
                    <a:pt x="161395" y="346604"/>
                  </a:lnTo>
                  <a:lnTo>
                    <a:pt x="158750" y="346604"/>
                  </a:lnTo>
                  <a:lnTo>
                    <a:pt x="161395" y="343958"/>
                  </a:lnTo>
                  <a:lnTo>
                    <a:pt x="164041" y="343958"/>
                  </a:lnTo>
                  <a:lnTo>
                    <a:pt x="164041" y="341312"/>
                  </a:lnTo>
                  <a:lnTo>
                    <a:pt x="169333" y="341312"/>
                  </a:lnTo>
                  <a:lnTo>
                    <a:pt x="171979" y="341312"/>
                  </a:lnTo>
                  <a:lnTo>
                    <a:pt x="174624" y="338666"/>
                  </a:lnTo>
                  <a:lnTo>
                    <a:pt x="177270" y="338666"/>
                  </a:lnTo>
                  <a:lnTo>
                    <a:pt x="177270" y="336020"/>
                  </a:lnTo>
                  <a:lnTo>
                    <a:pt x="182562" y="336020"/>
                  </a:lnTo>
                  <a:lnTo>
                    <a:pt x="185208" y="338666"/>
                  </a:lnTo>
                  <a:lnTo>
                    <a:pt x="187854" y="341312"/>
                  </a:lnTo>
                  <a:lnTo>
                    <a:pt x="187854" y="349249"/>
                  </a:lnTo>
                  <a:lnTo>
                    <a:pt x="187854" y="351895"/>
                  </a:lnTo>
                  <a:lnTo>
                    <a:pt x="185208" y="351895"/>
                  </a:lnTo>
                  <a:lnTo>
                    <a:pt x="182562" y="351895"/>
                  </a:lnTo>
                  <a:lnTo>
                    <a:pt x="182562" y="354541"/>
                  </a:lnTo>
                  <a:lnTo>
                    <a:pt x="185208" y="354541"/>
                  </a:lnTo>
                  <a:lnTo>
                    <a:pt x="190499" y="351895"/>
                  </a:lnTo>
                  <a:lnTo>
                    <a:pt x="195791" y="349249"/>
                  </a:lnTo>
                  <a:lnTo>
                    <a:pt x="195791" y="346604"/>
                  </a:lnTo>
                  <a:lnTo>
                    <a:pt x="195791" y="341312"/>
                  </a:lnTo>
                  <a:lnTo>
                    <a:pt x="198437" y="341312"/>
                  </a:lnTo>
                  <a:lnTo>
                    <a:pt x="201083" y="343958"/>
                  </a:lnTo>
                  <a:lnTo>
                    <a:pt x="206374" y="343958"/>
                  </a:lnTo>
                  <a:lnTo>
                    <a:pt x="206374" y="341312"/>
                  </a:lnTo>
                  <a:lnTo>
                    <a:pt x="209020" y="336020"/>
                  </a:lnTo>
                  <a:lnTo>
                    <a:pt x="211666" y="336020"/>
                  </a:lnTo>
                  <a:lnTo>
                    <a:pt x="214312" y="338666"/>
                  </a:lnTo>
                  <a:lnTo>
                    <a:pt x="216958" y="338666"/>
                  </a:lnTo>
                  <a:lnTo>
                    <a:pt x="219604" y="333374"/>
                  </a:lnTo>
                  <a:lnTo>
                    <a:pt x="219604" y="330729"/>
                  </a:lnTo>
                  <a:lnTo>
                    <a:pt x="222249" y="330729"/>
                  </a:lnTo>
                  <a:lnTo>
                    <a:pt x="224895" y="333374"/>
                  </a:lnTo>
                  <a:lnTo>
                    <a:pt x="227541" y="333374"/>
                  </a:lnTo>
                  <a:lnTo>
                    <a:pt x="230187" y="333374"/>
                  </a:lnTo>
                  <a:lnTo>
                    <a:pt x="230187" y="330729"/>
                  </a:lnTo>
                  <a:lnTo>
                    <a:pt x="230187" y="325437"/>
                  </a:lnTo>
                  <a:lnTo>
                    <a:pt x="230187" y="317499"/>
                  </a:lnTo>
                  <a:lnTo>
                    <a:pt x="230187" y="312208"/>
                  </a:lnTo>
                  <a:lnTo>
                    <a:pt x="232833" y="309562"/>
                  </a:lnTo>
                  <a:close/>
                  <a:moveTo>
                    <a:pt x="195791" y="298979"/>
                  </a:moveTo>
                  <a:lnTo>
                    <a:pt x="201083" y="301625"/>
                  </a:lnTo>
                  <a:lnTo>
                    <a:pt x="203728" y="301625"/>
                  </a:lnTo>
                  <a:lnTo>
                    <a:pt x="206374" y="304271"/>
                  </a:lnTo>
                  <a:lnTo>
                    <a:pt x="206374" y="306917"/>
                  </a:lnTo>
                  <a:lnTo>
                    <a:pt x="203728" y="309563"/>
                  </a:lnTo>
                  <a:lnTo>
                    <a:pt x="206374" y="312208"/>
                  </a:lnTo>
                  <a:lnTo>
                    <a:pt x="203728" y="312208"/>
                  </a:lnTo>
                  <a:lnTo>
                    <a:pt x="201083" y="314854"/>
                  </a:lnTo>
                  <a:lnTo>
                    <a:pt x="198437" y="317500"/>
                  </a:lnTo>
                  <a:lnTo>
                    <a:pt x="193145" y="317500"/>
                  </a:lnTo>
                  <a:lnTo>
                    <a:pt x="182562" y="317500"/>
                  </a:lnTo>
                  <a:lnTo>
                    <a:pt x="179916" y="317500"/>
                  </a:lnTo>
                  <a:lnTo>
                    <a:pt x="177270" y="317500"/>
                  </a:lnTo>
                  <a:lnTo>
                    <a:pt x="179916" y="314854"/>
                  </a:lnTo>
                  <a:lnTo>
                    <a:pt x="182562" y="314854"/>
                  </a:lnTo>
                  <a:lnTo>
                    <a:pt x="182562" y="312208"/>
                  </a:lnTo>
                  <a:lnTo>
                    <a:pt x="182562" y="309563"/>
                  </a:lnTo>
                  <a:lnTo>
                    <a:pt x="185208" y="306917"/>
                  </a:lnTo>
                  <a:lnTo>
                    <a:pt x="187854" y="306917"/>
                  </a:lnTo>
                  <a:lnTo>
                    <a:pt x="190499" y="301625"/>
                  </a:lnTo>
                  <a:close/>
                  <a:moveTo>
                    <a:pt x="156104" y="264583"/>
                  </a:moveTo>
                  <a:lnTo>
                    <a:pt x="158750" y="264583"/>
                  </a:lnTo>
                  <a:lnTo>
                    <a:pt x="164042" y="267229"/>
                  </a:lnTo>
                  <a:lnTo>
                    <a:pt x="166687" y="267229"/>
                  </a:lnTo>
                  <a:lnTo>
                    <a:pt x="169333" y="272520"/>
                  </a:lnTo>
                  <a:lnTo>
                    <a:pt x="169333" y="275166"/>
                  </a:lnTo>
                  <a:lnTo>
                    <a:pt x="169333" y="280458"/>
                  </a:lnTo>
                  <a:lnTo>
                    <a:pt x="164042" y="285750"/>
                  </a:lnTo>
                  <a:lnTo>
                    <a:pt x="164042" y="288395"/>
                  </a:lnTo>
                  <a:lnTo>
                    <a:pt x="164042" y="291041"/>
                  </a:lnTo>
                  <a:lnTo>
                    <a:pt x="161396" y="296333"/>
                  </a:lnTo>
                  <a:lnTo>
                    <a:pt x="156104" y="298979"/>
                  </a:lnTo>
                  <a:lnTo>
                    <a:pt x="156104" y="301625"/>
                  </a:lnTo>
                  <a:lnTo>
                    <a:pt x="158750" y="306917"/>
                  </a:lnTo>
                  <a:lnTo>
                    <a:pt x="158750" y="312208"/>
                  </a:lnTo>
                  <a:lnTo>
                    <a:pt x="158750" y="314854"/>
                  </a:lnTo>
                  <a:lnTo>
                    <a:pt x="161396" y="317500"/>
                  </a:lnTo>
                  <a:lnTo>
                    <a:pt x="164042" y="320146"/>
                  </a:lnTo>
                  <a:lnTo>
                    <a:pt x="164042" y="325438"/>
                  </a:lnTo>
                  <a:lnTo>
                    <a:pt x="161396" y="330729"/>
                  </a:lnTo>
                  <a:lnTo>
                    <a:pt x="158750" y="330729"/>
                  </a:lnTo>
                  <a:lnTo>
                    <a:pt x="156104" y="333375"/>
                  </a:lnTo>
                  <a:lnTo>
                    <a:pt x="153458" y="330729"/>
                  </a:lnTo>
                  <a:lnTo>
                    <a:pt x="150812" y="328083"/>
                  </a:lnTo>
                  <a:lnTo>
                    <a:pt x="148167" y="328083"/>
                  </a:lnTo>
                  <a:lnTo>
                    <a:pt x="142875" y="325438"/>
                  </a:lnTo>
                  <a:lnTo>
                    <a:pt x="137583" y="322792"/>
                  </a:lnTo>
                  <a:lnTo>
                    <a:pt x="137583" y="317500"/>
                  </a:lnTo>
                  <a:lnTo>
                    <a:pt x="137583" y="312208"/>
                  </a:lnTo>
                  <a:lnTo>
                    <a:pt x="137583" y="309563"/>
                  </a:lnTo>
                  <a:lnTo>
                    <a:pt x="140229" y="309563"/>
                  </a:lnTo>
                  <a:lnTo>
                    <a:pt x="145521" y="309563"/>
                  </a:lnTo>
                  <a:lnTo>
                    <a:pt x="145521" y="306917"/>
                  </a:lnTo>
                  <a:lnTo>
                    <a:pt x="145521" y="301625"/>
                  </a:lnTo>
                  <a:lnTo>
                    <a:pt x="145521" y="296333"/>
                  </a:lnTo>
                  <a:lnTo>
                    <a:pt x="145521" y="293687"/>
                  </a:lnTo>
                  <a:lnTo>
                    <a:pt x="148167" y="291041"/>
                  </a:lnTo>
                  <a:lnTo>
                    <a:pt x="145521" y="285750"/>
                  </a:lnTo>
                  <a:lnTo>
                    <a:pt x="148167" y="283104"/>
                  </a:lnTo>
                  <a:lnTo>
                    <a:pt x="150812" y="280458"/>
                  </a:lnTo>
                  <a:lnTo>
                    <a:pt x="150812" y="272520"/>
                  </a:lnTo>
                  <a:lnTo>
                    <a:pt x="150812" y="269875"/>
                  </a:lnTo>
                  <a:lnTo>
                    <a:pt x="150812" y="267229"/>
                  </a:lnTo>
                  <a:close/>
                  <a:moveTo>
                    <a:pt x="182562" y="261937"/>
                  </a:moveTo>
                  <a:lnTo>
                    <a:pt x="182562" y="264583"/>
                  </a:lnTo>
                  <a:lnTo>
                    <a:pt x="185208" y="267229"/>
                  </a:lnTo>
                  <a:lnTo>
                    <a:pt x="185208" y="269874"/>
                  </a:lnTo>
                  <a:lnTo>
                    <a:pt x="185208" y="272520"/>
                  </a:lnTo>
                  <a:lnTo>
                    <a:pt x="185208" y="280458"/>
                  </a:lnTo>
                  <a:lnTo>
                    <a:pt x="185208" y="283104"/>
                  </a:lnTo>
                  <a:lnTo>
                    <a:pt x="179916" y="285750"/>
                  </a:lnTo>
                  <a:lnTo>
                    <a:pt x="177271" y="288395"/>
                  </a:lnTo>
                  <a:lnTo>
                    <a:pt x="177271" y="291041"/>
                  </a:lnTo>
                  <a:lnTo>
                    <a:pt x="174625" y="293687"/>
                  </a:lnTo>
                  <a:lnTo>
                    <a:pt x="174625" y="296333"/>
                  </a:lnTo>
                  <a:lnTo>
                    <a:pt x="174625" y="298979"/>
                  </a:lnTo>
                  <a:lnTo>
                    <a:pt x="171979" y="312208"/>
                  </a:lnTo>
                  <a:lnTo>
                    <a:pt x="166687" y="317500"/>
                  </a:lnTo>
                  <a:lnTo>
                    <a:pt x="164041" y="317500"/>
                  </a:lnTo>
                  <a:lnTo>
                    <a:pt x="164041" y="306917"/>
                  </a:lnTo>
                  <a:lnTo>
                    <a:pt x="166687" y="296333"/>
                  </a:lnTo>
                  <a:lnTo>
                    <a:pt x="169333" y="291041"/>
                  </a:lnTo>
                  <a:lnTo>
                    <a:pt x="171979" y="285750"/>
                  </a:lnTo>
                  <a:lnTo>
                    <a:pt x="177271" y="272520"/>
                  </a:lnTo>
                  <a:lnTo>
                    <a:pt x="179916" y="264583"/>
                  </a:lnTo>
                  <a:close/>
                  <a:moveTo>
                    <a:pt x="52917" y="254000"/>
                  </a:moveTo>
                  <a:lnTo>
                    <a:pt x="55562" y="254000"/>
                  </a:lnTo>
                  <a:lnTo>
                    <a:pt x="58208" y="256646"/>
                  </a:lnTo>
                  <a:lnTo>
                    <a:pt x="60854" y="261937"/>
                  </a:lnTo>
                  <a:lnTo>
                    <a:pt x="58208" y="264583"/>
                  </a:lnTo>
                  <a:lnTo>
                    <a:pt x="58208" y="267229"/>
                  </a:lnTo>
                  <a:lnTo>
                    <a:pt x="58208" y="269875"/>
                  </a:lnTo>
                  <a:lnTo>
                    <a:pt x="60854" y="269875"/>
                  </a:lnTo>
                  <a:lnTo>
                    <a:pt x="60854" y="272521"/>
                  </a:lnTo>
                  <a:lnTo>
                    <a:pt x="63500" y="275167"/>
                  </a:lnTo>
                  <a:lnTo>
                    <a:pt x="66146" y="275167"/>
                  </a:lnTo>
                  <a:lnTo>
                    <a:pt x="66146" y="277812"/>
                  </a:lnTo>
                  <a:lnTo>
                    <a:pt x="63500" y="280458"/>
                  </a:lnTo>
                  <a:lnTo>
                    <a:pt x="60854" y="280458"/>
                  </a:lnTo>
                  <a:lnTo>
                    <a:pt x="60854" y="285750"/>
                  </a:lnTo>
                  <a:lnTo>
                    <a:pt x="60854" y="288396"/>
                  </a:lnTo>
                  <a:lnTo>
                    <a:pt x="58208" y="291041"/>
                  </a:lnTo>
                  <a:lnTo>
                    <a:pt x="47625" y="296333"/>
                  </a:lnTo>
                  <a:lnTo>
                    <a:pt x="39687" y="301625"/>
                  </a:lnTo>
                  <a:lnTo>
                    <a:pt x="39687" y="304271"/>
                  </a:lnTo>
                  <a:lnTo>
                    <a:pt x="42333" y="306917"/>
                  </a:lnTo>
                  <a:lnTo>
                    <a:pt x="42333" y="312208"/>
                  </a:lnTo>
                  <a:lnTo>
                    <a:pt x="37042" y="314854"/>
                  </a:lnTo>
                  <a:lnTo>
                    <a:pt x="37042" y="320146"/>
                  </a:lnTo>
                  <a:lnTo>
                    <a:pt x="34396" y="322792"/>
                  </a:lnTo>
                  <a:lnTo>
                    <a:pt x="31750" y="322792"/>
                  </a:lnTo>
                  <a:lnTo>
                    <a:pt x="26458" y="325438"/>
                  </a:lnTo>
                  <a:lnTo>
                    <a:pt x="23812" y="325438"/>
                  </a:lnTo>
                  <a:lnTo>
                    <a:pt x="23812" y="328083"/>
                  </a:lnTo>
                  <a:lnTo>
                    <a:pt x="23812" y="333375"/>
                  </a:lnTo>
                  <a:lnTo>
                    <a:pt x="21166" y="336021"/>
                  </a:lnTo>
                  <a:lnTo>
                    <a:pt x="15875" y="341312"/>
                  </a:lnTo>
                  <a:lnTo>
                    <a:pt x="10583" y="343958"/>
                  </a:lnTo>
                  <a:lnTo>
                    <a:pt x="7937" y="346604"/>
                  </a:lnTo>
                  <a:lnTo>
                    <a:pt x="5291" y="346604"/>
                  </a:lnTo>
                  <a:lnTo>
                    <a:pt x="2646" y="346604"/>
                  </a:lnTo>
                  <a:lnTo>
                    <a:pt x="0" y="343958"/>
                  </a:lnTo>
                  <a:lnTo>
                    <a:pt x="2646" y="341312"/>
                  </a:lnTo>
                  <a:lnTo>
                    <a:pt x="2646" y="336021"/>
                  </a:lnTo>
                  <a:lnTo>
                    <a:pt x="5291" y="333375"/>
                  </a:lnTo>
                  <a:lnTo>
                    <a:pt x="7937" y="330729"/>
                  </a:lnTo>
                  <a:lnTo>
                    <a:pt x="10583" y="325438"/>
                  </a:lnTo>
                  <a:lnTo>
                    <a:pt x="13229" y="322792"/>
                  </a:lnTo>
                  <a:lnTo>
                    <a:pt x="15875" y="320146"/>
                  </a:lnTo>
                  <a:lnTo>
                    <a:pt x="18521" y="317500"/>
                  </a:lnTo>
                  <a:lnTo>
                    <a:pt x="21166" y="314854"/>
                  </a:lnTo>
                  <a:lnTo>
                    <a:pt x="23812" y="309563"/>
                  </a:lnTo>
                  <a:lnTo>
                    <a:pt x="26458" y="304271"/>
                  </a:lnTo>
                  <a:lnTo>
                    <a:pt x="29104" y="301625"/>
                  </a:lnTo>
                  <a:lnTo>
                    <a:pt x="29104" y="296333"/>
                  </a:lnTo>
                  <a:lnTo>
                    <a:pt x="31750" y="293687"/>
                  </a:lnTo>
                  <a:lnTo>
                    <a:pt x="34396" y="293687"/>
                  </a:lnTo>
                  <a:lnTo>
                    <a:pt x="37042" y="291041"/>
                  </a:lnTo>
                  <a:lnTo>
                    <a:pt x="37042" y="288396"/>
                  </a:lnTo>
                  <a:lnTo>
                    <a:pt x="39687" y="283104"/>
                  </a:lnTo>
                  <a:lnTo>
                    <a:pt x="42333" y="280458"/>
                  </a:lnTo>
                  <a:lnTo>
                    <a:pt x="44979" y="280458"/>
                  </a:lnTo>
                  <a:lnTo>
                    <a:pt x="50271" y="275167"/>
                  </a:lnTo>
                  <a:lnTo>
                    <a:pt x="50271" y="272521"/>
                  </a:lnTo>
                  <a:lnTo>
                    <a:pt x="47625" y="269875"/>
                  </a:lnTo>
                  <a:lnTo>
                    <a:pt x="50271" y="267229"/>
                  </a:lnTo>
                  <a:lnTo>
                    <a:pt x="50271" y="264583"/>
                  </a:lnTo>
                  <a:lnTo>
                    <a:pt x="52917" y="259292"/>
                  </a:lnTo>
                  <a:close/>
                  <a:moveTo>
                    <a:pt x="185208" y="246062"/>
                  </a:moveTo>
                  <a:lnTo>
                    <a:pt x="187854" y="246062"/>
                  </a:lnTo>
                  <a:lnTo>
                    <a:pt x="190500" y="248708"/>
                  </a:lnTo>
                  <a:lnTo>
                    <a:pt x="198438" y="253999"/>
                  </a:lnTo>
                  <a:lnTo>
                    <a:pt x="198438" y="251354"/>
                  </a:lnTo>
                  <a:lnTo>
                    <a:pt x="201083" y="251354"/>
                  </a:lnTo>
                  <a:lnTo>
                    <a:pt x="201083" y="248708"/>
                  </a:lnTo>
                  <a:lnTo>
                    <a:pt x="203729" y="251354"/>
                  </a:lnTo>
                  <a:lnTo>
                    <a:pt x="206375" y="256645"/>
                  </a:lnTo>
                  <a:lnTo>
                    <a:pt x="206375" y="264583"/>
                  </a:lnTo>
                  <a:lnTo>
                    <a:pt x="206375" y="267229"/>
                  </a:lnTo>
                  <a:lnTo>
                    <a:pt x="211667" y="267229"/>
                  </a:lnTo>
                  <a:lnTo>
                    <a:pt x="214313" y="269874"/>
                  </a:lnTo>
                  <a:lnTo>
                    <a:pt x="216959" y="272520"/>
                  </a:lnTo>
                  <a:lnTo>
                    <a:pt x="216959" y="275166"/>
                  </a:lnTo>
                  <a:lnTo>
                    <a:pt x="219604" y="277812"/>
                  </a:lnTo>
                  <a:lnTo>
                    <a:pt x="222250" y="280458"/>
                  </a:lnTo>
                  <a:lnTo>
                    <a:pt x="222250" y="283104"/>
                  </a:lnTo>
                  <a:lnTo>
                    <a:pt x="219604" y="283104"/>
                  </a:lnTo>
                  <a:lnTo>
                    <a:pt x="222250" y="285750"/>
                  </a:lnTo>
                  <a:lnTo>
                    <a:pt x="222250" y="288395"/>
                  </a:lnTo>
                  <a:lnTo>
                    <a:pt x="219604" y="285750"/>
                  </a:lnTo>
                  <a:lnTo>
                    <a:pt x="216959" y="283104"/>
                  </a:lnTo>
                  <a:lnTo>
                    <a:pt x="211667" y="280458"/>
                  </a:lnTo>
                  <a:lnTo>
                    <a:pt x="211667" y="283104"/>
                  </a:lnTo>
                  <a:lnTo>
                    <a:pt x="211667" y="285750"/>
                  </a:lnTo>
                  <a:lnTo>
                    <a:pt x="214313" y="296333"/>
                  </a:lnTo>
                  <a:lnTo>
                    <a:pt x="211667" y="293687"/>
                  </a:lnTo>
                  <a:lnTo>
                    <a:pt x="206375" y="291041"/>
                  </a:lnTo>
                  <a:lnTo>
                    <a:pt x="203729" y="291041"/>
                  </a:lnTo>
                  <a:lnTo>
                    <a:pt x="203729" y="285750"/>
                  </a:lnTo>
                  <a:lnTo>
                    <a:pt x="203729" y="283104"/>
                  </a:lnTo>
                  <a:lnTo>
                    <a:pt x="201083" y="283104"/>
                  </a:lnTo>
                  <a:lnTo>
                    <a:pt x="201083" y="280458"/>
                  </a:lnTo>
                  <a:lnTo>
                    <a:pt x="201083" y="277812"/>
                  </a:lnTo>
                  <a:lnTo>
                    <a:pt x="203729" y="275166"/>
                  </a:lnTo>
                  <a:lnTo>
                    <a:pt x="203729" y="269874"/>
                  </a:lnTo>
                  <a:lnTo>
                    <a:pt x="201083" y="264583"/>
                  </a:lnTo>
                  <a:lnTo>
                    <a:pt x="195792" y="261937"/>
                  </a:lnTo>
                  <a:lnTo>
                    <a:pt x="195792" y="264583"/>
                  </a:lnTo>
                  <a:lnTo>
                    <a:pt x="195792" y="267229"/>
                  </a:lnTo>
                  <a:lnTo>
                    <a:pt x="193146" y="264583"/>
                  </a:lnTo>
                  <a:lnTo>
                    <a:pt x="190500" y="264583"/>
                  </a:lnTo>
                  <a:lnTo>
                    <a:pt x="190500" y="261937"/>
                  </a:lnTo>
                  <a:lnTo>
                    <a:pt x="190500" y="259291"/>
                  </a:lnTo>
                  <a:lnTo>
                    <a:pt x="187854" y="253999"/>
                  </a:lnTo>
                  <a:lnTo>
                    <a:pt x="185208" y="251354"/>
                  </a:lnTo>
                  <a:close/>
                  <a:moveTo>
                    <a:pt x="116416" y="232833"/>
                  </a:moveTo>
                  <a:lnTo>
                    <a:pt x="119061" y="232833"/>
                  </a:lnTo>
                  <a:lnTo>
                    <a:pt x="121707" y="232833"/>
                  </a:lnTo>
                  <a:lnTo>
                    <a:pt x="126999" y="232833"/>
                  </a:lnTo>
                  <a:lnTo>
                    <a:pt x="132291" y="235479"/>
                  </a:lnTo>
                  <a:lnTo>
                    <a:pt x="134937" y="238125"/>
                  </a:lnTo>
                  <a:lnTo>
                    <a:pt x="137583" y="240770"/>
                  </a:lnTo>
                  <a:lnTo>
                    <a:pt x="140229" y="240770"/>
                  </a:lnTo>
                  <a:lnTo>
                    <a:pt x="145520" y="238125"/>
                  </a:lnTo>
                  <a:lnTo>
                    <a:pt x="148166" y="238125"/>
                  </a:lnTo>
                  <a:lnTo>
                    <a:pt x="148166" y="240770"/>
                  </a:lnTo>
                  <a:lnTo>
                    <a:pt x="148166" y="243416"/>
                  </a:lnTo>
                  <a:lnTo>
                    <a:pt x="158749" y="240770"/>
                  </a:lnTo>
                  <a:lnTo>
                    <a:pt x="161395" y="240770"/>
                  </a:lnTo>
                  <a:lnTo>
                    <a:pt x="158749" y="243416"/>
                  </a:lnTo>
                  <a:lnTo>
                    <a:pt x="158749" y="246062"/>
                  </a:lnTo>
                  <a:lnTo>
                    <a:pt x="158749" y="248708"/>
                  </a:lnTo>
                  <a:lnTo>
                    <a:pt x="156104" y="251354"/>
                  </a:lnTo>
                  <a:lnTo>
                    <a:pt x="153458" y="254000"/>
                  </a:lnTo>
                  <a:lnTo>
                    <a:pt x="153458" y="256645"/>
                  </a:lnTo>
                  <a:lnTo>
                    <a:pt x="150812" y="259291"/>
                  </a:lnTo>
                  <a:lnTo>
                    <a:pt x="145520" y="259291"/>
                  </a:lnTo>
                  <a:lnTo>
                    <a:pt x="145520" y="261937"/>
                  </a:lnTo>
                  <a:lnTo>
                    <a:pt x="145520" y="264583"/>
                  </a:lnTo>
                  <a:lnTo>
                    <a:pt x="145520" y="267229"/>
                  </a:lnTo>
                  <a:lnTo>
                    <a:pt x="142874" y="269875"/>
                  </a:lnTo>
                  <a:lnTo>
                    <a:pt x="134937" y="269875"/>
                  </a:lnTo>
                  <a:lnTo>
                    <a:pt x="132291" y="269875"/>
                  </a:lnTo>
                  <a:lnTo>
                    <a:pt x="132291" y="272521"/>
                  </a:lnTo>
                  <a:lnTo>
                    <a:pt x="132291" y="280458"/>
                  </a:lnTo>
                  <a:lnTo>
                    <a:pt x="132291" y="283104"/>
                  </a:lnTo>
                  <a:lnTo>
                    <a:pt x="129645" y="283104"/>
                  </a:lnTo>
                  <a:lnTo>
                    <a:pt x="124353" y="283104"/>
                  </a:lnTo>
                  <a:lnTo>
                    <a:pt x="124353" y="280458"/>
                  </a:lnTo>
                  <a:lnTo>
                    <a:pt x="124353" y="277812"/>
                  </a:lnTo>
                  <a:lnTo>
                    <a:pt x="126999" y="272521"/>
                  </a:lnTo>
                  <a:lnTo>
                    <a:pt x="124353" y="269875"/>
                  </a:lnTo>
                  <a:lnTo>
                    <a:pt x="124353" y="267229"/>
                  </a:lnTo>
                  <a:lnTo>
                    <a:pt x="124353" y="264583"/>
                  </a:lnTo>
                  <a:lnTo>
                    <a:pt x="124353" y="259291"/>
                  </a:lnTo>
                  <a:lnTo>
                    <a:pt x="124353" y="256645"/>
                  </a:lnTo>
                  <a:lnTo>
                    <a:pt x="124353" y="254000"/>
                  </a:lnTo>
                  <a:lnTo>
                    <a:pt x="124353" y="248708"/>
                  </a:lnTo>
                  <a:lnTo>
                    <a:pt x="124353" y="246062"/>
                  </a:lnTo>
                  <a:lnTo>
                    <a:pt x="124353" y="240770"/>
                  </a:lnTo>
                  <a:lnTo>
                    <a:pt x="126999" y="238125"/>
                  </a:lnTo>
                  <a:lnTo>
                    <a:pt x="124353" y="238125"/>
                  </a:lnTo>
                  <a:lnTo>
                    <a:pt x="119061" y="238125"/>
                  </a:lnTo>
                  <a:lnTo>
                    <a:pt x="113770" y="238125"/>
                  </a:lnTo>
                  <a:lnTo>
                    <a:pt x="116416" y="235479"/>
                  </a:lnTo>
                  <a:close/>
                  <a:moveTo>
                    <a:pt x="148166" y="206375"/>
                  </a:moveTo>
                  <a:lnTo>
                    <a:pt x="150812" y="206375"/>
                  </a:lnTo>
                  <a:lnTo>
                    <a:pt x="156104" y="211667"/>
                  </a:lnTo>
                  <a:lnTo>
                    <a:pt x="158750" y="214312"/>
                  </a:lnTo>
                  <a:lnTo>
                    <a:pt x="164041" y="216958"/>
                  </a:lnTo>
                  <a:lnTo>
                    <a:pt x="166687" y="219604"/>
                  </a:lnTo>
                  <a:lnTo>
                    <a:pt x="171979" y="219604"/>
                  </a:lnTo>
                  <a:lnTo>
                    <a:pt x="174625" y="222250"/>
                  </a:lnTo>
                  <a:lnTo>
                    <a:pt x="177271" y="224896"/>
                  </a:lnTo>
                  <a:lnTo>
                    <a:pt x="182562" y="238125"/>
                  </a:lnTo>
                  <a:lnTo>
                    <a:pt x="182562" y="243417"/>
                  </a:lnTo>
                  <a:lnTo>
                    <a:pt x="179916" y="240771"/>
                  </a:lnTo>
                  <a:lnTo>
                    <a:pt x="174625" y="238125"/>
                  </a:lnTo>
                  <a:lnTo>
                    <a:pt x="169333" y="235479"/>
                  </a:lnTo>
                  <a:lnTo>
                    <a:pt x="166687" y="232833"/>
                  </a:lnTo>
                  <a:lnTo>
                    <a:pt x="164041" y="232833"/>
                  </a:lnTo>
                  <a:lnTo>
                    <a:pt x="161395" y="230188"/>
                  </a:lnTo>
                  <a:lnTo>
                    <a:pt x="161395" y="227542"/>
                  </a:lnTo>
                  <a:lnTo>
                    <a:pt x="158750" y="227542"/>
                  </a:lnTo>
                  <a:lnTo>
                    <a:pt x="156104" y="230188"/>
                  </a:lnTo>
                  <a:lnTo>
                    <a:pt x="153458" y="235479"/>
                  </a:lnTo>
                  <a:lnTo>
                    <a:pt x="153458" y="238125"/>
                  </a:lnTo>
                  <a:lnTo>
                    <a:pt x="150812" y="235479"/>
                  </a:lnTo>
                  <a:lnTo>
                    <a:pt x="150812" y="230188"/>
                  </a:lnTo>
                  <a:lnTo>
                    <a:pt x="150812" y="227542"/>
                  </a:lnTo>
                  <a:lnTo>
                    <a:pt x="153458" y="224896"/>
                  </a:lnTo>
                  <a:lnTo>
                    <a:pt x="150812" y="224896"/>
                  </a:lnTo>
                  <a:lnTo>
                    <a:pt x="148166" y="224896"/>
                  </a:lnTo>
                  <a:lnTo>
                    <a:pt x="150812" y="219604"/>
                  </a:lnTo>
                  <a:lnTo>
                    <a:pt x="148166" y="209021"/>
                  </a:lnTo>
                  <a:close/>
                  <a:moveTo>
                    <a:pt x="195791" y="203729"/>
                  </a:moveTo>
                  <a:lnTo>
                    <a:pt x="198437" y="203729"/>
                  </a:lnTo>
                  <a:lnTo>
                    <a:pt x="201083" y="203729"/>
                  </a:lnTo>
                  <a:lnTo>
                    <a:pt x="206374" y="203729"/>
                  </a:lnTo>
                  <a:lnTo>
                    <a:pt x="206374" y="206375"/>
                  </a:lnTo>
                  <a:lnTo>
                    <a:pt x="206374" y="209021"/>
                  </a:lnTo>
                  <a:lnTo>
                    <a:pt x="209020" y="209021"/>
                  </a:lnTo>
                  <a:lnTo>
                    <a:pt x="214312" y="209021"/>
                  </a:lnTo>
                  <a:lnTo>
                    <a:pt x="214312" y="211666"/>
                  </a:lnTo>
                  <a:lnTo>
                    <a:pt x="211666" y="211666"/>
                  </a:lnTo>
                  <a:lnTo>
                    <a:pt x="211666" y="214312"/>
                  </a:lnTo>
                  <a:lnTo>
                    <a:pt x="214312" y="214312"/>
                  </a:lnTo>
                  <a:lnTo>
                    <a:pt x="211666" y="219604"/>
                  </a:lnTo>
                  <a:lnTo>
                    <a:pt x="211666" y="222250"/>
                  </a:lnTo>
                  <a:lnTo>
                    <a:pt x="211666" y="224895"/>
                  </a:lnTo>
                  <a:lnTo>
                    <a:pt x="216958" y="230187"/>
                  </a:lnTo>
                  <a:lnTo>
                    <a:pt x="219603" y="230187"/>
                  </a:lnTo>
                  <a:lnTo>
                    <a:pt x="219603" y="232833"/>
                  </a:lnTo>
                  <a:lnTo>
                    <a:pt x="219603" y="235479"/>
                  </a:lnTo>
                  <a:lnTo>
                    <a:pt x="222249" y="238125"/>
                  </a:lnTo>
                  <a:lnTo>
                    <a:pt x="224895" y="238125"/>
                  </a:lnTo>
                  <a:lnTo>
                    <a:pt x="224895" y="240770"/>
                  </a:lnTo>
                  <a:lnTo>
                    <a:pt x="230187" y="243416"/>
                  </a:lnTo>
                  <a:lnTo>
                    <a:pt x="232832" y="246062"/>
                  </a:lnTo>
                  <a:lnTo>
                    <a:pt x="235478" y="248708"/>
                  </a:lnTo>
                  <a:lnTo>
                    <a:pt x="232832" y="248708"/>
                  </a:lnTo>
                  <a:lnTo>
                    <a:pt x="230187" y="253999"/>
                  </a:lnTo>
                  <a:lnTo>
                    <a:pt x="230187" y="256645"/>
                  </a:lnTo>
                  <a:lnTo>
                    <a:pt x="230187" y="259291"/>
                  </a:lnTo>
                  <a:lnTo>
                    <a:pt x="227541" y="259291"/>
                  </a:lnTo>
                  <a:lnTo>
                    <a:pt x="224895" y="259291"/>
                  </a:lnTo>
                  <a:lnTo>
                    <a:pt x="222249" y="259291"/>
                  </a:lnTo>
                  <a:lnTo>
                    <a:pt x="219603" y="259291"/>
                  </a:lnTo>
                  <a:lnTo>
                    <a:pt x="216958" y="253999"/>
                  </a:lnTo>
                  <a:lnTo>
                    <a:pt x="216958" y="251354"/>
                  </a:lnTo>
                  <a:lnTo>
                    <a:pt x="214312" y="251354"/>
                  </a:lnTo>
                  <a:lnTo>
                    <a:pt x="209020" y="251354"/>
                  </a:lnTo>
                  <a:lnTo>
                    <a:pt x="206374" y="251354"/>
                  </a:lnTo>
                  <a:lnTo>
                    <a:pt x="206374" y="248708"/>
                  </a:lnTo>
                  <a:lnTo>
                    <a:pt x="203728" y="246062"/>
                  </a:lnTo>
                  <a:lnTo>
                    <a:pt x="198437" y="246062"/>
                  </a:lnTo>
                  <a:lnTo>
                    <a:pt x="198437" y="243416"/>
                  </a:lnTo>
                  <a:lnTo>
                    <a:pt x="203728" y="238125"/>
                  </a:lnTo>
                  <a:lnTo>
                    <a:pt x="203728" y="235479"/>
                  </a:lnTo>
                  <a:lnTo>
                    <a:pt x="203728" y="232833"/>
                  </a:lnTo>
                  <a:lnTo>
                    <a:pt x="201083" y="232833"/>
                  </a:lnTo>
                  <a:lnTo>
                    <a:pt x="198437" y="232833"/>
                  </a:lnTo>
                  <a:lnTo>
                    <a:pt x="193145" y="224895"/>
                  </a:lnTo>
                  <a:lnTo>
                    <a:pt x="190499" y="224895"/>
                  </a:lnTo>
                  <a:lnTo>
                    <a:pt x="187854" y="222250"/>
                  </a:lnTo>
                  <a:lnTo>
                    <a:pt x="182562" y="216958"/>
                  </a:lnTo>
                  <a:lnTo>
                    <a:pt x="179916" y="211666"/>
                  </a:lnTo>
                  <a:lnTo>
                    <a:pt x="177270" y="209021"/>
                  </a:lnTo>
                  <a:lnTo>
                    <a:pt x="177270" y="206375"/>
                  </a:lnTo>
                  <a:lnTo>
                    <a:pt x="179916" y="206375"/>
                  </a:lnTo>
                  <a:lnTo>
                    <a:pt x="182562" y="206375"/>
                  </a:lnTo>
                  <a:lnTo>
                    <a:pt x="187854" y="206375"/>
                  </a:lnTo>
                  <a:lnTo>
                    <a:pt x="193145" y="206375"/>
                  </a:lnTo>
                  <a:close/>
                  <a:moveTo>
                    <a:pt x="60854" y="179916"/>
                  </a:moveTo>
                  <a:lnTo>
                    <a:pt x="63500" y="179916"/>
                  </a:lnTo>
                  <a:lnTo>
                    <a:pt x="66145" y="179916"/>
                  </a:lnTo>
                  <a:lnTo>
                    <a:pt x="68791" y="179916"/>
                  </a:lnTo>
                  <a:lnTo>
                    <a:pt x="74083" y="179916"/>
                  </a:lnTo>
                  <a:lnTo>
                    <a:pt x="76729" y="179916"/>
                  </a:lnTo>
                  <a:lnTo>
                    <a:pt x="79375" y="182562"/>
                  </a:lnTo>
                  <a:lnTo>
                    <a:pt x="84666" y="182562"/>
                  </a:lnTo>
                  <a:lnTo>
                    <a:pt x="87312" y="182562"/>
                  </a:lnTo>
                  <a:lnTo>
                    <a:pt x="92604" y="185208"/>
                  </a:lnTo>
                  <a:lnTo>
                    <a:pt x="97895" y="187853"/>
                  </a:lnTo>
                  <a:lnTo>
                    <a:pt x="100541" y="187853"/>
                  </a:lnTo>
                  <a:lnTo>
                    <a:pt x="100541" y="190499"/>
                  </a:lnTo>
                  <a:lnTo>
                    <a:pt x="103187" y="193145"/>
                  </a:lnTo>
                  <a:lnTo>
                    <a:pt x="103187" y="195791"/>
                  </a:lnTo>
                  <a:lnTo>
                    <a:pt x="103187" y="198437"/>
                  </a:lnTo>
                  <a:lnTo>
                    <a:pt x="103187" y="203729"/>
                  </a:lnTo>
                  <a:lnTo>
                    <a:pt x="105833" y="209020"/>
                  </a:lnTo>
                  <a:lnTo>
                    <a:pt x="108479" y="209020"/>
                  </a:lnTo>
                  <a:lnTo>
                    <a:pt x="105833" y="211666"/>
                  </a:lnTo>
                  <a:lnTo>
                    <a:pt x="103187" y="216958"/>
                  </a:lnTo>
                  <a:lnTo>
                    <a:pt x="97895" y="216958"/>
                  </a:lnTo>
                  <a:lnTo>
                    <a:pt x="89958" y="214312"/>
                  </a:lnTo>
                  <a:lnTo>
                    <a:pt x="87312" y="211666"/>
                  </a:lnTo>
                  <a:lnTo>
                    <a:pt x="87312" y="209020"/>
                  </a:lnTo>
                  <a:lnTo>
                    <a:pt x="84666" y="206374"/>
                  </a:lnTo>
                  <a:lnTo>
                    <a:pt x="82020" y="203729"/>
                  </a:lnTo>
                  <a:lnTo>
                    <a:pt x="79375" y="201083"/>
                  </a:lnTo>
                  <a:lnTo>
                    <a:pt x="79375" y="198437"/>
                  </a:lnTo>
                  <a:lnTo>
                    <a:pt x="76729" y="190499"/>
                  </a:lnTo>
                  <a:lnTo>
                    <a:pt x="71437" y="190499"/>
                  </a:lnTo>
                  <a:lnTo>
                    <a:pt x="66145" y="187853"/>
                  </a:lnTo>
                  <a:lnTo>
                    <a:pt x="66145" y="185208"/>
                  </a:lnTo>
                  <a:lnTo>
                    <a:pt x="63500" y="185208"/>
                  </a:lnTo>
                  <a:lnTo>
                    <a:pt x="60854" y="185208"/>
                  </a:lnTo>
                  <a:close/>
                  <a:moveTo>
                    <a:pt x="111125" y="177270"/>
                  </a:moveTo>
                  <a:lnTo>
                    <a:pt x="116416" y="177270"/>
                  </a:lnTo>
                  <a:lnTo>
                    <a:pt x="119062" y="179916"/>
                  </a:lnTo>
                  <a:lnTo>
                    <a:pt x="119062" y="182562"/>
                  </a:lnTo>
                  <a:lnTo>
                    <a:pt x="121708" y="182562"/>
                  </a:lnTo>
                  <a:lnTo>
                    <a:pt x="124354" y="185207"/>
                  </a:lnTo>
                  <a:lnTo>
                    <a:pt x="127000" y="187853"/>
                  </a:lnTo>
                  <a:lnTo>
                    <a:pt x="124354" y="187853"/>
                  </a:lnTo>
                  <a:lnTo>
                    <a:pt x="121708" y="193145"/>
                  </a:lnTo>
                  <a:lnTo>
                    <a:pt x="119062" y="193145"/>
                  </a:lnTo>
                  <a:lnTo>
                    <a:pt x="113770" y="193145"/>
                  </a:lnTo>
                  <a:lnTo>
                    <a:pt x="108479" y="187853"/>
                  </a:lnTo>
                  <a:lnTo>
                    <a:pt x="105833" y="187853"/>
                  </a:lnTo>
                  <a:lnTo>
                    <a:pt x="108479" y="185207"/>
                  </a:lnTo>
                  <a:lnTo>
                    <a:pt x="111125" y="179916"/>
                  </a:lnTo>
                  <a:close/>
                  <a:moveTo>
                    <a:pt x="87312" y="0"/>
                  </a:moveTo>
                  <a:lnTo>
                    <a:pt x="89958" y="0"/>
                  </a:lnTo>
                  <a:lnTo>
                    <a:pt x="92604" y="2646"/>
                  </a:lnTo>
                  <a:lnTo>
                    <a:pt x="95250" y="5292"/>
                  </a:lnTo>
                  <a:lnTo>
                    <a:pt x="95250" y="10583"/>
                  </a:lnTo>
                  <a:lnTo>
                    <a:pt x="95250" y="13229"/>
                  </a:lnTo>
                  <a:lnTo>
                    <a:pt x="92604" y="13229"/>
                  </a:lnTo>
                  <a:lnTo>
                    <a:pt x="89958" y="15875"/>
                  </a:lnTo>
                  <a:lnTo>
                    <a:pt x="92604" y="21167"/>
                  </a:lnTo>
                  <a:lnTo>
                    <a:pt x="95250" y="23812"/>
                  </a:lnTo>
                  <a:lnTo>
                    <a:pt x="92604" y="29104"/>
                  </a:lnTo>
                  <a:lnTo>
                    <a:pt x="92604" y="42333"/>
                  </a:lnTo>
                  <a:lnTo>
                    <a:pt x="95250" y="47625"/>
                  </a:lnTo>
                  <a:lnTo>
                    <a:pt x="97896" y="50271"/>
                  </a:lnTo>
                  <a:lnTo>
                    <a:pt x="103187" y="50271"/>
                  </a:lnTo>
                  <a:lnTo>
                    <a:pt x="103187" y="52916"/>
                  </a:lnTo>
                  <a:lnTo>
                    <a:pt x="105833" y="55562"/>
                  </a:lnTo>
                  <a:lnTo>
                    <a:pt x="105833" y="58208"/>
                  </a:lnTo>
                  <a:lnTo>
                    <a:pt x="108479" y="58208"/>
                  </a:lnTo>
                  <a:lnTo>
                    <a:pt x="111125" y="58208"/>
                  </a:lnTo>
                  <a:lnTo>
                    <a:pt x="111125" y="63500"/>
                  </a:lnTo>
                  <a:lnTo>
                    <a:pt x="111125" y="68791"/>
                  </a:lnTo>
                  <a:lnTo>
                    <a:pt x="111125" y="74083"/>
                  </a:lnTo>
                  <a:lnTo>
                    <a:pt x="108479" y="76729"/>
                  </a:lnTo>
                  <a:lnTo>
                    <a:pt x="108479" y="79375"/>
                  </a:lnTo>
                  <a:lnTo>
                    <a:pt x="108479" y="82021"/>
                  </a:lnTo>
                  <a:lnTo>
                    <a:pt x="108479" y="84666"/>
                  </a:lnTo>
                  <a:lnTo>
                    <a:pt x="103187" y="87312"/>
                  </a:lnTo>
                  <a:lnTo>
                    <a:pt x="100541" y="87312"/>
                  </a:lnTo>
                  <a:lnTo>
                    <a:pt x="103187" y="84666"/>
                  </a:lnTo>
                  <a:lnTo>
                    <a:pt x="97896" y="87312"/>
                  </a:lnTo>
                  <a:lnTo>
                    <a:pt x="92604" y="89958"/>
                  </a:lnTo>
                  <a:lnTo>
                    <a:pt x="89958" y="89958"/>
                  </a:lnTo>
                  <a:lnTo>
                    <a:pt x="84666" y="89958"/>
                  </a:lnTo>
                  <a:lnTo>
                    <a:pt x="82021" y="92604"/>
                  </a:lnTo>
                  <a:lnTo>
                    <a:pt x="82021" y="95250"/>
                  </a:lnTo>
                  <a:lnTo>
                    <a:pt x="84666" y="97896"/>
                  </a:lnTo>
                  <a:lnTo>
                    <a:pt x="87312" y="97896"/>
                  </a:lnTo>
                  <a:lnTo>
                    <a:pt x="87312" y="100541"/>
                  </a:lnTo>
                  <a:lnTo>
                    <a:pt x="87312" y="105833"/>
                  </a:lnTo>
                  <a:lnTo>
                    <a:pt x="87312" y="108479"/>
                  </a:lnTo>
                  <a:lnTo>
                    <a:pt x="87312" y="111125"/>
                  </a:lnTo>
                  <a:lnTo>
                    <a:pt x="89958" y="113771"/>
                  </a:lnTo>
                  <a:lnTo>
                    <a:pt x="92604" y="113771"/>
                  </a:lnTo>
                  <a:lnTo>
                    <a:pt x="92604" y="119062"/>
                  </a:lnTo>
                  <a:lnTo>
                    <a:pt x="95250" y="124354"/>
                  </a:lnTo>
                  <a:lnTo>
                    <a:pt x="97896" y="129646"/>
                  </a:lnTo>
                  <a:lnTo>
                    <a:pt x="100541" y="134937"/>
                  </a:lnTo>
                  <a:lnTo>
                    <a:pt x="100541" y="137583"/>
                  </a:lnTo>
                  <a:lnTo>
                    <a:pt x="95250" y="134937"/>
                  </a:lnTo>
                  <a:lnTo>
                    <a:pt x="95250" y="140229"/>
                  </a:lnTo>
                  <a:lnTo>
                    <a:pt x="97896" y="145521"/>
                  </a:lnTo>
                  <a:lnTo>
                    <a:pt x="100541" y="148166"/>
                  </a:lnTo>
                  <a:lnTo>
                    <a:pt x="103187" y="150812"/>
                  </a:lnTo>
                  <a:lnTo>
                    <a:pt x="105833" y="153458"/>
                  </a:lnTo>
                  <a:lnTo>
                    <a:pt x="108479" y="158750"/>
                  </a:lnTo>
                  <a:lnTo>
                    <a:pt x="116417" y="158750"/>
                  </a:lnTo>
                  <a:lnTo>
                    <a:pt x="116417" y="156104"/>
                  </a:lnTo>
                  <a:lnTo>
                    <a:pt x="121708" y="158750"/>
                  </a:lnTo>
                  <a:lnTo>
                    <a:pt x="119062" y="156104"/>
                  </a:lnTo>
                  <a:lnTo>
                    <a:pt x="116417" y="153458"/>
                  </a:lnTo>
                  <a:lnTo>
                    <a:pt x="119062" y="150812"/>
                  </a:lnTo>
                  <a:lnTo>
                    <a:pt x="121708" y="153458"/>
                  </a:lnTo>
                  <a:lnTo>
                    <a:pt x="121708" y="150812"/>
                  </a:lnTo>
                  <a:lnTo>
                    <a:pt x="121708" y="148166"/>
                  </a:lnTo>
                  <a:lnTo>
                    <a:pt x="124354" y="148166"/>
                  </a:lnTo>
                  <a:lnTo>
                    <a:pt x="129646" y="148166"/>
                  </a:lnTo>
                  <a:lnTo>
                    <a:pt x="132292" y="150812"/>
                  </a:lnTo>
                  <a:lnTo>
                    <a:pt x="134938" y="153458"/>
                  </a:lnTo>
                  <a:lnTo>
                    <a:pt x="134938" y="156104"/>
                  </a:lnTo>
                  <a:lnTo>
                    <a:pt x="134938" y="158750"/>
                  </a:lnTo>
                  <a:lnTo>
                    <a:pt x="142875" y="158750"/>
                  </a:lnTo>
                  <a:lnTo>
                    <a:pt x="145521" y="158750"/>
                  </a:lnTo>
                  <a:lnTo>
                    <a:pt x="145521" y="156104"/>
                  </a:lnTo>
                  <a:lnTo>
                    <a:pt x="142875" y="153458"/>
                  </a:lnTo>
                  <a:lnTo>
                    <a:pt x="140230" y="150812"/>
                  </a:lnTo>
                  <a:lnTo>
                    <a:pt x="142875" y="150812"/>
                  </a:lnTo>
                  <a:lnTo>
                    <a:pt x="145521" y="150812"/>
                  </a:lnTo>
                  <a:lnTo>
                    <a:pt x="145521" y="148166"/>
                  </a:lnTo>
                  <a:lnTo>
                    <a:pt x="148167" y="148166"/>
                  </a:lnTo>
                  <a:lnTo>
                    <a:pt x="148167" y="150812"/>
                  </a:lnTo>
                  <a:lnTo>
                    <a:pt x="150813" y="150812"/>
                  </a:lnTo>
                  <a:lnTo>
                    <a:pt x="150813" y="153458"/>
                  </a:lnTo>
                  <a:lnTo>
                    <a:pt x="150813" y="156104"/>
                  </a:lnTo>
                  <a:lnTo>
                    <a:pt x="153459" y="156104"/>
                  </a:lnTo>
                  <a:lnTo>
                    <a:pt x="156105" y="158750"/>
                  </a:lnTo>
                  <a:lnTo>
                    <a:pt x="161396" y="161396"/>
                  </a:lnTo>
                  <a:lnTo>
                    <a:pt x="164042" y="161396"/>
                  </a:lnTo>
                  <a:lnTo>
                    <a:pt x="164042" y="164041"/>
                  </a:lnTo>
                  <a:lnTo>
                    <a:pt x="161396" y="166687"/>
                  </a:lnTo>
                  <a:lnTo>
                    <a:pt x="158751" y="166687"/>
                  </a:lnTo>
                  <a:lnTo>
                    <a:pt x="156105" y="166687"/>
                  </a:lnTo>
                  <a:lnTo>
                    <a:pt x="153459" y="166687"/>
                  </a:lnTo>
                  <a:lnTo>
                    <a:pt x="150813" y="166687"/>
                  </a:lnTo>
                  <a:lnTo>
                    <a:pt x="150813" y="171979"/>
                  </a:lnTo>
                  <a:lnTo>
                    <a:pt x="156105" y="171979"/>
                  </a:lnTo>
                  <a:lnTo>
                    <a:pt x="161396" y="174625"/>
                  </a:lnTo>
                  <a:lnTo>
                    <a:pt x="164042" y="177271"/>
                  </a:lnTo>
                  <a:lnTo>
                    <a:pt x="166688" y="179916"/>
                  </a:lnTo>
                  <a:lnTo>
                    <a:pt x="169334" y="179916"/>
                  </a:lnTo>
                  <a:lnTo>
                    <a:pt x="169334" y="182562"/>
                  </a:lnTo>
                  <a:lnTo>
                    <a:pt x="169334" y="185208"/>
                  </a:lnTo>
                  <a:lnTo>
                    <a:pt x="174626" y="185208"/>
                  </a:lnTo>
                  <a:lnTo>
                    <a:pt x="177271" y="182562"/>
                  </a:lnTo>
                  <a:lnTo>
                    <a:pt x="179917" y="182562"/>
                  </a:lnTo>
                  <a:lnTo>
                    <a:pt x="179917" y="185208"/>
                  </a:lnTo>
                  <a:lnTo>
                    <a:pt x="179917" y="187854"/>
                  </a:lnTo>
                  <a:lnTo>
                    <a:pt x="179917" y="193146"/>
                  </a:lnTo>
                  <a:lnTo>
                    <a:pt x="179917" y="201083"/>
                  </a:lnTo>
                  <a:lnTo>
                    <a:pt x="177271" y="203729"/>
                  </a:lnTo>
                  <a:lnTo>
                    <a:pt x="174626" y="203729"/>
                  </a:lnTo>
                  <a:lnTo>
                    <a:pt x="169334" y="203729"/>
                  </a:lnTo>
                  <a:lnTo>
                    <a:pt x="166688" y="201083"/>
                  </a:lnTo>
                  <a:lnTo>
                    <a:pt x="164042" y="198437"/>
                  </a:lnTo>
                  <a:lnTo>
                    <a:pt x="161396" y="195791"/>
                  </a:lnTo>
                  <a:lnTo>
                    <a:pt x="161396" y="193146"/>
                  </a:lnTo>
                  <a:lnTo>
                    <a:pt x="156105" y="187854"/>
                  </a:lnTo>
                  <a:lnTo>
                    <a:pt x="153459" y="187854"/>
                  </a:lnTo>
                  <a:lnTo>
                    <a:pt x="153459" y="190500"/>
                  </a:lnTo>
                  <a:lnTo>
                    <a:pt x="150813" y="187854"/>
                  </a:lnTo>
                  <a:lnTo>
                    <a:pt x="150813" y="185208"/>
                  </a:lnTo>
                  <a:lnTo>
                    <a:pt x="148167" y="179916"/>
                  </a:lnTo>
                  <a:lnTo>
                    <a:pt x="145521" y="177271"/>
                  </a:lnTo>
                  <a:lnTo>
                    <a:pt x="140230" y="174625"/>
                  </a:lnTo>
                  <a:lnTo>
                    <a:pt x="137584" y="174625"/>
                  </a:lnTo>
                  <a:lnTo>
                    <a:pt x="137584" y="171979"/>
                  </a:lnTo>
                  <a:lnTo>
                    <a:pt x="129646" y="166687"/>
                  </a:lnTo>
                  <a:lnTo>
                    <a:pt x="127000" y="164041"/>
                  </a:lnTo>
                  <a:lnTo>
                    <a:pt x="124354" y="161396"/>
                  </a:lnTo>
                  <a:lnTo>
                    <a:pt x="124354" y="164041"/>
                  </a:lnTo>
                  <a:lnTo>
                    <a:pt x="127000" y="166687"/>
                  </a:lnTo>
                  <a:lnTo>
                    <a:pt x="129646" y="169333"/>
                  </a:lnTo>
                  <a:lnTo>
                    <a:pt x="129646" y="171979"/>
                  </a:lnTo>
                  <a:lnTo>
                    <a:pt x="127000" y="171979"/>
                  </a:lnTo>
                  <a:lnTo>
                    <a:pt x="129646" y="174625"/>
                  </a:lnTo>
                  <a:lnTo>
                    <a:pt x="132292" y="177271"/>
                  </a:lnTo>
                  <a:lnTo>
                    <a:pt x="134938" y="179916"/>
                  </a:lnTo>
                  <a:lnTo>
                    <a:pt x="132292" y="179916"/>
                  </a:lnTo>
                  <a:lnTo>
                    <a:pt x="127000" y="179916"/>
                  </a:lnTo>
                  <a:lnTo>
                    <a:pt x="124354" y="177271"/>
                  </a:lnTo>
                  <a:lnTo>
                    <a:pt x="121708" y="171979"/>
                  </a:lnTo>
                  <a:lnTo>
                    <a:pt x="119062" y="169333"/>
                  </a:lnTo>
                  <a:lnTo>
                    <a:pt x="113771" y="169333"/>
                  </a:lnTo>
                  <a:lnTo>
                    <a:pt x="111125" y="166687"/>
                  </a:lnTo>
                  <a:lnTo>
                    <a:pt x="105833" y="164041"/>
                  </a:lnTo>
                  <a:lnTo>
                    <a:pt x="105833" y="161396"/>
                  </a:lnTo>
                  <a:lnTo>
                    <a:pt x="103187" y="161396"/>
                  </a:lnTo>
                  <a:lnTo>
                    <a:pt x="100541" y="164041"/>
                  </a:lnTo>
                  <a:lnTo>
                    <a:pt x="100541" y="166687"/>
                  </a:lnTo>
                  <a:lnTo>
                    <a:pt x="100541" y="169333"/>
                  </a:lnTo>
                  <a:lnTo>
                    <a:pt x="97896" y="171979"/>
                  </a:lnTo>
                  <a:lnTo>
                    <a:pt x="95250" y="174625"/>
                  </a:lnTo>
                  <a:lnTo>
                    <a:pt x="89958" y="174625"/>
                  </a:lnTo>
                  <a:lnTo>
                    <a:pt x="87312" y="171979"/>
                  </a:lnTo>
                  <a:lnTo>
                    <a:pt x="87312" y="169333"/>
                  </a:lnTo>
                  <a:lnTo>
                    <a:pt x="87312" y="166687"/>
                  </a:lnTo>
                  <a:lnTo>
                    <a:pt x="84666" y="166687"/>
                  </a:lnTo>
                  <a:lnTo>
                    <a:pt x="82021" y="166687"/>
                  </a:lnTo>
                  <a:lnTo>
                    <a:pt x="82021" y="164041"/>
                  </a:lnTo>
                  <a:lnTo>
                    <a:pt x="84666" y="161396"/>
                  </a:lnTo>
                  <a:lnTo>
                    <a:pt x="82021" y="158750"/>
                  </a:lnTo>
                  <a:lnTo>
                    <a:pt x="79375" y="156104"/>
                  </a:lnTo>
                  <a:lnTo>
                    <a:pt x="76729" y="158750"/>
                  </a:lnTo>
                  <a:lnTo>
                    <a:pt x="76729" y="161396"/>
                  </a:lnTo>
                  <a:lnTo>
                    <a:pt x="74083" y="164041"/>
                  </a:lnTo>
                  <a:lnTo>
                    <a:pt x="74083" y="158750"/>
                  </a:lnTo>
                  <a:lnTo>
                    <a:pt x="71437" y="153458"/>
                  </a:lnTo>
                  <a:lnTo>
                    <a:pt x="71437" y="150812"/>
                  </a:lnTo>
                  <a:lnTo>
                    <a:pt x="76729" y="145521"/>
                  </a:lnTo>
                  <a:lnTo>
                    <a:pt x="82021" y="142875"/>
                  </a:lnTo>
                  <a:lnTo>
                    <a:pt x="79375" y="140229"/>
                  </a:lnTo>
                  <a:lnTo>
                    <a:pt x="76729" y="132291"/>
                  </a:lnTo>
                  <a:lnTo>
                    <a:pt x="74083" y="132291"/>
                  </a:lnTo>
                  <a:lnTo>
                    <a:pt x="71437" y="132291"/>
                  </a:lnTo>
                  <a:lnTo>
                    <a:pt x="71437" y="134937"/>
                  </a:lnTo>
                  <a:lnTo>
                    <a:pt x="68791" y="132291"/>
                  </a:lnTo>
                  <a:lnTo>
                    <a:pt x="66146" y="132291"/>
                  </a:lnTo>
                  <a:lnTo>
                    <a:pt x="66146" y="134937"/>
                  </a:lnTo>
                  <a:lnTo>
                    <a:pt x="68791" y="140229"/>
                  </a:lnTo>
                  <a:lnTo>
                    <a:pt x="71437" y="140229"/>
                  </a:lnTo>
                  <a:lnTo>
                    <a:pt x="68791" y="142875"/>
                  </a:lnTo>
                  <a:lnTo>
                    <a:pt x="66146" y="142875"/>
                  </a:lnTo>
                  <a:lnTo>
                    <a:pt x="63500" y="142875"/>
                  </a:lnTo>
                  <a:lnTo>
                    <a:pt x="60854" y="137583"/>
                  </a:lnTo>
                  <a:lnTo>
                    <a:pt x="55562" y="134937"/>
                  </a:lnTo>
                  <a:lnTo>
                    <a:pt x="55562" y="132291"/>
                  </a:lnTo>
                  <a:lnTo>
                    <a:pt x="55562" y="129646"/>
                  </a:lnTo>
                  <a:lnTo>
                    <a:pt x="55562" y="127000"/>
                  </a:lnTo>
                  <a:lnTo>
                    <a:pt x="52916" y="127000"/>
                  </a:lnTo>
                  <a:lnTo>
                    <a:pt x="50270" y="127000"/>
                  </a:lnTo>
                  <a:lnTo>
                    <a:pt x="50270" y="129646"/>
                  </a:lnTo>
                  <a:lnTo>
                    <a:pt x="47625" y="127000"/>
                  </a:lnTo>
                  <a:lnTo>
                    <a:pt x="42333" y="124354"/>
                  </a:lnTo>
                  <a:lnTo>
                    <a:pt x="39687" y="119062"/>
                  </a:lnTo>
                  <a:lnTo>
                    <a:pt x="39687" y="113771"/>
                  </a:lnTo>
                  <a:lnTo>
                    <a:pt x="39687" y="108479"/>
                  </a:lnTo>
                  <a:lnTo>
                    <a:pt x="39687" y="105833"/>
                  </a:lnTo>
                  <a:lnTo>
                    <a:pt x="39687" y="103187"/>
                  </a:lnTo>
                  <a:lnTo>
                    <a:pt x="39687" y="100541"/>
                  </a:lnTo>
                  <a:lnTo>
                    <a:pt x="39687" y="97896"/>
                  </a:lnTo>
                  <a:lnTo>
                    <a:pt x="34395" y="92604"/>
                  </a:lnTo>
                  <a:lnTo>
                    <a:pt x="34395" y="87312"/>
                  </a:lnTo>
                  <a:lnTo>
                    <a:pt x="34395" y="84666"/>
                  </a:lnTo>
                  <a:lnTo>
                    <a:pt x="31750" y="84666"/>
                  </a:lnTo>
                  <a:lnTo>
                    <a:pt x="29104" y="84666"/>
                  </a:lnTo>
                  <a:lnTo>
                    <a:pt x="29104" y="82021"/>
                  </a:lnTo>
                  <a:lnTo>
                    <a:pt x="29104" y="76729"/>
                  </a:lnTo>
                  <a:lnTo>
                    <a:pt x="29104" y="74083"/>
                  </a:lnTo>
                  <a:lnTo>
                    <a:pt x="31750" y="74083"/>
                  </a:lnTo>
                  <a:lnTo>
                    <a:pt x="34395" y="71437"/>
                  </a:lnTo>
                  <a:lnTo>
                    <a:pt x="37041" y="71437"/>
                  </a:lnTo>
                  <a:lnTo>
                    <a:pt x="37041" y="76729"/>
                  </a:lnTo>
                  <a:lnTo>
                    <a:pt x="39687" y="76729"/>
                  </a:lnTo>
                  <a:lnTo>
                    <a:pt x="42333" y="76729"/>
                  </a:lnTo>
                  <a:lnTo>
                    <a:pt x="42333" y="79375"/>
                  </a:lnTo>
                  <a:lnTo>
                    <a:pt x="42333" y="82021"/>
                  </a:lnTo>
                  <a:lnTo>
                    <a:pt x="44979" y="84666"/>
                  </a:lnTo>
                  <a:lnTo>
                    <a:pt x="50270" y="84666"/>
                  </a:lnTo>
                  <a:lnTo>
                    <a:pt x="52916" y="84666"/>
                  </a:lnTo>
                  <a:lnTo>
                    <a:pt x="55562" y="82021"/>
                  </a:lnTo>
                  <a:lnTo>
                    <a:pt x="58208" y="76729"/>
                  </a:lnTo>
                  <a:lnTo>
                    <a:pt x="52916" y="74083"/>
                  </a:lnTo>
                  <a:lnTo>
                    <a:pt x="50270" y="74083"/>
                  </a:lnTo>
                  <a:lnTo>
                    <a:pt x="50270" y="71437"/>
                  </a:lnTo>
                  <a:lnTo>
                    <a:pt x="47625" y="68791"/>
                  </a:lnTo>
                  <a:lnTo>
                    <a:pt x="47625" y="66146"/>
                  </a:lnTo>
                  <a:lnTo>
                    <a:pt x="47625" y="63500"/>
                  </a:lnTo>
                  <a:lnTo>
                    <a:pt x="50270" y="60854"/>
                  </a:lnTo>
                  <a:lnTo>
                    <a:pt x="50270" y="58208"/>
                  </a:lnTo>
                  <a:lnTo>
                    <a:pt x="50270" y="55562"/>
                  </a:lnTo>
                  <a:lnTo>
                    <a:pt x="47625" y="52916"/>
                  </a:lnTo>
                  <a:lnTo>
                    <a:pt x="44979" y="50271"/>
                  </a:lnTo>
                  <a:lnTo>
                    <a:pt x="44979" y="47625"/>
                  </a:lnTo>
                  <a:lnTo>
                    <a:pt x="44979" y="44979"/>
                  </a:lnTo>
                  <a:lnTo>
                    <a:pt x="42333" y="42333"/>
                  </a:lnTo>
                  <a:lnTo>
                    <a:pt x="42333" y="39687"/>
                  </a:lnTo>
                  <a:lnTo>
                    <a:pt x="42333" y="37042"/>
                  </a:lnTo>
                  <a:lnTo>
                    <a:pt x="39687" y="37042"/>
                  </a:lnTo>
                  <a:lnTo>
                    <a:pt x="39687" y="34396"/>
                  </a:lnTo>
                  <a:lnTo>
                    <a:pt x="39687" y="31750"/>
                  </a:lnTo>
                  <a:lnTo>
                    <a:pt x="42333" y="29104"/>
                  </a:lnTo>
                  <a:lnTo>
                    <a:pt x="39687" y="26458"/>
                  </a:lnTo>
                  <a:lnTo>
                    <a:pt x="42333" y="23812"/>
                  </a:lnTo>
                  <a:lnTo>
                    <a:pt x="42333" y="21167"/>
                  </a:lnTo>
                  <a:lnTo>
                    <a:pt x="42333" y="18521"/>
                  </a:lnTo>
                  <a:lnTo>
                    <a:pt x="44979" y="15875"/>
                  </a:lnTo>
                  <a:lnTo>
                    <a:pt x="42333" y="13229"/>
                  </a:lnTo>
                  <a:lnTo>
                    <a:pt x="44979" y="10583"/>
                  </a:lnTo>
                  <a:lnTo>
                    <a:pt x="47625" y="7937"/>
                  </a:lnTo>
                  <a:lnTo>
                    <a:pt x="44979" y="7937"/>
                  </a:lnTo>
                  <a:lnTo>
                    <a:pt x="42333" y="5292"/>
                  </a:lnTo>
                  <a:lnTo>
                    <a:pt x="44979" y="5292"/>
                  </a:lnTo>
                  <a:lnTo>
                    <a:pt x="47625" y="2646"/>
                  </a:lnTo>
                  <a:lnTo>
                    <a:pt x="50270" y="5292"/>
                  </a:lnTo>
                  <a:lnTo>
                    <a:pt x="52916" y="2646"/>
                  </a:lnTo>
                  <a:lnTo>
                    <a:pt x="55562" y="5292"/>
                  </a:lnTo>
                  <a:lnTo>
                    <a:pt x="60854" y="5292"/>
                  </a:lnTo>
                  <a:lnTo>
                    <a:pt x="63500" y="2646"/>
                  </a:lnTo>
                  <a:lnTo>
                    <a:pt x="74083" y="5292"/>
                  </a:lnTo>
                  <a:lnTo>
                    <a:pt x="79375" y="7937"/>
                  </a:lnTo>
                  <a:lnTo>
                    <a:pt x="84666" y="7937"/>
                  </a:lnTo>
                  <a:lnTo>
                    <a:pt x="87312" y="5292"/>
                  </a:lnTo>
                  <a:lnTo>
                    <a:pt x="87312" y="2646"/>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Poland"/>
            <p:cNvSpPr>
              <a:spLocks/>
            </p:cNvSpPr>
            <p:nvPr/>
          </p:nvSpPr>
          <p:spPr bwMode="auto">
            <a:xfrm>
              <a:off x="4467455" y="1922198"/>
              <a:ext cx="243417" cy="137583"/>
            </a:xfrm>
            <a:custGeom>
              <a:avLst/>
              <a:gdLst/>
              <a:ahLst/>
              <a:cxnLst>
                <a:cxn ang="0">
                  <a:pos x="18" y="72"/>
                </a:cxn>
                <a:cxn ang="0">
                  <a:pos x="16" y="60"/>
                </a:cxn>
                <a:cxn ang="0">
                  <a:pos x="12" y="46"/>
                </a:cxn>
                <a:cxn ang="0">
                  <a:pos x="10" y="40"/>
                </a:cxn>
                <a:cxn ang="0">
                  <a:pos x="6" y="38"/>
                </a:cxn>
                <a:cxn ang="0">
                  <a:pos x="0" y="34"/>
                </a:cxn>
                <a:cxn ang="0">
                  <a:pos x="2" y="28"/>
                </a:cxn>
                <a:cxn ang="0">
                  <a:pos x="4" y="26"/>
                </a:cxn>
                <a:cxn ang="0">
                  <a:pos x="4" y="18"/>
                </a:cxn>
                <a:cxn ang="0">
                  <a:pos x="10" y="18"/>
                </a:cxn>
                <a:cxn ang="0">
                  <a:pos x="16" y="12"/>
                </a:cxn>
                <a:cxn ang="0">
                  <a:pos x="32" y="8"/>
                </a:cxn>
                <a:cxn ang="0">
                  <a:pos x="50" y="6"/>
                </a:cxn>
                <a:cxn ang="0">
                  <a:pos x="64" y="0"/>
                </a:cxn>
                <a:cxn ang="0">
                  <a:pos x="82" y="0"/>
                </a:cxn>
                <a:cxn ang="0">
                  <a:pos x="90" y="6"/>
                </a:cxn>
                <a:cxn ang="0">
                  <a:pos x="86" y="4"/>
                </a:cxn>
                <a:cxn ang="0">
                  <a:pos x="84" y="6"/>
                </a:cxn>
                <a:cxn ang="0">
                  <a:pos x="86" y="10"/>
                </a:cxn>
                <a:cxn ang="0">
                  <a:pos x="94" y="10"/>
                </a:cxn>
                <a:cxn ang="0">
                  <a:pos x="98" y="4"/>
                </a:cxn>
                <a:cxn ang="0">
                  <a:pos x="94" y="12"/>
                </a:cxn>
                <a:cxn ang="0">
                  <a:pos x="96" y="12"/>
                </a:cxn>
                <a:cxn ang="0">
                  <a:pos x="100" y="8"/>
                </a:cxn>
                <a:cxn ang="0">
                  <a:pos x="120" y="10"/>
                </a:cxn>
                <a:cxn ang="0">
                  <a:pos x="130" y="8"/>
                </a:cxn>
                <a:cxn ang="0">
                  <a:pos x="144" y="8"/>
                </a:cxn>
                <a:cxn ang="0">
                  <a:pos x="150" y="6"/>
                </a:cxn>
                <a:cxn ang="0">
                  <a:pos x="154" y="8"/>
                </a:cxn>
                <a:cxn ang="0">
                  <a:pos x="158" y="10"/>
                </a:cxn>
                <a:cxn ang="0">
                  <a:pos x="164" y="18"/>
                </a:cxn>
                <a:cxn ang="0">
                  <a:pos x="170" y="26"/>
                </a:cxn>
                <a:cxn ang="0">
                  <a:pos x="166" y="38"/>
                </a:cxn>
                <a:cxn ang="0">
                  <a:pos x="162" y="44"/>
                </a:cxn>
                <a:cxn ang="0">
                  <a:pos x="168" y="58"/>
                </a:cxn>
                <a:cxn ang="0">
                  <a:pos x="180" y="72"/>
                </a:cxn>
                <a:cxn ang="0">
                  <a:pos x="184" y="76"/>
                </a:cxn>
                <a:cxn ang="0">
                  <a:pos x="180" y="78"/>
                </a:cxn>
                <a:cxn ang="0">
                  <a:pos x="180" y="80"/>
                </a:cxn>
                <a:cxn ang="0">
                  <a:pos x="174" y="86"/>
                </a:cxn>
                <a:cxn ang="0">
                  <a:pos x="166" y="96"/>
                </a:cxn>
                <a:cxn ang="0">
                  <a:pos x="164" y="104"/>
                </a:cxn>
                <a:cxn ang="0">
                  <a:pos x="160" y="104"/>
                </a:cxn>
                <a:cxn ang="0">
                  <a:pos x="140" y="98"/>
                </a:cxn>
                <a:cxn ang="0">
                  <a:pos x="132" y="98"/>
                </a:cxn>
                <a:cxn ang="0">
                  <a:pos x="130" y="102"/>
                </a:cxn>
                <a:cxn ang="0">
                  <a:pos x="122" y="98"/>
                </a:cxn>
                <a:cxn ang="0">
                  <a:pos x="118" y="100"/>
                </a:cxn>
                <a:cxn ang="0">
                  <a:pos x="112" y="98"/>
                </a:cxn>
                <a:cxn ang="0">
                  <a:pos x="106" y="98"/>
                </a:cxn>
                <a:cxn ang="0">
                  <a:pos x="96" y="96"/>
                </a:cxn>
                <a:cxn ang="0">
                  <a:pos x="72" y="86"/>
                </a:cxn>
                <a:cxn ang="0">
                  <a:pos x="68" y="80"/>
                </a:cxn>
                <a:cxn ang="0">
                  <a:pos x="62" y="80"/>
                </a:cxn>
                <a:cxn ang="0">
                  <a:pos x="56" y="80"/>
                </a:cxn>
                <a:cxn ang="0">
                  <a:pos x="56" y="82"/>
                </a:cxn>
                <a:cxn ang="0">
                  <a:pos x="52" y="84"/>
                </a:cxn>
                <a:cxn ang="0">
                  <a:pos x="46" y="80"/>
                </a:cxn>
                <a:cxn ang="0">
                  <a:pos x="28" y="76"/>
                </a:cxn>
                <a:cxn ang="0">
                  <a:pos x="18" y="74"/>
                </a:cxn>
              </a:cxnLst>
              <a:rect l="0" t="0" r="r" b="b"/>
              <a:pathLst>
                <a:path w="184" h="104">
                  <a:moveTo>
                    <a:pt x="18" y="74"/>
                  </a:moveTo>
                  <a:lnTo>
                    <a:pt x="18" y="74"/>
                  </a:lnTo>
                  <a:lnTo>
                    <a:pt x="18" y="72"/>
                  </a:lnTo>
                  <a:lnTo>
                    <a:pt x="18" y="68"/>
                  </a:lnTo>
                  <a:lnTo>
                    <a:pt x="18" y="68"/>
                  </a:lnTo>
                  <a:lnTo>
                    <a:pt x="16" y="60"/>
                  </a:lnTo>
                  <a:lnTo>
                    <a:pt x="12" y="50"/>
                  </a:lnTo>
                  <a:lnTo>
                    <a:pt x="12" y="50"/>
                  </a:lnTo>
                  <a:lnTo>
                    <a:pt x="12" y="46"/>
                  </a:lnTo>
                  <a:lnTo>
                    <a:pt x="12" y="42"/>
                  </a:lnTo>
                  <a:lnTo>
                    <a:pt x="12" y="42"/>
                  </a:lnTo>
                  <a:lnTo>
                    <a:pt x="10" y="40"/>
                  </a:lnTo>
                  <a:lnTo>
                    <a:pt x="8" y="40"/>
                  </a:lnTo>
                  <a:lnTo>
                    <a:pt x="6" y="38"/>
                  </a:lnTo>
                  <a:lnTo>
                    <a:pt x="6" y="38"/>
                  </a:lnTo>
                  <a:lnTo>
                    <a:pt x="2" y="36"/>
                  </a:lnTo>
                  <a:lnTo>
                    <a:pt x="0" y="36"/>
                  </a:lnTo>
                  <a:lnTo>
                    <a:pt x="0" y="34"/>
                  </a:lnTo>
                  <a:lnTo>
                    <a:pt x="0" y="34"/>
                  </a:lnTo>
                  <a:lnTo>
                    <a:pt x="0" y="32"/>
                  </a:lnTo>
                  <a:lnTo>
                    <a:pt x="2" y="28"/>
                  </a:lnTo>
                  <a:lnTo>
                    <a:pt x="4" y="26"/>
                  </a:lnTo>
                  <a:lnTo>
                    <a:pt x="4" y="26"/>
                  </a:lnTo>
                  <a:lnTo>
                    <a:pt x="4" y="26"/>
                  </a:lnTo>
                  <a:lnTo>
                    <a:pt x="4" y="22"/>
                  </a:lnTo>
                  <a:lnTo>
                    <a:pt x="4" y="18"/>
                  </a:lnTo>
                  <a:lnTo>
                    <a:pt x="4" y="18"/>
                  </a:lnTo>
                  <a:lnTo>
                    <a:pt x="8" y="18"/>
                  </a:lnTo>
                  <a:lnTo>
                    <a:pt x="8" y="18"/>
                  </a:lnTo>
                  <a:lnTo>
                    <a:pt x="10" y="18"/>
                  </a:lnTo>
                  <a:lnTo>
                    <a:pt x="10" y="16"/>
                  </a:lnTo>
                  <a:lnTo>
                    <a:pt x="12" y="12"/>
                  </a:lnTo>
                  <a:lnTo>
                    <a:pt x="16" y="12"/>
                  </a:lnTo>
                  <a:lnTo>
                    <a:pt x="16" y="12"/>
                  </a:lnTo>
                  <a:lnTo>
                    <a:pt x="32" y="8"/>
                  </a:lnTo>
                  <a:lnTo>
                    <a:pt x="32" y="8"/>
                  </a:lnTo>
                  <a:lnTo>
                    <a:pt x="42" y="8"/>
                  </a:lnTo>
                  <a:lnTo>
                    <a:pt x="44" y="8"/>
                  </a:lnTo>
                  <a:lnTo>
                    <a:pt x="50" y="6"/>
                  </a:lnTo>
                  <a:lnTo>
                    <a:pt x="50" y="6"/>
                  </a:lnTo>
                  <a:lnTo>
                    <a:pt x="54" y="2"/>
                  </a:lnTo>
                  <a:lnTo>
                    <a:pt x="64" y="0"/>
                  </a:lnTo>
                  <a:lnTo>
                    <a:pt x="64" y="0"/>
                  </a:lnTo>
                  <a:lnTo>
                    <a:pt x="74" y="0"/>
                  </a:lnTo>
                  <a:lnTo>
                    <a:pt x="82" y="0"/>
                  </a:lnTo>
                  <a:lnTo>
                    <a:pt x="82" y="0"/>
                  </a:lnTo>
                  <a:lnTo>
                    <a:pt x="88" y="4"/>
                  </a:lnTo>
                  <a:lnTo>
                    <a:pt x="90" y="6"/>
                  </a:lnTo>
                  <a:lnTo>
                    <a:pt x="88" y="6"/>
                  </a:lnTo>
                  <a:lnTo>
                    <a:pt x="88" y="6"/>
                  </a:lnTo>
                  <a:lnTo>
                    <a:pt x="86" y="4"/>
                  </a:lnTo>
                  <a:lnTo>
                    <a:pt x="84" y="4"/>
                  </a:lnTo>
                  <a:lnTo>
                    <a:pt x="84" y="6"/>
                  </a:lnTo>
                  <a:lnTo>
                    <a:pt x="84" y="6"/>
                  </a:lnTo>
                  <a:lnTo>
                    <a:pt x="84" y="8"/>
                  </a:lnTo>
                  <a:lnTo>
                    <a:pt x="86" y="10"/>
                  </a:lnTo>
                  <a:lnTo>
                    <a:pt x="86" y="10"/>
                  </a:lnTo>
                  <a:lnTo>
                    <a:pt x="90" y="12"/>
                  </a:lnTo>
                  <a:lnTo>
                    <a:pt x="94" y="10"/>
                  </a:lnTo>
                  <a:lnTo>
                    <a:pt x="94" y="10"/>
                  </a:lnTo>
                  <a:lnTo>
                    <a:pt x="98" y="6"/>
                  </a:lnTo>
                  <a:lnTo>
                    <a:pt x="98" y="6"/>
                  </a:lnTo>
                  <a:lnTo>
                    <a:pt x="98" y="4"/>
                  </a:lnTo>
                  <a:lnTo>
                    <a:pt x="98" y="6"/>
                  </a:lnTo>
                  <a:lnTo>
                    <a:pt x="98" y="6"/>
                  </a:lnTo>
                  <a:lnTo>
                    <a:pt x="94" y="12"/>
                  </a:lnTo>
                  <a:lnTo>
                    <a:pt x="94" y="12"/>
                  </a:lnTo>
                  <a:lnTo>
                    <a:pt x="96" y="12"/>
                  </a:lnTo>
                  <a:lnTo>
                    <a:pt x="96" y="12"/>
                  </a:lnTo>
                  <a:lnTo>
                    <a:pt x="98" y="12"/>
                  </a:lnTo>
                  <a:lnTo>
                    <a:pt x="98" y="12"/>
                  </a:lnTo>
                  <a:lnTo>
                    <a:pt x="100" y="8"/>
                  </a:lnTo>
                  <a:lnTo>
                    <a:pt x="100" y="8"/>
                  </a:lnTo>
                  <a:lnTo>
                    <a:pt x="114" y="8"/>
                  </a:lnTo>
                  <a:lnTo>
                    <a:pt x="120" y="10"/>
                  </a:lnTo>
                  <a:lnTo>
                    <a:pt x="126" y="10"/>
                  </a:lnTo>
                  <a:lnTo>
                    <a:pt x="130" y="8"/>
                  </a:lnTo>
                  <a:lnTo>
                    <a:pt x="130" y="8"/>
                  </a:lnTo>
                  <a:lnTo>
                    <a:pt x="136" y="6"/>
                  </a:lnTo>
                  <a:lnTo>
                    <a:pt x="140" y="8"/>
                  </a:lnTo>
                  <a:lnTo>
                    <a:pt x="144" y="8"/>
                  </a:lnTo>
                  <a:lnTo>
                    <a:pt x="146" y="6"/>
                  </a:lnTo>
                  <a:lnTo>
                    <a:pt x="146" y="6"/>
                  </a:lnTo>
                  <a:lnTo>
                    <a:pt x="150" y="6"/>
                  </a:lnTo>
                  <a:lnTo>
                    <a:pt x="150" y="6"/>
                  </a:lnTo>
                  <a:lnTo>
                    <a:pt x="152" y="8"/>
                  </a:lnTo>
                  <a:lnTo>
                    <a:pt x="154" y="8"/>
                  </a:lnTo>
                  <a:lnTo>
                    <a:pt x="154" y="8"/>
                  </a:lnTo>
                  <a:lnTo>
                    <a:pt x="156" y="8"/>
                  </a:lnTo>
                  <a:lnTo>
                    <a:pt x="158" y="10"/>
                  </a:lnTo>
                  <a:lnTo>
                    <a:pt x="162" y="14"/>
                  </a:lnTo>
                  <a:lnTo>
                    <a:pt x="162" y="14"/>
                  </a:lnTo>
                  <a:lnTo>
                    <a:pt x="164" y="18"/>
                  </a:lnTo>
                  <a:lnTo>
                    <a:pt x="166" y="24"/>
                  </a:lnTo>
                  <a:lnTo>
                    <a:pt x="166" y="24"/>
                  </a:lnTo>
                  <a:lnTo>
                    <a:pt x="170" y="26"/>
                  </a:lnTo>
                  <a:lnTo>
                    <a:pt x="172" y="30"/>
                  </a:lnTo>
                  <a:lnTo>
                    <a:pt x="172" y="34"/>
                  </a:lnTo>
                  <a:lnTo>
                    <a:pt x="166" y="38"/>
                  </a:lnTo>
                  <a:lnTo>
                    <a:pt x="166" y="38"/>
                  </a:lnTo>
                  <a:lnTo>
                    <a:pt x="162" y="40"/>
                  </a:lnTo>
                  <a:lnTo>
                    <a:pt x="162" y="44"/>
                  </a:lnTo>
                  <a:lnTo>
                    <a:pt x="166" y="48"/>
                  </a:lnTo>
                  <a:lnTo>
                    <a:pt x="168" y="58"/>
                  </a:lnTo>
                  <a:lnTo>
                    <a:pt x="168" y="58"/>
                  </a:lnTo>
                  <a:lnTo>
                    <a:pt x="172" y="66"/>
                  </a:lnTo>
                  <a:lnTo>
                    <a:pt x="176" y="70"/>
                  </a:lnTo>
                  <a:lnTo>
                    <a:pt x="180" y="72"/>
                  </a:lnTo>
                  <a:lnTo>
                    <a:pt x="184" y="74"/>
                  </a:lnTo>
                  <a:lnTo>
                    <a:pt x="184" y="74"/>
                  </a:lnTo>
                  <a:lnTo>
                    <a:pt x="184" y="76"/>
                  </a:lnTo>
                  <a:lnTo>
                    <a:pt x="182" y="74"/>
                  </a:lnTo>
                  <a:lnTo>
                    <a:pt x="180" y="74"/>
                  </a:lnTo>
                  <a:lnTo>
                    <a:pt x="180" y="78"/>
                  </a:lnTo>
                  <a:lnTo>
                    <a:pt x="180" y="78"/>
                  </a:lnTo>
                  <a:lnTo>
                    <a:pt x="182" y="80"/>
                  </a:lnTo>
                  <a:lnTo>
                    <a:pt x="180" y="80"/>
                  </a:lnTo>
                  <a:lnTo>
                    <a:pt x="176" y="82"/>
                  </a:lnTo>
                  <a:lnTo>
                    <a:pt x="174" y="86"/>
                  </a:lnTo>
                  <a:lnTo>
                    <a:pt x="174" y="86"/>
                  </a:lnTo>
                  <a:lnTo>
                    <a:pt x="168" y="92"/>
                  </a:lnTo>
                  <a:lnTo>
                    <a:pt x="166" y="94"/>
                  </a:lnTo>
                  <a:lnTo>
                    <a:pt x="166" y="96"/>
                  </a:lnTo>
                  <a:lnTo>
                    <a:pt x="166" y="100"/>
                  </a:lnTo>
                  <a:lnTo>
                    <a:pt x="166" y="100"/>
                  </a:lnTo>
                  <a:lnTo>
                    <a:pt x="164" y="104"/>
                  </a:lnTo>
                  <a:lnTo>
                    <a:pt x="164" y="104"/>
                  </a:lnTo>
                  <a:lnTo>
                    <a:pt x="160" y="104"/>
                  </a:lnTo>
                  <a:lnTo>
                    <a:pt x="160" y="104"/>
                  </a:lnTo>
                  <a:lnTo>
                    <a:pt x="152" y="104"/>
                  </a:lnTo>
                  <a:lnTo>
                    <a:pt x="146" y="100"/>
                  </a:lnTo>
                  <a:lnTo>
                    <a:pt x="140" y="98"/>
                  </a:lnTo>
                  <a:lnTo>
                    <a:pt x="136" y="96"/>
                  </a:lnTo>
                  <a:lnTo>
                    <a:pt x="136" y="96"/>
                  </a:lnTo>
                  <a:lnTo>
                    <a:pt x="132" y="98"/>
                  </a:lnTo>
                  <a:lnTo>
                    <a:pt x="132" y="100"/>
                  </a:lnTo>
                  <a:lnTo>
                    <a:pt x="132" y="100"/>
                  </a:lnTo>
                  <a:lnTo>
                    <a:pt x="130" y="102"/>
                  </a:lnTo>
                  <a:lnTo>
                    <a:pt x="130" y="102"/>
                  </a:lnTo>
                  <a:lnTo>
                    <a:pt x="126" y="100"/>
                  </a:lnTo>
                  <a:lnTo>
                    <a:pt x="122" y="98"/>
                  </a:lnTo>
                  <a:lnTo>
                    <a:pt x="122" y="98"/>
                  </a:lnTo>
                  <a:lnTo>
                    <a:pt x="120" y="98"/>
                  </a:lnTo>
                  <a:lnTo>
                    <a:pt x="118" y="100"/>
                  </a:lnTo>
                  <a:lnTo>
                    <a:pt x="116" y="100"/>
                  </a:lnTo>
                  <a:lnTo>
                    <a:pt x="112" y="98"/>
                  </a:lnTo>
                  <a:lnTo>
                    <a:pt x="112" y="98"/>
                  </a:lnTo>
                  <a:lnTo>
                    <a:pt x="108" y="94"/>
                  </a:lnTo>
                  <a:lnTo>
                    <a:pt x="106" y="98"/>
                  </a:lnTo>
                  <a:lnTo>
                    <a:pt x="106" y="98"/>
                  </a:lnTo>
                  <a:lnTo>
                    <a:pt x="104" y="100"/>
                  </a:lnTo>
                  <a:lnTo>
                    <a:pt x="96" y="96"/>
                  </a:lnTo>
                  <a:lnTo>
                    <a:pt x="96" y="96"/>
                  </a:lnTo>
                  <a:lnTo>
                    <a:pt x="86" y="90"/>
                  </a:lnTo>
                  <a:lnTo>
                    <a:pt x="78" y="88"/>
                  </a:lnTo>
                  <a:lnTo>
                    <a:pt x="72" y="86"/>
                  </a:lnTo>
                  <a:lnTo>
                    <a:pt x="70" y="84"/>
                  </a:lnTo>
                  <a:lnTo>
                    <a:pt x="70" y="84"/>
                  </a:lnTo>
                  <a:lnTo>
                    <a:pt x="68" y="80"/>
                  </a:lnTo>
                  <a:lnTo>
                    <a:pt x="66" y="80"/>
                  </a:lnTo>
                  <a:lnTo>
                    <a:pt x="66" y="80"/>
                  </a:lnTo>
                  <a:lnTo>
                    <a:pt x="62" y="80"/>
                  </a:lnTo>
                  <a:lnTo>
                    <a:pt x="58" y="78"/>
                  </a:lnTo>
                  <a:lnTo>
                    <a:pt x="56" y="78"/>
                  </a:lnTo>
                  <a:lnTo>
                    <a:pt x="56" y="80"/>
                  </a:lnTo>
                  <a:lnTo>
                    <a:pt x="56" y="80"/>
                  </a:lnTo>
                  <a:lnTo>
                    <a:pt x="58" y="82"/>
                  </a:lnTo>
                  <a:lnTo>
                    <a:pt x="56" y="82"/>
                  </a:lnTo>
                  <a:lnTo>
                    <a:pt x="54" y="82"/>
                  </a:lnTo>
                  <a:lnTo>
                    <a:pt x="52" y="84"/>
                  </a:lnTo>
                  <a:lnTo>
                    <a:pt x="52" y="84"/>
                  </a:lnTo>
                  <a:lnTo>
                    <a:pt x="52" y="84"/>
                  </a:lnTo>
                  <a:lnTo>
                    <a:pt x="50" y="82"/>
                  </a:lnTo>
                  <a:lnTo>
                    <a:pt x="46" y="80"/>
                  </a:lnTo>
                  <a:lnTo>
                    <a:pt x="42" y="78"/>
                  </a:lnTo>
                  <a:lnTo>
                    <a:pt x="42" y="78"/>
                  </a:lnTo>
                  <a:lnTo>
                    <a:pt x="28" y="76"/>
                  </a:lnTo>
                  <a:lnTo>
                    <a:pt x="22" y="74"/>
                  </a:lnTo>
                  <a:lnTo>
                    <a:pt x="20" y="72"/>
                  </a:lnTo>
                  <a:lnTo>
                    <a:pt x="18" y="74"/>
                  </a:lnTo>
                  <a:lnTo>
                    <a:pt x="18" y="74"/>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Portugal"/>
            <p:cNvSpPr>
              <a:spLocks/>
            </p:cNvSpPr>
            <p:nvPr/>
          </p:nvSpPr>
          <p:spPr bwMode="auto">
            <a:xfrm>
              <a:off x="3906538" y="2260865"/>
              <a:ext cx="74083" cy="148167"/>
            </a:xfrm>
            <a:custGeom>
              <a:avLst/>
              <a:gdLst/>
              <a:ahLst/>
              <a:cxnLst>
                <a:cxn ang="0">
                  <a:pos x="32" y="110"/>
                </a:cxn>
                <a:cxn ang="0">
                  <a:pos x="22" y="112"/>
                </a:cxn>
                <a:cxn ang="0">
                  <a:pos x="18" y="110"/>
                </a:cxn>
                <a:cxn ang="0">
                  <a:pos x="12" y="110"/>
                </a:cxn>
                <a:cxn ang="0">
                  <a:pos x="4" y="110"/>
                </a:cxn>
                <a:cxn ang="0">
                  <a:pos x="2" y="108"/>
                </a:cxn>
                <a:cxn ang="0">
                  <a:pos x="6" y="104"/>
                </a:cxn>
                <a:cxn ang="0">
                  <a:pos x="10" y="98"/>
                </a:cxn>
                <a:cxn ang="0">
                  <a:pos x="10" y="94"/>
                </a:cxn>
                <a:cxn ang="0">
                  <a:pos x="10" y="92"/>
                </a:cxn>
                <a:cxn ang="0">
                  <a:pos x="10" y="80"/>
                </a:cxn>
                <a:cxn ang="0">
                  <a:pos x="12" y="78"/>
                </a:cxn>
                <a:cxn ang="0">
                  <a:pos x="4" y="80"/>
                </a:cxn>
                <a:cxn ang="0">
                  <a:pos x="4" y="72"/>
                </a:cxn>
                <a:cxn ang="0">
                  <a:pos x="2" y="72"/>
                </a:cxn>
                <a:cxn ang="0">
                  <a:pos x="0" y="68"/>
                </a:cxn>
                <a:cxn ang="0">
                  <a:pos x="0" y="62"/>
                </a:cxn>
                <a:cxn ang="0">
                  <a:pos x="0" y="58"/>
                </a:cxn>
                <a:cxn ang="0">
                  <a:pos x="6" y="52"/>
                </a:cxn>
                <a:cxn ang="0">
                  <a:pos x="8" y="46"/>
                </a:cxn>
                <a:cxn ang="0">
                  <a:pos x="12" y="32"/>
                </a:cxn>
                <a:cxn ang="0">
                  <a:pos x="16" y="18"/>
                </a:cxn>
                <a:cxn ang="0">
                  <a:pos x="16" y="12"/>
                </a:cxn>
                <a:cxn ang="0">
                  <a:pos x="16" y="10"/>
                </a:cxn>
                <a:cxn ang="0">
                  <a:pos x="16" y="6"/>
                </a:cxn>
                <a:cxn ang="0">
                  <a:pos x="18" y="2"/>
                </a:cxn>
                <a:cxn ang="0">
                  <a:pos x="20" y="0"/>
                </a:cxn>
                <a:cxn ang="0">
                  <a:pos x="30" y="0"/>
                </a:cxn>
                <a:cxn ang="0">
                  <a:pos x="30" y="4"/>
                </a:cxn>
                <a:cxn ang="0">
                  <a:pos x="32" y="6"/>
                </a:cxn>
                <a:cxn ang="0">
                  <a:pos x="42" y="6"/>
                </a:cxn>
                <a:cxn ang="0">
                  <a:pos x="50" y="4"/>
                </a:cxn>
                <a:cxn ang="0">
                  <a:pos x="54" y="8"/>
                </a:cxn>
                <a:cxn ang="0">
                  <a:pos x="56" y="10"/>
                </a:cxn>
                <a:cxn ang="0">
                  <a:pos x="52" y="14"/>
                </a:cxn>
                <a:cxn ang="0">
                  <a:pos x="46" y="24"/>
                </a:cxn>
                <a:cxn ang="0">
                  <a:pos x="44" y="24"/>
                </a:cxn>
                <a:cxn ang="0">
                  <a:pos x="46" y="28"/>
                </a:cxn>
                <a:cxn ang="0">
                  <a:pos x="44" y="36"/>
                </a:cxn>
                <a:cxn ang="0">
                  <a:pos x="44" y="38"/>
                </a:cxn>
                <a:cxn ang="0">
                  <a:pos x="46" y="42"/>
                </a:cxn>
                <a:cxn ang="0">
                  <a:pos x="42" y="52"/>
                </a:cxn>
                <a:cxn ang="0">
                  <a:pos x="34" y="52"/>
                </a:cxn>
                <a:cxn ang="0">
                  <a:pos x="40" y="64"/>
                </a:cxn>
                <a:cxn ang="0">
                  <a:pos x="40" y="72"/>
                </a:cxn>
                <a:cxn ang="0">
                  <a:pos x="36" y="80"/>
                </a:cxn>
                <a:cxn ang="0">
                  <a:pos x="40" y="86"/>
                </a:cxn>
                <a:cxn ang="0">
                  <a:pos x="38" y="92"/>
                </a:cxn>
                <a:cxn ang="0">
                  <a:pos x="32" y="102"/>
                </a:cxn>
                <a:cxn ang="0">
                  <a:pos x="34" y="106"/>
                </a:cxn>
              </a:cxnLst>
              <a:rect l="0" t="0" r="r" b="b"/>
              <a:pathLst>
                <a:path w="56" h="112">
                  <a:moveTo>
                    <a:pt x="34" y="106"/>
                  </a:moveTo>
                  <a:lnTo>
                    <a:pt x="34" y="106"/>
                  </a:lnTo>
                  <a:lnTo>
                    <a:pt x="32" y="110"/>
                  </a:lnTo>
                  <a:lnTo>
                    <a:pt x="28" y="110"/>
                  </a:lnTo>
                  <a:lnTo>
                    <a:pt x="28" y="110"/>
                  </a:lnTo>
                  <a:lnTo>
                    <a:pt x="22" y="112"/>
                  </a:lnTo>
                  <a:lnTo>
                    <a:pt x="20" y="112"/>
                  </a:lnTo>
                  <a:lnTo>
                    <a:pt x="18" y="110"/>
                  </a:lnTo>
                  <a:lnTo>
                    <a:pt x="18" y="110"/>
                  </a:lnTo>
                  <a:lnTo>
                    <a:pt x="16" y="110"/>
                  </a:lnTo>
                  <a:lnTo>
                    <a:pt x="12" y="110"/>
                  </a:lnTo>
                  <a:lnTo>
                    <a:pt x="12" y="110"/>
                  </a:lnTo>
                  <a:lnTo>
                    <a:pt x="10" y="110"/>
                  </a:lnTo>
                  <a:lnTo>
                    <a:pt x="4" y="110"/>
                  </a:lnTo>
                  <a:lnTo>
                    <a:pt x="4" y="110"/>
                  </a:lnTo>
                  <a:lnTo>
                    <a:pt x="2" y="110"/>
                  </a:lnTo>
                  <a:lnTo>
                    <a:pt x="2" y="108"/>
                  </a:lnTo>
                  <a:lnTo>
                    <a:pt x="2" y="108"/>
                  </a:lnTo>
                  <a:lnTo>
                    <a:pt x="2" y="108"/>
                  </a:lnTo>
                  <a:lnTo>
                    <a:pt x="4" y="106"/>
                  </a:lnTo>
                  <a:lnTo>
                    <a:pt x="6" y="104"/>
                  </a:lnTo>
                  <a:lnTo>
                    <a:pt x="8" y="100"/>
                  </a:lnTo>
                  <a:lnTo>
                    <a:pt x="8" y="100"/>
                  </a:lnTo>
                  <a:lnTo>
                    <a:pt x="10" y="98"/>
                  </a:lnTo>
                  <a:lnTo>
                    <a:pt x="10" y="94"/>
                  </a:lnTo>
                  <a:lnTo>
                    <a:pt x="10" y="94"/>
                  </a:lnTo>
                  <a:lnTo>
                    <a:pt x="10" y="94"/>
                  </a:lnTo>
                  <a:lnTo>
                    <a:pt x="10" y="94"/>
                  </a:lnTo>
                  <a:lnTo>
                    <a:pt x="10" y="94"/>
                  </a:lnTo>
                  <a:lnTo>
                    <a:pt x="10" y="92"/>
                  </a:lnTo>
                  <a:lnTo>
                    <a:pt x="10" y="92"/>
                  </a:lnTo>
                  <a:lnTo>
                    <a:pt x="10" y="86"/>
                  </a:lnTo>
                  <a:lnTo>
                    <a:pt x="10" y="80"/>
                  </a:lnTo>
                  <a:lnTo>
                    <a:pt x="10" y="80"/>
                  </a:lnTo>
                  <a:lnTo>
                    <a:pt x="10" y="78"/>
                  </a:lnTo>
                  <a:lnTo>
                    <a:pt x="12" y="78"/>
                  </a:lnTo>
                  <a:lnTo>
                    <a:pt x="12" y="78"/>
                  </a:lnTo>
                  <a:lnTo>
                    <a:pt x="6" y="80"/>
                  </a:lnTo>
                  <a:lnTo>
                    <a:pt x="4" y="80"/>
                  </a:lnTo>
                  <a:lnTo>
                    <a:pt x="2" y="78"/>
                  </a:lnTo>
                  <a:lnTo>
                    <a:pt x="2" y="78"/>
                  </a:lnTo>
                  <a:lnTo>
                    <a:pt x="4" y="72"/>
                  </a:lnTo>
                  <a:lnTo>
                    <a:pt x="4" y="72"/>
                  </a:lnTo>
                  <a:lnTo>
                    <a:pt x="4" y="72"/>
                  </a:lnTo>
                  <a:lnTo>
                    <a:pt x="2" y="72"/>
                  </a:lnTo>
                  <a:lnTo>
                    <a:pt x="2" y="72"/>
                  </a:lnTo>
                  <a:lnTo>
                    <a:pt x="0" y="72"/>
                  </a:lnTo>
                  <a:lnTo>
                    <a:pt x="0" y="68"/>
                  </a:lnTo>
                  <a:lnTo>
                    <a:pt x="0" y="68"/>
                  </a:lnTo>
                  <a:lnTo>
                    <a:pt x="0" y="64"/>
                  </a:lnTo>
                  <a:lnTo>
                    <a:pt x="0" y="62"/>
                  </a:lnTo>
                  <a:lnTo>
                    <a:pt x="0" y="58"/>
                  </a:lnTo>
                  <a:lnTo>
                    <a:pt x="0" y="58"/>
                  </a:lnTo>
                  <a:lnTo>
                    <a:pt x="0" y="58"/>
                  </a:lnTo>
                  <a:lnTo>
                    <a:pt x="2" y="56"/>
                  </a:lnTo>
                  <a:lnTo>
                    <a:pt x="6" y="52"/>
                  </a:lnTo>
                  <a:lnTo>
                    <a:pt x="6" y="52"/>
                  </a:lnTo>
                  <a:lnTo>
                    <a:pt x="8" y="48"/>
                  </a:lnTo>
                  <a:lnTo>
                    <a:pt x="8" y="46"/>
                  </a:lnTo>
                  <a:lnTo>
                    <a:pt x="8" y="46"/>
                  </a:lnTo>
                  <a:lnTo>
                    <a:pt x="8" y="44"/>
                  </a:lnTo>
                  <a:lnTo>
                    <a:pt x="8" y="44"/>
                  </a:lnTo>
                  <a:lnTo>
                    <a:pt x="12" y="32"/>
                  </a:lnTo>
                  <a:lnTo>
                    <a:pt x="12" y="32"/>
                  </a:lnTo>
                  <a:lnTo>
                    <a:pt x="14" y="26"/>
                  </a:lnTo>
                  <a:lnTo>
                    <a:pt x="16" y="18"/>
                  </a:lnTo>
                  <a:lnTo>
                    <a:pt x="16" y="18"/>
                  </a:lnTo>
                  <a:lnTo>
                    <a:pt x="16" y="14"/>
                  </a:lnTo>
                  <a:lnTo>
                    <a:pt x="16" y="12"/>
                  </a:lnTo>
                  <a:lnTo>
                    <a:pt x="16" y="10"/>
                  </a:lnTo>
                  <a:lnTo>
                    <a:pt x="16" y="10"/>
                  </a:lnTo>
                  <a:lnTo>
                    <a:pt x="16" y="10"/>
                  </a:lnTo>
                  <a:lnTo>
                    <a:pt x="16" y="8"/>
                  </a:lnTo>
                  <a:lnTo>
                    <a:pt x="16" y="6"/>
                  </a:lnTo>
                  <a:lnTo>
                    <a:pt x="16" y="6"/>
                  </a:lnTo>
                  <a:lnTo>
                    <a:pt x="16" y="4"/>
                  </a:lnTo>
                  <a:lnTo>
                    <a:pt x="16" y="4"/>
                  </a:lnTo>
                  <a:lnTo>
                    <a:pt x="18" y="2"/>
                  </a:lnTo>
                  <a:lnTo>
                    <a:pt x="16" y="2"/>
                  </a:lnTo>
                  <a:lnTo>
                    <a:pt x="16" y="2"/>
                  </a:lnTo>
                  <a:lnTo>
                    <a:pt x="20" y="0"/>
                  </a:lnTo>
                  <a:lnTo>
                    <a:pt x="24" y="0"/>
                  </a:lnTo>
                  <a:lnTo>
                    <a:pt x="24" y="0"/>
                  </a:lnTo>
                  <a:lnTo>
                    <a:pt x="30" y="0"/>
                  </a:lnTo>
                  <a:lnTo>
                    <a:pt x="30" y="2"/>
                  </a:lnTo>
                  <a:lnTo>
                    <a:pt x="30" y="4"/>
                  </a:lnTo>
                  <a:lnTo>
                    <a:pt x="30" y="4"/>
                  </a:lnTo>
                  <a:lnTo>
                    <a:pt x="30" y="6"/>
                  </a:lnTo>
                  <a:lnTo>
                    <a:pt x="32" y="6"/>
                  </a:lnTo>
                  <a:lnTo>
                    <a:pt x="32" y="6"/>
                  </a:lnTo>
                  <a:lnTo>
                    <a:pt x="38" y="4"/>
                  </a:lnTo>
                  <a:lnTo>
                    <a:pt x="42" y="6"/>
                  </a:lnTo>
                  <a:lnTo>
                    <a:pt x="42" y="6"/>
                  </a:lnTo>
                  <a:lnTo>
                    <a:pt x="44" y="6"/>
                  </a:lnTo>
                  <a:lnTo>
                    <a:pt x="46" y="6"/>
                  </a:lnTo>
                  <a:lnTo>
                    <a:pt x="50" y="4"/>
                  </a:lnTo>
                  <a:lnTo>
                    <a:pt x="52" y="6"/>
                  </a:lnTo>
                  <a:lnTo>
                    <a:pt x="52" y="6"/>
                  </a:lnTo>
                  <a:lnTo>
                    <a:pt x="54" y="8"/>
                  </a:lnTo>
                  <a:lnTo>
                    <a:pt x="54" y="10"/>
                  </a:lnTo>
                  <a:lnTo>
                    <a:pt x="54" y="10"/>
                  </a:lnTo>
                  <a:lnTo>
                    <a:pt x="56" y="10"/>
                  </a:lnTo>
                  <a:lnTo>
                    <a:pt x="56" y="12"/>
                  </a:lnTo>
                  <a:lnTo>
                    <a:pt x="52" y="14"/>
                  </a:lnTo>
                  <a:lnTo>
                    <a:pt x="52" y="14"/>
                  </a:lnTo>
                  <a:lnTo>
                    <a:pt x="50" y="18"/>
                  </a:lnTo>
                  <a:lnTo>
                    <a:pt x="48" y="22"/>
                  </a:lnTo>
                  <a:lnTo>
                    <a:pt x="46" y="24"/>
                  </a:lnTo>
                  <a:lnTo>
                    <a:pt x="44" y="24"/>
                  </a:lnTo>
                  <a:lnTo>
                    <a:pt x="44" y="24"/>
                  </a:lnTo>
                  <a:lnTo>
                    <a:pt x="44" y="24"/>
                  </a:lnTo>
                  <a:lnTo>
                    <a:pt x="44" y="24"/>
                  </a:lnTo>
                  <a:lnTo>
                    <a:pt x="46" y="28"/>
                  </a:lnTo>
                  <a:lnTo>
                    <a:pt x="46" y="28"/>
                  </a:lnTo>
                  <a:lnTo>
                    <a:pt x="46" y="32"/>
                  </a:lnTo>
                  <a:lnTo>
                    <a:pt x="46" y="34"/>
                  </a:lnTo>
                  <a:lnTo>
                    <a:pt x="44" y="36"/>
                  </a:lnTo>
                  <a:lnTo>
                    <a:pt x="44" y="36"/>
                  </a:lnTo>
                  <a:lnTo>
                    <a:pt x="44" y="36"/>
                  </a:lnTo>
                  <a:lnTo>
                    <a:pt x="44" y="38"/>
                  </a:lnTo>
                  <a:lnTo>
                    <a:pt x="46" y="38"/>
                  </a:lnTo>
                  <a:lnTo>
                    <a:pt x="46" y="42"/>
                  </a:lnTo>
                  <a:lnTo>
                    <a:pt x="46" y="42"/>
                  </a:lnTo>
                  <a:lnTo>
                    <a:pt x="44" y="48"/>
                  </a:lnTo>
                  <a:lnTo>
                    <a:pt x="44" y="50"/>
                  </a:lnTo>
                  <a:lnTo>
                    <a:pt x="42" y="52"/>
                  </a:lnTo>
                  <a:lnTo>
                    <a:pt x="42" y="52"/>
                  </a:lnTo>
                  <a:lnTo>
                    <a:pt x="36" y="52"/>
                  </a:lnTo>
                  <a:lnTo>
                    <a:pt x="34" y="52"/>
                  </a:lnTo>
                  <a:lnTo>
                    <a:pt x="36" y="54"/>
                  </a:lnTo>
                  <a:lnTo>
                    <a:pt x="36" y="54"/>
                  </a:lnTo>
                  <a:lnTo>
                    <a:pt x="40" y="64"/>
                  </a:lnTo>
                  <a:lnTo>
                    <a:pt x="40" y="64"/>
                  </a:lnTo>
                  <a:lnTo>
                    <a:pt x="42" y="68"/>
                  </a:lnTo>
                  <a:lnTo>
                    <a:pt x="40" y="72"/>
                  </a:lnTo>
                  <a:lnTo>
                    <a:pt x="40" y="72"/>
                  </a:lnTo>
                  <a:lnTo>
                    <a:pt x="36" y="76"/>
                  </a:lnTo>
                  <a:lnTo>
                    <a:pt x="36" y="80"/>
                  </a:lnTo>
                  <a:lnTo>
                    <a:pt x="38" y="82"/>
                  </a:lnTo>
                  <a:lnTo>
                    <a:pt x="38" y="82"/>
                  </a:lnTo>
                  <a:lnTo>
                    <a:pt x="40" y="86"/>
                  </a:lnTo>
                  <a:lnTo>
                    <a:pt x="40" y="88"/>
                  </a:lnTo>
                  <a:lnTo>
                    <a:pt x="40" y="88"/>
                  </a:lnTo>
                  <a:lnTo>
                    <a:pt x="38" y="92"/>
                  </a:lnTo>
                  <a:lnTo>
                    <a:pt x="34" y="98"/>
                  </a:lnTo>
                  <a:lnTo>
                    <a:pt x="34" y="98"/>
                  </a:lnTo>
                  <a:lnTo>
                    <a:pt x="32" y="102"/>
                  </a:lnTo>
                  <a:lnTo>
                    <a:pt x="32" y="104"/>
                  </a:lnTo>
                  <a:lnTo>
                    <a:pt x="34" y="106"/>
                  </a:lnTo>
                  <a:lnTo>
                    <a:pt x="34" y="106"/>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Qatar"/>
            <p:cNvSpPr>
              <a:spLocks/>
            </p:cNvSpPr>
            <p:nvPr/>
          </p:nvSpPr>
          <p:spPr bwMode="auto">
            <a:xfrm>
              <a:off x="5512559" y="2742405"/>
              <a:ext cx="31750" cy="42333"/>
            </a:xfrm>
            <a:custGeom>
              <a:avLst/>
              <a:gdLst/>
              <a:ahLst/>
              <a:cxnLst>
                <a:cxn ang="0">
                  <a:pos x="22" y="32"/>
                </a:cxn>
                <a:cxn ang="0">
                  <a:pos x="22" y="32"/>
                </a:cxn>
                <a:cxn ang="0">
                  <a:pos x="24" y="28"/>
                </a:cxn>
                <a:cxn ang="0">
                  <a:pos x="22" y="24"/>
                </a:cxn>
                <a:cxn ang="0">
                  <a:pos x="22" y="18"/>
                </a:cxn>
                <a:cxn ang="0">
                  <a:pos x="22" y="16"/>
                </a:cxn>
                <a:cxn ang="0">
                  <a:pos x="22" y="16"/>
                </a:cxn>
                <a:cxn ang="0">
                  <a:pos x="24" y="14"/>
                </a:cxn>
                <a:cxn ang="0">
                  <a:pos x="24" y="12"/>
                </a:cxn>
                <a:cxn ang="0">
                  <a:pos x="22" y="8"/>
                </a:cxn>
                <a:cxn ang="0">
                  <a:pos x="14" y="0"/>
                </a:cxn>
                <a:cxn ang="0">
                  <a:pos x="14" y="0"/>
                </a:cxn>
                <a:cxn ang="0">
                  <a:pos x="12" y="0"/>
                </a:cxn>
                <a:cxn ang="0">
                  <a:pos x="10" y="2"/>
                </a:cxn>
                <a:cxn ang="0">
                  <a:pos x="6" y="8"/>
                </a:cxn>
                <a:cxn ang="0">
                  <a:pos x="6" y="8"/>
                </a:cxn>
                <a:cxn ang="0">
                  <a:pos x="4" y="8"/>
                </a:cxn>
                <a:cxn ang="0">
                  <a:pos x="4" y="8"/>
                </a:cxn>
                <a:cxn ang="0">
                  <a:pos x="4" y="6"/>
                </a:cxn>
                <a:cxn ang="0">
                  <a:pos x="2" y="6"/>
                </a:cxn>
                <a:cxn ang="0">
                  <a:pos x="2" y="6"/>
                </a:cxn>
                <a:cxn ang="0">
                  <a:pos x="2" y="8"/>
                </a:cxn>
                <a:cxn ang="0">
                  <a:pos x="0" y="10"/>
                </a:cxn>
                <a:cxn ang="0">
                  <a:pos x="6" y="24"/>
                </a:cxn>
                <a:cxn ang="0">
                  <a:pos x="6" y="24"/>
                </a:cxn>
                <a:cxn ang="0">
                  <a:pos x="14" y="30"/>
                </a:cxn>
                <a:cxn ang="0">
                  <a:pos x="22" y="32"/>
                </a:cxn>
                <a:cxn ang="0">
                  <a:pos x="22" y="32"/>
                </a:cxn>
              </a:cxnLst>
              <a:rect l="0" t="0" r="r" b="b"/>
              <a:pathLst>
                <a:path w="24" h="32">
                  <a:moveTo>
                    <a:pt x="22" y="32"/>
                  </a:moveTo>
                  <a:lnTo>
                    <a:pt x="22" y="32"/>
                  </a:lnTo>
                  <a:lnTo>
                    <a:pt x="24" y="28"/>
                  </a:lnTo>
                  <a:lnTo>
                    <a:pt x="22" y="24"/>
                  </a:lnTo>
                  <a:lnTo>
                    <a:pt x="22" y="18"/>
                  </a:lnTo>
                  <a:lnTo>
                    <a:pt x="22" y="16"/>
                  </a:lnTo>
                  <a:lnTo>
                    <a:pt x="22" y="16"/>
                  </a:lnTo>
                  <a:lnTo>
                    <a:pt x="24" y="14"/>
                  </a:lnTo>
                  <a:lnTo>
                    <a:pt x="24" y="12"/>
                  </a:lnTo>
                  <a:lnTo>
                    <a:pt x="22" y="8"/>
                  </a:lnTo>
                  <a:lnTo>
                    <a:pt x="14" y="0"/>
                  </a:lnTo>
                  <a:lnTo>
                    <a:pt x="14" y="0"/>
                  </a:lnTo>
                  <a:lnTo>
                    <a:pt x="12" y="0"/>
                  </a:lnTo>
                  <a:lnTo>
                    <a:pt x="10" y="2"/>
                  </a:lnTo>
                  <a:lnTo>
                    <a:pt x="6" y="8"/>
                  </a:lnTo>
                  <a:lnTo>
                    <a:pt x="6" y="8"/>
                  </a:lnTo>
                  <a:lnTo>
                    <a:pt x="4" y="8"/>
                  </a:lnTo>
                  <a:lnTo>
                    <a:pt x="4" y="8"/>
                  </a:lnTo>
                  <a:lnTo>
                    <a:pt x="4" y="6"/>
                  </a:lnTo>
                  <a:lnTo>
                    <a:pt x="2" y="6"/>
                  </a:lnTo>
                  <a:lnTo>
                    <a:pt x="2" y="6"/>
                  </a:lnTo>
                  <a:lnTo>
                    <a:pt x="2" y="8"/>
                  </a:lnTo>
                  <a:lnTo>
                    <a:pt x="0" y="10"/>
                  </a:lnTo>
                  <a:lnTo>
                    <a:pt x="6" y="24"/>
                  </a:lnTo>
                  <a:lnTo>
                    <a:pt x="6" y="24"/>
                  </a:lnTo>
                  <a:lnTo>
                    <a:pt x="14" y="30"/>
                  </a:lnTo>
                  <a:lnTo>
                    <a:pt x="22" y="32"/>
                  </a:lnTo>
                  <a:lnTo>
                    <a:pt x="22" y="32"/>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Romania"/>
            <p:cNvSpPr>
              <a:spLocks/>
            </p:cNvSpPr>
            <p:nvPr/>
          </p:nvSpPr>
          <p:spPr bwMode="auto">
            <a:xfrm>
              <a:off x="4644726" y="2080948"/>
              <a:ext cx="232833" cy="132292"/>
            </a:xfrm>
            <a:custGeom>
              <a:avLst/>
              <a:gdLst/>
              <a:ahLst/>
              <a:cxnLst>
                <a:cxn ang="0">
                  <a:pos x="8" y="44"/>
                </a:cxn>
                <a:cxn ang="0">
                  <a:pos x="20" y="28"/>
                </a:cxn>
                <a:cxn ang="0">
                  <a:pos x="22" y="14"/>
                </a:cxn>
                <a:cxn ang="0">
                  <a:pos x="36" y="6"/>
                </a:cxn>
                <a:cxn ang="0">
                  <a:pos x="44" y="8"/>
                </a:cxn>
                <a:cxn ang="0">
                  <a:pos x="54" y="8"/>
                </a:cxn>
                <a:cxn ang="0">
                  <a:pos x="60" y="8"/>
                </a:cxn>
                <a:cxn ang="0">
                  <a:pos x="70" y="4"/>
                </a:cxn>
                <a:cxn ang="0">
                  <a:pos x="80" y="4"/>
                </a:cxn>
                <a:cxn ang="0">
                  <a:pos x="94" y="2"/>
                </a:cxn>
                <a:cxn ang="0">
                  <a:pos x="112" y="2"/>
                </a:cxn>
                <a:cxn ang="0">
                  <a:pos x="120" y="8"/>
                </a:cxn>
                <a:cxn ang="0">
                  <a:pos x="126" y="20"/>
                </a:cxn>
                <a:cxn ang="0">
                  <a:pos x="132" y="24"/>
                </a:cxn>
                <a:cxn ang="0">
                  <a:pos x="134" y="28"/>
                </a:cxn>
                <a:cxn ang="0">
                  <a:pos x="136" y="34"/>
                </a:cxn>
                <a:cxn ang="0">
                  <a:pos x="136" y="38"/>
                </a:cxn>
                <a:cxn ang="0">
                  <a:pos x="138" y="46"/>
                </a:cxn>
                <a:cxn ang="0">
                  <a:pos x="142" y="50"/>
                </a:cxn>
                <a:cxn ang="0">
                  <a:pos x="144" y="54"/>
                </a:cxn>
                <a:cxn ang="0">
                  <a:pos x="152" y="64"/>
                </a:cxn>
                <a:cxn ang="0">
                  <a:pos x="158" y="62"/>
                </a:cxn>
                <a:cxn ang="0">
                  <a:pos x="176" y="60"/>
                </a:cxn>
                <a:cxn ang="0">
                  <a:pos x="174" y="62"/>
                </a:cxn>
                <a:cxn ang="0">
                  <a:pos x="174" y="70"/>
                </a:cxn>
                <a:cxn ang="0">
                  <a:pos x="168" y="72"/>
                </a:cxn>
                <a:cxn ang="0">
                  <a:pos x="166" y="70"/>
                </a:cxn>
                <a:cxn ang="0">
                  <a:pos x="164" y="74"/>
                </a:cxn>
                <a:cxn ang="0">
                  <a:pos x="164" y="78"/>
                </a:cxn>
                <a:cxn ang="0">
                  <a:pos x="162" y="92"/>
                </a:cxn>
                <a:cxn ang="0">
                  <a:pos x="162" y="98"/>
                </a:cxn>
                <a:cxn ang="0">
                  <a:pos x="150" y="94"/>
                </a:cxn>
                <a:cxn ang="0">
                  <a:pos x="130" y="90"/>
                </a:cxn>
                <a:cxn ang="0">
                  <a:pos x="122" y="88"/>
                </a:cxn>
                <a:cxn ang="0">
                  <a:pos x="102" y="98"/>
                </a:cxn>
                <a:cxn ang="0">
                  <a:pos x="92" y="100"/>
                </a:cxn>
                <a:cxn ang="0">
                  <a:pos x="72" y="98"/>
                </a:cxn>
                <a:cxn ang="0">
                  <a:pos x="56" y="96"/>
                </a:cxn>
                <a:cxn ang="0">
                  <a:pos x="50" y="92"/>
                </a:cxn>
                <a:cxn ang="0">
                  <a:pos x="42" y="88"/>
                </a:cxn>
                <a:cxn ang="0">
                  <a:pos x="42" y="82"/>
                </a:cxn>
                <a:cxn ang="0">
                  <a:pos x="38" y="82"/>
                </a:cxn>
                <a:cxn ang="0">
                  <a:pos x="30" y="80"/>
                </a:cxn>
                <a:cxn ang="0">
                  <a:pos x="24" y="78"/>
                </a:cxn>
                <a:cxn ang="0">
                  <a:pos x="20" y="72"/>
                </a:cxn>
                <a:cxn ang="0">
                  <a:pos x="16" y="66"/>
                </a:cxn>
                <a:cxn ang="0">
                  <a:pos x="10" y="60"/>
                </a:cxn>
                <a:cxn ang="0">
                  <a:pos x="6" y="56"/>
                </a:cxn>
                <a:cxn ang="0">
                  <a:pos x="0" y="48"/>
                </a:cxn>
              </a:cxnLst>
              <a:rect l="0" t="0" r="r" b="b"/>
              <a:pathLst>
                <a:path w="176" h="100">
                  <a:moveTo>
                    <a:pt x="0" y="48"/>
                  </a:moveTo>
                  <a:lnTo>
                    <a:pt x="0" y="48"/>
                  </a:lnTo>
                  <a:lnTo>
                    <a:pt x="4" y="48"/>
                  </a:lnTo>
                  <a:lnTo>
                    <a:pt x="8" y="44"/>
                  </a:lnTo>
                  <a:lnTo>
                    <a:pt x="8" y="44"/>
                  </a:lnTo>
                  <a:lnTo>
                    <a:pt x="16" y="32"/>
                  </a:lnTo>
                  <a:lnTo>
                    <a:pt x="16" y="32"/>
                  </a:lnTo>
                  <a:lnTo>
                    <a:pt x="20" y="28"/>
                  </a:lnTo>
                  <a:lnTo>
                    <a:pt x="22" y="22"/>
                  </a:lnTo>
                  <a:lnTo>
                    <a:pt x="22" y="22"/>
                  </a:lnTo>
                  <a:lnTo>
                    <a:pt x="20" y="18"/>
                  </a:lnTo>
                  <a:lnTo>
                    <a:pt x="22" y="14"/>
                  </a:lnTo>
                  <a:lnTo>
                    <a:pt x="22" y="14"/>
                  </a:lnTo>
                  <a:lnTo>
                    <a:pt x="30" y="8"/>
                  </a:lnTo>
                  <a:lnTo>
                    <a:pt x="30" y="8"/>
                  </a:lnTo>
                  <a:lnTo>
                    <a:pt x="36" y="6"/>
                  </a:lnTo>
                  <a:lnTo>
                    <a:pt x="40" y="6"/>
                  </a:lnTo>
                  <a:lnTo>
                    <a:pt x="42" y="8"/>
                  </a:lnTo>
                  <a:lnTo>
                    <a:pt x="44" y="8"/>
                  </a:lnTo>
                  <a:lnTo>
                    <a:pt x="44" y="8"/>
                  </a:lnTo>
                  <a:lnTo>
                    <a:pt x="46" y="6"/>
                  </a:lnTo>
                  <a:lnTo>
                    <a:pt x="48" y="6"/>
                  </a:lnTo>
                  <a:lnTo>
                    <a:pt x="50" y="8"/>
                  </a:lnTo>
                  <a:lnTo>
                    <a:pt x="54" y="8"/>
                  </a:lnTo>
                  <a:lnTo>
                    <a:pt x="54" y="8"/>
                  </a:lnTo>
                  <a:lnTo>
                    <a:pt x="58" y="6"/>
                  </a:lnTo>
                  <a:lnTo>
                    <a:pt x="60" y="8"/>
                  </a:lnTo>
                  <a:lnTo>
                    <a:pt x="60" y="8"/>
                  </a:lnTo>
                  <a:lnTo>
                    <a:pt x="62" y="6"/>
                  </a:lnTo>
                  <a:lnTo>
                    <a:pt x="62" y="6"/>
                  </a:lnTo>
                  <a:lnTo>
                    <a:pt x="66" y="4"/>
                  </a:lnTo>
                  <a:lnTo>
                    <a:pt x="70" y="4"/>
                  </a:lnTo>
                  <a:lnTo>
                    <a:pt x="74" y="6"/>
                  </a:lnTo>
                  <a:lnTo>
                    <a:pt x="76" y="6"/>
                  </a:lnTo>
                  <a:lnTo>
                    <a:pt x="76" y="6"/>
                  </a:lnTo>
                  <a:lnTo>
                    <a:pt x="80" y="4"/>
                  </a:lnTo>
                  <a:lnTo>
                    <a:pt x="86" y="4"/>
                  </a:lnTo>
                  <a:lnTo>
                    <a:pt x="92" y="4"/>
                  </a:lnTo>
                  <a:lnTo>
                    <a:pt x="94" y="2"/>
                  </a:lnTo>
                  <a:lnTo>
                    <a:pt x="94" y="2"/>
                  </a:lnTo>
                  <a:lnTo>
                    <a:pt x="100" y="0"/>
                  </a:lnTo>
                  <a:lnTo>
                    <a:pt x="104" y="2"/>
                  </a:lnTo>
                  <a:lnTo>
                    <a:pt x="110" y="2"/>
                  </a:lnTo>
                  <a:lnTo>
                    <a:pt x="112" y="2"/>
                  </a:lnTo>
                  <a:lnTo>
                    <a:pt x="112" y="2"/>
                  </a:lnTo>
                  <a:lnTo>
                    <a:pt x="116" y="2"/>
                  </a:lnTo>
                  <a:lnTo>
                    <a:pt x="116" y="2"/>
                  </a:lnTo>
                  <a:lnTo>
                    <a:pt x="120" y="8"/>
                  </a:lnTo>
                  <a:lnTo>
                    <a:pt x="122" y="12"/>
                  </a:lnTo>
                  <a:lnTo>
                    <a:pt x="122" y="12"/>
                  </a:lnTo>
                  <a:lnTo>
                    <a:pt x="124" y="14"/>
                  </a:lnTo>
                  <a:lnTo>
                    <a:pt x="126" y="20"/>
                  </a:lnTo>
                  <a:lnTo>
                    <a:pt x="126" y="20"/>
                  </a:lnTo>
                  <a:lnTo>
                    <a:pt x="128" y="22"/>
                  </a:lnTo>
                  <a:lnTo>
                    <a:pt x="130" y="22"/>
                  </a:lnTo>
                  <a:lnTo>
                    <a:pt x="132" y="24"/>
                  </a:lnTo>
                  <a:lnTo>
                    <a:pt x="132" y="24"/>
                  </a:lnTo>
                  <a:lnTo>
                    <a:pt x="132" y="24"/>
                  </a:lnTo>
                  <a:lnTo>
                    <a:pt x="132" y="26"/>
                  </a:lnTo>
                  <a:lnTo>
                    <a:pt x="134" y="28"/>
                  </a:lnTo>
                  <a:lnTo>
                    <a:pt x="136" y="30"/>
                  </a:lnTo>
                  <a:lnTo>
                    <a:pt x="136" y="32"/>
                  </a:lnTo>
                  <a:lnTo>
                    <a:pt x="136" y="32"/>
                  </a:lnTo>
                  <a:lnTo>
                    <a:pt x="136" y="34"/>
                  </a:lnTo>
                  <a:lnTo>
                    <a:pt x="136" y="36"/>
                  </a:lnTo>
                  <a:lnTo>
                    <a:pt x="136" y="38"/>
                  </a:lnTo>
                  <a:lnTo>
                    <a:pt x="136" y="38"/>
                  </a:lnTo>
                  <a:lnTo>
                    <a:pt x="136" y="38"/>
                  </a:lnTo>
                  <a:lnTo>
                    <a:pt x="136" y="40"/>
                  </a:lnTo>
                  <a:lnTo>
                    <a:pt x="138" y="42"/>
                  </a:lnTo>
                  <a:lnTo>
                    <a:pt x="138" y="46"/>
                  </a:lnTo>
                  <a:lnTo>
                    <a:pt x="138" y="46"/>
                  </a:lnTo>
                  <a:lnTo>
                    <a:pt x="138" y="46"/>
                  </a:lnTo>
                  <a:lnTo>
                    <a:pt x="140" y="48"/>
                  </a:lnTo>
                  <a:lnTo>
                    <a:pt x="142" y="48"/>
                  </a:lnTo>
                  <a:lnTo>
                    <a:pt x="142" y="50"/>
                  </a:lnTo>
                  <a:lnTo>
                    <a:pt x="142" y="50"/>
                  </a:lnTo>
                  <a:lnTo>
                    <a:pt x="144" y="52"/>
                  </a:lnTo>
                  <a:lnTo>
                    <a:pt x="144" y="54"/>
                  </a:lnTo>
                  <a:lnTo>
                    <a:pt x="144" y="54"/>
                  </a:lnTo>
                  <a:lnTo>
                    <a:pt x="144" y="56"/>
                  </a:lnTo>
                  <a:lnTo>
                    <a:pt x="146" y="60"/>
                  </a:lnTo>
                  <a:lnTo>
                    <a:pt x="146" y="60"/>
                  </a:lnTo>
                  <a:lnTo>
                    <a:pt x="152" y="64"/>
                  </a:lnTo>
                  <a:lnTo>
                    <a:pt x="156" y="66"/>
                  </a:lnTo>
                  <a:lnTo>
                    <a:pt x="158" y="64"/>
                  </a:lnTo>
                  <a:lnTo>
                    <a:pt x="158" y="62"/>
                  </a:lnTo>
                  <a:lnTo>
                    <a:pt x="158" y="62"/>
                  </a:lnTo>
                  <a:lnTo>
                    <a:pt x="164" y="60"/>
                  </a:lnTo>
                  <a:lnTo>
                    <a:pt x="166" y="60"/>
                  </a:lnTo>
                  <a:lnTo>
                    <a:pt x="170" y="58"/>
                  </a:lnTo>
                  <a:lnTo>
                    <a:pt x="176" y="60"/>
                  </a:lnTo>
                  <a:lnTo>
                    <a:pt x="176" y="60"/>
                  </a:lnTo>
                  <a:lnTo>
                    <a:pt x="174" y="62"/>
                  </a:lnTo>
                  <a:lnTo>
                    <a:pt x="174" y="62"/>
                  </a:lnTo>
                  <a:lnTo>
                    <a:pt x="174" y="62"/>
                  </a:lnTo>
                  <a:lnTo>
                    <a:pt x="174" y="68"/>
                  </a:lnTo>
                  <a:lnTo>
                    <a:pt x="174" y="68"/>
                  </a:lnTo>
                  <a:lnTo>
                    <a:pt x="174" y="70"/>
                  </a:lnTo>
                  <a:lnTo>
                    <a:pt x="174" y="70"/>
                  </a:lnTo>
                  <a:lnTo>
                    <a:pt x="170" y="70"/>
                  </a:lnTo>
                  <a:lnTo>
                    <a:pt x="170" y="70"/>
                  </a:lnTo>
                  <a:lnTo>
                    <a:pt x="168" y="72"/>
                  </a:lnTo>
                  <a:lnTo>
                    <a:pt x="168" y="72"/>
                  </a:lnTo>
                  <a:lnTo>
                    <a:pt x="168" y="70"/>
                  </a:lnTo>
                  <a:lnTo>
                    <a:pt x="168" y="68"/>
                  </a:lnTo>
                  <a:lnTo>
                    <a:pt x="166" y="70"/>
                  </a:lnTo>
                  <a:lnTo>
                    <a:pt x="166" y="70"/>
                  </a:lnTo>
                  <a:lnTo>
                    <a:pt x="164" y="70"/>
                  </a:lnTo>
                  <a:lnTo>
                    <a:pt x="164" y="70"/>
                  </a:lnTo>
                  <a:lnTo>
                    <a:pt x="166" y="72"/>
                  </a:lnTo>
                  <a:lnTo>
                    <a:pt x="164" y="74"/>
                  </a:lnTo>
                  <a:lnTo>
                    <a:pt x="164" y="74"/>
                  </a:lnTo>
                  <a:lnTo>
                    <a:pt x="164" y="76"/>
                  </a:lnTo>
                  <a:lnTo>
                    <a:pt x="164" y="78"/>
                  </a:lnTo>
                  <a:lnTo>
                    <a:pt x="164" y="78"/>
                  </a:lnTo>
                  <a:lnTo>
                    <a:pt x="162" y="80"/>
                  </a:lnTo>
                  <a:lnTo>
                    <a:pt x="162" y="84"/>
                  </a:lnTo>
                  <a:lnTo>
                    <a:pt x="162" y="84"/>
                  </a:lnTo>
                  <a:lnTo>
                    <a:pt x="162" y="92"/>
                  </a:lnTo>
                  <a:lnTo>
                    <a:pt x="162" y="92"/>
                  </a:lnTo>
                  <a:lnTo>
                    <a:pt x="162" y="96"/>
                  </a:lnTo>
                  <a:lnTo>
                    <a:pt x="162" y="98"/>
                  </a:lnTo>
                  <a:lnTo>
                    <a:pt x="162" y="98"/>
                  </a:lnTo>
                  <a:lnTo>
                    <a:pt x="156" y="96"/>
                  </a:lnTo>
                  <a:lnTo>
                    <a:pt x="154" y="96"/>
                  </a:lnTo>
                  <a:lnTo>
                    <a:pt x="152" y="94"/>
                  </a:lnTo>
                  <a:lnTo>
                    <a:pt x="150" y="94"/>
                  </a:lnTo>
                  <a:lnTo>
                    <a:pt x="150" y="94"/>
                  </a:lnTo>
                  <a:lnTo>
                    <a:pt x="138" y="94"/>
                  </a:lnTo>
                  <a:lnTo>
                    <a:pt x="134" y="92"/>
                  </a:lnTo>
                  <a:lnTo>
                    <a:pt x="130" y="90"/>
                  </a:lnTo>
                  <a:lnTo>
                    <a:pt x="130" y="90"/>
                  </a:lnTo>
                  <a:lnTo>
                    <a:pt x="130" y="88"/>
                  </a:lnTo>
                  <a:lnTo>
                    <a:pt x="128" y="88"/>
                  </a:lnTo>
                  <a:lnTo>
                    <a:pt x="122" y="88"/>
                  </a:lnTo>
                  <a:lnTo>
                    <a:pt x="122" y="88"/>
                  </a:lnTo>
                  <a:lnTo>
                    <a:pt x="112" y="92"/>
                  </a:lnTo>
                  <a:lnTo>
                    <a:pt x="106" y="94"/>
                  </a:lnTo>
                  <a:lnTo>
                    <a:pt x="102" y="98"/>
                  </a:lnTo>
                  <a:lnTo>
                    <a:pt x="102" y="98"/>
                  </a:lnTo>
                  <a:lnTo>
                    <a:pt x="98" y="100"/>
                  </a:lnTo>
                  <a:lnTo>
                    <a:pt x="92" y="100"/>
                  </a:lnTo>
                  <a:lnTo>
                    <a:pt x="92" y="100"/>
                  </a:lnTo>
                  <a:lnTo>
                    <a:pt x="84" y="98"/>
                  </a:lnTo>
                  <a:lnTo>
                    <a:pt x="78" y="98"/>
                  </a:lnTo>
                  <a:lnTo>
                    <a:pt x="78" y="98"/>
                  </a:lnTo>
                  <a:lnTo>
                    <a:pt x="72" y="98"/>
                  </a:lnTo>
                  <a:lnTo>
                    <a:pt x="66" y="98"/>
                  </a:lnTo>
                  <a:lnTo>
                    <a:pt x="66" y="98"/>
                  </a:lnTo>
                  <a:lnTo>
                    <a:pt x="60" y="96"/>
                  </a:lnTo>
                  <a:lnTo>
                    <a:pt x="56" y="96"/>
                  </a:lnTo>
                  <a:lnTo>
                    <a:pt x="56" y="96"/>
                  </a:lnTo>
                  <a:lnTo>
                    <a:pt x="52" y="96"/>
                  </a:lnTo>
                  <a:lnTo>
                    <a:pt x="50" y="92"/>
                  </a:lnTo>
                  <a:lnTo>
                    <a:pt x="50" y="92"/>
                  </a:lnTo>
                  <a:lnTo>
                    <a:pt x="50" y="92"/>
                  </a:lnTo>
                  <a:lnTo>
                    <a:pt x="46" y="90"/>
                  </a:lnTo>
                  <a:lnTo>
                    <a:pt x="46" y="90"/>
                  </a:lnTo>
                  <a:lnTo>
                    <a:pt x="42" y="88"/>
                  </a:lnTo>
                  <a:lnTo>
                    <a:pt x="38" y="86"/>
                  </a:lnTo>
                  <a:lnTo>
                    <a:pt x="38" y="86"/>
                  </a:lnTo>
                  <a:lnTo>
                    <a:pt x="42" y="84"/>
                  </a:lnTo>
                  <a:lnTo>
                    <a:pt x="42" y="82"/>
                  </a:lnTo>
                  <a:lnTo>
                    <a:pt x="42" y="82"/>
                  </a:lnTo>
                  <a:lnTo>
                    <a:pt x="42" y="82"/>
                  </a:lnTo>
                  <a:lnTo>
                    <a:pt x="40" y="82"/>
                  </a:lnTo>
                  <a:lnTo>
                    <a:pt x="38" y="82"/>
                  </a:lnTo>
                  <a:lnTo>
                    <a:pt x="36" y="84"/>
                  </a:lnTo>
                  <a:lnTo>
                    <a:pt x="34" y="84"/>
                  </a:lnTo>
                  <a:lnTo>
                    <a:pt x="34" y="84"/>
                  </a:lnTo>
                  <a:lnTo>
                    <a:pt x="30" y="80"/>
                  </a:lnTo>
                  <a:lnTo>
                    <a:pt x="28" y="78"/>
                  </a:lnTo>
                  <a:lnTo>
                    <a:pt x="26" y="78"/>
                  </a:lnTo>
                  <a:lnTo>
                    <a:pt x="26" y="78"/>
                  </a:lnTo>
                  <a:lnTo>
                    <a:pt x="24" y="78"/>
                  </a:lnTo>
                  <a:lnTo>
                    <a:pt x="22" y="78"/>
                  </a:lnTo>
                  <a:lnTo>
                    <a:pt x="18" y="74"/>
                  </a:lnTo>
                  <a:lnTo>
                    <a:pt x="18" y="74"/>
                  </a:lnTo>
                  <a:lnTo>
                    <a:pt x="20" y="72"/>
                  </a:lnTo>
                  <a:lnTo>
                    <a:pt x="20" y="72"/>
                  </a:lnTo>
                  <a:lnTo>
                    <a:pt x="20" y="70"/>
                  </a:lnTo>
                  <a:lnTo>
                    <a:pt x="20" y="70"/>
                  </a:lnTo>
                  <a:lnTo>
                    <a:pt x="16" y="66"/>
                  </a:lnTo>
                  <a:lnTo>
                    <a:pt x="14" y="64"/>
                  </a:lnTo>
                  <a:lnTo>
                    <a:pt x="14" y="64"/>
                  </a:lnTo>
                  <a:lnTo>
                    <a:pt x="12" y="62"/>
                  </a:lnTo>
                  <a:lnTo>
                    <a:pt x="10" y="60"/>
                  </a:lnTo>
                  <a:lnTo>
                    <a:pt x="8" y="60"/>
                  </a:lnTo>
                  <a:lnTo>
                    <a:pt x="6" y="58"/>
                  </a:lnTo>
                  <a:lnTo>
                    <a:pt x="6" y="58"/>
                  </a:lnTo>
                  <a:lnTo>
                    <a:pt x="6" y="56"/>
                  </a:lnTo>
                  <a:lnTo>
                    <a:pt x="4" y="54"/>
                  </a:lnTo>
                  <a:lnTo>
                    <a:pt x="2" y="52"/>
                  </a:lnTo>
                  <a:lnTo>
                    <a:pt x="0" y="48"/>
                  </a:lnTo>
                  <a:lnTo>
                    <a:pt x="0" y="48"/>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Russia"/>
            <p:cNvSpPr>
              <a:spLocks/>
            </p:cNvSpPr>
            <p:nvPr/>
          </p:nvSpPr>
          <p:spPr bwMode="auto">
            <a:xfrm>
              <a:off x="4724101" y="1496219"/>
              <a:ext cx="3352271" cy="772583"/>
            </a:xfrm>
            <a:custGeom>
              <a:avLst/>
              <a:gdLst/>
              <a:ahLst/>
              <a:cxnLst>
                <a:cxn ang="0">
                  <a:pos x="2058" y="364"/>
                </a:cxn>
                <a:cxn ang="0">
                  <a:pos x="1906" y="312"/>
                </a:cxn>
                <a:cxn ang="0">
                  <a:pos x="2140" y="236"/>
                </a:cxn>
                <a:cxn ang="0">
                  <a:pos x="2222" y="192"/>
                </a:cxn>
                <a:cxn ang="0">
                  <a:pos x="2226" y="266"/>
                </a:cxn>
                <a:cxn ang="0">
                  <a:pos x="2366" y="316"/>
                </a:cxn>
                <a:cxn ang="0">
                  <a:pos x="2314" y="256"/>
                </a:cxn>
                <a:cxn ang="0">
                  <a:pos x="2382" y="214"/>
                </a:cxn>
                <a:cxn ang="0">
                  <a:pos x="2382" y="142"/>
                </a:cxn>
                <a:cxn ang="0">
                  <a:pos x="2494" y="146"/>
                </a:cxn>
                <a:cxn ang="0">
                  <a:pos x="2522" y="104"/>
                </a:cxn>
                <a:cxn ang="0">
                  <a:pos x="2122" y="72"/>
                </a:cxn>
                <a:cxn ang="0">
                  <a:pos x="2002" y="74"/>
                </a:cxn>
                <a:cxn ang="0">
                  <a:pos x="1694" y="40"/>
                </a:cxn>
                <a:cxn ang="0">
                  <a:pos x="1582" y="36"/>
                </a:cxn>
                <a:cxn ang="0">
                  <a:pos x="1468" y="48"/>
                </a:cxn>
                <a:cxn ang="0">
                  <a:pos x="1302" y="42"/>
                </a:cxn>
                <a:cxn ang="0">
                  <a:pos x="1152" y="34"/>
                </a:cxn>
                <a:cxn ang="0">
                  <a:pos x="1086" y="38"/>
                </a:cxn>
                <a:cxn ang="0">
                  <a:pos x="1044" y="8"/>
                </a:cxn>
                <a:cxn ang="0">
                  <a:pos x="932" y="14"/>
                </a:cxn>
                <a:cxn ang="0">
                  <a:pos x="818" y="14"/>
                </a:cxn>
                <a:cxn ang="0">
                  <a:pos x="718" y="36"/>
                </a:cxn>
                <a:cxn ang="0">
                  <a:pos x="782" y="62"/>
                </a:cxn>
                <a:cxn ang="0">
                  <a:pos x="698" y="64"/>
                </a:cxn>
                <a:cxn ang="0">
                  <a:pos x="646" y="62"/>
                </a:cxn>
                <a:cxn ang="0">
                  <a:pos x="698" y="92"/>
                </a:cxn>
                <a:cxn ang="0">
                  <a:pos x="676" y="114"/>
                </a:cxn>
                <a:cxn ang="0">
                  <a:pos x="566" y="36"/>
                </a:cxn>
                <a:cxn ang="0">
                  <a:pos x="608" y="90"/>
                </a:cxn>
                <a:cxn ang="0">
                  <a:pos x="470" y="102"/>
                </a:cxn>
                <a:cxn ang="0">
                  <a:pos x="386" y="96"/>
                </a:cxn>
                <a:cxn ang="0">
                  <a:pos x="302" y="110"/>
                </a:cxn>
                <a:cxn ang="0">
                  <a:pos x="256" y="100"/>
                </a:cxn>
                <a:cxn ang="0">
                  <a:pos x="198" y="130"/>
                </a:cxn>
                <a:cxn ang="0">
                  <a:pos x="144" y="152"/>
                </a:cxn>
                <a:cxn ang="0">
                  <a:pos x="110" y="148"/>
                </a:cxn>
                <a:cxn ang="0">
                  <a:pos x="64" y="120"/>
                </a:cxn>
                <a:cxn ang="0">
                  <a:pos x="200" y="118"/>
                </a:cxn>
                <a:cxn ang="0">
                  <a:pos x="44" y="86"/>
                </a:cxn>
                <a:cxn ang="0">
                  <a:pos x="30" y="146"/>
                </a:cxn>
                <a:cxn ang="0">
                  <a:pos x="28" y="222"/>
                </a:cxn>
                <a:cxn ang="0">
                  <a:pos x="28" y="242"/>
                </a:cxn>
                <a:cxn ang="0">
                  <a:pos x="84" y="296"/>
                </a:cxn>
                <a:cxn ang="0">
                  <a:pos x="112" y="338"/>
                </a:cxn>
                <a:cxn ang="0">
                  <a:pos x="220" y="398"/>
                </a:cxn>
                <a:cxn ang="0">
                  <a:pos x="262" y="470"/>
                </a:cxn>
                <a:cxn ang="0">
                  <a:pos x="338" y="540"/>
                </a:cxn>
                <a:cxn ang="0">
                  <a:pos x="440" y="508"/>
                </a:cxn>
                <a:cxn ang="0">
                  <a:pos x="438" y="448"/>
                </a:cxn>
                <a:cxn ang="0">
                  <a:pos x="450" y="390"/>
                </a:cxn>
                <a:cxn ang="0">
                  <a:pos x="564" y="382"/>
                </a:cxn>
                <a:cxn ang="0">
                  <a:pos x="630" y="370"/>
                </a:cxn>
                <a:cxn ang="0">
                  <a:pos x="764" y="310"/>
                </a:cxn>
                <a:cxn ang="0">
                  <a:pos x="854" y="340"/>
                </a:cxn>
                <a:cxn ang="0">
                  <a:pos x="1040" y="392"/>
                </a:cxn>
                <a:cxn ang="0">
                  <a:pos x="1154" y="426"/>
                </a:cxn>
                <a:cxn ang="0">
                  <a:pos x="1234" y="388"/>
                </a:cxn>
                <a:cxn ang="0">
                  <a:pos x="1316" y="378"/>
                </a:cxn>
                <a:cxn ang="0">
                  <a:pos x="1572" y="410"/>
                </a:cxn>
                <a:cxn ang="0">
                  <a:pos x="1768" y="340"/>
                </a:cxn>
                <a:cxn ang="0">
                  <a:pos x="2032" y="470"/>
                </a:cxn>
              </a:cxnLst>
              <a:rect l="0" t="0" r="r" b="b"/>
              <a:pathLst>
                <a:path w="2534" h="584">
                  <a:moveTo>
                    <a:pt x="2032" y="556"/>
                  </a:moveTo>
                  <a:lnTo>
                    <a:pt x="2032" y="556"/>
                  </a:lnTo>
                  <a:lnTo>
                    <a:pt x="2034" y="556"/>
                  </a:lnTo>
                  <a:lnTo>
                    <a:pt x="2036" y="554"/>
                  </a:lnTo>
                  <a:lnTo>
                    <a:pt x="2040" y="548"/>
                  </a:lnTo>
                  <a:lnTo>
                    <a:pt x="2046" y="546"/>
                  </a:lnTo>
                  <a:lnTo>
                    <a:pt x="2048" y="546"/>
                  </a:lnTo>
                  <a:lnTo>
                    <a:pt x="2050" y="550"/>
                  </a:lnTo>
                  <a:lnTo>
                    <a:pt x="2050" y="550"/>
                  </a:lnTo>
                  <a:lnTo>
                    <a:pt x="2050" y="554"/>
                  </a:lnTo>
                  <a:lnTo>
                    <a:pt x="2054" y="554"/>
                  </a:lnTo>
                  <a:lnTo>
                    <a:pt x="2056" y="554"/>
                  </a:lnTo>
                  <a:lnTo>
                    <a:pt x="2060" y="552"/>
                  </a:lnTo>
                  <a:lnTo>
                    <a:pt x="2068" y="546"/>
                  </a:lnTo>
                  <a:lnTo>
                    <a:pt x="2076" y="534"/>
                  </a:lnTo>
                  <a:lnTo>
                    <a:pt x="2084" y="522"/>
                  </a:lnTo>
                  <a:lnTo>
                    <a:pt x="2090" y="506"/>
                  </a:lnTo>
                  <a:lnTo>
                    <a:pt x="2094" y="492"/>
                  </a:lnTo>
                  <a:lnTo>
                    <a:pt x="2094" y="478"/>
                  </a:lnTo>
                  <a:lnTo>
                    <a:pt x="2094" y="478"/>
                  </a:lnTo>
                  <a:lnTo>
                    <a:pt x="2094" y="470"/>
                  </a:lnTo>
                  <a:lnTo>
                    <a:pt x="2094" y="460"/>
                  </a:lnTo>
                  <a:lnTo>
                    <a:pt x="2096" y="436"/>
                  </a:lnTo>
                  <a:lnTo>
                    <a:pt x="2096" y="426"/>
                  </a:lnTo>
                  <a:lnTo>
                    <a:pt x="2094" y="416"/>
                  </a:lnTo>
                  <a:lnTo>
                    <a:pt x="2088" y="408"/>
                  </a:lnTo>
                  <a:lnTo>
                    <a:pt x="2080" y="404"/>
                  </a:lnTo>
                  <a:lnTo>
                    <a:pt x="2080" y="404"/>
                  </a:lnTo>
                  <a:lnTo>
                    <a:pt x="2068" y="398"/>
                  </a:lnTo>
                  <a:lnTo>
                    <a:pt x="2062" y="392"/>
                  </a:lnTo>
                  <a:lnTo>
                    <a:pt x="2060" y="388"/>
                  </a:lnTo>
                  <a:lnTo>
                    <a:pt x="2062" y="384"/>
                  </a:lnTo>
                  <a:lnTo>
                    <a:pt x="2066" y="378"/>
                  </a:lnTo>
                  <a:lnTo>
                    <a:pt x="2066" y="374"/>
                  </a:lnTo>
                  <a:lnTo>
                    <a:pt x="2066" y="370"/>
                  </a:lnTo>
                  <a:lnTo>
                    <a:pt x="2058" y="364"/>
                  </a:lnTo>
                  <a:lnTo>
                    <a:pt x="2058" y="364"/>
                  </a:lnTo>
                  <a:lnTo>
                    <a:pt x="2042" y="354"/>
                  </a:lnTo>
                  <a:lnTo>
                    <a:pt x="2028" y="344"/>
                  </a:lnTo>
                  <a:lnTo>
                    <a:pt x="2014" y="334"/>
                  </a:lnTo>
                  <a:lnTo>
                    <a:pt x="1996" y="326"/>
                  </a:lnTo>
                  <a:lnTo>
                    <a:pt x="1996" y="326"/>
                  </a:lnTo>
                  <a:lnTo>
                    <a:pt x="1986" y="324"/>
                  </a:lnTo>
                  <a:lnTo>
                    <a:pt x="1980" y="324"/>
                  </a:lnTo>
                  <a:lnTo>
                    <a:pt x="1978" y="324"/>
                  </a:lnTo>
                  <a:lnTo>
                    <a:pt x="1976" y="326"/>
                  </a:lnTo>
                  <a:lnTo>
                    <a:pt x="1974" y="332"/>
                  </a:lnTo>
                  <a:lnTo>
                    <a:pt x="1972" y="332"/>
                  </a:lnTo>
                  <a:lnTo>
                    <a:pt x="1966" y="330"/>
                  </a:lnTo>
                  <a:lnTo>
                    <a:pt x="1966" y="330"/>
                  </a:lnTo>
                  <a:lnTo>
                    <a:pt x="1962" y="328"/>
                  </a:lnTo>
                  <a:lnTo>
                    <a:pt x="1958" y="328"/>
                  </a:lnTo>
                  <a:lnTo>
                    <a:pt x="1954" y="330"/>
                  </a:lnTo>
                  <a:lnTo>
                    <a:pt x="1950" y="332"/>
                  </a:lnTo>
                  <a:lnTo>
                    <a:pt x="1944" y="326"/>
                  </a:lnTo>
                  <a:lnTo>
                    <a:pt x="1944" y="326"/>
                  </a:lnTo>
                  <a:lnTo>
                    <a:pt x="1942" y="322"/>
                  </a:lnTo>
                  <a:lnTo>
                    <a:pt x="1942" y="318"/>
                  </a:lnTo>
                  <a:lnTo>
                    <a:pt x="1948" y="312"/>
                  </a:lnTo>
                  <a:lnTo>
                    <a:pt x="1952" y="310"/>
                  </a:lnTo>
                  <a:lnTo>
                    <a:pt x="1952" y="308"/>
                  </a:lnTo>
                  <a:lnTo>
                    <a:pt x="1950" y="306"/>
                  </a:lnTo>
                  <a:lnTo>
                    <a:pt x="1942" y="306"/>
                  </a:lnTo>
                  <a:lnTo>
                    <a:pt x="1942" y="306"/>
                  </a:lnTo>
                  <a:lnTo>
                    <a:pt x="1934" y="304"/>
                  </a:lnTo>
                  <a:lnTo>
                    <a:pt x="1932" y="306"/>
                  </a:lnTo>
                  <a:lnTo>
                    <a:pt x="1936" y="312"/>
                  </a:lnTo>
                  <a:lnTo>
                    <a:pt x="1938" y="314"/>
                  </a:lnTo>
                  <a:lnTo>
                    <a:pt x="1936" y="316"/>
                  </a:lnTo>
                  <a:lnTo>
                    <a:pt x="1930" y="318"/>
                  </a:lnTo>
                  <a:lnTo>
                    <a:pt x="1916" y="316"/>
                  </a:lnTo>
                  <a:lnTo>
                    <a:pt x="1916" y="316"/>
                  </a:lnTo>
                  <a:lnTo>
                    <a:pt x="1910" y="314"/>
                  </a:lnTo>
                  <a:lnTo>
                    <a:pt x="1906" y="312"/>
                  </a:lnTo>
                  <a:lnTo>
                    <a:pt x="1906" y="306"/>
                  </a:lnTo>
                  <a:lnTo>
                    <a:pt x="1906" y="300"/>
                  </a:lnTo>
                  <a:lnTo>
                    <a:pt x="1912" y="286"/>
                  </a:lnTo>
                  <a:lnTo>
                    <a:pt x="1922" y="272"/>
                  </a:lnTo>
                  <a:lnTo>
                    <a:pt x="1922" y="272"/>
                  </a:lnTo>
                  <a:lnTo>
                    <a:pt x="1926" y="262"/>
                  </a:lnTo>
                  <a:lnTo>
                    <a:pt x="1930" y="254"/>
                  </a:lnTo>
                  <a:lnTo>
                    <a:pt x="1930" y="246"/>
                  </a:lnTo>
                  <a:lnTo>
                    <a:pt x="1932" y="242"/>
                  </a:lnTo>
                  <a:lnTo>
                    <a:pt x="1934" y="240"/>
                  </a:lnTo>
                  <a:lnTo>
                    <a:pt x="1950" y="232"/>
                  </a:lnTo>
                  <a:lnTo>
                    <a:pt x="1950" y="232"/>
                  </a:lnTo>
                  <a:lnTo>
                    <a:pt x="1964" y="228"/>
                  </a:lnTo>
                  <a:lnTo>
                    <a:pt x="1976" y="228"/>
                  </a:lnTo>
                  <a:lnTo>
                    <a:pt x="1984" y="228"/>
                  </a:lnTo>
                  <a:lnTo>
                    <a:pt x="1990" y="230"/>
                  </a:lnTo>
                  <a:lnTo>
                    <a:pt x="1998" y="232"/>
                  </a:lnTo>
                  <a:lnTo>
                    <a:pt x="2006" y="234"/>
                  </a:lnTo>
                  <a:lnTo>
                    <a:pt x="2018" y="234"/>
                  </a:lnTo>
                  <a:lnTo>
                    <a:pt x="2034" y="232"/>
                  </a:lnTo>
                  <a:lnTo>
                    <a:pt x="2034" y="232"/>
                  </a:lnTo>
                  <a:lnTo>
                    <a:pt x="2058" y="228"/>
                  </a:lnTo>
                  <a:lnTo>
                    <a:pt x="2068" y="228"/>
                  </a:lnTo>
                  <a:lnTo>
                    <a:pt x="2072" y="230"/>
                  </a:lnTo>
                  <a:lnTo>
                    <a:pt x="2080" y="230"/>
                  </a:lnTo>
                  <a:lnTo>
                    <a:pt x="2080" y="230"/>
                  </a:lnTo>
                  <a:lnTo>
                    <a:pt x="2092" y="230"/>
                  </a:lnTo>
                  <a:lnTo>
                    <a:pt x="2096" y="232"/>
                  </a:lnTo>
                  <a:lnTo>
                    <a:pt x="2096" y="234"/>
                  </a:lnTo>
                  <a:lnTo>
                    <a:pt x="2094" y="238"/>
                  </a:lnTo>
                  <a:lnTo>
                    <a:pt x="2092" y="242"/>
                  </a:lnTo>
                  <a:lnTo>
                    <a:pt x="2092" y="244"/>
                  </a:lnTo>
                  <a:lnTo>
                    <a:pt x="2096" y="246"/>
                  </a:lnTo>
                  <a:lnTo>
                    <a:pt x="2106" y="244"/>
                  </a:lnTo>
                  <a:lnTo>
                    <a:pt x="2106" y="244"/>
                  </a:lnTo>
                  <a:lnTo>
                    <a:pt x="2136" y="238"/>
                  </a:lnTo>
                  <a:lnTo>
                    <a:pt x="2140" y="236"/>
                  </a:lnTo>
                  <a:lnTo>
                    <a:pt x="2142" y="234"/>
                  </a:lnTo>
                  <a:lnTo>
                    <a:pt x="2140" y="232"/>
                  </a:lnTo>
                  <a:lnTo>
                    <a:pt x="2134" y="228"/>
                  </a:lnTo>
                  <a:lnTo>
                    <a:pt x="2134" y="228"/>
                  </a:lnTo>
                  <a:lnTo>
                    <a:pt x="2126" y="222"/>
                  </a:lnTo>
                  <a:lnTo>
                    <a:pt x="2126" y="220"/>
                  </a:lnTo>
                  <a:lnTo>
                    <a:pt x="2128" y="220"/>
                  </a:lnTo>
                  <a:lnTo>
                    <a:pt x="2132" y="216"/>
                  </a:lnTo>
                  <a:lnTo>
                    <a:pt x="2136" y="212"/>
                  </a:lnTo>
                  <a:lnTo>
                    <a:pt x="2136" y="204"/>
                  </a:lnTo>
                  <a:lnTo>
                    <a:pt x="2136" y="204"/>
                  </a:lnTo>
                  <a:lnTo>
                    <a:pt x="2136" y="196"/>
                  </a:lnTo>
                  <a:lnTo>
                    <a:pt x="2136" y="194"/>
                  </a:lnTo>
                  <a:lnTo>
                    <a:pt x="2138" y="194"/>
                  </a:lnTo>
                  <a:lnTo>
                    <a:pt x="2142" y="194"/>
                  </a:lnTo>
                  <a:lnTo>
                    <a:pt x="2144" y="194"/>
                  </a:lnTo>
                  <a:lnTo>
                    <a:pt x="2148" y="192"/>
                  </a:lnTo>
                  <a:lnTo>
                    <a:pt x="2148" y="192"/>
                  </a:lnTo>
                  <a:lnTo>
                    <a:pt x="2154" y="190"/>
                  </a:lnTo>
                  <a:lnTo>
                    <a:pt x="2158" y="190"/>
                  </a:lnTo>
                  <a:lnTo>
                    <a:pt x="2164" y="188"/>
                  </a:lnTo>
                  <a:lnTo>
                    <a:pt x="2172" y="184"/>
                  </a:lnTo>
                  <a:lnTo>
                    <a:pt x="2172" y="184"/>
                  </a:lnTo>
                  <a:lnTo>
                    <a:pt x="2176" y="182"/>
                  </a:lnTo>
                  <a:lnTo>
                    <a:pt x="2178" y="184"/>
                  </a:lnTo>
                  <a:lnTo>
                    <a:pt x="2182" y="190"/>
                  </a:lnTo>
                  <a:lnTo>
                    <a:pt x="2186" y="194"/>
                  </a:lnTo>
                  <a:lnTo>
                    <a:pt x="2194" y="200"/>
                  </a:lnTo>
                  <a:lnTo>
                    <a:pt x="2194" y="200"/>
                  </a:lnTo>
                  <a:lnTo>
                    <a:pt x="2208" y="204"/>
                  </a:lnTo>
                  <a:lnTo>
                    <a:pt x="2212" y="204"/>
                  </a:lnTo>
                  <a:lnTo>
                    <a:pt x="2214" y="202"/>
                  </a:lnTo>
                  <a:lnTo>
                    <a:pt x="2214" y="198"/>
                  </a:lnTo>
                  <a:lnTo>
                    <a:pt x="2216" y="196"/>
                  </a:lnTo>
                  <a:lnTo>
                    <a:pt x="2218" y="194"/>
                  </a:lnTo>
                  <a:lnTo>
                    <a:pt x="2218" y="194"/>
                  </a:lnTo>
                  <a:lnTo>
                    <a:pt x="2222" y="192"/>
                  </a:lnTo>
                  <a:lnTo>
                    <a:pt x="2222" y="190"/>
                  </a:lnTo>
                  <a:lnTo>
                    <a:pt x="2220" y="186"/>
                  </a:lnTo>
                  <a:lnTo>
                    <a:pt x="2218" y="184"/>
                  </a:lnTo>
                  <a:lnTo>
                    <a:pt x="2218" y="182"/>
                  </a:lnTo>
                  <a:lnTo>
                    <a:pt x="2220" y="180"/>
                  </a:lnTo>
                  <a:lnTo>
                    <a:pt x="2226" y="178"/>
                  </a:lnTo>
                  <a:lnTo>
                    <a:pt x="2226" y="178"/>
                  </a:lnTo>
                  <a:lnTo>
                    <a:pt x="2238" y="176"/>
                  </a:lnTo>
                  <a:lnTo>
                    <a:pt x="2244" y="176"/>
                  </a:lnTo>
                  <a:lnTo>
                    <a:pt x="2242" y="178"/>
                  </a:lnTo>
                  <a:lnTo>
                    <a:pt x="2236" y="180"/>
                  </a:lnTo>
                  <a:lnTo>
                    <a:pt x="2236" y="180"/>
                  </a:lnTo>
                  <a:lnTo>
                    <a:pt x="2232" y="182"/>
                  </a:lnTo>
                  <a:lnTo>
                    <a:pt x="2232" y="186"/>
                  </a:lnTo>
                  <a:lnTo>
                    <a:pt x="2236" y="192"/>
                  </a:lnTo>
                  <a:lnTo>
                    <a:pt x="2244" y="198"/>
                  </a:lnTo>
                  <a:lnTo>
                    <a:pt x="2252" y="202"/>
                  </a:lnTo>
                  <a:lnTo>
                    <a:pt x="2252" y="202"/>
                  </a:lnTo>
                  <a:lnTo>
                    <a:pt x="2254" y="202"/>
                  </a:lnTo>
                  <a:lnTo>
                    <a:pt x="2252" y="204"/>
                  </a:lnTo>
                  <a:lnTo>
                    <a:pt x="2248" y="210"/>
                  </a:lnTo>
                  <a:lnTo>
                    <a:pt x="2244" y="216"/>
                  </a:lnTo>
                  <a:lnTo>
                    <a:pt x="2242" y="220"/>
                  </a:lnTo>
                  <a:lnTo>
                    <a:pt x="2244" y="224"/>
                  </a:lnTo>
                  <a:lnTo>
                    <a:pt x="2244" y="224"/>
                  </a:lnTo>
                  <a:lnTo>
                    <a:pt x="2244" y="228"/>
                  </a:lnTo>
                  <a:lnTo>
                    <a:pt x="2244" y="234"/>
                  </a:lnTo>
                  <a:lnTo>
                    <a:pt x="2238" y="242"/>
                  </a:lnTo>
                  <a:lnTo>
                    <a:pt x="2232" y="250"/>
                  </a:lnTo>
                  <a:lnTo>
                    <a:pt x="2230" y="254"/>
                  </a:lnTo>
                  <a:lnTo>
                    <a:pt x="2230" y="256"/>
                  </a:lnTo>
                  <a:lnTo>
                    <a:pt x="2230" y="256"/>
                  </a:lnTo>
                  <a:lnTo>
                    <a:pt x="2232" y="258"/>
                  </a:lnTo>
                  <a:lnTo>
                    <a:pt x="2232" y="260"/>
                  </a:lnTo>
                  <a:lnTo>
                    <a:pt x="2228" y="260"/>
                  </a:lnTo>
                  <a:lnTo>
                    <a:pt x="2226" y="264"/>
                  </a:lnTo>
                  <a:lnTo>
                    <a:pt x="2226" y="266"/>
                  </a:lnTo>
                  <a:lnTo>
                    <a:pt x="2228" y="268"/>
                  </a:lnTo>
                  <a:lnTo>
                    <a:pt x="2228" y="268"/>
                  </a:lnTo>
                  <a:lnTo>
                    <a:pt x="2232" y="276"/>
                  </a:lnTo>
                  <a:lnTo>
                    <a:pt x="2232" y="278"/>
                  </a:lnTo>
                  <a:lnTo>
                    <a:pt x="2232" y="280"/>
                  </a:lnTo>
                  <a:lnTo>
                    <a:pt x="2230" y="282"/>
                  </a:lnTo>
                  <a:lnTo>
                    <a:pt x="2232" y="288"/>
                  </a:lnTo>
                  <a:lnTo>
                    <a:pt x="2232" y="288"/>
                  </a:lnTo>
                  <a:lnTo>
                    <a:pt x="2250" y="304"/>
                  </a:lnTo>
                  <a:lnTo>
                    <a:pt x="2264" y="314"/>
                  </a:lnTo>
                  <a:lnTo>
                    <a:pt x="2278" y="320"/>
                  </a:lnTo>
                  <a:lnTo>
                    <a:pt x="2294" y="330"/>
                  </a:lnTo>
                  <a:lnTo>
                    <a:pt x="2294" y="330"/>
                  </a:lnTo>
                  <a:lnTo>
                    <a:pt x="2312" y="342"/>
                  </a:lnTo>
                  <a:lnTo>
                    <a:pt x="2330" y="352"/>
                  </a:lnTo>
                  <a:lnTo>
                    <a:pt x="2348" y="362"/>
                  </a:lnTo>
                  <a:lnTo>
                    <a:pt x="2362" y="374"/>
                  </a:lnTo>
                  <a:lnTo>
                    <a:pt x="2362" y="374"/>
                  </a:lnTo>
                  <a:lnTo>
                    <a:pt x="2372" y="380"/>
                  </a:lnTo>
                  <a:lnTo>
                    <a:pt x="2374" y="380"/>
                  </a:lnTo>
                  <a:lnTo>
                    <a:pt x="2376" y="378"/>
                  </a:lnTo>
                  <a:lnTo>
                    <a:pt x="2378" y="372"/>
                  </a:lnTo>
                  <a:lnTo>
                    <a:pt x="2376" y="362"/>
                  </a:lnTo>
                  <a:lnTo>
                    <a:pt x="2376" y="362"/>
                  </a:lnTo>
                  <a:lnTo>
                    <a:pt x="2374" y="352"/>
                  </a:lnTo>
                  <a:lnTo>
                    <a:pt x="2370" y="346"/>
                  </a:lnTo>
                  <a:lnTo>
                    <a:pt x="2370" y="342"/>
                  </a:lnTo>
                  <a:lnTo>
                    <a:pt x="2374" y="340"/>
                  </a:lnTo>
                  <a:lnTo>
                    <a:pt x="2374" y="340"/>
                  </a:lnTo>
                  <a:lnTo>
                    <a:pt x="2378" y="338"/>
                  </a:lnTo>
                  <a:lnTo>
                    <a:pt x="2376" y="336"/>
                  </a:lnTo>
                  <a:lnTo>
                    <a:pt x="2372" y="332"/>
                  </a:lnTo>
                  <a:lnTo>
                    <a:pt x="2366" y="324"/>
                  </a:lnTo>
                  <a:lnTo>
                    <a:pt x="2366" y="324"/>
                  </a:lnTo>
                  <a:lnTo>
                    <a:pt x="2364" y="320"/>
                  </a:lnTo>
                  <a:lnTo>
                    <a:pt x="2364" y="318"/>
                  </a:lnTo>
                  <a:lnTo>
                    <a:pt x="2366" y="316"/>
                  </a:lnTo>
                  <a:lnTo>
                    <a:pt x="2370" y="314"/>
                  </a:lnTo>
                  <a:lnTo>
                    <a:pt x="2370" y="312"/>
                  </a:lnTo>
                  <a:lnTo>
                    <a:pt x="2370" y="310"/>
                  </a:lnTo>
                  <a:lnTo>
                    <a:pt x="2368" y="306"/>
                  </a:lnTo>
                  <a:lnTo>
                    <a:pt x="2368" y="306"/>
                  </a:lnTo>
                  <a:lnTo>
                    <a:pt x="2364" y="298"/>
                  </a:lnTo>
                  <a:lnTo>
                    <a:pt x="2362" y="298"/>
                  </a:lnTo>
                  <a:lnTo>
                    <a:pt x="2358" y="298"/>
                  </a:lnTo>
                  <a:lnTo>
                    <a:pt x="2352" y="292"/>
                  </a:lnTo>
                  <a:lnTo>
                    <a:pt x="2352" y="292"/>
                  </a:lnTo>
                  <a:lnTo>
                    <a:pt x="2348" y="284"/>
                  </a:lnTo>
                  <a:lnTo>
                    <a:pt x="2348" y="282"/>
                  </a:lnTo>
                  <a:lnTo>
                    <a:pt x="2350" y="282"/>
                  </a:lnTo>
                  <a:lnTo>
                    <a:pt x="2352" y="284"/>
                  </a:lnTo>
                  <a:lnTo>
                    <a:pt x="2352" y="284"/>
                  </a:lnTo>
                  <a:lnTo>
                    <a:pt x="2352" y="284"/>
                  </a:lnTo>
                  <a:lnTo>
                    <a:pt x="2354" y="284"/>
                  </a:lnTo>
                  <a:lnTo>
                    <a:pt x="2358" y="280"/>
                  </a:lnTo>
                  <a:lnTo>
                    <a:pt x="2358" y="278"/>
                  </a:lnTo>
                  <a:lnTo>
                    <a:pt x="2356" y="276"/>
                  </a:lnTo>
                  <a:lnTo>
                    <a:pt x="2352" y="274"/>
                  </a:lnTo>
                  <a:lnTo>
                    <a:pt x="2344" y="270"/>
                  </a:lnTo>
                  <a:lnTo>
                    <a:pt x="2344" y="270"/>
                  </a:lnTo>
                  <a:lnTo>
                    <a:pt x="2338" y="268"/>
                  </a:lnTo>
                  <a:lnTo>
                    <a:pt x="2334" y="264"/>
                  </a:lnTo>
                  <a:lnTo>
                    <a:pt x="2334" y="262"/>
                  </a:lnTo>
                  <a:lnTo>
                    <a:pt x="2334" y="260"/>
                  </a:lnTo>
                  <a:lnTo>
                    <a:pt x="2334" y="258"/>
                  </a:lnTo>
                  <a:lnTo>
                    <a:pt x="2332" y="256"/>
                  </a:lnTo>
                  <a:lnTo>
                    <a:pt x="2330" y="254"/>
                  </a:lnTo>
                  <a:lnTo>
                    <a:pt x="2324" y="252"/>
                  </a:lnTo>
                  <a:lnTo>
                    <a:pt x="2324" y="252"/>
                  </a:lnTo>
                  <a:lnTo>
                    <a:pt x="2312" y="252"/>
                  </a:lnTo>
                  <a:lnTo>
                    <a:pt x="2310" y="252"/>
                  </a:lnTo>
                  <a:lnTo>
                    <a:pt x="2310" y="254"/>
                  </a:lnTo>
                  <a:lnTo>
                    <a:pt x="2314" y="256"/>
                  </a:lnTo>
                  <a:lnTo>
                    <a:pt x="2314" y="256"/>
                  </a:lnTo>
                  <a:lnTo>
                    <a:pt x="2312" y="258"/>
                  </a:lnTo>
                  <a:lnTo>
                    <a:pt x="2312" y="258"/>
                  </a:lnTo>
                  <a:lnTo>
                    <a:pt x="2308" y="258"/>
                  </a:lnTo>
                  <a:lnTo>
                    <a:pt x="2306" y="256"/>
                  </a:lnTo>
                  <a:lnTo>
                    <a:pt x="2300" y="250"/>
                  </a:lnTo>
                  <a:lnTo>
                    <a:pt x="2298" y="242"/>
                  </a:lnTo>
                  <a:lnTo>
                    <a:pt x="2296" y="236"/>
                  </a:lnTo>
                  <a:lnTo>
                    <a:pt x="2296" y="236"/>
                  </a:lnTo>
                  <a:lnTo>
                    <a:pt x="2294" y="230"/>
                  </a:lnTo>
                  <a:lnTo>
                    <a:pt x="2288" y="226"/>
                  </a:lnTo>
                  <a:lnTo>
                    <a:pt x="2288" y="224"/>
                  </a:lnTo>
                  <a:lnTo>
                    <a:pt x="2288" y="222"/>
                  </a:lnTo>
                  <a:lnTo>
                    <a:pt x="2298" y="222"/>
                  </a:lnTo>
                  <a:lnTo>
                    <a:pt x="2298" y="222"/>
                  </a:lnTo>
                  <a:lnTo>
                    <a:pt x="2308" y="222"/>
                  </a:lnTo>
                  <a:lnTo>
                    <a:pt x="2308" y="220"/>
                  </a:lnTo>
                  <a:lnTo>
                    <a:pt x="2308" y="218"/>
                  </a:lnTo>
                  <a:lnTo>
                    <a:pt x="2306" y="216"/>
                  </a:lnTo>
                  <a:lnTo>
                    <a:pt x="2308" y="214"/>
                  </a:lnTo>
                  <a:lnTo>
                    <a:pt x="2314" y="212"/>
                  </a:lnTo>
                  <a:lnTo>
                    <a:pt x="2314" y="212"/>
                  </a:lnTo>
                  <a:lnTo>
                    <a:pt x="2320" y="214"/>
                  </a:lnTo>
                  <a:lnTo>
                    <a:pt x="2324" y="216"/>
                  </a:lnTo>
                  <a:lnTo>
                    <a:pt x="2326" y="220"/>
                  </a:lnTo>
                  <a:lnTo>
                    <a:pt x="2328" y="222"/>
                  </a:lnTo>
                  <a:lnTo>
                    <a:pt x="2328" y="226"/>
                  </a:lnTo>
                  <a:lnTo>
                    <a:pt x="2330" y="226"/>
                  </a:lnTo>
                  <a:lnTo>
                    <a:pt x="2334" y="216"/>
                  </a:lnTo>
                  <a:lnTo>
                    <a:pt x="2334" y="216"/>
                  </a:lnTo>
                  <a:lnTo>
                    <a:pt x="2336" y="210"/>
                  </a:lnTo>
                  <a:lnTo>
                    <a:pt x="2340" y="208"/>
                  </a:lnTo>
                  <a:lnTo>
                    <a:pt x="2344" y="206"/>
                  </a:lnTo>
                  <a:lnTo>
                    <a:pt x="2350" y="206"/>
                  </a:lnTo>
                  <a:lnTo>
                    <a:pt x="2362" y="208"/>
                  </a:lnTo>
                  <a:lnTo>
                    <a:pt x="2374" y="214"/>
                  </a:lnTo>
                  <a:lnTo>
                    <a:pt x="2374" y="214"/>
                  </a:lnTo>
                  <a:lnTo>
                    <a:pt x="2382" y="214"/>
                  </a:lnTo>
                  <a:lnTo>
                    <a:pt x="2384" y="212"/>
                  </a:lnTo>
                  <a:lnTo>
                    <a:pt x="2388" y="208"/>
                  </a:lnTo>
                  <a:lnTo>
                    <a:pt x="2392" y="206"/>
                  </a:lnTo>
                  <a:lnTo>
                    <a:pt x="2392" y="206"/>
                  </a:lnTo>
                  <a:lnTo>
                    <a:pt x="2400" y="198"/>
                  </a:lnTo>
                  <a:lnTo>
                    <a:pt x="2412" y="188"/>
                  </a:lnTo>
                  <a:lnTo>
                    <a:pt x="2426" y="178"/>
                  </a:lnTo>
                  <a:lnTo>
                    <a:pt x="2432" y="176"/>
                  </a:lnTo>
                  <a:lnTo>
                    <a:pt x="2436" y="176"/>
                  </a:lnTo>
                  <a:lnTo>
                    <a:pt x="2436" y="176"/>
                  </a:lnTo>
                  <a:lnTo>
                    <a:pt x="2440" y="176"/>
                  </a:lnTo>
                  <a:lnTo>
                    <a:pt x="2444" y="176"/>
                  </a:lnTo>
                  <a:lnTo>
                    <a:pt x="2448" y="172"/>
                  </a:lnTo>
                  <a:lnTo>
                    <a:pt x="2448" y="170"/>
                  </a:lnTo>
                  <a:lnTo>
                    <a:pt x="2446" y="168"/>
                  </a:lnTo>
                  <a:lnTo>
                    <a:pt x="2442" y="166"/>
                  </a:lnTo>
                  <a:lnTo>
                    <a:pt x="2434" y="164"/>
                  </a:lnTo>
                  <a:lnTo>
                    <a:pt x="2434" y="164"/>
                  </a:lnTo>
                  <a:lnTo>
                    <a:pt x="2420" y="162"/>
                  </a:lnTo>
                  <a:lnTo>
                    <a:pt x="2412" y="158"/>
                  </a:lnTo>
                  <a:lnTo>
                    <a:pt x="2404" y="156"/>
                  </a:lnTo>
                  <a:lnTo>
                    <a:pt x="2396" y="154"/>
                  </a:lnTo>
                  <a:lnTo>
                    <a:pt x="2396" y="154"/>
                  </a:lnTo>
                  <a:lnTo>
                    <a:pt x="2388" y="152"/>
                  </a:lnTo>
                  <a:lnTo>
                    <a:pt x="2382" y="148"/>
                  </a:lnTo>
                  <a:lnTo>
                    <a:pt x="2376" y="146"/>
                  </a:lnTo>
                  <a:lnTo>
                    <a:pt x="2372" y="148"/>
                  </a:lnTo>
                  <a:lnTo>
                    <a:pt x="2370" y="150"/>
                  </a:lnTo>
                  <a:lnTo>
                    <a:pt x="2370" y="150"/>
                  </a:lnTo>
                  <a:lnTo>
                    <a:pt x="2368" y="150"/>
                  </a:lnTo>
                  <a:lnTo>
                    <a:pt x="2364" y="150"/>
                  </a:lnTo>
                  <a:lnTo>
                    <a:pt x="2362" y="150"/>
                  </a:lnTo>
                  <a:lnTo>
                    <a:pt x="2360" y="148"/>
                  </a:lnTo>
                  <a:lnTo>
                    <a:pt x="2362" y="146"/>
                  </a:lnTo>
                  <a:lnTo>
                    <a:pt x="2364" y="144"/>
                  </a:lnTo>
                  <a:lnTo>
                    <a:pt x="2370" y="142"/>
                  </a:lnTo>
                  <a:lnTo>
                    <a:pt x="2382" y="142"/>
                  </a:lnTo>
                  <a:lnTo>
                    <a:pt x="2382" y="142"/>
                  </a:lnTo>
                  <a:lnTo>
                    <a:pt x="2392" y="140"/>
                  </a:lnTo>
                  <a:lnTo>
                    <a:pt x="2400" y="138"/>
                  </a:lnTo>
                  <a:lnTo>
                    <a:pt x="2404" y="136"/>
                  </a:lnTo>
                  <a:lnTo>
                    <a:pt x="2406" y="134"/>
                  </a:lnTo>
                  <a:lnTo>
                    <a:pt x="2404" y="132"/>
                  </a:lnTo>
                  <a:lnTo>
                    <a:pt x="2404" y="130"/>
                  </a:lnTo>
                  <a:lnTo>
                    <a:pt x="2398" y="128"/>
                  </a:lnTo>
                  <a:lnTo>
                    <a:pt x="2398" y="128"/>
                  </a:lnTo>
                  <a:lnTo>
                    <a:pt x="2394" y="126"/>
                  </a:lnTo>
                  <a:lnTo>
                    <a:pt x="2394" y="124"/>
                  </a:lnTo>
                  <a:lnTo>
                    <a:pt x="2400" y="122"/>
                  </a:lnTo>
                  <a:lnTo>
                    <a:pt x="2408" y="122"/>
                  </a:lnTo>
                  <a:lnTo>
                    <a:pt x="2412" y="122"/>
                  </a:lnTo>
                  <a:lnTo>
                    <a:pt x="2414" y="126"/>
                  </a:lnTo>
                  <a:lnTo>
                    <a:pt x="2414" y="126"/>
                  </a:lnTo>
                  <a:lnTo>
                    <a:pt x="2416" y="132"/>
                  </a:lnTo>
                  <a:lnTo>
                    <a:pt x="2420" y="136"/>
                  </a:lnTo>
                  <a:lnTo>
                    <a:pt x="2424" y="136"/>
                  </a:lnTo>
                  <a:lnTo>
                    <a:pt x="2428" y="136"/>
                  </a:lnTo>
                  <a:lnTo>
                    <a:pt x="2432" y="136"/>
                  </a:lnTo>
                  <a:lnTo>
                    <a:pt x="2434" y="138"/>
                  </a:lnTo>
                  <a:lnTo>
                    <a:pt x="2432" y="140"/>
                  </a:lnTo>
                  <a:lnTo>
                    <a:pt x="2432" y="140"/>
                  </a:lnTo>
                  <a:lnTo>
                    <a:pt x="2432" y="142"/>
                  </a:lnTo>
                  <a:lnTo>
                    <a:pt x="2434" y="142"/>
                  </a:lnTo>
                  <a:lnTo>
                    <a:pt x="2442" y="142"/>
                  </a:lnTo>
                  <a:lnTo>
                    <a:pt x="2454" y="140"/>
                  </a:lnTo>
                  <a:lnTo>
                    <a:pt x="2460" y="140"/>
                  </a:lnTo>
                  <a:lnTo>
                    <a:pt x="2462" y="142"/>
                  </a:lnTo>
                  <a:lnTo>
                    <a:pt x="2462" y="142"/>
                  </a:lnTo>
                  <a:lnTo>
                    <a:pt x="2468" y="148"/>
                  </a:lnTo>
                  <a:lnTo>
                    <a:pt x="2472" y="150"/>
                  </a:lnTo>
                  <a:lnTo>
                    <a:pt x="2476" y="150"/>
                  </a:lnTo>
                  <a:lnTo>
                    <a:pt x="2480" y="148"/>
                  </a:lnTo>
                  <a:lnTo>
                    <a:pt x="2488" y="146"/>
                  </a:lnTo>
                  <a:lnTo>
                    <a:pt x="2494" y="146"/>
                  </a:lnTo>
                  <a:lnTo>
                    <a:pt x="2500" y="148"/>
                  </a:lnTo>
                  <a:lnTo>
                    <a:pt x="2500" y="148"/>
                  </a:lnTo>
                  <a:lnTo>
                    <a:pt x="2516" y="152"/>
                  </a:lnTo>
                  <a:lnTo>
                    <a:pt x="2528" y="152"/>
                  </a:lnTo>
                  <a:lnTo>
                    <a:pt x="2532" y="150"/>
                  </a:lnTo>
                  <a:lnTo>
                    <a:pt x="2534" y="150"/>
                  </a:lnTo>
                  <a:lnTo>
                    <a:pt x="2532" y="146"/>
                  </a:lnTo>
                  <a:lnTo>
                    <a:pt x="2528" y="144"/>
                  </a:lnTo>
                  <a:lnTo>
                    <a:pt x="2528" y="144"/>
                  </a:lnTo>
                  <a:lnTo>
                    <a:pt x="2522" y="140"/>
                  </a:lnTo>
                  <a:lnTo>
                    <a:pt x="2522" y="136"/>
                  </a:lnTo>
                  <a:lnTo>
                    <a:pt x="2522" y="136"/>
                  </a:lnTo>
                  <a:lnTo>
                    <a:pt x="2520" y="134"/>
                  </a:lnTo>
                  <a:lnTo>
                    <a:pt x="2512" y="130"/>
                  </a:lnTo>
                  <a:lnTo>
                    <a:pt x="2512" y="130"/>
                  </a:lnTo>
                  <a:lnTo>
                    <a:pt x="2504" y="128"/>
                  </a:lnTo>
                  <a:lnTo>
                    <a:pt x="2502" y="126"/>
                  </a:lnTo>
                  <a:lnTo>
                    <a:pt x="2510" y="126"/>
                  </a:lnTo>
                  <a:lnTo>
                    <a:pt x="2522" y="126"/>
                  </a:lnTo>
                  <a:lnTo>
                    <a:pt x="2524" y="126"/>
                  </a:lnTo>
                  <a:lnTo>
                    <a:pt x="2522" y="124"/>
                  </a:lnTo>
                  <a:lnTo>
                    <a:pt x="2522" y="124"/>
                  </a:lnTo>
                  <a:lnTo>
                    <a:pt x="2520" y="122"/>
                  </a:lnTo>
                  <a:lnTo>
                    <a:pt x="2520" y="120"/>
                  </a:lnTo>
                  <a:lnTo>
                    <a:pt x="2526" y="118"/>
                  </a:lnTo>
                  <a:lnTo>
                    <a:pt x="2532" y="118"/>
                  </a:lnTo>
                  <a:lnTo>
                    <a:pt x="2532" y="116"/>
                  </a:lnTo>
                  <a:lnTo>
                    <a:pt x="2532" y="116"/>
                  </a:lnTo>
                  <a:lnTo>
                    <a:pt x="2532" y="116"/>
                  </a:lnTo>
                  <a:lnTo>
                    <a:pt x="2530" y="114"/>
                  </a:lnTo>
                  <a:lnTo>
                    <a:pt x="2530" y="114"/>
                  </a:lnTo>
                  <a:lnTo>
                    <a:pt x="2530" y="110"/>
                  </a:lnTo>
                  <a:lnTo>
                    <a:pt x="2530" y="108"/>
                  </a:lnTo>
                  <a:lnTo>
                    <a:pt x="2530" y="106"/>
                  </a:lnTo>
                  <a:lnTo>
                    <a:pt x="2528" y="104"/>
                  </a:lnTo>
                  <a:lnTo>
                    <a:pt x="2522" y="104"/>
                  </a:lnTo>
                  <a:lnTo>
                    <a:pt x="2522" y="104"/>
                  </a:lnTo>
                  <a:lnTo>
                    <a:pt x="2490" y="100"/>
                  </a:lnTo>
                  <a:lnTo>
                    <a:pt x="2458" y="94"/>
                  </a:lnTo>
                  <a:lnTo>
                    <a:pt x="2458" y="94"/>
                  </a:lnTo>
                  <a:lnTo>
                    <a:pt x="2446" y="94"/>
                  </a:lnTo>
                  <a:lnTo>
                    <a:pt x="2442" y="94"/>
                  </a:lnTo>
                  <a:lnTo>
                    <a:pt x="2442" y="96"/>
                  </a:lnTo>
                  <a:lnTo>
                    <a:pt x="2442" y="98"/>
                  </a:lnTo>
                  <a:lnTo>
                    <a:pt x="2450" y="102"/>
                  </a:lnTo>
                  <a:lnTo>
                    <a:pt x="2450" y="102"/>
                  </a:lnTo>
                  <a:lnTo>
                    <a:pt x="2460" y="106"/>
                  </a:lnTo>
                  <a:lnTo>
                    <a:pt x="2468" y="110"/>
                  </a:lnTo>
                  <a:lnTo>
                    <a:pt x="2474" y="114"/>
                  </a:lnTo>
                  <a:lnTo>
                    <a:pt x="2474" y="114"/>
                  </a:lnTo>
                  <a:lnTo>
                    <a:pt x="2466" y="114"/>
                  </a:lnTo>
                  <a:lnTo>
                    <a:pt x="2458" y="112"/>
                  </a:lnTo>
                  <a:lnTo>
                    <a:pt x="2448" y="106"/>
                  </a:lnTo>
                  <a:lnTo>
                    <a:pt x="2448" y="106"/>
                  </a:lnTo>
                  <a:lnTo>
                    <a:pt x="2436" y="102"/>
                  </a:lnTo>
                  <a:lnTo>
                    <a:pt x="2420" y="98"/>
                  </a:lnTo>
                  <a:lnTo>
                    <a:pt x="2400" y="96"/>
                  </a:lnTo>
                  <a:lnTo>
                    <a:pt x="2370" y="90"/>
                  </a:lnTo>
                  <a:lnTo>
                    <a:pt x="2370" y="90"/>
                  </a:lnTo>
                  <a:lnTo>
                    <a:pt x="2340" y="84"/>
                  </a:lnTo>
                  <a:lnTo>
                    <a:pt x="2320" y="80"/>
                  </a:lnTo>
                  <a:lnTo>
                    <a:pt x="2304" y="80"/>
                  </a:lnTo>
                  <a:lnTo>
                    <a:pt x="2290" y="82"/>
                  </a:lnTo>
                  <a:lnTo>
                    <a:pt x="2290" y="82"/>
                  </a:lnTo>
                  <a:lnTo>
                    <a:pt x="2284" y="84"/>
                  </a:lnTo>
                  <a:lnTo>
                    <a:pt x="2276" y="84"/>
                  </a:lnTo>
                  <a:lnTo>
                    <a:pt x="2258" y="80"/>
                  </a:lnTo>
                  <a:lnTo>
                    <a:pt x="2238" y="76"/>
                  </a:lnTo>
                  <a:lnTo>
                    <a:pt x="2216" y="74"/>
                  </a:lnTo>
                  <a:lnTo>
                    <a:pt x="2216" y="74"/>
                  </a:lnTo>
                  <a:lnTo>
                    <a:pt x="2168" y="74"/>
                  </a:lnTo>
                  <a:lnTo>
                    <a:pt x="2128" y="70"/>
                  </a:lnTo>
                  <a:lnTo>
                    <a:pt x="2128" y="70"/>
                  </a:lnTo>
                  <a:lnTo>
                    <a:pt x="2122" y="72"/>
                  </a:lnTo>
                  <a:lnTo>
                    <a:pt x="2122" y="72"/>
                  </a:lnTo>
                  <a:lnTo>
                    <a:pt x="2128" y="76"/>
                  </a:lnTo>
                  <a:lnTo>
                    <a:pt x="2134" y="80"/>
                  </a:lnTo>
                  <a:lnTo>
                    <a:pt x="2136" y="84"/>
                  </a:lnTo>
                  <a:lnTo>
                    <a:pt x="2136" y="86"/>
                  </a:lnTo>
                  <a:lnTo>
                    <a:pt x="2136" y="86"/>
                  </a:lnTo>
                  <a:lnTo>
                    <a:pt x="2130" y="88"/>
                  </a:lnTo>
                  <a:lnTo>
                    <a:pt x="2124" y="86"/>
                  </a:lnTo>
                  <a:lnTo>
                    <a:pt x="2118" y="84"/>
                  </a:lnTo>
                  <a:lnTo>
                    <a:pt x="2110" y="84"/>
                  </a:lnTo>
                  <a:lnTo>
                    <a:pt x="2110" y="84"/>
                  </a:lnTo>
                  <a:lnTo>
                    <a:pt x="2104" y="82"/>
                  </a:lnTo>
                  <a:lnTo>
                    <a:pt x="2102" y="80"/>
                  </a:lnTo>
                  <a:lnTo>
                    <a:pt x="2094" y="72"/>
                  </a:lnTo>
                  <a:lnTo>
                    <a:pt x="2092" y="68"/>
                  </a:lnTo>
                  <a:lnTo>
                    <a:pt x="2090" y="66"/>
                  </a:lnTo>
                  <a:lnTo>
                    <a:pt x="2086" y="68"/>
                  </a:lnTo>
                  <a:lnTo>
                    <a:pt x="2082" y="70"/>
                  </a:lnTo>
                  <a:lnTo>
                    <a:pt x="2082" y="70"/>
                  </a:lnTo>
                  <a:lnTo>
                    <a:pt x="2078" y="74"/>
                  </a:lnTo>
                  <a:lnTo>
                    <a:pt x="2076" y="74"/>
                  </a:lnTo>
                  <a:lnTo>
                    <a:pt x="2068" y="74"/>
                  </a:lnTo>
                  <a:lnTo>
                    <a:pt x="2050" y="74"/>
                  </a:lnTo>
                  <a:lnTo>
                    <a:pt x="2050" y="74"/>
                  </a:lnTo>
                  <a:lnTo>
                    <a:pt x="2034" y="74"/>
                  </a:lnTo>
                  <a:lnTo>
                    <a:pt x="2032" y="72"/>
                  </a:lnTo>
                  <a:lnTo>
                    <a:pt x="2030" y="70"/>
                  </a:lnTo>
                  <a:lnTo>
                    <a:pt x="2030" y="70"/>
                  </a:lnTo>
                  <a:lnTo>
                    <a:pt x="2028" y="68"/>
                  </a:lnTo>
                  <a:lnTo>
                    <a:pt x="2016" y="68"/>
                  </a:lnTo>
                  <a:lnTo>
                    <a:pt x="2016" y="68"/>
                  </a:lnTo>
                  <a:lnTo>
                    <a:pt x="2006" y="70"/>
                  </a:lnTo>
                  <a:lnTo>
                    <a:pt x="2006" y="70"/>
                  </a:lnTo>
                  <a:lnTo>
                    <a:pt x="2006" y="72"/>
                  </a:lnTo>
                  <a:lnTo>
                    <a:pt x="2010" y="72"/>
                  </a:lnTo>
                  <a:lnTo>
                    <a:pt x="2002" y="74"/>
                  </a:lnTo>
                  <a:lnTo>
                    <a:pt x="2002" y="74"/>
                  </a:lnTo>
                  <a:lnTo>
                    <a:pt x="1988" y="74"/>
                  </a:lnTo>
                  <a:lnTo>
                    <a:pt x="1980" y="72"/>
                  </a:lnTo>
                  <a:lnTo>
                    <a:pt x="1970" y="68"/>
                  </a:lnTo>
                  <a:lnTo>
                    <a:pt x="1950" y="66"/>
                  </a:lnTo>
                  <a:lnTo>
                    <a:pt x="1950" y="66"/>
                  </a:lnTo>
                  <a:lnTo>
                    <a:pt x="1934" y="66"/>
                  </a:lnTo>
                  <a:lnTo>
                    <a:pt x="1924" y="62"/>
                  </a:lnTo>
                  <a:lnTo>
                    <a:pt x="1908" y="60"/>
                  </a:lnTo>
                  <a:lnTo>
                    <a:pt x="1876" y="56"/>
                  </a:lnTo>
                  <a:lnTo>
                    <a:pt x="1876" y="56"/>
                  </a:lnTo>
                  <a:lnTo>
                    <a:pt x="1844" y="56"/>
                  </a:lnTo>
                  <a:lnTo>
                    <a:pt x="1836" y="56"/>
                  </a:lnTo>
                  <a:lnTo>
                    <a:pt x="1836" y="58"/>
                  </a:lnTo>
                  <a:lnTo>
                    <a:pt x="1836" y="58"/>
                  </a:lnTo>
                  <a:lnTo>
                    <a:pt x="1836" y="58"/>
                  </a:lnTo>
                  <a:lnTo>
                    <a:pt x="1838" y="60"/>
                  </a:lnTo>
                  <a:lnTo>
                    <a:pt x="1836" y="60"/>
                  </a:lnTo>
                  <a:lnTo>
                    <a:pt x="1832" y="60"/>
                  </a:lnTo>
                  <a:lnTo>
                    <a:pt x="1824" y="60"/>
                  </a:lnTo>
                  <a:lnTo>
                    <a:pt x="1816" y="56"/>
                  </a:lnTo>
                  <a:lnTo>
                    <a:pt x="1816" y="56"/>
                  </a:lnTo>
                  <a:lnTo>
                    <a:pt x="1808" y="50"/>
                  </a:lnTo>
                  <a:lnTo>
                    <a:pt x="1796" y="48"/>
                  </a:lnTo>
                  <a:lnTo>
                    <a:pt x="1780" y="48"/>
                  </a:lnTo>
                  <a:lnTo>
                    <a:pt x="1760" y="50"/>
                  </a:lnTo>
                  <a:lnTo>
                    <a:pt x="1760" y="50"/>
                  </a:lnTo>
                  <a:lnTo>
                    <a:pt x="1752" y="52"/>
                  </a:lnTo>
                  <a:lnTo>
                    <a:pt x="1744" y="52"/>
                  </a:lnTo>
                  <a:lnTo>
                    <a:pt x="1730" y="50"/>
                  </a:lnTo>
                  <a:lnTo>
                    <a:pt x="1718" y="48"/>
                  </a:lnTo>
                  <a:lnTo>
                    <a:pt x="1704" y="46"/>
                  </a:lnTo>
                  <a:lnTo>
                    <a:pt x="1704" y="46"/>
                  </a:lnTo>
                  <a:lnTo>
                    <a:pt x="1690" y="46"/>
                  </a:lnTo>
                  <a:lnTo>
                    <a:pt x="1694" y="44"/>
                  </a:lnTo>
                  <a:lnTo>
                    <a:pt x="1698" y="42"/>
                  </a:lnTo>
                  <a:lnTo>
                    <a:pt x="1698" y="40"/>
                  </a:lnTo>
                  <a:lnTo>
                    <a:pt x="1694" y="40"/>
                  </a:lnTo>
                  <a:lnTo>
                    <a:pt x="1682" y="38"/>
                  </a:lnTo>
                  <a:lnTo>
                    <a:pt x="1682" y="38"/>
                  </a:lnTo>
                  <a:lnTo>
                    <a:pt x="1674" y="38"/>
                  </a:lnTo>
                  <a:lnTo>
                    <a:pt x="1670" y="40"/>
                  </a:lnTo>
                  <a:lnTo>
                    <a:pt x="1668" y="42"/>
                  </a:lnTo>
                  <a:lnTo>
                    <a:pt x="1668" y="44"/>
                  </a:lnTo>
                  <a:lnTo>
                    <a:pt x="1666" y="48"/>
                  </a:lnTo>
                  <a:lnTo>
                    <a:pt x="1664" y="48"/>
                  </a:lnTo>
                  <a:lnTo>
                    <a:pt x="1660" y="48"/>
                  </a:lnTo>
                  <a:lnTo>
                    <a:pt x="1660" y="48"/>
                  </a:lnTo>
                  <a:lnTo>
                    <a:pt x="1656" y="48"/>
                  </a:lnTo>
                  <a:lnTo>
                    <a:pt x="1656" y="46"/>
                  </a:lnTo>
                  <a:lnTo>
                    <a:pt x="1660" y="44"/>
                  </a:lnTo>
                  <a:lnTo>
                    <a:pt x="1664" y="40"/>
                  </a:lnTo>
                  <a:lnTo>
                    <a:pt x="1664" y="40"/>
                  </a:lnTo>
                  <a:lnTo>
                    <a:pt x="1662" y="38"/>
                  </a:lnTo>
                  <a:lnTo>
                    <a:pt x="1662" y="38"/>
                  </a:lnTo>
                  <a:lnTo>
                    <a:pt x="1654" y="38"/>
                  </a:lnTo>
                  <a:lnTo>
                    <a:pt x="1648" y="38"/>
                  </a:lnTo>
                  <a:lnTo>
                    <a:pt x="1642" y="44"/>
                  </a:lnTo>
                  <a:lnTo>
                    <a:pt x="1642" y="44"/>
                  </a:lnTo>
                  <a:lnTo>
                    <a:pt x="1638" y="44"/>
                  </a:lnTo>
                  <a:lnTo>
                    <a:pt x="1632" y="40"/>
                  </a:lnTo>
                  <a:lnTo>
                    <a:pt x="1632" y="40"/>
                  </a:lnTo>
                  <a:lnTo>
                    <a:pt x="1632" y="38"/>
                  </a:lnTo>
                  <a:lnTo>
                    <a:pt x="1636" y="36"/>
                  </a:lnTo>
                  <a:lnTo>
                    <a:pt x="1642" y="36"/>
                  </a:lnTo>
                  <a:lnTo>
                    <a:pt x="1642" y="36"/>
                  </a:lnTo>
                  <a:lnTo>
                    <a:pt x="1654" y="34"/>
                  </a:lnTo>
                  <a:lnTo>
                    <a:pt x="1656" y="34"/>
                  </a:lnTo>
                  <a:lnTo>
                    <a:pt x="1642" y="32"/>
                  </a:lnTo>
                  <a:lnTo>
                    <a:pt x="1642" y="32"/>
                  </a:lnTo>
                  <a:lnTo>
                    <a:pt x="1618" y="32"/>
                  </a:lnTo>
                  <a:lnTo>
                    <a:pt x="1590" y="32"/>
                  </a:lnTo>
                  <a:lnTo>
                    <a:pt x="1590" y="32"/>
                  </a:lnTo>
                  <a:lnTo>
                    <a:pt x="1584" y="32"/>
                  </a:lnTo>
                  <a:lnTo>
                    <a:pt x="1582" y="36"/>
                  </a:lnTo>
                  <a:lnTo>
                    <a:pt x="1582" y="38"/>
                  </a:lnTo>
                  <a:lnTo>
                    <a:pt x="1584" y="42"/>
                  </a:lnTo>
                  <a:lnTo>
                    <a:pt x="1586" y="46"/>
                  </a:lnTo>
                  <a:lnTo>
                    <a:pt x="1584" y="48"/>
                  </a:lnTo>
                  <a:lnTo>
                    <a:pt x="1580" y="50"/>
                  </a:lnTo>
                  <a:lnTo>
                    <a:pt x="1572" y="48"/>
                  </a:lnTo>
                  <a:lnTo>
                    <a:pt x="1572" y="48"/>
                  </a:lnTo>
                  <a:lnTo>
                    <a:pt x="1564" y="48"/>
                  </a:lnTo>
                  <a:lnTo>
                    <a:pt x="1556" y="50"/>
                  </a:lnTo>
                  <a:lnTo>
                    <a:pt x="1544" y="48"/>
                  </a:lnTo>
                  <a:lnTo>
                    <a:pt x="1520" y="42"/>
                  </a:lnTo>
                  <a:lnTo>
                    <a:pt x="1520" y="42"/>
                  </a:lnTo>
                  <a:lnTo>
                    <a:pt x="1514" y="40"/>
                  </a:lnTo>
                  <a:lnTo>
                    <a:pt x="1516" y="42"/>
                  </a:lnTo>
                  <a:lnTo>
                    <a:pt x="1528" y="52"/>
                  </a:lnTo>
                  <a:lnTo>
                    <a:pt x="1542" y="62"/>
                  </a:lnTo>
                  <a:lnTo>
                    <a:pt x="1544" y="64"/>
                  </a:lnTo>
                  <a:lnTo>
                    <a:pt x="1538" y="66"/>
                  </a:lnTo>
                  <a:lnTo>
                    <a:pt x="1538" y="66"/>
                  </a:lnTo>
                  <a:lnTo>
                    <a:pt x="1534" y="66"/>
                  </a:lnTo>
                  <a:lnTo>
                    <a:pt x="1534" y="68"/>
                  </a:lnTo>
                  <a:lnTo>
                    <a:pt x="1534" y="70"/>
                  </a:lnTo>
                  <a:lnTo>
                    <a:pt x="1530" y="68"/>
                  </a:lnTo>
                  <a:lnTo>
                    <a:pt x="1530" y="68"/>
                  </a:lnTo>
                  <a:lnTo>
                    <a:pt x="1510" y="64"/>
                  </a:lnTo>
                  <a:lnTo>
                    <a:pt x="1492" y="56"/>
                  </a:lnTo>
                  <a:lnTo>
                    <a:pt x="1492" y="56"/>
                  </a:lnTo>
                  <a:lnTo>
                    <a:pt x="1484" y="54"/>
                  </a:lnTo>
                  <a:lnTo>
                    <a:pt x="1484" y="54"/>
                  </a:lnTo>
                  <a:lnTo>
                    <a:pt x="1482" y="56"/>
                  </a:lnTo>
                  <a:lnTo>
                    <a:pt x="1474" y="56"/>
                  </a:lnTo>
                  <a:lnTo>
                    <a:pt x="1474" y="56"/>
                  </a:lnTo>
                  <a:lnTo>
                    <a:pt x="1468" y="54"/>
                  </a:lnTo>
                  <a:lnTo>
                    <a:pt x="1470" y="52"/>
                  </a:lnTo>
                  <a:lnTo>
                    <a:pt x="1472" y="50"/>
                  </a:lnTo>
                  <a:lnTo>
                    <a:pt x="1472" y="48"/>
                  </a:lnTo>
                  <a:lnTo>
                    <a:pt x="1468" y="48"/>
                  </a:lnTo>
                  <a:lnTo>
                    <a:pt x="1468" y="48"/>
                  </a:lnTo>
                  <a:lnTo>
                    <a:pt x="1458" y="44"/>
                  </a:lnTo>
                  <a:lnTo>
                    <a:pt x="1454" y="40"/>
                  </a:lnTo>
                  <a:lnTo>
                    <a:pt x="1452" y="38"/>
                  </a:lnTo>
                  <a:lnTo>
                    <a:pt x="1452" y="38"/>
                  </a:lnTo>
                  <a:lnTo>
                    <a:pt x="1448" y="34"/>
                  </a:lnTo>
                  <a:lnTo>
                    <a:pt x="1440" y="32"/>
                  </a:lnTo>
                  <a:lnTo>
                    <a:pt x="1418" y="28"/>
                  </a:lnTo>
                  <a:lnTo>
                    <a:pt x="1418" y="28"/>
                  </a:lnTo>
                  <a:lnTo>
                    <a:pt x="1396" y="20"/>
                  </a:lnTo>
                  <a:lnTo>
                    <a:pt x="1384" y="18"/>
                  </a:lnTo>
                  <a:lnTo>
                    <a:pt x="1380" y="18"/>
                  </a:lnTo>
                  <a:lnTo>
                    <a:pt x="1376" y="20"/>
                  </a:lnTo>
                  <a:lnTo>
                    <a:pt x="1376" y="20"/>
                  </a:lnTo>
                  <a:lnTo>
                    <a:pt x="1370" y="22"/>
                  </a:lnTo>
                  <a:lnTo>
                    <a:pt x="1366" y="22"/>
                  </a:lnTo>
                  <a:lnTo>
                    <a:pt x="1360" y="20"/>
                  </a:lnTo>
                  <a:lnTo>
                    <a:pt x="1356" y="20"/>
                  </a:lnTo>
                  <a:lnTo>
                    <a:pt x="1356" y="20"/>
                  </a:lnTo>
                  <a:lnTo>
                    <a:pt x="1344" y="20"/>
                  </a:lnTo>
                  <a:lnTo>
                    <a:pt x="1338" y="20"/>
                  </a:lnTo>
                  <a:lnTo>
                    <a:pt x="1336" y="22"/>
                  </a:lnTo>
                  <a:lnTo>
                    <a:pt x="1336" y="22"/>
                  </a:lnTo>
                  <a:lnTo>
                    <a:pt x="1332" y="24"/>
                  </a:lnTo>
                  <a:lnTo>
                    <a:pt x="1328" y="26"/>
                  </a:lnTo>
                  <a:lnTo>
                    <a:pt x="1326" y="26"/>
                  </a:lnTo>
                  <a:lnTo>
                    <a:pt x="1326" y="28"/>
                  </a:lnTo>
                  <a:lnTo>
                    <a:pt x="1336" y="32"/>
                  </a:lnTo>
                  <a:lnTo>
                    <a:pt x="1336" y="32"/>
                  </a:lnTo>
                  <a:lnTo>
                    <a:pt x="1344" y="38"/>
                  </a:lnTo>
                  <a:lnTo>
                    <a:pt x="1342" y="38"/>
                  </a:lnTo>
                  <a:lnTo>
                    <a:pt x="1340" y="38"/>
                  </a:lnTo>
                  <a:lnTo>
                    <a:pt x="1312" y="38"/>
                  </a:lnTo>
                  <a:lnTo>
                    <a:pt x="1312" y="38"/>
                  </a:lnTo>
                  <a:lnTo>
                    <a:pt x="1300" y="38"/>
                  </a:lnTo>
                  <a:lnTo>
                    <a:pt x="1300" y="40"/>
                  </a:lnTo>
                  <a:lnTo>
                    <a:pt x="1302" y="42"/>
                  </a:lnTo>
                  <a:lnTo>
                    <a:pt x="1302" y="42"/>
                  </a:lnTo>
                  <a:lnTo>
                    <a:pt x="1300" y="44"/>
                  </a:lnTo>
                  <a:lnTo>
                    <a:pt x="1298" y="44"/>
                  </a:lnTo>
                  <a:lnTo>
                    <a:pt x="1286" y="44"/>
                  </a:lnTo>
                  <a:lnTo>
                    <a:pt x="1274" y="42"/>
                  </a:lnTo>
                  <a:lnTo>
                    <a:pt x="1270" y="40"/>
                  </a:lnTo>
                  <a:lnTo>
                    <a:pt x="1270" y="38"/>
                  </a:lnTo>
                  <a:lnTo>
                    <a:pt x="1270" y="38"/>
                  </a:lnTo>
                  <a:lnTo>
                    <a:pt x="1270" y="38"/>
                  </a:lnTo>
                  <a:lnTo>
                    <a:pt x="1268" y="36"/>
                  </a:lnTo>
                  <a:lnTo>
                    <a:pt x="1266" y="36"/>
                  </a:lnTo>
                  <a:lnTo>
                    <a:pt x="1266" y="36"/>
                  </a:lnTo>
                  <a:lnTo>
                    <a:pt x="1266" y="36"/>
                  </a:lnTo>
                  <a:lnTo>
                    <a:pt x="1266" y="34"/>
                  </a:lnTo>
                  <a:lnTo>
                    <a:pt x="1268" y="32"/>
                  </a:lnTo>
                  <a:lnTo>
                    <a:pt x="1270" y="32"/>
                  </a:lnTo>
                  <a:lnTo>
                    <a:pt x="1268" y="30"/>
                  </a:lnTo>
                  <a:lnTo>
                    <a:pt x="1268" y="30"/>
                  </a:lnTo>
                  <a:lnTo>
                    <a:pt x="1264" y="30"/>
                  </a:lnTo>
                  <a:lnTo>
                    <a:pt x="1258" y="30"/>
                  </a:lnTo>
                  <a:lnTo>
                    <a:pt x="1246" y="32"/>
                  </a:lnTo>
                  <a:lnTo>
                    <a:pt x="1226" y="32"/>
                  </a:lnTo>
                  <a:lnTo>
                    <a:pt x="1226" y="32"/>
                  </a:lnTo>
                  <a:lnTo>
                    <a:pt x="1210" y="34"/>
                  </a:lnTo>
                  <a:lnTo>
                    <a:pt x="1204" y="34"/>
                  </a:lnTo>
                  <a:lnTo>
                    <a:pt x="1200" y="36"/>
                  </a:lnTo>
                  <a:lnTo>
                    <a:pt x="1192" y="38"/>
                  </a:lnTo>
                  <a:lnTo>
                    <a:pt x="1192" y="38"/>
                  </a:lnTo>
                  <a:lnTo>
                    <a:pt x="1184" y="38"/>
                  </a:lnTo>
                  <a:lnTo>
                    <a:pt x="1182" y="36"/>
                  </a:lnTo>
                  <a:lnTo>
                    <a:pt x="1182" y="34"/>
                  </a:lnTo>
                  <a:lnTo>
                    <a:pt x="1180" y="32"/>
                  </a:lnTo>
                  <a:lnTo>
                    <a:pt x="1176" y="30"/>
                  </a:lnTo>
                  <a:lnTo>
                    <a:pt x="1168" y="30"/>
                  </a:lnTo>
                  <a:lnTo>
                    <a:pt x="1168" y="30"/>
                  </a:lnTo>
                  <a:lnTo>
                    <a:pt x="1156" y="32"/>
                  </a:lnTo>
                  <a:lnTo>
                    <a:pt x="1152" y="34"/>
                  </a:lnTo>
                  <a:lnTo>
                    <a:pt x="1150" y="34"/>
                  </a:lnTo>
                  <a:lnTo>
                    <a:pt x="1148" y="34"/>
                  </a:lnTo>
                  <a:lnTo>
                    <a:pt x="1148" y="34"/>
                  </a:lnTo>
                  <a:lnTo>
                    <a:pt x="1144" y="34"/>
                  </a:lnTo>
                  <a:lnTo>
                    <a:pt x="1140" y="34"/>
                  </a:lnTo>
                  <a:lnTo>
                    <a:pt x="1136" y="34"/>
                  </a:lnTo>
                  <a:lnTo>
                    <a:pt x="1132" y="32"/>
                  </a:lnTo>
                  <a:lnTo>
                    <a:pt x="1132" y="32"/>
                  </a:lnTo>
                  <a:lnTo>
                    <a:pt x="1130" y="30"/>
                  </a:lnTo>
                  <a:lnTo>
                    <a:pt x="1126" y="30"/>
                  </a:lnTo>
                  <a:lnTo>
                    <a:pt x="1118" y="30"/>
                  </a:lnTo>
                  <a:lnTo>
                    <a:pt x="1118" y="30"/>
                  </a:lnTo>
                  <a:lnTo>
                    <a:pt x="1114" y="32"/>
                  </a:lnTo>
                  <a:lnTo>
                    <a:pt x="1112" y="34"/>
                  </a:lnTo>
                  <a:lnTo>
                    <a:pt x="1122" y="36"/>
                  </a:lnTo>
                  <a:lnTo>
                    <a:pt x="1122" y="36"/>
                  </a:lnTo>
                  <a:lnTo>
                    <a:pt x="1116" y="38"/>
                  </a:lnTo>
                  <a:lnTo>
                    <a:pt x="1112" y="36"/>
                  </a:lnTo>
                  <a:lnTo>
                    <a:pt x="1108" y="36"/>
                  </a:lnTo>
                  <a:lnTo>
                    <a:pt x="1106" y="38"/>
                  </a:lnTo>
                  <a:lnTo>
                    <a:pt x="1106" y="38"/>
                  </a:lnTo>
                  <a:lnTo>
                    <a:pt x="1102" y="40"/>
                  </a:lnTo>
                  <a:lnTo>
                    <a:pt x="1098" y="42"/>
                  </a:lnTo>
                  <a:lnTo>
                    <a:pt x="1088" y="42"/>
                  </a:lnTo>
                  <a:lnTo>
                    <a:pt x="1088" y="42"/>
                  </a:lnTo>
                  <a:lnTo>
                    <a:pt x="1088" y="42"/>
                  </a:lnTo>
                  <a:lnTo>
                    <a:pt x="1086" y="42"/>
                  </a:lnTo>
                  <a:lnTo>
                    <a:pt x="1080" y="46"/>
                  </a:lnTo>
                  <a:lnTo>
                    <a:pt x="1080" y="46"/>
                  </a:lnTo>
                  <a:lnTo>
                    <a:pt x="1070" y="48"/>
                  </a:lnTo>
                  <a:lnTo>
                    <a:pt x="1068" y="48"/>
                  </a:lnTo>
                  <a:lnTo>
                    <a:pt x="1076" y="44"/>
                  </a:lnTo>
                  <a:lnTo>
                    <a:pt x="1076" y="44"/>
                  </a:lnTo>
                  <a:lnTo>
                    <a:pt x="1082" y="42"/>
                  </a:lnTo>
                  <a:lnTo>
                    <a:pt x="1084" y="40"/>
                  </a:lnTo>
                  <a:lnTo>
                    <a:pt x="1084" y="38"/>
                  </a:lnTo>
                  <a:lnTo>
                    <a:pt x="1086" y="38"/>
                  </a:lnTo>
                  <a:lnTo>
                    <a:pt x="1086" y="38"/>
                  </a:lnTo>
                  <a:lnTo>
                    <a:pt x="1092" y="38"/>
                  </a:lnTo>
                  <a:lnTo>
                    <a:pt x="1094" y="36"/>
                  </a:lnTo>
                  <a:lnTo>
                    <a:pt x="1096" y="34"/>
                  </a:lnTo>
                  <a:lnTo>
                    <a:pt x="1102" y="32"/>
                  </a:lnTo>
                  <a:lnTo>
                    <a:pt x="1102" y="32"/>
                  </a:lnTo>
                  <a:lnTo>
                    <a:pt x="1112" y="26"/>
                  </a:lnTo>
                  <a:lnTo>
                    <a:pt x="1120" y="24"/>
                  </a:lnTo>
                  <a:lnTo>
                    <a:pt x="1120" y="24"/>
                  </a:lnTo>
                  <a:lnTo>
                    <a:pt x="1122" y="22"/>
                  </a:lnTo>
                  <a:lnTo>
                    <a:pt x="1120" y="18"/>
                  </a:lnTo>
                  <a:lnTo>
                    <a:pt x="1118" y="16"/>
                  </a:lnTo>
                  <a:lnTo>
                    <a:pt x="1114" y="16"/>
                  </a:lnTo>
                  <a:lnTo>
                    <a:pt x="1114" y="16"/>
                  </a:lnTo>
                  <a:lnTo>
                    <a:pt x="1106" y="16"/>
                  </a:lnTo>
                  <a:lnTo>
                    <a:pt x="1102" y="16"/>
                  </a:lnTo>
                  <a:lnTo>
                    <a:pt x="1100" y="14"/>
                  </a:lnTo>
                  <a:lnTo>
                    <a:pt x="1100" y="14"/>
                  </a:lnTo>
                  <a:lnTo>
                    <a:pt x="1108" y="14"/>
                  </a:lnTo>
                  <a:lnTo>
                    <a:pt x="1114" y="14"/>
                  </a:lnTo>
                  <a:lnTo>
                    <a:pt x="1116" y="14"/>
                  </a:lnTo>
                  <a:lnTo>
                    <a:pt x="1116" y="14"/>
                  </a:lnTo>
                  <a:lnTo>
                    <a:pt x="1114" y="12"/>
                  </a:lnTo>
                  <a:lnTo>
                    <a:pt x="1106" y="8"/>
                  </a:lnTo>
                  <a:lnTo>
                    <a:pt x="1096" y="6"/>
                  </a:lnTo>
                  <a:lnTo>
                    <a:pt x="1088" y="6"/>
                  </a:lnTo>
                  <a:lnTo>
                    <a:pt x="1088" y="6"/>
                  </a:lnTo>
                  <a:lnTo>
                    <a:pt x="1086" y="8"/>
                  </a:lnTo>
                  <a:lnTo>
                    <a:pt x="1080" y="6"/>
                  </a:lnTo>
                  <a:lnTo>
                    <a:pt x="1058" y="4"/>
                  </a:lnTo>
                  <a:lnTo>
                    <a:pt x="1058" y="4"/>
                  </a:lnTo>
                  <a:lnTo>
                    <a:pt x="1048" y="6"/>
                  </a:lnTo>
                  <a:lnTo>
                    <a:pt x="1046" y="6"/>
                  </a:lnTo>
                  <a:lnTo>
                    <a:pt x="1048" y="8"/>
                  </a:lnTo>
                  <a:lnTo>
                    <a:pt x="1046" y="8"/>
                  </a:lnTo>
                  <a:lnTo>
                    <a:pt x="1046" y="8"/>
                  </a:lnTo>
                  <a:lnTo>
                    <a:pt x="1044" y="8"/>
                  </a:lnTo>
                  <a:lnTo>
                    <a:pt x="1042" y="6"/>
                  </a:lnTo>
                  <a:lnTo>
                    <a:pt x="1038" y="6"/>
                  </a:lnTo>
                  <a:lnTo>
                    <a:pt x="1028" y="6"/>
                  </a:lnTo>
                  <a:lnTo>
                    <a:pt x="1028" y="6"/>
                  </a:lnTo>
                  <a:lnTo>
                    <a:pt x="1018" y="6"/>
                  </a:lnTo>
                  <a:lnTo>
                    <a:pt x="1008" y="4"/>
                  </a:lnTo>
                  <a:lnTo>
                    <a:pt x="998" y="2"/>
                  </a:lnTo>
                  <a:lnTo>
                    <a:pt x="998" y="2"/>
                  </a:lnTo>
                  <a:lnTo>
                    <a:pt x="992" y="2"/>
                  </a:lnTo>
                  <a:lnTo>
                    <a:pt x="988" y="2"/>
                  </a:lnTo>
                  <a:lnTo>
                    <a:pt x="980" y="4"/>
                  </a:lnTo>
                  <a:lnTo>
                    <a:pt x="980" y="4"/>
                  </a:lnTo>
                  <a:lnTo>
                    <a:pt x="976" y="10"/>
                  </a:lnTo>
                  <a:lnTo>
                    <a:pt x="974" y="10"/>
                  </a:lnTo>
                  <a:lnTo>
                    <a:pt x="976" y="6"/>
                  </a:lnTo>
                  <a:lnTo>
                    <a:pt x="976" y="6"/>
                  </a:lnTo>
                  <a:lnTo>
                    <a:pt x="976" y="2"/>
                  </a:lnTo>
                  <a:lnTo>
                    <a:pt x="974" y="2"/>
                  </a:lnTo>
                  <a:lnTo>
                    <a:pt x="966" y="4"/>
                  </a:lnTo>
                  <a:lnTo>
                    <a:pt x="960" y="8"/>
                  </a:lnTo>
                  <a:lnTo>
                    <a:pt x="962" y="4"/>
                  </a:lnTo>
                  <a:lnTo>
                    <a:pt x="962" y="4"/>
                  </a:lnTo>
                  <a:lnTo>
                    <a:pt x="966" y="0"/>
                  </a:lnTo>
                  <a:lnTo>
                    <a:pt x="958" y="0"/>
                  </a:lnTo>
                  <a:lnTo>
                    <a:pt x="958" y="0"/>
                  </a:lnTo>
                  <a:lnTo>
                    <a:pt x="946" y="0"/>
                  </a:lnTo>
                  <a:lnTo>
                    <a:pt x="940" y="4"/>
                  </a:lnTo>
                  <a:lnTo>
                    <a:pt x="940" y="4"/>
                  </a:lnTo>
                  <a:lnTo>
                    <a:pt x="932" y="6"/>
                  </a:lnTo>
                  <a:lnTo>
                    <a:pt x="932" y="8"/>
                  </a:lnTo>
                  <a:lnTo>
                    <a:pt x="932" y="10"/>
                  </a:lnTo>
                  <a:lnTo>
                    <a:pt x="932" y="10"/>
                  </a:lnTo>
                  <a:lnTo>
                    <a:pt x="930" y="10"/>
                  </a:lnTo>
                  <a:lnTo>
                    <a:pt x="928" y="10"/>
                  </a:lnTo>
                  <a:lnTo>
                    <a:pt x="928" y="12"/>
                  </a:lnTo>
                  <a:lnTo>
                    <a:pt x="932" y="14"/>
                  </a:lnTo>
                  <a:lnTo>
                    <a:pt x="932" y="14"/>
                  </a:lnTo>
                  <a:lnTo>
                    <a:pt x="922" y="12"/>
                  </a:lnTo>
                  <a:lnTo>
                    <a:pt x="916" y="10"/>
                  </a:lnTo>
                  <a:lnTo>
                    <a:pt x="908" y="10"/>
                  </a:lnTo>
                  <a:lnTo>
                    <a:pt x="908" y="10"/>
                  </a:lnTo>
                  <a:lnTo>
                    <a:pt x="904" y="10"/>
                  </a:lnTo>
                  <a:lnTo>
                    <a:pt x="904" y="10"/>
                  </a:lnTo>
                  <a:lnTo>
                    <a:pt x="904" y="12"/>
                  </a:lnTo>
                  <a:lnTo>
                    <a:pt x="898" y="14"/>
                  </a:lnTo>
                  <a:lnTo>
                    <a:pt x="898" y="14"/>
                  </a:lnTo>
                  <a:lnTo>
                    <a:pt x="892" y="14"/>
                  </a:lnTo>
                  <a:lnTo>
                    <a:pt x="890" y="14"/>
                  </a:lnTo>
                  <a:lnTo>
                    <a:pt x="890" y="12"/>
                  </a:lnTo>
                  <a:lnTo>
                    <a:pt x="888" y="12"/>
                  </a:lnTo>
                  <a:lnTo>
                    <a:pt x="888" y="12"/>
                  </a:lnTo>
                  <a:lnTo>
                    <a:pt x="888" y="12"/>
                  </a:lnTo>
                  <a:lnTo>
                    <a:pt x="888" y="10"/>
                  </a:lnTo>
                  <a:lnTo>
                    <a:pt x="888" y="10"/>
                  </a:lnTo>
                  <a:lnTo>
                    <a:pt x="882" y="8"/>
                  </a:lnTo>
                  <a:lnTo>
                    <a:pt x="882" y="8"/>
                  </a:lnTo>
                  <a:lnTo>
                    <a:pt x="872" y="8"/>
                  </a:lnTo>
                  <a:lnTo>
                    <a:pt x="870" y="8"/>
                  </a:lnTo>
                  <a:lnTo>
                    <a:pt x="872" y="10"/>
                  </a:lnTo>
                  <a:lnTo>
                    <a:pt x="872" y="10"/>
                  </a:lnTo>
                  <a:lnTo>
                    <a:pt x="874" y="10"/>
                  </a:lnTo>
                  <a:lnTo>
                    <a:pt x="872" y="10"/>
                  </a:lnTo>
                  <a:lnTo>
                    <a:pt x="862" y="10"/>
                  </a:lnTo>
                  <a:lnTo>
                    <a:pt x="862" y="10"/>
                  </a:lnTo>
                  <a:lnTo>
                    <a:pt x="846" y="12"/>
                  </a:lnTo>
                  <a:lnTo>
                    <a:pt x="840" y="14"/>
                  </a:lnTo>
                  <a:lnTo>
                    <a:pt x="838" y="14"/>
                  </a:lnTo>
                  <a:lnTo>
                    <a:pt x="836" y="14"/>
                  </a:lnTo>
                  <a:lnTo>
                    <a:pt x="836" y="14"/>
                  </a:lnTo>
                  <a:lnTo>
                    <a:pt x="832" y="14"/>
                  </a:lnTo>
                  <a:lnTo>
                    <a:pt x="828" y="14"/>
                  </a:lnTo>
                  <a:lnTo>
                    <a:pt x="824" y="14"/>
                  </a:lnTo>
                  <a:lnTo>
                    <a:pt x="818" y="14"/>
                  </a:lnTo>
                  <a:lnTo>
                    <a:pt x="818" y="14"/>
                  </a:lnTo>
                  <a:lnTo>
                    <a:pt x="812" y="14"/>
                  </a:lnTo>
                  <a:lnTo>
                    <a:pt x="810" y="14"/>
                  </a:lnTo>
                  <a:lnTo>
                    <a:pt x="808" y="16"/>
                  </a:lnTo>
                  <a:lnTo>
                    <a:pt x="806" y="16"/>
                  </a:lnTo>
                  <a:lnTo>
                    <a:pt x="806" y="16"/>
                  </a:lnTo>
                  <a:lnTo>
                    <a:pt x="802" y="16"/>
                  </a:lnTo>
                  <a:lnTo>
                    <a:pt x="800" y="18"/>
                  </a:lnTo>
                  <a:lnTo>
                    <a:pt x="796" y="18"/>
                  </a:lnTo>
                  <a:lnTo>
                    <a:pt x="786" y="18"/>
                  </a:lnTo>
                  <a:lnTo>
                    <a:pt x="786" y="18"/>
                  </a:lnTo>
                  <a:lnTo>
                    <a:pt x="780" y="18"/>
                  </a:lnTo>
                  <a:lnTo>
                    <a:pt x="776" y="20"/>
                  </a:lnTo>
                  <a:lnTo>
                    <a:pt x="776" y="20"/>
                  </a:lnTo>
                  <a:lnTo>
                    <a:pt x="774" y="20"/>
                  </a:lnTo>
                  <a:lnTo>
                    <a:pt x="774" y="22"/>
                  </a:lnTo>
                  <a:lnTo>
                    <a:pt x="776" y="22"/>
                  </a:lnTo>
                  <a:lnTo>
                    <a:pt x="776" y="24"/>
                  </a:lnTo>
                  <a:lnTo>
                    <a:pt x="776" y="24"/>
                  </a:lnTo>
                  <a:lnTo>
                    <a:pt x="780" y="26"/>
                  </a:lnTo>
                  <a:lnTo>
                    <a:pt x="786" y="28"/>
                  </a:lnTo>
                  <a:lnTo>
                    <a:pt x="790" y="28"/>
                  </a:lnTo>
                  <a:lnTo>
                    <a:pt x="790" y="28"/>
                  </a:lnTo>
                  <a:lnTo>
                    <a:pt x="786" y="30"/>
                  </a:lnTo>
                  <a:lnTo>
                    <a:pt x="786" y="32"/>
                  </a:lnTo>
                  <a:lnTo>
                    <a:pt x="784" y="34"/>
                  </a:lnTo>
                  <a:lnTo>
                    <a:pt x="784" y="32"/>
                  </a:lnTo>
                  <a:lnTo>
                    <a:pt x="784" y="32"/>
                  </a:lnTo>
                  <a:lnTo>
                    <a:pt x="784" y="28"/>
                  </a:lnTo>
                  <a:lnTo>
                    <a:pt x="784" y="28"/>
                  </a:lnTo>
                  <a:lnTo>
                    <a:pt x="778" y="30"/>
                  </a:lnTo>
                  <a:lnTo>
                    <a:pt x="768" y="30"/>
                  </a:lnTo>
                  <a:lnTo>
                    <a:pt x="768" y="30"/>
                  </a:lnTo>
                  <a:lnTo>
                    <a:pt x="746" y="32"/>
                  </a:lnTo>
                  <a:lnTo>
                    <a:pt x="728" y="34"/>
                  </a:lnTo>
                  <a:lnTo>
                    <a:pt x="728" y="34"/>
                  </a:lnTo>
                  <a:lnTo>
                    <a:pt x="724" y="34"/>
                  </a:lnTo>
                  <a:lnTo>
                    <a:pt x="718" y="36"/>
                  </a:lnTo>
                  <a:lnTo>
                    <a:pt x="718" y="38"/>
                  </a:lnTo>
                  <a:lnTo>
                    <a:pt x="718" y="40"/>
                  </a:lnTo>
                  <a:lnTo>
                    <a:pt x="732" y="46"/>
                  </a:lnTo>
                  <a:lnTo>
                    <a:pt x="732" y="46"/>
                  </a:lnTo>
                  <a:lnTo>
                    <a:pt x="746" y="52"/>
                  </a:lnTo>
                  <a:lnTo>
                    <a:pt x="752" y="52"/>
                  </a:lnTo>
                  <a:lnTo>
                    <a:pt x="758" y="50"/>
                  </a:lnTo>
                  <a:lnTo>
                    <a:pt x="764" y="54"/>
                  </a:lnTo>
                  <a:lnTo>
                    <a:pt x="764" y="54"/>
                  </a:lnTo>
                  <a:lnTo>
                    <a:pt x="772" y="56"/>
                  </a:lnTo>
                  <a:lnTo>
                    <a:pt x="780" y="58"/>
                  </a:lnTo>
                  <a:lnTo>
                    <a:pt x="784" y="58"/>
                  </a:lnTo>
                  <a:lnTo>
                    <a:pt x="786" y="60"/>
                  </a:lnTo>
                  <a:lnTo>
                    <a:pt x="786" y="62"/>
                  </a:lnTo>
                  <a:lnTo>
                    <a:pt x="786" y="62"/>
                  </a:lnTo>
                  <a:lnTo>
                    <a:pt x="790" y="66"/>
                  </a:lnTo>
                  <a:lnTo>
                    <a:pt x="796" y="70"/>
                  </a:lnTo>
                  <a:lnTo>
                    <a:pt x="814" y="74"/>
                  </a:lnTo>
                  <a:lnTo>
                    <a:pt x="814" y="74"/>
                  </a:lnTo>
                  <a:lnTo>
                    <a:pt x="820" y="78"/>
                  </a:lnTo>
                  <a:lnTo>
                    <a:pt x="822" y="80"/>
                  </a:lnTo>
                  <a:lnTo>
                    <a:pt x="820" y="80"/>
                  </a:lnTo>
                  <a:lnTo>
                    <a:pt x="814" y="80"/>
                  </a:lnTo>
                  <a:lnTo>
                    <a:pt x="806" y="78"/>
                  </a:lnTo>
                  <a:lnTo>
                    <a:pt x="806" y="78"/>
                  </a:lnTo>
                  <a:lnTo>
                    <a:pt x="800" y="74"/>
                  </a:lnTo>
                  <a:lnTo>
                    <a:pt x="796" y="76"/>
                  </a:lnTo>
                  <a:lnTo>
                    <a:pt x="796" y="78"/>
                  </a:lnTo>
                  <a:lnTo>
                    <a:pt x="796" y="78"/>
                  </a:lnTo>
                  <a:lnTo>
                    <a:pt x="796" y="76"/>
                  </a:lnTo>
                  <a:lnTo>
                    <a:pt x="792" y="74"/>
                  </a:lnTo>
                  <a:lnTo>
                    <a:pt x="786" y="72"/>
                  </a:lnTo>
                  <a:lnTo>
                    <a:pt x="786" y="72"/>
                  </a:lnTo>
                  <a:lnTo>
                    <a:pt x="782" y="70"/>
                  </a:lnTo>
                  <a:lnTo>
                    <a:pt x="780" y="68"/>
                  </a:lnTo>
                  <a:lnTo>
                    <a:pt x="782" y="64"/>
                  </a:lnTo>
                  <a:lnTo>
                    <a:pt x="782" y="62"/>
                  </a:lnTo>
                  <a:lnTo>
                    <a:pt x="782" y="62"/>
                  </a:lnTo>
                  <a:lnTo>
                    <a:pt x="770" y="60"/>
                  </a:lnTo>
                  <a:lnTo>
                    <a:pt x="770" y="60"/>
                  </a:lnTo>
                  <a:lnTo>
                    <a:pt x="758" y="60"/>
                  </a:lnTo>
                  <a:lnTo>
                    <a:pt x="748" y="58"/>
                  </a:lnTo>
                  <a:lnTo>
                    <a:pt x="740" y="56"/>
                  </a:lnTo>
                  <a:lnTo>
                    <a:pt x="734" y="54"/>
                  </a:lnTo>
                  <a:lnTo>
                    <a:pt x="734" y="54"/>
                  </a:lnTo>
                  <a:lnTo>
                    <a:pt x="722" y="52"/>
                  </a:lnTo>
                  <a:lnTo>
                    <a:pt x="708" y="48"/>
                  </a:lnTo>
                  <a:lnTo>
                    <a:pt x="708" y="48"/>
                  </a:lnTo>
                  <a:lnTo>
                    <a:pt x="694" y="46"/>
                  </a:lnTo>
                  <a:lnTo>
                    <a:pt x="690" y="46"/>
                  </a:lnTo>
                  <a:lnTo>
                    <a:pt x="688" y="46"/>
                  </a:lnTo>
                  <a:lnTo>
                    <a:pt x="690" y="48"/>
                  </a:lnTo>
                  <a:lnTo>
                    <a:pt x="690" y="48"/>
                  </a:lnTo>
                  <a:lnTo>
                    <a:pt x="690" y="50"/>
                  </a:lnTo>
                  <a:lnTo>
                    <a:pt x="688" y="50"/>
                  </a:lnTo>
                  <a:lnTo>
                    <a:pt x="680" y="48"/>
                  </a:lnTo>
                  <a:lnTo>
                    <a:pt x="680" y="48"/>
                  </a:lnTo>
                  <a:lnTo>
                    <a:pt x="676" y="48"/>
                  </a:lnTo>
                  <a:lnTo>
                    <a:pt x="672" y="50"/>
                  </a:lnTo>
                  <a:lnTo>
                    <a:pt x="670" y="52"/>
                  </a:lnTo>
                  <a:lnTo>
                    <a:pt x="674" y="54"/>
                  </a:lnTo>
                  <a:lnTo>
                    <a:pt x="674" y="54"/>
                  </a:lnTo>
                  <a:lnTo>
                    <a:pt x="680" y="56"/>
                  </a:lnTo>
                  <a:lnTo>
                    <a:pt x="682" y="58"/>
                  </a:lnTo>
                  <a:lnTo>
                    <a:pt x="684" y="60"/>
                  </a:lnTo>
                  <a:lnTo>
                    <a:pt x="690" y="60"/>
                  </a:lnTo>
                  <a:lnTo>
                    <a:pt x="690" y="60"/>
                  </a:lnTo>
                  <a:lnTo>
                    <a:pt x="694" y="60"/>
                  </a:lnTo>
                  <a:lnTo>
                    <a:pt x="700" y="62"/>
                  </a:lnTo>
                  <a:lnTo>
                    <a:pt x="712" y="66"/>
                  </a:lnTo>
                  <a:lnTo>
                    <a:pt x="712" y="66"/>
                  </a:lnTo>
                  <a:lnTo>
                    <a:pt x="710" y="66"/>
                  </a:lnTo>
                  <a:lnTo>
                    <a:pt x="706" y="66"/>
                  </a:lnTo>
                  <a:lnTo>
                    <a:pt x="698" y="64"/>
                  </a:lnTo>
                  <a:lnTo>
                    <a:pt x="698" y="64"/>
                  </a:lnTo>
                  <a:lnTo>
                    <a:pt x="692" y="62"/>
                  </a:lnTo>
                  <a:lnTo>
                    <a:pt x="688" y="62"/>
                  </a:lnTo>
                  <a:lnTo>
                    <a:pt x="686" y="62"/>
                  </a:lnTo>
                  <a:lnTo>
                    <a:pt x="682" y="62"/>
                  </a:lnTo>
                  <a:lnTo>
                    <a:pt x="682" y="62"/>
                  </a:lnTo>
                  <a:lnTo>
                    <a:pt x="680" y="60"/>
                  </a:lnTo>
                  <a:lnTo>
                    <a:pt x="678" y="62"/>
                  </a:lnTo>
                  <a:lnTo>
                    <a:pt x="676" y="62"/>
                  </a:lnTo>
                  <a:lnTo>
                    <a:pt x="674" y="62"/>
                  </a:lnTo>
                  <a:lnTo>
                    <a:pt x="674" y="62"/>
                  </a:lnTo>
                  <a:lnTo>
                    <a:pt x="672" y="60"/>
                  </a:lnTo>
                  <a:lnTo>
                    <a:pt x="670" y="60"/>
                  </a:lnTo>
                  <a:lnTo>
                    <a:pt x="666" y="58"/>
                  </a:lnTo>
                  <a:lnTo>
                    <a:pt x="658" y="50"/>
                  </a:lnTo>
                  <a:lnTo>
                    <a:pt x="658" y="50"/>
                  </a:lnTo>
                  <a:lnTo>
                    <a:pt x="646" y="40"/>
                  </a:lnTo>
                  <a:lnTo>
                    <a:pt x="638" y="36"/>
                  </a:lnTo>
                  <a:lnTo>
                    <a:pt x="630" y="32"/>
                  </a:lnTo>
                  <a:lnTo>
                    <a:pt x="626" y="32"/>
                  </a:lnTo>
                  <a:lnTo>
                    <a:pt x="626" y="32"/>
                  </a:lnTo>
                  <a:lnTo>
                    <a:pt x="626" y="34"/>
                  </a:lnTo>
                  <a:lnTo>
                    <a:pt x="628" y="34"/>
                  </a:lnTo>
                  <a:lnTo>
                    <a:pt x="634" y="38"/>
                  </a:lnTo>
                  <a:lnTo>
                    <a:pt x="638" y="42"/>
                  </a:lnTo>
                  <a:lnTo>
                    <a:pt x="638" y="44"/>
                  </a:lnTo>
                  <a:lnTo>
                    <a:pt x="638" y="46"/>
                  </a:lnTo>
                  <a:lnTo>
                    <a:pt x="638" y="46"/>
                  </a:lnTo>
                  <a:lnTo>
                    <a:pt x="634" y="48"/>
                  </a:lnTo>
                  <a:lnTo>
                    <a:pt x="634" y="50"/>
                  </a:lnTo>
                  <a:lnTo>
                    <a:pt x="636" y="54"/>
                  </a:lnTo>
                  <a:lnTo>
                    <a:pt x="636" y="56"/>
                  </a:lnTo>
                  <a:lnTo>
                    <a:pt x="636" y="56"/>
                  </a:lnTo>
                  <a:lnTo>
                    <a:pt x="636" y="58"/>
                  </a:lnTo>
                  <a:lnTo>
                    <a:pt x="638" y="60"/>
                  </a:lnTo>
                  <a:lnTo>
                    <a:pt x="640" y="60"/>
                  </a:lnTo>
                  <a:lnTo>
                    <a:pt x="646" y="62"/>
                  </a:lnTo>
                  <a:lnTo>
                    <a:pt x="646" y="62"/>
                  </a:lnTo>
                  <a:lnTo>
                    <a:pt x="650" y="64"/>
                  </a:lnTo>
                  <a:lnTo>
                    <a:pt x="654" y="66"/>
                  </a:lnTo>
                  <a:lnTo>
                    <a:pt x="658" y="68"/>
                  </a:lnTo>
                  <a:lnTo>
                    <a:pt x="660" y="74"/>
                  </a:lnTo>
                  <a:lnTo>
                    <a:pt x="660" y="74"/>
                  </a:lnTo>
                  <a:lnTo>
                    <a:pt x="660" y="76"/>
                  </a:lnTo>
                  <a:lnTo>
                    <a:pt x="662" y="80"/>
                  </a:lnTo>
                  <a:lnTo>
                    <a:pt x="666" y="82"/>
                  </a:lnTo>
                  <a:lnTo>
                    <a:pt x="672" y="84"/>
                  </a:lnTo>
                  <a:lnTo>
                    <a:pt x="676" y="86"/>
                  </a:lnTo>
                  <a:lnTo>
                    <a:pt x="676" y="86"/>
                  </a:lnTo>
                  <a:lnTo>
                    <a:pt x="678" y="90"/>
                  </a:lnTo>
                  <a:lnTo>
                    <a:pt x="682" y="90"/>
                  </a:lnTo>
                  <a:lnTo>
                    <a:pt x="690" y="88"/>
                  </a:lnTo>
                  <a:lnTo>
                    <a:pt x="690" y="88"/>
                  </a:lnTo>
                  <a:lnTo>
                    <a:pt x="694" y="86"/>
                  </a:lnTo>
                  <a:lnTo>
                    <a:pt x="700" y="86"/>
                  </a:lnTo>
                  <a:lnTo>
                    <a:pt x="706" y="88"/>
                  </a:lnTo>
                  <a:lnTo>
                    <a:pt x="712" y="92"/>
                  </a:lnTo>
                  <a:lnTo>
                    <a:pt x="712" y="92"/>
                  </a:lnTo>
                  <a:lnTo>
                    <a:pt x="720" y="96"/>
                  </a:lnTo>
                  <a:lnTo>
                    <a:pt x="720" y="98"/>
                  </a:lnTo>
                  <a:lnTo>
                    <a:pt x="716" y="98"/>
                  </a:lnTo>
                  <a:lnTo>
                    <a:pt x="716" y="98"/>
                  </a:lnTo>
                  <a:lnTo>
                    <a:pt x="714" y="100"/>
                  </a:lnTo>
                  <a:lnTo>
                    <a:pt x="714" y="102"/>
                  </a:lnTo>
                  <a:lnTo>
                    <a:pt x="726" y="106"/>
                  </a:lnTo>
                  <a:lnTo>
                    <a:pt x="726" y="106"/>
                  </a:lnTo>
                  <a:lnTo>
                    <a:pt x="718" y="106"/>
                  </a:lnTo>
                  <a:lnTo>
                    <a:pt x="714" y="104"/>
                  </a:lnTo>
                  <a:lnTo>
                    <a:pt x="712" y="102"/>
                  </a:lnTo>
                  <a:lnTo>
                    <a:pt x="710" y="100"/>
                  </a:lnTo>
                  <a:lnTo>
                    <a:pt x="708" y="94"/>
                  </a:lnTo>
                  <a:lnTo>
                    <a:pt x="704" y="94"/>
                  </a:lnTo>
                  <a:lnTo>
                    <a:pt x="698" y="92"/>
                  </a:lnTo>
                  <a:lnTo>
                    <a:pt x="698" y="92"/>
                  </a:lnTo>
                  <a:lnTo>
                    <a:pt x="690" y="94"/>
                  </a:lnTo>
                  <a:lnTo>
                    <a:pt x="686" y="96"/>
                  </a:lnTo>
                  <a:lnTo>
                    <a:pt x="686" y="96"/>
                  </a:lnTo>
                  <a:lnTo>
                    <a:pt x="684" y="96"/>
                  </a:lnTo>
                  <a:lnTo>
                    <a:pt x="684" y="98"/>
                  </a:lnTo>
                  <a:lnTo>
                    <a:pt x="686" y="102"/>
                  </a:lnTo>
                  <a:lnTo>
                    <a:pt x="690" y="104"/>
                  </a:lnTo>
                  <a:lnTo>
                    <a:pt x="690" y="104"/>
                  </a:lnTo>
                  <a:lnTo>
                    <a:pt x="698" y="108"/>
                  </a:lnTo>
                  <a:lnTo>
                    <a:pt x="696" y="112"/>
                  </a:lnTo>
                  <a:lnTo>
                    <a:pt x="696" y="112"/>
                  </a:lnTo>
                  <a:lnTo>
                    <a:pt x="692" y="120"/>
                  </a:lnTo>
                  <a:lnTo>
                    <a:pt x="690" y="122"/>
                  </a:lnTo>
                  <a:lnTo>
                    <a:pt x="684" y="126"/>
                  </a:lnTo>
                  <a:lnTo>
                    <a:pt x="684" y="126"/>
                  </a:lnTo>
                  <a:lnTo>
                    <a:pt x="676" y="132"/>
                  </a:lnTo>
                  <a:lnTo>
                    <a:pt x="674" y="132"/>
                  </a:lnTo>
                  <a:lnTo>
                    <a:pt x="670" y="130"/>
                  </a:lnTo>
                  <a:lnTo>
                    <a:pt x="670" y="130"/>
                  </a:lnTo>
                  <a:lnTo>
                    <a:pt x="664" y="130"/>
                  </a:lnTo>
                  <a:lnTo>
                    <a:pt x="658" y="130"/>
                  </a:lnTo>
                  <a:lnTo>
                    <a:pt x="654" y="130"/>
                  </a:lnTo>
                  <a:lnTo>
                    <a:pt x="654" y="130"/>
                  </a:lnTo>
                  <a:lnTo>
                    <a:pt x="658" y="128"/>
                  </a:lnTo>
                  <a:lnTo>
                    <a:pt x="662" y="126"/>
                  </a:lnTo>
                  <a:lnTo>
                    <a:pt x="662" y="126"/>
                  </a:lnTo>
                  <a:lnTo>
                    <a:pt x="664" y="126"/>
                  </a:lnTo>
                  <a:lnTo>
                    <a:pt x="664" y="124"/>
                  </a:lnTo>
                  <a:lnTo>
                    <a:pt x="664" y="122"/>
                  </a:lnTo>
                  <a:lnTo>
                    <a:pt x="668" y="122"/>
                  </a:lnTo>
                  <a:lnTo>
                    <a:pt x="668" y="122"/>
                  </a:lnTo>
                  <a:lnTo>
                    <a:pt x="670" y="120"/>
                  </a:lnTo>
                  <a:lnTo>
                    <a:pt x="670" y="118"/>
                  </a:lnTo>
                  <a:lnTo>
                    <a:pt x="670" y="116"/>
                  </a:lnTo>
                  <a:lnTo>
                    <a:pt x="672" y="116"/>
                  </a:lnTo>
                  <a:lnTo>
                    <a:pt x="672" y="116"/>
                  </a:lnTo>
                  <a:lnTo>
                    <a:pt x="676" y="114"/>
                  </a:lnTo>
                  <a:lnTo>
                    <a:pt x="678" y="112"/>
                  </a:lnTo>
                  <a:lnTo>
                    <a:pt x="678" y="108"/>
                  </a:lnTo>
                  <a:lnTo>
                    <a:pt x="680" y="106"/>
                  </a:lnTo>
                  <a:lnTo>
                    <a:pt x="680" y="106"/>
                  </a:lnTo>
                  <a:lnTo>
                    <a:pt x="680" y="104"/>
                  </a:lnTo>
                  <a:lnTo>
                    <a:pt x="678" y="100"/>
                  </a:lnTo>
                  <a:lnTo>
                    <a:pt x="672" y="98"/>
                  </a:lnTo>
                  <a:lnTo>
                    <a:pt x="662" y="96"/>
                  </a:lnTo>
                  <a:lnTo>
                    <a:pt x="662" y="96"/>
                  </a:lnTo>
                  <a:lnTo>
                    <a:pt x="654" y="92"/>
                  </a:lnTo>
                  <a:lnTo>
                    <a:pt x="652" y="88"/>
                  </a:lnTo>
                  <a:lnTo>
                    <a:pt x="648" y="84"/>
                  </a:lnTo>
                  <a:lnTo>
                    <a:pt x="644" y="82"/>
                  </a:lnTo>
                  <a:lnTo>
                    <a:pt x="636" y="78"/>
                  </a:lnTo>
                  <a:lnTo>
                    <a:pt x="636" y="78"/>
                  </a:lnTo>
                  <a:lnTo>
                    <a:pt x="632" y="78"/>
                  </a:lnTo>
                  <a:lnTo>
                    <a:pt x="632" y="76"/>
                  </a:lnTo>
                  <a:lnTo>
                    <a:pt x="632" y="74"/>
                  </a:lnTo>
                  <a:lnTo>
                    <a:pt x="628" y="68"/>
                  </a:lnTo>
                  <a:lnTo>
                    <a:pt x="628" y="68"/>
                  </a:lnTo>
                  <a:lnTo>
                    <a:pt x="620" y="64"/>
                  </a:lnTo>
                  <a:lnTo>
                    <a:pt x="614" y="60"/>
                  </a:lnTo>
                  <a:lnTo>
                    <a:pt x="608" y="58"/>
                  </a:lnTo>
                  <a:lnTo>
                    <a:pt x="606" y="56"/>
                  </a:lnTo>
                  <a:lnTo>
                    <a:pt x="606" y="54"/>
                  </a:lnTo>
                  <a:lnTo>
                    <a:pt x="606" y="54"/>
                  </a:lnTo>
                  <a:lnTo>
                    <a:pt x="606" y="52"/>
                  </a:lnTo>
                  <a:lnTo>
                    <a:pt x="606" y="50"/>
                  </a:lnTo>
                  <a:lnTo>
                    <a:pt x="600" y="44"/>
                  </a:lnTo>
                  <a:lnTo>
                    <a:pt x="590" y="38"/>
                  </a:lnTo>
                  <a:lnTo>
                    <a:pt x="586" y="38"/>
                  </a:lnTo>
                  <a:lnTo>
                    <a:pt x="584" y="38"/>
                  </a:lnTo>
                  <a:lnTo>
                    <a:pt x="584" y="38"/>
                  </a:lnTo>
                  <a:lnTo>
                    <a:pt x="578" y="38"/>
                  </a:lnTo>
                  <a:lnTo>
                    <a:pt x="574" y="36"/>
                  </a:lnTo>
                  <a:lnTo>
                    <a:pt x="570" y="36"/>
                  </a:lnTo>
                  <a:lnTo>
                    <a:pt x="566" y="36"/>
                  </a:lnTo>
                  <a:lnTo>
                    <a:pt x="566" y="36"/>
                  </a:lnTo>
                  <a:lnTo>
                    <a:pt x="562" y="36"/>
                  </a:lnTo>
                  <a:lnTo>
                    <a:pt x="556" y="36"/>
                  </a:lnTo>
                  <a:lnTo>
                    <a:pt x="554" y="36"/>
                  </a:lnTo>
                  <a:lnTo>
                    <a:pt x="552" y="38"/>
                  </a:lnTo>
                  <a:lnTo>
                    <a:pt x="556" y="44"/>
                  </a:lnTo>
                  <a:lnTo>
                    <a:pt x="556" y="44"/>
                  </a:lnTo>
                  <a:lnTo>
                    <a:pt x="560" y="52"/>
                  </a:lnTo>
                  <a:lnTo>
                    <a:pt x="558" y="54"/>
                  </a:lnTo>
                  <a:lnTo>
                    <a:pt x="558" y="56"/>
                  </a:lnTo>
                  <a:lnTo>
                    <a:pt x="554" y="56"/>
                  </a:lnTo>
                  <a:lnTo>
                    <a:pt x="552" y="58"/>
                  </a:lnTo>
                  <a:lnTo>
                    <a:pt x="550" y="60"/>
                  </a:lnTo>
                  <a:lnTo>
                    <a:pt x="550" y="60"/>
                  </a:lnTo>
                  <a:lnTo>
                    <a:pt x="550" y="64"/>
                  </a:lnTo>
                  <a:lnTo>
                    <a:pt x="552" y="62"/>
                  </a:lnTo>
                  <a:lnTo>
                    <a:pt x="556" y="66"/>
                  </a:lnTo>
                  <a:lnTo>
                    <a:pt x="556" y="66"/>
                  </a:lnTo>
                  <a:lnTo>
                    <a:pt x="560" y="70"/>
                  </a:lnTo>
                  <a:lnTo>
                    <a:pt x="560" y="72"/>
                  </a:lnTo>
                  <a:lnTo>
                    <a:pt x="558" y="72"/>
                  </a:lnTo>
                  <a:lnTo>
                    <a:pt x="562" y="76"/>
                  </a:lnTo>
                  <a:lnTo>
                    <a:pt x="562" y="76"/>
                  </a:lnTo>
                  <a:lnTo>
                    <a:pt x="566" y="80"/>
                  </a:lnTo>
                  <a:lnTo>
                    <a:pt x="566" y="80"/>
                  </a:lnTo>
                  <a:lnTo>
                    <a:pt x="566" y="78"/>
                  </a:lnTo>
                  <a:lnTo>
                    <a:pt x="572" y="80"/>
                  </a:lnTo>
                  <a:lnTo>
                    <a:pt x="572" y="80"/>
                  </a:lnTo>
                  <a:lnTo>
                    <a:pt x="582" y="82"/>
                  </a:lnTo>
                  <a:lnTo>
                    <a:pt x="586" y="82"/>
                  </a:lnTo>
                  <a:lnTo>
                    <a:pt x="588" y="82"/>
                  </a:lnTo>
                  <a:lnTo>
                    <a:pt x="592" y="86"/>
                  </a:lnTo>
                  <a:lnTo>
                    <a:pt x="592" y="86"/>
                  </a:lnTo>
                  <a:lnTo>
                    <a:pt x="598" y="90"/>
                  </a:lnTo>
                  <a:lnTo>
                    <a:pt x="604" y="92"/>
                  </a:lnTo>
                  <a:lnTo>
                    <a:pt x="608" y="90"/>
                  </a:lnTo>
                  <a:lnTo>
                    <a:pt x="608" y="90"/>
                  </a:lnTo>
                  <a:lnTo>
                    <a:pt x="610" y="96"/>
                  </a:lnTo>
                  <a:lnTo>
                    <a:pt x="610" y="98"/>
                  </a:lnTo>
                  <a:lnTo>
                    <a:pt x="608" y="100"/>
                  </a:lnTo>
                  <a:lnTo>
                    <a:pt x="608" y="98"/>
                  </a:lnTo>
                  <a:lnTo>
                    <a:pt x="608" y="98"/>
                  </a:lnTo>
                  <a:lnTo>
                    <a:pt x="602" y="98"/>
                  </a:lnTo>
                  <a:lnTo>
                    <a:pt x="592" y="98"/>
                  </a:lnTo>
                  <a:lnTo>
                    <a:pt x="580" y="96"/>
                  </a:lnTo>
                  <a:lnTo>
                    <a:pt x="574" y="94"/>
                  </a:lnTo>
                  <a:lnTo>
                    <a:pt x="574" y="94"/>
                  </a:lnTo>
                  <a:lnTo>
                    <a:pt x="568" y="92"/>
                  </a:lnTo>
                  <a:lnTo>
                    <a:pt x="556" y="90"/>
                  </a:lnTo>
                  <a:lnTo>
                    <a:pt x="542" y="88"/>
                  </a:lnTo>
                  <a:lnTo>
                    <a:pt x="534" y="88"/>
                  </a:lnTo>
                  <a:lnTo>
                    <a:pt x="534" y="88"/>
                  </a:lnTo>
                  <a:lnTo>
                    <a:pt x="530" y="88"/>
                  </a:lnTo>
                  <a:lnTo>
                    <a:pt x="518" y="86"/>
                  </a:lnTo>
                  <a:lnTo>
                    <a:pt x="518" y="86"/>
                  </a:lnTo>
                  <a:lnTo>
                    <a:pt x="500" y="86"/>
                  </a:lnTo>
                  <a:lnTo>
                    <a:pt x="484" y="84"/>
                  </a:lnTo>
                  <a:lnTo>
                    <a:pt x="484" y="84"/>
                  </a:lnTo>
                  <a:lnTo>
                    <a:pt x="472" y="84"/>
                  </a:lnTo>
                  <a:lnTo>
                    <a:pt x="464" y="86"/>
                  </a:lnTo>
                  <a:lnTo>
                    <a:pt x="464" y="86"/>
                  </a:lnTo>
                  <a:lnTo>
                    <a:pt x="464" y="88"/>
                  </a:lnTo>
                  <a:lnTo>
                    <a:pt x="466" y="88"/>
                  </a:lnTo>
                  <a:lnTo>
                    <a:pt x="478" y="92"/>
                  </a:lnTo>
                  <a:lnTo>
                    <a:pt x="478" y="92"/>
                  </a:lnTo>
                  <a:lnTo>
                    <a:pt x="482" y="92"/>
                  </a:lnTo>
                  <a:lnTo>
                    <a:pt x="482" y="94"/>
                  </a:lnTo>
                  <a:lnTo>
                    <a:pt x="474" y="96"/>
                  </a:lnTo>
                  <a:lnTo>
                    <a:pt x="474" y="96"/>
                  </a:lnTo>
                  <a:lnTo>
                    <a:pt x="468" y="96"/>
                  </a:lnTo>
                  <a:lnTo>
                    <a:pt x="468" y="98"/>
                  </a:lnTo>
                  <a:lnTo>
                    <a:pt x="470" y="100"/>
                  </a:lnTo>
                  <a:lnTo>
                    <a:pt x="470" y="102"/>
                  </a:lnTo>
                  <a:lnTo>
                    <a:pt x="470" y="102"/>
                  </a:lnTo>
                  <a:lnTo>
                    <a:pt x="468" y="100"/>
                  </a:lnTo>
                  <a:lnTo>
                    <a:pt x="466" y="100"/>
                  </a:lnTo>
                  <a:lnTo>
                    <a:pt x="464" y="98"/>
                  </a:lnTo>
                  <a:lnTo>
                    <a:pt x="464" y="98"/>
                  </a:lnTo>
                  <a:lnTo>
                    <a:pt x="464" y="98"/>
                  </a:lnTo>
                  <a:lnTo>
                    <a:pt x="464" y="96"/>
                  </a:lnTo>
                  <a:lnTo>
                    <a:pt x="462" y="96"/>
                  </a:lnTo>
                  <a:lnTo>
                    <a:pt x="462" y="94"/>
                  </a:lnTo>
                  <a:lnTo>
                    <a:pt x="466" y="94"/>
                  </a:lnTo>
                  <a:lnTo>
                    <a:pt x="466" y="94"/>
                  </a:lnTo>
                  <a:lnTo>
                    <a:pt x="462" y="92"/>
                  </a:lnTo>
                  <a:lnTo>
                    <a:pt x="458" y="92"/>
                  </a:lnTo>
                  <a:lnTo>
                    <a:pt x="454" y="94"/>
                  </a:lnTo>
                  <a:lnTo>
                    <a:pt x="454" y="94"/>
                  </a:lnTo>
                  <a:lnTo>
                    <a:pt x="448" y="96"/>
                  </a:lnTo>
                  <a:lnTo>
                    <a:pt x="438" y="98"/>
                  </a:lnTo>
                  <a:lnTo>
                    <a:pt x="438" y="98"/>
                  </a:lnTo>
                  <a:lnTo>
                    <a:pt x="434" y="100"/>
                  </a:lnTo>
                  <a:lnTo>
                    <a:pt x="428" y="98"/>
                  </a:lnTo>
                  <a:lnTo>
                    <a:pt x="422" y="96"/>
                  </a:lnTo>
                  <a:lnTo>
                    <a:pt x="412" y="96"/>
                  </a:lnTo>
                  <a:lnTo>
                    <a:pt x="412" y="96"/>
                  </a:lnTo>
                  <a:lnTo>
                    <a:pt x="402" y="98"/>
                  </a:lnTo>
                  <a:lnTo>
                    <a:pt x="400" y="100"/>
                  </a:lnTo>
                  <a:lnTo>
                    <a:pt x="400" y="102"/>
                  </a:lnTo>
                  <a:lnTo>
                    <a:pt x="396" y="100"/>
                  </a:lnTo>
                  <a:lnTo>
                    <a:pt x="396" y="100"/>
                  </a:lnTo>
                  <a:lnTo>
                    <a:pt x="392" y="100"/>
                  </a:lnTo>
                  <a:lnTo>
                    <a:pt x="388" y="102"/>
                  </a:lnTo>
                  <a:lnTo>
                    <a:pt x="384" y="102"/>
                  </a:lnTo>
                  <a:lnTo>
                    <a:pt x="386" y="102"/>
                  </a:lnTo>
                  <a:lnTo>
                    <a:pt x="386" y="102"/>
                  </a:lnTo>
                  <a:lnTo>
                    <a:pt x="388" y="100"/>
                  </a:lnTo>
                  <a:lnTo>
                    <a:pt x="386" y="100"/>
                  </a:lnTo>
                  <a:lnTo>
                    <a:pt x="386" y="98"/>
                  </a:lnTo>
                  <a:lnTo>
                    <a:pt x="386" y="98"/>
                  </a:lnTo>
                  <a:lnTo>
                    <a:pt x="386" y="96"/>
                  </a:lnTo>
                  <a:lnTo>
                    <a:pt x="388" y="96"/>
                  </a:lnTo>
                  <a:lnTo>
                    <a:pt x="390" y="98"/>
                  </a:lnTo>
                  <a:lnTo>
                    <a:pt x="392" y="96"/>
                  </a:lnTo>
                  <a:lnTo>
                    <a:pt x="392" y="96"/>
                  </a:lnTo>
                  <a:lnTo>
                    <a:pt x="390" y="96"/>
                  </a:lnTo>
                  <a:lnTo>
                    <a:pt x="388" y="94"/>
                  </a:lnTo>
                  <a:lnTo>
                    <a:pt x="374" y="96"/>
                  </a:lnTo>
                  <a:lnTo>
                    <a:pt x="374" y="96"/>
                  </a:lnTo>
                  <a:lnTo>
                    <a:pt x="368" y="98"/>
                  </a:lnTo>
                  <a:lnTo>
                    <a:pt x="368" y="100"/>
                  </a:lnTo>
                  <a:lnTo>
                    <a:pt x="368" y="102"/>
                  </a:lnTo>
                  <a:lnTo>
                    <a:pt x="366" y="104"/>
                  </a:lnTo>
                  <a:lnTo>
                    <a:pt x="366" y="104"/>
                  </a:lnTo>
                  <a:lnTo>
                    <a:pt x="364" y="106"/>
                  </a:lnTo>
                  <a:lnTo>
                    <a:pt x="364" y="104"/>
                  </a:lnTo>
                  <a:lnTo>
                    <a:pt x="364" y="102"/>
                  </a:lnTo>
                  <a:lnTo>
                    <a:pt x="366" y="100"/>
                  </a:lnTo>
                  <a:lnTo>
                    <a:pt x="366" y="100"/>
                  </a:lnTo>
                  <a:lnTo>
                    <a:pt x="364" y="98"/>
                  </a:lnTo>
                  <a:lnTo>
                    <a:pt x="360" y="98"/>
                  </a:lnTo>
                  <a:lnTo>
                    <a:pt x="354" y="98"/>
                  </a:lnTo>
                  <a:lnTo>
                    <a:pt x="348" y="100"/>
                  </a:lnTo>
                  <a:lnTo>
                    <a:pt x="344" y="100"/>
                  </a:lnTo>
                  <a:lnTo>
                    <a:pt x="344" y="100"/>
                  </a:lnTo>
                  <a:lnTo>
                    <a:pt x="340" y="98"/>
                  </a:lnTo>
                  <a:lnTo>
                    <a:pt x="334" y="100"/>
                  </a:lnTo>
                  <a:lnTo>
                    <a:pt x="320" y="106"/>
                  </a:lnTo>
                  <a:lnTo>
                    <a:pt x="320" y="106"/>
                  </a:lnTo>
                  <a:lnTo>
                    <a:pt x="314" y="106"/>
                  </a:lnTo>
                  <a:lnTo>
                    <a:pt x="310" y="106"/>
                  </a:lnTo>
                  <a:lnTo>
                    <a:pt x="308" y="106"/>
                  </a:lnTo>
                  <a:lnTo>
                    <a:pt x="304" y="106"/>
                  </a:lnTo>
                  <a:lnTo>
                    <a:pt x="304" y="106"/>
                  </a:lnTo>
                  <a:lnTo>
                    <a:pt x="302" y="108"/>
                  </a:lnTo>
                  <a:lnTo>
                    <a:pt x="300" y="106"/>
                  </a:lnTo>
                  <a:lnTo>
                    <a:pt x="300" y="106"/>
                  </a:lnTo>
                  <a:lnTo>
                    <a:pt x="302" y="110"/>
                  </a:lnTo>
                  <a:lnTo>
                    <a:pt x="302" y="110"/>
                  </a:lnTo>
                  <a:lnTo>
                    <a:pt x="304" y="116"/>
                  </a:lnTo>
                  <a:lnTo>
                    <a:pt x="304" y="116"/>
                  </a:lnTo>
                  <a:lnTo>
                    <a:pt x="302" y="118"/>
                  </a:lnTo>
                  <a:lnTo>
                    <a:pt x="302" y="118"/>
                  </a:lnTo>
                  <a:lnTo>
                    <a:pt x="300" y="122"/>
                  </a:lnTo>
                  <a:lnTo>
                    <a:pt x="300" y="122"/>
                  </a:lnTo>
                  <a:lnTo>
                    <a:pt x="298" y="120"/>
                  </a:lnTo>
                  <a:lnTo>
                    <a:pt x="296" y="122"/>
                  </a:lnTo>
                  <a:lnTo>
                    <a:pt x="296" y="122"/>
                  </a:lnTo>
                  <a:lnTo>
                    <a:pt x="292" y="122"/>
                  </a:lnTo>
                  <a:lnTo>
                    <a:pt x="290" y="122"/>
                  </a:lnTo>
                  <a:lnTo>
                    <a:pt x="288" y="122"/>
                  </a:lnTo>
                  <a:lnTo>
                    <a:pt x="286" y="122"/>
                  </a:lnTo>
                  <a:lnTo>
                    <a:pt x="286" y="122"/>
                  </a:lnTo>
                  <a:lnTo>
                    <a:pt x="284" y="122"/>
                  </a:lnTo>
                  <a:lnTo>
                    <a:pt x="282" y="122"/>
                  </a:lnTo>
                  <a:lnTo>
                    <a:pt x="280" y="122"/>
                  </a:lnTo>
                  <a:lnTo>
                    <a:pt x="278" y="122"/>
                  </a:lnTo>
                  <a:lnTo>
                    <a:pt x="278" y="122"/>
                  </a:lnTo>
                  <a:lnTo>
                    <a:pt x="274" y="122"/>
                  </a:lnTo>
                  <a:lnTo>
                    <a:pt x="272" y="120"/>
                  </a:lnTo>
                  <a:lnTo>
                    <a:pt x="268" y="118"/>
                  </a:lnTo>
                  <a:lnTo>
                    <a:pt x="264" y="118"/>
                  </a:lnTo>
                  <a:lnTo>
                    <a:pt x="264" y="118"/>
                  </a:lnTo>
                  <a:lnTo>
                    <a:pt x="260" y="116"/>
                  </a:lnTo>
                  <a:lnTo>
                    <a:pt x="256" y="114"/>
                  </a:lnTo>
                  <a:lnTo>
                    <a:pt x="256" y="112"/>
                  </a:lnTo>
                  <a:lnTo>
                    <a:pt x="260" y="110"/>
                  </a:lnTo>
                  <a:lnTo>
                    <a:pt x="260" y="110"/>
                  </a:lnTo>
                  <a:lnTo>
                    <a:pt x="266" y="110"/>
                  </a:lnTo>
                  <a:lnTo>
                    <a:pt x="266" y="110"/>
                  </a:lnTo>
                  <a:lnTo>
                    <a:pt x="258" y="104"/>
                  </a:lnTo>
                  <a:lnTo>
                    <a:pt x="258" y="104"/>
                  </a:lnTo>
                  <a:lnTo>
                    <a:pt x="256" y="102"/>
                  </a:lnTo>
                  <a:lnTo>
                    <a:pt x="256" y="102"/>
                  </a:lnTo>
                  <a:lnTo>
                    <a:pt x="256" y="100"/>
                  </a:lnTo>
                  <a:lnTo>
                    <a:pt x="252" y="100"/>
                  </a:lnTo>
                  <a:lnTo>
                    <a:pt x="252" y="100"/>
                  </a:lnTo>
                  <a:lnTo>
                    <a:pt x="232" y="94"/>
                  </a:lnTo>
                  <a:lnTo>
                    <a:pt x="224" y="94"/>
                  </a:lnTo>
                  <a:lnTo>
                    <a:pt x="224" y="94"/>
                  </a:lnTo>
                  <a:lnTo>
                    <a:pt x="224" y="94"/>
                  </a:lnTo>
                  <a:lnTo>
                    <a:pt x="228" y="96"/>
                  </a:lnTo>
                  <a:lnTo>
                    <a:pt x="232" y="100"/>
                  </a:lnTo>
                  <a:lnTo>
                    <a:pt x="236" y="106"/>
                  </a:lnTo>
                  <a:lnTo>
                    <a:pt x="236" y="106"/>
                  </a:lnTo>
                  <a:lnTo>
                    <a:pt x="240" y="112"/>
                  </a:lnTo>
                  <a:lnTo>
                    <a:pt x="240" y="116"/>
                  </a:lnTo>
                  <a:lnTo>
                    <a:pt x="240" y="116"/>
                  </a:lnTo>
                  <a:lnTo>
                    <a:pt x="244" y="118"/>
                  </a:lnTo>
                  <a:lnTo>
                    <a:pt x="244" y="118"/>
                  </a:lnTo>
                  <a:lnTo>
                    <a:pt x="250" y="118"/>
                  </a:lnTo>
                  <a:lnTo>
                    <a:pt x="250" y="122"/>
                  </a:lnTo>
                  <a:lnTo>
                    <a:pt x="250" y="122"/>
                  </a:lnTo>
                  <a:lnTo>
                    <a:pt x="250" y="130"/>
                  </a:lnTo>
                  <a:lnTo>
                    <a:pt x="250" y="132"/>
                  </a:lnTo>
                  <a:lnTo>
                    <a:pt x="248" y="132"/>
                  </a:lnTo>
                  <a:lnTo>
                    <a:pt x="248" y="132"/>
                  </a:lnTo>
                  <a:lnTo>
                    <a:pt x="244" y="130"/>
                  </a:lnTo>
                  <a:lnTo>
                    <a:pt x="240" y="132"/>
                  </a:lnTo>
                  <a:lnTo>
                    <a:pt x="238" y="134"/>
                  </a:lnTo>
                  <a:lnTo>
                    <a:pt x="240" y="132"/>
                  </a:lnTo>
                  <a:lnTo>
                    <a:pt x="240" y="132"/>
                  </a:lnTo>
                  <a:lnTo>
                    <a:pt x="240" y="128"/>
                  </a:lnTo>
                  <a:lnTo>
                    <a:pt x="238" y="128"/>
                  </a:lnTo>
                  <a:lnTo>
                    <a:pt x="226" y="128"/>
                  </a:lnTo>
                  <a:lnTo>
                    <a:pt x="226" y="128"/>
                  </a:lnTo>
                  <a:lnTo>
                    <a:pt x="224" y="128"/>
                  </a:lnTo>
                  <a:lnTo>
                    <a:pt x="222" y="126"/>
                  </a:lnTo>
                  <a:lnTo>
                    <a:pt x="218" y="126"/>
                  </a:lnTo>
                  <a:lnTo>
                    <a:pt x="208" y="128"/>
                  </a:lnTo>
                  <a:lnTo>
                    <a:pt x="208" y="128"/>
                  </a:lnTo>
                  <a:lnTo>
                    <a:pt x="198" y="130"/>
                  </a:lnTo>
                  <a:lnTo>
                    <a:pt x="192" y="134"/>
                  </a:lnTo>
                  <a:lnTo>
                    <a:pt x="192" y="134"/>
                  </a:lnTo>
                  <a:lnTo>
                    <a:pt x="188" y="136"/>
                  </a:lnTo>
                  <a:lnTo>
                    <a:pt x="186" y="138"/>
                  </a:lnTo>
                  <a:lnTo>
                    <a:pt x="184" y="138"/>
                  </a:lnTo>
                  <a:lnTo>
                    <a:pt x="184" y="138"/>
                  </a:lnTo>
                  <a:lnTo>
                    <a:pt x="184" y="138"/>
                  </a:lnTo>
                  <a:lnTo>
                    <a:pt x="184" y="140"/>
                  </a:lnTo>
                  <a:lnTo>
                    <a:pt x="186" y="142"/>
                  </a:lnTo>
                  <a:lnTo>
                    <a:pt x="196" y="146"/>
                  </a:lnTo>
                  <a:lnTo>
                    <a:pt x="204" y="148"/>
                  </a:lnTo>
                  <a:lnTo>
                    <a:pt x="208" y="150"/>
                  </a:lnTo>
                  <a:lnTo>
                    <a:pt x="208" y="152"/>
                  </a:lnTo>
                  <a:lnTo>
                    <a:pt x="208" y="152"/>
                  </a:lnTo>
                  <a:lnTo>
                    <a:pt x="206" y="152"/>
                  </a:lnTo>
                  <a:lnTo>
                    <a:pt x="204" y="152"/>
                  </a:lnTo>
                  <a:lnTo>
                    <a:pt x="200" y="152"/>
                  </a:lnTo>
                  <a:lnTo>
                    <a:pt x="196" y="152"/>
                  </a:lnTo>
                  <a:lnTo>
                    <a:pt x="196" y="152"/>
                  </a:lnTo>
                  <a:lnTo>
                    <a:pt x="190" y="154"/>
                  </a:lnTo>
                  <a:lnTo>
                    <a:pt x="184" y="152"/>
                  </a:lnTo>
                  <a:lnTo>
                    <a:pt x="178" y="150"/>
                  </a:lnTo>
                  <a:lnTo>
                    <a:pt x="166" y="152"/>
                  </a:lnTo>
                  <a:lnTo>
                    <a:pt x="166" y="152"/>
                  </a:lnTo>
                  <a:lnTo>
                    <a:pt x="164" y="152"/>
                  </a:lnTo>
                  <a:lnTo>
                    <a:pt x="166" y="152"/>
                  </a:lnTo>
                  <a:lnTo>
                    <a:pt x="166" y="150"/>
                  </a:lnTo>
                  <a:lnTo>
                    <a:pt x="162" y="148"/>
                  </a:lnTo>
                  <a:lnTo>
                    <a:pt x="162" y="148"/>
                  </a:lnTo>
                  <a:lnTo>
                    <a:pt x="152" y="148"/>
                  </a:lnTo>
                  <a:lnTo>
                    <a:pt x="150" y="148"/>
                  </a:lnTo>
                  <a:lnTo>
                    <a:pt x="148" y="148"/>
                  </a:lnTo>
                  <a:lnTo>
                    <a:pt x="148" y="148"/>
                  </a:lnTo>
                  <a:lnTo>
                    <a:pt x="144" y="152"/>
                  </a:lnTo>
                  <a:lnTo>
                    <a:pt x="144" y="152"/>
                  </a:lnTo>
                  <a:lnTo>
                    <a:pt x="144" y="152"/>
                  </a:lnTo>
                  <a:lnTo>
                    <a:pt x="144" y="152"/>
                  </a:lnTo>
                  <a:lnTo>
                    <a:pt x="146" y="154"/>
                  </a:lnTo>
                  <a:lnTo>
                    <a:pt x="146" y="156"/>
                  </a:lnTo>
                  <a:lnTo>
                    <a:pt x="150" y="158"/>
                  </a:lnTo>
                  <a:lnTo>
                    <a:pt x="158" y="158"/>
                  </a:lnTo>
                  <a:lnTo>
                    <a:pt x="158" y="158"/>
                  </a:lnTo>
                  <a:lnTo>
                    <a:pt x="164" y="158"/>
                  </a:lnTo>
                  <a:lnTo>
                    <a:pt x="170" y="160"/>
                  </a:lnTo>
                  <a:lnTo>
                    <a:pt x="170" y="162"/>
                  </a:lnTo>
                  <a:lnTo>
                    <a:pt x="170" y="162"/>
                  </a:lnTo>
                  <a:lnTo>
                    <a:pt x="170" y="162"/>
                  </a:lnTo>
                  <a:lnTo>
                    <a:pt x="168" y="164"/>
                  </a:lnTo>
                  <a:lnTo>
                    <a:pt x="166" y="166"/>
                  </a:lnTo>
                  <a:lnTo>
                    <a:pt x="166" y="166"/>
                  </a:lnTo>
                  <a:lnTo>
                    <a:pt x="164" y="166"/>
                  </a:lnTo>
                  <a:lnTo>
                    <a:pt x="164" y="166"/>
                  </a:lnTo>
                  <a:lnTo>
                    <a:pt x="158" y="164"/>
                  </a:lnTo>
                  <a:lnTo>
                    <a:pt x="150" y="164"/>
                  </a:lnTo>
                  <a:lnTo>
                    <a:pt x="142" y="164"/>
                  </a:lnTo>
                  <a:lnTo>
                    <a:pt x="138" y="162"/>
                  </a:lnTo>
                  <a:lnTo>
                    <a:pt x="138" y="162"/>
                  </a:lnTo>
                  <a:lnTo>
                    <a:pt x="136" y="160"/>
                  </a:lnTo>
                  <a:lnTo>
                    <a:pt x="132" y="160"/>
                  </a:lnTo>
                  <a:lnTo>
                    <a:pt x="122" y="158"/>
                  </a:lnTo>
                  <a:lnTo>
                    <a:pt x="122" y="158"/>
                  </a:lnTo>
                  <a:lnTo>
                    <a:pt x="116" y="158"/>
                  </a:lnTo>
                  <a:lnTo>
                    <a:pt x="116" y="156"/>
                  </a:lnTo>
                  <a:lnTo>
                    <a:pt x="118" y="156"/>
                  </a:lnTo>
                  <a:lnTo>
                    <a:pt x="120" y="156"/>
                  </a:lnTo>
                  <a:lnTo>
                    <a:pt x="118" y="154"/>
                  </a:lnTo>
                  <a:lnTo>
                    <a:pt x="118" y="154"/>
                  </a:lnTo>
                  <a:lnTo>
                    <a:pt x="116" y="152"/>
                  </a:lnTo>
                  <a:lnTo>
                    <a:pt x="116" y="150"/>
                  </a:lnTo>
                  <a:lnTo>
                    <a:pt x="116" y="150"/>
                  </a:lnTo>
                  <a:lnTo>
                    <a:pt x="112" y="150"/>
                  </a:lnTo>
                  <a:lnTo>
                    <a:pt x="112" y="150"/>
                  </a:lnTo>
                  <a:lnTo>
                    <a:pt x="110" y="148"/>
                  </a:lnTo>
                  <a:lnTo>
                    <a:pt x="110" y="148"/>
                  </a:lnTo>
                  <a:lnTo>
                    <a:pt x="110" y="146"/>
                  </a:lnTo>
                  <a:lnTo>
                    <a:pt x="110" y="144"/>
                  </a:lnTo>
                  <a:lnTo>
                    <a:pt x="110" y="144"/>
                  </a:lnTo>
                  <a:lnTo>
                    <a:pt x="110" y="142"/>
                  </a:lnTo>
                  <a:lnTo>
                    <a:pt x="110" y="142"/>
                  </a:lnTo>
                  <a:lnTo>
                    <a:pt x="110" y="140"/>
                  </a:lnTo>
                  <a:lnTo>
                    <a:pt x="110" y="138"/>
                  </a:lnTo>
                  <a:lnTo>
                    <a:pt x="110" y="138"/>
                  </a:lnTo>
                  <a:lnTo>
                    <a:pt x="110" y="136"/>
                  </a:lnTo>
                  <a:lnTo>
                    <a:pt x="108" y="136"/>
                  </a:lnTo>
                  <a:lnTo>
                    <a:pt x="106" y="136"/>
                  </a:lnTo>
                  <a:lnTo>
                    <a:pt x="102" y="136"/>
                  </a:lnTo>
                  <a:lnTo>
                    <a:pt x="102" y="136"/>
                  </a:lnTo>
                  <a:lnTo>
                    <a:pt x="98" y="134"/>
                  </a:lnTo>
                  <a:lnTo>
                    <a:pt x="94" y="134"/>
                  </a:lnTo>
                  <a:lnTo>
                    <a:pt x="90" y="134"/>
                  </a:lnTo>
                  <a:lnTo>
                    <a:pt x="84" y="132"/>
                  </a:lnTo>
                  <a:lnTo>
                    <a:pt x="84" y="132"/>
                  </a:lnTo>
                  <a:lnTo>
                    <a:pt x="80" y="130"/>
                  </a:lnTo>
                  <a:lnTo>
                    <a:pt x="82" y="130"/>
                  </a:lnTo>
                  <a:lnTo>
                    <a:pt x="84" y="128"/>
                  </a:lnTo>
                  <a:lnTo>
                    <a:pt x="78" y="128"/>
                  </a:lnTo>
                  <a:lnTo>
                    <a:pt x="78" y="128"/>
                  </a:lnTo>
                  <a:lnTo>
                    <a:pt x="74" y="126"/>
                  </a:lnTo>
                  <a:lnTo>
                    <a:pt x="74" y="126"/>
                  </a:lnTo>
                  <a:lnTo>
                    <a:pt x="74" y="126"/>
                  </a:lnTo>
                  <a:lnTo>
                    <a:pt x="72" y="124"/>
                  </a:lnTo>
                  <a:lnTo>
                    <a:pt x="66" y="124"/>
                  </a:lnTo>
                  <a:lnTo>
                    <a:pt x="60" y="122"/>
                  </a:lnTo>
                  <a:lnTo>
                    <a:pt x="58" y="122"/>
                  </a:lnTo>
                  <a:lnTo>
                    <a:pt x="56" y="120"/>
                  </a:lnTo>
                  <a:lnTo>
                    <a:pt x="56" y="120"/>
                  </a:lnTo>
                  <a:lnTo>
                    <a:pt x="56" y="118"/>
                  </a:lnTo>
                  <a:lnTo>
                    <a:pt x="58" y="120"/>
                  </a:lnTo>
                  <a:lnTo>
                    <a:pt x="60" y="120"/>
                  </a:lnTo>
                  <a:lnTo>
                    <a:pt x="64" y="120"/>
                  </a:lnTo>
                  <a:lnTo>
                    <a:pt x="64" y="120"/>
                  </a:lnTo>
                  <a:lnTo>
                    <a:pt x="68" y="120"/>
                  </a:lnTo>
                  <a:lnTo>
                    <a:pt x="72" y="120"/>
                  </a:lnTo>
                  <a:lnTo>
                    <a:pt x="74" y="122"/>
                  </a:lnTo>
                  <a:lnTo>
                    <a:pt x="76" y="122"/>
                  </a:lnTo>
                  <a:lnTo>
                    <a:pt x="76" y="122"/>
                  </a:lnTo>
                  <a:lnTo>
                    <a:pt x="78" y="120"/>
                  </a:lnTo>
                  <a:lnTo>
                    <a:pt x="80" y="122"/>
                  </a:lnTo>
                  <a:lnTo>
                    <a:pt x="80" y="122"/>
                  </a:lnTo>
                  <a:lnTo>
                    <a:pt x="82" y="122"/>
                  </a:lnTo>
                  <a:lnTo>
                    <a:pt x="82" y="122"/>
                  </a:lnTo>
                  <a:lnTo>
                    <a:pt x="86" y="122"/>
                  </a:lnTo>
                  <a:lnTo>
                    <a:pt x="88" y="124"/>
                  </a:lnTo>
                  <a:lnTo>
                    <a:pt x="90" y="124"/>
                  </a:lnTo>
                  <a:lnTo>
                    <a:pt x="92" y="124"/>
                  </a:lnTo>
                  <a:lnTo>
                    <a:pt x="92" y="124"/>
                  </a:lnTo>
                  <a:lnTo>
                    <a:pt x="96" y="122"/>
                  </a:lnTo>
                  <a:lnTo>
                    <a:pt x="98" y="126"/>
                  </a:lnTo>
                  <a:lnTo>
                    <a:pt x="102" y="126"/>
                  </a:lnTo>
                  <a:lnTo>
                    <a:pt x="108" y="128"/>
                  </a:lnTo>
                  <a:lnTo>
                    <a:pt x="118" y="130"/>
                  </a:lnTo>
                  <a:lnTo>
                    <a:pt x="134" y="130"/>
                  </a:lnTo>
                  <a:lnTo>
                    <a:pt x="134" y="130"/>
                  </a:lnTo>
                  <a:lnTo>
                    <a:pt x="156" y="132"/>
                  </a:lnTo>
                  <a:lnTo>
                    <a:pt x="168" y="134"/>
                  </a:lnTo>
                  <a:lnTo>
                    <a:pt x="178" y="134"/>
                  </a:lnTo>
                  <a:lnTo>
                    <a:pt x="178" y="134"/>
                  </a:lnTo>
                  <a:lnTo>
                    <a:pt x="186" y="132"/>
                  </a:lnTo>
                  <a:lnTo>
                    <a:pt x="192" y="128"/>
                  </a:lnTo>
                  <a:lnTo>
                    <a:pt x="198" y="124"/>
                  </a:lnTo>
                  <a:lnTo>
                    <a:pt x="198" y="124"/>
                  </a:lnTo>
                  <a:lnTo>
                    <a:pt x="200" y="122"/>
                  </a:lnTo>
                  <a:lnTo>
                    <a:pt x="200" y="122"/>
                  </a:lnTo>
                  <a:lnTo>
                    <a:pt x="200" y="120"/>
                  </a:lnTo>
                  <a:lnTo>
                    <a:pt x="200" y="120"/>
                  </a:lnTo>
                  <a:lnTo>
                    <a:pt x="200" y="120"/>
                  </a:lnTo>
                  <a:lnTo>
                    <a:pt x="200" y="120"/>
                  </a:lnTo>
                  <a:lnTo>
                    <a:pt x="200" y="118"/>
                  </a:lnTo>
                  <a:lnTo>
                    <a:pt x="196" y="114"/>
                  </a:lnTo>
                  <a:lnTo>
                    <a:pt x="190" y="110"/>
                  </a:lnTo>
                  <a:lnTo>
                    <a:pt x="190" y="110"/>
                  </a:lnTo>
                  <a:lnTo>
                    <a:pt x="186" y="110"/>
                  </a:lnTo>
                  <a:lnTo>
                    <a:pt x="184" y="108"/>
                  </a:lnTo>
                  <a:lnTo>
                    <a:pt x="182" y="108"/>
                  </a:lnTo>
                  <a:lnTo>
                    <a:pt x="182" y="108"/>
                  </a:lnTo>
                  <a:lnTo>
                    <a:pt x="178" y="106"/>
                  </a:lnTo>
                  <a:lnTo>
                    <a:pt x="170" y="104"/>
                  </a:lnTo>
                  <a:lnTo>
                    <a:pt x="162" y="102"/>
                  </a:lnTo>
                  <a:lnTo>
                    <a:pt x="154" y="102"/>
                  </a:lnTo>
                  <a:lnTo>
                    <a:pt x="154" y="102"/>
                  </a:lnTo>
                  <a:lnTo>
                    <a:pt x="150" y="102"/>
                  </a:lnTo>
                  <a:lnTo>
                    <a:pt x="144" y="102"/>
                  </a:lnTo>
                  <a:lnTo>
                    <a:pt x="132" y="98"/>
                  </a:lnTo>
                  <a:lnTo>
                    <a:pt x="122" y="96"/>
                  </a:lnTo>
                  <a:lnTo>
                    <a:pt x="116" y="94"/>
                  </a:lnTo>
                  <a:lnTo>
                    <a:pt x="114" y="96"/>
                  </a:lnTo>
                  <a:lnTo>
                    <a:pt x="114" y="96"/>
                  </a:lnTo>
                  <a:lnTo>
                    <a:pt x="110" y="96"/>
                  </a:lnTo>
                  <a:lnTo>
                    <a:pt x="106" y="96"/>
                  </a:lnTo>
                  <a:lnTo>
                    <a:pt x="94" y="92"/>
                  </a:lnTo>
                  <a:lnTo>
                    <a:pt x="84" y="90"/>
                  </a:lnTo>
                  <a:lnTo>
                    <a:pt x="74" y="90"/>
                  </a:lnTo>
                  <a:lnTo>
                    <a:pt x="74" y="90"/>
                  </a:lnTo>
                  <a:lnTo>
                    <a:pt x="56" y="90"/>
                  </a:lnTo>
                  <a:lnTo>
                    <a:pt x="56" y="90"/>
                  </a:lnTo>
                  <a:lnTo>
                    <a:pt x="52" y="92"/>
                  </a:lnTo>
                  <a:lnTo>
                    <a:pt x="48" y="90"/>
                  </a:lnTo>
                  <a:lnTo>
                    <a:pt x="48" y="90"/>
                  </a:lnTo>
                  <a:lnTo>
                    <a:pt x="40" y="90"/>
                  </a:lnTo>
                  <a:lnTo>
                    <a:pt x="32" y="88"/>
                  </a:lnTo>
                  <a:lnTo>
                    <a:pt x="32" y="88"/>
                  </a:lnTo>
                  <a:lnTo>
                    <a:pt x="36" y="88"/>
                  </a:lnTo>
                  <a:lnTo>
                    <a:pt x="42" y="88"/>
                  </a:lnTo>
                  <a:lnTo>
                    <a:pt x="44" y="86"/>
                  </a:lnTo>
                  <a:lnTo>
                    <a:pt x="44" y="86"/>
                  </a:lnTo>
                  <a:lnTo>
                    <a:pt x="34" y="84"/>
                  </a:lnTo>
                  <a:lnTo>
                    <a:pt x="30" y="84"/>
                  </a:lnTo>
                  <a:lnTo>
                    <a:pt x="28" y="84"/>
                  </a:lnTo>
                  <a:lnTo>
                    <a:pt x="28" y="86"/>
                  </a:lnTo>
                  <a:lnTo>
                    <a:pt x="28" y="86"/>
                  </a:lnTo>
                  <a:lnTo>
                    <a:pt x="28" y="88"/>
                  </a:lnTo>
                  <a:lnTo>
                    <a:pt x="24" y="86"/>
                  </a:lnTo>
                  <a:lnTo>
                    <a:pt x="20" y="86"/>
                  </a:lnTo>
                  <a:lnTo>
                    <a:pt x="14" y="86"/>
                  </a:lnTo>
                  <a:lnTo>
                    <a:pt x="14" y="86"/>
                  </a:lnTo>
                  <a:lnTo>
                    <a:pt x="14" y="90"/>
                  </a:lnTo>
                  <a:lnTo>
                    <a:pt x="12" y="90"/>
                  </a:lnTo>
                  <a:lnTo>
                    <a:pt x="10" y="90"/>
                  </a:lnTo>
                  <a:lnTo>
                    <a:pt x="8" y="90"/>
                  </a:lnTo>
                  <a:lnTo>
                    <a:pt x="8" y="90"/>
                  </a:lnTo>
                  <a:lnTo>
                    <a:pt x="4" y="96"/>
                  </a:lnTo>
                  <a:lnTo>
                    <a:pt x="2" y="100"/>
                  </a:lnTo>
                  <a:lnTo>
                    <a:pt x="0" y="104"/>
                  </a:lnTo>
                  <a:lnTo>
                    <a:pt x="0" y="104"/>
                  </a:lnTo>
                  <a:lnTo>
                    <a:pt x="4" y="108"/>
                  </a:lnTo>
                  <a:lnTo>
                    <a:pt x="6" y="108"/>
                  </a:lnTo>
                  <a:lnTo>
                    <a:pt x="8" y="108"/>
                  </a:lnTo>
                  <a:lnTo>
                    <a:pt x="12" y="112"/>
                  </a:lnTo>
                  <a:lnTo>
                    <a:pt x="12" y="112"/>
                  </a:lnTo>
                  <a:lnTo>
                    <a:pt x="16" y="116"/>
                  </a:lnTo>
                  <a:lnTo>
                    <a:pt x="16" y="118"/>
                  </a:lnTo>
                  <a:lnTo>
                    <a:pt x="16" y="122"/>
                  </a:lnTo>
                  <a:lnTo>
                    <a:pt x="16" y="124"/>
                  </a:lnTo>
                  <a:lnTo>
                    <a:pt x="16" y="126"/>
                  </a:lnTo>
                  <a:lnTo>
                    <a:pt x="24" y="132"/>
                  </a:lnTo>
                  <a:lnTo>
                    <a:pt x="24" y="132"/>
                  </a:lnTo>
                  <a:lnTo>
                    <a:pt x="32" y="138"/>
                  </a:lnTo>
                  <a:lnTo>
                    <a:pt x="34" y="142"/>
                  </a:lnTo>
                  <a:lnTo>
                    <a:pt x="34" y="144"/>
                  </a:lnTo>
                  <a:lnTo>
                    <a:pt x="32" y="144"/>
                  </a:lnTo>
                  <a:lnTo>
                    <a:pt x="32" y="144"/>
                  </a:lnTo>
                  <a:lnTo>
                    <a:pt x="30" y="146"/>
                  </a:lnTo>
                  <a:lnTo>
                    <a:pt x="32" y="148"/>
                  </a:lnTo>
                  <a:lnTo>
                    <a:pt x="34" y="152"/>
                  </a:lnTo>
                  <a:lnTo>
                    <a:pt x="38" y="154"/>
                  </a:lnTo>
                  <a:lnTo>
                    <a:pt x="38" y="154"/>
                  </a:lnTo>
                  <a:lnTo>
                    <a:pt x="40" y="156"/>
                  </a:lnTo>
                  <a:lnTo>
                    <a:pt x="36" y="158"/>
                  </a:lnTo>
                  <a:lnTo>
                    <a:pt x="36" y="160"/>
                  </a:lnTo>
                  <a:lnTo>
                    <a:pt x="38" y="162"/>
                  </a:lnTo>
                  <a:lnTo>
                    <a:pt x="38" y="162"/>
                  </a:lnTo>
                  <a:lnTo>
                    <a:pt x="46" y="166"/>
                  </a:lnTo>
                  <a:lnTo>
                    <a:pt x="48" y="168"/>
                  </a:lnTo>
                  <a:lnTo>
                    <a:pt x="48" y="170"/>
                  </a:lnTo>
                  <a:lnTo>
                    <a:pt x="46" y="172"/>
                  </a:lnTo>
                  <a:lnTo>
                    <a:pt x="44" y="172"/>
                  </a:lnTo>
                  <a:lnTo>
                    <a:pt x="44" y="174"/>
                  </a:lnTo>
                  <a:lnTo>
                    <a:pt x="54" y="178"/>
                  </a:lnTo>
                  <a:lnTo>
                    <a:pt x="54" y="178"/>
                  </a:lnTo>
                  <a:lnTo>
                    <a:pt x="62" y="182"/>
                  </a:lnTo>
                  <a:lnTo>
                    <a:pt x="62" y="186"/>
                  </a:lnTo>
                  <a:lnTo>
                    <a:pt x="60" y="190"/>
                  </a:lnTo>
                  <a:lnTo>
                    <a:pt x="56" y="194"/>
                  </a:lnTo>
                  <a:lnTo>
                    <a:pt x="56" y="194"/>
                  </a:lnTo>
                  <a:lnTo>
                    <a:pt x="54" y="196"/>
                  </a:lnTo>
                  <a:lnTo>
                    <a:pt x="54" y="198"/>
                  </a:lnTo>
                  <a:lnTo>
                    <a:pt x="54" y="200"/>
                  </a:lnTo>
                  <a:lnTo>
                    <a:pt x="52" y="200"/>
                  </a:lnTo>
                  <a:lnTo>
                    <a:pt x="52" y="200"/>
                  </a:lnTo>
                  <a:lnTo>
                    <a:pt x="48" y="200"/>
                  </a:lnTo>
                  <a:lnTo>
                    <a:pt x="46" y="204"/>
                  </a:lnTo>
                  <a:lnTo>
                    <a:pt x="42" y="208"/>
                  </a:lnTo>
                  <a:lnTo>
                    <a:pt x="34" y="212"/>
                  </a:lnTo>
                  <a:lnTo>
                    <a:pt x="34" y="212"/>
                  </a:lnTo>
                  <a:lnTo>
                    <a:pt x="26" y="218"/>
                  </a:lnTo>
                  <a:lnTo>
                    <a:pt x="22" y="220"/>
                  </a:lnTo>
                  <a:lnTo>
                    <a:pt x="22" y="224"/>
                  </a:lnTo>
                  <a:lnTo>
                    <a:pt x="22" y="224"/>
                  </a:lnTo>
                  <a:lnTo>
                    <a:pt x="28" y="222"/>
                  </a:lnTo>
                  <a:lnTo>
                    <a:pt x="30" y="222"/>
                  </a:lnTo>
                  <a:lnTo>
                    <a:pt x="28" y="224"/>
                  </a:lnTo>
                  <a:lnTo>
                    <a:pt x="28" y="224"/>
                  </a:lnTo>
                  <a:lnTo>
                    <a:pt x="26" y="224"/>
                  </a:lnTo>
                  <a:lnTo>
                    <a:pt x="30" y="226"/>
                  </a:lnTo>
                  <a:lnTo>
                    <a:pt x="38" y="226"/>
                  </a:lnTo>
                  <a:lnTo>
                    <a:pt x="38" y="226"/>
                  </a:lnTo>
                  <a:lnTo>
                    <a:pt x="42" y="226"/>
                  </a:lnTo>
                  <a:lnTo>
                    <a:pt x="44" y="228"/>
                  </a:lnTo>
                  <a:lnTo>
                    <a:pt x="48" y="230"/>
                  </a:lnTo>
                  <a:lnTo>
                    <a:pt x="52" y="230"/>
                  </a:lnTo>
                  <a:lnTo>
                    <a:pt x="52" y="230"/>
                  </a:lnTo>
                  <a:lnTo>
                    <a:pt x="56" y="230"/>
                  </a:lnTo>
                  <a:lnTo>
                    <a:pt x="58" y="230"/>
                  </a:lnTo>
                  <a:lnTo>
                    <a:pt x="64" y="230"/>
                  </a:lnTo>
                  <a:lnTo>
                    <a:pt x="64" y="230"/>
                  </a:lnTo>
                  <a:lnTo>
                    <a:pt x="64" y="232"/>
                  </a:lnTo>
                  <a:lnTo>
                    <a:pt x="64" y="234"/>
                  </a:lnTo>
                  <a:lnTo>
                    <a:pt x="62" y="236"/>
                  </a:lnTo>
                  <a:lnTo>
                    <a:pt x="58" y="236"/>
                  </a:lnTo>
                  <a:lnTo>
                    <a:pt x="58" y="236"/>
                  </a:lnTo>
                  <a:lnTo>
                    <a:pt x="48" y="234"/>
                  </a:lnTo>
                  <a:lnTo>
                    <a:pt x="46" y="234"/>
                  </a:lnTo>
                  <a:lnTo>
                    <a:pt x="44" y="236"/>
                  </a:lnTo>
                  <a:lnTo>
                    <a:pt x="44" y="236"/>
                  </a:lnTo>
                  <a:lnTo>
                    <a:pt x="42" y="240"/>
                  </a:lnTo>
                  <a:lnTo>
                    <a:pt x="38" y="238"/>
                  </a:lnTo>
                  <a:lnTo>
                    <a:pt x="36" y="238"/>
                  </a:lnTo>
                  <a:lnTo>
                    <a:pt x="34" y="240"/>
                  </a:lnTo>
                  <a:lnTo>
                    <a:pt x="34" y="240"/>
                  </a:lnTo>
                  <a:lnTo>
                    <a:pt x="34" y="242"/>
                  </a:lnTo>
                  <a:lnTo>
                    <a:pt x="32" y="242"/>
                  </a:lnTo>
                  <a:lnTo>
                    <a:pt x="30" y="240"/>
                  </a:lnTo>
                  <a:lnTo>
                    <a:pt x="28" y="240"/>
                  </a:lnTo>
                  <a:lnTo>
                    <a:pt x="28" y="240"/>
                  </a:lnTo>
                  <a:lnTo>
                    <a:pt x="28" y="240"/>
                  </a:lnTo>
                  <a:lnTo>
                    <a:pt x="28" y="242"/>
                  </a:lnTo>
                  <a:lnTo>
                    <a:pt x="30" y="242"/>
                  </a:lnTo>
                  <a:lnTo>
                    <a:pt x="28" y="244"/>
                  </a:lnTo>
                  <a:lnTo>
                    <a:pt x="28" y="244"/>
                  </a:lnTo>
                  <a:lnTo>
                    <a:pt x="32" y="246"/>
                  </a:lnTo>
                  <a:lnTo>
                    <a:pt x="32" y="248"/>
                  </a:lnTo>
                  <a:lnTo>
                    <a:pt x="30" y="252"/>
                  </a:lnTo>
                  <a:lnTo>
                    <a:pt x="30" y="266"/>
                  </a:lnTo>
                  <a:lnTo>
                    <a:pt x="30" y="266"/>
                  </a:lnTo>
                  <a:lnTo>
                    <a:pt x="28" y="270"/>
                  </a:lnTo>
                  <a:lnTo>
                    <a:pt x="30" y="270"/>
                  </a:lnTo>
                  <a:lnTo>
                    <a:pt x="32" y="270"/>
                  </a:lnTo>
                  <a:lnTo>
                    <a:pt x="32" y="274"/>
                  </a:lnTo>
                  <a:lnTo>
                    <a:pt x="32" y="274"/>
                  </a:lnTo>
                  <a:lnTo>
                    <a:pt x="30" y="278"/>
                  </a:lnTo>
                  <a:lnTo>
                    <a:pt x="32" y="278"/>
                  </a:lnTo>
                  <a:lnTo>
                    <a:pt x="34" y="280"/>
                  </a:lnTo>
                  <a:lnTo>
                    <a:pt x="36" y="286"/>
                  </a:lnTo>
                  <a:lnTo>
                    <a:pt x="36" y="286"/>
                  </a:lnTo>
                  <a:lnTo>
                    <a:pt x="40" y="288"/>
                  </a:lnTo>
                  <a:lnTo>
                    <a:pt x="48" y="288"/>
                  </a:lnTo>
                  <a:lnTo>
                    <a:pt x="56" y="288"/>
                  </a:lnTo>
                  <a:lnTo>
                    <a:pt x="58" y="290"/>
                  </a:lnTo>
                  <a:lnTo>
                    <a:pt x="58" y="290"/>
                  </a:lnTo>
                  <a:lnTo>
                    <a:pt x="58" y="290"/>
                  </a:lnTo>
                  <a:lnTo>
                    <a:pt x="60" y="292"/>
                  </a:lnTo>
                  <a:lnTo>
                    <a:pt x="60" y="292"/>
                  </a:lnTo>
                  <a:lnTo>
                    <a:pt x="64" y="290"/>
                  </a:lnTo>
                  <a:lnTo>
                    <a:pt x="72" y="284"/>
                  </a:lnTo>
                  <a:lnTo>
                    <a:pt x="72" y="284"/>
                  </a:lnTo>
                  <a:lnTo>
                    <a:pt x="74" y="284"/>
                  </a:lnTo>
                  <a:lnTo>
                    <a:pt x="78" y="286"/>
                  </a:lnTo>
                  <a:lnTo>
                    <a:pt x="82" y="288"/>
                  </a:lnTo>
                  <a:lnTo>
                    <a:pt x="82" y="288"/>
                  </a:lnTo>
                  <a:lnTo>
                    <a:pt x="86" y="290"/>
                  </a:lnTo>
                  <a:lnTo>
                    <a:pt x="86" y="292"/>
                  </a:lnTo>
                  <a:lnTo>
                    <a:pt x="84" y="294"/>
                  </a:lnTo>
                  <a:lnTo>
                    <a:pt x="84" y="296"/>
                  </a:lnTo>
                  <a:lnTo>
                    <a:pt x="88" y="300"/>
                  </a:lnTo>
                  <a:lnTo>
                    <a:pt x="88" y="300"/>
                  </a:lnTo>
                  <a:lnTo>
                    <a:pt x="92" y="302"/>
                  </a:lnTo>
                  <a:lnTo>
                    <a:pt x="92" y="306"/>
                  </a:lnTo>
                  <a:lnTo>
                    <a:pt x="92" y="306"/>
                  </a:lnTo>
                  <a:lnTo>
                    <a:pt x="92" y="306"/>
                  </a:lnTo>
                  <a:lnTo>
                    <a:pt x="94" y="308"/>
                  </a:lnTo>
                  <a:lnTo>
                    <a:pt x="108" y="314"/>
                  </a:lnTo>
                  <a:lnTo>
                    <a:pt x="108" y="314"/>
                  </a:lnTo>
                  <a:lnTo>
                    <a:pt x="112" y="314"/>
                  </a:lnTo>
                  <a:lnTo>
                    <a:pt x="116" y="314"/>
                  </a:lnTo>
                  <a:lnTo>
                    <a:pt x="116" y="314"/>
                  </a:lnTo>
                  <a:lnTo>
                    <a:pt x="120" y="316"/>
                  </a:lnTo>
                  <a:lnTo>
                    <a:pt x="120" y="318"/>
                  </a:lnTo>
                  <a:lnTo>
                    <a:pt x="118" y="318"/>
                  </a:lnTo>
                  <a:lnTo>
                    <a:pt x="122" y="320"/>
                  </a:lnTo>
                  <a:lnTo>
                    <a:pt x="122" y="320"/>
                  </a:lnTo>
                  <a:lnTo>
                    <a:pt x="126" y="320"/>
                  </a:lnTo>
                  <a:lnTo>
                    <a:pt x="130" y="320"/>
                  </a:lnTo>
                  <a:lnTo>
                    <a:pt x="130" y="320"/>
                  </a:lnTo>
                  <a:lnTo>
                    <a:pt x="134" y="324"/>
                  </a:lnTo>
                  <a:lnTo>
                    <a:pt x="136" y="324"/>
                  </a:lnTo>
                  <a:lnTo>
                    <a:pt x="140" y="326"/>
                  </a:lnTo>
                  <a:lnTo>
                    <a:pt x="140" y="326"/>
                  </a:lnTo>
                  <a:lnTo>
                    <a:pt x="142" y="328"/>
                  </a:lnTo>
                  <a:lnTo>
                    <a:pt x="144" y="330"/>
                  </a:lnTo>
                  <a:lnTo>
                    <a:pt x="142" y="334"/>
                  </a:lnTo>
                  <a:lnTo>
                    <a:pt x="136" y="336"/>
                  </a:lnTo>
                  <a:lnTo>
                    <a:pt x="136" y="336"/>
                  </a:lnTo>
                  <a:lnTo>
                    <a:pt x="128" y="338"/>
                  </a:lnTo>
                  <a:lnTo>
                    <a:pt x="124" y="338"/>
                  </a:lnTo>
                  <a:lnTo>
                    <a:pt x="120" y="336"/>
                  </a:lnTo>
                  <a:lnTo>
                    <a:pt x="120" y="336"/>
                  </a:lnTo>
                  <a:lnTo>
                    <a:pt x="116" y="334"/>
                  </a:lnTo>
                  <a:lnTo>
                    <a:pt x="114" y="334"/>
                  </a:lnTo>
                  <a:lnTo>
                    <a:pt x="112" y="336"/>
                  </a:lnTo>
                  <a:lnTo>
                    <a:pt x="112" y="338"/>
                  </a:lnTo>
                  <a:lnTo>
                    <a:pt x="112" y="342"/>
                  </a:lnTo>
                  <a:lnTo>
                    <a:pt x="122" y="354"/>
                  </a:lnTo>
                  <a:lnTo>
                    <a:pt x="122" y="354"/>
                  </a:lnTo>
                  <a:lnTo>
                    <a:pt x="124" y="354"/>
                  </a:lnTo>
                  <a:lnTo>
                    <a:pt x="126" y="352"/>
                  </a:lnTo>
                  <a:lnTo>
                    <a:pt x="130" y="352"/>
                  </a:lnTo>
                  <a:lnTo>
                    <a:pt x="142" y="352"/>
                  </a:lnTo>
                  <a:lnTo>
                    <a:pt x="142" y="352"/>
                  </a:lnTo>
                  <a:lnTo>
                    <a:pt x="156" y="352"/>
                  </a:lnTo>
                  <a:lnTo>
                    <a:pt x="160" y="354"/>
                  </a:lnTo>
                  <a:lnTo>
                    <a:pt x="160" y="356"/>
                  </a:lnTo>
                  <a:lnTo>
                    <a:pt x="164" y="358"/>
                  </a:lnTo>
                  <a:lnTo>
                    <a:pt x="164" y="358"/>
                  </a:lnTo>
                  <a:lnTo>
                    <a:pt x="168" y="358"/>
                  </a:lnTo>
                  <a:lnTo>
                    <a:pt x="168" y="362"/>
                  </a:lnTo>
                  <a:lnTo>
                    <a:pt x="166" y="368"/>
                  </a:lnTo>
                  <a:lnTo>
                    <a:pt x="164" y="372"/>
                  </a:lnTo>
                  <a:lnTo>
                    <a:pt x="166" y="372"/>
                  </a:lnTo>
                  <a:lnTo>
                    <a:pt x="170" y="372"/>
                  </a:lnTo>
                  <a:lnTo>
                    <a:pt x="170" y="372"/>
                  </a:lnTo>
                  <a:lnTo>
                    <a:pt x="182" y="372"/>
                  </a:lnTo>
                  <a:lnTo>
                    <a:pt x="182" y="374"/>
                  </a:lnTo>
                  <a:lnTo>
                    <a:pt x="188" y="378"/>
                  </a:lnTo>
                  <a:lnTo>
                    <a:pt x="188" y="378"/>
                  </a:lnTo>
                  <a:lnTo>
                    <a:pt x="192" y="380"/>
                  </a:lnTo>
                  <a:lnTo>
                    <a:pt x="194" y="384"/>
                  </a:lnTo>
                  <a:lnTo>
                    <a:pt x="194" y="386"/>
                  </a:lnTo>
                  <a:lnTo>
                    <a:pt x="194" y="388"/>
                  </a:lnTo>
                  <a:lnTo>
                    <a:pt x="192" y="392"/>
                  </a:lnTo>
                  <a:lnTo>
                    <a:pt x="192" y="392"/>
                  </a:lnTo>
                  <a:lnTo>
                    <a:pt x="196" y="394"/>
                  </a:lnTo>
                  <a:lnTo>
                    <a:pt x="196" y="394"/>
                  </a:lnTo>
                  <a:lnTo>
                    <a:pt x="206" y="398"/>
                  </a:lnTo>
                  <a:lnTo>
                    <a:pt x="208" y="402"/>
                  </a:lnTo>
                  <a:lnTo>
                    <a:pt x="212" y="402"/>
                  </a:lnTo>
                  <a:lnTo>
                    <a:pt x="220" y="398"/>
                  </a:lnTo>
                  <a:lnTo>
                    <a:pt x="220" y="398"/>
                  </a:lnTo>
                  <a:lnTo>
                    <a:pt x="226" y="396"/>
                  </a:lnTo>
                  <a:lnTo>
                    <a:pt x="228" y="396"/>
                  </a:lnTo>
                  <a:lnTo>
                    <a:pt x="234" y="398"/>
                  </a:lnTo>
                  <a:lnTo>
                    <a:pt x="242" y="404"/>
                  </a:lnTo>
                  <a:lnTo>
                    <a:pt x="246" y="406"/>
                  </a:lnTo>
                  <a:lnTo>
                    <a:pt x="252" y="406"/>
                  </a:lnTo>
                  <a:lnTo>
                    <a:pt x="252" y="406"/>
                  </a:lnTo>
                  <a:lnTo>
                    <a:pt x="260" y="406"/>
                  </a:lnTo>
                  <a:lnTo>
                    <a:pt x="264" y="408"/>
                  </a:lnTo>
                  <a:lnTo>
                    <a:pt x="268" y="410"/>
                  </a:lnTo>
                  <a:lnTo>
                    <a:pt x="278" y="410"/>
                  </a:lnTo>
                  <a:lnTo>
                    <a:pt x="278" y="410"/>
                  </a:lnTo>
                  <a:lnTo>
                    <a:pt x="284" y="412"/>
                  </a:lnTo>
                  <a:lnTo>
                    <a:pt x="284" y="412"/>
                  </a:lnTo>
                  <a:lnTo>
                    <a:pt x="280" y="418"/>
                  </a:lnTo>
                  <a:lnTo>
                    <a:pt x="276" y="422"/>
                  </a:lnTo>
                  <a:lnTo>
                    <a:pt x="274" y="422"/>
                  </a:lnTo>
                  <a:lnTo>
                    <a:pt x="278" y="424"/>
                  </a:lnTo>
                  <a:lnTo>
                    <a:pt x="278" y="424"/>
                  </a:lnTo>
                  <a:lnTo>
                    <a:pt x="280" y="424"/>
                  </a:lnTo>
                  <a:lnTo>
                    <a:pt x="280" y="426"/>
                  </a:lnTo>
                  <a:lnTo>
                    <a:pt x="278" y="430"/>
                  </a:lnTo>
                  <a:lnTo>
                    <a:pt x="278" y="432"/>
                  </a:lnTo>
                  <a:lnTo>
                    <a:pt x="280" y="432"/>
                  </a:lnTo>
                  <a:lnTo>
                    <a:pt x="280" y="432"/>
                  </a:lnTo>
                  <a:lnTo>
                    <a:pt x="284" y="436"/>
                  </a:lnTo>
                  <a:lnTo>
                    <a:pt x="286" y="438"/>
                  </a:lnTo>
                  <a:lnTo>
                    <a:pt x="286" y="440"/>
                  </a:lnTo>
                  <a:lnTo>
                    <a:pt x="284" y="444"/>
                  </a:lnTo>
                  <a:lnTo>
                    <a:pt x="280" y="448"/>
                  </a:lnTo>
                  <a:lnTo>
                    <a:pt x="274" y="452"/>
                  </a:lnTo>
                  <a:lnTo>
                    <a:pt x="274" y="452"/>
                  </a:lnTo>
                  <a:lnTo>
                    <a:pt x="270" y="454"/>
                  </a:lnTo>
                  <a:lnTo>
                    <a:pt x="264" y="458"/>
                  </a:lnTo>
                  <a:lnTo>
                    <a:pt x="262" y="462"/>
                  </a:lnTo>
                  <a:lnTo>
                    <a:pt x="262" y="470"/>
                  </a:lnTo>
                  <a:lnTo>
                    <a:pt x="262" y="470"/>
                  </a:lnTo>
                  <a:lnTo>
                    <a:pt x="282" y="466"/>
                  </a:lnTo>
                  <a:lnTo>
                    <a:pt x="284" y="466"/>
                  </a:lnTo>
                  <a:lnTo>
                    <a:pt x="284" y="468"/>
                  </a:lnTo>
                  <a:lnTo>
                    <a:pt x="280" y="472"/>
                  </a:lnTo>
                  <a:lnTo>
                    <a:pt x="280" y="472"/>
                  </a:lnTo>
                  <a:lnTo>
                    <a:pt x="274" y="476"/>
                  </a:lnTo>
                  <a:lnTo>
                    <a:pt x="268" y="478"/>
                  </a:lnTo>
                  <a:lnTo>
                    <a:pt x="262" y="478"/>
                  </a:lnTo>
                  <a:lnTo>
                    <a:pt x="260" y="478"/>
                  </a:lnTo>
                  <a:lnTo>
                    <a:pt x="268" y="484"/>
                  </a:lnTo>
                  <a:lnTo>
                    <a:pt x="268" y="484"/>
                  </a:lnTo>
                  <a:lnTo>
                    <a:pt x="274" y="492"/>
                  </a:lnTo>
                  <a:lnTo>
                    <a:pt x="274" y="492"/>
                  </a:lnTo>
                  <a:lnTo>
                    <a:pt x="272" y="492"/>
                  </a:lnTo>
                  <a:lnTo>
                    <a:pt x="266" y="492"/>
                  </a:lnTo>
                  <a:lnTo>
                    <a:pt x="264" y="494"/>
                  </a:lnTo>
                  <a:lnTo>
                    <a:pt x="262" y="498"/>
                  </a:lnTo>
                  <a:lnTo>
                    <a:pt x="262" y="498"/>
                  </a:lnTo>
                  <a:lnTo>
                    <a:pt x="258" y="502"/>
                  </a:lnTo>
                  <a:lnTo>
                    <a:pt x="256" y="506"/>
                  </a:lnTo>
                  <a:lnTo>
                    <a:pt x="252" y="506"/>
                  </a:lnTo>
                  <a:lnTo>
                    <a:pt x="248" y="506"/>
                  </a:lnTo>
                  <a:lnTo>
                    <a:pt x="250" y="510"/>
                  </a:lnTo>
                  <a:lnTo>
                    <a:pt x="250" y="510"/>
                  </a:lnTo>
                  <a:lnTo>
                    <a:pt x="252" y="512"/>
                  </a:lnTo>
                  <a:lnTo>
                    <a:pt x="256" y="514"/>
                  </a:lnTo>
                  <a:lnTo>
                    <a:pt x="268" y="518"/>
                  </a:lnTo>
                  <a:lnTo>
                    <a:pt x="282" y="524"/>
                  </a:lnTo>
                  <a:lnTo>
                    <a:pt x="290" y="528"/>
                  </a:lnTo>
                  <a:lnTo>
                    <a:pt x="298" y="534"/>
                  </a:lnTo>
                  <a:lnTo>
                    <a:pt x="298" y="534"/>
                  </a:lnTo>
                  <a:lnTo>
                    <a:pt x="300" y="534"/>
                  </a:lnTo>
                  <a:lnTo>
                    <a:pt x="304" y="532"/>
                  </a:lnTo>
                  <a:lnTo>
                    <a:pt x="312" y="532"/>
                  </a:lnTo>
                  <a:lnTo>
                    <a:pt x="322" y="536"/>
                  </a:lnTo>
                  <a:lnTo>
                    <a:pt x="322" y="536"/>
                  </a:lnTo>
                  <a:lnTo>
                    <a:pt x="338" y="540"/>
                  </a:lnTo>
                  <a:lnTo>
                    <a:pt x="352" y="542"/>
                  </a:lnTo>
                  <a:lnTo>
                    <a:pt x="364" y="544"/>
                  </a:lnTo>
                  <a:lnTo>
                    <a:pt x="370" y="546"/>
                  </a:lnTo>
                  <a:lnTo>
                    <a:pt x="376" y="550"/>
                  </a:lnTo>
                  <a:lnTo>
                    <a:pt x="376" y="550"/>
                  </a:lnTo>
                  <a:lnTo>
                    <a:pt x="386" y="556"/>
                  </a:lnTo>
                  <a:lnTo>
                    <a:pt x="392" y="556"/>
                  </a:lnTo>
                  <a:lnTo>
                    <a:pt x="400" y="554"/>
                  </a:lnTo>
                  <a:lnTo>
                    <a:pt x="406" y="554"/>
                  </a:lnTo>
                  <a:lnTo>
                    <a:pt x="414" y="556"/>
                  </a:lnTo>
                  <a:lnTo>
                    <a:pt x="414" y="556"/>
                  </a:lnTo>
                  <a:lnTo>
                    <a:pt x="422" y="560"/>
                  </a:lnTo>
                  <a:lnTo>
                    <a:pt x="426" y="564"/>
                  </a:lnTo>
                  <a:lnTo>
                    <a:pt x="432" y="570"/>
                  </a:lnTo>
                  <a:lnTo>
                    <a:pt x="448" y="578"/>
                  </a:lnTo>
                  <a:lnTo>
                    <a:pt x="448" y="578"/>
                  </a:lnTo>
                  <a:lnTo>
                    <a:pt x="462" y="584"/>
                  </a:lnTo>
                  <a:lnTo>
                    <a:pt x="470" y="584"/>
                  </a:lnTo>
                  <a:lnTo>
                    <a:pt x="478" y="580"/>
                  </a:lnTo>
                  <a:lnTo>
                    <a:pt x="484" y="576"/>
                  </a:lnTo>
                  <a:lnTo>
                    <a:pt x="484" y="576"/>
                  </a:lnTo>
                  <a:lnTo>
                    <a:pt x="472" y="566"/>
                  </a:lnTo>
                  <a:lnTo>
                    <a:pt x="464" y="556"/>
                  </a:lnTo>
                  <a:lnTo>
                    <a:pt x="460" y="546"/>
                  </a:lnTo>
                  <a:lnTo>
                    <a:pt x="456" y="536"/>
                  </a:lnTo>
                  <a:lnTo>
                    <a:pt x="456" y="536"/>
                  </a:lnTo>
                  <a:lnTo>
                    <a:pt x="454" y="532"/>
                  </a:lnTo>
                  <a:lnTo>
                    <a:pt x="450" y="528"/>
                  </a:lnTo>
                  <a:lnTo>
                    <a:pt x="440" y="522"/>
                  </a:lnTo>
                  <a:lnTo>
                    <a:pt x="434" y="518"/>
                  </a:lnTo>
                  <a:lnTo>
                    <a:pt x="436" y="518"/>
                  </a:lnTo>
                  <a:lnTo>
                    <a:pt x="440" y="516"/>
                  </a:lnTo>
                  <a:lnTo>
                    <a:pt x="440" y="516"/>
                  </a:lnTo>
                  <a:lnTo>
                    <a:pt x="444" y="514"/>
                  </a:lnTo>
                  <a:lnTo>
                    <a:pt x="444" y="512"/>
                  </a:lnTo>
                  <a:lnTo>
                    <a:pt x="440" y="510"/>
                  </a:lnTo>
                  <a:lnTo>
                    <a:pt x="440" y="508"/>
                  </a:lnTo>
                  <a:lnTo>
                    <a:pt x="440" y="508"/>
                  </a:lnTo>
                  <a:lnTo>
                    <a:pt x="440" y="508"/>
                  </a:lnTo>
                  <a:lnTo>
                    <a:pt x="444" y="506"/>
                  </a:lnTo>
                  <a:lnTo>
                    <a:pt x="444" y="504"/>
                  </a:lnTo>
                  <a:lnTo>
                    <a:pt x="444" y="496"/>
                  </a:lnTo>
                  <a:lnTo>
                    <a:pt x="442" y="490"/>
                  </a:lnTo>
                  <a:lnTo>
                    <a:pt x="444" y="490"/>
                  </a:lnTo>
                  <a:lnTo>
                    <a:pt x="448" y="492"/>
                  </a:lnTo>
                  <a:lnTo>
                    <a:pt x="448" y="492"/>
                  </a:lnTo>
                  <a:lnTo>
                    <a:pt x="452" y="494"/>
                  </a:lnTo>
                  <a:lnTo>
                    <a:pt x="458" y="492"/>
                  </a:lnTo>
                  <a:lnTo>
                    <a:pt x="460" y="488"/>
                  </a:lnTo>
                  <a:lnTo>
                    <a:pt x="462" y="484"/>
                  </a:lnTo>
                  <a:lnTo>
                    <a:pt x="462" y="484"/>
                  </a:lnTo>
                  <a:lnTo>
                    <a:pt x="462" y="480"/>
                  </a:lnTo>
                  <a:lnTo>
                    <a:pt x="466" y="482"/>
                  </a:lnTo>
                  <a:lnTo>
                    <a:pt x="470" y="482"/>
                  </a:lnTo>
                  <a:lnTo>
                    <a:pt x="474" y="480"/>
                  </a:lnTo>
                  <a:lnTo>
                    <a:pt x="474" y="480"/>
                  </a:lnTo>
                  <a:lnTo>
                    <a:pt x="474" y="478"/>
                  </a:lnTo>
                  <a:lnTo>
                    <a:pt x="470" y="476"/>
                  </a:lnTo>
                  <a:lnTo>
                    <a:pt x="470" y="476"/>
                  </a:lnTo>
                  <a:lnTo>
                    <a:pt x="468" y="474"/>
                  </a:lnTo>
                  <a:lnTo>
                    <a:pt x="468" y="472"/>
                  </a:lnTo>
                  <a:lnTo>
                    <a:pt x="472" y="470"/>
                  </a:lnTo>
                  <a:lnTo>
                    <a:pt x="472" y="468"/>
                  </a:lnTo>
                  <a:lnTo>
                    <a:pt x="472" y="466"/>
                  </a:lnTo>
                  <a:lnTo>
                    <a:pt x="470" y="462"/>
                  </a:lnTo>
                  <a:lnTo>
                    <a:pt x="462" y="458"/>
                  </a:lnTo>
                  <a:lnTo>
                    <a:pt x="462" y="458"/>
                  </a:lnTo>
                  <a:lnTo>
                    <a:pt x="454" y="452"/>
                  </a:lnTo>
                  <a:lnTo>
                    <a:pt x="448" y="452"/>
                  </a:lnTo>
                  <a:lnTo>
                    <a:pt x="446" y="452"/>
                  </a:lnTo>
                  <a:lnTo>
                    <a:pt x="442" y="448"/>
                  </a:lnTo>
                  <a:lnTo>
                    <a:pt x="442" y="448"/>
                  </a:lnTo>
                  <a:lnTo>
                    <a:pt x="440" y="448"/>
                  </a:lnTo>
                  <a:lnTo>
                    <a:pt x="438" y="448"/>
                  </a:lnTo>
                  <a:lnTo>
                    <a:pt x="434" y="450"/>
                  </a:lnTo>
                  <a:lnTo>
                    <a:pt x="432" y="450"/>
                  </a:lnTo>
                  <a:lnTo>
                    <a:pt x="430" y="450"/>
                  </a:lnTo>
                  <a:lnTo>
                    <a:pt x="428" y="448"/>
                  </a:lnTo>
                  <a:lnTo>
                    <a:pt x="426" y="444"/>
                  </a:lnTo>
                  <a:lnTo>
                    <a:pt x="426" y="444"/>
                  </a:lnTo>
                  <a:lnTo>
                    <a:pt x="426" y="440"/>
                  </a:lnTo>
                  <a:lnTo>
                    <a:pt x="424" y="440"/>
                  </a:lnTo>
                  <a:lnTo>
                    <a:pt x="418" y="438"/>
                  </a:lnTo>
                  <a:lnTo>
                    <a:pt x="418" y="436"/>
                  </a:lnTo>
                  <a:lnTo>
                    <a:pt x="416" y="434"/>
                  </a:lnTo>
                  <a:lnTo>
                    <a:pt x="420" y="426"/>
                  </a:lnTo>
                  <a:lnTo>
                    <a:pt x="420" y="426"/>
                  </a:lnTo>
                  <a:lnTo>
                    <a:pt x="424" y="416"/>
                  </a:lnTo>
                  <a:lnTo>
                    <a:pt x="424" y="414"/>
                  </a:lnTo>
                  <a:lnTo>
                    <a:pt x="422" y="410"/>
                  </a:lnTo>
                  <a:lnTo>
                    <a:pt x="422" y="406"/>
                  </a:lnTo>
                  <a:lnTo>
                    <a:pt x="422" y="406"/>
                  </a:lnTo>
                  <a:lnTo>
                    <a:pt x="424" y="400"/>
                  </a:lnTo>
                  <a:lnTo>
                    <a:pt x="426" y="394"/>
                  </a:lnTo>
                  <a:lnTo>
                    <a:pt x="428" y="392"/>
                  </a:lnTo>
                  <a:lnTo>
                    <a:pt x="430" y="396"/>
                  </a:lnTo>
                  <a:lnTo>
                    <a:pt x="430" y="396"/>
                  </a:lnTo>
                  <a:lnTo>
                    <a:pt x="436" y="406"/>
                  </a:lnTo>
                  <a:lnTo>
                    <a:pt x="440" y="410"/>
                  </a:lnTo>
                  <a:lnTo>
                    <a:pt x="446" y="408"/>
                  </a:lnTo>
                  <a:lnTo>
                    <a:pt x="446" y="408"/>
                  </a:lnTo>
                  <a:lnTo>
                    <a:pt x="448" y="406"/>
                  </a:lnTo>
                  <a:lnTo>
                    <a:pt x="448" y="402"/>
                  </a:lnTo>
                  <a:lnTo>
                    <a:pt x="444" y="398"/>
                  </a:lnTo>
                  <a:lnTo>
                    <a:pt x="438" y="392"/>
                  </a:lnTo>
                  <a:lnTo>
                    <a:pt x="438" y="392"/>
                  </a:lnTo>
                  <a:lnTo>
                    <a:pt x="442" y="392"/>
                  </a:lnTo>
                  <a:lnTo>
                    <a:pt x="446" y="394"/>
                  </a:lnTo>
                  <a:lnTo>
                    <a:pt x="448" y="394"/>
                  </a:lnTo>
                  <a:lnTo>
                    <a:pt x="450" y="390"/>
                  </a:lnTo>
                  <a:lnTo>
                    <a:pt x="450" y="390"/>
                  </a:lnTo>
                  <a:lnTo>
                    <a:pt x="454" y="386"/>
                  </a:lnTo>
                  <a:lnTo>
                    <a:pt x="458" y="382"/>
                  </a:lnTo>
                  <a:lnTo>
                    <a:pt x="462" y="378"/>
                  </a:lnTo>
                  <a:lnTo>
                    <a:pt x="462" y="374"/>
                  </a:lnTo>
                  <a:lnTo>
                    <a:pt x="462" y="374"/>
                  </a:lnTo>
                  <a:lnTo>
                    <a:pt x="462" y="370"/>
                  </a:lnTo>
                  <a:lnTo>
                    <a:pt x="466" y="368"/>
                  </a:lnTo>
                  <a:lnTo>
                    <a:pt x="470" y="370"/>
                  </a:lnTo>
                  <a:lnTo>
                    <a:pt x="472" y="372"/>
                  </a:lnTo>
                  <a:lnTo>
                    <a:pt x="472" y="372"/>
                  </a:lnTo>
                  <a:lnTo>
                    <a:pt x="476" y="376"/>
                  </a:lnTo>
                  <a:lnTo>
                    <a:pt x="478" y="376"/>
                  </a:lnTo>
                  <a:lnTo>
                    <a:pt x="484" y="374"/>
                  </a:lnTo>
                  <a:lnTo>
                    <a:pt x="488" y="370"/>
                  </a:lnTo>
                  <a:lnTo>
                    <a:pt x="492" y="370"/>
                  </a:lnTo>
                  <a:lnTo>
                    <a:pt x="494" y="372"/>
                  </a:lnTo>
                  <a:lnTo>
                    <a:pt x="494" y="372"/>
                  </a:lnTo>
                  <a:lnTo>
                    <a:pt x="500" y="374"/>
                  </a:lnTo>
                  <a:lnTo>
                    <a:pt x="502" y="374"/>
                  </a:lnTo>
                  <a:lnTo>
                    <a:pt x="508" y="372"/>
                  </a:lnTo>
                  <a:lnTo>
                    <a:pt x="510" y="372"/>
                  </a:lnTo>
                  <a:lnTo>
                    <a:pt x="514" y="372"/>
                  </a:lnTo>
                  <a:lnTo>
                    <a:pt x="520" y="376"/>
                  </a:lnTo>
                  <a:lnTo>
                    <a:pt x="528" y="382"/>
                  </a:lnTo>
                  <a:lnTo>
                    <a:pt x="528" y="382"/>
                  </a:lnTo>
                  <a:lnTo>
                    <a:pt x="530" y="384"/>
                  </a:lnTo>
                  <a:lnTo>
                    <a:pt x="532" y="384"/>
                  </a:lnTo>
                  <a:lnTo>
                    <a:pt x="534" y="380"/>
                  </a:lnTo>
                  <a:lnTo>
                    <a:pt x="534" y="378"/>
                  </a:lnTo>
                  <a:lnTo>
                    <a:pt x="536" y="378"/>
                  </a:lnTo>
                  <a:lnTo>
                    <a:pt x="542" y="380"/>
                  </a:lnTo>
                  <a:lnTo>
                    <a:pt x="550" y="384"/>
                  </a:lnTo>
                  <a:lnTo>
                    <a:pt x="550" y="384"/>
                  </a:lnTo>
                  <a:lnTo>
                    <a:pt x="558" y="388"/>
                  </a:lnTo>
                  <a:lnTo>
                    <a:pt x="562" y="390"/>
                  </a:lnTo>
                  <a:lnTo>
                    <a:pt x="564" y="386"/>
                  </a:lnTo>
                  <a:lnTo>
                    <a:pt x="564" y="382"/>
                  </a:lnTo>
                  <a:lnTo>
                    <a:pt x="564" y="382"/>
                  </a:lnTo>
                  <a:lnTo>
                    <a:pt x="566" y="380"/>
                  </a:lnTo>
                  <a:lnTo>
                    <a:pt x="568" y="382"/>
                  </a:lnTo>
                  <a:lnTo>
                    <a:pt x="572" y="382"/>
                  </a:lnTo>
                  <a:lnTo>
                    <a:pt x="578" y="382"/>
                  </a:lnTo>
                  <a:lnTo>
                    <a:pt x="578" y="382"/>
                  </a:lnTo>
                  <a:lnTo>
                    <a:pt x="584" y="380"/>
                  </a:lnTo>
                  <a:lnTo>
                    <a:pt x="586" y="384"/>
                  </a:lnTo>
                  <a:lnTo>
                    <a:pt x="588" y="386"/>
                  </a:lnTo>
                  <a:lnTo>
                    <a:pt x="594" y="384"/>
                  </a:lnTo>
                  <a:lnTo>
                    <a:pt x="594" y="384"/>
                  </a:lnTo>
                  <a:lnTo>
                    <a:pt x="610" y="380"/>
                  </a:lnTo>
                  <a:lnTo>
                    <a:pt x="616" y="378"/>
                  </a:lnTo>
                  <a:lnTo>
                    <a:pt x="618" y="380"/>
                  </a:lnTo>
                  <a:lnTo>
                    <a:pt x="618" y="382"/>
                  </a:lnTo>
                  <a:lnTo>
                    <a:pt x="618" y="382"/>
                  </a:lnTo>
                  <a:lnTo>
                    <a:pt x="614" y="386"/>
                  </a:lnTo>
                  <a:lnTo>
                    <a:pt x="614" y="390"/>
                  </a:lnTo>
                  <a:lnTo>
                    <a:pt x="616" y="392"/>
                  </a:lnTo>
                  <a:lnTo>
                    <a:pt x="620" y="392"/>
                  </a:lnTo>
                  <a:lnTo>
                    <a:pt x="626" y="390"/>
                  </a:lnTo>
                  <a:lnTo>
                    <a:pt x="630" y="388"/>
                  </a:lnTo>
                  <a:lnTo>
                    <a:pt x="632" y="384"/>
                  </a:lnTo>
                  <a:lnTo>
                    <a:pt x="632" y="384"/>
                  </a:lnTo>
                  <a:lnTo>
                    <a:pt x="646" y="390"/>
                  </a:lnTo>
                  <a:lnTo>
                    <a:pt x="656" y="392"/>
                  </a:lnTo>
                  <a:lnTo>
                    <a:pt x="662" y="392"/>
                  </a:lnTo>
                  <a:lnTo>
                    <a:pt x="666" y="390"/>
                  </a:lnTo>
                  <a:lnTo>
                    <a:pt x="668" y="388"/>
                  </a:lnTo>
                  <a:lnTo>
                    <a:pt x="668" y="382"/>
                  </a:lnTo>
                  <a:lnTo>
                    <a:pt x="668" y="382"/>
                  </a:lnTo>
                  <a:lnTo>
                    <a:pt x="668" y="378"/>
                  </a:lnTo>
                  <a:lnTo>
                    <a:pt x="666" y="376"/>
                  </a:lnTo>
                  <a:lnTo>
                    <a:pt x="662" y="374"/>
                  </a:lnTo>
                  <a:lnTo>
                    <a:pt x="658" y="374"/>
                  </a:lnTo>
                  <a:lnTo>
                    <a:pt x="646" y="374"/>
                  </a:lnTo>
                  <a:lnTo>
                    <a:pt x="630" y="370"/>
                  </a:lnTo>
                  <a:lnTo>
                    <a:pt x="630" y="370"/>
                  </a:lnTo>
                  <a:lnTo>
                    <a:pt x="624" y="368"/>
                  </a:lnTo>
                  <a:lnTo>
                    <a:pt x="624" y="368"/>
                  </a:lnTo>
                  <a:lnTo>
                    <a:pt x="624" y="366"/>
                  </a:lnTo>
                  <a:lnTo>
                    <a:pt x="634" y="360"/>
                  </a:lnTo>
                  <a:lnTo>
                    <a:pt x="644" y="356"/>
                  </a:lnTo>
                  <a:lnTo>
                    <a:pt x="644" y="356"/>
                  </a:lnTo>
                  <a:lnTo>
                    <a:pt x="644" y="354"/>
                  </a:lnTo>
                  <a:lnTo>
                    <a:pt x="638" y="354"/>
                  </a:lnTo>
                  <a:lnTo>
                    <a:pt x="638" y="354"/>
                  </a:lnTo>
                  <a:lnTo>
                    <a:pt x="630" y="352"/>
                  </a:lnTo>
                  <a:lnTo>
                    <a:pt x="630" y="350"/>
                  </a:lnTo>
                  <a:lnTo>
                    <a:pt x="630" y="350"/>
                  </a:lnTo>
                  <a:lnTo>
                    <a:pt x="632" y="348"/>
                  </a:lnTo>
                  <a:lnTo>
                    <a:pt x="628" y="346"/>
                  </a:lnTo>
                  <a:lnTo>
                    <a:pt x="628" y="346"/>
                  </a:lnTo>
                  <a:lnTo>
                    <a:pt x="624" y="344"/>
                  </a:lnTo>
                  <a:lnTo>
                    <a:pt x="624" y="342"/>
                  </a:lnTo>
                  <a:lnTo>
                    <a:pt x="630" y="336"/>
                  </a:lnTo>
                  <a:lnTo>
                    <a:pt x="630" y="336"/>
                  </a:lnTo>
                  <a:lnTo>
                    <a:pt x="634" y="334"/>
                  </a:lnTo>
                  <a:lnTo>
                    <a:pt x="642" y="332"/>
                  </a:lnTo>
                  <a:lnTo>
                    <a:pt x="662" y="330"/>
                  </a:lnTo>
                  <a:lnTo>
                    <a:pt x="662" y="330"/>
                  </a:lnTo>
                  <a:lnTo>
                    <a:pt x="682" y="330"/>
                  </a:lnTo>
                  <a:lnTo>
                    <a:pt x="698" y="330"/>
                  </a:lnTo>
                  <a:lnTo>
                    <a:pt x="704" y="328"/>
                  </a:lnTo>
                  <a:lnTo>
                    <a:pt x="706" y="326"/>
                  </a:lnTo>
                  <a:lnTo>
                    <a:pt x="706" y="326"/>
                  </a:lnTo>
                  <a:lnTo>
                    <a:pt x="710" y="324"/>
                  </a:lnTo>
                  <a:lnTo>
                    <a:pt x="718" y="324"/>
                  </a:lnTo>
                  <a:lnTo>
                    <a:pt x="744" y="322"/>
                  </a:lnTo>
                  <a:lnTo>
                    <a:pt x="744" y="322"/>
                  </a:lnTo>
                  <a:lnTo>
                    <a:pt x="750" y="320"/>
                  </a:lnTo>
                  <a:lnTo>
                    <a:pt x="754" y="318"/>
                  </a:lnTo>
                  <a:lnTo>
                    <a:pt x="758" y="314"/>
                  </a:lnTo>
                  <a:lnTo>
                    <a:pt x="764" y="310"/>
                  </a:lnTo>
                  <a:lnTo>
                    <a:pt x="766" y="310"/>
                  </a:lnTo>
                  <a:lnTo>
                    <a:pt x="772" y="310"/>
                  </a:lnTo>
                  <a:lnTo>
                    <a:pt x="772" y="310"/>
                  </a:lnTo>
                  <a:lnTo>
                    <a:pt x="780" y="310"/>
                  </a:lnTo>
                  <a:lnTo>
                    <a:pt x="786" y="308"/>
                  </a:lnTo>
                  <a:lnTo>
                    <a:pt x="790" y="308"/>
                  </a:lnTo>
                  <a:lnTo>
                    <a:pt x="790" y="312"/>
                  </a:lnTo>
                  <a:lnTo>
                    <a:pt x="790" y="312"/>
                  </a:lnTo>
                  <a:lnTo>
                    <a:pt x="792" y="318"/>
                  </a:lnTo>
                  <a:lnTo>
                    <a:pt x="794" y="320"/>
                  </a:lnTo>
                  <a:lnTo>
                    <a:pt x="796" y="320"/>
                  </a:lnTo>
                  <a:lnTo>
                    <a:pt x="794" y="324"/>
                  </a:lnTo>
                  <a:lnTo>
                    <a:pt x="794" y="324"/>
                  </a:lnTo>
                  <a:lnTo>
                    <a:pt x="794" y="324"/>
                  </a:lnTo>
                  <a:lnTo>
                    <a:pt x="794" y="326"/>
                  </a:lnTo>
                  <a:lnTo>
                    <a:pt x="798" y="330"/>
                  </a:lnTo>
                  <a:lnTo>
                    <a:pt x="804" y="330"/>
                  </a:lnTo>
                  <a:lnTo>
                    <a:pt x="808" y="330"/>
                  </a:lnTo>
                  <a:lnTo>
                    <a:pt x="808" y="330"/>
                  </a:lnTo>
                  <a:lnTo>
                    <a:pt x="810" y="328"/>
                  </a:lnTo>
                  <a:lnTo>
                    <a:pt x="812" y="328"/>
                  </a:lnTo>
                  <a:lnTo>
                    <a:pt x="814" y="330"/>
                  </a:lnTo>
                  <a:lnTo>
                    <a:pt x="818" y="332"/>
                  </a:lnTo>
                  <a:lnTo>
                    <a:pt x="820" y="332"/>
                  </a:lnTo>
                  <a:lnTo>
                    <a:pt x="822" y="330"/>
                  </a:lnTo>
                  <a:lnTo>
                    <a:pt x="822" y="330"/>
                  </a:lnTo>
                  <a:lnTo>
                    <a:pt x="824" y="328"/>
                  </a:lnTo>
                  <a:lnTo>
                    <a:pt x="828" y="330"/>
                  </a:lnTo>
                  <a:lnTo>
                    <a:pt x="832" y="330"/>
                  </a:lnTo>
                  <a:lnTo>
                    <a:pt x="838" y="330"/>
                  </a:lnTo>
                  <a:lnTo>
                    <a:pt x="838" y="330"/>
                  </a:lnTo>
                  <a:lnTo>
                    <a:pt x="836" y="340"/>
                  </a:lnTo>
                  <a:lnTo>
                    <a:pt x="838" y="342"/>
                  </a:lnTo>
                  <a:lnTo>
                    <a:pt x="838" y="342"/>
                  </a:lnTo>
                  <a:lnTo>
                    <a:pt x="844" y="340"/>
                  </a:lnTo>
                  <a:lnTo>
                    <a:pt x="848" y="340"/>
                  </a:lnTo>
                  <a:lnTo>
                    <a:pt x="854" y="340"/>
                  </a:lnTo>
                  <a:lnTo>
                    <a:pt x="854" y="340"/>
                  </a:lnTo>
                  <a:lnTo>
                    <a:pt x="860" y="340"/>
                  </a:lnTo>
                  <a:lnTo>
                    <a:pt x="860" y="338"/>
                  </a:lnTo>
                  <a:lnTo>
                    <a:pt x="858" y="334"/>
                  </a:lnTo>
                  <a:lnTo>
                    <a:pt x="858" y="334"/>
                  </a:lnTo>
                  <a:lnTo>
                    <a:pt x="860" y="332"/>
                  </a:lnTo>
                  <a:lnTo>
                    <a:pt x="860" y="332"/>
                  </a:lnTo>
                  <a:lnTo>
                    <a:pt x="866" y="332"/>
                  </a:lnTo>
                  <a:lnTo>
                    <a:pt x="868" y="330"/>
                  </a:lnTo>
                  <a:lnTo>
                    <a:pt x="872" y="328"/>
                  </a:lnTo>
                  <a:lnTo>
                    <a:pt x="876" y="328"/>
                  </a:lnTo>
                  <a:lnTo>
                    <a:pt x="876" y="328"/>
                  </a:lnTo>
                  <a:lnTo>
                    <a:pt x="886" y="328"/>
                  </a:lnTo>
                  <a:lnTo>
                    <a:pt x="886" y="330"/>
                  </a:lnTo>
                  <a:lnTo>
                    <a:pt x="878" y="334"/>
                  </a:lnTo>
                  <a:lnTo>
                    <a:pt x="878" y="334"/>
                  </a:lnTo>
                  <a:lnTo>
                    <a:pt x="902" y="342"/>
                  </a:lnTo>
                  <a:lnTo>
                    <a:pt x="922" y="350"/>
                  </a:lnTo>
                  <a:lnTo>
                    <a:pt x="936" y="358"/>
                  </a:lnTo>
                  <a:lnTo>
                    <a:pt x="948" y="364"/>
                  </a:lnTo>
                  <a:lnTo>
                    <a:pt x="964" y="380"/>
                  </a:lnTo>
                  <a:lnTo>
                    <a:pt x="978" y="392"/>
                  </a:lnTo>
                  <a:lnTo>
                    <a:pt x="978" y="392"/>
                  </a:lnTo>
                  <a:lnTo>
                    <a:pt x="984" y="396"/>
                  </a:lnTo>
                  <a:lnTo>
                    <a:pt x="988" y="396"/>
                  </a:lnTo>
                  <a:lnTo>
                    <a:pt x="990" y="394"/>
                  </a:lnTo>
                  <a:lnTo>
                    <a:pt x="992" y="390"/>
                  </a:lnTo>
                  <a:lnTo>
                    <a:pt x="994" y="386"/>
                  </a:lnTo>
                  <a:lnTo>
                    <a:pt x="996" y="386"/>
                  </a:lnTo>
                  <a:lnTo>
                    <a:pt x="1000" y="392"/>
                  </a:lnTo>
                  <a:lnTo>
                    <a:pt x="1000" y="392"/>
                  </a:lnTo>
                  <a:lnTo>
                    <a:pt x="1004" y="396"/>
                  </a:lnTo>
                  <a:lnTo>
                    <a:pt x="1008" y="398"/>
                  </a:lnTo>
                  <a:lnTo>
                    <a:pt x="1014" y="396"/>
                  </a:lnTo>
                  <a:lnTo>
                    <a:pt x="1022" y="396"/>
                  </a:lnTo>
                  <a:lnTo>
                    <a:pt x="1034" y="392"/>
                  </a:lnTo>
                  <a:lnTo>
                    <a:pt x="1040" y="392"/>
                  </a:lnTo>
                  <a:lnTo>
                    <a:pt x="1044" y="396"/>
                  </a:lnTo>
                  <a:lnTo>
                    <a:pt x="1044" y="396"/>
                  </a:lnTo>
                  <a:lnTo>
                    <a:pt x="1048" y="402"/>
                  </a:lnTo>
                  <a:lnTo>
                    <a:pt x="1052" y="402"/>
                  </a:lnTo>
                  <a:lnTo>
                    <a:pt x="1056" y="404"/>
                  </a:lnTo>
                  <a:lnTo>
                    <a:pt x="1062" y="410"/>
                  </a:lnTo>
                  <a:lnTo>
                    <a:pt x="1062" y="410"/>
                  </a:lnTo>
                  <a:lnTo>
                    <a:pt x="1064" y="412"/>
                  </a:lnTo>
                  <a:lnTo>
                    <a:pt x="1066" y="414"/>
                  </a:lnTo>
                  <a:lnTo>
                    <a:pt x="1070" y="412"/>
                  </a:lnTo>
                  <a:lnTo>
                    <a:pt x="1074" y="412"/>
                  </a:lnTo>
                  <a:lnTo>
                    <a:pt x="1076" y="412"/>
                  </a:lnTo>
                  <a:lnTo>
                    <a:pt x="1080" y="416"/>
                  </a:lnTo>
                  <a:lnTo>
                    <a:pt x="1080" y="416"/>
                  </a:lnTo>
                  <a:lnTo>
                    <a:pt x="1084" y="418"/>
                  </a:lnTo>
                  <a:lnTo>
                    <a:pt x="1088" y="418"/>
                  </a:lnTo>
                  <a:lnTo>
                    <a:pt x="1092" y="418"/>
                  </a:lnTo>
                  <a:lnTo>
                    <a:pt x="1094" y="416"/>
                  </a:lnTo>
                  <a:lnTo>
                    <a:pt x="1094" y="416"/>
                  </a:lnTo>
                  <a:lnTo>
                    <a:pt x="1096" y="414"/>
                  </a:lnTo>
                  <a:lnTo>
                    <a:pt x="1098" y="412"/>
                  </a:lnTo>
                  <a:lnTo>
                    <a:pt x="1106" y="412"/>
                  </a:lnTo>
                  <a:lnTo>
                    <a:pt x="1106" y="412"/>
                  </a:lnTo>
                  <a:lnTo>
                    <a:pt x="1110" y="412"/>
                  </a:lnTo>
                  <a:lnTo>
                    <a:pt x="1112" y="412"/>
                  </a:lnTo>
                  <a:lnTo>
                    <a:pt x="1116" y="410"/>
                  </a:lnTo>
                  <a:lnTo>
                    <a:pt x="1124" y="410"/>
                  </a:lnTo>
                  <a:lnTo>
                    <a:pt x="1124" y="410"/>
                  </a:lnTo>
                  <a:lnTo>
                    <a:pt x="1130" y="412"/>
                  </a:lnTo>
                  <a:lnTo>
                    <a:pt x="1134" y="416"/>
                  </a:lnTo>
                  <a:lnTo>
                    <a:pt x="1138" y="420"/>
                  </a:lnTo>
                  <a:lnTo>
                    <a:pt x="1142" y="422"/>
                  </a:lnTo>
                  <a:lnTo>
                    <a:pt x="1142" y="422"/>
                  </a:lnTo>
                  <a:lnTo>
                    <a:pt x="1144" y="422"/>
                  </a:lnTo>
                  <a:lnTo>
                    <a:pt x="1144" y="424"/>
                  </a:lnTo>
                  <a:lnTo>
                    <a:pt x="1146" y="426"/>
                  </a:lnTo>
                  <a:lnTo>
                    <a:pt x="1154" y="426"/>
                  </a:lnTo>
                  <a:lnTo>
                    <a:pt x="1154" y="426"/>
                  </a:lnTo>
                  <a:lnTo>
                    <a:pt x="1158" y="426"/>
                  </a:lnTo>
                  <a:lnTo>
                    <a:pt x="1160" y="426"/>
                  </a:lnTo>
                  <a:lnTo>
                    <a:pt x="1160" y="426"/>
                  </a:lnTo>
                  <a:lnTo>
                    <a:pt x="1162" y="424"/>
                  </a:lnTo>
                  <a:lnTo>
                    <a:pt x="1162" y="420"/>
                  </a:lnTo>
                  <a:lnTo>
                    <a:pt x="1164" y="418"/>
                  </a:lnTo>
                  <a:lnTo>
                    <a:pt x="1168" y="416"/>
                  </a:lnTo>
                  <a:lnTo>
                    <a:pt x="1168" y="416"/>
                  </a:lnTo>
                  <a:lnTo>
                    <a:pt x="1172" y="414"/>
                  </a:lnTo>
                  <a:lnTo>
                    <a:pt x="1176" y="410"/>
                  </a:lnTo>
                  <a:lnTo>
                    <a:pt x="1178" y="408"/>
                  </a:lnTo>
                  <a:lnTo>
                    <a:pt x="1182" y="410"/>
                  </a:lnTo>
                  <a:lnTo>
                    <a:pt x="1182" y="410"/>
                  </a:lnTo>
                  <a:lnTo>
                    <a:pt x="1184" y="410"/>
                  </a:lnTo>
                  <a:lnTo>
                    <a:pt x="1184" y="410"/>
                  </a:lnTo>
                  <a:lnTo>
                    <a:pt x="1184" y="406"/>
                  </a:lnTo>
                  <a:lnTo>
                    <a:pt x="1186" y="402"/>
                  </a:lnTo>
                  <a:lnTo>
                    <a:pt x="1186" y="402"/>
                  </a:lnTo>
                  <a:lnTo>
                    <a:pt x="1188" y="402"/>
                  </a:lnTo>
                  <a:lnTo>
                    <a:pt x="1188" y="402"/>
                  </a:lnTo>
                  <a:lnTo>
                    <a:pt x="1192" y="402"/>
                  </a:lnTo>
                  <a:lnTo>
                    <a:pt x="1196" y="400"/>
                  </a:lnTo>
                  <a:lnTo>
                    <a:pt x="1200" y="398"/>
                  </a:lnTo>
                  <a:lnTo>
                    <a:pt x="1204" y="398"/>
                  </a:lnTo>
                  <a:lnTo>
                    <a:pt x="1204" y="398"/>
                  </a:lnTo>
                  <a:lnTo>
                    <a:pt x="1206" y="398"/>
                  </a:lnTo>
                  <a:lnTo>
                    <a:pt x="1210" y="394"/>
                  </a:lnTo>
                  <a:lnTo>
                    <a:pt x="1214" y="392"/>
                  </a:lnTo>
                  <a:lnTo>
                    <a:pt x="1216" y="390"/>
                  </a:lnTo>
                  <a:lnTo>
                    <a:pt x="1218" y="392"/>
                  </a:lnTo>
                  <a:lnTo>
                    <a:pt x="1218" y="392"/>
                  </a:lnTo>
                  <a:lnTo>
                    <a:pt x="1220" y="392"/>
                  </a:lnTo>
                  <a:lnTo>
                    <a:pt x="1222" y="392"/>
                  </a:lnTo>
                  <a:lnTo>
                    <a:pt x="1226" y="390"/>
                  </a:lnTo>
                  <a:lnTo>
                    <a:pt x="1230" y="388"/>
                  </a:lnTo>
                  <a:lnTo>
                    <a:pt x="1234" y="388"/>
                  </a:lnTo>
                  <a:lnTo>
                    <a:pt x="1236" y="388"/>
                  </a:lnTo>
                  <a:lnTo>
                    <a:pt x="1236" y="388"/>
                  </a:lnTo>
                  <a:lnTo>
                    <a:pt x="1238" y="392"/>
                  </a:lnTo>
                  <a:lnTo>
                    <a:pt x="1240" y="392"/>
                  </a:lnTo>
                  <a:lnTo>
                    <a:pt x="1246" y="392"/>
                  </a:lnTo>
                  <a:lnTo>
                    <a:pt x="1250" y="392"/>
                  </a:lnTo>
                  <a:lnTo>
                    <a:pt x="1254" y="394"/>
                  </a:lnTo>
                  <a:lnTo>
                    <a:pt x="1256" y="398"/>
                  </a:lnTo>
                  <a:lnTo>
                    <a:pt x="1256" y="398"/>
                  </a:lnTo>
                  <a:lnTo>
                    <a:pt x="1262" y="404"/>
                  </a:lnTo>
                  <a:lnTo>
                    <a:pt x="1264" y="404"/>
                  </a:lnTo>
                  <a:lnTo>
                    <a:pt x="1268" y="404"/>
                  </a:lnTo>
                  <a:lnTo>
                    <a:pt x="1272" y="404"/>
                  </a:lnTo>
                  <a:lnTo>
                    <a:pt x="1272" y="404"/>
                  </a:lnTo>
                  <a:lnTo>
                    <a:pt x="1276" y="406"/>
                  </a:lnTo>
                  <a:lnTo>
                    <a:pt x="1280" y="408"/>
                  </a:lnTo>
                  <a:lnTo>
                    <a:pt x="1286" y="408"/>
                  </a:lnTo>
                  <a:lnTo>
                    <a:pt x="1296" y="410"/>
                  </a:lnTo>
                  <a:lnTo>
                    <a:pt x="1296" y="410"/>
                  </a:lnTo>
                  <a:lnTo>
                    <a:pt x="1308" y="410"/>
                  </a:lnTo>
                  <a:lnTo>
                    <a:pt x="1314" y="408"/>
                  </a:lnTo>
                  <a:lnTo>
                    <a:pt x="1318" y="408"/>
                  </a:lnTo>
                  <a:lnTo>
                    <a:pt x="1320" y="408"/>
                  </a:lnTo>
                  <a:lnTo>
                    <a:pt x="1320" y="408"/>
                  </a:lnTo>
                  <a:lnTo>
                    <a:pt x="1324" y="408"/>
                  </a:lnTo>
                  <a:lnTo>
                    <a:pt x="1326" y="404"/>
                  </a:lnTo>
                  <a:lnTo>
                    <a:pt x="1328" y="402"/>
                  </a:lnTo>
                  <a:lnTo>
                    <a:pt x="1328" y="400"/>
                  </a:lnTo>
                  <a:lnTo>
                    <a:pt x="1326" y="398"/>
                  </a:lnTo>
                  <a:lnTo>
                    <a:pt x="1322" y="394"/>
                  </a:lnTo>
                  <a:lnTo>
                    <a:pt x="1322" y="394"/>
                  </a:lnTo>
                  <a:lnTo>
                    <a:pt x="1310" y="388"/>
                  </a:lnTo>
                  <a:lnTo>
                    <a:pt x="1308" y="386"/>
                  </a:lnTo>
                  <a:lnTo>
                    <a:pt x="1308" y="386"/>
                  </a:lnTo>
                  <a:lnTo>
                    <a:pt x="1312" y="384"/>
                  </a:lnTo>
                  <a:lnTo>
                    <a:pt x="1316" y="378"/>
                  </a:lnTo>
                  <a:lnTo>
                    <a:pt x="1316" y="378"/>
                  </a:lnTo>
                  <a:lnTo>
                    <a:pt x="1316" y="372"/>
                  </a:lnTo>
                  <a:lnTo>
                    <a:pt x="1314" y="368"/>
                  </a:lnTo>
                  <a:lnTo>
                    <a:pt x="1312" y="364"/>
                  </a:lnTo>
                  <a:lnTo>
                    <a:pt x="1312" y="360"/>
                  </a:lnTo>
                  <a:lnTo>
                    <a:pt x="1314" y="358"/>
                  </a:lnTo>
                  <a:lnTo>
                    <a:pt x="1314" y="358"/>
                  </a:lnTo>
                  <a:lnTo>
                    <a:pt x="1326" y="362"/>
                  </a:lnTo>
                  <a:lnTo>
                    <a:pt x="1336" y="364"/>
                  </a:lnTo>
                  <a:lnTo>
                    <a:pt x="1352" y="368"/>
                  </a:lnTo>
                  <a:lnTo>
                    <a:pt x="1352" y="368"/>
                  </a:lnTo>
                  <a:lnTo>
                    <a:pt x="1362" y="372"/>
                  </a:lnTo>
                  <a:lnTo>
                    <a:pt x="1368" y="376"/>
                  </a:lnTo>
                  <a:lnTo>
                    <a:pt x="1378" y="390"/>
                  </a:lnTo>
                  <a:lnTo>
                    <a:pt x="1382" y="396"/>
                  </a:lnTo>
                  <a:lnTo>
                    <a:pt x="1388" y="402"/>
                  </a:lnTo>
                  <a:lnTo>
                    <a:pt x="1398" y="404"/>
                  </a:lnTo>
                  <a:lnTo>
                    <a:pt x="1410" y="404"/>
                  </a:lnTo>
                  <a:lnTo>
                    <a:pt x="1410" y="404"/>
                  </a:lnTo>
                  <a:lnTo>
                    <a:pt x="1434" y="400"/>
                  </a:lnTo>
                  <a:lnTo>
                    <a:pt x="1442" y="402"/>
                  </a:lnTo>
                  <a:lnTo>
                    <a:pt x="1446" y="402"/>
                  </a:lnTo>
                  <a:lnTo>
                    <a:pt x="1454" y="402"/>
                  </a:lnTo>
                  <a:lnTo>
                    <a:pt x="1454" y="402"/>
                  </a:lnTo>
                  <a:lnTo>
                    <a:pt x="1466" y="402"/>
                  </a:lnTo>
                  <a:lnTo>
                    <a:pt x="1472" y="404"/>
                  </a:lnTo>
                  <a:lnTo>
                    <a:pt x="1474" y="408"/>
                  </a:lnTo>
                  <a:lnTo>
                    <a:pt x="1478" y="410"/>
                  </a:lnTo>
                  <a:lnTo>
                    <a:pt x="1480" y="414"/>
                  </a:lnTo>
                  <a:lnTo>
                    <a:pt x="1486" y="416"/>
                  </a:lnTo>
                  <a:lnTo>
                    <a:pt x="1494" y="416"/>
                  </a:lnTo>
                  <a:lnTo>
                    <a:pt x="1506" y="414"/>
                  </a:lnTo>
                  <a:lnTo>
                    <a:pt x="1506" y="414"/>
                  </a:lnTo>
                  <a:lnTo>
                    <a:pt x="1524" y="414"/>
                  </a:lnTo>
                  <a:lnTo>
                    <a:pt x="1540" y="414"/>
                  </a:lnTo>
                  <a:lnTo>
                    <a:pt x="1554" y="414"/>
                  </a:lnTo>
                  <a:lnTo>
                    <a:pt x="1572" y="410"/>
                  </a:lnTo>
                  <a:lnTo>
                    <a:pt x="1572" y="410"/>
                  </a:lnTo>
                  <a:lnTo>
                    <a:pt x="1588" y="404"/>
                  </a:lnTo>
                  <a:lnTo>
                    <a:pt x="1600" y="402"/>
                  </a:lnTo>
                  <a:lnTo>
                    <a:pt x="1614" y="402"/>
                  </a:lnTo>
                  <a:lnTo>
                    <a:pt x="1632" y="406"/>
                  </a:lnTo>
                  <a:lnTo>
                    <a:pt x="1632" y="406"/>
                  </a:lnTo>
                  <a:lnTo>
                    <a:pt x="1656" y="412"/>
                  </a:lnTo>
                  <a:lnTo>
                    <a:pt x="1656" y="412"/>
                  </a:lnTo>
                  <a:lnTo>
                    <a:pt x="1672" y="414"/>
                  </a:lnTo>
                  <a:lnTo>
                    <a:pt x="1682" y="414"/>
                  </a:lnTo>
                  <a:lnTo>
                    <a:pt x="1690" y="410"/>
                  </a:lnTo>
                  <a:lnTo>
                    <a:pt x="1694" y="406"/>
                  </a:lnTo>
                  <a:lnTo>
                    <a:pt x="1696" y="398"/>
                  </a:lnTo>
                  <a:lnTo>
                    <a:pt x="1698" y="392"/>
                  </a:lnTo>
                  <a:lnTo>
                    <a:pt x="1700" y="380"/>
                  </a:lnTo>
                  <a:lnTo>
                    <a:pt x="1700" y="380"/>
                  </a:lnTo>
                  <a:lnTo>
                    <a:pt x="1704" y="370"/>
                  </a:lnTo>
                  <a:lnTo>
                    <a:pt x="1708" y="364"/>
                  </a:lnTo>
                  <a:lnTo>
                    <a:pt x="1708" y="360"/>
                  </a:lnTo>
                  <a:lnTo>
                    <a:pt x="1708" y="358"/>
                  </a:lnTo>
                  <a:lnTo>
                    <a:pt x="1704" y="356"/>
                  </a:lnTo>
                  <a:lnTo>
                    <a:pt x="1696" y="356"/>
                  </a:lnTo>
                  <a:lnTo>
                    <a:pt x="1696" y="356"/>
                  </a:lnTo>
                  <a:lnTo>
                    <a:pt x="1686" y="356"/>
                  </a:lnTo>
                  <a:lnTo>
                    <a:pt x="1684" y="354"/>
                  </a:lnTo>
                  <a:lnTo>
                    <a:pt x="1682" y="352"/>
                  </a:lnTo>
                  <a:lnTo>
                    <a:pt x="1684" y="350"/>
                  </a:lnTo>
                  <a:lnTo>
                    <a:pt x="1686" y="348"/>
                  </a:lnTo>
                  <a:lnTo>
                    <a:pt x="1692" y="346"/>
                  </a:lnTo>
                  <a:lnTo>
                    <a:pt x="1700" y="346"/>
                  </a:lnTo>
                  <a:lnTo>
                    <a:pt x="1700" y="346"/>
                  </a:lnTo>
                  <a:lnTo>
                    <a:pt x="1710" y="344"/>
                  </a:lnTo>
                  <a:lnTo>
                    <a:pt x="1716" y="342"/>
                  </a:lnTo>
                  <a:lnTo>
                    <a:pt x="1724" y="338"/>
                  </a:lnTo>
                  <a:lnTo>
                    <a:pt x="1742" y="338"/>
                  </a:lnTo>
                  <a:lnTo>
                    <a:pt x="1742" y="338"/>
                  </a:lnTo>
                  <a:lnTo>
                    <a:pt x="1756" y="338"/>
                  </a:lnTo>
                  <a:lnTo>
                    <a:pt x="1768" y="340"/>
                  </a:lnTo>
                  <a:lnTo>
                    <a:pt x="1782" y="344"/>
                  </a:lnTo>
                  <a:lnTo>
                    <a:pt x="1794" y="348"/>
                  </a:lnTo>
                  <a:lnTo>
                    <a:pt x="1808" y="354"/>
                  </a:lnTo>
                  <a:lnTo>
                    <a:pt x="1820" y="362"/>
                  </a:lnTo>
                  <a:lnTo>
                    <a:pt x="1834" y="372"/>
                  </a:lnTo>
                  <a:lnTo>
                    <a:pt x="1848" y="384"/>
                  </a:lnTo>
                  <a:lnTo>
                    <a:pt x="1848" y="384"/>
                  </a:lnTo>
                  <a:lnTo>
                    <a:pt x="1862" y="394"/>
                  </a:lnTo>
                  <a:lnTo>
                    <a:pt x="1874" y="402"/>
                  </a:lnTo>
                  <a:lnTo>
                    <a:pt x="1884" y="408"/>
                  </a:lnTo>
                  <a:lnTo>
                    <a:pt x="1896" y="412"/>
                  </a:lnTo>
                  <a:lnTo>
                    <a:pt x="1916" y="418"/>
                  </a:lnTo>
                  <a:lnTo>
                    <a:pt x="1926" y="422"/>
                  </a:lnTo>
                  <a:lnTo>
                    <a:pt x="1936" y="428"/>
                  </a:lnTo>
                  <a:lnTo>
                    <a:pt x="1936" y="428"/>
                  </a:lnTo>
                  <a:lnTo>
                    <a:pt x="1948" y="434"/>
                  </a:lnTo>
                  <a:lnTo>
                    <a:pt x="1956" y="438"/>
                  </a:lnTo>
                  <a:lnTo>
                    <a:pt x="1964" y="440"/>
                  </a:lnTo>
                  <a:lnTo>
                    <a:pt x="1970" y="440"/>
                  </a:lnTo>
                  <a:lnTo>
                    <a:pt x="1976" y="440"/>
                  </a:lnTo>
                  <a:lnTo>
                    <a:pt x="1980" y="436"/>
                  </a:lnTo>
                  <a:lnTo>
                    <a:pt x="1992" y="430"/>
                  </a:lnTo>
                  <a:lnTo>
                    <a:pt x="1992" y="430"/>
                  </a:lnTo>
                  <a:lnTo>
                    <a:pt x="1998" y="426"/>
                  </a:lnTo>
                  <a:lnTo>
                    <a:pt x="2006" y="426"/>
                  </a:lnTo>
                  <a:lnTo>
                    <a:pt x="2012" y="428"/>
                  </a:lnTo>
                  <a:lnTo>
                    <a:pt x="2016" y="430"/>
                  </a:lnTo>
                  <a:lnTo>
                    <a:pt x="2022" y="434"/>
                  </a:lnTo>
                  <a:lnTo>
                    <a:pt x="2024" y="440"/>
                  </a:lnTo>
                  <a:lnTo>
                    <a:pt x="2024" y="444"/>
                  </a:lnTo>
                  <a:lnTo>
                    <a:pt x="2020" y="450"/>
                  </a:lnTo>
                  <a:lnTo>
                    <a:pt x="2020" y="450"/>
                  </a:lnTo>
                  <a:lnTo>
                    <a:pt x="2018" y="454"/>
                  </a:lnTo>
                  <a:lnTo>
                    <a:pt x="2020" y="458"/>
                  </a:lnTo>
                  <a:lnTo>
                    <a:pt x="2026" y="464"/>
                  </a:lnTo>
                  <a:lnTo>
                    <a:pt x="2030" y="466"/>
                  </a:lnTo>
                  <a:lnTo>
                    <a:pt x="2032" y="470"/>
                  </a:lnTo>
                  <a:lnTo>
                    <a:pt x="2030" y="474"/>
                  </a:lnTo>
                  <a:lnTo>
                    <a:pt x="2024" y="480"/>
                  </a:lnTo>
                  <a:lnTo>
                    <a:pt x="2024" y="480"/>
                  </a:lnTo>
                  <a:lnTo>
                    <a:pt x="2022" y="482"/>
                  </a:lnTo>
                  <a:lnTo>
                    <a:pt x="2020" y="484"/>
                  </a:lnTo>
                  <a:lnTo>
                    <a:pt x="2020" y="490"/>
                  </a:lnTo>
                  <a:lnTo>
                    <a:pt x="2020" y="492"/>
                  </a:lnTo>
                  <a:lnTo>
                    <a:pt x="2018" y="496"/>
                  </a:lnTo>
                  <a:lnTo>
                    <a:pt x="2012" y="500"/>
                  </a:lnTo>
                  <a:lnTo>
                    <a:pt x="2004" y="508"/>
                  </a:lnTo>
                  <a:lnTo>
                    <a:pt x="2004" y="508"/>
                  </a:lnTo>
                  <a:lnTo>
                    <a:pt x="2000" y="510"/>
                  </a:lnTo>
                  <a:lnTo>
                    <a:pt x="2000" y="512"/>
                  </a:lnTo>
                  <a:lnTo>
                    <a:pt x="2006" y="518"/>
                  </a:lnTo>
                  <a:lnTo>
                    <a:pt x="2016" y="524"/>
                  </a:lnTo>
                  <a:lnTo>
                    <a:pt x="2020" y="530"/>
                  </a:lnTo>
                  <a:lnTo>
                    <a:pt x="2022" y="536"/>
                  </a:lnTo>
                  <a:lnTo>
                    <a:pt x="2022" y="536"/>
                  </a:lnTo>
                  <a:lnTo>
                    <a:pt x="2024" y="546"/>
                  </a:lnTo>
                  <a:lnTo>
                    <a:pt x="2028" y="552"/>
                  </a:lnTo>
                  <a:lnTo>
                    <a:pt x="2032" y="556"/>
                  </a:lnTo>
                  <a:lnTo>
                    <a:pt x="2032" y="556"/>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Slovakia"/>
            <p:cNvSpPr>
              <a:spLocks/>
            </p:cNvSpPr>
            <p:nvPr/>
          </p:nvSpPr>
          <p:spPr bwMode="auto">
            <a:xfrm>
              <a:off x="4560059" y="2046552"/>
              <a:ext cx="119063" cy="52917"/>
            </a:xfrm>
            <a:custGeom>
              <a:avLst/>
              <a:gdLst/>
              <a:ahLst/>
              <a:cxnLst>
                <a:cxn ang="0">
                  <a:pos x="26" y="2"/>
                </a:cxn>
                <a:cxn ang="0">
                  <a:pos x="36" y="4"/>
                </a:cxn>
                <a:cxn ang="0">
                  <a:pos x="38" y="0"/>
                </a:cxn>
                <a:cxn ang="0">
                  <a:pos x="42" y="4"/>
                </a:cxn>
                <a:cxn ang="0">
                  <a:pos x="48" y="6"/>
                </a:cxn>
                <a:cxn ang="0">
                  <a:pos x="52" y="4"/>
                </a:cxn>
                <a:cxn ang="0">
                  <a:pos x="56" y="6"/>
                </a:cxn>
                <a:cxn ang="0">
                  <a:pos x="60" y="8"/>
                </a:cxn>
                <a:cxn ang="0">
                  <a:pos x="62" y="6"/>
                </a:cxn>
                <a:cxn ang="0">
                  <a:pos x="66" y="2"/>
                </a:cxn>
                <a:cxn ang="0">
                  <a:pos x="70" y="4"/>
                </a:cxn>
                <a:cxn ang="0">
                  <a:pos x="82" y="10"/>
                </a:cxn>
                <a:cxn ang="0">
                  <a:pos x="90" y="10"/>
                </a:cxn>
                <a:cxn ang="0">
                  <a:pos x="90" y="16"/>
                </a:cxn>
                <a:cxn ang="0">
                  <a:pos x="88" y="20"/>
                </a:cxn>
                <a:cxn ang="0">
                  <a:pos x="88" y="22"/>
                </a:cxn>
                <a:cxn ang="0">
                  <a:pos x="88" y="24"/>
                </a:cxn>
                <a:cxn ang="0">
                  <a:pos x="72" y="22"/>
                </a:cxn>
                <a:cxn ang="0">
                  <a:pos x="66" y="20"/>
                </a:cxn>
                <a:cxn ang="0">
                  <a:pos x="62" y="24"/>
                </a:cxn>
                <a:cxn ang="0">
                  <a:pos x="58" y="24"/>
                </a:cxn>
                <a:cxn ang="0">
                  <a:pos x="50" y="26"/>
                </a:cxn>
                <a:cxn ang="0">
                  <a:pos x="44" y="30"/>
                </a:cxn>
                <a:cxn ang="0">
                  <a:pos x="26" y="34"/>
                </a:cxn>
                <a:cxn ang="0">
                  <a:pos x="24" y="34"/>
                </a:cxn>
                <a:cxn ang="0">
                  <a:pos x="24" y="38"/>
                </a:cxn>
                <a:cxn ang="0">
                  <a:pos x="22" y="40"/>
                </a:cxn>
                <a:cxn ang="0">
                  <a:pos x="12" y="40"/>
                </a:cxn>
                <a:cxn ang="0">
                  <a:pos x="6" y="40"/>
                </a:cxn>
                <a:cxn ang="0">
                  <a:pos x="0" y="38"/>
                </a:cxn>
                <a:cxn ang="0">
                  <a:pos x="0" y="28"/>
                </a:cxn>
                <a:cxn ang="0">
                  <a:pos x="2" y="26"/>
                </a:cxn>
                <a:cxn ang="0">
                  <a:pos x="10" y="20"/>
                </a:cxn>
                <a:cxn ang="0">
                  <a:pos x="18" y="16"/>
                </a:cxn>
                <a:cxn ang="0">
                  <a:pos x="20" y="8"/>
                </a:cxn>
                <a:cxn ang="0">
                  <a:pos x="26" y="2"/>
                </a:cxn>
              </a:cxnLst>
              <a:rect l="0" t="0" r="r" b="b"/>
              <a:pathLst>
                <a:path w="90" h="40">
                  <a:moveTo>
                    <a:pt x="26" y="2"/>
                  </a:moveTo>
                  <a:lnTo>
                    <a:pt x="26" y="2"/>
                  </a:lnTo>
                  <a:lnTo>
                    <a:pt x="34" y="6"/>
                  </a:lnTo>
                  <a:lnTo>
                    <a:pt x="36" y="4"/>
                  </a:lnTo>
                  <a:lnTo>
                    <a:pt x="36" y="4"/>
                  </a:lnTo>
                  <a:lnTo>
                    <a:pt x="38" y="0"/>
                  </a:lnTo>
                  <a:lnTo>
                    <a:pt x="42" y="4"/>
                  </a:lnTo>
                  <a:lnTo>
                    <a:pt x="42" y="4"/>
                  </a:lnTo>
                  <a:lnTo>
                    <a:pt x="46" y="6"/>
                  </a:lnTo>
                  <a:lnTo>
                    <a:pt x="48" y="6"/>
                  </a:lnTo>
                  <a:lnTo>
                    <a:pt x="50" y="4"/>
                  </a:lnTo>
                  <a:lnTo>
                    <a:pt x="52" y="4"/>
                  </a:lnTo>
                  <a:lnTo>
                    <a:pt x="52" y="4"/>
                  </a:lnTo>
                  <a:lnTo>
                    <a:pt x="56" y="6"/>
                  </a:lnTo>
                  <a:lnTo>
                    <a:pt x="60" y="8"/>
                  </a:lnTo>
                  <a:lnTo>
                    <a:pt x="60" y="8"/>
                  </a:lnTo>
                  <a:lnTo>
                    <a:pt x="62" y="6"/>
                  </a:lnTo>
                  <a:lnTo>
                    <a:pt x="62" y="6"/>
                  </a:lnTo>
                  <a:lnTo>
                    <a:pt x="62" y="4"/>
                  </a:lnTo>
                  <a:lnTo>
                    <a:pt x="66" y="2"/>
                  </a:lnTo>
                  <a:lnTo>
                    <a:pt x="66" y="2"/>
                  </a:lnTo>
                  <a:lnTo>
                    <a:pt x="70" y="4"/>
                  </a:lnTo>
                  <a:lnTo>
                    <a:pt x="76" y="6"/>
                  </a:lnTo>
                  <a:lnTo>
                    <a:pt x="82" y="10"/>
                  </a:lnTo>
                  <a:lnTo>
                    <a:pt x="90" y="10"/>
                  </a:lnTo>
                  <a:lnTo>
                    <a:pt x="90" y="10"/>
                  </a:lnTo>
                  <a:lnTo>
                    <a:pt x="90" y="12"/>
                  </a:lnTo>
                  <a:lnTo>
                    <a:pt x="90" y="16"/>
                  </a:lnTo>
                  <a:lnTo>
                    <a:pt x="90" y="16"/>
                  </a:lnTo>
                  <a:lnTo>
                    <a:pt x="88" y="20"/>
                  </a:lnTo>
                  <a:lnTo>
                    <a:pt x="88" y="22"/>
                  </a:lnTo>
                  <a:lnTo>
                    <a:pt x="88" y="22"/>
                  </a:lnTo>
                  <a:lnTo>
                    <a:pt x="88" y="24"/>
                  </a:lnTo>
                  <a:lnTo>
                    <a:pt x="88" y="24"/>
                  </a:lnTo>
                  <a:lnTo>
                    <a:pt x="80" y="26"/>
                  </a:lnTo>
                  <a:lnTo>
                    <a:pt x="72" y="22"/>
                  </a:lnTo>
                  <a:lnTo>
                    <a:pt x="72" y="22"/>
                  </a:lnTo>
                  <a:lnTo>
                    <a:pt x="66" y="20"/>
                  </a:lnTo>
                  <a:lnTo>
                    <a:pt x="64" y="22"/>
                  </a:lnTo>
                  <a:lnTo>
                    <a:pt x="62" y="24"/>
                  </a:lnTo>
                  <a:lnTo>
                    <a:pt x="58" y="24"/>
                  </a:lnTo>
                  <a:lnTo>
                    <a:pt x="58" y="24"/>
                  </a:lnTo>
                  <a:lnTo>
                    <a:pt x="54" y="24"/>
                  </a:lnTo>
                  <a:lnTo>
                    <a:pt x="50" y="26"/>
                  </a:lnTo>
                  <a:lnTo>
                    <a:pt x="44" y="30"/>
                  </a:lnTo>
                  <a:lnTo>
                    <a:pt x="44" y="30"/>
                  </a:lnTo>
                  <a:lnTo>
                    <a:pt x="36" y="32"/>
                  </a:lnTo>
                  <a:lnTo>
                    <a:pt x="26" y="34"/>
                  </a:lnTo>
                  <a:lnTo>
                    <a:pt x="26" y="34"/>
                  </a:lnTo>
                  <a:lnTo>
                    <a:pt x="24" y="34"/>
                  </a:lnTo>
                  <a:lnTo>
                    <a:pt x="22" y="36"/>
                  </a:lnTo>
                  <a:lnTo>
                    <a:pt x="24" y="38"/>
                  </a:lnTo>
                  <a:lnTo>
                    <a:pt x="24" y="38"/>
                  </a:lnTo>
                  <a:lnTo>
                    <a:pt x="22" y="40"/>
                  </a:lnTo>
                  <a:lnTo>
                    <a:pt x="20" y="40"/>
                  </a:lnTo>
                  <a:lnTo>
                    <a:pt x="12" y="40"/>
                  </a:lnTo>
                  <a:lnTo>
                    <a:pt x="12" y="40"/>
                  </a:lnTo>
                  <a:lnTo>
                    <a:pt x="6" y="40"/>
                  </a:lnTo>
                  <a:lnTo>
                    <a:pt x="0" y="38"/>
                  </a:lnTo>
                  <a:lnTo>
                    <a:pt x="0" y="38"/>
                  </a:lnTo>
                  <a:lnTo>
                    <a:pt x="0" y="32"/>
                  </a:lnTo>
                  <a:lnTo>
                    <a:pt x="0" y="28"/>
                  </a:lnTo>
                  <a:lnTo>
                    <a:pt x="0" y="28"/>
                  </a:lnTo>
                  <a:lnTo>
                    <a:pt x="2" y="26"/>
                  </a:lnTo>
                  <a:lnTo>
                    <a:pt x="6" y="22"/>
                  </a:lnTo>
                  <a:lnTo>
                    <a:pt x="10" y="20"/>
                  </a:lnTo>
                  <a:lnTo>
                    <a:pt x="10" y="20"/>
                  </a:lnTo>
                  <a:lnTo>
                    <a:pt x="18" y="16"/>
                  </a:lnTo>
                  <a:lnTo>
                    <a:pt x="18" y="12"/>
                  </a:lnTo>
                  <a:lnTo>
                    <a:pt x="20" y="8"/>
                  </a:lnTo>
                  <a:lnTo>
                    <a:pt x="26" y="2"/>
                  </a:lnTo>
                  <a:lnTo>
                    <a:pt x="26" y="2"/>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South Africa"/>
            <p:cNvSpPr>
              <a:spLocks/>
            </p:cNvSpPr>
            <p:nvPr/>
          </p:nvSpPr>
          <p:spPr bwMode="auto">
            <a:xfrm>
              <a:off x="4570643" y="4372240"/>
              <a:ext cx="452438" cy="404813"/>
            </a:xfrm>
            <a:custGeom>
              <a:avLst/>
              <a:gdLst/>
              <a:ahLst/>
              <a:cxnLst>
                <a:cxn ang="0">
                  <a:pos x="292" y="0"/>
                </a:cxn>
                <a:cxn ang="0">
                  <a:pos x="312" y="4"/>
                </a:cxn>
                <a:cxn ang="0">
                  <a:pos x="326" y="6"/>
                </a:cxn>
                <a:cxn ang="0">
                  <a:pos x="332" y="44"/>
                </a:cxn>
                <a:cxn ang="0">
                  <a:pos x="326" y="74"/>
                </a:cxn>
                <a:cxn ang="0">
                  <a:pos x="310" y="84"/>
                </a:cxn>
                <a:cxn ang="0">
                  <a:pos x="300" y="102"/>
                </a:cxn>
                <a:cxn ang="0">
                  <a:pos x="308" y="118"/>
                </a:cxn>
                <a:cxn ang="0">
                  <a:pos x="328" y="122"/>
                </a:cxn>
                <a:cxn ang="0">
                  <a:pos x="328" y="112"/>
                </a:cxn>
                <a:cxn ang="0">
                  <a:pos x="336" y="134"/>
                </a:cxn>
                <a:cxn ang="0">
                  <a:pos x="318" y="158"/>
                </a:cxn>
                <a:cxn ang="0">
                  <a:pos x="294" y="188"/>
                </a:cxn>
                <a:cxn ang="0">
                  <a:pos x="266" y="222"/>
                </a:cxn>
                <a:cxn ang="0">
                  <a:pos x="246" y="246"/>
                </a:cxn>
                <a:cxn ang="0">
                  <a:pos x="226" y="270"/>
                </a:cxn>
                <a:cxn ang="0">
                  <a:pos x="196" y="284"/>
                </a:cxn>
                <a:cxn ang="0">
                  <a:pos x="184" y="290"/>
                </a:cxn>
                <a:cxn ang="0">
                  <a:pos x="174" y="294"/>
                </a:cxn>
                <a:cxn ang="0">
                  <a:pos x="164" y="298"/>
                </a:cxn>
                <a:cxn ang="0">
                  <a:pos x="142" y="294"/>
                </a:cxn>
                <a:cxn ang="0">
                  <a:pos x="128" y="292"/>
                </a:cxn>
                <a:cxn ang="0">
                  <a:pos x="116" y="298"/>
                </a:cxn>
                <a:cxn ang="0">
                  <a:pos x="104" y="300"/>
                </a:cxn>
                <a:cxn ang="0">
                  <a:pos x="86" y="304"/>
                </a:cxn>
                <a:cxn ang="0">
                  <a:pos x="68" y="304"/>
                </a:cxn>
                <a:cxn ang="0">
                  <a:pos x="50" y="294"/>
                </a:cxn>
                <a:cxn ang="0">
                  <a:pos x="52" y="304"/>
                </a:cxn>
                <a:cxn ang="0">
                  <a:pos x="42" y="296"/>
                </a:cxn>
                <a:cxn ang="0">
                  <a:pos x="38" y="282"/>
                </a:cxn>
                <a:cxn ang="0">
                  <a:pos x="36" y="270"/>
                </a:cxn>
                <a:cxn ang="0">
                  <a:pos x="40" y="256"/>
                </a:cxn>
                <a:cxn ang="0">
                  <a:pos x="40" y="236"/>
                </a:cxn>
                <a:cxn ang="0">
                  <a:pos x="30" y="222"/>
                </a:cxn>
                <a:cxn ang="0">
                  <a:pos x="16" y="198"/>
                </a:cxn>
                <a:cxn ang="0">
                  <a:pos x="10" y="160"/>
                </a:cxn>
                <a:cxn ang="0">
                  <a:pos x="12" y="144"/>
                </a:cxn>
                <a:cxn ang="0">
                  <a:pos x="28" y="142"/>
                </a:cxn>
                <a:cxn ang="0">
                  <a:pos x="38" y="158"/>
                </a:cxn>
                <a:cxn ang="0">
                  <a:pos x="56" y="156"/>
                </a:cxn>
                <a:cxn ang="0">
                  <a:pos x="72" y="146"/>
                </a:cxn>
                <a:cxn ang="0">
                  <a:pos x="90" y="72"/>
                </a:cxn>
                <a:cxn ang="0">
                  <a:pos x="106" y="94"/>
                </a:cxn>
                <a:cxn ang="0">
                  <a:pos x="102" y="112"/>
                </a:cxn>
                <a:cxn ang="0">
                  <a:pos x="118" y="112"/>
                </a:cxn>
                <a:cxn ang="0">
                  <a:pos x="126" y="106"/>
                </a:cxn>
                <a:cxn ang="0">
                  <a:pos x="130" y="106"/>
                </a:cxn>
                <a:cxn ang="0">
                  <a:pos x="142" y="94"/>
                </a:cxn>
                <a:cxn ang="0">
                  <a:pos x="142" y="86"/>
                </a:cxn>
                <a:cxn ang="0">
                  <a:pos x="164" y="78"/>
                </a:cxn>
                <a:cxn ang="0">
                  <a:pos x="174" y="84"/>
                </a:cxn>
                <a:cxn ang="0">
                  <a:pos x="192" y="82"/>
                </a:cxn>
                <a:cxn ang="0">
                  <a:pos x="212" y="62"/>
                </a:cxn>
                <a:cxn ang="0">
                  <a:pos x="230" y="46"/>
                </a:cxn>
                <a:cxn ang="0">
                  <a:pos x="246" y="24"/>
                </a:cxn>
                <a:cxn ang="0">
                  <a:pos x="268" y="8"/>
                </a:cxn>
                <a:cxn ang="0">
                  <a:pos x="278" y="4"/>
                </a:cxn>
              </a:cxnLst>
              <a:rect l="0" t="0" r="r" b="b"/>
              <a:pathLst>
                <a:path w="342" h="306">
                  <a:moveTo>
                    <a:pt x="282" y="2"/>
                  </a:moveTo>
                  <a:lnTo>
                    <a:pt x="282" y="2"/>
                  </a:lnTo>
                  <a:lnTo>
                    <a:pt x="286" y="0"/>
                  </a:lnTo>
                  <a:lnTo>
                    <a:pt x="292" y="0"/>
                  </a:lnTo>
                  <a:lnTo>
                    <a:pt x="298" y="2"/>
                  </a:lnTo>
                  <a:lnTo>
                    <a:pt x="306" y="4"/>
                  </a:lnTo>
                  <a:lnTo>
                    <a:pt x="312" y="4"/>
                  </a:lnTo>
                  <a:lnTo>
                    <a:pt x="312" y="4"/>
                  </a:lnTo>
                  <a:lnTo>
                    <a:pt x="320" y="4"/>
                  </a:lnTo>
                  <a:lnTo>
                    <a:pt x="324" y="6"/>
                  </a:lnTo>
                  <a:lnTo>
                    <a:pt x="326" y="6"/>
                  </a:lnTo>
                  <a:lnTo>
                    <a:pt x="326" y="6"/>
                  </a:lnTo>
                  <a:lnTo>
                    <a:pt x="332" y="18"/>
                  </a:lnTo>
                  <a:lnTo>
                    <a:pt x="332" y="22"/>
                  </a:lnTo>
                  <a:lnTo>
                    <a:pt x="330" y="30"/>
                  </a:lnTo>
                  <a:lnTo>
                    <a:pt x="332" y="44"/>
                  </a:lnTo>
                  <a:lnTo>
                    <a:pt x="332" y="44"/>
                  </a:lnTo>
                  <a:lnTo>
                    <a:pt x="332" y="58"/>
                  </a:lnTo>
                  <a:lnTo>
                    <a:pt x="330" y="66"/>
                  </a:lnTo>
                  <a:lnTo>
                    <a:pt x="326" y="74"/>
                  </a:lnTo>
                  <a:lnTo>
                    <a:pt x="322" y="88"/>
                  </a:lnTo>
                  <a:lnTo>
                    <a:pt x="322" y="88"/>
                  </a:lnTo>
                  <a:lnTo>
                    <a:pt x="314" y="84"/>
                  </a:lnTo>
                  <a:lnTo>
                    <a:pt x="310" y="84"/>
                  </a:lnTo>
                  <a:lnTo>
                    <a:pt x="308" y="88"/>
                  </a:lnTo>
                  <a:lnTo>
                    <a:pt x="304" y="94"/>
                  </a:lnTo>
                  <a:lnTo>
                    <a:pt x="304" y="94"/>
                  </a:lnTo>
                  <a:lnTo>
                    <a:pt x="300" y="102"/>
                  </a:lnTo>
                  <a:lnTo>
                    <a:pt x="300" y="108"/>
                  </a:lnTo>
                  <a:lnTo>
                    <a:pt x="300" y="112"/>
                  </a:lnTo>
                  <a:lnTo>
                    <a:pt x="308" y="118"/>
                  </a:lnTo>
                  <a:lnTo>
                    <a:pt x="308" y="118"/>
                  </a:lnTo>
                  <a:lnTo>
                    <a:pt x="316" y="122"/>
                  </a:lnTo>
                  <a:lnTo>
                    <a:pt x="320" y="124"/>
                  </a:lnTo>
                  <a:lnTo>
                    <a:pt x="324" y="124"/>
                  </a:lnTo>
                  <a:lnTo>
                    <a:pt x="328" y="122"/>
                  </a:lnTo>
                  <a:lnTo>
                    <a:pt x="328" y="122"/>
                  </a:lnTo>
                  <a:lnTo>
                    <a:pt x="330" y="120"/>
                  </a:lnTo>
                  <a:lnTo>
                    <a:pt x="330" y="116"/>
                  </a:lnTo>
                  <a:lnTo>
                    <a:pt x="328" y="112"/>
                  </a:lnTo>
                  <a:lnTo>
                    <a:pt x="330" y="110"/>
                  </a:lnTo>
                  <a:lnTo>
                    <a:pt x="342" y="110"/>
                  </a:lnTo>
                  <a:lnTo>
                    <a:pt x="342" y="110"/>
                  </a:lnTo>
                  <a:lnTo>
                    <a:pt x="336" y="134"/>
                  </a:lnTo>
                  <a:lnTo>
                    <a:pt x="332" y="148"/>
                  </a:lnTo>
                  <a:lnTo>
                    <a:pt x="328" y="154"/>
                  </a:lnTo>
                  <a:lnTo>
                    <a:pt x="326" y="156"/>
                  </a:lnTo>
                  <a:lnTo>
                    <a:pt x="318" y="158"/>
                  </a:lnTo>
                  <a:lnTo>
                    <a:pt x="318" y="158"/>
                  </a:lnTo>
                  <a:lnTo>
                    <a:pt x="312" y="160"/>
                  </a:lnTo>
                  <a:lnTo>
                    <a:pt x="306" y="168"/>
                  </a:lnTo>
                  <a:lnTo>
                    <a:pt x="294" y="188"/>
                  </a:lnTo>
                  <a:lnTo>
                    <a:pt x="282" y="210"/>
                  </a:lnTo>
                  <a:lnTo>
                    <a:pt x="274" y="218"/>
                  </a:lnTo>
                  <a:lnTo>
                    <a:pt x="266" y="222"/>
                  </a:lnTo>
                  <a:lnTo>
                    <a:pt x="266" y="222"/>
                  </a:lnTo>
                  <a:lnTo>
                    <a:pt x="262" y="224"/>
                  </a:lnTo>
                  <a:lnTo>
                    <a:pt x="260" y="226"/>
                  </a:lnTo>
                  <a:lnTo>
                    <a:pt x="252" y="236"/>
                  </a:lnTo>
                  <a:lnTo>
                    <a:pt x="246" y="246"/>
                  </a:lnTo>
                  <a:lnTo>
                    <a:pt x="240" y="252"/>
                  </a:lnTo>
                  <a:lnTo>
                    <a:pt x="240" y="252"/>
                  </a:lnTo>
                  <a:lnTo>
                    <a:pt x="234" y="260"/>
                  </a:lnTo>
                  <a:lnTo>
                    <a:pt x="226" y="270"/>
                  </a:lnTo>
                  <a:lnTo>
                    <a:pt x="222" y="274"/>
                  </a:lnTo>
                  <a:lnTo>
                    <a:pt x="214" y="278"/>
                  </a:lnTo>
                  <a:lnTo>
                    <a:pt x="206" y="282"/>
                  </a:lnTo>
                  <a:lnTo>
                    <a:pt x="196" y="284"/>
                  </a:lnTo>
                  <a:lnTo>
                    <a:pt x="196" y="284"/>
                  </a:lnTo>
                  <a:lnTo>
                    <a:pt x="192" y="284"/>
                  </a:lnTo>
                  <a:lnTo>
                    <a:pt x="188" y="286"/>
                  </a:lnTo>
                  <a:lnTo>
                    <a:pt x="184" y="290"/>
                  </a:lnTo>
                  <a:lnTo>
                    <a:pt x="180" y="294"/>
                  </a:lnTo>
                  <a:lnTo>
                    <a:pt x="178" y="294"/>
                  </a:lnTo>
                  <a:lnTo>
                    <a:pt x="174" y="294"/>
                  </a:lnTo>
                  <a:lnTo>
                    <a:pt x="174" y="294"/>
                  </a:lnTo>
                  <a:lnTo>
                    <a:pt x="170" y="292"/>
                  </a:lnTo>
                  <a:lnTo>
                    <a:pt x="168" y="294"/>
                  </a:lnTo>
                  <a:lnTo>
                    <a:pt x="166" y="296"/>
                  </a:lnTo>
                  <a:lnTo>
                    <a:pt x="164" y="298"/>
                  </a:lnTo>
                  <a:lnTo>
                    <a:pt x="158" y="296"/>
                  </a:lnTo>
                  <a:lnTo>
                    <a:pt x="158" y="296"/>
                  </a:lnTo>
                  <a:lnTo>
                    <a:pt x="148" y="294"/>
                  </a:lnTo>
                  <a:lnTo>
                    <a:pt x="142" y="294"/>
                  </a:lnTo>
                  <a:lnTo>
                    <a:pt x="136" y="294"/>
                  </a:lnTo>
                  <a:lnTo>
                    <a:pt x="136" y="294"/>
                  </a:lnTo>
                  <a:lnTo>
                    <a:pt x="132" y="294"/>
                  </a:lnTo>
                  <a:lnTo>
                    <a:pt x="128" y="292"/>
                  </a:lnTo>
                  <a:lnTo>
                    <a:pt x="122" y="292"/>
                  </a:lnTo>
                  <a:lnTo>
                    <a:pt x="118" y="294"/>
                  </a:lnTo>
                  <a:lnTo>
                    <a:pt x="118" y="294"/>
                  </a:lnTo>
                  <a:lnTo>
                    <a:pt x="116" y="298"/>
                  </a:lnTo>
                  <a:lnTo>
                    <a:pt x="112" y="300"/>
                  </a:lnTo>
                  <a:lnTo>
                    <a:pt x="108" y="300"/>
                  </a:lnTo>
                  <a:lnTo>
                    <a:pt x="104" y="300"/>
                  </a:lnTo>
                  <a:lnTo>
                    <a:pt x="104" y="300"/>
                  </a:lnTo>
                  <a:lnTo>
                    <a:pt x="100" y="302"/>
                  </a:lnTo>
                  <a:lnTo>
                    <a:pt x="98" y="300"/>
                  </a:lnTo>
                  <a:lnTo>
                    <a:pt x="94" y="300"/>
                  </a:lnTo>
                  <a:lnTo>
                    <a:pt x="86" y="304"/>
                  </a:lnTo>
                  <a:lnTo>
                    <a:pt x="86" y="304"/>
                  </a:lnTo>
                  <a:lnTo>
                    <a:pt x="80" y="306"/>
                  </a:lnTo>
                  <a:lnTo>
                    <a:pt x="74" y="306"/>
                  </a:lnTo>
                  <a:lnTo>
                    <a:pt x="68" y="304"/>
                  </a:lnTo>
                  <a:lnTo>
                    <a:pt x="64" y="302"/>
                  </a:lnTo>
                  <a:lnTo>
                    <a:pt x="56" y="296"/>
                  </a:lnTo>
                  <a:lnTo>
                    <a:pt x="54" y="294"/>
                  </a:lnTo>
                  <a:lnTo>
                    <a:pt x="50" y="294"/>
                  </a:lnTo>
                  <a:lnTo>
                    <a:pt x="50" y="294"/>
                  </a:lnTo>
                  <a:lnTo>
                    <a:pt x="48" y="296"/>
                  </a:lnTo>
                  <a:lnTo>
                    <a:pt x="50" y="300"/>
                  </a:lnTo>
                  <a:lnTo>
                    <a:pt x="52" y="304"/>
                  </a:lnTo>
                  <a:lnTo>
                    <a:pt x="52" y="304"/>
                  </a:lnTo>
                  <a:lnTo>
                    <a:pt x="46" y="300"/>
                  </a:lnTo>
                  <a:lnTo>
                    <a:pt x="44" y="298"/>
                  </a:lnTo>
                  <a:lnTo>
                    <a:pt x="42" y="296"/>
                  </a:lnTo>
                  <a:lnTo>
                    <a:pt x="42" y="294"/>
                  </a:lnTo>
                  <a:lnTo>
                    <a:pt x="42" y="288"/>
                  </a:lnTo>
                  <a:lnTo>
                    <a:pt x="42" y="284"/>
                  </a:lnTo>
                  <a:lnTo>
                    <a:pt x="38" y="282"/>
                  </a:lnTo>
                  <a:lnTo>
                    <a:pt x="38" y="282"/>
                  </a:lnTo>
                  <a:lnTo>
                    <a:pt x="36" y="278"/>
                  </a:lnTo>
                  <a:lnTo>
                    <a:pt x="36" y="274"/>
                  </a:lnTo>
                  <a:lnTo>
                    <a:pt x="36" y="270"/>
                  </a:lnTo>
                  <a:lnTo>
                    <a:pt x="32" y="264"/>
                  </a:lnTo>
                  <a:lnTo>
                    <a:pt x="32" y="264"/>
                  </a:lnTo>
                  <a:lnTo>
                    <a:pt x="38" y="260"/>
                  </a:lnTo>
                  <a:lnTo>
                    <a:pt x="40" y="256"/>
                  </a:lnTo>
                  <a:lnTo>
                    <a:pt x="38" y="250"/>
                  </a:lnTo>
                  <a:lnTo>
                    <a:pt x="38" y="250"/>
                  </a:lnTo>
                  <a:lnTo>
                    <a:pt x="38" y="244"/>
                  </a:lnTo>
                  <a:lnTo>
                    <a:pt x="40" y="236"/>
                  </a:lnTo>
                  <a:lnTo>
                    <a:pt x="40" y="234"/>
                  </a:lnTo>
                  <a:lnTo>
                    <a:pt x="38" y="230"/>
                  </a:lnTo>
                  <a:lnTo>
                    <a:pt x="36" y="226"/>
                  </a:lnTo>
                  <a:lnTo>
                    <a:pt x="30" y="222"/>
                  </a:lnTo>
                  <a:lnTo>
                    <a:pt x="30" y="222"/>
                  </a:lnTo>
                  <a:lnTo>
                    <a:pt x="24" y="216"/>
                  </a:lnTo>
                  <a:lnTo>
                    <a:pt x="20" y="206"/>
                  </a:lnTo>
                  <a:lnTo>
                    <a:pt x="16" y="198"/>
                  </a:lnTo>
                  <a:lnTo>
                    <a:pt x="14" y="186"/>
                  </a:lnTo>
                  <a:lnTo>
                    <a:pt x="12" y="170"/>
                  </a:lnTo>
                  <a:lnTo>
                    <a:pt x="10" y="162"/>
                  </a:lnTo>
                  <a:lnTo>
                    <a:pt x="10" y="160"/>
                  </a:lnTo>
                  <a:lnTo>
                    <a:pt x="10" y="160"/>
                  </a:lnTo>
                  <a:lnTo>
                    <a:pt x="0" y="152"/>
                  </a:lnTo>
                  <a:lnTo>
                    <a:pt x="0" y="152"/>
                  </a:lnTo>
                  <a:lnTo>
                    <a:pt x="12" y="144"/>
                  </a:lnTo>
                  <a:lnTo>
                    <a:pt x="18" y="142"/>
                  </a:lnTo>
                  <a:lnTo>
                    <a:pt x="24" y="140"/>
                  </a:lnTo>
                  <a:lnTo>
                    <a:pt x="24" y="140"/>
                  </a:lnTo>
                  <a:lnTo>
                    <a:pt x="28" y="142"/>
                  </a:lnTo>
                  <a:lnTo>
                    <a:pt x="28" y="144"/>
                  </a:lnTo>
                  <a:lnTo>
                    <a:pt x="30" y="150"/>
                  </a:lnTo>
                  <a:lnTo>
                    <a:pt x="34" y="156"/>
                  </a:lnTo>
                  <a:lnTo>
                    <a:pt x="38" y="158"/>
                  </a:lnTo>
                  <a:lnTo>
                    <a:pt x="42" y="158"/>
                  </a:lnTo>
                  <a:lnTo>
                    <a:pt x="42" y="158"/>
                  </a:lnTo>
                  <a:lnTo>
                    <a:pt x="50" y="158"/>
                  </a:lnTo>
                  <a:lnTo>
                    <a:pt x="56" y="156"/>
                  </a:lnTo>
                  <a:lnTo>
                    <a:pt x="60" y="154"/>
                  </a:lnTo>
                  <a:lnTo>
                    <a:pt x="64" y="152"/>
                  </a:lnTo>
                  <a:lnTo>
                    <a:pt x="68" y="148"/>
                  </a:lnTo>
                  <a:lnTo>
                    <a:pt x="72" y="146"/>
                  </a:lnTo>
                  <a:lnTo>
                    <a:pt x="76" y="146"/>
                  </a:lnTo>
                  <a:lnTo>
                    <a:pt x="80" y="68"/>
                  </a:lnTo>
                  <a:lnTo>
                    <a:pt x="80" y="68"/>
                  </a:lnTo>
                  <a:lnTo>
                    <a:pt x="90" y="72"/>
                  </a:lnTo>
                  <a:lnTo>
                    <a:pt x="96" y="76"/>
                  </a:lnTo>
                  <a:lnTo>
                    <a:pt x="100" y="80"/>
                  </a:lnTo>
                  <a:lnTo>
                    <a:pt x="104" y="86"/>
                  </a:lnTo>
                  <a:lnTo>
                    <a:pt x="106" y="94"/>
                  </a:lnTo>
                  <a:lnTo>
                    <a:pt x="106" y="100"/>
                  </a:lnTo>
                  <a:lnTo>
                    <a:pt x="106" y="100"/>
                  </a:lnTo>
                  <a:lnTo>
                    <a:pt x="102" y="110"/>
                  </a:lnTo>
                  <a:lnTo>
                    <a:pt x="102" y="112"/>
                  </a:lnTo>
                  <a:lnTo>
                    <a:pt x="108" y="112"/>
                  </a:lnTo>
                  <a:lnTo>
                    <a:pt x="108" y="112"/>
                  </a:lnTo>
                  <a:lnTo>
                    <a:pt x="114" y="112"/>
                  </a:lnTo>
                  <a:lnTo>
                    <a:pt x="118" y="112"/>
                  </a:lnTo>
                  <a:lnTo>
                    <a:pt x="122" y="112"/>
                  </a:lnTo>
                  <a:lnTo>
                    <a:pt x="122" y="110"/>
                  </a:lnTo>
                  <a:lnTo>
                    <a:pt x="122" y="110"/>
                  </a:lnTo>
                  <a:lnTo>
                    <a:pt x="126" y="106"/>
                  </a:lnTo>
                  <a:lnTo>
                    <a:pt x="128" y="108"/>
                  </a:lnTo>
                  <a:lnTo>
                    <a:pt x="128" y="108"/>
                  </a:lnTo>
                  <a:lnTo>
                    <a:pt x="130" y="106"/>
                  </a:lnTo>
                  <a:lnTo>
                    <a:pt x="130" y="106"/>
                  </a:lnTo>
                  <a:lnTo>
                    <a:pt x="134" y="100"/>
                  </a:lnTo>
                  <a:lnTo>
                    <a:pt x="138" y="96"/>
                  </a:lnTo>
                  <a:lnTo>
                    <a:pt x="142" y="94"/>
                  </a:lnTo>
                  <a:lnTo>
                    <a:pt x="142" y="94"/>
                  </a:lnTo>
                  <a:lnTo>
                    <a:pt x="142" y="92"/>
                  </a:lnTo>
                  <a:lnTo>
                    <a:pt x="142" y="92"/>
                  </a:lnTo>
                  <a:lnTo>
                    <a:pt x="140" y="90"/>
                  </a:lnTo>
                  <a:lnTo>
                    <a:pt x="142" y="86"/>
                  </a:lnTo>
                  <a:lnTo>
                    <a:pt x="146" y="82"/>
                  </a:lnTo>
                  <a:lnTo>
                    <a:pt x="154" y="78"/>
                  </a:lnTo>
                  <a:lnTo>
                    <a:pt x="164" y="78"/>
                  </a:lnTo>
                  <a:lnTo>
                    <a:pt x="164" y="78"/>
                  </a:lnTo>
                  <a:lnTo>
                    <a:pt x="168" y="78"/>
                  </a:lnTo>
                  <a:lnTo>
                    <a:pt x="168" y="80"/>
                  </a:lnTo>
                  <a:lnTo>
                    <a:pt x="168" y="82"/>
                  </a:lnTo>
                  <a:lnTo>
                    <a:pt x="174" y="84"/>
                  </a:lnTo>
                  <a:lnTo>
                    <a:pt x="174" y="84"/>
                  </a:lnTo>
                  <a:lnTo>
                    <a:pt x="180" y="86"/>
                  </a:lnTo>
                  <a:lnTo>
                    <a:pt x="184" y="86"/>
                  </a:lnTo>
                  <a:lnTo>
                    <a:pt x="192" y="82"/>
                  </a:lnTo>
                  <a:lnTo>
                    <a:pt x="198" y="80"/>
                  </a:lnTo>
                  <a:lnTo>
                    <a:pt x="206" y="78"/>
                  </a:lnTo>
                  <a:lnTo>
                    <a:pt x="206" y="78"/>
                  </a:lnTo>
                  <a:lnTo>
                    <a:pt x="212" y="62"/>
                  </a:lnTo>
                  <a:lnTo>
                    <a:pt x="218" y="56"/>
                  </a:lnTo>
                  <a:lnTo>
                    <a:pt x="224" y="52"/>
                  </a:lnTo>
                  <a:lnTo>
                    <a:pt x="230" y="46"/>
                  </a:lnTo>
                  <a:lnTo>
                    <a:pt x="230" y="46"/>
                  </a:lnTo>
                  <a:lnTo>
                    <a:pt x="238" y="32"/>
                  </a:lnTo>
                  <a:lnTo>
                    <a:pt x="242" y="26"/>
                  </a:lnTo>
                  <a:lnTo>
                    <a:pt x="246" y="24"/>
                  </a:lnTo>
                  <a:lnTo>
                    <a:pt x="246" y="24"/>
                  </a:lnTo>
                  <a:lnTo>
                    <a:pt x="256" y="18"/>
                  </a:lnTo>
                  <a:lnTo>
                    <a:pt x="260" y="14"/>
                  </a:lnTo>
                  <a:lnTo>
                    <a:pt x="262" y="10"/>
                  </a:lnTo>
                  <a:lnTo>
                    <a:pt x="268" y="8"/>
                  </a:lnTo>
                  <a:lnTo>
                    <a:pt x="268" y="8"/>
                  </a:lnTo>
                  <a:lnTo>
                    <a:pt x="274" y="8"/>
                  </a:lnTo>
                  <a:lnTo>
                    <a:pt x="276" y="6"/>
                  </a:lnTo>
                  <a:lnTo>
                    <a:pt x="278" y="4"/>
                  </a:lnTo>
                  <a:lnTo>
                    <a:pt x="282" y="2"/>
                  </a:lnTo>
                  <a:lnTo>
                    <a:pt x="282" y="2"/>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South Korea"/>
            <p:cNvSpPr>
              <a:spLocks/>
            </p:cNvSpPr>
            <p:nvPr/>
          </p:nvSpPr>
          <p:spPr bwMode="auto">
            <a:xfrm>
              <a:off x="7372580" y="2345531"/>
              <a:ext cx="111125" cy="142875"/>
            </a:xfrm>
            <a:custGeom>
              <a:avLst/>
              <a:gdLst/>
              <a:ahLst/>
              <a:cxnLst>
                <a:cxn ang="0">
                  <a:pos x="0" y="26"/>
                </a:cxn>
                <a:cxn ang="0">
                  <a:pos x="6" y="28"/>
                </a:cxn>
                <a:cxn ang="0">
                  <a:pos x="10" y="32"/>
                </a:cxn>
                <a:cxn ang="0">
                  <a:pos x="8" y="34"/>
                </a:cxn>
                <a:cxn ang="0">
                  <a:pos x="8" y="36"/>
                </a:cxn>
                <a:cxn ang="0">
                  <a:pos x="16" y="42"/>
                </a:cxn>
                <a:cxn ang="0">
                  <a:pos x="12" y="40"/>
                </a:cxn>
                <a:cxn ang="0">
                  <a:pos x="8" y="40"/>
                </a:cxn>
                <a:cxn ang="0">
                  <a:pos x="4" y="40"/>
                </a:cxn>
                <a:cxn ang="0">
                  <a:pos x="2" y="44"/>
                </a:cxn>
                <a:cxn ang="0">
                  <a:pos x="2" y="48"/>
                </a:cxn>
                <a:cxn ang="0">
                  <a:pos x="8" y="48"/>
                </a:cxn>
                <a:cxn ang="0">
                  <a:pos x="14" y="56"/>
                </a:cxn>
                <a:cxn ang="0">
                  <a:pos x="16" y="60"/>
                </a:cxn>
                <a:cxn ang="0">
                  <a:pos x="18" y="64"/>
                </a:cxn>
                <a:cxn ang="0">
                  <a:pos x="20" y="64"/>
                </a:cxn>
                <a:cxn ang="0">
                  <a:pos x="22" y="68"/>
                </a:cxn>
                <a:cxn ang="0">
                  <a:pos x="24" y="70"/>
                </a:cxn>
                <a:cxn ang="0">
                  <a:pos x="20" y="76"/>
                </a:cxn>
                <a:cxn ang="0">
                  <a:pos x="24" y="76"/>
                </a:cxn>
                <a:cxn ang="0">
                  <a:pos x="20" y="80"/>
                </a:cxn>
                <a:cxn ang="0">
                  <a:pos x="20" y="90"/>
                </a:cxn>
                <a:cxn ang="0">
                  <a:pos x="24" y="92"/>
                </a:cxn>
                <a:cxn ang="0">
                  <a:pos x="24" y="98"/>
                </a:cxn>
                <a:cxn ang="0">
                  <a:pos x="26" y="98"/>
                </a:cxn>
                <a:cxn ang="0">
                  <a:pos x="28" y="100"/>
                </a:cxn>
                <a:cxn ang="0">
                  <a:pos x="28" y="106"/>
                </a:cxn>
                <a:cxn ang="0">
                  <a:pos x="30" y="108"/>
                </a:cxn>
                <a:cxn ang="0">
                  <a:pos x="36" y="104"/>
                </a:cxn>
                <a:cxn ang="0">
                  <a:pos x="42" y="102"/>
                </a:cxn>
                <a:cxn ang="0">
                  <a:pos x="48" y="98"/>
                </a:cxn>
                <a:cxn ang="0">
                  <a:pos x="46" y="100"/>
                </a:cxn>
                <a:cxn ang="0">
                  <a:pos x="52" y="100"/>
                </a:cxn>
                <a:cxn ang="0">
                  <a:pos x="52" y="98"/>
                </a:cxn>
                <a:cxn ang="0">
                  <a:pos x="52" y="98"/>
                </a:cxn>
                <a:cxn ang="0">
                  <a:pos x="58" y="98"/>
                </a:cxn>
                <a:cxn ang="0">
                  <a:pos x="58" y="94"/>
                </a:cxn>
                <a:cxn ang="0">
                  <a:pos x="62" y="92"/>
                </a:cxn>
                <a:cxn ang="0">
                  <a:pos x="64" y="96"/>
                </a:cxn>
                <a:cxn ang="0">
                  <a:pos x="68" y="96"/>
                </a:cxn>
                <a:cxn ang="0">
                  <a:pos x="70" y="98"/>
                </a:cxn>
                <a:cxn ang="0">
                  <a:pos x="74" y="96"/>
                </a:cxn>
                <a:cxn ang="0">
                  <a:pos x="68" y="96"/>
                </a:cxn>
                <a:cxn ang="0">
                  <a:pos x="68" y="94"/>
                </a:cxn>
                <a:cxn ang="0">
                  <a:pos x="70" y="92"/>
                </a:cxn>
                <a:cxn ang="0">
                  <a:pos x="78" y="90"/>
                </a:cxn>
                <a:cxn ang="0">
                  <a:pos x="82" y="82"/>
                </a:cxn>
                <a:cxn ang="0">
                  <a:pos x="84" y="76"/>
                </a:cxn>
                <a:cxn ang="0">
                  <a:pos x="80" y="64"/>
                </a:cxn>
                <a:cxn ang="0">
                  <a:pos x="78" y="62"/>
                </a:cxn>
                <a:cxn ang="0">
                  <a:pos x="76" y="58"/>
                </a:cxn>
                <a:cxn ang="0">
                  <a:pos x="74" y="46"/>
                </a:cxn>
                <a:cxn ang="0">
                  <a:pos x="56" y="20"/>
                </a:cxn>
                <a:cxn ang="0">
                  <a:pos x="44" y="12"/>
                </a:cxn>
                <a:cxn ang="0">
                  <a:pos x="28" y="2"/>
                </a:cxn>
                <a:cxn ang="0">
                  <a:pos x="20" y="6"/>
                </a:cxn>
                <a:cxn ang="0">
                  <a:pos x="8" y="12"/>
                </a:cxn>
              </a:cxnLst>
              <a:rect l="0" t="0" r="r" b="b"/>
              <a:pathLst>
                <a:path w="84" h="108">
                  <a:moveTo>
                    <a:pt x="0" y="22"/>
                  </a:moveTo>
                  <a:lnTo>
                    <a:pt x="0" y="22"/>
                  </a:lnTo>
                  <a:lnTo>
                    <a:pt x="0" y="26"/>
                  </a:lnTo>
                  <a:lnTo>
                    <a:pt x="4" y="28"/>
                  </a:lnTo>
                  <a:lnTo>
                    <a:pt x="4" y="28"/>
                  </a:lnTo>
                  <a:lnTo>
                    <a:pt x="6" y="28"/>
                  </a:lnTo>
                  <a:lnTo>
                    <a:pt x="6" y="30"/>
                  </a:lnTo>
                  <a:lnTo>
                    <a:pt x="8" y="32"/>
                  </a:lnTo>
                  <a:lnTo>
                    <a:pt x="10" y="32"/>
                  </a:lnTo>
                  <a:lnTo>
                    <a:pt x="10" y="32"/>
                  </a:lnTo>
                  <a:lnTo>
                    <a:pt x="10" y="32"/>
                  </a:lnTo>
                  <a:lnTo>
                    <a:pt x="8" y="34"/>
                  </a:lnTo>
                  <a:lnTo>
                    <a:pt x="6" y="36"/>
                  </a:lnTo>
                  <a:lnTo>
                    <a:pt x="8" y="36"/>
                  </a:lnTo>
                  <a:lnTo>
                    <a:pt x="8" y="36"/>
                  </a:lnTo>
                  <a:lnTo>
                    <a:pt x="16" y="40"/>
                  </a:lnTo>
                  <a:lnTo>
                    <a:pt x="18" y="40"/>
                  </a:lnTo>
                  <a:lnTo>
                    <a:pt x="16" y="42"/>
                  </a:lnTo>
                  <a:lnTo>
                    <a:pt x="16" y="42"/>
                  </a:lnTo>
                  <a:lnTo>
                    <a:pt x="14" y="42"/>
                  </a:lnTo>
                  <a:lnTo>
                    <a:pt x="12" y="40"/>
                  </a:lnTo>
                  <a:lnTo>
                    <a:pt x="10" y="40"/>
                  </a:lnTo>
                  <a:lnTo>
                    <a:pt x="8" y="40"/>
                  </a:lnTo>
                  <a:lnTo>
                    <a:pt x="8" y="40"/>
                  </a:lnTo>
                  <a:lnTo>
                    <a:pt x="8" y="40"/>
                  </a:lnTo>
                  <a:lnTo>
                    <a:pt x="4" y="40"/>
                  </a:lnTo>
                  <a:lnTo>
                    <a:pt x="4" y="40"/>
                  </a:lnTo>
                  <a:lnTo>
                    <a:pt x="2" y="42"/>
                  </a:lnTo>
                  <a:lnTo>
                    <a:pt x="2" y="42"/>
                  </a:lnTo>
                  <a:lnTo>
                    <a:pt x="2" y="44"/>
                  </a:lnTo>
                  <a:lnTo>
                    <a:pt x="2" y="46"/>
                  </a:lnTo>
                  <a:lnTo>
                    <a:pt x="2" y="46"/>
                  </a:lnTo>
                  <a:lnTo>
                    <a:pt x="2" y="48"/>
                  </a:lnTo>
                  <a:lnTo>
                    <a:pt x="2" y="48"/>
                  </a:lnTo>
                  <a:lnTo>
                    <a:pt x="6" y="48"/>
                  </a:lnTo>
                  <a:lnTo>
                    <a:pt x="8" y="48"/>
                  </a:lnTo>
                  <a:lnTo>
                    <a:pt x="8" y="48"/>
                  </a:lnTo>
                  <a:lnTo>
                    <a:pt x="14" y="56"/>
                  </a:lnTo>
                  <a:lnTo>
                    <a:pt x="14" y="56"/>
                  </a:lnTo>
                  <a:lnTo>
                    <a:pt x="14" y="58"/>
                  </a:lnTo>
                  <a:lnTo>
                    <a:pt x="16" y="60"/>
                  </a:lnTo>
                  <a:lnTo>
                    <a:pt x="16" y="60"/>
                  </a:lnTo>
                  <a:lnTo>
                    <a:pt x="18" y="60"/>
                  </a:lnTo>
                  <a:lnTo>
                    <a:pt x="18" y="62"/>
                  </a:lnTo>
                  <a:lnTo>
                    <a:pt x="18" y="64"/>
                  </a:lnTo>
                  <a:lnTo>
                    <a:pt x="20" y="64"/>
                  </a:lnTo>
                  <a:lnTo>
                    <a:pt x="20" y="64"/>
                  </a:lnTo>
                  <a:lnTo>
                    <a:pt x="20" y="64"/>
                  </a:lnTo>
                  <a:lnTo>
                    <a:pt x="20" y="64"/>
                  </a:lnTo>
                  <a:lnTo>
                    <a:pt x="18" y="66"/>
                  </a:lnTo>
                  <a:lnTo>
                    <a:pt x="22" y="68"/>
                  </a:lnTo>
                  <a:lnTo>
                    <a:pt x="22" y="68"/>
                  </a:lnTo>
                  <a:lnTo>
                    <a:pt x="24" y="70"/>
                  </a:lnTo>
                  <a:lnTo>
                    <a:pt x="24" y="70"/>
                  </a:lnTo>
                  <a:lnTo>
                    <a:pt x="20" y="72"/>
                  </a:lnTo>
                  <a:lnTo>
                    <a:pt x="20" y="72"/>
                  </a:lnTo>
                  <a:lnTo>
                    <a:pt x="20" y="76"/>
                  </a:lnTo>
                  <a:lnTo>
                    <a:pt x="22" y="76"/>
                  </a:lnTo>
                  <a:lnTo>
                    <a:pt x="22" y="76"/>
                  </a:lnTo>
                  <a:lnTo>
                    <a:pt x="24" y="76"/>
                  </a:lnTo>
                  <a:lnTo>
                    <a:pt x="22" y="76"/>
                  </a:lnTo>
                  <a:lnTo>
                    <a:pt x="22" y="78"/>
                  </a:lnTo>
                  <a:lnTo>
                    <a:pt x="20" y="80"/>
                  </a:lnTo>
                  <a:lnTo>
                    <a:pt x="20" y="80"/>
                  </a:lnTo>
                  <a:lnTo>
                    <a:pt x="20" y="86"/>
                  </a:lnTo>
                  <a:lnTo>
                    <a:pt x="20" y="90"/>
                  </a:lnTo>
                  <a:lnTo>
                    <a:pt x="22" y="92"/>
                  </a:lnTo>
                  <a:lnTo>
                    <a:pt x="22" y="92"/>
                  </a:lnTo>
                  <a:lnTo>
                    <a:pt x="24" y="92"/>
                  </a:lnTo>
                  <a:lnTo>
                    <a:pt x="24" y="94"/>
                  </a:lnTo>
                  <a:lnTo>
                    <a:pt x="24" y="94"/>
                  </a:lnTo>
                  <a:lnTo>
                    <a:pt x="24" y="98"/>
                  </a:lnTo>
                  <a:lnTo>
                    <a:pt x="26" y="98"/>
                  </a:lnTo>
                  <a:lnTo>
                    <a:pt x="26" y="98"/>
                  </a:lnTo>
                  <a:lnTo>
                    <a:pt x="26" y="98"/>
                  </a:lnTo>
                  <a:lnTo>
                    <a:pt x="26" y="100"/>
                  </a:lnTo>
                  <a:lnTo>
                    <a:pt x="28" y="100"/>
                  </a:lnTo>
                  <a:lnTo>
                    <a:pt x="28" y="100"/>
                  </a:lnTo>
                  <a:lnTo>
                    <a:pt x="28" y="100"/>
                  </a:lnTo>
                  <a:lnTo>
                    <a:pt x="28" y="102"/>
                  </a:lnTo>
                  <a:lnTo>
                    <a:pt x="28" y="106"/>
                  </a:lnTo>
                  <a:lnTo>
                    <a:pt x="28" y="106"/>
                  </a:lnTo>
                  <a:lnTo>
                    <a:pt x="28" y="108"/>
                  </a:lnTo>
                  <a:lnTo>
                    <a:pt x="30" y="108"/>
                  </a:lnTo>
                  <a:lnTo>
                    <a:pt x="32" y="108"/>
                  </a:lnTo>
                  <a:lnTo>
                    <a:pt x="36" y="104"/>
                  </a:lnTo>
                  <a:lnTo>
                    <a:pt x="36" y="104"/>
                  </a:lnTo>
                  <a:lnTo>
                    <a:pt x="38" y="104"/>
                  </a:lnTo>
                  <a:lnTo>
                    <a:pt x="40" y="104"/>
                  </a:lnTo>
                  <a:lnTo>
                    <a:pt x="42" y="102"/>
                  </a:lnTo>
                  <a:lnTo>
                    <a:pt x="42" y="102"/>
                  </a:lnTo>
                  <a:lnTo>
                    <a:pt x="46" y="98"/>
                  </a:lnTo>
                  <a:lnTo>
                    <a:pt x="48" y="98"/>
                  </a:lnTo>
                  <a:lnTo>
                    <a:pt x="48" y="98"/>
                  </a:lnTo>
                  <a:lnTo>
                    <a:pt x="48" y="100"/>
                  </a:lnTo>
                  <a:lnTo>
                    <a:pt x="46" y="100"/>
                  </a:lnTo>
                  <a:lnTo>
                    <a:pt x="48" y="100"/>
                  </a:lnTo>
                  <a:lnTo>
                    <a:pt x="48" y="100"/>
                  </a:lnTo>
                  <a:lnTo>
                    <a:pt x="52" y="100"/>
                  </a:lnTo>
                  <a:lnTo>
                    <a:pt x="52" y="98"/>
                  </a:lnTo>
                  <a:lnTo>
                    <a:pt x="52" y="98"/>
                  </a:lnTo>
                  <a:lnTo>
                    <a:pt x="52" y="98"/>
                  </a:lnTo>
                  <a:lnTo>
                    <a:pt x="52" y="96"/>
                  </a:lnTo>
                  <a:lnTo>
                    <a:pt x="52" y="98"/>
                  </a:lnTo>
                  <a:lnTo>
                    <a:pt x="52" y="98"/>
                  </a:lnTo>
                  <a:lnTo>
                    <a:pt x="56" y="98"/>
                  </a:lnTo>
                  <a:lnTo>
                    <a:pt x="58" y="98"/>
                  </a:lnTo>
                  <a:lnTo>
                    <a:pt x="58" y="98"/>
                  </a:lnTo>
                  <a:lnTo>
                    <a:pt x="58" y="98"/>
                  </a:lnTo>
                  <a:lnTo>
                    <a:pt x="56" y="96"/>
                  </a:lnTo>
                  <a:lnTo>
                    <a:pt x="58" y="94"/>
                  </a:lnTo>
                  <a:lnTo>
                    <a:pt x="58" y="94"/>
                  </a:lnTo>
                  <a:lnTo>
                    <a:pt x="62" y="92"/>
                  </a:lnTo>
                  <a:lnTo>
                    <a:pt x="62" y="92"/>
                  </a:lnTo>
                  <a:lnTo>
                    <a:pt x="62" y="94"/>
                  </a:lnTo>
                  <a:lnTo>
                    <a:pt x="62" y="94"/>
                  </a:lnTo>
                  <a:lnTo>
                    <a:pt x="64" y="96"/>
                  </a:lnTo>
                  <a:lnTo>
                    <a:pt x="66" y="96"/>
                  </a:lnTo>
                  <a:lnTo>
                    <a:pt x="66" y="96"/>
                  </a:lnTo>
                  <a:lnTo>
                    <a:pt x="68" y="96"/>
                  </a:lnTo>
                  <a:lnTo>
                    <a:pt x="68" y="98"/>
                  </a:lnTo>
                  <a:lnTo>
                    <a:pt x="68" y="98"/>
                  </a:lnTo>
                  <a:lnTo>
                    <a:pt x="70" y="98"/>
                  </a:lnTo>
                  <a:lnTo>
                    <a:pt x="70" y="98"/>
                  </a:lnTo>
                  <a:lnTo>
                    <a:pt x="74" y="96"/>
                  </a:lnTo>
                  <a:lnTo>
                    <a:pt x="74" y="96"/>
                  </a:lnTo>
                  <a:lnTo>
                    <a:pt x="72" y="96"/>
                  </a:lnTo>
                  <a:lnTo>
                    <a:pt x="72" y="96"/>
                  </a:lnTo>
                  <a:lnTo>
                    <a:pt x="68" y="96"/>
                  </a:lnTo>
                  <a:lnTo>
                    <a:pt x="66" y="94"/>
                  </a:lnTo>
                  <a:lnTo>
                    <a:pt x="66" y="94"/>
                  </a:lnTo>
                  <a:lnTo>
                    <a:pt x="68" y="94"/>
                  </a:lnTo>
                  <a:lnTo>
                    <a:pt x="70" y="94"/>
                  </a:lnTo>
                  <a:lnTo>
                    <a:pt x="70" y="92"/>
                  </a:lnTo>
                  <a:lnTo>
                    <a:pt x="70" y="92"/>
                  </a:lnTo>
                  <a:lnTo>
                    <a:pt x="72" y="94"/>
                  </a:lnTo>
                  <a:lnTo>
                    <a:pt x="74" y="92"/>
                  </a:lnTo>
                  <a:lnTo>
                    <a:pt x="78" y="90"/>
                  </a:lnTo>
                  <a:lnTo>
                    <a:pt x="80" y="86"/>
                  </a:lnTo>
                  <a:lnTo>
                    <a:pt x="80" y="86"/>
                  </a:lnTo>
                  <a:lnTo>
                    <a:pt x="82" y="82"/>
                  </a:lnTo>
                  <a:lnTo>
                    <a:pt x="82" y="82"/>
                  </a:lnTo>
                  <a:lnTo>
                    <a:pt x="84" y="76"/>
                  </a:lnTo>
                  <a:lnTo>
                    <a:pt x="84" y="76"/>
                  </a:lnTo>
                  <a:lnTo>
                    <a:pt x="82" y="64"/>
                  </a:lnTo>
                  <a:lnTo>
                    <a:pt x="82" y="64"/>
                  </a:lnTo>
                  <a:lnTo>
                    <a:pt x="80" y="64"/>
                  </a:lnTo>
                  <a:lnTo>
                    <a:pt x="80" y="64"/>
                  </a:lnTo>
                  <a:lnTo>
                    <a:pt x="80" y="64"/>
                  </a:lnTo>
                  <a:lnTo>
                    <a:pt x="78" y="62"/>
                  </a:lnTo>
                  <a:lnTo>
                    <a:pt x="76" y="62"/>
                  </a:lnTo>
                  <a:lnTo>
                    <a:pt x="76" y="58"/>
                  </a:lnTo>
                  <a:lnTo>
                    <a:pt x="76" y="58"/>
                  </a:lnTo>
                  <a:lnTo>
                    <a:pt x="76" y="52"/>
                  </a:lnTo>
                  <a:lnTo>
                    <a:pt x="74" y="46"/>
                  </a:lnTo>
                  <a:lnTo>
                    <a:pt x="74" y="46"/>
                  </a:lnTo>
                  <a:lnTo>
                    <a:pt x="66" y="32"/>
                  </a:lnTo>
                  <a:lnTo>
                    <a:pt x="56" y="20"/>
                  </a:lnTo>
                  <a:lnTo>
                    <a:pt x="56" y="20"/>
                  </a:lnTo>
                  <a:lnTo>
                    <a:pt x="50" y="16"/>
                  </a:lnTo>
                  <a:lnTo>
                    <a:pt x="44" y="12"/>
                  </a:lnTo>
                  <a:lnTo>
                    <a:pt x="44" y="12"/>
                  </a:lnTo>
                  <a:lnTo>
                    <a:pt x="30" y="0"/>
                  </a:lnTo>
                  <a:lnTo>
                    <a:pt x="30" y="0"/>
                  </a:lnTo>
                  <a:lnTo>
                    <a:pt x="28" y="2"/>
                  </a:lnTo>
                  <a:lnTo>
                    <a:pt x="28" y="4"/>
                  </a:lnTo>
                  <a:lnTo>
                    <a:pt x="26" y="6"/>
                  </a:lnTo>
                  <a:lnTo>
                    <a:pt x="20" y="6"/>
                  </a:lnTo>
                  <a:lnTo>
                    <a:pt x="20" y="6"/>
                  </a:lnTo>
                  <a:lnTo>
                    <a:pt x="12" y="8"/>
                  </a:lnTo>
                  <a:lnTo>
                    <a:pt x="8" y="12"/>
                  </a:lnTo>
                  <a:lnTo>
                    <a:pt x="0" y="22"/>
                  </a:lnTo>
                  <a:lnTo>
                    <a:pt x="0" y="22"/>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Spain"/>
            <p:cNvSpPr>
              <a:spLocks/>
            </p:cNvSpPr>
            <p:nvPr/>
          </p:nvSpPr>
          <p:spPr bwMode="auto">
            <a:xfrm>
              <a:off x="3919768" y="2215884"/>
              <a:ext cx="457728" cy="216958"/>
            </a:xfrm>
            <a:custGeom>
              <a:avLst/>
              <a:gdLst/>
              <a:ahLst/>
              <a:cxnLst/>
              <a:rect l="l" t="t" r="r" b="b"/>
              <a:pathLst>
                <a:path w="457728" h="216958">
                  <a:moveTo>
                    <a:pt x="452437" y="15875"/>
                  </a:moveTo>
                  <a:lnTo>
                    <a:pt x="452437" y="21167"/>
                  </a:lnTo>
                  <a:lnTo>
                    <a:pt x="455082" y="31750"/>
                  </a:lnTo>
                  <a:lnTo>
                    <a:pt x="457728" y="42333"/>
                  </a:lnTo>
                  <a:lnTo>
                    <a:pt x="455082" y="50271"/>
                  </a:lnTo>
                  <a:lnTo>
                    <a:pt x="452437" y="63500"/>
                  </a:lnTo>
                  <a:lnTo>
                    <a:pt x="449791" y="63500"/>
                  </a:lnTo>
                  <a:lnTo>
                    <a:pt x="449791" y="60854"/>
                  </a:lnTo>
                  <a:lnTo>
                    <a:pt x="447145" y="58208"/>
                  </a:lnTo>
                  <a:lnTo>
                    <a:pt x="444499" y="58208"/>
                  </a:lnTo>
                  <a:lnTo>
                    <a:pt x="439208" y="55563"/>
                  </a:lnTo>
                  <a:lnTo>
                    <a:pt x="439208" y="52917"/>
                  </a:lnTo>
                  <a:lnTo>
                    <a:pt x="439208" y="50271"/>
                  </a:lnTo>
                  <a:lnTo>
                    <a:pt x="436562" y="50271"/>
                  </a:lnTo>
                  <a:lnTo>
                    <a:pt x="436562" y="47625"/>
                  </a:lnTo>
                  <a:lnTo>
                    <a:pt x="436562" y="44979"/>
                  </a:lnTo>
                  <a:lnTo>
                    <a:pt x="436562" y="42333"/>
                  </a:lnTo>
                  <a:lnTo>
                    <a:pt x="433916" y="39688"/>
                  </a:lnTo>
                  <a:lnTo>
                    <a:pt x="433916" y="37042"/>
                  </a:lnTo>
                  <a:lnTo>
                    <a:pt x="433916" y="34396"/>
                  </a:lnTo>
                  <a:lnTo>
                    <a:pt x="433916" y="31750"/>
                  </a:lnTo>
                  <a:lnTo>
                    <a:pt x="433916" y="29104"/>
                  </a:lnTo>
                  <a:lnTo>
                    <a:pt x="433916" y="26458"/>
                  </a:lnTo>
                  <a:lnTo>
                    <a:pt x="436562" y="26458"/>
                  </a:lnTo>
                  <a:lnTo>
                    <a:pt x="439208" y="26458"/>
                  </a:lnTo>
                  <a:lnTo>
                    <a:pt x="439208" y="23813"/>
                  </a:lnTo>
                  <a:lnTo>
                    <a:pt x="441853" y="21167"/>
                  </a:lnTo>
                  <a:lnTo>
                    <a:pt x="444499" y="21167"/>
                  </a:lnTo>
                  <a:lnTo>
                    <a:pt x="447145" y="21167"/>
                  </a:lnTo>
                  <a:lnTo>
                    <a:pt x="449791" y="18521"/>
                  </a:lnTo>
                  <a:close/>
                  <a:moveTo>
                    <a:pt x="23812" y="0"/>
                  </a:moveTo>
                  <a:lnTo>
                    <a:pt x="29104" y="0"/>
                  </a:lnTo>
                  <a:lnTo>
                    <a:pt x="31750" y="0"/>
                  </a:lnTo>
                  <a:lnTo>
                    <a:pt x="34396" y="0"/>
                  </a:lnTo>
                  <a:lnTo>
                    <a:pt x="39687" y="2646"/>
                  </a:lnTo>
                  <a:lnTo>
                    <a:pt x="47625" y="5292"/>
                  </a:lnTo>
                  <a:lnTo>
                    <a:pt x="60854" y="5292"/>
                  </a:lnTo>
                  <a:lnTo>
                    <a:pt x="71437" y="2646"/>
                  </a:lnTo>
                  <a:lnTo>
                    <a:pt x="76729" y="2646"/>
                  </a:lnTo>
                  <a:lnTo>
                    <a:pt x="79375" y="2646"/>
                  </a:lnTo>
                  <a:lnTo>
                    <a:pt x="82021" y="2646"/>
                  </a:lnTo>
                  <a:lnTo>
                    <a:pt x="111125" y="5292"/>
                  </a:lnTo>
                  <a:lnTo>
                    <a:pt x="121708" y="5292"/>
                  </a:lnTo>
                  <a:lnTo>
                    <a:pt x="127000" y="2646"/>
                  </a:lnTo>
                  <a:lnTo>
                    <a:pt x="129646" y="2646"/>
                  </a:lnTo>
                  <a:lnTo>
                    <a:pt x="137583" y="7937"/>
                  </a:lnTo>
                  <a:lnTo>
                    <a:pt x="140229" y="7937"/>
                  </a:lnTo>
                  <a:lnTo>
                    <a:pt x="142875" y="5292"/>
                  </a:lnTo>
                  <a:lnTo>
                    <a:pt x="145521" y="5292"/>
                  </a:lnTo>
                  <a:lnTo>
                    <a:pt x="158750" y="7937"/>
                  </a:lnTo>
                  <a:lnTo>
                    <a:pt x="164042" y="7937"/>
                  </a:lnTo>
                  <a:lnTo>
                    <a:pt x="171979" y="5292"/>
                  </a:lnTo>
                  <a:lnTo>
                    <a:pt x="174625" y="5292"/>
                  </a:lnTo>
                  <a:lnTo>
                    <a:pt x="179917" y="5292"/>
                  </a:lnTo>
                  <a:lnTo>
                    <a:pt x="182563" y="5292"/>
                  </a:lnTo>
                  <a:lnTo>
                    <a:pt x="185209" y="7937"/>
                  </a:lnTo>
                  <a:lnTo>
                    <a:pt x="187854" y="7937"/>
                  </a:lnTo>
                  <a:lnTo>
                    <a:pt x="190500" y="7937"/>
                  </a:lnTo>
                  <a:lnTo>
                    <a:pt x="190500" y="10583"/>
                  </a:lnTo>
                  <a:lnTo>
                    <a:pt x="190500" y="13229"/>
                  </a:lnTo>
                  <a:lnTo>
                    <a:pt x="195792" y="13229"/>
                  </a:lnTo>
                  <a:lnTo>
                    <a:pt x="198438" y="13229"/>
                  </a:lnTo>
                  <a:lnTo>
                    <a:pt x="201084" y="15875"/>
                  </a:lnTo>
                  <a:lnTo>
                    <a:pt x="203729" y="18521"/>
                  </a:lnTo>
                  <a:lnTo>
                    <a:pt x="209021" y="18521"/>
                  </a:lnTo>
                  <a:lnTo>
                    <a:pt x="214313" y="18521"/>
                  </a:lnTo>
                  <a:lnTo>
                    <a:pt x="222250" y="23813"/>
                  </a:lnTo>
                  <a:lnTo>
                    <a:pt x="230188" y="26458"/>
                  </a:lnTo>
                  <a:lnTo>
                    <a:pt x="235479" y="29104"/>
                  </a:lnTo>
                  <a:lnTo>
                    <a:pt x="240771" y="29104"/>
                  </a:lnTo>
                  <a:lnTo>
                    <a:pt x="243417" y="23813"/>
                  </a:lnTo>
                  <a:lnTo>
                    <a:pt x="246063" y="23813"/>
                  </a:lnTo>
                  <a:lnTo>
                    <a:pt x="251354" y="26458"/>
                  </a:lnTo>
                  <a:lnTo>
                    <a:pt x="256646" y="29104"/>
                  </a:lnTo>
                  <a:lnTo>
                    <a:pt x="259292" y="29104"/>
                  </a:lnTo>
                  <a:lnTo>
                    <a:pt x="259292" y="31750"/>
                  </a:lnTo>
                  <a:lnTo>
                    <a:pt x="261938" y="31750"/>
                  </a:lnTo>
                  <a:lnTo>
                    <a:pt x="264584" y="31750"/>
                  </a:lnTo>
                  <a:lnTo>
                    <a:pt x="267229" y="31750"/>
                  </a:lnTo>
                  <a:lnTo>
                    <a:pt x="272521" y="29104"/>
                  </a:lnTo>
                  <a:lnTo>
                    <a:pt x="275167" y="29104"/>
                  </a:lnTo>
                  <a:lnTo>
                    <a:pt x="280459" y="31750"/>
                  </a:lnTo>
                  <a:lnTo>
                    <a:pt x="283104" y="31750"/>
                  </a:lnTo>
                  <a:lnTo>
                    <a:pt x="285750" y="29104"/>
                  </a:lnTo>
                  <a:lnTo>
                    <a:pt x="288396" y="29104"/>
                  </a:lnTo>
                  <a:lnTo>
                    <a:pt x="296334" y="29104"/>
                  </a:lnTo>
                  <a:lnTo>
                    <a:pt x="301625" y="26458"/>
                  </a:lnTo>
                  <a:lnTo>
                    <a:pt x="304271" y="29104"/>
                  </a:lnTo>
                  <a:lnTo>
                    <a:pt x="309563" y="31750"/>
                  </a:lnTo>
                  <a:lnTo>
                    <a:pt x="306917" y="34396"/>
                  </a:lnTo>
                  <a:lnTo>
                    <a:pt x="304271" y="34396"/>
                  </a:lnTo>
                  <a:lnTo>
                    <a:pt x="304271" y="37042"/>
                  </a:lnTo>
                  <a:lnTo>
                    <a:pt x="306917" y="37042"/>
                  </a:lnTo>
                  <a:lnTo>
                    <a:pt x="304271" y="39688"/>
                  </a:lnTo>
                  <a:lnTo>
                    <a:pt x="304271" y="44979"/>
                  </a:lnTo>
                  <a:lnTo>
                    <a:pt x="304271" y="50271"/>
                  </a:lnTo>
                  <a:lnTo>
                    <a:pt x="301625" y="50271"/>
                  </a:lnTo>
                  <a:lnTo>
                    <a:pt x="298979" y="52917"/>
                  </a:lnTo>
                  <a:lnTo>
                    <a:pt x="291042" y="55563"/>
                  </a:lnTo>
                  <a:lnTo>
                    <a:pt x="283104" y="60854"/>
                  </a:lnTo>
                  <a:lnTo>
                    <a:pt x="280459" y="63500"/>
                  </a:lnTo>
                  <a:lnTo>
                    <a:pt x="275167" y="63500"/>
                  </a:lnTo>
                  <a:lnTo>
                    <a:pt x="259292" y="71438"/>
                  </a:lnTo>
                  <a:lnTo>
                    <a:pt x="246063" y="76729"/>
                  </a:lnTo>
                  <a:lnTo>
                    <a:pt x="246063" y="79375"/>
                  </a:lnTo>
                  <a:lnTo>
                    <a:pt x="246063" y="84667"/>
                  </a:lnTo>
                  <a:lnTo>
                    <a:pt x="243417" y="87312"/>
                  </a:lnTo>
                  <a:lnTo>
                    <a:pt x="240771" y="84667"/>
                  </a:lnTo>
                  <a:lnTo>
                    <a:pt x="238125" y="89958"/>
                  </a:lnTo>
                  <a:lnTo>
                    <a:pt x="227542" y="100542"/>
                  </a:lnTo>
                  <a:lnTo>
                    <a:pt x="222250" y="103187"/>
                  </a:lnTo>
                  <a:lnTo>
                    <a:pt x="216959" y="108479"/>
                  </a:lnTo>
                  <a:lnTo>
                    <a:pt x="214313" y="113771"/>
                  </a:lnTo>
                  <a:lnTo>
                    <a:pt x="214313" y="119062"/>
                  </a:lnTo>
                  <a:lnTo>
                    <a:pt x="216959" y="127000"/>
                  </a:lnTo>
                  <a:lnTo>
                    <a:pt x="222250" y="129646"/>
                  </a:lnTo>
                  <a:lnTo>
                    <a:pt x="224896" y="132292"/>
                  </a:lnTo>
                  <a:lnTo>
                    <a:pt x="227542" y="132292"/>
                  </a:lnTo>
                  <a:lnTo>
                    <a:pt x="227542" y="134937"/>
                  </a:lnTo>
                  <a:lnTo>
                    <a:pt x="222250" y="137583"/>
                  </a:lnTo>
                  <a:lnTo>
                    <a:pt x="219604" y="142875"/>
                  </a:lnTo>
                  <a:lnTo>
                    <a:pt x="219604" y="145521"/>
                  </a:lnTo>
                  <a:lnTo>
                    <a:pt x="216959" y="148167"/>
                  </a:lnTo>
                  <a:lnTo>
                    <a:pt x="216959" y="150812"/>
                  </a:lnTo>
                  <a:lnTo>
                    <a:pt x="216959" y="153458"/>
                  </a:lnTo>
                  <a:lnTo>
                    <a:pt x="214313" y="153458"/>
                  </a:lnTo>
                  <a:lnTo>
                    <a:pt x="214313" y="156104"/>
                  </a:lnTo>
                  <a:lnTo>
                    <a:pt x="214313" y="161396"/>
                  </a:lnTo>
                  <a:lnTo>
                    <a:pt x="214313" y="164042"/>
                  </a:lnTo>
                  <a:lnTo>
                    <a:pt x="211667" y="166687"/>
                  </a:lnTo>
                  <a:lnTo>
                    <a:pt x="206375" y="166687"/>
                  </a:lnTo>
                  <a:lnTo>
                    <a:pt x="201084" y="169333"/>
                  </a:lnTo>
                  <a:lnTo>
                    <a:pt x="198438" y="171979"/>
                  </a:lnTo>
                  <a:lnTo>
                    <a:pt x="193146" y="174625"/>
                  </a:lnTo>
                  <a:lnTo>
                    <a:pt x="185209" y="179917"/>
                  </a:lnTo>
                  <a:lnTo>
                    <a:pt x="182563" y="190500"/>
                  </a:lnTo>
                  <a:lnTo>
                    <a:pt x="179917" y="193146"/>
                  </a:lnTo>
                  <a:lnTo>
                    <a:pt x="177271" y="193146"/>
                  </a:lnTo>
                  <a:lnTo>
                    <a:pt x="174625" y="193146"/>
                  </a:lnTo>
                  <a:lnTo>
                    <a:pt x="169333" y="195792"/>
                  </a:lnTo>
                  <a:lnTo>
                    <a:pt x="156104" y="195792"/>
                  </a:lnTo>
                  <a:lnTo>
                    <a:pt x="148167" y="198437"/>
                  </a:lnTo>
                  <a:lnTo>
                    <a:pt x="140229" y="201083"/>
                  </a:lnTo>
                  <a:lnTo>
                    <a:pt x="132292" y="203729"/>
                  </a:lnTo>
                  <a:lnTo>
                    <a:pt x="127000" y="203729"/>
                  </a:lnTo>
                  <a:lnTo>
                    <a:pt x="121708" y="203729"/>
                  </a:lnTo>
                  <a:lnTo>
                    <a:pt x="108479" y="209021"/>
                  </a:lnTo>
                  <a:lnTo>
                    <a:pt x="100542" y="214312"/>
                  </a:lnTo>
                  <a:lnTo>
                    <a:pt x="95250" y="216958"/>
                  </a:lnTo>
                  <a:lnTo>
                    <a:pt x="89958" y="216958"/>
                  </a:lnTo>
                  <a:lnTo>
                    <a:pt x="87313" y="216958"/>
                  </a:lnTo>
                  <a:lnTo>
                    <a:pt x="84667" y="214312"/>
                  </a:lnTo>
                  <a:lnTo>
                    <a:pt x="79375" y="214312"/>
                  </a:lnTo>
                  <a:lnTo>
                    <a:pt x="76729" y="209021"/>
                  </a:lnTo>
                  <a:lnTo>
                    <a:pt x="79375" y="206375"/>
                  </a:lnTo>
                  <a:lnTo>
                    <a:pt x="79375" y="203729"/>
                  </a:lnTo>
                  <a:lnTo>
                    <a:pt x="76729" y="203729"/>
                  </a:lnTo>
                  <a:lnTo>
                    <a:pt x="74083" y="201083"/>
                  </a:lnTo>
                  <a:lnTo>
                    <a:pt x="76729" y="198437"/>
                  </a:lnTo>
                  <a:lnTo>
                    <a:pt x="74083" y="198437"/>
                  </a:lnTo>
                  <a:lnTo>
                    <a:pt x="68792" y="195792"/>
                  </a:lnTo>
                  <a:lnTo>
                    <a:pt x="63500" y="193146"/>
                  </a:lnTo>
                  <a:lnTo>
                    <a:pt x="58208" y="190500"/>
                  </a:lnTo>
                  <a:lnTo>
                    <a:pt x="55562" y="190500"/>
                  </a:lnTo>
                  <a:lnTo>
                    <a:pt x="55562" y="187854"/>
                  </a:lnTo>
                  <a:lnTo>
                    <a:pt x="47625" y="187854"/>
                  </a:lnTo>
                  <a:lnTo>
                    <a:pt x="39687" y="187854"/>
                  </a:lnTo>
                  <a:lnTo>
                    <a:pt x="34396" y="187854"/>
                  </a:lnTo>
                  <a:lnTo>
                    <a:pt x="31750" y="185208"/>
                  </a:lnTo>
                  <a:lnTo>
                    <a:pt x="29104" y="182562"/>
                  </a:lnTo>
                  <a:lnTo>
                    <a:pt x="29104" y="179917"/>
                  </a:lnTo>
                  <a:lnTo>
                    <a:pt x="31750" y="174625"/>
                  </a:lnTo>
                  <a:lnTo>
                    <a:pt x="37042" y="166687"/>
                  </a:lnTo>
                  <a:lnTo>
                    <a:pt x="39687" y="161396"/>
                  </a:lnTo>
                  <a:lnTo>
                    <a:pt x="39687" y="158750"/>
                  </a:lnTo>
                  <a:lnTo>
                    <a:pt x="37042" y="153458"/>
                  </a:lnTo>
                  <a:lnTo>
                    <a:pt x="34396" y="150812"/>
                  </a:lnTo>
                  <a:lnTo>
                    <a:pt x="34396" y="145521"/>
                  </a:lnTo>
                  <a:lnTo>
                    <a:pt x="39687" y="140229"/>
                  </a:lnTo>
                  <a:lnTo>
                    <a:pt x="42333" y="134937"/>
                  </a:lnTo>
                  <a:lnTo>
                    <a:pt x="39687" y="129646"/>
                  </a:lnTo>
                  <a:lnTo>
                    <a:pt x="34396" y="116417"/>
                  </a:lnTo>
                  <a:lnTo>
                    <a:pt x="31750" y="113771"/>
                  </a:lnTo>
                  <a:lnTo>
                    <a:pt x="34396" y="113771"/>
                  </a:lnTo>
                  <a:lnTo>
                    <a:pt x="42333" y="113771"/>
                  </a:lnTo>
                  <a:lnTo>
                    <a:pt x="44979" y="111125"/>
                  </a:lnTo>
                  <a:lnTo>
                    <a:pt x="44979" y="108479"/>
                  </a:lnTo>
                  <a:lnTo>
                    <a:pt x="47625" y="100542"/>
                  </a:lnTo>
                  <a:lnTo>
                    <a:pt x="47625" y="95250"/>
                  </a:lnTo>
                  <a:lnTo>
                    <a:pt x="44979" y="95250"/>
                  </a:lnTo>
                  <a:lnTo>
                    <a:pt x="44979" y="92604"/>
                  </a:lnTo>
                  <a:lnTo>
                    <a:pt x="47625" y="89958"/>
                  </a:lnTo>
                  <a:lnTo>
                    <a:pt x="47625" y="87312"/>
                  </a:lnTo>
                  <a:lnTo>
                    <a:pt x="47625" y="82021"/>
                  </a:lnTo>
                  <a:lnTo>
                    <a:pt x="44979" y="76729"/>
                  </a:lnTo>
                  <a:lnTo>
                    <a:pt x="47625" y="76729"/>
                  </a:lnTo>
                  <a:lnTo>
                    <a:pt x="50271" y="74083"/>
                  </a:lnTo>
                  <a:lnTo>
                    <a:pt x="52917" y="68792"/>
                  </a:lnTo>
                  <a:lnTo>
                    <a:pt x="55562" y="63500"/>
                  </a:lnTo>
                  <a:lnTo>
                    <a:pt x="60854" y="60854"/>
                  </a:lnTo>
                  <a:lnTo>
                    <a:pt x="60854" y="58208"/>
                  </a:lnTo>
                  <a:lnTo>
                    <a:pt x="58208" y="58208"/>
                  </a:lnTo>
                  <a:lnTo>
                    <a:pt x="58208" y="55563"/>
                  </a:lnTo>
                  <a:lnTo>
                    <a:pt x="55562" y="52917"/>
                  </a:lnTo>
                  <a:lnTo>
                    <a:pt x="52917" y="50271"/>
                  </a:lnTo>
                  <a:lnTo>
                    <a:pt x="47625" y="52917"/>
                  </a:lnTo>
                  <a:lnTo>
                    <a:pt x="44979" y="52917"/>
                  </a:lnTo>
                  <a:lnTo>
                    <a:pt x="42333" y="52917"/>
                  </a:lnTo>
                  <a:lnTo>
                    <a:pt x="37042" y="50271"/>
                  </a:lnTo>
                  <a:lnTo>
                    <a:pt x="29104" y="52917"/>
                  </a:lnTo>
                  <a:lnTo>
                    <a:pt x="26458" y="52917"/>
                  </a:lnTo>
                  <a:lnTo>
                    <a:pt x="26458" y="50271"/>
                  </a:lnTo>
                  <a:lnTo>
                    <a:pt x="26458" y="47625"/>
                  </a:lnTo>
                  <a:lnTo>
                    <a:pt x="26458" y="44979"/>
                  </a:lnTo>
                  <a:lnTo>
                    <a:pt x="18521" y="44979"/>
                  </a:lnTo>
                  <a:lnTo>
                    <a:pt x="13229" y="44979"/>
                  </a:lnTo>
                  <a:lnTo>
                    <a:pt x="7937" y="47625"/>
                  </a:lnTo>
                  <a:lnTo>
                    <a:pt x="5292" y="42333"/>
                  </a:lnTo>
                  <a:lnTo>
                    <a:pt x="7937" y="39688"/>
                  </a:lnTo>
                  <a:lnTo>
                    <a:pt x="13229" y="37042"/>
                  </a:lnTo>
                  <a:lnTo>
                    <a:pt x="10583" y="37042"/>
                  </a:lnTo>
                  <a:lnTo>
                    <a:pt x="7937" y="37042"/>
                  </a:lnTo>
                  <a:lnTo>
                    <a:pt x="7937" y="34396"/>
                  </a:lnTo>
                  <a:lnTo>
                    <a:pt x="7937" y="29104"/>
                  </a:lnTo>
                  <a:lnTo>
                    <a:pt x="5292" y="26458"/>
                  </a:lnTo>
                  <a:lnTo>
                    <a:pt x="2646" y="26458"/>
                  </a:lnTo>
                  <a:lnTo>
                    <a:pt x="5292" y="23813"/>
                  </a:lnTo>
                  <a:lnTo>
                    <a:pt x="5292" y="21167"/>
                  </a:lnTo>
                  <a:lnTo>
                    <a:pt x="2646" y="18521"/>
                  </a:lnTo>
                  <a:lnTo>
                    <a:pt x="0" y="18521"/>
                  </a:lnTo>
                  <a:lnTo>
                    <a:pt x="0" y="15875"/>
                  </a:lnTo>
                  <a:lnTo>
                    <a:pt x="0" y="13229"/>
                  </a:lnTo>
                  <a:lnTo>
                    <a:pt x="7937" y="10583"/>
                  </a:lnTo>
                  <a:lnTo>
                    <a:pt x="10583" y="7937"/>
                  </a:lnTo>
                  <a:lnTo>
                    <a:pt x="15875" y="7937"/>
                  </a:lnTo>
                  <a:lnTo>
                    <a:pt x="18521" y="7937"/>
                  </a:lnTo>
                  <a:lnTo>
                    <a:pt x="23812" y="5292"/>
                  </a:lnTo>
                  <a:lnTo>
                    <a:pt x="21167" y="2646"/>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Sweden"/>
            <p:cNvSpPr>
              <a:spLocks/>
            </p:cNvSpPr>
            <p:nvPr/>
          </p:nvSpPr>
          <p:spPr bwMode="auto">
            <a:xfrm>
              <a:off x="4380143" y="1625865"/>
              <a:ext cx="256646" cy="285750"/>
            </a:xfrm>
            <a:custGeom>
              <a:avLst/>
              <a:gdLst/>
              <a:ahLst/>
              <a:cxnLst>
                <a:cxn ang="0">
                  <a:pos x="152" y="8"/>
                </a:cxn>
                <a:cxn ang="0">
                  <a:pos x="176" y="18"/>
                </a:cxn>
                <a:cxn ang="0">
                  <a:pos x="180" y="24"/>
                </a:cxn>
                <a:cxn ang="0">
                  <a:pos x="190" y="36"/>
                </a:cxn>
                <a:cxn ang="0">
                  <a:pos x="194" y="46"/>
                </a:cxn>
                <a:cxn ang="0">
                  <a:pos x="188" y="50"/>
                </a:cxn>
                <a:cxn ang="0">
                  <a:pos x="174" y="48"/>
                </a:cxn>
                <a:cxn ang="0">
                  <a:pos x="166" y="52"/>
                </a:cxn>
                <a:cxn ang="0">
                  <a:pos x="160" y="58"/>
                </a:cxn>
                <a:cxn ang="0">
                  <a:pos x="150" y="74"/>
                </a:cxn>
                <a:cxn ang="0">
                  <a:pos x="138" y="80"/>
                </a:cxn>
                <a:cxn ang="0">
                  <a:pos x="130" y="84"/>
                </a:cxn>
                <a:cxn ang="0">
                  <a:pos x="116" y="86"/>
                </a:cxn>
                <a:cxn ang="0">
                  <a:pos x="108" y="90"/>
                </a:cxn>
                <a:cxn ang="0">
                  <a:pos x="102" y="92"/>
                </a:cxn>
                <a:cxn ang="0">
                  <a:pos x="100" y="108"/>
                </a:cxn>
                <a:cxn ang="0">
                  <a:pos x="104" y="126"/>
                </a:cxn>
                <a:cxn ang="0">
                  <a:pos x="114" y="126"/>
                </a:cxn>
                <a:cxn ang="0">
                  <a:pos x="128" y="134"/>
                </a:cxn>
                <a:cxn ang="0">
                  <a:pos x="124" y="140"/>
                </a:cxn>
                <a:cxn ang="0">
                  <a:pos x="108" y="138"/>
                </a:cxn>
                <a:cxn ang="0">
                  <a:pos x="130" y="140"/>
                </a:cxn>
                <a:cxn ang="0">
                  <a:pos x="118" y="150"/>
                </a:cxn>
                <a:cxn ang="0">
                  <a:pos x="110" y="148"/>
                </a:cxn>
                <a:cxn ang="0">
                  <a:pos x="94" y="152"/>
                </a:cxn>
                <a:cxn ang="0">
                  <a:pos x="102" y="158"/>
                </a:cxn>
                <a:cxn ang="0">
                  <a:pos x="100" y="164"/>
                </a:cxn>
                <a:cxn ang="0">
                  <a:pos x="100" y="176"/>
                </a:cxn>
                <a:cxn ang="0">
                  <a:pos x="96" y="192"/>
                </a:cxn>
                <a:cxn ang="0">
                  <a:pos x="84" y="202"/>
                </a:cxn>
                <a:cxn ang="0">
                  <a:pos x="72" y="202"/>
                </a:cxn>
                <a:cxn ang="0">
                  <a:pos x="66" y="210"/>
                </a:cxn>
                <a:cxn ang="0">
                  <a:pos x="66" y="214"/>
                </a:cxn>
                <a:cxn ang="0">
                  <a:pos x="44" y="216"/>
                </a:cxn>
                <a:cxn ang="0">
                  <a:pos x="32" y="200"/>
                </a:cxn>
                <a:cxn ang="0">
                  <a:pos x="36" y="196"/>
                </a:cxn>
                <a:cxn ang="0">
                  <a:pos x="28" y="188"/>
                </a:cxn>
                <a:cxn ang="0">
                  <a:pos x="18" y="174"/>
                </a:cxn>
                <a:cxn ang="0">
                  <a:pos x="14" y="168"/>
                </a:cxn>
                <a:cxn ang="0">
                  <a:pos x="10" y="164"/>
                </a:cxn>
                <a:cxn ang="0">
                  <a:pos x="4" y="156"/>
                </a:cxn>
                <a:cxn ang="0">
                  <a:pos x="6" y="152"/>
                </a:cxn>
                <a:cxn ang="0">
                  <a:pos x="6" y="144"/>
                </a:cxn>
                <a:cxn ang="0">
                  <a:pos x="10" y="136"/>
                </a:cxn>
                <a:cxn ang="0">
                  <a:pos x="16" y="116"/>
                </a:cxn>
                <a:cxn ang="0">
                  <a:pos x="20" y="108"/>
                </a:cxn>
                <a:cxn ang="0">
                  <a:pos x="14" y="96"/>
                </a:cxn>
                <a:cxn ang="0">
                  <a:pos x="12" y="80"/>
                </a:cxn>
                <a:cxn ang="0">
                  <a:pos x="26" y="68"/>
                </a:cxn>
                <a:cxn ang="0">
                  <a:pos x="44" y="60"/>
                </a:cxn>
                <a:cxn ang="0">
                  <a:pos x="48" y="44"/>
                </a:cxn>
                <a:cxn ang="0">
                  <a:pos x="56" y="36"/>
                </a:cxn>
                <a:cxn ang="0">
                  <a:pos x="64" y="30"/>
                </a:cxn>
                <a:cxn ang="0">
                  <a:pos x="90" y="10"/>
                </a:cxn>
                <a:cxn ang="0">
                  <a:pos x="108" y="10"/>
                </a:cxn>
                <a:cxn ang="0">
                  <a:pos x="134" y="0"/>
                </a:cxn>
              </a:cxnLst>
              <a:rect l="0" t="0" r="r" b="b"/>
              <a:pathLst>
                <a:path w="194" h="216">
                  <a:moveTo>
                    <a:pt x="134" y="0"/>
                  </a:moveTo>
                  <a:lnTo>
                    <a:pt x="134" y="0"/>
                  </a:lnTo>
                  <a:lnTo>
                    <a:pt x="138" y="4"/>
                  </a:lnTo>
                  <a:lnTo>
                    <a:pt x="142" y="6"/>
                  </a:lnTo>
                  <a:lnTo>
                    <a:pt x="152" y="8"/>
                  </a:lnTo>
                  <a:lnTo>
                    <a:pt x="162" y="8"/>
                  </a:lnTo>
                  <a:lnTo>
                    <a:pt x="170" y="12"/>
                  </a:lnTo>
                  <a:lnTo>
                    <a:pt x="170" y="12"/>
                  </a:lnTo>
                  <a:lnTo>
                    <a:pt x="176" y="16"/>
                  </a:lnTo>
                  <a:lnTo>
                    <a:pt x="176" y="18"/>
                  </a:lnTo>
                  <a:lnTo>
                    <a:pt x="176" y="20"/>
                  </a:lnTo>
                  <a:lnTo>
                    <a:pt x="178" y="22"/>
                  </a:lnTo>
                  <a:lnTo>
                    <a:pt x="178" y="22"/>
                  </a:lnTo>
                  <a:lnTo>
                    <a:pt x="180" y="22"/>
                  </a:lnTo>
                  <a:lnTo>
                    <a:pt x="180" y="24"/>
                  </a:lnTo>
                  <a:lnTo>
                    <a:pt x="180" y="26"/>
                  </a:lnTo>
                  <a:lnTo>
                    <a:pt x="184" y="30"/>
                  </a:lnTo>
                  <a:lnTo>
                    <a:pt x="184" y="30"/>
                  </a:lnTo>
                  <a:lnTo>
                    <a:pt x="188" y="34"/>
                  </a:lnTo>
                  <a:lnTo>
                    <a:pt x="190" y="36"/>
                  </a:lnTo>
                  <a:lnTo>
                    <a:pt x="190" y="40"/>
                  </a:lnTo>
                  <a:lnTo>
                    <a:pt x="190" y="44"/>
                  </a:lnTo>
                  <a:lnTo>
                    <a:pt x="190" y="44"/>
                  </a:lnTo>
                  <a:lnTo>
                    <a:pt x="194" y="46"/>
                  </a:lnTo>
                  <a:lnTo>
                    <a:pt x="194" y="46"/>
                  </a:lnTo>
                  <a:lnTo>
                    <a:pt x="192" y="50"/>
                  </a:lnTo>
                  <a:lnTo>
                    <a:pt x="190" y="50"/>
                  </a:lnTo>
                  <a:lnTo>
                    <a:pt x="188" y="48"/>
                  </a:lnTo>
                  <a:lnTo>
                    <a:pt x="188" y="50"/>
                  </a:lnTo>
                  <a:lnTo>
                    <a:pt x="188" y="50"/>
                  </a:lnTo>
                  <a:lnTo>
                    <a:pt x="186" y="52"/>
                  </a:lnTo>
                  <a:lnTo>
                    <a:pt x="182" y="50"/>
                  </a:lnTo>
                  <a:lnTo>
                    <a:pt x="180" y="48"/>
                  </a:lnTo>
                  <a:lnTo>
                    <a:pt x="174" y="48"/>
                  </a:lnTo>
                  <a:lnTo>
                    <a:pt x="174" y="48"/>
                  </a:lnTo>
                  <a:lnTo>
                    <a:pt x="170" y="48"/>
                  </a:lnTo>
                  <a:lnTo>
                    <a:pt x="168" y="50"/>
                  </a:lnTo>
                  <a:lnTo>
                    <a:pt x="168" y="50"/>
                  </a:lnTo>
                  <a:lnTo>
                    <a:pt x="168" y="52"/>
                  </a:lnTo>
                  <a:lnTo>
                    <a:pt x="166" y="52"/>
                  </a:lnTo>
                  <a:lnTo>
                    <a:pt x="164" y="52"/>
                  </a:lnTo>
                  <a:lnTo>
                    <a:pt x="160" y="54"/>
                  </a:lnTo>
                  <a:lnTo>
                    <a:pt x="160" y="54"/>
                  </a:lnTo>
                  <a:lnTo>
                    <a:pt x="158" y="56"/>
                  </a:lnTo>
                  <a:lnTo>
                    <a:pt x="160" y="58"/>
                  </a:lnTo>
                  <a:lnTo>
                    <a:pt x="162" y="60"/>
                  </a:lnTo>
                  <a:lnTo>
                    <a:pt x="160" y="64"/>
                  </a:lnTo>
                  <a:lnTo>
                    <a:pt x="160" y="64"/>
                  </a:lnTo>
                  <a:lnTo>
                    <a:pt x="154" y="70"/>
                  </a:lnTo>
                  <a:lnTo>
                    <a:pt x="150" y="74"/>
                  </a:lnTo>
                  <a:lnTo>
                    <a:pt x="150" y="74"/>
                  </a:lnTo>
                  <a:lnTo>
                    <a:pt x="148" y="78"/>
                  </a:lnTo>
                  <a:lnTo>
                    <a:pt x="144" y="78"/>
                  </a:lnTo>
                  <a:lnTo>
                    <a:pt x="142" y="78"/>
                  </a:lnTo>
                  <a:lnTo>
                    <a:pt x="138" y="80"/>
                  </a:lnTo>
                  <a:lnTo>
                    <a:pt x="138" y="80"/>
                  </a:lnTo>
                  <a:lnTo>
                    <a:pt x="136" y="82"/>
                  </a:lnTo>
                  <a:lnTo>
                    <a:pt x="134" y="82"/>
                  </a:lnTo>
                  <a:lnTo>
                    <a:pt x="132" y="82"/>
                  </a:lnTo>
                  <a:lnTo>
                    <a:pt x="130" y="84"/>
                  </a:lnTo>
                  <a:lnTo>
                    <a:pt x="130" y="84"/>
                  </a:lnTo>
                  <a:lnTo>
                    <a:pt x="126" y="86"/>
                  </a:lnTo>
                  <a:lnTo>
                    <a:pt x="122" y="86"/>
                  </a:lnTo>
                  <a:lnTo>
                    <a:pt x="120" y="84"/>
                  </a:lnTo>
                  <a:lnTo>
                    <a:pt x="116" y="86"/>
                  </a:lnTo>
                  <a:lnTo>
                    <a:pt x="116" y="86"/>
                  </a:lnTo>
                  <a:lnTo>
                    <a:pt x="112" y="88"/>
                  </a:lnTo>
                  <a:lnTo>
                    <a:pt x="112" y="88"/>
                  </a:lnTo>
                  <a:lnTo>
                    <a:pt x="110" y="88"/>
                  </a:lnTo>
                  <a:lnTo>
                    <a:pt x="108" y="90"/>
                  </a:lnTo>
                  <a:lnTo>
                    <a:pt x="108" y="90"/>
                  </a:lnTo>
                  <a:lnTo>
                    <a:pt x="106" y="92"/>
                  </a:lnTo>
                  <a:lnTo>
                    <a:pt x="104" y="90"/>
                  </a:lnTo>
                  <a:lnTo>
                    <a:pt x="102" y="90"/>
                  </a:lnTo>
                  <a:lnTo>
                    <a:pt x="102" y="92"/>
                  </a:lnTo>
                  <a:lnTo>
                    <a:pt x="102" y="92"/>
                  </a:lnTo>
                  <a:lnTo>
                    <a:pt x="102" y="98"/>
                  </a:lnTo>
                  <a:lnTo>
                    <a:pt x="102" y="102"/>
                  </a:lnTo>
                  <a:lnTo>
                    <a:pt x="100" y="104"/>
                  </a:lnTo>
                  <a:lnTo>
                    <a:pt x="100" y="108"/>
                  </a:lnTo>
                  <a:lnTo>
                    <a:pt x="100" y="108"/>
                  </a:lnTo>
                  <a:lnTo>
                    <a:pt x="100" y="112"/>
                  </a:lnTo>
                  <a:lnTo>
                    <a:pt x="98" y="116"/>
                  </a:lnTo>
                  <a:lnTo>
                    <a:pt x="100" y="120"/>
                  </a:lnTo>
                  <a:lnTo>
                    <a:pt x="104" y="126"/>
                  </a:lnTo>
                  <a:lnTo>
                    <a:pt x="104" y="126"/>
                  </a:lnTo>
                  <a:lnTo>
                    <a:pt x="110" y="128"/>
                  </a:lnTo>
                  <a:lnTo>
                    <a:pt x="112" y="128"/>
                  </a:lnTo>
                  <a:lnTo>
                    <a:pt x="112" y="126"/>
                  </a:lnTo>
                  <a:lnTo>
                    <a:pt x="114" y="126"/>
                  </a:lnTo>
                  <a:lnTo>
                    <a:pt x="114" y="126"/>
                  </a:lnTo>
                  <a:lnTo>
                    <a:pt x="118" y="128"/>
                  </a:lnTo>
                  <a:lnTo>
                    <a:pt x="124" y="132"/>
                  </a:lnTo>
                  <a:lnTo>
                    <a:pt x="124" y="132"/>
                  </a:lnTo>
                  <a:lnTo>
                    <a:pt x="128" y="134"/>
                  </a:lnTo>
                  <a:lnTo>
                    <a:pt x="132" y="136"/>
                  </a:lnTo>
                  <a:lnTo>
                    <a:pt x="132" y="136"/>
                  </a:lnTo>
                  <a:lnTo>
                    <a:pt x="130" y="138"/>
                  </a:lnTo>
                  <a:lnTo>
                    <a:pt x="130" y="138"/>
                  </a:lnTo>
                  <a:lnTo>
                    <a:pt x="124" y="140"/>
                  </a:lnTo>
                  <a:lnTo>
                    <a:pt x="122" y="140"/>
                  </a:lnTo>
                  <a:lnTo>
                    <a:pt x="120" y="140"/>
                  </a:lnTo>
                  <a:lnTo>
                    <a:pt x="120" y="140"/>
                  </a:lnTo>
                  <a:lnTo>
                    <a:pt x="114" y="138"/>
                  </a:lnTo>
                  <a:lnTo>
                    <a:pt x="108" y="138"/>
                  </a:lnTo>
                  <a:lnTo>
                    <a:pt x="108" y="138"/>
                  </a:lnTo>
                  <a:lnTo>
                    <a:pt x="116" y="140"/>
                  </a:lnTo>
                  <a:lnTo>
                    <a:pt x="120" y="142"/>
                  </a:lnTo>
                  <a:lnTo>
                    <a:pt x="122" y="142"/>
                  </a:lnTo>
                  <a:lnTo>
                    <a:pt x="130" y="140"/>
                  </a:lnTo>
                  <a:lnTo>
                    <a:pt x="130" y="140"/>
                  </a:lnTo>
                  <a:lnTo>
                    <a:pt x="126" y="148"/>
                  </a:lnTo>
                  <a:lnTo>
                    <a:pt x="122" y="150"/>
                  </a:lnTo>
                  <a:lnTo>
                    <a:pt x="120" y="148"/>
                  </a:lnTo>
                  <a:lnTo>
                    <a:pt x="118" y="150"/>
                  </a:lnTo>
                  <a:lnTo>
                    <a:pt x="118" y="150"/>
                  </a:lnTo>
                  <a:lnTo>
                    <a:pt x="116" y="152"/>
                  </a:lnTo>
                  <a:lnTo>
                    <a:pt x="116" y="152"/>
                  </a:lnTo>
                  <a:lnTo>
                    <a:pt x="110" y="148"/>
                  </a:lnTo>
                  <a:lnTo>
                    <a:pt x="110" y="148"/>
                  </a:lnTo>
                  <a:lnTo>
                    <a:pt x="112" y="150"/>
                  </a:lnTo>
                  <a:lnTo>
                    <a:pt x="110" y="152"/>
                  </a:lnTo>
                  <a:lnTo>
                    <a:pt x="106" y="154"/>
                  </a:lnTo>
                  <a:lnTo>
                    <a:pt x="100" y="152"/>
                  </a:lnTo>
                  <a:lnTo>
                    <a:pt x="94" y="152"/>
                  </a:lnTo>
                  <a:lnTo>
                    <a:pt x="94" y="152"/>
                  </a:lnTo>
                  <a:lnTo>
                    <a:pt x="102" y="156"/>
                  </a:lnTo>
                  <a:lnTo>
                    <a:pt x="104" y="156"/>
                  </a:lnTo>
                  <a:lnTo>
                    <a:pt x="102" y="158"/>
                  </a:lnTo>
                  <a:lnTo>
                    <a:pt x="102" y="158"/>
                  </a:lnTo>
                  <a:lnTo>
                    <a:pt x="102" y="160"/>
                  </a:lnTo>
                  <a:lnTo>
                    <a:pt x="102" y="160"/>
                  </a:lnTo>
                  <a:lnTo>
                    <a:pt x="102" y="162"/>
                  </a:lnTo>
                  <a:lnTo>
                    <a:pt x="100" y="164"/>
                  </a:lnTo>
                  <a:lnTo>
                    <a:pt x="100" y="164"/>
                  </a:lnTo>
                  <a:lnTo>
                    <a:pt x="98" y="168"/>
                  </a:lnTo>
                  <a:lnTo>
                    <a:pt x="100" y="170"/>
                  </a:lnTo>
                  <a:lnTo>
                    <a:pt x="100" y="174"/>
                  </a:lnTo>
                  <a:lnTo>
                    <a:pt x="100" y="176"/>
                  </a:lnTo>
                  <a:lnTo>
                    <a:pt x="100" y="176"/>
                  </a:lnTo>
                  <a:lnTo>
                    <a:pt x="98" y="180"/>
                  </a:lnTo>
                  <a:lnTo>
                    <a:pt x="98" y="184"/>
                  </a:lnTo>
                  <a:lnTo>
                    <a:pt x="98" y="188"/>
                  </a:lnTo>
                  <a:lnTo>
                    <a:pt x="96" y="192"/>
                  </a:lnTo>
                  <a:lnTo>
                    <a:pt x="96" y="192"/>
                  </a:lnTo>
                  <a:lnTo>
                    <a:pt x="96" y="198"/>
                  </a:lnTo>
                  <a:lnTo>
                    <a:pt x="94" y="200"/>
                  </a:lnTo>
                  <a:lnTo>
                    <a:pt x="88" y="202"/>
                  </a:lnTo>
                  <a:lnTo>
                    <a:pt x="88" y="202"/>
                  </a:lnTo>
                  <a:lnTo>
                    <a:pt x="84" y="202"/>
                  </a:lnTo>
                  <a:lnTo>
                    <a:pt x="80" y="200"/>
                  </a:lnTo>
                  <a:lnTo>
                    <a:pt x="76" y="200"/>
                  </a:lnTo>
                  <a:lnTo>
                    <a:pt x="74" y="202"/>
                  </a:lnTo>
                  <a:lnTo>
                    <a:pt x="74" y="202"/>
                  </a:lnTo>
                  <a:lnTo>
                    <a:pt x="72" y="202"/>
                  </a:lnTo>
                  <a:lnTo>
                    <a:pt x="72" y="202"/>
                  </a:lnTo>
                  <a:lnTo>
                    <a:pt x="70" y="202"/>
                  </a:lnTo>
                  <a:lnTo>
                    <a:pt x="68" y="206"/>
                  </a:lnTo>
                  <a:lnTo>
                    <a:pt x="68" y="206"/>
                  </a:lnTo>
                  <a:lnTo>
                    <a:pt x="66" y="210"/>
                  </a:lnTo>
                  <a:lnTo>
                    <a:pt x="68" y="210"/>
                  </a:lnTo>
                  <a:lnTo>
                    <a:pt x="68" y="212"/>
                  </a:lnTo>
                  <a:lnTo>
                    <a:pt x="68" y="214"/>
                  </a:lnTo>
                  <a:lnTo>
                    <a:pt x="68" y="214"/>
                  </a:lnTo>
                  <a:lnTo>
                    <a:pt x="66" y="214"/>
                  </a:lnTo>
                  <a:lnTo>
                    <a:pt x="60" y="214"/>
                  </a:lnTo>
                  <a:lnTo>
                    <a:pt x="56" y="212"/>
                  </a:lnTo>
                  <a:lnTo>
                    <a:pt x="50" y="214"/>
                  </a:lnTo>
                  <a:lnTo>
                    <a:pt x="50" y="214"/>
                  </a:lnTo>
                  <a:lnTo>
                    <a:pt x="44" y="216"/>
                  </a:lnTo>
                  <a:lnTo>
                    <a:pt x="42" y="214"/>
                  </a:lnTo>
                  <a:lnTo>
                    <a:pt x="40" y="210"/>
                  </a:lnTo>
                  <a:lnTo>
                    <a:pt x="36" y="206"/>
                  </a:lnTo>
                  <a:lnTo>
                    <a:pt x="36" y="206"/>
                  </a:lnTo>
                  <a:lnTo>
                    <a:pt x="32" y="200"/>
                  </a:lnTo>
                  <a:lnTo>
                    <a:pt x="30" y="198"/>
                  </a:lnTo>
                  <a:lnTo>
                    <a:pt x="30" y="198"/>
                  </a:lnTo>
                  <a:lnTo>
                    <a:pt x="34" y="198"/>
                  </a:lnTo>
                  <a:lnTo>
                    <a:pt x="36" y="198"/>
                  </a:lnTo>
                  <a:lnTo>
                    <a:pt x="36" y="196"/>
                  </a:lnTo>
                  <a:lnTo>
                    <a:pt x="34" y="194"/>
                  </a:lnTo>
                  <a:lnTo>
                    <a:pt x="34" y="194"/>
                  </a:lnTo>
                  <a:lnTo>
                    <a:pt x="32" y="192"/>
                  </a:lnTo>
                  <a:lnTo>
                    <a:pt x="28" y="188"/>
                  </a:lnTo>
                  <a:lnTo>
                    <a:pt x="28" y="188"/>
                  </a:lnTo>
                  <a:lnTo>
                    <a:pt x="24" y="186"/>
                  </a:lnTo>
                  <a:lnTo>
                    <a:pt x="22" y="182"/>
                  </a:lnTo>
                  <a:lnTo>
                    <a:pt x="20" y="174"/>
                  </a:lnTo>
                  <a:lnTo>
                    <a:pt x="20" y="174"/>
                  </a:lnTo>
                  <a:lnTo>
                    <a:pt x="18" y="174"/>
                  </a:lnTo>
                  <a:lnTo>
                    <a:pt x="18" y="174"/>
                  </a:lnTo>
                  <a:lnTo>
                    <a:pt x="16" y="174"/>
                  </a:lnTo>
                  <a:lnTo>
                    <a:pt x="16" y="172"/>
                  </a:lnTo>
                  <a:lnTo>
                    <a:pt x="16" y="172"/>
                  </a:lnTo>
                  <a:lnTo>
                    <a:pt x="14" y="168"/>
                  </a:lnTo>
                  <a:lnTo>
                    <a:pt x="12" y="170"/>
                  </a:lnTo>
                  <a:lnTo>
                    <a:pt x="12" y="170"/>
                  </a:lnTo>
                  <a:lnTo>
                    <a:pt x="12" y="166"/>
                  </a:lnTo>
                  <a:lnTo>
                    <a:pt x="12" y="166"/>
                  </a:lnTo>
                  <a:lnTo>
                    <a:pt x="10" y="164"/>
                  </a:lnTo>
                  <a:lnTo>
                    <a:pt x="10" y="164"/>
                  </a:lnTo>
                  <a:lnTo>
                    <a:pt x="8" y="164"/>
                  </a:lnTo>
                  <a:lnTo>
                    <a:pt x="6" y="160"/>
                  </a:lnTo>
                  <a:lnTo>
                    <a:pt x="6" y="160"/>
                  </a:lnTo>
                  <a:lnTo>
                    <a:pt x="4" y="156"/>
                  </a:lnTo>
                  <a:lnTo>
                    <a:pt x="2" y="154"/>
                  </a:lnTo>
                  <a:lnTo>
                    <a:pt x="0" y="152"/>
                  </a:lnTo>
                  <a:lnTo>
                    <a:pt x="4" y="152"/>
                  </a:lnTo>
                  <a:lnTo>
                    <a:pt x="4" y="152"/>
                  </a:lnTo>
                  <a:lnTo>
                    <a:pt x="6" y="152"/>
                  </a:lnTo>
                  <a:lnTo>
                    <a:pt x="8" y="152"/>
                  </a:lnTo>
                  <a:lnTo>
                    <a:pt x="10" y="150"/>
                  </a:lnTo>
                  <a:lnTo>
                    <a:pt x="8" y="146"/>
                  </a:lnTo>
                  <a:lnTo>
                    <a:pt x="8" y="146"/>
                  </a:lnTo>
                  <a:lnTo>
                    <a:pt x="6" y="144"/>
                  </a:lnTo>
                  <a:lnTo>
                    <a:pt x="8" y="142"/>
                  </a:lnTo>
                  <a:lnTo>
                    <a:pt x="8" y="140"/>
                  </a:lnTo>
                  <a:lnTo>
                    <a:pt x="8" y="138"/>
                  </a:lnTo>
                  <a:lnTo>
                    <a:pt x="8" y="138"/>
                  </a:lnTo>
                  <a:lnTo>
                    <a:pt x="10" y="136"/>
                  </a:lnTo>
                  <a:lnTo>
                    <a:pt x="14" y="132"/>
                  </a:lnTo>
                  <a:lnTo>
                    <a:pt x="16" y="130"/>
                  </a:lnTo>
                  <a:lnTo>
                    <a:pt x="18" y="126"/>
                  </a:lnTo>
                  <a:lnTo>
                    <a:pt x="18" y="122"/>
                  </a:lnTo>
                  <a:lnTo>
                    <a:pt x="16" y="116"/>
                  </a:lnTo>
                  <a:lnTo>
                    <a:pt x="16" y="116"/>
                  </a:lnTo>
                  <a:lnTo>
                    <a:pt x="20" y="114"/>
                  </a:lnTo>
                  <a:lnTo>
                    <a:pt x="22" y="110"/>
                  </a:lnTo>
                  <a:lnTo>
                    <a:pt x="22" y="110"/>
                  </a:lnTo>
                  <a:lnTo>
                    <a:pt x="20" y="108"/>
                  </a:lnTo>
                  <a:lnTo>
                    <a:pt x="18" y="106"/>
                  </a:lnTo>
                  <a:lnTo>
                    <a:pt x="16" y="104"/>
                  </a:lnTo>
                  <a:lnTo>
                    <a:pt x="16" y="100"/>
                  </a:lnTo>
                  <a:lnTo>
                    <a:pt x="16" y="100"/>
                  </a:lnTo>
                  <a:lnTo>
                    <a:pt x="14" y="96"/>
                  </a:lnTo>
                  <a:lnTo>
                    <a:pt x="14" y="92"/>
                  </a:lnTo>
                  <a:lnTo>
                    <a:pt x="14" y="86"/>
                  </a:lnTo>
                  <a:lnTo>
                    <a:pt x="14" y="86"/>
                  </a:lnTo>
                  <a:lnTo>
                    <a:pt x="14" y="82"/>
                  </a:lnTo>
                  <a:lnTo>
                    <a:pt x="12" y="80"/>
                  </a:lnTo>
                  <a:lnTo>
                    <a:pt x="12" y="78"/>
                  </a:lnTo>
                  <a:lnTo>
                    <a:pt x="12" y="78"/>
                  </a:lnTo>
                  <a:lnTo>
                    <a:pt x="18" y="76"/>
                  </a:lnTo>
                  <a:lnTo>
                    <a:pt x="22" y="72"/>
                  </a:lnTo>
                  <a:lnTo>
                    <a:pt x="26" y="68"/>
                  </a:lnTo>
                  <a:lnTo>
                    <a:pt x="34" y="66"/>
                  </a:lnTo>
                  <a:lnTo>
                    <a:pt x="34" y="66"/>
                  </a:lnTo>
                  <a:lnTo>
                    <a:pt x="42" y="64"/>
                  </a:lnTo>
                  <a:lnTo>
                    <a:pt x="44" y="62"/>
                  </a:lnTo>
                  <a:lnTo>
                    <a:pt x="44" y="60"/>
                  </a:lnTo>
                  <a:lnTo>
                    <a:pt x="44" y="56"/>
                  </a:lnTo>
                  <a:lnTo>
                    <a:pt x="46" y="52"/>
                  </a:lnTo>
                  <a:lnTo>
                    <a:pt x="46" y="52"/>
                  </a:lnTo>
                  <a:lnTo>
                    <a:pt x="48" y="48"/>
                  </a:lnTo>
                  <a:lnTo>
                    <a:pt x="48" y="44"/>
                  </a:lnTo>
                  <a:lnTo>
                    <a:pt x="48" y="40"/>
                  </a:lnTo>
                  <a:lnTo>
                    <a:pt x="50" y="38"/>
                  </a:lnTo>
                  <a:lnTo>
                    <a:pt x="50" y="38"/>
                  </a:lnTo>
                  <a:lnTo>
                    <a:pt x="52" y="36"/>
                  </a:lnTo>
                  <a:lnTo>
                    <a:pt x="56" y="36"/>
                  </a:lnTo>
                  <a:lnTo>
                    <a:pt x="58" y="36"/>
                  </a:lnTo>
                  <a:lnTo>
                    <a:pt x="62" y="36"/>
                  </a:lnTo>
                  <a:lnTo>
                    <a:pt x="62" y="36"/>
                  </a:lnTo>
                  <a:lnTo>
                    <a:pt x="64" y="34"/>
                  </a:lnTo>
                  <a:lnTo>
                    <a:pt x="64" y="30"/>
                  </a:lnTo>
                  <a:lnTo>
                    <a:pt x="66" y="26"/>
                  </a:lnTo>
                  <a:lnTo>
                    <a:pt x="72" y="20"/>
                  </a:lnTo>
                  <a:lnTo>
                    <a:pt x="72" y="20"/>
                  </a:lnTo>
                  <a:lnTo>
                    <a:pt x="80" y="16"/>
                  </a:lnTo>
                  <a:lnTo>
                    <a:pt x="90" y="10"/>
                  </a:lnTo>
                  <a:lnTo>
                    <a:pt x="90" y="10"/>
                  </a:lnTo>
                  <a:lnTo>
                    <a:pt x="100" y="6"/>
                  </a:lnTo>
                  <a:lnTo>
                    <a:pt x="102" y="6"/>
                  </a:lnTo>
                  <a:lnTo>
                    <a:pt x="104" y="8"/>
                  </a:lnTo>
                  <a:lnTo>
                    <a:pt x="108" y="10"/>
                  </a:lnTo>
                  <a:lnTo>
                    <a:pt x="110" y="10"/>
                  </a:lnTo>
                  <a:lnTo>
                    <a:pt x="114" y="10"/>
                  </a:lnTo>
                  <a:lnTo>
                    <a:pt x="114" y="10"/>
                  </a:lnTo>
                  <a:lnTo>
                    <a:pt x="122" y="6"/>
                  </a:lnTo>
                  <a:lnTo>
                    <a:pt x="134" y="0"/>
                  </a:lnTo>
                  <a:lnTo>
                    <a:pt x="134" y="0"/>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Switzerland"/>
            <p:cNvSpPr>
              <a:spLocks/>
            </p:cNvSpPr>
            <p:nvPr/>
          </p:nvSpPr>
          <p:spPr bwMode="auto">
            <a:xfrm>
              <a:off x="4284893" y="2104760"/>
              <a:ext cx="105833" cy="47625"/>
            </a:xfrm>
            <a:custGeom>
              <a:avLst/>
              <a:gdLst/>
              <a:ahLst/>
              <a:cxnLst>
                <a:cxn ang="0">
                  <a:pos x="20" y="36"/>
                </a:cxn>
                <a:cxn ang="0">
                  <a:pos x="18" y="32"/>
                </a:cxn>
                <a:cxn ang="0">
                  <a:pos x="16" y="28"/>
                </a:cxn>
                <a:cxn ang="0">
                  <a:pos x="14" y="26"/>
                </a:cxn>
                <a:cxn ang="0">
                  <a:pos x="10" y="26"/>
                </a:cxn>
                <a:cxn ang="0">
                  <a:pos x="6" y="28"/>
                </a:cxn>
                <a:cxn ang="0">
                  <a:pos x="2" y="32"/>
                </a:cxn>
                <a:cxn ang="0">
                  <a:pos x="0" y="30"/>
                </a:cxn>
                <a:cxn ang="0">
                  <a:pos x="4" y="14"/>
                </a:cxn>
                <a:cxn ang="0">
                  <a:pos x="6" y="12"/>
                </a:cxn>
                <a:cxn ang="0">
                  <a:pos x="14" y="8"/>
                </a:cxn>
                <a:cxn ang="0">
                  <a:pos x="16" y="6"/>
                </a:cxn>
                <a:cxn ang="0">
                  <a:pos x="16" y="4"/>
                </a:cxn>
                <a:cxn ang="0">
                  <a:pos x="14" y="4"/>
                </a:cxn>
                <a:cxn ang="0">
                  <a:pos x="18" y="2"/>
                </a:cxn>
                <a:cxn ang="0">
                  <a:pos x="22" y="2"/>
                </a:cxn>
                <a:cxn ang="0">
                  <a:pos x="26" y="0"/>
                </a:cxn>
                <a:cxn ang="0">
                  <a:pos x="28" y="0"/>
                </a:cxn>
                <a:cxn ang="0">
                  <a:pos x="38" y="2"/>
                </a:cxn>
                <a:cxn ang="0">
                  <a:pos x="44" y="2"/>
                </a:cxn>
                <a:cxn ang="0">
                  <a:pos x="44" y="0"/>
                </a:cxn>
                <a:cxn ang="0">
                  <a:pos x="44" y="0"/>
                </a:cxn>
                <a:cxn ang="0">
                  <a:pos x="62" y="4"/>
                </a:cxn>
                <a:cxn ang="0">
                  <a:pos x="66" y="6"/>
                </a:cxn>
                <a:cxn ang="0">
                  <a:pos x="64" y="10"/>
                </a:cxn>
                <a:cxn ang="0">
                  <a:pos x="66" y="12"/>
                </a:cxn>
                <a:cxn ang="0">
                  <a:pos x="70" y="14"/>
                </a:cxn>
                <a:cxn ang="0">
                  <a:pos x="74" y="16"/>
                </a:cxn>
                <a:cxn ang="0">
                  <a:pos x="78" y="14"/>
                </a:cxn>
                <a:cxn ang="0">
                  <a:pos x="80" y="20"/>
                </a:cxn>
                <a:cxn ang="0">
                  <a:pos x="80" y="22"/>
                </a:cxn>
                <a:cxn ang="0">
                  <a:pos x="76" y="22"/>
                </a:cxn>
                <a:cxn ang="0">
                  <a:pos x="74" y="22"/>
                </a:cxn>
                <a:cxn ang="0">
                  <a:pos x="76" y="26"/>
                </a:cxn>
                <a:cxn ang="0">
                  <a:pos x="76" y="28"/>
                </a:cxn>
                <a:cxn ang="0">
                  <a:pos x="74" y="28"/>
                </a:cxn>
                <a:cxn ang="0">
                  <a:pos x="70" y="26"/>
                </a:cxn>
                <a:cxn ang="0">
                  <a:pos x="68" y="26"/>
                </a:cxn>
                <a:cxn ang="0">
                  <a:pos x="66" y="24"/>
                </a:cxn>
                <a:cxn ang="0">
                  <a:pos x="64" y="26"/>
                </a:cxn>
                <a:cxn ang="0">
                  <a:pos x="60" y="30"/>
                </a:cxn>
                <a:cxn ang="0">
                  <a:pos x="58" y="34"/>
                </a:cxn>
                <a:cxn ang="0">
                  <a:pos x="56" y="34"/>
                </a:cxn>
                <a:cxn ang="0">
                  <a:pos x="50" y="32"/>
                </a:cxn>
                <a:cxn ang="0">
                  <a:pos x="48" y="28"/>
                </a:cxn>
                <a:cxn ang="0">
                  <a:pos x="48" y="26"/>
                </a:cxn>
                <a:cxn ang="0">
                  <a:pos x="44" y="26"/>
                </a:cxn>
                <a:cxn ang="0">
                  <a:pos x="36" y="34"/>
                </a:cxn>
                <a:cxn ang="0">
                  <a:pos x="34" y="36"/>
                </a:cxn>
                <a:cxn ang="0">
                  <a:pos x="30" y="34"/>
                </a:cxn>
                <a:cxn ang="0">
                  <a:pos x="20" y="36"/>
                </a:cxn>
              </a:cxnLst>
              <a:rect l="0" t="0" r="r" b="b"/>
              <a:pathLst>
                <a:path w="80" h="36">
                  <a:moveTo>
                    <a:pt x="20" y="36"/>
                  </a:moveTo>
                  <a:lnTo>
                    <a:pt x="20" y="36"/>
                  </a:lnTo>
                  <a:lnTo>
                    <a:pt x="18" y="34"/>
                  </a:lnTo>
                  <a:lnTo>
                    <a:pt x="18" y="32"/>
                  </a:lnTo>
                  <a:lnTo>
                    <a:pt x="18" y="32"/>
                  </a:lnTo>
                  <a:lnTo>
                    <a:pt x="16" y="28"/>
                  </a:lnTo>
                  <a:lnTo>
                    <a:pt x="14" y="26"/>
                  </a:lnTo>
                  <a:lnTo>
                    <a:pt x="14" y="26"/>
                  </a:lnTo>
                  <a:lnTo>
                    <a:pt x="12" y="26"/>
                  </a:lnTo>
                  <a:lnTo>
                    <a:pt x="10" y="26"/>
                  </a:lnTo>
                  <a:lnTo>
                    <a:pt x="6" y="28"/>
                  </a:lnTo>
                  <a:lnTo>
                    <a:pt x="6" y="28"/>
                  </a:lnTo>
                  <a:lnTo>
                    <a:pt x="2" y="30"/>
                  </a:lnTo>
                  <a:lnTo>
                    <a:pt x="2" y="32"/>
                  </a:lnTo>
                  <a:lnTo>
                    <a:pt x="0" y="30"/>
                  </a:lnTo>
                  <a:lnTo>
                    <a:pt x="0" y="30"/>
                  </a:lnTo>
                  <a:lnTo>
                    <a:pt x="2" y="22"/>
                  </a:lnTo>
                  <a:lnTo>
                    <a:pt x="4" y="14"/>
                  </a:lnTo>
                  <a:lnTo>
                    <a:pt x="4" y="14"/>
                  </a:lnTo>
                  <a:lnTo>
                    <a:pt x="6" y="12"/>
                  </a:lnTo>
                  <a:lnTo>
                    <a:pt x="8" y="12"/>
                  </a:lnTo>
                  <a:lnTo>
                    <a:pt x="14" y="8"/>
                  </a:lnTo>
                  <a:lnTo>
                    <a:pt x="14" y="8"/>
                  </a:lnTo>
                  <a:lnTo>
                    <a:pt x="16" y="6"/>
                  </a:lnTo>
                  <a:lnTo>
                    <a:pt x="16" y="6"/>
                  </a:lnTo>
                  <a:lnTo>
                    <a:pt x="16" y="4"/>
                  </a:lnTo>
                  <a:lnTo>
                    <a:pt x="16" y="4"/>
                  </a:lnTo>
                  <a:lnTo>
                    <a:pt x="14" y="4"/>
                  </a:lnTo>
                  <a:lnTo>
                    <a:pt x="16" y="2"/>
                  </a:lnTo>
                  <a:lnTo>
                    <a:pt x="18" y="2"/>
                  </a:lnTo>
                  <a:lnTo>
                    <a:pt x="22" y="2"/>
                  </a:lnTo>
                  <a:lnTo>
                    <a:pt x="22" y="2"/>
                  </a:lnTo>
                  <a:lnTo>
                    <a:pt x="24" y="2"/>
                  </a:lnTo>
                  <a:lnTo>
                    <a:pt x="26" y="0"/>
                  </a:lnTo>
                  <a:lnTo>
                    <a:pt x="26" y="0"/>
                  </a:lnTo>
                  <a:lnTo>
                    <a:pt x="28" y="0"/>
                  </a:lnTo>
                  <a:lnTo>
                    <a:pt x="28" y="0"/>
                  </a:lnTo>
                  <a:lnTo>
                    <a:pt x="38" y="2"/>
                  </a:lnTo>
                  <a:lnTo>
                    <a:pt x="42" y="2"/>
                  </a:lnTo>
                  <a:lnTo>
                    <a:pt x="44" y="2"/>
                  </a:lnTo>
                  <a:lnTo>
                    <a:pt x="44" y="0"/>
                  </a:lnTo>
                  <a:lnTo>
                    <a:pt x="44" y="0"/>
                  </a:lnTo>
                  <a:lnTo>
                    <a:pt x="44" y="0"/>
                  </a:lnTo>
                  <a:lnTo>
                    <a:pt x="44" y="0"/>
                  </a:lnTo>
                  <a:lnTo>
                    <a:pt x="48" y="0"/>
                  </a:lnTo>
                  <a:lnTo>
                    <a:pt x="62" y="4"/>
                  </a:lnTo>
                  <a:lnTo>
                    <a:pt x="62" y="4"/>
                  </a:lnTo>
                  <a:lnTo>
                    <a:pt x="66" y="6"/>
                  </a:lnTo>
                  <a:lnTo>
                    <a:pt x="64" y="8"/>
                  </a:lnTo>
                  <a:lnTo>
                    <a:pt x="64" y="10"/>
                  </a:lnTo>
                  <a:lnTo>
                    <a:pt x="66" y="12"/>
                  </a:lnTo>
                  <a:lnTo>
                    <a:pt x="66" y="12"/>
                  </a:lnTo>
                  <a:lnTo>
                    <a:pt x="70" y="12"/>
                  </a:lnTo>
                  <a:lnTo>
                    <a:pt x="70" y="14"/>
                  </a:lnTo>
                  <a:lnTo>
                    <a:pt x="72" y="16"/>
                  </a:lnTo>
                  <a:lnTo>
                    <a:pt x="74" y="16"/>
                  </a:lnTo>
                  <a:lnTo>
                    <a:pt x="74" y="16"/>
                  </a:lnTo>
                  <a:lnTo>
                    <a:pt x="78" y="14"/>
                  </a:lnTo>
                  <a:lnTo>
                    <a:pt x="78" y="16"/>
                  </a:lnTo>
                  <a:lnTo>
                    <a:pt x="80" y="20"/>
                  </a:lnTo>
                  <a:lnTo>
                    <a:pt x="80" y="20"/>
                  </a:lnTo>
                  <a:lnTo>
                    <a:pt x="80" y="22"/>
                  </a:lnTo>
                  <a:lnTo>
                    <a:pt x="76" y="22"/>
                  </a:lnTo>
                  <a:lnTo>
                    <a:pt x="76" y="22"/>
                  </a:lnTo>
                  <a:lnTo>
                    <a:pt x="74" y="22"/>
                  </a:lnTo>
                  <a:lnTo>
                    <a:pt x="74" y="22"/>
                  </a:lnTo>
                  <a:lnTo>
                    <a:pt x="76" y="26"/>
                  </a:lnTo>
                  <a:lnTo>
                    <a:pt x="76" y="26"/>
                  </a:lnTo>
                  <a:lnTo>
                    <a:pt x="76" y="28"/>
                  </a:lnTo>
                  <a:lnTo>
                    <a:pt x="76" y="28"/>
                  </a:lnTo>
                  <a:lnTo>
                    <a:pt x="74" y="28"/>
                  </a:lnTo>
                  <a:lnTo>
                    <a:pt x="74" y="28"/>
                  </a:lnTo>
                  <a:lnTo>
                    <a:pt x="72" y="26"/>
                  </a:lnTo>
                  <a:lnTo>
                    <a:pt x="70" y="26"/>
                  </a:lnTo>
                  <a:lnTo>
                    <a:pt x="70" y="26"/>
                  </a:lnTo>
                  <a:lnTo>
                    <a:pt x="68" y="26"/>
                  </a:lnTo>
                  <a:lnTo>
                    <a:pt x="66" y="24"/>
                  </a:lnTo>
                  <a:lnTo>
                    <a:pt x="66" y="24"/>
                  </a:lnTo>
                  <a:lnTo>
                    <a:pt x="64" y="24"/>
                  </a:lnTo>
                  <a:lnTo>
                    <a:pt x="64" y="26"/>
                  </a:lnTo>
                  <a:lnTo>
                    <a:pt x="62" y="28"/>
                  </a:lnTo>
                  <a:lnTo>
                    <a:pt x="60" y="30"/>
                  </a:lnTo>
                  <a:lnTo>
                    <a:pt x="60" y="30"/>
                  </a:lnTo>
                  <a:lnTo>
                    <a:pt x="58" y="34"/>
                  </a:lnTo>
                  <a:lnTo>
                    <a:pt x="58" y="34"/>
                  </a:lnTo>
                  <a:lnTo>
                    <a:pt x="56" y="34"/>
                  </a:lnTo>
                  <a:lnTo>
                    <a:pt x="56" y="34"/>
                  </a:lnTo>
                  <a:lnTo>
                    <a:pt x="50" y="32"/>
                  </a:lnTo>
                  <a:lnTo>
                    <a:pt x="48" y="30"/>
                  </a:lnTo>
                  <a:lnTo>
                    <a:pt x="48" y="28"/>
                  </a:lnTo>
                  <a:lnTo>
                    <a:pt x="48" y="28"/>
                  </a:lnTo>
                  <a:lnTo>
                    <a:pt x="48" y="26"/>
                  </a:lnTo>
                  <a:lnTo>
                    <a:pt x="44" y="26"/>
                  </a:lnTo>
                  <a:lnTo>
                    <a:pt x="44" y="26"/>
                  </a:lnTo>
                  <a:lnTo>
                    <a:pt x="40" y="30"/>
                  </a:lnTo>
                  <a:lnTo>
                    <a:pt x="36" y="34"/>
                  </a:lnTo>
                  <a:lnTo>
                    <a:pt x="36" y="34"/>
                  </a:lnTo>
                  <a:lnTo>
                    <a:pt x="34" y="36"/>
                  </a:lnTo>
                  <a:lnTo>
                    <a:pt x="30" y="34"/>
                  </a:lnTo>
                  <a:lnTo>
                    <a:pt x="30" y="34"/>
                  </a:lnTo>
                  <a:lnTo>
                    <a:pt x="24" y="34"/>
                  </a:lnTo>
                  <a:lnTo>
                    <a:pt x="20" y="36"/>
                  </a:lnTo>
                  <a:lnTo>
                    <a:pt x="20" y="36"/>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Taiwan"/>
            <p:cNvSpPr>
              <a:spLocks/>
            </p:cNvSpPr>
            <p:nvPr/>
          </p:nvSpPr>
          <p:spPr bwMode="auto">
            <a:xfrm>
              <a:off x="7388455" y="2776802"/>
              <a:ext cx="42333" cy="103188"/>
            </a:xfrm>
            <a:custGeom>
              <a:avLst/>
              <a:gdLst/>
              <a:ahLst/>
              <a:cxnLst>
                <a:cxn ang="0">
                  <a:pos x="14" y="4"/>
                </a:cxn>
                <a:cxn ang="0">
                  <a:pos x="14" y="4"/>
                </a:cxn>
                <a:cxn ang="0">
                  <a:pos x="12" y="4"/>
                </a:cxn>
                <a:cxn ang="0">
                  <a:pos x="10" y="6"/>
                </a:cxn>
                <a:cxn ang="0">
                  <a:pos x="10" y="8"/>
                </a:cxn>
                <a:cxn ang="0">
                  <a:pos x="10" y="10"/>
                </a:cxn>
                <a:cxn ang="0">
                  <a:pos x="10" y="10"/>
                </a:cxn>
                <a:cxn ang="0">
                  <a:pos x="6" y="20"/>
                </a:cxn>
                <a:cxn ang="0">
                  <a:pos x="2" y="30"/>
                </a:cxn>
                <a:cxn ang="0">
                  <a:pos x="2" y="30"/>
                </a:cxn>
                <a:cxn ang="0">
                  <a:pos x="0" y="36"/>
                </a:cxn>
                <a:cxn ang="0">
                  <a:pos x="0" y="42"/>
                </a:cxn>
                <a:cxn ang="0">
                  <a:pos x="2" y="44"/>
                </a:cxn>
                <a:cxn ang="0">
                  <a:pos x="4" y="50"/>
                </a:cxn>
                <a:cxn ang="0">
                  <a:pos x="4" y="50"/>
                </a:cxn>
                <a:cxn ang="0">
                  <a:pos x="4" y="54"/>
                </a:cxn>
                <a:cxn ang="0">
                  <a:pos x="6" y="56"/>
                </a:cxn>
                <a:cxn ang="0">
                  <a:pos x="10" y="58"/>
                </a:cxn>
                <a:cxn ang="0">
                  <a:pos x="10" y="58"/>
                </a:cxn>
                <a:cxn ang="0">
                  <a:pos x="14" y="66"/>
                </a:cxn>
                <a:cxn ang="0">
                  <a:pos x="20" y="68"/>
                </a:cxn>
                <a:cxn ang="0">
                  <a:pos x="20" y="68"/>
                </a:cxn>
                <a:cxn ang="0">
                  <a:pos x="24" y="72"/>
                </a:cxn>
                <a:cxn ang="0">
                  <a:pos x="24" y="76"/>
                </a:cxn>
                <a:cxn ang="0">
                  <a:pos x="24" y="76"/>
                </a:cxn>
                <a:cxn ang="0">
                  <a:pos x="24" y="76"/>
                </a:cxn>
                <a:cxn ang="0">
                  <a:pos x="26" y="78"/>
                </a:cxn>
                <a:cxn ang="0">
                  <a:pos x="30" y="76"/>
                </a:cxn>
                <a:cxn ang="0">
                  <a:pos x="30" y="76"/>
                </a:cxn>
                <a:cxn ang="0">
                  <a:pos x="28" y="70"/>
                </a:cxn>
                <a:cxn ang="0">
                  <a:pos x="28" y="64"/>
                </a:cxn>
                <a:cxn ang="0">
                  <a:pos x="28" y="64"/>
                </a:cxn>
                <a:cxn ang="0">
                  <a:pos x="30" y="62"/>
                </a:cxn>
                <a:cxn ang="0">
                  <a:pos x="32" y="60"/>
                </a:cxn>
                <a:cxn ang="0">
                  <a:pos x="32" y="56"/>
                </a:cxn>
                <a:cxn ang="0">
                  <a:pos x="32" y="52"/>
                </a:cxn>
                <a:cxn ang="0">
                  <a:pos x="32" y="52"/>
                </a:cxn>
                <a:cxn ang="0">
                  <a:pos x="32" y="42"/>
                </a:cxn>
                <a:cxn ang="0">
                  <a:pos x="32" y="38"/>
                </a:cxn>
                <a:cxn ang="0">
                  <a:pos x="30" y="34"/>
                </a:cxn>
                <a:cxn ang="0">
                  <a:pos x="30" y="34"/>
                </a:cxn>
                <a:cxn ang="0">
                  <a:pos x="28" y="30"/>
                </a:cxn>
                <a:cxn ang="0">
                  <a:pos x="28" y="28"/>
                </a:cxn>
                <a:cxn ang="0">
                  <a:pos x="28" y="28"/>
                </a:cxn>
                <a:cxn ang="0">
                  <a:pos x="30" y="22"/>
                </a:cxn>
                <a:cxn ang="0">
                  <a:pos x="28" y="14"/>
                </a:cxn>
                <a:cxn ang="0">
                  <a:pos x="28" y="14"/>
                </a:cxn>
                <a:cxn ang="0">
                  <a:pos x="28" y="10"/>
                </a:cxn>
                <a:cxn ang="0">
                  <a:pos x="28" y="8"/>
                </a:cxn>
                <a:cxn ang="0">
                  <a:pos x="28" y="8"/>
                </a:cxn>
                <a:cxn ang="0">
                  <a:pos x="28" y="8"/>
                </a:cxn>
                <a:cxn ang="0">
                  <a:pos x="30" y="6"/>
                </a:cxn>
                <a:cxn ang="0">
                  <a:pos x="30" y="4"/>
                </a:cxn>
                <a:cxn ang="0">
                  <a:pos x="22" y="0"/>
                </a:cxn>
                <a:cxn ang="0">
                  <a:pos x="22" y="0"/>
                </a:cxn>
                <a:cxn ang="0">
                  <a:pos x="20" y="0"/>
                </a:cxn>
                <a:cxn ang="0">
                  <a:pos x="18" y="2"/>
                </a:cxn>
                <a:cxn ang="0">
                  <a:pos x="16" y="2"/>
                </a:cxn>
                <a:cxn ang="0">
                  <a:pos x="14" y="4"/>
                </a:cxn>
                <a:cxn ang="0">
                  <a:pos x="14" y="4"/>
                </a:cxn>
              </a:cxnLst>
              <a:rect l="0" t="0" r="r" b="b"/>
              <a:pathLst>
                <a:path w="32" h="78">
                  <a:moveTo>
                    <a:pt x="14" y="4"/>
                  </a:moveTo>
                  <a:lnTo>
                    <a:pt x="14" y="4"/>
                  </a:lnTo>
                  <a:lnTo>
                    <a:pt x="12" y="4"/>
                  </a:lnTo>
                  <a:lnTo>
                    <a:pt x="10" y="6"/>
                  </a:lnTo>
                  <a:lnTo>
                    <a:pt x="10" y="8"/>
                  </a:lnTo>
                  <a:lnTo>
                    <a:pt x="10" y="10"/>
                  </a:lnTo>
                  <a:lnTo>
                    <a:pt x="10" y="10"/>
                  </a:lnTo>
                  <a:lnTo>
                    <a:pt x="6" y="20"/>
                  </a:lnTo>
                  <a:lnTo>
                    <a:pt x="2" y="30"/>
                  </a:lnTo>
                  <a:lnTo>
                    <a:pt x="2" y="30"/>
                  </a:lnTo>
                  <a:lnTo>
                    <a:pt x="0" y="36"/>
                  </a:lnTo>
                  <a:lnTo>
                    <a:pt x="0" y="42"/>
                  </a:lnTo>
                  <a:lnTo>
                    <a:pt x="2" y="44"/>
                  </a:lnTo>
                  <a:lnTo>
                    <a:pt x="4" y="50"/>
                  </a:lnTo>
                  <a:lnTo>
                    <a:pt x="4" y="50"/>
                  </a:lnTo>
                  <a:lnTo>
                    <a:pt x="4" y="54"/>
                  </a:lnTo>
                  <a:lnTo>
                    <a:pt x="6" y="56"/>
                  </a:lnTo>
                  <a:lnTo>
                    <a:pt x="10" y="58"/>
                  </a:lnTo>
                  <a:lnTo>
                    <a:pt x="10" y="58"/>
                  </a:lnTo>
                  <a:lnTo>
                    <a:pt x="14" y="66"/>
                  </a:lnTo>
                  <a:lnTo>
                    <a:pt x="20" y="68"/>
                  </a:lnTo>
                  <a:lnTo>
                    <a:pt x="20" y="68"/>
                  </a:lnTo>
                  <a:lnTo>
                    <a:pt x="24" y="72"/>
                  </a:lnTo>
                  <a:lnTo>
                    <a:pt x="24" y="76"/>
                  </a:lnTo>
                  <a:lnTo>
                    <a:pt x="24" y="76"/>
                  </a:lnTo>
                  <a:lnTo>
                    <a:pt x="24" y="76"/>
                  </a:lnTo>
                  <a:lnTo>
                    <a:pt x="26" y="78"/>
                  </a:lnTo>
                  <a:lnTo>
                    <a:pt x="30" y="76"/>
                  </a:lnTo>
                  <a:lnTo>
                    <a:pt x="30" y="76"/>
                  </a:lnTo>
                  <a:lnTo>
                    <a:pt x="28" y="70"/>
                  </a:lnTo>
                  <a:lnTo>
                    <a:pt x="28" y="64"/>
                  </a:lnTo>
                  <a:lnTo>
                    <a:pt x="28" y="64"/>
                  </a:lnTo>
                  <a:lnTo>
                    <a:pt x="30" y="62"/>
                  </a:lnTo>
                  <a:lnTo>
                    <a:pt x="32" y="60"/>
                  </a:lnTo>
                  <a:lnTo>
                    <a:pt x="32" y="56"/>
                  </a:lnTo>
                  <a:lnTo>
                    <a:pt x="32" y="52"/>
                  </a:lnTo>
                  <a:lnTo>
                    <a:pt x="32" y="52"/>
                  </a:lnTo>
                  <a:lnTo>
                    <a:pt x="32" y="42"/>
                  </a:lnTo>
                  <a:lnTo>
                    <a:pt x="32" y="38"/>
                  </a:lnTo>
                  <a:lnTo>
                    <a:pt x="30" y="34"/>
                  </a:lnTo>
                  <a:lnTo>
                    <a:pt x="30" y="34"/>
                  </a:lnTo>
                  <a:lnTo>
                    <a:pt x="28" y="30"/>
                  </a:lnTo>
                  <a:lnTo>
                    <a:pt x="28" y="28"/>
                  </a:lnTo>
                  <a:lnTo>
                    <a:pt x="28" y="28"/>
                  </a:lnTo>
                  <a:lnTo>
                    <a:pt x="30" y="22"/>
                  </a:lnTo>
                  <a:lnTo>
                    <a:pt x="28" y="14"/>
                  </a:lnTo>
                  <a:lnTo>
                    <a:pt x="28" y="14"/>
                  </a:lnTo>
                  <a:lnTo>
                    <a:pt x="28" y="10"/>
                  </a:lnTo>
                  <a:lnTo>
                    <a:pt x="28" y="8"/>
                  </a:lnTo>
                  <a:lnTo>
                    <a:pt x="28" y="8"/>
                  </a:lnTo>
                  <a:lnTo>
                    <a:pt x="28" y="8"/>
                  </a:lnTo>
                  <a:lnTo>
                    <a:pt x="30" y="6"/>
                  </a:lnTo>
                  <a:lnTo>
                    <a:pt x="30" y="4"/>
                  </a:lnTo>
                  <a:lnTo>
                    <a:pt x="22" y="0"/>
                  </a:lnTo>
                  <a:lnTo>
                    <a:pt x="22" y="0"/>
                  </a:lnTo>
                  <a:lnTo>
                    <a:pt x="20" y="0"/>
                  </a:lnTo>
                  <a:lnTo>
                    <a:pt x="18" y="2"/>
                  </a:lnTo>
                  <a:lnTo>
                    <a:pt x="16" y="2"/>
                  </a:lnTo>
                  <a:lnTo>
                    <a:pt x="14" y="4"/>
                  </a:lnTo>
                  <a:lnTo>
                    <a:pt x="14" y="4"/>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Thailand"/>
            <p:cNvSpPr>
              <a:spLocks/>
            </p:cNvSpPr>
            <p:nvPr/>
          </p:nvSpPr>
          <p:spPr bwMode="auto">
            <a:xfrm>
              <a:off x="6811664" y="2935552"/>
              <a:ext cx="256646" cy="476250"/>
            </a:xfrm>
            <a:custGeom>
              <a:avLst/>
              <a:gdLst/>
              <a:ahLst/>
              <a:cxnLst>
                <a:cxn ang="0">
                  <a:pos x="114" y="336"/>
                </a:cxn>
                <a:cxn ang="0">
                  <a:pos x="100" y="312"/>
                </a:cxn>
                <a:cxn ang="0">
                  <a:pos x="86" y="290"/>
                </a:cxn>
                <a:cxn ang="0">
                  <a:pos x="72" y="276"/>
                </a:cxn>
                <a:cxn ang="0">
                  <a:pos x="68" y="246"/>
                </a:cxn>
                <a:cxn ang="0">
                  <a:pos x="76" y="216"/>
                </a:cxn>
                <a:cxn ang="0">
                  <a:pos x="72" y="184"/>
                </a:cxn>
                <a:cxn ang="0">
                  <a:pos x="70" y="160"/>
                </a:cxn>
                <a:cxn ang="0">
                  <a:pos x="80" y="158"/>
                </a:cxn>
                <a:cxn ang="0">
                  <a:pos x="94" y="162"/>
                </a:cxn>
                <a:cxn ang="0">
                  <a:pos x="94" y="182"/>
                </a:cxn>
                <a:cxn ang="0">
                  <a:pos x="110" y="186"/>
                </a:cxn>
                <a:cxn ang="0">
                  <a:pos x="124" y="204"/>
                </a:cxn>
                <a:cxn ang="0">
                  <a:pos x="130" y="204"/>
                </a:cxn>
                <a:cxn ang="0">
                  <a:pos x="136" y="214"/>
                </a:cxn>
                <a:cxn ang="0">
                  <a:pos x="144" y="210"/>
                </a:cxn>
                <a:cxn ang="0">
                  <a:pos x="126" y="178"/>
                </a:cxn>
                <a:cxn ang="0">
                  <a:pos x="154" y="156"/>
                </a:cxn>
                <a:cxn ang="0">
                  <a:pos x="166" y="154"/>
                </a:cxn>
                <a:cxn ang="0">
                  <a:pos x="186" y="150"/>
                </a:cxn>
                <a:cxn ang="0">
                  <a:pos x="194" y="132"/>
                </a:cxn>
                <a:cxn ang="0">
                  <a:pos x="186" y="116"/>
                </a:cxn>
                <a:cxn ang="0">
                  <a:pos x="164" y="104"/>
                </a:cxn>
                <a:cxn ang="0">
                  <a:pos x="154" y="76"/>
                </a:cxn>
                <a:cxn ang="0">
                  <a:pos x="120" y="56"/>
                </a:cxn>
                <a:cxn ang="0">
                  <a:pos x="96" y="54"/>
                </a:cxn>
                <a:cxn ang="0">
                  <a:pos x="72" y="60"/>
                </a:cxn>
                <a:cxn ang="0">
                  <a:pos x="78" y="20"/>
                </a:cxn>
                <a:cxn ang="0">
                  <a:pos x="60" y="14"/>
                </a:cxn>
                <a:cxn ang="0">
                  <a:pos x="52" y="4"/>
                </a:cxn>
                <a:cxn ang="0">
                  <a:pos x="30" y="6"/>
                </a:cxn>
                <a:cxn ang="0">
                  <a:pos x="12" y="12"/>
                </a:cxn>
                <a:cxn ang="0">
                  <a:pos x="12" y="34"/>
                </a:cxn>
                <a:cxn ang="0">
                  <a:pos x="0" y="42"/>
                </a:cxn>
                <a:cxn ang="0">
                  <a:pos x="6" y="54"/>
                </a:cxn>
                <a:cxn ang="0">
                  <a:pos x="22" y="74"/>
                </a:cxn>
                <a:cxn ang="0">
                  <a:pos x="50" y="98"/>
                </a:cxn>
                <a:cxn ang="0">
                  <a:pos x="38" y="104"/>
                </a:cxn>
                <a:cxn ang="0">
                  <a:pos x="38" y="122"/>
                </a:cxn>
                <a:cxn ang="0">
                  <a:pos x="34" y="138"/>
                </a:cxn>
                <a:cxn ang="0">
                  <a:pos x="58" y="164"/>
                </a:cxn>
                <a:cxn ang="0">
                  <a:pos x="68" y="214"/>
                </a:cxn>
                <a:cxn ang="0">
                  <a:pos x="56" y="248"/>
                </a:cxn>
                <a:cxn ang="0">
                  <a:pos x="54" y="264"/>
                </a:cxn>
                <a:cxn ang="0">
                  <a:pos x="50" y="284"/>
                </a:cxn>
                <a:cxn ang="0">
                  <a:pos x="44" y="302"/>
                </a:cxn>
                <a:cxn ang="0">
                  <a:pos x="52" y="304"/>
                </a:cxn>
                <a:cxn ang="0">
                  <a:pos x="58" y="310"/>
                </a:cxn>
                <a:cxn ang="0">
                  <a:pos x="66" y="322"/>
                </a:cxn>
                <a:cxn ang="0">
                  <a:pos x="70" y="320"/>
                </a:cxn>
                <a:cxn ang="0">
                  <a:pos x="76" y="338"/>
                </a:cxn>
                <a:cxn ang="0">
                  <a:pos x="98" y="350"/>
                </a:cxn>
                <a:cxn ang="0">
                  <a:pos x="124" y="356"/>
                </a:cxn>
              </a:cxnLst>
              <a:rect l="0" t="0" r="r" b="b"/>
              <a:pathLst>
                <a:path w="194" h="360">
                  <a:moveTo>
                    <a:pt x="130" y="350"/>
                  </a:moveTo>
                  <a:lnTo>
                    <a:pt x="130" y="350"/>
                  </a:lnTo>
                  <a:lnTo>
                    <a:pt x="126" y="342"/>
                  </a:lnTo>
                  <a:lnTo>
                    <a:pt x="120" y="338"/>
                  </a:lnTo>
                  <a:lnTo>
                    <a:pt x="118" y="336"/>
                  </a:lnTo>
                  <a:lnTo>
                    <a:pt x="114" y="336"/>
                  </a:lnTo>
                  <a:lnTo>
                    <a:pt x="110" y="336"/>
                  </a:lnTo>
                  <a:lnTo>
                    <a:pt x="108" y="334"/>
                  </a:lnTo>
                  <a:lnTo>
                    <a:pt x="104" y="328"/>
                  </a:lnTo>
                  <a:lnTo>
                    <a:pt x="102" y="320"/>
                  </a:lnTo>
                  <a:lnTo>
                    <a:pt x="102" y="320"/>
                  </a:lnTo>
                  <a:lnTo>
                    <a:pt x="100" y="312"/>
                  </a:lnTo>
                  <a:lnTo>
                    <a:pt x="98" y="306"/>
                  </a:lnTo>
                  <a:lnTo>
                    <a:pt x="96" y="304"/>
                  </a:lnTo>
                  <a:lnTo>
                    <a:pt x="94" y="302"/>
                  </a:lnTo>
                  <a:lnTo>
                    <a:pt x="90" y="300"/>
                  </a:lnTo>
                  <a:lnTo>
                    <a:pt x="86" y="290"/>
                  </a:lnTo>
                  <a:lnTo>
                    <a:pt x="86" y="290"/>
                  </a:lnTo>
                  <a:lnTo>
                    <a:pt x="84" y="280"/>
                  </a:lnTo>
                  <a:lnTo>
                    <a:pt x="82" y="276"/>
                  </a:lnTo>
                  <a:lnTo>
                    <a:pt x="78" y="278"/>
                  </a:lnTo>
                  <a:lnTo>
                    <a:pt x="70" y="280"/>
                  </a:lnTo>
                  <a:lnTo>
                    <a:pt x="70" y="280"/>
                  </a:lnTo>
                  <a:lnTo>
                    <a:pt x="72" y="276"/>
                  </a:lnTo>
                  <a:lnTo>
                    <a:pt x="70" y="274"/>
                  </a:lnTo>
                  <a:lnTo>
                    <a:pt x="68" y="266"/>
                  </a:lnTo>
                  <a:lnTo>
                    <a:pt x="66" y="256"/>
                  </a:lnTo>
                  <a:lnTo>
                    <a:pt x="66" y="252"/>
                  </a:lnTo>
                  <a:lnTo>
                    <a:pt x="68" y="246"/>
                  </a:lnTo>
                  <a:lnTo>
                    <a:pt x="68" y="246"/>
                  </a:lnTo>
                  <a:lnTo>
                    <a:pt x="70" y="236"/>
                  </a:lnTo>
                  <a:lnTo>
                    <a:pt x="68" y="232"/>
                  </a:lnTo>
                  <a:lnTo>
                    <a:pt x="68" y="228"/>
                  </a:lnTo>
                  <a:lnTo>
                    <a:pt x="72" y="220"/>
                  </a:lnTo>
                  <a:lnTo>
                    <a:pt x="72" y="220"/>
                  </a:lnTo>
                  <a:lnTo>
                    <a:pt x="76" y="216"/>
                  </a:lnTo>
                  <a:lnTo>
                    <a:pt x="78" y="210"/>
                  </a:lnTo>
                  <a:lnTo>
                    <a:pt x="76" y="206"/>
                  </a:lnTo>
                  <a:lnTo>
                    <a:pt x="76" y="202"/>
                  </a:lnTo>
                  <a:lnTo>
                    <a:pt x="72" y="194"/>
                  </a:lnTo>
                  <a:lnTo>
                    <a:pt x="72" y="190"/>
                  </a:lnTo>
                  <a:lnTo>
                    <a:pt x="72" y="184"/>
                  </a:lnTo>
                  <a:lnTo>
                    <a:pt x="72" y="184"/>
                  </a:lnTo>
                  <a:lnTo>
                    <a:pt x="74" y="178"/>
                  </a:lnTo>
                  <a:lnTo>
                    <a:pt x="72" y="174"/>
                  </a:lnTo>
                  <a:lnTo>
                    <a:pt x="70" y="166"/>
                  </a:lnTo>
                  <a:lnTo>
                    <a:pt x="68" y="162"/>
                  </a:lnTo>
                  <a:lnTo>
                    <a:pt x="70" y="160"/>
                  </a:lnTo>
                  <a:lnTo>
                    <a:pt x="72" y="160"/>
                  </a:lnTo>
                  <a:lnTo>
                    <a:pt x="72" y="160"/>
                  </a:lnTo>
                  <a:lnTo>
                    <a:pt x="78" y="160"/>
                  </a:lnTo>
                  <a:lnTo>
                    <a:pt x="82" y="158"/>
                  </a:lnTo>
                  <a:lnTo>
                    <a:pt x="82" y="158"/>
                  </a:lnTo>
                  <a:lnTo>
                    <a:pt x="80" y="158"/>
                  </a:lnTo>
                  <a:lnTo>
                    <a:pt x="80" y="158"/>
                  </a:lnTo>
                  <a:lnTo>
                    <a:pt x="82" y="160"/>
                  </a:lnTo>
                  <a:lnTo>
                    <a:pt x="84" y="162"/>
                  </a:lnTo>
                  <a:lnTo>
                    <a:pt x="90" y="162"/>
                  </a:lnTo>
                  <a:lnTo>
                    <a:pt x="92" y="160"/>
                  </a:lnTo>
                  <a:lnTo>
                    <a:pt x="94" y="162"/>
                  </a:lnTo>
                  <a:lnTo>
                    <a:pt x="94" y="164"/>
                  </a:lnTo>
                  <a:lnTo>
                    <a:pt x="92" y="168"/>
                  </a:lnTo>
                  <a:lnTo>
                    <a:pt x="92" y="168"/>
                  </a:lnTo>
                  <a:lnTo>
                    <a:pt x="90" y="176"/>
                  </a:lnTo>
                  <a:lnTo>
                    <a:pt x="92" y="180"/>
                  </a:lnTo>
                  <a:lnTo>
                    <a:pt x="94" y="182"/>
                  </a:lnTo>
                  <a:lnTo>
                    <a:pt x="98" y="182"/>
                  </a:lnTo>
                  <a:lnTo>
                    <a:pt x="98" y="182"/>
                  </a:lnTo>
                  <a:lnTo>
                    <a:pt x="100" y="182"/>
                  </a:lnTo>
                  <a:lnTo>
                    <a:pt x="102" y="184"/>
                  </a:lnTo>
                  <a:lnTo>
                    <a:pt x="106" y="186"/>
                  </a:lnTo>
                  <a:lnTo>
                    <a:pt x="110" y="186"/>
                  </a:lnTo>
                  <a:lnTo>
                    <a:pt x="110" y="186"/>
                  </a:lnTo>
                  <a:lnTo>
                    <a:pt x="112" y="186"/>
                  </a:lnTo>
                  <a:lnTo>
                    <a:pt x="114" y="186"/>
                  </a:lnTo>
                  <a:lnTo>
                    <a:pt x="116" y="192"/>
                  </a:lnTo>
                  <a:lnTo>
                    <a:pt x="118" y="198"/>
                  </a:lnTo>
                  <a:lnTo>
                    <a:pt x="124" y="204"/>
                  </a:lnTo>
                  <a:lnTo>
                    <a:pt x="124" y="204"/>
                  </a:lnTo>
                  <a:lnTo>
                    <a:pt x="128" y="206"/>
                  </a:lnTo>
                  <a:lnTo>
                    <a:pt x="128" y="206"/>
                  </a:lnTo>
                  <a:lnTo>
                    <a:pt x="130" y="204"/>
                  </a:lnTo>
                  <a:lnTo>
                    <a:pt x="130" y="204"/>
                  </a:lnTo>
                  <a:lnTo>
                    <a:pt x="130" y="204"/>
                  </a:lnTo>
                  <a:lnTo>
                    <a:pt x="132" y="204"/>
                  </a:lnTo>
                  <a:lnTo>
                    <a:pt x="132" y="206"/>
                  </a:lnTo>
                  <a:lnTo>
                    <a:pt x="132" y="208"/>
                  </a:lnTo>
                  <a:lnTo>
                    <a:pt x="134" y="210"/>
                  </a:lnTo>
                  <a:lnTo>
                    <a:pt x="134" y="210"/>
                  </a:lnTo>
                  <a:lnTo>
                    <a:pt x="136" y="214"/>
                  </a:lnTo>
                  <a:lnTo>
                    <a:pt x="138" y="218"/>
                  </a:lnTo>
                  <a:lnTo>
                    <a:pt x="140" y="222"/>
                  </a:lnTo>
                  <a:lnTo>
                    <a:pt x="144" y="226"/>
                  </a:lnTo>
                  <a:lnTo>
                    <a:pt x="144" y="226"/>
                  </a:lnTo>
                  <a:lnTo>
                    <a:pt x="146" y="218"/>
                  </a:lnTo>
                  <a:lnTo>
                    <a:pt x="144" y="210"/>
                  </a:lnTo>
                  <a:lnTo>
                    <a:pt x="142" y="204"/>
                  </a:lnTo>
                  <a:lnTo>
                    <a:pt x="136" y="198"/>
                  </a:lnTo>
                  <a:lnTo>
                    <a:pt x="128" y="188"/>
                  </a:lnTo>
                  <a:lnTo>
                    <a:pt x="126" y="182"/>
                  </a:lnTo>
                  <a:lnTo>
                    <a:pt x="126" y="178"/>
                  </a:lnTo>
                  <a:lnTo>
                    <a:pt x="126" y="178"/>
                  </a:lnTo>
                  <a:lnTo>
                    <a:pt x="136" y="166"/>
                  </a:lnTo>
                  <a:lnTo>
                    <a:pt x="142" y="156"/>
                  </a:lnTo>
                  <a:lnTo>
                    <a:pt x="142" y="156"/>
                  </a:lnTo>
                  <a:lnTo>
                    <a:pt x="146" y="154"/>
                  </a:lnTo>
                  <a:lnTo>
                    <a:pt x="150" y="154"/>
                  </a:lnTo>
                  <a:lnTo>
                    <a:pt x="154" y="156"/>
                  </a:lnTo>
                  <a:lnTo>
                    <a:pt x="156" y="154"/>
                  </a:lnTo>
                  <a:lnTo>
                    <a:pt x="156" y="154"/>
                  </a:lnTo>
                  <a:lnTo>
                    <a:pt x="160" y="154"/>
                  </a:lnTo>
                  <a:lnTo>
                    <a:pt x="162" y="154"/>
                  </a:lnTo>
                  <a:lnTo>
                    <a:pt x="164" y="156"/>
                  </a:lnTo>
                  <a:lnTo>
                    <a:pt x="166" y="154"/>
                  </a:lnTo>
                  <a:lnTo>
                    <a:pt x="166" y="154"/>
                  </a:lnTo>
                  <a:lnTo>
                    <a:pt x="170" y="154"/>
                  </a:lnTo>
                  <a:lnTo>
                    <a:pt x="172" y="154"/>
                  </a:lnTo>
                  <a:lnTo>
                    <a:pt x="178" y="154"/>
                  </a:lnTo>
                  <a:lnTo>
                    <a:pt x="186" y="150"/>
                  </a:lnTo>
                  <a:lnTo>
                    <a:pt x="186" y="150"/>
                  </a:lnTo>
                  <a:lnTo>
                    <a:pt x="188" y="146"/>
                  </a:lnTo>
                  <a:lnTo>
                    <a:pt x="190" y="144"/>
                  </a:lnTo>
                  <a:lnTo>
                    <a:pt x="190" y="140"/>
                  </a:lnTo>
                  <a:lnTo>
                    <a:pt x="192" y="136"/>
                  </a:lnTo>
                  <a:lnTo>
                    <a:pt x="192" y="136"/>
                  </a:lnTo>
                  <a:lnTo>
                    <a:pt x="194" y="132"/>
                  </a:lnTo>
                  <a:lnTo>
                    <a:pt x="192" y="130"/>
                  </a:lnTo>
                  <a:lnTo>
                    <a:pt x="190" y="126"/>
                  </a:lnTo>
                  <a:lnTo>
                    <a:pt x="188" y="122"/>
                  </a:lnTo>
                  <a:lnTo>
                    <a:pt x="188" y="122"/>
                  </a:lnTo>
                  <a:lnTo>
                    <a:pt x="188" y="118"/>
                  </a:lnTo>
                  <a:lnTo>
                    <a:pt x="186" y="116"/>
                  </a:lnTo>
                  <a:lnTo>
                    <a:pt x="182" y="114"/>
                  </a:lnTo>
                  <a:lnTo>
                    <a:pt x="180" y="110"/>
                  </a:lnTo>
                  <a:lnTo>
                    <a:pt x="180" y="110"/>
                  </a:lnTo>
                  <a:lnTo>
                    <a:pt x="176" y="110"/>
                  </a:lnTo>
                  <a:lnTo>
                    <a:pt x="172" y="110"/>
                  </a:lnTo>
                  <a:lnTo>
                    <a:pt x="164" y="104"/>
                  </a:lnTo>
                  <a:lnTo>
                    <a:pt x="158" y="94"/>
                  </a:lnTo>
                  <a:lnTo>
                    <a:pt x="158" y="90"/>
                  </a:lnTo>
                  <a:lnTo>
                    <a:pt x="158" y="86"/>
                  </a:lnTo>
                  <a:lnTo>
                    <a:pt x="158" y="86"/>
                  </a:lnTo>
                  <a:lnTo>
                    <a:pt x="158" y="80"/>
                  </a:lnTo>
                  <a:lnTo>
                    <a:pt x="154" y="76"/>
                  </a:lnTo>
                  <a:lnTo>
                    <a:pt x="148" y="72"/>
                  </a:lnTo>
                  <a:lnTo>
                    <a:pt x="136" y="62"/>
                  </a:lnTo>
                  <a:lnTo>
                    <a:pt x="136" y="62"/>
                  </a:lnTo>
                  <a:lnTo>
                    <a:pt x="130" y="56"/>
                  </a:lnTo>
                  <a:lnTo>
                    <a:pt x="126" y="54"/>
                  </a:lnTo>
                  <a:lnTo>
                    <a:pt x="120" y="56"/>
                  </a:lnTo>
                  <a:lnTo>
                    <a:pt x="114" y="56"/>
                  </a:lnTo>
                  <a:lnTo>
                    <a:pt x="110" y="58"/>
                  </a:lnTo>
                  <a:lnTo>
                    <a:pt x="106" y="60"/>
                  </a:lnTo>
                  <a:lnTo>
                    <a:pt x="102" y="58"/>
                  </a:lnTo>
                  <a:lnTo>
                    <a:pt x="96" y="54"/>
                  </a:lnTo>
                  <a:lnTo>
                    <a:pt x="96" y="54"/>
                  </a:lnTo>
                  <a:lnTo>
                    <a:pt x="92" y="50"/>
                  </a:lnTo>
                  <a:lnTo>
                    <a:pt x="88" y="50"/>
                  </a:lnTo>
                  <a:lnTo>
                    <a:pt x="84" y="52"/>
                  </a:lnTo>
                  <a:lnTo>
                    <a:pt x="80" y="54"/>
                  </a:lnTo>
                  <a:lnTo>
                    <a:pt x="74" y="58"/>
                  </a:lnTo>
                  <a:lnTo>
                    <a:pt x="72" y="60"/>
                  </a:lnTo>
                  <a:lnTo>
                    <a:pt x="70" y="58"/>
                  </a:lnTo>
                  <a:lnTo>
                    <a:pt x="70" y="58"/>
                  </a:lnTo>
                  <a:lnTo>
                    <a:pt x="70" y="52"/>
                  </a:lnTo>
                  <a:lnTo>
                    <a:pt x="70" y="46"/>
                  </a:lnTo>
                  <a:lnTo>
                    <a:pt x="72" y="32"/>
                  </a:lnTo>
                  <a:lnTo>
                    <a:pt x="78" y="20"/>
                  </a:lnTo>
                  <a:lnTo>
                    <a:pt x="78" y="14"/>
                  </a:lnTo>
                  <a:lnTo>
                    <a:pt x="78" y="14"/>
                  </a:lnTo>
                  <a:lnTo>
                    <a:pt x="76" y="12"/>
                  </a:lnTo>
                  <a:lnTo>
                    <a:pt x="74" y="12"/>
                  </a:lnTo>
                  <a:lnTo>
                    <a:pt x="68" y="12"/>
                  </a:lnTo>
                  <a:lnTo>
                    <a:pt x="60" y="14"/>
                  </a:lnTo>
                  <a:lnTo>
                    <a:pt x="58" y="12"/>
                  </a:lnTo>
                  <a:lnTo>
                    <a:pt x="56" y="8"/>
                  </a:lnTo>
                  <a:lnTo>
                    <a:pt x="56" y="8"/>
                  </a:lnTo>
                  <a:lnTo>
                    <a:pt x="54" y="4"/>
                  </a:lnTo>
                  <a:lnTo>
                    <a:pt x="54" y="4"/>
                  </a:lnTo>
                  <a:lnTo>
                    <a:pt x="52" y="4"/>
                  </a:lnTo>
                  <a:lnTo>
                    <a:pt x="50" y="0"/>
                  </a:lnTo>
                  <a:lnTo>
                    <a:pt x="50" y="0"/>
                  </a:lnTo>
                  <a:lnTo>
                    <a:pt x="34" y="2"/>
                  </a:lnTo>
                  <a:lnTo>
                    <a:pt x="32" y="2"/>
                  </a:lnTo>
                  <a:lnTo>
                    <a:pt x="30" y="6"/>
                  </a:lnTo>
                  <a:lnTo>
                    <a:pt x="30" y="6"/>
                  </a:lnTo>
                  <a:lnTo>
                    <a:pt x="30" y="8"/>
                  </a:lnTo>
                  <a:lnTo>
                    <a:pt x="28" y="8"/>
                  </a:lnTo>
                  <a:lnTo>
                    <a:pt x="24" y="8"/>
                  </a:lnTo>
                  <a:lnTo>
                    <a:pt x="18" y="8"/>
                  </a:lnTo>
                  <a:lnTo>
                    <a:pt x="14" y="10"/>
                  </a:lnTo>
                  <a:lnTo>
                    <a:pt x="12" y="12"/>
                  </a:lnTo>
                  <a:lnTo>
                    <a:pt x="12" y="12"/>
                  </a:lnTo>
                  <a:lnTo>
                    <a:pt x="10" y="16"/>
                  </a:lnTo>
                  <a:lnTo>
                    <a:pt x="8" y="20"/>
                  </a:lnTo>
                  <a:lnTo>
                    <a:pt x="10" y="26"/>
                  </a:lnTo>
                  <a:lnTo>
                    <a:pt x="12" y="30"/>
                  </a:lnTo>
                  <a:lnTo>
                    <a:pt x="12" y="34"/>
                  </a:lnTo>
                  <a:lnTo>
                    <a:pt x="10" y="36"/>
                  </a:lnTo>
                  <a:lnTo>
                    <a:pt x="10" y="36"/>
                  </a:lnTo>
                  <a:lnTo>
                    <a:pt x="8" y="40"/>
                  </a:lnTo>
                  <a:lnTo>
                    <a:pt x="4" y="40"/>
                  </a:lnTo>
                  <a:lnTo>
                    <a:pt x="2" y="40"/>
                  </a:lnTo>
                  <a:lnTo>
                    <a:pt x="0" y="42"/>
                  </a:lnTo>
                  <a:lnTo>
                    <a:pt x="0" y="42"/>
                  </a:lnTo>
                  <a:lnTo>
                    <a:pt x="0" y="46"/>
                  </a:lnTo>
                  <a:lnTo>
                    <a:pt x="2" y="48"/>
                  </a:lnTo>
                  <a:lnTo>
                    <a:pt x="4" y="52"/>
                  </a:lnTo>
                  <a:lnTo>
                    <a:pt x="6" y="54"/>
                  </a:lnTo>
                  <a:lnTo>
                    <a:pt x="6" y="54"/>
                  </a:lnTo>
                  <a:lnTo>
                    <a:pt x="4" y="56"/>
                  </a:lnTo>
                  <a:lnTo>
                    <a:pt x="4" y="58"/>
                  </a:lnTo>
                  <a:lnTo>
                    <a:pt x="10" y="62"/>
                  </a:lnTo>
                  <a:lnTo>
                    <a:pt x="16" y="68"/>
                  </a:lnTo>
                  <a:lnTo>
                    <a:pt x="22" y="74"/>
                  </a:lnTo>
                  <a:lnTo>
                    <a:pt x="22" y="74"/>
                  </a:lnTo>
                  <a:lnTo>
                    <a:pt x="30" y="82"/>
                  </a:lnTo>
                  <a:lnTo>
                    <a:pt x="38" y="88"/>
                  </a:lnTo>
                  <a:lnTo>
                    <a:pt x="46" y="92"/>
                  </a:lnTo>
                  <a:lnTo>
                    <a:pt x="50" y="96"/>
                  </a:lnTo>
                  <a:lnTo>
                    <a:pt x="50" y="96"/>
                  </a:lnTo>
                  <a:lnTo>
                    <a:pt x="50" y="98"/>
                  </a:lnTo>
                  <a:lnTo>
                    <a:pt x="48" y="98"/>
                  </a:lnTo>
                  <a:lnTo>
                    <a:pt x="44" y="98"/>
                  </a:lnTo>
                  <a:lnTo>
                    <a:pt x="40" y="100"/>
                  </a:lnTo>
                  <a:lnTo>
                    <a:pt x="40" y="102"/>
                  </a:lnTo>
                  <a:lnTo>
                    <a:pt x="38" y="104"/>
                  </a:lnTo>
                  <a:lnTo>
                    <a:pt x="38" y="104"/>
                  </a:lnTo>
                  <a:lnTo>
                    <a:pt x="38" y="108"/>
                  </a:lnTo>
                  <a:lnTo>
                    <a:pt x="40" y="110"/>
                  </a:lnTo>
                  <a:lnTo>
                    <a:pt x="40" y="112"/>
                  </a:lnTo>
                  <a:lnTo>
                    <a:pt x="38" y="118"/>
                  </a:lnTo>
                  <a:lnTo>
                    <a:pt x="38" y="118"/>
                  </a:lnTo>
                  <a:lnTo>
                    <a:pt x="38" y="122"/>
                  </a:lnTo>
                  <a:lnTo>
                    <a:pt x="38" y="126"/>
                  </a:lnTo>
                  <a:lnTo>
                    <a:pt x="40" y="130"/>
                  </a:lnTo>
                  <a:lnTo>
                    <a:pt x="38" y="132"/>
                  </a:lnTo>
                  <a:lnTo>
                    <a:pt x="38" y="132"/>
                  </a:lnTo>
                  <a:lnTo>
                    <a:pt x="36" y="134"/>
                  </a:lnTo>
                  <a:lnTo>
                    <a:pt x="34" y="138"/>
                  </a:lnTo>
                  <a:lnTo>
                    <a:pt x="36" y="142"/>
                  </a:lnTo>
                  <a:lnTo>
                    <a:pt x="42" y="150"/>
                  </a:lnTo>
                  <a:lnTo>
                    <a:pt x="52" y="158"/>
                  </a:lnTo>
                  <a:lnTo>
                    <a:pt x="52" y="158"/>
                  </a:lnTo>
                  <a:lnTo>
                    <a:pt x="56" y="160"/>
                  </a:lnTo>
                  <a:lnTo>
                    <a:pt x="58" y="164"/>
                  </a:lnTo>
                  <a:lnTo>
                    <a:pt x="58" y="172"/>
                  </a:lnTo>
                  <a:lnTo>
                    <a:pt x="58" y="184"/>
                  </a:lnTo>
                  <a:lnTo>
                    <a:pt x="60" y="192"/>
                  </a:lnTo>
                  <a:lnTo>
                    <a:pt x="64" y="204"/>
                  </a:lnTo>
                  <a:lnTo>
                    <a:pt x="64" y="204"/>
                  </a:lnTo>
                  <a:lnTo>
                    <a:pt x="68" y="214"/>
                  </a:lnTo>
                  <a:lnTo>
                    <a:pt x="68" y="220"/>
                  </a:lnTo>
                  <a:lnTo>
                    <a:pt x="66" y="226"/>
                  </a:lnTo>
                  <a:lnTo>
                    <a:pt x="64" y="232"/>
                  </a:lnTo>
                  <a:lnTo>
                    <a:pt x="58" y="240"/>
                  </a:lnTo>
                  <a:lnTo>
                    <a:pt x="56" y="244"/>
                  </a:lnTo>
                  <a:lnTo>
                    <a:pt x="56" y="248"/>
                  </a:lnTo>
                  <a:lnTo>
                    <a:pt x="56" y="248"/>
                  </a:lnTo>
                  <a:lnTo>
                    <a:pt x="56" y="256"/>
                  </a:lnTo>
                  <a:lnTo>
                    <a:pt x="56" y="258"/>
                  </a:lnTo>
                  <a:lnTo>
                    <a:pt x="54" y="260"/>
                  </a:lnTo>
                  <a:lnTo>
                    <a:pt x="54" y="264"/>
                  </a:lnTo>
                  <a:lnTo>
                    <a:pt x="54" y="264"/>
                  </a:lnTo>
                  <a:lnTo>
                    <a:pt x="50" y="270"/>
                  </a:lnTo>
                  <a:lnTo>
                    <a:pt x="48" y="274"/>
                  </a:lnTo>
                  <a:lnTo>
                    <a:pt x="46" y="278"/>
                  </a:lnTo>
                  <a:lnTo>
                    <a:pt x="46" y="282"/>
                  </a:lnTo>
                  <a:lnTo>
                    <a:pt x="50" y="284"/>
                  </a:lnTo>
                  <a:lnTo>
                    <a:pt x="50" y="284"/>
                  </a:lnTo>
                  <a:lnTo>
                    <a:pt x="46" y="288"/>
                  </a:lnTo>
                  <a:lnTo>
                    <a:pt x="44" y="290"/>
                  </a:lnTo>
                  <a:lnTo>
                    <a:pt x="46" y="292"/>
                  </a:lnTo>
                  <a:lnTo>
                    <a:pt x="44" y="298"/>
                  </a:lnTo>
                  <a:lnTo>
                    <a:pt x="44" y="298"/>
                  </a:lnTo>
                  <a:lnTo>
                    <a:pt x="44" y="302"/>
                  </a:lnTo>
                  <a:lnTo>
                    <a:pt x="46" y="304"/>
                  </a:lnTo>
                  <a:lnTo>
                    <a:pt x="48" y="306"/>
                  </a:lnTo>
                  <a:lnTo>
                    <a:pt x="50" y="308"/>
                  </a:lnTo>
                  <a:lnTo>
                    <a:pt x="50" y="308"/>
                  </a:lnTo>
                  <a:lnTo>
                    <a:pt x="52" y="306"/>
                  </a:lnTo>
                  <a:lnTo>
                    <a:pt x="52" y="304"/>
                  </a:lnTo>
                  <a:lnTo>
                    <a:pt x="52" y="302"/>
                  </a:lnTo>
                  <a:lnTo>
                    <a:pt x="56" y="304"/>
                  </a:lnTo>
                  <a:lnTo>
                    <a:pt x="56" y="304"/>
                  </a:lnTo>
                  <a:lnTo>
                    <a:pt x="58" y="306"/>
                  </a:lnTo>
                  <a:lnTo>
                    <a:pt x="58" y="308"/>
                  </a:lnTo>
                  <a:lnTo>
                    <a:pt x="58" y="310"/>
                  </a:lnTo>
                  <a:lnTo>
                    <a:pt x="62" y="310"/>
                  </a:lnTo>
                  <a:lnTo>
                    <a:pt x="62" y="310"/>
                  </a:lnTo>
                  <a:lnTo>
                    <a:pt x="66" y="312"/>
                  </a:lnTo>
                  <a:lnTo>
                    <a:pt x="64" y="316"/>
                  </a:lnTo>
                  <a:lnTo>
                    <a:pt x="64" y="318"/>
                  </a:lnTo>
                  <a:lnTo>
                    <a:pt x="66" y="322"/>
                  </a:lnTo>
                  <a:lnTo>
                    <a:pt x="66" y="322"/>
                  </a:lnTo>
                  <a:lnTo>
                    <a:pt x="66" y="322"/>
                  </a:lnTo>
                  <a:lnTo>
                    <a:pt x="68" y="320"/>
                  </a:lnTo>
                  <a:lnTo>
                    <a:pt x="68" y="316"/>
                  </a:lnTo>
                  <a:lnTo>
                    <a:pt x="68" y="316"/>
                  </a:lnTo>
                  <a:lnTo>
                    <a:pt x="70" y="320"/>
                  </a:lnTo>
                  <a:lnTo>
                    <a:pt x="70" y="324"/>
                  </a:lnTo>
                  <a:lnTo>
                    <a:pt x="72" y="328"/>
                  </a:lnTo>
                  <a:lnTo>
                    <a:pt x="78" y="330"/>
                  </a:lnTo>
                  <a:lnTo>
                    <a:pt x="78" y="330"/>
                  </a:lnTo>
                  <a:lnTo>
                    <a:pt x="74" y="336"/>
                  </a:lnTo>
                  <a:lnTo>
                    <a:pt x="76" y="338"/>
                  </a:lnTo>
                  <a:lnTo>
                    <a:pt x="76" y="340"/>
                  </a:lnTo>
                  <a:lnTo>
                    <a:pt x="82" y="342"/>
                  </a:lnTo>
                  <a:lnTo>
                    <a:pt x="90" y="352"/>
                  </a:lnTo>
                  <a:lnTo>
                    <a:pt x="90" y="352"/>
                  </a:lnTo>
                  <a:lnTo>
                    <a:pt x="94" y="350"/>
                  </a:lnTo>
                  <a:lnTo>
                    <a:pt x="98" y="350"/>
                  </a:lnTo>
                  <a:lnTo>
                    <a:pt x="106" y="354"/>
                  </a:lnTo>
                  <a:lnTo>
                    <a:pt x="110" y="358"/>
                  </a:lnTo>
                  <a:lnTo>
                    <a:pt x="116" y="360"/>
                  </a:lnTo>
                  <a:lnTo>
                    <a:pt x="116" y="360"/>
                  </a:lnTo>
                  <a:lnTo>
                    <a:pt x="122" y="358"/>
                  </a:lnTo>
                  <a:lnTo>
                    <a:pt x="124" y="356"/>
                  </a:lnTo>
                  <a:lnTo>
                    <a:pt x="126" y="354"/>
                  </a:lnTo>
                  <a:lnTo>
                    <a:pt x="130" y="350"/>
                  </a:lnTo>
                  <a:lnTo>
                    <a:pt x="130" y="350"/>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Turkey"/>
            <p:cNvSpPr>
              <a:spLocks/>
            </p:cNvSpPr>
            <p:nvPr/>
          </p:nvSpPr>
          <p:spPr bwMode="auto">
            <a:xfrm>
              <a:off x="4816705" y="2255573"/>
              <a:ext cx="494771" cy="177271"/>
            </a:xfrm>
            <a:custGeom>
              <a:avLst/>
              <a:gdLst/>
              <a:ahLst/>
              <a:cxnLst>
                <a:cxn ang="0">
                  <a:pos x="260" y="22"/>
                </a:cxn>
                <a:cxn ang="0">
                  <a:pos x="236" y="20"/>
                </a:cxn>
                <a:cxn ang="0">
                  <a:pos x="202" y="18"/>
                </a:cxn>
                <a:cxn ang="0">
                  <a:pos x="186" y="12"/>
                </a:cxn>
                <a:cxn ang="0">
                  <a:pos x="172" y="6"/>
                </a:cxn>
                <a:cxn ang="0">
                  <a:pos x="156" y="2"/>
                </a:cxn>
                <a:cxn ang="0">
                  <a:pos x="126" y="4"/>
                </a:cxn>
                <a:cxn ang="0">
                  <a:pos x="98" y="14"/>
                </a:cxn>
                <a:cxn ang="0">
                  <a:pos x="68" y="20"/>
                </a:cxn>
                <a:cxn ang="0">
                  <a:pos x="48" y="24"/>
                </a:cxn>
                <a:cxn ang="0">
                  <a:pos x="72" y="28"/>
                </a:cxn>
                <a:cxn ang="0">
                  <a:pos x="54" y="32"/>
                </a:cxn>
                <a:cxn ang="0">
                  <a:pos x="32" y="34"/>
                </a:cxn>
                <a:cxn ang="0">
                  <a:pos x="22" y="36"/>
                </a:cxn>
                <a:cxn ang="0">
                  <a:pos x="8" y="42"/>
                </a:cxn>
                <a:cxn ang="0">
                  <a:pos x="0" y="52"/>
                </a:cxn>
                <a:cxn ang="0">
                  <a:pos x="4" y="56"/>
                </a:cxn>
                <a:cxn ang="0">
                  <a:pos x="10" y="62"/>
                </a:cxn>
                <a:cxn ang="0">
                  <a:pos x="12" y="68"/>
                </a:cxn>
                <a:cxn ang="0">
                  <a:pos x="12" y="74"/>
                </a:cxn>
                <a:cxn ang="0">
                  <a:pos x="8" y="74"/>
                </a:cxn>
                <a:cxn ang="0">
                  <a:pos x="4" y="78"/>
                </a:cxn>
                <a:cxn ang="0">
                  <a:pos x="8" y="88"/>
                </a:cxn>
                <a:cxn ang="0">
                  <a:pos x="22" y="92"/>
                </a:cxn>
                <a:cxn ang="0">
                  <a:pos x="24" y="102"/>
                </a:cxn>
                <a:cxn ang="0">
                  <a:pos x="34" y="106"/>
                </a:cxn>
                <a:cxn ang="0">
                  <a:pos x="34" y="110"/>
                </a:cxn>
                <a:cxn ang="0">
                  <a:pos x="32" y="114"/>
                </a:cxn>
                <a:cxn ang="0">
                  <a:pos x="38" y="118"/>
                </a:cxn>
                <a:cxn ang="0">
                  <a:pos x="36" y="122"/>
                </a:cxn>
                <a:cxn ang="0">
                  <a:pos x="52" y="122"/>
                </a:cxn>
                <a:cxn ang="0">
                  <a:pos x="66" y="120"/>
                </a:cxn>
                <a:cxn ang="0">
                  <a:pos x="68" y="124"/>
                </a:cxn>
                <a:cxn ang="0">
                  <a:pos x="82" y="132"/>
                </a:cxn>
                <a:cxn ang="0">
                  <a:pos x="98" y="124"/>
                </a:cxn>
                <a:cxn ang="0">
                  <a:pos x="106" y="118"/>
                </a:cxn>
                <a:cxn ang="0">
                  <a:pos x="128" y="128"/>
                </a:cxn>
                <a:cxn ang="0">
                  <a:pos x="156" y="132"/>
                </a:cxn>
                <a:cxn ang="0">
                  <a:pos x="166" y="120"/>
                </a:cxn>
                <a:cxn ang="0">
                  <a:pos x="188" y="122"/>
                </a:cxn>
                <a:cxn ang="0">
                  <a:pos x="196" y="120"/>
                </a:cxn>
                <a:cxn ang="0">
                  <a:pos x="192" y="130"/>
                </a:cxn>
                <a:cxn ang="0">
                  <a:pos x="208" y="130"/>
                </a:cxn>
                <a:cxn ang="0">
                  <a:pos x="218" y="116"/>
                </a:cxn>
                <a:cxn ang="0">
                  <a:pos x="250" y="114"/>
                </a:cxn>
                <a:cxn ang="0">
                  <a:pos x="298" y="104"/>
                </a:cxn>
                <a:cxn ang="0">
                  <a:pos x="320" y="104"/>
                </a:cxn>
                <a:cxn ang="0">
                  <a:pos x="334" y="98"/>
                </a:cxn>
                <a:cxn ang="0">
                  <a:pos x="356" y="104"/>
                </a:cxn>
                <a:cxn ang="0">
                  <a:pos x="374" y="106"/>
                </a:cxn>
                <a:cxn ang="0">
                  <a:pos x="370" y="100"/>
                </a:cxn>
                <a:cxn ang="0">
                  <a:pos x="362" y="92"/>
                </a:cxn>
                <a:cxn ang="0">
                  <a:pos x="354" y="74"/>
                </a:cxn>
                <a:cxn ang="0">
                  <a:pos x="346" y="56"/>
                </a:cxn>
                <a:cxn ang="0">
                  <a:pos x="354" y="52"/>
                </a:cxn>
                <a:cxn ang="0">
                  <a:pos x="350" y="40"/>
                </a:cxn>
                <a:cxn ang="0">
                  <a:pos x="332" y="34"/>
                </a:cxn>
                <a:cxn ang="0">
                  <a:pos x="328" y="18"/>
                </a:cxn>
                <a:cxn ang="0">
                  <a:pos x="320" y="10"/>
                </a:cxn>
                <a:cxn ang="0">
                  <a:pos x="306" y="10"/>
                </a:cxn>
              </a:cxnLst>
              <a:rect l="0" t="0" r="r" b="b"/>
              <a:pathLst>
                <a:path w="374" h="134">
                  <a:moveTo>
                    <a:pt x="282" y="6"/>
                  </a:moveTo>
                  <a:lnTo>
                    <a:pt x="282" y="6"/>
                  </a:lnTo>
                  <a:lnTo>
                    <a:pt x="274" y="16"/>
                  </a:lnTo>
                  <a:lnTo>
                    <a:pt x="268" y="20"/>
                  </a:lnTo>
                  <a:lnTo>
                    <a:pt x="260" y="22"/>
                  </a:lnTo>
                  <a:lnTo>
                    <a:pt x="254" y="22"/>
                  </a:lnTo>
                  <a:lnTo>
                    <a:pt x="246" y="18"/>
                  </a:lnTo>
                  <a:lnTo>
                    <a:pt x="240" y="18"/>
                  </a:lnTo>
                  <a:lnTo>
                    <a:pt x="236" y="20"/>
                  </a:lnTo>
                  <a:lnTo>
                    <a:pt x="236" y="20"/>
                  </a:lnTo>
                  <a:lnTo>
                    <a:pt x="224" y="22"/>
                  </a:lnTo>
                  <a:lnTo>
                    <a:pt x="216" y="22"/>
                  </a:lnTo>
                  <a:lnTo>
                    <a:pt x="206" y="20"/>
                  </a:lnTo>
                  <a:lnTo>
                    <a:pt x="206" y="20"/>
                  </a:lnTo>
                  <a:lnTo>
                    <a:pt x="202" y="18"/>
                  </a:lnTo>
                  <a:lnTo>
                    <a:pt x="202" y="16"/>
                  </a:lnTo>
                  <a:lnTo>
                    <a:pt x="200" y="14"/>
                  </a:lnTo>
                  <a:lnTo>
                    <a:pt x="194" y="14"/>
                  </a:lnTo>
                  <a:lnTo>
                    <a:pt x="194" y="14"/>
                  </a:lnTo>
                  <a:lnTo>
                    <a:pt x="186" y="12"/>
                  </a:lnTo>
                  <a:lnTo>
                    <a:pt x="184" y="10"/>
                  </a:lnTo>
                  <a:lnTo>
                    <a:pt x="182" y="8"/>
                  </a:lnTo>
                  <a:lnTo>
                    <a:pt x="176" y="6"/>
                  </a:lnTo>
                  <a:lnTo>
                    <a:pt x="176" y="6"/>
                  </a:lnTo>
                  <a:lnTo>
                    <a:pt x="172" y="6"/>
                  </a:lnTo>
                  <a:lnTo>
                    <a:pt x="170" y="6"/>
                  </a:lnTo>
                  <a:lnTo>
                    <a:pt x="164" y="2"/>
                  </a:lnTo>
                  <a:lnTo>
                    <a:pt x="162" y="0"/>
                  </a:lnTo>
                  <a:lnTo>
                    <a:pt x="160" y="0"/>
                  </a:lnTo>
                  <a:lnTo>
                    <a:pt x="156" y="2"/>
                  </a:lnTo>
                  <a:lnTo>
                    <a:pt x="156" y="2"/>
                  </a:lnTo>
                  <a:lnTo>
                    <a:pt x="150" y="4"/>
                  </a:lnTo>
                  <a:lnTo>
                    <a:pt x="140" y="4"/>
                  </a:lnTo>
                  <a:lnTo>
                    <a:pt x="130" y="4"/>
                  </a:lnTo>
                  <a:lnTo>
                    <a:pt x="126" y="4"/>
                  </a:lnTo>
                  <a:lnTo>
                    <a:pt x="122" y="8"/>
                  </a:lnTo>
                  <a:lnTo>
                    <a:pt x="122" y="8"/>
                  </a:lnTo>
                  <a:lnTo>
                    <a:pt x="112" y="10"/>
                  </a:lnTo>
                  <a:lnTo>
                    <a:pt x="106" y="12"/>
                  </a:lnTo>
                  <a:lnTo>
                    <a:pt x="98" y="14"/>
                  </a:lnTo>
                  <a:lnTo>
                    <a:pt x="92" y="20"/>
                  </a:lnTo>
                  <a:lnTo>
                    <a:pt x="92" y="20"/>
                  </a:lnTo>
                  <a:lnTo>
                    <a:pt x="86" y="22"/>
                  </a:lnTo>
                  <a:lnTo>
                    <a:pt x="82" y="22"/>
                  </a:lnTo>
                  <a:lnTo>
                    <a:pt x="68" y="20"/>
                  </a:lnTo>
                  <a:lnTo>
                    <a:pt x="58" y="18"/>
                  </a:lnTo>
                  <a:lnTo>
                    <a:pt x="52" y="18"/>
                  </a:lnTo>
                  <a:lnTo>
                    <a:pt x="50" y="20"/>
                  </a:lnTo>
                  <a:lnTo>
                    <a:pt x="50" y="20"/>
                  </a:lnTo>
                  <a:lnTo>
                    <a:pt x="48" y="24"/>
                  </a:lnTo>
                  <a:lnTo>
                    <a:pt x="50" y="24"/>
                  </a:lnTo>
                  <a:lnTo>
                    <a:pt x="54" y="26"/>
                  </a:lnTo>
                  <a:lnTo>
                    <a:pt x="62" y="26"/>
                  </a:lnTo>
                  <a:lnTo>
                    <a:pt x="72" y="28"/>
                  </a:lnTo>
                  <a:lnTo>
                    <a:pt x="72" y="28"/>
                  </a:lnTo>
                  <a:lnTo>
                    <a:pt x="56" y="30"/>
                  </a:lnTo>
                  <a:lnTo>
                    <a:pt x="52" y="32"/>
                  </a:lnTo>
                  <a:lnTo>
                    <a:pt x="52" y="32"/>
                  </a:lnTo>
                  <a:lnTo>
                    <a:pt x="54" y="32"/>
                  </a:lnTo>
                  <a:lnTo>
                    <a:pt x="54" y="32"/>
                  </a:lnTo>
                  <a:lnTo>
                    <a:pt x="54" y="34"/>
                  </a:lnTo>
                  <a:lnTo>
                    <a:pt x="54" y="34"/>
                  </a:lnTo>
                  <a:lnTo>
                    <a:pt x="46" y="36"/>
                  </a:lnTo>
                  <a:lnTo>
                    <a:pt x="38" y="36"/>
                  </a:lnTo>
                  <a:lnTo>
                    <a:pt x="32" y="34"/>
                  </a:lnTo>
                  <a:lnTo>
                    <a:pt x="32" y="34"/>
                  </a:lnTo>
                  <a:lnTo>
                    <a:pt x="30" y="34"/>
                  </a:lnTo>
                  <a:lnTo>
                    <a:pt x="28" y="36"/>
                  </a:lnTo>
                  <a:lnTo>
                    <a:pt x="24" y="36"/>
                  </a:lnTo>
                  <a:lnTo>
                    <a:pt x="22" y="36"/>
                  </a:lnTo>
                  <a:lnTo>
                    <a:pt x="22" y="36"/>
                  </a:lnTo>
                  <a:lnTo>
                    <a:pt x="20" y="34"/>
                  </a:lnTo>
                  <a:lnTo>
                    <a:pt x="16" y="36"/>
                  </a:lnTo>
                  <a:lnTo>
                    <a:pt x="8" y="42"/>
                  </a:lnTo>
                  <a:lnTo>
                    <a:pt x="8" y="42"/>
                  </a:lnTo>
                  <a:lnTo>
                    <a:pt x="0" y="42"/>
                  </a:lnTo>
                  <a:lnTo>
                    <a:pt x="0" y="44"/>
                  </a:lnTo>
                  <a:lnTo>
                    <a:pt x="0" y="46"/>
                  </a:lnTo>
                  <a:lnTo>
                    <a:pt x="0" y="46"/>
                  </a:lnTo>
                  <a:lnTo>
                    <a:pt x="0" y="52"/>
                  </a:lnTo>
                  <a:lnTo>
                    <a:pt x="0" y="54"/>
                  </a:lnTo>
                  <a:lnTo>
                    <a:pt x="2" y="54"/>
                  </a:lnTo>
                  <a:lnTo>
                    <a:pt x="10" y="54"/>
                  </a:lnTo>
                  <a:lnTo>
                    <a:pt x="10" y="54"/>
                  </a:lnTo>
                  <a:lnTo>
                    <a:pt x="4" y="56"/>
                  </a:lnTo>
                  <a:lnTo>
                    <a:pt x="6" y="60"/>
                  </a:lnTo>
                  <a:lnTo>
                    <a:pt x="10" y="60"/>
                  </a:lnTo>
                  <a:lnTo>
                    <a:pt x="10" y="62"/>
                  </a:lnTo>
                  <a:lnTo>
                    <a:pt x="10" y="62"/>
                  </a:lnTo>
                  <a:lnTo>
                    <a:pt x="10" y="62"/>
                  </a:lnTo>
                  <a:lnTo>
                    <a:pt x="10" y="64"/>
                  </a:lnTo>
                  <a:lnTo>
                    <a:pt x="12" y="66"/>
                  </a:lnTo>
                  <a:lnTo>
                    <a:pt x="12" y="66"/>
                  </a:lnTo>
                  <a:lnTo>
                    <a:pt x="12" y="68"/>
                  </a:lnTo>
                  <a:lnTo>
                    <a:pt x="12" y="68"/>
                  </a:lnTo>
                  <a:lnTo>
                    <a:pt x="10" y="68"/>
                  </a:lnTo>
                  <a:lnTo>
                    <a:pt x="10" y="70"/>
                  </a:lnTo>
                  <a:lnTo>
                    <a:pt x="12" y="72"/>
                  </a:lnTo>
                  <a:lnTo>
                    <a:pt x="14" y="74"/>
                  </a:lnTo>
                  <a:lnTo>
                    <a:pt x="12" y="74"/>
                  </a:lnTo>
                  <a:lnTo>
                    <a:pt x="12" y="74"/>
                  </a:lnTo>
                  <a:lnTo>
                    <a:pt x="10" y="76"/>
                  </a:lnTo>
                  <a:lnTo>
                    <a:pt x="10" y="78"/>
                  </a:lnTo>
                  <a:lnTo>
                    <a:pt x="8" y="74"/>
                  </a:lnTo>
                  <a:lnTo>
                    <a:pt x="8" y="74"/>
                  </a:lnTo>
                  <a:lnTo>
                    <a:pt x="6" y="72"/>
                  </a:lnTo>
                  <a:lnTo>
                    <a:pt x="4" y="74"/>
                  </a:lnTo>
                  <a:lnTo>
                    <a:pt x="2" y="76"/>
                  </a:lnTo>
                  <a:lnTo>
                    <a:pt x="4" y="78"/>
                  </a:lnTo>
                  <a:lnTo>
                    <a:pt x="4" y="78"/>
                  </a:lnTo>
                  <a:lnTo>
                    <a:pt x="6" y="82"/>
                  </a:lnTo>
                  <a:lnTo>
                    <a:pt x="6" y="86"/>
                  </a:lnTo>
                  <a:lnTo>
                    <a:pt x="6" y="88"/>
                  </a:lnTo>
                  <a:lnTo>
                    <a:pt x="8" y="88"/>
                  </a:lnTo>
                  <a:lnTo>
                    <a:pt x="8" y="88"/>
                  </a:lnTo>
                  <a:lnTo>
                    <a:pt x="10" y="86"/>
                  </a:lnTo>
                  <a:lnTo>
                    <a:pt x="14" y="86"/>
                  </a:lnTo>
                  <a:lnTo>
                    <a:pt x="18" y="90"/>
                  </a:lnTo>
                  <a:lnTo>
                    <a:pt x="18" y="90"/>
                  </a:lnTo>
                  <a:lnTo>
                    <a:pt x="22" y="92"/>
                  </a:lnTo>
                  <a:lnTo>
                    <a:pt x="24" y="94"/>
                  </a:lnTo>
                  <a:lnTo>
                    <a:pt x="22" y="98"/>
                  </a:lnTo>
                  <a:lnTo>
                    <a:pt x="22" y="100"/>
                  </a:lnTo>
                  <a:lnTo>
                    <a:pt x="22" y="102"/>
                  </a:lnTo>
                  <a:lnTo>
                    <a:pt x="24" y="102"/>
                  </a:lnTo>
                  <a:lnTo>
                    <a:pt x="24" y="102"/>
                  </a:lnTo>
                  <a:lnTo>
                    <a:pt x="28" y="102"/>
                  </a:lnTo>
                  <a:lnTo>
                    <a:pt x="30" y="104"/>
                  </a:lnTo>
                  <a:lnTo>
                    <a:pt x="32" y="106"/>
                  </a:lnTo>
                  <a:lnTo>
                    <a:pt x="34" y="106"/>
                  </a:lnTo>
                  <a:lnTo>
                    <a:pt x="34" y="106"/>
                  </a:lnTo>
                  <a:lnTo>
                    <a:pt x="36" y="106"/>
                  </a:lnTo>
                  <a:lnTo>
                    <a:pt x="38" y="108"/>
                  </a:lnTo>
                  <a:lnTo>
                    <a:pt x="36" y="110"/>
                  </a:lnTo>
                  <a:lnTo>
                    <a:pt x="34" y="110"/>
                  </a:lnTo>
                  <a:lnTo>
                    <a:pt x="34" y="110"/>
                  </a:lnTo>
                  <a:lnTo>
                    <a:pt x="32" y="110"/>
                  </a:lnTo>
                  <a:lnTo>
                    <a:pt x="32" y="112"/>
                  </a:lnTo>
                  <a:lnTo>
                    <a:pt x="32" y="114"/>
                  </a:lnTo>
                  <a:lnTo>
                    <a:pt x="32" y="114"/>
                  </a:lnTo>
                  <a:lnTo>
                    <a:pt x="40" y="114"/>
                  </a:lnTo>
                  <a:lnTo>
                    <a:pt x="46" y="114"/>
                  </a:lnTo>
                  <a:lnTo>
                    <a:pt x="46" y="114"/>
                  </a:lnTo>
                  <a:lnTo>
                    <a:pt x="44" y="116"/>
                  </a:lnTo>
                  <a:lnTo>
                    <a:pt x="38" y="118"/>
                  </a:lnTo>
                  <a:lnTo>
                    <a:pt x="34" y="118"/>
                  </a:lnTo>
                  <a:lnTo>
                    <a:pt x="32" y="120"/>
                  </a:lnTo>
                  <a:lnTo>
                    <a:pt x="34" y="120"/>
                  </a:lnTo>
                  <a:lnTo>
                    <a:pt x="34" y="120"/>
                  </a:lnTo>
                  <a:lnTo>
                    <a:pt x="36" y="122"/>
                  </a:lnTo>
                  <a:lnTo>
                    <a:pt x="40" y="120"/>
                  </a:lnTo>
                  <a:lnTo>
                    <a:pt x="42" y="120"/>
                  </a:lnTo>
                  <a:lnTo>
                    <a:pt x="46" y="122"/>
                  </a:lnTo>
                  <a:lnTo>
                    <a:pt x="46" y="122"/>
                  </a:lnTo>
                  <a:lnTo>
                    <a:pt x="52" y="122"/>
                  </a:lnTo>
                  <a:lnTo>
                    <a:pt x="56" y="120"/>
                  </a:lnTo>
                  <a:lnTo>
                    <a:pt x="58" y="118"/>
                  </a:lnTo>
                  <a:lnTo>
                    <a:pt x="58" y="118"/>
                  </a:lnTo>
                  <a:lnTo>
                    <a:pt x="60" y="120"/>
                  </a:lnTo>
                  <a:lnTo>
                    <a:pt x="66" y="120"/>
                  </a:lnTo>
                  <a:lnTo>
                    <a:pt x="68" y="122"/>
                  </a:lnTo>
                  <a:lnTo>
                    <a:pt x="70" y="122"/>
                  </a:lnTo>
                  <a:lnTo>
                    <a:pt x="68" y="122"/>
                  </a:lnTo>
                  <a:lnTo>
                    <a:pt x="68" y="122"/>
                  </a:lnTo>
                  <a:lnTo>
                    <a:pt x="68" y="124"/>
                  </a:lnTo>
                  <a:lnTo>
                    <a:pt x="68" y="126"/>
                  </a:lnTo>
                  <a:lnTo>
                    <a:pt x="72" y="130"/>
                  </a:lnTo>
                  <a:lnTo>
                    <a:pt x="78" y="134"/>
                  </a:lnTo>
                  <a:lnTo>
                    <a:pt x="80" y="134"/>
                  </a:lnTo>
                  <a:lnTo>
                    <a:pt x="82" y="132"/>
                  </a:lnTo>
                  <a:lnTo>
                    <a:pt x="82" y="132"/>
                  </a:lnTo>
                  <a:lnTo>
                    <a:pt x="84" y="130"/>
                  </a:lnTo>
                  <a:lnTo>
                    <a:pt x="92" y="130"/>
                  </a:lnTo>
                  <a:lnTo>
                    <a:pt x="96" y="126"/>
                  </a:lnTo>
                  <a:lnTo>
                    <a:pt x="98" y="124"/>
                  </a:lnTo>
                  <a:lnTo>
                    <a:pt x="98" y="122"/>
                  </a:lnTo>
                  <a:lnTo>
                    <a:pt x="98" y="122"/>
                  </a:lnTo>
                  <a:lnTo>
                    <a:pt x="98" y="118"/>
                  </a:lnTo>
                  <a:lnTo>
                    <a:pt x="102" y="118"/>
                  </a:lnTo>
                  <a:lnTo>
                    <a:pt x="106" y="118"/>
                  </a:lnTo>
                  <a:lnTo>
                    <a:pt x="112" y="120"/>
                  </a:lnTo>
                  <a:lnTo>
                    <a:pt x="112" y="120"/>
                  </a:lnTo>
                  <a:lnTo>
                    <a:pt x="118" y="122"/>
                  </a:lnTo>
                  <a:lnTo>
                    <a:pt x="122" y="124"/>
                  </a:lnTo>
                  <a:lnTo>
                    <a:pt x="128" y="128"/>
                  </a:lnTo>
                  <a:lnTo>
                    <a:pt x="134" y="134"/>
                  </a:lnTo>
                  <a:lnTo>
                    <a:pt x="134" y="134"/>
                  </a:lnTo>
                  <a:lnTo>
                    <a:pt x="140" y="134"/>
                  </a:lnTo>
                  <a:lnTo>
                    <a:pt x="146" y="134"/>
                  </a:lnTo>
                  <a:lnTo>
                    <a:pt x="156" y="132"/>
                  </a:lnTo>
                  <a:lnTo>
                    <a:pt x="156" y="132"/>
                  </a:lnTo>
                  <a:lnTo>
                    <a:pt x="158" y="132"/>
                  </a:lnTo>
                  <a:lnTo>
                    <a:pt x="160" y="130"/>
                  </a:lnTo>
                  <a:lnTo>
                    <a:pt x="160" y="126"/>
                  </a:lnTo>
                  <a:lnTo>
                    <a:pt x="166" y="120"/>
                  </a:lnTo>
                  <a:lnTo>
                    <a:pt x="166" y="120"/>
                  </a:lnTo>
                  <a:lnTo>
                    <a:pt x="172" y="116"/>
                  </a:lnTo>
                  <a:lnTo>
                    <a:pt x="176" y="118"/>
                  </a:lnTo>
                  <a:lnTo>
                    <a:pt x="180" y="120"/>
                  </a:lnTo>
                  <a:lnTo>
                    <a:pt x="188" y="122"/>
                  </a:lnTo>
                  <a:lnTo>
                    <a:pt x="188" y="122"/>
                  </a:lnTo>
                  <a:lnTo>
                    <a:pt x="190" y="120"/>
                  </a:lnTo>
                  <a:lnTo>
                    <a:pt x="192" y="118"/>
                  </a:lnTo>
                  <a:lnTo>
                    <a:pt x="194" y="118"/>
                  </a:lnTo>
                  <a:lnTo>
                    <a:pt x="196" y="120"/>
                  </a:lnTo>
                  <a:lnTo>
                    <a:pt x="196" y="120"/>
                  </a:lnTo>
                  <a:lnTo>
                    <a:pt x="198" y="124"/>
                  </a:lnTo>
                  <a:lnTo>
                    <a:pt x="196" y="126"/>
                  </a:lnTo>
                  <a:lnTo>
                    <a:pt x="194" y="128"/>
                  </a:lnTo>
                  <a:lnTo>
                    <a:pt x="192" y="130"/>
                  </a:lnTo>
                  <a:lnTo>
                    <a:pt x="194" y="132"/>
                  </a:lnTo>
                  <a:lnTo>
                    <a:pt x="194" y="132"/>
                  </a:lnTo>
                  <a:lnTo>
                    <a:pt x="202" y="134"/>
                  </a:lnTo>
                  <a:lnTo>
                    <a:pt x="208" y="130"/>
                  </a:lnTo>
                  <a:lnTo>
                    <a:pt x="208" y="130"/>
                  </a:lnTo>
                  <a:lnTo>
                    <a:pt x="206" y="124"/>
                  </a:lnTo>
                  <a:lnTo>
                    <a:pt x="206" y="114"/>
                  </a:lnTo>
                  <a:lnTo>
                    <a:pt x="206" y="114"/>
                  </a:lnTo>
                  <a:lnTo>
                    <a:pt x="212" y="116"/>
                  </a:lnTo>
                  <a:lnTo>
                    <a:pt x="218" y="116"/>
                  </a:lnTo>
                  <a:lnTo>
                    <a:pt x="226" y="116"/>
                  </a:lnTo>
                  <a:lnTo>
                    <a:pt x="234" y="112"/>
                  </a:lnTo>
                  <a:lnTo>
                    <a:pt x="234" y="112"/>
                  </a:lnTo>
                  <a:lnTo>
                    <a:pt x="242" y="114"/>
                  </a:lnTo>
                  <a:lnTo>
                    <a:pt x="250" y="114"/>
                  </a:lnTo>
                  <a:lnTo>
                    <a:pt x="258" y="114"/>
                  </a:lnTo>
                  <a:lnTo>
                    <a:pt x="264" y="112"/>
                  </a:lnTo>
                  <a:lnTo>
                    <a:pt x="278" y="106"/>
                  </a:lnTo>
                  <a:lnTo>
                    <a:pt x="288" y="104"/>
                  </a:lnTo>
                  <a:lnTo>
                    <a:pt x="298" y="104"/>
                  </a:lnTo>
                  <a:lnTo>
                    <a:pt x="298" y="104"/>
                  </a:lnTo>
                  <a:lnTo>
                    <a:pt x="308" y="102"/>
                  </a:lnTo>
                  <a:lnTo>
                    <a:pt x="312" y="100"/>
                  </a:lnTo>
                  <a:lnTo>
                    <a:pt x="316" y="100"/>
                  </a:lnTo>
                  <a:lnTo>
                    <a:pt x="320" y="104"/>
                  </a:lnTo>
                  <a:lnTo>
                    <a:pt x="320" y="104"/>
                  </a:lnTo>
                  <a:lnTo>
                    <a:pt x="324" y="100"/>
                  </a:lnTo>
                  <a:lnTo>
                    <a:pt x="328" y="98"/>
                  </a:lnTo>
                  <a:lnTo>
                    <a:pt x="334" y="98"/>
                  </a:lnTo>
                  <a:lnTo>
                    <a:pt x="334" y="98"/>
                  </a:lnTo>
                  <a:lnTo>
                    <a:pt x="344" y="100"/>
                  </a:lnTo>
                  <a:lnTo>
                    <a:pt x="348" y="102"/>
                  </a:lnTo>
                  <a:lnTo>
                    <a:pt x="352" y="102"/>
                  </a:lnTo>
                  <a:lnTo>
                    <a:pt x="356" y="104"/>
                  </a:lnTo>
                  <a:lnTo>
                    <a:pt x="356" y="104"/>
                  </a:lnTo>
                  <a:lnTo>
                    <a:pt x="360" y="104"/>
                  </a:lnTo>
                  <a:lnTo>
                    <a:pt x="362" y="104"/>
                  </a:lnTo>
                  <a:lnTo>
                    <a:pt x="364" y="108"/>
                  </a:lnTo>
                  <a:lnTo>
                    <a:pt x="366" y="110"/>
                  </a:lnTo>
                  <a:lnTo>
                    <a:pt x="374" y="106"/>
                  </a:lnTo>
                  <a:lnTo>
                    <a:pt x="374" y="106"/>
                  </a:lnTo>
                  <a:lnTo>
                    <a:pt x="374" y="104"/>
                  </a:lnTo>
                  <a:lnTo>
                    <a:pt x="372" y="102"/>
                  </a:lnTo>
                  <a:lnTo>
                    <a:pt x="372" y="102"/>
                  </a:lnTo>
                  <a:lnTo>
                    <a:pt x="370" y="100"/>
                  </a:lnTo>
                  <a:lnTo>
                    <a:pt x="368" y="96"/>
                  </a:lnTo>
                  <a:lnTo>
                    <a:pt x="368" y="92"/>
                  </a:lnTo>
                  <a:lnTo>
                    <a:pt x="366" y="92"/>
                  </a:lnTo>
                  <a:lnTo>
                    <a:pt x="366" y="92"/>
                  </a:lnTo>
                  <a:lnTo>
                    <a:pt x="362" y="92"/>
                  </a:lnTo>
                  <a:lnTo>
                    <a:pt x="358" y="88"/>
                  </a:lnTo>
                  <a:lnTo>
                    <a:pt x="354" y="82"/>
                  </a:lnTo>
                  <a:lnTo>
                    <a:pt x="354" y="78"/>
                  </a:lnTo>
                  <a:lnTo>
                    <a:pt x="354" y="78"/>
                  </a:lnTo>
                  <a:lnTo>
                    <a:pt x="354" y="74"/>
                  </a:lnTo>
                  <a:lnTo>
                    <a:pt x="352" y="72"/>
                  </a:lnTo>
                  <a:lnTo>
                    <a:pt x="350" y="70"/>
                  </a:lnTo>
                  <a:lnTo>
                    <a:pt x="348" y="66"/>
                  </a:lnTo>
                  <a:lnTo>
                    <a:pt x="348" y="66"/>
                  </a:lnTo>
                  <a:lnTo>
                    <a:pt x="346" y="56"/>
                  </a:lnTo>
                  <a:lnTo>
                    <a:pt x="346" y="54"/>
                  </a:lnTo>
                  <a:lnTo>
                    <a:pt x="350" y="54"/>
                  </a:lnTo>
                  <a:lnTo>
                    <a:pt x="350" y="54"/>
                  </a:lnTo>
                  <a:lnTo>
                    <a:pt x="354" y="54"/>
                  </a:lnTo>
                  <a:lnTo>
                    <a:pt x="354" y="52"/>
                  </a:lnTo>
                  <a:lnTo>
                    <a:pt x="354" y="50"/>
                  </a:lnTo>
                  <a:lnTo>
                    <a:pt x="356" y="46"/>
                  </a:lnTo>
                  <a:lnTo>
                    <a:pt x="356" y="46"/>
                  </a:lnTo>
                  <a:lnTo>
                    <a:pt x="352" y="42"/>
                  </a:lnTo>
                  <a:lnTo>
                    <a:pt x="350" y="40"/>
                  </a:lnTo>
                  <a:lnTo>
                    <a:pt x="348" y="38"/>
                  </a:lnTo>
                  <a:lnTo>
                    <a:pt x="340" y="36"/>
                  </a:lnTo>
                  <a:lnTo>
                    <a:pt x="340" y="36"/>
                  </a:lnTo>
                  <a:lnTo>
                    <a:pt x="334" y="34"/>
                  </a:lnTo>
                  <a:lnTo>
                    <a:pt x="332" y="34"/>
                  </a:lnTo>
                  <a:lnTo>
                    <a:pt x="332" y="32"/>
                  </a:lnTo>
                  <a:lnTo>
                    <a:pt x="332" y="28"/>
                  </a:lnTo>
                  <a:lnTo>
                    <a:pt x="332" y="24"/>
                  </a:lnTo>
                  <a:lnTo>
                    <a:pt x="332" y="22"/>
                  </a:lnTo>
                  <a:lnTo>
                    <a:pt x="328" y="18"/>
                  </a:lnTo>
                  <a:lnTo>
                    <a:pt x="328" y="18"/>
                  </a:lnTo>
                  <a:lnTo>
                    <a:pt x="322" y="18"/>
                  </a:lnTo>
                  <a:lnTo>
                    <a:pt x="320" y="16"/>
                  </a:lnTo>
                  <a:lnTo>
                    <a:pt x="318" y="14"/>
                  </a:lnTo>
                  <a:lnTo>
                    <a:pt x="320" y="10"/>
                  </a:lnTo>
                  <a:lnTo>
                    <a:pt x="320" y="8"/>
                  </a:lnTo>
                  <a:lnTo>
                    <a:pt x="320" y="6"/>
                  </a:lnTo>
                  <a:lnTo>
                    <a:pt x="316" y="8"/>
                  </a:lnTo>
                  <a:lnTo>
                    <a:pt x="316" y="8"/>
                  </a:lnTo>
                  <a:lnTo>
                    <a:pt x="306" y="10"/>
                  </a:lnTo>
                  <a:lnTo>
                    <a:pt x="296" y="8"/>
                  </a:lnTo>
                  <a:lnTo>
                    <a:pt x="290" y="6"/>
                  </a:lnTo>
                  <a:lnTo>
                    <a:pt x="282" y="6"/>
                  </a:lnTo>
                  <a:lnTo>
                    <a:pt x="282" y="6"/>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UAE"/>
            <p:cNvSpPr>
              <a:spLocks/>
            </p:cNvSpPr>
            <p:nvPr/>
          </p:nvSpPr>
          <p:spPr bwMode="auto">
            <a:xfrm>
              <a:off x="5541663" y="2742406"/>
              <a:ext cx="137583" cy="134938"/>
            </a:xfrm>
            <a:custGeom>
              <a:avLst/>
              <a:gdLst/>
              <a:ahLst/>
              <a:cxnLst>
                <a:cxn ang="0">
                  <a:pos x="104" y="32"/>
                </a:cxn>
                <a:cxn ang="0">
                  <a:pos x="100" y="18"/>
                </a:cxn>
                <a:cxn ang="0">
                  <a:pos x="98" y="14"/>
                </a:cxn>
                <a:cxn ang="0">
                  <a:pos x="96" y="14"/>
                </a:cxn>
                <a:cxn ang="0">
                  <a:pos x="96" y="8"/>
                </a:cxn>
                <a:cxn ang="0">
                  <a:pos x="96" y="2"/>
                </a:cxn>
                <a:cxn ang="0">
                  <a:pos x="94" y="0"/>
                </a:cxn>
                <a:cxn ang="0">
                  <a:pos x="88" y="4"/>
                </a:cxn>
                <a:cxn ang="0">
                  <a:pos x="82" y="10"/>
                </a:cxn>
                <a:cxn ang="0">
                  <a:pos x="78" y="16"/>
                </a:cxn>
                <a:cxn ang="0">
                  <a:pos x="72" y="26"/>
                </a:cxn>
                <a:cxn ang="0">
                  <a:pos x="60" y="36"/>
                </a:cxn>
                <a:cxn ang="0">
                  <a:pos x="58" y="42"/>
                </a:cxn>
                <a:cxn ang="0">
                  <a:pos x="56" y="44"/>
                </a:cxn>
                <a:cxn ang="0">
                  <a:pos x="54" y="44"/>
                </a:cxn>
                <a:cxn ang="0">
                  <a:pos x="52" y="46"/>
                </a:cxn>
                <a:cxn ang="0">
                  <a:pos x="50" y="46"/>
                </a:cxn>
                <a:cxn ang="0">
                  <a:pos x="46" y="46"/>
                </a:cxn>
                <a:cxn ang="0">
                  <a:pos x="40" y="48"/>
                </a:cxn>
                <a:cxn ang="0">
                  <a:pos x="36" y="48"/>
                </a:cxn>
                <a:cxn ang="0">
                  <a:pos x="30" y="48"/>
                </a:cxn>
                <a:cxn ang="0">
                  <a:pos x="16" y="48"/>
                </a:cxn>
                <a:cxn ang="0">
                  <a:pos x="12" y="50"/>
                </a:cxn>
                <a:cxn ang="0">
                  <a:pos x="6" y="42"/>
                </a:cxn>
                <a:cxn ang="0">
                  <a:pos x="2" y="38"/>
                </a:cxn>
                <a:cxn ang="0">
                  <a:pos x="0" y="44"/>
                </a:cxn>
                <a:cxn ang="0">
                  <a:pos x="4" y="54"/>
                </a:cxn>
                <a:cxn ang="0">
                  <a:pos x="12" y="66"/>
                </a:cxn>
                <a:cxn ang="0">
                  <a:pos x="14" y="78"/>
                </a:cxn>
                <a:cxn ang="0">
                  <a:pos x="66" y="102"/>
                </a:cxn>
                <a:cxn ang="0">
                  <a:pos x="78" y="96"/>
                </a:cxn>
                <a:cxn ang="0">
                  <a:pos x="80" y="86"/>
                </a:cxn>
                <a:cxn ang="0">
                  <a:pos x="86" y="78"/>
                </a:cxn>
                <a:cxn ang="0">
                  <a:pos x="86" y="74"/>
                </a:cxn>
                <a:cxn ang="0">
                  <a:pos x="82" y="68"/>
                </a:cxn>
                <a:cxn ang="0">
                  <a:pos x="82" y="68"/>
                </a:cxn>
                <a:cxn ang="0">
                  <a:pos x="90" y="64"/>
                </a:cxn>
                <a:cxn ang="0">
                  <a:pos x="96" y="60"/>
                </a:cxn>
                <a:cxn ang="0">
                  <a:pos x="96" y="58"/>
                </a:cxn>
                <a:cxn ang="0">
                  <a:pos x="90" y="52"/>
                </a:cxn>
                <a:cxn ang="0">
                  <a:pos x="90" y="44"/>
                </a:cxn>
                <a:cxn ang="0">
                  <a:pos x="92" y="36"/>
                </a:cxn>
                <a:cxn ang="0">
                  <a:pos x="100" y="34"/>
                </a:cxn>
                <a:cxn ang="0">
                  <a:pos x="104" y="32"/>
                </a:cxn>
              </a:cxnLst>
              <a:rect l="0" t="0" r="r" b="b"/>
              <a:pathLst>
                <a:path w="104" h="102">
                  <a:moveTo>
                    <a:pt x="104" y="32"/>
                  </a:moveTo>
                  <a:lnTo>
                    <a:pt x="104" y="32"/>
                  </a:lnTo>
                  <a:lnTo>
                    <a:pt x="100" y="24"/>
                  </a:lnTo>
                  <a:lnTo>
                    <a:pt x="100" y="18"/>
                  </a:lnTo>
                  <a:lnTo>
                    <a:pt x="100" y="14"/>
                  </a:lnTo>
                  <a:lnTo>
                    <a:pt x="98" y="14"/>
                  </a:lnTo>
                  <a:lnTo>
                    <a:pt x="98" y="14"/>
                  </a:lnTo>
                  <a:lnTo>
                    <a:pt x="96" y="14"/>
                  </a:lnTo>
                  <a:lnTo>
                    <a:pt x="94" y="12"/>
                  </a:lnTo>
                  <a:lnTo>
                    <a:pt x="96" y="8"/>
                  </a:lnTo>
                  <a:lnTo>
                    <a:pt x="98" y="2"/>
                  </a:lnTo>
                  <a:lnTo>
                    <a:pt x="96" y="2"/>
                  </a:lnTo>
                  <a:lnTo>
                    <a:pt x="94" y="0"/>
                  </a:lnTo>
                  <a:lnTo>
                    <a:pt x="94" y="0"/>
                  </a:lnTo>
                  <a:lnTo>
                    <a:pt x="90" y="0"/>
                  </a:lnTo>
                  <a:lnTo>
                    <a:pt x="88" y="4"/>
                  </a:lnTo>
                  <a:lnTo>
                    <a:pt x="88" y="6"/>
                  </a:lnTo>
                  <a:lnTo>
                    <a:pt x="82" y="10"/>
                  </a:lnTo>
                  <a:lnTo>
                    <a:pt x="82" y="10"/>
                  </a:lnTo>
                  <a:lnTo>
                    <a:pt x="78" y="16"/>
                  </a:lnTo>
                  <a:lnTo>
                    <a:pt x="76" y="20"/>
                  </a:lnTo>
                  <a:lnTo>
                    <a:pt x="72" y="26"/>
                  </a:lnTo>
                  <a:lnTo>
                    <a:pt x="60" y="36"/>
                  </a:lnTo>
                  <a:lnTo>
                    <a:pt x="60" y="36"/>
                  </a:lnTo>
                  <a:lnTo>
                    <a:pt x="58" y="40"/>
                  </a:lnTo>
                  <a:lnTo>
                    <a:pt x="58" y="42"/>
                  </a:lnTo>
                  <a:lnTo>
                    <a:pt x="58" y="44"/>
                  </a:lnTo>
                  <a:lnTo>
                    <a:pt x="56" y="44"/>
                  </a:lnTo>
                  <a:lnTo>
                    <a:pt x="56" y="44"/>
                  </a:lnTo>
                  <a:lnTo>
                    <a:pt x="54" y="44"/>
                  </a:lnTo>
                  <a:lnTo>
                    <a:pt x="52" y="44"/>
                  </a:lnTo>
                  <a:lnTo>
                    <a:pt x="52" y="46"/>
                  </a:lnTo>
                  <a:lnTo>
                    <a:pt x="50" y="46"/>
                  </a:lnTo>
                  <a:lnTo>
                    <a:pt x="50" y="46"/>
                  </a:lnTo>
                  <a:lnTo>
                    <a:pt x="46" y="46"/>
                  </a:lnTo>
                  <a:lnTo>
                    <a:pt x="46" y="46"/>
                  </a:lnTo>
                  <a:lnTo>
                    <a:pt x="44" y="48"/>
                  </a:lnTo>
                  <a:lnTo>
                    <a:pt x="40" y="48"/>
                  </a:lnTo>
                  <a:lnTo>
                    <a:pt x="40" y="48"/>
                  </a:lnTo>
                  <a:lnTo>
                    <a:pt x="36" y="48"/>
                  </a:lnTo>
                  <a:lnTo>
                    <a:pt x="30" y="48"/>
                  </a:lnTo>
                  <a:lnTo>
                    <a:pt x="30" y="48"/>
                  </a:lnTo>
                  <a:lnTo>
                    <a:pt x="20" y="48"/>
                  </a:lnTo>
                  <a:lnTo>
                    <a:pt x="16" y="48"/>
                  </a:lnTo>
                  <a:lnTo>
                    <a:pt x="12" y="50"/>
                  </a:lnTo>
                  <a:lnTo>
                    <a:pt x="12" y="50"/>
                  </a:lnTo>
                  <a:lnTo>
                    <a:pt x="8" y="46"/>
                  </a:lnTo>
                  <a:lnTo>
                    <a:pt x="6" y="42"/>
                  </a:lnTo>
                  <a:lnTo>
                    <a:pt x="4" y="38"/>
                  </a:lnTo>
                  <a:lnTo>
                    <a:pt x="2" y="38"/>
                  </a:lnTo>
                  <a:lnTo>
                    <a:pt x="2" y="38"/>
                  </a:lnTo>
                  <a:lnTo>
                    <a:pt x="0" y="44"/>
                  </a:lnTo>
                  <a:lnTo>
                    <a:pt x="2" y="48"/>
                  </a:lnTo>
                  <a:lnTo>
                    <a:pt x="4" y="54"/>
                  </a:lnTo>
                  <a:lnTo>
                    <a:pt x="6" y="56"/>
                  </a:lnTo>
                  <a:lnTo>
                    <a:pt x="12" y="66"/>
                  </a:lnTo>
                  <a:lnTo>
                    <a:pt x="14" y="72"/>
                  </a:lnTo>
                  <a:lnTo>
                    <a:pt x="14" y="78"/>
                  </a:lnTo>
                  <a:lnTo>
                    <a:pt x="66" y="102"/>
                  </a:lnTo>
                  <a:lnTo>
                    <a:pt x="66" y="102"/>
                  </a:lnTo>
                  <a:lnTo>
                    <a:pt x="78" y="96"/>
                  </a:lnTo>
                  <a:lnTo>
                    <a:pt x="78" y="96"/>
                  </a:lnTo>
                  <a:lnTo>
                    <a:pt x="78" y="88"/>
                  </a:lnTo>
                  <a:lnTo>
                    <a:pt x="80" y="86"/>
                  </a:lnTo>
                  <a:lnTo>
                    <a:pt x="82" y="84"/>
                  </a:lnTo>
                  <a:lnTo>
                    <a:pt x="86" y="78"/>
                  </a:lnTo>
                  <a:lnTo>
                    <a:pt x="86" y="78"/>
                  </a:lnTo>
                  <a:lnTo>
                    <a:pt x="86" y="74"/>
                  </a:lnTo>
                  <a:lnTo>
                    <a:pt x="84" y="70"/>
                  </a:lnTo>
                  <a:lnTo>
                    <a:pt x="82" y="68"/>
                  </a:lnTo>
                  <a:lnTo>
                    <a:pt x="82" y="68"/>
                  </a:lnTo>
                  <a:lnTo>
                    <a:pt x="82" y="68"/>
                  </a:lnTo>
                  <a:lnTo>
                    <a:pt x="86" y="64"/>
                  </a:lnTo>
                  <a:lnTo>
                    <a:pt x="90" y="64"/>
                  </a:lnTo>
                  <a:lnTo>
                    <a:pt x="92" y="64"/>
                  </a:lnTo>
                  <a:lnTo>
                    <a:pt x="96" y="60"/>
                  </a:lnTo>
                  <a:lnTo>
                    <a:pt x="96" y="60"/>
                  </a:lnTo>
                  <a:lnTo>
                    <a:pt x="96" y="58"/>
                  </a:lnTo>
                  <a:lnTo>
                    <a:pt x="94" y="56"/>
                  </a:lnTo>
                  <a:lnTo>
                    <a:pt x="90" y="52"/>
                  </a:lnTo>
                  <a:lnTo>
                    <a:pt x="90" y="44"/>
                  </a:lnTo>
                  <a:lnTo>
                    <a:pt x="90" y="44"/>
                  </a:lnTo>
                  <a:lnTo>
                    <a:pt x="90" y="40"/>
                  </a:lnTo>
                  <a:lnTo>
                    <a:pt x="92" y="36"/>
                  </a:lnTo>
                  <a:lnTo>
                    <a:pt x="96" y="34"/>
                  </a:lnTo>
                  <a:lnTo>
                    <a:pt x="100" y="34"/>
                  </a:lnTo>
                  <a:lnTo>
                    <a:pt x="102" y="34"/>
                  </a:lnTo>
                  <a:lnTo>
                    <a:pt x="104" y="32"/>
                  </a:lnTo>
                  <a:lnTo>
                    <a:pt x="104" y="32"/>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Ukraine"/>
            <p:cNvSpPr>
              <a:spLocks/>
            </p:cNvSpPr>
            <p:nvPr/>
          </p:nvSpPr>
          <p:spPr bwMode="auto">
            <a:xfrm>
              <a:off x="4676476" y="1961885"/>
              <a:ext cx="425979" cy="227542"/>
            </a:xfrm>
            <a:custGeom>
              <a:avLst/>
              <a:gdLst/>
              <a:ahLst/>
              <a:cxnLst>
                <a:cxn ang="0">
                  <a:pos x="0" y="88"/>
                </a:cxn>
                <a:cxn ang="0">
                  <a:pos x="2" y="74"/>
                </a:cxn>
                <a:cxn ang="0">
                  <a:pos x="8" y="64"/>
                </a:cxn>
                <a:cxn ang="0">
                  <a:pos x="22" y="48"/>
                </a:cxn>
                <a:cxn ang="0">
                  <a:pos x="22" y="42"/>
                </a:cxn>
                <a:cxn ang="0">
                  <a:pos x="20" y="26"/>
                </a:cxn>
                <a:cxn ang="0">
                  <a:pos x="80" y="30"/>
                </a:cxn>
                <a:cxn ang="0">
                  <a:pos x="104" y="28"/>
                </a:cxn>
                <a:cxn ang="0">
                  <a:pos x="120" y="20"/>
                </a:cxn>
                <a:cxn ang="0">
                  <a:pos x="146" y="24"/>
                </a:cxn>
                <a:cxn ang="0">
                  <a:pos x="146" y="2"/>
                </a:cxn>
                <a:cxn ang="0">
                  <a:pos x="178" y="0"/>
                </a:cxn>
                <a:cxn ang="0">
                  <a:pos x="204" y="6"/>
                </a:cxn>
                <a:cxn ang="0">
                  <a:pos x="218" y="20"/>
                </a:cxn>
                <a:cxn ang="0">
                  <a:pos x="230" y="36"/>
                </a:cxn>
                <a:cxn ang="0">
                  <a:pos x="248" y="50"/>
                </a:cxn>
                <a:cxn ang="0">
                  <a:pos x="282" y="54"/>
                </a:cxn>
                <a:cxn ang="0">
                  <a:pos x="314" y="58"/>
                </a:cxn>
                <a:cxn ang="0">
                  <a:pos x="314" y="72"/>
                </a:cxn>
                <a:cxn ang="0">
                  <a:pos x="320" y="84"/>
                </a:cxn>
                <a:cxn ang="0">
                  <a:pos x="306" y="102"/>
                </a:cxn>
                <a:cxn ang="0">
                  <a:pos x="292" y="120"/>
                </a:cxn>
                <a:cxn ang="0">
                  <a:pos x="274" y="128"/>
                </a:cxn>
                <a:cxn ang="0">
                  <a:pos x="252" y="134"/>
                </a:cxn>
                <a:cxn ang="0">
                  <a:pos x="244" y="136"/>
                </a:cxn>
                <a:cxn ang="0">
                  <a:pos x="230" y="138"/>
                </a:cxn>
                <a:cxn ang="0">
                  <a:pos x="232" y="140"/>
                </a:cxn>
                <a:cxn ang="0">
                  <a:pos x="248" y="152"/>
                </a:cxn>
                <a:cxn ang="0">
                  <a:pos x="272" y="152"/>
                </a:cxn>
                <a:cxn ang="0">
                  <a:pos x="280" y="156"/>
                </a:cxn>
                <a:cxn ang="0">
                  <a:pos x="262" y="158"/>
                </a:cxn>
                <a:cxn ang="0">
                  <a:pos x="246" y="164"/>
                </a:cxn>
                <a:cxn ang="0">
                  <a:pos x="226" y="168"/>
                </a:cxn>
                <a:cxn ang="0">
                  <a:pos x="224" y="158"/>
                </a:cxn>
                <a:cxn ang="0">
                  <a:pos x="208" y="152"/>
                </a:cxn>
                <a:cxn ang="0">
                  <a:pos x="220" y="138"/>
                </a:cxn>
                <a:cxn ang="0">
                  <a:pos x="212" y="138"/>
                </a:cxn>
                <a:cxn ang="0">
                  <a:pos x="192" y="134"/>
                </a:cxn>
                <a:cxn ang="0">
                  <a:pos x="190" y="128"/>
                </a:cxn>
                <a:cxn ang="0">
                  <a:pos x="196" y="126"/>
                </a:cxn>
                <a:cxn ang="0">
                  <a:pos x="176" y="130"/>
                </a:cxn>
                <a:cxn ang="0">
                  <a:pos x="160" y="130"/>
                </a:cxn>
                <a:cxn ang="0">
                  <a:pos x="158" y="140"/>
                </a:cxn>
                <a:cxn ang="0">
                  <a:pos x="152" y="150"/>
                </a:cxn>
                <a:cxn ang="0">
                  <a:pos x="132" y="156"/>
                </a:cxn>
                <a:cxn ang="0">
                  <a:pos x="126" y="150"/>
                </a:cxn>
                <a:cxn ang="0">
                  <a:pos x="138" y="138"/>
                </a:cxn>
                <a:cxn ang="0">
                  <a:pos x="146" y="140"/>
                </a:cxn>
                <a:cxn ang="0">
                  <a:pos x="146" y="128"/>
                </a:cxn>
                <a:cxn ang="0">
                  <a:pos x="140" y="114"/>
                </a:cxn>
                <a:cxn ang="0">
                  <a:pos x="138" y="100"/>
                </a:cxn>
                <a:cxn ang="0">
                  <a:pos x="126" y="94"/>
                </a:cxn>
                <a:cxn ang="0">
                  <a:pos x="116" y="90"/>
                </a:cxn>
                <a:cxn ang="0">
                  <a:pos x="92" y="92"/>
                </a:cxn>
                <a:cxn ang="0">
                  <a:pos x="70" y="92"/>
                </a:cxn>
                <a:cxn ang="0">
                  <a:pos x="46" y="94"/>
                </a:cxn>
                <a:cxn ang="0">
                  <a:pos x="30" y="98"/>
                </a:cxn>
                <a:cxn ang="0">
                  <a:pos x="18" y="98"/>
                </a:cxn>
              </a:cxnLst>
              <a:rect l="0" t="0" r="r" b="b"/>
              <a:pathLst>
                <a:path w="322" h="172">
                  <a:moveTo>
                    <a:pt x="6" y="98"/>
                  </a:moveTo>
                  <a:lnTo>
                    <a:pt x="6" y="98"/>
                  </a:lnTo>
                  <a:lnTo>
                    <a:pt x="4" y="96"/>
                  </a:lnTo>
                  <a:lnTo>
                    <a:pt x="0" y="92"/>
                  </a:lnTo>
                  <a:lnTo>
                    <a:pt x="0" y="92"/>
                  </a:lnTo>
                  <a:lnTo>
                    <a:pt x="0" y="88"/>
                  </a:lnTo>
                  <a:lnTo>
                    <a:pt x="0" y="88"/>
                  </a:lnTo>
                  <a:lnTo>
                    <a:pt x="0" y="86"/>
                  </a:lnTo>
                  <a:lnTo>
                    <a:pt x="0" y="86"/>
                  </a:lnTo>
                  <a:lnTo>
                    <a:pt x="0" y="84"/>
                  </a:lnTo>
                  <a:lnTo>
                    <a:pt x="2" y="80"/>
                  </a:lnTo>
                  <a:lnTo>
                    <a:pt x="2" y="80"/>
                  </a:lnTo>
                  <a:lnTo>
                    <a:pt x="2" y="76"/>
                  </a:lnTo>
                  <a:lnTo>
                    <a:pt x="2" y="74"/>
                  </a:lnTo>
                  <a:lnTo>
                    <a:pt x="2" y="74"/>
                  </a:lnTo>
                  <a:lnTo>
                    <a:pt x="6" y="74"/>
                  </a:lnTo>
                  <a:lnTo>
                    <a:pt x="6" y="74"/>
                  </a:lnTo>
                  <a:lnTo>
                    <a:pt x="8" y="70"/>
                  </a:lnTo>
                  <a:lnTo>
                    <a:pt x="8" y="70"/>
                  </a:lnTo>
                  <a:lnTo>
                    <a:pt x="8" y="66"/>
                  </a:lnTo>
                  <a:lnTo>
                    <a:pt x="8" y="64"/>
                  </a:lnTo>
                  <a:lnTo>
                    <a:pt x="10" y="62"/>
                  </a:lnTo>
                  <a:lnTo>
                    <a:pt x="16" y="56"/>
                  </a:lnTo>
                  <a:lnTo>
                    <a:pt x="16" y="56"/>
                  </a:lnTo>
                  <a:lnTo>
                    <a:pt x="18" y="52"/>
                  </a:lnTo>
                  <a:lnTo>
                    <a:pt x="22" y="50"/>
                  </a:lnTo>
                  <a:lnTo>
                    <a:pt x="24" y="50"/>
                  </a:lnTo>
                  <a:lnTo>
                    <a:pt x="22" y="48"/>
                  </a:lnTo>
                  <a:lnTo>
                    <a:pt x="22" y="48"/>
                  </a:lnTo>
                  <a:lnTo>
                    <a:pt x="22" y="44"/>
                  </a:lnTo>
                  <a:lnTo>
                    <a:pt x="24" y="44"/>
                  </a:lnTo>
                  <a:lnTo>
                    <a:pt x="26" y="46"/>
                  </a:lnTo>
                  <a:lnTo>
                    <a:pt x="26" y="44"/>
                  </a:lnTo>
                  <a:lnTo>
                    <a:pt x="26" y="44"/>
                  </a:lnTo>
                  <a:lnTo>
                    <a:pt x="22" y="42"/>
                  </a:lnTo>
                  <a:lnTo>
                    <a:pt x="18" y="40"/>
                  </a:lnTo>
                  <a:lnTo>
                    <a:pt x="14" y="36"/>
                  </a:lnTo>
                  <a:lnTo>
                    <a:pt x="10" y="28"/>
                  </a:lnTo>
                  <a:lnTo>
                    <a:pt x="10" y="28"/>
                  </a:lnTo>
                  <a:lnTo>
                    <a:pt x="16" y="24"/>
                  </a:lnTo>
                  <a:lnTo>
                    <a:pt x="18" y="24"/>
                  </a:lnTo>
                  <a:lnTo>
                    <a:pt x="20" y="26"/>
                  </a:lnTo>
                  <a:lnTo>
                    <a:pt x="30" y="22"/>
                  </a:lnTo>
                  <a:lnTo>
                    <a:pt x="30" y="22"/>
                  </a:lnTo>
                  <a:lnTo>
                    <a:pt x="40" y="20"/>
                  </a:lnTo>
                  <a:lnTo>
                    <a:pt x="48" y="20"/>
                  </a:lnTo>
                  <a:lnTo>
                    <a:pt x="62" y="24"/>
                  </a:lnTo>
                  <a:lnTo>
                    <a:pt x="74" y="28"/>
                  </a:lnTo>
                  <a:lnTo>
                    <a:pt x="80" y="30"/>
                  </a:lnTo>
                  <a:lnTo>
                    <a:pt x="88" y="28"/>
                  </a:lnTo>
                  <a:lnTo>
                    <a:pt x="88" y="28"/>
                  </a:lnTo>
                  <a:lnTo>
                    <a:pt x="96" y="24"/>
                  </a:lnTo>
                  <a:lnTo>
                    <a:pt x="98" y="26"/>
                  </a:lnTo>
                  <a:lnTo>
                    <a:pt x="98" y="26"/>
                  </a:lnTo>
                  <a:lnTo>
                    <a:pt x="100" y="28"/>
                  </a:lnTo>
                  <a:lnTo>
                    <a:pt x="104" y="28"/>
                  </a:lnTo>
                  <a:lnTo>
                    <a:pt x="104" y="28"/>
                  </a:lnTo>
                  <a:lnTo>
                    <a:pt x="110" y="26"/>
                  </a:lnTo>
                  <a:lnTo>
                    <a:pt x="110" y="26"/>
                  </a:lnTo>
                  <a:lnTo>
                    <a:pt x="112" y="28"/>
                  </a:lnTo>
                  <a:lnTo>
                    <a:pt x="116" y="24"/>
                  </a:lnTo>
                  <a:lnTo>
                    <a:pt x="116" y="24"/>
                  </a:lnTo>
                  <a:lnTo>
                    <a:pt x="120" y="20"/>
                  </a:lnTo>
                  <a:lnTo>
                    <a:pt x="122" y="20"/>
                  </a:lnTo>
                  <a:lnTo>
                    <a:pt x="124" y="22"/>
                  </a:lnTo>
                  <a:lnTo>
                    <a:pt x="130" y="22"/>
                  </a:lnTo>
                  <a:lnTo>
                    <a:pt x="130" y="22"/>
                  </a:lnTo>
                  <a:lnTo>
                    <a:pt x="136" y="22"/>
                  </a:lnTo>
                  <a:lnTo>
                    <a:pt x="142" y="24"/>
                  </a:lnTo>
                  <a:lnTo>
                    <a:pt x="146" y="24"/>
                  </a:lnTo>
                  <a:lnTo>
                    <a:pt x="148" y="22"/>
                  </a:lnTo>
                  <a:lnTo>
                    <a:pt x="148" y="20"/>
                  </a:lnTo>
                  <a:lnTo>
                    <a:pt x="148" y="20"/>
                  </a:lnTo>
                  <a:lnTo>
                    <a:pt x="146" y="14"/>
                  </a:lnTo>
                  <a:lnTo>
                    <a:pt x="144" y="8"/>
                  </a:lnTo>
                  <a:lnTo>
                    <a:pt x="144" y="4"/>
                  </a:lnTo>
                  <a:lnTo>
                    <a:pt x="146" y="2"/>
                  </a:lnTo>
                  <a:lnTo>
                    <a:pt x="150" y="2"/>
                  </a:lnTo>
                  <a:lnTo>
                    <a:pt x="158" y="2"/>
                  </a:lnTo>
                  <a:lnTo>
                    <a:pt x="158" y="2"/>
                  </a:lnTo>
                  <a:lnTo>
                    <a:pt x="160" y="2"/>
                  </a:lnTo>
                  <a:lnTo>
                    <a:pt x="162" y="0"/>
                  </a:lnTo>
                  <a:lnTo>
                    <a:pt x="166" y="0"/>
                  </a:lnTo>
                  <a:lnTo>
                    <a:pt x="178" y="0"/>
                  </a:lnTo>
                  <a:lnTo>
                    <a:pt x="178" y="0"/>
                  </a:lnTo>
                  <a:lnTo>
                    <a:pt x="192" y="0"/>
                  </a:lnTo>
                  <a:lnTo>
                    <a:pt x="196" y="2"/>
                  </a:lnTo>
                  <a:lnTo>
                    <a:pt x="196" y="4"/>
                  </a:lnTo>
                  <a:lnTo>
                    <a:pt x="200" y="6"/>
                  </a:lnTo>
                  <a:lnTo>
                    <a:pt x="200" y="6"/>
                  </a:lnTo>
                  <a:lnTo>
                    <a:pt x="204" y="6"/>
                  </a:lnTo>
                  <a:lnTo>
                    <a:pt x="204" y="10"/>
                  </a:lnTo>
                  <a:lnTo>
                    <a:pt x="202" y="16"/>
                  </a:lnTo>
                  <a:lnTo>
                    <a:pt x="200" y="20"/>
                  </a:lnTo>
                  <a:lnTo>
                    <a:pt x="202" y="20"/>
                  </a:lnTo>
                  <a:lnTo>
                    <a:pt x="206" y="20"/>
                  </a:lnTo>
                  <a:lnTo>
                    <a:pt x="206" y="20"/>
                  </a:lnTo>
                  <a:lnTo>
                    <a:pt x="218" y="20"/>
                  </a:lnTo>
                  <a:lnTo>
                    <a:pt x="218" y="22"/>
                  </a:lnTo>
                  <a:lnTo>
                    <a:pt x="224" y="26"/>
                  </a:lnTo>
                  <a:lnTo>
                    <a:pt x="224" y="26"/>
                  </a:lnTo>
                  <a:lnTo>
                    <a:pt x="228" y="28"/>
                  </a:lnTo>
                  <a:lnTo>
                    <a:pt x="230" y="32"/>
                  </a:lnTo>
                  <a:lnTo>
                    <a:pt x="230" y="34"/>
                  </a:lnTo>
                  <a:lnTo>
                    <a:pt x="230" y="36"/>
                  </a:lnTo>
                  <a:lnTo>
                    <a:pt x="228" y="40"/>
                  </a:lnTo>
                  <a:lnTo>
                    <a:pt x="228" y="40"/>
                  </a:lnTo>
                  <a:lnTo>
                    <a:pt x="232" y="42"/>
                  </a:lnTo>
                  <a:lnTo>
                    <a:pt x="232" y="42"/>
                  </a:lnTo>
                  <a:lnTo>
                    <a:pt x="242" y="46"/>
                  </a:lnTo>
                  <a:lnTo>
                    <a:pt x="244" y="50"/>
                  </a:lnTo>
                  <a:lnTo>
                    <a:pt x="248" y="50"/>
                  </a:lnTo>
                  <a:lnTo>
                    <a:pt x="256" y="46"/>
                  </a:lnTo>
                  <a:lnTo>
                    <a:pt x="256" y="46"/>
                  </a:lnTo>
                  <a:lnTo>
                    <a:pt x="262" y="44"/>
                  </a:lnTo>
                  <a:lnTo>
                    <a:pt x="264" y="44"/>
                  </a:lnTo>
                  <a:lnTo>
                    <a:pt x="270" y="46"/>
                  </a:lnTo>
                  <a:lnTo>
                    <a:pt x="278" y="52"/>
                  </a:lnTo>
                  <a:lnTo>
                    <a:pt x="282" y="54"/>
                  </a:lnTo>
                  <a:lnTo>
                    <a:pt x="288" y="54"/>
                  </a:lnTo>
                  <a:lnTo>
                    <a:pt x="288" y="54"/>
                  </a:lnTo>
                  <a:lnTo>
                    <a:pt x="296" y="54"/>
                  </a:lnTo>
                  <a:lnTo>
                    <a:pt x="300" y="56"/>
                  </a:lnTo>
                  <a:lnTo>
                    <a:pt x="304" y="58"/>
                  </a:lnTo>
                  <a:lnTo>
                    <a:pt x="314" y="58"/>
                  </a:lnTo>
                  <a:lnTo>
                    <a:pt x="314" y="58"/>
                  </a:lnTo>
                  <a:lnTo>
                    <a:pt x="320" y="60"/>
                  </a:lnTo>
                  <a:lnTo>
                    <a:pt x="320" y="60"/>
                  </a:lnTo>
                  <a:lnTo>
                    <a:pt x="316" y="66"/>
                  </a:lnTo>
                  <a:lnTo>
                    <a:pt x="312" y="70"/>
                  </a:lnTo>
                  <a:lnTo>
                    <a:pt x="310" y="70"/>
                  </a:lnTo>
                  <a:lnTo>
                    <a:pt x="314" y="72"/>
                  </a:lnTo>
                  <a:lnTo>
                    <a:pt x="314" y="72"/>
                  </a:lnTo>
                  <a:lnTo>
                    <a:pt x="316" y="72"/>
                  </a:lnTo>
                  <a:lnTo>
                    <a:pt x="316" y="74"/>
                  </a:lnTo>
                  <a:lnTo>
                    <a:pt x="314" y="78"/>
                  </a:lnTo>
                  <a:lnTo>
                    <a:pt x="314" y="80"/>
                  </a:lnTo>
                  <a:lnTo>
                    <a:pt x="316" y="80"/>
                  </a:lnTo>
                  <a:lnTo>
                    <a:pt x="316" y="80"/>
                  </a:lnTo>
                  <a:lnTo>
                    <a:pt x="320" y="84"/>
                  </a:lnTo>
                  <a:lnTo>
                    <a:pt x="322" y="86"/>
                  </a:lnTo>
                  <a:lnTo>
                    <a:pt x="322" y="88"/>
                  </a:lnTo>
                  <a:lnTo>
                    <a:pt x="320" y="92"/>
                  </a:lnTo>
                  <a:lnTo>
                    <a:pt x="316" y="96"/>
                  </a:lnTo>
                  <a:lnTo>
                    <a:pt x="310" y="100"/>
                  </a:lnTo>
                  <a:lnTo>
                    <a:pt x="310" y="100"/>
                  </a:lnTo>
                  <a:lnTo>
                    <a:pt x="306" y="102"/>
                  </a:lnTo>
                  <a:lnTo>
                    <a:pt x="300" y="106"/>
                  </a:lnTo>
                  <a:lnTo>
                    <a:pt x="298" y="110"/>
                  </a:lnTo>
                  <a:lnTo>
                    <a:pt x="298" y="118"/>
                  </a:lnTo>
                  <a:lnTo>
                    <a:pt x="298" y="118"/>
                  </a:lnTo>
                  <a:lnTo>
                    <a:pt x="296" y="120"/>
                  </a:lnTo>
                  <a:lnTo>
                    <a:pt x="292" y="120"/>
                  </a:lnTo>
                  <a:lnTo>
                    <a:pt x="292" y="120"/>
                  </a:lnTo>
                  <a:lnTo>
                    <a:pt x="288" y="122"/>
                  </a:lnTo>
                  <a:lnTo>
                    <a:pt x="286" y="122"/>
                  </a:lnTo>
                  <a:lnTo>
                    <a:pt x="284" y="122"/>
                  </a:lnTo>
                  <a:lnTo>
                    <a:pt x="280" y="126"/>
                  </a:lnTo>
                  <a:lnTo>
                    <a:pt x="280" y="126"/>
                  </a:lnTo>
                  <a:lnTo>
                    <a:pt x="276" y="130"/>
                  </a:lnTo>
                  <a:lnTo>
                    <a:pt x="274" y="128"/>
                  </a:lnTo>
                  <a:lnTo>
                    <a:pt x="272" y="128"/>
                  </a:lnTo>
                  <a:lnTo>
                    <a:pt x="268" y="132"/>
                  </a:lnTo>
                  <a:lnTo>
                    <a:pt x="268" y="132"/>
                  </a:lnTo>
                  <a:lnTo>
                    <a:pt x="264" y="136"/>
                  </a:lnTo>
                  <a:lnTo>
                    <a:pt x="258" y="134"/>
                  </a:lnTo>
                  <a:lnTo>
                    <a:pt x="258" y="134"/>
                  </a:lnTo>
                  <a:lnTo>
                    <a:pt x="252" y="134"/>
                  </a:lnTo>
                  <a:lnTo>
                    <a:pt x="248" y="136"/>
                  </a:lnTo>
                  <a:lnTo>
                    <a:pt x="244" y="138"/>
                  </a:lnTo>
                  <a:lnTo>
                    <a:pt x="238" y="138"/>
                  </a:lnTo>
                  <a:lnTo>
                    <a:pt x="238" y="138"/>
                  </a:lnTo>
                  <a:lnTo>
                    <a:pt x="236" y="138"/>
                  </a:lnTo>
                  <a:lnTo>
                    <a:pt x="236" y="138"/>
                  </a:lnTo>
                  <a:lnTo>
                    <a:pt x="244" y="136"/>
                  </a:lnTo>
                  <a:lnTo>
                    <a:pt x="244" y="136"/>
                  </a:lnTo>
                  <a:lnTo>
                    <a:pt x="246" y="136"/>
                  </a:lnTo>
                  <a:lnTo>
                    <a:pt x="244" y="134"/>
                  </a:lnTo>
                  <a:lnTo>
                    <a:pt x="238" y="136"/>
                  </a:lnTo>
                  <a:lnTo>
                    <a:pt x="238" y="136"/>
                  </a:lnTo>
                  <a:lnTo>
                    <a:pt x="232" y="138"/>
                  </a:lnTo>
                  <a:lnTo>
                    <a:pt x="230" y="138"/>
                  </a:lnTo>
                  <a:lnTo>
                    <a:pt x="228" y="136"/>
                  </a:lnTo>
                  <a:lnTo>
                    <a:pt x="228" y="136"/>
                  </a:lnTo>
                  <a:lnTo>
                    <a:pt x="228" y="138"/>
                  </a:lnTo>
                  <a:lnTo>
                    <a:pt x="228" y="140"/>
                  </a:lnTo>
                  <a:lnTo>
                    <a:pt x="230" y="140"/>
                  </a:lnTo>
                  <a:lnTo>
                    <a:pt x="232" y="140"/>
                  </a:lnTo>
                  <a:lnTo>
                    <a:pt x="232" y="140"/>
                  </a:lnTo>
                  <a:lnTo>
                    <a:pt x="236" y="140"/>
                  </a:lnTo>
                  <a:lnTo>
                    <a:pt x="238" y="142"/>
                  </a:lnTo>
                  <a:lnTo>
                    <a:pt x="238" y="142"/>
                  </a:lnTo>
                  <a:lnTo>
                    <a:pt x="246" y="146"/>
                  </a:lnTo>
                  <a:lnTo>
                    <a:pt x="250" y="148"/>
                  </a:lnTo>
                  <a:lnTo>
                    <a:pt x="250" y="150"/>
                  </a:lnTo>
                  <a:lnTo>
                    <a:pt x="248" y="152"/>
                  </a:lnTo>
                  <a:lnTo>
                    <a:pt x="248" y="152"/>
                  </a:lnTo>
                  <a:lnTo>
                    <a:pt x="254" y="152"/>
                  </a:lnTo>
                  <a:lnTo>
                    <a:pt x="258" y="152"/>
                  </a:lnTo>
                  <a:lnTo>
                    <a:pt x="262" y="154"/>
                  </a:lnTo>
                  <a:lnTo>
                    <a:pt x="266" y="152"/>
                  </a:lnTo>
                  <a:lnTo>
                    <a:pt x="266" y="152"/>
                  </a:lnTo>
                  <a:lnTo>
                    <a:pt x="272" y="152"/>
                  </a:lnTo>
                  <a:lnTo>
                    <a:pt x="280" y="152"/>
                  </a:lnTo>
                  <a:lnTo>
                    <a:pt x="280" y="152"/>
                  </a:lnTo>
                  <a:lnTo>
                    <a:pt x="282" y="154"/>
                  </a:lnTo>
                  <a:lnTo>
                    <a:pt x="282" y="154"/>
                  </a:lnTo>
                  <a:lnTo>
                    <a:pt x="280" y="154"/>
                  </a:lnTo>
                  <a:lnTo>
                    <a:pt x="280" y="156"/>
                  </a:lnTo>
                  <a:lnTo>
                    <a:pt x="280" y="156"/>
                  </a:lnTo>
                  <a:lnTo>
                    <a:pt x="278" y="158"/>
                  </a:lnTo>
                  <a:lnTo>
                    <a:pt x="278" y="158"/>
                  </a:lnTo>
                  <a:lnTo>
                    <a:pt x="276" y="158"/>
                  </a:lnTo>
                  <a:lnTo>
                    <a:pt x="276" y="158"/>
                  </a:lnTo>
                  <a:lnTo>
                    <a:pt x="272" y="160"/>
                  </a:lnTo>
                  <a:lnTo>
                    <a:pt x="268" y="158"/>
                  </a:lnTo>
                  <a:lnTo>
                    <a:pt x="262" y="158"/>
                  </a:lnTo>
                  <a:lnTo>
                    <a:pt x="260" y="158"/>
                  </a:lnTo>
                  <a:lnTo>
                    <a:pt x="258" y="160"/>
                  </a:lnTo>
                  <a:lnTo>
                    <a:pt x="258" y="160"/>
                  </a:lnTo>
                  <a:lnTo>
                    <a:pt x="256" y="162"/>
                  </a:lnTo>
                  <a:lnTo>
                    <a:pt x="248" y="164"/>
                  </a:lnTo>
                  <a:lnTo>
                    <a:pt x="248" y="164"/>
                  </a:lnTo>
                  <a:lnTo>
                    <a:pt x="246" y="164"/>
                  </a:lnTo>
                  <a:lnTo>
                    <a:pt x="244" y="166"/>
                  </a:lnTo>
                  <a:lnTo>
                    <a:pt x="242" y="170"/>
                  </a:lnTo>
                  <a:lnTo>
                    <a:pt x="240" y="172"/>
                  </a:lnTo>
                  <a:lnTo>
                    <a:pt x="238" y="172"/>
                  </a:lnTo>
                  <a:lnTo>
                    <a:pt x="228" y="170"/>
                  </a:lnTo>
                  <a:lnTo>
                    <a:pt x="228" y="170"/>
                  </a:lnTo>
                  <a:lnTo>
                    <a:pt x="226" y="168"/>
                  </a:lnTo>
                  <a:lnTo>
                    <a:pt x="226" y="168"/>
                  </a:lnTo>
                  <a:lnTo>
                    <a:pt x="228" y="164"/>
                  </a:lnTo>
                  <a:lnTo>
                    <a:pt x="230" y="160"/>
                  </a:lnTo>
                  <a:lnTo>
                    <a:pt x="228" y="160"/>
                  </a:lnTo>
                  <a:lnTo>
                    <a:pt x="226" y="160"/>
                  </a:lnTo>
                  <a:lnTo>
                    <a:pt x="226" y="160"/>
                  </a:lnTo>
                  <a:lnTo>
                    <a:pt x="224" y="158"/>
                  </a:lnTo>
                  <a:lnTo>
                    <a:pt x="222" y="158"/>
                  </a:lnTo>
                  <a:lnTo>
                    <a:pt x="222" y="154"/>
                  </a:lnTo>
                  <a:lnTo>
                    <a:pt x="218" y="152"/>
                  </a:lnTo>
                  <a:lnTo>
                    <a:pt x="212" y="154"/>
                  </a:lnTo>
                  <a:lnTo>
                    <a:pt x="212" y="154"/>
                  </a:lnTo>
                  <a:lnTo>
                    <a:pt x="210" y="154"/>
                  </a:lnTo>
                  <a:lnTo>
                    <a:pt x="208" y="152"/>
                  </a:lnTo>
                  <a:lnTo>
                    <a:pt x="210" y="148"/>
                  </a:lnTo>
                  <a:lnTo>
                    <a:pt x="210" y="148"/>
                  </a:lnTo>
                  <a:lnTo>
                    <a:pt x="216" y="144"/>
                  </a:lnTo>
                  <a:lnTo>
                    <a:pt x="224" y="140"/>
                  </a:lnTo>
                  <a:lnTo>
                    <a:pt x="224" y="140"/>
                  </a:lnTo>
                  <a:lnTo>
                    <a:pt x="220" y="140"/>
                  </a:lnTo>
                  <a:lnTo>
                    <a:pt x="220" y="138"/>
                  </a:lnTo>
                  <a:lnTo>
                    <a:pt x="220" y="138"/>
                  </a:lnTo>
                  <a:lnTo>
                    <a:pt x="220" y="138"/>
                  </a:lnTo>
                  <a:lnTo>
                    <a:pt x="218" y="140"/>
                  </a:lnTo>
                  <a:lnTo>
                    <a:pt x="216" y="140"/>
                  </a:lnTo>
                  <a:lnTo>
                    <a:pt x="214" y="140"/>
                  </a:lnTo>
                  <a:lnTo>
                    <a:pt x="214" y="140"/>
                  </a:lnTo>
                  <a:lnTo>
                    <a:pt x="212" y="138"/>
                  </a:lnTo>
                  <a:lnTo>
                    <a:pt x="210" y="138"/>
                  </a:lnTo>
                  <a:lnTo>
                    <a:pt x="206" y="138"/>
                  </a:lnTo>
                  <a:lnTo>
                    <a:pt x="200" y="136"/>
                  </a:lnTo>
                  <a:lnTo>
                    <a:pt x="200" y="136"/>
                  </a:lnTo>
                  <a:lnTo>
                    <a:pt x="194" y="134"/>
                  </a:lnTo>
                  <a:lnTo>
                    <a:pt x="192" y="134"/>
                  </a:lnTo>
                  <a:lnTo>
                    <a:pt x="192" y="134"/>
                  </a:lnTo>
                  <a:lnTo>
                    <a:pt x="190" y="132"/>
                  </a:lnTo>
                  <a:lnTo>
                    <a:pt x="190" y="132"/>
                  </a:lnTo>
                  <a:lnTo>
                    <a:pt x="194" y="132"/>
                  </a:lnTo>
                  <a:lnTo>
                    <a:pt x="198" y="130"/>
                  </a:lnTo>
                  <a:lnTo>
                    <a:pt x="194" y="130"/>
                  </a:lnTo>
                  <a:lnTo>
                    <a:pt x="194" y="130"/>
                  </a:lnTo>
                  <a:lnTo>
                    <a:pt x="190" y="128"/>
                  </a:lnTo>
                  <a:lnTo>
                    <a:pt x="194" y="128"/>
                  </a:lnTo>
                  <a:lnTo>
                    <a:pt x="194" y="128"/>
                  </a:lnTo>
                  <a:lnTo>
                    <a:pt x="206" y="128"/>
                  </a:lnTo>
                  <a:lnTo>
                    <a:pt x="206" y="128"/>
                  </a:lnTo>
                  <a:lnTo>
                    <a:pt x="206" y="128"/>
                  </a:lnTo>
                  <a:lnTo>
                    <a:pt x="196" y="126"/>
                  </a:lnTo>
                  <a:lnTo>
                    <a:pt x="196" y="126"/>
                  </a:lnTo>
                  <a:lnTo>
                    <a:pt x="190" y="124"/>
                  </a:lnTo>
                  <a:lnTo>
                    <a:pt x="188" y="126"/>
                  </a:lnTo>
                  <a:lnTo>
                    <a:pt x="186" y="126"/>
                  </a:lnTo>
                  <a:lnTo>
                    <a:pt x="182" y="128"/>
                  </a:lnTo>
                  <a:lnTo>
                    <a:pt x="182" y="128"/>
                  </a:lnTo>
                  <a:lnTo>
                    <a:pt x="178" y="128"/>
                  </a:lnTo>
                  <a:lnTo>
                    <a:pt x="176" y="130"/>
                  </a:lnTo>
                  <a:lnTo>
                    <a:pt x="172" y="132"/>
                  </a:lnTo>
                  <a:lnTo>
                    <a:pt x="168" y="134"/>
                  </a:lnTo>
                  <a:lnTo>
                    <a:pt x="168" y="134"/>
                  </a:lnTo>
                  <a:lnTo>
                    <a:pt x="164" y="134"/>
                  </a:lnTo>
                  <a:lnTo>
                    <a:pt x="164" y="132"/>
                  </a:lnTo>
                  <a:lnTo>
                    <a:pt x="164" y="132"/>
                  </a:lnTo>
                  <a:lnTo>
                    <a:pt x="160" y="130"/>
                  </a:lnTo>
                  <a:lnTo>
                    <a:pt x="160" y="130"/>
                  </a:lnTo>
                  <a:lnTo>
                    <a:pt x="162" y="132"/>
                  </a:lnTo>
                  <a:lnTo>
                    <a:pt x="162" y="132"/>
                  </a:lnTo>
                  <a:lnTo>
                    <a:pt x="164" y="136"/>
                  </a:lnTo>
                  <a:lnTo>
                    <a:pt x="162" y="138"/>
                  </a:lnTo>
                  <a:lnTo>
                    <a:pt x="162" y="138"/>
                  </a:lnTo>
                  <a:lnTo>
                    <a:pt x="158" y="140"/>
                  </a:lnTo>
                  <a:lnTo>
                    <a:pt x="154" y="144"/>
                  </a:lnTo>
                  <a:lnTo>
                    <a:pt x="154" y="144"/>
                  </a:lnTo>
                  <a:lnTo>
                    <a:pt x="154" y="146"/>
                  </a:lnTo>
                  <a:lnTo>
                    <a:pt x="154" y="148"/>
                  </a:lnTo>
                  <a:lnTo>
                    <a:pt x="154" y="148"/>
                  </a:lnTo>
                  <a:lnTo>
                    <a:pt x="152" y="150"/>
                  </a:lnTo>
                  <a:lnTo>
                    <a:pt x="152" y="150"/>
                  </a:lnTo>
                  <a:lnTo>
                    <a:pt x="146" y="148"/>
                  </a:lnTo>
                  <a:lnTo>
                    <a:pt x="142" y="150"/>
                  </a:lnTo>
                  <a:lnTo>
                    <a:pt x="140" y="150"/>
                  </a:lnTo>
                  <a:lnTo>
                    <a:pt x="134" y="152"/>
                  </a:lnTo>
                  <a:lnTo>
                    <a:pt x="134" y="152"/>
                  </a:lnTo>
                  <a:lnTo>
                    <a:pt x="134" y="154"/>
                  </a:lnTo>
                  <a:lnTo>
                    <a:pt x="132" y="156"/>
                  </a:lnTo>
                  <a:lnTo>
                    <a:pt x="128" y="154"/>
                  </a:lnTo>
                  <a:lnTo>
                    <a:pt x="122" y="150"/>
                  </a:lnTo>
                  <a:lnTo>
                    <a:pt x="122" y="150"/>
                  </a:lnTo>
                  <a:lnTo>
                    <a:pt x="124" y="150"/>
                  </a:lnTo>
                  <a:lnTo>
                    <a:pt x="124" y="150"/>
                  </a:lnTo>
                  <a:lnTo>
                    <a:pt x="126" y="150"/>
                  </a:lnTo>
                  <a:lnTo>
                    <a:pt x="126" y="150"/>
                  </a:lnTo>
                  <a:lnTo>
                    <a:pt x="130" y="148"/>
                  </a:lnTo>
                  <a:lnTo>
                    <a:pt x="130" y="144"/>
                  </a:lnTo>
                  <a:lnTo>
                    <a:pt x="132" y="136"/>
                  </a:lnTo>
                  <a:lnTo>
                    <a:pt x="132" y="136"/>
                  </a:lnTo>
                  <a:lnTo>
                    <a:pt x="134" y="136"/>
                  </a:lnTo>
                  <a:lnTo>
                    <a:pt x="136" y="138"/>
                  </a:lnTo>
                  <a:lnTo>
                    <a:pt x="138" y="138"/>
                  </a:lnTo>
                  <a:lnTo>
                    <a:pt x="140" y="138"/>
                  </a:lnTo>
                  <a:lnTo>
                    <a:pt x="140" y="138"/>
                  </a:lnTo>
                  <a:lnTo>
                    <a:pt x="140" y="138"/>
                  </a:lnTo>
                  <a:lnTo>
                    <a:pt x="142" y="140"/>
                  </a:lnTo>
                  <a:lnTo>
                    <a:pt x="144" y="140"/>
                  </a:lnTo>
                  <a:lnTo>
                    <a:pt x="146" y="140"/>
                  </a:lnTo>
                  <a:lnTo>
                    <a:pt x="146" y="140"/>
                  </a:lnTo>
                  <a:lnTo>
                    <a:pt x="150" y="138"/>
                  </a:lnTo>
                  <a:lnTo>
                    <a:pt x="152" y="138"/>
                  </a:lnTo>
                  <a:lnTo>
                    <a:pt x="150" y="138"/>
                  </a:lnTo>
                  <a:lnTo>
                    <a:pt x="150" y="138"/>
                  </a:lnTo>
                  <a:lnTo>
                    <a:pt x="148" y="134"/>
                  </a:lnTo>
                  <a:lnTo>
                    <a:pt x="148" y="132"/>
                  </a:lnTo>
                  <a:lnTo>
                    <a:pt x="146" y="128"/>
                  </a:lnTo>
                  <a:lnTo>
                    <a:pt x="144" y="124"/>
                  </a:lnTo>
                  <a:lnTo>
                    <a:pt x="144" y="124"/>
                  </a:lnTo>
                  <a:lnTo>
                    <a:pt x="144" y="122"/>
                  </a:lnTo>
                  <a:lnTo>
                    <a:pt x="144" y="120"/>
                  </a:lnTo>
                  <a:lnTo>
                    <a:pt x="142" y="118"/>
                  </a:lnTo>
                  <a:lnTo>
                    <a:pt x="140" y="114"/>
                  </a:lnTo>
                  <a:lnTo>
                    <a:pt x="140" y="114"/>
                  </a:lnTo>
                  <a:lnTo>
                    <a:pt x="138" y="108"/>
                  </a:lnTo>
                  <a:lnTo>
                    <a:pt x="138" y="106"/>
                  </a:lnTo>
                  <a:lnTo>
                    <a:pt x="138" y="104"/>
                  </a:lnTo>
                  <a:lnTo>
                    <a:pt x="138" y="102"/>
                  </a:lnTo>
                  <a:lnTo>
                    <a:pt x="138" y="102"/>
                  </a:lnTo>
                  <a:lnTo>
                    <a:pt x="136" y="100"/>
                  </a:lnTo>
                  <a:lnTo>
                    <a:pt x="138" y="100"/>
                  </a:lnTo>
                  <a:lnTo>
                    <a:pt x="136" y="98"/>
                  </a:lnTo>
                  <a:lnTo>
                    <a:pt x="134" y="98"/>
                  </a:lnTo>
                  <a:lnTo>
                    <a:pt x="134" y="98"/>
                  </a:lnTo>
                  <a:lnTo>
                    <a:pt x="132" y="96"/>
                  </a:lnTo>
                  <a:lnTo>
                    <a:pt x="130" y="96"/>
                  </a:lnTo>
                  <a:lnTo>
                    <a:pt x="128" y="94"/>
                  </a:lnTo>
                  <a:lnTo>
                    <a:pt x="126" y="94"/>
                  </a:lnTo>
                  <a:lnTo>
                    <a:pt x="126" y="94"/>
                  </a:lnTo>
                  <a:lnTo>
                    <a:pt x="124" y="94"/>
                  </a:lnTo>
                  <a:lnTo>
                    <a:pt x="122" y="92"/>
                  </a:lnTo>
                  <a:lnTo>
                    <a:pt x="122" y="92"/>
                  </a:lnTo>
                  <a:lnTo>
                    <a:pt x="120" y="92"/>
                  </a:lnTo>
                  <a:lnTo>
                    <a:pt x="120" y="92"/>
                  </a:lnTo>
                  <a:lnTo>
                    <a:pt x="116" y="90"/>
                  </a:lnTo>
                  <a:lnTo>
                    <a:pt x="112" y="88"/>
                  </a:lnTo>
                  <a:lnTo>
                    <a:pt x="108" y="86"/>
                  </a:lnTo>
                  <a:lnTo>
                    <a:pt x="102" y="90"/>
                  </a:lnTo>
                  <a:lnTo>
                    <a:pt x="102" y="90"/>
                  </a:lnTo>
                  <a:lnTo>
                    <a:pt x="96" y="92"/>
                  </a:lnTo>
                  <a:lnTo>
                    <a:pt x="92" y="92"/>
                  </a:lnTo>
                  <a:lnTo>
                    <a:pt x="92" y="92"/>
                  </a:lnTo>
                  <a:lnTo>
                    <a:pt x="88" y="92"/>
                  </a:lnTo>
                  <a:lnTo>
                    <a:pt x="88" y="92"/>
                  </a:lnTo>
                  <a:lnTo>
                    <a:pt x="86" y="92"/>
                  </a:lnTo>
                  <a:lnTo>
                    <a:pt x="80" y="92"/>
                  </a:lnTo>
                  <a:lnTo>
                    <a:pt x="76" y="90"/>
                  </a:lnTo>
                  <a:lnTo>
                    <a:pt x="70" y="92"/>
                  </a:lnTo>
                  <a:lnTo>
                    <a:pt x="70" y="92"/>
                  </a:lnTo>
                  <a:lnTo>
                    <a:pt x="68" y="94"/>
                  </a:lnTo>
                  <a:lnTo>
                    <a:pt x="62" y="94"/>
                  </a:lnTo>
                  <a:lnTo>
                    <a:pt x="56" y="94"/>
                  </a:lnTo>
                  <a:lnTo>
                    <a:pt x="52" y="96"/>
                  </a:lnTo>
                  <a:lnTo>
                    <a:pt x="52" y="96"/>
                  </a:lnTo>
                  <a:lnTo>
                    <a:pt x="50" y="96"/>
                  </a:lnTo>
                  <a:lnTo>
                    <a:pt x="46" y="94"/>
                  </a:lnTo>
                  <a:lnTo>
                    <a:pt x="42" y="94"/>
                  </a:lnTo>
                  <a:lnTo>
                    <a:pt x="38" y="96"/>
                  </a:lnTo>
                  <a:lnTo>
                    <a:pt x="38" y="96"/>
                  </a:lnTo>
                  <a:lnTo>
                    <a:pt x="36" y="98"/>
                  </a:lnTo>
                  <a:lnTo>
                    <a:pt x="36" y="98"/>
                  </a:lnTo>
                  <a:lnTo>
                    <a:pt x="34" y="96"/>
                  </a:lnTo>
                  <a:lnTo>
                    <a:pt x="30" y="98"/>
                  </a:lnTo>
                  <a:lnTo>
                    <a:pt x="30" y="98"/>
                  </a:lnTo>
                  <a:lnTo>
                    <a:pt x="26" y="98"/>
                  </a:lnTo>
                  <a:lnTo>
                    <a:pt x="24" y="96"/>
                  </a:lnTo>
                  <a:lnTo>
                    <a:pt x="22" y="96"/>
                  </a:lnTo>
                  <a:lnTo>
                    <a:pt x="20" y="98"/>
                  </a:lnTo>
                  <a:lnTo>
                    <a:pt x="20" y="98"/>
                  </a:lnTo>
                  <a:lnTo>
                    <a:pt x="18" y="98"/>
                  </a:lnTo>
                  <a:lnTo>
                    <a:pt x="16" y="96"/>
                  </a:lnTo>
                  <a:lnTo>
                    <a:pt x="12" y="96"/>
                  </a:lnTo>
                  <a:lnTo>
                    <a:pt x="6" y="98"/>
                  </a:lnTo>
                  <a:lnTo>
                    <a:pt x="6" y="98"/>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United Kingdom"/>
            <p:cNvSpPr>
              <a:spLocks/>
            </p:cNvSpPr>
            <p:nvPr/>
          </p:nvSpPr>
          <p:spPr bwMode="auto">
            <a:xfrm>
              <a:off x="3972683" y="1832240"/>
              <a:ext cx="201084" cy="203729"/>
            </a:xfrm>
            <a:custGeom>
              <a:avLst/>
              <a:gdLst/>
              <a:ahLst/>
              <a:cxnLst/>
              <a:rect l="l" t="t" r="r" b="b"/>
              <a:pathLst>
                <a:path w="201084" h="203729">
                  <a:moveTo>
                    <a:pt x="31750" y="76729"/>
                  </a:moveTo>
                  <a:lnTo>
                    <a:pt x="37042" y="76729"/>
                  </a:lnTo>
                  <a:lnTo>
                    <a:pt x="39688" y="79375"/>
                  </a:lnTo>
                  <a:lnTo>
                    <a:pt x="42334" y="79375"/>
                  </a:lnTo>
                  <a:lnTo>
                    <a:pt x="42334" y="82021"/>
                  </a:lnTo>
                  <a:lnTo>
                    <a:pt x="42334" y="84667"/>
                  </a:lnTo>
                  <a:lnTo>
                    <a:pt x="47625" y="87312"/>
                  </a:lnTo>
                  <a:lnTo>
                    <a:pt x="47625" y="89958"/>
                  </a:lnTo>
                  <a:lnTo>
                    <a:pt x="44980" y="89958"/>
                  </a:lnTo>
                  <a:lnTo>
                    <a:pt x="42334" y="92604"/>
                  </a:lnTo>
                  <a:lnTo>
                    <a:pt x="47625" y="92604"/>
                  </a:lnTo>
                  <a:lnTo>
                    <a:pt x="50271" y="92604"/>
                  </a:lnTo>
                  <a:lnTo>
                    <a:pt x="50271" y="95250"/>
                  </a:lnTo>
                  <a:lnTo>
                    <a:pt x="52917" y="97896"/>
                  </a:lnTo>
                  <a:lnTo>
                    <a:pt x="50271" y="100542"/>
                  </a:lnTo>
                  <a:lnTo>
                    <a:pt x="47625" y="103187"/>
                  </a:lnTo>
                  <a:lnTo>
                    <a:pt x="44980" y="103187"/>
                  </a:lnTo>
                  <a:lnTo>
                    <a:pt x="42334" y="103187"/>
                  </a:lnTo>
                  <a:lnTo>
                    <a:pt x="42334" y="105833"/>
                  </a:lnTo>
                  <a:lnTo>
                    <a:pt x="37042" y="108479"/>
                  </a:lnTo>
                  <a:lnTo>
                    <a:pt x="31750" y="105833"/>
                  </a:lnTo>
                  <a:lnTo>
                    <a:pt x="26459" y="105833"/>
                  </a:lnTo>
                  <a:lnTo>
                    <a:pt x="23813" y="103187"/>
                  </a:lnTo>
                  <a:lnTo>
                    <a:pt x="23813" y="100542"/>
                  </a:lnTo>
                  <a:lnTo>
                    <a:pt x="18521" y="95250"/>
                  </a:lnTo>
                  <a:lnTo>
                    <a:pt x="15875" y="97896"/>
                  </a:lnTo>
                  <a:lnTo>
                    <a:pt x="13229" y="100542"/>
                  </a:lnTo>
                  <a:lnTo>
                    <a:pt x="10584" y="100542"/>
                  </a:lnTo>
                  <a:lnTo>
                    <a:pt x="2646" y="97896"/>
                  </a:lnTo>
                  <a:lnTo>
                    <a:pt x="0" y="92604"/>
                  </a:lnTo>
                  <a:lnTo>
                    <a:pt x="5292" y="89958"/>
                  </a:lnTo>
                  <a:lnTo>
                    <a:pt x="5292" y="87312"/>
                  </a:lnTo>
                  <a:lnTo>
                    <a:pt x="7938" y="84667"/>
                  </a:lnTo>
                  <a:lnTo>
                    <a:pt x="10584" y="84667"/>
                  </a:lnTo>
                  <a:lnTo>
                    <a:pt x="13229" y="84667"/>
                  </a:lnTo>
                  <a:lnTo>
                    <a:pt x="15875" y="82021"/>
                  </a:lnTo>
                  <a:lnTo>
                    <a:pt x="18521" y="82021"/>
                  </a:lnTo>
                  <a:lnTo>
                    <a:pt x="23813" y="79375"/>
                  </a:lnTo>
                  <a:lnTo>
                    <a:pt x="26459" y="79375"/>
                  </a:lnTo>
                  <a:close/>
                  <a:moveTo>
                    <a:pt x="68792" y="0"/>
                  </a:moveTo>
                  <a:lnTo>
                    <a:pt x="74084" y="0"/>
                  </a:lnTo>
                  <a:lnTo>
                    <a:pt x="74084" y="2646"/>
                  </a:lnTo>
                  <a:lnTo>
                    <a:pt x="76730" y="2646"/>
                  </a:lnTo>
                  <a:lnTo>
                    <a:pt x="79376" y="2646"/>
                  </a:lnTo>
                  <a:lnTo>
                    <a:pt x="82021" y="2646"/>
                  </a:lnTo>
                  <a:lnTo>
                    <a:pt x="87313" y="0"/>
                  </a:lnTo>
                  <a:lnTo>
                    <a:pt x="97896" y="0"/>
                  </a:lnTo>
                  <a:lnTo>
                    <a:pt x="103188" y="0"/>
                  </a:lnTo>
                  <a:lnTo>
                    <a:pt x="103188" y="2646"/>
                  </a:lnTo>
                  <a:lnTo>
                    <a:pt x="103188" y="5292"/>
                  </a:lnTo>
                  <a:lnTo>
                    <a:pt x="100542" y="7937"/>
                  </a:lnTo>
                  <a:lnTo>
                    <a:pt x="87313" y="15875"/>
                  </a:lnTo>
                  <a:lnTo>
                    <a:pt x="84667" y="18521"/>
                  </a:lnTo>
                  <a:lnTo>
                    <a:pt x="87313" y="18521"/>
                  </a:lnTo>
                  <a:lnTo>
                    <a:pt x="87313" y="21167"/>
                  </a:lnTo>
                  <a:lnTo>
                    <a:pt x="84667" y="23812"/>
                  </a:lnTo>
                  <a:lnTo>
                    <a:pt x="82021" y="23812"/>
                  </a:lnTo>
                  <a:lnTo>
                    <a:pt x="82021" y="26458"/>
                  </a:lnTo>
                  <a:lnTo>
                    <a:pt x="87313" y="23812"/>
                  </a:lnTo>
                  <a:lnTo>
                    <a:pt x="95251" y="23812"/>
                  </a:lnTo>
                  <a:lnTo>
                    <a:pt x="103188" y="23812"/>
                  </a:lnTo>
                  <a:lnTo>
                    <a:pt x="111126" y="23812"/>
                  </a:lnTo>
                  <a:lnTo>
                    <a:pt x="116417" y="23812"/>
                  </a:lnTo>
                  <a:lnTo>
                    <a:pt x="121709" y="23812"/>
                  </a:lnTo>
                  <a:lnTo>
                    <a:pt x="124355" y="23812"/>
                  </a:lnTo>
                  <a:lnTo>
                    <a:pt x="127001" y="26458"/>
                  </a:lnTo>
                  <a:lnTo>
                    <a:pt x="127001" y="29104"/>
                  </a:lnTo>
                  <a:lnTo>
                    <a:pt x="124355" y="31750"/>
                  </a:lnTo>
                  <a:lnTo>
                    <a:pt x="121709" y="31750"/>
                  </a:lnTo>
                  <a:lnTo>
                    <a:pt x="121709" y="34396"/>
                  </a:lnTo>
                  <a:lnTo>
                    <a:pt x="119063" y="39687"/>
                  </a:lnTo>
                  <a:lnTo>
                    <a:pt x="116417" y="44979"/>
                  </a:lnTo>
                  <a:lnTo>
                    <a:pt x="111126" y="50271"/>
                  </a:lnTo>
                  <a:lnTo>
                    <a:pt x="105834" y="52917"/>
                  </a:lnTo>
                  <a:lnTo>
                    <a:pt x="108480" y="55562"/>
                  </a:lnTo>
                  <a:lnTo>
                    <a:pt x="108480" y="58208"/>
                  </a:lnTo>
                  <a:lnTo>
                    <a:pt x="103188" y="58208"/>
                  </a:lnTo>
                  <a:lnTo>
                    <a:pt x="100542" y="60854"/>
                  </a:lnTo>
                  <a:lnTo>
                    <a:pt x="92605" y="60854"/>
                  </a:lnTo>
                  <a:lnTo>
                    <a:pt x="87313" y="60854"/>
                  </a:lnTo>
                  <a:lnTo>
                    <a:pt x="92605" y="63500"/>
                  </a:lnTo>
                  <a:lnTo>
                    <a:pt x="100542" y="63500"/>
                  </a:lnTo>
                  <a:lnTo>
                    <a:pt x="108480" y="60854"/>
                  </a:lnTo>
                  <a:lnTo>
                    <a:pt x="113771" y="63500"/>
                  </a:lnTo>
                  <a:lnTo>
                    <a:pt x="119063" y="66146"/>
                  </a:lnTo>
                  <a:lnTo>
                    <a:pt x="121709" y="68792"/>
                  </a:lnTo>
                  <a:lnTo>
                    <a:pt x="127001" y="71437"/>
                  </a:lnTo>
                  <a:lnTo>
                    <a:pt x="129646" y="74083"/>
                  </a:lnTo>
                  <a:lnTo>
                    <a:pt x="129646" y="76729"/>
                  </a:lnTo>
                  <a:lnTo>
                    <a:pt x="132292" y="84667"/>
                  </a:lnTo>
                  <a:lnTo>
                    <a:pt x="134938" y="92604"/>
                  </a:lnTo>
                  <a:lnTo>
                    <a:pt x="137584" y="95250"/>
                  </a:lnTo>
                  <a:lnTo>
                    <a:pt x="140230" y="95250"/>
                  </a:lnTo>
                  <a:lnTo>
                    <a:pt x="148167" y="97896"/>
                  </a:lnTo>
                  <a:lnTo>
                    <a:pt x="153459" y="100542"/>
                  </a:lnTo>
                  <a:lnTo>
                    <a:pt x="158751" y="105833"/>
                  </a:lnTo>
                  <a:lnTo>
                    <a:pt x="161397" y="108479"/>
                  </a:lnTo>
                  <a:lnTo>
                    <a:pt x="158751" y="108479"/>
                  </a:lnTo>
                  <a:lnTo>
                    <a:pt x="158751" y="111125"/>
                  </a:lnTo>
                  <a:lnTo>
                    <a:pt x="164042" y="116417"/>
                  </a:lnTo>
                  <a:lnTo>
                    <a:pt x="164042" y="119062"/>
                  </a:lnTo>
                  <a:lnTo>
                    <a:pt x="161397" y="119062"/>
                  </a:lnTo>
                  <a:lnTo>
                    <a:pt x="153459" y="116417"/>
                  </a:lnTo>
                  <a:lnTo>
                    <a:pt x="166688" y="121708"/>
                  </a:lnTo>
                  <a:lnTo>
                    <a:pt x="169334" y="124354"/>
                  </a:lnTo>
                  <a:lnTo>
                    <a:pt x="171980" y="127000"/>
                  </a:lnTo>
                  <a:lnTo>
                    <a:pt x="169334" y="129646"/>
                  </a:lnTo>
                  <a:lnTo>
                    <a:pt x="166688" y="132292"/>
                  </a:lnTo>
                  <a:lnTo>
                    <a:pt x="164042" y="134937"/>
                  </a:lnTo>
                  <a:lnTo>
                    <a:pt x="166688" y="137583"/>
                  </a:lnTo>
                  <a:lnTo>
                    <a:pt x="171980" y="140229"/>
                  </a:lnTo>
                  <a:lnTo>
                    <a:pt x="174626" y="137583"/>
                  </a:lnTo>
                  <a:lnTo>
                    <a:pt x="177272" y="132292"/>
                  </a:lnTo>
                  <a:lnTo>
                    <a:pt x="179917" y="132292"/>
                  </a:lnTo>
                  <a:lnTo>
                    <a:pt x="187855" y="132292"/>
                  </a:lnTo>
                  <a:lnTo>
                    <a:pt x="198438" y="137583"/>
                  </a:lnTo>
                  <a:lnTo>
                    <a:pt x="201084" y="142875"/>
                  </a:lnTo>
                  <a:lnTo>
                    <a:pt x="201084" y="148167"/>
                  </a:lnTo>
                  <a:lnTo>
                    <a:pt x="198438" y="150812"/>
                  </a:lnTo>
                  <a:lnTo>
                    <a:pt x="198438" y="153458"/>
                  </a:lnTo>
                  <a:lnTo>
                    <a:pt x="195792" y="156104"/>
                  </a:lnTo>
                  <a:lnTo>
                    <a:pt x="190501" y="158750"/>
                  </a:lnTo>
                  <a:lnTo>
                    <a:pt x="193147" y="158750"/>
                  </a:lnTo>
                  <a:lnTo>
                    <a:pt x="190501" y="161396"/>
                  </a:lnTo>
                  <a:lnTo>
                    <a:pt x="185209" y="161396"/>
                  </a:lnTo>
                  <a:lnTo>
                    <a:pt x="182563" y="161396"/>
                  </a:lnTo>
                  <a:lnTo>
                    <a:pt x="182563" y="164042"/>
                  </a:lnTo>
                  <a:lnTo>
                    <a:pt x="185209" y="164042"/>
                  </a:lnTo>
                  <a:lnTo>
                    <a:pt x="185209" y="166687"/>
                  </a:lnTo>
                  <a:lnTo>
                    <a:pt x="179917" y="169333"/>
                  </a:lnTo>
                  <a:lnTo>
                    <a:pt x="174626" y="169333"/>
                  </a:lnTo>
                  <a:lnTo>
                    <a:pt x="171980" y="169333"/>
                  </a:lnTo>
                  <a:lnTo>
                    <a:pt x="185209" y="171979"/>
                  </a:lnTo>
                  <a:lnTo>
                    <a:pt x="193147" y="171979"/>
                  </a:lnTo>
                  <a:lnTo>
                    <a:pt x="195792" y="171979"/>
                  </a:lnTo>
                  <a:lnTo>
                    <a:pt x="195792" y="174625"/>
                  </a:lnTo>
                  <a:lnTo>
                    <a:pt x="195792" y="177271"/>
                  </a:lnTo>
                  <a:lnTo>
                    <a:pt x="193147" y="179917"/>
                  </a:lnTo>
                  <a:lnTo>
                    <a:pt x="187855" y="182562"/>
                  </a:lnTo>
                  <a:lnTo>
                    <a:pt x="185209" y="182562"/>
                  </a:lnTo>
                  <a:lnTo>
                    <a:pt x="182563" y="182562"/>
                  </a:lnTo>
                  <a:lnTo>
                    <a:pt x="179917" y="182562"/>
                  </a:lnTo>
                  <a:lnTo>
                    <a:pt x="177272" y="185208"/>
                  </a:lnTo>
                  <a:lnTo>
                    <a:pt x="171980" y="187854"/>
                  </a:lnTo>
                  <a:lnTo>
                    <a:pt x="166688" y="185208"/>
                  </a:lnTo>
                  <a:lnTo>
                    <a:pt x="158751" y="185208"/>
                  </a:lnTo>
                  <a:lnTo>
                    <a:pt x="150813" y="187854"/>
                  </a:lnTo>
                  <a:lnTo>
                    <a:pt x="148167" y="187854"/>
                  </a:lnTo>
                  <a:lnTo>
                    <a:pt x="145522" y="187854"/>
                  </a:lnTo>
                  <a:lnTo>
                    <a:pt x="142876" y="187854"/>
                  </a:lnTo>
                  <a:lnTo>
                    <a:pt x="140230" y="187854"/>
                  </a:lnTo>
                  <a:lnTo>
                    <a:pt x="137584" y="185208"/>
                  </a:lnTo>
                  <a:lnTo>
                    <a:pt x="134938" y="182562"/>
                  </a:lnTo>
                  <a:lnTo>
                    <a:pt x="134938" y="185208"/>
                  </a:lnTo>
                  <a:lnTo>
                    <a:pt x="134938" y="187854"/>
                  </a:lnTo>
                  <a:lnTo>
                    <a:pt x="132292" y="187854"/>
                  </a:lnTo>
                  <a:lnTo>
                    <a:pt x="124355" y="187854"/>
                  </a:lnTo>
                  <a:lnTo>
                    <a:pt x="121709" y="187854"/>
                  </a:lnTo>
                  <a:lnTo>
                    <a:pt x="124355" y="190500"/>
                  </a:lnTo>
                  <a:lnTo>
                    <a:pt x="121709" y="193146"/>
                  </a:lnTo>
                  <a:lnTo>
                    <a:pt x="116417" y="193146"/>
                  </a:lnTo>
                  <a:lnTo>
                    <a:pt x="111126" y="190500"/>
                  </a:lnTo>
                  <a:lnTo>
                    <a:pt x="108480" y="190500"/>
                  </a:lnTo>
                  <a:lnTo>
                    <a:pt x="103188" y="187854"/>
                  </a:lnTo>
                  <a:lnTo>
                    <a:pt x="97896" y="187854"/>
                  </a:lnTo>
                  <a:lnTo>
                    <a:pt x="92605" y="187854"/>
                  </a:lnTo>
                  <a:lnTo>
                    <a:pt x="89959" y="190500"/>
                  </a:lnTo>
                  <a:lnTo>
                    <a:pt x="87313" y="195792"/>
                  </a:lnTo>
                  <a:lnTo>
                    <a:pt x="84667" y="198437"/>
                  </a:lnTo>
                  <a:lnTo>
                    <a:pt x="79376" y="198437"/>
                  </a:lnTo>
                  <a:lnTo>
                    <a:pt x="76730" y="198437"/>
                  </a:lnTo>
                  <a:lnTo>
                    <a:pt x="74084" y="195792"/>
                  </a:lnTo>
                  <a:lnTo>
                    <a:pt x="71438" y="195792"/>
                  </a:lnTo>
                  <a:lnTo>
                    <a:pt x="68792" y="195792"/>
                  </a:lnTo>
                  <a:lnTo>
                    <a:pt x="63501" y="198437"/>
                  </a:lnTo>
                  <a:lnTo>
                    <a:pt x="60855" y="195792"/>
                  </a:lnTo>
                  <a:lnTo>
                    <a:pt x="60855" y="198437"/>
                  </a:lnTo>
                  <a:lnTo>
                    <a:pt x="58209" y="198437"/>
                  </a:lnTo>
                  <a:lnTo>
                    <a:pt x="55563" y="198437"/>
                  </a:lnTo>
                  <a:lnTo>
                    <a:pt x="52917" y="201083"/>
                  </a:lnTo>
                  <a:lnTo>
                    <a:pt x="52917" y="203729"/>
                  </a:lnTo>
                  <a:lnTo>
                    <a:pt x="50271" y="203729"/>
                  </a:lnTo>
                  <a:lnTo>
                    <a:pt x="47625" y="203729"/>
                  </a:lnTo>
                  <a:lnTo>
                    <a:pt x="44980" y="201083"/>
                  </a:lnTo>
                  <a:lnTo>
                    <a:pt x="42334" y="201083"/>
                  </a:lnTo>
                  <a:lnTo>
                    <a:pt x="39688" y="201083"/>
                  </a:lnTo>
                  <a:lnTo>
                    <a:pt x="42334" y="198437"/>
                  </a:lnTo>
                  <a:lnTo>
                    <a:pt x="47625" y="198437"/>
                  </a:lnTo>
                  <a:lnTo>
                    <a:pt x="52917" y="193146"/>
                  </a:lnTo>
                  <a:lnTo>
                    <a:pt x="63501" y="185208"/>
                  </a:lnTo>
                  <a:lnTo>
                    <a:pt x="66146" y="185208"/>
                  </a:lnTo>
                  <a:lnTo>
                    <a:pt x="66146" y="182562"/>
                  </a:lnTo>
                  <a:lnTo>
                    <a:pt x="66146" y="179917"/>
                  </a:lnTo>
                  <a:lnTo>
                    <a:pt x="68792" y="179917"/>
                  </a:lnTo>
                  <a:lnTo>
                    <a:pt x="71438" y="179917"/>
                  </a:lnTo>
                  <a:lnTo>
                    <a:pt x="71438" y="177271"/>
                  </a:lnTo>
                  <a:lnTo>
                    <a:pt x="74084" y="177271"/>
                  </a:lnTo>
                  <a:lnTo>
                    <a:pt x="84667" y="174625"/>
                  </a:lnTo>
                  <a:lnTo>
                    <a:pt x="87313" y="177271"/>
                  </a:lnTo>
                  <a:lnTo>
                    <a:pt x="95251" y="177271"/>
                  </a:lnTo>
                  <a:lnTo>
                    <a:pt x="97896" y="177271"/>
                  </a:lnTo>
                  <a:lnTo>
                    <a:pt x="100542" y="174625"/>
                  </a:lnTo>
                  <a:lnTo>
                    <a:pt x="103188" y="171979"/>
                  </a:lnTo>
                  <a:lnTo>
                    <a:pt x="105834" y="169333"/>
                  </a:lnTo>
                  <a:lnTo>
                    <a:pt x="108480" y="169333"/>
                  </a:lnTo>
                  <a:lnTo>
                    <a:pt x="111126" y="164042"/>
                  </a:lnTo>
                  <a:lnTo>
                    <a:pt x="105834" y="166687"/>
                  </a:lnTo>
                  <a:lnTo>
                    <a:pt x="100542" y="169333"/>
                  </a:lnTo>
                  <a:lnTo>
                    <a:pt x="95251" y="169333"/>
                  </a:lnTo>
                  <a:lnTo>
                    <a:pt x="89959" y="171979"/>
                  </a:lnTo>
                  <a:lnTo>
                    <a:pt x="87313" y="171979"/>
                  </a:lnTo>
                  <a:lnTo>
                    <a:pt x="84667" y="169333"/>
                  </a:lnTo>
                  <a:lnTo>
                    <a:pt x="82021" y="166687"/>
                  </a:lnTo>
                  <a:lnTo>
                    <a:pt x="74084" y="166687"/>
                  </a:lnTo>
                  <a:lnTo>
                    <a:pt x="71438" y="164042"/>
                  </a:lnTo>
                  <a:lnTo>
                    <a:pt x="68792" y="164042"/>
                  </a:lnTo>
                  <a:lnTo>
                    <a:pt x="66146" y="164042"/>
                  </a:lnTo>
                  <a:lnTo>
                    <a:pt x="60855" y="164042"/>
                  </a:lnTo>
                  <a:lnTo>
                    <a:pt x="58209" y="164042"/>
                  </a:lnTo>
                  <a:lnTo>
                    <a:pt x="55563" y="164042"/>
                  </a:lnTo>
                  <a:lnTo>
                    <a:pt x="52917" y="164042"/>
                  </a:lnTo>
                  <a:lnTo>
                    <a:pt x="50271" y="164042"/>
                  </a:lnTo>
                  <a:lnTo>
                    <a:pt x="52917" y="161396"/>
                  </a:lnTo>
                  <a:lnTo>
                    <a:pt x="50271" y="158750"/>
                  </a:lnTo>
                  <a:lnTo>
                    <a:pt x="52917" y="156104"/>
                  </a:lnTo>
                  <a:lnTo>
                    <a:pt x="66146" y="153458"/>
                  </a:lnTo>
                  <a:lnTo>
                    <a:pt x="74084" y="150812"/>
                  </a:lnTo>
                  <a:lnTo>
                    <a:pt x="76730" y="148167"/>
                  </a:lnTo>
                  <a:lnTo>
                    <a:pt x="79376" y="145521"/>
                  </a:lnTo>
                  <a:lnTo>
                    <a:pt x="76730" y="142875"/>
                  </a:lnTo>
                  <a:lnTo>
                    <a:pt x="79376" y="140229"/>
                  </a:lnTo>
                  <a:lnTo>
                    <a:pt x="76730" y="140229"/>
                  </a:lnTo>
                  <a:lnTo>
                    <a:pt x="76730" y="137583"/>
                  </a:lnTo>
                  <a:lnTo>
                    <a:pt x="79376" y="134937"/>
                  </a:lnTo>
                  <a:lnTo>
                    <a:pt x="71438" y="134937"/>
                  </a:lnTo>
                  <a:lnTo>
                    <a:pt x="68792" y="137583"/>
                  </a:lnTo>
                  <a:lnTo>
                    <a:pt x="66146" y="140229"/>
                  </a:lnTo>
                  <a:lnTo>
                    <a:pt x="63501" y="137583"/>
                  </a:lnTo>
                  <a:lnTo>
                    <a:pt x="68792" y="134937"/>
                  </a:lnTo>
                  <a:lnTo>
                    <a:pt x="71438" y="132292"/>
                  </a:lnTo>
                  <a:lnTo>
                    <a:pt x="74084" y="129646"/>
                  </a:lnTo>
                  <a:lnTo>
                    <a:pt x="74084" y="127000"/>
                  </a:lnTo>
                  <a:lnTo>
                    <a:pt x="68792" y="127000"/>
                  </a:lnTo>
                  <a:lnTo>
                    <a:pt x="66146" y="127000"/>
                  </a:lnTo>
                  <a:lnTo>
                    <a:pt x="68792" y="124354"/>
                  </a:lnTo>
                  <a:lnTo>
                    <a:pt x="74084" y="124354"/>
                  </a:lnTo>
                  <a:lnTo>
                    <a:pt x="76730" y="124354"/>
                  </a:lnTo>
                  <a:lnTo>
                    <a:pt x="76730" y="127000"/>
                  </a:lnTo>
                  <a:lnTo>
                    <a:pt x="84667" y="127000"/>
                  </a:lnTo>
                  <a:lnTo>
                    <a:pt x="87313" y="127000"/>
                  </a:lnTo>
                  <a:lnTo>
                    <a:pt x="92605" y="127000"/>
                  </a:lnTo>
                  <a:lnTo>
                    <a:pt x="95251" y="127000"/>
                  </a:lnTo>
                  <a:lnTo>
                    <a:pt x="97896" y="127000"/>
                  </a:lnTo>
                  <a:lnTo>
                    <a:pt x="97896" y="124354"/>
                  </a:lnTo>
                  <a:lnTo>
                    <a:pt x="103188" y="127000"/>
                  </a:lnTo>
                  <a:lnTo>
                    <a:pt x="105834" y="127000"/>
                  </a:lnTo>
                  <a:lnTo>
                    <a:pt x="108480" y="124354"/>
                  </a:lnTo>
                  <a:lnTo>
                    <a:pt x="103188" y="124354"/>
                  </a:lnTo>
                  <a:lnTo>
                    <a:pt x="97896" y="121708"/>
                  </a:lnTo>
                  <a:lnTo>
                    <a:pt x="103188" y="116417"/>
                  </a:lnTo>
                  <a:lnTo>
                    <a:pt x="100542" y="116417"/>
                  </a:lnTo>
                  <a:lnTo>
                    <a:pt x="100542" y="113771"/>
                  </a:lnTo>
                  <a:lnTo>
                    <a:pt x="105834" y="105833"/>
                  </a:lnTo>
                  <a:lnTo>
                    <a:pt x="103188" y="105833"/>
                  </a:lnTo>
                  <a:lnTo>
                    <a:pt x="100542" y="105833"/>
                  </a:lnTo>
                  <a:lnTo>
                    <a:pt x="97896" y="103187"/>
                  </a:lnTo>
                  <a:lnTo>
                    <a:pt x="97896" y="108479"/>
                  </a:lnTo>
                  <a:lnTo>
                    <a:pt x="92605" y="103187"/>
                  </a:lnTo>
                  <a:lnTo>
                    <a:pt x="89959" y="95250"/>
                  </a:lnTo>
                  <a:lnTo>
                    <a:pt x="92605" y="92604"/>
                  </a:lnTo>
                  <a:lnTo>
                    <a:pt x="97896" y="87312"/>
                  </a:lnTo>
                  <a:lnTo>
                    <a:pt x="95251" y="87312"/>
                  </a:lnTo>
                  <a:lnTo>
                    <a:pt x="89959" y="87312"/>
                  </a:lnTo>
                  <a:lnTo>
                    <a:pt x="89959" y="89958"/>
                  </a:lnTo>
                  <a:lnTo>
                    <a:pt x="87313" y="89958"/>
                  </a:lnTo>
                  <a:lnTo>
                    <a:pt x="84667" y="89958"/>
                  </a:lnTo>
                  <a:lnTo>
                    <a:pt x="82021" y="89958"/>
                  </a:lnTo>
                  <a:lnTo>
                    <a:pt x="82021" y="92604"/>
                  </a:lnTo>
                  <a:lnTo>
                    <a:pt x="79376" y="89958"/>
                  </a:lnTo>
                  <a:lnTo>
                    <a:pt x="76730" y="89958"/>
                  </a:lnTo>
                  <a:lnTo>
                    <a:pt x="74084" y="89958"/>
                  </a:lnTo>
                  <a:lnTo>
                    <a:pt x="71438" y="92604"/>
                  </a:lnTo>
                  <a:lnTo>
                    <a:pt x="66146" y="89958"/>
                  </a:lnTo>
                  <a:lnTo>
                    <a:pt x="63501" y="89958"/>
                  </a:lnTo>
                  <a:lnTo>
                    <a:pt x="63501" y="92604"/>
                  </a:lnTo>
                  <a:lnTo>
                    <a:pt x="60855" y="89958"/>
                  </a:lnTo>
                  <a:lnTo>
                    <a:pt x="58209" y="87312"/>
                  </a:lnTo>
                  <a:lnTo>
                    <a:pt x="60855" y="87312"/>
                  </a:lnTo>
                  <a:lnTo>
                    <a:pt x="63501" y="87312"/>
                  </a:lnTo>
                  <a:lnTo>
                    <a:pt x="63501" y="84667"/>
                  </a:lnTo>
                  <a:lnTo>
                    <a:pt x="63501" y="82021"/>
                  </a:lnTo>
                  <a:lnTo>
                    <a:pt x="66146" y="76729"/>
                  </a:lnTo>
                  <a:lnTo>
                    <a:pt x="68792" y="74083"/>
                  </a:lnTo>
                  <a:lnTo>
                    <a:pt x="71438" y="74083"/>
                  </a:lnTo>
                  <a:lnTo>
                    <a:pt x="68792" y="71437"/>
                  </a:lnTo>
                  <a:lnTo>
                    <a:pt x="66146" y="68792"/>
                  </a:lnTo>
                  <a:lnTo>
                    <a:pt x="66146" y="66146"/>
                  </a:lnTo>
                  <a:lnTo>
                    <a:pt x="68792" y="63500"/>
                  </a:lnTo>
                  <a:lnTo>
                    <a:pt x="66146" y="60854"/>
                  </a:lnTo>
                  <a:lnTo>
                    <a:pt x="68792" y="58208"/>
                  </a:lnTo>
                  <a:lnTo>
                    <a:pt x="63501" y="63500"/>
                  </a:lnTo>
                  <a:lnTo>
                    <a:pt x="60855" y="66146"/>
                  </a:lnTo>
                  <a:lnTo>
                    <a:pt x="58209" y="63500"/>
                  </a:lnTo>
                  <a:lnTo>
                    <a:pt x="55563" y="60854"/>
                  </a:lnTo>
                  <a:lnTo>
                    <a:pt x="55563" y="63500"/>
                  </a:lnTo>
                  <a:lnTo>
                    <a:pt x="55563" y="66146"/>
                  </a:lnTo>
                  <a:lnTo>
                    <a:pt x="55563" y="68792"/>
                  </a:lnTo>
                  <a:lnTo>
                    <a:pt x="50271" y="74083"/>
                  </a:lnTo>
                  <a:lnTo>
                    <a:pt x="50271" y="76729"/>
                  </a:lnTo>
                  <a:lnTo>
                    <a:pt x="47625" y="76729"/>
                  </a:lnTo>
                  <a:lnTo>
                    <a:pt x="47625" y="74083"/>
                  </a:lnTo>
                  <a:lnTo>
                    <a:pt x="52917" y="68792"/>
                  </a:lnTo>
                  <a:lnTo>
                    <a:pt x="52917" y="63500"/>
                  </a:lnTo>
                  <a:lnTo>
                    <a:pt x="52917" y="58208"/>
                  </a:lnTo>
                  <a:lnTo>
                    <a:pt x="55563" y="52917"/>
                  </a:lnTo>
                  <a:lnTo>
                    <a:pt x="55563" y="50271"/>
                  </a:lnTo>
                  <a:lnTo>
                    <a:pt x="55563" y="47625"/>
                  </a:lnTo>
                  <a:lnTo>
                    <a:pt x="52917" y="47625"/>
                  </a:lnTo>
                  <a:lnTo>
                    <a:pt x="52917" y="44979"/>
                  </a:lnTo>
                  <a:lnTo>
                    <a:pt x="47625" y="44979"/>
                  </a:lnTo>
                  <a:lnTo>
                    <a:pt x="42334" y="44979"/>
                  </a:lnTo>
                  <a:lnTo>
                    <a:pt x="44980" y="42333"/>
                  </a:lnTo>
                  <a:lnTo>
                    <a:pt x="50271" y="39687"/>
                  </a:lnTo>
                  <a:lnTo>
                    <a:pt x="52917" y="37042"/>
                  </a:lnTo>
                  <a:lnTo>
                    <a:pt x="55563" y="34396"/>
                  </a:lnTo>
                  <a:lnTo>
                    <a:pt x="58209" y="34396"/>
                  </a:lnTo>
                  <a:lnTo>
                    <a:pt x="52917" y="31750"/>
                  </a:lnTo>
                  <a:lnTo>
                    <a:pt x="55563" y="29104"/>
                  </a:lnTo>
                  <a:lnTo>
                    <a:pt x="55563" y="26458"/>
                  </a:lnTo>
                  <a:lnTo>
                    <a:pt x="52917" y="26458"/>
                  </a:lnTo>
                  <a:lnTo>
                    <a:pt x="55563" y="23812"/>
                  </a:lnTo>
                  <a:lnTo>
                    <a:pt x="52917" y="21167"/>
                  </a:lnTo>
                  <a:lnTo>
                    <a:pt x="50271" y="18521"/>
                  </a:lnTo>
                  <a:lnTo>
                    <a:pt x="52917" y="18521"/>
                  </a:lnTo>
                  <a:lnTo>
                    <a:pt x="58209" y="15875"/>
                  </a:lnTo>
                  <a:lnTo>
                    <a:pt x="60855" y="15875"/>
                  </a:lnTo>
                  <a:lnTo>
                    <a:pt x="63501" y="18521"/>
                  </a:lnTo>
                  <a:lnTo>
                    <a:pt x="66146" y="18521"/>
                  </a:lnTo>
                  <a:lnTo>
                    <a:pt x="60855" y="15875"/>
                  </a:lnTo>
                  <a:lnTo>
                    <a:pt x="58209" y="13229"/>
                  </a:lnTo>
                  <a:lnTo>
                    <a:pt x="60855" y="13229"/>
                  </a:lnTo>
                  <a:lnTo>
                    <a:pt x="60855" y="10583"/>
                  </a:lnTo>
                  <a:lnTo>
                    <a:pt x="60855" y="7937"/>
                  </a:lnTo>
                  <a:lnTo>
                    <a:pt x="63501" y="5292"/>
                  </a:lnTo>
                  <a:lnTo>
                    <a:pt x="66146" y="5292"/>
                  </a:lnTo>
                  <a:lnTo>
                    <a:pt x="68792" y="5292"/>
                  </a:lnTo>
                  <a:lnTo>
                    <a:pt x="66146" y="2646"/>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United States"/>
            <p:cNvSpPr>
              <a:spLocks/>
            </p:cNvSpPr>
            <p:nvPr/>
          </p:nvSpPr>
          <p:spPr bwMode="auto">
            <a:xfrm>
              <a:off x="400809" y="1586177"/>
              <a:ext cx="2108729" cy="1193271"/>
            </a:xfrm>
            <a:custGeom>
              <a:avLst/>
              <a:gdLst/>
              <a:ahLst/>
              <a:cxnLst/>
              <a:rect l="l" t="t" r="r" b="b"/>
              <a:pathLst>
                <a:path w="2108729" h="1193271">
                  <a:moveTo>
                    <a:pt x="1471083" y="468313"/>
                  </a:moveTo>
                  <a:lnTo>
                    <a:pt x="1473729" y="470959"/>
                  </a:lnTo>
                  <a:lnTo>
                    <a:pt x="1471083" y="478896"/>
                  </a:lnTo>
                  <a:lnTo>
                    <a:pt x="1468437" y="481542"/>
                  </a:lnTo>
                  <a:lnTo>
                    <a:pt x="1468437" y="486834"/>
                  </a:lnTo>
                  <a:lnTo>
                    <a:pt x="1471083" y="486834"/>
                  </a:lnTo>
                  <a:lnTo>
                    <a:pt x="1479021" y="489480"/>
                  </a:lnTo>
                  <a:lnTo>
                    <a:pt x="1489604" y="492126"/>
                  </a:lnTo>
                  <a:lnTo>
                    <a:pt x="1502833" y="497417"/>
                  </a:lnTo>
                  <a:lnTo>
                    <a:pt x="1510771" y="500063"/>
                  </a:lnTo>
                  <a:lnTo>
                    <a:pt x="1516062" y="500063"/>
                  </a:lnTo>
                  <a:lnTo>
                    <a:pt x="1518708" y="500063"/>
                  </a:lnTo>
                  <a:lnTo>
                    <a:pt x="1524000" y="502709"/>
                  </a:lnTo>
                  <a:lnTo>
                    <a:pt x="1529292" y="505355"/>
                  </a:lnTo>
                  <a:lnTo>
                    <a:pt x="1534583" y="505355"/>
                  </a:lnTo>
                  <a:lnTo>
                    <a:pt x="1545167" y="502709"/>
                  </a:lnTo>
                  <a:lnTo>
                    <a:pt x="1558396" y="505355"/>
                  </a:lnTo>
                  <a:lnTo>
                    <a:pt x="1563687" y="508001"/>
                  </a:lnTo>
                  <a:lnTo>
                    <a:pt x="1571625" y="510646"/>
                  </a:lnTo>
                  <a:lnTo>
                    <a:pt x="1558396" y="510646"/>
                  </a:lnTo>
                  <a:lnTo>
                    <a:pt x="1553104" y="513292"/>
                  </a:lnTo>
                  <a:lnTo>
                    <a:pt x="1539875" y="523876"/>
                  </a:lnTo>
                  <a:lnTo>
                    <a:pt x="1529292" y="529167"/>
                  </a:lnTo>
                  <a:lnTo>
                    <a:pt x="1521354" y="534459"/>
                  </a:lnTo>
                  <a:lnTo>
                    <a:pt x="1500187" y="545042"/>
                  </a:lnTo>
                  <a:lnTo>
                    <a:pt x="1494896" y="547688"/>
                  </a:lnTo>
                  <a:lnTo>
                    <a:pt x="1497542" y="550334"/>
                  </a:lnTo>
                  <a:lnTo>
                    <a:pt x="1516062" y="547688"/>
                  </a:lnTo>
                  <a:lnTo>
                    <a:pt x="1531937" y="547688"/>
                  </a:lnTo>
                  <a:lnTo>
                    <a:pt x="1531937" y="552980"/>
                  </a:lnTo>
                  <a:lnTo>
                    <a:pt x="1531937" y="555626"/>
                  </a:lnTo>
                  <a:lnTo>
                    <a:pt x="1534583" y="555626"/>
                  </a:lnTo>
                  <a:lnTo>
                    <a:pt x="1545167" y="552980"/>
                  </a:lnTo>
                  <a:lnTo>
                    <a:pt x="1553104" y="550334"/>
                  </a:lnTo>
                  <a:lnTo>
                    <a:pt x="1568979" y="545042"/>
                  </a:lnTo>
                  <a:lnTo>
                    <a:pt x="1579562" y="542396"/>
                  </a:lnTo>
                  <a:lnTo>
                    <a:pt x="1582208" y="537105"/>
                  </a:lnTo>
                  <a:lnTo>
                    <a:pt x="1587500" y="534459"/>
                  </a:lnTo>
                  <a:lnTo>
                    <a:pt x="1598083" y="529167"/>
                  </a:lnTo>
                  <a:lnTo>
                    <a:pt x="1606021" y="529167"/>
                  </a:lnTo>
                  <a:lnTo>
                    <a:pt x="1608667" y="529167"/>
                  </a:lnTo>
                  <a:lnTo>
                    <a:pt x="1600729" y="531813"/>
                  </a:lnTo>
                  <a:lnTo>
                    <a:pt x="1592792" y="537105"/>
                  </a:lnTo>
                  <a:lnTo>
                    <a:pt x="1590146" y="537105"/>
                  </a:lnTo>
                  <a:lnTo>
                    <a:pt x="1592792" y="539751"/>
                  </a:lnTo>
                  <a:lnTo>
                    <a:pt x="1598083" y="537105"/>
                  </a:lnTo>
                  <a:lnTo>
                    <a:pt x="1603375" y="537105"/>
                  </a:lnTo>
                  <a:lnTo>
                    <a:pt x="1608667" y="539751"/>
                  </a:lnTo>
                  <a:lnTo>
                    <a:pt x="1613958" y="542396"/>
                  </a:lnTo>
                  <a:lnTo>
                    <a:pt x="1613958" y="545042"/>
                  </a:lnTo>
                  <a:lnTo>
                    <a:pt x="1624542" y="550334"/>
                  </a:lnTo>
                  <a:lnTo>
                    <a:pt x="1635125" y="547688"/>
                  </a:lnTo>
                  <a:lnTo>
                    <a:pt x="1643062" y="547688"/>
                  </a:lnTo>
                  <a:lnTo>
                    <a:pt x="1651000" y="547688"/>
                  </a:lnTo>
                  <a:lnTo>
                    <a:pt x="1658937" y="547688"/>
                  </a:lnTo>
                  <a:lnTo>
                    <a:pt x="1669521" y="547688"/>
                  </a:lnTo>
                  <a:lnTo>
                    <a:pt x="1672167" y="550334"/>
                  </a:lnTo>
                  <a:lnTo>
                    <a:pt x="1669521" y="552980"/>
                  </a:lnTo>
                  <a:lnTo>
                    <a:pt x="1669521" y="555626"/>
                  </a:lnTo>
                  <a:lnTo>
                    <a:pt x="1677458" y="555626"/>
                  </a:lnTo>
                  <a:lnTo>
                    <a:pt x="1685396" y="555626"/>
                  </a:lnTo>
                  <a:lnTo>
                    <a:pt x="1688042" y="555626"/>
                  </a:lnTo>
                  <a:lnTo>
                    <a:pt x="1690687" y="555626"/>
                  </a:lnTo>
                  <a:lnTo>
                    <a:pt x="1695979" y="560917"/>
                  </a:lnTo>
                  <a:lnTo>
                    <a:pt x="1695979" y="563563"/>
                  </a:lnTo>
                  <a:lnTo>
                    <a:pt x="1695979" y="566209"/>
                  </a:lnTo>
                  <a:lnTo>
                    <a:pt x="1685396" y="566209"/>
                  </a:lnTo>
                  <a:lnTo>
                    <a:pt x="1674812" y="566209"/>
                  </a:lnTo>
                  <a:lnTo>
                    <a:pt x="1669521" y="566209"/>
                  </a:lnTo>
                  <a:lnTo>
                    <a:pt x="1669521" y="568855"/>
                  </a:lnTo>
                  <a:lnTo>
                    <a:pt x="1664229" y="566209"/>
                  </a:lnTo>
                  <a:lnTo>
                    <a:pt x="1658937" y="563563"/>
                  </a:lnTo>
                  <a:lnTo>
                    <a:pt x="1651000" y="566209"/>
                  </a:lnTo>
                  <a:lnTo>
                    <a:pt x="1648354" y="566209"/>
                  </a:lnTo>
                  <a:lnTo>
                    <a:pt x="1640417" y="566209"/>
                  </a:lnTo>
                  <a:lnTo>
                    <a:pt x="1635125" y="566209"/>
                  </a:lnTo>
                  <a:lnTo>
                    <a:pt x="1627187" y="571501"/>
                  </a:lnTo>
                  <a:lnTo>
                    <a:pt x="1619250" y="574146"/>
                  </a:lnTo>
                  <a:lnTo>
                    <a:pt x="1616604" y="574146"/>
                  </a:lnTo>
                  <a:lnTo>
                    <a:pt x="1613958" y="574146"/>
                  </a:lnTo>
                  <a:lnTo>
                    <a:pt x="1616604" y="571501"/>
                  </a:lnTo>
                  <a:lnTo>
                    <a:pt x="1616604" y="568855"/>
                  </a:lnTo>
                  <a:lnTo>
                    <a:pt x="1608667" y="574146"/>
                  </a:lnTo>
                  <a:lnTo>
                    <a:pt x="1595437" y="584730"/>
                  </a:lnTo>
                  <a:lnTo>
                    <a:pt x="1582208" y="597959"/>
                  </a:lnTo>
                  <a:lnTo>
                    <a:pt x="1595437" y="590021"/>
                  </a:lnTo>
                  <a:lnTo>
                    <a:pt x="1606021" y="584730"/>
                  </a:lnTo>
                  <a:lnTo>
                    <a:pt x="1613958" y="579438"/>
                  </a:lnTo>
                  <a:lnTo>
                    <a:pt x="1603375" y="590021"/>
                  </a:lnTo>
                  <a:lnTo>
                    <a:pt x="1592792" y="600605"/>
                  </a:lnTo>
                  <a:lnTo>
                    <a:pt x="1582208" y="611188"/>
                  </a:lnTo>
                  <a:lnTo>
                    <a:pt x="1571625" y="624417"/>
                  </a:lnTo>
                  <a:lnTo>
                    <a:pt x="1566333" y="629709"/>
                  </a:lnTo>
                  <a:lnTo>
                    <a:pt x="1563687" y="637646"/>
                  </a:lnTo>
                  <a:lnTo>
                    <a:pt x="1555750" y="648230"/>
                  </a:lnTo>
                  <a:lnTo>
                    <a:pt x="1545167" y="661459"/>
                  </a:lnTo>
                  <a:lnTo>
                    <a:pt x="1542521" y="674688"/>
                  </a:lnTo>
                  <a:lnTo>
                    <a:pt x="1545167" y="682626"/>
                  </a:lnTo>
                  <a:lnTo>
                    <a:pt x="1545167" y="685271"/>
                  </a:lnTo>
                  <a:lnTo>
                    <a:pt x="1550458" y="685271"/>
                  </a:lnTo>
                  <a:lnTo>
                    <a:pt x="1568979" y="679980"/>
                  </a:lnTo>
                  <a:lnTo>
                    <a:pt x="1579562" y="674688"/>
                  </a:lnTo>
                  <a:lnTo>
                    <a:pt x="1592792" y="666751"/>
                  </a:lnTo>
                  <a:lnTo>
                    <a:pt x="1600729" y="656167"/>
                  </a:lnTo>
                  <a:lnTo>
                    <a:pt x="1603375" y="645584"/>
                  </a:lnTo>
                  <a:lnTo>
                    <a:pt x="1606021" y="640292"/>
                  </a:lnTo>
                  <a:lnTo>
                    <a:pt x="1603375" y="635001"/>
                  </a:lnTo>
                  <a:lnTo>
                    <a:pt x="1600729" y="632355"/>
                  </a:lnTo>
                  <a:lnTo>
                    <a:pt x="1603375" y="629709"/>
                  </a:lnTo>
                  <a:lnTo>
                    <a:pt x="1608667" y="616480"/>
                  </a:lnTo>
                  <a:lnTo>
                    <a:pt x="1616604" y="605896"/>
                  </a:lnTo>
                  <a:lnTo>
                    <a:pt x="1619250" y="600605"/>
                  </a:lnTo>
                  <a:lnTo>
                    <a:pt x="1627187" y="592667"/>
                  </a:lnTo>
                  <a:lnTo>
                    <a:pt x="1629833" y="590021"/>
                  </a:lnTo>
                  <a:lnTo>
                    <a:pt x="1632479" y="590021"/>
                  </a:lnTo>
                  <a:lnTo>
                    <a:pt x="1635125" y="592667"/>
                  </a:lnTo>
                  <a:lnTo>
                    <a:pt x="1632479" y="597959"/>
                  </a:lnTo>
                  <a:lnTo>
                    <a:pt x="1635125" y="597959"/>
                  </a:lnTo>
                  <a:lnTo>
                    <a:pt x="1637771" y="592667"/>
                  </a:lnTo>
                  <a:lnTo>
                    <a:pt x="1640417" y="590021"/>
                  </a:lnTo>
                  <a:lnTo>
                    <a:pt x="1643062" y="587376"/>
                  </a:lnTo>
                  <a:lnTo>
                    <a:pt x="1648354" y="584730"/>
                  </a:lnTo>
                  <a:lnTo>
                    <a:pt x="1651000" y="579438"/>
                  </a:lnTo>
                  <a:lnTo>
                    <a:pt x="1653646" y="576792"/>
                  </a:lnTo>
                  <a:lnTo>
                    <a:pt x="1658937" y="574146"/>
                  </a:lnTo>
                  <a:lnTo>
                    <a:pt x="1666875" y="571501"/>
                  </a:lnTo>
                  <a:lnTo>
                    <a:pt x="1672167" y="571501"/>
                  </a:lnTo>
                  <a:lnTo>
                    <a:pt x="1677458" y="574146"/>
                  </a:lnTo>
                  <a:lnTo>
                    <a:pt x="1682750" y="579438"/>
                  </a:lnTo>
                  <a:lnTo>
                    <a:pt x="1685396" y="584730"/>
                  </a:lnTo>
                  <a:lnTo>
                    <a:pt x="1685396" y="587376"/>
                  </a:lnTo>
                  <a:lnTo>
                    <a:pt x="1688042" y="592667"/>
                  </a:lnTo>
                  <a:lnTo>
                    <a:pt x="1685396" y="600605"/>
                  </a:lnTo>
                  <a:lnTo>
                    <a:pt x="1680104" y="608542"/>
                  </a:lnTo>
                  <a:lnTo>
                    <a:pt x="1677458" y="611188"/>
                  </a:lnTo>
                  <a:lnTo>
                    <a:pt x="1677458" y="613834"/>
                  </a:lnTo>
                  <a:lnTo>
                    <a:pt x="1674812" y="616480"/>
                  </a:lnTo>
                  <a:lnTo>
                    <a:pt x="1669521" y="619126"/>
                  </a:lnTo>
                  <a:lnTo>
                    <a:pt x="1672167" y="621771"/>
                  </a:lnTo>
                  <a:lnTo>
                    <a:pt x="1677458" y="621771"/>
                  </a:lnTo>
                  <a:lnTo>
                    <a:pt x="1680104" y="621771"/>
                  </a:lnTo>
                  <a:lnTo>
                    <a:pt x="1682750" y="621771"/>
                  </a:lnTo>
                  <a:lnTo>
                    <a:pt x="1685396" y="619126"/>
                  </a:lnTo>
                  <a:lnTo>
                    <a:pt x="1685396" y="616480"/>
                  </a:lnTo>
                  <a:lnTo>
                    <a:pt x="1688042" y="616480"/>
                  </a:lnTo>
                  <a:lnTo>
                    <a:pt x="1690687" y="619126"/>
                  </a:lnTo>
                  <a:lnTo>
                    <a:pt x="1690687" y="627063"/>
                  </a:lnTo>
                  <a:lnTo>
                    <a:pt x="1688042" y="642938"/>
                  </a:lnTo>
                  <a:lnTo>
                    <a:pt x="1685396" y="650876"/>
                  </a:lnTo>
                  <a:lnTo>
                    <a:pt x="1682750" y="650876"/>
                  </a:lnTo>
                  <a:lnTo>
                    <a:pt x="1680104" y="650876"/>
                  </a:lnTo>
                  <a:lnTo>
                    <a:pt x="1677458" y="656167"/>
                  </a:lnTo>
                  <a:lnTo>
                    <a:pt x="1669521" y="669396"/>
                  </a:lnTo>
                  <a:lnTo>
                    <a:pt x="1658937" y="679980"/>
                  </a:lnTo>
                  <a:lnTo>
                    <a:pt x="1658937" y="682626"/>
                  </a:lnTo>
                  <a:lnTo>
                    <a:pt x="1666875" y="685271"/>
                  </a:lnTo>
                  <a:lnTo>
                    <a:pt x="1682750" y="690563"/>
                  </a:lnTo>
                  <a:lnTo>
                    <a:pt x="1688042" y="690563"/>
                  </a:lnTo>
                  <a:lnTo>
                    <a:pt x="1693333" y="687917"/>
                  </a:lnTo>
                  <a:lnTo>
                    <a:pt x="1695979" y="687917"/>
                  </a:lnTo>
                  <a:lnTo>
                    <a:pt x="1701271" y="687917"/>
                  </a:lnTo>
                  <a:lnTo>
                    <a:pt x="1711854" y="685271"/>
                  </a:lnTo>
                  <a:lnTo>
                    <a:pt x="1725083" y="677334"/>
                  </a:lnTo>
                  <a:lnTo>
                    <a:pt x="1740958" y="669396"/>
                  </a:lnTo>
                  <a:lnTo>
                    <a:pt x="1748896" y="666751"/>
                  </a:lnTo>
                  <a:lnTo>
                    <a:pt x="1756833" y="664105"/>
                  </a:lnTo>
                  <a:lnTo>
                    <a:pt x="1767417" y="658813"/>
                  </a:lnTo>
                  <a:lnTo>
                    <a:pt x="1778000" y="653521"/>
                  </a:lnTo>
                  <a:lnTo>
                    <a:pt x="1780646" y="650876"/>
                  </a:lnTo>
                  <a:lnTo>
                    <a:pt x="1778000" y="642938"/>
                  </a:lnTo>
                  <a:lnTo>
                    <a:pt x="1793875" y="642938"/>
                  </a:lnTo>
                  <a:lnTo>
                    <a:pt x="1801813" y="642938"/>
                  </a:lnTo>
                  <a:lnTo>
                    <a:pt x="1807104" y="642938"/>
                  </a:lnTo>
                  <a:lnTo>
                    <a:pt x="1820333" y="642938"/>
                  </a:lnTo>
                  <a:lnTo>
                    <a:pt x="1828271" y="640292"/>
                  </a:lnTo>
                  <a:lnTo>
                    <a:pt x="1833563" y="637646"/>
                  </a:lnTo>
                  <a:lnTo>
                    <a:pt x="1841500" y="635001"/>
                  </a:lnTo>
                  <a:lnTo>
                    <a:pt x="1854729" y="635001"/>
                  </a:lnTo>
                  <a:lnTo>
                    <a:pt x="1854729" y="632355"/>
                  </a:lnTo>
                  <a:lnTo>
                    <a:pt x="1854729" y="629709"/>
                  </a:lnTo>
                  <a:lnTo>
                    <a:pt x="1852083" y="627063"/>
                  </a:lnTo>
                  <a:lnTo>
                    <a:pt x="1854729" y="624417"/>
                  </a:lnTo>
                  <a:lnTo>
                    <a:pt x="1857375" y="621771"/>
                  </a:lnTo>
                  <a:lnTo>
                    <a:pt x="1854729" y="621771"/>
                  </a:lnTo>
                  <a:lnTo>
                    <a:pt x="1854729" y="619126"/>
                  </a:lnTo>
                  <a:lnTo>
                    <a:pt x="1860021" y="613834"/>
                  </a:lnTo>
                  <a:lnTo>
                    <a:pt x="1867958" y="608542"/>
                  </a:lnTo>
                  <a:lnTo>
                    <a:pt x="1875896" y="600605"/>
                  </a:lnTo>
                  <a:lnTo>
                    <a:pt x="1883833" y="590021"/>
                  </a:lnTo>
                  <a:lnTo>
                    <a:pt x="1891771" y="587376"/>
                  </a:lnTo>
                  <a:lnTo>
                    <a:pt x="1897063" y="587376"/>
                  </a:lnTo>
                  <a:lnTo>
                    <a:pt x="1981729" y="587376"/>
                  </a:lnTo>
                  <a:lnTo>
                    <a:pt x="1989667" y="582084"/>
                  </a:lnTo>
                  <a:lnTo>
                    <a:pt x="1992313" y="582084"/>
                  </a:lnTo>
                  <a:lnTo>
                    <a:pt x="1994958" y="579438"/>
                  </a:lnTo>
                  <a:lnTo>
                    <a:pt x="2000250" y="576792"/>
                  </a:lnTo>
                  <a:lnTo>
                    <a:pt x="2005542" y="571501"/>
                  </a:lnTo>
                  <a:lnTo>
                    <a:pt x="2010833" y="568855"/>
                  </a:lnTo>
                  <a:lnTo>
                    <a:pt x="2016125" y="566209"/>
                  </a:lnTo>
                  <a:lnTo>
                    <a:pt x="2018771" y="560917"/>
                  </a:lnTo>
                  <a:lnTo>
                    <a:pt x="2018771" y="558271"/>
                  </a:lnTo>
                  <a:lnTo>
                    <a:pt x="2021417" y="555626"/>
                  </a:lnTo>
                  <a:lnTo>
                    <a:pt x="2029354" y="547688"/>
                  </a:lnTo>
                  <a:lnTo>
                    <a:pt x="2032000" y="542396"/>
                  </a:lnTo>
                  <a:lnTo>
                    <a:pt x="2037292" y="539751"/>
                  </a:lnTo>
                  <a:lnTo>
                    <a:pt x="2039938" y="537105"/>
                  </a:lnTo>
                  <a:lnTo>
                    <a:pt x="2045229" y="531813"/>
                  </a:lnTo>
                  <a:lnTo>
                    <a:pt x="2055813" y="523876"/>
                  </a:lnTo>
                  <a:lnTo>
                    <a:pt x="2058458" y="523876"/>
                  </a:lnTo>
                  <a:lnTo>
                    <a:pt x="2063750" y="526521"/>
                  </a:lnTo>
                  <a:lnTo>
                    <a:pt x="2066396" y="526521"/>
                  </a:lnTo>
                  <a:lnTo>
                    <a:pt x="2071688" y="523876"/>
                  </a:lnTo>
                  <a:lnTo>
                    <a:pt x="2087563" y="518584"/>
                  </a:lnTo>
                  <a:lnTo>
                    <a:pt x="2090208" y="518584"/>
                  </a:lnTo>
                  <a:lnTo>
                    <a:pt x="2092854" y="523876"/>
                  </a:lnTo>
                  <a:lnTo>
                    <a:pt x="2095500" y="526521"/>
                  </a:lnTo>
                  <a:lnTo>
                    <a:pt x="2098146" y="529167"/>
                  </a:lnTo>
                  <a:lnTo>
                    <a:pt x="2095500" y="531813"/>
                  </a:lnTo>
                  <a:lnTo>
                    <a:pt x="2084917" y="566209"/>
                  </a:lnTo>
                  <a:lnTo>
                    <a:pt x="2084917" y="571501"/>
                  </a:lnTo>
                  <a:lnTo>
                    <a:pt x="2087563" y="571501"/>
                  </a:lnTo>
                  <a:lnTo>
                    <a:pt x="2090208" y="574146"/>
                  </a:lnTo>
                  <a:lnTo>
                    <a:pt x="2092854" y="579438"/>
                  </a:lnTo>
                  <a:lnTo>
                    <a:pt x="2098146" y="584730"/>
                  </a:lnTo>
                  <a:lnTo>
                    <a:pt x="2098146" y="582084"/>
                  </a:lnTo>
                  <a:lnTo>
                    <a:pt x="2103438" y="582084"/>
                  </a:lnTo>
                  <a:lnTo>
                    <a:pt x="2106083" y="587376"/>
                  </a:lnTo>
                  <a:lnTo>
                    <a:pt x="2108729" y="590021"/>
                  </a:lnTo>
                  <a:lnTo>
                    <a:pt x="2103438" y="592667"/>
                  </a:lnTo>
                  <a:lnTo>
                    <a:pt x="2092854" y="597959"/>
                  </a:lnTo>
                  <a:lnTo>
                    <a:pt x="2076979" y="605896"/>
                  </a:lnTo>
                  <a:lnTo>
                    <a:pt x="2074333" y="608542"/>
                  </a:lnTo>
                  <a:lnTo>
                    <a:pt x="2071688" y="608542"/>
                  </a:lnTo>
                  <a:lnTo>
                    <a:pt x="2066396" y="605896"/>
                  </a:lnTo>
                  <a:lnTo>
                    <a:pt x="2061104" y="603251"/>
                  </a:lnTo>
                  <a:lnTo>
                    <a:pt x="2058458" y="605896"/>
                  </a:lnTo>
                  <a:lnTo>
                    <a:pt x="2055813" y="611188"/>
                  </a:lnTo>
                  <a:lnTo>
                    <a:pt x="2053167" y="616480"/>
                  </a:lnTo>
                  <a:lnTo>
                    <a:pt x="2050521" y="613834"/>
                  </a:lnTo>
                  <a:lnTo>
                    <a:pt x="2050521" y="608542"/>
                  </a:lnTo>
                  <a:lnTo>
                    <a:pt x="2047875" y="605896"/>
                  </a:lnTo>
                  <a:lnTo>
                    <a:pt x="2047875" y="608542"/>
                  </a:lnTo>
                  <a:lnTo>
                    <a:pt x="2039938" y="619126"/>
                  </a:lnTo>
                  <a:lnTo>
                    <a:pt x="2037292" y="621771"/>
                  </a:lnTo>
                  <a:lnTo>
                    <a:pt x="2032000" y="619126"/>
                  </a:lnTo>
                  <a:lnTo>
                    <a:pt x="2026708" y="621771"/>
                  </a:lnTo>
                  <a:lnTo>
                    <a:pt x="2018771" y="624417"/>
                  </a:lnTo>
                  <a:lnTo>
                    <a:pt x="2013479" y="624417"/>
                  </a:lnTo>
                  <a:lnTo>
                    <a:pt x="2005542" y="627063"/>
                  </a:lnTo>
                  <a:lnTo>
                    <a:pt x="1997604" y="635001"/>
                  </a:lnTo>
                  <a:lnTo>
                    <a:pt x="1989667" y="645584"/>
                  </a:lnTo>
                  <a:lnTo>
                    <a:pt x="1981729" y="650876"/>
                  </a:lnTo>
                  <a:lnTo>
                    <a:pt x="1976438" y="661459"/>
                  </a:lnTo>
                  <a:lnTo>
                    <a:pt x="1973792" y="664105"/>
                  </a:lnTo>
                  <a:lnTo>
                    <a:pt x="1976438" y="672042"/>
                  </a:lnTo>
                  <a:lnTo>
                    <a:pt x="1979083" y="674688"/>
                  </a:lnTo>
                  <a:lnTo>
                    <a:pt x="1981729" y="674688"/>
                  </a:lnTo>
                  <a:lnTo>
                    <a:pt x="1987021" y="674688"/>
                  </a:lnTo>
                  <a:lnTo>
                    <a:pt x="1984375" y="682626"/>
                  </a:lnTo>
                  <a:lnTo>
                    <a:pt x="1981729" y="679980"/>
                  </a:lnTo>
                  <a:lnTo>
                    <a:pt x="1979083" y="679980"/>
                  </a:lnTo>
                  <a:lnTo>
                    <a:pt x="1971146" y="682626"/>
                  </a:lnTo>
                  <a:lnTo>
                    <a:pt x="1965854" y="685271"/>
                  </a:lnTo>
                  <a:lnTo>
                    <a:pt x="1963208" y="685271"/>
                  </a:lnTo>
                  <a:lnTo>
                    <a:pt x="1960563" y="679980"/>
                  </a:lnTo>
                  <a:lnTo>
                    <a:pt x="1957917" y="685271"/>
                  </a:lnTo>
                  <a:lnTo>
                    <a:pt x="1952625" y="687917"/>
                  </a:lnTo>
                  <a:lnTo>
                    <a:pt x="1947333" y="690563"/>
                  </a:lnTo>
                  <a:lnTo>
                    <a:pt x="1939396" y="690563"/>
                  </a:lnTo>
                  <a:lnTo>
                    <a:pt x="1934104" y="690563"/>
                  </a:lnTo>
                  <a:lnTo>
                    <a:pt x="1931458" y="693209"/>
                  </a:lnTo>
                  <a:lnTo>
                    <a:pt x="1918229" y="693209"/>
                  </a:lnTo>
                  <a:lnTo>
                    <a:pt x="1907646" y="695855"/>
                  </a:lnTo>
                  <a:lnTo>
                    <a:pt x="1899708" y="701146"/>
                  </a:lnTo>
                  <a:lnTo>
                    <a:pt x="1894417" y="703792"/>
                  </a:lnTo>
                  <a:lnTo>
                    <a:pt x="1889125" y="706438"/>
                  </a:lnTo>
                  <a:lnTo>
                    <a:pt x="1886479" y="709084"/>
                  </a:lnTo>
                  <a:lnTo>
                    <a:pt x="1883833" y="709084"/>
                  </a:lnTo>
                  <a:lnTo>
                    <a:pt x="1881188" y="714376"/>
                  </a:lnTo>
                  <a:lnTo>
                    <a:pt x="1881188" y="717021"/>
                  </a:lnTo>
                  <a:lnTo>
                    <a:pt x="1883833" y="717021"/>
                  </a:lnTo>
                  <a:lnTo>
                    <a:pt x="1878542" y="722313"/>
                  </a:lnTo>
                  <a:lnTo>
                    <a:pt x="1870604" y="730251"/>
                  </a:lnTo>
                  <a:lnTo>
                    <a:pt x="1865313" y="735542"/>
                  </a:lnTo>
                  <a:lnTo>
                    <a:pt x="1862667" y="738188"/>
                  </a:lnTo>
                  <a:lnTo>
                    <a:pt x="1860021" y="738188"/>
                  </a:lnTo>
                  <a:lnTo>
                    <a:pt x="1849438" y="732896"/>
                  </a:lnTo>
                  <a:lnTo>
                    <a:pt x="1852083" y="735542"/>
                  </a:lnTo>
                  <a:lnTo>
                    <a:pt x="1860021" y="740834"/>
                  </a:lnTo>
                  <a:lnTo>
                    <a:pt x="1854729" y="743480"/>
                  </a:lnTo>
                  <a:lnTo>
                    <a:pt x="1852083" y="743480"/>
                  </a:lnTo>
                  <a:lnTo>
                    <a:pt x="1849438" y="743480"/>
                  </a:lnTo>
                  <a:lnTo>
                    <a:pt x="1846792" y="746126"/>
                  </a:lnTo>
                  <a:lnTo>
                    <a:pt x="1844146" y="751417"/>
                  </a:lnTo>
                  <a:lnTo>
                    <a:pt x="1841500" y="751417"/>
                  </a:lnTo>
                  <a:lnTo>
                    <a:pt x="1836208" y="754063"/>
                  </a:lnTo>
                  <a:lnTo>
                    <a:pt x="1830917" y="759355"/>
                  </a:lnTo>
                  <a:lnTo>
                    <a:pt x="1825625" y="767292"/>
                  </a:lnTo>
                  <a:lnTo>
                    <a:pt x="1822979" y="762000"/>
                  </a:lnTo>
                  <a:lnTo>
                    <a:pt x="1822979" y="756709"/>
                  </a:lnTo>
                  <a:lnTo>
                    <a:pt x="1820333" y="754063"/>
                  </a:lnTo>
                  <a:lnTo>
                    <a:pt x="1815042" y="751417"/>
                  </a:lnTo>
                  <a:lnTo>
                    <a:pt x="1812396" y="746126"/>
                  </a:lnTo>
                  <a:lnTo>
                    <a:pt x="1812396" y="751417"/>
                  </a:lnTo>
                  <a:lnTo>
                    <a:pt x="1812396" y="754063"/>
                  </a:lnTo>
                  <a:lnTo>
                    <a:pt x="1817688" y="756709"/>
                  </a:lnTo>
                  <a:lnTo>
                    <a:pt x="1820333" y="759355"/>
                  </a:lnTo>
                  <a:lnTo>
                    <a:pt x="1820333" y="762000"/>
                  </a:lnTo>
                  <a:lnTo>
                    <a:pt x="1820333" y="764646"/>
                  </a:lnTo>
                  <a:lnTo>
                    <a:pt x="1822979" y="767292"/>
                  </a:lnTo>
                  <a:lnTo>
                    <a:pt x="1825625" y="769938"/>
                  </a:lnTo>
                  <a:lnTo>
                    <a:pt x="1825625" y="772584"/>
                  </a:lnTo>
                  <a:lnTo>
                    <a:pt x="1822979" y="780521"/>
                  </a:lnTo>
                  <a:lnTo>
                    <a:pt x="1812396" y="796396"/>
                  </a:lnTo>
                  <a:lnTo>
                    <a:pt x="1817688" y="785813"/>
                  </a:lnTo>
                  <a:lnTo>
                    <a:pt x="1820333" y="780521"/>
                  </a:lnTo>
                  <a:lnTo>
                    <a:pt x="1820333" y="777875"/>
                  </a:lnTo>
                  <a:lnTo>
                    <a:pt x="1817688" y="780521"/>
                  </a:lnTo>
                  <a:lnTo>
                    <a:pt x="1812396" y="785813"/>
                  </a:lnTo>
                  <a:lnTo>
                    <a:pt x="1807104" y="796396"/>
                  </a:lnTo>
                  <a:lnTo>
                    <a:pt x="1804458" y="804334"/>
                  </a:lnTo>
                  <a:lnTo>
                    <a:pt x="1799167" y="809625"/>
                  </a:lnTo>
                  <a:lnTo>
                    <a:pt x="1793875" y="809625"/>
                  </a:lnTo>
                  <a:lnTo>
                    <a:pt x="1791229" y="809625"/>
                  </a:lnTo>
                  <a:lnTo>
                    <a:pt x="1799167" y="799042"/>
                  </a:lnTo>
                  <a:lnTo>
                    <a:pt x="1799167" y="793750"/>
                  </a:lnTo>
                  <a:lnTo>
                    <a:pt x="1796521" y="791105"/>
                  </a:lnTo>
                  <a:lnTo>
                    <a:pt x="1793875" y="785813"/>
                  </a:lnTo>
                  <a:lnTo>
                    <a:pt x="1796521" y="783167"/>
                  </a:lnTo>
                  <a:lnTo>
                    <a:pt x="1796521" y="777875"/>
                  </a:lnTo>
                  <a:lnTo>
                    <a:pt x="1793875" y="775230"/>
                  </a:lnTo>
                  <a:lnTo>
                    <a:pt x="1793875" y="772584"/>
                  </a:lnTo>
                  <a:lnTo>
                    <a:pt x="1793875" y="769938"/>
                  </a:lnTo>
                  <a:lnTo>
                    <a:pt x="1796521" y="764646"/>
                  </a:lnTo>
                  <a:lnTo>
                    <a:pt x="1793875" y="764646"/>
                  </a:lnTo>
                  <a:lnTo>
                    <a:pt x="1793875" y="762000"/>
                  </a:lnTo>
                  <a:lnTo>
                    <a:pt x="1799167" y="759355"/>
                  </a:lnTo>
                  <a:lnTo>
                    <a:pt x="1804458" y="754063"/>
                  </a:lnTo>
                  <a:lnTo>
                    <a:pt x="1801813" y="754063"/>
                  </a:lnTo>
                  <a:lnTo>
                    <a:pt x="1788583" y="759355"/>
                  </a:lnTo>
                  <a:lnTo>
                    <a:pt x="1783292" y="764646"/>
                  </a:lnTo>
                  <a:lnTo>
                    <a:pt x="1783292" y="769938"/>
                  </a:lnTo>
                  <a:lnTo>
                    <a:pt x="1783292" y="772584"/>
                  </a:lnTo>
                  <a:lnTo>
                    <a:pt x="1780646" y="772584"/>
                  </a:lnTo>
                  <a:lnTo>
                    <a:pt x="1783292" y="777875"/>
                  </a:lnTo>
                  <a:lnTo>
                    <a:pt x="1780646" y="780521"/>
                  </a:lnTo>
                  <a:lnTo>
                    <a:pt x="1772708" y="777875"/>
                  </a:lnTo>
                  <a:lnTo>
                    <a:pt x="1780646" y="783167"/>
                  </a:lnTo>
                  <a:lnTo>
                    <a:pt x="1780646" y="785813"/>
                  </a:lnTo>
                  <a:lnTo>
                    <a:pt x="1783292" y="788459"/>
                  </a:lnTo>
                  <a:lnTo>
                    <a:pt x="1785938" y="793750"/>
                  </a:lnTo>
                  <a:lnTo>
                    <a:pt x="1780646" y="793750"/>
                  </a:lnTo>
                  <a:lnTo>
                    <a:pt x="1772708" y="793750"/>
                  </a:lnTo>
                  <a:lnTo>
                    <a:pt x="1775354" y="796396"/>
                  </a:lnTo>
                  <a:lnTo>
                    <a:pt x="1780646" y="799042"/>
                  </a:lnTo>
                  <a:lnTo>
                    <a:pt x="1783292" y="801688"/>
                  </a:lnTo>
                  <a:lnTo>
                    <a:pt x="1778000" y="806980"/>
                  </a:lnTo>
                  <a:lnTo>
                    <a:pt x="1780646" y="806980"/>
                  </a:lnTo>
                  <a:lnTo>
                    <a:pt x="1783292" y="806980"/>
                  </a:lnTo>
                  <a:lnTo>
                    <a:pt x="1785938" y="812271"/>
                  </a:lnTo>
                  <a:lnTo>
                    <a:pt x="1785938" y="820209"/>
                  </a:lnTo>
                  <a:lnTo>
                    <a:pt x="1785938" y="828146"/>
                  </a:lnTo>
                  <a:lnTo>
                    <a:pt x="1788583" y="844021"/>
                  </a:lnTo>
                  <a:lnTo>
                    <a:pt x="1785938" y="849313"/>
                  </a:lnTo>
                  <a:lnTo>
                    <a:pt x="1783292" y="851959"/>
                  </a:lnTo>
                  <a:lnTo>
                    <a:pt x="1772708" y="851959"/>
                  </a:lnTo>
                  <a:lnTo>
                    <a:pt x="1767417" y="851959"/>
                  </a:lnTo>
                  <a:lnTo>
                    <a:pt x="1764771" y="846667"/>
                  </a:lnTo>
                  <a:lnTo>
                    <a:pt x="1762125" y="854605"/>
                  </a:lnTo>
                  <a:lnTo>
                    <a:pt x="1764771" y="854605"/>
                  </a:lnTo>
                  <a:lnTo>
                    <a:pt x="1770063" y="854605"/>
                  </a:lnTo>
                  <a:lnTo>
                    <a:pt x="1775354" y="857250"/>
                  </a:lnTo>
                  <a:lnTo>
                    <a:pt x="1778000" y="857250"/>
                  </a:lnTo>
                  <a:lnTo>
                    <a:pt x="1780646" y="854605"/>
                  </a:lnTo>
                  <a:lnTo>
                    <a:pt x="1783292" y="857250"/>
                  </a:lnTo>
                  <a:lnTo>
                    <a:pt x="1783292" y="859896"/>
                  </a:lnTo>
                  <a:lnTo>
                    <a:pt x="1780646" y="865188"/>
                  </a:lnTo>
                  <a:lnTo>
                    <a:pt x="1775354" y="870480"/>
                  </a:lnTo>
                  <a:lnTo>
                    <a:pt x="1762125" y="867834"/>
                  </a:lnTo>
                  <a:lnTo>
                    <a:pt x="1756833" y="865188"/>
                  </a:lnTo>
                  <a:lnTo>
                    <a:pt x="1759479" y="870480"/>
                  </a:lnTo>
                  <a:lnTo>
                    <a:pt x="1762125" y="870480"/>
                  </a:lnTo>
                  <a:lnTo>
                    <a:pt x="1759479" y="873125"/>
                  </a:lnTo>
                  <a:lnTo>
                    <a:pt x="1756833" y="875771"/>
                  </a:lnTo>
                  <a:lnTo>
                    <a:pt x="1759479" y="875771"/>
                  </a:lnTo>
                  <a:lnTo>
                    <a:pt x="1764771" y="875771"/>
                  </a:lnTo>
                  <a:lnTo>
                    <a:pt x="1762125" y="881063"/>
                  </a:lnTo>
                  <a:lnTo>
                    <a:pt x="1759479" y="883709"/>
                  </a:lnTo>
                  <a:lnTo>
                    <a:pt x="1754188" y="886355"/>
                  </a:lnTo>
                  <a:lnTo>
                    <a:pt x="1746250" y="889000"/>
                  </a:lnTo>
                  <a:lnTo>
                    <a:pt x="1738313" y="891646"/>
                  </a:lnTo>
                  <a:lnTo>
                    <a:pt x="1733021" y="896938"/>
                  </a:lnTo>
                  <a:lnTo>
                    <a:pt x="1727729" y="902230"/>
                  </a:lnTo>
                  <a:lnTo>
                    <a:pt x="1725083" y="902230"/>
                  </a:lnTo>
                  <a:lnTo>
                    <a:pt x="1719792" y="904875"/>
                  </a:lnTo>
                  <a:lnTo>
                    <a:pt x="1711854" y="910167"/>
                  </a:lnTo>
                  <a:lnTo>
                    <a:pt x="1703917" y="918105"/>
                  </a:lnTo>
                  <a:lnTo>
                    <a:pt x="1701271" y="920750"/>
                  </a:lnTo>
                  <a:lnTo>
                    <a:pt x="1695979" y="920750"/>
                  </a:lnTo>
                  <a:lnTo>
                    <a:pt x="1690687" y="920750"/>
                  </a:lnTo>
                  <a:lnTo>
                    <a:pt x="1682750" y="923396"/>
                  </a:lnTo>
                  <a:lnTo>
                    <a:pt x="1672167" y="931334"/>
                  </a:lnTo>
                  <a:lnTo>
                    <a:pt x="1666875" y="939271"/>
                  </a:lnTo>
                  <a:lnTo>
                    <a:pt x="1664229" y="941917"/>
                  </a:lnTo>
                  <a:lnTo>
                    <a:pt x="1661583" y="941917"/>
                  </a:lnTo>
                  <a:lnTo>
                    <a:pt x="1658937" y="944563"/>
                  </a:lnTo>
                  <a:lnTo>
                    <a:pt x="1645708" y="955146"/>
                  </a:lnTo>
                  <a:lnTo>
                    <a:pt x="1640417" y="955146"/>
                  </a:lnTo>
                  <a:lnTo>
                    <a:pt x="1640417" y="952500"/>
                  </a:lnTo>
                  <a:lnTo>
                    <a:pt x="1637771" y="952500"/>
                  </a:lnTo>
                  <a:lnTo>
                    <a:pt x="1635125" y="955146"/>
                  </a:lnTo>
                  <a:lnTo>
                    <a:pt x="1632479" y="957792"/>
                  </a:lnTo>
                  <a:lnTo>
                    <a:pt x="1624542" y="955146"/>
                  </a:lnTo>
                  <a:lnTo>
                    <a:pt x="1621896" y="952500"/>
                  </a:lnTo>
                  <a:lnTo>
                    <a:pt x="1621896" y="955146"/>
                  </a:lnTo>
                  <a:lnTo>
                    <a:pt x="1624542" y="960438"/>
                  </a:lnTo>
                  <a:lnTo>
                    <a:pt x="1624542" y="963084"/>
                  </a:lnTo>
                  <a:lnTo>
                    <a:pt x="1621896" y="965730"/>
                  </a:lnTo>
                  <a:lnTo>
                    <a:pt x="1621896" y="968375"/>
                  </a:lnTo>
                  <a:lnTo>
                    <a:pt x="1621896" y="971021"/>
                  </a:lnTo>
                  <a:lnTo>
                    <a:pt x="1619250" y="971021"/>
                  </a:lnTo>
                  <a:lnTo>
                    <a:pt x="1616604" y="973667"/>
                  </a:lnTo>
                  <a:lnTo>
                    <a:pt x="1608667" y="978959"/>
                  </a:lnTo>
                  <a:lnTo>
                    <a:pt x="1592792" y="1000125"/>
                  </a:lnTo>
                  <a:lnTo>
                    <a:pt x="1587500" y="1013355"/>
                  </a:lnTo>
                  <a:lnTo>
                    <a:pt x="1587500" y="1018646"/>
                  </a:lnTo>
                  <a:lnTo>
                    <a:pt x="1584854" y="1023938"/>
                  </a:lnTo>
                  <a:lnTo>
                    <a:pt x="1582208" y="1031875"/>
                  </a:lnTo>
                  <a:lnTo>
                    <a:pt x="1582208" y="1045105"/>
                  </a:lnTo>
                  <a:lnTo>
                    <a:pt x="1587500" y="1071563"/>
                  </a:lnTo>
                  <a:lnTo>
                    <a:pt x="1587500" y="1076855"/>
                  </a:lnTo>
                  <a:lnTo>
                    <a:pt x="1590146" y="1076855"/>
                  </a:lnTo>
                  <a:lnTo>
                    <a:pt x="1590146" y="1079500"/>
                  </a:lnTo>
                  <a:lnTo>
                    <a:pt x="1592792" y="1100667"/>
                  </a:lnTo>
                  <a:lnTo>
                    <a:pt x="1592792" y="1108605"/>
                  </a:lnTo>
                  <a:lnTo>
                    <a:pt x="1592792" y="1111250"/>
                  </a:lnTo>
                  <a:lnTo>
                    <a:pt x="1590146" y="1108605"/>
                  </a:lnTo>
                  <a:lnTo>
                    <a:pt x="1587500" y="1098021"/>
                  </a:lnTo>
                  <a:lnTo>
                    <a:pt x="1587500" y="1111250"/>
                  </a:lnTo>
                  <a:lnTo>
                    <a:pt x="1592792" y="1119188"/>
                  </a:lnTo>
                  <a:lnTo>
                    <a:pt x="1595437" y="1127125"/>
                  </a:lnTo>
                  <a:lnTo>
                    <a:pt x="1595437" y="1132417"/>
                  </a:lnTo>
                  <a:lnTo>
                    <a:pt x="1598083" y="1137709"/>
                  </a:lnTo>
                  <a:lnTo>
                    <a:pt x="1598083" y="1148292"/>
                  </a:lnTo>
                  <a:lnTo>
                    <a:pt x="1587500" y="1172104"/>
                  </a:lnTo>
                  <a:lnTo>
                    <a:pt x="1584854" y="1180042"/>
                  </a:lnTo>
                  <a:lnTo>
                    <a:pt x="1584854" y="1182688"/>
                  </a:lnTo>
                  <a:lnTo>
                    <a:pt x="1584854" y="1185334"/>
                  </a:lnTo>
                  <a:lnTo>
                    <a:pt x="1579562" y="1187979"/>
                  </a:lnTo>
                  <a:lnTo>
                    <a:pt x="1576917" y="1187979"/>
                  </a:lnTo>
                  <a:lnTo>
                    <a:pt x="1574271" y="1187979"/>
                  </a:lnTo>
                  <a:lnTo>
                    <a:pt x="1574271" y="1190625"/>
                  </a:lnTo>
                  <a:lnTo>
                    <a:pt x="1571625" y="1190625"/>
                  </a:lnTo>
                  <a:lnTo>
                    <a:pt x="1568979" y="1190625"/>
                  </a:lnTo>
                  <a:lnTo>
                    <a:pt x="1566333" y="1193271"/>
                  </a:lnTo>
                  <a:lnTo>
                    <a:pt x="1558396" y="1193271"/>
                  </a:lnTo>
                  <a:lnTo>
                    <a:pt x="1553104" y="1190625"/>
                  </a:lnTo>
                  <a:lnTo>
                    <a:pt x="1553104" y="1185334"/>
                  </a:lnTo>
                  <a:lnTo>
                    <a:pt x="1555750" y="1185334"/>
                  </a:lnTo>
                  <a:lnTo>
                    <a:pt x="1558396" y="1187979"/>
                  </a:lnTo>
                  <a:lnTo>
                    <a:pt x="1558396" y="1185334"/>
                  </a:lnTo>
                  <a:lnTo>
                    <a:pt x="1558396" y="1182688"/>
                  </a:lnTo>
                  <a:lnTo>
                    <a:pt x="1561042" y="1180042"/>
                  </a:lnTo>
                  <a:lnTo>
                    <a:pt x="1563687" y="1180042"/>
                  </a:lnTo>
                  <a:lnTo>
                    <a:pt x="1561042" y="1177396"/>
                  </a:lnTo>
                  <a:lnTo>
                    <a:pt x="1555750" y="1174750"/>
                  </a:lnTo>
                  <a:lnTo>
                    <a:pt x="1553104" y="1169459"/>
                  </a:lnTo>
                  <a:lnTo>
                    <a:pt x="1550458" y="1166813"/>
                  </a:lnTo>
                  <a:lnTo>
                    <a:pt x="1545167" y="1166813"/>
                  </a:lnTo>
                  <a:lnTo>
                    <a:pt x="1542521" y="1164167"/>
                  </a:lnTo>
                  <a:lnTo>
                    <a:pt x="1542521" y="1153584"/>
                  </a:lnTo>
                  <a:lnTo>
                    <a:pt x="1539875" y="1145646"/>
                  </a:lnTo>
                  <a:lnTo>
                    <a:pt x="1539875" y="1143000"/>
                  </a:lnTo>
                  <a:lnTo>
                    <a:pt x="1542521" y="1137709"/>
                  </a:lnTo>
                  <a:lnTo>
                    <a:pt x="1542521" y="1135063"/>
                  </a:lnTo>
                  <a:lnTo>
                    <a:pt x="1537229" y="1135063"/>
                  </a:lnTo>
                  <a:lnTo>
                    <a:pt x="1531937" y="1119188"/>
                  </a:lnTo>
                  <a:lnTo>
                    <a:pt x="1531937" y="1111250"/>
                  </a:lnTo>
                  <a:lnTo>
                    <a:pt x="1531937" y="1108605"/>
                  </a:lnTo>
                  <a:lnTo>
                    <a:pt x="1531937" y="1103313"/>
                  </a:lnTo>
                  <a:lnTo>
                    <a:pt x="1531937" y="1100667"/>
                  </a:lnTo>
                  <a:lnTo>
                    <a:pt x="1531937" y="1095375"/>
                  </a:lnTo>
                  <a:lnTo>
                    <a:pt x="1539875" y="1082146"/>
                  </a:lnTo>
                  <a:lnTo>
                    <a:pt x="1542521" y="1071563"/>
                  </a:lnTo>
                  <a:lnTo>
                    <a:pt x="1542521" y="1066271"/>
                  </a:lnTo>
                  <a:lnTo>
                    <a:pt x="1539875" y="1063625"/>
                  </a:lnTo>
                  <a:lnTo>
                    <a:pt x="1534583" y="1058334"/>
                  </a:lnTo>
                  <a:lnTo>
                    <a:pt x="1534583" y="1053042"/>
                  </a:lnTo>
                  <a:lnTo>
                    <a:pt x="1531937" y="1047750"/>
                  </a:lnTo>
                  <a:lnTo>
                    <a:pt x="1526646" y="1045105"/>
                  </a:lnTo>
                  <a:lnTo>
                    <a:pt x="1521354" y="1042459"/>
                  </a:lnTo>
                  <a:lnTo>
                    <a:pt x="1518708" y="1037167"/>
                  </a:lnTo>
                  <a:lnTo>
                    <a:pt x="1513417" y="1037167"/>
                  </a:lnTo>
                  <a:lnTo>
                    <a:pt x="1505479" y="1039813"/>
                  </a:lnTo>
                  <a:lnTo>
                    <a:pt x="1494896" y="1045105"/>
                  </a:lnTo>
                  <a:lnTo>
                    <a:pt x="1489604" y="1045105"/>
                  </a:lnTo>
                  <a:lnTo>
                    <a:pt x="1486958" y="1045105"/>
                  </a:lnTo>
                  <a:lnTo>
                    <a:pt x="1484312" y="1045105"/>
                  </a:lnTo>
                  <a:lnTo>
                    <a:pt x="1479021" y="1047750"/>
                  </a:lnTo>
                  <a:lnTo>
                    <a:pt x="1476375" y="1047750"/>
                  </a:lnTo>
                  <a:lnTo>
                    <a:pt x="1473729" y="1045105"/>
                  </a:lnTo>
                  <a:lnTo>
                    <a:pt x="1476375" y="1042459"/>
                  </a:lnTo>
                  <a:lnTo>
                    <a:pt x="1479021" y="1039813"/>
                  </a:lnTo>
                  <a:lnTo>
                    <a:pt x="1476375" y="1037167"/>
                  </a:lnTo>
                  <a:lnTo>
                    <a:pt x="1447271" y="1031875"/>
                  </a:lnTo>
                  <a:lnTo>
                    <a:pt x="1439333" y="1026584"/>
                  </a:lnTo>
                  <a:lnTo>
                    <a:pt x="1447271" y="1026584"/>
                  </a:lnTo>
                  <a:lnTo>
                    <a:pt x="1457854" y="1023938"/>
                  </a:lnTo>
                  <a:lnTo>
                    <a:pt x="1441979" y="1023938"/>
                  </a:lnTo>
                  <a:lnTo>
                    <a:pt x="1436687" y="1023938"/>
                  </a:lnTo>
                  <a:lnTo>
                    <a:pt x="1434042" y="1023938"/>
                  </a:lnTo>
                  <a:lnTo>
                    <a:pt x="1434042" y="1026584"/>
                  </a:lnTo>
                  <a:lnTo>
                    <a:pt x="1436687" y="1026584"/>
                  </a:lnTo>
                  <a:lnTo>
                    <a:pt x="1434042" y="1029230"/>
                  </a:lnTo>
                  <a:lnTo>
                    <a:pt x="1426104" y="1029230"/>
                  </a:lnTo>
                  <a:lnTo>
                    <a:pt x="1418167" y="1029230"/>
                  </a:lnTo>
                  <a:lnTo>
                    <a:pt x="1410229" y="1023938"/>
                  </a:lnTo>
                  <a:lnTo>
                    <a:pt x="1410229" y="1026584"/>
                  </a:lnTo>
                  <a:lnTo>
                    <a:pt x="1399646" y="1031875"/>
                  </a:lnTo>
                  <a:lnTo>
                    <a:pt x="1394354" y="1031875"/>
                  </a:lnTo>
                  <a:lnTo>
                    <a:pt x="1391708" y="1029230"/>
                  </a:lnTo>
                  <a:lnTo>
                    <a:pt x="1391708" y="1021292"/>
                  </a:lnTo>
                  <a:lnTo>
                    <a:pt x="1389062" y="1031875"/>
                  </a:lnTo>
                  <a:lnTo>
                    <a:pt x="1389062" y="1034521"/>
                  </a:lnTo>
                  <a:lnTo>
                    <a:pt x="1383771" y="1034521"/>
                  </a:lnTo>
                  <a:lnTo>
                    <a:pt x="1370542" y="1034521"/>
                  </a:lnTo>
                  <a:lnTo>
                    <a:pt x="1365250" y="1034521"/>
                  </a:lnTo>
                  <a:lnTo>
                    <a:pt x="1359958" y="1034521"/>
                  </a:lnTo>
                  <a:lnTo>
                    <a:pt x="1352021" y="1031875"/>
                  </a:lnTo>
                  <a:lnTo>
                    <a:pt x="1346729" y="1029230"/>
                  </a:lnTo>
                  <a:lnTo>
                    <a:pt x="1344083" y="1031875"/>
                  </a:lnTo>
                  <a:lnTo>
                    <a:pt x="1344083" y="1037167"/>
                  </a:lnTo>
                  <a:lnTo>
                    <a:pt x="1344083" y="1039813"/>
                  </a:lnTo>
                  <a:lnTo>
                    <a:pt x="1352021" y="1039813"/>
                  </a:lnTo>
                  <a:lnTo>
                    <a:pt x="1359958" y="1042459"/>
                  </a:lnTo>
                  <a:lnTo>
                    <a:pt x="1359958" y="1045105"/>
                  </a:lnTo>
                  <a:lnTo>
                    <a:pt x="1359958" y="1047750"/>
                  </a:lnTo>
                  <a:lnTo>
                    <a:pt x="1359958" y="1050396"/>
                  </a:lnTo>
                  <a:lnTo>
                    <a:pt x="1362604" y="1053042"/>
                  </a:lnTo>
                  <a:lnTo>
                    <a:pt x="1365250" y="1053042"/>
                  </a:lnTo>
                  <a:lnTo>
                    <a:pt x="1365250" y="1055688"/>
                  </a:lnTo>
                  <a:lnTo>
                    <a:pt x="1365250" y="1058334"/>
                  </a:lnTo>
                  <a:lnTo>
                    <a:pt x="1367896" y="1060980"/>
                  </a:lnTo>
                  <a:lnTo>
                    <a:pt x="1370542" y="1063625"/>
                  </a:lnTo>
                  <a:lnTo>
                    <a:pt x="1367896" y="1066271"/>
                  </a:lnTo>
                  <a:lnTo>
                    <a:pt x="1359958" y="1066271"/>
                  </a:lnTo>
                  <a:lnTo>
                    <a:pt x="1357312" y="1063625"/>
                  </a:lnTo>
                  <a:lnTo>
                    <a:pt x="1354667" y="1060980"/>
                  </a:lnTo>
                  <a:lnTo>
                    <a:pt x="1352021" y="1063625"/>
                  </a:lnTo>
                  <a:lnTo>
                    <a:pt x="1349375" y="1066271"/>
                  </a:lnTo>
                  <a:lnTo>
                    <a:pt x="1344083" y="1063625"/>
                  </a:lnTo>
                  <a:lnTo>
                    <a:pt x="1338792" y="1060980"/>
                  </a:lnTo>
                  <a:lnTo>
                    <a:pt x="1330854" y="1060980"/>
                  </a:lnTo>
                  <a:lnTo>
                    <a:pt x="1322917" y="1058334"/>
                  </a:lnTo>
                  <a:lnTo>
                    <a:pt x="1320271" y="1055688"/>
                  </a:lnTo>
                  <a:lnTo>
                    <a:pt x="1317625" y="1053042"/>
                  </a:lnTo>
                  <a:lnTo>
                    <a:pt x="1317625" y="1055688"/>
                  </a:lnTo>
                  <a:lnTo>
                    <a:pt x="1314979" y="1055688"/>
                  </a:lnTo>
                  <a:lnTo>
                    <a:pt x="1312333" y="1053042"/>
                  </a:lnTo>
                  <a:lnTo>
                    <a:pt x="1309687" y="1047750"/>
                  </a:lnTo>
                  <a:lnTo>
                    <a:pt x="1307042" y="1047750"/>
                  </a:lnTo>
                  <a:lnTo>
                    <a:pt x="1304396" y="1050396"/>
                  </a:lnTo>
                  <a:lnTo>
                    <a:pt x="1299104" y="1053042"/>
                  </a:lnTo>
                  <a:lnTo>
                    <a:pt x="1293812" y="1053042"/>
                  </a:lnTo>
                  <a:lnTo>
                    <a:pt x="1288521" y="1053042"/>
                  </a:lnTo>
                  <a:lnTo>
                    <a:pt x="1277937" y="1047750"/>
                  </a:lnTo>
                  <a:lnTo>
                    <a:pt x="1272646" y="1045105"/>
                  </a:lnTo>
                  <a:lnTo>
                    <a:pt x="1267354" y="1042459"/>
                  </a:lnTo>
                  <a:lnTo>
                    <a:pt x="1259417" y="1045105"/>
                  </a:lnTo>
                  <a:lnTo>
                    <a:pt x="1248833" y="1050396"/>
                  </a:lnTo>
                  <a:lnTo>
                    <a:pt x="1232958" y="1060980"/>
                  </a:lnTo>
                  <a:lnTo>
                    <a:pt x="1227667" y="1063625"/>
                  </a:lnTo>
                  <a:lnTo>
                    <a:pt x="1230312" y="1060980"/>
                  </a:lnTo>
                  <a:lnTo>
                    <a:pt x="1230312" y="1058334"/>
                  </a:lnTo>
                  <a:lnTo>
                    <a:pt x="1230312" y="1055688"/>
                  </a:lnTo>
                  <a:lnTo>
                    <a:pt x="1230312" y="1050396"/>
                  </a:lnTo>
                  <a:lnTo>
                    <a:pt x="1235604" y="1045105"/>
                  </a:lnTo>
                  <a:lnTo>
                    <a:pt x="1225021" y="1050396"/>
                  </a:lnTo>
                  <a:lnTo>
                    <a:pt x="1225021" y="1053042"/>
                  </a:lnTo>
                  <a:lnTo>
                    <a:pt x="1225021" y="1055688"/>
                  </a:lnTo>
                  <a:lnTo>
                    <a:pt x="1222375" y="1058334"/>
                  </a:lnTo>
                  <a:lnTo>
                    <a:pt x="1222375" y="1060980"/>
                  </a:lnTo>
                  <a:lnTo>
                    <a:pt x="1225021" y="1063625"/>
                  </a:lnTo>
                  <a:lnTo>
                    <a:pt x="1222375" y="1066271"/>
                  </a:lnTo>
                  <a:lnTo>
                    <a:pt x="1214437" y="1068917"/>
                  </a:lnTo>
                  <a:lnTo>
                    <a:pt x="1209146" y="1071563"/>
                  </a:lnTo>
                  <a:lnTo>
                    <a:pt x="1203854" y="1076855"/>
                  </a:lnTo>
                  <a:lnTo>
                    <a:pt x="1198562" y="1079500"/>
                  </a:lnTo>
                  <a:lnTo>
                    <a:pt x="1195917" y="1079500"/>
                  </a:lnTo>
                  <a:lnTo>
                    <a:pt x="1193271" y="1079500"/>
                  </a:lnTo>
                  <a:lnTo>
                    <a:pt x="1190625" y="1079500"/>
                  </a:lnTo>
                  <a:lnTo>
                    <a:pt x="1187979" y="1082146"/>
                  </a:lnTo>
                  <a:lnTo>
                    <a:pt x="1185333" y="1082146"/>
                  </a:lnTo>
                  <a:lnTo>
                    <a:pt x="1180042" y="1079500"/>
                  </a:lnTo>
                  <a:lnTo>
                    <a:pt x="1180042" y="1082146"/>
                  </a:lnTo>
                  <a:lnTo>
                    <a:pt x="1180042" y="1084792"/>
                  </a:lnTo>
                  <a:lnTo>
                    <a:pt x="1177396" y="1084792"/>
                  </a:lnTo>
                  <a:lnTo>
                    <a:pt x="1177396" y="1087438"/>
                  </a:lnTo>
                  <a:lnTo>
                    <a:pt x="1177396" y="1092730"/>
                  </a:lnTo>
                  <a:lnTo>
                    <a:pt x="1174750" y="1095375"/>
                  </a:lnTo>
                  <a:lnTo>
                    <a:pt x="1169458" y="1092730"/>
                  </a:lnTo>
                  <a:lnTo>
                    <a:pt x="1169458" y="1095375"/>
                  </a:lnTo>
                  <a:lnTo>
                    <a:pt x="1166812" y="1100667"/>
                  </a:lnTo>
                  <a:lnTo>
                    <a:pt x="1164167" y="1105959"/>
                  </a:lnTo>
                  <a:lnTo>
                    <a:pt x="1158875" y="1108605"/>
                  </a:lnTo>
                  <a:lnTo>
                    <a:pt x="1156229" y="1111250"/>
                  </a:lnTo>
                  <a:lnTo>
                    <a:pt x="1150937" y="1113896"/>
                  </a:lnTo>
                  <a:lnTo>
                    <a:pt x="1148292" y="1119188"/>
                  </a:lnTo>
                  <a:lnTo>
                    <a:pt x="1145646" y="1119188"/>
                  </a:lnTo>
                  <a:lnTo>
                    <a:pt x="1143000" y="1119188"/>
                  </a:lnTo>
                  <a:lnTo>
                    <a:pt x="1143000" y="1121834"/>
                  </a:lnTo>
                  <a:lnTo>
                    <a:pt x="1140354" y="1121834"/>
                  </a:lnTo>
                  <a:lnTo>
                    <a:pt x="1135062" y="1121834"/>
                  </a:lnTo>
                  <a:lnTo>
                    <a:pt x="1135062" y="1124480"/>
                  </a:lnTo>
                  <a:lnTo>
                    <a:pt x="1135062" y="1127125"/>
                  </a:lnTo>
                  <a:lnTo>
                    <a:pt x="1135062" y="1135063"/>
                  </a:lnTo>
                  <a:lnTo>
                    <a:pt x="1132417" y="1143000"/>
                  </a:lnTo>
                  <a:lnTo>
                    <a:pt x="1129771" y="1145646"/>
                  </a:lnTo>
                  <a:lnTo>
                    <a:pt x="1127125" y="1148292"/>
                  </a:lnTo>
                  <a:lnTo>
                    <a:pt x="1127125" y="1153584"/>
                  </a:lnTo>
                  <a:lnTo>
                    <a:pt x="1129771" y="1156229"/>
                  </a:lnTo>
                  <a:lnTo>
                    <a:pt x="1127125" y="1158875"/>
                  </a:lnTo>
                  <a:lnTo>
                    <a:pt x="1127125" y="1164167"/>
                  </a:lnTo>
                  <a:lnTo>
                    <a:pt x="1124479" y="1172104"/>
                  </a:lnTo>
                  <a:lnTo>
                    <a:pt x="1098021" y="1166813"/>
                  </a:lnTo>
                  <a:lnTo>
                    <a:pt x="1084791" y="1161521"/>
                  </a:lnTo>
                  <a:lnTo>
                    <a:pt x="1082146" y="1158875"/>
                  </a:lnTo>
                  <a:lnTo>
                    <a:pt x="1079500" y="1156229"/>
                  </a:lnTo>
                  <a:lnTo>
                    <a:pt x="1079500" y="1145646"/>
                  </a:lnTo>
                  <a:lnTo>
                    <a:pt x="1076854" y="1135063"/>
                  </a:lnTo>
                  <a:lnTo>
                    <a:pt x="1074208" y="1129771"/>
                  </a:lnTo>
                  <a:lnTo>
                    <a:pt x="1068916" y="1119188"/>
                  </a:lnTo>
                  <a:lnTo>
                    <a:pt x="1063625" y="1092730"/>
                  </a:lnTo>
                  <a:lnTo>
                    <a:pt x="1058333" y="1071563"/>
                  </a:lnTo>
                  <a:lnTo>
                    <a:pt x="1050396" y="1060980"/>
                  </a:lnTo>
                  <a:lnTo>
                    <a:pt x="1045104" y="1053042"/>
                  </a:lnTo>
                  <a:lnTo>
                    <a:pt x="1034521" y="1050396"/>
                  </a:lnTo>
                  <a:lnTo>
                    <a:pt x="1021291" y="1045105"/>
                  </a:lnTo>
                  <a:lnTo>
                    <a:pt x="1018646" y="1045105"/>
                  </a:lnTo>
                  <a:lnTo>
                    <a:pt x="1016000" y="1045105"/>
                  </a:lnTo>
                  <a:lnTo>
                    <a:pt x="1013354" y="1047750"/>
                  </a:lnTo>
                  <a:lnTo>
                    <a:pt x="1008062" y="1047750"/>
                  </a:lnTo>
                  <a:lnTo>
                    <a:pt x="1005416" y="1050396"/>
                  </a:lnTo>
                  <a:lnTo>
                    <a:pt x="1000125" y="1055688"/>
                  </a:lnTo>
                  <a:lnTo>
                    <a:pt x="994833" y="1063625"/>
                  </a:lnTo>
                  <a:lnTo>
                    <a:pt x="989541" y="1063625"/>
                  </a:lnTo>
                  <a:lnTo>
                    <a:pt x="981604" y="1060980"/>
                  </a:lnTo>
                  <a:lnTo>
                    <a:pt x="971021" y="1053042"/>
                  </a:lnTo>
                  <a:lnTo>
                    <a:pt x="965729" y="1047750"/>
                  </a:lnTo>
                  <a:lnTo>
                    <a:pt x="965729" y="1045105"/>
                  </a:lnTo>
                  <a:lnTo>
                    <a:pt x="965729" y="1034521"/>
                  </a:lnTo>
                  <a:lnTo>
                    <a:pt x="965729" y="1026584"/>
                  </a:lnTo>
                  <a:lnTo>
                    <a:pt x="963083" y="1021292"/>
                  </a:lnTo>
                  <a:lnTo>
                    <a:pt x="957791" y="1016000"/>
                  </a:lnTo>
                  <a:lnTo>
                    <a:pt x="952500" y="1010709"/>
                  </a:lnTo>
                  <a:lnTo>
                    <a:pt x="949854" y="1008063"/>
                  </a:lnTo>
                  <a:lnTo>
                    <a:pt x="949854" y="1005417"/>
                  </a:lnTo>
                  <a:lnTo>
                    <a:pt x="944562" y="1000125"/>
                  </a:lnTo>
                  <a:lnTo>
                    <a:pt x="933979" y="992188"/>
                  </a:lnTo>
                  <a:lnTo>
                    <a:pt x="931333" y="989542"/>
                  </a:lnTo>
                  <a:lnTo>
                    <a:pt x="889000" y="989542"/>
                  </a:lnTo>
                  <a:lnTo>
                    <a:pt x="881062" y="1000125"/>
                  </a:lnTo>
                  <a:lnTo>
                    <a:pt x="817562" y="1000125"/>
                  </a:lnTo>
                  <a:lnTo>
                    <a:pt x="732896" y="965730"/>
                  </a:lnTo>
                  <a:lnTo>
                    <a:pt x="732896" y="960438"/>
                  </a:lnTo>
                  <a:lnTo>
                    <a:pt x="706437" y="960438"/>
                  </a:lnTo>
                  <a:lnTo>
                    <a:pt x="672041" y="960438"/>
                  </a:lnTo>
                  <a:lnTo>
                    <a:pt x="674687" y="955146"/>
                  </a:lnTo>
                  <a:lnTo>
                    <a:pt x="672041" y="952500"/>
                  </a:lnTo>
                  <a:lnTo>
                    <a:pt x="669396" y="952500"/>
                  </a:lnTo>
                  <a:lnTo>
                    <a:pt x="672041" y="947209"/>
                  </a:lnTo>
                  <a:lnTo>
                    <a:pt x="674687" y="944563"/>
                  </a:lnTo>
                  <a:lnTo>
                    <a:pt x="672041" y="939271"/>
                  </a:lnTo>
                  <a:lnTo>
                    <a:pt x="656166" y="926042"/>
                  </a:lnTo>
                  <a:lnTo>
                    <a:pt x="648229" y="920750"/>
                  </a:lnTo>
                  <a:lnTo>
                    <a:pt x="642937" y="918105"/>
                  </a:lnTo>
                  <a:lnTo>
                    <a:pt x="637646" y="915459"/>
                  </a:lnTo>
                  <a:lnTo>
                    <a:pt x="637646" y="912813"/>
                  </a:lnTo>
                  <a:lnTo>
                    <a:pt x="635000" y="907521"/>
                  </a:lnTo>
                  <a:lnTo>
                    <a:pt x="629708" y="904875"/>
                  </a:lnTo>
                  <a:lnTo>
                    <a:pt x="619125" y="902230"/>
                  </a:lnTo>
                  <a:lnTo>
                    <a:pt x="611187" y="899584"/>
                  </a:lnTo>
                  <a:lnTo>
                    <a:pt x="608541" y="896938"/>
                  </a:lnTo>
                  <a:lnTo>
                    <a:pt x="608541" y="891646"/>
                  </a:lnTo>
                  <a:lnTo>
                    <a:pt x="611187" y="886355"/>
                  </a:lnTo>
                  <a:lnTo>
                    <a:pt x="608541" y="883709"/>
                  </a:lnTo>
                  <a:lnTo>
                    <a:pt x="608541" y="881063"/>
                  </a:lnTo>
                  <a:lnTo>
                    <a:pt x="608541" y="878417"/>
                  </a:lnTo>
                  <a:lnTo>
                    <a:pt x="608541" y="875771"/>
                  </a:lnTo>
                  <a:lnTo>
                    <a:pt x="605896" y="873125"/>
                  </a:lnTo>
                  <a:lnTo>
                    <a:pt x="603250" y="870480"/>
                  </a:lnTo>
                  <a:lnTo>
                    <a:pt x="605896" y="867834"/>
                  </a:lnTo>
                  <a:lnTo>
                    <a:pt x="608541" y="862542"/>
                  </a:lnTo>
                  <a:lnTo>
                    <a:pt x="608541" y="859896"/>
                  </a:lnTo>
                  <a:lnTo>
                    <a:pt x="603250" y="851959"/>
                  </a:lnTo>
                  <a:lnTo>
                    <a:pt x="600604" y="844021"/>
                  </a:lnTo>
                  <a:lnTo>
                    <a:pt x="600604" y="841375"/>
                  </a:lnTo>
                  <a:lnTo>
                    <a:pt x="605896" y="838730"/>
                  </a:lnTo>
                  <a:lnTo>
                    <a:pt x="608541" y="833438"/>
                  </a:lnTo>
                  <a:lnTo>
                    <a:pt x="608541" y="830792"/>
                  </a:lnTo>
                  <a:lnTo>
                    <a:pt x="603250" y="822855"/>
                  </a:lnTo>
                  <a:lnTo>
                    <a:pt x="597958" y="812271"/>
                  </a:lnTo>
                  <a:lnTo>
                    <a:pt x="597958" y="809625"/>
                  </a:lnTo>
                  <a:lnTo>
                    <a:pt x="603250" y="806980"/>
                  </a:lnTo>
                  <a:lnTo>
                    <a:pt x="611187" y="801688"/>
                  </a:lnTo>
                  <a:lnTo>
                    <a:pt x="613833" y="799042"/>
                  </a:lnTo>
                  <a:lnTo>
                    <a:pt x="616479" y="796396"/>
                  </a:lnTo>
                  <a:lnTo>
                    <a:pt x="613833" y="796396"/>
                  </a:lnTo>
                  <a:lnTo>
                    <a:pt x="608541" y="799042"/>
                  </a:lnTo>
                  <a:lnTo>
                    <a:pt x="605896" y="801688"/>
                  </a:lnTo>
                  <a:lnTo>
                    <a:pt x="603250" y="801688"/>
                  </a:lnTo>
                  <a:lnTo>
                    <a:pt x="600604" y="799042"/>
                  </a:lnTo>
                  <a:lnTo>
                    <a:pt x="597958" y="793750"/>
                  </a:lnTo>
                  <a:lnTo>
                    <a:pt x="597958" y="788459"/>
                  </a:lnTo>
                  <a:lnTo>
                    <a:pt x="597958" y="783167"/>
                  </a:lnTo>
                  <a:lnTo>
                    <a:pt x="600604" y="777875"/>
                  </a:lnTo>
                  <a:lnTo>
                    <a:pt x="600604" y="769938"/>
                  </a:lnTo>
                  <a:lnTo>
                    <a:pt x="600604" y="756709"/>
                  </a:lnTo>
                  <a:lnTo>
                    <a:pt x="605896" y="743480"/>
                  </a:lnTo>
                  <a:lnTo>
                    <a:pt x="605896" y="738188"/>
                  </a:lnTo>
                  <a:lnTo>
                    <a:pt x="605896" y="735542"/>
                  </a:lnTo>
                  <a:lnTo>
                    <a:pt x="603250" y="730251"/>
                  </a:lnTo>
                  <a:lnTo>
                    <a:pt x="603250" y="727605"/>
                  </a:lnTo>
                  <a:lnTo>
                    <a:pt x="603250" y="722313"/>
                  </a:lnTo>
                  <a:lnTo>
                    <a:pt x="605896" y="717021"/>
                  </a:lnTo>
                  <a:lnTo>
                    <a:pt x="613833" y="711730"/>
                  </a:lnTo>
                  <a:lnTo>
                    <a:pt x="619125" y="706438"/>
                  </a:lnTo>
                  <a:lnTo>
                    <a:pt x="616479" y="703792"/>
                  </a:lnTo>
                  <a:lnTo>
                    <a:pt x="619125" y="701146"/>
                  </a:lnTo>
                  <a:lnTo>
                    <a:pt x="629708" y="695855"/>
                  </a:lnTo>
                  <a:lnTo>
                    <a:pt x="629708" y="690563"/>
                  </a:lnTo>
                  <a:lnTo>
                    <a:pt x="629708" y="674688"/>
                  </a:lnTo>
                  <a:lnTo>
                    <a:pt x="632354" y="669396"/>
                  </a:lnTo>
                  <a:lnTo>
                    <a:pt x="635000" y="661459"/>
                  </a:lnTo>
                  <a:lnTo>
                    <a:pt x="640291" y="653521"/>
                  </a:lnTo>
                  <a:lnTo>
                    <a:pt x="648229" y="648230"/>
                  </a:lnTo>
                  <a:lnTo>
                    <a:pt x="677333" y="616480"/>
                  </a:lnTo>
                  <a:lnTo>
                    <a:pt x="695854" y="590021"/>
                  </a:lnTo>
                  <a:lnTo>
                    <a:pt x="711729" y="568855"/>
                  </a:lnTo>
                  <a:lnTo>
                    <a:pt x="727604" y="571501"/>
                  </a:lnTo>
                  <a:lnTo>
                    <a:pt x="735541" y="574146"/>
                  </a:lnTo>
                  <a:lnTo>
                    <a:pt x="730250" y="568855"/>
                  </a:lnTo>
                  <a:lnTo>
                    <a:pt x="722312" y="566209"/>
                  </a:lnTo>
                  <a:lnTo>
                    <a:pt x="717021" y="563563"/>
                  </a:lnTo>
                  <a:lnTo>
                    <a:pt x="714375" y="560917"/>
                  </a:lnTo>
                  <a:lnTo>
                    <a:pt x="717021" y="558271"/>
                  </a:lnTo>
                  <a:lnTo>
                    <a:pt x="727604" y="542396"/>
                  </a:lnTo>
                  <a:lnTo>
                    <a:pt x="730250" y="534459"/>
                  </a:lnTo>
                  <a:lnTo>
                    <a:pt x="732896" y="526521"/>
                  </a:lnTo>
                  <a:lnTo>
                    <a:pt x="732896" y="518584"/>
                  </a:lnTo>
                  <a:lnTo>
                    <a:pt x="735541" y="508001"/>
                  </a:lnTo>
                  <a:lnTo>
                    <a:pt x="740833" y="502709"/>
                  </a:lnTo>
                  <a:lnTo>
                    <a:pt x="746125" y="502709"/>
                  </a:lnTo>
                  <a:lnTo>
                    <a:pt x="751416" y="505355"/>
                  </a:lnTo>
                  <a:lnTo>
                    <a:pt x="762000" y="508001"/>
                  </a:lnTo>
                  <a:lnTo>
                    <a:pt x="772583" y="508001"/>
                  </a:lnTo>
                  <a:lnTo>
                    <a:pt x="780521" y="508001"/>
                  </a:lnTo>
                  <a:lnTo>
                    <a:pt x="783166" y="510646"/>
                  </a:lnTo>
                  <a:lnTo>
                    <a:pt x="783166" y="513292"/>
                  </a:lnTo>
                  <a:lnTo>
                    <a:pt x="780521" y="518584"/>
                  </a:lnTo>
                  <a:lnTo>
                    <a:pt x="780521" y="523876"/>
                  </a:lnTo>
                  <a:lnTo>
                    <a:pt x="783166" y="526521"/>
                  </a:lnTo>
                  <a:lnTo>
                    <a:pt x="788458" y="515938"/>
                  </a:lnTo>
                  <a:lnTo>
                    <a:pt x="793750" y="510646"/>
                  </a:lnTo>
                  <a:lnTo>
                    <a:pt x="796396" y="508001"/>
                  </a:lnTo>
                  <a:lnTo>
                    <a:pt x="804333" y="505355"/>
                  </a:lnTo>
                  <a:lnTo>
                    <a:pt x="806979" y="505355"/>
                  </a:lnTo>
                  <a:lnTo>
                    <a:pt x="801687" y="500063"/>
                  </a:lnTo>
                  <a:lnTo>
                    <a:pt x="799041" y="494771"/>
                  </a:lnTo>
                  <a:lnTo>
                    <a:pt x="801687" y="494771"/>
                  </a:lnTo>
                  <a:lnTo>
                    <a:pt x="806979" y="492126"/>
                  </a:lnTo>
                  <a:lnTo>
                    <a:pt x="801687" y="486834"/>
                  </a:lnTo>
                  <a:lnTo>
                    <a:pt x="1444625" y="486834"/>
                  </a:lnTo>
                  <a:lnTo>
                    <a:pt x="1452562" y="484188"/>
                  </a:lnTo>
                  <a:lnTo>
                    <a:pt x="1457854" y="476251"/>
                  </a:lnTo>
                  <a:lnTo>
                    <a:pt x="1463146" y="470959"/>
                  </a:lnTo>
                  <a:lnTo>
                    <a:pt x="1465792" y="470959"/>
                  </a:lnTo>
                  <a:close/>
                  <a:moveTo>
                    <a:pt x="296333" y="272521"/>
                  </a:moveTo>
                  <a:lnTo>
                    <a:pt x="301625" y="275167"/>
                  </a:lnTo>
                  <a:lnTo>
                    <a:pt x="306916" y="277813"/>
                  </a:lnTo>
                  <a:lnTo>
                    <a:pt x="312208" y="277813"/>
                  </a:lnTo>
                  <a:lnTo>
                    <a:pt x="317500" y="277813"/>
                  </a:lnTo>
                  <a:lnTo>
                    <a:pt x="317500" y="280459"/>
                  </a:lnTo>
                  <a:lnTo>
                    <a:pt x="320145" y="283105"/>
                  </a:lnTo>
                  <a:lnTo>
                    <a:pt x="322791" y="285750"/>
                  </a:lnTo>
                  <a:lnTo>
                    <a:pt x="325437" y="285750"/>
                  </a:lnTo>
                  <a:lnTo>
                    <a:pt x="322791" y="288396"/>
                  </a:lnTo>
                  <a:lnTo>
                    <a:pt x="320145" y="288396"/>
                  </a:lnTo>
                  <a:lnTo>
                    <a:pt x="320145" y="291042"/>
                  </a:lnTo>
                  <a:lnTo>
                    <a:pt x="322791" y="296334"/>
                  </a:lnTo>
                  <a:lnTo>
                    <a:pt x="322791" y="298980"/>
                  </a:lnTo>
                  <a:lnTo>
                    <a:pt x="317500" y="298980"/>
                  </a:lnTo>
                  <a:lnTo>
                    <a:pt x="304270" y="298980"/>
                  </a:lnTo>
                  <a:lnTo>
                    <a:pt x="312208" y="301626"/>
                  </a:lnTo>
                  <a:lnTo>
                    <a:pt x="309562" y="304271"/>
                  </a:lnTo>
                  <a:lnTo>
                    <a:pt x="304270" y="306917"/>
                  </a:lnTo>
                  <a:lnTo>
                    <a:pt x="296333" y="306917"/>
                  </a:lnTo>
                  <a:lnTo>
                    <a:pt x="291041" y="306917"/>
                  </a:lnTo>
                  <a:lnTo>
                    <a:pt x="285750" y="306917"/>
                  </a:lnTo>
                  <a:lnTo>
                    <a:pt x="283104" y="306917"/>
                  </a:lnTo>
                  <a:lnTo>
                    <a:pt x="269875" y="312209"/>
                  </a:lnTo>
                  <a:lnTo>
                    <a:pt x="256646" y="312209"/>
                  </a:lnTo>
                  <a:lnTo>
                    <a:pt x="251354" y="312209"/>
                  </a:lnTo>
                  <a:lnTo>
                    <a:pt x="259291" y="309563"/>
                  </a:lnTo>
                  <a:lnTo>
                    <a:pt x="264583" y="304271"/>
                  </a:lnTo>
                  <a:lnTo>
                    <a:pt x="256646" y="306917"/>
                  </a:lnTo>
                  <a:lnTo>
                    <a:pt x="246062" y="306917"/>
                  </a:lnTo>
                  <a:lnTo>
                    <a:pt x="246062" y="304271"/>
                  </a:lnTo>
                  <a:lnTo>
                    <a:pt x="246062" y="301626"/>
                  </a:lnTo>
                  <a:lnTo>
                    <a:pt x="243417" y="298980"/>
                  </a:lnTo>
                  <a:lnTo>
                    <a:pt x="238125" y="296334"/>
                  </a:lnTo>
                  <a:lnTo>
                    <a:pt x="235479" y="293688"/>
                  </a:lnTo>
                  <a:lnTo>
                    <a:pt x="238125" y="293688"/>
                  </a:lnTo>
                  <a:lnTo>
                    <a:pt x="246062" y="288396"/>
                  </a:lnTo>
                  <a:lnTo>
                    <a:pt x="267229" y="285750"/>
                  </a:lnTo>
                  <a:lnTo>
                    <a:pt x="269875" y="285750"/>
                  </a:lnTo>
                  <a:lnTo>
                    <a:pt x="272521" y="285750"/>
                  </a:lnTo>
                  <a:lnTo>
                    <a:pt x="272521" y="288396"/>
                  </a:lnTo>
                  <a:lnTo>
                    <a:pt x="275166" y="288396"/>
                  </a:lnTo>
                  <a:lnTo>
                    <a:pt x="277812" y="285750"/>
                  </a:lnTo>
                  <a:lnTo>
                    <a:pt x="275166" y="285750"/>
                  </a:lnTo>
                  <a:lnTo>
                    <a:pt x="275166" y="283105"/>
                  </a:lnTo>
                  <a:lnTo>
                    <a:pt x="275166" y="280459"/>
                  </a:lnTo>
                  <a:lnTo>
                    <a:pt x="280458" y="280459"/>
                  </a:lnTo>
                  <a:lnTo>
                    <a:pt x="283104" y="280459"/>
                  </a:lnTo>
                  <a:lnTo>
                    <a:pt x="283104" y="283105"/>
                  </a:lnTo>
                  <a:lnTo>
                    <a:pt x="285750" y="280459"/>
                  </a:lnTo>
                  <a:lnTo>
                    <a:pt x="291041" y="275167"/>
                  </a:lnTo>
                  <a:close/>
                  <a:moveTo>
                    <a:pt x="669396" y="0"/>
                  </a:moveTo>
                  <a:lnTo>
                    <a:pt x="693208" y="0"/>
                  </a:lnTo>
                  <a:lnTo>
                    <a:pt x="706437" y="0"/>
                  </a:lnTo>
                  <a:lnTo>
                    <a:pt x="706437" y="2646"/>
                  </a:lnTo>
                  <a:lnTo>
                    <a:pt x="703792" y="2646"/>
                  </a:lnTo>
                  <a:lnTo>
                    <a:pt x="701146" y="7937"/>
                  </a:lnTo>
                  <a:lnTo>
                    <a:pt x="706437" y="7937"/>
                  </a:lnTo>
                  <a:lnTo>
                    <a:pt x="717021" y="5292"/>
                  </a:lnTo>
                  <a:lnTo>
                    <a:pt x="714375" y="2646"/>
                  </a:lnTo>
                  <a:lnTo>
                    <a:pt x="711729" y="0"/>
                  </a:lnTo>
                  <a:lnTo>
                    <a:pt x="714375" y="0"/>
                  </a:lnTo>
                  <a:lnTo>
                    <a:pt x="722312" y="0"/>
                  </a:lnTo>
                  <a:lnTo>
                    <a:pt x="727604" y="2646"/>
                  </a:lnTo>
                  <a:lnTo>
                    <a:pt x="732896" y="2646"/>
                  </a:lnTo>
                  <a:lnTo>
                    <a:pt x="748771" y="2646"/>
                  </a:lnTo>
                  <a:lnTo>
                    <a:pt x="764646" y="2646"/>
                  </a:lnTo>
                  <a:lnTo>
                    <a:pt x="767292" y="2646"/>
                  </a:lnTo>
                  <a:lnTo>
                    <a:pt x="767292" y="5292"/>
                  </a:lnTo>
                  <a:lnTo>
                    <a:pt x="762000" y="7937"/>
                  </a:lnTo>
                  <a:lnTo>
                    <a:pt x="751417" y="13229"/>
                  </a:lnTo>
                  <a:lnTo>
                    <a:pt x="762000" y="15875"/>
                  </a:lnTo>
                  <a:lnTo>
                    <a:pt x="769937" y="15875"/>
                  </a:lnTo>
                  <a:lnTo>
                    <a:pt x="780521" y="13229"/>
                  </a:lnTo>
                  <a:lnTo>
                    <a:pt x="788458" y="10583"/>
                  </a:lnTo>
                  <a:lnTo>
                    <a:pt x="791104" y="10583"/>
                  </a:lnTo>
                  <a:lnTo>
                    <a:pt x="796396" y="10583"/>
                  </a:lnTo>
                  <a:lnTo>
                    <a:pt x="804333" y="13229"/>
                  </a:lnTo>
                  <a:lnTo>
                    <a:pt x="809625" y="13229"/>
                  </a:lnTo>
                  <a:lnTo>
                    <a:pt x="814917" y="13229"/>
                  </a:lnTo>
                  <a:lnTo>
                    <a:pt x="825500" y="13229"/>
                  </a:lnTo>
                  <a:lnTo>
                    <a:pt x="833437" y="13229"/>
                  </a:lnTo>
                  <a:lnTo>
                    <a:pt x="844021" y="13229"/>
                  </a:lnTo>
                  <a:lnTo>
                    <a:pt x="859896" y="13229"/>
                  </a:lnTo>
                  <a:lnTo>
                    <a:pt x="889000" y="23812"/>
                  </a:lnTo>
                  <a:lnTo>
                    <a:pt x="891646" y="18521"/>
                  </a:lnTo>
                  <a:lnTo>
                    <a:pt x="894291" y="13229"/>
                  </a:lnTo>
                  <a:lnTo>
                    <a:pt x="899583" y="10583"/>
                  </a:lnTo>
                  <a:lnTo>
                    <a:pt x="902229" y="10583"/>
                  </a:lnTo>
                  <a:lnTo>
                    <a:pt x="907521" y="10583"/>
                  </a:lnTo>
                  <a:lnTo>
                    <a:pt x="912812" y="13229"/>
                  </a:lnTo>
                  <a:lnTo>
                    <a:pt x="915458" y="18521"/>
                  </a:lnTo>
                  <a:lnTo>
                    <a:pt x="920750" y="18521"/>
                  </a:lnTo>
                  <a:lnTo>
                    <a:pt x="928687" y="18521"/>
                  </a:lnTo>
                  <a:lnTo>
                    <a:pt x="939271" y="21167"/>
                  </a:lnTo>
                  <a:lnTo>
                    <a:pt x="941916" y="21167"/>
                  </a:lnTo>
                  <a:lnTo>
                    <a:pt x="947208" y="26458"/>
                  </a:lnTo>
                  <a:lnTo>
                    <a:pt x="886354" y="60854"/>
                  </a:lnTo>
                  <a:lnTo>
                    <a:pt x="817562" y="103188"/>
                  </a:lnTo>
                  <a:lnTo>
                    <a:pt x="738187" y="156104"/>
                  </a:lnTo>
                  <a:lnTo>
                    <a:pt x="695854" y="185209"/>
                  </a:lnTo>
                  <a:lnTo>
                    <a:pt x="653521" y="216959"/>
                  </a:lnTo>
                  <a:lnTo>
                    <a:pt x="661458" y="216959"/>
                  </a:lnTo>
                  <a:lnTo>
                    <a:pt x="669396" y="216959"/>
                  </a:lnTo>
                  <a:lnTo>
                    <a:pt x="677333" y="219604"/>
                  </a:lnTo>
                  <a:lnTo>
                    <a:pt x="679979" y="219604"/>
                  </a:lnTo>
                  <a:lnTo>
                    <a:pt x="685271" y="219604"/>
                  </a:lnTo>
                  <a:lnTo>
                    <a:pt x="687917" y="219604"/>
                  </a:lnTo>
                  <a:lnTo>
                    <a:pt x="690562" y="230188"/>
                  </a:lnTo>
                  <a:lnTo>
                    <a:pt x="695854" y="235479"/>
                  </a:lnTo>
                  <a:lnTo>
                    <a:pt x="701146" y="238125"/>
                  </a:lnTo>
                  <a:lnTo>
                    <a:pt x="711729" y="238125"/>
                  </a:lnTo>
                  <a:lnTo>
                    <a:pt x="717021" y="235479"/>
                  </a:lnTo>
                  <a:lnTo>
                    <a:pt x="722312" y="232834"/>
                  </a:lnTo>
                  <a:lnTo>
                    <a:pt x="730250" y="232834"/>
                  </a:lnTo>
                  <a:lnTo>
                    <a:pt x="738187" y="232834"/>
                  </a:lnTo>
                  <a:lnTo>
                    <a:pt x="738187" y="230188"/>
                  </a:lnTo>
                  <a:lnTo>
                    <a:pt x="740833" y="227542"/>
                  </a:lnTo>
                  <a:lnTo>
                    <a:pt x="748771" y="224896"/>
                  </a:lnTo>
                  <a:lnTo>
                    <a:pt x="764646" y="224896"/>
                  </a:lnTo>
                  <a:lnTo>
                    <a:pt x="759354" y="230188"/>
                  </a:lnTo>
                  <a:lnTo>
                    <a:pt x="759354" y="232834"/>
                  </a:lnTo>
                  <a:lnTo>
                    <a:pt x="759354" y="238125"/>
                  </a:lnTo>
                  <a:lnTo>
                    <a:pt x="762000" y="254000"/>
                  </a:lnTo>
                  <a:lnTo>
                    <a:pt x="762000" y="272521"/>
                  </a:lnTo>
                  <a:lnTo>
                    <a:pt x="762000" y="280459"/>
                  </a:lnTo>
                  <a:lnTo>
                    <a:pt x="759354" y="288396"/>
                  </a:lnTo>
                  <a:lnTo>
                    <a:pt x="759354" y="293688"/>
                  </a:lnTo>
                  <a:lnTo>
                    <a:pt x="762000" y="293688"/>
                  </a:lnTo>
                  <a:lnTo>
                    <a:pt x="762000" y="296334"/>
                  </a:lnTo>
                  <a:lnTo>
                    <a:pt x="759354" y="298980"/>
                  </a:lnTo>
                  <a:lnTo>
                    <a:pt x="759354" y="301625"/>
                  </a:lnTo>
                  <a:lnTo>
                    <a:pt x="759354" y="304271"/>
                  </a:lnTo>
                  <a:lnTo>
                    <a:pt x="764646" y="309563"/>
                  </a:lnTo>
                  <a:lnTo>
                    <a:pt x="769937" y="314855"/>
                  </a:lnTo>
                  <a:lnTo>
                    <a:pt x="769937" y="317500"/>
                  </a:lnTo>
                  <a:lnTo>
                    <a:pt x="767292" y="320146"/>
                  </a:lnTo>
                  <a:lnTo>
                    <a:pt x="762000" y="325438"/>
                  </a:lnTo>
                  <a:lnTo>
                    <a:pt x="759354" y="328084"/>
                  </a:lnTo>
                  <a:lnTo>
                    <a:pt x="756708" y="333375"/>
                  </a:lnTo>
                  <a:lnTo>
                    <a:pt x="748771" y="336021"/>
                  </a:lnTo>
                  <a:lnTo>
                    <a:pt x="751417" y="328084"/>
                  </a:lnTo>
                  <a:lnTo>
                    <a:pt x="754062" y="322792"/>
                  </a:lnTo>
                  <a:lnTo>
                    <a:pt x="751417" y="320146"/>
                  </a:lnTo>
                  <a:lnTo>
                    <a:pt x="748771" y="320146"/>
                  </a:lnTo>
                  <a:lnTo>
                    <a:pt x="746125" y="320146"/>
                  </a:lnTo>
                  <a:lnTo>
                    <a:pt x="746125" y="317500"/>
                  </a:lnTo>
                  <a:lnTo>
                    <a:pt x="746125" y="312209"/>
                  </a:lnTo>
                  <a:lnTo>
                    <a:pt x="748771" y="306917"/>
                  </a:lnTo>
                  <a:lnTo>
                    <a:pt x="751417" y="304271"/>
                  </a:lnTo>
                  <a:lnTo>
                    <a:pt x="751417" y="301625"/>
                  </a:lnTo>
                  <a:lnTo>
                    <a:pt x="746125" y="296334"/>
                  </a:lnTo>
                  <a:lnTo>
                    <a:pt x="743479" y="291042"/>
                  </a:lnTo>
                  <a:lnTo>
                    <a:pt x="746125" y="288396"/>
                  </a:lnTo>
                  <a:lnTo>
                    <a:pt x="748771" y="280459"/>
                  </a:lnTo>
                  <a:lnTo>
                    <a:pt x="748771" y="275167"/>
                  </a:lnTo>
                  <a:lnTo>
                    <a:pt x="746125" y="269875"/>
                  </a:lnTo>
                  <a:lnTo>
                    <a:pt x="743479" y="259292"/>
                  </a:lnTo>
                  <a:lnTo>
                    <a:pt x="746125" y="256646"/>
                  </a:lnTo>
                  <a:lnTo>
                    <a:pt x="748771" y="251354"/>
                  </a:lnTo>
                  <a:lnTo>
                    <a:pt x="754062" y="240771"/>
                  </a:lnTo>
                  <a:lnTo>
                    <a:pt x="751417" y="238125"/>
                  </a:lnTo>
                  <a:lnTo>
                    <a:pt x="743479" y="240771"/>
                  </a:lnTo>
                  <a:lnTo>
                    <a:pt x="732896" y="248709"/>
                  </a:lnTo>
                  <a:lnTo>
                    <a:pt x="727604" y="254000"/>
                  </a:lnTo>
                  <a:lnTo>
                    <a:pt x="724958" y="256646"/>
                  </a:lnTo>
                  <a:lnTo>
                    <a:pt x="719667" y="254000"/>
                  </a:lnTo>
                  <a:lnTo>
                    <a:pt x="719667" y="251354"/>
                  </a:lnTo>
                  <a:lnTo>
                    <a:pt x="717021" y="248709"/>
                  </a:lnTo>
                  <a:lnTo>
                    <a:pt x="714375" y="246063"/>
                  </a:lnTo>
                  <a:lnTo>
                    <a:pt x="709083" y="248709"/>
                  </a:lnTo>
                  <a:lnTo>
                    <a:pt x="701146" y="251354"/>
                  </a:lnTo>
                  <a:lnTo>
                    <a:pt x="693208" y="256646"/>
                  </a:lnTo>
                  <a:lnTo>
                    <a:pt x="687917" y="254000"/>
                  </a:lnTo>
                  <a:lnTo>
                    <a:pt x="682625" y="251354"/>
                  </a:lnTo>
                  <a:lnTo>
                    <a:pt x="682625" y="248709"/>
                  </a:lnTo>
                  <a:lnTo>
                    <a:pt x="685271" y="246063"/>
                  </a:lnTo>
                  <a:lnTo>
                    <a:pt x="687917" y="243417"/>
                  </a:lnTo>
                  <a:lnTo>
                    <a:pt x="685271" y="243417"/>
                  </a:lnTo>
                  <a:lnTo>
                    <a:pt x="682625" y="240771"/>
                  </a:lnTo>
                  <a:lnTo>
                    <a:pt x="677333" y="235479"/>
                  </a:lnTo>
                  <a:lnTo>
                    <a:pt x="679979" y="230188"/>
                  </a:lnTo>
                  <a:lnTo>
                    <a:pt x="682625" y="227542"/>
                  </a:lnTo>
                  <a:lnTo>
                    <a:pt x="674687" y="227542"/>
                  </a:lnTo>
                  <a:lnTo>
                    <a:pt x="650875" y="230188"/>
                  </a:lnTo>
                  <a:lnTo>
                    <a:pt x="629708" y="227542"/>
                  </a:lnTo>
                  <a:lnTo>
                    <a:pt x="616479" y="222250"/>
                  </a:lnTo>
                  <a:lnTo>
                    <a:pt x="605896" y="219604"/>
                  </a:lnTo>
                  <a:lnTo>
                    <a:pt x="587375" y="222250"/>
                  </a:lnTo>
                  <a:lnTo>
                    <a:pt x="568854" y="222250"/>
                  </a:lnTo>
                  <a:lnTo>
                    <a:pt x="560916" y="219604"/>
                  </a:lnTo>
                  <a:lnTo>
                    <a:pt x="558271" y="216959"/>
                  </a:lnTo>
                  <a:lnTo>
                    <a:pt x="550333" y="214313"/>
                  </a:lnTo>
                  <a:lnTo>
                    <a:pt x="542396" y="214313"/>
                  </a:lnTo>
                  <a:lnTo>
                    <a:pt x="539750" y="211667"/>
                  </a:lnTo>
                  <a:lnTo>
                    <a:pt x="539750" y="209021"/>
                  </a:lnTo>
                  <a:lnTo>
                    <a:pt x="542396" y="206375"/>
                  </a:lnTo>
                  <a:lnTo>
                    <a:pt x="550333" y="201084"/>
                  </a:lnTo>
                  <a:lnTo>
                    <a:pt x="545041" y="201084"/>
                  </a:lnTo>
                  <a:lnTo>
                    <a:pt x="539750" y="198438"/>
                  </a:lnTo>
                  <a:lnTo>
                    <a:pt x="537104" y="198438"/>
                  </a:lnTo>
                  <a:lnTo>
                    <a:pt x="531812" y="190500"/>
                  </a:lnTo>
                  <a:lnTo>
                    <a:pt x="529166" y="187854"/>
                  </a:lnTo>
                  <a:lnTo>
                    <a:pt x="526521" y="185209"/>
                  </a:lnTo>
                  <a:lnTo>
                    <a:pt x="523875" y="187854"/>
                  </a:lnTo>
                  <a:lnTo>
                    <a:pt x="508000" y="193146"/>
                  </a:lnTo>
                  <a:lnTo>
                    <a:pt x="497416" y="193146"/>
                  </a:lnTo>
                  <a:lnTo>
                    <a:pt x="489479" y="195792"/>
                  </a:lnTo>
                  <a:lnTo>
                    <a:pt x="484187" y="198438"/>
                  </a:lnTo>
                  <a:lnTo>
                    <a:pt x="481541" y="203729"/>
                  </a:lnTo>
                  <a:lnTo>
                    <a:pt x="481541" y="209021"/>
                  </a:lnTo>
                  <a:lnTo>
                    <a:pt x="481541" y="211667"/>
                  </a:lnTo>
                  <a:lnTo>
                    <a:pt x="481541" y="214313"/>
                  </a:lnTo>
                  <a:lnTo>
                    <a:pt x="486833" y="214313"/>
                  </a:lnTo>
                  <a:lnTo>
                    <a:pt x="500062" y="214313"/>
                  </a:lnTo>
                  <a:lnTo>
                    <a:pt x="518583" y="211667"/>
                  </a:lnTo>
                  <a:lnTo>
                    <a:pt x="505354" y="219604"/>
                  </a:lnTo>
                  <a:lnTo>
                    <a:pt x="494771" y="222250"/>
                  </a:lnTo>
                  <a:lnTo>
                    <a:pt x="481541" y="222250"/>
                  </a:lnTo>
                  <a:lnTo>
                    <a:pt x="473604" y="222250"/>
                  </a:lnTo>
                  <a:lnTo>
                    <a:pt x="468312" y="222250"/>
                  </a:lnTo>
                  <a:lnTo>
                    <a:pt x="463021" y="224896"/>
                  </a:lnTo>
                  <a:lnTo>
                    <a:pt x="460375" y="224896"/>
                  </a:lnTo>
                  <a:lnTo>
                    <a:pt x="452437" y="224896"/>
                  </a:lnTo>
                  <a:lnTo>
                    <a:pt x="441854" y="227542"/>
                  </a:lnTo>
                  <a:lnTo>
                    <a:pt x="425979" y="235479"/>
                  </a:lnTo>
                  <a:lnTo>
                    <a:pt x="412750" y="238125"/>
                  </a:lnTo>
                  <a:lnTo>
                    <a:pt x="402166" y="238125"/>
                  </a:lnTo>
                  <a:lnTo>
                    <a:pt x="402166" y="235479"/>
                  </a:lnTo>
                  <a:lnTo>
                    <a:pt x="399521" y="232834"/>
                  </a:lnTo>
                  <a:lnTo>
                    <a:pt x="402166" y="230188"/>
                  </a:lnTo>
                  <a:lnTo>
                    <a:pt x="404812" y="227542"/>
                  </a:lnTo>
                  <a:lnTo>
                    <a:pt x="418041" y="227542"/>
                  </a:lnTo>
                  <a:lnTo>
                    <a:pt x="428625" y="224896"/>
                  </a:lnTo>
                  <a:lnTo>
                    <a:pt x="433916" y="222250"/>
                  </a:lnTo>
                  <a:lnTo>
                    <a:pt x="439208" y="216959"/>
                  </a:lnTo>
                  <a:lnTo>
                    <a:pt x="412750" y="222250"/>
                  </a:lnTo>
                  <a:lnTo>
                    <a:pt x="404812" y="222250"/>
                  </a:lnTo>
                  <a:lnTo>
                    <a:pt x="404812" y="219604"/>
                  </a:lnTo>
                  <a:lnTo>
                    <a:pt x="407458" y="216959"/>
                  </a:lnTo>
                  <a:lnTo>
                    <a:pt x="415396" y="209021"/>
                  </a:lnTo>
                  <a:lnTo>
                    <a:pt x="431271" y="198438"/>
                  </a:lnTo>
                  <a:lnTo>
                    <a:pt x="447146" y="190500"/>
                  </a:lnTo>
                  <a:lnTo>
                    <a:pt x="457729" y="187854"/>
                  </a:lnTo>
                  <a:lnTo>
                    <a:pt x="465666" y="187854"/>
                  </a:lnTo>
                  <a:lnTo>
                    <a:pt x="457729" y="185209"/>
                  </a:lnTo>
                  <a:lnTo>
                    <a:pt x="457729" y="179917"/>
                  </a:lnTo>
                  <a:lnTo>
                    <a:pt x="460375" y="174625"/>
                  </a:lnTo>
                  <a:lnTo>
                    <a:pt x="468312" y="166688"/>
                  </a:lnTo>
                  <a:lnTo>
                    <a:pt x="444500" y="182563"/>
                  </a:lnTo>
                  <a:lnTo>
                    <a:pt x="428625" y="190500"/>
                  </a:lnTo>
                  <a:lnTo>
                    <a:pt x="418041" y="193146"/>
                  </a:lnTo>
                  <a:lnTo>
                    <a:pt x="402166" y="193146"/>
                  </a:lnTo>
                  <a:lnTo>
                    <a:pt x="399521" y="193146"/>
                  </a:lnTo>
                  <a:lnTo>
                    <a:pt x="412750" y="195792"/>
                  </a:lnTo>
                  <a:lnTo>
                    <a:pt x="418041" y="198438"/>
                  </a:lnTo>
                  <a:lnTo>
                    <a:pt x="415396" y="201084"/>
                  </a:lnTo>
                  <a:lnTo>
                    <a:pt x="407458" y="203729"/>
                  </a:lnTo>
                  <a:lnTo>
                    <a:pt x="386292" y="206375"/>
                  </a:lnTo>
                  <a:lnTo>
                    <a:pt x="381000" y="209021"/>
                  </a:lnTo>
                  <a:lnTo>
                    <a:pt x="383646" y="209021"/>
                  </a:lnTo>
                  <a:lnTo>
                    <a:pt x="391583" y="214313"/>
                  </a:lnTo>
                  <a:lnTo>
                    <a:pt x="396875" y="216959"/>
                  </a:lnTo>
                  <a:lnTo>
                    <a:pt x="396875" y="219604"/>
                  </a:lnTo>
                  <a:lnTo>
                    <a:pt x="388937" y="222250"/>
                  </a:lnTo>
                  <a:lnTo>
                    <a:pt x="373062" y="224896"/>
                  </a:lnTo>
                  <a:lnTo>
                    <a:pt x="349250" y="227542"/>
                  </a:lnTo>
                  <a:lnTo>
                    <a:pt x="336021" y="230188"/>
                  </a:lnTo>
                  <a:lnTo>
                    <a:pt x="325437" y="230188"/>
                  </a:lnTo>
                  <a:lnTo>
                    <a:pt x="320146" y="232834"/>
                  </a:lnTo>
                  <a:lnTo>
                    <a:pt x="317500" y="235479"/>
                  </a:lnTo>
                  <a:lnTo>
                    <a:pt x="320146" y="235479"/>
                  </a:lnTo>
                  <a:lnTo>
                    <a:pt x="336021" y="235479"/>
                  </a:lnTo>
                  <a:lnTo>
                    <a:pt x="346604" y="238125"/>
                  </a:lnTo>
                  <a:lnTo>
                    <a:pt x="349250" y="240771"/>
                  </a:lnTo>
                  <a:lnTo>
                    <a:pt x="343958" y="246063"/>
                  </a:lnTo>
                  <a:lnTo>
                    <a:pt x="338667" y="248709"/>
                  </a:lnTo>
                  <a:lnTo>
                    <a:pt x="336021" y="248709"/>
                  </a:lnTo>
                  <a:lnTo>
                    <a:pt x="328083" y="248709"/>
                  </a:lnTo>
                  <a:lnTo>
                    <a:pt x="322792" y="248709"/>
                  </a:lnTo>
                  <a:lnTo>
                    <a:pt x="320146" y="248709"/>
                  </a:lnTo>
                  <a:lnTo>
                    <a:pt x="322792" y="251354"/>
                  </a:lnTo>
                  <a:lnTo>
                    <a:pt x="320146" y="254000"/>
                  </a:lnTo>
                  <a:lnTo>
                    <a:pt x="320146" y="256646"/>
                  </a:lnTo>
                  <a:lnTo>
                    <a:pt x="312208" y="256646"/>
                  </a:lnTo>
                  <a:lnTo>
                    <a:pt x="304271" y="256646"/>
                  </a:lnTo>
                  <a:lnTo>
                    <a:pt x="301625" y="256646"/>
                  </a:lnTo>
                  <a:lnTo>
                    <a:pt x="301625" y="259292"/>
                  </a:lnTo>
                  <a:lnTo>
                    <a:pt x="298979" y="261938"/>
                  </a:lnTo>
                  <a:lnTo>
                    <a:pt x="288396" y="264584"/>
                  </a:lnTo>
                  <a:lnTo>
                    <a:pt x="277812" y="267229"/>
                  </a:lnTo>
                  <a:lnTo>
                    <a:pt x="272521" y="272521"/>
                  </a:lnTo>
                  <a:lnTo>
                    <a:pt x="269875" y="275167"/>
                  </a:lnTo>
                  <a:lnTo>
                    <a:pt x="267229" y="275167"/>
                  </a:lnTo>
                  <a:lnTo>
                    <a:pt x="256646" y="277813"/>
                  </a:lnTo>
                  <a:lnTo>
                    <a:pt x="246062" y="277813"/>
                  </a:lnTo>
                  <a:lnTo>
                    <a:pt x="243417" y="280459"/>
                  </a:lnTo>
                  <a:lnTo>
                    <a:pt x="238125" y="283104"/>
                  </a:lnTo>
                  <a:lnTo>
                    <a:pt x="238125" y="285750"/>
                  </a:lnTo>
                  <a:lnTo>
                    <a:pt x="235479" y="285750"/>
                  </a:lnTo>
                  <a:lnTo>
                    <a:pt x="230187" y="285750"/>
                  </a:lnTo>
                  <a:lnTo>
                    <a:pt x="224896" y="285750"/>
                  </a:lnTo>
                  <a:lnTo>
                    <a:pt x="222250" y="288396"/>
                  </a:lnTo>
                  <a:lnTo>
                    <a:pt x="222250" y="293688"/>
                  </a:lnTo>
                  <a:lnTo>
                    <a:pt x="216958" y="296334"/>
                  </a:lnTo>
                  <a:lnTo>
                    <a:pt x="206375" y="296334"/>
                  </a:lnTo>
                  <a:lnTo>
                    <a:pt x="195792" y="296334"/>
                  </a:lnTo>
                  <a:lnTo>
                    <a:pt x="190500" y="298980"/>
                  </a:lnTo>
                  <a:lnTo>
                    <a:pt x="187854" y="301625"/>
                  </a:lnTo>
                  <a:lnTo>
                    <a:pt x="185208" y="304271"/>
                  </a:lnTo>
                  <a:lnTo>
                    <a:pt x="179917" y="306917"/>
                  </a:lnTo>
                  <a:lnTo>
                    <a:pt x="171979" y="306917"/>
                  </a:lnTo>
                  <a:lnTo>
                    <a:pt x="161396" y="306917"/>
                  </a:lnTo>
                  <a:lnTo>
                    <a:pt x="156104" y="306917"/>
                  </a:lnTo>
                  <a:lnTo>
                    <a:pt x="148167" y="309563"/>
                  </a:lnTo>
                  <a:lnTo>
                    <a:pt x="137583" y="314855"/>
                  </a:lnTo>
                  <a:lnTo>
                    <a:pt x="132292" y="317500"/>
                  </a:lnTo>
                  <a:lnTo>
                    <a:pt x="116417" y="320146"/>
                  </a:lnTo>
                  <a:lnTo>
                    <a:pt x="103187" y="322792"/>
                  </a:lnTo>
                  <a:lnTo>
                    <a:pt x="97896" y="322792"/>
                  </a:lnTo>
                  <a:lnTo>
                    <a:pt x="89958" y="322792"/>
                  </a:lnTo>
                  <a:lnTo>
                    <a:pt x="79375" y="325438"/>
                  </a:lnTo>
                  <a:lnTo>
                    <a:pt x="55562" y="333375"/>
                  </a:lnTo>
                  <a:lnTo>
                    <a:pt x="29104" y="336021"/>
                  </a:lnTo>
                  <a:lnTo>
                    <a:pt x="5292" y="341313"/>
                  </a:lnTo>
                  <a:lnTo>
                    <a:pt x="0" y="338667"/>
                  </a:lnTo>
                  <a:lnTo>
                    <a:pt x="2646" y="333375"/>
                  </a:lnTo>
                  <a:lnTo>
                    <a:pt x="7937" y="330730"/>
                  </a:lnTo>
                  <a:lnTo>
                    <a:pt x="18521" y="325438"/>
                  </a:lnTo>
                  <a:lnTo>
                    <a:pt x="42333" y="320146"/>
                  </a:lnTo>
                  <a:lnTo>
                    <a:pt x="63500" y="317500"/>
                  </a:lnTo>
                  <a:lnTo>
                    <a:pt x="71437" y="314855"/>
                  </a:lnTo>
                  <a:lnTo>
                    <a:pt x="71437" y="312209"/>
                  </a:lnTo>
                  <a:lnTo>
                    <a:pt x="79375" y="320146"/>
                  </a:lnTo>
                  <a:lnTo>
                    <a:pt x="84667" y="320146"/>
                  </a:lnTo>
                  <a:lnTo>
                    <a:pt x="87312" y="314855"/>
                  </a:lnTo>
                  <a:lnTo>
                    <a:pt x="87312" y="312209"/>
                  </a:lnTo>
                  <a:lnTo>
                    <a:pt x="95250" y="309563"/>
                  </a:lnTo>
                  <a:lnTo>
                    <a:pt x="129646" y="301625"/>
                  </a:lnTo>
                  <a:lnTo>
                    <a:pt x="148167" y="296334"/>
                  </a:lnTo>
                  <a:lnTo>
                    <a:pt x="156104" y="291042"/>
                  </a:lnTo>
                  <a:lnTo>
                    <a:pt x="161396" y="285750"/>
                  </a:lnTo>
                  <a:lnTo>
                    <a:pt x="177271" y="280459"/>
                  </a:lnTo>
                  <a:lnTo>
                    <a:pt x="201083" y="275167"/>
                  </a:lnTo>
                  <a:lnTo>
                    <a:pt x="216958" y="267229"/>
                  </a:lnTo>
                  <a:lnTo>
                    <a:pt x="243417" y="256646"/>
                  </a:lnTo>
                  <a:lnTo>
                    <a:pt x="248708" y="251354"/>
                  </a:lnTo>
                  <a:lnTo>
                    <a:pt x="254000" y="246063"/>
                  </a:lnTo>
                  <a:lnTo>
                    <a:pt x="240771" y="254000"/>
                  </a:lnTo>
                  <a:lnTo>
                    <a:pt x="232833" y="256646"/>
                  </a:lnTo>
                  <a:lnTo>
                    <a:pt x="224896" y="256646"/>
                  </a:lnTo>
                  <a:lnTo>
                    <a:pt x="222250" y="254000"/>
                  </a:lnTo>
                  <a:lnTo>
                    <a:pt x="216958" y="251354"/>
                  </a:lnTo>
                  <a:lnTo>
                    <a:pt x="214312" y="251354"/>
                  </a:lnTo>
                  <a:lnTo>
                    <a:pt x="214312" y="254000"/>
                  </a:lnTo>
                  <a:lnTo>
                    <a:pt x="211667" y="259292"/>
                  </a:lnTo>
                  <a:lnTo>
                    <a:pt x="209021" y="259292"/>
                  </a:lnTo>
                  <a:lnTo>
                    <a:pt x="203729" y="256646"/>
                  </a:lnTo>
                  <a:lnTo>
                    <a:pt x="195792" y="254000"/>
                  </a:lnTo>
                  <a:lnTo>
                    <a:pt x="193146" y="251354"/>
                  </a:lnTo>
                  <a:lnTo>
                    <a:pt x="190500" y="251354"/>
                  </a:lnTo>
                  <a:lnTo>
                    <a:pt x="187854" y="251354"/>
                  </a:lnTo>
                  <a:lnTo>
                    <a:pt x="185208" y="248709"/>
                  </a:lnTo>
                  <a:lnTo>
                    <a:pt x="179917" y="246063"/>
                  </a:lnTo>
                  <a:lnTo>
                    <a:pt x="166687" y="248709"/>
                  </a:lnTo>
                  <a:lnTo>
                    <a:pt x="153458" y="254000"/>
                  </a:lnTo>
                  <a:lnTo>
                    <a:pt x="153458" y="251354"/>
                  </a:lnTo>
                  <a:lnTo>
                    <a:pt x="156104" y="246063"/>
                  </a:lnTo>
                  <a:lnTo>
                    <a:pt x="164042" y="240771"/>
                  </a:lnTo>
                  <a:lnTo>
                    <a:pt x="177271" y="235479"/>
                  </a:lnTo>
                  <a:lnTo>
                    <a:pt x="182562" y="232834"/>
                  </a:lnTo>
                  <a:lnTo>
                    <a:pt x="179917" y="227542"/>
                  </a:lnTo>
                  <a:lnTo>
                    <a:pt x="177271" y="227542"/>
                  </a:lnTo>
                  <a:lnTo>
                    <a:pt x="179917" y="224896"/>
                  </a:lnTo>
                  <a:lnTo>
                    <a:pt x="185208" y="219604"/>
                  </a:lnTo>
                  <a:lnTo>
                    <a:pt x="209021" y="211667"/>
                  </a:lnTo>
                  <a:lnTo>
                    <a:pt x="198437" y="211667"/>
                  </a:lnTo>
                  <a:lnTo>
                    <a:pt x="187854" y="211667"/>
                  </a:lnTo>
                  <a:lnTo>
                    <a:pt x="177271" y="216959"/>
                  </a:lnTo>
                  <a:lnTo>
                    <a:pt x="171979" y="222250"/>
                  </a:lnTo>
                  <a:lnTo>
                    <a:pt x="166687" y="224896"/>
                  </a:lnTo>
                  <a:lnTo>
                    <a:pt x="156104" y="227542"/>
                  </a:lnTo>
                  <a:lnTo>
                    <a:pt x="145521" y="224896"/>
                  </a:lnTo>
                  <a:lnTo>
                    <a:pt x="142875" y="222250"/>
                  </a:lnTo>
                  <a:lnTo>
                    <a:pt x="140229" y="216959"/>
                  </a:lnTo>
                  <a:lnTo>
                    <a:pt x="137583" y="214313"/>
                  </a:lnTo>
                  <a:lnTo>
                    <a:pt x="134937" y="214313"/>
                  </a:lnTo>
                  <a:lnTo>
                    <a:pt x="142875" y="209021"/>
                  </a:lnTo>
                  <a:lnTo>
                    <a:pt x="150812" y="206375"/>
                  </a:lnTo>
                  <a:lnTo>
                    <a:pt x="153458" y="206375"/>
                  </a:lnTo>
                  <a:lnTo>
                    <a:pt x="156104" y="209021"/>
                  </a:lnTo>
                  <a:lnTo>
                    <a:pt x="156104" y="206375"/>
                  </a:lnTo>
                  <a:lnTo>
                    <a:pt x="156104" y="203729"/>
                  </a:lnTo>
                  <a:lnTo>
                    <a:pt x="150812" y="203729"/>
                  </a:lnTo>
                  <a:lnTo>
                    <a:pt x="142875" y="206375"/>
                  </a:lnTo>
                  <a:lnTo>
                    <a:pt x="132292" y="211667"/>
                  </a:lnTo>
                  <a:lnTo>
                    <a:pt x="129646" y="211667"/>
                  </a:lnTo>
                  <a:lnTo>
                    <a:pt x="129646" y="206375"/>
                  </a:lnTo>
                  <a:lnTo>
                    <a:pt x="129646" y="203729"/>
                  </a:lnTo>
                  <a:lnTo>
                    <a:pt x="132292" y="198438"/>
                  </a:lnTo>
                  <a:lnTo>
                    <a:pt x="137583" y="195792"/>
                  </a:lnTo>
                  <a:lnTo>
                    <a:pt x="148167" y="193146"/>
                  </a:lnTo>
                  <a:lnTo>
                    <a:pt x="156104" y="193146"/>
                  </a:lnTo>
                  <a:lnTo>
                    <a:pt x="156104" y="190500"/>
                  </a:lnTo>
                  <a:lnTo>
                    <a:pt x="140229" y="190500"/>
                  </a:lnTo>
                  <a:lnTo>
                    <a:pt x="134937" y="190500"/>
                  </a:lnTo>
                  <a:lnTo>
                    <a:pt x="137583" y="187854"/>
                  </a:lnTo>
                  <a:lnTo>
                    <a:pt x="137583" y="185209"/>
                  </a:lnTo>
                  <a:lnTo>
                    <a:pt x="134937" y="185209"/>
                  </a:lnTo>
                  <a:lnTo>
                    <a:pt x="134937" y="182563"/>
                  </a:lnTo>
                  <a:lnTo>
                    <a:pt x="134937" y="179917"/>
                  </a:lnTo>
                  <a:lnTo>
                    <a:pt x="140229" y="177271"/>
                  </a:lnTo>
                  <a:lnTo>
                    <a:pt x="145521" y="174625"/>
                  </a:lnTo>
                  <a:lnTo>
                    <a:pt x="148167" y="174625"/>
                  </a:lnTo>
                  <a:lnTo>
                    <a:pt x="150812" y="174625"/>
                  </a:lnTo>
                  <a:lnTo>
                    <a:pt x="153458" y="177271"/>
                  </a:lnTo>
                  <a:lnTo>
                    <a:pt x="156104" y="177271"/>
                  </a:lnTo>
                  <a:lnTo>
                    <a:pt x="161396" y="174625"/>
                  </a:lnTo>
                  <a:lnTo>
                    <a:pt x="171979" y="169334"/>
                  </a:lnTo>
                  <a:lnTo>
                    <a:pt x="187854" y="164042"/>
                  </a:lnTo>
                  <a:lnTo>
                    <a:pt x="193146" y="161396"/>
                  </a:lnTo>
                  <a:lnTo>
                    <a:pt x="190500" y="161396"/>
                  </a:lnTo>
                  <a:lnTo>
                    <a:pt x="187854" y="158750"/>
                  </a:lnTo>
                  <a:lnTo>
                    <a:pt x="198437" y="156104"/>
                  </a:lnTo>
                  <a:lnTo>
                    <a:pt x="211667" y="156104"/>
                  </a:lnTo>
                  <a:lnTo>
                    <a:pt x="216958" y="158750"/>
                  </a:lnTo>
                  <a:lnTo>
                    <a:pt x="219604" y="161396"/>
                  </a:lnTo>
                  <a:lnTo>
                    <a:pt x="224896" y="161396"/>
                  </a:lnTo>
                  <a:lnTo>
                    <a:pt x="232833" y="158750"/>
                  </a:lnTo>
                  <a:lnTo>
                    <a:pt x="246062" y="161396"/>
                  </a:lnTo>
                  <a:lnTo>
                    <a:pt x="254000" y="161396"/>
                  </a:lnTo>
                  <a:lnTo>
                    <a:pt x="256646" y="161396"/>
                  </a:lnTo>
                  <a:lnTo>
                    <a:pt x="256646" y="158750"/>
                  </a:lnTo>
                  <a:lnTo>
                    <a:pt x="256646" y="156104"/>
                  </a:lnTo>
                  <a:lnTo>
                    <a:pt x="259292" y="156104"/>
                  </a:lnTo>
                  <a:lnTo>
                    <a:pt x="267229" y="153458"/>
                  </a:lnTo>
                  <a:lnTo>
                    <a:pt x="275167" y="153458"/>
                  </a:lnTo>
                  <a:lnTo>
                    <a:pt x="280458" y="156104"/>
                  </a:lnTo>
                  <a:lnTo>
                    <a:pt x="283104" y="158750"/>
                  </a:lnTo>
                  <a:lnTo>
                    <a:pt x="285750" y="158750"/>
                  </a:lnTo>
                  <a:lnTo>
                    <a:pt x="291042" y="156104"/>
                  </a:lnTo>
                  <a:lnTo>
                    <a:pt x="293687" y="156104"/>
                  </a:lnTo>
                  <a:lnTo>
                    <a:pt x="301625" y="156104"/>
                  </a:lnTo>
                  <a:lnTo>
                    <a:pt x="306917" y="153458"/>
                  </a:lnTo>
                  <a:lnTo>
                    <a:pt x="306917" y="150813"/>
                  </a:lnTo>
                  <a:lnTo>
                    <a:pt x="309562" y="145521"/>
                  </a:lnTo>
                  <a:lnTo>
                    <a:pt x="309562" y="140229"/>
                  </a:lnTo>
                  <a:lnTo>
                    <a:pt x="312208" y="137583"/>
                  </a:lnTo>
                  <a:lnTo>
                    <a:pt x="314854" y="137583"/>
                  </a:lnTo>
                  <a:lnTo>
                    <a:pt x="322792" y="140229"/>
                  </a:lnTo>
                  <a:lnTo>
                    <a:pt x="330729" y="142875"/>
                  </a:lnTo>
                  <a:lnTo>
                    <a:pt x="338667" y="142875"/>
                  </a:lnTo>
                  <a:lnTo>
                    <a:pt x="351896" y="137583"/>
                  </a:lnTo>
                  <a:lnTo>
                    <a:pt x="362479" y="132292"/>
                  </a:lnTo>
                  <a:lnTo>
                    <a:pt x="367771" y="127000"/>
                  </a:lnTo>
                  <a:lnTo>
                    <a:pt x="367771" y="124354"/>
                  </a:lnTo>
                  <a:lnTo>
                    <a:pt x="365125" y="124354"/>
                  </a:lnTo>
                  <a:lnTo>
                    <a:pt x="354542" y="121708"/>
                  </a:lnTo>
                  <a:lnTo>
                    <a:pt x="341312" y="121708"/>
                  </a:lnTo>
                  <a:lnTo>
                    <a:pt x="336021" y="124354"/>
                  </a:lnTo>
                  <a:lnTo>
                    <a:pt x="333375" y="127000"/>
                  </a:lnTo>
                  <a:lnTo>
                    <a:pt x="330729" y="129646"/>
                  </a:lnTo>
                  <a:lnTo>
                    <a:pt x="328083" y="129646"/>
                  </a:lnTo>
                  <a:lnTo>
                    <a:pt x="320146" y="127000"/>
                  </a:lnTo>
                  <a:lnTo>
                    <a:pt x="306917" y="124354"/>
                  </a:lnTo>
                  <a:lnTo>
                    <a:pt x="288396" y="127000"/>
                  </a:lnTo>
                  <a:lnTo>
                    <a:pt x="277812" y="124354"/>
                  </a:lnTo>
                  <a:lnTo>
                    <a:pt x="269875" y="121708"/>
                  </a:lnTo>
                  <a:lnTo>
                    <a:pt x="267229" y="119063"/>
                  </a:lnTo>
                  <a:lnTo>
                    <a:pt x="261937" y="113771"/>
                  </a:lnTo>
                  <a:lnTo>
                    <a:pt x="256646" y="113771"/>
                  </a:lnTo>
                  <a:lnTo>
                    <a:pt x="256646" y="111125"/>
                  </a:lnTo>
                  <a:lnTo>
                    <a:pt x="267229" y="111125"/>
                  </a:lnTo>
                  <a:lnTo>
                    <a:pt x="272521" y="111125"/>
                  </a:lnTo>
                  <a:lnTo>
                    <a:pt x="254000" y="105833"/>
                  </a:lnTo>
                  <a:lnTo>
                    <a:pt x="243417" y="100542"/>
                  </a:lnTo>
                  <a:lnTo>
                    <a:pt x="240771" y="97896"/>
                  </a:lnTo>
                  <a:lnTo>
                    <a:pt x="240771" y="95250"/>
                  </a:lnTo>
                  <a:lnTo>
                    <a:pt x="243417" y="92604"/>
                  </a:lnTo>
                  <a:lnTo>
                    <a:pt x="254000" y="92604"/>
                  </a:lnTo>
                  <a:lnTo>
                    <a:pt x="264583" y="95250"/>
                  </a:lnTo>
                  <a:lnTo>
                    <a:pt x="272521" y="92604"/>
                  </a:lnTo>
                  <a:lnTo>
                    <a:pt x="283104" y="92604"/>
                  </a:lnTo>
                  <a:lnTo>
                    <a:pt x="301625" y="92604"/>
                  </a:lnTo>
                  <a:lnTo>
                    <a:pt x="314854" y="92604"/>
                  </a:lnTo>
                  <a:lnTo>
                    <a:pt x="317500" y="89958"/>
                  </a:lnTo>
                  <a:lnTo>
                    <a:pt x="314854" y="89958"/>
                  </a:lnTo>
                  <a:lnTo>
                    <a:pt x="312208" y="87313"/>
                  </a:lnTo>
                  <a:lnTo>
                    <a:pt x="312208" y="84667"/>
                  </a:lnTo>
                  <a:lnTo>
                    <a:pt x="317500" y="84667"/>
                  </a:lnTo>
                  <a:lnTo>
                    <a:pt x="349250" y="82021"/>
                  </a:lnTo>
                  <a:lnTo>
                    <a:pt x="367771" y="82021"/>
                  </a:lnTo>
                  <a:lnTo>
                    <a:pt x="386292" y="76729"/>
                  </a:lnTo>
                  <a:lnTo>
                    <a:pt x="399521" y="76729"/>
                  </a:lnTo>
                  <a:lnTo>
                    <a:pt x="410104" y="76729"/>
                  </a:lnTo>
                  <a:lnTo>
                    <a:pt x="410104" y="79375"/>
                  </a:lnTo>
                  <a:lnTo>
                    <a:pt x="410104" y="82021"/>
                  </a:lnTo>
                  <a:lnTo>
                    <a:pt x="402166" y="89958"/>
                  </a:lnTo>
                  <a:lnTo>
                    <a:pt x="410104" y="89958"/>
                  </a:lnTo>
                  <a:lnTo>
                    <a:pt x="415396" y="92604"/>
                  </a:lnTo>
                  <a:lnTo>
                    <a:pt x="420687" y="95250"/>
                  </a:lnTo>
                  <a:lnTo>
                    <a:pt x="428625" y="95250"/>
                  </a:lnTo>
                  <a:lnTo>
                    <a:pt x="436562" y="92604"/>
                  </a:lnTo>
                  <a:lnTo>
                    <a:pt x="436562" y="87313"/>
                  </a:lnTo>
                  <a:lnTo>
                    <a:pt x="433916" y="84667"/>
                  </a:lnTo>
                  <a:lnTo>
                    <a:pt x="436562" y="84667"/>
                  </a:lnTo>
                  <a:lnTo>
                    <a:pt x="441854" y="84667"/>
                  </a:lnTo>
                  <a:lnTo>
                    <a:pt x="447146" y="87313"/>
                  </a:lnTo>
                  <a:lnTo>
                    <a:pt x="455083" y="89958"/>
                  </a:lnTo>
                  <a:lnTo>
                    <a:pt x="468312" y="89958"/>
                  </a:lnTo>
                  <a:lnTo>
                    <a:pt x="455083" y="87313"/>
                  </a:lnTo>
                  <a:lnTo>
                    <a:pt x="452437" y="84667"/>
                  </a:lnTo>
                  <a:lnTo>
                    <a:pt x="457729" y="82021"/>
                  </a:lnTo>
                  <a:lnTo>
                    <a:pt x="468312" y="76729"/>
                  </a:lnTo>
                  <a:lnTo>
                    <a:pt x="457729" y="79375"/>
                  </a:lnTo>
                  <a:lnTo>
                    <a:pt x="447146" y="76729"/>
                  </a:lnTo>
                  <a:lnTo>
                    <a:pt x="439208" y="71438"/>
                  </a:lnTo>
                  <a:lnTo>
                    <a:pt x="433916" y="71438"/>
                  </a:lnTo>
                  <a:lnTo>
                    <a:pt x="431271" y="71438"/>
                  </a:lnTo>
                  <a:lnTo>
                    <a:pt x="431271" y="74083"/>
                  </a:lnTo>
                  <a:lnTo>
                    <a:pt x="431271" y="79375"/>
                  </a:lnTo>
                  <a:lnTo>
                    <a:pt x="425979" y="76729"/>
                  </a:lnTo>
                  <a:lnTo>
                    <a:pt x="415396" y="71438"/>
                  </a:lnTo>
                  <a:lnTo>
                    <a:pt x="407458" y="68792"/>
                  </a:lnTo>
                  <a:lnTo>
                    <a:pt x="399521" y="66146"/>
                  </a:lnTo>
                  <a:lnTo>
                    <a:pt x="394229" y="60854"/>
                  </a:lnTo>
                  <a:lnTo>
                    <a:pt x="388937" y="55563"/>
                  </a:lnTo>
                  <a:lnTo>
                    <a:pt x="383646" y="55563"/>
                  </a:lnTo>
                  <a:lnTo>
                    <a:pt x="373062" y="55563"/>
                  </a:lnTo>
                  <a:lnTo>
                    <a:pt x="365125" y="55563"/>
                  </a:lnTo>
                  <a:lnTo>
                    <a:pt x="362479" y="52917"/>
                  </a:lnTo>
                  <a:lnTo>
                    <a:pt x="365125" y="47625"/>
                  </a:lnTo>
                  <a:lnTo>
                    <a:pt x="367771" y="47625"/>
                  </a:lnTo>
                  <a:lnTo>
                    <a:pt x="373062" y="47625"/>
                  </a:lnTo>
                  <a:lnTo>
                    <a:pt x="386292" y="39687"/>
                  </a:lnTo>
                  <a:lnTo>
                    <a:pt x="394229" y="37042"/>
                  </a:lnTo>
                  <a:lnTo>
                    <a:pt x="399521" y="34396"/>
                  </a:lnTo>
                  <a:lnTo>
                    <a:pt x="407458" y="37042"/>
                  </a:lnTo>
                  <a:lnTo>
                    <a:pt x="415396" y="39687"/>
                  </a:lnTo>
                  <a:lnTo>
                    <a:pt x="418041" y="42333"/>
                  </a:lnTo>
                  <a:lnTo>
                    <a:pt x="423333" y="42333"/>
                  </a:lnTo>
                  <a:lnTo>
                    <a:pt x="428625" y="42333"/>
                  </a:lnTo>
                  <a:lnTo>
                    <a:pt x="436562" y="42333"/>
                  </a:lnTo>
                  <a:lnTo>
                    <a:pt x="447146" y="42333"/>
                  </a:lnTo>
                  <a:lnTo>
                    <a:pt x="473604" y="34396"/>
                  </a:lnTo>
                  <a:lnTo>
                    <a:pt x="486833" y="31750"/>
                  </a:lnTo>
                  <a:lnTo>
                    <a:pt x="492125" y="26458"/>
                  </a:lnTo>
                  <a:lnTo>
                    <a:pt x="500062" y="23812"/>
                  </a:lnTo>
                  <a:lnTo>
                    <a:pt x="518583" y="18521"/>
                  </a:lnTo>
                  <a:lnTo>
                    <a:pt x="534458" y="15875"/>
                  </a:lnTo>
                  <a:lnTo>
                    <a:pt x="542396" y="15875"/>
                  </a:lnTo>
                  <a:lnTo>
                    <a:pt x="550333" y="15875"/>
                  </a:lnTo>
                  <a:lnTo>
                    <a:pt x="566208" y="10583"/>
                  </a:lnTo>
                  <a:lnTo>
                    <a:pt x="576791" y="7937"/>
                  </a:lnTo>
                  <a:lnTo>
                    <a:pt x="582083" y="7937"/>
                  </a:lnTo>
                  <a:lnTo>
                    <a:pt x="582083" y="10583"/>
                  </a:lnTo>
                  <a:lnTo>
                    <a:pt x="579437" y="13229"/>
                  </a:lnTo>
                  <a:lnTo>
                    <a:pt x="579437" y="15875"/>
                  </a:lnTo>
                  <a:lnTo>
                    <a:pt x="582083" y="18521"/>
                  </a:lnTo>
                  <a:lnTo>
                    <a:pt x="587375" y="21167"/>
                  </a:lnTo>
                  <a:lnTo>
                    <a:pt x="590021" y="18521"/>
                  </a:lnTo>
                  <a:lnTo>
                    <a:pt x="590021" y="15875"/>
                  </a:lnTo>
                  <a:lnTo>
                    <a:pt x="590021" y="13229"/>
                  </a:lnTo>
                  <a:lnTo>
                    <a:pt x="584729" y="10583"/>
                  </a:lnTo>
                  <a:lnTo>
                    <a:pt x="587375" y="7937"/>
                  </a:lnTo>
                  <a:lnTo>
                    <a:pt x="603250" y="7937"/>
                  </a:lnTo>
                  <a:lnTo>
                    <a:pt x="613833" y="5292"/>
                  </a:lnTo>
                  <a:lnTo>
                    <a:pt x="611187" y="7937"/>
                  </a:lnTo>
                  <a:lnTo>
                    <a:pt x="605896" y="10583"/>
                  </a:lnTo>
                  <a:lnTo>
                    <a:pt x="605896" y="13229"/>
                  </a:lnTo>
                  <a:lnTo>
                    <a:pt x="611187" y="13229"/>
                  </a:lnTo>
                  <a:lnTo>
                    <a:pt x="619125" y="10583"/>
                  </a:lnTo>
                  <a:lnTo>
                    <a:pt x="642937" y="5292"/>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Vietnam"/>
            <p:cNvSpPr>
              <a:spLocks/>
            </p:cNvSpPr>
            <p:nvPr/>
          </p:nvSpPr>
          <p:spPr bwMode="auto">
            <a:xfrm>
              <a:off x="6901622" y="2840302"/>
              <a:ext cx="280458" cy="481542"/>
            </a:xfrm>
            <a:custGeom>
              <a:avLst/>
              <a:gdLst/>
              <a:ahLst/>
              <a:cxnLst>
                <a:cxn ang="0">
                  <a:pos x="118" y="330"/>
                </a:cxn>
                <a:cxn ang="0">
                  <a:pos x="118" y="356"/>
                </a:cxn>
                <a:cxn ang="0">
                  <a:pos x="118" y="364"/>
                </a:cxn>
                <a:cxn ang="0">
                  <a:pos x="130" y="362"/>
                </a:cxn>
                <a:cxn ang="0">
                  <a:pos x="136" y="354"/>
                </a:cxn>
                <a:cxn ang="0">
                  <a:pos x="146" y="350"/>
                </a:cxn>
                <a:cxn ang="0">
                  <a:pos x="152" y="344"/>
                </a:cxn>
                <a:cxn ang="0">
                  <a:pos x="148" y="332"/>
                </a:cxn>
                <a:cxn ang="0">
                  <a:pos x="158" y="344"/>
                </a:cxn>
                <a:cxn ang="0">
                  <a:pos x="162" y="330"/>
                </a:cxn>
                <a:cxn ang="0">
                  <a:pos x="162" y="326"/>
                </a:cxn>
                <a:cxn ang="0">
                  <a:pos x="182" y="312"/>
                </a:cxn>
                <a:cxn ang="0">
                  <a:pos x="198" y="300"/>
                </a:cxn>
                <a:cxn ang="0">
                  <a:pos x="206" y="290"/>
                </a:cxn>
                <a:cxn ang="0">
                  <a:pos x="210" y="280"/>
                </a:cxn>
                <a:cxn ang="0">
                  <a:pos x="208" y="274"/>
                </a:cxn>
                <a:cxn ang="0">
                  <a:pos x="208" y="260"/>
                </a:cxn>
                <a:cxn ang="0">
                  <a:pos x="208" y="254"/>
                </a:cxn>
                <a:cxn ang="0">
                  <a:pos x="206" y="242"/>
                </a:cxn>
                <a:cxn ang="0">
                  <a:pos x="202" y="230"/>
                </a:cxn>
                <a:cxn ang="0">
                  <a:pos x="188" y="198"/>
                </a:cxn>
                <a:cxn ang="0">
                  <a:pos x="184" y="190"/>
                </a:cxn>
                <a:cxn ang="0">
                  <a:pos x="168" y="178"/>
                </a:cxn>
                <a:cxn ang="0">
                  <a:pos x="136" y="148"/>
                </a:cxn>
                <a:cxn ang="0">
                  <a:pos x="118" y="124"/>
                </a:cxn>
                <a:cxn ang="0">
                  <a:pos x="104" y="108"/>
                </a:cxn>
                <a:cxn ang="0">
                  <a:pos x="106" y="78"/>
                </a:cxn>
                <a:cxn ang="0">
                  <a:pos x="116" y="62"/>
                </a:cxn>
                <a:cxn ang="0">
                  <a:pos x="124" y="56"/>
                </a:cxn>
                <a:cxn ang="0">
                  <a:pos x="132" y="44"/>
                </a:cxn>
                <a:cxn ang="0">
                  <a:pos x="120" y="38"/>
                </a:cxn>
                <a:cxn ang="0">
                  <a:pos x="108" y="36"/>
                </a:cxn>
                <a:cxn ang="0">
                  <a:pos x="106" y="22"/>
                </a:cxn>
                <a:cxn ang="0">
                  <a:pos x="100" y="12"/>
                </a:cxn>
                <a:cxn ang="0">
                  <a:pos x="84" y="4"/>
                </a:cxn>
                <a:cxn ang="0">
                  <a:pos x="68" y="4"/>
                </a:cxn>
                <a:cxn ang="0">
                  <a:pos x="62" y="16"/>
                </a:cxn>
                <a:cxn ang="0">
                  <a:pos x="46" y="18"/>
                </a:cxn>
                <a:cxn ang="0">
                  <a:pos x="32" y="18"/>
                </a:cxn>
                <a:cxn ang="0">
                  <a:pos x="24" y="12"/>
                </a:cxn>
                <a:cxn ang="0">
                  <a:pos x="24" y="24"/>
                </a:cxn>
                <a:cxn ang="0">
                  <a:pos x="10" y="18"/>
                </a:cxn>
                <a:cxn ang="0">
                  <a:pos x="18" y="40"/>
                </a:cxn>
                <a:cxn ang="0">
                  <a:pos x="26" y="52"/>
                </a:cxn>
                <a:cxn ang="0">
                  <a:pos x="50" y="62"/>
                </a:cxn>
                <a:cxn ang="0">
                  <a:pos x="86" y="74"/>
                </a:cxn>
                <a:cxn ang="0">
                  <a:pos x="80" y="88"/>
                </a:cxn>
                <a:cxn ang="0">
                  <a:pos x="62" y="94"/>
                </a:cxn>
                <a:cxn ang="0">
                  <a:pos x="88" y="108"/>
                </a:cxn>
                <a:cxn ang="0">
                  <a:pos x="98" y="118"/>
                </a:cxn>
                <a:cxn ang="0">
                  <a:pos x="114" y="142"/>
                </a:cxn>
                <a:cxn ang="0">
                  <a:pos x="126" y="162"/>
                </a:cxn>
                <a:cxn ang="0">
                  <a:pos x="152" y="176"/>
                </a:cxn>
                <a:cxn ang="0">
                  <a:pos x="164" y="196"/>
                </a:cxn>
                <a:cxn ang="0">
                  <a:pos x="180" y="232"/>
                </a:cxn>
                <a:cxn ang="0">
                  <a:pos x="172" y="266"/>
                </a:cxn>
                <a:cxn ang="0">
                  <a:pos x="174" y="284"/>
                </a:cxn>
                <a:cxn ang="0">
                  <a:pos x="152" y="292"/>
                </a:cxn>
                <a:cxn ang="0">
                  <a:pos x="134" y="300"/>
                </a:cxn>
                <a:cxn ang="0">
                  <a:pos x="146" y="312"/>
                </a:cxn>
                <a:cxn ang="0">
                  <a:pos x="142" y="316"/>
                </a:cxn>
                <a:cxn ang="0">
                  <a:pos x="130" y="312"/>
                </a:cxn>
                <a:cxn ang="0">
                  <a:pos x="108" y="324"/>
                </a:cxn>
              </a:cxnLst>
              <a:rect l="0" t="0" r="r" b="b"/>
              <a:pathLst>
                <a:path w="212" h="364">
                  <a:moveTo>
                    <a:pt x="108" y="324"/>
                  </a:moveTo>
                  <a:lnTo>
                    <a:pt x="108" y="324"/>
                  </a:lnTo>
                  <a:lnTo>
                    <a:pt x="114" y="326"/>
                  </a:lnTo>
                  <a:lnTo>
                    <a:pt x="116" y="328"/>
                  </a:lnTo>
                  <a:lnTo>
                    <a:pt x="118" y="330"/>
                  </a:lnTo>
                  <a:lnTo>
                    <a:pt x="122" y="330"/>
                  </a:lnTo>
                  <a:lnTo>
                    <a:pt x="122" y="330"/>
                  </a:lnTo>
                  <a:lnTo>
                    <a:pt x="118" y="340"/>
                  </a:lnTo>
                  <a:lnTo>
                    <a:pt x="118" y="346"/>
                  </a:lnTo>
                  <a:lnTo>
                    <a:pt x="118" y="356"/>
                  </a:lnTo>
                  <a:lnTo>
                    <a:pt x="120" y="360"/>
                  </a:lnTo>
                  <a:lnTo>
                    <a:pt x="120" y="362"/>
                  </a:lnTo>
                  <a:lnTo>
                    <a:pt x="120" y="362"/>
                  </a:lnTo>
                  <a:lnTo>
                    <a:pt x="120" y="362"/>
                  </a:lnTo>
                  <a:lnTo>
                    <a:pt x="118" y="364"/>
                  </a:lnTo>
                  <a:lnTo>
                    <a:pt x="124" y="364"/>
                  </a:lnTo>
                  <a:lnTo>
                    <a:pt x="124" y="364"/>
                  </a:lnTo>
                  <a:lnTo>
                    <a:pt x="128" y="364"/>
                  </a:lnTo>
                  <a:lnTo>
                    <a:pt x="128" y="362"/>
                  </a:lnTo>
                  <a:lnTo>
                    <a:pt x="130" y="362"/>
                  </a:lnTo>
                  <a:lnTo>
                    <a:pt x="132" y="360"/>
                  </a:lnTo>
                  <a:lnTo>
                    <a:pt x="132" y="360"/>
                  </a:lnTo>
                  <a:lnTo>
                    <a:pt x="134" y="360"/>
                  </a:lnTo>
                  <a:lnTo>
                    <a:pt x="134" y="356"/>
                  </a:lnTo>
                  <a:lnTo>
                    <a:pt x="136" y="354"/>
                  </a:lnTo>
                  <a:lnTo>
                    <a:pt x="142" y="354"/>
                  </a:lnTo>
                  <a:lnTo>
                    <a:pt x="142" y="354"/>
                  </a:lnTo>
                  <a:lnTo>
                    <a:pt x="146" y="352"/>
                  </a:lnTo>
                  <a:lnTo>
                    <a:pt x="146" y="352"/>
                  </a:lnTo>
                  <a:lnTo>
                    <a:pt x="146" y="350"/>
                  </a:lnTo>
                  <a:lnTo>
                    <a:pt x="148" y="350"/>
                  </a:lnTo>
                  <a:lnTo>
                    <a:pt x="148" y="350"/>
                  </a:lnTo>
                  <a:lnTo>
                    <a:pt x="152" y="350"/>
                  </a:lnTo>
                  <a:lnTo>
                    <a:pt x="152" y="348"/>
                  </a:lnTo>
                  <a:lnTo>
                    <a:pt x="152" y="344"/>
                  </a:lnTo>
                  <a:lnTo>
                    <a:pt x="148" y="340"/>
                  </a:lnTo>
                  <a:lnTo>
                    <a:pt x="148" y="340"/>
                  </a:lnTo>
                  <a:lnTo>
                    <a:pt x="146" y="336"/>
                  </a:lnTo>
                  <a:lnTo>
                    <a:pt x="146" y="334"/>
                  </a:lnTo>
                  <a:lnTo>
                    <a:pt x="148" y="332"/>
                  </a:lnTo>
                  <a:lnTo>
                    <a:pt x="148" y="334"/>
                  </a:lnTo>
                  <a:lnTo>
                    <a:pt x="148" y="334"/>
                  </a:lnTo>
                  <a:lnTo>
                    <a:pt x="152" y="342"/>
                  </a:lnTo>
                  <a:lnTo>
                    <a:pt x="156" y="344"/>
                  </a:lnTo>
                  <a:lnTo>
                    <a:pt x="158" y="344"/>
                  </a:lnTo>
                  <a:lnTo>
                    <a:pt x="158" y="344"/>
                  </a:lnTo>
                  <a:lnTo>
                    <a:pt x="158" y="340"/>
                  </a:lnTo>
                  <a:lnTo>
                    <a:pt x="158" y="338"/>
                  </a:lnTo>
                  <a:lnTo>
                    <a:pt x="160" y="334"/>
                  </a:lnTo>
                  <a:lnTo>
                    <a:pt x="162" y="330"/>
                  </a:lnTo>
                  <a:lnTo>
                    <a:pt x="162" y="330"/>
                  </a:lnTo>
                  <a:lnTo>
                    <a:pt x="162" y="328"/>
                  </a:lnTo>
                  <a:lnTo>
                    <a:pt x="162" y="326"/>
                  </a:lnTo>
                  <a:lnTo>
                    <a:pt x="160" y="326"/>
                  </a:lnTo>
                  <a:lnTo>
                    <a:pt x="162" y="326"/>
                  </a:lnTo>
                  <a:lnTo>
                    <a:pt x="162" y="326"/>
                  </a:lnTo>
                  <a:lnTo>
                    <a:pt x="166" y="324"/>
                  </a:lnTo>
                  <a:lnTo>
                    <a:pt x="174" y="320"/>
                  </a:lnTo>
                  <a:lnTo>
                    <a:pt x="182" y="312"/>
                  </a:lnTo>
                  <a:lnTo>
                    <a:pt x="182" y="312"/>
                  </a:lnTo>
                  <a:lnTo>
                    <a:pt x="186" y="312"/>
                  </a:lnTo>
                  <a:lnTo>
                    <a:pt x="190" y="308"/>
                  </a:lnTo>
                  <a:lnTo>
                    <a:pt x="190" y="308"/>
                  </a:lnTo>
                  <a:lnTo>
                    <a:pt x="196" y="304"/>
                  </a:lnTo>
                  <a:lnTo>
                    <a:pt x="198" y="300"/>
                  </a:lnTo>
                  <a:lnTo>
                    <a:pt x="200" y="296"/>
                  </a:lnTo>
                  <a:lnTo>
                    <a:pt x="200" y="296"/>
                  </a:lnTo>
                  <a:lnTo>
                    <a:pt x="200" y="292"/>
                  </a:lnTo>
                  <a:lnTo>
                    <a:pt x="202" y="290"/>
                  </a:lnTo>
                  <a:lnTo>
                    <a:pt x="206" y="290"/>
                  </a:lnTo>
                  <a:lnTo>
                    <a:pt x="208" y="292"/>
                  </a:lnTo>
                  <a:lnTo>
                    <a:pt x="208" y="288"/>
                  </a:lnTo>
                  <a:lnTo>
                    <a:pt x="208" y="288"/>
                  </a:lnTo>
                  <a:lnTo>
                    <a:pt x="210" y="284"/>
                  </a:lnTo>
                  <a:lnTo>
                    <a:pt x="210" y="280"/>
                  </a:lnTo>
                  <a:lnTo>
                    <a:pt x="212" y="278"/>
                  </a:lnTo>
                  <a:lnTo>
                    <a:pt x="208" y="278"/>
                  </a:lnTo>
                  <a:lnTo>
                    <a:pt x="208" y="278"/>
                  </a:lnTo>
                  <a:lnTo>
                    <a:pt x="204" y="278"/>
                  </a:lnTo>
                  <a:lnTo>
                    <a:pt x="208" y="274"/>
                  </a:lnTo>
                  <a:lnTo>
                    <a:pt x="208" y="274"/>
                  </a:lnTo>
                  <a:lnTo>
                    <a:pt x="208" y="270"/>
                  </a:lnTo>
                  <a:lnTo>
                    <a:pt x="208" y="264"/>
                  </a:lnTo>
                  <a:lnTo>
                    <a:pt x="206" y="262"/>
                  </a:lnTo>
                  <a:lnTo>
                    <a:pt x="208" y="260"/>
                  </a:lnTo>
                  <a:lnTo>
                    <a:pt x="208" y="260"/>
                  </a:lnTo>
                  <a:lnTo>
                    <a:pt x="212" y="260"/>
                  </a:lnTo>
                  <a:lnTo>
                    <a:pt x="212" y="260"/>
                  </a:lnTo>
                  <a:lnTo>
                    <a:pt x="208" y="254"/>
                  </a:lnTo>
                  <a:lnTo>
                    <a:pt x="208" y="254"/>
                  </a:lnTo>
                  <a:lnTo>
                    <a:pt x="206" y="250"/>
                  </a:lnTo>
                  <a:lnTo>
                    <a:pt x="208" y="248"/>
                  </a:lnTo>
                  <a:lnTo>
                    <a:pt x="208" y="246"/>
                  </a:lnTo>
                  <a:lnTo>
                    <a:pt x="206" y="242"/>
                  </a:lnTo>
                  <a:lnTo>
                    <a:pt x="206" y="242"/>
                  </a:lnTo>
                  <a:lnTo>
                    <a:pt x="202" y="238"/>
                  </a:lnTo>
                  <a:lnTo>
                    <a:pt x="202" y="236"/>
                  </a:lnTo>
                  <a:lnTo>
                    <a:pt x="204" y="234"/>
                  </a:lnTo>
                  <a:lnTo>
                    <a:pt x="202" y="230"/>
                  </a:lnTo>
                  <a:lnTo>
                    <a:pt x="202" y="230"/>
                  </a:lnTo>
                  <a:lnTo>
                    <a:pt x="200" y="226"/>
                  </a:lnTo>
                  <a:lnTo>
                    <a:pt x="200" y="220"/>
                  </a:lnTo>
                  <a:lnTo>
                    <a:pt x="196" y="212"/>
                  </a:lnTo>
                  <a:lnTo>
                    <a:pt x="188" y="198"/>
                  </a:lnTo>
                  <a:lnTo>
                    <a:pt x="188" y="198"/>
                  </a:lnTo>
                  <a:lnTo>
                    <a:pt x="186" y="194"/>
                  </a:lnTo>
                  <a:lnTo>
                    <a:pt x="186" y="192"/>
                  </a:lnTo>
                  <a:lnTo>
                    <a:pt x="186" y="190"/>
                  </a:lnTo>
                  <a:lnTo>
                    <a:pt x="184" y="190"/>
                  </a:lnTo>
                  <a:lnTo>
                    <a:pt x="184" y="190"/>
                  </a:lnTo>
                  <a:lnTo>
                    <a:pt x="182" y="190"/>
                  </a:lnTo>
                  <a:lnTo>
                    <a:pt x="180" y="190"/>
                  </a:lnTo>
                  <a:lnTo>
                    <a:pt x="174" y="182"/>
                  </a:lnTo>
                  <a:lnTo>
                    <a:pt x="174" y="182"/>
                  </a:lnTo>
                  <a:lnTo>
                    <a:pt x="168" y="178"/>
                  </a:lnTo>
                  <a:lnTo>
                    <a:pt x="160" y="172"/>
                  </a:lnTo>
                  <a:lnTo>
                    <a:pt x="154" y="168"/>
                  </a:lnTo>
                  <a:lnTo>
                    <a:pt x="146" y="158"/>
                  </a:lnTo>
                  <a:lnTo>
                    <a:pt x="146" y="158"/>
                  </a:lnTo>
                  <a:lnTo>
                    <a:pt x="136" y="148"/>
                  </a:lnTo>
                  <a:lnTo>
                    <a:pt x="128" y="140"/>
                  </a:lnTo>
                  <a:lnTo>
                    <a:pt x="120" y="132"/>
                  </a:lnTo>
                  <a:lnTo>
                    <a:pt x="118" y="128"/>
                  </a:lnTo>
                  <a:lnTo>
                    <a:pt x="118" y="124"/>
                  </a:lnTo>
                  <a:lnTo>
                    <a:pt x="118" y="124"/>
                  </a:lnTo>
                  <a:lnTo>
                    <a:pt x="118" y="120"/>
                  </a:lnTo>
                  <a:lnTo>
                    <a:pt x="116" y="118"/>
                  </a:lnTo>
                  <a:lnTo>
                    <a:pt x="110" y="116"/>
                  </a:lnTo>
                  <a:lnTo>
                    <a:pt x="104" y="108"/>
                  </a:lnTo>
                  <a:lnTo>
                    <a:pt x="104" y="108"/>
                  </a:lnTo>
                  <a:lnTo>
                    <a:pt x="96" y="96"/>
                  </a:lnTo>
                  <a:lnTo>
                    <a:pt x="96" y="92"/>
                  </a:lnTo>
                  <a:lnTo>
                    <a:pt x="100" y="88"/>
                  </a:lnTo>
                  <a:lnTo>
                    <a:pt x="100" y="88"/>
                  </a:lnTo>
                  <a:lnTo>
                    <a:pt x="106" y="78"/>
                  </a:lnTo>
                  <a:lnTo>
                    <a:pt x="112" y="74"/>
                  </a:lnTo>
                  <a:lnTo>
                    <a:pt x="114" y="72"/>
                  </a:lnTo>
                  <a:lnTo>
                    <a:pt x="116" y="66"/>
                  </a:lnTo>
                  <a:lnTo>
                    <a:pt x="116" y="66"/>
                  </a:lnTo>
                  <a:lnTo>
                    <a:pt x="116" y="62"/>
                  </a:lnTo>
                  <a:lnTo>
                    <a:pt x="118" y="60"/>
                  </a:lnTo>
                  <a:lnTo>
                    <a:pt x="120" y="60"/>
                  </a:lnTo>
                  <a:lnTo>
                    <a:pt x="124" y="60"/>
                  </a:lnTo>
                  <a:lnTo>
                    <a:pt x="126" y="58"/>
                  </a:lnTo>
                  <a:lnTo>
                    <a:pt x="124" y="56"/>
                  </a:lnTo>
                  <a:lnTo>
                    <a:pt x="124" y="56"/>
                  </a:lnTo>
                  <a:lnTo>
                    <a:pt x="124" y="54"/>
                  </a:lnTo>
                  <a:lnTo>
                    <a:pt x="126" y="54"/>
                  </a:lnTo>
                  <a:lnTo>
                    <a:pt x="130" y="52"/>
                  </a:lnTo>
                  <a:lnTo>
                    <a:pt x="132" y="44"/>
                  </a:lnTo>
                  <a:lnTo>
                    <a:pt x="132" y="42"/>
                  </a:lnTo>
                  <a:lnTo>
                    <a:pt x="132" y="42"/>
                  </a:lnTo>
                  <a:lnTo>
                    <a:pt x="128" y="42"/>
                  </a:lnTo>
                  <a:lnTo>
                    <a:pt x="126" y="42"/>
                  </a:lnTo>
                  <a:lnTo>
                    <a:pt x="120" y="38"/>
                  </a:lnTo>
                  <a:lnTo>
                    <a:pt x="116" y="34"/>
                  </a:lnTo>
                  <a:lnTo>
                    <a:pt x="114" y="34"/>
                  </a:lnTo>
                  <a:lnTo>
                    <a:pt x="112" y="34"/>
                  </a:lnTo>
                  <a:lnTo>
                    <a:pt x="112" y="34"/>
                  </a:lnTo>
                  <a:lnTo>
                    <a:pt x="108" y="36"/>
                  </a:lnTo>
                  <a:lnTo>
                    <a:pt x="106" y="32"/>
                  </a:lnTo>
                  <a:lnTo>
                    <a:pt x="106" y="32"/>
                  </a:lnTo>
                  <a:lnTo>
                    <a:pt x="100" y="28"/>
                  </a:lnTo>
                  <a:lnTo>
                    <a:pt x="102" y="26"/>
                  </a:lnTo>
                  <a:lnTo>
                    <a:pt x="106" y="22"/>
                  </a:lnTo>
                  <a:lnTo>
                    <a:pt x="106" y="22"/>
                  </a:lnTo>
                  <a:lnTo>
                    <a:pt x="112" y="20"/>
                  </a:lnTo>
                  <a:lnTo>
                    <a:pt x="114" y="16"/>
                  </a:lnTo>
                  <a:lnTo>
                    <a:pt x="108" y="14"/>
                  </a:lnTo>
                  <a:lnTo>
                    <a:pt x="100" y="12"/>
                  </a:lnTo>
                  <a:lnTo>
                    <a:pt x="100" y="12"/>
                  </a:lnTo>
                  <a:lnTo>
                    <a:pt x="92" y="12"/>
                  </a:lnTo>
                  <a:lnTo>
                    <a:pt x="88" y="10"/>
                  </a:lnTo>
                  <a:lnTo>
                    <a:pt x="86" y="6"/>
                  </a:lnTo>
                  <a:lnTo>
                    <a:pt x="84" y="4"/>
                  </a:lnTo>
                  <a:lnTo>
                    <a:pt x="82" y="0"/>
                  </a:lnTo>
                  <a:lnTo>
                    <a:pt x="82" y="0"/>
                  </a:lnTo>
                  <a:lnTo>
                    <a:pt x="78" y="0"/>
                  </a:lnTo>
                  <a:lnTo>
                    <a:pt x="78" y="0"/>
                  </a:lnTo>
                  <a:lnTo>
                    <a:pt x="68" y="4"/>
                  </a:lnTo>
                  <a:lnTo>
                    <a:pt x="64" y="6"/>
                  </a:lnTo>
                  <a:lnTo>
                    <a:pt x="62" y="10"/>
                  </a:lnTo>
                  <a:lnTo>
                    <a:pt x="62" y="10"/>
                  </a:lnTo>
                  <a:lnTo>
                    <a:pt x="64" y="16"/>
                  </a:lnTo>
                  <a:lnTo>
                    <a:pt x="62" y="16"/>
                  </a:lnTo>
                  <a:lnTo>
                    <a:pt x="58" y="16"/>
                  </a:lnTo>
                  <a:lnTo>
                    <a:pt x="52" y="18"/>
                  </a:lnTo>
                  <a:lnTo>
                    <a:pt x="52" y="18"/>
                  </a:lnTo>
                  <a:lnTo>
                    <a:pt x="48" y="18"/>
                  </a:lnTo>
                  <a:lnTo>
                    <a:pt x="46" y="18"/>
                  </a:lnTo>
                  <a:lnTo>
                    <a:pt x="44" y="16"/>
                  </a:lnTo>
                  <a:lnTo>
                    <a:pt x="38" y="16"/>
                  </a:lnTo>
                  <a:lnTo>
                    <a:pt x="38" y="16"/>
                  </a:lnTo>
                  <a:lnTo>
                    <a:pt x="36" y="18"/>
                  </a:lnTo>
                  <a:lnTo>
                    <a:pt x="32" y="18"/>
                  </a:lnTo>
                  <a:lnTo>
                    <a:pt x="30" y="14"/>
                  </a:lnTo>
                  <a:lnTo>
                    <a:pt x="28" y="12"/>
                  </a:lnTo>
                  <a:lnTo>
                    <a:pt x="26" y="10"/>
                  </a:lnTo>
                  <a:lnTo>
                    <a:pt x="24" y="12"/>
                  </a:lnTo>
                  <a:lnTo>
                    <a:pt x="24" y="12"/>
                  </a:lnTo>
                  <a:lnTo>
                    <a:pt x="22" y="16"/>
                  </a:lnTo>
                  <a:lnTo>
                    <a:pt x="22" y="20"/>
                  </a:lnTo>
                  <a:lnTo>
                    <a:pt x="24" y="22"/>
                  </a:lnTo>
                  <a:lnTo>
                    <a:pt x="24" y="24"/>
                  </a:lnTo>
                  <a:lnTo>
                    <a:pt x="24" y="24"/>
                  </a:lnTo>
                  <a:lnTo>
                    <a:pt x="20" y="24"/>
                  </a:lnTo>
                  <a:lnTo>
                    <a:pt x="18" y="22"/>
                  </a:lnTo>
                  <a:lnTo>
                    <a:pt x="14" y="18"/>
                  </a:lnTo>
                  <a:lnTo>
                    <a:pt x="10" y="18"/>
                  </a:lnTo>
                  <a:lnTo>
                    <a:pt x="10" y="18"/>
                  </a:lnTo>
                  <a:lnTo>
                    <a:pt x="0" y="20"/>
                  </a:lnTo>
                  <a:lnTo>
                    <a:pt x="0" y="20"/>
                  </a:lnTo>
                  <a:lnTo>
                    <a:pt x="4" y="26"/>
                  </a:lnTo>
                  <a:lnTo>
                    <a:pt x="8" y="32"/>
                  </a:lnTo>
                  <a:lnTo>
                    <a:pt x="18" y="40"/>
                  </a:lnTo>
                  <a:lnTo>
                    <a:pt x="26" y="44"/>
                  </a:lnTo>
                  <a:lnTo>
                    <a:pt x="26" y="46"/>
                  </a:lnTo>
                  <a:lnTo>
                    <a:pt x="26" y="50"/>
                  </a:lnTo>
                  <a:lnTo>
                    <a:pt x="26" y="50"/>
                  </a:lnTo>
                  <a:lnTo>
                    <a:pt x="26" y="52"/>
                  </a:lnTo>
                  <a:lnTo>
                    <a:pt x="28" y="54"/>
                  </a:lnTo>
                  <a:lnTo>
                    <a:pt x="32" y="58"/>
                  </a:lnTo>
                  <a:lnTo>
                    <a:pt x="40" y="60"/>
                  </a:lnTo>
                  <a:lnTo>
                    <a:pt x="50" y="62"/>
                  </a:lnTo>
                  <a:lnTo>
                    <a:pt x="50" y="62"/>
                  </a:lnTo>
                  <a:lnTo>
                    <a:pt x="70" y="62"/>
                  </a:lnTo>
                  <a:lnTo>
                    <a:pt x="76" y="64"/>
                  </a:lnTo>
                  <a:lnTo>
                    <a:pt x="80" y="66"/>
                  </a:lnTo>
                  <a:lnTo>
                    <a:pt x="80" y="66"/>
                  </a:lnTo>
                  <a:lnTo>
                    <a:pt x="86" y="74"/>
                  </a:lnTo>
                  <a:lnTo>
                    <a:pt x="88" y="78"/>
                  </a:lnTo>
                  <a:lnTo>
                    <a:pt x="88" y="78"/>
                  </a:lnTo>
                  <a:lnTo>
                    <a:pt x="86" y="84"/>
                  </a:lnTo>
                  <a:lnTo>
                    <a:pt x="84" y="88"/>
                  </a:lnTo>
                  <a:lnTo>
                    <a:pt x="80" y="88"/>
                  </a:lnTo>
                  <a:lnTo>
                    <a:pt x="76" y="88"/>
                  </a:lnTo>
                  <a:lnTo>
                    <a:pt x="76" y="88"/>
                  </a:lnTo>
                  <a:lnTo>
                    <a:pt x="70" y="88"/>
                  </a:lnTo>
                  <a:lnTo>
                    <a:pt x="64" y="92"/>
                  </a:lnTo>
                  <a:lnTo>
                    <a:pt x="62" y="94"/>
                  </a:lnTo>
                  <a:lnTo>
                    <a:pt x="62" y="96"/>
                  </a:lnTo>
                  <a:lnTo>
                    <a:pt x="66" y="100"/>
                  </a:lnTo>
                  <a:lnTo>
                    <a:pt x="72" y="102"/>
                  </a:lnTo>
                  <a:lnTo>
                    <a:pt x="72" y="102"/>
                  </a:lnTo>
                  <a:lnTo>
                    <a:pt x="88" y="108"/>
                  </a:lnTo>
                  <a:lnTo>
                    <a:pt x="92" y="112"/>
                  </a:lnTo>
                  <a:lnTo>
                    <a:pt x="94" y="114"/>
                  </a:lnTo>
                  <a:lnTo>
                    <a:pt x="96" y="116"/>
                  </a:lnTo>
                  <a:lnTo>
                    <a:pt x="96" y="116"/>
                  </a:lnTo>
                  <a:lnTo>
                    <a:pt x="98" y="118"/>
                  </a:lnTo>
                  <a:lnTo>
                    <a:pt x="98" y="120"/>
                  </a:lnTo>
                  <a:lnTo>
                    <a:pt x="100" y="128"/>
                  </a:lnTo>
                  <a:lnTo>
                    <a:pt x="104" y="136"/>
                  </a:lnTo>
                  <a:lnTo>
                    <a:pt x="108" y="140"/>
                  </a:lnTo>
                  <a:lnTo>
                    <a:pt x="114" y="142"/>
                  </a:lnTo>
                  <a:lnTo>
                    <a:pt x="114" y="142"/>
                  </a:lnTo>
                  <a:lnTo>
                    <a:pt x="120" y="146"/>
                  </a:lnTo>
                  <a:lnTo>
                    <a:pt x="122" y="150"/>
                  </a:lnTo>
                  <a:lnTo>
                    <a:pt x="124" y="158"/>
                  </a:lnTo>
                  <a:lnTo>
                    <a:pt x="126" y="162"/>
                  </a:lnTo>
                  <a:lnTo>
                    <a:pt x="128" y="168"/>
                  </a:lnTo>
                  <a:lnTo>
                    <a:pt x="134" y="170"/>
                  </a:lnTo>
                  <a:lnTo>
                    <a:pt x="142" y="174"/>
                  </a:lnTo>
                  <a:lnTo>
                    <a:pt x="142" y="174"/>
                  </a:lnTo>
                  <a:lnTo>
                    <a:pt x="152" y="176"/>
                  </a:lnTo>
                  <a:lnTo>
                    <a:pt x="158" y="180"/>
                  </a:lnTo>
                  <a:lnTo>
                    <a:pt x="162" y="182"/>
                  </a:lnTo>
                  <a:lnTo>
                    <a:pt x="164" y="186"/>
                  </a:lnTo>
                  <a:lnTo>
                    <a:pt x="164" y="194"/>
                  </a:lnTo>
                  <a:lnTo>
                    <a:pt x="164" y="196"/>
                  </a:lnTo>
                  <a:lnTo>
                    <a:pt x="166" y="200"/>
                  </a:lnTo>
                  <a:lnTo>
                    <a:pt x="166" y="200"/>
                  </a:lnTo>
                  <a:lnTo>
                    <a:pt x="174" y="214"/>
                  </a:lnTo>
                  <a:lnTo>
                    <a:pt x="178" y="224"/>
                  </a:lnTo>
                  <a:lnTo>
                    <a:pt x="180" y="232"/>
                  </a:lnTo>
                  <a:lnTo>
                    <a:pt x="180" y="232"/>
                  </a:lnTo>
                  <a:lnTo>
                    <a:pt x="178" y="240"/>
                  </a:lnTo>
                  <a:lnTo>
                    <a:pt x="174" y="250"/>
                  </a:lnTo>
                  <a:lnTo>
                    <a:pt x="172" y="260"/>
                  </a:lnTo>
                  <a:lnTo>
                    <a:pt x="172" y="266"/>
                  </a:lnTo>
                  <a:lnTo>
                    <a:pt x="174" y="270"/>
                  </a:lnTo>
                  <a:lnTo>
                    <a:pt x="174" y="270"/>
                  </a:lnTo>
                  <a:lnTo>
                    <a:pt x="180" y="276"/>
                  </a:lnTo>
                  <a:lnTo>
                    <a:pt x="178" y="282"/>
                  </a:lnTo>
                  <a:lnTo>
                    <a:pt x="174" y="284"/>
                  </a:lnTo>
                  <a:lnTo>
                    <a:pt x="168" y="284"/>
                  </a:lnTo>
                  <a:lnTo>
                    <a:pt x="168" y="284"/>
                  </a:lnTo>
                  <a:lnTo>
                    <a:pt x="164" y="282"/>
                  </a:lnTo>
                  <a:lnTo>
                    <a:pt x="160" y="284"/>
                  </a:lnTo>
                  <a:lnTo>
                    <a:pt x="152" y="292"/>
                  </a:lnTo>
                  <a:lnTo>
                    <a:pt x="152" y="292"/>
                  </a:lnTo>
                  <a:lnTo>
                    <a:pt x="144" y="298"/>
                  </a:lnTo>
                  <a:lnTo>
                    <a:pt x="140" y="300"/>
                  </a:lnTo>
                  <a:lnTo>
                    <a:pt x="138" y="298"/>
                  </a:lnTo>
                  <a:lnTo>
                    <a:pt x="134" y="300"/>
                  </a:lnTo>
                  <a:lnTo>
                    <a:pt x="134" y="300"/>
                  </a:lnTo>
                  <a:lnTo>
                    <a:pt x="134" y="302"/>
                  </a:lnTo>
                  <a:lnTo>
                    <a:pt x="136" y="304"/>
                  </a:lnTo>
                  <a:lnTo>
                    <a:pt x="140" y="308"/>
                  </a:lnTo>
                  <a:lnTo>
                    <a:pt x="146" y="312"/>
                  </a:lnTo>
                  <a:lnTo>
                    <a:pt x="146" y="314"/>
                  </a:lnTo>
                  <a:lnTo>
                    <a:pt x="146" y="316"/>
                  </a:lnTo>
                  <a:lnTo>
                    <a:pt x="146" y="316"/>
                  </a:lnTo>
                  <a:lnTo>
                    <a:pt x="144" y="316"/>
                  </a:lnTo>
                  <a:lnTo>
                    <a:pt x="142" y="316"/>
                  </a:lnTo>
                  <a:lnTo>
                    <a:pt x="140" y="312"/>
                  </a:lnTo>
                  <a:lnTo>
                    <a:pt x="136" y="310"/>
                  </a:lnTo>
                  <a:lnTo>
                    <a:pt x="132" y="310"/>
                  </a:lnTo>
                  <a:lnTo>
                    <a:pt x="130" y="312"/>
                  </a:lnTo>
                  <a:lnTo>
                    <a:pt x="130" y="312"/>
                  </a:lnTo>
                  <a:lnTo>
                    <a:pt x="120" y="316"/>
                  </a:lnTo>
                  <a:lnTo>
                    <a:pt x="114" y="318"/>
                  </a:lnTo>
                  <a:lnTo>
                    <a:pt x="112" y="320"/>
                  </a:lnTo>
                  <a:lnTo>
                    <a:pt x="108" y="324"/>
                  </a:lnTo>
                  <a:lnTo>
                    <a:pt x="108" y="324"/>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Venezuela"/>
            <p:cNvSpPr>
              <a:spLocks/>
            </p:cNvSpPr>
            <p:nvPr/>
          </p:nvSpPr>
          <p:spPr bwMode="auto">
            <a:xfrm>
              <a:off x="2094142" y="3208073"/>
              <a:ext cx="375708" cy="394229"/>
            </a:xfrm>
            <a:custGeom>
              <a:avLst/>
              <a:gdLst/>
              <a:ahLst/>
              <a:cxnLst>
                <a:cxn ang="0">
                  <a:pos x="266" y="94"/>
                </a:cxn>
                <a:cxn ang="0">
                  <a:pos x="270" y="84"/>
                </a:cxn>
                <a:cxn ang="0">
                  <a:pos x="266" y="80"/>
                </a:cxn>
                <a:cxn ang="0">
                  <a:pos x="262" y="70"/>
                </a:cxn>
                <a:cxn ang="0">
                  <a:pos x="236" y="56"/>
                </a:cxn>
                <a:cxn ang="0">
                  <a:pos x="226" y="40"/>
                </a:cxn>
                <a:cxn ang="0">
                  <a:pos x="242" y="36"/>
                </a:cxn>
                <a:cxn ang="0">
                  <a:pos x="226" y="32"/>
                </a:cxn>
                <a:cxn ang="0">
                  <a:pos x="202" y="34"/>
                </a:cxn>
                <a:cxn ang="0">
                  <a:pos x="204" y="42"/>
                </a:cxn>
                <a:cxn ang="0">
                  <a:pos x="166" y="44"/>
                </a:cxn>
                <a:cxn ang="0">
                  <a:pos x="148" y="36"/>
                </a:cxn>
                <a:cxn ang="0">
                  <a:pos x="116" y="30"/>
                </a:cxn>
                <a:cxn ang="0">
                  <a:pos x="106" y="18"/>
                </a:cxn>
                <a:cxn ang="0">
                  <a:pos x="86" y="12"/>
                </a:cxn>
                <a:cxn ang="0">
                  <a:pos x="74" y="6"/>
                </a:cxn>
                <a:cxn ang="0">
                  <a:pos x="84" y="12"/>
                </a:cxn>
                <a:cxn ang="0">
                  <a:pos x="78" y="16"/>
                </a:cxn>
                <a:cxn ang="0">
                  <a:pos x="54" y="32"/>
                </a:cxn>
                <a:cxn ang="0">
                  <a:pos x="48" y="46"/>
                </a:cxn>
                <a:cxn ang="0">
                  <a:pos x="54" y="54"/>
                </a:cxn>
                <a:cxn ang="0">
                  <a:pos x="42" y="76"/>
                </a:cxn>
                <a:cxn ang="0">
                  <a:pos x="30" y="64"/>
                </a:cxn>
                <a:cxn ang="0">
                  <a:pos x="40" y="50"/>
                </a:cxn>
                <a:cxn ang="0">
                  <a:pos x="46" y="38"/>
                </a:cxn>
                <a:cxn ang="0">
                  <a:pos x="40" y="18"/>
                </a:cxn>
                <a:cxn ang="0">
                  <a:pos x="48" y="10"/>
                </a:cxn>
                <a:cxn ang="0">
                  <a:pos x="14" y="46"/>
                </a:cxn>
                <a:cxn ang="0">
                  <a:pos x="2" y="74"/>
                </a:cxn>
                <a:cxn ang="0">
                  <a:pos x="6" y="82"/>
                </a:cxn>
                <a:cxn ang="0">
                  <a:pos x="12" y="90"/>
                </a:cxn>
                <a:cxn ang="0">
                  <a:pos x="16" y="124"/>
                </a:cxn>
                <a:cxn ang="0">
                  <a:pos x="42" y="140"/>
                </a:cxn>
                <a:cxn ang="0">
                  <a:pos x="68" y="144"/>
                </a:cxn>
                <a:cxn ang="0">
                  <a:pos x="100" y="160"/>
                </a:cxn>
                <a:cxn ang="0">
                  <a:pos x="116" y="162"/>
                </a:cxn>
                <a:cxn ang="0">
                  <a:pos x="112" y="174"/>
                </a:cxn>
                <a:cxn ang="0">
                  <a:pos x="108" y="196"/>
                </a:cxn>
                <a:cxn ang="0">
                  <a:pos x="120" y="220"/>
                </a:cxn>
                <a:cxn ang="0">
                  <a:pos x="118" y="246"/>
                </a:cxn>
                <a:cxn ang="0">
                  <a:pos x="132" y="290"/>
                </a:cxn>
                <a:cxn ang="0">
                  <a:pos x="152" y="298"/>
                </a:cxn>
                <a:cxn ang="0">
                  <a:pos x="170" y="292"/>
                </a:cxn>
                <a:cxn ang="0">
                  <a:pos x="186" y="280"/>
                </a:cxn>
                <a:cxn ang="0">
                  <a:pos x="194" y="266"/>
                </a:cxn>
                <a:cxn ang="0">
                  <a:pos x="202" y="252"/>
                </a:cxn>
                <a:cxn ang="0">
                  <a:pos x="190" y="228"/>
                </a:cxn>
                <a:cxn ang="0">
                  <a:pos x="180" y="208"/>
                </a:cxn>
                <a:cxn ang="0">
                  <a:pos x="208" y="212"/>
                </a:cxn>
                <a:cxn ang="0">
                  <a:pos x="232" y="212"/>
                </a:cxn>
                <a:cxn ang="0">
                  <a:pos x="236" y="208"/>
                </a:cxn>
                <a:cxn ang="0">
                  <a:pos x="260" y="194"/>
                </a:cxn>
                <a:cxn ang="0">
                  <a:pos x="256" y="162"/>
                </a:cxn>
                <a:cxn ang="0">
                  <a:pos x="260" y="144"/>
                </a:cxn>
                <a:cxn ang="0">
                  <a:pos x="274" y="130"/>
                </a:cxn>
                <a:cxn ang="0">
                  <a:pos x="264" y="124"/>
                </a:cxn>
                <a:cxn ang="0">
                  <a:pos x="268" y="112"/>
                </a:cxn>
                <a:cxn ang="0">
                  <a:pos x="284" y="106"/>
                </a:cxn>
              </a:cxnLst>
              <a:rect l="0" t="0" r="r" b="b"/>
              <a:pathLst>
                <a:path w="284" h="298">
                  <a:moveTo>
                    <a:pt x="284" y="100"/>
                  </a:moveTo>
                  <a:lnTo>
                    <a:pt x="284" y="100"/>
                  </a:lnTo>
                  <a:lnTo>
                    <a:pt x="278" y="92"/>
                  </a:lnTo>
                  <a:lnTo>
                    <a:pt x="274" y="92"/>
                  </a:lnTo>
                  <a:lnTo>
                    <a:pt x="270" y="94"/>
                  </a:lnTo>
                  <a:lnTo>
                    <a:pt x="266" y="94"/>
                  </a:lnTo>
                  <a:lnTo>
                    <a:pt x="260" y="92"/>
                  </a:lnTo>
                  <a:lnTo>
                    <a:pt x="260" y="92"/>
                  </a:lnTo>
                  <a:lnTo>
                    <a:pt x="268" y="92"/>
                  </a:lnTo>
                  <a:lnTo>
                    <a:pt x="270" y="90"/>
                  </a:lnTo>
                  <a:lnTo>
                    <a:pt x="272" y="88"/>
                  </a:lnTo>
                  <a:lnTo>
                    <a:pt x="270" y="84"/>
                  </a:lnTo>
                  <a:lnTo>
                    <a:pt x="270" y="84"/>
                  </a:lnTo>
                  <a:lnTo>
                    <a:pt x="270" y="82"/>
                  </a:lnTo>
                  <a:lnTo>
                    <a:pt x="268" y="82"/>
                  </a:lnTo>
                  <a:lnTo>
                    <a:pt x="266" y="82"/>
                  </a:lnTo>
                  <a:lnTo>
                    <a:pt x="266" y="80"/>
                  </a:lnTo>
                  <a:lnTo>
                    <a:pt x="266" y="80"/>
                  </a:lnTo>
                  <a:lnTo>
                    <a:pt x="268" y="80"/>
                  </a:lnTo>
                  <a:lnTo>
                    <a:pt x="266" y="78"/>
                  </a:lnTo>
                  <a:lnTo>
                    <a:pt x="264" y="78"/>
                  </a:lnTo>
                  <a:lnTo>
                    <a:pt x="264" y="76"/>
                  </a:lnTo>
                  <a:lnTo>
                    <a:pt x="264" y="76"/>
                  </a:lnTo>
                  <a:lnTo>
                    <a:pt x="262" y="70"/>
                  </a:lnTo>
                  <a:lnTo>
                    <a:pt x="258" y="66"/>
                  </a:lnTo>
                  <a:lnTo>
                    <a:pt x="250" y="60"/>
                  </a:lnTo>
                  <a:lnTo>
                    <a:pt x="250" y="60"/>
                  </a:lnTo>
                  <a:lnTo>
                    <a:pt x="244" y="54"/>
                  </a:lnTo>
                  <a:lnTo>
                    <a:pt x="240" y="54"/>
                  </a:lnTo>
                  <a:lnTo>
                    <a:pt x="236" y="56"/>
                  </a:lnTo>
                  <a:lnTo>
                    <a:pt x="236" y="56"/>
                  </a:lnTo>
                  <a:lnTo>
                    <a:pt x="232" y="48"/>
                  </a:lnTo>
                  <a:lnTo>
                    <a:pt x="230" y="42"/>
                  </a:lnTo>
                  <a:lnTo>
                    <a:pt x="228" y="40"/>
                  </a:lnTo>
                  <a:lnTo>
                    <a:pt x="226" y="40"/>
                  </a:lnTo>
                  <a:lnTo>
                    <a:pt x="226" y="40"/>
                  </a:lnTo>
                  <a:lnTo>
                    <a:pt x="222" y="40"/>
                  </a:lnTo>
                  <a:lnTo>
                    <a:pt x="220" y="40"/>
                  </a:lnTo>
                  <a:lnTo>
                    <a:pt x="222" y="38"/>
                  </a:lnTo>
                  <a:lnTo>
                    <a:pt x="228" y="38"/>
                  </a:lnTo>
                  <a:lnTo>
                    <a:pt x="228" y="38"/>
                  </a:lnTo>
                  <a:lnTo>
                    <a:pt x="242" y="36"/>
                  </a:lnTo>
                  <a:lnTo>
                    <a:pt x="246" y="36"/>
                  </a:lnTo>
                  <a:lnTo>
                    <a:pt x="248" y="34"/>
                  </a:lnTo>
                  <a:lnTo>
                    <a:pt x="248" y="34"/>
                  </a:lnTo>
                  <a:lnTo>
                    <a:pt x="232" y="34"/>
                  </a:lnTo>
                  <a:lnTo>
                    <a:pt x="232" y="34"/>
                  </a:lnTo>
                  <a:lnTo>
                    <a:pt x="226" y="32"/>
                  </a:lnTo>
                  <a:lnTo>
                    <a:pt x="224" y="34"/>
                  </a:lnTo>
                  <a:lnTo>
                    <a:pt x="220" y="34"/>
                  </a:lnTo>
                  <a:lnTo>
                    <a:pt x="214" y="34"/>
                  </a:lnTo>
                  <a:lnTo>
                    <a:pt x="214" y="34"/>
                  </a:lnTo>
                  <a:lnTo>
                    <a:pt x="206" y="32"/>
                  </a:lnTo>
                  <a:lnTo>
                    <a:pt x="202" y="34"/>
                  </a:lnTo>
                  <a:lnTo>
                    <a:pt x="202" y="34"/>
                  </a:lnTo>
                  <a:lnTo>
                    <a:pt x="204" y="34"/>
                  </a:lnTo>
                  <a:lnTo>
                    <a:pt x="212" y="36"/>
                  </a:lnTo>
                  <a:lnTo>
                    <a:pt x="212" y="36"/>
                  </a:lnTo>
                  <a:lnTo>
                    <a:pt x="206" y="38"/>
                  </a:lnTo>
                  <a:lnTo>
                    <a:pt x="204" y="42"/>
                  </a:lnTo>
                  <a:lnTo>
                    <a:pt x="202" y="44"/>
                  </a:lnTo>
                  <a:lnTo>
                    <a:pt x="192" y="46"/>
                  </a:lnTo>
                  <a:lnTo>
                    <a:pt x="192" y="46"/>
                  </a:lnTo>
                  <a:lnTo>
                    <a:pt x="178" y="48"/>
                  </a:lnTo>
                  <a:lnTo>
                    <a:pt x="170" y="46"/>
                  </a:lnTo>
                  <a:lnTo>
                    <a:pt x="166" y="44"/>
                  </a:lnTo>
                  <a:lnTo>
                    <a:pt x="166" y="40"/>
                  </a:lnTo>
                  <a:lnTo>
                    <a:pt x="166" y="40"/>
                  </a:lnTo>
                  <a:lnTo>
                    <a:pt x="166" y="40"/>
                  </a:lnTo>
                  <a:lnTo>
                    <a:pt x="166" y="38"/>
                  </a:lnTo>
                  <a:lnTo>
                    <a:pt x="160" y="36"/>
                  </a:lnTo>
                  <a:lnTo>
                    <a:pt x="148" y="36"/>
                  </a:lnTo>
                  <a:lnTo>
                    <a:pt x="136" y="36"/>
                  </a:lnTo>
                  <a:lnTo>
                    <a:pt x="136" y="36"/>
                  </a:lnTo>
                  <a:lnTo>
                    <a:pt x="124" y="38"/>
                  </a:lnTo>
                  <a:lnTo>
                    <a:pt x="116" y="36"/>
                  </a:lnTo>
                  <a:lnTo>
                    <a:pt x="114" y="32"/>
                  </a:lnTo>
                  <a:lnTo>
                    <a:pt x="116" y="30"/>
                  </a:lnTo>
                  <a:lnTo>
                    <a:pt x="116" y="30"/>
                  </a:lnTo>
                  <a:lnTo>
                    <a:pt x="118" y="28"/>
                  </a:lnTo>
                  <a:lnTo>
                    <a:pt x="116" y="24"/>
                  </a:lnTo>
                  <a:lnTo>
                    <a:pt x="108" y="18"/>
                  </a:lnTo>
                  <a:lnTo>
                    <a:pt x="108" y="18"/>
                  </a:lnTo>
                  <a:lnTo>
                    <a:pt x="106" y="18"/>
                  </a:lnTo>
                  <a:lnTo>
                    <a:pt x="104" y="18"/>
                  </a:lnTo>
                  <a:lnTo>
                    <a:pt x="102" y="18"/>
                  </a:lnTo>
                  <a:lnTo>
                    <a:pt x="98" y="16"/>
                  </a:lnTo>
                  <a:lnTo>
                    <a:pt x="98" y="16"/>
                  </a:lnTo>
                  <a:lnTo>
                    <a:pt x="88" y="14"/>
                  </a:lnTo>
                  <a:lnTo>
                    <a:pt x="86" y="12"/>
                  </a:lnTo>
                  <a:lnTo>
                    <a:pt x="86" y="8"/>
                  </a:lnTo>
                  <a:lnTo>
                    <a:pt x="86" y="8"/>
                  </a:lnTo>
                  <a:lnTo>
                    <a:pt x="84" y="2"/>
                  </a:lnTo>
                  <a:lnTo>
                    <a:pt x="80" y="0"/>
                  </a:lnTo>
                  <a:lnTo>
                    <a:pt x="76" y="2"/>
                  </a:lnTo>
                  <a:lnTo>
                    <a:pt x="74" y="6"/>
                  </a:lnTo>
                  <a:lnTo>
                    <a:pt x="74" y="6"/>
                  </a:lnTo>
                  <a:lnTo>
                    <a:pt x="74" y="12"/>
                  </a:lnTo>
                  <a:lnTo>
                    <a:pt x="76" y="12"/>
                  </a:lnTo>
                  <a:lnTo>
                    <a:pt x="80" y="12"/>
                  </a:lnTo>
                  <a:lnTo>
                    <a:pt x="80" y="12"/>
                  </a:lnTo>
                  <a:lnTo>
                    <a:pt x="84" y="12"/>
                  </a:lnTo>
                  <a:lnTo>
                    <a:pt x="84" y="14"/>
                  </a:lnTo>
                  <a:lnTo>
                    <a:pt x="84" y="16"/>
                  </a:lnTo>
                  <a:lnTo>
                    <a:pt x="80" y="16"/>
                  </a:lnTo>
                  <a:lnTo>
                    <a:pt x="80" y="16"/>
                  </a:lnTo>
                  <a:lnTo>
                    <a:pt x="78" y="16"/>
                  </a:lnTo>
                  <a:lnTo>
                    <a:pt x="78" y="16"/>
                  </a:lnTo>
                  <a:lnTo>
                    <a:pt x="76" y="20"/>
                  </a:lnTo>
                  <a:lnTo>
                    <a:pt x="72" y="22"/>
                  </a:lnTo>
                  <a:lnTo>
                    <a:pt x="72" y="22"/>
                  </a:lnTo>
                  <a:lnTo>
                    <a:pt x="62" y="24"/>
                  </a:lnTo>
                  <a:lnTo>
                    <a:pt x="54" y="32"/>
                  </a:lnTo>
                  <a:lnTo>
                    <a:pt x="54" y="32"/>
                  </a:lnTo>
                  <a:lnTo>
                    <a:pt x="52" y="36"/>
                  </a:lnTo>
                  <a:lnTo>
                    <a:pt x="50" y="40"/>
                  </a:lnTo>
                  <a:lnTo>
                    <a:pt x="50" y="42"/>
                  </a:lnTo>
                  <a:lnTo>
                    <a:pt x="50" y="44"/>
                  </a:lnTo>
                  <a:lnTo>
                    <a:pt x="50" y="44"/>
                  </a:lnTo>
                  <a:lnTo>
                    <a:pt x="48" y="46"/>
                  </a:lnTo>
                  <a:lnTo>
                    <a:pt x="50" y="48"/>
                  </a:lnTo>
                  <a:lnTo>
                    <a:pt x="52" y="48"/>
                  </a:lnTo>
                  <a:lnTo>
                    <a:pt x="52" y="52"/>
                  </a:lnTo>
                  <a:lnTo>
                    <a:pt x="52" y="52"/>
                  </a:lnTo>
                  <a:lnTo>
                    <a:pt x="54" y="52"/>
                  </a:lnTo>
                  <a:lnTo>
                    <a:pt x="54" y="54"/>
                  </a:lnTo>
                  <a:lnTo>
                    <a:pt x="56" y="62"/>
                  </a:lnTo>
                  <a:lnTo>
                    <a:pt x="56" y="70"/>
                  </a:lnTo>
                  <a:lnTo>
                    <a:pt x="56" y="70"/>
                  </a:lnTo>
                  <a:lnTo>
                    <a:pt x="54" y="74"/>
                  </a:lnTo>
                  <a:lnTo>
                    <a:pt x="48" y="76"/>
                  </a:lnTo>
                  <a:lnTo>
                    <a:pt x="42" y="76"/>
                  </a:lnTo>
                  <a:lnTo>
                    <a:pt x="40" y="74"/>
                  </a:lnTo>
                  <a:lnTo>
                    <a:pt x="40" y="72"/>
                  </a:lnTo>
                  <a:lnTo>
                    <a:pt x="40" y="72"/>
                  </a:lnTo>
                  <a:lnTo>
                    <a:pt x="38" y="68"/>
                  </a:lnTo>
                  <a:lnTo>
                    <a:pt x="34" y="66"/>
                  </a:lnTo>
                  <a:lnTo>
                    <a:pt x="30" y="64"/>
                  </a:lnTo>
                  <a:lnTo>
                    <a:pt x="30" y="62"/>
                  </a:lnTo>
                  <a:lnTo>
                    <a:pt x="30" y="58"/>
                  </a:lnTo>
                  <a:lnTo>
                    <a:pt x="30" y="58"/>
                  </a:lnTo>
                  <a:lnTo>
                    <a:pt x="32" y="56"/>
                  </a:lnTo>
                  <a:lnTo>
                    <a:pt x="34" y="54"/>
                  </a:lnTo>
                  <a:lnTo>
                    <a:pt x="40" y="50"/>
                  </a:lnTo>
                  <a:lnTo>
                    <a:pt x="44" y="46"/>
                  </a:lnTo>
                  <a:lnTo>
                    <a:pt x="46" y="44"/>
                  </a:lnTo>
                  <a:lnTo>
                    <a:pt x="44" y="42"/>
                  </a:lnTo>
                  <a:lnTo>
                    <a:pt x="44" y="42"/>
                  </a:lnTo>
                  <a:lnTo>
                    <a:pt x="42" y="38"/>
                  </a:lnTo>
                  <a:lnTo>
                    <a:pt x="46" y="38"/>
                  </a:lnTo>
                  <a:lnTo>
                    <a:pt x="48" y="38"/>
                  </a:lnTo>
                  <a:lnTo>
                    <a:pt x="46" y="32"/>
                  </a:lnTo>
                  <a:lnTo>
                    <a:pt x="46" y="32"/>
                  </a:lnTo>
                  <a:lnTo>
                    <a:pt x="40" y="24"/>
                  </a:lnTo>
                  <a:lnTo>
                    <a:pt x="38" y="20"/>
                  </a:lnTo>
                  <a:lnTo>
                    <a:pt x="40" y="18"/>
                  </a:lnTo>
                  <a:lnTo>
                    <a:pt x="42" y="16"/>
                  </a:lnTo>
                  <a:lnTo>
                    <a:pt x="42" y="16"/>
                  </a:lnTo>
                  <a:lnTo>
                    <a:pt x="48" y="12"/>
                  </a:lnTo>
                  <a:lnTo>
                    <a:pt x="48" y="12"/>
                  </a:lnTo>
                  <a:lnTo>
                    <a:pt x="48" y="10"/>
                  </a:lnTo>
                  <a:lnTo>
                    <a:pt x="48" y="10"/>
                  </a:lnTo>
                  <a:lnTo>
                    <a:pt x="34" y="18"/>
                  </a:lnTo>
                  <a:lnTo>
                    <a:pt x="22" y="40"/>
                  </a:lnTo>
                  <a:lnTo>
                    <a:pt x="22" y="40"/>
                  </a:lnTo>
                  <a:lnTo>
                    <a:pt x="20" y="40"/>
                  </a:lnTo>
                  <a:lnTo>
                    <a:pt x="14" y="46"/>
                  </a:lnTo>
                  <a:lnTo>
                    <a:pt x="14" y="46"/>
                  </a:lnTo>
                  <a:lnTo>
                    <a:pt x="12" y="52"/>
                  </a:lnTo>
                  <a:lnTo>
                    <a:pt x="12" y="54"/>
                  </a:lnTo>
                  <a:lnTo>
                    <a:pt x="12" y="58"/>
                  </a:lnTo>
                  <a:lnTo>
                    <a:pt x="10" y="62"/>
                  </a:lnTo>
                  <a:lnTo>
                    <a:pt x="10" y="62"/>
                  </a:lnTo>
                  <a:lnTo>
                    <a:pt x="2" y="74"/>
                  </a:lnTo>
                  <a:lnTo>
                    <a:pt x="0" y="80"/>
                  </a:lnTo>
                  <a:lnTo>
                    <a:pt x="0" y="80"/>
                  </a:lnTo>
                  <a:lnTo>
                    <a:pt x="0" y="80"/>
                  </a:lnTo>
                  <a:lnTo>
                    <a:pt x="2" y="80"/>
                  </a:lnTo>
                  <a:lnTo>
                    <a:pt x="4" y="80"/>
                  </a:lnTo>
                  <a:lnTo>
                    <a:pt x="6" y="82"/>
                  </a:lnTo>
                  <a:lnTo>
                    <a:pt x="6" y="82"/>
                  </a:lnTo>
                  <a:lnTo>
                    <a:pt x="8" y="84"/>
                  </a:lnTo>
                  <a:lnTo>
                    <a:pt x="10" y="82"/>
                  </a:lnTo>
                  <a:lnTo>
                    <a:pt x="12" y="84"/>
                  </a:lnTo>
                  <a:lnTo>
                    <a:pt x="12" y="90"/>
                  </a:lnTo>
                  <a:lnTo>
                    <a:pt x="12" y="90"/>
                  </a:lnTo>
                  <a:lnTo>
                    <a:pt x="16" y="106"/>
                  </a:lnTo>
                  <a:lnTo>
                    <a:pt x="16" y="112"/>
                  </a:lnTo>
                  <a:lnTo>
                    <a:pt x="16" y="118"/>
                  </a:lnTo>
                  <a:lnTo>
                    <a:pt x="16" y="118"/>
                  </a:lnTo>
                  <a:lnTo>
                    <a:pt x="16" y="120"/>
                  </a:lnTo>
                  <a:lnTo>
                    <a:pt x="16" y="124"/>
                  </a:lnTo>
                  <a:lnTo>
                    <a:pt x="22" y="128"/>
                  </a:lnTo>
                  <a:lnTo>
                    <a:pt x="28" y="132"/>
                  </a:lnTo>
                  <a:lnTo>
                    <a:pt x="34" y="136"/>
                  </a:lnTo>
                  <a:lnTo>
                    <a:pt x="34" y="136"/>
                  </a:lnTo>
                  <a:lnTo>
                    <a:pt x="38" y="138"/>
                  </a:lnTo>
                  <a:lnTo>
                    <a:pt x="42" y="140"/>
                  </a:lnTo>
                  <a:lnTo>
                    <a:pt x="48" y="138"/>
                  </a:lnTo>
                  <a:lnTo>
                    <a:pt x="54" y="136"/>
                  </a:lnTo>
                  <a:lnTo>
                    <a:pt x="58" y="138"/>
                  </a:lnTo>
                  <a:lnTo>
                    <a:pt x="62" y="140"/>
                  </a:lnTo>
                  <a:lnTo>
                    <a:pt x="62" y="140"/>
                  </a:lnTo>
                  <a:lnTo>
                    <a:pt x="68" y="144"/>
                  </a:lnTo>
                  <a:lnTo>
                    <a:pt x="72" y="144"/>
                  </a:lnTo>
                  <a:lnTo>
                    <a:pt x="78" y="152"/>
                  </a:lnTo>
                  <a:lnTo>
                    <a:pt x="78" y="152"/>
                  </a:lnTo>
                  <a:lnTo>
                    <a:pt x="86" y="158"/>
                  </a:lnTo>
                  <a:lnTo>
                    <a:pt x="92" y="160"/>
                  </a:lnTo>
                  <a:lnTo>
                    <a:pt x="100" y="160"/>
                  </a:lnTo>
                  <a:lnTo>
                    <a:pt x="110" y="156"/>
                  </a:lnTo>
                  <a:lnTo>
                    <a:pt x="110" y="156"/>
                  </a:lnTo>
                  <a:lnTo>
                    <a:pt x="116" y="156"/>
                  </a:lnTo>
                  <a:lnTo>
                    <a:pt x="118" y="156"/>
                  </a:lnTo>
                  <a:lnTo>
                    <a:pt x="118" y="158"/>
                  </a:lnTo>
                  <a:lnTo>
                    <a:pt x="116" y="162"/>
                  </a:lnTo>
                  <a:lnTo>
                    <a:pt x="116" y="162"/>
                  </a:lnTo>
                  <a:lnTo>
                    <a:pt x="114" y="166"/>
                  </a:lnTo>
                  <a:lnTo>
                    <a:pt x="114" y="168"/>
                  </a:lnTo>
                  <a:lnTo>
                    <a:pt x="114" y="172"/>
                  </a:lnTo>
                  <a:lnTo>
                    <a:pt x="112" y="174"/>
                  </a:lnTo>
                  <a:lnTo>
                    <a:pt x="112" y="174"/>
                  </a:lnTo>
                  <a:lnTo>
                    <a:pt x="110" y="176"/>
                  </a:lnTo>
                  <a:lnTo>
                    <a:pt x="112" y="180"/>
                  </a:lnTo>
                  <a:lnTo>
                    <a:pt x="112" y="184"/>
                  </a:lnTo>
                  <a:lnTo>
                    <a:pt x="110" y="190"/>
                  </a:lnTo>
                  <a:lnTo>
                    <a:pt x="110" y="190"/>
                  </a:lnTo>
                  <a:lnTo>
                    <a:pt x="108" y="196"/>
                  </a:lnTo>
                  <a:lnTo>
                    <a:pt x="110" y="200"/>
                  </a:lnTo>
                  <a:lnTo>
                    <a:pt x="110" y="208"/>
                  </a:lnTo>
                  <a:lnTo>
                    <a:pt x="112" y="214"/>
                  </a:lnTo>
                  <a:lnTo>
                    <a:pt x="118" y="214"/>
                  </a:lnTo>
                  <a:lnTo>
                    <a:pt x="118" y="214"/>
                  </a:lnTo>
                  <a:lnTo>
                    <a:pt x="120" y="220"/>
                  </a:lnTo>
                  <a:lnTo>
                    <a:pt x="120" y="226"/>
                  </a:lnTo>
                  <a:lnTo>
                    <a:pt x="118" y="232"/>
                  </a:lnTo>
                  <a:lnTo>
                    <a:pt x="112" y="244"/>
                  </a:lnTo>
                  <a:lnTo>
                    <a:pt x="112" y="244"/>
                  </a:lnTo>
                  <a:lnTo>
                    <a:pt x="114" y="244"/>
                  </a:lnTo>
                  <a:lnTo>
                    <a:pt x="118" y="246"/>
                  </a:lnTo>
                  <a:lnTo>
                    <a:pt x="122" y="254"/>
                  </a:lnTo>
                  <a:lnTo>
                    <a:pt x="124" y="268"/>
                  </a:lnTo>
                  <a:lnTo>
                    <a:pt x="126" y="286"/>
                  </a:lnTo>
                  <a:lnTo>
                    <a:pt x="126" y="286"/>
                  </a:lnTo>
                  <a:lnTo>
                    <a:pt x="130" y="290"/>
                  </a:lnTo>
                  <a:lnTo>
                    <a:pt x="132" y="290"/>
                  </a:lnTo>
                  <a:lnTo>
                    <a:pt x="134" y="290"/>
                  </a:lnTo>
                  <a:lnTo>
                    <a:pt x="134" y="290"/>
                  </a:lnTo>
                  <a:lnTo>
                    <a:pt x="138" y="292"/>
                  </a:lnTo>
                  <a:lnTo>
                    <a:pt x="144" y="296"/>
                  </a:lnTo>
                  <a:lnTo>
                    <a:pt x="150" y="298"/>
                  </a:lnTo>
                  <a:lnTo>
                    <a:pt x="152" y="298"/>
                  </a:lnTo>
                  <a:lnTo>
                    <a:pt x="154" y="298"/>
                  </a:lnTo>
                  <a:lnTo>
                    <a:pt x="154" y="298"/>
                  </a:lnTo>
                  <a:lnTo>
                    <a:pt x="160" y="296"/>
                  </a:lnTo>
                  <a:lnTo>
                    <a:pt x="162" y="296"/>
                  </a:lnTo>
                  <a:lnTo>
                    <a:pt x="166" y="296"/>
                  </a:lnTo>
                  <a:lnTo>
                    <a:pt x="170" y="292"/>
                  </a:lnTo>
                  <a:lnTo>
                    <a:pt x="170" y="292"/>
                  </a:lnTo>
                  <a:lnTo>
                    <a:pt x="178" y="284"/>
                  </a:lnTo>
                  <a:lnTo>
                    <a:pt x="182" y="282"/>
                  </a:lnTo>
                  <a:lnTo>
                    <a:pt x="184" y="282"/>
                  </a:lnTo>
                  <a:lnTo>
                    <a:pt x="186" y="280"/>
                  </a:lnTo>
                  <a:lnTo>
                    <a:pt x="186" y="280"/>
                  </a:lnTo>
                  <a:lnTo>
                    <a:pt x="188" y="278"/>
                  </a:lnTo>
                  <a:lnTo>
                    <a:pt x="190" y="278"/>
                  </a:lnTo>
                  <a:lnTo>
                    <a:pt x="192" y="278"/>
                  </a:lnTo>
                  <a:lnTo>
                    <a:pt x="194" y="272"/>
                  </a:lnTo>
                  <a:lnTo>
                    <a:pt x="194" y="272"/>
                  </a:lnTo>
                  <a:lnTo>
                    <a:pt x="194" y="266"/>
                  </a:lnTo>
                  <a:lnTo>
                    <a:pt x="198" y="264"/>
                  </a:lnTo>
                  <a:lnTo>
                    <a:pt x="202" y="264"/>
                  </a:lnTo>
                  <a:lnTo>
                    <a:pt x="210" y="260"/>
                  </a:lnTo>
                  <a:lnTo>
                    <a:pt x="210" y="260"/>
                  </a:lnTo>
                  <a:lnTo>
                    <a:pt x="208" y="252"/>
                  </a:lnTo>
                  <a:lnTo>
                    <a:pt x="202" y="252"/>
                  </a:lnTo>
                  <a:lnTo>
                    <a:pt x="202" y="252"/>
                  </a:lnTo>
                  <a:lnTo>
                    <a:pt x="198" y="252"/>
                  </a:lnTo>
                  <a:lnTo>
                    <a:pt x="194" y="250"/>
                  </a:lnTo>
                  <a:lnTo>
                    <a:pt x="190" y="244"/>
                  </a:lnTo>
                  <a:lnTo>
                    <a:pt x="188" y="236"/>
                  </a:lnTo>
                  <a:lnTo>
                    <a:pt x="190" y="228"/>
                  </a:lnTo>
                  <a:lnTo>
                    <a:pt x="190" y="228"/>
                  </a:lnTo>
                  <a:lnTo>
                    <a:pt x="190" y="224"/>
                  </a:lnTo>
                  <a:lnTo>
                    <a:pt x="190" y="220"/>
                  </a:lnTo>
                  <a:lnTo>
                    <a:pt x="184" y="214"/>
                  </a:lnTo>
                  <a:lnTo>
                    <a:pt x="180" y="210"/>
                  </a:lnTo>
                  <a:lnTo>
                    <a:pt x="180" y="208"/>
                  </a:lnTo>
                  <a:lnTo>
                    <a:pt x="184" y="206"/>
                  </a:lnTo>
                  <a:lnTo>
                    <a:pt x="184" y="206"/>
                  </a:lnTo>
                  <a:lnTo>
                    <a:pt x="190" y="206"/>
                  </a:lnTo>
                  <a:lnTo>
                    <a:pt x="194" y="206"/>
                  </a:lnTo>
                  <a:lnTo>
                    <a:pt x="202" y="210"/>
                  </a:lnTo>
                  <a:lnTo>
                    <a:pt x="208" y="212"/>
                  </a:lnTo>
                  <a:lnTo>
                    <a:pt x="210" y="212"/>
                  </a:lnTo>
                  <a:lnTo>
                    <a:pt x="216" y="212"/>
                  </a:lnTo>
                  <a:lnTo>
                    <a:pt x="216" y="212"/>
                  </a:lnTo>
                  <a:lnTo>
                    <a:pt x="224" y="210"/>
                  </a:lnTo>
                  <a:lnTo>
                    <a:pt x="230" y="212"/>
                  </a:lnTo>
                  <a:lnTo>
                    <a:pt x="232" y="212"/>
                  </a:lnTo>
                  <a:lnTo>
                    <a:pt x="234" y="212"/>
                  </a:lnTo>
                  <a:lnTo>
                    <a:pt x="234" y="212"/>
                  </a:lnTo>
                  <a:lnTo>
                    <a:pt x="236" y="210"/>
                  </a:lnTo>
                  <a:lnTo>
                    <a:pt x="236" y="210"/>
                  </a:lnTo>
                  <a:lnTo>
                    <a:pt x="234" y="208"/>
                  </a:lnTo>
                  <a:lnTo>
                    <a:pt x="236" y="208"/>
                  </a:lnTo>
                  <a:lnTo>
                    <a:pt x="236" y="208"/>
                  </a:lnTo>
                  <a:lnTo>
                    <a:pt x="242" y="206"/>
                  </a:lnTo>
                  <a:lnTo>
                    <a:pt x="248" y="204"/>
                  </a:lnTo>
                  <a:lnTo>
                    <a:pt x="256" y="198"/>
                  </a:lnTo>
                  <a:lnTo>
                    <a:pt x="256" y="198"/>
                  </a:lnTo>
                  <a:lnTo>
                    <a:pt x="260" y="194"/>
                  </a:lnTo>
                  <a:lnTo>
                    <a:pt x="264" y="192"/>
                  </a:lnTo>
                  <a:lnTo>
                    <a:pt x="266" y="190"/>
                  </a:lnTo>
                  <a:lnTo>
                    <a:pt x="268" y="182"/>
                  </a:lnTo>
                  <a:lnTo>
                    <a:pt x="268" y="182"/>
                  </a:lnTo>
                  <a:lnTo>
                    <a:pt x="258" y="168"/>
                  </a:lnTo>
                  <a:lnTo>
                    <a:pt x="256" y="162"/>
                  </a:lnTo>
                  <a:lnTo>
                    <a:pt x="254" y="158"/>
                  </a:lnTo>
                  <a:lnTo>
                    <a:pt x="254" y="158"/>
                  </a:lnTo>
                  <a:lnTo>
                    <a:pt x="256" y="154"/>
                  </a:lnTo>
                  <a:lnTo>
                    <a:pt x="258" y="150"/>
                  </a:lnTo>
                  <a:lnTo>
                    <a:pt x="262" y="148"/>
                  </a:lnTo>
                  <a:lnTo>
                    <a:pt x="260" y="144"/>
                  </a:lnTo>
                  <a:lnTo>
                    <a:pt x="260" y="144"/>
                  </a:lnTo>
                  <a:lnTo>
                    <a:pt x="260" y="140"/>
                  </a:lnTo>
                  <a:lnTo>
                    <a:pt x="260" y="138"/>
                  </a:lnTo>
                  <a:lnTo>
                    <a:pt x="270" y="132"/>
                  </a:lnTo>
                  <a:lnTo>
                    <a:pt x="270" y="132"/>
                  </a:lnTo>
                  <a:lnTo>
                    <a:pt x="274" y="130"/>
                  </a:lnTo>
                  <a:lnTo>
                    <a:pt x="274" y="126"/>
                  </a:lnTo>
                  <a:lnTo>
                    <a:pt x="272" y="124"/>
                  </a:lnTo>
                  <a:lnTo>
                    <a:pt x="268" y="124"/>
                  </a:lnTo>
                  <a:lnTo>
                    <a:pt x="268" y="124"/>
                  </a:lnTo>
                  <a:lnTo>
                    <a:pt x="264" y="126"/>
                  </a:lnTo>
                  <a:lnTo>
                    <a:pt x="264" y="124"/>
                  </a:lnTo>
                  <a:lnTo>
                    <a:pt x="266" y="122"/>
                  </a:lnTo>
                  <a:lnTo>
                    <a:pt x="266" y="118"/>
                  </a:lnTo>
                  <a:lnTo>
                    <a:pt x="266" y="118"/>
                  </a:lnTo>
                  <a:lnTo>
                    <a:pt x="266" y="116"/>
                  </a:lnTo>
                  <a:lnTo>
                    <a:pt x="266" y="114"/>
                  </a:lnTo>
                  <a:lnTo>
                    <a:pt x="268" y="112"/>
                  </a:lnTo>
                  <a:lnTo>
                    <a:pt x="270" y="110"/>
                  </a:lnTo>
                  <a:lnTo>
                    <a:pt x="270" y="110"/>
                  </a:lnTo>
                  <a:lnTo>
                    <a:pt x="272" y="108"/>
                  </a:lnTo>
                  <a:lnTo>
                    <a:pt x="274" y="106"/>
                  </a:lnTo>
                  <a:lnTo>
                    <a:pt x="280" y="106"/>
                  </a:lnTo>
                  <a:lnTo>
                    <a:pt x="284" y="106"/>
                  </a:lnTo>
                  <a:lnTo>
                    <a:pt x="284" y="104"/>
                  </a:lnTo>
                  <a:lnTo>
                    <a:pt x="284" y="100"/>
                  </a:lnTo>
                  <a:lnTo>
                    <a:pt x="284" y="100"/>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615" name="Bahrain"/>
          <p:cNvSpPr>
            <a:spLocks/>
          </p:cNvSpPr>
          <p:nvPr/>
        </p:nvSpPr>
        <p:spPr bwMode="auto">
          <a:xfrm rot="16200000">
            <a:off x="5509086" y="1997197"/>
            <a:ext cx="11391" cy="9107"/>
          </a:xfrm>
          <a:custGeom>
            <a:avLst/>
            <a:gdLst/>
            <a:ahLst/>
            <a:cxnLst>
              <a:cxn ang="0">
                <a:pos x="8" y="8"/>
              </a:cxn>
              <a:cxn ang="0">
                <a:pos x="8" y="8"/>
              </a:cxn>
              <a:cxn ang="0">
                <a:pos x="0" y="8"/>
              </a:cxn>
              <a:cxn ang="0">
                <a:pos x="0" y="8"/>
              </a:cxn>
              <a:cxn ang="0">
                <a:pos x="4" y="4"/>
              </a:cxn>
              <a:cxn ang="0">
                <a:pos x="8" y="0"/>
              </a:cxn>
              <a:cxn ang="0">
                <a:pos x="8" y="0"/>
              </a:cxn>
              <a:cxn ang="0">
                <a:pos x="10" y="2"/>
              </a:cxn>
              <a:cxn ang="0">
                <a:pos x="8" y="8"/>
              </a:cxn>
              <a:cxn ang="0">
                <a:pos x="8" y="8"/>
              </a:cxn>
            </a:cxnLst>
            <a:rect l="0" t="0" r="r" b="b"/>
            <a:pathLst>
              <a:path w="10" h="8">
                <a:moveTo>
                  <a:pt x="8" y="8"/>
                </a:moveTo>
                <a:lnTo>
                  <a:pt x="8" y="8"/>
                </a:lnTo>
                <a:lnTo>
                  <a:pt x="0" y="8"/>
                </a:lnTo>
                <a:lnTo>
                  <a:pt x="0" y="8"/>
                </a:lnTo>
                <a:lnTo>
                  <a:pt x="4" y="4"/>
                </a:lnTo>
                <a:lnTo>
                  <a:pt x="8" y="0"/>
                </a:lnTo>
                <a:lnTo>
                  <a:pt x="8" y="0"/>
                </a:lnTo>
                <a:lnTo>
                  <a:pt x="10" y="2"/>
                </a:lnTo>
                <a:lnTo>
                  <a:pt x="8" y="8"/>
                </a:lnTo>
                <a:lnTo>
                  <a:pt x="8" y="8"/>
                </a:lnTo>
                <a:close/>
              </a:path>
            </a:pathLst>
          </a:custGeom>
          <a:solidFill>
            <a:schemeClr val="tx1"/>
          </a:solidFill>
          <a:ln w="6350">
            <a:solidFill>
              <a:schemeClr val="tx1"/>
            </a:solid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617" name="Bahrain"/>
          <p:cNvSpPr>
            <a:spLocks/>
          </p:cNvSpPr>
          <p:nvPr/>
        </p:nvSpPr>
        <p:spPr bwMode="auto">
          <a:xfrm rot="16200000">
            <a:off x="5509098" y="1997209"/>
            <a:ext cx="11391" cy="9107"/>
          </a:xfrm>
          <a:custGeom>
            <a:avLst/>
            <a:gdLst/>
            <a:ahLst/>
            <a:cxnLst>
              <a:cxn ang="0">
                <a:pos x="8" y="8"/>
              </a:cxn>
              <a:cxn ang="0">
                <a:pos x="8" y="8"/>
              </a:cxn>
              <a:cxn ang="0">
                <a:pos x="0" y="8"/>
              </a:cxn>
              <a:cxn ang="0">
                <a:pos x="0" y="8"/>
              </a:cxn>
              <a:cxn ang="0">
                <a:pos x="4" y="4"/>
              </a:cxn>
              <a:cxn ang="0">
                <a:pos x="8" y="0"/>
              </a:cxn>
              <a:cxn ang="0">
                <a:pos x="8" y="0"/>
              </a:cxn>
              <a:cxn ang="0">
                <a:pos x="10" y="2"/>
              </a:cxn>
              <a:cxn ang="0">
                <a:pos x="8" y="8"/>
              </a:cxn>
              <a:cxn ang="0">
                <a:pos x="8" y="8"/>
              </a:cxn>
            </a:cxnLst>
            <a:rect l="0" t="0" r="r" b="b"/>
            <a:pathLst>
              <a:path w="10" h="8">
                <a:moveTo>
                  <a:pt x="8" y="8"/>
                </a:moveTo>
                <a:lnTo>
                  <a:pt x="8" y="8"/>
                </a:lnTo>
                <a:lnTo>
                  <a:pt x="0" y="8"/>
                </a:lnTo>
                <a:lnTo>
                  <a:pt x="0" y="8"/>
                </a:lnTo>
                <a:lnTo>
                  <a:pt x="4" y="4"/>
                </a:lnTo>
                <a:lnTo>
                  <a:pt x="8" y="0"/>
                </a:lnTo>
                <a:lnTo>
                  <a:pt x="8" y="0"/>
                </a:lnTo>
                <a:lnTo>
                  <a:pt x="10" y="2"/>
                </a:lnTo>
                <a:lnTo>
                  <a:pt x="8" y="8"/>
                </a:lnTo>
                <a:lnTo>
                  <a:pt x="8" y="8"/>
                </a:lnTo>
                <a:close/>
              </a:path>
            </a:pathLst>
          </a:custGeom>
          <a:solidFill>
            <a:schemeClr val="accent1"/>
          </a:solidFill>
          <a:ln w="6350">
            <a:solidFill>
              <a:schemeClr val="tx1"/>
            </a:solid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025" name="Bosnia and Herzegovina"/>
          <p:cNvSpPr>
            <a:spLocks/>
          </p:cNvSpPr>
          <p:nvPr/>
        </p:nvSpPr>
        <p:spPr bwMode="auto">
          <a:xfrm>
            <a:off x="4702267" y="1519386"/>
            <a:ext cx="68059" cy="66079"/>
          </a:xfrm>
          <a:custGeom>
            <a:avLst/>
            <a:gdLst>
              <a:gd name="T0" fmla="*/ 435 w 832"/>
              <a:gd name="T1" fmla="*/ 694 h 808"/>
              <a:gd name="T2" fmla="*/ 350 w 832"/>
              <a:gd name="T3" fmla="*/ 600 h 808"/>
              <a:gd name="T4" fmla="*/ 350 w 832"/>
              <a:gd name="T5" fmla="*/ 529 h 808"/>
              <a:gd name="T6" fmla="*/ 265 w 832"/>
              <a:gd name="T7" fmla="*/ 498 h 808"/>
              <a:gd name="T8" fmla="*/ 102 w 832"/>
              <a:gd name="T9" fmla="*/ 302 h 808"/>
              <a:gd name="T10" fmla="*/ 71 w 832"/>
              <a:gd name="T11" fmla="*/ 196 h 808"/>
              <a:gd name="T12" fmla="*/ 71 w 832"/>
              <a:gd name="T13" fmla="*/ 158 h 808"/>
              <a:gd name="T14" fmla="*/ 0 w 832"/>
              <a:gd name="T15" fmla="*/ 158 h 808"/>
              <a:gd name="T16" fmla="*/ 0 w 832"/>
              <a:gd name="T17" fmla="*/ 0 h 808"/>
              <a:gd name="T18" fmla="*/ 128 w 832"/>
              <a:gd name="T19" fmla="*/ 57 h 808"/>
              <a:gd name="T20" fmla="*/ 177 w 832"/>
              <a:gd name="T21" fmla="*/ 0 h 808"/>
              <a:gd name="T22" fmla="*/ 260 w 832"/>
              <a:gd name="T23" fmla="*/ 0 h 808"/>
              <a:gd name="T24" fmla="*/ 350 w 832"/>
              <a:gd name="T25" fmla="*/ 57 h 808"/>
              <a:gd name="T26" fmla="*/ 480 w 832"/>
              <a:gd name="T27" fmla="*/ 71 h 808"/>
              <a:gd name="T28" fmla="*/ 508 w 832"/>
              <a:gd name="T29" fmla="*/ 38 h 808"/>
              <a:gd name="T30" fmla="*/ 643 w 832"/>
              <a:gd name="T31" fmla="*/ 52 h 808"/>
              <a:gd name="T32" fmla="*/ 699 w 832"/>
              <a:gd name="T33" fmla="*/ 109 h 808"/>
              <a:gd name="T34" fmla="*/ 782 w 832"/>
              <a:gd name="T35" fmla="*/ 113 h 808"/>
              <a:gd name="T36" fmla="*/ 782 w 832"/>
              <a:gd name="T37" fmla="*/ 203 h 808"/>
              <a:gd name="T38" fmla="*/ 732 w 832"/>
              <a:gd name="T39" fmla="*/ 246 h 808"/>
              <a:gd name="T40" fmla="*/ 832 w 832"/>
              <a:gd name="T41" fmla="*/ 347 h 808"/>
              <a:gd name="T42" fmla="*/ 832 w 832"/>
              <a:gd name="T43" fmla="*/ 409 h 808"/>
              <a:gd name="T44" fmla="*/ 789 w 832"/>
              <a:gd name="T45" fmla="*/ 409 h 808"/>
              <a:gd name="T46" fmla="*/ 832 w 832"/>
              <a:gd name="T47" fmla="*/ 479 h 808"/>
              <a:gd name="T48" fmla="*/ 832 w 832"/>
              <a:gd name="T49" fmla="*/ 510 h 808"/>
              <a:gd name="T50" fmla="*/ 763 w 832"/>
              <a:gd name="T51" fmla="*/ 491 h 808"/>
              <a:gd name="T52" fmla="*/ 695 w 832"/>
              <a:gd name="T53" fmla="*/ 505 h 808"/>
              <a:gd name="T54" fmla="*/ 732 w 832"/>
              <a:gd name="T55" fmla="*/ 581 h 808"/>
              <a:gd name="T56" fmla="*/ 688 w 832"/>
              <a:gd name="T57" fmla="*/ 567 h 808"/>
              <a:gd name="T58" fmla="*/ 643 w 832"/>
              <a:gd name="T59" fmla="*/ 605 h 808"/>
              <a:gd name="T60" fmla="*/ 650 w 832"/>
              <a:gd name="T61" fmla="*/ 650 h 808"/>
              <a:gd name="T62" fmla="*/ 612 w 832"/>
              <a:gd name="T63" fmla="*/ 650 h 808"/>
              <a:gd name="T64" fmla="*/ 593 w 832"/>
              <a:gd name="T65" fmla="*/ 737 h 808"/>
              <a:gd name="T66" fmla="*/ 612 w 832"/>
              <a:gd name="T67" fmla="*/ 808 h 808"/>
              <a:gd name="T68" fmla="*/ 555 w 832"/>
              <a:gd name="T69" fmla="*/ 808 h 808"/>
              <a:gd name="T70" fmla="*/ 435 w 832"/>
              <a:gd name="T71" fmla="*/ 694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32" h="808">
                <a:moveTo>
                  <a:pt x="435" y="694"/>
                </a:moveTo>
                <a:lnTo>
                  <a:pt x="350" y="600"/>
                </a:lnTo>
                <a:lnTo>
                  <a:pt x="350" y="529"/>
                </a:lnTo>
                <a:lnTo>
                  <a:pt x="265" y="498"/>
                </a:lnTo>
                <a:lnTo>
                  <a:pt x="102" y="302"/>
                </a:lnTo>
                <a:lnTo>
                  <a:pt x="71" y="196"/>
                </a:lnTo>
                <a:lnTo>
                  <a:pt x="71" y="158"/>
                </a:lnTo>
                <a:lnTo>
                  <a:pt x="0" y="158"/>
                </a:lnTo>
                <a:lnTo>
                  <a:pt x="0" y="0"/>
                </a:lnTo>
                <a:lnTo>
                  <a:pt x="128" y="57"/>
                </a:lnTo>
                <a:lnTo>
                  <a:pt x="177" y="0"/>
                </a:lnTo>
                <a:lnTo>
                  <a:pt x="260" y="0"/>
                </a:lnTo>
                <a:lnTo>
                  <a:pt x="350" y="57"/>
                </a:lnTo>
                <a:lnTo>
                  <a:pt x="480" y="71"/>
                </a:lnTo>
                <a:lnTo>
                  <a:pt x="508" y="38"/>
                </a:lnTo>
                <a:lnTo>
                  <a:pt x="643" y="52"/>
                </a:lnTo>
                <a:lnTo>
                  <a:pt x="699" y="109"/>
                </a:lnTo>
                <a:lnTo>
                  <a:pt x="782" y="113"/>
                </a:lnTo>
                <a:lnTo>
                  <a:pt x="782" y="203"/>
                </a:lnTo>
                <a:lnTo>
                  <a:pt x="732" y="246"/>
                </a:lnTo>
                <a:lnTo>
                  <a:pt x="832" y="347"/>
                </a:lnTo>
                <a:lnTo>
                  <a:pt x="832" y="409"/>
                </a:lnTo>
                <a:lnTo>
                  <a:pt x="789" y="409"/>
                </a:lnTo>
                <a:lnTo>
                  <a:pt x="832" y="479"/>
                </a:lnTo>
                <a:lnTo>
                  <a:pt x="832" y="510"/>
                </a:lnTo>
                <a:lnTo>
                  <a:pt x="763" y="491"/>
                </a:lnTo>
                <a:lnTo>
                  <a:pt x="695" y="505"/>
                </a:lnTo>
                <a:lnTo>
                  <a:pt x="732" y="581"/>
                </a:lnTo>
                <a:lnTo>
                  <a:pt x="688" y="567"/>
                </a:lnTo>
                <a:lnTo>
                  <a:pt x="643" y="605"/>
                </a:lnTo>
                <a:lnTo>
                  <a:pt x="650" y="650"/>
                </a:lnTo>
                <a:lnTo>
                  <a:pt x="612" y="650"/>
                </a:lnTo>
                <a:lnTo>
                  <a:pt x="593" y="737"/>
                </a:lnTo>
                <a:lnTo>
                  <a:pt x="612" y="808"/>
                </a:lnTo>
                <a:lnTo>
                  <a:pt x="555" y="808"/>
                </a:lnTo>
                <a:lnTo>
                  <a:pt x="435" y="694"/>
                </a:lnTo>
                <a:close/>
              </a:path>
            </a:pathLst>
          </a:custGeom>
          <a:solidFill>
            <a:schemeClr val="tx1"/>
          </a:solidFill>
          <a:ln w="6350" cap="flat">
            <a:solidFill>
              <a:schemeClr val="tx1"/>
            </a:solidFill>
            <a:prstDash val="solid"/>
            <a:miter lim="800000"/>
            <a:headEnd/>
            <a:tailEnd/>
          </a:ln>
        </p:spPr>
        <p:txBody>
          <a:bodyPr vert="horz" wrap="square" lIns="68589" tIns="34295" rIns="68589" bIns="34295" numCol="1" anchor="t" anchorCtr="0" compatLnSpc="1">
            <a:prstTxWarp prst="textNoShape">
              <a:avLst/>
            </a:prstTxWarp>
          </a:bodyPr>
          <a:lstStyle/>
          <a:p>
            <a:endParaRPr lang="en-US" dirty="0"/>
          </a:p>
        </p:txBody>
      </p:sp>
      <p:sp>
        <p:nvSpPr>
          <p:cNvPr id="650" name="Bahamas"/>
          <p:cNvSpPr>
            <a:spLocks/>
          </p:cNvSpPr>
          <p:nvPr/>
        </p:nvSpPr>
        <p:spPr bwMode="auto">
          <a:xfrm rot="9136277">
            <a:off x="2525235" y="2060412"/>
            <a:ext cx="13720" cy="25037"/>
          </a:xfrm>
          <a:custGeom>
            <a:avLst/>
            <a:gdLst/>
            <a:ahLst/>
            <a:cxnLst>
              <a:cxn ang="0">
                <a:pos x="24" y="22"/>
              </a:cxn>
              <a:cxn ang="0">
                <a:pos x="24" y="22"/>
              </a:cxn>
              <a:cxn ang="0">
                <a:pos x="22" y="18"/>
              </a:cxn>
              <a:cxn ang="0">
                <a:pos x="18" y="16"/>
              </a:cxn>
              <a:cxn ang="0">
                <a:pos x="18" y="16"/>
              </a:cxn>
              <a:cxn ang="0">
                <a:pos x="16" y="16"/>
              </a:cxn>
              <a:cxn ang="0">
                <a:pos x="14" y="14"/>
              </a:cxn>
              <a:cxn ang="0">
                <a:pos x="12" y="10"/>
              </a:cxn>
              <a:cxn ang="0">
                <a:pos x="12" y="10"/>
              </a:cxn>
              <a:cxn ang="0">
                <a:pos x="10" y="8"/>
              </a:cxn>
              <a:cxn ang="0">
                <a:pos x="6" y="6"/>
              </a:cxn>
              <a:cxn ang="0">
                <a:pos x="6" y="6"/>
              </a:cxn>
              <a:cxn ang="0">
                <a:pos x="2" y="4"/>
              </a:cxn>
              <a:cxn ang="0">
                <a:pos x="0" y="4"/>
              </a:cxn>
              <a:cxn ang="0">
                <a:pos x="2" y="2"/>
              </a:cxn>
              <a:cxn ang="0">
                <a:pos x="2" y="2"/>
              </a:cxn>
              <a:cxn ang="0">
                <a:pos x="10" y="0"/>
              </a:cxn>
              <a:cxn ang="0">
                <a:pos x="14" y="0"/>
              </a:cxn>
              <a:cxn ang="0">
                <a:pos x="14" y="0"/>
              </a:cxn>
              <a:cxn ang="0">
                <a:pos x="16" y="0"/>
              </a:cxn>
              <a:cxn ang="0">
                <a:pos x="22" y="0"/>
              </a:cxn>
              <a:cxn ang="0">
                <a:pos x="22" y="0"/>
              </a:cxn>
              <a:cxn ang="0">
                <a:pos x="34" y="2"/>
              </a:cxn>
              <a:cxn ang="0">
                <a:pos x="34" y="2"/>
              </a:cxn>
              <a:cxn ang="0">
                <a:pos x="38" y="6"/>
              </a:cxn>
              <a:cxn ang="0">
                <a:pos x="40" y="8"/>
              </a:cxn>
              <a:cxn ang="0">
                <a:pos x="44" y="10"/>
              </a:cxn>
              <a:cxn ang="0">
                <a:pos x="44" y="10"/>
              </a:cxn>
              <a:cxn ang="0">
                <a:pos x="48" y="12"/>
              </a:cxn>
              <a:cxn ang="0">
                <a:pos x="50" y="14"/>
              </a:cxn>
              <a:cxn ang="0">
                <a:pos x="50" y="14"/>
              </a:cxn>
              <a:cxn ang="0">
                <a:pos x="48" y="16"/>
              </a:cxn>
              <a:cxn ang="0">
                <a:pos x="44" y="16"/>
              </a:cxn>
              <a:cxn ang="0">
                <a:pos x="44" y="16"/>
              </a:cxn>
              <a:cxn ang="0">
                <a:pos x="40" y="18"/>
              </a:cxn>
              <a:cxn ang="0">
                <a:pos x="34" y="18"/>
              </a:cxn>
              <a:cxn ang="0">
                <a:pos x="34" y="18"/>
              </a:cxn>
              <a:cxn ang="0">
                <a:pos x="32" y="16"/>
              </a:cxn>
              <a:cxn ang="0">
                <a:pos x="32" y="18"/>
              </a:cxn>
              <a:cxn ang="0">
                <a:pos x="32" y="18"/>
              </a:cxn>
              <a:cxn ang="0">
                <a:pos x="30" y="20"/>
              </a:cxn>
              <a:cxn ang="0">
                <a:pos x="28" y="18"/>
              </a:cxn>
              <a:cxn ang="0">
                <a:pos x="28" y="18"/>
              </a:cxn>
              <a:cxn ang="0">
                <a:pos x="26" y="18"/>
              </a:cxn>
              <a:cxn ang="0">
                <a:pos x="26" y="20"/>
              </a:cxn>
              <a:cxn ang="0">
                <a:pos x="26" y="20"/>
              </a:cxn>
              <a:cxn ang="0">
                <a:pos x="26" y="22"/>
              </a:cxn>
              <a:cxn ang="0">
                <a:pos x="24" y="22"/>
              </a:cxn>
              <a:cxn ang="0">
                <a:pos x="24" y="22"/>
              </a:cxn>
            </a:cxnLst>
            <a:rect l="0" t="0" r="r" b="b"/>
            <a:pathLst>
              <a:path w="50" h="22">
                <a:moveTo>
                  <a:pt x="24" y="22"/>
                </a:moveTo>
                <a:lnTo>
                  <a:pt x="24" y="22"/>
                </a:lnTo>
                <a:lnTo>
                  <a:pt x="22" y="18"/>
                </a:lnTo>
                <a:lnTo>
                  <a:pt x="18" y="16"/>
                </a:lnTo>
                <a:lnTo>
                  <a:pt x="18" y="16"/>
                </a:lnTo>
                <a:lnTo>
                  <a:pt x="16" y="16"/>
                </a:lnTo>
                <a:lnTo>
                  <a:pt x="14" y="14"/>
                </a:lnTo>
                <a:lnTo>
                  <a:pt x="12" y="10"/>
                </a:lnTo>
                <a:lnTo>
                  <a:pt x="12" y="10"/>
                </a:lnTo>
                <a:lnTo>
                  <a:pt x="10" y="8"/>
                </a:lnTo>
                <a:lnTo>
                  <a:pt x="6" y="6"/>
                </a:lnTo>
                <a:lnTo>
                  <a:pt x="6" y="6"/>
                </a:lnTo>
                <a:lnTo>
                  <a:pt x="2" y="4"/>
                </a:lnTo>
                <a:lnTo>
                  <a:pt x="0" y="4"/>
                </a:lnTo>
                <a:lnTo>
                  <a:pt x="2" y="2"/>
                </a:lnTo>
                <a:lnTo>
                  <a:pt x="2" y="2"/>
                </a:lnTo>
                <a:lnTo>
                  <a:pt x="10" y="0"/>
                </a:lnTo>
                <a:lnTo>
                  <a:pt x="14" y="0"/>
                </a:lnTo>
                <a:lnTo>
                  <a:pt x="14" y="0"/>
                </a:lnTo>
                <a:lnTo>
                  <a:pt x="16" y="0"/>
                </a:lnTo>
                <a:lnTo>
                  <a:pt x="22" y="0"/>
                </a:lnTo>
                <a:lnTo>
                  <a:pt x="22" y="0"/>
                </a:lnTo>
                <a:lnTo>
                  <a:pt x="34" y="2"/>
                </a:lnTo>
                <a:lnTo>
                  <a:pt x="34" y="2"/>
                </a:lnTo>
                <a:lnTo>
                  <a:pt x="38" y="6"/>
                </a:lnTo>
                <a:lnTo>
                  <a:pt x="40" y="8"/>
                </a:lnTo>
                <a:lnTo>
                  <a:pt x="44" y="10"/>
                </a:lnTo>
                <a:lnTo>
                  <a:pt x="44" y="10"/>
                </a:lnTo>
                <a:lnTo>
                  <a:pt x="48" y="12"/>
                </a:lnTo>
                <a:lnTo>
                  <a:pt x="50" y="14"/>
                </a:lnTo>
                <a:lnTo>
                  <a:pt x="50" y="14"/>
                </a:lnTo>
                <a:lnTo>
                  <a:pt x="48" y="16"/>
                </a:lnTo>
                <a:lnTo>
                  <a:pt x="44" y="16"/>
                </a:lnTo>
                <a:lnTo>
                  <a:pt x="44" y="16"/>
                </a:lnTo>
                <a:lnTo>
                  <a:pt x="40" y="18"/>
                </a:lnTo>
                <a:lnTo>
                  <a:pt x="34" y="18"/>
                </a:lnTo>
                <a:lnTo>
                  <a:pt x="34" y="18"/>
                </a:lnTo>
                <a:lnTo>
                  <a:pt x="32" y="16"/>
                </a:lnTo>
                <a:lnTo>
                  <a:pt x="32" y="18"/>
                </a:lnTo>
                <a:lnTo>
                  <a:pt x="32" y="18"/>
                </a:lnTo>
                <a:lnTo>
                  <a:pt x="30" y="20"/>
                </a:lnTo>
                <a:lnTo>
                  <a:pt x="28" y="18"/>
                </a:lnTo>
                <a:lnTo>
                  <a:pt x="28" y="18"/>
                </a:lnTo>
                <a:lnTo>
                  <a:pt x="26" y="18"/>
                </a:lnTo>
                <a:lnTo>
                  <a:pt x="26" y="20"/>
                </a:lnTo>
                <a:lnTo>
                  <a:pt x="26" y="20"/>
                </a:lnTo>
                <a:lnTo>
                  <a:pt x="26" y="22"/>
                </a:lnTo>
                <a:lnTo>
                  <a:pt x="24" y="22"/>
                </a:lnTo>
                <a:lnTo>
                  <a:pt x="24" y="22"/>
                </a:lnTo>
                <a:close/>
              </a:path>
            </a:pathLst>
          </a:custGeom>
          <a:solidFill>
            <a:schemeClr val="tx1"/>
          </a:solidFill>
          <a:ln w="6350">
            <a:solidFill>
              <a:schemeClr val="tx1"/>
            </a:solid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397" name="Luxembourg"/>
          <p:cNvSpPr>
            <a:spLocks/>
          </p:cNvSpPr>
          <p:nvPr/>
        </p:nvSpPr>
        <p:spPr bwMode="auto">
          <a:xfrm>
            <a:off x="4453431" y="1409687"/>
            <a:ext cx="11394" cy="9104"/>
          </a:xfrm>
          <a:custGeom>
            <a:avLst/>
            <a:gdLst/>
            <a:ahLst/>
            <a:cxnLst>
              <a:cxn ang="0">
                <a:pos x="8" y="8"/>
              </a:cxn>
              <a:cxn ang="0">
                <a:pos x="8" y="8"/>
              </a:cxn>
              <a:cxn ang="0">
                <a:pos x="0" y="8"/>
              </a:cxn>
              <a:cxn ang="0">
                <a:pos x="0" y="8"/>
              </a:cxn>
              <a:cxn ang="0">
                <a:pos x="4" y="4"/>
              </a:cxn>
              <a:cxn ang="0">
                <a:pos x="8" y="0"/>
              </a:cxn>
              <a:cxn ang="0">
                <a:pos x="8" y="0"/>
              </a:cxn>
              <a:cxn ang="0">
                <a:pos x="10" y="2"/>
              </a:cxn>
              <a:cxn ang="0">
                <a:pos x="8" y="8"/>
              </a:cxn>
              <a:cxn ang="0">
                <a:pos x="8" y="8"/>
              </a:cxn>
            </a:cxnLst>
            <a:rect l="0" t="0" r="r" b="b"/>
            <a:pathLst>
              <a:path w="10" h="8">
                <a:moveTo>
                  <a:pt x="8" y="8"/>
                </a:moveTo>
                <a:lnTo>
                  <a:pt x="8" y="8"/>
                </a:lnTo>
                <a:lnTo>
                  <a:pt x="0" y="8"/>
                </a:lnTo>
                <a:lnTo>
                  <a:pt x="0" y="8"/>
                </a:lnTo>
                <a:lnTo>
                  <a:pt x="4" y="4"/>
                </a:lnTo>
                <a:lnTo>
                  <a:pt x="8" y="0"/>
                </a:lnTo>
                <a:lnTo>
                  <a:pt x="8" y="0"/>
                </a:lnTo>
                <a:lnTo>
                  <a:pt x="10" y="2"/>
                </a:lnTo>
                <a:lnTo>
                  <a:pt x="8" y="8"/>
                </a:lnTo>
                <a:lnTo>
                  <a:pt x="8" y="8"/>
                </a:lnTo>
                <a:close/>
              </a:path>
            </a:pathLst>
          </a:custGeom>
          <a:solidFill>
            <a:schemeClr val="accent6"/>
          </a:solidFill>
          <a:ln w="6350">
            <a:solidFill>
              <a:schemeClr val="tx1"/>
            </a:solid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451" name="Montenegro"/>
          <p:cNvSpPr>
            <a:spLocks/>
          </p:cNvSpPr>
          <p:nvPr/>
        </p:nvSpPr>
        <p:spPr bwMode="auto">
          <a:xfrm>
            <a:off x="4745708" y="1558689"/>
            <a:ext cx="34298" cy="38438"/>
          </a:xfrm>
          <a:custGeom>
            <a:avLst/>
            <a:gdLst>
              <a:gd name="T0" fmla="*/ 744 w 744"/>
              <a:gd name="T1" fmla="*/ 364 h 834"/>
              <a:gd name="T2" fmla="*/ 654 w 744"/>
              <a:gd name="T3" fmla="*/ 258 h 834"/>
              <a:gd name="T4" fmla="*/ 586 w 744"/>
              <a:gd name="T5" fmla="*/ 208 h 834"/>
              <a:gd name="T6" fmla="*/ 529 w 744"/>
              <a:gd name="T7" fmla="*/ 208 h 834"/>
              <a:gd name="T8" fmla="*/ 517 w 744"/>
              <a:gd name="T9" fmla="*/ 178 h 834"/>
              <a:gd name="T10" fmla="*/ 435 w 744"/>
              <a:gd name="T11" fmla="*/ 133 h 834"/>
              <a:gd name="T12" fmla="*/ 317 w 744"/>
              <a:gd name="T13" fmla="*/ 0 h 834"/>
              <a:gd name="T14" fmla="*/ 220 w 744"/>
              <a:gd name="T15" fmla="*/ 0 h 834"/>
              <a:gd name="T16" fmla="*/ 272 w 744"/>
              <a:gd name="T17" fmla="*/ 114 h 834"/>
              <a:gd name="T18" fmla="*/ 208 w 744"/>
              <a:gd name="T19" fmla="*/ 126 h 834"/>
              <a:gd name="T20" fmla="*/ 182 w 744"/>
              <a:gd name="T21" fmla="*/ 55 h 834"/>
              <a:gd name="T22" fmla="*/ 102 w 744"/>
              <a:gd name="T23" fmla="*/ 107 h 834"/>
              <a:gd name="T24" fmla="*/ 106 w 744"/>
              <a:gd name="T25" fmla="*/ 234 h 834"/>
              <a:gd name="T26" fmla="*/ 57 w 744"/>
              <a:gd name="T27" fmla="*/ 234 h 834"/>
              <a:gd name="T28" fmla="*/ 19 w 744"/>
              <a:gd name="T29" fmla="*/ 364 h 834"/>
              <a:gd name="T30" fmla="*/ 87 w 744"/>
              <a:gd name="T31" fmla="*/ 447 h 834"/>
              <a:gd name="T32" fmla="*/ 7 w 744"/>
              <a:gd name="T33" fmla="*/ 473 h 834"/>
              <a:gd name="T34" fmla="*/ 26 w 744"/>
              <a:gd name="T35" fmla="*/ 579 h 834"/>
              <a:gd name="T36" fmla="*/ 0 w 744"/>
              <a:gd name="T37" fmla="*/ 603 h 834"/>
              <a:gd name="T38" fmla="*/ 0 w 744"/>
              <a:gd name="T39" fmla="*/ 612 h 834"/>
              <a:gd name="T40" fmla="*/ 45 w 744"/>
              <a:gd name="T41" fmla="*/ 612 h 834"/>
              <a:gd name="T42" fmla="*/ 135 w 744"/>
              <a:gd name="T43" fmla="*/ 699 h 834"/>
              <a:gd name="T44" fmla="*/ 224 w 744"/>
              <a:gd name="T45" fmla="*/ 744 h 834"/>
              <a:gd name="T46" fmla="*/ 314 w 744"/>
              <a:gd name="T47" fmla="*/ 789 h 834"/>
              <a:gd name="T48" fmla="*/ 359 w 744"/>
              <a:gd name="T49" fmla="*/ 834 h 834"/>
              <a:gd name="T50" fmla="*/ 366 w 744"/>
              <a:gd name="T51" fmla="*/ 827 h 834"/>
              <a:gd name="T52" fmla="*/ 361 w 744"/>
              <a:gd name="T53" fmla="*/ 747 h 834"/>
              <a:gd name="T54" fmla="*/ 359 w 744"/>
              <a:gd name="T55" fmla="*/ 744 h 834"/>
              <a:gd name="T56" fmla="*/ 359 w 744"/>
              <a:gd name="T57" fmla="*/ 699 h 834"/>
              <a:gd name="T58" fmla="*/ 340 w 744"/>
              <a:gd name="T59" fmla="*/ 699 h 834"/>
              <a:gd name="T60" fmla="*/ 503 w 744"/>
              <a:gd name="T61" fmla="*/ 409 h 834"/>
              <a:gd name="T62" fmla="*/ 529 w 744"/>
              <a:gd name="T63" fmla="*/ 536 h 834"/>
              <a:gd name="T64" fmla="*/ 616 w 744"/>
              <a:gd name="T65" fmla="*/ 492 h 834"/>
              <a:gd name="T66" fmla="*/ 616 w 744"/>
              <a:gd name="T67" fmla="*/ 435 h 834"/>
              <a:gd name="T68" fmla="*/ 616 w 744"/>
              <a:gd name="T69" fmla="*/ 364 h 834"/>
              <a:gd name="T70" fmla="*/ 706 w 744"/>
              <a:gd name="T71" fmla="*/ 364 h 834"/>
              <a:gd name="T72" fmla="*/ 744 w 744"/>
              <a:gd name="T73" fmla="*/ 364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4" h="834">
                <a:moveTo>
                  <a:pt x="744" y="364"/>
                </a:moveTo>
                <a:lnTo>
                  <a:pt x="654" y="258"/>
                </a:lnTo>
                <a:lnTo>
                  <a:pt x="586" y="208"/>
                </a:lnTo>
                <a:lnTo>
                  <a:pt x="529" y="208"/>
                </a:lnTo>
                <a:lnTo>
                  <a:pt x="517" y="178"/>
                </a:lnTo>
                <a:lnTo>
                  <a:pt x="435" y="133"/>
                </a:lnTo>
                <a:lnTo>
                  <a:pt x="317" y="0"/>
                </a:lnTo>
                <a:lnTo>
                  <a:pt x="220" y="0"/>
                </a:lnTo>
                <a:lnTo>
                  <a:pt x="272" y="114"/>
                </a:lnTo>
                <a:lnTo>
                  <a:pt x="208" y="126"/>
                </a:lnTo>
                <a:lnTo>
                  <a:pt x="182" y="55"/>
                </a:lnTo>
                <a:lnTo>
                  <a:pt x="102" y="107"/>
                </a:lnTo>
                <a:lnTo>
                  <a:pt x="106" y="234"/>
                </a:lnTo>
                <a:lnTo>
                  <a:pt x="57" y="234"/>
                </a:lnTo>
                <a:lnTo>
                  <a:pt x="19" y="364"/>
                </a:lnTo>
                <a:lnTo>
                  <a:pt x="87" y="447"/>
                </a:lnTo>
                <a:lnTo>
                  <a:pt x="7" y="473"/>
                </a:lnTo>
                <a:lnTo>
                  <a:pt x="26" y="579"/>
                </a:lnTo>
                <a:lnTo>
                  <a:pt x="0" y="603"/>
                </a:lnTo>
                <a:lnTo>
                  <a:pt x="0" y="612"/>
                </a:lnTo>
                <a:lnTo>
                  <a:pt x="45" y="612"/>
                </a:lnTo>
                <a:lnTo>
                  <a:pt x="135" y="699"/>
                </a:lnTo>
                <a:lnTo>
                  <a:pt x="224" y="744"/>
                </a:lnTo>
                <a:lnTo>
                  <a:pt x="314" y="789"/>
                </a:lnTo>
                <a:lnTo>
                  <a:pt x="359" y="834"/>
                </a:lnTo>
                <a:lnTo>
                  <a:pt x="366" y="827"/>
                </a:lnTo>
                <a:lnTo>
                  <a:pt x="361" y="747"/>
                </a:lnTo>
                <a:lnTo>
                  <a:pt x="359" y="744"/>
                </a:lnTo>
                <a:lnTo>
                  <a:pt x="359" y="699"/>
                </a:lnTo>
                <a:lnTo>
                  <a:pt x="340" y="699"/>
                </a:lnTo>
                <a:lnTo>
                  <a:pt x="503" y="409"/>
                </a:lnTo>
                <a:lnTo>
                  <a:pt x="529" y="536"/>
                </a:lnTo>
                <a:lnTo>
                  <a:pt x="616" y="492"/>
                </a:lnTo>
                <a:lnTo>
                  <a:pt x="616" y="435"/>
                </a:lnTo>
                <a:lnTo>
                  <a:pt x="616" y="364"/>
                </a:lnTo>
                <a:lnTo>
                  <a:pt x="706" y="364"/>
                </a:lnTo>
                <a:lnTo>
                  <a:pt x="744" y="364"/>
                </a:lnTo>
                <a:close/>
              </a:path>
            </a:pathLst>
          </a:custGeom>
          <a:grpFill/>
          <a:ln w="6350">
            <a:solidFill>
              <a:schemeClr val="tx1"/>
            </a:solid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446" name="TextBox 445"/>
          <p:cNvSpPr txBox="1"/>
          <p:nvPr/>
        </p:nvSpPr>
        <p:spPr>
          <a:xfrm>
            <a:off x="8823057" y="49302"/>
            <a:ext cx="273170" cy="249317"/>
          </a:xfrm>
          <a:prstGeom prst="rect">
            <a:avLst/>
          </a:prstGeom>
          <a:noFill/>
        </p:spPr>
        <p:txBody>
          <a:bodyPr wrap="none" lIns="68589" tIns="68589" rIns="68589" bIns="68589" rtlCol="0">
            <a:spAutoFit/>
          </a:bodyPr>
          <a:lstStyle/>
          <a:p>
            <a:pPr algn="r">
              <a:lnSpc>
                <a:spcPct val="90000"/>
              </a:lnSpc>
              <a:spcBef>
                <a:spcPct val="20000"/>
              </a:spcBef>
              <a:buSzPct val="90000"/>
            </a:pPr>
            <a:r>
              <a:rPr lang="en-US" sz="800" dirty="0">
                <a:solidFill>
                  <a:schemeClr val="tx1">
                    <a:alpha val="99000"/>
                  </a:schemeClr>
                </a:solidFill>
              </a:rPr>
              <a:t>8.0</a:t>
            </a:r>
          </a:p>
        </p:txBody>
      </p:sp>
      <p:grpSp>
        <p:nvGrpSpPr>
          <p:cNvPr id="210" name="Group 209"/>
          <p:cNvGrpSpPr/>
          <p:nvPr/>
        </p:nvGrpSpPr>
        <p:grpSpPr>
          <a:xfrm>
            <a:off x="1118710" y="880341"/>
            <a:ext cx="7185134" cy="4064354"/>
            <a:chOff x="1489238" y="1168893"/>
            <a:chExt cx="9577684" cy="5419139"/>
          </a:xfrm>
        </p:grpSpPr>
        <p:grpSp>
          <p:nvGrpSpPr>
            <p:cNvPr id="209" name="Group 208"/>
            <p:cNvGrpSpPr/>
            <p:nvPr/>
          </p:nvGrpSpPr>
          <p:grpSpPr>
            <a:xfrm>
              <a:off x="1489238" y="1168893"/>
              <a:ext cx="9577684" cy="5419139"/>
              <a:chOff x="1489238" y="1168893"/>
              <a:chExt cx="9577684" cy="5419139"/>
            </a:xfrm>
          </p:grpSpPr>
          <p:grpSp>
            <p:nvGrpSpPr>
              <p:cNvPr id="208" name="Group 207"/>
              <p:cNvGrpSpPr/>
              <p:nvPr/>
            </p:nvGrpSpPr>
            <p:grpSpPr>
              <a:xfrm>
                <a:off x="1489238" y="1168893"/>
                <a:ext cx="9577684" cy="5419139"/>
                <a:chOff x="1489238" y="1168893"/>
                <a:chExt cx="9577684" cy="5419139"/>
              </a:xfrm>
            </p:grpSpPr>
            <p:grpSp>
              <p:nvGrpSpPr>
                <p:cNvPr id="207" name="Group 206"/>
                <p:cNvGrpSpPr/>
                <p:nvPr/>
              </p:nvGrpSpPr>
              <p:grpSpPr>
                <a:xfrm>
                  <a:off x="1489238" y="1168893"/>
                  <a:ext cx="9577684" cy="5419139"/>
                  <a:chOff x="1489238" y="1168893"/>
                  <a:chExt cx="9577684" cy="5419139"/>
                </a:xfrm>
              </p:grpSpPr>
              <p:grpSp>
                <p:nvGrpSpPr>
                  <p:cNvPr id="206" name="Group 205"/>
                  <p:cNvGrpSpPr/>
                  <p:nvPr/>
                </p:nvGrpSpPr>
                <p:grpSpPr>
                  <a:xfrm>
                    <a:off x="1489238" y="1168893"/>
                    <a:ext cx="9577684" cy="5419139"/>
                    <a:chOff x="1489238" y="1168893"/>
                    <a:chExt cx="9577684" cy="5419139"/>
                  </a:xfrm>
                </p:grpSpPr>
                <p:grpSp>
                  <p:nvGrpSpPr>
                    <p:cNvPr id="204" name="Group 203"/>
                    <p:cNvGrpSpPr/>
                    <p:nvPr/>
                  </p:nvGrpSpPr>
                  <p:grpSpPr>
                    <a:xfrm>
                      <a:off x="1489238" y="1168893"/>
                      <a:ext cx="9577684" cy="5419139"/>
                      <a:chOff x="1489238" y="1168893"/>
                      <a:chExt cx="9577684" cy="5419139"/>
                    </a:xfrm>
                  </p:grpSpPr>
                  <p:grpSp>
                    <p:nvGrpSpPr>
                      <p:cNvPr id="1050" name="Group 1049"/>
                      <p:cNvGrpSpPr/>
                      <p:nvPr/>
                    </p:nvGrpSpPr>
                    <p:grpSpPr>
                      <a:xfrm>
                        <a:off x="1489238" y="1168893"/>
                        <a:ext cx="9577684" cy="5419139"/>
                        <a:chOff x="1489238" y="1168893"/>
                        <a:chExt cx="9577684" cy="5419139"/>
                      </a:xfrm>
                      <a:solidFill>
                        <a:schemeClr val="accent6"/>
                      </a:solidFill>
                    </p:grpSpPr>
                    <p:grpSp>
                      <p:nvGrpSpPr>
                        <p:cNvPr id="1046" name="Group 1045"/>
                        <p:cNvGrpSpPr/>
                        <p:nvPr/>
                      </p:nvGrpSpPr>
                      <p:grpSpPr>
                        <a:xfrm>
                          <a:off x="1489238" y="1168893"/>
                          <a:ext cx="9577684" cy="5419139"/>
                          <a:chOff x="1489238" y="1168893"/>
                          <a:chExt cx="9577684" cy="5419139"/>
                        </a:xfrm>
                        <a:grpFill/>
                      </p:grpSpPr>
                      <p:grpSp>
                        <p:nvGrpSpPr>
                          <p:cNvPr id="1045" name="Group 1044"/>
                          <p:cNvGrpSpPr/>
                          <p:nvPr/>
                        </p:nvGrpSpPr>
                        <p:grpSpPr>
                          <a:xfrm>
                            <a:off x="1489238" y="1168893"/>
                            <a:ext cx="9577684" cy="5419139"/>
                            <a:chOff x="1489238" y="1168893"/>
                            <a:chExt cx="9577684" cy="5419139"/>
                          </a:xfrm>
                          <a:grpFill/>
                        </p:grpSpPr>
                        <p:sp>
                          <p:nvSpPr>
                            <p:cNvPr id="571" name="MANGO BLOCK"/>
                            <p:cNvSpPr/>
                            <p:nvPr/>
                          </p:nvSpPr>
                          <p:spPr>
                            <a:xfrm>
                              <a:off x="2055237" y="5900262"/>
                              <a:ext cx="2396023" cy="68777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dirty="0">
                                  <a:solidFill>
                                    <a:schemeClr val="tx1">
                                      <a:alpha val="99000"/>
                                    </a:schemeClr>
                                  </a:solidFill>
                                </a:rPr>
                                <a:t>29 Countries</a:t>
                              </a:r>
                            </a:p>
                            <a:p>
                              <a:pPr algn="ctr"/>
                              <a:r>
                                <a:rPr lang="en-US" sz="1100" dirty="0">
                                  <a:solidFill>
                                    <a:schemeClr val="tx1">
                                      <a:alpha val="99000"/>
                                    </a:schemeClr>
                                  </a:solidFill>
                                </a:rPr>
                                <a:t>Windows Phone 7.0</a:t>
                              </a:r>
                              <a:endParaRPr lang="en-US" sz="1100" dirty="0">
                                <a:solidFill>
                                  <a:schemeClr val="tx1">
                                    <a:alpha val="99000"/>
                                  </a:schemeClr>
                                </a:solidFill>
                              </a:endParaRPr>
                            </a:p>
                          </p:txBody>
                        </p:sp>
                        <p:grpSp>
                          <p:nvGrpSpPr>
                            <p:cNvPr id="1044" name="Group 1043"/>
                            <p:cNvGrpSpPr/>
                            <p:nvPr/>
                          </p:nvGrpSpPr>
                          <p:grpSpPr>
                            <a:xfrm>
                              <a:off x="1489238" y="1168893"/>
                              <a:ext cx="9577684" cy="4188591"/>
                              <a:chOff x="1489238" y="1168893"/>
                              <a:chExt cx="9577684" cy="4188591"/>
                            </a:xfrm>
                            <a:grpFill/>
                          </p:grpSpPr>
                          <p:grpSp>
                            <p:nvGrpSpPr>
                              <p:cNvPr id="7" name="MANGO"/>
                              <p:cNvGrpSpPr/>
                              <p:nvPr/>
                            </p:nvGrpSpPr>
                            <p:grpSpPr>
                              <a:xfrm>
                                <a:off x="1489238" y="1168893"/>
                                <a:ext cx="9577684" cy="4188591"/>
                                <a:chOff x="1489238" y="1168893"/>
                                <a:chExt cx="9577684" cy="4188591"/>
                              </a:xfrm>
                              <a:grpFill/>
                            </p:grpSpPr>
                            <p:sp>
                              <p:nvSpPr>
                                <p:cNvPr id="578" name="Austria"/>
                                <p:cNvSpPr>
                                  <a:spLocks/>
                                </p:cNvSpPr>
                                <p:nvPr/>
                              </p:nvSpPr>
                              <p:spPr bwMode="auto">
                                <a:xfrm>
                                  <a:off x="6042663" y="1900810"/>
                                  <a:ext cx="221748" cy="88010"/>
                                </a:xfrm>
                                <a:custGeom>
                                  <a:avLst/>
                                  <a:gdLst/>
                                  <a:ahLst/>
                                  <a:cxnLst>
                                    <a:cxn ang="0">
                                      <a:pos x="76" y="12"/>
                                    </a:cxn>
                                    <a:cxn ang="0">
                                      <a:pos x="72" y="14"/>
                                    </a:cxn>
                                    <a:cxn ang="0">
                                      <a:pos x="68" y="20"/>
                                    </a:cxn>
                                    <a:cxn ang="0">
                                      <a:pos x="64" y="22"/>
                                    </a:cxn>
                                    <a:cxn ang="0">
                                      <a:pos x="66" y="24"/>
                                    </a:cxn>
                                    <a:cxn ang="0">
                                      <a:pos x="66" y="26"/>
                                    </a:cxn>
                                    <a:cxn ang="0">
                                      <a:pos x="66" y="30"/>
                                    </a:cxn>
                                    <a:cxn ang="0">
                                      <a:pos x="64" y="32"/>
                                    </a:cxn>
                                    <a:cxn ang="0">
                                      <a:pos x="60" y="28"/>
                                    </a:cxn>
                                    <a:cxn ang="0">
                                      <a:pos x="56" y="28"/>
                                    </a:cxn>
                                    <a:cxn ang="0">
                                      <a:pos x="52" y="28"/>
                                    </a:cxn>
                                    <a:cxn ang="0">
                                      <a:pos x="48" y="32"/>
                                    </a:cxn>
                                    <a:cxn ang="0">
                                      <a:pos x="40" y="34"/>
                                    </a:cxn>
                                    <a:cxn ang="0">
                                      <a:pos x="32" y="32"/>
                                    </a:cxn>
                                    <a:cxn ang="0">
                                      <a:pos x="30" y="32"/>
                                    </a:cxn>
                                    <a:cxn ang="0">
                                      <a:pos x="24" y="34"/>
                                    </a:cxn>
                                    <a:cxn ang="0">
                                      <a:pos x="22" y="38"/>
                                    </a:cxn>
                                    <a:cxn ang="0">
                                      <a:pos x="14" y="36"/>
                                    </a:cxn>
                                    <a:cxn ang="0">
                                      <a:pos x="0" y="36"/>
                                    </a:cxn>
                                    <a:cxn ang="0">
                                      <a:pos x="2" y="40"/>
                                    </a:cxn>
                                    <a:cxn ang="0">
                                      <a:pos x="4" y="44"/>
                                    </a:cxn>
                                    <a:cxn ang="0">
                                      <a:pos x="10" y="48"/>
                                    </a:cxn>
                                    <a:cxn ang="0">
                                      <a:pos x="16" y="46"/>
                                    </a:cxn>
                                    <a:cxn ang="0">
                                      <a:pos x="18" y="52"/>
                                    </a:cxn>
                                    <a:cxn ang="0">
                                      <a:pos x="26" y="52"/>
                                    </a:cxn>
                                    <a:cxn ang="0">
                                      <a:pos x="32" y="50"/>
                                    </a:cxn>
                                    <a:cxn ang="0">
                                      <a:pos x="40" y="48"/>
                                    </a:cxn>
                                    <a:cxn ang="0">
                                      <a:pos x="52" y="46"/>
                                    </a:cxn>
                                    <a:cxn ang="0">
                                      <a:pos x="54" y="48"/>
                                    </a:cxn>
                                    <a:cxn ang="0">
                                      <a:pos x="60" y="52"/>
                                    </a:cxn>
                                    <a:cxn ang="0">
                                      <a:pos x="66" y="54"/>
                                    </a:cxn>
                                    <a:cxn ang="0">
                                      <a:pos x="74" y="56"/>
                                    </a:cxn>
                                    <a:cxn ang="0">
                                      <a:pos x="78" y="56"/>
                                    </a:cxn>
                                    <a:cxn ang="0">
                                      <a:pos x="98" y="56"/>
                                    </a:cxn>
                                    <a:cxn ang="0">
                                      <a:pos x="108" y="50"/>
                                    </a:cxn>
                                    <a:cxn ang="0">
                                      <a:pos x="114" y="50"/>
                                    </a:cxn>
                                    <a:cxn ang="0">
                                      <a:pos x="122" y="50"/>
                                    </a:cxn>
                                    <a:cxn ang="0">
                                      <a:pos x="128" y="50"/>
                                    </a:cxn>
                                    <a:cxn ang="0">
                                      <a:pos x="132" y="44"/>
                                    </a:cxn>
                                    <a:cxn ang="0">
                                      <a:pos x="134" y="38"/>
                                    </a:cxn>
                                    <a:cxn ang="0">
                                      <a:pos x="134" y="32"/>
                                    </a:cxn>
                                    <a:cxn ang="0">
                                      <a:pos x="130" y="28"/>
                                    </a:cxn>
                                    <a:cxn ang="0">
                                      <a:pos x="140" y="30"/>
                                    </a:cxn>
                                    <a:cxn ang="0">
                                      <a:pos x="146" y="26"/>
                                    </a:cxn>
                                    <a:cxn ang="0">
                                      <a:pos x="146" y="16"/>
                                    </a:cxn>
                                    <a:cxn ang="0">
                                      <a:pos x="136" y="14"/>
                                    </a:cxn>
                                    <a:cxn ang="0">
                                      <a:pos x="118" y="4"/>
                                    </a:cxn>
                                    <a:cxn ang="0">
                                      <a:pos x="112" y="4"/>
                                    </a:cxn>
                                    <a:cxn ang="0">
                                      <a:pos x="108" y="4"/>
                                    </a:cxn>
                                    <a:cxn ang="0">
                                      <a:pos x="98" y="0"/>
                                    </a:cxn>
                                    <a:cxn ang="0">
                                      <a:pos x="96" y="6"/>
                                    </a:cxn>
                                    <a:cxn ang="0">
                                      <a:pos x="92" y="10"/>
                                    </a:cxn>
                                    <a:cxn ang="0">
                                      <a:pos x="86" y="10"/>
                                    </a:cxn>
                                    <a:cxn ang="0">
                                      <a:pos x="78" y="8"/>
                                    </a:cxn>
                                  </a:cxnLst>
                                  <a:rect l="0" t="0" r="r" b="b"/>
                                  <a:pathLst>
                                    <a:path w="146" h="58">
                                      <a:moveTo>
                                        <a:pt x="78" y="8"/>
                                      </a:moveTo>
                                      <a:lnTo>
                                        <a:pt x="78" y="8"/>
                                      </a:lnTo>
                                      <a:lnTo>
                                        <a:pt x="76" y="12"/>
                                      </a:lnTo>
                                      <a:lnTo>
                                        <a:pt x="74" y="14"/>
                                      </a:lnTo>
                                      <a:lnTo>
                                        <a:pt x="72" y="14"/>
                                      </a:lnTo>
                                      <a:lnTo>
                                        <a:pt x="72" y="14"/>
                                      </a:lnTo>
                                      <a:lnTo>
                                        <a:pt x="72" y="16"/>
                                      </a:lnTo>
                                      <a:lnTo>
                                        <a:pt x="70" y="18"/>
                                      </a:lnTo>
                                      <a:lnTo>
                                        <a:pt x="68" y="20"/>
                                      </a:lnTo>
                                      <a:lnTo>
                                        <a:pt x="66" y="20"/>
                                      </a:lnTo>
                                      <a:lnTo>
                                        <a:pt x="66" y="20"/>
                                      </a:lnTo>
                                      <a:lnTo>
                                        <a:pt x="64" y="22"/>
                                      </a:lnTo>
                                      <a:lnTo>
                                        <a:pt x="64" y="22"/>
                                      </a:lnTo>
                                      <a:lnTo>
                                        <a:pt x="66" y="24"/>
                                      </a:lnTo>
                                      <a:lnTo>
                                        <a:pt x="66" y="24"/>
                                      </a:lnTo>
                                      <a:lnTo>
                                        <a:pt x="66" y="24"/>
                                      </a:lnTo>
                                      <a:lnTo>
                                        <a:pt x="66" y="26"/>
                                      </a:lnTo>
                                      <a:lnTo>
                                        <a:pt x="66" y="26"/>
                                      </a:lnTo>
                                      <a:lnTo>
                                        <a:pt x="66" y="28"/>
                                      </a:lnTo>
                                      <a:lnTo>
                                        <a:pt x="66" y="28"/>
                                      </a:lnTo>
                                      <a:lnTo>
                                        <a:pt x="66" y="30"/>
                                      </a:lnTo>
                                      <a:lnTo>
                                        <a:pt x="66" y="32"/>
                                      </a:lnTo>
                                      <a:lnTo>
                                        <a:pt x="64" y="32"/>
                                      </a:lnTo>
                                      <a:lnTo>
                                        <a:pt x="64" y="32"/>
                                      </a:lnTo>
                                      <a:lnTo>
                                        <a:pt x="62" y="30"/>
                                      </a:lnTo>
                                      <a:lnTo>
                                        <a:pt x="60" y="28"/>
                                      </a:lnTo>
                                      <a:lnTo>
                                        <a:pt x="60" y="28"/>
                                      </a:lnTo>
                                      <a:lnTo>
                                        <a:pt x="58" y="28"/>
                                      </a:lnTo>
                                      <a:lnTo>
                                        <a:pt x="58" y="28"/>
                                      </a:lnTo>
                                      <a:lnTo>
                                        <a:pt x="56" y="28"/>
                                      </a:lnTo>
                                      <a:lnTo>
                                        <a:pt x="56" y="28"/>
                                      </a:lnTo>
                                      <a:lnTo>
                                        <a:pt x="54" y="28"/>
                                      </a:lnTo>
                                      <a:lnTo>
                                        <a:pt x="52" y="28"/>
                                      </a:lnTo>
                                      <a:lnTo>
                                        <a:pt x="52" y="28"/>
                                      </a:lnTo>
                                      <a:lnTo>
                                        <a:pt x="50" y="30"/>
                                      </a:lnTo>
                                      <a:lnTo>
                                        <a:pt x="48" y="32"/>
                                      </a:lnTo>
                                      <a:lnTo>
                                        <a:pt x="48" y="32"/>
                                      </a:lnTo>
                                      <a:lnTo>
                                        <a:pt x="42" y="34"/>
                                      </a:lnTo>
                                      <a:lnTo>
                                        <a:pt x="40" y="34"/>
                                      </a:lnTo>
                                      <a:lnTo>
                                        <a:pt x="38" y="34"/>
                                      </a:lnTo>
                                      <a:lnTo>
                                        <a:pt x="38" y="34"/>
                                      </a:lnTo>
                                      <a:lnTo>
                                        <a:pt x="32" y="32"/>
                                      </a:lnTo>
                                      <a:lnTo>
                                        <a:pt x="30" y="32"/>
                                      </a:lnTo>
                                      <a:lnTo>
                                        <a:pt x="30" y="32"/>
                                      </a:lnTo>
                                      <a:lnTo>
                                        <a:pt x="30" y="32"/>
                                      </a:lnTo>
                                      <a:lnTo>
                                        <a:pt x="28" y="34"/>
                                      </a:lnTo>
                                      <a:lnTo>
                                        <a:pt x="26" y="34"/>
                                      </a:lnTo>
                                      <a:lnTo>
                                        <a:pt x="24" y="34"/>
                                      </a:lnTo>
                                      <a:lnTo>
                                        <a:pt x="24" y="36"/>
                                      </a:lnTo>
                                      <a:lnTo>
                                        <a:pt x="24" y="36"/>
                                      </a:lnTo>
                                      <a:lnTo>
                                        <a:pt x="22" y="38"/>
                                      </a:lnTo>
                                      <a:lnTo>
                                        <a:pt x="20" y="38"/>
                                      </a:lnTo>
                                      <a:lnTo>
                                        <a:pt x="14" y="36"/>
                                      </a:lnTo>
                                      <a:lnTo>
                                        <a:pt x="14" y="36"/>
                                      </a:lnTo>
                                      <a:lnTo>
                                        <a:pt x="6" y="34"/>
                                      </a:lnTo>
                                      <a:lnTo>
                                        <a:pt x="2" y="34"/>
                                      </a:lnTo>
                                      <a:lnTo>
                                        <a:pt x="0" y="36"/>
                                      </a:lnTo>
                                      <a:lnTo>
                                        <a:pt x="0" y="36"/>
                                      </a:lnTo>
                                      <a:lnTo>
                                        <a:pt x="4" y="38"/>
                                      </a:lnTo>
                                      <a:lnTo>
                                        <a:pt x="2" y="40"/>
                                      </a:lnTo>
                                      <a:lnTo>
                                        <a:pt x="2" y="42"/>
                                      </a:lnTo>
                                      <a:lnTo>
                                        <a:pt x="4" y="44"/>
                                      </a:lnTo>
                                      <a:lnTo>
                                        <a:pt x="4" y="44"/>
                                      </a:lnTo>
                                      <a:lnTo>
                                        <a:pt x="8" y="44"/>
                                      </a:lnTo>
                                      <a:lnTo>
                                        <a:pt x="8" y="46"/>
                                      </a:lnTo>
                                      <a:lnTo>
                                        <a:pt x="10" y="48"/>
                                      </a:lnTo>
                                      <a:lnTo>
                                        <a:pt x="12" y="48"/>
                                      </a:lnTo>
                                      <a:lnTo>
                                        <a:pt x="12" y="48"/>
                                      </a:lnTo>
                                      <a:lnTo>
                                        <a:pt x="16" y="46"/>
                                      </a:lnTo>
                                      <a:lnTo>
                                        <a:pt x="16" y="48"/>
                                      </a:lnTo>
                                      <a:lnTo>
                                        <a:pt x="18" y="52"/>
                                      </a:lnTo>
                                      <a:lnTo>
                                        <a:pt x="18" y="52"/>
                                      </a:lnTo>
                                      <a:lnTo>
                                        <a:pt x="22" y="50"/>
                                      </a:lnTo>
                                      <a:lnTo>
                                        <a:pt x="26" y="52"/>
                                      </a:lnTo>
                                      <a:lnTo>
                                        <a:pt x="26" y="52"/>
                                      </a:lnTo>
                                      <a:lnTo>
                                        <a:pt x="28" y="52"/>
                                      </a:lnTo>
                                      <a:lnTo>
                                        <a:pt x="30" y="52"/>
                                      </a:lnTo>
                                      <a:lnTo>
                                        <a:pt x="32" y="50"/>
                                      </a:lnTo>
                                      <a:lnTo>
                                        <a:pt x="34" y="48"/>
                                      </a:lnTo>
                                      <a:lnTo>
                                        <a:pt x="34" y="48"/>
                                      </a:lnTo>
                                      <a:lnTo>
                                        <a:pt x="40" y="48"/>
                                      </a:lnTo>
                                      <a:lnTo>
                                        <a:pt x="46" y="48"/>
                                      </a:lnTo>
                                      <a:lnTo>
                                        <a:pt x="46" y="48"/>
                                      </a:lnTo>
                                      <a:lnTo>
                                        <a:pt x="52" y="46"/>
                                      </a:lnTo>
                                      <a:lnTo>
                                        <a:pt x="54" y="48"/>
                                      </a:lnTo>
                                      <a:lnTo>
                                        <a:pt x="54" y="48"/>
                                      </a:lnTo>
                                      <a:lnTo>
                                        <a:pt x="54" y="48"/>
                                      </a:lnTo>
                                      <a:lnTo>
                                        <a:pt x="54" y="50"/>
                                      </a:lnTo>
                                      <a:lnTo>
                                        <a:pt x="56" y="50"/>
                                      </a:lnTo>
                                      <a:lnTo>
                                        <a:pt x="60" y="52"/>
                                      </a:lnTo>
                                      <a:lnTo>
                                        <a:pt x="60" y="52"/>
                                      </a:lnTo>
                                      <a:lnTo>
                                        <a:pt x="62" y="54"/>
                                      </a:lnTo>
                                      <a:lnTo>
                                        <a:pt x="66" y="54"/>
                                      </a:lnTo>
                                      <a:lnTo>
                                        <a:pt x="66" y="54"/>
                                      </a:lnTo>
                                      <a:lnTo>
                                        <a:pt x="70" y="56"/>
                                      </a:lnTo>
                                      <a:lnTo>
                                        <a:pt x="74" y="56"/>
                                      </a:lnTo>
                                      <a:lnTo>
                                        <a:pt x="78" y="56"/>
                                      </a:lnTo>
                                      <a:lnTo>
                                        <a:pt x="78" y="56"/>
                                      </a:lnTo>
                                      <a:lnTo>
                                        <a:pt x="78" y="56"/>
                                      </a:lnTo>
                                      <a:lnTo>
                                        <a:pt x="92" y="58"/>
                                      </a:lnTo>
                                      <a:lnTo>
                                        <a:pt x="98" y="56"/>
                                      </a:lnTo>
                                      <a:lnTo>
                                        <a:pt x="98" y="56"/>
                                      </a:lnTo>
                                      <a:lnTo>
                                        <a:pt x="104" y="52"/>
                                      </a:lnTo>
                                      <a:lnTo>
                                        <a:pt x="106" y="50"/>
                                      </a:lnTo>
                                      <a:lnTo>
                                        <a:pt x="108" y="50"/>
                                      </a:lnTo>
                                      <a:lnTo>
                                        <a:pt x="108" y="50"/>
                                      </a:lnTo>
                                      <a:lnTo>
                                        <a:pt x="112" y="52"/>
                                      </a:lnTo>
                                      <a:lnTo>
                                        <a:pt x="114" y="50"/>
                                      </a:lnTo>
                                      <a:lnTo>
                                        <a:pt x="114" y="50"/>
                                      </a:lnTo>
                                      <a:lnTo>
                                        <a:pt x="118" y="48"/>
                                      </a:lnTo>
                                      <a:lnTo>
                                        <a:pt x="122" y="50"/>
                                      </a:lnTo>
                                      <a:lnTo>
                                        <a:pt x="122" y="50"/>
                                      </a:lnTo>
                                      <a:lnTo>
                                        <a:pt x="126" y="52"/>
                                      </a:lnTo>
                                      <a:lnTo>
                                        <a:pt x="128" y="50"/>
                                      </a:lnTo>
                                      <a:lnTo>
                                        <a:pt x="128" y="48"/>
                                      </a:lnTo>
                                      <a:lnTo>
                                        <a:pt x="128" y="48"/>
                                      </a:lnTo>
                                      <a:lnTo>
                                        <a:pt x="132" y="44"/>
                                      </a:lnTo>
                                      <a:lnTo>
                                        <a:pt x="134" y="42"/>
                                      </a:lnTo>
                                      <a:lnTo>
                                        <a:pt x="134" y="42"/>
                                      </a:lnTo>
                                      <a:lnTo>
                                        <a:pt x="134" y="38"/>
                                      </a:lnTo>
                                      <a:lnTo>
                                        <a:pt x="136" y="36"/>
                                      </a:lnTo>
                                      <a:lnTo>
                                        <a:pt x="136" y="34"/>
                                      </a:lnTo>
                                      <a:lnTo>
                                        <a:pt x="134" y="32"/>
                                      </a:lnTo>
                                      <a:lnTo>
                                        <a:pt x="134" y="32"/>
                                      </a:lnTo>
                                      <a:lnTo>
                                        <a:pt x="130" y="28"/>
                                      </a:lnTo>
                                      <a:lnTo>
                                        <a:pt x="130" y="28"/>
                                      </a:lnTo>
                                      <a:lnTo>
                                        <a:pt x="134" y="28"/>
                                      </a:lnTo>
                                      <a:lnTo>
                                        <a:pt x="134" y="28"/>
                                      </a:lnTo>
                                      <a:lnTo>
                                        <a:pt x="140" y="30"/>
                                      </a:lnTo>
                                      <a:lnTo>
                                        <a:pt x="142" y="30"/>
                                      </a:lnTo>
                                      <a:lnTo>
                                        <a:pt x="146" y="26"/>
                                      </a:lnTo>
                                      <a:lnTo>
                                        <a:pt x="146" y="26"/>
                                      </a:lnTo>
                                      <a:lnTo>
                                        <a:pt x="146" y="20"/>
                                      </a:lnTo>
                                      <a:lnTo>
                                        <a:pt x="146" y="16"/>
                                      </a:lnTo>
                                      <a:lnTo>
                                        <a:pt x="146" y="16"/>
                                      </a:lnTo>
                                      <a:lnTo>
                                        <a:pt x="142" y="16"/>
                                      </a:lnTo>
                                      <a:lnTo>
                                        <a:pt x="140" y="16"/>
                                      </a:lnTo>
                                      <a:lnTo>
                                        <a:pt x="136" y="14"/>
                                      </a:lnTo>
                                      <a:lnTo>
                                        <a:pt x="136" y="14"/>
                                      </a:lnTo>
                                      <a:lnTo>
                                        <a:pt x="128" y="10"/>
                                      </a:lnTo>
                                      <a:lnTo>
                                        <a:pt x="118" y="4"/>
                                      </a:lnTo>
                                      <a:lnTo>
                                        <a:pt x="118" y="4"/>
                                      </a:lnTo>
                                      <a:lnTo>
                                        <a:pt x="114" y="4"/>
                                      </a:lnTo>
                                      <a:lnTo>
                                        <a:pt x="112" y="4"/>
                                      </a:lnTo>
                                      <a:lnTo>
                                        <a:pt x="110" y="6"/>
                                      </a:lnTo>
                                      <a:lnTo>
                                        <a:pt x="108" y="4"/>
                                      </a:lnTo>
                                      <a:lnTo>
                                        <a:pt x="108" y="4"/>
                                      </a:lnTo>
                                      <a:lnTo>
                                        <a:pt x="104" y="2"/>
                                      </a:lnTo>
                                      <a:lnTo>
                                        <a:pt x="98" y="0"/>
                                      </a:lnTo>
                                      <a:lnTo>
                                        <a:pt x="98" y="0"/>
                                      </a:lnTo>
                                      <a:lnTo>
                                        <a:pt x="96" y="0"/>
                                      </a:lnTo>
                                      <a:lnTo>
                                        <a:pt x="96" y="2"/>
                                      </a:lnTo>
                                      <a:lnTo>
                                        <a:pt x="96" y="6"/>
                                      </a:lnTo>
                                      <a:lnTo>
                                        <a:pt x="94" y="10"/>
                                      </a:lnTo>
                                      <a:lnTo>
                                        <a:pt x="94" y="10"/>
                                      </a:lnTo>
                                      <a:lnTo>
                                        <a:pt x="92" y="10"/>
                                      </a:lnTo>
                                      <a:lnTo>
                                        <a:pt x="90" y="10"/>
                                      </a:lnTo>
                                      <a:lnTo>
                                        <a:pt x="86" y="10"/>
                                      </a:lnTo>
                                      <a:lnTo>
                                        <a:pt x="86" y="10"/>
                                      </a:lnTo>
                                      <a:lnTo>
                                        <a:pt x="84" y="10"/>
                                      </a:lnTo>
                                      <a:lnTo>
                                        <a:pt x="78" y="8"/>
                                      </a:lnTo>
                                      <a:lnTo>
                                        <a:pt x="78" y="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9" name="Belgium"/>
                                <p:cNvSpPr>
                                  <a:spLocks/>
                                </p:cNvSpPr>
                                <p:nvPr/>
                              </p:nvSpPr>
                              <p:spPr bwMode="auto">
                                <a:xfrm>
                                  <a:off x="5857368" y="1834044"/>
                                  <a:ext cx="91129" cy="57662"/>
                                </a:xfrm>
                                <a:custGeom>
                                  <a:avLst/>
                                  <a:gdLst/>
                                  <a:ahLst/>
                                  <a:cxnLst>
                                    <a:cxn ang="0">
                                      <a:pos x="0" y="10"/>
                                    </a:cxn>
                                    <a:cxn ang="0">
                                      <a:pos x="10" y="8"/>
                                    </a:cxn>
                                    <a:cxn ang="0">
                                      <a:pos x="14" y="4"/>
                                    </a:cxn>
                                    <a:cxn ang="0">
                                      <a:pos x="20" y="0"/>
                                    </a:cxn>
                                    <a:cxn ang="0">
                                      <a:pos x="32" y="6"/>
                                    </a:cxn>
                                    <a:cxn ang="0">
                                      <a:pos x="38" y="4"/>
                                    </a:cxn>
                                    <a:cxn ang="0">
                                      <a:pos x="42" y="4"/>
                                    </a:cxn>
                                    <a:cxn ang="0">
                                      <a:pos x="46" y="4"/>
                                    </a:cxn>
                                    <a:cxn ang="0">
                                      <a:pos x="48" y="6"/>
                                    </a:cxn>
                                    <a:cxn ang="0">
                                      <a:pos x="48" y="8"/>
                                    </a:cxn>
                                    <a:cxn ang="0">
                                      <a:pos x="52" y="8"/>
                                    </a:cxn>
                                    <a:cxn ang="0">
                                      <a:pos x="52" y="10"/>
                                    </a:cxn>
                                    <a:cxn ang="0">
                                      <a:pos x="56" y="14"/>
                                    </a:cxn>
                                    <a:cxn ang="0">
                                      <a:pos x="58" y="16"/>
                                    </a:cxn>
                                    <a:cxn ang="0">
                                      <a:pos x="56" y="22"/>
                                    </a:cxn>
                                    <a:cxn ang="0">
                                      <a:pos x="60" y="26"/>
                                    </a:cxn>
                                    <a:cxn ang="0">
                                      <a:pos x="60" y="30"/>
                                    </a:cxn>
                                    <a:cxn ang="0">
                                      <a:pos x="52" y="38"/>
                                    </a:cxn>
                                    <a:cxn ang="0">
                                      <a:pos x="50" y="36"/>
                                    </a:cxn>
                                    <a:cxn ang="0">
                                      <a:pos x="48" y="36"/>
                                    </a:cxn>
                                    <a:cxn ang="0">
                                      <a:pos x="46" y="36"/>
                                    </a:cxn>
                                    <a:cxn ang="0">
                                      <a:pos x="44" y="38"/>
                                    </a:cxn>
                                    <a:cxn ang="0">
                                      <a:pos x="42" y="38"/>
                                    </a:cxn>
                                    <a:cxn ang="0">
                                      <a:pos x="40" y="36"/>
                                    </a:cxn>
                                    <a:cxn ang="0">
                                      <a:pos x="36" y="34"/>
                                    </a:cxn>
                                    <a:cxn ang="0">
                                      <a:pos x="34" y="32"/>
                                    </a:cxn>
                                    <a:cxn ang="0">
                                      <a:pos x="34" y="26"/>
                                    </a:cxn>
                                    <a:cxn ang="0">
                                      <a:pos x="34" y="24"/>
                                    </a:cxn>
                                    <a:cxn ang="0">
                                      <a:pos x="32" y="24"/>
                                    </a:cxn>
                                    <a:cxn ang="0">
                                      <a:pos x="30" y="28"/>
                                    </a:cxn>
                                    <a:cxn ang="0">
                                      <a:pos x="28" y="28"/>
                                    </a:cxn>
                                    <a:cxn ang="0">
                                      <a:pos x="24" y="26"/>
                                    </a:cxn>
                                    <a:cxn ang="0">
                                      <a:pos x="24" y="22"/>
                                    </a:cxn>
                                    <a:cxn ang="0">
                                      <a:pos x="20" y="20"/>
                                    </a:cxn>
                                    <a:cxn ang="0">
                                      <a:pos x="14" y="18"/>
                                    </a:cxn>
                                    <a:cxn ang="0">
                                      <a:pos x="12" y="16"/>
                                    </a:cxn>
                                    <a:cxn ang="0">
                                      <a:pos x="8" y="14"/>
                                    </a:cxn>
                                    <a:cxn ang="0">
                                      <a:pos x="2" y="12"/>
                                    </a:cxn>
                                    <a:cxn ang="0">
                                      <a:pos x="0" y="10"/>
                                    </a:cxn>
                                  </a:cxnLst>
                                  <a:rect l="0" t="0" r="r" b="b"/>
                                  <a:pathLst>
                                    <a:path w="60" h="38">
                                      <a:moveTo>
                                        <a:pt x="0" y="10"/>
                                      </a:moveTo>
                                      <a:lnTo>
                                        <a:pt x="0" y="10"/>
                                      </a:lnTo>
                                      <a:lnTo>
                                        <a:pt x="6" y="10"/>
                                      </a:lnTo>
                                      <a:lnTo>
                                        <a:pt x="10" y="8"/>
                                      </a:lnTo>
                                      <a:lnTo>
                                        <a:pt x="10" y="8"/>
                                      </a:lnTo>
                                      <a:lnTo>
                                        <a:pt x="14" y="4"/>
                                      </a:lnTo>
                                      <a:lnTo>
                                        <a:pt x="20" y="0"/>
                                      </a:lnTo>
                                      <a:lnTo>
                                        <a:pt x="20" y="0"/>
                                      </a:lnTo>
                                      <a:lnTo>
                                        <a:pt x="26" y="6"/>
                                      </a:lnTo>
                                      <a:lnTo>
                                        <a:pt x="32" y="6"/>
                                      </a:lnTo>
                                      <a:lnTo>
                                        <a:pt x="32" y="6"/>
                                      </a:lnTo>
                                      <a:lnTo>
                                        <a:pt x="38" y="4"/>
                                      </a:lnTo>
                                      <a:lnTo>
                                        <a:pt x="40" y="4"/>
                                      </a:lnTo>
                                      <a:lnTo>
                                        <a:pt x="42" y="4"/>
                                      </a:lnTo>
                                      <a:lnTo>
                                        <a:pt x="42" y="4"/>
                                      </a:lnTo>
                                      <a:lnTo>
                                        <a:pt x="46" y="4"/>
                                      </a:lnTo>
                                      <a:lnTo>
                                        <a:pt x="48" y="4"/>
                                      </a:lnTo>
                                      <a:lnTo>
                                        <a:pt x="48" y="6"/>
                                      </a:lnTo>
                                      <a:lnTo>
                                        <a:pt x="48" y="6"/>
                                      </a:lnTo>
                                      <a:lnTo>
                                        <a:pt x="48" y="8"/>
                                      </a:lnTo>
                                      <a:lnTo>
                                        <a:pt x="50" y="8"/>
                                      </a:lnTo>
                                      <a:lnTo>
                                        <a:pt x="52" y="8"/>
                                      </a:lnTo>
                                      <a:lnTo>
                                        <a:pt x="52" y="10"/>
                                      </a:lnTo>
                                      <a:lnTo>
                                        <a:pt x="52" y="10"/>
                                      </a:lnTo>
                                      <a:lnTo>
                                        <a:pt x="52" y="14"/>
                                      </a:lnTo>
                                      <a:lnTo>
                                        <a:pt x="56" y="14"/>
                                      </a:lnTo>
                                      <a:lnTo>
                                        <a:pt x="56" y="14"/>
                                      </a:lnTo>
                                      <a:lnTo>
                                        <a:pt x="58" y="16"/>
                                      </a:lnTo>
                                      <a:lnTo>
                                        <a:pt x="58" y="18"/>
                                      </a:lnTo>
                                      <a:lnTo>
                                        <a:pt x="56" y="22"/>
                                      </a:lnTo>
                                      <a:lnTo>
                                        <a:pt x="56" y="22"/>
                                      </a:lnTo>
                                      <a:lnTo>
                                        <a:pt x="60" y="26"/>
                                      </a:lnTo>
                                      <a:lnTo>
                                        <a:pt x="60" y="30"/>
                                      </a:lnTo>
                                      <a:lnTo>
                                        <a:pt x="60" y="30"/>
                                      </a:lnTo>
                                      <a:lnTo>
                                        <a:pt x="56" y="34"/>
                                      </a:lnTo>
                                      <a:lnTo>
                                        <a:pt x="52" y="38"/>
                                      </a:lnTo>
                                      <a:lnTo>
                                        <a:pt x="52" y="38"/>
                                      </a:lnTo>
                                      <a:lnTo>
                                        <a:pt x="50" y="36"/>
                                      </a:lnTo>
                                      <a:lnTo>
                                        <a:pt x="48" y="36"/>
                                      </a:lnTo>
                                      <a:lnTo>
                                        <a:pt x="48" y="36"/>
                                      </a:lnTo>
                                      <a:lnTo>
                                        <a:pt x="46" y="36"/>
                                      </a:lnTo>
                                      <a:lnTo>
                                        <a:pt x="46" y="36"/>
                                      </a:lnTo>
                                      <a:lnTo>
                                        <a:pt x="44" y="38"/>
                                      </a:lnTo>
                                      <a:lnTo>
                                        <a:pt x="44" y="38"/>
                                      </a:lnTo>
                                      <a:lnTo>
                                        <a:pt x="42" y="38"/>
                                      </a:lnTo>
                                      <a:lnTo>
                                        <a:pt x="42" y="38"/>
                                      </a:lnTo>
                                      <a:lnTo>
                                        <a:pt x="42" y="38"/>
                                      </a:lnTo>
                                      <a:lnTo>
                                        <a:pt x="40" y="36"/>
                                      </a:lnTo>
                                      <a:lnTo>
                                        <a:pt x="38" y="34"/>
                                      </a:lnTo>
                                      <a:lnTo>
                                        <a:pt x="36" y="34"/>
                                      </a:lnTo>
                                      <a:lnTo>
                                        <a:pt x="36" y="34"/>
                                      </a:lnTo>
                                      <a:lnTo>
                                        <a:pt x="34" y="32"/>
                                      </a:lnTo>
                                      <a:lnTo>
                                        <a:pt x="34" y="30"/>
                                      </a:lnTo>
                                      <a:lnTo>
                                        <a:pt x="34" y="26"/>
                                      </a:lnTo>
                                      <a:lnTo>
                                        <a:pt x="34" y="26"/>
                                      </a:lnTo>
                                      <a:lnTo>
                                        <a:pt x="34" y="24"/>
                                      </a:lnTo>
                                      <a:lnTo>
                                        <a:pt x="34" y="24"/>
                                      </a:lnTo>
                                      <a:lnTo>
                                        <a:pt x="32" y="24"/>
                                      </a:lnTo>
                                      <a:lnTo>
                                        <a:pt x="32" y="24"/>
                                      </a:lnTo>
                                      <a:lnTo>
                                        <a:pt x="30" y="28"/>
                                      </a:lnTo>
                                      <a:lnTo>
                                        <a:pt x="28" y="28"/>
                                      </a:lnTo>
                                      <a:lnTo>
                                        <a:pt x="28" y="28"/>
                                      </a:lnTo>
                                      <a:lnTo>
                                        <a:pt x="24" y="28"/>
                                      </a:lnTo>
                                      <a:lnTo>
                                        <a:pt x="24" y="26"/>
                                      </a:lnTo>
                                      <a:lnTo>
                                        <a:pt x="24" y="26"/>
                                      </a:lnTo>
                                      <a:lnTo>
                                        <a:pt x="24" y="22"/>
                                      </a:lnTo>
                                      <a:lnTo>
                                        <a:pt x="20" y="20"/>
                                      </a:lnTo>
                                      <a:lnTo>
                                        <a:pt x="20" y="20"/>
                                      </a:lnTo>
                                      <a:lnTo>
                                        <a:pt x="18" y="20"/>
                                      </a:lnTo>
                                      <a:lnTo>
                                        <a:pt x="14" y="18"/>
                                      </a:lnTo>
                                      <a:lnTo>
                                        <a:pt x="14" y="18"/>
                                      </a:lnTo>
                                      <a:lnTo>
                                        <a:pt x="12" y="16"/>
                                      </a:lnTo>
                                      <a:lnTo>
                                        <a:pt x="8" y="14"/>
                                      </a:lnTo>
                                      <a:lnTo>
                                        <a:pt x="8" y="14"/>
                                      </a:lnTo>
                                      <a:lnTo>
                                        <a:pt x="4" y="14"/>
                                      </a:lnTo>
                                      <a:lnTo>
                                        <a:pt x="2" y="12"/>
                                      </a:lnTo>
                                      <a:lnTo>
                                        <a:pt x="0" y="10"/>
                                      </a:lnTo>
                                      <a:lnTo>
                                        <a:pt x="0" y="1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5" name="Denmark"/>
                                <p:cNvSpPr>
                                  <a:spLocks/>
                                </p:cNvSpPr>
                                <p:nvPr/>
                              </p:nvSpPr>
                              <p:spPr bwMode="auto">
                                <a:xfrm>
                                  <a:off x="5991023" y="1664092"/>
                                  <a:ext cx="109355" cy="78906"/>
                                </a:xfrm>
                                <a:custGeom>
                                  <a:avLst/>
                                  <a:gdLst/>
                                  <a:ahLst/>
                                  <a:cxnLst/>
                                  <a:rect l="l" t="t" r="r" b="b"/>
                                  <a:pathLst>
                                    <a:path w="95250" h="68792">
                                      <a:moveTo>
                                        <a:pt x="47625" y="52918"/>
                                      </a:moveTo>
                                      <a:lnTo>
                                        <a:pt x="50271" y="52918"/>
                                      </a:lnTo>
                                      <a:lnTo>
                                        <a:pt x="52917" y="55564"/>
                                      </a:lnTo>
                                      <a:lnTo>
                                        <a:pt x="55563" y="55564"/>
                                      </a:lnTo>
                                      <a:lnTo>
                                        <a:pt x="55563" y="52918"/>
                                      </a:lnTo>
                                      <a:lnTo>
                                        <a:pt x="58208" y="55564"/>
                                      </a:lnTo>
                                      <a:lnTo>
                                        <a:pt x="60854" y="58210"/>
                                      </a:lnTo>
                                      <a:lnTo>
                                        <a:pt x="58208" y="60855"/>
                                      </a:lnTo>
                                      <a:lnTo>
                                        <a:pt x="55563" y="63501"/>
                                      </a:lnTo>
                                      <a:lnTo>
                                        <a:pt x="50271" y="63501"/>
                                      </a:lnTo>
                                      <a:lnTo>
                                        <a:pt x="44979" y="60855"/>
                                      </a:lnTo>
                                      <a:lnTo>
                                        <a:pt x="37042" y="58210"/>
                                      </a:lnTo>
                                      <a:lnTo>
                                        <a:pt x="34396" y="55564"/>
                                      </a:lnTo>
                                      <a:lnTo>
                                        <a:pt x="37042" y="55564"/>
                                      </a:lnTo>
                                      <a:close/>
                                      <a:moveTo>
                                        <a:pt x="87313" y="34397"/>
                                      </a:moveTo>
                                      <a:lnTo>
                                        <a:pt x="92604" y="34397"/>
                                      </a:lnTo>
                                      <a:lnTo>
                                        <a:pt x="95250" y="34397"/>
                                      </a:lnTo>
                                      <a:lnTo>
                                        <a:pt x="95250" y="39689"/>
                                      </a:lnTo>
                                      <a:lnTo>
                                        <a:pt x="95250" y="44980"/>
                                      </a:lnTo>
                                      <a:lnTo>
                                        <a:pt x="92604" y="47626"/>
                                      </a:lnTo>
                                      <a:lnTo>
                                        <a:pt x="89959" y="50272"/>
                                      </a:lnTo>
                                      <a:lnTo>
                                        <a:pt x="92604" y="52918"/>
                                      </a:lnTo>
                                      <a:lnTo>
                                        <a:pt x="95250" y="52918"/>
                                      </a:lnTo>
                                      <a:lnTo>
                                        <a:pt x="92604" y="55564"/>
                                      </a:lnTo>
                                      <a:lnTo>
                                        <a:pt x="89959" y="58210"/>
                                      </a:lnTo>
                                      <a:lnTo>
                                        <a:pt x="87313" y="60855"/>
                                      </a:lnTo>
                                      <a:lnTo>
                                        <a:pt x="89959" y="66147"/>
                                      </a:lnTo>
                                      <a:lnTo>
                                        <a:pt x="84667" y="66147"/>
                                      </a:lnTo>
                                      <a:lnTo>
                                        <a:pt x="76729" y="63501"/>
                                      </a:lnTo>
                                      <a:lnTo>
                                        <a:pt x="74084" y="63501"/>
                                      </a:lnTo>
                                      <a:lnTo>
                                        <a:pt x="74084" y="60855"/>
                                      </a:lnTo>
                                      <a:lnTo>
                                        <a:pt x="76729" y="60855"/>
                                      </a:lnTo>
                                      <a:lnTo>
                                        <a:pt x="79375" y="58210"/>
                                      </a:lnTo>
                                      <a:lnTo>
                                        <a:pt x="74084" y="60855"/>
                                      </a:lnTo>
                                      <a:lnTo>
                                        <a:pt x="68792" y="60855"/>
                                      </a:lnTo>
                                      <a:lnTo>
                                        <a:pt x="66146" y="58210"/>
                                      </a:lnTo>
                                      <a:lnTo>
                                        <a:pt x="66146" y="52918"/>
                                      </a:lnTo>
                                      <a:lnTo>
                                        <a:pt x="66146" y="50272"/>
                                      </a:lnTo>
                                      <a:lnTo>
                                        <a:pt x="63500" y="47626"/>
                                      </a:lnTo>
                                      <a:lnTo>
                                        <a:pt x="66146" y="44980"/>
                                      </a:lnTo>
                                      <a:lnTo>
                                        <a:pt x="74084" y="44980"/>
                                      </a:lnTo>
                                      <a:lnTo>
                                        <a:pt x="79375" y="42334"/>
                                      </a:lnTo>
                                      <a:lnTo>
                                        <a:pt x="76729" y="39689"/>
                                      </a:lnTo>
                                      <a:lnTo>
                                        <a:pt x="82021" y="39689"/>
                                      </a:lnTo>
                                      <a:lnTo>
                                        <a:pt x="84667" y="44980"/>
                                      </a:lnTo>
                                      <a:lnTo>
                                        <a:pt x="84667" y="42334"/>
                                      </a:lnTo>
                                      <a:lnTo>
                                        <a:pt x="87313" y="42334"/>
                                      </a:lnTo>
                                      <a:lnTo>
                                        <a:pt x="87313" y="44980"/>
                                      </a:lnTo>
                                      <a:lnTo>
                                        <a:pt x="89959" y="42334"/>
                                      </a:lnTo>
                                      <a:lnTo>
                                        <a:pt x="89959" y="39689"/>
                                      </a:lnTo>
                                      <a:lnTo>
                                        <a:pt x="87313" y="39689"/>
                                      </a:lnTo>
                                      <a:lnTo>
                                        <a:pt x="84667" y="39689"/>
                                      </a:lnTo>
                                      <a:lnTo>
                                        <a:pt x="84667" y="37043"/>
                                      </a:lnTo>
                                      <a:close/>
                                      <a:moveTo>
                                        <a:pt x="29105" y="13229"/>
                                      </a:moveTo>
                                      <a:lnTo>
                                        <a:pt x="34396" y="15875"/>
                                      </a:lnTo>
                                      <a:lnTo>
                                        <a:pt x="37042" y="18521"/>
                                      </a:lnTo>
                                      <a:lnTo>
                                        <a:pt x="39688" y="23812"/>
                                      </a:lnTo>
                                      <a:lnTo>
                                        <a:pt x="39688" y="26458"/>
                                      </a:lnTo>
                                      <a:lnTo>
                                        <a:pt x="42334" y="26458"/>
                                      </a:lnTo>
                                      <a:lnTo>
                                        <a:pt x="42334" y="29104"/>
                                      </a:lnTo>
                                      <a:lnTo>
                                        <a:pt x="47626" y="29104"/>
                                      </a:lnTo>
                                      <a:lnTo>
                                        <a:pt x="52917" y="29104"/>
                                      </a:lnTo>
                                      <a:lnTo>
                                        <a:pt x="55563" y="31750"/>
                                      </a:lnTo>
                                      <a:lnTo>
                                        <a:pt x="55563" y="34396"/>
                                      </a:lnTo>
                                      <a:lnTo>
                                        <a:pt x="50272" y="34396"/>
                                      </a:lnTo>
                                      <a:lnTo>
                                        <a:pt x="47626" y="37042"/>
                                      </a:lnTo>
                                      <a:lnTo>
                                        <a:pt x="44980" y="39688"/>
                                      </a:lnTo>
                                      <a:lnTo>
                                        <a:pt x="42334" y="39688"/>
                                      </a:lnTo>
                                      <a:lnTo>
                                        <a:pt x="39688" y="42333"/>
                                      </a:lnTo>
                                      <a:lnTo>
                                        <a:pt x="39688" y="44979"/>
                                      </a:lnTo>
                                      <a:lnTo>
                                        <a:pt x="37042" y="47625"/>
                                      </a:lnTo>
                                      <a:lnTo>
                                        <a:pt x="34396" y="47625"/>
                                      </a:lnTo>
                                      <a:lnTo>
                                        <a:pt x="34396" y="50271"/>
                                      </a:lnTo>
                                      <a:lnTo>
                                        <a:pt x="37042" y="52917"/>
                                      </a:lnTo>
                                      <a:lnTo>
                                        <a:pt x="34396" y="52917"/>
                                      </a:lnTo>
                                      <a:lnTo>
                                        <a:pt x="31751" y="55563"/>
                                      </a:lnTo>
                                      <a:lnTo>
                                        <a:pt x="29105" y="58209"/>
                                      </a:lnTo>
                                      <a:lnTo>
                                        <a:pt x="31751" y="60854"/>
                                      </a:lnTo>
                                      <a:lnTo>
                                        <a:pt x="31751" y="63500"/>
                                      </a:lnTo>
                                      <a:lnTo>
                                        <a:pt x="37042" y="63500"/>
                                      </a:lnTo>
                                      <a:lnTo>
                                        <a:pt x="39688" y="66146"/>
                                      </a:lnTo>
                                      <a:lnTo>
                                        <a:pt x="37042" y="66146"/>
                                      </a:lnTo>
                                      <a:lnTo>
                                        <a:pt x="31751" y="68792"/>
                                      </a:lnTo>
                                      <a:lnTo>
                                        <a:pt x="26459" y="66146"/>
                                      </a:lnTo>
                                      <a:lnTo>
                                        <a:pt x="21167" y="66146"/>
                                      </a:lnTo>
                                      <a:lnTo>
                                        <a:pt x="15875" y="66146"/>
                                      </a:lnTo>
                                      <a:lnTo>
                                        <a:pt x="15875" y="63500"/>
                                      </a:lnTo>
                                      <a:lnTo>
                                        <a:pt x="15875" y="60854"/>
                                      </a:lnTo>
                                      <a:lnTo>
                                        <a:pt x="15875" y="55563"/>
                                      </a:lnTo>
                                      <a:lnTo>
                                        <a:pt x="13230" y="55563"/>
                                      </a:lnTo>
                                      <a:lnTo>
                                        <a:pt x="10584" y="52917"/>
                                      </a:lnTo>
                                      <a:lnTo>
                                        <a:pt x="7938" y="50271"/>
                                      </a:lnTo>
                                      <a:lnTo>
                                        <a:pt x="10584" y="50271"/>
                                      </a:lnTo>
                                      <a:lnTo>
                                        <a:pt x="7938" y="47625"/>
                                      </a:lnTo>
                                      <a:lnTo>
                                        <a:pt x="7938" y="42333"/>
                                      </a:lnTo>
                                      <a:lnTo>
                                        <a:pt x="5292" y="42333"/>
                                      </a:lnTo>
                                      <a:lnTo>
                                        <a:pt x="2646" y="42333"/>
                                      </a:lnTo>
                                      <a:lnTo>
                                        <a:pt x="2646" y="39688"/>
                                      </a:lnTo>
                                      <a:lnTo>
                                        <a:pt x="2646" y="37042"/>
                                      </a:lnTo>
                                      <a:lnTo>
                                        <a:pt x="5292" y="34396"/>
                                      </a:lnTo>
                                      <a:lnTo>
                                        <a:pt x="5292" y="31750"/>
                                      </a:lnTo>
                                      <a:lnTo>
                                        <a:pt x="2646" y="29104"/>
                                      </a:lnTo>
                                      <a:lnTo>
                                        <a:pt x="0" y="26458"/>
                                      </a:lnTo>
                                      <a:lnTo>
                                        <a:pt x="0" y="23812"/>
                                      </a:lnTo>
                                      <a:lnTo>
                                        <a:pt x="0" y="21167"/>
                                      </a:lnTo>
                                      <a:lnTo>
                                        <a:pt x="2646" y="18521"/>
                                      </a:lnTo>
                                      <a:lnTo>
                                        <a:pt x="5292" y="18521"/>
                                      </a:lnTo>
                                      <a:lnTo>
                                        <a:pt x="7938" y="23812"/>
                                      </a:lnTo>
                                      <a:lnTo>
                                        <a:pt x="13230" y="23812"/>
                                      </a:lnTo>
                                      <a:lnTo>
                                        <a:pt x="13230" y="21167"/>
                                      </a:lnTo>
                                      <a:lnTo>
                                        <a:pt x="13230" y="18521"/>
                                      </a:lnTo>
                                      <a:lnTo>
                                        <a:pt x="15875" y="15875"/>
                                      </a:lnTo>
                                      <a:lnTo>
                                        <a:pt x="18521" y="15875"/>
                                      </a:lnTo>
                                      <a:lnTo>
                                        <a:pt x="18521" y="18521"/>
                                      </a:lnTo>
                                      <a:lnTo>
                                        <a:pt x="18521" y="23812"/>
                                      </a:lnTo>
                                      <a:lnTo>
                                        <a:pt x="21167" y="23812"/>
                                      </a:lnTo>
                                      <a:lnTo>
                                        <a:pt x="21167" y="15875"/>
                                      </a:lnTo>
                                      <a:lnTo>
                                        <a:pt x="23813" y="15875"/>
                                      </a:lnTo>
                                      <a:lnTo>
                                        <a:pt x="26459" y="15875"/>
                                      </a:lnTo>
                                      <a:close/>
                                      <a:moveTo>
                                        <a:pt x="10584" y="10583"/>
                                      </a:moveTo>
                                      <a:lnTo>
                                        <a:pt x="13230" y="10583"/>
                                      </a:lnTo>
                                      <a:lnTo>
                                        <a:pt x="15876" y="10583"/>
                                      </a:lnTo>
                                      <a:lnTo>
                                        <a:pt x="18522" y="10583"/>
                                      </a:lnTo>
                                      <a:lnTo>
                                        <a:pt x="21167" y="13229"/>
                                      </a:lnTo>
                                      <a:lnTo>
                                        <a:pt x="18522" y="13229"/>
                                      </a:lnTo>
                                      <a:lnTo>
                                        <a:pt x="13230" y="13229"/>
                                      </a:lnTo>
                                      <a:lnTo>
                                        <a:pt x="10584" y="18521"/>
                                      </a:lnTo>
                                      <a:lnTo>
                                        <a:pt x="10584" y="21167"/>
                                      </a:lnTo>
                                      <a:lnTo>
                                        <a:pt x="7938" y="18521"/>
                                      </a:lnTo>
                                      <a:lnTo>
                                        <a:pt x="5292" y="15875"/>
                                      </a:lnTo>
                                      <a:close/>
                                      <a:moveTo>
                                        <a:pt x="42334" y="0"/>
                                      </a:moveTo>
                                      <a:lnTo>
                                        <a:pt x="44980" y="0"/>
                                      </a:lnTo>
                                      <a:lnTo>
                                        <a:pt x="44980" y="2646"/>
                                      </a:lnTo>
                                      <a:lnTo>
                                        <a:pt x="42334" y="2646"/>
                                      </a:lnTo>
                                      <a:lnTo>
                                        <a:pt x="44980" y="5292"/>
                                      </a:lnTo>
                                      <a:lnTo>
                                        <a:pt x="44980" y="7938"/>
                                      </a:lnTo>
                                      <a:lnTo>
                                        <a:pt x="44980" y="10583"/>
                                      </a:lnTo>
                                      <a:lnTo>
                                        <a:pt x="42334" y="13229"/>
                                      </a:lnTo>
                                      <a:lnTo>
                                        <a:pt x="39689" y="18521"/>
                                      </a:lnTo>
                                      <a:lnTo>
                                        <a:pt x="34397" y="13229"/>
                                      </a:lnTo>
                                      <a:lnTo>
                                        <a:pt x="29105" y="10583"/>
                                      </a:lnTo>
                                      <a:lnTo>
                                        <a:pt x="26459" y="10583"/>
                                      </a:lnTo>
                                      <a:lnTo>
                                        <a:pt x="23813" y="13229"/>
                                      </a:lnTo>
                                      <a:lnTo>
                                        <a:pt x="21167" y="13229"/>
                                      </a:lnTo>
                                      <a:lnTo>
                                        <a:pt x="23813" y="10583"/>
                                      </a:lnTo>
                                      <a:lnTo>
                                        <a:pt x="29105" y="5292"/>
                                      </a:lnTo>
                                      <a:lnTo>
                                        <a:pt x="37043" y="2646"/>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8" name="Netherlands"/>
                                <p:cNvSpPr>
                                  <a:spLocks/>
                                </p:cNvSpPr>
                                <p:nvPr/>
                              </p:nvSpPr>
                              <p:spPr bwMode="auto">
                                <a:xfrm>
                                  <a:off x="5887744" y="1782452"/>
                                  <a:ext cx="82017" cy="72836"/>
                                </a:xfrm>
                                <a:custGeom>
                                  <a:avLst/>
                                  <a:gdLst/>
                                  <a:ahLst/>
                                  <a:cxnLst>
                                    <a:cxn ang="0">
                                      <a:pos x="32" y="48"/>
                                    </a:cxn>
                                    <a:cxn ang="0">
                                      <a:pos x="32" y="42"/>
                                    </a:cxn>
                                    <a:cxn ang="0">
                                      <a:pos x="28" y="40"/>
                                    </a:cxn>
                                    <a:cxn ang="0">
                                      <a:pos x="26" y="38"/>
                                    </a:cxn>
                                    <a:cxn ang="0">
                                      <a:pos x="20" y="38"/>
                                    </a:cxn>
                                    <a:cxn ang="0">
                                      <a:pos x="12" y="40"/>
                                    </a:cxn>
                                    <a:cxn ang="0">
                                      <a:pos x="0" y="34"/>
                                    </a:cxn>
                                    <a:cxn ang="0">
                                      <a:pos x="6" y="36"/>
                                    </a:cxn>
                                    <a:cxn ang="0">
                                      <a:pos x="10" y="36"/>
                                    </a:cxn>
                                    <a:cxn ang="0">
                                      <a:pos x="14" y="36"/>
                                    </a:cxn>
                                    <a:cxn ang="0">
                                      <a:pos x="16" y="34"/>
                                    </a:cxn>
                                    <a:cxn ang="0">
                                      <a:pos x="14" y="34"/>
                                    </a:cxn>
                                    <a:cxn ang="0">
                                      <a:pos x="10" y="32"/>
                                    </a:cxn>
                                    <a:cxn ang="0">
                                      <a:pos x="16" y="30"/>
                                    </a:cxn>
                                    <a:cxn ang="0">
                                      <a:pos x="12" y="30"/>
                                    </a:cxn>
                                    <a:cxn ang="0">
                                      <a:pos x="10" y="26"/>
                                    </a:cxn>
                                    <a:cxn ang="0">
                                      <a:pos x="16" y="18"/>
                                    </a:cxn>
                                    <a:cxn ang="0">
                                      <a:pos x="22" y="8"/>
                                    </a:cxn>
                                    <a:cxn ang="0">
                                      <a:pos x="24" y="8"/>
                                    </a:cxn>
                                    <a:cxn ang="0">
                                      <a:pos x="26" y="10"/>
                                    </a:cxn>
                                    <a:cxn ang="0">
                                      <a:pos x="26" y="14"/>
                                    </a:cxn>
                                    <a:cxn ang="0">
                                      <a:pos x="30" y="16"/>
                                    </a:cxn>
                                    <a:cxn ang="0">
                                      <a:pos x="28" y="16"/>
                                    </a:cxn>
                                    <a:cxn ang="0">
                                      <a:pos x="28" y="20"/>
                                    </a:cxn>
                                    <a:cxn ang="0">
                                      <a:pos x="26" y="20"/>
                                    </a:cxn>
                                    <a:cxn ang="0">
                                      <a:pos x="30" y="20"/>
                                    </a:cxn>
                                    <a:cxn ang="0">
                                      <a:pos x="34" y="16"/>
                                    </a:cxn>
                                    <a:cxn ang="0">
                                      <a:pos x="36" y="14"/>
                                    </a:cxn>
                                    <a:cxn ang="0">
                                      <a:pos x="36" y="10"/>
                                    </a:cxn>
                                    <a:cxn ang="0">
                                      <a:pos x="34" y="4"/>
                                    </a:cxn>
                                    <a:cxn ang="0">
                                      <a:pos x="38" y="2"/>
                                    </a:cxn>
                                    <a:cxn ang="0">
                                      <a:pos x="44" y="2"/>
                                    </a:cxn>
                                    <a:cxn ang="0">
                                      <a:pos x="52" y="0"/>
                                    </a:cxn>
                                    <a:cxn ang="0">
                                      <a:pos x="52" y="2"/>
                                    </a:cxn>
                                    <a:cxn ang="0">
                                      <a:pos x="52" y="6"/>
                                    </a:cxn>
                                    <a:cxn ang="0">
                                      <a:pos x="52" y="10"/>
                                    </a:cxn>
                                    <a:cxn ang="0">
                                      <a:pos x="50" y="18"/>
                                    </a:cxn>
                                    <a:cxn ang="0">
                                      <a:pos x="54" y="20"/>
                                    </a:cxn>
                                    <a:cxn ang="0">
                                      <a:pos x="50" y="26"/>
                                    </a:cxn>
                                    <a:cxn ang="0">
                                      <a:pos x="40" y="28"/>
                                    </a:cxn>
                                    <a:cxn ang="0">
                                      <a:pos x="38" y="32"/>
                                    </a:cxn>
                                    <a:cxn ang="0">
                                      <a:pos x="36" y="40"/>
                                    </a:cxn>
                                    <a:cxn ang="0">
                                      <a:pos x="38" y="44"/>
                                    </a:cxn>
                                    <a:cxn ang="0">
                                      <a:pos x="36" y="48"/>
                                    </a:cxn>
                                  </a:cxnLst>
                                  <a:rect l="0" t="0" r="r" b="b"/>
                                  <a:pathLst>
                                    <a:path w="54" h="48">
                                      <a:moveTo>
                                        <a:pt x="36" y="48"/>
                                      </a:moveTo>
                                      <a:lnTo>
                                        <a:pt x="36" y="48"/>
                                      </a:lnTo>
                                      <a:lnTo>
                                        <a:pt x="32" y="48"/>
                                      </a:lnTo>
                                      <a:lnTo>
                                        <a:pt x="32" y="44"/>
                                      </a:lnTo>
                                      <a:lnTo>
                                        <a:pt x="32" y="44"/>
                                      </a:lnTo>
                                      <a:lnTo>
                                        <a:pt x="32" y="42"/>
                                      </a:lnTo>
                                      <a:lnTo>
                                        <a:pt x="30" y="42"/>
                                      </a:lnTo>
                                      <a:lnTo>
                                        <a:pt x="28" y="42"/>
                                      </a:lnTo>
                                      <a:lnTo>
                                        <a:pt x="28" y="40"/>
                                      </a:lnTo>
                                      <a:lnTo>
                                        <a:pt x="28" y="40"/>
                                      </a:lnTo>
                                      <a:lnTo>
                                        <a:pt x="28" y="38"/>
                                      </a:lnTo>
                                      <a:lnTo>
                                        <a:pt x="26" y="38"/>
                                      </a:lnTo>
                                      <a:lnTo>
                                        <a:pt x="22" y="38"/>
                                      </a:lnTo>
                                      <a:lnTo>
                                        <a:pt x="22" y="38"/>
                                      </a:lnTo>
                                      <a:lnTo>
                                        <a:pt x="20" y="38"/>
                                      </a:lnTo>
                                      <a:lnTo>
                                        <a:pt x="18" y="38"/>
                                      </a:lnTo>
                                      <a:lnTo>
                                        <a:pt x="12" y="40"/>
                                      </a:lnTo>
                                      <a:lnTo>
                                        <a:pt x="12" y="40"/>
                                      </a:lnTo>
                                      <a:lnTo>
                                        <a:pt x="6" y="40"/>
                                      </a:lnTo>
                                      <a:lnTo>
                                        <a:pt x="0" y="34"/>
                                      </a:lnTo>
                                      <a:lnTo>
                                        <a:pt x="0" y="34"/>
                                      </a:lnTo>
                                      <a:lnTo>
                                        <a:pt x="4" y="36"/>
                                      </a:lnTo>
                                      <a:lnTo>
                                        <a:pt x="6" y="36"/>
                                      </a:lnTo>
                                      <a:lnTo>
                                        <a:pt x="6" y="36"/>
                                      </a:lnTo>
                                      <a:lnTo>
                                        <a:pt x="8" y="38"/>
                                      </a:lnTo>
                                      <a:lnTo>
                                        <a:pt x="8" y="36"/>
                                      </a:lnTo>
                                      <a:lnTo>
                                        <a:pt x="10" y="36"/>
                                      </a:lnTo>
                                      <a:lnTo>
                                        <a:pt x="12" y="36"/>
                                      </a:lnTo>
                                      <a:lnTo>
                                        <a:pt x="12" y="36"/>
                                      </a:lnTo>
                                      <a:lnTo>
                                        <a:pt x="14" y="36"/>
                                      </a:lnTo>
                                      <a:lnTo>
                                        <a:pt x="16" y="38"/>
                                      </a:lnTo>
                                      <a:lnTo>
                                        <a:pt x="16" y="38"/>
                                      </a:lnTo>
                                      <a:lnTo>
                                        <a:pt x="16" y="34"/>
                                      </a:lnTo>
                                      <a:lnTo>
                                        <a:pt x="16" y="34"/>
                                      </a:lnTo>
                                      <a:lnTo>
                                        <a:pt x="14" y="34"/>
                                      </a:lnTo>
                                      <a:lnTo>
                                        <a:pt x="14" y="34"/>
                                      </a:lnTo>
                                      <a:lnTo>
                                        <a:pt x="12" y="32"/>
                                      </a:lnTo>
                                      <a:lnTo>
                                        <a:pt x="10" y="32"/>
                                      </a:lnTo>
                                      <a:lnTo>
                                        <a:pt x="10" y="32"/>
                                      </a:lnTo>
                                      <a:lnTo>
                                        <a:pt x="10" y="32"/>
                                      </a:lnTo>
                                      <a:lnTo>
                                        <a:pt x="14" y="32"/>
                                      </a:lnTo>
                                      <a:lnTo>
                                        <a:pt x="16" y="30"/>
                                      </a:lnTo>
                                      <a:lnTo>
                                        <a:pt x="16" y="30"/>
                                      </a:lnTo>
                                      <a:lnTo>
                                        <a:pt x="16" y="30"/>
                                      </a:lnTo>
                                      <a:lnTo>
                                        <a:pt x="12" y="30"/>
                                      </a:lnTo>
                                      <a:lnTo>
                                        <a:pt x="10" y="28"/>
                                      </a:lnTo>
                                      <a:lnTo>
                                        <a:pt x="10" y="26"/>
                                      </a:lnTo>
                                      <a:lnTo>
                                        <a:pt x="10" y="26"/>
                                      </a:lnTo>
                                      <a:lnTo>
                                        <a:pt x="14" y="22"/>
                                      </a:lnTo>
                                      <a:lnTo>
                                        <a:pt x="16" y="18"/>
                                      </a:lnTo>
                                      <a:lnTo>
                                        <a:pt x="16" y="18"/>
                                      </a:lnTo>
                                      <a:lnTo>
                                        <a:pt x="20" y="12"/>
                                      </a:lnTo>
                                      <a:lnTo>
                                        <a:pt x="22" y="8"/>
                                      </a:lnTo>
                                      <a:lnTo>
                                        <a:pt x="22" y="8"/>
                                      </a:lnTo>
                                      <a:lnTo>
                                        <a:pt x="24" y="6"/>
                                      </a:lnTo>
                                      <a:lnTo>
                                        <a:pt x="24" y="8"/>
                                      </a:lnTo>
                                      <a:lnTo>
                                        <a:pt x="24" y="8"/>
                                      </a:lnTo>
                                      <a:lnTo>
                                        <a:pt x="24" y="10"/>
                                      </a:lnTo>
                                      <a:lnTo>
                                        <a:pt x="26" y="10"/>
                                      </a:lnTo>
                                      <a:lnTo>
                                        <a:pt x="26" y="10"/>
                                      </a:lnTo>
                                      <a:lnTo>
                                        <a:pt x="28" y="10"/>
                                      </a:lnTo>
                                      <a:lnTo>
                                        <a:pt x="28" y="10"/>
                                      </a:lnTo>
                                      <a:lnTo>
                                        <a:pt x="26" y="14"/>
                                      </a:lnTo>
                                      <a:lnTo>
                                        <a:pt x="28" y="14"/>
                                      </a:lnTo>
                                      <a:lnTo>
                                        <a:pt x="28" y="14"/>
                                      </a:lnTo>
                                      <a:lnTo>
                                        <a:pt x="30" y="16"/>
                                      </a:lnTo>
                                      <a:lnTo>
                                        <a:pt x="28" y="16"/>
                                      </a:lnTo>
                                      <a:lnTo>
                                        <a:pt x="28" y="16"/>
                                      </a:lnTo>
                                      <a:lnTo>
                                        <a:pt x="28" y="16"/>
                                      </a:lnTo>
                                      <a:lnTo>
                                        <a:pt x="28" y="18"/>
                                      </a:lnTo>
                                      <a:lnTo>
                                        <a:pt x="28" y="18"/>
                                      </a:lnTo>
                                      <a:lnTo>
                                        <a:pt x="28" y="20"/>
                                      </a:lnTo>
                                      <a:lnTo>
                                        <a:pt x="26" y="20"/>
                                      </a:lnTo>
                                      <a:lnTo>
                                        <a:pt x="26" y="20"/>
                                      </a:lnTo>
                                      <a:lnTo>
                                        <a:pt x="26" y="20"/>
                                      </a:lnTo>
                                      <a:lnTo>
                                        <a:pt x="28" y="20"/>
                                      </a:lnTo>
                                      <a:lnTo>
                                        <a:pt x="30" y="20"/>
                                      </a:lnTo>
                                      <a:lnTo>
                                        <a:pt x="30" y="20"/>
                                      </a:lnTo>
                                      <a:lnTo>
                                        <a:pt x="32" y="18"/>
                                      </a:lnTo>
                                      <a:lnTo>
                                        <a:pt x="34" y="16"/>
                                      </a:lnTo>
                                      <a:lnTo>
                                        <a:pt x="34" y="16"/>
                                      </a:lnTo>
                                      <a:lnTo>
                                        <a:pt x="36" y="16"/>
                                      </a:lnTo>
                                      <a:lnTo>
                                        <a:pt x="36" y="14"/>
                                      </a:lnTo>
                                      <a:lnTo>
                                        <a:pt x="36" y="14"/>
                                      </a:lnTo>
                                      <a:lnTo>
                                        <a:pt x="36" y="10"/>
                                      </a:lnTo>
                                      <a:lnTo>
                                        <a:pt x="38" y="10"/>
                                      </a:lnTo>
                                      <a:lnTo>
                                        <a:pt x="36" y="10"/>
                                      </a:lnTo>
                                      <a:lnTo>
                                        <a:pt x="36" y="10"/>
                                      </a:lnTo>
                                      <a:lnTo>
                                        <a:pt x="34" y="8"/>
                                      </a:lnTo>
                                      <a:lnTo>
                                        <a:pt x="34" y="4"/>
                                      </a:lnTo>
                                      <a:lnTo>
                                        <a:pt x="34" y="4"/>
                                      </a:lnTo>
                                      <a:lnTo>
                                        <a:pt x="34" y="2"/>
                                      </a:lnTo>
                                      <a:lnTo>
                                        <a:pt x="38" y="2"/>
                                      </a:lnTo>
                                      <a:lnTo>
                                        <a:pt x="38" y="2"/>
                                      </a:lnTo>
                                      <a:lnTo>
                                        <a:pt x="42" y="2"/>
                                      </a:lnTo>
                                      <a:lnTo>
                                        <a:pt x="44" y="2"/>
                                      </a:lnTo>
                                      <a:lnTo>
                                        <a:pt x="44" y="2"/>
                                      </a:lnTo>
                                      <a:lnTo>
                                        <a:pt x="48" y="0"/>
                                      </a:lnTo>
                                      <a:lnTo>
                                        <a:pt x="52" y="0"/>
                                      </a:lnTo>
                                      <a:lnTo>
                                        <a:pt x="54" y="0"/>
                                      </a:lnTo>
                                      <a:lnTo>
                                        <a:pt x="54" y="0"/>
                                      </a:lnTo>
                                      <a:lnTo>
                                        <a:pt x="52" y="2"/>
                                      </a:lnTo>
                                      <a:lnTo>
                                        <a:pt x="54" y="4"/>
                                      </a:lnTo>
                                      <a:lnTo>
                                        <a:pt x="54" y="4"/>
                                      </a:lnTo>
                                      <a:lnTo>
                                        <a:pt x="52" y="6"/>
                                      </a:lnTo>
                                      <a:lnTo>
                                        <a:pt x="54" y="6"/>
                                      </a:lnTo>
                                      <a:lnTo>
                                        <a:pt x="54" y="8"/>
                                      </a:lnTo>
                                      <a:lnTo>
                                        <a:pt x="52" y="10"/>
                                      </a:lnTo>
                                      <a:lnTo>
                                        <a:pt x="52" y="10"/>
                                      </a:lnTo>
                                      <a:lnTo>
                                        <a:pt x="50" y="16"/>
                                      </a:lnTo>
                                      <a:lnTo>
                                        <a:pt x="50" y="18"/>
                                      </a:lnTo>
                                      <a:lnTo>
                                        <a:pt x="52" y="20"/>
                                      </a:lnTo>
                                      <a:lnTo>
                                        <a:pt x="52" y="20"/>
                                      </a:lnTo>
                                      <a:lnTo>
                                        <a:pt x="54" y="20"/>
                                      </a:lnTo>
                                      <a:lnTo>
                                        <a:pt x="54" y="22"/>
                                      </a:lnTo>
                                      <a:lnTo>
                                        <a:pt x="50" y="26"/>
                                      </a:lnTo>
                                      <a:lnTo>
                                        <a:pt x="50" y="26"/>
                                      </a:lnTo>
                                      <a:lnTo>
                                        <a:pt x="46" y="28"/>
                                      </a:lnTo>
                                      <a:lnTo>
                                        <a:pt x="40" y="28"/>
                                      </a:lnTo>
                                      <a:lnTo>
                                        <a:pt x="40" y="28"/>
                                      </a:lnTo>
                                      <a:lnTo>
                                        <a:pt x="38" y="30"/>
                                      </a:lnTo>
                                      <a:lnTo>
                                        <a:pt x="38" y="32"/>
                                      </a:lnTo>
                                      <a:lnTo>
                                        <a:pt x="38" y="32"/>
                                      </a:lnTo>
                                      <a:lnTo>
                                        <a:pt x="38" y="34"/>
                                      </a:lnTo>
                                      <a:lnTo>
                                        <a:pt x="38" y="38"/>
                                      </a:lnTo>
                                      <a:lnTo>
                                        <a:pt x="36" y="40"/>
                                      </a:lnTo>
                                      <a:lnTo>
                                        <a:pt x="36" y="42"/>
                                      </a:lnTo>
                                      <a:lnTo>
                                        <a:pt x="36" y="42"/>
                                      </a:lnTo>
                                      <a:lnTo>
                                        <a:pt x="38" y="44"/>
                                      </a:lnTo>
                                      <a:lnTo>
                                        <a:pt x="36" y="44"/>
                                      </a:lnTo>
                                      <a:lnTo>
                                        <a:pt x="36" y="46"/>
                                      </a:lnTo>
                                      <a:lnTo>
                                        <a:pt x="36" y="48"/>
                                      </a:lnTo>
                                      <a:lnTo>
                                        <a:pt x="36" y="4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0" name="Switzerland"/>
                                <p:cNvSpPr>
                                  <a:spLocks/>
                                </p:cNvSpPr>
                                <p:nvPr/>
                              </p:nvSpPr>
                              <p:spPr bwMode="auto">
                                <a:xfrm>
                                  <a:off x="5948497" y="1949367"/>
                                  <a:ext cx="121505" cy="54627"/>
                                </a:xfrm>
                                <a:custGeom>
                                  <a:avLst/>
                                  <a:gdLst/>
                                  <a:ahLst/>
                                  <a:cxnLst>
                                    <a:cxn ang="0">
                                      <a:pos x="20" y="36"/>
                                    </a:cxn>
                                    <a:cxn ang="0">
                                      <a:pos x="18" y="32"/>
                                    </a:cxn>
                                    <a:cxn ang="0">
                                      <a:pos x="16" y="28"/>
                                    </a:cxn>
                                    <a:cxn ang="0">
                                      <a:pos x="14" y="26"/>
                                    </a:cxn>
                                    <a:cxn ang="0">
                                      <a:pos x="10" y="26"/>
                                    </a:cxn>
                                    <a:cxn ang="0">
                                      <a:pos x="6" y="28"/>
                                    </a:cxn>
                                    <a:cxn ang="0">
                                      <a:pos x="2" y="32"/>
                                    </a:cxn>
                                    <a:cxn ang="0">
                                      <a:pos x="0" y="30"/>
                                    </a:cxn>
                                    <a:cxn ang="0">
                                      <a:pos x="4" y="14"/>
                                    </a:cxn>
                                    <a:cxn ang="0">
                                      <a:pos x="6" y="12"/>
                                    </a:cxn>
                                    <a:cxn ang="0">
                                      <a:pos x="14" y="8"/>
                                    </a:cxn>
                                    <a:cxn ang="0">
                                      <a:pos x="16" y="6"/>
                                    </a:cxn>
                                    <a:cxn ang="0">
                                      <a:pos x="16" y="4"/>
                                    </a:cxn>
                                    <a:cxn ang="0">
                                      <a:pos x="14" y="4"/>
                                    </a:cxn>
                                    <a:cxn ang="0">
                                      <a:pos x="18" y="2"/>
                                    </a:cxn>
                                    <a:cxn ang="0">
                                      <a:pos x="22" y="2"/>
                                    </a:cxn>
                                    <a:cxn ang="0">
                                      <a:pos x="26" y="0"/>
                                    </a:cxn>
                                    <a:cxn ang="0">
                                      <a:pos x="28" y="0"/>
                                    </a:cxn>
                                    <a:cxn ang="0">
                                      <a:pos x="38" y="2"/>
                                    </a:cxn>
                                    <a:cxn ang="0">
                                      <a:pos x="44" y="2"/>
                                    </a:cxn>
                                    <a:cxn ang="0">
                                      <a:pos x="44" y="0"/>
                                    </a:cxn>
                                    <a:cxn ang="0">
                                      <a:pos x="44" y="0"/>
                                    </a:cxn>
                                    <a:cxn ang="0">
                                      <a:pos x="62" y="4"/>
                                    </a:cxn>
                                    <a:cxn ang="0">
                                      <a:pos x="66" y="6"/>
                                    </a:cxn>
                                    <a:cxn ang="0">
                                      <a:pos x="64" y="10"/>
                                    </a:cxn>
                                    <a:cxn ang="0">
                                      <a:pos x="66" y="12"/>
                                    </a:cxn>
                                    <a:cxn ang="0">
                                      <a:pos x="70" y="14"/>
                                    </a:cxn>
                                    <a:cxn ang="0">
                                      <a:pos x="74" y="16"/>
                                    </a:cxn>
                                    <a:cxn ang="0">
                                      <a:pos x="78" y="14"/>
                                    </a:cxn>
                                    <a:cxn ang="0">
                                      <a:pos x="80" y="20"/>
                                    </a:cxn>
                                    <a:cxn ang="0">
                                      <a:pos x="80" y="22"/>
                                    </a:cxn>
                                    <a:cxn ang="0">
                                      <a:pos x="76" y="22"/>
                                    </a:cxn>
                                    <a:cxn ang="0">
                                      <a:pos x="74" y="22"/>
                                    </a:cxn>
                                    <a:cxn ang="0">
                                      <a:pos x="76" y="26"/>
                                    </a:cxn>
                                    <a:cxn ang="0">
                                      <a:pos x="76" y="28"/>
                                    </a:cxn>
                                    <a:cxn ang="0">
                                      <a:pos x="74" y="28"/>
                                    </a:cxn>
                                    <a:cxn ang="0">
                                      <a:pos x="70" y="26"/>
                                    </a:cxn>
                                    <a:cxn ang="0">
                                      <a:pos x="68" y="26"/>
                                    </a:cxn>
                                    <a:cxn ang="0">
                                      <a:pos x="66" y="24"/>
                                    </a:cxn>
                                    <a:cxn ang="0">
                                      <a:pos x="64" y="26"/>
                                    </a:cxn>
                                    <a:cxn ang="0">
                                      <a:pos x="60" y="30"/>
                                    </a:cxn>
                                    <a:cxn ang="0">
                                      <a:pos x="58" y="34"/>
                                    </a:cxn>
                                    <a:cxn ang="0">
                                      <a:pos x="56" y="34"/>
                                    </a:cxn>
                                    <a:cxn ang="0">
                                      <a:pos x="50" y="32"/>
                                    </a:cxn>
                                    <a:cxn ang="0">
                                      <a:pos x="48" y="28"/>
                                    </a:cxn>
                                    <a:cxn ang="0">
                                      <a:pos x="48" y="26"/>
                                    </a:cxn>
                                    <a:cxn ang="0">
                                      <a:pos x="44" y="26"/>
                                    </a:cxn>
                                    <a:cxn ang="0">
                                      <a:pos x="36" y="34"/>
                                    </a:cxn>
                                    <a:cxn ang="0">
                                      <a:pos x="34" y="36"/>
                                    </a:cxn>
                                    <a:cxn ang="0">
                                      <a:pos x="30" y="34"/>
                                    </a:cxn>
                                    <a:cxn ang="0">
                                      <a:pos x="20" y="36"/>
                                    </a:cxn>
                                  </a:cxnLst>
                                  <a:rect l="0" t="0" r="r" b="b"/>
                                  <a:pathLst>
                                    <a:path w="80" h="36">
                                      <a:moveTo>
                                        <a:pt x="20" y="36"/>
                                      </a:moveTo>
                                      <a:lnTo>
                                        <a:pt x="20" y="36"/>
                                      </a:lnTo>
                                      <a:lnTo>
                                        <a:pt x="18" y="34"/>
                                      </a:lnTo>
                                      <a:lnTo>
                                        <a:pt x="18" y="32"/>
                                      </a:lnTo>
                                      <a:lnTo>
                                        <a:pt x="18" y="32"/>
                                      </a:lnTo>
                                      <a:lnTo>
                                        <a:pt x="16" y="28"/>
                                      </a:lnTo>
                                      <a:lnTo>
                                        <a:pt x="14" y="26"/>
                                      </a:lnTo>
                                      <a:lnTo>
                                        <a:pt x="14" y="26"/>
                                      </a:lnTo>
                                      <a:lnTo>
                                        <a:pt x="12" y="26"/>
                                      </a:lnTo>
                                      <a:lnTo>
                                        <a:pt x="10" y="26"/>
                                      </a:lnTo>
                                      <a:lnTo>
                                        <a:pt x="6" y="28"/>
                                      </a:lnTo>
                                      <a:lnTo>
                                        <a:pt x="6" y="28"/>
                                      </a:lnTo>
                                      <a:lnTo>
                                        <a:pt x="2" y="30"/>
                                      </a:lnTo>
                                      <a:lnTo>
                                        <a:pt x="2" y="32"/>
                                      </a:lnTo>
                                      <a:lnTo>
                                        <a:pt x="0" y="30"/>
                                      </a:lnTo>
                                      <a:lnTo>
                                        <a:pt x="0" y="30"/>
                                      </a:lnTo>
                                      <a:lnTo>
                                        <a:pt x="2" y="22"/>
                                      </a:lnTo>
                                      <a:lnTo>
                                        <a:pt x="4" y="14"/>
                                      </a:lnTo>
                                      <a:lnTo>
                                        <a:pt x="4" y="14"/>
                                      </a:lnTo>
                                      <a:lnTo>
                                        <a:pt x="6" y="12"/>
                                      </a:lnTo>
                                      <a:lnTo>
                                        <a:pt x="8" y="12"/>
                                      </a:lnTo>
                                      <a:lnTo>
                                        <a:pt x="14" y="8"/>
                                      </a:lnTo>
                                      <a:lnTo>
                                        <a:pt x="14" y="8"/>
                                      </a:lnTo>
                                      <a:lnTo>
                                        <a:pt x="16" y="6"/>
                                      </a:lnTo>
                                      <a:lnTo>
                                        <a:pt x="16" y="6"/>
                                      </a:lnTo>
                                      <a:lnTo>
                                        <a:pt x="16" y="4"/>
                                      </a:lnTo>
                                      <a:lnTo>
                                        <a:pt x="16" y="4"/>
                                      </a:lnTo>
                                      <a:lnTo>
                                        <a:pt x="14" y="4"/>
                                      </a:lnTo>
                                      <a:lnTo>
                                        <a:pt x="16" y="2"/>
                                      </a:lnTo>
                                      <a:lnTo>
                                        <a:pt x="18" y="2"/>
                                      </a:lnTo>
                                      <a:lnTo>
                                        <a:pt x="22" y="2"/>
                                      </a:lnTo>
                                      <a:lnTo>
                                        <a:pt x="22" y="2"/>
                                      </a:lnTo>
                                      <a:lnTo>
                                        <a:pt x="24" y="2"/>
                                      </a:lnTo>
                                      <a:lnTo>
                                        <a:pt x="26" y="0"/>
                                      </a:lnTo>
                                      <a:lnTo>
                                        <a:pt x="26" y="0"/>
                                      </a:lnTo>
                                      <a:lnTo>
                                        <a:pt x="28" y="0"/>
                                      </a:lnTo>
                                      <a:lnTo>
                                        <a:pt x="28" y="0"/>
                                      </a:lnTo>
                                      <a:lnTo>
                                        <a:pt x="38" y="2"/>
                                      </a:lnTo>
                                      <a:lnTo>
                                        <a:pt x="42" y="2"/>
                                      </a:lnTo>
                                      <a:lnTo>
                                        <a:pt x="44" y="2"/>
                                      </a:lnTo>
                                      <a:lnTo>
                                        <a:pt x="44" y="0"/>
                                      </a:lnTo>
                                      <a:lnTo>
                                        <a:pt x="44" y="0"/>
                                      </a:lnTo>
                                      <a:lnTo>
                                        <a:pt x="44" y="0"/>
                                      </a:lnTo>
                                      <a:lnTo>
                                        <a:pt x="44" y="0"/>
                                      </a:lnTo>
                                      <a:lnTo>
                                        <a:pt x="48" y="0"/>
                                      </a:lnTo>
                                      <a:lnTo>
                                        <a:pt x="62" y="4"/>
                                      </a:lnTo>
                                      <a:lnTo>
                                        <a:pt x="62" y="4"/>
                                      </a:lnTo>
                                      <a:lnTo>
                                        <a:pt x="66" y="6"/>
                                      </a:lnTo>
                                      <a:lnTo>
                                        <a:pt x="64" y="8"/>
                                      </a:lnTo>
                                      <a:lnTo>
                                        <a:pt x="64" y="10"/>
                                      </a:lnTo>
                                      <a:lnTo>
                                        <a:pt x="66" y="12"/>
                                      </a:lnTo>
                                      <a:lnTo>
                                        <a:pt x="66" y="12"/>
                                      </a:lnTo>
                                      <a:lnTo>
                                        <a:pt x="70" y="12"/>
                                      </a:lnTo>
                                      <a:lnTo>
                                        <a:pt x="70" y="14"/>
                                      </a:lnTo>
                                      <a:lnTo>
                                        <a:pt x="72" y="16"/>
                                      </a:lnTo>
                                      <a:lnTo>
                                        <a:pt x="74" y="16"/>
                                      </a:lnTo>
                                      <a:lnTo>
                                        <a:pt x="74" y="16"/>
                                      </a:lnTo>
                                      <a:lnTo>
                                        <a:pt x="78" y="14"/>
                                      </a:lnTo>
                                      <a:lnTo>
                                        <a:pt x="78" y="16"/>
                                      </a:lnTo>
                                      <a:lnTo>
                                        <a:pt x="80" y="20"/>
                                      </a:lnTo>
                                      <a:lnTo>
                                        <a:pt x="80" y="20"/>
                                      </a:lnTo>
                                      <a:lnTo>
                                        <a:pt x="80" y="22"/>
                                      </a:lnTo>
                                      <a:lnTo>
                                        <a:pt x="76" y="22"/>
                                      </a:lnTo>
                                      <a:lnTo>
                                        <a:pt x="76" y="22"/>
                                      </a:lnTo>
                                      <a:lnTo>
                                        <a:pt x="74" y="22"/>
                                      </a:lnTo>
                                      <a:lnTo>
                                        <a:pt x="74" y="22"/>
                                      </a:lnTo>
                                      <a:lnTo>
                                        <a:pt x="76" y="26"/>
                                      </a:lnTo>
                                      <a:lnTo>
                                        <a:pt x="76" y="26"/>
                                      </a:lnTo>
                                      <a:lnTo>
                                        <a:pt x="76" y="28"/>
                                      </a:lnTo>
                                      <a:lnTo>
                                        <a:pt x="76" y="28"/>
                                      </a:lnTo>
                                      <a:lnTo>
                                        <a:pt x="74" y="28"/>
                                      </a:lnTo>
                                      <a:lnTo>
                                        <a:pt x="74" y="28"/>
                                      </a:lnTo>
                                      <a:lnTo>
                                        <a:pt x="72" y="26"/>
                                      </a:lnTo>
                                      <a:lnTo>
                                        <a:pt x="70" y="26"/>
                                      </a:lnTo>
                                      <a:lnTo>
                                        <a:pt x="70" y="26"/>
                                      </a:lnTo>
                                      <a:lnTo>
                                        <a:pt x="68" y="26"/>
                                      </a:lnTo>
                                      <a:lnTo>
                                        <a:pt x="66" y="24"/>
                                      </a:lnTo>
                                      <a:lnTo>
                                        <a:pt x="66" y="24"/>
                                      </a:lnTo>
                                      <a:lnTo>
                                        <a:pt x="64" y="24"/>
                                      </a:lnTo>
                                      <a:lnTo>
                                        <a:pt x="64" y="26"/>
                                      </a:lnTo>
                                      <a:lnTo>
                                        <a:pt x="62" y="28"/>
                                      </a:lnTo>
                                      <a:lnTo>
                                        <a:pt x="60" y="30"/>
                                      </a:lnTo>
                                      <a:lnTo>
                                        <a:pt x="60" y="30"/>
                                      </a:lnTo>
                                      <a:lnTo>
                                        <a:pt x="58" y="34"/>
                                      </a:lnTo>
                                      <a:lnTo>
                                        <a:pt x="58" y="34"/>
                                      </a:lnTo>
                                      <a:lnTo>
                                        <a:pt x="56" y="34"/>
                                      </a:lnTo>
                                      <a:lnTo>
                                        <a:pt x="56" y="34"/>
                                      </a:lnTo>
                                      <a:lnTo>
                                        <a:pt x="50" y="32"/>
                                      </a:lnTo>
                                      <a:lnTo>
                                        <a:pt x="48" y="30"/>
                                      </a:lnTo>
                                      <a:lnTo>
                                        <a:pt x="48" y="28"/>
                                      </a:lnTo>
                                      <a:lnTo>
                                        <a:pt x="48" y="28"/>
                                      </a:lnTo>
                                      <a:lnTo>
                                        <a:pt x="48" y="26"/>
                                      </a:lnTo>
                                      <a:lnTo>
                                        <a:pt x="44" y="26"/>
                                      </a:lnTo>
                                      <a:lnTo>
                                        <a:pt x="44" y="26"/>
                                      </a:lnTo>
                                      <a:lnTo>
                                        <a:pt x="40" y="30"/>
                                      </a:lnTo>
                                      <a:lnTo>
                                        <a:pt x="36" y="34"/>
                                      </a:lnTo>
                                      <a:lnTo>
                                        <a:pt x="36" y="34"/>
                                      </a:lnTo>
                                      <a:lnTo>
                                        <a:pt x="34" y="36"/>
                                      </a:lnTo>
                                      <a:lnTo>
                                        <a:pt x="30" y="34"/>
                                      </a:lnTo>
                                      <a:lnTo>
                                        <a:pt x="30" y="34"/>
                                      </a:lnTo>
                                      <a:lnTo>
                                        <a:pt x="24" y="34"/>
                                      </a:lnTo>
                                      <a:lnTo>
                                        <a:pt x="20" y="36"/>
                                      </a:lnTo>
                                      <a:lnTo>
                                        <a:pt x="20" y="36"/>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1" name="Taiwan"/>
                                <p:cNvSpPr>
                                  <a:spLocks/>
                                </p:cNvSpPr>
                                <p:nvPr/>
                              </p:nvSpPr>
                              <p:spPr bwMode="auto">
                                <a:xfrm>
                                  <a:off x="9511650" y="2720215"/>
                                  <a:ext cx="48602" cy="118359"/>
                                </a:xfrm>
                                <a:custGeom>
                                  <a:avLst/>
                                  <a:gdLst/>
                                  <a:ahLst/>
                                  <a:cxnLst>
                                    <a:cxn ang="0">
                                      <a:pos x="14" y="4"/>
                                    </a:cxn>
                                    <a:cxn ang="0">
                                      <a:pos x="14" y="4"/>
                                    </a:cxn>
                                    <a:cxn ang="0">
                                      <a:pos x="12" y="4"/>
                                    </a:cxn>
                                    <a:cxn ang="0">
                                      <a:pos x="10" y="6"/>
                                    </a:cxn>
                                    <a:cxn ang="0">
                                      <a:pos x="10" y="8"/>
                                    </a:cxn>
                                    <a:cxn ang="0">
                                      <a:pos x="10" y="10"/>
                                    </a:cxn>
                                    <a:cxn ang="0">
                                      <a:pos x="10" y="10"/>
                                    </a:cxn>
                                    <a:cxn ang="0">
                                      <a:pos x="6" y="20"/>
                                    </a:cxn>
                                    <a:cxn ang="0">
                                      <a:pos x="2" y="30"/>
                                    </a:cxn>
                                    <a:cxn ang="0">
                                      <a:pos x="2" y="30"/>
                                    </a:cxn>
                                    <a:cxn ang="0">
                                      <a:pos x="0" y="36"/>
                                    </a:cxn>
                                    <a:cxn ang="0">
                                      <a:pos x="0" y="42"/>
                                    </a:cxn>
                                    <a:cxn ang="0">
                                      <a:pos x="2" y="44"/>
                                    </a:cxn>
                                    <a:cxn ang="0">
                                      <a:pos x="4" y="50"/>
                                    </a:cxn>
                                    <a:cxn ang="0">
                                      <a:pos x="4" y="50"/>
                                    </a:cxn>
                                    <a:cxn ang="0">
                                      <a:pos x="4" y="54"/>
                                    </a:cxn>
                                    <a:cxn ang="0">
                                      <a:pos x="6" y="56"/>
                                    </a:cxn>
                                    <a:cxn ang="0">
                                      <a:pos x="10" y="58"/>
                                    </a:cxn>
                                    <a:cxn ang="0">
                                      <a:pos x="10" y="58"/>
                                    </a:cxn>
                                    <a:cxn ang="0">
                                      <a:pos x="14" y="66"/>
                                    </a:cxn>
                                    <a:cxn ang="0">
                                      <a:pos x="20" y="68"/>
                                    </a:cxn>
                                    <a:cxn ang="0">
                                      <a:pos x="20" y="68"/>
                                    </a:cxn>
                                    <a:cxn ang="0">
                                      <a:pos x="24" y="72"/>
                                    </a:cxn>
                                    <a:cxn ang="0">
                                      <a:pos x="24" y="76"/>
                                    </a:cxn>
                                    <a:cxn ang="0">
                                      <a:pos x="24" y="76"/>
                                    </a:cxn>
                                    <a:cxn ang="0">
                                      <a:pos x="24" y="76"/>
                                    </a:cxn>
                                    <a:cxn ang="0">
                                      <a:pos x="26" y="78"/>
                                    </a:cxn>
                                    <a:cxn ang="0">
                                      <a:pos x="30" y="76"/>
                                    </a:cxn>
                                    <a:cxn ang="0">
                                      <a:pos x="30" y="76"/>
                                    </a:cxn>
                                    <a:cxn ang="0">
                                      <a:pos x="28" y="70"/>
                                    </a:cxn>
                                    <a:cxn ang="0">
                                      <a:pos x="28" y="64"/>
                                    </a:cxn>
                                    <a:cxn ang="0">
                                      <a:pos x="28" y="64"/>
                                    </a:cxn>
                                    <a:cxn ang="0">
                                      <a:pos x="30" y="62"/>
                                    </a:cxn>
                                    <a:cxn ang="0">
                                      <a:pos x="32" y="60"/>
                                    </a:cxn>
                                    <a:cxn ang="0">
                                      <a:pos x="32" y="56"/>
                                    </a:cxn>
                                    <a:cxn ang="0">
                                      <a:pos x="32" y="52"/>
                                    </a:cxn>
                                    <a:cxn ang="0">
                                      <a:pos x="32" y="52"/>
                                    </a:cxn>
                                    <a:cxn ang="0">
                                      <a:pos x="32" y="42"/>
                                    </a:cxn>
                                    <a:cxn ang="0">
                                      <a:pos x="32" y="38"/>
                                    </a:cxn>
                                    <a:cxn ang="0">
                                      <a:pos x="30" y="34"/>
                                    </a:cxn>
                                    <a:cxn ang="0">
                                      <a:pos x="30" y="34"/>
                                    </a:cxn>
                                    <a:cxn ang="0">
                                      <a:pos x="28" y="30"/>
                                    </a:cxn>
                                    <a:cxn ang="0">
                                      <a:pos x="28" y="28"/>
                                    </a:cxn>
                                    <a:cxn ang="0">
                                      <a:pos x="28" y="28"/>
                                    </a:cxn>
                                    <a:cxn ang="0">
                                      <a:pos x="30" y="22"/>
                                    </a:cxn>
                                    <a:cxn ang="0">
                                      <a:pos x="28" y="14"/>
                                    </a:cxn>
                                    <a:cxn ang="0">
                                      <a:pos x="28" y="14"/>
                                    </a:cxn>
                                    <a:cxn ang="0">
                                      <a:pos x="28" y="10"/>
                                    </a:cxn>
                                    <a:cxn ang="0">
                                      <a:pos x="28" y="8"/>
                                    </a:cxn>
                                    <a:cxn ang="0">
                                      <a:pos x="28" y="8"/>
                                    </a:cxn>
                                    <a:cxn ang="0">
                                      <a:pos x="28" y="8"/>
                                    </a:cxn>
                                    <a:cxn ang="0">
                                      <a:pos x="30" y="6"/>
                                    </a:cxn>
                                    <a:cxn ang="0">
                                      <a:pos x="30" y="4"/>
                                    </a:cxn>
                                    <a:cxn ang="0">
                                      <a:pos x="22" y="0"/>
                                    </a:cxn>
                                    <a:cxn ang="0">
                                      <a:pos x="22" y="0"/>
                                    </a:cxn>
                                    <a:cxn ang="0">
                                      <a:pos x="20" y="0"/>
                                    </a:cxn>
                                    <a:cxn ang="0">
                                      <a:pos x="18" y="2"/>
                                    </a:cxn>
                                    <a:cxn ang="0">
                                      <a:pos x="16" y="2"/>
                                    </a:cxn>
                                    <a:cxn ang="0">
                                      <a:pos x="14" y="4"/>
                                    </a:cxn>
                                    <a:cxn ang="0">
                                      <a:pos x="14" y="4"/>
                                    </a:cxn>
                                  </a:cxnLst>
                                  <a:rect l="0" t="0" r="r" b="b"/>
                                  <a:pathLst>
                                    <a:path w="32" h="78">
                                      <a:moveTo>
                                        <a:pt x="14" y="4"/>
                                      </a:moveTo>
                                      <a:lnTo>
                                        <a:pt x="14" y="4"/>
                                      </a:lnTo>
                                      <a:lnTo>
                                        <a:pt x="12" y="4"/>
                                      </a:lnTo>
                                      <a:lnTo>
                                        <a:pt x="10" y="6"/>
                                      </a:lnTo>
                                      <a:lnTo>
                                        <a:pt x="10" y="8"/>
                                      </a:lnTo>
                                      <a:lnTo>
                                        <a:pt x="10" y="10"/>
                                      </a:lnTo>
                                      <a:lnTo>
                                        <a:pt x="10" y="10"/>
                                      </a:lnTo>
                                      <a:lnTo>
                                        <a:pt x="6" y="20"/>
                                      </a:lnTo>
                                      <a:lnTo>
                                        <a:pt x="2" y="30"/>
                                      </a:lnTo>
                                      <a:lnTo>
                                        <a:pt x="2" y="30"/>
                                      </a:lnTo>
                                      <a:lnTo>
                                        <a:pt x="0" y="36"/>
                                      </a:lnTo>
                                      <a:lnTo>
                                        <a:pt x="0" y="42"/>
                                      </a:lnTo>
                                      <a:lnTo>
                                        <a:pt x="2" y="44"/>
                                      </a:lnTo>
                                      <a:lnTo>
                                        <a:pt x="4" y="50"/>
                                      </a:lnTo>
                                      <a:lnTo>
                                        <a:pt x="4" y="50"/>
                                      </a:lnTo>
                                      <a:lnTo>
                                        <a:pt x="4" y="54"/>
                                      </a:lnTo>
                                      <a:lnTo>
                                        <a:pt x="6" y="56"/>
                                      </a:lnTo>
                                      <a:lnTo>
                                        <a:pt x="10" y="58"/>
                                      </a:lnTo>
                                      <a:lnTo>
                                        <a:pt x="10" y="58"/>
                                      </a:lnTo>
                                      <a:lnTo>
                                        <a:pt x="14" y="66"/>
                                      </a:lnTo>
                                      <a:lnTo>
                                        <a:pt x="20" y="68"/>
                                      </a:lnTo>
                                      <a:lnTo>
                                        <a:pt x="20" y="68"/>
                                      </a:lnTo>
                                      <a:lnTo>
                                        <a:pt x="24" y="72"/>
                                      </a:lnTo>
                                      <a:lnTo>
                                        <a:pt x="24" y="76"/>
                                      </a:lnTo>
                                      <a:lnTo>
                                        <a:pt x="24" y="76"/>
                                      </a:lnTo>
                                      <a:lnTo>
                                        <a:pt x="24" y="76"/>
                                      </a:lnTo>
                                      <a:lnTo>
                                        <a:pt x="26" y="78"/>
                                      </a:lnTo>
                                      <a:lnTo>
                                        <a:pt x="30" y="76"/>
                                      </a:lnTo>
                                      <a:lnTo>
                                        <a:pt x="30" y="76"/>
                                      </a:lnTo>
                                      <a:lnTo>
                                        <a:pt x="28" y="70"/>
                                      </a:lnTo>
                                      <a:lnTo>
                                        <a:pt x="28" y="64"/>
                                      </a:lnTo>
                                      <a:lnTo>
                                        <a:pt x="28" y="64"/>
                                      </a:lnTo>
                                      <a:lnTo>
                                        <a:pt x="30" y="62"/>
                                      </a:lnTo>
                                      <a:lnTo>
                                        <a:pt x="32" y="60"/>
                                      </a:lnTo>
                                      <a:lnTo>
                                        <a:pt x="32" y="56"/>
                                      </a:lnTo>
                                      <a:lnTo>
                                        <a:pt x="32" y="52"/>
                                      </a:lnTo>
                                      <a:lnTo>
                                        <a:pt x="32" y="52"/>
                                      </a:lnTo>
                                      <a:lnTo>
                                        <a:pt x="32" y="42"/>
                                      </a:lnTo>
                                      <a:lnTo>
                                        <a:pt x="32" y="38"/>
                                      </a:lnTo>
                                      <a:lnTo>
                                        <a:pt x="30" y="34"/>
                                      </a:lnTo>
                                      <a:lnTo>
                                        <a:pt x="30" y="34"/>
                                      </a:lnTo>
                                      <a:lnTo>
                                        <a:pt x="28" y="30"/>
                                      </a:lnTo>
                                      <a:lnTo>
                                        <a:pt x="28" y="28"/>
                                      </a:lnTo>
                                      <a:lnTo>
                                        <a:pt x="28" y="28"/>
                                      </a:lnTo>
                                      <a:lnTo>
                                        <a:pt x="30" y="22"/>
                                      </a:lnTo>
                                      <a:lnTo>
                                        <a:pt x="28" y="14"/>
                                      </a:lnTo>
                                      <a:lnTo>
                                        <a:pt x="28" y="14"/>
                                      </a:lnTo>
                                      <a:lnTo>
                                        <a:pt x="28" y="10"/>
                                      </a:lnTo>
                                      <a:lnTo>
                                        <a:pt x="28" y="8"/>
                                      </a:lnTo>
                                      <a:lnTo>
                                        <a:pt x="28" y="8"/>
                                      </a:lnTo>
                                      <a:lnTo>
                                        <a:pt x="28" y="8"/>
                                      </a:lnTo>
                                      <a:lnTo>
                                        <a:pt x="30" y="6"/>
                                      </a:lnTo>
                                      <a:lnTo>
                                        <a:pt x="30" y="4"/>
                                      </a:lnTo>
                                      <a:lnTo>
                                        <a:pt x="22" y="0"/>
                                      </a:lnTo>
                                      <a:lnTo>
                                        <a:pt x="22" y="0"/>
                                      </a:lnTo>
                                      <a:lnTo>
                                        <a:pt x="20" y="0"/>
                                      </a:lnTo>
                                      <a:lnTo>
                                        <a:pt x="18" y="2"/>
                                      </a:lnTo>
                                      <a:lnTo>
                                        <a:pt x="16" y="2"/>
                                      </a:lnTo>
                                      <a:lnTo>
                                        <a:pt x="14" y="4"/>
                                      </a:lnTo>
                                      <a:lnTo>
                                        <a:pt x="14" y="4"/>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3" name="MANGO"/>
                                <p:cNvGrpSpPr/>
                                <p:nvPr/>
                              </p:nvGrpSpPr>
                              <p:grpSpPr>
                                <a:xfrm>
                                  <a:off x="1489238" y="1168893"/>
                                  <a:ext cx="9577684" cy="4188591"/>
                                  <a:chOff x="1489238" y="1168893"/>
                                  <a:chExt cx="9577684" cy="4188591"/>
                                </a:xfrm>
                                <a:grpFill/>
                              </p:grpSpPr>
                              <p:sp>
                                <p:nvSpPr>
                                  <p:cNvPr id="581" name="Canada"/>
                                  <p:cNvSpPr>
                                    <a:spLocks/>
                                  </p:cNvSpPr>
                                  <p:nvPr/>
                                </p:nvSpPr>
                                <p:spPr bwMode="auto">
                                  <a:xfrm>
                                    <a:off x="2239536" y="1324832"/>
                                    <a:ext cx="2056483" cy="804231"/>
                                  </a:xfrm>
                                  <a:custGeom>
                                    <a:avLst/>
                                    <a:gdLst/>
                                    <a:ahLst/>
                                    <a:cxnLst/>
                                    <a:rect l="l" t="t" r="r" b="b"/>
                                    <a:pathLst>
                                      <a:path w="1791229" h="701146">
                                        <a:moveTo>
                                          <a:pt x="973667" y="518584"/>
                                        </a:moveTo>
                                        <a:lnTo>
                                          <a:pt x="973667" y="518584"/>
                                        </a:lnTo>
                                        <a:lnTo>
                                          <a:pt x="968375" y="521229"/>
                                        </a:lnTo>
                                        <a:close/>
                                        <a:moveTo>
                                          <a:pt x="63500" y="457729"/>
                                        </a:moveTo>
                                        <a:lnTo>
                                          <a:pt x="68792" y="457729"/>
                                        </a:lnTo>
                                        <a:lnTo>
                                          <a:pt x="74084" y="460375"/>
                                        </a:lnTo>
                                        <a:lnTo>
                                          <a:pt x="76729" y="463021"/>
                                        </a:lnTo>
                                        <a:lnTo>
                                          <a:pt x="76729" y="465667"/>
                                        </a:lnTo>
                                        <a:lnTo>
                                          <a:pt x="79375" y="468312"/>
                                        </a:lnTo>
                                        <a:lnTo>
                                          <a:pt x="89959" y="468312"/>
                                        </a:lnTo>
                                        <a:lnTo>
                                          <a:pt x="92604" y="468312"/>
                                        </a:lnTo>
                                        <a:lnTo>
                                          <a:pt x="97896" y="470958"/>
                                        </a:lnTo>
                                        <a:lnTo>
                                          <a:pt x="103188" y="476250"/>
                                        </a:lnTo>
                                        <a:lnTo>
                                          <a:pt x="105834" y="476250"/>
                                        </a:lnTo>
                                        <a:lnTo>
                                          <a:pt x="111125" y="478896"/>
                                        </a:lnTo>
                                        <a:lnTo>
                                          <a:pt x="111125" y="484188"/>
                                        </a:lnTo>
                                        <a:lnTo>
                                          <a:pt x="113771" y="489479"/>
                                        </a:lnTo>
                                        <a:lnTo>
                                          <a:pt x="116417" y="492125"/>
                                        </a:lnTo>
                                        <a:lnTo>
                                          <a:pt x="113771" y="494771"/>
                                        </a:lnTo>
                                        <a:lnTo>
                                          <a:pt x="113771" y="497417"/>
                                        </a:lnTo>
                                        <a:lnTo>
                                          <a:pt x="116417" y="500063"/>
                                        </a:lnTo>
                                        <a:lnTo>
                                          <a:pt x="121709" y="502708"/>
                                        </a:lnTo>
                                        <a:lnTo>
                                          <a:pt x="124354" y="505354"/>
                                        </a:lnTo>
                                        <a:lnTo>
                                          <a:pt x="124354" y="508000"/>
                                        </a:lnTo>
                                        <a:lnTo>
                                          <a:pt x="129646" y="518584"/>
                                        </a:lnTo>
                                        <a:lnTo>
                                          <a:pt x="129646" y="523875"/>
                                        </a:lnTo>
                                        <a:lnTo>
                                          <a:pt x="129646" y="526521"/>
                                        </a:lnTo>
                                        <a:lnTo>
                                          <a:pt x="116417" y="526521"/>
                                        </a:lnTo>
                                        <a:lnTo>
                                          <a:pt x="108479" y="526521"/>
                                        </a:lnTo>
                                        <a:lnTo>
                                          <a:pt x="100542" y="523875"/>
                                        </a:lnTo>
                                        <a:lnTo>
                                          <a:pt x="89959" y="518584"/>
                                        </a:lnTo>
                                        <a:lnTo>
                                          <a:pt x="87313" y="515938"/>
                                        </a:lnTo>
                                        <a:lnTo>
                                          <a:pt x="87313" y="513292"/>
                                        </a:lnTo>
                                        <a:lnTo>
                                          <a:pt x="89959" y="510646"/>
                                        </a:lnTo>
                                        <a:lnTo>
                                          <a:pt x="84667" y="510646"/>
                                        </a:lnTo>
                                        <a:lnTo>
                                          <a:pt x="79375" y="510646"/>
                                        </a:lnTo>
                                        <a:lnTo>
                                          <a:pt x="74084" y="505354"/>
                                        </a:lnTo>
                                        <a:lnTo>
                                          <a:pt x="74084" y="500063"/>
                                        </a:lnTo>
                                        <a:lnTo>
                                          <a:pt x="71438" y="494771"/>
                                        </a:lnTo>
                                        <a:lnTo>
                                          <a:pt x="66146" y="492125"/>
                                        </a:lnTo>
                                        <a:lnTo>
                                          <a:pt x="63500" y="489479"/>
                                        </a:lnTo>
                                        <a:lnTo>
                                          <a:pt x="63500" y="486833"/>
                                        </a:lnTo>
                                        <a:lnTo>
                                          <a:pt x="60854" y="484188"/>
                                        </a:lnTo>
                                        <a:lnTo>
                                          <a:pt x="58209" y="481542"/>
                                        </a:lnTo>
                                        <a:lnTo>
                                          <a:pt x="58209" y="478896"/>
                                        </a:lnTo>
                                        <a:lnTo>
                                          <a:pt x="55563" y="478896"/>
                                        </a:lnTo>
                                        <a:lnTo>
                                          <a:pt x="52917" y="478896"/>
                                        </a:lnTo>
                                        <a:lnTo>
                                          <a:pt x="50271" y="478896"/>
                                        </a:lnTo>
                                        <a:lnTo>
                                          <a:pt x="50271" y="476250"/>
                                        </a:lnTo>
                                        <a:lnTo>
                                          <a:pt x="55563" y="473604"/>
                                        </a:lnTo>
                                        <a:lnTo>
                                          <a:pt x="55563" y="468312"/>
                                        </a:lnTo>
                                        <a:lnTo>
                                          <a:pt x="55563" y="465667"/>
                                        </a:lnTo>
                                        <a:lnTo>
                                          <a:pt x="52917" y="463021"/>
                                        </a:lnTo>
                                        <a:lnTo>
                                          <a:pt x="52917" y="460375"/>
                                        </a:lnTo>
                                        <a:close/>
                                        <a:moveTo>
                                          <a:pt x="1270000" y="0"/>
                                        </a:moveTo>
                                        <a:lnTo>
                                          <a:pt x="1277938" y="2646"/>
                                        </a:lnTo>
                                        <a:lnTo>
                                          <a:pt x="1285875" y="7937"/>
                                        </a:lnTo>
                                        <a:lnTo>
                                          <a:pt x="1285875" y="10583"/>
                                        </a:lnTo>
                                        <a:lnTo>
                                          <a:pt x="1285875" y="13229"/>
                                        </a:lnTo>
                                        <a:lnTo>
                                          <a:pt x="1283229" y="15875"/>
                                        </a:lnTo>
                                        <a:lnTo>
                                          <a:pt x="1285875" y="18521"/>
                                        </a:lnTo>
                                        <a:lnTo>
                                          <a:pt x="1291167" y="23812"/>
                                        </a:lnTo>
                                        <a:lnTo>
                                          <a:pt x="1293813" y="26458"/>
                                        </a:lnTo>
                                        <a:lnTo>
                                          <a:pt x="1293813" y="29104"/>
                                        </a:lnTo>
                                        <a:lnTo>
                                          <a:pt x="1293813" y="31750"/>
                                        </a:lnTo>
                                        <a:lnTo>
                                          <a:pt x="1285875" y="31750"/>
                                        </a:lnTo>
                                        <a:lnTo>
                                          <a:pt x="1283229" y="31750"/>
                                        </a:lnTo>
                                        <a:lnTo>
                                          <a:pt x="1283229" y="29104"/>
                                        </a:lnTo>
                                        <a:lnTo>
                                          <a:pt x="1277938" y="29104"/>
                                        </a:lnTo>
                                        <a:lnTo>
                                          <a:pt x="1275292" y="31750"/>
                                        </a:lnTo>
                                        <a:lnTo>
                                          <a:pt x="1277938" y="34396"/>
                                        </a:lnTo>
                                        <a:lnTo>
                                          <a:pt x="1277938" y="37042"/>
                                        </a:lnTo>
                                        <a:lnTo>
                                          <a:pt x="1277938" y="39687"/>
                                        </a:lnTo>
                                        <a:lnTo>
                                          <a:pt x="1275292" y="42333"/>
                                        </a:lnTo>
                                        <a:lnTo>
                                          <a:pt x="1270000" y="44979"/>
                                        </a:lnTo>
                                        <a:lnTo>
                                          <a:pt x="1277938" y="44979"/>
                                        </a:lnTo>
                                        <a:lnTo>
                                          <a:pt x="1285875" y="47625"/>
                                        </a:lnTo>
                                        <a:lnTo>
                                          <a:pt x="1285875" y="50271"/>
                                        </a:lnTo>
                                        <a:lnTo>
                                          <a:pt x="1285875" y="52917"/>
                                        </a:lnTo>
                                        <a:lnTo>
                                          <a:pt x="1277938" y="60854"/>
                                        </a:lnTo>
                                        <a:lnTo>
                                          <a:pt x="1293813" y="60854"/>
                                        </a:lnTo>
                                        <a:lnTo>
                                          <a:pt x="1299104" y="58208"/>
                                        </a:lnTo>
                                        <a:lnTo>
                                          <a:pt x="1307042" y="52917"/>
                                        </a:lnTo>
                                        <a:lnTo>
                                          <a:pt x="1312333" y="50271"/>
                                        </a:lnTo>
                                        <a:lnTo>
                                          <a:pt x="1314979" y="50271"/>
                                        </a:lnTo>
                                        <a:lnTo>
                                          <a:pt x="1322917" y="52917"/>
                                        </a:lnTo>
                                        <a:lnTo>
                                          <a:pt x="1325563" y="55562"/>
                                        </a:lnTo>
                                        <a:lnTo>
                                          <a:pt x="1328208" y="58208"/>
                                        </a:lnTo>
                                        <a:lnTo>
                                          <a:pt x="1328208" y="63500"/>
                                        </a:lnTo>
                                        <a:lnTo>
                                          <a:pt x="1322917" y="66146"/>
                                        </a:lnTo>
                                        <a:lnTo>
                                          <a:pt x="1317625" y="71437"/>
                                        </a:lnTo>
                                        <a:lnTo>
                                          <a:pt x="1317625" y="76729"/>
                                        </a:lnTo>
                                        <a:lnTo>
                                          <a:pt x="1320271" y="82021"/>
                                        </a:lnTo>
                                        <a:lnTo>
                                          <a:pt x="1320271" y="87312"/>
                                        </a:lnTo>
                                        <a:lnTo>
                                          <a:pt x="1338792" y="76729"/>
                                        </a:lnTo>
                                        <a:lnTo>
                                          <a:pt x="1352021" y="71437"/>
                                        </a:lnTo>
                                        <a:lnTo>
                                          <a:pt x="1362604" y="68792"/>
                                        </a:lnTo>
                                        <a:lnTo>
                                          <a:pt x="1370542" y="63500"/>
                                        </a:lnTo>
                                        <a:lnTo>
                                          <a:pt x="1381125" y="58208"/>
                                        </a:lnTo>
                                        <a:lnTo>
                                          <a:pt x="1391708" y="55562"/>
                                        </a:lnTo>
                                        <a:lnTo>
                                          <a:pt x="1386417" y="52917"/>
                                        </a:lnTo>
                                        <a:lnTo>
                                          <a:pt x="1383771" y="50271"/>
                                        </a:lnTo>
                                        <a:lnTo>
                                          <a:pt x="1386417" y="47625"/>
                                        </a:lnTo>
                                        <a:lnTo>
                                          <a:pt x="1389063" y="44979"/>
                                        </a:lnTo>
                                        <a:lnTo>
                                          <a:pt x="1399646" y="39687"/>
                                        </a:lnTo>
                                        <a:lnTo>
                                          <a:pt x="1407583" y="39687"/>
                                        </a:lnTo>
                                        <a:lnTo>
                                          <a:pt x="1412875" y="39687"/>
                                        </a:lnTo>
                                        <a:lnTo>
                                          <a:pt x="1423458" y="42333"/>
                                        </a:lnTo>
                                        <a:lnTo>
                                          <a:pt x="1434042" y="44979"/>
                                        </a:lnTo>
                                        <a:lnTo>
                                          <a:pt x="1441979" y="44979"/>
                                        </a:lnTo>
                                        <a:lnTo>
                                          <a:pt x="1447271" y="47625"/>
                                        </a:lnTo>
                                        <a:lnTo>
                                          <a:pt x="1463146" y="55562"/>
                                        </a:lnTo>
                                        <a:lnTo>
                                          <a:pt x="1465792" y="58208"/>
                                        </a:lnTo>
                                        <a:lnTo>
                                          <a:pt x="1463146" y="60854"/>
                                        </a:lnTo>
                                        <a:lnTo>
                                          <a:pt x="1457854" y="60854"/>
                                        </a:lnTo>
                                        <a:lnTo>
                                          <a:pt x="1457854" y="63500"/>
                                        </a:lnTo>
                                        <a:lnTo>
                                          <a:pt x="1455208" y="66146"/>
                                        </a:lnTo>
                                        <a:lnTo>
                                          <a:pt x="1447271" y="66146"/>
                                        </a:lnTo>
                                        <a:lnTo>
                                          <a:pt x="1441979" y="66146"/>
                                        </a:lnTo>
                                        <a:lnTo>
                                          <a:pt x="1441979" y="68792"/>
                                        </a:lnTo>
                                        <a:lnTo>
                                          <a:pt x="1441979" y="71437"/>
                                        </a:lnTo>
                                        <a:lnTo>
                                          <a:pt x="1441979" y="74083"/>
                                        </a:lnTo>
                                        <a:lnTo>
                                          <a:pt x="1439333" y="76729"/>
                                        </a:lnTo>
                                        <a:lnTo>
                                          <a:pt x="1439333" y="79375"/>
                                        </a:lnTo>
                                        <a:lnTo>
                                          <a:pt x="1441979" y="82021"/>
                                        </a:lnTo>
                                        <a:lnTo>
                                          <a:pt x="1441979" y="84667"/>
                                        </a:lnTo>
                                        <a:lnTo>
                                          <a:pt x="1441979" y="87312"/>
                                        </a:lnTo>
                                        <a:lnTo>
                                          <a:pt x="1431396" y="95250"/>
                                        </a:lnTo>
                                        <a:lnTo>
                                          <a:pt x="1418167" y="97896"/>
                                        </a:lnTo>
                                        <a:lnTo>
                                          <a:pt x="1410229" y="97896"/>
                                        </a:lnTo>
                                        <a:lnTo>
                                          <a:pt x="1404938" y="97896"/>
                                        </a:lnTo>
                                        <a:lnTo>
                                          <a:pt x="1394354" y="100542"/>
                                        </a:lnTo>
                                        <a:lnTo>
                                          <a:pt x="1386417" y="103187"/>
                                        </a:lnTo>
                                        <a:lnTo>
                                          <a:pt x="1381125" y="103187"/>
                                        </a:lnTo>
                                        <a:lnTo>
                                          <a:pt x="1375833" y="103187"/>
                                        </a:lnTo>
                                        <a:lnTo>
                                          <a:pt x="1370542" y="103187"/>
                                        </a:lnTo>
                                        <a:lnTo>
                                          <a:pt x="1365250" y="105833"/>
                                        </a:lnTo>
                                        <a:lnTo>
                                          <a:pt x="1362604" y="103187"/>
                                        </a:lnTo>
                                        <a:lnTo>
                                          <a:pt x="1357313" y="97896"/>
                                        </a:lnTo>
                                        <a:lnTo>
                                          <a:pt x="1349375" y="95250"/>
                                        </a:lnTo>
                                        <a:lnTo>
                                          <a:pt x="1344083" y="92604"/>
                                        </a:lnTo>
                                        <a:lnTo>
                                          <a:pt x="1342760" y="93266"/>
                                        </a:lnTo>
                                        <a:lnTo>
                                          <a:pt x="1341438" y="92604"/>
                                        </a:lnTo>
                                        <a:lnTo>
                                          <a:pt x="1338792" y="92604"/>
                                        </a:lnTo>
                                        <a:lnTo>
                                          <a:pt x="1338792" y="95250"/>
                                        </a:lnTo>
                                        <a:lnTo>
                                          <a:pt x="1342760" y="93266"/>
                                        </a:lnTo>
                                        <a:lnTo>
                                          <a:pt x="1346729" y="95250"/>
                                        </a:lnTo>
                                        <a:lnTo>
                                          <a:pt x="1354667" y="100542"/>
                                        </a:lnTo>
                                        <a:lnTo>
                                          <a:pt x="1357313" y="105833"/>
                                        </a:lnTo>
                                        <a:lnTo>
                                          <a:pt x="1357313" y="108479"/>
                                        </a:lnTo>
                                        <a:lnTo>
                                          <a:pt x="1352021" y="108479"/>
                                        </a:lnTo>
                                        <a:lnTo>
                                          <a:pt x="1344083" y="108479"/>
                                        </a:lnTo>
                                        <a:lnTo>
                                          <a:pt x="1336146" y="108479"/>
                                        </a:lnTo>
                                        <a:lnTo>
                                          <a:pt x="1333500" y="108479"/>
                                        </a:lnTo>
                                        <a:lnTo>
                                          <a:pt x="1330854" y="103187"/>
                                        </a:lnTo>
                                        <a:lnTo>
                                          <a:pt x="1330854" y="100542"/>
                                        </a:lnTo>
                                        <a:lnTo>
                                          <a:pt x="1325563" y="100542"/>
                                        </a:lnTo>
                                        <a:lnTo>
                                          <a:pt x="1320271" y="100542"/>
                                        </a:lnTo>
                                        <a:lnTo>
                                          <a:pt x="1309688" y="103187"/>
                                        </a:lnTo>
                                        <a:lnTo>
                                          <a:pt x="1304396" y="105833"/>
                                        </a:lnTo>
                                        <a:lnTo>
                                          <a:pt x="1304396" y="108479"/>
                                        </a:lnTo>
                                        <a:lnTo>
                                          <a:pt x="1312333" y="111125"/>
                                        </a:lnTo>
                                        <a:lnTo>
                                          <a:pt x="1314979" y="111125"/>
                                        </a:lnTo>
                                        <a:lnTo>
                                          <a:pt x="1314979" y="113771"/>
                                        </a:lnTo>
                                        <a:lnTo>
                                          <a:pt x="1309688" y="116417"/>
                                        </a:lnTo>
                                        <a:lnTo>
                                          <a:pt x="1293813" y="121708"/>
                                        </a:lnTo>
                                        <a:lnTo>
                                          <a:pt x="1270000" y="127000"/>
                                        </a:lnTo>
                                        <a:lnTo>
                                          <a:pt x="1264708" y="129646"/>
                                        </a:lnTo>
                                        <a:lnTo>
                                          <a:pt x="1251479" y="127000"/>
                                        </a:lnTo>
                                        <a:lnTo>
                                          <a:pt x="1246188" y="127000"/>
                                        </a:lnTo>
                                        <a:lnTo>
                                          <a:pt x="1240896" y="124354"/>
                                        </a:lnTo>
                                        <a:lnTo>
                                          <a:pt x="1238250" y="119062"/>
                                        </a:lnTo>
                                        <a:lnTo>
                                          <a:pt x="1235604" y="116417"/>
                                        </a:lnTo>
                                        <a:lnTo>
                                          <a:pt x="1232958" y="113771"/>
                                        </a:lnTo>
                                        <a:lnTo>
                                          <a:pt x="1217083" y="113771"/>
                                        </a:lnTo>
                                        <a:lnTo>
                                          <a:pt x="1227667" y="116417"/>
                                        </a:lnTo>
                                        <a:lnTo>
                                          <a:pt x="1232958" y="121708"/>
                                        </a:lnTo>
                                        <a:lnTo>
                                          <a:pt x="1238250" y="127000"/>
                                        </a:lnTo>
                                        <a:lnTo>
                                          <a:pt x="1246188" y="129646"/>
                                        </a:lnTo>
                                        <a:lnTo>
                                          <a:pt x="1259417" y="132292"/>
                                        </a:lnTo>
                                        <a:lnTo>
                                          <a:pt x="1267354" y="132292"/>
                                        </a:lnTo>
                                        <a:lnTo>
                                          <a:pt x="1270000" y="132292"/>
                                        </a:lnTo>
                                        <a:lnTo>
                                          <a:pt x="1262063" y="137583"/>
                                        </a:lnTo>
                                        <a:lnTo>
                                          <a:pt x="1240896" y="148167"/>
                                        </a:lnTo>
                                        <a:lnTo>
                                          <a:pt x="1232958" y="153458"/>
                                        </a:lnTo>
                                        <a:lnTo>
                                          <a:pt x="1222375" y="153458"/>
                                        </a:lnTo>
                                        <a:lnTo>
                                          <a:pt x="1206500" y="153458"/>
                                        </a:lnTo>
                                        <a:lnTo>
                                          <a:pt x="1198563" y="153458"/>
                                        </a:lnTo>
                                        <a:lnTo>
                                          <a:pt x="1193271" y="148167"/>
                                        </a:lnTo>
                                        <a:lnTo>
                                          <a:pt x="1190625" y="153458"/>
                                        </a:lnTo>
                                        <a:lnTo>
                                          <a:pt x="1187979" y="156104"/>
                                        </a:lnTo>
                                        <a:lnTo>
                                          <a:pt x="1177396" y="158750"/>
                                        </a:lnTo>
                                        <a:lnTo>
                                          <a:pt x="1169458" y="158750"/>
                                        </a:lnTo>
                                        <a:lnTo>
                                          <a:pt x="1158875" y="156104"/>
                                        </a:lnTo>
                                        <a:lnTo>
                                          <a:pt x="1145646" y="153458"/>
                                        </a:lnTo>
                                        <a:lnTo>
                                          <a:pt x="1116542" y="153458"/>
                                        </a:lnTo>
                                        <a:lnTo>
                                          <a:pt x="1135063" y="156104"/>
                                        </a:lnTo>
                                        <a:lnTo>
                                          <a:pt x="1135063" y="158750"/>
                                        </a:lnTo>
                                        <a:lnTo>
                                          <a:pt x="1129771" y="161396"/>
                                        </a:lnTo>
                                        <a:lnTo>
                                          <a:pt x="1143000" y="158750"/>
                                        </a:lnTo>
                                        <a:lnTo>
                                          <a:pt x="1153583" y="158750"/>
                                        </a:lnTo>
                                        <a:lnTo>
                                          <a:pt x="1158875" y="158750"/>
                                        </a:lnTo>
                                        <a:lnTo>
                                          <a:pt x="1161521" y="164042"/>
                                        </a:lnTo>
                                        <a:lnTo>
                                          <a:pt x="1164167" y="169333"/>
                                        </a:lnTo>
                                        <a:lnTo>
                                          <a:pt x="1161521" y="171979"/>
                                        </a:lnTo>
                                        <a:lnTo>
                                          <a:pt x="1153583" y="171979"/>
                                        </a:lnTo>
                                        <a:lnTo>
                                          <a:pt x="1140354" y="171979"/>
                                        </a:lnTo>
                                        <a:lnTo>
                                          <a:pt x="1124479" y="171979"/>
                                        </a:lnTo>
                                        <a:lnTo>
                                          <a:pt x="1124479" y="174625"/>
                                        </a:lnTo>
                                        <a:lnTo>
                                          <a:pt x="1129771" y="177271"/>
                                        </a:lnTo>
                                        <a:lnTo>
                                          <a:pt x="1127125" y="179917"/>
                                        </a:lnTo>
                                        <a:lnTo>
                                          <a:pt x="1111250" y="182562"/>
                                        </a:lnTo>
                                        <a:lnTo>
                                          <a:pt x="1105958" y="185208"/>
                                        </a:lnTo>
                                        <a:lnTo>
                                          <a:pt x="1100667" y="190500"/>
                                        </a:lnTo>
                                        <a:lnTo>
                                          <a:pt x="1095375" y="190500"/>
                                        </a:lnTo>
                                        <a:lnTo>
                                          <a:pt x="1087438" y="193146"/>
                                        </a:lnTo>
                                        <a:lnTo>
                                          <a:pt x="1074208" y="198437"/>
                                        </a:lnTo>
                                        <a:lnTo>
                                          <a:pt x="1066271" y="203729"/>
                                        </a:lnTo>
                                        <a:lnTo>
                                          <a:pt x="1058333" y="206375"/>
                                        </a:lnTo>
                                        <a:lnTo>
                                          <a:pt x="1053042" y="206375"/>
                                        </a:lnTo>
                                        <a:lnTo>
                                          <a:pt x="1053042" y="209021"/>
                                        </a:lnTo>
                                        <a:lnTo>
                                          <a:pt x="1047750" y="214312"/>
                                        </a:lnTo>
                                        <a:lnTo>
                                          <a:pt x="1031875" y="219604"/>
                                        </a:lnTo>
                                        <a:lnTo>
                                          <a:pt x="1026583" y="222250"/>
                                        </a:lnTo>
                                        <a:lnTo>
                                          <a:pt x="1026583" y="224896"/>
                                        </a:lnTo>
                                        <a:lnTo>
                                          <a:pt x="1026583" y="227542"/>
                                        </a:lnTo>
                                        <a:lnTo>
                                          <a:pt x="1018646" y="227542"/>
                                        </a:lnTo>
                                        <a:lnTo>
                                          <a:pt x="1013354" y="230187"/>
                                        </a:lnTo>
                                        <a:lnTo>
                                          <a:pt x="1013354" y="232833"/>
                                        </a:lnTo>
                                        <a:lnTo>
                                          <a:pt x="1008062" y="238125"/>
                                        </a:lnTo>
                                        <a:lnTo>
                                          <a:pt x="1000125" y="243417"/>
                                        </a:lnTo>
                                        <a:lnTo>
                                          <a:pt x="997479" y="251354"/>
                                        </a:lnTo>
                                        <a:lnTo>
                                          <a:pt x="992187" y="256646"/>
                                        </a:lnTo>
                                        <a:lnTo>
                                          <a:pt x="984250" y="264583"/>
                                        </a:lnTo>
                                        <a:lnTo>
                                          <a:pt x="992187" y="264583"/>
                                        </a:lnTo>
                                        <a:lnTo>
                                          <a:pt x="992187" y="272521"/>
                                        </a:lnTo>
                                        <a:lnTo>
                                          <a:pt x="994833" y="269875"/>
                                        </a:lnTo>
                                        <a:lnTo>
                                          <a:pt x="1000125" y="269875"/>
                                        </a:lnTo>
                                        <a:lnTo>
                                          <a:pt x="1010708" y="267229"/>
                                        </a:lnTo>
                                        <a:lnTo>
                                          <a:pt x="1016000" y="269875"/>
                                        </a:lnTo>
                                        <a:lnTo>
                                          <a:pt x="1018646" y="272521"/>
                                        </a:lnTo>
                                        <a:lnTo>
                                          <a:pt x="1018646" y="277812"/>
                                        </a:lnTo>
                                        <a:lnTo>
                                          <a:pt x="1018646" y="280458"/>
                                        </a:lnTo>
                                        <a:lnTo>
                                          <a:pt x="1018646" y="285750"/>
                                        </a:lnTo>
                                        <a:lnTo>
                                          <a:pt x="1021292" y="291042"/>
                                        </a:lnTo>
                                        <a:lnTo>
                                          <a:pt x="1021292" y="296333"/>
                                        </a:lnTo>
                                        <a:lnTo>
                                          <a:pt x="1021292" y="298979"/>
                                        </a:lnTo>
                                        <a:lnTo>
                                          <a:pt x="1010708" y="304271"/>
                                        </a:lnTo>
                                        <a:lnTo>
                                          <a:pt x="1005417" y="304271"/>
                                        </a:lnTo>
                                        <a:lnTo>
                                          <a:pt x="1002771" y="304271"/>
                                        </a:lnTo>
                                        <a:lnTo>
                                          <a:pt x="994833" y="309562"/>
                                        </a:lnTo>
                                        <a:lnTo>
                                          <a:pt x="1000125" y="306917"/>
                                        </a:lnTo>
                                        <a:lnTo>
                                          <a:pt x="1010708" y="306917"/>
                                        </a:lnTo>
                                        <a:lnTo>
                                          <a:pt x="1021292" y="304271"/>
                                        </a:lnTo>
                                        <a:lnTo>
                                          <a:pt x="1034521" y="301625"/>
                                        </a:lnTo>
                                        <a:lnTo>
                                          <a:pt x="1045104" y="298979"/>
                                        </a:lnTo>
                                        <a:lnTo>
                                          <a:pt x="1050396" y="301625"/>
                                        </a:lnTo>
                                        <a:lnTo>
                                          <a:pt x="1053042" y="304271"/>
                                        </a:lnTo>
                                        <a:lnTo>
                                          <a:pt x="1055688" y="309562"/>
                                        </a:lnTo>
                                        <a:lnTo>
                                          <a:pt x="1060979" y="312208"/>
                                        </a:lnTo>
                                        <a:lnTo>
                                          <a:pt x="1074208" y="314854"/>
                                        </a:lnTo>
                                        <a:lnTo>
                                          <a:pt x="1087438" y="317500"/>
                                        </a:lnTo>
                                        <a:lnTo>
                                          <a:pt x="1092729" y="320146"/>
                                        </a:lnTo>
                                        <a:lnTo>
                                          <a:pt x="1095375" y="322792"/>
                                        </a:lnTo>
                                        <a:lnTo>
                                          <a:pt x="1098021" y="328083"/>
                                        </a:lnTo>
                                        <a:lnTo>
                                          <a:pt x="1100667" y="328083"/>
                                        </a:lnTo>
                                        <a:lnTo>
                                          <a:pt x="1103313" y="328083"/>
                                        </a:lnTo>
                                        <a:lnTo>
                                          <a:pt x="1108604" y="330729"/>
                                        </a:lnTo>
                                        <a:lnTo>
                                          <a:pt x="1119188" y="336021"/>
                                        </a:lnTo>
                                        <a:lnTo>
                                          <a:pt x="1127125" y="336021"/>
                                        </a:lnTo>
                                        <a:lnTo>
                                          <a:pt x="1132417" y="338667"/>
                                        </a:lnTo>
                                        <a:lnTo>
                                          <a:pt x="1132417" y="343958"/>
                                        </a:lnTo>
                                        <a:lnTo>
                                          <a:pt x="1132417" y="346604"/>
                                        </a:lnTo>
                                        <a:lnTo>
                                          <a:pt x="1137708" y="346604"/>
                                        </a:lnTo>
                                        <a:lnTo>
                                          <a:pt x="1150938" y="346604"/>
                                        </a:lnTo>
                                        <a:lnTo>
                                          <a:pt x="1164167" y="346604"/>
                                        </a:lnTo>
                                        <a:lnTo>
                                          <a:pt x="1174750" y="349250"/>
                                        </a:lnTo>
                                        <a:lnTo>
                                          <a:pt x="1180042" y="351896"/>
                                        </a:lnTo>
                                        <a:lnTo>
                                          <a:pt x="1187979" y="351896"/>
                                        </a:lnTo>
                                        <a:lnTo>
                                          <a:pt x="1190625" y="351896"/>
                                        </a:lnTo>
                                        <a:lnTo>
                                          <a:pt x="1187979" y="357188"/>
                                        </a:lnTo>
                                        <a:lnTo>
                                          <a:pt x="1180042" y="362479"/>
                                        </a:lnTo>
                                        <a:lnTo>
                                          <a:pt x="1180042" y="365125"/>
                                        </a:lnTo>
                                        <a:lnTo>
                                          <a:pt x="1182688" y="367771"/>
                                        </a:lnTo>
                                        <a:lnTo>
                                          <a:pt x="1182688" y="373063"/>
                                        </a:lnTo>
                                        <a:lnTo>
                                          <a:pt x="1177396" y="375708"/>
                                        </a:lnTo>
                                        <a:lnTo>
                                          <a:pt x="1174750" y="375708"/>
                                        </a:lnTo>
                                        <a:lnTo>
                                          <a:pt x="1172104" y="375708"/>
                                        </a:lnTo>
                                        <a:lnTo>
                                          <a:pt x="1166813" y="378354"/>
                                        </a:lnTo>
                                        <a:lnTo>
                                          <a:pt x="1164167" y="378354"/>
                                        </a:lnTo>
                                        <a:lnTo>
                                          <a:pt x="1153583" y="375708"/>
                                        </a:lnTo>
                                        <a:lnTo>
                                          <a:pt x="1156229" y="378354"/>
                                        </a:lnTo>
                                        <a:lnTo>
                                          <a:pt x="1158875" y="378354"/>
                                        </a:lnTo>
                                        <a:lnTo>
                                          <a:pt x="1166813" y="381000"/>
                                        </a:lnTo>
                                        <a:lnTo>
                                          <a:pt x="1172104" y="383646"/>
                                        </a:lnTo>
                                        <a:lnTo>
                                          <a:pt x="1174750" y="383646"/>
                                        </a:lnTo>
                                        <a:lnTo>
                                          <a:pt x="1174750" y="388938"/>
                                        </a:lnTo>
                                        <a:lnTo>
                                          <a:pt x="1174750" y="394229"/>
                                        </a:lnTo>
                                        <a:lnTo>
                                          <a:pt x="1174750" y="396875"/>
                                        </a:lnTo>
                                        <a:lnTo>
                                          <a:pt x="1161521" y="396875"/>
                                        </a:lnTo>
                                        <a:lnTo>
                                          <a:pt x="1169458" y="399521"/>
                                        </a:lnTo>
                                        <a:lnTo>
                                          <a:pt x="1174750" y="404813"/>
                                        </a:lnTo>
                                        <a:lnTo>
                                          <a:pt x="1177396" y="407458"/>
                                        </a:lnTo>
                                        <a:lnTo>
                                          <a:pt x="1177396" y="412750"/>
                                        </a:lnTo>
                                        <a:lnTo>
                                          <a:pt x="1177396" y="420688"/>
                                        </a:lnTo>
                                        <a:lnTo>
                                          <a:pt x="1177396" y="425979"/>
                                        </a:lnTo>
                                        <a:lnTo>
                                          <a:pt x="1180042" y="428625"/>
                                        </a:lnTo>
                                        <a:lnTo>
                                          <a:pt x="1182688" y="431271"/>
                                        </a:lnTo>
                                        <a:lnTo>
                                          <a:pt x="1177396" y="431271"/>
                                        </a:lnTo>
                                        <a:lnTo>
                                          <a:pt x="1172104" y="436563"/>
                                        </a:lnTo>
                                        <a:lnTo>
                                          <a:pt x="1166813" y="439208"/>
                                        </a:lnTo>
                                        <a:lnTo>
                                          <a:pt x="1164167" y="444500"/>
                                        </a:lnTo>
                                        <a:lnTo>
                                          <a:pt x="1172104" y="436563"/>
                                        </a:lnTo>
                                        <a:lnTo>
                                          <a:pt x="1185333" y="431271"/>
                                        </a:lnTo>
                                        <a:lnTo>
                                          <a:pt x="1187979" y="431271"/>
                                        </a:lnTo>
                                        <a:lnTo>
                                          <a:pt x="1190625" y="431271"/>
                                        </a:lnTo>
                                        <a:lnTo>
                                          <a:pt x="1190625" y="439208"/>
                                        </a:lnTo>
                                        <a:lnTo>
                                          <a:pt x="1190625" y="447146"/>
                                        </a:lnTo>
                                        <a:lnTo>
                                          <a:pt x="1190625" y="449792"/>
                                        </a:lnTo>
                                        <a:lnTo>
                                          <a:pt x="1195917" y="447146"/>
                                        </a:lnTo>
                                        <a:lnTo>
                                          <a:pt x="1198563" y="449792"/>
                                        </a:lnTo>
                                        <a:lnTo>
                                          <a:pt x="1201208" y="449792"/>
                                        </a:lnTo>
                                        <a:lnTo>
                                          <a:pt x="1201208" y="447146"/>
                                        </a:lnTo>
                                        <a:lnTo>
                                          <a:pt x="1201208" y="444500"/>
                                        </a:lnTo>
                                        <a:lnTo>
                                          <a:pt x="1206500" y="441854"/>
                                        </a:lnTo>
                                        <a:lnTo>
                                          <a:pt x="1219729" y="439208"/>
                                        </a:lnTo>
                                        <a:lnTo>
                                          <a:pt x="1222375" y="439208"/>
                                        </a:lnTo>
                                        <a:lnTo>
                                          <a:pt x="1225021" y="441854"/>
                                        </a:lnTo>
                                        <a:lnTo>
                                          <a:pt x="1227667" y="449792"/>
                                        </a:lnTo>
                                        <a:lnTo>
                                          <a:pt x="1230313" y="452438"/>
                                        </a:lnTo>
                                        <a:lnTo>
                                          <a:pt x="1235604" y="455083"/>
                                        </a:lnTo>
                                        <a:lnTo>
                                          <a:pt x="1230313" y="449792"/>
                                        </a:lnTo>
                                        <a:lnTo>
                                          <a:pt x="1230313" y="447146"/>
                                        </a:lnTo>
                                        <a:lnTo>
                                          <a:pt x="1232958" y="447146"/>
                                        </a:lnTo>
                                        <a:lnTo>
                                          <a:pt x="1240896" y="447146"/>
                                        </a:lnTo>
                                        <a:lnTo>
                                          <a:pt x="1232958" y="441854"/>
                                        </a:lnTo>
                                        <a:lnTo>
                                          <a:pt x="1230313" y="439208"/>
                                        </a:lnTo>
                                        <a:lnTo>
                                          <a:pt x="1230313" y="433917"/>
                                        </a:lnTo>
                                        <a:lnTo>
                                          <a:pt x="1232958" y="431271"/>
                                        </a:lnTo>
                                        <a:lnTo>
                                          <a:pt x="1235604" y="431271"/>
                                        </a:lnTo>
                                        <a:lnTo>
                                          <a:pt x="1246188" y="428625"/>
                                        </a:lnTo>
                                        <a:lnTo>
                                          <a:pt x="1248833" y="425979"/>
                                        </a:lnTo>
                                        <a:lnTo>
                                          <a:pt x="1254125" y="423333"/>
                                        </a:lnTo>
                                        <a:lnTo>
                                          <a:pt x="1256771" y="418042"/>
                                        </a:lnTo>
                                        <a:lnTo>
                                          <a:pt x="1256771" y="412750"/>
                                        </a:lnTo>
                                        <a:lnTo>
                                          <a:pt x="1256771" y="404813"/>
                                        </a:lnTo>
                                        <a:lnTo>
                                          <a:pt x="1259417" y="402167"/>
                                        </a:lnTo>
                                        <a:lnTo>
                                          <a:pt x="1262063" y="396875"/>
                                        </a:lnTo>
                                        <a:lnTo>
                                          <a:pt x="1259417" y="381000"/>
                                        </a:lnTo>
                                        <a:lnTo>
                                          <a:pt x="1259417" y="375708"/>
                                        </a:lnTo>
                                        <a:lnTo>
                                          <a:pt x="1256771" y="375708"/>
                                        </a:lnTo>
                                        <a:lnTo>
                                          <a:pt x="1254125" y="373063"/>
                                        </a:lnTo>
                                        <a:lnTo>
                                          <a:pt x="1251479" y="370417"/>
                                        </a:lnTo>
                                        <a:lnTo>
                                          <a:pt x="1248833" y="367771"/>
                                        </a:lnTo>
                                        <a:lnTo>
                                          <a:pt x="1246188" y="367771"/>
                                        </a:lnTo>
                                        <a:lnTo>
                                          <a:pt x="1248833" y="362479"/>
                                        </a:lnTo>
                                        <a:lnTo>
                                          <a:pt x="1259417" y="362479"/>
                                        </a:lnTo>
                                        <a:lnTo>
                                          <a:pt x="1285875" y="357188"/>
                                        </a:lnTo>
                                        <a:lnTo>
                                          <a:pt x="1299104" y="354542"/>
                                        </a:lnTo>
                                        <a:lnTo>
                                          <a:pt x="1314979" y="346604"/>
                                        </a:lnTo>
                                        <a:lnTo>
                                          <a:pt x="1330854" y="338667"/>
                                        </a:lnTo>
                                        <a:lnTo>
                                          <a:pt x="1346729" y="325438"/>
                                        </a:lnTo>
                                        <a:lnTo>
                                          <a:pt x="1359958" y="309562"/>
                                        </a:lnTo>
                                        <a:lnTo>
                                          <a:pt x="1365250" y="296333"/>
                                        </a:lnTo>
                                        <a:lnTo>
                                          <a:pt x="1365250" y="288396"/>
                                        </a:lnTo>
                                        <a:lnTo>
                                          <a:pt x="1359958" y="280458"/>
                                        </a:lnTo>
                                        <a:lnTo>
                                          <a:pt x="1349375" y="272521"/>
                                        </a:lnTo>
                                        <a:lnTo>
                                          <a:pt x="1346729" y="269875"/>
                                        </a:lnTo>
                                        <a:lnTo>
                                          <a:pt x="1346729" y="267229"/>
                                        </a:lnTo>
                                        <a:lnTo>
                                          <a:pt x="1349375" y="264583"/>
                                        </a:lnTo>
                                        <a:lnTo>
                                          <a:pt x="1349375" y="259292"/>
                                        </a:lnTo>
                                        <a:lnTo>
                                          <a:pt x="1352021" y="256646"/>
                                        </a:lnTo>
                                        <a:lnTo>
                                          <a:pt x="1367896" y="251354"/>
                                        </a:lnTo>
                                        <a:lnTo>
                                          <a:pt x="1375833" y="248708"/>
                                        </a:lnTo>
                                        <a:lnTo>
                                          <a:pt x="1375833" y="246062"/>
                                        </a:lnTo>
                                        <a:lnTo>
                                          <a:pt x="1381125" y="243417"/>
                                        </a:lnTo>
                                        <a:lnTo>
                                          <a:pt x="1386417" y="240771"/>
                                        </a:lnTo>
                                        <a:lnTo>
                                          <a:pt x="1386417" y="238125"/>
                                        </a:lnTo>
                                        <a:lnTo>
                                          <a:pt x="1383771" y="238125"/>
                                        </a:lnTo>
                                        <a:lnTo>
                                          <a:pt x="1383771" y="235479"/>
                                        </a:lnTo>
                                        <a:lnTo>
                                          <a:pt x="1386417" y="232833"/>
                                        </a:lnTo>
                                        <a:lnTo>
                                          <a:pt x="1391708" y="230187"/>
                                        </a:lnTo>
                                        <a:lnTo>
                                          <a:pt x="1399646" y="222250"/>
                                        </a:lnTo>
                                        <a:lnTo>
                                          <a:pt x="1397000" y="219604"/>
                                        </a:lnTo>
                                        <a:lnTo>
                                          <a:pt x="1394354" y="219604"/>
                                        </a:lnTo>
                                        <a:lnTo>
                                          <a:pt x="1394354" y="216958"/>
                                        </a:lnTo>
                                        <a:lnTo>
                                          <a:pt x="1397000" y="216958"/>
                                        </a:lnTo>
                                        <a:lnTo>
                                          <a:pt x="1402292" y="211667"/>
                                        </a:lnTo>
                                        <a:lnTo>
                                          <a:pt x="1404938" y="209021"/>
                                        </a:lnTo>
                                        <a:lnTo>
                                          <a:pt x="1407583" y="203729"/>
                                        </a:lnTo>
                                        <a:lnTo>
                                          <a:pt x="1410229" y="193146"/>
                                        </a:lnTo>
                                        <a:lnTo>
                                          <a:pt x="1412875" y="185208"/>
                                        </a:lnTo>
                                        <a:lnTo>
                                          <a:pt x="1418167" y="182562"/>
                                        </a:lnTo>
                                        <a:lnTo>
                                          <a:pt x="1420813" y="179917"/>
                                        </a:lnTo>
                                        <a:lnTo>
                                          <a:pt x="1434042" y="177271"/>
                                        </a:lnTo>
                                        <a:lnTo>
                                          <a:pt x="1447271" y="177271"/>
                                        </a:lnTo>
                                        <a:lnTo>
                                          <a:pt x="1473729" y="185208"/>
                                        </a:lnTo>
                                        <a:lnTo>
                                          <a:pt x="1484313" y="187854"/>
                                        </a:lnTo>
                                        <a:lnTo>
                                          <a:pt x="1492250" y="187854"/>
                                        </a:lnTo>
                                        <a:lnTo>
                                          <a:pt x="1502833" y="182562"/>
                                        </a:lnTo>
                                        <a:lnTo>
                                          <a:pt x="1505479" y="179917"/>
                                        </a:lnTo>
                                        <a:lnTo>
                                          <a:pt x="1513417" y="182562"/>
                                        </a:lnTo>
                                        <a:lnTo>
                                          <a:pt x="1521354" y="185208"/>
                                        </a:lnTo>
                                        <a:lnTo>
                                          <a:pt x="1531937" y="193146"/>
                                        </a:lnTo>
                                        <a:lnTo>
                                          <a:pt x="1531937" y="201083"/>
                                        </a:lnTo>
                                        <a:lnTo>
                                          <a:pt x="1537229" y="206375"/>
                                        </a:lnTo>
                                        <a:lnTo>
                                          <a:pt x="1539875" y="206375"/>
                                        </a:lnTo>
                                        <a:lnTo>
                                          <a:pt x="1545167" y="209021"/>
                                        </a:lnTo>
                                        <a:lnTo>
                                          <a:pt x="1550458" y="214312"/>
                                        </a:lnTo>
                                        <a:lnTo>
                                          <a:pt x="1555750" y="211667"/>
                                        </a:lnTo>
                                        <a:lnTo>
                                          <a:pt x="1558396" y="209021"/>
                                        </a:lnTo>
                                        <a:lnTo>
                                          <a:pt x="1561042" y="209021"/>
                                        </a:lnTo>
                                        <a:lnTo>
                                          <a:pt x="1563687" y="211667"/>
                                        </a:lnTo>
                                        <a:lnTo>
                                          <a:pt x="1563687" y="214312"/>
                                        </a:lnTo>
                                        <a:lnTo>
                                          <a:pt x="1561042" y="216958"/>
                                        </a:lnTo>
                                        <a:lnTo>
                                          <a:pt x="1563687" y="219604"/>
                                        </a:lnTo>
                                        <a:lnTo>
                                          <a:pt x="1566333" y="222250"/>
                                        </a:lnTo>
                                        <a:lnTo>
                                          <a:pt x="1571625" y="219604"/>
                                        </a:lnTo>
                                        <a:lnTo>
                                          <a:pt x="1576917" y="216958"/>
                                        </a:lnTo>
                                        <a:lnTo>
                                          <a:pt x="1579562" y="216958"/>
                                        </a:lnTo>
                                        <a:lnTo>
                                          <a:pt x="1582208" y="219604"/>
                                        </a:lnTo>
                                        <a:lnTo>
                                          <a:pt x="1582208" y="222250"/>
                                        </a:lnTo>
                                        <a:lnTo>
                                          <a:pt x="1576917" y="224896"/>
                                        </a:lnTo>
                                        <a:lnTo>
                                          <a:pt x="1568979" y="227542"/>
                                        </a:lnTo>
                                        <a:lnTo>
                                          <a:pt x="1563687" y="230187"/>
                                        </a:lnTo>
                                        <a:lnTo>
                                          <a:pt x="1561042" y="230187"/>
                                        </a:lnTo>
                                        <a:lnTo>
                                          <a:pt x="1563687" y="235479"/>
                                        </a:lnTo>
                                        <a:lnTo>
                                          <a:pt x="1566333" y="238125"/>
                                        </a:lnTo>
                                        <a:lnTo>
                                          <a:pt x="1550458" y="243417"/>
                                        </a:lnTo>
                                        <a:lnTo>
                                          <a:pt x="1555750" y="243417"/>
                                        </a:lnTo>
                                        <a:lnTo>
                                          <a:pt x="1558396" y="243417"/>
                                        </a:lnTo>
                                        <a:lnTo>
                                          <a:pt x="1561042" y="246062"/>
                                        </a:lnTo>
                                        <a:lnTo>
                                          <a:pt x="1561042" y="251354"/>
                                        </a:lnTo>
                                        <a:lnTo>
                                          <a:pt x="1558396" y="254000"/>
                                        </a:lnTo>
                                        <a:lnTo>
                                          <a:pt x="1547812" y="256646"/>
                                        </a:lnTo>
                                        <a:lnTo>
                                          <a:pt x="1539875" y="261937"/>
                                        </a:lnTo>
                                        <a:lnTo>
                                          <a:pt x="1537229" y="264583"/>
                                        </a:lnTo>
                                        <a:lnTo>
                                          <a:pt x="1537229" y="267229"/>
                                        </a:lnTo>
                                        <a:lnTo>
                                          <a:pt x="1550458" y="264583"/>
                                        </a:lnTo>
                                        <a:lnTo>
                                          <a:pt x="1561042" y="264583"/>
                                        </a:lnTo>
                                        <a:lnTo>
                                          <a:pt x="1563687" y="267229"/>
                                        </a:lnTo>
                                        <a:lnTo>
                                          <a:pt x="1561042" y="272521"/>
                                        </a:lnTo>
                                        <a:lnTo>
                                          <a:pt x="1550458" y="280458"/>
                                        </a:lnTo>
                                        <a:lnTo>
                                          <a:pt x="1545167" y="280458"/>
                                        </a:lnTo>
                                        <a:lnTo>
                                          <a:pt x="1542521" y="280458"/>
                                        </a:lnTo>
                                        <a:lnTo>
                                          <a:pt x="1542521" y="275167"/>
                                        </a:lnTo>
                                        <a:lnTo>
                                          <a:pt x="1537229" y="280458"/>
                                        </a:lnTo>
                                        <a:lnTo>
                                          <a:pt x="1529292" y="285750"/>
                                        </a:lnTo>
                                        <a:lnTo>
                                          <a:pt x="1537229" y="285750"/>
                                        </a:lnTo>
                                        <a:lnTo>
                                          <a:pt x="1539875" y="288396"/>
                                        </a:lnTo>
                                        <a:lnTo>
                                          <a:pt x="1539875" y="293687"/>
                                        </a:lnTo>
                                        <a:lnTo>
                                          <a:pt x="1553104" y="283104"/>
                                        </a:lnTo>
                                        <a:lnTo>
                                          <a:pt x="1566333" y="277812"/>
                                        </a:lnTo>
                                        <a:lnTo>
                                          <a:pt x="1576917" y="275167"/>
                                        </a:lnTo>
                                        <a:lnTo>
                                          <a:pt x="1576917" y="277812"/>
                                        </a:lnTo>
                                        <a:lnTo>
                                          <a:pt x="1576917" y="280458"/>
                                        </a:lnTo>
                                        <a:lnTo>
                                          <a:pt x="1576917" y="285750"/>
                                        </a:lnTo>
                                        <a:lnTo>
                                          <a:pt x="1579562" y="285750"/>
                                        </a:lnTo>
                                        <a:lnTo>
                                          <a:pt x="1584854" y="285750"/>
                                        </a:lnTo>
                                        <a:lnTo>
                                          <a:pt x="1584854" y="288396"/>
                                        </a:lnTo>
                                        <a:lnTo>
                                          <a:pt x="1590146" y="280458"/>
                                        </a:lnTo>
                                        <a:lnTo>
                                          <a:pt x="1598083" y="275167"/>
                                        </a:lnTo>
                                        <a:lnTo>
                                          <a:pt x="1606021" y="272521"/>
                                        </a:lnTo>
                                        <a:lnTo>
                                          <a:pt x="1613958" y="267229"/>
                                        </a:lnTo>
                                        <a:lnTo>
                                          <a:pt x="1616604" y="264583"/>
                                        </a:lnTo>
                                        <a:lnTo>
                                          <a:pt x="1619250" y="267229"/>
                                        </a:lnTo>
                                        <a:lnTo>
                                          <a:pt x="1619250" y="272521"/>
                                        </a:lnTo>
                                        <a:lnTo>
                                          <a:pt x="1619250" y="275167"/>
                                        </a:lnTo>
                                        <a:lnTo>
                                          <a:pt x="1621896" y="275167"/>
                                        </a:lnTo>
                                        <a:lnTo>
                                          <a:pt x="1621896" y="272521"/>
                                        </a:lnTo>
                                        <a:lnTo>
                                          <a:pt x="1624542" y="267229"/>
                                        </a:lnTo>
                                        <a:lnTo>
                                          <a:pt x="1627187" y="264583"/>
                                        </a:lnTo>
                                        <a:lnTo>
                                          <a:pt x="1635125" y="259292"/>
                                        </a:lnTo>
                                        <a:lnTo>
                                          <a:pt x="1640417" y="259292"/>
                                        </a:lnTo>
                                        <a:lnTo>
                                          <a:pt x="1643062" y="256646"/>
                                        </a:lnTo>
                                        <a:lnTo>
                                          <a:pt x="1643062" y="251354"/>
                                        </a:lnTo>
                                        <a:lnTo>
                                          <a:pt x="1643062" y="246062"/>
                                        </a:lnTo>
                                        <a:lnTo>
                                          <a:pt x="1643062" y="243417"/>
                                        </a:lnTo>
                                        <a:lnTo>
                                          <a:pt x="1645708" y="243417"/>
                                        </a:lnTo>
                                        <a:lnTo>
                                          <a:pt x="1653646" y="235479"/>
                                        </a:lnTo>
                                        <a:lnTo>
                                          <a:pt x="1658937" y="230187"/>
                                        </a:lnTo>
                                        <a:lnTo>
                                          <a:pt x="1664229" y="224896"/>
                                        </a:lnTo>
                                        <a:lnTo>
                                          <a:pt x="1666875" y="224896"/>
                                        </a:lnTo>
                                        <a:lnTo>
                                          <a:pt x="1666875" y="227542"/>
                                        </a:lnTo>
                                        <a:lnTo>
                                          <a:pt x="1672167" y="232833"/>
                                        </a:lnTo>
                                        <a:lnTo>
                                          <a:pt x="1677458" y="235479"/>
                                        </a:lnTo>
                                        <a:lnTo>
                                          <a:pt x="1680104" y="238125"/>
                                        </a:lnTo>
                                        <a:lnTo>
                                          <a:pt x="1680104" y="240771"/>
                                        </a:lnTo>
                                        <a:lnTo>
                                          <a:pt x="1680104" y="243417"/>
                                        </a:lnTo>
                                        <a:lnTo>
                                          <a:pt x="1680104" y="246062"/>
                                        </a:lnTo>
                                        <a:lnTo>
                                          <a:pt x="1682750" y="248708"/>
                                        </a:lnTo>
                                        <a:lnTo>
                                          <a:pt x="1682750" y="251354"/>
                                        </a:lnTo>
                                        <a:lnTo>
                                          <a:pt x="1682750" y="256646"/>
                                        </a:lnTo>
                                        <a:lnTo>
                                          <a:pt x="1685396" y="256646"/>
                                        </a:lnTo>
                                        <a:lnTo>
                                          <a:pt x="1688042" y="259292"/>
                                        </a:lnTo>
                                        <a:lnTo>
                                          <a:pt x="1688042" y="264583"/>
                                        </a:lnTo>
                                        <a:lnTo>
                                          <a:pt x="1688042" y="267229"/>
                                        </a:lnTo>
                                        <a:lnTo>
                                          <a:pt x="1688042" y="269875"/>
                                        </a:lnTo>
                                        <a:lnTo>
                                          <a:pt x="1693333" y="272521"/>
                                        </a:lnTo>
                                        <a:lnTo>
                                          <a:pt x="1695979" y="277812"/>
                                        </a:lnTo>
                                        <a:lnTo>
                                          <a:pt x="1695979" y="280458"/>
                                        </a:lnTo>
                                        <a:lnTo>
                                          <a:pt x="1693333" y="285750"/>
                                        </a:lnTo>
                                        <a:lnTo>
                                          <a:pt x="1701271" y="288396"/>
                                        </a:lnTo>
                                        <a:lnTo>
                                          <a:pt x="1703917" y="291042"/>
                                        </a:lnTo>
                                        <a:lnTo>
                                          <a:pt x="1703917" y="293687"/>
                                        </a:lnTo>
                                        <a:lnTo>
                                          <a:pt x="1703917" y="296333"/>
                                        </a:lnTo>
                                        <a:lnTo>
                                          <a:pt x="1695979" y="301625"/>
                                        </a:lnTo>
                                        <a:lnTo>
                                          <a:pt x="1680104" y="306917"/>
                                        </a:lnTo>
                                        <a:lnTo>
                                          <a:pt x="1688042" y="306917"/>
                                        </a:lnTo>
                                        <a:lnTo>
                                          <a:pt x="1703917" y="304271"/>
                                        </a:lnTo>
                                        <a:lnTo>
                                          <a:pt x="1706562" y="304271"/>
                                        </a:lnTo>
                                        <a:lnTo>
                                          <a:pt x="1709208" y="304271"/>
                                        </a:lnTo>
                                        <a:lnTo>
                                          <a:pt x="1706562" y="309562"/>
                                        </a:lnTo>
                                        <a:lnTo>
                                          <a:pt x="1701271" y="314854"/>
                                        </a:lnTo>
                                        <a:lnTo>
                                          <a:pt x="1701271" y="320146"/>
                                        </a:lnTo>
                                        <a:lnTo>
                                          <a:pt x="1703917" y="322792"/>
                                        </a:lnTo>
                                        <a:lnTo>
                                          <a:pt x="1706562" y="325438"/>
                                        </a:lnTo>
                                        <a:lnTo>
                                          <a:pt x="1709208" y="328083"/>
                                        </a:lnTo>
                                        <a:lnTo>
                                          <a:pt x="1709208" y="336021"/>
                                        </a:lnTo>
                                        <a:lnTo>
                                          <a:pt x="1709208" y="343958"/>
                                        </a:lnTo>
                                        <a:lnTo>
                                          <a:pt x="1711854" y="341313"/>
                                        </a:lnTo>
                                        <a:lnTo>
                                          <a:pt x="1717146" y="341313"/>
                                        </a:lnTo>
                                        <a:lnTo>
                                          <a:pt x="1719792" y="343958"/>
                                        </a:lnTo>
                                        <a:lnTo>
                                          <a:pt x="1719792" y="346604"/>
                                        </a:lnTo>
                                        <a:lnTo>
                                          <a:pt x="1719792" y="349250"/>
                                        </a:lnTo>
                                        <a:lnTo>
                                          <a:pt x="1725083" y="349250"/>
                                        </a:lnTo>
                                        <a:lnTo>
                                          <a:pt x="1730375" y="349250"/>
                                        </a:lnTo>
                                        <a:lnTo>
                                          <a:pt x="1730375" y="351896"/>
                                        </a:lnTo>
                                        <a:lnTo>
                                          <a:pt x="1735667" y="354542"/>
                                        </a:lnTo>
                                        <a:lnTo>
                                          <a:pt x="1740958" y="354542"/>
                                        </a:lnTo>
                                        <a:lnTo>
                                          <a:pt x="1740958" y="357188"/>
                                        </a:lnTo>
                                        <a:lnTo>
                                          <a:pt x="1743604" y="359833"/>
                                        </a:lnTo>
                                        <a:lnTo>
                                          <a:pt x="1748896" y="359833"/>
                                        </a:lnTo>
                                        <a:lnTo>
                                          <a:pt x="1764771" y="362479"/>
                                        </a:lnTo>
                                        <a:lnTo>
                                          <a:pt x="1767417" y="365125"/>
                                        </a:lnTo>
                                        <a:lnTo>
                                          <a:pt x="1759479" y="367771"/>
                                        </a:lnTo>
                                        <a:lnTo>
                                          <a:pt x="1735667" y="370417"/>
                                        </a:lnTo>
                                        <a:lnTo>
                                          <a:pt x="1725083" y="373063"/>
                                        </a:lnTo>
                                        <a:lnTo>
                                          <a:pt x="1711854" y="375708"/>
                                        </a:lnTo>
                                        <a:lnTo>
                                          <a:pt x="1701271" y="375708"/>
                                        </a:lnTo>
                                        <a:lnTo>
                                          <a:pt x="1701271" y="378354"/>
                                        </a:lnTo>
                                        <a:lnTo>
                                          <a:pt x="1688042" y="386292"/>
                                        </a:lnTo>
                                        <a:lnTo>
                                          <a:pt x="1701271" y="386292"/>
                                        </a:lnTo>
                                        <a:lnTo>
                                          <a:pt x="1714500" y="383646"/>
                                        </a:lnTo>
                                        <a:lnTo>
                                          <a:pt x="1738312" y="375708"/>
                                        </a:lnTo>
                                        <a:lnTo>
                                          <a:pt x="1754187" y="373063"/>
                                        </a:lnTo>
                                        <a:lnTo>
                                          <a:pt x="1759479" y="373063"/>
                                        </a:lnTo>
                                        <a:lnTo>
                                          <a:pt x="1767417" y="375708"/>
                                        </a:lnTo>
                                        <a:lnTo>
                                          <a:pt x="1770062" y="378354"/>
                                        </a:lnTo>
                                        <a:lnTo>
                                          <a:pt x="1767417" y="381000"/>
                                        </a:lnTo>
                                        <a:lnTo>
                                          <a:pt x="1764771" y="381000"/>
                                        </a:lnTo>
                                        <a:lnTo>
                                          <a:pt x="1767417" y="383646"/>
                                        </a:lnTo>
                                        <a:lnTo>
                                          <a:pt x="1770062" y="383646"/>
                                        </a:lnTo>
                                        <a:lnTo>
                                          <a:pt x="1775354" y="383646"/>
                                        </a:lnTo>
                                        <a:lnTo>
                                          <a:pt x="1780646" y="381000"/>
                                        </a:lnTo>
                                        <a:lnTo>
                                          <a:pt x="1785937" y="383646"/>
                                        </a:lnTo>
                                        <a:lnTo>
                                          <a:pt x="1791229" y="386292"/>
                                        </a:lnTo>
                                        <a:lnTo>
                                          <a:pt x="1791229" y="391583"/>
                                        </a:lnTo>
                                        <a:lnTo>
                                          <a:pt x="1785937" y="394229"/>
                                        </a:lnTo>
                                        <a:lnTo>
                                          <a:pt x="1783292" y="396875"/>
                                        </a:lnTo>
                                        <a:lnTo>
                                          <a:pt x="1785937" y="402167"/>
                                        </a:lnTo>
                                        <a:lnTo>
                                          <a:pt x="1788583" y="404813"/>
                                        </a:lnTo>
                                        <a:lnTo>
                                          <a:pt x="1785937" y="404813"/>
                                        </a:lnTo>
                                        <a:lnTo>
                                          <a:pt x="1788583" y="407458"/>
                                        </a:lnTo>
                                        <a:lnTo>
                                          <a:pt x="1791229" y="410104"/>
                                        </a:lnTo>
                                        <a:lnTo>
                                          <a:pt x="1791229" y="412750"/>
                                        </a:lnTo>
                                        <a:lnTo>
                                          <a:pt x="1791229" y="418042"/>
                                        </a:lnTo>
                                        <a:lnTo>
                                          <a:pt x="1785937" y="420688"/>
                                        </a:lnTo>
                                        <a:lnTo>
                                          <a:pt x="1778000" y="425979"/>
                                        </a:lnTo>
                                        <a:lnTo>
                                          <a:pt x="1767417" y="431271"/>
                                        </a:lnTo>
                                        <a:lnTo>
                                          <a:pt x="1762125" y="428625"/>
                                        </a:lnTo>
                                        <a:lnTo>
                                          <a:pt x="1759479" y="428625"/>
                                        </a:lnTo>
                                        <a:lnTo>
                                          <a:pt x="1743604" y="436563"/>
                                        </a:lnTo>
                                        <a:lnTo>
                                          <a:pt x="1730375" y="441854"/>
                                        </a:lnTo>
                                        <a:lnTo>
                                          <a:pt x="1727729" y="441854"/>
                                        </a:lnTo>
                                        <a:lnTo>
                                          <a:pt x="1727729" y="444500"/>
                                        </a:lnTo>
                                        <a:lnTo>
                                          <a:pt x="1727729" y="447146"/>
                                        </a:lnTo>
                                        <a:lnTo>
                                          <a:pt x="1725083" y="447146"/>
                                        </a:lnTo>
                                        <a:lnTo>
                                          <a:pt x="1722437" y="447146"/>
                                        </a:lnTo>
                                        <a:lnTo>
                                          <a:pt x="1717146" y="452438"/>
                                        </a:lnTo>
                                        <a:lnTo>
                                          <a:pt x="1714500" y="455083"/>
                                        </a:lnTo>
                                        <a:lnTo>
                                          <a:pt x="1711854" y="455083"/>
                                        </a:lnTo>
                                        <a:lnTo>
                                          <a:pt x="1706562" y="455083"/>
                                        </a:lnTo>
                                        <a:lnTo>
                                          <a:pt x="1685396" y="463021"/>
                                        </a:lnTo>
                                        <a:lnTo>
                                          <a:pt x="1666875" y="468313"/>
                                        </a:lnTo>
                                        <a:lnTo>
                                          <a:pt x="1658937" y="468313"/>
                                        </a:lnTo>
                                        <a:lnTo>
                                          <a:pt x="1651000" y="465667"/>
                                        </a:lnTo>
                                        <a:lnTo>
                                          <a:pt x="1632479" y="468313"/>
                                        </a:lnTo>
                                        <a:lnTo>
                                          <a:pt x="1621896" y="468313"/>
                                        </a:lnTo>
                                        <a:lnTo>
                                          <a:pt x="1616604" y="468313"/>
                                        </a:lnTo>
                                        <a:lnTo>
                                          <a:pt x="1606021" y="465667"/>
                                        </a:lnTo>
                                        <a:lnTo>
                                          <a:pt x="1571625" y="465667"/>
                                        </a:lnTo>
                                        <a:lnTo>
                                          <a:pt x="1521354" y="470959"/>
                                        </a:lnTo>
                                        <a:lnTo>
                                          <a:pt x="1513417" y="473604"/>
                                        </a:lnTo>
                                        <a:lnTo>
                                          <a:pt x="1510771" y="476250"/>
                                        </a:lnTo>
                                        <a:lnTo>
                                          <a:pt x="1510771" y="478896"/>
                                        </a:lnTo>
                                        <a:lnTo>
                                          <a:pt x="1508125" y="484188"/>
                                        </a:lnTo>
                                        <a:lnTo>
                                          <a:pt x="1502833" y="486834"/>
                                        </a:lnTo>
                                        <a:lnTo>
                                          <a:pt x="1481667" y="489479"/>
                                        </a:lnTo>
                                        <a:lnTo>
                                          <a:pt x="1473729" y="492125"/>
                                        </a:lnTo>
                                        <a:lnTo>
                                          <a:pt x="1468438" y="497417"/>
                                        </a:lnTo>
                                        <a:lnTo>
                                          <a:pt x="1465792" y="500063"/>
                                        </a:lnTo>
                                        <a:lnTo>
                                          <a:pt x="1460500" y="497417"/>
                                        </a:lnTo>
                                        <a:lnTo>
                                          <a:pt x="1457854" y="497417"/>
                                        </a:lnTo>
                                        <a:lnTo>
                                          <a:pt x="1455208" y="500063"/>
                                        </a:lnTo>
                                        <a:lnTo>
                                          <a:pt x="1452563" y="502709"/>
                                        </a:lnTo>
                                        <a:lnTo>
                                          <a:pt x="1447271" y="505354"/>
                                        </a:lnTo>
                                        <a:lnTo>
                                          <a:pt x="1439333" y="508000"/>
                                        </a:lnTo>
                                        <a:lnTo>
                                          <a:pt x="1431396" y="510646"/>
                                        </a:lnTo>
                                        <a:lnTo>
                                          <a:pt x="1415521" y="523875"/>
                                        </a:lnTo>
                                        <a:lnTo>
                                          <a:pt x="1399646" y="534459"/>
                                        </a:lnTo>
                                        <a:lnTo>
                                          <a:pt x="1386417" y="542396"/>
                                        </a:lnTo>
                                        <a:lnTo>
                                          <a:pt x="1378479" y="545042"/>
                                        </a:lnTo>
                                        <a:lnTo>
                                          <a:pt x="1375833" y="547688"/>
                                        </a:lnTo>
                                        <a:lnTo>
                                          <a:pt x="1370542" y="552979"/>
                                        </a:lnTo>
                                        <a:lnTo>
                                          <a:pt x="1359958" y="560917"/>
                                        </a:lnTo>
                                        <a:lnTo>
                                          <a:pt x="1373188" y="555625"/>
                                        </a:lnTo>
                                        <a:lnTo>
                                          <a:pt x="1391708" y="545042"/>
                                        </a:lnTo>
                                        <a:lnTo>
                                          <a:pt x="1412875" y="531813"/>
                                        </a:lnTo>
                                        <a:lnTo>
                                          <a:pt x="1447271" y="518584"/>
                                        </a:lnTo>
                                        <a:lnTo>
                                          <a:pt x="1481667" y="508000"/>
                                        </a:lnTo>
                                        <a:lnTo>
                                          <a:pt x="1510771" y="500063"/>
                                        </a:lnTo>
                                        <a:lnTo>
                                          <a:pt x="1529292" y="497417"/>
                                        </a:lnTo>
                                        <a:lnTo>
                                          <a:pt x="1539875" y="500063"/>
                                        </a:lnTo>
                                        <a:lnTo>
                                          <a:pt x="1547812" y="502709"/>
                                        </a:lnTo>
                                        <a:lnTo>
                                          <a:pt x="1550458" y="508000"/>
                                        </a:lnTo>
                                        <a:lnTo>
                                          <a:pt x="1547812" y="510646"/>
                                        </a:lnTo>
                                        <a:lnTo>
                                          <a:pt x="1547812" y="508000"/>
                                        </a:lnTo>
                                        <a:lnTo>
                                          <a:pt x="1545167" y="508000"/>
                                        </a:lnTo>
                                        <a:lnTo>
                                          <a:pt x="1545167" y="510646"/>
                                        </a:lnTo>
                                        <a:lnTo>
                                          <a:pt x="1545167" y="513292"/>
                                        </a:lnTo>
                                        <a:lnTo>
                                          <a:pt x="1547812" y="513292"/>
                                        </a:lnTo>
                                        <a:lnTo>
                                          <a:pt x="1547812" y="515938"/>
                                        </a:lnTo>
                                        <a:lnTo>
                                          <a:pt x="1542521" y="518584"/>
                                        </a:lnTo>
                                        <a:lnTo>
                                          <a:pt x="1539875" y="518584"/>
                                        </a:lnTo>
                                        <a:lnTo>
                                          <a:pt x="1531937" y="518584"/>
                                        </a:lnTo>
                                        <a:lnTo>
                                          <a:pt x="1524000" y="523875"/>
                                        </a:lnTo>
                                        <a:lnTo>
                                          <a:pt x="1516063" y="526521"/>
                                        </a:lnTo>
                                        <a:lnTo>
                                          <a:pt x="1510771" y="526521"/>
                                        </a:lnTo>
                                        <a:lnTo>
                                          <a:pt x="1505479" y="526521"/>
                                        </a:lnTo>
                                        <a:lnTo>
                                          <a:pt x="1497542" y="531813"/>
                                        </a:lnTo>
                                        <a:lnTo>
                                          <a:pt x="1505479" y="531813"/>
                                        </a:lnTo>
                                        <a:lnTo>
                                          <a:pt x="1508125" y="531813"/>
                                        </a:lnTo>
                                        <a:lnTo>
                                          <a:pt x="1516063" y="531813"/>
                                        </a:lnTo>
                                        <a:lnTo>
                                          <a:pt x="1518708" y="531813"/>
                                        </a:lnTo>
                                        <a:lnTo>
                                          <a:pt x="1521354" y="534459"/>
                                        </a:lnTo>
                                        <a:lnTo>
                                          <a:pt x="1521354" y="537104"/>
                                        </a:lnTo>
                                        <a:lnTo>
                                          <a:pt x="1521354" y="539750"/>
                                        </a:lnTo>
                                        <a:lnTo>
                                          <a:pt x="1516063" y="545042"/>
                                        </a:lnTo>
                                        <a:lnTo>
                                          <a:pt x="1508125" y="547688"/>
                                        </a:lnTo>
                                        <a:lnTo>
                                          <a:pt x="1513417" y="550334"/>
                                        </a:lnTo>
                                        <a:lnTo>
                                          <a:pt x="1516063" y="555625"/>
                                        </a:lnTo>
                                        <a:lnTo>
                                          <a:pt x="1521354" y="566209"/>
                                        </a:lnTo>
                                        <a:lnTo>
                                          <a:pt x="1524000" y="576792"/>
                                        </a:lnTo>
                                        <a:lnTo>
                                          <a:pt x="1531937" y="579438"/>
                                        </a:lnTo>
                                        <a:lnTo>
                                          <a:pt x="1537229" y="582084"/>
                                        </a:lnTo>
                                        <a:lnTo>
                                          <a:pt x="1539875" y="587375"/>
                                        </a:lnTo>
                                        <a:lnTo>
                                          <a:pt x="1550458" y="590021"/>
                                        </a:lnTo>
                                        <a:lnTo>
                                          <a:pt x="1558396" y="590021"/>
                                        </a:lnTo>
                                        <a:lnTo>
                                          <a:pt x="1561042" y="592667"/>
                                        </a:lnTo>
                                        <a:lnTo>
                                          <a:pt x="1561042" y="595313"/>
                                        </a:lnTo>
                                        <a:lnTo>
                                          <a:pt x="1568979" y="592667"/>
                                        </a:lnTo>
                                        <a:lnTo>
                                          <a:pt x="1576917" y="590021"/>
                                        </a:lnTo>
                                        <a:lnTo>
                                          <a:pt x="1576917" y="592667"/>
                                        </a:lnTo>
                                        <a:lnTo>
                                          <a:pt x="1576917" y="595313"/>
                                        </a:lnTo>
                                        <a:lnTo>
                                          <a:pt x="1582208" y="592667"/>
                                        </a:lnTo>
                                        <a:lnTo>
                                          <a:pt x="1587500" y="592667"/>
                                        </a:lnTo>
                                        <a:lnTo>
                                          <a:pt x="1592792" y="592667"/>
                                        </a:lnTo>
                                        <a:lnTo>
                                          <a:pt x="1592792" y="595313"/>
                                        </a:lnTo>
                                        <a:lnTo>
                                          <a:pt x="1590146" y="595313"/>
                                        </a:lnTo>
                                        <a:lnTo>
                                          <a:pt x="1595437" y="597959"/>
                                        </a:lnTo>
                                        <a:lnTo>
                                          <a:pt x="1592792" y="603250"/>
                                        </a:lnTo>
                                        <a:lnTo>
                                          <a:pt x="1584854" y="605896"/>
                                        </a:lnTo>
                                        <a:lnTo>
                                          <a:pt x="1576917" y="608542"/>
                                        </a:lnTo>
                                        <a:lnTo>
                                          <a:pt x="1568979" y="611188"/>
                                        </a:lnTo>
                                        <a:lnTo>
                                          <a:pt x="1561042" y="616479"/>
                                        </a:lnTo>
                                        <a:lnTo>
                                          <a:pt x="1553104" y="621771"/>
                                        </a:lnTo>
                                        <a:lnTo>
                                          <a:pt x="1545167" y="619125"/>
                                        </a:lnTo>
                                        <a:lnTo>
                                          <a:pt x="1539875" y="619125"/>
                                        </a:lnTo>
                                        <a:lnTo>
                                          <a:pt x="1537229" y="621771"/>
                                        </a:lnTo>
                                        <a:lnTo>
                                          <a:pt x="1537229" y="624417"/>
                                        </a:lnTo>
                                        <a:lnTo>
                                          <a:pt x="1526646" y="624417"/>
                                        </a:lnTo>
                                        <a:lnTo>
                                          <a:pt x="1518708" y="621771"/>
                                        </a:lnTo>
                                        <a:lnTo>
                                          <a:pt x="1516063" y="624417"/>
                                        </a:lnTo>
                                        <a:lnTo>
                                          <a:pt x="1513417" y="627063"/>
                                        </a:lnTo>
                                        <a:lnTo>
                                          <a:pt x="1505479" y="629709"/>
                                        </a:lnTo>
                                        <a:lnTo>
                                          <a:pt x="1500188" y="629709"/>
                                        </a:lnTo>
                                        <a:lnTo>
                                          <a:pt x="1500188" y="632354"/>
                                        </a:lnTo>
                                        <a:lnTo>
                                          <a:pt x="1502833" y="635000"/>
                                        </a:lnTo>
                                        <a:lnTo>
                                          <a:pt x="1497542" y="637646"/>
                                        </a:lnTo>
                                        <a:lnTo>
                                          <a:pt x="1489604" y="642938"/>
                                        </a:lnTo>
                                        <a:lnTo>
                                          <a:pt x="1481667" y="645584"/>
                                        </a:lnTo>
                                        <a:lnTo>
                                          <a:pt x="1476375" y="650875"/>
                                        </a:lnTo>
                                        <a:lnTo>
                                          <a:pt x="1471083" y="650875"/>
                                        </a:lnTo>
                                        <a:lnTo>
                                          <a:pt x="1468438" y="648229"/>
                                        </a:lnTo>
                                        <a:lnTo>
                                          <a:pt x="1468438" y="650875"/>
                                        </a:lnTo>
                                        <a:lnTo>
                                          <a:pt x="1468438" y="653521"/>
                                        </a:lnTo>
                                        <a:lnTo>
                                          <a:pt x="1465792" y="656167"/>
                                        </a:lnTo>
                                        <a:lnTo>
                                          <a:pt x="1460500" y="653521"/>
                                        </a:lnTo>
                                        <a:lnTo>
                                          <a:pt x="1460500" y="650875"/>
                                        </a:lnTo>
                                        <a:lnTo>
                                          <a:pt x="1460500" y="645584"/>
                                        </a:lnTo>
                                        <a:lnTo>
                                          <a:pt x="1457854" y="640292"/>
                                        </a:lnTo>
                                        <a:lnTo>
                                          <a:pt x="1460500" y="635000"/>
                                        </a:lnTo>
                                        <a:lnTo>
                                          <a:pt x="1479021" y="619125"/>
                                        </a:lnTo>
                                        <a:lnTo>
                                          <a:pt x="1492250" y="611188"/>
                                        </a:lnTo>
                                        <a:lnTo>
                                          <a:pt x="1502833" y="608542"/>
                                        </a:lnTo>
                                        <a:lnTo>
                                          <a:pt x="1513417" y="608542"/>
                                        </a:lnTo>
                                        <a:lnTo>
                                          <a:pt x="1518708" y="608542"/>
                                        </a:lnTo>
                                        <a:lnTo>
                                          <a:pt x="1539875" y="603250"/>
                                        </a:lnTo>
                                        <a:lnTo>
                                          <a:pt x="1526646" y="605896"/>
                                        </a:lnTo>
                                        <a:lnTo>
                                          <a:pt x="1513417" y="603250"/>
                                        </a:lnTo>
                                        <a:lnTo>
                                          <a:pt x="1508125" y="603250"/>
                                        </a:lnTo>
                                        <a:lnTo>
                                          <a:pt x="1500188" y="605896"/>
                                        </a:lnTo>
                                        <a:lnTo>
                                          <a:pt x="1494896" y="605896"/>
                                        </a:lnTo>
                                        <a:lnTo>
                                          <a:pt x="1489604" y="605896"/>
                                        </a:lnTo>
                                        <a:lnTo>
                                          <a:pt x="1492250" y="603250"/>
                                        </a:lnTo>
                                        <a:lnTo>
                                          <a:pt x="1500188" y="600604"/>
                                        </a:lnTo>
                                        <a:lnTo>
                                          <a:pt x="1505479" y="597959"/>
                                        </a:lnTo>
                                        <a:lnTo>
                                          <a:pt x="1505479" y="595313"/>
                                        </a:lnTo>
                                        <a:lnTo>
                                          <a:pt x="1505479" y="590021"/>
                                        </a:lnTo>
                                        <a:lnTo>
                                          <a:pt x="1500188" y="587375"/>
                                        </a:lnTo>
                                        <a:lnTo>
                                          <a:pt x="1502833" y="592667"/>
                                        </a:lnTo>
                                        <a:lnTo>
                                          <a:pt x="1500188" y="595313"/>
                                        </a:lnTo>
                                        <a:lnTo>
                                          <a:pt x="1484313" y="605896"/>
                                        </a:lnTo>
                                        <a:lnTo>
                                          <a:pt x="1471083" y="608542"/>
                                        </a:lnTo>
                                        <a:lnTo>
                                          <a:pt x="1463146" y="608542"/>
                                        </a:lnTo>
                                        <a:lnTo>
                                          <a:pt x="1457854" y="608542"/>
                                        </a:lnTo>
                                        <a:lnTo>
                                          <a:pt x="1452563" y="611188"/>
                                        </a:lnTo>
                                        <a:lnTo>
                                          <a:pt x="1449917" y="605896"/>
                                        </a:lnTo>
                                        <a:lnTo>
                                          <a:pt x="1444625" y="605896"/>
                                        </a:lnTo>
                                        <a:lnTo>
                                          <a:pt x="1444625" y="608542"/>
                                        </a:lnTo>
                                        <a:lnTo>
                                          <a:pt x="1439333" y="603250"/>
                                        </a:lnTo>
                                        <a:lnTo>
                                          <a:pt x="1436688" y="597959"/>
                                        </a:lnTo>
                                        <a:lnTo>
                                          <a:pt x="1434042" y="595313"/>
                                        </a:lnTo>
                                        <a:lnTo>
                                          <a:pt x="1431396" y="595313"/>
                                        </a:lnTo>
                                        <a:lnTo>
                                          <a:pt x="1431396" y="590021"/>
                                        </a:lnTo>
                                        <a:lnTo>
                                          <a:pt x="1441979" y="555625"/>
                                        </a:lnTo>
                                        <a:lnTo>
                                          <a:pt x="1444625" y="552979"/>
                                        </a:lnTo>
                                        <a:lnTo>
                                          <a:pt x="1441979" y="550334"/>
                                        </a:lnTo>
                                        <a:lnTo>
                                          <a:pt x="1439333" y="547688"/>
                                        </a:lnTo>
                                        <a:lnTo>
                                          <a:pt x="1436688" y="542396"/>
                                        </a:lnTo>
                                        <a:lnTo>
                                          <a:pt x="1434042" y="542396"/>
                                        </a:lnTo>
                                        <a:lnTo>
                                          <a:pt x="1418167" y="547688"/>
                                        </a:lnTo>
                                        <a:lnTo>
                                          <a:pt x="1412875" y="550334"/>
                                        </a:lnTo>
                                        <a:lnTo>
                                          <a:pt x="1410229" y="550334"/>
                                        </a:lnTo>
                                        <a:lnTo>
                                          <a:pt x="1404938" y="547688"/>
                                        </a:lnTo>
                                        <a:lnTo>
                                          <a:pt x="1402292" y="547688"/>
                                        </a:lnTo>
                                        <a:lnTo>
                                          <a:pt x="1391708" y="555625"/>
                                        </a:lnTo>
                                        <a:lnTo>
                                          <a:pt x="1386417" y="560917"/>
                                        </a:lnTo>
                                        <a:lnTo>
                                          <a:pt x="1383771" y="563563"/>
                                        </a:lnTo>
                                        <a:lnTo>
                                          <a:pt x="1378479" y="566209"/>
                                        </a:lnTo>
                                        <a:lnTo>
                                          <a:pt x="1375833" y="571500"/>
                                        </a:lnTo>
                                        <a:lnTo>
                                          <a:pt x="1367896" y="579438"/>
                                        </a:lnTo>
                                        <a:lnTo>
                                          <a:pt x="1365250" y="582084"/>
                                        </a:lnTo>
                                        <a:lnTo>
                                          <a:pt x="1365250" y="584729"/>
                                        </a:lnTo>
                                        <a:lnTo>
                                          <a:pt x="1362604" y="590021"/>
                                        </a:lnTo>
                                        <a:lnTo>
                                          <a:pt x="1357313" y="592667"/>
                                        </a:lnTo>
                                        <a:lnTo>
                                          <a:pt x="1352021" y="595313"/>
                                        </a:lnTo>
                                        <a:lnTo>
                                          <a:pt x="1346729" y="600604"/>
                                        </a:lnTo>
                                        <a:lnTo>
                                          <a:pt x="1341438" y="603250"/>
                                        </a:lnTo>
                                        <a:lnTo>
                                          <a:pt x="1338792" y="605896"/>
                                        </a:lnTo>
                                        <a:lnTo>
                                          <a:pt x="1336146" y="605896"/>
                                        </a:lnTo>
                                        <a:lnTo>
                                          <a:pt x="1328208" y="611188"/>
                                        </a:lnTo>
                                        <a:lnTo>
                                          <a:pt x="1243542" y="611188"/>
                                        </a:lnTo>
                                        <a:lnTo>
                                          <a:pt x="1238250" y="611188"/>
                                        </a:lnTo>
                                        <a:lnTo>
                                          <a:pt x="1230313" y="613834"/>
                                        </a:lnTo>
                                        <a:lnTo>
                                          <a:pt x="1222375" y="624417"/>
                                        </a:lnTo>
                                        <a:lnTo>
                                          <a:pt x="1214438" y="632354"/>
                                        </a:lnTo>
                                        <a:lnTo>
                                          <a:pt x="1206500" y="637646"/>
                                        </a:lnTo>
                                        <a:lnTo>
                                          <a:pt x="1201208" y="640292"/>
                                        </a:lnTo>
                                        <a:lnTo>
                                          <a:pt x="1190625" y="640292"/>
                                        </a:lnTo>
                                        <a:lnTo>
                                          <a:pt x="1185333" y="640292"/>
                                        </a:lnTo>
                                        <a:lnTo>
                                          <a:pt x="1187979" y="642938"/>
                                        </a:lnTo>
                                        <a:lnTo>
                                          <a:pt x="1190625" y="642938"/>
                                        </a:lnTo>
                                        <a:lnTo>
                                          <a:pt x="1190625" y="645584"/>
                                        </a:lnTo>
                                        <a:lnTo>
                                          <a:pt x="1187979" y="645584"/>
                                        </a:lnTo>
                                        <a:lnTo>
                                          <a:pt x="1185333" y="648229"/>
                                        </a:lnTo>
                                        <a:lnTo>
                                          <a:pt x="1180042" y="648229"/>
                                        </a:lnTo>
                                        <a:lnTo>
                                          <a:pt x="1172104" y="645584"/>
                                        </a:lnTo>
                                        <a:lnTo>
                                          <a:pt x="1156229" y="645584"/>
                                        </a:lnTo>
                                        <a:lnTo>
                                          <a:pt x="1137708" y="648229"/>
                                        </a:lnTo>
                                        <a:lnTo>
                                          <a:pt x="1121833" y="656167"/>
                                        </a:lnTo>
                                        <a:lnTo>
                                          <a:pt x="1111250" y="661459"/>
                                        </a:lnTo>
                                        <a:lnTo>
                                          <a:pt x="1108604" y="664104"/>
                                        </a:lnTo>
                                        <a:lnTo>
                                          <a:pt x="1111250" y="666750"/>
                                        </a:lnTo>
                                        <a:lnTo>
                                          <a:pt x="1121833" y="669396"/>
                                        </a:lnTo>
                                        <a:lnTo>
                                          <a:pt x="1121833" y="672042"/>
                                        </a:lnTo>
                                        <a:lnTo>
                                          <a:pt x="1121833" y="674688"/>
                                        </a:lnTo>
                                        <a:lnTo>
                                          <a:pt x="1113896" y="674688"/>
                                        </a:lnTo>
                                        <a:lnTo>
                                          <a:pt x="1103313" y="674688"/>
                                        </a:lnTo>
                                        <a:lnTo>
                                          <a:pt x="1098021" y="677334"/>
                                        </a:lnTo>
                                        <a:lnTo>
                                          <a:pt x="1095375" y="679979"/>
                                        </a:lnTo>
                                        <a:lnTo>
                                          <a:pt x="1100667" y="679979"/>
                                        </a:lnTo>
                                        <a:lnTo>
                                          <a:pt x="1098021" y="682625"/>
                                        </a:lnTo>
                                        <a:lnTo>
                                          <a:pt x="1087438" y="679979"/>
                                        </a:lnTo>
                                        <a:lnTo>
                                          <a:pt x="1079500" y="679979"/>
                                        </a:lnTo>
                                        <a:lnTo>
                                          <a:pt x="1074208" y="682625"/>
                                        </a:lnTo>
                                        <a:lnTo>
                                          <a:pt x="1071563" y="685271"/>
                                        </a:lnTo>
                                        <a:lnTo>
                                          <a:pt x="1068917" y="687917"/>
                                        </a:lnTo>
                                        <a:lnTo>
                                          <a:pt x="1063625" y="687917"/>
                                        </a:lnTo>
                                        <a:lnTo>
                                          <a:pt x="1060979" y="687917"/>
                                        </a:lnTo>
                                        <a:lnTo>
                                          <a:pt x="1055688" y="690563"/>
                                        </a:lnTo>
                                        <a:lnTo>
                                          <a:pt x="1045104" y="690563"/>
                                        </a:lnTo>
                                        <a:lnTo>
                                          <a:pt x="1039812" y="695854"/>
                                        </a:lnTo>
                                        <a:lnTo>
                                          <a:pt x="1034521" y="701146"/>
                                        </a:lnTo>
                                        <a:lnTo>
                                          <a:pt x="1031875" y="701146"/>
                                        </a:lnTo>
                                        <a:lnTo>
                                          <a:pt x="1031875" y="698500"/>
                                        </a:lnTo>
                                        <a:lnTo>
                                          <a:pt x="1026583" y="698500"/>
                                        </a:lnTo>
                                        <a:lnTo>
                                          <a:pt x="1023937" y="698500"/>
                                        </a:lnTo>
                                        <a:lnTo>
                                          <a:pt x="1021292" y="698500"/>
                                        </a:lnTo>
                                        <a:lnTo>
                                          <a:pt x="1016000" y="695854"/>
                                        </a:lnTo>
                                        <a:lnTo>
                                          <a:pt x="1021292" y="690563"/>
                                        </a:lnTo>
                                        <a:lnTo>
                                          <a:pt x="1026583" y="685271"/>
                                        </a:lnTo>
                                        <a:lnTo>
                                          <a:pt x="1034521" y="685271"/>
                                        </a:lnTo>
                                        <a:lnTo>
                                          <a:pt x="1037167" y="682625"/>
                                        </a:lnTo>
                                        <a:lnTo>
                                          <a:pt x="1034521" y="679979"/>
                                        </a:lnTo>
                                        <a:lnTo>
                                          <a:pt x="1034521" y="674688"/>
                                        </a:lnTo>
                                        <a:lnTo>
                                          <a:pt x="1037167" y="669396"/>
                                        </a:lnTo>
                                        <a:lnTo>
                                          <a:pt x="1042458" y="664104"/>
                                        </a:lnTo>
                                        <a:lnTo>
                                          <a:pt x="1053042" y="661459"/>
                                        </a:lnTo>
                                        <a:lnTo>
                                          <a:pt x="1063625" y="653521"/>
                                        </a:lnTo>
                                        <a:lnTo>
                                          <a:pt x="1063625" y="648229"/>
                                        </a:lnTo>
                                        <a:lnTo>
                                          <a:pt x="1063625" y="642938"/>
                                        </a:lnTo>
                                        <a:lnTo>
                                          <a:pt x="1066271" y="640292"/>
                                        </a:lnTo>
                                        <a:lnTo>
                                          <a:pt x="1071563" y="635000"/>
                                        </a:lnTo>
                                        <a:lnTo>
                                          <a:pt x="1084792" y="627063"/>
                                        </a:lnTo>
                                        <a:lnTo>
                                          <a:pt x="1084792" y="621771"/>
                                        </a:lnTo>
                                        <a:lnTo>
                                          <a:pt x="1084792" y="616479"/>
                                        </a:lnTo>
                                        <a:lnTo>
                                          <a:pt x="1084792" y="611188"/>
                                        </a:lnTo>
                                        <a:lnTo>
                                          <a:pt x="1082146" y="608542"/>
                                        </a:lnTo>
                                        <a:lnTo>
                                          <a:pt x="1079500" y="608542"/>
                                        </a:lnTo>
                                        <a:lnTo>
                                          <a:pt x="1082146" y="605896"/>
                                        </a:lnTo>
                                        <a:lnTo>
                                          <a:pt x="1084792" y="605896"/>
                                        </a:lnTo>
                                        <a:lnTo>
                                          <a:pt x="1087438" y="608542"/>
                                        </a:lnTo>
                                        <a:lnTo>
                                          <a:pt x="1090083" y="611188"/>
                                        </a:lnTo>
                                        <a:lnTo>
                                          <a:pt x="1092729" y="621771"/>
                                        </a:lnTo>
                                        <a:lnTo>
                                          <a:pt x="1095375" y="621771"/>
                                        </a:lnTo>
                                        <a:lnTo>
                                          <a:pt x="1098021" y="621771"/>
                                        </a:lnTo>
                                        <a:lnTo>
                                          <a:pt x="1100667" y="621771"/>
                                        </a:lnTo>
                                        <a:lnTo>
                                          <a:pt x="1105958" y="624417"/>
                                        </a:lnTo>
                                        <a:lnTo>
                                          <a:pt x="1108604" y="624417"/>
                                        </a:lnTo>
                                        <a:lnTo>
                                          <a:pt x="1111250" y="619125"/>
                                        </a:lnTo>
                                        <a:lnTo>
                                          <a:pt x="1111250" y="616479"/>
                                        </a:lnTo>
                                        <a:lnTo>
                                          <a:pt x="1116542" y="616479"/>
                                        </a:lnTo>
                                        <a:lnTo>
                                          <a:pt x="1119188" y="619125"/>
                                        </a:lnTo>
                                        <a:lnTo>
                                          <a:pt x="1121833" y="619125"/>
                                        </a:lnTo>
                                        <a:lnTo>
                                          <a:pt x="1121833" y="616479"/>
                                        </a:lnTo>
                                        <a:lnTo>
                                          <a:pt x="1119188" y="613834"/>
                                        </a:lnTo>
                                        <a:lnTo>
                                          <a:pt x="1119188" y="611188"/>
                                        </a:lnTo>
                                        <a:lnTo>
                                          <a:pt x="1119188" y="603250"/>
                                        </a:lnTo>
                                        <a:lnTo>
                                          <a:pt x="1119188" y="600604"/>
                                        </a:lnTo>
                                        <a:lnTo>
                                          <a:pt x="1116542" y="597959"/>
                                        </a:lnTo>
                                        <a:lnTo>
                                          <a:pt x="1113896" y="597959"/>
                                        </a:lnTo>
                                        <a:lnTo>
                                          <a:pt x="1108604" y="592667"/>
                                        </a:lnTo>
                                        <a:lnTo>
                                          <a:pt x="1103313" y="584729"/>
                                        </a:lnTo>
                                        <a:lnTo>
                                          <a:pt x="1098021" y="584729"/>
                                        </a:lnTo>
                                        <a:lnTo>
                                          <a:pt x="1090083" y="584729"/>
                                        </a:lnTo>
                                        <a:lnTo>
                                          <a:pt x="1082146" y="582084"/>
                                        </a:lnTo>
                                        <a:lnTo>
                                          <a:pt x="1071563" y="579438"/>
                                        </a:lnTo>
                                        <a:lnTo>
                                          <a:pt x="1068917" y="579438"/>
                                        </a:lnTo>
                                        <a:lnTo>
                                          <a:pt x="1060979" y="579438"/>
                                        </a:lnTo>
                                        <a:lnTo>
                                          <a:pt x="1053042" y="579438"/>
                                        </a:lnTo>
                                        <a:lnTo>
                                          <a:pt x="1042458" y="576792"/>
                                        </a:lnTo>
                                        <a:lnTo>
                                          <a:pt x="1037167" y="574146"/>
                                        </a:lnTo>
                                        <a:lnTo>
                                          <a:pt x="1037167" y="571500"/>
                                        </a:lnTo>
                                        <a:lnTo>
                                          <a:pt x="1039812" y="568854"/>
                                        </a:lnTo>
                                        <a:lnTo>
                                          <a:pt x="1034521" y="566209"/>
                                        </a:lnTo>
                                        <a:lnTo>
                                          <a:pt x="1034521" y="560917"/>
                                        </a:lnTo>
                                        <a:lnTo>
                                          <a:pt x="1037167" y="558271"/>
                                        </a:lnTo>
                                        <a:lnTo>
                                          <a:pt x="1034521" y="552979"/>
                                        </a:lnTo>
                                        <a:lnTo>
                                          <a:pt x="1031875" y="550334"/>
                                        </a:lnTo>
                                        <a:lnTo>
                                          <a:pt x="1031875" y="547688"/>
                                        </a:lnTo>
                                        <a:lnTo>
                                          <a:pt x="1037167" y="539750"/>
                                        </a:lnTo>
                                        <a:lnTo>
                                          <a:pt x="1034521" y="539750"/>
                                        </a:lnTo>
                                        <a:lnTo>
                                          <a:pt x="1026583" y="539750"/>
                                        </a:lnTo>
                                        <a:lnTo>
                                          <a:pt x="1021292" y="539750"/>
                                        </a:lnTo>
                                        <a:lnTo>
                                          <a:pt x="1018646" y="537104"/>
                                        </a:lnTo>
                                        <a:lnTo>
                                          <a:pt x="1016000" y="531813"/>
                                        </a:lnTo>
                                        <a:lnTo>
                                          <a:pt x="1013354" y="526521"/>
                                        </a:lnTo>
                                        <a:lnTo>
                                          <a:pt x="1008062" y="518584"/>
                                        </a:lnTo>
                                        <a:lnTo>
                                          <a:pt x="1005417" y="513292"/>
                                        </a:lnTo>
                                        <a:lnTo>
                                          <a:pt x="1000125" y="513292"/>
                                        </a:lnTo>
                                        <a:lnTo>
                                          <a:pt x="992187" y="513292"/>
                                        </a:lnTo>
                                        <a:lnTo>
                                          <a:pt x="986896" y="510646"/>
                                        </a:lnTo>
                                        <a:lnTo>
                                          <a:pt x="984250" y="510646"/>
                                        </a:lnTo>
                                        <a:lnTo>
                                          <a:pt x="978958" y="508000"/>
                                        </a:lnTo>
                                        <a:lnTo>
                                          <a:pt x="981604" y="513292"/>
                                        </a:lnTo>
                                        <a:lnTo>
                                          <a:pt x="978958" y="515938"/>
                                        </a:lnTo>
                                        <a:lnTo>
                                          <a:pt x="973667" y="518584"/>
                                        </a:lnTo>
                                        <a:lnTo>
                                          <a:pt x="973667" y="513292"/>
                                        </a:lnTo>
                                        <a:lnTo>
                                          <a:pt x="973667" y="510646"/>
                                        </a:lnTo>
                                        <a:lnTo>
                                          <a:pt x="971021" y="513292"/>
                                        </a:lnTo>
                                        <a:lnTo>
                                          <a:pt x="968375" y="515938"/>
                                        </a:lnTo>
                                        <a:lnTo>
                                          <a:pt x="965729" y="518584"/>
                                        </a:lnTo>
                                        <a:lnTo>
                                          <a:pt x="960437" y="521229"/>
                                        </a:lnTo>
                                        <a:lnTo>
                                          <a:pt x="957792" y="523875"/>
                                        </a:lnTo>
                                        <a:lnTo>
                                          <a:pt x="957792" y="521229"/>
                                        </a:lnTo>
                                        <a:lnTo>
                                          <a:pt x="955146" y="518584"/>
                                        </a:lnTo>
                                        <a:lnTo>
                                          <a:pt x="955146" y="515938"/>
                                        </a:lnTo>
                                        <a:lnTo>
                                          <a:pt x="949854" y="521229"/>
                                        </a:lnTo>
                                        <a:lnTo>
                                          <a:pt x="939271" y="529167"/>
                                        </a:lnTo>
                                        <a:lnTo>
                                          <a:pt x="931333" y="531813"/>
                                        </a:lnTo>
                                        <a:lnTo>
                                          <a:pt x="918104" y="534459"/>
                                        </a:lnTo>
                                        <a:lnTo>
                                          <a:pt x="910167" y="531813"/>
                                        </a:lnTo>
                                        <a:lnTo>
                                          <a:pt x="904875" y="529167"/>
                                        </a:lnTo>
                                        <a:lnTo>
                                          <a:pt x="891646" y="526521"/>
                                        </a:lnTo>
                                        <a:lnTo>
                                          <a:pt x="881062" y="529167"/>
                                        </a:lnTo>
                                        <a:lnTo>
                                          <a:pt x="875771" y="529167"/>
                                        </a:lnTo>
                                        <a:lnTo>
                                          <a:pt x="870479" y="526521"/>
                                        </a:lnTo>
                                        <a:lnTo>
                                          <a:pt x="865187" y="523875"/>
                                        </a:lnTo>
                                        <a:lnTo>
                                          <a:pt x="862542" y="523875"/>
                                        </a:lnTo>
                                        <a:lnTo>
                                          <a:pt x="857250" y="523875"/>
                                        </a:lnTo>
                                        <a:lnTo>
                                          <a:pt x="849312" y="521229"/>
                                        </a:lnTo>
                                        <a:lnTo>
                                          <a:pt x="836083" y="515938"/>
                                        </a:lnTo>
                                        <a:lnTo>
                                          <a:pt x="825500" y="513292"/>
                                        </a:lnTo>
                                        <a:lnTo>
                                          <a:pt x="817562" y="510646"/>
                                        </a:lnTo>
                                        <a:lnTo>
                                          <a:pt x="814917" y="510646"/>
                                        </a:lnTo>
                                        <a:lnTo>
                                          <a:pt x="814917" y="505354"/>
                                        </a:lnTo>
                                        <a:lnTo>
                                          <a:pt x="817562" y="502709"/>
                                        </a:lnTo>
                                        <a:lnTo>
                                          <a:pt x="820208" y="494771"/>
                                        </a:lnTo>
                                        <a:lnTo>
                                          <a:pt x="817562" y="492125"/>
                                        </a:lnTo>
                                        <a:lnTo>
                                          <a:pt x="812271" y="494771"/>
                                        </a:lnTo>
                                        <a:lnTo>
                                          <a:pt x="809625" y="494771"/>
                                        </a:lnTo>
                                        <a:lnTo>
                                          <a:pt x="804333" y="500063"/>
                                        </a:lnTo>
                                        <a:lnTo>
                                          <a:pt x="799042" y="508000"/>
                                        </a:lnTo>
                                        <a:lnTo>
                                          <a:pt x="791104" y="510646"/>
                                        </a:lnTo>
                                        <a:lnTo>
                                          <a:pt x="148167" y="510646"/>
                                        </a:lnTo>
                                        <a:lnTo>
                                          <a:pt x="132292" y="494771"/>
                                        </a:lnTo>
                                        <a:lnTo>
                                          <a:pt x="119063" y="481542"/>
                                        </a:lnTo>
                                        <a:lnTo>
                                          <a:pt x="111125" y="476250"/>
                                        </a:lnTo>
                                        <a:lnTo>
                                          <a:pt x="108479" y="470959"/>
                                        </a:lnTo>
                                        <a:lnTo>
                                          <a:pt x="103188" y="465667"/>
                                        </a:lnTo>
                                        <a:lnTo>
                                          <a:pt x="95250" y="463021"/>
                                        </a:lnTo>
                                        <a:lnTo>
                                          <a:pt x="87313" y="463021"/>
                                        </a:lnTo>
                                        <a:lnTo>
                                          <a:pt x="84667" y="460375"/>
                                        </a:lnTo>
                                        <a:lnTo>
                                          <a:pt x="79375" y="457729"/>
                                        </a:lnTo>
                                        <a:lnTo>
                                          <a:pt x="76729" y="452438"/>
                                        </a:lnTo>
                                        <a:lnTo>
                                          <a:pt x="82021" y="447146"/>
                                        </a:lnTo>
                                        <a:lnTo>
                                          <a:pt x="84667" y="439208"/>
                                        </a:lnTo>
                                        <a:lnTo>
                                          <a:pt x="87313" y="428625"/>
                                        </a:lnTo>
                                        <a:lnTo>
                                          <a:pt x="84667" y="415396"/>
                                        </a:lnTo>
                                        <a:lnTo>
                                          <a:pt x="87313" y="404813"/>
                                        </a:lnTo>
                                        <a:lnTo>
                                          <a:pt x="87313" y="402167"/>
                                        </a:lnTo>
                                        <a:lnTo>
                                          <a:pt x="87313" y="399521"/>
                                        </a:lnTo>
                                        <a:lnTo>
                                          <a:pt x="84667" y="396875"/>
                                        </a:lnTo>
                                        <a:lnTo>
                                          <a:pt x="82021" y="394229"/>
                                        </a:lnTo>
                                        <a:lnTo>
                                          <a:pt x="82021" y="391583"/>
                                        </a:lnTo>
                                        <a:lnTo>
                                          <a:pt x="89958" y="375708"/>
                                        </a:lnTo>
                                        <a:lnTo>
                                          <a:pt x="92604" y="373063"/>
                                        </a:lnTo>
                                        <a:lnTo>
                                          <a:pt x="89958" y="373063"/>
                                        </a:lnTo>
                                        <a:lnTo>
                                          <a:pt x="87313" y="373063"/>
                                        </a:lnTo>
                                        <a:lnTo>
                                          <a:pt x="95250" y="359833"/>
                                        </a:lnTo>
                                        <a:lnTo>
                                          <a:pt x="103188" y="357188"/>
                                        </a:lnTo>
                                        <a:lnTo>
                                          <a:pt x="105833" y="351896"/>
                                        </a:lnTo>
                                        <a:lnTo>
                                          <a:pt x="108479" y="349250"/>
                                        </a:lnTo>
                                        <a:lnTo>
                                          <a:pt x="113771" y="343958"/>
                                        </a:lnTo>
                                        <a:lnTo>
                                          <a:pt x="116417" y="341313"/>
                                        </a:lnTo>
                                        <a:lnTo>
                                          <a:pt x="116417" y="338667"/>
                                        </a:lnTo>
                                        <a:lnTo>
                                          <a:pt x="111125" y="333375"/>
                                        </a:lnTo>
                                        <a:lnTo>
                                          <a:pt x="105833" y="328083"/>
                                        </a:lnTo>
                                        <a:lnTo>
                                          <a:pt x="105833" y="325438"/>
                                        </a:lnTo>
                                        <a:lnTo>
                                          <a:pt x="105833" y="322792"/>
                                        </a:lnTo>
                                        <a:lnTo>
                                          <a:pt x="108479" y="320146"/>
                                        </a:lnTo>
                                        <a:lnTo>
                                          <a:pt x="108479" y="317500"/>
                                        </a:lnTo>
                                        <a:lnTo>
                                          <a:pt x="105833" y="317500"/>
                                        </a:lnTo>
                                        <a:lnTo>
                                          <a:pt x="105833" y="312208"/>
                                        </a:lnTo>
                                        <a:lnTo>
                                          <a:pt x="108479" y="304271"/>
                                        </a:lnTo>
                                        <a:lnTo>
                                          <a:pt x="108479" y="296333"/>
                                        </a:lnTo>
                                        <a:lnTo>
                                          <a:pt x="108479" y="277812"/>
                                        </a:lnTo>
                                        <a:lnTo>
                                          <a:pt x="105833" y="261937"/>
                                        </a:lnTo>
                                        <a:lnTo>
                                          <a:pt x="105833" y="256646"/>
                                        </a:lnTo>
                                        <a:lnTo>
                                          <a:pt x="105833" y="254000"/>
                                        </a:lnTo>
                                        <a:lnTo>
                                          <a:pt x="111125" y="248708"/>
                                        </a:lnTo>
                                        <a:lnTo>
                                          <a:pt x="95250" y="248708"/>
                                        </a:lnTo>
                                        <a:lnTo>
                                          <a:pt x="87313" y="251354"/>
                                        </a:lnTo>
                                        <a:lnTo>
                                          <a:pt x="84667" y="254000"/>
                                        </a:lnTo>
                                        <a:lnTo>
                                          <a:pt x="84667" y="256646"/>
                                        </a:lnTo>
                                        <a:lnTo>
                                          <a:pt x="76729" y="256646"/>
                                        </a:lnTo>
                                        <a:lnTo>
                                          <a:pt x="68792" y="256646"/>
                                        </a:lnTo>
                                        <a:lnTo>
                                          <a:pt x="63500" y="259292"/>
                                        </a:lnTo>
                                        <a:lnTo>
                                          <a:pt x="58208" y="261937"/>
                                        </a:lnTo>
                                        <a:lnTo>
                                          <a:pt x="47625" y="261937"/>
                                        </a:lnTo>
                                        <a:lnTo>
                                          <a:pt x="42333" y="259292"/>
                                        </a:lnTo>
                                        <a:lnTo>
                                          <a:pt x="37042" y="254000"/>
                                        </a:lnTo>
                                        <a:lnTo>
                                          <a:pt x="34396" y="243417"/>
                                        </a:lnTo>
                                        <a:lnTo>
                                          <a:pt x="31750" y="243417"/>
                                        </a:lnTo>
                                        <a:lnTo>
                                          <a:pt x="26458" y="243417"/>
                                        </a:lnTo>
                                        <a:lnTo>
                                          <a:pt x="23812" y="243417"/>
                                        </a:lnTo>
                                        <a:lnTo>
                                          <a:pt x="15875" y="240771"/>
                                        </a:lnTo>
                                        <a:lnTo>
                                          <a:pt x="7937" y="240771"/>
                                        </a:lnTo>
                                        <a:lnTo>
                                          <a:pt x="0" y="240771"/>
                                        </a:lnTo>
                                        <a:lnTo>
                                          <a:pt x="42333" y="209021"/>
                                        </a:lnTo>
                                        <a:lnTo>
                                          <a:pt x="84667" y="179917"/>
                                        </a:lnTo>
                                        <a:lnTo>
                                          <a:pt x="164042" y="127000"/>
                                        </a:lnTo>
                                        <a:lnTo>
                                          <a:pt x="232833" y="84667"/>
                                        </a:lnTo>
                                        <a:lnTo>
                                          <a:pt x="293688" y="50271"/>
                                        </a:lnTo>
                                        <a:lnTo>
                                          <a:pt x="309563" y="50271"/>
                                        </a:lnTo>
                                        <a:lnTo>
                                          <a:pt x="325438" y="52917"/>
                                        </a:lnTo>
                                        <a:lnTo>
                                          <a:pt x="357188" y="66146"/>
                                        </a:lnTo>
                                        <a:lnTo>
                                          <a:pt x="365125" y="68792"/>
                                        </a:lnTo>
                                        <a:lnTo>
                                          <a:pt x="365125" y="63500"/>
                                        </a:lnTo>
                                        <a:lnTo>
                                          <a:pt x="365125" y="58208"/>
                                        </a:lnTo>
                                        <a:lnTo>
                                          <a:pt x="367771" y="55562"/>
                                        </a:lnTo>
                                        <a:lnTo>
                                          <a:pt x="373063" y="52917"/>
                                        </a:lnTo>
                                        <a:lnTo>
                                          <a:pt x="386292" y="52917"/>
                                        </a:lnTo>
                                        <a:lnTo>
                                          <a:pt x="399521" y="52917"/>
                                        </a:lnTo>
                                        <a:lnTo>
                                          <a:pt x="407458" y="52917"/>
                                        </a:lnTo>
                                        <a:lnTo>
                                          <a:pt x="410104" y="52917"/>
                                        </a:lnTo>
                                        <a:lnTo>
                                          <a:pt x="404813" y="58208"/>
                                        </a:lnTo>
                                        <a:lnTo>
                                          <a:pt x="402167" y="63500"/>
                                        </a:lnTo>
                                        <a:lnTo>
                                          <a:pt x="404813" y="63500"/>
                                        </a:lnTo>
                                        <a:lnTo>
                                          <a:pt x="423333" y="52917"/>
                                        </a:lnTo>
                                        <a:lnTo>
                                          <a:pt x="433917" y="50271"/>
                                        </a:lnTo>
                                        <a:lnTo>
                                          <a:pt x="444500" y="50271"/>
                                        </a:lnTo>
                                        <a:lnTo>
                                          <a:pt x="455083" y="50271"/>
                                        </a:lnTo>
                                        <a:lnTo>
                                          <a:pt x="468313" y="47625"/>
                                        </a:lnTo>
                                        <a:lnTo>
                                          <a:pt x="497417" y="39687"/>
                                        </a:lnTo>
                                        <a:lnTo>
                                          <a:pt x="515938" y="34396"/>
                                        </a:lnTo>
                                        <a:lnTo>
                                          <a:pt x="523875" y="34396"/>
                                        </a:lnTo>
                                        <a:lnTo>
                                          <a:pt x="529167" y="37042"/>
                                        </a:lnTo>
                                        <a:lnTo>
                                          <a:pt x="531813" y="39687"/>
                                        </a:lnTo>
                                        <a:lnTo>
                                          <a:pt x="523875" y="42333"/>
                                        </a:lnTo>
                                        <a:lnTo>
                                          <a:pt x="497417" y="47625"/>
                                        </a:lnTo>
                                        <a:lnTo>
                                          <a:pt x="484188" y="50271"/>
                                        </a:lnTo>
                                        <a:lnTo>
                                          <a:pt x="473604" y="58208"/>
                                        </a:lnTo>
                                        <a:lnTo>
                                          <a:pt x="484188" y="52917"/>
                                        </a:lnTo>
                                        <a:lnTo>
                                          <a:pt x="497417" y="52917"/>
                                        </a:lnTo>
                                        <a:lnTo>
                                          <a:pt x="515938" y="50271"/>
                                        </a:lnTo>
                                        <a:lnTo>
                                          <a:pt x="526521" y="47625"/>
                                        </a:lnTo>
                                        <a:lnTo>
                                          <a:pt x="534458" y="44979"/>
                                        </a:lnTo>
                                        <a:lnTo>
                                          <a:pt x="537104" y="47625"/>
                                        </a:lnTo>
                                        <a:lnTo>
                                          <a:pt x="537104" y="50271"/>
                                        </a:lnTo>
                                        <a:lnTo>
                                          <a:pt x="539750" y="52917"/>
                                        </a:lnTo>
                                        <a:lnTo>
                                          <a:pt x="547688" y="50271"/>
                                        </a:lnTo>
                                        <a:lnTo>
                                          <a:pt x="563563" y="39687"/>
                                        </a:lnTo>
                                        <a:lnTo>
                                          <a:pt x="563563" y="34396"/>
                                        </a:lnTo>
                                        <a:lnTo>
                                          <a:pt x="563563" y="31750"/>
                                        </a:lnTo>
                                        <a:lnTo>
                                          <a:pt x="566208" y="29104"/>
                                        </a:lnTo>
                                        <a:lnTo>
                                          <a:pt x="568854" y="29104"/>
                                        </a:lnTo>
                                        <a:lnTo>
                                          <a:pt x="582083" y="34396"/>
                                        </a:lnTo>
                                        <a:lnTo>
                                          <a:pt x="587375" y="37042"/>
                                        </a:lnTo>
                                        <a:lnTo>
                                          <a:pt x="590021" y="39687"/>
                                        </a:lnTo>
                                        <a:lnTo>
                                          <a:pt x="590021" y="47625"/>
                                        </a:lnTo>
                                        <a:lnTo>
                                          <a:pt x="590021" y="52917"/>
                                        </a:lnTo>
                                        <a:lnTo>
                                          <a:pt x="600604" y="52917"/>
                                        </a:lnTo>
                                        <a:lnTo>
                                          <a:pt x="605896" y="50271"/>
                                        </a:lnTo>
                                        <a:lnTo>
                                          <a:pt x="605896" y="47625"/>
                                        </a:lnTo>
                                        <a:lnTo>
                                          <a:pt x="605896" y="44979"/>
                                        </a:lnTo>
                                        <a:lnTo>
                                          <a:pt x="611188" y="39687"/>
                                        </a:lnTo>
                                        <a:lnTo>
                                          <a:pt x="616479" y="37042"/>
                                        </a:lnTo>
                                        <a:lnTo>
                                          <a:pt x="616479" y="34396"/>
                                        </a:lnTo>
                                        <a:lnTo>
                                          <a:pt x="619125" y="31750"/>
                                        </a:lnTo>
                                        <a:lnTo>
                                          <a:pt x="627063" y="29104"/>
                                        </a:lnTo>
                                        <a:lnTo>
                                          <a:pt x="642938" y="26458"/>
                                        </a:lnTo>
                                        <a:lnTo>
                                          <a:pt x="645583" y="29104"/>
                                        </a:lnTo>
                                        <a:lnTo>
                                          <a:pt x="640292" y="34396"/>
                                        </a:lnTo>
                                        <a:lnTo>
                                          <a:pt x="632354" y="37042"/>
                                        </a:lnTo>
                                        <a:lnTo>
                                          <a:pt x="635000" y="39687"/>
                                        </a:lnTo>
                                        <a:lnTo>
                                          <a:pt x="635000" y="42333"/>
                                        </a:lnTo>
                                        <a:lnTo>
                                          <a:pt x="627063" y="50271"/>
                                        </a:lnTo>
                                        <a:lnTo>
                                          <a:pt x="645583" y="47625"/>
                                        </a:lnTo>
                                        <a:lnTo>
                                          <a:pt x="653521" y="44979"/>
                                        </a:lnTo>
                                        <a:lnTo>
                                          <a:pt x="658813" y="42333"/>
                                        </a:lnTo>
                                        <a:lnTo>
                                          <a:pt x="669396" y="39687"/>
                                        </a:lnTo>
                                        <a:lnTo>
                                          <a:pt x="682625" y="39687"/>
                                        </a:lnTo>
                                        <a:lnTo>
                                          <a:pt x="693208" y="42333"/>
                                        </a:lnTo>
                                        <a:lnTo>
                                          <a:pt x="703792" y="47625"/>
                                        </a:lnTo>
                                        <a:lnTo>
                                          <a:pt x="722313" y="50271"/>
                                        </a:lnTo>
                                        <a:lnTo>
                                          <a:pt x="759354" y="55562"/>
                                        </a:lnTo>
                                        <a:lnTo>
                                          <a:pt x="769937" y="55562"/>
                                        </a:lnTo>
                                        <a:lnTo>
                                          <a:pt x="772583" y="52917"/>
                                        </a:lnTo>
                                        <a:lnTo>
                                          <a:pt x="769937" y="52917"/>
                                        </a:lnTo>
                                        <a:lnTo>
                                          <a:pt x="767292" y="50271"/>
                                        </a:lnTo>
                                        <a:lnTo>
                                          <a:pt x="769937" y="50271"/>
                                        </a:lnTo>
                                        <a:lnTo>
                                          <a:pt x="785812" y="52917"/>
                                        </a:lnTo>
                                        <a:lnTo>
                                          <a:pt x="791104" y="55562"/>
                                        </a:lnTo>
                                        <a:lnTo>
                                          <a:pt x="793750" y="58208"/>
                                        </a:lnTo>
                                        <a:lnTo>
                                          <a:pt x="796396" y="63500"/>
                                        </a:lnTo>
                                        <a:lnTo>
                                          <a:pt x="796396" y="66146"/>
                                        </a:lnTo>
                                        <a:lnTo>
                                          <a:pt x="788458" y="66146"/>
                                        </a:lnTo>
                                        <a:lnTo>
                                          <a:pt x="783167" y="63500"/>
                                        </a:lnTo>
                                        <a:lnTo>
                                          <a:pt x="772583" y="66146"/>
                                        </a:lnTo>
                                        <a:lnTo>
                                          <a:pt x="769937" y="66146"/>
                                        </a:lnTo>
                                        <a:lnTo>
                                          <a:pt x="764646" y="71437"/>
                                        </a:lnTo>
                                        <a:lnTo>
                                          <a:pt x="777875" y="71437"/>
                                        </a:lnTo>
                                        <a:lnTo>
                                          <a:pt x="780521" y="74083"/>
                                        </a:lnTo>
                                        <a:lnTo>
                                          <a:pt x="783167" y="76729"/>
                                        </a:lnTo>
                                        <a:lnTo>
                                          <a:pt x="793750" y="76729"/>
                                        </a:lnTo>
                                        <a:lnTo>
                                          <a:pt x="801687" y="76729"/>
                                        </a:lnTo>
                                        <a:lnTo>
                                          <a:pt x="809625" y="79375"/>
                                        </a:lnTo>
                                        <a:lnTo>
                                          <a:pt x="814917" y="82021"/>
                                        </a:lnTo>
                                        <a:lnTo>
                                          <a:pt x="825500" y="79375"/>
                                        </a:lnTo>
                                        <a:lnTo>
                                          <a:pt x="838729" y="76729"/>
                                        </a:lnTo>
                                        <a:lnTo>
                                          <a:pt x="846667" y="76729"/>
                                        </a:lnTo>
                                        <a:lnTo>
                                          <a:pt x="854604" y="74083"/>
                                        </a:lnTo>
                                        <a:lnTo>
                                          <a:pt x="862542" y="71437"/>
                                        </a:lnTo>
                                        <a:lnTo>
                                          <a:pt x="873125" y="68792"/>
                                        </a:lnTo>
                                        <a:lnTo>
                                          <a:pt x="881062" y="68792"/>
                                        </a:lnTo>
                                        <a:lnTo>
                                          <a:pt x="896937" y="79375"/>
                                        </a:lnTo>
                                        <a:lnTo>
                                          <a:pt x="902229" y="84667"/>
                                        </a:lnTo>
                                        <a:lnTo>
                                          <a:pt x="896937" y="87312"/>
                                        </a:lnTo>
                                        <a:lnTo>
                                          <a:pt x="894292" y="89958"/>
                                        </a:lnTo>
                                        <a:lnTo>
                                          <a:pt x="889000" y="92604"/>
                                        </a:lnTo>
                                        <a:lnTo>
                                          <a:pt x="886354" y="100542"/>
                                        </a:lnTo>
                                        <a:lnTo>
                                          <a:pt x="886354" y="108479"/>
                                        </a:lnTo>
                                        <a:lnTo>
                                          <a:pt x="889000" y="97896"/>
                                        </a:lnTo>
                                        <a:lnTo>
                                          <a:pt x="891646" y="95250"/>
                                        </a:lnTo>
                                        <a:lnTo>
                                          <a:pt x="899583" y="92604"/>
                                        </a:lnTo>
                                        <a:lnTo>
                                          <a:pt x="904875" y="87312"/>
                                        </a:lnTo>
                                        <a:lnTo>
                                          <a:pt x="904875" y="84667"/>
                                        </a:lnTo>
                                        <a:lnTo>
                                          <a:pt x="904875" y="82021"/>
                                        </a:lnTo>
                                        <a:lnTo>
                                          <a:pt x="904875" y="79375"/>
                                        </a:lnTo>
                                        <a:lnTo>
                                          <a:pt x="915458" y="74083"/>
                                        </a:lnTo>
                                        <a:lnTo>
                                          <a:pt x="933979" y="68792"/>
                                        </a:lnTo>
                                        <a:lnTo>
                                          <a:pt x="947208" y="68792"/>
                                        </a:lnTo>
                                        <a:lnTo>
                                          <a:pt x="955146" y="66146"/>
                                        </a:lnTo>
                                        <a:lnTo>
                                          <a:pt x="965729" y="66146"/>
                                        </a:lnTo>
                                        <a:lnTo>
                                          <a:pt x="968375" y="66146"/>
                                        </a:lnTo>
                                        <a:lnTo>
                                          <a:pt x="971021" y="63500"/>
                                        </a:lnTo>
                                        <a:lnTo>
                                          <a:pt x="968375" y="60854"/>
                                        </a:lnTo>
                                        <a:lnTo>
                                          <a:pt x="965729" y="60854"/>
                                        </a:lnTo>
                                        <a:lnTo>
                                          <a:pt x="960437" y="63500"/>
                                        </a:lnTo>
                                        <a:lnTo>
                                          <a:pt x="957792" y="63500"/>
                                        </a:lnTo>
                                        <a:lnTo>
                                          <a:pt x="955146" y="60854"/>
                                        </a:lnTo>
                                        <a:lnTo>
                                          <a:pt x="952500" y="63500"/>
                                        </a:lnTo>
                                        <a:lnTo>
                                          <a:pt x="947208" y="63500"/>
                                        </a:lnTo>
                                        <a:lnTo>
                                          <a:pt x="944562" y="63500"/>
                                        </a:lnTo>
                                        <a:lnTo>
                                          <a:pt x="941917" y="63500"/>
                                        </a:lnTo>
                                        <a:lnTo>
                                          <a:pt x="936625" y="66146"/>
                                        </a:lnTo>
                                        <a:lnTo>
                                          <a:pt x="928687" y="68792"/>
                                        </a:lnTo>
                                        <a:lnTo>
                                          <a:pt x="926042" y="66146"/>
                                        </a:lnTo>
                                        <a:lnTo>
                                          <a:pt x="923396" y="66146"/>
                                        </a:lnTo>
                                        <a:lnTo>
                                          <a:pt x="918104" y="66146"/>
                                        </a:lnTo>
                                        <a:lnTo>
                                          <a:pt x="918104" y="63500"/>
                                        </a:lnTo>
                                        <a:lnTo>
                                          <a:pt x="918104" y="60854"/>
                                        </a:lnTo>
                                        <a:lnTo>
                                          <a:pt x="923396" y="58208"/>
                                        </a:lnTo>
                                        <a:lnTo>
                                          <a:pt x="933979" y="55562"/>
                                        </a:lnTo>
                                        <a:lnTo>
                                          <a:pt x="949854" y="52917"/>
                                        </a:lnTo>
                                        <a:lnTo>
                                          <a:pt x="960437" y="50271"/>
                                        </a:lnTo>
                                        <a:lnTo>
                                          <a:pt x="968375" y="47625"/>
                                        </a:lnTo>
                                        <a:lnTo>
                                          <a:pt x="978958" y="47625"/>
                                        </a:lnTo>
                                        <a:lnTo>
                                          <a:pt x="981604" y="47625"/>
                                        </a:lnTo>
                                        <a:lnTo>
                                          <a:pt x="981604" y="50271"/>
                                        </a:lnTo>
                                        <a:lnTo>
                                          <a:pt x="978958" y="52917"/>
                                        </a:lnTo>
                                        <a:lnTo>
                                          <a:pt x="976312" y="58208"/>
                                        </a:lnTo>
                                        <a:lnTo>
                                          <a:pt x="976312" y="60854"/>
                                        </a:lnTo>
                                        <a:lnTo>
                                          <a:pt x="981604" y="63500"/>
                                        </a:lnTo>
                                        <a:lnTo>
                                          <a:pt x="981604" y="66146"/>
                                        </a:lnTo>
                                        <a:lnTo>
                                          <a:pt x="984250" y="63500"/>
                                        </a:lnTo>
                                        <a:lnTo>
                                          <a:pt x="989542" y="63500"/>
                                        </a:lnTo>
                                        <a:lnTo>
                                          <a:pt x="989542" y="66146"/>
                                        </a:lnTo>
                                        <a:lnTo>
                                          <a:pt x="989542" y="68792"/>
                                        </a:lnTo>
                                        <a:lnTo>
                                          <a:pt x="992187" y="71437"/>
                                        </a:lnTo>
                                        <a:lnTo>
                                          <a:pt x="1000125" y="74083"/>
                                        </a:lnTo>
                                        <a:lnTo>
                                          <a:pt x="1010708" y="74083"/>
                                        </a:lnTo>
                                        <a:lnTo>
                                          <a:pt x="1037167" y="74083"/>
                                        </a:lnTo>
                                        <a:lnTo>
                                          <a:pt x="1053042" y="74083"/>
                                        </a:lnTo>
                                        <a:lnTo>
                                          <a:pt x="1066271" y="71437"/>
                                        </a:lnTo>
                                        <a:lnTo>
                                          <a:pt x="1079500" y="68792"/>
                                        </a:lnTo>
                                        <a:lnTo>
                                          <a:pt x="1084792" y="71437"/>
                                        </a:lnTo>
                                        <a:lnTo>
                                          <a:pt x="1090083" y="71437"/>
                                        </a:lnTo>
                                        <a:lnTo>
                                          <a:pt x="1095375" y="76729"/>
                                        </a:lnTo>
                                        <a:lnTo>
                                          <a:pt x="1098021" y="76729"/>
                                        </a:lnTo>
                                        <a:lnTo>
                                          <a:pt x="1103313" y="74083"/>
                                        </a:lnTo>
                                        <a:lnTo>
                                          <a:pt x="1111250" y="74083"/>
                                        </a:lnTo>
                                        <a:lnTo>
                                          <a:pt x="1119188" y="71437"/>
                                        </a:lnTo>
                                        <a:lnTo>
                                          <a:pt x="1121833" y="68792"/>
                                        </a:lnTo>
                                        <a:lnTo>
                                          <a:pt x="1124479" y="66146"/>
                                        </a:lnTo>
                                        <a:lnTo>
                                          <a:pt x="1127125" y="71437"/>
                                        </a:lnTo>
                                        <a:lnTo>
                                          <a:pt x="1132417" y="76729"/>
                                        </a:lnTo>
                                        <a:lnTo>
                                          <a:pt x="1137708" y="79375"/>
                                        </a:lnTo>
                                        <a:lnTo>
                                          <a:pt x="1140354" y="79375"/>
                                        </a:lnTo>
                                        <a:lnTo>
                                          <a:pt x="1143000" y="76729"/>
                                        </a:lnTo>
                                        <a:lnTo>
                                          <a:pt x="1140354" y="74083"/>
                                        </a:lnTo>
                                        <a:lnTo>
                                          <a:pt x="1135063" y="71437"/>
                                        </a:lnTo>
                                        <a:lnTo>
                                          <a:pt x="1129771" y="68792"/>
                                        </a:lnTo>
                                        <a:lnTo>
                                          <a:pt x="1127125" y="60854"/>
                                        </a:lnTo>
                                        <a:lnTo>
                                          <a:pt x="1135063" y="63500"/>
                                        </a:lnTo>
                                        <a:lnTo>
                                          <a:pt x="1140354" y="60854"/>
                                        </a:lnTo>
                                        <a:lnTo>
                                          <a:pt x="1143000" y="58208"/>
                                        </a:lnTo>
                                        <a:lnTo>
                                          <a:pt x="1145646" y="60854"/>
                                        </a:lnTo>
                                        <a:lnTo>
                                          <a:pt x="1153583" y="66146"/>
                                        </a:lnTo>
                                        <a:lnTo>
                                          <a:pt x="1158875" y="66146"/>
                                        </a:lnTo>
                                        <a:lnTo>
                                          <a:pt x="1158875" y="68792"/>
                                        </a:lnTo>
                                        <a:lnTo>
                                          <a:pt x="1156229" y="71437"/>
                                        </a:lnTo>
                                        <a:lnTo>
                                          <a:pt x="1150938" y="74083"/>
                                        </a:lnTo>
                                        <a:lnTo>
                                          <a:pt x="1150938" y="76729"/>
                                        </a:lnTo>
                                        <a:lnTo>
                                          <a:pt x="1150938" y="79375"/>
                                        </a:lnTo>
                                        <a:lnTo>
                                          <a:pt x="1143000" y="87312"/>
                                        </a:lnTo>
                                        <a:lnTo>
                                          <a:pt x="1153583" y="82021"/>
                                        </a:lnTo>
                                        <a:lnTo>
                                          <a:pt x="1158875" y="79375"/>
                                        </a:lnTo>
                                        <a:lnTo>
                                          <a:pt x="1158875" y="74083"/>
                                        </a:lnTo>
                                        <a:lnTo>
                                          <a:pt x="1166813" y="71437"/>
                                        </a:lnTo>
                                        <a:lnTo>
                                          <a:pt x="1172104" y="68792"/>
                                        </a:lnTo>
                                        <a:lnTo>
                                          <a:pt x="1177396" y="68792"/>
                                        </a:lnTo>
                                        <a:lnTo>
                                          <a:pt x="1185333" y="71437"/>
                                        </a:lnTo>
                                        <a:lnTo>
                                          <a:pt x="1195917" y="71437"/>
                                        </a:lnTo>
                                        <a:lnTo>
                                          <a:pt x="1219729" y="68792"/>
                                        </a:lnTo>
                                        <a:lnTo>
                                          <a:pt x="1222375" y="68792"/>
                                        </a:lnTo>
                                        <a:lnTo>
                                          <a:pt x="1219729" y="66146"/>
                                        </a:lnTo>
                                        <a:lnTo>
                                          <a:pt x="1217083" y="63500"/>
                                        </a:lnTo>
                                        <a:lnTo>
                                          <a:pt x="1214438" y="66146"/>
                                        </a:lnTo>
                                        <a:lnTo>
                                          <a:pt x="1211792" y="68792"/>
                                        </a:lnTo>
                                        <a:lnTo>
                                          <a:pt x="1209146" y="66146"/>
                                        </a:lnTo>
                                        <a:lnTo>
                                          <a:pt x="1206500" y="66146"/>
                                        </a:lnTo>
                                        <a:lnTo>
                                          <a:pt x="1206500" y="63500"/>
                                        </a:lnTo>
                                        <a:lnTo>
                                          <a:pt x="1211792" y="60854"/>
                                        </a:lnTo>
                                        <a:lnTo>
                                          <a:pt x="1222375" y="58208"/>
                                        </a:lnTo>
                                        <a:lnTo>
                                          <a:pt x="1227667" y="58208"/>
                                        </a:lnTo>
                                        <a:lnTo>
                                          <a:pt x="1232958" y="58208"/>
                                        </a:lnTo>
                                        <a:lnTo>
                                          <a:pt x="1240896" y="55562"/>
                                        </a:lnTo>
                                        <a:lnTo>
                                          <a:pt x="1248833" y="50271"/>
                                        </a:lnTo>
                                        <a:lnTo>
                                          <a:pt x="1243542" y="50271"/>
                                        </a:lnTo>
                                        <a:lnTo>
                                          <a:pt x="1232958" y="52917"/>
                                        </a:lnTo>
                                        <a:lnTo>
                                          <a:pt x="1222375" y="55562"/>
                                        </a:lnTo>
                                        <a:lnTo>
                                          <a:pt x="1214438" y="52917"/>
                                        </a:lnTo>
                                        <a:lnTo>
                                          <a:pt x="1209146" y="52917"/>
                                        </a:lnTo>
                                        <a:lnTo>
                                          <a:pt x="1206500" y="52917"/>
                                        </a:lnTo>
                                        <a:lnTo>
                                          <a:pt x="1201208" y="52917"/>
                                        </a:lnTo>
                                        <a:lnTo>
                                          <a:pt x="1193271" y="47625"/>
                                        </a:lnTo>
                                        <a:lnTo>
                                          <a:pt x="1190625" y="42333"/>
                                        </a:lnTo>
                                        <a:lnTo>
                                          <a:pt x="1190625" y="37042"/>
                                        </a:lnTo>
                                        <a:lnTo>
                                          <a:pt x="1201208" y="34396"/>
                                        </a:lnTo>
                                        <a:lnTo>
                                          <a:pt x="1211792" y="31750"/>
                                        </a:lnTo>
                                        <a:lnTo>
                                          <a:pt x="1214438" y="29104"/>
                                        </a:lnTo>
                                        <a:lnTo>
                                          <a:pt x="1214438" y="26458"/>
                                        </a:lnTo>
                                        <a:lnTo>
                                          <a:pt x="1214438" y="23812"/>
                                        </a:lnTo>
                                        <a:lnTo>
                                          <a:pt x="1219729" y="21167"/>
                                        </a:lnTo>
                                        <a:lnTo>
                                          <a:pt x="1232958" y="13229"/>
                                        </a:lnTo>
                                        <a:lnTo>
                                          <a:pt x="1238250" y="10583"/>
                                        </a:lnTo>
                                        <a:lnTo>
                                          <a:pt x="1240896" y="13229"/>
                                        </a:lnTo>
                                        <a:lnTo>
                                          <a:pt x="1243542" y="13229"/>
                                        </a:lnTo>
                                        <a:lnTo>
                                          <a:pt x="1248833" y="10583"/>
                                        </a:lnTo>
                                        <a:lnTo>
                                          <a:pt x="1248833" y="7937"/>
                                        </a:lnTo>
                                        <a:lnTo>
                                          <a:pt x="1246188" y="7937"/>
                                        </a:lnTo>
                                        <a:lnTo>
                                          <a:pt x="1243542" y="7937"/>
                                        </a:lnTo>
                                        <a:lnTo>
                                          <a:pt x="1246188" y="5292"/>
                                        </a:lnTo>
                                        <a:lnTo>
                                          <a:pt x="1259417" y="2646"/>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7" name="France"/>
                                  <p:cNvSpPr>
                                    <a:spLocks/>
                                  </p:cNvSpPr>
                                  <p:nvPr/>
                                </p:nvSpPr>
                                <p:spPr bwMode="auto">
                                  <a:xfrm>
                                    <a:off x="5662958" y="1849218"/>
                                    <a:ext cx="337179" cy="264031"/>
                                  </a:xfrm>
                                  <a:custGeom>
                                    <a:avLst/>
                                    <a:gdLst/>
                                    <a:ahLst/>
                                    <a:cxnLst>
                                      <a:cxn ang="0">
                                        <a:pos x="210" y="152"/>
                                      </a:cxn>
                                      <a:cxn ang="0">
                                        <a:pos x="196" y="160"/>
                                      </a:cxn>
                                      <a:cxn ang="0">
                                        <a:pos x="180" y="152"/>
                                      </a:cxn>
                                      <a:cxn ang="0">
                                        <a:pos x="168" y="154"/>
                                      </a:cxn>
                                      <a:cxn ang="0">
                                        <a:pos x="146" y="164"/>
                                      </a:cxn>
                                      <a:cxn ang="0">
                                        <a:pos x="136" y="172"/>
                                      </a:cxn>
                                      <a:cxn ang="0">
                                        <a:pos x="120" y="172"/>
                                      </a:cxn>
                                      <a:cxn ang="0">
                                        <a:pos x="108" y="172"/>
                                      </a:cxn>
                                      <a:cxn ang="0">
                                        <a:pos x="94" y="172"/>
                                      </a:cxn>
                                      <a:cxn ang="0">
                                        <a:pos x="74" y="164"/>
                                      </a:cxn>
                                      <a:cxn ang="0">
                                        <a:pos x="60" y="160"/>
                                      </a:cxn>
                                      <a:cxn ang="0">
                                        <a:pos x="50" y="154"/>
                                      </a:cxn>
                                      <a:cxn ang="0">
                                        <a:pos x="62" y="132"/>
                                      </a:cxn>
                                      <a:cxn ang="0">
                                        <a:pos x="74" y="120"/>
                                      </a:cxn>
                                      <a:cxn ang="0">
                                        <a:pos x="68" y="100"/>
                                      </a:cxn>
                                      <a:cxn ang="0">
                                        <a:pos x="66" y="96"/>
                                      </a:cxn>
                                      <a:cxn ang="0">
                                        <a:pos x="48" y="82"/>
                                      </a:cxn>
                                      <a:cxn ang="0">
                                        <a:pos x="48" y="76"/>
                                      </a:cxn>
                                      <a:cxn ang="0">
                                        <a:pos x="44" y="72"/>
                                      </a:cxn>
                                      <a:cxn ang="0">
                                        <a:pos x="36" y="66"/>
                                      </a:cxn>
                                      <a:cxn ang="0">
                                        <a:pos x="26" y="66"/>
                                      </a:cxn>
                                      <a:cxn ang="0">
                                        <a:pos x="8" y="62"/>
                                      </a:cxn>
                                      <a:cxn ang="0">
                                        <a:pos x="4" y="56"/>
                                      </a:cxn>
                                      <a:cxn ang="0">
                                        <a:pos x="6" y="52"/>
                                      </a:cxn>
                                      <a:cxn ang="0">
                                        <a:pos x="0" y="46"/>
                                      </a:cxn>
                                      <a:cxn ang="0">
                                        <a:pos x="16" y="44"/>
                                      </a:cxn>
                                      <a:cxn ang="0">
                                        <a:pos x="30" y="44"/>
                                      </a:cxn>
                                      <a:cxn ang="0">
                                        <a:pos x="40" y="44"/>
                                      </a:cxn>
                                      <a:cxn ang="0">
                                        <a:pos x="54" y="46"/>
                                      </a:cxn>
                                      <a:cxn ang="0">
                                        <a:pos x="54" y="34"/>
                                      </a:cxn>
                                      <a:cxn ang="0">
                                        <a:pos x="54" y="24"/>
                                      </a:cxn>
                                      <a:cxn ang="0">
                                        <a:pos x="64" y="30"/>
                                      </a:cxn>
                                      <a:cxn ang="0">
                                        <a:pos x="72" y="32"/>
                                      </a:cxn>
                                      <a:cxn ang="0">
                                        <a:pos x="86" y="30"/>
                                      </a:cxn>
                                      <a:cxn ang="0">
                                        <a:pos x="92" y="22"/>
                                      </a:cxn>
                                      <a:cxn ang="0">
                                        <a:pos x="112" y="14"/>
                                      </a:cxn>
                                      <a:cxn ang="0">
                                        <a:pos x="116" y="4"/>
                                      </a:cxn>
                                      <a:cxn ang="0">
                                        <a:pos x="132" y="4"/>
                                      </a:cxn>
                                      <a:cxn ang="0">
                                        <a:pos x="148" y="10"/>
                                      </a:cxn>
                                      <a:cxn ang="0">
                                        <a:pos x="156" y="18"/>
                                      </a:cxn>
                                      <a:cxn ang="0">
                                        <a:pos x="162" y="16"/>
                                      </a:cxn>
                                      <a:cxn ang="0">
                                        <a:pos x="170" y="28"/>
                                      </a:cxn>
                                      <a:cxn ang="0">
                                        <a:pos x="176" y="26"/>
                                      </a:cxn>
                                      <a:cxn ang="0">
                                        <a:pos x="194" y="30"/>
                                      </a:cxn>
                                      <a:cxn ang="0">
                                        <a:pos x="214" y="38"/>
                                      </a:cxn>
                                      <a:cxn ang="0">
                                        <a:pos x="214" y="56"/>
                                      </a:cxn>
                                      <a:cxn ang="0">
                                        <a:pos x="212" y="68"/>
                                      </a:cxn>
                                      <a:cxn ang="0">
                                        <a:pos x="204" y="70"/>
                                      </a:cxn>
                                      <a:cxn ang="0">
                                        <a:pos x="192" y="80"/>
                                      </a:cxn>
                                      <a:cxn ang="0">
                                        <a:pos x="194" y="94"/>
                                      </a:cxn>
                                      <a:cxn ang="0">
                                        <a:pos x="206" y="98"/>
                                      </a:cxn>
                                      <a:cxn ang="0">
                                        <a:pos x="210" y="110"/>
                                      </a:cxn>
                                      <a:cxn ang="0">
                                        <a:pos x="206" y="118"/>
                                      </a:cxn>
                                      <a:cxn ang="0">
                                        <a:pos x="210" y="132"/>
                                      </a:cxn>
                                      <a:cxn ang="0">
                                        <a:pos x="222" y="140"/>
                                      </a:cxn>
                                    </a:cxnLst>
                                    <a:rect l="0" t="0" r="r" b="b"/>
                                    <a:pathLst>
                                      <a:path w="222" h="174">
                                        <a:moveTo>
                                          <a:pt x="220" y="146"/>
                                        </a:moveTo>
                                        <a:lnTo>
                                          <a:pt x="220" y="146"/>
                                        </a:lnTo>
                                        <a:lnTo>
                                          <a:pt x="214" y="148"/>
                                        </a:lnTo>
                                        <a:lnTo>
                                          <a:pt x="214" y="148"/>
                                        </a:lnTo>
                                        <a:lnTo>
                                          <a:pt x="210" y="150"/>
                                        </a:lnTo>
                                        <a:lnTo>
                                          <a:pt x="210" y="152"/>
                                        </a:lnTo>
                                        <a:lnTo>
                                          <a:pt x="210" y="152"/>
                                        </a:lnTo>
                                        <a:lnTo>
                                          <a:pt x="208" y="152"/>
                                        </a:lnTo>
                                        <a:lnTo>
                                          <a:pt x="204" y="156"/>
                                        </a:lnTo>
                                        <a:lnTo>
                                          <a:pt x="204" y="156"/>
                                        </a:lnTo>
                                        <a:lnTo>
                                          <a:pt x="200" y="160"/>
                                        </a:lnTo>
                                        <a:lnTo>
                                          <a:pt x="196" y="160"/>
                                        </a:lnTo>
                                        <a:lnTo>
                                          <a:pt x="196" y="160"/>
                                        </a:lnTo>
                                        <a:lnTo>
                                          <a:pt x="196" y="160"/>
                                        </a:lnTo>
                                        <a:lnTo>
                                          <a:pt x="194" y="160"/>
                                        </a:lnTo>
                                        <a:lnTo>
                                          <a:pt x="190" y="156"/>
                                        </a:lnTo>
                                        <a:lnTo>
                                          <a:pt x="190" y="156"/>
                                        </a:lnTo>
                                        <a:lnTo>
                                          <a:pt x="186" y="154"/>
                                        </a:lnTo>
                                        <a:lnTo>
                                          <a:pt x="182" y="154"/>
                                        </a:lnTo>
                                        <a:lnTo>
                                          <a:pt x="182" y="154"/>
                                        </a:lnTo>
                                        <a:lnTo>
                                          <a:pt x="180" y="152"/>
                                        </a:lnTo>
                                        <a:lnTo>
                                          <a:pt x="180" y="152"/>
                                        </a:lnTo>
                                        <a:lnTo>
                                          <a:pt x="178" y="150"/>
                                        </a:lnTo>
                                        <a:lnTo>
                                          <a:pt x="176" y="150"/>
                                        </a:lnTo>
                                        <a:lnTo>
                                          <a:pt x="176" y="150"/>
                                        </a:lnTo>
                                        <a:lnTo>
                                          <a:pt x="172" y="152"/>
                                        </a:lnTo>
                                        <a:lnTo>
                                          <a:pt x="168" y="154"/>
                                        </a:lnTo>
                                        <a:lnTo>
                                          <a:pt x="168" y="154"/>
                                        </a:lnTo>
                                        <a:lnTo>
                                          <a:pt x="162" y="154"/>
                                        </a:lnTo>
                                        <a:lnTo>
                                          <a:pt x="160" y="154"/>
                                        </a:lnTo>
                                        <a:lnTo>
                                          <a:pt x="160" y="154"/>
                                        </a:lnTo>
                                        <a:lnTo>
                                          <a:pt x="156" y="156"/>
                                        </a:lnTo>
                                        <a:lnTo>
                                          <a:pt x="150" y="162"/>
                                        </a:lnTo>
                                        <a:lnTo>
                                          <a:pt x="150" y="162"/>
                                        </a:lnTo>
                                        <a:lnTo>
                                          <a:pt x="146" y="164"/>
                                        </a:lnTo>
                                        <a:lnTo>
                                          <a:pt x="144" y="168"/>
                                        </a:lnTo>
                                        <a:lnTo>
                                          <a:pt x="144" y="168"/>
                                        </a:lnTo>
                                        <a:lnTo>
                                          <a:pt x="142" y="170"/>
                                        </a:lnTo>
                                        <a:lnTo>
                                          <a:pt x="142" y="172"/>
                                        </a:lnTo>
                                        <a:lnTo>
                                          <a:pt x="142" y="172"/>
                                        </a:lnTo>
                                        <a:lnTo>
                                          <a:pt x="140" y="170"/>
                                        </a:lnTo>
                                        <a:lnTo>
                                          <a:pt x="136" y="172"/>
                                        </a:lnTo>
                                        <a:lnTo>
                                          <a:pt x="136" y="172"/>
                                        </a:lnTo>
                                        <a:lnTo>
                                          <a:pt x="130" y="172"/>
                                        </a:lnTo>
                                        <a:lnTo>
                                          <a:pt x="128" y="172"/>
                                        </a:lnTo>
                                        <a:lnTo>
                                          <a:pt x="126" y="174"/>
                                        </a:lnTo>
                                        <a:lnTo>
                                          <a:pt x="126" y="174"/>
                                        </a:lnTo>
                                        <a:lnTo>
                                          <a:pt x="124" y="174"/>
                                        </a:lnTo>
                                        <a:lnTo>
                                          <a:pt x="120" y="172"/>
                                        </a:lnTo>
                                        <a:lnTo>
                                          <a:pt x="118" y="172"/>
                                        </a:lnTo>
                                        <a:lnTo>
                                          <a:pt x="114" y="174"/>
                                        </a:lnTo>
                                        <a:lnTo>
                                          <a:pt x="114" y="174"/>
                                        </a:lnTo>
                                        <a:lnTo>
                                          <a:pt x="112" y="174"/>
                                        </a:lnTo>
                                        <a:lnTo>
                                          <a:pt x="110" y="174"/>
                                        </a:lnTo>
                                        <a:lnTo>
                                          <a:pt x="108" y="174"/>
                                        </a:lnTo>
                                        <a:lnTo>
                                          <a:pt x="108" y="172"/>
                                        </a:lnTo>
                                        <a:lnTo>
                                          <a:pt x="108" y="172"/>
                                        </a:lnTo>
                                        <a:lnTo>
                                          <a:pt x="106" y="172"/>
                                        </a:lnTo>
                                        <a:lnTo>
                                          <a:pt x="102" y="170"/>
                                        </a:lnTo>
                                        <a:lnTo>
                                          <a:pt x="98" y="168"/>
                                        </a:lnTo>
                                        <a:lnTo>
                                          <a:pt x="96" y="168"/>
                                        </a:lnTo>
                                        <a:lnTo>
                                          <a:pt x="96" y="168"/>
                                        </a:lnTo>
                                        <a:lnTo>
                                          <a:pt x="94" y="172"/>
                                        </a:lnTo>
                                        <a:lnTo>
                                          <a:pt x="94" y="172"/>
                                        </a:lnTo>
                                        <a:lnTo>
                                          <a:pt x="90" y="172"/>
                                        </a:lnTo>
                                        <a:lnTo>
                                          <a:pt x="90" y="172"/>
                                        </a:lnTo>
                                        <a:lnTo>
                                          <a:pt x="86" y="170"/>
                                        </a:lnTo>
                                        <a:lnTo>
                                          <a:pt x="80" y="168"/>
                                        </a:lnTo>
                                        <a:lnTo>
                                          <a:pt x="80" y="168"/>
                                        </a:lnTo>
                                        <a:lnTo>
                                          <a:pt x="74" y="164"/>
                                        </a:lnTo>
                                        <a:lnTo>
                                          <a:pt x="70" y="164"/>
                                        </a:lnTo>
                                        <a:lnTo>
                                          <a:pt x="70" y="164"/>
                                        </a:lnTo>
                                        <a:lnTo>
                                          <a:pt x="66" y="164"/>
                                        </a:lnTo>
                                        <a:lnTo>
                                          <a:pt x="64" y="162"/>
                                        </a:lnTo>
                                        <a:lnTo>
                                          <a:pt x="62" y="160"/>
                                        </a:lnTo>
                                        <a:lnTo>
                                          <a:pt x="60" y="160"/>
                                        </a:lnTo>
                                        <a:lnTo>
                                          <a:pt x="60" y="160"/>
                                        </a:lnTo>
                                        <a:lnTo>
                                          <a:pt x="56" y="160"/>
                                        </a:lnTo>
                                        <a:lnTo>
                                          <a:pt x="56" y="158"/>
                                        </a:lnTo>
                                        <a:lnTo>
                                          <a:pt x="56" y="156"/>
                                        </a:lnTo>
                                        <a:lnTo>
                                          <a:pt x="54" y="156"/>
                                        </a:lnTo>
                                        <a:lnTo>
                                          <a:pt x="54" y="156"/>
                                        </a:lnTo>
                                        <a:lnTo>
                                          <a:pt x="52" y="156"/>
                                        </a:lnTo>
                                        <a:lnTo>
                                          <a:pt x="50" y="154"/>
                                        </a:lnTo>
                                        <a:lnTo>
                                          <a:pt x="50" y="154"/>
                                        </a:lnTo>
                                        <a:lnTo>
                                          <a:pt x="54" y="154"/>
                                        </a:lnTo>
                                        <a:lnTo>
                                          <a:pt x="56" y="150"/>
                                        </a:lnTo>
                                        <a:lnTo>
                                          <a:pt x="56" y="150"/>
                                        </a:lnTo>
                                        <a:lnTo>
                                          <a:pt x="58" y="142"/>
                                        </a:lnTo>
                                        <a:lnTo>
                                          <a:pt x="62" y="132"/>
                                        </a:lnTo>
                                        <a:lnTo>
                                          <a:pt x="62" y="132"/>
                                        </a:lnTo>
                                        <a:lnTo>
                                          <a:pt x="64" y="126"/>
                                        </a:lnTo>
                                        <a:lnTo>
                                          <a:pt x="66" y="116"/>
                                        </a:lnTo>
                                        <a:lnTo>
                                          <a:pt x="66" y="116"/>
                                        </a:lnTo>
                                        <a:lnTo>
                                          <a:pt x="68" y="114"/>
                                        </a:lnTo>
                                        <a:lnTo>
                                          <a:pt x="70" y="114"/>
                                        </a:lnTo>
                                        <a:lnTo>
                                          <a:pt x="74" y="120"/>
                                        </a:lnTo>
                                        <a:lnTo>
                                          <a:pt x="74" y="120"/>
                                        </a:lnTo>
                                        <a:lnTo>
                                          <a:pt x="72" y="114"/>
                                        </a:lnTo>
                                        <a:lnTo>
                                          <a:pt x="70" y="112"/>
                                        </a:lnTo>
                                        <a:lnTo>
                                          <a:pt x="68" y="110"/>
                                        </a:lnTo>
                                        <a:lnTo>
                                          <a:pt x="68" y="106"/>
                                        </a:lnTo>
                                        <a:lnTo>
                                          <a:pt x="68" y="106"/>
                                        </a:lnTo>
                                        <a:lnTo>
                                          <a:pt x="70" y="102"/>
                                        </a:lnTo>
                                        <a:lnTo>
                                          <a:pt x="68" y="100"/>
                                        </a:lnTo>
                                        <a:lnTo>
                                          <a:pt x="68" y="100"/>
                                        </a:lnTo>
                                        <a:lnTo>
                                          <a:pt x="68" y="98"/>
                                        </a:lnTo>
                                        <a:lnTo>
                                          <a:pt x="68" y="96"/>
                                        </a:lnTo>
                                        <a:lnTo>
                                          <a:pt x="70" y="94"/>
                                        </a:lnTo>
                                        <a:lnTo>
                                          <a:pt x="68" y="96"/>
                                        </a:lnTo>
                                        <a:lnTo>
                                          <a:pt x="68" y="96"/>
                                        </a:lnTo>
                                        <a:lnTo>
                                          <a:pt x="66" y="96"/>
                                        </a:lnTo>
                                        <a:lnTo>
                                          <a:pt x="66" y="96"/>
                                        </a:lnTo>
                                        <a:lnTo>
                                          <a:pt x="62" y="92"/>
                                        </a:lnTo>
                                        <a:lnTo>
                                          <a:pt x="62" y="92"/>
                                        </a:lnTo>
                                        <a:lnTo>
                                          <a:pt x="56" y="90"/>
                                        </a:lnTo>
                                        <a:lnTo>
                                          <a:pt x="52" y="88"/>
                                        </a:lnTo>
                                        <a:lnTo>
                                          <a:pt x="52" y="88"/>
                                        </a:lnTo>
                                        <a:lnTo>
                                          <a:pt x="48" y="82"/>
                                        </a:lnTo>
                                        <a:lnTo>
                                          <a:pt x="48" y="82"/>
                                        </a:lnTo>
                                        <a:lnTo>
                                          <a:pt x="48" y="80"/>
                                        </a:lnTo>
                                        <a:lnTo>
                                          <a:pt x="48" y="80"/>
                                        </a:lnTo>
                                        <a:lnTo>
                                          <a:pt x="48" y="78"/>
                                        </a:lnTo>
                                        <a:lnTo>
                                          <a:pt x="48" y="78"/>
                                        </a:lnTo>
                                        <a:lnTo>
                                          <a:pt x="48" y="78"/>
                                        </a:lnTo>
                                        <a:lnTo>
                                          <a:pt x="48" y="76"/>
                                        </a:lnTo>
                                        <a:lnTo>
                                          <a:pt x="48" y="76"/>
                                        </a:lnTo>
                                        <a:lnTo>
                                          <a:pt x="50" y="76"/>
                                        </a:lnTo>
                                        <a:lnTo>
                                          <a:pt x="48" y="74"/>
                                        </a:lnTo>
                                        <a:lnTo>
                                          <a:pt x="48" y="74"/>
                                        </a:lnTo>
                                        <a:lnTo>
                                          <a:pt x="44" y="74"/>
                                        </a:lnTo>
                                        <a:lnTo>
                                          <a:pt x="44" y="72"/>
                                        </a:lnTo>
                                        <a:lnTo>
                                          <a:pt x="44" y="72"/>
                                        </a:lnTo>
                                        <a:lnTo>
                                          <a:pt x="44" y="72"/>
                                        </a:lnTo>
                                        <a:lnTo>
                                          <a:pt x="44" y="70"/>
                                        </a:lnTo>
                                        <a:lnTo>
                                          <a:pt x="44" y="70"/>
                                        </a:lnTo>
                                        <a:lnTo>
                                          <a:pt x="40" y="68"/>
                                        </a:lnTo>
                                        <a:lnTo>
                                          <a:pt x="40" y="68"/>
                                        </a:lnTo>
                                        <a:lnTo>
                                          <a:pt x="38" y="66"/>
                                        </a:lnTo>
                                        <a:lnTo>
                                          <a:pt x="36" y="66"/>
                                        </a:lnTo>
                                        <a:lnTo>
                                          <a:pt x="34" y="66"/>
                                        </a:lnTo>
                                        <a:lnTo>
                                          <a:pt x="34" y="66"/>
                                        </a:lnTo>
                                        <a:lnTo>
                                          <a:pt x="32" y="66"/>
                                        </a:lnTo>
                                        <a:lnTo>
                                          <a:pt x="30" y="68"/>
                                        </a:lnTo>
                                        <a:lnTo>
                                          <a:pt x="28" y="68"/>
                                        </a:lnTo>
                                        <a:lnTo>
                                          <a:pt x="26" y="66"/>
                                        </a:lnTo>
                                        <a:lnTo>
                                          <a:pt x="26" y="66"/>
                                        </a:lnTo>
                                        <a:lnTo>
                                          <a:pt x="24" y="64"/>
                                        </a:lnTo>
                                        <a:lnTo>
                                          <a:pt x="18" y="62"/>
                                        </a:lnTo>
                                        <a:lnTo>
                                          <a:pt x="18" y="62"/>
                                        </a:lnTo>
                                        <a:lnTo>
                                          <a:pt x="16" y="60"/>
                                        </a:lnTo>
                                        <a:lnTo>
                                          <a:pt x="14" y="60"/>
                                        </a:lnTo>
                                        <a:lnTo>
                                          <a:pt x="12" y="62"/>
                                        </a:lnTo>
                                        <a:lnTo>
                                          <a:pt x="8" y="62"/>
                                        </a:lnTo>
                                        <a:lnTo>
                                          <a:pt x="8" y="62"/>
                                        </a:lnTo>
                                        <a:lnTo>
                                          <a:pt x="6" y="60"/>
                                        </a:lnTo>
                                        <a:lnTo>
                                          <a:pt x="6" y="58"/>
                                        </a:lnTo>
                                        <a:lnTo>
                                          <a:pt x="6" y="58"/>
                                        </a:lnTo>
                                        <a:lnTo>
                                          <a:pt x="4" y="56"/>
                                        </a:lnTo>
                                        <a:lnTo>
                                          <a:pt x="4" y="56"/>
                                        </a:lnTo>
                                        <a:lnTo>
                                          <a:pt x="4" y="56"/>
                                        </a:lnTo>
                                        <a:lnTo>
                                          <a:pt x="4" y="54"/>
                                        </a:lnTo>
                                        <a:lnTo>
                                          <a:pt x="8" y="54"/>
                                        </a:lnTo>
                                        <a:lnTo>
                                          <a:pt x="8" y="54"/>
                                        </a:lnTo>
                                        <a:lnTo>
                                          <a:pt x="8" y="54"/>
                                        </a:lnTo>
                                        <a:lnTo>
                                          <a:pt x="8" y="52"/>
                                        </a:lnTo>
                                        <a:lnTo>
                                          <a:pt x="6" y="52"/>
                                        </a:lnTo>
                                        <a:lnTo>
                                          <a:pt x="6" y="52"/>
                                        </a:lnTo>
                                        <a:lnTo>
                                          <a:pt x="6" y="52"/>
                                        </a:lnTo>
                                        <a:lnTo>
                                          <a:pt x="6" y="52"/>
                                        </a:lnTo>
                                        <a:lnTo>
                                          <a:pt x="6" y="50"/>
                                        </a:lnTo>
                                        <a:lnTo>
                                          <a:pt x="0" y="50"/>
                                        </a:lnTo>
                                        <a:lnTo>
                                          <a:pt x="0" y="50"/>
                                        </a:lnTo>
                                        <a:lnTo>
                                          <a:pt x="0" y="48"/>
                                        </a:lnTo>
                                        <a:lnTo>
                                          <a:pt x="0" y="46"/>
                                        </a:lnTo>
                                        <a:lnTo>
                                          <a:pt x="0" y="46"/>
                                        </a:lnTo>
                                        <a:lnTo>
                                          <a:pt x="4" y="46"/>
                                        </a:lnTo>
                                        <a:lnTo>
                                          <a:pt x="8" y="46"/>
                                        </a:lnTo>
                                        <a:lnTo>
                                          <a:pt x="8" y="46"/>
                                        </a:lnTo>
                                        <a:lnTo>
                                          <a:pt x="14" y="44"/>
                                        </a:lnTo>
                                        <a:lnTo>
                                          <a:pt x="16" y="44"/>
                                        </a:lnTo>
                                        <a:lnTo>
                                          <a:pt x="16" y="44"/>
                                        </a:lnTo>
                                        <a:lnTo>
                                          <a:pt x="18" y="42"/>
                                        </a:lnTo>
                                        <a:lnTo>
                                          <a:pt x="22" y="42"/>
                                        </a:lnTo>
                                        <a:lnTo>
                                          <a:pt x="22" y="42"/>
                                        </a:lnTo>
                                        <a:lnTo>
                                          <a:pt x="26" y="40"/>
                                        </a:lnTo>
                                        <a:lnTo>
                                          <a:pt x="28" y="42"/>
                                        </a:lnTo>
                                        <a:lnTo>
                                          <a:pt x="28" y="42"/>
                                        </a:lnTo>
                                        <a:lnTo>
                                          <a:pt x="30" y="44"/>
                                        </a:lnTo>
                                        <a:lnTo>
                                          <a:pt x="30" y="46"/>
                                        </a:lnTo>
                                        <a:lnTo>
                                          <a:pt x="32" y="46"/>
                                        </a:lnTo>
                                        <a:lnTo>
                                          <a:pt x="32" y="46"/>
                                        </a:lnTo>
                                        <a:lnTo>
                                          <a:pt x="36" y="44"/>
                                        </a:lnTo>
                                        <a:lnTo>
                                          <a:pt x="38" y="44"/>
                                        </a:lnTo>
                                        <a:lnTo>
                                          <a:pt x="38" y="44"/>
                                        </a:lnTo>
                                        <a:lnTo>
                                          <a:pt x="40" y="44"/>
                                        </a:lnTo>
                                        <a:lnTo>
                                          <a:pt x="44" y="44"/>
                                        </a:lnTo>
                                        <a:lnTo>
                                          <a:pt x="44" y="44"/>
                                        </a:lnTo>
                                        <a:lnTo>
                                          <a:pt x="48" y="46"/>
                                        </a:lnTo>
                                        <a:lnTo>
                                          <a:pt x="52" y="46"/>
                                        </a:lnTo>
                                        <a:lnTo>
                                          <a:pt x="52" y="46"/>
                                        </a:lnTo>
                                        <a:lnTo>
                                          <a:pt x="54" y="46"/>
                                        </a:lnTo>
                                        <a:lnTo>
                                          <a:pt x="54" y="46"/>
                                        </a:lnTo>
                                        <a:lnTo>
                                          <a:pt x="52" y="44"/>
                                        </a:lnTo>
                                        <a:lnTo>
                                          <a:pt x="52" y="42"/>
                                        </a:lnTo>
                                        <a:lnTo>
                                          <a:pt x="52" y="42"/>
                                        </a:lnTo>
                                        <a:lnTo>
                                          <a:pt x="54" y="40"/>
                                        </a:lnTo>
                                        <a:lnTo>
                                          <a:pt x="54" y="36"/>
                                        </a:lnTo>
                                        <a:lnTo>
                                          <a:pt x="54" y="36"/>
                                        </a:lnTo>
                                        <a:lnTo>
                                          <a:pt x="54" y="34"/>
                                        </a:lnTo>
                                        <a:lnTo>
                                          <a:pt x="52" y="30"/>
                                        </a:lnTo>
                                        <a:lnTo>
                                          <a:pt x="52" y="30"/>
                                        </a:lnTo>
                                        <a:lnTo>
                                          <a:pt x="50" y="24"/>
                                        </a:lnTo>
                                        <a:lnTo>
                                          <a:pt x="50" y="24"/>
                                        </a:lnTo>
                                        <a:lnTo>
                                          <a:pt x="50" y="24"/>
                                        </a:lnTo>
                                        <a:lnTo>
                                          <a:pt x="52" y="22"/>
                                        </a:lnTo>
                                        <a:lnTo>
                                          <a:pt x="54" y="24"/>
                                        </a:lnTo>
                                        <a:lnTo>
                                          <a:pt x="54" y="24"/>
                                        </a:lnTo>
                                        <a:lnTo>
                                          <a:pt x="58" y="24"/>
                                        </a:lnTo>
                                        <a:lnTo>
                                          <a:pt x="60" y="24"/>
                                        </a:lnTo>
                                        <a:lnTo>
                                          <a:pt x="60" y="24"/>
                                        </a:lnTo>
                                        <a:lnTo>
                                          <a:pt x="60" y="24"/>
                                        </a:lnTo>
                                        <a:lnTo>
                                          <a:pt x="62" y="28"/>
                                        </a:lnTo>
                                        <a:lnTo>
                                          <a:pt x="64" y="30"/>
                                        </a:lnTo>
                                        <a:lnTo>
                                          <a:pt x="64" y="30"/>
                                        </a:lnTo>
                                        <a:lnTo>
                                          <a:pt x="64" y="34"/>
                                        </a:lnTo>
                                        <a:lnTo>
                                          <a:pt x="66" y="34"/>
                                        </a:lnTo>
                                        <a:lnTo>
                                          <a:pt x="68" y="34"/>
                                        </a:lnTo>
                                        <a:lnTo>
                                          <a:pt x="68" y="34"/>
                                        </a:lnTo>
                                        <a:lnTo>
                                          <a:pt x="70" y="32"/>
                                        </a:lnTo>
                                        <a:lnTo>
                                          <a:pt x="72" y="32"/>
                                        </a:lnTo>
                                        <a:lnTo>
                                          <a:pt x="72" y="32"/>
                                        </a:lnTo>
                                        <a:lnTo>
                                          <a:pt x="74" y="32"/>
                                        </a:lnTo>
                                        <a:lnTo>
                                          <a:pt x="76" y="32"/>
                                        </a:lnTo>
                                        <a:lnTo>
                                          <a:pt x="78" y="30"/>
                                        </a:lnTo>
                                        <a:lnTo>
                                          <a:pt x="82" y="30"/>
                                        </a:lnTo>
                                        <a:lnTo>
                                          <a:pt x="82" y="30"/>
                                        </a:lnTo>
                                        <a:lnTo>
                                          <a:pt x="86" y="30"/>
                                        </a:lnTo>
                                        <a:lnTo>
                                          <a:pt x="84" y="28"/>
                                        </a:lnTo>
                                        <a:lnTo>
                                          <a:pt x="84" y="28"/>
                                        </a:lnTo>
                                        <a:lnTo>
                                          <a:pt x="84" y="26"/>
                                        </a:lnTo>
                                        <a:lnTo>
                                          <a:pt x="86" y="24"/>
                                        </a:lnTo>
                                        <a:lnTo>
                                          <a:pt x="86" y="24"/>
                                        </a:lnTo>
                                        <a:lnTo>
                                          <a:pt x="88" y="24"/>
                                        </a:lnTo>
                                        <a:lnTo>
                                          <a:pt x="92" y="22"/>
                                        </a:lnTo>
                                        <a:lnTo>
                                          <a:pt x="92" y="22"/>
                                        </a:lnTo>
                                        <a:lnTo>
                                          <a:pt x="100" y="20"/>
                                        </a:lnTo>
                                        <a:lnTo>
                                          <a:pt x="100" y="20"/>
                                        </a:lnTo>
                                        <a:lnTo>
                                          <a:pt x="108" y="18"/>
                                        </a:lnTo>
                                        <a:lnTo>
                                          <a:pt x="110" y="18"/>
                                        </a:lnTo>
                                        <a:lnTo>
                                          <a:pt x="112" y="14"/>
                                        </a:lnTo>
                                        <a:lnTo>
                                          <a:pt x="112" y="14"/>
                                        </a:lnTo>
                                        <a:lnTo>
                                          <a:pt x="112" y="12"/>
                                        </a:lnTo>
                                        <a:lnTo>
                                          <a:pt x="112" y="10"/>
                                        </a:lnTo>
                                        <a:lnTo>
                                          <a:pt x="112" y="10"/>
                                        </a:lnTo>
                                        <a:lnTo>
                                          <a:pt x="114" y="8"/>
                                        </a:lnTo>
                                        <a:lnTo>
                                          <a:pt x="116" y="6"/>
                                        </a:lnTo>
                                        <a:lnTo>
                                          <a:pt x="116" y="6"/>
                                        </a:lnTo>
                                        <a:lnTo>
                                          <a:pt x="116" y="4"/>
                                        </a:lnTo>
                                        <a:lnTo>
                                          <a:pt x="116" y="2"/>
                                        </a:lnTo>
                                        <a:lnTo>
                                          <a:pt x="118" y="2"/>
                                        </a:lnTo>
                                        <a:lnTo>
                                          <a:pt x="118" y="2"/>
                                        </a:lnTo>
                                        <a:lnTo>
                                          <a:pt x="128" y="0"/>
                                        </a:lnTo>
                                        <a:lnTo>
                                          <a:pt x="128" y="0"/>
                                        </a:lnTo>
                                        <a:lnTo>
                                          <a:pt x="130" y="2"/>
                                        </a:lnTo>
                                        <a:lnTo>
                                          <a:pt x="132" y="4"/>
                                        </a:lnTo>
                                        <a:lnTo>
                                          <a:pt x="136" y="4"/>
                                        </a:lnTo>
                                        <a:lnTo>
                                          <a:pt x="136" y="4"/>
                                        </a:lnTo>
                                        <a:lnTo>
                                          <a:pt x="140" y="6"/>
                                        </a:lnTo>
                                        <a:lnTo>
                                          <a:pt x="142" y="8"/>
                                        </a:lnTo>
                                        <a:lnTo>
                                          <a:pt x="142" y="8"/>
                                        </a:lnTo>
                                        <a:lnTo>
                                          <a:pt x="146" y="10"/>
                                        </a:lnTo>
                                        <a:lnTo>
                                          <a:pt x="148" y="10"/>
                                        </a:lnTo>
                                        <a:lnTo>
                                          <a:pt x="148" y="10"/>
                                        </a:lnTo>
                                        <a:lnTo>
                                          <a:pt x="152" y="12"/>
                                        </a:lnTo>
                                        <a:lnTo>
                                          <a:pt x="152" y="16"/>
                                        </a:lnTo>
                                        <a:lnTo>
                                          <a:pt x="152" y="16"/>
                                        </a:lnTo>
                                        <a:lnTo>
                                          <a:pt x="152" y="18"/>
                                        </a:lnTo>
                                        <a:lnTo>
                                          <a:pt x="156" y="18"/>
                                        </a:lnTo>
                                        <a:lnTo>
                                          <a:pt x="156" y="18"/>
                                        </a:lnTo>
                                        <a:lnTo>
                                          <a:pt x="158" y="18"/>
                                        </a:lnTo>
                                        <a:lnTo>
                                          <a:pt x="160" y="14"/>
                                        </a:lnTo>
                                        <a:lnTo>
                                          <a:pt x="160" y="14"/>
                                        </a:lnTo>
                                        <a:lnTo>
                                          <a:pt x="162" y="14"/>
                                        </a:lnTo>
                                        <a:lnTo>
                                          <a:pt x="162" y="14"/>
                                        </a:lnTo>
                                        <a:lnTo>
                                          <a:pt x="162" y="16"/>
                                        </a:lnTo>
                                        <a:lnTo>
                                          <a:pt x="162" y="16"/>
                                        </a:lnTo>
                                        <a:lnTo>
                                          <a:pt x="162" y="20"/>
                                        </a:lnTo>
                                        <a:lnTo>
                                          <a:pt x="162" y="22"/>
                                        </a:lnTo>
                                        <a:lnTo>
                                          <a:pt x="164" y="24"/>
                                        </a:lnTo>
                                        <a:lnTo>
                                          <a:pt x="164" y="24"/>
                                        </a:lnTo>
                                        <a:lnTo>
                                          <a:pt x="166" y="24"/>
                                        </a:lnTo>
                                        <a:lnTo>
                                          <a:pt x="168" y="26"/>
                                        </a:lnTo>
                                        <a:lnTo>
                                          <a:pt x="170" y="28"/>
                                        </a:lnTo>
                                        <a:lnTo>
                                          <a:pt x="170" y="28"/>
                                        </a:lnTo>
                                        <a:lnTo>
                                          <a:pt x="170" y="28"/>
                                        </a:lnTo>
                                        <a:lnTo>
                                          <a:pt x="172" y="28"/>
                                        </a:lnTo>
                                        <a:lnTo>
                                          <a:pt x="172" y="28"/>
                                        </a:lnTo>
                                        <a:lnTo>
                                          <a:pt x="174" y="26"/>
                                        </a:lnTo>
                                        <a:lnTo>
                                          <a:pt x="174" y="26"/>
                                        </a:lnTo>
                                        <a:lnTo>
                                          <a:pt x="176" y="26"/>
                                        </a:lnTo>
                                        <a:lnTo>
                                          <a:pt x="176" y="26"/>
                                        </a:lnTo>
                                        <a:lnTo>
                                          <a:pt x="178" y="26"/>
                                        </a:lnTo>
                                        <a:lnTo>
                                          <a:pt x="180" y="28"/>
                                        </a:lnTo>
                                        <a:lnTo>
                                          <a:pt x="180" y="28"/>
                                        </a:lnTo>
                                        <a:lnTo>
                                          <a:pt x="188" y="28"/>
                                        </a:lnTo>
                                        <a:lnTo>
                                          <a:pt x="188" y="28"/>
                                        </a:lnTo>
                                        <a:lnTo>
                                          <a:pt x="194" y="30"/>
                                        </a:lnTo>
                                        <a:lnTo>
                                          <a:pt x="194" y="30"/>
                                        </a:lnTo>
                                        <a:lnTo>
                                          <a:pt x="198" y="34"/>
                                        </a:lnTo>
                                        <a:lnTo>
                                          <a:pt x="200" y="36"/>
                                        </a:lnTo>
                                        <a:lnTo>
                                          <a:pt x="202" y="36"/>
                                        </a:lnTo>
                                        <a:lnTo>
                                          <a:pt x="202" y="36"/>
                                        </a:lnTo>
                                        <a:lnTo>
                                          <a:pt x="208" y="36"/>
                                        </a:lnTo>
                                        <a:lnTo>
                                          <a:pt x="214" y="38"/>
                                        </a:lnTo>
                                        <a:lnTo>
                                          <a:pt x="214" y="38"/>
                                        </a:lnTo>
                                        <a:lnTo>
                                          <a:pt x="220" y="40"/>
                                        </a:lnTo>
                                        <a:lnTo>
                                          <a:pt x="220" y="40"/>
                                        </a:lnTo>
                                        <a:lnTo>
                                          <a:pt x="220" y="42"/>
                                        </a:lnTo>
                                        <a:lnTo>
                                          <a:pt x="220" y="42"/>
                                        </a:lnTo>
                                        <a:lnTo>
                                          <a:pt x="216" y="48"/>
                                        </a:lnTo>
                                        <a:lnTo>
                                          <a:pt x="214" y="56"/>
                                        </a:lnTo>
                                        <a:lnTo>
                                          <a:pt x="214" y="56"/>
                                        </a:lnTo>
                                        <a:lnTo>
                                          <a:pt x="212" y="60"/>
                                        </a:lnTo>
                                        <a:lnTo>
                                          <a:pt x="212" y="64"/>
                                        </a:lnTo>
                                        <a:lnTo>
                                          <a:pt x="212" y="64"/>
                                        </a:lnTo>
                                        <a:lnTo>
                                          <a:pt x="214" y="66"/>
                                        </a:lnTo>
                                        <a:lnTo>
                                          <a:pt x="214" y="66"/>
                                        </a:lnTo>
                                        <a:lnTo>
                                          <a:pt x="212" y="68"/>
                                        </a:lnTo>
                                        <a:lnTo>
                                          <a:pt x="210" y="68"/>
                                        </a:lnTo>
                                        <a:lnTo>
                                          <a:pt x="210" y="68"/>
                                        </a:lnTo>
                                        <a:lnTo>
                                          <a:pt x="206" y="68"/>
                                        </a:lnTo>
                                        <a:lnTo>
                                          <a:pt x="204" y="68"/>
                                        </a:lnTo>
                                        <a:lnTo>
                                          <a:pt x="202" y="70"/>
                                        </a:lnTo>
                                        <a:lnTo>
                                          <a:pt x="204" y="70"/>
                                        </a:lnTo>
                                        <a:lnTo>
                                          <a:pt x="204" y="70"/>
                                        </a:lnTo>
                                        <a:lnTo>
                                          <a:pt x="204" y="72"/>
                                        </a:lnTo>
                                        <a:lnTo>
                                          <a:pt x="204" y="72"/>
                                        </a:lnTo>
                                        <a:lnTo>
                                          <a:pt x="202" y="74"/>
                                        </a:lnTo>
                                        <a:lnTo>
                                          <a:pt x="202" y="74"/>
                                        </a:lnTo>
                                        <a:lnTo>
                                          <a:pt x="196" y="78"/>
                                        </a:lnTo>
                                        <a:lnTo>
                                          <a:pt x="194" y="78"/>
                                        </a:lnTo>
                                        <a:lnTo>
                                          <a:pt x="192" y="80"/>
                                        </a:lnTo>
                                        <a:lnTo>
                                          <a:pt x="192" y="80"/>
                                        </a:lnTo>
                                        <a:lnTo>
                                          <a:pt x="190" y="88"/>
                                        </a:lnTo>
                                        <a:lnTo>
                                          <a:pt x="188" y="96"/>
                                        </a:lnTo>
                                        <a:lnTo>
                                          <a:pt x="188" y="96"/>
                                        </a:lnTo>
                                        <a:lnTo>
                                          <a:pt x="190" y="98"/>
                                        </a:lnTo>
                                        <a:lnTo>
                                          <a:pt x="190" y="96"/>
                                        </a:lnTo>
                                        <a:lnTo>
                                          <a:pt x="194" y="94"/>
                                        </a:lnTo>
                                        <a:lnTo>
                                          <a:pt x="194" y="94"/>
                                        </a:lnTo>
                                        <a:lnTo>
                                          <a:pt x="198" y="92"/>
                                        </a:lnTo>
                                        <a:lnTo>
                                          <a:pt x="200" y="92"/>
                                        </a:lnTo>
                                        <a:lnTo>
                                          <a:pt x="202" y="92"/>
                                        </a:lnTo>
                                        <a:lnTo>
                                          <a:pt x="202" y="92"/>
                                        </a:lnTo>
                                        <a:lnTo>
                                          <a:pt x="204" y="94"/>
                                        </a:lnTo>
                                        <a:lnTo>
                                          <a:pt x="206" y="98"/>
                                        </a:lnTo>
                                        <a:lnTo>
                                          <a:pt x="206" y="98"/>
                                        </a:lnTo>
                                        <a:lnTo>
                                          <a:pt x="206" y="100"/>
                                        </a:lnTo>
                                        <a:lnTo>
                                          <a:pt x="208" y="102"/>
                                        </a:lnTo>
                                        <a:lnTo>
                                          <a:pt x="208" y="102"/>
                                        </a:lnTo>
                                        <a:lnTo>
                                          <a:pt x="208" y="106"/>
                                        </a:lnTo>
                                        <a:lnTo>
                                          <a:pt x="210" y="110"/>
                                        </a:lnTo>
                                        <a:lnTo>
                                          <a:pt x="210" y="110"/>
                                        </a:lnTo>
                                        <a:lnTo>
                                          <a:pt x="210" y="110"/>
                                        </a:lnTo>
                                        <a:lnTo>
                                          <a:pt x="212" y="110"/>
                                        </a:lnTo>
                                        <a:lnTo>
                                          <a:pt x="212" y="112"/>
                                        </a:lnTo>
                                        <a:lnTo>
                                          <a:pt x="212" y="112"/>
                                        </a:lnTo>
                                        <a:lnTo>
                                          <a:pt x="212" y="112"/>
                                        </a:lnTo>
                                        <a:lnTo>
                                          <a:pt x="206" y="118"/>
                                        </a:lnTo>
                                        <a:lnTo>
                                          <a:pt x="206" y="118"/>
                                        </a:lnTo>
                                        <a:lnTo>
                                          <a:pt x="206" y="120"/>
                                        </a:lnTo>
                                        <a:lnTo>
                                          <a:pt x="208" y="120"/>
                                        </a:lnTo>
                                        <a:lnTo>
                                          <a:pt x="212" y="122"/>
                                        </a:lnTo>
                                        <a:lnTo>
                                          <a:pt x="212" y="124"/>
                                        </a:lnTo>
                                        <a:lnTo>
                                          <a:pt x="212" y="124"/>
                                        </a:lnTo>
                                        <a:lnTo>
                                          <a:pt x="210" y="128"/>
                                        </a:lnTo>
                                        <a:lnTo>
                                          <a:pt x="210" y="132"/>
                                        </a:lnTo>
                                        <a:lnTo>
                                          <a:pt x="210" y="132"/>
                                        </a:lnTo>
                                        <a:lnTo>
                                          <a:pt x="212" y="138"/>
                                        </a:lnTo>
                                        <a:lnTo>
                                          <a:pt x="212" y="138"/>
                                        </a:lnTo>
                                        <a:lnTo>
                                          <a:pt x="214" y="140"/>
                                        </a:lnTo>
                                        <a:lnTo>
                                          <a:pt x="214" y="140"/>
                                        </a:lnTo>
                                        <a:lnTo>
                                          <a:pt x="220" y="140"/>
                                        </a:lnTo>
                                        <a:lnTo>
                                          <a:pt x="222" y="140"/>
                                        </a:lnTo>
                                        <a:lnTo>
                                          <a:pt x="222" y="142"/>
                                        </a:lnTo>
                                        <a:lnTo>
                                          <a:pt x="222" y="142"/>
                                        </a:lnTo>
                                        <a:lnTo>
                                          <a:pt x="220" y="146"/>
                                        </a:lnTo>
                                        <a:lnTo>
                                          <a:pt x="220" y="146"/>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8" name="Germany"/>
                                  <p:cNvSpPr>
                                    <a:spLocks/>
                                  </p:cNvSpPr>
                                  <p:nvPr/>
                                </p:nvSpPr>
                                <p:spPr bwMode="auto">
                                  <a:xfrm>
                                    <a:off x="5942421" y="1741723"/>
                                    <a:ext cx="243012" cy="218508"/>
                                  </a:xfrm>
                                  <a:custGeom>
                                    <a:avLst/>
                                    <a:gdLst/>
                                    <a:ahLst/>
                                    <a:cxnLst>
                                      <a:cxn ang="0">
                                        <a:pos x="48" y="0"/>
                                      </a:cxn>
                                      <a:cxn ang="0">
                                        <a:pos x="50" y="6"/>
                                      </a:cxn>
                                      <a:cxn ang="0">
                                        <a:pos x="46" y="8"/>
                                      </a:cxn>
                                      <a:cxn ang="0">
                                        <a:pos x="50" y="10"/>
                                      </a:cxn>
                                      <a:cxn ang="0">
                                        <a:pos x="52" y="14"/>
                                      </a:cxn>
                                      <a:cxn ang="0">
                                        <a:pos x="60" y="18"/>
                                      </a:cxn>
                                      <a:cxn ang="0">
                                        <a:pos x="58" y="18"/>
                                      </a:cxn>
                                      <a:cxn ang="0">
                                        <a:pos x="48" y="18"/>
                                      </a:cxn>
                                      <a:cxn ang="0">
                                        <a:pos x="46" y="26"/>
                                      </a:cxn>
                                      <a:cxn ang="0">
                                        <a:pos x="40" y="28"/>
                                      </a:cxn>
                                      <a:cxn ang="0">
                                        <a:pos x="38" y="26"/>
                                      </a:cxn>
                                      <a:cxn ang="0">
                                        <a:pos x="36" y="22"/>
                                      </a:cxn>
                                      <a:cxn ang="0">
                                        <a:pos x="22" y="28"/>
                                      </a:cxn>
                                      <a:cxn ang="0">
                                        <a:pos x="18" y="34"/>
                                      </a:cxn>
                                      <a:cxn ang="0">
                                        <a:pos x="18" y="36"/>
                                      </a:cxn>
                                      <a:cxn ang="0">
                                        <a:pos x="16" y="48"/>
                                      </a:cxn>
                                      <a:cxn ang="0">
                                        <a:pos x="14" y="54"/>
                                      </a:cxn>
                                      <a:cxn ang="0">
                                        <a:pos x="2" y="60"/>
                                      </a:cxn>
                                      <a:cxn ang="0">
                                        <a:pos x="0" y="70"/>
                                      </a:cxn>
                                      <a:cxn ang="0">
                                        <a:pos x="0" y="76"/>
                                      </a:cxn>
                                      <a:cxn ang="0">
                                        <a:pos x="0" y="84"/>
                                      </a:cxn>
                                      <a:cxn ang="0">
                                        <a:pos x="4" y="100"/>
                                      </a:cxn>
                                      <a:cxn ang="0">
                                        <a:pos x="16" y="108"/>
                                      </a:cxn>
                                      <a:cxn ang="0">
                                        <a:pos x="30" y="110"/>
                                      </a:cxn>
                                      <a:cxn ang="0">
                                        <a:pos x="32" y="120"/>
                                      </a:cxn>
                                      <a:cxn ang="0">
                                        <a:pos x="28" y="136"/>
                                      </a:cxn>
                                      <a:cxn ang="0">
                                        <a:pos x="42" y="140"/>
                                      </a:cxn>
                                      <a:cxn ang="0">
                                        <a:pos x="48" y="138"/>
                                      </a:cxn>
                                      <a:cxn ang="0">
                                        <a:pos x="68" y="140"/>
                                      </a:cxn>
                                      <a:cxn ang="0">
                                        <a:pos x="88" y="144"/>
                                      </a:cxn>
                                      <a:cxn ang="0">
                                        <a:pos x="94" y="140"/>
                                      </a:cxn>
                                      <a:cxn ang="0">
                                        <a:pos x="104" y="140"/>
                                      </a:cxn>
                                      <a:cxn ang="0">
                                        <a:pos x="114" y="138"/>
                                      </a:cxn>
                                      <a:cxn ang="0">
                                        <a:pos x="122" y="134"/>
                                      </a:cxn>
                                      <a:cxn ang="0">
                                        <a:pos x="126" y="134"/>
                                      </a:cxn>
                                      <a:cxn ang="0">
                                        <a:pos x="132" y="136"/>
                                      </a:cxn>
                                      <a:cxn ang="0">
                                        <a:pos x="132" y="130"/>
                                      </a:cxn>
                                      <a:cxn ang="0">
                                        <a:pos x="132" y="126"/>
                                      </a:cxn>
                                      <a:cxn ang="0">
                                        <a:pos x="138" y="120"/>
                                      </a:cxn>
                                      <a:cxn ang="0">
                                        <a:pos x="144" y="114"/>
                                      </a:cxn>
                                      <a:cxn ang="0">
                                        <a:pos x="128" y="100"/>
                                      </a:cxn>
                                      <a:cxn ang="0">
                                        <a:pos x="116" y="88"/>
                                      </a:cxn>
                                      <a:cxn ang="0">
                                        <a:pos x="124" y="82"/>
                                      </a:cxn>
                                      <a:cxn ang="0">
                                        <a:pos x="146" y="72"/>
                                      </a:cxn>
                                      <a:cxn ang="0">
                                        <a:pos x="156" y="74"/>
                                      </a:cxn>
                                      <a:cxn ang="0">
                                        <a:pos x="160" y="68"/>
                                      </a:cxn>
                                      <a:cxn ang="0">
                                        <a:pos x="154" y="42"/>
                                      </a:cxn>
                                      <a:cxn ang="0">
                                        <a:pos x="148" y="38"/>
                                      </a:cxn>
                                      <a:cxn ang="0">
                                        <a:pos x="142" y="32"/>
                                      </a:cxn>
                                      <a:cxn ang="0">
                                        <a:pos x="146" y="22"/>
                                      </a:cxn>
                                      <a:cxn ang="0">
                                        <a:pos x="140" y="14"/>
                                      </a:cxn>
                                      <a:cxn ang="0">
                                        <a:pos x="136" y="8"/>
                                      </a:cxn>
                                      <a:cxn ang="0">
                                        <a:pos x="130" y="12"/>
                                      </a:cxn>
                                      <a:cxn ang="0">
                                        <a:pos x="118" y="14"/>
                                      </a:cxn>
                                      <a:cxn ang="0">
                                        <a:pos x="122" y="10"/>
                                      </a:cxn>
                                      <a:cxn ang="0">
                                        <a:pos x="110" y="14"/>
                                      </a:cxn>
                                      <a:cxn ang="0">
                                        <a:pos x="98" y="14"/>
                                      </a:cxn>
                                      <a:cxn ang="0">
                                        <a:pos x="86" y="14"/>
                                      </a:cxn>
                                      <a:cxn ang="0">
                                        <a:pos x="78" y="12"/>
                                      </a:cxn>
                                      <a:cxn ang="0">
                                        <a:pos x="76" y="8"/>
                                      </a:cxn>
                                      <a:cxn ang="0">
                                        <a:pos x="68" y="8"/>
                                      </a:cxn>
                                      <a:cxn ang="0">
                                        <a:pos x="62" y="2"/>
                                      </a:cxn>
                                    </a:cxnLst>
                                    <a:rect l="0" t="0" r="r" b="b"/>
                                    <a:pathLst>
                                      <a:path w="160" h="144">
                                        <a:moveTo>
                                          <a:pt x="60" y="0"/>
                                        </a:moveTo>
                                        <a:lnTo>
                                          <a:pt x="60" y="0"/>
                                        </a:lnTo>
                                        <a:lnTo>
                                          <a:pt x="56" y="2"/>
                                        </a:lnTo>
                                        <a:lnTo>
                                          <a:pt x="52" y="0"/>
                                        </a:lnTo>
                                        <a:lnTo>
                                          <a:pt x="48" y="0"/>
                                        </a:lnTo>
                                        <a:lnTo>
                                          <a:pt x="44" y="0"/>
                                        </a:lnTo>
                                        <a:lnTo>
                                          <a:pt x="44" y="0"/>
                                        </a:lnTo>
                                        <a:lnTo>
                                          <a:pt x="48" y="6"/>
                                        </a:lnTo>
                                        <a:lnTo>
                                          <a:pt x="48" y="6"/>
                                        </a:lnTo>
                                        <a:lnTo>
                                          <a:pt x="50" y="6"/>
                                        </a:lnTo>
                                        <a:lnTo>
                                          <a:pt x="48" y="6"/>
                                        </a:lnTo>
                                        <a:lnTo>
                                          <a:pt x="48" y="6"/>
                                        </a:lnTo>
                                        <a:lnTo>
                                          <a:pt x="46" y="8"/>
                                        </a:lnTo>
                                        <a:lnTo>
                                          <a:pt x="46" y="8"/>
                                        </a:lnTo>
                                        <a:lnTo>
                                          <a:pt x="46" y="8"/>
                                        </a:lnTo>
                                        <a:lnTo>
                                          <a:pt x="48" y="8"/>
                                        </a:lnTo>
                                        <a:lnTo>
                                          <a:pt x="50" y="8"/>
                                        </a:lnTo>
                                        <a:lnTo>
                                          <a:pt x="50" y="10"/>
                                        </a:lnTo>
                                        <a:lnTo>
                                          <a:pt x="50" y="10"/>
                                        </a:lnTo>
                                        <a:lnTo>
                                          <a:pt x="50" y="10"/>
                                        </a:lnTo>
                                        <a:lnTo>
                                          <a:pt x="52" y="12"/>
                                        </a:lnTo>
                                        <a:lnTo>
                                          <a:pt x="52" y="12"/>
                                        </a:lnTo>
                                        <a:lnTo>
                                          <a:pt x="54" y="12"/>
                                        </a:lnTo>
                                        <a:lnTo>
                                          <a:pt x="54" y="12"/>
                                        </a:lnTo>
                                        <a:lnTo>
                                          <a:pt x="52" y="14"/>
                                        </a:lnTo>
                                        <a:lnTo>
                                          <a:pt x="52" y="14"/>
                                        </a:lnTo>
                                        <a:lnTo>
                                          <a:pt x="54" y="16"/>
                                        </a:lnTo>
                                        <a:lnTo>
                                          <a:pt x="56" y="16"/>
                                        </a:lnTo>
                                        <a:lnTo>
                                          <a:pt x="56" y="16"/>
                                        </a:lnTo>
                                        <a:lnTo>
                                          <a:pt x="60" y="18"/>
                                        </a:lnTo>
                                        <a:lnTo>
                                          <a:pt x="64" y="22"/>
                                        </a:lnTo>
                                        <a:lnTo>
                                          <a:pt x="64" y="22"/>
                                        </a:lnTo>
                                        <a:lnTo>
                                          <a:pt x="60" y="20"/>
                                        </a:lnTo>
                                        <a:lnTo>
                                          <a:pt x="58" y="18"/>
                                        </a:lnTo>
                                        <a:lnTo>
                                          <a:pt x="58" y="18"/>
                                        </a:lnTo>
                                        <a:lnTo>
                                          <a:pt x="54" y="18"/>
                                        </a:lnTo>
                                        <a:lnTo>
                                          <a:pt x="50" y="16"/>
                                        </a:lnTo>
                                        <a:lnTo>
                                          <a:pt x="50" y="16"/>
                                        </a:lnTo>
                                        <a:lnTo>
                                          <a:pt x="48" y="16"/>
                                        </a:lnTo>
                                        <a:lnTo>
                                          <a:pt x="48" y="18"/>
                                        </a:lnTo>
                                        <a:lnTo>
                                          <a:pt x="46" y="22"/>
                                        </a:lnTo>
                                        <a:lnTo>
                                          <a:pt x="46" y="22"/>
                                        </a:lnTo>
                                        <a:lnTo>
                                          <a:pt x="46" y="24"/>
                                        </a:lnTo>
                                        <a:lnTo>
                                          <a:pt x="46" y="26"/>
                                        </a:lnTo>
                                        <a:lnTo>
                                          <a:pt x="46" y="26"/>
                                        </a:lnTo>
                                        <a:lnTo>
                                          <a:pt x="44" y="24"/>
                                        </a:lnTo>
                                        <a:lnTo>
                                          <a:pt x="40" y="26"/>
                                        </a:lnTo>
                                        <a:lnTo>
                                          <a:pt x="40" y="26"/>
                                        </a:lnTo>
                                        <a:lnTo>
                                          <a:pt x="40" y="26"/>
                                        </a:lnTo>
                                        <a:lnTo>
                                          <a:pt x="40" y="28"/>
                                        </a:lnTo>
                                        <a:lnTo>
                                          <a:pt x="40" y="28"/>
                                        </a:lnTo>
                                        <a:lnTo>
                                          <a:pt x="38" y="28"/>
                                        </a:lnTo>
                                        <a:lnTo>
                                          <a:pt x="38" y="26"/>
                                        </a:lnTo>
                                        <a:lnTo>
                                          <a:pt x="38" y="26"/>
                                        </a:lnTo>
                                        <a:lnTo>
                                          <a:pt x="38" y="26"/>
                                        </a:lnTo>
                                        <a:lnTo>
                                          <a:pt x="38" y="26"/>
                                        </a:lnTo>
                                        <a:lnTo>
                                          <a:pt x="38" y="26"/>
                                        </a:lnTo>
                                        <a:lnTo>
                                          <a:pt x="38" y="24"/>
                                        </a:lnTo>
                                        <a:lnTo>
                                          <a:pt x="38" y="24"/>
                                        </a:lnTo>
                                        <a:lnTo>
                                          <a:pt x="36" y="22"/>
                                        </a:lnTo>
                                        <a:lnTo>
                                          <a:pt x="30" y="24"/>
                                        </a:lnTo>
                                        <a:lnTo>
                                          <a:pt x="30" y="24"/>
                                        </a:lnTo>
                                        <a:lnTo>
                                          <a:pt x="28" y="24"/>
                                        </a:lnTo>
                                        <a:lnTo>
                                          <a:pt x="22" y="28"/>
                                        </a:lnTo>
                                        <a:lnTo>
                                          <a:pt x="22" y="28"/>
                                        </a:lnTo>
                                        <a:lnTo>
                                          <a:pt x="20" y="30"/>
                                        </a:lnTo>
                                        <a:lnTo>
                                          <a:pt x="18" y="30"/>
                                        </a:lnTo>
                                        <a:lnTo>
                                          <a:pt x="18" y="30"/>
                                        </a:lnTo>
                                        <a:lnTo>
                                          <a:pt x="18" y="32"/>
                                        </a:lnTo>
                                        <a:lnTo>
                                          <a:pt x="18" y="34"/>
                                        </a:lnTo>
                                        <a:lnTo>
                                          <a:pt x="18" y="32"/>
                                        </a:lnTo>
                                        <a:lnTo>
                                          <a:pt x="18" y="32"/>
                                        </a:lnTo>
                                        <a:lnTo>
                                          <a:pt x="16" y="34"/>
                                        </a:lnTo>
                                        <a:lnTo>
                                          <a:pt x="18" y="34"/>
                                        </a:lnTo>
                                        <a:lnTo>
                                          <a:pt x="18" y="36"/>
                                        </a:lnTo>
                                        <a:lnTo>
                                          <a:pt x="16" y="38"/>
                                        </a:lnTo>
                                        <a:lnTo>
                                          <a:pt x="16" y="38"/>
                                        </a:lnTo>
                                        <a:lnTo>
                                          <a:pt x="14" y="44"/>
                                        </a:lnTo>
                                        <a:lnTo>
                                          <a:pt x="14" y="46"/>
                                        </a:lnTo>
                                        <a:lnTo>
                                          <a:pt x="16" y="48"/>
                                        </a:lnTo>
                                        <a:lnTo>
                                          <a:pt x="16" y="48"/>
                                        </a:lnTo>
                                        <a:lnTo>
                                          <a:pt x="18" y="48"/>
                                        </a:lnTo>
                                        <a:lnTo>
                                          <a:pt x="18" y="50"/>
                                        </a:lnTo>
                                        <a:lnTo>
                                          <a:pt x="14" y="54"/>
                                        </a:lnTo>
                                        <a:lnTo>
                                          <a:pt x="14" y="54"/>
                                        </a:lnTo>
                                        <a:lnTo>
                                          <a:pt x="10" y="56"/>
                                        </a:lnTo>
                                        <a:lnTo>
                                          <a:pt x="4" y="56"/>
                                        </a:lnTo>
                                        <a:lnTo>
                                          <a:pt x="4" y="56"/>
                                        </a:lnTo>
                                        <a:lnTo>
                                          <a:pt x="2" y="58"/>
                                        </a:lnTo>
                                        <a:lnTo>
                                          <a:pt x="2" y="60"/>
                                        </a:lnTo>
                                        <a:lnTo>
                                          <a:pt x="2" y="60"/>
                                        </a:lnTo>
                                        <a:lnTo>
                                          <a:pt x="2" y="62"/>
                                        </a:lnTo>
                                        <a:lnTo>
                                          <a:pt x="2" y="66"/>
                                        </a:lnTo>
                                        <a:lnTo>
                                          <a:pt x="0" y="68"/>
                                        </a:lnTo>
                                        <a:lnTo>
                                          <a:pt x="0" y="70"/>
                                        </a:lnTo>
                                        <a:lnTo>
                                          <a:pt x="0" y="70"/>
                                        </a:lnTo>
                                        <a:lnTo>
                                          <a:pt x="2" y="72"/>
                                        </a:lnTo>
                                        <a:lnTo>
                                          <a:pt x="0" y="72"/>
                                        </a:lnTo>
                                        <a:lnTo>
                                          <a:pt x="0" y="74"/>
                                        </a:lnTo>
                                        <a:lnTo>
                                          <a:pt x="0" y="76"/>
                                        </a:lnTo>
                                        <a:lnTo>
                                          <a:pt x="0" y="76"/>
                                        </a:lnTo>
                                        <a:lnTo>
                                          <a:pt x="2" y="78"/>
                                        </a:lnTo>
                                        <a:lnTo>
                                          <a:pt x="2" y="80"/>
                                        </a:lnTo>
                                        <a:lnTo>
                                          <a:pt x="0" y="84"/>
                                        </a:lnTo>
                                        <a:lnTo>
                                          <a:pt x="0" y="84"/>
                                        </a:lnTo>
                                        <a:lnTo>
                                          <a:pt x="4" y="88"/>
                                        </a:lnTo>
                                        <a:lnTo>
                                          <a:pt x="4" y="92"/>
                                        </a:lnTo>
                                        <a:lnTo>
                                          <a:pt x="4" y="92"/>
                                        </a:lnTo>
                                        <a:lnTo>
                                          <a:pt x="6" y="94"/>
                                        </a:lnTo>
                                        <a:lnTo>
                                          <a:pt x="4" y="100"/>
                                        </a:lnTo>
                                        <a:lnTo>
                                          <a:pt x="4" y="100"/>
                                        </a:lnTo>
                                        <a:lnTo>
                                          <a:pt x="10" y="102"/>
                                        </a:lnTo>
                                        <a:lnTo>
                                          <a:pt x="10" y="102"/>
                                        </a:lnTo>
                                        <a:lnTo>
                                          <a:pt x="14" y="106"/>
                                        </a:lnTo>
                                        <a:lnTo>
                                          <a:pt x="16" y="108"/>
                                        </a:lnTo>
                                        <a:lnTo>
                                          <a:pt x="18" y="108"/>
                                        </a:lnTo>
                                        <a:lnTo>
                                          <a:pt x="18" y="108"/>
                                        </a:lnTo>
                                        <a:lnTo>
                                          <a:pt x="24" y="108"/>
                                        </a:lnTo>
                                        <a:lnTo>
                                          <a:pt x="30" y="110"/>
                                        </a:lnTo>
                                        <a:lnTo>
                                          <a:pt x="30" y="110"/>
                                        </a:lnTo>
                                        <a:lnTo>
                                          <a:pt x="36" y="112"/>
                                        </a:lnTo>
                                        <a:lnTo>
                                          <a:pt x="36" y="112"/>
                                        </a:lnTo>
                                        <a:lnTo>
                                          <a:pt x="36" y="114"/>
                                        </a:lnTo>
                                        <a:lnTo>
                                          <a:pt x="36" y="114"/>
                                        </a:lnTo>
                                        <a:lnTo>
                                          <a:pt x="32" y="120"/>
                                        </a:lnTo>
                                        <a:lnTo>
                                          <a:pt x="30" y="128"/>
                                        </a:lnTo>
                                        <a:lnTo>
                                          <a:pt x="30" y="128"/>
                                        </a:lnTo>
                                        <a:lnTo>
                                          <a:pt x="28" y="132"/>
                                        </a:lnTo>
                                        <a:lnTo>
                                          <a:pt x="28" y="136"/>
                                        </a:lnTo>
                                        <a:lnTo>
                                          <a:pt x="28" y="136"/>
                                        </a:lnTo>
                                        <a:lnTo>
                                          <a:pt x="30" y="138"/>
                                        </a:lnTo>
                                        <a:lnTo>
                                          <a:pt x="30" y="138"/>
                                        </a:lnTo>
                                        <a:lnTo>
                                          <a:pt x="32" y="138"/>
                                        </a:lnTo>
                                        <a:lnTo>
                                          <a:pt x="32" y="138"/>
                                        </a:lnTo>
                                        <a:lnTo>
                                          <a:pt x="42" y="140"/>
                                        </a:lnTo>
                                        <a:lnTo>
                                          <a:pt x="46" y="140"/>
                                        </a:lnTo>
                                        <a:lnTo>
                                          <a:pt x="48" y="140"/>
                                        </a:lnTo>
                                        <a:lnTo>
                                          <a:pt x="48" y="138"/>
                                        </a:lnTo>
                                        <a:lnTo>
                                          <a:pt x="48" y="138"/>
                                        </a:lnTo>
                                        <a:lnTo>
                                          <a:pt x="48" y="138"/>
                                        </a:lnTo>
                                        <a:lnTo>
                                          <a:pt x="48" y="138"/>
                                        </a:lnTo>
                                        <a:lnTo>
                                          <a:pt x="52" y="138"/>
                                        </a:lnTo>
                                        <a:lnTo>
                                          <a:pt x="66" y="142"/>
                                        </a:lnTo>
                                        <a:lnTo>
                                          <a:pt x="66" y="142"/>
                                        </a:lnTo>
                                        <a:lnTo>
                                          <a:pt x="68" y="140"/>
                                        </a:lnTo>
                                        <a:lnTo>
                                          <a:pt x="72" y="140"/>
                                        </a:lnTo>
                                        <a:lnTo>
                                          <a:pt x="80" y="142"/>
                                        </a:lnTo>
                                        <a:lnTo>
                                          <a:pt x="80" y="142"/>
                                        </a:lnTo>
                                        <a:lnTo>
                                          <a:pt x="86" y="144"/>
                                        </a:lnTo>
                                        <a:lnTo>
                                          <a:pt x="88" y="144"/>
                                        </a:lnTo>
                                        <a:lnTo>
                                          <a:pt x="90" y="142"/>
                                        </a:lnTo>
                                        <a:lnTo>
                                          <a:pt x="90" y="142"/>
                                        </a:lnTo>
                                        <a:lnTo>
                                          <a:pt x="90" y="140"/>
                                        </a:lnTo>
                                        <a:lnTo>
                                          <a:pt x="92" y="140"/>
                                        </a:lnTo>
                                        <a:lnTo>
                                          <a:pt x="94" y="140"/>
                                        </a:lnTo>
                                        <a:lnTo>
                                          <a:pt x="96" y="138"/>
                                        </a:lnTo>
                                        <a:lnTo>
                                          <a:pt x="96" y="138"/>
                                        </a:lnTo>
                                        <a:lnTo>
                                          <a:pt x="96" y="138"/>
                                        </a:lnTo>
                                        <a:lnTo>
                                          <a:pt x="98" y="138"/>
                                        </a:lnTo>
                                        <a:lnTo>
                                          <a:pt x="104" y="140"/>
                                        </a:lnTo>
                                        <a:lnTo>
                                          <a:pt x="104" y="140"/>
                                        </a:lnTo>
                                        <a:lnTo>
                                          <a:pt x="106" y="140"/>
                                        </a:lnTo>
                                        <a:lnTo>
                                          <a:pt x="108" y="140"/>
                                        </a:lnTo>
                                        <a:lnTo>
                                          <a:pt x="114" y="138"/>
                                        </a:lnTo>
                                        <a:lnTo>
                                          <a:pt x="114" y="138"/>
                                        </a:lnTo>
                                        <a:lnTo>
                                          <a:pt x="116" y="136"/>
                                        </a:lnTo>
                                        <a:lnTo>
                                          <a:pt x="118" y="134"/>
                                        </a:lnTo>
                                        <a:lnTo>
                                          <a:pt x="118" y="134"/>
                                        </a:lnTo>
                                        <a:lnTo>
                                          <a:pt x="120" y="134"/>
                                        </a:lnTo>
                                        <a:lnTo>
                                          <a:pt x="122" y="134"/>
                                        </a:lnTo>
                                        <a:lnTo>
                                          <a:pt x="122" y="134"/>
                                        </a:lnTo>
                                        <a:lnTo>
                                          <a:pt x="124" y="134"/>
                                        </a:lnTo>
                                        <a:lnTo>
                                          <a:pt x="124" y="134"/>
                                        </a:lnTo>
                                        <a:lnTo>
                                          <a:pt x="126" y="134"/>
                                        </a:lnTo>
                                        <a:lnTo>
                                          <a:pt x="126" y="134"/>
                                        </a:lnTo>
                                        <a:lnTo>
                                          <a:pt x="128" y="136"/>
                                        </a:lnTo>
                                        <a:lnTo>
                                          <a:pt x="130" y="138"/>
                                        </a:lnTo>
                                        <a:lnTo>
                                          <a:pt x="130" y="138"/>
                                        </a:lnTo>
                                        <a:lnTo>
                                          <a:pt x="132" y="138"/>
                                        </a:lnTo>
                                        <a:lnTo>
                                          <a:pt x="132" y="136"/>
                                        </a:lnTo>
                                        <a:lnTo>
                                          <a:pt x="132" y="134"/>
                                        </a:lnTo>
                                        <a:lnTo>
                                          <a:pt x="132" y="134"/>
                                        </a:lnTo>
                                        <a:lnTo>
                                          <a:pt x="132" y="132"/>
                                        </a:lnTo>
                                        <a:lnTo>
                                          <a:pt x="132" y="132"/>
                                        </a:lnTo>
                                        <a:lnTo>
                                          <a:pt x="132" y="130"/>
                                        </a:lnTo>
                                        <a:lnTo>
                                          <a:pt x="132" y="130"/>
                                        </a:lnTo>
                                        <a:lnTo>
                                          <a:pt x="132" y="130"/>
                                        </a:lnTo>
                                        <a:lnTo>
                                          <a:pt x="130" y="128"/>
                                        </a:lnTo>
                                        <a:lnTo>
                                          <a:pt x="130" y="128"/>
                                        </a:lnTo>
                                        <a:lnTo>
                                          <a:pt x="132" y="126"/>
                                        </a:lnTo>
                                        <a:lnTo>
                                          <a:pt x="132" y="126"/>
                                        </a:lnTo>
                                        <a:lnTo>
                                          <a:pt x="134" y="126"/>
                                        </a:lnTo>
                                        <a:lnTo>
                                          <a:pt x="136" y="124"/>
                                        </a:lnTo>
                                        <a:lnTo>
                                          <a:pt x="138" y="122"/>
                                        </a:lnTo>
                                        <a:lnTo>
                                          <a:pt x="138" y="120"/>
                                        </a:lnTo>
                                        <a:lnTo>
                                          <a:pt x="138" y="120"/>
                                        </a:lnTo>
                                        <a:lnTo>
                                          <a:pt x="140" y="120"/>
                                        </a:lnTo>
                                        <a:lnTo>
                                          <a:pt x="142" y="118"/>
                                        </a:lnTo>
                                        <a:lnTo>
                                          <a:pt x="144" y="114"/>
                                        </a:lnTo>
                                        <a:lnTo>
                                          <a:pt x="144" y="114"/>
                                        </a:lnTo>
                                        <a:lnTo>
                                          <a:pt x="144" y="110"/>
                                        </a:lnTo>
                                        <a:lnTo>
                                          <a:pt x="140" y="108"/>
                                        </a:lnTo>
                                        <a:lnTo>
                                          <a:pt x="140" y="108"/>
                                        </a:lnTo>
                                        <a:lnTo>
                                          <a:pt x="136" y="106"/>
                                        </a:lnTo>
                                        <a:lnTo>
                                          <a:pt x="128" y="100"/>
                                        </a:lnTo>
                                        <a:lnTo>
                                          <a:pt x="128" y="100"/>
                                        </a:lnTo>
                                        <a:lnTo>
                                          <a:pt x="124" y="98"/>
                                        </a:lnTo>
                                        <a:lnTo>
                                          <a:pt x="120" y="94"/>
                                        </a:lnTo>
                                        <a:lnTo>
                                          <a:pt x="120" y="94"/>
                                        </a:lnTo>
                                        <a:lnTo>
                                          <a:pt x="116" y="88"/>
                                        </a:lnTo>
                                        <a:lnTo>
                                          <a:pt x="112" y="84"/>
                                        </a:lnTo>
                                        <a:lnTo>
                                          <a:pt x="112" y="84"/>
                                        </a:lnTo>
                                        <a:lnTo>
                                          <a:pt x="112" y="82"/>
                                        </a:lnTo>
                                        <a:lnTo>
                                          <a:pt x="116" y="82"/>
                                        </a:lnTo>
                                        <a:lnTo>
                                          <a:pt x="124" y="82"/>
                                        </a:lnTo>
                                        <a:lnTo>
                                          <a:pt x="124" y="82"/>
                                        </a:lnTo>
                                        <a:lnTo>
                                          <a:pt x="136" y="78"/>
                                        </a:lnTo>
                                        <a:lnTo>
                                          <a:pt x="136" y="78"/>
                                        </a:lnTo>
                                        <a:lnTo>
                                          <a:pt x="142" y="76"/>
                                        </a:lnTo>
                                        <a:lnTo>
                                          <a:pt x="146" y="72"/>
                                        </a:lnTo>
                                        <a:lnTo>
                                          <a:pt x="146" y="72"/>
                                        </a:lnTo>
                                        <a:lnTo>
                                          <a:pt x="150" y="68"/>
                                        </a:lnTo>
                                        <a:lnTo>
                                          <a:pt x="152" y="70"/>
                                        </a:lnTo>
                                        <a:lnTo>
                                          <a:pt x="152" y="70"/>
                                        </a:lnTo>
                                        <a:lnTo>
                                          <a:pt x="156" y="74"/>
                                        </a:lnTo>
                                        <a:lnTo>
                                          <a:pt x="160" y="74"/>
                                        </a:lnTo>
                                        <a:lnTo>
                                          <a:pt x="160" y="74"/>
                                        </a:lnTo>
                                        <a:lnTo>
                                          <a:pt x="160" y="72"/>
                                        </a:lnTo>
                                        <a:lnTo>
                                          <a:pt x="160" y="68"/>
                                        </a:lnTo>
                                        <a:lnTo>
                                          <a:pt x="160" y="68"/>
                                        </a:lnTo>
                                        <a:lnTo>
                                          <a:pt x="158" y="60"/>
                                        </a:lnTo>
                                        <a:lnTo>
                                          <a:pt x="154" y="50"/>
                                        </a:lnTo>
                                        <a:lnTo>
                                          <a:pt x="154" y="50"/>
                                        </a:lnTo>
                                        <a:lnTo>
                                          <a:pt x="154" y="46"/>
                                        </a:lnTo>
                                        <a:lnTo>
                                          <a:pt x="154" y="42"/>
                                        </a:lnTo>
                                        <a:lnTo>
                                          <a:pt x="154" y="42"/>
                                        </a:lnTo>
                                        <a:lnTo>
                                          <a:pt x="152" y="40"/>
                                        </a:lnTo>
                                        <a:lnTo>
                                          <a:pt x="150" y="40"/>
                                        </a:lnTo>
                                        <a:lnTo>
                                          <a:pt x="148" y="38"/>
                                        </a:lnTo>
                                        <a:lnTo>
                                          <a:pt x="148" y="38"/>
                                        </a:lnTo>
                                        <a:lnTo>
                                          <a:pt x="144" y="36"/>
                                        </a:lnTo>
                                        <a:lnTo>
                                          <a:pt x="142" y="36"/>
                                        </a:lnTo>
                                        <a:lnTo>
                                          <a:pt x="142" y="34"/>
                                        </a:lnTo>
                                        <a:lnTo>
                                          <a:pt x="142" y="34"/>
                                        </a:lnTo>
                                        <a:lnTo>
                                          <a:pt x="142" y="32"/>
                                        </a:lnTo>
                                        <a:lnTo>
                                          <a:pt x="144" y="28"/>
                                        </a:lnTo>
                                        <a:lnTo>
                                          <a:pt x="146" y="26"/>
                                        </a:lnTo>
                                        <a:lnTo>
                                          <a:pt x="146" y="26"/>
                                        </a:lnTo>
                                        <a:lnTo>
                                          <a:pt x="146" y="26"/>
                                        </a:lnTo>
                                        <a:lnTo>
                                          <a:pt x="146" y="22"/>
                                        </a:lnTo>
                                        <a:lnTo>
                                          <a:pt x="146" y="18"/>
                                        </a:lnTo>
                                        <a:lnTo>
                                          <a:pt x="146" y="18"/>
                                        </a:lnTo>
                                        <a:lnTo>
                                          <a:pt x="142" y="16"/>
                                        </a:lnTo>
                                        <a:lnTo>
                                          <a:pt x="140" y="14"/>
                                        </a:lnTo>
                                        <a:lnTo>
                                          <a:pt x="140" y="14"/>
                                        </a:lnTo>
                                        <a:lnTo>
                                          <a:pt x="138" y="12"/>
                                        </a:lnTo>
                                        <a:lnTo>
                                          <a:pt x="138" y="10"/>
                                        </a:lnTo>
                                        <a:lnTo>
                                          <a:pt x="138" y="10"/>
                                        </a:lnTo>
                                        <a:lnTo>
                                          <a:pt x="136" y="8"/>
                                        </a:lnTo>
                                        <a:lnTo>
                                          <a:pt x="136" y="8"/>
                                        </a:lnTo>
                                        <a:lnTo>
                                          <a:pt x="134" y="8"/>
                                        </a:lnTo>
                                        <a:lnTo>
                                          <a:pt x="132" y="10"/>
                                        </a:lnTo>
                                        <a:lnTo>
                                          <a:pt x="132" y="12"/>
                                        </a:lnTo>
                                        <a:lnTo>
                                          <a:pt x="130" y="12"/>
                                        </a:lnTo>
                                        <a:lnTo>
                                          <a:pt x="130" y="12"/>
                                        </a:lnTo>
                                        <a:lnTo>
                                          <a:pt x="128" y="10"/>
                                        </a:lnTo>
                                        <a:lnTo>
                                          <a:pt x="124" y="10"/>
                                        </a:lnTo>
                                        <a:lnTo>
                                          <a:pt x="124" y="10"/>
                                        </a:lnTo>
                                        <a:lnTo>
                                          <a:pt x="118" y="14"/>
                                        </a:lnTo>
                                        <a:lnTo>
                                          <a:pt x="118" y="14"/>
                                        </a:lnTo>
                                        <a:lnTo>
                                          <a:pt x="116" y="14"/>
                                        </a:lnTo>
                                        <a:lnTo>
                                          <a:pt x="118" y="12"/>
                                        </a:lnTo>
                                        <a:lnTo>
                                          <a:pt x="118" y="12"/>
                                        </a:lnTo>
                                        <a:lnTo>
                                          <a:pt x="122" y="10"/>
                                        </a:lnTo>
                                        <a:lnTo>
                                          <a:pt x="122" y="10"/>
                                        </a:lnTo>
                                        <a:lnTo>
                                          <a:pt x="122" y="10"/>
                                        </a:lnTo>
                                        <a:lnTo>
                                          <a:pt x="118" y="10"/>
                                        </a:lnTo>
                                        <a:lnTo>
                                          <a:pt x="118" y="10"/>
                                        </a:lnTo>
                                        <a:lnTo>
                                          <a:pt x="114" y="12"/>
                                        </a:lnTo>
                                        <a:lnTo>
                                          <a:pt x="110" y="14"/>
                                        </a:lnTo>
                                        <a:lnTo>
                                          <a:pt x="110" y="14"/>
                                        </a:lnTo>
                                        <a:lnTo>
                                          <a:pt x="104" y="14"/>
                                        </a:lnTo>
                                        <a:lnTo>
                                          <a:pt x="100" y="14"/>
                                        </a:lnTo>
                                        <a:lnTo>
                                          <a:pt x="100" y="14"/>
                                        </a:lnTo>
                                        <a:lnTo>
                                          <a:pt x="98" y="14"/>
                                        </a:lnTo>
                                        <a:lnTo>
                                          <a:pt x="94" y="16"/>
                                        </a:lnTo>
                                        <a:lnTo>
                                          <a:pt x="94" y="16"/>
                                        </a:lnTo>
                                        <a:lnTo>
                                          <a:pt x="92" y="16"/>
                                        </a:lnTo>
                                        <a:lnTo>
                                          <a:pt x="90" y="16"/>
                                        </a:lnTo>
                                        <a:lnTo>
                                          <a:pt x="86" y="14"/>
                                        </a:lnTo>
                                        <a:lnTo>
                                          <a:pt x="86" y="14"/>
                                        </a:lnTo>
                                        <a:lnTo>
                                          <a:pt x="82" y="14"/>
                                        </a:lnTo>
                                        <a:lnTo>
                                          <a:pt x="78" y="14"/>
                                        </a:lnTo>
                                        <a:lnTo>
                                          <a:pt x="78" y="14"/>
                                        </a:lnTo>
                                        <a:lnTo>
                                          <a:pt x="78" y="12"/>
                                        </a:lnTo>
                                        <a:lnTo>
                                          <a:pt x="80" y="12"/>
                                        </a:lnTo>
                                        <a:lnTo>
                                          <a:pt x="82" y="10"/>
                                        </a:lnTo>
                                        <a:lnTo>
                                          <a:pt x="78" y="8"/>
                                        </a:lnTo>
                                        <a:lnTo>
                                          <a:pt x="78" y="8"/>
                                        </a:lnTo>
                                        <a:lnTo>
                                          <a:pt x="76" y="8"/>
                                        </a:lnTo>
                                        <a:lnTo>
                                          <a:pt x="74" y="6"/>
                                        </a:lnTo>
                                        <a:lnTo>
                                          <a:pt x="74" y="6"/>
                                        </a:lnTo>
                                        <a:lnTo>
                                          <a:pt x="70" y="6"/>
                                        </a:lnTo>
                                        <a:lnTo>
                                          <a:pt x="68" y="8"/>
                                        </a:lnTo>
                                        <a:lnTo>
                                          <a:pt x="68" y="8"/>
                                        </a:lnTo>
                                        <a:lnTo>
                                          <a:pt x="66" y="4"/>
                                        </a:lnTo>
                                        <a:lnTo>
                                          <a:pt x="62" y="6"/>
                                        </a:lnTo>
                                        <a:lnTo>
                                          <a:pt x="62" y="6"/>
                                        </a:lnTo>
                                        <a:lnTo>
                                          <a:pt x="64" y="4"/>
                                        </a:lnTo>
                                        <a:lnTo>
                                          <a:pt x="62" y="2"/>
                                        </a:lnTo>
                                        <a:lnTo>
                                          <a:pt x="60" y="0"/>
                                        </a:lnTo>
                                        <a:lnTo>
                                          <a:pt x="60" y="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9" name="Greece"/>
                                  <p:cNvSpPr>
                                    <a:spLocks/>
                                  </p:cNvSpPr>
                                  <p:nvPr/>
                                </p:nvSpPr>
                                <p:spPr bwMode="auto">
                                  <a:xfrm>
                                    <a:off x="6376804" y="2131457"/>
                                    <a:ext cx="173146" cy="179055"/>
                                  </a:xfrm>
                                  <a:custGeom>
                                    <a:avLst/>
                                    <a:gdLst/>
                                    <a:ahLst/>
                                    <a:cxnLst>
                                      <a:cxn ang="0">
                                        <a:pos x="6" y="50"/>
                                      </a:cxn>
                                      <a:cxn ang="0">
                                        <a:pos x="12" y="58"/>
                                      </a:cxn>
                                      <a:cxn ang="0">
                                        <a:pos x="20" y="66"/>
                                      </a:cxn>
                                      <a:cxn ang="0">
                                        <a:pos x="24" y="64"/>
                                      </a:cxn>
                                      <a:cxn ang="0">
                                        <a:pos x="28" y="64"/>
                                      </a:cxn>
                                      <a:cxn ang="0">
                                        <a:pos x="22" y="68"/>
                                      </a:cxn>
                                      <a:cxn ang="0">
                                        <a:pos x="30" y="74"/>
                                      </a:cxn>
                                      <a:cxn ang="0">
                                        <a:pos x="44" y="74"/>
                                      </a:cxn>
                                      <a:cxn ang="0">
                                        <a:pos x="58" y="78"/>
                                      </a:cxn>
                                      <a:cxn ang="0">
                                        <a:pos x="52" y="80"/>
                                      </a:cxn>
                                      <a:cxn ang="0">
                                        <a:pos x="36" y="78"/>
                                      </a:cxn>
                                      <a:cxn ang="0">
                                        <a:pos x="26" y="82"/>
                                      </a:cxn>
                                      <a:cxn ang="0">
                                        <a:pos x="28" y="92"/>
                                      </a:cxn>
                                      <a:cxn ang="0">
                                        <a:pos x="38" y="98"/>
                                      </a:cxn>
                                      <a:cxn ang="0">
                                        <a:pos x="46" y="110"/>
                                      </a:cxn>
                                      <a:cxn ang="0">
                                        <a:pos x="54" y="110"/>
                                      </a:cxn>
                                      <a:cxn ang="0">
                                        <a:pos x="58" y="114"/>
                                      </a:cxn>
                                      <a:cxn ang="0">
                                        <a:pos x="66" y="118"/>
                                      </a:cxn>
                                      <a:cxn ang="0">
                                        <a:pos x="60" y="102"/>
                                      </a:cxn>
                                      <a:cxn ang="0">
                                        <a:pos x="58" y="96"/>
                                      </a:cxn>
                                      <a:cxn ang="0">
                                        <a:pos x="64" y="98"/>
                                      </a:cxn>
                                      <a:cxn ang="0">
                                        <a:pos x="66" y="92"/>
                                      </a:cxn>
                                      <a:cxn ang="0">
                                        <a:pos x="64" y="86"/>
                                      </a:cxn>
                                      <a:cxn ang="0">
                                        <a:pos x="78" y="90"/>
                                      </a:cxn>
                                      <a:cxn ang="0">
                                        <a:pos x="80" y="80"/>
                                      </a:cxn>
                                      <a:cxn ang="0">
                                        <a:pos x="66" y="70"/>
                                      </a:cxn>
                                      <a:cxn ang="0">
                                        <a:pos x="56" y="64"/>
                                      </a:cxn>
                                      <a:cxn ang="0">
                                        <a:pos x="50" y="58"/>
                                      </a:cxn>
                                      <a:cxn ang="0">
                                        <a:pos x="50" y="50"/>
                                      </a:cxn>
                                      <a:cxn ang="0">
                                        <a:pos x="56" y="54"/>
                                      </a:cxn>
                                      <a:cxn ang="0">
                                        <a:pos x="56" y="46"/>
                                      </a:cxn>
                                      <a:cxn ang="0">
                                        <a:pos x="48" y="36"/>
                                      </a:cxn>
                                      <a:cxn ang="0">
                                        <a:pos x="48" y="30"/>
                                      </a:cxn>
                                      <a:cxn ang="0">
                                        <a:pos x="60" y="34"/>
                                      </a:cxn>
                                      <a:cxn ang="0">
                                        <a:pos x="64" y="36"/>
                                      </a:cxn>
                                      <a:cxn ang="0">
                                        <a:pos x="68" y="38"/>
                                      </a:cxn>
                                      <a:cxn ang="0">
                                        <a:pos x="70" y="36"/>
                                      </a:cxn>
                                      <a:cxn ang="0">
                                        <a:pos x="68" y="28"/>
                                      </a:cxn>
                                      <a:cxn ang="0">
                                        <a:pos x="76" y="24"/>
                                      </a:cxn>
                                      <a:cxn ang="0">
                                        <a:pos x="84" y="20"/>
                                      </a:cxn>
                                      <a:cxn ang="0">
                                        <a:pos x="90" y="22"/>
                                      </a:cxn>
                                      <a:cxn ang="0">
                                        <a:pos x="108" y="22"/>
                                      </a:cxn>
                                      <a:cxn ang="0">
                                        <a:pos x="112" y="10"/>
                                      </a:cxn>
                                      <a:cxn ang="0">
                                        <a:pos x="110" y="2"/>
                                      </a:cxn>
                                      <a:cxn ang="0">
                                        <a:pos x="106" y="6"/>
                                      </a:cxn>
                                      <a:cxn ang="0">
                                        <a:pos x="94" y="6"/>
                                      </a:cxn>
                                      <a:cxn ang="0">
                                        <a:pos x="78" y="4"/>
                                      </a:cxn>
                                      <a:cxn ang="0">
                                        <a:pos x="66" y="6"/>
                                      </a:cxn>
                                      <a:cxn ang="0">
                                        <a:pos x="48" y="10"/>
                                      </a:cxn>
                                      <a:cxn ang="0">
                                        <a:pos x="40" y="10"/>
                                      </a:cxn>
                                      <a:cxn ang="0">
                                        <a:pos x="20" y="18"/>
                                      </a:cxn>
                                      <a:cxn ang="0">
                                        <a:pos x="10" y="30"/>
                                      </a:cxn>
                                      <a:cxn ang="0">
                                        <a:pos x="2" y="44"/>
                                      </a:cxn>
                                    </a:cxnLst>
                                    <a:rect l="0" t="0" r="r" b="b"/>
                                    <a:pathLst>
                                      <a:path w="114" h="118">
                                        <a:moveTo>
                                          <a:pt x="2" y="48"/>
                                        </a:moveTo>
                                        <a:lnTo>
                                          <a:pt x="2" y="48"/>
                                        </a:lnTo>
                                        <a:lnTo>
                                          <a:pt x="0" y="48"/>
                                        </a:lnTo>
                                        <a:lnTo>
                                          <a:pt x="2" y="50"/>
                                        </a:lnTo>
                                        <a:lnTo>
                                          <a:pt x="2" y="50"/>
                                        </a:lnTo>
                                        <a:lnTo>
                                          <a:pt x="6" y="50"/>
                                        </a:lnTo>
                                        <a:lnTo>
                                          <a:pt x="8" y="52"/>
                                        </a:lnTo>
                                        <a:lnTo>
                                          <a:pt x="8" y="54"/>
                                        </a:lnTo>
                                        <a:lnTo>
                                          <a:pt x="8" y="54"/>
                                        </a:lnTo>
                                        <a:lnTo>
                                          <a:pt x="10" y="56"/>
                                        </a:lnTo>
                                        <a:lnTo>
                                          <a:pt x="10" y="56"/>
                                        </a:lnTo>
                                        <a:lnTo>
                                          <a:pt x="12" y="58"/>
                                        </a:lnTo>
                                        <a:lnTo>
                                          <a:pt x="14" y="58"/>
                                        </a:lnTo>
                                        <a:lnTo>
                                          <a:pt x="14" y="58"/>
                                        </a:lnTo>
                                        <a:lnTo>
                                          <a:pt x="16" y="62"/>
                                        </a:lnTo>
                                        <a:lnTo>
                                          <a:pt x="20" y="66"/>
                                        </a:lnTo>
                                        <a:lnTo>
                                          <a:pt x="20" y="66"/>
                                        </a:lnTo>
                                        <a:lnTo>
                                          <a:pt x="20" y="66"/>
                                        </a:lnTo>
                                        <a:lnTo>
                                          <a:pt x="22" y="66"/>
                                        </a:lnTo>
                                        <a:lnTo>
                                          <a:pt x="22" y="62"/>
                                        </a:lnTo>
                                        <a:lnTo>
                                          <a:pt x="22" y="62"/>
                                        </a:lnTo>
                                        <a:lnTo>
                                          <a:pt x="22" y="62"/>
                                        </a:lnTo>
                                        <a:lnTo>
                                          <a:pt x="22" y="62"/>
                                        </a:lnTo>
                                        <a:lnTo>
                                          <a:pt x="24" y="64"/>
                                        </a:lnTo>
                                        <a:lnTo>
                                          <a:pt x="26" y="62"/>
                                        </a:lnTo>
                                        <a:lnTo>
                                          <a:pt x="26" y="62"/>
                                        </a:lnTo>
                                        <a:lnTo>
                                          <a:pt x="26" y="62"/>
                                        </a:lnTo>
                                        <a:lnTo>
                                          <a:pt x="26" y="64"/>
                                        </a:lnTo>
                                        <a:lnTo>
                                          <a:pt x="28" y="64"/>
                                        </a:lnTo>
                                        <a:lnTo>
                                          <a:pt x="28" y="64"/>
                                        </a:lnTo>
                                        <a:lnTo>
                                          <a:pt x="30" y="66"/>
                                        </a:lnTo>
                                        <a:lnTo>
                                          <a:pt x="28" y="66"/>
                                        </a:lnTo>
                                        <a:lnTo>
                                          <a:pt x="28" y="66"/>
                                        </a:lnTo>
                                        <a:lnTo>
                                          <a:pt x="22" y="66"/>
                                        </a:lnTo>
                                        <a:lnTo>
                                          <a:pt x="22" y="68"/>
                                        </a:lnTo>
                                        <a:lnTo>
                                          <a:pt x="22" y="68"/>
                                        </a:lnTo>
                                        <a:lnTo>
                                          <a:pt x="24" y="72"/>
                                        </a:lnTo>
                                        <a:lnTo>
                                          <a:pt x="26" y="74"/>
                                        </a:lnTo>
                                        <a:lnTo>
                                          <a:pt x="26" y="74"/>
                                        </a:lnTo>
                                        <a:lnTo>
                                          <a:pt x="28" y="76"/>
                                        </a:lnTo>
                                        <a:lnTo>
                                          <a:pt x="30" y="74"/>
                                        </a:lnTo>
                                        <a:lnTo>
                                          <a:pt x="30" y="74"/>
                                        </a:lnTo>
                                        <a:lnTo>
                                          <a:pt x="32" y="72"/>
                                        </a:lnTo>
                                        <a:lnTo>
                                          <a:pt x="34" y="74"/>
                                        </a:lnTo>
                                        <a:lnTo>
                                          <a:pt x="38" y="76"/>
                                        </a:lnTo>
                                        <a:lnTo>
                                          <a:pt x="40" y="76"/>
                                        </a:lnTo>
                                        <a:lnTo>
                                          <a:pt x="40" y="76"/>
                                        </a:lnTo>
                                        <a:lnTo>
                                          <a:pt x="44" y="74"/>
                                        </a:lnTo>
                                        <a:lnTo>
                                          <a:pt x="50" y="78"/>
                                        </a:lnTo>
                                        <a:lnTo>
                                          <a:pt x="50" y="78"/>
                                        </a:lnTo>
                                        <a:lnTo>
                                          <a:pt x="54" y="80"/>
                                        </a:lnTo>
                                        <a:lnTo>
                                          <a:pt x="58" y="78"/>
                                        </a:lnTo>
                                        <a:lnTo>
                                          <a:pt x="58" y="78"/>
                                        </a:lnTo>
                                        <a:lnTo>
                                          <a:pt x="58" y="78"/>
                                        </a:lnTo>
                                        <a:lnTo>
                                          <a:pt x="58" y="78"/>
                                        </a:lnTo>
                                        <a:lnTo>
                                          <a:pt x="56" y="80"/>
                                        </a:lnTo>
                                        <a:lnTo>
                                          <a:pt x="58" y="82"/>
                                        </a:lnTo>
                                        <a:lnTo>
                                          <a:pt x="58" y="82"/>
                                        </a:lnTo>
                                        <a:lnTo>
                                          <a:pt x="52" y="80"/>
                                        </a:lnTo>
                                        <a:lnTo>
                                          <a:pt x="52" y="80"/>
                                        </a:lnTo>
                                        <a:lnTo>
                                          <a:pt x="48" y="80"/>
                                        </a:lnTo>
                                        <a:lnTo>
                                          <a:pt x="44" y="78"/>
                                        </a:lnTo>
                                        <a:lnTo>
                                          <a:pt x="44" y="78"/>
                                        </a:lnTo>
                                        <a:lnTo>
                                          <a:pt x="40" y="78"/>
                                        </a:lnTo>
                                        <a:lnTo>
                                          <a:pt x="38" y="78"/>
                                        </a:lnTo>
                                        <a:lnTo>
                                          <a:pt x="36" y="78"/>
                                        </a:lnTo>
                                        <a:lnTo>
                                          <a:pt x="34" y="78"/>
                                        </a:lnTo>
                                        <a:lnTo>
                                          <a:pt x="34" y="78"/>
                                        </a:lnTo>
                                        <a:lnTo>
                                          <a:pt x="32" y="78"/>
                                        </a:lnTo>
                                        <a:lnTo>
                                          <a:pt x="30" y="80"/>
                                        </a:lnTo>
                                        <a:lnTo>
                                          <a:pt x="28" y="82"/>
                                        </a:lnTo>
                                        <a:lnTo>
                                          <a:pt x="26" y="82"/>
                                        </a:lnTo>
                                        <a:lnTo>
                                          <a:pt x="26" y="82"/>
                                        </a:lnTo>
                                        <a:lnTo>
                                          <a:pt x="24" y="84"/>
                                        </a:lnTo>
                                        <a:lnTo>
                                          <a:pt x="26" y="86"/>
                                        </a:lnTo>
                                        <a:lnTo>
                                          <a:pt x="26" y="86"/>
                                        </a:lnTo>
                                        <a:lnTo>
                                          <a:pt x="28" y="88"/>
                                        </a:lnTo>
                                        <a:lnTo>
                                          <a:pt x="28" y="92"/>
                                        </a:lnTo>
                                        <a:lnTo>
                                          <a:pt x="28" y="92"/>
                                        </a:lnTo>
                                        <a:lnTo>
                                          <a:pt x="30" y="90"/>
                                        </a:lnTo>
                                        <a:lnTo>
                                          <a:pt x="32" y="90"/>
                                        </a:lnTo>
                                        <a:lnTo>
                                          <a:pt x="36" y="94"/>
                                        </a:lnTo>
                                        <a:lnTo>
                                          <a:pt x="38" y="98"/>
                                        </a:lnTo>
                                        <a:lnTo>
                                          <a:pt x="38" y="98"/>
                                        </a:lnTo>
                                        <a:lnTo>
                                          <a:pt x="36" y="100"/>
                                        </a:lnTo>
                                        <a:lnTo>
                                          <a:pt x="36" y="100"/>
                                        </a:lnTo>
                                        <a:lnTo>
                                          <a:pt x="34" y="102"/>
                                        </a:lnTo>
                                        <a:lnTo>
                                          <a:pt x="36" y="104"/>
                                        </a:lnTo>
                                        <a:lnTo>
                                          <a:pt x="46" y="110"/>
                                        </a:lnTo>
                                        <a:lnTo>
                                          <a:pt x="46" y="110"/>
                                        </a:lnTo>
                                        <a:lnTo>
                                          <a:pt x="50" y="112"/>
                                        </a:lnTo>
                                        <a:lnTo>
                                          <a:pt x="50" y="112"/>
                                        </a:lnTo>
                                        <a:lnTo>
                                          <a:pt x="52" y="110"/>
                                        </a:lnTo>
                                        <a:lnTo>
                                          <a:pt x="52" y="110"/>
                                        </a:lnTo>
                                        <a:lnTo>
                                          <a:pt x="52" y="108"/>
                                        </a:lnTo>
                                        <a:lnTo>
                                          <a:pt x="54" y="110"/>
                                        </a:lnTo>
                                        <a:lnTo>
                                          <a:pt x="54" y="114"/>
                                        </a:lnTo>
                                        <a:lnTo>
                                          <a:pt x="54" y="114"/>
                                        </a:lnTo>
                                        <a:lnTo>
                                          <a:pt x="56" y="116"/>
                                        </a:lnTo>
                                        <a:lnTo>
                                          <a:pt x="56" y="116"/>
                                        </a:lnTo>
                                        <a:lnTo>
                                          <a:pt x="58" y="116"/>
                                        </a:lnTo>
                                        <a:lnTo>
                                          <a:pt x="58" y="114"/>
                                        </a:lnTo>
                                        <a:lnTo>
                                          <a:pt x="58" y="114"/>
                                        </a:lnTo>
                                        <a:lnTo>
                                          <a:pt x="58" y="112"/>
                                        </a:lnTo>
                                        <a:lnTo>
                                          <a:pt x="60" y="112"/>
                                        </a:lnTo>
                                        <a:lnTo>
                                          <a:pt x="64" y="116"/>
                                        </a:lnTo>
                                        <a:lnTo>
                                          <a:pt x="64" y="116"/>
                                        </a:lnTo>
                                        <a:lnTo>
                                          <a:pt x="66" y="118"/>
                                        </a:lnTo>
                                        <a:lnTo>
                                          <a:pt x="66" y="116"/>
                                        </a:lnTo>
                                        <a:lnTo>
                                          <a:pt x="64" y="112"/>
                                        </a:lnTo>
                                        <a:lnTo>
                                          <a:pt x="64" y="112"/>
                                        </a:lnTo>
                                        <a:lnTo>
                                          <a:pt x="60" y="106"/>
                                        </a:lnTo>
                                        <a:lnTo>
                                          <a:pt x="60" y="106"/>
                                        </a:lnTo>
                                        <a:lnTo>
                                          <a:pt x="60" y="102"/>
                                        </a:lnTo>
                                        <a:lnTo>
                                          <a:pt x="60" y="102"/>
                                        </a:lnTo>
                                        <a:lnTo>
                                          <a:pt x="60" y="100"/>
                                        </a:lnTo>
                                        <a:lnTo>
                                          <a:pt x="60" y="100"/>
                                        </a:lnTo>
                                        <a:lnTo>
                                          <a:pt x="58" y="98"/>
                                        </a:lnTo>
                                        <a:lnTo>
                                          <a:pt x="56" y="96"/>
                                        </a:lnTo>
                                        <a:lnTo>
                                          <a:pt x="58" y="96"/>
                                        </a:lnTo>
                                        <a:lnTo>
                                          <a:pt x="58" y="96"/>
                                        </a:lnTo>
                                        <a:lnTo>
                                          <a:pt x="60" y="98"/>
                                        </a:lnTo>
                                        <a:lnTo>
                                          <a:pt x="62" y="98"/>
                                        </a:lnTo>
                                        <a:lnTo>
                                          <a:pt x="62" y="98"/>
                                        </a:lnTo>
                                        <a:lnTo>
                                          <a:pt x="62" y="100"/>
                                        </a:lnTo>
                                        <a:lnTo>
                                          <a:pt x="64" y="98"/>
                                        </a:lnTo>
                                        <a:lnTo>
                                          <a:pt x="66" y="96"/>
                                        </a:lnTo>
                                        <a:lnTo>
                                          <a:pt x="66" y="96"/>
                                        </a:lnTo>
                                        <a:lnTo>
                                          <a:pt x="68" y="94"/>
                                        </a:lnTo>
                                        <a:lnTo>
                                          <a:pt x="68" y="94"/>
                                        </a:lnTo>
                                        <a:lnTo>
                                          <a:pt x="66" y="92"/>
                                        </a:lnTo>
                                        <a:lnTo>
                                          <a:pt x="66" y="92"/>
                                        </a:lnTo>
                                        <a:lnTo>
                                          <a:pt x="64" y="90"/>
                                        </a:lnTo>
                                        <a:lnTo>
                                          <a:pt x="64" y="88"/>
                                        </a:lnTo>
                                        <a:lnTo>
                                          <a:pt x="64" y="88"/>
                                        </a:lnTo>
                                        <a:lnTo>
                                          <a:pt x="64" y="88"/>
                                        </a:lnTo>
                                        <a:lnTo>
                                          <a:pt x="62" y="86"/>
                                        </a:lnTo>
                                        <a:lnTo>
                                          <a:pt x="64" y="86"/>
                                        </a:lnTo>
                                        <a:lnTo>
                                          <a:pt x="70" y="86"/>
                                        </a:lnTo>
                                        <a:lnTo>
                                          <a:pt x="70" y="86"/>
                                        </a:lnTo>
                                        <a:lnTo>
                                          <a:pt x="74" y="84"/>
                                        </a:lnTo>
                                        <a:lnTo>
                                          <a:pt x="76" y="86"/>
                                        </a:lnTo>
                                        <a:lnTo>
                                          <a:pt x="76" y="86"/>
                                        </a:lnTo>
                                        <a:lnTo>
                                          <a:pt x="78" y="90"/>
                                        </a:lnTo>
                                        <a:lnTo>
                                          <a:pt x="80" y="90"/>
                                        </a:lnTo>
                                        <a:lnTo>
                                          <a:pt x="80" y="88"/>
                                        </a:lnTo>
                                        <a:lnTo>
                                          <a:pt x="80" y="88"/>
                                        </a:lnTo>
                                        <a:lnTo>
                                          <a:pt x="82" y="84"/>
                                        </a:lnTo>
                                        <a:lnTo>
                                          <a:pt x="80" y="80"/>
                                        </a:lnTo>
                                        <a:lnTo>
                                          <a:pt x="80" y="80"/>
                                        </a:lnTo>
                                        <a:lnTo>
                                          <a:pt x="76" y="76"/>
                                        </a:lnTo>
                                        <a:lnTo>
                                          <a:pt x="72" y="74"/>
                                        </a:lnTo>
                                        <a:lnTo>
                                          <a:pt x="72" y="74"/>
                                        </a:lnTo>
                                        <a:lnTo>
                                          <a:pt x="68" y="74"/>
                                        </a:lnTo>
                                        <a:lnTo>
                                          <a:pt x="66" y="70"/>
                                        </a:lnTo>
                                        <a:lnTo>
                                          <a:pt x="66" y="70"/>
                                        </a:lnTo>
                                        <a:lnTo>
                                          <a:pt x="62" y="68"/>
                                        </a:lnTo>
                                        <a:lnTo>
                                          <a:pt x="56" y="68"/>
                                        </a:lnTo>
                                        <a:lnTo>
                                          <a:pt x="56" y="68"/>
                                        </a:lnTo>
                                        <a:lnTo>
                                          <a:pt x="56" y="68"/>
                                        </a:lnTo>
                                        <a:lnTo>
                                          <a:pt x="56" y="66"/>
                                        </a:lnTo>
                                        <a:lnTo>
                                          <a:pt x="56" y="64"/>
                                        </a:lnTo>
                                        <a:lnTo>
                                          <a:pt x="56" y="62"/>
                                        </a:lnTo>
                                        <a:lnTo>
                                          <a:pt x="56" y="62"/>
                                        </a:lnTo>
                                        <a:lnTo>
                                          <a:pt x="56" y="60"/>
                                        </a:lnTo>
                                        <a:lnTo>
                                          <a:pt x="54" y="58"/>
                                        </a:lnTo>
                                        <a:lnTo>
                                          <a:pt x="54" y="58"/>
                                        </a:lnTo>
                                        <a:lnTo>
                                          <a:pt x="50" y="58"/>
                                        </a:lnTo>
                                        <a:lnTo>
                                          <a:pt x="52" y="56"/>
                                        </a:lnTo>
                                        <a:lnTo>
                                          <a:pt x="52" y="56"/>
                                        </a:lnTo>
                                        <a:lnTo>
                                          <a:pt x="54" y="56"/>
                                        </a:lnTo>
                                        <a:lnTo>
                                          <a:pt x="52" y="52"/>
                                        </a:lnTo>
                                        <a:lnTo>
                                          <a:pt x="52" y="52"/>
                                        </a:lnTo>
                                        <a:lnTo>
                                          <a:pt x="50" y="50"/>
                                        </a:lnTo>
                                        <a:lnTo>
                                          <a:pt x="52" y="50"/>
                                        </a:lnTo>
                                        <a:lnTo>
                                          <a:pt x="54" y="50"/>
                                        </a:lnTo>
                                        <a:lnTo>
                                          <a:pt x="54" y="50"/>
                                        </a:lnTo>
                                        <a:lnTo>
                                          <a:pt x="56" y="52"/>
                                        </a:lnTo>
                                        <a:lnTo>
                                          <a:pt x="56" y="54"/>
                                        </a:lnTo>
                                        <a:lnTo>
                                          <a:pt x="56" y="54"/>
                                        </a:lnTo>
                                        <a:lnTo>
                                          <a:pt x="56" y="56"/>
                                        </a:lnTo>
                                        <a:lnTo>
                                          <a:pt x="58" y="56"/>
                                        </a:lnTo>
                                        <a:lnTo>
                                          <a:pt x="58" y="56"/>
                                        </a:lnTo>
                                        <a:lnTo>
                                          <a:pt x="60" y="54"/>
                                        </a:lnTo>
                                        <a:lnTo>
                                          <a:pt x="58" y="52"/>
                                        </a:lnTo>
                                        <a:lnTo>
                                          <a:pt x="56" y="46"/>
                                        </a:lnTo>
                                        <a:lnTo>
                                          <a:pt x="56" y="46"/>
                                        </a:lnTo>
                                        <a:lnTo>
                                          <a:pt x="52" y="44"/>
                                        </a:lnTo>
                                        <a:lnTo>
                                          <a:pt x="50" y="42"/>
                                        </a:lnTo>
                                        <a:lnTo>
                                          <a:pt x="50" y="42"/>
                                        </a:lnTo>
                                        <a:lnTo>
                                          <a:pt x="48" y="38"/>
                                        </a:lnTo>
                                        <a:lnTo>
                                          <a:pt x="48" y="36"/>
                                        </a:lnTo>
                                        <a:lnTo>
                                          <a:pt x="48" y="36"/>
                                        </a:lnTo>
                                        <a:lnTo>
                                          <a:pt x="48" y="34"/>
                                        </a:lnTo>
                                        <a:lnTo>
                                          <a:pt x="48" y="32"/>
                                        </a:lnTo>
                                        <a:lnTo>
                                          <a:pt x="48" y="30"/>
                                        </a:lnTo>
                                        <a:lnTo>
                                          <a:pt x="48" y="30"/>
                                        </a:lnTo>
                                        <a:lnTo>
                                          <a:pt x="48" y="30"/>
                                        </a:lnTo>
                                        <a:lnTo>
                                          <a:pt x="52" y="30"/>
                                        </a:lnTo>
                                        <a:lnTo>
                                          <a:pt x="52" y="32"/>
                                        </a:lnTo>
                                        <a:lnTo>
                                          <a:pt x="52" y="32"/>
                                        </a:lnTo>
                                        <a:lnTo>
                                          <a:pt x="54" y="34"/>
                                        </a:lnTo>
                                        <a:lnTo>
                                          <a:pt x="56" y="34"/>
                                        </a:lnTo>
                                        <a:lnTo>
                                          <a:pt x="60" y="34"/>
                                        </a:lnTo>
                                        <a:lnTo>
                                          <a:pt x="60" y="34"/>
                                        </a:lnTo>
                                        <a:lnTo>
                                          <a:pt x="60" y="36"/>
                                        </a:lnTo>
                                        <a:lnTo>
                                          <a:pt x="60" y="38"/>
                                        </a:lnTo>
                                        <a:lnTo>
                                          <a:pt x="60" y="38"/>
                                        </a:lnTo>
                                        <a:lnTo>
                                          <a:pt x="64" y="38"/>
                                        </a:lnTo>
                                        <a:lnTo>
                                          <a:pt x="64" y="36"/>
                                        </a:lnTo>
                                        <a:lnTo>
                                          <a:pt x="64" y="36"/>
                                        </a:lnTo>
                                        <a:lnTo>
                                          <a:pt x="64" y="36"/>
                                        </a:lnTo>
                                        <a:lnTo>
                                          <a:pt x="66" y="38"/>
                                        </a:lnTo>
                                        <a:lnTo>
                                          <a:pt x="66" y="38"/>
                                        </a:lnTo>
                                        <a:lnTo>
                                          <a:pt x="68" y="38"/>
                                        </a:lnTo>
                                        <a:lnTo>
                                          <a:pt x="68" y="38"/>
                                        </a:lnTo>
                                        <a:lnTo>
                                          <a:pt x="66" y="34"/>
                                        </a:lnTo>
                                        <a:lnTo>
                                          <a:pt x="66" y="34"/>
                                        </a:lnTo>
                                        <a:lnTo>
                                          <a:pt x="66" y="34"/>
                                        </a:lnTo>
                                        <a:lnTo>
                                          <a:pt x="66" y="34"/>
                                        </a:lnTo>
                                        <a:lnTo>
                                          <a:pt x="70" y="36"/>
                                        </a:lnTo>
                                        <a:lnTo>
                                          <a:pt x="70" y="36"/>
                                        </a:lnTo>
                                        <a:lnTo>
                                          <a:pt x="72" y="36"/>
                                        </a:lnTo>
                                        <a:lnTo>
                                          <a:pt x="72" y="36"/>
                                        </a:lnTo>
                                        <a:lnTo>
                                          <a:pt x="70" y="32"/>
                                        </a:lnTo>
                                        <a:lnTo>
                                          <a:pt x="70" y="32"/>
                                        </a:lnTo>
                                        <a:lnTo>
                                          <a:pt x="68" y="30"/>
                                        </a:lnTo>
                                        <a:lnTo>
                                          <a:pt x="68" y="28"/>
                                        </a:lnTo>
                                        <a:lnTo>
                                          <a:pt x="68" y="28"/>
                                        </a:lnTo>
                                        <a:lnTo>
                                          <a:pt x="70" y="26"/>
                                        </a:lnTo>
                                        <a:lnTo>
                                          <a:pt x="72" y="26"/>
                                        </a:lnTo>
                                        <a:lnTo>
                                          <a:pt x="74" y="26"/>
                                        </a:lnTo>
                                        <a:lnTo>
                                          <a:pt x="76" y="24"/>
                                        </a:lnTo>
                                        <a:lnTo>
                                          <a:pt x="76" y="24"/>
                                        </a:lnTo>
                                        <a:lnTo>
                                          <a:pt x="76" y="22"/>
                                        </a:lnTo>
                                        <a:lnTo>
                                          <a:pt x="78" y="22"/>
                                        </a:lnTo>
                                        <a:lnTo>
                                          <a:pt x="82" y="24"/>
                                        </a:lnTo>
                                        <a:lnTo>
                                          <a:pt x="82" y="22"/>
                                        </a:lnTo>
                                        <a:lnTo>
                                          <a:pt x="82" y="22"/>
                                        </a:lnTo>
                                        <a:lnTo>
                                          <a:pt x="84" y="20"/>
                                        </a:lnTo>
                                        <a:lnTo>
                                          <a:pt x="86" y="20"/>
                                        </a:lnTo>
                                        <a:lnTo>
                                          <a:pt x="88" y="20"/>
                                        </a:lnTo>
                                        <a:lnTo>
                                          <a:pt x="88" y="22"/>
                                        </a:lnTo>
                                        <a:lnTo>
                                          <a:pt x="88" y="22"/>
                                        </a:lnTo>
                                        <a:lnTo>
                                          <a:pt x="88" y="22"/>
                                        </a:lnTo>
                                        <a:lnTo>
                                          <a:pt x="90" y="22"/>
                                        </a:lnTo>
                                        <a:lnTo>
                                          <a:pt x="96" y="22"/>
                                        </a:lnTo>
                                        <a:lnTo>
                                          <a:pt x="96" y="22"/>
                                        </a:lnTo>
                                        <a:lnTo>
                                          <a:pt x="100" y="22"/>
                                        </a:lnTo>
                                        <a:lnTo>
                                          <a:pt x="104" y="22"/>
                                        </a:lnTo>
                                        <a:lnTo>
                                          <a:pt x="108" y="22"/>
                                        </a:lnTo>
                                        <a:lnTo>
                                          <a:pt x="108" y="22"/>
                                        </a:lnTo>
                                        <a:lnTo>
                                          <a:pt x="110" y="18"/>
                                        </a:lnTo>
                                        <a:lnTo>
                                          <a:pt x="110" y="16"/>
                                        </a:lnTo>
                                        <a:lnTo>
                                          <a:pt x="108" y="12"/>
                                        </a:lnTo>
                                        <a:lnTo>
                                          <a:pt x="108" y="12"/>
                                        </a:lnTo>
                                        <a:lnTo>
                                          <a:pt x="110" y="10"/>
                                        </a:lnTo>
                                        <a:lnTo>
                                          <a:pt x="112" y="10"/>
                                        </a:lnTo>
                                        <a:lnTo>
                                          <a:pt x="112" y="8"/>
                                        </a:lnTo>
                                        <a:lnTo>
                                          <a:pt x="114" y="6"/>
                                        </a:lnTo>
                                        <a:lnTo>
                                          <a:pt x="114" y="6"/>
                                        </a:lnTo>
                                        <a:lnTo>
                                          <a:pt x="114" y="4"/>
                                        </a:lnTo>
                                        <a:lnTo>
                                          <a:pt x="114" y="4"/>
                                        </a:lnTo>
                                        <a:lnTo>
                                          <a:pt x="110" y="2"/>
                                        </a:lnTo>
                                        <a:lnTo>
                                          <a:pt x="110" y="2"/>
                                        </a:lnTo>
                                        <a:lnTo>
                                          <a:pt x="106" y="0"/>
                                        </a:lnTo>
                                        <a:lnTo>
                                          <a:pt x="106" y="4"/>
                                        </a:lnTo>
                                        <a:lnTo>
                                          <a:pt x="106" y="4"/>
                                        </a:lnTo>
                                        <a:lnTo>
                                          <a:pt x="106" y="4"/>
                                        </a:lnTo>
                                        <a:lnTo>
                                          <a:pt x="106" y="6"/>
                                        </a:lnTo>
                                        <a:lnTo>
                                          <a:pt x="102" y="6"/>
                                        </a:lnTo>
                                        <a:lnTo>
                                          <a:pt x="98" y="4"/>
                                        </a:lnTo>
                                        <a:lnTo>
                                          <a:pt x="96" y="6"/>
                                        </a:lnTo>
                                        <a:lnTo>
                                          <a:pt x="96" y="6"/>
                                        </a:lnTo>
                                        <a:lnTo>
                                          <a:pt x="96" y="6"/>
                                        </a:lnTo>
                                        <a:lnTo>
                                          <a:pt x="94" y="6"/>
                                        </a:lnTo>
                                        <a:lnTo>
                                          <a:pt x="88" y="6"/>
                                        </a:lnTo>
                                        <a:lnTo>
                                          <a:pt x="88" y="6"/>
                                        </a:lnTo>
                                        <a:lnTo>
                                          <a:pt x="86" y="6"/>
                                        </a:lnTo>
                                        <a:lnTo>
                                          <a:pt x="82" y="4"/>
                                        </a:lnTo>
                                        <a:lnTo>
                                          <a:pt x="82" y="4"/>
                                        </a:lnTo>
                                        <a:lnTo>
                                          <a:pt x="78" y="4"/>
                                        </a:lnTo>
                                        <a:lnTo>
                                          <a:pt x="74" y="4"/>
                                        </a:lnTo>
                                        <a:lnTo>
                                          <a:pt x="74" y="4"/>
                                        </a:lnTo>
                                        <a:lnTo>
                                          <a:pt x="72" y="2"/>
                                        </a:lnTo>
                                        <a:lnTo>
                                          <a:pt x="70" y="2"/>
                                        </a:lnTo>
                                        <a:lnTo>
                                          <a:pt x="66" y="6"/>
                                        </a:lnTo>
                                        <a:lnTo>
                                          <a:pt x="66" y="6"/>
                                        </a:lnTo>
                                        <a:lnTo>
                                          <a:pt x="64" y="6"/>
                                        </a:lnTo>
                                        <a:lnTo>
                                          <a:pt x="60" y="6"/>
                                        </a:lnTo>
                                        <a:lnTo>
                                          <a:pt x="52" y="6"/>
                                        </a:lnTo>
                                        <a:lnTo>
                                          <a:pt x="52" y="6"/>
                                        </a:lnTo>
                                        <a:lnTo>
                                          <a:pt x="50" y="8"/>
                                        </a:lnTo>
                                        <a:lnTo>
                                          <a:pt x="48" y="10"/>
                                        </a:lnTo>
                                        <a:lnTo>
                                          <a:pt x="48" y="10"/>
                                        </a:lnTo>
                                        <a:lnTo>
                                          <a:pt x="48" y="12"/>
                                        </a:lnTo>
                                        <a:lnTo>
                                          <a:pt x="46" y="12"/>
                                        </a:lnTo>
                                        <a:lnTo>
                                          <a:pt x="42" y="10"/>
                                        </a:lnTo>
                                        <a:lnTo>
                                          <a:pt x="42" y="10"/>
                                        </a:lnTo>
                                        <a:lnTo>
                                          <a:pt x="40" y="10"/>
                                        </a:lnTo>
                                        <a:lnTo>
                                          <a:pt x="38" y="10"/>
                                        </a:lnTo>
                                        <a:lnTo>
                                          <a:pt x="36" y="14"/>
                                        </a:lnTo>
                                        <a:lnTo>
                                          <a:pt x="36" y="14"/>
                                        </a:lnTo>
                                        <a:lnTo>
                                          <a:pt x="32" y="18"/>
                                        </a:lnTo>
                                        <a:lnTo>
                                          <a:pt x="28" y="18"/>
                                        </a:lnTo>
                                        <a:lnTo>
                                          <a:pt x="20" y="18"/>
                                        </a:lnTo>
                                        <a:lnTo>
                                          <a:pt x="20" y="18"/>
                                        </a:lnTo>
                                        <a:lnTo>
                                          <a:pt x="16" y="18"/>
                                        </a:lnTo>
                                        <a:lnTo>
                                          <a:pt x="12" y="22"/>
                                        </a:lnTo>
                                        <a:lnTo>
                                          <a:pt x="12" y="22"/>
                                        </a:lnTo>
                                        <a:lnTo>
                                          <a:pt x="12" y="26"/>
                                        </a:lnTo>
                                        <a:lnTo>
                                          <a:pt x="10" y="30"/>
                                        </a:lnTo>
                                        <a:lnTo>
                                          <a:pt x="8" y="36"/>
                                        </a:lnTo>
                                        <a:lnTo>
                                          <a:pt x="8" y="36"/>
                                        </a:lnTo>
                                        <a:lnTo>
                                          <a:pt x="6" y="42"/>
                                        </a:lnTo>
                                        <a:lnTo>
                                          <a:pt x="2" y="44"/>
                                        </a:lnTo>
                                        <a:lnTo>
                                          <a:pt x="2" y="44"/>
                                        </a:lnTo>
                                        <a:lnTo>
                                          <a:pt x="2" y="44"/>
                                        </a:lnTo>
                                        <a:lnTo>
                                          <a:pt x="2" y="46"/>
                                        </a:lnTo>
                                        <a:lnTo>
                                          <a:pt x="2" y="46"/>
                                        </a:lnTo>
                                        <a:lnTo>
                                          <a:pt x="2" y="48"/>
                                        </a:lnTo>
                                        <a:lnTo>
                                          <a:pt x="2" y="4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3" name="Ireland"/>
                                  <p:cNvSpPr>
                                    <a:spLocks/>
                                  </p:cNvSpPr>
                                  <p:nvPr/>
                                </p:nvSpPr>
                                <p:spPr bwMode="auto">
                                  <a:xfrm>
                                    <a:off x="5517150" y="1721390"/>
                                    <a:ext cx="115431" cy="106219"/>
                                  </a:xfrm>
                                  <a:custGeom>
                                    <a:avLst/>
                                    <a:gdLst/>
                                    <a:ahLst/>
                                    <a:cxnLst>
                                      <a:cxn ang="0">
                                        <a:pos x="66" y="2"/>
                                      </a:cxn>
                                      <a:cxn ang="0">
                                        <a:pos x="58" y="2"/>
                                      </a:cxn>
                                      <a:cxn ang="0">
                                        <a:pos x="56" y="4"/>
                                      </a:cxn>
                                      <a:cxn ang="0">
                                        <a:pos x="50" y="2"/>
                                      </a:cxn>
                                      <a:cxn ang="0">
                                        <a:pos x="44" y="4"/>
                                      </a:cxn>
                                      <a:cxn ang="0">
                                        <a:pos x="42" y="8"/>
                                      </a:cxn>
                                      <a:cxn ang="0">
                                        <a:pos x="36" y="10"/>
                                      </a:cxn>
                                      <a:cxn ang="0">
                                        <a:pos x="44" y="14"/>
                                      </a:cxn>
                                      <a:cxn ang="0">
                                        <a:pos x="42" y="16"/>
                                      </a:cxn>
                                      <a:cxn ang="0">
                                        <a:pos x="38" y="20"/>
                                      </a:cxn>
                                      <a:cxn ang="0">
                                        <a:pos x="32" y="18"/>
                                      </a:cxn>
                                      <a:cxn ang="0">
                                        <a:pos x="20" y="18"/>
                                      </a:cxn>
                                      <a:cxn ang="0">
                                        <a:pos x="16" y="20"/>
                                      </a:cxn>
                                      <a:cxn ang="0">
                                        <a:pos x="14" y="22"/>
                                      </a:cxn>
                                      <a:cxn ang="0">
                                        <a:pos x="14" y="24"/>
                                      </a:cxn>
                                      <a:cxn ang="0">
                                        <a:pos x="18" y="28"/>
                                      </a:cxn>
                                      <a:cxn ang="0">
                                        <a:pos x="16" y="30"/>
                                      </a:cxn>
                                      <a:cxn ang="0">
                                        <a:pos x="12" y="32"/>
                                      </a:cxn>
                                      <a:cxn ang="0">
                                        <a:pos x="10" y="34"/>
                                      </a:cxn>
                                      <a:cxn ang="0">
                                        <a:pos x="14" y="36"/>
                                      </a:cxn>
                                      <a:cxn ang="0">
                                        <a:pos x="20" y="38"/>
                                      </a:cxn>
                                      <a:cxn ang="0">
                                        <a:pos x="28" y="38"/>
                                      </a:cxn>
                                      <a:cxn ang="0">
                                        <a:pos x="22" y="42"/>
                                      </a:cxn>
                                      <a:cxn ang="0">
                                        <a:pos x="20" y="46"/>
                                      </a:cxn>
                                      <a:cxn ang="0">
                                        <a:pos x="14" y="48"/>
                                      </a:cxn>
                                      <a:cxn ang="0">
                                        <a:pos x="20" y="50"/>
                                      </a:cxn>
                                      <a:cxn ang="0">
                                        <a:pos x="28" y="46"/>
                                      </a:cxn>
                                      <a:cxn ang="0">
                                        <a:pos x="32" y="48"/>
                                      </a:cxn>
                                      <a:cxn ang="0">
                                        <a:pos x="14" y="52"/>
                                      </a:cxn>
                                      <a:cxn ang="0">
                                        <a:pos x="14" y="56"/>
                                      </a:cxn>
                                      <a:cxn ang="0">
                                        <a:pos x="8" y="56"/>
                                      </a:cxn>
                                      <a:cxn ang="0">
                                        <a:pos x="2" y="58"/>
                                      </a:cxn>
                                      <a:cxn ang="0">
                                        <a:pos x="14" y="58"/>
                                      </a:cxn>
                                      <a:cxn ang="0">
                                        <a:pos x="0" y="62"/>
                                      </a:cxn>
                                      <a:cxn ang="0">
                                        <a:pos x="6" y="64"/>
                                      </a:cxn>
                                      <a:cxn ang="0">
                                        <a:pos x="6" y="66"/>
                                      </a:cxn>
                                      <a:cxn ang="0">
                                        <a:pos x="10" y="66"/>
                                      </a:cxn>
                                      <a:cxn ang="0">
                                        <a:pos x="12" y="68"/>
                                      </a:cxn>
                                      <a:cxn ang="0">
                                        <a:pos x="12" y="70"/>
                                      </a:cxn>
                                      <a:cxn ang="0">
                                        <a:pos x="26" y="68"/>
                                      </a:cxn>
                                      <a:cxn ang="0">
                                        <a:pos x="36" y="66"/>
                                      </a:cxn>
                                      <a:cxn ang="0">
                                        <a:pos x="42" y="64"/>
                                      </a:cxn>
                                      <a:cxn ang="0">
                                        <a:pos x="48" y="60"/>
                                      </a:cxn>
                                      <a:cxn ang="0">
                                        <a:pos x="58" y="60"/>
                                      </a:cxn>
                                      <a:cxn ang="0">
                                        <a:pos x="60" y="60"/>
                                      </a:cxn>
                                      <a:cxn ang="0">
                                        <a:pos x="68" y="60"/>
                                      </a:cxn>
                                      <a:cxn ang="0">
                                        <a:pos x="70" y="56"/>
                                      </a:cxn>
                                      <a:cxn ang="0">
                                        <a:pos x="76" y="50"/>
                                      </a:cxn>
                                      <a:cxn ang="0">
                                        <a:pos x="76" y="44"/>
                                      </a:cxn>
                                      <a:cxn ang="0">
                                        <a:pos x="74" y="38"/>
                                      </a:cxn>
                                      <a:cxn ang="0">
                                        <a:pos x="76" y="34"/>
                                      </a:cxn>
                                      <a:cxn ang="0">
                                        <a:pos x="74" y="30"/>
                                      </a:cxn>
                                      <a:cxn ang="0">
                                        <a:pos x="74" y="26"/>
                                      </a:cxn>
                                      <a:cxn ang="0">
                                        <a:pos x="72" y="24"/>
                                      </a:cxn>
                                      <a:cxn ang="0">
                                        <a:pos x="66" y="20"/>
                                      </a:cxn>
                                      <a:cxn ang="0">
                                        <a:pos x="58" y="20"/>
                                      </a:cxn>
                                      <a:cxn ang="0">
                                        <a:pos x="52" y="12"/>
                                      </a:cxn>
                                      <a:cxn ang="0">
                                        <a:pos x="56" y="8"/>
                                      </a:cxn>
                                    </a:cxnLst>
                                    <a:rect l="0" t="0" r="r" b="b"/>
                                    <a:pathLst>
                                      <a:path w="76" h="70">
                                        <a:moveTo>
                                          <a:pt x="60" y="6"/>
                                        </a:moveTo>
                                        <a:lnTo>
                                          <a:pt x="60" y="6"/>
                                        </a:lnTo>
                                        <a:lnTo>
                                          <a:pt x="64" y="4"/>
                                        </a:lnTo>
                                        <a:lnTo>
                                          <a:pt x="64" y="4"/>
                                        </a:lnTo>
                                        <a:lnTo>
                                          <a:pt x="66" y="2"/>
                                        </a:lnTo>
                                        <a:lnTo>
                                          <a:pt x="62" y="0"/>
                                        </a:lnTo>
                                        <a:lnTo>
                                          <a:pt x="62" y="0"/>
                                        </a:lnTo>
                                        <a:lnTo>
                                          <a:pt x="60" y="0"/>
                                        </a:lnTo>
                                        <a:lnTo>
                                          <a:pt x="58" y="2"/>
                                        </a:lnTo>
                                        <a:lnTo>
                                          <a:pt x="58" y="2"/>
                                        </a:lnTo>
                                        <a:lnTo>
                                          <a:pt x="58" y="2"/>
                                        </a:lnTo>
                                        <a:lnTo>
                                          <a:pt x="58" y="4"/>
                                        </a:lnTo>
                                        <a:lnTo>
                                          <a:pt x="56" y="6"/>
                                        </a:lnTo>
                                        <a:lnTo>
                                          <a:pt x="56" y="6"/>
                                        </a:lnTo>
                                        <a:lnTo>
                                          <a:pt x="56" y="4"/>
                                        </a:lnTo>
                                        <a:lnTo>
                                          <a:pt x="54" y="2"/>
                                        </a:lnTo>
                                        <a:lnTo>
                                          <a:pt x="54" y="2"/>
                                        </a:lnTo>
                                        <a:lnTo>
                                          <a:pt x="52" y="2"/>
                                        </a:lnTo>
                                        <a:lnTo>
                                          <a:pt x="50" y="2"/>
                                        </a:lnTo>
                                        <a:lnTo>
                                          <a:pt x="50" y="2"/>
                                        </a:lnTo>
                                        <a:lnTo>
                                          <a:pt x="48" y="2"/>
                                        </a:lnTo>
                                        <a:lnTo>
                                          <a:pt x="46" y="2"/>
                                        </a:lnTo>
                                        <a:lnTo>
                                          <a:pt x="46" y="2"/>
                                        </a:lnTo>
                                        <a:lnTo>
                                          <a:pt x="44" y="2"/>
                                        </a:lnTo>
                                        <a:lnTo>
                                          <a:pt x="44" y="4"/>
                                        </a:lnTo>
                                        <a:lnTo>
                                          <a:pt x="42" y="6"/>
                                        </a:lnTo>
                                        <a:lnTo>
                                          <a:pt x="42" y="6"/>
                                        </a:lnTo>
                                        <a:lnTo>
                                          <a:pt x="40" y="6"/>
                                        </a:lnTo>
                                        <a:lnTo>
                                          <a:pt x="42" y="8"/>
                                        </a:lnTo>
                                        <a:lnTo>
                                          <a:pt x="42" y="8"/>
                                        </a:lnTo>
                                        <a:lnTo>
                                          <a:pt x="40" y="8"/>
                                        </a:lnTo>
                                        <a:lnTo>
                                          <a:pt x="40" y="8"/>
                                        </a:lnTo>
                                        <a:lnTo>
                                          <a:pt x="38" y="10"/>
                                        </a:lnTo>
                                        <a:lnTo>
                                          <a:pt x="36" y="10"/>
                                        </a:lnTo>
                                        <a:lnTo>
                                          <a:pt x="36" y="10"/>
                                        </a:lnTo>
                                        <a:lnTo>
                                          <a:pt x="34" y="12"/>
                                        </a:lnTo>
                                        <a:lnTo>
                                          <a:pt x="36" y="12"/>
                                        </a:lnTo>
                                        <a:lnTo>
                                          <a:pt x="36" y="12"/>
                                        </a:lnTo>
                                        <a:lnTo>
                                          <a:pt x="40" y="14"/>
                                        </a:lnTo>
                                        <a:lnTo>
                                          <a:pt x="44" y="14"/>
                                        </a:lnTo>
                                        <a:lnTo>
                                          <a:pt x="44" y="14"/>
                                        </a:lnTo>
                                        <a:lnTo>
                                          <a:pt x="44" y="14"/>
                                        </a:lnTo>
                                        <a:lnTo>
                                          <a:pt x="42" y="16"/>
                                        </a:lnTo>
                                        <a:lnTo>
                                          <a:pt x="42" y="16"/>
                                        </a:lnTo>
                                        <a:lnTo>
                                          <a:pt x="42" y="16"/>
                                        </a:lnTo>
                                        <a:lnTo>
                                          <a:pt x="38" y="18"/>
                                        </a:lnTo>
                                        <a:lnTo>
                                          <a:pt x="38" y="18"/>
                                        </a:lnTo>
                                        <a:lnTo>
                                          <a:pt x="36" y="18"/>
                                        </a:lnTo>
                                        <a:lnTo>
                                          <a:pt x="38" y="20"/>
                                        </a:lnTo>
                                        <a:lnTo>
                                          <a:pt x="38" y="20"/>
                                        </a:lnTo>
                                        <a:lnTo>
                                          <a:pt x="38" y="20"/>
                                        </a:lnTo>
                                        <a:lnTo>
                                          <a:pt x="38" y="20"/>
                                        </a:lnTo>
                                        <a:lnTo>
                                          <a:pt x="36" y="20"/>
                                        </a:lnTo>
                                        <a:lnTo>
                                          <a:pt x="32" y="18"/>
                                        </a:lnTo>
                                        <a:lnTo>
                                          <a:pt x="32" y="18"/>
                                        </a:lnTo>
                                        <a:lnTo>
                                          <a:pt x="30" y="20"/>
                                        </a:lnTo>
                                        <a:lnTo>
                                          <a:pt x="28" y="20"/>
                                        </a:lnTo>
                                        <a:lnTo>
                                          <a:pt x="28" y="18"/>
                                        </a:lnTo>
                                        <a:lnTo>
                                          <a:pt x="28" y="18"/>
                                        </a:lnTo>
                                        <a:lnTo>
                                          <a:pt x="20" y="18"/>
                                        </a:lnTo>
                                        <a:lnTo>
                                          <a:pt x="20" y="18"/>
                                        </a:lnTo>
                                        <a:lnTo>
                                          <a:pt x="16" y="18"/>
                                        </a:lnTo>
                                        <a:lnTo>
                                          <a:pt x="16" y="18"/>
                                        </a:lnTo>
                                        <a:lnTo>
                                          <a:pt x="14" y="20"/>
                                        </a:lnTo>
                                        <a:lnTo>
                                          <a:pt x="16" y="20"/>
                                        </a:lnTo>
                                        <a:lnTo>
                                          <a:pt x="16" y="20"/>
                                        </a:lnTo>
                                        <a:lnTo>
                                          <a:pt x="16" y="20"/>
                                        </a:lnTo>
                                        <a:lnTo>
                                          <a:pt x="16" y="24"/>
                                        </a:lnTo>
                                        <a:lnTo>
                                          <a:pt x="16" y="24"/>
                                        </a:lnTo>
                                        <a:lnTo>
                                          <a:pt x="14" y="22"/>
                                        </a:lnTo>
                                        <a:lnTo>
                                          <a:pt x="12" y="24"/>
                                        </a:lnTo>
                                        <a:lnTo>
                                          <a:pt x="12" y="24"/>
                                        </a:lnTo>
                                        <a:lnTo>
                                          <a:pt x="12" y="24"/>
                                        </a:lnTo>
                                        <a:lnTo>
                                          <a:pt x="14" y="24"/>
                                        </a:lnTo>
                                        <a:lnTo>
                                          <a:pt x="14" y="24"/>
                                        </a:lnTo>
                                        <a:lnTo>
                                          <a:pt x="16" y="26"/>
                                        </a:lnTo>
                                        <a:lnTo>
                                          <a:pt x="18" y="26"/>
                                        </a:lnTo>
                                        <a:lnTo>
                                          <a:pt x="18" y="26"/>
                                        </a:lnTo>
                                        <a:lnTo>
                                          <a:pt x="20" y="26"/>
                                        </a:lnTo>
                                        <a:lnTo>
                                          <a:pt x="18" y="28"/>
                                        </a:lnTo>
                                        <a:lnTo>
                                          <a:pt x="18" y="28"/>
                                        </a:lnTo>
                                        <a:lnTo>
                                          <a:pt x="14" y="28"/>
                                        </a:lnTo>
                                        <a:lnTo>
                                          <a:pt x="16" y="30"/>
                                        </a:lnTo>
                                        <a:lnTo>
                                          <a:pt x="16" y="30"/>
                                        </a:lnTo>
                                        <a:lnTo>
                                          <a:pt x="16" y="30"/>
                                        </a:lnTo>
                                        <a:lnTo>
                                          <a:pt x="16" y="32"/>
                                        </a:lnTo>
                                        <a:lnTo>
                                          <a:pt x="12" y="30"/>
                                        </a:lnTo>
                                        <a:lnTo>
                                          <a:pt x="12" y="30"/>
                                        </a:lnTo>
                                        <a:lnTo>
                                          <a:pt x="10" y="32"/>
                                        </a:lnTo>
                                        <a:lnTo>
                                          <a:pt x="12" y="32"/>
                                        </a:lnTo>
                                        <a:lnTo>
                                          <a:pt x="12" y="32"/>
                                        </a:lnTo>
                                        <a:lnTo>
                                          <a:pt x="10" y="34"/>
                                        </a:lnTo>
                                        <a:lnTo>
                                          <a:pt x="10" y="34"/>
                                        </a:lnTo>
                                        <a:lnTo>
                                          <a:pt x="10" y="34"/>
                                        </a:lnTo>
                                        <a:lnTo>
                                          <a:pt x="10" y="34"/>
                                        </a:lnTo>
                                        <a:lnTo>
                                          <a:pt x="14" y="34"/>
                                        </a:lnTo>
                                        <a:lnTo>
                                          <a:pt x="14" y="34"/>
                                        </a:lnTo>
                                        <a:lnTo>
                                          <a:pt x="16" y="34"/>
                                        </a:lnTo>
                                        <a:lnTo>
                                          <a:pt x="14" y="36"/>
                                        </a:lnTo>
                                        <a:lnTo>
                                          <a:pt x="14" y="36"/>
                                        </a:lnTo>
                                        <a:lnTo>
                                          <a:pt x="14" y="36"/>
                                        </a:lnTo>
                                        <a:lnTo>
                                          <a:pt x="18" y="36"/>
                                        </a:lnTo>
                                        <a:lnTo>
                                          <a:pt x="18" y="36"/>
                                        </a:lnTo>
                                        <a:lnTo>
                                          <a:pt x="20" y="36"/>
                                        </a:lnTo>
                                        <a:lnTo>
                                          <a:pt x="20" y="38"/>
                                        </a:lnTo>
                                        <a:lnTo>
                                          <a:pt x="20" y="38"/>
                                        </a:lnTo>
                                        <a:lnTo>
                                          <a:pt x="20" y="38"/>
                                        </a:lnTo>
                                        <a:lnTo>
                                          <a:pt x="22" y="38"/>
                                        </a:lnTo>
                                        <a:lnTo>
                                          <a:pt x="28" y="38"/>
                                        </a:lnTo>
                                        <a:lnTo>
                                          <a:pt x="28" y="38"/>
                                        </a:lnTo>
                                        <a:lnTo>
                                          <a:pt x="30" y="38"/>
                                        </a:lnTo>
                                        <a:lnTo>
                                          <a:pt x="26" y="40"/>
                                        </a:lnTo>
                                        <a:lnTo>
                                          <a:pt x="26" y="40"/>
                                        </a:lnTo>
                                        <a:lnTo>
                                          <a:pt x="24" y="40"/>
                                        </a:lnTo>
                                        <a:lnTo>
                                          <a:pt x="22" y="42"/>
                                        </a:lnTo>
                                        <a:lnTo>
                                          <a:pt x="22" y="42"/>
                                        </a:lnTo>
                                        <a:lnTo>
                                          <a:pt x="20" y="44"/>
                                        </a:lnTo>
                                        <a:lnTo>
                                          <a:pt x="22" y="44"/>
                                        </a:lnTo>
                                        <a:lnTo>
                                          <a:pt x="22" y="44"/>
                                        </a:lnTo>
                                        <a:lnTo>
                                          <a:pt x="20" y="46"/>
                                        </a:lnTo>
                                        <a:lnTo>
                                          <a:pt x="18" y="46"/>
                                        </a:lnTo>
                                        <a:lnTo>
                                          <a:pt x="18" y="46"/>
                                        </a:lnTo>
                                        <a:lnTo>
                                          <a:pt x="18" y="46"/>
                                        </a:lnTo>
                                        <a:lnTo>
                                          <a:pt x="14" y="48"/>
                                        </a:lnTo>
                                        <a:lnTo>
                                          <a:pt x="14" y="48"/>
                                        </a:lnTo>
                                        <a:lnTo>
                                          <a:pt x="12" y="50"/>
                                        </a:lnTo>
                                        <a:lnTo>
                                          <a:pt x="14" y="50"/>
                                        </a:lnTo>
                                        <a:lnTo>
                                          <a:pt x="14" y="50"/>
                                        </a:lnTo>
                                        <a:lnTo>
                                          <a:pt x="18" y="50"/>
                                        </a:lnTo>
                                        <a:lnTo>
                                          <a:pt x="20" y="50"/>
                                        </a:lnTo>
                                        <a:lnTo>
                                          <a:pt x="20" y="50"/>
                                        </a:lnTo>
                                        <a:lnTo>
                                          <a:pt x="24" y="50"/>
                                        </a:lnTo>
                                        <a:lnTo>
                                          <a:pt x="28" y="48"/>
                                        </a:lnTo>
                                        <a:lnTo>
                                          <a:pt x="28" y="48"/>
                                        </a:lnTo>
                                        <a:lnTo>
                                          <a:pt x="28" y="46"/>
                                        </a:lnTo>
                                        <a:lnTo>
                                          <a:pt x="28" y="48"/>
                                        </a:lnTo>
                                        <a:lnTo>
                                          <a:pt x="28" y="48"/>
                                        </a:lnTo>
                                        <a:lnTo>
                                          <a:pt x="28" y="48"/>
                                        </a:lnTo>
                                        <a:lnTo>
                                          <a:pt x="32" y="48"/>
                                        </a:lnTo>
                                        <a:lnTo>
                                          <a:pt x="32" y="48"/>
                                        </a:lnTo>
                                        <a:lnTo>
                                          <a:pt x="18" y="50"/>
                                        </a:lnTo>
                                        <a:lnTo>
                                          <a:pt x="18" y="50"/>
                                        </a:lnTo>
                                        <a:lnTo>
                                          <a:pt x="16" y="50"/>
                                        </a:lnTo>
                                        <a:lnTo>
                                          <a:pt x="14" y="52"/>
                                        </a:lnTo>
                                        <a:lnTo>
                                          <a:pt x="14" y="52"/>
                                        </a:lnTo>
                                        <a:lnTo>
                                          <a:pt x="12" y="54"/>
                                        </a:lnTo>
                                        <a:lnTo>
                                          <a:pt x="12" y="54"/>
                                        </a:lnTo>
                                        <a:lnTo>
                                          <a:pt x="12" y="54"/>
                                        </a:lnTo>
                                        <a:lnTo>
                                          <a:pt x="12" y="54"/>
                                        </a:lnTo>
                                        <a:lnTo>
                                          <a:pt x="14" y="56"/>
                                        </a:lnTo>
                                        <a:lnTo>
                                          <a:pt x="14" y="56"/>
                                        </a:lnTo>
                                        <a:lnTo>
                                          <a:pt x="12" y="56"/>
                                        </a:lnTo>
                                        <a:lnTo>
                                          <a:pt x="10" y="56"/>
                                        </a:lnTo>
                                        <a:lnTo>
                                          <a:pt x="10" y="56"/>
                                        </a:lnTo>
                                        <a:lnTo>
                                          <a:pt x="8" y="56"/>
                                        </a:lnTo>
                                        <a:lnTo>
                                          <a:pt x="4" y="56"/>
                                        </a:lnTo>
                                        <a:lnTo>
                                          <a:pt x="4" y="56"/>
                                        </a:lnTo>
                                        <a:lnTo>
                                          <a:pt x="0" y="58"/>
                                        </a:lnTo>
                                        <a:lnTo>
                                          <a:pt x="0" y="58"/>
                                        </a:lnTo>
                                        <a:lnTo>
                                          <a:pt x="2" y="58"/>
                                        </a:lnTo>
                                        <a:lnTo>
                                          <a:pt x="2" y="58"/>
                                        </a:lnTo>
                                        <a:lnTo>
                                          <a:pt x="6" y="58"/>
                                        </a:lnTo>
                                        <a:lnTo>
                                          <a:pt x="6" y="58"/>
                                        </a:lnTo>
                                        <a:lnTo>
                                          <a:pt x="14" y="58"/>
                                        </a:lnTo>
                                        <a:lnTo>
                                          <a:pt x="14" y="58"/>
                                        </a:lnTo>
                                        <a:lnTo>
                                          <a:pt x="10" y="58"/>
                                        </a:lnTo>
                                        <a:lnTo>
                                          <a:pt x="10" y="58"/>
                                        </a:lnTo>
                                        <a:lnTo>
                                          <a:pt x="2" y="62"/>
                                        </a:lnTo>
                                        <a:lnTo>
                                          <a:pt x="2" y="62"/>
                                        </a:lnTo>
                                        <a:lnTo>
                                          <a:pt x="0" y="62"/>
                                        </a:lnTo>
                                        <a:lnTo>
                                          <a:pt x="0" y="64"/>
                                        </a:lnTo>
                                        <a:lnTo>
                                          <a:pt x="4" y="64"/>
                                        </a:lnTo>
                                        <a:lnTo>
                                          <a:pt x="4" y="64"/>
                                        </a:lnTo>
                                        <a:lnTo>
                                          <a:pt x="6" y="64"/>
                                        </a:lnTo>
                                        <a:lnTo>
                                          <a:pt x="6" y="64"/>
                                        </a:lnTo>
                                        <a:lnTo>
                                          <a:pt x="8" y="64"/>
                                        </a:lnTo>
                                        <a:lnTo>
                                          <a:pt x="8" y="64"/>
                                        </a:lnTo>
                                        <a:lnTo>
                                          <a:pt x="16" y="62"/>
                                        </a:lnTo>
                                        <a:lnTo>
                                          <a:pt x="16" y="62"/>
                                        </a:lnTo>
                                        <a:lnTo>
                                          <a:pt x="6" y="66"/>
                                        </a:lnTo>
                                        <a:lnTo>
                                          <a:pt x="6" y="66"/>
                                        </a:lnTo>
                                        <a:lnTo>
                                          <a:pt x="6" y="66"/>
                                        </a:lnTo>
                                        <a:lnTo>
                                          <a:pt x="6" y="68"/>
                                        </a:lnTo>
                                        <a:lnTo>
                                          <a:pt x="10" y="66"/>
                                        </a:lnTo>
                                        <a:lnTo>
                                          <a:pt x="10" y="66"/>
                                        </a:lnTo>
                                        <a:lnTo>
                                          <a:pt x="12" y="66"/>
                                        </a:lnTo>
                                        <a:lnTo>
                                          <a:pt x="16" y="66"/>
                                        </a:lnTo>
                                        <a:lnTo>
                                          <a:pt x="16" y="66"/>
                                        </a:lnTo>
                                        <a:lnTo>
                                          <a:pt x="14" y="68"/>
                                        </a:lnTo>
                                        <a:lnTo>
                                          <a:pt x="12" y="68"/>
                                        </a:lnTo>
                                        <a:lnTo>
                                          <a:pt x="12" y="68"/>
                                        </a:lnTo>
                                        <a:lnTo>
                                          <a:pt x="10" y="70"/>
                                        </a:lnTo>
                                        <a:lnTo>
                                          <a:pt x="10" y="70"/>
                                        </a:lnTo>
                                        <a:lnTo>
                                          <a:pt x="12" y="70"/>
                                        </a:lnTo>
                                        <a:lnTo>
                                          <a:pt x="12" y="70"/>
                                        </a:lnTo>
                                        <a:lnTo>
                                          <a:pt x="16" y="70"/>
                                        </a:lnTo>
                                        <a:lnTo>
                                          <a:pt x="18" y="70"/>
                                        </a:lnTo>
                                        <a:lnTo>
                                          <a:pt x="18" y="70"/>
                                        </a:lnTo>
                                        <a:lnTo>
                                          <a:pt x="22" y="70"/>
                                        </a:lnTo>
                                        <a:lnTo>
                                          <a:pt x="26" y="68"/>
                                        </a:lnTo>
                                        <a:lnTo>
                                          <a:pt x="26" y="68"/>
                                        </a:lnTo>
                                        <a:lnTo>
                                          <a:pt x="30" y="68"/>
                                        </a:lnTo>
                                        <a:lnTo>
                                          <a:pt x="32" y="68"/>
                                        </a:lnTo>
                                        <a:lnTo>
                                          <a:pt x="32" y="68"/>
                                        </a:lnTo>
                                        <a:lnTo>
                                          <a:pt x="36" y="66"/>
                                        </a:lnTo>
                                        <a:lnTo>
                                          <a:pt x="38" y="66"/>
                                        </a:lnTo>
                                        <a:lnTo>
                                          <a:pt x="38" y="66"/>
                                        </a:lnTo>
                                        <a:lnTo>
                                          <a:pt x="40" y="64"/>
                                        </a:lnTo>
                                        <a:lnTo>
                                          <a:pt x="42" y="64"/>
                                        </a:lnTo>
                                        <a:lnTo>
                                          <a:pt x="42" y="64"/>
                                        </a:lnTo>
                                        <a:lnTo>
                                          <a:pt x="44" y="62"/>
                                        </a:lnTo>
                                        <a:lnTo>
                                          <a:pt x="44" y="62"/>
                                        </a:lnTo>
                                        <a:lnTo>
                                          <a:pt x="46" y="62"/>
                                        </a:lnTo>
                                        <a:lnTo>
                                          <a:pt x="48" y="60"/>
                                        </a:lnTo>
                                        <a:lnTo>
                                          <a:pt x="48" y="60"/>
                                        </a:lnTo>
                                        <a:lnTo>
                                          <a:pt x="50" y="60"/>
                                        </a:lnTo>
                                        <a:lnTo>
                                          <a:pt x="52" y="60"/>
                                        </a:lnTo>
                                        <a:lnTo>
                                          <a:pt x="52" y="60"/>
                                        </a:lnTo>
                                        <a:lnTo>
                                          <a:pt x="58" y="60"/>
                                        </a:lnTo>
                                        <a:lnTo>
                                          <a:pt x="58" y="60"/>
                                        </a:lnTo>
                                        <a:lnTo>
                                          <a:pt x="60" y="54"/>
                                        </a:lnTo>
                                        <a:lnTo>
                                          <a:pt x="60" y="54"/>
                                        </a:lnTo>
                                        <a:lnTo>
                                          <a:pt x="60" y="60"/>
                                        </a:lnTo>
                                        <a:lnTo>
                                          <a:pt x="60" y="60"/>
                                        </a:lnTo>
                                        <a:lnTo>
                                          <a:pt x="60" y="60"/>
                                        </a:lnTo>
                                        <a:lnTo>
                                          <a:pt x="62" y="60"/>
                                        </a:lnTo>
                                        <a:lnTo>
                                          <a:pt x="64" y="58"/>
                                        </a:lnTo>
                                        <a:lnTo>
                                          <a:pt x="64" y="58"/>
                                        </a:lnTo>
                                        <a:lnTo>
                                          <a:pt x="64" y="58"/>
                                        </a:lnTo>
                                        <a:lnTo>
                                          <a:pt x="68" y="60"/>
                                        </a:lnTo>
                                        <a:lnTo>
                                          <a:pt x="70" y="60"/>
                                        </a:lnTo>
                                        <a:lnTo>
                                          <a:pt x="70" y="60"/>
                                        </a:lnTo>
                                        <a:lnTo>
                                          <a:pt x="72" y="60"/>
                                        </a:lnTo>
                                        <a:lnTo>
                                          <a:pt x="70" y="58"/>
                                        </a:lnTo>
                                        <a:lnTo>
                                          <a:pt x="70" y="56"/>
                                        </a:lnTo>
                                        <a:lnTo>
                                          <a:pt x="70" y="56"/>
                                        </a:lnTo>
                                        <a:lnTo>
                                          <a:pt x="74" y="52"/>
                                        </a:lnTo>
                                        <a:lnTo>
                                          <a:pt x="74" y="52"/>
                                        </a:lnTo>
                                        <a:lnTo>
                                          <a:pt x="74" y="50"/>
                                        </a:lnTo>
                                        <a:lnTo>
                                          <a:pt x="76" y="50"/>
                                        </a:lnTo>
                                        <a:lnTo>
                                          <a:pt x="76" y="50"/>
                                        </a:lnTo>
                                        <a:lnTo>
                                          <a:pt x="76" y="48"/>
                                        </a:lnTo>
                                        <a:lnTo>
                                          <a:pt x="76" y="46"/>
                                        </a:lnTo>
                                        <a:lnTo>
                                          <a:pt x="76" y="46"/>
                                        </a:lnTo>
                                        <a:lnTo>
                                          <a:pt x="76" y="44"/>
                                        </a:lnTo>
                                        <a:lnTo>
                                          <a:pt x="76" y="42"/>
                                        </a:lnTo>
                                        <a:lnTo>
                                          <a:pt x="76" y="42"/>
                                        </a:lnTo>
                                        <a:lnTo>
                                          <a:pt x="74" y="38"/>
                                        </a:lnTo>
                                        <a:lnTo>
                                          <a:pt x="74" y="38"/>
                                        </a:lnTo>
                                        <a:lnTo>
                                          <a:pt x="74" y="38"/>
                                        </a:lnTo>
                                        <a:lnTo>
                                          <a:pt x="74" y="38"/>
                                        </a:lnTo>
                                        <a:lnTo>
                                          <a:pt x="76" y="36"/>
                                        </a:lnTo>
                                        <a:lnTo>
                                          <a:pt x="76" y="36"/>
                                        </a:lnTo>
                                        <a:lnTo>
                                          <a:pt x="76" y="36"/>
                                        </a:lnTo>
                                        <a:lnTo>
                                          <a:pt x="76" y="34"/>
                                        </a:lnTo>
                                        <a:lnTo>
                                          <a:pt x="76" y="34"/>
                                        </a:lnTo>
                                        <a:lnTo>
                                          <a:pt x="76" y="34"/>
                                        </a:lnTo>
                                        <a:lnTo>
                                          <a:pt x="76" y="34"/>
                                        </a:lnTo>
                                        <a:lnTo>
                                          <a:pt x="74" y="30"/>
                                        </a:lnTo>
                                        <a:lnTo>
                                          <a:pt x="74" y="30"/>
                                        </a:lnTo>
                                        <a:lnTo>
                                          <a:pt x="74" y="30"/>
                                        </a:lnTo>
                                        <a:lnTo>
                                          <a:pt x="72" y="28"/>
                                        </a:lnTo>
                                        <a:lnTo>
                                          <a:pt x="72" y="28"/>
                                        </a:lnTo>
                                        <a:lnTo>
                                          <a:pt x="72" y="26"/>
                                        </a:lnTo>
                                        <a:lnTo>
                                          <a:pt x="74" y="26"/>
                                        </a:lnTo>
                                        <a:lnTo>
                                          <a:pt x="74" y="26"/>
                                        </a:lnTo>
                                        <a:lnTo>
                                          <a:pt x="76" y="26"/>
                                        </a:lnTo>
                                        <a:lnTo>
                                          <a:pt x="76" y="26"/>
                                        </a:lnTo>
                                        <a:lnTo>
                                          <a:pt x="76" y="26"/>
                                        </a:lnTo>
                                        <a:lnTo>
                                          <a:pt x="72" y="24"/>
                                        </a:lnTo>
                                        <a:lnTo>
                                          <a:pt x="68" y="24"/>
                                        </a:lnTo>
                                        <a:lnTo>
                                          <a:pt x="68" y="24"/>
                                        </a:lnTo>
                                        <a:lnTo>
                                          <a:pt x="68" y="24"/>
                                        </a:lnTo>
                                        <a:lnTo>
                                          <a:pt x="66" y="22"/>
                                        </a:lnTo>
                                        <a:lnTo>
                                          <a:pt x="66" y="20"/>
                                        </a:lnTo>
                                        <a:lnTo>
                                          <a:pt x="66" y="20"/>
                                        </a:lnTo>
                                        <a:lnTo>
                                          <a:pt x="62" y="16"/>
                                        </a:lnTo>
                                        <a:lnTo>
                                          <a:pt x="60" y="18"/>
                                        </a:lnTo>
                                        <a:lnTo>
                                          <a:pt x="60" y="18"/>
                                        </a:lnTo>
                                        <a:lnTo>
                                          <a:pt x="58" y="20"/>
                                        </a:lnTo>
                                        <a:lnTo>
                                          <a:pt x="56" y="20"/>
                                        </a:lnTo>
                                        <a:lnTo>
                                          <a:pt x="50" y="18"/>
                                        </a:lnTo>
                                        <a:lnTo>
                                          <a:pt x="50" y="18"/>
                                        </a:lnTo>
                                        <a:lnTo>
                                          <a:pt x="48" y="14"/>
                                        </a:lnTo>
                                        <a:lnTo>
                                          <a:pt x="52" y="12"/>
                                        </a:lnTo>
                                        <a:lnTo>
                                          <a:pt x="52" y="12"/>
                                        </a:lnTo>
                                        <a:lnTo>
                                          <a:pt x="52" y="12"/>
                                        </a:lnTo>
                                        <a:lnTo>
                                          <a:pt x="52" y="10"/>
                                        </a:lnTo>
                                        <a:lnTo>
                                          <a:pt x="54" y="8"/>
                                        </a:lnTo>
                                        <a:lnTo>
                                          <a:pt x="56" y="8"/>
                                        </a:lnTo>
                                        <a:lnTo>
                                          <a:pt x="56" y="8"/>
                                        </a:lnTo>
                                        <a:lnTo>
                                          <a:pt x="58" y="8"/>
                                        </a:lnTo>
                                        <a:lnTo>
                                          <a:pt x="60" y="6"/>
                                        </a:lnTo>
                                        <a:lnTo>
                                          <a:pt x="60" y="6"/>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4" name="Italy"/>
                                  <p:cNvSpPr>
                                    <a:spLocks/>
                                  </p:cNvSpPr>
                                  <p:nvPr/>
                                </p:nvSpPr>
                                <p:spPr bwMode="auto">
                                  <a:xfrm>
                                    <a:off x="5975835" y="1970610"/>
                                    <a:ext cx="343253" cy="324727"/>
                                  </a:xfrm>
                                  <a:custGeom>
                                    <a:avLst/>
                                    <a:gdLst/>
                                    <a:ahLst/>
                                    <a:cxnLst/>
                                    <a:rect l="l" t="t" r="r" b="b"/>
                                    <a:pathLst>
                                      <a:path w="298979" h="283104">
                                        <a:moveTo>
                                          <a:pt x="235479" y="238125"/>
                                        </a:moveTo>
                                        <a:lnTo>
                                          <a:pt x="235479" y="240771"/>
                                        </a:lnTo>
                                        <a:lnTo>
                                          <a:pt x="232833" y="248708"/>
                                        </a:lnTo>
                                        <a:lnTo>
                                          <a:pt x="227542" y="254000"/>
                                        </a:lnTo>
                                        <a:lnTo>
                                          <a:pt x="224896" y="256646"/>
                                        </a:lnTo>
                                        <a:lnTo>
                                          <a:pt x="224896" y="259292"/>
                                        </a:lnTo>
                                        <a:lnTo>
                                          <a:pt x="227542" y="261938"/>
                                        </a:lnTo>
                                        <a:lnTo>
                                          <a:pt x="224896" y="261938"/>
                                        </a:lnTo>
                                        <a:lnTo>
                                          <a:pt x="224896" y="264583"/>
                                        </a:lnTo>
                                        <a:lnTo>
                                          <a:pt x="224896" y="267229"/>
                                        </a:lnTo>
                                        <a:lnTo>
                                          <a:pt x="224896" y="269875"/>
                                        </a:lnTo>
                                        <a:lnTo>
                                          <a:pt x="224896" y="275167"/>
                                        </a:lnTo>
                                        <a:lnTo>
                                          <a:pt x="222250" y="280458"/>
                                        </a:lnTo>
                                        <a:lnTo>
                                          <a:pt x="222250" y="283104"/>
                                        </a:lnTo>
                                        <a:lnTo>
                                          <a:pt x="219604" y="283104"/>
                                        </a:lnTo>
                                        <a:lnTo>
                                          <a:pt x="214313" y="280458"/>
                                        </a:lnTo>
                                        <a:lnTo>
                                          <a:pt x="211667" y="280458"/>
                                        </a:lnTo>
                                        <a:lnTo>
                                          <a:pt x="209021" y="280458"/>
                                        </a:lnTo>
                                        <a:lnTo>
                                          <a:pt x="206375" y="280458"/>
                                        </a:lnTo>
                                        <a:lnTo>
                                          <a:pt x="201083" y="275167"/>
                                        </a:lnTo>
                                        <a:lnTo>
                                          <a:pt x="198438" y="272521"/>
                                        </a:lnTo>
                                        <a:lnTo>
                                          <a:pt x="190500" y="272521"/>
                                        </a:lnTo>
                                        <a:lnTo>
                                          <a:pt x="185208" y="272521"/>
                                        </a:lnTo>
                                        <a:lnTo>
                                          <a:pt x="182562" y="269875"/>
                                        </a:lnTo>
                                        <a:lnTo>
                                          <a:pt x="177271" y="264583"/>
                                        </a:lnTo>
                                        <a:lnTo>
                                          <a:pt x="169333" y="261938"/>
                                        </a:lnTo>
                                        <a:lnTo>
                                          <a:pt x="164042" y="259292"/>
                                        </a:lnTo>
                                        <a:lnTo>
                                          <a:pt x="156104" y="256646"/>
                                        </a:lnTo>
                                        <a:lnTo>
                                          <a:pt x="153458" y="254000"/>
                                        </a:lnTo>
                                        <a:lnTo>
                                          <a:pt x="156104" y="248708"/>
                                        </a:lnTo>
                                        <a:lnTo>
                                          <a:pt x="161396" y="243417"/>
                                        </a:lnTo>
                                        <a:lnTo>
                                          <a:pt x="164042" y="243417"/>
                                        </a:lnTo>
                                        <a:lnTo>
                                          <a:pt x="166687" y="243417"/>
                                        </a:lnTo>
                                        <a:lnTo>
                                          <a:pt x="171979" y="246063"/>
                                        </a:lnTo>
                                        <a:lnTo>
                                          <a:pt x="174625" y="243417"/>
                                        </a:lnTo>
                                        <a:lnTo>
                                          <a:pt x="179917" y="243417"/>
                                        </a:lnTo>
                                        <a:lnTo>
                                          <a:pt x="182562" y="243417"/>
                                        </a:lnTo>
                                        <a:lnTo>
                                          <a:pt x="187854" y="246063"/>
                                        </a:lnTo>
                                        <a:lnTo>
                                          <a:pt x="190500" y="246063"/>
                                        </a:lnTo>
                                        <a:lnTo>
                                          <a:pt x="195792" y="248708"/>
                                        </a:lnTo>
                                        <a:lnTo>
                                          <a:pt x="198438" y="246063"/>
                                        </a:lnTo>
                                        <a:lnTo>
                                          <a:pt x="201083" y="246063"/>
                                        </a:lnTo>
                                        <a:lnTo>
                                          <a:pt x="203729" y="246063"/>
                                        </a:lnTo>
                                        <a:lnTo>
                                          <a:pt x="209021" y="246063"/>
                                        </a:lnTo>
                                        <a:lnTo>
                                          <a:pt x="211667" y="243417"/>
                                        </a:lnTo>
                                        <a:lnTo>
                                          <a:pt x="214313" y="240771"/>
                                        </a:lnTo>
                                        <a:lnTo>
                                          <a:pt x="219604" y="243417"/>
                                        </a:lnTo>
                                        <a:lnTo>
                                          <a:pt x="222250" y="243417"/>
                                        </a:lnTo>
                                        <a:lnTo>
                                          <a:pt x="224896" y="243417"/>
                                        </a:lnTo>
                                        <a:lnTo>
                                          <a:pt x="227542" y="240771"/>
                                        </a:lnTo>
                                        <a:lnTo>
                                          <a:pt x="232833" y="240771"/>
                                        </a:lnTo>
                                        <a:close/>
                                        <a:moveTo>
                                          <a:pt x="127000" y="0"/>
                                        </a:moveTo>
                                        <a:lnTo>
                                          <a:pt x="129646" y="2646"/>
                                        </a:lnTo>
                                        <a:lnTo>
                                          <a:pt x="129646" y="5292"/>
                                        </a:lnTo>
                                        <a:lnTo>
                                          <a:pt x="132291" y="5292"/>
                                        </a:lnTo>
                                        <a:lnTo>
                                          <a:pt x="137583" y="7937"/>
                                        </a:lnTo>
                                        <a:lnTo>
                                          <a:pt x="140229" y="10583"/>
                                        </a:lnTo>
                                        <a:lnTo>
                                          <a:pt x="145521" y="10583"/>
                                        </a:lnTo>
                                        <a:lnTo>
                                          <a:pt x="150812" y="13229"/>
                                        </a:lnTo>
                                        <a:lnTo>
                                          <a:pt x="156104" y="13229"/>
                                        </a:lnTo>
                                        <a:lnTo>
                                          <a:pt x="161396" y="13229"/>
                                        </a:lnTo>
                                        <a:lnTo>
                                          <a:pt x="161396" y="15875"/>
                                        </a:lnTo>
                                        <a:lnTo>
                                          <a:pt x="164042" y="18521"/>
                                        </a:lnTo>
                                        <a:lnTo>
                                          <a:pt x="164042" y="21167"/>
                                        </a:lnTo>
                                        <a:lnTo>
                                          <a:pt x="166688" y="23812"/>
                                        </a:lnTo>
                                        <a:lnTo>
                                          <a:pt x="169333" y="26458"/>
                                        </a:lnTo>
                                        <a:lnTo>
                                          <a:pt x="174625" y="29104"/>
                                        </a:lnTo>
                                        <a:lnTo>
                                          <a:pt x="174625" y="34396"/>
                                        </a:lnTo>
                                        <a:lnTo>
                                          <a:pt x="171979" y="34396"/>
                                        </a:lnTo>
                                        <a:lnTo>
                                          <a:pt x="169333" y="31750"/>
                                        </a:lnTo>
                                        <a:lnTo>
                                          <a:pt x="169333" y="29104"/>
                                        </a:lnTo>
                                        <a:lnTo>
                                          <a:pt x="166688" y="31750"/>
                                        </a:lnTo>
                                        <a:lnTo>
                                          <a:pt x="164042" y="37042"/>
                                        </a:lnTo>
                                        <a:lnTo>
                                          <a:pt x="158750" y="39687"/>
                                        </a:lnTo>
                                        <a:lnTo>
                                          <a:pt x="148166" y="39687"/>
                                        </a:lnTo>
                                        <a:lnTo>
                                          <a:pt x="145521" y="42333"/>
                                        </a:lnTo>
                                        <a:lnTo>
                                          <a:pt x="145521" y="44979"/>
                                        </a:lnTo>
                                        <a:lnTo>
                                          <a:pt x="148166" y="50271"/>
                                        </a:lnTo>
                                        <a:lnTo>
                                          <a:pt x="148166" y="52917"/>
                                        </a:lnTo>
                                        <a:lnTo>
                                          <a:pt x="145521" y="52917"/>
                                        </a:lnTo>
                                        <a:lnTo>
                                          <a:pt x="142875" y="55562"/>
                                        </a:lnTo>
                                        <a:lnTo>
                                          <a:pt x="145521" y="60854"/>
                                        </a:lnTo>
                                        <a:lnTo>
                                          <a:pt x="145521" y="63500"/>
                                        </a:lnTo>
                                        <a:lnTo>
                                          <a:pt x="145521" y="68791"/>
                                        </a:lnTo>
                                        <a:lnTo>
                                          <a:pt x="145521" y="71437"/>
                                        </a:lnTo>
                                        <a:lnTo>
                                          <a:pt x="148166" y="74083"/>
                                        </a:lnTo>
                                        <a:lnTo>
                                          <a:pt x="156104" y="76729"/>
                                        </a:lnTo>
                                        <a:lnTo>
                                          <a:pt x="166688" y="82021"/>
                                        </a:lnTo>
                                        <a:lnTo>
                                          <a:pt x="171979" y="89958"/>
                                        </a:lnTo>
                                        <a:lnTo>
                                          <a:pt x="177271" y="97896"/>
                                        </a:lnTo>
                                        <a:lnTo>
                                          <a:pt x="182563" y="108479"/>
                                        </a:lnTo>
                                        <a:lnTo>
                                          <a:pt x="187854" y="113771"/>
                                        </a:lnTo>
                                        <a:lnTo>
                                          <a:pt x="193146" y="119062"/>
                                        </a:lnTo>
                                        <a:lnTo>
                                          <a:pt x="206375" y="132291"/>
                                        </a:lnTo>
                                        <a:lnTo>
                                          <a:pt x="211667" y="134937"/>
                                        </a:lnTo>
                                        <a:lnTo>
                                          <a:pt x="214313" y="134937"/>
                                        </a:lnTo>
                                        <a:lnTo>
                                          <a:pt x="222250" y="137583"/>
                                        </a:lnTo>
                                        <a:lnTo>
                                          <a:pt x="224896" y="137583"/>
                                        </a:lnTo>
                                        <a:lnTo>
                                          <a:pt x="230188" y="137583"/>
                                        </a:lnTo>
                                        <a:lnTo>
                                          <a:pt x="232833" y="137583"/>
                                        </a:lnTo>
                                        <a:lnTo>
                                          <a:pt x="238125" y="137583"/>
                                        </a:lnTo>
                                        <a:lnTo>
                                          <a:pt x="243417" y="142875"/>
                                        </a:lnTo>
                                        <a:lnTo>
                                          <a:pt x="240771" y="145521"/>
                                        </a:lnTo>
                                        <a:lnTo>
                                          <a:pt x="235479" y="148166"/>
                                        </a:lnTo>
                                        <a:lnTo>
                                          <a:pt x="240771" y="150812"/>
                                        </a:lnTo>
                                        <a:lnTo>
                                          <a:pt x="254000" y="156104"/>
                                        </a:lnTo>
                                        <a:lnTo>
                                          <a:pt x="264583" y="161396"/>
                                        </a:lnTo>
                                        <a:lnTo>
                                          <a:pt x="272521" y="166687"/>
                                        </a:lnTo>
                                        <a:lnTo>
                                          <a:pt x="277813" y="171979"/>
                                        </a:lnTo>
                                        <a:lnTo>
                                          <a:pt x="285750" y="171979"/>
                                        </a:lnTo>
                                        <a:lnTo>
                                          <a:pt x="293688" y="177271"/>
                                        </a:lnTo>
                                        <a:lnTo>
                                          <a:pt x="298979" y="182562"/>
                                        </a:lnTo>
                                        <a:lnTo>
                                          <a:pt x="298979" y="185208"/>
                                        </a:lnTo>
                                        <a:lnTo>
                                          <a:pt x="296333" y="187854"/>
                                        </a:lnTo>
                                        <a:lnTo>
                                          <a:pt x="296333" y="190500"/>
                                        </a:lnTo>
                                        <a:lnTo>
                                          <a:pt x="296333" y="193146"/>
                                        </a:lnTo>
                                        <a:lnTo>
                                          <a:pt x="293688" y="193146"/>
                                        </a:lnTo>
                                        <a:lnTo>
                                          <a:pt x="291042" y="187854"/>
                                        </a:lnTo>
                                        <a:lnTo>
                                          <a:pt x="285750" y="182562"/>
                                        </a:lnTo>
                                        <a:lnTo>
                                          <a:pt x="277813" y="182562"/>
                                        </a:lnTo>
                                        <a:lnTo>
                                          <a:pt x="275167" y="182562"/>
                                        </a:lnTo>
                                        <a:lnTo>
                                          <a:pt x="272521" y="179916"/>
                                        </a:lnTo>
                                        <a:lnTo>
                                          <a:pt x="269875" y="177271"/>
                                        </a:lnTo>
                                        <a:lnTo>
                                          <a:pt x="267229" y="179916"/>
                                        </a:lnTo>
                                        <a:lnTo>
                                          <a:pt x="261938" y="185208"/>
                                        </a:lnTo>
                                        <a:lnTo>
                                          <a:pt x="261938" y="187854"/>
                                        </a:lnTo>
                                        <a:lnTo>
                                          <a:pt x="261938" y="193146"/>
                                        </a:lnTo>
                                        <a:lnTo>
                                          <a:pt x="261938" y="195791"/>
                                        </a:lnTo>
                                        <a:lnTo>
                                          <a:pt x="259292" y="198437"/>
                                        </a:lnTo>
                                        <a:lnTo>
                                          <a:pt x="264583" y="198437"/>
                                        </a:lnTo>
                                        <a:lnTo>
                                          <a:pt x="269875" y="203729"/>
                                        </a:lnTo>
                                        <a:lnTo>
                                          <a:pt x="269875" y="206375"/>
                                        </a:lnTo>
                                        <a:lnTo>
                                          <a:pt x="275167" y="211666"/>
                                        </a:lnTo>
                                        <a:lnTo>
                                          <a:pt x="275167" y="214312"/>
                                        </a:lnTo>
                                        <a:lnTo>
                                          <a:pt x="275167" y="216958"/>
                                        </a:lnTo>
                                        <a:lnTo>
                                          <a:pt x="272521" y="216958"/>
                                        </a:lnTo>
                                        <a:lnTo>
                                          <a:pt x="269875" y="216958"/>
                                        </a:lnTo>
                                        <a:lnTo>
                                          <a:pt x="267229" y="216958"/>
                                        </a:lnTo>
                                        <a:lnTo>
                                          <a:pt x="267229" y="222250"/>
                                        </a:lnTo>
                                        <a:lnTo>
                                          <a:pt x="267229" y="227541"/>
                                        </a:lnTo>
                                        <a:lnTo>
                                          <a:pt x="261938" y="232833"/>
                                        </a:lnTo>
                                        <a:lnTo>
                                          <a:pt x="259292" y="235479"/>
                                        </a:lnTo>
                                        <a:lnTo>
                                          <a:pt x="256646" y="240771"/>
                                        </a:lnTo>
                                        <a:lnTo>
                                          <a:pt x="254000" y="246062"/>
                                        </a:lnTo>
                                        <a:lnTo>
                                          <a:pt x="251354" y="248708"/>
                                        </a:lnTo>
                                        <a:lnTo>
                                          <a:pt x="243417" y="251354"/>
                                        </a:lnTo>
                                        <a:lnTo>
                                          <a:pt x="240771" y="251354"/>
                                        </a:lnTo>
                                        <a:lnTo>
                                          <a:pt x="238125" y="248708"/>
                                        </a:lnTo>
                                        <a:lnTo>
                                          <a:pt x="235479" y="246062"/>
                                        </a:lnTo>
                                        <a:lnTo>
                                          <a:pt x="238125" y="243417"/>
                                        </a:lnTo>
                                        <a:lnTo>
                                          <a:pt x="240771" y="235479"/>
                                        </a:lnTo>
                                        <a:lnTo>
                                          <a:pt x="240771" y="232833"/>
                                        </a:lnTo>
                                        <a:lnTo>
                                          <a:pt x="238125" y="230187"/>
                                        </a:lnTo>
                                        <a:lnTo>
                                          <a:pt x="240771" y="227541"/>
                                        </a:lnTo>
                                        <a:lnTo>
                                          <a:pt x="246063" y="222250"/>
                                        </a:lnTo>
                                        <a:lnTo>
                                          <a:pt x="243417" y="216958"/>
                                        </a:lnTo>
                                        <a:lnTo>
                                          <a:pt x="238125" y="206375"/>
                                        </a:lnTo>
                                        <a:lnTo>
                                          <a:pt x="235479" y="201083"/>
                                        </a:lnTo>
                                        <a:lnTo>
                                          <a:pt x="232833" y="195791"/>
                                        </a:lnTo>
                                        <a:lnTo>
                                          <a:pt x="232833" y="190500"/>
                                        </a:lnTo>
                                        <a:lnTo>
                                          <a:pt x="227542" y="190500"/>
                                        </a:lnTo>
                                        <a:lnTo>
                                          <a:pt x="222250" y="190500"/>
                                        </a:lnTo>
                                        <a:lnTo>
                                          <a:pt x="216958" y="187854"/>
                                        </a:lnTo>
                                        <a:lnTo>
                                          <a:pt x="211667" y="185208"/>
                                        </a:lnTo>
                                        <a:lnTo>
                                          <a:pt x="209021" y="182562"/>
                                        </a:lnTo>
                                        <a:lnTo>
                                          <a:pt x="209021" y="179916"/>
                                        </a:lnTo>
                                        <a:lnTo>
                                          <a:pt x="211667" y="179916"/>
                                        </a:lnTo>
                                        <a:lnTo>
                                          <a:pt x="206375" y="177271"/>
                                        </a:lnTo>
                                        <a:lnTo>
                                          <a:pt x="198438" y="174625"/>
                                        </a:lnTo>
                                        <a:lnTo>
                                          <a:pt x="195792" y="171979"/>
                                        </a:lnTo>
                                        <a:lnTo>
                                          <a:pt x="195792" y="166687"/>
                                        </a:lnTo>
                                        <a:lnTo>
                                          <a:pt x="193146" y="169333"/>
                                        </a:lnTo>
                                        <a:lnTo>
                                          <a:pt x="187854" y="169333"/>
                                        </a:lnTo>
                                        <a:lnTo>
                                          <a:pt x="185208" y="166687"/>
                                        </a:lnTo>
                                        <a:lnTo>
                                          <a:pt x="182563" y="164041"/>
                                        </a:lnTo>
                                        <a:lnTo>
                                          <a:pt x="179917" y="161396"/>
                                        </a:lnTo>
                                        <a:lnTo>
                                          <a:pt x="171979" y="161396"/>
                                        </a:lnTo>
                                        <a:lnTo>
                                          <a:pt x="164042" y="158750"/>
                                        </a:lnTo>
                                        <a:lnTo>
                                          <a:pt x="148166" y="145521"/>
                                        </a:lnTo>
                                        <a:lnTo>
                                          <a:pt x="145521" y="142875"/>
                                        </a:lnTo>
                                        <a:lnTo>
                                          <a:pt x="142875" y="140229"/>
                                        </a:lnTo>
                                        <a:lnTo>
                                          <a:pt x="140229" y="137583"/>
                                        </a:lnTo>
                                        <a:lnTo>
                                          <a:pt x="132291" y="132291"/>
                                        </a:lnTo>
                                        <a:lnTo>
                                          <a:pt x="129646" y="127000"/>
                                        </a:lnTo>
                                        <a:lnTo>
                                          <a:pt x="129646" y="124354"/>
                                        </a:lnTo>
                                        <a:lnTo>
                                          <a:pt x="127000" y="124354"/>
                                        </a:lnTo>
                                        <a:lnTo>
                                          <a:pt x="121708" y="124354"/>
                                        </a:lnTo>
                                        <a:lnTo>
                                          <a:pt x="119062" y="124354"/>
                                        </a:lnTo>
                                        <a:lnTo>
                                          <a:pt x="116416" y="119062"/>
                                        </a:lnTo>
                                        <a:lnTo>
                                          <a:pt x="111125" y="111125"/>
                                        </a:lnTo>
                                        <a:lnTo>
                                          <a:pt x="103187" y="103187"/>
                                        </a:lnTo>
                                        <a:lnTo>
                                          <a:pt x="100541" y="100541"/>
                                        </a:lnTo>
                                        <a:lnTo>
                                          <a:pt x="97896" y="97896"/>
                                        </a:lnTo>
                                        <a:lnTo>
                                          <a:pt x="97896" y="95250"/>
                                        </a:lnTo>
                                        <a:lnTo>
                                          <a:pt x="95250" y="92604"/>
                                        </a:lnTo>
                                        <a:lnTo>
                                          <a:pt x="92604" y="89958"/>
                                        </a:lnTo>
                                        <a:lnTo>
                                          <a:pt x="89958" y="84666"/>
                                        </a:lnTo>
                                        <a:lnTo>
                                          <a:pt x="84666" y="79375"/>
                                        </a:lnTo>
                                        <a:lnTo>
                                          <a:pt x="74083" y="74083"/>
                                        </a:lnTo>
                                        <a:lnTo>
                                          <a:pt x="63500" y="71437"/>
                                        </a:lnTo>
                                        <a:lnTo>
                                          <a:pt x="52916" y="71437"/>
                                        </a:lnTo>
                                        <a:lnTo>
                                          <a:pt x="47625" y="71437"/>
                                        </a:lnTo>
                                        <a:lnTo>
                                          <a:pt x="42333" y="74083"/>
                                        </a:lnTo>
                                        <a:lnTo>
                                          <a:pt x="29104" y="82021"/>
                                        </a:lnTo>
                                        <a:lnTo>
                                          <a:pt x="18521" y="87312"/>
                                        </a:lnTo>
                                        <a:lnTo>
                                          <a:pt x="21166" y="82021"/>
                                        </a:lnTo>
                                        <a:lnTo>
                                          <a:pt x="21166" y="79375"/>
                                        </a:lnTo>
                                        <a:lnTo>
                                          <a:pt x="18521" y="79375"/>
                                        </a:lnTo>
                                        <a:lnTo>
                                          <a:pt x="10583" y="79375"/>
                                        </a:lnTo>
                                        <a:lnTo>
                                          <a:pt x="7937" y="76729"/>
                                        </a:lnTo>
                                        <a:lnTo>
                                          <a:pt x="5291" y="68791"/>
                                        </a:lnTo>
                                        <a:lnTo>
                                          <a:pt x="5291" y="63500"/>
                                        </a:lnTo>
                                        <a:lnTo>
                                          <a:pt x="7937" y="58208"/>
                                        </a:lnTo>
                                        <a:lnTo>
                                          <a:pt x="7937" y="55562"/>
                                        </a:lnTo>
                                        <a:lnTo>
                                          <a:pt x="2646" y="52917"/>
                                        </a:lnTo>
                                        <a:lnTo>
                                          <a:pt x="0" y="52917"/>
                                        </a:lnTo>
                                        <a:lnTo>
                                          <a:pt x="0" y="50271"/>
                                        </a:lnTo>
                                        <a:lnTo>
                                          <a:pt x="7937" y="42333"/>
                                        </a:lnTo>
                                        <a:lnTo>
                                          <a:pt x="7937" y="39687"/>
                                        </a:lnTo>
                                        <a:lnTo>
                                          <a:pt x="5291" y="39687"/>
                                        </a:lnTo>
                                        <a:lnTo>
                                          <a:pt x="2646" y="34396"/>
                                        </a:lnTo>
                                        <a:lnTo>
                                          <a:pt x="2646" y="29104"/>
                                        </a:lnTo>
                                        <a:lnTo>
                                          <a:pt x="7937" y="26458"/>
                                        </a:lnTo>
                                        <a:lnTo>
                                          <a:pt x="15875" y="26458"/>
                                        </a:lnTo>
                                        <a:lnTo>
                                          <a:pt x="21166" y="29104"/>
                                        </a:lnTo>
                                        <a:lnTo>
                                          <a:pt x="23812" y="26458"/>
                                        </a:lnTo>
                                        <a:lnTo>
                                          <a:pt x="29104" y="21167"/>
                                        </a:lnTo>
                                        <a:lnTo>
                                          <a:pt x="34396" y="15875"/>
                                        </a:lnTo>
                                        <a:lnTo>
                                          <a:pt x="39687" y="15875"/>
                                        </a:lnTo>
                                        <a:lnTo>
                                          <a:pt x="39687" y="18521"/>
                                        </a:lnTo>
                                        <a:lnTo>
                                          <a:pt x="39687" y="21167"/>
                                        </a:lnTo>
                                        <a:lnTo>
                                          <a:pt x="42333" y="23812"/>
                                        </a:lnTo>
                                        <a:lnTo>
                                          <a:pt x="50271" y="26458"/>
                                        </a:lnTo>
                                        <a:lnTo>
                                          <a:pt x="52916" y="26458"/>
                                        </a:lnTo>
                                        <a:lnTo>
                                          <a:pt x="55562" y="21167"/>
                                        </a:lnTo>
                                        <a:lnTo>
                                          <a:pt x="58208" y="18521"/>
                                        </a:lnTo>
                                        <a:lnTo>
                                          <a:pt x="60854" y="15875"/>
                                        </a:lnTo>
                                        <a:lnTo>
                                          <a:pt x="60854" y="13229"/>
                                        </a:lnTo>
                                        <a:lnTo>
                                          <a:pt x="63500" y="13229"/>
                                        </a:lnTo>
                                        <a:lnTo>
                                          <a:pt x="66146" y="15875"/>
                                        </a:lnTo>
                                        <a:lnTo>
                                          <a:pt x="68791" y="15875"/>
                                        </a:lnTo>
                                        <a:lnTo>
                                          <a:pt x="71437" y="15875"/>
                                        </a:lnTo>
                                        <a:lnTo>
                                          <a:pt x="74083" y="18521"/>
                                        </a:lnTo>
                                        <a:lnTo>
                                          <a:pt x="76729" y="18521"/>
                                        </a:lnTo>
                                        <a:lnTo>
                                          <a:pt x="76729" y="15875"/>
                                        </a:lnTo>
                                        <a:lnTo>
                                          <a:pt x="74083" y="10583"/>
                                        </a:lnTo>
                                        <a:lnTo>
                                          <a:pt x="76729" y="10583"/>
                                        </a:lnTo>
                                        <a:lnTo>
                                          <a:pt x="82021" y="10583"/>
                                        </a:lnTo>
                                        <a:lnTo>
                                          <a:pt x="82021" y="7937"/>
                                        </a:lnTo>
                                        <a:lnTo>
                                          <a:pt x="87312" y="5292"/>
                                        </a:lnTo>
                                        <a:lnTo>
                                          <a:pt x="92604" y="7937"/>
                                        </a:lnTo>
                                        <a:lnTo>
                                          <a:pt x="95250" y="7937"/>
                                        </a:lnTo>
                                        <a:lnTo>
                                          <a:pt x="97896" y="7937"/>
                                        </a:lnTo>
                                        <a:lnTo>
                                          <a:pt x="100541" y="5292"/>
                                        </a:lnTo>
                                        <a:lnTo>
                                          <a:pt x="103187" y="2646"/>
                                        </a:lnTo>
                                        <a:lnTo>
                                          <a:pt x="111125" y="2646"/>
                                        </a:lnTo>
                                        <a:lnTo>
                                          <a:pt x="119062" y="2646"/>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5" name="Japan"/>
                                  <p:cNvSpPr>
                                    <a:spLocks/>
                                  </p:cNvSpPr>
                                  <p:nvPr/>
                                </p:nvSpPr>
                                <p:spPr bwMode="auto">
                                  <a:xfrm>
                                    <a:off x="9666569" y="2010063"/>
                                    <a:ext cx="288576" cy="479504"/>
                                  </a:xfrm>
                                  <a:custGeom>
                                    <a:avLst/>
                                    <a:gdLst/>
                                    <a:ahLst/>
                                    <a:cxnLst/>
                                    <a:rect l="l" t="t" r="r" b="b"/>
                                    <a:pathLst>
                                      <a:path w="251354" h="418042">
                                        <a:moveTo>
                                          <a:pt x="21166" y="336021"/>
                                        </a:moveTo>
                                        <a:lnTo>
                                          <a:pt x="29104" y="336021"/>
                                        </a:lnTo>
                                        <a:lnTo>
                                          <a:pt x="29104" y="338667"/>
                                        </a:lnTo>
                                        <a:lnTo>
                                          <a:pt x="29104" y="341313"/>
                                        </a:lnTo>
                                        <a:lnTo>
                                          <a:pt x="34396" y="343959"/>
                                        </a:lnTo>
                                        <a:lnTo>
                                          <a:pt x="39687" y="343959"/>
                                        </a:lnTo>
                                        <a:lnTo>
                                          <a:pt x="42333" y="343959"/>
                                        </a:lnTo>
                                        <a:lnTo>
                                          <a:pt x="44979" y="341313"/>
                                        </a:lnTo>
                                        <a:lnTo>
                                          <a:pt x="47625" y="341313"/>
                                        </a:lnTo>
                                        <a:lnTo>
                                          <a:pt x="52917" y="346604"/>
                                        </a:lnTo>
                                        <a:lnTo>
                                          <a:pt x="52917" y="351896"/>
                                        </a:lnTo>
                                        <a:lnTo>
                                          <a:pt x="55562" y="351896"/>
                                        </a:lnTo>
                                        <a:lnTo>
                                          <a:pt x="60854" y="354542"/>
                                        </a:lnTo>
                                        <a:lnTo>
                                          <a:pt x="63500" y="357188"/>
                                        </a:lnTo>
                                        <a:lnTo>
                                          <a:pt x="66146" y="359834"/>
                                        </a:lnTo>
                                        <a:lnTo>
                                          <a:pt x="66146" y="362480"/>
                                        </a:lnTo>
                                        <a:lnTo>
                                          <a:pt x="66146" y="365125"/>
                                        </a:lnTo>
                                        <a:lnTo>
                                          <a:pt x="63500" y="370417"/>
                                        </a:lnTo>
                                        <a:lnTo>
                                          <a:pt x="63500" y="378355"/>
                                        </a:lnTo>
                                        <a:lnTo>
                                          <a:pt x="66146" y="391584"/>
                                        </a:lnTo>
                                        <a:lnTo>
                                          <a:pt x="66146" y="394230"/>
                                        </a:lnTo>
                                        <a:lnTo>
                                          <a:pt x="66146" y="396875"/>
                                        </a:lnTo>
                                        <a:lnTo>
                                          <a:pt x="63500" y="402167"/>
                                        </a:lnTo>
                                        <a:lnTo>
                                          <a:pt x="63500" y="410105"/>
                                        </a:lnTo>
                                        <a:lnTo>
                                          <a:pt x="63500" y="412750"/>
                                        </a:lnTo>
                                        <a:lnTo>
                                          <a:pt x="60854" y="415396"/>
                                        </a:lnTo>
                                        <a:lnTo>
                                          <a:pt x="55562" y="418042"/>
                                        </a:lnTo>
                                        <a:lnTo>
                                          <a:pt x="55562" y="415396"/>
                                        </a:lnTo>
                                        <a:lnTo>
                                          <a:pt x="58208" y="412750"/>
                                        </a:lnTo>
                                        <a:lnTo>
                                          <a:pt x="58208" y="410105"/>
                                        </a:lnTo>
                                        <a:lnTo>
                                          <a:pt x="55562" y="410105"/>
                                        </a:lnTo>
                                        <a:lnTo>
                                          <a:pt x="52917" y="407459"/>
                                        </a:lnTo>
                                        <a:lnTo>
                                          <a:pt x="52917" y="410105"/>
                                        </a:lnTo>
                                        <a:lnTo>
                                          <a:pt x="52917" y="412750"/>
                                        </a:lnTo>
                                        <a:lnTo>
                                          <a:pt x="50271" y="415396"/>
                                        </a:lnTo>
                                        <a:lnTo>
                                          <a:pt x="47625" y="415396"/>
                                        </a:lnTo>
                                        <a:lnTo>
                                          <a:pt x="42333" y="415396"/>
                                        </a:lnTo>
                                        <a:lnTo>
                                          <a:pt x="42333" y="412750"/>
                                        </a:lnTo>
                                        <a:lnTo>
                                          <a:pt x="42333" y="410105"/>
                                        </a:lnTo>
                                        <a:lnTo>
                                          <a:pt x="39687" y="407459"/>
                                        </a:lnTo>
                                        <a:lnTo>
                                          <a:pt x="37042" y="404813"/>
                                        </a:lnTo>
                                        <a:lnTo>
                                          <a:pt x="31750" y="402167"/>
                                        </a:lnTo>
                                        <a:lnTo>
                                          <a:pt x="29104" y="399521"/>
                                        </a:lnTo>
                                        <a:lnTo>
                                          <a:pt x="29104" y="396875"/>
                                        </a:lnTo>
                                        <a:lnTo>
                                          <a:pt x="34396" y="394230"/>
                                        </a:lnTo>
                                        <a:lnTo>
                                          <a:pt x="34396" y="388938"/>
                                        </a:lnTo>
                                        <a:lnTo>
                                          <a:pt x="34396" y="383646"/>
                                        </a:lnTo>
                                        <a:lnTo>
                                          <a:pt x="29104" y="381000"/>
                                        </a:lnTo>
                                        <a:lnTo>
                                          <a:pt x="29104" y="378355"/>
                                        </a:lnTo>
                                        <a:lnTo>
                                          <a:pt x="29104" y="375709"/>
                                        </a:lnTo>
                                        <a:lnTo>
                                          <a:pt x="26458" y="370417"/>
                                        </a:lnTo>
                                        <a:lnTo>
                                          <a:pt x="18521" y="365125"/>
                                        </a:lnTo>
                                        <a:lnTo>
                                          <a:pt x="18521" y="367771"/>
                                        </a:lnTo>
                                        <a:lnTo>
                                          <a:pt x="21166" y="370417"/>
                                        </a:lnTo>
                                        <a:lnTo>
                                          <a:pt x="18521" y="373063"/>
                                        </a:lnTo>
                                        <a:lnTo>
                                          <a:pt x="15875" y="375709"/>
                                        </a:lnTo>
                                        <a:lnTo>
                                          <a:pt x="13229" y="373063"/>
                                        </a:lnTo>
                                        <a:lnTo>
                                          <a:pt x="13229" y="370417"/>
                                        </a:lnTo>
                                        <a:lnTo>
                                          <a:pt x="10583" y="370417"/>
                                        </a:lnTo>
                                        <a:lnTo>
                                          <a:pt x="5291" y="367771"/>
                                        </a:lnTo>
                                        <a:lnTo>
                                          <a:pt x="2646" y="359834"/>
                                        </a:lnTo>
                                        <a:lnTo>
                                          <a:pt x="0" y="357188"/>
                                        </a:lnTo>
                                        <a:lnTo>
                                          <a:pt x="0" y="354542"/>
                                        </a:lnTo>
                                        <a:lnTo>
                                          <a:pt x="2646" y="349250"/>
                                        </a:lnTo>
                                        <a:lnTo>
                                          <a:pt x="5291" y="351896"/>
                                        </a:lnTo>
                                        <a:lnTo>
                                          <a:pt x="7937" y="351896"/>
                                        </a:lnTo>
                                        <a:lnTo>
                                          <a:pt x="7937" y="343959"/>
                                        </a:lnTo>
                                        <a:lnTo>
                                          <a:pt x="10583" y="341313"/>
                                        </a:lnTo>
                                        <a:lnTo>
                                          <a:pt x="13229" y="338667"/>
                                        </a:lnTo>
                                        <a:close/>
                                        <a:moveTo>
                                          <a:pt x="89959" y="325438"/>
                                        </a:moveTo>
                                        <a:lnTo>
                                          <a:pt x="97896" y="325438"/>
                                        </a:lnTo>
                                        <a:lnTo>
                                          <a:pt x="105834" y="325438"/>
                                        </a:lnTo>
                                        <a:lnTo>
                                          <a:pt x="105834" y="328084"/>
                                        </a:lnTo>
                                        <a:lnTo>
                                          <a:pt x="111126" y="328084"/>
                                        </a:lnTo>
                                        <a:lnTo>
                                          <a:pt x="116417" y="333376"/>
                                        </a:lnTo>
                                        <a:lnTo>
                                          <a:pt x="119063" y="336021"/>
                                        </a:lnTo>
                                        <a:lnTo>
                                          <a:pt x="119063" y="338667"/>
                                        </a:lnTo>
                                        <a:lnTo>
                                          <a:pt x="119063" y="341313"/>
                                        </a:lnTo>
                                        <a:lnTo>
                                          <a:pt x="113772" y="349250"/>
                                        </a:lnTo>
                                        <a:lnTo>
                                          <a:pt x="113772" y="351896"/>
                                        </a:lnTo>
                                        <a:lnTo>
                                          <a:pt x="113772" y="354542"/>
                                        </a:lnTo>
                                        <a:lnTo>
                                          <a:pt x="111126" y="354542"/>
                                        </a:lnTo>
                                        <a:lnTo>
                                          <a:pt x="105834" y="351896"/>
                                        </a:lnTo>
                                        <a:lnTo>
                                          <a:pt x="103188" y="349250"/>
                                        </a:lnTo>
                                        <a:lnTo>
                                          <a:pt x="97896" y="351896"/>
                                        </a:lnTo>
                                        <a:lnTo>
                                          <a:pt x="95251" y="354542"/>
                                        </a:lnTo>
                                        <a:lnTo>
                                          <a:pt x="95251" y="359834"/>
                                        </a:lnTo>
                                        <a:lnTo>
                                          <a:pt x="92605" y="365125"/>
                                        </a:lnTo>
                                        <a:lnTo>
                                          <a:pt x="95251" y="367771"/>
                                        </a:lnTo>
                                        <a:lnTo>
                                          <a:pt x="89959" y="367771"/>
                                        </a:lnTo>
                                        <a:lnTo>
                                          <a:pt x="87313" y="367771"/>
                                        </a:lnTo>
                                        <a:lnTo>
                                          <a:pt x="84667" y="365125"/>
                                        </a:lnTo>
                                        <a:lnTo>
                                          <a:pt x="82021" y="365125"/>
                                        </a:lnTo>
                                        <a:lnTo>
                                          <a:pt x="79375" y="359834"/>
                                        </a:lnTo>
                                        <a:lnTo>
                                          <a:pt x="79375" y="357188"/>
                                        </a:lnTo>
                                        <a:lnTo>
                                          <a:pt x="76729" y="354542"/>
                                        </a:lnTo>
                                        <a:lnTo>
                                          <a:pt x="74083" y="354542"/>
                                        </a:lnTo>
                                        <a:lnTo>
                                          <a:pt x="68792" y="354542"/>
                                        </a:lnTo>
                                        <a:lnTo>
                                          <a:pt x="66146" y="357188"/>
                                        </a:lnTo>
                                        <a:lnTo>
                                          <a:pt x="66146" y="354542"/>
                                        </a:lnTo>
                                        <a:lnTo>
                                          <a:pt x="68792" y="351896"/>
                                        </a:lnTo>
                                        <a:lnTo>
                                          <a:pt x="68792" y="343959"/>
                                        </a:lnTo>
                                        <a:lnTo>
                                          <a:pt x="71437" y="338667"/>
                                        </a:lnTo>
                                        <a:lnTo>
                                          <a:pt x="76729" y="330730"/>
                                        </a:lnTo>
                                        <a:lnTo>
                                          <a:pt x="79375" y="330730"/>
                                        </a:lnTo>
                                        <a:lnTo>
                                          <a:pt x="82021" y="330730"/>
                                        </a:lnTo>
                                        <a:lnTo>
                                          <a:pt x="82021" y="333376"/>
                                        </a:lnTo>
                                        <a:lnTo>
                                          <a:pt x="87313" y="330730"/>
                                        </a:lnTo>
                                        <a:lnTo>
                                          <a:pt x="87313" y="328084"/>
                                        </a:lnTo>
                                        <a:close/>
                                        <a:moveTo>
                                          <a:pt x="150813" y="111125"/>
                                        </a:moveTo>
                                        <a:lnTo>
                                          <a:pt x="158750" y="113771"/>
                                        </a:lnTo>
                                        <a:lnTo>
                                          <a:pt x="164042" y="113771"/>
                                        </a:lnTo>
                                        <a:lnTo>
                                          <a:pt x="166688" y="113771"/>
                                        </a:lnTo>
                                        <a:lnTo>
                                          <a:pt x="169333" y="116417"/>
                                        </a:lnTo>
                                        <a:lnTo>
                                          <a:pt x="169333" y="121708"/>
                                        </a:lnTo>
                                        <a:lnTo>
                                          <a:pt x="169333" y="127000"/>
                                        </a:lnTo>
                                        <a:lnTo>
                                          <a:pt x="171979" y="129646"/>
                                        </a:lnTo>
                                        <a:lnTo>
                                          <a:pt x="182563" y="132292"/>
                                        </a:lnTo>
                                        <a:lnTo>
                                          <a:pt x="193146" y="137584"/>
                                        </a:lnTo>
                                        <a:lnTo>
                                          <a:pt x="203729" y="142875"/>
                                        </a:lnTo>
                                        <a:lnTo>
                                          <a:pt x="214313" y="156104"/>
                                        </a:lnTo>
                                        <a:lnTo>
                                          <a:pt x="216958" y="164042"/>
                                        </a:lnTo>
                                        <a:lnTo>
                                          <a:pt x="219604" y="171979"/>
                                        </a:lnTo>
                                        <a:lnTo>
                                          <a:pt x="224896" y="190500"/>
                                        </a:lnTo>
                                        <a:lnTo>
                                          <a:pt x="227542" y="195792"/>
                                        </a:lnTo>
                                        <a:lnTo>
                                          <a:pt x="224896" y="198438"/>
                                        </a:lnTo>
                                        <a:lnTo>
                                          <a:pt x="222250" y="195792"/>
                                        </a:lnTo>
                                        <a:lnTo>
                                          <a:pt x="219604" y="195792"/>
                                        </a:lnTo>
                                        <a:lnTo>
                                          <a:pt x="216958" y="198438"/>
                                        </a:lnTo>
                                        <a:lnTo>
                                          <a:pt x="216958" y="206375"/>
                                        </a:lnTo>
                                        <a:lnTo>
                                          <a:pt x="222250" y="211667"/>
                                        </a:lnTo>
                                        <a:lnTo>
                                          <a:pt x="230188" y="219605"/>
                                        </a:lnTo>
                                        <a:lnTo>
                                          <a:pt x="235479" y="227542"/>
                                        </a:lnTo>
                                        <a:lnTo>
                                          <a:pt x="235479" y="235480"/>
                                        </a:lnTo>
                                        <a:lnTo>
                                          <a:pt x="235479" y="254000"/>
                                        </a:lnTo>
                                        <a:lnTo>
                                          <a:pt x="238125" y="261938"/>
                                        </a:lnTo>
                                        <a:lnTo>
                                          <a:pt x="240771" y="264584"/>
                                        </a:lnTo>
                                        <a:lnTo>
                                          <a:pt x="248708" y="269875"/>
                                        </a:lnTo>
                                        <a:lnTo>
                                          <a:pt x="251354" y="275167"/>
                                        </a:lnTo>
                                        <a:lnTo>
                                          <a:pt x="248708" y="280459"/>
                                        </a:lnTo>
                                        <a:lnTo>
                                          <a:pt x="246063" y="288396"/>
                                        </a:lnTo>
                                        <a:lnTo>
                                          <a:pt x="246063" y="293688"/>
                                        </a:lnTo>
                                        <a:lnTo>
                                          <a:pt x="243417" y="296334"/>
                                        </a:lnTo>
                                        <a:lnTo>
                                          <a:pt x="238125" y="301626"/>
                                        </a:lnTo>
                                        <a:lnTo>
                                          <a:pt x="238125" y="293688"/>
                                        </a:lnTo>
                                        <a:lnTo>
                                          <a:pt x="235479" y="283105"/>
                                        </a:lnTo>
                                        <a:lnTo>
                                          <a:pt x="232833" y="280459"/>
                                        </a:lnTo>
                                        <a:lnTo>
                                          <a:pt x="230188" y="280459"/>
                                        </a:lnTo>
                                        <a:lnTo>
                                          <a:pt x="227542" y="283105"/>
                                        </a:lnTo>
                                        <a:lnTo>
                                          <a:pt x="227542" y="285751"/>
                                        </a:lnTo>
                                        <a:lnTo>
                                          <a:pt x="230188" y="288396"/>
                                        </a:lnTo>
                                        <a:lnTo>
                                          <a:pt x="230188" y="291042"/>
                                        </a:lnTo>
                                        <a:lnTo>
                                          <a:pt x="230188" y="293688"/>
                                        </a:lnTo>
                                        <a:lnTo>
                                          <a:pt x="230188" y="296334"/>
                                        </a:lnTo>
                                        <a:lnTo>
                                          <a:pt x="227542" y="296334"/>
                                        </a:lnTo>
                                        <a:lnTo>
                                          <a:pt x="222250" y="298980"/>
                                        </a:lnTo>
                                        <a:lnTo>
                                          <a:pt x="224896" y="301626"/>
                                        </a:lnTo>
                                        <a:lnTo>
                                          <a:pt x="224896" y="306917"/>
                                        </a:lnTo>
                                        <a:lnTo>
                                          <a:pt x="222250" y="309563"/>
                                        </a:lnTo>
                                        <a:lnTo>
                                          <a:pt x="219604" y="309563"/>
                                        </a:lnTo>
                                        <a:lnTo>
                                          <a:pt x="216958" y="306917"/>
                                        </a:lnTo>
                                        <a:lnTo>
                                          <a:pt x="214313" y="304271"/>
                                        </a:lnTo>
                                        <a:lnTo>
                                          <a:pt x="211667" y="301626"/>
                                        </a:lnTo>
                                        <a:lnTo>
                                          <a:pt x="209021" y="301626"/>
                                        </a:lnTo>
                                        <a:lnTo>
                                          <a:pt x="206375" y="306917"/>
                                        </a:lnTo>
                                        <a:lnTo>
                                          <a:pt x="203729" y="309563"/>
                                        </a:lnTo>
                                        <a:lnTo>
                                          <a:pt x="198438" y="312209"/>
                                        </a:lnTo>
                                        <a:lnTo>
                                          <a:pt x="190500" y="312209"/>
                                        </a:lnTo>
                                        <a:lnTo>
                                          <a:pt x="174625" y="309563"/>
                                        </a:lnTo>
                                        <a:lnTo>
                                          <a:pt x="171979" y="309563"/>
                                        </a:lnTo>
                                        <a:lnTo>
                                          <a:pt x="174625" y="306917"/>
                                        </a:lnTo>
                                        <a:lnTo>
                                          <a:pt x="171979" y="306917"/>
                                        </a:lnTo>
                                        <a:lnTo>
                                          <a:pt x="164042" y="306917"/>
                                        </a:lnTo>
                                        <a:lnTo>
                                          <a:pt x="161396" y="304271"/>
                                        </a:lnTo>
                                        <a:lnTo>
                                          <a:pt x="158750" y="304271"/>
                                        </a:lnTo>
                                        <a:lnTo>
                                          <a:pt x="158750" y="306917"/>
                                        </a:lnTo>
                                        <a:lnTo>
                                          <a:pt x="158750" y="309563"/>
                                        </a:lnTo>
                                        <a:lnTo>
                                          <a:pt x="161396" y="312209"/>
                                        </a:lnTo>
                                        <a:lnTo>
                                          <a:pt x="164042" y="312209"/>
                                        </a:lnTo>
                                        <a:lnTo>
                                          <a:pt x="166688" y="312209"/>
                                        </a:lnTo>
                                        <a:lnTo>
                                          <a:pt x="169333" y="314855"/>
                                        </a:lnTo>
                                        <a:lnTo>
                                          <a:pt x="171979" y="317501"/>
                                        </a:lnTo>
                                        <a:lnTo>
                                          <a:pt x="169333" y="320146"/>
                                        </a:lnTo>
                                        <a:lnTo>
                                          <a:pt x="166688" y="322792"/>
                                        </a:lnTo>
                                        <a:lnTo>
                                          <a:pt x="164042" y="328084"/>
                                        </a:lnTo>
                                        <a:lnTo>
                                          <a:pt x="164042" y="333376"/>
                                        </a:lnTo>
                                        <a:lnTo>
                                          <a:pt x="164042" y="336021"/>
                                        </a:lnTo>
                                        <a:lnTo>
                                          <a:pt x="166688" y="338667"/>
                                        </a:lnTo>
                                        <a:lnTo>
                                          <a:pt x="161396" y="341313"/>
                                        </a:lnTo>
                                        <a:lnTo>
                                          <a:pt x="153458" y="338667"/>
                                        </a:lnTo>
                                        <a:lnTo>
                                          <a:pt x="145521" y="336021"/>
                                        </a:lnTo>
                                        <a:lnTo>
                                          <a:pt x="140229" y="336021"/>
                                        </a:lnTo>
                                        <a:lnTo>
                                          <a:pt x="134938" y="333376"/>
                                        </a:lnTo>
                                        <a:lnTo>
                                          <a:pt x="132292" y="333376"/>
                                        </a:lnTo>
                                        <a:lnTo>
                                          <a:pt x="132292" y="325438"/>
                                        </a:lnTo>
                                        <a:lnTo>
                                          <a:pt x="132292" y="320146"/>
                                        </a:lnTo>
                                        <a:lnTo>
                                          <a:pt x="129646" y="317501"/>
                                        </a:lnTo>
                                        <a:lnTo>
                                          <a:pt x="127000" y="314855"/>
                                        </a:lnTo>
                                        <a:lnTo>
                                          <a:pt x="129646" y="309563"/>
                                        </a:lnTo>
                                        <a:lnTo>
                                          <a:pt x="119063" y="312209"/>
                                        </a:lnTo>
                                        <a:lnTo>
                                          <a:pt x="105833" y="309563"/>
                                        </a:lnTo>
                                        <a:lnTo>
                                          <a:pt x="100542" y="312209"/>
                                        </a:lnTo>
                                        <a:lnTo>
                                          <a:pt x="97896" y="312209"/>
                                        </a:lnTo>
                                        <a:lnTo>
                                          <a:pt x="97896" y="314855"/>
                                        </a:lnTo>
                                        <a:lnTo>
                                          <a:pt x="92604" y="314855"/>
                                        </a:lnTo>
                                        <a:lnTo>
                                          <a:pt x="87313" y="314855"/>
                                        </a:lnTo>
                                        <a:lnTo>
                                          <a:pt x="84667" y="317501"/>
                                        </a:lnTo>
                                        <a:lnTo>
                                          <a:pt x="82020" y="320146"/>
                                        </a:lnTo>
                                        <a:lnTo>
                                          <a:pt x="76729" y="317501"/>
                                        </a:lnTo>
                                        <a:lnTo>
                                          <a:pt x="74083" y="317501"/>
                                        </a:lnTo>
                                        <a:lnTo>
                                          <a:pt x="71437" y="320146"/>
                                        </a:lnTo>
                                        <a:lnTo>
                                          <a:pt x="71437" y="322792"/>
                                        </a:lnTo>
                                        <a:lnTo>
                                          <a:pt x="66145" y="320146"/>
                                        </a:lnTo>
                                        <a:lnTo>
                                          <a:pt x="63500" y="322792"/>
                                        </a:lnTo>
                                        <a:lnTo>
                                          <a:pt x="60854" y="328084"/>
                                        </a:lnTo>
                                        <a:lnTo>
                                          <a:pt x="58208" y="333376"/>
                                        </a:lnTo>
                                        <a:lnTo>
                                          <a:pt x="55562" y="333376"/>
                                        </a:lnTo>
                                        <a:lnTo>
                                          <a:pt x="52916" y="333376"/>
                                        </a:lnTo>
                                        <a:lnTo>
                                          <a:pt x="44979" y="330730"/>
                                        </a:lnTo>
                                        <a:lnTo>
                                          <a:pt x="37041" y="333376"/>
                                        </a:lnTo>
                                        <a:lnTo>
                                          <a:pt x="29104" y="333376"/>
                                        </a:lnTo>
                                        <a:lnTo>
                                          <a:pt x="23812" y="333376"/>
                                        </a:lnTo>
                                        <a:lnTo>
                                          <a:pt x="18520" y="328084"/>
                                        </a:lnTo>
                                        <a:lnTo>
                                          <a:pt x="13229" y="322792"/>
                                        </a:lnTo>
                                        <a:lnTo>
                                          <a:pt x="13229" y="320146"/>
                                        </a:lnTo>
                                        <a:lnTo>
                                          <a:pt x="15875" y="320146"/>
                                        </a:lnTo>
                                        <a:lnTo>
                                          <a:pt x="23812" y="317501"/>
                                        </a:lnTo>
                                        <a:lnTo>
                                          <a:pt x="26458" y="317501"/>
                                        </a:lnTo>
                                        <a:lnTo>
                                          <a:pt x="29104" y="314855"/>
                                        </a:lnTo>
                                        <a:lnTo>
                                          <a:pt x="34395" y="304271"/>
                                        </a:lnTo>
                                        <a:lnTo>
                                          <a:pt x="39687" y="296334"/>
                                        </a:lnTo>
                                        <a:lnTo>
                                          <a:pt x="44979" y="291042"/>
                                        </a:lnTo>
                                        <a:lnTo>
                                          <a:pt x="42333" y="288396"/>
                                        </a:lnTo>
                                        <a:lnTo>
                                          <a:pt x="50270" y="285751"/>
                                        </a:lnTo>
                                        <a:lnTo>
                                          <a:pt x="58208" y="283105"/>
                                        </a:lnTo>
                                        <a:lnTo>
                                          <a:pt x="63500" y="283105"/>
                                        </a:lnTo>
                                        <a:lnTo>
                                          <a:pt x="76729" y="280459"/>
                                        </a:lnTo>
                                        <a:lnTo>
                                          <a:pt x="95250" y="275167"/>
                                        </a:lnTo>
                                        <a:lnTo>
                                          <a:pt x="97896" y="275167"/>
                                        </a:lnTo>
                                        <a:lnTo>
                                          <a:pt x="100542" y="275167"/>
                                        </a:lnTo>
                                        <a:lnTo>
                                          <a:pt x="103188" y="277813"/>
                                        </a:lnTo>
                                        <a:lnTo>
                                          <a:pt x="105833" y="275167"/>
                                        </a:lnTo>
                                        <a:lnTo>
                                          <a:pt x="111125" y="275167"/>
                                        </a:lnTo>
                                        <a:lnTo>
                                          <a:pt x="113771" y="277813"/>
                                        </a:lnTo>
                                        <a:lnTo>
                                          <a:pt x="116417" y="280459"/>
                                        </a:lnTo>
                                        <a:lnTo>
                                          <a:pt x="121708" y="277813"/>
                                        </a:lnTo>
                                        <a:lnTo>
                                          <a:pt x="124354" y="275167"/>
                                        </a:lnTo>
                                        <a:lnTo>
                                          <a:pt x="121708" y="272521"/>
                                        </a:lnTo>
                                        <a:lnTo>
                                          <a:pt x="119063" y="269875"/>
                                        </a:lnTo>
                                        <a:lnTo>
                                          <a:pt x="119063" y="261938"/>
                                        </a:lnTo>
                                        <a:lnTo>
                                          <a:pt x="119063" y="254000"/>
                                        </a:lnTo>
                                        <a:lnTo>
                                          <a:pt x="116417" y="248709"/>
                                        </a:lnTo>
                                        <a:lnTo>
                                          <a:pt x="113771" y="243417"/>
                                        </a:lnTo>
                                        <a:lnTo>
                                          <a:pt x="116417" y="235480"/>
                                        </a:lnTo>
                                        <a:lnTo>
                                          <a:pt x="124354" y="224896"/>
                                        </a:lnTo>
                                        <a:lnTo>
                                          <a:pt x="127000" y="224896"/>
                                        </a:lnTo>
                                        <a:lnTo>
                                          <a:pt x="129646" y="224896"/>
                                        </a:lnTo>
                                        <a:lnTo>
                                          <a:pt x="129646" y="227542"/>
                                        </a:lnTo>
                                        <a:lnTo>
                                          <a:pt x="129646" y="232834"/>
                                        </a:lnTo>
                                        <a:lnTo>
                                          <a:pt x="127000" y="235480"/>
                                        </a:lnTo>
                                        <a:lnTo>
                                          <a:pt x="129646" y="235480"/>
                                        </a:lnTo>
                                        <a:lnTo>
                                          <a:pt x="132292" y="238125"/>
                                        </a:lnTo>
                                        <a:lnTo>
                                          <a:pt x="132292" y="243417"/>
                                        </a:lnTo>
                                        <a:lnTo>
                                          <a:pt x="137583" y="243417"/>
                                        </a:lnTo>
                                        <a:lnTo>
                                          <a:pt x="145521" y="235480"/>
                                        </a:lnTo>
                                        <a:lnTo>
                                          <a:pt x="158750" y="224896"/>
                                        </a:lnTo>
                                        <a:lnTo>
                                          <a:pt x="164042" y="219605"/>
                                        </a:lnTo>
                                        <a:lnTo>
                                          <a:pt x="164042" y="214313"/>
                                        </a:lnTo>
                                        <a:lnTo>
                                          <a:pt x="164042" y="209021"/>
                                        </a:lnTo>
                                        <a:lnTo>
                                          <a:pt x="166688" y="203729"/>
                                        </a:lnTo>
                                        <a:lnTo>
                                          <a:pt x="169333" y="193146"/>
                                        </a:lnTo>
                                        <a:lnTo>
                                          <a:pt x="166688" y="182563"/>
                                        </a:lnTo>
                                        <a:lnTo>
                                          <a:pt x="164042" y="174625"/>
                                        </a:lnTo>
                                        <a:lnTo>
                                          <a:pt x="158750" y="169334"/>
                                        </a:lnTo>
                                        <a:lnTo>
                                          <a:pt x="156104" y="166688"/>
                                        </a:lnTo>
                                        <a:lnTo>
                                          <a:pt x="153458" y="166688"/>
                                        </a:lnTo>
                                        <a:lnTo>
                                          <a:pt x="150813" y="166688"/>
                                        </a:lnTo>
                                        <a:lnTo>
                                          <a:pt x="148167" y="164042"/>
                                        </a:lnTo>
                                        <a:lnTo>
                                          <a:pt x="148167" y="161396"/>
                                        </a:lnTo>
                                        <a:lnTo>
                                          <a:pt x="150813" y="158750"/>
                                        </a:lnTo>
                                        <a:lnTo>
                                          <a:pt x="150813" y="153459"/>
                                        </a:lnTo>
                                        <a:lnTo>
                                          <a:pt x="140229" y="142875"/>
                                        </a:lnTo>
                                        <a:lnTo>
                                          <a:pt x="137583" y="140229"/>
                                        </a:lnTo>
                                        <a:lnTo>
                                          <a:pt x="137583" y="137584"/>
                                        </a:lnTo>
                                        <a:lnTo>
                                          <a:pt x="142875" y="132292"/>
                                        </a:lnTo>
                                        <a:lnTo>
                                          <a:pt x="140229" y="129646"/>
                                        </a:lnTo>
                                        <a:lnTo>
                                          <a:pt x="137583" y="127000"/>
                                        </a:lnTo>
                                        <a:lnTo>
                                          <a:pt x="137583" y="124354"/>
                                        </a:lnTo>
                                        <a:lnTo>
                                          <a:pt x="140229" y="121708"/>
                                        </a:lnTo>
                                        <a:lnTo>
                                          <a:pt x="142875" y="121708"/>
                                        </a:lnTo>
                                        <a:lnTo>
                                          <a:pt x="148167" y="124354"/>
                                        </a:lnTo>
                                        <a:lnTo>
                                          <a:pt x="153458" y="127000"/>
                                        </a:lnTo>
                                        <a:lnTo>
                                          <a:pt x="156104" y="127000"/>
                                        </a:lnTo>
                                        <a:lnTo>
                                          <a:pt x="158750" y="119063"/>
                                        </a:lnTo>
                                        <a:lnTo>
                                          <a:pt x="158750" y="116417"/>
                                        </a:lnTo>
                                        <a:lnTo>
                                          <a:pt x="153458" y="119063"/>
                                        </a:lnTo>
                                        <a:lnTo>
                                          <a:pt x="150813" y="121708"/>
                                        </a:lnTo>
                                        <a:lnTo>
                                          <a:pt x="148167" y="121708"/>
                                        </a:lnTo>
                                        <a:lnTo>
                                          <a:pt x="148167" y="116417"/>
                                        </a:lnTo>
                                        <a:lnTo>
                                          <a:pt x="148167" y="113771"/>
                                        </a:lnTo>
                                        <a:close/>
                                        <a:moveTo>
                                          <a:pt x="89958" y="0"/>
                                        </a:moveTo>
                                        <a:lnTo>
                                          <a:pt x="92604" y="0"/>
                                        </a:lnTo>
                                        <a:lnTo>
                                          <a:pt x="95250" y="2646"/>
                                        </a:lnTo>
                                        <a:lnTo>
                                          <a:pt x="105833" y="10584"/>
                                        </a:lnTo>
                                        <a:lnTo>
                                          <a:pt x="113771" y="15875"/>
                                        </a:lnTo>
                                        <a:lnTo>
                                          <a:pt x="124354" y="21167"/>
                                        </a:lnTo>
                                        <a:lnTo>
                                          <a:pt x="134937" y="23813"/>
                                        </a:lnTo>
                                        <a:lnTo>
                                          <a:pt x="142875" y="29104"/>
                                        </a:lnTo>
                                        <a:lnTo>
                                          <a:pt x="153458" y="34396"/>
                                        </a:lnTo>
                                        <a:lnTo>
                                          <a:pt x="164042" y="37042"/>
                                        </a:lnTo>
                                        <a:lnTo>
                                          <a:pt x="185208" y="42334"/>
                                        </a:lnTo>
                                        <a:lnTo>
                                          <a:pt x="193146" y="44979"/>
                                        </a:lnTo>
                                        <a:lnTo>
                                          <a:pt x="195792" y="42334"/>
                                        </a:lnTo>
                                        <a:lnTo>
                                          <a:pt x="203729" y="37042"/>
                                        </a:lnTo>
                                        <a:lnTo>
                                          <a:pt x="209021" y="29104"/>
                                        </a:lnTo>
                                        <a:lnTo>
                                          <a:pt x="211667" y="29104"/>
                                        </a:lnTo>
                                        <a:lnTo>
                                          <a:pt x="209021" y="42334"/>
                                        </a:lnTo>
                                        <a:lnTo>
                                          <a:pt x="209021" y="47625"/>
                                        </a:lnTo>
                                        <a:lnTo>
                                          <a:pt x="211667" y="50271"/>
                                        </a:lnTo>
                                        <a:lnTo>
                                          <a:pt x="216958" y="50271"/>
                                        </a:lnTo>
                                        <a:lnTo>
                                          <a:pt x="216958" y="52917"/>
                                        </a:lnTo>
                                        <a:lnTo>
                                          <a:pt x="219604" y="58209"/>
                                        </a:lnTo>
                                        <a:lnTo>
                                          <a:pt x="222250" y="58209"/>
                                        </a:lnTo>
                                        <a:lnTo>
                                          <a:pt x="230188" y="58209"/>
                                        </a:lnTo>
                                        <a:lnTo>
                                          <a:pt x="235479" y="58209"/>
                                        </a:lnTo>
                                        <a:lnTo>
                                          <a:pt x="227542" y="63500"/>
                                        </a:lnTo>
                                        <a:lnTo>
                                          <a:pt x="216958" y="71438"/>
                                        </a:lnTo>
                                        <a:lnTo>
                                          <a:pt x="211667" y="71438"/>
                                        </a:lnTo>
                                        <a:lnTo>
                                          <a:pt x="203729" y="71438"/>
                                        </a:lnTo>
                                        <a:lnTo>
                                          <a:pt x="198437" y="74084"/>
                                        </a:lnTo>
                                        <a:lnTo>
                                          <a:pt x="193146" y="79375"/>
                                        </a:lnTo>
                                        <a:lnTo>
                                          <a:pt x="193146" y="84667"/>
                                        </a:lnTo>
                                        <a:lnTo>
                                          <a:pt x="193146" y="89959"/>
                                        </a:lnTo>
                                        <a:lnTo>
                                          <a:pt x="198437" y="95251"/>
                                        </a:lnTo>
                                        <a:lnTo>
                                          <a:pt x="195792" y="95251"/>
                                        </a:lnTo>
                                        <a:lnTo>
                                          <a:pt x="187854" y="95251"/>
                                        </a:lnTo>
                                        <a:lnTo>
                                          <a:pt x="177271" y="92605"/>
                                        </a:lnTo>
                                        <a:lnTo>
                                          <a:pt x="169333" y="89959"/>
                                        </a:lnTo>
                                        <a:lnTo>
                                          <a:pt x="161396" y="89959"/>
                                        </a:lnTo>
                                        <a:lnTo>
                                          <a:pt x="150812" y="84667"/>
                                        </a:lnTo>
                                        <a:lnTo>
                                          <a:pt x="145521" y="82021"/>
                                        </a:lnTo>
                                        <a:lnTo>
                                          <a:pt x="142875" y="82021"/>
                                        </a:lnTo>
                                        <a:lnTo>
                                          <a:pt x="137583" y="84667"/>
                                        </a:lnTo>
                                        <a:lnTo>
                                          <a:pt x="134937" y="87313"/>
                                        </a:lnTo>
                                        <a:lnTo>
                                          <a:pt x="132291" y="89959"/>
                                        </a:lnTo>
                                        <a:lnTo>
                                          <a:pt x="129646" y="87313"/>
                                        </a:lnTo>
                                        <a:lnTo>
                                          <a:pt x="121708" y="87313"/>
                                        </a:lnTo>
                                        <a:lnTo>
                                          <a:pt x="116416" y="89959"/>
                                        </a:lnTo>
                                        <a:lnTo>
                                          <a:pt x="116416" y="92605"/>
                                        </a:lnTo>
                                        <a:lnTo>
                                          <a:pt x="124354" y="95251"/>
                                        </a:lnTo>
                                        <a:lnTo>
                                          <a:pt x="134937" y="97896"/>
                                        </a:lnTo>
                                        <a:lnTo>
                                          <a:pt x="142875" y="103188"/>
                                        </a:lnTo>
                                        <a:lnTo>
                                          <a:pt x="148166" y="108480"/>
                                        </a:lnTo>
                                        <a:lnTo>
                                          <a:pt x="137583" y="111126"/>
                                        </a:lnTo>
                                        <a:lnTo>
                                          <a:pt x="134937" y="116417"/>
                                        </a:lnTo>
                                        <a:lnTo>
                                          <a:pt x="132291" y="119063"/>
                                        </a:lnTo>
                                        <a:lnTo>
                                          <a:pt x="127000" y="119063"/>
                                        </a:lnTo>
                                        <a:lnTo>
                                          <a:pt x="124354" y="119063"/>
                                        </a:lnTo>
                                        <a:lnTo>
                                          <a:pt x="121708" y="116417"/>
                                        </a:lnTo>
                                        <a:lnTo>
                                          <a:pt x="121708" y="108480"/>
                                        </a:lnTo>
                                        <a:lnTo>
                                          <a:pt x="121708" y="103188"/>
                                        </a:lnTo>
                                        <a:lnTo>
                                          <a:pt x="119062" y="103188"/>
                                        </a:lnTo>
                                        <a:lnTo>
                                          <a:pt x="116416" y="100542"/>
                                        </a:lnTo>
                                        <a:lnTo>
                                          <a:pt x="108479" y="97896"/>
                                        </a:lnTo>
                                        <a:lnTo>
                                          <a:pt x="103187" y="95251"/>
                                        </a:lnTo>
                                        <a:lnTo>
                                          <a:pt x="100541" y="89959"/>
                                        </a:lnTo>
                                        <a:lnTo>
                                          <a:pt x="103187" y="84667"/>
                                        </a:lnTo>
                                        <a:lnTo>
                                          <a:pt x="105833" y="82021"/>
                                        </a:lnTo>
                                        <a:lnTo>
                                          <a:pt x="105833" y="79375"/>
                                        </a:lnTo>
                                        <a:lnTo>
                                          <a:pt x="103187" y="74084"/>
                                        </a:lnTo>
                                        <a:lnTo>
                                          <a:pt x="97895" y="71438"/>
                                        </a:lnTo>
                                        <a:lnTo>
                                          <a:pt x="97895" y="68792"/>
                                        </a:lnTo>
                                        <a:lnTo>
                                          <a:pt x="100541" y="68792"/>
                                        </a:lnTo>
                                        <a:lnTo>
                                          <a:pt x="105833" y="68792"/>
                                        </a:lnTo>
                                        <a:lnTo>
                                          <a:pt x="111125" y="68792"/>
                                        </a:lnTo>
                                        <a:lnTo>
                                          <a:pt x="116416" y="63500"/>
                                        </a:lnTo>
                                        <a:lnTo>
                                          <a:pt x="116416" y="60855"/>
                                        </a:lnTo>
                                        <a:lnTo>
                                          <a:pt x="111125" y="55563"/>
                                        </a:lnTo>
                                        <a:lnTo>
                                          <a:pt x="108479" y="50271"/>
                                        </a:lnTo>
                                        <a:lnTo>
                                          <a:pt x="108479" y="47625"/>
                                        </a:lnTo>
                                        <a:lnTo>
                                          <a:pt x="108479" y="42334"/>
                                        </a:lnTo>
                                        <a:lnTo>
                                          <a:pt x="111125" y="39688"/>
                                        </a:lnTo>
                                        <a:lnTo>
                                          <a:pt x="108479" y="37042"/>
                                        </a:lnTo>
                                        <a:lnTo>
                                          <a:pt x="103187" y="34396"/>
                                        </a:lnTo>
                                        <a:lnTo>
                                          <a:pt x="100541" y="31750"/>
                                        </a:lnTo>
                                        <a:lnTo>
                                          <a:pt x="95250" y="21167"/>
                                        </a:lnTo>
                                        <a:lnTo>
                                          <a:pt x="89958" y="15875"/>
                                        </a:lnTo>
                                        <a:lnTo>
                                          <a:pt x="84666" y="13229"/>
                                        </a:lnTo>
                                        <a:lnTo>
                                          <a:pt x="84666" y="10584"/>
                                        </a:lnTo>
                                        <a:lnTo>
                                          <a:pt x="87312" y="793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6" name="South Korea"/>
                                  <p:cNvSpPr>
                                    <a:spLocks/>
                                  </p:cNvSpPr>
                                  <p:nvPr/>
                                </p:nvSpPr>
                                <p:spPr bwMode="auto">
                                  <a:xfrm>
                                    <a:off x="9493423" y="2225537"/>
                                    <a:ext cx="127581" cy="163881"/>
                                  </a:xfrm>
                                  <a:custGeom>
                                    <a:avLst/>
                                    <a:gdLst/>
                                    <a:ahLst/>
                                    <a:cxnLst>
                                      <a:cxn ang="0">
                                        <a:pos x="0" y="26"/>
                                      </a:cxn>
                                      <a:cxn ang="0">
                                        <a:pos x="6" y="28"/>
                                      </a:cxn>
                                      <a:cxn ang="0">
                                        <a:pos x="10" y="32"/>
                                      </a:cxn>
                                      <a:cxn ang="0">
                                        <a:pos x="8" y="34"/>
                                      </a:cxn>
                                      <a:cxn ang="0">
                                        <a:pos x="8" y="36"/>
                                      </a:cxn>
                                      <a:cxn ang="0">
                                        <a:pos x="16" y="42"/>
                                      </a:cxn>
                                      <a:cxn ang="0">
                                        <a:pos x="12" y="40"/>
                                      </a:cxn>
                                      <a:cxn ang="0">
                                        <a:pos x="8" y="40"/>
                                      </a:cxn>
                                      <a:cxn ang="0">
                                        <a:pos x="4" y="40"/>
                                      </a:cxn>
                                      <a:cxn ang="0">
                                        <a:pos x="2" y="44"/>
                                      </a:cxn>
                                      <a:cxn ang="0">
                                        <a:pos x="2" y="48"/>
                                      </a:cxn>
                                      <a:cxn ang="0">
                                        <a:pos x="8" y="48"/>
                                      </a:cxn>
                                      <a:cxn ang="0">
                                        <a:pos x="14" y="56"/>
                                      </a:cxn>
                                      <a:cxn ang="0">
                                        <a:pos x="16" y="60"/>
                                      </a:cxn>
                                      <a:cxn ang="0">
                                        <a:pos x="18" y="64"/>
                                      </a:cxn>
                                      <a:cxn ang="0">
                                        <a:pos x="20" y="64"/>
                                      </a:cxn>
                                      <a:cxn ang="0">
                                        <a:pos x="22" y="68"/>
                                      </a:cxn>
                                      <a:cxn ang="0">
                                        <a:pos x="24" y="70"/>
                                      </a:cxn>
                                      <a:cxn ang="0">
                                        <a:pos x="20" y="76"/>
                                      </a:cxn>
                                      <a:cxn ang="0">
                                        <a:pos x="24" y="76"/>
                                      </a:cxn>
                                      <a:cxn ang="0">
                                        <a:pos x="20" y="80"/>
                                      </a:cxn>
                                      <a:cxn ang="0">
                                        <a:pos x="20" y="90"/>
                                      </a:cxn>
                                      <a:cxn ang="0">
                                        <a:pos x="24" y="92"/>
                                      </a:cxn>
                                      <a:cxn ang="0">
                                        <a:pos x="24" y="98"/>
                                      </a:cxn>
                                      <a:cxn ang="0">
                                        <a:pos x="26" y="98"/>
                                      </a:cxn>
                                      <a:cxn ang="0">
                                        <a:pos x="28" y="100"/>
                                      </a:cxn>
                                      <a:cxn ang="0">
                                        <a:pos x="28" y="106"/>
                                      </a:cxn>
                                      <a:cxn ang="0">
                                        <a:pos x="30" y="108"/>
                                      </a:cxn>
                                      <a:cxn ang="0">
                                        <a:pos x="36" y="104"/>
                                      </a:cxn>
                                      <a:cxn ang="0">
                                        <a:pos x="42" y="102"/>
                                      </a:cxn>
                                      <a:cxn ang="0">
                                        <a:pos x="48" y="98"/>
                                      </a:cxn>
                                      <a:cxn ang="0">
                                        <a:pos x="46" y="100"/>
                                      </a:cxn>
                                      <a:cxn ang="0">
                                        <a:pos x="52" y="100"/>
                                      </a:cxn>
                                      <a:cxn ang="0">
                                        <a:pos x="52" y="98"/>
                                      </a:cxn>
                                      <a:cxn ang="0">
                                        <a:pos x="52" y="98"/>
                                      </a:cxn>
                                      <a:cxn ang="0">
                                        <a:pos x="58" y="98"/>
                                      </a:cxn>
                                      <a:cxn ang="0">
                                        <a:pos x="58" y="94"/>
                                      </a:cxn>
                                      <a:cxn ang="0">
                                        <a:pos x="62" y="92"/>
                                      </a:cxn>
                                      <a:cxn ang="0">
                                        <a:pos x="64" y="96"/>
                                      </a:cxn>
                                      <a:cxn ang="0">
                                        <a:pos x="68" y="96"/>
                                      </a:cxn>
                                      <a:cxn ang="0">
                                        <a:pos x="70" y="98"/>
                                      </a:cxn>
                                      <a:cxn ang="0">
                                        <a:pos x="74" y="96"/>
                                      </a:cxn>
                                      <a:cxn ang="0">
                                        <a:pos x="68" y="96"/>
                                      </a:cxn>
                                      <a:cxn ang="0">
                                        <a:pos x="68" y="94"/>
                                      </a:cxn>
                                      <a:cxn ang="0">
                                        <a:pos x="70" y="92"/>
                                      </a:cxn>
                                      <a:cxn ang="0">
                                        <a:pos x="78" y="90"/>
                                      </a:cxn>
                                      <a:cxn ang="0">
                                        <a:pos x="82" y="82"/>
                                      </a:cxn>
                                      <a:cxn ang="0">
                                        <a:pos x="84" y="76"/>
                                      </a:cxn>
                                      <a:cxn ang="0">
                                        <a:pos x="80" y="64"/>
                                      </a:cxn>
                                      <a:cxn ang="0">
                                        <a:pos x="78" y="62"/>
                                      </a:cxn>
                                      <a:cxn ang="0">
                                        <a:pos x="76" y="58"/>
                                      </a:cxn>
                                      <a:cxn ang="0">
                                        <a:pos x="74" y="46"/>
                                      </a:cxn>
                                      <a:cxn ang="0">
                                        <a:pos x="56" y="20"/>
                                      </a:cxn>
                                      <a:cxn ang="0">
                                        <a:pos x="44" y="12"/>
                                      </a:cxn>
                                      <a:cxn ang="0">
                                        <a:pos x="28" y="2"/>
                                      </a:cxn>
                                      <a:cxn ang="0">
                                        <a:pos x="20" y="6"/>
                                      </a:cxn>
                                      <a:cxn ang="0">
                                        <a:pos x="8" y="12"/>
                                      </a:cxn>
                                    </a:cxnLst>
                                    <a:rect l="0" t="0" r="r" b="b"/>
                                    <a:pathLst>
                                      <a:path w="84" h="108">
                                        <a:moveTo>
                                          <a:pt x="0" y="22"/>
                                        </a:moveTo>
                                        <a:lnTo>
                                          <a:pt x="0" y="22"/>
                                        </a:lnTo>
                                        <a:lnTo>
                                          <a:pt x="0" y="26"/>
                                        </a:lnTo>
                                        <a:lnTo>
                                          <a:pt x="4" y="28"/>
                                        </a:lnTo>
                                        <a:lnTo>
                                          <a:pt x="4" y="28"/>
                                        </a:lnTo>
                                        <a:lnTo>
                                          <a:pt x="6" y="28"/>
                                        </a:lnTo>
                                        <a:lnTo>
                                          <a:pt x="6" y="30"/>
                                        </a:lnTo>
                                        <a:lnTo>
                                          <a:pt x="8" y="32"/>
                                        </a:lnTo>
                                        <a:lnTo>
                                          <a:pt x="10" y="32"/>
                                        </a:lnTo>
                                        <a:lnTo>
                                          <a:pt x="10" y="32"/>
                                        </a:lnTo>
                                        <a:lnTo>
                                          <a:pt x="10" y="32"/>
                                        </a:lnTo>
                                        <a:lnTo>
                                          <a:pt x="8" y="34"/>
                                        </a:lnTo>
                                        <a:lnTo>
                                          <a:pt x="6" y="36"/>
                                        </a:lnTo>
                                        <a:lnTo>
                                          <a:pt x="8" y="36"/>
                                        </a:lnTo>
                                        <a:lnTo>
                                          <a:pt x="8" y="36"/>
                                        </a:lnTo>
                                        <a:lnTo>
                                          <a:pt x="16" y="40"/>
                                        </a:lnTo>
                                        <a:lnTo>
                                          <a:pt x="18" y="40"/>
                                        </a:lnTo>
                                        <a:lnTo>
                                          <a:pt x="16" y="42"/>
                                        </a:lnTo>
                                        <a:lnTo>
                                          <a:pt x="16" y="42"/>
                                        </a:lnTo>
                                        <a:lnTo>
                                          <a:pt x="14" y="42"/>
                                        </a:lnTo>
                                        <a:lnTo>
                                          <a:pt x="12" y="40"/>
                                        </a:lnTo>
                                        <a:lnTo>
                                          <a:pt x="10" y="40"/>
                                        </a:lnTo>
                                        <a:lnTo>
                                          <a:pt x="8" y="40"/>
                                        </a:lnTo>
                                        <a:lnTo>
                                          <a:pt x="8" y="40"/>
                                        </a:lnTo>
                                        <a:lnTo>
                                          <a:pt x="8" y="40"/>
                                        </a:lnTo>
                                        <a:lnTo>
                                          <a:pt x="4" y="40"/>
                                        </a:lnTo>
                                        <a:lnTo>
                                          <a:pt x="4" y="40"/>
                                        </a:lnTo>
                                        <a:lnTo>
                                          <a:pt x="2" y="42"/>
                                        </a:lnTo>
                                        <a:lnTo>
                                          <a:pt x="2" y="42"/>
                                        </a:lnTo>
                                        <a:lnTo>
                                          <a:pt x="2" y="44"/>
                                        </a:lnTo>
                                        <a:lnTo>
                                          <a:pt x="2" y="46"/>
                                        </a:lnTo>
                                        <a:lnTo>
                                          <a:pt x="2" y="46"/>
                                        </a:lnTo>
                                        <a:lnTo>
                                          <a:pt x="2" y="48"/>
                                        </a:lnTo>
                                        <a:lnTo>
                                          <a:pt x="2" y="48"/>
                                        </a:lnTo>
                                        <a:lnTo>
                                          <a:pt x="6" y="48"/>
                                        </a:lnTo>
                                        <a:lnTo>
                                          <a:pt x="8" y="48"/>
                                        </a:lnTo>
                                        <a:lnTo>
                                          <a:pt x="8" y="48"/>
                                        </a:lnTo>
                                        <a:lnTo>
                                          <a:pt x="14" y="56"/>
                                        </a:lnTo>
                                        <a:lnTo>
                                          <a:pt x="14" y="56"/>
                                        </a:lnTo>
                                        <a:lnTo>
                                          <a:pt x="14" y="58"/>
                                        </a:lnTo>
                                        <a:lnTo>
                                          <a:pt x="16" y="60"/>
                                        </a:lnTo>
                                        <a:lnTo>
                                          <a:pt x="16" y="60"/>
                                        </a:lnTo>
                                        <a:lnTo>
                                          <a:pt x="18" y="60"/>
                                        </a:lnTo>
                                        <a:lnTo>
                                          <a:pt x="18" y="62"/>
                                        </a:lnTo>
                                        <a:lnTo>
                                          <a:pt x="18" y="64"/>
                                        </a:lnTo>
                                        <a:lnTo>
                                          <a:pt x="20" y="64"/>
                                        </a:lnTo>
                                        <a:lnTo>
                                          <a:pt x="20" y="64"/>
                                        </a:lnTo>
                                        <a:lnTo>
                                          <a:pt x="20" y="64"/>
                                        </a:lnTo>
                                        <a:lnTo>
                                          <a:pt x="20" y="64"/>
                                        </a:lnTo>
                                        <a:lnTo>
                                          <a:pt x="18" y="66"/>
                                        </a:lnTo>
                                        <a:lnTo>
                                          <a:pt x="22" y="68"/>
                                        </a:lnTo>
                                        <a:lnTo>
                                          <a:pt x="22" y="68"/>
                                        </a:lnTo>
                                        <a:lnTo>
                                          <a:pt x="24" y="70"/>
                                        </a:lnTo>
                                        <a:lnTo>
                                          <a:pt x="24" y="70"/>
                                        </a:lnTo>
                                        <a:lnTo>
                                          <a:pt x="20" y="72"/>
                                        </a:lnTo>
                                        <a:lnTo>
                                          <a:pt x="20" y="72"/>
                                        </a:lnTo>
                                        <a:lnTo>
                                          <a:pt x="20" y="76"/>
                                        </a:lnTo>
                                        <a:lnTo>
                                          <a:pt x="22" y="76"/>
                                        </a:lnTo>
                                        <a:lnTo>
                                          <a:pt x="22" y="76"/>
                                        </a:lnTo>
                                        <a:lnTo>
                                          <a:pt x="24" y="76"/>
                                        </a:lnTo>
                                        <a:lnTo>
                                          <a:pt x="22" y="76"/>
                                        </a:lnTo>
                                        <a:lnTo>
                                          <a:pt x="22" y="78"/>
                                        </a:lnTo>
                                        <a:lnTo>
                                          <a:pt x="20" y="80"/>
                                        </a:lnTo>
                                        <a:lnTo>
                                          <a:pt x="20" y="80"/>
                                        </a:lnTo>
                                        <a:lnTo>
                                          <a:pt x="20" y="86"/>
                                        </a:lnTo>
                                        <a:lnTo>
                                          <a:pt x="20" y="90"/>
                                        </a:lnTo>
                                        <a:lnTo>
                                          <a:pt x="22" y="92"/>
                                        </a:lnTo>
                                        <a:lnTo>
                                          <a:pt x="22" y="92"/>
                                        </a:lnTo>
                                        <a:lnTo>
                                          <a:pt x="24" y="92"/>
                                        </a:lnTo>
                                        <a:lnTo>
                                          <a:pt x="24" y="94"/>
                                        </a:lnTo>
                                        <a:lnTo>
                                          <a:pt x="24" y="94"/>
                                        </a:lnTo>
                                        <a:lnTo>
                                          <a:pt x="24" y="98"/>
                                        </a:lnTo>
                                        <a:lnTo>
                                          <a:pt x="26" y="98"/>
                                        </a:lnTo>
                                        <a:lnTo>
                                          <a:pt x="26" y="98"/>
                                        </a:lnTo>
                                        <a:lnTo>
                                          <a:pt x="26" y="98"/>
                                        </a:lnTo>
                                        <a:lnTo>
                                          <a:pt x="26" y="100"/>
                                        </a:lnTo>
                                        <a:lnTo>
                                          <a:pt x="28" y="100"/>
                                        </a:lnTo>
                                        <a:lnTo>
                                          <a:pt x="28" y="100"/>
                                        </a:lnTo>
                                        <a:lnTo>
                                          <a:pt x="28" y="100"/>
                                        </a:lnTo>
                                        <a:lnTo>
                                          <a:pt x="28" y="102"/>
                                        </a:lnTo>
                                        <a:lnTo>
                                          <a:pt x="28" y="106"/>
                                        </a:lnTo>
                                        <a:lnTo>
                                          <a:pt x="28" y="106"/>
                                        </a:lnTo>
                                        <a:lnTo>
                                          <a:pt x="28" y="108"/>
                                        </a:lnTo>
                                        <a:lnTo>
                                          <a:pt x="30" y="108"/>
                                        </a:lnTo>
                                        <a:lnTo>
                                          <a:pt x="32" y="108"/>
                                        </a:lnTo>
                                        <a:lnTo>
                                          <a:pt x="36" y="104"/>
                                        </a:lnTo>
                                        <a:lnTo>
                                          <a:pt x="36" y="104"/>
                                        </a:lnTo>
                                        <a:lnTo>
                                          <a:pt x="38" y="104"/>
                                        </a:lnTo>
                                        <a:lnTo>
                                          <a:pt x="40" y="104"/>
                                        </a:lnTo>
                                        <a:lnTo>
                                          <a:pt x="42" y="102"/>
                                        </a:lnTo>
                                        <a:lnTo>
                                          <a:pt x="42" y="102"/>
                                        </a:lnTo>
                                        <a:lnTo>
                                          <a:pt x="46" y="98"/>
                                        </a:lnTo>
                                        <a:lnTo>
                                          <a:pt x="48" y="98"/>
                                        </a:lnTo>
                                        <a:lnTo>
                                          <a:pt x="48" y="98"/>
                                        </a:lnTo>
                                        <a:lnTo>
                                          <a:pt x="48" y="100"/>
                                        </a:lnTo>
                                        <a:lnTo>
                                          <a:pt x="46" y="100"/>
                                        </a:lnTo>
                                        <a:lnTo>
                                          <a:pt x="48" y="100"/>
                                        </a:lnTo>
                                        <a:lnTo>
                                          <a:pt x="48" y="100"/>
                                        </a:lnTo>
                                        <a:lnTo>
                                          <a:pt x="52" y="100"/>
                                        </a:lnTo>
                                        <a:lnTo>
                                          <a:pt x="52" y="98"/>
                                        </a:lnTo>
                                        <a:lnTo>
                                          <a:pt x="52" y="98"/>
                                        </a:lnTo>
                                        <a:lnTo>
                                          <a:pt x="52" y="98"/>
                                        </a:lnTo>
                                        <a:lnTo>
                                          <a:pt x="52" y="96"/>
                                        </a:lnTo>
                                        <a:lnTo>
                                          <a:pt x="52" y="98"/>
                                        </a:lnTo>
                                        <a:lnTo>
                                          <a:pt x="52" y="98"/>
                                        </a:lnTo>
                                        <a:lnTo>
                                          <a:pt x="56" y="98"/>
                                        </a:lnTo>
                                        <a:lnTo>
                                          <a:pt x="58" y="98"/>
                                        </a:lnTo>
                                        <a:lnTo>
                                          <a:pt x="58" y="98"/>
                                        </a:lnTo>
                                        <a:lnTo>
                                          <a:pt x="58" y="98"/>
                                        </a:lnTo>
                                        <a:lnTo>
                                          <a:pt x="56" y="96"/>
                                        </a:lnTo>
                                        <a:lnTo>
                                          <a:pt x="58" y="94"/>
                                        </a:lnTo>
                                        <a:lnTo>
                                          <a:pt x="58" y="94"/>
                                        </a:lnTo>
                                        <a:lnTo>
                                          <a:pt x="62" y="92"/>
                                        </a:lnTo>
                                        <a:lnTo>
                                          <a:pt x="62" y="92"/>
                                        </a:lnTo>
                                        <a:lnTo>
                                          <a:pt x="62" y="94"/>
                                        </a:lnTo>
                                        <a:lnTo>
                                          <a:pt x="62" y="94"/>
                                        </a:lnTo>
                                        <a:lnTo>
                                          <a:pt x="64" y="96"/>
                                        </a:lnTo>
                                        <a:lnTo>
                                          <a:pt x="66" y="96"/>
                                        </a:lnTo>
                                        <a:lnTo>
                                          <a:pt x="66" y="96"/>
                                        </a:lnTo>
                                        <a:lnTo>
                                          <a:pt x="68" y="96"/>
                                        </a:lnTo>
                                        <a:lnTo>
                                          <a:pt x="68" y="98"/>
                                        </a:lnTo>
                                        <a:lnTo>
                                          <a:pt x="68" y="98"/>
                                        </a:lnTo>
                                        <a:lnTo>
                                          <a:pt x="70" y="98"/>
                                        </a:lnTo>
                                        <a:lnTo>
                                          <a:pt x="70" y="98"/>
                                        </a:lnTo>
                                        <a:lnTo>
                                          <a:pt x="74" y="96"/>
                                        </a:lnTo>
                                        <a:lnTo>
                                          <a:pt x="74" y="96"/>
                                        </a:lnTo>
                                        <a:lnTo>
                                          <a:pt x="72" y="96"/>
                                        </a:lnTo>
                                        <a:lnTo>
                                          <a:pt x="72" y="96"/>
                                        </a:lnTo>
                                        <a:lnTo>
                                          <a:pt x="68" y="96"/>
                                        </a:lnTo>
                                        <a:lnTo>
                                          <a:pt x="66" y="94"/>
                                        </a:lnTo>
                                        <a:lnTo>
                                          <a:pt x="66" y="94"/>
                                        </a:lnTo>
                                        <a:lnTo>
                                          <a:pt x="68" y="94"/>
                                        </a:lnTo>
                                        <a:lnTo>
                                          <a:pt x="70" y="94"/>
                                        </a:lnTo>
                                        <a:lnTo>
                                          <a:pt x="70" y="92"/>
                                        </a:lnTo>
                                        <a:lnTo>
                                          <a:pt x="70" y="92"/>
                                        </a:lnTo>
                                        <a:lnTo>
                                          <a:pt x="72" y="94"/>
                                        </a:lnTo>
                                        <a:lnTo>
                                          <a:pt x="74" y="92"/>
                                        </a:lnTo>
                                        <a:lnTo>
                                          <a:pt x="78" y="90"/>
                                        </a:lnTo>
                                        <a:lnTo>
                                          <a:pt x="80" y="86"/>
                                        </a:lnTo>
                                        <a:lnTo>
                                          <a:pt x="80" y="86"/>
                                        </a:lnTo>
                                        <a:lnTo>
                                          <a:pt x="82" y="82"/>
                                        </a:lnTo>
                                        <a:lnTo>
                                          <a:pt x="82" y="82"/>
                                        </a:lnTo>
                                        <a:lnTo>
                                          <a:pt x="84" y="76"/>
                                        </a:lnTo>
                                        <a:lnTo>
                                          <a:pt x="84" y="76"/>
                                        </a:lnTo>
                                        <a:lnTo>
                                          <a:pt x="82" y="64"/>
                                        </a:lnTo>
                                        <a:lnTo>
                                          <a:pt x="82" y="64"/>
                                        </a:lnTo>
                                        <a:lnTo>
                                          <a:pt x="80" y="64"/>
                                        </a:lnTo>
                                        <a:lnTo>
                                          <a:pt x="80" y="64"/>
                                        </a:lnTo>
                                        <a:lnTo>
                                          <a:pt x="80" y="64"/>
                                        </a:lnTo>
                                        <a:lnTo>
                                          <a:pt x="78" y="62"/>
                                        </a:lnTo>
                                        <a:lnTo>
                                          <a:pt x="76" y="62"/>
                                        </a:lnTo>
                                        <a:lnTo>
                                          <a:pt x="76" y="58"/>
                                        </a:lnTo>
                                        <a:lnTo>
                                          <a:pt x="76" y="58"/>
                                        </a:lnTo>
                                        <a:lnTo>
                                          <a:pt x="76" y="52"/>
                                        </a:lnTo>
                                        <a:lnTo>
                                          <a:pt x="74" y="46"/>
                                        </a:lnTo>
                                        <a:lnTo>
                                          <a:pt x="74" y="46"/>
                                        </a:lnTo>
                                        <a:lnTo>
                                          <a:pt x="66" y="32"/>
                                        </a:lnTo>
                                        <a:lnTo>
                                          <a:pt x="56" y="20"/>
                                        </a:lnTo>
                                        <a:lnTo>
                                          <a:pt x="56" y="20"/>
                                        </a:lnTo>
                                        <a:lnTo>
                                          <a:pt x="50" y="16"/>
                                        </a:lnTo>
                                        <a:lnTo>
                                          <a:pt x="44" y="12"/>
                                        </a:lnTo>
                                        <a:lnTo>
                                          <a:pt x="44" y="12"/>
                                        </a:lnTo>
                                        <a:lnTo>
                                          <a:pt x="30" y="0"/>
                                        </a:lnTo>
                                        <a:lnTo>
                                          <a:pt x="30" y="0"/>
                                        </a:lnTo>
                                        <a:lnTo>
                                          <a:pt x="28" y="2"/>
                                        </a:lnTo>
                                        <a:lnTo>
                                          <a:pt x="28" y="4"/>
                                        </a:lnTo>
                                        <a:lnTo>
                                          <a:pt x="26" y="6"/>
                                        </a:lnTo>
                                        <a:lnTo>
                                          <a:pt x="20" y="6"/>
                                        </a:lnTo>
                                        <a:lnTo>
                                          <a:pt x="20" y="6"/>
                                        </a:lnTo>
                                        <a:lnTo>
                                          <a:pt x="12" y="8"/>
                                        </a:lnTo>
                                        <a:lnTo>
                                          <a:pt x="8" y="12"/>
                                        </a:lnTo>
                                        <a:lnTo>
                                          <a:pt x="0" y="22"/>
                                        </a:lnTo>
                                        <a:lnTo>
                                          <a:pt x="0" y="22"/>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7" name="Mexico"/>
                                  <p:cNvSpPr>
                                    <a:spLocks/>
                                  </p:cNvSpPr>
                                  <p:nvPr/>
                                </p:nvSpPr>
                                <p:spPr bwMode="auto">
                                  <a:xfrm>
                                    <a:off x="2254724" y="2456185"/>
                                    <a:ext cx="814088" cy="667663"/>
                                  </a:xfrm>
                                  <a:custGeom>
                                    <a:avLst/>
                                    <a:gdLst/>
                                    <a:ahLst/>
                                    <a:cxnLst>
                                      <a:cxn ang="0">
                                        <a:pos x="326" y="228"/>
                                      </a:cxn>
                                      <a:cxn ang="0">
                                        <a:pos x="324" y="274"/>
                                      </a:cxn>
                                      <a:cxn ang="0">
                                        <a:pos x="340" y="326"/>
                                      </a:cxn>
                                      <a:cxn ang="0">
                                        <a:pos x="360" y="342"/>
                                      </a:cxn>
                                      <a:cxn ang="0">
                                        <a:pos x="406" y="336"/>
                                      </a:cxn>
                                      <a:cxn ang="0">
                                        <a:pos x="430" y="330"/>
                                      </a:cxn>
                                      <a:cxn ang="0">
                                        <a:pos x="442" y="322"/>
                                      </a:cxn>
                                      <a:cxn ang="0">
                                        <a:pos x="456" y="296"/>
                                      </a:cxn>
                                      <a:cxn ang="0">
                                        <a:pos x="498" y="266"/>
                                      </a:cxn>
                                      <a:cxn ang="0">
                                        <a:pos x="532" y="270"/>
                                      </a:cxn>
                                      <a:cxn ang="0">
                                        <a:pos x="522" y="304"/>
                                      </a:cxn>
                                      <a:cxn ang="0">
                                        <a:pos x="516" y="314"/>
                                      </a:cxn>
                                      <a:cxn ang="0">
                                        <a:pos x="500" y="356"/>
                                      </a:cxn>
                                      <a:cxn ang="0">
                                        <a:pos x="492" y="346"/>
                                      </a:cxn>
                                      <a:cxn ang="0">
                                        <a:pos x="432" y="364"/>
                                      </a:cxn>
                                      <a:cxn ang="0">
                                        <a:pos x="428" y="386"/>
                                      </a:cxn>
                                      <a:cxn ang="0">
                                        <a:pos x="424" y="402"/>
                                      </a:cxn>
                                      <a:cxn ang="0">
                                        <a:pos x="380" y="420"/>
                                      </a:cxn>
                                      <a:cxn ang="0">
                                        <a:pos x="356" y="402"/>
                                      </a:cxn>
                                      <a:cxn ang="0">
                                        <a:pos x="350" y="406"/>
                                      </a:cxn>
                                      <a:cxn ang="0">
                                        <a:pos x="312" y="416"/>
                                      </a:cxn>
                                      <a:cxn ang="0">
                                        <a:pos x="274" y="402"/>
                                      </a:cxn>
                                      <a:cxn ang="0">
                                        <a:pos x="234" y="378"/>
                                      </a:cxn>
                                      <a:cxn ang="0">
                                        <a:pos x="186" y="352"/>
                                      </a:cxn>
                                      <a:cxn ang="0">
                                        <a:pos x="162" y="334"/>
                                      </a:cxn>
                                      <a:cxn ang="0">
                                        <a:pos x="144" y="308"/>
                                      </a:cxn>
                                      <a:cxn ang="0">
                                        <a:pos x="154" y="286"/>
                                      </a:cxn>
                                      <a:cxn ang="0">
                                        <a:pos x="160" y="266"/>
                                      </a:cxn>
                                      <a:cxn ang="0">
                                        <a:pos x="124" y="192"/>
                                      </a:cxn>
                                      <a:cxn ang="0">
                                        <a:pos x="118" y="186"/>
                                      </a:cxn>
                                      <a:cxn ang="0">
                                        <a:pos x="108" y="160"/>
                                      </a:cxn>
                                      <a:cxn ang="0">
                                        <a:pos x="94" y="134"/>
                                      </a:cxn>
                                      <a:cxn ang="0">
                                        <a:pos x="84" y="112"/>
                                      </a:cxn>
                                      <a:cxn ang="0">
                                        <a:pos x="72" y="90"/>
                                      </a:cxn>
                                      <a:cxn ang="0">
                                        <a:pos x="66" y="52"/>
                                      </a:cxn>
                                      <a:cxn ang="0">
                                        <a:pos x="50" y="26"/>
                                      </a:cxn>
                                      <a:cxn ang="0">
                                        <a:pos x="38" y="42"/>
                                      </a:cxn>
                                      <a:cxn ang="0">
                                        <a:pos x="50" y="90"/>
                                      </a:cxn>
                                      <a:cxn ang="0">
                                        <a:pos x="58" y="116"/>
                                      </a:cxn>
                                      <a:cxn ang="0">
                                        <a:pos x="68" y="148"/>
                                      </a:cxn>
                                      <a:cxn ang="0">
                                        <a:pos x="66" y="168"/>
                                      </a:cxn>
                                      <a:cxn ang="0">
                                        <a:pos x="76" y="164"/>
                                      </a:cxn>
                                      <a:cxn ang="0">
                                        <a:pos x="74" y="202"/>
                                      </a:cxn>
                                      <a:cxn ang="0">
                                        <a:pos x="86" y="214"/>
                                      </a:cxn>
                                      <a:cxn ang="0">
                                        <a:pos x="70" y="232"/>
                                      </a:cxn>
                                      <a:cxn ang="0">
                                        <a:pos x="46" y="192"/>
                                      </a:cxn>
                                      <a:cxn ang="0">
                                        <a:pos x="44" y="162"/>
                                      </a:cxn>
                                      <a:cxn ang="0">
                                        <a:pos x="24" y="140"/>
                                      </a:cxn>
                                      <a:cxn ang="0">
                                        <a:pos x="6" y="118"/>
                                      </a:cxn>
                                      <a:cxn ang="0">
                                        <a:pos x="22" y="114"/>
                                      </a:cxn>
                                      <a:cxn ang="0">
                                        <a:pos x="28" y="104"/>
                                      </a:cxn>
                                      <a:cxn ang="0">
                                        <a:pos x="4" y="60"/>
                                      </a:cxn>
                                      <a:cxn ang="0">
                                        <a:pos x="2" y="32"/>
                                      </a:cxn>
                                      <a:cxn ang="0">
                                        <a:pos x="4" y="2"/>
                                      </a:cxn>
                                      <a:cxn ang="0">
                                        <a:pos x="200" y="22"/>
                                      </a:cxn>
                                      <a:cxn ang="0">
                                        <a:pos x="224" y="46"/>
                                      </a:cxn>
                                      <a:cxn ang="0">
                                        <a:pos x="252" y="72"/>
                                      </a:cxn>
                                      <a:cxn ang="0">
                                        <a:pos x="278" y="68"/>
                                      </a:cxn>
                                      <a:cxn ang="0">
                                        <a:pos x="312" y="140"/>
                                      </a:cxn>
                                    </a:cxnLst>
                                    <a:rect l="0" t="0" r="r" b="b"/>
                                    <a:pathLst>
                                      <a:path w="536" h="440">
                                        <a:moveTo>
                                          <a:pt x="346" y="160"/>
                                        </a:moveTo>
                                        <a:lnTo>
                                          <a:pt x="346" y="160"/>
                                        </a:lnTo>
                                        <a:lnTo>
                                          <a:pt x="346" y="168"/>
                                        </a:lnTo>
                                        <a:lnTo>
                                          <a:pt x="344" y="174"/>
                                        </a:lnTo>
                                        <a:lnTo>
                                          <a:pt x="338" y="182"/>
                                        </a:lnTo>
                                        <a:lnTo>
                                          <a:pt x="338" y="182"/>
                                        </a:lnTo>
                                        <a:lnTo>
                                          <a:pt x="334" y="188"/>
                                        </a:lnTo>
                                        <a:lnTo>
                                          <a:pt x="332" y="196"/>
                                        </a:lnTo>
                                        <a:lnTo>
                                          <a:pt x="328" y="212"/>
                                        </a:lnTo>
                                        <a:lnTo>
                                          <a:pt x="326" y="228"/>
                                        </a:lnTo>
                                        <a:lnTo>
                                          <a:pt x="324" y="236"/>
                                        </a:lnTo>
                                        <a:lnTo>
                                          <a:pt x="322" y="242"/>
                                        </a:lnTo>
                                        <a:lnTo>
                                          <a:pt x="322" y="242"/>
                                        </a:lnTo>
                                        <a:lnTo>
                                          <a:pt x="320" y="246"/>
                                        </a:lnTo>
                                        <a:lnTo>
                                          <a:pt x="318" y="252"/>
                                        </a:lnTo>
                                        <a:lnTo>
                                          <a:pt x="320" y="260"/>
                                        </a:lnTo>
                                        <a:lnTo>
                                          <a:pt x="324" y="266"/>
                                        </a:lnTo>
                                        <a:lnTo>
                                          <a:pt x="324" y="270"/>
                                        </a:lnTo>
                                        <a:lnTo>
                                          <a:pt x="324" y="274"/>
                                        </a:lnTo>
                                        <a:lnTo>
                                          <a:pt x="324" y="274"/>
                                        </a:lnTo>
                                        <a:lnTo>
                                          <a:pt x="322" y="278"/>
                                        </a:lnTo>
                                        <a:lnTo>
                                          <a:pt x="322" y="282"/>
                                        </a:lnTo>
                                        <a:lnTo>
                                          <a:pt x="324" y="292"/>
                                        </a:lnTo>
                                        <a:lnTo>
                                          <a:pt x="334" y="312"/>
                                        </a:lnTo>
                                        <a:lnTo>
                                          <a:pt x="334" y="312"/>
                                        </a:lnTo>
                                        <a:lnTo>
                                          <a:pt x="336" y="318"/>
                                        </a:lnTo>
                                        <a:lnTo>
                                          <a:pt x="336" y="322"/>
                                        </a:lnTo>
                                        <a:lnTo>
                                          <a:pt x="336" y="324"/>
                                        </a:lnTo>
                                        <a:lnTo>
                                          <a:pt x="340" y="326"/>
                                        </a:lnTo>
                                        <a:lnTo>
                                          <a:pt x="340" y="326"/>
                                        </a:lnTo>
                                        <a:lnTo>
                                          <a:pt x="342" y="328"/>
                                        </a:lnTo>
                                        <a:lnTo>
                                          <a:pt x="342" y="330"/>
                                        </a:lnTo>
                                        <a:lnTo>
                                          <a:pt x="342" y="334"/>
                                        </a:lnTo>
                                        <a:lnTo>
                                          <a:pt x="344" y="338"/>
                                        </a:lnTo>
                                        <a:lnTo>
                                          <a:pt x="346" y="338"/>
                                        </a:lnTo>
                                        <a:lnTo>
                                          <a:pt x="348" y="338"/>
                                        </a:lnTo>
                                        <a:lnTo>
                                          <a:pt x="348" y="338"/>
                                        </a:lnTo>
                                        <a:lnTo>
                                          <a:pt x="352" y="338"/>
                                        </a:lnTo>
                                        <a:lnTo>
                                          <a:pt x="356" y="340"/>
                                        </a:lnTo>
                                        <a:lnTo>
                                          <a:pt x="360" y="342"/>
                                        </a:lnTo>
                                        <a:lnTo>
                                          <a:pt x="360" y="342"/>
                                        </a:lnTo>
                                        <a:lnTo>
                                          <a:pt x="366" y="346"/>
                                        </a:lnTo>
                                        <a:lnTo>
                                          <a:pt x="372" y="346"/>
                                        </a:lnTo>
                                        <a:lnTo>
                                          <a:pt x="378" y="344"/>
                                        </a:lnTo>
                                        <a:lnTo>
                                          <a:pt x="378" y="344"/>
                                        </a:lnTo>
                                        <a:lnTo>
                                          <a:pt x="386" y="340"/>
                                        </a:lnTo>
                                        <a:lnTo>
                                          <a:pt x="392" y="340"/>
                                        </a:lnTo>
                                        <a:lnTo>
                                          <a:pt x="398" y="338"/>
                                        </a:lnTo>
                                        <a:lnTo>
                                          <a:pt x="406" y="336"/>
                                        </a:lnTo>
                                        <a:lnTo>
                                          <a:pt x="406" y="336"/>
                                        </a:lnTo>
                                        <a:lnTo>
                                          <a:pt x="412" y="334"/>
                                        </a:lnTo>
                                        <a:lnTo>
                                          <a:pt x="416" y="332"/>
                                        </a:lnTo>
                                        <a:lnTo>
                                          <a:pt x="420" y="332"/>
                                        </a:lnTo>
                                        <a:lnTo>
                                          <a:pt x="424" y="330"/>
                                        </a:lnTo>
                                        <a:lnTo>
                                          <a:pt x="424" y="330"/>
                                        </a:lnTo>
                                        <a:lnTo>
                                          <a:pt x="428" y="328"/>
                                        </a:lnTo>
                                        <a:lnTo>
                                          <a:pt x="432" y="328"/>
                                        </a:lnTo>
                                        <a:lnTo>
                                          <a:pt x="432" y="330"/>
                                        </a:lnTo>
                                        <a:lnTo>
                                          <a:pt x="430" y="330"/>
                                        </a:lnTo>
                                        <a:lnTo>
                                          <a:pt x="430" y="330"/>
                                        </a:lnTo>
                                        <a:lnTo>
                                          <a:pt x="426" y="332"/>
                                        </a:lnTo>
                                        <a:lnTo>
                                          <a:pt x="426" y="334"/>
                                        </a:lnTo>
                                        <a:lnTo>
                                          <a:pt x="428" y="334"/>
                                        </a:lnTo>
                                        <a:lnTo>
                                          <a:pt x="434" y="332"/>
                                        </a:lnTo>
                                        <a:lnTo>
                                          <a:pt x="434" y="332"/>
                                        </a:lnTo>
                                        <a:lnTo>
                                          <a:pt x="438" y="330"/>
                                        </a:lnTo>
                                        <a:lnTo>
                                          <a:pt x="436" y="328"/>
                                        </a:lnTo>
                                        <a:lnTo>
                                          <a:pt x="436" y="326"/>
                                        </a:lnTo>
                                        <a:lnTo>
                                          <a:pt x="436" y="326"/>
                                        </a:lnTo>
                                        <a:lnTo>
                                          <a:pt x="442" y="322"/>
                                        </a:lnTo>
                                        <a:lnTo>
                                          <a:pt x="442" y="322"/>
                                        </a:lnTo>
                                        <a:lnTo>
                                          <a:pt x="444" y="320"/>
                                        </a:lnTo>
                                        <a:lnTo>
                                          <a:pt x="446" y="318"/>
                                        </a:lnTo>
                                        <a:lnTo>
                                          <a:pt x="446" y="312"/>
                                        </a:lnTo>
                                        <a:lnTo>
                                          <a:pt x="448" y="308"/>
                                        </a:lnTo>
                                        <a:lnTo>
                                          <a:pt x="450" y="306"/>
                                        </a:lnTo>
                                        <a:lnTo>
                                          <a:pt x="452" y="304"/>
                                        </a:lnTo>
                                        <a:lnTo>
                                          <a:pt x="452" y="304"/>
                                        </a:lnTo>
                                        <a:lnTo>
                                          <a:pt x="454" y="302"/>
                                        </a:lnTo>
                                        <a:lnTo>
                                          <a:pt x="456" y="296"/>
                                        </a:lnTo>
                                        <a:lnTo>
                                          <a:pt x="456" y="280"/>
                                        </a:lnTo>
                                        <a:lnTo>
                                          <a:pt x="456" y="280"/>
                                        </a:lnTo>
                                        <a:lnTo>
                                          <a:pt x="456" y="276"/>
                                        </a:lnTo>
                                        <a:lnTo>
                                          <a:pt x="460" y="274"/>
                                        </a:lnTo>
                                        <a:lnTo>
                                          <a:pt x="470" y="268"/>
                                        </a:lnTo>
                                        <a:lnTo>
                                          <a:pt x="482" y="266"/>
                                        </a:lnTo>
                                        <a:lnTo>
                                          <a:pt x="488" y="266"/>
                                        </a:lnTo>
                                        <a:lnTo>
                                          <a:pt x="488" y="266"/>
                                        </a:lnTo>
                                        <a:lnTo>
                                          <a:pt x="492" y="268"/>
                                        </a:lnTo>
                                        <a:lnTo>
                                          <a:pt x="498" y="266"/>
                                        </a:lnTo>
                                        <a:lnTo>
                                          <a:pt x="504" y="264"/>
                                        </a:lnTo>
                                        <a:lnTo>
                                          <a:pt x="514" y="264"/>
                                        </a:lnTo>
                                        <a:lnTo>
                                          <a:pt x="514" y="264"/>
                                        </a:lnTo>
                                        <a:lnTo>
                                          <a:pt x="520" y="264"/>
                                        </a:lnTo>
                                        <a:lnTo>
                                          <a:pt x="524" y="264"/>
                                        </a:lnTo>
                                        <a:lnTo>
                                          <a:pt x="526" y="264"/>
                                        </a:lnTo>
                                        <a:lnTo>
                                          <a:pt x="528" y="266"/>
                                        </a:lnTo>
                                        <a:lnTo>
                                          <a:pt x="528" y="266"/>
                                        </a:lnTo>
                                        <a:lnTo>
                                          <a:pt x="532" y="270"/>
                                        </a:lnTo>
                                        <a:lnTo>
                                          <a:pt x="532" y="270"/>
                                        </a:lnTo>
                                        <a:lnTo>
                                          <a:pt x="534" y="272"/>
                                        </a:lnTo>
                                        <a:lnTo>
                                          <a:pt x="536" y="274"/>
                                        </a:lnTo>
                                        <a:lnTo>
                                          <a:pt x="536" y="274"/>
                                        </a:lnTo>
                                        <a:lnTo>
                                          <a:pt x="536" y="280"/>
                                        </a:lnTo>
                                        <a:lnTo>
                                          <a:pt x="534" y="284"/>
                                        </a:lnTo>
                                        <a:lnTo>
                                          <a:pt x="530" y="288"/>
                                        </a:lnTo>
                                        <a:lnTo>
                                          <a:pt x="526" y="292"/>
                                        </a:lnTo>
                                        <a:lnTo>
                                          <a:pt x="526" y="292"/>
                                        </a:lnTo>
                                        <a:lnTo>
                                          <a:pt x="524" y="300"/>
                                        </a:lnTo>
                                        <a:lnTo>
                                          <a:pt x="522" y="304"/>
                                        </a:lnTo>
                                        <a:lnTo>
                                          <a:pt x="518" y="304"/>
                                        </a:lnTo>
                                        <a:lnTo>
                                          <a:pt x="518" y="304"/>
                                        </a:lnTo>
                                        <a:lnTo>
                                          <a:pt x="516" y="306"/>
                                        </a:lnTo>
                                        <a:lnTo>
                                          <a:pt x="516" y="306"/>
                                        </a:lnTo>
                                        <a:lnTo>
                                          <a:pt x="518" y="306"/>
                                        </a:lnTo>
                                        <a:lnTo>
                                          <a:pt x="518" y="306"/>
                                        </a:lnTo>
                                        <a:lnTo>
                                          <a:pt x="518" y="306"/>
                                        </a:lnTo>
                                        <a:lnTo>
                                          <a:pt x="520" y="308"/>
                                        </a:lnTo>
                                        <a:lnTo>
                                          <a:pt x="520" y="310"/>
                                        </a:lnTo>
                                        <a:lnTo>
                                          <a:pt x="516" y="314"/>
                                        </a:lnTo>
                                        <a:lnTo>
                                          <a:pt x="516" y="314"/>
                                        </a:lnTo>
                                        <a:lnTo>
                                          <a:pt x="512" y="322"/>
                                        </a:lnTo>
                                        <a:lnTo>
                                          <a:pt x="508" y="330"/>
                                        </a:lnTo>
                                        <a:lnTo>
                                          <a:pt x="506" y="338"/>
                                        </a:lnTo>
                                        <a:lnTo>
                                          <a:pt x="504" y="342"/>
                                        </a:lnTo>
                                        <a:lnTo>
                                          <a:pt x="504" y="342"/>
                                        </a:lnTo>
                                        <a:lnTo>
                                          <a:pt x="502" y="344"/>
                                        </a:lnTo>
                                        <a:lnTo>
                                          <a:pt x="502" y="350"/>
                                        </a:lnTo>
                                        <a:lnTo>
                                          <a:pt x="502" y="354"/>
                                        </a:lnTo>
                                        <a:lnTo>
                                          <a:pt x="500" y="356"/>
                                        </a:lnTo>
                                        <a:lnTo>
                                          <a:pt x="500" y="356"/>
                                        </a:lnTo>
                                        <a:lnTo>
                                          <a:pt x="500" y="350"/>
                                        </a:lnTo>
                                        <a:lnTo>
                                          <a:pt x="498" y="346"/>
                                        </a:lnTo>
                                        <a:lnTo>
                                          <a:pt x="498" y="344"/>
                                        </a:lnTo>
                                        <a:lnTo>
                                          <a:pt x="498" y="338"/>
                                        </a:lnTo>
                                        <a:lnTo>
                                          <a:pt x="498" y="338"/>
                                        </a:lnTo>
                                        <a:lnTo>
                                          <a:pt x="494" y="344"/>
                                        </a:lnTo>
                                        <a:lnTo>
                                          <a:pt x="492" y="346"/>
                                        </a:lnTo>
                                        <a:lnTo>
                                          <a:pt x="492" y="346"/>
                                        </a:lnTo>
                                        <a:lnTo>
                                          <a:pt x="492" y="346"/>
                                        </a:lnTo>
                                        <a:lnTo>
                                          <a:pt x="484" y="354"/>
                                        </a:lnTo>
                                        <a:lnTo>
                                          <a:pt x="480" y="358"/>
                                        </a:lnTo>
                                        <a:lnTo>
                                          <a:pt x="478" y="358"/>
                                        </a:lnTo>
                                        <a:lnTo>
                                          <a:pt x="476" y="358"/>
                                        </a:lnTo>
                                        <a:lnTo>
                                          <a:pt x="474" y="356"/>
                                        </a:lnTo>
                                        <a:lnTo>
                                          <a:pt x="472" y="356"/>
                                        </a:lnTo>
                                        <a:lnTo>
                                          <a:pt x="468" y="360"/>
                                        </a:lnTo>
                                        <a:lnTo>
                                          <a:pt x="434" y="360"/>
                                        </a:lnTo>
                                        <a:lnTo>
                                          <a:pt x="434" y="360"/>
                                        </a:lnTo>
                                        <a:lnTo>
                                          <a:pt x="432" y="364"/>
                                        </a:lnTo>
                                        <a:lnTo>
                                          <a:pt x="434" y="368"/>
                                        </a:lnTo>
                                        <a:lnTo>
                                          <a:pt x="436" y="370"/>
                                        </a:lnTo>
                                        <a:lnTo>
                                          <a:pt x="438" y="374"/>
                                        </a:lnTo>
                                        <a:lnTo>
                                          <a:pt x="438" y="374"/>
                                        </a:lnTo>
                                        <a:lnTo>
                                          <a:pt x="436" y="378"/>
                                        </a:lnTo>
                                        <a:lnTo>
                                          <a:pt x="432" y="378"/>
                                        </a:lnTo>
                                        <a:lnTo>
                                          <a:pt x="428" y="380"/>
                                        </a:lnTo>
                                        <a:lnTo>
                                          <a:pt x="426" y="384"/>
                                        </a:lnTo>
                                        <a:lnTo>
                                          <a:pt x="426" y="384"/>
                                        </a:lnTo>
                                        <a:lnTo>
                                          <a:pt x="428" y="386"/>
                                        </a:lnTo>
                                        <a:lnTo>
                                          <a:pt x="432" y="388"/>
                                        </a:lnTo>
                                        <a:lnTo>
                                          <a:pt x="436" y="390"/>
                                        </a:lnTo>
                                        <a:lnTo>
                                          <a:pt x="436" y="392"/>
                                        </a:lnTo>
                                        <a:lnTo>
                                          <a:pt x="436" y="392"/>
                                        </a:lnTo>
                                        <a:lnTo>
                                          <a:pt x="436" y="396"/>
                                        </a:lnTo>
                                        <a:lnTo>
                                          <a:pt x="438" y="398"/>
                                        </a:lnTo>
                                        <a:lnTo>
                                          <a:pt x="440" y="400"/>
                                        </a:lnTo>
                                        <a:lnTo>
                                          <a:pt x="440" y="404"/>
                                        </a:lnTo>
                                        <a:lnTo>
                                          <a:pt x="440" y="404"/>
                                        </a:lnTo>
                                        <a:lnTo>
                                          <a:pt x="424" y="402"/>
                                        </a:lnTo>
                                        <a:lnTo>
                                          <a:pt x="418" y="404"/>
                                        </a:lnTo>
                                        <a:lnTo>
                                          <a:pt x="412" y="406"/>
                                        </a:lnTo>
                                        <a:lnTo>
                                          <a:pt x="408" y="410"/>
                                        </a:lnTo>
                                        <a:lnTo>
                                          <a:pt x="402" y="416"/>
                                        </a:lnTo>
                                        <a:lnTo>
                                          <a:pt x="400" y="426"/>
                                        </a:lnTo>
                                        <a:lnTo>
                                          <a:pt x="396" y="440"/>
                                        </a:lnTo>
                                        <a:lnTo>
                                          <a:pt x="396" y="440"/>
                                        </a:lnTo>
                                        <a:lnTo>
                                          <a:pt x="392" y="434"/>
                                        </a:lnTo>
                                        <a:lnTo>
                                          <a:pt x="388" y="428"/>
                                        </a:lnTo>
                                        <a:lnTo>
                                          <a:pt x="380" y="420"/>
                                        </a:lnTo>
                                        <a:lnTo>
                                          <a:pt x="380" y="420"/>
                                        </a:lnTo>
                                        <a:lnTo>
                                          <a:pt x="368" y="412"/>
                                        </a:lnTo>
                                        <a:lnTo>
                                          <a:pt x="362" y="408"/>
                                        </a:lnTo>
                                        <a:lnTo>
                                          <a:pt x="358" y="408"/>
                                        </a:lnTo>
                                        <a:lnTo>
                                          <a:pt x="354" y="406"/>
                                        </a:lnTo>
                                        <a:lnTo>
                                          <a:pt x="354" y="406"/>
                                        </a:lnTo>
                                        <a:lnTo>
                                          <a:pt x="358" y="404"/>
                                        </a:lnTo>
                                        <a:lnTo>
                                          <a:pt x="358" y="402"/>
                                        </a:lnTo>
                                        <a:lnTo>
                                          <a:pt x="358" y="400"/>
                                        </a:lnTo>
                                        <a:lnTo>
                                          <a:pt x="356" y="402"/>
                                        </a:lnTo>
                                        <a:lnTo>
                                          <a:pt x="356" y="402"/>
                                        </a:lnTo>
                                        <a:lnTo>
                                          <a:pt x="352" y="402"/>
                                        </a:lnTo>
                                        <a:lnTo>
                                          <a:pt x="350" y="402"/>
                                        </a:lnTo>
                                        <a:lnTo>
                                          <a:pt x="348" y="402"/>
                                        </a:lnTo>
                                        <a:lnTo>
                                          <a:pt x="346" y="404"/>
                                        </a:lnTo>
                                        <a:lnTo>
                                          <a:pt x="346" y="404"/>
                                        </a:lnTo>
                                        <a:lnTo>
                                          <a:pt x="344" y="404"/>
                                        </a:lnTo>
                                        <a:lnTo>
                                          <a:pt x="346" y="406"/>
                                        </a:lnTo>
                                        <a:lnTo>
                                          <a:pt x="348" y="406"/>
                                        </a:lnTo>
                                        <a:lnTo>
                                          <a:pt x="350" y="406"/>
                                        </a:lnTo>
                                        <a:lnTo>
                                          <a:pt x="346" y="408"/>
                                        </a:lnTo>
                                        <a:lnTo>
                                          <a:pt x="346" y="408"/>
                                        </a:lnTo>
                                        <a:lnTo>
                                          <a:pt x="340" y="408"/>
                                        </a:lnTo>
                                        <a:lnTo>
                                          <a:pt x="338" y="410"/>
                                        </a:lnTo>
                                        <a:lnTo>
                                          <a:pt x="334" y="412"/>
                                        </a:lnTo>
                                        <a:lnTo>
                                          <a:pt x="328" y="412"/>
                                        </a:lnTo>
                                        <a:lnTo>
                                          <a:pt x="328" y="412"/>
                                        </a:lnTo>
                                        <a:lnTo>
                                          <a:pt x="322" y="414"/>
                                        </a:lnTo>
                                        <a:lnTo>
                                          <a:pt x="318" y="416"/>
                                        </a:lnTo>
                                        <a:lnTo>
                                          <a:pt x="312" y="416"/>
                                        </a:lnTo>
                                        <a:lnTo>
                                          <a:pt x="304" y="412"/>
                                        </a:lnTo>
                                        <a:lnTo>
                                          <a:pt x="304" y="412"/>
                                        </a:lnTo>
                                        <a:lnTo>
                                          <a:pt x="300" y="412"/>
                                        </a:lnTo>
                                        <a:lnTo>
                                          <a:pt x="294" y="412"/>
                                        </a:lnTo>
                                        <a:lnTo>
                                          <a:pt x="290" y="410"/>
                                        </a:lnTo>
                                        <a:lnTo>
                                          <a:pt x="284" y="406"/>
                                        </a:lnTo>
                                        <a:lnTo>
                                          <a:pt x="284" y="406"/>
                                        </a:lnTo>
                                        <a:lnTo>
                                          <a:pt x="282" y="404"/>
                                        </a:lnTo>
                                        <a:lnTo>
                                          <a:pt x="278" y="404"/>
                                        </a:lnTo>
                                        <a:lnTo>
                                          <a:pt x="274" y="402"/>
                                        </a:lnTo>
                                        <a:lnTo>
                                          <a:pt x="270" y="396"/>
                                        </a:lnTo>
                                        <a:lnTo>
                                          <a:pt x="270" y="396"/>
                                        </a:lnTo>
                                        <a:lnTo>
                                          <a:pt x="266" y="394"/>
                                        </a:lnTo>
                                        <a:lnTo>
                                          <a:pt x="260" y="392"/>
                                        </a:lnTo>
                                        <a:lnTo>
                                          <a:pt x="256" y="392"/>
                                        </a:lnTo>
                                        <a:lnTo>
                                          <a:pt x="250" y="386"/>
                                        </a:lnTo>
                                        <a:lnTo>
                                          <a:pt x="250" y="386"/>
                                        </a:lnTo>
                                        <a:lnTo>
                                          <a:pt x="248" y="384"/>
                                        </a:lnTo>
                                        <a:lnTo>
                                          <a:pt x="242" y="382"/>
                                        </a:lnTo>
                                        <a:lnTo>
                                          <a:pt x="234" y="378"/>
                                        </a:lnTo>
                                        <a:lnTo>
                                          <a:pt x="224" y="374"/>
                                        </a:lnTo>
                                        <a:lnTo>
                                          <a:pt x="220" y="370"/>
                                        </a:lnTo>
                                        <a:lnTo>
                                          <a:pt x="216" y="366"/>
                                        </a:lnTo>
                                        <a:lnTo>
                                          <a:pt x="216" y="366"/>
                                        </a:lnTo>
                                        <a:lnTo>
                                          <a:pt x="214" y="360"/>
                                        </a:lnTo>
                                        <a:lnTo>
                                          <a:pt x="212" y="360"/>
                                        </a:lnTo>
                                        <a:lnTo>
                                          <a:pt x="208" y="360"/>
                                        </a:lnTo>
                                        <a:lnTo>
                                          <a:pt x="200" y="358"/>
                                        </a:lnTo>
                                        <a:lnTo>
                                          <a:pt x="200" y="358"/>
                                        </a:lnTo>
                                        <a:lnTo>
                                          <a:pt x="186" y="352"/>
                                        </a:lnTo>
                                        <a:lnTo>
                                          <a:pt x="182" y="348"/>
                                        </a:lnTo>
                                        <a:lnTo>
                                          <a:pt x="182" y="346"/>
                                        </a:lnTo>
                                        <a:lnTo>
                                          <a:pt x="178" y="344"/>
                                        </a:lnTo>
                                        <a:lnTo>
                                          <a:pt x="178" y="344"/>
                                        </a:lnTo>
                                        <a:lnTo>
                                          <a:pt x="174" y="342"/>
                                        </a:lnTo>
                                        <a:lnTo>
                                          <a:pt x="170" y="340"/>
                                        </a:lnTo>
                                        <a:lnTo>
                                          <a:pt x="168" y="338"/>
                                        </a:lnTo>
                                        <a:lnTo>
                                          <a:pt x="164" y="336"/>
                                        </a:lnTo>
                                        <a:lnTo>
                                          <a:pt x="164" y="336"/>
                                        </a:lnTo>
                                        <a:lnTo>
                                          <a:pt x="162" y="334"/>
                                        </a:lnTo>
                                        <a:lnTo>
                                          <a:pt x="162" y="332"/>
                                        </a:lnTo>
                                        <a:lnTo>
                                          <a:pt x="162" y="330"/>
                                        </a:lnTo>
                                        <a:lnTo>
                                          <a:pt x="158" y="328"/>
                                        </a:lnTo>
                                        <a:lnTo>
                                          <a:pt x="158" y="328"/>
                                        </a:lnTo>
                                        <a:lnTo>
                                          <a:pt x="154" y="324"/>
                                        </a:lnTo>
                                        <a:lnTo>
                                          <a:pt x="152" y="320"/>
                                        </a:lnTo>
                                        <a:lnTo>
                                          <a:pt x="148" y="314"/>
                                        </a:lnTo>
                                        <a:lnTo>
                                          <a:pt x="146" y="310"/>
                                        </a:lnTo>
                                        <a:lnTo>
                                          <a:pt x="146" y="310"/>
                                        </a:lnTo>
                                        <a:lnTo>
                                          <a:pt x="144" y="308"/>
                                        </a:lnTo>
                                        <a:lnTo>
                                          <a:pt x="146" y="308"/>
                                        </a:lnTo>
                                        <a:lnTo>
                                          <a:pt x="148" y="304"/>
                                        </a:lnTo>
                                        <a:lnTo>
                                          <a:pt x="152" y="302"/>
                                        </a:lnTo>
                                        <a:lnTo>
                                          <a:pt x="148" y="300"/>
                                        </a:lnTo>
                                        <a:lnTo>
                                          <a:pt x="148" y="300"/>
                                        </a:lnTo>
                                        <a:lnTo>
                                          <a:pt x="144" y="300"/>
                                        </a:lnTo>
                                        <a:lnTo>
                                          <a:pt x="146" y="296"/>
                                        </a:lnTo>
                                        <a:lnTo>
                                          <a:pt x="150" y="292"/>
                                        </a:lnTo>
                                        <a:lnTo>
                                          <a:pt x="154" y="286"/>
                                        </a:lnTo>
                                        <a:lnTo>
                                          <a:pt x="154" y="286"/>
                                        </a:lnTo>
                                        <a:lnTo>
                                          <a:pt x="156" y="282"/>
                                        </a:lnTo>
                                        <a:lnTo>
                                          <a:pt x="158" y="282"/>
                                        </a:lnTo>
                                        <a:lnTo>
                                          <a:pt x="160" y="282"/>
                                        </a:lnTo>
                                        <a:lnTo>
                                          <a:pt x="158" y="278"/>
                                        </a:lnTo>
                                        <a:lnTo>
                                          <a:pt x="158" y="278"/>
                                        </a:lnTo>
                                        <a:lnTo>
                                          <a:pt x="158" y="274"/>
                                        </a:lnTo>
                                        <a:lnTo>
                                          <a:pt x="160" y="274"/>
                                        </a:lnTo>
                                        <a:lnTo>
                                          <a:pt x="162" y="274"/>
                                        </a:lnTo>
                                        <a:lnTo>
                                          <a:pt x="160" y="266"/>
                                        </a:lnTo>
                                        <a:lnTo>
                                          <a:pt x="160" y="266"/>
                                        </a:lnTo>
                                        <a:lnTo>
                                          <a:pt x="158" y="260"/>
                                        </a:lnTo>
                                        <a:lnTo>
                                          <a:pt x="158" y="258"/>
                                        </a:lnTo>
                                        <a:lnTo>
                                          <a:pt x="156" y="252"/>
                                        </a:lnTo>
                                        <a:lnTo>
                                          <a:pt x="150" y="242"/>
                                        </a:lnTo>
                                        <a:lnTo>
                                          <a:pt x="150" y="242"/>
                                        </a:lnTo>
                                        <a:lnTo>
                                          <a:pt x="140" y="222"/>
                                        </a:lnTo>
                                        <a:lnTo>
                                          <a:pt x="134" y="210"/>
                                        </a:lnTo>
                                        <a:lnTo>
                                          <a:pt x="124" y="194"/>
                                        </a:lnTo>
                                        <a:lnTo>
                                          <a:pt x="124" y="194"/>
                                        </a:lnTo>
                                        <a:lnTo>
                                          <a:pt x="124" y="192"/>
                                        </a:lnTo>
                                        <a:lnTo>
                                          <a:pt x="126" y="192"/>
                                        </a:lnTo>
                                        <a:lnTo>
                                          <a:pt x="128" y="194"/>
                                        </a:lnTo>
                                        <a:lnTo>
                                          <a:pt x="130" y="194"/>
                                        </a:lnTo>
                                        <a:lnTo>
                                          <a:pt x="126" y="188"/>
                                        </a:lnTo>
                                        <a:lnTo>
                                          <a:pt x="126" y="188"/>
                                        </a:lnTo>
                                        <a:lnTo>
                                          <a:pt x="122" y="186"/>
                                        </a:lnTo>
                                        <a:lnTo>
                                          <a:pt x="122" y="186"/>
                                        </a:lnTo>
                                        <a:lnTo>
                                          <a:pt x="122" y="188"/>
                                        </a:lnTo>
                                        <a:lnTo>
                                          <a:pt x="118" y="186"/>
                                        </a:lnTo>
                                        <a:lnTo>
                                          <a:pt x="118" y="186"/>
                                        </a:lnTo>
                                        <a:lnTo>
                                          <a:pt x="112" y="180"/>
                                        </a:lnTo>
                                        <a:lnTo>
                                          <a:pt x="110" y="178"/>
                                        </a:lnTo>
                                        <a:lnTo>
                                          <a:pt x="110" y="174"/>
                                        </a:lnTo>
                                        <a:lnTo>
                                          <a:pt x="110" y="174"/>
                                        </a:lnTo>
                                        <a:lnTo>
                                          <a:pt x="108" y="172"/>
                                        </a:lnTo>
                                        <a:lnTo>
                                          <a:pt x="108" y="172"/>
                                        </a:lnTo>
                                        <a:lnTo>
                                          <a:pt x="106" y="172"/>
                                        </a:lnTo>
                                        <a:lnTo>
                                          <a:pt x="106" y="166"/>
                                        </a:lnTo>
                                        <a:lnTo>
                                          <a:pt x="106" y="166"/>
                                        </a:lnTo>
                                        <a:lnTo>
                                          <a:pt x="108" y="160"/>
                                        </a:lnTo>
                                        <a:lnTo>
                                          <a:pt x="110" y="156"/>
                                        </a:lnTo>
                                        <a:lnTo>
                                          <a:pt x="110" y="152"/>
                                        </a:lnTo>
                                        <a:lnTo>
                                          <a:pt x="110" y="152"/>
                                        </a:lnTo>
                                        <a:lnTo>
                                          <a:pt x="104" y="144"/>
                                        </a:lnTo>
                                        <a:lnTo>
                                          <a:pt x="102" y="142"/>
                                        </a:lnTo>
                                        <a:lnTo>
                                          <a:pt x="100" y="142"/>
                                        </a:lnTo>
                                        <a:lnTo>
                                          <a:pt x="100" y="142"/>
                                        </a:lnTo>
                                        <a:lnTo>
                                          <a:pt x="98" y="142"/>
                                        </a:lnTo>
                                        <a:lnTo>
                                          <a:pt x="96" y="140"/>
                                        </a:lnTo>
                                        <a:lnTo>
                                          <a:pt x="94" y="134"/>
                                        </a:lnTo>
                                        <a:lnTo>
                                          <a:pt x="94" y="134"/>
                                        </a:lnTo>
                                        <a:lnTo>
                                          <a:pt x="94" y="130"/>
                                        </a:lnTo>
                                        <a:lnTo>
                                          <a:pt x="90" y="126"/>
                                        </a:lnTo>
                                        <a:lnTo>
                                          <a:pt x="86" y="124"/>
                                        </a:lnTo>
                                        <a:lnTo>
                                          <a:pt x="86" y="118"/>
                                        </a:lnTo>
                                        <a:lnTo>
                                          <a:pt x="86" y="118"/>
                                        </a:lnTo>
                                        <a:lnTo>
                                          <a:pt x="88" y="114"/>
                                        </a:lnTo>
                                        <a:lnTo>
                                          <a:pt x="86" y="112"/>
                                        </a:lnTo>
                                        <a:lnTo>
                                          <a:pt x="86" y="110"/>
                                        </a:lnTo>
                                        <a:lnTo>
                                          <a:pt x="84" y="112"/>
                                        </a:lnTo>
                                        <a:lnTo>
                                          <a:pt x="84" y="112"/>
                                        </a:lnTo>
                                        <a:lnTo>
                                          <a:pt x="84" y="114"/>
                                        </a:lnTo>
                                        <a:lnTo>
                                          <a:pt x="82" y="112"/>
                                        </a:lnTo>
                                        <a:lnTo>
                                          <a:pt x="78" y="106"/>
                                        </a:lnTo>
                                        <a:lnTo>
                                          <a:pt x="78" y="106"/>
                                        </a:lnTo>
                                        <a:lnTo>
                                          <a:pt x="72" y="98"/>
                                        </a:lnTo>
                                        <a:lnTo>
                                          <a:pt x="72" y="96"/>
                                        </a:lnTo>
                                        <a:lnTo>
                                          <a:pt x="72" y="94"/>
                                        </a:lnTo>
                                        <a:lnTo>
                                          <a:pt x="72" y="94"/>
                                        </a:lnTo>
                                        <a:lnTo>
                                          <a:pt x="72" y="90"/>
                                        </a:lnTo>
                                        <a:lnTo>
                                          <a:pt x="72" y="88"/>
                                        </a:lnTo>
                                        <a:lnTo>
                                          <a:pt x="70" y="84"/>
                                        </a:lnTo>
                                        <a:lnTo>
                                          <a:pt x="70" y="76"/>
                                        </a:lnTo>
                                        <a:lnTo>
                                          <a:pt x="70" y="76"/>
                                        </a:lnTo>
                                        <a:lnTo>
                                          <a:pt x="70" y="66"/>
                                        </a:lnTo>
                                        <a:lnTo>
                                          <a:pt x="70" y="62"/>
                                        </a:lnTo>
                                        <a:lnTo>
                                          <a:pt x="68" y="58"/>
                                        </a:lnTo>
                                        <a:lnTo>
                                          <a:pt x="68" y="58"/>
                                        </a:lnTo>
                                        <a:lnTo>
                                          <a:pt x="66" y="54"/>
                                        </a:lnTo>
                                        <a:lnTo>
                                          <a:pt x="66" y="52"/>
                                        </a:lnTo>
                                        <a:lnTo>
                                          <a:pt x="68" y="44"/>
                                        </a:lnTo>
                                        <a:lnTo>
                                          <a:pt x="68" y="42"/>
                                        </a:lnTo>
                                        <a:lnTo>
                                          <a:pt x="66" y="38"/>
                                        </a:lnTo>
                                        <a:lnTo>
                                          <a:pt x="64" y="34"/>
                                        </a:lnTo>
                                        <a:lnTo>
                                          <a:pt x="58" y="32"/>
                                        </a:lnTo>
                                        <a:lnTo>
                                          <a:pt x="58" y="32"/>
                                        </a:lnTo>
                                        <a:lnTo>
                                          <a:pt x="58" y="28"/>
                                        </a:lnTo>
                                        <a:lnTo>
                                          <a:pt x="56" y="26"/>
                                        </a:lnTo>
                                        <a:lnTo>
                                          <a:pt x="54" y="24"/>
                                        </a:lnTo>
                                        <a:lnTo>
                                          <a:pt x="50" y="26"/>
                                        </a:lnTo>
                                        <a:lnTo>
                                          <a:pt x="50" y="26"/>
                                        </a:lnTo>
                                        <a:lnTo>
                                          <a:pt x="48" y="28"/>
                                        </a:lnTo>
                                        <a:lnTo>
                                          <a:pt x="46" y="26"/>
                                        </a:lnTo>
                                        <a:lnTo>
                                          <a:pt x="44" y="22"/>
                                        </a:lnTo>
                                        <a:lnTo>
                                          <a:pt x="40" y="20"/>
                                        </a:lnTo>
                                        <a:lnTo>
                                          <a:pt x="40" y="20"/>
                                        </a:lnTo>
                                        <a:lnTo>
                                          <a:pt x="42" y="24"/>
                                        </a:lnTo>
                                        <a:lnTo>
                                          <a:pt x="42" y="28"/>
                                        </a:lnTo>
                                        <a:lnTo>
                                          <a:pt x="40" y="36"/>
                                        </a:lnTo>
                                        <a:lnTo>
                                          <a:pt x="38" y="42"/>
                                        </a:lnTo>
                                        <a:lnTo>
                                          <a:pt x="38" y="44"/>
                                        </a:lnTo>
                                        <a:lnTo>
                                          <a:pt x="40" y="46"/>
                                        </a:lnTo>
                                        <a:lnTo>
                                          <a:pt x="40" y="46"/>
                                        </a:lnTo>
                                        <a:lnTo>
                                          <a:pt x="40" y="52"/>
                                        </a:lnTo>
                                        <a:lnTo>
                                          <a:pt x="38" y="62"/>
                                        </a:lnTo>
                                        <a:lnTo>
                                          <a:pt x="40" y="72"/>
                                        </a:lnTo>
                                        <a:lnTo>
                                          <a:pt x="42" y="78"/>
                                        </a:lnTo>
                                        <a:lnTo>
                                          <a:pt x="42" y="78"/>
                                        </a:lnTo>
                                        <a:lnTo>
                                          <a:pt x="46" y="84"/>
                                        </a:lnTo>
                                        <a:lnTo>
                                          <a:pt x="50" y="90"/>
                                        </a:lnTo>
                                        <a:lnTo>
                                          <a:pt x="54" y="98"/>
                                        </a:lnTo>
                                        <a:lnTo>
                                          <a:pt x="54" y="104"/>
                                        </a:lnTo>
                                        <a:lnTo>
                                          <a:pt x="54" y="106"/>
                                        </a:lnTo>
                                        <a:lnTo>
                                          <a:pt x="56" y="106"/>
                                        </a:lnTo>
                                        <a:lnTo>
                                          <a:pt x="56" y="106"/>
                                        </a:lnTo>
                                        <a:lnTo>
                                          <a:pt x="56" y="106"/>
                                        </a:lnTo>
                                        <a:lnTo>
                                          <a:pt x="58" y="110"/>
                                        </a:lnTo>
                                        <a:lnTo>
                                          <a:pt x="58" y="114"/>
                                        </a:lnTo>
                                        <a:lnTo>
                                          <a:pt x="58" y="116"/>
                                        </a:lnTo>
                                        <a:lnTo>
                                          <a:pt x="58" y="116"/>
                                        </a:lnTo>
                                        <a:lnTo>
                                          <a:pt x="60" y="118"/>
                                        </a:lnTo>
                                        <a:lnTo>
                                          <a:pt x="58" y="122"/>
                                        </a:lnTo>
                                        <a:lnTo>
                                          <a:pt x="58" y="126"/>
                                        </a:lnTo>
                                        <a:lnTo>
                                          <a:pt x="62" y="130"/>
                                        </a:lnTo>
                                        <a:lnTo>
                                          <a:pt x="62" y="130"/>
                                        </a:lnTo>
                                        <a:lnTo>
                                          <a:pt x="66" y="136"/>
                                        </a:lnTo>
                                        <a:lnTo>
                                          <a:pt x="66" y="140"/>
                                        </a:lnTo>
                                        <a:lnTo>
                                          <a:pt x="66" y="144"/>
                                        </a:lnTo>
                                        <a:lnTo>
                                          <a:pt x="68" y="148"/>
                                        </a:lnTo>
                                        <a:lnTo>
                                          <a:pt x="68" y="148"/>
                                        </a:lnTo>
                                        <a:lnTo>
                                          <a:pt x="70" y="150"/>
                                        </a:lnTo>
                                        <a:lnTo>
                                          <a:pt x="68" y="150"/>
                                        </a:lnTo>
                                        <a:lnTo>
                                          <a:pt x="68" y="152"/>
                                        </a:lnTo>
                                        <a:lnTo>
                                          <a:pt x="68" y="156"/>
                                        </a:lnTo>
                                        <a:lnTo>
                                          <a:pt x="68" y="156"/>
                                        </a:lnTo>
                                        <a:lnTo>
                                          <a:pt x="66" y="162"/>
                                        </a:lnTo>
                                        <a:lnTo>
                                          <a:pt x="64" y="166"/>
                                        </a:lnTo>
                                        <a:lnTo>
                                          <a:pt x="66" y="168"/>
                                        </a:lnTo>
                                        <a:lnTo>
                                          <a:pt x="66" y="168"/>
                                        </a:lnTo>
                                        <a:lnTo>
                                          <a:pt x="66" y="168"/>
                                        </a:lnTo>
                                        <a:lnTo>
                                          <a:pt x="68" y="166"/>
                                        </a:lnTo>
                                        <a:lnTo>
                                          <a:pt x="70" y="164"/>
                                        </a:lnTo>
                                        <a:lnTo>
                                          <a:pt x="68" y="162"/>
                                        </a:lnTo>
                                        <a:lnTo>
                                          <a:pt x="68" y="160"/>
                                        </a:lnTo>
                                        <a:lnTo>
                                          <a:pt x="68" y="160"/>
                                        </a:lnTo>
                                        <a:lnTo>
                                          <a:pt x="70" y="154"/>
                                        </a:lnTo>
                                        <a:lnTo>
                                          <a:pt x="70" y="154"/>
                                        </a:lnTo>
                                        <a:lnTo>
                                          <a:pt x="74" y="160"/>
                                        </a:lnTo>
                                        <a:lnTo>
                                          <a:pt x="74" y="160"/>
                                        </a:lnTo>
                                        <a:lnTo>
                                          <a:pt x="76" y="164"/>
                                        </a:lnTo>
                                        <a:lnTo>
                                          <a:pt x="76" y="168"/>
                                        </a:lnTo>
                                        <a:lnTo>
                                          <a:pt x="74" y="174"/>
                                        </a:lnTo>
                                        <a:lnTo>
                                          <a:pt x="74" y="174"/>
                                        </a:lnTo>
                                        <a:lnTo>
                                          <a:pt x="74" y="184"/>
                                        </a:lnTo>
                                        <a:lnTo>
                                          <a:pt x="74" y="188"/>
                                        </a:lnTo>
                                        <a:lnTo>
                                          <a:pt x="72" y="192"/>
                                        </a:lnTo>
                                        <a:lnTo>
                                          <a:pt x="72" y="192"/>
                                        </a:lnTo>
                                        <a:lnTo>
                                          <a:pt x="70" y="194"/>
                                        </a:lnTo>
                                        <a:lnTo>
                                          <a:pt x="72" y="198"/>
                                        </a:lnTo>
                                        <a:lnTo>
                                          <a:pt x="74" y="202"/>
                                        </a:lnTo>
                                        <a:lnTo>
                                          <a:pt x="76" y="202"/>
                                        </a:lnTo>
                                        <a:lnTo>
                                          <a:pt x="78" y="202"/>
                                        </a:lnTo>
                                        <a:lnTo>
                                          <a:pt x="78" y="202"/>
                                        </a:lnTo>
                                        <a:lnTo>
                                          <a:pt x="80" y="202"/>
                                        </a:lnTo>
                                        <a:lnTo>
                                          <a:pt x="82" y="204"/>
                                        </a:lnTo>
                                        <a:lnTo>
                                          <a:pt x="82" y="208"/>
                                        </a:lnTo>
                                        <a:lnTo>
                                          <a:pt x="84" y="210"/>
                                        </a:lnTo>
                                        <a:lnTo>
                                          <a:pt x="84" y="210"/>
                                        </a:lnTo>
                                        <a:lnTo>
                                          <a:pt x="86" y="210"/>
                                        </a:lnTo>
                                        <a:lnTo>
                                          <a:pt x="86" y="214"/>
                                        </a:lnTo>
                                        <a:lnTo>
                                          <a:pt x="86" y="218"/>
                                        </a:lnTo>
                                        <a:lnTo>
                                          <a:pt x="86" y="220"/>
                                        </a:lnTo>
                                        <a:lnTo>
                                          <a:pt x="86" y="220"/>
                                        </a:lnTo>
                                        <a:lnTo>
                                          <a:pt x="88" y="222"/>
                                        </a:lnTo>
                                        <a:lnTo>
                                          <a:pt x="88" y="226"/>
                                        </a:lnTo>
                                        <a:lnTo>
                                          <a:pt x="84" y="230"/>
                                        </a:lnTo>
                                        <a:lnTo>
                                          <a:pt x="76" y="234"/>
                                        </a:lnTo>
                                        <a:lnTo>
                                          <a:pt x="76" y="234"/>
                                        </a:lnTo>
                                        <a:lnTo>
                                          <a:pt x="72" y="234"/>
                                        </a:lnTo>
                                        <a:lnTo>
                                          <a:pt x="70" y="232"/>
                                        </a:lnTo>
                                        <a:lnTo>
                                          <a:pt x="68" y="228"/>
                                        </a:lnTo>
                                        <a:lnTo>
                                          <a:pt x="66" y="220"/>
                                        </a:lnTo>
                                        <a:lnTo>
                                          <a:pt x="64" y="216"/>
                                        </a:lnTo>
                                        <a:lnTo>
                                          <a:pt x="60" y="214"/>
                                        </a:lnTo>
                                        <a:lnTo>
                                          <a:pt x="60" y="214"/>
                                        </a:lnTo>
                                        <a:lnTo>
                                          <a:pt x="54" y="210"/>
                                        </a:lnTo>
                                        <a:lnTo>
                                          <a:pt x="50" y="204"/>
                                        </a:lnTo>
                                        <a:lnTo>
                                          <a:pt x="48" y="198"/>
                                        </a:lnTo>
                                        <a:lnTo>
                                          <a:pt x="48" y="198"/>
                                        </a:lnTo>
                                        <a:lnTo>
                                          <a:pt x="46" y="192"/>
                                        </a:lnTo>
                                        <a:lnTo>
                                          <a:pt x="44" y="190"/>
                                        </a:lnTo>
                                        <a:lnTo>
                                          <a:pt x="42" y="190"/>
                                        </a:lnTo>
                                        <a:lnTo>
                                          <a:pt x="42" y="190"/>
                                        </a:lnTo>
                                        <a:lnTo>
                                          <a:pt x="42" y="192"/>
                                        </a:lnTo>
                                        <a:lnTo>
                                          <a:pt x="40" y="190"/>
                                        </a:lnTo>
                                        <a:lnTo>
                                          <a:pt x="40" y="186"/>
                                        </a:lnTo>
                                        <a:lnTo>
                                          <a:pt x="42" y="176"/>
                                        </a:lnTo>
                                        <a:lnTo>
                                          <a:pt x="42" y="176"/>
                                        </a:lnTo>
                                        <a:lnTo>
                                          <a:pt x="44" y="168"/>
                                        </a:lnTo>
                                        <a:lnTo>
                                          <a:pt x="44" y="162"/>
                                        </a:lnTo>
                                        <a:lnTo>
                                          <a:pt x="42" y="158"/>
                                        </a:lnTo>
                                        <a:lnTo>
                                          <a:pt x="40" y="154"/>
                                        </a:lnTo>
                                        <a:lnTo>
                                          <a:pt x="34" y="148"/>
                                        </a:lnTo>
                                        <a:lnTo>
                                          <a:pt x="32" y="144"/>
                                        </a:lnTo>
                                        <a:lnTo>
                                          <a:pt x="32" y="140"/>
                                        </a:lnTo>
                                        <a:lnTo>
                                          <a:pt x="32" y="140"/>
                                        </a:lnTo>
                                        <a:lnTo>
                                          <a:pt x="30" y="142"/>
                                        </a:lnTo>
                                        <a:lnTo>
                                          <a:pt x="28" y="140"/>
                                        </a:lnTo>
                                        <a:lnTo>
                                          <a:pt x="26" y="138"/>
                                        </a:lnTo>
                                        <a:lnTo>
                                          <a:pt x="24" y="140"/>
                                        </a:lnTo>
                                        <a:lnTo>
                                          <a:pt x="24" y="140"/>
                                        </a:lnTo>
                                        <a:lnTo>
                                          <a:pt x="20" y="140"/>
                                        </a:lnTo>
                                        <a:lnTo>
                                          <a:pt x="20" y="138"/>
                                        </a:lnTo>
                                        <a:lnTo>
                                          <a:pt x="16" y="132"/>
                                        </a:lnTo>
                                        <a:lnTo>
                                          <a:pt x="10" y="128"/>
                                        </a:lnTo>
                                        <a:lnTo>
                                          <a:pt x="10" y="128"/>
                                        </a:lnTo>
                                        <a:lnTo>
                                          <a:pt x="8" y="126"/>
                                        </a:lnTo>
                                        <a:lnTo>
                                          <a:pt x="10" y="124"/>
                                        </a:lnTo>
                                        <a:lnTo>
                                          <a:pt x="10" y="122"/>
                                        </a:lnTo>
                                        <a:lnTo>
                                          <a:pt x="6" y="118"/>
                                        </a:lnTo>
                                        <a:lnTo>
                                          <a:pt x="6" y="118"/>
                                        </a:lnTo>
                                        <a:lnTo>
                                          <a:pt x="4" y="116"/>
                                        </a:lnTo>
                                        <a:lnTo>
                                          <a:pt x="4" y="114"/>
                                        </a:lnTo>
                                        <a:lnTo>
                                          <a:pt x="12" y="114"/>
                                        </a:lnTo>
                                        <a:lnTo>
                                          <a:pt x="12" y="114"/>
                                        </a:lnTo>
                                        <a:lnTo>
                                          <a:pt x="16" y="114"/>
                                        </a:lnTo>
                                        <a:lnTo>
                                          <a:pt x="20" y="112"/>
                                        </a:lnTo>
                                        <a:lnTo>
                                          <a:pt x="20" y="112"/>
                                        </a:lnTo>
                                        <a:lnTo>
                                          <a:pt x="22" y="114"/>
                                        </a:lnTo>
                                        <a:lnTo>
                                          <a:pt x="22" y="114"/>
                                        </a:lnTo>
                                        <a:lnTo>
                                          <a:pt x="24" y="116"/>
                                        </a:lnTo>
                                        <a:lnTo>
                                          <a:pt x="26" y="116"/>
                                        </a:lnTo>
                                        <a:lnTo>
                                          <a:pt x="26" y="114"/>
                                        </a:lnTo>
                                        <a:lnTo>
                                          <a:pt x="26" y="112"/>
                                        </a:lnTo>
                                        <a:lnTo>
                                          <a:pt x="26" y="112"/>
                                        </a:lnTo>
                                        <a:lnTo>
                                          <a:pt x="24" y="112"/>
                                        </a:lnTo>
                                        <a:lnTo>
                                          <a:pt x="22" y="110"/>
                                        </a:lnTo>
                                        <a:lnTo>
                                          <a:pt x="26" y="106"/>
                                        </a:lnTo>
                                        <a:lnTo>
                                          <a:pt x="26" y="106"/>
                                        </a:lnTo>
                                        <a:lnTo>
                                          <a:pt x="28" y="104"/>
                                        </a:lnTo>
                                        <a:lnTo>
                                          <a:pt x="30" y="98"/>
                                        </a:lnTo>
                                        <a:lnTo>
                                          <a:pt x="26" y="92"/>
                                        </a:lnTo>
                                        <a:lnTo>
                                          <a:pt x="20" y="84"/>
                                        </a:lnTo>
                                        <a:lnTo>
                                          <a:pt x="20" y="84"/>
                                        </a:lnTo>
                                        <a:lnTo>
                                          <a:pt x="8" y="72"/>
                                        </a:lnTo>
                                        <a:lnTo>
                                          <a:pt x="6" y="68"/>
                                        </a:lnTo>
                                        <a:lnTo>
                                          <a:pt x="6" y="64"/>
                                        </a:lnTo>
                                        <a:lnTo>
                                          <a:pt x="6" y="64"/>
                                        </a:lnTo>
                                        <a:lnTo>
                                          <a:pt x="6" y="60"/>
                                        </a:lnTo>
                                        <a:lnTo>
                                          <a:pt x="4" y="60"/>
                                        </a:lnTo>
                                        <a:lnTo>
                                          <a:pt x="2" y="60"/>
                                        </a:lnTo>
                                        <a:lnTo>
                                          <a:pt x="4" y="54"/>
                                        </a:lnTo>
                                        <a:lnTo>
                                          <a:pt x="4" y="54"/>
                                        </a:lnTo>
                                        <a:lnTo>
                                          <a:pt x="4" y="48"/>
                                        </a:lnTo>
                                        <a:lnTo>
                                          <a:pt x="2" y="46"/>
                                        </a:lnTo>
                                        <a:lnTo>
                                          <a:pt x="0" y="44"/>
                                        </a:lnTo>
                                        <a:lnTo>
                                          <a:pt x="2" y="38"/>
                                        </a:lnTo>
                                        <a:lnTo>
                                          <a:pt x="2" y="38"/>
                                        </a:lnTo>
                                        <a:lnTo>
                                          <a:pt x="2" y="34"/>
                                        </a:lnTo>
                                        <a:lnTo>
                                          <a:pt x="2" y="32"/>
                                        </a:lnTo>
                                        <a:lnTo>
                                          <a:pt x="0" y="28"/>
                                        </a:lnTo>
                                        <a:lnTo>
                                          <a:pt x="2" y="24"/>
                                        </a:lnTo>
                                        <a:lnTo>
                                          <a:pt x="2" y="24"/>
                                        </a:lnTo>
                                        <a:lnTo>
                                          <a:pt x="4" y="18"/>
                                        </a:lnTo>
                                        <a:lnTo>
                                          <a:pt x="2" y="14"/>
                                        </a:lnTo>
                                        <a:lnTo>
                                          <a:pt x="0" y="12"/>
                                        </a:lnTo>
                                        <a:lnTo>
                                          <a:pt x="2" y="8"/>
                                        </a:lnTo>
                                        <a:lnTo>
                                          <a:pt x="2" y="8"/>
                                        </a:lnTo>
                                        <a:lnTo>
                                          <a:pt x="4" y="4"/>
                                        </a:lnTo>
                                        <a:lnTo>
                                          <a:pt x="4" y="2"/>
                                        </a:lnTo>
                                        <a:lnTo>
                                          <a:pt x="2" y="2"/>
                                        </a:lnTo>
                                        <a:lnTo>
                                          <a:pt x="4" y="0"/>
                                        </a:lnTo>
                                        <a:lnTo>
                                          <a:pt x="4" y="0"/>
                                        </a:lnTo>
                                        <a:lnTo>
                                          <a:pt x="30" y="0"/>
                                        </a:lnTo>
                                        <a:lnTo>
                                          <a:pt x="50" y="0"/>
                                        </a:lnTo>
                                        <a:lnTo>
                                          <a:pt x="50" y="4"/>
                                        </a:lnTo>
                                        <a:lnTo>
                                          <a:pt x="114" y="30"/>
                                        </a:lnTo>
                                        <a:lnTo>
                                          <a:pt x="162" y="30"/>
                                        </a:lnTo>
                                        <a:lnTo>
                                          <a:pt x="168" y="22"/>
                                        </a:lnTo>
                                        <a:lnTo>
                                          <a:pt x="200" y="22"/>
                                        </a:lnTo>
                                        <a:lnTo>
                                          <a:pt x="200" y="22"/>
                                        </a:lnTo>
                                        <a:lnTo>
                                          <a:pt x="202" y="24"/>
                                        </a:lnTo>
                                        <a:lnTo>
                                          <a:pt x="210" y="30"/>
                                        </a:lnTo>
                                        <a:lnTo>
                                          <a:pt x="210" y="30"/>
                                        </a:lnTo>
                                        <a:lnTo>
                                          <a:pt x="214" y="34"/>
                                        </a:lnTo>
                                        <a:lnTo>
                                          <a:pt x="214" y="36"/>
                                        </a:lnTo>
                                        <a:lnTo>
                                          <a:pt x="216" y="38"/>
                                        </a:lnTo>
                                        <a:lnTo>
                                          <a:pt x="220" y="42"/>
                                        </a:lnTo>
                                        <a:lnTo>
                                          <a:pt x="220" y="42"/>
                                        </a:lnTo>
                                        <a:lnTo>
                                          <a:pt x="224" y="46"/>
                                        </a:lnTo>
                                        <a:lnTo>
                                          <a:pt x="226" y="50"/>
                                        </a:lnTo>
                                        <a:lnTo>
                                          <a:pt x="226" y="56"/>
                                        </a:lnTo>
                                        <a:lnTo>
                                          <a:pt x="226" y="64"/>
                                        </a:lnTo>
                                        <a:lnTo>
                                          <a:pt x="226" y="66"/>
                                        </a:lnTo>
                                        <a:lnTo>
                                          <a:pt x="230" y="70"/>
                                        </a:lnTo>
                                        <a:lnTo>
                                          <a:pt x="230" y="70"/>
                                        </a:lnTo>
                                        <a:lnTo>
                                          <a:pt x="238" y="76"/>
                                        </a:lnTo>
                                        <a:lnTo>
                                          <a:pt x="244" y="78"/>
                                        </a:lnTo>
                                        <a:lnTo>
                                          <a:pt x="248" y="78"/>
                                        </a:lnTo>
                                        <a:lnTo>
                                          <a:pt x="252" y="72"/>
                                        </a:lnTo>
                                        <a:lnTo>
                                          <a:pt x="252" y="72"/>
                                        </a:lnTo>
                                        <a:lnTo>
                                          <a:pt x="256" y="68"/>
                                        </a:lnTo>
                                        <a:lnTo>
                                          <a:pt x="258" y="66"/>
                                        </a:lnTo>
                                        <a:lnTo>
                                          <a:pt x="262" y="66"/>
                                        </a:lnTo>
                                        <a:lnTo>
                                          <a:pt x="264" y="64"/>
                                        </a:lnTo>
                                        <a:lnTo>
                                          <a:pt x="264" y="64"/>
                                        </a:lnTo>
                                        <a:lnTo>
                                          <a:pt x="266" y="64"/>
                                        </a:lnTo>
                                        <a:lnTo>
                                          <a:pt x="268" y="64"/>
                                        </a:lnTo>
                                        <a:lnTo>
                                          <a:pt x="278" y="68"/>
                                        </a:lnTo>
                                        <a:lnTo>
                                          <a:pt x="278" y="68"/>
                                        </a:lnTo>
                                        <a:lnTo>
                                          <a:pt x="286" y="70"/>
                                        </a:lnTo>
                                        <a:lnTo>
                                          <a:pt x="290" y="76"/>
                                        </a:lnTo>
                                        <a:lnTo>
                                          <a:pt x="296" y="84"/>
                                        </a:lnTo>
                                        <a:lnTo>
                                          <a:pt x="300" y="100"/>
                                        </a:lnTo>
                                        <a:lnTo>
                                          <a:pt x="300" y="100"/>
                                        </a:lnTo>
                                        <a:lnTo>
                                          <a:pt x="304" y="120"/>
                                        </a:lnTo>
                                        <a:lnTo>
                                          <a:pt x="308" y="128"/>
                                        </a:lnTo>
                                        <a:lnTo>
                                          <a:pt x="310" y="132"/>
                                        </a:lnTo>
                                        <a:lnTo>
                                          <a:pt x="312" y="140"/>
                                        </a:lnTo>
                                        <a:lnTo>
                                          <a:pt x="312" y="140"/>
                                        </a:lnTo>
                                        <a:lnTo>
                                          <a:pt x="312" y="148"/>
                                        </a:lnTo>
                                        <a:lnTo>
                                          <a:pt x="314" y="150"/>
                                        </a:lnTo>
                                        <a:lnTo>
                                          <a:pt x="316" y="152"/>
                                        </a:lnTo>
                                        <a:lnTo>
                                          <a:pt x="326" y="156"/>
                                        </a:lnTo>
                                        <a:lnTo>
                                          <a:pt x="346" y="160"/>
                                        </a:lnTo>
                                        <a:lnTo>
                                          <a:pt x="346" y="16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9" name="New Zealand"/>
                                  <p:cNvSpPr>
                                    <a:spLocks/>
                                  </p:cNvSpPr>
                                  <p:nvPr/>
                                </p:nvSpPr>
                                <p:spPr bwMode="auto">
                                  <a:xfrm>
                                    <a:off x="10480657" y="4938676"/>
                                    <a:ext cx="586265" cy="418808"/>
                                  </a:xfrm>
                                  <a:custGeom>
                                    <a:avLst/>
                                    <a:gdLst/>
                                    <a:ahLst/>
                                    <a:cxnLst/>
                                    <a:rect l="l" t="t" r="r" b="b"/>
                                    <a:pathLst>
                                      <a:path w="510646" h="365126">
                                        <a:moveTo>
                                          <a:pt x="227542" y="275168"/>
                                        </a:moveTo>
                                        <a:lnTo>
                                          <a:pt x="227542" y="277814"/>
                                        </a:lnTo>
                                        <a:lnTo>
                                          <a:pt x="230188" y="277814"/>
                                        </a:lnTo>
                                        <a:lnTo>
                                          <a:pt x="230188" y="275168"/>
                                        </a:lnTo>
                                        <a:close/>
                                        <a:moveTo>
                                          <a:pt x="293688" y="185209"/>
                                        </a:moveTo>
                                        <a:lnTo>
                                          <a:pt x="301625" y="187855"/>
                                        </a:lnTo>
                                        <a:lnTo>
                                          <a:pt x="296334" y="187855"/>
                                        </a:lnTo>
                                        <a:lnTo>
                                          <a:pt x="291042" y="187855"/>
                                        </a:lnTo>
                                        <a:lnTo>
                                          <a:pt x="291042" y="190501"/>
                                        </a:lnTo>
                                        <a:lnTo>
                                          <a:pt x="291042" y="193147"/>
                                        </a:lnTo>
                                        <a:lnTo>
                                          <a:pt x="293688" y="193147"/>
                                        </a:lnTo>
                                        <a:lnTo>
                                          <a:pt x="293688" y="195793"/>
                                        </a:lnTo>
                                        <a:lnTo>
                                          <a:pt x="291042" y="198438"/>
                                        </a:lnTo>
                                        <a:lnTo>
                                          <a:pt x="293688" y="201084"/>
                                        </a:lnTo>
                                        <a:lnTo>
                                          <a:pt x="296334" y="198438"/>
                                        </a:lnTo>
                                        <a:lnTo>
                                          <a:pt x="301625" y="195793"/>
                                        </a:lnTo>
                                        <a:lnTo>
                                          <a:pt x="304271" y="195793"/>
                                        </a:lnTo>
                                        <a:lnTo>
                                          <a:pt x="306917" y="193147"/>
                                        </a:lnTo>
                                        <a:lnTo>
                                          <a:pt x="309563" y="190501"/>
                                        </a:lnTo>
                                        <a:lnTo>
                                          <a:pt x="312208" y="190501"/>
                                        </a:lnTo>
                                        <a:lnTo>
                                          <a:pt x="312208" y="193147"/>
                                        </a:lnTo>
                                        <a:lnTo>
                                          <a:pt x="309563" y="193147"/>
                                        </a:lnTo>
                                        <a:lnTo>
                                          <a:pt x="309563" y="195793"/>
                                        </a:lnTo>
                                        <a:lnTo>
                                          <a:pt x="312208" y="195793"/>
                                        </a:lnTo>
                                        <a:lnTo>
                                          <a:pt x="314854" y="195793"/>
                                        </a:lnTo>
                                        <a:lnTo>
                                          <a:pt x="317500" y="198438"/>
                                        </a:lnTo>
                                        <a:lnTo>
                                          <a:pt x="314854" y="198438"/>
                                        </a:lnTo>
                                        <a:lnTo>
                                          <a:pt x="317500" y="201084"/>
                                        </a:lnTo>
                                        <a:lnTo>
                                          <a:pt x="320146" y="201084"/>
                                        </a:lnTo>
                                        <a:lnTo>
                                          <a:pt x="317500" y="203730"/>
                                        </a:lnTo>
                                        <a:lnTo>
                                          <a:pt x="314854" y="203730"/>
                                        </a:lnTo>
                                        <a:lnTo>
                                          <a:pt x="312208" y="206376"/>
                                        </a:lnTo>
                                        <a:lnTo>
                                          <a:pt x="309563" y="206376"/>
                                        </a:lnTo>
                                        <a:lnTo>
                                          <a:pt x="312208" y="209022"/>
                                        </a:lnTo>
                                        <a:lnTo>
                                          <a:pt x="312208" y="211668"/>
                                        </a:lnTo>
                                        <a:lnTo>
                                          <a:pt x="309563" y="216959"/>
                                        </a:lnTo>
                                        <a:lnTo>
                                          <a:pt x="296334" y="224897"/>
                                        </a:lnTo>
                                        <a:lnTo>
                                          <a:pt x="293688" y="227543"/>
                                        </a:lnTo>
                                        <a:lnTo>
                                          <a:pt x="291042" y="230188"/>
                                        </a:lnTo>
                                        <a:lnTo>
                                          <a:pt x="283104" y="232834"/>
                                        </a:lnTo>
                                        <a:lnTo>
                                          <a:pt x="280458" y="235480"/>
                                        </a:lnTo>
                                        <a:lnTo>
                                          <a:pt x="283104" y="235480"/>
                                        </a:lnTo>
                                        <a:lnTo>
                                          <a:pt x="283104" y="238126"/>
                                        </a:lnTo>
                                        <a:lnTo>
                                          <a:pt x="280458" y="238126"/>
                                        </a:lnTo>
                                        <a:lnTo>
                                          <a:pt x="277813" y="238126"/>
                                        </a:lnTo>
                                        <a:lnTo>
                                          <a:pt x="275167" y="238126"/>
                                        </a:lnTo>
                                        <a:lnTo>
                                          <a:pt x="275167" y="240772"/>
                                        </a:lnTo>
                                        <a:lnTo>
                                          <a:pt x="261938" y="251355"/>
                                        </a:lnTo>
                                        <a:lnTo>
                                          <a:pt x="259292" y="251355"/>
                                        </a:lnTo>
                                        <a:lnTo>
                                          <a:pt x="259292" y="254001"/>
                                        </a:lnTo>
                                        <a:lnTo>
                                          <a:pt x="256646" y="256647"/>
                                        </a:lnTo>
                                        <a:lnTo>
                                          <a:pt x="254000" y="256647"/>
                                        </a:lnTo>
                                        <a:lnTo>
                                          <a:pt x="251354" y="259293"/>
                                        </a:lnTo>
                                        <a:lnTo>
                                          <a:pt x="243417" y="259293"/>
                                        </a:lnTo>
                                        <a:lnTo>
                                          <a:pt x="235479" y="259293"/>
                                        </a:lnTo>
                                        <a:lnTo>
                                          <a:pt x="232833" y="261939"/>
                                        </a:lnTo>
                                        <a:lnTo>
                                          <a:pt x="230188" y="267230"/>
                                        </a:lnTo>
                                        <a:lnTo>
                                          <a:pt x="227542" y="267230"/>
                                        </a:lnTo>
                                        <a:lnTo>
                                          <a:pt x="227542" y="269876"/>
                                        </a:lnTo>
                                        <a:lnTo>
                                          <a:pt x="227542" y="272522"/>
                                        </a:lnTo>
                                        <a:lnTo>
                                          <a:pt x="230188" y="272522"/>
                                        </a:lnTo>
                                        <a:lnTo>
                                          <a:pt x="232833" y="272522"/>
                                        </a:lnTo>
                                        <a:lnTo>
                                          <a:pt x="232833" y="275168"/>
                                        </a:lnTo>
                                        <a:lnTo>
                                          <a:pt x="235479" y="275168"/>
                                        </a:lnTo>
                                        <a:lnTo>
                                          <a:pt x="235479" y="277814"/>
                                        </a:lnTo>
                                        <a:lnTo>
                                          <a:pt x="235479" y="280459"/>
                                        </a:lnTo>
                                        <a:lnTo>
                                          <a:pt x="232833" y="280459"/>
                                        </a:lnTo>
                                        <a:lnTo>
                                          <a:pt x="230188" y="280459"/>
                                        </a:lnTo>
                                        <a:lnTo>
                                          <a:pt x="232833" y="283105"/>
                                        </a:lnTo>
                                        <a:lnTo>
                                          <a:pt x="230188" y="283105"/>
                                        </a:lnTo>
                                        <a:lnTo>
                                          <a:pt x="227542" y="283105"/>
                                        </a:lnTo>
                                        <a:lnTo>
                                          <a:pt x="224896" y="283105"/>
                                        </a:lnTo>
                                        <a:lnTo>
                                          <a:pt x="222250" y="280459"/>
                                        </a:lnTo>
                                        <a:lnTo>
                                          <a:pt x="219604" y="280459"/>
                                        </a:lnTo>
                                        <a:lnTo>
                                          <a:pt x="219604" y="277814"/>
                                        </a:lnTo>
                                        <a:lnTo>
                                          <a:pt x="216958" y="277814"/>
                                        </a:lnTo>
                                        <a:lnTo>
                                          <a:pt x="209021" y="277814"/>
                                        </a:lnTo>
                                        <a:lnTo>
                                          <a:pt x="193146" y="283105"/>
                                        </a:lnTo>
                                        <a:lnTo>
                                          <a:pt x="174625" y="293689"/>
                                        </a:lnTo>
                                        <a:lnTo>
                                          <a:pt x="171979" y="296334"/>
                                        </a:lnTo>
                                        <a:lnTo>
                                          <a:pt x="169333" y="298980"/>
                                        </a:lnTo>
                                        <a:lnTo>
                                          <a:pt x="164042" y="304272"/>
                                        </a:lnTo>
                                        <a:lnTo>
                                          <a:pt x="161396" y="306918"/>
                                        </a:lnTo>
                                        <a:lnTo>
                                          <a:pt x="161396" y="312209"/>
                                        </a:lnTo>
                                        <a:lnTo>
                                          <a:pt x="158750" y="314855"/>
                                        </a:lnTo>
                                        <a:lnTo>
                                          <a:pt x="150813" y="317501"/>
                                        </a:lnTo>
                                        <a:lnTo>
                                          <a:pt x="142875" y="322793"/>
                                        </a:lnTo>
                                        <a:lnTo>
                                          <a:pt x="140229" y="325439"/>
                                        </a:lnTo>
                                        <a:lnTo>
                                          <a:pt x="137584" y="328085"/>
                                        </a:lnTo>
                                        <a:lnTo>
                                          <a:pt x="132292" y="330730"/>
                                        </a:lnTo>
                                        <a:lnTo>
                                          <a:pt x="124354" y="333376"/>
                                        </a:lnTo>
                                        <a:lnTo>
                                          <a:pt x="121709" y="338668"/>
                                        </a:lnTo>
                                        <a:lnTo>
                                          <a:pt x="119063" y="338668"/>
                                        </a:lnTo>
                                        <a:lnTo>
                                          <a:pt x="116417" y="341314"/>
                                        </a:lnTo>
                                        <a:lnTo>
                                          <a:pt x="108479" y="343960"/>
                                        </a:lnTo>
                                        <a:lnTo>
                                          <a:pt x="105834" y="349251"/>
                                        </a:lnTo>
                                        <a:lnTo>
                                          <a:pt x="103188" y="351897"/>
                                        </a:lnTo>
                                        <a:lnTo>
                                          <a:pt x="95250" y="357189"/>
                                        </a:lnTo>
                                        <a:lnTo>
                                          <a:pt x="92604" y="359835"/>
                                        </a:lnTo>
                                        <a:lnTo>
                                          <a:pt x="89959" y="359835"/>
                                        </a:lnTo>
                                        <a:lnTo>
                                          <a:pt x="84667" y="359835"/>
                                        </a:lnTo>
                                        <a:lnTo>
                                          <a:pt x="82021" y="359835"/>
                                        </a:lnTo>
                                        <a:lnTo>
                                          <a:pt x="79375" y="362480"/>
                                        </a:lnTo>
                                        <a:lnTo>
                                          <a:pt x="76729" y="362480"/>
                                        </a:lnTo>
                                        <a:lnTo>
                                          <a:pt x="71438" y="365126"/>
                                        </a:lnTo>
                                        <a:lnTo>
                                          <a:pt x="63500" y="365126"/>
                                        </a:lnTo>
                                        <a:lnTo>
                                          <a:pt x="58209" y="362480"/>
                                        </a:lnTo>
                                        <a:lnTo>
                                          <a:pt x="52917" y="362480"/>
                                        </a:lnTo>
                                        <a:lnTo>
                                          <a:pt x="42334" y="362480"/>
                                        </a:lnTo>
                                        <a:lnTo>
                                          <a:pt x="37042" y="362480"/>
                                        </a:lnTo>
                                        <a:lnTo>
                                          <a:pt x="37042" y="359835"/>
                                        </a:lnTo>
                                        <a:lnTo>
                                          <a:pt x="37042" y="357189"/>
                                        </a:lnTo>
                                        <a:lnTo>
                                          <a:pt x="34396" y="357189"/>
                                        </a:lnTo>
                                        <a:lnTo>
                                          <a:pt x="29104" y="357189"/>
                                        </a:lnTo>
                                        <a:lnTo>
                                          <a:pt x="26459" y="354543"/>
                                        </a:lnTo>
                                        <a:lnTo>
                                          <a:pt x="23813" y="354543"/>
                                        </a:lnTo>
                                        <a:lnTo>
                                          <a:pt x="21167" y="354543"/>
                                        </a:lnTo>
                                        <a:lnTo>
                                          <a:pt x="18521" y="357189"/>
                                        </a:lnTo>
                                        <a:lnTo>
                                          <a:pt x="18521" y="354543"/>
                                        </a:lnTo>
                                        <a:lnTo>
                                          <a:pt x="10584" y="354543"/>
                                        </a:lnTo>
                                        <a:lnTo>
                                          <a:pt x="5292" y="351897"/>
                                        </a:lnTo>
                                        <a:lnTo>
                                          <a:pt x="0" y="349251"/>
                                        </a:lnTo>
                                        <a:lnTo>
                                          <a:pt x="0" y="346605"/>
                                        </a:lnTo>
                                        <a:lnTo>
                                          <a:pt x="2646" y="346605"/>
                                        </a:lnTo>
                                        <a:lnTo>
                                          <a:pt x="10584" y="346605"/>
                                        </a:lnTo>
                                        <a:lnTo>
                                          <a:pt x="10584" y="343960"/>
                                        </a:lnTo>
                                        <a:lnTo>
                                          <a:pt x="7938" y="343960"/>
                                        </a:lnTo>
                                        <a:lnTo>
                                          <a:pt x="5292" y="341314"/>
                                        </a:lnTo>
                                        <a:lnTo>
                                          <a:pt x="7938" y="338668"/>
                                        </a:lnTo>
                                        <a:lnTo>
                                          <a:pt x="2646" y="338668"/>
                                        </a:lnTo>
                                        <a:lnTo>
                                          <a:pt x="2646" y="336022"/>
                                        </a:lnTo>
                                        <a:lnTo>
                                          <a:pt x="7938" y="333376"/>
                                        </a:lnTo>
                                        <a:lnTo>
                                          <a:pt x="10584" y="330730"/>
                                        </a:lnTo>
                                        <a:lnTo>
                                          <a:pt x="18521" y="328085"/>
                                        </a:lnTo>
                                        <a:lnTo>
                                          <a:pt x="18521" y="325439"/>
                                        </a:lnTo>
                                        <a:lnTo>
                                          <a:pt x="23813" y="325439"/>
                                        </a:lnTo>
                                        <a:lnTo>
                                          <a:pt x="26459" y="322793"/>
                                        </a:lnTo>
                                        <a:lnTo>
                                          <a:pt x="26459" y="320147"/>
                                        </a:lnTo>
                                        <a:lnTo>
                                          <a:pt x="29104" y="320147"/>
                                        </a:lnTo>
                                        <a:lnTo>
                                          <a:pt x="39688" y="314855"/>
                                        </a:lnTo>
                                        <a:lnTo>
                                          <a:pt x="47625" y="312209"/>
                                        </a:lnTo>
                                        <a:lnTo>
                                          <a:pt x="55563" y="309564"/>
                                        </a:lnTo>
                                        <a:lnTo>
                                          <a:pt x="60854" y="309564"/>
                                        </a:lnTo>
                                        <a:lnTo>
                                          <a:pt x="66146" y="306918"/>
                                        </a:lnTo>
                                        <a:lnTo>
                                          <a:pt x="71438" y="301626"/>
                                        </a:lnTo>
                                        <a:lnTo>
                                          <a:pt x="74084" y="301626"/>
                                        </a:lnTo>
                                        <a:lnTo>
                                          <a:pt x="79375" y="298980"/>
                                        </a:lnTo>
                                        <a:lnTo>
                                          <a:pt x="87313" y="296334"/>
                                        </a:lnTo>
                                        <a:lnTo>
                                          <a:pt x="92604" y="291043"/>
                                        </a:lnTo>
                                        <a:lnTo>
                                          <a:pt x="97896" y="288397"/>
                                        </a:lnTo>
                                        <a:lnTo>
                                          <a:pt x="100542" y="288397"/>
                                        </a:lnTo>
                                        <a:lnTo>
                                          <a:pt x="108479" y="288397"/>
                                        </a:lnTo>
                                        <a:lnTo>
                                          <a:pt x="111125" y="285751"/>
                                        </a:lnTo>
                                        <a:lnTo>
                                          <a:pt x="116417" y="283105"/>
                                        </a:lnTo>
                                        <a:lnTo>
                                          <a:pt x="121709" y="280459"/>
                                        </a:lnTo>
                                        <a:lnTo>
                                          <a:pt x="127000" y="277814"/>
                                        </a:lnTo>
                                        <a:lnTo>
                                          <a:pt x="140229" y="272522"/>
                                        </a:lnTo>
                                        <a:lnTo>
                                          <a:pt x="142875" y="269876"/>
                                        </a:lnTo>
                                        <a:lnTo>
                                          <a:pt x="145521" y="269876"/>
                                        </a:lnTo>
                                        <a:lnTo>
                                          <a:pt x="145521" y="272522"/>
                                        </a:lnTo>
                                        <a:lnTo>
                                          <a:pt x="148167" y="269876"/>
                                        </a:lnTo>
                                        <a:lnTo>
                                          <a:pt x="156104" y="267230"/>
                                        </a:lnTo>
                                        <a:lnTo>
                                          <a:pt x="161396" y="264584"/>
                                        </a:lnTo>
                                        <a:lnTo>
                                          <a:pt x="166688" y="261939"/>
                                        </a:lnTo>
                                        <a:lnTo>
                                          <a:pt x="174625" y="256647"/>
                                        </a:lnTo>
                                        <a:lnTo>
                                          <a:pt x="182563" y="254001"/>
                                        </a:lnTo>
                                        <a:lnTo>
                                          <a:pt x="187854" y="248709"/>
                                        </a:lnTo>
                                        <a:lnTo>
                                          <a:pt x="193146" y="248709"/>
                                        </a:lnTo>
                                        <a:lnTo>
                                          <a:pt x="206375" y="243418"/>
                                        </a:lnTo>
                                        <a:lnTo>
                                          <a:pt x="214313" y="238126"/>
                                        </a:lnTo>
                                        <a:lnTo>
                                          <a:pt x="216958" y="235480"/>
                                        </a:lnTo>
                                        <a:lnTo>
                                          <a:pt x="219604" y="235480"/>
                                        </a:lnTo>
                                        <a:lnTo>
                                          <a:pt x="222250" y="235480"/>
                                        </a:lnTo>
                                        <a:lnTo>
                                          <a:pt x="227542" y="230188"/>
                                        </a:lnTo>
                                        <a:lnTo>
                                          <a:pt x="232833" y="222251"/>
                                        </a:lnTo>
                                        <a:lnTo>
                                          <a:pt x="238125" y="216959"/>
                                        </a:lnTo>
                                        <a:lnTo>
                                          <a:pt x="240771" y="214313"/>
                                        </a:lnTo>
                                        <a:lnTo>
                                          <a:pt x="248708" y="214313"/>
                                        </a:lnTo>
                                        <a:lnTo>
                                          <a:pt x="259292" y="209022"/>
                                        </a:lnTo>
                                        <a:lnTo>
                                          <a:pt x="264583" y="206376"/>
                                        </a:lnTo>
                                        <a:lnTo>
                                          <a:pt x="269875" y="203730"/>
                                        </a:lnTo>
                                        <a:lnTo>
                                          <a:pt x="275167" y="195793"/>
                                        </a:lnTo>
                                        <a:lnTo>
                                          <a:pt x="283104" y="190501"/>
                                        </a:lnTo>
                                        <a:lnTo>
                                          <a:pt x="288396" y="187855"/>
                                        </a:lnTo>
                                        <a:close/>
                                        <a:moveTo>
                                          <a:pt x="444500" y="37041"/>
                                        </a:moveTo>
                                        <a:lnTo>
                                          <a:pt x="444500" y="39687"/>
                                        </a:lnTo>
                                        <a:lnTo>
                                          <a:pt x="447146" y="39687"/>
                                        </a:lnTo>
                                        <a:close/>
                                        <a:moveTo>
                                          <a:pt x="425979" y="0"/>
                                        </a:moveTo>
                                        <a:lnTo>
                                          <a:pt x="431271" y="0"/>
                                        </a:lnTo>
                                        <a:lnTo>
                                          <a:pt x="431271" y="2646"/>
                                        </a:lnTo>
                                        <a:lnTo>
                                          <a:pt x="431271" y="5291"/>
                                        </a:lnTo>
                                        <a:lnTo>
                                          <a:pt x="433917" y="7937"/>
                                        </a:lnTo>
                                        <a:lnTo>
                                          <a:pt x="433917" y="10583"/>
                                        </a:lnTo>
                                        <a:lnTo>
                                          <a:pt x="433917" y="13229"/>
                                        </a:lnTo>
                                        <a:lnTo>
                                          <a:pt x="436563" y="13229"/>
                                        </a:lnTo>
                                        <a:lnTo>
                                          <a:pt x="439208" y="13229"/>
                                        </a:lnTo>
                                        <a:lnTo>
                                          <a:pt x="436563" y="15875"/>
                                        </a:lnTo>
                                        <a:lnTo>
                                          <a:pt x="439208" y="15875"/>
                                        </a:lnTo>
                                        <a:lnTo>
                                          <a:pt x="441854" y="15875"/>
                                        </a:lnTo>
                                        <a:lnTo>
                                          <a:pt x="444500" y="18521"/>
                                        </a:lnTo>
                                        <a:lnTo>
                                          <a:pt x="441854" y="18521"/>
                                        </a:lnTo>
                                        <a:lnTo>
                                          <a:pt x="444500" y="21166"/>
                                        </a:lnTo>
                                        <a:lnTo>
                                          <a:pt x="447146" y="21166"/>
                                        </a:lnTo>
                                        <a:lnTo>
                                          <a:pt x="447146" y="23812"/>
                                        </a:lnTo>
                                        <a:lnTo>
                                          <a:pt x="449792" y="26458"/>
                                        </a:lnTo>
                                        <a:lnTo>
                                          <a:pt x="449792" y="29104"/>
                                        </a:lnTo>
                                        <a:lnTo>
                                          <a:pt x="452438" y="31750"/>
                                        </a:lnTo>
                                        <a:lnTo>
                                          <a:pt x="452438" y="37041"/>
                                        </a:lnTo>
                                        <a:lnTo>
                                          <a:pt x="449792" y="37041"/>
                                        </a:lnTo>
                                        <a:lnTo>
                                          <a:pt x="449792" y="39687"/>
                                        </a:lnTo>
                                        <a:lnTo>
                                          <a:pt x="449792" y="42333"/>
                                        </a:lnTo>
                                        <a:lnTo>
                                          <a:pt x="447146" y="42333"/>
                                        </a:lnTo>
                                        <a:lnTo>
                                          <a:pt x="444500" y="44979"/>
                                        </a:lnTo>
                                        <a:lnTo>
                                          <a:pt x="444500" y="47625"/>
                                        </a:lnTo>
                                        <a:lnTo>
                                          <a:pt x="444500" y="50271"/>
                                        </a:lnTo>
                                        <a:lnTo>
                                          <a:pt x="444500" y="52916"/>
                                        </a:lnTo>
                                        <a:lnTo>
                                          <a:pt x="444500" y="55562"/>
                                        </a:lnTo>
                                        <a:lnTo>
                                          <a:pt x="447146" y="55562"/>
                                        </a:lnTo>
                                        <a:lnTo>
                                          <a:pt x="444500" y="58208"/>
                                        </a:lnTo>
                                        <a:lnTo>
                                          <a:pt x="441854" y="60854"/>
                                        </a:lnTo>
                                        <a:lnTo>
                                          <a:pt x="441854" y="63500"/>
                                        </a:lnTo>
                                        <a:lnTo>
                                          <a:pt x="441854" y="66146"/>
                                        </a:lnTo>
                                        <a:lnTo>
                                          <a:pt x="441854" y="68791"/>
                                        </a:lnTo>
                                        <a:lnTo>
                                          <a:pt x="441854" y="71437"/>
                                        </a:lnTo>
                                        <a:lnTo>
                                          <a:pt x="439208" y="74083"/>
                                        </a:lnTo>
                                        <a:lnTo>
                                          <a:pt x="436563" y="71437"/>
                                        </a:lnTo>
                                        <a:lnTo>
                                          <a:pt x="436563" y="74083"/>
                                        </a:lnTo>
                                        <a:lnTo>
                                          <a:pt x="439208" y="74083"/>
                                        </a:lnTo>
                                        <a:lnTo>
                                          <a:pt x="439208" y="76729"/>
                                        </a:lnTo>
                                        <a:lnTo>
                                          <a:pt x="441854" y="74083"/>
                                        </a:lnTo>
                                        <a:lnTo>
                                          <a:pt x="444500" y="74083"/>
                                        </a:lnTo>
                                        <a:lnTo>
                                          <a:pt x="444500" y="76729"/>
                                        </a:lnTo>
                                        <a:lnTo>
                                          <a:pt x="447146" y="76729"/>
                                        </a:lnTo>
                                        <a:lnTo>
                                          <a:pt x="447146" y="79375"/>
                                        </a:lnTo>
                                        <a:lnTo>
                                          <a:pt x="447146" y="82021"/>
                                        </a:lnTo>
                                        <a:lnTo>
                                          <a:pt x="447146" y="84666"/>
                                        </a:lnTo>
                                        <a:lnTo>
                                          <a:pt x="449792" y="84666"/>
                                        </a:lnTo>
                                        <a:lnTo>
                                          <a:pt x="452438" y="84666"/>
                                        </a:lnTo>
                                        <a:lnTo>
                                          <a:pt x="452438" y="82021"/>
                                        </a:lnTo>
                                        <a:lnTo>
                                          <a:pt x="452438" y="79375"/>
                                        </a:lnTo>
                                        <a:lnTo>
                                          <a:pt x="452438" y="76729"/>
                                        </a:lnTo>
                                        <a:lnTo>
                                          <a:pt x="452438" y="74083"/>
                                        </a:lnTo>
                                        <a:lnTo>
                                          <a:pt x="452438" y="71437"/>
                                        </a:lnTo>
                                        <a:lnTo>
                                          <a:pt x="452438" y="68791"/>
                                        </a:lnTo>
                                        <a:lnTo>
                                          <a:pt x="452438" y="66146"/>
                                        </a:lnTo>
                                        <a:lnTo>
                                          <a:pt x="455084" y="68791"/>
                                        </a:lnTo>
                                        <a:lnTo>
                                          <a:pt x="457729" y="68791"/>
                                        </a:lnTo>
                                        <a:lnTo>
                                          <a:pt x="455084" y="71437"/>
                                        </a:lnTo>
                                        <a:lnTo>
                                          <a:pt x="457729" y="71437"/>
                                        </a:lnTo>
                                        <a:lnTo>
                                          <a:pt x="460375" y="71437"/>
                                        </a:lnTo>
                                        <a:lnTo>
                                          <a:pt x="457729" y="74083"/>
                                        </a:lnTo>
                                        <a:lnTo>
                                          <a:pt x="455084" y="74083"/>
                                        </a:lnTo>
                                        <a:lnTo>
                                          <a:pt x="457729" y="76729"/>
                                        </a:lnTo>
                                        <a:lnTo>
                                          <a:pt x="457729" y="79375"/>
                                        </a:lnTo>
                                        <a:lnTo>
                                          <a:pt x="457729" y="87312"/>
                                        </a:lnTo>
                                        <a:lnTo>
                                          <a:pt x="455084" y="89958"/>
                                        </a:lnTo>
                                        <a:lnTo>
                                          <a:pt x="457729" y="92604"/>
                                        </a:lnTo>
                                        <a:lnTo>
                                          <a:pt x="457729" y="95250"/>
                                        </a:lnTo>
                                        <a:lnTo>
                                          <a:pt x="460375" y="97896"/>
                                        </a:lnTo>
                                        <a:lnTo>
                                          <a:pt x="468313" y="100542"/>
                                        </a:lnTo>
                                        <a:lnTo>
                                          <a:pt x="473604" y="103187"/>
                                        </a:lnTo>
                                        <a:lnTo>
                                          <a:pt x="478896" y="103187"/>
                                        </a:lnTo>
                                        <a:lnTo>
                                          <a:pt x="484188" y="100542"/>
                                        </a:lnTo>
                                        <a:lnTo>
                                          <a:pt x="489479" y="97896"/>
                                        </a:lnTo>
                                        <a:lnTo>
                                          <a:pt x="492125" y="97896"/>
                                        </a:lnTo>
                                        <a:lnTo>
                                          <a:pt x="500063" y="95250"/>
                                        </a:lnTo>
                                        <a:lnTo>
                                          <a:pt x="502708" y="95250"/>
                                        </a:lnTo>
                                        <a:lnTo>
                                          <a:pt x="508000" y="95250"/>
                                        </a:lnTo>
                                        <a:lnTo>
                                          <a:pt x="508000" y="97896"/>
                                        </a:lnTo>
                                        <a:lnTo>
                                          <a:pt x="510646" y="100542"/>
                                        </a:lnTo>
                                        <a:lnTo>
                                          <a:pt x="508000" y="103187"/>
                                        </a:lnTo>
                                        <a:lnTo>
                                          <a:pt x="505354" y="105833"/>
                                        </a:lnTo>
                                        <a:lnTo>
                                          <a:pt x="505354" y="108479"/>
                                        </a:lnTo>
                                        <a:lnTo>
                                          <a:pt x="502708" y="111125"/>
                                        </a:lnTo>
                                        <a:lnTo>
                                          <a:pt x="502708" y="113771"/>
                                        </a:lnTo>
                                        <a:lnTo>
                                          <a:pt x="500063" y="116417"/>
                                        </a:lnTo>
                                        <a:lnTo>
                                          <a:pt x="497417" y="119062"/>
                                        </a:lnTo>
                                        <a:lnTo>
                                          <a:pt x="497417" y="121708"/>
                                        </a:lnTo>
                                        <a:lnTo>
                                          <a:pt x="489479" y="124354"/>
                                        </a:lnTo>
                                        <a:lnTo>
                                          <a:pt x="486834" y="124354"/>
                                        </a:lnTo>
                                        <a:lnTo>
                                          <a:pt x="484188" y="124354"/>
                                        </a:lnTo>
                                        <a:lnTo>
                                          <a:pt x="481542" y="127000"/>
                                        </a:lnTo>
                                        <a:lnTo>
                                          <a:pt x="478896" y="132292"/>
                                        </a:lnTo>
                                        <a:lnTo>
                                          <a:pt x="476250" y="137583"/>
                                        </a:lnTo>
                                        <a:lnTo>
                                          <a:pt x="473604" y="140229"/>
                                        </a:lnTo>
                                        <a:lnTo>
                                          <a:pt x="476250" y="140229"/>
                                        </a:lnTo>
                                        <a:lnTo>
                                          <a:pt x="478896" y="142875"/>
                                        </a:lnTo>
                                        <a:lnTo>
                                          <a:pt x="476250" y="142875"/>
                                        </a:lnTo>
                                        <a:lnTo>
                                          <a:pt x="470958" y="148167"/>
                                        </a:lnTo>
                                        <a:lnTo>
                                          <a:pt x="470958" y="145521"/>
                                        </a:lnTo>
                                        <a:lnTo>
                                          <a:pt x="470958" y="142875"/>
                                        </a:lnTo>
                                        <a:lnTo>
                                          <a:pt x="473604" y="142875"/>
                                        </a:lnTo>
                                        <a:lnTo>
                                          <a:pt x="470958" y="140229"/>
                                        </a:lnTo>
                                        <a:lnTo>
                                          <a:pt x="455084" y="140229"/>
                                        </a:lnTo>
                                        <a:lnTo>
                                          <a:pt x="436563" y="145521"/>
                                        </a:lnTo>
                                        <a:lnTo>
                                          <a:pt x="433917" y="148167"/>
                                        </a:lnTo>
                                        <a:lnTo>
                                          <a:pt x="433917" y="150812"/>
                                        </a:lnTo>
                                        <a:lnTo>
                                          <a:pt x="428625" y="153458"/>
                                        </a:lnTo>
                                        <a:lnTo>
                                          <a:pt x="428625" y="156104"/>
                                        </a:lnTo>
                                        <a:lnTo>
                                          <a:pt x="425979" y="158750"/>
                                        </a:lnTo>
                                        <a:lnTo>
                                          <a:pt x="425979" y="161396"/>
                                        </a:lnTo>
                                        <a:lnTo>
                                          <a:pt x="428625" y="161396"/>
                                        </a:lnTo>
                                        <a:lnTo>
                                          <a:pt x="428625" y="164042"/>
                                        </a:lnTo>
                                        <a:lnTo>
                                          <a:pt x="425979" y="164042"/>
                                        </a:lnTo>
                                        <a:lnTo>
                                          <a:pt x="423334" y="164042"/>
                                        </a:lnTo>
                                        <a:lnTo>
                                          <a:pt x="420688" y="166687"/>
                                        </a:lnTo>
                                        <a:lnTo>
                                          <a:pt x="418042" y="169333"/>
                                        </a:lnTo>
                                        <a:lnTo>
                                          <a:pt x="415396" y="171979"/>
                                        </a:lnTo>
                                        <a:lnTo>
                                          <a:pt x="412750" y="174625"/>
                                        </a:lnTo>
                                        <a:lnTo>
                                          <a:pt x="410104" y="174625"/>
                                        </a:lnTo>
                                        <a:lnTo>
                                          <a:pt x="407458" y="174625"/>
                                        </a:lnTo>
                                        <a:lnTo>
                                          <a:pt x="404813" y="177271"/>
                                        </a:lnTo>
                                        <a:lnTo>
                                          <a:pt x="402167" y="182562"/>
                                        </a:lnTo>
                                        <a:lnTo>
                                          <a:pt x="396875" y="182562"/>
                                        </a:lnTo>
                                        <a:lnTo>
                                          <a:pt x="394229" y="185208"/>
                                        </a:lnTo>
                                        <a:lnTo>
                                          <a:pt x="391584" y="185208"/>
                                        </a:lnTo>
                                        <a:lnTo>
                                          <a:pt x="388938" y="187855"/>
                                        </a:lnTo>
                                        <a:lnTo>
                                          <a:pt x="381000" y="193146"/>
                                        </a:lnTo>
                                        <a:lnTo>
                                          <a:pt x="378354" y="195792"/>
                                        </a:lnTo>
                                        <a:lnTo>
                                          <a:pt x="375708" y="198438"/>
                                        </a:lnTo>
                                        <a:lnTo>
                                          <a:pt x="373063" y="201084"/>
                                        </a:lnTo>
                                        <a:lnTo>
                                          <a:pt x="367771" y="203730"/>
                                        </a:lnTo>
                                        <a:lnTo>
                                          <a:pt x="359834" y="206375"/>
                                        </a:lnTo>
                                        <a:lnTo>
                                          <a:pt x="354542" y="209021"/>
                                        </a:lnTo>
                                        <a:lnTo>
                                          <a:pt x="354542" y="206375"/>
                                        </a:lnTo>
                                        <a:lnTo>
                                          <a:pt x="351896" y="203730"/>
                                        </a:lnTo>
                                        <a:lnTo>
                                          <a:pt x="349250" y="203730"/>
                                        </a:lnTo>
                                        <a:lnTo>
                                          <a:pt x="346604" y="206375"/>
                                        </a:lnTo>
                                        <a:lnTo>
                                          <a:pt x="346604" y="203730"/>
                                        </a:lnTo>
                                        <a:lnTo>
                                          <a:pt x="346604" y="201084"/>
                                        </a:lnTo>
                                        <a:lnTo>
                                          <a:pt x="346604" y="198438"/>
                                        </a:lnTo>
                                        <a:lnTo>
                                          <a:pt x="343958" y="198438"/>
                                        </a:lnTo>
                                        <a:lnTo>
                                          <a:pt x="343958" y="201084"/>
                                        </a:lnTo>
                                        <a:lnTo>
                                          <a:pt x="341313" y="203730"/>
                                        </a:lnTo>
                                        <a:lnTo>
                                          <a:pt x="338667" y="203730"/>
                                        </a:lnTo>
                                        <a:lnTo>
                                          <a:pt x="336021" y="201084"/>
                                        </a:lnTo>
                                        <a:lnTo>
                                          <a:pt x="336021" y="198438"/>
                                        </a:lnTo>
                                        <a:lnTo>
                                          <a:pt x="338667" y="198438"/>
                                        </a:lnTo>
                                        <a:lnTo>
                                          <a:pt x="341313" y="195792"/>
                                        </a:lnTo>
                                        <a:lnTo>
                                          <a:pt x="343958" y="193146"/>
                                        </a:lnTo>
                                        <a:lnTo>
                                          <a:pt x="346604" y="193146"/>
                                        </a:lnTo>
                                        <a:lnTo>
                                          <a:pt x="349250" y="190500"/>
                                        </a:lnTo>
                                        <a:lnTo>
                                          <a:pt x="354542" y="185208"/>
                                        </a:lnTo>
                                        <a:lnTo>
                                          <a:pt x="359834" y="177271"/>
                                        </a:lnTo>
                                        <a:lnTo>
                                          <a:pt x="362479" y="171979"/>
                                        </a:lnTo>
                                        <a:lnTo>
                                          <a:pt x="362479" y="169333"/>
                                        </a:lnTo>
                                        <a:lnTo>
                                          <a:pt x="359834" y="164042"/>
                                        </a:lnTo>
                                        <a:lnTo>
                                          <a:pt x="357188" y="164042"/>
                                        </a:lnTo>
                                        <a:lnTo>
                                          <a:pt x="354542" y="161396"/>
                                        </a:lnTo>
                                        <a:lnTo>
                                          <a:pt x="351896" y="158750"/>
                                        </a:lnTo>
                                        <a:lnTo>
                                          <a:pt x="349250" y="158750"/>
                                        </a:lnTo>
                                        <a:lnTo>
                                          <a:pt x="346604" y="156104"/>
                                        </a:lnTo>
                                        <a:lnTo>
                                          <a:pt x="346604" y="150812"/>
                                        </a:lnTo>
                                        <a:lnTo>
                                          <a:pt x="349250" y="148167"/>
                                        </a:lnTo>
                                        <a:lnTo>
                                          <a:pt x="354542" y="142875"/>
                                        </a:lnTo>
                                        <a:lnTo>
                                          <a:pt x="359834" y="140229"/>
                                        </a:lnTo>
                                        <a:lnTo>
                                          <a:pt x="365125" y="137583"/>
                                        </a:lnTo>
                                        <a:lnTo>
                                          <a:pt x="370417" y="137583"/>
                                        </a:lnTo>
                                        <a:lnTo>
                                          <a:pt x="373063" y="134937"/>
                                        </a:lnTo>
                                        <a:lnTo>
                                          <a:pt x="381000" y="129646"/>
                                        </a:lnTo>
                                        <a:lnTo>
                                          <a:pt x="386292" y="127000"/>
                                        </a:lnTo>
                                        <a:lnTo>
                                          <a:pt x="388938" y="121708"/>
                                        </a:lnTo>
                                        <a:lnTo>
                                          <a:pt x="394229" y="119062"/>
                                        </a:lnTo>
                                        <a:lnTo>
                                          <a:pt x="396875" y="119062"/>
                                        </a:lnTo>
                                        <a:lnTo>
                                          <a:pt x="402167" y="111125"/>
                                        </a:lnTo>
                                        <a:lnTo>
                                          <a:pt x="404813" y="103187"/>
                                        </a:lnTo>
                                        <a:lnTo>
                                          <a:pt x="407458" y="103187"/>
                                        </a:lnTo>
                                        <a:lnTo>
                                          <a:pt x="407458" y="105833"/>
                                        </a:lnTo>
                                        <a:lnTo>
                                          <a:pt x="412750" y="103187"/>
                                        </a:lnTo>
                                        <a:lnTo>
                                          <a:pt x="410104" y="103187"/>
                                        </a:lnTo>
                                        <a:lnTo>
                                          <a:pt x="410104" y="100542"/>
                                        </a:lnTo>
                                        <a:lnTo>
                                          <a:pt x="412750" y="97896"/>
                                        </a:lnTo>
                                        <a:lnTo>
                                          <a:pt x="415396" y="97896"/>
                                        </a:lnTo>
                                        <a:lnTo>
                                          <a:pt x="418042" y="92604"/>
                                        </a:lnTo>
                                        <a:lnTo>
                                          <a:pt x="420688" y="89958"/>
                                        </a:lnTo>
                                        <a:lnTo>
                                          <a:pt x="423334" y="84666"/>
                                        </a:lnTo>
                                        <a:lnTo>
                                          <a:pt x="425979" y="82021"/>
                                        </a:lnTo>
                                        <a:lnTo>
                                          <a:pt x="425979" y="84666"/>
                                        </a:lnTo>
                                        <a:lnTo>
                                          <a:pt x="428625" y="82021"/>
                                        </a:lnTo>
                                        <a:lnTo>
                                          <a:pt x="433917" y="82021"/>
                                        </a:lnTo>
                                        <a:lnTo>
                                          <a:pt x="431271" y="79375"/>
                                        </a:lnTo>
                                        <a:lnTo>
                                          <a:pt x="431271" y="76729"/>
                                        </a:lnTo>
                                        <a:lnTo>
                                          <a:pt x="428625" y="79375"/>
                                        </a:lnTo>
                                        <a:lnTo>
                                          <a:pt x="425979" y="79375"/>
                                        </a:lnTo>
                                        <a:lnTo>
                                          <a:pt x="423334" y="76729"/>
                                        </a:lnTo>
                                        <a:lnTo>
                                          <a:pt x="425979" y="76729"/>
                                        </a:lnTo>
                                        <a:lnTo>
                                          <a:pt x="425979" y="74083"/>
                                        </a:lnTo>
                                        <a:lnTo>
                                          <a:pt x="428625" y="71437"/>
                                        </a:lnTo>
                                        <a:lnTo>
                                          <a:pt x="428625" y="58208"/>
                                        </a:lnTo>
                                        <a:lnTo>
                                          <a:pt x="428625" y="55562"/>
                                        </a:lnTo>
                                        <a:lnTo>
                                          <a:pt x="431271" y="55562"/>
                                        </a:lnTo>
                                        <a:lnTo>
                                          <a:pt x="431271" y="58208"/>
                                        </a:lnTo>
                                        <a:lnTo>
                                          <a:pt x="431271" y="60854"/>
                                        </a:lnTo>
                                        <a:lnTo>
                                          <a:pt x="433917" y="60854"/>
                                        </a:lnTo>
                                        <a:lnTo>
                                          <a:pt x="436563" y="60854"/>
                                        </a:lnTo>
                                        <a:lnTo>
                                          <a:pt x="436563" y="58208"/>
                                        </a:lnTo>
                                        <a:lnTo>
                                          <a:pt x="436563" y="55562"/>
                                        </a:lnTo>
                                        <a:lnTo>
                                          <a:pt x="433917" y="55562"/>
                                        </a:lnTo>
                                        <a:lnTo>
                                          <a:pt x="431271" y="52916"/>
                                        </a:lnTo>
                                        <a:lnTo>
                                          <a:pt x="433917" y="52916"/>
                                        </a:lnTo>
                                        <a:lnTo>
                                          <a:pt x="436563" y="52916"/>
                                        </a:lnTo>
                                        <a:lnTo>
                                          <a:pt x="439208" y="50271"/>
                                        </a:lnTo>
                                        <a:lnTo>
                                          <a:pt x="436563" y="50271"/>
                                        </a:lnTo>
                                        <a:lnTo>
                                          <a:pt x="433917" y="50271"/>
                                        </a:lnTo>
                                        <a:lnTo>
                                          <a:pt x="433917" y="47625"/>
                                        </a:lnTo>
                                        <a:lnTo>
                                          <a:pt x="431271" y="50271"/>
                                        </a:lnTo>
                                        <a:lnTo>
                                          <a:pt x="431271" y="52916"/>
                                        </a:lnTo>
                                        <a:lnTo>
                                          <a:pt x="428625" y="52916"/>
                                        </a:lnTo>
                                        <a:lnTo>
                                          <a:pt x="428625" y="50271"/>
                                        </a:lnTo>
                                        <a:lnTo>
                                          <a:pt x="428625" y="42333"/>
                                        </a:lnTo>
                                        <a:lnTo>
                                          <a:pt x="428625" y="37041"/>
                                        </a:lnTo>
                                        <a:lnTo>
                                          <a:pt x="425979" y="29104"/>
                                        </a:lnTo>
                                        <a:lnTo>
                                          <a:pt x="425979" y="26458"/>
                                        </a:lnTo>
                                        <a:lnTo>
                                          <a:pt x="428625" y="26458"/>
                                        </a:lnTo>
                                        <a:lnTo>
                                          <a:pt x="431271" y="23812"/>
                                        </a:lnTo>
                                        <a:lnTo>
                                          <a:pt x="428625" y="23812"/>
                                        </a:lnTo>
                                        <a:lnTo>
                                          <a:pt x="425979" y="26458"/>
                                        </a:lnTo>
                                        <a:lnTo>
                                          <a:pt x="425979" y="21166"/>
                                        </a:lnTo>
                                        <a:lnTo>
                                          <a:pt x="425979" y="15875"/>
                                        </a:lnTo>
                                        <a:lnTo>
                                          <a:pt x="428625" y="15875"/>
                                        </a:lnTo>
                                        <a:lnTo>
                                          <a:pt x="428625" y="7937"/>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7" name="Spain"/>
                                  <p:cNvSpPr>
                                    <a:spLocks/>
                                  </p:cNvSpPr>
                                  <p:nvPr/>
                                </p:nvSpPr>
                                <p:spPr bwMode="auto">
                                  <a:xfrm>
                                    <a:off x="5529302" y="2076643"/>
                                    <a:ext cx="525511" cy="248856"/>
                                  </a:xfrm>
                                  <a:custGeom>
                                    <a:avLst/>
                                    <a:gdLst/>
                                    <a:ahLst/>
                                    <a:cxnLst/>
                                    <a:rect l="l" t="t" r="r" b="b"/>
                                    <a:pathLst>
                                      <a:path w="457728" h="216958">
                                        <a:moveTo>
                                          <a:pt x="452437" y="15875"/>
                                        </a:moveTo>
                                        <a:lnTo>
                                          <a:pt x="452437" y="21167"/>
                                        </a:lnTo>
                                        <a:lnTo>
                                          <a:pt x="455082" y="31750"/>
                                        </a:lnTo>
                                        <a:lnTo>
                                          <a:pt x="457728" y="42333"/>
                                        </a:lnTo>
                                        <a:lnTo>
                                          <a:pt x="455082" y="50271"/>
                                        </a:lnTo>
                                        <a:lnTo>
                                          <a:pt x="452437" y="63500"/>
                                        </a:lnTo>
                                        <a:lnTo>
                                          <a:pt x="449791" y="63500"/>
                                        </a:lnTo>
                                        <a:lnTo>
                                          <a:pt x="449791" y="60854"/>
                                        </a:lnTo>
                                        <a:lnTo>
                                          <a:pt x="447145" y="58208"/>
                                        </a:lnTo>
                                        <a:lnTo>
                                          <a:pt x="444499" y="58208"/>
                                        </a:lnTo>
                                        <a:lnTo>
                                          <a:pt x="439208" y="55563"/>
                                        </a:lnTo>
                                        <a:lnTo>
                                          <a:pt x="439208" y="52917"/>
                                        </a:lnTo>
                                        <a:lnTo>
                                          <a:pt x="439208" y="50271"/>
                                        </a:lnTo>
                                        <a:lnTo>
                                          <a:pt x="436562" y="50271"/>
                                        </a:lnTo>
                                        <a:lnTo>
                                          <a:pt x="436562" y="47625"/>
                                        </a:lnTo>
                                        <a:lnTo>
                                          <a:pt x="436562" y="44979"/>
                                        </a:lnTo>
                                        <a:lnTo>
                                          <a:pt x="436562" y="42333"/>
                                        </a:lnTo>
                                        <a:lnTo>
                                          <a:pt x="433916" y="39688"/>
                                        </a:lnTo>
                                        <a:lnTo>
                                          <a:pt x="433916" y="37042"/>
                                        </a:lnTo>
                                        <a:lnTo>
                                          <a:pt x="433916" y="34396"/>
                                        </a:lnTo>
                                        <a:lnTo>
                                          <a:pt x="433916" y="31750"/>
                                        </a:lnTo>
                                        <a:lnTo>
                                          <a:pt x="433916" y="29104"/>
                                        </a:lnTo>
                                        <a:lnTo>
                                          <a:pt x="433916" y="26458"/>
                                        </a:lnTo>
                                        <a:lnTo>
                                          <a:pt x="436562" y="26458"/>
                                        </a:lnTo>
                                        <a:lnTo>
                                          <a:pt x="439208" y="26458"/>
                                        </a:lnTo>
                                        <a:lnTo>
                                          <a:pt x="439208" y="23813"/>
                                        </a:lnTo>
                                        <a:lnTo>
                                          <a:pt x="441853" y="21167"/>
                                        </a:lnTo>
                                        <a:lnTo>
                                          <a:pt x="444499" y="21167"/>
                                        </a:lnTo>
                                        <a:lnTo>
                                          <a:pt x="447145" y="21167"/>
                                        </a:lnTo>
                                        <a:lnTo>
                                          <a:pt x="449791" y="18521"/>
                                        </a:lnTo>
                                        <a:close/>
                                        <a:moveTo>
                                          <a:pt x="23812" y="0"/>
                                        </a:moveTo>
                                        <a:lnTo>
                                          <a:pt x="29104" y="0"/>
                                        </a:lnTo>
                                        <a:lnTo>
                                          <a:pt x="31750" y="0"/>
                                        </a:lnTo>
                                        <a:lnTo>
                                          <a:pt x="34396" y="0"/>
                                        </a:lnTo>
                                        <a:lnTo>
                                          <a:pt x="39687" y="2646"/>
                                        </a:lnTo>
                                        <a:lnTo>
                                          <a:pt x="47625" y="5292"/>
                                        </a:lnTo>
                                        <a:lnTo>
                                          <a:pt x="60854" y="5292"/>
                                        </a:lnTo>
                                        <a:lnTo>
                                          <a:pt x="71437" y="2646"/>
                                        </a:lnTo>
                                        <a:lnTo>
                                          <a:pt x="76729" y="2646"/>
                                        </a:lnTo>
                                        <a:lnTo>
                                          <a:pt x="79375" y="2646"/>
                                        </a:lnTo>
                                        <a:lnTo>
                                          <a:pt x="82021" y="2646"/>
                                        </a:lnTo>
                                        <a:lnTo>
                                          <a:pt x="111125" y="5292"/>
                                        </a:lnTo>
                                        <a:lnTo>
                                          <a:pt x="121708" y="5292"/>
                                        </a:lnTo>
                                        <a:lnTo>
                                          <a:pt x="127000" y="2646"/>
                                        </a:lnTo>
                                        <a:lnTo>
                                          <a:pt x="129646" y="2646"/>
                                        </a:lnTo>
                                        <a:lnTo>
                                          <a:pt x="137583" y="7937"/>
                                        </a:lnTo>
                                        <a:lnTo>
                                          <a:pt x="140229" y="7937"/>
                                        </a:lnTo>
                                        <a:lnTo>
                                          <a:pt x="142875" y="5292"/>
                                        </a:lnTo>
                                        <a:lnTo>
                                          <a:pt x="145521" y="5292"/>
                                        </a:lnTo>
                                        <a:lnTo>
                                          <a:pt x="158750" y="7937"/>
                                        </a:lnTo>
                                        <a:lnTo>
                                          <a:pt x="164042" y="7937"/>
                                        </a:lnTo>
                                        <a:lnTo>
                                          <a:pt x="171979" y="5292"/>
                                        </a:lnTo>
                                        <a:lnTo>
                                          <a:pt x="174625" y="5292"/>
                                        </a:lnTo>
                                        <a:lnTo>
                                          <a:pt x="179917" y="5292"/>
                                        </a:lnTo>
                                        <a:lnTo>
                                          <a:pt x="182563" y="5292"/>
                                        </a:lnTo>
                                        <a:lnTo>
                                          <a:pt x="185209" y="7937"/>
                                        </a:lnTo>
                                        <a:lnTo>
                                          <a:pt x="187854" y="7937"/>
                                        </a:lnTo>
                                        <a:lnTo>
                                          <a:pt x="190500" y="7937"/>
                                        </a:lnTo>
                                        <a:lnTo>
                                          <a:pt x="190500" y="10583"/>
                                        </a:lnTo>
                                        <a:lnTo>
                                          <a:pt x="190500" y="13229"/>
                                        </a:lnTo>
                                        <a:lnTo>
                                          <a:pt x="195792" y="13229"/>
                                        </a:lnTo>
                                        <a:lnTo>
                                          <a:pt x="198438" y="13229"/>
                                        </a:lnTo>
                                        <a:lnTo>
                                          <a:pt x="201084" y="15875"/>
                                        </a:lnTo>
                                        <a:lnTo>
                                          <a:pt x="203729" y="18521"/>
                                        </a:lnTo>
                                        <a:lnTo>
                                          <a:pt x="209021" y="18521"/>
                                        </a:lnTo>
                                        <a:lnTo>
                                          <a:pt x="214313" y="18521"/>
                                        </a:lnTo>
                                        <a:lnTo>
                                          <a:pt x="222250" y="23813"/>
                                        </a:lnTo>
                                        <a:lnTo>
                                          <a:pt x="230188" y="26458"/>
                                        </a:lnTo>
                                        <a:lnTo>
                                          <a:pt x="235479" y="29104"/>
                                        </a:lnTo>
                                        <a:lnTo>
                                          <a:pt x="240771" y="29104"/>
                                        </a:lnTo>
                                        <a:lnTo>
                                          <a:pt x="243417" y="23813"/>
                                        </a:lnTo>
                                        <a:lnTo>
                                          <a:pt x="246063" y="23813"/>
                                        </a:lnTo>
                                        <a:lnTo>
                                          <a:pt x="251354" y="26458"/>
                                        </a:lnTo>
                                        <a:lnTo>
                                          <a:pt x="256646" y="29104"/>
                                        </a:lnTo>
                                        <a:lnTo>
                                          <a:pt x="259292" y="29104"/>
                                        </a:lnTo>
                                        <a:lnTo>
                                          <a:pt x="259292" y="31750"/>
                                        </a:lnTo>
                                        <a:lnTo>
                                          <a:pt x="261938" y="31750"/>
                                        </a:lnTo>
                                        <a:lnTo>
                                          <a:pt x="264584" y="31750"/>
                                        </a:lnTo>
                                        <a:lnTo>
                                          <a:pt x="267229" y="31750"/>
                                        </a:lnTo>
                                        <a:lnTo>
                                          <a:pt x="272521" y="29104"/>
                                        </a:lnTo>
                                        <a:lnTo>
                                          <a:pt x="275167" y="29104"/>
                                        </a:lnTo>
                                        <a:lnTo>
                                          <a:pt x="280459" y="31750"/>
                                        </a:lnTo>
                                        <a:lnTo>
                                          <a:pt x="283104" y="31750"/>
                                        </a:lnTo>
                                        <a:lnTo>
                                          <a:pt x="285750" y="29104"/>
                                        </a:lnTo>
                                        <a:lnTo>
                                          <a:pt x="288396" y="29104"/>
                                        </a:lnTo>
                                        <a:lnTo>
                                          <a:pt x="296334" y="29104"/>
                                        </a:lnTo>
                                        <a:lnTo>
                                          <a:pt x="301625" y="26458"/>
                                        </a:lnTo>
                                        <a:lnTo>
                                          <a:pt x="304271" y="29104"/>
                                        </a:lnTo>
                                        <a:lnTo>
                                          <a:pt x="309563" y="31750"/>
                                        </a:lnTo>
                                        <a:lnTo>
                                          <a:pt x="306917" y="34396"/>
                                        </a:lnTo>
                                        <a:lnTo>
                                          <a:pt x="304271" y="34396"/>
                                        </a:lnTo>
                                        <a:lnTo>
                                          <a:pt x="304271" y="37042"/>
                                        </a:lnTo>
                                        <a:lnTo>
                                          <a:pt x="306917" y="37042"/>
                                        </a:lnTo>
                                        <a:lnTo>
                                          <a:pt x="304271" y="39688"/>
                                        </a:lnTo>
                                        <a:lnTo>
                                          <a:pt x="304271" y="44979"/>
                                        </a:lnTo>
                                        <a:lnTo>
                                          <a:pt x="304271" y="50271"/>
                                        </a:lnTo>
                                        <a:lnTo>
                                          <a:pt x="301625" y="50271"/>
                                        </a:lnTo>
                                        <a:lnTo>
                                          <a:pt x="298979" y="52917"/>
                                        </a:lnTo>
                                        <a:lnTo>
                                          <a:pt x="291042" y="55563"/>
                                        </a:lnTo>
                                        <a:lnTo>
                                          <a:pt x="283104" y="60854"/>
                                        </a:lnTo>
                                        <a:lnTo>
                                          <a:pt x="280459" y="63500"/>
                                        </a:lnTo>
                                        <a:lnTo>
                                          <a:pt x="275167" y="63500"/>
                                        </a:lnTo>
                                        <a:lnTo>
                                          <a:pt x="259292" y="71438"/>
                                        </a:lnTo>
                                        <a:lnTo>
                                          <a:pt x="246063" y="76729"/>
                                        </a:lnTo>
                                        <a:lnTo>
                                          <a:pt x="246063" y="79375"/>
                                        </a:lnTo>
                                        <a:lnTo>
                                          <a:pt x="246063" y="84667"/>
                                        </a:lnTo>
                                        <a:lnTo>
                                          <a:pt x="243417" y="87312"/>
                                        </a:lnTo>
                                        <a:lnTo>
                                          <a:pt x="240771" y="84667"/>
                                        </a:lnTo>
                                        <a:lnTo>
                                          <a:pt x="238125" y="89958"/>
                                        </a:lnTo>
                                        <a:lnTo>
                                          <a:pt x="227542" y="100542"/>
                                        </a:lnTo>
                                        <a:lnTo>
                                          <a:pt x="222250" y="103187"/>
                                        </a:lnTo>
                                        <a:lnTo>
                                          <a:pt x="216959" y="108479"/>
                                        </a:lnTo>
                                        <a:lnTo>
                                          <a:pt x="214313" y="113771"/>
                                        </a:lnTo>
                                        <a:lnTo>
                                          <a:pt x="214313" y="119062"/>
                                        </a:lnTo>
                                        <a:lnTo>
                                          <a:pt x="216959" y="127000"/>
                                        </a:lnTo>
                                        <a:lnTo>
                                          <a:pt x="222250" y="129646"/>
                                        </a:lnTo>
                                        <a:lnTo>
                                          <a:pt x="224896" y="132292"/>
                                        </a:lnTo>
                                        <a:lnTo>
                                          <a:pt x="227542" y="132292"/>
                                        </a:lnTo>
                                        <a:lnTo>
                                          <a:pt x="227542" y="134937"/>
                                        </a:lnTo>
                                        <a:lnTo>
                                          <a:pt x="222250" y="137583"/>
                                        </a:lnTo>
                                        <a:lnTo>
                                          <a:pt x="219604" y="142875"/>
                                        </a:lnTo>
                                        <a:lnTo>
                                          <a:pt x="219604" y="145521"/>
                                        </a:lnTo>
                                        <a:lnTo>
                                          <a:pt x="216959" y="148167"/>
                                        </a:lnTo>
                                        <a:lnTo>
                                          <a:pt x="216959" y="150812"/>
                                        </a:lnTo>
                                        <a:lnTo>
                                          <a:pt x="216959" y="153458"/>
                                        </a:lnTo>
                                        <a:lnTo>
                                          <a:pt x="214313" y="153458"/>
                                        </a:lnTo>
                                        <a:lnTo>
                                          <a:pt x="214313" y="156104"/>
                                        </a:lnTo>
                                        <a:lnTo>
                                          <a:pt x="214313" y="161396"/>
                                        </a:lnTo>
                                        <a:lnTo>
                                          <a:pt x="214313" y="164042"/>
                                        </a:lnTo>
                                        <a:lnTo>
                                          <a:pt x="211667" y="166687"/>
                                        </a:lnTo>
                                        <a:lnTo>
                                          <a:pt x="206375" y="166687"/>
                                        </a:lnTo>
                                        <a:lnTo>
                                          <a:pt x="201084" y="169333"/>
                                        </a:lnTo>
                                        <a:lnTo>
                                          <a:pt x="198438" y="171979"/>
                                        </a:lnTo>
                                        <a:lnTo>
                                          <a:pt x="193146" y="174625"/>
                                        </a:lnTo>
                                        <a:lnTo>
                                          <a:pt x="185209" y="179917"/>
                                        </a:lnTo>
                                        <a:lnTo>
                                          <a:pt x="182563" y="190500"/>
                                        </a:lnTo>
                                        <a:lnTo>
                                          <a:pt x="179917" y="193146"/>
                                        </a:lnTo>
                                        <a:lnTo>
                                          <a:pt x="177271" y="193146"/>
                                        </a:lnTo>
                                        <a:lnTo>
                                          <a:pt x="174625" y="193146"/>
                                        </a:lnTo>
                                        <a:lnTo>
                                          <a:pt x="169333" y="195792"/>
                                        </a:lnTo>
                                        <a:lnTo>
                                          <a:pt x="156104" y="195792"/>
                                        </a:lnTo>
                                        <a:lnTo>
                                          <a:pt x="148167" y="198437"/>
                                        </a:lnTo>
                                        <a:lnTo>
                                          <a:pt x="140229" y="201083"/>
                                        </a:lnTo>
                                        <a:lnTo>
                                          <a:pt x="132292" y="203729"/>
                                        </a:lnTo>
                                        <a:lnTo>
                                          <a:pt x="127000" y="203729"/>
                                        </a:lnTo>
                                        <a:lnTo>
                                          <a:pt x="121708" y="203729"/>
                                        </a:lnTo>
                                        <a:lnTo>
                                          <a:pt x="108479" y="209021"/>
                                        </a:lnTo>
                                        <a:lnTo>
                                          <a:pt x="100542" y="214312"/>
                                        </a:lnTo>
                                        <a:lnTo>
                                          <a:pt x="95250" y="216958"/>
                                        </a:lnTo>
                                        <a:lnTo>
                                          <a:pt x="89958" y="216958"/>
                                        </a:lnTo>
                                        <a:lnTo>
                                          <a:pt x="87313" y="216958"/>
                                        </a:lnTo>
                                        <a:lnTo>
                                          <a:pt x="84667" y="214312"/>
                                        </a:lnTo>
                                        <a:lnTo>
                                          <a:pt x="79375" y="214312"/>
                                        </a:lnTo>
                                        <a:lnTo>
                                          <a:pt x="76729" y="209021"/>
                                        </a:lnTo>
                                        <a:lnTo>
                                          <a:pt x="79375" y="206375"/>
                                        </a:lnTo>
                                        <a:lnTo>
                                          <a:pt x="79375" y="203729"/>
                                        </a:lnTo>
                                        <a:lnTo>
                                          <a:pt x="76729" y="203729"/>
                                        </a:lnTo>
                                        <a:lnTo>
                                          <a:pt x="74083" y="201083"/>
                                        </a:lnTo>
                                        <a:lnTo>
                                          <a:pt x="76729" y="198437"/>
                                        </a:lnTo>
                                        <a:lnTo>
                                          <a:pt x="74083" y="198437"/>
                                        </a:lnTo>
                                        <a:lnTo>
                                          <a:pt x="68792" y="195792"/>
                                        </a:lnTo>
                                        <a:lnTo>
                                          <a:pt x="63500" y="193146"/>
                                        </a:lnTo>
                                        <a:lnTo>
                                          <a:pt x="58208" y="190500"/>
                                        </a:lnTo>
                                        <a:lnTo>
                                          <a:pt x="55562" y="190500"/>
                                        </a:lnTo>
                                        <a:lnTo>
                                          <a:pt x="55562" y="187854"/>
                                        </a:lnTo>
                                        <a:lnTo>
                                          <a:pt x="47625" y="187854"/>
                                        </a:lnTo>
                                        <a:lnTo>
                                          <a:pt x="39687" y="187854"/>
                                        </a:lnTo>
                                        <a:lnTo>
                                          <a:pt x="34396" y="187854"/>
                                        </a:lnTo>
                                        <a:lnTo>
                                          <a:pt x="31750" y="185208"/>
                                        </a:lnTo>
                                        <a:lnTo>
                                          <a:pt x="29104" y="182562"/>
                                        </a:lnTo>
                                        <a:lnTo>
                                          <a:pt x="29104" y="179917"/>
                                        </a:lnTo>
                                        <a:lnTo>
                                          <a:pt x="31750" y="174625"/>
                                        </a:lnTo>
                                        <a:lnTo>
                                          <a:pt x="37042" y="166687"/>
                                        </a:lnTo>
                                        <a:lnTo>
                                          <a:pt x="39687" y="161396"/>
                                        </a:lnTo>
                                        <a:lnTo>
                                          <a:pt x="39687" y="158750"/>
                                        </a:lnTo>
                                        <a:lnTo>
                                          <a:pt x="37042" y="153458"/>
                                        </a:lnTo>
                                        <a:lnTo>
                                          <a:pt x="34396" y="150812"/>
                                        </a:lnTo>
                                        <a:lnTo>
                                          <a:pt x="34396" y="145521"/>
                                        </a:lnTo>
                                        <a:lnTo>
                                          <a:pt x="39687" y="140229"/>
                                        </a:lnTo>
                                        <a:lnTo>
                                          <a:pt x="42333" y="134937"/>
                                        </a:lnTo>
                                        <a:lnTo>
                                          <a:pt x="39687" y="129646"/>
                                        </a:lnTo>
                                        <a:lnTo>
                                          <a:pt x="34396" y="116417"/>
                                        </a:lnTo>
                                        <a:lnTo>
                                          <a:pt x="31750" y="113771"/>
                                        </a:lnTo>
                                        <a:lnTo>
                                          <a:pt x="34396" y="113771"/>
                                        </a:lnTo>
                                        <a:lnTo>
                                          <a:pt x="42333" y="113771"/>
                                        </a:lnTo>
                                        <a:lnTo>
                                          <a:pt x="44979" y="111125"/>
                                        </a:lnTo>
                                        <a:lnTo>
                                          <a:pt x="44979" y="108479"/>
                                        </a:lnTo>
                                        <a:lnTo>
                                          <a:pt x="47625" y="100542"/>
                                        </a:lnTo>
                                        <a:lnTo>
                                          <a:pt x="47625" y="95250"/>
                                        </a:lnTo>
                                        <a:lnTo>
                                          <a:pt x="44979" y="95250"/>
                                        </a:lnTo>
                                        <a:lnTo>
                                          <a:pt x="44979" y="92604"/>
                                        </a:lnTo>
                                        <a:lnTo>
                                          <a:pt x="47625" y="89958"/>
                                        </a:lnTo>
                                        <a:lnTo>
                                          <a:pt x="47625" y="87312"/>
                                        </a:lnTo>
                                        <a:lnTo>
                                          <a:pt x="47625" y="82021"/>
                                        </a:lnTo>
                                        <a:lnTo>
                                          <a:pt x="44979" y="76729"/>
                                        </a:lnTo>
                                        <a:lnTo>
                                          <a:pt x="47625" y="76729"/>
                                        </a:lnTo>
                                        <a:lnTo>
                                          <a:pt x="50271" y="74083"/>
                                        </a:lnTo>
                                        <a:lnTo>
                                          <a:pt x="52917" y="68792"/>
                                        </a:lnTo>
                                        <a:lnTo>
                                          <a:pt x="55562" y="63500"/>
                                        </a:lnTo>
                                        <a:lnTo>
                                          <a:pt x="60854" y="60854"/>
                                        </a:lnTo>
                                        <a:lnTo>
                                          <a:pt x="60854" y="58208"/>
                                        </a:lnTo>
                                        <a:lnTo>
                                          <a:pt x="58208" y="58208"/>
                                        </a:lnTo>
                                        <a:lnTo>
                                          <a:pt x="58208" y="55563"/>
                                        </a:lnTo>
                                        <a:lnTo>
                                          <a:pt x="55562" y="52917"/>
                                        </a:lnTo>
                                        <a:lnTo>
                                          <a:pt x="52917" y="50271"/>
                                        </a:lnTo>
                                        <a:lnTo>
                                          <a:pt x="47625" y="52917"/>
                                        </a:lnTo>
                                        <a:lnTo>
                                          <a:pt x="44979" y="52917"/>
                                        </a:lnTo>
                                        <a:lnTo>
                                          <a:pt x="42333" y="52917"/>
                                        </a:lnTo>
                                        <a:lnTo>
                                          <a:pt x="37042" y="50271"/>
                                        </a:lnTo>
                                        <a:lnTo>
                                          <a:pt x="29104" y="52917"/>
                                        </a:lnTo>
                                        <a:lnTo>
                                          <a:pt x="26458" y="52917"/>
                                        </a:lnTo>
                                        <a:lnTo>
                                          <a:pt x="26458" y="50271"/>
                                        </a:lnTo>
                                        <a:lnTo>
                                          <a:pt x="26458" y="47625"/>
                                        </a:lnTo>
                                        <a:lnTo>
                                          <a:pt x="26458" y="44979"/>
                                        </a:lnTo>
                                        <a:lnTo>
                                          <a:pt x="18521" y="44979"/>
                                        </a:lnTo>
                                        <a:lnTo>
                                          <a:pt x="13229" y="44979"/>
                                        </a:lnTo>
                                        <a:lnTo>
                                          <a:pt x="7937" y="47625"/>
                                        </a:lnTo>
                                        <a:lnTo>
                                          <a:pt x="5292" y="42333"/>
                                        </a:lnTo>
                                        <a:lnTo>
                                          <a:pt x="7937" y="39688"/>
                                        </a:lnTo>
                                        <a:lnTo>
                                          <a:pt x="13229" y="37042"/>
                                        </a:lnTo>
                                        <a:lnTo>
                                          <a:pt x="10583" y="37042"/>
                                        </a:lnTo>
                                        <a:lnTo>
                                          <a:pt x="7937" y="37042"/>
                                        </a:lnTo>
                                        <a:lnTo>
                                          <a:pt x="7937" y="34396"/>
                                        </a:lnTo>
                                        <a:lnTo>
                                          <a:pt x="7937" y="29104"/>
                                        </a:lnTo>
                                        <a:lnTo>
                                          <a:pt x="5292" y="26458"/>
                                        </a:lnTo>
                                        <a:lnTo>
                                          <a:pt x="2646" y="26458"/>
                                        </a:lnTo>
                                        <a:lnTo>
                                          <a:pt x="5292" y="23813"/>
                                        </a:lnTo>
                                        <a:lnTo>
                                          <a:pt x="5292" y="21167"/>
                                        </a:lnTo>
                                        <a:lnTo>
                                          <a:pt x="2646" y="18521"/>
                                        </a:lnTo>
                                        <a:lnTo>
                                          <a:pt x="0" y="18521"/>
                                        </a:lnTo>
                                        <a:lnTo>
                                          <a:pt x="0" y="15875"/>
                                        </a:lnTo>
                                        <a:lnTo>
                                          <a:pt x="0" y="13229"/>
                                        </a:lnTo>
                                        <a:lnTo>
                                          <a:pt x="7937" y="10583"/>
                                        </a:lnTo>
                                        <a:lnTo>
                                          <a:pt x="10583" y="7937"/>
                                        </a:lnTo>
                                        <a:lnTo>
                                          <a:pt x="15875" y="7937"/>
                                        </a:lnTo>
                                        <a:lnTo>
                                          <a:pt x="18521" y="7937"/>
                                        </a:lnTo>
                                        <a:lnTo>
                                          <a:pt x="23812" y="5292"/>
                                        </a:lnTo>
                                        <a:lnTo>
                                          <a:pt x="21167" y="2646"/>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2" name="United Kingdom"/>
                                  <p:cNvSpPr>
                                    <a:spLocks/>
                                  </p:cNvSpPr>
                                  <p:nvPr/>
                                </p:nvSpPr>
                                <p:spPr bwMode="auto">
                                  <a:xfrm>
                                    <a:off x="5590936" y="1636780"/>
                                    <a:ext cx="230862" cy="233682"/>
                                  </a:xfrm>
                                  <a:custGeom>
                                    <a:avLst/>
                                    <a:gdLst/>
                                    <a:ahLst/>
                                    <a:cxnLst/>
                                    <a:rect l="l" t="t" r="r" b="b"/>
                                    <a:pathLst>
                                      <a:path w="201084" h="203729">
                                        <a:moveTo>
                                          <a:pt x="31750" y="76729"/>
                                        </a:moveTo>
                                        <a:lnTo>
                                          <a:pt x="37042" y="76729"/>
                                        </a:lnTo>
                                        <a:lnTo>
                                          <a:pt x="39688" y="79375"/>
                                        </a:lnTo>
                                        <a:lnTo>
                                          <a:pt x="42334" y="79375"/>
                                        </a:lnTo>
                                        <a:lnTo>
                                          <a:pt x="42334" y="82021"/>
                                        </a:lnTo>
                                        <a:lnTo>
                                          <a:pt x="42334" y="84667"/>
                                        </a:lnTo>
                                        <a:lnTo>
                                          <a:pt x="47625" y="87312"/>
                                        </a:lnTo>
                                        <a:lnTo>
                                          <a:pt x="47625" y="89958"/>
                                        </a:lnTo>
                                        <a:lnTo>
                                          <a:pt x="44980" y="89958"/>
                                        </a:lnTo>
                                        <a:lnTo>
                                          <a:pt x="42334" y="92604"/>
                                        </a:lnTo>
                                        <a:lnTo>
                                          <a:pt x="47625" y="92604"/>
                                        </a:lnTo>
                                        <a:lnTo>
                                          <a:pt x="50271" y="92604"/>
                                        </a:lnTo>
                                        <a:lnTo>
                                          <a:pt x="50271" y="95250"/>
                                        </a:lnTo>
                                        <a:lnTo>
                                          <a:pt x="52917" y="97896"/>
                                        </a:lnTo>
                                        <a:lnTo>
                                          <a:pt x="50271" y="100542"/>
                                        </a:lnTo>
                                        <a:lnTo>
                                          <a:pt x="47625" y="103187"/>
                                        </a:lnTo>
                                        <a:lnTo>
                                          <a:pt x="44980" y="103187"/>
                                        </a:lnTo>
                                        <a:lnTo>
                                          <a:pt x="42334" y="103187"/>
                                        </a:lnTo>
                                        <a:lnTo>
                                          <a:pt x="42334" y="105833"/>
                                        </a:lnTo>
                                        <a:lnTo>
                                          <a:pt x="37042" y="108479"/>
                                        </a:lnTo>
                                        <a:lnTo>
                                          <a:pt x="31750" y="105833"/>
                                        </a:lnTo>
                                        <a:lnTo>
                                          <a:pt x="26459" y="105833"/>
                                        </a:lnTo>
                                        <a:lnTo>
                                          <a:pt x="23813" y="103187"/>
                                        </a:lnTo>
                                        <a:lnTo>
                                          <a:pt x="23813" y="100542"/>
                                        </a:lnTo>
                                        <a:lnTo>
                                          <a:pt x="18521" y="95250"/>
                                        </a:lnTo>
                                        <a:lnTo>
                                          <a:pt x="15875" y="97896"/>
                                        </a:lnTo>
                                        <a:lnTo>
                                          <a:pt x="13229" y="100542"/>
                                        </a:lnTo>
                                        <a:lnTo>
                                          <a:pt x="10584" y="100542"/>
                                        </a:lnTo>
                                        <a:lnTo>
                                          <a:pt x="2646" y="97896"/>
                                        </a:lnTo>
                                        <a:lnTo>
                                          <a:pt x="0" y="92604"/>
                                        </a:lnTo>
                                        <a:lnTo>
                                          <a:pt x="5292" y="89958"/>
                                        </a:lnTo>
                                        <a:lnTo>
                                          <a:pt x="5292" y="87312"/>
                                        </a:lnTo>
                                        <a:lnTo>
                                          <a:pt x="7938" y="84667"/>
                                        </a:lnTo>
                                        <a:lnTo>
                                          <a:pt x="10584" y="84667"/>
                                        </a:lnTo>
                                        <a:lnTo>
                                          <a:pt x="13229" y="84667"/>
                                        </a:lnTo>
                                        <a:lnTo>
                                          <a:pt x="15875" y="82021"/>
                                        </a:lnTo>
                                        <a:lnTo>
                                          <a:pt x="18521" y="82021"/>
                                        </a:lnTo>
                                        <a:lnTo>
                                          <a:pt x="23813" y="79375"/>
                                        </a:lnTo>
                                        <a:lnTo>
                                          <a:pt x="26459" y="79375"/>
                                        </a:lnTo>
                                        <a:close/>
                                        <a:moveTo>
                                          <a:pt x="68792" y="0"/>
                                        </a:moveTo>
                                        <a:lnTo>
                                          <a:pt x="74084" y="0"/>
                                        </a:lnTo>
                                        <a:lnTo>
                                          <a:pt x="74084" y="2646"/>
                                        </a:lnTo>
                                        <a:lnTo>
                                          <a:pt x="76730" y="2646"/>
                                        </a:lnTo>
                                        <a:lnTo>
                                          <a:pt x="79376" y="2646"/>
                                        </a:lnTo>
                                        <a:lnTo>
                                          <a:pt x="82021" y="2646"/>
                                        </a:lnTo>
                                        <a:lnTo>
                                          <a:pt x="87313" y="0"/>
                                        </a:lnTo>
                                        <a:lnTo>
                                          <a:pt x="97896" y="0"/>
                                        </a:lnTo>
                                        <a:lnTo>
                                          <a:pt x="103188" y="0"/>
                                        </a:lnTo>
                                        <a:lnTo>
                                          <a:pt x="103188" y="2646"/>
                                        </a:lnTo>
                                        <a:lnTo>
                                          <a:pt x="103188" y="5292"/>
                                        </a:lnTo>
                                        <a:lnTo>
                                          <a:pt x="100542" y="7937"/>
                                        </a:lnTo>
                                        <a:lnTo>
                                          <a:pt x="87313" y="15875"/>
                                        </a:lnTo>
                                        <a:lnTo>
                                          <a:pt x="84667" y="18521"/>
                                        </a:lnTo>
                                        <a:lnTo>
                                          <a:pt x="87313" y="18521"/>
                                        </a:lnTo>
                                        <a:lnTo>
                                          <a:pt x="87313" y="21167"/>
                                        </a:lnTo>
                                        <a:lnTo>
                                          <a:pt x="84667" y="23812"/>
                                        </a:lnTo>
                                        <a:lnTo>
                                          <a:pt x="82021" y="23812"/>
                                        </a:lnTo>
                                        <a:lnTo>
                                          <a:pt x="82021" y="26458"/>
                                        </a:lnTo>
                                        <a:lnTo>
                                          <a:pt x="87313" y="23812"/>
                                        </a:lnTo>
                                        <a:lnTo>
                                          <a:pt x="95251" y="23812"/>
                                        </a:lnTo>
                                        <a:lnTo>
                                          <a:pt x="103188" y="23812"/>
                                        </a:lnTo>
                                        <a:lnTo>
                                          <a:pt x="111126" y="23812"/>
                                        </a:lnTo>
                                        <a:lnTo>
                                          <a:pt x="116417" y="23812"/>
                                        </a:lnTo>
                                        <a:lnTo>
                                          <a:pt x="121709" y="23812"/>
                                        </a:lnTo>
                                        <a:lnTo>
                                          <a:pt x="124355" y="23812"/>
                                        </a:lnTo>
                                        <a:lnTo>
                                          <a:pt x="127001" y="26458"/>
                                        </a:lnTo>
                                        <a:lnTo>
                                          <a:pt x="127001" y="29104"/>
                                        </a:lnTo>
                                        <a:lnTo>
                                          <a:pt x="124355" y="31750"/>
                                        </a:lnTo>
                                        <a:lnTo>
                                          <a:pt x="121709" y="31750"/>
                                        </a:lnTo>
                                        <a:lnTo>
                                          <a:pt x="121709" y="34396"/>
                                        </a:lnTo>
                                        <a:lnTo>
                                          <a:pt x="119063" y="39687"/>
                                        </a:lnTo>
                                        <a:lnTo>
                                          <a:pt x="116417" y="44979"/>
                                        </a:lnTo>
                                        <a:lnTo>
                                          <a:pt x="111126" y="50271"/>
                                        </a:lnTo>
                                        <a:lnTo>
                                          <a:pt x="105834" y="52917"/>
                                        </a:lnTo>
                                        <a:lnTo>
                                          <a:pt x="108480" y="55562"/>
                                        </a:lnTo>
                                        <a:lnTo>
                                          <a:pt x="108480" y="58208"/>
                                        </a:lnTo>
                                        <a:lnTo>
                                          <a:pt x="103188" y="58208"/>
                                        </a:lnTo>
                                        <a:lnTo>
                                          <a:pt x="100542" y="60854"/>
                                        </a:lnTo>
                                        <a:lnTo>
                                          <a:pt x="92605" y="60854"/>
                                        </a:lnTo>
                                        <a:lnTo>
                                          <a:pt x="87313" y="60854"/>
                                        </a:lnTo>
                                        <a:lnTo>
                                          <a:pt x="92605" y="63500"/>
                                        </a:lnTo>
                                        <a:lnTo>
                                          <a:pt x="100542" y="63500"/>
                                        </a:lnTo>
                                        <a:lnTo>
                                          <a:pt x="108480" y="60854"/>
                                        </a:lnTo>
                                        <a:lnTo>
                                          <a:pt x="113771" y="63500"/>
                                        </a:lnTo>
                                        <a:lnTo>
                                          <a:pt x="119063" y="66146"/>
                                        </a:lnTo>
                                        <a:lnTo>
                                          <a:pt x="121709" y="68792"/>
                                        </a:lnTo>
                                        <a:lnTo>
                                          <a:pt x="127001" y="71437"/>
                                        </a:lnTo>
                                        <a:lnTo>
                                          <a:pt x="129646" y="74083"/>
                                        </a:lnTo>
                                        <a:lnTo>
                                          <a:pt x="129646" y="76729"/>
                                        </a:lnTo>
                                        <a:lnTo>
                                          <a:pt x="132292" y="84667"/>
                                        </a:lnTo>
                                        <a:lnTo>
                                          <a:pt x="134938" y="92604"/>
                                        </a:lnTo>
                                        <a:lnTo>
                                          <a:pt x="137584" y="95250"/>
                                        </a:lnTo>
                                        <a:lnTo>
                                          <a:pt x="140230" y="95250"/>
                                        </a:lnTo>
                                        <a:lnTo>
                                          <a:pt x="148167" y="97896"/>
                                        </a:lnTo>
                                        <a:lnTo>
                                          <a:pt x="153459" y="100542"/>
                                        </a:lnTo>
                                        <a:lnTo>
                                          <a:pt x="158751" y="105833"/>
                                        </a:lnTo>
                                        <a:lnTo>
                                          <a:pt x="161397" y="108479"/>
                                        </a:lnTo>
                                        <a:lnTo>
                                          <a:pt x="158751" y="108479"/>
                                        </a:lnTo>
                                        <a:lnTo>
                                          <a:pt x="158751" y="111125"/>
                                        </a:lnTo>
                                        <a:lnTo>
                                          <a:pt x="164042" y="116417"/>
                                        </a:lnTo>
                                        <a:lnTo>
                                          <a:pt x="164042" y="119062"/>
                                        </a:lnTo>
                                        <a:lnTo>
                                          <a:pt x="161397" y="119062"/>
                                        </a:lnTo>
                                        <a:lnTo>
                                          <a:pt x="153459" y="116417"/>
                                        </a:lnTo>
                                        <a:lnTo>
                                          <a:pt x="166688" y="121708"/>
                                        </a:lnTo>
                                        <a:lnTo>
                                          <a:pt x="169334" y="124354"/>
                                        </a:lnTo>
                                        <a:lnTo>
                                          <a:pt x="171980" y="127000"/>
                                        </a:lnTo>
                                        <a:lnTo>
                                          <a:pt x="169334" y="129646"/>
                                        </a:lnTo>
                                        <a:lnTo>
                                          <a:pt x="166688" y="132292"/>
                                        </a:lnTo>
                                        <a:lnTo>
                                          <a:pt x="164042" y="134937"/>
                                        </a:lnTo>
                                        <a:lnTo>
                                          <a:pt x="166688" y="137583"/>
                                        </a:lnTo>
                                        <a:lnTo>
                                          <a:pt x="171980" y="140229"/>
                                        </a:lnTo>
                                        <a:lnTo>
                                          <a:pt x="174626" y="137583"/>
                                        </a:lnTo>
                                        <a:lnTo>
                                          <a:pt x="177272" y="132292"/>
                                        </a:lnTo>
                                        <a:lnTo>
                                          <a:pt x="179917" y="132292"/>
                                        </a:lnTo>
                                        <a:lnTo>
                                          <a:pt x="187855" y="132292"/>
                                        </a:lnTo>
                                        <a:lnTo>
                                          <a:pt x="198438" y="137583"/>
                                        </a:lnTo>
                                        <a:lnTo>
                                          <a:pt x="201084" y="142875"/>
                                        </a:lnTo>
                                        <a:lnTo>
                                          <a:pt x="201084" y="148167"/>
                                        </a:lnTo>
                                        <a:lnTo>
                                          <a:pt x="198438" y="150812"/>
                                        </a:lnTo>
                                        <a:lnTo>
                                          <a:pt x="198438" y="153458"/>
                                        </a:lnTo>
                                        <a:lnTo>
                                          <a:pt x="195792" y="156104"/>
                                        </a:lnTo>
                                        <a:lnTo>
                                          <a:pt x="190501" y="158750"/>
                                        </a:lnTo>
                                        <a:lnTo>
                                          <a:pt x="193147" y="158750"/>
                                        </a:lnTo>
                                        <a:lnTo>
                                          <a:pt x="190501" y="161396"/>
                                        </a:lnTo>
                                        <a:lnTo>
                                          <a:pt x="185209" y="161396"/>
                                        </a:lnTo>
                                        <a:lnTo>
                                          <a:pt x="182563" y="161396"/>
                                        </a:lnTo>
                                        <a:lnTo>
                                          <a:pt x="182563" y="164042"/>
                                        </a:lnTo>
                                        <a:lnTo>
                                          <a:pt x="185209" y="164042"/>
                                        </a:lnTo>
                                        <a:lnTo>
                                          <a:pt x="185209" y="166687"/>
                                        </a:lnTo>
                                        <a:lnTo>
                                          <a:pt x="179917" y="169333"/>
                                        </a:lnTo>
                                        <a:lnTo>
                                          <a:pt x="174626" y="169333"/>
                                        </a:lnTo>
                                        <a:lnTo>
                                          <a:pt x="171980" y="169333"/>
                                        </a:lnTo>
                                        <a:lnTo>
                                          <a:pt x="185209" y="171979"/>
                                        </a:lnTo>
                                        <a:lnTo>
                                          <a:pt x="193147" y="171979"/>
                                        </a:lnTo>
                                        <a:lnTo>
                                          <a:pt x="195792" y="171979"/>
                                        </a:lnTo>
                                        <a:lnTo>
                                          <a:pt x="195792" y="174625"/>
                                        </a:lnTo>
                                        <a:lnTo>
                                          <a:pt x="195792" y="177271"/>
                                        </a:lnTo>
                                        <a:lnTo>
                                          <a:pt x="193147" y="179917"/>
                                        </a:lnTo>
                                        <a:lnTo>
                                          <a:pt x="187855" y="182562"/>
                                        </a:lnTo>
                                        <a:lnTo>
                                          <a:pt x="185209" y="182562"/>
                                        </a:lnTo>
                                        <a:lnTo>
                                          <a:pt x="182563" y="182562"/>
                                        </a:lnTo>
                                        <a:lnTo>
                                          <a:pt x="179917" y="182562"/>
                                        </a:lnTo>
                                        <a:lnTo>
                                          <a:pt x="177272" y="185208"/>
                                        </a:lnTo>
                                        <a:lnTo>
                                          <a:pt x="171980" y="187854"/>
                                        </a:lnTo>
                                        <a:lnTo>
                                          <a:pt x="166688" y="185208"/>
                                        </a:lnTo>
                                        <a:lnTo>
                                          <a:pt x="158751" y="185208"/>
                                        </a:lnTo>
                                        <a:lnTo>
                                          <a:pt x="150813" y="187854"/>
                                        </a:lnTo>
                                        <a:lnTo>
                                          <a:pt x="148167" y="187854"/>
                                        </a:lnTo>
                                        <a:lnTo>
                                          <a:pt x="145522" y="187854"/>
                                        </a:lnTo>
                                        <a:lnTo>
                                          <a:pt x="142876" y="187854"/>
                                        </a:lnTo>
                                        <a:lnTo>
                                          <a:pt x="140230" y="187854"/>
                                        </a:lnTo>
                                        <a:lnTo>
                                          <a:pt x="137584" y="185208"/>
                                        </a:lnTo>
                                        <a:lnTo>
                                          <a:pt x="134938" y="182562"/>
                                        </a:lnTo>
                                        <a:lnTo>
                                          <a:pt x="134938" y="185208"/>
                                        </a:lnTo>
                                        <a:lnTo>
                                          <a:pt x="134938" y="187854"/>
                                        </a:lnTo>
                                        <a:lnTo>
                                          <a:pt x="132292" y="187854"/>
                                        </a:lnTo>
                                        <a:lnTo>
                                          <a:pt x="124355" y="187854"/>
                                        </a:lnTo>
                                        <a:lnTo>
                                          <a:pt x="121709" y="187854"/>
                                        </a:lnTo>
                                        <a:lnTo>
                                          <a:pt x="124355" y="190500"/>
                                        </a:lnTo>
                                        <a:lnTo>
                                          <a:pt x="121709" y="193146"/>
                                        </a:lnTo>
                                        <a:lnTo>
                                          <a:pt x="116417" y="193146"/>
                                        </a:lnTo>
                                        <a:lnTo>
                                          <a:pt x="111126" y="190500"/>
                                        </a:lnTo>
                                        <a:lnTo>
                                          <a:pt x="108480" y="190500"/>
                                        </a:lnTo>
                                        <a:lnTo>
                                          <a:pt x="103188" y="187854"/>
                                        </a:lnTo>
                                        <a:lnTo>
                                          <a:pt x="97896" y="187854"/>
                                        </a:lnTo>
                                        <a:lnTo>
                                          <a:pt x="92605" y="187854"/>
                                        </a:lnTo>
                                        <a:lnTo>
                                          <a:pt x="89959" y="190500"/>
                                        </a:lnTo>
                                        <a:lnTo>
                                          <a:pt x="87313" y="195792"/>
                                        </a:lnTo>
                                        <a:lnTo>
                                          <a:pt x="84667" y="198437"/>
                                        </a:lnTo>
                                        <a:lnTo>
                                          <a:pt x="79376" y="198437"/>
                                        </a:lnTo>
                                        <a:lnTo>
                                          <a:pt x="76730" y="198437"/>
                                        </a:lnTo>
                                        <a:lnTo>
                                          <a:pt x="74084" y="195792"/>
                                        </a:lnTo>
                                        <a:lnTo>
                                          <a:pt x="71438" y="195792"/>
                                        </a:lnTo>
                                        <a:lnTo>
                                          <a:pt x="68792" y="195792"/>
                                        </a:lnTo>
                                        <a:lnTo>
                                          <a:pt x="63501" y="198437"/>
                                        </a:lnTo>
                                        <a:lnTo>
                                          <a:pt x="60855" y="195792"/>
                                        </a:lnTo>
                                        <a:lnTo>
                                          <a:pt x="60855" y="198437"/>
                                        </a:lnTo>
                                        <a:lnTo>
                                          <a:pt x="58209" y="198437"/>
                                        </a:lnTo>
                                        <a:lnTo>
                                          <a:pt x="55563" y="198437"/>
                                        </a:lnTo>
                                        <a:lnTo>
                                          <a:pt x="52917" y="201083"/>
                                        </a:lnTo>
                                        <a:lnTo>
                                          <a:pt x="52917" y="203729"/>
                                        </a:lnTo>
                                        <a:lnTo>
                                          <a:pt x="50271" y="203729"/>
                                        </a:lnTo>
                                        <a:lnTo>
                                          <a:pt x="47625" y="203729"/>
                                        </a:lnTo>
                                        <a:lnTo>
                                          <a:pt x="44980" y="201083"/>
                                        </a:lnTo>
                                        <a:lnTo>
                                          <a:pt x="42334" y="201083"/>
                                        </a:lnTo>
                                        <a:lnTo>
                                          <a:pt x="39688" y="201083"/>
                                        </a:lnTo>
                                        <a:lnTo>
                                          <a:pt x="42334" y="198437"/>
                                        </a:lnTo>
                                        <a:lnTo>
                                          <a:pt x="47625" y="198437"/>
                                        </a:lnTo>
                                        <a:lnTo>
                                          <a:pt x="52917" y="193146"/>
                                        </a:lnTo>
                                        <a:lnTo>
                                          <a:pt x="63501" y="185208"/>
                                        </a:lnTo>
                                        <a:lnTo>
                                          <a:pt x="66146" y="185208"/>
                                        </a:lnTo>
                                        <a:lnTo>
                                          <a:pt x="66146" y="182562"/>
                                        </a:lnTo>
                                        <a:lnTo>
                                          <a:pt x="66146" y="179917"/>
                                        </a:lnTo>
                                        <a:lnTo>
                                          <a:pt x="68792" y="179917"/>
                                        </a:lnTo>
                                        <a:lnTo>
                                          <a:pt x="71438" y="179917"/>
                                        </a:lnTo>
                                        <a:lnTo>
                                          <a:pt x="71438" y="177271"/>
                                        </a:lnTo>
                                        <a:lnTo>
                                          <a:pt x="74084" y="177271"/>
                                        </a:lnTo>
                                        <a:lnTo>
                                          <a:pt x="84667" y="174625"/>
                                        </a:lnTo>
                                        <a:lnTo>
                                          <a:pt x="87313" y="177271"/>
                                        </a:lnTo>
                                        <a:lnTo>
                                          <a:pt x="95251" y="177271"/>
                                        </a:lnTo>
                                        <a:lnTo>
                                          <a:pt x="97896" y="177271"/>
                                        </a:lnTo>
                                        <a:lnTo>
                                          <a:pt x="100542" y="174625"/>
                                        </a:lnTo>
                                        <a:lnTo>
                                          <a:pt x="103188" y="171979"/>
                                        </a:lnTo>
                                        <a:lnTo>
                                          <a:pt x="105834" y="169333"/>
                                        </a:lnTo>
                                        <a:lnTo>
                                          <a:pt x="108480" y="169333"/>
                                        </a:lnTo>
                                        <a:lnTo>
                                          <a:pt x="111126" y="164042"/>
                                        </a:lnTo>
                                        <a:lnTo>
                                          <a:pt x="105834" y="166687"/>
                                        </a:lnTo>
                                        <a:lnTo>
                                          <a:pt x="100542" y="169333"/>
                                        </a:lnTo>
                                        <a:lnTo>
                                          <a:pt x="95251" y="169333"/>
                                        </a:lnTo>
                                        <a:lnTo>
                                          <a:pt x="89959" y="171979"/>
                                        </a:lnTo>
                                        <a:lnTo>
                                          <a:pt x="87313" y="171979"/>
                                        </a:lnTo>
                                        <a:lnTo>
                                          <a:pt x="84667" y="169333"/>
                                        </a:lnTo>
                                        <a:lnTo>
                                          <a:pt x="82021" y="166687"/>
                                        </a:lnTo>
                                        <a:lnTo>
                                          <a:pt x="74084" y="166687"/>
                                        </a:lnTo>
                                        <a:lnTo>
                                          <a:pt x="71438" y="164042"/>
                                        </a:lnTo>
                                        <a:lnTo>
                                          <a:pt x="68792" y="164042"/>
                                        </a:lnTo>
                                        <a:lnTo>
                                          <a:pt x="66146" y="164042"/>
                                        </a:lnTo>
                                        <a:lnTo>
                                          <a:pt x="60855" y="164042"/>
                                        </a:lnTo>
                                        <a:lnTo>
                                          <a:pt x="58209" y="164042"/>
                                        </a:lnTo>
                                        <a:lnTo>
                                          <a:pt x="55563" y="164042"/>
                                        </a:lnTo>
                                        <a:lnTo>
                                          <a:pt x="52917" y="164042"/>
                                        </a:lnTo>
                                        <a:lnTo>
                                          <a:pt x="50271" y="164042"/>
                                        </a:lnTo>
                                        <a:lnTo>
                                          <a:pt x="52917" y="161396"/>
                                        </a:lnTo>
                                        <a:lnTo>
                                          <a:pt x="50271" y="158750"/>
                                        </a:lnTo>
                                        <a:lnTo>
                                          <a:pt x="52917" y="156104"/>
                                        </a:lnTo>
                                        <a:lnTo>
                                          <a:pt x="66146" y="153458"/>
                                        </a:lnTo>
                                        <a:lnTo>
                                          <a:pt x="74084" y="150812"/>
                                        </a:lnTo>
                                        <a:lnTo>
                                          <a:pt x="76730" y="148167"/>
                                        </a:lnTo>
                                        <a:lnTo>
                                          <a:pt x="79376" y="145521"/>
                                        </a:lnTo>
                                        <a:lnTo>
                                          <a:pt x="76730" y="142875"/>
                                        </a:lnTo>
                                        <a:lnTo>
                                          <a:pt x="79376" y="140229"/>
                                        </a:lnTo>
                                        <a:lnTo>
                                          <a:pt x="76730" y="140229"/>
                                        </a:lnTo>
                                        <a:lnTo>
                                          <a:pt x="76730" y="137583"/>
                                        </a:lnTo>
                                        <a:lnTo>
                                          <a:pt x="79376" y="134937"/>
                                        </a:lnTo>
                                        <a:lnTo>
                                          <a:pt x="71438" y="134937"/>
                                        </a:lnTo>
                                        <a:lnTo>
                                          <a:pt x="68792" y="137583"/>
                                        </a:lnTo>
                                        <a:lnTo>
                                          <a:pt x="66146" y="140229"/>
                                        </a:lnTo>
                                        <a:lnTo>
                                          <a:pt x="63501" y="137583"/>
                                        </a:lnTo>
                                        <a:lnTo>
                                          <a:pt x="68792" y="134937"/>
                                        </a:lnTo>
                                        <a:lnTo>
                                          <a:pt x="71438" y="132292"/>
                                        </a:lnTo>
                                        <a:lnTo>
                                          <a:pt x="74084" y="129646"/>
                                        </a:lnTo>
                                        <a:lnTo>
                                          <a:pt x="74084" y="127000"/>
                                        </a:lnTo>
                                        <a:lnTo>
                                          <a:pt x="68792" y="127000"/>
                                        </a:lnTo>
                                        <a:lnTo>
                                          <a:pt x="66146" y="127000"/>
                                        </a:lnTo>
                                        <a:lnTo>
                                          <a:pt x="68792" y="124354"/>
                                        </a:lnTo>
                                        <a:lnTo>
                                          <a:pt x="74084" y="124354"/>
                                        </a:lnTo>
                                        <a:lnTo>
                                          <a:pt x="76730" y="124354"/>
                                        </a:lnTo>
                                        <a:lnTo>
                                          <a:pt x="76730" y="127000"/>
                                        </a:lnTo>
                                        <a:lnTo>
                                          <a:pt x="84667" y="127000"/>
                                        </a:lnTo>
                                        <a:lnTo>
                                          <a:pt x="87313" y="127000"/>
                                        </a:lnTo>
                                        <a:lnTo>
                                          <a:pt x="92605" y="127000"/>
                                        </a:lnTo>
                                        <a:lnTo>
                                          <a:pt x="95251" y="127000"/>
                                        </a:lnTo>
                                        <a:lnTo>
                                          <a:pt x="97896" y="127000"/>
                                        </a:lnTo>
                                        <a:lnTo>
                                          <a:pt x="97896" y="124354"/>
                                        </a:lnTo>
                                        <a:lnTo>
                                          <a:pt x="103188" y="127000"/>
                                        </a:lnTo>
                                        <a:lnTo>
                                          <a:pt x="105834" y="127000"/>
                                        </a:lnTo>
                                        <a:lnTo>
                                          <a:pt x="108480" y="124354"/>
                                        </a:lnTo>
                                        <a:lnTo>
                                          <a:pt x="103188" y="124354"/>
                                        </a:lnTo>
                                        <a:lnTo>
                                          <a:pt x="97896" y="121708"/>
                                        </a:lnTo>
                                        <a:lnTo>
                                          <a:pt x="103188" y="116417"/>
                                        </a:lnTo>
                                        <a:lnTo>
                                          <a:pt x="100542" y="116417"/>
                                        </a:lnTo>
                                        <a:lnTo>
                                          <a:pt x="100542" y="113771"/>
                                        </a:lnTo>
                                        <a:lnTo>
                                          <a:pt x="105834" y="105833"/>
                                        </a:lnTo>
                                        <a:lnTo>
                                          <a:pt x="103188" y="105833"/>
                                        </a:lnTo>
                                        <a:lnTo>
                                          <a:pt x="100542" y="105833"/>
                                        </a:lnTo>
                                        <a:lnTo>
                                          <a:pt x="97896" y="103187"/>
                                        </a:lnTo>
                                        <a:lnTo>
                                          <a:pt x="97896" y="108479"/>
                                        </a:lnTo>
                                        <a:lnTo>
                                          <a:pt x="92605" y="103187"/>
                                        </a:lnTo>
                                        <a:lnTo>
                                          <a:pt x="89959" y="95250"/>
                                        </a:lnTo>
                                        <a:lnTo>
                                          <a:pt x="92605" y="92604"/>
                                        </a:lnTo>
                                        <a:lnTo>
                                          <a:pt x="97896" y="87312"/>
                                        </a:lnTo>
                                        <a:lnTo>
                                          <a:pt x="95251" y="87312"/>
                                        </a:lnTo>
                                        <a:lnTo>
                                          <a:pt x="89959" y="87312"/>
                                        </a:lnTo>
                                        <a:lnTo>
                                          <a:pt x="89959" y="89958"/>
                                        </a:lnTo>
                                        <a:lnTo>
                                          <a:pt x="87313" y="89958"/>
                                        </a:lnTo>
                                        <a:lnTo>
                                          <a:pt x="84667" y="89958"/>
                                        </a:lnTo>
                                        <a:lnTo>
                                          <a:pt x="82021" y="89958"/>
                                        </a:lnTo>
                                        <a:lnTo>
                                          <a:pt x="82021" y="92604"/>
                                        </a:lnTo>
                                        <a:lnTo>
                                          <a:pt x="79376" y="89958"/>
                                        </a:lnTo>
                                        <a:lnTo>
                                          <a:pt x="76730" y="89958"/>
                                        </a:lnTo>
                                        <a:lnTo>
                                          <a:pt x="74084" y="89958"/>
                                        </a:lnTo>
                                        <a:lnTo>
                                          <a:pt x="71438" y="92604"/>
                                        </a:lnTo>
                                        <a:lnTo>
                                          <a:pt x="66146" y="89958"/>
                                        </a:lnTo>
                                        <a:lnTo>
                                          <a:pt x="63501" y="89958"/>
                                        </a:lnTo>
                                        <a:lnTo>
                                          <a:pt x="63501" y="92604"/>
                                        </a:lnTo>
                                        <a:lnTo>
                                          <a:pt x="60855" y="89958"/>
                                        </a:lnTo>
                                        <a:lnTo>
                                          <a:pt x="58209" y="87312"/>
                                        </a:lnTo>
                                        <a:lnTo>
                                          <a:pt x="60855" y="87312"/>
                                        </a:lnTo>
                                        <a:lnTo>
                                          <a:pt x="63501" y="87312"/>
                                        </a:lnTo>
                                        <a:lnTo>
                                          <a:pt x="63501" y="84667"/>
                                        </a:lnTo>
                                        <a:lnTo>
                                          <a:pt x="63501" y="82021"/>
                                        </a:lnTo>
                                        <a:lnTo>
                                          <a:pt x="66146" y="76729"/>
                                        </a:lnTo>
                                        <a:lnTo>
                                          <a:pt x="68792" y="74083"/>
                                        </a:lnTo>
                                        <a:lnTo>
                                          <a:pt x="71438" y="74083"/>
                                        </a:lnTo>
                                        <a:lnTo>
                                          <a:pt x="68792" y="71437"/>
                                        </a:lnTo>
                                        <a:lnTo>
                                          <a:pt x="66146" y="68792"/>
                                        </a:lnTo>
                                        <a:lnTo>
                                          <a:pt x="66146" y="66146"/>
                                        </a:lnTo>
                                        <a:lnTo>
                                          <a:pt x="68792" y="63500"/>
                                        </a:lnTo>
                                        <a:lnTo>
                                          <a:pt x="66146" y="60854"/>
                                        </a:lnTo>
                                        <a:lnTo>
                                          <a:pt x="68792" y="58208"/>
                                        </a:lnTo>
                                        <a:lnTo>
                                          <a:pt x="63501" y="63500"/>
                                        </a:lnTo>
                                        <a:lnTo>
                                          <a:pt x="60855" y="66146"/>
                                        </a:lnTo>
                                        <a:lnTo>
                                          <a:pt x="58209" y="63500"/>
                                        </a:lnTo>
                                        <a:lnTo>
                                          <a:pt x="55563" y="60854"/>
                                        </a:lnTo>
                                        <a:lnTo>
                                          <a:pt x="55563" y="63500"/>
                                        </a:lnTo>
                                        <a:lnTo>
                                          <a:pt x="55563" y="66146"/>
                                        </a:lnTo>
                                        <a:lnTo>
                                          <a:pt x="55563" y="68792"/>
                                        </a:lnTo>
                                        <a:lnTo>
                                          <a:pt x="50271" y="74083"/>
                                        </a:lnTo>
                                        <a:lnTo>
                                          <a:pt x="50271" y="76729"/>
                                        </a:lnTo>
                                        <a:lnTo>
                                          <a:pt x="47625" y="76729"/>
                                        </a:lnTo>
                                        <a:lnTo>
                                          <a:pt x="47625" y="74083"/>
                                        </a:lnTo>
                                        <a:lnTo>
                                          <a:pt x="52917" y="68792"/>
                                        </a:lnTo>
                                        <a:lnTo>
                                          <a:pt x="52917" y="63500"/>
                                        </a:lnTo>
                                        <a:lnTo>
                                          <a:pt x="52917" y="58208"/>
                                        </a:lnTo>
                                        <a:lnTo>
                                          <a:pt x="55563" y="52917"/>
                                        </a:lnTo>
                                        <a:lnTo>
                                          <a:pt x="55563" y="50271"/>
                                        </a:lnTo>
                                        <a:lnTo>
                                          <a:pt x="55563" y="47625"/>
                                        </a:lnTo>
                                        <a:lnTo>
                                          <a:pt x="52917" y="47625"/>
                                        </a:lnTo>
                                        <a:lnTo>
                                          <a:pt x="52917" y="44979"/>
                                        </a:lnTo>
                                        <a:lnTo>
                                          <a:pt x="47625" y="44979"/>
                                        </a:lnTo>
                                        <a:lnTo>
                                          <a:pt x="42334" y="44979"/>
                                        </a:lnTo>
                                        <a:lnTo>
                                          <a:pt x="44980" y="42333"/>
                                        </a:lnTo>
                                        <a:lnTo>
                                          <a:pt x="50271" y="39687"/>
                                        </a:lnTo>
                                        <a:lnTo>
                                          <a:pt x="52917" y="37042"/>
                                        </a:lnTo>
                                        <a:lnTo>
                                          <a:pt x="55563" y="34396"/>
                                        </a:lnTo>
                                        <a:lnTo>
                                          <a:pt x="58209" y="34396"/>
                                        </a:lnTo>
                                        <a:lnTo>
                                          <a:pt x="52917" y="31750"/>
                                        </a:lnTo>
                                        <a:lnTo>
                                          <a:pt x="55563" y="29104"/>
                                        </a:lnTo>
                                        <a:lnTo>
                                          <a:pt x="55563" y="26458"/>
                                        </a:lnTo>
                                        <a:lnTo>
                                          <a:pt x="52917" y="26458"/>
                                        </a:lnTo>
                                        <a:lnTo>
                                          <a:pt x="55563" y="23812"/>
                                        </a:lnTo>
                                        <a:lnTo>
                                          <a:pt x="52917" y="21167"/>
                                        </a:lnTo>
                                        <a:lnTo>
                                          <a:pt x="50271" y="18521"/>
                                        </a:lnTo>
                                        <a:lnTo>
                                          <a:pt x="52917" y="18521"/>
                                        </a:lnTo>
                                        <a:lnTo>
                                          <a:pt x="58209" y="15875"/>
                                        </a:lnTo>
                                        <a:lnTo>
                                          <a:pt x="60855" y="15875"/>
                                        </a:lnTo>
                                        <a:lnTo>
                                          <a:pt x="63501" y="18521"/>
                                        </a:lnTo>
                                        <a:lnTo>
                                          <a:pt x="66146" y="18521"/>
                                        </a:lnTo>
                                        <a:lnTo>
                                          <a:pt x="60855" y="15875"/>
                                        </a:lnTo>
                                        <a:lnTo>
                                          <a:pt x="58209" y="13229"/>
                                        </a:lnTo>
                                        <a:lnTo>
                                          <a:pt x="60855" y="13229"/>
                                        </a:lnTo>
                                        <a:lnTo>
                                          <a:pt x="60855" y="10583"/>
                                        </a:lnTo>
                                        <a:lnTo>
                                          <a:pt x="60855" y="7937"/>
                                        </a:lnTo>
                                        <a:lnTo>
                                          <a:pt x="63501" y="5292"/>
                                        </a:lnTo>
                                        <a:lnTo>
                                          <a:pt x="66146" y="5292"/>
                                        </a:lnTo>
                                        <a:lnTo>
                                          <a:pt x="68792" y="5292"/>
                                        </a:lnTo>
                                        <a:lnTo>
                                          <a:pt x="66146" y="2646"/>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3" name="United States"/>
                                  <p:cNvSpPr>
                                    <a:spLocks/>
                                  </p:cNvSpPr>
                                  <p:nvPr/>
                                </p:nvSpPr>
                                <p:spPr bwMode="auto">
                                  <a:xfrm>
                                    <a:off x="1489238" y="1352064"/>
                                    <a:ext cx="2421000" cy="1368710"/>
                                  </a:xfrm>
                                  <a:custGeom>
                                    <a:avLst/>
                                    <a:gdLst/>
                                    <a:ahLst/>
                                    <a:cxnLst/>
                                    <a:rect l="l" t="t" r="r" b="b"/>
                                    <a:pathLst>
                                      <a:path w="2108729" h="1193271">
                                        <a:moveTo>
                                          <a:pt x="1471083" y="468313"/>
                                        </a:moveTo>
                                        <a:lnTo>
                                          <a:pt x="1473729" y="470959"/>
                                        </a:lnTo>
                                        <a:lnTo>
                                          <a:pt x="1471083" y="478896"/>
                                        </a:lnTo>
                                        <a:lnTo>
                                          <a:pt x="1468437" y="481542"/>
                                        </a:lnTo>
                                        <a:lnTo>
                                          <a:pt x="1468437" y="486834"/>
                                        </a:lnTo>
                                        <a:lnTo>
                                          <a:pt x="1471083" y="486834"/>
                                        </a:lnTo>
                                        <a:lnTo>
                                          <a:pt x="1479021" y="489480"/>
                                        </a:lnTo>
                                        <a:lnTo>
                                          <a:pt x="1489604" y="492126"/>
                                        </a:lnTo>
                                        <a:lnTo>
                                          <a:pt x="1502833" y="497417"/>
                                        </a:lnTo>
                                        <a:lnTo>
                                          <a:pt x="1510771" y="500063"/>
                                        </a:lnTo>
                                        <a:lnTo>
                                          <a:pt x="1516062" y="500063"/>
                                        </a:lnTo>
                                        <a:lnTo>
                                          <a:pt x="1518708" y="500063"/>
                                        </a:lnTo>
                                        <a:lnTo>
                                          <a:pt x="1524000" y="502709"/>
                                        </a:lnTo>
                                        <a:lnTo>
                                          <a:pt x="1529292" y="505355"/>
                                        </a:lnTo>
                                        <a:lnTo>
                                          <a:pt x="1534583" y="505355"/>
                                        </a:lnTo>
                                        <a:lnTo>
                                          <a:pt x="1545167" y="502709"/>
                                        </a:lnTo>
                                        <a:lnTo>
                                          <a:pt x="1558396" y="505355"/>
                                        </a:lnTo>
                                        <a:lnTo>
                                          <a:pt x="1563687" y="508001"/>
                                        </a:lnTo>
                                        <a:lnTo>
                                          <a:pt x="1571625" y="510646"/>
                                        </a:lnTo>
                                        <a:lnTo>
                                          <a:pt x="1558396" y="510646"/>
                                        </a:lnTo>
                                        <a:lnTo>
                                          <a:pt x="1553104" y="513292"/>
                                        </a:lnTo>
                                        <a:lnTo>
                                          <a:pt x="1539875" y="523876"/>
                                        </a:lnTo>
                                        <a:lnTo>
                                          <a:pt x="1529292" y="529167"/>
                                        </a:lnTo>
                                        <a:lnTo>
                                          <a:pt x="1521354" y="534459"/>
                                        </a:lnTo>
                                        <a:lnTo>
                                          <a:pt x="1500187" y="545042"/>
                                        </a:lnTo>
                                        <a:lnTo>
                                          <a:pt x="1494896" y="547688"/>
                                        </a:lnTo>
                                        <a:lnTo>
                                          <a:pt x="1497542" y="550334"/>
                                        </a:lnTo>
                                        <a:lnTo>
                                          <a:pt x="1516062" y="547688"/>
                                        </a:lnTo>
                                        <a:lnTo>
                                          <a:pt x="1531937" y="547688"/>
                                        </a:lnTo>
                                        <a:lnTo>
                                          <a:pt x="1531937" y="552980"/>
                                        </a:lnTo>
                                        <a:lnTo>
                                          <a:pt x="1531937" y="555626"/>
                                        </a:lnTo>
                                        <a:lnTo>
                                          <a:pt x="1534583" y="555626"/>
                                        </a:lnTo>
                                        <a:lnTo>
                                          <a:pt x="1545167" y="552980"/>
                                        </a:lnTo>
                                        <a:lnTo>
                                          <a:pt x="1553104" y="550334"/>
                                        </a:lnTo>
                                        <a:lnTo>
                                          <a:pt x="1568979" y="545042"/>
                                        </a:lnTo>
                                        <a:lnTo>
                                          <a:pt x="1579562" y="542396"/>
                                        </a:lnTo>
                                        <a:lnTo>
                                          <a:pt x="1582208" y="537105"/>
                                        </a:lnTo>
                                        <a:lnTo>
                                          <a:pt x="1587500" y="534459"/>
                                        </a:lnTo>
                                        <a:lnTo>
                                          <a:pt x="1598083" y="529167"/>
                                        </a:lnTo>
                                        <a:lnTo>
                                          <a:pt x="1606021" y="529167"/>
                                        </a:lnTo>
                                        <a:lnTo>
                                          <a:pt x="1608667" y="529167"/>
                                        </a:lnTo>
                                        <a:lnTo>
                                          <a:pt x="1600729" y="531813"/>
                                        </a:lnTo>
                                        <a:lnTo>
                                          <a:pt x="1592792" y="537105"/>
                                        </a:lnTo>
                                        <a:lnTo>
                                          <a:pt x="1590146" y="537105"/>
                                        </a:lnTo>
                                        <a:lnTo>
                                          <a:pt x="1592792" y="539751"/>
                                        </a:lnTo>
                                        <a:lnTo>
                                          <a:pt x="1598083" y="537105"/>
                                        </a:lnTo>
                                        <a:lnTo>
                                          <a:pt x="1603375" y="537105"/>
                                        </a:lnTo>
                                        <a:lnTo>
                                          <a:pt x="1608667" y="539751"/>
                                        </a:lnTo>
                                        <a:lnTo>
                                          <a:pt x="1613958" y="542396"/>
                                        </a:lnTo>
                                        <a:lnTo>
                                          <a:pt x="1613958" y="545042"/>
                                        </a:lnTo>
                                        <a:lnTo>
                                          <a:pt x="1624542" y="550334"/>
                                        </a:lnTo>
                                        <a:lnTo>
                                          <a:pt x="1635125" y="547688"/>
                                        </a:lnTo>
                                        <a:lnTo>
                                          <a:pt x="1643062" y="547688"/>
                                        </a:lnTo>
                                        <a:lnTo>
                                          <a:pt x="1651000" y="547688"/>
                                        </a:lnTo>
                                        <a:lnTo>
                                          <a:pt x="1658937" y="547688"/>
                                        </a:lnTo>
                                        <a:lnTo>
                                          <a:pt x="1669521" y="547688"/>
                                        </a:lnTo>
                                        <a:lnTo>
                                          <a:pt x="1672167" y="550334"/>
                                        </a:lnTo>
                                        <a:lnTo>
                                          <a:pt x="1669521" y="552980"/>
                                        </a:lnTo>
                                        <a:lnTo>
                                          <a:pt x="1669521" y="555626"/>
                                        </a:lnTo>
                                        <a:lnTo>
                                          <a:pt x="1677458" y="555626"/>
                                        </a:lnTo>
                                        <a:lnTo>
                                          <a:pt x="1685396" y="555626"/>
                                        </a:lnTo>
                                        <a:lnTo>
                                          <a:pt x="1688042" y="555626"/>
                                        </a:lnTo>
                                        <a:lnTo>
                                          <a:pt x="1690687" y="555626"/>
                                        </a:lnTo>
                                        <a:lnTo>
                                          <a:pt x="1695979" y="560917"/>
                                        </a:lnTo>
                                        <a:lnTo>
                                          <a:pt x="1695979" y="563563"/>
                                        </a:lnTo>
                                        <a:lnTo>
                                          <a:pt x="1695979" y="566209"/>
                                        </a:lnTo>
                                        <a:lnTo>
                                          <a:pt x="1685396" y="566209"/>
                                        </a:lnTo>
                                        <a:lnTo>
                                          <a:pt x="1674812" y="566209"/>
                                        </a:lnTo>
                                        <a:lnTo>
                                          <a:pt x="1669521" y="566209"/>
                                        </a:lnTo>
                                        <a:lnTo>
                                          <a:pt x="1669521" y="568855"/>
                                        </a:lnTo>
                                        <a:lnTo>
                                          <a:pt x="1664229" y="566209"/>
                                        </a:lnTo>
                                        <a:lnTo>
                                          <a:pt x="1658937" y="563563"/>
                                        </a:lnTo>
                                        <a:lnTo>
                                          <a:pt x="1651000" y="566209"/>
                                        </a:lnTo>
                                        <a:lnTo>
                                          <a:pt x="1648354" y="566209"/>
                                        </a:lnTo>
                                        <a:lnTo>
                                          <a:pt x="1640417" y="566209"/>
                                        </a:lnTo>
                                        <a:lnTo>
                                          <a:pt x="1635125" y="566209"/>
                                        </a:lnTo>
                                        <a:lnTo>
                                          <a:pt x="1627187" y="571501"/>
                                        </a:lnTo>
                                        <a:lnTo>
                                          <a:pt x="1619250" y="574146"/>
                                        </a:lnTo>
                                        <a:lnTo>
                                          <a:pt x="1616604" y="574146"/>
                                        </a:lnTo>
                                        <a:lnTo>
                                          <a:pt x="1613958" y="574146"/>
                                        </a:lnTo>
                                        <a:lnTo>
                                          <a:pt x="1616604" y="571501"/>
                                        </a:lnTo>
                                        <a:lnTo>
                                          <a:pt x="1616604" y="568855"/>
                                        </a:lnTo>
                                        <a:lnTo>
                                          <a:pt x="1608667" y="574146"/>
                                        </a:lnTo>
                                        <a:lnTo>
                                          <a:pt x="1595437" y="584730"/>
                                        </a:lnTo>
                                        <a:lnTo>
                                          <a:pt x="1582208" y="597959"/>
                                        </a:lnTo>
                                        <a:lnTo>
                                          <a:pt x="1595437" y="590021"/>
                                        </a:lnTo>
                                        <a:lnTo>
                                          <a:pt x="1606021" y="584730"/>
                                        </a:lnTo>
                                        <a:lnTo>
                                          <a:pt x="1613958" y="579438"/>
                                        </a:lnTo>
                                        <a:lnTo>
                                          <a:pt x="1603375" y="590021"/>
                                        </a:lnTo>
                                        <a:lnTo>
                                          <a:pt x="1592792" y="600605"/>
                                        </a:lnTo>
                                        <a:lnTo>
                                          <a:pt x="1582208" y="611188"/>
                                        </a:lnTo>
                                        <a:lnTo>
                                          <a:pt x="1571625" y="624417"/>
                                        </a:lnTo>
                                        <a:lnTo>
                                          <a:pt x="1566333" y="629709"/>
                                        </a:lnTo>
                                        <a:lnTo>
                                          <a:pt x="1563687" y="637646"/>
                                        </a:lnTo>
                                        <a:lnTo>
                                          <a:pt x="1555750" y="648230"/>
                                        </a:lnTo>
                                        <a:lnTo>
                                          <a:pt x="1545167" y="661459"/>
                                        </a:lnTo>
                                        <a:lnTo>
                                          <a:pt x="1542521" y="674688"/>
                                        </a:lnTo>
                                        <a:lnTo>
                                          <a:pt x="1545167" y="682626"/>
                                        </a:lnTo>
                                        <a:lnTo>
                                          <a:pt x="1545167" y="685271"/>
                                        </a:lnTo>
                                        <a:lnTo>
                                          <a:pt x="1550458" y="685271"/>
                                        </a:lnTo>
                                        <a:lnTo>
                                          <a:pt x="1568979" y="679980"/>
                                        </a:lnTo>
                                        <a:lnTo>
                                          <a:pt x="1579562" y="674688"/>
                                        </a:lnTo>
                                        <a:lnTo>
                                          <a:pt x="1592792" y="666751"/>
                                        </a:lnTo>
                                        <a:lnTo>
                                          <a:pt x="1600729" y="656167"/>
                                        </a:lnTo>
                                        <a:lnTo>
                                          <a:pt x="1603375" y="645584"/>
                                        </a:lnTo>
                                        <a:lnTo>
                                          <a:pt x="1606021" y="640292"/>
                                        </a:lnTo>
                                        <a:lnTo>
                                          <a:pt x="1603375" y="635001"/>
                                        </a:lnTo>
                                        <a:lnTo>
                                          <a:pt x="1600729" y="632355"/>
                                        </a:lnTo>
                                        <a:lnTo>
                                          <a:pt x="1603375" y="629709"/>
                                        </a:lnTo>
                                        <a:lnTo>
                                          <a:pt x="1608667" y="616480"/>
                                        </a:lnTo>
                                        <a:lnTo>
                                          <a:pt x="1616604" y="605896"/>
                                        </a:lnTo>
                                        <a:lnTo>
                                          <a:pt x="1619250" y="600605"/>
                                        </a:lnTo>
                                        <a:lnTo>
                                          <a:pt x="1627187" y="592667"/>
                                        </a:lnTo>
                                        <a:lnTo>
                                          <a:pt x="1629833" y="590021"/>
                                        </a:lnTo>
                                        <a:lnTo>
                                          <a:pt x="1632479" y="590021"/>
                                        </a:lnTo>
                                        <a:lnTo>
                                          <a:pt x="1635125" y="592667"/>
                                        </a:lnTo>
                                        <a:lnTo>
                                          <a:pt x="1632479" y="597959"/>
                                        </a:lnTo>
                                        <a:lnTo>
                                          <a:pt x="1635125" y="597959"/>
                                        </a:lnTo>
                                        <a:lnTo>
                                          <a:pt x="1637771" y="592667"/>
                                        </a:lnTo>
                                        <a:lnTo>
                                          <a:pt x="1640417" y="590021"/>
                                        </a:lnTo>
                                        <a:lnTo>
                                          <a:pt x="1643062" y="587376"/>
                                        </a:lnTo>
                                        <a:lnTo>
                                          <a:pt x="1648354" y="584730"/>
                                        </a:lnTo>
                                        <a:lnTo>
                                          <a:pt x="1651000" y="579438"/>
                                        </a:lnTo>
                                        <a:lnTo>
                                          <a:pt x="1653646" y="576792"/>
                                        </a:lnTo>
                                        <a:lnTo>
                                          <a:pt x="1658937" y="574146"/>
                                        </a:lnTo>
                                        <a:lnTo>
                                          <a:pt x="1666875" y="571501"/>
                                        </a:lnTo>
                                        <a:lnTo>
                                          <a:pt x="1672167" y="571501"/>
                                        </a:lnTo>
                                        <a:lnTo>
                                          <a:pt x="1677458" y="574146"/>
                                        </a:lnTo>
                                        <a:lnTo>
                                          <a:pt x="1682750" y="579438"/>
                                        </a:lnTo>
                                        <a:lnTo>
                                          <a:pt x="1685396" y="584730"/>
                                        </a:lnTo>
                                        <a:lnTo>
                                          <a:pt x="1685396" y="587376"/>
                                        </a:lnTo>
                                        <a:lnTo>
                                          <a:pt x="1688042" y="592667"/>
                                        </a:lnTo>
                                        <a:lnTo>
                                          <a:pt x="1685396" y="600605"/>
                                        </a:lnTo>
                                        <a:lnTo>
                                          <a:pt x="1680104" y="608542"/>
                                        </a:lnTo>
                                        <a:lnTo>
                                          <a:pt x="1677458" y="611188"/>
                                        </a:lnTo>
                                        <a:lnTo>
                                          <a:pt x="1677458" y="613834"/>
                                        </a:lnTo>
                                        <a:lnTo>
                                          <a:pt x="1674812" y="616480"/>
                                        </a:lnTo>
                                        <a:lnTo>
                                          <a:pt x="1669521" y="619126"/>
                                        </a:lnTo>
                                        <a:lnTo>
                                          <a:pt x="1672167" y="621771"/>
                                        </a:lnTo>
                                        <a:lnTo>
                                          <a:pt x="1677458" y="621771"/>
                                        </a:lnTo>
                                        <a:lnTo>
                                          <a:pt x="1680104" y="621771"/>
                                        </a:lnTo>
                                        <a:lnTo>
                                          <a:pt x="1682750" y="621771"/>
                                        </a:lnTo>
                                        <a:lnTo>
                                          <a:pt x="1685396" y="619126"/>
                                        </a:lnTo>
                                        <a:lnTo>
                                          <a:pt x="1685396" y="616480"/>
                                        </a:lnTo>
                                        <a:lnTo>
                                          <a:pt x="1688042" y="616480"/>
                                        </a:lnTo>
                                        <a:lnTo>
                                          <a:pt x="1690687" y="619126"/>
                                        </a:lnTo>
                                        <a:lnTo>
                                          <a:pt x="1690687" y="627063"/>
                                        </a:lnTo>
                                        <a:lnTo>
                                          <a:pt x="1688042" y="642938"/>
                                        </a:lnTo>
                                        <a:lnTo>
                                          <a:pt x="1685396" y="650876"/>
                                        </a:lnTo>
                                        <a:lnTo>
                                          <a:pt x="1682750" y="650876"/>
                                        </a:lnTo>
                                        <a:lnTo>
                                          <a:pt x="1680104" y="650876"/>
                                        </a:lnTo>
                                        <a:lnTo>
                                          <a:pt x="1677458" y="656167"/>
                                        </a:lnTo>
                                        <a:lnTo>
                                          <a:pt x="1669521" y="669396"/>
                                        </a:lnTo>
                                        <a:lnTo>
                                          <a:pt x="1658937" y="679980"/>
                                        </a:lnTo>
                                        <a:lnTo>
                                          <a:pt x="1658937" y="682626"/>
                                        </a:lnTo>
                                        <a:lnTo>
                                          <a:pt x="1666875" y="685271"/>
                                        </a:lnTo>
                                        <a:lnTo>
                                          <a:pt x="1682750" y="690563"/>
                                        </a:lnTo>
                                        <a:lnTo>
                                          <a:pt x="1688042" y="690563"/>
                                        </a:lnTo>
                                        <a:lnTo>
                                          <a:pt x="1693333" y="687917"/>
                                        </a:lnTo>
                                        <a:lnTo>
                                          <a:pt x="1695979" y="687917"/>
                                        </a:lnTo>
                                        <a:lnTo>
                                          <a:pt x="1701271" y="687917"/>
                                        </a:lnTo>
                                        <a:lnTo>
                                          <a:pt x="1711854" y="685271"/>
                                        </a:lnTo>
                                        <a:lnTo>
                                          <a:pt x="1725083" y="677334"/>
                                        </a:lnTo>
                                        <a:lnTo>
                                          <a:pt x="1740958" y="669396"/>
                                        </a:lnTo>
                                        <a:lnTo>
                                          <a:pt x="1748896" y="666751"/>
                                        </a:lnTo>
                                        <a:lnTo>
                                          <a:pt x="1756833" y="664105"/>
                                        </a:lnTo>
                                        <a:lnTo>
                                          <a:pt x="1767417" y="658813"/>
                                        </a:lnTo>
                                        <a:lnTo>
                                          <a:pt x="1778000" y="653521"/>
                                        </a:lnTo>
                                        <a:lnTo>
                                          <a:pt x="1780646" y="650876"/>
                                        </a:lnTo>
                                        <a:lnTo>
                                          <a:pt x="1778000" y="642938"/>
                                        </a:lnTo>
                                        <a:lnTo>
                                          <a:pt x="1793875" y="642938"/>
                                        </a:lnTo>
                                        <a:lnTo>
                                          <a:pt x="1801813" y="642938"/>
                                        </a:lnTo>
                                        <a:lnTo>
                                          <a:pt x="1807104" y="642938"/>
                                        </a:lnTo>
                                        <a:lnTo>
                                          <a:pt x="1820333" y="642938"/>
                                        </a:lnTo>
                                        <a:lnTo>
                                          <a:pt x="1828271" y="640292"/>
                                        </a:lnTo>
                                        <a:lnTo>
                                          <a:pt x="1833563" y="637646"/>
                                        </a:lnTo>
                                        <a:lnTo>
                                          <a:pt x="1841500" y="635001"/>
                                        </a:lnTo>
                                        <a:lnTo>
                                          <a:pt x="1854729" y="635001"/>
                                        </a:lnTo>
                                        <a:lnTo>
                                          <a:pt x="1854729" y="632355"/>
                                        </a:lnTo>
                                        <a:lnTo>
                                          <a:pt x="1854729" y="629709"/>
                                        </a:lnTo>
                                        <a:lnTo>
                                          <a:pt x="1852083" y="627063"/>
                                        </a:lnTo>
                                        <a:lnTo>
                                          <a:pt x="1854729" y="624417"/>
                                        </a:lnTo>
                                        <a:lnTo>
                                          <a:pt x="1857375" y="621771"/>
                                        </a:lnTo>
                                        <a:lnTo>
                                          <a:pt x="1854729" y="621771"/>
                                        </a:lnTo>
                                        <a:lnTo>
                                          <a:pt x="1854729" y="619126"/>
                                        </a:lnTo>
                                        <a:lnTo>
                                          <a:pt x="1860021" y="613834"/>
                                        </a:lnTo>
                                        <a:lnTo>
                                          <a:pt x="1867958" y="608542"/>
                                        </a:lnTo>
                                        <a:lnTo>
                                          <a:pt x="1875896" y="600605"/>
                                        </a:lnTo>
                                        <a:lnTo>
                                          <a:pt x="1883833" y="590021"/>
                                        </a:lnTo>
                                        <a:lnTo>
                                          <a:pt x="1891771" y="587376"/>
                                        </a:lnTo>
                                        <a:lnTo>
                                          <a:pt x="1897063" y="587376"/>
                                        </a:lnTo>
                                        <a:lnTo>
                                          <a:pt x="1981729" y="587376"/>
                                        </a:lnTo>
                                        <a:lnTo>
                                          <a:pt x="1989667" y="582084"/>
                                        </a:lnTo>
                                        <a:lnTo>
                                          <a:pt x="1992313" y="582084"/>
                                        </a:lnTo>
                                        <a:lnTo>
                                          <a:pt x="1994958" y="579438"/>
                                        </a:lnTo>
                                        <a:lnTo>
                                          <a:pt x="2000250" y="576792"/>
                                        </a:lnTo>
                                        <a:lnTo>
                                          <a:pt x="2005542" y="571501"/>
                                        </a:lnTo>
                                        <a:lnTo>
                                          <a:pt x="2010833" y="568855"/>
                                        </a:lnTo>
                                        <a:lnTo>
                                          <a:pt x="2016125" y="566209"/>
                                        </a:lnTo>
                                        <a:lnTo>
                                          <a:pt x="2018771" y="560917"/>
                                        </a:lnTo>
                                        <a:lnTo>
                                          <a:pt x="2018771" y="558271"/>
                                        </a:lnTo>
                                        <a:lnTo>
                                          <a:pt x="2021417" y="555626"/>
                                        </a:lnTo>
                                        <a:lnTo>
                                          <a:pt x="2029354" y="547688"/>
                                        </a:lnTo>
                                        <a:lnTo>
                                          <a:pt x="2032000" y="542396"/>
                                        </a:lnTo>
                                        <a:lnTo>
                                          <a:pt x="2037292" y="539751"/>
                                        </a:lnTo>
                                        <a:lnTo>
                                          <a:pt x="2039938" y="537105"/>
                                        </a:lnTo>
                                        <a:lnTo>
                                          <a:pt x="2045229" y="531813"/>
                                        </a:lnTo>
                                        <a:lnTo>
                                          <a:pt x="2055813" y="523876"/>
                                        </a:lnTo>
                                        <a:lnTo>
                                          <a:pt x="2058458" y="523876"/>
                                        </a:lnTo>
                                        <a:lnTo>
                                          <a:pt x="2063750" y="526521"/>
                                        </a:lnTo>
                                        <a:lnTo>
                                          <a:pt x="2066396" y="526521"/>
                                        </a:lnTo>
                                        <a:lnTo>
                                          <a:pt x="2071688" y="523876"/>
                                        </a:lnTo>
                                        <a:lnTo>
                                          <a:pt x="2087563" y="518584"/>
                                        </a:lnTo>
                                        <a:lnTo>
                                          <a:pt x="2090208" y="518584"/>
                                        </a:lnTo>
                                        <a:lnTo>
                                          <a:pt x="2092854" y="523876"/>
                                        </a:lnTo>
                                        <a:lnTo>
                                          <a:pt x="2095500" y="526521"/>
                                        </a:lnTo>
                                        <a:lnTo>
                                          <a:pt x="2098146" y="529167"/>
                                        </a:lnTo>
                                        <a:lnTo>
                                          <a:pt x="2095500" y="531813"/>
                                        </a:lnTo>
                                        <a:lnTo>
                                          <a:pt x="2084917" y="566209"/>
                                        </a:lnTo>
                                        <a:lnTo>
                                          <a:pt x="2084917" y="571501"/>
                                        </a:lnTo>
                                        <a:lnTo>
                                          <a:pt x="2087563" y="571501"/>
                                        </a:lnTo>
                                        <a:lnTo>
                                          <a:pt x="2090208" y="574146"/>
                                        </a:lnTo>
                                        <a:lnTo>
                                          <a:pt x="2092854" y="579438"/>
                                        </a:lnTo>
                                        <a:lnTo>
                                          <a:pt x="2098146" y="584730"/>
                                        </a:lnTo>
                                        <a:lnTo>
                                          <a:pt x="2098146" y="582084"/>
                                        </a:lnTo>
                                        <a:lnTo>
                                          <a:pt x="2103438" y="582084"/>
                                        </a:lnTo>
                                        <a:lnTo>
                                          <a:pt x="2106083" y="587376"/>
                                        </a:lnTo>
                                        <a:lnTo>
                                          <a:pt x="2108729" y="590021"/>
                                        </a:lnTo>
                                        <a:lnTo>
                                          <a:pt x="2103438" y="592667"/>
                                        </a:lnTo>
                                        <a:lnTo>
                                          <a:pt x="2092854" y="597959"/>
                                        </a:lnTo>
                                        <a:lnTo>
                                          <a:pt x="2076979" y="605896"/>
                                        </a:lnTo>
                                        <a:lnTo>
                                          <a:pt x="2074333" y="608542"/>
                                        </a:lnTo>
                                        <a:lnTo>
                                          <a:pt x="2071688" y="608542"/>
                                        </a:lnTo>
                                        <a:lnTo>
                                          <a:pt x="2066396" y="605896"/>
                                        </a:lnTo>
                                        <a:lnTo>
                                          <a:pt x="2061104" y="603251"/>
                                        </a:lnTo>
                                        <a:lnTo>
                                          <a:pt x="2058458" y="605896"/>
                                        </a:lnTo>
                                        <a:lnTo>
                                          <a:pt x="2055813" y="611188"/>
                                        </a:lnTo>
                                        <a:lnTo>
                                          <a:pt x="2053167" y="616480"/>
                                        </a:lnTo>
                                        <a:lnTo>
                                          <a:pt x="2050521" y="613834"/>
                                        </a:lnTo>
                                        <a:lnTo>
                                          <a:pt x="2050521" y="608542"/>
                                        </a:lnTo>
                                        <a:lnTo>
                                          <a:pt x="2047875" y="605896"/>
                                        </a:lnTo>
                                        <a:lnTo>
                                          <a:pt x="2047875" y="608542"/>
                                        </a:lnTo>
                                        <a:lnTo>
                                          <a:pt x="2039938" y="619126"/>
                                        </a:lnTo>
                                        <a:lnTo>
                                          <a:pt x="2037292" y="621771"/>
                                        </a:lnTo>
                                        <a:lnTo>
                                          <a:pt x="2032000" y="619126"/>
                                        </a:lnTo>
                                        <a:lnTo>
                                          <a:pt x="2026708" y="621771"/>
                                        </a:lnTo>
                                        <a:lnTo>
                                          <a:pt x="2018771" y="624417"/>
                                        </a:lnTo>
                                        <a:lnTo>
                                          <a:pt x="2013479" y="624417"/>
                                        </a:lnTo>
                                        <a:lnTo>
                                          <a:pt x="2005542" y="627063"/>
                                        </a:lnTo>
                                        <a:lnTo>
                                          <a:pt x="1997604" y="635001"/>
                                        </a:lnTo>
                                        <a:lnTo>
                                          <a:pt x="1989667" y="645584"/>
                                        </a:lnTo>
                                        <a:lnTo>
                                          <a:pt x="1981729" y="650876"/>
                                        </a:lnTo>
                                        <a:lnTo>
                                          <a:pt x="1976438" y="661459"/>
                                        </a:lnTo>
                                        <a:lnTo>
                                          <a:pt x="1973792" y="664105"/>
                                        </a:lnTo>
                                        <a:lnTo>
                                          <a:pt x="1976438" y="672042"/>
                                        </a:lnTo>
                                        <a:lnTo>
                                          <a:pt x="1979083" y="674688"/>
                                        </a:lnTo>
                                        <a:lnTo>
                                          <a:pt x="1981729" y="674688"/>
                                        </a:lnTo>
                                        <a:lnTo>
                                          <a:pt x="1987021" y="674688"/>
                                        </a:lnTo>
                                        <a:lnTo>
                                          <a:pt x="1984375" y="682626"/>
                                        </a:lnTo>
                                        <a:lnTo>
                                          <a:pt x="1981729" y="679980"/>
                                        </a:lnTo>
                                        <a:lnTo>
                                          <a:pt x="1979083" y="679980"/>
                                        </a:lnTo>
                                        <a:lnTo>
                                          <a:pt x="1971146" y="682626"/>
                                        </a:lnTo>
                                        <a:lnTo>
                                          <a:pt x="1965854" y="685271"/>
                                        </a:lnTo>
                                        <a:lnTo>
                                          <a:pt x="1963208" y="685271"/>
                                        </a:lnTo>
                                        <a:lnTo>
                                          <a:pt x="1960563" y="679980"/>
                                        </a:lnTo>
                                        <a:lnTo>
                                          <a:pt x="1957917" y="685271"/>
                                        </a:lnTo>
                                        <a:lnTo>
                                          <a:pt x="1952625" y="687917"/>
                                        </a:lnTo>
                                        <a:lnTo>
                                          <a:pt x="1947333" y="690563"/>
                                        </a:lnTo>
                                        <a:lnTo>
                                          <a:pt x="1939396" y="690563"/>
                                        </a:lnTo>
                                        <a:lnTo>
                                          <a:pt x="1934104" y="690563"/>
                                        </a:lnTo>
                                        <a:lnTo>
                                          <a:pt x="1931458" y="693209"/>
                                        </a:lnTo>
                                        <a:lnTo>
                                          <a:pt x="1918229" y="693209"/>
                                        </a:lnTo>
                                        <a:lnTo>
                                          <a:pt x="1907646" y="695855"/>
                                        </a:lnTo>
                                        <a:lnTo>
                                          <a:pt x="1899708" y="701146"/>
                                        </a:lnTo>
                                        <a:lnTo>
                                          <a:pt x="1894417" y="703792"/>
                                        </a:lnTo>
                                        <a:lnTo>
                                          <a:pt x="1889125" y="706438"/>
                                        </a:lnTo>
                                        <a:lnTo>
                                          <a:pt x="1886479" y="709084"/>
                                        </a:lnTo>
                                        <a:lnTo>
                                          <a:pt x="1883833" y="709084"/>
                                        </a:lnTo>
                                        <a:lnTo>
                                          <a:pt x="1881188" y="714376"/>
                                        </a:lnTo>
                                        <a:lnTo>
                                          <a:pt x="1881188" y="717021"/>
                                        </a:lnTo>
                                        <a:lnTo>
                                          <a:pt x="1883833" y="717021"/>
                                        </a:lnTo>
                                        <a:lnTo>
                                          <a:pt x="1878542" y="722313"/>
                                        </a:lnTo>
                                        <a:lnTo>
                                          <a:pt x="1870604" y="730251"/>
                                        </a:lnTo>
                                        <a:lnTo>
                                          <a:pt x="1865313" y="735542"/>
                                        </a:lnTo>
                                        <a:lnTo>
                                          <a:pt x="1862667" y="738188"/>
                                        </a:lnTo>
                                        <a:lnTo>
                                          <a:pt x="1860021" y="738188"/>
                                        </a:lnTo>
                                        <a:lnTo>
                                          <a:pt x="1849438" y="732896"/>
                                        </a:lnTo>
                                        <a:lnTo>
                                          <a:pt x="1852083" y="735542"/>
                                        </a:lnTo>
                                        <a:lnTo>
                                          <a:pt x="1860021" y="740834"/>
                                        </a:lnTo>
                                        <a:lnTo>
                                          <a:pt x="1854729" y="743480"/>
                                        </a:lnTo>
                                        <a:lnTo>
                                          <a:pt x="1852083" y="743480"/>
                                        </a:lnTo>
                                        <a:lnTo>
                                          <a:pt x="1849438" y="743480"/>
                                        </a:lnTo>
                                        <a:lnTo>
                                          <a:pt x="1846792" y="746126"/>
                                        </a:lnTo>
                                        <a:lnTo>
                                          <a:pt x="1844146" y="751417"/>
                                        </a:lnTo>
                                        <a:lnTo>
                                          <a:pt x="1841500" y="751417"/>
                                        </a:lnTo>
                                        <a:lnTo>
                                          <a:pt x="1836208" y="754063"/>
                                        </a:lnTo>
                                        <a:lnTo>
                                          <a:pt x="1830917" y="759355"/>
                                        </a:lnTo>
                                        <a:lnTo>
                                          <a:pt x="1825625" y="767292"/>
                                        </a:lnTo>
                                        <a:lnTo>
                                          <a:pt x="1822979" y="762000"/>
                                        </a:lnTo>
                                        <a:lnTo>
                                          <a:pt x="1822979" y="756709"/>
                                        </a:lnTo>
                                        <a:lnTo>
                                          <a:pt x="1820333" y="754063"/>
                                        </a:lnTo>
                                        <a:lnTo>
                                          <a:pt x="1815042" y="751417"/>
                                        </a:lnTo>
                                        <a:lnTo>
                                          <a:pt x="1812396" y="746126"/>
                                        </a:lnTo>
                                        <a:lnTo>
                                          <a:pt x="1812396" y="751417"/>
                                        </a:lnTo>
                                        <a:lnTo>
                                          <a:pt x="1812396" y="754063"/>
                                        </a:lnTo>
                                        <a:lnTo>
                                          <a:pt x="1817688" y="756709"/>
                                        </a:lnTo>
                                        <a:lnTo>
                                          <a:pt x="1820333" y="759355"/>
                                        </a:lnTo>
                                        <a:lnTo>
                                          <a:pt x="1820333" y="762000"/>
                                        </a:lnTo>
                                        <a:lnTo>
                                          <a:pt x="1820333" y="764646"/>
                                        </a:lnTo>
                                        <a:lnTo>
                                          <a:pt x="1822979" y="767292"/>
                                        </a:lnTo>
                                        <a:lnTo>
                                          <a:pt x="1825625" y="769938"/>
                                        </a:lnTo>
                                        <a:lnTo>
                                          <a:pt x="1825625" y="772584"/>
                                        </a:lnTo>
                                        <a:lnTo>
                                          <a:pt x="1822979" y="780521"/>
                                        </a:lnTo>
                                        <a:lnTo>
                                          <a:pt x="1812396" y="796396"/>
                                        </a:lnTo>
                                        <a:lnTo>
                                          <a:pt x="1817688" y="785813"/>
                                        </a:lnTo>
                                        <a:lnTo>
                                          <a:pt x="1820333" y="780521"/>
                                        </a:lnTo>
                                        <a:lnTo>
                                          <a:pt x="1820333" y="777875"/>
                                        </a:lnTo>
                                        <a:lnTo>
                                          <a:pt x="1817688" y="780521"/>
                                        </a:lnTo>
                                        <a:lnTo>
                                          <a:pt x="1812396" y="785813"/>
                                        </a:lnTo>
                                        <a:lnTo>
                                          <a:pt x="1807104" y="796396"/>
                                        </a:lnTo>
                                        <a:lnTo>
                                          <a:pt x="1804458" y="804334"/>
                                        </a:lnTo>
                                        <a:lnTo>
                                          <a:pt x="1799167" y="809625"/>
                                        </a:lnTo>
                                        <a:lnTo>
                                          <a:pt x="1793875" y="809625"/>
                                        </a:lnTo>
                                        <a:lnTo>
                                          <a:pt x="1791229" y="809625"/>
                                        </a:lnTo>
                                        <a:lnTo>
                                          <a:pt x="1799167" y="799042"/>
                                        </a:lnTo>
                                        <a:lnTo>
                                          <a:pt x="1799167" y="793750"/>
                                        </a:lnTo>
                                        <a:lnTo>
                                          <a:pt x="1796521" y="791105"/>
                                        </a:lnTo>
                                        <a:lnTo>
                                          <a:pt x="1793875" y="785813"/>
                                        </a:lnTo>
                                        <a:lnTo>
                                          <a:pt x="1796521" y="783167"/>
                                        </a:lnTo>
                                        <a:lnTo>
                                          <a:pt x="1796521" y="777875"/>
                                        </a:lnTo>
                                        <a:lnTo>
                                          <a:pt x="1793875" y="775230"/>
                                        </a:lnTo>
                                        <a:lnTo>
                                          <a:pt x="1793875" y="772584"/>
                                        </a:lnTo>
                                        <a:lnTo>
                                          <a:pt x="1793875" y="769938"/>
                                        </a:lnTo>
                                        <a:lnTo>
                                          <a:pt x="1796521" y="764646"/>
                                        </a:lnTo>
                                        <a:lnTo>
                                          <a:pt x="1793875" y="764646"/>
                                        </a:lnTo>
                                        <a:lnTo>
                                          <a:pt x="1793875" y="762000"/>
                                        </a:lnTo>
                                        <a:lnTo>
                                          <a:pt x="1799167" y="759355"/>
                                        </a:lnTo>
                                        <a:lnTo>
                                          <a:pt x="1804458" y="754063"/>
                                        </a:lnTo>
                                        <a:lnTo>
                                          <a:pt x="1801813" y="754063"/>
                                        </a:lnTo>
                                        <a:lnTo>
                                          <a:pt x="1788583" y="759355"/>
                                        </a:lnTo>
                                        <a:lnTo>
                                          <a:pt x="1783292" y="764646"/>
                                        </a:lnTo>
                                        <a:lnTo>
                                          <a:pt x="1783292" y="769938"/>
                                        </a:lnTo>
                                        <a:lnTo>
                                          <a:pt x="1783292" y="772584"/>
                                        </a:lnTo>
                                        <a:lnTo>
                                          <a:pt x="1780646" y="772584"/>
                                        </a:lnTo>
                                        <a:lnTo>
                                          <a:pt x="1783292" y="777875"/>
                                        </a:lnTo>
                                        <a:lnTo>
                                          <a:pt x="1780646" y="780521"/>
                                        </a:lnTo>
                                        <a:lnTo>
                                          <a:pt x="1772708" y="777875"/>
                                        </a:lnTo>
                                        <a:lnTo>
                                          <a:pt x="1780646" y="783167"/>
                                        </a:lnTo>
                                        <a:lnTo>
                                          <a:pt x="1780646" y="785813"/>
                                        </a:lnTo>
                                        <a:lnTo>
                                          <a:pt x="1783292" y="788459"/>
                                        </a:lnTo>
                                        <a:lnTo>
                                          <a:pt x="1785938" y="793750"/>
                                        </a:lnTo>
                                        <a:lnTo>
                                          <a:pt x="1780646" y="793750"/>
                                        </a:lnTo>
                                        <a:lnTo>
                                          <a:pt x="1772708" y="793750"/>
                                        </a:lnTo>
                                        <a:lnTo>
                                          <a:pt x="1775354" y="796396"/>
                                        </a:lnTo>
                                        <a:lnTo>
                                          <a:pt x="1780646" y="799042"/>
                                        </a:lnTo>
                                        <a:lnTo>
                                          <a:pt x="1783292" y="801688"/>
                                        </a:lnTo>
                                        <a:lnTo>
                                          <a:pt x="1778000" y="806980"/>
                                        </a:lnTo>
                                        <a:lnTo>
                                          <a:pt x="1780646" y="806980"/>
                                        </a:lnTo>
                                        <a:lnTo>
                                          <a:pt x="1783292" y="806980"/>
                                        </a:lnTo>
                                        <a:lnTo>
                                          <a:pt x="1785938" y="812271"/>
                                        </a:lnTo>
                                        <a:lnTo>
                                          <a:pt x="1785938" y="820209"/>
                                        </a:lnTo>
                                        <a:lnTo>
                                          <a:pt x="1785938" y="828146"/>
                                        </a:lnTo>
                                        <a:lnTo>
                                          <a:pt x="1788583" y="844021"/>
                                        </a:lnTo>
                                        <a:lnTo>
                                          <a:pt x="1785938" y="849313"/>
                                        </a:lnTo>
                                        <a:lnTo>
                                          <a:pt x="1783292" y="851959"/>
                                        </a:lnTo>
                                        <a:lnTo>
                                          <a:pt x="1772708" y="851959"/>
                                        </a:lnTo>
                                        <a:lnTo>
                                          <a:pt x="1767417" y="851959"/>
                                        </a:lnTo>
                                        <a:lnTo>
                                          <a:pt x="1764771" y="846667"/>
                                        </a:lnTo>
                                        <a:lnTo>
                                          <a:pt x="1762125" y="854605"/>
                                        </a:lnTo>
                                        <a:lnTo>
                                          <a:pt x="1764771" y="854605"/>
                                        </a:lnTo>
                                        <a:lnTo>
                                          <a:pt x="1770063" y="854605"/>
                                        </a:lnTo>
                                        <a:lnTo>
                                          <a:pt x="1775354" y="857250"/>
                                        </a:lnTo>
                                        <a:lnTo>
                                          <a:pt x="1778000" y="857250"/>
                                        </a:lnTo>
                                        <a:lnTo>
                                          <a:pt x="1780646" y="854605"/>
                                        </a:lnTo>
                                        <a:lnTo>
                                          <a:pt x="1783292" y="857250"/>
                                        </a:lnTo>
                                        <a:lnTo>
                                          <a:pt x="1783292" y="859896"/>
                                        </a:lnTo>
                                        <a:lnTo>
                                          <a:pt x="1780646" y="865188"/>
                                        </a:lnTo>
                                        <a:lnTo>
                                          <a:pt x="1775354" y="870480"/>
                                        </a:lnTo>
                                        <a:lnTo>
                                          <a:pt x="1762125" y="867834"/>
                                        </a:lnTo>
                                        <a:lnTo>
                                          <a:pt x="1756833" y="865188"/>
                                        </a:lnTo>
                                        <a:lnTo>
                                          <a:pt x="1759479" y="870480"/>
                                        </a:lnTo>
                                        <a:lnTo>
                                          <a:pt x="1762125" y="870480"/>
                                        </a:lnTo>
                                        <a:lnTo>
                                          <a:pt x="1759479" y="873125"/>
                                        </a:lnTo>
                                        <a:lnTo>
                                          <a:pt x="1756833" y="875771"/>
                                        </a:lnTo>
                                        <a:lnTo>
                                          <a:pt x="1759479" y="875771"/>
                                        </a:lnTo>
                                        <a:lnTo>
                                          <a:pt x="1764771" y="875771"/>
                                        </a:lnTo>
                                        <a:lnTo>
                                          <a:pt x="1762125" y="881063"/>
                                        </a:lnTo>
                                        <a:lnTo>
                                          <a:pt x="1759479" y="883709"/>
                                        </a:lnTo>
                                        <a:lnTo>
                                          <a:pt x="1754188" y="886355"/>
                                        </a:lnTo>
                                        <a:lnTo>
                                          <a:pt x="1746250" y="889000"/>
                                        </a:lnTo>
                                        <a:lnTo>
                                          <a:pt x="1738313" y="891646"/>
                                        </a:lnTo>
                                        <a:lnTo>
                                          <a:pt x="1733021" y="896938"/>
                                        </a:lnTo>
                                        <a:lnTo>
                                          <a:pt x="1727729" y="902230"/>
                                        </a:lnTo>
                                        <a:lnTo>
                                          <a:pt x="1725083" y="902230"/>
                                        </a:lnTo>
                                        <a:lnTo>
                                          <a:pt x="1719792" y="904875"/>
                                        </a:lnTo>
                                        <a:lnTo>
                                          <a:pt x="1711854" y="910167"/>
                                        </a:lnTo>
                                        <a:lnTo>
                                          <a:pt x="1703917" y="918105"/>
                                        </a:lnTo>
                                        <a:lnTo>
                                          <a:pt x="1701271" y="920750"/>
                                        </a:lnTo>
                                        <a:lnTo>
                                          <a:pt x="1695979" y="920750"/>
                                        </a:lnTo>
                                        <a:lnTo>
                                          <a:pt x="1690687" y="920750"/>
                                        </a:lnTo>
                                        <a:lnTo>
                                          <a:pt x="1682750" y="923396"/>
                                        </a:lnTo>
                                        <a:lnTo>
                                          <a:pt x="1672167" y="931334"/>
                                        </a:lnTo>
                                        <a:lnTo>
                                          <a:pt x="1666875" y="939271"/>
                                        </a:lnTo>
                                        <a:lnTo>
                                          <a:pt x="1664229" y="941917"/>
                                        </a:lnTo>
                                        <a:lnTo>
                                          <a:pt x="1661583" y="941917"/>
                                        </a:lnTo>
                                        <a:lnTo>
                                          <a:pt x="1658937" y="944563"/>
                                        </a:lnTo>
                                        <a:lnTo>
                                          <a:pt x="1645708" y="955146"/>
                                        </a:lnTo>
                                        <a:lnTo>
                                          <a:pt x="1640417" y="955146"/>
                                        </a:lnTo>
                                        <a:lnTo>
                                          <a:pt x="1640417" y="952500"/>
                                        </a:lnTo>
                                        <a:lnTo>
                                          <a:pt x="1637771" y="952500"/>
                                        </a:lnTo>
                                        <a:lnTo>
                                          <a:pt x="1635125" y="955146"/>
                                        </a:lnTo>
                                        <a:lnTo>
                                          <a:pt x="1632479" y="957792"/>
                                        </a:lnTo>
                                        <a:lnTo>
                                          <a:pt x="1624542" y="955146"/>
                                        </a:lnTo>
                                        <a:lnTo>
                                          <a:pt x="1621896" y="952500"/>
                                        </a:lnTo>
                                        <a:lnTo>
                                          <a:pt x="1621896" y="955146"/>
                                        </a:lnTo>
                                        <a:lnTo>
                                          <a:pt x="1624542" y="960438"/>
                                        </a:lnTo>
                                        <a:lnTo>
                                          <a:pt x="1624542" y="963084"/>
                                        </a:lnTo>
                                        <a:lnTo>
                                          <a:pt x="1621896" y="965730"/>
                                        </a:lnTo>
                                        <a:lnTo>
                                          <a:pt x="1621896" y="968375"/>
                                        </a:lnTo>
                                        <a:lnTo>
                                          <a:pt x="1621896" y="971021"/>
                                        </a:lnTo>
                                        <a:lnTo>
                                          <a:pt x="1619250" y="971021"/>
                                        </a:lnTo>
                                        <a:lnTo>
                                          <a:pt x="1616604" y="973667"/>
                                        </a:lnTo>
                                        <a:lnTo>
                                          <a:pt x="1608667" y="978959"/>
                                        </a:lnTo>
                                        <a:lnTo>
                                          <a:pt x="1592792" y="1000125"/>
                                        </a:lnTo>
                                        <a:lnTo>
                                          <a:pt x="1587500" y="1013355"/>
                                        </a:lnTo>
                                        <a:lnTo>
                                          <a:pt x="1587500" y="1018646"/>
                                        </a:lnTo>
                                        <a:lnTo>
                                          <a:pt x="1584854" y="1023938"/>
                                        </a:lnTo>
                                        <a:lnTo>
                                          <a:pt x="1582208" y="1031875"/>
                                        </a:lnTo>
                                        <a:lnTo>
                                          <a:pt x="1582208" y="1045105"/>
                                        </a:lnTo>
                                        <a:lnTo>
                                          <a:pt x="1587500" y="1071563"/>
                                        </a:lnTo>
                                        <a:lnTo>
                                          <a:pt x="1587500" y="1076855"/>
                                        </a:lnTo>
                                        <a:lnTo>
                                          <a:pt x="1590146" y="1076855"/>
                                        </a:lnTo>
                                        <a:lnTo>
                                          <a:pt x="1590146" y="1079500"/>
                                        </a:lnTo>
                                        <a:lnTo>
                                          <a:pt x="1592792" y="1100667"/>
                                        </a:lnTo>
                                        <a:lnTo>
                                          <a:pt x="1592792" y="1108605"/>
                                        </a:lnTo>
                                        <a:lnTo>
                                          <a:pt x="1592792" y="1111250"/>
                                        </a:lnTo>
                                        <a:lnTo>
                                          <a:pt x="1590146" y="1108605"/>
                                        </a:lnTo>
                                        <a:lnTo>
                                          <a:pt x="1587500" y="1098021"/>
                                        </a:lnTo>
                                        <a:lnTo>
                                          <a:pt x="1587500" y="1111250"/>
                                        </a:lnTo>
                                        <a:lnTo>
                                          <a:pt x="1592792" y="1119188"/>
                                        </a:lnTo>
                                        <a:lnTo>
                                          <a:pt x="1595437" y="1127125"/>
                                        </a:lnTo>
                                        <a:lnTo>
                                          <a:pt x="1595437" y="1132417"/>
                                        </a:lnTo>
                                        <a:lnTo>
                                          <a:pt x="1598083" y="1137709"/>
                                        </a:lnTo>
                                        <a:lnTo>
                                          <a:pt x="1598083" y="1148292"/>
                                        </a:lnTo>
                                        <a:lnTo>
                                          <a:pt x="1587500" y="1172104"/>
                                        </a:lnTo>
                                        <a:lnTo>
                                          <a:pt x="1584854" y="1180042"/>
                                        </a:lnTo>
                                        <a:lnTo>
                                          <a:pt x="1584854" y="1182688"/>
                                        </a:lnTo>
                                        <a:lnTo>
                                          <a:pt x="1584854" y="1185334"/>
                                        </a:lnTo>
                                        <a:lnTo>
                                          <a:pt x="1579562" y="1187979"/>
                                        </a:lnTo>
                                        <a:lnTo>
                                          <a:pt x="1576917" y="1187979"/>
                                        </a:lnTo>
                                        <a:lnTo>
                                          <a:pt x="1574271" y="1187979"/>
                                        </a:lnTo>
                                        <a:lnTo>
                                          <a:pt x="1574271" y="1190625"/>
                                        </a:lnTo>
                                        <a:lnTo>
                                          <a:pt x="1571625" y="1190625"/>
                                        </a:lnTo>
                                        <a:lnTo>
                                          <a:pt x="1568979" y="1190625"/>
                                        </a:lnTo>
                                        <a:lnTo>
                                          <a:pt x="1566333" y="1193271"/>
                                        </a:lnTo>
                                        <a:lnTo>
                                          <a:pt x="1558396" y="1193271"/>
                                        </a:lnTo>
                                        <a:lnTo>
                                          <a:pt x="1553104" y="1190625"/>
                                        </a:lnTo>
                                        <a:lnTo>
                                          <a:pt x="1553104" y="1185334"/>
                                        </a:lnTo>
                                        <a:lnTo>
                                          <a:pt x="1555750" y="1185334"/>
                                        </a:lnTo>
                                        <a:lnTo>
                                          <a:pt x="1558396" y="1187979"/>
                                        </a:lnTo>
                                        <a:lnTo>
                                          <a:pt x="1558396" y="1185334"/>
                                        </a:lnTo>
                                        <a:lnTo>
                                          <a:pt x="1558396" y="1182688"/>
                                        </a:lnTo>
                                        <a:lnTo>
                                          <a:pt x="1561042" y="1180042"/>
                                        </a:lnTo>
                                        <a:lnTo>
                                          <a:pt x="1563687" y="1180042"/>
                                        </a:lnTo>
                                        <a:lnTo>
                                          <a:pt x="1561042" y="1177396"/>
                                        </a:lnTo>
                                        <a:lnTo>
                                          <a:pt x="1555750" y="1174750"/>
                                        </a:lnTo>
                                        <a:lnTo>
                                          <a:pt x="1553104" y="1169459"/>
                                        </a:lnTo>
                                        <a:lnTo>
                                          <a:pt x="1550458" y="1166813"/>
                                        </a:lnTo>
                                        <a:lnTo>
                                          <a:pt x="1545167" y="1166813"/>
                                        </a:lnTo>
                                        <a:lnTo>
                                          <a:pt x="1542521" y="1164167"/>
                                        </a:lnTo>
                                        <a:lnTo>
                                          <a:pt x="1542521" y="1153584"/>
                                        </a:lnTo>
                                        <a:lnTo>
                                          <a:pt x="1539875" y="1145646"/>
                                        </a:lnTo>
                                        <a:lnTo>
                                          <a:pt x="1539875" y="1143000"/>
                                        </a:lnTo>
                                        <a:lnTo>
                                          <a:pt x="1542521" y="1137709"/>
                                        </a:lnTo>
                                        <a:lnTo>
                                          <a:pt x="1542521" y="1135063"/>
                                        </a:lnTo>
                                        <a:lnTo>
                                          <a:pt x="1537229" y="1135063"/>
                                        </a:lnTo>
                                        <a:lnTo>
                                          <a:pt x="1531937" y="1119188"/>
                                        </a:lnTo>
                                        <a:lnTo>
                                          <a:pt x="1531937" y="1111250"/>
                                        </a:lnTo>
                                        <a:lnTo>
                                          <a:pt x="1531937" y="1108605"/>
                                        </a:lnTo>
                                        <a:lnTo>
                                          <a:pt x="1531937" y="1103313"/>
                                        </a:lnTo>
                                        <a:lnTo>
                                          <a:pt x="1531937" y="1100667"/>
                                        </a:lnTo>
                                        <a:lnTo>
                                          <a:pt x="1531937" y="1095375"/>
                                        </a:lnTo>
                                        <a:lnTo>
                                          <a:pt x="1539875" y="1082146"/>
                                        </a:lnTo>
                                        <a:lnTo>
                                          <a:pt x="1542521" y="1071563"/>
                                        </a:lnTo>
                                        <a:lnTo>
                                          <a:pt x="1542521" y="1066271"/>
                                        </a:lnTo>
                                        <a:lnTo>
                                          <a:pt x="1539875" y="1063625"/>
                                        </a:lnTo>
                                        <a:lnTo>
                                          <a:pt x="1534583" y="1058334"/>
                                        </a:lnTo>
                                        <a:lnTo>
                                          <a:pt x="1534583" y="1053042"/>
                                        </a:lnTo>
                                        <a:lnTo>
                                          <a:pt x="1531937" y="1047750"/>
                                        </a:lnTo>
                                        <a:lnTo>
                                          <a:pt x="1526646" y="1045105"/>
                                        </a:lnTo>
                                        <a:lnTo>
                                          <a:pt x="1521354" y="1042459"/>
                                        </a:lnTo>
                                        <a:lnTo>
                                          <a:pt x="1518708" y="1037167"/>
                                        </a:lnTo>
                                        <a:lnTo>
                                          <a:pt x="1513417" y="1037167"/>
                                        </a:lnTo>
                                        <a:lnTo>
                                          <a:pt x="1505479" y="1039813"/>
                                        </a:lnTo>
                                        <a:lnTo>
                                          <a:pt x="1494896" y="1045105"/>
                                        </a:lnTo>
                                        <a:lnTo>
                                          <a:pt x="1489604" y="1045105"/>
                                        </a:lnTo>
                                        <a:lnTo>
                                          <a:pt x="1486958" y="1045105"/>
                                        </a:lnTo>
                                        <a:lnTo>
                                          <a:pt x="1484312" y="1045105"/>
                                        </a:lnTo>
                                        <a:lnTo>
                                          <a:pt x="1479021" y="1047750"/>
                                        </a:lnTo>
                                        <a:lnTo>
                                          <a:pt x="1476375" y="1047750"/>
                                        </a:lnTo>
                                        <a:lnTo>
                                          <a:pt x="1473729" y="1045105"/>
                                        </a:lnTo>
                                        <a:lnTo>
                                          <a:pt x="1476375" y="1042459"/>
                                        </a:lnTo>
                                        <a:lnTo>
                                          <a:pt x="1479021" y="1039813"/>
                                        </a:lnTo>
                                        <a:lnTo>
                                          <a:pt x="1476375" y="1037167"/>
                                        </a:lnTo>
                                        <a:lnTo>
                                          <a:pt x="1447271" y="1031875"/>
                                        </a:lnTo>
                                        <a:lnTo>
                                          <a:pt x="1439333" y="1026584"/>
                                        </a:lnTo>
                                        <a:lnTo>
                                          <a:pt x="1447271" y="1026584"/>
                                        </a:lnTo>
                                        <a:lnTo>
                                          <a:pt x="1457854" y="1023938"/>
                                        </a:lnTo>
                                        <a:lnTo>
                                          <a:pt x="1441979" y="1023938"/>
                                        </a:lnTo>
                                        <a:lnTo>
                                          <a:pt x="1436687" y="1023938"/>
                                        </a:lnTo>
                                        <a:lnTo>
                                          <a:pt x="1434042" y="1023938"/>
                                        </a:lnTo>
                                        <a:lnTo>
                                          <a:pt x="1434042" y="1026584"/>
                                        </a:lnTo>
                                        <a:lnTo>
                                          <a:pt x="1436687" y="1026584"/>
                                        </a:lnTo>
                                        <a:lnTo>
                                          <a:pt x="1434042" y="1029230"/>
                                        </a:lnTo>
                                        <a:lnTo>
                                          <a:pt x="1426104" y="1029230"/>
                                        </a:lnTo>
                                        <a:lnTo>
                                          <a:pt x="1418167" y="1029230"/>
                                        </a:lnTo>
                                        <a:lnTo>
                                          <a:pt x="1410229" y="1023938"/>
                                        </a:lnTo>
                                        <a:lnTo>
                                          <a:pt x="1410229" y="1026584"/>
                                        </a:lnTo>
                                        <a:lnTo>
                                          <a:pt x="1399646" y="1031875"/>
                                        </a:lnTo>
                                        <a:lnTo>
                                          <a:pt x="1394354" y="1031875"/>
                                        </a:lnTo>
                                        <a:lnTo>
                                          <a:pt x="1391708" y="1029230"/>
                                        </a:lnTo>
                                        <a:lnTo>
                                          <a:pt x="1391708" y="1021292"/>
                                        </a:lnTo>
                                        <a:lnTo>
                                          <a:pt x="1389062" y="1031875"/>
                                        </a:lnTo>
                                        <a:lnTo>
                                          <a:pt x="1389062" y="1034521"/>
                                        </a:lnTo>
                                        <a:lnTo>
                                          <a:pt x="1383771" y="1034521"/>
                                        </a:lnTo>
                                        <a:lnTo>
                                          <a:pt x="1370542" y="1034521"/>
                                        </a:lnTo>
                                        <a:lnTo>
                                          <a:pt x="1365250" y="1034521"/>
                                        </a:lnTo>
                                        <a:lnTo>
                                          <a:pt x="1359958" y="1034521"/>
                                        </a:lnTo>
                                        <a:lnTo>
                                          <a:pt x="1352021" y="1031875"/>
                                        </a:lnTo>
                                        <a:lnTo>
                                          <a:pt x="1346729" y="1029230"/>
                                        </a:lnTo>
                                        <a:lnTo>
                                          <a:pt x="1344083" y="1031875"/>
                                        </a:lnTo>
                                        <a:lnTo>
                                          <a:pt x="1344083" y="1037167"/>
                                        </a:lnTo>
                                        <a:lnTo>
                                          <a:pt x="1344083" y="1039813"/>
                                        </a:lnTo>
                                        <a:lnTo>
                                          <a:pt x="1352021" y="1039813"/>
                                        </a:lnTo>
                                        <a:lnTo>
                                          <a:pt x="1359958" y="1042459"/>
                                        </a:lnTo>
                                        <a:lnTo>
                                          <a:pt x="1359958" y="1045105"/>
                                        </a:lnTo>
                                        <a:lnTo>
                                          <a:pt x="1359958" y="1047750"/>
                                        </a:lnTo>
                                        <a:lnTo>
                                          <a:pt x="1359958" y="1050396"/>
                                        </a:lnTo>
                                        <a:lnTo>
                                          <a:pt x="1362604" y="1053042"/>
                                        </a:lnTo>
                                        <a:lnTo>
                                          <a:pt x="1365250" y="1053042"/>
                                        </a:lnTo>
                                        <a:lnTo>
                                          <a:pt x="1365250" y="1055688"/>
                                        </a:lnTo>
                                        <a:lnTo>
                                          <a:pt x="1365250" y="1058334"/>
                                        </a:lnTo>
                                        <a:lnTo>
                                          <a:pt x="1367896" y="1060980"/>
                                        </a:lnTo>
                                        <a:lnTo>
                                          <a:pt x="1370542" y="1063625"/>
                                        </a:lnTo>
                                        <a:lnTo>
                                          <a:pt x="1367896" y="1066271"/>
                                        </a:lnTo>
                                        <a:lnTo>
                                          <a:pt x="1359958" y="1066271"/>
                                        </a:lnTo>
                                        <a:lnTo>
                                          <a:pt x="1357312" y="1063625"/>
                                        </a:lnTo>
                                        <a:lnTo>
                                          <a:pt x="1354667" y="1060980"/>
                                        </a:lnTo>
                                        <a:lnTo>
                                          <a:pt x="1352021" y="1063625"/>
                                        </a:lnTo>
                                        <a:lnTo>
                                          <a:pt x="1349375" y="1066271"/>
                                        </a:lnTo>
                                        <a:lnTo>
                                          <a:pt x="1344083" y="1063625"/>
                                        </a:lnTo>
                                        <a:lnTo>
                                          <a:pt x="1338792" y="1060980"/>
                                        </a:lnTo>
                                        <a:lnTo>
                                          <a:pt x="1330854" y="1060980"/>
                                        </a:lnTo>
                                        <a:lnTo>
                                          <a:pt x="1322917" y="1058334"/>
                                        </a:lnTo>
                                        <a:lnTo>
                                          <a:pt x="1320271" y="1055688"/>
                                        </a:lnTo>
                                        <a:lnTo>
                                          <a:pt x="1317625" y="1053042"/>
                                        </a:lnTo>
                                        <a:lnTo>
                                          <a:pt x="1317625" y="1055688"/>
                                        </a:lnTo>
                                        <a:lnTo>
                                          <a:pt x="1314979" y="1055688"/>
                                        </a:lnTo>
                                        <a:lnTo>
                                          <a:pt x="1312333" y="1053042"/>
                                        </a:lnTo>
                                        <a:lnTo>
                                          <a:pt x="1309687" y="1047750"/>
                                        </a:lnTo>
                                        <a:lnTo>
                                          <a:pt x="1307042" y="1047750"/>
                                        </a:lnTo>
                                        <a:lnTo>
                                          <a:pt x="1304396" y="1050396"/>
                                        </a:lnTo>
                                        <a:lnTo>
                                          <a:pt x="1299104" y="1053042"/>
                                        </a:lnTo>
                                        <a:lnTo>
                                          <a:pt x="1293812" y="1053042"/>
                                        </a:lnTo>
                                        <a:lnTo>
                                          <a:pt x="1288521" y="1053042"/>
                                        </a:lnTo>
                                        <a:lnTo>
                                          <a:pt x="1277937" y="1047750"/>
                                        </a:lnTo>
                                        <a:lnTo>
                                          <a:pt x="1272646" y="1045105"/>
                                        </a:lnTo>
                                        <a:lnTo>
                                          <a:pt x="1267354" y="1042459"/>
                                        </a:lnTo>
                                        <a:lnTo>
                                          <a:pt x="1259417" y="1045105"/>
                                        </a:lnTo>
                                        <a:lnTo>
                                          <a:pt x="1248833" y="1050396"/>
                                        </a:lnTo>
                                        <a:lnTo>
                                          <a:pt x="1232958" y="1060980"/>
                                        </a:lnTo>
                                        <a:lnTo>
                                          <a:pt x="1227667" y="1063625"/>
                                        </a:lnTo>
                                        <a:lnTo>
                                          <a:pt x="1230312" y="1060980"/>
                                        </a:lnTo>
                                        <a:lnTo>
                                          <a:pt x="1230312" y="1058334"/>
                                        </a:lnTo>
                                        <a:lnTo>
                                          <a:pt x="1230312" y="1055688"/>
                                        </a:lnTo>
                                        <a:lnTo>
                                          <a:pt x="1230312" y="1050396"/>
                                        </a:lnTo>
                                        <a:lnTo>
                                          <a:pt x="1235604" y="1045105"/>
                                        </a:lnTo>
                                        <a:lnTo>
                                          <a:pt x="1225021" y="1050396"/>
                                        </a:lnTo>
                                        <a:lnTo>
                                          <a:pt x="1225021" y="1053042"/>
                                        </a:lnTo>
                                        <a:lnTo>
                                          <a:pt x="1225021" y="1055688"/>
                                        </a:lnTo>
                                        <a:lnTo>
                                          <a:pt x="1222375" y="1058334"/>
                                        </a:lnTo>
                                        <a:lnTo>
                                          <a:pt x="1222375" y="1060980"/>
                                        </a:lnTo>
                                        <a:lnTo>
                                          <a:pt x="1225021" y="1063625"/>
                                        </a:lnTo>
                                        <a:lnTo>
                                          <a:pt x="1222375" y="1066271"/>
                                        </a:lnTo>
                                        <a:lnTo>
                                          <a:pt x="1214437" y="1068917"/>
                                        </a:lnTo>
                                        <a:lnTo>
                                          <a:pt x="1209146" y="1071563"/>
                                        </a:lnTo>
                                        <a:lnTo>
                                          <a:pt x="1203854" y="1076855"/>
                                        </a:lnTo>
                                        <a:lnTo>
                                          <a:pt x="1198562" y="1079500"/>
                                        </a:lnTo>
                                        <a:lnTo>
                                          <a:pt x="1195917" y="1079500"/>
                                        </a:lnTo>
                                        <a:lnTo>
                                          <a:pt x="1193271" y="1079500"/>
                                        </a:lnTo>
                                        <a:lnTo>
                                          <a:pt x="1190625" y="1079500"/>
                                        </a:lnTo>
                                        <a:lnTo>
                                          <a:pt x="1187979" y="1082146"/>
                                        </a:lnTo>
                                        <a:lnTo>
                                          <a:pt x="1185333" y="1082146"/>
                                        </a:lnTo>
                                        <a:lnTo>
                                          <a:pt x="1180042" y="1079500"/>
                                        </a:lnTo>
                                        <a:lnTo>
                                          <a:pt x="1180042" y="1082146"/>
                                        </a:lnTo>
                                        <a:lnTo>
                                          <a:pt x="1180042" y="1084792"/>
                                        </a:lnTo>
                                        <a:lnTo>
                                          <a:pt x="1177396" y="1084792"/>
                                        </a:lnTo>
                                        <a:lnTo>
                                          <a:pt x="1177396" y="1087438"/>
                                        </a:lnTo>
                                        <a:lnTo>
                                          <a:pt x="1177396" y="1092730"/>
                                        </a:lnTo>
                                        <a:lnTo>
                                          <a:pt x="1174750" y="1095375"/>
                                        </a:lnTo>
                                        <a:lnTo>
                                          <a:pt x="1169458" y="1092730"/>
                                        </a:lnTo>
                                        <a:lnTo>
                                          <a:pt x="1169458" y="1095375"/>
                                        </a:lnTo>
                                        <a:lnTo>
                                          <a:pt x="1166812" y="1100667"/>
                                        </a:lnTo>
                                        <a:lnTo>
                                          <a:pt x="1164167" y="1105959"/>
                                        </a:lnTo>
                                        <a:lnTo>
                                          <a:pt x="1158875" y="1108605"/>
                                        </a:lnTo>
                                        <a:lnTo>
                                          <a:pt x="1156229" y="1111250"/>
                                        </a:lnTo>
                                        <a:lnTo>
                                          <a:pt x="1150937" y="1113896"/>
                                        </a:lnTo>
                                        <a:lnTo>
                                          <a:pt x="1148292" y="1119188"/>
                                        </a:lnTo>
                                        <a:lnTo>
                                          <a:pt x="1145646" y="1119188"/>
                                        </a:lnTo>
                                        <a:lnTo>
                                          <a:pt x="1143000" y="1119188"/>
                                        </a:lnTo>
                                        <a:lnTo>
                                          <a:pt x="1143000" y="1121834"/>
                                        </a:lnTo>
                                        <a:lnTo>
                                          <a:pt x="1140354" y="1121834"/>
                                        </a:lnTo>
                                        <a:lnTo>
                                          <a:pt x="1135062" y="1121834"/>
                                        </a:lnTo>
                                        <a:lnTo>
                                          <a:pt x="1135062" y="1124480"/>
                                        </a:lnTo>
                                        <a:lnTo>
                                          <a:pt x="1135062" y="1127125"/>
                                        </a:lnTo>
                                        <a:lnTo>
                                          <a:pt x="1135062" y="1135063"/>
                                        </a:lnTo>
                                        <a:lnTo>
                                          <a:pt x="1132417" y="1143000"/>
                                        </a:lnTo>
                                        <a:lnTo>
                                          <a:pt x="1129771" y="1145646"/>
                                        </a:lnTo>
                                        <a:lnTo>
                                          <a:pt x="1127125" y="1148292"/>
                                        </a:lnTo>
                                        <a:lnTo>
                                          <a:pt x="1127125" y="1153584"/>
                                        </a:lnTo>
                                        <a:lnTo>
                                          <a:pt x="1129771" y="1156229"/>
                                        </a:lnTo>
                                        <a:lnTo>
                                          <a:pt x="1127125" y="1158875"/>
                                        </a:lnTo>
                                        <a:lnTo>
                                          <a:pt x="1127125" y="1164167"/>
                                        </a:lnTo>
                                        <a:lnTo>
                                          <a:pt x="1124479" y="1172104"/>
                                        </a:lnTo>
                                        <a:lnTo>
                                          <a:pt x="1098021" y="1166813"/>
                                        </a:lnTo>
                                        <a:lnTo>
                                          <a:pt x="1084791" y="1161521"/>
                                        </a:lnTo>
                                        <a:lnTo>
                                          <a:pt x="1082146" y="1158875"/>
                                        </a:lnTo>
                                        <a:lnTo>
                                          <a:pt x="1079500" y="1156229"/>
                                        </a:lnTo>
                                        <a:lnTo>
                                          <a:pt x="1079500" y="1145646"/>
                                        </a:lnTo>
                                        <a:lnTo>
                                          <a:pt x="1076854" y="1135063"/>
                                        </a:lnTo>
                                        <a:lnTo>
                                          <a:pt x="1074208" y="1129771"/>
                                        </a:lnTo>
                                        <a:lnTo>
                                          <a:pt x="1068916" y="1119188"/>
                                        </a:lnTo>
                                        <a:lnTo>
                                          <a:pt x="1063625" y="1092730"/>
                                        </a:lnTo>
                                        <a:lnTo>
                                          <a:pt x="1058333" y="1071563"/>
                                        </a:lnTo>
                                        <a:lnTo>
                                          <a:pt x="1050396" y="1060980"/>
                                        </a:lnTo>
                                        <a:lnTo>
                                          <a:pt x="1045104" y="1053042"/>
                                        </a:lnTo>
                                        <a:lnTo>
                                          <a:pt x="1034521" y="1050396"/>
                                        </a:lnTo>
                                        <a:lnTo>
                                          <a:pt x="1021291" y="1045105"/>
                                        </a:lnTo>
                                        <a:lnTo>
                                          <a:pt x="1018646" y="1045105"/>
                                        </a:lnTo>
                                        <a:lnTo>
                                          <a:pt x="1016000" y="1045105"/>
                                        </a:lnTo>
                                        <a:lnTo>
                                          <a:pt x="1013354" y="1047750"/>
                                        </a:lnTo>
                                        <a:lnTo>
                                          <a:pt x="1008062" y="1047750"/>
                                        </a:lnTo>
                                        <a:lnTo>
                                          <a:pt x="1005416" y="1050396"/>
                                        </a:lnTo>
                                        <a:lnTo>
                                          <a:pt x="1000125" y="1055688"/>
                                        </a:lnTo>
                                        <a:lnTo>
                                          <a:pt x="994833" y="1063625"/>
                                        </a:lnTo>
                                        <a:lnTo>
                                          <a:pt x="989541" y="1063625"/>
                                        </a:lnTo>
                                        <a:lnTo>
                                          <a:pt x="981604" y="1060980"/>
                                        </a:lnTo>
                                        <a:lnTo>
                                          <a:pt x="971021" y="1053042"/>
                                        </a:lnTo>
                                        <a:lnTo>
                                          <a:pt x="965729" y="1047750"/>
                                        </a:lnTo>
                                        <a:lnTo>
                                          <a:pt x="965729" y="1045105"/>
                                        </a:lnTo>
                                        <a:lnTo>
                                          <a:pt x="965729" y="1034521"/>
                                        </a:lnTo>
                                        <a:lnTo>
                                          <a:pt x="965729" y="1026584"/>
                                        </a:lnTo>
                                        <a:lnTo>
                                          <a:pt x="963083" y="1021292"/>
                                        </a:lnTo>
                                        <a:lnTo>
                                          <a:pt x="957791" y="1016000"/>
                                        </a:lnTo>
                                        <a:lnTo>
                                          <a:pt x="952500" y="1010709"/>
                                        </a:lnTo>
                                        <a:lnTo>
                                          <a:pt x="949854" y="1008063"/>
                                        </a:lnTo>
                                        <a:lnTo>
                                          <a:pt x="949854" y="1005417"/>
                                        </a:lnTo>
                                        <a:lnTo>
                                          <a:pt x="944562" y="1000125"/>
                                        </a:lnTo>
                                        <a:lnTo>
                                          <a:pt x="933979" y="992188"/>
                                        </a:lnTo>
                                        <a:lnTo>
                                          <a:pt x="931333" y="989542"/>
                                        </a:lnTo>
                                        <a:lnTo>
                                          <a:pt x="889000" y="989542"/>
                                        </a:lnTo>
                                        <a:lnTo>
                                          <a:pt x="881062" y="1000125"/>
                                        </a:lnTo>
                                        <a:lnTo>
                                          <a:pt x="817562" y="1000125"/>
                                        </a:lnTo>
                                        <a:lnTo>
                                          <a:pt x="732896" y="965730"/>
                                        </a:lnTo>
                                        <a:lnTo>
                                          <a:pt x="732896" y="960438"/>
                                        </a:lnTo>
                                        <a:lnTo>
                                          <a:pt x="706437" y="960438"/>
                                        </a:lnTo>
                                        <a:lnTo>
                                          <a:pt x="672041" y="960438"/>
                                        </a:lnTo>
                                        <a:lnTo>
                                          <a:pt x="674687" y="955146"/>
                                        </a:lnTo>
                                        <a:lnTo>
                                          <a:pt x="672041" y="952500"/>
                                        </a:lnTo>
                                        <a:lnTo>
                                          <a:pt x="669396" y="952500"/>
                                        </a:lnTo>
                                        <a:lnTo>
                                          <a:pt x="672041" y="947209"/>
                                        </a:lnTo>
                                        <a:lnTo>
                                          <a:pt x="674687" y="944563"/>
                                        </a:lnTo>
                                        <a:lnTo>
                                          <a:pt x="672041" y="939271"/>
                                        </a:lnTo>
                                        <a:lnTo>
                                          <a:pt x="656166" y="926042"/>
                                        </a:lnTo>
                                        <a:lnTo>
                                          <a:pt x="648229" y="920750"/>
                                        </a:lnTo>
                                        <a:lnTo>
                                          <a:pt x="642937" y="918105"/>
                                        </a:lnTo>
                                        <a:lnTo>
                                          <a:pt x="637646" y="915459"/>
                                        </a:lnTo>
                                        <a:lnTo>
                                          <a:pt x="637646" y="912813"/>
                                        </a:lnTo>
                                        <a:lnTo>
                                          <a:pt x="635000" y="907521"/>
                                        </a:lnTo>
                                        <a:lnTo>
                                          <a:pt x="629708" y="904875"/>
                                        </a:lnTo>
                                        <a:lnTo>
                                          <a:pt x="619125" y="902230"/>
                                        </a:lnTo>
                                        <a:lnTo>
                                          <a:pt x="611187" y="899584"/>
                                        </a:lnTo>
                                        <a:lnTo>
                                          <a:pt x="608541" y="896938"/>
                                        </a:lnTo>
                                        <a:lnTo>
                                          <a:pt x="608541" y="891646"/>
                                        </a:lnTo>
                                        <a:lnTo>
                                          <a:pt x="611187" y="886355"/>
                                        </a:lnTo>
                                        <a:lnTo>
                                          <a:pt x="608541" y="883709"/>
                                        </a:lnTo>
                                        <a:lnTo>
                                          <a:pt x="608541" y="881063"/>
                                        </a:lnTo>
                                        <a:lnTo>
                                          <a:pt x="608541" y="878417"/>
                                        </a:lnTo>
                                        <a:lnTo>
                                          <a:pt x="608541" y="875771"/>
                                        </a:lnTo>
                                        <a:lnTo>
                                          <a:pt x="605896" y="873125"/>
                                        </a:lnTo>
                                        <a:lnTo>
                                          <a:pt x="603250" y="870480"/>
                                        </a:lnTo>
                                        <a:lnTo>
                                          <a:pt x="605896" y="867834"/>
                                        </a:lnTo>
                                        <a:lnTo>
                                          <a:pt x="608541" y="862542"/>
                                        </a:lnTo>
                                        <a:lnTo>
                                          <a:pt x="608541" y="859896"/>
                                        </a:lnTo>
                                        <a:lnTo>
                                          <a:pt x="603250" y="851959"/>
                                        </a:lnTo>
                                        <a:lnTo>
                                          <a:pt x="600604" y="844021"/>
                                        </a:lnTo>
                                        <a:lnTo>
                                          <a:pt x="600604" y="841375"/>
                                        </a:lnTo>
                                        <a:lnTo>
                                          <a:pt x="605896" y="838730"/>
                                        </a:lnTo>
                                        <a:lnTo>
                                          <a:pt x="608541" y="833438"/>
                                        </a:lnTo>
                                        <a:lnTo>
                                          <a:pt x="608541" y="830792"/>
                                        </a:lnTo>
                                        <a:lnTo>
                                          <a:pt x="603250" y="822855"/>
                                        </a:lnTo>
                                        <a:lnTo>
                                          <a:pt x="597958" y="812271"/>
                                        </a:lnTo>
                                        <a:lnTo>
                                          <a:pt x="597958" y="809625"/>
                                        </a:lnTo>
                                        <a:lnTo>
                                          <a:pt x="603250" y="806980"/>
                                        </a:lnTo>
                                        <a:lnTo>
                                          <a:pt x="611187" y="801688"/>
                                        </a:lnTo>
                                        <a:lnTo>
                                          <a:pt x="613833" y="799042"/>
                                        </a:lnTo>
                                        <a:lnTo>
                                          <a:pt x="616479" y="796396"/>
                                        </a:lnTo>
                                        <a:lnTo>
                                          <a:pt x="613833" y="796396"/>
                                        </a:lnTo>
                                        <a:lnTo>
                                          <a:pt x="608541" y="799042"/>
                                        </a:lnTo>
                                        <a:lnTo>
                                          <a:pt x="605896" y="801688"/>
                                        </a:lnTo>
                                        <a:lnTo>
                                          <a:pt x="603250" y="801688"/>
                                        </a:lnTo>
                                        <a:lnTo>
                                          <a:pt x="600604" y="799042"/>
                                        </a:lnTo>
                                        <a:lnTo>
                                          <a:pt x="597958" y="793750"/>
                                        </a:lnTo>
                                        <a:lnTo>
                                          <a:pt x="597958" y="788459"/>
                                        </a:lnTo>
                                        <a:lnTo>
                                          <a:pt x="597958" y="783167"/>
                                        </a:lnTo>
                                        <a:lnTo>
                                          <a:pt x="600604" y="777875"/>
                                        </a:lnTo>
                                        <a:lnTo>
                                          <a:pt x="600604" y="769938"/>
                                        </a:lnTo>
                                        <a:lnTo>
                                          <a:pt x="600604" y="756709"/>
                                        </a:lnTo>
                                        <a:lnTo>
                                          <a:pt x="605896" y="743480"/>
                                        </a:lnTo>
                                        <a:lnTo>
                                          <a:pt x="605896" y="738188"/>
                                        </a:lnTo>
                                        <a:lnTo>
                                          <a:pt x="605896" y="735542"/>
                                        </a:lnTo>
                                        <a:lnTo>
                                          <a:pt x="603250" y="730251"/>
                                        </a:lnTo>
                                        <a:lnTo>
                                          <a:pt x="603250" y="727605"/>
                                        </a:lnTo>
                                        <a:lnTo>
                                          <a:pt x="603250" y="722313"/>
                                        </a:lnTo>
                                        <a:lnTo>
                                          <a:pt x="605896" y="717021"/>
                                        </a:lnTo>
                                        <a:lnTo>
                                          <a:pt x="613833" y="711730"/>
                                        </a:lnTo>
                                        <a:lnTo>
                                          <a:pt x="619125" y="706438"/>
                                        </a:lnTo>
                                        <a:lnTo>
                                          <a:pt x="616479" y="703792"/>
                                        </a:lnTo>
                                        <a:lnTo>
                                          <a:pt x="619125" y="701146"/>
                                        </a:lnTo>
                                        <a:lnTo>
                                          <a:pt x="629708" y="695855"/>
                                        </a:lnTo>
                                        <a:lnTo>
                                          <a:pt x="629708" y="690563"/>
                                        </a:lnTo>
                                        <a:lnTo>
                                          <a:pt x="629708" y="674688"/>
                                        </a:lnTo>
                                        <a:lnTo>
                                          <a:pt x="632354" y="669396"/>
                                        </a:lnTo>
                                        <a:lnTo>
                                          <a:pt x="635000" y="661459"/>
                                        </a:lnTo>
                                        <a:lnTo>
                                          <a:pt x="640291" y="653521"/>
                                        </a:lnTo>
                                        <a:lnTo>
                                          <a:pt x="648229" y="648230"/>
                                        </a:lnTo>
                                        <a:lnTo>
                                          <a:pt x="677333" y="616480"/>
                                        </a:lnTo>
                                        <a:lnTo>
                                          <a:pt x="695854" y="590021"/>
                                        </a:lnTo>
                                        <a:lnTo>
                                          <a:pt x="711729" y="568855"/>
                                        </a:lnTo>
                                        <a:lnTo>
                                          <a:pt x="727604" y="571501"/>
                                        </a:lnTo>
                                        <a:lnTo>
                                          <a:pt x="735541" y="574146"/>
                                        </a:lnTo>
                                        <a:lnTo>
                                          <a:pt x="730250" y="568855"/>
                                        </a:lnTo>
                                        <a:lnTo>
                                          <a:pt x="722312" y="566209"/>
                                        </a:lnTo>
                                        <a:lnTo>
                                          <a:pt x="717021" y="563563"/>
                                        </a:lnTo>
                                        <a:lnTo>
                                          <a:pt x="714375" y="560917"/>
                                        </a:lnTo>
                                        <a:lnTo>
                                          <a:pt x="717021" y="558271"/>
                                        </a:lnTo>
                                        <a:lnTo>
                                          <a:pt x="727604" y="542396"/>
                                        </a:lnTo>
                                        <a:lnTo>
                                          <a:pt x="730250" y="534459"/>
                                        </a:lnTo>
                                        <a:lnTo>
                                          <a:pt x="732896" y="526521"/>
                                        </a:lnTo>
                                        <a:lnTo>
                                          <a:pt x="732896" y="518584"/>
                                        </a:lnTo>
                                        <a:lnTo>
                                          <a:pt x="735541" y="508001"/>
                                        </a:lnTo>
                                        <a:lnTo>
                                          <a:pt x="740833" y="502709"/>
                                        </a:lnTo>
                                        <a:lnTo>
                                          <a:pt x="746125" y="502709"/>
                                        </a:lnTo>
                                        <a:lnTo>
                                          <a:pt x="751416" y="505355"/>
                                        </a:lnTo>
                                        <a:lnTo>
                                          <a:pt x="762000" y="508001"/>
                                        </a:lnTo>
                                        <a:lnTo>
                                          <a:pt x="772583" y="508001"/>
                                        </a:lnTo>
                                        <a:lnTo>
                                          <a:pt x="780521" y="508001"/>
                                        </a:lnTo>
                                        <a:lnTo>
                                          <a:pt x="783166" y="510646"/>
                                        </a:lnTo>
                                        <a:lnTo>
                                          <a:pt x="783166" y="513292"/>
                                        </a:lnTo>
                                        <a:lnTo>
                                          <a:pt x="780521" y="518584"/>
                                        </a:lnTo>
                                        <a:lnTo>
                                          <a:pt x="780521" y="523876"/>
                                        </a:lnTo>
                                        <a:lnTo>
                                          <a:pt x="783166" y="526521"/>
                                        </a:lnTo>
                                        <a:lnTo>
                                          <a:pt x="788458" y="515938"/>
                                        </a:lnTo>
                                        <a:lnTo>
                                          <a:pt x="793750" y="510646"/>
                                        </a:lnTo>
                                        <a:lnTo>
                                          <a:pt x="796396" y="508001"/>
                                        </a:lnTo>
                                        <a:lnTo>
                                          <a:pt x="804333" y="505355"/>
                                        </a:lnTo>
                                        <a:lnTo>
                                          <a:pt x="806979" y="505355"/>
                                        </a:lnTo>
                                        <a:lnTo>
                                          <a:pt x="801687" y="500063"/>
                                        </a:lnTo>
                                        <a:lnTo>
                                          <a:pt x="799041" y="494771"/>
                                        </a:lnTo>
                                        <a:lnTo>
                                          <a:pt x="801687" y="494771"/>
                                        </a:lnTo>
                                        <a:lnTo>
                                          <a:pt x="806979" y="492126"/>
                                        </a:lnTo>
                                        <a:lnTo>
                                          <a:pt x="801687" y="486834"/>
                                        </a:lnTo>
                                        <a:lnTo>
                                          <a:pt x="1444625" y="486834"/>
                                        </a:lnTo>
                                        <a:lnTo>
                                          <a:pt x="1452562" y="484188"/>
                                        </a:lnTo>
                                        <a:lnTo>
                                          <a:pt x="1457854" y="476251"/>
                                        </a:lnTo>
                                        <a:lnTo>
                                          <a:pt x="1463146" y="470959"/>
                                        </a:lnTo>
                                        <a:lnTo>
                                          <a:pt x="1465792" y="470959"/>
                                        </a:lnTo>
                                        <a:close/>
                                        <a:moveTo>
                                          <a:pt x="296333" y="272521"/>
                                        </a:moveTo>
                                        <a:lnTo>
                                          <a:pt x="301625" y="275167"/>
                                        </a:lnTo>
                                        <a:lnTo>
                                          <a:pt x="306916" y="277813"/>
                                        </a:lnTo>
                                        <a:lnTo>
                                          <a:pt x="312208" y="277813"/>
                                        </a:lnTo>
                                        <a:lnTo>
                                          <a:pt x="317500" y="277813"/>
                                        </a:lnTo>
                                        <a:lnTo>
                                          <a:pt x="317500" y="280459"/>
                                        </a:lnTo>
                                        <a:lnTo>
                                          <a:pt x="320145" y="283105"/>
                                        </a:lnTo>
                                        <a:lnTo>
                                          <a:pt x="322791" y="285750"/>
                                        </a:lnTo>
                                        <a:lnTo>
                                          <a:pt x="325437" y="285750"/>
                                        </a:lnTo>
                                        <a:lnTo>
                                          <a:pt x="322791" y="288396"/>
                                        </a:lnTo>
                                        <a:lnTo>
                                          <a:pt x="320145" y="288396"/>
                                        </a:lnTo>
                                        <a:lnTo>
                                          <a:pt x="320145" y="291042"/>
                                        </a:lnTo>
                                        <a:lnTo>
                                          <a:pt x="322791" y="296334"/>
                                        </a:lnTo>
                                        <a:lnTo>
                                          <a:pt x="322791" y="298980"/>
                                        </a:lnTo>
                                        <a:lnTo>
                                          <a:pt x="317500" y="298980"/>
                                        </a:lnTo>
                                        <a:lnTo>
                                          <a:pt x="304270" y="298980"/>
                                        </a:lnTo>
                                        <a:lnTo>
                                          <a:pt x="312208" y="301626"/>
                                        </a:lnTo>
                                        <a:lnTo>
                                          <a:pt x="309562" y="304271"/>
                                        </a:lnTo>
                                        <a:lnTo>
                                          <a:pt x="304270" y="306917"/>
                                        </a:lnTo>
                                        <a:lnTo>
                                          <a:pt x="296333" y="306917"/>
                                        </a:lnTo>
                                        <a:lnTo>
                                          <a:pt x="291041" y="306917"/>
                                        </a:lnTo>
                                        <a:lnTo>
                                          <a:pt x="285750" y="306917"/>
                                        </a:lnTo>
                                        <a:lnTo>
                                          <a:pt x="283104" y="306917"/>
                                        </a:lnTo>
                                        <a:lnTo>
                                          <a:pt x="269875" y="312209"/>
                                        </a:lnTo>
                                        <a:lnTo>
                                          <a:pt x="256646" y="312209"/>
                                        </a:lnTo>
                                        <a:lnTo>
                                          <a:pt x="251354" y="312209"/>
                                        </a:lnTo>
                                        <a:lnTo>
                                          <a:pt x="259291" y="309563"/>
                                        </a:lnTo>
                                        <a:lnTo>
                                          <a:pt x="264583" y="304271"/>
                                        </a:lnTo>
                                        <a:lnTo>
                                          <a:pt x="256646" y="306917"/>
                                        </a:lnTo>
                                        <a:lnTo>
                                          <a:pt x="246062" y="306917"/>
                                        </a:lnTo>
                                        <a:lnTo>
                                          <a:pt x="246062" y="304271"/>
                                        </a:lnTo>
                                        <a:lnTo>
                                          <a:pt x="246062" y="301626"/>
                                        </a:lnTo>
                                        <a:lnTo>
                                          <a:pt x="243417" y="298980"/>
                                        </a:lnTo>
                                        <a:lnTo>
                                          <a:pt x="238125" y="296334"/>
                                        </a:lnTo>
                                        <a:lnTo>
                                          <a:pt x="235479" y="293688"/>
                                        </a:lnTo>
                                        <a:lnTo>
                                          <a:pt x="238125" y="293688"/>
                                        </a:lnTo>
                                        <a:lnTo>
                                          <a:pt x="246062" y="288396"/>
                                        </a:lnTo>
                                        <a:lnTo>
                                          <a:pt x="267229" y="285750"/>
                                        </a:lnTo>
                                        <a:lnTo>
                                          <a:pt x="269875" y="285750"/>
                                        </a:lnTo>
                                        <a:lnTo>
                                          <a:pt x="272521" y="285750"/>
                                        </a:lnTo>
                                        <a:lnTo>
                                          <a:pt x="272521" y="288396"/>
                                        </a:lnTo>
                                        <a:lnTo>
                                          <a:pt x="275166" y="288396"/>
                                        </a:lnTo>
                                        <a:lnTo>
                                          <a:pt x="277812" y="285750"/>
                                        </a:lnTo>
                                        <a:lnTo>
                                          <a:pt x="275166" y="285750"/>
                                        </a:lnTo>
                                        <a:lnTo>
                                          <a:pt x="275166" y="283105"/>
                                        </a:lnTo>
                                        <a:lnTo>
                                          <a:pt x="275166" y="280459"/>
                                        </a:lnTo>
                                        <a:lnTo>
                                          <a:pt x="280458" y="280459"/>
                                        </a:lnTo>
                                        <a:lnTo>
                                          <a:pt x="283104" y="280459"/>
                                        </a:lnTo>
                                        <a:lnTo>
                                          <a:pt x="283104" y="283105"/>
                                        </a:lnTo>
                                        <a:lnTo>
                                          <a:pt x="285750" y="280459"/>
                                        </a:lnTo>
                                        <a:lnTo>
                                          <a:pt x="291041" y="275167"/>
                                        </a:lnTo>
                                        <a:close/>
                                        <a:moveTo>
                                          <a:pt x="669396" y="0"/>
                                        </a:moveTo>
                                        <a:lnTo>
                                          <a:pt x="693208" y="0"/>
                                        </a:lnTo>
                                        <a:lnTo>
                                          <a:pt x="706437" y="0"/>
                                        </a:lnTo>
                                        <a:lnTo>
                                          <a:pt x="706437" y="2646"/>
                                        </a:lnTo>
                                        <a:lnTo>
                                          <a:pt x="703792" y="2646"/>
                                        </a:lnTo>
                                        <a:lnTo>
                                          <a:pt x="701146" y="7937"/>
                                        </a:lnTo>
                                        <a:lnTo>
                                          <a:pt x="706437" y="7937"/>
                                        </a:lnTo>
                                        <a:lnTo>
                                          <a:pt x="717021" y="5292"/>
                                        </a:lnTo>
                                        <a:lnTo>
                                          <a:pt x="714375" y="2646"/>
                                        </a:lnTo>
                                        <a:lnTo>
                                          <a:pt x="711729" y="0"/>
                                        </a:lnTo>
                                        <a:lnTo>
                                          <a:pt x="714375" y="0"/>
                                        </a:lnTo>
                                        <a:lnTo>
                                          <a:pt x="722312" y="0"/>
                                        </a:lnTo>
                                        <a:lnTo>
                                          <a:pt x="727604" y="2646"/>
                                        </a:lnTo>
                                        <a:lnTo>
                                          <a:pt x="732896" y="2646"/>
                                        </a:lnTo>
                                        <a:lnTo>
                                          <a:pt x="748771" y="2646"/>
                                        </a:lnTo>
                                        <a:lnTo>
                                          <a:pt x="764646" y="2646"/>
                                        </a:lnTo>
                                        <a:lnTo>
                                          <a:pt x="767292" y="2646"/>
                                        </a:lnTo>
                                        <a:lnTo>
                                          <a:pt x="767292" y="5292"/>
                                        </a:lnTo>
                                        <a:lnTo>
                                          <a:pt x="762000" y="7937"/>
                                        </a:lnTo>
                                        <a:lnTo>
                                          <a:pt x="751417" y="13229"/>
                                        </a:lnTo>
                                        <a:lnTo>
                                          <a:pt x="762000" y="15875"/>
                                        </a:lnTo>
                                        <a:lnTo>
                                          <a:pt x="769937" y="15875"/>
                                        </a:lnTo>
                                        <a:lnTo>
                                          <a:pt x="780521" y="13229"/>
                                        </a:lnTo>
                                        <a:lnTo>
                                          <a:pt x="788458" y="10583"/>
                                        </a:lnTo>
                                        <a:lnTo>
                                          <a:pt x="791104" y="10583"/>
                                        </a:lnTo>
                                        <a:lnTo>
                                          <a:pt x="796396" y="10583"/>
                                        </a:lnTo>
                                        <a:lnTo>
                                          <a:pt x="804333" y="13229"/>
                                        </a:lnTo>
                                        <a:lnTo>
                                          <a:pt x="809625" y="13229"/>
                                        </a:lnTo>
                                        <a:lnTo>
                                          <a:pt x="814917" y="13229"/>
                                        </a:lnTo>
                                        <a:lnTo>
                                          <a:pt x="825500" y="13229"/>
                                        </a:lnTo>
                                        <a:lnTo>
                                          <a:pt x="833437" y="13229"/>
                                        </a:lnTo>
                                        <a:lnTo>
                                          <a:pt x="844021" y="13229"/>
                                        </a:lnTo>
                                        <a:lnTo>
                                          <a:pt x="859896" y="13229"/>
                                        </a:lnTo>
                                        <a:lnTo>
                                          <a:pt x="889000" y="23812"/>
                                        </a:lnTo>
                                        <a:lnTo>
                                          <a:pt x="891646" y="18521"/>
                                        </a:lnTo>
                                        <a:lnTo>
                                          <a:pt x="894291" y="13229"/>
                                        </a:lnTo>
                                        <a:lnTo>
                                          <a:pt x="899583" y="10583"/>
                                        </a:lnTo>
                                        <a:lnTo>
                                          <a:pt x="902229" y="10583"/>
                                        </a:lnTo>
                                        <a:lnTo>
                                          <a:pt x="907521" y="10583"/>
                                        </a:lnTo>
                                        <a:lnTo>
                                          <a:pt x="912812" y="13229"/>
                                        </a:lnTo>
                                        <a:lnTo>
                                          <a:pt x="915458" y="18521"/>
                                        </a:lnTo>
                                        <a:lnTo>
                                          <a:pt x="920750" y="18521"/>
                                        </a:lnTo>
                                        <a:lnTo>
                                          <a:pt x="928687" y="18521"/>
                                        </a:lnTo>
                                        <a:lnTo>
                                          <a:pt x="939271" y="21167"/>
                                        </a:lnTo>
                                        <a:lnTo>
                                          <a:pt x="941916" y="21167"/>
                                        </a:lnTo>
                                        <a:lnTo>
                                          <a:pt x="947208" y="26458"/>
                                        </a:lnTo>
                                        <a:lnTo>
                                          <a:pt x="886354" y="60854"/>
                                        </a:lnTo>
                                        <a:lnTo>
                                          <a:pt x="817562" y="103188"/>
                                        </a:lnTo>
                                        <a:lnTo>
                                          <a:pt x="738187" y="156104"/>
                                        </a:lnTo>
                                        <a:lnTo>
                                          <a:pt x="695854" y="185209"/>
                                        </a:lnTo>
                                        <a:lnTo>
                                          <a:pt x="653521" y="216959"/>
                                        </a:lnTo>
                                        <a:lnTo>
                                          <a:pt x="661458" y="216959"/>
                                        </a:lnTo>
                                        <a:lnTo>
                                          <a:pt x="669396" y="216959"/>
                                        </a:lnTo>
                                        <a:lnTo>
                                          <a:pt x="677333" y="219604"/>
                                        </a:lnTo>
                                        <a:lnTo>
                                          <a:pt x="679979" y="219604"/>
                                        </a:lnTo>
                                        <a:lnTo>
                                          <a:pt x="685271" y="219604"/>
                                        </a:lnTo>
                                        <a:lnTo>
                                          <a:pt x="687917" y="219604"/>
                                        </a:lnTo>
                                        <a:lnTo>
                                          <a:pt x="690562" y="230188"/>
                                        </a:lnTo>
                                        <a:lnTo>
                                          <a:pt x="695854" y="235479"/>
                                        </a:lnTo>
                                        <a:lnTo>
                                          <a:pt x="701146" y="238125"/>
                                        </a:lnTo>
                                        <a:lnTo>
                                          <a:pt x="711729" y="238125"/>
                                        </a:lnTo>
                                        <a:lnTo>
                                          <a:pt x="717021" y="235479"/>
                                        </a:lnTo>
                                        <a:lnTo>
                                          <a:pt x="722312" y="232834"/>
                                        </a:lnTo>
                                        <a:lnTo>
                                          <a:pt x="730250" y="232834"/>
                                        </a:lnTo>
                                        <a:lnTo>
                                          <a:pt x="738187" y="232834"/>
                                        </a:lnTo>
                                        <a:lnTo>
                                          <a:pt x="738187" y="230188"/>
                                        </a:lnTo>
                                        <a:lnTo>
                                          <a:pt x="740833" y="227542"/>
                                        </a:lnTo>
                                        <a:lnTo>
                                          <a:pt x="748771" y="224896"/>
                                        </a:lnTo>
                                        <a:lnTo>
                                          <a:pt x="764646" y="224896"/>
                                        </a:lnTo>
                                        <a:lnTo>
                                          <a:pt x="759354" y="230188"/>
                                        </a:lnTo>
                                        <a:lnTo>
                                          <a:pt x="759354" y="232834"/>
                                        </a:lnTo>
                                        <a:lnTo>
                                          <a:pt x="759354" y="238125"/>
                                        </a:lnTo>
                                        <a:lnTo>
                                          <a:pt x="762000" y="254000"/>
                                        </a:lnTo>
                                        <a:lnTo>
                                          <a:pt x="762000" y="272521"/>
                                        </a:lnTo>
                                        <a:lnTo>
                                          <a:pt x="762000" y="280459"/>
                                        </a:lnTo>
                                        <a:lnTo>
                                          <a:pt x="759354" y="288396"/>
                                        </a:lnTo>
                                        <a:lnTo>
                                          <a:pt x="759354" y="293688"/>
                                        </a:lnTo>
                                        <a:lnTo>
                                          <a:pt x="762000" y="293688"/>
                                        </a:lnTo>
                                        <a:lnTo>
                                          <a:pt x="762000" y="296334"/>
                                        </a:lnTo>
                                        <a:lnTo>
                                          <a:pt x="759354" y="298980"/>
                                        </a:lnTo>
                                        <a:lnTo>
                                          <a:pt x="759354" y="301625"/>
                                        </a:lnTo>
                                        <a:lnTo>
                                          <a:pt x="759354" y="304271"/>
                                        </a:lnTo>
                                        <a:lnTo>
                                          <a:pt x="764646" y="309563"/>
                                        </a:lnTo>
                                        <a:lnTo>
                                          <a:pt x="769937" y="314855"/>
                                        </a:lnTo>
                                        <a:lnTo>
                                          <a:pt x="769937" y="317500"/>
                                        </a:lnTo>
                                        <a:lnTo>
                                          <a:pt x="767292" y="320146"/>
                                        </a:lnTo>
                                        <a:lnTo>
                                          <a:pt x="762000" y="325438"/>
                                        </a:lnTo>
                                        <a:lnTo>
                                          <a:pt x="759354" y="328084"/>
                                        </a:lnTo>
                                        <a:lnTo>
                                          <a:pt x="756708" y="333375"/>
                                        </a:lnTo>
                                        <a:lnTo>
                                          <a:pt x="748771" y="336021"/>
                                        </a:lnTo>
                                        <a:lnTo>
                                          <a:pt x="751417" y="328084"/>
                                        </a:lnTo>
                                        <a:lnTo>
                                          <a:pt x="754062" y="322792"/>
                                        </a:lnTo>
                                        <a:lnTo>
                                          <a:pt x="751417" y="320146"/>
                                        </a:lnTo>
                                        <a:lnTo>
                                          <a:pt x="748771" y="320146"/>
                                        </a:lnTo>
                                        <a:lnTo>
                                          <a:pt x="746125" y="320146"/>
                                        </a:lnTo>
                                        <a:lnTo>
                                          <a:pt x="746125" y="317500"/>
                                        </a:lnTo>
                                        <a:lnTo>
                                          <a:pt x="746125" y="312209"/>
                                        </a:lnTo>
                                        <a:lnTo>
                                          <a:pt x="748771" y="306917"/>
                                        </a:lnTo>
                                        <a:lnTo>
                                          <a:pt x="751417" y="304271"/>
                                        </a:lnTo>
                                        <a:lnTo>
                                          <a:pt x="751417" y="301625"/>
                                        </a:lnTo>
                                        <a:lnTo>
                                          <a:pt x="746125" y="296334"/>
                                        </a:lnTo>
                                        <a:lnTo>
                                          <a:pt x="743479" y="291042"/>
                                        </a:lnTo>
                                        <a:lnTo>
                                          <a:pt x="746125" y="288396"/>
                                        </a:lnTo>
                                        <a:lnTo>
                                          <a:pt x="748771" y="280459"/>
                                        </a:lnTo>
                                        <a:lnTo>
                                          <a:pt x="748771" y="275167"/>
                                        </a:lnTo>
                                        <a:lnTo>
                                          <a:pt x="746125" y="269875"/>
                                        </a:lnTo>
                                        <a:lnTo>
                                          <a:pt x="743479" y="259292"/>
                                        </a:lnTo>
                                        <a:lnTo>
                                          <a:pt x="746125" y="256646"/>
                                        </a:lnTo>
                                        <a:lnTo>
                                          <a:pt x="748771" y="251354"/>
                                        </a:lnTo>
                                        <a:lnTo>
                                          <a:pt x="754062" y="240771"/>
                                        </a:lnTo>
                                        <a:lnTo>
                                          <a:pt x="751417" y="238125"/>
                                        </a:lnTo>
                                        <a:lnTo>
                                          <a:pt x="743479" y="240771"/>
                                        </a:lnTo>
                                        <a:lnTo>
                                          <a:pt x="732896" y="248709"/>
                                        </a:lnTo>
                                        <a:lnTo>
                                          <a:pt x="727604" y="254000"/>
                                        </a:lnTo>
                                        <a:lnTo>
                                          <a:pt x="724958" y="256646"/>
                                        </a:lnTo>
                                        <a:lnTo>
                                          <a:pt x="719667" y="254000"/>
                                        </a:lnTo>
                                        <a:lnTo>
                                          <a:pt x="719667" y="251354"/>
                                        </a:lnTo>
                                        <a:lnTo>
                                          <a:pt x="717021" y="248709"/>
                                        </a:lnTo>
                                        <a:lnTo>
                                          <a:pt x="714375" y="246063"/>
                                        </a:lnTo>
                                        <a:lnTo>
                                          <a:pt x="709083" y="248709"/>
                                        </a:lnTo>
                                        <a:lnTo>
                                          <a:pt x="701146" y="251354"/>
                                        </a:lnTo>
                                        <a:lnTo>
                                          <a:pt x="693208" y="256646"/>
                                        </a:lnTo>
                                        <a:lnTo>
                                          <a:pt x="687917" y="254000"/>
                                        </a:lnTo>
                                        <a:lnTo>
                                          <a:pt x="682625" y="251354"/>
                                        </a:lnTo>
                                        <a:lnTo>
                                          <a:pt x="682625" y="248709"/>
                                        </a:lnTo>
                                        <a:lnTo>
                                          <a:pt x="685271" y="246063"/>
                                        </a:lnTo>
                                        <a:lnTo>
                                          <a:pt x="687917" y="243417"/>
                                        </a:lnTo>
                                        <a:lnTo>
                                          <a:pt x="685271" y="243417"/>
                                        </a:lnTo>
                                        <a:lnTo>
                                          <a:pt x="682625" y="240771"/>
                                        </a:lnTo>
                                        <a:lnTo>
                                          <a:pt x="677333" y="235479"/>
                                        </a:lnTo>
                                        <a:lnTo>
                                          <a:pt x="679979" y="230188"/>
                                        </a:lnTo>
                                        <a:lnTo>
                                          <a:pt x="682625" y="227542"/>
                                        </a:lnTo>
                                        <a:lnTo>
                                          <a:pt x="674687" y="227542"/>
                                        </a:lnTo>
                                        <a:lnTo>
                                          <a:pt x="650875" y="230188"/>
                                        </a:lnTo>
                                        <a:lnTo>
                                          <a:pt x="629708" y="227542"/>
                                        </a:lnTo>
                                        <a:lnTo>
                                          <a:pt x="616479" y="222250"/>
                                        </a:lnTo>
                                        <a:lnTo>
                                          <a:pt x="605896" y="219604"/>
                                        </a:lnTo>
                                        <a:lnTo>
                                          <a:pt x="587375" y="222250"/>
                                        </a:lnTo>
                                        <a:lnTo>
                                          <a:pt x="568854" y="222250"/>
                                        </a:lnTo>
                                        <a:lnTo>
                                          <a:pt x="560916" y="219604"/>
                                        </a:lnTo>
                                        <a:lnTo>
                                          <a:pt x="558271" y="216959"/>
                                        </a:lnTo>
                                        <a:lnTo>
                                          <a:pt x="550333" y="214313"/>
                                        </a:lnTo>
                                        <a:lnTo>
                                          <a:pt x="542396" y="214313"/>
                                        </a:lnTo>
                                        <a:lnTo>
                                          <a:pt x="539750" y="211667"/>
                                        </a:lnTo>
                                        <a:lnTo>
                                          <a:pt x="539750" y="209021"/>
                                        </a:lnTo>
                                        <a:lnTo>
                                          <a:pt x="542396" y="206375"/>
                                        </a:lnTo>
                                        <a:lnTo>
                                          <a:pt x="550333" y="201084"/>
                                        </a:lnTo>
                                        <a:lnTo>
                                          <a:pt x="545041" y="201084"/>
                                        </a:lnTo>
                                        <a:lnTo>
                                          <a:pt x="539750" y="198438"/>
                                        </a:lnTo>
                                        <a:lnTo>
                                          <a:pt x="537104" y="198438"/>
                                        </a:lnTo>
                                        <a:lnTo>
                                          <a:pt x="531812" y="190500"/>
                                        </a:lnTo>
                                        <a:lnTo>
                                          <a:pt x="529166" y="187854"/>
                                        </a:lnTo>
                                        <a:lnTo>
                                          <a:pt x="526521" y="185209"/>
                                        </a:lnTo>
                                        <a:lnTo>
                                          <a:pt x="523875" y="187854"/>
                                        </a:lnTo>
                                        <a:lnTo>
                                          <a:pt x="508000" y="193146"/>
                                        </a:lnTo>
                                        <a:lnTo>
                                          <a:pt x="497416" y="193146"/>
                                        </a:lnTo>
                                        <a:lnTo>
                                          <a:pt x="489479" y="195792"/>
                                        </a:lnTo>
                                        <a:lnTo>
                                          <a:pt x="484187" y="198438"/>
                                        </a:lnTo>
                                        <a:lnTo>
                                          <a:pt x="481541" y="203729"/>
                                        </a:lnTo>
                                        <a:lnTo>
                                          <a:pt x="481541" y="209021"/>
                                        </a:lnTo>
                                        <a:lnTo>
                                          <a:pt x="481541" y="211667"/>
                                        </a:lnTo>
                                        <a:lnTo>
                                          <a:pt x="481541" y="214313"/>
                                        </a:lnTo>
                                        <a:lnTo>
                                          <a:pt x="486833" y="214313"/>
                                        </a:lnTo>
                                        <a:lnTo>
                                          <a:pt x="500062" y="214313"/>
                                        </a:lnTo>
                                        <a:lnTo>
                                          <a:pt x="518583" y="211667"/>
                                        </a:lnTo>
                                        <a:lnTo>
                                          <a:pt x="505354" y="219604"/>
                                        </a:lnTo>
                                        <a:lnTo>
                                          <a:pt x="494771" y="222250"/>
                                        </a:lnTo>
                                        <a:lnTo>
                                          <a:pt x="481541" y="222250"/>
                                        </a:lnTo>
                                        <a:lnTo>
                                          <a:pt x="473604" y="222250"/>
                                        </a:lnTo>
                                        <a:lnTo>
                                          <a:pt x="468312" y="222250"/>
                                        </a:lnTo>
                                        <a:lnTo>
                                          <a:pt x="463021" y="224896"/>
                                        </a:lnTo>
                                        <a:lnTo>
                                          <a:pt x="460375" y="224896"/>
                                        </a:lnTo>
                                        <a:lnTo>
                                          <a:pt x="452437" y="224896"/>
                                        </a:lnTo>
                                        <a:lnTo>
                                          <a:pt x="441854" y="227542"/>
                                        </a:lnTo>
                                        <a:lnTo>
                                          <a:pt x="425979" y="235479"/>
                                        </a:lnTo>
                                        <a:lnTo>
                                          <a:pt x="412750" y="238125"/>
                                        </a:lnTo>
                                        <a:lnTo>
                                          <a:pt x="402166" y="238125"/>
                                        </a:lnTo>
                                        <a:lnTo>
                                          <a:pt x="402166" y="235479"/>
                                        </a:lnTo>
                                        <a:lnTo>
                                          <a:pt x="399521" y="232834"/>
                                        </a:lnTo>
                                        <a:lnTo>
                                          <a:pt x="402166" y="230188"/>
                                        </a:lnTo>
                                        <a:lnTo>
                                          <a:pt x="404812" y="227542"/>
                                        </a:lnTo>
                                        <a:lnTo>
                                          <a:pt x="418041" y="227542"/>
                                        </a:lnTo>
                                        <a:lnTo>
                                          <a:pt x="428625" y="224896"/>
                                        </a:lnTo>
                                        <a:lnTo>
                                          <a:pt x="433916" y="222250"/>
                                        </a:lnTo>
                                        <a:lnTo>
                                          <a:pt x="439208" y="216959"/>
                                        </a:lnTo>
                                        <a:lnTo>
                                          <a:pt x="412750" y="222250"/>
                                        </a:lnTo>
                                        <a:lnTo>
                                          <a:pt x="404812" y="222250"/>
                                        </a:lnTo>
                                        <a:lnTo>
                                          <a:pt x="404812" y="219604"/>
                                        </a:lnTo>
                                        <a:lnTo>
                                          <a:pt x="407458" y="216959"/>
                                        </a:lnTo>
                                        <a:lnTo>
                                          <a:pt x="415396" y="209021"/>
                                        </a:lnTo>
                                        <a:lnTo>
                                          <a:pt x="431271" y="198438"/>
                                        </a:lnTo>
                                        <a:lnTo>
                                          <a:pt x="447146" y="190500"/>
                                        </a:lnTo>
                                        <a:lnTo>
                                          <a:pt x="457729" y="187854"/>
                                        </a:lnTo>
                                        <a:lnTo>
                                          <a:pt x="465666" y="187854"/>
                                        </a:lnTo>
                                        <a:lnTo>
                                          <a:pt x="457729" y="185209"/>
                                        </a:lnTo>
                                        <a:lnTo>
                                          <a:pt x="457729" y="179917"/>
                                        </a:lnTo>
                                        <a:lnTo>
                                          <a:pt x="460375" y="174625"/>
                                        </a:lnTo>
                                        <a:lnTo>
                                          <a:pt x="468312" y="166688"/>
                                        </a:lnTo>
                                        <a:lnTo>
                                          <a:pt x="444500" y="182563"/>
                                        </a:lnTo>
                                        <a:lnTo>
                                          <a:pt x="428625" y="190500"/>
                                        </a:lnTo>
                                        <a:lnTo>
                                          <a:pt x="418041" y="193146"/>
                                        </a:lnTo>
                                        <a:lnTo>
                                          <a:pt x="402166" y="193146"/>
                                        </a:lnTo>
                                        <a:lnTo>
                                          <a:pt x="399521" y="193146"/>
                                        </a:lnTo>
                                        <a:lnTo>
                                          <a:pt x="412750" y="195792"/>
                                        </a:lnTo>
                                        <a:lnTo>
                                          <a:pt x="418041" y="198438"/>
                                        </a:lnTo>
                                        <a:lnTo>
                                          <a:pt x="415396" y="201084"/>
                                        </a:lnTo>
                                        <a:lnTo>
                                          <a:pt x="407458" y="203729"/>
                                        </a:lnTo>
                                        <a:lnTo>
                                          <a:pt x="386292" y="206375"/>
                                        </a:lnTo>
                                        <a:lnTo>
                                          <a:pt x="381000" y="209021"/>
                                        </a:lnTo>
                                        <a:lnTo>
                                          <a:pt x="383646" y="209021"/>
                                        </a:lnTo>
                                        <a:lnTo>
                                          <a:pt x="391583" y="214313"/>
                                        </a:lnTo>
                                        <a:lnTo>
                                          <a:pt x="396875" y="216959"/>
                                        </a:lnTo>
                                        <a:lnTo>
                                          <a:pt x="396875" y="219604"/>
                                        </a:lnTo>
                                        <a:lnTo>
                                          <a:pt x="388937" y="222250"/>
                                        </a:lnTo>
                                        <a:lnTo>
                                          <a:pt x="373062" y="224896"/>
                                        </a:lnTo>
                                        <a:lnTo>
                                          <a:pt x="349250" y="227542"/>
                                        </a:lnTo>
                                        <a:lnTo>
                                          <a:pt x="336021" y="230188"/>
                                        </a:lnTo>
                                        <a:lnTo>
                                          <a:pt x="325437" y="230188"/>
                                        </a:lnTo>
                                        <a:lnTo>
                                          <a:pt x="320146" y="232834"/>
                                        </a:lnTo>
                                        <a:lnTo>
                                          <a:pt x="317500" y="235479"/>
                                        </a:lnTo>
                                        <a:lnTo>
                                          <a:pt x="320146" y="235479"/>
                                        </a:lnTo>
                                        <a:lnTo>
                                          <a:pt x="336021" y="235479"/>
                                        </a:lnTo>
                                        <a:lnTo>
                                          <a:pt x="346604" y="238125"/>
                                        </a:lnTo>
                                        <a:lnTo>
                                          <a:pt x="349250" y="240771"/>
                                        </a:lnTo>
                                        <a:lnTo>
                                          <a:pt x="343958" y="246063"/>
                                        </a:lnTo>
                                        <a:lnTo>
                                          <a:pt x="338667" y="248709"/>
                                        </a:lnTo>
                                        <a:lnTo>
                                          <a:pt x="336021" y="248709"/>
                                        </a:lnTo>
                                        <a:lnTo>
                                          <a:pt x="328083" y="248709"/>
                                        </a:lnTo>
                                        <a:lnTo>
                                          <a:pt x="322792" y="248709"/>
                                        </a:lnTo>
                                        <a:lnTo>
                                          <a:pt x="320146" y="248709"/>
                                        </a:lnTo>
                                        <a:lnTo>
                                          <a:pt x="322792" y="251354"/>
                                        </a:lnTo>
                                        <a:lnTo>
                                          <a:pt x="320146" y="254000"/>
                                        </a:lnTo>
                                        <a:lnTo>
                                          <a:pt x="320146" y="256646"/>
                                        </a:lnTo>
                                        <a:lnTo>
                                          <a:pt x="312208" y="256646"/>
                                        </a:lnTo>
                                        <a:lnTo>
                                          <a:pt x="304271" y="256646"/>
                                        </a:lnTo>
                                        <a:lnTo>
                                          <a:pt x="301625" y="256646"/>
                                        </a:lnTo>
                                        <a:lnTo>
                                          <a:pt x="301625" y="259292"/>
                                        </a:lnTo>
                                        <a:lnTo>
                                          <a:pt x="298979" y="261938"/>
                                        </a:lnTo>
                                        <a:lnTo>
                                          <a:pt x="288396" y="264584"/>
                                        </a:lnTo>
                                        <a:lnTo>
                                          <a:pt x="277812" y="267229"/>
                                        </a:lnTo>
                                        <a:lnTo>
                                          <a:pt x="272521" y="272521"/>
                                        </a:lnTo>
                                        <a:lnTo>
                                          <a:pt x="269875" y="275167"/>
                                        </a:lnTo>
                                        <a:lnTo>
                                          <a:pt x="267229" y="275167"/>
                                        </a:lnTo>
                                        <a:lnTo>
                                          <a:pt x="256646" y="277813"/>
                                        </a:lnTo>
                                        <a:lnTo>
                                          <a:pt x="246062" y="277813"/>
                                        </a:lnTo>
                                        <a:lnTo>
                                          <a:pt x="243417" y="280459"/>
                                        </a:lnTo>
                                        <a:lnTo>
                                          <a:pt x="238125" y="283104"/>
                                        </a:lnTo>
                                        <a:lnTo>
                                          <a:pt x="238125" y="285750"/>
                                        </a:lnTo>
                                        <a:lnTo>
                                          <a:pt x="235479" y="285750"/>
                                        </a:lnTo>
                                        <a:lnTo>
                                          <a:pt x="230187" y="285750"/>
                                        </a:lnTo>
                                        <a:lnTo>
                                          <a:pt x="224896" y="285750"/>
                                        </a:lnTo>
                                        <a:lnTo>
                                          <a:pt x="222250" y="288396"/>
                                        </a:lnTo>
                                        <a:lnTo>
                                          <a:pt x="222250" y="293688"/>
                                        </a:lnTo>
                                        <a:lnTo>
                                          <a:pt x="216958" y="296334"/>
                                        </a:lnTo>
                                        <a:lnTo>
                                          <a:pt x="206375" y="296334"/>
                                        </a:lnTo>
                                        <a:lnTo>
                                          <a:pt x="195792" y="296334"/>
                                        </a:lnTo>
                                        <a:lnTo>
                                          <a:pt x="190500" y="298980"/>
                                        </a:lnTo>
                                        <a:lnTo>
                                          <a:pt x="187854" y="301625"/>
                                        </a:lnTo>
                                        <a:lnTo>
                                          <a:pt x="185208" y="304271"/>
                                        </a:lnTo>
                                        <a:lnTo>
                                          <a:pt x="179917" y="306917"/>
                                        </a:lnTo>
                                        <a:lnTo>
                                          <a:pt x="171979" y="306917"/>
                                        </a:lnTo>
                                        <a:lnTo>
                                          <a:pt x="161396" y="306917"/>
                                        </a:lnTo>
                                        <a:lnTo>
                                          <a:pt x="156104" y="306917"/>
                                        </a:lnTo>
                                        <a:lnTo>
                                          <a:pt x="148167" y="309563"/>
                                        </a:lnTo>
                                        <a:lnTo>
                                          <a:pt x="137583" y="314855"/>
                                        </a:lnTo>
                                        <a:lnTo>
                                          <a:pt x="132292" y="317500"/>
                                        </a:lnTo>
                                        <a:lnTo>
                                          <a:pt x="116417" y="320146"/>
                                        </a:lnTo>
                                        <a:lnTo>
                                          <a:pt x="103187" y="322792"/>
                                        </a:lnTo>
                                        <a:lnTo>
                                          <a:pt x="97896" y="322792"/>
                                        </a:lnTo>
                                        <a:lnTo>
                                          <a:pt x="89958" y="322792"/>
                                        </a:lnTo>
                                        <a:lnTo>
                                          <a:pt x="79375" y="325438"/>
                                        </a:lnTo>
                                        <a:lnTo>
                                          <a:pt x="55562" y="333375"/>
                                        </a:lnTo>
                                        <a:lnTo>
                                          <a:pt x="29104" y="336021"/>
                                        </a:lnTo>
                                        <a:lnTo>
                                          <a:pt x="5292" y="341313"/>
                                        </a:lnTo>
                                        <a:lnTo>
                                          <a:pt x="0" y="338667"/>
                                        </a:lnTo>
                                        <a:lnTo>
                                          <a:pt x="2646" y="333375"/>
                                        </a:lnTo>
                                        <a:lnTo>
                                          <a:pt x="7937" y="330730"/>
                                        </a:lnTo>
                                        <a:lnTo>
                                          <a:pt x="18521" y="325438"/>
                                        </a:lnTo>
                                        <a:lnTo>
                                          <a:pt x="42333" y="320146"/>
                                        </a:lnTo>
                                        <a:lnTo>
                                          <a:pt x="63500" y="317500"/>
                                        </a:lnTo>
                                        <a:lnTo>
                                          <a:pt x="71437" y="314855"/>
                                        </a:lnTo>
                                        <a:lnTo>
                                          <a:pt x="71437" y="312209"/>
                                        </a:lnTo>
                                        <a:lnTo>
                                          <a:pt x="79375" y="320146"/>
                                        </a:lnTo>
                                        <a:lnTo>
                                          <a:pt x="84667" y="320146"/>
                                        </a:lnTo>
                                        <a:lnTo>
                                          <a:pt x="87312" y="314855"/>
                                        </a:lnTo>
                                        <a:lnTo>
                                          <a:pt x="87312" y="312209"/>
                                        </a:lnTo>
                                        <a:lnTo>
                                          <a:pt x="95250" y="309563"/>
                                        </a:lnTo>
                                        <a:lnTo>
                                          <a:pt x="129646" y="301625"/>
                                        </a:lnTo>
                                        <a:lnTo>
                                          <a:pt x="148167" y="296334"/>
                                        </a:lnTo>
                                        <a:lnTo>
                                          <a:pt x="156104" y="291042"/>
                                        </a:lnTo>
                                        <a:lnTo>
                                          <a:pt x="161396" y="285750"/>
                                        </a:lnTo>
                                        <a:lnTo>
                                          <a:pt x="177271" y="280459"/>
                                        </a:lnTo>
                                        <a:lnTo>
                                          <a:pt x="201083" y="275167"/>
                                        </a:lnTo>
                                        <a:lnTo>
                                          <a:pt x="216958" y="267229"/>
                                        </a:lnTo>
                                        <a:lnTo>
                                          <a:pt x="243417" y="256646"/>
                                        </a:lnTo>
                                        <a:lnTo>
                                          <a:pt x="248708" y="251354"/>
                                        </a:lnTo>
                                        <a:lnTo>
                                          <a:pt x="254000" y="246063"/>
                                        </a:lnTo>
                                        <a:lnTo>
                                          <a:pt x="240771" y="254000"/>
                                        </a:lnTo>
                                        <a:lnTo>
                                          <a:pt x="232833" y="256646"/>
                                        </a:lnTo>
                                        <a:lnTo>
                                          <a:pt x="224896" y="256646"/>
                                        </a:lnTo>
                                        <a:lnTo>
                                          <a:pt x="222250" y="254000"/>
                                        </a:lnTo>
                                        <a:lnTo>
                                          <a:pt x="216958" y="251354"/>
                                        </a:lnTo>
                                        <a:lnTo>
                                          <a:pt x="214312" y="251354"/>
                                        </a:lnTo>
                                        <a:lnTo>
                                          <a:pt x="214312" y="254000"/>
                                        </a:lnTo>
                                        <a:lnTo>
                                          <a:pt x="211667" y="259292"/>
                                        </a:lnTo>
                                        <a:lnTo>
                                          <a:pt x="209021" y="259292"/>
                                        </a:lnTo>
                                        <a:lnTo>
                                          <a:pt x="203729" y="256646"/>
                                        </a:lnTo>
                                        <a:lnTo>
                                          <a:pt x="195792" y="254000"/>
                                        </a:lnTo>
                                        <a:lnTo>
                                          <a:pt x="193146" y="251354"/>
                                        </a:lnTo>
                                        <a:lnTo>
                                          <a:pt x="190500" y="251354"/>
                                        </a:lnTo>
                                        <a:lnTo>
                                          <a:pt x="187854" y="251354"/>
                                        </a:lnTo>
                                        <a:lnTo>
                                          <a:pt x="185208" y="248709"/>
                                        </a:lnTo>
                                        <a:lnTo>
                                          <a:pt x="179917" y="246063"/>
                                        </a:lnTo>
                                        <a:lnTo>
                                          <a:pt x="166687" y="248709"/>
                                        </a:lnTo>
                                        <a:lnTo>
                                          <a:pt x="153458" y="254000"/>
                                        </a:lnTo>
                                        <a:lnTo>
                                          <a:pt x="153458" y="251354"/>
                                        </a:lnTo>
                                        <a:lnTo>
                                          <a:pt x="156104" y="246063"/>
                                        </a:lnTo>
                                        <a:lnTo>
                                          <a:pt x="164042" y="240771"/>
                                        </a:lnTo>
                                        <a:lnTo>
                                          <a:pt x="177271" y="235479"/>
                                        </a:lnTo>
                                        <a:lnTo>
                                          <a:pt x="182562" y="232834"/>
                                        </a:lnTo>
                                        <a:lnTo>
                                          <a:pt x="179917" y="227542"/>
                                        </a:lnTo>
                                        <a:lnTo>
                                          <a:pt x="177271" y="227542"/>
                                        </a:lnTo>
                                        <a:lnTo>
                                          <a:pt x="179917" y="224896"/>
                                        </a:lnTo>
                                        <a:lnTo>
                                          <a:pt x="185208" y="219604"/>
                                        </a:lnTo>
                                        <a:lnTo>
                                          <a:pt x="209021" y="211667"/>
                                        </a:lnTo>
                                        <a:lnTo>
                                          <a:pt x="198437" y="211667"/>
                                        </a:lnTo>
                                        <a:lnTo>
                                          <a:pt x="187854" y="211667"/>
                                        </a:lnTo>
                                        <a:lnTo>
                                          <a:pt x="177271" y="216959"/>
                                        </a:lnTo>
                                        <a:lnTo>
                                          <a:pt x="171979" y="222250"/>
                                        </a:lnTo>
                                        <a:lnTo>
                                          <a:pt x="166687" y="224896"/>
                                        </a:lnTo>
                                        <a:lnTo>
                                          <a:pt x="156104" y="227542"/>
                                        </a:lnTo>
                                        <a:lnTo>
                                          <a:pt x="145521" y="224896"/>
                                        </a:lnTo>
                                        <a:lnTo>
                                          <a:pt x="142875" y="222250"/>
                                        </a:lnTo>
                                        <a:lnTo>
                                          <a:pt x="140229" y="216959"/>
                                        </a:lnTo>
                                        <a:lnTo>
                                          <a:pt x="137583" y="214313"/>
                                        </a:lnTo>
                                        <a:lnTo>
                                          <a:pt x="134937" y="214313"/>
                                        </a:lnTo>
                                        <a:lnTo>
                                          <a:pt x="142875" y="209021"/>
                                        </a:lnTo>
                                        <a:lnTo>
                                          <a:pt x="150812" y="206375"/>
                                        </a:lnTo>
                                        <a:lnTo>
                                          <a:pt x="153458" y="206375"/>
                                        </a:lnTo>
                                        <a:lnTo>
                                          <a:pt x="156104" y="209021"/>
                                        </a:lnTo>
                                        <a:lnTo>
                                          <a:pt x="156104" y="206375"/>
                                        </a:lnTo>
                                        <a:lnTo>
                                          <a:pt x="156104" y="203729"/>
                                        </a:lnTo>
                                        <a:lnTo>
                                          <a:pt x="150812" y="203729"/>
                                        </a:lnTo>
                                        <a:lnTo>
                                          <a:pt x="142875" y="206375"/>
                                        </a:lnTo>
                                        <a:lnTo>
                                          <a:pt x="132292" y="211667"/>
                                        </a:lnTo>
                                        <a:lnTo>
                                          <a:pt x="129646" y="211667"/>
                                        </a:lnTo>
                                        <a:lnTo>
                                          <a:pt x="129646" y="206375"/>
                                        </a:lnTo>
                                        <a:lnTo>
                                          <a:pt x="129646" y="203729"/>
                                        </a:lnTo>
                                        <a:lnTo>
                                          <a:pt x="132292" y="198438"/>
                                        </a:lnTo>
                                        <a:lnTo>
                                          <a:pt x="137583" y="195792"/>
                                        </a:lnTo>
                                        <a:lnTo>
                                          <a:pt x="148167" y="193146"/>
                                        </a:lnTo>
                                        <a:lnTo>
                                          <a:pt x="156104" y="193146"/>
                                        </a:lnTo>
                                        <a:lnTo>
                                          <a:pt x="156104" y="190500"/>
                                        </a:lnTo>
                                        <a:lnTo>
                                          <a:pt x="140229" y="190500"/>
                                        </a:lnTo>
                                        <a:lnTo>
                                          <a:pt x="134937" y="190500"/>
                                        </a:lnTo>
                                        <a:lnTo>
                                          <a:pt x="137583" y="187854"/>
                                        </a:lnTo>
                                        <a:lnTo>
                                          <a:pt x="137583" y="185209"/>
                                        </a:lnTo>
                                        <a:lnTo>
                                          <a:pt x="134937" y="185209"/>
                                        </a:lnTo>
                                        <a:lnTo>
                                          <a:pt x="134937" y="182563"/>
                                        </a:lnTo>
                                        <a:lnTo>
                                          <a:pt x="134937" y="179917"/>
                                        </a:lnTo>
                                        <a:lnTo>
                                          <a:pt x="140229" y="177271"/>
                                        </a:lnTo>
                                        <a:lnTo>
                                          <a:pt x="145521" y="174625"/>
                                        </a:lnTo>
                                        <a:lnTo>
                                          <a:pt x="148167" y="174625"/>
                                        </a:lnTo>
                                        <a:lnTo>
                                          <a:pt x="150812" y="174625"/>
                                        </a:lnTo>
                                        <a:lnTo>
                                          <a:pt x="153458" y="177271"/>
                                        </a:lnTo>
                                        <a:lnTo>
                                          <a:pt x="156104" y="177271"/>
                                        </a:lnTo>
                                        <a:lnTo>
                                          <a:pt x="161396" y="174625"/>
                                        </a:lnTo>
                                        <a:lnTo>
                                          <a:pt x="171979" y="169334"/>
                                        </a:lnTo>
                                        <a:lnTo>
                                          <a:pt x="187854" y="164042"/>
                                        </a:lnTo>
                                        <a:lnTo>
                                          <a:pt x="193146" y="161396"/>
                                        </a:lnTo>
                                        <a:lnTo>
                                          <a:pt x="190500" y="161396"/>
                                        </a:lnTo>
                                        <a:lnTo>
                                          <a:pt x="187854" y="158750"/>
                                        </a:lnTo>
                                        <a:lnTo>
                                          <a:pt x="198437" y="156104"/>
                                        </a:lnTo>
                                        <a:lnTo>
                                          <a:pt x="211667" y="156104"/>
                                        </a:lnTo>
                                        <a:lnTo>
                                          <a:pt x="216958" y="158750"/>
                                        </a:lnTo>
                                        <a:lnTo>
                                          <a:pt x="219604" y="161396"/>
                                        </a:lnTo>
                                        <a:lnTo>
                                          <a:pt x="224896" y="161396"/>
                                        </a:lnTo>
                                        <a:lnTo>
                                          <a:pt x="232833" y="158750"/>
                                        </a:lnTo>
                                        <a:lnTo>
                                          <a:pt x="246062" y="161396"/>
                                        </a:lnTo>
                                        <a:lnTo>
                                          <a:pt x="254000" y="161396"/>
                                        </a:lnTo>
                                        <a:lnTo>
                                          <a:pt x="256646" y="161396"/>
                                        </a:lnTo>
                                        <a:lnTo>
                                          <a:pt x="256646" y="158750"/>
                                        </a:lnTo>
                                        <a:lnTo>
                                          <a:pt x="256646" y="156104"/>
                                        </a:lnTo>
                                        <a:lnTo>
                                          <a:pt x="259292" y="156104"/>
                                        </a:lnTo>
                                        <a:lnTo>
                                          <a:pt x="267229" y="153458"/>
                                        </a:lnTo>
                                        <a:lnTo>
                                          <a:pt x="275167" y="153458"/>
                                        </a:lnTo>
                                        <a:lnTo>
                                          <a:pt x="280458" y="156104"/>
                                        </a:lnTo>
                                        <a:lnTo>
                                          <a:pt x="283104" y="158750"/>
                                        </a:lnTo>
                                        <a:lnTo>
                                          <a:pt x="285750" y="158750"/>
                                        </a:lnTo>
                                        <a:lnTo>
                                          <a:pt x="291042" y="156104"/>
                                        </a:lnTo>
                                        <a:lnTo>
                                          <a:pt x="293687" y="156104"/>
                                        </a:lnTo>
                                        <a:lnTo>
                                          <a:pt x="301625" y="156104"/>
                                        </a:lnTo>
                                        <a:lnTo>
                                          <a:pt x="306917" y="153458"/>
                                        </a:lnTo>
                                        <a:lnTo>
                                          <a:pt x="306917" y="150813"/>
                                        </a:lnTo>
                                        <a:lnTo>
                                          <a:pt x="309562" y="145521"/>
                                        </a:lnTo>
                                        <a:lnTo>
                                          <a:pt x="309562" y="140229"/>
                                        </a:lnTo>
                                        <a:lnTo>
                                          <a:pt x="312208" y="137583"/>
                                        </a:lnTo>
                                        <a:lnTo>
                                          <a:pt x="314854" y="137583"/>
                                        </a:lnTo>
                                        <a:lnTo>
                                          <a:pt x="322792" y="140229"/>
                                        </a:lnTo>
                                        <a:lnTo>
                                          <a:pt x="330729" y="142875"/>
                                        </a:lnTo>
                                        <a:lnTo>
                                          <a:pt x="338667" y="142875"/>
                                        </a:lnTo>
                                        <a:lnTo>
                                          <a:pt x="351896" y="137583"/>
                                        </a:lnTo>
                                        <a:lnTo>
                                          <a:pt x="362479" y="132292"/>
                                        </a:lnTo>
                                        <a:lnTo>
                                          <a:pt x="367771" y="127000"/>
                                        </a:lnTo>
                                        <a:lnTo>
                                          <a:pt x="367771" y="124354"/>
                                        </a:lnTo>
                                        <a:lnTo>
                                          <a:pt x="365125" y="124354"/>
                                        </a:lnTo>
                                        <a:lnTo>
                                          <a:pt x="354542" y="121708"/>
                                        </a:lnTo>
                                        <a:lnTo>
                                          <a:pt x="341312" y="121708"/>
                                        </a:lnTo>
                                        <a:lnTo>
                                          <a:pt x="336021" y="124354"/>
                                        </a:lnTo>
                                        <a:lnTo>
                                          <a:pt x="333375" y="127000"/>
                                        </a:lnTo>
                                        <a:lnTo>
                                          <a:pt x="330729" y="129646"/>
                                        </a:lnTo>
                                        <a:lnTo>
                                          <a:pt x="328083" y="129646"/>
                                        </a:lnTo>
                                        <a:lnTo>
                                          <a:pt x="320146" y="127000"/>
                                        </a:lnTo>
                                        <a:lnTo>
                                          <a:pt x="306917" y="124354"/>
                                        </a:lnTo>
                                        <a:lnTo>
                                          <a:pt x="288396" y="127000"/>
                                        </a:lnTo>
                                        <a:lnTo>
                                          <a:pt x="277812" y="124354"/>
                                        </a:lnTo>
                                        <a:lnTo>
                                          <a:pt x="269875" y="121708"/>
                                        </a:lnTo>
                                        <a:lnTo>
                                          <a:pt x="267229" y="119063"/>
                                        </a:lnTo>
                                        <a:lnTo>
                                          <a:pt x="261937" y="113771"/>
                                        </a:lnTo>
                                        <a:lnTo>
                                          <a:pt x="256646" y="113771"/>
                                        </a:lnTo>
                                        <a:lnTo>
                                          <a:pt x="256646" y="111125"/>
                                        </a:lnTo>
                                        <a:lnTo>
                                          <a:pt x="267229" y="111125"/>
                                        </a:lnTo>
                                        <a:lnTo>
                                          <a:pt x="272521" y="111125"/>
                                        </a:lnTo>
                                        <a:lnTo>
                                          <a:pt x="254000" y="105833"/>
                                        </a:lnTo>
                                        <a:lnTo>
                                          <a:pt x="243417" y="100542"/>
                                        </a:lnTo>
                                        <a:lnTo>
                                          <a:pt x="240771" y="97896"/>
                                        </a:lnTo>
                                        <a:lnTo>
                                          <a:pt x="240771" y="95250"/>
                                        </a:lnTo>
                                        <a:lnTo>
                                          <a:pt x="243417" y="92604"/>
                                        </a:lnTo>
                                        <a:lnTo>
                                          <a:pt x="254000" y="92604"/>
                                        </a:lnTo>
                                        <a:lnTo>
                                          <a:pt x="264583" y="95250"/>
                                        </a:lnTo>
                                        <a:lnTo>
                                          <a:pt x="272521" y="92604"/>
                                        </a:lnTo>
                                        <a:lnTo>
                                          <a:pt x="283104" y="92604"/>
                                        </a:lnTo>
                                        <a:lnTo>
                                          <a:pt x="301625" y="92604"/>
                                        </a:lnTo>
                                        <a:lnTo>
                                          <a:pt x="314854" y="92604"/>
                                        </a:lnTo>
                                        <a:lnTo>
                                          <a:pt x="317500" y="89958"/>
                                        </a:lnTo>
                                        <a:lnTo>
                                          <a:pt x="314854" y="89958"/>
                                        </a:lnTo>
                                        <a:lnTo>
                                          <a:pt x="312208" y="87313"/>
                                        </a:lnTo>
                                        <a:lnTo>
                                          <a:pt x="312208" y="84667"/>
                                        </a:lnTo>
                                        <a:lnTo>
                                          <a:pt x="317500" y="84667"/>
                                        </a:lnTo>
                                        <a:lnTo>
                                          <a:pt x="349250" y="82021"/>
                                        </a:lnTo>
                                        <a:lnTo>
                                          <a:pt x="367771" y="82021"/>
                                        </a:lnTo>
                                        <a:lnTo>
                                          <a:pt x="386292" y="76729"/>
                                        </a:lnTo>
                                        <a:lnTo>
                                          <a:pt x="399521" y="76729"/>
                                        </a:lnTo>
                                        <a:lnTo>
                                          <a:pt x="410104" y="76729"/>
                                        </a:lnTo>
                                        <a:lnTo>
                                          <a:pt x="410104" y="79375"/>
                                        </a:lnTo>
                                        <a:lnTo>
                                          <a:pt x="410104" y="82021"/>
                                        </a:lnTo>
                                        <a:lnTo>
                                          <a:pt x="402166" y="89958"/>
                                        </a:lnTo>
                                        <a:lnTo>
                                          <a:pt x="410104" y="89958"/>
                                        </a:lnTo>
                                        <a:lnTo>
                                          <a:pt x="415396" y="92604"/>
                                        </a:lnTo>
                                        <a:lnTo>
                                          <a:pt x="420687" y="95250"/>
                                        </a:lnTo>
                                        <a:lnTo>
                                          <a:pt x="428625" y="95250"/>
                                        </a:lnTo>
                                        <a:lnTo>
                                          <a:pt x="436562" y="92604"/>
                                        </a:lnTo>
                                        <a:lnTo>
                                          <a:pt x="436562" y="87313"/>
                                        </a:lnTo>
                                        <a:lnTo>
                                          <a:pt x="433916" y="84667"/>
                                        </a:lnTo>
                                        <a:lnTo>
                                          <a:pt x="436562" y="84667"/>
                                        </a:lnTo>
                                        <a:lnTo>
                                          <a:pt x="441854" y="84667"/>
                                        </a:lnTo>
                                        <a:lnTo>
                                          <a:pt x="447146" y="87313"/>
                                        </a:lnTo>
                                        <a:lnTo>
                                          <a:pt x="455083" y="89958"/>
                                        </a:lnTo>
                                        <a:lnTo>
                                          <a:pt x="468312" y="89958"/>
                                        </a:lnTo>
                                        <a:lnTo>
                                          <a:pt x="455083" y="87313"/>
                                        </a:lnTo>
                                        <a:lnTo>
                                          <a:pt x="452437" y="84667"/>
                                        </a:lnTo>
                                        <a:lnTo>
                                          <a:pt x="457729" y="82021"/>
                                        </a:lnTo>
                                        <a:lnTo>
                                          <a:pt x="468312" y="76729"/>
                                        </a:lnTo>
                                        <a:lnTo>
                                          <a:pt x="457729" y="79375"/>
                                        </a:lnTo>
                                        <a:lnTo>
                                          <a:pt x="447146" y="76729"/>
                                        </a:lnTo>
                                        <a:lnTo>
                                          <a:pt x="439208" y="71438"/>
                                        </a:lnTo>
                                        <a:lnTo>
                                          <a:pt x="433916" y="71438"/>
                                        </a:lnTo>
                                        <a:lnTo>
                                          <a:pt x="431271" y="71438"/>
                                        </a:lnTo>
                                        <a:lnTo>
                                          <a:pt x="431271" y="74083"/>
                                        </a:lnTo>
                                        <a:lnTo>
                                          <a:pt x="431271" y="79375"/>
                                        </a:lnTo>
                                        <a:lnTo>
                                          <a:pt x="425979" y="76729"/>
                                        </a:lnTo>
                                        <a:lnTo>
                                          <a:pt x="415396" y="71438"/>
                                        </a:lnTo>
                                        <a:lnTo>
                                          <a:pt x="407458" y="68792"/>
                                        </a:lnTo>
                                        <a:lnTo>
                                          <a:pt x="399521" y="66146"/>
                                        </a:lnTo>
                                        <a:lnTo>
                                          <a:pt x="394229" y="60854"/>
                                        </a:lnTo>
                                        <a:lnTo>
                                          <a:pt x="388937" y="55563"/>
                                        </a:lnTo>
                                        <a:lnTo>
                                          <a:pt x="383646" y="55563"/>
                                        </a:lnTo>
                                        <a:lnTo>
                                          <a:pt x="373062" y="55563"/>
                                        </a:lnTo>
                                        <a:lnTo>
                                          <a:pt x="365125" y="55563"/>
                                        </a:lnTo>
                                        <a:lnTo>
                                          <a:pt x="362479" y="52917"/>
                                        </a:lnTo>
                                        <a:lnTo>
                                          <a:pt x="365125" y="47625"/>
                                        </a:lnTo>
                                        <a:lnTo>
                                          <a:pt x="367771" y="47625"/>
                                        </a:lnTo>
                                        <a:lnTo>
                                          <a:pt x="373062" y="47625"/>
                                        </a:lnTo>
                                        <a:lnTo>
                                          <a:pt x="386292" y="39687"/>
                                        </a:lnTo>
                                        <a:lnTo>
                                          <a:pt x="394229" y="37042"/>
                                        </a:lnTo>
                                        <a:lnTo>
                                          <a:pt x="399521" y="34396"/>
                                        </a:lnTo>
                                        <a:lnTo>
                                          <a:pt x="407458" y="37042"/>
                                        </a:lnTo>
                                        <a:lnTo>
                                          <a:pt x="415396" y="39687"/>
                                        </a:lnTo>
                                        <a:lnTo>
                                          <a:pt x="418041" y="42333"/>
                                        </a:lnTo>
                                        <a:lnTo>
                                          <a:pt x="423333" y="42333"/>
                                        </a:lnTo>
                                        <a:lnTo>
                                          <a:pt x="428625" y="42333"/>
                                        </a:lnTo>
                                        <a:lnTo>
                                          <a:pt x="436562" y="42333"/>
                                        </a:lnTo>
                                        <a:lnTo>
                                          <a:pt x="447146" y="42333"/>
                                        </a:lnTo>
                                        <a:lnTo>
                                          <a:pt x="473604" y="34396"/>
                                        </a:lnTo>
                                        <a:lnTo>
                                          <a:pt x="486833" y="31750"/>
                                        </a:lnTo>
                                        <a:lnTo>
                                          <a:pt x="492125" y="26458"/>
                                        </a:lnTo>
                                        <a:lnTo>
                                          <a:pt x="500062" y="23812"/>
                                        </a:lnTo>
                                        <a:lnTo>
                                          <a:pt x="518583" y="18521"/>
                                        </a:lnTo>
                                        <a:lnTo>
                                          <a:pt x="534458" y="15875"/>
                                        </a:lnTo>
                                        <a:lnTo>
                                          <a:pt x="542396" y="15875"/>
                                        </a:lnTo>
                                        <a:lnTo>
                                          <a:pt x="550333" y="15875"/>
                                        </a:lnTo>
                                        <a:lnTo>
                                          <a:pt x="566208" y="10583"/>
                                        </a:lnTo>
                                        <a:lnTo>
                                          <a:pt x="576791" y="7937"/>
                                        </a:lnTo>
                                        <a:lnTo>
                                          <a:pt x="582083" y="7937"/>
                                        </a:lnTo>
                                        <a:lnTo>
                                          <a:pt x="582083" y="10583"/>
                                        </a:lnTo>
                                        <a:lnTo>
                                          <a:pt x="579437" y="13229"/>
                                        </a:lnTo>
                                        <a:lnTo>
                                          <a:pt x="579437" y="15875"/>
                                        </a:lnTo>
                                        <a:lnTo>
                                          <a:pt x="582083" y="18521"/>
                                        </a:lnTo>
                                        <a:lnTo>
                                          <a:pt x="587375" y="21167"/>
                                        </a:lnTo>
                                        <a:lnTo>
                                          <a:pt x="590021" y="18521"/>
                                        </a:lnTo>
                                        <a:lnTo>
                                          <a:pt x="590021" y="15875"/>
                                        </a:lnTo>
                                        <a:lnTo>
                                          <a:pt x="590021" y="13229"/>
                                        </a:lnTo>
                                        <a:lnTo>
                                          <a:pt x="584729" y="10583"/>
                                        </a:lnTo>
                                        <a:lnTo>
                                          <a:pt x="587375" y="7937"/>
                                        </a:lnTo>
                                        <a:lnTo>
                                          <a:pt x="603250" y="7937"/>
                                        </a:lnTo>
                                        <a:lnTo>
                                          <a:pt x="613833" y="5292"/>
                                        </a:lnTo>
                                        <a:lnTo>
                                          <a:pt x="611187" y="7937"/>
                                        </a:lnTo>
                                        <a:lnTo>
                                          <a:pt x="605896" y="10583"/>
                                        </a:lnTo>
                                        <a:lnTo>
                                          <a:pt x="605896" y="13229"/>
                                        </a:lnTo>
                                        <a:lnTo>
                                          <a:pt x="611187" y="13229"/>
                                        </a:lnTo>
                                        <a:lnTo>
                                          <a:pt x="619125" y="10583"/>
                                        </a:lnTo>
                                        <a:lnTo>
                                          <a:pt x="642937" y="5292"/>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1031" name="Canadian Islands"/>
                                  <p:cNvGrpSpPr/>
                                  <p:nvPr/>
                                </p:nvGrpSpPr>
                                <p:grpSpPr>
                                  <a:xfrm>
                                    <a:off x="3044511" y="1168893"/>
                                    <a:ext cx="1503632" cy="837482"/>
                                    <a:chOff x="3196911" y="1321947"/>
                                    <a:chExt cx="1503632" cy="837482"/>
                                  </a:xfrm>
                                  <a:grpFill/>
                                </p:grpSpPr>
                                <p:sp>
                                  <p:nvSpPr>
                                    <p:cNvPr id="718" name="Canada"/>
                                    <p:cNvSpPr>
                                      <a:spLocks/>
                                    </p:cNvSpPr>
                                    <p:nvPr/>
                                  </p:nvSpPr>
                                  <p:spPr bwMode="auto">
                                    <a:xfrm>
                                      <a:off x="3932019" y="1452445"/>
                                      <a:ext cx="580189" cy="242787"/>
                                    </a:xfrm>
                                    <a:custGeom>
                                      <a:avLst/>
                                      <a:gdLst/>
                                      <a:ahLst/>
                                      <a:cxnLst>
                                        <a:cxn ang="0">
                                          <a:pos x="88" y="136"/>
                                        </a:cxn>
                                        <a:cxn ang="0">
                                          <a:pos x="102" y="130"/>
                                        </a:cxn>
                                        <a:cxn ang="0">
                                          <a:pos x="128" y="132"/>
                                        </a:cxn>
                                        <a:cxn ang="0">
                                          <a:pos x="134" y="130"/>
                                        </a:cxn>
                                        <a:cxn ang="0">
                                          <a:pos x="172" y="144"/>
                                        </a:cxn>
                                        <a:cxn ang="0">
                                          <a:pos x="198" y="154"/>
                                        </a:cxn>
                                        <a:cxn ang="0">
                                          <a:pos x="224" y="158"/>
                                        </a:cxn>
                                        <a:cxn ang="0">
                                          <a:pos x="256" y="154"/>
                                        </a:cxn>
                                        <a:cxn ang="0">
                                          <a:pos x="240" y="142"/>
                                        </a:cxn>
                                        <a:cxn ang="0">
                                          <a:pos x="254" y="134"/>
                                        </a:cxn>
                                        <a:cxn ang="0">
                                          <a:pos x="280" y="136"/>
                                        </a:cxn>
                                        <a:cxn ang="0">
                                          <a:pos x="274" y="120"/>
                                        </a:cxn>
                                        <a:cxn ang="0">
                                          <a:pos x="254" y="108"/>
                                        </a:cxn>
                                        <a:cxn ang="0">
                                          <a:pos x="260" y="94"/>
                                        </a:cxn>
                                        <a:cxn ang="0">
                                          <a:pos x="282" y="102"/>
                                        </a:cxn>
                                        <a:cxn ang="0">
                                          <a:pos x="294" y="104"/>
                                        </a:cxn>
                                        <a:cxn ang="0">
                                          <a:pos x="308" y="116"/>
                                        </a:cxn>
                                        <a:cxn ang="0">
                                          <a:pos x="318" y="106"/>
                                        </a:cxn>
                                        <a:cxn ang="0">
                                          <a:pos x="332" y="102"/>
                                        </a:cxn>
                                        <a:cxn ang="0">
                                          <a:pos x="344" y="92"/>
                                        </a:cxn>
                                        <a:cxn ang="0">
                                          <a:pos x="374" y="88"/>
                                        </a:cxn>
                                        <a:cxn ang="0">
                                          <a:pos x="372" y="74"/>
                                        </a:cxn>
                                        <a:cxn ang="0">
                                          <a:pos x="348" y="74"/>
                                        </a:cxn>
                                        <a:cxn ang="0">
                                          <a:pos x="334" y="66"/>
                                        </a:cxn>
                                        <a:cxn ang="0">
                                          <a:pos x="326" y="60"/>
                                        </a:cxn>
                                        <a:cxn ang="0">
                                          <a:pos x="310" y="54"/>
                                        </a:cxn>
                                        <a:cxn ang="0">
                                          <a:pos x="306" y="38"/>
                                        </a:cxn>
                                        <a:cxn ang="0">
                                          <a:pos x="294" y="32"/>
                                        </a:cxn>
                                        <a:cxn ang="0">
                                          <a:pos x="278" y="24"/>
                                        </a:cxn>
                                        <a:cxn ang="0">
                                          <a:pos x="238" y="12"/>
                                        </a:cxn>
                                        <a:cxn ang="0">
                                          <a:pos x="210" y="24"/>
                                        </a:cxn>
                                        <a:cxn ang="0">
                                          <a:pos x="196" y="12"/>
                                        </a:cxn>
                                        <a:cxn ang="0">
                                          <a:pos x="166" y="24"/>
                                        </a:cxn>
                                        <a:cxn ang="0">
                                          <a:pos x="168" y="6"/>
                                        </a:cxn>
                                        <a:cxn ang="0">
                                          <a:pos x="110" y="6"/>
                                        </a:cxn>
                                        <a:cxn ang="0">
                                          <a:pos x="80" y="20"/>
                                        </a:cxn>
                                        <a:cxn ang="0">
                                          <a:pos x="62" y="32"/>
                                        </a:cxn>
                                        <a:cxn ang="0">
                                          <a:pos x="86" y="4"/>
                                        </a:cxn>
                                        <a:cxn ang="0">
                                          <a:pos x="20" y="18"/>
                                        </a:cxn>
                                        <a:cxn ang="0">
                                          <a:pos x="2" y="32"/>
                                        </a:cxn>
                                        <a:cxn ang="0">
                                          <a:pos x="50" y="40"/>
                                        </a:cxn>
                                        <a:cxn ang="0">
                                          <a:pos x="82" y="40"/>
                                        </a:cxn>
                                        <a:cxn ang="0">
                                          <a:pos x="96" y="48"/>
                                        </a:cxn>
                                        <a:cxn ang="0">
                                          <a:pos x="116" y="50"/>
                                        </a:cxn>
                                        <a:cxn ang="0">
                                          <a:pos x="124" y="44"/>
                                        </a:cxn>
                                        <a:cxn ang="0">
                                          <a:pos x="148" y="38"/>
                                        </a:cxn>
                                        <a:cxn ang="0">
                                          <a:pos x="168" y="46"/>
                                        </a:cxn>
                                        <a:cxn ang="0">
                                          <a:pos x="178" y="56"/>
                                        </a:cxn>
                                        <a:cxn ang="0">
                                          <a:pos x="198" y="58"/>
                                        </a:cxn>
                                        <a:cxn ang="0">
                                          <a:pos x="212" y="76"/>
                                        </a:cxn>
                                        <a:cxn ang="0">
                                          <a:pos x="202" y="92"/>
                                        </a:cxn>
                                        <a:cxn ang="0">
                                          <a:pos x="230" y="94"/>
                                        </a:cxn>
                                        <a:cxn ang="0">
                                          <a:pos x="192" y="108"/>
                                        </a:cxn>
                                        <a:cxn ang="0">
                                          <a:pos x="172" y="90"/>
                                        </a:cxn>
                                        <a:cxn ang="0">
                                          <a:pos x="172" y="106"/>
                                        </a:cxn>
                                        <a:cxn ang="0">
                                          <a:pos x="140" y="108"/>
                                        </a:cxn>
                                        <a:cxn ang="0">
                                          <a:pos x="110" y="108"/>
                                        </a:cxn>
                                        <a:cxn ang="0">
                                          <a:pos x="84" y="114"/>
                                        </a:cxn>
                                      </a:cxnLst>
                                      <a:rect l="0" t="0" r="r" b="b"/>
                                      <a:pathLst>
                                        <a:path w="382" h="160">
                                          <a:moveTo>
                                            <a:pt x="78" y="124"/>
                                          </a:moveTo>
                                          <a:lnTo>
                                            <a:pt x="78" y="124"/>
                                          </a:lnTo>
                                          <a:lnTo>
                                            <a:pt x="78" y="128"/>
                                          </a:lnTo>
                                          <a:lnTo>
                                            <a:pt x="78" y="128"/>
                                          </a:lnTo>
                                          <a:lnTo>
                                            <a:pt x="80" y="130"/>
                                          </a:lnTo>
                                          <a:lnTo>
                                            <a:pt x="80" y="132"/>
                                          </a:lnTo>
                                          <a:lnTo>
                                            <a:pt x="80" y="132"/>
                                          </a:lnTo>
                                          <a:lnTo>
                                            <a:pt x="78" y="134"/>
                                          </a:lnTo>
                                          <a:lnTo>
                                            <a:pt x="80" y="134"/>
                                          </a:lnTo>
                                          <a:lnTo>
                                            <a:pt x="88" y="136"/>
                                          </a:lnTo>
                                          <a:lnTo>
                                            <a:pt x="88" y="136"/>
                                          </a:lnTo>
                                          <a:lnTo>
                                            <a:pt x="94" y="136"/>
                                          </a:lnTo>
                                          <a:lnTo>
                                            <a:pt x="98" y="136"/>
                                          </a:lnTo>
                                          <a:lnTo>
                                            <a:pt x="96" y="134"/>
                                          </a:lnTo>
                                          <a:lnTo>
                                            <a:pt x="96" y="134"/>
                                          </a:lnTo>
                                          <a:lnTo>
                                            <a:pt x="96" y="132"/>
                                          </a:lnTo>
                                          <a:lnTo>
                                            <a:pt x="100" y="132"/>
                                          </a:lnTo>
                                          <a:lnTo>
                                            <a:pt x="102" y="132"/>
                                          </a:lnTo>
                                          <a:lnTo>
                                            <a:pt x="102" y="132"/>
                                          </a:lnTo>
                                          <a:lnTo>
                                            <a:pt x="102" y="132"/>
                                          </a:lnTo>
                                          <a:lnTo>
                                            <a:pt x="100" y="130"/>
                                          </a:lnTo>
                                          <a:lnTo>
                                            <a:pt x="102" y="130"/>
                                          </a:lnTo>
                                          <a:lnTo>
                                            <a:pt x="106" y="132"/>
                                          </a:lnTo>
                                          <a:lnTo>
                                            <a:pt x="110" y="132"/>
                                          </a:lnTo>
                                          <a:lnTo>
                                            <a:pt x="110" y="130"/>
                                          </a:lnTo>
                                          <a:lnTo>
                                            <a:pt x="110" y="130"/>
                                          </a:lnTo>
                                          <a:lnTo>
                                            <a:pt x="110" y="130"/>
                                          </a:lnTo>
                                          <a:lnTo>
                                            <a:pt x="108" y="128"/>
                                          </a:lnTo>
                                          <a:lnTo>
                                            <a:pt x="110" y="128"/>
                                          </a:lnTo>
                                          <a:lnTo>
                                            <a:pt x="118" y="132"/>
                                          </a:lnTo>
                                          <a:lnTo>
                                            <a:pt x="126" y="134"/>
                                          </a:lnTo>
                                          <a:lnTo>
                                            <a:pt x="128" y="134"/>
                                          </a:lnTo>
                                          <a:lnTo>
                                            <a:pt x="128" y="132"/>
                                          </a:lnTo>
                                          <a:lnTo>
                                            <a:pt x="128" y="132"/>
                                          </a:lnTo>
                                          <a:lnTo>
                                            <a:pt x="122" y="124"/>
                                          </a:lnTo>
                                          <a:lnTo>
                                            <a:pt x="120" y="122"/>
                                          </a:lnTo>
                                          <a:lnTo>
                                            <a:pt x="122" y="122"/>
                                          </a:lnTo>
                                          <a:lnTo>
                                            <a:pt x="122" y="122"/>
                                          </a:lnTo>
                                          <a:lnTo>
                                            <a:pt x="128" y="128"/>
                                          </a:lnTo>
                                          <a:lnTo>
                                            <a:pt x="132" y="128"/>
                                          </a:lnTo>
                                          <a:lnTo>
                                            <a:pt x="136" y="128"/>
                                          </a:lnTo>
                                          <a:lnTo>
                                            <a:pt x="136" y="128"/>
                                          </a:lnTo>
                                          <a:lnTo>
                                            <a:pt x="138" y="128"/>
                                          </a:lnTo>
                                          <a:lnTo>
                                            <a:pt x="134" y="130"/>
                                          </a:lnTo>
                                          <a:lnTo>
                                            <a:pt x="132" y="134"/>
                                          </a:lnTo>
                                          <a:lnTo>
                                            <a:pt x="132" y="134"/>
                                          </a:lnTo>
                                          <a:lnTo>
                                            <a:pt x="136" y="136"/>
                                          </a:lnTo>
                                          <a:lnTo>
                                            <a:pt x="136" y="136"/>
                                          </a:lnTo>
                                          <a:lnTo>
                                            <a:pt x="148" y="138"/>
                                          </a:lnTo>
                                          <a:lnTo>
                                            <a:pt x="154" y="140"/>
                                          </a:lnTo>
                                          <a:lnTo>
                                            <a:pt x="158" y="142"/>
                                          </a:lnTo>
                                          <a:lnTo>
                                            <a:pt x="158" y="142"/>
                                          </a:lnTo>
                                          <a:lnTo>
                                            <a:pt x="166" y="146"/>
                                          </a:lnTo>
                                          <a:lnTo>
                                            <a:pt x="168" y="146"/>
                                          </a:lnTo>
                                          <a:lnTo>
                                            <a:pt x="172" y="144"/>
                                          </a:lnTo>
                                          <a:lnTo>
                                            <a:pt x="172" y="144"/>
                                          </a:lnTo>
                                          <a:lnTo>
                                            <a:pt x="172" y="144"/>
                                          </a:lnTo>
                                          <a:lnTo>
                                            <a:pt x="172" y="146"/>
                                          </a:lnTo>
                                          <a:lnTo>
                                            <a:pt x="174" y="150"/>
                                          </a:lnTo>
                                          <a:lnTo>
                                            <a:pt x="178" y="152"/>
                                          </a:lnTo>
                                          <a:lnTo>
                                            <a:pt x="178" y="152"/>
                                          </a:lnTo>
                                          <a:lnTo>
                                            <a:pt x="184" y="152"/>
                                          </a:lnTo>
                                          <a:lnTo>
                                            <a:pt x="190" y="154"/>
                                          </a:lnTo>
                                          <a:lnTo>
                                            <a:pt x="196" y="156"/>
                                          </a:lnTo>
                                          <a:lnTo>
                                            <a:pt x="198" y="154"/>
                                          </a:lnTo>
                                          <a:lnTo>
                                            <a:pt x="198" y="154"/>
                                          </a:lnTo>
                                          <a:lnTo>
                                            <a:pt x="200" y="148"/>
                                          </a:lnTo>
                                          <a:lnTo>
                                            <a:pt x="200" y="148"/>
                                          </a:lnTo>
                                          <a:lnTo>
                                            <a:pt x="202" y="150"/>
                                          </a:lnTo>
                                          <a:lnTo>
                                            <a:pt x="204" y="152"/>
                                          </a:lnTo>
                                          <a:lnTo>
                                            <a:pt x="204" y="152"/>
                                          </a:lnTo>
                                          <a:lnTo>
                                            <a:pt x="210" y="150"/>
                                          </a:lnTo>
                                          <a:lnTo>
                                            <a:pt x="212" y="150"/>
                                          </a:lnTo>
                                          <a:lnTo>
                                            <a:pt x="212" y="152"/>
                                          </a:lnTo>
                                          <a:lnTo>
                                            <a:pt x="212" y="152"/>
                                          </a:lnTo>
                                          <a:lnTo>
                                            <a:pt x="218" y="154"/>
                                          </a:lnTo>
                                          <a:lnTo>
                                            <a:pt x="224" y="158"/>
                                          </a:lnTo>
                                          <a:lnTo>
                                            <a:pt x="234" y="160"/>
                                          </a:lnTo>
                                          <a:lnTo>
                                            <a:pt x="240" y="158"/>
                                          </a:lnTo>
                                          <a:lnTo>
                                            <a:pt x="240" y="158"/>
                                          </a:lnTo>
                                          <a:lnTo>
                                            <a:pt x="244" y="158"/>
                                          </a:lnTo>
                                          <a:lnTo>
                                            <a:pt x="248" y="158"/>
                                          </a:lnTo>
                                          <a:lnTo>
                                            <a:pt x="252" y="160"/>
                                          </a:lnTo>
                                          <a:lnTo>
                                            <a:pt x="258" y="160"/>
                                          </a:lnTo>
                                          <a:lnTo>
                                            <a:pt x="258" y="160"/>
                                          </a:lnTo>
                                          <a:lnTo>
                                            <a:pt x="258" y="158"/>
                                          </a:lnTo>
                                          <a:lnTo>
                                            <a:pt x="258" y="156"/>
                                          </a:lnTo>
                                          <a:lnTo>
                                            <a:pt x="256" y="154"/>
                                          </a:lnTo>
                                          <a:lnTo>
                                            <a:pt x="256" y="152"/>
                                          </a:lnTo>
                                          <a:lnTo>
                                            <a:pt x="256" y="152"/>
                                          </a:lnTo>
                                          <a:lnTo>
                                            <a:pt x="258" y="152"/>
                                          </a:lnTo>
                                          <a:lnTo>
                                            <a:pt x="260" y="150"/>
                                          </a:lnTo>
                                          <a:lnTo>
                                            <a:pt x="252" y="148"/>
                                          </a:lnTo>
                                          <a:lnTo>
                                            <a:pt x="252" y="148"/>
                                          </a:lnTo>
                                          <a:lnTo>
                                            <a:pt x="248" y="148"/>
                                          </a:lnTo>
                                          <a:lnTo>
                                            <a:pt x="246" y="146"/>
                                          </a:lnTo>
                                          <a:lnTo>
                                            <a:pt x="246" y="142"/>
                                          </a:lnTo>
                                          <a:lnTo>
                                            <a:pt x="240" y="142"/>
                                          </a:lnTo>
                                          <a:lnTo>
                                            <a:pt x="240" y="142"/>
                                          </a:lnTo>
                                          <a:lnTo>
                                            <a:pt x="238" y="140"/>
                                          </a:lnTo>
                                          <a:lnTo>
                                            <a:pt x="238" y="138"/>
                                          </a:lnTo>
                                          <a:lnTo>
                                            <a:pt x="234" y="136"/>
                                          </a:lnTo>
                                          <a:lnTo>
                                            <a:pt x="226" y="132"/>
                                          </a:lnTo>
                                          <a:lnTo>
                                            <a:pt x="226" y="132"/>
                                          </a:lnTo>
                                          <a:lnTo>
                                            <a:pt x="244" y="136"/>
                                          </a:lnTo>
                                          <a:lnTo>
                                            <a:pt x="248" y="136"/>
                                          </a:lnTo>
                                          <a:lnTo>
                                            <a:pt x="252" y="134"/>
                                          </a:lnTo>
                                          <a:lnTo>
                                            <a:pt x="252" y="134"/>
                                          </a:lnTo>
                                          <a:lnTo>
                                            <a:pt x="252" y="134"/>
                                          </a:lnTo>
                                          <a:lnTo>
                                            <a:pt x="254" y="134"/>
                                          </a:lnTo>
                                          <a:lnTo>
                                            <a:pt x="258" y="136"/>
                                          </a:lnTo>
                                          <a:lnTo>
                                            <a:pt x="262" y="140"/>
                                          </a:lnTo>
                                          <a:lnTo>
                                            <a:pt x="264" y="140"/>
                                          </a:lnTo>
                                          <a:lnTo>
                                            <a:pt x="264" y="138"/>
                                          </a:lnTo>
                                          <a:lnTo>
                                            <a:pt x="264" y="138"/>
                                          </a:lnTo>
                                          <a:lnTo>
                                            <a:pt x="268" y="138"/>
                                          </a:lnTo>
                                          <a:lnTo>
                                            <a:pt x="270" y="138"/>
                                          </a:lnTo>
                                          <a:lnTo>
                                            <a:pt x="274" y="140"/>
                                          </a:lnTo>
                                          <a:lnTo>
                                            <a:pt x="276" y="138"/>
                                          </a:lnTo>
                                          <a:lnTo>
                                            <a:pt x="276" y="138"/>
                                          </a:lnTo>
                                          <a:lnTo>
                                            <a:pt x="280" y="136"/>
                                          </a:lnTo>
                                          <a:lnTo>
                                            <a:pt x="276" y="134"/>
                                          </a:lnTo>
                                          <a:lnTo>
                                            <a:pt x="276" y="134"/>
                                          </a:lnTo>
                                          <a:lnTo>
                                            <a:pt x="276" y="132"/>
                                          </a:lnTo>
                                          <a:lnTo>
                                            <a:pt x="278" y="130"/>
                                          </a:lnTo>
                                          <a:lnTo>
                                            <a:pt x="278" y="128"/>
                                          </a:lnTo>
                                          <a:lnTo>
                                            <a:pt x="276" y="126"/>
                                          </a:lnTo>
                                          <a:lnTo>
                                            <a:pt x="276" y="126"/>
                                          </a:lnTo>
                                          <a:lnTo>
                                            <a:pt x="274" y="124"/>
                                          </a:lnTo>
                                          <a:lnTo>
                                            <a:pt x="276" y="122"/>
                                          </a:lnTo>
                                          <a:lnTo>
                                            <a:pt x="278" y="122"/>
                                          </a:lnTo>
                                          <a:lnTo>
                                            <a:pt x="274" y="120"/>
                                          </a:lnTo>
                                          <a:lnTo>
                                            <a:pt x="274" y="120"/>
                                          </a:lnTo>
                                          <a:lnTo>
                                            <a:pt x="268" y="118"/>
                                          </a:lnTo>
                                          <a:lnTo>
                                            <a:pt x="266" y="114"/>
                                          </a:lnTo>
                                          <a:lnTo>
                                            <a:pt x="264" y="112"/>
                                          </a:lnTo>
                                          <a:lnTo>
                                            <a:pt x="260" y="112"/>
                                          </a:lnTo>
                                          <a:lnTo>
                                            <a:pt x="260" y="112"/>
                                          </a:lnTo>
                                          <a:lnTo>
                                            <a:pt x="254" y="112"/>
                                          </a:lnTo>
                                          <a:lnTo>
                                            <a:pt x="252" y="112"/>
                                          </a:lnTo>
                                          <a:lnTo>
                                            <a:pt x="252" y="110"/>
                                          </a:lnTo>
                                          <a:lnTo>
                                            <a:pt x="254" y="108"/>
                                          </a:lnTo>
                                          <a:lnTo>
                                            <a:pt x="254" y="108"/>
                                          </a:lnTo>
                                          <a:lnTo>
                                            <a:pt x="254" y="108"/>
                                          </a:lnTo>
                                          <a:lnTo>
                                            <a:pt x="254" y="106"/>
                                          </a:lnTo>
                                          <a:lnTo>
                                            <a:pt x="254" y="104"/>
                                          </a:lnTo>
                                          <a:lnTo>
                                            <a:pt x="252" y="100"/>
                                          </a:lnTo>
                                          <a:lnTo>
                                            <a:pt x="256" y="102"/>
                                          </a:lnTo>
                                          <a:lnTo>
                                            <a:pt x="256" y="102"/>
                                          </a:lnTo>
                                          <a:lnTo>
                                            <a:pt x="260" y="102"/>
                                          </a:lnTo>
                                          <a:lnTo>
                                            <a:pt x="262" y="102"/>
                                          </a:lnTo>
                                          <a:lnTo>
                                            <a:pt x="262" y="100"/>
                                          </a:lnTo>
                                          <a:lnTo>
                                            <a:pt x="262" y="98"/>
                                          </a:lnTo>
                                          <a:lnTo>
                                            <a:pt x="260" y="94"/>
                                          </a:lnTo>
                                          <a:lnTo>
                                            <a:pt x="260" y="94"/>
                                          </a:lnTo>
                                          <a:lnTo>
                                            <a:pt x="260" y="94"/>
                                          </a:lnTo>
                                          <a:lnTo>
                                            <a:pt x="260" y="94"/>
                                          </a:lnTo>
                                          <a:lnTo>
                                            <a:pt x="266" y="98"/>
                                          </a:lnTo>
                                          <a:lnTo>
                                            <a:pt x="270" y="98"/>
                                          </a:lnTo>
                                          <a:lnTo>
                                            <a:pt x="270" y="98"/>
                                          </a:lnTo>
                                          <a:lnTo>
                                            <a:pt x="278" y="96"/>
                                          </a:lnTo>
                                          <a:lnTo>
                                            <a:pt x="280" y="98"/>
                                          </a:lnTo>
                                          <a:lnTo>
                                            <a:pt x="282" y="100"/>
                                          </a:lnTo>
                                          <a:lnTo>
                                            <a:pt x="282" y="100"/>
                                          </a:lnTo>
                                          <a:lnTo>
                                            <a:pt x="282" y="102"/>
                                          </a:lnTo>
                                          <a:lnTo>
                                            <a:pt x="284" y="102"/>
                                          </a:lnTo>
                                          <a:lnTo>
                                            <a:pt x="286" y="102"/>
                                          </a:lnTo>
                                          <a:lnTo>
                                            <a:pt x="288" y="102"/>
                                          </a:lnTo>
                                          <a:lnTo>
                                            <a:pt x="288" y="102"/>
                                          </a:lnTo>
                                          <a:lnTo>
                                            <a:pt x="288" y="102"/>
                                          </a:lnTo>
                                          <a:lnTo>
                                            <a:pt x="290" y="102"/>
                                          </a:lnTo>
                                          <a:lnTo>
                                            <a:pt x="296" y="96"/>
                                          </a:lnTo>
                                          <a:lnTo>
                                            <a:pt x="296" y="96"/>
                                          </a:lnTo>
                                          <a:lnTo>
                                            <a:pt x="296" y="96"/>
                                          </a:lnTo>
                                          <a:lnTo>
                                            <a:pt x="296" y="100"/>
                                          </a:lnTo>
                                          <a:lnTo>
                                            <a:pt x="294" y="104"/>
                                          </a:lnTo>
                                          <a:lnTo>
                                            <a:pt x="296" y="106"/>
                                          </a:lnTo>
                                          <a:lnTo>
                                            <a:pt x="298" y="106"/>
                                          </a:lnTo>
                                          <a:lnTo>
                                            <a:pt x="298" y="106"/>
                                          </a:lnTo>
                                          <a:lnTo>
                                            <a:pt x="300" y="108"/>
                                          </a:lnTo>
                                          <a:lnTo>
                                            <a:pt x="302" y="110"/>
                                          </a:lnTo>
                                          <a:lnTo>
                                            <a:pt x="302" y="110"/>
                                          </a:lnTo>
                                          <a:lnTo>
                                            <a:pt x="304" y="110"/>
                                          </a:lnTo>
                                          <a:lnTo>
                                            <a:pt x="304" y="110"/>
                                          </a:lnTo>
                                          <a:lnTo>
                                            <a:pt x="306" y="110"/>
                                          </a:lnTo>
                                          <a:lnTo>
                                            <a:pt x="306" y="114"/>
                                          </a:lnTo>
                                          <a:lnTo>
                                            <a:pt x="308" y="116"/>
                                          </a:lnTo>
                                          <a:lnTo>
                                            <a:pt x="312" y="118"/>
                                          </a:lnTo>
                                          <a:lnTo>
                                            <a:pt x="312" y="118"/>
                                          </a:lnTo>
                                          <a:lnTo>
                                            <a:pt x="316" y="116"/>
                                          </a:lnTo>
                                          <a:lnTo>
                                            <a:pt x="316" y="114"/>
                                          </a:lnTo>
                                          <a:lnTo>
                                            <a:pt x="314" y="108"/>
                                          </a:lnTo>
                                          <a:lnTo>
                                            <a:pt x="314" y="108"/>
                                          </a:lnTo>
                                          <a:lnTo>
                                            <a:pt x="312" y="108"/>
                                          </a:lnTo>
                                          <a:lnTo>
                                            <a:pt x="314" y="108"/>
                                          </a:lnTo>
                                          <a:lnTo>
                                            <a:pt x="316" y="108"/>
                                          </a:lnTo>
                                          <a:lnTo>
                                            <a:pt x="320" y="108"/>
                                          </a:lnTo>
                                          <a:lnTo>
                                            <a:pt x="318" y="106"/>
                                          </a:lnTo>
                                          <a:lnTo>
                                            <a:pt x="318" y="106"/>
                                          </a:lnTo>
                                          <a:lnTo>
                                            <a:pt x="318" y="104"/>
                                          </a:lnTo>
                                          <a:lnTo>
                                            <a:pt x="320" y="106"/>
                                          </a:lnTo>
                                          <a:lnTo>
                                            <a:pt x="324" y="106"/>
                                          </a:lnTo>
                                          <a:lnTo>
                                            <a:pt x="324" y="106"/>
                                          </a:lnTo>
                                          <a:lnTo>
                                            <a:pt x="322" y="102"/>
                                          </a:lnTo>
                                          <a:lnTo>
                                            <a:pt x="322" y="102"/>
                                          </a:lnTo>
                                          <a:lnTo>
                                            <a:pt x="322" y="100"/>
                                          </a:lnTo>
                                          <a:lnTo>
                                            <a:pt x="322" y="98"/>
                                          </a:lnTo>
                                          <a:lnTo>
                                            <a:pt x="328" y="100"/>
                                          </a:lnTo>
                                          <a:lnTo>
                                            <a:pt x="332" y="102"/>
                                          </a:lnTo>
                                          <a:lnTo>
                                            <a:pt x="334" y="102"/>
                                          </a:lnTo>
                                          <a:lnTo>
                                            <a:pt x="334" y="100"/>
                                          </a:lnTo>
                                          <a:lnTo>
                                            <a:pt x="334" y="100"/>
                                          </a:lnTo>
                                          <a:lnTo>
                                            <a:pt x="334" y="98"/>
                                          </a:lnTo>
                                          <a:lnTo>
                                            <a:pt x="336" y="96"/>
                                          </a:lnTo>
                                          <a:lnTo>
                                            <a:pt x="340" y="96"/>
                                          </a:lnTo>
                                          <a:lnTo>
                                            <a:pt x="344" y="96"/>
                                          </a:lnTo>
                                          <a:lnTo>
                                            <a:pt x="346" y="96"/>
                                          </a:lnTo>
                                          <a:lnTo>
                                            <a:pt x="344" y="94"/>
                                          </a:lnTo>
                                          <a:lnTo>
                                            <a:pt x="344" y="94"/>
                                          </a:lnTo>
                                          <a:lnTo>
                                            <a:pt x="344" y="92"/>
                                          </a:lnTo>
                                          <a:lnTo>
                                            <a:pt x="346" y="90"/>
                                          </a:lnTo>
                                          <a:lnTo>
                                            <a:pt x="352" y="92"/>
                                          </a:lnTo>
                                          <a:lnTo>
                                            <a:pt x="356" y="92"/>
                                          </a:lnTo>
                                          <a:lnTo>
                                            <a:pt x="358" y="92"/>
                                          </a:lnTo>
                                          <a:lnTo>
                                            <a:pt x="358" y="90"/>
                                          </a:lnTo>
                                          <a:lnTo>
                                            <a:pt x="358" y="90"/>
                                          </a:lnTo>
                                          <a:lnTo>
                                            <a:pt x="358" y="88"/>
                                          </a:lnTo>
                                          <a:lnTo>
                                            <a:pt x="360" y="88"/>
                                          </a:lnTo>
                                          <a:lnTo>
                                            <a:pt x="366" y="88"/>
                                          </a:lnTo>
                                          <a:lnTo>
                                            <a:pt x="372" y="90"/>
                                          </a:lnTo>
                                          <a:lnTo>
                                            <a:pt x="374" y="88"/>
                                          </a:lnTo>
                                          <a:lnTo>
                                            <a:pt x="374" y="88"/>
                                          </a:lnTo>
                                          <a:lnTo>
                                            <a:pt x="374" y="88"/>
                                          </a:lnTo>
                                          <a:lnTo>
                                            <a:pt x="372" y="84"/>
                                          </a:lnTo>
                                          <a:lnTo>
                                            <a:pt x="374" y="84"/>
                                          </a:lnTo>
                                          <a:lnTo>
                                            <a:pt x="378" y="82"/>
                                          </a:lnTo>
                                          <a:lnTo>
                                            <a:pt x="382" y="82"/>
                                          </a:lnTo>
                                          <a:lnTo>
                                            <a:pt x="380" y="82"/>
                                          </a:lnTo>
                                          <a:lnTo>
                                            <a:pt x="380" y="82"/>
                                          </a:lnTo>
                                          <a:lnTo>
                                            <a:pt x="374" y="78"/>
                                          </a:lnTo>
                                          <a:lnTo>
                                            <a:pt x="372" y="76"/>
                                          </a:lnTo>
                                          <a:lnTo>
                                            <a:pt x="372" y="74"/>
                                          </a:lnTo>
                                          <a:lnTo>
                                            <a:pt x="368" y="76"/>
                                          </a:lnTo>
                                          <a:lnTo>
                                            <a:pt x="368" y="76"/>
                                          </a:lnTo>
                                          <a:lnTo>
                                            <a:pt x="358" y="80"/>
                                          </a:lnTo>
                                          <a:lnTo>
                                            <a:pt x="358" y="80"/>
                                          </a:lnTo>
                                          <a:lnTo>
                                            <a:pt x="358" y="78"/>
                                          </a:lnTo>
                                          <a:lnTo>
                                            <a:pt x="358" y="78"/>
                                          </a:lnTo>
                                          <a:lnTo>
                                            <a:pt x="356" y="74"/>
                                          </a:lnTo>
                                          <a:lnTo>
                                            <a:pt x="354" y="74"/>
                                          </a:lnTo>
                                          <a:lnTo>
                                            <a:pt x="352" y="74"/>
                                          </a:lnTo>
                                          <a:lnTo>
                                            <a:pt x="352" y="74"/>
                                          </a:lnTo>
                                          <a:lnTo>
                                            <a:pt x="348" y="74"/>
                                          </a:lnTo>
                                          <a:lnTo>
                                            <a:pt x="348" y="72"/>
                                          </a:lnTo>
                                          <a:lnTo>
                                            <a:pt x="346" y="70"/>
                                          </a:lnTo>
                                          <a:lnTo>
                                            <a:pt x="344" y="72"/>
                                          </a:lnTo>
                                          <a:lnTo>
                                            <a:pt x="344" y="72"/>
                                          </a:lnTo>
                                          <a:lnTo>
                                            <a:pt x="340" y="72"/>
                                          </a:lnTo>
                                          <a:lnTo>
                                            <a:pt x="338" y="70"/>
                                          </a:lnTo>
                                          <a:lnTo>
                                            <a:pt x="338" y="68"/>
                                          </a:lnTo>
                                          <a:lnTo>
                                            <a:pt x="336" y="68"/>
                                          </a:lnTo>
                                          <a:lnTo>
                                            <a:pt x="336" y="68"/>
                                          </a:lnTo>
                                          <a:lnTo>
                                            <a:pt x="334" y="68"/>
                                          </a:lnTo>
                                          <a:lnTo>
                                            <a:pt x="334" y="66"/>
                                          </a:lnTo>
                                          <a:lnTo>
                                            <a:pt x="334" y="64"/>
                                          </a:lnTo>
                                          <a:lnTo>
                                            <a:pt x="328" y="64"/>
                                          </a:lnTo>
                                          <a:lnTo>
                                            <a:pt x="328" y="64"/>
                                          </a:lnTo>
                                          <a:lnTo>
                                            <a:pt x="322" y="66"/>
                                          </a:lnTo>
                                          <a:lnTo>
                                            <a:pt x="320" y="64"/>
                                          </a:lnTo>
                                          <a:lnTo>
                                            <a:pt x="318" y="64"/>
                                          </a:lnTo>
                                          <a:lnTo>
                                            <a:pt x="312" y="64"/>
                                          </a:lnTo>
                                          <a:lnTo>
                                            <a:pt x="312" y="64"/>
                                          </a:lnTo>
                                          <a:lnTo>
                                            <a:pt x="318" y="62"/>
                                          </a:lnTo>
                                          <a:lnTo>
                                            <a:pt x="322" y="62"/>
                                          </a:lnTo>
                                          <a:lnTo>
                                            <a:pt x="326" y="60"/>
                                          </a:lnTo>
                                          <a:lnTo>
                                            <a:pt x="326" y="58"/>
                                          </a:lnTo>
                                          <a:lnTo>
                                            <a:pt x="326" y="58"/>
                                          </a:lnTo>
                                          <a:lnTo>
                                            <a:pt x="326" y="58"/>
                                          </a:lnTo>
                                          <a:lnTo>
                                            <a:pt x="320" y="56"/>
                                          </a:lnTo>
                                          <a:lnTo>
                                            <a:pt x="312" y="56"/>
                                          </a:lnTo>
                                          <a:lnTo>
                                            <a:pt x="304" y="58"/>
                                          </a:lnTo>
                                          <a:lnTo>
                                            <a:pt x="298" y="58"/>
                                          </a:lnTo>
                                          <a:lnTo>
                                            <a:pt x="298" y="58"/>
                                          </a:lnTo>
                                          <a:lnTo>
                                            <a:pt x="298" y="56"/>
                                          </a:lnTo>
                                          <a:lnTo>
                                            <a:pt x="300" y="56"/>
                                          </a:lnTo>
                                          <a:lnTo>
                                            <a:pt x="310" y="54"/>
                                          </a:lnTo>
                                          <a:lnTo>
                                            <a:pt x="320" y="52"/>
                                          </a:lnTo>
                                          <a:lnTo>
                                            <a:pt x="322" y="50"/>
                                          </a:lnTo>
                                          <a:lnTo>
                                            <a:pt x="322" y="48"/>
                                          </a:lnTo>
                                          <a:lnTo>
                                            <a:pt x="322" y="48"/>
                                          </a:lnTo>
                                          <a:lnTo>
                                            <a:pt x="320" y="46"/>
                                          </a:lnTo>
                                          <a:lnTo>
                                            <a:pt x="320" y="44"/>
                                          </a:lnTo>
                                          <a:lnTo>
                                            <a:pt x="318" y="42"/>
                                          </a:lnTo>
                                          <a:lnTo>
                                            <a:pt x="316" y="40"/>
                                          </a:lnTo>
                                          <a:lnTo>
                                            <a:pt x="316" y="40"/>
                                          </a:lnTo>
                                          <a:lnTo>
                                            <a:pt x="310" y="38"/>
                                          </a:lnTo>
                                          <a:lnTo>
                                            <a:pt x="306" y="38"/>
                                          </a:lnTo>
                                          <a:lnTo>
                                            <a:pt x="296" y="42"/>
                                          </a:lnTo>
                                          <a:lnTo>
                                            <a:pt x="296" y="42"/>
                                          </a:lnTo>
                                          <a:lnTo>
                                            <a:pt x="288" y="46"/>
                                          </a:lnTo>
                                          <a:lnTo>
                                            <a:pt x="294" y="42"/>
                                          </a:lnTo>
                                          <a:lnTo>
                                            <a:pt x="294" y="42"/>
                                          </a:lnTo>
                                          <a:lnTo>
                                            <a:pt x="304" y="36"/>
                                          </a:lnTo>
                                          <a:lnTo>
                                            <a:pt x="306" y="34"/>
                                          </a:lnTo>
                                          <a:lnTo>
                                            <a:pt x="306" y="34"/>
                                          </a:lnTo>
                                          <a:lnTo>
                                            <a:pt x="306" y="34"/>
                                          </a:lnTo>
                                          <a:lnTo>
                                            <a:pt x="298" y="32"/>
                                          </a:lnTo>
                                          <a:lnTo>
                                            <a:pt x="294" y="32"/>
                                          </a:lnTo>
                                          <a:lnTo>
                                            <a:pt x="290" y="34"/>
                                          </a:lnTo>
                                          <a:lnTo>
                                            <a:pt x="290" y="34"/>
                                          </a:lnTo>
                                          <a:lnTo>
                                            <a:pt x="288" y="34"/>
                                          </a:lnTo>
                                          <a:lnTo>
                                            <a:pt x="286" y="34"/>
                                          </a:lnTo>
                                          <a:lnTo>
                                            <a:pt x="286" y="30"/>
                                          </a:lnTo>
                                          <a:lnTo>
                                            <a:pt x="286" y="26"/>
                                          </a:lnTo>
                                          <a:lnTo>
                                            <a:pt x="286" y="24"/>
                                          </a:lnTo>
                                          <a:lnTo>
                                            <a:pt x="284" y="26"/>
                                          </a:lnTo>
                                          <a:lnTo>
                                            <a:pt x="284" y="26"/>
                                          </a:lnTo>
                                          <a:lnTo>
                                            <a:pt x="280" y="26"/>
                                          </a:lnTo>
                                          <a:lnTo>
                                            <a:pt x="278" y="24"/>
                                          </a:lnTo>
                                          <a:lnTo>
                                            <a:pt x="274" y="22"/>
                                          </a:lnTo>
                                          <a:lnTo>
                                            <a:pt x="264" y="22"/>
                                          </a:lnTo>
                                          <a:lnTo>
                                            <a:pt x="264" y="22"/>
                                          </a:lnTo>
                                          <a:lnTo>
                                            <a:pt x="260" y="22"/>
                                          </a:lnTo>
                                          <a:lnTo>
                                            <a:pt x="256" y="22"/>
                                          </a:lnTo>
                                          <a:lnTo>
                                            <a:pt x="252" y="20"/>
                                          </a:lnTo>
                                          <a:lnTo>
                                            <a:pt x="248" y="20"/>
                                          </a:lnTo>
                                          <a:lnTo>
                                            <a:pt x="248" y="20"/>
                                          </a:lnTo>
                                          <a:lnTo>
                                            <a:pt x="244" y="18"/>
                                          </a:lnTo>
                                          <a:lnTo>
                                            <a:pt x="242" y="14"/>
                                          </a:lnTo>
                                          <a:lnTo>
                                            <a:pt x="238" y="12"/>
                                          </a:lnTo>
                                          <a:lnTo>
                                            <a:pt x="230" y="10"/>
                                          </a:lnTo>
                                          <a:lnTo>
                                            <a:pt x="230" y="10"/>
                                          </a:lnTo>
                                          <a:lnTo>
                                            <a:pt x="212" y="12"/>
                                          </a:lnTo>
                                          <a:lnTo>
                                            <a:pt x="208" y="12"/>
                                          </a:lnTo>
                                          <a:lnTo>
                                            <a:pt x="208" y="14"/>
                                          </a:lnTo>
                                          <a:lnTo>
                                            <a:pt x="212" y="18"/>
                                          </a:lnTo>
                                          <a:lnTo>
                                            <a:pt x="212" y="18"/>
                                          </a:lnTo>
                                          <a:lnTo>
                                            <a:pt x="216" y="20"/>
                                          </a:lnTo>
                                          <a:lnTo>
                                            <a:pt x="212" y="20"/>
                                          </a:lnTo>
                                          <a:lnTo>
                                            <a:pt x="210" y="22"/>
                                          </a:lnTo>
                                          <a:lnTo>
                                            <a:pt x="210" y="24"/>
                                          </a:lnTo>
                                          <a:lnTo>
                                            <a:pt x="214" y="26"/>
                                          </a:lnTo>
                                          <a:lnTo>
                                            <a:pt x="214" y="26"/>
                                          </a:lnTo>
                                          <a:lnTo>
                                            <a:pt x="212" y="26"/>
                                          </a:lnTo>
                                          <a:lnTo>
                                            <a:pt x="206" y="20"/>
                                          </a:lnTo>
                                          <a:lnTo>
                                            <a:pt x="202" y="20"/>
                                          </a:lnTo>
                                          <a:lnTo>
                                            <a:pt x="202" y="20"/>
                                          </a:lnTo>
                                          <a:lnTo>
                                            <a:pt x="202" y="20"/>
                                          </a:lnTo>
                                          <a:lnTo>
                                            <a:pt x="200" y="20"/>
                                          </a:lnTo>
                                          <a:lnTo>
                                            <a:pt x="200" y="20"/>
                                          </a:lnTo>
                                          <a:lnTo>
                                            <a:pt x="198" y="14"/>
                                          </a:lnTo>
                                          <a:lnTo>
                                            <a:pt x="196" y="12"/>
                                          </a:lnTo>
                                          <a:lnTo>
                                            <a:pt x="194" y="12"/>
                                          </a:lnTo>
                                          <a:lnTo>
                                            <a:pt x="190" y="14"/>
                                          </a:lnTo>
                                          <a:lnTo>
                                            <a:pt x="190" y="14"/>
                                          </a:lnTo>
                                          <a:lnTo>
                                            <a:pt x="186" y="18"/>
                                          </a:lnTo>
                                          <a:lnTo>
                                            <a:pt x="184" y="16"/>
                                          </a:lnTo>
                                          <a:lnTo>
                                            <a:pt x="182" y="14"/>
                                          </a:lnTo>
                                          <a:lnTo>
                                            <a:pt x="178" y="16"/>
                                          </a:lnTo>
                                          <a:lnTo>
                                            <a:pt x="178" y="16"/>
                                          </a:lnTo>
                                          <a:lnTo>
                                            <a:pt x="174" y="22"/>
                                          </a:lnTo>
                                          <a:lnTo>
                                            <a:pt x="168" y="24"/>
                                          </a:lnTo>
                                          <a:lnTo>
                                            <a:pt x="166" y="24"/>
                                          </a:lnTo>
                                          <a:lnTo>
                                            <a:pt x="166" y="22"/>
                                          </a:lnTo>
                                          <a:lnTo>
                                            <a:pt x="166" y="22"/>
                                          </a:lnTo>
                                          <a:lnTo>
                                            <a:pt x="172" y="14"/>
                                          </a:lnTo>
                                          <a:lnTo>
                                            <a:pt x="172" y="12"/>
                                          </a:lnTo>
                                          <a:lnTo>
                                            <a:pt x="168" y="12"/>
                                          </a:lnTo>
                                          <a:lnTo>
                                            <a:pt x="168" y="12"/>
                                          </a:lnTo>
                                          <a:lnTo>
                                            <a:pt x="166" y="12"/>
                                          </a:lnTo>
                                          <a:lnTo>
                                            <a:pt x="166" y="10"/>
                                          </a:lnTo>
                                          <a:lnTo>
                                            <a:pt x="168" y="8"/>
                                          </a:lnTo>
                                          <a:lnTo>
                                            <a:pt x="168" y="6"/>
                                          </a:lnTo>
                                          <a:lnTo>
                                            <a:pt x="168" y="6"/>
                                          </a:lnTo>
                                          <a:lnTo>
                                            <a:pt x="166" y="4"/>
                                          </a:lnTo>
                                          <a:lnTo>
                                            <a:pt x="164" y="2"/>
                                          </a:lnTo>
                                          <a:lnTo>
                                            <a:pt x="164" y="0"/>
                                          </a:lnTo>
                                          <a:lnTo>
                                            <a:pt x="162" y="0"/>
                                          </a:lnTo>
                                          <a:lnTo>
                                            <a:pt x="162" y="0"/>
                                          </a:lnTo>
                                          <a:lnTo>
                                            <a:pt x="148" y="0"/>
                                          </a:lnTo>
                                          <a:lnTo>
                                            <a:pt x="138" y="2"/>
                                          </a:lnTo>
                                          <a:lnTo>
                                            <a:pt x="130" y="2"/>
                                          </a:lnTo>
                                          <a:lnTo>
                                            <a:pt x="130" y="2"/>
                                          </a:lnTo>
                                          <a:lnTo>
                                            <a:pt x="118" y="4"/>
                                          </a:lnTo>
                                          <a:lnTo>
                                            <a:pt x="110" y="6"/>
                                          </a:lnTo>
                                          <a:lnTo>
                                            <a:pt x="110" y="6"/>
                                          </a:lnTo>
                                          <a:lnTo>
                                            <a:pt x="104" y="8"/>
                                          </a:lnTo>
                                          <a:lnTo>
                                            <a:pt x="96" y="10"/>
                                          </a:lnTo>
                                          <a:lnTo>
                                            <a:pt x="92" y="10"/>
                                          </a:lnTo>
                                          <a:lnTo>
                                            <a:pt x="96" y="12"/>
                                          </a:lnTo>
                                          <a:lnTo>
                                            <a:pt x="96" y="12"/>
                                          </a:lnTo>
                                          <a:lnTo>
                                            <a:pt x="94" y="12"/>
                                          </a:lnTo>
                                          <a:lnTo>
                                            <a:pt x="86" y="14"/>
                                          </a:lnTo>
                                          <a:lnTo>
                                            <a:pt x="82" y="16"/>
                                          </a:lnTo>
                                          <a:lnTo>
                                            <a:pt x="80" y="18"/>
                                          </a:lnTo>
                                          <a:lnTo>
                                            <a:pt x="80" y="20"/>
                                          </a:lnTo>
                                          <a:lnTo>
                                            <a:pt x="86" y="22"/>
                                          </a:lnTo>
                                          <a:lnTo>
                                            <a:pt x="86" y="22"/>
                                          </a:lnTo>
                                          <a:lnTo>
                                            <a:pt x="88" y="24"/>
                                          </a:lnTo>
                                          <a:lnTo>
                                            <a:pt x="88" y="24"/>
                                          </a:lnTo>
                                          <a:lnTo>
                                            <a:pt x="78" y="24"/>
                                          </a:lnTo>
                                          <a:lnTo>
                                            <a:pt x="74" y="26"/>
                                          </a:lnTo>
                                          <a:lnTo>
                                            <a:pt x="68" y="28"/>
                                          </a:lnTo>
                                          <a:lnTo>
                                            <a:pt x="66" y="30"/>
                                          </a:lnTo>
                                          <a:lnTo>
                                            <a:pt x="66" y="34"/>
                                          </a:lnTo>
                                          <a:lnTo>
                                            <a:pt x="66" y="34"/>
                                          </a:lnTo>
                                          <a:lnTo>
                                            <a:pt x="62" y="32"/>
                                          </a:lnTo>
                                          <a:lnTo>
                                            <a:pt x="62" y="28"/>
                                          </a:lnTo>
                                          <a:lnTo>
                                            <a:pt x="62" y="24"/>
                                          </a:lnTo>
                                          <a:lnTo>
                                            <a:pt x="68" y="20"/>
                                          </a:lnTo>
                                          <a:lnTo>
                                            <a:pt x="68" y="20"/>
                                          </a:lnTo>
                                          <a:lnTo>
                                            <a:pt x="72" y="18"/>
                                          </a:lnTo>
                                          <a:lnTo>
                                            <a:pt x="74" y="16"/>
                                          </a:lnTo>
                                          <a:lnTo>
                                            <a:pt x="76" y="12"/>
                                          </a:lnTo>
                                          <a:lnTo>
                                            <a:pt x="80" y="10"/>
                                          </a:lnTo>
                                          <a:lnTo>
                                            <a:pt x="80" y="10"/>
                                          </a:lnTo>
                                          <a:lnTo>
                                            <a:pt x="84" y="8"/>
                                          </a:lnTo>
                                          <a:lnTo>
                                            <a:pt x="86" y="4"/>
                                          </a:lnTo>
                                          <a:lnTo>
                                            <a:pt x="84" y="2"/>
                                          </a:lnTo>
                                          <a:lnTo>
                                            <a:pt x="76" y="2"/>
                                          </a:lnTo>
                                          <a:lnTo>
                                            <a:pt x="76" y="2"/>
                                          </a:lnTo>
                                          <a:lnTo>
                                            <a:pt x="58" y="2"/>
                                          </a:lnTo>
                                          <a:lnTo>
                                            <a:pt x="44" y="4"/>
                                          </a:lnTo>
                                          <a:lnTo>
                                            <a:pt x="44" y="4"/>
                                          </a:lnTo>
                                          <a:lnTo>
                                            <a:pt x="38" y="6"/>
                                          </a:lnTo>
                                          <a:lnTo>
                                            <a:pt x="30" y="10"/>
                                          </a:lnTo>
                                          <a:lnTo>
                                            <a:pt x="30" y="10"/>
                                          </a:lnTo>
                                          <a:lnTo>
                                            <a:pt x="24" y="16"/>
                                          </a:lnTo>
                                          <a:lnTo>
                                            <a:pt x="20" y="18"/>
                                          </a:lnTo>
                                          <a:lnTo>
                                            <a:pt x="12" y="22"/>
                                          </a:lnTo>
                                          <a:lnTo>
                                            <a:pt x="12" y="22"/>
                                          </a:lnTo>
                                          <a:lnTo>
                                            <a:pt x="8" y="22"/>
                                          </a:lnTo>
                                          <a:lnTo>
                                            <a:pt x="6" y="24"/>
                                          </a:lnTo>
                                          <a:lnTo>
                                            <a:pt x="6" y="26"/>
                                          </a:lnTo>
                                          <a:lnTo>
                                            <a:pt x="8" y="28"/>
                                          </a:lnTo>
                                          <a:lnTo>
                                            <a:pt x="10" y="30"/>
                                          </a:lnTo>
                                          <a:lnTo>
                                            <a:pt x="10" y="30"/>
                                          </a:lnTo>
                                          <a:lnTo>
                                            <a:pt x="8" y="32"/>
                                          </a:lnTo>
                                          <a:lnTo>
                                            <a:pt x="8" y="32"/>
                                          </a:lnTo>
                                          <a:lnTo>
                                            <a:pt x="2" y="32"/>
                                          </a:lnTo>
                                          <a:lnTo>
                                            <a:pt x="0" y="34"/>
                                          </a:lnTo>
                                          <a:lnTo>
                                            <a:pt x="2" y="38"/>
                                          </a:lnTo>
                                          <a:lnTo>
                                            <a:pt x="4" y="40"/>
                                          </a:lnTo>
                                          <a:lnTo>
                                            <a:pt x="14" y="44"/>
                                          </a:lnTo>
                                          <a:lnTo>
                                            <a:pt x="20" y="46"/>
                                          </a:lnTo>
                                          <a:lnTo>
                                            <a:pt x="26" y="46"/>
                                          </a:lnTo>
                                          <a:lnTo>
                                            <a:pt x="26" y="46"/>
                                          </a:lnTo>
                                          <a:lnTo>
                                            <a:pt x="38" y="44"/>
                                          </a:lnTo>
                                          <a:lnTo>
                                            <a:pt x="44" y="42"/>
                                          </a:lnTo>
                                          <a:lnTo>
                                            <a:pt x="44" y="42"/>
                                          </a:lnTo>
                                          <a:lnTo>
                                            <a:pt x="50" y="40"/>
                                          </a:lnTo>
                                          <a:lnTo>
                                            <a:pt x="52" y="42"/>
                                          </a:lnTo>
                                          <a:lnTo>
                                            <a:pt x="54" y="42"/>
                                          </a:lnTo>
                                          <a:lnTo>
                                            <a:pt x="58" y="44"/>
                                          </a:lnTo>
                                          <a:lnTo>
                                            <a:pt x="58" y="44"/>
                                          </a:lnTo>
                                          <a:lnTo>
                                            <a:pt x="66" y="44"/>
                                          </a:lnTo>
                                          <a:lnTo>
                                            <a:pt x="70" y="46"/>
                                          </a:lnTo>
                                          <a:lnTo>
                                            <a:pt x="74" y="44"/>
                                          </a:lnTo>
                                          <a:lnTo>
                                            <a:pt x="74" y="44"/>
                                          </a:lnTo>
                                          <a:lnTo>
                                            <a:pt x="78" y="40"/>
                                          </a:lnTo>
                                          <a:lnTo>
                                            <a:pt x="82" y="40"/>
                                          </a:lnTo>
                                          <a:lnTo>
                                            <a:pt x="82" y="40"/>
                                          </a:lnTo>
                                          <a:lnTo>
                                            <a:pt x="78" y="44"/>
                                          </a:lnTo>
                                          <a:lnTo>
                                            <a:pt x="78" y="44"/>
                                          </a:lnTo>
                                          <a:lnTo>
                                            <a:pt x="82" y="46"/>
                                          </a:lnTo>
                                          <a:lnTo>
                                            <a:pt x="82" y="46"/>
                                          </a:lnTo>
                                          <a:lnTo>
                                            <a:pt x="86" y="46"/>
                                          </a:lnTo>
                                          <a:lnTo>
                                            <a:pt x="86" y="46"/>
                                          </a:lnTo>
                                          <a:lnTo>
                                            <a:pt x="88" y="46"/>
                                          </a:lnTo>
                                          <a:lnTo>
                                            <a:pt x="90" y="46"/>
                                          </a:lnTo>
                                          <a:lnTo>
                                            <a:pt x="90" y="46"/>
                                          </a:lnTo>
                                          <a:lnTo>
                                            <a:pt x="94" y="46"/>
                                          </a:lnTo>
                                          <a:lnTo>
                                            <a:pt x="96" y="48"/>
                                          </a:lnTo>
                                          <a:lnTo>
                                            <a:pt x="100" y="50"/>
                                          </a:lnTo>
                                          <a:lnTo>
                                            <a:pt x="102" y="50"/>
                                          </a:lnTo>
                                          <a:lnTo>
                                            <a:pt x="102" y="50"/>
                                          </a:lnTo>
                                          <a:lnTo>
                                            <a:pt x="104" y="48"/>
                                          </a:lnTo>
                                          <a:lnTo>
                                            <a:pt x="104" y="44"/>
                                          </a:lnTo>
                                          <a:lnTo>
                                            <a:pt x="104" y="42"/>
                                          </a:lnTo>
                                          <a:lnTo>
                                            <a:pt x="106" y="44"/>
                                          </a:lnTo>
                                          <a:lnTo>
                                            <a:pt x="106" y="44"/>
                                          </a:lnTo>
                                          <a:lnTo>
                                            <a:pt x="110" y="46"/>
                                          </a:lnTo>
                                          <a:lnTo>
                                            <a:pt x="112" y="50"/>
                                          </a:lnTo>
                                          <a:lnTo>
                                            <a:pt x="116" y="50"/>
                                          </a:lnTo>
                                          <a:lnTo>
                                            <a:pt x="120" y="50"/>
                                          </a:lnTo>
                                          <a:lnTo>
                                            <a:pt x="120" y="50"/>
                                          </a:lnTo>
                                          <a:lnTo>
                                            <a:pt x="122" y="50"/>
                                          </a:lnTo>
                                          <a:lnTo>
                                            <a:pt x="122" y="48"/>
                                          </a:lnTo>
                                          <a:lnTo>
                                            <a:pt x="118" y="46"/>
                                          </a:lnTo>
                                          <a:lnTo>
                                            <a:pt x="114" y="44"/>
                                          </a:lnTo>
                                          <a:lnTo>
                                            <a:pt x="114" y="42"/>
                                          </a:lnTo>
                                          <a:lnTo>
                                            <a:pt x="114" y="42"/>
                                          </a:lnTo>
                                          <a:lnTo>
                                            <a:pt x="114" y="42"/>
                                          </a:lnTo>
                                          <a:lnTo>
                                            <a:pt x="120" y="42"/>
                                          </a:lnTo>
                                          <a:lnTo>
                                            <a:pt x="124" y="44"/>
                                          </a:lnTo>
                                          <a:lnTo>
                                            <a:pt x="128" y="46"/>
                                          </a:lnTo>
                                          <a:lnTo>
                                            <a:pt x="132" y="46"/>
                                          </a:lnTo>
                                          <a:lnTo>
                                            <a:pt x="132" y="46"/>
                                          </a:lnTo>
                                          <a:lnTo>
                                            <a:pt x="136" y="44"/>
                                          </a:lnTo>
                                          <a:lnTo>
                                            <a:pt x="138" y="40"/>
                                          </a:lnTo>
                                          <a:lnTo>
                                            <a:pt x="138" y="38"/>
                                          </a:lnTo>
                                          <a:lnTo>
                                            <a:pt x="132" y="34"/>
                                          </a:lnTo>
                                          <a:lnTo>
                                            <a:pt x="132" y="34"/>
                                          </a:lnTo>
                                          <a:lnTo>
                                            <a:pt x="144" y="40"/>
                                          </a:lnTo>
                                          <a:lnTo>
                                            <a:pt x="146" y="40"/>
                                          </a:lnTo>
                                          <a:lnTo>
                                            <a:pt x="148" y="38"/>
                                          </a:lnTo>
                                          <a:lnTo>
                                            <a:pt x="148" y="38"/>
                                          </a:lnTo>
                                          <a:lnTo>
                                            <a:pt x="148" y="36"/>
                                          </a:lnTo>
                                          <a:lnTo>
                                            <a:pt x="148" y="38"/>
                                          </a:lnTo>
                                          <a:lnTo>
                                            <a:pt x="150" y="40"/>
                                          </a:lnTo>
                                          <a:lnTo>
                                            <a:pt x="154" y="40"/>
                                          </a:lnTo>
                                          <a:lnTo>
                                            <a:pt x="154" y="40"/>
                                          </a:lnTo>
                                          <a:lnTo>
                                            <a:pt x="160" y="42"/>
                                          </a:lnTo>
                                          <a:lnTo>
                                            <a:pt x="162" y="44"/>
                                          </a:lnTo>
                                          <a:lnTo>
                                            <a:pt x="164" y="46"/>
                                          </a:lnTo>
                                          <a:lnTo>
                                            <a:pt x="168" y="46"/>
                                          </a:lnTo>
                                          <a:lnTo>
                                            <a:pt x="168" y="46"/>
                                          </a:lnTo>
                                          <a:lnTo>
                                            <a:pt x="172" y="46"/>
                                          </a:lnTo>
                                          <a:lnTo>
                                            <a:pt x="172" y="48"/>
                                          </a:lnTo>
                                          <a:lnTo>
                                            <a:pt x="172" y="50"/>
                                          </a:lnTo>
                                          <a:lnTo>
                                            <a:pt x="176" y="50"/>
                                          </a:lnTo>
                                          <a:lnTo>
                                            <a:pt x="176" y="50"/>
                                          </a:lnTo>
                                          <a:lnTo>
                                            <a:pt x="180" y="50"/>
                                          </a:lnTo>
                                          <a:lnTo>
                                            <a:pt x="184" y="52"/>
                                          </a:lnTo>
                                          <a:lnTo>
                                            <a:pt x="186" y="54"/>
                                          </a:lnTo>
                                          <a:lnTo>
                                            <a:pt x="182" y="54"/>
                                          </a:lnTo>
                                          <a:lnTo>
                                            <a:pt x="182" y="54"/>
                                          </a:lnTo>
                                          <a:lnTo>
                                            <a:pt x="178" y="56"/>
                                          </a:lnTo>
                                          <a:lnTo>
                                            <a:pt x="174" y="58"/>
                                          </a:lnTo>
                                          <a:lnTo>
                                            <a:pt x="174" y="60"/>
                                          </a:lnTo>
                                          <a:lnTo>
                                            <a:pt x="178" y="62"/>
                                          </a:lnTo>
                                          <a:lnTo>
                                            <a:pt x="178" y="62"/>
                                          </a:lnTo>
                                          <a:lnTo>
                                            <a:pt x="184" y="62"/>
                                          </a:lnTo>
                                          <a:lnTo>
                                            <a:pt x="184" y="60"/>
                                          </a:lnTo>
                                          <a:lnTo>
                                            <a:pt x="186" y="58"/>
                                          </a:lnTo>
                                          <a:lnTo>
                                            <a:pt x="188" y="56"/>
                                          </a:lnTo>
                                          <a:lnTo>
                                            <a:pt x="188" y="56"/>
                                          </a:lnTo>
                                          <a:lnTo>
                                            <a:pt x="196" y="58"/>
                                          </a:lnTo>
                                          <a:lnTo>
                                            <a:pt x="198" y="58"/>
                                          </a:lnTo>
                                          <a:lnTo>
                                            <a:pt x="200" y="60"/>
                                          </a:lnTo>
                                          <a:lnTo>
                                            <a:pt x="200" y="60"/>
                                          </a:lnTo>
                                          <a:lnTo>
                                            <a:pt x="204" y="60"/>
                                          </a:lnTo>
                                          <a:lnTo>
                                            <a:pt x="206" y="62"/>
                                          </a:lnTo>
                                          <a:lnTo>
                                            <a:pt x="210" y="62"/>
                                          </a:lnTo>
                                          <a:lnTo>
                                            <a:pt x="210" y="64"/>
                                          </a:lnTo>
                                          <a:lnTo>
                                            <a:pt x="210" y="64"/>
                                          </a:lnTo>
                                          <a:lnTo>
                                            <a:pt x="212" y="68"/>
                                          </a:lnTo>
                                          <a:lnTo>
                                            <a:pt x="214" y="72"/>
                                          </a:lnTo>
                                          <a:lnTo>
                                            <a:pt x="214" y="74"/>
                                          </a:lnTo>
                                          <a:lnTo>
                                            <a:pt x="212" y="76"/>
                                          </a:lnTo>
                                          <a:lnTo>
                                            <a:pt x="212" y="76"/>
                                          </a:lnTo>
                                          <a:lnTo>
                                            <a:pt x="202" y="78"/>
                                          </a:lnTo>
                                          <a:lnTo>
                                            <a:pt x="194" y="82"/>
                                          </a:lnTo>
                                          <a:lnTo>
                                            <a:pt x="194" y="82"/>
                                          </a:lnTo>
                                          <a:lnTo>
                                            <a:pt x="182" y="86"/>
                                          </a:lnTo>
                                          <a:lnTo>
                                            <a:pt x="178" y="88"/>
                                          </a:lnTo>
                                          <a:lnTo>
                                            <a:pt x="182" y="88"/>
                                          </a:lnTo>
                                          <a:lnTo>
                                            <a:pt x="182" y="88"/>
                                          </a:lnTo>
                                          <a:lnTo>
                                            <a:pt x="192" y="92"/>
                                          </a:lnTo>
                                          <a:lnTo>
                                            <a:pt x="198" y="94"/>
                                          </a:lnTo>
                                          <a:lnTo>
                                            <a:pt x="202" y="92"/>
                                          </a:lnTo>
                                          <a:lnTo>
                                            <a:pt x="202" y="92"/>
                                          </a:lnTo>
                                          <a:lnTo>
                                            <a:pt x="212" y="86"/>
                                          </a:lnTo>
                                          <a:lnTo>
                                            <a:pt x="214" y="84"/>
                                          </a:lnTo>
                                          <a:lnTo>
                                            <a:pt x="216" y="86"/>
                                          </a:lnTo>
                                          <a:lnTo>
                                            <a:pt x="216" y="86"/>
                                          </a:lnTo>
                                          <a:lnTo>
                                            <a:pt x="216" y="90"/>
                                          </a:lnTo>
                                          <a:lnTo>
                                            <a:pt x="216" y="92"/>
                                          </a:lnTo>
                                          <a:lnTo>
                                            <a:pt x="220" y="94"/>
                                          </a:lnTo>
                                          <a:lnTo>
                                            <a:pt x="226" y="94"/>
                                          </a:lnTo>
                                          <a:lnTo>
                                            <a:pt x="226" y="94"/>
                                          </a:lnTo>
                                          <a:lnTo>
                                            <a:pt x="230" y="94"/>
                                          </a:lnTo>
                                          <a:lnTo>
                                            <a:pt x="230" y="96"/>
                                          </a:lnTo>
                                          <a:lnTo>
                                            <a:pt x="220" y="98"/>
                                          </a:lnTo>
                                          <a:lnTo>
                                            <a:pt x="220" y="98"/>
                                          </a:lnTo>
                                          <a:lnTo>
                                            <a:pt x="214" y="100"/>
                                          </a:lnTo>
                                          <a:lnTo>
                                            <a:pt x="212" y="100"/>
                                          </a:lnTo>
                                          <a:lnTo>
                                            <a:pt x="208" y="100"/>
                                          </a:lnTo>
                                          <a:lnTo>
                                            <a:pt x="202" y="104"/>
                                          </a:lnTo>
                                          <a:lnTo>
                                            <a:pt x="202" y="104"/>
                                          </a:lnTo>
                                          <a:lnTo>
                                            <a:pt x="194" y="110"/>
                                          </a:lnTo>
                                          <a:lnTo>
                                            <a:pt x="192" y="110"/>
                                          </a:lnTo>
                                          <a:lnTo>
                                            <a:pt x="192" y="108"/>
                                          </a:lnTo>
                                          <a:lnTo>
                                            <a:pt x="192" y="108"/>
                                          </a:lnTo>
                                          <a:lnTo>
                                            <a:pt x="192" y="104"/>
                                          </a:lnTo>
                                          <a:lnTo>
                                            <a:pt x="196" y="100"/>
                                          </a:lnTo>
                                          <a:lnTo>
                                            <a:pt x="196" y="100"/>
                                          </a:lnTo>
                                          <a:lnTo>
                                            <a:pt x="198" y="98"/>
                                          </a:lnTo>
                                          <a:lnTo>
                                            <a:pt x="198" y="96"/>
                                          </a:lnTo>
                                          <a:lnTo>
                                            <a:pt x="192" y="94"/>
                                          </a:lnTo>
                                          <a:lnTo>
                                            <a:pt x="192" y="94"/>
                                          </a:lnTo>
                                          <a:lnTo>
                                            <a:pt x="182" y="92"/>
                                          </a:lnTo>
                                          <a:lnTo>
                                            <a:pt x="176" y="90"/>
                                          </a:lnTo>
                                          <a:lnTo>
                                            <a:pt x="172" y="90"/>
                                          </a:lnTo>
                                          <a:lnTo>
                                            <a:pt x="172" y="90"/>
                                          </a:lnTo>
                                          <a:lnTo>
                                            <a:pt x="164" y="92"/>
                                          </a:lnTo>
                                          <a:lnTo>
                                            <a:pt x="160" y="94"/>
                                          </a:lnTo>
                                          <a:lnTo>
                                            <a:pt x="158" y="96"/>
                                          </a:lnTo>
                                          <a:lnTo>
                                            <a:pt x="158" y="96"/>
                                          </a:lnTo>
                                          <a:lnTo>
                                            <a:pt x="158" y="98"/>
                                          </a:lnTo>
                                          <a:lnTo>
                                            <a:pt x="160" y="98"/>
                                          </a:lnTo>
                                          <a:lnTo>
                                            <a:pt x="164" y="100"/>
                                          </a:lnTo>
                                          <a:lnTo>
                                            <a:pt x="170" y="104"/>
                                          </a:lnTo>
                                          <a:lnTo>
                                            <a:pt x="172" y="106"/>
                                          </a:lnTo>
                                          <a:lnTo>
                                            <a:pt x="172" y="106"/>
                                          </a:lnTo>
                                          <a:lnTo>
                                            <a:pt x="158" y="102"/>
                                          </a:lnTo>
                                          <a:lnTo>
                                            <a:pt x="154" y="102"/>
                                          </a:lnTo>
                                          <a:lnTo>
                                            <a:pt x="154" y="104"/>
                                          </a:lnTo>
                                          <a:lnTo>
                                            <a:pt x="154" y="104"/>
                                          </a:lnTo>
                                          <a:lnTo>
                                            <a:pt x="154" y="104"/>
                                          </a:lnTo>
                                          <a:lnTo>
                                            <a:pt x="154" y="106"/>
                                          </a:lnTo>
                                          <a:lnTo>
                                            <a:pt x="152" y="106"/>
                                          </a:lnTo>
                                          <a:lnTo>
                                            <a:pt x="146" y="106"/>
                                          </a:lnTo>
                                          <a:lnTo>
                                            <a:pt x="140" y="106"/>
                                          </a:lnTo>
                                          <a:lnTo>
                                            <a:pt x="140" y="106"/>
                                          </a:lnTo>
                                          <a:lnTo>
                                            <a:pt x="140" y="108"/>
                                          </a:lnTo>
                                          <a:lnTo>
                                            <a:pt x="140" y="108"/>
                                          </a:lnTo>
                                          <a:lnTo>
                                            <a:pt x="142" y="108"/>
                                          </a:lnTo>
                                          <a:lnTo>
                                            <a:pt x="140" y="108"/>
                                          </a:lnTo>
                                          <a:lnTo>
                                            <a:pt x="132" y="108"/>
                                          </a:lnTo>
                                          <a:lnTo>
                                            <a:pt x="124" y="108"/>
                                          </a:lnTo>
                                          <a:lnTo>
                                            <a:pt x="122" y="108"/>
                                          </a:lnTo>
                                          <a:lnTo>
                                            <a:pt x="124" y="108"/>
                                          </a:lnTo>
                                          <a:lnTo>
                                            <a:pt x="124" y="108"/>
                                          </a:lnTo>
                                          <a:lnTo>
                                            <a:pt x="124" y="110"/>
                                          </a:lnTo>
                                          <a:lnTo>
                                            <a:pt x="122" y="110"/>
                                          </a:lnTo>
                                          <a:lnTo>
                                            <a:pt x="110" y="108"/>
                                          </a:lnTo>
                                          <a:lnTo>
                                            <a:pt x="98" y="106"/>
                                          </a:lnTo>
                                          <a:lnTo>
                                            <a:pt x="96" y="108"/>
                                          </a:lnTo>
                                          <a:lnTo>
                                            <a:pt x="98" y="110"/>
                                          </a:lnTo>
                                          <a:lnTo>
                                            <a:pt x="98" y="110"/>
                                          </a:lnTo>
                                          <a:lnTo>
                                            <a:pt x="102" y="112"/>
                                          </a:lnTo>
                                          <a:lnTo>
                                            <a:pt x="100" y="112"/>
                                          </a:lnTo>
                                          <a:lnTo>
                                            <a:pt x="92" y="112"/>
                                          </a:lnTo>
                                          <a:lnTo>
                                            <a:pt x="82" y="112"/>
                                          </a:lnTo>
                                          <a:lnTo>
                                            <a:pt x="80" y="112"/>
                                          </a:lnTo>
                                          <a:lnTo>
                                            <a:pt x="84" y="114"/>
                                          </a:lnTo>
                                          <a:lnTo>
                                            <a:pt x="84" y="114"/>
                                          </a:lnTo>
                                          <a:lnTo>
                                            <a:pt x="88" y="116"/>
                                          </a:lnTo>
                                          <a:lnTo>
                                            <a:pt x="86" y="116"/>
                                          </a:lnTo>
                                          <a:lnTo>
                                            <a:pt x="82" y="118"/>
                                          </a:lnTo>
                                          <a:lnTo>
                                            <a:pt x="80" y="120"/>
                                          </a:lnTo>
                                          <a:lnTo>
                                            <a:pt x="78" y="124"/>
                                          </a:lnTo>
                                          <a:lnTo>
                                            <a:pt x="78" y="124"/>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9" name="Canada"/>
                                    <p:cNvSpPr>
                                      <a:spLocks/>
                                    </p:cNvSpPr>
                                    <p:nvPr/>
                                  </p:nvSpPr>
                                  <p:spPr bwMode="auto">
                                    <a:xfrm>
                                      <a:off x="3285137" y="1458515"/>
                                      <a:ext cx="364517" cy="88010"/>
                                    </a:xfrm>
                                    <a:custGeom>
                                      <a:avLst/>
                                      <a:gdLst/>
                                      <a:ahLst/>
                                      <a:cxnLst>
                                        <a:cxn ang="0">
                                          <a:pos x="2" y="46"/>
                                        </a:cxn>
                                        <a:cxn ang="0">
                                          <a:pos x="24" y="48"/>
                                        </a:cxn>
                                        <a:cxn ang="0">
                                          <a:pos x="24" y="54"/>
                                        </a:cxn>
                                        <a:cxn ang="0">
                                          <a:pos x="32" y="58"/>
                                        </a:cxn>
                                        <a:cxn ang="0">
                                          <a:pos x="66" y="56"/>
                                        </a:cxn>
                                        <a:cxn ang="0">
                                          <a:pos x="84" y="56"/>
                                        </a:cxn>
                                        <a:cxn ang="0">
                                          <a:pos x="102" y="52"/>
                                        </a:cxn>
                                        <a:cxn ang="0">
                                          <a:pos x="112" y="50"/>
                                        </a:cxn>
                                        <a:cxn ang="0">
                                          <a:pos x="136" y="46"/>
                                        </a:cxn>
                                        <a:cxn ang="0">
                                          <a:pos x="140" y="38"/>
                                        </a:cxn>
                                        <a:cxn ang="0">
                                          <a:pos x="146" y="46"/>
                                        </a:cxn>
                                        <a:cxn ang="0">
                                          <a:pos x="160" y="48"/>
                                        </a:cxn>
                                        <a:cxn ang="0">
                                          <a:pos x="180" y="52"/>
                                        </a:cxn>
                                        <a:cxn ang="0">
                                          <a:pos x="196" y="58"/>
                                        </a:cxn>
                                        <a:cxn ang="0">
                                          <a:pos x="214" y="56"/>
                                        </a:cxn>
                                        <a:cxn ang="0">
                                          <a:pos x="218" y="52"/>
                                        </a:cxn>
                                        <a:cxn ang="0">
                                          <a:pos x="196" y="46"/>
                                        </a:cxn>
                                        <a:cxn ang="0">
                                          <a:pos x="214" y="44"/>
                                        </a:cxn>
                                        <a:cxn ang="0">
                                          <a:pos x="214" y="38"/>
                                        </a:cxn>
                                        <a:cxn ang="0">
                                          <a:pos x="232" y="40"/>
                                        </a:cxn>
                                        <a:cxn ang="0">
                                          <a:pos x="236" y="32"/>
                                        </a:cxn>
                                        <a:cxn ang="0">
                                          <a:pos x="218" y="24"/>
                                        </a:cxn>
                                        <a:cxn ang="0">
                                          <a:pos x="218" y="14"/>
                                        </a:cxn>
                                        <a:cxn ang="0">
                                          <a:pos x="216" y="10"/>
                                        </a:cxn>
                                        <a:cxn ang="0">
                                          <a:pos x="202" y="0"/>
                                        </a:cxn>
                                        <a:cxn ang="0">
                                          <a:pos x="196" y="0"/>
                                        </a:cxn>
                                        <a:cxn ang="0">
                                          <a:pos x="192" y="6"/>
                                        </a:cxn>
                                        <a:cxn ang="0">
                                          <a:pos x="190" y="10"/>
                                        </a:cxn>
                                        <a:cxn ang="0">
                                          <a:pos x="188" y="14"/>
                                        </a:cxn>
                                        <a:cxn ang="0">
                                          <a:pos x="186" y="18"/>
                                        </a:cxn>
                                        <a:cxn ang="0">
                                          <a:pos x="174" y="18"/>
                                        </a:cxn>
                                        <a:cxn ang="0">
                                          <a:pos x="172" y="18"/>
                                        </a:cxn>
                                        <a:cxn ang="0">
                                          <a:pos x="184" y="6"/>
                                        </a:cxn>
                                        <a:cxn ang="0">
                                          <a:pos x="164" y="2"/>
                                        </a:cxn>
                                        <a:cxn ang="0">
                                          <a:pos x="168" y="6"/>
                                        </a:cxn>
                                        <a:cxn ang="0">
                                          <a:pos x="158" y="8"/>
                                        </a:cxn>
                                        <a:cxn ang="0">
                                          <a:pos x="154" y="8"/>
                                        </a:cxn>
                                        <a:cxn ang="0">
                                          <a:pos x="148" y="10"/>
                                        </a:cxn>
                                        <a:cxn ang="0">
                                          <a:pos x="140" y="8"/>
                                        </a:cxn>
                                        <a:cxn ang="0">
                                          <a:pos x="140" y="2"/>
                                        </a:cxn>
                                        <a:cxn ang="0">
                                          <a:pos x="122" y="2"/>
                                        </a:cxn>
                                        <a:cxn ang="0">
                                          <a:pos x="114" y="4"/>
                                        </a:cxn>
                                        <a:cxn ang="0">
                                          <a:pos x="102" y="0"/>
                                        </a:cxn>
                                        <a:cxn ang="0">
                                          <a:pos x="58" y="6"/>
                                        </a:cxn>
                                        <a:cxn ang="0">
                                          <a:pos x="56" y="12"/>
                                        </a:cxn>
                                        <a:cxn ang="0">
                                          <a:pos x="26" y="18"/>
                                        </a:cxn>
                                        <a:cxn ang="0">
                                          <a:pos x="34" y="20"/>
                                        </a:cxn>
                                        <a:cxn ang="0">
                                          <a:pos x="50" y="20"/>
                                        </a:cxn>
                                        <a:cxn ang="0">
                                          <a:pos x="20" y="24"/>
                                        </a:cxn>
                                        <a:cxn ang="0">
                                          <a:pos x="20" y="30"/>
                                        </a:cxn>
                                        <a:cxn ang="0">
                                          <a:pos x="30" y="34"/>
                                        </a:cxn>
                                        <a:cxn ang="0">
                                          <a:pos x="56" y="32"/>
                                        </a:cxn>
                                        <a:cxn ang="0">
                                          <a:pos x="62" y="36"/>
                                        </a:cxn>
                                        <a:cxn ang="0">
                                          <a:pos x="42" y="38"/>
                                        </a:cxn>
                                        <a:cxn ang="0">
                                          <a:pos x="4" y="42"/>
                                        </a:cxn>
                                      </a:cxnLst>
                                      <a:rect l="0" t="0" r="r" b="b"/>
                                      <a:pathLst>
                                        <a:path w="240" h="58">
                                          <a:moveTo>
                                            <a:pt x="4" y="42"/>
                                          </a:moveTo>
                                          <a:lnTo>
                                            <a:pt x="4" y="42"/>
                                          </a:lnTo>
                                          <a:lnTo>
                                            <a:pt x="0" y="44"/>
                                          </a:lnTo>
                                          <a:lnTo>
                                            <a:pt x="2" y="46"/>
                                          </a:lnTo>
                                          <a:lnTo>
                                            <a:pt x="14" y="46"/>
                                          </a:lnTo>
                                          <a:lnTo>
                                            <a:pt x="14" y="46"/>
                                          </a:lnTo>
                                          <a:lnTo>
                                            <a:pt x="20" y="48"/>
                                          </a:lnTo>
                                          <a:lnTo>
                                            <a:pt x="24" y="48"/>
                                          </a:lnTo>
                                          <a:lnTo>
                                            <a:pt x="26" y="50"/>
                                          </a:lnTo>
                                          <a:lnTo>
                                            <a:pt x="24" y="52"/>
                                          </a:lnTo>
                                          <a:lnTo>
                                            <a:pt x="24" y="52"/>
                                          </a:lnTo>
                                          <a:lnTo>
                                            <a:pt x="24" y="54"/>
                                          </a:lnTo>
                                          <a:lnTo>
                                            <a:pt x="24" y="54"/>
                                          </a:lnTo>
                                          <a:lnTo>
                                            <a:pt x="26" y="56"/>
                                          </a:lnTo>
                                          <a:lnTo>
                                            <a:pt x="32" y="58"/>
                                          </a:lnTo>
                                          <a:lnTo>
                                            <a:pt x="32" y="58"/>
                                          </a:lnTo>
                                          <a:lnTo>
                                            <a:pt x="44" y="58"/>
                                          </a:lnTo>
                                          <a:lnTo>
                                            <a:pt x="56" y="56"/>
                                          </a:lnTo>
                                          <a:lnTo>
                                            <a:pt x="56" y="56"/>
                                          </a:lnTo>
                                          <a:lnTo>
                                            <a:pt x="66" y="56"/>
                                          </a:lnTo>
                                          <a:lnTo>
                                            <a:pt x="74" y="56"/>
                                          </a:lnTo>
                                          <a:lnTo>
                                            <a:pt x="74" y="56"/>
                                          </a:lnTo>
                                          <a:lnTo>
                                            <a:pt x="80" y="56"/>
                                          </a:lnTo>
                                          <a:lnTo>
                                            <a:pt x="84" y="56"/>
                                          </a:lnTo>
                                          <a:lnTo>
                                            <a:pt x="90" y="56"/>
                                          </a:lnTo>
                                          <a:lnTo>
                                            <a:pt x="96" y="54"/>
                                          </a:lnTo>
                                          <a:lnTo>
                                            <a:pt x="96" y="54"/>
                                          </a:lnTo>
                                          <a:lnTo>
                                            <a:pt x="102" y="52"/>
                                          </a:lnTo>
                                          <a:lnTo>
                                            <a:pt x="104" y="52"/>
                                          </a:lnTo>
                                          <a:lnTo>
                                            <a:pt x="108" y="52"/>
                                          </a:lnTo>
                                          <a:lnTo>
                                            <a:pt x="112" y="50"/>
                                          </a:lnTo>
                                          <a:lnTo>
                                            <a:pt x="112" y="50"/>
                                          </a:lnTo>
                                          <a:lnTo>
                                            <a:pt x="116" y="50"/>
                                          </a:lnTo>
                                          <a:lnTo>
                                            <a:pt x="120" y="50"/>
                                          </a:lnTo>
                                          <a:lnTo>
                                            <a:pt x="126" y="48"/>
                                          </a:lnTo>
                                          <a:lnTo>
                                            <a:pt x="136" y="46"/>
                                          </a:lnTo>
                                          <a:lnTo>
                                            <a:pt x="136" y="46"/>
                                          </a:lnTo>
                                          <a:lnTo>
                                            <a:pt x="138" y="44"/>
                                          </a:lnTo>
                                          <a:lnTo>
                                            <a:pt x="140" y="42"/>
                                          </a:lnTo>
                                          <a:lnTo>
                                            <a:pt x="140" y="38"/>
                                          </a:lnTo>
                                          <a:lnTo>
                                            <a:pt x="140" y="38"/>
                                          </a:lnTo>
                                          <a:lnTo>
                                            <a:pt x="140" y="42"/>
                                          </a:lnTo>
                                          <a:lnTo>
                                            <a:pt x="142" y="44"/>
                                          </a:lnTo>
                                          <a:lnTo>
                                            <a:pt x="146" y="46"/>
                                          </a:lnTo>
                                          <a:lnTo>
                                            <a:pt x="146" y="46"/>
                                          </a:lnTo>
                                          <a:lnTo>
                                            <a:pt x="156" y="46"/>
                                          </a:lnTo>
                                          <a:lnTo>
                                            <a:pt x="158" y="46"/>
                                          </a:lnTo>
                                          <a:lnTo>
                                            <a:pt x="160" y="48"/>
                                          </a:lnTo>
                                          <a:lnTo>
                                            <a:pt x="160" y="48"/>
                                          </a:lnTo>
                                          <a:lnTo>
                                            <a:pt x="160" y="50"/>
                                          </a:lnTo>
                                          <a:lnTo>
                                            <a:pt x="164" y="52"/>
                                          </a:lnTo>
                                          <a:lnTo>
                                            <a:pt x="180" y="52"/>
                                          </a:lnTo>
                                          <a:lnTo>
                                            <a:pt x="180" y="52"/>
                                          </a:lnTo>
                                          <a:lnTo>
                                            <a:pt x="188" y="54"/>
                                          </a:lnTo>
                                          <a:lnTo>
                                            <a:pt x="192" y="56"/>
                                          </a:lnTo>
                                          <a:lnTo>
                                            <a:pt x="196" y="58"/>
                                          </a:lnTo>
                                          <a:lnTo>
                                            <a:pt x="202" y="58"/>
                                          </a:lnTo>
                                          <a:lnTo>
                                            <a:pt x="202" y="58"/>
                                          </a:lnTo>
                                          <a:lnTo>
                                            <a:pt x="210" y="58"/>
                                          </a:lnTo>
                                          <a:lnTo>
                                            <a:pt x="214" y="56"/>
                                          </a:lnTo>
                                          <a:lnTo>
                                            <a:pt x="220" y="54"/>
                                          </a:lnTo>
                                          <a:lnTo>
                                            <a:pt x="220" y="54"/>
                                          </a:lnTo>
                                          <a:lnTo>
                                            <a:pt x="220" y="52"/>
                                          </a:lnTo>
                                          <a:lnTo>
                                            <a:pt x="218" y="52"/>
                                          </a:lnTo>
                                          <a:lnTo>
                                            <a:pt x="212" y="50"/>
                                          </a:lnTo>
                                          <a:lnTo>
                                            <a:pt x="212" y="50"/>
                                          </a:lnTo>
                                          <a:lnTo>
                                            <a:pt x="198" y="48"/>
                                          </a:lnTo>
                                          <a:lnTo>
                                            <a:pt x="196" y="46"/>
                                          </a:lnTo>
                                          <a:lnTo>
                                            <a:pt x="200" y="46"/>
                                          </a:lnTo>
                                          <a:lnTo>
                                            <a:pt x="200" y="46"/>
                                          </a:lnTo>
                                          <a:lnTo>
                                            <a:pt x="212" y="46"/>
                                          </a:lnTo>
                                          <a:lnTo>
                                            <a:pt x="214" y="44"/>
                                          </a:lnTo>
                                          <a:lnTo>
                                            <a:pt x="212" y="40"/>
                                          </a:lnTo>
                                          <a:lnTo>
                                            <a:pt x="212" y="40"/>
                                          </a:lnTo>
                                          <a:lnTo>
                                            <a:pt x="212" y="38"/>
                                          </a:lnTo>
                                          <a:lnTo>
                                            <a:pt x="214" y="38"/>
                                          </a:lnTo>
                                          <a:lnTo>
                                            <a:pt x="218" y="40"/>
                                          </a:lnTo>
                                          <a:lnTo>
                                            <a:pt x="224" y="42"/>
                                          </a:lnTo>
                                          <a:lnTo>
                                            <a:pt x="224" y="42"/>
                                          </a:lnTo>
                                          <a:lnTo>
                                            <a:pt x="232" y="40"/>
                                          </a:lnTo>
                                          <a:lnTo>
                                            <a:pt x="238" y="38"/>
                                          </a:lnTo>
                                          <a:lnTo>
                                            <a:pt x="240" y="36"/>
                                          </a:lnTo>
                                          <a:lnTo>
                                            <a:pt x="236" y="32"/>
                                          </a:lnTo>
                                          <a:lnTo>
                                            <a:pt x="236" y="32"/>
                                          </a:lnTo>
                                          <a:lnTo>
                                            <a:pt x="228" y="30"/>
                                          </a:lnTo>
                                          <a:lnTo>
                                            <a:pt x="224" y="28"/>
                                          </a:lnTo>
                                          <a:lnTo>
                                            <a:pt x="218" y="24"/>
                                          </a:lnTo>
                                          <a:lnTo>
                                            <a:pt x="218" y="24"/>
                                          </a:lnTo>
                                          <a:lnTo>
                                            <a:pt x="216" y="22"/>
                                          </a:lnTo>
                                          <a:lnTo>
                                            <a:pt x="216" y="22"/>
                                          </a:lnTo>
                                          <a:lnTo>
                                            <a:pt x="216" y="18"/>
                                          </a:lnTo>
                                          <a:lnTo>
                                            <a:pt x="218" y="14"/>
                                          </a:lnTo>
                                          <a:lnTo>
                                            <a:pt x="218" y="14"/>
                                          </a:lnTo>
                                          <a:lnTo>
                                            <a:pt x="218" y="14"/>
                                          </a:lnTo>
                                          <a:lnTo>
                                            <a:pt x="216" y="12"/>
                                          </a:lnTo>
                                          <a:lnTo>
                                            <a:pt x="216" y="10"/>
                                          </a:lnTo>
                                          <a:lnTo>
                                            <a:pt x="216" y="6"/>
                                          </a:lnTo>
                                          <a:lnTo>
                                            <a:pt x="212" y="2"/>
                                          </a:lnTo>
                                          <a:lnTo>
                                            <a:pt x="212" y="2"/>
                                          </a:lnTo>
                                          <a:lnTo>
                                            <a:pt x="202" y="0"/>
                                          </a:lnTo>
                                          <a:lnTo>
                                            <a:pt x="198" y="0"/>
                                          </a:lnTo>
                                          <a:lnTo>
                                            <a:pt x="196" y="0"/>
                                          </a:lnTo>
                                          <a:lnTo>
                                            <a:pt x="196" y="0"/>
                                          </a:lnTo>
                                          <a:lnTo>
                                            <a:pt x="196" y="0"/>
                                          </a:lnTo>
                                          <a:lnTo>
                                            <a:pt x="196" y="2"/>
                                          </a:lnTo>
                                          <a:lnTo>
                                            <a:pt x="194" y="4"/>
                                          </a:lnTo>
                                          <a:lnTo>
                                            <a:pt x="192" y="4"/>
                                          </a:lnTo>
                                          <a:lnTo>
                                            <a:pt x="192" y="6"/>
                                          </a:lnTo>
                                          <a:lnTo>
                                            <a:pt x="192" y="6"/>
                                          </a:lnTo>
                                          <a:lnTo>
                                            <a:pt x="192" y="8"/>
                                          </a:lnTo>
                                          <a:lnTo>
                                            <a:pt x="192" y="8"/>
                                          </a:lnTo>
                                          <a:lnTo>
                                            <a:pt x="190" y="10"/>
                                          </a:lnTo>
                                          <a:lnTo>
                                            <a:pt x="190" y="12"/>
                                          </a:lnTo>
                                          <a:lnTo>
                                            <a:pt x="190" y="12"/>
                                          </a:lnTo>
                                          <a:lnTo>
                                            <a:pt x="190" y="14"/>
                                          </a:lnTo>
                                          <a:lnTo>
                                            <a:pt x="188" y="14"/>
                                          </a:lnTo>
                                          <a:lnTo>
                                            <a:pt x="186" y="14"/>
                                          </a:lnTo>
                                          <a:lnTo>
                                            <a:pt x="186" y="16"/>
                                          </a:lnTo>
                                          <a:lnTo>
                                            <a:pt x="186" y="16"/>
                                          </a:lnTo>
                                          <a:lnTo>
                                            <a:pt x="186" y="18"/>
                                          </a:lnTo>
                                          <a:lnTo>
                                            <a:pt x="184" y="18"/>
                                          </a:lnTo>
                                          <a:lnTo>
                                            <a:pt x="180" y="18"/>
                                          </a:lnTo>
                                          <a:lnTo>
                                            <a:pt x="176" y="18"/>
                                          </a:lnTo>
                                          <a:lnTo>
                                            <a:pt x="174" y="18"/>
                                          </a:lnTo>
                                          <a:lnTo>
                                            <a:pt x="174" y="18"/>
                                          </a:lnTo>
                                          <a:lnTo>
                                            <a:pt x="174" y="18"/>
                                          </a:lnTo>
                                          <a:lnTo>
                                            <a:pt x="174" y="20"/>
                                          </a:lnTo>
                                          <a:lnTo>
                                            <a:pt x="172" y="18"/>
                                          </a:lnTo>
                                          <a:lnTo>
                                            <a:pt x="174" y="14"/>
                                          </a:lnTo>
                                          <a:lnTo>
                                            <a:pt x="178" y="10"/>
                                          </a:lnTo>
                                          <a:lnTo>
                                            <a:pt x="178" y="10"/>
                                          </a:lnTo>
                                          <a:lnTo>
                                            <a:pt x="184" y="6"/>
                                          </a:lnTo>
                                          <a:lnTo>
                                            <a:pt x="184" y="4"/>
                                          </a:lnTo>
                                          <a:lnTo>
                                            <a:pt x="176" y="2"/>
                                          </a:lnTo>
                                          <a:lnTo>
                                            <a:pt x="176" y="2"/>
                                          </a:lnTo>
                                          <a:lnTo>
                                            <a:pt x="164" y="2"/>
                                          </a:lnTo>
                                          <a:lnTo>
                                            <a:pt x="162" y="4"/>
                                          </a:lnTo>
                                          <a:lnTo>
                                            <a:pt x="166" y="4"/>
                                          </a:lnTo>
                                          <a:lnTo>
                                            <a:pt x="166" y="4"/>
                                          </a:lnTo>
                                          <a:lnTo>
                                            <a:pt x="168" y="6"/>
                                          </a:lnTo>
                                          <a:lnTo>
                                            <a:pt x="164" y="6"/>
                                          </a:lnTo>
                                          <a:lnTo>
                                            <a:pt x="158" y="6"/>
                                          </a:lnTo>
                                          <a:lnTo>
                                            <a:pt x="158" y="6"/>
                                          </a:lnTo>
                                          <a:lnTo>
                                            <a:pt x="158" y="8"/>
                                          </a:lnTo>
                                          <a:lnTo>
                                            <a:pt x="158" y="8"/>
                                          </a:lnTo>
                                          <a:lnTo>
                                            <a:pt x="160" y="10"/>
                                          </a:lnTo>
                                          <a:lnTo>
                                            <a:pt x="158" y="10"/>
                                          </a:lnTo>
                                          <a:lnTo>
                                            <a:pt x="154" y="8"/>
                                          </a:lnTo>
                                          <a:lnTo>
                                            <a:pt x="150" y="10"/>
                                          </a:lnTo>
                                          <a:lnTo>
                                            <a:pt x="150" y="10"/>
                                          </a:lnTo>
                                          <a:lnTo>
                                            <a:pt x="150" y="10"/>
                                          </a:lnTo>
                                          <a:lnTo>
                                            <a:pt x="148" y="10"/>
                                          </a:lnTo>
                                          <a:lnTo>
                                            <a:pt x="146" y="8"/>
                                          </a:lnTo>
                                          <a:lnTo>
                                            <a:pt x="142" y="8"/>
                                          </a:lnTo>
                                          <a:lnTo>
                                            <a:pt x="142" y="8"/>
                                          </a:lnTo>
                                          <a:lnTo>
                                            <a:pt x="140" y="8"/>
                                          </a:lnTo>
                                          <a:lnTo>
                                            <a:pt x="142" y="6"/>
                                          </a:lnTo>
                                          <a:lnTo>
                                            <a:pt x="144" y="4"/>
                                          </a:lnTo>
                                          <a:lnTo>
                                            <a:pt x="144" y="2"/>
                                          </a:lnTo>
                                          <a:lnTo>
                                            <a:pt x="140" y="2"/>
                                          </a:lnTo>
                                          <a:lnTo>
                                            <a:pt x="140" y="2"/>
                                          </a:lnTo>
                                          <a:lnTo>
                                            <a:pt x="130" y="2"/>
                                          </a:lnTo>
                                          <a:lnTo>
                                            <a:pt x="122" y="2"/>
                                          </a:lnTo>
                                          <a:lnTo>
                                            <a:pt x="122" y="2"/>
                                          </a:lnTo>
                                          <a:lnTo>
                                            <a:pt x="114" y="4"/>
                                          </a:lnTo>
                                          <a:lnTo>
                                            <a:pt x="112" y="4"/>
                                          </a:lnTo>
                                          <a:lnTo>
                                            <a:pt x="114" y="4"/>
                                          </a:lnTo>
                                          <a:lnTo>
                                            <a:pt x="114" y="4"/>
                                          </a:lnTo>
                                          <a:lnTo>
                                            <a:pt x="116" y="2"/>
                                          </a:lnTo>
                                          <a:lnTo>
                                            <a:pt x="114" y="2"/>
                                          </a:lnTo>
                                          <a:lnTo>
                                            <a:pt x="110" y="0"/>
                                          </a:lnTo>
                                          <a:lnTo>
                                            <a:pt x="102" y="0"/>
                                          </a:lnTo>
                                          <a:lnTo>
                                            <a:pt x="92" y="2"/>
                                          </a:lnTo>
                                          <a:lnTo>
                                            <a:pt x="92" y="2"/>
                                          </a:lnTo>
                                          <a:lnTo>
                                            <a:pt x="74" y="4"/>
                                          </a:lnTo>
                                          <a:lnTo>
                                            <a:pt x="58" y="6"/>
                                          </a:lnTo>
                                          <a:lnTo>
                                            <a:pt x="58" y="6"/>
                                          </a:lnTo>
                                          <a:lnTo>
                                            <a:pt x="56" y="8"/>
                                          </a:lnTo>
                                          <a:lnTo>
                                            <a:pt x="56" y="10"/>
                                          </a:lnTo>
                                          <a:lnTo>
                                            <a:pt x="56" y="12"/>
                                          </a:lnTo>
                                          <a:lnTo>
                                            <a:pt x="52" y="12"/>
                                          </a:lnTo>
                                          <a:lnTo>
                                            <a:pt x="52" y="12"/>
                                          </a:lnTo>
                                          <a:lnTo>
                                            <a:pt x="32" y="16"/>
                                          </a:lnTo>
                                          <a:lnTo>
                                            <a:pt x="26" y="18"/>
                                          </a:lnTo>
                                          <a:lnTo>
                                            <a:pt x="26" y="18"/>
                                          </a:lnTo>
                                          <a:lnTo>
                                            <a:pt x="26" y="20"/>
                                          </a:lnTo>
                                          <a:lnTo>
                                            <a:pt x="26" y="20"/>
                                          </a:lnTo>
                                          <a:lnTo>
                                            <a:pt x="34" y="20"/>
                                          </a:lnTo>
                                          <a:lnTo>
                                            <a:pt x="44" y="20"/>
                                          </a:lnTo>
                                          <a:lnTo>
                                            <a:pt x="52" y="20"/>
                                          </a:lnTo>
                                          <a:lnTo>
                                            <a:pt x="52" y="20"/>
                                          </a:lnTo>
                                          <a:lnTo>
                                            <a:pt x="50" y="20"/>
                                          </a:lnTo>
                                          <a:lnTo>
                                            <a:pt x="50" y="20"/>
                                          </a:lnTo>
                                          <a:lnTo>
                                            <a:pt x="40" y="22"/>
                                          </a:lnTo>
                                          <a:lnTo>
                                            <a:pt x="28" y="22"/>
                                          </a:lnTo>
                                          <a:lnTo>
                                            <a:pt x="20" y="24"/>
                                          </a:lnTo>
                                          <a:lnTo>
                                            <a:pt x="18" y="24"/>
                                          </a:lnTo>
                                          <a:lnTo>
                                            <a:pt x="18" y="26"/>
                                          </a:lnTo>
                                          <a:lnTo>
                                            <a:pt x="18" y="26"/>
                                          </a:lnTo>
                                          <a:lnTo>
                                            <a:pt x="20" y="30"/>
                                          </a:lnTo>
                                          <a:lnTo>
                                            <a:pt x="22" y="32"/>
                                          </a:lnTo>
                                          <a:lnTo>
                                            <a:pt x="24" y="34"/>
                                          </a:lnTo>
                                          <a:lnTo>
                                            <a:pt x="30" y="34"/>
                                          </a:lnTo>
                                          <a:lnTo>
                                            <a:pt x="30" y="34"/>
                                          </a:lnTo>
                                          <a:lnTo>
                                            <a:pt x="44" y="32"/>
                                          </a:lnTo>
                                          <a:lnTo>
                                            <a:pt x="50" y="30"/>
                                          </a:lnTo>
                                          <a:lnTo>
                                            <a:pt x="56" y="32"/>
                                          </a:lnTo>
                                          <a:lnTo>
                                            <a:pt x="56" y="32"/>
                                          </a:lnTo>
                                          <a:lnTo>
                                            <a:pt x="66" y="36"/>
                                          </a:lnTo>
                                          <a:lnTo>
                                            <a:pt x="66" y="38"/>
                                          </a:lnTo>
                                          <a:lnTo>
                                            <a:pt x="62" y="36"/>
                                          </a:lnTo>
                                          <a:lnTo>
                                            <a:pt x="62" y="36"/>
                                          </a:lnTo>
                                          <a:lnTo>
                                            <a:pt x="56" y="36"/>
                                          </a:lnTo>
                                          <a:lnTo>
                                            <a:pt x="52" y="36"/>
                                          </a:lnTo>
                                          <a:lnTo>
                                            <a:pt x="42" y="38"/>
                                          </a:lnTo>
                                          <a:lnTo>
                                            <a:pt x="42" y="38"/>
                                          </a:lnTo>
                                          <a:lnTo>
                                            <a:pt x="26" y="38"/>
                                          </a:lnTo>
                                          <a:lnTo>
                                            <a:pt x="14" y="38"/>
                                          </a:lnTo>
                                          <a:lnTo>
                                            <a:pt x="4" y="42"/>
                                          </a:lnTo>
                                          <a:lnTo>
                                            <a:pt x="4" y="42"/>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0" name="Canada"/>
                                    <p:cNvSpPr>
                                      <a:spLocks/>
                                    </p:cNvSpPr>
                                    <p:nvPr/>
                                  </p:nvSpPr>
                                  <p:spPr bwMode="auto">
                                    <a:xfrm>
                                      <a:off x="4147693" y="2119976"/>
                                      <a:ext cx="54678" cy="27314"/>
                                    </a:xfrm>
                                    <a:custGeom>
                                      <a:avLst/>
                                      <a:gdLst/>
                                      <a:ahLst/>
                                      <a:cxnLst>
                                        <a:cxn ang="0">
                                          <a:pos x="0" y="8"/>
                                        </a:cxn>
                                        <a:cxn ang="0">
                                          <a:pos x="0" y="8"/>
                                        </a:cxn>
                                        <a:cxn ang="0">
                                          <a:pos x="0" y="0"/>
                                        </a:cxn>
                                        <a:cxn ang="0">
                                          <a:pos x="2" y="0"/>
                                        </a:cxn>
                                        <a:cxn ang="0">
                                          <a:pos x="4" y="2"/>
                                        </a:cxn>
                                        <a:cxn ang="0">
                                          <a:pos x="4" y="2"/>
                                        </a:cxn>
                                        <a:cxn ang="0">
                                          <a:pos x="6" y="4"/>
                                        </a:cxn>
                                        <a:cxn ang="0">
                                          <a:pos x="10" y="4"/>
                                        </a:cxn>
                                        <a:cxn ang="0">
                                          <a:pos x="12" y="6"/>
                                        </a:cxn>
                                        <a:cxn ang="0">
                                          <a:pos x="12" y="8"/>
                                        </a:cxn>
                                        <a:cxn ang="0">
                                          <a:pos x="12" y="8"/>
                                        </a:cxn>
                                        <a:cxn ang="0">
                                          <a:pos x="12" y="8"/>
                                        </a:cxn>
                                        <a:cxn ang="0">
                                          <a:pos x="14" y="8"/>
                                        </a:cxn>
                                        <a:cxn ang="0">
                                          <a:pos x="18" y="8"/>
                                        </a:cxn>
                                        <a:cxn ang="0">
                                          <a:pos x="18" y="8"/>
                                        </a:cxn>
                                        <a:cxn ang="0">
                                          <a:pos x="22" y="10"/>
                                        </a:cxn>
                                        <a:cxn ang="0">
                                          <a:pos x="28" y="10"/>
                                        </a:cxn>
                                        <a:cxn ang="0">
                                          <a:pos x="28" y="10"/>
                                        </a:cxn>
                                        <a:cxn ang="0">
                                          <a:pos x="36" y="8"/>
                                        </a:cxn>
                                        <a:cxn ang="0">
                                          <a:pos x="36" y="8"/>
                                        </a:cxn>
                                        <a:cxn ang="0">
                                          <a:pos x="36" y="10"/>
                                        </a:cxn>
                                        <a:cxn ang="0">
                                          <a:pos x="36" y="10"/>
                                        </a:cxn>
                                        <a:cxn ang="0">
                                          <a:pos x="32" y="12"/>
                                        </a:cxn>
                                        <a:cxn ang="0">
                                          <a:pos x="30" y="14"/>
                                        </a:cxn>
                                        <a:cxn ang="0">
                                          <a:pos x="30" y="14"/>
                                        </a:cxn>
                                        <a:cxn ang="0">
                                          <a:pos x="28" y="14"/>
                                        </a:cxn>
                                        <a:cxn ang="0">
                                          <a:pos x="30" y="14"/>
                                        </a:cxn>
                                        <a:cxn ang="0">
                                          <a:pos x="32" y="16"/>
                                        </a:cxn>
                                        <a:cxn ang="0">
                                          <a:pos x="30" y="18"/>
                                        </a:cxn>
                                        <a:cxn ang="0">
                                          <a:pos x="30" y="18"/>
                                        </a:cxn>
                                        <a:cxn ang="0">
                                          <a:pos x="26" y="18"/>
                                        </a:cxn>
                                        <a:cxn ang="0">
                                          <a:pos x="26" y="18"/>
                                        </a:cxn>
                                        <a:cxn ang="0">
                                          <a:pos x="24" y="16"/>
                                        </a:cxn>
                                        <a:cxn ang="0">
                                          <a:pos x="24" y="16"/>
                                        </a:cxn>
                                        <a:cxn ang="0">
                                          <a:pos x="24" y="16"/>
                                        </a:cxn>
                                        <a:cxn ang="0">
                                          <a:pos x="20" y="14"/>
                                        </a:cxn>
                                        <a:cxn ang="0">
                                          <a:pos x="18" y="14"/>
                                        </a:cxn>
                                        <a:cxn ang="0">
                                          <a:pos x="18" y="14"/>
                                        </a:cxn>
                                        <a:cxn ang="0">
                                          <a:pos x="18" y="14"/>
                                        </a:cxn>
                                        <a:cxn ang="0">
                                          <a:pos x="18" y="16"/>
                                        </a:cxn>
                                        <a:cxn ang="0">
                                          <a:pos x="16" y="16"/>
                                        </a:cxn>
                                        <a:cxn ang="0">
                                          <a:pos x="16" y="16"/>
                                        </a:cxn>
                                        <a:cxn ang="0">
                                          <a:pos x="10" y="14"/>
                                        </a:cxn>
                                        <a:cxn ang="0">
                                          <a:pos x="10" y="14"/>
                                        </a:cxn>
                                        <a:cxn ang="0">
                                          <a:pos x="10" y="14"/>
                                        </a:cxn>
                                        <a:cxn ang="0">
                                          <a:pos x="10" y="14"/>
                                        </a:cxn>
                                        <a:cxn ang="0">
                                          <a:pos x="10" y="12"/>
                                        </a:cxn>
                                        <a:cxn ang="0">
                                          <a:pos x="8" y="12"/>
                                        </a:cxn>
                                        <a:cxn ang="0">
                                          <a:pos x="8" y="12"/>
                                        </a:cxn>
                                        <a:cxn ang="0">
                                          <a:pos x="4" y="12"/>
                                        </a:cxn>
                                        <a:cxn ang="0">
                                          <a:pos x="4" y="10"/>
                                        </a:cxn>
                                        <a:cxn ang="0">
                                          <a:pos x="4" y="10"/>
                                        </a:cxn>
                                        <a:cxn ang="0">
                                          <a:pos x="4" y="8"/>
                                        </a:cxn>
                                        <a:cxn ang="0">
                                          <a:pos x="4" y="8"/>
                                        </a:cxn>
                                        <a:cxn ang="0">
                                          <a:pos x="4" y="8"/>
                                        </a:cxn>
                                        <a:cxn ang="0">
                                          <a:pos x="2" y="10"/>
                                        </a:cxn>
                                        <a:cxn ang="0">
                                          <a:pos x="0" y="8"/>
                                        </a:cxn>
                                        <a:cxn ang="0">
                                          <a:pos x="0" y="8"/>
                                        </a:cxn>
                                      </a:cxnLst>
                                      <a:rect l="0" t="0" r="r" b="b"/>
                                      <a:pathLst>
                                        <a:path w="36" h="18">
                                          <a:moveTo>
                                            <a:pt x="0" y="8"/>
                                          </a:moveTo>
                                          <a:lnTo>
                                            <a:pt x="0" y="8"/>
                                          </a:lnTo>
                                          <a:lnTo>
                                            <a:pt x="0" y="0"/>
                                          </a:lnTo>
                                          <a:lnTo>
                                            <a:pt x="2" y="0"/>
                                          </a:lnTo>
                                          <a:lnTo>
                                            <a:pt x="4" y="2"/>
                                          </a:lnTo>
                                          <a:lnTo>
                                            <a:pt x="4" y="2"/>
                                          </a:lnTo>
                                          <a:lnTo>
                                            <a:pt x="6" y="4"/>
                                          </a:lnTo>
                                          <a:lnTo>
                                            <a:pt x="10" y="4"/>
                                          </a:lnTo>
                                          <a:lnTo>
                                            <a:pt x="12" y="6"/>
                                          </a:lnTo>
                                          <a:lnTo>
                                            <a:pt x="12" y="8"/>
                                          </a:lnTo>
                                          <a:lnTo>
                                            <a:pt x="12" y="8"/>
                                          </a:lnTo>
                                          <a:lnTo>
                                            <a:pt x="12" y="8"/>
                                          </a:lnTo>
                                          <a:lnTo>
                                            <a:pt x="14" y="8"/>
                                          </a:lnTo>
                                          <a:lnTo>
                                            <a:pt x="18" y="8"/>
                                          </a:lnTo>
                                          <a:lnTo>
                                            <a:pt x="18" y="8"/>
                                          </a:lnTo>
                                          <a:lnTo>
                                            <a:pt x="22" y="10"/>
                                          </a:lnTo>
                                          <a:lnTo>
                                            <a:pt x="28" y="10"/>
                                          </a:lnTo>
                                          <a:lnTo>
                                            <a:pt x="28" y="10"/>
                                          </a:lnTo>
                                          <a:lnTo>
                                            <a:pt x="36" y="8"/>
                                          </a:lnTo>
                                          <a:lnTo>
                                            <a:pt x="36" y="8"/>
                                          </a:lnTo>
                                          <a:lnTo>
                                            <a:pt x="36" y="10"/>
                                          </a:lnTo>
                                          <a:lnTo>
                                            <a:pt x="36" y="10"/>
                                          </a:lnTo>
                                          <a:lnTo>
                                            <a:pt x="32" y="12"/>
                                          </a:lnTo>
                                          <a:lnTo>
                                            <a:pt x="30" y="14"/>
                                          </a:lnTo>
                                          <a:lnTo>
                                            <a:pt x="30" y="14"/>
                                          </a:lnTo>
                                          <a:lnTo>
                                            <a:pt x="28" y="14"/>
                                          </a:lnTo>
                                          <a:lnTo>
                                            <a:pt x="30" y="14"/>
                                          </a:lnTo>
                                          <a:lnTo>
                                            <a:pt x="32" y="16"/>
                                          </a:lnTo>
                                          <a:lnTo>
                                            <a:pt x="30" y="18"/>
                                          </a:lnTo>
                                          <a:lnTo>
                                            <a:pt x="30" y="18"/>
                                          </a:lnTo>
                                          <a:lnTo>
                                            <a:pt x="26" y="18"/>
                                          </a:lnTo>
                                          <a:lnTo>
                                            <a:pt x="26" y="18"/>
                                          </a:lnTo>
                                          <a:lnTo>
                                            <a:pt x="24" y="16"/>
                                          </a:lnTo>
                                          <a:lnTo>
                                            <a:pt x="24" y="16"/>
                                          </a:lnTo>
                                          <a:lnTo>
                                            <a:pt x="24" y="16"/>
                                          </a:lnTo>
                                          <a:lnTo>
                                            <a:pt x="20" y="14"/>
                                          </a:lnTo>
                                          <a:lnTo>
                                            <a:pt x="18" y="14"/>
                                          </a:lnTo>
                                          <a:lnTo>
                                            <a:pt x="18" y="14"/>
                                          </a:lnTo>
                                          <a:lnTo>
                                            <a:pt x="18" y="14"/>
                                          </a:lnTo>
                                          <a:lnTo>
                                            <a:pt x="18" y="16"/>
                                          </a:lnTo>
                                          <a:lnTo>
                                            <a:pt x="16" y="16"/>
                                          </a:lnTo>
                                          <a:lnTo>
                                            <a:pt x="16" y="16"/>
                                          </a:lnTo>
                                          <a:lnTo>
                                            <a:pt x="10" y="14"/>
                                          </a:lnTo>
                                          <a:lnTo>
                                            <a:pt x="10" y="14"/>
                                          </a:lnTo>
                                          <a:lnTo>
                                            <a:pt x="10" y="14"/>
                                          </a:lnTo>
                                          <a:lnTo>
                                            <a:pt x="10" y="14"/>
                                          </a:lnTo>
                                          <a:lnTo>
                                            <a:pt x="10" y="12"/>
                                          </a:lnTo>
                                          <a:lnTo>
                                            <a:pt x="8" y="12"/>
                                          </a:lnTo>
                                          <a:lnTo>
                                            <a:pt x="8" y="12"/>
                                          </a:lnTo>
                                          <a:lnTo>
                                            <a:pt x="4" y="12"/>
                                          </a:lnTo>
                                          <a:lnTo>
                                            <a:pt x="4" y="10"/>
                                          </a:lnTo>
                                          <a:lnTo>
                                            <a:pt x="4" y="10"/>
                                          </a:lnTo>
                                          <a:lnTo>
                                            <a:pt x="4" y="8"/>
                                          </a:lnTo>
                                          <a:lnTo>
                                            <a:pt x="4" y="8"/>
                                          </a:lnTo>
                                          <a:lnTo>
                                            <a:pt x="4" y="8"/>
                                          </a:lnTo>
                                          <a:lnTo>
                                            <a:pt x="2" y="10"/>
                                          </a:lnTo>
                                          <a:lnTo>
                                            <a:pt x="0" y="8"/>
                                          </a:lnTo>
                                          <a:lnTo>
                                            <a:pt x="0" y="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1" name="Canada"/>
                                    <p:cNvSpPr>
                                      <a:spLocks/>
                                    </p:cNvSpPr>
                                    <p:nvPr/>
                                  </p:nvSpPr>
                                  <p:spPr bwMode="auto">
                                    <a:xfrm>
                                      <a:off x="4220596" y="2126046"/>
                                      <a:ext cx="42527" cy="33383"/>
                                    </a:xfrm>
                                    <a:custGeom>
                                      <a:avLst/>
                                      <a:gdLst/>
                                      <a:ahLst/>
                                      <a:cxnLst>
                                        <a:cxn ang="0">
                                          <a:pos x="0" y="20"/>
                                        </a:cxn>
                                        <a:cxn ang="0">
                                          <a:pos x="0" y="20"/>
                                        </a:cxn>
                                        <a:cxn ang="0">
                                          <a:pos x="0" y="14"/>
                                        </a:cxn>
                                        <a:cxn ang="0">
                                          <a:pos x="4" y="12"/>
                                        </a:cxn>
                                        <a:cxn ang="0">
                                          <a:pos x="4" y="12"/>
                                        </a:cxn>
                                        <a:cxn ang="0">
                                          <a:pos x="12" y="6"/>
                                        </a:cxn>
                                        <a:cxn ang="0">
                                          <a:pos x="18" y="0"/>
                                        </a:cxn>
                                        <a:cxn ang="0">
                                          <a:pos x="18" y="0"/>
                                        </a:cxn>
                                        <a:cxn ang="0">
                                          <a:pos x="20" y="0"/>
                                        </a:cxn>
                                        <a:cxn ang="0">
                                          <a:pos x="20" y="2"/>
                                        </a:cxn>
                                        <a:cxn ang="0">
                                          <a:pos x="20" y="4"/>
                                        </a:cxn>
                                        <a:cxn ang="0">
                                          <a:pos x="20" y="4"/>
                                        </a:cxn>
                                        <a:cxn ang="0">
                                          <a:pos x="22" y="6"/>
                                        </a:cxn>
                                        <a:cxn ang="0">
                                          <a:pos x="20" y="8"/>
                                        </a:cxn>
                                        <a:cxn ang="0">
                                          <a:pos x="18" y="10"/>
                                        </a:cxn>
                                        <a:cxn ang="0">
                                          <a:pos x="18" y="10"/>
                                        </a:cxn>
                                        <a:cxn ang="0">
                                          <a:pos x="24" y="10"/>
                                        </a:cxn>
                                        <a:cxn ang="0">
                                          <a:pos x="26" y="10"/>
                                        </a:cxn>
                                        <a:cxn ang="0">
                                          <a:pos x="26" y="12"/>
                                        </a:cxn>
                                        <a:cxn ang="0">
                                          <a:pos x="26" y="12"/>
                                        </a:cxn>
                                        <a:cxn ang="0">
                                          <a:pos x="26" y="12"/>
                                        </a:cxn>
                                        <a:cxn ang="0">
                                          <a:pos x="26" y="14"/>
                                        </a:cxn>
                                        <a:cxn ang="0">
                                          <a:pos x="28" y="16"/>
                                        </a:cxn>
                                        <a:cxn ang="0">
                                          <a:pos x="26" y="16"/>
                                        </a:cxn>
                                        <a:cxn ang="0">
                                          <a:pos x="26" y="16"/>
                                        </a:cxn>
                                        <a:cxn ang="0">
                                          <a:pos x="20" y="18"/>
                                        </a:cxn>
                                        <a:cxn ang="0">
                                          <a:pos x="16" y="20"/>
                                        </a:cxn>
                                        <a:cxn ang="0">
                                          <a:pos x="16" y="20"/>
                                        </a:cxn>
                                        <a:cxn ang="0">
                                          <a:pos x="12" y="20"/>
                                        </a:cxn>
                                        <a:cxn ang="0">
                                          <a:pos x="8" y="22"/>
                                        </a:cxn>
                                        <a:cxn ang="0">
                                          <a:pos x="8" y="22"/>
                                        </a:cxn>
                                        <a:cxn ang="0">
                                          <a:pos x="4" y="22"/>
                                        </a:cxn>
                                        <a:cxn ang="0">
                                          <a:pos x="2" y="22"/>
                                        </a:cxn>
                                        <a:cxn ang="0">
                                          <a:pos x="0" y="20"/>
                                        </a:cxn>
                                        <a:cxn ang="0">
                                          <a:pos x="0" y="20"/>
                                        </a:cxn>
                                      </a:cxnLst>
                                      <a:rect l="0" t="0" r="r" b="b"/>
                                      <a:pathLst>
                                        <a:path w="28" h="22">
                                          <a:moveTo>
                                            <a:pt x="0" y="20"/>
                                          </a:moveTo>
                                          <a:lnTo>
                                            <a:pt x="0" y="20"/>
                                          </a:lnTo>
                                          <a:lnTo>
                                            <a:pt x="0" y="14"/>
                                          </a:lnTo>
                                          <a:lnTo>
                                            <a:pt x="4" y="12"/>
                                          </a:lnTo>
                                          <a:lnTo>
                                            <a:pt x="4" y="12"/>
                                          </a:lnTo>
                                          <a:lnTo>
                                            <a:pt x="12" y="6"/>
                                          </a:lnTo>
                                          <a:lnTo>
                                            <a:pt x="18" y="0"/>
                                          </a:lnTo>
                                          <a:lnTo>
                                            <a:pt x="18" y="0"/>
                                          </a:lnTo>
                                          <a:lnTo>
                                            <a:pt x="20" y="0"/>
                                          </a:lnTo>
                                          <a:lnTo>
                                            <a:pt x="20" y="2"/>
                                          </a:lnTo>
                                          <a:lnTo>
                                            <a:pt x="20" y="4"/>
                                          </a:lnTo>
                                          <a:lnTo>
                                            <a:pt x="20" y="4"/>
                                          </a:lnTo>
                                          <a:lnTo>
                                            <a:pt x="22" y="6"/>
                                          </a:lnTo>
                                          <a:lnTo>
                                            <a:pt x="20" y="8"/>
                                          </a:lnTo>
                                          <a:lnTo>
                                            <a:pt x="18" y="10"/>
                                          </a:lnTo>
                                          <a:lnTo>
                                            <a:pt x="18" y="10"/>
                                          </a:lnTo>
                                          <a:lnTo>
                                            <a:pt x="24" y="10"/>
                                          </a:lnTo>
                                          <a:lnTo>
                                            <a:pt x="26" y="10"/>
                                          </a:lnTo>
                                          <a:lnTo>
                                            <a:pt x="26" y="12"/>
                                          </a:lnTo>
                                          <a:lnTo>
                                            <a:pt x="26" y="12"/>
                                          </a:lnTo>
                                          <a:lnTo>
                                            <a:pt x="26" y="12"/>
                                          </a:lnTo>
                                          <a:lnTo>
                                            <a:pt x="26" y="14"/>
                                          </a:lnTo>
                                          <a:lnTo>
                                            <a:pt x="28" y="16"/>
                                          </a:lnTo>
                                          <a:lnTo>
                                            <a:pt x="26" y="16"/>
                                          </a:lnTo>
                                          <a:lnTo>
                                            <a:pt x="26" y="16"/>
                                          </a:lnTo>
                                          <a:lnTo>
                                            <a:pt x="20" y="18"/>
                                          </a:lnTo>
                                          <a:lnTo>
                                            <a:pt x="16" y="20"/>
                                          </a:lnTo>
                                          <a:lnTo>
                                            <a:pt x="16" y="20"/>
                                          </a:lnTo>
                                          <a:lnTo>
                                            <a:pt x="12" y="20"/>
                                          </a:lnTo>
                                          <a:lnTo>
                                            <a:pt x="8" y="22"/>
                                          </a:lnTo>
                                          <a:lnTo>
                                            <a:pt x="8" y="22"/>
                                          </a:lnTo>
                                          <a:lnTo>
                                            <a:pt x="4" y="22"/>
                                          </a:lnTo>
                                          <a:lnTo>
                                            <a:pt x="2" y="22"/>
                                          </a:lnTo>
                                          <a:lnTo>
                                            <a:pt x="0" y="20"/>
                                          </a:lnTo>
                                          <a:lnTo>
                                            <a:pt x="0" y="2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2" name="Canada"/>
                                    <p:cNvSpPr>
                                      <a:spLocks/>
                                    </p:cNvSpPr>
                                    <p:nvPr/>
                                  </p:nvSpPr>
                                  <p:spPr bwMode="auto">
                                    <a:xfrm>
                                      <a:off x="4293500" y="1977339"/>
                                      <a:ext cx="182259" cy="142637"/>
                                    </a:xfrm>
                                    <a:custGeom>
                                      <a:avLst/>
                                      <a:gdLst/>
                                      <a:ahLst/>
                                      <a:cxnLst>
                                        <a:cxn ang="0">
                                          <a:pos x="70" y="12"/>
                                        </a:cxn>
                                        <a:cxn ang="0">
                                          <a:pos x="70" y="10"/>
                                        </a:cxn>
                                        <a:cxn ang="0">
                                          <a:pos x="82" y="2"/>
                                        </a:cxn>
                                        <a:cxn ang="0">
                                          <a:pos x="90" y="0"/>
                                        </a:cxn>
                                        <a:cxn ang="0">
                                          <a:pos x="92" y="2"/>
                                        </a:cxn>
                                        <a:cxn ang="0">
                                          <a:pos x="96" y="4"/>
                                        </a:cxn>
                                        <a:cxn ang="0">
                                          <a:pos x="90" y="8"/>
                                        </a:cxn>
                                        <a:cxn ang="0">
                                          <a:pos x="94" y="8"/>
                                        </a:cxn>
                                        <a:cxn ang="0">
                                          <a:pos x="92" y="14"/>
                                        </a:cxn>
                                        <a:cxn ang="0">
                                          <a:pos x="84" y="20"/>
                                        </a:cxn>
                                        <a:cxn ang="0">
                                          <a:pos x="80" y="22"/>
                                        </a:cxn>
                                        <a:cxn ang="0">
                                          <a:pos x="76" y="24"/>
                                        </a:cxn>
                                        <a:cxn ang="0">
                                          <a:pos x="68" y="30"/>
                                        </a:cxn>
                                        <a:cxn ang="0">
                                          <a:pos x="72" y="30"/>
                                        </a:cxn>
                                        <a:cxn ang="0">
                                          <a:pos x="80" y="28"/>
                                        </a:cxn>
                                        <a:cxn ang="0">
                                          <a:pos x="82" y="30"/>
                                        </a:cxn>
                                        <a:cxn ang="0">
                                          <a:pos x="88" y="30"/>
                                        </a:cxn>
                                        <a:cxn ang="0">
                                          <a:pos x="74" y="36"/>
                                        </a:cxn>
                                        <a:cxn ang="0">
                                          <a:pos x="82" y="36"/>
                                        </a:cxn>
                                        <a:cxn ang="0">
                                          <a:pos x="86" y="38"/>
                                        </a:cxn>
                                        <a:cxn ang="0">
                                          <a:pos x="88" y="42"/>
                                        </a:cxn>
                                        <a:cxn ang="0">
                                          <a:pos x="90" y="46"/>
                                        </a:cxn>
                                        <a:cxn ang="0">
                                          <a:pos x="100" y="44"/>
                                        </a:cxn>
                                        <a:cxn ang="0">
                                          <a:pos x="114" y="44"/>
                                        </a:cxn>
                                        <a:cxn ang="0">
                                          <a:pos x="116" y="50"/>
                                        </a:cxn>
                                        <a:cxn ang="0">
                                          <a:pos x="110" y="52"/>
                                        </a:cxn>
                                        <a:cxn ang="0">
                                          <a:pos x="104" y="56"/>
                                        </a:cxn>
                                        <a:cxn ang="0">
                                          <a:pos x="114" y="56"/>
                                        </a:cxn>
                                        <a:cxn ang="0">
                                          <a:pos x="120" y="58"/>
                                        </a:cxn>
                                        <a:cxn ang="0">
                                          <a:pos x="116" y="62"/>
                                        </a:cxn>
                                        <a:cxn ang="0">
                                          <a:pos x="110" y="66"/>
                                        </a:cxn>
                                        <a:cxn ang="0">
                                          <a:pos x="114" y="68"/>
                                        </a:cxn>
                                        <a:cxn ang="0">
                                          <a:pos x="104" y="72"/>
                                        </a:cxn>
                                        <a:cxn ang="0">
                                          <a:pos x="98" y="76"/>
                                        </a:cxn>
                                        <a:cxn ang="0">
                                          <a:pos x="90" y="80"/>
                                        </a:cxn>
                                        <a:cxn ang="0">
                                          <a:pos x="84" y="86"/>
                                        </a:cxn>
                                        <a:cxn ang="0">
                                          <a:pos x="78" y="90"/>
                                        </a:cxn>
                                        <a:cxn ang="0">
                                          <a:pos x="64" y="92"/>
                                        </a:cxn>
                                        <a:cxn ang="0">
                                          <a:pos x="62" y="90"/>
                                        </a:cxn>
                                        <a:cxn ang="0">
                                          <a:pos x="72" y="84"/>
                                        </a:cxn>
                                        <a:cxn ang="0">
                                          <a:pos x="80" y="78"/>
                                        </a:cxn>
                                        <a:cxn ang="0">
                                          <a:pos x="74" y="78"/>
                                        </a:cxn>
                                        <a:cxn ang="0">
                                          <a:pos x="68" y="78"/>
                                        </a:cxn>
                                        <a:cxn ang="0">
                                          <a:pos x="64" y="76"/>
                                        </a:cxn>
                                        <a:cxn ang="0">
                                          <a:pos x="58" y="78"/>
                                        </a:cxn>
                                        <a:cxn ang="0">
                                          <a:pos x="54" y="76"/>
                                        </a:cxn>
                                        <a:cxn ang="0">
                                          <a:pos x="50" y="76"/>
                                        </a:cxn>
                                        <a:cxn ang="0">
                                          <a:pos x="40" y="80"/>
                                        </a:cxn>
                                        <a:cxn ang="0">
                                          <a:pos x="26" y="80"/>
                                        </a:cxn>
                                        <a:cxn ang="0">
                                          <a:pos x="22" y="78"/>
                                        </a:cxn>
                                        <a:cxn ang="0">
                                          <a:pos x="8" y="80"/>
                                        </a:cxn>
                                        <a:cxn ang="0">
                                          <a:pos x="2" y="78"/>
                                        </a:cxn>
                                        <a:cxn ang="0">
                                          <a:pos x="0" y="74"/>
                                        </a:cxn>
                                        <a:cxn ang="0">
                                          <a:pos x="12" y="66"/>
                                        </a:cxn>
                                        <a:cxn ang="0">
                                          <a:pos x="18" y="64"/>
                                        </a:cxn>
                                        <a:cxn ang="0">
                                          <a:pos x="8" y="64"/>
                                        </a:cxn>
                                        <a:cxn ang="0">
                                          <a:pos x="16" y="62"/>
                                        </a:cxn>
                                        <a:cxn ang="0">
                                          <a:pos x="28" y="54"/>
                                        </a:cxn>
                                        <a:cxn ang="0">
                                          <a:pos x="32" y="50"/>
                                        </a:cxn>
                                        <a:cxn ang="0">
                                          <a:pos x="36" y="46"/>
                                        </a:cxn>
                                        <a:cxn ang="0">
                                          <a:pos x="46" y="38"/>
                                        </a:cxn>
                                        <a:cxn ang="0">
                                          <a:pos x="62" y="16"/>
                                        </a:cxn>
                                      </a:cxnLst>
                                      <a:rect l="0" t="0" r="r" b="b"/>
                                      <a:pathLst>
                                        <a:path w="120" h="94">
                                          <a:moveTo>
                                            <a:pt x="62" y="16"/>
                                          </a:moveTo>
                                          <a:lnTo>
                                            <a:pt x="62" y="16"/>
                                          </a:lnTo>
                                          <a:lnTo>
                                            <a:pt x="68" y="14"/>
                                          </a:lnTo>
                                          <a:lnTo>
                                            <a:pt x="70" y="12"/>
                                          </a:lnTo>
                                          <a:lnTo>
                                            <a:pt x="70" y="10"/>
                                          </a:lnTo>
                                          <a:lnTo>
                                            <a:pt x="70" y="10"/>
                                          </a:lnTo>
                                          <a:lnTo>
                                            <a:pt x="70" y="10"/>
                                          </a:lnTo>
                                          <a:lnTo>
                                            <a:pt x="70" y="10"/>
                                          </a:lnTo>
                                          <a:lnTo>
                                            <a:pt x="74" y="8"/>
                                          </a:lnTo>
                                          <a:lnTo>
                                            <a:pt x="74" y="8"/>
                                          </a:lnTo>
                                          <a:lnTo>
                                            <a:pt x="78" y="4"/>
                                          </a:lnTo>
                                          <a:lnTo>
                                            <a:pt x="82" y="2"/>
                                          </a:lnTo>
                                          <a:lnTo>
                                            <a:pt x="82" y="2"/>
                                          </a:lnTo>
                                          <a:lnTo>
                                            <a:pt x="86" y="0"/>
                                          </a:lnTo>
                                          <a:lnTo>
                                            <a:pt x="90" y="0"/>
                                          </a:lnTo>
                                          <a:lnTo>
                                            <a:pt x="90" y="0"/>
                                          </a:lnTo>
                                          <a:lnTo>
                                            <a:pt x="92" y="0"/>
                                          </a:lnTo>
                                          <a:lnTo>
                                            <a:pt x="90" y="2"/>
                                          </a:lnTo>
                                          <a:lnTo>
                                            <a:pt x="90" y="2"/>
                                          </a:lnTo>
                                          <a:lnTo>
                                            <a:pt x="92" y="2"/>
                                          </a:lnTo>
                                          <a:lnTo>
                                            <a:pt x="92" y="2"/>
                                          </a:lnTo>
                                          <a:lnTo>
                                            <a:pt x="96" y="2"/>
                                          </a:lnTo>
                                          <a:lnTo>
                                            <a:pt x="96" y="4"/>
                                          </a:lnTo>
                                          <a:lnTo>
                                            <a:pt x="96" y="4"/>
                                          </a:lnTo>
                                          <a:lnTo>
                                            <a:pt x="94" y="6"/>
                                          </a:lnTo>
                                          <a:lnTo>
                                            <a:pt x="92" y="6"/>
                                          </a:lnTo>
                                          <a:lnTo>
                                            <a:pt x="92" y="6"/>
                                          </a:lnTo>
                                          <a:lnTo>
                                            <a:pt x="90" y="8"/>
                                          </a:lnTo>
                                          <a:lnTo>
                                            <a:pt x="90" y="8"/>
                                          </a:lnTo>
                                          <a:lnTo>
                                            <a:pt x="90" y="8"/>
                                          </a:lnTo>
                                          <a:lnTo>
                                            <a:pt x="90" y="8"/>
                                          </a:lnTo>
                                          <a:lnTo>
                                            <a:pt x="94" y="8"/>
                                          </a:lnTo>
                                          <a:lnTo>
                                            <a:pt x="94" y="10"/>
                                          </a:lnTo>
                                          <a:lnTo>
                                            <a:pt x="94" y="12"/>
                                          </a:lnTo>
                                          <a:lnTo>
                                            <a:pt x="94" y="12"/>
                                          </a:lnTo>
                                          <a:lnTo>
                                            <a:pt x="92" y="14"/>
                                          </a:lnTo>
                                          <a:lnTo>
                                            <a:pt x="90" y="16"/>
                                          </a:lnTo>
                                          <a:lnTo>
                                            <a:pt x="90" y="16"/>
                                          </a:lnTo>
                                          <a:lnTo>
                                            <a:pt x="86" y="18"/>
                                          </a:lnTo>
                                          <a:lnTo>
                                            <a:pt x="84" y="20"/>
                                          </a:lnTo>
                                          <a:lnTo>
                                            <a:pt x="84" y="20"/>
                                          </a:lnTo>
                                          <a:lnTo>
                                            <a:pt x="84" y="20"/>
                                          </a:lnTo>
                                          <a:lnTo>
                                            <a:pt x="82" y="20"/>
                                          </a:lnTo>
                                          <a:lnTo>
                                            <a:pt x="80" y="22"/>
                                          </a:lnTo>
                                          <a:lnTo>
                                            <a:pt x="80" y="24"/>
                                          </a:lnTo>
                                          <a:lnTo>
                                            <a:pt x="78" y="24"/>
                                          </a:lnTo>
                                          <a:lnTo>
                                            <a:pt x="78" y="24"/>
                                          </a:lnTo>
                                          <a:lnTo>
                                            <a:pt x="76" y="24"/>
                                          </a:lnTo>
                                          <a:lnTo>
                                            <a:pt x="76" y="24"/>
                                          </a:lnTo>
                                          <a:lnTo>
                                            <a:pt x="74" y="26"/>
                                          </a:lnTo>
                                          <a:lnTo>
                                            <a:pt x="74" y="26"/>
                                          </a:lnTo>
                                          <a:lnTo>
                                            <a:pt x="68" y="30"/>
                                          </a:lnTo>
                                          <a:lnTo>
                                            <a:pt x="66" y="34"/>
                                          </a:lnTo>
                                          <a:lnTo>
                                            <a:pt x="66" y="36"/>
                                          </a:lnTo>
                                          <a:lnTo>
                                            <a:pt x="66" y="36"/>
                                          </a:lnTo>
                                          <a:lnTo>
                                            <a:pt x="72" y="30"/>
                                          </a:lnTo>
                                          <a:lnTo>
                                            <a:pt x="78" y="28"/>
                                          </a:lnTo>
                                          <a:lnTo>
                                            <a:pt x="78" y="28"/>
                                          </a:lnTo>
                                          <a:lnTo>
                                            <a:pt x="80" y="28"/>
                                          </a:lnTo>
                                          <a:lnTo>
                                            <a:pt x="80" y="28"/>
                                          </a:lnTo>
                                          <a:lnTo>
                                            <a:pt x="80" y="30"/>
                                          </a:lnTo>
                                          <a:lnTo>
                                            <a:pt x="80" y="30"/>
                                          </a:lnTo>
                                          <a:lnTo>
                                            <a:pt x="80" y="30"/>
                                          </a:lnTo>
                                          <a:lnTo>
                                            <a:pt x="82" y="30"/>
                                          </a:lnTo>
                                          <a:lnTo>
                                            <a:pt x="86" y="30"/>
                                          </a:lnTo>
                                          <a:lnTo>
                                            <a:pt x="86" y="30"/>
                                          </a:lnTo>
                                          <a:lnTo>
                                            <a:pt x="88" y="30"/>
                                          </a:lnTo>
                                          <a:lnTo>
                                            <a:pt x="88" y="30"/>
                                          </a:lnTo>
                                          <a:lnTo>
                                            <a:pt x="88" y="30"/>
                                          </a:lnTo>
                                          <a:lnTo>
                                            <a:pt x="86" y="32"/>
                                          </a:lnTo>
                                          <a:lnTo>
                                            <a:pt x="82" y="34"/>
                                          </a:lnTo>
                                          <a:lnTo>
                                            <a:pt x="74" y="36"/>
                                          </a:lnTo>
                                          <a:lnTo>
                                            <a:pt x="74" y="36"/>
                                          </a:lnTo>
                                          <a:lnTo>
                                            <a:pt x="82" y="36"/>
                                          </a:lnTo>
                                          <a:lnTo>
                                            <a:pt x="82" y="36"/>
                                          </a:lnTo>
                                          <a:lnTo>
                                            <a:pt x="82" y="36"/>
                                          </a:lnTo>
                                          <a:lnTo>
                                            <a:pt x="82" y="36"/>
                                          </a:lnTo>
                                          <a:lnTo>
                                            <a:pt x="82" y="38"/>
                                          </a:lnTo>
                                          <a:lnTo>
                                            <a:pt x="84" y="38"/>
                                          </a:lnTo>
                                          <a:lnTo>
                                            <a:pt x="86" y="38"/>
                                          </a:lnTo>
                                          <a:lnTo>
                                            <a:pt x="86" y="40"/>
                                          </a:lnTo>
                                          <a:lnTo>
                                            <a:pt x="86" y="40"/>
                                          </a:lnTo>
                                          <a:lnTo>
                                            <a:pt x="86" y="42"/>
                                          </a:lnTo>
                                          <a:lnTo>
                                            <a:pt x="88" y="42"/>
                                          </a:lnTo>
                                          <a:lnTo>
                                            <a:pt x="90" y="42"/>
                                          </a:lnTo>
                                          <a:lnTo>
                                            <a:pt x="90" y="44"/>
                                          </a:lnTo>
                                          <a:lnTo>
                                            <a:pt x="90" y="44"/>
                                          </a:lnTo>
                                          <a:lnTo>
                                            <a:pt x="90" y="46"/>
                                          </a:lnTo>
                                          <a:lnTo>
                                            <a:pt x="92" y="46"/>
                                          </a:lnTo>
                                          <a:lnTo>
                                            <a:pt x="98" y="44"/>
                                          </a:lnTo>
                                          <a:lnTo>
                                            <a:pt x="98" y="44"/>
                                          </a:lnTo>
                                          <a:lnTo>
                                            <a:pt x="100" y="44"/>
                                          </a:lnTo>
                                          <a:lnTo>
                                            <a:pt x="104" y="44"/>
                                          </a:lnTo>
                                          <a:lnTo>
                                            <a:pt x="104" y="44"/>
                                          </a:lnTo>
                                          <a:lnTo>
                                            <a:pt x="110" y="44"/>
                                          </a:lnTo>
                                          <a:lnTo>
                                            <a:pt x="114" y="44"/>
                                          </a:lnTo>
                                          <a:lnTo>
                                            <a:pt x="116" y="46"/>
                                          </a:lnTo>
                                          <a:lnTo>
                                            <a:pt x="116" y="46"/>
                                          </a:lnTo>
                                          <a:lnTo>
                                            <a:pt x="116" y="48"/>
                                          </a:lnTo>
                                          <a:lnTo>
                                            <a:pt x="116" y="50"/>
                                          </a:lnTo>
                                          <a:lnTo>
                                            <a:pt x="114" y="50"/>
                                          </a:lnTo>
                                          <a:lnTo>
                                            <a:pt x="114" y="50"/>
                                          </a:lnTo>
                                          <a:lnTo>
                                            <a:pt x="112" y="52"/>
                                          </a:lnTo>
                                          <a:lnTo>
                                            <a:pt x="110" y="52"/>
                                          </a:lnTo>
                                          <a:lnTo>
                                            <a:pt x="110" y="52"/>
                                          </a:lnTo>
                                          <a:lnTo>
                                            <a:pt x="108" y="54"/>
                                          </a:lnTo>
                                          <a:lnTo>
                                            <a:pt x="104" y="56"/>
                                          </a:lnTo>
                                          <a:lnTo>
                                            <a:pt x="104" y="56"/>
                                          </a:lnTo>
                                          <a:lnTo>
                                            <a:pt x="106" y="56"/>
                                          </a:lnTo>
                                          <a:lnTo>
                                            <a:pt x="110" y="56"/>
                                          </a:lnTo>
                                          <a:lnTo>
                                            <a:pt x="110" y="56"/>
                                          </a:lnTo>
                                          <a:lnTo>
                                            <a:pt x="114" y="56"/>
                                          </a:lnTo>
                                          <a:lnTo>
                                            <a:pt x="118" y="56"/>
                                          </a:lnTo>
                                          <a:lnTo>
                                            <a:pt x="118" y="56"/>
                                          </a:lnTo>
                                          <a:lnTo>
                                            <a:pt x="120" y="56"/>
                                          </a:lnTo>
                                          <a:lnTo>
                                            <a:pt x="120" y="58"/>
                                          </a:lnTo>
                                          <a:lnTo>
                                            <a:pt x="120" y="58"/>
                                          </a:lnTo>
                                          <a:lnTo>
                                            <a:pt x="118" y="60"/>
                                          </a:lnTo>
                                          <a:lnTo>
                                            <a:pt x="116" y="62"/>
                                          </a:lnTo>
                                          <a:lnTo>
                                            <a:pt x="116" y="62"/>
                                          </a:lnTo>
                                          <a:lnTo>
                                            <a:pt x="112" y="64"/>
                                          </a:lnTo>
                                          <a:lnTo>
                                            <a:pt x="108" y="64"/>
                                          </a:lnTo>
                                          <a:lnTo>
                                            <a:pt x="108" y="64"/>
                                          </a:lnTo>
                                          <a:lnTo>
                                            <a:pt x="110" y="66"/>
                                          </a:lnTo>
                                          <a:lnTo>
                                            <a:pt x="114" y="66"/>
                                          </a:lnTo>
                                          <a:lnTo>
                                            <a:pt x="114" y="68"/>
                                          </a:lnTo>
                                          <a:lnTo>
                                            <a:pt x="114" y="68"/>
                                          </a:lnTo>
                                          <a:lnTo>
                                            <a:pt x="114" y="68"/>
                                          </a:lnTo>
                                          <a:lnTo>
                                            <a:pt x="108" y="72"/>
                                          </a:lnTo>
                                          <a:lnTo>
                                            <a:pt x="106" y="72"/>
                                          </a:lnTo>
                                          <a:lnTo>
                                            <a:pt x="104" y="72"/>
                                          </a:lnTo>
                                          <a:lnTo>
                                            <a:pt x="104" y="72"/>
                                          </a:lnTo>
                                          <a:lnTo>
                                            <a:pt x="104" y="70"/>
                                          </a:lnTo>
                                          <a:lnTo>
                                            <a:pt x="100" y="74"/>
                                          </a:lnTo>
                                          <a:lnTo>
                                            <a:pt x="100" y="74"/>
                                          </a:lnTo>
                                          <a:lnTo>
                                            <a:pt x="98" y="76"/>
                                          </a:lnTo>
                                          <a:lnTo>
                                            <a:pt x="94" y="78"/>
                                          </a:lnTo>
                                          <a:lnTo>
                                            <a:pt x="94" y="78"/>
                                          </a:lnTo>
                                          <a:lnTo>
                                            <a:pt x="90" y="80"/>
                                          </a:lnTo>
                                          <a:lnTo>
                                            <a:pt x="90" y="80"/>
                                          </a:lnTo>
                                          <a:lnTo>
                                            <a:pt x="88" y="82"/>
                                          </a:lnTo>
                                          <a:lnTo>
                                            <a:pt x="88" y="82"/>
                                          </a:lnTo>
                                          <a:lnTo>
                                            <a:pt x="84" y="84"/>
                                          </a:lnTo>
                                          <a:lnTo>
                                            <a:pt x="84" y="86"/>
                                          </a:lnTo>
                                          <a:lnTo>
                                            <a:pt x="84" y="86"/>
                                          </a:lnTo>
                                          <a:lnTo>
                                            <a:pt x="80" y="88"/>
                                          </a:lnTo>
                                          <a:lnTo>
                                            <a:pt x="78" y="90"/>
                                          </a:lnTo>
                                          <a:lnTo>
                                            <a:pt x="78" y="90"/>
                                          </a:lnTo>
                                          <a:lnTo>
                                            <a:pt x="68" y="94"/>
                                          </a:lnTo>
                                          <a:lnTo>
                                            <a:pt x="68" y="94"/>
                                          </a:lnTo>
                                          <a:lnTo>
                                            <a:pt x="66" y="92"/>
                                          </a:lnTo>
                                          <a:lnTo>
                                            <a:pt x="64" y="92"/>
                                          </a:lnTo>
                                          <a:lnTo>
                                            <a:pt x="64" y="92"/>
                                          </a:lnTo>
                                          <a:lnTo>
                                            <a:pt x="62" y="92"/>
                                          </a:lnTo>
                                          <a:lnTo>
                                            <a:pt x="62" y="90"/>
                                          </a:lnTo>
                                          <a:lnTo>
                                            <a:pt x="62" y="90"/>
                                          </a:lnTo>
                                          <a:lnTo>
                                            <a:pt x="64" y="88"/>
                                          </a:lnTo>
                                          <a:lnTo>
                                            <a:pt x="64" y="88"/>
                                          </a:lnTo>
                                          <a:lnTo>
                                            <a:pt x="70" y="86"/>
                                          </a:lnTo>
                                          <a:lnTo>
                                            <a:pt x="72" y="84"/>
                                          </a:lnTo>
                                          <a:lnTo>
                                            <a:pt x="72" y="84"/>
                                          </a:lnTo>
                                          <a:lnTo>
                                            <a:pt x="76" y="80"/>
                                          </a:lnTo>
                                          <a:lnTo>
                                            <a:pt x="80" y="78"/>
                                          </a:lnTo>
                                          <a:lnTo>
                                            <a:pt x="80" y="78"/>
                                          </a:lnTo>
                                          <a:lnTo>
                                            <a:pt x="80" y="78"/>
                                          </a:lnTo>
                                          <a:lnTo>
                                            <a:pt x="80" y="78"/>
                                          </a:lnTo>
                                          <a:lnTo>
                                            <a:pt x="74" y="78"/>
                                          </a:lnTo>
                                          <a:lnTo>
                                            <a:pt x="74" y="78"/>
                                          </a:lnTo>
                                          <a:lnTo>
                                            <a:pt x="70" y="78"/>
                                          </a:lnTo>
                                          <a:lnTo>
                                            <a:pt x="68" y="78"/>
                                          </a:lnTo>
                                          <a:lnTo>
                                            <a:pt x="68" y="78"/>
                                          </a:lnTo>
                                          <a:lnTo>
                                            <a:pt x="68" y="78"/>
                                          </a:lnTo>
                                          <a:lnTo>
                                            <a:pt x="64" y="78"/>
                                          </a:lnTo>
                                          <a:lnTo>
                                            <a:pt x="64" y="78"/>
                                          </a:lnTo>
                                          <a:lnTo>
                                            <a:pt x="64" y="78"/>
                                          </a:lnTo>
                                          <a:lnTo>
                                            <a:pt x="64" y="76"/>
                                          </a:lnTo>
                                          <a:lnTo>
                                            <a:pt x="64" y="76"/>
                                          </a:lnTo>
                                          <a:lnTo>
                                            <a:pt x="62" y="76"/>
                                          </a:lnTo>
                                          <a:lnTo>
                                            <a:pt x="62" y="76"/>
                                          </a:lnTo>
                                          <a:lnTo>
                                            <a:pt x="58" y="78"/>
                                          </a:lnTo>
                                          <a:lnTo>
                                            <a:pt x="56" y="78"/>
                                          </a:lnTo>
                                          <a:lnTo>
                                            <a:pt x="56" y="78"/>
                                          </a:lnTo>
                                          <a:lnTo>
                                            <a:pt x="56" y="78"/>
                                          </a:lnTo>
                                          <a:lnTo>
                                            <a:pt x="54" y="76"/>
                                          </a:lnTo>
                                          <a:lnTo>
                                            <a:pt x="52" y="76"/>
                                          </a:lnTo>
                                          <a:lnTo>
                                            <a:pt x="50" y="78"/>
                                          </a:lnTo>
                                          <a:lnTo>
                                            <a:pt x="50" y="76"/>
                                          </a:lnTo>
                                          <a:lnTo>
                                            <a:pt x="50" y="76"/>
                                          </a:lnTo>
                                          <a:lnTo>
                                            <a:pt x="48" y="76"/>
                                          </a:lnTo>
                                          <a:lnTo>
                                            <a:pt x="46" y="78"/>
                                          </a:lnTo>
                                          <a:lnTo>
                                            <a:pt x="42" y="80"/>
                                          </a:lnTo>
                                          <a:lnTo>
                                            <a:pt x="40" y="80"/>
                                          </a:lnTo>
                                          <a:lnTo>
                                            <a:pt x="40" y="80"/>
                                          </a:lnTo>
                                          <a:lnTo>
                                            <a:pt x="36" y="80"/>
                                          </a:lnTo>
                                          <a:lnTo>
                                            <a:pt x="32" y="80"/>
                                          </a:lnTo>
                                          <a:lnTo>
                                            <a:pt x="26" y="80"/>
                                          </a:lnTo>
                                          <a:lnTo>
                                            <a:pt x="26" y="80"/>
                                          </a:lnTo>
                                          <a:lnTo>
                                            <a:pt x="22" y="80"/>
                                          </a:lnTo>
                                          <a:lnTo>
                                            <a:pt x="22" y="78"/>
                                          </a:lnTo>
                                          <a:lnTo>
                                            <a:pt x="22" y="78"/>
                                          </a:lnTo>
                                          <a:lnTo>
                                            <a:pt x="22" y="80"/>
                                          </a:lnTo>
                                          <a:lnTo>
                                            <a:pt x="16" y="80"/>
                                          </a:lnTo>
                                          <a:lnTo>
                                            <a:pt x="16" y="80"/>
                                          </a:lnTo>
                                          <a:lnTo>
                                            <a:pt x="8" y="80"/>
                                          </a:lnTo>
                                          <a:lnTo>
                                            <a:pt x="4" y="82"/>
                                          </a:lnTo>
                                          <a:lnTo>
                                            <a:pt x="4" y="82"/>
                                          </a:lnTo>
                                          <a:lnTo>
                                            <a:pt x="2" y="82"/>
                                          </a:lnTo>
                                          <a:lnTo>
                                            <a:pt x="2" y="78"/>
                                          </a:lnTo>
                                          <a:lnTo>
                                            <a:pt x="2" y="78"/>
                                          </a:lnTo>
                                          <a:lnTo>
                                            <a:pt x="2" y="76"/>
                                          </a:lnTo>
                                          <a:lnTo>
                                            <a:pt x="0" y="74"/>
                                          </a:lnTo>
                                          <a:lnTo>
                                            <a:pt x="0" y="74"/>
                                          </a:lnTo>
                                          <a:lnTo>
                                            <a:pt x="2" y="72"/>
                                          </a:lnTo>
                                          <a:lnTo>
                                            <a:pt x="2" y="72"/>
                                          </a:lnTo>
                                          <a:lnTo>
                                            <a:pt x="8" y="68"/>
                                          </a:lnTo>
                                          <a:lnTo>
                                            <a:pt x="12" y="66"/>
                                          </a:lnTo>
                                          <a:lnTo>
                                            <a:pt x="12" y="66"/>
                                          </a:lnTo>
                                          <a:lnTo>
                                            <a:pt x="18" y="64"/>
                                          </a:lnTo>
                                          <a:lnTo>
                                            <a:pt x="18" y="64"/>
                                          </a:lnTo>
                                          <a:lnTo>
                                            <a:pt x="18" y="64"/>
                                          </a:lnTo>
                                          <a:lnTo>
                                            <a:pt x="18" y="64"/>
                                          </a:lnTo>
                                          <a:lnTo>
                                            <a:pt x="10" y="66"/>
                                          </a:lnTo>
                                          <a:lnTo>
                                            <a:pt x="8" y="66"/>
                                          </a:lnTo>
                                          <a:lnTo>
                                            <a:pt x="8" y="64"/>
                                          </a:lnTo>
                                          <a:lnTo>
                                            <a:pt x="8" y="64"/>
                                          </a:lnTo>
                                          <a:lnTo>
                                            <a:pt x="12" y="64"/>
                                          </a:lnTo>
                                          <a:lnTo>
                                            <a:pt x="16" y="62"/>
                                          </a:lnTo>
                                          <a:lnTo>
                                            <a:pt x="16" y="62"/>
                                          </a:lnTo>
                                          <a:lnTo>
                                            <a:pt x="20" y="60"/>
                                          </a:lnTo>
                                          <a:lnTo>
                                            <a:pt x="22" y="56"/>
                                          </a:lnTo>
                                          <a:lnTo>
                                            <a:pt x="22" y="56"/>
                                          </a:lnTo>
                                          <a:lnTo>
                                            <a:pt x="28" y="54"/>
                                          </a:lnTo>
                                          <a:lnTo>
                                            <a:pt x="34" y="54"/>
                                          </a:lnTo>
                                          <a:lnTo>
                                            <a:pt x="34" y="54"/>
                                          </a:lnTo>
                                          <a:lnTo>
                                            <a:pt x="34" y="52"/>
                                          </a:lnTo>
                                          <a:lnTo>
                                            <a:pt x="32" y="50"/>
                                          </a:lnTo>
                                          <a:lnTo>
                                            <a:pt x="32" y="50"/>
                                          </a:lnTo>
                                          <a:lnTo>
                                            <a:pt x="32" y="48"/>
                                          </a:lnTo>
                                          <a:lnTo>
                                            <a:pt x="36" y="46"/>
                                          </a:lnTo>
                                          <a:lnTo>
                                            <a:pt x="36" y="46"/>
                                          </a:lnTo>
                                          <a:lnTo>
                                            <a:pt x="40" y="42"/>
                                          </a:lnTo>
                                          <a:lnTo>
                                            <a:pt x="42" y="40"/>
                                          </a:lnTo>
                                          <a:lnTo>
                                            <a:pt x="42" y="40"/>
                                          </a:lnTo>
                                          <a:lnTo>
                                            <a:pt x="46" y="38"/>
                                          </a:lnTo>
                                          <a:lnTo>
                                            <a:pt x="46" y="36"/>
                                          </a:lnTo>
                                          <a:lnTo>
                                            <a:pt x="50" y="32"/>
                                          </a:lnTo>
                                          <a:lnTo>
                                            <a:pt x="50" y="32"/>
                                          </a:lnTo>
                                          <a:lnTo>
                                            <a:pt x="62" y="16"/>
                                          </a:lnTo>
                                          <a:lnTo>
                                            <a:pt x="62" y="16"/>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3" name="Canada"/>
                                    <p:cNvSpPr>
                                      <a:spLocks/>
                                    </p:cNvSpPr>
                                    <p:nvPr/>
                                  </p:nvSpPr>
                                  <p:spPr bwMode="auto">
                                    <a:xfrm>
                                      <a:off x="4436269" y="2086593"/>
                                      <a:ext cx="36452" cy="39453"/>
                                    </a:xfrm>
                                    <a:custGeom>
                                      <a:avLst/>
                                      <a:gdLst/>
                                      <a:ahLst/>
                                      <a:cxnLst>
                                        <a:cxn ang="0">
                                          <a:pos x="4" y="8"/>
                                        </a:cxn>
                                        <a:cxn ang="0">
                                          <a:pos x="4" y="8"/>
                                        </a:cxn>
                                        <a:cxn ang="0">
                                          <a:pos x="8" y="6"/>
                                        </a:cxn>
                                        <a:cxn ang="0">
                                          <a:pos x="10" y="6"/>
                                        </a:cxn>
                                        <a:cxn ang="0">
                                          <a:pos x="10" y="6"/>
                                        </a:cxn>
                                        <a:cxn ang="0">
                                          <a:pos x="20" y="0"/>
                                        </a:cxn>
                                        <a:cxn ang="0">
                                          <a:pos x="20" y="0"/>
                                        </a:cxn>
                                        <a:cxn ang="0">
                                          <a:pos x="24" y="0"/>
                                        </a:cxn>
                                        <a:cxn ang="0">
                                          <a:pos x="24" y="0"/>
                                        </a:cxn>
                                        <a:cxn ang="0">
                                          <a:pos x="22" y="2"/>
                                        </a:cxn>
                                        <a:cxn ang="0">
                                          <a:pos x="22" y="2"/>
                                        </a:cxn>
                                        <a:cxn ang="0">
                                          <a:pos x="18" y="6"/>
                                        </a:cxn>
                                        <a:cxn ang="0">
                                          <a:pos x="16" y="6"/>
                                        </a:cxn>
                                        <a:cxn ang="0">
                                          <a:pos x="18" y="6"/>
                                        </a:cxn>
                                        <a:cxn ang="0">
                                          <a:pos x="18" y="6"/>
                                        </a:cxn>
                                        <a:cxn ang="0">
                                          <a:pos x="22" y="4"/>
                                        </a:cxn>
                                        <a:cxn ang="0">
                                          <a:pos x="24" y="4"/>
                                        </a:cxn>
                                        <a:cxn ang="0">
                                          <a:pos x="24" y="4"/>
                                        </a:cxn>
                                        <a:cxn ang="0">
                                          <a:pos x="24" y="4"/>
                                        </a:cxn>
                                        <a:cxn ang="0">
                                          <a:pos x="24" y="10"/>
                                        </a:cxn>
                                        <a:cxn ang="0">
                                          <a:pos x="22" y="14"/>
                                        </a:cxn>
                                        <a:cxn ang="0">
                                          <a:pos x="22" y="14"/>
                                        </a:cxn>
                                        <a:cxn ang="0">
                                          <a:pos x="20" y="18"/>
                                        </a:cxn>
                                        <a:cxn ang="0">
                                          <a:pos x="20" y="22"/>
                                        </a:cxn>
                                        <a:cxn ang="0">
                                          <a:pos x="20" y="22"/>
                                        </a:cxn>
                                        <a:cxn ang="0">
                                          <a:pos x="20" y="24"/>
                                        </a:cxn>
                                        <a:cxn ang="0">
                                          <a:pos x="18" y="26"/>
                                        </a:cxn>
                                        <a:cxn ang="0">
                                          <a:pos x="14" y="26"/>
                                        </a:cxn>
                                        <a:cxn ang="0">
                                          <a:pos x="14" y="26"/>
                                        </a:cxn>
                                        <a:cxn ang="0">
                                          <a:pos x="12" y="26"/>
                                        </a:cxn>
                                        <a:cxn ang="0">
                                          <a:pos x="10" y="26"/>
                                        </a:cxn>
                                        <a:cxn ang="0">
                                          <a:pos x="8" y="26"/>
                                        </a:cxn>
                                        <a:cxn ang="0">
                                          <a:pos x="8" y="26"/>
                                        </a:cxn>
                                        <a:cxn ang="0">
                                          <a:pos x="8" y="20"/>
                                        </a:cxn>
                                        <a:cxn ang="0">
                                          <a:pos x="10" y="16"/>
                                        </a:cxn>
                                        <a:cxn ang="0">
                                          <a:pos x="10" y="16"/>
                                        </a:cxn>
                                        <a:cxn ang="0">
                                          <a:pos x="10" y="16"/>
                                        </a:cxn>
                                        <a:cxn ang="0">
                                          <a:pos x="8" y="16"/>
                                        </a:cxn>
                                        <a:cxn ang="0">
                                          <a:pos x="6" y="22"/>
                                        </a:cxn>
                                        <a:cxn ang="0">
                                          <a:pos x="6" y="22"/>
                                        </a:cxn>
                                        <a:cxn ang="0">
                                          <a:pos x="2" y="26"/>
                                        </a:cxn>
                                        <a:cxn ang="0">
                                          <a:pos x="0" y="26"/>
                                        </a:cxn>
                                        <a:cxn ang="0">
                                          <a:pos x="0" y="24"/>
                                        </a:cxn>
                                        <a:cxn ang="0">
                                          <a:pos x="0" y="24"/>
                                        </a:cxn>
                                        <a:cxn ang="0">
                                          <a:pos x="0" y="18"/>
                                        </a:cxn>
                                        <a:cxn ang="0">
                                          <a:pos x="0" y="14"/>
                                        </a:cxn>
                                        <a:cxn ang="0">
                                          <a:pos x="2" y="12"/>
                                        </a:cxn>
                                        <a:cxn ang="0">
                                          <a:pos x="2" y="12"/>
                                        </a:cxn>
                                        <a:cxn ang="0">
                                          <a:pos x="2" y="10"/>
                                        </a:cxn>
                                        <a:cxn ang="0">
                                          <a:pos x="4" y="8"/>
                                        </a:cxn>
                                        <a:cxn ang="0">
                                          <a:pos x="4" y="8"/>
                                        </a:cxn>
                                      </a:cxnLst>
                                      <a:rect l="0" t="0" r="r" b="b"/>
                                      <a:pathLst>
                                        <a:path w="24" h="26">
                                          <a:moveTo>
                                            <a:pt x="4" y="8"/>
                                          </a:moveTo>
                                          <a:lnTo>
                                            <a:pt x="4" y="8"/>
                                          </a:lnTo>
                                          <a:lnTo>
                                            <a:pt x="8" y="6"/>
                                          </a:lnTo>
                                          <a:lnTo>
                                            <a:pt x="10" y="6"/>
                                          </a:lnTo>
                                          <a:lnTo>
                                            <a:pt x="10" y="6"/>
                                          </a:lnTo>
                                          <a:lnTo>
                                            <a:pt x="20" y="0"/>
                                          </a:lnTo>
                                          <a:lnTo>
                                            <a:pt x="20" y="0"/>
                                          </a:lnTo>
                                          <a:lnTo>
                                            <a:pt x="24" y="0"/>
                                          </a:lnTo>
                                          <a:lnTo>
                                            <a:pt x="24" y="0"/>
                                          </a:lnTo>
                                          <a:lnTo>
                                            <a:pt x="22" y="2"/>
                                          </a:lnTo>
                                          <a:lnTo>
                                            <a:pt x="22" y="2"/>
                                          </a:lnTo>
                                          <a:lnTo>
                                            <a:pt x="18" y="6"/>
                                          </a:lnTo>
                                          <a:lnTo>
                                            <a:pt x="16" y="6"/>
                                          </a:lnTo>
                                          <a:lnTo>
                                            <a:pt x="18" y="6"/>
                                          </a:lnTo>
                                          <a:lnTo>
                                            <a:pt x="18" y="6"/>
                                          </a:lnTo>
                                          <a:lnTo>
                                            <a:pt x="22" y="4"/>
                                          </a:lnTo>
                                          <a:lnTo>
                                            <a:pt x="24" y="4"/>
                                          </a:lnTo>
                                          <a:lnTo>
                                            <a:pt x="24" y="4"/>
                                          </a:lnTo>
                                          <a:lnTo>
                                            <a:pt x="24" y="4"/>
                                          </a:lnTo>
                                          <a:lnTo>
                                            <a:pt x="24" y="10"/>
                                          </a:lnTo>
                                          <a:lnTo>
                                            <a:pt x="22" y="14"/>
                                          </a:lnTo>
                                          <a:lnTo>
                                            <a:pt x="22" y="14"/>
                                          </a:lnTo>
                                          <a:lnTo>
                                            <a:pt x="20" y="18"/>
                                          </a:lnTo>
                                          <a:lnTo>
                                            <a:pt x="20" y="22"/>
                                          </a:lnTo>
                                          <a:lnTo>
                                            <a:pt x="20" y="22"/>
                                          </a:lnTo>
                                          <a:lnTo>
                                            <a:pt x="20" y="24"/>
                                          </a:lnTo>
                                          <a:lnTo>
                                            <a:pt x="18" y="26"/>
                                          </a:lnTo>
                                          <a:lnTo>
                                            <a:pt x="14" y="26"/>
                                          </a:lnTo>
                                          <a:lnTo>
                                            <a:pt x="14" y="26"/>
                                          </a:lnTo>
                                          <a:lnTo>
                                            <a:pt x="12" y="26"/>
                                          </a:lnTo>
                                          <a:lnTo>
                                            <a:pt x="10" y="26"/>
                                          </a:lnTo>
                                          <a:lnTo>
                                            <a:pt x="8" y="26"/>
                                          </a:lnTo>
                                          <a:lnTo>
                                            <a:pt x="8" y="26"/>
                                          </a:lnTo>
                                          <a:lnTo>
                                            <a:pt x="8" y="20"/>
                                          </a:lnTo>
                                          <a:lnTo>
                                            <a:pt x="10" y="16"/>
                                          </a:lnTo>
                                          <a:lnTo>
                                            <a:pt x="10" y="16"/>
                                          </a:lnTo>
                                          <a:lnTo>
                                            <a:pt x="10" y="16"/>
                                          </a:lnTo>
                                          <a:lnTo>
                                            <a:pt x="8" y="16"/>
                                          </a:lnTo>
                                          <a:lnTo>
                                            <a:pt x="6" y="22"/>
                                          </a:lnTo>
                                          <a:lnTo>
                                            <a:pt x="6" y="22"/>
                                          </a:lnTo>
                                          <a:lnTo>
                                            <a:pt x="2" y="26"/>
                                          </a:lnTo>
                                          <a:lnTo>
                                            <a:pt x="0" y="26"/>
                                          </a:lnTo>
                                          <a:lnTo>
                                            <a:pt x="0" y="24"/>
                                          </a:lnTo>
                                          <a:lnTo>
                                            <a:pt x="0" y="24"/>
                                          </a:lnTo>
                                          <a:lnTo>
                                            <a:pt x="0" y="18"/>
                                          </a:lnTo>
                                          <a:lnTo>
                                            <a:pt x="0" y="14"/>
                                          </a:lnTo>
                                          <a:lnTo>
                                            <a:pt x="2" y="12"/>
                                          </a:lnTo>
                                          <a:lnTo>
                                            <a:pt x="2" y="12"/>
                                          </a:lnTo>
                                          <a:lnTo>
                                            <a:pt x="2" y="10"/>
                                          </a:lnTo>
                                          <a:lnTo>
                                            <a:pt x="4" y="8"/>
                                          </a:lnTo>
                                          <a:lnTo>
                                            <a:pt x="4" y="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4" name="Canada"/>
                                    <p:cNvSpPr>
                                      <a:spLocks/>
                                    </p:cNvSpPr>
                                    <p:nvPr/>
                                  </p:nvSpPr>
                                  <p:spPr bwMode="auto">
                                    <a:xfrm>
                                      <a:off x="3807476" y="1616194"/>
                                      <a:ext cx="164033" cy="66766"/>
                                    </a:xfrm>
                                    <a:custGeom>
                                      <a:avLst/>
                                      <a:gdLst/>
                                      <a:ahLst/>
                                      <a:cxnLst>
                                        <a:cxn ang="0">
                                          <a:pos x="26" y="26"/>
                                        </a:cxn>
                                        <a:cxn ang="0">
                                          <a:pos x="28" y="18"/>
                                        </a:cxn>
                                        <a:cxn ang="0">
                                          <a:pos x="40" y="12"/>
                                        </a:cxn>
                                        <a:cxn ang="0">
                                          <a:pos x="58" y="2"/>
                                        </a:cxn>
                                        <a:cxn ang="0">
                                          <a:pos x="62" y="0"/>
                                        </a:cxn>
                                        <a:cxn ang="0">
                                          <a:pos x="64" y="2"/>
                                        </a:cxn>
                                        <a:cxn ang="0">
                                          <a:pos x="64" y="4"/>
                                        </a:cxn>
                                        <a:cxn ang="0">
                                          <a:pos x="62" y="10"/>
                                        </a:cxn>
                                        <a:cxn ang="0">
                                          <a:pos x="64" y="10"/>
                                        </a:cxn>
                                        <a:cxn ang="0">
                                          <a:pos x="68" y="8"/>
                                        </a:cxn>
                                        <a:cxn ang="0">
                                          <a:pos x="74" y="6"/>
                                        </a:cxn>
                                        <a:cxn ang="0">
                                          <a:pos x="76" y="8"/>
                                        </a:cxn>
                                        <a:cxn ang="0">
                                          <a:pos x="84" y="12"/>
                                        </a:cxn>
                                        <a:cxn ang="0">
                                          <a:pos x="90" y="16"/>
                                        </a:cxn>
                                        <a:cxn ang="0">
                                          <a:pos x="90" y="20"/>
                                        </a:cxn>
                                        <a:cxn ang="0">
                                          <a:pos x="96" y="24"/>
                                        </a:cxn>
                                        <a:cxn ang="0">
                                          <a:pos x="104" y="26"/>
                                        </a:cxn>
                                        <a:cxn ang="0">
                                          <a:pos x="104" y="30"/>
                                        </a:cxn>
                                        <a:cxn ang="0">
                                          <a:pos x="102" y="30"/>
                                        </a:cxn>
                                        <a:cxn ang="0">
                                          <a:pos x="106" y="32"/>
                                        </a:cxn>
                                        <a:cxn ang="0">
                                          <a:pos x="106" y="34"/>
                                        </a:cxn>
                                        <a:cxn ang="0">
                                          <a:pos x="102" y="38"/>
                                        </a:cxn>
                                        <a:cxn ang="0">
                                          <a:pos x="94" y="34"/>
                                        </a:cxn>
                                        <a:cxn ang="0">
                                          <a:pos x="84" y="34"/>
                                        </a:cxn>
                                        <a:cxn ang="0">
                                          <a:pos x="84" y="32"/>
                                        </a:cxn>
                                        <a:cxn ang="0">
                                          <a:pos x="88" y="28"/>
                                        </a:cxn>
                                        <a:cxn ang="0">
                                          <a:pos x="76" y="28"/>
                                        </a:cxn>
                                        <a:cxn ang="0">
                                          <a:pos x="78" y="26"/>
                                        </a:cxn>
                                        <a:cxn ang="0">
                                          <a:pos x="78" y="24"/>
                                        </a:cxn>
                                        <a:cxn ang="0">
                                          <a:pos x="74" y="26"/>
                                        </a:cxn>
                                        <a:cxn ang="0">
                                          <a:pos x="66" y="26"/>
                                        </a:cxn>
                                        <a:cxn ang="0">
                                          <a:pos x="60" y="28"/>
                                        </a:cxn>
                                        <a:cxn ang="0">
                                          <a:pos x="58" y="32"/>
                                        </a:cxn>
                                        <a:cxn ang="0">
                                          <a:pos x="46" y="34"/>
                                        </a:cxn>
                                        <a:cxn ang="0">
                                          <a:pos x="42" y="34"/>
                                        </a:cxn>
                                        <a:cxn ang="0">
                                          <a:pos x="36" y="40"/>
                                        </a:cxn>
                                        <a:cxn ang="0">
                                          <a:pos x="34" y="42"/>
                                        </a:cxn>
                                        <a:cxn ang="0">
                                          <a:pos x="16" y="44"/>
                                        </a:cxn>
                                        <a:cxn ang="0">
                                          <a:pos x="14" y="44"/>
                                        </a:cxn>
                                        <a:cxn ang="0">
                                          <a:pos x="18" y="40"/>
                                        </a:cxn>
                                        <a:cxn ang="0">
                                          <a:pos x="20" y="38"/>
                                        </a:cxn>
                                        <a:cxn ang="0">
                                          <a:pos x="16" y="36"/>
                                        </a:cxn>
                                        <a:cxn ang="0">
                                          <a:pos x="4" y="36"/>
                                        </a:cxn>
                                        <a:cxn ang="0">
                                          <a:pos x="0" y="36"/>
                                        </a:cxn>
                                        <a:cxn ang="0">
                                          <a:pos x="6" y="32"/>
                                        </a:cxn>
                                        <a:cxn ang="0">
                                          <a:pos x="26" y="26"/>
                                        </a:cxn>
                                      </a:cxnLst>
                                      <a:rect l="0" t="0" r="r" b="b"/>
                                      <a:pathLst>
                                        <a:path w="108" h="44">
                                          <a:moveTo>
                                            <a:pt x="26" y="26"/>
                                          </a:moveTo>
                                          <a:lnTo>
                                            <a:pt x="26" y="26"/>
                                          </a:lnTo>
                                          <a:lnTo>
                                            <a:pt x="26" y="22"/>
                                          </a:lnTo>
                                          <a:lnTo>
                                            <a:pt x="28" y="18"/>
                                          </a:lnTo>
                                          <a:lnTo>
                                            <a:pt x="40" y="12"/>
                                          </a:lnTo>
                                          <a:lnTo>
                                            <a:pt x="40" y="12"/>
                                          </a:lnTo>
                                          <a:lnTo>
                                            <a:pt x="48" y="6"/>
                                          </a:lnTo>
                                          <a:lnTo>
                                            <a:pt x="58" y="2"/>
                                          </a:lnTo>
                                          <a:lnTo>
                                            <a:pt x="58" y="2"/>
                                          </a:lnTo>
                                          <a:lnTo>
                                            <a:pt x="62" y="0"/>
                                          </a:lnTo>
                                          <a:lnTo>
                                            <a:pt x="64" y="2"/>
                                          </a:lnTo>
                                          <a:lnTo>
                                            <a:pt x="64" y="2"/>
                                          </a:lnTo>
                                          <a:lnTo>
                                            <a:pt x="64" y="4"/>
                                          </a:lnTo>
                                          <a:lnTo>
                                            <a:pt x="64" y="4"/>
                                          </a:lnTo>
                                          <a:lnTo>
                                            <a:pt x="62" y="6"/>
                                          </a:lnTo>
                                          <a:lnTo>
                                            <a:pt x="62" y="10"/>
                                          </a:lnTo>
                                          <a:lnTo>
                                            <a:pt x="62" y="10"/>
                                          </a:lnTo>
                                          <a:lnTo>
                                            <a:pt x="64" y="10"/>
                                          </a:lnTo>
                                          <a:lnTo>
                                            <a:pt x="64" y="10"/>
                                          </a:lnTo>
                                          <a:lnTo>
                                            <a:pt x="68" y="8"/>
                                          </a:lnTo>
                                          <a:lnTo>
                                            <a:pt x="72" y="6"/>
                                          </a:lnTo>
                                          <a:lnTo>
                                            <a:pt x="74" y="6"/>
                                          </a:lnTo>
                                          <a:lnTo>
                                            <a:pt x="76" y="8"/>
                                          </a:lnTo>
                                          <a:lnTo>
                                            <a:pt x="76" y="8"/>
                                          </a:lnTo>
                                          <a:lnTo>
                                            <a:pt x="78" y="10"/>
                                          </a:lnTo>
                                          <a:lnTo>
                                            <a:pt x="84" y="12"/>
                                          </a:lnTo>
                                          <a:lnTo>
                                            <a:pt x="88" y="14"/>
                                          </a:lnTo>
                                          <a:lnTo>
                                            <a:pt x="90" y="16"/>
                                          </a:lnTo>
                                          <a:lnTo>
                                            <a:pt x="90" y="16"/>
                                          </a:lnTo>
                                          <a:lnTo>
                                            <a:pt x="90" y="20"/>
                                          </a:lnTo>
                                          <a:lnTo>
                                            <a:pt x="90" y="22"/>
                                          </a:lnTo>
                                          <a:lnTo>
                                            <a:pt x="96" y="24"/>
                                          </a:lnTo>
                                          <a:lnTo>
                                            <a:pt x="96" y="24"/>
                                          </a:lnTo>
                                          <a:lnTo>
                                            <a:pt x="104" y="26"/>
                                          </a:lnTo>
                                          <a:lnTo>
                                            <a:pt x="104" y="28"/>
                                          </a:lnTo>
                                          <a:lnTo>
                                            <a:pt x="104" y="30"/>
                                          </a:lnTo>
                                          <a:lnTo>
                                            <a:pt x="104" y="30"/>
                                          </a:lnTo>
                                          <a:lnTo>
                                            <a:pt x="102" y="30"/>
                                          </a:lnTo>
                                          <a:lnTo>
                                            <a:pt x="104" y="30"/>
                                          </a:lnTo>
                                          <a:lnTo>
                                            <a:pt x="106" y="32"/>
                                          </a:lnTo>
                                          <a:lnTo>
                                            <a:pt x="108" y="32"/>
                                          </a:lnTo>
                                          <a:lnTo>
                                            <a:pt x="106" y="34"/>
                                          </a:lnTo>
                                          <a:lnTo>
                                            <a:pt x="106" y="34"/>
                                          </a:lnTo>
                                          <a:lnTo>
                                            <a:pt x="102" y="38"/>
                                          </a:lnTo>
                                          <a:lnTo>
                                            <a:pt x="100" y="38"/>
                                          </a:lnTo>
                                          <a:lnTo>
                                            <a:pt x="94" y="34"/>
                                          </a:lnTo>
                                          <a:lnTo>
                                            <a:pt x="94" y="34"/>
                                          </a:lnTo>
                                          <a:lnTo>
                                            <a:pt x="84" y="34"/>
                                          </a:lnTo>
                                          <a:lnTo>
                                            <a:pt x="82" y="34"/>
                                          </a:lnTo>
                                          <a:lnTo>
                                            <a:pt x="84" y="32"/>
                                          </a:lnTo>
                                          <a:lnTo>
                                            <a:pt x="84" y="32"/>
                                          </a:lnTo>
                                          <a:lnTo>
                                            <a:pt x="88" y="28"/>
                                          </a:lnTo>
                                          <a:lnTo>
                                            <a:pt x="84" y="28"/>
                                          </a:lnTo>
                                          <a:lnTo>
                                            <a:pt x="76" y="28"/>
                                          </a:lnTo>
                                          <a:lnTo>
                                            <a:pt x="76" y="28"/>
                                          </a:lnTo>
                                          <a:lnTo>
                                            <a:pt x="78" y="26"/>
                                          </a:lnTo>
                                          <a:lnTo>
                                            <a:pt x="78" y="26"/>
                                          </a:lnTo>
                                          <a:lnTo>
                                            <a:pt x="78" y="24"/>
                                          </a:lnTo>
                                          <a:lnTo>
                                            <a:pt x="74" y="26"/>
                                          </a:lnTo>
                                          <a:lnTo>
                                            <a:pt x="74" y="26"/>
                                          </a:lnTo>
                                          <a:lnTo>
                                            <a:pt x="68" y="26"/>
                                          </a:lnTo>
                                          <a:lnTo>
                                            <a:pt x="66" y="26"/>
                                          </a:lnTo>
                                          <a:lnTo>
                                            <a:pt x="62" y="26"/>
                                          </a:lnTo>
                                          <a:lnTo>
                                            <a:pt x="60" y="28"/>
                                          </a:lnTo>
                                          <a:lnTo>
                                            <a:pt x="60" y="28"/>
                                          </a:lnTo>
                                          <a:lnTo>
                                            <a:pt x="58" y="32"/>
                                          </a:lnTo>
                                          <a:lnTo>
                                            <a:pt x="54" y="32"/>
                                          </a:lnTo>
                                          <a:lnTo>
                                            <a:pt x="46" y="34"/>
                                          </a:lnTo>
                                          <a:lnTo>
                                            <a:pt x="46" y="34"/>
                                          </a:lnTo>
                                          <a:lnTo>
                                            <a:pt x="42" y="34"/>
                                          </a:lnTo>
                                          <a:lnTo>
                                            <a:pt x="40" y="36"/>
                                          </a:lnTo>
                                          <a:lnTo>
                                            <a:pt x="36" y="40"/>
                                          </a:lnTo>
                                          <a:lnTo>
                                            <a:pt x="34" y="42"/>
                                          </a:lnTo>
                                          <a:lnTo>
                                            <a:pt x="34" y="42"/>
                                          </a:lnTo>
                                          <a:lnTo>
                                            <a:pt x="24" y="44"/>
                                          </a:lnTo>
                                          <a:lnTo>
                                            <a:pt x="16" y="44"/>
                                          </a:lnTo>
                                          <a:lnTo>
                                            <a:pt x="16" y="44"/>
                                          </a:lnTo>
                                          <a:lnTo>
                                            <a:pt x="14" y="44"/>
                                          </a:lnTo>
                                          <a:lnTo>
                                            <a:pt x="14" y="42"/>
                                          </a:lnTo>
                                          <a:lnTo>
                                            <a:pt x="18" y="40"/>
                                          </a:lnTo>
                                          <a:lnTo>
                                            <a:pt x="18" y="40"/>
                                          </a:lnTo>
                                          <a:lnTo>
                                            <a:pt x="20" y="38"/>
                                          </a:lnTo>
                                          <a:lnTo>
                                            <a:pt x="20" y="36"/>
                                          </a:lnTo>
                                          <a:lnTo>
                                            <a:pt x="16" y="36"/>
                                          </a:lnTo>
                                          <a:lnTo>
                                            <a:pt x="16" y="36"/>
                                          </a:lnTo>
                                          <a:lnTo>
                                            <a:pt x="4" y="36"/>
                                          </a:lnTo>
                                          <a:lnTo>
                                            <a:pt x="2" y="36"/>
                                          </a:lnTo>
                                          <a:lnTo>
                                            <a:pt x="0" y="36"/>
                                          </a:lnTo>
                                          <a:lnTo>
                                            <a:pt x="0" y="36"/>
                                          </a:lnTo>
                                          <a:lnTo>
                                            <a:pt x="6" y="32"/>
                                          </a:lnTo>
                                          <a:lnTo>
                                            <a:pt x="26" y="26"/>
                                          </a:lnTo>
                                          <a:lnTo>
                                            <a:pt x="26" y="26"/>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5" name="Canada"/>
                                    <p:cNvSpPr>
                                      <a:spLocks/>
                                    </p:cNvSpPr>
                                    <p:nvPr/>
                                  </p:nvSpPr>
                                  <p:spPr bwMode="auto">
                                    <a:xfrm>
                                      <a:off x="3707235" y="1443340"/>
                                      <a:ext cx="136694" cy="45523"/>
                                    </a:xfrm>
                                    <a:custGeom>
                                      <a:avLst/>
                                      <a:gdLst/>
                                      <a:ahLst/>
                                      <a:cxnLst>
                                        <a:cxn ang="0">
                                          <a:pos x="54" y="26"/>
                                        </a:cxn>
                                        <a:cxn ang="0">
                                          <a:pos x="56" y="28"/>
                                        </a:cxn>
                                        <a:cxn ang="0">
                                          <a:pos x="64" y="26"/>
                                        </a:cxn>
                                        <a:cxn ang="0">
                                          <a:pos x="72" y="22"/>
                                        </a:cxn>
                                        <a:cxn ang="0">
                                          <a:pos x="76" y="18"/>
                                        </a:cxn>
                                        <a:cxn ang="0">
                                          <a:pos x="72" y="16"/>
                                        </a:cxn>
                                        <a:cxn ang="0">
                                          <a:pos x="72" y="14"/>
                                        </a:cxn>
                                        <a:cxn ang="0">
                                          <a:pos x="84" y="12"/>
                                        </a:cxn>
                                        <a:cxn ang="0">
                                          <a:pos x="88" y="10"/>
                                        </a:cxn>
                                        <a:cxn ang="0">
                                          <a:pos x="90" y="6"/>
                                        </a:cxn>
                                        <a:cxn ang="0">
                                          <a:pos x="82" y="6"/>
                                        </a:cxn>
                                        <a:cxn ang="0">
                                          <a:pos x="80" y="6"/>
                                        </a:cxn>
                                        <a:cxn ang="0">
                                          <a:pos x="88" y="4"/>
                                        </a:cxn>
                                        <a:cxn ang="0">
                                          <a:pos x="88" y="2"/>
                                        </a:cxn>
                                        <a:cxn ang="0">
                                          <a:pos x="78" y="2"/>
                                        </a:cxn>
                                        <a:cxn ang="0">
                                          <a:pos x="66" y="2"/>
                                        </a:cxn>
                                        <a:cxn ang="0">
                                          <a:pos x="52" y="2"/>
                                        </a:cxn>
                                        <a:cxn ang="0">
                                          <a:pos x="44" y="2"/>
                                        </a:cxn>
                                        <a:cxn ang="0">
                                          <a:pos x="38" y="2"/>
                                        </a:cxn>
                                        <a:cxn ang="0">
                                          <a:pos x="28" y="4"/>
                                        </a:cxn>
                                        <a:cxn ang="0">
                                          <a:pos x="28" y="6"/>
                                        </a:cxn>
                                        <a:cxn ang="0">
                                          <a:pos x="40" y="12"/>
                                        </a:cxn>
                                        <a:cxn ang="0">
                                          <a:pos x="40" y="14"/>
                                        </a:cxn>
                                        <a:cxn ang="0">
                                          <a:pos x="30" y="12"/>
                                        </a:cxn>
                                        <a:cxn ang="0">
                                          <a:pos x="14" y="10"/>
                                        </a:cxn>
                                        <a:cxn ang="0">
                                          <a:pos x="0" y="12"/>
                                        </a:cxn>
                                        <a:cxn ang="0">
                                          <a:pos x="0" y="14"/>
                                        </a:cxn>
                                        <a:cxn ang="0">
                                          <a:pos x="6" y="22"/>
                                        </a:cxn>
                                        <a:cxn ang="0">
                                          <a:pos x="10" y="22"/>
                                        </a:cxn>
                                        <a:cxn ang="0">
                                          <a:pos x="24" y="26"/>
                                        </a:cxn>
                                        <a:cxn ang="0">
                                          <a:pos x="28" y="28"/>
                                        </a:cxn>
                                        <a:cxn ang="0">
                                          <a:pos x="36" y="28"/>
                                        </a:cxn>
                                        <a:cxn ang="0">
                                          <a:pos x="44" y="30"/>
                                        </a:cxn>
                                        <a:cxn ang="0">
                                          <a:pos x="54" y="26"/>
                                        </a:cxn>
                                      </a:cxnLst>
                                      <a:rect l="0" t="0" r="r" b="b"/>
                                      <a:pathLst>
                                        <a:path w="90" h="30">
                                          <a:moveTo>
                                            <a:pt x="54" y="26"/>
                                          </a:moveTo>
                                          <a:lnTo>
                                            <a:pt x="54" y="26"/>
                                          </a:lnTo>
                                          <a:lnTo>
                                            <a:pt x="54" y="28"/>
                                          </a:lnTo>
                                          <a:lnTo>
                                            <a:pt x="56" y="28"/>
                                          </a:lnTo>
                                          <a:lnTo>
                                            <a:pt x="60" y="28"/>
                                          </a:lnTo>
                                          <a:lnTo>
                                            <a:pt x="64" y="26"/>
                                          </a:lnTo>
                                          <a:lnTo>
                                            <a:pt x="64" y="26"/>
                                          </a:lnTo>
                                          <a:lnTo>
                                            <a:pt x="72" y="22"/>
                                          </a:lnTo>
                                          <a:lnTo>
                                            <a:pt x="72" y="22"/>
                                          </a:lnTo>
                                          <a:lnTo>
                                            <a:pt x="76" y="18"/>
                                          </a:lnTo>
                                          <a:lnTo>
                                            <a:pt x="76" y="16"/>
                                          </a:lnTo>
                                          <a:lnTo>
                                            <a:pt x="72" y="16"/>
                                          </a:lnTo>
                                          <a:lnTo>
                                            <a:pt x="72" y="14"/>
                                          </a:lnTo>
                                          <a:lnTo>
                                            <a:pt x="72" y="14"/>
                                          </a:lnTo>
                                          <a:lnTo>
                                            <a:pt x="78" y="14"/>
                                          </a:lnTo>
                                          <a:lnTo>
                                            <a:pt x="84" y="12"/>
                                          </a:lnTo>
                                          <a:lnTo>
                                            <a:pt x="88" y="10"/>
                                          </a:lnTo>
                                          <a:lnTo>
                                            <a:pt x="88" y="10"/>
                                          </a:lnTo>
                                          <a:lnTo>
                                            <a:pt x="90" y="8"/>
                                          </a:lnTo>
                                          <a:lnTo>
                                            <a:pt x="90" y="6"/>
                                          </a:lnTo>
                                          <a:lnTo>
                                            <a:pt x="86" y="6"/>
                                          </a:lnTo>
                                          <a:lnTo>
                                            <a:pt x="82" y="6"/>
                                          </a:lnTo>
                                          <a:lnTo>
                                            <a:pt x="80" y="6"/>
                                          </a:lnTo>
                                          <a:lnTo>
                                            <a:pt x="80" y="6"/>
                                          </a:lnTo>
                                          <a:lnTo>
                                            <a:pt x="86" y="4"/>
                                          </a:lnTo>
                                          <a:lnTo>
                                            <a:pt x="88" y="4"/>
                                          </a:lnTo>
                                          <a:lnTo>
                                            <a:pt x="88" y="2"/>
                                          </a:lnTo>
                                          <a:lnTo>
                                            <a:pt x="88" y="2"/>
                                          </a:lnTo>
                                          <a:lnTo>
                                            <a:pt x="84" y="0"/>
                                          </a:lnTo>
                                          <a:lnTo>
                                            <a:pt x="78" y="2"/>
                                          </a:lnTo>
                                          <a:lnTo>
                                            <a:pt x="66" y="2"/>
                                          </a:lnTo>
                                          <a:lnTo>
                                            <a:pt x="66" y="2"/>
                                          </a:lnTo>
                                          <a:lnTo>
                                            <a:pt x="60" y="2"/>
                                          </a:lnTo>
                                          <a:lnTo>
                                            <a:pt x="52" y="2"/>
                                          </a:lnTo>
                                          <a:lnTo>
                                            <a:pt x="52" y="2"/>
                                          </a:lnTo>
                                          <a:lnTo>
                                            <a:pt x="44" y="2"/>
                                          </a:lnTo>
                                          <a:lnTo>
                                            <a:pt x="38" y="2"/>
                                          </a:lnTo>
                                          <a:lnTo>
                                            <a:pt x="38" y="2"/>
                                          </a:lnTo>
                                          <a:lnTo>
                                            <a:pt x="30" y="4"/>
                                          </a:lnTo>
                                          <a:lnTo>
                                            <a:pt x="28" y="4"/>
                                          </a:lnTo>
                                          <a:lnTo>
                                            <a:pt x="28" y="6"/>
                                          </a:lnTo>
                                          <a:lnTo>
                                            <a:pt x="28" y="6"/>
                                          </a:lnTo>
                                          <a:lnTo>
                                            <a:pt x="36" y="8"/>
                                          </a:lnTo>
                                          <a:lnTo>
                                            <a:pt x="40" y="12"/>
                                          </a:lnTo>
                                          <a:lnTo>
                                            <a:pt x="40" y="12"/>
                                          </a:lnTo>
                                          <a:lnTo>
                                            <a:pt x="40" y="14"/>
                                          </a:lnTo>
                                          <a:lnTo>
                                            <a:pt x="40" y="14"/>
                                          </a:lnTo>
                                          <a:lnTo>
                                            <a:pt x="30" y="12"/>
                                          </a:lnTo>
                                          <a:lnTo>
                                            <a:pt x="30" y="12"/>
                                          </a:lnTo>
                                          <a:lnTo>
                                            <a:pt x="14" y="10"/>
                                          </a:lnTo>
                                          <a:lnTo>
                                            <a:pt x="6" y="10"/>
                                          </a:lnTo>
                                          <a:lnTo>
                                            <a:pt x="0" y="12"/>
                                          </a:lnTo>
                                          <a:lnTo>
                                            <a:pt x="0" y="12"/>
                                          </a:lnTo>
                                          <a:lnTo>
                                            <a:pt x="0" y="14"/>
                                          </a:lnTo>
                                          <a:lnTo>
                                            <a:pt x="2" y="18"/>
                                          </a:lnTo>
                                          <a:lnTo>
                                            <a:pt x="6" y="22"/>
                                          </a:lnTo>
                                          <a:lnTo>
                                            <a:pt x="10" y="22"/>
                                          </a:lnTo>
                                          <a:lnTo>
                                            <a:pt x="10" y="22"/>
                                          </a:lnTo>
                                          <a:lnTo>
                                            <a:pt x="18" y="24"/>
                                          </a:lnTo>
                                          <a:lnTo>
                                            <a:pt x="24" y="26"/>
                                          </a:lnTo>
                                          <a:lnTo>
                                            <a:pt x="24" y="26"/>
                                          </a:lnTo>
                                          <a:lnTo>
                                            <a:pt x="28" y="28"/>
                                          </a:lnTo>
                                          <a:lnTo>
                                            <a:pt x="32" y="28"/>
                                          </a:lnTo>
                                          <a:lnTo>
                                            <a:pt x="36" y="28"/>
                                          </a:lnTo>
                                          <a:lnTo>
                                            <a:pt x="36" y="28"/>
                                          </a:lnTo>
                                          <a:lnTo>
                                            <a:pt x="44" y="30"/>
                                          </a:lnTo>
                                          <a:lnTo>
                                            <a:pt x="48" y="30"/>
                                          </a:lnTo>
                                          <a:lnTo>
                                            <a:pt x="54" y="26"/>
                                          </a:lnTo>
                                          <a:lnTo>
                                            <a:pt x="54" y="26"/>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6" name="Canada"/>
                                    <p:cNvSpPr>
                                      <a:spLocks/>
                                    </p:cNvSpPr>
                                    <p:nvPr/>
                                  </p:nvSpPr>
                                  <p:spPr bwMode="auto">
                                    <a:xfrm>
                                      <a:off x="3944171" y="1406791"/>
                                      <a:ext cx="300727" cy="45523"/>
                                    </a:xfrm>
                                    <a:custGeom>
                                      <a:avLst/>
                                      <a:gdLst/>
                                      <a:ahLst/>
                                      <a:cxnLst>
                                        <a:cxn ang="0">
                                          <a:pos x="34" y="30"/>
                                        </a:cxn>
                                        <a:cxn ang="0">
                                          <a:pos x="48" y="26"/>
                                        </a:cxn>
                                        <a:cxn ang="0">
                                          <a:pos x="54" y="26"/>
                                        </a:cxn>
                                        <a:cxn ang="0">
                                          <a:pos x="58" y="30"/>
                                        </a:cxn>
                                        <a:cxn ang="0">
                                          <a:pos x="66" y="30"/>
                                        </a:cxn>
                                        <a:cxn ang="0">
                                          <a:pos x="78" y="28"/>
                                        </a:cxn>
                                        <a:cxn ang="0">
                                          <a:pos x="88" y="24"/>
                                        </a:cxn>
                                        <a:cxn ang="0">
                                          <a:pos x="90" y="24"/>
                                        </a:cxn>
                                        <a:cxn ang="0">
                                          <a:pos x="88" y="26"/>
                                        </a:cxn>
                                        <a:cxn ang="0">
                                          <a:pos x="90" y="30"/>
                                        </a:cxn>
                                        <a:cxn ang="0">
                                          <a:pos x="100" y="30"/>
                                        </a:cxn>
                                        <a:cxn ang="0">
                                          <a:pos x="108" y="26"/>
                                        </a:cxn>
                                        <a:cxn ang="0">
                                          <a:pos x="112" y="26"/>
                                        </a:cxn>
                                        <a:cxn ang="0">
                                          <a:pos x="138" y="26"/>
                                        </a:cxn>
                                        <a:cxn ang="0">
                                          <a:pos x="144" y="26"/>
                                        </a:cxn>
                                        <a:cxn ang="0">
                                          <a:pos x="152" y="28"/>
                                        </a:cxn>
                                        <a:cxn ang="0">
                                          <a:pos x="156" y="28"/>
                                        </a:cxn>
                                        <a:cxn ang="0">
                                          <a:pos x="158" y="26"/>
                                        </a:cxn>
                                        <a:cxn ang="0">
                                          <a:pos x="156" y="20"/>
                                        </a:cxn>
                                        <a:cxn ang="0">
                                          <a:pos x="160" y="22"/>
                                        </a:cxn>
                                        <a:cxn ang="0">
                                          <a:pos x="178" y="26"/>
                                        </a:cxn>
                                        <a:cxn ang="0">
                                          <a:pos x="194" y="24"/>
                                        </a:cxn>
                                        <a:cxn ang="0">
                                          <a:pos x="194" y="22"/>
                                        </a:cxn>
                                        <a:cxn ang="0">
                                          <a:pos x="188" y="18"/>
                                        </a:cxn>
                                        <a:cxn ang="0">
                                          <a:pos x="180" y="12"/>
                                        </a:cxn>
                                        <a:cxn ang="0">
                                          <a:pos x="174" y="10"/>
                                        </a:cxn>
                                        <a:cxn ang="0">
                                          <a:pos x="164" y="12"/>
                                        </a:cxn>
                                        <a:cxn ang="0">
                                          <a:pos x="160" y="12"/>
                                        </a:cxn>
                                        <a:cxn ang="0">
                                          <a:pos x="156" y="12"/>
                                        </a:cxn>
                                        <a:cxn ang="0">
                                          <a:pos x="142" y="14"/>
                                        </a:cxn>
                                        <a:cxn ang="0">
                                          <a:pos x="136" y="14"/>
                                        </a:cxn>
                                        <a:cxn ang="0">
                                          <a:pos x="124" y="14"/>
                                        </a:cxn>
                                        <a:cxn ang="0">
                                          <a:pos x="112" y="14"/>
                                        </a:cxn>
                                        <a:cxn ang="0">
                                          <a:pos x="104" y="12"/>
                                        </a:cxn>
                                        <a:cxn ang="0">
                                          <a:pos x="88" y="14"/>
                                        </a:cxn>
                                        <a:cxn ang="0">
                                          <a:pos x="82" y="14"/>
                                        </a:cxn>
                                        <a:cxn ang="0">
                                          <a:pos x="72" y="16"/>
                                        </a:cxn>
                                        <a:cxn ang="0">
                                          <a:pos x="62" y="16"/>
                                        </a:cxn>
                                        <a:cxn ang="0">
                                          <a:pos x="60" y="14"/>
                                        </a:cxn>
                                        <a:cxn ang="0">
                                          <a:pos x="52" y="16"/>
                                        </a:cxn>
                                        <a:cxn ang="0">
                                          <a:pos x="50" y="14"/>
                                        </a:cxn>
                                        <a:cxn ang="0">
                                          <a:pos x="42" y="12"/>
                                        </a:cxn>
                                        <a:cxn ang="0">
                                          <a:pos x="40" y="10"/>
                                        </a:cxn>
                                        <a:cxn ang="0">
                                          <a:pos x="46" y="10"/>
                                        </a:cxn>
                                        <a:cxn ang="0">
                                          <a:pos x="52" y="4"/>
                                        </a:cxn>
                                        <a:cxn ang="0">
                                          <a:pos x="46" y="2"/>
                                        </a:cxn>
                                        <a:cxn ang="0">
                                          <a:pos x="36" y="0"/>
                                        </a:cxn>
                                        <a:cxn ang="0">
                                          <a:pos x="28" y="0"/>
                                        </a:cxn>
                                        <a:cxn ang="0">
                                          <a:pos x="14" y="0"/>
                                        </a:cxn>
                                        <a:cxn ang="0">
                                          <a:pos x="2" y="2"/>
                                        </a:cxn>
                                        <a:cxn ang="0">
                                          <a:pos x="0" y="4"/>
                                        </a:cxn>
                                        <a:cxn ang="0">
                                          <a:pos x="6" y="8"/>
                                        </a:cxn>
                                        <a:cxn ang="0">
                                          <a:pos x="6" y="12"/>
                                        </a:cxn>
                                        <a:cxn ang="0">
                                          <a:pos x="6" y="12"/>
                                        </a:cxn>
                                        <a:cxn ang="0">
                                          <a:pos x="12" y="14"/>
                                        </a:cxn>
                                        <a:cxn ang="0">
                                          <a:pos x="24" y="12"/>
                                        </a:cxn>
                                        <a:cxn ang="0">
                                          <a:pos x="28" y="14"/>
                                        </a:cxn>
                                        <a:cxn ang="0">
                                          <a:pos x="28" y="18"/>
                                        </a:cxn>
                                        <a:cxn ang="0">
                                          <a:pos x="24" y="20"/>
                                        </a:cxn>
                                        <a:cxn ang="0">
                                          <a:pos x="20" y="26"/>
                                        </a:cxn>
                                        <a:cxn ang="0">
                                          <a:pos x="34" y="30"/>
                                        </a:cxn>
                                      </a:cxnLst>
                                      <a:rect l="0" t="0" r="r" b="b"/>
                                      <a:pathLst>
                                        <a:path w="198" h="30">
                                          <a:moveTo>
                                            <a:pt x="34" y="30"/>
                                          </a:moveTo>
                                          <a:lnTo>
                                            <a:pt x="34" y="30"/>
                                          </a:lnTo>
                                          <a:lnTo>
                                            <a:pt x="42" y="28"/>
                                          </a:lnTo>
                                          <a:lnTo>
                                            <a:pt x="48" y="26"/>
                                          </a:lnTo>
                                          <a:lnTo>
                                            <a:pt x="52" y="26"/>
                                          </a:lnTo>
                                          <a:lnTo>
                                            <a:pt x="54" y="26"/>
                                          </a:lnTo>
                                          <a:lnTo>
                                            <a:pt x="54" y="26"/>
                                          </a:lnTo>
                                          <a:lnTo>
                                            <a:pt x="58" y="30"/>
                                          </a:lnTo>
                                          <a:lnTo>
                                            <a:pt x="66" y="30"/>
                                          </a:lnTo>
                                          <a:lnTo>
                                            <a:pt x="66" y="30"/>
                                          </a:lnTo>
                                          <a:lnTo>
                                            <a:pt x="74" y="30"/>
                                          </a:lnTo>
                                          <a:lnTo>
                                            <a:pt x="78" y="28"/>
                                          </a:lnTo>
                                          <a:lnTo>
                                            <a:pt x="84" y="26"/>
                                          </a:lnTo>
                                          <a:lnTo>
                                            <a:pt x="88" y="24"/>
                                          </a:lnTo>
                                          <a:lnTo>
                                            <a:pt x="88" y="24"/>
                                          </a:lnTo>
                                          <a:lnTo>
                                            <a:pt x="90" y="24"/>
                                          </a:lnTo>
                                          <a:lnTo>
                                            <a:pt x="90" y="24"/>
                                          </a:lnTo>
                                          <a:lnTo>
                                            <a:pt x="88" y="26"/>
                                          </a:lnTo>
                                          <a:lnTo>
                                            <a:pt x="86" y="28"/>
                                          </a:lnTo>
                                          <a:lnTo>
                                            <a:pt x="90" y="30"/>
                                          </a:lnTo>
                                          <a:lnTo>
                                            <a:pt x="90" y="30"/>
                                          </a:lnTo>
                                          <a:lnTo>
                                            <a:pt x="100" y="30"/>
                                          </a:lnTo>
                                          <a:lnTo>
                                            <a:pt x="106" y="28"/>
                                          </a:lnTo>
                                          <a:lnTo>
                                            <a:pt x="108" y="26"/>
                                          </a:lnTo>
                                          <a:lnTo>
                                            <a:pt x="112" y="26"/>
                                          </a:lnTo>
                                          <a:lnTo>
                                            <a:pt x="112" y="26"/>
                                          </a:lnTo>
                                          <a:lnTo>
                                            <a:pt x="126" y="28"/>
                                          </a:lnTo>
                                          <a:lnTo>
                                            <a:pt x="138" y="26"/>
                                          </a:lnTo>
                                          <a:lnTo>
                                            <a:pt x="138" y="26"/>
                                          </a:lnTo>
                                          <a:lnTo>
                                            <a:pt x="144" y="26"/>
                                          </a:lnTo>
                                          <a:lnTo>
                                            <a:pt x="148" y="26"/>
                                          </a:lnTo>
                                          <a:lnTo>
                                            <a:pt x="152" y="28"/>
                                          </a:lnTo>
                                          <a:lnTo>
                                            <a:pt x="156" y="28"/>
                                          </a:lnTo>
                                          <a:lnTo>
                                            <a:pt x="156" y="28"/>
                                          </a:lnTo>
                                          <a:lnTo>
                                            <a:pt x="158" y="26"/>
                                          </a:lnTo>
                                          <a:lnTo>
                                            <a:pt x="158" y="26"/>
                                          </a:lnTo>
                                          <a:lnTo>
                                            <a:pt x="158" y="22"/>
                                          </a:lnTo>
                                          <a:lnTo>
                                            <a:pt x="156" y="20"/>
                                          </a:lnTo>
                                          <a:lnTo>
                                            <a:pt x="160" y="22"/>
                                          </a:lnTo>
                                          <a:lnTo>
                                            <a:pt x="160" y="22"/>
                                          </a:lnTo>
                                          <a:lnTo>
                                            <a:pt x="170" y="26"/>
                                          </a:lnTo>
                                          <a:lnTo>
                                            <a:pt x="178" y="26"/>
                                          </a:lnTo>
                                          <a:lnTo>
                                            <a:pt x="178" y="26"/>
                                          </a:lnTo>
                                          <a:lnTo>
                                            <a:pt x="194" y="24"/>
                                          </a:lnTo>
                                          <a:lnTo>
                                            <a:pt x="198" y="24"/>
                                          </a:lnTo>
                                          <a:lnTo>
                                            <a:pt x="194" y="22"/>
                                          </a:lnTo>
                                          <a:lnTo>
                                            <a:pt x="194" y="22"/>
                                          </a:lnTo>
                                          <a:lnTo>
                                            <a:pt x="188" y="18"/>
                                          </a:lnTo>
                                          <a:lnTo>
                                            <a:pt x="184" y="14"/>
                                          </a:lnTo>
                                          <a:lnTo>
                                            <a:pt x="180" y="12"/>
                                          </a:lnTo>
                                          <a:lnTo>
                                            <a:pt x="174" y="10"/>
                                          </a:lnTo>
                                          <a:lnTo>
                                            <a:pt x="174" y="10"/>
                                          </a:lnTo>
                                          <a:lnTo>
                                            <a:pt x="168" y="10"/>
                                          </a:lnTo>
                                          <a:lnTo>
                                            <a:pt x="164" y="12"/>
                                          </a:lnTo>
                                          <a:lnTo>
                                            <a:pt x="164" y="12"/>
                                          </a:lnTo>
                                          <a:lnTo>
                                            <a:pt x="160" y="12"/>
                                          </a:lnTo>
                                          <a:lnTo>
                                            <a:pt x="160" y="12"/>
                                          </a:lnTo>
                                          <a:lnTo>
                                            <a:pt x="156" y="12"/>
                                          </a:lnTo>
                                          <a:lnTo>
                                            <a:pt x="150" y="14"/>
                                          </a:lnTo>
                                          <a:lnTo>
                                            <a:pt x="142" y="14"/>
                                          </a:lnTo>
                                          <a:lnTo>
                                            <a:pt x="136" y="14"/>
                                          </a:lnTo>
                                          <a:lnTo>
                                            <a:pt x="136" y="14"/>
                                          </a:lnTo>
                                          <a:lnTo>
                                            <a:pt x="130" y="14"/>
                                          </a:lnTo>
                                          <a:lnTo>
                                            <a:pt x="124" y="14"/>
                                          </a:lnTo>
                                          <a:lnTo>
                                            <a:pt x="118" y="14"/>
                                          </a:lnTo>
                                          <a:lnTo>
                                            <a:pt x="112" y="14"/>
                                          </a:lnTo>
                                          <a:lnTo>
                                            <a:pt x="112" y="14"/>
                                          </a:lnTo>
                                          <a:lnTo>
                                            <a:pt x="104" y="12"/>
                                          </a:lnTo>
                                          <a:lnTo>
                                            <a:pt x="96" y="14"/>
                                          </a:lnTo>
                                          <a:lnTo>
                                            <a:pt x="88" y="14"/>
                                          </a:lnTo>
                                          <a:lnTo>
                                            <a:pt x="82" y="14"/>
                                          </a:lnTo>
                                          <a:lnTo>
                                            <a:pt x="82" y="14"/>
                                          </a:lnTo>
                                          <a:lnTo>
                                            <a:pt x="78" y="14"/>
                                          </a:lnTo>
                                          <a:lnTo>
                                            <a:pt x="72" y="16"/>
                                          </a:lnTo>
                                          <a:lnTo>
                                            <a:pt x="66" y="16"/>
                                          </a:lnTo>
                                          <a:lnTo>
                                            <a:pt x="62" y="16"/>
                                          </a:lnTo>
                                          <a:lnTo>
                                            <a:pt x="62" y="16"/>
                                          </a:lnTo>
                                          <a:lnTo>
                                            <a:pt x="60" y="14"/>
                                          </a:lnTo>
                                          <a:lnTo>
                                            <a:pt x="56" y="14"/>
                                          </a:lnTo>
                                          <a:lnTo>
                                            <a:pt x="52" y="16"/>
                                          </a:lnTo>
                                          <a:lnTo>
                                            <a:pt x="50" y="14"/>
                                          </a:lnTo>
                                          <a:lnTo>
                                            <a:pt x="50" y="14"/>
                                          </a:lnTo>
                                          <a:lnTo>
                                            <a:pt x="46" y="12"/>
                                          </a:lnTo>
                                          <a:lnTo>
                                            <a:pt x="42" y="12"/>
                                          </a:lnTo>
                                          <a:lnTo>
                                            <a:pt x="38" y="12"/>
                                          </a:lnTo>
                                          <a:lnTo>
                                            <a:pt x="40" y="10"/>
                                          </a:lnTo>
                                          <a:lnTo>
                                            <a:pt x="40" y="10"/>
                                          </a:lnTo>
                                          <a:lnTo>
                                            <a:pt x="46" y="10"/>
                                          </a:lnTo>
                                          <a:lnTo>
                                            <a:pt x="50" y="6"/>
                                          </a:lnTo>
                                          <a:lnTo>
                                            <a:pt x="52" y="4"/>
                                          </a:lnTo>
                                          <a:lnTo>
                                            <a:pt x="46" y="2"/>
                                          </a:lnTo>
                                          <a:lnTo>
                                            <a:pt x="46" y="2"/>
                                          </a:lnTo>
                                          <a:lnTo>
                                            <a:pt x="40" y="2"/>
                                          </a:lnTo>
                                          <a:lnTo>
                                            <a:pt x="36" y="0"/>
                                          </a:lnTo>
                                          <a:lnTo>
                                            <a:pt x="34" y="0"/>
                                          </a:lnTo>
                                          <a:lnTo>
                                            <a:pt x="28" y="0"/>
                                          </a:lnTo>
                                          <a:lnTo>
                                            <a:pt x="28" y="0"/>
                                          </a:lnTo>
                                          <a:lnTo>
                                            <a:pt x="14" y="0"/>
                                          </a:lnTo>
                                          <a:lnTo>
                                            <a:pt x="2" y="2"/>
                                          </a:lnTo>
                                          <a:lnTo>
                                            <a:pt x="2" y="2"/>
                                          </a:lnTo>
                                          <a:lnTo>
                                            <a:pt x="0" y="2"/>
                                          </a:lnTo>
                                          <a:lnTo>
                                            <a:pt x="0" y="4"/>
                                          </a:lnTo>
                                          <a:lnTo>
                                            <a:pt x="4" y="6"/>
                                          </a:lnTo>
                                          <a:lnTo>
                                            <a:pt x="6" y="8"/>
                                          </a:lnTo>
                                          <a:lnTo>
                                            <a:pt x="8" y="10"/>
                                          </a:lnTo>
                                          <a:lnTo>
                                            <a:pt x="6" y="12"/>
                                          </a:lnTo>
                                          <a:lnTo>
                                            <a:pt x="6" y="12"/>
                                          </a:lnTo>
                                          <a:lnTo>
                                            <a:pt x="6" y="12"/>
                                          </a:lnTo>
                                          <a:lnTo>
                                            <a:pt x="8" y="14"/>
                                          </a:lnTo>
                                          <a:lnTo>
                                            <a:pt x="12" y="14"/>
                                          </a:lnTo>
                                          <a:lnTo>
                                            <a:pt x="18" y="14"/>
                                          </a:lnTo>
                                          <a:lnTo>
                                            <a:pt x="24" y="12"/>
                                          </a:lnTo>
                                          <a:lnTo>
                                            <a:pt x="24" y="12"/>
                                          </a:lnTo>
                                          <a:lnTo>
                                            <a:pt x="28" y="14"/>
                                          </a:lnTo>
                                          <a:lnTo>
                                            <a:pt x="28" y="16"/>
                                          </a:lnTo>
                                          <a:lnTo>
                                            <a:pt x="28" y="18"/>
                                          </a:lnTo>
                                          <a:lnTo>
                                            <a:pt x="24" y="20"/>
                                          </a:lnTo>
                                          <a:lnTo>
                                            <a:pt x="24" y="20"/>
                                          </a:lnTo>
                                          <a:lnTo>
                                            <a:pt x="20" y="22"/>
                                          </a:lnTo>
                                          <a:lnTo>
                                            <a:pt x="20" y="26"/>
                                          </a:lnTo>
                                          <a:lnTo>
                                            <a:pt x="24" y="30"/>
                                          </a:lnTo>
                                          <a:lnTo>
                                            <a:pt x="34" y="30"/>
                                          </a:lnTo>
                                          <a:lnTo>
                                            <a:pt x="34" y="3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7" name="Canada"/>
                                    <p:cNvSpPr>
                                      <a:spLocks/>
                                    </p:cNvSpPr>
                                    <p:nvPr/>
                                  </p:nvSpPr>
                                  <p:spPr bwMode="auto">
                                    <a:xfrm>
                                      <a:off x="3196911" y="1449278"/>
                                      <a:ext cx="212635" cy="60697"/>
                                    </a:xfrm>
                                    <a:custGeom>
                                      <a:avLst/>
                                      <a:gdLst/>
                                      <a:ahLst/>
                                      <a:cxnLst>
                                        <a:cxn ang="0">
                                          <a:pos x="48" y="28"/>
                                        </a:cxn>
                                        <a:cxn ang="0">
                                          <a:pos x="48" y="28"/>
                                        </a:cxn>
                                        <a:cxn ang="0">
                                          <a:pos x="54" y="24"/>
                                        </a:cxn>
                                        <a:cxn ang="0">
                                          <a:pos x="58" y="24"/>
                                        </a:cxn>
                                        <a:cxn ang="0">
                                          <a:pos x="62" y="22"/>
                                        </a:cxn>
                                        <a:cxn ang="0">
                                          <a:pos x="70" y="20"/>
                                        </a:cxn>
                                        <a:cxn ang="0">
                                          <a:pos x="70" y="20"/>
                                        </a:cxn>
                                        <a:cxn ang="0">
                                          <a:pos x="78" y="18"/>
                                        </a:cxn>
                                        <a:cxn ang="0">
                                          <a:pos x="84" y="18"/>
                                        </a:cxn>
                                        <a:cxn ang="0">
                                          <a:pos x="92" y="18"/>
                                        </a:cxn>
                                        <a:cxn ang="0">
                                          <a:pos x="104" y="14"/>
                                        </a:cxn>
                                        <a:cxn ang="0">
                                          <a:pos x="104" y="14"/>
                                        </a:cxn>
                                        <a:cxn ang="0">
                                          <a:pos x="114" y="12"/>
                                        </a:cxn>
                                        <a:cxn ang="0">
                                          <a:pos x="120" y="12"/>
                                        </a:cxn>
                                        <a:cxn ang="0">
                                          <a:pos x="132" y="10"/>
                                        </a:cxn>
                                        <a:cxn ang="0">
                                          <a:pos x="132" y="10"/>
                                        </a:cxn>
                                        <a:cxn ang="0">
                                          <a:pos x="138" y="8"/>
                                        </a:cxn>
                                        <a:cxn ang="0">
                                          <a:pos x="140" y="6"/>
                                        </a:cxn>
                                        <a:cxn ang="0">
                                          <a:pos x="138" y="2"/>
                                        </a:cxn>
                                        <a:cxn ang="0">
                                          <a:pos x="134" y="0"/>
                                        </a:cxn>
                                        <a:cxn ang="0">
                                          <a:pos x="134" y="0"/>
                                        </a:cxn>
                                        <a:cxn ang="0">
                                          <a:pos x="124" y="2"/>
                                        </a:cxn>
                                        <a:cxn ang="0">
                                          <a:pos x="114" y="4"/>
                                        </a:cxn>
                                        <a:cxn ang="0">
                                          <a:pos x="114" y="4"/>
                                        </a:cxn>
                                        <a:cxn ang="0">
                                          <a:pos x="98" y="0"/>
                                        </a:cxn>
                                        <a:cxn ang="0">
                                          <a:pos x="86" y="0"/>
                                        </a:cxn>
                                        <a:cxn ang="0">
                                          <a:pos x="76" y="0"/>
                                        </a:cxn>
                                        <a:cxn ang="0">
                                          <a:pos x="76" y="0"/>
                                        </a:cxn>
                                        <a:cxn ang="0">
                                          <a:pos x="48" y="2"/>
                                        </a:cxn>
                                        <a:cxn ang="0">
                                          <a:pos x="48" y="2"/>
                                        </a:cxn>
                                        <a:cxn ang="0">
                                          <a:pos x="44" y="2"/>
                                        </a:cxn>
                                        <a:cxn ang="0">
                                          <a:pos x="46" y="4"/>
                                        </a:cxn>
                                        <a:cxn ang="0">
                                          <a:pos x="44" y="6"/>
                                        </a:cxn>
                                        <a:cxn ang="0">
                                          <a:pos x="38" y="10"/>
                                        </a:cxn>
                                        <a:cxn ang="0">
                                          <a:pos x="38" y="10"/>
                                        </a:cxn>
                                        <a:cxn ang="0">
                                          <a:pos x="30" y="14"/>
                                        </a:cxn>
                                        <a:cxn ang="0">
                                          <a:pos x="28" y="16"/>
                                        </a:cxn>
                                        <a:cxn ang="0">
                                          <a:pos x="30" y="16"/>
                                        </a:cxn>
                                        <a:cxn ang="0">
                                          <a:pos x="30" y="16"/>
                                        </a:cxn>
                                        <a:cxn ang="0">
                                          <a:pos x="30" y="18"/>
                                        </a:cxn>
                                        <a:cxn ang="0">
                                          <a:pos x="28" y="18"/>
                                        </a:cxn>
                                        <a:cxn ang="0">
                                          <a:pos x="18" y="22"/>
                                        </a:cxn>
                                        <a:cxn ang="0">
                                          <a:pos x="18" y="22"/>
                                        </a:cxn>
                                        <a:cxn ang="0">
                                          <a:pos x="10" y="26"/>
                                        </a:cxn>
                                        <a:cxn ang="0">
                                          <a:pos x="4" y="26"/>
                                        </a:cxn>
                                        <a:cxn ang="0">
                                          <a:pos x="0" y="26"/>
                                        </a:cxn>
                                        <a:cxn ang="0">
                                          <a:pos x="2" y="30"/>
                                        </a:cxn>
                                        <a:cxn ang="0">
                                          <a:pos x="2" y="30"/>
                                        </a:cxn>
                                        <a:cxn ang="0">
                                          <a:pos x="4" y="34"/>
                                        </a:cxn>
                                        <a:cxn ang="0">
                                          <a:pos x="4" y="38"/>
                                        </a:cxn>
                                        <a:cxn ang="0">
                                          <a:pos x="4" y="40"/>
                                        </a:cxn>
                                        <a:cxn ang="0">
                                          <a:pos x="8" y="40"/>
                                        </a:cxn>
                                        <a:cxn ang="0">
                                          <a:pos x="8" y="40"/>
                                        </a:cxn>
                                        <a:cxn ang="0">
                                          <a:pos x="16" y="40"/>
                                        </a:cxn>
                                        <a:cxn ang="0">
                                          <a:pos x="26" y="38"/>
                                        </a:cxn>
                                        <a:cxn ang="0">
                                          <a:pos x="26" y="38"/>
                                        </a:cxn>
                                        <a:cxn ang="0">
                                          <a:pos x="34" y="40"/>
                                        </a:cxn>
                                        <a:cxn ang="0">
                                          <a:pos x="38" y="38"/>
                                        </a:cxn>
                                        <a:cxn ang="0">
                                          <a:pos x="40" y="36"/>
                                        </a:cxn>
                                        <a:cxn ang="0">
                                          <a:pos x="40" y="36"/>
                                        </a:cxn>
                                        <a:cxn ang="0">
                                          <a:pos x="42" y="32"/>
                                        </a:cxn>
                                        <a:cxn ang="0">
                                          <a:pos x="48" y="28"/>
                                        </a:cxn>
                                        <a:cxn ang="0">
                                          <a:pos x="48" y="28"/>
                                        </a:cxn>
                                      </a:cxnLst>
                                      <a:rect l="0" t="0" r="r" b="b"/>
                                      <a:pathLst>
                                        <a:path w="140" h="40">
                                          <a:moveTo>
                                            <a:pt x="48" y="28"/>
                                          </a:moveTo>
                                          <a:lnTo>
                                            <a:pt x="48" y="28"/>
                                          </a:lnTo>
                                          <a:lnTo>
                                            <a:pt x="54" y="24"/>
                                          </a:lnTo>
                                          <a:lnTo>
                                            <a:pt x="58" y="24"/>
                                          </a:lnTo>
                                          <a:lnTo>
                                            <a:pt x="62" y="22"/>
                                          </a:lnTo>
                                          <a:lnTo>
                                            <a:pt x="70" y="20"/>
                                          </a:lnTo>
                                          <a:lnTo>
                                            <a:pt x="70" y="20"/>
                                          </a:lnTo>
                                          <a:lnTo>
                                            <a:pt x="78" y="18"/>
                                          </a:lnTo>
                                          <a:lnTo>
                                            <a:pt x="84" y="18"/>
                                          </a:lnTo>
                                          <a:lnTo>
                                            <a:pt x="92" y="18"/>
                                          </a:lnTo>
                                          <a:lnTo>
                                            <a:pt x="104" y="14"/>
                                          </a:lnTo>
                                          <a:lnTo>
                                            <a:pt x="104" y="14"/>
                                          </a:lnTo>
                                          <a:lnTo>
                                            <a:pt x="114" y="12"/>
                                          </a:lnTo>
                                          <a:lnTo>
                                            <a:pt x="120" y="12"/>
                                          </a:lnTo>
                                          <a:lnTo>
                                            <a:pt x="132" y="10"/>
                                          </a:lnTo>
                                          <a:lnTo>
                                            <a:pt x="132" y="10"/>
                                          </a:lnTo>
                                          <a:lnTo>
                                            <a:pt x="138" y="8"/>
                                          </a:lnTo>
                                          <a:lnTo>
                                            <a:pt x="140" y="6"/>
                                          </a:lnTo>
                                          <a:lnTo>
                                            <a:pt x="138" y="2"/>
                                          </a:lnTo>
                                          <a:lnTo>
                                            <a:pt x="134" y="0"/>
                                          </a:lnTo>
                                          <a:lnTo>
                                            <a:pt x="134" y="0"/>
                                          </a:lnTo>
                                          <a:lnTo>
                                            <a:pt x="124" y="2"/>
                                          </a:lnTo>
                                          <a:lnTo>
                                            <a:pt x="114" y="4"/>
                                          </a:lnTo>
                                          <a:lnTo>
                                            <a:pt x="114" y="4"/>
                                          </a:lnTo>
                                          <a:lnTo>
                                            <a:pt x="98" y="0"/>
                                          </a:lnTo>
                                          <a:lnTo>
                                            <a:pt x="86" y="0"/>
                                          </a:lnTo>
                                          <a:lnTo>
                                            <a:pt x="76" y="0"/>
                                          </a:lnTo>
                                          <a:lnTo>
                                            <a:pt x="76" y="0"/>
                                          </a:lnTo>
                                          <a:lnTo>
                                            <a:pt x="48" y="2"/>
                                          </a:lnTo>
                                          <a:lnTo>
                                            <a:pt x="48" y="2"/>
                                          </a:lnTo>
                                          <a:lnTo>
                                            <a:pt x="44" y="2"/>
                                          </a:lnTo>
                                          <a:lnTo>
                                            <a:pt x="46" y="4"/>
                                          </a:lnTo>
                                          <a:lnTo>
                                            <a:pt x="44" y="6"/>
                                          </a:lnTo>
                                          <a:lnTo>
                                            <a:pt x="38" y="10"/>
                                          </a:lnTo>
                                          <a:lnTo>
                                            <a:pt x="38" y="10"/>
                                          </a:lnTo>
                                          <a:lnTo>
                                            <a:pt x="30" y="14"/>
                                          </a:lnTo>
                                          <a:lnTo>
                                            <a:pt x="28" y="16"/>
                                          </a:lnTo>
                                          <a:lnTo>
                                            <a:pt x="30" y="16"/>
                                          </a:lnTo>
                                          <a:lnTo>
                                            <a:pt x="30" y="16"/>
                                          </a:lnTo>
                                          <a:lnTo>
                                            <a:pt x="30" y="18"/>
                                          </a:lnTo>
                                          <a:lnTo>
                                            <a:pt x="28" y="18"/>
                                          </a:lnTo>
                                          <a:lnTo>
                                            <a:pt x="18" y="22"/>
                                          </a:lnTo>
                                          <a:lnTo>
                                            <a:pt x="18" y="22"/>
                                          </a:lnTo>
                                          <a:lnTo>
                                            <a:pt x="10" y="26"/>
                                          </a:lnTo>
                                          <a:lnTo>
                                            <a:pt x="4" y="26"/>
                                          </a:lnTo>
                                          <a:lnTo>
                                            <a:pt x="0" y="26"/>
                                          </a:lnTo>
                                          <a:lnTo>
                                            <a:pt x="2" y="30"/>
                                          </a:lnTo>
                                          <a:lnTo>
                                            <a:pt x="2" y="30"/>
                                          </a:lnTo>
                                          <a:lnTo>
                                            <a:pt x="4" y="34"/>
                                          </a:lnTo>
                                          <a:lnTo>
                                            <a:pt x="4" y="38"/>
                                          </a:lnTo>
                                          <a:lnTo>
                                            <a:pt x="4" y="40"/>
                                          </a:lnTo>
                                          <a:lnTo>
                                            <a:pt x="8" y="40"/>
                                          </a:lnTo>
                                          <a:lnTo>
                                            <a:pt x="8" y="40"/>
                                          </a:lnTo>
                                          <a:lnTo>
                                            <a:pt x="16" y="40"/>
                                          </a:lnTo>
                                          <a:lnTo>
                                            <a:pt x="26" y="38"/>
                                          </a:lnTo>
                                          <a:lnTo>
                                            <a:pt x="26" y="38"/>
                                          </a:lnTo>
                                          <a:lnTo>
                                            <a:pt x="34" y="40"/>
                                          </a:lnTo>
                                          <a:lnTo>
                                            <a:pt x="38" y="38"/>
                                          </a:lnTo>
                                          <a:lnTo>
                                            <a:pt x="40" y="36"/>
                                          </a:lnTo>
                                          <a:lnTo>
                                            <a:pt x="40" y="36"/>
                                          </a:lnTo>
                                          <a:lnTo>
                                            <a:pt x="42" y="32"/>
                                          </a:lnTo>
                                          <a:lnTo>
                                            <a:pt x="48" y="28"/>
                                          </a:lnTo>
                                          <a:lnTo>
                                            <a:pt x="48" y="2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8" name="Canada"/>
                                    <p:cNvSpPr>
                                      <a:spLocks/>
                                    </p:cNvSpPr>
                                    <p:nvPr/>
                                  </p:nvSpPr>
                                  <p:spPr bwMode="auto">
                                    <a:xfrm>
                                      <a:off x="3400433" y="1394651"/>
                                      <a:ext cx="121505" cy="30348"/>
                                    </a:xfrm>
                                    <a:custGeom>
                                      <a:avLst/>
                                      <a:gdLst/>
                                      <a:ahLst/>
                                      <a:cxnLst>
                                        <a:cxn ang="0">
                                          <a:pos x="4" y="12"/>
                                        </a:cxn>
                                        <a:cxn ang="0">
                                          <a:pos x="4" y="12"/>
                                        </a:cxn>
                                        <a:cxn ang="0">
                                          <a:pos x="12" y="10"/>
                                        </a:cxn>
                                        <a:cxn ang="0">
                                          <a:pos x="18" y="8"/>
                                        </a:cxn>
                                        <a:cxn ang="0">
                                          <a:pos x="22" y="8"/>
                                        </a:cxn>
                                        <a:cxn ang="0">
                                          <a:pos x="30" y="6"/>
                                        </a:cxn>
                                        <a:cxn ang="0">
                                          <a:pos x="30" y="6"/>
                                        </a:cxn>
                                        <a:cxn ang="0">
                                          <a:pos x="54" y="0"/>
                                        </a:cxn>
                                        <a:cxn ang="0">
                                          <a:pos x="66" y="0"/>
                                        </a:cxn>
                                        <a:cxn ang="0">
                                          <a:pos x="70" y="0"/>
                                        </a:cxn>
                                        <a:cxn ang="0">
                                          <a:pos x="72" y="2"/>
                                        </a:cxn>
                                        <a:cxn ang="0">
                                          <a:pos x="72" y="2"/>
                                        </a:cxn>
                                        <a:cxn ang="0">
                                          <a:pos x="72" y="4"/>
                                        </a:cxn>
                                        <a:cxn ang="0">
                                          <a:pos x="74" y="2"/>
                                        </a:cxn>
                                        <a:cxn ang="0">
                                          <a:pos x="74" y="0"/>
                                        </a:cxn>
                                        <a:cxn ang="0">
                                          <a:pos x="78" y="2"/>
                                        </a:cxn>
                                        <a:cxn ang="0">
                                          <a:pos x="78" y="2"/>
                                        </a:cxn>
                                        <a:cxn ang="0">
                                          <a:pos x="80" y="4"/>
                                        </a:cxn>
                                        <a:cxn ang="0">
                                          <a:pos x="78" y="6"/>
                                        </a:cxn>
                                        <a:cxn ang="0">
                                          <a:pos x="66" y="10"/>
                                        </a:cxn>
                                        <a:cxn ang="0">
                                          <a:pos x="66" y="10"/>
                                        </a:cxn>
                                        <a:cxn ang="0">
                                          <a:pos x="60" y="12"/>
                                        </a:cxn>
                                        <a:cxn ang="0">
                                          <a:pos x="54" y="14"/>
                                        </a:cxn>
                                        <a:cxn ang="0">
                                          <a:pos x="50" y="12"/>
                                        </a:cxn>
                                        <a:cxn ang="0">
                                          <a:pos x="52" y="10"/>
                                        </a:cxn>
                                        <a:cxn ang="0">
                                          <a:pos x="52" y="10"/>
                                        </a:cxn>
                                        <a:cxn ang="0">
                                          <a:pos x="56" y="8"/>
                                        </a:cxn>
                                        <a:cxn ang="0">
                                          <a:pos x="56" y="8"/>
                                        </a:cxn>
                                        <a:cxn ang="0">
                                          <a:pos x="46" y="10"/>
                                        </a:cxn>
                                        <a:cxn ang="0">
                                          <a:pos x="46" y="10"/>
                                        </a:cxn>
                                        <a:cxn ang="0">
                                          <a:pos x="42" y="12"/>
                                        </a:cxn>
                                        <a:cxn ang="0">
                                          <a:pos x="40" y="14"/>
                                        </a:cxn>
                                        <a:cxn ang="0">
                                          <a:pos x="40" y="14"/>
                                        </a:cxn>
                                        <a:cxn ang="0">
                                          <a:pos x="36" y="16"/>
                                        </a:cxn>
                                        <a:cxn ang="0">
                                          <a:pos x="36" y="16"/>
                                        </a:cxn>
                                        <a:cxn ang="0">
                                          <a:pos x="22" y="20"/>
                                        </a:cxn>
                                        <a:cxn ang="0">
                                          <a:pos x="18" y="20"/>
                                        </a:cxn>
                                        <a:cxn ang="0">
                                          <a:pos x="18" y="20"/>
                                        </a:cxn>
                                        <a:cxn ang="0">
                                          <a:pos x="16" y="18"/>
                                        </a:cxn>
                                        <a:cxn ang="0">
                                          <a:pos x="16" y="18"/>
                                        </a:cxn>
                                        <a:cxn ang="0">
                                          <a:pos x="12" y="16"/>
                                        </a:cxn>
                                        <a:cxn ang="0">
                                          <a:pos x="4" y="16"/>
                                        </a:cxn>
                                        <a:cxn ang="0">
                                          <a:pos x="0" y="14"/>
                                        </a:cxn>
                                        <a:cxn ang="0">
                                          <a:pos x="0" y="14"/>
                                        </a:cxn>
                                        <a:cxn ang="0">
                                          <a:pos x="4" y="12"/>
                                        </a:cxn>
                                        <a:cxn ang="0">
                                          <a:pos x="4" y="12"/>
                                        </a:cxn>
                                      </a:cxnLst>
                                      <a:rect l="0" t="0" r="r" b="b"/>
                                      <a:pathLst>
                                        <a:path w="80" h="20">
                                          <a:moveTo>
                                            <a:pt x="4" y="12"/>
                                          </a:moveTo>
                                          <a:lnTo>
                                            <a:pt x="4" y="12"/>
                                          </a:lnTo>
                                          <a:lnTo>
                                            <a:pt x="12" y="10"/>
                                          </a:lnTo>
                                          <a:lnTo>
                                            <a:pt x="18" y="8"/>
                                          </a:lnTo>
                                          <a:lnTo>
                                            <a:pt x="22" y="8"/>
                                          </a:lnTo>
                                          <a:lnTo>
                                            <a:pt x="30" y="6"/>
                                          </a:lnTo>
                                          <a:lnTo>
                                            <a:pt x="30" y="6"/>
                                          </a:lnTo>
                                          <a:lnTo>
                                            <a:pt x="54" y="0"/>
                                          </a:lnTo>
                                          <a:lnTo>
                                            <a:pt x="66" y="0"/>
                                          </a:lnTo>
                                          <a:lnTo>
                                            <a:pt x="70" y="0"/>
                                          </a:lnTo>
                                          <a:lnTo>
                                            <a:pt x="72" y="2"/>
                                          </a:lnTo>
                                          <a:lnTo>
                                            <a:pt x="72" y="2"/>
                                          </a:lnTo>
                                          <a:lnTo>
                                            <a:pt x="72" y="4"/>
                                          </a:lnTo>
                                          <a:lnTo>
                                            <a:pt x="74" y="2"/>
                                          </a:lnTo>
                                          <a:lnTo>
                                            <a:pt x="74" y="0"/>
                                          </a:lnTo>
                                          <a:lnTo>
                                            <a:pt x="78" y="2"/>
                                          </a:lnTo>
                                          <a:lnTo>
                                            <a:pt x="78" y="2"/>
                                          </a:lnTo>
                                          <a:lnTo>
                                            <a:pt x="80" y="4"/>
                                          </a:lnTo>
                                          <a:lnTo>
                                            <a:pt x="78" y="6"/>
                                          </a:lnTo>
                                          <a:lnTo>
                                            <a:pt x="66" y="10"/>
                                          </a:lnTo>
                                          <a:lnTo>
                                            <a:pt x="66" y="10"/>
                                          </a:lnTo>
                                          <a:lnTo>
                                            <a:pt x="60" y="12"/>
                                          </a:lnTo>
                                          <a:lnTo>
                                            <a:pt x="54" y="14"/>
                                          </a:lnTo>
                                          <a:lnTo>
                                            <a:pt x="50" y="12"/>
                                          </a:lnTo>
                                          <a:lnTo>
                                            <a:pt x="52" y="10"/>
                                          </a:lnTo>
                                          <a:lnTo>
                                            <a:pt x="52" y="10"/>
                                          </a:lnTo>
                                          <a:lnTo>
                                            <a:pt x="56" y="8"/>
                                          </a:lnTo>
                                          <a:lnTo>
                                            <a:pt x="56" y="8"/>
                                          </a:lnTo>
                                          <a:lnTo>
                                            <a:pt x="46" y="10"/>
                                          </a:lnTo>
                                          <a:lnTo>
                                            <a:pt x="46" y="10"/>
                                          </a:lnTo>
                                          <a:lnTo>
                                            <a:pt x="42" y="12"/>
                                          </a:lnTo>
                                          <a:lnTo>
                                            <a:pt x="40" y="14"/>
                                          </a:lnTo>
                                          <a:lnTo>
                                            <a:pt x="40" y="14"/>
                                          </a:lnTo>
                                          <a:lnTo>
                                            <a:pt x="36" y="16"/>
                                          </a:lnTo>
                                          <a:lnTo>
                                            <a:pt x="36" y="16"/>
                                          </a:lnTo>
                                          <a:lnTo>
                                            <a:pt x="22" y="20"/>
                                          </a:lnTo>
                                          <a:lnTo>
                                            <a:pt x="18" y="20"/>
                                          </a:lnTo>
                                          <a:lnTo>
                                            <a:pt x="18" y="20"/>
                                          </a:lnTo>
                                          <a:lnTo>
                                            <a:pt x="16" y="18"/>
                                          </a:lnTo>
                                          <a:lnTo>
                                            <a:pt x="16" y="18"/>
                                          </a:lnTo>
                                          <a:lnTo>
                                            <a:pt x="12" y="16"/>
                                          </a:lnTo>
                                          <a:lnTo>
                                            <a:pt x="4" y="16"/>
                                          </a:lnTo>
                                          <a:lnTo>
                                            <a:pt x="0" y="14"/>
                                          </a:lnTo>
                                          <a:lnTo>
                                            <a:pt x="0" y="14"/>
                                          </a:lnTo>
                                          <a:lnTo>
                                            <a:pt x="4" y="12"/>
                                          </a:lnTo>
                                          <a:lnTo>
                                            <a:pt x="4" y="12"/>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9" name="Canada"/>
                                    <p:cNvSpPr>
                                      <a:spLocks/>
                                    </p:cNvSpPr>
                                    <p:nvPr/>
                                  </p:nvSpPr>
                                  <p:spPr bwMode="auto">
                                    <a:xfrm>
                                      <a:off x="3479411" y="1406791"/>
                                      <a:ext cx="209598" cy="48557"/>
                                    </a:xfrm>
                                    <a:custGeom>
                                      <a:avLst/>
                                      <a:gdLst/>
                                      <a:ahLst/>
                                      <a:cxnLst>
                                        <a:cxn ang="0">
                                          <a:pos x="18" y="6"/>
                                        </a:cxn>
                                        <a:cxn ang="0">
                                          <a:pos x="30" y="2"/>
                                        </a:cxn>
                                        <a:cxn ang="0">
                                          <a:pos x="30" y="4"/>
                                        </a:cxn>
                                        <a:cxn ang="0">
                                          <a:pos x="36" y="4"/>
                                        </a:cxn>
                                        <a:cxn ang="0">
                                          <a:pos x="44" y="6"/>
                                        </a:cxn>
                                        <a:cxn ang="0">
                                          <a:pos x="48" y="12"/>
                                        </a:cxn>
                                        <a:cxn ang="0">
                                          <a:pos x="58" y="18"/>
                                        </a:cxn>
                                        <a:cxn ang="0">
                                          <a:pos x="64" y="18"/>
                                        </a:cxn>
                                        <a:cxn ang="0">
                                          <a:pos x="76" y="18"/>
                                        </a:cxn>
                                        <a:cxn ang="0">
                                          <a:pos x="78" y="16"/>
                                        </a:cxn>
                                        <a:cxn ang="0">
                                          <a:pos x="80" y="14"/>
                                        </a:cxn>
                                        <a:cxn ang="0">
                                          <a:pos x="84" y="12"/>
                                        </a:cxn>
                                        <a:cxn ang="0">
                                          <a:pos x="84" y="6"/>
                                        </a:cxn>
                                        <a:cxn ang="0">
                                          <a:pos x="90" y="6"/>
                                        </a:cxn>
                                        <a:cxn ang="0">
                                          <a:pos x="122" y="0"/>
                                        </a:cxn>
                                        <a:cxn ang="0">
                                          <a:pos x="120" y="4"/>
                                        </a:cxn>
                                        <a:cxn ang="0">
                                          <a:pos x="116" y="8"/>
                                        </a:cxn>
                                        <a:cxn ang="0">
                                          <a:pos x="118" y="12"/>
                                        </a:cxn>
                                        <a:cxn ang="0">
                                          <a:pos x="116" y="14"/>
                                        </a:cxn>
                                        <a:cxn ang="0">
                                          <a:pos x="118" y="12"/>
                                        </a:cxn>
                                        <a:cxn ang="0">
                                          <a:pos x="128" y="12"/>
                                        </a:cxn>
                                        <a:cxn ang="0">
                                          <a:pos x="138" y="16"/>
                                        </a:cxn>
                                        <a:cxn ang="0">
                                          <a:pos x="136" y="18"/>
                                        </a:cxn>
                                        <a:cxn ang="0">
                                          <a:pos x="126" y="20"/>
                                        </a:cxn>
                                        <a:cxn ang="0">
                                          <a:pos x="110" y="28"/>
                                        </a:cxn>
                                        <a:cxn ang="0">
                                          <a:pos x="104" y="28"/>
                                        </a:cxn>
                                        <a:cxn ang="0">
                                          <a:pos x="88" y="28"/>
                                        </a:cxn>
                                        <a:cxn ang="0">
                                          <a:pos x="78" y="26"/>
                                        </a:cxn>
                                        <a:cxn ang="0">
                                          <a:pos x="58" y="30"/>
                                        </a:cxn>
                                        <a:cxn ang="0">
                                          <a:pos x="32" y="32"/>
                                        </a:cxn>
                                        <a:cxn ang="0">
                                          <a:pos x="22" y="30"/>
                                        </a:cxn>
                                        <a:cxn ang="0">
                                          <a:pos x="16" y="26"/>
                                        </a:cxn>
                                        <a:cxn ang="0">
                                          <a:pos x="20" y="26"/>
                                        </a:cxn>
                                        <a:cxn ang="0">
                                          <a:pos x="44" y="24"/>
                                        </a:cxn>
                                        <a:cxn ang="0">
                                          <a:pos x="44" y="22"/>
                                        </a:cxn>
                                        <a:cxn ang="0">
                                          <a:pos x="38" y="22"/>
                                        </a:cxn>
                                        <a:cxn ang="0">
                                          <a:pos x="32" y="20"/>
                                        </a:cxn>
                                        <a:cxn ang="0">
                                          <a:pos x="32" y="18"/>
                                        </a:cxn>
                                        <a:cxn ang="0">
                                          <a:pos x="32" y="16"/>
                                        </a:cxn>
                                        <a:cxn ang="0">
                                          <a:pos x="30" y="16"/>
                                        </a:cxn>
                                        <a:cxn ang="0">
                                          <a:pos x="22" y="20"/>
                                        </a:cxn>
                                        <a:cxn ang="0">
                                          <a:pos x="18" y="22"/>
                                        </a:cxn>
                                        <a:cxn ang="0">
                                          <a:pos x="8" y="20"/>
                                        </a:cxn>
                                        <a:cxn ang="0">
                                          <a:pos x="2" y="16"/>
                                        </a:cxn>
                                        <a:cxn ang="0">
                                          <a:pos x="4" y="12"/>
                                        </a:cxn>
                                        <a:cxn ang="0">
                                          <a:pos x="18" y="6"/>
                                        </a:cxn>
                                      </a:cxnLst>
                                      <a:rect l="0" t="0" r="r" b="b"/>
                                      <a:pathLst>
                                        <a:path w="138" h="32">
                                          <a:moveTo>
                                            <a:pt x="18" y="6"/>
                                          </a:moveTo>
                                          <a:lnTo>
                                            <a:pt x="18" y="6"/>
                                          </a:lnTo>
                                          <a:lnTo>
                                            <a:pt x="28" y="2"/>
                                          </a:lnTo>
                                          <a:lnTo>
                                            <a:pt x="30" y="2"/>
                                          </a:lnTo>
                                          <a:lnTo>
                                            <a:pt x="30" y="4"/>
                                          </a:lnTo>
                                          <a:lnTo>
                                            <a:pt x="30" y="4"/>
                                          </a:lnTo>
                                          <a:lnTo>
                                            <a:pt x="32" y="6"/>
                                          </a:lnTo>
                                          <a:lnTo>
                                            <a:pt x="36" y="4"/>
                                          </a:lnTo>
                                          <a:lnTo>
                                            <a:pt x="40" y="4"/>
                                          </a:lnTo>
                                          <a:lnTo>
                                            <a:pt x="44" y="6"/>
                                          </a:lnTo>
                                          <a:lnTo>
                                            <a:pt x="44" y="6"/>
                                          </a:lnTo>
                                          <a:lnTo>
                                            <a:pt x="48" y="12"/>
                                          </a:lnTo>
                                          <a:lnTo>
                                            <a:pt x="52" y="16"/>
                                          </a:lnTo>
                                          <a:lnTo>
                                            <a:pt x="58" y="18"/>
                                          </a:lnTo>
                                          <a:lnTo>
                                            <a:pt x="64" y="18"/>
                                          </a:lnTo>
                                          <a:lnTo>
                                            <a:pt x="64" y="18"/>
                                          </a:lnTo>
                                          <a:lnTo>
                                            <a:pt x="76" y="18"/>
                                          </a:lnTo>
                                          <a:lnTo>
                                            <a:pt x="76" y="18"/>
                                          </a:lnTo>
                                          <a:lnTo>
                                            <a:pt x="78" y="18"/>
                                          </a:lnTo>
                                          <a:lnTo>
                                            <a:pt x="78" y="16"/>
                                          </a:lnTo>
                                          <a:lnTo>
                                            <a:pt x="78" y="14"/>
                                          </a:lnTo>
                                          <a:lnTo>
                                            <a:pt x="80" y="14"/>
                                          </a:lnTo>
                                          <a:lnTo>
                                            <a:pt x="80" y="14"/>
                                          </a:lnTo>
                                          <a:lnTo>
                                            <a:pt x="84" y="12"/>
                                          </a:lnTo>
                                          <a:lnTo>
                                            <a:pt x="84" y="8"/>
                                          </a:lnTo>
                                          <a:lnTo>
                                            <a:pt x="84" y="6"/>
                                          </a:lnTo>
                                          <a:lnTo>
                                            <a:pt x="90" y="6"/>
                                          </a:lnTo>
                                          <a:lnTo>
                                            <a:pt x="90" y="6"/>
                                          </a:lnTo>
                                          <a:lnTo>
                                            <a:pt x="114" y="2"/>
                                          </a:lnTo>
                                          <a:lnTo>
                                            <a:pt x="122" y="0"/>
                                          </a:lnTo>
                                          <a:lnTo>
                                            <a:pt x="122" y="2"/>
                                          </a:lnTo>
                                          <a:lnTo>
                                            <a:pt x="120" y="4"/>
                                          </a:lnTo>
                                          <a:lnTo>
                                            <a:pt x="120" y="4"/>
                                          </a:lnTo>
                                          <a:lnTo>
                                            <a:pt x="116" y="8"/>
                                          </a:lnTo>
                                          <a:lnTo>
                                            <a:pt x="116" y="10"/>
                                          </a:lnTo>
                                          <a:lnTo>
                                            <a:pt x="118" y="12"/>
                                          </a:lnTo>
                                          <a:lnTo>
                                            <a:pt x="116" y="14"/>
                                          </a:lnTo>
                                          <a:lnTo>
                                            <a:pt x="116" y="14"/>
                                          </a:lnTo>
                                          <a:lnTo>
                                            <a:pt x="116" y="14"/>
                                          </a:lnTo>
                                          <a:lnTo>
                                            <a:pt x="118" y="12"/>
                                          </a:lnTo>
                                          <a:lnTo>
                                            <a:pt x="124" y="12"/>
                                          </a:lnTo>
                                          <a:lnTo>
                                            <a:pt x="128" y="12"/>
                                          </a:lnTo>
                                          <a:lnTo>
                                            <a:pt x="128" y="12"/>
                                          </a:lnTo>
                                          <a:lnTo>
                                            <a:pt x="138" y="16"/>
                                          </a:lnTo>
                                          <a:lnTo>
                                            <a:pt x="138" y="18"/>
                                          </a:lnTo>
                                          <a:lnTo>
                                            <a:pt x="136" y="18"/>
                                          </a:lnTo>
                                          <a:lnTo>
                                            <a:pt x="126" y="20"/>
                                          </a:lnTo>
                                          <a:lnTo>
                                            <a:pt x="126" y="20"/>
                                          </a:lnTo>
                                          <a:lnTo>
                                            <a:pt x="116" y="26"/>
                                          </a:lnTo>
                                          <a:lnTo>
                                            <a:pt x="110" y="28"/>
                                          </a:lnTo>
                                          <a:lnTo>
                                            <a:pt x="104" y="28"/>
                                          </a:lnTo>
                                          <a:lnTo>
                                            <a:pt x="104" y="28"/>
                                          </a:lnTo>
                                          <a:lnTo>
                                            <a:pt x="94" y="28"/>
                                          </a:lnTo>
                                          <a:lnTo>
                                            <a:pt x="88" y="28"/>
                                          </a:lnTo>
                                          <a:lnTo>
                                            <a:pt x="84" y="26"/>
                                          </a:lnTo>
                                          <a:lnTo>
                                            <a:pt x="78" y="26"/>
                                          </a:lnTo>
                                          <a:lnTo>
                                            <a:pt x="78" y="26"/>
                                          </a:lnTo>
                                          <a:lnTo>
                                            <a:pt x="58" y="30"/>
                                          </a:lnTo>
                                          <a:lnTo>
                                            <a:pt x="44" y="30"/>
                                          </a:lnTo>
                                          <a:lnTo>
                                            <a:pt x="32" y="32"/>
                                          </a:lnTo>
                                          <a:lnTo>
                                            <a:pt x="32" y="32"/>
                                          </a:lnTo>
                                          <a:lnTo>
                                            <a:pt x="22" y="30"/>
                                          </a:lnTo>
                                          <a:lnTo>
                                            <a:pt x="16" y="28"/>
                                          </a:lnTo>
                                          <a:lnTo>
                                            <a:pt x="16" y="26"/>
                                          </a:lnTo>
                                          <a:lnTo>
                                            <a:pt x="20" y="26"/>
                                          </a:lnTo>
                                          <a:lnTo>
                                            <a:pt x="20" y="26"/>
                                          </a:lnTo>
                                          <a:lnTo>
                                            <a:pt x="36" y="24"/>
                                          </a:lnTo>
                                          <a:lnTo>
                                            <a:pt x="44" y="24"/>
                                          </a:lnTo>
                                          <a:lnTo>
                                            <a:pt x="44" y="24"/>
                                          </a:lnTo>
                                          <a:lnTo>
                                            <a:pt x="44" y="22"/>
                                          </a:lnTo>
                                          <a:lnTo>
                                            <a:pt x="44" y="22"/>
                                          </a:lnTo>
                                          <a:lnTo>
                                            <a:pt x="38" y="22"/>
                                          </a:lnTo>
                                          <a:lnTo>
                                            <a:pt x="32" y="20"/>
                                          </a:lnTo>
                                          <a:lnTo>
                                            <a:pt x="32" y="20"/>
                                          </a:lnTo>
                                          <a:lnTo>
                                            <a:pt x="32" y="20"/>
                                          </a:lnTo>
                                          <a:lnTo>
                                            <a:pt x="32" y="18"/>
                                          </a:lnTo>
                                          <a:lnTo>
                                            <a:pt x="34" y="16"/>
                                          </a:lnTo>
                                          <a:lnTo>
                                            <a:pt x="32" y="16"/>
                                          </a:lnTo>
                                          <a:lnTo>
                                            <a:pt x="32" y="16"/>
                                          </a:lnTo>
                                          <a:lnTo>
                                            <a:pt x="30" y="16"/>
                                          </a:lnTo>
                                          <a:lnTo>
                                            <a:pt x="26" y="18"/>
                                          </a:lnTo>
                                          <a:lnTo>
                                            <a:pt x="22" y="20"/>
                                          </a:lnTo>
                                          <a:lnTo>
                                            <a:pt x="18" y="22"/>
                                          </a:lnTo>
                                          <a:lnTo>
                                            <a:pt x="18" y="22"/>
                                          </a:lnTo>
                                          <a:lnTo>
                                            <a:pt x="10" y="20"/>
                                          </a:lnTo>
                                          <a:lnTo>
                                            <a:pt x="8" y="20"/>
                                          </a:lnTo>
                                          <a:lnTo>
                                            <a:pt x="2" y="16"/>
                                          </a:lnTo>
                                          <a:lnTo>
                                            <a:pt x="2" y="16"/>
                                          </a:lnTo>
                                          <a:lnTo>
                                            <a:pt x="0" y="14"/>
                                          </a:lnTo>
                                          <a:lnTo>
                                            <a:pt x="4" y="12"/>
                                          </a:lnTo>
                                          <a:lnTo>
                                            <a:pt x="18" y="6"/>
                                          </a:lnTo>
                                          <a:lnTo>
                                            <a:pt x="18" y="6"/>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0" name="Canada"/>
                                    <p:cNvSpPr>
                                      <a:spLocks/>
                                    </p:cNvSpPr>
                                    <p:nvPr/>
                                  </p:nvSpPr>
                                  <p:spPr bwMode="auto">
                                    <a:xfrm>
                                      <a:off x="4062638" y="1321947"/>
                                      <a:ext cx="637905" cy="94080"/>
                                    </a:xfrm>
                                    <a:custGeom>
                                      <a:avLst/>
                                      <a:gdLst/>
                                      <a:ahLst/>
                                      <a:cxnLst>
                                        <a:cxn ang="0">
                                          <a:pos x="278" y="6"/>
                                        </a:cxn>
                                        <a:cxn ang="0">
                                          <a:pos x="260" y="4"/>
                                        </a:cxn>
                                        <a:cxn ang="0">
                                          <a:pos x="220" y="6"/>
                                        </a:cxn>
                                        <a:cxn ang="0">
                                          <a:pos x="198" y="6"/>
                                        </a:cxn>
                                        <a:cxn ang="0">
                                          <a:pos x="170" y="8"/>
                                        </a:cxn>
                                        <a:cxn ang="0">
                                          <a:pos x="154" y="6"/>
                                        </a:cxn>
                                        <a:cxn ang="0">
                                          <a:pos x="134" y="6"/>
                                        </a:cxn>
                                        <a:cxn ang="0">
                                          <a:pos x="118" y="10"/>
                                        </a:cxn>
                                        <a:cxn ang="0">
                                          <a:pos x="100" y="16"/>
                                        </a:cxn>
                                        <a:cxn ang="0">
                                          <a:pos x="126" y="14"/>
                                        </a:cxn>
                                        <a:cxn ang="0">
                                          <a:pos x="142" y="12"/>
                                        </a:cxn>
                                        <a:cxn ang="0">
                                          <a:pos x="150" y="12"/>
                                        </a:cxn>
                                        <a:cxn ang="0">
                                          <a:pos x="168" y="14"/>
                                        </a:cxn>
                                        <a:cxn ang="0">
                                          <a:pos x="184" y="14"/>
                                        </a:cxn>
                                        <a:cxn ang="0">
                                          <a:pos x="156" y="16"/>
                                        </a:cxn>
                                        <a:cxn ang="0">
                                          <a:pos x="138" y="20"/>
                                        </a:cxn>
                                        <a:cxn ang="0">
                                          <a:pos x="134" y="30"/>
                                        </a:cxn>
                                        <a:cxn ang="0">
                                          <a:pos x="130" y="30"/>
                                        </a:cxn>
                                        <a:cxn ang="0">
                                          <a:pos x="124" y="26"/>
                                        </a:cxn>
                                        <a:cxn ang="0">
                                          <a:pos x="104" y="26"/>
                                        </a:cxn>
                                        <a:cxn ang="0">
                                          <a:pos x="96" y="30"/>
                                        </a:cxn>
                                        <a:cxn ang="0">
                                          <a:pos x="68" y="34"/>
                                        </a:cxn>
                                        <a:cxn ang="0">
                                          <a:pos x="62" y="40"/>
                                        </a:cxn>
                                        <a:cxn ang="0">
                                          <a:pos x="88" y="38"/>
                                        </a:cxn>
                                        <a:cxn ang="0">
                                          <a:pos x="68" y="42"/>
                                        </a:cxn>
                                        <a:cxn ang="0">
                                          <a:pos x="84" y="46"/>
                                        </a:cxn>
                                        <a:cxn ang="0">
                                          <a:pos x="74" y="46"/>
                                        </a:cxn>
                                        <a:cxn ang="0">
                                          <a:pos x="36" y="44"/>
                                        </a:cxn>
                                        <a:cxn ang="0">
                                          <a:pos x="30" y="48"/>
                                        </a:cxn>
                                        <a:cxn ang="0">
                                          <a:pos x="4" y="52"/>
                                        </a:cxn>
                                        <a:cxn ang="0">
                                          <a:pos x="8" y="58"/>
                                        </a:cxn>
                                        <a:cxn ang="0">
                                          <a:pos x="28" y="56"/>
                                        </a:cxn>
                                        <a:cxn ang="0">
                                          <a:pos x="56" y="62"/>
                                        </a:cxn>
                                        <a:cxn ang="0">
                                          <a:pos x="72" y="58"/>
                                        </a:cxn>
                                        <a:cxn ang="0">
                                          <a:pos x="92" y="58"/>
                                        </a:cxn>
                                        <a:cxn ang="0">
                                          <a:pos x="106" y="58"/>
                                        </a:cxn>
                                        <a:cxn ang="0">
                                          <a:pos x="122" y="62"/>
                                        </a:cxn>
                                        <a:cxn ang="0">
                                          <a:pos x="142" y="56"/>
                                        </a:cxn>
                                        <a:cxn ang="0">
                                          <a:pos x="160" y="54"/>
                                        </a:cxn>
                                        <a:cxn ang="0">
                                          <a:pos x="152" y="46"/>
                                        </a:cxn>
                                        <a:cxn ang="0">
                                          <a:pos x="176" y="46"/>
                                        </a:cxn>
                                        <a:cxn ang="0">
                                          <a:pos x="178" y="40"/>
                                        </a:cxn>
                                        <a:cxn ang="0">
                                          <a:pos x="194" y="40"/>
                                        </a:cxn>
                                        <a:cxn ang="0">
                                          <a:pos x="224" y="44"/>
                                        </a:cxn>
                                        <a:cxn ang="0">
                                          <a:pos x="236" y="38"/>
                                        </a:cxn>
                                        <a:cxn ang="0">
                                          <a:pos x="256" y="40"/>
                                        </a:cxn>
                                        <a:cxn ang="0">
                                          <a:pos x="278" y="36"/>
                                        </a:cxn>
                                        <a:cxn ang="0">
                                          <a:pos x="308" y="36"/>
                                        </a:cxn>
                                        <a:cxn ang="0">
                                          <a:pos x="358" y="24"/>
                                        </a:cxn>
                                        <a:cxn ang="0">
                                          <a:pos x="398" y="16"/>
                                        </a:cxn>
                                        <a:cxn ang="0">
                                          <a:pos x="420" y="8"/>
                                        </a:cxn>
                                        <a:cxn ang="0">
                                          <a:pos x="386" y="4"/>
                                        </a:cxn>
                                        <a:cxn ang="0">
                                          <a:pos x="358" y="0"/>
                                        </a:cxn>
                                        <a:cxn ang="0">
                                          <a:pos x="306" y="6"/>
                                        </a:cxn>
                                      </a:cxnLst>
                                      <a:rect l="0" t="0" r="r" b="b"/>
                                      <a:pathLst>
                                        <a:path w="420" h="62">
                                          <a:moveTo>
                                            <a:pt x="306" y="6"/>
                                          </a:moveTo>
                                          <a:lnTo>
                                            <a:pt x="306" y="6"/>
                                          </a:lnTo>
                                          <a:lnTo>
                                            <a:pt x="292" y="4"/>
                                          </a:lnTo>
                                          <a:lnTo>
                                            <a:pt x="278" y="6"/>
                                          </a:lnTo>
                                          <a:lnTo>
                                            <a:pt x="278" y="6"/>
                                          </a:lnTo>
                                          <a:lnTo>
                                            <a:pt x="272" y="6"/>
                                          </a:lnTo>
                                          <a:lnTo>
                                            <a:pt x="266" y="6"/>
                                          </a:lnTo>
                                          <a:lnTo>
                                            <a:pt x="260" y="4"/>
                                          </a:lnTo>
                                          <a:lnTo>
                                            <a:pt x="254" y="4"/>
                                          </a:lnTo>
                                          <a:lnTo>
                                            <a:pt x="254" y="4"/>
                                          </a:lnTo>
                                          <a:lnTo>
                                            <a:pt x="238" y="4"/>
                                          </a:lnTo>
                                          <a:lnTo>
                                            <a:pt x="220" y="6"/>
                                          </a:lnTo>
                                          <a:lnTo>
                                            <a:pt x="220" y="6"/>
                                          </a:lnTo>
                                          <a:lnTo>
                                            <a:pt x="212" y="6"/>
                                          </a:lnTo>
                                          <a:lnTo>
                                            <a:pt x="204" y="6"/>
                                          </a:lnTo>
                                          <a:lnTo>
                                            <a:pt x="198" y="6"/>
                                          </a:lnTo>
                                          <a:lnTo>
                                            <a:pt x="192" y="6"/>
                                          </a:lnTo>
                                          <a:lnTo>
                                            <a:pt x="192" y="6"/>
                                          </a:lnTo>
                                          <a:lnTo>
                                            <a:pt x="180" y="6"/>
                                          </a:lnTo>
                                          <a:lnTo>
                                            <a:pt x="170" y="8"/>
                                          </a:lnTo>
                                          <a:lnTo>
                                            <a:pt x="170" y="8"/>
                                          </a:lnTo>
                                          <a:lnTo>
                                            <a:pt x="164" y="8"/>
                                          </a:lnTo>
                                          <a:lnTo>
                                            <a:pt x="160" y="6"/>
                                          </a:lnTo>
                                          <a:lnTo>
                                            <a:pt x="154" y="6"/>
                                          </a:lnTo>
                                          <a:lnTo>
                                            <a:pt x="150" y="6"/>
                                          </a:lnTo>
                                          <a:lnTo>
                                            <a:pt x="150" y="6"/>
                                          </a:lnTo>
                                          <a:lnTo>
                                            <a:pt x="140" y="6"/>
                                          </a:lnTo>
                                          <a:lnTo>
                                            <a:pt x="134" y="6"/>
                                          </a:lnTo>
                                          <a:lnTo>
                                            <a:pt x="132" y="8"/>
                                          </a:lnTo>
                                          <a:lnTo>
                                            <a:pt x="132" y="8"/>
                                          </a:lnTo>
                                          <a:lnTo>
                                            <a:pt x="126" y="8"/>
                                          </a:lnTo>
                                          <a:lnTo>
                                            <a:pt x="118" y="10"/>
                                          </a:lnTo>
                                          <a:lnTo>
                                            <a:pt x="108" y="12"/>
                                          </a:lnTo>
                                          <a:lnTo>
                                            <a:pt x="102" y="14"/>
                                          </a:lnTo>
                                          <a:lnTo>
                                            <a:pt x="102" y="14"/>
                                          </a:lnTo>
                                          <a:lnTo>
                                            <a:pt x="100" y="16"/>
                                          </a:lnTo>
                                          <a:lnTo>
                                            <a:pt x="102" y="16"/>
                                          </a:lnTo>
                                          <a:lnTo>
                                            <a:pt x="110" y="16"/>
                                          </a:lnTo>
                                          <a:lnTo>
                                            <a:pt x="118" y="14"/>
                                          </a:lnTo>
                                          <a:lnTo>
                                            <a:pt x="126" y="14"/>
                                          </a:lnTo>
                                          <a:lnTo>
                                            <a:pt x="126" y="14"/>
                                          </a:lnTo>
                                          <a:lnTo>
                                            <a:pt x="130" y="16"/>
                                          </a:lnTo>
                                          <a:lnTo>
                                            <a:pt x="134" y="14"/>
                                          </a:lnTo>
                                          <a:lnTo>
                                            <a:pt x="142" y="12"/>
                                          </a:lnTo>
                                          <a:lnTo>
                                            <a:pt x="142" y="12"/>
                                          </a:lnTo>
                                          <a:lnTo>
                                            <a:pt x="148" y="14"/>
                                          </a:lnTo>
                                          <a:lnTo>
                                            <a:pt x="148" y="14"/>
                                          </a:lnTo>
                                          <a:lnTo>
                                            <a:pt x="150" y="12"/>
                                          </a:lnTo>
                                          <a:lnTo>
                                            <a:pt x="150" y="12"/>
                                          </a:lnTo>
                                          <a:lnTo>
                                            <a:pt x="158" y="12"/>
                                          </a:lnTo>
                                          <a:lnTo>
                                            <a:pt x="168" y="14"/>
                                          </a:lnTo>
                                          <a:lnTo>
                                            <a:pt x="168" y="14"/>
                                          </a:lnTo>
                                          <a:lnTo>
                                            <a:pt x="180" y="14"/>
                                          </a:lnTo>
                                          <a:lnTo>
                                            <a:pt x="184" y="14"/>
                                          </a:lnTo>
                                          <a:lnTo>
                                            <a:pt x="184" y="14"/>
                                          </a:lnTo>
                                          <a:lnTo>
                                            <a:pt x="184" y="14"/>
                                          </a:lnTo>
                                          <a:lnTo>
                                            <a:pt x="174" y="16"/>
                                          </a:lnTo>
                                          <a:lnTo>
                                            <a:pt x="162" y="16"/>
                                          </a:lnTo>
                                          <a:lnTo>
                                            <a:pt x="162" y="16"/>
                                          </a:lnTo>
                                          <a:lnTo>
                                            <a:pt x="156" y="16"/>
                                          </a:lnTo>
                                          <a:lnTo>
                                            <a:pt x="150" y="18"/>
                                          </a:lnTo>
                                          <a:lnTo>
                                            <a:pt x="146" y="20"/>
                                          </a:lnTo>
                                          <a:lnTo>
                                            <a:pt x="138" y="20"/>
                                          </a:lnTo>
                                          <a:lnTo>
                                            <a:pt x="138" y="20"/>
                                          </a:lnTo>
                                          <a:lnTo>
                                            <a:pt x="136" y="20"/>
                                          </a:lnTo>
                                          <a:lnTo>
                                            <a:pt x="134" y="22"/>
                                          </a:lnTo>
                                          <a:lnTo>
                                            <a:pt x="134" y="26"/>
                                          </a:lnTo>
                                          <a:lnTo>
                                            <a:pt x="134" y="30"/>
                                          </a:lnTo>
                                          <a:lnTo>
                                            <a:pt x="134" y="32"/>
                                          </a:lnTo>
                                          <a:lnTo>
                                            <a:pt x="134" y="30"/>
                                          </a:lnTo>
                                          <a:lnTo>
                                            <a:pt x="134" y="30"/>
                                          </a:lnTo>
                                          <a:lnTo>
                                            <a:pt x="130" y="30"/>
                                          </a:lnTo>
                                          <a:lnTo>
                                            <a:pt x="126" y="30"/>
                                          </a:lnTo>
                                          <a:lnTo>
                                            <a:pt x="124" y="28"/>
                                          </a:lnTo>
                                          <a:lnTo>
                                            <a:pt x="124" y="26"/>
                                          </a:lnTo>
                                          <a:lnTo>
                                            <a:pt x="124" y="26"/>
                                          </a:lnTo>
                                          <a:lnTo>
                                            <a:pt x="124" y="26"/>
                                          </a:lnTo>
                                          <a:lnTo>
                                            <a:pt x="122" y="26"/>
                                          </a:lnTo>
                                          <a:lnTo>
                                            <a:pt x="116" y="26"/>
                                          </a:lnTo>
                                          <a:lnTo>
                                            <a:pt x="104" y="26"/>
                                          </a:lnTo>
                                          <a:lnTo>
                                            <a:pt x="104" y="26"/>
                                          </a:lnTo>
                                          <a:lnTo>
                                            <a:pt x="94" y="28"/>
                                          </a:lnTo>
                                          <a:lnTo>
                                            <a:pt x="96" y="30"/>
                                          </a:lnTo>
                                          <a:lnTo>
                                            <a:pt x="96" y="30"/>
                                          </a:lnTo>
                                          <a:lnTo>
                                            <a:pt x="94" y="32"/>
                                          </a:lnTo>
                                          <a:lnTo>
                                            <a:pt x="76" y="32"/>
                                          </a:lnTo>
                                          <a:lnTo>
                                            <a:pt x="76" y="32"/>
                                          </a:lnTo>
                                          <a:lnTo>
                                            <a:pt x="68" y="34"/>
                                          </a:lnTo>
                                          <a:lnTo>
                                            <a:pt x="62" y="36"/>
                                          </a:lnTo>
                                          <a:lnTo>
                                            <a:pt x="60" y="38"/>
                                          </a:lnTo>
                                          <a:lnTo>
                                            <a:pt x="62" y="40"/>
                                          </a:lnTo>
                                          <a:lnTo>
                                            <a:pt x="62" y="40"/>
                                          </a:lnTo>
                                          <a:lnTo>
                                            <a:pt x="68" y="40"/>
                                          </a:lnTo>
                                          <a:lnTo>
                                            <a:pt x="74" y="40"/>
                                          </a:lnTo>
                                          <a:lnTo>
                                            <a:pt x="88" y="38"/>
                                          </a:lnTo>
                                          <a:lnTo>
                                            <a:pt x="88" y="38"/>
                                          </a:lnTo>
                                          <a:lnTo>
                                            <a:pt x="90" y="40"/>
                                          </a:lnTo>
                                          <a:lnTo>
                                            <a:pt x="86" y="40"/>
                                          </a:lnTo>
                                          <a:lnTo>
                                            <a:pt x="68" y="42"/>
                                          </a:lnTo>
                                          <a:lnTo>
                                            <a:pt x="68" y="42"/>
                                          </a:lnTo>
                                          <a:lnTo>
                                            <a:pt x="68" y="42"/>
                                          </a:lnTo>
                                          <a:lnTo>
                                            <a:pt x="68" y="42"/>
                                          </a:lnTo>
                                          <a:lnTo>
                                            <a:pt x="76" y="44"/>
                                          </a:lnTo>
                                          <a:lnTo>
                                            <a:pt x="84" y="46"/>
                                          </a:lnTo>
                                          <a:lnTo>
                                            <a:pt x="84" y="46"/>
                                          </a:lnTo>
                                          <a:lnTo>
                                            <a:pt x="84" y="46"/>
                                          </a:lnTo>
                                          <a:lnTo>
                                            <a:pt x="84" y="46"/>
                                          </a:lnTo>
                                          <a:lnTo>
                                            <a:pt x="74" y="46"/>
                                          </a:lnTo>
                                          <a:lnTo>
                                            <a:pt x="62" y="44"/>
                                          </a:lnTo>
                                          <a:lnTo>
                                            <a:pt x="62" y="44"/>
                                          </a:lnTo>
                                          <a:lnTo>
                                            <a:pt x="48" y="42"/>
                                          </a:lnTo>
                                          <a:lnTo>
                                            <a:pt x="36" y="44"/>
                                          </a:lnTo>
                                          <a:lnTo>
                                            <a:pt x="36" y="44"/>
                                          </a:lnTo>
                                          <a:lnTo>
                                            <a:pt x="32" y="44"/>
                                          </a:lnTo>
                                          <a:lnTo>
                                            <a:pt x="30" y="46"/>
                                          </a:lnTo>
                                          <a:lnTo>
                                            <a:pt x="30" y="48"/>
                                          </a:lnTo>
                                          <a:lnTo>
                                            <a:pt x="28" y="48"/>
                                          </a:lnTo>
                                          <a:lnTo>
                                            <a:pt x="28" y="48"/>
                                          </a:lnTo>
                                          <a:lnTo>
                                            <a:pt x="18" y="50"/>
                                          </a:lnTo>
                                          <a:lnTo>
                                            <a:pt x="4" y="52"/>
                                          </a:lnTo>
                                          <a:lnTo>
                                            <a:pt x="4" y="52"/>
                                          </a:lnTo>
                                          <a:lnTo>
                                            <a:pt x="0" y="54"/>
                                          </a:lnTo>
                                          <a:lnTo>
                                            <a:pt x="0" y="56"/>
                                          </a:lnTo>
                                          <a:lnTo>
                                            <a:pt x="8" y="58"/>
                                          </a:lnTo>
                                          <a:lnTo>
                                            <a:pt x="8" y="58"/>
                                          </a:lnTo>
                                          <a:lnTo>
                                            <a:pt x="18" y="58"/>
                                          </a:lnTo>
                                          <a:lnTo>
                                            <a:pt x="22" y="58"/>
                                          </a:lnTo>
                                          <a:lnTo>
                                            <a:pt x="28" y="56"/>
                                          </a:lnTo>
                                          <a:lnTo>
                                            <a:pt x="34" y="58"/>
                                          </a:lnTo>
                                          <a:lnTo>
                                            <a:pt x="34" y="58"/>
                                          </a:lnTo>
                                          <a:lnTo>
                                            <a:pt x="50" y="62"/>
                                          </a:lnTo>
                                          <a:lnTo>
                                            <a:pt x="56" y="62"/>
                                          </a:lnTo>
                                          <a:lnTo>
                                            <a:pt x="62" y="62"/>
                                          </a:lnTo>
                                          <a:lnTo>
                                            <a:pt x="62" y="62"/>
                                          </a:lnTo>
                                          <a:lnTo>
                                            <a:pt x="68" y="60"/>
                                          </a:lnTo>
                                          <a:lnTo>
                                            <a:pt x="72" y="58"/>
                                          </a:lnTo>
                                          <a:lnTo>
                                            <a:pt x="76" y="56"/>
                                          </a:lnTo>
                                          <a:lnTo>
                                            <a:pt x="80" y="56"/>
                                          </a:lnTo>
                                          <a:lnTo>
                                            <a:pt x="80" y="56"/>
                                          </a:lnTo>
                                          <a:lnTo>
                                            <a:pt x="92" y="58"/>
                                          </a:lnTo>
                                          <a:lnTo>
                                            <a:pt x="98" y="60"/>
                                          </a:lnTo>
                                          <a:lnTo>
                                            <a:pt x="102" y="60"/>
                                          </a:lnTo>
                                          <a:lnTo>
                                            <a:pt x="102" y="60"/>
                                          </a:lnTo>
                                          <a:lnTo>
                                            <a:pt x="106" y="58"/>
                                          </a:lnTo>
                                          <a:lnTo>
                                            <a:pt x="112" y="60"/>
                                          </a:lnTo>
                                          <a:lnTo>
                                            <a:pt x="116" y="62"/>
                                          </a:lnTo>
                                          <a:lnTo>
                                            <a:pt x="122" y="62"/>
                                          </a:lnTo>
                                          <a:lnTo>
                                            <a:pt x="122" y="62"/>
                                          </a:lnTo>
                                          <a:lnTo>
                                            <a:pt x="128" y="60"/>
                                          </a:lnTo>
                                          <a:lnTo>
                                            <a:pt x="132" y="58"/>
                                          </a:lnTo>
                                          <a:lnTo>
                                            <a:pt x="136" y="56"/>
                                          </a:lnTo>
                                          <a:lnTo>
                                            <a:pt x="142" y="56"/>
                                          </a:lnTo>
                                          <a:lnTo>
                                            <a:pt x="142" y="56"/>
                                          </a:lnTo>
                                          <a:lnTo>
                                            <a:pt x="154" y="56"/>
                                          </a:lnTo>
                                          <a:lnTo>
                                            <a:pt x="160" y="56"/>
                                          </a:lnTo>
                                          <a:lnTo>
                                            <a:pt x="160" y="54"/>
                                          </a:lnTo>
                                          <a:lnTo>
                                            <a:pt x="158" y="52"/>
                                          </a:lnTo>
                                          <a:lnTo>
                                            <a:pt x="158" y="52"/>
                                          </a:lnTo>
                                          <a:lnTo>
                                            <a:pt x="150" y="46"/>
                                          </a:lnTo>
                                          <a:lnTo>
                                            <a:pt x="152" y="46"/>
                                          </a:lnTo>
                                          <a:lnTo>
                                            <a:pt x="158" y="46"/>
                                          </a:lnTo>
                                          <a:lnTo>
                                            <a:pt x="158" y="46"/>
                                          </a:lnTo>
                                          <a:lnTo>
                                            <a:pt x="172" y="48"/>
                                          </a:lnTo>
                                          <a:lnTo>
                                            <a:pt x="176" y="46"/>
                                          </a:lnTo>
                                          <a:lnTo>
                                            <a:pt x="174" y="42"/>
                                          </a:lnTo>
                                          <a:lnTo>
                                            <a:pt x="174" y="42"/>
                                          </a:lnTo>
                                          <a:lnTo>
                                            <a:pt x="172" y="38"/>
                                          </a:lnTo>
                                          <a:lnTo>
                                            <a:pt x="178" y="40"/>
                                          </a:lnTo>
                                          <a:lnTo>
                                            <a:pt x="178" y="40"/>
                                          </a:lnTo>
                                          <a:lnTo>
                                            <a:pt x="186" y="42"/>
                                          </a:lnTo>
                                          <a:lnTo>
                                            <a:pt x="190" y="40"/>
                                          </a:lnTo>
                                          <a:lnTo>
                                            <a:pt x="194" y="40"/>
                                          </a:lnTo>
                                          <a:lnTo>
                                            <a:pt x="198" y="40"/>
                                          </a:lnTo>
                                          <a:lnTo>
                                            <a:pt x="198" y="40"/>
                                          </a:lnTo>
                                          <a:lnTo>
                                            <a:pt x="214" y="42"/>
                                          </a:lnTo>
                                          <a:lnTo>
                                            <a:pt x="224" y="44"/>
                                          </a:lnTo>
                                          <a:lnTo>
                                            <a:pt x="228" y="42"/>
                                          </a:lnTo>
                                          <a:lnTo>
                                            <a:pt x="230" y="40"/>
                                          </a:lnTo>
                                          <a:lnTo>
                                            <a:pt x="230" y="40"/>
                                          </a:lnTo>
                                          <a:lnTo>
                                            <a:pt x="236" y="38"/>
                                          </a:lnTo>
                                          <a:lnTo>
                                            <a:pt x="240" y="36"/>
                                          </a:lnTo>
                                          <a:lnTo>
                                            <a:pt x="248" y="38"/>
                                          </a:lnTo>
                                          <a:lnTo>
                                            <a:pt x="248" y="38"/>
                                          </a:lnTo>
                                          <a:lnTo>
                                            <a:pt x="256" y="40"/>
                                          </a:lnTo>
                                          <a:lnTo>
                                            <a:pt x="262" y="40"/>
                                          </a:lnTo>
                                          <a:lnTo>
                                            <a:pt x="268" y="38"/>
                                          </a:lnTo>
                                          <a:lnTo>
                                            <a:pt x="268" y="38"/>
                                          </a:lnTo>
                                          <a:lnTo>
                                            <a:pt x="278" y="36"/>
                                          </a:lnTo>
                                          <a:lnTo>
                                            <a:pt x="284" y="38"/>
                                          </a:lnTo>
                                          <a:lnTo>
                                            <a:pt x="294" y="38"/>
                                          </a:lnTo>
                                          <a:lnTo>
                                            <a:pt x="308" y="36"/>
                                          </a:lnTo>
                                          <a:lnTo>
                                            <a:pt x="308" y="36"/>
                                          </a:lnTo>
                                          <a:lnTo>
                                            <a:pt x="324" y="32"/>
                                          </a:lnTo>
                                          <a:lnTo>
                                            <a:pt x="336" y="30"/>
                                          </a:lnTo>
                                          <a:lnTo>
                                            <a:pt x="346" y="28"/>
                                          </a:lnTo>
                                          <a:lnTo>
                                            <a:pt x="358" y="24"/>
                                          </a:lnTo>
                                          <a:lnTo>
                                            <a:pt x="358" y="24"/>
                                          </a:lnTo>
                                          <a:lnTo>
                                            <a:pt x="370" y="20"/>
                                          </a:lnTo>
                                          <a:lnTo>
                                            <a:pt x="380" y="18"/>
                                          </a:lnTo>
                                          <a:lnTo>
                                            <a:pt x="398" y="16"/>
                                          </a:lnTo>
                                          <a:lnTo>
                                            <a:pt x="398" y="16"/>
                                          </a:lnTo>
                                          <a:lnTo>
                                            <a:pt x="408" y="14"/>
                                          </a:lnTo>
                                          <a:lnTo>
                                            <a:pt x="418" y="10"/>
                                          </a:lnTo>
                                          <a:lnTo>
                                            <a:pt x="420" y="8"/>
                                          </a:lnTo>
                                          <a:lnTo>
                                            <a:pt x="418" y="6"/>
                                          </a:lnTo>
                                          <a:lnTo>
                                            <a:pt x="404" y="6"/>
                                          </a:lnTo>
                                          <a:lnTo>
                                            <a:pt x="404" y="6"/>
                                          </a:lnTo>
                                          <a:lnTo>
                                            <a:pt x="386" y="4"/>
                                          </a:lnTo>
                                          <a:lnTo>
                                            <a:pt x="378" y="2"/>
                                          </a:lnTo>
                                          <a:lnTo>
                                            <a:pt x="372" y="0"/>
                                          </a:lnTo>
                                          <a:lnTo>
                                            <a:pt x="358" y="0"/>
                                          </a:lnTo>
                                          <a:lnTo>
                                            <a:pt x="358" y="0"/>
                                          </a:lnTo>
                                          <a:lnTo>
                                            <a:pt x="344" y="2"/>
                                          </a:lnTo>
                                          <a:lnTo>
                                            <a:pt x="330" y="6"/>
                                          </a:lnTo>
                                          <a:lnTo>
                                            <a:pt x="320" y="6"/>
                                          </a:lnTo>
                                          <a:lnTo>
                                            <a:pt x="306" y="6"/>
                                          </a:lnTo>
                                          <a:lnTo>
                                            <a:pt x="306" y="6"/>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1" name="Canada"/>
                                    <p:cNvSpPr>
                                      <a:spLocks/>
                                    </p:cNvSpPr>
                                    <p:nvPr/>
                                  </p:nvSpPr>
                                  <p:spPr bwMode="auto">
                                    <a:xfrm>
                                      <a:off x="3755837" y="1388582"/>
                                      <a:ext cx="167070" cy="45523"/>
                                    </a:xfrm>
                                    <a:custGeom>
                                      <a:avLst/>
                                      <a:gdLst/>
                                      <a:ahLst/>
                                      <a:cxnLst>
                                        <a:cxn ang="0">
                                          <a:pos x="78" y="28"/>
                                        </a:cxn>
                                        <a:cxn ang="0">
                                          <a:pos x="66" y="28"/>
                                        </a:cxn>
                                        <a:cxn ang="0">
                                          <a:pos x="60" y="26"/>
                                        </a:cxn>
                                        <a:cxn ang="0">
                                          <a:pos x="54" y="28"/>
                                        </a:cxn>
                                        <a:cxn ang="0">
                                          <a:pos x="46" y="30"/>
                                        </a:cxn>
                                        <a:cxn ang="0">
                                          <a:pos x="44" y="26"/>
                                        </a:cxn>
                                        <a:cxn ang="0">
                                          <a:pos x="40" y="22"/>
                                        </a:cxn>
                                        <a:cxn ang="0">
                                          <a:pos x="26" y="26"/>
                                        </a:cxn>
                                        <a:cxn ang="0">
                                          <a:pos x="18" y="22"/>
                                        </a:cxn>
                                        <a:cxn ang="0">
                                          <a:pos x="16" y="18"/>
                                        </a:cxn>
                                        <a:cxn ang="0">
                                          <a:pos x="20" y="16"/>
                                        </a:cxn>
                                        <a:cxn ang="0">
                                          <a:pos x="18" y="14"/>
                                        </a:cxn>
                                        <a:cxn ang="0">
                                          <a:pos x="4" y="10"/>
                                        </a:cxn>
                                        <a:cxn ang="0">
                                          <a:pos x="6" y="8"/>
                                        </a:cxn>
                                        <a:cxn ang="0">
                                          <a:pos x="22" y="8"/>
                                        </a:cxn>
                                        <a:cxn ang="0">
                                          <a:pos x="32" y="8"/>
                                        </a:cxn>
                                        <a:cxn ang="0">
                                          <a:pos x="38" y="14"/>
                                        </a:cxn>
                                        <a:cxn ang="0">
                                          <a:pos x="38" y="16"/>
                                        </a:cxn>
                                        <a:cxn ang="0">
                                          <a:pos x="38" y="8"/>
                                        </a:cxn>
                                        <a:cxn ang="0">
                                          <a:pos x="44" y="2"/>
                                        </a:cxn>
                                        <a:cxn ang="0">
                                          <a:pos x="62" y="0"/>
                                        </a:cxn>
                                        <a:cxn ang="0">
                                          <a:pos x="66" y="0"/>
                                        </a:cxn>
                                        <a:cxn ang="0">
                                          <a:pos x="66" y="2"/>
                                        </a:cxn>
                                        <a:cxn ang="0">
                                          <a:pos x="60" y="16"/>
                                        </a:cxn>
                                        <a:cxn ang="0">
                                          <a:pos x="62" y="14"/>
                                        </a:cxn>
                                        <a:cxn ang="0">
                                          <a:pos x="74" y="6"/>
                                        </a:cxn>
                                        <a:cxn ang="0">
                                          <a:pos x="80" y="4"/>
                                        </a:cxn>
                                        <a:cxn ang="0">
                                          <a:pos x="110" y="6"/>
                                        </a:cxn>
                                        <a:cxn ang="0">
                                          <a:pos x="110" y="8"/>
                                        </a:cxn>
                                        <a:cxn ang="0">
                                          <a:pos x="102" y="12"/>
                                        </a:cxn>
                                        <a:cxn ang="0">
                                          <a:pos x="90" y="14"/>
                                        </a:cxn>
                                        <a:cxn ang="0">
                                          <a:pos x="88" y="16"/>
                                        </a:cxn>
                                        <a:cxn ang="0">
                                          <a:pos x="78" y="28"/>
                                        </a:cxn>
                                      </a:cxnLst>
                                      <a:rect l="0" t="0" r="r" b="b"/>
                                      <a:pathLst>
                                        <a:path w="110" h="30">
                                          <a:moveTo>
                                            <a:pt x="78" y="28"/>
                                          </a:moveTo>
                                          <a:lnTo>
                                            <a:pt x="78" y="28"/>
                                          </a:lnTo>
                                          <a:lnTo>
                                            <a:pt x="70" y="30"/>
                                          </a:lnTo>
                                          <a:lnTo>
                                            <a:pt x="66" y="28"/>
                                          </a:lnTo>
                                          <a:lnTo>
                                            <a:pt x="64" y="26"/>
                                          </a:lnTo>
                                          <a:lnTo>
                                            <a:pt x="60" y="26"/>
                                          </a:lnTo>
                                          <a:lnTo>
                                            <a:pt x="60" y="26"/>
                                          </a:lnTo>
                                          <a:lnTo>
                                            <a:pt x="54" y="28"/>
                                          </a:lnTo>
                                          <a:lnTo>
                                            <a:pt x="48" y="30"/>
                                          </a:lnTo>
                                          <a:lnTo>
                                            <a:pt x="46" y="30"/>
                                          </a:lnTo>
                                          <a:lnTo>
                                            <a:pt x="44" y="26"/>
                                          </a:lnTo>
                                          <a:lnTo>
                                            <a:pt x="44" y="26"/>
                                          </a:lnTo>
                                          <a:lnTo>
                                            <a:pt x="42" y="24"/>
                                          </a:lnTo>
                                          <a:lnTo>
                                            <a:pt x="40" y="22"/>
                                          </a:lnTo>
                                          <a:lnTo>
                                            <a:pt x="34" y="24"/>
                                          </a:lnTo>
                                          <a:lnTo>
                                            <a:pt x="26" y="26"/>
                                          </a:lnTo>
                                          <a:lnTo>
                                            <a:pt x="22" y="24"/>
                                          </a:lnTo>
                                          <a:lnTo>
                                            <a:pt x="18" y="22"/>
                                          </a:lnTo>
                                          <a:lnTo>
                                            <a:pt x="18" y="22"/>
                                          </a:lnTo>
                                          <a:lnTo>
                                            <a:pt x="16" y="18"/>
                                          </a:lnTo>
                                          <a:lnTo>
                                            <a:pt x="18" y="16"/>
                                          </a:lnTo>
                                          <a:lnTo>
                                            <a:pt x="20" y="16"/>
                                          </a:lnTo>
                                          <a:lnTo>
                                            <a:pt x="18" y="14"/>
                                          </a:lnTo>
                                          <a:lnTo>
                                            <a:pt x="18" y="14"/>
                                          </a:lnTo>
                                          <a:lnTo>
                                            <a:pt x="12" y="12"/>
                                          </a:lnTo>
                                          <a:lnTo>
                                            <a:pt x="4" y="10"/>
                                          </a:lnTo>
                                          <a:lnTo>
                                            <a:pt x="0" y="8"/>
                                          </a:lnTo>
                                          <a:lnTo>
                                            <a:pt x="6" y="8"/>
                                          </a:lnTo>
                                          <a:lnTo>
                                            <a:pt x="6" y="8"/>
                                          </a:lnTo>
                                          <a:lnTo>
                                            <a:pt x="22" y="8"/>
                                          </a:lnTo>
                                          <a:lnTo>
                                            <a:pt x="32" y="8"/>
                                          </a:lnTo>
                                          <a:lnTo>
                                            <a:pt x="32" y="8"/>
                                          </a:lnTo>
                                          <a:lnTo>
                                            <a:pt x="36" y="10"/>
                                          </a:lnTo>
                                          <a:lnTo>
                                            <a:pt x="38" y="14"/>
                                          </a:lnTo>
                                          <a:lnTo>
                                            <a:pt x="38" y="16"/>
                                          </a:lnTo>
                                          <a:lnTo>
                                            <a:pt x="38" y="16"/>
                                          </a:lnTo>
                                          <a:lnTo>
                                            <a:pt x="38" y="16"/>
                                          </a:lnTo>
                                          <a:lnTo>
                                            <a:pt x="38" y="8"/>
                                          </a:lnTo>
                                          <a:lnTo>
                                            <a:pt x="40" y="4"/>
                                          </a:lnTo>
                                          <a:lnTo>
                                            <a:pt x="44" y="2"/>
                                          </a:lnTo>
                                          <a:lnTo>
                                            <a:pt x="44" y="2"/>
                                          </a:lnTo>
                                          <a:lnTo>
                                            <a:pt x="62" y="0"/>
                                          </a:lnTo>
                                          <a:lnTo>
                                            <a:pt x="66" y="0"/>
                                          </a:lnTo>
                                          <a:lnTo>
                                            <a:pt x="66" y="0"/>
                                          </a:lnTo>
                                          <a:lnTo>
                                            <a:pt x="66" y="2"/>
                                          </a:lnTo>
                                          <a:lnTo>
                                            <a:pt x="66" y="2"/>
                                          </a:lnTo>
                                          <a:lnTo>
                                            <a:pt x="60" y="12"/>
                                          </a:lnTo>
                                          <a:lnTo>
                                            <a:pt x="60" y="16"/>
                                          </a:lnTo>
                                          <a:lnTo>
                                            <a:pt x="62" y="14"/>
                                          </a:lnTo>
                                          <a:lnTo>
                                            <a:pt x="62" y="14"/>
                                          </a:lnTo>
                                          <a:lnTo>
                                            <a:pt x="68" y="8"/>
                                          </a:lnTo>
                                          <a:lnTo>
                                            <a:pt x="74" y="6"/>
                                          </a:lnTo>
                                          <a:lnTo>
                                            <a:pt x="80" y="4"/>
                                          </a:lnTo>
                                          <a:lnTo>
                                            <a:pt x="80" y="4"/>
                                          </a:lnTo>
                                          <a:lnTo>
                                            <a:pt x="102" y="4"/>
                                          </a:lnTo>
                                          <a:lnTo>
                                            <a:pt x="110" y="6"/>
                                          </a:lnTo>
                                          <a:lnTo>
                                            <a:pt x="110" y="6"/>
                                          </a:lnTo>
                                          <a:lnTo>
                                            <a:pt x="110" y="8"/>
                                          </a:lnTo>
                                          <a:lnTo>
                                            <a:pt x="110" y="8"/>
                                          </a:lnTo>
                                          <a:lnTo>
                                            <a:pt x="102" y="12"/>
                                          </a:lnTo>
                                          <a:lnTo>
                                            <a:pt x="96" y="12"/>
                                          </a:lnTo>
                                          <a:lnTo>
                                            <a:pt x="90" y="14"/>
                                          </a:lnTo>
                                          <a:lnTo>
                                            <a:pt x="88" y="16"/>
                                          </a:lnTo>
                                          <a:lnTo>
                                            <a:pt x="88" y="16"/>
                                          </a:lnTo>
                                          <a:lnTo>
                                            <a:pt x="82" y="24"/>
                                          </a:lnTo>
                                          <a:lnTo>
                                            <a:pt x="78" y="28"/>
                                          </a:lnTo>
                                          <a:lnTo>
                                            <a:pt x="78" y="2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2" name="Canada"/>
                                    <p:cNvSpPr>
                                      <a:spLocks/>
                                    </p:cNvSpPr>
                                    <p:nvPr/>
                                  </p:nvSpPr>
                                  <p:spPr bwMode="auto">
                                    <a:xfrm>
                                      <a:off x="3932019" y="1373407"/>
                                      <a:ext cx="51640" cy="18209"/>
                                    </a:xfrm>
                                    <a:custGeom>
                                      <a:avLst/>
                                      <a:gdLst/>
                                      <a:ahLst/>
                                      <a:cxnLst>
                                        <a:cxn ang="0">
                                          <a:pos x="4" y="10"/>
                                        </a:cxn>
                                        <a:cxn ang="0">
                                          <a:pos x="4" y="10"/>
                                        </a:cxn>
                                        <a:cxn ang="0">
                                          <a:pos x="12" y="4"/>
                                        </a:cxn>
                                        <a:cxn ang="0">
                                          <a:pos x="22" y="0"/>
                                        </a:cxn>
                                        <a:cxn ang="0">
                                          <a:pos x="30" y="0"/>
                                        </a:cxn>
                                        <a:cxn ang="0">
                                          <a:pos x="32" y="0"/>
                                        </a:cxn>
                                        <a:cxn ang="0">
                                          <a:pos x="32" y="0"/>
                                        </a:cxn>
                                        <a:cxn ang="0">
                                          <a:pos x="32" y="0"/>
                                        </a:cxn>
                                        <a:cxn ang="0">
                                          <a:pos x="32" y="2"/>
                                        </a:cxn>
                                        <a:cxn ang="0">
                                          <a:pos x="34" y="6"/>
                                        </a:cxn>
                                        <a:cxn ang="0">
                                          <a:pos x="34" y="8"/>
                                        </a:cxn>
                                        <a:cxn ang="0">
                                          <a:pos x="34" y="8"/>
                                        </a:cxn>
                                        <a:cxn ang="0">
                                          <a:pos x="34" y="8"/>
                                        </a:cxn>
                                        <a:cxn ang="0">
                                          <a:pos x="30" y="10"/>
                                        </a:cxn>
                                        <a:cxn ang="0">
                                          <a:pos x="26" y="8"/>
                                        </a:cxn>
                                        <a:cxn ang="0">
                                          <a:pos x="22" y="8"/>
                                        </a:cxn>
                                        <a:cxn ang="0">
                                          <a:pos x="16" y="10"/>
                                        </a:cxn>
                                        <a:cxn ang="0">
                                          <a:pos x="16" y="10"/>
                                        </a:cxn>
                                        <a:cxn ang="0">
                                          <a:pos x="2" y="12"/>
                                        </a:cxn>
                                        <a:cxn ang="0">
                                          <a:pos x="0" y="12"/>
                                        </a:cxn>
                                        <a:cxn ang="0">
                                          <a:pos x="4" y="10"/>
                                        </a:cxn>
                                        <a:cxn ang="0">
                                          <a:pos x="4" y="10"/>
                                        </a:cxn>
                                      </a:cxnLst>
                                      <a:rect l="0" t="0" r="r" b="b"/>
                                      <a:pathLst>
                                        <a:path w="34" h="12">
                                          <a:moveTo>
                                            <a:pt x="4" y="10"/>
                                          </a:moveTo>
                                          <a:lnTo>
                                            <a:pt x="4" y="10"/>
                                          </a:lnTo>
                                          <a:lnTo>
                                            <a:pt x="12" y="4"/>
                                          </a:lnTo>
                                          <a:lnTo>
                                            <a:pt x="22" y="0"/>
                                          </a:lnTo>
                                          <a:lnTo>
                                            <a:pt x="30" y="0"/>
                                          </a:lnTo>
                                          <a:lnTo>
                                            <a:pt x="32" y="0"/>
                                          </a:lnTo>
                                          <a:lnTo>
                                            <a:pt x="32" y="0"/>
                                          </a:lnTo>
                                          <a:lnTo>
                                            <a:pt x="32" y="0"/>
                                          </a:lnTo>
                                          <a:lnTo>
                                            <a:pt x="32" y="2"/>
                                          </a:lnTo>
                                          <a:lnTo>
                                            <a:pt x="34" y="6"/>
                                          </a:lnTo>
                                          <a:lnTo>
                                            <a:pt x="34" y="8"/>
                                          </a:lnTo>
                                          <a:lnTo>
                                            <a:pt x="34" y="8"/>
                                          </a:lnTo>
                                          <a:lnTo>
                                            <a:pt x="34" y="8"/>
                                          </a:lnTo>
                                          <a:lnTo>
                                            <a:pt x="30" y="10"/>
                                          </a:lnTo>
                                          <a:lnTo>
                                            <a:pt x="26" y="8"/>
                                          </a:lnTo>
                                          <a:lnTo>
                                            <a:pt x="22" y="8"/>
                                          </a:lnTo>
                                          <a:lnTo>
                                            <a:pt x="16" y="10"/>
                                          </a:lnTo>
                                          <a:lnTo>
                                            <a:pt x="16" y="10"/>
                                          </a:lnTo>
                                          <a:lnTo>
                                            <a:pt x="2" y="12"/>
                                          </a:lnTo>
                                          <a:lnTo>
                                            <a:pt x="0" y="12"/>
                                          </a:lnTo>
                                          <a:lnTo>
                                            <a:pt x="4" y="10"/>
                                          </a:lnTo>
                                          <a:lnTo>
                                            <a:pt x="4" y="1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3" name="Canada"/>
                                    <p:cNvSpPr>
                                      <a:spLocks/>
                                    </p:cNvSpPr>
                                    <p:nvPr/>
                                  </p:nvSpPr>
                                  <p:spPr bwMode="auto">
                                    <a:xfrm>
                                      <a:off x="3637369" y="1382512"/>
                                      <a:ext cx="94167" cy="18209"/>
                                    </a:xfrm>
                                    <a:custGeom>
                                      <a:avLst/>
                                      <a:gdLst/>
                                      <a:ahLst/>
                                      <a:cxnLst>
                                        <a:cxn ang="0">
                                          <a:pos x="2" y="12"/>
                                        </a:cxn>
                                        <a:cxn ang="0">
                                          <a:pos x="2" y="12"/>
                                        </a:cxn>
                                        <a:cxn ang="0">
                                          <a:pos x="12" y="12"/>
                                        </a:cxn>
                                        <a:cxn ang="0">
                                          <a:pos x="20" y="10"/>
                                        </a:cxn>
                                        <a:cxn ang="0">
                                          <a:pos x="36" y="8"/>
                                        </a:cxn>
                                        <a:cxn ang="0">
                                          <a:pos x="36" y="8"/>
                                        </a:cxn>
                                        <a:cxn ang="0">
                                          <a:pos x="56" y="4"/>
                                        </a:cxn>
                                        <a:cxn ang="0">
                                          <a:pos x="62" y="2"/>
                                        </a:cxn>
                                        <a:cxn ang="0">
                                          <a:pos x="58" y="2"/>
                                        </a:cxn>
                                        <a:cxn ang="0">
                                          <a:pos x="58" y="2"/>
                                        </a:cxn>
                                        <a:cxn ang="0">
                                          <a:pos x="46" y="2"/>
                                        </a:cxn>
                                        <a:cxn ang="0">
                                          <a:pos x="36" y="0"/>
                                        </a:cxn>
                                        <a:cxn ang="0">
                                          <a:pos x="36" y="0"/>
                                        </a:cxn>
                                        <a:cxn ang="0">
                                          <a:pos x="24" y="2"/>
                                        </a:cxn>
                                        <a:cxn ang="0">
                                          <a:pos x="22" y="4"/>
                                        </a:cxn>
                                        <a:cxn ang="0">
                                          <a:pos x="24" y="4"/>
                                        </a:cxn>
                                        <a:cxn ang="0">
                                          <a:pos x="24" y="4"/>
                                        </a:cxn>
                                        <a:cxn ang="0">
                                          <a:pos x="24" y="6"/>
                                        </a:cxn>
                                        <a:cxn ang="0">
                                          <a:pos x="22" y="6"/>
                                        </a:cxn>
                                        <a:cxn ang="0">
                                          <a:pos x="12" y="8"/>
                                        </a:cxn>
                                        <a:cxn ang="0">
                                          <a:pos x="2" y="10"/>
                                        </a:cxn>
                                        <a:cxn ang="0">
                                          <a:pos x="0" y="10"/>
                                        </a:cxn>
                                        <a:cxn ang="0">
                                          <a:pos x="2" y="12"/>
                                        </a:cxn>
                                        <a:cxn ang="0">
                                          <a:pos x="2" y="12"/>
                                        </a:cxn>
                                      </a:cxnLst>
                                      <a:rect l="0" t="0" r="r" b="b"/>
                                      <a:pathLst>
                                        <a:path w="62" h="12">
                                          <a:moveTo>
                                            <a:pt x="2" y="12"/>
                                          </a:moveTo>
                                          <a:lnTo>
                                            <a:pt x="2" y="12"/>
                                          </a:lnTo>
                                          <a:lnTo>
                                            <a:pt x="12" y="12"/>
                                          </a:lnTo>
                                          <a:lnTo>
                                            <a:pt x="20" y="10"/>
                                          </a:lnTo>
                                          <a:lnTo>
                                            <a:pt x="36" y="8"/>
                                          </a:lnTo>
                                          <a:lnTo>
                                            <a:pt x="36" y="8"/>
                                          </a:lnTo>
                                          <a:lnTo>
                                            <a:pt x="56" y="4"/>
                                          </a:lnTo>
                                          <a:lnTo>
                                            <a:pt x="62" y="2"/>
                                          </a:lnTo>
                                          <a:lnTo>
                                            <a:pt x="58" y="2"/>
                                          </a:lnTo>
                                          <a:lnTo>
                                            <a:pt x="58" y="2"/>
                                          </a:lnTo>
                                          <a:lnTo>
                                            <a:pt x="46" y="2"/>
                                          </a:lnTo>
                                          <a:lnTo>
                                            <a:pt x="36" y="0"/>
                                          </a:lnTo>
                                          <a:lnTo>
                                            <a:pt x="36" y="0"/>
                                          </a:lnTo>
                                          <a:lnTo>
                                            <a:pt x="24" y="2"/>
                                          </a:lnTo>
                                          <a:lnTo>
                                            <a:pt x="22" y="4"/>
                                          </a:lnTo>
                                          <a:lnTo>
                                            <a:pt x="24" y="4"/>
                                          </a:lnTo>
                                          <a:lnTo>
                                            <a:pt x="24" y="4"/>
                                          </a:lnTo>
                                          <a:lnTo>
                                            <a:pt x="24" y="6"/>
                                          </a:lnTo>
                                          <a:lnTo>
                                            <a:pt x="22" y="6"/>
                                          </a:lnTo>
                                          <a:lnTo>
                                            <a:pt x="12" y="8"/>
                                          </a:lnTo>
                                          <a:lnTo>
                                            <a:pt x="2" y="10"/>
                                          </a:lnTo>
                                          <a:lnTo>
                                            <a:pt x="0" y="10"/>
                                          </a:lnTo>
                                          <a:lnTo>
                                            <a:pt x="2" y="12"/>
                                          </a:lnTo>
                                          <a:lnTo>
                                            <a:pt x="2" y="12"/>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4" name="Canada"/>
                                    <p:cNvSpPr>
                                      <a:spLocks/>
                                    </p:cNvSpPr>
                                    <p:nvPr/>
                                  </p:nvSpPr>
                                  <p:spPr bwMode="auto">
                                    <a:xfrm>
                                      <a:off x="3892531" y="1361268"/>
                                      <a:ext cx="63791" cy="27314"/>
                                    </a:xfrm>
                                    <a:custGeom>
                                      <a:avLst/>
                                      <a:gdLst/>
                                      <a:ahLst/>
                                      <a:cxnLst>
                                        <a:cxn ang="0">
                                          <a:pos x="4" y="18"/>
                                        </a:cxn>
                                        <a:cxn ang="0">
                                          <a:pos x="4" y="18"/>
                                        </a:cxn>
                                        <a:cxn ang="0">
                                          <a:pos x="12" y="18"/>
                                        </a:cxn>
                                        <a:cxn ang="0">
                                          <a:pos x="18" y="16"/>
                                        </a:cxn>
                                        <a:cxn ang="0">
                                          <a:pos x="26" y="12"/>
                                        </a:cxn>
                                        <a:cxn ang="0">
                                          <a:pos x="26" y="12"/>
                                        </a:cxn>
                                        <a:cxn ang="0">
                                          <a:pos x="36" y="10"/>
                                        </a:cxn>
                                        <a:cxn ang="0">
                                          <a:pos x="40" y="8"/>
                                        </a:cxn>
                                        <a:cxn ang="0">
                                          <a:pos x="42" y="6"/>
                                        </a:cxn>
                                        <a:cxn ang="0">
                                          <a:pos x="42" y="6"/>
                                        </a:cxn>
                                        <a:cxn ang="0">
                                          <a:pos x="42" y="4"/>
                                        </a:cxn>
                                        <a:cxn ang="0">
                                          <a:pos x="42" y="0"/>
                                        </a:cxn>
                                        <a:cxn ang="0">
                                          <a:pos x="40" y="0"/>
                                        </a:cxn>
                                        <a:cxn ang="0">
                                          <a:pos x="32" y="2"/>
                                        </a:cxn>
                                        <a:cxn ang="0">
                                          <a:pos x="32" y="2"/>
                                        </a:cxn>
                                        <a:cxn ang="0">
                                          <a:pos x="8" y="6"/>
                                        </a:cxn>
                                        <a:cxn ang="0">
                                          <a:pos x="0" y="8"/>
                                        </a:cxn>
                                        <a:cxn ang="0">
                                          <a:pos x="0" y="10"/>
                                        </a:cxn>
                                        <a:cxn ang="0">
                                          <a:pos x="0" y="10"/>
                                        </a:cxn>
                                        <a:cxn ang="0">
                                          <a:pos x="0" y="10"/>
                                        </a:cxn>
                                        <a:cxn ang="0">
                                          <a:pos x="4" y="12"/>
                                        </a:cxn>
                                        <a:cxn ang="0">
                                          <a:pos x="8" y="12"/>
                                        </a:cxn>
                                        <a:cxn ang="0">
                                          <a:pos x="10" y="12"/>
                                        </a:cxn>
                                        <a:cxn ang="0">
                                          <a:pos x="8" y="12"/>
                                        </a:cxn>
                                        <a:cxn ang="0">
                                          <a:pos x="8" y="12"/>
                                        </a:cxn>
                                        <a:cxn ang="0">
                                          <a:pos x="0" y="16"/>
                                        </a:cxn>
                                        <a:cxn ang="0">
                                          <a:pos x="0" y="18"/>
                                        </a:cxn>
                                        <a:cxn ang="0">
                                          <a:pos x="4" y="18"/>
                                        </a:cxn>
                                        <a:cxn ang="0">
                                          <a:pos x="4" y="18"/>
                                        </a:cxn>
                                      </a:cxnLst>
                                      <a:rect l="0" t="0" r="r" b="b"/>
                                      <a:pathLst>
                                        <a:path w="42" h="18">
                                          <a:moveTo>
                                            <a:pt x="4" y="18"/>
                                          </a:moveTo>
                                          <a:lnTo>
                                            <a:pt x="4" y="18"/>
                                          </a:lnTo>
                                          <a:lnTo>
                                            <a:pt x="12" y="18"/>
                                          </a:lnTo>
                                          <a:lnTo>
                                            <a:pt x="18" y="16"/>
                                          </a:lnTo>
                                          <a:lnTo>
                                            <a:pt x="26" y="12"/>
                                          </a:lnTo>
                                          <a:lnTo>
                                            <a:pt x="26" y="12"/>
                                          </a:lnTo>
                                          <a:lnTo>
                                            <a:pt x="36" y="10"/>
                                          </a:lnTo>
                                          <a:lnTo>
                                            <a:pt x="40" y="8"/>
                                          </a:lnTo>
                                          <a:lnTo>
                                            <a:pt x="42" y="6"/>
                                          </a:lnTo>
                                          <a:lnTo>
                                            <a:pt x="42" y="6"/>
                                          </a:lnTo>
                                          <a:lnTo>
                                            <a:pt x="42" y="4"/>
                                          </a:lnTo>
                                          <a:lnTo>
                                            <a:pt x="42" y="0"/>
                                          </a:lnTo>
                                          <a:lnTo>
                                            <a:pt x="40" y="0"/>
                                          </a:lnTo>
                                          <a:lnTo>
                                            <a:pt x="32" y="2"/>
                                          </a:lnTo>
                                          <a:lnTo>
                                            <a:pt x="32" y="2"/>
                                          </a:lnTo>
                                          <a:lnTo>
                                            <a:pt x="8" y="6"/>
                                          </a:lnTo>
                                          <a:lnTo>
                                            <a:pt x="0" y="8"/>
                                          </a:lnTo>
                                          <a:lnTo>
                                            <a:pt x="0" y="10"/>
                                          </a:lnTo>
                                          <a:lnTo>
                                            <a:pt x="0" y="10"/>
                                          </a:lnTo>
                                          <a:lnTo>
                                            <a:pt x="0" y="10"/>
                                          </a:lnTo>
                                          <a:lnTo>
                                            <a:pt x="4" y="12"/>
                                          </a:lnTo>
                                          <a:lnTo>
                                            <a:pt x="8" y="12"/>
                                          </a:lnTo>
                                          <a:lnTo>
                                            <a:pt x="10" y="12"/>
                                          </a:lnTo>
                                          <a:lnTo>
                                            <a:pt x="8" y="12"/>
                                          </a:lnTo>
                                          <a:lnTo>
                                            <a:pt x="8" y="12"/>
                                          </a:lnTo>
                                          <a:lnTo>
                                            <a:pt x="0" y="16"/>
                                          </a:lnTo>
                                          <a:lnTo>
                                            <a:pt x="0" y="18"/>
                                          </a:lnTo>
                                          <a:lnTo>
                                            <a:pt x="4" y="18"/>
                                          </a:lnTo>
                                          <a:lnTo>
                                            <a:pt x="4" y="1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5" name="Canada"/>
                                    <p:cNvSpPr>
                                      <a:spLocks/>
                                    </p:cNvSpPr>
                                    <p:nvPr/>
                                  </p:nvSpPr>
                                  <p:spPr bwMode="auto">
                                    <a:xfrm>
                                      <a:off x="4035300" y="1337121"/>
                                      <a:ext cx="164033" cy="54627"/>
                                    </a:xfrm>
                                    <a:custGeom>
                                      <a:avLst/>
                                      <a:gdLst/>
                                      <a:ahLst/>
                                      <a:cxnLst>
                                        <a:cxn ang="0">
                                          <a:pos x="10" y="36"/>
                                        </a:cxn>
                                        <a:cxn ang="0">
                                          <a:pos x="10" y="36"/>
                                        </a:cxn>
                                        <a:cxn ang="0">
                                          <a:pos x="0" y="32"/>
                                        </a:cxn>
                                        <a:cxn ang="0">
                                          <a:pos x="0" y="32"/>
                                        </a:cxn>
                                        <a:cxn ang="0">
                                          <a:pos x="4" y="30"/>
                                        </a:cxn>
                                        <a:cxn ang="0">
                                          <a:pos x="4" y="30"/>
                                        </a:cxn>
                                        <a:cxn ang="0">
                                          <a:pos x="6" y="28"/>
                                        </a:cxn>
                                        <a:cxn ang="0">
                                          <a:pos x="8" y="28"/>
                                        </a:cxn>
                                        <a:cxn ang="0">
                                          <a:pos x="14" y="26"/>
                                        </a:cxn>
                                        <a:cxn ang="0">
                                          <a:pos x="14" y="26"/>
                                        </a:cxn>
                                        <a:cxn ang="0">
                                          <a:pos x="18" y="26"/>
                                        </a:cxn>
                                        <a:cxn ang="0">
                                          <a:pos x="20" y="24"/>
                                        </a:cxn>
                                        <a:cxn ang="0">
                                          <a:pos x="18" y="22"/>
                                        </a:cxn>
                                        <a:cxn ang="0">
                                          <a:pos x="18" y="18"/>
                                        </a:cxn>
                                        <a:cxn ang="0">
                                          <a:pos x="18" y="16"/>
                                        </a:cxn>
                                        <a:cxn ang="0">
                                          <a:pos x="22" y="14"/>
                                        </a:cxn>
                                        <a:cxn ang="0">
                                          <a:pos x="22" y="14"/>
                                        </a:cxn>
                                        <a:cxn ang="0">
                                          <a:pos x="30" y="12"/>
                                        </a:cxn>
                                        <a:cxn ang="0">
                                          <a:pos x="38" y="12"/>
                                        </a:cxn>
                                        <a:cxn ang="0">
                                          <a:pos x="44" y="12"/>
                                        </a:cxn>
                                        <a:cxn ang="0">
                                          <a:pos x="50" y="10"/>
                                        </a:cxn>
                                        <a:cxn ang="0">
                                          <a:pos x="50" y="10"/>
                                        </a:cxn>
                                        <a:cxn ang="0">
                                          <a:pos x="58" y="6"/>
                                        </a:cxn>
                                        <a:cxn ang="0">
                                          <a:pos x="70" y="4"/>
                                        </a:cxn>
                                        <a:cxn ang="0">
                                          <a:pos x="70" y="4"/>
                                        </a:cxn>
                                        <a:cxn ang="0">
                                          <a:pos x="84" y="0"/>
                                        </a:cxn>
                                        <a:cxn ang="0">
                                          <a:pos x="86" y="2"/>
                                        </a:cxn>
                                        <a:cxn ang="0">
                                          <a:pos x="84" y="6"/>
                                        </a:cxn>
                                        <a:cxn ang="0">
                                          <a:pos x="84" y="6"/>
                                        </a:cxn>
                                        <a:cxn ang="0">
                                          <a:pos x="82" y="8"/>
                                        </a:cxn>
                                        <a:cxn ang="0">
                                          <a:pos x="84" y="8"/>
                                        </a:cxn>
                                        <a:cxn ang="0">
                                          <a:pos x="92" y="6"/>
                                        </a:cxn>
                                        <a:cxn ang="0">
                                          <a:pos x="104" y="6"/>
                                        </a:cxn>
                                        <a:cxn ang="0">
                                          <a:pos x="106" y="6"/>
                                        </a:cxn>
                                        <a:cxn ang="0">
                                          <a:pos x="108" y="10"/>
                                        </a:cxn>
                                        <a:cxn ang="0">
                                          <a:pos x="108" y="10"/>
                                        </a:cxn>
                                        <a:cxn ang="0">
                                          <a:pos x="104" y="14"/>
                                        </a:cxn>
                                        <a:cxn ang="0">
                                          <a:pos x="100" y="16"/>
                                        </a:cxn>
                                        <a:cxn ang="0">
                                          <a:pos x="98" y="16"/>
                                        </a:cxn>
                                        <a:cxn ang="0">
                                          <a:pos x="100" y="16"/>
                                        </a:cxn>
                                        <a:cxn ang="0">
                                          <a:pos x="100" y="16"/>
                                        </a:cxn>
                                        <a:cxn ang="0">
                                          <a:pos x="102" y="18"/>
                                        </a:cxn>
                                        <a:cxn ang="0">
                                          <a:pos x="100" y="18"/>
                                        </a:cxn>
                                        <a:cxn ang="0">
                                          <a:pos x="88" y="20"/>
                                        </a:cxn>
                                        <a:cxn ang="0">
                                          <a:pos x="88" y="20"/>
                                        </a:cxn>
                                        <a:cxn ang="0">
                                          <a:pos x="74" y="24"/>
                                        </a:cxn>
                                        <a:cxn ang="0">
                                          <a:pos x="66" y="28"/>
                                        </a:cxn>
                                        <a:cxn ang="0">
                                          <a:pos x="60" y="28"/>
                                        </a:cxn>
                                        <a:cxn ang="0">
                                          <a:pos x="60" y="28"/>
                                        </a:cxn>
                                        <a:cxn ang="0">
                                          <a:pos x="42" y="26"/>
                                        </a:cxn>
                                        <a:cxn ang="0">
                                          <a:pos x="36" y="26"/>
                                        </a:cxn>
                                        <a:cxn ang="0">
                                          <a:pos x="36" y="28"/>
                                        </a:cxn>
                                        <a:cxn ang="0">
                                          <a:pos x="36" y="28"/>
                                        </a:cxn>
                                        <a:cxn ang="0">
                                          <a:pos x="36" y="28"/>
                                        </a:cxn>
                                        <a:cxn ang="0">
                                          <a:pos x="36" y="30"/>
                                        </a:cxn>
                                        <a:cxn ang="0">
                                          <a:pos x="34" y="32"/>
                                        </a:cxn>
                                        <a:cxn ang="0">
                                          <a:pos x="26" y="34"/>
                                        </a:cxn>
                                        <a:cxn ang="0">
                                          <a:pos x="26" y="34"/>
                                        </a:cxn>
                                        <a:cxn ang="0">
                                          <a:pos x="20" y="32"/>
                                        </a:cxn>
                                        <a:cxn ang="0">
                                          <a:pos x="18" y="34"/>
                                        </a:cxn>
                                        <a:cxn ang="0">
                                          <a:pos x="16" y="36"/>
                                        </a:cxn>
                                        <a:cxn ang="0">
                                          <a:pos x="10" y="36"/>
                                        </a:cxn>
                                        <a:cxn ang="0">
                                          <a:pos x="10" y="36"/>
                                        </a:cxn>
                                      </a:cxnLst>
                                      <a:rect l="0" t="0" r="r" b="b"/>
                                      <a:pathLst>
                                        <a:path w="108" h="36">
                                          <a:moveTo>
                                            <a:pt x="10" y="36"/>
                                          </a:moveTo>
                                          <a:lnTo>
                                            <a:pt x="10" y="36"/>
                                          </a:lnTo>
                                          <a:lnTo>
                                            <a:pt x="0" y="32"/>
                                          </a:lnTo>
                                          <a:lnTo>
                                            <a:pt x="0" y="32"/>
                                          </a:lnTo>
                                          <a:lnTo>
                                            <a:pt x="4" y="30"/>
                                          </a:lnTo>
                                          <a:lnTo>
                                            <a:pt x="4" y="30"/>
                                          </a:lnTo>
                                          <a:lnTo>
                                            <a:pt x="6" y="28"/>
                                          </a:lnTo>
                                          <a:lnTo>
                                            <a:pt x="8" y="28"/>
                                          </a:lnTo>
                                          <a:lnTo>
                                            <a:pt x="14" y="26"/>
                                          </a:lnTo>
                                          <a:lnTo>
                                            <a:pt x="14" y="26"/>
                                          </a:lnTo>
                                          <a:lnTo>
                                            <a:pt x="18" y="26"/>
                                          </a:lnTo>
                                          <a:lnTo>
                                            <a:pt x="20" y="24"/>
                                          </a:lnTo>
                                          <a:lnTo>
                                            <a:pt x="18" y="22"/>
                                          </a:lnTo>
                                          <a:lnTo>
                                            <a:pt x="18" y="18"/>
                                          </a:lnTo>
                                          <a:lnTo>
                                            <a:pt x="18" y="16"/>
                                          </a:lnTo>
                                          <a:lnTo>
                                            <a:pt x="22" y="14"/>
                                          </a:lnTo>
                                          <a:lnTo>
                                            <a:pt x="22" y="14"/>
                                          </a:lnTo>
                                          <a:lnTo>
                                            <a:pt x="30" y="12"/>
                                          </a:lnTo>
                                          <a:lnTo>
                                            <a:pt x="38" y="12"/>
                                          </a:lnTo>
                                          <a:lnTo>
                                            <a:pt x="44" y="12"/>
                                          </a:lnTo>
                                          <a:lnTo>
                                            <a:pt x="50" y="10"/>
                                          </a:lnTo>
                                          <a:lnTo>
                                            <a:pt x="50" y="10"/>
                                          </a:lnTo>
                                          <a:lnTo>
                                            <a:pt x="58" y="6"/>
                                          </a:lnTo>
                                          <a:lnTo>
                                            <a:pt x="70" y="4"/>
                                          </a:lnTo>
                                          <a:lnTo>
                                            <a:pt x="70" y="4"/>
                                          </a:lnTo>
                                          <a:lnTo>
                                            <a:pt x="84" y="0"/>
                                          </a:lnTo>
                                          <a:lnTo>
                                            <a:pt x="86" y="2"/>
                                          </a:lnTo>
                                          <a:lnTo>
                                            <a:pt x="84" y="6"/>
                                          </a:lnTo>
                                          <a:lnTo>
                                            <a:pt x="84" y="6"/>
                                          </a:lnTo>
                                          <a:lnTo>
                                            <a:pt x="82" y="8"/>
                                          </a:lnTo>
                                          <a:lnTo>
                                            <a:pt x="84" y="8"/>
                                          </a:lnTo>
                                          <a:lnTo>
                                            <a:pt x="92" y="6"/>
                                          </a:lnTo>
                                          <a:lnTo>
                                            <a:pt x="104" y="6"/>
                                          </a:lnTo>
                                          <a:lnTo>
                                            <a:pt x="106" y="6"/>
                                          </a:lnTo>
                                          <a:lnTo>
                                            <a:pt x="108" y="10"/>
                                          </a:lnTo>
                                          <a:lnTo>
                                            <a:pt x="108" y="10"/>
                                          </a:lnTo>
                                          <a:lnTo>
                                            <a:pt x="104" y="14"/>
                                          </a:lnTo>
                                          <a:lnTo>
                                            <a:pt x="100" y="16"/>
                                          </a:lnTo>
                                          <a:lnTo>
                                            <a:pt x="98" y="16"/>
                                          </a:lnTo>
                                          <a:lnTo>
                                            <a:pt x="100" y="16"/>
                                          </a:lnTo>
                                          <a:lnTo>
                                            <a:pt x="100" y="16"/>
                                          </a:lnTo>
                                          <a:lnTo>
                                            <a:pt x="102" y="18"/>
                                          </a:lnTo>
                                          <a:lnTo>
                                            <a:pt x="100" y="18"/>
                                          </a:lnTo>
                                          <a:lnTo>
                                            <a:pt x="88" y="20"/>
                                          </a:lnTo>
                                          <a:lnTo>
                                            <a:pt x="88" y="20"/>
                                          </a:lnTo>
                                          <a:lnTo>
                                            <a:pt x="74" y="24"/>
                                          </a:lnTo>
                                          <a:lnTo>
                                            <a:pt x="66" y="28"/>
                                          </a:lnTo>
                                          <a:lnTo>
                                            <a:pt x="60" y="28"/>
                                          </a:lnTo>
                                          <a:lnTo>
                                            <a:pt x="60" y="28"/>
                                          </a:lnTo>
                                          <a:lnTo>
                                            <a:pt x="42" y="26"/>
                                          </a:lnTo>
                                          <a:lnTo>
                                            <a:pt x="36" y="26"/>
                                          </a:lnTo>
                                          <a:lnTo>
                                            <a:pt x="36" y="28"/>
                                          </a:lnTo>
                                          <a:lnTo>
                                            <a:pt x="36" y="28"/>
                                          </a:lnTo>
                                          <a:lnTo>
                                            <a:pt x="36" y="28"/>
                                          </a:lnTo>
                                          <a:lnTo>
                                            <a:pt x="36" y="30"/>
                                          </a:lnTo>
                                          <a:lnTo>
                                            <a:pt x="34" y="32"/>
                                          </a:lnTo>
                                          <a:lnTo>
                                            <a:pt x="26" y="34"/>
                                          </a:lnTo>
                                          <a:lnTo>
                                            <a:pt x="26" y="34"/>
                                          </a:lnTo>
                                          <a:lnTo>
                                            <a:pt x="20" y="32"/>
                                          </a:lnTo>
                                          <a:lnTo>
                                            <a:pt x="18" y="34"/>
                                          </a:lnTo>
                                          <a:lnTo>
                                            <a:pt x="16" y="36"/>
                                          </a:lnTo>
                                          <a:lnTo>
                                            <a:pt x="10" y="36"/>
                                          </a:lnTo>
                                          <a:lnTo>
                                            <a:pt x="10" y="36"/>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nvGrpSpPr>
                                <p:cNvPr id="1032" name="Canadian Islands"/>
                                <p:cNvGrpSpPr/>
                                <p:nvPr/>
                              </p:nvGrpSpPr>
                              <p:grpSpPr>
                                <a:xfrm>
                                  <a:off x="3703679" y="1272600"/>
                                  <a:ext cx="400968" cy="57661"/>
                                  <a:chOff x="3856079" y="1425000"/>
                                  <a:chExt cx="400968" cy="57661"/>
                                </a:xfrm>
                                <a:grpFill/>
                              </p:grpSpPr>
                              <p:sp>
                                <p:nvSpPr>
                                  <p:cNvPr id="740" name="Canada"/>
                                  <p:cNvSpPr>
                                    <a:spLocks/>
                                  </p:cNvSpPr>
                                  <p:nvPr/>
                                </p:nvSpPr>
                                <p:spPr bwMode="auto">
                                  <a:xfrm>
                                    <a:off x="4190219" y="1449278"/>
                                    <a:ext cx="66828" cy="24279"/>
                                  </a:xfrm>
                                  <a:custGeom>
                                    <a:avLst/>
                                    <a:gdLst/>
                                    <a:ahLst/>
                                    <a:cxnLst>
                                      <a:cxn ang="0">
                                        <a:pos x="8" y="16"/>
                                      </a:cxn>
                                      <a:cxn ang="0">
                                        <a:pos x="8" y="16"/>
                                      </a:cxn>
                                      <a:cxn ang="0">
                                        <a:pos x="4" y="14"/>
                                      </a:cxn>
                                      <a:cxn ang="0">
                                        <a:pos x="4" y="12"/>
                                      </a:cxn>
                                      <a:cxn ang="0">
                                        <a:pos x="2" y="8"/>
                                      </a:cxn>
                                      <a:cxn ang="0">
                                        <a:pos x="2" y="8"/>
                                      </a:cxn>
                                      <a:cxn ang="0">
                                        <a:pos x="0" y="6"/>
                                      </a:cxn>
                                      <a:cxn ang="0">
                                        <a:pos x="0" y="4"/>
                                      </a:cxn>
                                      <a:cxn ang="0">
                                        <a:pos x="2" y="2"/>
                                      </a:cxn>
                                      <a:cxn ang="0">
                                        <a:pos x="8" y="2"/>
                                      </a:cxn>
                                      <a:cxn ang="0">
                                        <a:pos x="8" y="2"/>
                                      </a:cxn>
                                      <a:cxn ang="0">
                                        <a:pos x="18" y="0"/>
                                      </a:cxn>
                                      <a:cxn ang="0">
                                        <a:pos x="22" y="0"/>
                                      </a:cxn>
                                      <a:cxn ang="0">
                                        <a:pos x="28" y="2"/>
                                      </a:cxn>
                                      <a:cxn ang="0">
                                        <a:pos x="28" y="2"/>
                                      </a:cxn>
                                      <a:cxn ang="0">
                                        <a:pos x="40" y="6"/>
                                      </a:cxn>
                                      <a:cxn ang="0">
                                        <a:pos x="44" y="8"/>
                                      </a:cxn>
                                      <a:cxn ang="0">
                                        <a:pos x="42" y="10"/>
                                      </a:cxn>
                                      <a:cxn ang="0">
                                        <a:pos x="42" y="10"/>
                                      </a:cxn>
                                      <a:cxn ang="0">
                                        <a:pos x="34" y="10"/>
                                      </a:cxn>
                                      <a:cxn ang="0">
                                        <a:pos x="24" y="12"/>
                                      </a:cxn>
                                      <a:cxn ang="0">
                                        <a:pos x="24" y="12"/>
                                      </a:cxn>
                                      <a:cxn ang="0">
                                        <a:pos x="16" y="16"/>
                                      </a:cxn>
                                      <a:cxn ang="0">
                                        <a:pos x="12" y="16"/>
                                      </a:cxn>
                                      <a:cxn ang="0">
                                        <a:pos x="8" y="16"/>
                                      </a:cxn>
                                      <a:cxn ang="0">
                                        <a:pos x="8" y="16"/>
                                      </a:cxn>
                                    </a:cxnLst>
                                    <a:rect l="0" t="0" r="r" b="b"/>
                                    <a:pathLst>
                                      <a:path w="44" h="16">
                                        <a:moveTo>
                                          <a:pt x="8" y="16"/>
                                        </a:moveTo>
                                        <a:lnTo>
                                          <a:pt x="8" y="16"/>
                                        </a:lnTo>
                                        <a:lnTo>
                                          <a:pt x="4" y="14"/>
                                        </a:lnTo>
                                        <a:lnTo>
                                          <a:pt x="4" y="12"/>
                                        </a:lnTo>
                                        <a:lnTo>
                                          <a:pt x="2" y="8"/>
                                        </a:lnTo>
                                        <a:lnTo>
                                          <a:pt x="2" y="8"/>
                                        </a:lnTo>
                                        <a:lnTo>
                                          <a:pt x="0" y="6"/>
                                        </a:lnTo>
                                        <a:lnTo>
                                          <a:pt x="0" y="4"/>
                                        </a:lnTo>
                                        <a:lnTo>
                                          <a:pt x="2" y="2"/>
                                        </a:lnTo>
                                        <a:lnTo>
                                          <a:pt x="8" y="2"/>
                                        </a:lnTo>
                                        <a:lnTo>
                                          <a:pt x="8" y="2"/>
                                        </a:lnTo>
                                        <a:lnTo>
                                          <a:pt x="18" y="0"/>
                                        </a:lnTo>
                                        <a:lnTo>
                                          <a:pt x="22" y="0"/>
                                        </a:lnTo>
                                        <a:lnTo>
                                          <a:pt x="28" y="2"/>
                                        </a:lnTo>
                                        <a:lnTo>
                                          <a:pt x="28" y="2"/>
                                        </a:lnTo>
                                        <a:lnTo>
                                          <a:pt x="40" y="6"/>
                                        </a:lnTo>
                                        <a:lnTo>
                                          <a:pt x="44" y="8"/>
                                        </a:lnTo>
                                        <a:lnTo>
                                          <a:pt x="42" y="10"/>
                                        </a:lnTo>
                                        <a:lnTo>
                                          <a:pt x="42" y="10"/>
                                        </a:lnTo>
                                        <a:lnTo>
                                          <a:pt x="34" y="10"/>
                                        </a:lnTo>
                                        <a:lnTo>
                                          <a:pt x="24" y="12"/>
                                        </a:lnTo>
                                        <a:lnTo>
                                          <a:pt x="24" y="12"/>
                                        </a:lnTo>
                                        <a:lnTo>
                                          <a:pt x="16" y="16"/>
                                        </a:lnTo>
                                        <a:lnTo>
                                          <a:pt x="12" y="16"/>
                                        </a:lnTo>
                                        <a:lnTo>
                                          <a:pt x="8" y="16"/>
                                        </a:lnTo>
                                        <a:lnTo>
                                          <a:pt x="8" y="16"/>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1" name="Canada"/>
                                  <p:cNvSpPr>
                                    <a:spLocks/>
                                  </p:cNvSpPr>
                                  <p:nvPr/>
                                </p:nvSpPr>
                                <p:spPr bwMode="auto">
                                  <a:xfrm>
                                    <a:off x="3856079" y="1449278"/>
                                    <a:ext cx="103279" cy="33383"/>
                                  </a:xfrm>
                                  <a:custGeom>
                                    <a:avLst/>
                                    <a:gdLst/>
                                    <a:ahLst/>
                                    <a:cxnLst>
                                      <a:cxn ang="0">
                                        <a:pos x="2" y="18"/>
                                      </a:cxn>
                                      <a:cxn ang="0">
                                        <a:pos x="2" y="18"/>
                                      </a:cxn>
                                      <a:cxn ang="0">
                                        <a:pos x="6" y="22"/>
                                      </a:cxn>
                                      <a:cxn ang="0">
                                        <a:pos x="10" y="22"/>
                                      </a:cxn>
                                      <a:cxn ang="0">
                                        <a:pos x="12" y="22"/>
                                      </a:cxn>
                                      <a:cxn ang="0">
                                        <a:pos x="12" y="22"/>
                                      </a:cxn>
                                      <a:cxn ang="0">
                                        <a:pos x="16" y="20"/>
                                      </a:cxn>
                                      <a:cxn ang="0">
                                        <a:pos x="18" y="18"/>
                                      </a:cxn>
                                      <a:cxn ang="0">
                                        <a:pos x="18" y="16"/>
                                      </a:cxn>
                                      <a:cxn ang="0">
                                        <a:pos x="18" y="16"/>
                                      </a:cxn>
                                      <a:cxn ang="0">
                                        <a:pos x="12" y="14"/>
                                      </a:cxn>
                                      <a:cxn ang="0">
                                        <a:pos x="12" y="12"/>
                                      </a:cxn>
                                      <a:cxn ang="0">
                                        <a:pos x="18" y="14"/>
                                      </a:cxn>
                                      <a:cxn ang="0">
                                        <a:pos x="18" y="14"/>
                                      </a:cxn>
                                      <a:cxn ang="0">
                                        <a:pos x="36" y="16"/>
                                      </a:cxn>
                                      <a:cxn ang="0">
                                        <a:pos x="40" y="16"/>
                                      </a:cxn>
                                      <a:cxn ang="0">
                                        <a:pos x="44" y="16"/>
                                      </a:cxn>
                                      <a:cxn ang="0">
                                        <a:pos x="44" y="16"/>
                                      </a:cxn>
                                      <a:cxn ang="0">
                                        <a:pos x="48" y="12"/>
                                      </a:cxn>
                                      <a:cxn ang="0">
                                        <a:pos x="54" y="8"/>
                                      </a:cxn>
                                      <a:cxn ang="0">
                                        <a:pos x="66" y="4"/>
                                      </a:cxn>
                                      <a:cxn ang="0">
                                        <a:pos x="66" y="4"/>
                                      </a:cxn>
                                      <a:cxn ang="0">
                                        <a:pos x="68" y="4"/>
                                      </a:cxn>
                                      <a:cxn ang="0">
                                        <a:pos x="66" y="2"/>
                                      </a:cxn>
                                      <a:cxn ang="0">
                                        <a:pos x="52" y="2"/>
                                      </a:cxn>
                                      <a:cxn ang="0">
                                        <a:pos x="52" y="2"/>
                                      </a:cxn>
                                      <a:cxn ang="0">
                                        <a:pos x="36" y="0"/>
                                      </a:cxn>
                                      <a:cxn ang="0">
                                        <a:pos x="28" y="0"/>
                                      </a:cxn>
                                      <a:cxn ang="0">
                                        <a:pos x="22" y="0"/>
                                      </a:cxn>
                                      <a:cxn ang="0">
                                        <a:pos x="22" y="0"/>
                                      </a:cxn>
                                      <a:cxn ang="0">
                                        <a:pos x="12" y="4"/>
                                      </a:cxn>
                                      <a:cxn ang="0">
                                        <a:pos x="8" y="6"/>
                                      </a:cxn>
                                      <a:cxn ang="0">
                                        <a:pos x="6" y="10"/>
                                      </a:cxn>
                                      <a:cxn ang="0">
                                        <a:pos x="6" y="10"/>
                                      </a:cxn>
                                      <a:cxn ang="0">
                                        <a:pos x="6" y="12"/>
                                      </a:cxn>
                                      <a:cxn ang="0">
                                        <a:pos x="2" y="14"/>
                                      </a:cxn>
                                      <a:cxn ang="0">
                                        <a:pos x="0" y="16"/>
                                      </a:cxn>
                                      <a:cxn ang="0">
                                        <a:pos x="2" y="18"/>
                                      </a:cxn>
                                      <a:cxn ang="0">
                                        <a:pos x="2" y="18"/>
                                      </a:cxn>
                                    </a:cxnLst>
                                    <a:rect l="0" t="0" r="r" b="b"/>
                                    <a:pathLst>
                                      <a:path w="68" h="22">
                                        <a:moveTo>
                                          <a:pt x="2" y="18"/>
                                        </a:moveTo>
                                        <a:lnTo>
                                          <a:pt x="2" y="18"/>
                                        </a:lnTo>
                                        <a:lnTo>
                                          <a:pt x="6" y="22"/>
                                        </a:lnTo>
                                        <a:lnTo>
                                          <a:pt x="10" y="22"/>
                                        </a:lnTo>
                                        <a:lnTo>
                                          <a:pt x="12" y="22"/>
                                        </a:lnTo>
                                        <a:lnTo>
                                          <a:pt x="12" y="22"/>
                                        </a:lnTo>
                                        <a:lnTo>
                                          <a:pt x="16" y="20"/>
                                        </a:lnTo>
                                        <a:lnTo>
                                          <a:pt x="18" y="18"/>
                                        </a:lnTo>
                                        <a:lnTo>
                                          <a:pt x="18" y="16"/>
                                        </a:lnTo>
                                        <a:lnTo>
                                          <a:pt x="18" y="16"/>
                                        </a:lnTo>
                                        <a:lnTo>
                                          <a:pt x="12" y="14"/>
                                        </a:lnTo>
                                        <a:lnTo>
                                          <a:pt x="12" y="12"/>
                                        </a:lnTo>
                                        <a:lnTo>
                                          <a:pt x="18" y="14"/>
                                        </a:lnTo>
                                        <a:lnTo>
                                          <a:pt x="18" y="14"/>
                                        </a:lnTo>
                                        <a:lnTo>
                                          <a:pt x="36" y="16"/>
                                        </a:lnTo>
                                        <a:lnTo>
                                          <a:pt x="40" y="16"/>
                                        </a:lnTo>
                                        <a:lnTo>
                                          <a:pt x="44" y="16"/>
                                        </a:lnTo>
                                        <a:lnTo>
                                          <a:pt x="44" y="16"/>
                                        </a:lnTo>
                                        <a:lnTo>
                                          <a:pt x="48" y="12"/>
                                        </a:lnTo>
                                        <a:lnTo>
                                          <a:pt x="54" y="8"/>
                                        </a:lnTo>
                                        <a:lnTo>
                                          <a:pt x="66" y="4"/>
                                        </a:lnTo>
                                        <a:lnTo>
                                          <a:pt x="66" y="4"/>
                                        </a:lnTo>
                                        <a:lnTo>
                                          <a:pt x="68" y="4"/>
                                        </a:lnTo>
                                        <a:lnTo>
                                          <a:pt x="66" y="2"/>
                                        </a:lnTo>
                                        <a:lnTo>
                                          <a:pt x="52" y="2"/>
                                        </a:lnTo>
                                        <a:lnTo>
                                          <a:pt x="52" y="2"/>
                                        </a:lnTo>
                                        <a:lnTo>
                                          <a:pt x="36" y="0"/>
                                        </a:lnTo>
                                        <a:lnTo>
                                          <a:pt x="28" y="0"/>
                                        </a:lnTo>
                                        <a:lnTo>
                                          <a:pt x="22" y="0"/>
                                        </a:lnTo>
                                        <a:lnTo>
                                          <a:pt x="22" y="0"/>
                                        </a:lnTo>
                                        <a:lnTo>
                                          <a:pt x="12" y="4"/>
                                        </a:lnTo>
                                        <a:lnTo>
                                          <a:pt x="8" y="6"/>
                                        </a:lnTo>
                                        <a:lnTo>
                                          <a:pt x="6" y="10"/>
                                        </a:lnTo>
                                        <a:lnTo>
                                          <a:pt x="6" y="10"/>
                                        </a:lnTo>
                                        <a:lnTo>
                                          <a:pt x="6" y="12"/>
                                        </a:lnTo>
                                        <a:lnTo>
                                          <a:pt x="2" y="14"/>
                                        </a:lnTo>
                                        <a:lnTo>
                                          <a:pt x="0" y="16"/>
                                        </a:lnTo>
                                        <a:lnTo>
                                          <a:pt x="2" y="18"/>
                                        </a:lnTo>
                                        <a:lnTo>
                                          <a:pt x="2" y="1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2" name="Canada"/>
                                  <p:cNvSpPr>
                                    <a:spLocks/>
                                  </p:cNvSpPr>
                                  <p:nvPr/>
                                </p:nvSpPr>
                                <p:spPr bwMode="auto">
                                  <a:xfrm>
                                    <a:off x="3895568" y="1425000"/>
                                    <a:ext cx="57715" cy="21244"/>
                                  </a:xfrm>
                                  <a:custGeom>
                                    <a:avLst/>
                                    <a:gdLst/>
                                    <a:ahLst/>
                                    <a:cxnLst>
                                      <a:cxn ang="0">
                                        <a:pos x="32" y="2"/>
                                      </a:cxn>
                                      <a:cxn ang="0">
                                        <a:pos x="32" y="2"/>
                                      </a:cxn>
                                      <a:cxn ang="0">
                                        <a:pos x="38" y="4"/>
                                      </a:cxn>
                                      <a:cxn ang="0">
                                        <a:pos x="38" y="6"/>
                                      </a:cxn>
                                      <a:cxn ang="0">
                                        <a:pos x="38" y="8"/>
                                      </a:cxn>
                                      <a:cxn ang="0">
                                        <a:pos x="36" y="10"/>
                                      </a:cxn>
                                      <a:cxn ang="0">
                                        <a:pos x="36" y="10"/>
                                      </a:cxn>
                                      <a:cxn ang="0">
                                        <a:pos x="26" y="12"/>
                                      </a:cxn>
                                      <a:cxn ang="0">
                                        <a:pos x="14" y="14"/>
                                      </a:cxn>
                                      <a:cxn ang="0">
                                        <a:pos x="14" y="14"/>
                                      </a:cxn>
                                      <a:cxn ang="0">
                                        <a:pos x="6" y="12"/>
                                      </a:cxn>
                                      <a:cxn ang="0">
                                        <a:pos x="0" y="12"/>
                                      </a:cxn>
                                      <a:cxn ang="0">
                                        <a:pos x="0" y="10"/>
                                      </a:cxn>
                                      <a:cxn ang="0">
                                        <a:pos x="4" y="8"/>
                                      </a:cxn>
                                      <a:cxn ang="0">
                                        <a:pos x="4" y="8"/>
                                      </a:cxn>
                                      <a:cxn ang="0">
                                        <a:pos x="22" y="8"/>
                                      </a:cxn>
                                      <a:cxn ang="0">
                                        <a:pos x="26" y="6"/>
                                      </a:cxn>
                                      <a:cxn ang="0">
                                        <a:pos x="24" y="6"/>
                                      </a:cxn>
                                      <a:cxn ang="0">
                                        <a:pos x="24" y="6"/>
                                      </a:cxn>
                                      <a:cxn ang="0">
                                        <a:pos x="14" y="6"/>
                                      </a:cxn>
                                      <a:cxn ang="0">
                                        <a:pos x="12" y="6"/>
                                      </a:cxn>
                                      <a:cxn ang="0">
                                        <a:pos x="12" y="6"/>
                                      </a:cxn>
                                      <a:cxn ang="0">
                                        <a:pos x="12" y="6"/>
                                      </a:cxn>
                                      <a:cxn ang="0">
                                        <a:pos x="18" y="2"/>
                                      </a:cxn>
                                      <a:cxn ang="0">
                                        <a:pos x="24" y="0"/>
                                      </a:cxn>
                                      <a:cxn ang="0">
                                        <a:pos x="32" y="2"/>
                                      </a:cxn>
                                      <a:cxn ang="0">
                                        <a:pos x="32" y="2"/>
                                      </a:cxn>
                                    </a:cxnLst>
                                    <a:rect l="0" t="0" r="r" b="b"/>
                                    <a:pathLst>
                                      <a:path w="38" h="14">
                                        <a:moveTo>
                                          <a:pt x="32" y="2"/>
                                        </a:moveTo>
                                        <a:lnTo>
                                          <a:pt x="32" y="2"/>
                                        </a:lnTo>
                                        <a:lnTo>
                                          <a:pt x="38" y="4"/>
                                        </a:lnTo>
                                        <a:lnTo>
                                          <a:pt x="38" y="6"/>
                                        </a:lnTo>
                                        <a:lnTo>
                                          <a:pt x="38" y="8"/>
                                        </a:lnTo>
                                        <a:lnTo>
                                          <a:pt x="36" y="10"/>
                                        </a:lnTo>
                                        <a:lnTo>
                                          <a:pt x="36" y="10"/>
                                        </a:lnTo>
                                        <a:lnTo>
                                          <a:pt x="26" y="12"/>
                                        </a:lnTo>
                                        <a:lnTo>
                                          <a:pt x="14" y="14"/>
                                        </a:lnTo>
                                        <a:lnTo>
                                          <a:pt x="14" y="14"/>
                                        </a:lnTo>
                                        <a:lnTo>
                                          <a:pt x="6" y="12"/>
                                        </a:lnTo>
                                        <a:lnTo>
                                          <a:pt x="0" y="12"/>
                                        </a:lnTo>
                                        <a:lnTo>
                                          <a:pt x="0" y="10"/>
                                        </a:lnTo>
                                        <a:lnTo>
                                          <a:pt x="4" y="8"/>
                                        </a:lnTo>
                                        <a:lnTo>
                                          <a:pt x="4" y="8"/>
                                        </a:lnTo>
                                        <a:lnTo>
                                          <a:pt x="22" y="8"/>
                                        </a:lnTo>
                                        <a:lnTo>
                                          <a:pt x="26" y="6"/>
                                        </a:lnTo>
                                        <a:lnTo>
                                          <a:pt x="24" y="6"/>
                                        </a:lnTo>
                                        <a:lnTo>
                                          <a:pt x="24" y="6"/>
                                        </a:lnTo>
                                        <a:lnTo>
                                          <a:pt x="14" y="6"/>
                                        </a:lnTo>
                                        <a:lnTo>
                                          <a:pt x="12" y="6"/>
                                        </a:lnTo>
                                        <a:lnTo>
                                          <a:pt x="12" y="6"/>
                                        </a:lnTo>
                                        <a:lnTo>
                                          <a:pt x="12" y="6"/>
                                        </a:lnTo>
                                        <a:lnTo>
                                          <a:pt x="18" y="2"/>
                                        </a:lnTo>
                                        <a:lnTo>
                                          <a:pt x="24" y="0"/>
                                        </a:lnTo>
                                        <a:lnTo>
                                          <a:pt x="32" y="2"/>
                                        </a:lnTo>
                                        <a:lnTo>
                                          <a:pt x="32" y="2"/>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
                            <p:nvSpPr>
                              <p:cNvPr id="558" name="Iceland"/>
                              <p:cNvSpPr>
                                <a:spLocks/>
                              </p:cNvSpPr>
                              <p:nvPr/>
                            </p:nvSpPr>
                            <p:spPr bwMode="auto">
                              <a:xfrm>
                                <a:off x="4357823" y="1185681"/>
                                <a:ext cx="1066213" cy="415772"/>
                              </a:xfrm>
                              <a:custGeom>
                                <a:avLst/>
                                <a:gdLst/>
                                <a:ahLst/>
                                <a:cxnLst>
                                  <a:cxn ang="0">
                                    <a:pos x="214" y="6"/>
                                  </a:cxn>
                                  <a:cxn ang="0">
                                    <a:pos x="292" y="10"/>
                                  </a:cxn>
                                  <a:cxn ang="0">
                                    <a:pos x="354" y="4"/>
                                  </a:cxn>
                                  <a:cxn ang="0">
                                    <a:pos x="406" y="8"/>
                                  </a:cxn>
                                  <a:cxn ang="0">
                                    <a:pos x="474" y="4"/>
                                  </a:cxn>
                                  <a:cxn ang="0">
                                    <a:pos x="540" y="8"/>
                                  </a:cxn>
                                  <a:cxn ang="0">
                                    <a:pos x="606" y="10"/>
                                  </a:cxn>
                                  <a:cxn ang="0">
                                    <a:pos x="640" y="8"/>
                                  </a:cxn>
                                  <a:cxn ang="0">
                                    <a:pos x="648" y="18"/>
                                  </a:cxn>
                                  <a:cxn ang="0">
                                    <a:pos x="658" y="12"/>
                                  </a:cxn>
                                  <a:cxn ang="0">
                                    <a:pos x="692" y="18"/>
                                  </a:cxn>
                                  <a:cxn ang="0">
                                    <a:pos x="674" y="32"/>
                                  </a:cxn>
                                  <a:cxn ang="0">
                                    <a:pos x="684" y="40"/>
                                  </a:cxn>
                                  <a:cxn ang="0">
                                    <a:pos x="650" y="54"/>
                                  </a:cxn>
                                  <a:cxn ang="0">
                                    <a:pos x="650" y="76"/>
                                  </a:cxn>
                                  <a:cxn ang="0">
                                    <a:pos x="608" y="80"/>
                                  </a:cxn>
                                  <a:cxn ang="0">
                                    <a:pos x="568" y="88"/>
                                  </a:cxn>
                                  <a:cxn ang="0">
                                    <a:pos x="592" y="98"/>
                                  </a:cxn>
                                  <a:cxn ang="0">
                                    <a:pos x="616" y="106"/>
                                  </a:cxn>
                                  <a:cxn ang="0">
                                    <a:pos x="576" y="106"/>
                                  </a:cxn>
                                  <a:cxn ang="0">
                                    <a:pos x="550" y="104"/>
                                  </a:cxn>
                                  <a:cxn ang="0">
                                    <a:pos x="536" y="122"/>
                                  </a:cxn>
                                  <a:cxn ang="0">
                                    <a:pos x="582" y="120"/>
                                  </a:cxn>
                                  <a:cxn ang="0">
                                    <a:pos x="578" y="130"/>
                                  </a:cxn>
                                  <a:cxn ang="0">
                                    <a:pos x="542" y="138"/>
                                  </a:cxn>
                                  <a:cxn ang="0">
                                    <a:pos x="500" y="148"/>
                                  </a:cxn>
                                  <a:cxn ang="0">
                                    <a:pos x="454" y="152"/>
                                  </a:cxn>
                                  <a:cxn ang="0">
                                    <a:pos x="432" y="150"/>
                                  </a:cxn>
                                  <a:cxn ang="0">
                                    <a:pos x="398" y="170"/>
                                  </a:cxn>
                                  <a:cxn ang="0">
                                    <a:pos x="360" y="176"/>
                                  </a:cxn>
                                  <a:cxn ang="0">
                                    <a:pos x="324" y="182"/>
                                  </a:cxn>
                                  <a:cxn ang="0">
                                    <a:pos x="290" y="198"/>
                                  </a:cxn>
                                  <a:cxn ang="0">
                                    <a:pos x="280" y="214"/>
                                  </a:cxn>
                                  <a:cxn ang="0">
                                    <a:pos x="260" y="226"/>
                                  </a:cxn>
                                  <a:cxn ang="0">
                                    <a:pos x="244" y="248"/>
                                  </a:cxn>
                                  <a:cxn ang="0">
                                    <a:pos x="224" y="262"/>
                                  </a:cxn>
                                  <a:cxn ang="0">
                                    <a:pos x="196" y="270"/>
                                  </a:cxn>
                                  <a:cxn ang="0">
                                    <a:pos x="174" y="260"/>
                                  </a:cxn>
                                  <a:cxn ang="0">
                                    <a:pos x="140" y="248"/>
                                  </a:cxn>
                                  <a:cxn ang="0">
                                    <a:pos x="122" y="226"/>
                                  </a:cxn>
                                  <a:cxn ang="0">
                                    <a:pos x="134" y="200"/>
                                  </a:cxn>
                                  <a:cxn ang="0">
                                    <a:pos x="108" y="186"/>
                                  </a:cxn>
                                  <a:cxn ang="0">
                                    <a:pos x="108" y="168"/>
                                  </a:cxn>
                                  <a:cxn ang="0">
                                    <a:pos x="122" y="154"/>
                                  </a:cxn>
                                  <a:cxn ang="0">
                                    <a:pos x="152" y="146"/>
                                  </a:cxn>
                                  <a:cxn ang="0">
                                    <a:pos x="166" y="136"/>
                                  </a:cxn>
                                  <a:cxn ang="0">
                                    <a:pos x="166" y="124"/>
                                  </a:cxn>
                                  <a:cxn ang="0">
                                    <a:pos x="152" y="114"/>
                                  </a:cxn>
                                  <a:cxn ang="0">
                                    <a:pos x="176" y="110"/>
                                  </a:cxn>
                                  <a:cxn ang="0">
                                    <a:pos x="160" y="106"/>
                                  </a:cxn>
                                  <a:cxn ang="0">
                                    <a:pos x="128" y="106"/>
                                  </a:cxn>
                                  <a:cxn ang="0">
                                    <a:pos x="146" y="86"/>
                                  </a:cxn>
                                  <a:cxn ang="0">
                                    <a:pos x="142" y="72"/>
                                  </a:cxn>
                                  <a:cxn ang="0">
                                    <a:pos x="108" y="60"/>
                                  </a:cxn>
                                  <a:cxn ang="0">
                                    <a:pos x="44" y="56"/>
                                  </a:cxn>
                                  <a:cxn ang="0">
                                    <a:pos x="30" y="48"/>
                                  </a:cxn>
                                  <a:cxn ang="0">
                                    <a:pos x="28" y="42"/>
                                  </a:cxn>
                                  <a:cxn ang="0">
                                    <a:pos x="42" y="30"/>
                                  </a:cxn>
                                  <a:cxn ang="0">
                                    <a:pos x="84" y="16"/>
                                  </a:cxn>
                                  <a:cxn ang="0">
                                    <a:pos x="166" y="12"/>
                                  </a:cxn>
                                </a:cxnLst>
                                <a:rect l="0" t="0" r="r" b="b"/>
                                <a:pathLst>
                                  <a:path w="702" h="274">
                                    <a:moveTo>
                                      <a:pt x="166" y="12"/>
                                    </a:moveTo>
                                    <a:lnTo>
                                      <a:pt x="166" y="12"/>
                                    </a:lnTo>
                                    <a:lnTo>
                                      <a:pt x="172" y="10"/>
                                    </a:lnTo>
                                    <a:lnTo>
                                      <a:pt x="178" y="10"/>
                                    </a:lnTo>
                                    <a:lnTo>
                                      <a:pt x="182" y="10"/>
                                    </a:lnTo>
                                    <a:lnTo>
                                      <a:pt x="188" y="10"/>
                                    </a:lnTo>
                                    <a:lnTo>
                                      <a:pt x="188" y="10"/>
                                    </a:lnTo>
                                    <a:lnTo>
                                      <a:pt x="194" y="8"/>
                                    </a:lnTo>
                                    <a:lnTo>
                                      <a:pt x="200" y="8"/>
                                    </a:lnTo>
                                    <a:lnTo>
                                      <a:pt x="206" y="8"/>
                                    </a:lnTo>
                                    <a:lnTo>
                                      <a:pt x="214" y="6"/>
                                    </a:lnTo>
                                    <a:lnTo>
                                      <a:pt x="214" y="6"/>
                                    </a:lnTo>
                                    <a:lnTo>
                                      <a:pt x="224" y="6"/>
                                    </a:lnTo>
                                    <a:lnTo>
                                      <a:pt x="230" y="8"/>
                                    </a:lnTo>
                                    <a:lnTo>
                                      <a:pt x="236" y="10"/>
                                    </a:lnTo>
                                    <a:lnTo>
                                      <a:pt x="242" y="8"/>
                                    </a:lnTo>
                                    <a:lnTo>
                                      <a:pt x="242" y="8"/>
                                    </a:lnTo>
                                    <a:lnTo>
                                      <a:pt x="250" y="8"/>
                                    </a:lnTo>
                                    <a:lnTo>
                                      <a:pt x="254" y="8"/>
                                    </a:lnTo>
                                    <a:lnTo>
                                      <a:pt x="260" y="10"/>
                                    </a:lnTo>
                                    <a:lnTo>
                                      <a:pt x="268" y="10"/>
                                    </a:lnTo>
                                    <a:lnTo>
                                      <a:pt x="268" y="10"/>
                                    </a:lnTo>
                                    <a:lnTo>
                                      <a:pt x="280" y="8"/>
                                    </a:lnTo>
                                    <a:lnTo>
                                      <a:pt x="292" y="10"/>
                                    </a:lnTo>
                                    <a:lnTo>
                                      <a:pt x="300" y="10"/>
                                    </a:lnTo>
                                    <a:lnTo>
                                      <a:pt x="302" y="10"/>
                                    </a:lnTo>
                                    <a:lnTo>
                                      <a:pt x="302" y="8"/>
                                    </a:lnTo>
                                    <a:lnTo>
                                      <a:pt x="302" y="8"/>
                                    </a:lnTo>
                                    <a:lnTo>
                                      <a:pt x="302" y="6"/>
                                    </a:lnTo>
                                    <a:lnTo>
                                      <a:pt x="306" y="4"/>
                                    </a:lnTo>
                                    <a:lnTo>
                                      <a:pt x="314" y="4"/>
                                    </a:lnTo>
                                    <a:lnTo>
                                      <a:pt x="322" y="6"/>
                                    </a:lnTo>
                                    <a:lnTo>
                                      <a:pt x="322" y="6"/>
                                    </a:lnTo>
                                    <a:lnTo>
                                      <a:pt x="332" y="8"/>
                                    </a:lnTo>
                                    <a:lnTo>
                                      <a:pt x="340" y="8"/>
                                    </a:lnTo>
                                    <a:lnTo>
                                      <a:pt x="354" y="4"/>
                                    </a:lnTo>
                                    <a:lnTo>
                                      <a:pt x="354" y="4"/>
                                    </a:lnTo>
                                    <a:lnTo>
                                      <a:pt x="362" y="4"/>
                                    </a:lnTo>
                                    <a:lnTo>
                                      <a:pt x="368" y="6"/>
                                    </a:lnTo>
                                    <a:lnTo>
                                      <a:pt x="372" y="8"/>
                                    </a:lnTo>
                                    <a:lnTo>
                                      <a:pt x="380" y="6"/>
                                    </a:lnTo>
                                    <a:lnTo>
                                      <a:pt x="380" y="6"/>
                                    </a:lnTo>
                                    <a:lnTo>
                                      <a:pt x="386" y="6"/>
                                    </a:lnTo>
                                    <a:lnTo>
                                      <a:pt x="390" y="8"/>
                                    </a:lnTo>
                                    <a:lnTo>
                                      <a:pt x="394" y="10"/>
                                    </a:lnTo>
                                    <a:lnTo>
                                      <a:pt x="400" y="8"/>
                                    </a:lnTo>
                                    <a:lnTo>
                                      <a:pt x="400" y="8"/>
                                    </a:lnTo>
                                    <a:lnTo>
                                      <a:pt x="406" y="8"/>
                                    </a:lnTo>
                                    <a:lnTo>
                                      <a:pt x="408" y="8"/>
                                    </a:lnTo>
                                    <a:lnTo>
                                      <a:pt x="412" y="8"/>
                                    </a:lnTo>
                                    <a:lnTo>
                                      <a:pt x="424" y="6"/>
                                    </a:lnTo>
                                    <a:lnTo>
                                      <a:pt x="424" y="6"/>
                                    </a:lnTo>
                                    <a:lnTo>
                                      <a:pt x="450" y="2"/>
                                    </a:lnTo>
                                    <a:lnTo>
                                      <a:pt x="456" y="4"/>
                                    </a:lnTo>
                                    <a:lnTo>
                                      <a:pt x="458" y="4"/>
                                    </a:lnTo>
                                    <a:lnTo>
                                      <a:pt x="456" y="6"/>
                                    </a:lnTo>
                                    <a:lnTo>
                                      <a:pt x="456" y="6"/>
                                    </a:lnTo>
                                    <a:lnTo>
                                      <a:pt x="452" y="10"/>
                                    </a:lnTo>
                                    <a:lnTo>
                                      <a:pt x="454" y="10"/>
                                    </a:lnTo>
                                    <a:lnTo>
                                      <a:pt x="474" y="4"/>
                                    </a:lnTo>
                                    <a:lnTo>
                                      <a:pt x="474" y="4"/>
                                    </a:lnTo>
                                    <a:lnTo>
                                      <a:pt x="482" y="2"/>
                                    </a:lnTo>
                                    <a:lnTo>
                                      <a:pt x="486" y="0"/>
                                    </a:lnTo>
                                    <a:lnTo>
                                      <a:pt x="494" y="2"/>
                                    </a:lnTo>
                                    <a:lnTo>
                                      <a:pt x="500" y="6"/>
                                    </a:lnTo>
                                    <a:lnTo>
                                      <a:pt x="504" y="6"/>
                                    </a:lnTo>
                                    <a:lnTo>
                                      <a:pt x="508" y="6"/>
                                    </a:lnTo>
                                    <a:lnTo>
                                      <a:pt x="508" y="6"/>
                                    </a:lnTo>
                                    <a:lnTo>
                                      <a:pt x="518" y="4"/>
                                    </a:lnTo>
                                    <a:lnTo>
                                      <a:pt x="524" y="6"/>
                                    </a:lnTo>
                                    <a:lnTo>
                                      <a:pt x="530" y="8"/>
                                    </a:lnTo>
                                    <a:lnTo>
                                      <a:pt x="540" y="8"/>
                                    </a:lnTo>
                                    <a:lnTo>
                                      <a:pt x="540" y="8"/>
                                    </a:lnTo>
                                    <a:lnTo>
                                      <a:pt x="550" y="8"/>
                                    </a:lnTo>
                                    <a:lnTo>
                                      <a:pt x="556" y="10"/>
                                    </a:lnTo>
                                    <a:lnTo>
                                      <a:pt x="560" y="12"/>
                                    </a:lnTo>
                                    <a:lnTo>
                                      <a:pt x="568" y="10"/>
                                    </a:lnTo>
                                    <a:lnTo>
                                      <a:pt x="568" y="10"/>
                                    </a:lnTo>
                                    <a:lnTo>
                                      <a:pt x="576" y="8"/>
                                    </a:lnTo>
                                    <a:lnTo>
                                      <a:pt x="584" y="8"/>
                                    </a:lnTo>
                                    <a:lnTo>
                                      <a:pt x="592" y="10"/>
                                    </a:lnTo>
                                    <a:lnTo>
                                      <a:pt x="600" y="10"/>
                                    </a:lnTo>
                                    <a:lnTo>
                                      <a:pt x="600" y="10"/>
                                    </a:lnTo>
                                    <a:lnTo>
                                      <a:pt x="606" y="10"/>
                                    </a:lnTo>
                                    <a:lnTo>
                                      <a:pt x="612" y="10"/>
                                    </a:lnTo>
                                    <a:lnTo>
                                      <a:pt x="618" y="14"/>
                                    </a:lnTo>
                                    <a:lnTo>
                                      <a:pt x="618" y="14"/>
                                    </a:lnTo>
                                    <a:lnTo>
                                      <a:pt x="618" y="14"/>
                                    </a:lnTo>
                                    <a:lnTo>
                                      <a:pt x="620" y="12"/>
                                    </a:lnTo>
                                    <a:lnTo>
                                      <a:pt x="622" y="10"/>
                                    </a:lnTo>
                                    <a:lnTo>
                                      <a:pt x="624" y="8"/>
                                    </a:lnTo>
                                    <a:lnTo>
                                      <a:pt x="624" y="8"/>
                                    </a:lnTo>
                                    <a:lnTo>
                                      <a:pt x="630" y="8"/>
                                    </a:lnTo>
                                    <a:lnTo>
                                      <a:pt x="636" y="8"/>
                                    </a:lnTo>
                                    <a:lnTo>
                                      <a:pt x="640" y="8"/>
                                    </a:lnTo>
                                    <a:lnTo>
                                      <a:pt x="640" y="8"/>
                                    </a:lnTo>
                                    <a:lnTo>
                                      <a:pt x="646" y="12"/>
                                    </a:lnTo>
                                    <a:lnTo>
                                      <a:pt x="646" y="12"/>
                                    </a:lnTo>
                                    <a:lnTo>
                                      <a:pt x="640" y="14"/>
                                    </a:lnTo>
                                    <a:lnTo>
                                      <a:pt x="640" y="14"/>
                                    </a:lnTo>
                                    <a:lnTo>
                                      <a:pt x="634" y="16"/>
                                    </a:lnTo>
                                    <a:lnTo>
                                      <a:pt x="630" y="18"/>
                                    </a:lnTo>
                                    <a:lnTo>
                                      <a:pt x="630" y="22"/>
                                    </a:lnTo>
                                    <a:lnTo>
                                      <a:pt x="630" y="22"/>
                                    </a:lnTo>
                                    <a:lnTo>
                                      <a:pt x="634" y="18"/>
                                    </a:lnTo>
                                    <a:lnTo>
                                      <a:pt x="640" y="18"/>
                                    </a:lnTo>
                                    <a:lnTo>
                                      <a:pt x="648" y="18"/>
                                    </a:lnTo>
                                    <a:lnTo>
                                      <a:pt x="648" y="18"/>
                                    </a:lnTo>
                                    <a:lnTo>
                                      <a:pt x="650" y="20"/>
                                    </a:lnTo>
                                    <a:lnTo>
                                      <a:pt x="650" y="22"/>
                                    </a:lnTo>
                                    <a:lnTo>
                                      <a:pt x="638" y="32"/>
                                    </a:lnTo>
                                    <a:lnTo>
                                      <a:pt x="638" y="32"/>
                                    </a:lnTo>
                                    <a:lnTo>
                                      <a:pt x="636" y="34"/>
                                    </a:lnTo>
                                    <a:lnTo>
                                      <a:pt x="638" y="34"/>
                                    </a:lnTo>
                                    <a:lnTo>
                                      <a:pt x="652" y="26"/>
                                    </a:lnTo>
                                    <a:lnTo>
                                      <a:pt x="652" y="26"/>
                                    </a:lnTo>
                                    <a:lnTo>
                                      <a:pt x="654" y="22"/>
                                    </a:lnTo>
                                    <a:lnTo>
                                      <a:pt x="654" y="20"/>
                                    </a:lnTo>
                                    <a:lnTo>
                                      <a:pt x="654" y="16"/>
                                    </a:lnTo>
                                    <a:lnTo>
                                      <a:pt x="658" y="12"/>
                                    </a:lnTo>
                                    <a:lnTo>
                                      <a:pt x="658" y="12"/>
                                    </a:lnTo>
                                    <a:lnTo>
                                      <a:pt x="664" y="8"/>
                                    </a:lnTo>
                                    <a:lnTo>
                                      <a:pt x="672" y="8"/>
                                    </a:lnTo>
                                    <a:lnTo>
                                      <a:pt x="680" y="8"/>
                                    </a:lnTo>
                                    <a:lnTo>
                                      <a:pt x="688" y="8"/>
                                    </a:lnTo>
                                    <a:lnTo>
                                      <a:pt x="688" y="8"/>
                                    </a:lnTo>
                                    <a:lnTo>
                                      <a:pt x="700" y="8"/>
                                    </a:lnTo>
                                    <a:lnTo>
                                      <a:pt x="702" y="10"/>
                                    </a:lnTo>
                                    <a:lnTo>
                                      <a:pt x="702" y="10"/>
                                    </a:lnTo>
                                    <a:lnTo>
                                      <a:pt x="696" y="14"/>
                                    </a:lnTo>
                                    <a:lnTo>
                                      <a:pt x="696" y="14"/>
                                    </a:lnTo>
                                    <a:lnTo>
                                      <a:pt x="692" y="18"/>
                                    </a:lnTo>
                                    <a:lnTo>
                                      <a:pt x="692" y="20"/>
                                    </a:lnTo>
                                    <a:lnTo>
                                      <a:pt x="694" y="20"/>
                                    </a:lnTo>
                                    <a:lnTo>
                                      <a:pt x="690" y="22"/>
                                    </a:lnTo>
                                    <a:lnTo>
                                      <a:pt x="690" y="22"/>
                                    </a:lnTo>
                                    <a:lnTo>
                                      <a:pt x="688" y="24"/>
                                    </a:lnTo>
                                    <a:lnTo>
                                      <a:pt x="690" y="26"/>
                                    </a:lnTo>
                                    <a:lnTo>
                                      <a:pt x="690" y="28"/>
                                    </a:lnTo>
                                    <a:lnTo>
                                      <a:pt x="686" y="32"/>
                                    </a:lnTo>
                                    <a:lnTo>
                                      <a:pt x="686" y="32"/>
                                    </a:lnTo>
                                    <a:lnTo>
                                      <a:pt x="680" y="34"/>
                                    </a:lnTo>
                                    <a:lnTo>
                                      <a:pt x="678" y="34"/>
                                    </a:lnTo>
                                    <a:lnTo>
                                      <a:pt x="674" y="32"/>
                                    </a:lnTo>
                                    <a:lnTo>
                                      <a:pt x="668" y="34"/>
                                    </a:lnTo>
                                    <a:lnTo>
                                      <a:pt x="668" y="34"/>
                                    </a:lnTo>
                                    <a:lnTo>
                                      <a:pt x="662" y="38"/>
                                    </a:lnTo>
                                    <a:lnTo>
                                      <a:pt x="660" y="40"/>
                                    </a:lnTo>
                                    <a:lnTo>
                                      <a:pt x="660" y="42"/>
                                    </a:lnTo>
                                    <a:lnTo>
                                      <a:pt x="664" y="40"/>
                                    </a:lnTo>
                                    <a:lnTo>
                                      <a:pt x="664" y="40"/>
                                    </a:lnTo>
                                    <a:lnTo>
                                      <a:pt x="668" y="38"/>
                                    </a:lnTo>
                                    <a:lnTo>
                                      <a:pt x="672" y="40"/>
                                    </a:lnTo>
                                    <a:lnTo>
                                      <a:pt x="676" y="40"/>
                                    </a:lnTo>
                                    <a:lnTo>
                                      <a:pt x="684" y="40"/>
                                    </a:lnTo>
                                    <a:lnTo>
                                      <a:pt x="684" y="40"/>
                                    </a:lnTo>
                                    <a:lnTo>
                                      <a:pt x="690" y="42"/>
                                    </a:lnTo>
                                    <a:lnTo>
                                      <a:pt x="688" y="42"/>
                                    </a:lnTo>
                                    <a:lnTo>
                                      <a:pt x="670" y="48"/>
                                    </a:lnTo>
                                    <a:lnTo>
                                      <a:pt x="670" y="48"/>
                                    </a:lnTo>
                                    <a:lnTo>
                                      <a:pt x="664" y="50"/>
                                    </a:lnTo>
                                    <a:lnTo>
                                      <a:pt x="660" y="48"/>
                                    </a:lnTo>
                                    <a:lnTo>
                                      <a:pt x="658" y="46"/>
                                    </a:lnTo>
                                    <a:lnTo>
                                      <a:pt x="654" y="46"/>
                                    </a:lnTo>
                                    <a:lnTo>
                                      <a:pt x="654" y="46"/>
                                    </a:lnTo>
                                    <a:lnTo>
                                      <a:pt x="648" y="48"/>
                                    </a:lnTo>
                                    <a:lnTo>
                                      <a:pt x="648" y="52"/>
                                    </a:lnTo>
                                    <a:lnTo>
                                      <a:pt x="650" y="54"/>
                                    </a:lnTo>
                                    <a:lnTo>
                                      <a:pt x="656" y="58"/>
                                    </a:lnTo>
                                    <a:lnTo>
                                      <a:pt x="656" y="58"/>
                                    </a:lnTo>
                                    <a:lnTo>
                                      <a:pt x="658" y="58"/>
                                    </a:lnTo>
                                    <a:lnTo>
                                      <a:pt x="658" y="60"/>
                                    </a:lnTo>
                                    <a:lnTo>
                                      <a:pt x="654" y="62"/>
                                    </a:lnTo>
                                    <a:lnTo>
                                      <a:pt x="648" y="64"/>
                                    </a:lnTo>
                                    <a:lnTo>
                                      <a:pt x="648" y="66"/>
                                    </a:lnTo>
                                    <a:lnTo>
                                      <a:pt x="650" y="68"/>
                                    </a:lnTo>
                                    <a:lnTo>
                                      <a:pt x="650" y="68"/>
                                    </a:lnTo>
                                    <a:lnTo>
                                      <a:pt x="656" y="72"/>
                                    </a:lnTo>
                                    <a:lnTo>
                                      <a:pt x="650" y="76"/>
                                    </a:lnTo>
                                    <a:lnTo>
                                      <a:pt x="650" y="76"/>
                                    </a:lnTo>
                                    <a:lnTo>
                                      <a:pt x="646" y="76"/>
                                    </a:lnTo>
                                    <a:lnTo>
                                      <a:pt x="640" y="76"/>
                                    </a:lnTo>
                                    <a:lnTo>
                                      <a:pt x="638" y="74"/>
                                    </a:lnTo>
                                    <a:lnTo>
                                      <a:pt x="640" y="76"/>
                                    </a:lnTo>
                                    <a:lnTo>
                                      <a:pt x="640" y="76"/>
                                    </a:lnTo>
                                    <a:lnTo>
                                      <a:pt x="640" y="78"/>
                                    </a:lnTo>
                                    <a:lnTo>
                                      <a:pt x="640" y="80"/>
                                    </a:lnTo>
                                    <a:lnTo>
                                      <a:pt x="632" y="82"/>
                                    </a:lnTo>
                                    <a:lnTo>
                                      <a:pt x="624" y="82"/>
                                    </a:lnTo>
                                    <a:lnTo>
                                      <a:pt x="614" y="82"/>
                                    </a:lnTo>
                                    <a:lnTo>
                                      <a:pt x="614" y="82"/>
                                    </a:lnTo>
                                    <a:lnTo>
                                      <a:pt x="608" y="80"/>
                                    </a:lnTo>
                                    <a:lnTo>
                                      <a:pt x="604" y="82"/>
                                    </a:lnTo>
                                    <a:lnTo>
                                      <a:pt x="598" y="82"/>
                                    </a:lnTo>
                                    <a:lnTo>
                                      <a:pt x="590" y="82"/>
                                    </a:lnTo>
                                    <a:lnTo>
                                      <a:pt x="590" y="82"/>
                                    </a:lnTo>
                                    <a:lnTo>
                                      <a:pt x="584" y="80"/>
                                    </a:lnTo>
                                    <a:lnTo>
                                      <a:pt x="580" y="80"/>
                                    </a:lnTo>
                                    <a:lnTo>
                                      <a:pt x="570" y="82"/>
                                    </a:lnTo>
                                    <a:lnTo>
                                      <a:pt x="570" y="82"/>
                                    </a:lnTo>
                                    <a:lnTo>
                                      <a:pt x="564" y="84"/>
                                    </a:lnTo>
                                    <a:lnTo>
                                      <a:pt x="562" y="86"/>
                                    </a:lnTo>
                                    <a:lnTo>
                                      <a:pt x="564" y="88"/>
                                    </a:lnTo>
                                    <a:lnTo>
                                      <a:pt x="568" y="88"/>
                                    </a:lnTo>
                                    <a:lnTo>
                                      <a:pt x="568" y="88"/>
                                    </a:lnTo>
                                    <a:lnTo>
                                      <a:pt x="574" y="88"/>
                                    </a:lnTo>
                                    <a:lnTo>
                                      <a:pt x="574" y="92"/>
                                    </a:lnTo>
                                    <a:lnTo>
                                      <a:pt x="574" y="94"/>
                                    </a:lnTo>
                                    <a:lnTo>
                                      <a:pt x="578" y="94"/>
                                    </a:lnTo>
                                    <a:lnTo>
                                      <a:pt x="578" y="94"/>
                                    </a:lnTo>
                                    <a:lnTo>
                                      <a:pt x="580" y="94"/>
                                    </a:lnTo>
                                    <a:lnTo>
                                      <a:pt x="582" y="94"/>
                                    </a:lnTo>
                                    <a:lnTo>
                                      <a:pt x="584" y="96"/>
                                    </a:lnTo>
                                    <a:lnTo>
                                      <a:pt x="588" y="96"/>
                                    </a:lnTo>
                                    <a:lnTo>
                                      <a:pt x="588" y="96"/>
                                    </a:lnTo>
                                    <a:lnTo>
                                      <a:pt x="592" y="98"/>
                                    </a:lnTo>
                                    <a:lnTo>
                                      <a:pt x="598" y="94"/>
                                    </a:lnTo>
                                    <a:lnTo>
                                      <a:pt x="598" y="94"/>
                                    </a:lnTo>
                                    <a:lnTo>
                                      <a:pt x="602" y="92"/>
                                    </a:lnTo>
                                    <a:lnTo>
                                      <a:pt x="604" y="94"/>
                                    </a:lnTo>
                                    <a:lnTo>
                                      <a:pt x="606" y="98"/>
                                    </a:lnTo>
                                    <a:lnTo>
                                      <a:pt x="608" y="96"/>
                                    </a:lnTo>
                                    <a:lnTo>
                                      <a:pt x="608" y="96"/>
                                    </a:lnTo>
                                    <a:lnTo>
                                      <a:pt x="612" y="96"/>
                                    </a:lnTo>
                                    <a:lnTo>
                                      <a:pt x="614" y="98"/>
                                    </a:lnTo>
                                    <a:lnTo>
                                      <a:pt x="616" y="100"/>
                                    </a:lnTo>
                                    <a:lnTo>
                                      <a:pt x="616" y="106"/>
                                    </a:lnTo>
                                    <a:lnTo>
                                      <a:pt x="616" y="106"/>
                                    </a:lnTo>
                                    <a:lnTo>
                                      <a:pt x="614" y="110"/>
                                    </a:lnTo>
                                    <a:lnTo>
                                      <a:pt x="612" y="112"/>
                                    </a:lnTo>
                                    <a:lnTo>
                                      <a:pt x="608" y="112"/>
                                    </a:lnTo>
                                    <a:lnTo>
                                      <a:pt x="606" y="114"/>
                                    </a:lnTo>
                                    <a:lnTo>
                                      <a:pt x="606" y="114"/>
                                    </a:lnTo>
                                    <a:lnTo>
                                      <a:pt x="604" y="116"/>
                                    </a:lnTo>
                                    <a:lnTo>
                                      <a:pt x="602" y="116"/>
                                    </a:lnTo>
                                    <a:lnTo>
                                      <a:pt x="594" y="116"/>
                                    </a:lnTo>
                                    <a:lnTo>
                                      <a:pt x="586" y="112"/>
                                    </a:lnTo>
                                    <a:lnTo>
                                      <a:pt x="582" y="108"/>
                                    </a:lnTo>
                                    <a:lnTo>
                                      <a:pt x="582" y="108"/>
                                    </a:lnTo>
                                    <a:lnTo>
                                      <a:pt x="576" y="106"/>
                                    </a:lnTo>
                                    <a:lnTo>
                                      <a:pt x="570" y="104"/>
                                    </a:lnTo>
                                    <a:lnTo>
                                      <a:pt x="558" y="102"/>
                                    </a:lnTo>
                                    <a:lnTo>
                                      <a:pt x="558" y="102"/>
                                    </a:lnTo>
                                    <a:lnTo>
                                      <a:pt x="546" y="100"/>
                                    </a:lnTo>
                                    <a:lnTo>
                                      <a:pt x="540" y="98"/>
                                    </a:lnTo>
                                    <a:lnTo>
                                      <a:pt x="532" y="98"/>
                                    </a:lnTo>
                                    <a:lnTo>
                                      <a:pt x="532" y="98"/>
                                    </a:lnTo>
                                    <a:lnTo>
                                      <a:pt x="528" y="100"/>
                                    </a:lnTo>
                                    <a:lnTo>
                                      <a:pt x="532" y="100"/>
                                    </a:lnTo>
                                    <a:lnTo>
                                      <a:pt x="542" y="102"/>
                                    </a:lnTo>
                                    <a:lnTo>
                                      <a:pt x="550" y="104"/>
                                    </a:lnTo>
                                    <a:lnTo>
                                      <a:pt x="550" y="104"/>
                                    </a:lnTo>
                                    <a:lnTo>
                                      <a:pt x="552" y="106"/>
                                    </a:lnTo>
                                    <a:lnTo>
                                      <a:pt x="550" y="108"/>
                                    </a:lnTo>
                                    <a:lnTo>
                                      <a:pt x="544" y="108"/>
                                    </a:lnTo>
                                    <a:lnTo>
                                      <a:pt x="536" y="110"/>
                                    </a:lnTo>
                                    <a:lnTo>
                                      <a:pt x="536" y="110"/>
                                    </a:lnTo>
                                    <a:lnTo>
                                      <a:pt x="526" y="116"/>
                                    </a:lnTo>
                                    <a:lnTo>
                                      <a:pt x="524" y="118"/>
                                    </a:lnTo>
                                    <a:lnTo>
                                      <a:pt x="526" y="118"/>
                                    </a:lnTo>
                                    <a:lnTo>
                                      <a:pt x="532" y="118"/>
                                    </a:lnTo>
                                    <a:lnTo>
                                      <a:pt x="532" y="118"/>
                                    </a:lnTo>
                                    <a:lnTo>
                                      <a:pt x="538" y="120"/>
                                    </a:lnTo>
                                    <a:lnTo>
                                      <a:pt x="536" y="122"/>
                                    </a:lnTo>
                                    <a:lnTo>
                                      <a:pt x="532" y="124"/>
                                    </a:lnTo>
                                    <a:lnTo>
                                      <a:pt x="532" y="124"/>
                                    </a:lnTo>
                                    <a:lnTo>
                                      <a:pt x="534" y="124"/>
                                    </a:lnTo>
                                    <a:lnTo>
                                      <a:pt x="534" y="124"/>
                                    </a:lnTo>
                                    <a:lnTo>
                                      <a:pt x="544" y="120"/>
                                    </a:lnTo>
                                    <a:lnTo>
                                      <a:pt x="552" y="116"/>
                                    </a:lnTo>
                                    <a:lnTo>
                                      <a:pt x="552" y="116"/>
                                    </a:lnTo>
                                    <a:lnTo>
                                      <a:pt x="556" y="116"/>
                                    </a:lnTo>
                                    <a:lnTo>
                                      <a:pt x="564" y="118"/>
                                    </a:lnTo>
                                    <a:lnTo>
                                      <a:pt x="572" y="120"/>
                                    </a:lnTo>
                                    <a:lnTo>
                                      <a:pt x="582" y="120"/>
                                    </a:lnTo>
                                    <a:lnTo>
                                      <a:pt x="582" y="120"/>
                                    </a:lnTo>
                                    <a:lnTo>
                                      <a:pt x="592" y="120"/>
                                    </a:lnTo>
                                    <a:lnTo>
                                      <a:pt x="594" y="122"/>
                                    </a:lnTo>
                                    <a:lnTo>
                                      <a:pt x="594" y="122"/>
                                    </a:lnTo>
                                    <a:lnTo>
                                      <a:pt x="594" y="122"/>
                                    </a:lnTo>
                                    <a:lnTo>
                                      <a:pt x="592" y="124"/>
                                    </a:lnTo>
                                    <a:lnTo>
                                      <a:pt x="586" y="124"/>
                                    </a:lnTo>
                                    <a:lnTo>
                                      <a:pt x="580" y="126"/>
                                    </a:lnTo>
                                    <a:lnTo>
                                      <a:pt x="578" y="128"/>
                                    </a:lnTo>
                                    <a:lnTo>
                                      <a:pt x="580" y="128"/>
                                    </a:lnTo>
                                    <a:lnTo>
                                      <a:pt x="580" y="128"/>
                                    </a:lnTo>
                                    <a:lnTo>
                                      <a:pt x="580" y="130"/>
                                    </a:lnTo>
                                    <a:lnTo>
                                      <a:pt x="578" y="130"/>
                                    </a:lnTo>
                                    <a:lnTo>
                                      <a:pt x="570" y="132"/>
                                    </a:lnTo>
                                    <a:lnTo>
                                      <a:pt x="564" y="132"/>
                                    </a:lnTo>
                                    <a:lnTo>
                                      <a:pt x="562" y="132"/>
                                    </a:lnTo>
                                    <a:lnTo>
                                      <a:pt x="562" y="134"/>
                                    </a:lnTo>
                                    <a:lnTo>
                                      <a:pt x="562" y="134"/>
                                    </a:lnTo>
                                    <a:lnTo>
                                      <a:pt x="562" y="136"/>
                                    </a:lnTo>
                                    <a:lnTo>
                                      <a:pt x="560" y="136"/>
                                    </a:lnTo>
                                    <a:lnTo>
                                      <a:pt x="552" y="136"/>
                                    </a:lnTo>
                                    <a:lnTo>
                                      <a:pt x="544" y="136"/>
                                    </a:lnTo>
                                    <a:lnTo>
                                      <a:pt x="542" y="136"/>
                                    </a:lnTo>
                                    <a:lnTo>
                                      <a:pt x="542" y="138"/>
                                    </a:lnTo>
                                    <a:lnTo>
                                      <a:pt x="542" y="138"/>
                                    </a:lnTo>
                                    <a:lnTo>
                                      <a:pt x="544" y="140"/>
                                    </a:lnTo>
                                    <a:lnTo>
                                      <a:pt x="542" y="140"/>
                                    </a:lnTo>
                                    <a:lnTo>
                                      <a:pt x="534" y="140"/>
                                    </a:lnTo>
                                    <a:lnTo>
                                      <a:pt x="526" y="142"/>
                                    </a:lnTo>
                                    <a:lnTo>
                                      <a:pt x="524" y="142"/>
                                    </a:lnTo>
                                    <a:lnTo>
                                      <a:pt x="524" y="144"/>
                                    </a:lnTo>
                                    <a:lnTo>
                                      <a:pt x="524" y="144"/>
                                    </a:lnTo>
                                    <a:lnTo>
                                      <a:pt x="524" y="146"/>
                                    </a:lnTo>
                                    <a:lnTo>
                                      <a:pt x="522" y="146"/>
                                    </a:lnTo>
                                    <a:lnTo>
                                      <a:pt x="516" y="146"/>
                                    </a:lnTo>
                                    <a:lnTo>
                                      <a:pt x="508" y="146"/>
                                    </a:lnTo>
                                    <a:lnTo>
                                      <a:pt x="500" y="148"/>
                                    </a:lnTo>
                                    <a:lnTo>
                                      <a:pt x="500" y="148"/>
                                    </a:lnTo>
                                    <a:lnTo>
                                      <a:pt x="494" y="148"/>
                                    </a:lnTo>
                                    <a:lnTo>
                                      <a:pt x="490" y="148"/>
                                    </a:lnTo>
                                    <a:lnTo>
                                      <a:pt x="486" y="148"/>
                                    </a:lnTo>
                                    <a:lnTo>
                                      <a:pt x="482" y="150"/>
                                    </a:lnTo>
                                    <a:lnTo>
                                      <a:pt x="482" y="150"/>
                                    </a:lnTo>
                                    <a:lnTo>
                                      <a:pt x="476" y="152"/>
                                    </a:lnTo>
                                    <a:lnTo>
                                      <a:pt x="472" y="150"/>
                                    </a:lnTo>
                                    <a:lnTo>
                                      <a:pt x="466" y="150"/>
                                    </a:lnTo>
                                    <a:lnTo>
                                      <a:pt x="460" y="152"/>
                                    </a:lnTo>
                                    <a:lnTo>
                                      <a:pt x="460" y="152"/>
                                    </a:lnTo>
                                    <a:lnTo>
                                      <a:pt x="454" y="152"/>
                                    </a:lnTo>
                                    <a:lnTo>
                                      <a:pt x="450" y="150"/>
                                    </a:lnTo>
                                    <a:lnTo>
                                      <a:pt x="448" y="146"/>
                                    </a:lnTo>
                                    <a:lnTo>
                                      <a:pt x="444" y="144"/>
                                    </a:lnTo>
                                    <a:lnTo>
                                      <a:pt x="444" y="144"/>
                                    </a:lnTo>
                                    <a:lnTo>
                                      <a:pt x="442" y="144"/>
                                    </a:lnTo>
                                    <a:lnTo>
                                      <a:pt x="442" y="144"/>
                                    </a:lnTo>
                                    <a:lnTo>
                                      <a:pt x="442" y="148"/>
                                    </a:lnTo>
                                    <a:lnTo>
                                      <a:pt x="442" y="150"/>
                                    </a:lnTo>
                                    <a:lnTo>
                                      <a:pt x="440" y="150"/>
                                    </a:lnTo>
                                    <a:lnTo>
                                      <a:pt x="436" y="150"/>
                                    </a:lnTo>
                                    <a:lnTo>
                                      <a:pt x="436" y="150"/>
                                    </a:lnTo>
                                    <a:lnTo>
                                      <a:pt x="432" y="150"/>
                                    </a:lnTo>
                                    <a:lnTo>
                                      <a:pt x="430" y="152"/>
                                    </a:lnTo>
                                    <a:lnTo>
                                      <a:pt x="426" y="156"/>
                                    </a:lnTo>
                                    <a:lnTo>
                                      <a:pt x="422" y="162"/>
                                    </a:lnTo>
                                    <a:lnTo>
                                      <a:pt x="420" y="164"/>
                                    </a:lnTo>
                                    <a:lnTo>
                                      <a:pt x="418" y="162"/>
                                    </a:lnTo>
                                    <a:lnTo>
                                      <a:pt x="418" y="162"/>
                                    </a:lnTo>
                                    <a:lnTo>
                                      <a:pt x="414" y="162"/>
                                    </a:lnTo>
                                    <a:lnTo>
                                      <a:pt x="412" y="162"/>
                                    </a:lnTo>
                                    <a:lnTo>
                                      <a:pt x="408" y="166"/>
                                    </a:lnTo>
                                    <a:lnTo>
                                      <a:pt x="402" y="170"/>
                                    </a:lnTo>
                                    <a:lnTo>
                                      <a:pt x="398" y="170"/>
                                    </a:lnTo>
                                    <a:lnTo>
                                      <a:pt x="398" y="170"/>
                                    </a:lnTo>
                                    <a:lnTo>
                                      <a:pt x="390" y="170"/>
                                    </a:lnTo>
                                    <a:lnTo>
                                      <a:pt x="384" y="170"/>
                                    </a:lnTo>
                                    <a:lnTo>
                                      <a:pt x="380" y="172"/>
                                    </a:lnTo>
                                    <a:lnTo>
                                      <a:pt x="378" y="174"/>
                                    </a:lnTo>
                                    <a:lnTo>
                                      <a:pt x="380" y="176"/>
                                    </a:lnTo>
                                    <a:lnTo>
                                      <a:pt x="380" y="176"/>
                                    </a:lnTo>
                                    <a:lnTo>
                                      <a:pt x="380" y="178"/>
                                    </a:lnTo>
                                    <a:lnTo>
                                      <a:pt x="378" y="178"/>
                                    </a:lnTo>
                                    <a:lnTo>
                                      <a:pt x="372" y="180"/>
                                    </a:lnTo>
                                    <a:lnTo>
                                      <a:pt x="362" y="180"/>
                                    </a:lnTo>
                                    <a:lnTo>
                                      <a:pt x="362" y="180"/>
                                    </a:lnTo>
                                    <a:lnTo>
                                      <a:pt x="360" y="176"/>
                                    </a:lnTo>
                                    <a:lnTo>
                                      <a:pt x="360" y="176"/>
                                    </a:lnTo>
                                    <a:lnTo>
                                      <a:pt x="356" y="172"/>
                                    </a:lnTo>
                                    <a:lnTo>
                                      <a:pt x="350" y="172"/>
                                    </a:lnTo>
                                    <a:lnTo>
                                      <a:pt x="344" y="174"/>
                                    </a:lnTo>
                                    <a:lnTo>
                                      <a:pt x="344" y="176"/>
                                    </a:lnTo>
                                    <a:lnTo>
                                      <a:pt x="344" y="178"/>
                                    </a:lnTo>
                                    <a:lnTo>
                                      <a:pt x="344" y="178"/>
                                    </a:lnTo>
                                    <a:lnTo>
                                      <a:pt x="344" y="180"/>
                                    </a:lnTo>
                                    <a:lnTo>
                                      <a:pt x="344" y="182"/>
                                    </a:lnTo>
                                    <a:lnTo>
                                      <a:pt x="338" y="182"/>
                                    </a:lnTo>
                                    <a:lnTo>
                                      <a:pt x="324" y="182"/>
                                    </a:lnTo>
                                    <a:lnTo>
                                      <a:pt x="324" y="182"/>
                                    </a:lnTo>
                                    <a:lnTo>
                                      <a:pt x="318" y="182"/>
                                    </a:lnTo>
                                    <a:lnTo>
                                      <a:pt x="312" y="184"/>
                                    </a:lnTo>
                                    <a:lnTo>
                                      <a:pt x="310" y="188"/>
                                    </a:lnTo>
                                    <a:lnTo>
                                      <a:pt x="314" y="190"/>
                                    </a:lnTo>
                                    <a:lnTo>
                                      <a:pt x="314" y="190"/>
                                    </a:lnTo>
                                    <a:lnTo>
                                      <a:pt x="314" y="192"/>
                                    </a:lnTo>
                                    <a:lnTo>
                                      <a:pt x="312" y="194"/>
                                    </a:lnTo>
                                    <a:lnTo>
                                      <a:pt x="296" y="192"/>
                                    </a:lnTo>
                                    <a:lnTo>
                                      <a:pt x="296" y="192"/>
                                    </a:lnTo>
                                    <a:lnTo>
                                      <a:pt x="290" y="192"/>
                                    </a:lnTo>
                                    <a:lnTo>
                                      <a:pt x="288" y="194"/>
                                    </a:lnTo>
                                    <a:lnTo>
                                      <a:pt x="290" y="198"/>
                                    </a:lnTo>
                                    <a:lnTo>
                                      <a:pt x="296" y="202"/>
                                    </a:lnTo>
                                    <a:lnTo>
                                      <a:pt x="296" y="202"/>
                                    </a:lnTo>
                                    <a:lnTo>
                                      <a:pt x="298" y="204"/>
                                    </a:lnTo>
                                    <a:lnTo>
                                      <a:pt x="296" y="204"/>
                                    </a:lnTo>
                                    <a:lnTo>
                                      <a:pt x="292" y="206"/>
                                    </a:lnTo>
                                    <a:lnTo>
                                      <a:pt x="286" y="208"/>
                                    </a:lnTo>
                                    <a:lnTo>
                                      <a:pt x="284" y="208"/>
                                    </a:lnTo>
                                    <a:lnTo>
                                      <a:pt x="284" y="210"/>
                                    </a:lnTo>
                                    <a:lnTo>
                                      <a:pt x="284" y="210"/>
                                    </a:lnTo>
                                    <a:lnTo>
                                      <a:pt x="286" y="210"/>
                                    </a:lnTo>
                                    <a:lnTo>
                                      <a:pt x="284" y="212"/>
                                    </a:lnTo>
                                    <a:lnTo>
                                      <a:pt x="280" y="214"/>
                                    </a:lnTo>
                                    <a:lnTo>
                                      <a:pt x="274" y="216"/>
                                    </a:lnTo>
                                    <a:lnTo>
                                      <a:pt x="274" y="218"/>
                                    </a:lnTo>
                                    <a:lnTo>
                                      <a:pt x="274" y="218"/>
                                    </a:lnTo>
                                    <a:lnTo>
                                      <a:pt x="274" y="218"/>
                                    </a:lnTo>
                                    <a:lnTo>
                                      <a:pt x="274" y="218"/>
                                    </a:lnTo>
                                    <a:lnTo>
                                      <a:pt x="272" y="220"/>
                                    </a:lnTo>
                                    <a:lnTo>
                                      <a:pt x="266" y="220"/>
                                    </a:lnTo>
                                    <a:lnTo>
                                      <a:pt x="260" y="222"/>
                                    </a:lnTo>
                                    <a:lnTo>
                                      <a:pt x="260" y="224"/>
                                    </a:lnTo>
                                    <a:lnTo>
                                      <a:pt x="260" y="224"/>
                                    </a:lnTo>
                                    <a:lnTo>
                                      <a:pt x="260" y="224"/>
                                    </a:lnTo>
                                    <a:lnTo>
                                      <a:pt x="260" y="226"/>
                                    </a:lnTo>
                                    <a:lnTo>
                                      <a:pt x="258" y="226"/>
                                    </a:lnTo>
                                    <a:lnTo>
                                      <a:pt x="252" y="228"/>
                                    </a:lnTo>
                                    <a:lnTo>
                                      <a:pt x="248" y="230"/>
                                    </a:lnTo>
                                    <a:lnTo>
                                      <a:pt x="246" y="232"/>
                                    </a:lnTo>
                                    <a:lnTo>
                                      <a:pt x="250" y="236"/>
                                    </a:lnTo>
                                    <a:lnTo>
                                      <a:pt x="250" y="236"/>
                                    </a:lnTo>
                                    <a:lnTo>
                                      <a:pt x="252" y="238"/>
                                    </a:lnTo>
                                    <a:lnTo>
                                      <a:pt x="252" y="240"/>
                                    </a:lnTo>
                                    <a:lnTo>
                                      <a:pt x="248" y="242"/>
                                    </a:lnTo>
                                    <a:lnTo>
                                      <a:pt x="244" y="246"/>
                                    </a:lnTo>
                                    <a:lnTo>
                                      <a:pt x="242" y="246"/>
                                    </a:lnTo>
                                    <a:lnTo>
                                      <a:pt x="244" y="248"/>
                                    </a:lnTo>
                                    <a:lnTo>
                                      <a:pt x="244" y="248"/>
                                    </a:lnTo>
                                    <a:lnTo>
                                      <a:pt x="246" y="250"/>
                                    </a:lnTo>
                                    <a:lnTo>
                                      <a:pt x="244" y="250"/>
                                    </a:lnTo>
                                    <a:lnTo>
                                      <a:pt x="238" y="252"/>
                                    </a:lnTo>
                                    <a:lnTo>
                                      <a:pt x="234" y="254"/>
                                    </a:lnTo>
                                    <a:lnTo>
                                      <a:pt x="232" y="256"/>
                                    </a:lnTo>
                                    <a:lnTo>
                                      <a:pt x="234" y="256"/>
                                    </a:lnTo>
                                    <a:lnTo>
                                      <a:pt x="234" y="256"/>
                                    </a:lnTo>
                                    <a:lnTo>
                                      <a:pt x="236" y="258"/>
                                    </a:lnTo>
                                    <a:lnTo>
                                      <a:pt x="236" y="258"/>
                                    </a:lnTo>
                                    <a:lnTo>
                                      <a:pt x="230" y="260"/>
                                    </a:lnTo>
                                    <a:lnTo>
                                      <a:pt x="224" y="262"/>
                                    </a:lnTo>
                                    <a:lnTo>
                                      <a:pt x="222" y="264"/>
                                    </a:lnTo>
                                    <a:lnTo>
                                      <a:pt x="222" y="268"/>
                                    </a:lnTo>
                                    <a:lnTo>
                                      <a:pt x="222" y="268"/>
                                    </a:lnTo>
                                    <a:lnTo>
                                      <a:pt x="222" y="274"/>
                                    </a:lnTo>
                                    <a:lnTo>
                                      <a:pt x="220" y="274"/>
                                    </a:lnTo>
                                    <a:lnTo>
                                      <a:pt x="214" y="274"/>
                                    </a:lnTo>
                                    <a:lnTo>
                                      <a:pt x="204" y="274"/>
                                    </a:lnTo>
                                    <a:lnTo>
                                      <a:pt x="204" y="274"/>
                                    </a:lnTo>
                                    <a:lnTo>
                                      <a:pt x="198" y="274"/>
                                    </a:lnTo>
                                    <a:lnTo>
                                      <a:pt x="198" y="274"/>
                                    </a:lnTo>
                                    <a:lnTo>
                                      <a:pt x="198" y="270"/>
                                    </a:lnTo>
                                    <a:lnTo>
                                      <a:pt x="196" y="270"/>
                                    </a:lnTo>
                                    <a:lnTo>
                                      <a:pt x="196" y="270"/>
                                    </a:lnTo>
                                    <a:lnTo>
                                      <a:pt x="194" y="268"/>
                                    </a:lnTo>
                                    <a:lnTo>
                                      <a:pt x="194" y="266"/>
                                    </a:lnTo>
                                    <a:lnTo>
                                      <a:pt x="192" y="264"/>
                                    </a:lnTo>
                                    <a:lnTo>
                                      <a:pt x="188" y="262"/>
                                    </a:lnTo>
                                    <a:lnTo>
                                      <a:pt x="188" y="262"/>
                                    </a:lnTo>
                                    <a:lnTo>
                                      <a:pt x="182" y="260"/>
                                    </a:lnTo>
                                    <a:lnTo>
                                      <a:pt x="182" y="258"/>
                                    </a:lnTo>
                                    <a:lnTo>
                                      <a:pt x="184" y="256"/>
                                    </a:lnTo>
                                    <a:lnTo>
                                      <a:pt x="182" y="256"/>
                                    </a:lnTo>
                                    <a:lnTo>
                                      <a:pt x="182" y="256"/>
                                    </a:lnTo>
                                    <a:lnTo>
                                      <a:pt x="174" y="260"/>
                                    </a:lnTo>
                                    <a:lnTo>
                                      <a:pt x="166" y="262"/>
                                    </a:lnTo>
                                    <a:lnTo>
                                      <a:pt x="166" y="262"/>
                                    </a:lnTo>
                                    <a:lnTo>
                                      <a:pt x="164" y="262"/>
                                    </a:lnTo>
                                    <a:lnTo>
                                      <a:pt x="162" y="262"/>
                                    </a:lnTo>
                                    <a:lnTo>
                                      <a:pt x="160" y="260"/>
                                    </a:lnTo>
                                    <a:lnTo>
                                      <a:pt x="154" y="258"/>
                                    </a:lnTo>
                                    <a:lnTo>
                                      <a:pt x="154" y="258"/>
                                    </a:lnTo>
                                    <a:lnTo>
                                      <a:pt x="148" y="256"/>
                                    </a:lnTo>
                                    <a:lnTo>
                                      <a:pt x="148" y="254"/>
                                    </a:lnTo>
                                    <a:lnTo>
                                      <a:pt x="146" y="250"/>
                                    </a:lnTo>
                                    <a:lnTo>
                                      <a:pt x="140" y="248"/>
                                    </a:lnTo>
                                    <a:lnTo>
                                      <a:pt x="140" y="248"/>
                                    </a:lnTo>
                                    <a:lnTo>
                                      <a:pt x="138" y="246"/>
                                    </a:lnTo>
                                    <a:lnTo>
                                      <a:pt x="136" y="246"/>
                                    </a:lnTo>
                                    <a:lnTo>
                                      <a:pt x="136" y="242"/>
                                    </a:lnTo>
                                    <a:lnTo>
                                      <a:pt x="136" y="238"/>
                                    </a:lnTo>
                                    <a:lnTo>
                                      <a:pt x="136" y="236"/>
                                    </a:lnTo>
                                    <a:lnTo>
                                      <a:pt x="132" y="236"/>
                                    </a:lnTo>
                                    <a:lnTo>
                                      <a:pt x="132" y="236"/>
                                    </a:lnTo>
                                    <a:lnTo>
                                      <a:pt x="128" y="234"/>
                                    </a:lnTo>
                                    <a:lnTo>
                                      <a:pt x="128" y="232"/>
                                    </a:lnTo>
                                    <a:lnTo>
                                      <a:pt x="126" y="230"/>
                                    </a:lnTo>
                                    <a:lnTo>
                                      <a:pt x="122" y="226"/>
                                    </a:lnTo>
                                    <a:lnTo>
                                      <a:pt x="122" y="226"/>
                                    </a:lnTo>
                                    <a:lnTo>
                                      <a:pt x="118" y="224"/>
                                    </a:lnTo>
                                    <a:lnTo>
                                      <a:pt x="116" y="222"/>
                                    </a:lnTo>
                                    <a:lnTo>
                                      <a:pt x="116" y="212"/>
                                    </a:lnTo>
                                    <a:lnTo>
                                      <a:pt x="116" y="212"/>
                                    </a:lnTo>
                                    <a:lnTo>
                                      <a:pt x="116" y="210"/>
                                    </a:lnTo>
                                    <a:lnTo>
                                      <a:pt x="120" y="208"/>
                                    </a:lnTo>
                                    <a:lnTo>
                                      <a:pt x="122" y="208"/>
                                    </a:lnTo>
                                    <a:lnTo>
                                      <a:pt x="124" y="206"/>
                                    </a:lnTo>
                                    <a:lnTo>
                                      <a:pt x="124" y="206"/>
                                    </a:lnTo>
                                    <a:lnTo>
                                      <a:pt x="124" y="204"/>
                                    </a:lnTo>
                                    <a:lnTo>
                                      <a:pt x="126" y="202"/>
                                    </a:lnTo>
                                    <a:lnTo>
                                      <a:pt x="134" y="200"/>
                                    </a:lnTo>
                                    <a:lnTo>
                                      <a:pt x="134" y="200"/>
                                    </a:lnTo>
                                    <a:lnTo>
                                      <a:pt x="130" y="198"/>
                                    </a:lnTo>
                                    <a:lnTo>
                                      <a:pt x="126" y="200"/>
                                    </a:lnTo>
                                    <a:lnTo>
                                      <a:pt x="114" y="204"/>
                                    </a:lnTo>
                                    <a:lnTo>
                                      <a:pt x="114" y="204"/>
                                    </a:lnTo>
                                    <a:lnTo>
                                      <a:pt x="112" y="206"/>
                                    </a:lnTo>
                                    <a:lnTo>
                                      <a:pt x="112" y="204"/>
                                    </a:lnTo>
                                    <a:lnTo>
                                      <a:pt x="110" y="200"/>
                                    </a:lnTo>
                                    <a:lnTo>
                                      <a:pt x="110" y="192"/>
                                    </a:lnTo>
                                    <a:lnTo>
                                      <a:pt x="110" y="190"/>
                                    </a:lnTo>
                                    <a:lnTo>
                                      <a:pt x="108" y="186"/>
                                    </a:lnTo>
                                    <a:lnTo>
                                      <a:pt x="108" y="186"/>
                                    </a:lnTo>
                                    <a:lnTo>
                                      <a:pt x="104" y="182"/>
                                    </a:lnTo>
                                    <a:lnTo>
                                      <a:pt x="104" y="180"/>
                                    </a:lnTo>
                                    <a:lnTo>
                                      <a:pt x="106" y="178"/>
                                    </a:lnTo>
                                    <a:lnTo>
                                      <a:pt x="112" y="178"/>
                                    </a:lnTo>
                                    <a:lnTo>
                                      <a:pt x="112" y="178"/>
                                    </a:lnTo>
                                    <a:lnTo>
                                      <a:pt x="116" y="178"/>
                                    </a:lnTo>
                                    <a:lnTo>
                                      <a:pt x="118" y="178"/>
                                    </a:lnTo>
                                    <a:lnTo>
                                      <a:pt x="116" y="174"/>
                                    </a:lnTo>
                                    <a:lnTo>
                                      <a:pt x="112" y="172"/>
                                    </a:lnTo>
                                    <a:lnTo>
                                      <a:pt x="112" y="172"/>
                                    </a:lnTo>
                                    <a:lnTo>
                                      <a:pt x="108" y="168"/>
                                    </a:lnTo>
                                    <a:lnTo>
                                      <a:pt x="108" y="168"/>
                                    </a:lnTo>
                                    <a:lnTo>
                                      <a:pt x="112" y="166"/>
                                    </a:lnTo>
                                    <a:lnTo>
                                      <a:pt x="114" y="164"/>
                                    </a:lnTo>
                                    <a:lnTo>
                                      <a:pt x="114" y="164"/>
                                    </a:lnTo>
                                    <a:lnTo>
                                      <a:pt x="112" y="162"/>
                                    </a:lnTo>
                                    <a:lnTo>
                                      <a:pt x="112" y="162"/>
                                    </a:lnTo>
                                    <a:lnTo>
                                      <a:pt x="112" y="160"/>
                                    </a:lnTo>
                                    <a:lnTo>
                                      <a:pt x="112" y="158"/>
                                    </a:lnTo>
                                    <a:lnTo>
                                      <a:pt x="118" y="156"/>
                                    </a:lnTo>
                                    <a:lnTo>
                                      <a:pt x="122" y="156"/>
                                    </a:lnTo>
                                    <a:lnTo>
                                      <a:pt x="124" y="154"/>
                                    </a:lnTo>
                                    <a:lnTo>
                                      <a:pt x="122" y="154"/>
                                    </a:lnTo>
                                    <a:lnTo>
                                      <a:pt x="122" y="154"/>
                                    </a:lnTo>
                                    <a:lnTo>
                                      <a:pt x="120" y="152"/>
                                    </a:lnTo>
                                    <a:lnTo>
                                      <a:pt x="122" y="150"/>
                                    </a:lnTo>
                                    <a:lnTo>
                                      <a:pt x="136" y="146"/>
                                    </a:lnTo>
                                    <a:lnTo>
                                      <a:pt x="136" y="146"/>
                                    </a:lnTo>
                                    <a:lnTo>
                                      <a:pt x="142" y="146"/>
                                    </a:lnTo>
                                    <a:lnTo>
                                      <a:pt x="146" y="148"/>
                                    </a:lnTo>
                                    <a:lnTo>
                                      <a:pt x="150" y="150"/>
                                    </a:lnTo>
                                    <a:lnTo>
                                      <a:pt x="156" y="150"/>
                                    </a:lnTo>
                                    <a:lnTo>
                                      <a:pt x="156" y="150"/>
                                    </a:lnTo>
                                    <a:lnTo>
                                      <a:pt x="158" y="148"/>
                                    </a:lnTo>
                                    <a:lnTo>
                                      <a:pt x="156" y="148"/>
                                    </a:lnTo>
                                    <a:lnTo>
                                      <a:pt x="152" y="146"/>
                                    </a:lnTo>
                                    <a:lnTo>
                                      <a:pt x="146" y="144"/>
                                    </a:lnTo>
                                    <a:lnTo>
                                      <a:pt x="146" y="144"/>
                                    </a:lnTo>
                                    <a:lnTo>
                                      <a:pt x="146" y="142"/>
                                    </a:lnTo>
                                    <a:lnTo>
                                      <a:pt x="146" y="142"/>
                                    </a:lnTo>
                                    <a:lnTo>
                                      <a:pt x="152" y="140"/>
                                    </a:lnTo>
                                    <a:lnTo>
                                      <a:pt x="160" y="140"/>
                                    </a:lnTo>
                                    <a:lnTo>
                                      <a:pt x="166" y="140"/>
                                    </a:lnTo>
                                    <a:lnTo>
                                      <a:pt x="166" y="140"/>
                                    </a:lnTo>
                                    <a:lnTo>
                                      <a:pt x="166" y="138"/>
                                    </a:lnTo>
                                    <a:lnTo>
                                      <a:pt x="166" y="138"/>
                                    </a:lnTo>
                                    <a:lnTo>
                                      <a:pt x="166" y="138"/>
                                    </a:lnTo>
                                    <a:lnTo>
                                      <a:pt x="166" y="136"/>
                                    </a:lnTo>
                                    <a:lnTo>
                                      <a:pt x="170" y="136"/>
                                    </a:lnTo>
                                    <a:lnTo>
                                      <a:pt x="174" y="134"/>
                                    </a:lnTo>
                                    <a:lnTo>
                                      <a:pt x="174" y="134"/>
                                    </a:lnTo>
                                    <a:lnTo>
                                      <a:pt x="174" y="132"/>
                                    </a:lnTo>
                                    <a:lnTo>
                                      <a:pt x="174" y="132"/>
                                    </a:lnTo>
                                    <a:lnTo>
                                      <a:pt x="172" y="130"/>
                                    </a:lnTo>
                                    <a:lnTo>
                                      <a:pt x="174" y="128"/>
                                    </a:lnTo>
                                    <a:lnTo>
                                      <a:pt x="176" y="126"/>
                                    </a:lnTo>
                                    <a:lnTo>
                                      <a:pt x="174" y="124"/>
                                    </a:lnTo>
                                    <a:lnTo>
                                      <a:pt x="174" y="124"/>
                                    </a:lnTo>
                                    <a:lnTo>
                                      <a:pt x="172" y="122"/>
                                    </a:lnTo>
                                    <a:lnTo>
                                      <a:pt x="166" y="124"/>
                                    </a:lnTo>
                                    <a:lnTo>
                                      <a:pt x="158" y="126"/>
                                    </a:lnTo>
                                    <a:lnTo>
                                      <a:pt x="158" y="126"/>
                                    </a:lnTo>
                                    <a:lnTo>
                                      <a:pt x="150" y="124"/>
                                    </a:lnTo>
                                    <a:lnTo>
                                      <a:pt x="142" y="120"/>
                                    </a:lnTo>
                                    <a:lnTo>
                                      <a:pt x="142" y="120"/>
                                    </a:lnTo>
                                    <a:lnTo>
                                      <a:pt x="136" y="118"/>
                                    </a:lnTo>
                                    <a:lnTo>
                                      <a:pt x="136" y="116"/>
                                    </a:lnTo>
                                    <a:lnTo>
                                      <a:pt x="140" y="114"/>
                                    </a:lnTo>
                                    <a:lnTo>
                                      <a:pt x="140" y="114"/>
                                    </a:lnTo>
                                    <a:lnTo>
                                      <a:pt x="146" y="114"/>
                                    </a:lnTo>
                                    <a:lnTo>
                                      <a:pt x="148" y="114"/>
                                    </a:lnTo>
                                    <a:lnTo>
                                      <a:pt x="152" y="114"/>
                                    </a:lnTo>
                                    <a:lnTo>
                                      <a:pt x="154" y="114"/>
                                    </a:lnTo>
                                    <a:lnTo>
                                      <a:pt x="154" y="114"/>
                                    </a:lnTo>
                                    <a:lnTo>
                                      <a:pt x="160" y="114"/>
                                    </a:lnTo>
                                    <a:lnTo>
                                      <a:pt x="168" y="114"/>
                                    </a:lnTo>
                                    <a:lnTo>
                                      <a:pt x="174" y="116"/>
                                    </a:lnTo>
                                    <a:lnTo>
                                      <a:pt x="180" y="114"/>
                                    </a:lnTo>
                                    <a:lnTo>
                                      <a:pt x="180" y="114"/>
                                    </a:lnTo>
                                    <a:lnTo>
                                      <a:pt x="182" y="114"/>
                                    </a:lnTo>
                                    <a:lnTo>
                                      <a:pt x="180" y="112"/>
                                    </a:lnTo>
                                    <a:lnTo>
                                      <a:pt x="176" y="112"/>
                                    </a:lnTo>
                                    <a:lnTo>
                                      <a:pt x="176" y="112"/>
                                    </a:lnTo>
                                    <a:lnTo>
                                      <a:pt x="176" y="110"/>
                                    </a:lnTo>
                                    <a:lnTo>
                                      <a:pt x="176" y="110"/>
                                    </a:lnTo>
                                    <a:lnTo>
                                      <a:pt x="178" y="110"/>
                                    </a:lnTo>
                                    <a:lnTo>
                                      <a:pt x="176" y="110"/>
                                    </a:lnTo>
                                    <a:lnTo>
                                      <a:pt x="170" y="110"/>
                                    </a:lnTo>
                                    <a:lnTo>
                                      <a:pt x="166" y="110"/>
                                    </a:lnTo>
                                    <a:lnTo>
                                      <a:pt x="166" y="110"/>
                                    </a:lnTo>
                                    <a:lnTo>
                                      <a:pt x="168" y="108"/>
                                    </a:lnTo>
                                    <a:lnTo>
                                      <a:pt x="168" y="108"/>
                                    </a:lnTo>
                                    <a:lnTo>
                                      <a:pt x="170" y="104"/>
                                    </a:lnTo>
                                    <a:lnTo>
                                      <a:pt x="170" y="104"/>
                                    </a:lnTo>
                                    <a:lnTo>
                                      <a:pt x="160" y="106"/>
                                    </a:lnTo>
                                    <a:lnTo>
                                      <a:pt x="160" y="106"/>
                                    </a:lnTo>
                                    <a:lnTo>
                                      <a:pt x="156" y="108"/>
                                    </a:lnTo>
                                    <a:lnTo>
                                      <a:pt x="152" y="108"/>
                                    </a:lnTo>
                                    <a:lnTo>
                                      <a:pt x="148" y="106"/>
                                    </a:lnTo>
                                    <a:lnTo>
                                      <a:pt x="150" y="104"/>
                                    </a:lnTo>
                                    <a:lnTo>
                                      <a:pt x="150" y="104"/>
                                    </a:lnTo>
                                    <a:lnTo>
                                      <a:pt x="152" y="104"/>
                                    </a:lnTo>
                                    <a:lnTo>
                                      <a:pt x="150" y="104"/>
                                    </a:lnTo>
                                    <a:lnTo>
                                      <a:pt x="146" y="106"/>
                                    </a:lnTo>
                                    <a:lnTo>
                                      <a:pt x="140" y="108"/>
                                    </a:lnTo>
                                    <a:lnTo>
                                      <a:pt x="140" y="108"/>
                                    </a:lnTo>
                                    <a:lnTo>
                                      <a:pt x="130" y="108"/>
                                    </a:lnTo>
                                    <a:lnTo>
                                      <a:pt x="128" y="106"/>
                                    </a:lnTo>
                                    <a:lnTo>
                                      <a:pt x="128" y="104"/>
                                    </a:lnTo>
                                    <a:lnTo>
                                      <a:pt x="128" y="104"/>
                                    </a:lnTo>
                                    <a:lnTo>
                                      <a:pt x="128" y="100"/>
                                    </a:lnTo>
                                    <a:lnTo>
                                      <a:pt x="134" y="98"/>
                                    </a:lnTo>
                                    <a:lnTo>
                                      <a:pt x="134" y="98"/>
                                    </a:lnTo>
                                    <a:lnTo>
                                      <a:pt x="138" y="96"/>
                                    </a:lnTo>
                                    <a:lnTo>
                                      <a:pt x="140" y="94"/>
                                    </a:lnTo>
                                    <a:lnTo>
                                      <a:pt x="142" y="92"/>
                                    </a:lnTo>
                                    <a:lnTo>
                                      <a:pt x="144" y="90"/>
                                    </a:lnTo>
                                    <a:lnTo>
                                      <a:pt x="144" y="90"/>
                                    </a:lnTo>
                                    <a:lnTo>
                                      <a:pt x="148" y="88"/>
                                    </a:lnTo>
                                    <a:lnTo>
                                      <a:pt x="146" y="86"/>
                                    </a:lnTo>
                                    <a:lnTo>
                                      <a:pt x="146" y="84"/>
                                    </a:lnTo>
                                    <a:lnTo>
                                      <a:pt x="148" y="82"/>
                                    </a:lnTo>
                                    <a:lnTo>
                                      <a:pt x="148" y="82"/>
                                    </a:lnTo>
                                    <a:lnTo>
                                      <a:pt x="148" y="80"/>
                                    </a:lnTo>
                                    <a:lnTo>
                                      <a:pt x="148" y="80"/>
                                    </a:lnTo>
                                    <a:lnTo>
                                      <a:pt x="144" y="78"/>
                                    </a:lnTo>
                                    <a:lnTo>
                                      <a:pt x="140" y="78"/>
                                    </a:lnTo>
                                    <a:lnTo>
                                      <a:pt x="140" y="76"/>
                                    </a:lnTo>
                                    <a:lnTo>
                                      <a:pt x="140" y="74"/>
                                    </a:lnTo>
                                    <a:lnTo>
                                      <a:pt x="140" y="74"/>
                                    </a:lnTo>
                                    <a:lnTo>
                                      <a:pt x="142" y="74"/>
                                    </a:lnTo>
                                    <a:lnTo>
                                      <a:pt x="142" y="72"/>
                                    </a:lnTo>
                                    <a:lnTo>
                                      <a:pt x="136" y="72"/>
                                    </a:lnTo>
                                    <a:lnTo>
                                      <a:pt x="132" y="70"/>
                                    </a:lnTo>
                                    <a:lnTo>
                                      <a:pt x="132" y="68"/>
                                    </a:lnTo>
                                    <a:lnTo>
                                      <a:pt x="134" y="68"/>
                                    </a:lnTo>
                                    <a:lnTo>
                                      <a:pt x="134" y="68"/>
                                    </a:lnTo>
                                    <a:lnTo>
                                      <a:pt x="136" y="66"/>
                                    </a:lnTo>
                                    <a:lnTo>
                                      <a:pt x="134" y="62"/>
                                    </a:lnTo>
                                    <a:lnTo>
                                      <a:pt x="130" y="62"/>
                                    </a:lnTo>
                                    <a:lnTo>
                                      <a:pt x="122" y="60"/>
                                    </a:lnTo>
                                    <a:lnTo>
                                      <a:pt x="122" y="60"/>
                                    </a:lnTo>
                                    <a:lnTo>
                                      <a:pt x="116" y="60"/>
                                    </a:lnTo>
                                    <a:lnTo>
                                      <a:pt x="108" y="60"/>
                                    </a:lnTo>
                                    <a:lnTo>
                                      <a:pt x="108" y="60"/>
                                    </a:lnTo>
                                    <a:lnTo>
                                      <a:pt x="100" y="60"/>
                                    </a:lnTo>
                                    <a:lnTo>
                                      <a:pt x="94" y="58"/>
                                    </a:lnTo>
                                    <a:lnTo>
                                      <a:pt x="84" y="56"/>
                                    </a:lnTo>
                                    <a:lnTo>
                                      <a:pt x="74" y="56"/>
                                    </a:lnTo>
                                    <a:lnTo>
                                      <a:pt x="74" y="56"/>
                                    </a:lnTo>
                                    <a:lnTo>
                                      <a:pt x="68" y="56"/>
                                    </a:lnTo>
                                    <a:lnTo>
                                      <a:pt x="64" y="54"/>
                                    </a:lnTo>
                                    <a:lnTo>
                                      <a:pt x="60" y="54"/>
                                    </a:lnTo>
                                    <a:lnTo>
                                      <a:pt x="54" y="54"/>
                                    </a:lnTo>
                                    <a:lnTo>
                                      <a:pt x="54" y="54"/>
                                    </a:lnTo>
                                    <a:lnTo>
                                      <a:pt x="44" y="56"/>
                                    </a:lnTo>
                                    <a:lnTo>
                                      <a:pt x="36" y="56"/>
                                    </a:lnTo>
                                    <a:lnTo>
                                      <a:pt x="36" y="56"/>
                                    </a:lnTo>
                                    <a:lnTo>
                                      <a:pt x="30" y="58"/>
                                    </a:lnTo>
                                    <a:lnTo>
                                      <a:pt x="28" y="62"/>
                                    </a:lnTo>
                                    <a:lnTo>
                                      <a:pt x="24" y="62"/>
                                    </a:lnTo>
                                    <a:lnTo>
                                      <a:pt x="18" y="60"/>
                                    </a:lnTo>
                                    <a:lnTo>
                                      <a:pt x="18" y="60"/>
                                    </a:lnTo>
                                    <a:lnTo>
                                      <a:pt x="8" y="56"/>
                                    </a:lnTo>
                                    <a:lnTo>
                                      <a:pt x="12" y="56"/>
                                    </a:lnTo>
                                    <a:lnTo>
                                      <a:pt x="20" y="52"/>
                                    </a:lnTo>
                                    <a:lnTo>
                                      <a:pt x="20" y="52"/>
                                    </a:lnTo>
                                    <a:lnTo>
                                      <a:pt x="30" y="48"/>
                                    </a:lnTo>
                                    <a:lnTo>
                                      <a:pt x="46" y="46"/>
                                    </a:lnTo>
                                    <a:lnTo>
                                      <a:pt x="46" y="46"/>
                                    </a:lnTo>
                                    <a:lnTo>
                                      <a:pt x="66" y="44"/>
                                    </a:lnTo>
                                    <a:lnTo>
                                      <a:pt x="56" y="44"/>
                                    </a:lnTo>
                                    <a:lnTo>
                                      <a:pt x="56" y="44"/>
                                    </a:lnTo>
                                    <a:lnTo>
                                      <a:pt x="48" y="42"/>
                                    </a:lnTo>
                                    <a:lnTo>
                                      <a:pt x="48" y="42"/>
                                    </a:lnTo>
                                    <a:lnTo>
                                      <a:pt x="50" y="40"/>
                                    </a:lnTo>
                                    <a:lnTo>
                                      <a:pt x="50" y="40"/>
                                    </a:lnTo>
                                    <a:lnTo>
                                      <a:pt x="48" y="40"/>
                                    </a:lnTo>
                                    <a:lnTo>
                                      <a:pt x="48" y="40"/>
                                    </a:lnTo>
                                    <a:lnTo>
                                      <a:pt x="28" y="42"/>
                                    </a:lnTo>
                                    <a:lnTo>
                                      <a:pt x="20" y="42"/>
                                    </a:lnTo>
                                    <a:lnTo>
                                      <a:pt x="14" y="40"/>
                                    </a:lnTo>
                                    <a:lnTo>
                                      <a:pt x="14" y="40"/>
                                    </a:lnTo>
                                    <a:lnTo>
                                      <a:pt x="8" y="38"/>
                                    </a:lnTo>
                                    <a:lnTo>
                                      <a:pt x="2" y="38"/>
                                    </a:lnTo>
                                    <a:lnTo>
                                      <a:pt x="0" y="38"/>
                                    </a:lnTo>
                                    <a:lnTo>
                                      <a:pt x="0" y="36"/>
                                    </a:lnTo>
                                    <a:lnTo>
                                      <a:pt x="8" y="34"/>
                                    </a:lnTo>
                                    <a:lnTo>
                                      <a:pt x="8" y="34"/>
                                    </a:lnTo>
                                    <a:lnTo>
                                      <a:pt x="18" y="30"/>
                                    </a:lnTo>
                                    <a:lnTo>
                                      <a:pt x="26" y="30"/>
                                    </a:lnTo>
                                    <a:lnTo>
                                      <a:pt x="42" y="30"/>
                                    </a:lnTo>
                                    <a:lnTo>
                                      <a:pt x="42" y="30"/>
                                    </a:lnTo>
                                    <a:lnTo>
                                      <a:pt x="54" y="30"/>
                                    </a:lnTo>
                                    <a:lnTo>
                                      <a:pt x="62" y="30"/>
                                    </a:lnTo>
                                    <a:lnTo>
                                      <a:pt x="62" y="30"/>
                                    </a:lnTo>
                                    <a:lnTo>
                                      <a:pt x="66" y="28"/>
                                    </a:lnTo>
                                    <a:lnTo>
                                      <a:pt x="68" y="26"/>
                                    </a:lnTo>
                                    <a:lnTo>
                                      <a:pt x="70" y="24"/>
                                    </a:lnTo>
                                    <a:lnTo>
                                      <a:pt x="78" y="22"/>
                                    </a:lnTo>
                                    <a:lnTo>
                                      <a:pt x="78" y="22"/>
                                    </a:lnTo>
                                    <a:lnTo>
                                      <a:pt x="84" y="20"/>
                                    </a:lnTo>
                                    <a:lnTo>
                                      <a:pt x="84" y="18"/>
                                    </a:lnTo>
                                    <a:lnTo>
                                      <a:pt x="84" y="16"/>
                                    </a:lnTo>
                                    <a:lnTo>
                                      <a:pt x="84" y="16"/>
                                    </a:lnTo>
                                    <a:lnTo>
                                      <a:pt x="94" y="14"/>
                                    </a:lnTo>
                                    <a:lnTo>
                                      <a:pt x="94" y="14"/>
                                    </a:lnTo>
                                    <a:lnTo>
                                      <a:pt x="108" y="14"/>
                                    </a:lnTo>
                                    <a:lnTo>
                                      <a:pt x="118" y="14"/>
                                    </a:lnTo>
                                    <a:lnTo>
                                      <a:pt x="126" y="14"/>
                                    </a:lnTo>
                                    <a:lnTo>
                                      <a:pt x="136" y="14"/>
                                    </a:lnTo>
                                    <a:lnTo>
                                      <a:pt x="136" y="14"/>
                                    </a:lnTo>
                                    <a:lnTo>
                                      <a:pt x="146" y="12"/>
                                    </a:lnTo>
                                    <a:lnTo>
                                      <a:pt x="152" y="14"/>
                                    </a:lnTo>
                                    <a:lnTo>
                                      <a:pt x="158" y="14"/>
                                    </a:lnTo>
                                    <a:lnTo>
                                      <a:pt x="166" y="12"/>
                                    </a:lnTo>
                                    <a:lnTo>
                                      <a:pt x="166" y="12"/>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
                        <p:nvSpPr>
                          <p:cNvPr id="555" name="Freeform 66"/>
                          <p:cNvSpPr>
                            <a:spLocks/>
                          </p:cNvSpPr>
                          <p:nvPr/>
                        </p:nvSpPr>
                        <p:spPr bwMode="auto">
                          <a:xfrm>
                            <a:off x="9553373" y="1739652"/>
                            <a:ext cx="267312" cy="270100"/>
                          </a:xfrm>
                          <a:custGeom>
                            <a:avLst/>
                            <a:gdLst/>
                            <a:ahLst/>
                            <a:cxnLst>
                              <a:cxn ang="0">
                                <a:pos x="16" y="14"/>
                              </a:cxn>
                              <a:cxn ang="0">
                                <a:pos x="0" y="2"/>
                              </a:cxn>
                              <a:cxn ang="0">
                                <a:pos x="10" y="0"/>
                              </a:cxn>
                              <a:cxn ang="0">
                                <a:pos x="20" y="4"/>
                              </a:cxn>
                              <a:cxn ang="0">
                                <a:pos x="26" y="12"/>
                              </a:cxn>
                              <a:cxn ang="0">
                                <a:pos x="40" y="18"/>
                              </a:cxn>
                              <a:cxn ang="0">
                                <a:pos x="40" y="20"/>
                              </a:cxn>
                              <a:cxn ang="0">
                                <a:pos x="42" y="24"/>
                              </a:cxn>
                              <a:cxn ang="0">
                                <a:pos x="52" y="34"/>
                              </a:cxn>
                              <a:cxn ang="0">
                                <a:pos x="66" y="46"/>
                              </a:cxn>
                              <a:cxn ang="0">
                                <a:pos x="88" y="62"/>
                              </a:cxn>
                              <a:cxn ang="0">
                                <a:pos x="98" y="68"/>
                              </a:cxn>
                              <a:cxn ang="0">
                                <a:pos x="114" y="82"/>
                              </a:cxn>
                              <a:cxn ang="0">
                                <a:pos x="138" y="100"/>
                              </a:cxn>
                              <a:cxn ang="0">
                                <a:pos x="142" y="104"/>
                              </a:cxn>
                              <a:cxn ang="0">
                                <a:pos x="128" y="98"/>
                              </a:cxn>
                              <a:cxn ang="0">
                                <a:pos x="118" y="100"/>
                              </a:cxn>
                              <a:cxn ang="0">
                                <a:pos x="120" y="106"/>
                              </a:cxn>
                              <a:cxn ang="0">
                                <a:pos x="128" y="124"/>
                              </a:cxn>
                              <a:cxn ang="0">
                                <a:pos x="142" y="134"/>
                              </a:cxn>
                              <a:cxn ang="0">
                                <a:pos x="152" y="140"/>
                              </a:cxn>
                              <a:cxn ang="0">
                                <a:pos x="160" y="144"/>
                              </a:cxn>
                              <a:cxn ang="0">
                                <a:pos x="170" y="150"/>
                              </a:cxn>
                              <a:cxn ang="0">
                                <a:pos x="176" y="164"/>
                              </a:cxn>
                              <a:cxn ang="0">
                                <a:pos x="170" y="158"/>
                              </a:cxn>
                              <a:cxn ang="0">
                                <a:pos x="162" y="156"/>
                              </a:cxn>
                              <a:cxn ang="0">
                                <a:pos x="150" y="154"/>
                              </a:cxn>
                              <a:cxn ang="0">
                                <a:pos x="156" y="178"/>
                              </a:cxn>
                              <a:cxn ang="0">
                                <a:pos x="150" y="174"/>
                              </a:cxn>
                              <a:cxn ang="0">
                                <a:pos x="138" y="162"/>
                              </a:cxn>
                              <a:cxn ang="0">
                                <a:pos x="140" y="154"/>
                              </a:cxn>
                              <a:cxn ang="0">
                                <a:pos x="136" y="146"/>
                              </a:cxn>
                              <a:cxn ang="0">
                                <a:pos x="126" y="134"/>
                              </a:cxn>
                              <a:cxn ang="0">
                                <a:pos x="116" y="120"/>
                              </a:cxn>
                              <a:cxn ang="0">
                                <a:pos x="104" y="112"/>
                              </a:cxn>
                              <a:cxn ang="0">
                                <a:pos x="96" y="96"/>
                              </a:cxn>
                              <a:cxn ang="0">
                                <a:pos x="68" y="68"/>
                              </a:cxn>
                              <a:cxn ang="0">
                                <a:pos x="54" y="58"/>
                              </a:cxn>
                              <a:cxn ang="0">
                                <a:pos x="44" y="46"/>
                              </a:cxn>
                              <a:cxn ang="0">
                                <a:pos x="24" y="38"/>
                              </a:cxn>
                              <a:cxn ang="0">
                                <a:pos x="14" y="26"/>
                              </a:cxn>
                              <a:cxn ang="0">
                                <a:pos x="10" y="18"/>
                              </a:cxn>
                              <a:cxn ang="0">
                                <a:pos x="16" y="18"/>
                              </a:cxn>
                              <a:cxn ang="0">
                                <a:pos x="18" y="18"/>
                              </a:cxn>
                            </a:cxnLst>
                            <a:rect l="0" t="0" r="r" b="b"/>
                            <a:pathLst>
                              <a:path w="176" h="178">
                                <a:moveTo>
                                  <a:pt x="18" y="18"/>
                                </a:moveTo>
                                <a:lnTo>
                                  <a:pt x="18" y="18"/>
                                </a:lnTo>
                                <a:lnTo>
                                  <a:pt x="16" y="14"/>
                                </a:lnTo>
                                <a:lnTo>
                                  <a:pt x="14" y="12"/>
                                </a:lnTo>
                                <a:lnTo>
                                  <a:pt x="6" y="6"/>
                                </a:lnTo>
                                <a:lnTo>
                                  <a:pt x="0" y="2"/>
                                </a:lnTo>
                                <a:lnTo>
                                  <a:pt x="0" y="0"/>
                                </a:lnTo>
                                <a:lnTo>
                                  <a:pt x="0" y="0"/>
                                </a:lnTo>
                                <a:lnTo>
                                  <a:pt x="10" y="0"/>
                                </a:lnTo>
                                <a:lnTo>
                                  <a:pt x="14" y="0"/>
                                </a:lnTo>
                                <a:lnTo>
                                  <a:pt x="20" y="4"/>
                                </a:lnTo>
                                <a:lnTo>
                                  <a:pt x="20" y="4"/>
                                </a:lnTo>
                                <a:lnTo>
                                  <a:pt x="22" y="10"/>
                                </a:lnTo>
                                <a:lnTo>
                                  <a:pt x="24" y="12"/>
                                </a:lnTo>
                                <a:lnTo>
                                  <a:pt x="26" y="12"/>
                                </a:lnTo>
                                <a:lnTo>
                                  <a:pt x="26" y="12"/>
                                </a:lnTo>
                                <a:lnTo>
                                  <a:pt x="32" y="14"/>
                                </a:lnTo>
                                <a:lnTo>
                                  <a:pt x="40" y="18"/>
                                </a:lnTo>
                                <a:lnTo>
                                  <a:pt x="40" y="18"/>
                                </a:lnTo>
                                <a:lnTo>
                                  <a:pt x="42" y="20"/>
                                </a:lnTo>
                                <a:lnTo>
                                  <a:pt x="40" y="20"/>
                                </a:lnTo>
                                <a:lnTo>
                                  <a:pt x="38" y="22"/>
                                </a:lnTo>
                                <a:lnTo>
                                  <a:pt x="42" y="24"/>
                                </a:lnTo>
                                <a:lnTo>
                                  <a:pt x="42" y="24"/>
                                </a:lnTo>
                                <a:lnTo>
                                  <a:pt x="50" y="28"/>
                                </a:lnTo>
                                <a:lnTo>
                                  <a:pt x="52" y="34"/>
                                </a:lnTo>
                                <a:lnTo>
                                  <a:pt x="52" y="34"/>
                                </a:lnTo>
                                <a:lnTo>
                                  <a:pt x="56" y="38"/>
                                </a:lnTo>
                                <a:lnTo>
                                  <a:pt x="66" y="46"/>
                                </a:lnTo>
                                <a:lnTo>
                                  <a:pt x="66" y="46"/>
                                </a:lnTo>
                                <a:lnTo>
                                  <a:pt x="80" y="54"/>
                                </a:lnTo>
                                <a:lnTo>
                                  <a:pt x="84" y="58"/>
                                </a:lnTo>
                                <a:lnTo>
                                  <a:pt x="88" y="62"/>
                                </a:lnTo>
                                <a:lnTo>
                                  <a:pt x="88" y="62"/>
                                </a:lnTo>
                                <a:lnTo>
                                  <a:pt x="92" y="66"/>
                                </a:lnTo>
                                <a:lnTo>
                                  <a:pt x="98" y="68"/>
                                </a:lnTo>
                                <a:lnTo>
                                  <a:pt x="104" y="74"/>
                                </a:lnTo>
                                <a:lnTo>
                                  <a:pt x="114" y="82"/>
                                </a:lnTo>
                                <a:lnTo>
                                  <a:pt x="114" y="82"/>
                                </a:lnTo>
                                <a:lnTo>
                                  <a:pt x="122" y="90"/>
                                </a:lnTo>
                                <a:lnTo>
                                  <a:pt x="132" y="96"/>
                                </a:lnTo>
                                <a:lnTo>
                                  <a:pt x="138" y="100"/>
                                </a:lnTo>
                                <a:lnTo>
                                  <a:pt x="142" y="102"/>
                                </a:lnTo>
                                <a:lnTo>
                                  <a:pt x="142" y="102"/>
                                </a:lnTo>
                                <a:lnTo>
                                  <a:pt x="142" y="104"/>
                                </a:lnTo>
                                <a:lnTo>
                                  <a:pt x="142" y="104"/>
                                </a:lnTo>
                                <a:lnTo>
                                  <a:pt x="138" y="102"/>
                                </a:lnTo>
                                <a:lnTo>
                                  <a:pt x="128" y="98"/>
                                </a:lnTo>
                                <a:lnTo>
                                  <a:pt x="128" y="98"/>
                                </a:lnTo>
                                <a:lnTo>
                                  <a:pt x="118" y="98"/>
                                </a:lnTo>
                                <a:lnTo>
                                  <a:pt x="118" y="100"/>
                                </a:lnTo>
                                <a:lnTo>
                                  <a:pt x="116" y="100"/>
                                </a:lnTo>
                                <a:lnTo>
                                  <a:pt x="120" y="106"/>
                                </a:lnTo>
                                <a:lnTo>
                                  <a:pt x="120" y="106"/>
                                </a:lnTo>
                                <a:lnTo>
                                  <a:pt x="124" y="110"/>
                                </a:lnTo>
                                <a:lnTo>
                                  <a:pt x="126" y="116"/>
                                </a:lnTo>
                                <a:lnTo>
                                  <a:pt x="128" y="124"/>
                                </a:lnTo>
                                <a:lnTo>
                                  <a:pt x="138" y="132"/>
                                </a:lnTo>
                                <a:lnTo>
                                  <a:pt x="138" y="132"/>
                                </a:lnTo>
                                <a:lnTo>
                                  <a:pt x="142" y="134"/>
                                </a:lnTo>
                                <a:lnTo>
                                  <a:pt x="144" y="136"/>
                                </a:lnTo>
                                <a:lnTo>
                                  <a:pt x="148" y="138"/>
                                </a:lnTo>
                                <a:lnTo>
                                  <a:pt x="152" y="140"/>
                                </a:lnTo>
                                <a:lnTo>
                                  <a:pt x="152" y="140"/>
                                </a:lnTo>
                                <a:lnTo>
                                  <a:pt x="156" y="144"/>
                                </a:lnTo>
                                <a:lnTo>
                                  <a:pt x="160" y="144"/>
                                </a:lnTo>
                                <a:lnTo>
                                  <a:pt x="164" y="146"/>
                                </a:lnTo>
                                <a:lnTo>
                                  <a:pt x="170" y="150"/>
                                </a:lnTo>
                                <a:lnTo>
                                  <a:pt x="170" y="150"/>
                                </a:lnTo>
                                <a:lnTo>
                                  <a:pt x="174" y="156"/>
                                </a:lnTo>
                                <a:lnTo>
                                  <a:pt x="176" y="162"/>
                                </a:lnTo>
                                <a:lnTo>
                                  <a:pt x="176" y="164"/>
                                </a:lnTo>
                                <a:lnTo>
                                  <a:pt x="174" y="164"/>
                                </a:lnTo>
                                <a:lnTo>
                                  <a:pt x="174" y="164"/>
                                </a:lnTo>
                                <a:lnTo>
                                  <a:pt x="170" y="158"/>
                                </a:lnTo>
                                <a:lnTo>
                                  <a:pt x="166" y="156"/>
                                </a:lnTo>
                                <a:lnTo>
                                  <a:pt x="162" y="156"/>
                                </a:lnTo>
                                <a:lnTo>
                                  <a:pt x="162" y="156"/>
                                </a:lnTo>
                                <a:lnTo>
                                  <a:pt x="156" y="156"/>
                                </a:lnTo>
                                <a:lnTo>
                                  <a:pt x="152" y="154"/>
                                </a:lnTo>
                                <a:lnTo>
                                  <a:pt x="150" y="154"/>
                                </a:lnTo>
                                <a:lnTo>
                                  <a:pt x="152" y="156"/>
                                </a:lnTo>
                                <a:lnTo>
                                  <a:pt x="152" y="156"/>
                                </a:lnTo>
                                <a:lnTo>
                                  <a:pt x="156" y="178"/>
                                </a:lnTo>
                                <a:lnTo>
                                  <a:pt x="156" y="178"/>
                                </a:lnTo>
                                <a:lnTo>
                                  <a:pt x="154" y="178"/>
                                </a:lnTo>
                                <a:lnTo>
                                  <a:pt x="150" y="174"/>
                                </a:lnTo>
                                <a:lnTo>
                                  <a:pt x="150" y="174"/>
                                </a:lnTo>
                                <a:lnTo>
                                  <a:pt x="140" y="166"/>
                                </a:lnTo>
                                <a:lnTo>
                                  <a:pt x="138" y="162"/>
                                </a:lnTo>
                                <a:lnTo>
                                  <a:pt x="138" y="160"/>
                                </a:lnTo>
                                <a:lnTo>
                                  <a:pt x="140" y="156"/>
                                </a:lnTo>
                                <a:lnTo>
                                  <a:pt x="140" y="154"/>
                                </a:lnTo>
                                <a:lnTo>
                                  <a:pt x="140" y="150"/>
                                </a:lnTo>
                                <a:lnTo>
                                  <a:pt x="140" y="150"/>
                                </a:lnTo>
                                <a:lnTo>
                                  <a:pt x="136" y="146"/>
                                </a:lnTo>
                                <a:lnTo>
                                  <a:pt x="132" y="142"/>
                                </a:lnTo>
                                <a:lnTo>
                                  <a:pt x="128" y="140"/>
                                </a:lnTo>
                                <a:lnTo>
                                  <a:pt x="126" y="134"/>
                                </a:lnTo>
                                <a:lnTo>
                                  <a:pt x="126" y="134"/>
                                </a:lnTo>
                                <a:lnTo>
                                  <a:pt x="120" y="122"/>
                                </a:lnTo>
                                <a:lnTo>
                                  <a:pt x="116" y="120"/>
                                </a:lnTo>
                                <a:lnTo>
                                  <a:pt x="112" y="116"/>
                                </a:lnTo>
                                <a:lnTo>
                                  <a:pt x="112" y="116"/>
                                </a:lnTo>
                                <a:lnTo>
                                  <a:pt x="104" y="112"/>
                                </a:lnTo>
                                <a:lnTo>
                                  <a:pt x="100" y="108"/>
                                </a:lnTo>
                                <a:lnTo>
                                  <a:pt x="96" y="96"/>
                                </a:lnTo>
                                <a:lnTo>
                                  <a:pt x="96" y="96"/>
                                </a:lnTo>
                                <a:lnTo>
                                  <a:pt x="88" y="86"/>
                                </a:lnTo>
                                <a:lnTo>
                                  <a:pt x="80" y="76"/>
                                </a:lnTo>
                                <a:lnTo>
                                  <a:pt x="68" y="68"/>
                                </a:lnTo>
                                <a:lnTo>
                                  <a:pt x="58" y="62"/>
                                </a:lnTo>
                                <a:lnTo>
                                  <a:pt x="58" y="62"/>
                                </a:lnTo>
                                <a:lnTo>
                                  <a:pt x="54" y="58"/>
                                </a:lnTo>
                                <a:lnTo>
                                  <a:pt x="54" y="54"/>
                                </a:lnTo>
                                <a:lnTo>
                                  <a:pt x="52" y="52"/>
                                </a:lnTo>
                                <a:lnTo>
                                  <a:pt x="44" y="46"/>
                                </a:lnTo>
                                <a:lnTo>
                                  <a:pt x="44" y="46"/>
                                </a:lnTo>
                                <a:lnTo>
                                  <a:pt x="28" y="40"/>
                                </a:lnTo>
                                <a:lnTo>
                                  <a:pt x="24" y="38"/>
                                </a:lnTo>
                                <a:lnTo>
                                  <a:pt x="22" y="34"/>
                                </a:lnTo>
                                <a:lnTo>
                                  <a:pt x="22" y="34"/>
                                </a:lnTo>
                                <a:lnTo>
                                  <a:pt x="14" y="26"/>
                                </a:lnTo>
                                <a:lnTo>
                                  <a:pt x="10" y="20"/>
                                </a:lnTo>
                                <a:lnTo>
                                  <a:pt x="10" y="20"/>
                                </a:lnTo>
                                <a:lnTo>
                                  <a:pt x="10" y="18"/>
                                </a:lnTo>
                                <a:lnTo>
                                  <a:pt x="10" y="18"/>
                                </a:lnTo>
                                <a:lnTo>
                                  <a:pt x="12" y="16"/>
                                </a:lnTo>
                                <a:lnTo>
                                  <a:pt x="16" y="18"/>
                                </a:lnTo>
                                <a:lnTo>
                                  <a:pt x="18" y="18"/>
                                </a:lnTo>
                                <a:lnTo>
                                  <a:pt x="18" y="18"/>
                                </a:lnTo>
                                <a:lnTo>
                                  <a:pt x="18"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36" name="Freeform 24"/>
                        <p:cNvSpPr>
                          <a:spLocks/>
                        </p:cNvSpPr>
                        <p:nvPr/>
                      </p:nvSpPr>
                      <p:spPr bwMode="auto">
                        <a:xfrm>
                          <a:off x="3880946" y="5547387"/>
                          <a:ext cx="94167" cy="78906"/>
                        </a:xfrm>
                        <a:custGeom>
                          <a:avLst/>
                          <a:gdLst/>
                          <a:ahLst/>
                          <a:cxnLst>
                            <a:cxn ang="0">
                              <a:pos x="52" y="44"/>
                            </a:cxn>
                            <a:cxn ang="0">
                              <a:pos x="40" y="40"/>
                            </a:cxn>
                            <a:cxn ang="0">
                              <a:pos x="34" y="40"/>
                            </a:cxn>
                            <a:cxn ang="0">
                              <a:pos x="30" y="42"/>
                            </a:cxn>
                            <a:cxn ang="0">
                              <a:pos x="30" y="46"/>
                            </a:cxn>
                            <a:cxn ang="0">
                              <a:pos x="34" y="48"/>
                            </a:cxn>
                            <a:cxn ang="0">
                              <a:pos x="38" y="52"/>
                            </a:cxn>
                            <a:cxn ang="0">
                              <a:pos x="32" y="50"/>
                            </a:cxn>
                            <a:cxn ang="0">
                              <a:pos x="22" y="48"/>
                            </a:cxn>
                            <a:cxn ang="0">
                              <a:pos x="24" y="44"/>
                            </a:cxn>
                            <a:cxn ang="0">
                              <a:pos x="26" y="44"/>
                            </a:cxn>
                            <a:cxn ang="0">
                              <a:pos x="18" y="42"/>
                            </a:cxn>
                            <a:cxn ang="0">
                              <a:pos x="16" y="38"/>
                            </a:cxn>
                            <a:cxn ang="0">
                              <a:pos x="10" y="40"/>
                            </a:cxn>
                            <a:cxn ang="0">
                              <a:pos x="8" y="40"/>
                            </a:cxn>
                            <a:cxn ang="0">
                              <a:pos x="4" y="42"/>
                            </a:cxn>
                            <a:cxn ang="0">
                              <a:pos x="0" y="38"/>
                            </a:cxn>
                            <a:cxn ang="0">
                              <a:pos x="6" y="34"/>
                            </a:cxn>
                            <a:cxn ang="0">
                              <a:pos x="14" y="34"/>
                            </a:cxn>
                            <a:cxn ang="0">
                              <a:pos x="20" y="36"/>
                            </a:cxn>
                            <a:cxn ang="0">
                              <a:pos x="22" y="36"/>
                            </a:cxn>
                            <a:cxn ang="0">
                              <a:pos x="16" y="28"/>
                            </a:cxn>
                            <a:cxn ang="0">
                              <a:pos x="14" y="26"/>
                            </a:cxn>
                            <a:cxn ang="0">
                              <a:pos x="16" y="24"/>
                            </a:cxn>
                            <a:cxn ang="0">
                              <a:pos x="14" y="20"/>
                            </a:cxn>
                            <a:cxn ang="0">
                              <a:pos x="20" y="24"/>
                            </a:cxn>
                            <a:cxn ang="0">
                              <a:pos x="20" y="28"/>
                            </a:cxn>
                            <a:cxn ang="0">
                              <a:pos x="24" y="32"/>
                            </a:cxn>
                            <a:cxn ang="0">
                              <a:pos x="26" y="32"/>
                            </a:cxn>
                            <a:cxn ang="0">
                              <a:pos x="30" y="36"/>
                            </a:cxn>
                            <a:cxn ang="0">
                              <a:pos x="30" y="32"/>
                            </a:cxn>
                            <a:cxn ang="0">
                              <a:pos x="34" y="32"/>
                            </a:cxn>
                            <a:cxn ang="0">
                              <a:pos x="38" y="30"/>
                            </a:cxn>
                            <a:cxn ang="0">
                              <a:pos x="42" y="32"/>
                            </a:cxn>
                            <a:cxn ang="0">
                              <a:pos x="46" y="32"/>
                            </a:cxn>
                            <a:cxn ang="0">
                              <a:pos x="50" y="32"/>
                            </a:cxn>
                            <a:cxn ang="0">
                              <a:pos x="30" y="26"/>
                            </a:cxn>
                            <a:cxn ang="0">
                              <a:pos x="26" y="20"/>
                            </a:cxn>
                            <a:cxn ang="0">
                              <a:pos x="36" y="16"/>
                            </a:cxn>
                            <a:cxn ang="0">
                              <a:pos x="24" y="16"/>
                            </a:cxn>
                            <a:cxn ang="0">
                              <a:pos x="18" y="14"/>
                            </a:cxn>
                            <a:cxn ang="0">
                              <a:pos x="18" y="10"/>
                            </a:cxn>
                            <a:cxn ang="0">
                              <a:pos x="16" y="6"/>
                            </a:cxn>
                            <a:cxn ang="0">
                              <a:pos x="24" y="8"/>
                            </a:cxn>
                            <a:cxn ang="0">
                              <a:pos x="26" y="2"/>
                            </a:cxn>
                            <a:cxn ang="0">
                              <a:pos x="32" y="2"/>
                            </a:cxn>
                            <a:cxn ang="0">
                              <a:pos x="38" y="6"/>
                            </a:cxn>
                            <a:cxn ang="0">
                              <a:pos x="62" y="44"/>
                            </a:cxn>
                          </a:cxnLst>
                          <a:rect l="0" t="0" r="r" b="b"/>
                          <a:pathLst>
                            <a:path w="62" h="52">
                              <a:moveTo>
                                <a:pt x="62" y="44"/>
                              </a:moveTo>
                              <a:lnTo>
                                <a:pt x="62" y="44"/>
                              </a:lnTo>
                              <a:lnTo>
                                <a:pt x="56" y="46"/>
                              </a:lnTo>
                              <a:lnTo>
                                <a:pt x="52" y="44"/>
                              </a:lnTo>
                              <a:lnTo>
                                <a:pt x="52" y="44"/>
                              </a:lnTo>
                              <a:lnTo>
                                <a:pt x="46" y="40"/>
                              </a:lnTo>
                              <a:lnTo>
                                <a:pt x="42" y="40"/>
                              </a:lnTo>
                              <a:lnTo>
                                <a:pt x="40" y="40"/>
                              </a:lnTo>
                              <a:lnTo>
                                <a:pt x="40" y="40"/>
                              </a:lnTo>
                              <a:lnTo>
                                <a:pt x="38" y="42"/>
                              </a:lnTo>
                              <a:lnTo>
                                <a:pt x="34" y="40"/>
                              </a:lnTo>
                              <a:lnTo>
                                <a:pt x="34" y="40"/>
                              </a:lnTo>
                              <a:lnTo>
                                <a:pt x="28" y="40"/>
                              </a:lnTo>
                              <a:lnTo>
                                <a:pt x="26" y="42"/>
                              </a:lnTo>
                              <a:lnTo>
                                <a:pt x="26" y="42"/>
                              </a:lnTo>
                              <a:lnTo>
                                <a:pt x="30" y="42"/>
                              </a:lnTo>
                              <a:lnTo>
                                <a:pt x="32" y="42"/>
                              </a:lnTo>
                              <a:lnTo>
                                <a:pt x="32" y="44"/>
                              </a:lnTo>
                              <a:lnTo>
                                <a:pt x="32" y="44"/>
                              </a:lnTo>
                              <a:lnTo>
                                <a:pt x="30" y="46"/>
                              </a:lnTo>
                              <a:lnTo>
                                <a:pt x="30" y="46"/>
                              </a:lnTo>
                              <a:lnTo>
                                <a:pt x="30" y="46"/>
                              </a:lnTo>
                              <a:lnTo>
                                <a:pt x="30" y="48"/>
                              </a:lnTo>
                              <a:lnTo>
                                <a:pt x="34" y="48"/>
                              </a:lnTo>
                              <a:lnTo>
                                <a:pt x="36" y="50"/>
                              </a:lnTo>
                              <a:lnTo>
                                <a:pt x="38" y="52"/>
                              </a:lnTo>
                              <a:lnTo>
                                <a:pt x="38" y="52"/>
                              </a:lnTo>
                              <a:lnTo>
                                <a:pt x="38" y="52"/>
                              </a:lnTo>
                              <a:lnTo>
                                <a:pt x="36" y="52"/>
                              </a:lnTo>
                              <a:lnTo>
                                <a:pt x="34" y="50"/>
                              </a:lnTo>
                              <a:lnTo>
                                <a:pt x="32" y="50"/>
                              </a:lnTo>
                              <a:lnTo>
                                <a:pt x="32" y="50"/>
                              </a:lnTo>
                              <a:lnTo>
                                <a:pt x="30" y="52"/>
                              </a:lnTo>
                              <a:lnTo>
                                <a:pt x="24" y="50"/>
                              </a:lnTo>
                              <a:lnTo>
                                <a:pt x="24" y="50"/>
                              </a:lnTo>
                              <a:lnTo>
                                <a:pt x="22" y="48"/>
                              </a:lnTo>
                              <a:lnTo>
                                <a:pt x="22" y="46"/>
                              </a:lnTo>
                              <a:lnTo>
                                <a:pt x="22" y="46"/>
                              </a:lnTo>
                              <a:lnTo>
                                <a:pt x="24" y="44"/>
                              </a:lnTo>
                              <a:lnTo>
                                <a:pt x="24" y="44"/>
                              </a:lnTo>
                              <a:lnTo>
                                <a:pt x="24" y="46"/>
                              </a:lnTo>
                              <a:lnTo>
                                <a:pt x="26" y="46"/>
                              </a:lnTo>
                              <a:lnTo>
                                <a:pt x="26" y="46"/>
                              </a:lnTo>
                              <a:lnTo>
                                <a:pt x="26" y="44"/>
                              </a:lnTo>
                              <a:lnTo>
                                <a:pt x="24" y="42"/>
                              </a:lnTo>
                              <a:lnTo>
                                <a:pt x="20" y="40"/>
                              </a:lnTo>
                              <a:lnTo>
                                <a:pt x="20" y="40"/>
                              </a:lnTo>
                              <a:lnTo>
                                <a:pt x="18" y="42"/>
                              </a:lnTo>
                              <a:lnTo>
                                <a:pt x="16" y="42"/>
                              </a:lnTo>
                              <a:lnTo>
                                <a:pt x="16" y="40"/>
                              </a:lnTo>
                              <a:lnTo>
                                <a:pt x="16" y="40"/>
                              </a:lnTo>
                              <a:lnTo>
                                <a:pt x="16" y="38"/>
                              </a:lnTo>
                              <a:lnTo>
                                <a:pt x="14" y="38"/>
                              </a:lnTo>
                              <a:lnTo>
                                <a:pt x="12" y="40"/>
                              </a:lnTo>
                              <a:lnTo>
                                <a:pt x="12" y="40"/>
                              </a:lnTo>
                              <a:lnTo>
                                <a:pt x="10" y="40"/>
                              </a:lnTo>
                              <a:lnTo>
                                <a:pt x="10" y="40"/>
                              </a:lnTo>
                              <a:lnTo>
                                <a:pt x="8" y="36"/>
                              </a:lnTo>
                              <a:lnTo>
                                <a:pt x="8" y="36"/>
                              </a:lnTo>
                              <a:lnTo>
                                <a:pt x="8" y="40"/>
                              </a:lnTo>
                              <a:lnTo>
                                <a:pt x="8" y="42"/>
                              </a:lnTo>
                              <a:lnTo>
                                <a:pt x="6" y="42"/>
                              </a:lnTo>
                              <a:lnTo>
                                <a:pt x="6" y="42"/>
                              </a:lnTo>
                              <a:lnTo>
                                <a:pt x="4" y="42"/>
                              </a:lnTo>
                              <a:lnTo>
                                <a:pt x="2" y="40"/>
                              </a:lnTo>
                              <a:lnTo>
                                <a:pt x="2" y="40"/>
                              </a:lnTo>
                              <a:lnTo>
                                <a:pt x="0" y="40"/>
                              </a:lnTo>
                              <a:lnTo>
                                <a:pt x="0" y="38"/>
                              </a:lnTo>
                              <a:lnTo>
                                <a:pt x="0" y="38"/>
                              </a:lnTo>
                              <a:lnTo>
                                <a:pt x="4" y="36"/>
                              </a:lnTo>
                              <a:lnTo>
                                <a:pt x="6" y="34"/>
                              </a:lnTo>
                              <a:lnTo>
                                <a:pt x="6" y="34"/>
                              </a:lnTo>
                              <a:lnTo>
                                <a:pt x="8" y="34"/>
                              </a:lnTo>
                              <a:lnTo>
                                <a:pt x="10" y="34"/>
                              </a:lnTo>
                              <a:lnTo>
                                <a:pt x="10" y="34"/>
                              </a:lnTo>
                              <a:lnTo>
                                <a:pt x="14" y="34"/>
                              </a:lnTo>
                              <a:lnTo>
                                <a:pt x="18" y="34"/>
                              </a:lnTo>
                              <a:lnTo>
                                <a:pt x="18" y="34"/>
                              </a:lnTo>
                              <a:lnTo>
                                <a:pt x="18" y="36"/>
                              </a:lnTo>
                              <a:lnTo>
                                <a:pt x="20" y="36"/>
                              </a:lnTo>
                              <a:lnTo>
                                <a:pt x="20" y="36"/>
                              </a:lnTo>
                              <a:lnTo>
                                <a:pt x="20" y="36"/>
                              </a:lnTo>
                              <a:lnTo>
                                <a:pt x="22" y="36"/>
                              </a:lnTo>
                              <a:lnTo>
                                <a:pt x="22" y="36"/>
                              </a:lnTo>
                              <a:lnTo>
                                <a:pt x="22" y="34"/>
                              </a:lnTo>
                              <a:lnTo>
                                <a:pt x="22" y="34"/>
                              </a:lnTo>
                              <a:lnTo>
                                <a:pt x="18" y="30"/>
                              </a:lnTo>
                              <a:lnTo>
                                <a:pt x="16" y="28"/>
                              </a:lnTo>
                              <a:lnTo>
                                <a:pt x="16" y="28"/>
                              </a:lnTo>
                              <a:lnTo>
                                <a:pt x="16" y="28"/>
                              </a:lnTo>
                              <a:lnTo>
                                <a:pt x="16" y="28"/>
                              </a:lnTo>
                              <a:lnTo>
                                <a:pt x="14" y="26"/>
                              </a:lnTo>
                              <a:lnTo>
                                <a:pt x="14" y="24"/>
                              </a:lnTo>
                              <a:lnTo>
                                <a:pt x="16" y="24"/>
                              </a:lnTo>
                              <a:lnTo>
                                <a:pt x="16" y="24"/>
                              </a:lnTo>
                              <a:lnTo>
                                <a:pt x="16" y="24"/>
                              </a:lnTo>
                              <a:lnTo>
                                <a:pt x="16" y="22"/>
                              </a:lnTo>
                              <a:lnTo>
                                <a:pt x="14" y="20"/>
                              </a:lnTo>
                              <a:lnTo>
                                <a:pt x="14" y="20"/>
                              </a:lnTo>
                              <a:lnTo>
                                <a:pt x="14" y="20"/>
                              </a:lnTo>
                              <a:lnTo>
                                <a:pt x="16" y="18"/>
                              </a:lnTo>
                              <a:lnTo>
                                <a:pt x="18" y="22"/>
                              </a:lnTo>
                              <a:lnTo>
                                <a:pt x="18" y="22"/>
                              </a:lnTo>
                              <a:lnTo>
                                <a:pt x="20" y="24"/>
                              </a:lnTo>
                              <a:lnTo>
                                <a:pt x="20" y="26"/>
                              </a:lnTo>
                              <a:lnTo>
                                <a:pt x="20" y="26"/>
                              </a:lnTo>
                              <a:lnTo>
                                <a:pt x="20" y="28"/>
                              </a:lnTo>
                              <a:lnTo>
                                <a:pt x="20" y="28"/>
                              </a:lnTo>
                              <a:lnTo>
                                <a:pt x="22" y="30"/>
                              </a:lnTo>
                              <a:lnTo>
                                <a:pt x="22" y="30"/>
                              </a:lnTo>
                              <a:lnTo>
                                <a:pt x="24" y="32"/>
                              </a:lnTo>
                              <a:lnTo>
                                <a:pt x="24" y="32"/>
                              </a:lnTo>
                              <a:lnTo>
                                <a:pt x="26" y="32"/>
                              </a:lnTo>
                              <a:lnTo>
                                <a:pt x="26" y="32"/>
                              </a:lnTo>
                              <a:lnTo>
                                <a:pt x="26" y="32"/>
                              </a:lnTo>
                              <a:lnTo>
                                <a:pt x="26" y="32"/>
                              </a:lnTo>
                              <a:lnTo>
                                <a:pt x="28" y="34"/>
                              </a:lnTo>
                              <a:lnTo>
                                <a:pt x="28" y="36"/>
                              </a:lnTo>
                              <a:lnTo>
                                <a:pt x="30" y="36"/>
                              </a:lnTo>
                              <a:lnTo>
                                <a:pt x="30" y="36"/>
                              </a:lnTo>
                              <a:lnTo>
                                <a:pt x="30" y="36"/>
                              </a:lnTo>
                              <a:lnTo>
                                <a:pt x="30" y="36"/>
                              </a:lnTo>
                              <a:lnTo>
                                <a:pt x="30" y="34"/>
                              </a:lnTo>
                              <a:lnTo>
                                <a:pt x="30" y="32"/>
                              </a:lnTo>
                              <a:lnTo>
                                <a:pt x="30" y="32"/>
                              </a:lnTo>
                              <a:lnTo>
                                <a:pt x="32" y="30"/>
                              </a:lnTo>
                              <a:lnTo>
                                <a:pt x="34" y="30"/>
                              </a:lnTo>
                              <a:lnTo>
                                <a:pt x="34" y="32"/>
                              </a:lnTo>
                              <a:lnTo>
                                <a:pt x="34" y="32"/>
                              </a:lnTo>
                              <a:lnTo>
                                <a:pt x="36" y="32"/>
                              </a:lnTo>
                              <a:lnTo>
                                <a:pt x="36" y="32"/>
                              </a:lnTo>
                              <a:lnTo>
                                <a:pt x="38" y="30"/>
                              </a:lnTo>
                              <a:lnTo>
                                <a:pt x="40" y="30"/>
                              </a:lnTo>
                              <a:lnTo>
                                <a:pt x="40" y="30"/>
                              </a:lnTo>
                              <a:lnTo>
                                <a:pt x="42" y="32"/>
                              </a:lnTo>
                              <a:lnTo>
                                <a:pt x="42" y="32"/>
                              </a:lnTo>
                              <a:lnTo>
                                <a:pt x="44" y="30"/>
                              </a:lnTo>
                              <a:lnTo>
                                <a:pt x="44" y="30"/>
                              </a:lnTo>
                              <a:lnTo>
                                <a:pt x="46" y="32"/>
                              </a:lnTo>
                              <a:lnTo>
                                <a:pt x="46" y="32"/>
                              </a:lnTo>
                              <a:lnTo>
                                <a:pt x="46" y="36"/>
                              </a:lnTo>
                              <a:lnTo>
                                <a:pt x="46" y="36"/>
                              </a:lnTo>
                              <a:lnTo>
                                <a:pt x="48" y="32"/>
                              </a:lnTo>
                              <a:lnTo>
                                <a:pt x="50" y="32"/>
                              </a:lnTo>
                              <a:lnTo>
                                <a:pt x="50" y="32"/>
                              </a:lnTo>
                              <a:lnTo>
                                <a:pt x="40" y="28"/>
                              </a:lnTo>
                              <a:lnTo>
                                <a:pt x="30" y="26"/>
                              </a:lnTo>
                              <a:lnTo>
                                <a:pt x="30" y="26"/>
                              </a:lnTo>
                              <a:lnTo>
                                <a:pt x="26" y="26"/>
                              </a:lnTo>
                              <a:lnTo>
                                <a:pt x="26" y="24"/>
                              </a:lnTo>
                              <a:lnTo>
                                <a:pt x="24" y="22"/>
                              </a:lnTo>
                              <a:lnTo>
                                <a:pt x="26" y="20"/>
                              </a:lnTo>
                              <a:lnTo>
                                <a:pt x="26" y="20"/>
                              </a:lnTo>
                              <a:lnTo>
                                <a:pt x="30" y="18"/>
                              </a:lnTo>
                              <a:lnTo>
                                <a:pt x="32" y="18"/>
                              </a:lnTo>
                              <a:lnTo>
                                <a:pt x="36" y="16"/>
                              </a:lnTo>
                              <a:lnTo>
                                <a:pt x="36" y="16"/>
                              </a:lnTo>
                              <a:lnTo>
                                <a:pt x="34" y="16"/>
                              </a:lnTo>
                              <a:lnTo>
                                <a:pt x="32" y="16"/>
                              </a:lnTo>
                              <a:lnTo>
                                <a:pt x="24" y="16"/>
                              </a:lnTo>
                              <a:lnTo>
                                <a:pt x="24" y="16"/>
                              </a:lnTo>
                              <a:lnTo>
                                <a:pt x="20" y="16"/>
                              </a:lnTo>
                              <a:lnTo>
                                <a:pt x="18" y="14"/>
                              </a:lnTo>
                              <a:lnTo>
                                <a:pt x="18" y="14"/>
                              </a:lnTo>
                              <a:lnTo>
                                <a:pt x="18" y="12"/>
                              </a:lnTo>
                              <a:lnTo>
                                <a:pt x="18" y="12"/>
                              </a:lnTo>
                              <a:lnTo>
                                <a:pt x="18" y="10"/>
                              </a:lnTo>
                              <a:lnTo>
                                <a:pt x="18" y="10"/>
                              </a:lnTo>
                              <a:lnTo>
                                <a:pt x="20" y="10"/>
                              </a:lnTo>
                              <a:lnTo>
                                <a:pt x="18" y="8"/>
                              </a:lnTo>
                              <a:lnTo>
                                <a:pt x="18" y="8"/>
                              </a:lnTo>
                              <a:lnTo>
                                <a:pt x="16" y="6"/>
                              </a:lnTo>
                              <a:lnTo>
                                <a:pt x="18" y="6"/>
                              </a:lnTo>
                              <a:lnTo>
                                <a:pt x="18" y="6"/>
                              </a:lnTo>
                              <a:lnTo>
                                <a:pt x="22" y="6"/>
                              </a:lnTo>
                              <a:lnTo>
                                <a:pt x="24" y="8"/>
                              </a:lnTo>
                              <a:lnTo>
                                <a:pt x="24" y="6"/>
                              </a:lnTo>
                              <a:lnTo>
                                <a:pt x="24" y="6"/>
                              </a:lnTo>
                              <a:lnTo>
                                <a:pt x="26" y="6"/>
                              </a:lnTo>
                              <a:lnTo>
                                <a:pt x="26" y="2"/>
                              </a:lnTo>
                              <a:lnTo>
                                <a:pt x="26" y="2"/>
                              </a:lnTo>
                              <a:lnTo>
                                <a:pt x="28" y="0"/>
                              </a:lnTo>
                              <a:lnTo>
                                <a:pt x="30" y="0"/>
                              </a:lnTo>
                              <a:lnTo>
                                <a:pt x="32" y="2"/>
                              </a:lnTo>
                              <a:lnTo>
                                <a:pt x="32" y="2"/>
                              </a:lnTo>
                              <a:lnTo>
                                <a:pt x="34" y="6"/>
                              </a:lnTo>
                              <a:lnTo>
                                <a:pt x="36" y="6"/>
                              </a:lnTo>
                              <a:lnTo>
                                <a:pt x="38" y="6"/>
                              </a:lnTo>
                              <a:lnTo>
                                <a:pt x="38" y="6"/>
                              </a:lnTo>
                              <a:lnTo>
                                <a:pt x="40" y="4"/>
                              </a:lnTo>
                              <a:lnTo>
                                <a:pt x="42" y="6"/>
                              </a:lnTo>
                              <a:lnTo>
                                <a:pt x="62" y="44"/>
                              </a:lnTo>
                              <a:lnTo>
                                <a:pt x="62" y="4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73" name="Australia"/>
                      <p:cNvSpPr>
                        <a:spLocks/>
                      </p:cNvSpPr>
                      <p:nvPr/>
                    </p:nvSpPr>
                    <p:spPr bwMode="auto">
                      <a:xfrm>
                        <a:off x="9213961" y="4098028"/>
                        <a:ext cx="1300111" cy="1171446"/>
                      </a:xfrm>
                      <a:custGeom>
                        <a:avLst/>
                        <a:gdLst/>
                        <a:ahLst/>
                        <a:cxnLst/>
                        <a:rect l="l" t="t" r="r" b="b"/>
                        <a:pathLst>
                          <a:path w="1132417" h="1021292">
                            <a:moveTo>
                              <a:pt x="743479" y="936625"/>
                            </a:moveTo>
                            <a:lnTo>
                              <a:pt x="751416" y="936625"/>
                            </a:lnTo>
                            <a:lnTo>
                              <a:pt x="754062" y="939271"/>
                            </a:lnTo>
                            <a:lnTo>
                              <a:pt x="751416" y="941917"/>
                            </a:lnTo>
                            <a:lnTo>
                              <a:pt x="748771" y="944563"/>
                            </a:lnTo>
                            <a:lnTo>
                              <a:pt x="748771" y="949854"/>
                            </a:lnTo>
                            <a:lnTo>
                              <a:pt x="748771" y="952500"/>
                            </a:lnTo>
                            <a:lnTo>
                              <a:pt x="746125" y="952500"/>
                            </a:lnTo>
                            <a:lnTo>
                              <a:pt x="743479" y="955146"/>
                            </a:lnTo>
                            <a:lnTo>
                              <a:pt x="740833" y="960438"/>
                            </a:lnTo>
                            <a:lnTo>
                              <a:pt x="738187" y="965730"/>
                            </a:lnTo>
                            <a:lnTo>
                              <a:pt x="732896" y="973667"/>
                            </a:lnTo>
                            <a:lnTo>
                              <a:pt x="727604" y="978959"/>
                            </a:lnTo>
                            <a:lnTo>
                              <a:pt x="727604" y="976313"/>
                            </a:lnTo>
                            <a:lnTo>
                              <a:pt x="727604" y="973667"/>
                            </a:lnTo>
                            <a:lnTo>
                              <a:pt x="724958" y="973667"/>
                            </a:lnTo>
                            <a:lnTo>
                              <a:pt x="719666" y="978959"/>
                            </a:lnTo>
                            <a:lnTo>
                              <a:pt x="709083" y="992188"/>
                            </a:lnTo>
                            <a:lnTo>
                              <a:pt x="701145" y="997480"/>
                            </a:lnTo>
                            <a:lnTo>
                              <a:pt x="695854" y="997480"/>
                            </a:lnTo>
                            <a:lnTo>
                              <a:pt x="690562" y="1000125"/>
                            </a:lnTo>
                            <a:lnTo>
                              <a:pt x="685270" y="1002771"/>
                            </a:lnTo>
                            <a:lnTo>
                              <a:pt x="679979" y="1005417"/>
                            </a:lnTo>
                            <a:lnTo>
                              <a:pt x="674687" y="1008063"/>
                            </a:lnTo>
                            <a:lnTo>
                              <a:pt x="666749" y="1008063"/>
                            </a:lnTo>
                            <a:lnTo>
                              <a:pt x="664104" y="1013355"/>
                            </a:lnTo>
                            <a:lnTo>
                              <a:pt x="656166" y="1018646"/>
                            </a:lnTo>
                            <a:lnTo>
                              <a:pt x="650874" y="1021292"/>
                            </a:lnTo>
                            <a:lnTo>
                              <a:pt x="645583" y="1018646"/>
                            </a:lnTo>
                            <a:lnTo>
                              <a:pt x="637645" y="1016001"/>
                            </a:lnTo>
                            <a:lnTo>
                              <a:pt x="640291" y="1016001"/>
                            </a:lnTo>
                            <a:lnTo>
                              <a:pt x="640291" y="1013355"/>
                            </a:lnTo>
                            <a:lnTo>
                              <a:pt x="637645" y="1008063"/>
                            </a:lnTo>
                            <a:lnTo>
                              <a:pt x="637645" y="1002771"/>
                            </a:lnTo>
                            <a:lnTo>
                              <a:pt x="640291" y="1000125"/>
                            </a:lnTo>
                            <a:lnTo>
                              <a:pt x="640291" y="994834"/>
                            </a:lnTo>
                            <a:lnTo>
                              <a:pt x="640291" y="986896"/>
                            </a:lnTo>
                            <a:lnTo>
                              <a:pt x="642937" y="981605"/>
                            </a:lnTo>
                            <a:lnTo>
                              <a:pt x="642937" y="976313"/>
                            </a:lnTo>
                            <a:lnTo>
                              <a:pt x="645583" y="976313"/>
                            </a:lnTo>
                            <a:lnTo>
                              <a:pt x="648229" y="978959"/>
                            </a:lnTo>
                            <a:lnTo>
                              <a:pt x="648229" y="984250"/>
                            </a:lnTo>
                            <a:lnTo>
                              <a:pt x="653520" y="973667"/>
                            </a:lnTo>
                            <a:lnTo>
                              <a:pt x="656166" y="968375"/>
                            </a:lnTo>
                            <a:lnTo>
                              <a:pt x="653520" y="963084"/>
                            </a:lnTo>
                            <a:lnTo>
                              <a:pt x="653520" y="957792"/>
                            </a:lnTo>
                            <a:lnTo>
                              <a:pt x="653520" y="955146"/>
                            </a:lnTo>
                            <a:lnTo>
                              <a:pt x="656166" y="947209"/>
                            </a:lnTo>
                            <a:lnTo>
                              <a:pt x="661458" y="941917"/>
                            </a:lnTo>
                            <a:lnTo>
                              <a:pt x="664104" y="941917"/>
                            </a:lnTo>
                            <a:lnTo>
                              <a:pt x="669395" y="941917"/>
                            </a:lnTo>
                            <a:lnTo>
                              <a:pt x="674687" y="944563"/>
                            </a:lnTo>
                            <a:lnTo>
                              <a:pt x="674687" y="941917"/>
                            </a:lnTo>
                            <a:lnTo>
                              <a:pt x="677333" y="941917"/>
                            </a:lnTo>
                            <a:lnTo>
                              <a:pt x="679979" y="941917"/>
                            </a:lnTo>
                            <a:lnTo>
                              <a:pt x="687916" y="944563"/>
                            </a:lnTo>
                            <a:lnTo>
                              <a:pt x="695854" y="947209"/>
                            </a:lnTo>
                            <a:lnTo>
                              <a:pt x="706437" y="947209"/>
                            </a:lnTo>
                            <a:lnTo>
                              <a:pt x="709083" y="947209"/>
                            </a:lnTo>
                            <a:lnTo>
                              <a:pt x="714375" y="947209"/>
                            </a:lnTo>
                            <a:lnTo>
                              <a:pt x="722312" y="944563"/>
                            </a:lnTo>
                            <a:lnTo>
                              <a:pt x="727604" y="944563"/>
                            </a:lnTo>
                            <a:lnTo>
                              <a:pt x="735541" y="939271"/>
                            </a:lnTo>
                            <a:close/>
                            <a:moveTo>
                              <a:pt x="965730" y="0"/>
                            </a:moveTo>
                            <a:lnTo>
                              <a:pt x="971021" y="0"/>
                            </a:lnTo>
                            <a:lnTo>
                              <a:pt x="973667" y="0"/>
                            </a:lnTo>
                            <a:lnTo>
                              <a:pt x="973667" y="2646"/>
                            </a:lnTo>
                            <a:lnTo>
                              <a:pt x="976313" y="5292"/>
                            </a:lnTo>
                            <a:lnTo>
                              <a:pt x="978959" y="10583"/>
                            </a:lnTo>
                            <a:lnTo>
                              <a:pt x="976313" y="18521"/>
                            </a:lnTo>
                            <a:lnTo>
                              <a:pt x="973667" y="26458"/>
                            </a:lnTo>
                            <a:lnTo>
                              <a:pt x="976313" y="29104"/>
                            </a:lnTo>
                            <a:lnTo>
                              <a:pt x="978959" y="31750"/>
                            </a:lnTo>
                            <a:lnTo>
                              <a:pt x="978959" y="37042"/>
                            </a:lnTo>
                            <a:lnTo>
                              <a:pt x="978959" y="39687"/>
                            </a:lnTo>
                            <a:lnTo>
                              <a:pt x="981605" y="42333"/>
                            </a:lnTo>
                            <a:lnTo>
                              <a:pt x="984251" y="44979"/>
                            </a:lnTo>
                            <a:lnTo>
                              <a:pt x="984251" y="50271"/>
                            </a:lnTo>
                            <a:lnTo>
                              <a:pt x="981605" y="52917"/>
                            </a:lnTo>
                            <a:lnTo>
                              <a:pt x="984251" y="52917"/>
                            </a:lnTo>
                            <a:lnTo>
                              <a:pt x="986896" y="50271"/>
                            </a:lnTo>
                            <a:lnTo>
                              <a:pt x="989542" y="52917"/>
                            </a:lnTo>
                            <a:lnTo>
                              <a:pt x="989542" y="55562"/>
                            </a:lnTo>
                            <a:lnTo>
                              <a:pt x="989542" y="58208"/>
                            </a:lnTo>
                            <a:lnTo>
                              <a:pt x="989542" y="60854"/>
                            </a:lnTo>
                            <a:lnTo>
                              <a:pt x="989542" y="68792"/>
                            </a:lnTo>
                            <a:lnTo>
                              <a:pt x="989542" y="74083"/>
                            </a:lnTo>
                            <a:lnTo>
                              <a:pt x="989542" y="82021"/>
                            </a:lnTo>
                            <a:lnTo>
                              <a:pt x="986896" y="89958"/>
                            </a:lnTo>
                            <a:lnTo>
                              <a:pt x="984251" y="95250"/>
                            </a:lnTo>
                            <a:lnTo>
                              <a:pt x="986896" y="97896"/>
                            </a:lnTo>
                            <a:lnTo>
                              <a:pt x="989542" y="100542"/>
                            </a:lnTo>
                            <a:lnTo>
                              <a:pt x="989542" y="105833"/>
                            </a:lnTo>
                            <a:lnTo>
                              <a:pt x="986896" y="111125"/>
                            </a:lnTo>
                            <a:lnTo>
                              <a:pt x="989542" y="113771"/>
                            </a:lnTo>
                            <a:lnTo>
                              <a:pt x="994834" y="113771"/>
                            </a:lnTo>
                            <a:lnTo>
                              <a:pt x="1000126" y="113771"/>
                            </a:lnTo>
                            <a:lnTo>
                              <a:pt x="1002771" y="111125"/>
                            </a:lnTo>
                            <a:lnTo>
                              <a:pt x="1008063" y="108479"/>
                            </a:lnTo>
                            <a:lnTo>
                              <a:pt x="1010709" y="113771"/>
                            </a:lnTo>
                            <a:lnTo>
                              <a:pt x="1008063" y="116417"/>
                            </a:lnTo>
                            <a:lnTo>
                              <a:pt x="1010709" y="119062"/>
                            </a:lnTo>
                            <a:lnTo>
                              <a:pt x="1016001" y="124354"/>
                            </a:lnTo>
                            <a:lnTo>
                              <a:pt x="1023938" y="129646"/>
                            </a:lnTo>
                            <a:lnTo>
                              <a:pt x="1026584" y="129646"/>
                            </a:lnTo>
                            <a:lnTo>
                              <a:pt x="1029230" y="132292"/>
                            </a:lnTo>
                            <a:lnTo>
                              <a:pt x="1031876" y="134937"/>
                            </a:lnTo>
                            <a:lnTo>
                              <a:pt x="1031876" y="140229"/>
                            </a:lnTo>
                            <a:lnTo>
                              <a:pt x="1026584" y="142875"/>
                            </a:lnTo>
                            <a:lnTo>
                              <a:pt x="1026584" y="148167"/>
                            </a:lnTo>
                            <a:lnTo>
                              <a:pt x="1026584" y="156104"/>
                            </a:lnTo>
                            <a:lnTo>
                              <a:pt x="1023938" y="158750"/>
                            </a:lnTo>
                            <a:lnTo>
                              <a:pt x="1021292" y="164041"/>
                            </a:lnTo>
                            <a:lnTo>
                              <a:pt x="1021292" y="166687"/>
                            </a:lnTo>
                            <a:lnTo>
                              <a:pt x="1021292" y="171979"/>
                            </a:lnTo>
                            <a:lnTo>
                              <a:pt x="1021292" y="177271"/>
                            </a:lnTo>
                            <a:lnTo>
                              <a:pt x="1018646" y="179916"/>
                            </a:lnTo>
                            <a:lnTo>
                              <a:pt x="1021292" y="187854"/>
                            </a:lnTo>
                            <a:lnTo>
                              <a:pt x="1026584" y="198437"/>
                            </a:lnTo>
                            <a:lnTo>
                              <a:pt x="1026584" y="209021"/>
                            </a:lnTo>
                            <a:lnTo>
                              <a:pt x="1026584" y="216958"/>
                            </a:lnTo>
                            <a:lnTo>
                              <a:pt x="1023938" y="224896"/>
                            </a:lnTo>
                            <a:lnTo>
                              <a:pt x="1018646" y="238125"/>
                            </a:lnTo>
                            <a:lnTo>
                              <a:pt x="1018646" y="243416"/>
                            </a:lnTo>
                            <a:lnTo>
                              <a:pt x="1018646" y="248708"/>
                            </a:lnTo>
                            <a:lnTo>
                              <a:pt x="1021292" y="254000"/>
                            </a:lnTo>
                            <a:lnTo>
                              <a:pt x="1023938" y="259291"/>
                            </a:lnTo>
                            <a:lnTo>
                              <a:pt x="1026584" y="264583"/>
                            </a:lnTo>
                            <a:lnTo>
                              <a:pt x="1037167" y="269875"/>
                            </a:lnTo>
                            <a:lnTo>
                              <a:pt x="1045105" y="275166"/>
                            </a:lnTo>
                            <a:lnTo>
                              <a:pt x="1047751" y="280458"/>
                            </a:lnTo>
                            <a:lnTo>
                              <a:pt x="1050396" y="285750"/>
                            </a:lnTo>
                            <a:lnTo>
                              <a:pt x="1055688" y="285750"/>
                            </a:lnTo>
                            <a:lnTo>
                              <a:pt x="1060980" y="285750"/>
                            </a:lnTo>
                            <a:lnTo>
                              <a:pt x="1063626" y="288396"/>
                            </a:lnTo>
                            <a:lnTo>
                              <a:pt x="1066271" y="291041"/>
                            </a:lnTo>
                            <a:lnTo>
                              <a:pt x="1068917" y="291041"/>
                            </a:lnTo>
                            <a:lnTo>
                              <a:pt x="1071563" y="291041"/>
                            </a:lnTo>
                            <a:lnTo>
                              <a:pt x="1071563" y="293687"/>
                            </a:lnTo>
                            <a:lnTo>
                              <a:pt x="1071563" y="298979"/>
                            </a:lnTo>
                            <a:lnTo>
                              <a:pt x="1076855" y="301625"/>
                            </a:lnTo>
                            <a:lnTo>
                              <a:pt x="1079501" y="304271"/>
                            </a:lnTo>
                            <a:lnTo>
                              <a:pt x="1082146" y="309562"/>
                            </a:lnTo>
                            <a:lnTo>
                              <a:pt x="1082146" y="317500"/>
                            </a:lnTo>
                            <a:lnTo>
                              <a:pt x="1079501" y="314854"/>
                            </a:lnTo>
                            <a:lnTo>
                              <a:pt x="1076855" y="314854"/>
                            </a:lnTo>
                            <a:lnTo>
                              <a:pt x="1074209" y="314854"/>
                            </a:lnTo>
                            <a:lnTo>
                              <a:pt x="1071563" y="317500"/>
                            </a:lnTo>
                            <a:lnTo>
                              <a:pt x="1074209" y="320146"/>
                            </a:lnTo>
                            <a:lnTo>
                              <a:pt x="1076855" y="325437"/>
                            </a:lnTo>
                            <a:lnTo>
                              <a:pt x="1079501" y="333375"/>
                            </a:lnTo>
                            <a:lnTo>
                              <a:pt x="1079501" y="336021"/>
                            </a:lnTo>
                            <a:lnTo>
                              <a:pt x="1079501" y="341312"/>
                            </a:lnTo>
                            <a:lnTo>
                              <a:pt x="1076855" y="346604"/>
                            </a:lnTo>
                            <a:lnTo>
                              <a:pt x="1076855" y="349250"/>
                            </a:lnTo>
                            <a:lnTo>
                              <a:pt x="1079501" y="351896"/>
                            </a:lnTo>
                            <a:lnTo>
                              <a:pt x="1079501" y="354541"/>
                            </a:lnTo>
                            <a:lnTo>
                              <a:pt x="1076855" y="367771"/>
                            </a:lnTo>
                            <a:lnTo>
                              <a:pt x="1079501" y="370416"/>
                            </a:lnTo>
                            <a:lnTo>
                              <a:pt x="1082146" y="375708"/>
                            </a:lnTo>
                            <a:lnTo>
                              <a:pt x="1084792" y="367771"/>
                            </a:lnTo>
                            <a:lnTo>
                              <a:pt x="1090084" y="365125"/>
                            </a:lnTo>
                            <a:lnTo>
                              <a:pt x="1095376" y="370416"/>
                            </a:lnTo>
                            <a:lnTo>
                              <a:pt x="1103313" y="378354"/>
                            </a:lnTo>
                            <a:lnTo>
                              <a:pt x="1100667" y="373062"/>
                            </a:lnTo>
                            <a:lnTo>
                              <a:pt x="1100667" y="370416"/>
                            </a:lnTo>
                            <a:lnTo>
                              <a:pt x="1100667" y="367771"/>
                            </a:lnTo>
                            <a:lnTo>
                              <a:pt x="1105959" y="367771"/>
                            </a:lnTo>
                            <a:lnTo>
                              <a:pt x="1108605" y="370416"/>
                            </a:lnTo>
                            <a:lnTo>
                              <a:pt x="1108605" y="378354"/>
                            </a:lnTo>
                            <a:lnTo>
                              <a:pt x="1103313" y="391583"/>
                            </a:lnTo>
                            <a:lnTo>
                              <a:pt x="1103313" y="396875"/>
                            </a:lnTo>
                            <a:lnTo>
                              <a:pt x="1100667" y="402166"/>
                            </a:lnTo>
                            <a:lnTo>
                              <a:pt x="1105959" y="410104"/>
                            </a:lnTo>
                            <a:lnTo>
                              <a:pt x="1108605" y="415396"/>
                            </a:lnTo>
                            <a:lnTo>
                              <a:pt x="1108605" y="418041"/>
                            </a:lnTo>
                            <a:lnTo>
                              <a:pt x="1108605" y="423333"/>
                            </a:lnTo>
                            <a:lnTo>
                              <a:pt x="1111251" y="423333"/>
                            </a:lnTo>
                            <a:lnTo>
                              <a:pt x="1113896" y="425979"/>
                            </a:lnTo>
                            <a:lnTo>
                              <a:pt x="1119188" y="447146"/>
                            </a:lnTo>
                            <a:lnTo>
                              <a:pt x="1121834" y="457729"/>
                            </a:lnTo>
                            <a:lnTo>
                              <a:pt x="1124480" y="455083"/>
                            </a:lnTo>
                            <a:lnTo>
                              <a:pt x="1127126" y="444500"/>
                            </a:lnTo>
                            <a:lnTo>
                              <a:pt x="1129771" y="441854"/>
                            </a:lnTo>
                            <a:lnTo>
                              <a:pt x="1132417" y="447146"/>
                            </a:lnTo>
                            <a:lnTo>
                              <a:pt x="1132417" y="449791"/>
                            </a:lnTo>
                            <a:lnTo>
                              <a:pt x="1129771" y="455083"/>
                            </a:lnTo>
                            <a:lnTo>
                              <a:pt x="1127126" y="463020"/>
                            </a:lnTo>
                            <a:lnTo>
                              <a:pt x="1124480" y="465666"/>
                            </a:lnTo>
                            <a:lnTo>
                              <a:pt x="1124480" y="473604"/>
                            </a:lnTo>
                            <a:lnTo>
                              <a:pt x="1127126" y="478895"/>
                            </a:lnTo>
                            <a:lnTo>
                              <a:pt x="1124480" y="484187"/>
                            </a:lnTo>
                            <a:lnTo>
                              <a:pt x="1119188" y="492125"/>
                            </a:lnTo>
                            <a:lnTo>
                              <a:pt x="1116542" y="500062"/>
                            </a:lnTo>
                            <a:lnTo>
                              <a:pt x="1113896" y="502708"/>
                            </a:lnTo>
                            <a:lnTo>
                              <a:pt x="1116542" y="505354"/>
                            </a:lnTo>
                            <a:lnTo>
                              <a:pt x="1119188" y="510645"/>
                            </a:lnTo>
                            <a:lnTo>
                              <a:pt x="1119188" y="518583"/>
                            </a:lnTo>
                            <a:lnTo>
                              <a:pt x="1113896" y="539750"/>
                            </a:lnTo>
                            <a:lnTo>
                              <a:pt x="1103313" y="563562"/>
                            </a:lnTo>
                            <a:lnTo>
                              <a:pt x="1095376" y="574145"/>
                            </a:lnTo>
                            <a:lnTo>
                              <a:pt x="1087438" y="584729"/>
                            </a:lnTo>
                            <a:lnTo>
                              <a:pt x="1074209" y="600604"/>
                            </a:lnTo>
                            <a:lnTo>
                              <a:pt x="1063626" y="616479"/>
                            </a:lnTo>
                            <a:lnTo>
                              <a:pt x="1058334" y="627062"/>
                            </a:lnTo>
                            <a:lnTo>
                              <a:pt x="1053042" y="635000"/>
                            </a:lnTo>
                            <a:lnTo>
                              <a:pt x="1042459" y="645583"/>
                            </a:lnTo>
                            <a:lnTo>
                              <a:pt x="1042459" y="650875"/>
                            </a:lnTo>
                            <a:lnTo>
                              <a:pt x="1045105" y="653520"/>
                            </a:lnTo>
                            <a:lnTo>
                              <a:pt x="1045105" y="658812"/>
                            </a:lnTo>
                            <a:lnTo>
                              <a:pt x="1039813" y="664104"/>
                            </a:lnTo>
                            <a:lnTo>
                              <a:pt x="1023938" y="677333"/>
                            </a:lnTo>
                            <a:lnTo>
                              <a:pt x="1000126" y="698500"/>
                            </a:lnTo>
                            <a:lnTo>
                              <a:pt x="997480" y="703791"/>
                            </a:lnTo>
                            <a:lnTo>
                              <a:pt x="992188" y="709083"/>
                            </a:lnTo>
                            <a:lnTo>
                              <a:pt x="981605" y="711729"/>
                            </a:lnTo>
                            <a:lnTo>
                              <a:pt x="973667" y="714375"/>
                            </a:lnTo>
                            <a:lnTo>
                              <a:pt x="973667" y="717020"/>
                            </a:lnTo>
                            <a:lnTo>
                              <a:pt x="973667" y="719666"/>
                            </a:lnTo>
                            <a:lnTo>
                              <a:pt x="973667" y="722312"/>
                            </a:lnTo>
                            <a:lnTo>
                              <a:pt x="971021" y="722312"/>
                            </a:lnTo>
                            <a:lnTo>
                              <a:pt x="965730" y="722312"/>
                            </a:lnTo>
                            <a:lnTo>
                              <a:pt x="960438" y="727604"/>
                            </a:lnTo>
                            <a:lnTo>
                              <a:pt x="949855" y="743479"/>
                            </a:lnTo>
                            <a:lnTo>
                              <a:pt x="933980" y="762000"/>
                            </a:lnTo>
                            <a:lnTo>
                              <a:pt x="918105" y="777875"/>
                            </a:lnTo>
                            <a:lnTo>
                              <a:pt x="912813" y="783166"/>
                            </a:lnTo>
                            <a:lnTo>
                              <a:pt x="910167" y="791104"/>
                            </a:lnTo>
                            <a:lnTo>
                              <a:pt x="907521" y="799041"/>
                            </a:lnTo>
                            <a:lnTo>
                              <a:pt x="904876" y="799041"/>
                            </a:lnTo>
                            <a:lnTo>
                              <a:pt x="899584" y="804333"/>
                            </a:lnTo>
                            <a:lnTo>
                              <a:pt x="891646" y="812270"/>
                            </a:lnTo>
                            <a:lnTo>
                              <a:pt x="883709" y="812270"/>
                            </a:lnTo>
                            <a:lnTo>
                              <a:pt x="878417" y="812270"/>
                            </a:lnTo>
                            <a:lnTo>
                              <a:pt x="873126" y="814916"/>
                            </a:lnTo>
                            <a:lnTo>
                              <a:pt x="867834" y="822854"/>
                            </a:lnTo>
                            <a:lnTo>
                              <a:pt x="862542" y="828145"/>
                            </a:lnTo>
                            <a:lnTo>
                              <a:pt x="857251" y="833437"/>
                            </a:lnTo>
                            <a:lnTo>
                              <a:pt x="851959" y="836083"/>
                            </a:lnTo>
                            <a:lnTo>
                              <a:pt x="849313" y="838729"/>
                            </a:lnTo>
                            <a:lnTo>
                              <a:pt x="846667" y="844020"/>
                            </a:lnTo>
                            <a:lnTo>
                              <a:pt x="844021" y="849312"/>
                            </a:lnTo>
                            <a:lnTo>
                              <a:pt x="844021" y="851958"/>
                            </a:lnTo>
                            <a:lnTo>
                              <a:pt x="841376" y="849312"/>
                            </a:lnTo>
                            <a:lnTo>
                              <a:pt x="838730" y="851958"/>
                            </a:lnTo>
                            <a:lnTo>
                              <a:pt x="836084" y="854604"/>
                            </a:lnTo>
                            <a:lnTo>
                              <a:pt x="825500" y="854604"/>
                            </a:lnTo>
                            <a:lnTo>
                              <a:pt x="799042" y="851958"/>
                            </a:lnTo>
                            <a:lnTo>
                              <a:pt x="791105" y="851958"/>
                            </a:lnTo>
                            <a:lnTo>
                              <a:pt x="785813" y="854604"/>
                            </a:lnTo>
                            <a:lnTo>
                              <a:pt x="772584" y="865187"/>
                            </a:lnTo>
                            <a:lnTo>
                              <a:pt x="762000" y="875770"/>
                            </a:lnTo>
                            <a:lnTo>
                              <a:pt x="748771" y="883708"/>
                            </a:lnTo>
                            <a:lnTo>
                              <a:pt x="740834" y="886354"/>
                            </a:lnTo>
                            <a:lnTo>
                              <a:pt x="738188" y="886354"/>
                            </a:lnTo>
                            <a:lnTo>
                              <a:pt x="738188" y="881062"/>
                            </a:lnTo>
                            <a:lnTo>
                              <a:pt x="732896" y="878416"/>
                            </a:lnTo>
                            <a:lnTo>
                              <a:pt x="724959" y="878416"/>
                            </a:lnTo>
                            <a:lnTo>
                              <a:pt x="722313" y="875770"/>
                            </a:lnTo>
                            <a:lnTo>
                              <a:pt x="722313" y="873125"/>
                            </a:lnTo>
                            <a:lnTo>
                              <a:pt x="724959" y="870479"/>
                            </a:lnTo>
                            <a:lnTo>
                              <a:pt x="727605" y="867833"/>
                            </a:lnTo>
                            <a:lnTo>
                              <a:pt x="719667" y="870479"/>
                            </a:lnTo>
                            <a:lnTo>
                              <a:pt x="711730" y="870479"/>
                            </a:lnTo>
                            <a:lnTo>
                              <a:pt x="714375" y="865187"/>
                            </a:lnTo>
                            <a:lnTo>
                              <a:pt x="719667" y="862541"/>
                            </a:lnTo>
                            <a:lnTo>
                              <a:pt x="717021" y="862541"/>
                            </a:lnTo>
                            <a:lnTo>
                              <a:pt x="714375" y="862541"/>
                            </a:lnTo>
                            <a:lnTo>
                              <a:pt x="711730" y="862541"/>
                            </a:lnTo>
                            <a:lnTo>
                              <a:pt x="714375" y="854604"/>
                            </a:lnTo>
                            <a:lnTo>
                              <a:pt x="714375" y="849312"/>
                            </a:lnTo>
                            <a:lnTo>
                              <a:pt x="711730" y="849312"/>
                            </a:lnTo>
                            <a:lnTo>
                              <a:pt x="709084" y="851958"/>
                            </a:lnTo>
                            <a:lnTo>
                              <a:pt x="703792" y="857250"/>
                            </a:lnTo>
                            <a:lnTo>
                              <a:pt x="703792" y="859895"/>
                            </a:lnTo>
                            <a:lnTo>
                              <a:pt x="709084" y="859895"/>
                            </a:lnTo>
                            <a:lnTo>
                              <a:pt x="709084" y="862541"/>
                            </a:lnTo>
                            <a:lnTo>
                              <a:pt x="703792" y="865187"/>
                            </a:lnTo>
                            <a:lnTo>
                              <a:pt x="701146" y="865187"/>
                            </a:lnTo>
                            <a:lnTo>
                              <a:pt x="695855" y="865187"/>
                            </a:lnTo>
                            <a:lnTo>
                              <a:pt x="687917" y="870479"/>
                            </a:lnTo>
                            <a:lnTo>
                              <a:pt x="679980" y="875770"/>
                            </a:lnTo>
                            <a:lnTo>
                              <a:pt x="677334" y="875770"/>
                            </a:lnTo>
                            <a:lnTo>
                              <a:pt x="677334" y="873125"/>
                            </a:lnTo>
                            <a:lnTo>
                              <a:pt x="672042" y="873125"/>
                            </a:lnTo>
                            <a:lnTo>
                              <a:pt x="664105" y="875770"/>
                            </a:lnTo>
                            <a:lnTo>
                              <a:pt x="658813" y="873125"/>
                            </a:lnTo>
                            <a:lnTo>
                              <a:pt x="656167" y="870479"/>
                            </a:lnTo>
                            <a:lnTo>
                              <a:pt x="648230" y="870479"/>
                            </a:lnTo>
                            <a:lnTo>
                              <a:pt x="642938" y="870479"/>
                            </a:lnTo>
                            <a:lnTo>
                              <a:pt x="637646" y="867833"/>
                            </a:lnTo>
                            <a:lnTo>
                              <a:pt x="629708" y="862541"/>
                            </a:lnTo>
                            <a:lnTo>
                              <a:pt x="616479" y="857250"/>
                            </a:lnTo>
                            <a:lnTo>
                              <a:pt x="605896" y="851958"/>
                            </a:lnTo>
                            <a:lnTo>
                              <a:pt x="605896" y="849312"/>
                            </a:lnTo>
                            <a:lnTo>
                              <a:pt x="605896" y="846666"/>
                            </a:lnTo>
                            <a:lnTo>
                              <a:pt x="605896" y="841375"/>
                            </a:lnTo>
                            <a:lnTo>
                              <a:pt x="603250" y="836083"/>
                            </a:lnTo>
                            <a:lnTo>
                              <a:pt x="600604" y="833437"/>
                            </a:lnTo>
                            <a:lnTo>
                              <a:pt x="597958" y="828145"/>
                            </a:lnTo>
                            <a:lnTo>
                              <a:pt x="597958" y="825500"/>
                            </a:lnTo>
                            <a:lnTo>
                              <a:pt x="603250" y="820208"/>
                            </a:lnTo>
                            <a:lnTo>
                              <a:pt x="611187" y="812270"/>
                            </a:lnTo>
                            <a:lnTo>
                              <a:pt x="613833" y="806979"/>
                            </a:lnTo>
                            <a:lnTo>
                              <a:pt x="616479" y="799041"/>
                            </a:lnTo>
                            <a:lnTo>
                              <a:pt x="616479" y="793750"/>
                            </a:lnTo>
                            <a:lnTo>
                              <a:pt x="619125" y="791104"/>
                            </a:lnTo>
                            <a:lnTo>
                              <a:pt x="627062" y="788458"/>
                            </a:lnTo>
                            <a:lnTo>
                              <a:pt x="632354" y="785812"/>
                            </a:lnTo>
                            <a:lnTo>
                              <a:pt x="627062" y="783166"/>
                            </a:lnTo>
                            <a:lnTo>
                              <a:pt x="621771" y="783166"/>
                            </a:lnTo>
                            <a:lnTo>
                              <a:pt x="619125" y="785812"/>
                            </a:lnTo>
                            <a:lnTo>
                              <a:pt x="613833" y="785812"/>
                            </a:lnTo>
                            <a:lnTo>
                              <a:pt x="597958" y="783166"/>
                            </a:lnTo>
                            <a:lnTo>
                              <a:pt x="608542" y="777875"/>
                            </a:lnTo>
                            <a:lnTo>
                              <a:pt x="613833" y="772583"/>
                            </a:lnTo>
                            <a:lnTo>
                              <a:pt x="613833" y="764645"/>
                            </a:lnTo>
                            <a:lnTo>
                              <a:pt x="613833" y="754062"/>
                            </a:lnTo>
                            <a:lnTo>
                              <a:pt x="613833" y="748770"/>
                            </a:lnTo>
                            <a:lnTo>
                              <a:pt x="611187" y="748770"/>
                            </a:lnTo>
                            <a:lnTo>
                              <a:pt x="600604" y="762000"/>
                            </a:lnTo>
                            <a:lnTo>
                              <a:pt x="595312" y="769937"/>
                            </a:lnTo>
                            <a:lnTo>
                              <a:pt x="590021" y="775229"/>
                            </a:lnTo>
                            <a:lnTo>
                              <a:pt x="582083" y="775229"/>
                            </a:lnTo>
                            <a:lnTo>
                              <a:pt x="574146" y="775229"/>
                            </a:lnTo>
                            <a:lnTo>
                              <a:pt x="568854" y="775229"/>
                            </a:lnTo>
                            <a:lnTo>
                              <a:pt x="566208" y="775229"/>
                            </a:lnTo>
                            <a:lnTo>
                              <a:pt x="566208" y="772583"/>
                            </a:lnTo>
                            <a:lnTo>
                              <a:pt x="566208" y="769937"/>
                            </a:lnTo>
                            <a:lnTo>
                              <a:pt x="574146" y="764645"/>
                            </a:lnTo>
                            <a:lnTo>
                              <a:pt x="579437" y="764645"/>
                            </a:lnTo>
                            <a:lnTo>
                              <a:pt x="584729" y="762000"/>
                            </a:lnTo>
                            <a:lnTo>
                              <a:pt x="584729" y="759354"/>
                            </a:lnTo>
                            <a:lnTo>
                              <a:pt x="587375" y="754062"/>
                            </a:lnTo>
                            <a:lnTo>
                              <a:pt x="590021" y="748770"/>
                            </a:lnTo>
                            <a:lnTo>
                              <a:pt x="597958" y="743479"/>
                            </a:lnTo>
                            <a:lnTo>
                              <a:pt x="608542" y="735541"/>
                            </a:lnTo>
                            <a:lnTo>
                              <a:pt x="619125" y="727604"/>
                            </a:lnTo>
                            <a:lnTo>
                              <a:pt x="619125" y="724958"/>
                            </a:lnTo>
                            <a:lnTo>
                              <a:pt x="619125" y="722312"/>
                            </a:lnTo>
                            <a:lnTo>
                              <a:pt x="616479" y="719666"/>
                            </a:lnTo>
                            <a:lnTo>
                              <a:pt x="621771" y="717020"/>
                            </a:lnTo>
                            <a:lnTo>
                              <a:pt x="624417" y="711729"/>
                            </a:lnTo>
                            <a:lnTo>
                              <a:pt x="624417" y="706437"/>
                            </a:lnTo>
                            <a:lnTo>
                              <a:pt x="621771" y="701145"/>
                            </a:lnTo>
                            <a:lnTo>
                              <a:pt x="627062" y="695854"/>
                            </a:lnTo>
                            <a:lnTo>
                              <a:pt x="619125" y="698500"/>
                            </a:lnTo>
                            <a:lnTo>
                              <a:pt x="616479" y="703791"/>
                            </a:lnTo>
                            <a:lnTo>
                              <a:pt x="613833" y="709083"/>
                            </a:lnTo>
                            <a:lnTo>
                              <a:pt x="611187" y="711729"/>
                            </a:lnTo>
                            <a:lnTo>
                              <a:pt x="608542" y="711729"/>
                            </a:lnTo>
                            <a:lnTo>
                              <a:pt x="605896" y="714375"/>
                            </a:lnTo>
                            <a:lnTo>
                              <a:pt x="600604" y="722312"/>
                            </a:lnTo>
                            <a:lnTo>
                              <a:pt x="595312" y="730250"/>
                            </a:lnTo>
                            <a:lnTo>
                              <a:pt x="592667" y="732895"/>
                            </a:lnTo>
                            <a:lnTo>
                              <a:pt x="587375" y="732895"/>
                            </a:lnTo>
                            <a:lnTo>
                              <a:pt x="582083" y="732895"/>
                            </a:lnTo>
                            <a:lnTo>
                              <a:pt x="574146" y="738187"/>
                            </a:lnTo>
                            <a:lnTo>
                              <a:pt x="563562" y="746125"/>
                            </a:lnTo>
                            <a:lnTo>
                              <a:pt x="550333" y="751416"/>
                            </a:lnTo>
                            <a:lnTo>
                              <a:pt x="547687" y="754062"/>
                            </a:lnTo>
                            <a:lnTo>
                              <a:pt x="550333" y="756708"/>
                            </a:lnTo>
                            <a:lnTo>
                              <a:pt x="545042" y="759354"/>
                            </a:lnTo>
                            <a:lnTo>
                              <a:pt x="534458" y="762000"/>
                            </a:lnTo>
                            <a:lnTo>
                              <a:pt x="531812" y="756708"/>
                            </a:lnTo>
                            <a:lnTo>
                              <a:pt x="529167" y="751416"/>
                            </a:lnTo>
                            <a:lnTo>
                              <a:pt x="531812" y="746125"/>
                            </a:lnTo>
                            <a:lnTo>
                              <a:pt x="534458" y="735541"/>
                            </a:lnTo>
                            <a:lnTo>
                              <a:pt x="534458" y="724958"/>
                            </a:lnTo>
                            <a:lnTo>
                              <a:pt x="534458" y="714375"/>
                            </a:lnTo>
                            <a:lnTo>
                              <a:pt x="531812" y="711729"/>
                            </a:lnTo>
                            <a:lnTo>
                              <a:pt x="526521" y="709083"/>
                            </a:lnTo>
                            <a:lnTo>
                              <a:pt x="518583" y="706437"/>
                            </a:lnTo>
                            <a:lnTo>
                              <a:pt x="515937" y="701145"/>
                            </a:lnTo>
                            <a:lnTo>
                              <a:pt x="513292" y="698500"/>
                            </a:lnTo>
                            <a:lnTo>
                              <a:pt x="515937" y="695854"/>
                            </a:lnTo>
                            <a:lnTo>
                              <a:pt x="515937" y="693208"/>
                            </a:lnTo>
                            <a:lnTo>
                              <a:pt x="513292" y="687916"/>
                            </a:lnTo>
                            <a:lnTo>
                              <a:pt x="508000" y="682625"/>
                            </a:lnTo>
                            <a:lnTo>
                              <a:pt x="500062" y="682625"/>
                            </a:lnTo>
                            <a:lnTo>
                              <a:pt x="494771" y="685270"/>
                            </a:lnTo>
                            <a:lnTo>
                              <a:pt x="492125" y="682625"/>
                            </a:lnTo>
                            <a:lnTo>
                              <a:pt x="492125" y="679979"/>
                            </a:lnTo>
                            <a:lnTo>
                              <a:pt x="486833" y="679979"/>
                            </a:lnTo>
                            <a:lnTo>
                              <a:pt x="481542" y="682625"/>
                            </a:lnTo>
                            <a:lnTo>
                              <a:pt x="476250" y="679979"/>
                            </a:lnTo>
                            <a:lnTo>
                              <a:pt x="468312" y="674687"/>
                            </a:lnTo>
                            <a:lnTo>
                              <a:pt x="460375" y="666750"/>
                            </a:lnTo>
                            <a:lnTo>
                              <a:pt x="455083" y="666750"/>
                            </a:lnTo>
                            <a:lnTo>
                              <a:pt x="449792" y="666750"/>
                            </a:lnTo>
                            <a:lnTo>
                              <a:pt x="439208" y="666750"/>
                            </a:lnTo>
                            <a:lnTo>
                              <a:pt x="428625" y="664104"/>
                            </a:lnTo>
                            <a:lnTo>
                              <a:pt x="415396" y="664104"/>
                            </a:lnTo>
                            <a:lnTo>
                              <a:pt x="399521" y="666750"/>
                            </a:lnTo>
                            <a:lnTo>
                              <a:pt x="381000" y="674687"/>
                            </a:lnTo>
                            <a:lnTo>
                              <a:pt x="370417" y="679979"/>
                            </a:lnTo>
                            <a:lnTo>
                              <a:pt x="362479" y="685270"/>
                            </a:lnTo>
                            <a:lnTo>
                              <a:pt x="346604" y="687916"/>
                            </a:lnTo>
                            <a:lnTo>
                              <a:pt x="322792" y="690562"/>
                            </a:lnTo>
                            <a:lnTo>
                              <a:pt x="309562" y="690562"/>
                            </a:lnTo>
                            <a:lnTo>
                              <a:pt x="296333" y="690562"/>
                            </a:lnTo>
                            <a:lnTo>
                              <a:pt x="285750" y="693208"/>
                            </a:lnTo>
                            <a:lnTo>
                              <a:pt x="264583" y="703791"/>
                            </a:lnTo>
                            <a:lnTo>
                              <a:pt x="256646" y="709083"/>
                            </a:lnTo>
                            <a:lnTo>
                              <a:pt x="248708" y="711729"/>
                            </a:lnTo>
                            <a:lnTo>
                              <a:pt x="238125" y="714375"/>
                            </a:lnTo>
                            <a:lnTo>
                              <a:pt x="238125" y="717020"/>
                            </a:lnTo>
                            <a:lnTo>
                              <a:pt x="235479" y="724958"/>
                            </a:lnTo>
                            <a:lnTo>
                              <a:pt x="224896" y="732895"/>
                            </a:lnTo>
                            <a:lnTo>
                              <a:pt x="211666" y="738187"/>
                            </a:lnTo>
                            <a:lnTo>
                              <a:pt x="206375" y="735541"/>
                            </a:lnTo>
                            <a:lnTo>
                              <a:pt x="203729" y="732895"/>
                            </a:lnTo>
                            <a:lnTo>
                              <a:pt x="201083" y="735541"/>
                            </a:lnTo>
                            <a:lnTo>
                              <a:pt x="198437" y="738187"/>
                            </a:lnTo>
                            <a:lnTo>
                              <a:pt x="193146" y="738187"/>
                            </a:lnTo>
                            <a:lnTo>
                              <a:pt x="187854" y="738187"/>
                            </a:lnTo>
                            <a:lnTo>
                              <a:pt x="179916" y="740833"/>
                            </a:lnTo>
                            <a:lnTo>
                              <a:pt x="177271" y="740833"/>
                            </a:lnTo>
                            <a:lnTo>
                              <a:pt x="174625" y="740833"/>
                            </a:lnTo>
                            <a:lnTo>
                              <a:pt x="169333" y="738187"/>
                            </a:lnTo>
                            <a:lnTo>
                              <a:pt x="166687" y="735541"/>
                            </a:lnTo>
                            <a:lnTo>
                              <a:pt x="164041" y="735541"/>
                            </a:lnTo>
                            <a:lnTo>
                              <a:pt x="156104" y="735541"/>
                            </a:lnTo>
                            <a:lnTo>
                              <a:pt x="148166" y="735541"/>
                            </a:lnTo>
                            <a:lnTo>
                              <a:pt x="140229" y="735541"/>
                            </a:lnTo>
                            <a:lnTo>
                              <a:pt x="124354" y="740833"/>
                            </a:lnTo>
                            <a:lnTo>
                              <a:pt x="119062" y="740833"/>
                            </a:lnTo>
                            <a:lnTo>
                              <a:pt x="116416" y="740833"/>
                            </a:lnTo>
                            <a:lnTo>
                              <a:pt x="108479" y="743479"/>
                            </a:lnTo>
                            <a:lnTo>
                              <a:pt x="100541" y="748770"/>
                            </a:lnTo>
                            <a:lnTo>
                              <a:pt x="97896" y="754062"/>
                            </a:lnTo>
                            <a:lnTo>
                              <a:pt x="97896" y="756708"/>
                            </a:lnTo>
                            <a:lnTo>
                              <a:pt x="92604" y="756708"/>
                            </a:lnTo>
                            <a:lnTo>
                              <a:pt x="87312" y="756708"/>
                            </a:lnTo>
                            <a:lnTo>
                              <a:pt x="84666" y="762000"/>
                            </a:lnTo>
                            <a:lnTo>
                              <a:pt x="79375" y="764645"/>
                            </a:lnTo>
                            <a:lnTo>
                              <a:pt x="76729" y="767291"/>
                            </a:lnTo>
                            <a:lnTo>
                              <a:pt x="71437" y="767291"/>
                            </a:lnTo>
                            <a:lnTo>
                              <a:pt x="68791" y="769937"/>
                            </a:lnTo>
                            <a:lnTo>
                              <a:pt x="66146" y="769937"/>
                            </a:lnTo>
                            <a:lnTo>
                              <a:pt x="60854" y="769937"/>
                            </a:lnTo>
                            <a:lnTo>
                              <a:pt x="58208" y="769937"/>
                            </a:lnTo>
                            <a:lnTo>
                              <a:pt x="55562" y="772583"/>
                            </a:lnTo>
                            <a:lnTo>
                              <a:pt x="52916" y="775229"/>
                            </a:lnTo>
                            <a:lnTo>
                              <a:pt x="47625" y="772583"/>
                            </a:lnTo>
                            <a:lnTo>
                              <a:pt x="39687" y="769937"/>
                            </a:lnTo>
                            <a:lnTo>
                              <a:pt x="37041" y="769937"/>
                            </a:lnTo>
                            <a:lnTo>
                              <a:pt x="31750" y="769937"/>
                            </a:lnTo>
                            <a:lnTo>
                              <a:pt x="29104" y="764645"/>
                            </a:lnTo>
                            <a:lnTo>
                              <a:pt x="23812" y="759354"/>
                            </a:lnTo>
                            <a:lnTo>
                              <a:pt x="21166" y="756708"/>
                            </a:lnTo>
                            <a:lnTo>
                              <a:pt x="13229" y="756708"/>
                            </a:lnTo>
                            <a:lnTo>
                              <a:pt x="7937" y="756708"/>
                            </a:lnTo>
                            <a:lnTo>
                              <a:pt x="7937" y="754062"/>
                            </a:lnTo>
                            <a:lnTo>
                              <a:pt x="5291" y="748770"/>
                            </a:lnTo>
                            <a:lnTo>
                              <a:pt x="5291" y="743479"/>
                            </a:lnTo>
                            <a:lnTo>
                              <a:pt x="2646" y="740833"/>
                            </a:lnTo>
                            <a:lnTo>
                              <a:pt x="0" y="738187"/>
                            </a:lnTo>
                            <a:lnTo>
                              <a:pt x="2646" y="735541"/>
                            </a:lnTo>
                            <a:lnTo>
                              <a:pt x="5291" y="732895"/>
                            </a:lnTo>
                            <a:lnTo>
                              <a:pt x="7937" y="735541"/>
                            </a:lnTo>
                            <a:lnTo>
                              <a:pt x="10583" y="735541"/>
                            </a:lnTo>
                            <a:lnTo>
                              <a:pt x="18521" y="732895"/>
                            </a:lnTo>
                            <a:lnTo>
                              <a:pt x="26458" y="730250"/>
                            </a:lnTo>
                            <a:lnTo>
                              <a:pt x="26458" y="727604"/>
                            </a:lnTo>
                            <a:lnTo>
                              <a:pt x="26458" y="724958"/>
                            </a:lnTo>
                            <a:lnTo>
                              <a:pt x="29104" y="719666"/>
                            </a:lnTo>
                            <a:lnTo>
                              <a:pt x="31750" y="714375"/>
                            </a:lnTo>
                            <a:lnTo>
                              <a:pt x="31750" y="709083"/>
                            </a:lnTo>
                            <a:lnTo>
                              <a:pt x="31750" y="703791"/>
                            </a:lnTo>
                            <a:lnTo>
                              <a:pt x="31750" y="698500"/>
                            </a:lnTo>
                            <a:lnTo>
                              <a:pt x="34396" y="695854"/>
                            </a:lnTo>
                            <a:lnTo>
                              <a:pt x="37041" y="698500"/>
                            </a:lnTo>
                            <a:lnTo>
                              <a:pt x="39687" y="701145"/>
                            </a:lnTo>
                            <a:lnTo>
                              <a:pt x="42333" y="698500"/>
                            </a:lnTo>
                            <a:lnTo>
                              <a:pt x="42333" y="695854"/>
                            </a:lnTo>
                            <a:lnTo>
                              <a:pt x="42333" y="693208"/>
                            </a:lnTo>
                            <a:lnTo>
                              <a:pt x="44979" y="685270"/>
                            </a:lnTo>
                            <a:lnTo>
                              <a:pt x="47625" y="677333"/>
                            </a:lnTo>
                            <a:lnTo>
                              <a:pt x="47625" y="669395"/>
                            </a:lnTo>
                            <a:lnTo>
                              <a:pt x="47625" y="650875"/>
                            </a:lnTo>
                            <a:lnTo>
                              <a:pt x="50271" y="627062"/>
                            </a:lnTo>
                            <a:lnTo>
                              <a:pt x="50271" y="616479"/>
                            </a:lnTo>
                            <a:lnTo>
                              <a:pt x="55562" y="605895"/>
                            </a:lnTo>
                            <a:lnTo>
                              <a:pt x="58208" y="595312"/>
                            </a:lnTo>
                            <a:lnTo>
                              <a:pt x="55562" y="584729"/>
                            </a:lnTo>
                            <a:lnTo>
                              <a:pt x="52916" y="574145"/>
                            </a:lnTo>
                            <a:lnTo>
                              <a:pt x="50271" y="566208"/>
                            </a:lnTo>
                            <a:lnTo>
                              <a:pt x="42333" y="550333"/>
                            </a:lnTo>
                            <a:lnTo>
                              <a:pt x="42333" y="542395"/>
                            </a:lnTo>
                            <a:lnTo>
                              <a:pt x="42333" y="537104"/>
                            </a:lnTo>
                            <a:lnTo>
                              <a:pt x="44979" y="531812"/>
                            </a:lnTo>
                            <a:lnTo>
                              <a:pt x="44979" y="523875"/>
                            </a:lnTo>
                            <a:lnTo>
                              <a:pt x="42333" y="515937"/>
                            </a:lnTo>
                            <a:lnTo>
                              <a:pt x="39687" y="497416"/>
                            </a:lnTo>
                            <a:lnTo>
                              <a:pt x="39687" y="492125"/>
                            </a:lnTo>
                            <a:lnTo>
                              <a:pt x="42333" y="489479"/>
                            </a:lnTo>
                            <a:lnTo>
                              <a:pt x="47625" y="494770"/>
                            </a:lnTo>
                            <a:lnTo>
                              <a:pt x="55562" y="500062"/>
                            </a:lnTo>
                            <a:lnTo>
                              <a:pt x="55562" y="494770"/>
                            </a:lnTo>
                            <a:lnTo>
                              <a:pt x="55562" y="484187"/>
                            </a:lnTo>
                            <a:lnTo>
                              <a:pt x="55562" y="473604"/>
                            </a:lnTo>
                            <a:lnTo>
                              <a:pt x="55562" y="468312"/>
                            </a:lnTo>
                            <a:lnTo>
                              <a:pt x="58208" y="465666"/>
                            </a:lnTo>
                            <a:lnTo>
                              <a:pt x="60854" y="468312"/>
                            </a:lnTo>
                            <a:lnTo>
                              <a:pt x="60854" y="476250"/>
                            </a:lnTo>
                            <a:lnTo>
                              <a:pt x="60854" y="484187"/>
                            </a:lnTo>
                            <a:lnTo>
                              <a:pt x="63500" y="497416"/>
                            </a:lnTo>
                            <a:lnTo>
                              <a:pt x="66146" y="492125"/>
                            </a:lnTo>
                            <a:lnTo>
                              <a:pt x="68791" y="486833"/>
                            </a:lnTo>
                            <a:lnTo>
                              <a:pt x="71437" y="484187"/>
                            </a:lnTo>
                            <a:lnTo>
                              <a:pt x="74083" y="478895"/>
                            </a:lnTo>
                            <a:lnTo>
                              <a:pt x="71437" y="463020"/>
                            </a:lnTo>
                            <a:lnTo>
                              <a:pt x="68791" y="447146"/>
                            </a:lnTo>
                            <a:lnTo>
                              <a:pt x="68791" y="439208"/>
                            </a:lnTo>
                            <a:lnTo>
                              <a:pt x="68791" y="431271"/>
                            </a:lnTo>
                            <a:lnTo>
                              <a:pt x="76729" y="423333"/>
                            </a:lnTo>
                            <a:lnTo>
                              <a:pt x="84666" y="418041"/>
                            </a:lnTo>
                            <a:lnTo>
                              <a:pt x="84666" y="412750"/>
                            </a:lnTo>
                            <a:lnTo>
                              <a:pt x="84666" y="410104"/>
                            </a:lnTo>
                            <a:lnTo>
                              <a:pt x="84666" y="407458"/>
                            </a:lnTo>
                            <a:lnTo>
                              <a:pt x="89958" y="404812"/>
                            </a:lnTo>
                            <a:lnTo>
                              <a:pt x="92604" y="402166"/>
                            </a:lnTo>
                            <a:lnTo>
                              <a:pt x="92604" y="399521"/>
                            </a:lnTo>
                            <a:lnTo>
                              <a:pt x="89958" y="396875"/>
                            </a:lnTo>
                            <a:lnTo>
                              <a:pt x="87312" y="394229"/>
                            </a:lnTo>
                            <a:lnTo>
                              <a:pt x="87312" y="391583"/>
                            </a:lnTo>
                            <a:lnTo>
                              <a:pt x="111125" y="365125"/>
                            </a:lnTo>
                            <a:lnTo>
                              <a:pt x="108479" y="378354"/>
                            </a:lnTo>
                            <a:lnTo>
                              <a:pt x="108479" y="383646"/>
                            </a:lnTo>
                            <a:lnTo>
                              <a:pt x="108479" y="386291"/>
                            </a:lnTo>
                            <a:lnTo>
                              <a:pt x="113771" y="381000"/>
                            </a:lnTo>
                            <a:lnTo>
                              <a:pt x="119062" y="378354"/>
                            </a:lnTo>
                            <a:lnTo>
                              <a:pt x="119062" y="370416"/>
                            </a:lnTo>
                            <a:lnTo>
                              <a:pt x="119062" y="365125"/>
                            </a:lnTo>
                            <a:lnTo>
                              <a:pt x="121708" y="362479"/>
                            </a:lnTo>
                            <a:lnTo>
                              <a:pt x="127000" y="359833"/>
                            </a:lnTo>
                            <a:lnTo>
                              <a:pt x="137583" y="357187"/>
                            </a:lnTo>
                            <a:lnTo>
                              <a:pt x="145521" y="351896"/>
                            </a:lnTo>
                            <a:lnTo>
                              <a:pt x="150812" y="343958"/>
                            </a:lnTo>
                            <a:lnTo>
                              <a:pt x="158750" y="333375"/>
                            </a:lnTo>
                            <a:lnTo>
                              <a:pt x="166687" y="325437"/>
                            </a:lnTo>
                            <a:lnTo>
                              <a:pt x="169333" y="325437"/>
                            </a:lnTo>
                            <a:lnTo>
                              <a:pt x="174625" y="328083"/>
                            </a:lnTo>
                            <a:lnTo>
                              <a:pt x="187854" y="325437"/>
                            </a:lnTo>
                            <a:lnTo>
                              <a:pt x="203729" y="320146"/>
                            </a:lnTo>
                            <a:lnTo>
                              <a:pt x="222250" y="317500"/>
                            </a:lnTo>
                            <a:lnTo>
                              <a:pt x="227542" y="317500"/>
                            </a:lnTo>
                            <a:lnTo>
                              <a:pt x="227542" y="314854"/>
                            </a:lnTo>
                            <a:lnTo>
                              <a:pt x="230187" y="312208"/>
                            </a:lnTo>
                            <a:lnTo>
                              <a:pt x="238125" y="309562"/>
                            </a:lnTo>
                            <a:lnTo>
                              <a:pt x="254000" y="306916"/>
                            </a:lnTo>
                            <a:lnTo>
                              <a:pt x="261937" y="304271"/>
                            </a:lnTo>
                            <a:lnTo>
                              <a:pt x="275167" y="298979"/>
                            </a:lnTo>
                            <a:lnTo>
                              <a:pt x="301625" y="293687"/>
                            </a:lnTo>
                            <a:lnTo>
                              <a:pt x="320146" y="285750"/>
                            </a:lnTo>
                            <a:lnTo>
                              <a:pt x="330729" y="277812"/>
                            </a:lnTo>
                            <a:lnTo>
                              <a:pt x="338667" y="267229"/>
                            </a:lnTo>
                            <a:lnTo>
                              <a:pt x="354542" y="240771"/>
                            </a:lnTo>
                            <a:lnTo>
                              <a:pt x="359833" y="235479"/>
                            </a:lnTo>
                            <a:lnTo>
                              <a:pt x="370417" y="235479"/>
                            </a:lnTo>
                            <a:lnTo>
                              <a:pt x="373062" y="232833"/>
                            </a:lnTo>
                            <a:lnTo>
                              <a:pt x="370417" y="230187"/>
                            </a:lnTo>
                            <a:lnTo>
                              <a:pt x="365125" y="224896"/>
                            </a:lnTo>
                            <a:lnTo>
                              <a:pt x="365125" y="222250"/>
                            </a:lnTo>
                            <a:lnTo>
                              <a:pt x="365125" y="219604"/>
                            </a:lnTo>
                            <a:lnTo>
                              <a:pt x="367771" y="211666"/>
                            </a:lnTo>
                            <a:lnTo>
                              <a:pt x="365125" y="209021"/>
                            </a:lnTo>
                            <a:lnTo>
                              <a:pt x="370417" y="203729"/>
                            </a:lnTo>
                            <a:lnTo>
                              <a:pt x="378354" y="195791"/>
                            </a:lnTo>
                            <a:lnTo>
                              <a:pt x="386292" y="190500"/>
                            </a:lnTo>
                            <a:lnTo>
                              <a:pt x="391583" y="185208"/>
                            </a:lnTo>
                            <a:lnTo>
                              <a:pt x="394229" y="185208"/>
                            </a:lnTo>
                            <a:lnTo>
                              <a:pt x="396875" y="185208"/>
                            </a:lnTo>
                            <a:lnTo>
                              <a:pt x="396875" y="187854"/>
                            </a:lnTo>
                            <a:lnTo>
                              <a:pt x="394229" y="190500"/>
                            </a:lnTo>
                            <a:lnTo>
                              <a:pt x="399521" y="198437"/>
                            </a:lnTo>
                            <a:lnTo>
                              <a:pt x="410104" y="214312"/>
                            </a:lnTo>
                            <a:lnTo>
                              <a:pt x="410104" y="206375"/>
                            </a:lnTo>
                            <a:lnTo>
                              <a:pt x="410104" y="201083"/>
                            </a:lnTo>
                            <a:lnTo>
                              <a:pt x="412750" y="195791"/>
                            </a:lnTo>
                            <a:lnTo>
                              <a:pt x="418042" y="195791"/>
                            </a:lnTo>
                            <a:lnTo>
                              <a:pt x="407458" y="182562"/>
                            </a:lnTo>
                            <a:lnTo>
                              <a:pt x="407458" y="179916"/>
                            </a:lnTo>
                            <a:lnTo>
                              <a:pt x="412750" y="179916"/>
                            </a:lnTo>
                            <a:lnTo>
                              <a:pt x="415396" y="177271"/>
                            </a:lnTo>
                            <a:lnTo>
                              <a:pt x="415396" y="171979"/>
                            </a:lnTo>
                            <a:lnTo>
                              <a:pt x="415396" y="166687"/>
                            </a:lnTo>
                            <a:lnTo>
                              <a:pt x="423333" y="169333"/>
                            </a:lnTo>
                            <a:lnTo>
                              <a:pt x="428625" y="171979"/>
                            </a:lnTo>
                            <a:lnTo>
                              <a:pt x="433917" y="174625"/>
                            </a:lnTo>
                            <a:lnTo>
                              <a:pt x="431271" y="177271"/>
                            </a:lnTo>
                            <a:lnTo>
                              <a:pt x="428625" y="182562"/>
                            </a:lnTo>
                            <a:lnTo>
                              <a:pt x="433917" y="179916"/>
                            </a:lnTo>
                            <a:lnTo>
                              <a:pt x="447146" y="182562"/>
                            </a:lnTo>
                            <a:lnTo>
                              <a:pt x="439208" y="177271"/>
                            </a:lnTo>
                            <a:lnTo>
                              <a:pt x="439208" y="174625"/>
                            </a:lnTo>
                            <a:lnTo>
                              <a:pt x="439208" y="171979"/>
                            </a:lnTo>
                            <a:lnTo>
                              <a:pt x="449792" y="158750"/>
                            </a:lnTo>
                            <a:lnTo>
                              <a:pt x="444500" y="161396"/>
                            </a:lnTo>
                            <a:lnTo>
                              <a:pt x="439208" y="171979"/>
                            </a:lnTo>
                            <a:lnTo>
                              <a:pt x="436562" y="164041"/>
                            </a:lnTo>
                            <a:lnTo>
                              <a:pt x="436562" y="158750"/>
                            </a:lnTo>
                            <a:lnTo>
                              <a:pt x="441854" y="153458"/>
                            </a:lnTo>
                            <a:lnTo>
                              <a:pt x="447146" y="150812"/>
                            </a:lnTo>
                            <a:lnTo>
                              <a:pt x="447146" y="148167"/>
                            </a:lnTo>
                            <a:lnTo>
                              <a:pt x="447146" y="145521"/>
                            </a:lnTo>
                            <a:lnTo>
                              <a:pt x="449792" y="142875"/>
                            </a:lnTo>
                            <a:lnTo>
                              <a:pt x="452437" y="145521"/>
                            </a:lnTo>
                            <a:lnTo>
                              <a:pt x="455083" y="148167"/>
                            </a:lnTo>
                            <a:lnTo>
                              <a:pt x="457729" y="150812"/>
                            </a:lnTo>
                            <a:lnTo>
                              <a:pt x="460375" y="148167"/>
                            </a:lnTo>
                            <a:lnTo>
                              <a:pt x="463021" y="145521"/>
                            </a:lnTo>
                            <a:lnTo>
                              <a:pt x="457729" y="140229"/>
                            </a:lnTo>
                            <a:lnTo>
                              <a:pt x="455083" y="137583"/>
                            </a:lnTo>
                            <a:lnTo>
                              <a:pt x="455083" y="134937"/>
                            </a:lnTo>
                            <a:lnTo>
                              <a:pt x="460375" y="132292"/>
                            </a:lnTo>
                            <a:lnTo>
                              <a:pt x="468312" y="132292"/>
                            </a:lnTo>
                            <a:lnTo>
                              <a:pt x="468312" y="129646"/>
                            </a:lnTo>
                            <a:lnTo>
                              <a:pt x="463021" y="127000"/>
                            </a:lnTo>
                            <a:lnTo>
                              <a:pt x="468312" y="127000"/>
                            </a:lnTo>
                            <a:lnTo>
                              <a:pt x="473604" y="127000"/>
                            </a:lnTo>
                            <a:lnTo>
                              <a:pt x="476250" y="124354"/>
                            </a:lnTo>
                            <a:lnTo>
                              <a:pt x="473604" y="121708"/>
                            </a:lnTo>
                            <a:lnTo>
                              <a:pt x="468312" y="116417"/>
                            </a:lnTo>
                            <a:lnTo>
                              <a:pt x="470958" y="116417"/>
                            </a:lnTo>
                            <a:lnTo>
                              <a:pt x="476250" y="116417"/>
                            </a:lnTo>
                            <a:lnTo>
                              <a:pt x="478896" y="113771"/>
                            </a:lnTo>
                            <a:lnTo>
                              <a:pt x="478896" y="111125"/>
                            </a:lnTo>
                            <a:lnTo>
                              <a:pt x="481542" y="108479"/>
                            </a:lnTo>
                            <a:lnTo>
                              <a:pt x="489479" y="116417"/>
                            </a:lnTo>
                            <a:lnTo>
                              <a:pt x="489479" y="111125"/>
                            </a:lnTo>
                            <a:lnTo>
                              <a:pt x="492125" y="108479"/>
                            </a:lnTo>
                            <a:lnTo>
                              <a:pt x="489479" y="105833"/>
                            </a:lnTo>
                            <a:lnTo>
                              <a:pt x="489479" y="100542"/>
                            </a:lnTo>
                            <a:lnTo>
                              <a:pt x="492125" y="97896"/>
                            </a:lnTo>
                            <a:lnTo>
                              <a:pt x="500062" y="95250"/>
                            </a:lnTo>
                            <a:lnTo>
                              <a:pt x="505354" y="95250"/>
                            </a:lnTo>
                            <a:lnTo>
                              <a:pt x="505354" y="97896"/>
                            </a:lnTo>
                            <a:lnTo>
                              <a:pt x="508000" y="97896"/>
                            </a:lnTo>
                            <a:lnTo>
                              <a:pt x="510646" y="97896"/>
                            </a:lnTo>
                            <a:lnTo>
                              <a:pt x="513292" y="95250"/>
                            </a:lnTo>
                            <a:lnTo>
                              <a:pt x="515937" y="97896"/>
                            </a:lnTo>
                            <a:lnTo>
                              <a:pt x="521229" y="100542"/>
                            </a:lnTo>
                            <a:lnTo>
                              <a:pt x="526521" y="100542"/>
                            </a:lnTo>
                            <a:lnTo>
                              <a:pt x="531812" y="100542"/>
                            </a:lnTo>
                            <a:lnTo>
                              <a:pt x="537104" y="108479"/>
                            </a:lnTo>
                            <a:lnTo>
                              <a:pt x="542396" y="116417"/>
                            </a:lnTo>
                            <a:lnTo>
                              <a:pt x="547687" y="119062"/>
                            </a:lnTo>
                            <a:lnTo>
                              <a:pt x="550333" y="121708"/>
                            </a:lnTo>
                            <a:lnTo>
                              <a:pt x="547687" y="124354"/>
                            </a:lnTo>
                            <a:lnTo>
                              <a:pt x="545042" y="127000"/>
                            </a:lnTo>
                            <a:lnTo>
                              <a:pt x="545042" y="129646"/>
                            </a:lnTo>
                            <a:lnTo>
                              <a:pt x="547687" y="132292"/>
                            </a:lnTo>
                            <a:lnTo>
                              <a:pt x="542396" y="140229"/>
                            </a:lnTo>
                            <a:lnTo>
                              <a:pt x="550333" y="134937"/>
                            </a:lnTo>
                            <a:lnTo>
                              <a:pt x="552979" y="134937"/>
                            </a:lnTo>
                            <a:lnTo>
                              <a:pt x="550333" y="132292"/>
                            </a:lnTo>
                            <a:lnTo>
                              <a:pt x="550333" y="127000"/>
                            </a:lnTo>
                            <a:lnTo>
                              <a:pt x="555625" y="127000"/>
                            </a:lnTo>
                            <a:lnTo>
                              <a:pt x="563562" y="127000"/>
                            </a:lnTo>
                            <a:lnTo>
                              <a:pt x="574146" y="129646"/>
                            </a:lnTo>
                            <a:lnTo>
                              <a:pt x="582083" y="132292"/>
                            </a:lnTo>
                            <a:lnTo>
                              <a:pt x="584729" y="134937"/>
                            </a:lnTo>
                            <a:lnTo>
                              <a:pt x="587375" y="140229"/>
                            </a:lnTo>
                            <a:lnTo>
                              <a:pt x="597958" y="148167"/>
                            </a:lnTo>
                            <a:lnTo>
                              <a:pt x="590021" y="137583"/>
                            </a:lnTo>
                            <a:lnTo>
                              <a:pt x="592667" y="134937"/>
                            </a:lnTo>
                            <a:lnTo>
                              <a:pt x="595312" y="132292"/>
                            </a:lnTo>
                            <a:lnTo>
                              <a:pt x="590021" y="132292"/>
                            </a:lnTo>
                            <a:lnTo>
                              <a:pt x="587375" y="129646"/>
                            </a:lnTo>
                            <a:lnTo>
                              <a:pt x="587375" y="124354"/>
                            </a:lnTo>
                            <a:lnTo>
                              <a:pt x="590021" y="121708"/>
                            </a:lnTo>
                            <a:lnTo>
                              <a:pt x="579437" y="119062"/>
                            </a:lnTo>
                            <a:lnTo>
                              <a:pt x="576792" y="116417"/>
                            </a:lnTo>
                            <a:lnTo>
                              <a:pt x="576792" y="113771"/>
                            </a:lnTo>
                            <a:lnTo>
                              <a:pt x="582083" y="108479"/>
                            </a:lnTo>
                            <a:lnTo>
                              <a:pt x="587375" y="97896"/>
                            </a:lnTo>
                            <a:lnTo>
                              <a:pt x="590021" y="100542"/>
                            </a:lnTo>
                            <a:lnTo>
                              <a:pt x="592667" y="97896"/>
                            </a:lnTo>
                            <a:lnTo>
                              <a:pt x="592667" y="95250"/>
                            </a:lnTo>
                            <a:lnTo>
                              <a:pt x="595312" y="87312"/>
                            </a:lnTo>
                            <a:lnTo>
                              <a:pt x="600604" y="84667"/>
                            </a:lnTo>
                            <a:lnTo>
                              <a:pt x="603250" y="79375"/>
                            </a:lnTo>
                            <a:lnTo>
                              <a:pt x="605896" y="74083"/>
                            </a:lnTo>
                            <a:lnTo>
                              <a:pt x="608542" y="74083"/>
                            </a:lnTo>
                            <a:lnTo>
                              <a:pt x="616479" y="74083"/>
                            </a:lnTo>
                            <a:lnTo>
                              <a:pt x="619125" y="74083"/>
                            </a:lnTo>
                            <a:lnTo>
                              <a:pt x="616479" y="68792"/>
                            </a:lnTo>
                            <a:lnTo>
                              <a:pt x="613833" y="66146"/>
                            </a:lnTo>
                            <a:lnTo>
                              <a:pt x="613833" y="63500"/>
                            </a:lnTo>
                            <a:lnTo>
                              <a:pt x="616479" y="63500"/>
                            </a:lnTo>
                            <a:lnTo>
                              <a:pt x="619125" y="60854"/>
                            </a:lnTo>
                            <a:lnTo>
                              <a:pt x="616479" y="58208"/>
                            </a:lnTo>
                            <a:lnTo>
                              <a:pt x="619125" y="55562"/>
                            </a:lnTo>
                            <a:lnTo>
                              <a:pt x="621771" y="52917"/>
                            </a:lnTo>
                            <a:lnTo>
                              <a:pt x="624417" y="52917"/>
                            </a:lnTo>
                            <a:lnTo>
                              <a:pt x="632354" y="55562"/>
                            </a:lnTo>
                            <a:lnTo>
                              <a:pt x="627062" y="52917"/>
                            </a:lnTo>
                            <a:lnTo>
                              <a:pt x="627062" y="50271"/>
                            </a:lnTo>
                            <a:lnTo>
                              <a:pt x="640292" y="42333"/>
                            </a:lnTo>
                            <a:lnTo>
                              <a:pt x="645584" y="42333"/>
                            </a:lnTo>
                            <a:lnTo>
                              <a:pt x="648230" y="44979"/>
                            </a:lnTo>
                            <a:lnTo>
                              <a:pt x="650875" y="47625"/>
                            </a:lnTo>
                            <a:lnTo>
                              <a:pt x="656167" y="47625"/>
                            </a:lnTo>
                            <a:lnTo>
                              <a:pt x="658813" y="44979"/>
                            </a:lnTo>
                            <a:lnTo>
                              <a:pt x="661459" y="47625"/>
                            </a:lnTo>
                            <a:lnTo>
                              <a:pt x="664105" y="47625"/>
                            </a:lnTo>
                            <a:lnTo>
                              <a:pt x="669396" y="47625"/>
                            </a:lnTo>
                            <a:lnTo>
                              <a:pt x="674688" y="42333"/>
                            </a:lnTo>
                            <a:lnTo>
                              <a:pt x="677334" y="39687"/>
                            </a:lnTo>
                            <a:lnTo>
                              <a:pt x="682625" y="39687"/>
                            </a:lnTo>
                            <a:lnTo>
                              <a:pt x="690563" y="42333"/>
                            </a:lnTo>
                            <a:lnTo>
                              <a:pt x="685271" y="37042"/>
                            </a:lnTo>
                            <a:lnTo>
                              <a:pt x="685271" y="31750"/>
                            </a:lnTo>
                            <a:lnTo>
                              <a:pt x="685271" y="26458"/>
                            </a:lnTo>
                            <a:lnTo>
                              <a:pt x="685271" y="21167"/>
                            </a:lnTo>
                            <a:lnTo>
                              <a:pt x="682625" y="23812"/>
                            </a:lnTo>
                            <a:lnTo>
                              <a:pt x="677334" y="23812"/>
                            </a:lnTo>
                            <a:lnTo>
                              <a:pt x="672042" y="21167"/>
                            </a:lnTo>
                            <a:lnTo>
                              <a:pt x="669396" y="13229"/>
                            </a:lnTo>
                            <a:lnTo>
                              <a:pt x="677334" y="13229"/>
                            </a:lnTo>
                            <a:lnTo>
                              <a:pt x="682625" y="13229"/>
                            </a:lnTo>
                            <a:lnTo>
                              <a:pt x="685271" y="13229"/>
                            </a:lnTo>
                            <a:lnTo>
                              <a:pt x="690563" y="18521"/>
                            </a:lnTo>
                            <a:lnTo>
                              <a:pt x="693209" y="18521"/>
                            </a:lnTo>
                            <a:lnTo>
                              <a:pt x="693209" y="15875"/>
                            </a:lnTo>
                            <a:lnTo>
                              <a:pt x="698500" y="18521"/>
                            </a:lnTo>
                            <a:lnTo>
                              <a:pt x="703792" y="29104"/>
                            </a:lnTo>
                            <a:lnTo>
                              <a:pt x="706438" y="31750"/>
                            </a:lnTo>
                            <a:lnTo>
                              <a:pt x="711730" y="34396"/>
                            </a:lnTo>
                            <a:lnTo>
                              <a:pt x="724959" y="31750"/>
                            </a:lnTo>
                            <a:lnTo>
                              <a:pt x="724959" y="34396"/>
                            </a:lnTo>
                            <a:lnTo>
                              <a:pt x="730250" y="34396"/>
                            </a:lnTo>
                            <a:lnTo>
                              <a:pt x="732896" y="37042"/>
                            </a:lnTo>
                            <a:lnTo>
                              <a:pt x="735542" y="39687"/>
                            </a:lnTo>
                            <a:lnTo>
                              <a:pt x="738188" y="37042"/>
                            </a:lnTo>
                            <a:lnTo>
                              <a:pt x="743480" y="34396"/>
                            </a:lnTo>
                            <a:lnTo>
                              <a:pt x="746125" y="37042"/>
                            </a:lnTo>
                            <a:lnTo>
                              <a:pt x="748771" y="37042"/>
                            </a:lnTo>
                            <a:lnTo>
                              <a:pt x="751417" y="37042"/>
                            </a:lnTo>
                            <a:lnTo>
                              <a:pt x="754063" y="39687"/>
                            </a:lnTo>
                            <a:lnTo>
                              <a:pt x="756709" y="42333"/>
                            </a:lnTo>
                            <a:lnTo>
                              <a:pt x="759355" y="42333"/>
                            </a:lnTo>
                            <a:lnTo>
                              <a:pt x="764646" y="37042"/>
                            </a:lnTo>
                            <a:lnTo>
                              <a:pt x="769938" y="34396"/>
                            </a:lnTo>
                            <a:lnTo>
                              <a:pt x="772584" y="34396"/>
                            </a:lnTo>
                            <a:lnTo>
                              <a:pt x="772584" y="37042"/>
                            </a:lnTo>
                            <a:lnTo>
                              <a:pt x="772584" y="39687"/>
                            </a:lnTo>
                            <a:lnTo>
                              <a:pt x="775230" y="39687"/>
                            </a:lnTo>
                            <a:lnTo>
                              <a:pt x="775230" y="42333"/>
                            </a:lnTo>
                            <a:lnTo>
                              <a:pt x="772584" y="44979"/>
                            </a:lnTo>
                            <a:lnTo>
                              <a:pt x="772584" y="47625"/>
                            </a:lnTo>
                            <a:lnTo>
                              <a:pt x="777875" y="47625"/>
                            </a:lnTo>
                            <a:lnTo>
                              <a:pt x="783167" y="47625"/>
                            </a:lnTo>
                            <a:lnTo>
                              <a:pt x="783167" y="44979"/>
                            </a:lnTo>
                            <a:lnTo>
                              <a:pt x="780521" y="44979"/>
                            </a:lnTo>
                            <a:lnTo>
                              <a:pt x="780521" y="42333"/>
                            </a:lnTo>
                            <a:lnTo>
                              <a:pt x="780521" y="39687"/>
                            </a:lnTo>
                            <a:lnTo>
                              <a:pt x="788459" y="34396"/>
                            </a:lnTo>
                            <a:lnTo>
                              <a:pt x="791105" y="34396"/>
                            </a:lnTo>
                            <a:lnTo>
                              <a:pt x="791105" y="37042"/>
                            </a:lnTo>
                            <a:lnTo>
                              <a:pt x="793750" y="44979"/>
                            </a:lnTo>
                            <a:lnTo>
                              <a:pt x="793750" y="50271"/>
                            </a:lnTo>
                            <a:lnTo>
                              <a:pt x="796396" y="50271"/>
                            </a:lnTo>
                            <a:lnTo>
                              <a:pt x="799042" y="47625"/>
                            </a:lnTo>
                            <a:lnTo>
                              <a:pt x="801688" y="44979"/>
                            </a:lnTo>
                            <a:lnTo>
                              <a:pt x="804334" y="47625"/>
                            </a:lnTo>
                            <a:lnTo>
                              <a:pt x="804334" y="52917"/>
                            </a:lnTo>
                            <a:lnTo>
                              <a:pt x="799042" y="55562"/>
                            </a:lnTo>
                            <a:lnTo>
                              <a:pt x="796396" y="58208"/>
                            </a:lnTo>
                            <a:lnTo>
                              <a:pt x="796396" y="60854"/>
                            </a:lnTo>
                            <a:lnTo>
                              <a:pt x="796396" y="63500"/>
                            </a:lnTo>
                            <a:lnTo>
                              <a:pt x="799042" y="66146"/>
                            </a:lnTo>
                            <a:lnTo>
                              <a:pt x="791105" y="66146"/>
                            </a:lnTo>
                            <a:lnTo>
                              <a:pt x="785813" y="66146"/>
                            </a:lnTo>
                            <a:lnTo>
                              <a:pt x="788459" y="68792"/>
                            </a:lnTo>
                            <a:lnTo>
                              <a:pt x="793750" y="71437"/>
                            </a:lnTo>
                            <a:lnTo>
                              <a:pt x="791105" y="74083"/>
                            </a:lnTo>
                            <a:lnTo>
                              <a:pt x="785813" y="79375"/>
                            </a:lnTo>
                            <a:lnTo>
                              <a:pt x="783167" y="82021"/>
                            </a:lnTo>
                            <a:lnTo>
                              <a:pt x="780521" y="82021"/>
                            </a:lnTo>
                            <a:lnTo>
                              <a:pt x="772584" y="76729"/>
                            </a:lnTo>
                            <a:lnTo>
                              <a:pt x="775230" y="79375"/>
                            </a:lnTo>
                            <a:lnTo>
                              <a:pt x="775230" y="82021"/>
                            </a:lnTo>
                            <a:lnTo>
                              <a:pt x="769938" y="84667"/>
                            </a:lnTo>
                            <a:lnTo>
                              <a:pt x="764646" y="84667"/>
                            </a:lnTo>
                            <a:lnTo>
                              <a:pt x="767292" y="87312"/>
                            </a:lnTo>
                            <a:lnTo>
                              <a:pt x="769938" y="89958"/>
                            </a:lnTo>
                            <a:lnTo>
                              <a:pt x="769938" y="92604"/>
                            </a:lnTo>
                            <a:lnTo>
                              <a:pt x="764646" y="95250"/>
                            </a:lnTo>
                            <a:lnTo>
                              <a:pt x="767292" y="97896"/>
                            </a:lnTo>
                            <a:lnTo>
                              <a:pt x="772584" y="97896"/>
                            </a:lnTo>
                            <a:lnTo>
                              <a:pt x="772584" y="100542"/>
                            </a:lnTo>
                            <a:lnTo>
                              <a:pt x="769938" y="100542"/>
                            </a:lnTo>
                            <a:lnTo>
                              <a:pt x="767292" y="105833"/>
                            </a:lnTo>
                            <a:lnTo>
                              <a:pt x="764646" y="111125"/>
                            </a:lnTo>
                            <a:lnTo>
                              <a:pt x="764646" y="113771"/>
                            </a:lnTo>
                            <a:lnTo>
                              <a:pt x="762000" y="113771"/>
                            </a:lnTo>
                            <a:lnTo>
                              <a:pt x="759355" y="116417"/>
                            </a:lnTo>
                            <a:lnTo>
                              <a:pt x="759355" y="119062"/>
                            </a:lnTo>
                            <a:lnTo>
                              <a:pt x="756709" y="124354"/>
                            </a:lnTo>
                            <a:lnTo>
                              <a:pt x="751417" y="129646"/>
                            </a:lnTo>
                            <a:lnTo>
                              <a:pt x="748771" y="132292"/>
                            </a:lnTo>
                            <a:lnTo>
                              <a:pt x="751417" y="134937"/>
                            </a:lnTo>
                            <a:lnTo>
                              <a:pt x="756709" y="137583"/>
                            </a:lnTo>
                            <a:lnTo>
                              <a:pt x="759355" y="137583"/>
                            </a:lnTo>
                            <a:lnTo>
                              <a:pt x="764646" y="142875"/>
                            </a:lnTo>
                            <a:lnTo>
                              <a:pt x="769938" y="150812"/>
                            </a:lnTo>
                            <a:lnTo>
                              <a:pt x="767292" y="158750"/>
                            </a:lnTo>
                            <a:lnTo>
                              <a:pt x="772584" y="161396"/>
                            </a:lnTo>
                            <a:lnTo>
                              <a:pt x="775230" y="166687"/>
                            </a:lnTo>
                            <a:lnTo>
                              <a:pt x="777875" y="169333"/>
                            </a:lnTo>
                            <a:lnTo>
                              <a:pt x="785813" y="169333"/>
                            </a:lnTo>
                            <a:lnTo>
                              <a:pt x="791105" y="171979"/>
                            </a:lnTo>
                            <a:lnTo>
                              <a:pt x="796396" y="174625"/>
                            </a:lnTo>
                            <a:lnTo>
                              <a:pt x="799042" y="179916"/>
                            </a:lnTo>
                            <a:lnTo>
                              <a:pt x="801688" y="179916"/>
                            </a:lnTo>
                            <a:lnTo>
                              <a:pt x="804334" y="179916"/>
                            </a:lnTo>
                            <a:lnTo>
                              <a:pt x="806980" y="185208"/>
                            </a:lnTo>
                            <a:lnTo>
                              <a:pt x="809625" y="190500"/>
                            </a:lnTo>
                            <a:lnTo>
                              <a:pt x="812271" y="190500"/>
                            </a:lnTo>
                            <a:lnTo>
                              <a:pt x="814917" y="190500"/>
                            </a:lnTo>
                            <a:lnTo>
                              <a:pt x="820209" y="193146"/>
                            </a:lnTo>
                            <a:lnTo>
                              <a:pt x="820209" y="195791"/>
                            </a:lnTo>
                            <a:lnTo>
                              <a:pt x="822855" y="195791"/>
                            </a:lnTo>
                            <a:lnTo>
                              <a:pt x="830792" y="195791"/>
                            </a:lnTo>
                            <a:lnTo>
                              <a:pt x="838730" y="198437"/>
                            </a:lnTo>
                            <a:lnTo>
                              <a:pt x="841376" y="198437"/>
                            </a:lnTo>
                            <a:lnTo>
                              <a:pt x="841376" y="203729"/>
                            </a:lnTo>
                            <a:lnTo>
                              <a:pt x="844021" y="209021"/>
                            </a:lnTo>
                            <a:lnTo>
                              <a:pt x="849313" y="211666"/>
                            </a:lnTo>
                            <a:lnTo>
                              <a:pt x="854605" y="211666"/>
                            </a:lnTo>
                            <a:lnTo>
                              <a:pt x="859896" y="214312"/>
                            </a:lnTo>
                            <a:lnTo>
                              <a:pt x="862542" y="216958"/>
                            </a:lnTo>
                            <a:lnTo>
                              <a:pt x="865188" y="214312"/>
                            </a:lnTo>
                            <a:lnTo>
                              <a:pt x="873126" y="216958"/>
                            </a:lnTo>
                            <a:lnTo>
                              <a:pt x="881063" y="214312"/>
                            </a:lnTo>
                            <a:lnTo>
                              <a:pt x="889001" y="211666"/>
                            </a:lnTo>
                            <a:lnTo>
                              <a:pt x="894292" y="206375"/>
                            </a:lnTo>
                            <a:lnTo>
                              <a:pt x="896938" y="198437"/>
                            </a:lnTo>
                            <a:lnTo>
                              <a:pt x="896938" y="190500"/>
                            </a:lnTo>
                            <a:lnTo>
                              <a:pt x="902230" y="182562"/>
                            </a:lnTo>
                            <a:lnTo>
                              <a:pt x="910167" y="169333"/>
                            </a:lnTo>
                            <a:lnTo>
                              <a:pt x="915459" y="158750"/>
                            </a:lnTo>
                            <a:lnTo>
                              <a:pt x="920751" y="148167"/>
                            </a:lnTo>
                            <a:lnTo>
                              <a:pt x="920751" y="140229"/>
                            </a:lnTo>
                            <a:lnTo>
                              <a:pt x="920751" y="134937"/>
                            </a:lnTo>
                            <a:lnTo>
                              <a:pt x="918105" y="127000"/>
                            </a:lnTo>
                            <a:lnTo>
                              <a:pt x="918105" y="119062"/>
                            </a:lnTo>
                            <a:lnTo>
                              <a:pt x="920751" y="105833"/>
                            </a:lnTo>
                            <a:lnTo>
                              <a:pt x="923396" y="92604"/>
                            </a:lnTo>
                            <a:lnTo>
                              <a:pt x="923396" y="87312"/>
                            </a:lnTo>
                            <a:lnTo>
                              <a:pt x="923396" y="84667"/>
                            </a:lnTo>
                            <a:lnTo>
                              <a:pt x="926042" y="79375"/>
                            </a:lnTo>
                            <a:lnTo>
                              <a:pt x="931334" y="71437"/>
                            </a:lnTo>
                            <a:lnTo>
                              <a:pt x="939271" y="63500"/>
                            </a:lnTo>
                            <a:lnTo>
                              <a:pt x="941917" y="58208"/>
                            </a:lnTo>
                            <a:lnTo>
                              <a:pt x="941917" y="55562"/>
                            </a:lnTo>
                            <a:lnTo>
                              <a:pt x="941917" y="50271"/>
                            </a:lnTo>
                            <a:lnTo>
                              <a:pt x="947209" y="47625"/>
                            </a:lnTo>
                            <a:lnTo>
                              <a:pt x="947209" y="44979"/>
                            </a:lnTo>
                            <a:lnTo>
                              <a:pt x="941917" y="42333"/>
                            </a:lnTo>
                            <a:lnTo>
                              <a:pt x="939271" y="37042"/>
                            </a:lnTo>
                            <a:lnTo>
                              <a:pt x="941917" y="34396"/>
                            </a:lnTo>
                            <a:lnTo>
                              <a:pt x="947209" y="26458"/>
                            </a:lnTo>
                            <a:lnTo>
                              <a:pt x="955146" y="18521"/>
                            </a:lnTo>
                            <a:lnTo>
                              <a:pt x="957792" y="13229"/>
                            </a:lnTo>
                            <a:lnTo>
                              <a:pt x="957792" y="10583"/>
                            </a:lnTo>
                            <a:lnTo>
                              <a:pt x="957792" y="7937"/>
                            </a:lnTo>
                            <a:lnTo>
                              <a:pt x="957792" y="5292"/>
                            </a:lnTo>
                            <a:close/>
                          </a:path>
                        </a:pathLst>
                      </a:custGeom>
                      <a:solidFill>
                        <a:schemeClr val="accent6"/>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81" name="Brazil"/>
                    <p:cNvSpPr>
                      <a:spLocks/>
                    </p:cNvSpPr>
                    <p:nvPr/>
                  </p:nvSpPr>
                  <p:spPr bwMode="auto">
                    <a:xfrm>
                      <a:off x="3417818" y="3483286"/>
                      <a:ext cx="1242396" cy="1465825"/>
                    </a:xfrm>
                    <a:custGeom>
                      <a:avLst/>
                      <a:gdLst/>
                      <a:ahLst/>
                      <a:cxnLst>
                        <a:cxn ang="0">
                          <a:pos x="496" y="82"/>
                        </a:cxn>
                        <a:cxn ang="0">
                          <a:pos x="476" y="152"/>
                        </a:cxn>
                        <a:cxn ang="0">
                          <a:pos x="474" y="168"/>
                        </a:cxn>
                        <a:cxn ang="0">
                          <a:pos x="502" y="128"/>
                        </a:cxn>
                        <a:cxn ang="0">
                          <a:pos x="536" y="152"/>
                        </a:cxn>
                        <a:cxn ang="0">
                          <a:pos x="502" y="174"/>
                        </a:cxn>
                        <a:cxn ang="0">
                          <a:pos x="522" y="196"/>
                        </a:cxn>
                        <a:cxn ang="0">
                          <a:pos x="552" y="150"/>
                        </a:cxn>
                        <a:cxn ang="0">
                          <a:pos x="612" y="188"/>
                        </a:cxn>
                        <a:cxn ang="0">
                          <a:pos x="666" y="212"/>
                        </a:cxn>
                        <a:cxn ang="0">
                          <a:pos x="766" y="254"/>
                        </a:cxn>
                        <a:cxn ang="0">
                          <a:pos x="818" y="322"/>
                        </a:cxn>
                        <a:cxn ang="0">
                          <a:pos x="762" y="434"/>
                        </a:cxn>
                        <a:cxn ang="0">
                          <a:pos x="736" y="488"/>
                        </a:cxn>
                        <a:cxn ang="0">
                          <a:pos x="734" y="580"/>
                        </a:cxn>
                        <a:cxn ang="0">
                          <a:pos x="724" y="632"/>
                        </a:cxn>
                        <a:cxn ang="0">
                          <a:pos x="700" y="692"/>
                        </a:cxn>
                        <a:cxn ang="0">
                          <a:pos x="650" y="708"/>
                        </a:cxn>
                        <a:cxn ang="0">
                          <a:pos x="582" y="774"/>
                        </a:cxn>
                        <a:cxn ang="0">
                          <a:pos x="584" y="836"/>
                        </a:cxn>
                        <a:cxn ang="0">
                          <a:pos x="554" y="888"/>
                        </a:cxn>
                        <a:cxn ang="0">
                          <a:pos x="526" y="952"/>
                        </a:cxn>
                        <a:cxn ang="0">
                          <a:pos x="494" y="924"/>
                        </a:cxn>
                        <a:cxn ang="0">
                          <a:pos x="448" y="900"/>
                        </a:cxn>
                        <a:cxn ang="0">
                          <a:pos x="408" y="876"/>
                        </a:cxn>
                        <a:cxn ang="0">
                          <a:pos x="440" y="838"/>
                        </a:cxn>
                        <a:cxn ang="0">
                          <a:pos x="456" y="818"/>
                        </a:cxn>
                        <a:cxn ang="0">
                          <a:pos x="456" y="776"/>
                        </a:cxn>
                        <a:cxn ang="0">
                          <a:pos x="428" y="734"/>
                        </a:cxn>
                        <a:cxn ang="0">
                          <a:pos x="404" y="696"/>
                        </a:cxn>
                        <a:cxn ang="0">
                          <a:pos x="376" y="648"/>
                        </a:cxn>
                        <a:cxn ang="0">
                          <a:pos x="364" y="602"/>
                        </a:cxn>
                        <a:cxn ang="0">
                          <a:pos x="344" y="566"/>
                        </a:cxn>
                        <a:cxn ang="0">
                          <a:pos x="298" y="530"/>
                        </a:cxn>
                        <a:cxn ang="0">
                          <a:pos x="272" y="488"/>
                        </a:cxn>
                        <a:cxn ang="0">
                          <a:pos x="224" y="454"/>
                        </a:cxn>
                        <a:cxn ang="0">
                          <a:pos x="182" y="394"/>
                        </a:cxn>
                        <a:cxn ang="0">
                          <a:pos x="130" y="416"/>
                        </a:cxn>
                        <a:cxn ang="0">
                          <a:pos x="78" y="422"/>
                        </a:cxn>
                        <a:cxn ang="0">
                          <a:pos x="68" y="380"/>
                        </a:cxn>
                        <a:cxn ang="0">
                          <a:pos x="18" y="382"/>
                        </a:cxn>
                        <a:cxn ang="0">
                          <a:pos x="2" y="328"/>
                        </a:cxn>
                        <a:cxn ang="0">
                          <a:pos x="20" y="282"/>
                        </a:cxn>
                        <a:cxn ang="0">
                          <a:pos x="64" y="244"/>
                        </a:cxn>
                        <a:cxn ang="0">
                          <a:pos x="80" y="148"/>
                        </a:cxn>
                        <a:cxn ang="0">
                          <a:pos x="86" y="110"/>
                        </a:cxn>
                        <a:cxn ang="0">
                          <a:pos x="110" y="88"/>
                        </a:cxn>
                        <a:cxn ang="0">
                          <a:pos x="128" y="88"/>
                        </a:cxn>
                        <a:cxn ang="0">
                          <a:pos x="158" y="116"/>
                        </a:cxn>
                        <a:cxn ang="0">
                          <a:pos x="194" y="98"/>
                        </a:cxn>
                        <a:cxn ang="0">
                          <a:pos x="210" y="70"/>
                        </a:cxn>
                        <a:cxn ang="0">
                          <a:pos x="192" y="24"/>
                        </a:cxn>
                        <a:cxn ang="0">
                          <a:pos x="244" y="28"/>
                        </a:cxn>
                        <a:cxn ang="0">
                          <a:pos x="276" y="0"/>
                        </a:cxn>
                        <a:cxn ang="0">
                          <a:pos x="296" y="24"/>
                        </a:cxn>
                        <a:cxn ang="0">
                          <a:pos x="294" y="60"/>
                        </a:cxn>
                        <a:cxn ang="0">
                          <a:pos x="304" y="96"/>
                        </a:cxn>
                        <a:cxn ang="0">
                          <a:pos x="342" y="86"/>
                        </a:cxn>
                        <a:cxn ang="0">
                          <a:pos x="374" y="80"/>
                        </a:cxn>
                        <a:cxn ang="0">
                          <a:pos x="394" y="74"/>
                        </a:cxn>
                        <a:cxn ang="0">
                          <a:pos x="418" y="80"/>
                        </a:cxn>
                        <a:cxn ang="0">
                          <a:pos x="448" y="62"/>
                        </a:cxn>
                        <a:cxn ang="0">
                          <a:pos x="466" y="24"/>
                        </a:cxn>
                      </a:cxnLst>
                      <a:rect l="0" t="0" r="r" b="b"/>
                      <a:pathLst>
                        <a:path w="818" h="966">
                          <a:moveTo>
                            <a:pt x="468" y="20"/>
                          </a:moveTo>
                          <a:lnTo>
                            <a:pt x="468" y="20"/>
                          </a:lnTo>
                          <a:lnTo>
                            <a:pt x="470" y="20"/>
                          </a:lnTo>
                          <a:lnTo>
                            <a:pt x="472" y="22"/>
                          </a:lnTo>
                          <a:lnTo>
                            <a:pt x="476" y="28"/>
                          </a:lnTo>
                          <a:lnTo>
                            <a:pt x="476" y="28"/>
                          </a:lnTo>
                          <a:lnTo>
                            <a:pt x="480" y="30"/>
                          </a:lnTo>
                          <a:lnTo>
                            <a:pt x="480" y="30"/>
                          </a:lnTo>
                          <a:lnTo>
                            <a:pt x="482" y="34"/>
                          </a:lnTo>
                          <a:lnTo>
                            <a:pt x="482" y="34"/>
                          </a:lnTo>
                          <a:lnTo>
                            <a:pt x="490" y="64"/>
                          </a:lnTo>
                          <a:lnTo>
                            <a:pt x="496" y="82"/>
                          </a:lnTo>
                          <a:lnTo>
                            <a:pt x="496" y="82"/>
                          </a:lnTo>
                          <a:lnTo>
                            <a:pt x="504" y="86"/>
                          </a:lnTo>
                          <a:lnTo>
                            <a:pt x="508" y="92"/>
                          </a:lnTo>
                          <a:lnTo>
                            <a:pt x="506" y="98"/>
                          </a:lnTo>
                          <a:lnTo>
                            <a:pt x="502" y="104"/>
                          </a:lnTo>
                          <a:lnTo>
                            <a:pt x="502" y="104"/>
                          </a:lnTo>
                          <a:lnTo>
                            <a:pt x="498" y="110"/>
                          </a:lnTo>
                          <a:lnTo>
                            <a:pt x="496" y="114"/>
                          </a:lnTo>
                          <a:lnTo>
                            <a:pt x="492" y="118"/>
                          </a:lnTo>
                          <a:lnTo>
                            <a:pt x="488" y="122"/>
                          </a:lnTo>
                          <a:lnTo>
                            <a:pt x="488" y="122"/>
                          </a:lnTo>
                          <a:lnTo>
                            <a:pt x="482" y="128"/>
                          </a:lnTo>
                          <a:lnTo>
                            <a:pt x="480" y="134"/>
                          </a:lnTo>
                          <a:lnTo>
                            <a:pt x="476" y="152"/>
                          </a:lnTo>
                          <a:lnTo>
                            <a:pt x="476" y="152"/>
                          </a:lnTo>
                          <a:lnTo>
                            <a:pt x="474" y="156"/>
                          </a:lnTo>
                          <a:lnTo>
                            <a:pt x="472" y="160"/>
                          </a:lnTo>
                          <a:lnTo>
                            <a:pt x="464" y="168"/>
                          </a:lnTo>
                          <a:lnTo>
                            <a:pt x="460" y="170"/>
                          </a:lnTo>
                          <a:lnTo>
                            <a:pt x="462" y="168"/>
                          </a:lnTo>
                          <a:lnTo>
                            <a:pt x="462" y="168"/>
                          </a:lnTo>
                          <a:lnTo>
                            <a:pt x="464" y="166"/>
                          </a:lnTo>
                          <a:lnTo>
                            <a:pt x="468" y="166"/>
                          </a:lnTo>
                          <a:lnTo>
                            <a:pt x="472" y="172"/>
                          </a:lnTo>
                          <a:lnTo>
                            <a:pt x="476" y="184"/>
                          </a:lnTo>
                          <a:lnTo>
                            <a:pt x="476" y="184"/>
                          </a:lnTo>
                          <a:lnTo>
                            <a:pt x="474" y="168"/>
                          </a:lnTo>
                          <a:lnTo>
                            <a:pt x="474" y="168"/>
                          </a:lnTo>
                          <a:lnTo>
                            <a:pt x="474" y="166"/>
                          </a:lnTo>
                          <a:lnTo>
                            <a:pt x="476" y="164"/>
                          </a:lnTo>
                          <a:lnTo>
                            <a:pt x="482" y="160"/>
                          </a:lnTo>
                          <a:lnTo>
                            <a:pt x="488" y="158"/>
                          </a:lnTo>
                          <a:lnTo>
                            <a:pt x="492" y="152"/>
                          </a:lnTo>
                          <a:lnTo>
                            <a:pt x="492" y="152"/>
                          </a:lnTo>
                          <a:lnTo>
                            <a:pt x="492" y="148"/>
                          </a:lnTo>
                          <a:lnTo>
                            <a:pt x="492" y="144"/>
                          </a:lnTo>
                          <a:lnTo>
                            <a:pt x="492" y="140"/>
                          </a:lnTo>
                          <a:lnTo>
                            <a:pt x="496" y="134"/>
                          </a:lnTo>
                          <a:lnTo>
                            <a:pt x="496" y="134"/>
                          </a:lnTo>
                          <a:lnTo>
                            <a:pt x="502" y="128"/>
                          </a:lnTo>
                          <a:lnTo>
                            <a:pt x="506" y="128"/>
                          </a:lnTo>
                          <a:lnTo>
                            <a:pt x="510" y="130"/>
                          </a:lnTo>
                          <a:lnTo>
                            <a:pt x="520" y="130"/>
                          </a:lnTo>
                          <a:lnTo>
                            <a:pt x="520" y="130"/>
                          </a:lnTo>
                          <a:lnTo>
                            <a:pt x="540" y="128"/>
                          </a:lnTo>
                          <a:lnTo>
                            <a:pt x="544" y="130"/>
                          </a:lnTo>
                          <a:lnTo>
                            <a:pt x="546" y="132"/>
                          </a:lnTo>
                          <a:lnTo>
                            <a:pt x="544" y="134"/>
                          </a:lnTo>
                          <a:lnTo>
                            <a:pt x="544" y="134"/>
                          </a:lnTo>
                          <a:lnTo>
                            <a:pt x="542" y="140"/>
                          </a:lnTo>
                          <a:lnTo>
                            <a:pt x="542" y="142"/>
                          </a:lnTo>
                          <a:lnTo>
                            <a:pt x="540" y="146"/>
                          </a:lnTo>
                          <a:lnTo>
                            <a:pt x="536" y="152"/>
                          </a:lnTo>
                          <a:lnTo>
                            <a:pt x="536" y="152"/>
                          </a:lnTo>
                          <a:lnTo>
                            <a:pt x="530" y="158"/>
                          </a:lnTo>
                          <a:lnTo>
                            <a:pt x="530" y="160"/>
                          </a:lnTo>
                          <a:lnTo>
                            <a:pt x="532" y="164"/>
                          </a:lnTo>
                          <a:lnTo>
                            <a:pt x="528" y="166"/>
                          </a:lnTo>
                          <a:lnTo>
                            <a:pt x="528" y="166"/>
                          </a:lnTo>
                          <a:lnTo>
                            <a:pt x="524" y="168"/>
                          </a:lnTo>
                          <a:lnTo>
                            <a:pt x="520" y="168"/>
                          </a:lnTo>
                          <a:lnTo>
                            <a:pt x="516" y="170"/>
                          </a:lnTo>
                          <a:lnTo>
                            <a:pt x="510" y="172"/>
                          </a:lnTo>
                          <a:lnTo>
                            <a:pt x="510" y="172"/>
                          </a:lnTo>
                          <a:lnTo>
                            <a:pt x="506" y="174"/>
                          </a:lnTo>
                          <a:lnTo>
                            <a:pt x="502" y="174"/>
                          </a:lnTo>
                          <a:lnTo>
                            <a:pt x="500" y="174"/>
                          </a:lnTo>
                          <a:lnTo>
                            <a:pt x="492" y="176"/>
                          </a:lnTo>
                          <a:lnTo>
                            <a:pt x="492" y="176"/>
                          </a:lnTo>
                          <a:lnTo>
                            <a:pt x="498" y="176"/>
                          </a:lnTo>
                          <a:lnTo>
                            <a:pt x="500" y="178"/>
                          </a:lnTo>
                          <a:lnTo>
                            <a:pt x="504" y="180"/>
                          </a:lnTo>
                          <a:lnTo>
                            <a:pt x="512" y="176"/>
                          </a:lnTo>
                          <a:lnTo>
                            <a:pt x="512" y="176"/>
                          </a:lnTo>
                          <a:lnTo>
                            <a:pt x="518" y="174"/>
                          </a:lnTo>
                          <a:lnTo>
                            <a:pt x="518" y="176"/>
                          </a:lnTo>
                          <a:lnTo>
                            <a:pt x="518" y="184"/>
                          </a:lnTo>
                          <a:lnTo>
                            <a:pt x="518" y="190"/>
                          </a:lnTo>
                          <a:lnTo>
                            <a:pt x="522" y="196"/>
                          </a:lnTo>
                          <a:lnTo>
                            <a:pt x="522" y="196"/>
                          </a:lnTo>
                          <a:lnTo>
                            <a:pt x="522" y="184"/>
                          </a:lnTo>
                          <a:lnTo>
                            <a:pt x="524" y="176"/>
                          </a:lnTo>
                          <a:lnTo>
                            <a:pt x="528" y="172"/>
                          </a:lnTo>
                          <a:lnTo>
                            <a:pt x="534" y="172"/>
                          </a:lnTo>
                          <a:lnTo>
                            <a:pt x="534" y="172"/>
                          </a:lnTo>
                          <a:lnTo>
                            <a:pt x="536" y="170"/>
                          </a:lnTo>
                          <a:lnTo>
                            <a:pt x="536" y="168"/>
                          </a:lnTo>
                          <a:lnTo>
                            <a:pt x="538" y="162"/>
                          </a:lnTo>
                          <a:lnTo>
                            <a:pt x="542" y="156"/>
                          </a:lnTo>
                          <a:lnTo>
                            <a:pt x="546" y="152"/>
                          </a:lnTo>
                          <a:lnTo>
                            <a:pt x="552" y="150"/>
                          </a:lnTo>
                          <a:lnTo>
                            <a:pt x="552" y="150"/>
                          </a:lnTo>
                          <a:lnTo>
                            <a:pt x="558" y="148"/>
                          </a:lnTo>
                          <a:lnTo>
                            <a:pt x="564" y="148"/>
                          </a:lnTo>
                          <a:lnTo>
                            <a:pt x="572" y="152"/>
                          </a:lnTo>
                          <a:lnTo>
                            <a:pt x="582" y="160"/>
                          </a:lnTo>
                          <a:lnTo>
                            <a:pt x="598" y="168"/>
                          </a:lnTo>
                          <a:lnTo>
                            <a:pt x="598" y="168"/>
                          </a:lnTo>
                          <a:lnTo>
                            <a:pt x="614" y="176"/>
                          </a:lnTo>
                          <a:lnTo>
                            <a:pt x="618" y="182"/>
                          </a:lnTo>
                          <a:lnTo>
                            <a:pt x="618" y="184"/>
                          </a:lnTo>
                          <a:lnTo>
                            <a:pt x="618" y="184"/>
                          </a:lnTo>
                          <a:lnTo>
                            <a:pt x="614" y="186"/>
                          </a:lnTo>
                          <a:lnTo>
                            <a:pt x="614" y="186"/>
                          </a:lnTo>
                          <a:lnTo>
                            <a:pt x="612" y="188"/>
                          </a:lnTo>
                          <a:lnTo>
                            <a:pt x="612" y="188"/>
                          </a:lnTo>
                          <a:lnTo>
                            <a:pt x="616" y="190"/>
                          </a:lnTo>
                          <a:lnTo>
                            <a:pt x="618" y="196"/>
                          </a:lnTo>
                          <a:lnTo>
                            <a:pt x="618" y="198"/>
                          </a:lnTo>
                          <a:lnTo>
                            <a:pt x="618" y="204"/>
                          </a:lnTo>
                          <a:lnTo>
                            <a:pt x="618" y="204"/>
                          </a:lnTo>
                          <a:lnTo>
                            <a:pt x="624" y="198"/>
                          </a:lnTo>
                          <a:lnTo>
                            <a:pt x="626" y="196"/>
                          </a:lnTo>
                          <a:lnTo>
                            <a:pt x="632" y="196"/>
                          </a:lnTo>
                          <a:lnTo>
                            <a:pt x="640" y="200"/>
                          </a:lnTo>
                          <a:lnTo>
                            <a:pt x="640" y="200"/>
                          </a:lnTo>
                          <a:lnTo>
                            <a:pt x="654" y="208"/>
                          </a:lnTo>
                          <a:lnTo>
                            <a:pt x="666" y="212"/>
                          </a:lnTo>
                          <a:lnTo>
                            <a:pt x="678" y="216"/>
                          </a:lnTo>
                          <a:lnTo>
                            <a:pt x="684" y="216"/>
                          </a:lnTo>
                          <a:lnTo>
                            <a:pt x="684" y="216"/>
                          </a:lnTo>
                          <a:lnTo>
                            <a:pt x="694" y="212"/>
                          </a:lnTo>
                          <a:lnTo>
                            <a:pt x="704" y="214"/>
                          </a:lnTo>
                          <a:lnTo>
                            <a:pt x="712" y="218"/>
                          </a:lnTo>
                          <a:lnTo>
                            <a:pt x="724" y="226"/>
                          </a:lnTo>
                          <a:lnTo>
                            <a:pt x="724" y="226"/>
                          </a:lnTo>
                          <a:lnTo>
                            <a:pt x="736" y="234"/>
                          </a:lnTo>
                          <a:lnTo>
                            <a:pt x="746" y="242"/>
                          </a:lnTo>
                          <a:lnTo>
                            <a:pt x="756" y="248"/>
                          </a:lnTo>
                          <a:lnTo>
                            <a:pt x="766" y="254"/>
                          </a:lnTo>
                          <a:lnTo>
                            <a:pt x="766" y="254"/>
                          </a:lnTo>
                          <a:lnTo>
                            <a:pt x="770" y="256"/>
                          </a:lnTo>
                          <a:lnTo>
                            <a:pt x="776" y="258"/>
                          </a:lnTo>
                          <a:lnTo>
                            <a:pt x="786" y="258"/>
                          </a:lnTo>
                          <a:lnTo>
                            <a:pt x="792" y="258"/>
                          </a:lnTo>
                          <a:lnTo>
                            <a:pt x="798" y="258"/>
                          </a:lnTo>
                          <a:lnTo>
                            <a:pt x="802" y="262"/>
                          </a:lnTo>
                          <a:lnTo>
                            <a:pt x="806" y="266"/>
                          </a:lnTo>
                          <a:lnTo>
                            <a:pt x="806" y="266"/>
                          </a:lnTo>
                          <a:lnTo>
                            <a:pt x="814" y="286"/>
                          </a:lnTo>
                          <a:lnTo>
                            <a:pt x="818" y="298"/>
                          </a:lnTo>
                          <a:lnTo>
                            <a:pt x="818" y="310"/>
                          </a:lnTo>
                          <a:lnTo>
                            <a:pt x="818" y="310"/>
                          </a:lnTo>
                          <a:lnTo>
                            <a:pt x="818" y="322"/>
                          </a:lnTo>
                          <a:lnTo>
                            <a:pt x="818" y="338"/>
                          </a:lnTo>
                          <a:lnTo>
                            <a:pt x="816" y="352"/>
                          </a:lnTo>
                          <a:lnTo>
                            <a:pt x="814" y="358"/>
                          </a:lnTo>
                          <a:lnTo>
                            <a:pt x="810" y="364"/>
                          </a:lnTo>
                          <a:lnTo>
                            <a:pt x="810" y="364"/>
                          </a:lnTo>
                          <a:lnTo>
                            <a:pt x="802" y="372"/>
                          </a:lnTo>
                          <a:lnTo>
                            <a:pt x="798" y="382"/>
                          </a:lnTo>
                          <a:lnTo>
                            <a:pt x="790" y="390"/>
                          </a:lnTo>
                          <a:lnTo>
                            <a:pt x="782" y="402"/>
                          </a:lnTo>
                          <a:lnTo>
                            <a:pt x="782" y="402"/>
                          </a:lnTo>
                          <a:lnTo>
                            <a:pt x="774" y="408"/>
                          </a:lnTo>
                          <a:lnTo>
                            <a:pt x="770" y="416"/>
                          </a:lnTo>
                          <a:lnTo>
                            <a:pt x="762" y="434"/>
                          </a:lnTo>
                          <a:lnTo>
                            <a:pt x="756" y="450"/>
                          </a:lnTo>
                          <a:lnTo>
                            <a:pt x="752" y="458"/>
                          </a:lnTo>
                          <a:lnTo>
                            <a:pt x="746" y="464"/>
                          </a:lnTo>
                          <a:lnTo>
                            <a:pt x="746" y="464"/>
                          </a:lnTo>
                          <a:lnTo>
                            <a:pt x="744" y="464"/>
                          </a:lnTo>
                          <a:lnTo>
                            <a:pt x="740" y="464"/>
                          </a:lnTo>
                          <a:lnTo>
                            <a:pt x="734" y="460"/>
                          </a:lnTo>
                          <a:lnTo>
                            <a:pt x="732" y="460"/>
                          </a:lnTo>
                          <a:lnTo>
                            <a:pt x="732" y="460"/>
                          </a:lnTo>
                          <a:lnTo>
                            <a:pt x="736" y="470"/>
                          </a:lnTo>
                          <a:lnTo>
                            <a:pt x="736" y="470"/>
                          </a:lnTo>
                          <a:lnTo>
                            <a:pt x="738" y="478"/>
                          </a:lnTo>
                          <a:lnTo>
                            <a:pt x="736" y="488"/>
                          </a:lnTo>
                          <a:lnTo>
                            <a:pt x="736" y="500"/>
                          </a:lnTo>
                          <a:lnTo>
                            <a:pt x="738" y="508"/>
                          </a:lnTo>
                          <a:lnTo>
                            <a:pt x="740" y="516"/>
                          </a:lnTo>
                          <a:lnTo>
                            <a:pt x="740" y="516"/>
                          </a:lnTo>
                          <a:lnTo>
                            <a:pt x="742" y="522"/>
                          </a:lnTo>
                          <a:lnTo>
                            <a:pt x="744" y="526"/>
                          </a:lnTo>
                          <a:lnTo>
                            <a:pt x="742" y="536"/>
                          </a:lnTo>
                          <a:lnTo>
                            <a:pt x="738" y="546"/>
                          </a:lnTo>
                          <a:lnTo>
                            <a:pt x="738" y="562"/>
                          </a:lnTo>
                          <a:lnTo>
                            <a:pt x="738" y="562"/>
                          </a:lnTo>
                          <a:lnTo>
                            <a:pt x="738" y="570"/>
                          </a:lnTo>
                          <a:lnTo>
                            <a:pt x="738" y="574"/>
                          </a:lnTo>
                          <a:lnTo>
                            <a:pt x="734" y="580"/>
                          </a:lnTo>
                          <a:lnTo>
                            <a:pt x="732" y="584"/>
                          </a:lnTo>
                          <a:lnTo>
                            <a:pt x="732" y="586"/>
                          </a:lnTo>
                          <a:lnTo>
                            <a:pt x="732" y="590"/>
                          </a:lnTo>
                          <a:lnTo>
                            <a:pt x="734" y="596"/>
                          </a:lnTo>
                          <a:lnTo>
                            <a:pt x="734" y="596"/>
                          </a:lnTo>
                          <a:lnTo>
                            <a:pt x="736" y="604"/>
                          </a:lnTo>
                          <a:lnTo>
                            <a:pt x="736" y="608"/>
                          </a:lnTo>
                          <a:lnTo>
                            <a:pt x="732" y="610"/>
                          </a:lnTo>
                          <a:lnTo>
                            <a:pt x="730" y="614"/>
                          </a:lnTo>
                          <a:lnTo>
                            <a:pt x="726" y="616"/>
                          </a:lnTo>
                          <a:lnTo>
                            <a:pt x="724" y="620"/>
                          </a:lnTo>
                          <a:lnTo>
                            <a:pt x="722" y="624"/>
                          </a:lnTo>
                          <a:lnTo>
                            <a:pt x="724" y="632"/>
                          </a:lnTo>
                          <a:lnTo>
                            <a:pt x="724" y="632"/>
                          </a:lnTo>
                          <a:lnTo>
                            <a:pt x="724" y="640"/>
                          </a:lnTo>
                          <a:lnTo>
                            <a:pt x="724" y="646"/>
                          </a:lnTo>
                          <a:lnTo>
                            <a:pt x="720" y="652"/>
                          </a:lnTo>
                          <a:lnTo>
                            <a:pt x="716" y="656"/>
                          </a:lnTo>
                          <a:lnTo>
                            <a:pt x="710" y="660"/>
                          </a:lnTo>
                          <a:lnTo>
                            <a:pt x="708" y="664"/>
                          </a:lnTo>
                          <a:lnTo>
                            <a:pt x="704" y="670"/>
                          </a:lnTo>
                          <a:lnTo>
                            <a:pt x="704" y="678"/>
                          </a:lnTo>
                          <a:lnTo>
                            <a:pt x="704" y="678"/>
                          </a:lnTo>
                          <a:lnTo>
                            <a:pt x="704" y="688"/>
                          </a:lnTo>
                          <a:lnTo>
                            <a:pt x="702" y="690"/>
                          </a:lnTo>
                          <a:lnTo>
                            <a:pt x="700" y="692"/>
                          </a:lnTo>
                          <a:lnTo>
                            <a:pt x="696" y="694"/>
                          </a:lnTo>
                          <a:lnTo>
                            <a:pt x="690" y="698"/>
                          </a:lnTo>
                          <a:lnTo>
                            <a:pt x="690" y="698"/>
                          </a:lnTo>
                          <a:lnTo>
                            <a:pt x="680" y="708"/>
                          </a:lnTo>
                          <a:lnTo>
                            <a:pt x="676" y="710"/>
                          </a:lnTo>
                          <a:lnTo>
                            <a:pt x="674" y="710"/>
                          </a:lnTo>
                          <a:lnTo>
                            <a:pt x="670" y="708"/>
                          </a:lnTo>
                          <a:lnTo>
                            <a:pt x="668" y="708"/>
                          </a:lnTo>
                          <a:lnTo>
                            <a:pt x="668" y="708"/>
                          </a:lnTo>
                          <a:lnTo>
                            <a:pt x="668" y="708"/>
                          </a:lnTo>
                          <a:lnTo>
                            <a:pt x="664" y="710"/>
                          </a:lnTo>
                          <a:lnTo>
                            <a:pt x="658" y="710"/>
                          </a:lnTo>
                          <a:lnTo>
                            <a:pt x="650" y="708"/>
                          </a:lnTo>
                          <a:lnTo>
                            <a:pt x="642" y="708"/>
                          </a:lnTo>
                          <a:lnTo>
                            <a:pt x="640" y="708"/>
                          </a:lnTo>
                          <a:lnTo>
                            <a:pt x="636" y="712"/>
                          </a:lnTo>
                          <a:lnTo>
                            <a:pt x="636" y="712"/>
                          </a:lnTo>
                          <a:lnTo>
                            <a:pt x="630" y="718"/>
                          </a:lnTo>
                          <a:lnTo>
                            <a:pt x="622" y="722"/>
                          </a:lnTo>
                          <a:lnTo>
                            <a:pt x="612" y="730"/>
                          </a:lnTo>
                          <a:lnTo>
                            <a:pt x="596" y="746"/>
                          </a:lnTo>
                          <a:lnTo>
                            <a:pt x="596" y="746"/>
                          </a:lnTo>
                          <a:lnTo>
                            <a:pt x="588" y="754"/>
                          </a:lnTo>
                          <a:lnTo>
                            <a:pt x="584" y="762"/>
                          </a:lnTo>
                          <a:lnTo>
                            <a:pt x="582" y="768"/>
                          </a:lnTo>
                          <a:lnTo>
                            <a:pt x="582" y="774"/>
                          </a:lnTo>
                          <a:lnTo>
                            <a:pt x="584" y="784"/>
                          </a:lnTo>
                          <a:lnTo>
                            <a:pt x="586" y="788"/>
                          </a:lnTo>
                          <a:lnTo>
                            <a:pt x="586" y="788"/>
                          </a:lnTo>
                          <a:lnTo>
                            <a:pt x="584" y="796"/>
                          </a:lnTo>
                          <a:lnTo>
                            <a:pt x="586" y="802"/>
                          </a:lnTo>
                          <a:lnTo>
                            <a:pt x="588" y="812"/>
                          </a:lnTo>
                          <a:lnTo>
                            <a:pt x="590" y="820"/>
                          </a:lnTo>
                          <a:lnTo>
                            <a:pt x="590" y="824"/>
                          </a:lnTo>
                          <a:lnTo>
                            <a:pt x="586" y="828"/>
                          </a:lnTo>
                          <a:lnTo>
                            <a:pt x="586" y="828"/>
                          </a:lnTo>
                          <a:lnTo>
                            <a:pt x="584" y="830"/>
                          </a:lnTo>
                          <a:lnTo>
                            <a:pt x="584" y="832"/>
                          </a:lnTo>
                          <a:lnTo>
                            <a:pt x="584" y="836"/>
                          </a:lnTo>
                          <a:lnTo>
                            <a:pt x="584" y="840"/>
                          </a:lnTo>
                          <a:lnTo>
                            <a:pt x="582" y="842"/>
                          </a:lnTo>
                          <a:lnTo>
                            <a:pt x="578" y="846"/>
                          </a:lnTo>
                          <a:lnTo>
                            <a:pt x="570" y="852"/>
                          </a:lnTo>
                          <a:lnTo>
                            <a:pt x="570" y="852"/>
                          </a:lnTo>
                          <a:lnTo>
                            <a:pt x="564" y="858"/>
                          </a:lnTo>
                          <a:lnTo>
                            <a:pt x="558" y="862"/>
                          </a:lnTo>
                          <a:lnTo>
                            <a:pt x="556" y="866"/>
                          </a:lnTo>
                          <a:lnTo>
                            <a:pt x="556" y="870"/>
                          </a:lnTo>
                          <a:lnTo>
                            <a:pt x="558" y="878"/>
                          </a:lnTo>
                          <a:lnTo>
                            <a:pt x="556" y="882"/>
                          </a:lnTo>
                          <a:lnTo>
                            <a:pt x="554" y="888"/>
                          </a:lnTo>
                          <a:lnTo>
                            <a:pt x="554" y="888"/>
                          </a:lnTo>
                          <a:lnTo>
                            <a:pt x="552" y="892"/>
                          </a:lnTo>
                          <a:lnTo>
                            <a:pt x="550" y="898"/>
                          </a:lnTo>
                          <a:lnTo>
                            <a:pt x="550" y="908"/>
                          </a:lnTo>
                          <a:lnTo>
                            <a:pt x="550" y="914"/>
                          </a:lnTo>
                          <a:lnTo>
                            <a:pt x="548" y="918"/>
                          </a:lnTo>
                          <a:lnTo>
                            <a:pt x="544" y="924"/>
                          </a:lnTo>
                          <a:lnTo>
                            <a:pt x="536" y="928"/>
                          </a:lnTo>
                          <a:lnTo>
                            <a:pt x="536" y="928"/>
                          </a:lnTo>
                          <a:lnTo>
                            <a:pt x="532" y="934"/>
                          </a:lnTo>
                          <a:lnTo>
                            <a:pt x="528" y="936"/>
                          </a:lnTo>
                          <a:lnTo>
                            <a:pt x="528" y="942"/>
                          </a:lnTo>
                          <a:lnTo>
                            <a:pt x="528" y="946"/>
                          </a:lnTo>
                          <a:lnTo>
                            <a:pt x="526" y="952"/>
                          </a:lnTo>
                          <a:lnTo>
                            <a:pt x="520" y="958"/>
                          </a:lnTo>
                          <a:lnTo>
                            <a:pt x="510" y="966"/>
                          </a:lnTo>
                          <a:lnTo>
                            <a:pt x="510" y="966"/>
                          </a:lnTo>
                          <a:lnTo>
                            <a:pt x="506" y="958"/>
                          </a:lnTo>
                          <a:lnTo>
                            <a:pt x="508" y="950"/>
                          </a:lnTo>
                          <a:lnTo>
                            <a:pt x="508" y="950"/>
                          </a:lnTo>
                          <a:lnTo>
                            <a:pt x="510" y="942"/>
                          </a:lnTo>
                          <a:lnTo>
                            <a:pt x="510" y="940"/>
                          </a:lnTo>
                          <a:lnTo>
                            <a:pt x="506" y="938"/>
                          </a:lnTo>
                          <a:lnTo>
                            <a:pt x="502" y="932"/>
                          </a:lnTo>
                          <a:lnTo>
                            <a:pt x="502" y="932"/>
                          </a:lnTo>
                          <a:lnTo>
                            <a:pt x="496" y="926"/>
                          </a:lnTo>
                          <a:lnTo>
                            <a:pt x="494" y="924"/>
                          </a:lnTo>
                          <a:lnTo>
                            <a:pt x="492" y="924"/>
                          </a:lnTo>
                          <a:lnTo>
                            <a:pt x="486" y="918"/>
                          </a:lnTo>
                          <a:lnTo>
                            <a:pt x="486" y="918"/>
                          </a:lnTo>
                          <a:lnTo>
                            <a:pt x="478" y="910"/>
                          </a:lnTo>
                          <a:lnTo>
                            <a:pt x="470" y="906"/>
                          </a:lnTo>
                          <a:lnTo>
                            <a:pt x="464" y="906"/>
                          </a:lnTo>
                          <a:lnTo>
                            <a:pt x="460" y="902"/>
                          </a:lnTo>
                          <a:lnTo>
                            <a:pt x="460" y="902"/>
                          </a:lnTo>
                          <a:lnTo>
                            <a:pt x="456" y="898"/>
                          </a:lnTo>
                          <a:lnTo>
                            <a:pt x="454" y="900"/>
                          </a:lnTo>
                          <a:lnTo>
                            <a:pt x="450" y="900"/>
                          </a:lnTo>
                          <a:lnTo>
                            <a:pt x="450" y="900"/>
                          </a:lnTo>
                          <a:lnTo>
                            <a:pt x="448" y="900"/>
                          </a:lnTo>
                          <a:lnTo>
                            <a:pt x="448" y="898"/>
                          </a:lnTo>
                          <a:lnTo>
                            <a:pt x="446" y="894"/>
                          </a:lnTo>
                          <a:lnTo>
                            <a:pt x="446" y="888"/>
                          </a:lnTo>
                          <a:lnTo>
                            <a:pt x="444" y="882"/>
                          </a:lnTo>
                          <a:lnTo>
                            <a:pt x="444" y="882"/>
                          </a:lnTo>
                          <a:lnTo>
                            <a:pt x="438" y="874"/>
                          </a:lnTo>
                          <a:lnTo>
                            <a:pt x="436" y="870"/>
                          </a:lnTo>
                          <a:lnTo>
                            <a:pt x="434" y="868"/>
                          </a:lnTo>
                          <a:lnTo>
                            <a:pt x="434" y="868"/>
                          </a:lnTo>
                          <a:lnTo>
                            <a:pt x="426" y="870"/>
                          </a:lnTo>
                          <a:lnTo>
                            <a:pt x="420" y="872"/>
                          </a:lnTo>
                          <a:lnTo>
                            <a:pt x="416" y="876"/>
                          </a:lnTo>
                          <a:lnTo>
                            <a:pt x="408" y="876"/>
                          </a:lnTo>
                          <a:lnTo>
                            <a:pt x="408" y="876"/>
                          </a:lnTo>
                          <a:lnTo>
                            <a:pt x="410" y="874"/>
                          </a:lnTo>
                          <a:lnTo>
                            <a:pt x="414" y="870"/>
                          </a:lnTo>
                          <a:lnTo>
                            <a:pt x="414" y="870"/>
                          </a:lnTo>
                          <a:lnTo>
                            <a:pt x="416" y="868"/>
                          </a:lnTo>
                          <a:lnTo>
                            <a:pt x="418" y="866"/>
                          </a:lnTo>
                          <a:lnTo>
                            <a:pt x="420" y="860"/>
                          </a:lnTo>
                          <a:lnTo>
                            <a:pt x="428" y="846"/>
                          </a:lnTo>
                          <a:lnTo>
                            <a:pt x="428" y="846"/>
                          </a:lnTo>
                          <a:lnTo>
                            <a:pt x="434" y="840"/>
                          </a:lnTo>
                          <a:lnTo>
                            <a:pt x="436" y="840"/>
                          </a:lnTo>
                          <a:lnTo>
                            <a:pt x="438" y="840"/>
                          </a:lnTo>
                          <a:lnTo>
                            <a:pt x="440" y="838"/>
                          </a:lnTo>
                          <a:lnTo>
                            <a:pt x="440" y="838"/>
                          </a:lnTo>
                          <a:lnTo>
                            <a:pt x="440" y="834"/>
                          </a:lnTo>
                          <a:lnTo>
                            <a:pt x="438" y="834"/>
                          </a:lnTo>
                          <a:lnTo>
                            <a:pt x="438" y="832"/>
                          </a:lnTo>
                          <a:lnTo>
                            <a:pt x="438" y="830"/>
                          </a:lnTo>
                          <a:lnTo>
                            <a:pt x="438" y="830"/>
                          </a:lnTo>
                          <a:lnTo>
                            <a:pt x="440" y="828"/>
                          </a:lnTo>
                          <a:lnTo>
                            <a:pt x="442" y="828"/>
                          </a:lnTo>
                          <a:lnTo>
                            <a:pt x="446" y="826"/>
                          </a:lnTo>
                          <a:lnTo>
                            <a:pt x="448" y="824"/>
                          </a:lnTo>
                          <a:lnTo>
                            <a:pt x="448" y="824"/>
                          </a:lnTo>
                          <a:lnTo>
                            <a:pt x="452" y="818"/>
                          </a:lnTo>
                          <a:lnTo>
                            <a:pt x="456" y="818"/>
                          </a:lnTo>
                          <a:lnTo>
                            <a:pt x="460" y="816"/>
                          </a:lnTo>
                          <a:lnTo>
                            <a:pt x="464" y="810"/>
                          </a:lnTo>
                          <a:lnTo>
                            <a:pt x="464" y="810"/>
                          </a:lnTo>
                          <a:lnTo>
                            <a:pt x="470" y="800"/>
                          </a:lnTo>
                          <a:lnTo>
                            <a:pt x="468" y="796"/>
                          </a:lnTo>
                          <a:lnTo>
                            <a:pt x="466" y="794"/>
                          </a:lnTo>
                          <a:lnTo>
                            <a:pt x="466" y="792"/>
                          </a:lnTo>
                          <a:lnTo>
                            <a:pt x="466" y="792"/>
                          </a:lnTo>
                          <a:lnTo>
                            <a:pt x="466" y="786"/>
                          </a:lnTo>
                          <a:lnTo>
                            <a:pt x="464" y="780"/>
                          </a:lnTo>
                          <a:lnTo>
                            <a:pt x="462" y="778"/>
                          </a:lnTo>
                          <a:lnTo>
                            <a:pt x="460" y="776"/>
                          </a:lnTo>
                          <a:lnTo>
                            <a:pt x="456" y="776"/>
                          </a:lnTo>
                          <a:lnTo>
                            <a:pt x="450" y="778"/>
                          </a:lnTo>
                          <a:lnTo>
                            <a:pt x="450" y="778"/>
                          </a:lnTo>
                          <a:lnTo>
                            <a:pt x="452" y="762"/>
                          </a:lnTo>
                          <a:lnTo>
                            <a:pt x="452" y="754"/>
                          </a:lnTo>
                          <a:lnTo>
                            <a:pt x="450" y="750"/>
                          </a:lnTo>
                          <a:lnTo>
                            <a:pt x="448" y="744"/>
                          </a:lnTo>
                          <a:lnTo>
                            <a:pt x="448" y="744"/>
                          </a:lnTo>
                          <a:lnTo>
                            <a:pt x="448" y="736"/>
                          </a:lnTo>
                          <a:lnTo>
                            <a:pt x="446" y="734"/>
                          </a:lnTo>
                          <a:lnTo>
                            <a:pt x="440" y="732"/>
                          </a:lnTo>
                          <a:lnTo>
                            <a:pt x="434" y="734"/>
                          </a:lnTo>
                          <a:lnTo>
                            <a:pt x="434" y="734"/>
                          </a:lnTo>
                          <a:lnTo>
                            <a:pt x="428" y="734"/>
                          </a:lnTo>
                          <a:lnTo>
                            <a:pt x="426" y="732"/>
                          </a:lnTo>
                          <a:lnTo>
                            <a:pt x="426" y="728"/>
                          </a:lnTo>
                          <a:lnTo>
                            <a:pt x="424" y="720"/>
                          </a:lnTo>
                          <a:lnTo>
                            <a:pt x="424" y="720"/>
                          </a:lnTo>
                          <a:lnTo>
                            <a:pt x="422" y="714"/>
                          </a:lnTo>
                          <a:lnTo>
                            <a:pt x="424" y="708"/>
                          </a:lnTo>
                          <a:lnTo>
                            <a:pt x="424" y="704"/>
                          </a:lnTo>
                          <a:lnTo>
                            <a:pt x="422" y="702"/>
                          </a:lnTo>
                          <a:lnTo>
                            <a:pt x="418" y="700"/>
                          </a:lnTo>
                          <a:lnTo>
                            <a:pt x="418" y="700"/>
                          </a:lnTo>
                          <a:lnTo>
                            <a:pt x="412" y="696"/>
                          </a:lnTo>
                          <a:lnTo>
                            <a:pt x="408" y="696"/>
                          </a:lnTo>
                          <a:lnTo>
                            <a:pt x="404" y="696"/>
                          </a:lnTo>
                          <a:lnTo>
                            <a:pt x="404" y="696"/>
                          </a:lnTo>
                          <a:lnTo>
                            <a:pt x="396" y="696"/>
                          </a:lnTo>
                          <a:lnTo>
                            <a:pt x="390" y="694"/>
                          </a:lnTo>
                          <a:lnTo>
                            <a:pt x="384" y="692"/>
                          </a:lnTo>
                          <a:lnTo>
                            <a:pt x="376" y="690"/>
                          </a:lnTo>
                          <a:lnTo>
                            <a:pt x="376" y="690"/>
                          </a:lnTo>
                          <a:lnTo>
                            <a:pt x="370" y="690"/>
                          </a:lnTo>
                          <a:lnTo>
                            <a:pt x="370" y="686"/>
                          </a:lnTo>
                          <a:lnTo>
                            <a:pt x="376" y="668"/>
                          </a:lnTo>
                          <a:lnTo>
                            <a:pt x="376" y="668"/>
                          </a:lnTo>
                          <a:lnTo>
                            <a:pt x="378" y="658"/>
                          </a:lnTo>
                          <a:lnTo>
                            <a:pt x="378" y="654"/>
                          </a:lnTo>
                          <a:lnTo>
                            <a:pt x="376" y="648"/>
                          </a:lnTo>
                          <a:lnTo>
                            <a:pt x="370" y="640"/>
                          </a:lnTo>
                          <a:lnTo>
                            <a:pt x="370" y="640"/>
                          </a:lnTo>
                          <a:lnTo>
                            <a:pt x="364" y="632"/>
                          </a:lnTo>
                          <a:lnTo>
                            <a:pt x="364" y="630"/>
                          </a:lnTo>
                          <a:lnTo>
                            <a:pt x="364" y="626"/>
                          </a:lnTo>
                          <a:lnTo>
                            <a:pt x="362" y="620"/>
                          </a:lnTo>
                          <a:lnTo>
                            <a:pt x="362" y="620"/>
                          </a:lnTo>
                          <a:lnTo>
                            <a:pt x="366" y="618"/>
                          </a:lnTo>
                          <a:lnTo>
                            <a:pt x="362" y="612"/>
                          </a:lnTo>
                          <a:lnTo>
                            <a:pt x="362" y="612"/>
                          </a:lnTo>
                          <a:lnTo>
                            <a:pt x="362" y="610"/>
                          </a:lnTo>
                          <a:lnTo>
                            <a:pt x="362" y="606"/>
                          </a:lnTo>
                          <a:lnTo>
                            <a:pt x="364" y="602"/>
                          </a:lnTo>
                          <a:lnTo>
                            <a:pt x="364" y="598"/>
                          </a:lnTo>
                          <a:lnTo>
                            <a:pt x="364" y="598"/>
                          </a:lnTo>
                          <a:lnTo>
                            <a:pt x="362" y="596"/>
                          </a:lnTo>
                          <a:lnTo>
                            <a:pt x="362" y="592"/>
                          </a:lnTo>
                          <a:lnTo>
                            <a:pt x="366" y="588"/>
                          </a:lnTo>
                          <a:lnTo>
                            <a:pt x="366" y="582"/>
                          </a:lnTo>
                          <a:lnTo>
                            <a:pt x="364" y="580"/>
                          </a:lnTo>
                          <a:lnTo>
                            <a:pt x="362" y="578"/>
                          </a:lnTo>
                          <a:lnTo>
                            <a:pt x="362" y="578"/>
                          </a:lnTo>
                          <a:lnTo>
                            <a:pt x="358" y="574"/>
                          </a:lnTo>
                          <a:lnTo>
                            <a:pt x="356" y="570"/>
                          </a:lnTo>
                          <a:lnTo>
                            <a:pt x="352" y="568"/>
                          </a:lnTo>
                          <a:lnTo>
                            <a:pt x="344" y="566"/>
                          </a:lnTo>
                          <a:lnTo>
                            <a:pt x="344" y="566"/>
                          </a:lnTo>
                          <a:lnTo>
                            <a:pt x="338" y="564"/>
                          </a:lnTo>
                          <a:lnTo>
                            <a:pt x="338" y="562"/>
                          </a:lnTo>
                          <a:lnTo>
                            <a:pt x="338" y="560"/>
                          </a:lnTo>
                          <a:lnTo>
                            <a:pt x="342" y="556"/>
                          </a:lnTo>
                          <a:lnTo>
                            <a:pt x="342" y="552"/>
                          </a:lnTo>
                          <a:lnTo>
                            <a:pt x="342" y="548"/>
                          </a:lnTo>
                          <a:lnTo>
                            <a:pt x="308" y="548"/>
                          </a:lnTo>
                          <a:lnTo>
                            <a:pt x="308" y="548"/>
                          </a:lnTo>
                          <a:lnTo>
                            <a:pt x="298" y="534"/>
                          </a:lnTo>
                          <a:lnTo>
                            <a:pt x="296" y="530"/>
                          </a:lnTo>
                          <a:lnTo>
                            <a:pt x="298" y="530"/>
                          </a:lnTo>
                          <a:lnTo>
                            <a:pt x="298" y="530"/>
                          </a:lnTo>
                          <a:lnTo>
                            <a:pt x="298" y="528"/>
                          </a:lnTo>
                          <a:lnTo>
                            <a:pt x="298" y="528"/>
                          </a:lnTo>
                          <a:lnTo>
                            <a:pt x="296" y="524"/>
                          </a:lnTo>
                          <a:lnTo>
                            <a:pt x="298" y="522"/>
                          </a:lnTo>
                          <a:lnTo>
                            <a:pt x="298" y="518"/>
                          </a:lnTo>
                          <a:lnTo>
                            <a:pt x="296" y="514"/>
                          </a:lnTo>
                          <a:lnTo>
                            <a:pt x="296" y="514"/>
                          </a:lnTo>
                          <a:lnTo>
                            <a:pt x="296" y="506"/>
                          </a:lnTo>
                          <a:lnTo>
                            <a:pt x="296" y="502"/>
                          </a:lnTo>
                          <a:lnTo>
                            <a:pt x="294" y="498"/>
                          </a:lnTo>
                          <a:lnTo>
                            <a:pt x="284" y="492"/>
                          </a:lnTo>
                          <a:lnTo>
                            <a:pt x="284" y="492"/>
                          </a:lnTo>
                          <a:lnTo>
                            <a:pt x="272" y="488"/>
                          </a:lnTo>
                          <a:lnTo>
                            <a:pt x="270" y="484"/>
                          </a:lnTo>
                          <a:lnTo>
                            <a:pt x="268" y="482"/>
                          </a:lnTo>
                          <a:lnTo>
                            <a:pt x="260" y="478"/>
                          </a:lnTo>
                          <a:lnTo>
                            <a:pt x="260" y="478"/>
                          </a:lnTo>
                          <a:lnTo>
                            <a:pt x="250" y="474"/>
                          </a:lnTo>
                          <a:lnTo>
                            <a:pt x="248" y="470"/>
                          </a:lnTo>
                          <a:lnTo>
                            <a:pt x="246" y="466"/>
                          </a:lnTo>
                          <a:lnTo>
                            <a:pt x="240" y="464"/>
                          </a:lnTo>
                          <a:lnTo>
                            <a:pt x="240" y="464"/>
                          </a:lnTo>
                          <a:lnTo>
                            <a:pt x="238" y="464"/>
                          </a:lnTo>
                          <a:lnTo>
                            <a:pt x="234" y="462"/>
                          </a:lnTo>
                          <a:lnTo>
                            <a:pt x="230" y="458"/>
                          </a:lnTo>
                          <a:lnTo>
                            <a:pt x="224" y="454"/>
                          </a:lnTo>
                          <a:lnTo>
                            <a:pt x="220" y="454"/>
                          </a:lnTo>
                          <a:lnTo>
                            <a:pt x="214" y="454"/>
                          </a:lnTo>
                          <a:lnTo>
                            <a:pt x="214" y="454"/>
                          </a:lnTo>
                          <a:lnTo>
                            <a:pt x="206" y="454"/>
                          </a:lnTo>
                          <a:lnTo>
                            <a:pt x="202" y="452"/>
                          </a:lnTo>
                          <a:lnTo>
                            <a:pt x="198" y="448"/>
                          </a:lnTo>
                          <a:lnTo>
                            <a:pt x="196" y="444"/>
                          </a:lnTo>
                          <a:lnTo>
                            <a:pt x="192" y="440"/>
                          </a:lnTo>
                          <a:lnTo>
                            <a:pt x="192" y="440"/>
                          </a:lnTo>
                          <a:lnTo>
                            <a:pt x="188" y="438"/>
                          </a:lnTo>
                          <a:lnTo>
                            <a:pt x="186" y="434"/>
                          </a:lnTo>
                          <a:lnTo>
                            <a:pt x="182" y="420"/>
                          </a:lnTo>
                          <a:lnTo>
                            <a:pt x="182" y="394"/>
                          </a:lnTo>
                          <a:lnTo>
                            <a:pt x="182" y="394"/>
                          </a:lnTo>
                          <a:lnTo>
                            <a:pt x="180" y="390"/>
                          </a:lnTo>
                          <a:lnTo>
                            <a:pt x="176" y="390"/>
                          </a:lnTo>
                          <a:lnTo>
                            <a:pt x="166" y="390"/>
                          </a:lnTo>
                          <a:lnTo>
                            <a:pt x="154" y="394"/>
                          </a:lnTo>
                          <a:lnTo>
                            <a:pt x="148" y="398"/>
                          </a:lnTo>
                          <a:lnTo>
                            <a:pt x="148" y="398"/>
                          </a:lnTo>
                          <a:lnTo>
                            <a:pt x="142" y="404"/>
                          </a:lnTo>
                          <a:lnTo>
                            <a:pt x="136" y="406"/>
                          </a:lnTo>
                          <a:lnTo>
                            <a:pt x="132" y="408"/>
                          </a:lnTo>
                          <a:lnTo>
                            <a:pt x="132" y="412"/>
                          </a:lnTo>
                          <a:lnTo>
                            <a:pt x="132" y="412"/>
                          </a:lnTo>
                          <a:lnTo>
                            <a:pt x="130" y="416"/>
                          </a:lnTo>
                          <a:lnTo>
                            <a:pt x="128" y="418"/>
                          </a:lnTo>
                          <a:lnTo>
                            <a:pt x="124" y="418"/>
                          </a:lnTo>
                          <a:lnTo>
                            <a:pt x="118" y="420"/>
                          </a:lnTo>
                          <a:lnTo>
                            <a:pt x="118" y="420"/>
                          </a:lnTo>
                          <a:lnTo>
                            <a:pt x="114" y="424"/>
                          </a:lnTo>
                          <a:lnTo>
                            <a:pt x="110" y="424"/>
                          </a:lnTo>
                          <a:lnTo>
                            <a:pt x="104" y="420"/>
                          </a:lnTo>
                          <a:lnTo>
                            <a:pt x="98" y="420"/>
                          </a:lnTo>
                          <a:lnTo>
                            <a:pt x="90" y="420"/>
                          </a:lnTo>
                          <a:lnTo>
                            <a:pt x="90" y="420"/>
                          </a:lnTo>
                          <a:lnTo>
                            <a:pt x="84" y="422"/>
                          </a:lnTo>
                          <a:lnTo>
                            <a:pt x="80" y="424"/>
                          </a:lnTo>
                          <a:lnTo>
                            <a:pt x="78" y="422"/>
                          </a:lnTo>
                          <a:lnTo>
                            <a:pt x="76" y="422"/>
                          </a:lnTo>
                          <a:lnTo>
                            <a:pt x="74" y="414"/>
                          </a:lnTo>
                          <a:lnTo>
                            <a:pt x="72" y="406"/>
                          </a:lnTo>
                          <a:lnTo>
                            <a:pt x="72" y="406"/>
                          </a:lnTo>
                          <a:lnTo>
                            <a:pt x="70" y="394"/>
                          </a:lnTo>
                          <a:lnTo>
                            <a:pt x="70" y="390"/>
                          </a:lnTo>
                          <a:lnTo>
                            <a:pt x="72" y="386"/>
                          </a:lnTo>
                          <a:lnTo>
                            <a:pt x="72" y="386"/>
                          </a:lnTo>
                          <a:lnTo>
                            <a:pt x="74" y="382"/>
                          </a:lnTo>
                          <a:lnTo>
                            <a:pt x="72" y="380"/>
                          </a:lnTo>
                          <a:lnTo>
                            <a:pt x="70" y="378"/>
                          </a:lnTo>
                          <a:lnTo>
                            <a:pt x="68" y="380"/>
                          </a:lnTo>
                          <a:lnTo>
                            <a:pt x="68" y="380"/>
                          </a:lnTo>
                          <a:lnTo>
                            <a:pt x="56" y="390"/>
                          </a:lnTo>
                          <a:lnTo>
                            <a:pt x="52" y="392"/>
                          </a:lnTo>
                          <a:lnTo>
                            <a:pt x="42" y="392"/>
                          </a:lnTo>
                          <a:lnTo>
                            <a:pt x="42" y="392"/>
                          </a:lnTo>
                          <a:lnTo>
                            <a:pt x="36" y="392"/>
                          </a:lnTo>
                          <a:lnTo>
                            <a:pt x="32" y="390"/>
                          </a:lnTo>
                          <a:lnTo>
                            <a:pt x="30" y="390"/>
                          </a:lnTo>
                          <a:lnTo>
                            <a:pt x="28" y="388"/>
                          </a:lnTo>
                          <a:lnTo>
                            <a:pt x="28" y="384"/>
                          </a:lnTo>
                          <a:lnTo>
                            <a:pt x="26" y="382"/>
                          </a:lnTo>
                          <a:lnTo>
                            <a:pt x="24" y="382"/>
                          </a:lnTo>
                          <a:lnTo>
                            <a:pt x="24" y="382"/>
                          </a:lnTo>
                          <a:lnTo>
                            <a:pt x="18" y="382"/>
                          </a:lnTo>
                          <a:lnTo>
                            <a:pt x="20" y="378"/>
                          </a:lnTo>
                          <a:lnTo>
                            <a:pt x="22" y="374"/>
                          </a:lnTo>
                          <a:lnTo>
                            <a:pt x="20" y="372"/>
                          </a:lnTo>
                          <a:lnTo>
                            <a:pt x="18" y="368"/>
                          </a:lnTo>
                          <a:lnTo>
                            <a:pt x="18" y="368"/>
                          </a:lnTo>
                          <a:lnTo>
                            <a:pt x="14" y="362"/>
                          </a:lnTo>
                          <a:lnTo>
                            <a:pt x="10" y="354"/>
                          </a:lnTo>
                          <a:lnTo>
                            <a:pt x="8" y="346"/>
                          </a:lnTo>
                          <a:lnTo>
                            <a:pt x="4" y="340"/>
                          </a:lnTo>
                          <a:lnTo>
                            <a:pt x="4" y="340"/>
                          </a:lnTo>
                          <a:lnTo>
                            <a:pt x="0" y="332"/>
                          </a:lnTo>
                          <a:lnTo>
                            <a:pt x="0" y="330"/>
                          </a:lnTo>
                          <a:lnTo>
                            <a:pt x="2" y="328"/>
                          </a:lnTo>
                          <a:lnTo>
                            <a:pt x="2" y="328"/>
                          </a:lnTo>
                          <a:lnTo>
                            <a:pt x="2" y="328"/>
                          </a:lnTo>
                          <a:lnTo>
                            <a:pt x="0" y="324"/>
                          </a:lnTo>
                          <a:lnTo>
                            <a:pt x="0" y="320"/>
                          </a:lnTo>
                          <a:lnTo>
                            <a:pt x="2" y="316"/>
                          </a:lnTo>
                          <a:lnTo>
                            <a:pt x="4" y="314"/>
                          </a:lnTo>
                          <a:lnTo>
                            <a:pt x="10" y="308"/>
                          </a:lnTo>
                          <a:lnTo>
                            <a:pt x="12" y="306"/>
                          </a:lnTo>
                          <a:lnTo>
                            <a:pt x="14" y="300"/>
                          </a:lnTo>
                          <a:lnTo>
                            <a:pt x="14" y="300"/>
                          </a:lnTo>
                          <a:lnTo>
                            <a:pt x="16" y="292"/>
                          </a:lnTo>
                          <a:lnTo>
                            <a:pt x="18" y="286"/>
                          </a:lnTo>
                          <a:lnTo>
                            <a:pt x="20" y="282"/>
                          </a:lnTo>
                          <a:lnTo>
                            <a:pt x="22" y="278"/>
                          </a:lnTo>
                          <a:lnTo>
                            <a:pt x="22" y="278"/>
                          </a:lnTo>
                          <a:lnTo>
                            <a:pt x="24" y="274"/>
                          </a:lnTo>
                          <a:lnTo>
                            <a:pt x="28" y="270"/>
                          </a:lnTo>
                          <a:lnTo>
                            <a:pt x="32" y="266"/>
                          </a:lnTo>
                          <a:lnTo>
                            <a:pt x="38" y="262"/>
                          </a:lnTo>
                          <a:lnTo>
                            <a:pt x="38" y="262"/>
                          </a:lnTo>
                          <a:lnTo>
                            <a:pt x="46" y="254"/>
                          </a:lnTo>
                          <a:lnTo>
                            <a:pt x="52" y="250"/>
                          </a:lnTo>
                          <a:lnTo>
                            <a:pt x="58" y="250"/>
                          </a:lnTo>
                          <a:lnTo>
                            <a:pt x="60" y="246"/>
                          </a:lnTo>
                          <a:lnTo>
                            <a:pt x="60" y="246"/>
                          </a:lnTo>
                          <a:lnTo>
                            <a:pt x="64" y="244"/>
                          </a:lnTo>
                          <a:lnTo>
                            <a:pt x="66" y="244"/>
                          </a:lnTo>
                          <a:lnTo>
                            <a:pt x="68" y="244"/>
                          </a:lnTo>
                          <a:lnTo>
                            <a:pt x="72" y="240"/>
                          </a:lnTo>
                          <a:lnTo>
                            <a:pt x="72" y="240"/>
                          </a:lnTo>
                          <a:lnTo>
                            <a:pt x="74" y="230"/>
                          </a:lnTo>
                          <a:lnTo>
                            <a:pt x="76" y="220"/>
                          </a:lnTo>
                          <a:lnTo>
                            <a:pt x="80" y="196"/>
                          </a:lnTo>
                          <a:lnTo>
                            <a:pt x="82" y="172"/>
                          </a:lnTo>
                          <a:lnTo>
                            <a:pt x="84" y="160"/>
                          </a:lnTo>
                          <a:lnTo>
                            <a:pt x="84" y="160"/>
                          </a:lnTo>
                          <a:lnTo>
                            <a:pt x="84" y="158"/>
                          </a:lnTo>
                          <a:lnTo>
                            <a:pt x="84" y="156"/>
                          </a:lnTo>
                          <a:lnTo>
                            <a:pt x="80" y="148"/>
                          </a:lnTo>
                          <a:lnTo>
                            <a:pt x="76" y="138"/>
                          </a:lnTo>
                          <a:lnTo>
                            <a:pt x="72" y="130"/>
                          </a:lnTo>
                          <a:lnTo>
                            <a:pt x="72" y="130"/>
                          </a:lnTo>
                          <a:lnTo>
                            <a:pt x="70" y="126"/>
                          </a:lnTo>
                          <a:lnTo>
                            <a:pt x="72" y="124"/>
                          </a:lnTo>
                          <a:lnTo>
                            <a:pt x="76" y="120"/>
                          </a:lnTo>
                          <a:lnTo>
                            <a:pt x="80" y="120"/>
                          </a:lnTo>
                          <a:lnTo>
                            <a:pt x="86" y="120"/>
                          </a:lnTo>
                          <a:lnTo>
                            <a:pt x="86" y="120"/>
                          </a:lnTo>
                          <a:lnTo>
                            <a:pt x="88" y="120"/>
                          </a:lnTo>
                          <a:lnTo>
                            <a:pt x="88" y="120"/>
                          </a:lnTo>
                          <a:lnTo>
                            <a:pt x="88" y="114"/>
                          </a:lnTo>
                          <a:lnTo>
                            <a:pt x="86" y="110"/>
                          </a:lnTo>
                          <a:lnTo>
                            <a:pt x="84" y="108"/>
                          </a:lnTo>
                          <a:lnTo>
                            <a:pt x="82" y="108"/>
                          </a:lnTo>
                          <a:lnTo>
                            <a:pt x="82" y="108"/>
                          </a:lnTo>
                          <a:lnTo>
                            <a:pt x="78" y="106"/>
                          </a:lnTo>
                          <a:lnTo>
                            <a:pt x="76" y="104"/>
                          </a:lnTo>
                          <a:lnTo>
                            <a:pt x="76" y="98"/>
                          </a:lnTo>
                          <a:lnTo>
                            <a:pt x="76" y="98"/>
                          </a:lnTo>
                          <a:lnTo>
                            <a:pt x="92" y="96"/>
                          </a:lnTo>
                          <a:lnTo>
                            <a:pt x="106" y="94"/>
                          </a:lnTo>
                          <a:lnTo>
                            <a:pt x="106" y="94"/>
                          </a:lnTo>
                          <a:lnTo>
                            <a:pt x="112" y="92"/>
                          </a:lnTo>
                          <a:lnTo>
                            <a:pt x="112" y="90"/>
                          </a:lnTo>
                          <a:lnTo>
                            <a:pt x="110" y="88"/>
                          </a:lnTo>
                          <a:lnTo>
                            <a:pt x="112" y="88"/>
                          </a:lnTo>
                          <a:lnTo>
                            <a:pt x="112" y="88"/>
                          </a:lnTo>
                          <a:lnTo>
                            <a:pt x="116" y="88"/>
                          </a:lnTo>
                          <a:lnTo>
                            <a:pt x="118" y="90"/>
                          </a:lnTo>
                          <a:lnTo>
                            <a:pt x="118" y="92"/>
                          </a:lnTo>
                          <a:lnTo>
                            <a:pt x="120" y="92"/>
                          </a:lnTo>
                          <a:lnTo>
                            <a:pt x="120" y="92"/>
                          </a:lnTo>
                          <a:lnTo>
                            <a:pt x="122" y="92"/>
                          </a:lnTo>
                          <a:lnTo>
                            <a:pt x="122" y="90"/>
                          </a:lnTo>
                          <a:lnTo>
                            <a:pt x="124" y="88"/>
                          </a:lnTo>
                          <a:lnTo>
                            <a:pt x="126" y="88"/>
                          </a:lnTo>
                          <a:lnTo>
                            <a:pt x="126" y="88"/>
                          </a:lnTo>
                          <a:lnTo>
                            <a:pt x="128" y="88"/>
                          </a:lnTo>
                          <a:lnTo>
                            <a:pt x="128" y="90"/>
                          </a:lnTo>
                          <a:lnTo>
                            <a:pt x="128" y="96"/>
                          </a:lnTo>
                          <a:lnTo>
                            <a:pt x="128" y="102"/>
                          </a:lnTo>
                          <a:lnTo>
                            <a:pt x="130" y="104"/>
                          </a:lnTo>
                          <a:lnTo>
                            <a:pt x="134" y="104"/>
                          </a:lnTo>
                          <a:lnTo>
                            <a:pt x="134" y="104"/>
                          </a:lnTo>
                          <a:lnTo>
                            <a:pt x="138" y="108"/>
                          </a:lnTo>
                          <a:lnTo>
                            <a:pt x="140" y="108"/>
                          </a:lnTo>
                          <a:lnTo>
                            <a:pt x="142" y="108"/>
                          </a:lnTo>
                          <a:lnTo>
                            <a:pt x="142" y="108"/>
                          </a:lnTo>
                          <a:lnTo>
                            <a:pt x="146" y="110"/>
                          </a:lnTo>
                          <a:lnTo>
                            <a:pt x="152" y="114"/>
                          </a:lnTo>
                          <a:lnTo>
                            <a:pt x="158" y="116"/>
                          </a:lnTo>
                          <a:lnTo>
                            <a:pt x="160" y="116"/>
                          </a:lnTo>
                          <a:lnTo>
                            <a:pt x="162" y="116"/>
                          </a:lnTo>
                          <a:lnTo>
                            <a:pt x="162" y="116"/>
                          </a:lnTo>
                          <a:lnTo>
                            <a:pt x="168" y="114"/>
                          </a:lnTo>
                          <a:lnTo>
                            <a:pt x="170" y="114"/>
                          </a:lnTo>
                          <a:lnTo>
                            <a:pt x="174" y="114"/>
                          </a:lnTo>
                          <a:lnTo>
                            <a:pt x="178" y="110"/>
                          </a:lnTo>
                          <a:lnTo>
                            <a:pt x="178" y="110"/>
                          </a:lnTo>
                          <a:lnTo>
                            <a:pt x="186" y="102"/>
                          </a:lnTo>
                          <a:lnTo>
                            <a:pt x="190" y="100"/>
                          </a:lnTo>
                          <a:lnTo>
                            <a:pt x="192" y="100"/>
                          </a:lnTo>
                          <a:lnTo>
                            <a:pt x="194" y="98"/>
                          </a:lnTo>
                          <a:lnTo>
                            <a:pt x="194" y="98"/>
                          </a:lnTo>
                          <a:lnTo>
                            <a:pt x="196" y="96"/>
                          </a:lnTo>
                          <a:lnTo>
                            <a:pt x="198" y="96"/>
                          </a:lnTo>
                          <a:lnTo>
                            <a:pt x="200" y="96"/>
                          </a:lnTo>
                          <a:lnTo>
                            <a:pt x="202" y="90"/>
                          </a:lnTo>
                          <a:lnTo>
                            <a:pt x="202" y="90"/>
                          </a:lnTo>
                          <a:lnTo>
                            <a:pt x="202" y="84"/>
                          </a:lnTo>
                          <a:lnTo>
                            <a:pt x="206" y="82"/>
                          </a:lnTo>
                          <a:lnTo>
                            <a:pt x="210" y="82"/>
                          </a:lnTo>
                          <a:lnTo>
                            <a:pt x="218" y="78"/>
                          </a:lnTo>
                          <a:lnTo>
                            <a:pt x="218" y="78"/>
                          </a:lnTo>
                          <a:lnTo>
                            <a:pt x="216" y="70"/>
                          </a:lnTo>
                          <a:lnTo>
                            <a:pt x="210" y="70"/>
                          </a:lnTo>
                          <a:lnTo>
                            <a:pt x="210" y="70"/>
                          </a:lnTo>
                          <a:lnTo>
                            <a:pt x="206" y="70"/>
                          </a:lnTo>
                          <a:lnTo>
                            <a:pt x="202" y="68"/>
                          </a:lnTo>
                          <a:lnTo>
                            <a:pt x="198" y="62"/>
                          </a:lnTo>
                          <a:lnTo>
                            <a:pt x="196" y="54"/>
                          </a:lnTo>
                          <a:lnTo>
                            <a:pt x="198" y="46"/>
                          </a:lnTo>
                          <a:lnTo>
                            <a:pt x="198" y="46"/>
                          </a:lnTo>
                          <a:lnTo>
                            <a:pt x="198" y="42"/>
                          </a:lnTo>
                          <a:lnTo>
                            <a:pt x="198" y="38"/>
                          </a:lnTo>
                          <a:lnTo>
                            <a:pt x="192" y="32"/>
                          </a:lnTo>
                          <a:lnTo>
                            <a:pt x="188" y="28"/>
                          </a:lnTo>
                          <a:lnTo>
                            <a:pt x="188" y="26"/>
                          </a:lnTo>
                          <a:lnTo>
                            <a:pt x="192" y="24"/>
                          </a:lnTo>
                          <a:lnTo>
                            <a:pt x="192" y="24"/>
                          </a:lnTo>
                          <a:lnTo>
                            <a:pt x="198" y="24"/>
                          </a:lnTo>
                          <a:lnTo>
                            <a:pt x="202" y="24"/>
                          </a:lnTo>
                          <a:lnTo>
                            <a:pt x="210" y="28"/>
                          </a:lnTo>
                          <a:lnTo>
                            <a:pt x="216" y="30"/>
                          </a:lnTo>
                          <a:lnTo>
                            <a:pt x="218" y="30"/>
                          </a:lnTo>
                          <a:lnTo>
                            <a:pt x="224" y="30"/>
                          </a:lnTo>
                          <a:lnTo>
                            <a:pt x="224" y="30"/>
                          </a:lnTo>
                          <a:lnTo>
                            <a:pt x="232" y="28"/>
                          </a:lnTo>
                          <a:lnTo>
                            <a:pt x="238" y="30"/>
                          </a:lnTo>
                          <a:lnTo>
                            <a:pt x="240" y="30"/>
                          </a:lnTo>
                          <a:lnTo>
                            <a:pt x="242" y="30"/>
                          </a:lnTo>
                          <a:lnTo>
                            <a:pt x="242" y="30"/>
                          </a:lnTo>
                          <a:lnTo>
                            <a:pt x="244" y="28"/>
                          </a:lnTo>
                          <a:lnTo>
                            <a:pt x="244" y="28"/>
                          </a:lnTo>
                          <a:lnTo>
                            <a:pt x="242" y="26"/>
                          </a:lnTo>
                          <a:lnTo>
                            <a:pt x="244" y="26"/>
                          </a:lnTo>
                          <a:lnTo>
                            <a:pt x="244" y="26"/>
                          </a:lnTo>
                          <a:lnTo>
                            <a:pt x="250" y="24"/>
                          </a:lnTo>
                          <a:lnTo>
                            <a:pt x="256" y="22"/>
                          </a:lnTo>
                          <a:lnTo>
                            <a:pt x="264" y="16"/>
                          </a:lnTo>
                          <a:lnTo>
                            <a:pt x="264" y="16"/>
                          </a:lnTo>
                          <a:lnTo>
                            <a:pt x="268" y="12"/>
                          </a:lnTo>
                          <a:lnTo>
                            <a:pt x="272" y="10"/>
                          </a:lnTo>
                          <a:lnTo>
                            <a:pt x="274" y="8"/>
                          </a:lnTo>
                          <a:lnTo>
                            <a:pt x="276" y="0"/>
                          </a:lnTo>
                          <a:lnTo>
                            <a:pt x="276" y="0"/>
                          </a:lnTo>
                          <a:lnTo>
                            <a:pt x="282" y="2"/>
                          </a:lnTo>
                          <a:lnTo>
                            <a:pt x="286" y="2"/>
                          </a:lnTo>
                          <a:lnTo>
                            <a:pt x="288" y="2"/>
                          </a:lnTo>
                          <a:lnTo>
                            <a:pt x="288" y="8"/>
                          </a:lnTo>
                          <a:lnTo>
                            <a:pt x="288" y="8"/>
                          </a:lnTo>
                          <a:lnTo>
                            <a:pt x="286" y="12"/>
                          </a:lnTo>
                          <a:lnTo>
                            <a:pt x="290" y="12"/>
                          </a:lnTo>
                          <a:lnTo>
                            <a:pt x="294" y="12"/>
                          </a:lnTo>
                          <a:lnTo>
                            <a:pt x="294" y="14"/>
                          </a:lnTo>
                          <a:lnTo>
                            <a:pt x="294" y="16"/>
                          </a:lnTo>
                          <a:lnTo>
                            <a:pt x="294" y="16"/>
                          </a:lnTo>
                          <a:lnTo>
                            <a:pt x="296" y="20"/>
                          </a:lnTo>
                          <a:lnTo>
                            <a:pt x="296" y="24"/>
                          </a:lnTo>
                          <a:lnTo>
                            <a:pt x="300" y="26"/>
                          </a:lnTo>
                          <a:lnTo>
                            <a:pt x="300" y="26"/>
                          </a:lnTo>
                          <a:lnTo>
                            <a:pt x="300" y="28"/>
                          </a:lnTo>
                          <a:lnTo>
                            <a:pt x="294" y="36"/>
                          </a:lnTo>
                          <a:lnTo>
                            <a:pt x="294" y="36"/>
                          </a:lnTo>
                          <a:lnTo>
                            <a:pt x="290" y="42"/>
                          </a:lnTo>
                          <a:lnTo>
                            <a:pt x="290" y="46"/>
                          </a:lnTo>
                          <a:lnTo>
                            <a:pt x="292" y="48"/>
                          </a:lnTo>
                          <a:lnTo>
                            <a:pt x="290" y="50"/>
                          </a:lnTo>
                          <a:lnTo>
                            <a:pt x="290" y="50"/>
                          </a:lnTo>
                          <a:lnTo>
                            <a:pt x="290" y="54"/>
                          </a:lnTo>
                          <a:lnTo>
                            <a:pt x="292" y="56"/>
                          </a:lnTo>
                          <a:lnTo>
                            <a:pt x="294" y="60"/>
                          </a:lnTo>
                          <a:lnTo>
                            <a:pt x="292" y="62"/>
                          </a:lnTo>
                          <a:lnTo>
                            <a:pt x="292" y="62"/>
                          </a:lnTo>
                          <a:lnTo>
                            <a:pt x="290" y="66"/>
                          </a:lnTo>
                          <a:lnTo>
                            <a:pt x="292" y="68"/>
                          </a:lnTo>
                          <a:lnTo>
                            <a:pt x="294" y="70"/>
                          </a:lnTo>
                          <a:lnTo>
                            <a:pt x="296" y="76"/>
                          </a:lnTo>
                          <a:lnTo>
                            <a:pt x="296" y="76"/>
                          </a:lnTo>
                          <a:lnTo>
                            <a:pt x="298" y="84"/>
                          </a:lnTo>
                          <a:lnTo>
                            <a:pt x="300" y="86"/>
                          </a:lnTo>
                          <a:lnTo>
                            <a:pt x="302" y="88"/>
                          </a:lnTo>
                          <a:lnTo>
                            <a:pt x="302" y="90"/>
                          </a:lnTo>
                          <a:lnTo>
                            <a:pt x="302" y="90"/>
                          </a:lnTo>
                          <a:lnTo>
                            <a:pt x="304" y="96"/>
                          </a:lnTo>
                          <a:lnTo>
                            <a:pt x="308" y="98"/>
                          </a:lnTo>
                          <a:lnTo>
                            <a:pt x="310" y="100"/>
                          </a:lnTo>
                          <a:lnTo>
                            <a:pt x="314" y="102"/>
                          </a:lnTo>
                          <a:lnTo>
                            <a:pt x="314" y="102"/>
                          </a:lnTo>
                          <a:lnTo>
                            <a:pt x="316" y="100"/>
                          </a:lnTo>
                          <a:lnTo>
                            <a:pt x="318" y="98"/>
                          </a:lnTo>
                          <a:lnTo>
                            <a:pt x="322" y="100"/>
                          </a:lnTo>
                          <a:lnTo>
                            <a:pt x="322" y="100"/>
                          </a:lnTo>
                          <a:lnTo>
                            <a:pt x="322" y="96"/>
                          </a:lnTo>
                          <a:lnTo>
                            <a:pt x="326" y="92"/>
                          </a:lnTo>
                          <a:lnTo>
                            <a:pt x="334" y="90"/>
                          </a:lnTo>
                          <a:lnTo>
                            <a:pt x="334" y="90"/>
                          </a:lnTo>
                          <a:lnTo>
                            <a:pt x="342" y="86"/>
                          </a:lnTo>
                          <a:lnTo>
                            <a:pt x="344" y="84"/>
                          </a:lnTo>
                          <a:lnTo>
                            <a:pt x="346" y="82"/>
                          </a:lnTo>
                          <a:lnTo>
                            <a:pt x="348" y="82"/>
                          </a:lnTo>
                          <a:lnTo>
                            <a:pt x="348" y="82"/>
                          </a:lnTo>
                          <a:lnTo>
                            <a:pt x="348" y="82"/>
                          </a:lnTo>
                          <a:lnTo>
                            <a:pt x="350" y="84"/>
                          </a:lnTo>
                          <a:lnTo>
                            <a:pt x="352" y="86"/>
                          </a:lnTo>
                          <a:lnTo>
                            <a:pt x="360" y="84"/>
                          </a:lnTo>
                          <a:lnTo>
                            <a:pt x="360" y="84"/>
                          </a:lnTo>
                          <a:lnTo>
                            <a:pt x="374" y="86"/>
                          </a:lnTo>
                          <a:lnTo>
                            <a:pt x="378" y="84"/>
                          </a:lnTo>
                          <a:lnTo>
                            <a:pt x="378" y="82"/>
                          </a:lnTo>
                          <a:lnTo>
                            <a:pt x="374" y="80"/>
                          </a:lnTo>
                          <a:lnTo>
                            <a:pt x="372" y="78"/>
                          </a:lnTo>
                          <a:lnTo>
                            <a:pt x="376" y="76"/>
                          </a:lnTo>
                          <a:lnTo>
                            <a:pt x="376" y="76"/>
                          </a:lnTo>
                          <a:lnTo>
                            <a:pt x="378" y="78"/>
                          </a:lnTo>
                          <a:lnTo>
                            <a:pt x="380" y="78"/>
                          </a:lnTo>
                          <a:lnTo>
                            <a:pt x="384" y="78"/>
                          </a:lnTo>
                          <a:lnTo>
                            <a:pt x="384" y="78"/>
                          </a:lnTo>
                          <a:lnTo>
                            <a:pt x="386" y="78"/>
                          </a:lnTo>
                          <a:lnTo>
                            <a:pt x="388" y="76"/>
                          </a:lnTo>
                          <a:lnTo>
                            <a:pt x="388" y="74"/>
                          </a:lnTo>
                          <a:lnTo>
                            <a:pt x="392" y="72"/>
                          </a:lnTo>
                          <a:lnTo>
                            <a:pt x="392" y="72"/>
                          </a:lnTo>
                          <a:lnTo>
                            <a:pt x="394" y="74"/>
                          </a:lnTo>
                          <a:lnTo>
                            <a:pt x="396" y="74"/>
                          </a:lnTo>
                          <a:lnTo>
                            <a:pt x="396" y="76"/>
                          </a:lnTo>
                          <a:lnTo>
                            <a:pt x="400" y="76"/>
                          </a:lnTo>
                          <a:lnTo>
                            <a:pt x="400" y="76"/>
                          </a:lnTo>
                          <a:lnTo>
                            <a:pt x="404" y="78"/>
                          </a:lnTo>
                          <a:lnTo>
                            <a:pt x="406" y="78"/>
                          </a:lnTo>
                          <a:lnTo>
                            <a:pt x="406" y="78"/>
                          </a:lnTo>
                          <a:lnTo>
                            <a:pt x="410" y="78"/>
                          </a:lnTo>
                          <a:lnTo>
                            <a:pt x="410" y="80"/>
                          </a:lnTo>
                          <a:lnTo>
                            <a:pt x="412" y="80"/>
                          </a:lnTo>
                          <a:lnTo>
                            <a:pt x="414" y="80"/>
                          </a:lnTo>
                          <a:lnTo>
                            <a:pt x="414" y="80"/>
                          </a:lnTo>
                          <a:lnTo>
                            <a:pt x="418" y="80"/>
                          </a:lnTo>
                          <a:lnTo>
                            <a:pt x="420" y="84"/>
                          </a:lnTo>
                          <a:lnTo>
                            <a:pt x="422" y="84"/>
                          </a:lnTo>
                          <a:lnTo>
                            <a:pt x="430" y="82"/>
                          </a:lnTo>
                          <a:lnTo>
                            <a:pt x="430" y="82"/>
                          </a:lnTo>
                          <a:lnTo>
                            <a:pt x="438" y="80"/>
                          </a:lnTo>
                          <a:lnTo>
                            <a:pt x="440" y="78"/>
                          </a:lnTo>
                          <a:lnTo>
                            <a:pt x="440" y="74"/>
                          </a:lnTo>
                          <a:lnTo>
                            <a:pt x="440" y="74"/>
                          </a:lnTo>
                          <a:lnTo>
                            <a:pt x="442" y="70"/>
                          </a:lnTo>
                          <a:lnTo>
                            <a:pt x="444" y="70"/>
                          </a:lnTo>
                          <a:lnTo>
                            <a:pt x="446" y="68"/>
                          </a:lnTo>
                          <a:lnTo>
                            <a:pt x="448" y="62"/>
                          </a:lnTo>
                          <a:lnTo>
                            <a:pt x="448" y="62"/>
                          </a:lnTo>
                          <a:lnTo>
                            <a:pt x="450" y="54"/>
                          </a:lnTo>
                          <a:lnTo>
                            <a:pt x="454" y="50"/>
                          </a:lnTo>
                          <a:lnTo>
                            <a:pt x="456" y="48"/>
                          </a:lnTo>
                          <a:lnTo>
                            <a:pt x="456" y="46"/>
                          </a:lnTo>
                          <a:lnTo>
                            <a:pt x="456" y="46"/>
                          </a:lnTo>
                          <a:lnTo>
                            <a:pt x="458" y="40"/>
                          </a:lnTo>
                          <a:lnTo>
                            <a:pt x="460" y="38"/>
                          </a:lnTo>
                          <a:lnTo>
                            <a:pt x="462" y="36"/>
                          </a:lnTo>
                          <a:lnTo>
                            <a:pt x="462" y="32"/>
                          </a:lnTo>
                          <a:lnTo>
                            <a:pt x="462" y="32"/>
                          </a:lnTo>
                          <a:lnTo>
                            <a:pt x="462" y="26"/>
                          </a:lnTo>
                          <a:lnTo>
                            <a:pt x="464" y="26"/>
                          </a:lnTo>
                          <a:lnTo>
                            <a:pt x="466" y="24"/>
                          </a:lnTo>
                          <a:lnTo>
                            <a:pt x="468" y="20"/>
                          </a:lnTo>
                          <a:lnTo>
                            <a:pt x="468" y="20"/>
                          </a:lnTo>
                          <a:close/>
                        </a:path>
                      </a:pathLst>
                    </a:custGeom>
                    <a:solidFill>
                      <a:schemeClr val="accent6"/>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2" name="Chile"/>
                    <p:cNvSpPr>
                      <a:spLocks/>
                    </p:cNvSpPr>
                    <p:nvPr/>
                  </p:nvSpPr>
                  <p:spPr bwMode="auto">
                    <a:xfrm>
                      <a:off x="3567488" y="4383303"/>
                      <a:ext cx="370593" cy="1198759"/>
                    </a:xfrm>
                    <a:custGeom>
                      <a:avLst/>
                      <a:gdLst/>
                      <a:ahLst/>
                      <a:cxnLst>
                        <a:cxn ang="0">
                          <a:pos x="218" y="766"/>
                        </a:cxn>
                        <a:cxn ang="0">
                          <a:pos x="212" y="776"/>
                        </a:cxn>
                        <a:cxn ang="0">
                          <a:pos x="186" y="786"/>
                        </a:cxn>
                        <a:cxn ang="0">
                          <a:pos x="198" y="782"/>
                        </a:cxn>
                        <a:cxn ang="0">
                          <a:pos x="184" y="766"/>
                        </a:cxn>
                        <a:cxn ang="0">
                          <a:pos x="184" y="774"/>
                        </a:cxn>
                        <a:cxn ang="0">
                          <a:pos x="198" y="774"/>
                        </a:cxn>
                        <a:cxn ang="0">
                          <a:pos x="176" y="784"/>
                        </a:cxn>
                        <a:cxn ang="0">
                          <a:pos x="160" y="770"/>
                        </a:cxn>
                        <a:cxn ang="0">
                          <a:pos x="162" y="762"/>
                        </a:cxn>
                        <a:cxn ang="0">
                          <a:pos x="158" y="760"/>
                        </a:cxn>
                        <a:cxn ang="0">
                          <a:pos x="134" y="738"/>
                        </a:cxn>
                        <a:cxn ang="0">
                          <a:pos x="124" y="720"/>
                        </a:cxn>
                        <a:cxn ang="0">
                          <a:pos x="128" y="708"/>
                        </a:cxn>
                        <a:cxn ang="0">
                          <a:pos x="112" y="696"/>
                        </a:cxn>
                        <a:cxn ang="0">
                          <a:pos x="104" y="682"/>
                        </a:cxn>
                        <a:cxn ang="0">
                          <a:pos x="104" y="680"/>
                        </a:cxn>
                        <a:cxn ang="0">
                          <a:pos x="98" y="658"/>
                        </a:cxn>
                        <a:cxn ang="0">
                          <a:pos x="76" y="656"/>
                        </a:cxn>
                        <a:cxn ang="0">
                          <a:pos x="82" y="640"/>
                        </a:cxn>
                        <a:cxn ang="0">
                          <a:pos x="108" y="640"/>
                        </a:cxn>
                        <a:cxn ang="0">
                          <a:pos x="102" y="608"/>
                        </a:cxn>
                        <a:cxn ang="0">
                          <a:pos x="96" y="574"/>
                        </a:cxn>
                        <a:cxn ang="0">
                          <a:pos x="82" y="554"/>
                        </a:cxn>
                        <a:cxn ang="0">
                          <a:pos x="68" y="536"/>
                        </a:cxn>
                        <a:cxn ang="0">
                          <a:pos x="58" y="492"/>
                        </a:cxn>
                        <a:cxn ang="0">
                          <a:pos x="42" y="460"/>
                        </a:cxn>
                        <a:cxn ang="0">
                          <a:pos x="50" y="448"/>
                        </a:cxn>
                        <a:cxn ang="0">
                          <a:pos x="50" y="420"/>
                        </a:cxn>
                        <a:cxn ang="0">
                          <a:pos x="56" y="374"/>
                        </a:cxn>
                        <a:cxn ang="0">
                          <a:pos x="30" y="288"/>
                        </a:cxn>
                        <a:cxn ang="0">
                          <a:pos x="40" y="284"/>
                        </a:cxn>
                        <a:cxn ang="0">
                          <a:pos x="30" y="270"/>
                        </a:cxn>
                        <a:cxn ang="0">
                          <a:pos x="34" y="176"/>
                        </a:cxn>
                        <a:cxn ang="0">
                          <a:pos x="22" y="136"/>
                        </a:cxn>
                        <a:cxn ang="0">
                          <a:pos x="26" y="92"/>
                        </a:cxn>
                        <a:cxn ang="0">
                          <a:pos x="16" y="52"/>
                        </a:cxn>
                        <a:cxn ang="0">
                          <a:pos x="0" y="12"/>
                        </a:cxn>
                        <a:cxn ang="0">
                          <a:pos x="42" y="38"/>
                        </a:cxn>
                        <a:cxn ang="0">
                          <a:pos x="70" y="124"/>
                        </a:cxn>
                        <a:cxn ang="0">
                          <a:pos x="78" y="158"/>
                        </a:cxn>
                        <a:cxn ang="0">
                          <a:pos x="72" y="196"/>
                        </a:cxn>
                        <a:cxn ang="0">
                          <a:pos x="74" y="234"/>
                        </a:cxn>
                        <a:cxn ang="0">
                          <a:pos x="62" y="270"/>
                        </a:cxn>
                        <a:cxn ang="0">
                          <a:pos x="60" y="326"/>
                        </a:cxn>
                        <a:cxn ang="0">
                          <a:pos x="74" y="354"/>
                        </a:cxn>
                        <a:cxn ang="0">
                          <a:pos x="92" y="376"/>
                        </a:cxn>
                        <a:cxn ang="0">
                          <a:pos x="88" y="422"/>
                        </a:cxn>
                        <a:cxn ang="0">
                          <a:pos x="98" y="476"/>
                        </a:cxn>
                        <a:cxn ang="0">
                          <a:pos x="90" y="500"/>
                        </a:cxn>
                        <a:cxn ang="0">
                          <a:pos x="104" y="546"/>
                        </a:cxn>
                        <a:cxn ang="0">
                          <a:pos x="106" y="566"/>
                        </a:cxn>
                        <a:cxn ang="0">
                          <a:pos x="110" y="586"/>
                        </a:cxn>
                        <a:cxn ang="0">
                          <a:pos x="114" y="598"/>
                        </a:cxn>
                        <a:cxn ang="0">
                          <a:pos x="126" y="622"/>
                        </a:cxn>
                        <a:cxn ang="0">
                          <a:pos x="132" y="650"/>
                        </a:cxn>
                        <a:cxn ang="0">
                          <a:pos x="134" y="682"/>
                        </a:cxn>
                        <a:cxn ang="0">
                          <a:pos x="144" y="714"/>
                        </a:cxn>
                        <a:cxn ang="0">
                          <a:pos x="162" y="730"/>
                        </a:cxn>
                        <a:cxn ang="0">
                          <a:pos x="180" y="754"/>
                        </a:cxn>
                      </a:cxnLst>
                      <a:rect l="0" t="0" r="r" b="b"/>
                      <a:pathLst>
                        <a:path w="244" h="790">
                          <a:moveTo>
                            <a:pt x="244" y="764"/>
                          </a:moveTo>
                          <a:lnTo>
                            <a:pt x="244" y="764"/>
                          </a:lnTo>
                          <a:lnTo>
                            <a:pt x="238" y="762"/>
                          </a:lnTo>
                          <a:lnTo>
                            <a:pt x="236" y="762"/>
                          </a:lnTo>
                          <a:lnTo>
                            <a:pt x="234" y="762"/>
                          </a:lnTo>
                          <a:lnTo>
                            <a:pt x="230" y="762"/>
                          </a:lnTo>
                          <a:lnTo>
                            <a:pt x="230" y="762"/>
                          </a:lnTo>
                          <a:lnTo>
                            <a:pt x="228" y="762"/>
                          </a:lnTo>
                          <a:lnTo>
                            <a:pt x="224" y="764"/>
                          </a:lnTo>
                          <a:lnTo>
                            <a:pt x="222" y="766"/>
                          </a:lnTo>
                          <a:lnTo>
                            <a:pt x="218" y="766"/>
                          </a:lnTo>
                          <a:lnTo>
                            <a:pt x="218" y="766"/>
                          </a:lnTo>
                          <a:lnTo>
                            <a:pt x="216" y="764"/>
                          </a:lnTo>
                          <a:lnTo>
                            <a:pt x="216" y="766"/>
                          </a:lnTo>
                          <a:lnTo>
                            <a:pt x="214" y="766"/>
                          </a:lnTo>
                          <a:lnTo>
                            <a:pt x="212" y="768"/>
                          </a:lnTo>
                          <a:lnTo>
                            <a:pt x="212" y="768"/>
                          </a:lnTo>
                          <a:lnTo>
                            <a:pt x="210" y="768"/>
                          </a:lnTo>
                          <a:lnTo>
                            <a:pt x="210" y="770"/>
                          </a:lnTo>
                          <a:lnTo>
                            <a:pt x="212" y="772"/>
                          </a:lnTo>
                          <a:lnTo>
                            <a:pt x="212" y="776"/>
                          </a:lnTo>
                          <a:lnTo>
                            <a:pt x="212" y="776"/>
                          </a:lnTo>
                          <a:lnTo>
                            <a:pt x="210" y="782"/>
                          </a:lnTo>
                          <a:lnTo>
                            <a:pt x="212" y="786"/>
                          </a:lnTo>
                          <a:lnTo>
                            <a:pt x="212" y="786"/>
                          </a:lnTo>
                          <a:lnTo>
                            <a:pt x="212" y="790"/>
                          </a:lnTo>
                          <a:lnTo>
                            <a:pt x="210" y="790"/>
                          </a:lnTo>
                          <a:lnTo>
                            <a:pt x="204" y="790"/>
                          </a:lnTo>
                          <a:lnTo>
                            <a:pt x="198" y="790"/>
                          </a:lnTo>
                          <a:lnTo>
                            <a:pt x="198" y="790"/>
                          </a:lnTo>
                          <a:lnTo>
                            <a:pt x="190" y="788"/>
                          </a:lnTo>
                          <a:lnTo>
                            <a:pt x="188" y="788"/>
                          </a:lnTo>
                          <a:lnTo>
                            <a:pt x="186" y="786"/>
                          </a:lnTo>
                          <a:lnTo>
                            <a:pt x="186" y="786"/>
                          </a:lnTo>
                          <a:lnTo>
                            <a:pt x="188" y="784"/>
                          </a:lnTo>
                          <a:lnTo>
                            <a:pt x="188" y="782"/>
                          </a:lnTo>
                          <a:lnTo>
                            <a:pt x="194" y="780"/>
                          </a:lnTo>
                          <a:lnTo>
                            <a:pt x="194" y="780"/>
                          </a:lnTo>
                          <a:lnTo>
                            <a:pt x="196" y="782"/>
                          </a:lnTo>
                          <a:lnTo>
                            <a:pt x="198" y="784"/>
                          </a:lnTo>
                          <a:lnTo>
                            <a:pt x="198" y="786"/>
                          </a:lnTo>
                          <a:lnTo>
                            <a:pt x="198" y="786"/>
                          </a:lnTo>
                          <a:lnTo>
                            <a:pt x="198" y="786"/>
                          </a:lnTo>
                          <a:lnTo>
                            <a:pt x="198" y="782"/>
                          </a:lnTo>
                          <a:lnTo>
                            <a:pt x="200" y="780"/>
                          </a:lnTo>
                          <a:lnTo>
                            <a:pt x="202" y="778"/>
                          </a:lnTo>
                          <a:lnTo>
                            <a:pt x="202" y="778"/>
                          </a:lnTo>
                          <a:lnTo>
                            <a:pt x="204" y="776"/>
                          </a:lnTo>
                          <a:lnTo>
                            <a:pt x="204" y="774"/>
                          </a:lnTo>
                          <a:lnTo>
                            <a:pt x="202" y="770"/>
                          </a:lnTo>
                          <a:lnTo>
                            <a:pt x="200" y="768"/>
                          </a:lnTo>
                          <a:lnTo>
                            <a:pt x="200" y="768"/>
                          </a:lnTo>
                          <a:lnTo>
                            <a:pt x="192" y="764"/>
                          </a:lnTo>
                          <a:lnTo>
                            <a:pt x="188" y="766"/>
                          </a:lnTo>
                          <a:lnTo>
                            <a:pt x="184" y="766"/>
                          </a:lnTo>
                          <a:lnTo>
                            <a:pt x="184" y="766"/>
                          </a:lnTo>
                          <a:lnTo>
                            <a:pt x="182" y="768"/>
                          </a:lnTo>
                          <a:lnTo>
                            <a:pt x="180" y="768"/>
                          </a:lnTo>
                          <a:lnTo>
                            <a:pt x="178" y="768"/>
                          </a:lnTo>
                          <a:lnTo>
                            <a:pt x="174" y="766"/>
                          </a:lnTo>
                          <a:lnTo>
                            <a:pt x="174" y="766"/>
                          </a:lnTo>
                          <a:lnTo>
                            <a:pt x="172" y="768"/>
                          </a:lnTo>
                          <a:lnTo>
                            <a:pt x="172" y="770"/>
                          </a:lnTo>
                          <a:lnTo>
                            <a:pt x="180" y="774"/>
                          </a:lnTo>
                          <a:lnTo>
                            <a:pt x="180" y="774"/>
                          </a:lnTo>
                          <a:lnTo>
                            <a:pt x="184" y="774"/>
                          </a:lnTo>
                          <a:lnTo>
                            <a:pt x="186" y="772"/>
                          </a:lnTo>
                          <a:lnTo>
                            <a:pt x="188" y="770"/>
                          </a:lnTo>
                          <a:lnTo>
                            <a:pt x="190" y="770"/>
                          </a:lnTo>
                          <a:lnTo>
                            <a:pt x="190" y="770"/>
                          </a:lnTo>
                          <a:lnTo>
                            <a:pt x="192" y="770"/>
                          </a:lnTo>
                          <a:lnTo>
                            <a:pt x="194" y="768"/>
                          </a:lnTo>
                          <a:lnTo>
                            <a:pt x="196" y="768"/>
                          </a:lnTo>
                          <a:lnTo>
                            <a:pt x="200" y="770"/>
                          </a:lnTo>
                          <a:lnTo>
                            <a:pt x="200" y="770"/>
                          </a:lnTo>
                          <a:lnTo>
                            <a:pt x="200" y="774"/>
                          </a:lnTo>
                          <a:lnTo>
                            <a:pt x="198" y="774"/>
                          </a:lnTo>
                          <a:lnTo>
                            <a:pt x="196" y="776"/>
                          </a:lnTo>
                          <a:lnTo>
                            <a:pt x="192" y="778"/>
                          </a:lnTo>
                          <a:lnTo>
                            <a:pt x="192" y="778"/>
                          </a:lnTo>
                          <a:lnTo>
                            <a:pt x="188" y="780"/>
                          </a:lnTo>
                          <a:lnTo>
                            <a:pt x="184" y="782"/>
                          </a:lnTo>
                          <a:lnTo>
                            <a:pt x="182" y="782"/>
                          </a:lnTo>
                          <a:lnTo>
                            <a:pt x="182" y="784"/>
                          </a:lnTo>
                          <a:lnTo>
                            <a:pt x="182" y="784"/>
                          </a:lnTo>
                          <a:lnTo>
                            <a:pt x="182" y="786"/>
                          </a:lnTo>
                          <a:lnTo>
                            <a:pt x="180" y="786"/>
                          </a:lnTo>
                          <a:lnTo>
                            <a:pt x="176" y="784"/>
                          </a:lnTo>
                          <a:lnTo>
                            <a:pt x="172" y="782"/>
                          </a:lnTo>
                          <a:lnTo>
                            <a:pt x="170" y="778"/>
                          </a:lnTo>
                          <a:lnTo>
                            <a:pt x="170" y="778"/>
                          </a:lnTo>
                          <a:lnTo>
                            <a:pt x="170" y="776"/>
                          </a:lnTo>
                          <a:lnTo>
                            <a:pt x="166" y="776"/>
                          </a:lnTo>
                          <a:lnTo>
                            <a:pt x="164" y="778"/>
                          </a:lnTo>
                          <a:lnTo>
                            <a:pt x="164" y="776"/>
                          </a:lnTo>
                          <a:lnTo>
                            <a:pt x="164" y="776"/>
                          </a:lnTo>
                          <a:lnTo>
                            <a:pt x="164" y="774"/>
                          </a:lnTo>
                          <a:lnTo>
                            <a:pt x="162" y="772"/>
                          </a:lnTo>
                          <a:lnTo>
                            <a:pt x="160" y="770"/>
                          </a:lnTo>
                          <a:lnTo>
                            <a:pt x="162" y="770"/>
                          </a:lnTo>
                          <a:lnTo>
                            <a:pt x="162" y="770"/>
                          </a:lnTo>
                          <a:lnTo>
                            <a:pt x="164" y="768"/>
                          </a:lnTo>
                          <a:lnTo>
                            <a:pt x="160" y="768"/>
                          </a:lnTo>
                          <a:lnTo>
                            <a:pt x="156" y="766"/>
                          </a:lnTo>
                          <a:lnTo>
                            <a:pt x="154" y="764"/>
                          </a:lnTo>
                          <a:lnTo>
                            <a:pt x="154" y="764"/>
                          </a:lnTo>
                          <a:lnTo>
                            <a:pt x="152" y="762"/>
                          </a:lnTo>
                          <a:lnTo>
                            <a:pt x="154" y="762"/>
                          </a:lnTo>
                          <a:lnTo>
                            <a:pt x="158" y="762"/>
                          </a:lnTo>
                          <a:lnTo>
                            <a:pt x="162" y="762"/>
                          </a:lnTo>
                          <a:lnTo>
                            <a:pt x="162" y="762"/>
                          </a:lnTo>
                          <a:lnTo>
                            <a:pt x="162" y="760"/>
                          </a:lnTo>
                          <a:lnTo>
                            <a:pt x="160" y="756"/>
                          </a:lnTo>
                          <a:lnTo>
                            <a:pt x="150" y="748"/>
                          </a:lnTo>
                          <a:lnTo>
                            <a:pt x="150" y="748"/>
                          </a:lnTo>
                          <a:lnTo>
                            <a:pt x="152" y="752"/>
                          </a:lnTo>
                          <a:lnTo>
                            <a:pt x="156" y="756"/>
                          </a:lnTo>
                          <a:lnTo>
                            <a:pt x="160" y="760"/>
                          </a:lnTo>
                          <a:lnTo>
                            <a:pt x="160" y="760"/>
                          </a:lnTo>
                          <a:lnTo>
                            <a:pt x="158" y="760"/>
                          </a:lnTo>
                          <a:lnTo>
                            <a:pt x="158" y="760"/>
                          </a:lnTo>
                          <a:lnTo>
                            <a:pt x="154" y="758"/>
                          </a:lnTo>
                          <a:lnTo>
                            <a:pt x="148" y="754"/>
                          </a:lnTo>
                          <a:lnTo>
                            <a:pt x="146" y="748"/>
                          </a:lnTo>
                          <a:lnTo>
                            <a:pt x="144" y="744"/>
                          </a:lnTo>
                          <a:lnTo>
                            <a:pt x="144" y="744"/>
                          </a:lnTo>
                          <a:lnTo>
                            <a:pt x="138" y="744"/>
                          </a:lnTo>
                          <a:lnTo>
                            <a:pt x="136" y="742"/>
                          </a:lnTo>
                          <a:lnTo>
                            <a:pt x="132" y="740"/>
                          </a:lnTo>
                          <a:lnTo>
                            <a:pt x="132" y="740"/>
                          </a:lnTo>
                          <a:lnTo>
                            <a:pt x="132" y="738"/>
                          </a:lnTo>
                          <a:lnTo>
                            <a:pt x="134" y="738"/>
                          </a:lnTo>
                          <a:lnTo>
                            <a:pt x="140" y="736"/>
                          </a:lnTo>
                          <a:lnTo>
                            <a:pt x="140" y="736"/>
                          </a:lnTo>
                          <a:lnTo>
                            <a:pt x="136" y="736"/>
                          </a:lnTo>
                          <a:lnTo>
                            <a:pt x="132" y="734"/>
                          </a:lnTo>
                          <a:lnTo>
                            <a:pt x="130" y="732"/>
                          </a:lnTo>
                          <a:lnTo>
                            <a:pt x="124" y="730"/>
                          </a:lnTo>
                          <a:lnTo>
                            <a:pt x="124" y="730"/>
                          </a:lnTo>
                          <a:lnTo>
                            <a:pt x="118" y="728"/>
                          </a:lnTo>
                          <a:lnTo>
                            <a:pt x="124" y="722"/>
                          </a:lnTo>
                          <a:lnTo>
                            <a:pt x="124" y="722"/>
                          </a:lnTo>
                          <a:lnTo>
                            <a:pt x="124" y="720"/>
                          </a:lnTo>
                          <a:lnTo>
                            <a:pt x="126" y="718"/>
                          </a:lnTo>
                          <a:lnTo>
                            <a:pt x="130" y="720"/>
                          </a:lnTo>
                          <a:lnTo>
                            <a:pt x="132" y="724"/>
                          </a:lnTo>
                          <a:lnTo>
                            <a:pt x="132" y="724"/>
                          </a:lnTo>
                          <a:lnTo>
                            <a:pt x="134" y="722"/>
                          </a:lnTo>
                          <a:lnTo>
                            <a:pt x="134" y="722"/>
                          </a:lnTo>
                          <a:lnTo>
                            <a:pt x="132" y="718"/>
                          </a:lnTo>
                          <a:lnTo>
                            <a:pt x="130" y="718"/>
                          </a:lnTo>
                          <a:lnTo>
                            <a:pt x="130" y="714"/>
                          </a:lnTo>
                          <a:lnTo>
                            <a:pt x="128" y="708"/>
                          </a:lnTo>
                          <a:lnTo>
                            <a:pt x="128" y="708"/>
                          </a:lnTo>
                          <a:lnTo>
                            <a:pt x="124" y="716"/>
                          </a:lnTo>
                          <a:lnTo>
                            <a:pt x="122" y="716"/>
                          </a:lnTo>
                          <a:lnTo>
                            <a:pt x="120" y="712"/>
                          </a:lnTo>
                          <a:lnTo>
                            <a:pt x="120" y="712"/>
                          </a:lnTo>
                          <a:lnTo>
                            <a:pt x="118" y="710"/>
                          </a:lnTo>
                          <a:lnTo>
                            <a:pt x="116" y="710"/>
                          </a:lnTo>
                          <a:lnTo>
                            <a:pt x="116" y="708"/>
                          </a:lnTo>
                          <a:lnTo>
                            <a:pt x="114" y="704"/>
                          </a:lnTo>
                          <a:lnTo>
                            <a:pt x="114" y="704"/>
                          </a:lnTo>
                          <a:lnTo>
                            <a:pt x="112" y="698"/>
                          </a:lnTo>
                          <a:lnTo>
                            <a:pt x="112" y="696"/>
                          </a:lnTo>
                          <a:lnTo>
                            <a:pt x="114" y="692"/>
                          </a:lnTo>
                          <a:lnTo>
                            <a:pt x="114" y="692"/>
                          </a:lnTo>
                          <a:lnTo>
                            <a:pt x="110" y="694"/>
                          </a:lnTo>
                          <a:lnTo>
                            <a:pt x="108" y="694"/>
                          </a:lnTo>
                          <a:lnTo>
                            <a:pt x="108" y="692"/>
                          </a:lnTo>
                          <a:lnTo>
                            <a:pt x="106" y="688"/>
                          </a:lnTo>
                          <a:lnTo>
                            <a:pt x="106" y="688"/>
                          </a:lnTo>
                          <a:lnTo>
                            <a:pt x="102" y="684"/>
                          </a:lnTo>
                          <a:lnTo>
                            <a:pt x="102" y="682"/>
                          </a:lnTo>
                          <a:lnTo>
                            <a:pt x="104" y="682"/>
                          </a:lnTo>
                          <a:lnTo>
                            <a:pt x="104" y="682"/>
                          </a:lnTo>
                          <a:lnTo>
                            <a:pt x="108" y="682"/>
                          </a:lnTo>
                          <a:lnTo>
                            <a:pt x="110" y="682"/>
                          </a:lnTo>
                          <a:lnTo>
                            <a:pt x="114" y="682"/>
                          </a:lnTo>
                          <a:lnTo>
                            <a:pt x="124" y="684"/>
                          </a:lnTo>
                          <a:lnTo>
                            <a:pt x="124" y="684"/>
                          </a:lnTo>
                          <a:lnTo>
                            <a:pt x="118" y="680"/>
                          </a:lnTo>
                          <a:lnTo>
                            <a:pt x="116" y="678"/>
                          </a:lnTo>
                          <a:lnTo>
                            <a:pt x="114" y="678"/>
                          </a:lnTo>
                          <a:lnTo>
                            <a:pt x="112" y="678"/>
                          </a:lnTo>
                          <a:lnTo>
                            <a:pt x="108" y="680"/>
                          </a:lnTo>
                          <a:lnTo>
                            <a:pt x="104" y="680"/>
                          </a:lnTo>
                          <a:lnTo>
                            <a:pt x="102" y="678"/>
                          </a:lnTo>
                          <a:lnTo>
                            <a:pt x="102" y="678"/>
                          </a:lnTo>
                          <a:lnTo>
                            <a:pt x="96" y="676"/>
                          </a:lnTo>
                          <a:lnTo>
                            <a:pt x="96" y="674"/>
                          </a:lnTo>
                          <a:lnTo>
                            <a:pt x="100" y="670"/>
                          </a:lnTo>
                          <a:lnTo>
                            <a:pt x="100" y="670"/>
                          </a:lnTo>
                          <a:lnTo>
                            <a:pt x="102" y="664"/>
                          </a:lnTo>
                          <a:lnTo>
                            <a:pt x="102" y="660"/>
                          </a:lnTo>
                          <a:lnTo>
                            <a:pt x="102" y="658"/>
                          </a:lnTo>
                          <a:lnTo>
                            <a:pt x="98" y="658"/>
                          </a:lnTo>
                          <a:lnTo>
                            <a:pt x="98" y="658"/>
                          </a:lnTo>
                          <a:lnTo>
                            <a:pt x="96" y="658"/>
                          </a:lnTo>
                          <a:lnTo>
                            <a:pt x="90" y="658"/>
                          </a:lnTo>
                          <a:lnTo>
                            <a:pt x="86" y="658"/>
                          </a:lnTo>
                          <a:lnTo>
                            <a:pt x="82" y="656"/>
                          </a:lnTo>
                          <a:lnTo>
                            <a:pt x="82" y="656"/>
                          </a:lnTo>
                          <a:lnTo>
                            <a:pt x="80" y="654"/>
                          </a:lnTo>
                          <a:lnTo>
                            <a:pt x="80" y="656"/>
                          </a:lnTo>
                          <a:lnTo>
                            <a:pt x="80" y="662"/>
                          </a:lnTo>
                          <a:lnTo>
                            <a:pt x="80" y="662"/>
                          </a:lnTo>
                          <a:lnTo>
                            <a:pt x="78" y="658"/>
                          </a:lnTo>
                          <a:lnTo>
                            <a:pt x="76" y="656"/>
                          </a:lnTo>
                          <a:lnTo>
                            <a:pt x="74" y="656"/>
                          </a:lnTo>
                          <a:lnTo>
                            <a:pt x="78" y="650"/>
                          </a:lnTo>
                          <a:lnTo>
                            <a:pt x="78" y="650"/>
                          </a:lnTo>
                          <a:lnTo>
                            <a:pt x="80" y="648"/>
                          </a:lnTo>
                          <a:lnTo>
                            <a:pt x="82" y="648"/>
                          </a:lnTo>
                          <a:lnTo>
                            <a:pt x="82" y="648"/>
                          </a:lnTo>
                          <a:lnTo>
                            <a:pt x="84" y="646"/>
                          </a:lnTo>
                          <a:lnTo>
                            <a:pt x="84" y="646"/>
                          </a:lnTo>
                          <a:lnTo>
                            <a:pt x="84" y="642"/>
                          </a:lnTo>
                          <a:lnTo>
                            <a:pt x="84" y="642"/>
                          </a:lnTo>
                          <a:lnTo>
                            <a:pt x="82" y="640"/>
                          </a:lnTo>
                          <a:lnTo>
                            <a:pt x="88" y="638"/>
                          </a:lnTo>
                          <a:lnTo>
                            <a:pt x="88" y="638"/>
                          </a:lnTo>
                          <a:lnTo>
                            <a:pt x="90" y="638"/>
                          </a:lnTo>
                          <a:lnTo>
                            <a:pt x="94" y="638"/>
                          </a:lnTo>
                          <a:lnTo>
                            <a:pt x="98" y="642"/>
                          </a:lnTo>
                          <a:lnTo>
                            <a:pt x="102" y="646"/>
                          </a:lnTo>
                          <a:lnTo>
                            <a:pt x="104" y="646"/>
                          </a:lnTo>
                          <a:lnTo>
                            <a:pt x="104" y="646"/>
                          </a:lnTo>
                          <a:lnTo>
                            <a:pt x="106" y="644"/>
                          </a:lnTo>
                          <a:lnTo>
                            <a:pt x="106" y="642"/>
                          </a:lnTo>
                          <a:lnTo>
                            <a:pt x="108" y="640"/>
                          </a:lnTo>
                          <a:lnTo>
                            <a:pt x="110" y="636"/>
                          </a:lnTo>
                          <a:lnTo>
                            <a:pt x="110" y="636"/>
                          </a:lnTo>
                          <a:lnTo>
                            <a:pt x="112" y="632"/>
                          </a:lnTo>
                          <a:lnTo>
                            <a:pt x="112" y="630"/>
                          </a:lnTo>
                          <a:lnTo>
                            <a:pt x="102" y="624"/>
                          </a:lnTo>
                          <a:lnTo>
                            <a:pt x="102" y="624"/>
                          </a:lnTo>
                          <a:lnTo>
                            <a:pt x="98" y="618"/>
                          </a:lnTo>
                          <a:lnTo>
                            <a:pt x="100" y="614"/>
                          </a:lnTo>
                          <a:lnTo>
                            <a:pt x="100" y="612"/>
                          </a:lnTo>
                          <a:lnTo>
                            <a:pt x="102" y="608"/>
                          </a:lnTo>
                          <a:lnTo>
                            <a:pt x="102" y="608"/>
                          </a:lnTo>
                          <a:lnTo>
                            <a:pt x="100" y="604"/>
                          </a:lnTo>
                          <a:lnTo>
                            <a:pt x="102" y="602"/>
                          </a:lnTo>
                          <a:lnTo>
                            <a:pt x="102" y="600"/>
                          </a:lnTo>
                          <a:lnTo>
                            <a:pt x="102" y="596"/>
                          </a:lnTo>
                          <a:lnTo>
                            <a:pt x="102" y="596"/>
                          </a:lnTo>
                          <a:lnTo>
                            <a:pt x="98" y="590"/>
                          </a:lnTo>
                          <a:lnTo>
                            <a:pt x="100" y="586"/>
                          </a:lnTo>
                          <a:lnTo>
                            <a:pt x="102" y="584"/>
                          </a:lnTo>
                          <a:lnTo>
                            <a:pt x="98" y="578"/>
                          </a:lnTo>
                          <a:lnTo>
                            <a:pt x="98" y="578"/>
                          </a:lnTo>
                          <a:lnTo>
                            <a:pt x="96" y="574"/>
                          </a:lnTo>
                          <a:lnTo>
                            <a:pt x="96" y="572"/>
                          </a:lnTo>
                          <a:lnTo>
                            <a:pt x="96" y="570"/>
                          </a:lnTo>
                          <a:lnTo>
                            <a:pt x="96" y="566"/>
                          </a:lnTo>
                          <a:lnTo>
                            <a:pt x="96" y="566"/>
                          </a:lnTo>
                          <a:lnTo>
                            <a:pt x="92" y="564"/>
                          </a:lnTo>
                          <a:lnTo>
                            <a:pt x="92" y="560"/>
                          </a:lnTo>
                          <a:lnTo>
                            <a:pt x="90" y="558"/>
                          </a:lnTo>
                          <a:lnTo>
                            <a:pt x="88" y="554"/>
                          </a:lnTo>
                          <a:lnTo>
                            <a:pt x="88" y="554"/>
                          </a:lnTo>
                          <a:lnTo>
                            <a:pt x="84" y="552"/>
                          </a:lnTo>
                          <a:lnTo>
                            <a:pt x="82" y="554"/>
                          </a:lnTo>
                          <a:lnTo>
                            <a:pt x="80" y="554"/>
                          </a:lnTo>
                          <a:lnTo>
                            <a:pt x="76" y="554"/>
                          </a:lnTo>
                          <a:lnTo>
                            <a:pt x="76" y="554"/>
                          </a:lnTo>
                          <a:lnTo>
                            <a:pt x="74" y="552"/>
                          </a:lnTo>
                          <a:lnTo>
                            <a:pt x="74" y="554"/>
                          </a:lnTo>
                          <a:lnTo>
                            <a:pt x="72" y="556"/>
                          </a:lnTo>
                          <a:lnTo>
                            <a:pt x="72" y="554"/>
                          </a:lnTo>
                          <a:lnTo>
                            <a:pt x="72" y="554"/>
                          </a:lnTo>
                          <a:lnTo>
                            <a:pt x="68" y="548"/>
                          </a:lnTo>
                          <a:lnTo>
                            <a:pt x="70" y="542"/>
                          </a:lnTo>
                          <a:lnTo>
                            <a:pt x="68" y="536"/>
                          </a:lnTo>
                          <a:lnTo>
                            <a:pt x="64" y="528"/>
                          </a:lnTo>
                          <a:lnTo>
                            <a:pt x="64" y="528"/>
                          </a:lnTo>
                          <a:lnTo>
                            <a:pt x="62" y="524"/>
                          </a:lnTo>
                          <a:lnTo>
                            <a:pt x="62" y="522"/>
                          </a:lnTo>
                          <a:lnTo>
                            <a:pt x="66" y="518"/>
                          </a:lnTo>
                          <a:lnTo>
                            <a:pt x="68" y="514"/>
                          </a:lnTo>
                          <a:lnTo>
                            <a:pt x="68" y="512"/>
                          </a:lnTo>
                          <a:lnTo>
                            <a:pt x="68" y="506"/>
                          </a:lnTo>
                          <a:lnTo>
                            <a:pt x="62" y="500"/>
                          </a:lnTo>
                          <a:lnTo>
                            <a:pt x="62" y="500"/>
                          </a:lnTo>
                          <a:lnTo>
                            <a:pt x="58" y="492"/>
                          </a:lnTo>
                          <a:lnTo>
                            <a:pt x="58" y="486"/>
                          </a:lnTo>
                          <a:lnTo>
                            <a:pt x="56" y="482"/>
                          </a:lnTo>
                          <a:lnTo>
                            <a:pt x="54" y="478"/>
                          </a:lnTo>
                          <a:lnTo>
                            <a:pt x="54" y="478"/>
                          </a:lnTo>
                          <a:lnTo>
                            <a:pt x="54" y="478"/>
                          </a:lnTo>
                          <a:lnTo>
                            <a:pt x="56" y="476"/>
                          </a:lnTo>
                          <a:lnTo>
                            <a:pt x="56" y="474"/>
                          </a:lnTo>
                          <a:lnTo>
                            <a:pt x="50" y="468"/>
                          </a:lnTo>
                          <a:lnTo>
                            <a:pt x="50" y="468"/>
                          </a:lnTo>
                          <a:lnTo>
                            <a:pt x="44" y="464"/>
                          </a:lnTo>
                          <a:lnTo>
                            <a:pt x="42" y="460"/>
                          </a:lnTo>
                          <a:lnTo>
                            <a:pt x="40" y="456"/>
                          </a:lnTo>
                          <a:lnTo>
                            <a:pt x="42" y="452"/>
                          </a:lnTo>
                          <a:lnTo>
                            <a:pt x="42" y="452"/>
                          </a:lnTo>
                          <a:lnTo>
                            <a:pt x="42" y="448"/>
                          </a:lnTo>
                          <a:lnTo>
                            <a:pt x="44" y="448"/>
                          </a:lnTo>
                          <a:lnTo>
                            <a:pt x="44" y="452"/>
                          </a:lnTo>
                          <a:lnTo>
                            <a:pt x="44" y="452"/>
                          </a:lnTo>
                          <a:lnTo>
                            <a:pt x="46" y="454"/>
                          </a:lnTo>
                          <a:lnTo>
                            <a:pt x="48" y="456"/>
                          </a:lnTo>
                          <a:lnTo>
                            <a:pt x="52" y="454"/>
                          </a:lnTo>
                          <a:lnTo>
                            <a:pt x="50" y="448"/>
                          </a:lnTo>
                          <a:lnTo>
                            <a:pt x="50" y="448"/>
                          </a:lnTo>
                          <a:lnTo>
                            <a:pt x="48" y="442"/>
                          </a:lnTo>
                          <a:lnTo>
                            <a:pt x="50" y="440"/>
                          </a:lnTo>
                          <a:lnTo>
                            <a:pt x="52" y="438"/>
                          </a:lnTo>
                          <a:lnTo>
                            <a:pt x="52" y="436"/>
                          </a:lnTo>
                          <a:lnTo>
                            <a:pt x="52" y="436"/>
                          </a:lnTo>
                          <a:lnTo>
                            <a:pt x="50" y="430"/>
                          </a:lnTo>
                          <a:lnTo>
                            <a:pt x="50" y="428"/>
                          </a:lnTo>
                          <a:lnTo>
                            <a:pt x="52" y="426"/>
                          </a:lnTo>
                          <a:lnTo>
                            <a:pt x="50" y="420"/>
                          </a:lnTo>
                          <a:lnTo>
                            <a:pt x="50" y="420"/>
                          </a:lnTo>
                          <a:lnTo>
                            <a:pt x="50" y="416"/>
                          </a:lnTo>
                          <a:lnTo>
                            <a:pt x="50" y="414"/>
                          </a:lnTo>
                          <a:lnTo>
                            <a:pt x="52" y="412"/>
                          </a:lnTo>
                          <a:lnTo>
                            <a:pt x="56" y="410"/>
                          </a:lnTo>
                          <a:lnTo>
                            <a:pt x="56" y="406"/>
                          </a:lnTo>
                          <a:lnTo>
                            <a:pt x="56" y="402"/>
                          </a:lnTo>
                          <a:lnTo>
                            <a:pt x="56" y="402"/>
                          </a:lnTo>
                          <a:lnTo>
                            <a:pt x="54" y="392"/>
                          </a:lnTo>
                          <a:lnTo>
                            <a:pt x="56" y="386"/>
                          </a:lnTo>
                          <a:lnTo>
                            <a:pt x="56" y="382"/>
                          </a:lnTo>
                          <a:lnTo>
                            <a:pt x="56" y="374"/>
                          </a:lnTo>
                          <a:lnTo>
                            <a:pt x="56" y="374"/>
                          </a:lnTo>
                          <a:lnTo>
                            <a:pt x="54" y="366"/>
                          </a:lnTo>
                          <a:lnTo>
                            <a:pt x="52" y="360"/>
                          </a:lnTo>
                          <a:lnTo>
                            <a:pt x="50" y="352"/>
                          </a:lnTo>
                          <a:lnTo>
                            <a:pt x="46" y="342"/>
                          </a:lnTo>
                          <a:lnTo>
                            <a:pt x="46" y="342"/>
                          </a:lnTo>
                          <a:lnTo>
                            <a:pt x="40" y="326"/>
                          </a:lnTo>
                          <a:lnTo>
                            <a:pt x="34" y="312"/>
                          </a:lnTo>
                          <a:lnTo>
                            <a:pt x="30" y="290"/>
                          </a:lnTo>
                          <a:lnTo>
                            <a:pt x="30" y="290"/>
                          </a:lnTo>
                          <a:lnTo>
                            <a:pt x="30" y="288"/>
                          </a:lnTo>
                          <a:lnTo>
                            <a:pt x="32" y="290"/>
                          </a:lnTo>
                          <a:lnTo>
                            <a:pt x="34" y="292"/>
                          </a:lnTo>
                          <a:lnTo>
                            <a:pt x="36" y="290"/>
                          </a:lnTo>
                          <a:lnTo>
                            <a:pt x="36" y="290"/>
                          </a:lnTo>
                          <a:lnTo>
                            <a:pt x="36" y="290"/>
                          </a:lnTo>
                          <a:lnTo>
                            <a:pt x="36" y="288"/>
                          </a:lnTo>
                          <a:lnTo>
                            <a:pt x="34" y="286"/>
                          </a:lnTo>
                          <a:lnTo>
                            <a:pt x="36" y="284"/>
                          </a:lnTo>
                          <a:lnTo>
                            <a:pt x="36" y="284"/>
                          </a:lnTo>
                          <a:lnTo>
                            <a:pt x="38" y="284"/>
                          </a:lnTo>
                          <a:lnTo>
                            <a:pt x="40" y="284"/>
                          </a:lnTo>
                          <a:lnTo>
                            <a:pt x="40" y="286"/>
                          </a:lnTo>
                          <a:lnTo>
                            <a:pt x="42" y="284"/>
                          </a:lnTo>
                          <a:lnTo>
                            <a:pt x="42" y="284"/>
                          </a:lnTo>
                          <a:lnTo>
                            <a:pt x="40" y="282"/>
                          </a:lnTo>
                          <a:lnTo>
                            <a:pt x="38" y="280"/>
                          </a:lnTo>
                          <a:lnTo>
                            <a:pt x="36" y="280"/>
                          </a:lnTo>
                          <a:lnTo>
                            <a:pt x="36" y="274"/>
                          </a:lnTo>
                          <a:lnTo>
                            <a:pt x="36" y="274"/>
                          </a:lnTo>
                          <a:lnTo>
                            <a:pt x="34" y="272"/>
                          </a:lnTo>
                          <a:lnTo>
                            <a:pt x="34" y="270"/>
                          </a:lnTo>
                          <a:lnTo>
                            <a:pt x="30" y="270"/>
                          </a:lnTo>
                          <a:lnTo>
                            <a:pt x="30" y="268"/>
                          </a:lnTo>
                          <a:lnTo>
                            <a:pt x="28" y="264"/>
                          </a:lnTo>
                          <a:lnTo>
                            <a:pt x="30" y="246"/>
                          </a:lnTo>
                          <a:lnTo>
                            <a:pt x="30" y="246"/>
                          </a:lnTo>
                          <a:lnTo>
                            <a:pt x="32" y="222"/>
                          </a:lnTo>
                          <a:lnTo>
                            <a:pt x="32" y="202"/>
                          </a:lnTo>
                          <a:lnTo>
                            <a:pt x="32" y="202"/>
                          </a:lnTo>
                          <a:lnTo>
                            <a:pt x="34" y="188"/>
                          </a:lnTo>
                          <a:lnTo>
                            <a:pt x="36" y="182"/>
                          </a:lnTo>
                          <a:lnTo>
                            <a:pt x="36" y="178"/>
                          </a:lnTo>
                          <a:lnTo>
                            <a:pt x="34" y="176"/>
                          </a:lnTo>
                          <a:lnTo>
                            <a:pt x="34" y="176"/>
                          </a:lnTo>
                          <a:lnTo>
                            <a:pt x="30" y="170"/>
                          </a:lnTo>
                          <a:lnTo>
                            <a:pt x="30" y="168"/>
                          </a:lnTo>
                          <a:lnTo>
                            <a:pt x="32" y="164"/>
                          </a:lnTo>
                          <a:lnTo>
                            <a:pt x="30" y="158"/>
                          </a:lnTo>
                          <a:lnTo>
                            <a:pt x="30" y="158"/>
                          </a:lnTo>
                          <a:lnTo>
                            <a:pt x="28" y="152"/>
                          </a:lnTo>
                          <a:lnTo>
                            <a:pt x="26" y="148"/>
                          </a:lnTo>
                          <a:lnTo>
                            <a:pt x="26" y="142"/>
                          </a:lnTo>
                          <a:lnTo>
                            <a:pt x="22" y="136"/>
                          </a:lnTo>
                          <a:lnTo>
                            <a:pt x="22" y="136"/>
                          </a:lnTo>
                          <a:lnTo>
                            <a:pt x="20" y="132"/>
                          </a:lnTo>
                          <a:lnTo>
                            <a:pt x="22" y="130"/>
                          </a:lnTo>
                          <a:lnTo>
                            <a:pt x="24" y="126"/>
                          </a:lnTo>
                          <a:lnTo>
                            <a:pt x="26" y="114"/>
                          </a:lnTo>
                          <a:lnTo>
                            <a:pt x="26" y="114"/>
                          </a:lnTo>
                          <a:lnTo>
                            <a:pt x="24" y="106"/>
                          </a:lnTo>
                          <a:lnTo>
                            <a:pt x="22" y="106"/>
                          </a:lnTo>
                          <a:lnTo>
                            <a:pt x="22" y="104"/>
                          </a:lnTo>
                          <a:lnTo>
                            <a:pt x="24" y="100"/>
                          </a:lnTo>
                          <a:lnTo>
                            <a:pt x="24" y="100"/>
                          </a:lnTo>
                          <a:lnTo>
                            <a:pt x="26" y="92"/>
                          </a:lnTo>
                          <a:lnTo>
                            <a:pt x="24" y="88"/>
                          </a:lnTo>
                          <a:lnTo>
                            <a:pt x="22" y="84"/>
                          </a:lnTo>
                          <a:lnTo>
                            <a:pt x="18" y="78"/>
                          </a:lnTo>
                          <a:lnTo>
                            <a:pt x="18" y="78"/>
                          </a:lnTo>
                          <a:lnTo>
                            <a:pt x="16" y="72"/>
                          </a:lnTo>
                          <a:lnTo>
                            <a:pt x="18" y="70"/>
                          </a:lnTo>
                          <a:lnTo>
                            <a:pt x="20" y="70"/>
                          </a:lnTo>
                          <a:lnTo>
                            <a:pt x="18" y="66"/>
                          </a:lnTo>
                          <a:lnTo>
                            <a:pt x="18" y="66"/>
                          </a:lnTo>
                          <a:lnTo>
                            <a:pt x="18" y="58"/>
                          </a:lnTo>
                          <a:lnTo>
                            <a:pt x="16" y="52"/>
                          </a:lnTo>
                          <a:lnTo>
                            <a:pt x="16" y="46"/>
                          </a:lnTo>
                          <a:lnTo>
                            <a:pt x="14" y="40"/>
                          </a:lnTo>
                          <a:lnTo>
                            <a:pt x="14" y="40"/>
                          </a:lnTo>
                          <a:lnTo>
                            <a:pt x="10" y="34"/>
                          </a:lnTo>
                          <a:lnTo>
                            <a:pt x="10" y="32"/>
                          </a:lnTo>
                          <a:lnTo>
                            <a:pt x="10" y="30"/>
                          </a:lnTo>
                          <a:lnTo>
                            <a:pt x="8" y="26"/>
                          </a:lnTo>
                          <a:lnTo>
                            <a:pt x="8" y="26"/>
                          </a:lnTo>
                          <a:lnTo>
                            <a:pt x="4" y="16"/>
                          </a:lnTo>
                          <a:lnTo>
                            <a:pt x="0" y="12"/>
                          </a:lnTo>
                          <a:lnTo>
                            <a:pt x="0" y="12"/>
                          </a:lnTo>
                          <a:lnTo>
                            <a:pt x="10" y="8"/>
                          </a:lnTo>
                          <a:lnTo>
                            <a:pt x="12" y="6"/>
                          </a:lnTo>
                          <a:lnTo>
                            <a:pt x="10" y="4"/>
                          </a:lnTo>
                          <a:lnTo>
                            <a:pt x="10" y="2"/>
                          </a:lnTo>
                          <a:lnTo>
                            <a:pt x="10" y="0"/>
                          </a:lnTo>
                          <a:lnTo>
                            <a:pt x="14" y="0"/>
                          </a:lnTo>
                          <a:lnTo>
                            <a:pt x="14" y="0"/>
                          </a:lnTo>
                          <a:lnTo>
                            <a:pt x="24" y="10"/>
                          </a:lnTo>
                          <a:lnTo>
                            <a:pt x="30" y="16"/>
                          </a:lnTo>
                          <a:lnTo>
                            <a:pt x="34" y="24"/>
                          </a:lnTo>
                          <a:lnTo>
                            <a:pt x="42" y="38"/>
                          </a:lnTo>
                          <a:lnTo>
                            <a:pt x="42" y="38"/>
                          </a:lnTo>
                          <a:lnTo>
                            <a:pt x="46" y="46"/>
                          </a:lnTo>
                          <a:lnTo>
                            <a:pt x="46" y="54"/>
                          </a:lnTo>
                          <a:lnTo>
                            <a:pt x="48" y="64"/>
                          </a:lnTo>
                          <a:lnTo>
                            <a:pt x="52" y="74"/>
                          </a:lnTo>
                          <a:lnTo>
                            <a:pt x="52" y="74"/>
                          </a:lnTo>
                          <a:lnTo>
                            <a:pt x="60" y="86"/>
                          </a:lnTo>
                          <a:lnTo>
                            <a:pt x="64" y="98"/>
                          </a:lnTo>
                          <a:lnTo>
                            <a:pt x="66" y="114"/>
                          </a:lnTo>
                          <a:lnTo>
                            <a:pt x="68" y="120"/>
                          </a:lnTo>
                          <a:lnTo>
                            <a:pt x="70" y="124"/>
                          </a:lnTo>
                          <a:lnTo>
                            <a:pt x="74" y="126"/>
                          </a:lnTo>
                          <a:lnTo>
                            <a:pt x="84" y="124"/>
                          </a:lnTo>
                          <a:lnTo>
                            <a:pt x="84" y="124"/>
                          </a:lnTo>
                          <a:lnTo>
                            <a:pt x="88" y="126"/>
                          </a:lnTo>
                          <a:lnTo>
                            <a:pt x="88" y="128"/>
                          </a:lnTo>
                          <a:lnTo>
                            <a:pt x="90" y="130"/>
                          </a:lnTo>
                          <a:lnTo>
                            <a:pt x="90" y="130"/>
                          </a:lnTo>
                          <a:lnTo>
                            <a:pt x="86" y="148"/>
                          </a:lnTo>
                          <a:lnTo>
                            <a:pt x="84" y="152"/>
                          </a:lnTo>
                          <a:lnTo>
                            <a:pt x="78" y="158"/>
                          </a:lnTo>
                          <a:lnTo>
                            <a:pt x="78" y="158"/>
                          </a:lnTo>
                          <a:lnTo>
                            <a:pt x="68" y="164"/>
                          </a:lnTo>
                          <a:lnTo>
                            <a:pt x="68" y="166"/>
                          </a:lnTo>
                          <a:lnTo>
                            <a:pt x="68" y="168"/>
                          </a:lnTo>
                          <a:lnTo>
                            <a:pt x="72" y="170"/>
                          </a:lnTo>
                          <a:lnTo>
                            <a:pt x="72" y="172"/>
                          </a:lnTo>
                          <a:lnTo>
                            <a:pt x="70" y="176"/>
                          </a:lnTo>
                          <a:lnTo>
                            <a:pt x="70" y="176"/>
                          </a:lnTo>
                          <a:lnTo>
                            <a:pt x="66" y="184"/>
                          </a:lnTo>
                          <a:lnTo>
                            <a:pt x="66" y="188"/>
                          </a:lnTo>
                          <a:lnTo>
                            <a:pt x="68" y="192"/>
                          </a:lnTo>
                          <a:lnTo>
                            <a:pt x="72" y="196"/>
                          </a:lnTo>
                          <a:lnTo>
                            <a:pt x="76" y="202"/>
                          </a:lnTo>
                          <a:lnTo>
                            <a:pt x="76" y="204"/>
                          </a:lnTo>
                          <a:lnTo>
                            <a:pt x="74" y="208"/>
                          </a:lnTo>
                          <a:lnTo>
                            <a:pt x="74" y="208"/>
                          </a:lnTo>
                          <a:lnTo>
                            <a:pt x="78" y="212"/>
                          </a:lnTo>
                          <a:lnTo>
                            <a:pt x="80" y="214"/>
                          </a:lnTo>
                          <a:lnTo>
                            <a:pt x="80" y="218"/>
                          </a:lnTo>
                          <a:lnTo>
                            <a:pt x="78" y="224"/>
                          </a:lnTo>
                          <a:lnTo>
                            <a:pt x="78" y="224"/>
                          </a:lnTo>
                          <a:lnTo>
                            <a:pt x="74" y="230"/>
                          </a:lnTo>
                          <a:lnTo>
                            <a:pt x="74" y="234"/>
                          </a:lnTo>
                          <a:lnTo>
                            <a:pt x="72" y="238"/>
                          </a:lnTo>
                          <a:lnTo>
                            <a:pt x="70" y="242"/>
                          </a:lnTo>
                          <a:lnTo>
                            <a:pt x="70" y="242"/>
                          </a:lnTo>
                          <a:lnTo>
                            <a:pt x="66" y="246"/>
                          </a:lnTo>
                          <a:lnTo>
                            <a:pt x="68" y="248"/>
                          </a:lnTo>
                          <a:lnTo>
                            <a:pt x="68" y="252"/>
                          </a:lnTo>
                          <a:lnTo>
                            <a:pt x="66" y="256"/>
                          </a:lnTo>
                          <a:lnTo>
                            <a:pt x="66" y="256"/>
                          </a:lnTo>
                          <a:lnTo>
                            <a:pt x="62" y="260"/>
                          </a:lnTo>
                          <a:lnTo>
                            <a:pt x="62" y="264"/>
                          </a:lnTo>
                          <a:lnTo>
                            <a:pt x="62" y="270"/>
                          </a:lnTo>
                          <a:lnTo>
                            <a:pt x="64" y="276"/>
                          </a:lnTo>
                          <a:lnTo>
                            <a:pt x="64" y="282"/>
                          </a:lnTo>
                          <a:lnTo>
                            <a:pt x="64" y="282"/>
                          </a:lnTo>
                          <a:lnTo>
                            <a:pt x="62" y="288"/>
                          </a:lnTo>
                          <a:lnTo>
                            <a:pt x="62" y="292"/>
                          </a:lnTo>
                          <a:lnTo>
                            <a:pt x="64" y="296"/>
                          </a:lnTo>
                          <a:lnTo>
                            <a:pt x="62" y="304"/>
                          </a:lnTo>
                          <a:lnTo>
                            <a:pt x="62" y="304"/>
                          </a:lnTo>
                          <a:lnTo>
                            <a:pt x="60" y="310"/>
                          </a:lnTo>
                          <a:lnTo>
                            <a:pt x="60" y="316"/>
                          </a:lnTo>
                          <a:lnTo>
                            <a:pt x="60" y="326"/>
                          </a:lnTo>
                          <a:lnTo>
                            <a:pt x="62" y="332"/>
                          </a:lnTo>
                          <a:lnTo>
                            <a:pt x="66" y="334"/>
                          </a:lnTo>
                          <a:lnTo>
                            <a:pt x="66" y="334"/>
                          </a:lnTo>
                          <a:lnTo>
                            <a:pt x="68" y="334"/>
                          </a:lnTo>
                          <a:lnTo>
                            <a:pt x="70" y="336"/>
                          </a:lnTo>
                          <a:lnTo>
                            <a:pt x="72" y="340"/>
                          </a:lnTo>
                          <a:lnTo>
                            <a:pt x="70" y="344"/>
                          </a:lnTo>
                          <a:lnTo>
                            <a:pt x="70" y="344"/>
                          </a:lnTo>
                          <a:lnTo>
                            <a:pt x="68" y="346"/>
                          </a:lnTo>
                          <a:lnTo>
                            <a:pt x="70" y="350"/>
                          </a:lnTo>
                          <a:lnTo>
                            <a:pt x="74" y="354"/>
                          </a:lnTo>
                          <a:lnTo>
                            <a:pt x="80" y="360"/>
                          </a:lnTo>
                          <a:lnTo>
                            <a:pt x="82" y="364"/>
                          </a:lnTo>
                          <a:lnTo>
                            <a:pt x="82" y="368"/>
                          </a:lnTo>
                          <a:lnTo>
                            <a:pt x="82" y="368"/>
                          </a:lnTo>
                          <a:lnTo>
                            <a:pt x="82" y="376"/>
                          </a:lnTo>
                          <a:lnTo>
                            <a:pt x="84" y="376"/>
                          </a:lnTo>
                          <a:lnTo>
                            <a:pt x="86" y="374"/>
                          </a:lnTo>
                          <a:lnTo>
                            <a:pt x="86" y="374"/>
                          </a:lnTo>
                          <a:lnTo>
                            <a:pt x="90" y="374"/>
                          </a:lnTo>
                          <a:lnTo>
                            <a:pt x="92" y="374"/>
                          </a:lnTo>
                          <a:lnTo>
                            <a:pt x="92" y="376"/>
                          </a:lnTo>
                          <a:lnTo>
                            <a:pt x="92" y="382"/>
                          </a:lnTo>
                          <a:lnTo>
                            <a:pt x="92" y="382"/>
                          </a:lnTo>
                          <a:lnTo>
                            <a:pt x="90" y="388"/>
                          </a:lnTo>
                          <a:lnTo>
                            <a:pt x="92" y="392"/>
                          </a:lnTo>
                          <a:lnTo>
                            <a:pt x="94" y="396"/>
                          </a:lnTo>
                          <a:lnTo>
                            <a:pt x="90" y="402"/>
                          </a:lnTo>
                          <a:lnTo>
                            <a:pt x="90" y="402"/>
                          </a:lnTo>
                          <a:lnTo>
                            <a:pt x="94" y="406"/>
                          </a:lnTo>
                          <a:lnTo>
                            <a:pt x="96" y="410"/>
                          </a:lnTo>
                          <a:lnTo>
                            <a:pt x="94" y="416"/>
                          </a:lnTo>
                          <a:lnTo>
                            <a:pt x="88" y="422"/>
                          </a:lnTo>
                          <a:lnTo>
                            <a:pt x="88" y="422"/>
                          </a:lnTo>
                          <a:lnTo>
                            <a:pt x="84" y="430"/>
                          </a:lnTo>
                          <a:lnTo>
                            <a:pt x="82" y="436"/>
                          </a:lnTo>
                          <a:lnTo>
                            <a:pt x="84" y="442"/>
                          </a:lnTo>
                          <a:lnTo>
                            <a:pt x="84" y="452"/>
                          </a:lnTo>
                          <a:lnTo>
                            <a:pt x="84" y="452"/>
                          </a:lnTo>
                          <a:lnTo>
                            <a:pt x="86" y="456"/>
                          </a:lnTo>
                          <a:lnTo>
                            <a:pt x="88" y="460"/>
                          </a:lnTo>
                          <a:lnTo>
                            <a:pt x="92" y="466"/>
                          </a:lnTo>
                          <a:lnTo>
                            <a:pt x="98" y="472"/>
                          </a:lnTo>
                          <a:lnTo>
                            <a:pt x="98" y="476"/>
                          </a:lnTo>
                          <a:lnTo>
                            <a:pt x="98" y="480"/>
                          </a:lnTo>
                          <a:lnTo>
                            <a:pt x="98" y="480"/>
                          </a:lnTo>
                          <a:lnTo>
                            <a:pt x="96" y="482"/>
                          </a:lnTo>
                          <a:lnTo>
                            <a:pt x="92" y="484"/>
                          </a:lnTo>
                          <a:lnTo>
                            <a:pt x="92" y="484"/>
                          </a:lnTo>
                          <a:lnTo>
                            <a:pt x="94" y="490"/>
                          </a:lnTo>
                          <a:lnTo>
                            <a:pt x="94" y="490"/>
                          </a:lnTo>
                          <a:lnTo>
                            <a:pt x="96" y="494"/>
                          </a:lnTo>
                          <a:lnTo>
                            <a:pt x="94" y="496"/>
                          </a:lnTo>
                          <a:lnTo>
                            <a:pt x="90" y="500"/>
                          </a:lnTo>
                          <a:lnTo>
                            <a:pt x="90" y="500"/>
                          </a:lnTo>
                          <a:lnTo>
                            <a:pt x="92" y="504"/>
                          </a:lnTo>
                          <a:lnTo>
                            <a:pt x="92" y="504"/>
                          </a:lnTo>
                          <a:lnTo>
                            <a:pt x="92" y="506"/>
                          </a:lnTo>
                          <a:lnTo>
                            <a:pt x="90" y="508"/>
                          </a:lnTo>
                          <a:lnTo>
                            <a:pt x="90" y="510"/>
                          </a:lnTo>
                          <a:lnTo>
                            <a:pt x="92" y="514"/>
                          </a:lnTo>
                          <a:lnTo>
                            <a:pt x="92" y="514"/>
                          </a:lnTo>
                          <a:lnTo>
                            <a:pt x="92" y="522"/>
                          </a:lnTo>
                          <a:lnTo>
                            <a:pt x="94" y="530"/>
                          </a:lnTo>
                          <a:lnTo>
                            <a:pt x="100" y="540"/>
                          </a:lnTo>
                          <a:lnTo>
                            <a:pt x="104" y="546"/>
                          </a:lnTo>
                          <a:lnTo>
                            <a:pt x="104" y="548"/>
                          </a:lnTo>
                          <a:lnTo>
                            <a:pt x="102" y="550"/>
                          </a:lnTo>
                          <a:lnTo>
                            <a:pt x="102" y="550"/>
                          </a:lnTo>
                          <a:lnTo>
                            <a:pt x="98" y="552"/>
                          </a:lnTo>
                          <a:lnTo>
                            <a:pt x="100" y="554"/>
                          </a:lnTo>
                          <a:lnTo>
                            <a:pt x="102" y="556"/>
                          </a:lnTo>
                          <a:lnTo>
                            <a:pt x="102" y="560"/>
                          </a:lnTo>
                          <a:lnTo>
                            <a:pt x="102" y="560"/>
                          </a:lnTo>
                          <a:lnTo>
                            <a:pt x="102" y="562"/>
                          </a:lnTo>
                          <a:lnTo>
                            <a:pt x="102" y="564"/>
                          </a:lnTo>
                          <a:lnTo>
                            <a:pt x="106" y="566"/>
                          </a:lnTo>
                          <a:lnTo>
                            <a:pt x="108" y="566"/>
                          </a:lnTo>
                          <a:lnTo>
                            <a:pt x="108" y="570"/>
                          </a:lnTo>
                          <a:lnTo>
                            <a:pt x="108" y="570"/>
                          </a:lnTo>
                          <a:lnTo>
                            <a:pt x="106" y="570"/>
                          </a:lnTo>
                          <a:lnTo>
                            <a:pt x="108" y="572"/>
                          </a:lnTo>
                          <a:lnTo>
                            <a:pt x="110" y="574"/>
                          </a:lnTo>
                          <a:lnTo>
                            <a:pt x="114" y="576"/>
                          </a:lnTo>
                          <a:lnTo>
                            <a:pt x="114" y="578"/>
                          </a:lnTo>
                          <a:lnTo>
                            <a:pt x="112" y="582"/>
                          </a:lnTo>
                          <a:lnTo>
                            <a:pt x="112" y="582"/>
                          </a:lnTo>
                          <a:lnTo>
                            <a:pt x="110" y="586"/>
                          </a:lnTo>
                          <a:lnTo>
                            <a:pt x="110" y="588"/>
                          </a:lnTo>
                          <a:lnTo>
                            <a:pt x="112" y="590"/>
                          </a:lnTo>
                          <a:lnTo>
                            <a:pt x="114" y="588"/>
                          </a:lnTo>
                          <a:lnTo>
                            <a:pt x="114" y="588"/>
                          </a:lnTo>
                          <a:lnTo>
                            <a:pt x="118" y="586"/>
                          </a:lnTo>
                          <a:lnTo>
                            <a:pt x="120" y="586"/>
                          </a:lnTo>
                          <a:lnTo>
                            <a:pt x="122" y="590"/>
                          </a:lnTo>
                          <a:lnTo>
                            <a:pt x="120" y="594"/>
                          </a:lnTo>
                          <a:lnTo>
                            <a:pt x="120" y="594"/>
                          </a:lnTo>
                          <a:lnTo>
                            <a:pt x="118" y="598"/>
                          </a:lnTo>
                          <a:lnTo>
                            <a:pt x="114" y="598"/>
                          </a:lnTo>
                          <a:lnTo>
                            <a:pt x="114" y="600"/>
                          </a:lnTo>
                          <a:lnTo>
                            <a:pt x="114" y="604"/>
                          </a:lnTo>
                          <a:lnTo>
                            <a:pt x="114" y="604"/>
                          </a:lnTo>
                          <a:lnTo>
                            <a:pt x="120" y="608"/>
                          </a:lnTo>
                          <a:lnTo>
                            <a:pt x="126" y="612"/>
                          </a:lnTo>
                          <a:lnTo>
                            <a:pt x="130" y="614"/>
                          </a:lnTo>
                          <a:lnTo>
                            <a:pt x="130" y="616"/>
                          </a:lnTo>
                          <a:lnTo>
                            <a:pt x="128" y="618"/>
                          </a:lnTo>
                          <a:lnTo>
                            <a:pt x="128" y="618"/>
                          </a:lnTo>
                          <a:lnTo>
                            <a:pt x="126" y="620"/>
                          </a:lnTo>
                          <a:lnTo>
                            <a:pt x="126" y="622"/>
                          </a:lnTo>
                          <a:lnTo>
                            <a:pt x="126" y="624"/>
                          </a:lnTo>
                          <a:lnTo>
                            <a:pt x="124" y="628"/>
                          </a:lnTo>
                          <a:lnTo>
                            <a:pt x="124" y="628"/>
                          </a:lnTo>
                          <a:lnTo>
                            <a:pt x="124" y="628"/>
                          </a:lnTo>
                          <a:lnTo>
                            <a:pt x="124" y="630"/>
                          </a:lnTo>
                          <a:lnTo>
                            <a:pt x="128" y="632"/>
                          </a:lnTo>
                          <a:lnTo>
                            <a:pt x="134" y="636"/>
                          </a:lnTo>
                          <a:lnTo>
                            <a:pt x="134" y="640"/>
                          </a:lnTo>
                          <a:lnTo>
                            <a:pt x="134" y="644"/>
                          </a:lnTo>
                          <a:lnTo>
                            <a:pt x="134" y="644"/>
                          </a:lnTo>
                          <a:lnTo>
                            <a:pt x="132" y="650"/>
                          </a:lnTo>
                          <a:lnTo>
                            <a:pt x="132" y="656"/>
                          </a:lnTo>
                          <a:lnTo>
                            <a:pt x="136" y="662"/>
                          </a:lnTo>
                          <a:lnTo>
                            <a:pt x="138" y="668"/>
                          </a:lnTo>
                          <a:lnTo>
                            <a:pt x="138" y="670"/>
                          </a:lnTo>
                          <a:lnTo>
                            <a:pt x="138" y="672"/>
                          </a:lnTo>
                          <a:lnTo>
                            <a:pt x="138" y="672"/>
                          </a:lnTo>
                          <a:lnTo>
                            <a:pt x="134" y="676"/>
                          </a:lnTo>
                          <a:lnTo>
                            <a:pt x="136" y="676"/>
                          </a:lnTo>
                          <a:lnTo>
                            <a:pt x="136" y="678"/>
                          </a:lnTo>
                          <a:lnTo>
                            <a:pt x="134" y="682"/>
                          </a:lnTo>
                          <a:lnTo>
                            <a:pt x="134" y="682"/>
                          </a:lnTo>
                          <a:lnTo>
                            <a:pt x="134" y="684"/>
                          </a:lnTo>
                          <a:lnTo>
                            <a:pt x="134" y="688"/>
                          </a:lnTo>
                          <a:lnTo>
                            <a:pt x="138" y="690"/>
                          </a:lnTo>
                          <a:lnTo>
                            <a:pt x="142" y="694"/>
                          </a:lnTo>
                          <a:lnTo>
                            <a:pt x="142" y="696"/>
                          </a:lnTo>
                          <a:lnTo>
                            <a:pt x="140" y="698"/>
                          </a:lnTo>
                          <a:lnTo>
                            <a:pt x="140" y="698"/>
                          </a:lnTo>
                          <a:lnTo>
                            <a:pt x="140" y="704"/>
                          </a:lnTo>
                          <a:lnTo>
                            <a:pt x="142" y="708"/>
                          </a:lnTo>
                          <a:lnTo>
                            <a:pt x="144" y="710"/>
                          </a:lnTo>
                          <a:lnTo>
                            <a:pt x="144" y="714"/>
                          </a:lnTo>
                          <a:lnTo>
                            <a:pt x="144" y="714"/>
                          </a:lnTo>
                          <a:lnTo>
                            <a:pt x="142" y="720"/>
                          </a:lnTo>
                          <a:lnTo>
                            <a:pt x="142" y="726"/>
                          </a:lnTo>
                          <a:lnTo>
                            <a:pt x="146" y="734"/>
                          </a:lnTo>
                          <a:lnTo>
                            <a:pt x="148" y="738"/>
                          </a:lnTo>
                          <a:lnTo>
                            <a:pt x="148" y="738"/>
                          </a:lnTo>
                          <a:lnTo>
                            <a:pt x="150" y="736"/>
                          </a:lnTo>
                          <a:lnTo>
                            <a:pt x="154" y="734"/>
                          </a:lnTo>
                          <a:lnTo>
                            <a:pt x="158" y="730"/>
                          </a:lnTo>
                          <a:lnTo>
                            <a:pt x="162" y="730"/>
                          </a:lnTo>
                          <a:lnTo>
                            <a:pt x="162" y="730"/>
                          </a:lnTo>
                          <a:lnTo>
                            <a:pt x="166" y="734"/>
                          </a:lnTo>
                          <a:lnTo>
                            <a:pt x="166" y="738"/>
                          </a:lnTo>
                          <a:lnTo>
                            <a:pt x="164" y="740"/>
                          </a:lnTo>
                          <a:lnTo>
                            <a:pt x="166" y="744"/>
                          </a:lnTo>
                          <a:lnTo>
                            <a:pt x="166" y="744"/>
                          </a:lnTo>
                          <a:lnTo>
                            <a:pt x="168" y="748"/>
                          </a:lnTo>
                          <a:lnTo>
                            <a:pt x="168" y="750"/>
                          </a:lnTo>
                          <a:lnTo>
                            <a:pt x="170" y="752"/>
                          </a:lnTo>
                          <a:lnTo>
                            <a:pt x="176" y="752"/>
                          </a:lnTo>
                          <a:lnTo>
                            <a:pt x="176" y="752"/>
                          </a:lnTo>
                          <a:lnTo>
                            <a:pt x="180" y="754"/>
                          </a:lnTo>
                          <a:lnTo>
                            <a:pt x="184" y="756"/>
                          </a:lnTo>
                          <a:lnTo>
                            <a:pt x="184" y="758"/>
                          </a:lnTo>
                          <a:lnTo>
                            <a:pt x="218" y="758"/>
                          </a:lnTo>
                          <a:lnTo>
                            <a:pt x="218" y="758"/>
                          </a:lnTo>
                          <a:lnTo>
                            <a:pt x="222" y="760"/>
                          </a:lnTo>
                          <a:lnTo>
                            <a:pt x="226" y="758"/>
                          </a:lnTo>
                          <a:lnTo>
                            <a:pt x="232" y="760"/>
                          </a:lnTo>
                          <a:lnTo>
                            <a:pt x="244" y="764"/>
                          </a:lnTo>
                          <a:lnTo>
                            <a:pt x="244" y="764"/>
                          </a:lnTo>
                          <a:close/>
                        </a:path>
                      </a:pathLst>
                    </a:custGeom>
                    <a:solidFill>
                      <a:schemeClr val="accent6"/>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3" name="Colombia"/>
                    <p:cNvSpPr>
                      <a:spLocks/>
                    </p:cNvSpPr>
                    <p:nvPr/>
                  </p:nvSpPr>
                  <p:spPr bwMode="auto">
                    <a:xfrm>
                      <a:off x="3240437" y="3208822"/>
                      <a:ext cx="385781" cy="646420"/>
                    </a:xfrm>
                    <a:custGeom>
                      <a:avLst/>
                      <a:gdLst/>
                      <a:ahLst/>
                      <a:cxnLst>
                        <a:cxn ang="0">
                          <a:pos x="60" y="110"/>
                        </a:cxn>
                        <a:cxn ang="0">
                          <a:pos x="62" y="100"/>
                        </a:cxn>
                        <a:cxn ang="0">
                          <a:pos x="64" y="92"/>
                        </a:cxn>
                        <a:cxn ang="0">
                          <a:pos x="80" y="78"/>
                        </a:cxn>
                        <a:cxn ang="0">
                          <a:pos x="84" y="60"/>
                        </a:cxn>
                        <a:cxn ang="0">
                          <a:pos x="92" y="42"/>
                        </a:cxn>
                        <a:cxn ang="0">
                          <a:pos x="110" y="36"/>
                        </a:cxn>
                        <a:cxn ang="0">
                          <a:pos x="114" y="34"/>
                        </a:cxn>
                        <a:cxn ang="0">
                          <a:pos x="152" y="16"/>
                        </a:cxn>
                        <a:cxn ang="0">
                          <a:pos x="160" y="2"/>
                        </a:cxn>
                        <a:cxn ang="0">
                          <a:pos x="176" y="0"/>
                        </a:cxn>
                        <a:cxn ang="0">
                          <a:pos x="176" y="14"/>
                        </a:cxn>
                        <a:cxn ang="0">
                          <a:pos x="142" y="50"/>
                        </a:cxn>
                        <a:cxn ang="0">
                          <a:pos x="130" y="78"/>
                        </a:cxn>
                        <a:cxn ang="0">
                          <a:pos x="134" y="86"/>
                        </a:cxn>
                        <a:cxn ang="0">
                          <a:pos x="140" y="94"/>
                        </a:cxn>
                        <a:cxn ang="0">
                          <a:pos x="144" y="128"/>
                        </a:cxn>
                        <a:cxn ang="0">
                          <a:pos x="170" y="144"/>
                        </a:cxn>
                        <a:cxn ang="0">
                          <a:pos x="196" y="148"/>
                        </a:cxn>
                        <a:cxn ang="0">
                          <a:pos x="228" y="164"/>
                        </a:cxn>
                        <a:cxn ang="0">
                          <a:pos x="244" y="166"/>
                        </a:cxn>
                        <a:cxn ang="0">
                          <a:pos x="240" y="178"/>
                        </a:cxn>
                        <a:cxn ang="0">
                          <a:pos x="236" y="200"/>
                        </a:cxn>
                        <a:cxn ang="0">
                          <a:pos x="248" y="224"/>
                        </a:cxn>
                        <a:cxn ang="0">
                          <a:pos x="246" y="250"/>
                        </a:cxn>
                        <a:cxn ang="0">
                          <a:pos x="248" y="288"/>
                        </a:cxn>
                        <a:cxn ang="0">
                          <a:pos x="244" y="274"/>
                        </a:cxn>
                        <a:cxn ang="0">
                          <a:pos x="238" y="276"/>
                        </a:cxn>
                        <a:cxn ang="0">
                          <a:pos x="232" y="278"/>
                        </a:cxn>
                        <a:cxn ang="0">
                          <a:pos x="196" y="290"/>
                        </a:cxn>
                        <a:cxn ang="0">
                          <a:pos x="208" y="300"/>
                        </a:cxn>
                        <a:cxn ang="0">
                          <a:pos x="196" y="306"/>
                        </a:cxn>
                        <a:cxn ang="0">
                          <a:pos x="200" y="334"/>
                        </a:cxn>
                        <a:cxn ang="0">
                          <a:pos x="200" y="382"/>
                        </a:cxn>
                        <a:cxn ang="0">
                          <a:pos x="180" y="416"/>
                        </a:cxn>
                        <a:cxn ang="0">
                          <a:pos x="190" y="388"/>
                        </a:cxn>
                        <a:cxn ang="0">
                          <a:pos x="172" y="388"/>
                        </a:cxn>
                        <a:cxn ang="0">
                          <a:pos x="150" y="386"/>
                        </a:cxn>
                        <a:cxn ang="0">
                          <a:pos x="124" y="374"/>
                        </a:cxn>
                        <a:cxn ang="0">
                          <a:pos x="114" y="356"/>
                        </a:cxn>
                        <a:cxn ang="0">
                          <a:pos x="98" y="336"/>
                        </a:cxn>
                        <a:cxn ang="0">
                          <a:pos x="56" y="316"/>
                        </a:cxn>
                        <a:cxn ang="0">
                          <a:pos x="46" y="318"/>
                        </a:cxn>
                        <a:cxn ang="0">
                          <a:pos x="4" y="292"/>
                        </a:cxn>
                        <a:cxn ang="0">
                          <a:pos x="4" y="284"/>
                        </a:cxn>
                        <a:cxn ang="0">
                          <a:pos x="18" y="272"/>
                        </a:cxn>
                        <a:cxn ang="0">
                          <a:pos x="20" y="256"/>
                        </a:cxn>
                        <a:cxn ang="0">
                          <a:pos x="38" y="244"/>
                        </a:cxn>
                        <a:cxn ang="0">
                          <a:pos x="52" y="222"/>
                        </a:cxn>
                        <a:cxn ang="0">
                          <a:pos x="48" y="222"/>
                        </a:cxn>
                        <a:cxn ang="0">
                          <a:pos x="44" y="210"/>
                        </a:cxn>
                        <a:cxn ang="0">
                          <a:pos x="38" y="176"/>
                        </a:cxn>
                        <a:cxn ang="0">
                          <a:pos x="44" y="162"/>
                        </a:cxn>
                        <a:cxn ang="0">
                          <a:pos x="40" y="146"/>
                        </a:cxn>
                        <a:cxn ang="0">
                          <a:pos x="34" y="140"/>
                        </a:cxn>
                        <a:cxn ang="0">
                          <a:pos x="30" y="132"/>
                        </a:cxn>
                        <a:cxn ang="0">
                          <a:pos x="36" y="122"/>
                        </a:cxn>
                        <a:cxn ang="0">
                          <a:pos x="44" y="114"/>
                        </a:cxn>
                        <a:cxn ang="0">
                          <a:pos x="44" y="104"/>
                        </a:cxn>
                        <a:cxn ang="0">
                          <a:pos x="46" y="94"/>
                        </a:cxn>
                      </a:cxnLst>
                      <a:rect l="0" t="0" r="r" b="b"/>
                      <a:pathLst>
                        <a:path w="254" h="426">
                          <a:moveTo>
                            <a:pt x="46" y="94"/>
                          </a:moveTo>
                          <a:lnTo>
                            <a:pt x="46" y="94"/>
                          </a:lnTo>
                          <a:lnTo>
                            <a:pt x="48" y="96"/>
                          </a:lnTo>
                          <a:lnTo>
                            <a:pt x="50" y="98"/>
                          </a:lnTo>
                          <a:lnTo>
                            <a:pt x="54" y="102"/>
                          </a:lnTo>
                          <a:lnTo>
                            <a:pt x="60" y="110"/>
                          </a:lnTo>
                          <a:lnTo>
                            <a:pt x="60" y="110"/>
                          </a:lnTo>
                          <a:lnTo>
                            <a:pt x="58" y="106"/>
                          </a:lnTo>
                          <a:lnTo>
                            <a:pt x="58" y="106"/>
                          </a:lnTo>
                          <a:lnTo>
                            <a:pt x="60" y="104"/>
                          </a:lnTo>
                          <a:lnTo>
                            <a:pt x="60" y="104"/>
                          </a:lnTo>
                          <a:lnTo>
                            <a:pt x="62" y="100"/>
                          </a:lnTo>
                          <a:lnTo>
                            <a:pt x="58" y="98"/>
                          </a:lnTo>
                          <a:lnTo>
                            <a:pt x="56" y="98"/>
                          </a:lnTo>
                          <a:lnTo>
                            <a:pt x="56" y="96"/>
                          </a:lnTo>
                          <a:lnTo>
                            <a:pt x="56" y="96"/>
                          </a:lnTo>
                          <a:lnTo>
                            <a:pt x="60" y="94"/>
                          </a:lnTo>
                          <a:lnTo>
                            <a:pt x="64" y="92"/>
                          </a:lnTo>
                          <a:lnTo>
                            <a:pt x="68" y="86"/>
                          </a:lnTo>
                          <a:lnTo>
                            <a:pt x="68" y="86"/>
                          </a:lnTo>
                          <a:lnTo>
                            <a:pt x="72" y="80"/>
                          </a:lnTo>
                          <a:lnTo>
                            <a:pt x="76" y="78"/>
                          </a:lnTo>
                          <a:lnTo>
                            <a:pt x="80" y="78"/>
                          </a:lnTo>
                          <a:lnTo>
                            <a:pt x="80" y="78"/>
                          </a:lnTo>
                          <a:lnTo>
                            <a:pt x="84" y="74"/>
                          </a:lnTo>
                          <a:lnTo>
                            <a:pt x="82" y="72"/>
                          </a:lnTo>
                          <a:lnTo>
                            <a:pt x="82" y="70"/>
                          </a:lnTo>
                          <a:lnTo>
                            <a:pt x="82" y="66"/>
                          </a:lnTo>
                          <a:lnTo>
                            <a:pt x="82" y="66"/>
                          </a:lnTo>
                          <a:lnTo>
                            <a:pt x="84" y="60"/>
                          </a:lnTo>
                          <a:lnTo>
                            <a:pt x="84" y="56"/>
                          </a:lnTo>
                          <a:lnTo>
                            <a:pt x="84" y="52"/>
                          </a:lnTo>
                          <a:lnTo>
                            <a:pt x="86" y="50"/>
                          </a:lnTo>
                          <a:lnTo>
                            <a:pt x="86" y="50"/>
                          </a:lnTo>
                          <a:lnTo>
                            <a:pt x="88" y="46"/>
                          </a:lnTo>
                          <a:lnTo>
                            <a:pt x="92" y="42"/>
                          </a:lnTo>
                          <a:lnTo>
                            <a:pt x="96" y="38"/>
                          </a:lnTo>
                          <a:lnTo>
                            <a:pt x="102" y="36"/>
                          </a:lnTo>
                          <a:lnTo>
                            <a:pt x="102" y="36"/>
                          </a:lnTo>
                          <a:lnTo>
                            <a:pt x="110" y="34"/>
                          </a:lnTo>
                          <a:lnTo>
                            <a:pt x="110" y="34"/>
                          </a:lnTo>
                          <a:lnTo>
                            <a:pt x="110" y="36"/>
                          </a:lnTo>
                          <a:lnTo>
                            <a:pt x="108" y="40"/>
                          </a:lnTo>
                          <a:lnTo>
                            <a:pt x="108" y="40"/>
                          </a:lnTo>
                          <a:lnTo>
                            <a:pt x="112" y="42"/>
                          </a:lnTo>
                          <a:lnTo>
                            <a:pt x="112" y="42"/>
                          </a:lnTo>
                          <a:lnTo>
                            <a:pt x="112" y="38"/>
                          </a:lnTo>
                          <a:lnTo>
                            <a:pt x="114" y="34"/>
                          </a:lnTo>
                          <a:lnTo>
                            <a:pt x="120" y="30"/>
                          </a:lnTo>
                          <a:lnTo>
                            <a:pt x="124" y="28"/>
                          </a:lnTo>
                          <a:lnTo>
                            <a:pt x="124" y="28"/>
                          </a:lnTo>
                          <a:lnTo>
                            <a:pt x="128" y="28"/>
                          </a:lnTo>
                          <a:lnTo>
                            <a:pt x="132" y="26"/>
                          </a:lnTo>
                          <a:lnTo>
                            <a:pt x="152" y="16"/>
                          </a:lnTo>
                          <a:lnTo>
                            <a:pt x="152" y="16"/>
                          </a:lnTo>
                          <a:lnTo>
                            <a:pt x="156" y="12"/>
                          </a:lnTo>
                          <a:lnTo>
                            <a:pt x="160" y="10"/>
                          </a:lnTo>
                          <a:lnTo>
                            <a:pt x="160" y="8"/>
                          </a:lnTo>
                          <a:lnTo>
                            <a:pt x="160" y="6"/>
                          </a:lnTo>
                          <a:lnTo>
                            <a:pt x="160" y="2"/>
                          </a:lnTo>
                          <a:lnTo>
                            <a:pt x="162" y="2"/>
                          </a:lnTo>
                          <a:lnTo>
                            <a:pt x="162" y="2"/>
                          </a:lnTo>
                          <a:lnTo>
                            <a:pt x="168" y="2"/>
                          </a:lnTo>
                          <a:lnTo>
                            <a:pt x="168" y="0"/>
                          </a:lnTo>
                          <a:lnTo>
                            <a:pt x="170" y="0"/>
                          </a:lnTo>
                          <a:lnTo>
                            <a:pt x="176" y="0"/>
                          </a:lnTo>
                          <a:lnTo>
                            <a:pt x="176" y="0"/>
                          </a:lnTo>
                          <a:lnTo>
                            <a:pt x="180" y="2"/>
                          </a:lnTo>
                          <a:lnTo>
                            <a:pt x="182" y="6"/>
                          </a:lnTo>
                          <a:lnTo>
                            <a:pt x="182" y="10"/>
                          </a:lnTo>
                          <a:lnTo>
                            <a:pt x="176" y="14"/>
                          </a:lnTo>
                          <a:lnTo>
                            <a:pt x="176" y="14"/>
                          </a:lnTo>
                          <a:lnTo>
                            <a:pt x="162" y="22"/>
                          </a:lnTo>
                          <a:lnTo>
                            <a:pt x="150" y="44"/>
                          </a:lnTo>
                          <a:lnTo>
                            <a:pt x="150" y="44"/>
                          </a:lnTo>
                          <a:lnTo>
                            <a:pt x="148" y="44"/>
                          </a:lnTo>
                          <a:lnTo>
                            <a:pt x="142" y="50"/>
                          </a:lnTo>
                          <a:lnTo>
                            <a:pt x="142" y="50"/>
                          </a:lnTo>
                          <a:lnTo>
                            <a:pt x="140" y="56"/>
                          </a:lnTo>
                          <a:lnTo>
                            <a:pt x="140" y="58"/>
                          </a:lnTo>
                          <a:lnTo>
                            <a:pt x="140" y="62"/>
                          </a:lnTo>
                          <a:lnTo>
                            <a:pt x="138" y="66"/>
                          </a:lnTo>
                          <a:lnTo>
                            <a:pt x="138" y="66"/>
                          </a:lnTo>
                          <a:lnTo>
                            <a:pt x="130" y="78"/>
                          </a:lnTo>
                          <a:lnTo>
                            <a:pt x="128" y="84"/>
                          </a:lnTo>
                          <a:lnTo>
                            <a:pt x="128" y="84"/>
                          </a:lnTo>
                          <a:lnTo>
                            <a:pt x="128" y="84"/>
                          </a:lnTo>
                          <a:lnTo>
                            <a:pt x="130" y="84"/>
                          </a:lnTo>
                          <a:lnTo>
                            <a:pt x="132" y="84"/>
                          </a:lnTo>
                          <a:lnTo>
                            <a:pt x="134" y="86"/>
                          </a:lnTo>
                          <a:lnTo>
                            <a:pt x="134" y="86"/>
                          </a:lnTo>
                          <a:lnTo>
                            <a:pt x="136" y="88"/>
                          </a:lnTo>
                          <a:lnTo>
                            <a:pt x="138" y="86"/>
                          </a:lnTo>
                          <a:lnTo>
                            <a:pt x="140" y="88"/>
                          </a:lnTo>
                          <a:lnTo>
                            <a:pt x="140" y="94"/>
                          </a:lnTo>
                          <a:lnTo>
                            <a:pt x="140" y="94"/>
                          </a:lnTo>
                          <a:lnTo>
                            <a:pt x="144" y="110"/>
                          </a:lnTo>
                          <a:lnTo>
                            <a:pt x="144" y="116"/>
                          </a:lnTo>
                          <a:lnTo>
                            <a:pt x="144" y="122"/>
                          </a:lnTo>
                          <a:lnTo>
                            <a:pt x="144" y="122"/>
                          </a:lnTo>
                          <a:lnTo>
                            <a:pt x="144" y="124"/>
                          </a:lnTo>
                          <a:lnTo>
                            <a:pt x="144" y="128"/>
                          </a:lnTo>
                          <a:lnTo>
                            <a:pt x="150" y="132"/>
                          </a:lnTo>
                          <a:lnTo>
                            <a:pt x="156" y="136"/>
                          </a:lnTo>
                          <a:lnTo>
                            <a:pt x="162" y="140"/>
                          </a:lnTo>
                          <a:lnTo>
                            <a:pt x="162" y="140"/>
                          </a:lnTo>
                          <a:lnTo>
                            <a:pt x="166" y="142"/>
                          </a:lnTo>
                          <a:lnTo>
                            <a:pt x="170" y="144"/>
                          </a:lnTo>
                          <a:lnTo>
                            <a:pt x="176" y="142"/>
                          </a:lnTo>
                          <a:lnTo>
                            <a:pt x="182" y="140"/>
                          </a:lnTo>
                          <a:lnTo>
                            <a:pt x="186" y="142"/>
                          </a:lnTo>
                          <a:lnTo>
                            <a:pt x="190" y="144"/>
                          </a:lnTo>
                          <a:lnTo>
                            <a:pt x="190" y="144"/>
                          </a:lnTo>
                          <a:lnTo>
                            <a:pt x="196" y="148"/>
                          </a:lnTo>
                          <a:lnTo>
                            <a:pt x="200" y="148"/>
                          </a:lnTo>
                          <a:lnTo>
                            <a:pt x="206" y="156"/>
                          </a:lnTo>
                          <a:lnTo>
                            <a:pt x="206" y="156"/>
                          </a:lnTo>
                          <a:lnTo>
                            <a:pt x="214" y="162"/>
                          </a:lnTo>
                          <a:lnTo>
                            <a:pt x="220" y="164"/>
                          </a:lnTo>
                          <a:lnTo>
                            <a:pt x="228" y="164"/>
                          </a:lnTo>
                          <a:lnTo>
                            <a:pt x="238" y="160"/>
                          </a:lnTo>
                          <a:lnTo>
                            <a:pt x="238" y="160"/>
                          </a:lnTo>
                          <a:lnTo>
                            <a:pt x="244" y="160"/>
                          </a:lnTo>
                          <a:lnTo>
                            <a:pt x="246" y="160"/>
                          </a:lnTo>
                          <a:lnTo>
                            <a:pt x="246" y="162"/>
                          </a:lnTo>
                          <a:lnTo>
                            <a:pt x="244" y="166"/>
                          </a:lnTo>
                          <a:lnTo>
                            <a:pt x="244" y="166"/>
                          </a:lnTo>
                          <a:lnTo>
                            <a:pt x="242" y="170"/>
                          </a:lnTo>
                          <a:lnTo>
                            <a:pt x="242" y="172"/>
                          </a:lnTo>
                          <a:lnTo>
                            <a:pt x="242" y="176"/>
                          </a:lnTo>
                          <a:lnTo>
                            <a:pt x="240" y="178"/>
                          </a:lnTo>
                          <a:lnTo>
                            <a:pt x="240" y="178"/>
                          </a:lnTo>
                          <a:lnTo>
                            <a:pt x="238" y="180"/>
                          </a:lnTo>
                          <a:lnTo>
                            <a:pt x="240" y="184"/>
                          </a:lnTo>
                          <a:lnTo>
                            <a:pt x="240" y="188"/>
                          </a:lnTo>
                          <a:lnTo>
                            <a:pt x="238" y="194"/>
                          </a:lnTo>
                          <a:lnTo>
                            <a:pt x="238" y="194"/>
                          </a:lnTo>
                          <a:lnTo>
                            <a:pt x="236" y="200"/>
                          </a:lnTo>
                          <a:lnTo>
                            <a:pt x="238" y="204"/>
                          </a:lnTo>
                          <a:lnTo>
                            <a:pt x="238" y="212"/>
                          </a:lnTo>
                          <a:lnTo>
                            <a:pt x="240" y="218"/>
                          </a:lnTo>
                          <a:lnTo>
                            <a:pt x="246" y="218"/>
                          </a:lnTo>
                          <a:lnTo>
                            <a:pt x="246" y="218"/>
                          </a:lnTo>
                          <a:lnTo>
                            <a:pt x="248" y="224"/>
                          </a:lnTo>
                          <a:lnTo>
                            <a:pt x="248" y="230"/>
                          </a:lnTo>
                          <a:lnTo>
                            <a:pt x="246" y="236"/>
                          </a:lnTo>
                          <a:lnTo>
                            <a:pt x="240" y="248"/>
                          </a:lnTo>
                          <a:lnTo>
                            <a:pt x="240" y="248"/>
                          </a:lnTo>
                          <a:lnTo>
                            <a:pt x="242" y="248"/>
                          </a:lnTo>
                          <a:lnTo>
                            <a:pt x="246" y="250"/>
                          </a:lnTo>
                          <a:lnTo>
                            <a:pt x="250" y="258"/>
                          </a:lnTo>
                          <a:lnTo>
                            <a:pt x="252" y="272"/>
                          </a:lnTo>
                          <a:lnTo>
                            <a:pt x="254" y="290"/>
                          </a:lnTo>
                          <a:lnTo>
                            <a:pt x="254" y="290"/>
                          </a:lnTo>
                          <a:lnTo>
                            <a:pt x="250" y="290"/>
                          </a:lnTo>
                          <a:lnTo>
                            <a:pt x="248" y="288"/>
                          </a:lnTo>
                          <a:lnTo>
                            <a:pt x="248" y="282"/>
                          </a:lnTo>
                          <a:lnTo>
                            <a:pt x="248" y="276"/>
                          </a:lnTo>
                          <a:lnTo>
                            <a:pt x="248" y="274"/>
                          </a:lnTo>
                          <a:lnTo>
                            <a:pt x="246" y="274"/>
                          </a:lnTo>
                          <a:lnTo>
                            <a:pt x="246" y="274"/>
                          </a:lnTo>
                          <a:lnTo>
                            <a:pt x="244" y="274"/>
                          </a:lnTo>
                          <a:lnTo>
                            <a:pt x="242" y="276"/>
                          </a:lnTo>
                          <a:lnTo>
                            <a:pt x="242" y="278"/>
                          </a:lnTo>
                          <a:lnTo>
                            <a:pt x="240" y="278"/>
                          </a:lnTo>
                          <a:lnTo>
                            <a:pt x="240" y="278"/>
                          </a:lnTo>
                          <a:lnTo>
                            <a:pt x="238" y="278"/>
                          </a:lnTo>
                          <a:lnTo>
                            <a:pt x="238" y="276"/>
                          </a:lnTo>
                          <a:lnTo>
                            <a:pt x="236" y="274"/>
                          </a:lnTo>
                          <a:lnTo>
                            <a:pt x="232" y="274"/>
                          </a:lnTo>
                          <a:lnTo>
                            <a:pt x="232" y="274"/>
                          </a:lnTo>
                          <a:lnTo>
                            <a:pt x="230" y="274"/>
                          </a:lnTo>
                          <a:lnTo>
                            <a:pt x="232" y="276"/>
                          </a:lnTo>
                          <a:lnTo>
                            <a:pt x="232" y="278"/>
                          </a:lnTo>
                          <a:lnTo>
                            <a:pt x="226" y="280"/>
                          </a:lnTo>
                          <a:lnTo>
                            <a:pt x="226" y="280"/>
                          </a:lnTo>
                          <a:lnTo>
                            <a:pt x="212" y="282"/>
                          </a:lnTo>
                          <a:lnTo>
                            <a:pt x="196" y="284"/>
                          </a:lnTo>
                          <a:lnTo>
                            <a:pt x="196" y="284"/>
                          </a:lnTo>
                          <a:lnTo>
                            <a:pt x="196" y="290"/>
                          </a:lnTo>
                          <a:lnTo>
                            <a:pt x="198" y="292"/>
                          </a:lnTo>
                          <a:lnTo>
                            <a:pt x="202" y="294"/>
                          </a:lnTo>
                          <a:lnTo>
                            <a:pt x="202" y="294"/>
                          </a:lnTo>
                          <a:lnTo>
                            <a:pt x="204" y="294"/>
                          </a:lnTo>
                          <a:lnTo>
                            <a:pt x="206" y="296"/>
                          </a:lnTo>
                          <a:lnTo>
                            <a:pt x="208" y="300"/>
                          </a:lnTo>
                          <a:lnTo>
                            <a:pt x="208" y="306"/>
                          </a:lnTo>
                          <a:lnTo>
                            <a:pt x="208" y="306"/>
                          </a:lnTo>
                          <a:lnTo>
                            <a:pt x="206" y="306"/>
                          </a:lnTo>
                          <a:lnTo>
                            <a:pt x="206" y="306"/>
                          </a:lnTo>
                          <a:lnTo>
                            <a:pt x="200" y="306"/>
                          </a:lnTo>
                          <a:lnTo>
                            <a:pt x="196" y="306"/>
                          </a:lnTo>
                          <a:lnTo>
                            <a:pt x="192" y="310"/>
                          </a:lnTo>
                          <a:lnTo>
                            <a:pt x="190" y="312"/>
                          </a:lnTo>
                          <a:lnTo>
                            <a:pt x="192" y="316"/>
                          </a:lnTo>
                          <a:lnTo>
                            <a:pt x="192" y="316"/>
                          </a:lnTo>
                          <a:lnTo>
                            <a:pt x="196" y="324"/>
                          </a:lnTo>
                          <a:lnTo>
                            <a:pt x="200" y="334"/>
                          </a:lnTo>
                          <a:lnTo>
                            <a:pt x="204" y="342"/>
                          </a:lnTo>
                          <a:lnTo>
                            <a:pt x="204" y="344"/>
                          </a:lnTo>
                          <a:lnTo>
                            <a:pt x="204" y="346"/>
                          </a:lnTo>
                          <a:lnTo>
                            <a:pt x="204" y="346"/>
                          </a:lnTo>
                          <a:lnTo>
                            <a:pt x="202" y="358"/>
                          </a:lnTo>
                          <a:lnTo>
                            <a:pt x="200" y="382"/>
                          </a:lnTo>
                          <a:lnTo>
                            <a:pt x="196" y="406"/>
                          </a:lnTo>
                          <a:lnTo>
                            <a:pt x="194" y="416"/>
                          </a:lnTo>
                          <a:lnTo>
                            <a:pt x="192" y="426"/>
                          </a:lnTo>
                          <a:lnTo>
                            <a:pt x="192" y="426"/>
                          </a:lnTo>
                          <a:lnTo>
                            <a:pt x="182" y="420"/>
                          </a:lnTo>
                          <a:lnTo>
                            <a:pt x="180" y="416"/>
                          </a:lnTo>
                          <a:lnTo>
                            <a:pt x="182" y="412"/>
                          </a:lnTo>
                          <a:lnTo>
                            <a:pt x="186" y="402"/>
                          </a:lnTo>
                          <a:lnTo>
                            <a:pt x="186" y="402"/>
                          </a:lnTo>
                          <a:lnTo>
                            <a:pt x="190" y="398"/>
                          </a:lnTo>
                          <a:lnTo>
                            <a:pt x="190" y="392"/>
                          </a:lnTo>
                          <a:lnTo>
                            <a:pt x="190" y="388"/>
                          </a:lnTo>
                          <a:lnTo>
                            <a:pt x="188" y="386"/>
                          </a:lnTo>
                          <a:lnTo>
                            <a:pt x="184" y="384"/>
                          </a:lnTo>
                          <a:lnTo>
                            <a:pt x="182" y="384"/>
                          </a:lnTo>
                          <a:lnTo>
                            <a:pt x="176" y="386"/>
                          </a:lnTo>
                          <a:lnTo>
                            <a:pt x="176" y="386"/>
                          </a:lnTo>
                          <a:lnTo>
                            <a:pt x="172" y="388"/>
                          </a:lnTo>
                          <a:lnTo>
                            <a:pt x="170" y="386"/>
                          </a:lnTo>
                          <a:lnTo>
                            <a:pt x="164" y="384"/>
                          </a:lnTo>
                          <a:lnTo>
                            <a:pt x="158" y="382"/>
                          </a:lnTo>
                          <a:lnTo>
                            <a:pt x="156" y="384"/>
                          </a:lnTo>
                          <a:lnTo>
                            <a:pt x="150" y="386"/>
                          </a:lnTo>
                          <a:lnTo>
                            <a:pt x="150" y="386"/>
                          </a:lnTo>
                          <a:lnTo>
                            <a:pt x="142" y="388"/>
                          </a:lnTo>
                          <a:lnTo>
                            <a:pt x="138" y="388"/>
                          </a:lnTo>
                          <a:lnTo>
                            <a:pt x="132" y="386"/>
                          </a:lnTo>
                          <a:lnTo>
                            <a:pt x="128" y="386"/>
                          </a:lnTo>
                          <a:lnTo>
                            <a:pt x="128" y="386"/>
                          </a:lnTo>
                          <a:lnTo>
                            <a:pt x="124" y="374"/>
                          </a:lnTo>
                          <a:lnTo>
                            <a:pt x="122" y="368"/>
                          </a:lnTo>
                          <a:lnTo>
                            <a:pt x="118" y="366"/>
                          </a:lnTo>
                          <a:lnTo>
                            <a:pt x="116" y="362"/>
                          </a:lnTo>
                          <a:lnTo>
                            <a:pt x="116" y="362"/>
                          </a:lnTo>
                          <a:lnTo>
                            <a:pt x="114" y="358"/>
                          </a:lnTo>
                          <a:lnTo>
                            <a:pt x="114" y="356"/>
                          </a:lnTo>
                          <a:lnTo>
                            <a:pt x="108" y="354"/>
                          </a:lnTo>
                          <a:lnTo>
                            <a:pt x="104" y="352"/>
                          </a:lnTo>
                          <a:lnTo>
                            <a:pt x="102" y="348"/>
                          </a:lnTo>
                          <a:lnTo>
                            <a:pt x="100" y="344"/>
                          </a:lnTo>
                          <a:lnTo>
                            <a:pt x="100" y="344"/>
                          </a:lnTo>
                          <a:lnTo>
                            <a:pt x="98" y="336"/>
                          </a:lnTo>
                          <a:lnTo>
                            <a:pt x="92" y="330"/>
                          </a:lnTo>
                          <a:lnTo>
                            <a:pt x="86" y="328"/>
                          </a:lnTo>
                          <a:lnTo>
                            <a:pt x="80" y="328"/>
                          </a:lnTo>
                          <a:lnTo>
                            <a:pt x="80" y="328"/>
                          </a:lnTo>
                          <a:lnTo>
                            <a:pt x="62" y="318"/>
                          </a:lnTo>
                          <a:lnTo>
                            <a:pt x="56" y="316"/>
                          </a:lnTo>
                          <a:lnTo>
                            <a:pt x="54" y="316"/>
                          </a:lnTo>
                          <a:lnTo>
                            <a:pt x="56" y="318"/>
                          </a:lnTo>
                          <a:lnTo>
                            <a:pt x="56" y="318"/>
                          </a:lnTo>
                          <a:lnTo>
                            <a:pt x="54" y="318"/>
                          </a:lnTo>
                          <a:lnTo>
                            <a:pt x="54" y="320"/>
                          </a:lnTo>
                          <a:lnTo>
                            <a:pt x="46" y="318"/>
                          </a:lnTo>
                          <a:lnTo>
                            <a:pt x="38" y="314"/>
                          </a:lnTo>
                          <a:lnTo>
                            <a:pt x="32" y="310"/>
                          </a:lnTo>
                          <a:lnTo>
                            <a:pt x="32" y="310"/>
                          </a:lnTo>
                          <a:lnTo>
                            <a:pt x="28" y="304"/>
                          </a:lnTo>
                          <a:lnTo>
                            <a:pt x="22" y="300"/>
                          </a:lnTo>
                          <a:lnTo>
                            <a:pt x="4" y="292"/>
                          </a:lnTo>
                          <a:lnTo>
                            <a:pt x="4" y="292"/>
                          </a:lnTo>
                          <a:lnTo>
                            <a:pt x="4" y="288"/>
                          </a:lnTo>
                          <a:lnTo>
                            <a:pt x="2" y="290"/>
                          </a:lnTo>
                          <a:lnTo>
                            <a:pt x="0" y="288"/>
                          </a:lnTo>
                          <a:lnTo>
                            <a:pt x="4" y="284"/>
                          </a:lnTo>
                          <a:lnTo>
                            <a:pt x="4" y="284"/>
                          </a:lnTo>
                          <a:lnTo>
                            <a:pt x="10" y="278"/>
                          </a:lnTo>
                          <a:lnTo>
                            <a:pt x="14" y="276"/>
                          </a:lnTo>
                          <a:lnTo>
                            <a:pt x="16" y="276"/>
                          </a:lnTo>
                          <a:lnTo>
                            <a:pt x="18" y="276"/>
                          </a:lnTo>
                          <a:lnTo>
                            <a:pt x="18" y="276"/>
                          </a:lnTo>
                          <a:lnTo>
                            <a:pt x="18" y="272"/>
                          </a:lnTo>
                          <a:lnTo>
                            <a:pt x="16" y="268"/>
                          </a:lnTo>
                          <a:lnTo>
                            <a:pt x="14" y="266"/>
                          </a:lnTo>
                          <a:lnTo>
                            <a:pt x="14" y="260"/>
                          </a:lnTo>
                          <a:lnTo>
                            <a:pt x="14" y="260"/>
                          </a:lnTo>
                          <a:lnTo>
                            <a:pt x="18" y="258"/>
                          </a:lnTo>
                          <a:lnTo>
                            <a:pt x="20" y="256"/>
                          </a:lnTo>
                          <a:lnTo>
                            <a:pt x="28" y="254"/>
                          </a:lnTo>
                          <a:lnTo>
                            <a:pt x="34" y="252"/>
                          </a:lnTo>
                          <a:lnTo>
                            <a:pt x="36" y="250"/>
                          </a:lnTo>
                          <a:lnTo>
                            <a:pt x="36" y="248"/>
                          </a:lnTo>
                          <a:lnTo>
                            <a:pt x="36" y="248"/>
                          </a:lnTo>
                          <a:lnTo>
                            <a:pt x="38" y="244"/>
                          </a:lnTo>
                          <a:lnTo>
                            <a:pt x="42" y="238"/>
                          </a:lnTo>
                          <a:lnTo>
                            <a:pt x="48" y="232"/>
                          </a:lnTo>
                          <a:lnTo>
                            <a:pt x="54" y="226"/>
                          </a:lnTo>
                          <a:lnTo>
                            <a:pt x="54" y="226"/>
                          </a:lnTo>
                          <a:lnTo>
                            <a:pt x="52" y="224"/>
                          </a:lnTo>
                          <a:lnTo>
                            <a:pt x="52" y="222"/>
                          </a:lnTo>
                          <a:lnTo>
                            <a:pt x="54" y="222"/>
                          </a:lnTo>
                          <a:lnTo>
                            <a:pt x="52" y="220"/>
                          </a:lnTo>
                          <a:lnTo>
                            <a:pt x="52" y="220"/>
                          </a:lnTo>
                          <a:lnTo>
                            <a:pt x="50" y="222"/>
                          </a:lnTo>
                          <a:lnTo>
                            <a:pt x="50" y="222"/>
                          </a:lnTo>
                          <a:lnTo>
                            <a:pt x="48" y="222"/>
                          </a:lnTo>
                          <a:lnTo>
                            <a:pt x="44" y="222"/>
                          </a:lnTo>
                          <a:lnTo>
                            <a:pt x="44" y="222"/>
                          </a:lnTo>
                          <a:lnTo>
                            <a:pt x="42" y="220"/>
                          </a:lnTo>
                          <a:lnTo>
                            <a:pt x="40" y="216"/>
                          </a:lnTo>
                          <a:lnTo>
                            <a:pt x="44" y="210"/>
                          </a:lnTo>
                          <a:lnTo>
                            <a:pt x="44" y="210"/>
                          </a:lnTo>
                          <a:lnTo>
                            <a:pt x="44" y="204"/>
                          </a:lnTo>
                          <a:lnTo>
                            <a:pt x="44" y="198"/>
                          </a:lnTo>
                          <a:lnTo>
                            <a:pt x="42" y="182"/>
                          </a:lnTo>
                          <a:lnTo>
                            <a:pt x="42" y="182"/>
                          </a:lnTo>
                          <a:lnTo>
                            <a:pt x="40" y="178"/>
                          </a:lnTo>
                          <a:lnTo>
                            <a:pt x="38" y="176"/>
                          </a:lnTo>
                          <a:lnTo>
                            <a:pt x="38" y="176"/>
                          </a:lnTo>
                          <a:lnTo>
                            <a:pt x="38" y="174"/>
                          </a:lnTo>
                          <a:lnTo>
                            <a:pt x="38" y="174"/>
                          </a:lnTo>
                          <a:lnTo>
                            <a:pt x="44" y="170"/>
                          </a:lnTo>
                          <a:lnTo>
                            <a:pt x="46" y="168"/>
                          </a:lnTo>
                          <a:lnTo>
                            <a:pt x="44" y="162"/>
                          </a:lnTo>
                          <a:lnTo>
                            <a:pt x="44" y="162"/>
                          </a:lnTo>
                          <a:lnTo>
                            <a:pt x="40" y="154"/>
                          </a:lnTo>
                          <a:lnTo>
                            <a:pt x="42" y="154"/>
                          </a:lnTo>
                          <a:lnTo>
                            <a:pt x="42" y="152"/>
                          </a:lnTo>
                          <a:lnTo>
                            <a:pt x="42" y="152"/>
                          </a:lnTo>
                          <a:lnTo>
                            <a:pt x="40" y="146"/>
                          </a:lnTo>
                          <a:lnTo>
                            <a:pt x="40" y="144"/>
                          </a:lnTo>
                          <a:lnTo>
                            <a:pt x="38" y="144"/>
                          </a:lnTo>
                          <a:lnTo>
                            <a:pt x="38" y="144"/>
                          </a:lnTo>
                          <a:lnTo>
                            <a:pt x="38" y="144"/>
                          </a:lnTo>
                          <a:lnTo>
                            <a:pt x="36" y="140"/>
                          </a:lnTo>
                          <a:lnTo>
                            <a:pt x="34" y="140"/>
                          </a:lnTo>
                          <a:lnTo>
                            <a:pt x="32" y="140"/>
                          </a:lnTo>
                          <a:lnTo>
                            <a:pt x="32" y="138"/>
                          </a:lnTo>
                          <a:lnTo>
                            <a:pt x="32" y="138"/>
                          </a:lnTo>
                          <a:lnTo>
                            <a:pt x="30" y="134"/>
                          </a:lnTo>
                          <a:lnTo>
                            <a:pt x="30" y="134"/>
                          </a:lnTo>
                          <a:lnTo>
                            <a:pt x="30" y="132"/>
                          </a:lnTo>
                          <a:lnTo>
                            <a:pt x="30" y="132"/>
                          </a:lnTo>
                          <a:lnTo>
                            <a:pt x="32" y="128"/>
                          </a:lnTo>
                          <a:lnTo>
                            <a:pt x="34" y="124"/>
                          </a:lnTo>
                          <a:lnTo>
                            <a:pt x="34" y="124"/>
                          </a:lnTo>
                          <a:lnTo>
                            <a:pt x="34" y="122"/>
                          </a:lnTo>
                          <a:lnTo>
                            <a:pt x="36" y="122"/>
                          </a:lnTo>
                          <a:lnTo>
                            <a:pt x="38" y="122"/>
                          </a:lnTo>
                          <a:lnTo>
                            <a:pt x="44" y="120"/>
                          </a:lnTo>
                          <a:lnTo>
                            <a:pt x="44" y="120"/>
                          </a:lnTo>
                          <a:lnTo>
                            <a:pt x="46" y="116"/>
                          </a:lnTo>
                          <a:lnTo>
                            <a:pt x="46" y="114"/>
                          </a:lnTo>
                          <a:lnTo>
                            <a:pt x="44" y="114"/>
                          </a:lnTo>
                          <a:lnTo>
                            <a:pt x="46" y="110"/>
                          </a:lnTo>
                          <a:lnTo>
                            <a:pt x="46" y="110"/>
                          </a:lnTo>
                          <a:lnTo>
                            <a:pt x="48" y="108"/>
                          </a:lnTo>
                          <a:lnTo>
                            <a:pt x="46" y="108"/>
                          </a:lnTo>
                          <a:lnTo>
                            <a:pt x="44" y="106"/>
                          </a:lnTo>
                          <a:lnTo>
                            <a:pt x="44" y="104"/>
                          </a:lnTo>
                          <a:lnTo>
                            <a:pt x="44" y="104"/>
                          </a:lnTo>
                          <a:lnTo>
                            <a:pt x="44" y="102"/>
                          </a:lnTo>
                          <a:lnTo>
                            <a:pt x="44" y="100"/>
                          </a:lnTo>
                          <a:lnTo>
                            <a:pt x="44" y="98"/>
                          </a:lnTo>
                          <a:lnTo>
                            <a:pt x="46" y="94"/>
                          </a:lnTo>
                          <a:lnTo>
                            <a:pt x="46" y="94"/>
                          </a:lnTo>
                          <a:close/>
                        </a:path>
                      </a:pathLst>
                    </a:custGeom>
                    <a:solidFill>
                      <a:schemeClr val="accent6"/>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85" name="Russia"/>
                  <p:cNvSpPr>
                    <a:spLocks/>
                  </p:cNvSpPr>
                  <p:nvPr/>
                </p:nvSpPr>
                <p:spPr bwMode="auto">
                  <a:xfrm>
                    <a:off x="6451812" y="1248452"/>
                    <a:ext cx="3848692" cy="886171"/>
                  </a:xfrm>
                  <a:custGeom>
                    <a:avLst/>
                    <a:gdLst/>
                    <a:ahLst/>
                    <a:cxnLst>
                      <a:cxn ang="0">
                        <a:pos x="2058" y="364"/>
                      </a:cxn>
                      <a:cxn ang="0">
                        <a:pos x="1906" y="312"/>
                      </a:cxn>
                      <a:cxn ang="0">
                        <a:pos x="2140" y="236"/>
                      </a:cxn>
                      <a:cxn ang="0">
                        <a:pos x="2222" y="192"/>
                      </a:cxn>
                      <a:cxn ang="0">
                        <a:pos x="2226" y="266"/>
                      </a:cxn>
                      <a:cxn ang="0">
                        <a:pos x="2366" y="316"/>
                      </a:cxn>
                      <a:cxn ang="0">
                        <a:pos x="2314" y="256"/>
                      </a:cxn>
                      <a:cxn ang="0">
                        <a:pos x="2382" y="214"/>
                      </a:cxn>
                      <a:cxn ang="0">
                        <a:pos x="2382" y="142"/>
                      </a:cxn>
                      <a:cxn ang="0">
                        <a:pos x="2494" y="146"/>
                      </a:cxn>
                      <a:cxn ang="0">
                        <a:pos x="2522" y="104"/>
                      </a:cxn>
                      <a:cxn ang="0">
                        <a:pos x="2122" y="72"/>
                      </a:cxn>
                      <a:cxn ang="0">
                        <a:pos x="2002" y="74"/>
                      </a:cxn>
                      <a:cxn ang="0">
                        <a:pos x="1694" y="40"/>
                      </a:cxn>
                      <a:cxn ang="0">
                        <a:pos x="1582" y="36"/>
                      </a:cxn>
                      <a:cxn ang="0">
                        <a:pos x="1468" y="48"/>
                      </a:cxn>
                      <a:cxn ang="0">
                        <a:pos x="1302" y="42"/>
                      </a:cxn>
                      <a:cxn ang="0">
                        <a:pos x="1152" y="34"/>
                      </a:cxn>
                      <a:cxn ang="0">
                        <a:pos x="1086" y="38"/>
                      </a:cxn>
                      <a:cxn ang="0">
                        <a:pos x="1044" y="8"/>
                      </a:cxn>
                      <a:cxn ang="0">
                        <a:pos x="932" y="14"/>
                      </a:cxn>
                      <a:cxn ang="0">
                        <a:pos x="818" y="14"/>
                      </a:cxn>
                      <a:cxn ang="0">
                        <a:pos x="718" y="36"/>
                      </a:cxn>
                      <a:cxn ang="0">
                        <a:pos x="782" y="62"/>
                      </a:cxn>
                      <a:cxn ang="0">
                        <a:pos x="698" y="64"/>
                      </a:cxn>
                      <a:cxn ang="0">
                        <a:pos x="646" y="62"/>
                      </a:cxn>
                      <a:cxn ang="0">
                        <a:pos x="698" y="92"/>
                      </a:cxn>
                      <a:cxn ang="0">
                        <a:pos x="676" y="114"/>
                      </a:cxn>
                      <a:cxn ang="0">
                        <a:pos x="566" y="36"/>
                      </a:cxn>
                      <a:cxn ang="0">
                        <a:pos x="608" y="90"/>
                      </a:cxn>
                      <a:cxn ang="0">
                        <a:pos x="470" y="102"/>
                      </a:cxn>
                      <a:cxn ang="0">
                        <a:pos x="386" y="96"/>
                      </a:cxn>
                      <a:cxn ang="0">
                        <a:pos x="302" y="110"/>
                      </a:cxn>
                      <a:cxn ang="0">
                        <a:pos x="256" y="100"/>
                      </a:cxn>
                      <a:cxn ang="0">
                        <a:pos x="198" y="130"/>
                      </a:cxn>
                      <a:cxn ang="0">
                        <a:pos x="144" y="152"/>
                      </a:cxn>
                      <a:cxn ang="0">
                        <a:pos x="110" y="148"/>
                      </a:cxn>
                      <a:cxn ang="0">
                        <a:pos x="64" y="120"/>
                      </a:cxn>
                      <a:cxn ang="0">
                        <a:pos x="200" y="118"/>
                      </a:cxn>
                      <a:cxn ang="0">
                        <a:pos x="44" y="86"/>
                      </a:cxn>
                      <a:cxn ang="0">
                        <a:pos x="30" y="146"/>
                      </a:cxn>
                      <a:cxn ang="0">
                        <a:pos x="28" y="222"/>
                      </a:cxn>
                      <a:cxn ang="0">
                        <a:pos x="28" y="242"/>
                      </a:cxn>
                      <a:cxn ang="0">
                        <a:pos x="84" y="296"/>
                      </a:cxn>
                      <a:cxn ang="0">
                        <a:pos x="112" y="338"/>
                      </a:cxn>
                      <a:cxn ang="0">
                        <a:pos x="220" y="398"/>
                      </a:cxn>
                      <a:cxn ang="0">
                        <a:pos x="262" y="470"/>
                      </a:cxn>
                      <a:cxn ang="0">
                        <a:pos x="338" y="540"/>
                      </a:cxn>
                      <a:cxn ang="0">
                        <a:pos x="440" y="508"/>
                      </a:cxn>
                      <a:cxn ang="0">
                        <a:pos x="438" y="448"/>
                      </a:cxn>
                      <a:cxn ang="0">
                        <a:pos x="450" y="390"/>
                      </a:cxn>
                      <a:cxn ang="0">
                        <a:pos x="564" y="382"/>
                      </a:cxn>
                      <a:cxn ang="0">
                        <a:pos x="630" y="370"/>
                      </a:cxn>
                      <a:cxn ang="0">
                        <a:pos x="764" y="310"/>
                      </a:cxn>
                      <a:cxn ang="0">
                        <a:pos x="854" y="340"/>
                      </a:cxn>
                      <a:cxn ang="0">
                        <a:pos x="1040" y="392"/>
                      </a:cxn>
                      <a:cxn ang="0">
                        <a:pos x="1154" y="426"/>
                      </a:cxn>
                      <a:cxn ang="0">
                        <a:pos x="1234" y="388"/>
                      </a:cxn>
                      <a:cxn ang="0">
                        <a:pos x="1316" y="378"/>
                      </a:cxn>
                      <a:cxn ang="0">
                        <a:pos x="1572" y="410"/>
                      </a:cxn>
                      <a:cxn ang="0">
                        <a:pos x="1768" y="340"/>
                      </a:cxn>
                      <a:cxn ang="0">
                        <a:pos x="2032" y="470"/>
                      </a:cxn>
                    </a:cxnLst>
                    <a:rect l="0" t="0" r="r" b="b"/>
                    <a:pathLst>
                      <a:path w="2534" h="584">
                        <a:moveTo>
                          <a:pt x="2032" y="556"/>
                        </a:moveTo>
                        <a:lnTo>
                          <a:pt x="2032" y="556"/>
                        </a:lnTo>
                        <a:lnTo>
                          <a:pt x="2034" y="556"/>
                        </a:lnTo>
                        <a:lnTo>
                          <a:pt x="2036" y="554"/>
                        </a:lnTo>
                        <a:lnTo>
                          <a:pt x="2040" y="548"/>
                        </a:lnTo>
                        <a:lnTo>
                          <a:pt x="2046" y="546"/>
                        </a:lnTo>
                        <a:lnTo>
                          <a:pt x="2048" y="546"/>
                        </a:lnTo>
                        <a:lnTo>
                          <a:pt x="2050" y="550"/>
                        </a:lnTo>
                        <a:lnTo>
                          <a:pt x="2050" y="550"/>
                        </a:lnTo>
                        <a:lnTo>
                          <a:pt x="2050" y="554"/>
                        </a:lnTo>
                        <a:lnTo>
                          <a:pt x="2054" y="554"/>
                        </a:lnTo>
                        <a:lnTo>
                          <a:pt x="2056" y="554"/>
                        </a:lnTo>
                        <a:lnTo>
                          <a:pt x="2060" y="552"/>
                        </a:lnTo>
                        <a:lnTo>
                          <a:pt x="2068" y="546"/>
                        </a:lnTo>
                        <a:lnTo>
                          <a:pt x="2076" y="534"/>
                        </a:lnTo>
                        <a:lnTo>
                          <a:pt x="2084" y="522"/>
                        </a:lnTo>
                        <a:lnTo>
                          <a:pt x="2090" y="506"/>
                        </a:lnTo>
                        <a:lnTo>
                          <a:pt x="2094" y="492"/>
                        </a:lnTo>
                        <a:lnTo>
                          <a:pt x="2094" y="478"/>
                        </a:lnTo>
                        <a:lnTo>
                          <a:pt x="2094" y="478"/>
                        </a:lnTo>
                        <a:lnTo>
                          <a:pt x="2094" y="470"/>
                        </a:lnTo>
                        <a:lnTo>
                          <a:pt x="2094" y="460"/>
                        </a:lnTo>
                        <a:lnTo>
                          <a:pt x="2096" y="436"/>
                        </a:lnTo>
                        <a:lnTo>
                          <a:pt x="2096" y="426"/>
                        </a:lnTo>
                        <a:lnTo>
                          <a:pt x="2094" y="416"/>
                        </a:lnTo>
                        <a:lnTo>
                          <a:pt x="2088" y="408"/>
                        </a:lnTo>
                        <a:lnTo>
                          <a:pt x="2080" y="404"/>
                        </a:lnTo>
                        <a:lnTo>
                          <a:pt x="2080" y="404"/>
                        </a:lnTo>
                        <a:lnTo>
                          <a:pt x="2068" y="398"/>
                        </a:lnTo>
                        <a:lnTo>
                          <a:pt x="2062" y="392"/>
                        </a:lnTo>
                        <a:lnTo>
                          <a:pt x="2060" y="388"/>
                        </a:lnTo>
                        <a:lnTo>
                          <a:pt x="2062" y="384"/>
                        </a:lnTo>
                        <a:lnTo>
                          <a:pt x="2066" y="378"/>
                        </a:lnTo>
                        <a:lnTo>
                          <a:pt x="2066" y="374"/>
                        </a:lnTo>
                        <a:lnTo>
                          <a:pt x="2066" y="370"/>
                        </a:lnTo>
                        <a:lnTo>
                          <a:pt x="2058" y="364"/>
                        </a:lnTo>
                        <a:lnTo>
                          <a:pt x="2058" y="364"/>
                        </a:lnTo>
                        <a:lnTo>
                          <a:pt x="2042" y="354"/>
                        </a:lnTo>
                        <a:lnTo>
                          <a:pt x="2028" y="344"/>
                        </a:lnTo>
                        <a:lnTo>
                          <a:pt x="2014" y="334"/>
                        </a:lnTo>
                        <a:lnTo>
                          <a:pt x="1996" y="326"/>
                        </a:lnTo>
                        <a:lnTo>
                          <a:pt x="1996" y="326"/>
                        </a:lnTo>
                        <a:lnTo>
                          <a:pt x="1986" y="324"/>
                        </a:lnTo>
                        <a:lnTo>
                          <a:pt x="1980" y="324"/>
                        </a:lnTo>
                        <a:lnTo>
                          <a:pt x="1978" y="324"/>
                        </a:lnTo>
                        <a:lnTo>
                          <a:pt x="1976" y="326"/>
                        </a:lnTo>
                        <a:lnTo>
                          <a:pt x="1974" y="332"/>
                        </a:lnTo>
                        <a:lnTo>
                          <a:pt x="1972" y="332"/>
                        </a:lnTo>
                        <a:lnTo>
                          <a:pt x="1966" y="330"/>
                        </a:lnTo>
                        <a:lnTo>
                          <a:pt x="1966" y="330"/>
                        </a:lnTo>
                        <a:lnTo>
                          <a:pt x="1962" y="328"/>
                        </a:lnTo>
                        <a:lnTo>
                          <a:pt x="1958" y="328"/>
                        </a:lnTo>
                        <a:lnTo>
                          <a:pt x="1954" y="330"/>
                        </a:lnTo>
                        <a:lnTo>
                          <a:pt x="1950" y="332"/>
                        </a:lnTo>
                        <a:lnTo>
                          <a:pt x="1944" y="326"/>
                        </a:lnTo>
                        <a:lnTo>
                          <a:pt x="1944" y="326"/>
                        </a:lnTo>
                        <a:lnTo>
                          <a:pt x="1942" y="322"/>
                        </a:lnTo>
                        <a:lnTo>
                          <a:pt x="1942" y="318"/>
                        </a:lnTo>
                        <a:lnTo>
                          <a:pt x="1948" y="312"/>
                        </a:lnTo>
                        <a:lnTo>
                          <a:pt x="1952" y="310"/>
                        </a:lnTo>
                        <a:lnTo>
                          <a:pt x="1952" y="308"/>
                        </a:lnTo>
                        <a:lnTo>
                          <a:pt x="1950" y="306"/>
                        </a:lnTo>
                        <a:lnTo>
                          <a:pt x="1942" y="306"/>
                        </a:lnTo>
                        <a:lnTo>
                          <a:pt x="1942" y="306"/>
                        </a:lnTo>
                        <a:lnTo>
                          <a:pt x="1934" y="304"/>
                        </a:lnTo>
                        <a:lnTo>
                          <a:pt x="1932" y="306"/>
                        </a:lnTo>
                        <a:lnTo>
                          <a:pt x="1936" y="312"/>
                        </a:lnTo>
                        <a:lnTo>
                          <a:pt x="1938" y="314"/>
                        </a:lnTo>
                        <a:lnTo>
                          <a:pt x="1936" y="316"/>
                        </a:lnTo>
                        <a:lnTo>
                          <a:pt x="1930" y="318"/>
                        </a:lnTo>
                        <a:lnTo>
                          <a:pt x="1916" y="316"/>
                        </a:lnTo>
                        <a:lnTo>
                          <a:pt x="1916" y="316"/>
                        </a:lnTo>
                        <a:lnTo>
                          <a:pt x="1910" y="314"/>
                        </a:lnTo>
                        <a:lnTo>
                          <a:pt x="1906" y="312"/>
                        </a:lnTo>
                        <a:lnTo>
                          <a:pt x="1906" y="306"/>
                        </a:lnTo>
                        <a:lnTo>
                          <a:pt x="1906" y="300"/>
                        </a:lnTo>
                        <a:lnTo>
                          <a:pt x="1912" y="286"/>
                        </a:lnTo>
                        <a:lnTo>
                          <a:pt x="1922" y="272"/>
                        </a:lnTo>
                        <a:lnTo>
                          <a:pt x="1922" y="272"/>
                        </a:lnTo>
                        <a:lnTo>
                          <a:pt x="1926" y="262"/>
                        </a:lnTo>
                        <a:lnTo>
                          <a:pt x="1930" y="254"/>
                        </a:lnTo>
                        <a:lnTo>
                          <a:pt x="1930" y="246"/>
                        </a:lnTo>
                        <a:lnTo>
                          <a:pt x="1932" y="242"/>
                        </a:lnTo>
                        <a:lnTo>
                          <a:pt x="1934" y="240"/>
                        </a:lnTo>
                        <a:lnTo>
                          <a:pt x="1950" y="232"/>
                        </a:lnTo>
                        <a:lnTo>
                          <a:pt x="1950" y="232"/>
                        </a:lnTo>
                        <a:lnTo>
                          <a:pt x="1964" y="228"/>
                        </a:lnTo>
                        <a:lnTo>
                          <a:pt x="1976" y="228"/>
                        </a:lnTo>
                        <a:lnTo>
                          <a:pt x="1984" y="228"/>
                        </a:lnTo>
                        <a:lnTo>
                          <a:pt x="1990" y="230"/>
                        </a:lnTo>
                        <a:lnTo>
                          <a:pt x="1998" y="232"/>
                        </a:lnTo>
                        <a:lnTo>
                          <a:pt x="2006" y="234"/>
                        </a:lnTo>
                        <a:lnTo>
                          <a:pt x="2018" y="234"/>
                        </a:lnTo>
                        <a:lnTo>
                          <a:pt x="2034" y="232"/>
                        </a:lnTo>
                        <a:lnTo>
                          <a:pt x="2034" y="232"/>
                        </a:lnTo>
                        <a:lnTo>
                          <a:pt x="2058" y="228"/>
                        </a:lnTo>
                        <a:lnTo>
                          <a:pt x="2068" y="228"/>
                        </a:lnTo>
                        <a:lnTo>
                          <a:pt x="2072" y="230"/>
                        </a:lnTo>
                        <a:lnTo>
                          <a:pt x="2080" y="230"/>
                        </a:lnTo>
                        <a:lnTo>
                          <a:pt x="2080" y="230"/>
                        </a:lnTo>
                        <a:lnTo>
                          <a:pt x="2092" y="230"/>
                        </a:lnTo>
                        <a:lnTo>
                          <a:pt x="2096" y="232"/>
                        </a:lnTo>
                        <a:lnTo>
                          <a:pt x="2096" y="234"/>
                        </a:lnTo>
                        <a:lnTo>
                          <a:pt x="2094" y="238"/>
                        </a:lnTo>
                        <a:lnTo>
                          <a:pt x="2092" y="242"/>
                        </a:lnTo>
                        <a:lnTo>
                          <a:pt x="2092" y="244"/>
                        </a:lnTo>
                        <a:lnTo>
                          <a:pt x="2096" y="246"/>
                        </a:lnTo>
                        <a:lnTo>
                          <a:pt x="2106" y="244"/>
                        </a:lnTo>
                        <a:lnTo>
                          <a:pt x="2106" y="244"/>
                        </a:lnTo>
                        <a:lnTo>
                          <a:pt x="2136" y="238"/>
                        </a:lnTo>
                        <a:lnTo>
                          <a:pt x="2140" y="236"/>
                        </a:lnTo>
                        <a:lnTo>
                          <a:pt x="2142" y="234"/>
                        </a:lnTo>
                        <a:lnTo>
                          <a:pt x="2140" y="232"/>
                        </a:lnTo>
                        <a:lnTo>
                          <a:pt x="2134" y="228"/>
                        </a:lnTo>
                        <a:lnTo>
                          <a:pt x="2134" y="228"/>
                        </a:lnTo>
                        <a:lnTo>
                          <a:pt x="2126" y="222"/>
                        </a:lnTo>
                        <a:lnTo>
                          <a:pt x="2126" y="220"/>
                        </a:lnTo>
                        <a:lnTo>
                          <a:pt x="2128" y="220"/>
                        </a:lnTo>
                        <a:lnTo>
                          <a:pt x="2132" y="216"/>
                        </a:lnTo>
                        <a:lnTo>
                          <a:pt x="2136" y="212"/>
                        </a:lnTo>
                        <a:lnTo>
                          <a:pt x="2136" y="204"/>
                        </a:lnTo>
                        <a:lnTo>
                          <a:pt x="2136" y="204"/>
                        </a:lnTo>
                        <a:lnTo>
                          <a:pt x="2136" y="196"/>
                        </a:lnTo>
                        <a:lnTo>
                          <a:pt x="2136" y="194"/>
                        </a:lnTo>
                        <a:lnTo>
                          <a:pt x="2138" y="194"/>
                        </a:lnTo>
                        <a:lnTo>
                          <a:pt x="2142" y="194"/>
                        </a:lnTo>
                        <a:lnTo>
                          <a:pt x="2144" y="194"/>
                        </a:lnTo>
                        <a:lnTo>
                          <a:pt x="2148" y="192"/>
                        </a:lnTo>
                        <a:lnTo>
                          <a:pt x="2148" y="192"/>
                        </a:lnTo>
                        <a:lnTo>
                          <a:pt x="2154" y="190"/>
                        </a:lnTo>
                        <a:lnTo>
                          <a:pt x="2158" y="190"/>
                        </a:lnTo>
                        <a:lnTo>
                          <a:pt x="2164" y="188"/>
                        </a:lnTo>
                        <a:lnTo>
                          <a:pt x="2172" y="184"/>
                        </a:lnTo>
                        <a:lnTo>
                          <a:pt x="2172" y="184"/>
                        </a:lnTo>
                        <a:lnTo>
                          <a:pt x="2176" y="182"/>
                        </a:lnTo>
                        <a:lnTo>
                          <a:pt x="2178" y="184"/>
                        </a:lnTo>
                        <a:lnTo>
                          <a:pt x="2182" y="190"/>
                        </a:lnTo>
                        <a:lnTo>
                          <a:pt x="2186" y="194"/>
                        </a:lnTo>
                        <a:lnTo>
                          <a:pt x="2194" y="200"/>
                        </a:lnTo>
                        <a:lnTo>
                          <a:pt x="2194" y="200"/>
                        </a:lnTo>
                        <a:lnTo>
                          <a:pt x="2208" y="204"/>
                        </a:lnTo>
                        <a:lnTo>
                          <a:pt x="2212" y="204"/>
                        </a:lnTo>
                        <a:lnTo>
                          <a:pt x="2214" y="202"/>
                        </a:lnTo>
                        <a:lnTo>
                          <a:pt x="2214" y="198"/>
                        </a:lnTo>
                        <a:lnTo>
                          <a:pt x="2216" y="196"/>
                        </a:lnTo>
                        <a:lnTo>
                          <a:pt x="2218" y="194"/>
                        </a:lnTo>
                        <a:lnTo>
                          <a:pt x="2218" y="194"/>
                        </a:lnTo>
                        <a:lnTo>
                          <a:pt x="2222" y="192"/>
                        </a:lnTo>
                        <a:lnTo>
                          <a:pt x="2222" y="190"/>
                        </a:lnTo>
                        <a:lnTo>
                          <a:pt x="2220" y="186"/>
                        </a:lnTo>
                        <a:lnTo>
                          <a:pt x="2218" y="184"/>
                        </a:lnTo>
                        <a:lnTo>
                          <a:pt x="2218" y="182"/>
                        </a:lnTo>
                        <a:lnTo>
                          <a:pt x="2220" y="180"/>
                        </a:lnTo>
                        <a:lnTo>
                          <a:pt x="2226" y="178"/>
                        </a:lnTo>
                        <a:lnTo>
                          <a:pt x="2226" y="178"/>
                        </a:lnTo>
                        <a:lnTo>
                          <a:pt x="2238" y="176"/>
                        </a:lnTo>
                        <a:lnTo>
                          <a:pt x="2244" y="176"/>
                        </a:lnTo>
                        <a:lnTo>
                          <a:pt x="2242" y="178"/>
                        </a:lnTo>
                        <a:lnTo>
                          <a:pt x="2236" y="180"/>
                        </a:lnTo>
                        <a:lnTo>
                          <a:pt x="2236" y="180"/>
                        </a:lnTo>
                        <a:lnTo>
                          <a:pt x="2232" y="182"/>
                        </a:lnTo>
                        <a:lnTo>
                          <a:pt x="2232" y="186"/>
                        </a:lnTo>
                        <a:lnTo>
                          <a:pt x="2236" y="192"/>
                        </a:lnTo>
                        <a:lnTo>
                          <a:pt x="2244" y="198"/>
                        </a:lnTo>
                        <a:lnTo>
                          <a:pt x="2252" y="202"/>
                        </a:lnTo>
                        <a:lnTo>
                          <a:pt x="2252" y="202"/>
                        </a:lnTo>
                        <a:lnTo>
                          <a:pt x="2254" y="202"/>
                        </a:lnTo>
                        <a:lnTo>
                          <a:pt x="2252" y="204"/>
                        </a:lnTo>
                        <a:lnTo>
                          <a:pt x="2248" y="210"/>
                        </a:lnTo>
                        <a:lnTo>
                          <a:pt x="2244" y="216"/>
                        </a:lnTo>
                        <a:lnTo>
                          <a:pt x="2242" y="220"/>
                        </a:lnTo>
                        <a:lnTo>
                          <a:pt x="2244" y="224"/>
                        </a:lnTo>
                        <a:lnTo>
                          <a:pt x="2244" y="224"/>
                        </a:lnTo>
                        <a:lnTo>
                          <a:pt x="2244" y="228"/>
                        </a:lnTo>
                        <a:lnTo>
                          <a:pt x="2244" y="234"/>
                        </a:lnTo>
                        <a:lnTo>
                          <a:pt x="2238" y="242"/>
                        </a:lnTo>
                        <a:lnTo>
                          <a:pt x="2232" y="250"/>
                        </a:lnTo>
                        <a:lnTo>
                          <a:pt x="2230" y="254"/>
                        </a:lnTo>
                        <a:lnTo>
                          <a:pt x="2230" y="256"/>
                        </a:lnTo>
                        <a:lnTo>
                          <a:pt x="2230" y="256"/>
                        </a:lnTo>
                        <a:lnTo>
                          <a:pt x="2232" y="258"/>
                        </a:lnTo>
                        <a:lnTo>
                          <a:pt x="2232" y="260"/>
                        </a:lnTo>
                        <a:lnTo>
                          <a:pt x="2228" y="260"/>
                        </a:lnTo>
                        <a:lnTo>
                          <a:pt x="2226" y="264"/>
                        </a:lnTo>
                        <a:lnTo>
                          <a:pt x="2226" y="266"/>
                        </a:lnTo>
                        <a:lnTo>
                          <a:pt x="2228" y="268"/>
                        </a:lnTo>
                        <a:lnTo>
                          <a:pt x="2228" y="268"/>
                        </a:lnTo>
                        <a:lnTo>
                          <a:pt x="2232" y="276"/>
                        </a:lnTo>
                        <a:lnTo>
                          <a:pt x="2232" y="278"/>
                        </a:lnTo>
                        <a:lnTo>
                          <a:pt x="2232" y="280"/>
                        </a:lnTo>
                        <a:lnTo>
                          <a:pt x="2230" y="282"/>
                        </a:lnTo>
                        <a:lnTo>
                          <a:pt x="2232" y="288"/>
                        </a:lnTo>
                        <a:lnTo>
                          <a:pt x="2232" y="288"/>
                        </a:lnTo>
                        <a:lnTo>
                          <a:pt x="2250" y="304"/>
                        </a:lnTo>
                        <a:lnTo>
                          <a:pt x="2264" y="314"/>
                        </a:lnTo>
                        <a:lnTo>
                          <a:pt x="2278" y="320"/>
                        </a:lnTo>
                        <a:lnTo>
                          <a:pt x="2294" y="330"/>
                        </a:lnTo>
                        <a:lnTo>
                          <a:pt x="2294" y="330"/>
                        </a:lnTo>
                        <a:lnTo>
                          <a:pt x="2312" y="342"/>
                        </a:lnTo>
                        <a:lnTo>
                          <a:pt x="2330" y="352"/>
                        </a:lnTo>
                        <a:lnTo>
                          <a:pt x="2348" y="362"/>
                        </a:lnTo>
                        <a:lnTo>
                          <a:pt x="2362" y="374"/>
                        </a:lnTo>
                        <a:lnTo>
                          <a:pt x="2362" y="374"/>
                        </a:lnTo>
                        <a:lnTo>
                          <a:pt x="2372" y="380"/>
                        </a:lnTo>
                        <a:lnTo>
                          <a:pt x="2374" y="380"/>
                        </a:lnTo>
                        <a:lnTo>
                          <a:pt x="2376" y="378"/>
                        </a:lnTo>
                        <a:lnTo>
                          <a:pt x="2378" y="372"/>
                        </a:lnTo>
                        <a:lnTo>
                          <a:pt x="2376" y="362"/>
                        </a:lnTo>
                        <a:lnTo>
                          <a:pt x="2376" y="362"/>
                        </a:lnTo>
                        <a:lnTo>
                          <a:pt x="2374" y="352"/>
                        </a:lnTo>
                        <a:lnTo>
                          <a:pt x="2370" y="346"/>
                        </a:lnTo>
                        <a:lnTo>
                          <a:pt x="2370" y="342"/>
                        </a:lnTo>
                        <a:lnTo>
                          <a:pt x="2374" y="340"/>
                        </a:lnTo>
                        <a:lnTo>
                          <a:pt x="2374" y="340"/>
                        </a:lnTo>
                        <a:lnTo>
                          <a:pt x="2378" y="338"/>
                        </a:lnTo>
                        <a:lnTo>
                          <a:pt x="2376" y="336"/>
                        </a:lnTo>
                        <a:lnTo>
                          <a:pt x="2372" y="332"/>
                        </a:lnTo>
                        <a:lnTo>
                          <a:pt x="2366" y="324"/>
                        </a:lnTo>
                        <a:lnTo>
                          <a:pt x="2366" y="324"/>
                        </a:lnTo>
                        <a:lnTo>
                          <a:pt x="2364" y="320"/>
                        </a:lnTo>
                        <a:lnTo>
                          <a:pt x="2364" y="318"/>
                        </a:lnTo>
                        <a:lnTo>
                          <a:pt x="2366" y="316"/>
                        </a:lnTo>
                        <a:lnTo>
                          <a:pt x="2370" y="314"/>
                        </a:lnTo>
                        <a:lnTo>
                          <a:pt x="2370" y="312"/>
                        </a:lnTo>
                        <a:lnTo>
                          <a:pt x="2370" y="310"/>
                        </a:lnTo>
                        <a:lnTo>
                          <a:pt x="2368" y="306"/>
                        </a:lnTo>
                        <a:lnTo>
                          <a:pt x="2368" y="306"/>
                        </a:lnTo>
                        <a:lnTo>
                          <a:pt x="2364" y="298"/>
                        </a:lnTo>
                        <a:lnTo>
                          <a:pt x="2362" y="298"/>
                        </a:lnTo>
                        <a:lnTo>
                          <a:pt x="2358" y="298"/>
                        </a:lnTo>
                        <a:lnTo>
                          <a:pt x="2352" y="292"/>
                        </a:lnTo>
                        <a:lnTo>
                          <a:pt x="2352" y="292"/>
                        </a:lnTo>
                        <a:lnTo>
                          <a:pt x="2348" y="284"/>
                        </a:lnTo>
                        <a:lnTo>
                          <a:pt x="2348" y="282"/>
                        </a:lnTo>
                        <a:lnTo>
                          <a:pt x="2350" y="282"/>
                        </a:lnTo>
                        <a:lnTo>
                          <a:pt x="2352" y="284"/>
                        </a:lnTo>
                        <a:lnTo>
                          <a:pt x="2352" y="284"/>
                        </a:lnTo>
                        <a:lnTo>
                          <a:pt x="2352" y="284"/>
                        </a:lnTo>
                        <a:lnTo>
                          <a:pt x="2354" y="284"/>
                        </a:lnTo>
                        <a:lnTo>
                          <a:pt x="2358" y="280"/>
                        </a:lnTo>
                        <a:lnTo>
                          <a:pt x="2358" y="278"/>
                        </a:lnTo>
                        <a:lnTo>
                          <a:pt x="2356" y="276"/>
                        </a:lnTo>
                        <a:lnTo>
                          <a:pt x="2352" y="274"/>
                        </a:lnTo>
                        <a:lnTo>
                          <a:pt x="2344" y="270"/>
                        </a:lnTo>
                        <a:lnTo>
                          <a:pt x="2344" y="270"/>
                        </a:lnTo>
                        <a:lnTo>
                          <a:pt x="2338" y="268"/>
                        </a:lnTo>
                        <a:lnTo>
                          <a:pt x="2334" y="264"/>
                        </a:lnTo>
                        <a:lnTo>
                          <a:pt x="2334" y="262"/>
                        </a:lnTo>
                        <a:lnTo>
                          <a:pt x="2334" y="260"/>
                        </a:lnTo>
                        <a:lnTo>
                          <a:pt x="2334" y="258"/>
                        </a:lnTo>
                        <a:lnTo>
                          <a:pt x="2332" y="256"/>
                        </a:lnTo>
                        <a:lnTo>
                          <a:pt x="2330" y="254"/>
                        </a:lnTo>
                        <a:lnTo>
                          <a:pt x="2324" y="252"/>
                        </a:lnTo>
                        <a:lnTo>
                          <a:pt x="2324" y="252"/>
                        </a:lnTo>
                        <a:lnTo>
                          <a:pt x="2312" y="252"/>
                        </a:lnTo>
                        <a:lnTo>
                          <a:pt x="2310" y="252"/>
                        </a:lnTo>
                        <a:lnTo>
                          <a:pt x="2310" y="254"/>
                        </a:lnTo>
                        <a:lnTo>
                          <a:pt x="2314" y="256"/>
                        </a:lnTo>
                        <a:lnTo>
                          <a:pt x="2314" y="256"/>
                        </a:lnTo>
                        <a:lnTo>
                          <a:pt x="2312" y="258"/>
                        </a:lnTo>
                        <a:lnTo>
                          <a:pt x="2312" y="258"/>
                        </a:lnTo>
                        <a:lnTo>
                          <a:pt x="2308" y="258"/>
                        </a:lnTo>
                        <a:lnTo>
                          <a:pt x="2306" y="256"/>
                        </a:lnTo>
                        <a:lnTo>
                          <a:pt x="2300" y="250"/>
                        </a:lnTo>
                        <a:lnTo>
                          <a:pt x="2298" y="242"/>
                        </a:lnTo>
                        <a:lnTo>
                          <a:pt x="2296" y="236"/>
                        </a:lnTo>
                        <a:lnTo>
                          <a:pt x="2296" y="236"/>
                        </a:lnTo>
                        <a:lnTo>
                          <a:pt x="2294" y="230"/>
                        </a:lnTo>
                        <a:lnTo>
                          <a:pt x="2288" y="226"/>
                        </a:lnTo>
                        <a:lnTo>
                          <a:pt x="2288" y="224"/>
                        </a:lnTo>
                        <a:lnTo>
                          <a:pt x="2288" y="222"/>
                        </a:lnTo>
                        <a:lnTo>
                          <a:pt x="2298" y="222"/>
                        </a:lnTo>
                        <a:lnTo>
                          <a:pt x="2298" y="222"/>
                        </a:lnTo>
                        <a:lnTo>
                          <a:pt x="2308" y="222"/>
                        </a:lnTo>
                        <a:lnTo>
                          <a:pt x="2308" y="220"/>
                        </a:lnTo>
                        <a:lnTo>
                          <a:pt x="2308" y="218"/>
                        </a:lnTo>
                        <a:lnTo>
                          <a:pt x="2306" y="216"/>
                        </a:lnTo>
                        <a:lnTo>
                          <a:pt x="2308" y="214"/>
                        </a:lnTo>
                        <a:lnTo>
                          <a:pt x="2314" y="212"/>
                        </a:lnTo>
                        <a:lnTo>
                          <a:pt x="2314" y="212"/>
                        </a:lnTo>
                        <a:lnTo>
                          <a:pt x="2320" y="214"/>
                        </a:lnTo>
                        <a:lnTo>
                          <a:pt x="2324" y="216"/>
                        </a:lnTo>
                        <a:lnTo>
                          <a:pt x="2326" y="220"/>
                        </a:lnTo>
                        <a:lnTo>
                          <a:pt x="2328" y="222"/>
                        </a:lnTo>
                        <a:lnTo>
                          <a:pt x="2328" y="226"/>
                        </a:lnTo>
                        <a:lnTo>
                          <a:pt x="2330" y="226"/>
                        </a:lnTo>
                        <a:lnTo>
                          <a:pt x="2334" y="216"/>
                        </a:lnTo>
                        <a:lnTo>
                          <a:pt x="2334" y="216"/>
                        </a:lnTo>
                        <a:lnTo>
                          <a:pt x="2336" y="210"/>
                        </a:lnTo>
                        <a:lnTo>
                          <a:pt x="2340" y="208"/>
                        </a:lnTo>
                        <a:lnTo>
                          <a:pt x="2344" y="206"/>
                        </a:lnTo>
                        <a:lnTo>
                          <a:pt x="2350" y="206"/>
                        </a:lnTo>
                        <a:lnTo>
                          <a:pt x="2362" y="208"/>
                        </a:lnTo>
                        <a:lnTo>
                          <a:pt x="2374" y="214"/>
                        </a:lnTo>
                        <a:lnTo>
                          <a:pt x="2374" y="214"/>
                        </a:lnTo>
                        <a:lnTo>
                          <a:pt x="2382" y="214"/>
                        </a:lnTo>
                        <a:lnTo>
                          <a:pt x="2384" y="212"/>
                        </a:lnTo>
                        <a:lnTo>
                          <a:pt x="2388" y="208"/>
                        </a:lnTo>
                        <a:lnTo>
                          <a:pt x="2392" y="206"/>
                        </a:lnTo>
                        <a:lnTo>
                          <a:pt x="2392" y="206"/>
                        </a:lnTo>
                        <a:lnTo>
                          <a:pt x="2400" y="198"/>
                        </a:lnTo>
                        <a:lnTo>
                          <a:pt x="2412" y="188"/>
                        </a:lnTo>
                        <a:lnTo>
                          <a:pt x="2426" y="178"/>
                        </a:lnTo>
                        <a:lnTo>
                          <a:pt x="2432" y="176"/>
                        </a:lnTo>
                        <a:lnTo>
                          <a:pt x="2436" y="176"/>
                        </a:lnTo>
                        <a:lnTo>
                          <a:pt x="2436" y="176"/>
                        </a:lnTo>
                        <a:lnTo>
                          <a:pt x="2440" y="176"/>
                        </a:lnTo>
                        <a:lnTo>
                          <a:pt x="2444" y="176"/>
                        </a:lnTo>
                        <a:lnTo>
                          <a:pt x="2448" y="172"/>
                        </a:lnTo>
                        <a:lnTo>
                          <a:pt x="2448" y="170"/>
                        </a:lnTo>
                        <a:lnTo>
                          <a:pt x="2446" y="168"/>
                        </a:lnTo>
                        <a:lnTo>
                          <a:pt x="2442" y="166"/>
                        </a:lnTo>
                        <a:lnTo>
                          <a:pt x="2434" y="164"/>
                        </a:lnTo>
                        <a:lnTo>
                          <a:pt x="2434" y="164"/>
                        </a:lnTo>
                        <a:lnTo>
                          <a:pt x="2420" y="162"/>
                        </a:lnTo>
                        <a:lnTo>
                          <a:pt x="2412" y="158"/>
                        </a:lnTo>
                        <a:lnTo>
                          <a:pt x="2404" y="156"/>
                        </a:lnTo>
                        <a:lnTo>
                          <a:pt x="2396" y="154"/>
                        </a:lnTo>
                        <a:lnTo>
                          <a:pt x="2396" y="154"/>
                        </a:lnTo>
                        <a:lnTo>
                          <a:pt x="2388" y="152"/>
                        </a:lnTo>
                        <a:lnTo>
                          <a:pt x="2382" y="148"/>
                        </a:lnTo>
                        <a:lnTo>
                          <a:pt x="2376" y="146"/>
                        </a:lnTo>
                        <a:lnTo>
                          <a:pt x="2372" y="148"/>
                        </a:lnTo>
                        <a:lnTo>
                          <a:pt x="2370" y="150"/>
                        </a:lnTo>
                        <a:lnTo>
                          <a:pt x="2370" y="150"/>
                        </a:lnTo>
                        <a:lnTo>
                          <a:pt x="2368" y="150"/>
                        </a:lnTo>
                        <a:lnTo>
                          <a:pt x="2364" y="150"/>
                        </a:lnTo>
                        <a:lnTo>
                          <a:pt x="2362" y="150"/>
                        </a:lnTo>
                        <a:lnTo>
                          <a:pt x="2360" y="148"/>
                        </a:lnTo>
                        <a:lnTo>
                          <a:pt x="2362" y="146"/>
                        </a:lnTo>
                        <a:lnTo>
                          <a:pt x="2364" y="144"/>
                        </a:lnTo>
                        <a:lnTo>
                          <a:pt x="2370" y="142"/>
                        </a:lnTo>
                        <a:lnTo>
                          <a:pt x="2382" y="142"/>
                        </a:lnTo>
                        <a:lnTo>
                          <a:pt x="2382" y="142"/>
                        </a:lnTo>
                        <a:lnTo>
                          <a:pt x="2392" y="140"/>
                        </a:lnTo>
                        <a:lnTo>
                          <a:pt x="2400" y="138"/>
                        </a:lnTo>
                        <a:lnTo>
                          <a:pt x="2404" y="136"/>
                        </a:lnTo>
                        <a:lnTo>
                          <a:pt x="2406" y="134"/>
                        </a:lnTo>
                        <a:lnTo>
                          <a:pt x="2404" y="132"/>
                        </a:lnTo>
                        <a:lnTo>
                          <a:pt x="2404" y="130"/>
                        </a:lnTo>
                        <a:lnTo>
                          <a:pt x="2398" y="128"/>
                        </a:lnTo>
                        <a:lnTo>
                          <a:pt x="2398" y="128"/>
                        </a:lnTo>
                        <a:lnTo>
                          <a:pt x="2394" y="126"/>
                        </a:lnTo>
                        <a:lnTo>
                          <a:pt x="2394" y="124"/>
                        </a:lnTo>
                        <a:lnTo>
                          <a:pt x="2400" y="122"/>
                        </a:lnTo>
                        <a:lnTo>
                          <a:pt x="2408" y="122"/>
                        </a:lnTo>
                        <a:lnTo>
                          <a:pt x="2412" y="122"/>
                        </a:lnTo>
                        <a:lnTo>
                          <a:pt x="2414" y="126"/>
                        </a:lnTo>
                        <a:lnTo>
                          <a:pt x="2414" y="126"/>
                        </a:lnTo>
                        <a:lnTo>
                          <a:pt x="2416" y="132"/>
                        </a:lnTo>
                        <a:lnTo>
                          <a:pt x="2420" y="136"/>
                        </a:lnTo>
                        <a:lnTo>
                          <a:pt x="2424" y="136"/>
                        </a:lnTo>
                        <a:lnTo>
                          <a:pt x="2428" y="136"/>
                        </a:lnTo>
                        <a:lnTo>
                          <a:pt x="2432" y="136"/>
                        </a:lnTo>
                        <a:lnTo>
                          <a:pt x="2434" y="138"/>
                        </a:lnTo>
                        <a:lnTo>
                          <a:pt x="2432" y="140"/>
                        </a:lnTo>
                        <a:lnTo>
                          <a:pt x="2432" y="140"/>
                        </a:lnTo>
                        <a:lnTo>
                          <a:pt x="2432" y="142"/>
                        </a:lnTo>
                        <a:lnTo>
                          <a:pt x="2434" y="142"/>
                        </a:lnTo>
                        <a:lnTo>
                          <a:pt x="2442" y="142"/>
                        </a:lnTo>
                        <a:lnTo>
                          <a:pt x="2454" y="140"/>
                        </a:lnTo>
                        <a:lnTo>
                          <a:pt x="2460" y="140"/>
                        </a:lnTo>
                        <a:lnTo>
                          <a:pt x="2462" y="142"/>
                        </a:lnTo>
                        <a:lnTo>
                          <a:pt x="2462" y="142"/>
                        </a:lnTo>
                        <a:lnTo>
                          <a:pt x="2468" y="148"/>
                        </a:lnTo>
                        <a:lnTo>
                          <a:pt x="2472" y="150"/>
                        </a:lnTo>
                        <a:lnTo>
                          <a:pt x="2476" y="150"/>
                        </a:lnTo>
                        <a:lnTo>
                          <a:pt x="2480" y="148"/>
                        </a:lnTo>
                        <a:lnTo>
                          <a:pt x="2488" y="146"/>
                        </a:lnTo>
                        <a:lnTo>
                          <a:pt x="2494" y="146"/>
                        </a:lnTo>
                        <a:lnTo>
                          <a:pt x="2500" y="148"/>
                        </a:lnTo>
                        <a:lnTo>
                          <a:pt x="2500" y="148"/>
                        </a:lnTo>
                        <a:lnTo>
                          <a:pt x="2516" y="152"/>
                        </a:lnTo>
                        <a:lnTo>
                          <a:pt x="2528" y="152"/>
                        </a:lnTo>
                        <a:lnTo>
                          <a:pt x="2532" y="150"/>
                        </a:lnTo>
                        <a:lnTo>
                          <a:pt x="2534" y="150"/>
                        </a:lnTo>
                        <a:lnTo>
                          <a:pt x="2532" y="146"/>
                        </a:lnTo>
                        <a:lnTo>
                          <a:pt x="2528" y="144"/>
                        </a:lnTo>
                        <a:lnTo>
                          <a:pt x="2528" y="144"/>
                        </a:lnTo>
                        <a:lnTo>
                          <a:pt x="2522" y="140"/>
                        </a:lnTo>
                        <a:lnTo>
                          <a:pt x="2522" y="136"/>
                        </a:lnTo>
                        <a:lnTo>
                          <a:pt x="2522" y="136"/>
                        </a:lnTo>
                        <a:lnTo>
                          <a:pt x="2520" y="134"/>
                        </a:lnTo>
                        <a:lnTo>
                          <a:pt x="2512" y="130"/>
                        </a:lnTo>
                        <a:lnTo>
                          <a:pt x="2512" y="130"/>
                        </a:lnTo>
                        <a:lnTo>
                          <a:pt x="2504" y="128"/>
                        </a:lnTo>
                        <a:lnTo>
                          <a:pt x="2502" y="126"/>
                        </a:lnTo>
                        <a:lnTo>
                          <a:pt x="2510" y="126"/>
                        </a:lnTo>
                        <a:lnTo>
                          <a:pt x="2522" y="126"/>
                        </a:lnTo>
                        <a:lnTo>
                          <a:pt x="2524" y="126"/>
                        </a:lnTo>
                        <a:lnTo>
                          <a:pt x="2522" y="124"/>
                        </a:lnTo>
                        <a:lnTo>
                          <a:pt x="2522" y="124"/>
                        </a:lnTo>
                        <a:lnTo>
                          <a:pt x="2520" y="122"/>
                        </a:lnTo>
                        <a:lnTo>
                          <a:pt x="2520" y="120"/>
                        </a:lnTo>
                        <a:lnTo>
                          <a:pt x="2526" y="118"/>
                        </a:lnTo>
                        <a:lnTo>
                          <a:pt x="2532" y="118"/>
                        </a:lnTo>
                        <a:lnTo>
                          <a:pt x="2532" y="116"/>
                        </a:lnTo>
                        <a:lnTo>
                          <a:pt x="2532" y="116"/>
                        </a:lnTo>
                        <a:lnTo>
                          <a:pt x="2532" y="116"/>
                        </a:lnTo>
                        <a:lnTo>
                          <a:pt x="2530" y="114"/>
                        </a:lnTo>
                        <a:lnTo>
                          <a:pt x="2530" y="114"/>
                        </a:lnTo>
                        <a:lnTo>
                          <a:pt x="2530" y="110"/>
                        </a:lnTo>
                        <a:lnTo>
                          <a:pt x="2530" y="108"/>
                        </a:lnTo>
                        <a:lnTo>
                          <a:pt x="2530" y="106"/>
                        </a:lnTo>
                        <a:lnTo>
                          <a:pt x="2528" y="104"/>
                        </a:lnTo>
                        <a:lnTo>
                          <a:pt x="2522" y="104"/>
                        </a:lnTo>
                        <a:lnTo>
                          <a:pt x="2522" y="104"/>
                        </a:lnTo>
                        <a:lnTo>
                          <a:pt x="2490" y="100"/>
                        </a:lnTo>
                        <a:lnTo>
                          <a:pt x="2458" y="94"/>
                        </a:lnTo>
                        <a:lnTo>
                          <a:pt x="2458" y="94"/>
                        </a:lnTo>
                        <a:lnTo>
                          <a:pt x="2446" y="94"/>
                        </a:lnTo>
                        <a:lnTo>
                          <a:pt x="2442" y="94"/>
                        </a:lnTo>
                        <a:lnTo>
                          <a:pt x="2442" y="96"/>
                        </a:lnTo>
                        <a:lnTo>
                          <a:pt x="2442" y="98"/>
                        </a:lnTo>
                        <a:lnTo>
                          <a:pt x="2450" y="102"/>
                        </a:lnTo>
                        <a:lnTo>
                          <a:pt x="2450" y="102"/>
                        </a:lnTo>
                        <a:lnTo>
                          <a:pt x="2460" y="106"/>
                        </a:lnTo>
                        <a:lnTo>
                          <a:pt x="2468" y="110"/>
                        </a:lnTo>
                        <a:lnTo>
                          <a:pt x="2474" y="114"/>
                        </a:lnTo>
                        <a:lnTo>
                          <a:pt x="2474" y="114"/>
                        </a:lnTo>
                        <a:lnTo>
                          <a:pt x="2466" y="114"/>
                        </a:lnTo>
                        <a:lnTo>
                          <a:pt x="2458" y="112"/>
                        </a:lnTo>
                        <a:lnTo>
                          <a:pt x="2448" y="106"/>
                        </a:lnTo>
                        <a:lnTo>
                          <a:pt x="2448" y="106"/>
                        </a:lnTo>
                        <a:lnTo>
                          <a:pt x="2436" y="102"/>
                        </a:lnTo>
                        <a:lnTo>
                          <a:pt x="2420" y="98"/>
                        </a:lnTo>
                        <a:lnTo>
                          <a:pt x="2400" y="96"/>
                        </a:lnTo>
                        <a:lnTo>
                          <a:pt x="2370" y="90"/>
                        </a:lnTo>
                        <a:lnTo>
                          <a:pt x="2370" y="90"/>
                        </a:lnTo>
                        <a:lnTo>
                          <a:pt x="2340" y="84"/>
                        </a:lnTo>
                        <a:lnTo>
                          <a:pt x="2320" y="80"/>
                        </a:lnTo>
                        <a:lnTo>
                          <a:pt x="2304" y="80"/>
                        </a:lnTo>
                        <a:lnTo>
                          <a:pt x="2290" y="82"/>
                        </a:lnTo>
                        <a:lnTo>
                          <a:pt x="2290" y="82"/>
                        </a:lnTo>
                        <a:lnTo>
                          <a:pt x="2284" y="84"/>
                        </a:lnTo>
                        <a:lnTo>
                          <a:pt x="2276" y="84"/>
                        </a:lnTo>
                        <a:lnTo>
                          <a:pt x="2258" y="80"/>
                        </a:lnTo>
                        <a:lnTo>
                          <a:pt x="2238" y="76"/>
                        </a:lnTo>
                        <a:lnTo>
                          <a:pt x="2216" y="74"/>
                        </a:lnTo>
                        <a:lnTo>
                          <a:pt x="2216" y="74"/>
                        </a:lnTo>
                        <a:lnTo>
                          <a:pt x="2168" y="74"/>
                        </a:lnTo>
                        <a:lnTo>
                          <a:pt x="2128" y="70"/>
                        </a:lnTo>
                        <a:lnTo>
                          <a:pt x="2128" y="70"/>
                        </a:lnTo>
                        <a:lnTo>
                          <a:pt x="2122" y="72"/>
                        </a:lnTo>
                        <a:lnTo>
                          <a:pt x="2122" y="72"/>
                        </a:lnTo>
                        <a:lnTo>
                          <a:pt x="2128" y="76"/>
                        </a:lnTo>
                        <a:lnTo>
                          <a:pt x="2134" y="80"/>
                        </a:lnTo>
                        <a:lnTo>
                          <a:pt x="2136" y="84"/>
                        </a:lnTo>
                        <a:lnTo>
                          <a:pt x="2136" y="86"/>
                        </a:lnTo>
                        <a:lnTo>
                          <a:pt x="2136" y="86"/>
                        </a:lnTo>
                        <a:lnTo>
                          <a:pt x="2130" y="88"/>
                        </a:lnTo>
                        <a:lnTo>
                          <a:pt x="2124" y="86"/>
                        </a:lnTo>
                        <a:lnTo>
                          <a:pt x="2118" y="84"/>
                        </a:lnTo>
                        <a:lnTo>
                          <a:pt x="2110" y="84"/>
                        </a:lnTo>
                        <a:lnTo>
                          <a:pt x="2110" y="84"/>
                        </a:lnTo>
                        <a:lnTo>
                          <a:pt x="2104" y="82"/>
                        </a:lnTo>
                        <a:lnTo>
                          <a:pt x="2102" y="80"/>
                        </a:lnTo>
                        <a:lnTo>
                          <a:pt x="2094" y="72"/>
                        </a:lnTo>
                        <a:lnTo>
                          <a:pt x="2092" y="68"/>
                        </a:lnTo>
                        <a:lnTo>
                          <a:pt x="2090" y="66"/>
                        </a:lnTo>
                        <a:lnTo>
                          <a:pt x="2086" y="68"/>
                        </a:lnTo>
                        <a:lnTo>
                          <a:pt x="2082" y="70"/>
                        </a:lnTo>
                        <a:lnTo>
                          <a:pt x="2082" y="70"/>
                        </a:lnTo>
                        <a:lnTo>
                          <a:pt x="2078" y="74"/>
                        </a:lnTo>
                        <a:lnTo>
                          <a:pt x="2076" y="74"/>
                        </a:lnTo>
                        <a:lnTo>
                          <a:pt x="2068" y="74"/>
                        </a:lnTo>
                        <a:lnTo>
                          <a:pt x="2050" y="74"/>
                        </a:lnTo>
                        <a:lnTo>
                          <a:pt x="2050" y="74"/>
                        </a:lnTo>
                        <a:lnTo>
                          <a:pt x="2034" y="74"/>
                        </a:lnTo>
                        <a:lnTo>
                          <a:pt x="2032" y="72"/>
                        </a:lnTo>
                        <a:lnTo>
                          <a:pt x="2030" y="70"/>
                        </a:lnTo>
                        <a:lnTo>
                          <a:pt x="2030" y="70"/>
                        </a:lnTo>
                        <a:lnTo>
                          <a:pt x="2028" y="68"/>
                        </a:lnTo>
                        <a:lnTo>
                          <a:pt x="2016" y="68"/>
                        </a:lnTo>
                        <a:lnTo>
                          <a:pt x="2016" y="68"/>
                        </a:lnTo>
                        <a:lnTo>
                          <a:pt x="2006" y="70"/>
                        </a:lnTo>
                        <a:lnTo>
                          <a:pt x="2006" y="70"/>
                        </a:lnTo>
                        <a:lnTo>
                          <a:pt x="2006" y="72"/>
                        </a:lnTo>
                        <a:lnTo>
                          <a:pt x="2010" y="72"/>
                        </a:lnTo>
                        <a:lnTo>
                          <a:pt x="2002" y="74"/>
                        </a:lnTo>
                        <a:lnTo>
                          <a:pt x="2002" y="74"/>
                        </a:lnTo>
                        <a:lnTo>
                          <a:pt x="1988" y="74"/>
                        </a:lnTo>
                        <a:lnTo>
                          <a:pt x="1980" y="72"/>
                        </a:lnTo>
                        <a:lnTo>
                          <a:pt x="1970" y="68"/>
                        </a:lnTo>
                        <a:lnTo>
                          <a:pt x="1950" y="66"/>
                        </a:lnTo>
                        <a:lnTo>
                          <a:pt x="1950" y="66"/>
                        </a:lnTo>
                        <a:lnTo>
                          <a:pt x="1934" y="66"/>
                        </a:lnTo>
                        <a:lnTo>
                          <a:pt x="1924" y="62"/>
                        </a:lnTo>
                        <a:lnTo>
                          <a:pt x="1908" y="60"/>
                        </a:lnTo>
                        <a:lnTo>
                          <a:pt x="1876" y="56"/>
                        </a:lnTo>
                        <a:lnTo>
                          <a:pt x="1876" y="56"/>
                        </a:lnTo>
                        <a:lnTo>
                          <a:pt x="1844" y="56"/>
                        </a:lnTo>
                        <a:lnTo>
                          <a:pt x="1836" y="56"/>
                        </a:lnTo>
                        <a:lnTo>
                          <a:pt x="1836" y="58"/>
                        </a:lnTo>
                        <a:lnTo>
                          <a:pt x="1836" y="58"/>
                        </a:lnTo>
                        <a:lnTo>
                          <a:pt x="1836" y="58"/>
                        </a:lnTo>
                        <a:lnTo>
                          <a:pt x="1838" y="60"/>
                        </a:lnTo>
                        <a:lnTo>
                          <a:pt x="1836" y="60"/>
                        </a:lnTo>
                        <a:lnTo>
                          <a:pt x="1832" y="60"/>
                        </a:lnTo>
                        <a:lnTo>
                          <a:pt x="1824" y="60"/>
                        </a:lnTo>
                        <a:lnTo>
                          <a:pt x="1816" y="56"/>
                        </a:lnTo>
                        <a:lnTo>
                          <a:pt x="1816" y="56"/>
                        </a:lnTo>
                        <a:lnTo>
                          <a:pt x="1808" y="50"/>
                        </a:lnTo>
                        <a:lnTo>
                          <a:pt x="1796" y="48"/>
                        </a:lnTo>
                        <a:lnTo>
                          <a:pt x="1780" y="48"/>
                        </a:lnTo>
                        <a:lnTo>
                          <a:pt x="1760" y="50"/>
                        </a:lnTo>
                        <a:lnTo>
                          <a:pt x="1760" y="50"/>
                        </a:lnTo>
                        <a:lnTo>
                          <a:pt x="1752" y="52"/>
                        </a:lnTo>
                        <a:lnTo>
                          <a:pt x="1744" y="52"/>
                        </a:lnTo>
                        <a:lnTo>
                          <a:pt x="1730" y="50"/>
                        </a:lnTo>
                        <a:lnTo>
                          <a:pt x="1718" y="48"/>
                        </a:lnTo>
                        <a:lnTo>
                          <a:pt x="1704" y="46"/>
                        </a:lnTo>
                        <a:lnTo>
                          <a:pt x="1704" y="46"/>
                        </a:lnTo>
                        <a:lnTo>
                          <a:pt x="1690" y="46"/>
                        </a:lnTo>
                        <a:lnTo>
                          <a:pt x="1694" y="44"/>
                        </a:lnTo>
                        <a:lnTo>
                          <a:pt x="1698" y="42"/>
                        </a:lnTo>
                        <a:lnTo>
                          <a:pt x="1698" y="40"/>
                        </a:lnTo>
                        <a:lnTo>
                          <a:pt x="1694" y="40"/>
                        </a:lnTo>
                        <a:lnTo>
                          <a:pt x="1682" y="38"/>
                        </a:lnTo>
                        <a:lnTo>
                          <a:pt x="1682" y="38"/>
                        </a:lnTo>
                        <a:lnTo>
                          <a:pt x="1674" y="38"/>
                        </a:lnTo>
                        <a:lnTo>
                          <a:pt x="1670" y="40"/>
                        </a:lnTo>
                        <a:lnTo>
                          <a:pt x="1668" y="42"/>
                        </a:lnTo>
                        <a:lnTo>
                          <a:pt x="1668" y="44"/>
                        </a:lnTo>
                        <a:lnTo>
                          <a:pt x="1666" y="48"/>
                        </a:lnTo>
                        <a:lnTo>
                          <a:pt x="1664" y="48"/>
                        </a:lnTo>
                        <a:lnTo>
                          <a:pt x="1660" y="48"/>
                        </a:lnTo>
                        <a:lnTo>
                          <a:pt x="1660" y="48"/>
                        </a:lnTo>
                        <a:lnTo>
                          <a:pt x="1656" y="48"/>
                        </a:lnTo>
                        <a:lnTo>
                          <a:pt x="1656" y="46"/>
                        </a:lnTo>
                        <a:lnTo>
                          <a:pt x="1660" y="44"/>
                        </a:lnTo>
                        <a:lnTo>
                          <a:pt x="1664" y="40"/>
                        </a:lnTo>
                        <a:lnTo>
                          <a:pt x="1664" y="40"/>
                        </a:lnTo>
                        <a:lnTo>
                          <a:pt x="1662" y="38"/>
                        </a:lnTo>
                        <a:lnTo>
                          <a:pt x="1662" y="38"/>
                        </a:lnTo>
                        <a:lnTo>
                          <a:pt x="1654" y="38"/>
                        </a:lnTo>
                        <a:lnTo>
                          <a:pt x="1648" y="38"/>
                        </a:lnTo>
                        <a:lnTo>
                          <a:pt x="1642" y="44"/>
                        </a:lnTo>
                        <a:lnTo>
                          <a:pt x="1642" y="44"/>
                        </a:lnTo>
                        <a:lnTo>
                          <a:pt x="1638" y="44"/>
                        </a:lnTo>
                        <a:lnTo>
                          <a:pt x="1632" y="40"/>
                        </a:lnTo>
                        <a:lnTo>
                          <a:pt x="1632" y="40"/>
                        </a:lnTo>
                        <a:lnTo>
                          <a:pt x="1632" y="38"/>
                        </a:lnTo>
                        <a:lnTo>
                          <a:pt x="1636" y="36"/>
                        </a:lnTo>
                        <a:lnTo>
                          <a:pt x="1642" y="36"/>
                        </a:lnTo>
                        <a:lnTo>
                          <a:pt x="1642" y="36"/>
                        </a:lnTo>
                        <a:lnTo>
                          <a:pt x="1654" y="34"/>
                        </a:lnTo>
                        <a:lnTo>
                          <a:pt x="1656" y="34"/>
                        </a:lnTo>
                        <a:lnTo>
                          <a:pt x="1642" y="32"/>
                        </a:lnTo>
                        <a:lnTo>
                          <a:pt x="1642" y="32"/>
                        </a:lnTo>
                        <a:lnTo>
                          <a:pt x="1618" y="32"/>
                        </a:lnTo>
                        <a:lnTo>
                          <a:pt x="1590" y="32"/>
                        </a:lnTo>
                        <a:lnTo>
                          <a:pt x="1590" y="32"/>
                        </a:lnTo>
                        <a:lnTo>
                          <a:pt x="1584" y="32"/>
                        </a:lnTo>
                        <a:lnTo>
                          <a:pt x="1582" y="36"/>
                        </a:lnTo>
                        <a:lnTo>
                          <a:pt x="1582" y="38"/>
                        </a:lnTo>
                        <a:lnTo>
                          <a:pt x="1584" y="42"/>
                        </a:lnTo>
                        <a:lnTo>
                          <a:pt x="1586" y="46"/>
                        </a:lnTo>
                        <a:lnTo>
                          <a:pt x="1584" y="48"/>
                        </a:lnTo>
                        <a:lnTo>
                          <a:pt x="1580" y="50"/>
                        </a:lnTo>
                        <a:lnTo>
                          <a:pt x="1572" y="48"/>
                        </a:lnTo>
                        <a:lnTo>
                          <a:pt x="1572" y="48"/>
                        </a:lnTo>
                        <a:lnTo>
                          <a:pt x="1564" y="48"/>
                        </a:lnTo>
                        <a:lnTo>
                          <a:pt x="1556" y="50"/>
                        </a:lnTo>
                        <a:lnTo>
                          <a:pt x="1544" y="48"/>
                        </a:lnTo>
                        <a:lnTo>
                          <a:pt x="1520" y="42"/>
                        </a:lnTo>
                        <a:lnTo>
                          <a:pt x="1520" y="42"/>
                        </a:lnTo>
                        <a:lnTo>
                          <a:pt x="1514" y="40"/>
                        </a:lnTo>
                        <a:lnTo>
                          <a:pt x="1516" y="42"/>
                        </a:lnTo>
                        <a:lnTo>
                          <a:pt x="1528" y="52"/>
                        </a:lnTo>
                        <a:lnTo>
                          <a:pt x="1542" y="62"/>
                        </a:lnTo>
                        <a:lnTo>
                          <a:pt x="1544" y="64"/>
                        </a:lnTo>
                        <a:lnTo>
                          <a:pt x="1538" y="66"/>
                        </a:lnTo>
                        <a:lnTo>
                          <a:pt x="1538" y="66"/>
                        </a:lnTo>
                        <a:lnTo>
                          <a:pt x="1534" y="66"/>
                        </a:lnTo>
                        <a:lnTo>
                          <a:pt x="1534" y="68"/>
                        </a:lnTo>
                        <a:lnTo>
                          <a:pt x="1534" y="70"/>
                        </a:lnTo>
                        <a:lnTo>
                          <a:pt x="1530" y="68"/>
                        </a:lnTo>
                        <a:lnTo>
                          <a:pt x="1530" y="68"/>
                        </a:lnTo>
                        <a:lnTo>
                          <a:pt x="1510" y="64"/>
                        </a:lnTo>
                        <a:lnTo>
                          <a:pt x="1492" y="56"/>
                        </a:lnTo>
                        <a:lnTo>
                          <a:pt x="1492" y="56"/>
                        </a:lnTo>
                        <a:lnTo>
                          <a:pt x="1484" y="54"/>
                        </a:lnTo>
                        <a:lnTo>
                          <a:pt x="1484" y="54"/>
                        </a:lnTo>
                        <a:lnTo>
                          <a:pt x="1482" y="56"/>
                        </a:lnTo>
                        <a:lnTo>
                          <a:pt x="1474" y="56"/>
                        </a:lnTo>
                        <a:lnTo>
                          <a:pt x="1474" y="56"/>
                        </a:lnTo>
                        <a:lnTo>
                          <a:pt x="1468" y="54"/>
                        </a:lnTo>
                        <a:lnTo>
                          <a:pt x="1470" y="52"/>
                        </a:lnTo>
                        <a:lnTo>
                          <a:pt x="1472" y="50"/>
                        </a:lnTo>
                        <a:lnTo>
                          <a:pt x="1472" y="48"/>
                        </a:lnTo>
                        <a:lnTo>
                          <a:pt x="1468" y="48"/>
                        </a:lnTo>
                        <a:lnTo>
                          <a:pt x="1468" y="48"/>
                        </a:lnTo>
                        <a:lnTo>
                          <a:pt x="1458" y="44"/>
                        </a:lnTo>
                        <a:lnTo>
                          <a:pt x="1454" y="40"/>
                        </a:lnTo>
                        <a:lnTo>
                          <a:pt x="1452" y="38"/>
                        </a:lnTo>
                        <a:lnTo>
                          <a:pt x="1452" y="38"/>
                        </a:lnTo>
                        <a:lnTo>
                          <a:pt x="1448" y="34"/>
                        </a:lnTo>
                        <a:lnTo>
                          <a:pt x="1440" y="32"/>
                        </a:lnTo>
                        <a:lnTo>
                          <a:pt x="1418" y="28"/>
                        </a:lnTo>
                        <a:lnTo>
                          <a:pt x="1418" y="28"/>
                        </a:lnTo>
                        <a:lnTo>
                          <a:pt x="1396" y="20"/>
                        </a:lnTo>
                        <a:lnTo>
                          <a:pt x="1384" y="18"/>
                        </a:lnTo>
                        <a:lnTo>
                          <a:pt x="1380" y="18"/>
                        </a:lnTo>
                        <a:lnTo>
                          <a:pt x="1376" y="20"/>
                        </a:lnTo>
                        <a:lnTo>
                          <a:pt x="1376" y="20"/>
                        </a:lnTo>
                        <a:lnTo>
                          <a:pt x="1370" y="22"/>
                        </a:lnTo>
                        <a:lnTo>
                          <a:pt x="1366" y="22"/>
                        </a:lnTo>
                        <a:lnTo>
                          <a:pt x="1360" y="20"/>
                        </a:lnTo>
                        <a:lnTo>
                          <a:pt x="1356" y="20"/>
                        </a:lnTo>
                        <a:lnTo>
                          <a:pt x="1356" y="20"/>
                        </a:lnTo>
                        <a:lnTo>
                          <a:pt x="1344" y="20"/>
                        </a:lnTo>
                        <a:lnTo>
                          <a:pt x="1338" y="20"/>
                        </a:lnTo>
                        <a:lnTo>
                          <a:pt x="1336" y="22"/>
                        </a:lnTo>
                        <a:lnTo>
                          <a:pt x="1336" y="22"/>
                        </a:lnTo>
                        <a:lnTo>
                          <a:pt x="1332" y="24"/>
                        </a:lnTo>
                        <a:lnTo>
                          <a:pt x="1328" y="26"/>
                        </a:lnTo>
                        <a:lnTo>
                          <a:pt x="1326" y="26"/>
                        </a:lnTo>
                        <a:lnTo>
                          <a:pt x="1326" y="28"/>
                        </a:lnTo>
                        <a:lnTo>
                          <a:pt x="1336" y="32"/>
                        </a:lnTo>
                        <a:lnTo>
                          <a:pt x="1336" y="32"/>
                        </a:lnTo>
                        <a:lnTo>
                          <a:pt x="1344" y="38"/>
                        </a:lnTo>
                        <a:lnTo>
                          <a:pt x="1342" y="38"/>
                        </a:lnTo>
                        <a:lnTo>
                          <a:pt x="1340" y="38"/>
                        </a:lnTo>
                        <a:lnTo>
                          <a:pt x="1312" y="38"/>
                        </a:lnTo>
                        <a:lnTo>
                          <a:pt x="1312" y="38"/>
                        </a:lnTo>
                        <a:lnTo>
                          <a:pt x="1300" y="38"/>
                        </a:lnTo>
                        <a:lnTo>
                          <a:pt x="1300" y="40"/>
                        </a:lnTo>
                        <a:lnTo>
                          <a:pt x="1302" y="42"/>
                        </a:lnTo>
                        <a:lnTo>
                          <a:pt x="1302" y="42"/>
                        </a:lnTo>
                        <a:lnTo>
                          <a:pt x="1300" y="44"/>
                        </a:lnTo>
                        <a:lnTo>
                          <a:pt x="1298" y="44"/>
                        </a:lnTo>
                        <a:lnTo>
                          <a:pt x="1286" y="44"/>
                        </a:lnTo>
                        <a:lnTo>
                          <a:pt x="1274" y="42"/>
                        </a:lnTo>
                        <a:lnTo>
                          <a:pt x="1270" y="40"/>
                        </a:lnTo>
                        <a:lnTo>
                          <a:pt x="1270" y="38"/>
                        </a:lnTo>
                        <a:lnTo>
                          <a:pt x="1270" y="38"/>
                        </a:lnTo>
                        <a:lnTo>
                          <a:pt x="1270" y="38"/>
                        </a:lnTo>
                        <a:lnTo>
                          <a:pt x="1268" y="36"/>
                        </a:lnTo>
                        <a:lnTo>
                          <a:pt x="1266" y="36"/>
                        </a:lnTo>
                        <a:lnTo>
                          <a:pt x="1266" y="36"/>
                        </a:lnTo>
                        <a:lnTo>
                          <a:pt x="1266" y="36"/>
                        </a:lnTo>
                        <a:lnTo>
                          <a:pt x="1266" y="34"/>
                        </a:lnTo>
                        <a:lnTo>
                          <a:pt x="1268" y="32"/>
                        </a:lnTo>
                        <a:lnTo>
                          <a:pt x="1270" y="32"/>
                        </a:lnTo>
                        <a:lnTo>
                          <a:pt x="1268" y="30"/>
                        </a:lnTo>
                        <a:lnTo>
                          <a:pt x="1268" y="30"/>
                        </a:lnTo>
                        <a:lnTo>
                          <a:pt x="1264" y="30"/>
                        </a:lnTo>
                        <a:lnTo>
                          <a:pt x="1258" y="30"/>
                        </a:lnTo>
                        <a:lnTo>
                          <a:pt x="1246" y="32"/>
                        </a:lnTo>
                        <a:lnTo>
                          <a:pt x="1226" y="32"/>
                        </a:lnTo>
                        <a:lnTo>
                          <a:pt x="1226" y="32"/>
                        </a:lnTo>
                        <a:lnTo>
                          <a:pt x="1210" y="34"/>
                        </a:lnTo>
                        <a:lnTo>
                          <a:pt x="1204" y="34"/>
                        </a:lnTo>
                        <a:lnTo>
                          <a:pt x="1200" y="36"/>
                        </a:lnTo>
                        <a:lnTo>
                          <a:pt x="1192" y="38"/>
                        </a:lnTo>
                        <a:lnTo>
                          <a:pt x="1192" y="38"/>
                        </a:lnTo>
                        <a:lnTo>
                          <a:pt x="1184" y="38"/>
                        </a:lnTo>
                        <a:lnTo>
                          <a:pt x="1182" y="36"/>
                        </a:lnTo>
                        <a:lnTo>
                          <a:pt x="1182" y="34"/>
                        </a:lnTo>
                        <a:lnTo>
                          <a:pt x="1180" y="32"/>
                        </a:lnTo>
                        <a:lnTo>
                          <a:pt x="1176" y="30"/>
                        </a:lnTo>
                        <a:lnTo>
                          <a:pt x="1168" y="30"/>
                        </a:lnTo>
                        <a:lnTo>
                          <a:pt x="1168" y="30"/>
                        </a:lnTo>
                        <a:lnTo>
                          <a:pt x="1156" y="32"/>
                        </a:lnTo>
                        <a:lnTo>
                          <a:pt x="1152" y="34"/>
                        </a:lnTo>
                        <a:lnTo>
                          <a:pt x="1150" y="34"/>
                        </a:lnTo>
                        <a:lnTo>
                          <a:pt x="1148" y="34"/>
                        </a:lnTo>
                        <a:lnTo>
                          <a:pt x="1148" y="34"/>
                        </a:lnTo>
                        <a:lnTo>
                          <a:pt x="1144" y="34"/>
                        </a:lnTo>
                        <a:lnTo>
                          <a:pt x="1140" y="34"/>
                        </a:lnTo>
                        <a:lnTo>
                          <a:pt x="1136" y="34"/>
                        </a:lnTo>
                        <a:lnTo>
                          <a:pt x="1132" y="32"/>
                        </a:lnTo>
                        <a:lnTo>
                          <a:pt x="1132" y="32"/>
                        </a:lnTo>
                        <a:lnTo>
                          <a:pt x="1130" y="30"/>
                        </a:lnTo>
                        <a:lnTo>
                          <a:pt x="1126" y="30"/>
                        </a:lnTo>
                        <a:lnTo>
                          <a:pt x="1118" y="30"/>
                        </a:lnTo>
                        <a:lnTo>
                          <a:pt x="1118" y="30"/>
                        </a:lnTo>
                        <a:lnTo>
                          <a:pt x="1114" y="32"/>
                        </a:lnTo>
                        <a:lnTo>
                          <a:pt x="1112" y="34"/>
                        </a:lnTo>
                        <a:lnTo>
                          <a:pt x="1122" y="36"/>
                        </a:lnTo>
                        <a:lnTo>
                          <a:pt x="1122" y="36"/>
                        </a:lnTo>
                        <a:lnTo>
                          <a:pt x="1116" y="38"/>
                        </a:lnTo>
                        <a:lnTo>
                          <a:pt x="1112" y="36"/>
                        </a:lnTo>
                        <a:lnTo>
                          <a:pt x="1108" y="36"/>
                        </a:lnTo>
                        <a:lnTo>
                          <a:pt x="1106" y="38"/>
                        </a:lnTo>
                        <a:lnTo>
                          <a:pt x="1106" y="38"/>
                        </a:lnTo>
                        <a:lnTo>
                          <a:pt x="1102" y="40"/>
                        </a:lnTo>
                        <a:lnTo>
                          <a:pt x="1098" y="42"/>
                        </a:lnTo>
                        <a:lnTo>
                          <a:pt x="1088" y="42"/>
                        </a:lnTo>
                        <a:lnTo>
                          <a:pt x="1088" y="42"/>
                        </a:lnTo>
                        <a:lnTo>
                          <a:pt x="1088" y="42"/>
                        </a:lnTo>
                        <a:lnTo>
                          <a:pt x="1086" y="42"/>
                        </a:lnTo>
                        <a:lnTo>
                          <a:pt x="1080" y="46"/>
                        </a:lnTo>
                        <a:lnTo>
                          <a:pt x="1080" y="46"/>
                        </a:lnTo>
                        <a:lnTo>
                          <a:pt x="1070" y="48"/>
                        </a:lnTo>
                        <a:lnTo>
                          <a:pt x="1068" y="48"/>
                        </a:lnTo>
                        <a:lnTo>
                          <a:pt x="1076" y="44"/>
                        </a:lnTo>
                        <a:lnTo>
                          <a:pt x="1076" y="44"/>
                        </a:lnTo>
                        <a:lnTo>
                          <a:pt x="1082" y="42"/>
                        </a:lnTo>
                        <a:lnTo>
                          <a:pt x="1084" y="40"/>
                        </a:lnTo>
                        <a:lnTo>
                          <a:pt x="1084" y="38"/>
                        </a:lnTo>
                        <a:lnTo>
                          <a:pt x="1086" y="38"/>
                        </a:lnTo>
                        <a:lnTo>
                          <a:pt x="1086" y="38"/>
                        </a:lnTo>
                        <a:lnTo>
                          <a:pt x="1092" y="38"/>
                        </a:lnTo>
                        <a:lnTo>
                          <a:pt x="1094" y="36"/>
                        </a:lnTo>
                        <a:lnTo>
                          <a:pt x="1096" y="34"/>
                        </a:lnTo>
                        <a:lnTo>
                          <a:pt x="1102" y="32"/>
                        </a:lnTo>
                        <a:lnTo>
                          <a:pt x="1102" y="32"/>
                        </a:lnTo>
                        <a:lnTo>
                          <a:pt x="1112" y="26"/>
                        </a:lnTo>
                        <a:lnTo>
                          <a:pt x="1120" y="24"/>
                        </a:lnTo>
                        <a:lnTo>
                          <a:pt x="1120" y="24"/>
                        </a:lnTo>
                        <a:lnTo>
                          <a:pt x="1122" y="22"/>
                        </a:lnTo>
                        <a:lnTo>
                          <a:pt x="1120" y="18"/>
                        </a:lnTo>
                        <a:lnTo>
                          <a:pt x="1118" y="16"/>
                        </a:lnTo>
                        <a:lnTo>
                          <a:pt x="1114" y="16"/>
                        </a:lnTo>
                        <a:lnTo>
                          <a:pt x="1114" y="16"/>
                        </a:lnTo>
                        <a:lnTo>
                          <a:pt x="1106" y="16"/>
                        </a:lnTo>
                        <a:lnTo>
                          <a:pt x="1102" y="16"/>
                        </a:lnTo>
                        <a:lnTo>
                          <a:pt x="1100" y="14"/>
                        </a:lnTo>
                        <a:lnTo>
                          <a:pt x="1100" y="14"/>
                        </a:lnTo>
                        <a:lnTo>
                          <a:pt x="1108" y="14"/>
                        </a:lnTo>
                        <a:lnTo>
                          <a:pt x="1114" y="14"/>
                        </a:lnTo>
                        <a:lnTo>
                          <a:pt x="1116" y="14"/>
                        </a:lnTo>
                        <a:lnTo>
                          <a:pt x="1116" y="14"/>
                        </a:lnTo>
                        <a:lnTo>
                          <a:pt x="1114" y="12"/>
                        </a:lnTo>
                        <a:lnTo>
                          <a:pt x="1106" y="8"/>
                        </a:lnTo>
                        <a:lnTo>
                          <a:pt x="1096" y="6"/>
                        </a:lnTo>
                        <a:lnTo>
                          <a:pt x="1088" y="6"/>
                        </a:lnTo>
                        <a:lnTo>
                          <a:pt x="1088" y="6"/>
                        </a:lnTo>
                        <a:lnTo>
                          <a:pt x="1086" y="8"/>
                        </a:lnTo>
                        <a:lnTo>
                          <a:pt x="1080" y="6"/>
                        </a:lnTo>
                        <a:lnTo>
                          <a:pt x="1058" y="4"/>
                        </a:lnTo>
                        <a:lnTo>
                          <a:pt x="1058" y="4"/>
                        </a:lnTo>
                        <a:lnTo>
                          <a:pt x="1048" y="6"/>
                        </a:lnTo>
                        <a:lnTo>
                          <a:pt x="1046" y="6"/>
                        </a:lnTo>
                        <a:lnTo>
                          <a:pt x="1048" y="8"/>
                        </a:lnTo>
                        <a:lnTo>
                          <a:pt x="1046" y="8"/>
                        </a:lnTo>
                        <a:lnTo>
                          <a:pt x="1046" y="8"/>
                        </a:lnTo>
                        <a:lnTo>
                          <a:pt x="1044" y="8"/>
                        </a:lnTo>
                        <a:lnTo>
                          <a:pt x="1042" y="6"/>
                        </a:lnTo>
                        <a:lnTo>
                          <a:pt x="1038" y="6"/>
                        </a:lnTo>
                        <a:lnTo>
                          <a:pt x="1028" y="6"/>
                        </a:lnTo>
                        <a:lnTo>
                          <a:pt x="1028" y="6"/>
                        </a:lnTo>
                        <a:lnTo>
                          <a:pt x="1018" y="6"/>
                        </a:lnTo>
                        <a:lnTo>
                          <a:pt x="1008" y="4"/>
                        </a:lnTo>
                        <a:lnTo>
                          <a:pt x="998" y="2"/>
                        </a:lnTo>
                        <a:lnTo>
                          <a:pt x="998" y="2"/>
                        </a:lnTo>
                        <a:lnTo>
                          <a:pt x="992" y="2"/>
                        </a:lnTo>
                        <a:lnTo>
                          <a:pt x="988" y="2"/>
                        </a:lnTo>
                        <a:lnTo>
                          <a:pt x="980" y="4"/>
                        </a:lnTo>
                        <a:lnTo>
                          <a:pt x="980" y="4"/>
                        </a:lnTo>
                        <a:lnTo>
                          <a:pt x="976" y="10"/>
                        </a:lnTo>
                        <a:lnTo>
                          <a:pt x="974" y="10"/>
                        </a:lnTo>
                        <a:lnTo>
                          <a:pt x="976" y="6"/>
                        </a:lnTo>
                        <a:lnTo>
                          <a:pt x="976" y="6"/>
                        </a:lnTo>
                        <a:lnTo>
                          <a:pt x="976" y="2"/>
                        </a:lnTo>
                        <a:lnTo>
                          <a:pt x="974" y="2"/>
                        </a:lnTo>
                        <a:lnTo>
                          <a:pt x="966" y="4"/>
                        </a:lnTo>
                        <a:lnTo>
                          <a:pt x="960" y="8"/>
                        </a:lnTo>
                        <a:lnTo>
                          <a:pt x="962" y="4"/>
                        </a:lnTo>
                        <a:lnTo>
                          <a:pt x="962" y="4"/>
                        </a:lnTo>
                        <a:lnTo>
                          <a:pt x="966" y="0"/>
                        </a:lnTo>
                        <a:lnTo>
                          <a:pt x="958" y="0"/>
                        </a:lnTo>
                        <a:lnTo>
                          <a:pt x="958" y="0"/>
                        </a:lnTo>
                        <a:lnTo>
                          <a:pt x="946" y="0"/>
                        </a:lnTo>
                        <a:lnTo>
                          <a:pt x="940" y="4"/>
                        </a:lnTo>
                        <a:lnTo>
                          <a:pt x="940" y="4"/>
                        </a:lnTo>
                        <a:lnTo>
                          <a:pt x="932" y="6"/>
                        </a:lnTo>
                        <a:lnTo>
                          <a:pt x="932" y="8"/>
                        </a:lnTo>
                        <a:lnTo>
                          <a:pt x="932" y="10"/>
                        </a:lnTo>
                        <a:lnTo>
                          <a:pt x="932" y="10"/>
                        </a:lnTo>
                        <a:lnTo>
                          <a:pt x="930" y="10"/>
                        </a:lnTo>
                        <a:lnTo>
                          <a:pt x="928" y="10"/>
                        </a:lnTo>
                        <a:lnTo>
                          <a:pt x="928" y="12"/>
                        </a:lnTo>
                        <a:lnTo>
                          <a:pt x="932" y="14"/>
                        </a:lnTo>
                        <a:lnTo>
                          <a:pt x="932" y="14"/>
                        </a:lnTo>
                        <a:lnTo>
                          <a:pt x="922" y="12"/>
                        </a:lnTo>
                        <a:lnTo>
                          <a:pt x="916" y="10"/>
                        </a:lnTo>
                        <a:lnTo>
                          <a:pt x="908" y="10"/>
                        </a:lnTo>
                        <a:lnTo>
                          <a:pt x="908" y="10"/>
                        </a:lnTo>
                        <a:lnTo>
                          <a:pt x="904" y="10"/>
                        </a:lnTo>
                        <a:lnTo>
                          <a:pt x="904" y="10"/>
                        </a:lnTo>
                        <a:lnTo>
                          <a:pt x="904" y="12"/>
                        </a:lnTo>
                        <a:lnTo>
                          <a:pt x="898" y="14"/>
                        </a:lnTo>
                        <a:lnTo>
                          <a:pt x="898" y="14"/>
                        </a:lnTo>
                        <a:lnTo>
                          <a:pt x="892" y="14"/>
                        </a:lnTo>
                        <a:lnTo>
                          <a:pt x="890" y="14"/>
                        </a:lnTo>
                        <a:lnTo>
                          <a:pt x="890" y="12"/>
                        </a:lnTo>
                        <a:lnTo>
                          <a:pt x="888" y="12"/>
                        </a:lnTo>
                        <a:lnTo>
                          <a:pt x="888" y="12"/>
                        </a:lnTo>
                        <a:lnTo>
                          <a:pt x="888" y="12"/>
                        </a:lnTo>
                        <a:lnTo>
                          <a:pt x="888" y="10"/>
                        </a:lnTo>
                        <a:lnTo>
                          <a:pt x="888" y="10"/>
                        </a:lnTo>
                        <a:lnTo>
                          <a:pt x="882" y="8"/>
                        </a:lnTo>
                        <a:lnTo>
                          <a:pt x="882" y="8"/>
                        </a:lnTo>
                        <a:lnTo>
                          <a:pt x="872" y="8"/>
                        </a:lnTo>
                        <a:lnTo>
                          <a:pt x="870" y="8"/>
                        </a:lnTo>
                        <a:lnTo>
                          <a:pt x="872" y="10"/>
                        </a:lnTo>
                        <a:lnTo>
                          <a:pt x="872" y="10"/>
                        </a:lnTo>
                        <a:lnTo>
                          <a:pt x="874" y="10"/>
                        </a:lnTo>
                        <a:lnTo>
                          <a:pt x="872" y="10"/>
                        </a:lnTo>
                        <a:lnTo>
                          <a:pt x="862" y="10"/>
                        </a:lnTo>
                        <a:lnTo>
                          <a:pt x="862" y="10"/>
                        </a:lnTo>
                        <a:lnTo>
                          <a:pt x="846" y="12"/>
                        </a:lnTo>
                        <a:lnTo>
                          <a:pt x="840" y="14"/>
                        </a:lnTo>
                        <a:lnTo>
                          <a:pt x="838" y="14"/>
                        </a:lnTo>
                        <a:lnTo>
                          <a:pt x="836" y="14"/>
                        </a:lnTo>
                        <a:lnTo>
                          <a:pt x="836" y="14"/>
                        </a:lnTo>
                        <a:lnTo>
                          <a:pt x="832" y="14"/>
                        </a:lnTo>
                        <a:lnTo>
                          <a:pt x="828" y="14"/>
                        </a:lnTo>
                        <a:lnTo>
                          <a:pt x="824" y="14"/>
                        </a:lnTo>
                        <a:lnTo>
                          <a:pt x="818" y="14"/>
                        </a:lnTo>
                        <a:lnTo>
                          <a:pt x="818" y="14"/>
                        </a:lnTo>
                        <a:lnTo>
                          <a:pt x="812" y="14"/>
                        </a:lnTo>
                        <a:lnTo>
                          <a:pt x="810" y="14"/>
                        </a:lnTo>
                        <a:lnTo>
                          <a:pt x="808" y="16"/>
                        </a:lnTo>
                        <a:lnTo>
                          <a:pt x="806" y="16"/>
                        </a:lnTo>
                        <a:lnTo>
                          <a:pt x="806" y="16"/>
                        </a:lnTo>
                        <a:lnTo>
                          <a:pt x="802" y="16"/>
                        </a:lnTo>
                        <a:lnTo>
                          <a:pt x="800" y="18"/>
                        </a:lnTo>
                        <a:lnTo>
                          <a:pt x="796" y="18"/>
                        </a:lnTo>
                        <a:lnTo>
                          <a:pt x="786" y="18"/>
                        </a:lnTo>
                        <a:lnTo>
                          <a:pt x="786" y="18"/>
                        </a:lnTo>
                        <a:lnTo>
                          <a:pt x="780" y="18"/>
                        </a:lnTo>
                        <a:lnTo>
                          <a:pt x="776" y="20"/>
                        </a:lnTo>
                        <a:lnTo>
                          <a:pt x="776" y="20"/>
                        </a:lnTo>
                        <a:lnTo>
                          <a:pt x="774" y="20"/>
                        </a:lnTo>
                        <a:lnTo>
                          <a:pt x="774" y="22"/>
                        </a:lnTo>
                        <a:lnTo>
                          <a:pt x="776" y="22"/>
                        </a:lnTo>
                        <a:lnTo>
                          <a:pt x="776" y="24"/>
                        </a:lnTo>
                        <a:lnTo>
                          <a:pt x="776" y="24"/>
                        </a:lnTo>
                        <a:lnTo>
                          <a:pt x="780" y="26"/>
                        </a:lnTo>
                        <a:lnTo>
                          <a:pt x="786" y="28"/>
                        </a:lnTo>
                        <a:lnTo>
                          <a:pt x="790" y="28"/>
                        </a:lnTo>
                        <a:lnTo>
                          <a:pt x="790" y="28"/>
                        </a:lnTo>
                        <a:lnTo>
                          <a:pt x="786" y="30"/>
                        </a:lnTo>
                        <a:lnTo>
                          <a:pt x="786" y="32"/>
                        </a:lnTo>
                        <a:lnTo>
                          <a:pt x="784" y="34"/>
                        </a:lnTo>
                        <a:lnTo>
                          <a:pt x="784" y="32"/>
                        </a:lnTo>
                        <a:lnTo>
                          <a:pt x="784" y="32"/>
                        </a:lnTo>
                        <a:lnTo>
                          <a:pt x="784" y="28"/>
                        </a:lnTo>
                        <a:lnTo>
                          <a:pt x="784" y="28"/>
                        </a:lnTo>
                        <a:lnTo>
                          <a:pt x="778" y="30"/>
                        </a:lnTo>
                        <a:lnTo>
                          <a:pt x="768" y="30"/>
                        </a:lnTo>
                        <a:lnTo>
                          <a:pt x="768" y="30"/>
                        </a:lnTo>
                        <a:lnTo>
                          <a:pt x="746" y="32"/>
                        </a:lnTo>
                        <a:lnTo>
                          <a:pt x="728" y="34"/>
                        </a:lnTo>
                        <a:lnTo>
                          <a:pt x="728" y="34"/>
                        </a:lnTo>
                        <a:lnTo>
                          <a:pt x="724" y="34"/>
                        </a:lnTo>
                        <a:lnTo>
                          <a:pt x="718" y="36"/>
                        </a:lnTo>
                        <a:lnTo>
                          <a:pt x="718" y="38"/>
                        </a:lnTo>
                        <a:lnTo>
                          <a:pt x="718" y="40"/>
                        </a:lnTo>
                        <a:lnTo>
                          <a:pt x="732" y="46"/>
                        </a:lnTo>
                        <a:lnTo>
                          <a:pt x="732" y="46"/>
                        </a:lnTo>
                        <a:lnTo>
                          <a:pt x="746" y="52"/>
                        </a:lnTo>
                        <a:lnTo>
                          <a:pt x="752" y="52"/>
                        </a:lnTo>
                        <a:lnTo>
                          <a:pt x="758" y="50"/>
                        </a:lnTo>
                        <a:lnTo>
                          <a:pt x="764" y="54"/>
                        </a:lnTo>
                        <a:lnTo>
                          <a:pt x="764" y="54"/>
                        </a:lnTo>
                        <a:lnTo>
                          <a:pt x="772" y="56"/>
                        </a:lnTo>
                        <a:lnTo>
                          <a:pt x="780" y="58"/>
                        </a:lnTo>
                        <a:lnTo>
                          <a:pt x="784" y="58"/>
                        </a:lnTo>
                        <a:lnTo>
                          <a:pt x="786" y="60"/>
                        </a:lnTo>
                        <a:lnTo>
                          <a:pt x="786" y="62"/>
                        </a:lnTo>
                        <a:lnTo>
                          <a:pt x="786" y="62"/>
                        </a:lnTo>
                        <a:lnTo>
                          <a:pt x="790" y="66"/>
                        </a:lnTo>
                        <a:lnTo>
                          <a:pt x="796" y="70"/>
                        </a:lnTo>
                        <a:lnTo>
                          <a:pt x="814" y="74"/>
                        </a:lnTo>
                        <a:lnTo>
                          <a:pt x="814" y="74"/>
                        </a:lnTo>
                        <a:lnTo>
                          <a:pt x="820" y="78"/>
                        </a:lnTo>
                        <a:lnTo>
                          <a:pt x="822" y="80"/>
                        </a:lnTo>
                        <a:lnTo>
                          <a:pt x="820" y="80"/>
                        </a:lnTo>
                        <a:lnTo>
                          <a:pt x="814" y="80"/>
                        </a:lnTo>
                        <a:lnTo>
                          <a:pt x="806" y="78"/>
                        </a:lnTo>
                        <a:lnTo>
                          <a:pt x="806" y="78"/>
                        </a:lnTo>
                        <a:lnTo>
                          <a:pt x="800" y="74"/>
                        </a:lnTo>
                        <a:lnTo>
                          <a:pt x="796" y="76"/>
                        </a:lnTo>
                        <a:lnTo>
                          <a:pt x="796" y="78"/>
                        </a:lnTo>
                        <a:lnTo>
                          <a:pt x="796" y="78"/>
                        </a:lnTo>
                        <a:lnTo>
                          <a:pt x="796" y="76"/>
                        </a:lnTo>
                        <a:lnTo>
                          <a:pt x="792" y="74"/>
                        </a:lnTo>
                        <a:lnTo>
                          <a:pt x="786" y="72"/>
                        </a:lnTo>
                        <a:lnTo>
                          <a:pt x="786" y="72"/>
                        </a:lnTo>
                        <a:lnTo>
                          <a:pt x="782" y="70"/>
                        </a:lnTo>
                        <a:lnTo>
                          <a:pt x="780" y="68"/>
                        </a:lnTo>
                        <a:lnTo>
                          <a:pt x="782" y="64"/>
                        </a:lnTo>
                        <a:lnTo>
                          <a:pt x="782" y="62"/>
                        </a:lnTo>
                        <a:lnTo>
                          <a:pt x="782" y="62"/>
                        </a:lnTo>
                        <a:lnTo>
                          <a:pt x="770" y="60"/>
                        </a:lnTo>
                        <a:lnTo>
                          <a:pt x="770" y="60"/>
                        </a:lnTo>
                        <a:lnTo>
                          <a:pt x="758" y="60"/>
                        </a:lnTo>
                        <a:lnTo>
                          <a:pt x="748" y="58"/>
                        </a:lnTo>
                        <a:lnTo>
                          <a:pt x="740" y="56"/>
                        </a:lnTo>
                        <a:lnTo>
                          <a:pt x="734" y="54"/>
                        </a:lnTo>
                        <a:lnTo>
                          <a:pt x="734" y="54"/>
                        </a:lnTo>
                        <a:lnTo>
                          <a:pt x="722" y="52"/>
                        </a:lnTo>
                        <a:lnTo>
                          <a:pt x="708" y="48"/>
                        </a:lnTo>
                        <a:lnTo>
                          <a:pt x="708" y="48"/>
                        </a:lnTo>
                        <a:lnTo>
                          <a:pt x="694" y="46"/>
                        </a:lnTo>
                        <a:lnTo>
                          <a:pt x="690" y="46"/>
                        </a:lnTo>
                        <a:lnTo>
                          <a:pt x="688" y="46"/>
                        </a:lnTo>
                        <a:lnTo>
                          <a:pt x="690" y="48"/>
                        </a:lnTo>
                        <a:lnTo>
                          <a:pt x="690" y="48"/>
                        </a:lnTo>
                        <a:lnTo>
                          <a:pt x="690" y="50"/>
                        </a:lnTo>
                        <a:lnTo>
                          <a:pt x="688" y="50"/>
                        </a:lnTo>
                        <a:lnTo>
                          <a:pt x="680" y="48"/>
                        </a:lnTo>
                        <a:lnTo>
                          <a:pt x="680" y="48"/>
                        </a:lnTo>
                        <a:lnTo>
                          <a:pt x="676" y="48"/>
                        </a:lnTo>
                        <a:lnTo>
                          <a:pt x="672" y="50"/>
                        </a:lnTo>
                        <a:lnTo>
                          <a:pt x="670" y="52"/>
                        </a:lnTo>
                        <a:lnTo>
                          <a:pt x="674" y="54"/>
                        </a:lnTo>
                        <a:lnTo>
                          <a:pt x="674" y="54"/>
                        </a:lnTo>
                        <a:lnTo>
                          <a:pt x="680" y="56"/>
                        </a:lnTo>
                        <a:lnTo>
                          <a:pt x="682" y="58"/>
                        </a:lnTo>
                        <a:lnTo>
                          <a:pt x="684" y="60"/>
                        </a:lnTo>
                        <a:lnTo>
                          <a:pt x="690" y="60"/>
                        </a:lnTo>
                        <a:lnTo>
                          <a:pt x="690" y="60"/>
                        </a:lnTo>
                        <a:lnTo>
                          <a:pt x="694" y="60"/>
                        </a:lnTo>
                        <a:lnTo>
                          <a:pt x="700" y="62"/>
                        </a:lnTo>
                        <a:lnTo>
                          <a:pt x="712" y="66"/>
                        </a:lnTo>
                        <a:lnTo>
                          <a:pt x="712" y="66"/>
                        </a:lnTo>
                        <a:lnTo>
                          <a:pt x="710" y="66"/>
                        </a:lnTo>
                        <a:lnTo>
                          <a:pt x="706" y="66"/>
                        </a:lnTo>
                        <a:lnTo>
                          <a:pt x="698" y="64"/>
                        </a:lnTo>
                        <a:lnTo>
                          <a:pt x="698" y="64"/>
                        </a:lnTo>
                        <a:lnTo>
                          <a:pt x="692" y="62"/>
                        </a:lnTo>
                        <a:lnTo>
                          <a:pt x="688" y="62"/>
                        </a:lnTo>
                        <a:lnTo>
                          <a:pt x="686" y="62"/>
                        </a:lnTo>
                        <a:lnTo>
                          <a:pt x="682" y="62"/>
                        </a:lnTo>
                        <a:lnTo>
                          <a:pt x="682" y="62"/>
                        </a:lnTo>
                        <a:lnTo>
                          <a:pt x="680" y="60"/>
                        </a:lnTo>
                        <a:lnTo>
                          <a:pt x="678" y="62"/>
                        </a:lnTo>
                        <a:lnTo>
                          <a:pt x="676" y="62"/>
                        </a:lnTo>
                        <a:lnTo>
                          <a:pt x="674" y="62"/>
                        </a:lnTo>
                        <a:lnTo>
                          <a:pt x="674" y="62"/>
                        </a:lnTo>
                        <a:lnTo>
                          <a:pt x="672" y="60"/>
                        </a:lnTo>
                        <a:lnTo>
                          <a:pt x="670" y="60"/>
                        </a:lnTo>
                        <a:lnTo>
                          <a:pt x="666" y="58"/>
                        </a:lnTo>
                        <a:lnTo>
                          <a:pt x="658" y="50"/>
                        </a:lnTo>
                        <a:lnTo>
                          <a:pt x="658" y="50"/>
                        </a:lnTo>
                        <a:lnTo>
                          <a:pt x="646" y="40"/>
                        </a:lnTo>
                        <a:lnTo>
                          <a:pt x="638" y="36"/>
                        </a:lnTo>
                        <a:lnTo>
                          <a:pt x="630" y="32"/>
                        </a:lnTo>
                        <a:lnTo>
                          <a:pt x="626" y="32"/>
                        </a:lnTo>
                        <a:lnTo>
                          <a:pt x="626" y="32"/>
                        </a:lnTo>
                        <a:lnTo>
                          <a:pt x="626" y="34"/>
                        </a:lnTo>
                        <a:lnTo>
                          <a:pt x="628" y="34"/>
                        </a:lnTo>
                        <a:lnTo>
                          <a:pt x="634" y="38"/>
                        </a:lnTo>
                        <a:lnTo>
                          <a:pt x="638" y="42"/>
                        </a:lnTo>
                        <a:lnTo>
                          <a:pt x="638" y="44"/>
                        </a:lnTo>
                        <a:lnTo>
                          <a:pt x="638" y="46"/>
                        </a:lnTo>
                        <a:lnTo>
                          <a:pt x="638" y="46"/>
                        </a:lnTo>
                        <a:lnTo>
                          <a:pt x="634" y="48"/>
                        </a:lnTo>
                        <a:lnTo>
                          <a:pt x="634" y="50"/>
                        </a:lnTo>
                        <a:lnTo>
                          <a:pt x="636" y="54"/>
                        </a:lnTo>
                        <a:lnTo>
                          <a:pt x="636" y="56"/>
                        </a:lnTo>
                        <a:lnTo>
                          <a:pt x="636" y="56"/>
                        </a:lnTo>
                        <a:lnTo>
                          <a:pt x="636" y="58"/>
                        </a:lnTo>
                        <a:lnTo>
                          <a:pt x="638" y="60"/>
                        </a:lnTo>
                        <a:lnTo>
                          <a:pt x="640" y="60"/>
                        </a:lnTo>
                        <a:lnTo>
                          <a:pt x="646" y="62"/>
                        </a:lnTo>
                        <a:lnTo>
                          <a:pt x="646" y="62"/>
                        </a:lnTo>
                        <a:lnTo>
                          <a:pt x="650" y="64"/>
                        </a:lnTo>
                        <a:lnTo>
                          <a:pt x="654" y="66"/>
                        </a:lnTo>
                        <a:lnTo>
                          <a:pt x="658" y="68"/>
                        </a:lnTo>
                        <a:lnTo>
                          <a:pt x="660" y="74"/>
                        </a:lnTo>
                        <a:lnTo>
                          <a:pt x="660" y="74"/>
                        </a:lnTo>
                        <a:lnTo>
                          <a:pt x="660" y="76"/>
                        </a:lnTo>
                        <a:lnTo>
                          <a:pt x="662" y="80"/>
                        </a:lnTo>
                        <a:lnTo>
                          <a:pt x="666" y="82"/>
                        </a:lnTo>
                        <a:lnTo>
                          <a:pt x="672" y="84"/>
                        </a:lnTo>
                        <a:lnTo>
                          <a:pt x="676" y="86"/>
                        </a:lnTo>
                        <a:lnTo>
                          <a:pt x="676" y="86"/>
                        </a:lnTo>
                        <a:lnTo>
                          <a:pt x="678" y="90"/>
                        </a:lnTo>
                        <a:lnTo>
                          <a:pt x="682" y="90"/>
                        </a:lnTo>
                        <a:lnTo>
                          <a:pt x="690" y="88"/>
                        </a:lnTo>
                        <a:lnTo>
                          <a:pt x="690" y="88"/>
                        </a:lnTo>
                        <a:lnTo>
                          <a:pt x="694" y="86"/>
                        </a:lnTo>
                        <a:lnTo>
                          <a:pt x="700" y="86"/>
                        </a:lnTo>
                        <a:lnTo>
                          <a:pt x="706" y="88"/>
                        </a:lnTo>
                        <a:lnTo>
                          <a:pt x="712" y="92"/>
                        </a:lnTo>
                        <a:lnTo>
                          <a:pt x="712" y="92"/>
                        </a:lnTo>
                        <a:lnTo>
                          <a:pt x="720" y="96"/>
                        </a:lnTo>
                        <a:lnTo>
                          <a:pt x="720" y="98"/>
                        </a:lnTo>
                        <a:lnTo>
                          <a:pt x="716" y="98"/>
                        </a:lnTo>
                        <a:lnTo>
                          <a:pt x="716" y="98"/>
                        </a:lnTo>
                        <a:lnTo>
                          <a:pt x="714" y="100"/>
                        </a:lnTo>
                        <a:lnTo>
                          <a:pt x="714" y="102"/>
                        </a:lnTo>
                        <a:lnTo>
                          <a:pt x="726" y="106"/>
                        </a:lnTo>
                        <a:lnTo>
                          <a:pt x="726" y="106"/>
                        </a:lnTo>
                        <a:lnTo>
                          <a:pt x="718" y="106"/>
                        </a:lnTo>
                        <a:lnTo>
                          <a:pt x="714" y="104"/>
                        </a:lnTo>
                        <a:lnTo>
                          <a:pt x="712" y="102"/>
                        </a:lnTo>
                        <a:lnTo>
                          <a:pt x="710" y="100"/>
                        </a:lnTo>
                        <a:lnTo>
                          <a:pt x="708" y="94"/>
                        </a:lnTo>
                        <a:lnTo>
                          <a:pt x="704" y="94"/>
                        </a:lnTo>
                        <a:lnTo>
                          <a:pt x="698" y="92"/>
                        </a:lnTo>
                        <a:lnTo>
                          <a:pt x="698" y="92"/>
                        </a:lnTo>
                        <a:lnTo>
                          <a:pt x="690" y="94"/>
                        </a:lnTo>
                        <a:lnTo>
                          <a:pt x="686" y="96"/>
                        </a:lnTo>
                        <a:lnTo>
                          <a:pt x="686" y="96"/>
                        </a:lnTo>
                        <a:lnTo>
                          <a:pt x="684" y="96"/>
                        </a:lnTo>
                        <a:lnTo>
                          <a:pt x="684" y="98"/>
                        </a:lnTo>
                        <a:lnTo>
                          <a:pt x="686" y="102"/>
                        </a:lnTo>
                        <a:lnTo>
                          <a:pt x="690" y="104"/>
                        </a:lnTo>
                        <a:lnTo>
                          <a:pt x="690" y="104"/>
                        </a:lnTo>
                        <a:lnTo>
                          <a:pt x="698" y="108"/>
                        </a:lnTo>
                        <a:lnTo>
                          <a:pt x="696" y="112"/>
                        </a:lnTo>
                        <a:lnTo>
                          <a:pt x="696" y="112"/>
                        </a:lnTo>
                        <a:lnTo>
                          <a:pt x="692" y="120"/>
                        </a:lnTo>
                        <a:lnTo>
                          <a:pt x="690" y="122"/>
                        </a:lnTo>
                        <a:lnTo>
                          <a:pt x="684" y="126"/>
                        </a:lnTo>
                        <a:lnTo>
                          <a:pt x="684" y="126"/>
                        </a:lnTo>
                        <a:lnTo>
                          <a:pt x="676" y="132"/>
                        </a:lnTo>
                        <a:lnTo>
                          <a:pt x="674" y="132"/>
                        </a:lnTo>
                        <a:lnTo>
                          <a:pt x="670" y="130"/>
                        </a:lnTo>
                        <a:lnTo>
                          <a:pt x="670" y="130"/>
                        </a:lnTo>
                        <a:lnTo>
                          <a:pt x="664" y="130"/>
                        </a:lnTo>
                        <a:lnTo>
                          <a:pt x="658" y="130"/>
                        </a:lnTo>
                        <a:lnTo>
                          <a:pt x="654" y="130"/>
                        </a:lnTo>
                        <a:lnTo>
                          <a:pt x="654" y="130"/>
                        </a:lnTo>
                        <a:lnTo>
                          <a:pt x="658" y="128"/>
                        </a:lnTo>
                        <a:lnTo>
                          <a:pt x="662" y="126"/>
                        </a:lnTo>
                        <a:lnTo>
                          <a:pt x="662" y="126"/>
                        </a:lnTo>
                        <a:lnTo>
                          <a:pt x="664" y="126"/>
                        </a:lnTo>
                        <a:lnTo>
                          <a:pt x="664" y="124"/>
                        </a:lnTo>
                        <a:lnTo>
                          <a:pt x="664" y="122"/>
                        </a:lnTo>
                        <a:lnTo>
                          <a:pt x="668" y="122"/>
                        </a:lnTo>
                        <a:lnTo>
                          <a:pt x="668" y="122"/>
                        </a:lnTo>
                        <a:lnTo>
                          <a:pt x="670" y="120"/>
                        </a:lnTo>
                        <a:lnTo>
                          <a:pt x="670" y="118"/>
                        </a:lnTo>
                        <a:lnTo>
                          <a:pt x="670" y="116"/>
                        </a:lnTo>
                        <a:lnTo>
                          <a:pt x="672" y="116"/>
                        </a:lnTo>
                        <a:lnTo>
                          <a:pt x="672" y="116"/>
                        </a:lnTo>
                        <a:lnTo>
                          <a:pt x="676" y="114"/>
                        </a:lnTo>
                        <a:lnTo>
                          <a:pt x="678" y="112"/>
                        </a:lnTo>
                        <a:lnTo>
                          <a:pt x="678" y="108"/>
                        </a:lnTo>
                        <a:lnTo>
                          <a:pt x="680" y="106"/>
                        </a:lnTo>
                        <a:lnTo>
                          <a:pt x="680" y="106"/>
                        </a:lnTo>
                        <a:lnTo>
                          <a:pt x="680" y="104"/>
                        </a:lnTo>
                        <a:lnTo>
                          <a:pt x="678" y="100"/>
                        </a:lnTo>
                        <a:lnTo>
                          <a:pt x="672" y="98"/>
                        </a:lnTo>
                        <a:lnTo>
                          <a:pt x="662" y="96"/>
                        </a:lnTo>
                        <a:lnTo>
                          <a:pt x="662" y="96"/>
                        </a:lnTo>
                        <a:lnTo>
                          <a:pt x="654" y="92"/>
                        </a:lnTo>
                        <a:lnTo>
                          <a:pt x="652" y="88"/>
                        </a:lnTo>
                        <a:lnTo>
                          <a:pt x="648" y="84"/>
                        </a:lnTo>
                        <a:lnTo>
                          <a:pt x="644" y="82"/>
                        </a:lnTo>
                        <a:lnTo>
                          <a:pt x="636" y="78"/>
                        </a:lnTo>
                        <a:lnTo>
                          <a:pt x="636" y="78"/>
                        </a:lnTo>
                        <a:lnTo>
                          <a:pt x="632" y="78"/>
                        </a:lnTo>
                        <a:lnTo>
                          <a:pt x="632" y="76"/>
                        </a:lnTo>
                        <a:lnTo>
                          <a:pt x="632" y="74"/>
                        </a:lnTo>
                        <a:lnTo>
                          <a:pt x="628" y="68"/>
                        </a:lnTo>
                        <a:lnTo>
                          <a:pt x="628" y="68"/>
                        </a:lnTo>
                        <a:lnTo>
                          <a:pt x="620" y="64"/>
                        </a:lnTo>
                        <a:lnTo>
                          <a:pt x="614" y="60"/>
                        </a:lnTo>
                        <a:lnTo>
                          <a:pt x="608" y="58"/>
                        </a:lnTo>
                        <a:lnTo>
                          <a:pt x="606" y="56"/>
                        </a:lnTo>
                        <a:lnTo>
                          <a:pt x="606" y="54"/>
                        </a:lnTo>
                        <a:lnTo>
                          <a:pt x="606" y="54"/>
                        </a:lnTo>
                        <a:lnTo>
                          <a:pt x="606" y="52"/>
                        </a:lnTo>
                        <a:lnTo>
                          <a:pt x="606" y="50"/>
                        </a:lnTo>
                        <a:lnTo>
                          <a:pt x="600" y="44"/>
                        </a:lnTo>
                        <a:lnTo>
                          <a:pt x="590" y="38"/>
                        </a:lnTo>
                        <a:lnTo>
                          <a:pt x="586" y="38"/>
                        </a:lnTo>
                        <a:lnTo>
                          <a:pt x="584" y="38"/>
                        </a:lnTo>
                        <a:lnTo>
                          <a:pt x="584" y="38"/>
                        </a:lnTo>
                        <a:lnTo>
                          <a:pt x="578" y="38"/>
                        </a:lnTo>
                        <a:lnTo>
                          <a:pt x="574" y="36"/>
                        </a:lnTo>
                        <a:lnTo>
                          <a:pt x="570" y="36"/>
                        </a:lnTo>
                        <a:lnTo>
                          <a:pt x="566" y="36"/>
                        </a:lnTo>
                        <a:lnTo>
                          <a:pt x="566" y="36"/>
                        </a:lnTo>
                        <a:lnTo>
                          <a:pt x="562" y="36"/>
                        </a:lnTo>
                        <a:lnTo>
                          <a:pt x="556" y="36"/>
                        </a:lnTo>
                        <a:lnTo>
                          <a:pt x="554" y="36"/>
                        </a:lnTo>
                        <a:lnTo>
                          <a:pt x="552" y="38"/>
                        </a:lnTo>
                        <a:lnTo>
                          <a:pt x="556" y="44"/>
                        </a:lnTo>
                        <a:lnTo>
                          <a:pt x="556" y="44"/>
                        </a:lnTo>
                        <a:lnTo>
                          <a:pt x="560" y="52"/>
                        </a:lnTo>
                        <a:lnTo>
                          <a:pt x="558" y="54"/>
                        </a:lnTo>
                        <a:lnTo>
                          <a:pt x="558" y="56"/>
                        </a:lnTo>
                        <a:lnTo>
                          <a:pt x="554" y="56"/>
                        </a:lnTo>
                        <a:lnTo>
                          <a:pt x="552" y="58"/>
                        </a:lnTo>
                        <a:lnTo>
                          <a:pt x="550" y="60"/>
                        </a:lnTo>
                        <a:lnTo>
                          <a:pt x="550" y="60"/>
                        </a:lnTo>
                        <a:lnTo>
                          <a:pt x="550" y="64"/>
                        </a:lnTo>
                        <a:lnTo>
                          <a:pt x="552" y="62"/>
                        </a:lnTo>
                        <a:lnTo>
                          <a:pt x="556" y="66"/>
                        </a:lnTo>
                        <a:lnTo>
                          <a:pt x="556" y="66"/>
                        </a:lnTo>
                        <a:lnTo>
                          <a:pt x="560" y="70"/>
                        </a:lnTo>
                        <a:lnTo>
                          <a:pt x="560" y="72"/>
                        </a:lnTo>
                        <a:lnTo>
                          <a:pt x="558" y="72"/>
                        </a:lnTo>
                        <a:lnTo>
                          <a:pt x="562" y="76"/>
                        </a:lnTo>
                        <a:lnTo>
                          <a:pt x="562" y="76"/>
                        </a:lnTo>
                        <a:lnTo>
                          <a:pt x="566" y="80"/>
                        </a:lnTo>
                        <a:lnTo>
                          <a:pt x="566" y="80"/>
                        </a:lnTo>
                        <a:lnTo>
                          <a:pt x="566" y="78"/>
                        </a:lnTo>
                        <a:lnTo>
                          <a:pt x="572" y="80"/>
                        </a:lnTo>
                        <a:lnTo>
                          <a:pt x="572" y="80"/>
                        </a:lnTo>
                        <a:lnTo>
                          <a:pt x="582" y="82"/>
                        </a:lnTo>
                        <a:lnTo>
                          <a:pt x="586" y="82"/>
                        </a:lnTo>
                        <a:lnTo>
                          <a:pt x="588" y="82"/>
                        </a:lnTo>
                        <a:lnTo>
                          <a:pt x="592" y="86"/>
                        </a:lnTo>
                        <a:lnTo>
                          <a:pt x="592" y="86"/>
                        </a:lnTo>
                        <a:lnTo>
                          <a:pt x="598" y="90"/>
                        </a:lnTo>
                        <a:lnTo>
                          <a:pt x="604" y="92"/>
                        </a:lnTo>
                        <a:lnTo>
                          <a:pt x="608" y="90"/>
                        </a:lnTo>
                        <a:lnTo>
                          <a:pt x="608" y="90"/>
                        </a:lnTo>
                        <a:lnTo>
                          <a:pt x="610" y="96"/>
                        </a:lnTo>
                        <a:lnTo>
                          <a:pt x="610" y="98"/>
                        </a:lnTo>
                        <a:lnTo>
                          <a:pt x="608" y="100"/>
                        </a:lnTo>
                        <a:lnTo>
                          <a:pt x="608" y="98"/>
                        </a:lnTo>
                        <a:lnTo>
                          <a:pt x="608" y="98"/>
                        </a:lnTo>
                        <a:lnTo>
                          <a:pt x="602" y="98"/>
                        </a:lnTo>
                        <a:lnTo>
                          <a:pt x="592" y="98"/>
                        </a:lnTo>
                        <a:lnTo>
                          <a:pt x="580" y="96"/>
                        </a:lnTo>
                        <a:lnTo>
                          <a:pt x="574" y="94"/>
                        </a:lnTo>
                        <a:lnTo>
                          <a:pt x="574" y="94"/>
                        </a:lnTo>
                        <a:lnTo>
                          <a:pt x="568" y="92"/>
                        </a:lnTo>
                        <a:lnTo>
                          <a:pt x="556" y="90"/>
                        </a:lnTo>
                        <a:lnTo>
                          <a:pt x="542" y="88"/>
                        </a:lnTo>
                        <a:lnTo>
                          <a:pt x="534" y="88"/>
                        </a:lnTo>
                        <a:lnTo>
                          <a:pt x="534" y="88"/>
                        </a:lnTo>
                        <a:lnTo>
                          <a:pt x="530" y="88"/>
                        </a:lnTo>
                        <a:lnTo>
                          <a:pt x="518" y="86"/>
                        </a:lnTo>
                        <a:lnTo>
                          <a:pt x="518" y="86"/>
                        </a:lnTo>
                        <a:lnTo>
                          <a:pt x="500" y="86"/>
                        </a:lnTo>
                        <a:lnTo>
                          <a:pt x="484" y="84"/>
                        </a:lnTo>
                        <a:lnTo>
                          <a:pt x="484" y="84"/>
                        </a:lnTo>
                        <a:lnTo>
                          <a:pt x="472" y="84"/>
                        </a:lnTo>
                        <a:lnTo>
                          <a:pt x="464" y="86"/>
                        </a:lnTo>
                        <a:lnTo>
                          <a:pt x="464" y="86"/>
                        </a:lnTo>
                        <a:lnTo>
                          <a:pt x="464" y="88"/>
                        </a:lnTo>
                        <a:lnTo>
                          <a:pt x="466" y="88"/>
                        </a:lnTo>
                        <a:lnTo>
                          <a:pt x="478" y="92"/>
                        </a:lnTo>
                        <a:lnTo>
                          <a:pt x="478" y="92"/>
                        </a:lnTo>
                        <a:lnTo>
                          <a:pt x="482" y="92"/>
                        </a:lnTo>
                        <a:lnTo>
                          <a:pt x="482" y="94"/>
                        </a:lnTo>
                        <a:lnTo>
                          <a:pt x="474" y="96"/>
                        </a:lnTo>
                        <a:lnTo>
                          <a:pt x="474" y="96"/>
                        </a:lnTo>
                        <a:lnTo>
                          <a:pt x="468" y="96"/>
                        </a:lnTo>
                        <a:lnTo>
                          <a:pt x="468" y="98"/>
                        </a:lnTo>
                        <a:lnTo>
                          <a:pt x="470" y="100"/>
                        </a:lnTo>
                        <a:lnTo>
                          <a:pt x="470" y="102"/>
                        </a:lnTo>
                        <a:lnTo>
                          <a:pt x="470" y="102"/>
                        </a:lnTo>
                        <a:lnTo>
                          <a:pt x="468" y="100"/>
                        </a:lnTo>
                        <a:lnTo>
                          <a:pt x="466" y="100"/>
                        </a:lnTo>
                        <a:lnTo>
                          <a:pt x="464" y="98"/>
                        </a:lnTo>
                        <a:lnTo>
                          <a:pt x="464" y="98"/>
                        </a:lnTo>
                        <a:lnTo>
                          <a:pt x="464" y="98"/>
                        </a:lnTo>
                        <a:lnTo>
                          <a:pt x="464" y="96"/>
                        </a:lnTo>
                        <a:lnTo>
                          <a:pt x="462" y="96"/>
                        </a:lnTo>
                        <a:lnTo>
                          <a:pt x="462" y="94"/>
                        </a:lnTo>
                        <a:lnTo>
                          <a:pt x="466" y="94"/>
                        </a:lnTo>
                        <a:lnTo>
                          <a:pt x="466" y="94"/>
                        </a:lnTo>
                        <a:lnTo>
                          <a:pt x="462" y="92"/>
                        </a:lnTo>
                        <a:lnTo>
                          <a:pt x="458" y="92"/>
                        </a:lnTo>
                        <a:lnTo>
                          <a:pt x="454" y="94"/>
                        </a:lnTo>
                        <a:lnTo>
                          <a:pt x="454" y="94"/>
                        </a:lnTo>
                        <a:lnTo>
                          <a:pt x="448" y="96"/>
                        </a:lnTo>
                        <a:lnTo>
                          <a:pt x="438" y="98"/>
                        </a:lnTo>
                        <a:lnTo>
                          <a:pt x="438" y="98"/>
                        </a:lnTo>
                        <a:lnTo>
                          <a:pt x="434" y="100"/>
                        </a:lnTo>
                        <a:lnTo>
                          <a:pt x="428" y="98"/>
                        </a:lnTo>
                        <a:lnTo>
                          <a:pt x="422" y="96"/>
                        </a:lnTo>
                        <a:lnTo>
                          <a:pt x="412" y="96"/>
                        </a:lnTo>
                        <a:lnTo>
                          <a:pt x="412" y="96"/>
                        </a:lnTo>
                        <a:lnTo>
                          <a:pt x="402" y="98"/>
                        </a:lnTo>
                        <a:lnTo>
                          <a:pt x="400" y="100"/>
                        </a:lnTo>
                        <a:lnTo>
                          <a:pt x="400" y="102"/>
                        </a:lnTo>
                        <a:lnTo>
                          <a:pt x="396" y="100"/>
                        </a:lnTo>
                        <a:lnTo>
                          <a:pt x="396" y="100"/>
                        </a:lnTo>
                        <a:lnTo>
                          <a:pt x="392" y="100"/>
                        </a:lnTo>
                        <a:lnTo>
                          <a:pt x="388" y="102"/>
                        </a:lnTo>
                        <a:lnTo>
                          <a:pt x="384" y="102"/>
                        </a:lnTo>
                        <a:lnTo>
                          <a:pt x="386" y="102"/>
                        </a:lnTo>
                        <a:lnTo>
                          <a:pt x="386" y="102"/>
                        </a:lnTo>
                        <a:lnTo>
                          <a:pt x="388" y="100"/>
                        </a:lnTo>
                        <a:lnTo>
                          <a:pt x="386" y="100"/>
                        </a:lnTo>
                        <a:lnTo>
                          <a:pt x="386" y="98"/>
                        </a:lnTo>
                        <a:lnTo>
                          <a:pt x="386" y="98"/>
                        </a:lnTo>
                        <a:lnTo>
                          <a:pt x="386" y="96"/>
                        </a:lnTo>
                        <a:lnTo>
                          <a:pt x="388" y="96"/>
                        </a:lnTo>
                        <a:lnTo>
                          <a:pt x="390" y="98"/>
                        </a:lnTo>
                        <a:lnTo>
                          <a:pt x="392" y="96"/>
                        </a:lnTo>
                        <a:lnTo>
                          <a:pt x="392" y="96"/>
                        </a:lnTo>
                        <a:lnTo>
                          <a:pt x="390" y="96"/>
                        </a:lnTo>
                        <a:lnTo>
                          <a:pt x="388" y="94"/>
                        </a:lnTo>
                        <a:lnTo>
                          <a:pt x="374" y="96"/>
                        </a:lnTo>
                        <a:lnTo>
                          <a:pt x="374" y="96"/>
                        </a:lnTo>
                        <a:lnTo>
                          <a:pt x="368" y="98"/>
                        </a:lnTo>
                        <a:lnTo>
                          <a:pt x="368" y="100"/>
                        </a:lnTo>
                        <a:lnTo>
                          <a:pt x="368" y="102"/>
                        </a:lnTo>
                        <a:lnTo>
                          <a:pt x="366" y="104"/>
                        </a:lnTo>
                        <a:lnTo>
                          <a:pt x="366" y="104"/>
                        </a:lnTo>
                        <a:lnTo>
                          <a:pt x="364" y="106"/>
                        </a:lnTo>
                        <a:lnTo>
                          <a:pt x="364" y="104"/>
                        </a:lnTo>
                        <a:lnTo>
                          <a:pt x="364" y="102"/>
                        </a:lnTo>
                        <a:lnTo>
                          <a:pt x="366" y="100"/>
                        </a:lnTo>
                        <a:lnTo>
                          <a:pt x="366" y="100"/>
                        </a:lnTo>
                        <a:lnTo>
                          <a:pt x="364" y="98"/>
                        </a:lnTo>
                        <a:lnTo>
                          <a:pt x="360" y="98"/>
                        </a:lnTo>
                        <a:lnTo>
                          <a:pt x="354" y="98"/>
                        </a:lnTo>
                        <a:lnTo>
                          <a:pt x="348" y="100"/>
                        </a:lnTo>
                        <a:lnTo>
                          <a:pt x="344" y="100"/>
                        </a:lnTo>
                        <a:lnTo>
                          <a:pt x="344" y="100"/>
                        </a:lnTo>
                        <a:lnTo>
                          <a:pt x="340" y="98"/>
                        </a:lnTo>
                        <a:lnTo>
                          <a:pt x="334" y="100"/>
                        </a:lnTo>
                        <a:lnTo>
                          <a:pt x="320" y="106"/>
                        </a:lnTo>
                        <a:lnTo>
                          <a:pt x="320" y="106"/>
                        </a:lnTo>
                        <a:lnTo>
                          <a:pt x="314" y="106"/>
                        </a:lnTo>
                        <a:lnTo>
                          <a:pt x="310" y="106"/>
                        </a:lnTo>
                        <a:lnTo>
                          <a:pt x="308" y="106"/>
                        </a:lnTo>
                        <a:lnTo>
                          <a:pt x="304" y="106"/>
                        </a:lnTo>
                        <a:lnTo>
                          <a:pt x="304" y="106"/>
                        </a:lnTo>
                        <a:lnTo>
                          <a:pt x="302" y="108"/>
                        </a:lnTo>
                        <a:lnTo>
                          <a:pt x="300" y="106"/>
                        </a:lnTo>
                        <a:lnTo>
                          <a:pt x="300" y="106"/>
                        </a:lnTo>
                        <a:lnTo>
                          <a:pt x="302" y="110"/>
                        </a:lnTo>
                        <a:lnTo>
                          <a:pt x="302" y="110"/>
                        </a:lnTo>
                        <a:lnTo>
                          <a:pt x="304" y="116"/>
                        </a:lnTo>
                        <a:lnTo>
                          <a:pt x="304" y="116"/>
                        </a:lnTo>
                        <a:lnTo>
                          <a:pt x="302" y="118"/>
                        </a:lnTo>
                        <a:lnTo>
                          <a:pt x="302" y="118"/>
                        </a:lnTo>
                        <a:lnTo>
                          <a:pt x="300" y="122"/>
                        </a:lnTo>
                        <a:lnTo>
                          <a:pt x="300" y="122"/>
                        </a:lnTo>
                        <a:lnTo>
                          <a:pt x="298" y="120"/>
                        </a:lnTo>
                        <a:lnTo>
                          <a:pt x="296" y="122"/>
                        </a:lnTo>
                        <a:lnTo>
                          <a:pt x="296" y="122"/>
                        </a:lnTo>
                        <a:lnTo>
                          <a:pt x="292" y="122"/>
                        </a:lnTo>
                        <a:lnTo>
                          <a:pt x="290" y="122"/>
                        </a:lnTo>
                        <a:lnTo>
                          <a:pt x="288" y="122"/>
                        </a:lnTo>
                        <a:lnTo>
                          <a:pt x="286" y="122"/>
                        </a:lnTo>
                        <a:lnTo>
                          <a:pt x="286" y="122"/>
                        </a:lnTo>
                        <a:lnTo>
                          <a:pt x="284" y="122"/>
                        </a:lnTo>
                        <a:lnTo>
                          <a:pt x="282" y="122"/>
                        </a:lnTo>
                        <a:lnTo>
                          <a:pt x="280" y="122"/>
                        </a:lnTo>
                        <a:lnTo>
                          <a:pt x="278" y="122"/>
                        </a:lnTo>
                        <a:lnTo>
                          <a:pt x="278" y="122"/>
                        </a:lnTo>
                        <a:lnTo>
                          <a:pt x="274" y="122"/>
                        </a:lnTo>
                        <a:lnTo>
                          <a:pt x="272" y="120"/>
                        </a:lnTo>
                        <a:lnTo>
                          <a:pt x="268" y="118"/>
                        </a:lnTo>
                        <a:lnTo>
                          <a:pt x="264" y="118"/>
                        </a:lnTo>
                        <a:lnTo>
                          <a:pt x="264" y="118"/>
                        </a:lnTo>
                        <a:lnTo>
                          <a:pt x="260" y="116"/>
                        </a:lnTo>
                        <a:lnTo>
                          <a:pt x="256" y="114"/>
                        </a:lnTo>
                        <a:lnTo>
                          <a:pt x="256" y="112"/>
                        </a:lnTo>
                        <a:lnTo>
                          <a:pt x="260" y="110"/>
                        </a:lnTo>
                        <a:lnTo>
                          <a:pt x="260" y="110"/>
                        </a:lnTo>
                        <a:lnTo>
                          <a:pt x="266" y="110"/>
                        </a:lnTo>
                        <a:lnTo>
                          <a:pt x="266" y="110"/>
                        </a:lnTo>
                        <a:lnTo>
                          <a:pt x="258" y="104"/>
                        </a:lnTo>
                        <a:lnTo>
                          <a:pt x="258" y="104"/>
                        </a:lnTo>
                        <a:lnTo>
                          <a:pt x="256" y="102"/>
                        </a:lnTo>
                        <a:lnTo>
                          <a:pt x="256" y="102"/>
                        </a:lnTo>
                        <a:lnTo>
                          <a:pt x="256" y="100"/>
                        </a:lnTo>
                        <a:lnTo>
                          <a:pt x="252" y="100"/>
                        </a:lnTo>
                        <a:lnTo>
                          <a:pt x="252" y="100"/>
                        </a:lnTo>
                        <a:lnTo>
                          <a:pt x="232" y="94"/>
                        </a:lnTo>
                        <a:lnTo>
                          <a:pt x="224" y="94"/>
                        </a:lnTo>
                        <a:lnTo>
                          <a:pt x="224" y="94"/>
                        </a:lnTo>
                        <a:lnTo>
                          <a:pt x="224" y="94"/>
                        </a:lnTo>
                        <a:lnTo>
                          <a:pt x="228" y="96"/>
                        </a:lnTo>
                        <a:lnTo>
                          <a:pt x="232" y="100"/>
                        </a:lnTo>
                        <a:lnTo>
                          <a:pt x="236" y="106"/>
                        </a:lnTo>
                        <a:lnTo>
                          <a:pt x="236" y="106"/>
                        </a:lnTo>
                        <a:lnTo>
                          <a:pt x="240" y="112"/>
                        </a:lnTo>
                        <a:lnTo>
                          <a:pt x="240" y="116"/>
                        </a:lnTo>
                        <a:lnTo>
                          <a:pt x="240" y="116"/>
                        </a:lnTo>
                        <a:lnTo>
                          <a:pt x="244" y="118"/>
                        </a:lnTo>
                        <a:lnTo>
                          <a:pt x="244" y="118"/>
                        </a:lnTo>
                        <a:lnTo>
                          <a:pt x="250" y="118"/>
                        </a:lnTo>
                        <a:lnTo>
                          <a:pt x="250" y="122"/>
                        </a:lnTo>
                        <a:lnTo>
                          <a:pt x="250" y="122"/>
                        </a:lnTo>
                        <a:lnTo>
                          <a:pt x="250" y="130"/>
                        </a:lnTo>
                        <a:lnTo>
                          <a:pt x="250" y="132"/>
                        </a:lnTo>
                        <a:lnTo>
                          <a:pt x="248" y="132"/>
                        </a:lnTo>
                        <a:lnTo>
                          <a:pt x="248" y="132"/>
                        </a:lnTo>
                        <a:lnTo>
                          <a:pt x="244" y="130"/>
                        </a:lnTo>
                        <a:lnTo>
                          <a:pt x="240" y="132"/>
                        </a:lnTo>
                        <a:lnTo>
                          <a:pt x="238" y="134"/>
                        </a:lnTo>
                        <a:lnTo>
                          <a:pt x="240" y="132"/>
                        </a:lnTo>
                        <a:lnTo>
                          <a:pt x="240" y="132"/>
                        </a:lnTo>
                        <a:lnTo>
                          <a:pt x="240" y="128"/>
                        </a:lnTo>
                        <a:lnTo>
                          <a:pt x="238" y="128"/>
                        </a:lnTo>
                        <a:lnTo>
                          <a:pt x="226" y="128"/>
                        </a:lnTo>
                        <a:lnTo>
                          <a:pt x="226" y="128"/>
                        </a:lnTo>
                        <a:lnTo>
                          <a:pt x="224" y="128"/>
                        </a:lnTo>
                        <a:lnTo>
                          <a:pt x="222" y="126"/>
                        </a:lnTo>
                        <a:lnTo>
                          <a:pt x="218" y="126"/>
                        </a:lnTo>
                        <a:lnTo>
                          <a:pt x="208" y="128"/>
                        </a:lnTo>
                        <a:lnTo>
                          <a:pt x="208" y="128"/>
                        </a:lnTo>
                        <a:lnTo>
                          <a:pt x="198" y="130"/>
                        </a:lnTo>
                        <a:lnTo>
                          <a:pt x="192" y="134"/>
                        </a:lnTo>
                        <a:lnTo>
                          <a:pt x="192" y="134"/>
                        </a:lnTo>
                        <a:lnTo>
                          <a:pt x="188" y="136"/>
                        </a:lnTo>
                        <a:lnTo>
                          <a:pt x="186" y="138"/>
                        </a:lnTo>
                        <a:lnTo>
                          <a:pt x="184" y="138"/>
                        </a:lnTo>
                        <a:lnTo>
                          <a:pt x="184" y="138"/>
                        </a:lnTo>
                        <a:lnTo>
                          <a:pt x="184" y="138"/>
                        </a:lnTo>
                        <a:lnTo>
                          <a:pt x="184" y="140"/>
                        </a:lnTo>
                        <a:lnTo>
                          <a:pt x="186" y="142"/>
                        </a:lnTo>
                        <a:lnTo>
                          <a:pt x="196" y="146"/>
                        </a:lnTo>
                        <a:lnTo>
                          <a:pt x="204" y="148"/>
                        </a:lnTo>
                        <a:lnTo>
                          <a:pt x="208" y="150"/>
                        </a:lnTo>
                        <a:lnTo>
                          <a:pt x="208" y="152"/>
                        </a:lnTo>
                        <a:lnTo>
                          <a:pt x="208" y="152"/>
                        </a:lnTo>
                        <a:lnTo>
                          <a:pt x="206" y="152"/>
                        </a:lnTo>
                        <a:lnTo>
                          <a:pt x="204" y="152"/>
                        </a:lnTo>
                        <a:lnTo>
                          <a:pt x="200" y="152"/>
                        </a:lnTo>
                        <a:lnTo>
                          <a:pt x="196" y="152"/>
                        </a:lnTo>
                        <a:lnTo>
                          <a:pt x="196" y="152"/>
                        </a:lnTo>
                        <a:lnTo>
                          <a:pt x="190" y="154"/>
                        </a:lnTo>
                        <a:lnTo>
                          <a:pt x="184" y="152"/>
                        </a:lnTo>
                        <a:lnTo>
                          <a:pt x="178" y="150"/>
                        </a:lnTo>
                        <a:lnTo>
                          <a:pt x="166" y="152"/>
                        </a:lnTo>
                        <a:lnTo>
                          <a:pt x="166" y="152"/>
                        </a:lnTo>
                        <a:lnTo>
                          <a:pt x="164" y="152"/>
                        </a:lnTo>
                        <a:lnTo>
                          <a:pt x="166" y="152"/>
                        </a:lnTo>
                        <a:lnTo>
                          <a:pt x="166" y="150"/>
                        </a:lnTo>
                        <a:lnTo>
                          <a:pt x="162" y="148"/>
                        </a:lnTo>
                        <a:lnTo>
                          <a:pt x="162" y="148"/>
                        </a:lnTo>
                        <a:lnTo>
                          <a:pt x="152" y="148"/>
                        </a:lnTo>
                        <a:lnTo>
                          <a:pt x="150" y="148"/>
                        </a:lnTo>
                        <a:lnTo>
                          <a:pt x="148" y="148"/>
                        </a:lnTo>
                        <a:lnTo>
                          <a:pt x="148" y="148"/>
                        </a:lnTo>
                        <a:lnTo>
                          <a:pt x="144" y="152"/>
                        </a:lnTo>
                        <a:lnTo>
                          <a:pt x="144" y="152"/>
                        </a:lnTo>
                        <a:lnTo>
                          <a:pt x="144" y="152"/>
                        </a:lnTo>
                        <a:lnTo>
                          <a:pt x="144" y="152"/>
                        </a:lnTo>
                        <a:lnTo>
                          <a:pt x="146" y="154"/>
                        </a:lnTo>
                        <a:lnTo>
                          <a:pt x="146" y="156"/>
                        </a:lnTo>
                        <a:lnTo>
                          <a:pt x="150" y="158"/>
                        </a:lnTo>
                        <a:lnTo>
                          <a:pt x="158" y="158"/>
                        </a:lnTo>
                        <a:lnTo>
                          <a:pt x="158" y="158"/>
                        </a:lnTo>
                        <a:lnTo>
                          <a:pt x="164" y="158"/>
                        </a:lnTo>
                        <a:lnTo>
                          <a:pt x="170" y="160"/>
                        </a:lnTo>
                        <a:lnTo>
                          <a:pt x="170" y="162"/>
                        </a:lnTo>
                        <a:lnTo>
                          <a:pt x="170" y="162"/>
                        </a:lnTo>
                        <a:lnTo>
                          <a:pt x="170" y="162"/>
                        </a:lnTo>
                        <a:lnTo>
                          <a:pt x="168" y="164"/>
                        </a:lnTo>
                        <a:lnTo>
                          <a:pt x="166" y="166"/>
                        </a:lnTo>
                        <a:lnTo>
                          <a:pt x="166" y="166"/>
                        </a:lnTo>
                        <a:lnTo>
                          <a:pt x="164" y="166"/>
                        </a:lnTo>
                        <a:lnTo>
                          <a:pt x="164" y="166"/>
                        </a:lnTo>
                        <a:lnTo>
                          <a:pt x="158" y="164"/>
                        </a:lnTo>
                        <a:lnTo>
                          <a:pt x="150" y="164"/>
                        </a:lnTo>
                        <a:lnTo>
                          <a:pt x="142" y="164"/>
                        </a:lnTo>
                        <a:lnTo>
                          <a:pt x="138" y="162"/>
                        </a:lnTo>
                        <a:lnTo>
                          <a:pt x="138" y="162"/>
                        </a:lnTo>
                        <a:lnTo>
                          <a:pt x="136" y="160"/>
                        </a:lnTo>
                        <a:lnTo>
                          <a:pt x="132" y="160"/>
                        </a:lnTo>
                        <a:lnTo>
                          <a:pt x="122" y="158"/>
                        </a:lnTo>
                        <a:lnTo>
                          <a:pt x="122" y="158"/>
                        </a:lnTo>
                        <a:lnTo>
                          <a:pt x="116" y="158"/>
                        </a:lnTo>
                        <a:lnTo>
                          <a:pt x="116" y="156"/>
                        </a:lnTo>
                        <a:lnTo>
                          <a:pt x="118" y="156"/>
                        </a:lnTo>
                        <a:lnTo>
                          <a:pt x="120" y="156"/>
                        </a:lnTo>
                        <a:lnTo>
                          <a:pt x="118" y="154"/>
                        </a:lnTo>
                        <a:lnTo>
                          <a:pt x="118" y="154"/>
                        </a:lnTo>
                        <a:lnTo>
                          <a:pt x="116" y="152"/>
                        </a:lnTo>
                        <a:lnTo>
                          <a:pt x="116" y="150"/>
                        </a:lnTo>
                        <a:lnTo>
                          <a:pt x="116" y="150"/>
                        </a:lnTo>
                        <a:lnTo>
                          <a:pt x="112" y="150"/>
                        </a:lnTo>
                        <a:lnTo>
                          <a:pt x="112" y="150"/>
                        </a:lnTo>
                        <a:lnTo>
                          <a:pt x="110" y="148"/>
                        </a:lnTo>
                        <a:lnTo>
                          <a:pt x="110" y="148"/>
                        </a:lnTo>
                        <a:lnTo>
                          <a:pt x="110" y="146"/>
                        </a:lnTo>
                        <a:lnTo>
                          <a:pt x="110" y="144"/>
                        </a:lnTo>
                        <a:lnTo>
                          <a:pt x="110" y="144"/>
                        </a:lnTo>
                        <a:lnTo>
                          <a:pt x="110" y="142"/>
                        </a:lnTo>
                        <a:lnTo>
                          <a:pt x="110" y="142"/>
                        </a:lnTo>
                        <a:lnTo>
                          <a:pt x="110" y="140"/>
                        </a:lnTo>
                        <a:lnTo>
                          <a:pt x="110" y="138"/>
                        </a:lnTo>
                        <a:lnTo>
                          <a:pt x="110" y="138"/>
                        </a:lnTo>
                        <a:lnTo>
                          <a:pt x="110" y="136"/>
                        </a:lnTo>
                        <a:lnTo>
                          <a:pt x="108" y="136"/>
                        </a:lnTo>
                        <a:lnTo>
                          <a:pt x="106" y="136"/>
                        </a:lnTo>
                        <a:lnTo>
                          <a:pt x="102" y="136"/>
                        </a:lnTo>
                        <a:lnTo>
                          <a:pt x="102" y="136"/>
                        </a:lnTo>
                        <a:lnTo>
                          <a:pt x="98" y="134"/>
                        </a:lnTo>
                        <a:lnTo>
                          <a:pt x="94" y="134"/>
                        </a:lnTo>
                        <a:lnTo>
                          <a:pt x="90" y="134"/>
                        </a:lnTo>
                        <a:lnTo>
                          <a:pt x="84" y="132"/>
                        </a:lnTo>
                        <a:lnTo>
                          <a:pt x="84" y="132"/>
                        </a:lnTo>
                        <a:lnTo>
                          <a:pt x="80" y="130"/>
                        </a:lnTo>
                        <a:lnTo>
                          <a:pt x="82" y="130"/>
                        </a:lnTo>
                        <a:lnTo>
                          <a:pt x="84" y="128"/>
                        </a:lnTo>
                        <a:lnTo>
                          <a:pt x="78" y="128"/>
                        </a:lnTo>
                        <a:lnTo>
                          <a:pt x="78" y="128"/>
                        </a:lnTo>
                        <a:lnTo>
                          <a:pt x="74" y="126"/>
                        </a:lnTo>
                        <a:lnTo>
                          <a:pt x="74" y="126"/>
                        </a:lnTo>
                        <a:lnTo>
                          <a:pt x="74" y="126"/>
                        </a:lnTo>
                        <a:lnTo>
                          <a:pt x="72" y="124"/>
                        </a:lnTo>
                        <a:lnTo>
                          <a:pt x="66" y="124"/>
                        </a:lnTo>
                        <a:lnTo>
                          <a:pt x="60" y="122"/>
                        </a:lnTo>
                        <a:lnTo>
                          <a:pt x="58" y="122"/>
                        </a:lnTo>
                        <a:lnTo>
                          <a:pt x="56" y="120"/>
                        </a:lnTo>
                        <a:lnTo>
                          <a:pt x="56" y="120"/>
                        </a:lnTo>
                        <a:lnTo>
                          <a:pt x="56" y="118"/>
                        </a:lnTo>
                        <a:lnTo>
                          <a:pt x="58" y="120"/>
                        </a:lnTo>
                        <a:lnTo>
                          <a:pt x="60" y="120"/>
                        </a:lnTo>
                        <a:lnTo>
                          <a:pt x="64" y="120"/>
                        </a:lnTo>
                        <a:lnTo>
                          <a:pt x="64" y="120"/>
                        </a:lnTo>
                        <a:lnTo>
                          <a:pt x="68" y="120"/>
                        </a:lnTo>
                        <a:lnTo>
                          <a:pt x="72" y="120"/>
                        </a:lnTo>
                        <a:lnTo>
                          <a:pt x="74" y="122"/>
                        </a:lnTo>
                        <a:lnTo>
                          <a:pt x="76" y="122"/>
                        </a:lnTo>
                        <a:lnTo>
                          <a:pt x="76" y="122"/>
                        </a:lnTo>
                        <a:lnTo>
                          <a:pt x="78" y="120"/>
                        </a:lnTo>
                        <a:lnTo>
                          <a:pt x="80" y="122"/>
                        </a:lnTo>
                        <a:lnTo>
                          <a:pt x="80" y="122"/>
                        </a:lnTo>
                        <a:lnTo>
                          <a:pt x="82" y="122"/>
                        </a:lnTo>
                        <a:lnTo>
                          <a:pt x="82" y="122"/>
                        </a:lnTo>
                        <a:lnTo>
                          <a:pt x="86" y="122"/>
                        </a:lnTo>
                        <a:lnTo>
                          <a:pt x="88" y="124"/>
                        </a:lnTo>
                        <a:lnTo>
                          <a:pt x="90" y="124"/>
                        </a:lnTo>
                        <a:lnTo>
                          <a:pt x="92" y="124"/>
                        </a:lnTo>
                        <a:lnTo>
                          <a:pt x="92" y="124"/>
                        </a:lnTo>
                        <a:lnTo>
                          <a:pt x="96" y="122"/>
                        </a:lnTo>
                        <a:lnTo>
                          <a:pt x="98" y="126"/>
                        </a:lnTo>
                        <a:lnTo>
                          <a:pt x="102" y="126"/>
                        </a:lnTo>
                        <a:lnTo>
                          <a:pt x="108" y="128"/>
                        </a:lnTo>
                        <a:lnTo>
                          <a:pt x="118" y="130"/>
                        </a:lnTo>
                        <a:lnTo>
                          <a:pt x="134" y="130"/>
                        </a:lnTo>
                        <a:lnTo>
                          <a:pt x="134" y="130"/>
                        </a:lnTo>
                        <a:lnTo>
                          <a:pt x="156" y="132"/>
                        </a:lnTo>
                        <a:lnTo>
                          <a:pt x="168" y="134"/>
                        </a:lnTo>
                        <a:lnTo>
                          <a:pt x="178" y="134"/>
                        </a:lnTo>
                        <a:lnTo>
                          <a:pt x="178" y="134"/>
                        </a:lnTo>
                        <a:lnTo>
                          <a:pt x="186" y="132"/>
                        </a:lnTo>
                        <a:lnTo>
                          <a:pt x="192" y="128"/>
                        </a:lnTo>
                        <a:lnTo>
                          <a:pt x="198" y="124"/>
                        </a:lnTo>
                        <a:lnTo>
                          <a:pt x="198" y="124"/>
                        </a:lnTo>
                        <a:lnTo>
                          <a:pt x="200" y="122"/>
                        </a:lnTo>
                        <a:lnTo>
                          <a:pt x="200" y="122"/>
                        </a:lnTo>
                        <a:lnTo>
                          <a:pt x="200" y="120"/>
                        </a:lnTo>
                        <a:lnTo>
                          <a:pt x="200" y="120"/>
                        </a:lnTo>
                        <a:lnTo>
                          <a:pt x="200" y="120"/>
                        </a:lnTo>
                        <a:lnTo>
                          <a:pt x="200" y="120"/>
                        </a:lnTo>
                        <a:lnTo>
                          <a:pt x="200" y="118"/>
                        </a:lnTo>
                        <a:lnTo>
                          <a:pt x="196" y="114"/>
                        </a:lnTo>
                        <a:lnTo>
                          <a:pt x="190" y="110"/>
                        </a:lnTo>
                        <a:lnTo>
                          <a:pt x="190" y="110"/>
                        </a:lnTo>
                        <a:lnTo>
                          <a:pt x="186" y="110"/>
                        </a:lnTo>
                        <a:lnTo>
                          <a:pt x="184" y="108"/>
                        </a:lnTo>
                        <a:lnTo>
                          <a:pt x="182" y="108"/>
                        </a:lnTo>
                        <a:lnTo>
                          <a:pt x="182" y="108"/>
                        </a:lnTo>
                        <a:lnTo>
                          <a:pt x="178" y="106"/>
                        </a:lnTo>
                        <a:lnTo>
                          <a:pt x="170" y="104"/>
                        </a:lnTo>
                        <a:lnTo>
                          <a:pt x="162" y="102"/>
                        </a:lnTo>
                        <a:lnTo>
                          <a:pt x="154" y="102"/>
                        </a:lnTo>
                        <a:lnTo>
                          <a:pt x="154" y="102"/>
                        </a:lnTo>
                        <a:lnTo>
                          <a:pt x="150" y="102"/>
                        </a:lnTo>
                        <a:lnTo>
                          <a:pt x="144" y="102"/>
                        </a:lnTo>
                        <a:lnTo>
                          <a:pt x="132" y="98"/>
                        </a:lnTo>
                        <a:lnTo>
                          <a:pt x="122" y="96"/>
                        </a:lnTo>
                        <a:lnTo>
                          <a:pt x="116" y="94"/>
                        </a:lnTo>
                        <a:lnTo>
                          <a:pt x="114" y="96"/>
                        </a:lnTo>
                        <a:lnTo>
                          <a:pt x="114" y="96"/>
                        </a:lnTo>
                        <a:lnTo>
                          <a:pt x="110" y="96"/>
                        </a:lnTo>
                        <a:lnTo>
                          <a:pt x="106" y="96"/>
                        </a:lnTo>
                        <a:lnTo>
                          <a:pt x="94" y="92"/>
                        </a:lnTo>
                        <a:lnTo>
                          <a:pt x="84" y="90"/>
                        </a:lnTo>
                        <a:lnTo>
                          <a:pt x="74" y="90"/>
                        </a:lnTo>
                        <a:lnTo>
                          <a:pt x="74" y="90"/>
                        </a:lnTo>
                        <a:lnTo>
                          <a:pt x="56" y="90"/>
                        </a:lnTo>
                        <a:lnTo>
                          <a:pt x="56" y="90"/>
                        </a:lnTo>
                        <a:lnTo>
                          <a:pt x="52" y="92"/>
                        </a:lnTo>
                        <a:lnTo>
                          <a:pt x="48" y="90"/>
                        </a:lnTo>
                        <a:lnTo>
                          <a:pt x="48" y="90"/>
                        </a:lnTo>
                        <a:lnTo>
                          <a:pt x="40" y="90"/>
                        </a:lnTo>
                        <a:lnTo>
                          <a:pt x="32" y="88"/>
                        </a:lnTo>
                        <a:lnTo>
                          <a:pt x="32" y="88"/>
                        </a:lnTo>
                        <a:lnTo>
                          <a:pt x="36" y="88"/>
                        </a:lnTo>
                        <a:lnTo>
                          <a:pt x="42" y="88"/>
                        </a:lnTo>
                        <a:lnTo>
                          <a:pt x="44" y="86"/>
                        </a:lnTo>
                        <a:lnTo>
                          <a:pt x="44" y="86"/>
                        </a:lnTo>
                        <a:lnTo>
                          <a:pt x="34" y="84"/>
                        </a:lnTo>
                        <a:lnTo>
                          <a:pt x="30" y="84"/>
                        </a:lnTo>
                        <a:lnTo>
                          <a:pt x="28" y="84"/>
                        </a:lnTo>
                        <a:lnTo>
                          <a:pt x="28" y="86"/>
                        </a:lnTo>
                        <a:lnTo>
                          <a:pt x="28" y="86"/>
                        </a:lnTo>
                        <a:lnTo>
                          <a:pt x="28" y="88"/>
                        </a:lnTo>
                        <a:lnTo>
                          <a:pt x="24" y="86"/>
                        </a:lnTo>
                        <a:lnTo>
                          <a:pt x="20" y="86"/>
                        </a:lnTo>
                        <a:lnTo>
                          <a:pt x="14" y="86"/>
                        </a:lnTo>
                        <a:lnTo>
                          <a:pt x="14" y="86"/>
                        </a:lnTo>
                        <a:lnTo>
                          <a:pt x="14" y="90"/>
                        </a:lnTo>
                        <a:lnTo>
                          <a:pt x="12" y="90"/>
                        </a:lnTo>
                        <a:lnTo>
                          <a:pt x="10" y="90"/>
                        </a:lnTo>
                        <a:lnTo>
                          <a:pt x="8" y="90"/>
                        </a:lnTo>
                        <a:lnTo>
                          <a:pt x="8" y="90"/>
                        </a:lnTo>
                        <a:lnTo>
                          <a:pt x="4" y="96"/>
                        </a:lnTo>
                        <a:lnTo>
                          <a:pt x="2" y="100"/>
                        </a:lnTo>
                        <a:lnTo>
                          <a:pt x="0" y="104"/>
                        </a:lnTo>
                        <a:lnTo>
                          <a:pt x="0" y="104"/>
                        </a:lnTo>
                        <a:lnTo>
                          <a:pt x="4" y="108"/>
                        </a:lnTo>
                        <a:lnTo>
                          <a:pt x="6" y="108"/>
                        </a:lnTo>
                        <a:lnTo>
                          <a:pt x="8" y="108"/>
                        </a:lnTo>
                        <a:lnTo>
                          <a:pt x="12" y="112"/>
                        </a:lnTo>
                        <a:lnTo>
                          <a:pt x="12" y="112"/>
                        </a:lnTo>
                        <a:lnTo>
                          <a:pt x="16" y="116"/>
                        </a:lnTo>
                        <a:lnTo>
                          <a:pt x="16" y="118"/>
                        </a:lnTo>
                        <a:lnTo>
                          <a:pt x="16" y="122"/>
                        </a:lnTo>
                        <a:lnTo>
                          <a:pt x="16" y="124"/>
                        </a:lnTo>
                        <a:lnTo>
                          <a:pt x="16" y="126"/>
                        </a:lnTo>
                        <a:lnTo>
                          <a:pt x="24" y="132"/>
                        </a:lnTo>
                        <a:lnTo>
                          <a:pt x="24" y="132"/>
                        </a:lnTo>
                        <a:lnTo>
                          <a:pt x="32" y="138"/>
                        </a:lnTo>
                        <a:lnTo>
                          <a:pt x="34" y="142"/>
                        </a:lnTo>
                        <a:lnTo>
                          <a:pt x="34" y="144"/>
                        </a:lnTo>
                        <a:lnTo>
                          <a:pt x="32" y="144"/>
                        </a:lnTo>
                        <a:lnTo>
                          <a:pt x="32" y="144"/>
                        </a:lnTo>
                        <a:lnTo>
                          <a:pt x="30" y="146"/>
                        </a:lnTo>
                        <a:lnTo>
                          <a:pt x="32" y="148"/>
                        </a:lnTo>
                        <a:lnTo>
                          <a:pt x="34" y="152"/>
                        </a:lnTo>
                        <a:lnTo>
                          <a:pt x="38" y="154"/>
                        </a:lnTo>
                        <a:lnTo>
                          <a:pt x="38" y="154"/>
                        </a:lnTo>
                        <a:lnTo>
                          <a:pt x="40" y="156"/>
                        </a:lnTo>
                        <a:lnTo>
                          <a:pt x="36" y="158"/>
                        </a:lnTo>
                        <a:lnTo>
                          <a:pt x="36" y="160"/>
                        </a:lnTo>
                        <a:lnTo>
                          <a:pt x="38" y="162"/>
                        </a:lnTo>
                        <a:lnTo>
                          <a:pt x="38" y="162"/>
                        </a:lnTo>
                        <a:lnTo>
                          <a:pt x="46" y="166"/>
                        </a:lnTo>
                        <a:lnTo>
                          <a:pt x="48" y="168"/>
                        </a:lnTo>
                        <a:lnTo>
                          <a:pt x="48" y="170"/>
                        </a:lnTo>
                        <a:lnTo>
                          <a:pt x="46" y="172"/>
                        </a:lnTo>
                        <a:lnTo>
                          <a:pt x="44" y="172"/>
                        </a:lnTo>
                        <a:lnTo>
                          <a:pt x="44" y="174"/>
                        </a:lnTo>
                        <a:lnTo>
                          <a:pt x="54" y="178"/>
                        </a:lnTo>
                        <a:lnTo>
                          <a:pt x="54" y="178"/>
                        </a:lnTo>
                        <a:lnTo>
                          <a:pt x="62" y="182"/>
                        </a:lnTo>
                        <a:lnTo>
                          <a:pt x="62" y="186"/>
                        </a:lnTo>
                        <a:lnTo>
                          <a:pt x="60" y="190"/>
                        </a:lnTo>
                        <a:lnTo>
                          <a:pt x="56" y="194"/>
                        </a:lnTo>
                        <a:lnTo>
                          <a:pt x="56" y="194"/>
                        </a:lnTo>
                        <a:lnTo>
                          <a:pt x="54" y="196"/>
                        </a:lnTo>
                        <a:lnTo>
                          <a:pt x="54" y="198"/>
                        </a:lnTo>
                        <a:lnTo>
                          <a:pt x="54" y="200"/>
                        </a:lnTo>
                        <a:lnTo>
                          <a:pt x="52" y="200"/>
                        </a:lnTo>
                        <a:lnTo>
                          <a:pt x="52" y="200"/>
                        </a:lnTo>
                        <a:lnTo>
                          <a:pt x="48" y="200"/>
                        </a:lnTo>
                        <a:lnTo>
                          <a:pt x="46" y="204"/>
                        </a:lnTo>
                        <a:lnTo>
                          <a:pt x="42" y="208"/>
                        </a:lnTo>
                        <a:lnTo>
                          <a:pt x="34" y="212"/>
                        </a:lnTo>
                        <a:lnTo>
                          <a:pt x="34" y="212"/>
                        </a:lnTo>
                        <a:lnTo>
                          <a:pt x="26" y="218"/>
                        </a:lnTo>
                        <a:lnTo>
                          <a:pt x="22" y="220"/>
                        </a:lnTo>
                        <a:lnTo>
                          <a:pt x="22" y="224"/>
                        </a:lnTo>
                        <a:lnTo>
                          <a:pt x="22" y="224"/>
                        </a:lnTo>
                        <a:lnTo>
                          <a:pt x="28" y="222"/>
                        </a:lnTo>
                        <a:lnTo>
                          <a:pt x="30" y="222"/>
                        </a:lnTo>
                        <a:lnTo>
                          <a:pt x="28" y="224"/>
                        </a:lnTo>
                        <a:lnTo>
                          <a:pt x="28" y="224"/>
                        </a:lnTo>
                        <a:lnTo>
                          <a:pt x="26" y="224"/>
                        </a:lnTo>
                        <a:lnTo>
                          <a:pt x="30" y="226"/>
                        </a:lnTo>
                        <a:lnTo>
                          <a:pt x="38" y="226"/>
                        </a:lnTo>
                        <a:lnTo>
                          <a:pt x="38" y="226"/>
                        </a:lnTo>
                        <a:lnTo>
                          <a:pt x="42" y="226"/>
                        </a:lnTo>
                        <a:lnTo>
                          <a:pt x="44" y="228"/>
                        </a:lnTo>
                        <a:lnTo>
                          <a:pt x="48" y="230"/>
                        </a:lnTo>
                        <a:lnTo>
                          <a:pt x="52" y="230"/>
                        </a:lnTo>
                        <a:lnTo>
                          <a:pt x="52" y="230"/>
                        </a:lnTo>
                        <a:lnTo>
                          <a:pt x="56" y="230"/>
                        </a:lnTo>
                        <a:lnTo>
                          <a:pt x="58" y="230"/>
                        </a:lnTo>
                        <a:lnTo>
                          <a:pt x="64" y="230"/>
                        </a:lnTo>
                        <a:lnTo>
                          <a:pt x="64" y="230"/>
                        </a:lnTo>
                        <a:lnTo>
                          <a:pt x="64" y="232"/>
                        </a:lnTo>
                        <a:lnTo>
                          <a:pt x="64" y="234"/>
                        </a:lnTo>
                        <a:lnTo>
                          <a:pt x="62" y="236"/>
                        </a:lnTo>
                        <a:lnTo>
                          <a:pt x="58" y="236"/>
                        </a:lnTo>
                        <a:lnTo>
                          <a:pt x="58" y="236"/>
                        </a:lnTo>
                        <a:lnTo>
                          <a:pt x="48" y="234"/>
                        </a:lnTo>
                        <a:lnTo>
                          <a:pt x="46" y="234"/>
                        </a:lnTo>
                        <a:lnTo>
                          <a:pt x="44" y="236"/>
                        </a:lnTo>
                        <a:lnTo>
                          <a:pt x="44" y="236"/>
                        </a:lnTo>
                        <a:lnTo>
                          <a:pt x="42" y="240"/>
                        </a:lnTo>
                        <a:lnTo>
                          <a:pt x="38" y="238"/>
                        </a:lnTo>
                        <a:lnTo>
                          <a:pt x="36" y="238"/>
                        </a:lnTo>
                        <a:lnTo>
                          <a:pt x="34" y="240"/>
                        </a:lnTo>
                        <a:lnTo>
                          <a:pt x="34" y="240"/>
                        </a:lnTo>
                        <a:lnTo>
                          <a:pt x="34" y="242"/>
                        </a:lnTo>
                        <a:lnTo>
                          <a:pt x="32" y="242"/>
                        </a:lnTo>
                        <a:lnTo>
                          <a:pt x="30" y="240"/>
                        </a:lnTo>
                        <a:lnTo>
                          <a:pt x="28" y="240"/>
                        </a:lnTo>
                        <a:lnTo>
                          <a:pt x="28" y="240"/>
                        </a:lnTo>
                        <a:lnTo>
                          <a:pt x="28" y="240"/>
                        </a:lnTo>
                        <a:lnTo>
                          <a:pt x="28" y="242"/>
                        </a:lnTo>
                        <a:lnTo>
                          <a:pt x="30" y="242"/>
                        </a:lnTo>
                        <a:lnTo>
                          <a:pt x="28" y="244"/>
                        </a:lnTo>
                        <a:lnTo>
                          <a:pt x="28" y="244"/>
                        </a:lnTo>
                        <a:lnTo>
                          <a:pt x="32" y="246"/>
                        </a:lnTo>
                        <a:lnTo>
                          <a:pt x="32" y="248"/>
                        </a:lnTo>
                        <a:lnTo>
                          <a:pt x="30" y="252"/>
                        </a:lnTo>
                        <a:lnTo>
                          <a:pt x="30" y="266"/>
                        </a:lnTo>
                        <a:lnTo>
                          <a:pt x="30" y="266"/>
                        </a:lnTo>
                        <a:lnTo>
                          <a:pt x="28" y="270"/>
                        </a:lnTo>
                        <a:lnTo>
                          <a:pt x="30" y="270"/>
                        </a:lnTo>
                        <a:lnTo>
                          <a:pt x="32" y="270"/>
                        </a:lnTo>
                        <a:lnTo>
                          <a:pt x="32" y="274"/>
                        </a:lnTo>
                        <a:lnTo>
                          <a:pt x="32" y="274"/>
                        </a:lnTo>
                        <a:lnTo>
                          <a:pt x="30" y="278"/>
                        </a:lnTo>
                        <a:lnTo>
                          <a:pt x="32" y="278"/>
                        </a:lnTo>
                        <a:lnTo>
                          <a:pt x="34" y="280"/>
                        </a:lnTo>
                        <a:lnTo>
                          <a:pt x="36" y="286"/>
                        </a:lnTo>
                        <a:lnTo>
                          <a:pt x="36" y="286"/>
                        </a:lnTo>
                        <a:lnTo>
                          <a:pt x="40" y="288"/>
                        </a:lnTo>
                        <a:lnTo>
                          <a:pt x="48" y="288"/>
                        </a:lnTo>
                        <a:lnTo>
                          <a:pt x="56" y="288"/>
                        </a:lnTo>
                        <a:lnTo>
                          <a:pt x="58" y="290"/>
                        </a:lnTo>
                        <a:lnTo>
                          <a:pt x="58" y="290"/>
                        </a:lnTo>
                        <a:lnTo>
                          <a:pt x="58" y="290"/>
                        </a:lnTo>
                        <a:lnTo>
                          <a:pt x="60" y="292"/>
                        </a:lnTo>
                        <a:lnTo>
                          <a:pt x="60" y="292"/>
                        </a:lnTo>
                        <a:lnTo>
                          <a:pt x="64" y="290"/>
                        </a:lnTo>
                        <a:lnTo>
                          <a:pt x="72" y="284"/>
                        </a:lnTo>
                        <a:lnTo>
                          <a:pt x="72" y="284"/>
                        </a:lnTo>
                        <a:lnTo>
                          <a:pt x="74" y="284"/>
                        </a:lnTo>
                        <a:lnTo>
                          <a:pt x="78" y="286"/>
                        </a:lnTo>
                        <a:lnTo>
                          <a:pt x="82" y="288"/>
                        </a:lnTo>
                        <a:lnTo>
                          <a:pt x="82" y="288"/>
                        </a:lnTo>
                        <a:lnTo>
                          <a:pt x="86" y="290"/>
                        </a:lnTo>
                        <a:lnTo>
                          <a:pt x="86" y="292"/>
                        </a:lnTo>
                        <a:lnTo>
                          <a:pt x="84" y="294"/>
                        </a:lnTo>
                        <a:lnTo>
                          <a:pt x="84" y="296"/>
                        </a:lnTo>
                        <a:lnTo>
                          <a:pt x="88" y="300"/>
                        </a:lnTo>
                        <a:lnTo>
                          <a:pt x="88" y="300"/>
                        </a:lnTo>
                        <a:lnTo>
                          <a:pt x="92" y="302"/>
                        </a:lnTo>
                        <a:lnTo>
                          <a:pt x="92" y="306"/>
                        </a:lnTo>
                        <a:lnTo>
                          <a:pt x="92" y="306"/>
                        </a:lnTo>
                        <a:lnTo>
                          <a:pt x="92" y="306"/>
                        </a:lnTo>
                        <a:lnTo>
                          <a:pt x="94" y="308"/>
                        </a:lnTo>
                        <a:lnTo>
                          <a:pt x="108" y="314"/>
                        </a:lnTo>
                        <a:lnTo>
                          <a:pt x="108" y="314"/>
                        </a:lnTo>
                        <a:lnTo>
                          <a:pt x="112" y="314"/>
                        </a:lnTo>
                        <a:lnTo>
                          <a:pt x="116" y="314"/>
                        </a:lnTo>
                        <a:lnTo>
                          <a:pt x="116" y="314"/>
                        </a:lnTo>
                        <a:lnTo>
                          <a:pt x="120" y="316"/>
                        </a:lnTo>
                        <a:lnTo>
                          <a:pt x="120" y="318"/>
                        </a:lnTo>
                        <a:lnTo>
                          <a:pt x="118" y="318"/>
                        </a:lnTo>
                        <a:lnTo>
                          <a:pt x="122" y="320"/>
                        </a:lnTo>
                        <a:lnTo>
                          <a:pt x="122" y="320"/>
                        </a:lnTo>
                        <a:lnTo>
                          <a:pt x="126" y="320"/>
                        </a:lnTo>
                        <a:lnTo>
                          <a:pt x="130" y="320"/>
                        </a:lnTo>
                        <a:lnTo>
                          <a:pt x="130" y="320"/>
                        </a:lnTo>
                        <a:lnTo>
                          <a:pt x="134" y="324"/>
                        </a:lnTo>
                        <a:lnTo>
                          <a:pt x="136" y="324"/>
                        </a:lnTo>
                        <a:lnTo>
                          <a:pt x="140" y="326"/>
                        </a:lnTo>
                        <a:lnTo>
                          <a:pt x="140" y="326"/>
                        </a:lnTo>
                        <a:lnTo>
                          <a:pt x="142" y="328"/>
                        </a:lnTo>
                        <a:lnTo>
                          <a:pt x="144" y="330"/>
                        </a:lnTo>
                        <a:lnTo>
                          <a:pt x="142" y="334"/>
                        </a:lnTo>
                        <a:lnTo>
                          <a:pt x="136" y="336"/>
                        </a:lnTo>
                        <a:lnTo>
                          <a:pt x="136" y="336"/>
                        </a:lnTo>
                        <a:lnTo>
                          <a:pt x="128" y="338"/>
                        </a:lnTo>
                        <a:lnTo>
                          <a:pt x="124" y="338"/>
                        </a:lnTo>
                        <a:lnTo>
                          <a:pt x="120" y="336"/>
                        </a:lnTo>
                        <a:lnTo>
                          <a:pt x="120" y="336"/>
                        </a:lnTo>
                        <a:lnTo>
                          <a:pt x="116" y="334"/>
                        </a:lnTo>
                        <a:lnTo>
                          <a:pt x="114" y="334"/>
                        </a:lnTo>
                        <a:lnTo>
                          <a:pt x="112" y="336"/>
                        </a:lnTo>
                        <a:lnTo>
                          <a:pt x="112" y="338"/>
                        </a:lnTo>
                        <a:lnTo>
                          <a:pt x="112" y="342"/>
                        </a:lnTo>
                        <a:lnTo>
                          <a:pt x="122" y="354"/>
                        </a:lnTo>
                        <a:lnTo>
                          <a:pt x="122" y="354"/>
                        </a:lnTo>
                        <a:lnTo>
                          <a:pt x="124" y="354"/>
                        </a:lnTo>
                        <a:lnTo>
                          <a:pt x="126" y="352"/>
                        </a:lnTo>
                        <a:lnTo>
                          <a:pt x="130" y="352"/>
                        </a:lnTo>
                        <a:lnTo>
                          <a:pt x="142" y="352"/>
                        </a:lnTo>
                        <a:lnTo>
                          <a:pt x="142" y="352"/>
                        </a:lnTo>
                        <a:lnTo>
                          <a:pt x="156" y="352"/>
                        </a:lnTo>
                        <a:lnTo>
                          <a:pt x="160" y="354"/>
                        </a:lnTo>
                        <a:lnTo>
                          <a:pt x="160" y="356"/>
                        </a:lnTo>
                        <a:lnTo>
                          <a:pt x="164" y="358"/>
                        </a:lnTo>
                        <a:lnTo>
                          <a:pt x="164" y="358"/>
                        </a:lnTo>
                        <a:lnTo>
                          <a:pt x="168" y="358"/>
                        </a:lnTo>
                        <a:lnTo>
                          <a:pt x="168" y="362"/>
                        </a:lnTo>
                        <a:lnTo>
                          <a:pt x="166" y="368"/>
                        </a:lnTo>
                        <a:lnTo>
                          <a:pt x="164" y="372"/>
                        </a:lnTo>
                        <a:lnTo>
                          <a:pt x="166" y="372"/>
                        </a:lnTo>
                        <a:lnTo>
                          <a:pt x="170" y="372"/>
                        </a:lnTo>
                        <a:lnTo>
                          <a:pt x="170" y="372"/>
                        </a:lnTo>
                        <a:lnTo>
                          <a:pt x="182" y="372"/>
                        </a:lnTo>
                        <a:lnTo>
                          <a:pt x="182" y="374"/>
                        </a:lnTo>
                        <a:lnTo>
                          <a:pt x="188" y="378"/>
                        </a:lnTo>
                        <a:lnTo>
                          <a:pt x="188" y="378"/>
                        </a:lnTo>
                        <a:lnTo>
                          <a:pt x="192" y="380"/>
                        </a:lnTo>
                        <a:lnTo>
                          <a:pt x="194" y="384"/>
                        </a:lnTo>
                        <a:lnTo>
                          <a:pt x="194" y="386"/>
                        </a:lnTo>
                        <a:lnTo>
                          <a:pt x="194" y="388"/>
                        </a:lnTo>
                        <a:lnTo>
                          <a:pt x="192" y="392"/>
                        </a:lnTo>
                        <a:lnTo>
                          <a:pt x="192" y="392"/>
                        </a:lnTo>
                        <a:lnTo>
                          <a:pt x="196" y="394"/>
                        </a:lnTo>
                        <a:lnTo>
                          <a:pt x="196" y="394"/>
                        </a:lnTo>
                        <a:lnTo>
                          <a:pt x="206" y="398"/>
                        </a:lnTo>
                        <a:lnTo>
                          <a:pt x="208" y="402"/>
                        </a:lnTo>
                        <a:lnTo>
                          <a:pt x="212" y="402"/>
                        </a:lnTo>
                        <a:lnTo>
                          <a:pt x="220" y="398"/>
                        </a:lnTo>
                        <a:lnTo>
                          <a:pt x="220" y="398"/>
                        </a:lnTo>
                        <a:lnTo>
                          <a:pt x="226" y="396"/>
                        </a:lnTo>
                        <a:lnTo>
                          <a:pt x="228" y="396"/>
                        </a:lnTo>
                        <a:lnTo>
                          <a:pt x="234" y="398"/>
                        </a:lnTo>
                        <a:lnTo>
                          <a:pt x="242" y="404"/>
                        </a:lnTo>
                        <a:lnTo>
                          <a:pt x="246" y="406"/>
                        </a:lnTo>
                        <a:lnTo>
                          <a:pt x="252" y="406"/>
                        </a:lnTo>
                        <a:lnTo>
                          <a:pt x="252" y="406"/>
                        </a:lnTo>
                        <a:lnTo>
                          <a:pt x="260" y="406"/>
                        </a:lnTo>
                        <a:lnTo>
                          <a:pt x="264" y="408"/>
                        </a:lnTo>
                        <a:lnTo>
                          <a:pt x="268" y="410"/>
                        </a:lnTo>
                        <a:lnTo>
                          <a:pt x="278" y="410"/>
                        </a:lnTo>
                        <a:lnTo>
                          <a:pt x="278" y="410"/>
                        </a:lnTo>
                        <a:lnTo>
                          <a:pt x="284" y="412"/>
                        </a:lnTo>
                        <a:lnTo>
                          <a:pt x="284" y="412"/>
                        </a:lnTo>
                        <a:lnTo>
                          <a:pt x="280" y="418"/>
                        </a:lnTo>
                        <a:lnTo>
                          <a:pt x="276" y="422"/>
                        </a:lnTo>
                        <a:lnTo>
                          <a:pt x="274" y="422"/>
                        </a:lnTo>
                        <a:lnTo>
                          <a:pt x="278" y="424"/>
                        </a:lnTo>
                        <a:lnTo>
                          <a:pt x="278" y="424"/>
                        </a:lnTo>
                        <a:lnTo>
                          <a:pt x="280" y="424"/>
                        </a:lnTo>
                        <a:lnTo>
                          <a:pt x="280" y="426"/>
                        </a:lnTo>
                        <a:lnTo>
                          <a:pt x="278" y="430"/>
                        </a:lnTo>
                        <a:lnTo>
                          <a:pt x="278" y="432"/>
                        </a:lnTo>
                        <a:lnTo>
                          <a:pt x="280" y="432"/>
                        </a:lnTo>
                        <a:lnTo>
                          <a:pt x="280" y="432"/>
                        </a:lnTo>
                        <a:lnTo>
                          <a:pt x="284" y="436"/>
                        </a:lnTo>
                        <a:lnTo>
                          <a:pt x="286" y="438"/>
                        </a:lnTo>
                        <a:lnTo>
                          <a:pt x="286" y="440"/>
                        </a:lnTo>
                        <a:lnTo>
                          <a:pt x="284" y="444"/>
                        </a:lnTo>
                        <a:lnTo>
                          <a:pt x="280" y="448"/>
                        </a:lnTo>
                        <a:lnTo>
                          <a:pt x="274" y="452"/>
                        </a:lnTo>
                        <a:lnTo>
                          <a:pt x="274" y="452"/>
                        </a:lnTo>
                        <a:lnTo>
                          <a:pt x="270" y="454"/>
                        </a:lnTo>
                        <a:lnTo>
                          <a:pt x="264" y="458"/>
                        </a:lnTo>
                        <a:lnTo>
                          <a:pt x="262" y="462"/>
                        </a:lnTo>
                        <a:lnTo>
                          <a:pt x="262" y="470"/>
                        </a:lnTo>
                        <a:lnTo>
                          <a:pt x="262" y="470"/>
                        </a:lnTo>
                        <a:lnTo>
                          <a:pt x="282" y="466"/>
                        </a:lnTo>
                        <a:lnTo>
                          <a:pt x="284" y="466"/>
                        </a:lnTo>
                        <a:lnTo>
                          <a:pt x="284" y="468"/>
                        </a:lnTo>
                        <a:lnTo>
                          <a:pt x="280" y="472"/>
                        </a:lnTo>
                        <a:lnTo>
                          <a:pt x="280" y="472"/>
                        </a:lnTo>
                        <a:lnTo>
                          <a:pt x="274" y="476"/>
                        </a:lnTo>
                        <a:lnTo>
                          <a:pt x="268" y="478"/>
                        </a:lnTo>
                        <a:lnTo>
                          <a:pt x="262" y="478"/>
                        </a:lnTo>
                        <a:lnTo>
                          <a:pt x="260" y="478"/>
                        </a:lnTo>
                        <a:lnTo>
                          <a:pt x="268" y="484"/>
                        </a:lnTo>
                        <a:lnTo>
                          <a:pt x="268" y="484"/>
                        </a:lnTo>
                        <a:lnTo>
                          <a:pt x="274" y="492"/>
                        </a:lnTo>
                        <a:lnTo>
                          <a:pt x="274" y="492"/>
                        </a:lnTo>
                        <a:lnTo>
                          <a:pt x="272" y="492"/>
                        </a:lnTo>
                        <a:lnTo>
                          <a:pt x="266" y="492"/>
                        </a:lnTo>
                        <a:lnTo>
                          <a:pt x="264" y="494"/>
                        </a:lnTo>
                        <a:lnTo>
                          <a:pt x="262" y="498"/>
                        </a:lnTo>
                        <a:lnTo>
                          <a:pt x="262" y="498"/>
                        </a:lnTo>
                        <a:lnTo>
                          <a:pt x="258" y="502"/>
                        </a:lnTo>
                        <a:lnTo>
                          <a:pt x="256" y="506"/>
                        </a:lnTo>
                        <a:lnTo>
                          <a:pt x="252" y="506"/>
                        </a:lnTo>
                        <a:lnTo>
                          <a:pt x="248" y="506"/>
                        </a:lnTo>
                        <a:lnTo>
                          <a:pt x="250" y="510"/>
                        </a:lnTo>
                        <a:lnTo>
                          <a:pt x="250" y="510"/>
                        </a:lnTo>
                        <a:lnTo>
                          <a:pt x="252" y="512"/>
                        </a:lnTo>
                        <a:lnTo>
                          <a:pt x="256" y="514"/>
                        </a:lnTo>
                        <a:lnTo>
                          <a:pt x="268" y="518"/>
                        </a:lnTo>
                        <a:lnTo>
                          <a:pt x="282" y="524"/>
                        </a:lnTo>
                        <a:lnTo>
                          <a:pt x="290" y="528"/>
                        </a:lnTo>
                        <a:lnTo>
                          <a:pt x="298" y="534"/>
                        </a:lnTo>
                        <a:lnTo>
                          <a:pt x="298" y="534"/>
                        </a:lnTo>
                        <a:lnTo>
                          <a:pt x="300" y="534"/>
                        </a:lnTo>
                        <a:lnTo>
                          <a:pt x="304" y="532"/>
                        </a:lnTo>
                        <a:lnTo>
                          <a:pt x="312" y="532"/>
                        </a:lnTo>
                        <a:lnTo>
                          <a:pt x="322" y="536"/>
                        </a:lnTo>
                        <a:lnTo>
                          <a:pt x="322" y="536"/>
                        </a:lnTo>
                        <a:lnTo>
                          <a:pt x="338" y="540"/>
                        </a:lnTo>
                        <a:lnTo>
                          <a:pt x="352" y="542"/>
                        </a:lnTo>
                        <a:lnTo>
                          <a:pt x="364" y="544"/>
                        </a:lnTo>
                        <a:lnTo>
                          <a:pt x="370" y="546"/>
                        </a:lnTo>
                        <a:lnTo>
                          <a:pt x="376" y="550"/>
                        </a:lnTo>
                        <a:lnTo>
                          <a:pt x="376" y="550"/>
                        </a:lnTo>
                        <a:lnTo>
                          <a:pt x="386" y="556"/>
                        </a:lnTo>
                        <a:lnTo>
                          <a:pt x="392" y="556"/>
                        </a:lnTo>
                        <a:lnTo>
                          <a:pt x="400" y="554"/>
                        </a:lnTo>
                        <a:lnTo>
                          <a:pt x="406" y="554"/>
                        </a:lnTo>
                        <a:lnTo>
                          <a:pt x="414" y="556"/>
                        </a:lnTo>
                        <a:lnTo>
                          <a:pt x="414" y="556"/>
                        </a:lnTo>
                        <a:lnTo>
                          <a:pt x="422" y="560"/>
                        </a:lnTo>
                        <a:lnTo>
                          <a:pt x="426" y="564"/>
                        </a:lnTo>
                        <a:lnTo>
                          <a:pt x="432" y="570"/>
                        </a:lnTo>
                        <a:lnTo>
                          <a:pt x="448" y="578"/>
                        </a:lnTo>
                        <a:lnTo>
                          <a:pt x="448" y="578"/>
                        </a:lnTo>
                        <a:lnTo>
                          <a:pt x="462" y="584"/>
                        </a:lnTo>
                        <a:lnTo>
                          <a:pt x="470" y="584"/>
                        </a:lnTo>
                        <a:lnTo>
                          <a:pt x="478" y="580"/>
                        </a:lnTo>
                        <a:lnTo>
                          <a:pt x="484" y="576"/>
                        </a:lnTo>
                        <a:lnTo>
                          <a:pt x="484" y="576"/>
                        </a:lnTo>
                        <a:lnTo>
                          <a:pt x="472" y="566"/>
                        </a:lnTo>
                        <a:lnTo>
                          <a:pt x="464" y="556"/>
                        </a:lnTo>
                        <a:lnTo>
                          <a:pt x="460" y="546"/>
                        </a:lnTo>
                        <a:lnTo>
                          <a:pt x="456" y="536"/>
                        </a:lnTo>
                        <a:lnTo>
                          <a:pt x="456" y="536"/>
                        </a:lnTo>
                        <a:lnTo>
                          <a:pt x="454" y="532"/>
                        </a:lnTo>
                        <a:lnTo>
                          <a:pt x="450" y="528"/>
                        </a:lnTo>
                        <a:lnTo>
                          <a:pt x="440" y="522"/>
                        </a:lnTo>
                        <a:lnTo>
                          <a:pt x="434" y="518"/>
                        </a:lnTo>
                        <a:lnTo>
                          <a:pt x="436" y="518"/>
                        </a:lnTo>
                        <a:lnTo>
                          <a:pt x="440" y="516"/>
                        </a:lnTo>
                        <a:lnTo>
                          <a:pt x="440" y="516"/>
                        </a:lnTo>
                        <a:lnTo>
                          <a:pt x="444" y="514"/>
                        </a:lnTo>
                        <a:lnTo>
                          <a:pt x="444" y="512"/>
                        </a:lnTo>
                        <a:lnTo>
                          <a:pt x="440" y="510"/>
                        </a:lnTo>
                        <a:lnTo>
                          <a:pt x="440" y="508"/>
                        </a:lnTo>
                        <a:lnTo>
                          <a:pt x="440" y="508"/>
                        </a:lnTo>
                        <a:lnTo>
                          <a:pt x="440" y="508"/>
                        </a:lnTo>
                        <a:lnTo>
                          <a:pt x="444" y="506"/>
                        </a:lnTo>
                        <a:lnTo>
                          <a:pt x="444" y="504"/>
                        </a:lnTo>
                        <a:lnTo>
                          <a:pt x="444" y="496"/>
                        </a:lnTo>
                        <a:lnTo>
                          <a:pt x="442" y="490"/>
                        </a:lnTo>
                        <a:lnTo>
                          <a:pt x="444" y="490"/>
                        </a:lnTo>
                        <a:lnTo>
                          <a:pt x="448" y="492"/>
                        </a:lnTo>
                        <a:lnTo>
                          <a:pt x="448" y="492"/>
                        </a:lnTo>
                        <a:lnTo>
                          <a:pt x="452" y="494"/>
                        </a:lnTo>
                        <a:lnTo>
                          <a:pt x="458" y="492"/>
                        </a:lnTo>
                        <a:lnTo>
                          <a:pt x="460" y="488"/>
                        </a:lnTo>
                        <a:lnTo>
                          <a:pt x="462" y="484"/>
                        </a:lnTo>
                        <a:lnTo>
                          <a:pt x="462" y="484"/>
                        </a:lnTo>
                        <a:lnTo>
                          <a:pt x="462" y="480"/>
                        </a:lnTo>
                        <a:lnTo>
                          <a:pt x="466" y="482"/>
                        </a:lnTo>
                        <a:lnTo>
                          <a:pt x="470" y="482"/>
                        </a:lnTo>
                        <a:lnTo>
                          <a:pt x="474" y="480"/>
                        </a:lnTo>
                        <a:lnTo>
                          <a:pt x="474" y="480"/>
                        </a:lnTo>
                        <a:lnTo>
                          <a:pt x="474" y="478"/>
                        </a:lnTo>
                        <a:lnTo>
                          <a:pt x="470" y="476"/>
                        </a:lnTo>
                        <a:lnTo>
                          <a:pt x="470" y="476"/>
                        </a:lnTo>
                        <a:lnTo>
                          <a:pt x="468" y="474"/>
                        </a:lnTo>
                        <a:lnTo>
                          <a:pt x="468" y="472"/>
                        </a:lnTo>
                        <a:lnTo>
                          <a:pt x="472" y="470"/>
                        </a:lnTo>
                        <a:lnTo>
                          <a:pt x="472" y="468"/>
                        </a:lnTo>
                        <a:lnTo>
                          <a:pt x="472" y="466"/>
                        </a:lnTo>
                        <a:lnTo>
                          <a:pt x="470" y="462"/>
                        </a:lnTo>
                        <a:lnTo>
                          <a:pt x="462" y="458"/>
                        </a:lnTo>
                        <a:lnTo>
                          <a:pt x="462" y="458"/>
                        </a:lnTo>
                        <a:lnTo>
                          <a:pt x="454" y="452"/>
                        </a:lnTo>
                        <a:lnTo>
                          <a:pt x="448" y="452"/>
                        </a:lnTo>
                        <a:lnTo>
                          <a:pt x="446" y="452"/>
                        </a:lnTo>
                        <a:lnTo>
                          <a:pt x="442" y="448"/>
                        </a:lnTo>
                        <a:lnTo>
                          <a:pt x="442" y="448"/>
                        </a:lnTo>
                        <a:lnTo>
                          <a:pt x="440" y="448"/>
                        </a:lnTo>
                        <a:lnTo>
                          <a:pt x="438" y="448"/>
                        </a:lnTo>
                        <a:lnTo>
                          <a:pt x="434" y="450"/>
                        </a:lnTo>
                        <a:lnTo>
                          <a:pt x="432" y="450"/>
                        </a:lnTo>
                        <a:lnTo>
                          <a:pt x="430" y="450"/>
                        </a:lnTo>
                        <a:lnTo>
                          <a:pt x="428" y="448"/>
                        </a:lnTo>
                        <a:lnTo>
                          <a:pt x="426" y="444"/>
                        </a:lnTo>
                        <a:lnTo>
                          <a:pt x="426" y="444"/>
                        </a:lnTo>
                        <a:lnTo>
                          <a:pt x="426" y="440"/>
                        </a:lnTo>
                        <a:lnTo>
                          <a:pt x="424" y="440"/>
                        </a:lnTo>
                        <a:lnTo>
                          <a:pt x="418" y="438"/>
                        </a:lnTo>
                        <a:lnTo>
                          <a:pt x="418" y="436"/>
                        </a:lnTo>
                        <a:lnTo>
                          <a:pt x="416" y="434"/>
                        </a:lnTo>
                        <a:lnTo>
                          <a:pt x="420" y="426"/>
                        </a:lnTo>
                        <a:lnTo>
                          <a:pt x="420" y="426"/>
                        </a:lnTo>
                        <a:lnTo>
                          <a:pt x="424" y="416"/>
                        </a:lnTo>
                        <a:lnTo>
                          <a:pt x="424" y="414"/>
                        </a:lnTo>
                        <a:lnTo>
                          <a:pt x="422" y="410"/>
                        </a:lnTo>
                        <a:lnTo>
                          <a:pt x="422" y="406"/>
                        </a:lnTo>
                        <a:lnTo>
                          <a:pt x="422" y="406"/>
                        </a:lnTo>
                        <a:lnTo>
                          <a:pt x="424" y="400"/>
                        </a:lnTo>
                        <a:lnTo>
                          <a:pt x="426" y="394"/>
                        </a:lnTo>
                        <a:lnTo>
                          <a:pt x="428" y="392"/>
                        </a:lnTo>
                        <a:lnTo>
                          <a:pt x="430" y="396"/>
                        </a:lnTo>
                        <a:lnTo>
                          <a:pt x="430" y="396"/>
                        </a:lnTo>
                        <a:lnTo>
                          <a:pt x="436" y="406"/>
                        </a:lnTo>
                        <a:lnTo>
                          <a:pt x="440" y="410"/>
                        </a:lnTo>
                        <a:lnTo>
                          <a:pt x="446" y="408"/>
                        </a:lnTo>
                        <a:lnTo>
                          <a:pt x="446" y="408"/>
                        </a:lnTo>
                        <a:lnTo>
                          <a:pt x="448" y="406"/>
                        </a:lnTo>
                        <a:lnTo>
                          <a:pt x="448" y="402"/>
                        </a:lnTo>
                        <a:lnTo>
                          <a:pt x="444" y="398"/>
                        </a:lnTo>
                        <a:lnTo>
                          <a:pt x="438" y="392"/>
                        </a:lnTo>
                        <a:lnTo>
                          <a:pt x="438" y="392"/>
                        </a:lnTo>
                        <a:lnTo>
                          <a:pt x="442" y="392"/>
                        </a:lnTo>
                        <a:lnTo>
                          <a:pt x="446" y="394"/>
                        </a:lnTo>
                        <a:lnTo>
                          <a:pt x="448" y="394"/>
                        </a:lnTo>
                        <a:lnTo>
                          <a:pt x="450" y="390"/>
                        </a:lnTo>
                        <a:lnTo>
                          <a:pt x="450" y="390"/>
                        </a:lnTo>
                        <a:lnTo>
                          <a:pt x="454" y="386"/>
                        </a:lnTo>
                        <a:lnTo>
                          <a:pt x="458" y="382"/>
                        </a:lnTo>
                        <a:lnTo>
                          <a:pt x="462" y="378"/>
                        </a:lnTo>
                        <a:lnTo>
                          <a:pt x="462" y="374"/>
                        </a:lnTo>
                        <a:lnTo>
                          <a:pt x="462" y="374"/>
                        </a:lnTo>
                        <a:lnTo>
                          <a:pt x="462" y="370"/>
                        </a:lnTo>
                        <a:lnTo>
                          <a:pt x="466" y="368"/>
                        </a:lnTo>
                        <a:lnTo>
                          <a:pt x="470" y="370"/>
                        </a:lnTo>
                        <a:lnTo>
                          <a:pt x="472" y="372"/>
                        </a:lnTo>
                        <a:lnTo>
                          <a:pt x="472" y="372"/>
                        </a:lnTo>
                        <a:lnTo>
                          <a:pt x="476" y="376"/>
                        </a:lnTo>
                        <a:lnTo>
                          <a:pt x="478" y="376"/>
                        </a:lnTo>
                        <a:lnTo>
                          <a:pt x="484" y="374"/>
                        </a:lnTo>
                        <a:lnTo>
                          <a:pt x="488" y="370"/>
                        </a:lnTo>
                        <a:lnTo>
                          <a:pt x="492" y="370"/>
                        </a:lnTo>
                        <a:lnTo>
                          <a:pt x="494" y="372"/>
                        </a:lnTo>
                        <a:lnTo>
                          <a:pt x="494" y="372"/>
                        </a:lnTo>
                        <a:lnTo>
                          <a:pt x="500" y="374"/>
                        </a:lnTo>
                        <a:lnTo>
                          <a:pt x="502" y="374"/>
                        </a:lnTo>
                        <a:lnTo>
                          <a:pt x="508" y="372"/>
                        </a:lnTo>
                        <a:lnTo>
                          <a:pt x="510" y="372"/>
                        </a:lnTo>
                        <a:lnTo>
                          <a:pt x="514" y="372"/>
                        </a:lnTo>
                        <a:lnTo>
                          <a:pt x="520" y="376"/>
                        </a:lnTo>
                        <a:lnTo>
                          <a:pt x="528" y="382"/>
                        </a:lnTo>
                        <a:lnTo>
                          <a:pt x="528" y="382"/>
                        </a:lnTo>
                        <a:lnTo>
                          <a:pt x="530" y="384"/>
                        </a:lnTo>
                        <a:lnTo>
                          <a:pt x="532" y="384"/>
                        </a:lnTo>
                        <a:lnTo>
                          <a:pt x="534" y="380"/>
                        </a:lnTo>
                        <a:lnTo>
                          <a:pt x="534" y="378"/>
                        </a:lnTo>
                        <a:lnTo>
                          <a:pt x="536" y="378"/>
                        </a:lnTo>
                        <a:lnTo>
                          <a:pt x="542" y="380"/>
                        </a:lnTo>
                        <a:lnTo>
                          <a:pt x="550" y="384"/>
                        </a:lnTo>
                        <a:lnTo>
                          <a:pt x="550" y="384"/>
                        </a:lnTo>
                        <a:lnTo>
                          <a:pt x="558" y="388"/>
                        </a:lnTo>
                        <a:lnTo>
                          <a:pt x="562" y="390"/>
                        </a:lnTo>
                        <a:lnTo>
                          <a:pt x="564" y="386"/>
                        </a:lnTo>
                        <a:lnTo>
                          <a:pt x="564" y="382"/>
                        </a:lnTo>
                        <a:lnTo>
                          <a:pt x="564" y="382"/>
                        </a:lnTo>
                        <a:lnTo>
                          <a:pt x="566" y="380"/>
                        </a:lnTo>
                        <a:lnTo>
                          <a:pt x="568" y="382"/>
                        </a:lnTo>
                        <a:lnTo>
                          <a:pt x="572" y="382"/>
                        </a:lnTo>
                        <a:lnTo>
                          <a:pt x="578" y="382"/>
                        </a:lnTo>
                        <a:lnTo>
                          <a:pt x="578" y="382"/>
                        </a:lnTo>
                        <a:lnTo>
                          <a:pt x="584" y="380"/>
                        </a:lnTo>
                        <a:lnTo>
                          <a:pt x="586" y="384"/>
                        </a:lnTo>
                        <a:lnTo>
                          <a:pt x="588" y="386"/>
                        </a:lnTo>
                        <a:lnTo>
                          <a:pt x="594" y="384"/>
                        </a:lnTo>
                        <a:lnTo>
                          <a:pt x="594" y="384"/>
                        </a:lnTo>
                        <a:lnTo>
                          <a:pt x="610" y="380"/>
                        </a:lnTo>
                        <a:lnTo>
                          <a:pt x="616" y="378"/>
                        </a:lnTo>
                        <a:lnTo>
                          <a:pt x="618" y="380"/>
                        </a:lnTo>
                        <a:lnTo>
                          <a:pt x="618" y="382"/>
                        </a:lnTo>
                        <a:lnTo>
                          <a:pt x="618" y="382"/>
                        </a:lnTo>
                        <a:lnTo>
                          <a:pt x="614" y="386"/>
                        </a:lnTo>
                        <a:lnTo>
                          <a:pt x="614" y="390"/>
                        </a:lnTo>
                        <a:lnTo>
                          <a:pt x="616" y="392"/>
                        </a:lnTo>
                        <a:lnTo>
                          <a:pt x="620" y="392"/>
                        </a:lnTo>
                        <a:lnTo>
                          <a:pt x="626" y="390"/>
                        </a:lnTo>
                        <a:lnTo>
                          <a:pt x="630" y="388"/>
                        </a:lnTo>
                        <a:lnTo>
                          <a:pt x="632" y="384"/>
                        </a:lnTo>
                        <a:lnTo>
                          <a:pt x="632" y="384"/>
                        </a:lnTo>
                        <a:lnTo>
                          <a:pt x="646" y="390"/>
                        </a:lnTo>
                        <a:lnTo>
                          <a:pt x="656" y="392"/>
                        </a:lnTo>
                        <a:lnTo>
                          <a:pt x="662" y="392"/>
                        </a:lnTo>
                        <a:lnTo>
                          <a:pt x="666" y="390"/>
                        </a:lnTo>
                        <a:lnTo>
                          <a:pt x="668" y="388"/>
                        </a:lnTo>
                        <a:lnTo>
                          <a:pt x="668" y="382"/>
                        </a:lnTo>
                        <a:lnTo>
                          <a:pt x="668" y="382"/>
                        </a:lnTo>
                        <a:lnTo>
                          <a:pt x="668" y="378"/>
                        </a:lnTo>
                        <a:lnTo>
                          <a:pt x="666" y="376"/>
                        </a:lnTo>
                        <a:lnTo>
                          <a:pt x="662" y="374"/>
                        </a:lnTo>
                        <a:lnTo>
                          <a:pt x="658" y="374"/>
                        </a:lnTo>
                        <a:lnTo>
                          <a:pt x="646" y="374"/>
                        </a:lnTo>
                        <a:lnTo>
                          <a:pt x="630" y="370"/>
                        </a:lnTo>
                        <a:lnTo>
                          <a:pt x="630" y="370"/>
                        </a:lnTo>
                        <a:lnTo>
                          <a:pt x="624" y="368"/>
                        </a:lnTo>
                        <a:lnTo>
                          <a:pt x="624" y="368"/>
                        </a:lnTo>
                        <a:lnTo>
                          <a:pt x="624" y="366"/>
                        </a:lnTo>
                        <a:lnTo>
                          <a:pt x="634" y="360"/>
                        </a:lnTo>
                        <a:lnTo>
                          <a:pt x="644" y="356"/>
                        </a:lnTo>
                        <a:lnTo>
                          <a:pt x="644" y="356"/>
                        </a:lnTo>
                        <a:lnTo>
                          <a:pt x="644" y="354"/>
                        </a:lnTo>
                        <a:lnTo>
                          <a:pt x="638" y="354"/>
                        </a:lnTo>
                        <a:lnTo>
                          <a:pt x="638" y="354"/>
                        </a:lnTo>
                        <a:lnTo>
                          <a:pt x="630" y="352"/>
                        </a:lnTo>
                        <a:lnTo>
                          <a:pt x="630" y="350"/>
                        </a:lnTo>
                        <a:lnTo>
                          <a:pt x="630" y="350"/>
                        </a:lnTo>
                        <a:lnTo>
                          <a:pt x="632" y="348"/>
                        </a:lnTo>
                        <a:lnTo>
                          <a:pt x="628" y="346"/>
                        </a:lnTo>
                        <a:lnTo>
                          <a:pt x="628" y="346"/>
                        </a:lnTo>
                        <a:lnTo>
                          <a:pt x="624" y="344"/>
                        </a:lnTo>
                        <a:lnTo>
                          <a:pt x="624" y="342"/>
                        </a:lnTo>
                        <a:lnTo>
                          <a:pt x="630" y="336"/>
                        </a:lnTo>
                        <a:lnTo>
                          <a:pt x="630" y="336"/>
                        </a:lnTo>
                        <a:lnTo>
                          <a:pt x="634" y="334"/>
                        </a:lnTo>
                        <a:lnTo>
                          <a:pt x="642" y="332"/>
                        </a:lnTo>
                        <a:lnTo>
                          <a:pt x="662" y="330"/>
                        </a:lnTo>
                        <a:lnTo>
                          <a:pt x="662" y="330"/>
                        </a:lnTo>
                        <a:lnTo>
                          <a:pt x="682" y="330"/>
                        </a:lnTo>
                        <a:lnTo>
                          <a:pt x="698" y="330"/>
                        </a:lnTo>
                        <a:lnTo>
                          <a:pt x="704" y="328"/>
                        </a:lnTo>
                        <a:lnTo>
                          <a:pt x="706" y="326"/>
                        </a:lnTo>
                        <a:lnTo>
                          <a:pt x="706" y="326"/>
                        </a:lnTo>
                        <a:lnTo>
                          <a:pt x="710" y="324"/>
                        </a:lnTo>
                        <a:lnTo>
                          <a:pt x="718" y="324"/>
                        </a:lnTo>
                        <a:lnTo>
                          <a:pt x="744" y="322"/>
                        </a:lnTo>
                        <a:lnTo>
                          <a:pt x="744" y="322"/>
                        </a:lnTo>
                        <a:lnTo>
                          <a:pt x="750" y="320"/>
                        </a:lnTo>
                        <a:lnTo>
                          <a:pt x="754" y="318"/>
                        </a:lnTo>
                        <a:lnTo>
                          <a:pt x="758" y="314"/>
                        </a:lnTo>
                        <a:lnTo>
                          <a:pt x="764" y="310"/>
                        </a:lnTo>
                        <a:lnTo>
                          <a:pt x="766" y="310"/>
                        </a:lnTo>
                        <a:lnTo>
                          <a:pt x="772" y="310"/>
                        </a:lnTo>
                        <a:lnTo>
                          <a:pt x="772" y="310"/>
                        </a:lnTo>
                        <a:lnTo>
                          <a:pt x="780" y="310"/>
                        </a:lnTo>
                        <a:lnTo>
                          <a:pt x="786" y="308"/>
                        </a:lnTo>
                        <a:lnTo>
                          <a:pt x="790" y="308"/>
                        </a:lnTo>
                        <a:lnTo>
                          <a:pt x="790" y="312"/>
                        </a:lnTo>
                        <a:lnTo>
                          <a:pt x="790" y="312"/>
                        </a:lnTo>
                        <a:lnTo>
                          <a:pt x="792" y="318"/>
                        </a:lnTo>
                        <a:lnTo>
                          <a:pt x="794" y="320"/>
                        </a:lnTo>
                        <a:lnTo>
                          <a:pt x="796" y="320"/>
                        </a:lnTo>
                        <a:lnTo>
                          <a:pt x="794" y="324"/>
                        </a:lnTo>
                        <a:lnTo>
                          <a:pt x="794" y="324"/>
                        </a:lnTo>
                        <a:lnTo>
                          <a:pt x="794" y="324"/>
                        </a:lnTo>
                        <a:lnTo>
                          <a:pt x="794" y="326"/>
                        </a:lnTo>
                        <a:lnTo>
                          <a:pt x="798" y="330"/>
                        </a:lnTo>
                        <a:lnTo>
                          <a:pt x="804" y="330"/>
                        </a:lnTo>
                        <a:lnTo>
                          <a:pt x="808" y="330"/>
                        </a:lnTo>
                        <a:lnTo>
                          <a:pt x="808" y="330"/>
                        </a:lnTo>
                        <a:lnTo>
                          <a:pt x="810" y="328"/>
                        </a:lnTo>
                        <a:lnTo>
                          <a:pt x="812" y="328"/>
                        </a:lnTo>
                        <a:lnTo>
                          <a:pt x="814" y="330"/>
                        </a:lnTo>
                        <a:lnTo>
                          <a:pt x="818" y="332"/>
                        </a:lnTo>
                        <a:lnTo>
                          <a:pt x="820" y="332"/>
                        </a:lnTo>
                        <a:lnTo>
                          <a:pt x="822" y="330"/>
                        </a:lnTo>
                        <a:lnTo>
                          <a:pt x="822" y="330"/>
                        </a:lnTo>
                        <a:lnTo>
                          <a:pt x="824" y="328"/>
                        </a:lnTo>
                        <a:lnTo>
                          <a:pt x="828" y="330"/>
                        </a:lnTo>
                        <a:lnTo>
                          <a:pt x="832" y="330"/>
                        </a:lnTo>
                        <a:lnTo>
                          <a:pt x="838" y="330"/>
                        </a:lnTo>
                        <a:lnTo>
                          <a:pt x="838" y="330"/>
                        </a:lnTo>
                        <a:lnTo>
                          <a:pt x="836" y="340"/>
                        </a:lnTo>
                        <a:lnTo>
                          <a:pt x="838" y="342"/>
                        </a:lnTo>
                        <a:lnTo>
                          <a:pt x="838" y="342"/>
                        </a:lnTo>
                        <a:lnTo>
                          <a:pt x="844" y="340"/>
                        </a:lnTo>
                        <a:lnTo>
                          <a:pt x="848" y="340"/>
                        </a:lnTo>
                        <a:lnTo>
                          <a:pt x="854" y="340"/>
                        </a:lnTo>
                        <a:lnTo>
                          <a:pt x="854" y="340"/>
                        </a:lnTo>
                        <a:lnTo>
                          <a:pt x="860" y="340"/>
                        </a:lnTo>
                        <a:lnTo>
                          <a:pt x="860" y="338"/>
                        </a:lnTo>
                        <a:lnTo>
                          <a:pt x="858" y="334"/>
                        </a:lnTo>
                        <a:lnTo>
                          <a:pt x="858" y="334"/>
                        </a:lnTo>
                        <a:lnTo>
                          <a:pt x="860" y="332"/>
                        </a:lnTo>
                        <a:lnTo>
                          <a:pt x="860" y="332"/>
                        </a:lnTo>
                        <a:lnTo>
                          <a:pt x="866" y="332"/>
                        </a:lnTo>
                        <a:lnTo>
                          <a:pt x="868" y="330"/>
                        </a:lnTo>
                        <a:lnTo>
                          <a:pt x="872" y="328"/>
                        </a:lnTo>
                        <a:lnTo>
                          <a:pt x="876" y="328"/>
                        </a:lnTo>
                        <a:lnTo>
                          <a:pt x="876" y="328"/>
                        </a:lnTo>
                        <a:lnTo>
                          <a:pt x="886" y="328"/>
                        </a:lnTo>
                        <a:lnTo>
                          <a:pt x="886" y="330"/>
                        </a:lnTo>
                        <a:lnTo>
                          <a:pt x="878" y="334"/>
                        </a:lnTo>
                        <a:lnTo>
                          <a:pt x="878" y="334"/>
                        </a:lnTo>
                        <a:lnTo>
                          <a:pt x="902" y="342"/>
                        </a:lnTo>
                        <a:lnTo>
                          <a:pt x="922" y="350"/>
                        </a:lnTo>
                        <a:lnTo>
                          <a:pt x="936" y="358"/>
                        </a:lnTo>
                        <a:lnTo>
                          <a:pt x="948" y="364"/>
                        </a:lnTo>
                        <a:lnTo>
                          <a:pt x="964" y="380"/>
                        </a:lnTo>
                        <a:lnTo>
                          <a:pt x="978" y="392"/>
                        </a:lnTo>
                        <a:lnTo>
                          <a:pt x="978" y="392"/>
                        </a:lnTo>
                        <a:lnTo>
                          <a:pt x="984" y="396"/>
                        </a:lnTo>
                        <a:lnTo>
                          <a:pt x="988" y="396"/>
                        </a:lnTo>
                        <a:lnTo>
                          <a:pt x="990" y="394"/>
                        </a:lnTo>
                        <a:lnTo>
                          <a:pt x="992" y="390"/>
                        </a:lnTo>
                        <a:lnTo>
                          <a:pt x="994" y="386"/>
                        </a:lnTo>
                        <a:lnTo>
                          <a:pt x="996" y="386"/>
                        </a:lnTo>
                        <a:lnTo>
                          <a:pt x="1000" y="392"/>
                        </a:lnTo>
                        <a:lnTo>
                          <a:pt x="1000" y="392"/>
                        </a:lnTo>
                        <a:lnTo>
                          <a:pt x="1004" y="396"/>
                        </a:lnTo>
                        <a:lnTo>
                          <a:pt x="1008" y="398"/>
                        </a:lnTo>
                        <a:lnTo>
                          <a:pt x="1014" y="396"/>
                        </a:lnTo>
                        <a:lnTo>
                          <a:pt x="1022" y="396"/>
                        </a:lnTo>
                        <a:lnTo>
                          <a:pt x="1034" y="392"/>
                        </a:lnTo>
                        <a:lnTo>
                          <a:pt x="1040" y="392"/>
                        </a:lnTo>
                        <a:lnTo>
                          <a:pt x="1044" y="396"/>
                        </a:lnTo>
                        <a:lnTo>
                          <a:pt x="1044" y="396"/>
                        </a:lnTo>
                        <a:lnTo>
                          <a:pt x="1048" y="402"/>
                        </a:lnTo>
                        <a:lnTo>
                          <a:pt x="1052" y="402"/>
                        </a:lnTo>
                        <a:lnTo>
                          <a:pt x="1056" y="404"/>
                        </a:lnTo>
                        <a:lnTo>
                          <a:pt x="1062" y="410"/>
                        </a:lnTo>
                        <a:lnTo>
                          <a:pt x="1062" y="410"/>
                        </a:lnTo>
                        <a:lnTo>
                          <a:pt x="1064" y="412"/>
                        </a:lnTo>
                        <a:lnTo>
                          <a:pt x="1066" y="414"/>
                        </a:lnTo>
                        <a:lnTo>
                          <a:pt x="1070" y="412"/>
                        </a:lnTo>
                        <a:lnTo>
                          <a:pt x="1074" y="412"/>
                        </a:lnTo>
                        <a:lnTo>
                          <a:pt x="1076" y="412"/>
                        </a:lnTo>
                        <a:lnTo>
                          <a:pt x="1080" y="416"/>
                        </a:lnTo>
                        <a:lnTo>
                          <a:pt x="1080" y="416"/>
                        </a:lnTo>
                        <a:lnTo>
                          <a:pt x="1084" y="418"/>
                        </a:lnTo>
                        <a:lnTo>
                          <a:pt x="1088" y="418"/>
                        </a:lnTo>
                        <a:lnTo>
                          <a:pt x="1092" y="418"/>
                        </a:lnTo>
                        <a:lnTo>
                          <a:pt x="1094" y="416"/>
                        </a:lnTo>
                        <a:lnTo>
                          <a:pt x="1094" y="416"/>
                        </a:lnTo>
                        <a:lnTo>
                          <a:pt x="1096" y="414"/>
                        </a:lnTo>
                        <a:lnTo>
                          <a:pt x="1098" y="412"/>
                        </a:lnTo>
                        <a:lnTo>
                          <a:pt x="1106" y="412"/>
                        </a:lnTo>
                        <a:lnTo>
                          <a:pt x="1106" y="412"/>
                        </a:lnTo>
                        <a:lnTo>
                          <a:pt x="1110" y="412"/>
                        </a:lnTo>
                        <a:lnTo>
                          <a:pt x="1112" y="412"/>
                        </a:lnTo>
                        <a:lnTo>
                          <a:pt x="1116" y="410"/>
                        </a:lnTo>
                        <a:lnTo>
                          <a:pt x="1124" y="410"/>
                        </a:lnTo>
                        <a:lnTo>
                          <a:pt x="1124" y="410"/>
                        </a:lnTo>
                        <a:lnTo>
                          <a:pt x="1130" y="412"/>
                        </a:lnTo>
                        <a:lnTo>
                          <a:pt x="1134" y="416"/>
                        </a:lnTo>
                        <a:lnTo>
                          <a:pt x="1138" y="420"/>
                        </a:lnTo>
                        <a:lnTo>
                          <a:pt x="1142" y="422"/>
                        </a:lnTo>
                        <a:lnTo>
                          <a:pt x="1142" y="422"/>
                        </a:lnTo>
                        <a:lnTo>
                          <a:pt x="1144" y="422"/>
                        </a:lnTo>
                        <a:lnTo>
                          <a:pt x="1144" y="424"/>
                        </a:lnTo>
                        <a:lnTo>
                          <a:pt x="1146" y="426"/>
                        </a:lnTo>
                        <a:lnTo>
                          <a:pt x="1154" y="426"/>
                        </a:lnTo>
                        <a:lnTo>
                          <a:pt x="1154" y="426"/>
                        </a:lnTo>
                        <a:lnTo>
                          <a:pt x="1158" y="426"/>
                        </a:lnTo>
                        <a:lnTo>
                          <a:pt x="1160" y="426"/>
                        </a:lnTo>
                        <a:lnTo>
                          <a:pt x="1160" y="426"/>
                        </a:lnTo>
                        <a:lnTo>
                          <a:pt x="1162" y="424"/>
                        </a:lnTo>
                        <a:lnTo>
                          <a:pt x="1162" y="420"/>
                        </a:lnTo>
                        <a:lnTo>
                          <a:pt x="1164" y="418"/>
                        </a:lnTo>
                        <a:lnTo>
                          <a:pt x="1168" y="416"/>
                        </a:lnTo>
                        <a:lnTo>
                          <a:pt x="1168" y="416"/>
                        </a:lnTo>
                        <a:lnTo>
                          <a:pt x="1172" y="414"/>
                        </a:lnTo>
                        <a:lnTo>
                          <a:pt x="1176" y="410"/>
                        </a:lnTo>
                        <a:lnTo>
                          <a:pt x="1178" y="408"/>
                        </a:lnTo>
                        <a:lnTo>
                          <a:pt x="1182" y="410"/>
                        </a:lnTo>
                        <a:lnTo>
                          <a:pt x="1182" y="410"/>
                        </a:lnTo>
                        <a:lnTo>
                          <a:pt x="1184" y="410"/>
                        </a:lnTo>
                        <a:lnTo>
                          <a:pt x="1184" y="410"/>
                        </a:lnTo>
                        <a:lnTo>
                          <a:pt x="1184" y="406"/>
                        </a:lnTo>
                        <a:lnTo>
                          <a:pt x="1186" y="402"/>
                        </a:lnTo>
                        <a:lnTo>
                          <a:pt x="1186" y="402"/>
                        </a:lnTo>
                        <a:lnTo>
                          <a:pt x="1188" y="402"/>
                        </a:lnTo>
                        <a:lnTo>
                          <a:pt x="1188" y="402"/>
                        </a:lnTo>
                        <a:lnTo>
                          <a:pt x="1192" y="402"/>
                        </a:lnTo>
                        <a:lnTo>
                          <a:pt x="1196" y="400"/>
                        </a:lnTo>
                        <a:lnTo>
                          <a:pt x="1200" y="398"/>
                        </a:lnTo>
                        <a:lnTo>
                          <a:pt x="1204" y="398"/>
                        </a:lnTo>
                        <a:lnTo>
                          <a:pt x="1204" y="398"/>
                        </a:lnTo>
                        <a:lnTo>
                          <a:pt x="1206" y="398"/>
                        </a:lnTo>
                        <a:lnTo>
                          <a:pt x="1210" y="394"/>
                        </a:lnTo>
                        <a:lnTo>
                          <a:pt x="1214" y="392"/>
                        </a:lnTo>
                        <a:lnTo>
                          <a:pt x="1216" y="390"/>
                        </a:lnTo>
                        <a:lnTo>
                          <a:pt x="1218" y="392"/>
                        </a:lnTo>
                        <a:lnTo>
                          <a:pt x="1218" y="392"/>
                        </a:lnTo>
                        <a:lnTo>
                          <a:pt x="1220" y="392"/>
                        </a:lnTo>
                        <a:lnTo>
                          <a:pt x="1222" y="392"/>
                        </a:lnTo>
                        <a:lnTo>
                          <a:pt x="1226" y="390"/>
                        </a:lnTo>
                        <a:lnTo>
                          <a:pt x="1230" y="388"/>
                        </a:lnTo>
                        <a:lnTo>
                          <a:pt x="1234" y="388"/>
                        </a:lnTo>
                        <a:lnTo>
                          <a:pt x="1236" y="388"/>
                        </a:lnTo>
                        <a:lnTo>
                          <a:pt x="1236" y="388"/>
                        </a:lnTo>
                        <a:lnTo>
                          <a:pt x="1238" y="392"/>
                        </a:lnTo>
                        <a:lnTo>
                          <a:pt x="1240" y="392"/>
                        </a:lnTo>
                        <a:lnTo>
                          <a:pt x="1246" y="392"/>
                        </a:lnTo>
                        <a:lnTo>
                          <a:pt x="1250" y="392"/>
                        </a:lnTo>
                        <a:lnTo>
                          <a:pt x="1254" y="394"/>
                        </a:lnTo>
                        <a:lnTo>
                          <a:pt x="1256" y="398"/>
                        </a:lnTo>
                        <a:lnTo>
                          <a:pt x="1256" y="398"/>
                        </a:lnTo>
                        <a:lnTo>
                          <a:pt x="1262" y="404"/>
                        </a:lnTo>
                        <a:lnTo>
                          <a:pt x="1264" y="404"/>
                        </a:lnTo>
                        <a:lnTo>
                          <a:pt x="1268" y="404"/>
                        </a:lnTo>
                        <a:lnTo>
                          <a:pt x="1272" y="404"/>
                        </a:lnTo>
                        <a:lnTo>
                          <a:pt x="1272" y="404"/>
                        </a:lnTo>
                        <a:lnTo>
                          <a:pt x="1276" y="406"/>
                        </a:lnTo>
                        <a:lnTo>
                          <a:pt x="1280" y="408"/>
                        </a:lnTo>
                        <a:lnTo>
                          <a:pt x="1286" y="408"/>
                        </a:lnTo>
                        <a:lnTo>
                          <a:pt x="1296" y="410"/>
                        </a:lnTo>
                        <a:lnTo>
                          <a:pt x="1296" y="410"/>
                        </a:lnTo>
                        <a:lnTo>
                          <a:pt x="1308" y="410"/>
                        </a:lnTo>
                        <a:lnTo>
                          <a:pt x="1314" y="408"/>
                        </a:lnTo>
                        <a:lnTo>
                          <a:pt x="1318" y="408"/>
                        </a:lnTo>
                        <a:lnTo>
                          <a:pt x="1320" y="408"/>
                        </a:lnTo>
                        <a:lnTo>
                          <a:pt x="1320" y="408"/>
                        </a:lnTo>
                        <a:lnTo>
                          <a:pt x="1324" y="408"/>
                        </a:lnTo>
                        <a:lnTo>
                          <a:pt x="1326" y="404"/>
                        </a:lnTo>
                        <a:lnTo>
                          <a:pt x="1328" y="402"/>
                        </a:lnTo>
                        <a:lnTo>
                          <a:pt x="1328" y="400"/>
                        </a:lnTo>
                        <a:lnTo>
                          <a:pt x="1326" y="398"/>
                        </a:lnTo>
                        <a:lnTo>
                          <a:pt x="1322" y="394"/>
                        </a:lnTo>
                        <a:lnTo>
                          <a:pt x="1322" y="394"/>
                        </a:lnTo>
                        <a:lnTo>
                          <a:pt x="1310" y="388"/>
                        </a:lnTo>
                        <a:lnTo>
                          <a:pt x="1308" y="386"/>
                        </a:lnTo>
                        <a:lnTo>
                          <a:pt x="1308" y="386"/>
                        </a:lnTo>
                        <a:lnTo>
                          <a:pt x="1312" y="384"/>
                        </a:lnTo>
                        <a:lnTo>
                          <a:pt x="1316" y="378"/>
                        </a:lnTo>
                        <a:lnTo>
                          <a:pt x="1316" y="378"/>
                        </a:lnTo>
                        <a:lnTo>
                          <a:pt x="1316" y="372"/>
                        </a:lnTo>
                        <a:lnTo>
                          <a:pt x="1314" y="368"/>
                        </a:lnTo>
                        <a:lnTo>
                          <a:pt x="1312" y="364"/>
                        </a:lnTo>
                        <a:lnTo>
                          <a:pt x="1312" y="360"/>
                        </a:lnTo>
                        <a:lnTo>
                          <a:pt x="1314" y="358"/>
                        </a:lnTo>
                        <a:lnTo>
                          <a:pt x="1314" y="358"/>
                        </a:lnTo>
                        <a:lnTo>
                          <a:pt x="1326" y="362"/>
                        </a:lnTo>
                        <a:lnTo>
                          <a:pt x="1336" y="364"/>
                        </a:lnTo>
                        <a:lnTo>
                          <a:pt x="1352" y="368"/>
                        </a:lnTo>
                        <a:lnTo>
                          <a:pt x="1352" y="368"/>
                        </a:lnTo>
                        <a:lnTo>
                          <a:pt x="1362" y="372"/>
                        </a:lnTo>
                        <a:lnTo>
                          <a:pt x="1368" y="376"/>
                        </a:lnTo>
                        <a:lnTo>
                          <a:pt x="1378" y="390"/>
                        </a:lnTo>
                        <a:lnTo>
                          <a:pt x="1382" y="396"/>
                        </a:lnTo>
                        <a:lnTo>
                          <a:pt x="1388" y="402"/>
                        </a:lnTo>
                        <a:lnTo>
                          <a:pt x="1398" y="404"/>
                        </a:lnTo>
                        <a:lnTo>
                          <a:pt x="1410" y="404"/>
                        </a:lnTo>
                        <a:lnTo>
                          <a:pt x="1410" y="404"/>
                        </a:lnTo>
                        <a:lnTo>
                          <a:pt x="1434" y="400"/>
                        </a:lnTo>
                        <a:lnTo>
                          <a:pt x="1442" y="402"/>
                        </a:lnTo>
                        <a:lnTo>
                          <a:pt x="1446" y="402"/>
                        </a:lnTo>
                        <a:lnTo>
                          <a:pt x="1454" y="402"/>
                        </a:lnTo>
                        <a:lnTo>
                          <a:pt x="1454" y="402"/>
                        </a:lnTo>
                        <a:lnTo>
                          <a:pt x="1466" y="402"/>
                        </a:lnTo>
                        <a:lnTo>
                          <a:pt x="1472" y="404"/>
                        </a:lnTo>
                        <a:lnTo>
                          <a:pt x="1474" y="408"/>
                        </a:lnTo>
                        <a:lnTo>
                          <a:pt x="1478" y="410"/>
                        </a:lnTo>
                        <a:lnTo>
                          <a:pt x="1480" y="414"/>
                        </a:lnTo>
                        <a:lnTo>
                          <a:pt x="1486" y="416"/>
                        </a:lnTo>
                        <a:lnTo>
                          <a:pt x="1494" y="416"/>
                        </a:lnTo>
                        <a:lnTo>
                          <a:pt x="1506" y="414"/>
                        </a:lnTo>
                        <a:lnTo>
                          <a:pt x="1506" y="414"/>
                        </a:lnTo>
                        <a:lnTo>
                          <a:pt x="1524" y="414"/>
                        </a:lnTo>
                        <a:lnTo>
                          <a:pt x="1540" y="414"/>
                        </a:lnTo>
                        <a:lnTo>
                          <a:pt x="1554" y="414"/>
                        </a:lnTo>
                        <a:lnTo>
                          <a:pt x="1572" y="410"/>
                        </a:lnTo>
                        <a:lnTo>
                          <a:pt x="1572" y="410"/>
                        </a:lnTo>
                        <a:lnTo>
                          <a:pt x="1588" y="404"/>
                        </a:lnTo>
                        <a:lnTo>
                          <a:pt x="1600" y="402"/>
                        </a:lnTo>
                        <a:lnTo>
                          <a:pt x="1614" y="402"/>
                        </a:lnTo>
                        <a:lnTo>
                          <a:pt x="1632" y="406"/>
                        </a:lnTo>
                        <a:lnTo>
                          <a:pt x="1632" y="406"/>
                        </a:lnTo>
                        <a:lnTo>
                          <a:pt x="1656" y="412"/>
                        </a:lnTo>
                        <a:lnTo>
                          <a:pt x="1656" y="412"/>
                        </a:lnTo>
                        <a:lnTo>
                          <a:pt x="1672" y="414"/>
                        </a:lnTo>
                        <a:lnTo>
                          <a:pt x="1682" y="414"/>
                        </a:lnTo>
                        <a:lnTo>
                          <a:pt x="1690" y="410"/>
                        </a:lnTo>
                        <a:lnTo>
                          <a:pt x="1694" y="406"/>
                        </a:lnTo>
                        <a:lnTo>
                          <a:pt x="1696" y="398"/>
                        </a:lnTo>
                        <a:lnTo>
                          <a:pt x="1698" y="392"/>
                        </a:lnTo>
                        <a:lnTo>
                          <a:pt x="1700" y="380"/>
                        </a:lnTo>
                        <a:lnTo>
                          <a:pt x="1700" y="380"/>
                        </a:lnTo>
                        <a:lnTo>
                          <a:pt x="1704" y="370"/>
                        </a:lnTo>
                        <a:lnTo>
                          <a:pt x="1708" y="364"/>
                        </a:lnTo>
                        <a:lnTo>
                          <a:pt x="1708" y="360"/>
                        </a:lnTo>
                        <a:lnTo>
                          <a:pt x="1708" y="358"/>
                        </a:lnTo>
                        <a:lnTo>
                          <a:pt x="1704" y="356"/>
                        </a:lnTo>
                        <a:lnTo>
                          <a:pt x="1696" y="356"/>
                        </a:lnTo>
                        <a:lnTo>
                          <a:pt x="1696" y="356"/>
                        </a:lnTo>
                        <a:lnTo>
                          <a:pt x="1686" y="356"/>
                        </a:lnTo>
                        <a:lnTo>
                          <a:pt x="1684" y="354"/>
                        </a:lnTo>
                        <a:lnTo>
                          <a:pt x="1682" y="352"/>
                        </a:lnTo>
                        <a:lnTo>
                          <a:pt x="1684" y="350"/>
                        </a:lnTo>
                        <a:lnTo>
                          <a:pt x="1686" y="348"/>
                        </a:lnTo>
                        <a:lnTo>
                          <a:pt x="1692" y="346"/>
                        </a:lnTo>
                        <a:lnTo>
                          <a:pt x="1700" y="346"/>
                        </a:lnTo>
                        <a:lnTo>
                          <a:pt x="1700" y="346"/>
                        </a:lnTo>
                        <a:lnTo>
                          <a:pt x="1710" y="344"/>
                        </a:lnTo>
                        <a:lnTo>
                          <a:pt x="1716" y="342"/>
                        </a:lnTo>
                        <a:lnTo>
                          <a:pt x="1724" y="338"/>
                        </a:lnTo>
                        <a:lnTo>
                          <a:pt x="1742" y="338"/>
                        </a:lnTo>
                        <a:lnTo>
                          <a:pt x="1742" y="338"/>
                        </a:lnTo>
                        <a:lnTo>
                          <a:pt x="1756" y="338"/>
                        </a:lnTo>
                        <a:lnTo>
                          <a:pt x="1768" y="340"/>
                        </a:lnTo>
                        <a:lnTo>
                          <a:pt x="1782" y="344"/>
                        </a:lnTo>
                        <a:lnTo>
                          <a:pt x="1794" y="348"/>
                        </a:lnTo>
                        <a:lnTo>
                          <a:pt x="1808" y="354"/>
                        </a:lnTo>
                        <a:lnTo>
                          <a:pt x="1820" y="362"/>
                        </a:lnTo>
                        <a:lnTo>
                          <a:pt x="1834" y="372"/>
                        </a:lnTo>
                        <a:lnTo>
                          <a:pt x="1848" y="384"/>
                        </a:lnTo>
                        <a:lnTo>
                          <a:pt x="1848" y="384"/>
                        </a:lnTo>
                        <a:lnTo>
                          <a:pt x="1862" y="394"/>
                        </a:lnTo>
                        <a:lnTo>
                          <a:pt x="1874" y="402"/>
                        </a:lnTo>
                        <a:lnTo>
                          <a:pt x="1884" y="408"/>
                        </a:lnTo>
                        <a:lnTo>
                          <a:pt x="1896" y="412"/>
                        </a:lnTo>
                        <a:lnTo>
                          <a:pt x="1916" y="418"/>
                        </a:lnTo>
                        <a:lnTo>
                          <a:pt x="1926" y="422"/>
                        </a:lnTo>
                        <a:lnTo>
                          <a:pt x="1936" y="428"/>
                        </a:lnTo>
                        <a:lnTo>
                          <a:pt x="1936" y="428"/>
                        </a:lnTo>
                        <a:lnTo>
                          <a:pt x="1948" y="434"/>
                        </a:lnTo>
                        <a:lnTo>
                          <a:pt x="1956" y="438"/>
                        </a:lnTo>
                        <a:lnTo>
                          <a:pt x="1964" y="440"/>
                        </a:lnTo>
                        <a:lnTo>
                          <a:pt x="1970" y="440"/>
                        </a:lnTo>
                        <a:lnTo>
                          <a:pt x="1976" y="440"/>
                        </a:lnTo>
                        <a:lnTo>
                          <a:pt x="1980" y="436"/>
                        </a:lnTo>
                        <a:lnTo>
                          <a:pt x="1992" y="430"/>
                        </a:lnTo>
                        <a:lnTo>
                          <a:pt x="1992" y="430"/>
                        </a:lnTo>
                        <a:lnTo>
                          <a:pt x="1998" y="426"/>
                        </a:lnTo>
                        <a:lnTo>
                          <a:pt x="2006" y="426"/>
                        </a:lnTo>
                        <a:lnTo>
                          <a:pt x="2012" y="428"/>
                        </a:lnTo>
                        <a:lnTo>
                          <a:pt x="2016" y="430"/>
                        </a:lnTo>
                        <a:lnTo>
                          <a:pt x="2022" y="434"/>
                        </a:lnTo>
                        <a:lnTo>
                          <a:pt x="2024" y="440"/>
                        </a:lnTo>
                        <a:lnTo>
                          <a:pt x="2024" y="444"/>
                        </a:lnTo>
                        <a:lnTo>
                          <a:pt x="2020" y="450"/>
                        </a:lnTo>
                        <a:lnTo>
                          <a:pt x="2020" y="450"/>
                        </a:lnTo>
                        <a:lnTo>
                          <a:pt x="2018" y="454"/>
                        </a:lnTo>
                        <a:lnTo>
                          <a:pt x="2020" y="458"/>
                        </a:lnTo>
                        <a:lnTo>
                          <a:pt x="2026" y="464"/>
                        </a:lnTo>
                        <a:lnTo>
                          <a:pt x="2030" y="466"/>
                        </a:lnTo>
                        <a:lnTo>
                          <a:pt x="2032" y="470"/>
                        </a:lnTo>
                        <a:lnTo>
                          <a:pt x="2030" y="474"/>
                        </a:lnTo>
                        <a:lnTo>
                          <a:pt x="2024" y="480"/>
                        </a:lnTo>
                        <a:lnTo>
                          <a:pt x="2024" y="480"/>
                        </a:lnTo>
                        <a:lnTo>
                          <a:pt x="2022" y="482"/>
                        </a:lnTo>
                        <a:lnTo>
                          <a:pt x="2020" y="484"/>
                        </a:lnTo>
                        <a:lnTo>
                          <a:pt x="2020" y="490"/>
                        </a:lnTo>
                        <a:lnTo>
                          <a:pt x="2020" y="492"/>
                        </a:lnTo>
                        <a:lnTo>
                          <a:pt x="2018" y="496"/>
                        </a:lnTo>
                        <a:lnTo>
                          <a:pt x="2012" y="500"/>
                        </a:lnTo>
                        <a:lnTo>
                          <a:pt x="2004" y="508"/>
                        </a:lnTo>
                        <a:lnTo>
                          <a:pt x="2004" y="508"/>
                        </a:lnTo>
                        <a:lnTo>
                          <a:pt x="2000" y="510"/>
                        </a:lnTo>
                        <a:lnTo>
                          <a:pt x="2000" y="512"/>
                        </a:lnTo>
                        <a:lnTo>
                          <a:pt x="2006" y="518"/>
                        </a:lnTo>
                        <a:lnTo>
                          <a:pt x="2016" y="524"/>
                        </a:lnTo>
                        <a:lnTo>
                          <a:pt x="2020" y="530"/>
                        </a:lnTo>
                        <a:lnTo>
                          <a:pt x="2022" y="536"/>
                        </a:lnTo>
                        <a:lnTo>
                          <a:pt x="2022" y="536"/>
                        </a:lnTo>
                        <a:lnTo>
                          <a:pt x="2024" y="546"/>
                        </a:lnTo>
                        <a:lnTo>
                          <a:pt x="2028" y="552"/>
                        </a:lnTo>
                        <a:lnTo>
                          <a:pt x="2032" y="556"/>
                        </a:lnTo>
                        <a:lnTo>
                          <a:pt x="2032" y="556"/>
                        </a:lnTo>
                        <a:close/>
                      </a:path>
                    </a:pathLst>
                  </a:custGeom>
                  <a:solidFill>
                    <a:schemeClr val="accent6"/>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6" name="South Africa"/>
                  <p:cNvSpPr>
                    <a:spLocks/>
                  </p:cNvSpPr>
                  <p:nvPr/>
                </p:nvSpPr>
                <p:spPr bwMode="auto">
                  <a:xfrm>
                    <a:off x="6275183" y="4539699"/>
                    <a:ext cx="519437" cy="464330"/>
                  </a:xfrm>
                  <a:custGeom>
                    <a:avLst/>
                    <a:gdLst/>
                    <a:ahLst/>
                    <a:cxnLst>
                      <a:cxn ang="0">
                        <a:pos x="292" y="0"/>
                      </a:cxn>
                      <a:cxn ang="0">
                        <a:pos x="312" y="4"/>
                      </a:cxn>
                      <a:cxn ang="0">
                        <a:pos x="326" y="6"/>
                      </a:cxn>
                      <a:cxn ang="0">
                        <a:pos x="332" y="44"/>
                      </a:cxn>
                      <a:cxn ang="0">
                        <a:pos x="326" y="74"/>
                      </a:cxn>
                      <a:cxn ang="0">
                        <a:pos x="310" y="84"/>
                      </a:cxn>
                      <a:cxn ang="0">
                        <a:pos x="300" y="102"/>
                      </a:cxn>
                      <a:cxn ang="0">
                        <a:pos x="308" y="118"/>
                      </a:cxn>
                      <a:cxn ang="0">
                        <a:pos x="328" y="122"/>
                      </a:cxn>
                      <a:cxn ang="0">
                        <a:pos x="328" y="112"/>
                      </a:cxn>
                      <a:cxn ang="0">
                        <a:pos x="336" y="134"/>
                      </a:cxn>
                      <a:cxn ang="0">
                        <a:pos x="318" y="158"/>
                      </a:cxn>
                      <a:cxn ang="0">
                        <a:pos x="294" y="188"/>
                      </a:cxn>
                      <a:cxn ang="0">
                        <a:pos x="266" y="222"/>
                      </a:cxn>
                      <a:cxn ang="0">
                        <a:pos x="246" y="246"/>
                      </a:cxn>
                      <a:cxn ang="0">
                        <a:pos x="226" y="270"/>
                      </a:cxn>
                      <a:cxn ang="0">
                        <a:pos x="196" y="284"/>
                      </a:cxn>
                      <a:cxn ang="0">
                        <a:pos x="184" y="290"/>
                      </a:cxn>
                      <a:cxn ang="0">
                        <a:pos x="174" y="294"/>
                      </a:cxn>
                      <a:cxn ang="0">
                        <a:pos x="164" y="298"/>
                      </a:cxn>
                      <a:cxn ang="0">
                        <a:pos x="142" y="294"/>
                      </a:cxn>
                      <a:cxn ang="0">
                        <a:pos x="128" y="292"/>
                      </a:cxn>
                      <a:cxn ang="0">
                        <a:pos x="116" y="298"/>
                      </a:cxn>
                      <a:cxn ang="0">
                        <a:pos x="104" y="300"/>
                      </a:cxn>
                      <a:cxn ang="0">
                        <a:pos x="86" y="304"/>
                      </a:cxn>
                      <a:cxn ang="0">
                        <a:pos x="68" y="304"/>
                      </a:cxn>
                      <a:cxn ang="0">
                        <a:pos x="50" y="294"/>
                      </a:cxn>
                      <a:cxn ang="0">
                        <a:pos x="52" y="304"/>
                      </a:cxn>
                      <a:cxn ang="0">
                        <a:pos x="42" y="296"/>
                      </a:cxn>
                      <a:cxn ang="0">
                        <a:pos x="38" y="282"/>
                      </a:cxn>
                      <a:cxn ang="0">
                        <a:pos x="36" y="270"/>
                      </a:cxn>
                      <a:cxn ang="0">
                        <a:pos x="40" y="256"/>
                      </a:cxn>
                      <a:cxn ang="0">
                        <a:pos x="40" y="236"/>
                      </a:cxn>
                      <a:cxn ang="0">
                        <a:pos x="30" y="222"/>
                      </a:cxn>
                      <a:cxn ang="0">
                        <a:pos x="16" y="198"/>
                      </a:cxn>
                      <a:cxn ang="0">
                        <a:pos x="10" y="160"/>
                      </a:cxn>
                      <a:cxn ang="0">
                        <a:pos x="12" y="144"/>
                      </a:cxn>
                      <a:cxn ang="0">
                        <a:pos x="28" y="142"/>
                      </a:cxn>
                      <a:cxn ang="0">
                        <a:pos x="38" y="158"/>
                      </a:cxn>
                      <a:cxn ang="0">
                        <a:pos x="56" y="156"/>
                      </a:cxn>
                      <a:cxn ang="0">
                        <a:pos x="72" y="146"/>
                      </a:cxn>
                      <a:cxn ang="0">
                        <a:pos x="90" y="72"/>
                      </a:cxn>
                      <a:cxn ang="0">
                        <a:pos x="106" y="94"/>
                      </a:cxn>
                      <a:cxn ang="0">
                        <a:pos x="102" y="112"/>
                      </a:cxn>
                      <a:cxn ang="0">
                        <a:pos x="118" y="112"/>
                      </a:cxn>
                      <a:cxn ang="0">
                        <a:pos x="126" y="106"/>
                      </a:cxn>
                      <a:cxn ang="0">
                        <a:pos x="130" y="106"/>
                      </a:cxn>
                      <a:cxn ang="0">
                        <a:pos x="142" y="94"/>
                      </a:cxn>
                      <a:cxn ang="0">
                        <a:pos x="142" y="86"/>
                      </a:cxn>
                      <a:cxn ang="0">
                        <a:pos x="164" y="78"/>
                      </a:cxn>
                      <a:cxn ang="0">
                        <a:pos x="174" y="84"/>
                      </a:cxn>
                      <a:cxn ang="0">
                        <a:pos x="192" y="82"/>
                      </a:cxn>
                      <a:cxn ang="0">
                        <a:pos x="212" y="62"/>
                      </a:cxn>
                      <a:cxn ang="0">
                        <a:pos x="230" y="46"/>
                      </a:cxn>
                      <a:cxn ang="0">
                        <a:pos x="246" y="24"/>
                      </a:cxn>
                      <a:cxn ang="0">
                        <a:pos x="268" y="8"/>
                      </a:cxn>
                      <a:cxn ang="0">
                        <a:pos x="278" y="4"/>
                      </a:cxn>
                    </a:cxnLst>
                    <a:rect l="0" t="0" r="r" b="b"/>
                    <a:pathLst>
                      <a:path w="342" h="306">
                        <a:moveTo>
                          <a:pt x="282" y="2"/>
                        </a:moveTo>
                        <a:lnTo>
                          <a:pt x="282" y="2"/>
                        </a:lnTo>
                        <a:lnTo>
                          <a:pt x="286" y="0"/>
                        </a:lnTo>
                        <a:lnTo>
                          <a:pt x="292" y="0"/>
                        </a:lnTo>
                        <a:lnTo>
                          <a:pt x="298" y="2"/>
                        </a:lnTo>
                        <a:lnTo>
                          <a:pt x="306" y="4"/>
                        </a:lnTo>
                        <a:lnTo>
                          <a:pt x="312" y="4"/>
                        </a:lnTo>
                        <a:lnTo>
                          <a:pt x="312" y="4"/>
                        </a:lnTo>
                        <a:lnTo>
                          <a:pt x="320" y="4"/>
                        </a:lnTo>
                        <a:lnTo>
                          <a:pt x="324" y="6"/>
                        </a:lnTo>
                        <a:lnTo>
                          <a:pt x="326" y="6"/>
                        </a:lnTo>
                        <a:lnTo>
                          <a:pt x="326" y="6"/>
                        </a:lnTo>
                        <a:lnTo>
                          <a:pt x="332" y="18"/>
                        </a:lnTo>
                        <a:lnTo>
                          <a:pt x="332" y="22"/>
                        </a:lnTo>
                        <a:lnTo>
                          <a:pt x="330" y="30"/>
                        </a:lnTo>
                        <a:lnTo>
                          <a:pt x="332" y="44"/>
                        </a:lnTo>
                        <a:lnTo>
                          <a:pt x="332" y="44"/>
                        </a:lnTo>
                        <a:lnTo>
                          <a:pt x="332" y="58"/>
                        </a:lnTo>
                        <a:lnTo>
                          <a:pt x="330" y="66"/>
                        </a:lnTo>
                        <a:lnTo>
                          <a:pt x="326" y="74"/>
                        </a:lnTo>
                        <a:lnTo>
                          <a:pt x="322" y="88"/>
                        </a:lnTo>
                        <a:lnTo>
                          <a:pt x="322" y="88"/>
                        </a:lnTo>
                        <a:lnTo>
                          <a:pt x="314" y="84"/>
                        </a:lnTo>
                        <a:lnTo>
                          <a:pt x="310" y="84"/>
                        </a:lnTo>
                        <a:lnTo>
                          <a:pt x="308" y="88"/>
                        </a:lnTo>
                        <a:lnTo>
                          <a:pt x="304" y="94"/>
                        </a:lnTo>
                        <a:lnTo>
                          <a:pt x="304" y="94"/>
                        </a:lnTo>
                        <a:lnTo>
                          <a:pt x="300" y="102"/>
                        </a:lnTo>
                        <a:lnTo>
                          <a:pt x="300" y="108"/>
                        </a:lnTo>
                        <a:lnTo>
                          <a:pt x="300" y="112"/>
                        </a:lnTo>
                        <a:lnTo>
                          <a:pt x="308" y="118"/>
                        </a:lnTo>
                        <a:lnTo>
                          <a:pt x="308" y="118"/>
                        </a:lnTo>
                        <a:lnTo>
                          <a:pt x="316" y="122"/>
                        </a:lnTo>
                        <a:lnTo>
                          <a:pt x="320" y="124"/>
                        </a:lnTo>
                        <a:lnTo>
                          <a:pt x="324" y="124"/>
                        </a:lnTo>
                        <a:lnTo>
                          <a:pt x="328" y="122"/>
                        </a:lnTo>
                        <a:lnTo>
                          <a:pt x="328" y="122"/>
                        </a:lnTo>
                        <a:lnTo>
                          <a:pt x="330" y="120"/>
                        </a:lnTo>
                        <a:lnTo>
                          <a:pt x="330" y="116"/>
                        </a:lnTo>
                        <a:lnTo>
                          <a:pt x="328" y="112"/>
                        </a:lnTo>
                        <a:lnTo>
                          <a:pt x="330" y="110"/>
                        </a:lnTo>
                        <a:lnTo>
                          <a:pt x="342" y="110"/>
                        </a:lnTo>
                        <a:lnTo>
                          <a:pt x="342" y="110"/>
                        </a:lnTo>
                        <a:lnTo>
                          <a:pt x="336" y="134"/>
                        </a:lnTo>
                        <a:lnTo>
                          <a:pt x="332" y="148"/>
                        </a:lnTo>
                        <a:lnTo>
                          <a:pt x="328" y="154"/>
                        </a:lnTo>
                        <a:lnTo>
                          <a:pt x="326" y="156"/>
                        </a:lnTo>
                        <a:lnTo>
                          <a:pt x="318" y="158"/>
                        </a:lnTo>
                        <a:lnTo>
                          <a:pt x="318" y="158"/>
                        </a:lnTo>
                        <a:lnTo>
                          <a:pt x="312" y="160"/>
                        </a:lnTo>
                        <a:lnTo>
                          <a:pt x="306" y="168"/>
                        </a:lnTo>
                        <a:lnTo>
                          <a:pt x="294" y="188"/>
                        </a:lnTo>
                        <a:lnTo>
                          <a:pt x="282" y="210"/>
                        </a:lnTo>
                        <a:lnTo>
                          <a:pt x="274" y="218"/>
                        </a:lnTo>
                        <a:lnTo>
                          <a:pt x="266" y="222"/>
                        </a:lnTo>
                        <a:lnTo>
                          <a:pt x="266" y="222"/>
                        </a:lnTo>
                        <a:lnTo>
                          <a:pt x="262" y="224"/>
                        </a:lnTo>
                        <a:lnTo>
                          <a:pt x="260" y="226"/>
                        </a:lnTo>
                        <a:lnTo>
                          <a:pt x="252" y="236"/>
                        </a:lnTo>
                        <a:lnTo>
                          <a:pt x="246" y="246"/>
                        </a:lnTo>
                        <a:lnTo>
                          <a:pt x="240" y="252"/>
                        </a:lnTo>
                        <a:lnTo>
                          <a:pt x="240" y="252"/>
                        </a:lnTo>
                        <a:lnTo>
                          <a:pt x="234" y="260"/>
                        </a:lnTo>
                        <a:lnTo>
                          <a:pt x="226" y="270"/>
                        </a:lnTo>
                        <a:lnTo>
                          <a:pt x="222" y="274"/>
                        </a:lnTo>
                        <a:lnTo>
                          <a:pt x="214" y="278"/>
                        </a:lnTo>
                        <a:lnTo>
                          <a:pt x="206" y="282"/>
                        </a:lnTo>
                        <a:lnTo>
                          <a:pt x="196" y="284"/>
                        </a:lnTo>
                        <a:lnTo>
                          <a:pt x="196" y="284"/>
                        </a:lnTo>
                        <a:lnTo>
                          <a:pt x="192" y="284"/>
                        </a:lnTo>
                        <a:lnTo>
                          <a:pt x="188" y="286"/>
                        </a:lnTo>
                        <a:lnTo>
                          <a:pt x="184" y="290"/>
                        </a:lnTo>
                        <a:lnTo>
                          <a:pt x="180" y="294"/>
                        </a:lnTo>
                        <a:lnTo>
                          <a:pt x="178" y="294"/>
                        </a:lnTo>
                        <a:lnTo>
                          <a:pt x="174" y="294"/>
                        </a:lnTo>
                        <a:lnTo>
                          <a:pt x="174" y="294"/>
                        </a:lnTo>
                        <a:lnTo>
                          <a:pt x="170" y="292"/>
                        </a:lnTo>
                        <a:lnTo>
                          <a:pt x="168" y="294"/>
                        </a:lnTo>
                        <a:lnTo>
                          <a:pt x="166" y="296"/>
                        </a:lnTo>
                        <a:lnTo>
                          <a:pt x="164" y="298"/>
                        </a:lnTo>
                        <a:lnTo>
                          <a:pt x="158" y="296"/>
                        </a:lnTo>
                        <a:lnTo>
                          <a:pt x="158" y="296"/>
                        </a:lnTo>
                        <a:lnTo>
                          <a:pt x="148" y="294"/>
                        </a:lnTo>
                        <a:lnTo>
                          <a:pt x="142" y="294"/>
                        </a:lnTo>
                        <a:lnTo>
                          <a:pt x="136" y="294"/>
                        </a:lnTo>
                        <a:lnTo>
                          <a:pt x="136" y="294"/>
                        </a:lnTo>
                        <a:lnTo>
                          <a:pt x="132" y="294"/>
                        </a:lnTo>
                        <a:lnTo>
                          <a:pt x="128" y="292"/>
                        </a:lnTo>
                        <a:lnTo>
                          <a:pt x="122" y="292"/>
                        </a:lnTo>
                        <a:lnTo>
                          <a:pt x="118" y="294"/>
                        </a:lnTo>
                        <a:lnTo>
                          <a:pt x="118" y="294"/>
                        </a:lnTo>
                        <a:lnTo>
                          <a:pt x="116" y="298"/>
                        </a:lnTo>
                        <a:lnTo>
                          <a:pt x="112" y="300"/>
                        </a:lnTo>
                        <a:lnTo>
                          <a:pt x="108" y="300"/>
                        </a:lnTo>
                        <a:lnTo>
                          <a:pt x="104" y="300"/>
                        </a:lnTo>
                        <a:lnTo>
                          <a:pt x="104" y="300"/>
                        </a:lnTo>
                        <a:lnTo>
                          <a:pt x="100" y="302"/>
                        </a:lnTo>
                        <a:lnTo>
                          <a:pt x="98" y="300"/>
                        </a:lnTo>
                        <a:lnTo>
                          <a:pt x="94" y="300"/>
                        </a:lnTo>
                        <a:lnTo>
                          <a:pt x="86" y="304"/>
                        </a:lnTo>
                        <a:lnTo>
                          <a:pt x="86" y="304"/>
                        </a:lnTo>
                        <a:lnTo>
                          <a:pt x="80" y="306"/>
                        </a:lnTo>
                        <a:lnTo>
                          <a:pt x="74" y="306"/>
                        </a:lnTo>
                        <a:lnTo>
                          <a:pt x="68" y="304"/>
                        </a:lnTo>
                        <a:lnTo>
                          <a:pt x="64" y="302"/>
                        </a:lnTo>
                        <a:lnTo>
                          <a:pt x="56" y="296"/>
                        </a:lnTo>
                        <a:lnTo>
                          <a:pt x="54" y="294"/>
                        </a:lnTo>
                        <a:lnTo>
                          <a:pt x="50" y="294"/>
                        </a:lnTo>
                        <a:lnTo>
                          <a:pt x="50" y="294"/>
                        </a:lnTo>
                        <a:lnTo>
                          <a:pt x="48" y="296"/>
                        </a:lnTo>
                        <a:lnTo>
                          <a:pt x="50" y="300"/>
                        </a:lnTo>
                        <a:lnTo>
                          <a:pt x="52" y="304"/>
                        </a:lnTo>
                        <a:lnTo>
                          <a:pt x="52" y="304"/>
                        </a:lnTo>
                        <a:lnTo>
                          <a:pt x="46" y="300"/>
                        </a:lnTo>
                        <a:lnTo>
                          <a:pt x="44" y="298"/>
                        </a:lnTo>
                        <a:lnTo>
                          <a:pt x="42" y="296"/>
                        </a:lnTo>
                        <a:lnTo>
                          <a:pt x="42" y="294"/>
                        </a:lnTo>
                        <a:lnTo>
                          <a:pt x="42" y="288"/>
                        </a:lnTo>
                        <a:lnTo>
                          <a:pt x="42" y="284"/>
                        </a:lnTo>
                        <a:lnTo>
                          <a:pt x="38" y="282"/>
                        </a:lnTo>
                        <a:lnTo>
                          <a:pt x="38" y="282"/>
                        </a:lnTo>
                        <a:lnTo>
                          <a:pt x="36" y="278"/>
                        </a:lnTo>
                        <a:lnTo>
                          <a:pt x="36" y="274"/>
                        </a:lnTo>
                        <a:lnTo>
                          <a:pt x="36" y="270"/>
                        </a:lnTo>
                        <a:lnTo>
                          <a:pt x="32" y="264"/>
                        </a:lnTo>
                        <a:lnTo>
                          <a:pt x="32" y="264"/>
                        </a:lnTo>
                        <a:lnTo>
                          <a:pt x="38" y="260"/>
                        </a:lnTo>
                        <a:lnTo>
                          <a:pt x="40" y="256"/>
                        </a:lnTo>
                        <a:lnTo>
                          <a:pt x="38" y="250"/>
                        </a:lnTo>
                        <a:lnTo>
                          <a:pt x="38" y="250"/>
                        </a:lnTo>
                        <a:lnTo>
                          <a:pt x="38" y="244"/>
                        </a:lnTo>
                        <a:lnTo>
                          <a:pt x="40" y="236"/>
                        </a:lnTo>
                        <a:lnTo>
                          <a:pt x="40" y="234"/>
                        </a:lnTo>
                        <a:lnTo>
                          <a:pt x="38" y="230"/>
                        </a:lnTo>
                        <a:lnTo>
                          <a:pt x="36" y="226"/>
                        </a:lnTo>
                        <a:lnTo>
                          <a:pt x="30" y="222"/>
                        </a:lnTo>
                        <a:lnTo>
                          <a:pt x="30" y="222"/>
                        </a:lnTo>
                        <a:lnTo>
                          <a:pt x="24" y="216"/>
                        </a:lnTo>
                        <a:lnTo>
                          <a:pt x="20" y="206"/>
                        </a:lnTo>
                        <a:lnTo>
                          <a:pt x="16" y="198"/>
                        </a:lnTo>
                        <a:lnTo>
                          <a:pt x="14" y="186"/>
                        </a:lnTo>
                        <a:lnTo>
                          <a:pt x="12" y="170"/>
                        </a:lnTo>
                        <a:lnTo>
                          <a:pt x="10" y="162"/>
                        </a:lnTo>
                        <a:lnTo>
                          <a:pt x="10" y="160"/>
                        </a:lnTo>
                        <a:lnTo>
                          <a:pt x="10" y="160"/>
                        </a:lnTo>
                        <a:lnTo>
                          <a:pt x="0" y="152"/>
                        </a:lnTo>
                        <a:lnTo>
                          <a:pt x="0" y="152"/>
                        </a:lnTo>
                        <a:lnTo>
                          <a:pt x="12" y="144"/>
                        </a:lnTo>
                        <a:lnTo>
                          <a:pt x="18" y="142"/>
                        </a:lnTo>
                        <a:lnTo>
                          <a:pt x="24" y="140"/>
                        </a:lnTo>
                        <a:lnTo>
                          <a:pt x="24" y="140"/>
                        </a:lnTo>
                        <a:lnTo>
                          <a:pt x="28" y="142"/>
                        </a:lnTo>
                        <a:lnTo>
                          <a:pt x="28" y="144"/>
                        </a:lnTo>
                        <a:lnTo>
                          <a:pt x="30" y="150"/>
                        </a:lnTo>
                        <a:lnTo>
                          <a:pt x="34" y="156"/>
                        </a:lnTo>
                        <a:lnTo>
                          <a:pt x="38" y="158"/>
                        </a:lnTo>
                        <a:lnTo>
                          <a:pt x="42" y="158"/>
                        </a:lnTo>
                        <a:lnTo>
                          <a:pt x="42" y="158"/>
                        </a:lnTo>
                        <a:lnTo>
                          <a:pt x="50" y="158"/>
                        </a:lnTo>
                        <a:lnTo>
                          <a:pt x="56" y="156"/>
                        </a:lnTo>
                        <a:lnTo>
                          <a:pt x="60" y="154"/>
                        </a:lnTo>
                        <a:lnTo>
                          <a:pt x="64" y="152"/>
                        </a:lnTo>
                        <a:lnTo>
                          <a:pt x="68" y="148"/>
                        </a:lnTo>
                        <a:lnTo>
                          <a:pt x="72" y="146"/>
                        </a:lnTo>
                        <a:lnTo>
                          <a:pt x="76" y="146"/>
                        </a:lnTo>
                        <a:lnTo>
                          <a:pt x="80" y="68"/>
                        </a:lnTo>
                        <a:lnTo>
                          <a:pt x="80" y="68"/>
                        </a:lnTo>
                        <a:lnTo>
                          <a:pt x="90" y="72"/>
                        </a:lnTo>
                        <a:lnTo>
                          <a:pt x="96" y="76"/>
                        </a:lnTo>
                        <a:lnTo>
                          <a:pt x="100" y="80"/>
                        </a:lnTo>
                        <a:lnTo>
                          <a:pt x="104" y="86"/>
                        </a:lnTo>
                        <a:lnTo>
                          <a:pt x="106" y="94"/>
                        </a:lnTo>
                        <a:lnTo>
                          <a:pt x="106" y="100"/>
                        </a:lnTo>
                        <a:lnTo>
                          <a:pt x="106" y="100"/>
                        </a:lnTo>
                        <a:lnTo>
                          <a:pt x="102" y="110"/>
                        </a:lnTo>
                        <a:lnTo>
                          <a:pt x="102" y="112"/>
                        </a:lnTo>
                        <a:lnTo>
                          <a:pt x="108" y="112"/>
                        </a:lnTo>
                        <a:lnTo>
                          <a:pt x="108" y="112"/>
                        </a:lnTo>
                        <a:lnTo>
                          <a:pt x="114" y="112"/>
                        </a:lnTo>
                        <a:lnTo>
                          <a:pt x="118" y="112"/>
                        </a:lnTo>
                        <a:lnTo>
                          <a:pt x="122" y="112"/>
                        </a:lnTo>
                        <a:lnTo>
                          <a:pt x="122" y="110"/>
                        </a:lnTo>
                        <a:lnTo>
                          <a:pt x="122" y="110"/>
                        </a:lnTo>
                        <a:lnTo>
                          <a:pt x="126" y="106"/>
                        </a:lnTo>
                        <a:lnTo>
                          <a:pt x="128" y="108"/>
                        </a:lnTo>
                        <a:lnTo>
                          <a:pt x="128" y="108"/>
                        </a:lnTo>
                        <a:lnTo>
                          <a:pt x="130" y="106"/>
                        </a:lnTo>
                        <a:lnTo>
                          <a:pt x="130" y="106"/>
                        </a:lnTo>
                        <a:lnTo>
                          <a:pt x="134" y="100"/>
                        </a:lnTo>
                        <a:lnTo>
                          <a:pt x="138" y="96"/>
                        </a:lnTo>
                        <a:lnTo>
                          <a:pt x="142" y="94"/>
                        </a:lnTo>
                        <a:lnTo>
                          <a:pt x="142" y="94"/>
                        </a:lnTo>
                        <a:lnTo>
                          <a:pt x="142" y="92"/>
                        </a:lnTo>
                        <a:lnTo>
                          <a:pt x="142" y="92"/>
                        </a:lnTo>
                        <a:lnTo>
                          <a:pt x="140" y="90"/>
                        </a:lnTo>
                        <a:lnTo>
                          <a:pt x="142" y="86"/>
                        </a:lnTo>
                        <a:lnTo>
                          <a:pt x="146" y="82"/>
                        </a:lnTo>
                        <a:lnTo>
                          <a:pt x="154" y="78"/>
                        </a:lnTo>
                        <a:lnTo>
                          <a:pt x="164" y="78"/>
                        </a:lnTo>
                        <a:lnTo>
                          <a:pt x="164" y="78"/>
                        </a:lnTo>
                        <a:lnTo>
                          <a:pt x="168" y="78"/>
                        </a:lnTo>
                        <a:lnTo>
                          <a:pt x="168" y="80"/>
                        </a:lnTo>
                        <a:lnTo>
                          <a:pt x="168" y="82"/>
                        </a:lnTo>
                        <a:lnTo>
                          <a:pt x="174" y="84"/>
                        </a:lnTo>
                        <a:lnTo>
                          <a:pt x="174" y="84"/>
                        </a:lnTo>
                        <a:lnTo>
                          <a:pt x="180" y="86"/>
                        </a:lnTo>
                        <a:lnTo>
                          <a:pt x="184" y="86"/>
                        </a:lnTo>
                        <a:lnTo>
                          <a:pt x="192" y="82"/>
                        </a:lnTo>
                        <a:lnTo>
                          <a:pt x="198" y="80"/>
                        </a:lnTo>
                        <a:lnTo>
                          <a:pt x="206" y="78"/>
                        </a:lnTo>
                        <a:lnTo>
                          <a:pt x="206" y="78"/>
                        </a:lnTo>
                        <a:lnTo>
                          <a:pt x="212" y="62"/>
                        </a:lnTo>
                        <a:lnTo>
                          <a:pt x="218" y="56"/>
                        </a:lnTo>
                        <a:lnTo>
                          <a:pt x="224" y="52"/>
                        </a:lnTo>
                        <a:lnTo>
                          <a:pt x="230" y="46"/>
                        </a:lnTo>
                        <a:lnTo>
                          <a:pt x="230" y="46"/>
                        </a:lnTo>
                        <a:lnTo>
                          <a:pt x="238" y="32"/>
                        </a:lnTo>
                        <a:lnTo>
                          <a:pt x="242" y="26"/>
                        </a:lnTo>
                        <a:lnTo>
                          <a:pt x="246" y="24"/>
                        </a:lnTo>
                        <a:lnTo>
                          <a:pt x="246" y="24"/>
                        </a:lnTo>
                        <a:lnTo>
                          <a:pt x="256" y="18"/>
                        </a:lnTo>
                        <a:lnTo>
                          <a:pt x="260" y="14"/>
                        </a:lnTo>
                        <a:lnTo>
                          <a:pt x="262" y="10"/>
                        </a:lnTo>
                        <a:lnTo>
                          <a:pt x="268" y="8"/>
                        </a:lnTo>
                        <a:lnTo>
                          <a:pt x="268" y="8"/>
                        </a:lnTo>
                        <a:lnTo>
                          <a:pt x="274" y="8"/>
                        </a:lnTo>
                        <a:lnTo>
                          <a:pt x="276" y="6"/>
                        </a:lnTo>
                        <a:lnTo>
                          <a:pt x="278" y="4"/>
                        </a:lnTo>
                        <a:lnTo>
                          <a:pt x="282" y="2"/>
                        </a:lnTo>
                        <a:lnTo>
                          <a:pt x="282" y="2"/>
                        </a:lnTo>
                        <a:close/>
                      </a:path>
                    </a:pathLst>
                  </a:custGeom>
                  <a:solidFill>
                    <a:schemeClr val="accent6"/>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87" name="Portugal"/>
                <p:cNvSpPr>
                  <a:spLocks/>
                </p:cNvSpPr>
                <p:nvPr/>
              </p:nvSpPr>
              <p:spPr bwMode="auto">
                <a:xfrm>
                  <a:off x="5514113" y="2129076"/>
                  <a:ext cx="85054" cy="169951"/>
                </a:xfrm>
                <a:custGeom>
                  <a:avLst/>
                  <a:gdLst/>
                  <a:ahLst/>
                  <a:cxnLst>
                    <a:cxn ang="0">
                      <a:pos x="32" y="110"/>
                    </a:cxn>
                    <a:cxn ang="0">
                      <a:pos x="22" y="112"/>
                    </a:cxn>
                    <a:cxn ang="0">
                      <a:pos x="18" y="110"/>
                    </a:cxn>
                    <a:cxn ang="0">
                      <a:pos x="12" y="110"/>
                    </a:cxn>
                    <a:cxn ang="0">
                      <a:pos x="4" y="110"/>
                    </a:cxn>
                    <a:cxn ang="0">
                      <a:pos x="2" y="108"/>
                    </a:cxn>
                    <a:cxn ang="0">
                      <a:pos x="6" y="104"/>
                    </a:cxn>
                    <a:cxn ang="0">
                      <a:pos x="10" y="98"/>
                    </a:cxn>
                    <a:cxn ang="0">
                      <a:pos x="10" y="94"/>
                    </a:cxn>
                    <a:cxn ang="0">
                      <a:pos x="10" y="92"/>
                    </a:cxn>
                    <a:cxn ang="0">
                      <a:pos x="10" y="80"/>
                    </a:cxn>
                    <a:cxn ang="0">
                      <a:pos x="12" y="78"/>
                    </a:cxn>
                    <a:cxn ang="0">
                      <a:pos x="4" y="80"/>
                    </a:cxn>
                    <a:cxn ang="0">
                      <a:pos x="4" y="72"/>
                    </a:cxn>
                    <a:cxn ang="0">
                      <a:pos x="2" y="72"/>
                    </a:cxn>
                    <a:cxn ang="0">
                      <a:pos x="0" y="68"/>
                    </a:cxn>
                    <a:cxn ang="0">
                      <a:pos x="0" y="62"/>
                    </a:cxn>
                    <a:cxn ang="0">
                      <a:pos x="0" y="58"/>
                    </a:cxn>
                    <a:cxn ang="0">
                      <a:pos x="6" y="52"/>
                    </a:cxn>
                    <a:cxn ang="0">
                      <a:pos x="8" y="46"/>
                    </a:cxn>
                    <a:cxn ang="0">
                      <a:pos x="12" y="32"/>
                    </a:cxn>
                    <a:cxn ang="0">
                      <a:pos x="16" y="18"/>
                    </a:cxn>
                    <a:cxn ang="0">
                      <a:pos x="16" y="12"/>
                    </a:cxn>
                    <a:cxn ang="0">
                      <a:pos x="16" y="10"/>
                    </a:cxn>
                    <a:cxn ang="0">
                      <a:pos x="16" y="6"/>
                    </a:cxn>
                    <a:cxn ang="0">
                      <a:pos x="18" y="2"/>
                    </a:cxn>
                    <a:cxn ang="0">
                      <a:pos x="20" y="0"/>
                    </a:cxn>
                    <a:cxn ang="0">
                      <a:pos x="30" y="0"/>
                    </a:cxn>
                    <a:cxn ang="0">
                      <a:pos x="30" y="4"/>
                    </a:cxn>
                    <a:cxn ang="0">
                      <a:pos x="32" y="6"/>
                    </a:cxn>
                    <a:cxn ang="0">
                      <a:pos x="42" y="6"/>
                    </a:cxn>
                    <a:cxn ang="0">
                      <a:pos x="50" y="4"/>
                    </a:cxn>
                    <a:cxn ang="0">
                      <a:pos x="54" y="8"/>
                    </a:cxn>
                    <a:cxn ang="0">
                      <a:pos x="56" y="10"/>
                    </a:cxn>
                    <a:cxn ang="0">
                      <a:pos x="52" y="14"/>
                    </a:cxn>
                    <a:cxn ang="0">
                      <a:pos x="46" y="24"/>
                    </a:cxn>
                    <a:cxn ang="0">
                      <a:pos x="44" y="24"/>
                    </a:cxn>
                    <a:cxn ang="0">
                      <a:pos x="46" y="28"/>
                    </a:cxn>
                    <a:cxn ang="0">
                      <a:pos x="44" y="36"/>
                    </a:cxn>
                    <a:cxn ang="0">
                      <a:pos x="44" y="38"/>
                    </a:cxn>
                    <a:cxn ang="0">
                      <a:pos x="46" y="42"/>
                    </a:cxn>
                    <a:cxn ang="0">
                      <a:pos x="42" y="52"/>
                    </a:cxn>
                    <a:cxn ang="0">
                      <a:pos x="34" y="52"/>
                    </a:cxn>
                    <a:cxn ang="0">
                      <a:pos x="40" y="64"/>
                    </a:cxn>
                    <a:cxn ang="0">
                      <a:pos x="40" y="72"/>
                    </a:cxn>
                    <a:cxn ang="0">
                      <a:pos x="36" y="80"/>
                    </a:cxn>
                    <a:cxn ang="0">
                      <a:pos x="40" y="86"/>
                    </a:cxn>
                    <a:cxn ang="0">
                      <a:pos x="38" y="92"/>
                    </a:cxn>
                    <a:cxn ang="0">
                      <a:pos x="32" y="102"/>
                    </a:cxn>
                    <a:cxn ang="0">
                      <a:pos x="34" y="106"/>
                    </a:cxn>
                  </a:cxnLst>
                  <a:rect l="0" t="0" r="r" b="b"/>
                  <a:pathLst>
                    <a:path w="56" h="112">
                      <a:moveTo>
                        <a:pt x="34" y="106"/>
                      </a:moveTo>
                      <a:lnTo>
                        <a:pt x="34" y="106"/>
                      </a:lnTo>
                      <a:lnTo>
                        <a:pt x="32" y="110"/>
                      </a:lnTo>
                      <a:lnTo>
                        <a:pt x="28" y="110"/>
                      </a:lnTo>
                      <a:lnTo>
                        <a:pt x="28" y="110"/>
                      </a:lnTo>
                      <a:lnTo>
                        <a:pt x="22" y="112"/>
                      </a:lnTo>
                      <a:lnTo>
                        <a:pt x="20" y="112"/>
                      </a:lnTo>
                      <a:lnTo>
                        <a:pt x="18" y="110"/>
                      </a:lnTo>
                      <a:lnTo>
                        <a:pt x="18" y="110"/>
                      </a:lnTo>
                      <a:lnTo>
                        <a:pt x="16" y="110"/>
                      </a:lnTo>
                      <a:lnTo>
                        <a:pt x="12" y="110"/>
                      </a:lnTo>
                      <a:lnTo>
                        <a:pt x="12" y="110"/>
                      </a:lnTo>
                      <a:lnTo>
                        <a:pt x="10" y="110"/>
                      </a:lnTo>
                      <a:lnTo>
                        <a:pt x="4" y="110"/>
                      </a:lnTo>
                      <a:lnTo>
                        <a:pt x="4" y="110"/>
                      </a:lnTo>
                      <a:lnTo>
                        <a:pt x="2" y="110"/>
                      </a:lnTo>
                      <a:lnTo>
                        <a:pt x="2" y="108"/>
                      </a:lnTo>
                      <a:lnTo>
                        <a:pt x="2" y="108"/>
                      </a:lnTo>
                      <a:lnTo>
                        <a:pt x="2" y="108"/>
                      </a:lnTo>
                      <a:lnTo>
                        <a:pt x="4" y="106"/>
                      </a:lnTo>
                      <a:lnTo>
                        <a:pt x="6" y="104"/>
                      </a:lnTo>
                      <a:lnTo>
                        <a:pt x="8" y="100"/>
                      </a:lnTo>
                      <a:lnTo>
                        <a:pt x="8" y="100"/>
                      </a:lnTo>
                      <a:lnTo>
                        <a:pt x="10" y="98"/>
                      </a:lnTo>
                      <a:lnTo>
                        <a:pt x="10" y="94"/>
                      </a:lnTo>
                      <a:lnTo>
                        <a:pt x="10" y="94"/>
                      </a:lnTo>
                      <a:lnTo>
                        <a:pt x="10" y="94"/>
                      </a:lnTo>
                      <a:lnTo>
                        <a:pt x="10" y="94"/>
                      </a:lnTo>
                      <a:lnTo>
                        <a:pt x="10" y="94"/>
                      </a:lnTo>
                      <a:lnTo>
                        <a:pt x="10" y="92"/>
                      </a:lnTo>
                      <a:lnTo>
                        <a:pt x="10" y="92"/>
                      </a:lnTo>
                      <a:lnTo>
                        <a:pt x="10" y="86"/>
                      </a:lnTo>
                      <a:lnTo>
                        <a:pt x="10" y="80"/>
                      </a:lnTo>
                      <a:lnTo>
                        <a:pt x="10" y="80"/>
                      </a:lnTo>
                      <a:lnTo>
                        <a:pt x="10" y="78"/>
                      </a:lnTo>
                      <a:lnTo>
                        <a:pt x="12" y="78"/>
                      </a:lnTo>
                      <a:lnTo>
                        <a:pt x="12" y="78"/>
                      </a:lnTo>
                      <a:lnTo>
                        <a:pt x="6" y="80"/>
                      </a:lnTo>
                      <a:lnTo>
                        <a:pt x="4" y="80"/>
                      </a:lnTo>
                      <a:lnTo>
                        <a:pt x="2" y="78"/>
                      </a:lnTo>
                      <a:lnTo>
                        <a:pt x="2" y="78"/>
                      </a:lnTo>
                      <a:lnTo>
                        <a:pt x="4" y="72"/>
                      </a:lnTo>
                      <a:lnTo>
                        <a:pt x="4" y="72"/>
                      </a:lnTo>
                      <a:lnTo>
                        <a:pt x="4" y="72"/>
                      </a:lnTo>
                      <a:lnTo>
                        <a:pt x="2" y="72"/>
                      </a:lnTo>
                      <a:lnTo>
                        <a:pt x="2" y="72"/>
                      </a:lnTo>
                      <a:lnTo>
                        <a:pt x="0" y="72"/>
                      </a:lnTo>
                      <a:lnTo>
                        <a:pt x="0" y="68"/>
                      </a:lnTo>
                      <a:lnTo>
                        <a:pt x="0" y="68"/>
                      </a:lnTo>
                      <a:lnTo>
                        <a:pt x="0" y="64"/>
                      </a:lnTo>
                      <a:lnTo>
                        <a:pt x="0" y="62"/>
                      </a:lnTo>
                      <a:lnTo>
                        <a:pt x="0" y="58"/>
                      </a:lnTo>
                      <a:lnTo>
                        <a:pt x="0" y="58"/>
                      </a:lnTo>
                      <a:lnTo>
                        <a:pt x="0" y="58"/>
                      </a:lnTo>
                      <a:lnTo>
                        <a:pt x="2" y="56"/>
                      </a:lnTo>
                      <a:lnTo>
                        <a:pt x="6" y="52"/>
                      </a:lnTo>
                      <a:lnTo>
                        <a:pt x="6" y="52"/>
                      </a:lnTo>
                      <a:lnTo>
                        <a:pt x="8" y="48"/>
                      </a:lnTo>
                      <a:lnTo>
                        <a:pt x="8" y="46"/>
                      </a:lnTo>
                      <a:lnTo>
                        <a:pt x="8" y="46"/>
                      </a:lnTo>
                      <a:lnTo>
                        <a:pt x="8" y="44"/>
                      </a:lnTo>
                      <a:lnTo>
                        <a:pt x="8" y="44"/>
                      </a:lnTo>
                      <a:lnTo>
                        <a:pt x="12" y="32"/>
                      </a:lnTo>
                      <a:lnTo>
                        <a:pt x="12" y="32"/>
                      </a:lnTo>
                      <a:lnTo>
                        <a:pt x="14" y="26"/>
                      </a:lnTo>
                      <a:lnTo>
                        <a:pt x="16" y="18"/>
                      </a:lnTo>
                      <a:lnTo>
                        <a:pt x="16" y="18"/>
                      </a:lnTo>
                      <a:lnTo>
                        <a:pt x="16" y="14"/>
                      </a:lnTo>
                      <a:lnTo>
                        <a:pt x="16" y="12"/>
                      </a:lnTo>
                      <a:lnTo>
                        <a:pt x="16" y="10"/>
                      </a:lnTo>
                      <a:lnTo>
                        <a:pt x="16" y="10"/>
                      </a:lnTo>
                      <a:lnTo>
                        <a:pt x="16" y="10"/>
                      </a:lnTo>
                      <a:lnTo>
                        <a:pt x="16" y="8"/>
                      </a:lnTo>
                      <a:lnTo>
                        <a:pt x="16" y="6"/>
                      </a:lnTo>
                      <a:lnTo>
                        <a:pt x="16" y="6"/>
                      </a:lnTo>
                      <a:lnTo>
                        <a:pt x="16" y="4"/>
                      </a:lnTo>
                      <a:lnTo>
                        <a:pt x="16" y="4"/>
                      </a:lnTo>
                      <a:lnTo>
                        <a:pt x="18" y="2"/>
                      </a:lnTo>
                      <a:lnTo>
                        <a:pt x="16" y="2"/>
                      </a:lnTo>
                      <a:lnTo>
                        <a:pt x="16" y="2"/>
                      </a:lnTo>
                      <a:lnTo>
                        <a:pt x="20" y="0"/>
                      </a:lnTo>
                      <a:lnTo>
                        <a:pt x="24" y="0"/>
                      </a:lnTo>
                      <a:lnTo>
                        <a:pt x="24" y="0"/>
                      </a:lnTo>
                      <a:lnTo>
                        <a:pt x="30" y="0"/>
                      </a:lnTo>
                      <a:lnTo>
                        <a:pt x="30" y="2"/>
                      </a:lnTo>
                      <a:lnTo>
                        <a:pt x="30" y="4"/>
                      </a:lnTo>
                      <a:lnTo>
                        <a:pt x="30" y="4"/>
                      </a:lnTo>
                      <a:lnTo>
                        <a:pt x="30" y="6"/>
                      </a:lnTo>
                      <a:lnTo>
                        <a:pt x="32" y="6"/>
                      </a:lnTo>
                      <a:lnTo>
                        <a:pt x="32" y="6"/>
                      </a:lnTo>
                      <a:lnTo>
                        <a:pt x="38" y="4"/>
                      </a:lnTo>
                      <a:lnTo>
                        <a:pt x="42" y="6"/>
                      </a:lnTo>
                      <a:lnTo>
                        <a:pt x="42" y="6"/>
                      </a:lnTo>
                      <a:lnTo>
                        <a:pt x="44" y="6"/>
                      </a:lnTo>
                      <a:lnTo>
                        <a:pt x="46" y="6"/>
                      </a:lnTo>
                      <a:lnTo>
                        <a:pt x="50" y="4"/>
                      </a:lnTo>
                      <a:lnTo>
                        <a:pt x="52" y="6"/>
                      </a:lnTo>
                      <a:lnTo>
                        <a:pt x="52" y="6"/>
                      </a:lnTo>
                      <a:lnTo>
                        <a:pt x="54" y="8"/>
                      </a:lnTo>
                      <a:lnTo>
                        <a:pt x="54" y="10"/>
                      </a:lnTo>
                      <a:lnTo>
                        <a:pt x="54" y="10"/>
                      </a:lnTo>
                      <a:lnTo>
                        <a:pt x="56" y="10"/>
                      </a:lnTo>
                      <a:lnTo>
                        <a:pt x="56" y="12"/>
                      </a:lnTo>
                      <a:lnTo>
                        <a:pt x="52" y="14"/>
                      </a:lnTo>
                      <a:lnTo>
                        <a:pt x="52" y="14"/>
                      </a:lnTo>
                      <a:lnTo>
                        <a:pt x="50" y="18"/>
                      </a:lnTo>
                      <a:lnTo>
                        <a:pt x="48" y="22"/>
                      </a:lnTo>
                      <a:lnTo>
                        <a:pt x="46" y="24"/>
                      </a:lnTo>
                      <a:lnTo>
                        <a:pt x="44" y="24"/>
                      </a:lnTo>
                      <a:lnTo>
                        <a:pt x="44" y="24"/>
                      </a:lnTo>
                      <a:lnTo>
                        <a:pt x="44" y="24"/>
                      </a:lnTo>
                      <a:lnTo>
                        <a:pt x="44" y="24"/>
                      </a:lnTo>
                      <a:lnTo>
                        <a:pt x="46" y="28"/>
                      </a:lnTo>
                      <a:lnTo>
                        <a:pt x="46" y="28"/>
                      </a:lnTo>
                      <a:lnTo>
                        <a:pt x="46" y="32"/>
                      </a:lnTo>
                      <a:lnTo>
                        <a:pt x="46" y="34"/>
                      </a:lnTo>
                      <a:lnTo>
                        <a:pt x="44" y="36"/>
                      </a:lnTo>
                      <a:lnTo>
                        <a:pt x="44" y="36"/>
                      </a:lnTo>
                      <a:lnTo>
                        <a:pt x="44" y="36"/>
                      </a:lnTo>
                      <a:lnTo>
                        <a:pt x="44" y="38"/>
                      </a:lnTo>
                      <a:lnTo>
                        <a:pt x="46" y="38"/>
                      </a:lnTo>
                      <a:lnTo>
                        <a:pt x="46" y="42"/>
                      </a:lnTo>
                      <a:lnTo>
                        <a:pt x="46" y="42"/>
                      </a:lnTo>
                      <a:lnTo>
                        <a:pt x="44" y="48"/>
                      </a:lnTo>
                      <a:lnTo>
                        <a:pt x="44" y="50"/>
                      </a:lnTo>
                      <a:lnTo>
                        <a:pt x="42" y="52"/>
                      </a:lnTo>
                      <a:lnTo>
                        <a:pt x="42" y="52"/>
                      </a:lnTo>
                      <a:lnTo>
                        <a:pt x="36" y="52"/>
                      </a:lnTo>
                      <a:lnTo>
                        <a:pt x="34" y="52"/>
                      </a:lnTo>
                      <a:lnTo>
                        <a:pt x="36" y="54"/>
                      </a:lnTo>
                      <a:lnTo>
                        <a:pt x="36" y="54"/>
                      </a:lnTo>
                      <a:lnTo>
                        <a:pt x="40" y="64"/>
                      </a:lnTo>
                      <a:lnTo>
                        <a:pt x="40" y="64"/>
                      </a:lnTo>
                      <a:lnTo>
                        <a:pt x="42" y="68"/>
                      </a:lnTo>
                      <a:lnTo>
                        <a:pt x="40" y="72"/>
                      </a:lnTo>
                      <a:lnTo>
                        <a:pt x="40" y="72"/>
                      </a:lnTo>
                      <a:lnTo>
                        <a:pt x="36" y="76"/>
                      </a:lnTo>
                      <a:lnTo>
                        <a:pt x="36" y="80"/>
                      </a:lnTo>
                      <a:lnTo>
                        <a:pt x="38" y="82"/>
                      </a:lnTo>
                      <a:lnTo>
                        <a:pt x="38" y="82"/>
                      </a:lnTo>
                      <a:lnTo>
                        <a:pt x="40" y="86"/>
                      </a:lnTo>
                      <a:lnTo>
                        <a:pt x="40" y="88"/>
                      </a:lnTo>
                      <a:lnTo>
                        <a:pt x="40" y="88"/>
                      </a:lnTo>
                      <a:lnTo>
                        <a:pt x="38" y="92"/>
                      </a:lnTo>
                      <a:lnTo>
                        <a:pt x="34" y="98"/>
                      </a:lnTo>
                      <a:lnTo>
                        <a:pt x="34" y="98"/>
                      </a:lnTo>
                      <a:lnTo>
                        <a:pt x="32" y="102"/>
                      </a:lnTo>
                      <a:lnTo>
                        <a:pt x="32" y="104"/>
                      </a:lnTo>
                      <a:lnTo>
                        <a:pt x="34" y="106"/>
                      </a:lnTo>
                      <a:lnTo>
                        <a:pt x="34" y="106"/>
                      </a:lnTo>
                      <a:close/>
                    </a:path>
                  </a:pathLst>
                </a:custGeom>
                <a:solidFill>
                  <a:schemeClr val="accent6"/>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8" name="Czech Republic"/>
                <p:cNvSpPr>
                  <a:spLocks/>
                </p:cNvSpPr>
                <p:nvPr/>
              </p:nvSpPr>
              <p:spPr bwMode="auto">
                <a:xfrm>
                  <a:off x="6112530" y="1842494"/>
                  <a:ext cx="191372" cy="81941"/>
                </a:xfrm>
                <a:custGeom>
                  <a:avLst/>
                  <a:gdLst/>
                  <a:ahLst/>
                  <a:cxnLst>
                    <a:cxn ang="0">
                      <a:pos x="100" y="54"/>
                    </a:cxn>
                    <a:cxn ang="0">
                      <a:pos x="106" y="48"/>
                    </a:cxn>
                    <a:cxn ang="0">
                      <a:pos x="110" y="46"/>
                    </a:cxn>
                    <a:cxn ang="0">
                      <a:pos x="118" y="38"/>
                    </a:cxn>
                    <a:cxn ang="0">
                      <a:pos x="126" y="28"/>
                    </a:cxn>
                    <a:cxn ang="0">
                      <a:pos x="116" y="22"/>
                    </a:cxn>
                    <a:cxn ang="0">
                      <a:pos x="102" y="18"/>
                    </a:cxn>
                    <a:cxn ang="0">
                      <a:pos x="100" y="16"/>
                    </a:cxn>
                    <a:cxn ang="0">
                      <a:pos x="96" y="12"/>
                    </a:cxn>
                    <a:cxn ang="0">
                      <a:pos x="92" y="12"/>
                    </a:cxn>
                    <a:cxn ang="0">
                      <a:pos x="86" y="10"/>
                    </a:cxn>
                    <a:cxn ang="0">
                      <a:pos x="86" y="12"/>
                    </a:cxn>
                    <a:cxn ang="0">
                      <a:pos x="86" y="14"/>
                    </a:cxn>
                    <a:cxn ang="0">
                      <a:pos x="82" y="16"/>
                    </a:cxn>
                    <a:cxn ang="0">
                      <a:pos x="82" y="16"/>
                    </a:cxn>
                    <a:cxn ang="0">
                      <a:pos x="76" y="12"/>
                    </a:cxn>
                    <a:cxn ang="0">
                      <a:pos x="72" y="10"/>
                    </a:cxn>
                    <a:cxn ang="0">
                      <a:pos x="52" y="6"/>
                    </a:cxn>
                    <a:cxn ang="0">
                      <a:pos x="48" y="6"/>
                    </a:cxn>
                    <a:cxn ang="0">
                      <a:pos x="44" y="6"/>
                    </a:cxn>
                    <a:cxn ang="0">
                      <a:pos x="40" y="2"/>
                    </a:cxn>
                    <a:cxn ang="0">
                      <a:pos x="34" y="4"/>
                    </a:cxn>
                    <a:cxn ang="0">
                      <a:pos x="30" y="8"/>
                    </a:cxn>
                    <a:cxn ang="0">
                      <a:pos x="24" y="10"/>
                    </a:cxn>
                    <a:cxn ang="0">
                      <a:pos x="12" y="14"/>
                    </a:cxn>
                    <a:cxn ang="0">
                      <a:pos x="0" y="14"/>
                    </a:cxn>
                    <a:cxn ang="0">
                      <a:pos x="0" y="16"/>
                    </a:cxn>
                    <a:cxn ang="0">
                      <a:pos x="8" y="26"/>
                    </a:cxn>
                    <a:cxn ang="0">
                      <a:pos x="12" y="30"/>
                    </a:cxn>
                    <a:cxn ang="0">
                      <a:pos x="16" y="32"/>
                    </a:cxn>
                    <a:cxn ang="0">
                      <a:pos x="28" y="40"/>
                    </a:cxn>
                    <a:cxn ang="0">
                      <a:pos x="32" y="42"/>
                    </a:cxn>
                    <a:cxn ang="0">
                      <a:pos x="32" y="46"/>
                    </a:cxn>
                    <a:cxn ang="0">
                      <a:pos x="40" y="48"/>
                    </a:cxn>
                    <a:cxn ang="0">
                      <a:pos x="44" y="48"/>
                    </a:cxn>
                    <a:cxn ang="0">
                      <a:pos x="48" y="48"/>
                    </a:cxn>
                    <a:cxn ang="0">
                      <a:pos x="50" y="44"/>
                    </a:cxn>
                    <a:cxn ang="0">
                      <a:pos x="50" y="38"/>
                    </a:cxn>
                    <a:cxn ang="0">
                      <a:pos x="52" y="38"/>
                    </a:cxn>
                    <a:cxn ang="0">
                      <a:pos x="62" y="42"/>
                    </a:cxn>
                    <a:cxn ang="0">
                      <a:pos x="64" y="44"/>
                    </a:cxn>
                    <a:cxn ang="0">
                      <a:pos x="68" y="42"/>
                    </a:cxn>
                    <a:cxn ang="0">
                      <a:pos x="72" y="42"/>
                    </a:cxn>
                    <a:cxn ang="0">
                      <a:pos x="90" y="52"/>
                    </a:cxn>
                    <a:cxn ang="0">
                      <a:pos x="94" y="54"/>
                    </a:cxn>
                    <a:cxn ang="0">
                      <a:pos x="100" y="54"/>
                    </a:cxn>
                  </a:cxnLst>
                  <a:rect l="0" t="0" r="r" b="b"/>
                  <a:pathLst>
                    <a:path w="126" h="54">
                      <a:moveTo>
                        <a:pt x="100" y="54"/>
                      </a:moveTo>
                      <a:lnTo>
                        <a:pt x="100" y="54"/>
                      </a:lnTo>
                      <a:lnTo>
                        <a:pt x="102" y="52"/>
                      </a:lnTo>
                      <a:lnTo>
                        <a:pt x="106" y="48"/>
                      </a:lnTo>
                      <a:lnTo>
                        <a:pt x="110" y="46"/>
                      </a:lnTo>
                      <a:lnTo>
                        <a:pt x="110" y="46"/>
                      </a:lnTo>
                      <a:lnTo>
                        <a:pt x="118" y="42"/>
                      </a:lnTo>
                      <a:lnTo>
                        <a:pt x="118" y="38"/>
                      </a:lnTo>
                      <a:lnTo>
                        <a:pt x="120" y="34"/>
                      </a:lnTo>
                      <a:lnTo>
                        <a:pt x="126" y="28"/>
                      </a:lnTo>
                      <a:lnTo>
                        <a:pt x="126" y="28"/>
                      </a:lnTo>
                      <a:lnTo>
                        <a:pt x="116" y="22"/>
                      </a:lnTo>
                      <a:lnTo>
                        <a:pt x="108" y="20"/>
                      </a:lnTo>
                      <a:lnTo>
                        <a:pt x="102" y="18"/>
                      </a:lnTo>
                      <a:lnTo>
                        <a:pt x="100" y="16"/>
                      </a:lnTo>
                      <a:lnTo>
                        <a:pt x="100" y="16"/>
                      </a:lnTo>
                      <a:lnTo>
                        <a:pt x="98" y="12"/>
                      </a:lnTo>
                      <a:lnTo>
                        <a:pt x="96" y="12"/>
                      </a:lnTo>
                      <a:lnTo>
                        <a:pt x="96" y="12"/>
                      </a:lnTo>
                      <a:lnTo>
                        <a:pt x="92" y="12"/>
                      </a:lnTo>
                      <a:lnTo>
                        <a:pt x="88" y="10"/>
                      </a:lnTo>
                      <a:lnTo>
                        <a:pt x="86" y="10"/>
                      </a:lnTo>
                      <a:lnTo>
                        <a:pt x="86" y="12"/>
                      </a:lnTo>
                      <a:lnTo>
                        <a:pt x="86" y="12"/>
                      </a:lnTo>
                      <a:lnTo>
                        <a:pt x="88" y="14"/>
                      </a:lnTo>
                      <a:lnTo>
                        <a:pt x="86" y="14"/>
                      </a:lnTo>
                      <a:lnTo>
                        <a:pt x="84" y="14"/>
                      </a:lnTo>
                      <a:lnTo>
                        <a:pt x="82" y="16"/>
                      </a:lnTo>
                      <a:lnTo>
                        <a:pt x="82" y="16"/>
                      </a:lnTo>
                      <a:lnTo>
                        <a:pt x="82" y="16"/>
                      </a:lnTo>
                      <a:lnTo>
                        <a:pt x="80" y="14"/>
                      </a:lnTo>
                      <a:lnTo>
                        <a:pt x="76" y="12"/>
                      </a:lnTo>
                      <a:lnTo>
                        <a:pt x="72" y="10"/>
                      </a:lnTo>
                      <a:lnTo>
                        <a:pt x="72" y="10"/>
                      </a:lnTo>
                      <a:lnTo>
                        <a:pt x="58" y="8"/>
                      </a:lnTo>
                      <a:lnTo>
                        <a:pt x="52" y="6"/>
                      </a:lnTo>
                      <a:lnTo>
                        <a:pt x="50" y="4"/>
                      </a:lnTo>
                      <a:lnTo>
                        <a:pt x="48" y="6"/>
                      </a:lnTo>
                      <a:lnTo>
                        <a:pt x="48" y="6"/>
                      </a:lnTo>
                      <a:lnTo>
                        <a:pt x="44" y="6"/>
                      </a:lnTo>
                      <a:lnTo>
                        <a:pt x="40" y="2"/>
                      </a:lnTo>
                      <a:lnTo>
                        <a:pt x="40" y="2"/>
                      </a:lnTo>
                      <a:lnTo>
                        <a:pt x="38" y="0"/>
                      </a:lnTo>
                      <a:lnTo>
                        <a:pt x="34" y="4"/>
                      </a:lnTo>
                      <a:lnTo>
                        <a:pt x="34" y="4"/>
                      </a:lnTo>
                      <a:lnTo>
                        <a:pt x="30" y="8"/>
                      </a:lnTo>
                      <a:lnTo>
                        <a:pt x="24" y="10"/>
                      </a:lnTo>
                      <a:lnTo>
                        <a:pt x="24" y="10"/>
                      </a:lnTo>
                      <a:lnTo>
                        <a:pt x="12" y="14"/>
                      </a:lnTo>
                      <a:lnTo>
                        <a:pt x="12" y="14"/>
                      </a:lnTo>
                      <a:lnTo>
                        <a:pt x="4" y="14"/>
                      </a:lnTo>
                      <a:lnTo>
                        <a:pt x="0" y="14"/>
                      </a:lnTo>
                      <a:lnTo>
                        <a:pt x="0" y="16"/>
                      </a:lnTo>
                      <a:lnTo>
                        <a:pt x="0" y="16"/>
                      </a:lnTo>
                      <a:lnTo>
                        <a:pt x="4" y="20"/>
                      </a:lnTo>
                      <a:lnTo>
                        <a:pt x="8" y="26"/>
                      </a:lnTo>
                      <a:lnTo>
                        <a:pt x="8" y="26"/>
                      </a:lnTo>
                      <a:lnTo>
                        <a:pt x="12" y="30"/>
                      </a:lnTo>
                      <a:lnTo>
                        <a:pt x="16" y="32"/>
                      </a:lnTo>
                      <a:lnTo>
                        <a:pt x="16" y="32"/>
                      </a:lnTo>
                      <a:lnTo>
                        <a:pt x="24" y="38"/>
                      </a:lnTo>
                      <a:lnTo>
                        <a:pt x="28" y="40"/>
                      </a:lnTo>
                      <a:lnTo>
                        <a:pt x="28" y="40"/>
                      </a:lnTo>
                      <a:lnTo>
                        <a:pt x="32" y="42"/>
                      </a:lnTo>
                      <a:lnTo>
                        <a:pt x="32" y="46"/>
                      </a:lnTo>
                      <a:lnTo>
                        <a:pt x="32" y="46"/>
                      </a:lnTo>
                      <a:lnTo>
                        <a:pt x="38" y="48"/>
                      </a:lnTo>
                      <a:lnTo>
                        <a:pt x="40" y="48"/>
                      </a:lnTo>
                      <a:lnTo>
                        <a:pt x="40" y="48"/>
                      </a:lnTo>
                      <a:lnTo>
                        <a:pt x="44" y="48"/>
                      </a:lnTo>
                      <a:lnTo>
                        <a:pt x="46" y="48"/>
                      </a:lnTo>
                      <a:lnTo>
                        <a:pt x="48" y="48"/>
                      </a:lnTo>
                      <a:lnTo>
                        <a:pt x="48" y="48"/>
                      </a:lnTo>
                      <a:lnTo>
                        <a:pt x="50" y="44"/>
                      </a:lnTo>
                      <a:lnTo>
                        <a:pt x="50" y="40"/>
                      </a:lnTo>
                      <a:lnTo>
                        <a:pt x="50" y="38"/>
                      </a:lnTo>
                      <a:lnTo>
                        <a:pt x="52" y="38"/>
                      </a:lnTo>
                      <a:lnTo>
                        <a:pt x="52" y="38"/>
                      </a:lnTo>
                      <a:lnTo>
                        <a:pt x="58" y="40"/>
                      </a:lnTo>
                      <a:lnTo>
                        <a:pt x="62" y="42"/>
                      </a:lnTo>
                      <a:lnTo>
                        <a:pt x="62" y="42"/>
                      </a:lnTo>
                      <a:lnTo>
                        <a:pt x="64" y="44"/>
                      </a:lnTo>
                      <a:lnTo>
                        <a:pt x="66" y="42"/>
                      </a:lnTo>
                      <a:lnTo>
                        <a:pt x="68" y="42"/>
                      </a:lnTo>
                      <a:lnTo>
                        <a:pt x="72" y="42"/>
                      </a:lnTo>
                      <a:lnTo>
                        <a:pt x="72" y="42"/>
                      </a:lnTo>
                      <a:lnTo>
                        <a:pt x="82" y="48"/>
                      </a:lnTo>
                      <a:lnTo>
                        <a:pt x="90" y="52"/>
                      </a:lnTo>
                      <a:lnTo>
                        <a:pt x="90" y="52"/>
                      </a:lnTo>
                      <a:lnTo>
                        <a:pt x="94" y="54"/>
                      </a:lnTo>
                      <a:lnTo>
                        <a:pt x="96" y="54"/>
                      </a:lnTo>
                      <a:lnTo>
                        <a:pt x="100" y="54"/>
                      </a:lnTo>
                      <a:lnTo>
                        <a:pt x="100" y="54"/>
                      </a:lnTo>
                      <a:close/>
                    </a:path>
                  </a:pathLst>
                </a:custGeom>
                <a:solidFill>
                  <a:schemeClr val="accent6"/>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9" name="Poland"/>
                <p:cNvSpPr>
                  <a:spLocks/>
                </p:cNvSpPr>
                <p:nvPr/>
              </p:nvSpPr>
              <p:spPr bwMode="auto">
                <a:xfrm>
                  <a:off x="6157887" y="1733612"/>
                  <a:ext cx="279463" cy="157811"/>
                </a:xfrm>
                <a:custGeom>
                  <a:avLst/>
                  <a:gdLst/>
                  <a:ahLst/>
                  <a:cxnLst>
                    <a:cxn ang="0">
                      <a:pos x="18" y="72"/>
                    </a:cxn>
                    <a:cxn ang="0">
                      <a:pos x="16" y="60"/>
                    </a:cxn>
                    <a:cxn ang="0">
                      <a:pos x="12" y="46"/>
                    </a:cxn>
                    <a:cxn ang="0">
                      <a:pos x="10" y="40"/>
                    </a:cxn>
                    <a:cxn ang="0">
                      <a:pos x="6" y="38"/>
                    </a:cxn>
                    <a:cxn ang="0">
                      <a:pos x="0" y="34"/>
                    </a:cxn>
                    <a:cxn ang="0">
                      <a:pos x="2" y="28"/>
                    </a:cxn>
                    <a:cxn ang="0">
                      <a:pos x="4" y="26"/>
                    </a:cxn>
                    <a:cxn ang="0">
                      <a:pos x="4" y="18"/>
                    </a:cxn>
                    <a:cxn ang="0">
                      <a:pos x="10" y="18"/>
                    </a:cxn>
                    <a:cxn ang="0">
                      <a:pos x="16" y="12"/>
                    </a:cxn>
                    <a:cxn ang="0">
                      <a:pos x="32" y="8"/>
                    </a:cxn>
                    <a:cxn ang="0">
                      <a:pos x="50" y="6"/>
                    </a:cxn>
                    <a:cxn ang="0">
                      <a:pos x="64" y="0"/>
                    </a:cxn>
                    <a:cxn ang="0">
                      <a:pos x="82" y="0"/>
                    </a:cxn>
                    <a:cxn ang="0">
                      <a:pos x="90" y="6"/>
                    </a:cxn>
                    <a:cxn ang="0">
                      <a:pos x="86" y="4"/>
                    </a:cxn>
                    <a:cxn ang="0">
                      <a:pos x="84" y="6"/>
                    </a:cxn>
                    <a:cxn ang="0">
                      <a:pos x="86" y="10"/>
                    </a:cxn>
                    <a:cxn ang="0">
                      <a:pos x="94" y="10"/>
                    </a:cxn>
                    <a:cxn ang="0">
                      <a:pos x="98" y="4"/>
                    </a:cxn>
                    <a:cxn ang="0">
                      <a:pos x="94" y="12"/>
                    </a:cxn>
                    <a:cxn ang="0">
                      <a:pos x="96" y="12"/>
                    </a:cxn>
                    <a:cxn ang="0">
                      <a:pos x="100" y="8"/>
                    </a:cxn>
                    <a:cxn ang="0">
                      <a:pos x="120" y="10"/>
                    </a:cxn>
                    <a:cxn ang="0">
                      <a:pos x="130" y="8"/>
                    </a:cxn>
                    <a:cxn ang="0">
                      <a:pos x="144" y="8"/>
                    </a:cxn>
                    <a:cxn ang="0">
                      <a:pos x="150" y="6"/>
                    </a:cxn>
                    <a:cxn ang="0">
                      <a:pos x="154" y="8"/>
                    </a:cxn>
                    <a:cxn ang="0">
                      <a:pos x="158" y="10"/>
                    </a:cxn>
                    <a:cxn ang="0">
                      <a:pos x="164" y="18"/>
                    </a:cxn>
                    <a:cxn ang="0">
                      <a:pos x="170" y="26"/>
                    </a:cxn>
                    <a:cxn ang="0">
                      <a:pos x="166" y="38"/>
                    </a:cxn>
                    <a:cxn ang="0">
                      <a:pos x="162" y="44"/>
                    </a:cxn>
                    <a:cxn ang="0">
                      <a:pos x="168" y="58"/>
                    </a:cxn>
                    <a:cxn ang="0">
                      <a:pos x="180" y="72"/>
                    </a:cxn>
                    <a:cxn ang="0">
                      <a:pos x="184" y="76"/>
                    </a:cxn>
                    <a:cxn ang="0">
                      <a:pos x="180" y="78"/>
                    </a:cxn>
                    <a:cxn ang="0">
                      <a:pos x="180" y="80"/>
                    </a:cxn>
                    <a:cxn ang="0">
                      <a:pos x="174" y="86"/>
                    </a:cxn>
                    <a:cxn ang="0">
                      <a:pos x="166" y="96"/>
                    </a:cxn>
                    <a:cxn ang="0">
                      <a:pos x="164" y="104"/>
                    </a:cxn>
                    <a:cxn ang="0">
                      <a:pos x="160" y="104"/>
                    </a:cxn>
                    <a:cxn ang="0">
                      <a:pos x="140" y="98"/>
                    </a:cxn>
                    <a:cxn ang="0">
                      <a:pos x="132" y="98"/>
                    </a:cxn>
                    <a:cxn ang="0">
                      <a:pos x="130" y="102"/>
                    </a:cxn>
                    <a:cxn ang="0">
                      <a:pos x="122" y="98"/>
                    </a:cxn>
                    <a:cxn ang="0">
                      <a:pos x="118" y="100"/>
                    </a:cxn>
                    <a:cxn ang="0">
                      <a:pos x="112" y="98"/>
                    </a:cxn>
                    <a:cxn ang="0">
                      <a:pos x="106" y="98"/>
                    </a:cxn>
                    <a:cxn ang="0">
                      <a:pos x="96" y="96"/>
                    </a:cxn>
                    <a:cxn ang="0">
                      <a:pos x="72" y="86"/>
                    </a:cxn>
                    <a:cxn ang="0">
                      <a:pos x="68" y="80"/>
                    </a:cxn>
                    <a:cxn ang="0">
                      <a:pos x="62" y="80"/>
                    </a:cxn>
                    <a:cxn ang="0">
                      <a:pos x="56" y="80"/>
                    </a:cxn>
                    <a:cxn ang="0">
                      <a:pos x="56" y="82"/>
                    </a:cxn>
                    <a:cxn ang="0">
                      <a:pos x="52" y="84"/>
                    </a:cxn>
                    <a:cxn ang="0">
                      <a:pos x="46" y="80"/>
                    </a:cxn>
                    <a:cxn ang="0">
                      <a:pos x="28" y="76"/>
                    </a:cxn>
                    <a:cxn ang="0">
                      <a:pos x="18" y="74"/>
                    </a:cxn>
                  </a:cxnLst>
                  <a:rect l="0" t="0" r="r" b="b"/>
                  <a:pathLst>
                    <a:path w="184" h="104">
                      <a:moveTo>
                        <a:pt x="18" y="74"/>
                      </a:moveTo>
                      <a:lnTo>
                        <a:pt x="18" y="74"/>
                      </a:lnTo>
                      <a:lnTo>
                        <a:pt x="18" y="72"/>
                      </a:lnTo>
                      <a:lnTo>
                        <a:pt x="18" y="68"/>
                      </a:lnTo>
                      <a:lnTo>
                        <a:pt x="18" y="68"/>
                      </a:lnTo>
                      <a:lnTo>
                        <a:pt x="16" y="60"/>
                      </a:lnTo>
                      <a:lnTo>
                        <a:pt x="12" y="50"/>
                      </a:lnTo>
                      <a:lnTo>
                        <a:pt x="12" y="50"/>
                      </a:lnTo>
                      <a:lnTo>
                        <a:pt x="12" y="46"/>
                      </a:lnTo>
                      <a:lnTo>
                        <a:pt x="12" y="42"/>
                      </a:lnTo>
                      <a:lnTo>
                        <a:pt x="12" y="42"/>
                      </a:lnTo>
                      <a:lnTo>
                        <a:pt x="10" y="40"/>
                      </a:lnTo>
                      <a:lnTo>
                        <a:pt x="8" y="40"/>
                      </a:lnTo>
                      <a:lnTo>
                        <a:pt x="6" y="38"/>
                      </a:lnTo>
                      <a:lnTo>
                        <a:pt x="6" y="38"/>
                      </a:lnTo>
                      <a:lnTo>
                        <a:pt x="2" y="36"/>
                      </a:lnTo>
                      <a:lnTo>
                        <a:pt x="0" y="36"/>
                      </a:lnTo>
                      <a:lnTo>
                        <a:pt x="0" y="34"/>
                      </a:lnTo>
                      <a:lnTo>
                        <a:pt x="0" y="34"/>
                      </a:lnTo>
                      <a:lnTo>
                        <a:pt x="0" y="32"/>
                      </a:lnTo>
                      <a:lnTo>
                        <a:pt x="2" y="28"/>
                      </a:lnTo>
                      <a:lnTo>
                        <a:pt x="4" y="26"/>
                      </a:lnTo>
                      <a:lnTo>
                        <a:pt x="4" y="26"/>
                      </a:lnTo>
                      <a:lnTo>
                        <a:pt x="4" y="26"/>
                      </a:lnTo>
                      <a:lnTo>
                        <a:pt x="4" y="22"/>
                      </a:lnTo>
                      <a:lnTo>
                        <a:pt x="4" y="18"/>
                      </a:lnTo>
                      <a:lnTo>
                        <a:pt x="4" y="18"/>
                      </a:lnTo>
                      <a:lnTo>
                        <a:pt x="8" y="18"/>
                      </a:lnTo>
                      <a:lnTo>
                        <a:pt x="8" y="18"/>
                      </a:lnTo>
                      <a:lnTo>
                        <a:pt x="10" y="18"/>
                      </a:lnTo>
                      <a:lnTo>
                        <a:pt x="10" y="16"/>
                      </a:lnTo>
                      <a:lnTo>
                        <a:pt x="12" y="12"/>
                      </a:lnTo>
                      <a:lnTo>
                        <a:pt x="16" y="12"/>
                      </a:lnTo>
                      <a:lnTo>
                        <a:pt x="16" y="12"/>
                      </a:lnTo>
                      <a:lnTo>
                        <a:pt x="32" y="8"/>
                      </a:lnTo>
                      <a:lnTo>
                        <a:pt x="32" y="8"/>
                      </a:lnTo>
                      <a:lnTo>
                        <a:pt x="42" y="8"/>
                      </a:lnTo>
                      <a:lnTo>
                        <a:pt x="44" y="8"/>
                      </a:lnTo>
                      <a:lnTo>
                        <a:pt x="50" y="6"/>
                      </a:lnTo>
                      <a:lnTo>
                        <a:pt x="50" y="6"/>
                      </a:lnTo>
                      <a:lnTo>
                        <a:pt x="54" y="2"/>
                      </a:lnTo>
                      <a:lnTo>
                        <a:pt x="64" y="0"/>
                      </a:lnTo>
                      <a:lnTo>
                        <a:pt x="64" y="0"/>
                      </a:lnTo>
                      <a:lnTo>
                        <a:pt x="74" y="0"/>
                      </a:lnTo>
                      <a:lnTo>
                        <a:pt x="82" y="0"/>
                      </a:lnTo>
                      <a:lnTo>
                        <a:pt x="82" y="0"/>
                      </a:lnTo>
                      <a:lnTo>
                        <a:pt x="88" y="4"/>
                      </a:lnTo>
                      <a:lnTo>
                        <a:pt x="90" y="6"/>
                      </a:lnTo>
                      <a:lnTo>
                        <a:pt x="88" y="6"/>
                      </a:lnTo>
                      <a:lnTo>
                        <a:pt x="88" y="6"/>
                      </a:lnTo>
                      <a:lnTo>
                        <a:pt x="86" y="4"/>
                      </a:lnTo>
                      <a:lnTo>
                        <a:pt x="84" y="4"/>
                      </a:lnTo>
                      <a:lnTo>
                        <a:pt x="84" y="6"/>
                      </a:lnTo>
                      <a:lnTo>
                        <a:pt x="84" y="6"/>
                      </a:lnTo>
                      <a:lnTo>
                        <a:pt x="84" y="8"/>
                      </a:lnTo>
                      <a:lnTo>
                        <a:pt x="86" y="10"/>
                      </a:lnTo>
                      <a:lnTo>
                        <a:pt x="86" y="10"/>
                      </a:lnTo>
                      <a:lnTo>
                        <a:pt x="90" y="12"/>
                      </a:lnTo>
                      <a:lnTo>
                        <a:pt x="94" y="10"/>
                      </a:lnTo>
                      <a:lnTo>
                        <a:pt x="94" y="10"/>
                      </a:lnTo>
                      <a:lnTo>
                        <a:pt x="98" y="6"/>
                      </a:lnTo>
                      <a:lnTo>
                        <a:pt x="98" y="6"/>
                      </a:lnTo>
                      <a:lnTo>
                        <a:pt x="98" y="4"/>
                      </a:lnTo>
                      <a:lnTo>
                        <a:pt x="98" y="6"/>
                      </a:lnTo>
                      <a:lnTo>
                        <a:pt x="98" y="6"/>
                      </a:lnTo>
                      <a:lnTo>
                        <a:pt x="94" y="12"/>
                      </a:lnTo>
                      <a:lnTo>
                        <a:pt x="94" y="12"/>
                      </a:lnTo>
                      <a:lnTo>
                        <a:pt x="96" y="12"/>
                      </a:lnTo>
                      <a:lnTo>
                        <a:pt x="96" y="12"/>
                      </a:lnTo>
                      <a:lnTo>
                        <a:pt x="98" y="12"/>
                      </a:lnTo>
                      <a:lnTo>
                        <a:pt x="98" y="12"/>
                      </a:lnTo>
                      <a:lnTo>
                        <a:pt x="100" y="8"/>
                      </a:lnTo>
                      <a:lnTo>
                        <a:pt x="100" y="8"/>
                      </a:lnTo>
                      <a:lnTo>
                        <a:pt x="114" y="8"/>
                      </a:lnTo>
                      <a:lnTo>
                        <a:pt x="120" y="10"/>
                      </a:lnTo>
                      <a:lnTo>
                        <a:pt x="126" y="10"/>
                      </a:lnTo>
                      <a:lnTo>
                        <a:pt x="130" y="8"/>
                      </a:lnTo>
                      <a:lnTo>
                        <a:pt x="130" y="8"/>
                      </a:lnTo>
                      <a:lnTo>
                        <a:pt x="136" y="6"/>
                      </a:lnTo>
                      <a:lnTo>
                        <a:pt x="140" y="8"/>
                      </a:lnTo>
                      <a:lnTo>
                        <a:pt x="144" y="8"/>
                      </a:lnTo>
                      <a:lnTo>
                        <a:pt x="146" y="6"/>
                      </a:lnTo>
                      <a:lnTo>
                        <a:pt x="146" y="6"/>
                      </a:lnTo>
                      <a:lnTo>
                        <a:pt x="150" y="6"/>
                      </a:lnTo>
                      <a:lnTo>
                        <a:pt x="150" y="6"/>
                      </a:lnTo>
                      <a:lnTo>
                        <a:pt x="152" y="8"/>
                      </a:lnTo>
                      <a:lnTo>
                        <a:pt x="154" y="8"/>
                      </a:lnTo>
                      <a:lnTo>
                        <a:pt x="154" y="8"/>
                      </a:lnTo>
                      <a:lnTo>
                        <a:pt x="156" y="8"/>
                      </a:lnTo>
                      <a:lnTo>
                        <a:pt x="158" y="10"/>
                      </a:lnTo>
                      <a:lnTo>
                        <a:pt x="162" y="14"/>
                      </a:lnTo>
                      <a:lnTo>
                        <a:pt x="162" y="14"/>
                      </a:lnTo>
                      <a:lnTo>
                        <a:pt x="164" y="18"/>
                      </a:lnTo>
                      <a:lnTo>
                        <a:pt x="166" y="24"/>
                      </a:lnTo>
                      <a:lnTo>
                        <a:pt x="166" y="24"/>
                      </a:lnTo>
                      <a:lnTo>
                        <a:pt x="170" y="26"/>
                      </a:lnTo>
                      <a:lnTo>
                        <a:pt x="172" y="30"/>
                      </a:lnTo>
                      <a:lnTo>
                        <a:pt x="172" y="34"/>
                      </a:lnTo>
                      <a:lnTo>
                        <a:pt x="166" y="38"/>
                      </a:lnTo>
                      <a:lnTo>
                        <a:pt x="166" y="38"/>
                      </a:lnTo>
                      <a:lnTo>
                        <a:pt x="162" y="40"/>
                      </a:lnTo>
                      <a:lnTo>
                        <a:pt x="162" y="44"/>
                      </a:lnTo>
                      <a:lnTo>
                        <a:pt x="166" y="48"/>
                      </a:lnTo>
                      <a:lnTo>
                        <a:pt x="168" y="58"/>
                      </a:lnTo>
                      <a:lnTo>
                        <a:pt x="168" y="58"/>
                      </a:lnTo>
                      <a:lnTo>
                        <a:pt x="172" y="66"/>
                      </a:lnTo>
                      <a:lnTo>
                        <a:pt x="176" y="70"/>
                      </a:lnTo>
                      <a:lnTo>
                        <a:pt x="180" y="72"/>
                      </a:lnTo>
                      <a:lnTo>
                        <a:pt x="184" y="74"/>
                      </a:lnTo>
                      <a:lnTo>
                        <a:pt x="184" y="74"/>
                      </a:lnTo>
                      <a:lnTo>
                        <a:pt x="184" y="76"/>
                      </a:lnTo>
                      <a:lnTo>
                        <a:pt x="182" y="74"/>
                      </a:lnTo>
                      <a:lnTo>
                        <a:pt x="180" y="74"/>
                      </a:lnTo>
                      <a:lnTo>
                        <a:pt x="180" y="78"/>
                      </a:lnTo>
                      <a:lnTo>
                        <a:pt x="180" y="78"/>
                      </a:lnTo>
                      <a:lnTo>
                        <a:pt x="182" y="80"/>
                      </a:lnTo>
                      <a:lnTo>
                        <a:pt x="180" y="80"/>
                      </a:lnTo>
                      <a:lnTo>
                        <a:pt x="176" y="82"/>
                      </a:lnTo>
                      <a:lnTo>
                        <a:pt x="174" y="86"/>
                      </a:lnTo>
                      <a:lnTo>
                        <a:pt x="174" y="86"/>
                      </a:lnTo>
                      <a:lnTo>
                        <a:pt x="168" y="92"/>
                      </a:lnTo>
                      <a:lnTo>
                        <a:pt x="166" y="94"/>
                      </a:lnTo>
                      <a:lnTo>
                        <a:pt x="166" y="96"/>
                      </a:lnTo>
                      <a:lnTo>
                        <a:pt x="166" y="100"/>
                      </a:lnTo>
                      <a:lnTo>
                        <a:pt x="166" y="100"/>
                      </a:lnTo>
                      <a:lnTo>
                        <a:pt x="164" y="104"/>
                      </a:lnTo>
                      <a:lnTo>
                        <a:pt x="164" y="104"/>
                      </a:lnTo>
                      <a:lnTo>
                        <a:pt x="160" y="104"/>
                      </a:lnTo>
                      <a:lnTo>
                        <a:pt x="160" y="104"/>
                      </a:lnTo>
                      <a:lnTo>
                        <a:pt x="152" y="104"/>
                      </a:lnTo>
                      <a:lnTo>
                        <a:pt x="146" y="100"/>
                      </a:lnTo>
                      <a:lnTo>
                        <a:pt x="140" y="98"/>
                      </a:lnTo>
                      <a:lnTo>
                        <a:pt x="136" y="96"/>
                      </a:lnTo>
                      <a:lnTo>
                        <a:pt x="136" y="96"/>
                      </a:lnTo>
                      <a:lnTo>
                        <a:pt x="132" y="98"/>
                      </a:lnTo>
                      <a:lnTo>
                        <a:pt x="132" y="100"/>
                      </a:lnTo>
                      <a:lnTo>
                        <a:pt x="132" y="100"/>
                      </a:lnTo>
                      <a:lnTo>
                        <a:pt x="130" y="102"/>
                      </a:lnTo>
                      <a:lnTo>
                        <a:pt x="130" y="102"/>
                      </a:lnTo>
                      <a:lnTo>
                        <a:pt x="126" y="100"/>
                      </a:lnTo>
                      <a:lnTo>
                        <a:pt x="122" y="98"/>
                      </a:lnTo>
                      <a:lnTo>
                        <a:pt x="122" y="98"/>
                      </a:lnTo>
                      <a:lnTo>
                        <a:pt x="120" y="98"/>
                      </a:lnTo>
                      <a:lnTo>
                        <a:pt x="118" y="100"/>
                      </a:lnTo>
                      <a:lnTo>
                        <a:pt x="116" y="100"/>
                      </a:lnTo>
                      <a:lnTo>
                        <a:pt x="112" y="98"/>
                      </a:lnTo>
                      <a:lnTo>
                        <a:pt x="112" y="98"/>
                      </a:lnTo>
                      <a:lnTo>
                        <a:pt x="108" y="94"/>
                      </a:lnTo>
                      <a:lnTo>
                        <a:pt x="106" y="98"/>
                      </a:lnTo>
                      <a:lnTo>
                        <a:pt x="106" y="98"/>
                      </a:lnTo>
                      <a:lnTo>
                        <a:pt x="104" y="100"/>
                      </a:lnTo>
                      <a:lnTo>
                        <a:pt x="96" y="96"/>
                      </a:lnTo>
                      <a:lnTo>
                        <a:pt x="96" y="96"/>
                      </a:lnTo>
                      <a:lnTo>
                        <a:pt x="86" y="90"/>
                      </a:lnTo>
                      <a:lnTo>
                        <a:pt x="78" y="88"/>
                      </a:lnTo>
                      <a:lnTo>
                        <a:pt x="72" y="86"/>
                      </a:lnTo>
                      <a:lnTo>
                        <a:pt x="70" y="84"/>
                      </a:lnTo>
                      <a:lnTo>
                        <a:pt x="70" y="84"/>
                      </a:lnTo>
                      <a:lnTo>
                        <a:pt x="68" y="80"/>
                      </a:lnTo>
                      <a:lnTo>
                        <a:pt x="66" y="80"/>
                      </a:lnTo>
                      <a:lnTo>
                        <a:pt x="66" y="80"/>
                      </a:lnTo>
                      <a:lnTo>
                        <a:pt x="62" y="80"/>
                      </a:lnTo>
                      <a:lnTo>
                        <a:pt x="58" y="78"/>
                      </a:lnTo>
                      <a:lnTo>
                        <a:pt x="56" y="78"/>
                      </a:lnTo>
                      <a:lnTo>
                        <a:pt x="56" y="80"/>
                      </a:lnTo>
                      <a:lnTo>
                        <a:pt x="56" y="80"/>
                      </a:lnTo>
                      <a:lnTo>
                        <a:pt x="58" y="82"/>
                      </a:lnTo>
                      <a:lnTo>
                        <a:pt x="56" y="82"/>
                      </a:lnTo>
                      <a:lnTo>
                        <a:pt x="54" y="82"/>
                      </a:lnTo>
                      <a:lnTo>
                        <a:pt x="52" y="84"/>
                      </a:lnTo>
                      <a:lnTo>
                        <a:pt x="52" y="84"/>
                      </a:lnTo>
                      <a:lnTo>
                        <a:pt x="52" y="84"/>
                      </a:lnTo>
                      <a:lnTo>
                        <a:pt x="50" y="82"/>
                      </a:lnTo>
                      <a:lnTo>
                        <a:pt x="46" y="80"/>
                      </a:lnTo>
                      <a:lnTo>
                        <a:pt x="42" y="78"/>
                      </a:lnTo>
                      <a:lnTo>
                        <a:pt x="42" y="78"/>
                      </a:lnTo>
                      <a:lnTo>
                        <a:pt x="28" y="76"/>
                      </a:lnTo>
                      <a:lnTo>
                        <a:pt x="22" y="74"/>
                      </a:lnTo>
                      <a:lnTo>
                        <a:pt x="20" y="72"/>
                      </a:lnTo>
                      <a:lnTo>
                        <a:pt x="18" y="74"/>
                      </a:lnTo>
                      <a:lnTo>
                        <a:pt x="18" y="74"/>
                      </a:lnTo>
                      <a:close/>
                    </a:path>
                  </a:pathLst>
                </a:custGeom>
                <a:solidFill>
                  <a:schemeClr val="accent6"/>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0" name="Sweden"/>
                <p:cNvSpPr>
                  <a:spLocks/>
                </p:cNvSpPr>
                <p:nvPr/>
              </p:nvSpPr>
              <p:spPr bwMode="auto">
                <a:xfrm>
                  <a:off x="6057852" y="1400149"/>
                  <a:ext cx="294651" cy="327762"/>
                </a:xfrm>
                <a:custGeom>
                  <a:avLst/>
                  <a:gdLst/>
                  <a:ahLst/>
                  <a:cxnLst>
                    <a:cxn ang="0">
                      <a:pos x="152" y="8"/>
                    </a:cxn>
                    <a:cxn ang="0">
                      <a:pos x="176" y="18"/>
                    </a:cxn>
                    <a:cxn ang="0">
                      <a:pos x="180" y="24"/>
                    </a:cxn>
                    <a:cxn ang="0">
                      <a:pos x="190" y="36"/>
                    </a:cxn>
                    <a:cxn ang="0">
                      <a:pos x="194" y="46"/>
                    </a:cxn>
                    <a:cxn ang="0">
                      <a:pos x="188" y="50"/>
                    </a:cxn>
                    <a:cxn ang="0">
                      <a:pos x="174" y="48"/>
                    </a:cxn>
                    <a:cxn ang="0">
                      <a:pos x="166" y="52"/>
                    </a:cxn>
                    <a:cxn ang="0">
                      <a:pos x="160" y="58"/>
                    </a:cxn>
                    <a:cxn ang="0">
                      <a:pos x="150" y="74"/>
                    </a:cxn>
                    <a:cxn ang="0">
                      <a:pos x="138" y="80"/>
                    </a:cxn>
                    <a:cxn ang="0">
                      <a:pos x="130" y="84"/>
                    </a:cxn>
                    <a:cxn ang="0">
                      <a:pos x="116" y="86"/>
                    </a:cxn>
                    <a:cxn ang="0">
                      <a:pos x="108" y="90"/>
                    </a:cxn>
                    <a:cxn ang="0">
                      <a:pos x="102" y="92"/>
                    </a:cxn>
                    <a:cxn ang="0">
                      <a:pos x="100" y="108"/>
                    </a:cxn>
                    <a:cxn ang="0">
                      <a:pos x="104" y="126"/>
                    </a:cxn>
                    <a:cxn ang="0">
                      <a:pos x="114" y="126"/>
                    </a:cxn>
                    <a:cxn ang="0">
                      <a:pos x="128" y="134"/>
                    </a:cxn>
                    <a:cxn ang="0">
                      <a:pos x="124" y="140"/>
                    </a:cxn>
                    <a:cxn ang="0">
                      <a:pos x="108" y="138"/>
                    </a:cxn>
                    <a:cxn ang="0">
                      <a:pos x="130" y="140"/>
                    </a:cxn>
                    <a:cxn ang="0">
                      <a:pos x="118" y="150"/>
                    </a:cxn>
                    <a:cxn ang="0">
                      <a:pos x="110" y="148"/>
                    </a:cxn>
                    <a:cxn ang="0">
                      <a:pos x="94" y="152"/>
                    </a:cxn>
                    <a:cxn ang="0">
                      <a:pos x="102" y="158"/>
                    </a:cxn>
                    <a:cxn ang="0">
                      <a:pos x="100" y="164"/>
                    </a:cxn>
                    <a:cxn ang="0">
                      <a:pos x="100" y="176"/>
                    </a:cxn>
                    <a:cxn ang="0">
                      <a:pos x="96" y="192"/>
                    </a:cxn>
                    <a:cxn ang="0">
                      <a:pos x="84" y="202"/>
                    </a:cxn>
                    <a:cxn ang="0">
                      <a:pos x="72" y="202"/>
                    </a:cxn>
                    <a:cxn ang="0">
                      <a:pos x="66" y="210"/>
                    </a:cxn>
                    <a:cxn ang="0">
                      <a:pos x="66" y="214"/>
                    </a:cxn>
                    <a:cxn ang="0">
                      <a:pos x="44" y="216"/>
                    </a:cxn>
                    <a:cxn ang="0">
                      <a:pos x="32" y="200"/>
                    </a:cxn>
                    <a:cxn ang="0">
                      <a:pos x="36" y="196"/>
                    </a:cxn>
                    <a:cxn ang="0">
                      <a:pos x="28" y="188"/>
                    </a:cxn>
                    <a:cxn ang="0">
                      <a:pos x="18" y="174"/>
                    </a:cxn>
                    <a:cxn ang="0">
                      <a:pos x="14" y="168"/>
                    </a:cxn>
                    <a:cxn ang="0">
                      <a:pos x="10" y="164"/>
                    </a:cxn>
                    <a:cxn ang="0">
                      <a:pos x="4" y="156"/>
                    </a:cxn>
                    <a:cxn ang="0">
                      <a:pos x="6" y="152"/>
                    </a:cxn>
                    <a:cxn ang="0">
                      <a:pos x="6" y="144"/>
                    </a:cxn>
                    <a:cxn ang="0">
                      <a:pos x="10" y="136"/>
                    </a:cxn>
                    <a:cxn ang="0">
                      <a:pos x="16" y="116"/>
                    </a:cxn>
                    <a:cxn ang="0">
                      <a:pos x="20" y="108"/>
                    </a:cxn>
                    <a:cxn ang="0">
                      <a:pos x="14" y="96"/>
                    </a:cxn>
                    <a:cxn ang="0">
                      <a:pos x="12" y="80"/>
                    </a:cxn>
                    <a:cxn ang="0">
                      <a:pos x="26" y="68"/>
                    </a:cxn>
                    <a:cxn ang="0">
                      <a:pos x="44" y="60"/>
                    </a:cxn>
                    <a:cxn ang="0">
                      <a:pos x="48" y="44"/>
                    </a:cxn>
                    <a:cxn ang="0">
                      <a:pos x="56" y="36"/>
                    </a:cxn>
                    <a:cxn ang="0">
                      <a:pos x="64" y="30"/>
                    </a:cxn>
                    <a:cxn ang="0">
                      <a:pos x="90" y="10"/>
                    </a:cxn>
                    <a:cxn ang="0">
                      <a:pos x="108" y="10"/>
                    </a:cxn>
                    <a:cxn ang="0">
                      <a:pos x="134" y="0"/>
                    </a:cxn>
                  </a:cxnLst>
                  <a:rect l="0" t="0" r="r" b="b"/>
                  <a:pathLst>
                    <a:path w="194" h="216">
                      <a:moveTo>
                        <a:pt x="134" y="0"/>
                      </a:moveTo>
                      <a:lnTo>
                        <a:pt x="134" y="0"/>
                      </a:lnTo>
                      <a:lnTo>
                        <a:pt x="138" y="4"/>
                      </a:lnTo>
                      <a:lnTo>
                        <a:pt x="142" y="6"/>
                      </a:lnTo>
                      <a:lnTo>
                        <a:pt x="152" y="8"/>
                      </a:lnTo>
                      <a:lnTo>
                        <a:pt x="162" y="8"/>
                      </a:lnTo>
                      <a:lnTo>
                        <a:pt x="170" y="12"/>
                      </a:lnTo>
                      <a:lnTo>
                        <a:pt x="170" y="12"/>
                      </a:lnTo>
                      <a:lnTo>
                        <a:pt x="176" y="16"/>
                      </a:lnTo>
                      <a:lnTo>
                        <a:pt x="176" y="18"/>
                      </a:lnTo>
                      <a:lnTo>
                        <a:pt x="176" y="20"/>
                      </a:lnTo>
                      <a:lnTo>
                        <a:pt x="178" y="22"/>
                      </a:lnTo>
                      <a:lnTo>
                        <a:pt x="178" y="22"/>
                      </a:lnTo>
                      <a:lnTo>
                        <a:pt x="180" y="22"/>
                      </a:lnTo>
                      <a:lnTo>
                        <a:pt x="180" y="24"/>
                      </a:lnTo>
                      <a:lnTo>
                        <a:pt x="180" y="26"/>
                      </a:lnTo>
                      <a:lnTo>
                        <a:pt x="184" y="30"/>
                      </a:lnTo>
                      <a:lnTo>
                        <a:pt x="184" y="30"/>
                      </a:lnTo>
                      <a:lnTo>
                        <a:pt x="188" y="34"/>
                      </a:lnTo>
                      <a:lnTo>
                        <a:pt x="190" y="36"/>
                      </a:lnTo>
                      <a:lnTo>
                        <a:pt x="190" y="40"/>
                      </a:lnTo>
                      <a:lnTo>
                        <a:pt x="190" y="44"/>
                      </a:lnTo>
                      <a:lnTo>
                        <a:pt x="190" y="44"/>
                      </a:lnTo>
                      <a:lnTo>
                        <a:pt x="194" y="46"/>
                      </a:lnTo>
                      <a:lnTo>
                        <a:pt x="194" y="46"/>
                      </a:lnTo>
                      <a:lnTo>
                        <a:pt x="192" y="50"/>
                      </a:lnTo>
                      <a:lnTo>
                        <a:pt x="190" y="50"/>
                      </a:lnTo>
                      <a:lnTo>
                        <a:pt x="188" y="48"/>
                      </a:lnTo>
                      <a:lnTo>
                        <a:pt x="188" y="50"/>
                      </a:lnTo>
                      <a:lnTo>
                        <a:pt x="188" y="50"/>
                      </a:lnTo>
                      <a:lnTo>
                        <a:pt x="186" y="52"/>
                      </a:lnTo>
                      <a:lnTo>
                        <a:pt x="182" y="50"/>
                      </a:lnTo>
                      <a:lnTo>
                        <a:pt x="180" y="48"/>
                      </a:lnTo>
                      <a:lnTo>
                        <a:pt x="174" y="48"/>
                      </a:lnTo>
                      <a:lnTo>
                        <a:pt x="174" y="48"/>
                      </a:lnTo>
                      <a:lnTo>
                        <a:pt x="170" y="48"/>
                      </a:lnTo>
                      <a:lnTo>
                        <a:pt x="168" y="50"/>
                      </a:lnTo>
                      <a:lnTo>
                        <a:pt x="168" y="50"/>
                      </a:lnTo>
                      <a:lnTo>
                        <a:pt x="168" y="52"/>
                      </a:lnTo>
                      <a:lnTo>
                        <a:pt x="166" y="52"/>
                      </a:lnTo>
                      <a:lnTo>
                        <a:pt x="164" y="52"/>
                      </a:lnTo>
                      <a:lnTo>
                        <a:pt x="160" y="54"/>
                      </a:lnTo>
                      <a:lnTo>
                        <a:pt x="160" y="54"/>
                      </a:lnTo>
                      <a:lnTo>
                        <a:pt x="158" y="56"/>
                      </a:lnTo>
                      <a:lnTo>
                        <a:pt x="160" y="58"/>
                      </a:lnTo>
                      <a:lnTo>
                        <a:pt x="162" y="60"/>
                      </a:lnTo>
                      <a:lnTo>
                        <a:pt x="160" y="64"/>
                      </a:lnTo>
                      <a:lnTo>
                        <a:pt x="160" y="64"/>
                      </a:lnTo>
                      <a:lnTo>
                        <a:pt x="154" y="70"/>
                      </a:lnTo>
                      <a:lnTo>
                        <a:pt x="150" y="74"/>
                      </a:lnTo>
                      <a:lnTo>
                        <a:pt x="150" y="74"/>
                      </a:lnTo>
                      <a:lnTo>
                        <a:pt x="148" y="78"/>
                      </a:lnTo>
                      <a:lnTo>
                        <a:pt x="144" y="78"/>
                      </a:lnTo>
                      <a:lnTo>
                        <a:pt x="142" y="78"/>
                      </a:lnTo>
                      <a:lnTo>
                        <a:pt x="138" y="80"/>
                      </a:lnTo>
                      <a:lnTo>
                        <a:pt x="138" y="80"/>
                      </a:lnTo>
                      <a:lnTo>
                        <a:pt x="136" y="82"/>
                      </a:lnTo>
                      <a:lnTo>
                        <a:pt x="134" y="82"/>
                      </a:lnTo>
                      <a:lnTo>
                        <a:pt x="132" y="82"/>
                      </a:lnTo>
                      <a:lnTo>
                        <a:pt x="130" y="84"/>
                      </a:lnTo>
                      <a:lnTo>
                        <a:pt x="130" y="84"/>
                      </a:lnTo>
                      <a:lnTo>
                        <a:pt x="126" y="86"/>
                      </a:lnTo>
                      <a:lnTo>
                        <a:pt x="122" y="86"/>
                      </a:lnTo>
                      <a:lnTo>
                        <a:pt x="120" y="84"/>
                      </a:lnTo>
                      <a:lnTo>
                        <a:pt x="116" y="86"/>
                      </a:lnTo>
                      <a:lnTo>
                        <a:pt x="116" y="86"/>
                      </a:lnTo>
                      <a:lnTo>
                        <a:pt x="112" y="88"/>
                      </a:lnTo>
                      <a:lnTo>
                        <a:pt x="112" y="88"/>
                      </a:lnTo>
                      <a:lnTo>
                        <a:pt x="110" y="88"/>
                      </a:lnTo>
                      <a:lnTo>
                        <a:pt x="108" y="90"/>
                      </a:lnTo>
                      <a:lnTo>
                        <a:pt x="108" y="90"/>
                      </a:lnTo>
                      <a:lnTo>
                        <a:pt x="106" y="92"/>
                      </a:lnTo>
                      <a:lnTo>
                        <a:pt x="104" y="90"/>
                      </a:lnTo>
                      <a:lnTo>
                        <a:pt x="102" y="90"/>
                      </a:lnTo>
                      <a:lnTo>
                        <a:pt x="102" y="92"/>
                      </a:lnTo>
                      <a:lnTo>
                        <a:pt x="102" y="92"/>
                      </a:lnTo>
                      <a:lnTo>
                        <a:pt x="102" y="98"/>
                      </a:lnTo>
                      <a:lnTo>
                        <a:pt x="102" y="102"/>
                      </a:lnTo>
                      <a:lnTo>
                        <a:pt x="100" y="104"/>
                      </a:lnTo>
                      <a:lnTo>
                        <a:pt x="100" y="108"/>
                      </a:lnTo>
                      <a:lnTo>
                        <a:pt x="100" y="108"/>
                      </a:lnTo>
                      <a:lnTo>
                        <a:pt x="100" y="112"/>
                      </a:lnTo>
                      <a:lnTo>
                        <a:pt x="98" y="116"/>
                      </a:lnTo>
                      <a:lnTo>
                        <a:pt x="100" y="120"/>
                      </a:lnTo>
                      <a:lnTo>
                        <a:pt x="104" y="126"/>
                      </a:lnTo>
                      <a:lnTo>
                        <a:pt x="104" y="126"/>
                      </a:lnTo>
                      <a:lnTo>
                        <a:pt x="110" y="128"/>
                      </a:lnTo>
                      <a:lnTo>
                        <a:pt x="112" y="128"/>
                      </a:lnTo>
                      <a:lnTo>
                        <a:pt x="112" y="126"/>
                      </a:lnTo>
                      <a:lnTo>
                        <a:pt x="114" y="126"/>
                      </a:lnTo>
                      <a:lnTo>
                        <a:pt x="114" y="126"/>
                      </a:lnTo>
                      <a:lnTo>
                        <a:pt x="118" y="128"/>
                      </a:lnTo>
                      <a:lnTo>
                        <a:pt x="124" y="132"/>
                      </a:lnTo>
                      <a:lnTo>
                        <a:pt x="124" y="132"/>
                      </a:lnTo>
                      <a:lnTo>
                        <a:pt x="128" y="134"/>
                      </a:lnTo>
                      <a:lnTo>
                        <a:pt x="132" y="136"/>
                      </a:lnTo>
                      <a:lnTo>
                        <a:pt x="132" y="136"/>
                      </a:lnTo>
                      <a:lnTo>
                        <a:pt x="130" y="138"/>
                      </a:lnTo>
                      <a:lnTo>
                        <a:pt x="130" y="138"/>
                      </a:lnTo>
                      <a:lnTo>
                        <a:pt x="124" y="140"/>
                      </a:lnTo>
                      <a:lnTo>
                        <a:pt x="122" y="140"/>
                      </a:lnTo>
                      <a:lnTo>
                        <a:pt x="120" y="140"/>
                      </a:lnTo>
                      <a:lnTo>
                        <a:pt x="120" y="140"/>
                      </a:lnTo>
                      <a:lnTo>
                        <a:pt x="114" y="138"/>
                      </a:lnTo>
                      <a:lnTo>
                        <a:pt x="108" y="138"/>
                      </a:lnTo>
                      <a:lnTo>
                        <a:pt x="108" y="138"/>
                      </a:lnTo>
                      <a:lnTo>
                        <a:pt x="116" y="140"/>
                      </a:lnTo>
                      <a:lnTo>
                        <a:pt x="120" y="142"/>
                      </a:lnTo>
                      <a:lnTo>
                        <a:pt x="122" y="142"/>
                      </a:lnTo>
                      <a:lnTo>
                        <a:pt x="130" y="140"/>
                      </a:lnTo>
                      <a:lnTo>
                        <a:pt x="130" y="140"/>
                      </a:lnTo>
                      <a:lnTo>
                        <a:pt x="126" y="148"/>
                      </a:lnTo>
                      <a:lnTo>
                        <a:pt x="122" y="150"/>
                      </a:lnTo>
                      <a:lnTo>
                        <a:pt x="120" y="148"/>
                      </a:lnTo>
                      <a:lnTo>
                        <a:pt x="118" y="150"/>
                      </a:lnTo>
                      <a:lnTo>
                        <a:pt x="118" y="150"/>
                      </a:lnTo>
                      <a:lnTo>
                        <a:pt x="116" y="152"/>
                      </a:lnTo>
                      <a:lnTo>
                        <a:pt x="116" y="152"/>
                      </a:lnTo>
                      <a:lnTo>
                        <a:pt x="110" y="148"/>
                      </a:lnTo>
                      <a:lnTo>
                        <a:pt x="110" y="148"/>
                      </a:lnTo>
                      <a:lnTo>
                        <a:pt x="112" y="150"/>
                      </a:lnTo>
                      <a:lnTo>
                        <a:pt x="110" y="152"/>
                      </a:lnTo>
                      <a:lnTo>
                        <a:pt x="106" y="154"/>
                      </a:lnTo>
                      <a:lnTo>
                        <a:pt x="100" y="152"/>
                      </a:lnTo>
                      <a:lnTo>
                        <a:pt x="94" y="152"/>
                      </a:lnTo>
                      <a:lnTo>
                        <a:pt x="94" y="152"/>
                      </a:lnTo>
                      <a:lnTo>
                        <a:pt x="102" y="156"/>
                      </a:lnTo>
                      <a:lnTo>
                        <a:pt x="104" y="156"/>
                      </a:lnTo>
                      <a:lnTo>
                        <a:pt x="102" y="158"/>
                      </a:lnTo>
                      <a:lnTo>
                        <a:pt x="102" y="158"/>
                      </a:lnTo>
                      <a:lnTo>
                        <a:pt x="102" y="160"/>
                      </a:lnTo>
                      <a:lnTo>
                        <a:pt x="102" y="160"/>
                      </a:lnTo>
                      <a:lnTo>
                        <a:pt x="102" y="162"/>
                      </a:lnTo>
                      <a:lnTo>
                        <a:pt x="100" y="164"/>
                      </a:lnTo>
                      <a:lnTo>
                        <a:pt x="100" y="164"/>
                      </a:lnTo>
                      <a:lnTo>
                        <a:pt x="98" y="168"/>
                      </a:lnTo>
                      <a:lnTo>
                        <a:pt x="100" y="170"/>
                      </a:lnTo>
                      <a:lnTo>
                        <a:pt x="100" y="174"/>
                      </a:lnTo>
                      <a:lnTo>
                        <a:pt x="100" y="176"/>
                      </a:lnTo>
                      <a:lnTo>
                        <a:pt x="100" y="176"/>
                      </a:lnTo>
                      <a:lnTo>
                        <a:pt x="98" y="180"/>
                      </a:lnTo>
                      <a:lnTo>
                        <a:pt x="98" y="184"/>
                      </a:lnTo>
                      <a:lnTo>
                        <a:pt x="98" y="188"/>
                      </a:lnTo>
                      <a:lnTo>
                        <a:pt x="96" y="192"/>
                      </a:lnTo>
                      <a:lnTo>
                        <a:pt x="96" y="192"/>
                      </a:lnTo>
                      <a:lnTo>
                        <a:pt x="96" y="198"/>
                      </a:lnTo>
                      <a:lnTo>
                        <a:pt x="94" y="200"/>
                      </a:lnTo>
                      <a:lnTo>
                        <a:pt x="88" y="202"/>
                      </a:lnTo>
                      <a:lnTo>
                        <a:pt x="88" y="202"/>
                      </a:lnTo>
                      <a:lnTo>
                        <a:pt x="84" y="202"/>
                      </a:lnTo>
                      <a:lnTo>
                        <a:pt x="80" y="200"/>
                      </a:lnTo>
                      <a:lnTo>
                        <a:pt x="76" y="200"/>
                      </a:lnTo>
                      <a:lnTo>
                        <a:pt x="74" y="202"/>
                      </a:lnTo>
                      <a:lnTo>
                        <a:pt x="74" y="202"/>
                      </a:lnTo>
                      <a:lnTo>
                        <a:pt x="72" y="202"/>
                      </a:lnTo>
                      <a:lnTo>
                        <a:pt x="72" y="202"/>
                      </a:lnTo>
                      <a:lnTo>
                        <a:pt x="70" y="202"/>
                      </a:lnTo>
                      <a:lnTo>
                        <a:pt x="68" y="206"/>
                      </a:lnTo>
                      <a:lnTo>
                        <a:pt x="68" y="206"/>
                      </a:lnTo>
                      <a:lnTo>
                        <a:pt x="66" y="210"/>
                      </a:lnTo>
                      <a:lnTo>
                        <a:pt x="68" y="210"/>
                      </a:lnTo>
                      <a:lnTo>
                        <a:pt x="68" y="212"/>
                      </a:lnTo>
                      <a:lnTo>
                        <a:pt x="68" y="214"/>
                      </a:lnTo>
                      <a:lnTo>
                        <a:pt x="68" y="214"/>
                      </a:lnTo>
                      <a:lnTo>
                        <a:pt x="66" y="214"/>
                      </a:lnTo>
                      <a:lnTo>
                        <a:pt x="60" y="214"/>
                      </a:lnTo>
                      <a:lnTo>
                        <a:pt x="56" y="212"/>
                      </a:lnTo>
                      <a:lnTo>
                        <a:pt x="50" y="214"/>
                      </a:lnTo>
                      <a:lnTo>
                        <a:pt x="50" y="214"/>
                      </a:lnTo>
                      <a:lnTo>
                        <a:pt x="44" y="216"/>
                      </a:lnTo>
                      <a:lnTo>
                        <a:pt x="42" y="214"/>
                      </a:lnTo>
                      <a:lnTo>
                        <a:pt x="40" y="210"/>
                      </a:lnTo>
                      <a:lnTo>
                        <a:pt x="36" y="206"/>
                      </a:lnTo>
                      <a:lnTo>
                        <a:pt x="36" y="206"/>
                      </a:lnTo>
                      <a:lnTo>
                        <a:pt x="32" y="200"/>
                      </a:lnTo>
                      <a:lnTo>
                        <a:pt x="30" y="198"/>
                      </a:lnTo>
                      <a:lnTo>
                        <a:pt x="30" y="198"/>
                      </a:lnTo>
                      <a:lnTo>
                        <a:pt x="34" y="198"/>
                      </a:lnTo>
                      <a:lnTo>
                        <a:pt x="36" y="198"/>
                      </a:lnTo>
                      <a:lnTo>
                        <a:pt x="36" y="196"/>
                      </a:lnTo>
                      <a:lnTo>
                        <a:pt x="34" y="194"/>
                      </a:lnTo>
                      <a:lnTo>
                        <a:pt x="34" y="194"/>
                      </a:lnTo>
                      <a:lnTo>
                        <a:pt x="32" y="192"/>
                      </a:lnTo>
                      <a:lnTo>
                        <a:pt x="28" y="188"/>
                      </a:lnTo>
                      <a:lnTo>
                        <a:pt x="28" y="188"/>
                      </a:lnTo>
                      <a:lnTo>
                        <a:pt x="24" y="186"/>
                      </a:lnTo>
                      <a:lnTo>
                        <a:pt x="22" y="182"/>
                      </a:lnTo>
                      <a:lnTo>
                        <a:pt x="20" y="174"/>
                      </a:lnTo>
                      <a:lnTo>
                        <a:pt x="20" y="174"/>
                      </a:lnTo>
                      <a:lnTo>
                        <a:pt x="18" y="174"/>
                      </a:lnTo>
                      <a:lnTo>
                        <a:pt x="18" y="174"/>
                      </a:lnTo>
                      <a:lnTo>
                        <a:pt x="16" y="174"/>
                      </a:lnTo>
                      <a:lnTo>
                        <a:pt x="16" y="172"/>
                      </a:lnTo>
                      <a:lnTo>
                        <a:pt x="16" y="172"/>
                      </a:lnTo>
                      <a:lnTo>
                        <a:pt x="14" y="168"/>
                      </a:lnTo>
                      <a:lnTo>
                        <a:pt x="12" y="170"/>
                      </a:lnTo>
                      <a:lnTo>
                        <a:pt x="12" y="170"/>
                      </a:lnTo>
                      <a:lnTo>
                        <a:pt x="12" y="166"/>
                      </a:lnTo>
                      <a:lnTo>
                        <a:pt x="12" y="166"/>
                      </a:lnTo>
                      <a:lnTo>
                        <a:pt x="10" y="164"/>
                      </a:lnTo>
                      <a:lnTo>
                        <a:pt x="10" y="164"/>
                      </a:lnTo>
                      <a:lnTo>
                        <a:pt x="8" y="164"/>
                      </a:lnTo>
                      <a:lnTo>
                        <a:pt x="6" y="160"/>
                      </a:lnTo>
                      <a:lnTo>
                        <a:pt x="6" y="160"/>
                      </a:lnTo>
                      <a:lnTo>
                        <a:pt x="4" y="156"/>
                      </a:lnTo>
                      <a:lnTo>
                        <a:pt x="2" y="154"/>
                      </a:lnTo>
                      <a:lnTo>
                        <a:pt x="0" y="152"/>
                      </a:lnTo>
                      <a:lnTo>
                        <a:pt x="4" y="152"/>
                      </a:lnTo>
                      <a:lnTo>
                        <a:pt x="4" y="152"/>
                      </a:lnTo>
                      <a:lnTo>
                        <a:pt x="6" y="152"/>
                      </a:lnTo>
                      <a:lnTo>
                        <a:pt x="8" y="152"/>
                      </a:lnTo>
                      <a:lnTo>
                        <a:pt x="10" y="150"/>
                      </a:lnTo>
                      <a:lnTo>
                        <a:pt x="8" y="146"/>
                      </a:lnTo>
                      <a:lnTo>
                        <a:pt x="8" y="146"/>
                      </a:lnTo>
                      <a:lnTo>
                        <a:pt x="6" y="144"/>
                      </a:lnTo>
                      <a:lnTo>
                        <a:pt x="8" y="142"/>
                      </a:lnTo>
                      <a:lnTo>
                        <a:pt x="8" y="140"/>
                      </a:lnTo>
                      <a:lnTo>
                        <a:pt x="8" y="138"/>
                      </a:lnTo>
                      <a:lnTo>
                        <a:pt x="8" y="138"/>
                      </a:lnTo>
                      <a:lnTo>
                        <a:pt x="10" y="136"/>
                      </a:lnTo>
                      <a:lnTo>
                        <a:pt x="14" y="132"/>
                      </a:lnTo>
                      <a:lnTo>
                        <a:pt x="16" y="130"/>
                      </a:lnTo>
                      <a:lnTo>
                        <a:pt x="18" y="126"/>
                      </a:lnTo>
                      <a:lnTo>
                        <a:pt x="18" y="122"/>
                      </a:lnTo>
                      <a:lnTo>
                        <a:pt x="16" y="116"/>
                      </a:lnTo>
                      <a:lnTo>
                        <a:pt x="16" y="116"/>
                      </a:lnTo>
                      <a:lnTo>
                        <a:pt x="20" y="114"/>
                      </a:lnTo>
                      <a:lnTo>
                        <a:pt x="22" y="110"/>
                      </a:lnTo>
                      <a:lnTo>
                        <a:pt x="22" y="110"/>
                      </a:lnTo>
                      <a:lnTo>
                        <a:pt x="20" y="108"/>
                      </a:lnTo>
                      <a:lnTo>
                        <a:pt x="18" y="106"/>
                      </a:lnTo>
                      <a:lnTo>
                        <a:pt x="16" y="104"/>
                      </a:lnTo>
                      <a:lnTo>
                        <a:pt x="16" y="100"/>
                      </a:lnTo>
                      <a:lnTo>
                        <a:pt x="16" y="100"/>
                      </a:lnTo>
                      <a:lnTo>
                        <a:pt x="14" y="96"/>
                      </a:lnTo>
                      <a:lnTo>
                        <a:pt x="14" y="92"/>
                      </a:lnTo>
                      <a:lnTo>
                        <a:pt x="14" y="86"/>
                      </a:lnTo>
                      <a:lnTo>
                        <a:pt x="14" y="86"/>
                      </a:lnTo>
                      <a:lnTo>
                        <a:pt x="14" y="82"/>
                      </a:lnTo>
                      <a:lnTo>
                        <a:pt x="12" y="80"/>
                      </a:lnTo>
                      <a:lnTo>
                        <a:pt x="12" y="78"/>
                      </a:lnTo>
                      <a:lnTo>
                        <a:pt x="12" y="78"/>
                      </a:lnTo>
                      <a:lnTo>
                        <a:pt x="18" y="76"/>
                      </a:lnTo>
                      <a:lnTo>
                        <a:pt x="22" y="72"/>
                      </a:lnTo>
                      <a:lnTo>
                        <a:pt x="26" y="68"/>
                      </a:lnTo>
                      <a:lnTo>
                        <a:pt x="34" y="66"/>
                      </a:lnTo>
                      <a:lnTo>
                        <a:pt x="34" y="66"/>
                      </a:lnTo>
                      <a:lnTo>
                        <a:pt x="42" y="64"/>
                      </a:lnTo>
                      <a:lnTo>
                        <a:pt x="44" y="62"/>
                      </a:lnTo>
                      <a:lnTo>
                        <a:pt x="44" y="60"/>
                      </a:lnTo>
                      <a:lnTo>
                        <a:pt x="44" y="56"/>
                      </a:lnTo>
                      <a:lnTo>
                        <a:pt x="46" y="52"/>
                      </a:lnTo>
                      <a:lnTo>
                        <a:pt x="46" y="52"/>
                      </a:lnTo>
                      <a:lnTo>
                        <a:pt x="48" y="48"/>
                      </a:lnTo>
                      <a:lnTo>
                        <a:pt x="48" y="44"/>
                      </a:lnTo>
                      <a:lnTo>
                        <a:pt x="48" y="40"/>
                      </a:lnTo>
                      <a:lnTo>
                        <a:pt x="50" y="38"/>
                      </a:lnTo>
                      <a:lnTo>
                        <a:pt x="50" y="38"/>
                      </a:lnTo>
                      <a:lnTo>
                        <a:pt x="52" y="36"/>
                      </a:lnTo>
                      <a:lnTo>
                        <a:pt x="56" y="36"/>
                      </a:lnTo>
                      <a:lnTo>
                        <a:pt x="58" y="36"/>
                      </a:lnTo>
                      <a:lnTo>
                        <a:pt x="62" y="36"/>
                      </a:lnTo>
                      <a:lnTo>
                        <a:pt x="62" y="36"/>
                      </a:lnTo>
                      <a:lnTo>
                        <a:pt x="64" y="34"/>
                      </a:lnTo>
                      <a:lnTo>
                        <a:pt x="64" y="30"/>
                      </a:lnTo>
                      <a:lnTo>
                        <a:pt x="66" y="26"/>
                      </a:lnTo>
                      <a:lnTo>
                        <a:pt x="72" y="20"/>
                      </a:lnTo>
                      <a:lnTo>
                        <a:pt x="72" y="20"/>
                      </a:lnTo>
                      <a:lnTo>
                        <a:pt x="80" y="16"/>
                      </a:lnTo>
                      <a:lnTo>
                        <a:pt x="90" y="10"/>
                      </a:lnTo>
                      <a:lnTo>
                        <a:pt x="90" y="10"/>
                      </a:lnTo>
                      <a:lnTo>
                        <a:pt x="100" y="6"/>
                      </a:lnTo>
                      <a:lnTo>
                        <a:pt x="102" y="6"/>
                      </a:lnTo>
                      <a:lnTo>
                        <a:pt x="104" y="8"/>
                      </a:lnTo>
                      <a:lnTo>
                        <a:pt x="108" y="10"/>
                      </a:lnTo>
                      <a:lnTo>
                        <a:pt x="110" y="10"/>
                      </a:lnTo>
                      <a:lnTo>
                        <a:pt x="114" y="10"/>
                      </a:lnTo>
                      <a:lnTo>
                        <a:pt x="114" y="10"/>
                      </a:lnTo>
                      <a:lnTo>
                        <a:pt x="122" y="6"/>
                      </a:lnTo>
                      <a:lnTo>
                        <a:pt x="134" y="0"/>
                      </a:lnTo>
                      <a:lnTo>
                        <a:pt x="134" y="0"/>
                      </a:lnTo>
                      <a:close/>
                    </a:path>
                  </a:pathLst>
                </a:custGeom>
                <a:solidFill>
                  <a:schemeClr val="accent6"/>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1" name="Norway"/>
                <p:cNvSpPr>
                  <a:spLocks/>
                </p:cNvSpPr>
                <p:nvPr/>
              </p:nvSpPr>
              <p:spPr bwMode="auto">
                <a:xfrm>
                  <a:off x="5901555" y="1342664"/>
                  <a:ext cx="577152" cy="312588"/>
                </a:xfrm>
                <a:custGeom>
                  <a:avLst/>
                  <a:gdLst/>
                  <a:ahLst/>
                  <a:cxnLst>
                    <a:cxn ang="0">
                      <a:pos x="96" y="176"/>
                    </a:cxn>
                    <a:cxn ang="0">
                      <a:pos x="94" y="184"/>
                    </a:cxn>
                    <a:cxn ang="0">
                      <a:pos x="80" y="194"/>
                    </a:cxn>
                    <a:cxn ang="0">
                      <a:pos x="60" y="204"/>
                    </a:cxn>
                    <a:cxn ang="0">
                      <a:pos x="34" y="206"/>
                    </a:cxn>
                    <a:cxn ang="0">
                      <a:pos x="18" y="196"/>
                    </a:cxn>
                    <a:cxn ang="0">
                      <a:pos x="14" y="182"/>
                    </a:cxn>
                    <a:cxn ang="0">
                      <a:pos x="26" y="170"/>
                    </a:cxn>
                    <a:cxn ang="0">
                      <a:pos x="6" y="182"/>
                    </a:cxn>
                    <a:cxn ang="0">
                      <a:pos x="16" y="168"/>
                    </a:cxn>
                    <a:cxn ang="0">
                      <a:pos x="10" y="162"/>
                    </a:cxn>
                    <a:cxn ang="0">
                      <a:pos x="0" y="158"/>
                    </a:cxn>
                    <a:cxn ang="0">
                      <a:pos x="2" y="152"/>
                    </a:cxn>
                    <a:cxn ang="0">
                      <a:pos x="16" y="148"/>
                    </a:cxn>
                    <a:cxn ang="0">
                      <a:pos x="36" y="148"/>
                    </a:cxn>
                    <a:cxn ang="0">
                      <a:pos x="24" y="146"/>
                    </a:cxn>
                    <a:cxn ang="0">
                      <a:pos x="6" y="146"/>
                    </a:cxn>
                    <a:cxn ang="0">
                      <a:pos x="6" y="134"/>
                    </a:cxn>
                    <a:cxn ang="0">
                      <a:pos x="34" y="122"/>
                    </a:cxn>
                    <a:cxn ang="0">
                      <a:pos x="52" y="118"/>
                    </a:cxn>
                    <a:cxn ang="0">
                      <a:pos x="70" y="110"/>
                    </a:cxn>
                    <a:cxn ang="0">
                      <a:pos x="90" y="110"/>
                    </a:cxn>
                    <a:cxn ang="0">
                      <a:pos x="90" y="108"/>
                    </a:cxn>
                    <a:cxn ang="0">
                      <a:pos x="90" y="100"/>
                    </a:cxn>
                    <a:cxn ang="0">
                      <a:pos x="108" y="88"/>
                    </a:cxn>
                    <a:cxn ang="0">
                      <a:pos x="126" y="72"/>
                    </a:cxn>
                    <a:cxn ang="0">
                      <a:pos x="134" y="64"/>
                    </a:cxn>
                    <a:cxn ang="0">
                      <a:pos x="148" y="56"/>
                    </a:cxn>
                    <a:cxn ang="0">
                      <a:pos x="166" y="48"/>
                    </a:cxn>
                    <a:cxn ang="0">
                      <a:pos x="182" y="38"/>
                    </a:cxn>
                    <a:cxn ang="0">
                      <a:pos x="196" y="30"/>
                    </a:cxn>
                    <a:cxn ang="0">
                      <a:pos x="220" y="26"/>
                    </a:cxn>
                    <a:cxn ang="0">
                      <a:pos x="242" y="22"/>
                    </a:cxn>
                    <a:cxn ang="0">
                      <a:pos x="260" y="16"/>
                    </a:cxn>
                    <a:cxn ang="0">
                      <a:pos x="290" y="10"/>
                    </a:cxn>
                    <a:cxn ang="0">
                      <a:pos x="310" y="12"/>
                    </a:cxn>
                    <a:cxn ang="0">
                      <a:pos x="320" y="2"/>
                    </a:cxn>
                    <a:cxn ang="0">
                      <a:pos x="324" y="16"/>
                    </a:cxn>
                    <a:cxn ang="0">
                      <a:pos x="336" y="12"/>
                    </a:cxn>
                    <a:cxn ang="0">
                      <a:pos x="348" y="4"/>
                    </a:cxn>
                    <a:cxn ang="0">
                      <a:pos x="354" y="10"/>
                    </a:cxn>
                    <a:cxn ang="0">
                      <a:pos x="372" y="12"/>
                    </a:cxn>
                    <a:cxn ang="0">
                      <a:pos x="364" y="18"/>
                    </a:cxn>
                    <a:cxn ang="0">
                      <a:pos x="368" y="32"/>
                    </a:cxn>
                    <a:cxn ang="0">
                      <a:pos x="360" y="30"/>
                    </a:cxn>
                    <a:cxn ang="0">
                      <a:pos x="350" y="16"/>
                    </a:cxn>
                    <a:cxn ang="0">
                      <a:pos x="330" y="20"/>
                    </a:cxn>
                    <a:cxn ang="0">
                      <a:pos x="312" y="38"/>
                    </a:cxn>
                    <a:cxn ang="0">
                      <a:pos x="292" y="40"/>
                    </a:cxn>
                    <a:cxn ang="0">
                      <a:pos x="248" y="30"/>
                    </a:cxn>
                    <a:cxn ang="0">
                      <a:pos x="240" y="34"/>
                    </a:cxn>
                    <a:cxn ang="0">
                      <a:pos x="208" y="42"/>
                    </a:cxn>
                    <a:cxn ang="0">
                      <a:pos x="170" y="60"/>
                    </a:cxn>
                    <a:cxn ang="0">
                      <a:pos x="154" y="72"/>
                    </a:cxn>
                    <a:cxn ang="0">
                      <a:pos x="148" y="94"/>
                    </a:cxn>
                    <a:cxn ang="0">
                      <a:pos x="116" y="112"/>
                    </a:cxn>
                    <a:cxn ang="0">
                      <a:pos x="120" y="134"/>
                    </a:cxn>
                    <a:cxn ang="0">
                      <a:pos x="120" y="150"/>
                    </a:cxn>
                    <a:cxn ang="0">
                      <a:pos x="112" y="172"/>
                    </a:cxn>
                    <a:cxn ang="0">
                      <a:pos x="110" y="186"/>
                    </a:cxn>
                  </a:cxnLst>
                  <a:rect l="0" t="0" r="r" b="b"/>
                  <a:pathLst>
                    <a:path w="380" h="206">
                      <a:moveTo>
                        <a:pt x="108" y="186"/>
                      </a:moveTo>
                      <a:lnTo>
                        <a:pt x="108" y="186"/>
                      </a:lnTo>
                      <a:lnTo>
                        <a:pt x="104" y="184"/>
                      </a:lnTo>
                      <a:lnTo>
                        <a:pt x="102" y="184"/>
                      </a:lnTo>
                      <a:lnTo>
                        <a:pt x="98" y="186"/>
                      </a:lnTo>
                      <a:lnTo>
                        <a:pt x="98" y="182"/>
                      </a:lnTo>
                      <a:lnTo>
                        <a:pt x="98" y="182"/>
                      </a:lnTo>
                      <a:lnTo>
                        <a:pt x="96" y="176"/>
                      </a:lnTo>
                      <a:lnTo>
                        <a:pt x="96" y="170"/>
                      </a:lnTo>
                      <a:lnTo>
                        <a:pt x="96" y="170"/>
                      </a:lnTo>
                      <a:lnTo>
                        <a:pt x="94" y="176"/>
                      </a:lnTo>
                      <a:lnTo>
                        <a:pt x="94" y="178"/>
                      </a:lnTo>
                      <a:lnTo>
                        <a:pt x="92" y="178"/>
                      </a:lnTo>
                      <a:lnTo>
                        <a:pt x="92" y="178"/>
                      </a:lnTo>
                      <a:lnTo>
                        <a:pt x="94" y="180"/>
                      </a:lnTo>
                      <a:lnTo>
                        <a:pt x="94" y="184"/>
                      </a:lnTo>
                      <a:lnTo>
                        <a:pt x="94" y="186"/>
                      </a:lnTo>
                      <a:lnTo>
                        <a:pt x="90" y="188"/>
                      </a:lnTo>
                      <a:lnTo>
                        <a:pt x="90" y="188"/>
                      </a:lnTo>
                      <a:lnTo>
                        <a:pt x="84" y="188"/>
                      </a:lnTo>
                      <a:lnTo>
                        <a:pt x="80" y="186"/>
                      </a:lnTo>
                      <a:lnTo>
                        <a:pt x="80" y="186"/>
                      </a:lnTo>
                      <a:lnTo>
                        <a:pt x="80" y="190"/>
                      </a:lnTo>
                      <a:lnTo>
                        <a:pt x="80" y="194"/>
                      </a:lnTo>
                      <a:lnTo>
                        <a:pt x="76" y="196"/>
                      </a:lnTo>
                      <a:lnTo>
                        <a:pt x="74" y="198"/>
                      </a:lnTo>
                      <a:lnTo>
                        <a:pt x="74" y="198"/>
                      </a:lnTo>
                      <a:lnTo>
                        <a:pt x="70" y="198"/>
                      </a:lnTo>
                      <a:lnTo>
                        <a:pt x="68" y="200"/>
                      </a:lnTo>
                      <a:lnTo>
                        <a:pt x="64" y="202"/>
                      </a:lnTo>
                      <a:lnTo>
                        <a:pt x="60" y="204"/>
                      </a:lnTo>
                      <a:lnTo>
                        <a:pt x="60" y="204"/>
                      </a:lnTo>
                      <a:lnTo>
                        <a:pt x="54" y="204"/>
                      </a:lnTo>
                      <a:lnTo>
                        <a:pt x="50" y="206"/>
                      </a:lnTo>
                      <a:lnTo>
                        <a:pt x="48" y="206"/>
                      </a:lnTo>
                      <a:lnTo>
                        <a:pt x="44" y="206"/>
                      </a:lnTo>
                      <a:lnTo>
                        <a:pt x="44" y="206"/>
                      </a:lnTo>
                      <a:lnTo>
                        <a:pt x="40" y="204"/>
                      </a:lnTo>
                      <a:lnTo>
                        <a:pt x="36" y="206"/>
                      </a:lnTo>
                      <a:lnTo>
                        <a:pt x="34" y="206"/>
                      </a:lnTo>
                      <a:lnTo>
                        <a:pt x="38" y="204"/>
                      </a:lnTo>
                      <a:lnTo>
                        <a:pt x="38" y="204"/>
                      </a:lnTo>
                      <a:lnTo>
                        <a:pt x="26" y="202"/>
                      </a:lnTo>
                      <a:lnTo>
                        <a:pt x="26" y="200"/>
                      </a:lnTo>
                      <a:lnTo>
                        <a:pt x="30" y="198"/>
                      </a:lnTo>
                      <a:lnTo>
                        <a:pt x="30" y="198"/>
                      </a:lnTo>
                      <a:lnTo>
                        <a:pt x="22" y="198"/>
                      </a:lnTo>
                      <a:lnTo>
                        <a:pt x="18" y="196"/>
                      </a:lnTo>
                      <a:lnTo>
                        <a:pt x="16" y="194"/>
                      </a:lnTo>
                      <a:lnTo>
                        <a:pt x="16" y="194"/>
                      </a:lnTo>
                      <a:lnTo>
                        <a:pt x="14" y="192"/>
                      </a:lnTo>
                      <a:lnTo>
                        <a:pt x="10" y="190"/>
                      </a:lnTo>
                      <a:lnTo>
                        <a:pt x="8" y="188"/>
                      </a:lnTo>
                      <a:lnTo>
                        <a:pt x="10" y="184"/>
                      </a:lnTo>
                      <a:lnTo>
                        <a:pt x="10" y="184"/>
                      </a:lnTo>
                      <a:lnTo>
                        <a:pt x="14" y="182"/>
                      </a:lnTo>
                      <a:lnTo>
                        <a:pt x="16" y="182"/>
                      </a:lnTo>
                      <a:lnTo>
                        <a:pt x="18" y="184"/>
                      </a:lnTo>
                      <a:lnTo>
                        <a:pt x="22" y="184"/>
                      </a:lnTo>
                      <a:lnTo>
                        <a:pt x="22" y="184"/>
                      </a:lnTo>
                      <a:lnTo>
                        <a:pt x="18" y="180"/>
                      </a:lnTo>
                      <a:lnTo>
                        <a:pt x="18" y="178"/>
                      </a:lnTo>
                      <a:lnTo>
                        <a:pt x="26" y="170"/>
                      </a:lnTo>
                      <a:lnTo>
                        <a:pt x="26" y="170"/>
                      </a:lnTo>
                      <a:lnTo>
                        <a:pt x="18" y="174"/>
                      </a:lnTo>
                      <a:lnTo>
                        <a:pt x="16" y="176"/>
                      </a:lnTo>
                      <a:lnTo>
                        <a:pt x="16" y="176"/>
                      </a:lnTo>
                      <a:lnTo>
                        <a:pt x="14" y="178"/>
                      </a:lnTo>
                      <a:lnTo>
                        <a:pt x="14" y="178"/>
                      </a:lnTo>
                      <a:lnTo>
                        <a:pt x="10" y="178"/>
                      </a:lnTo>
                      <a:lnTo>
                        <a:pt x="10" y="176"/>
                      </a:lnTo>
                      <a:lnTo>
                        <a:pt x="6" y="182"/>
                      </a:lnTo>
                      <a:lnTo>
                        <a:pt x="6" y="182"/>
                      </a:lnTo>
                      <a:lnTo>
                        <a:pt x="6" y="170"/>
                      </a:lnTo>
                      <a:lnTo>
                        <a:pt x="8" y="168"/>
                      </a:lnTo>
                      <a:lnTo>
                        <a:pt x="10" y="168"/>
                      </a:lnTo>
                      <a:lnTo>
                        <a:pt x="10" y="168"/>
                      </a:lnTo>
                      <a:lnTo>
                        <a:pt x="12" y="170"/>
                      </a:lnTo>
                      <a:lnTo>
                        <a:pt x="14" y="170"/>
                      </a:lnTo>
                      <a:lnTo>
                        <a:pt x="16" y="168"/>
                      </a:lnTo>
                      <a:lnTo>
                        <a:pt x="16" y="166"/>
                      </a:lnTo>
                      <a:lnTo>
                        <a:pt x="16" y="166"/>
                      </a:lnTo>
                      <a:lnTo>
                        <a:pt x="14" y="166"/>
                      </a:lnTo>
                      <a:lnTo>
                        <a:pt x="12" y="166"/>
                      </a:lnTo>
                      <a:lnTo>
                        <a:pt x="10" y="166"/>
                      </a:lnTo>
                      <a:lnTo>
                        <a:pt x="10" y="164"/>
                      </a:lnTo>
                      <a:lnTo>
                        <a:pt x="10" y="164"/>
                      </a:lnTo>
                      <a:lnTo>
                        <a:pt x="10" y="162"/>
                      </a:lnTo>
                      <a:lnTo>
                        <a:pt x="8" y="164"/>
                      </a:lnTo>
                      <a:lnTo>
                        <a:pt x="8" y="164"/>
                      </a:lnTo>
                      <a:lnTo>
                        <a:pt x="8" y="162"/>
                      </a:lnTo>
                      <a:lnTo>
                        <a:pt x="8" y="162"/>
                      </a:lnTo>
                      <a:lnTo>
                        <a:pt x="4" y="162"/>
                      </a:lnTo>
                      <a:lnTo>
                        <a:pt x="2" y="162"/>
                      </a:lnTo>
                      <a:lnTo>
                        <a:pt x="0" y="158"/>
                      </a:lnTo>
                      <a:lnTo>
                        <a:pt x="0" y="158"/>
                      </a:lnTo>
                      <a:lnTo>
                        <a:pt x="2" y="158"/>
                      </a:lnTo>
                      <a:lnTo>
                        <a:pt x="4" y="158"/>
                      </a:lnTo>
                      <a:lnTo>
                        <a:pt x="6" y="156"/>
                      </a:lnTo>
                      <a:lnTo>
                        <a:pt x="8" y="154"/>
                      </a:lnTo>
                      <a:lnTo>
                        <a:pt x="8" y="154"/>
                      </a:lnTo>
                      <a:lnTo>
                        <a:pt x="2" y="156"/>
                      </a:lnTo>
                      <a:lnTo>
                        <a:pt x="0" y="154"/>
                      </a:lnTo>
                      <a:lnTo>
                        <a:pt x="2" y="152"/>
                      </a:lnTo>
                      <a:lnTo>
                        <a:pt x="2" y="152"/>
                      </a:lnTo>
                      <a:lnTo>
                        <a:pt x="2" y="150"/>
                      </a:lnTo>
                      <a:lnTo>
                        <a:pt x="0" y="150"/>
                      </a:lnTo>
                      <a:lnTo>
                        <a:pt x="0" y="148"/>
                      </a:lnTo>
                      <a:lnTo>
                        <a:pt x="4" y="148"/>
                      </a:lnTo>
                      <a:lnTo>
                        <a:pt x="4" y="148"/>
                      </a:lnTo>
                      <a:lnTo>
                        <a:pt x="12" y="148"/>
                      </a:lnTo>
                      <a:lnTo>
                        <a:pt x="16" y="148"/>
                      </a:lnTo>
                      <a:lnTo>
                        <a:pt x="18" y="148"/>
                      </a:lnTo>
                      <a:lnTo>
                        <a:pt x="18" y="148"/>
                      </a:lnTo>
                      <a:lnTo>
                        <a:pt x="22" y="148"/>
                      </a:lnTo>
                      <a:lnTo>
                        <a:pt x="24" y="148"/>
                      </a:lnTo>
                      <a:lnTo>
                        <a:pt x="26" y="148"/>
                      </a:lnTo>
                      <a:lnTo>
                        <a:pt x="32" y="148"/>
                      </a:lnTo>
                      <a:lnTo>
                        <a:pt x="32" y="148"/>
                      </a:lnTo>
                      <a:lnTo>
                        <a:pt x="36" y="148"/>
                      </a:lnTo>
                      <a:lnTo>
                        <a:pt x="38" y="146"/>
                      </a:lnTo>
                      <a:lnTo>
                        <a:pt x="38" y="144"/>
                      </a:lnTo>
                      <a:lnTo>
                        <a:pt x="38" y="144"/>
                      </a:lnTo>
                      <a:lnTo>
                        <a:pt x="36" y="146"/>
                      </a:lnTo>
                      <a:lnTo>
                        <a:pt x="34" y="146"/>
                      </a:lnTo>
                      <a:lnTo>
                        <a:pt x="28" y="146"/>
                      </a:lnTo>
                      <a:lnTo>
                        <a:pt x="28" y="146"/>
                      </a:lnTo>
                      <a:lnTo>
                        <a:pt x="24" y="146"/>
                      </a:lnTo>
                      <a:lnTo>
                        <a:pt x="22" y="146"/>
                      </a:lnTo>
                      <a:lnTo>
                        <a:pt x="22" y="146"/>
                      </a:lnTo>
                      <a:lnTo>
                        <a:pt x="18" y="146"/>
                      </a:lnTo>
                      <a:lnTo>
                        <a:pt x="18" y="146"/>
                      </a:lnTo>
                      <a:lnTo>
                        <a:pt x="14" y="146"/>
                      </a:lnTo>
                      <a:lnTo>
                        <a:pt x="12" y="146"/>
                      </a:lnTo>
                      <a:lnTo>
                        <a:pt x="6" y="146"/>
                      </a:lnTo>
                      <a:lnTo>
                        <a:pt x="6" y="146"/>
                      </a:lnTo>
                      <a:lnTo>
                        <a:pt x="2" y="146"/>
                      </a:lnTo>
                      <a:lnTo>
                        <a:pt x="0" y="144"/>
                      </a:lnTo>
                      <a:lnTo>
                        <a:pt x="4" y="140"/>
                      </a:lnTo>
                      <a:lnTo>
                        <a:pt x="10" y="140"/>
                      </a:lnTo>
                      <a:lnTo>
                        <a:pt x="10" y="140"/>
                      </a:lnTo>
                      <a:lnTo>
                        <a:pt x="2" y="138"/>
                      </a:lnTo>
                      <a:lnTo>
                        <a:pt x="2" y="136"/>
                      </a:lnTo>
                      <a:lnTo>
                        <a:pt x="6" y="134"/>
                      </a:lnTo>
                      <a:lnTo>
                        <a:pt x="6" y="134"/>
                      </a:lnTo>
                      <a:lnTo>
                        <a:pt x="10" y="132"/>
                      </a:lnTo>
                      <a:lnTo>
                        <a:pt x="14" y="130"/>
                      </a:lnTo>
                      <a:lnTo>
                        <a:pt x="14" y="130"/>
                      </a:lnTo>
                      <a:lnTo>
                        <a:pt x="22" y="126"/>
                      </a:lnTo>
                      <a:lnTo>
                        <a:pt x="28" y="124"/>
                      </a:lnTo>
                      <a:lnTo>
                        <a:pt x="28" y="124"/>
                      </a:lnTo>
                      <a:lnTo>
                        <a:pt x="34" y="122"/>
                      </a:lnTo>
                      <a:lnTo>
                        <a:pt x="40" y="124"/>
                      </a:lnTo>
                      <a:lnTo>
                        <a:pt x="40" y="124"/>
                      </a:lnTo>
                      <a:lnTo>
                        <a:pt x="38" y="118"/>
                      </a:lnTo>
                      <a:lnTo>
                        <a:pt x="42" y="118"/>
                      </a:lnTo>
                      <a:lnTo>
                        <a:pt x="42" y="118"/>
                      </a:lnTo>
                      <a:lnTo>
                        <a:pt x="50" y="116"/>
                      </a:lnTo>
                      <a:lnTo>
                        <a:pt x="52" y="116"/>
                      </a:lnTo>
                      <a:lnTo>
                        <a:pt x="52" y="118"/>
                      </a:lnTo>
                      <a:lnTo>
                        <a:pt x="52" y="118"/>
                      </a:lnTo>
                      <a:lnTo>
                        <a:pt x="54" y="114"/>
                      </a:lnTo>
                      <a:lnTo>
                        <a:pt x="58" y="114"/>
                      </a:lnTo>
                      <a:lnTo>
                        <a:pt x="62" y="112"/>
                      </a:lnTo>
                      <a:lnTo>
                        <a:pt x="66" y="114"/>
                      </a:lnTo>
                      <a:lnTo>
                        <a:pt x="66" y="114"/>
                      </a:lnTo>
                      <a:lnTo>
                        <a:pt x="66" y="110"/>
                      </a:lnTo>
                      <a:lnTo>
                        <a:pt x="70" y="110"/>
                      </a:lnTo>
                      <a:lnTo>
                        <a:pt x="74" y="110"/>
                      </a:lnTo>
                      <a:lnTo>
                        <a:pt x="76" y="112"/>
                      </a:lnTo>
                      <a:lnTo>
                        <a:pt x="76" y="112"/>
                      </a:lnTo>
                      <a:lnTo>
                        <a:pt x="76" y="106"/>
                      </a:lnTo>
                      <a:lnTo>
                        <a:pt x="82" y="110"/>
                      </a:lnTo>
                      <a:lnTo>
                        <a:pt x="82" y="110"/>
                      </a:lnTo>
                      <a:lnTo>
                        <a:pt x="88" y="110"/>
                      </a:lnTo>
                      <a:lnTo>
                        <a:pt x="90" y="110"/>
                      </a:lnTo>
                      <a:lnTo>
                        <a:pt x="92" y="110"/>
                      </a:lnTo>
                      <a:lnTo>
                        <a:pt x="98" y="112"/>
                      </a:lnTo>
                      <a:lnTo>
                        <a:pt x="98" y="112"/>
                      </a:lnTo>
                      <a:lnTo>
                        <a:pt x="96" y="110"/>
                      </a:lnTo>
                      <a:lnTo>
                        <a:pt x="96" y="108"/>
                      </a:lnTo>
                      <a:lnTo>
                        <a:pt x="100" y="106"/>
                      </a:lnTo>
                      <a:lnTo>
                        <a:pt x="100" y="106"/>
                      </a:lnTo>
                      <a:lnTo>
                        <a:pt x="90" y="108"/>
                      </a:lnTo>
                      <a:lnTo>
                        <a:pt x="82" y="106"/>
                      </a:lnTo>
                      <a:lnTo>
                        <a:pt x="82" y="106"/>
                      </a:lnTo>
                      <a:lnTo>
                        <a:pt x="84" y="106"/>
                      </a:lnTo>
                      <a:lnTo>
                        <a:pt x="84" y="104"/>
                      </a:lnTo>
                      <a:lnTo>
                        <a:pt x="84" y="104"/>
                      </a:lnTo>
                      <a:lnTo>
                        <a:pt x="86" y="102"/>
                      </a:lnTo>
                      <a:lnTo>
                        <a:pt x="86" y="102"/>
                      </a:lnTo>
                      <a:lnTo>
                        <a:pt x="90" y="100"/>
                      </a:lnTo>
                      <a:lnTo>
                        <a:pt x="92" y="98"/>
                      </a:lnTo>
                      <a:lnTo>
                        <a:pt x="94" y="98"/>
                      </a:lnTo>
                      <a:lnTo>
                        <a:pt x="96" y="96"/>
                      </a:lnTo>
                      <a:lnTo>
                        <a:pt x="96" y="96"/>
                      </a:lnTo>
                      <a:lnTo>
                        <a:pt x="100" y="94"/>
                      </a:lnTo>
                      <a:lnTo>
                        <a:pt x="106" y="90"/>
                      </a:lnTo>
                      <a:lnTo>
                        <a:pt x="106" y="90"/>
                      </a:lnTo>
                      <a:lnTo>
                        <a:pt x="108" y="88"/>
                      </a:lnTo>
                      <a:lnTo>
                        <a:pt x="110" y="84"/>
                      </a:lnTo>
                      <a:lnTo>
                        <a:pt x="110" y="82"/>
                      </a:lnTo>
                      <a:lnTo>
                        <a:pt x="114" y="82"/>
                      </a:lnTo>
                      <a:lnTo>
                        <a:pt x="114" y="82"/>
                      </a:lnTo>
                      <a:lnTo>
                        <a:pt x="118" y="80"/>
                      </a:lnTo>
                      <a:lnTo>
                        <a:pt x="120" y="76"/>
                      </a:lnTo>
                      <a:lnTo>
                        <a:pt x="124" y="74"/>
                      </a:lnTo>
                      <a:lnTo>
                        <a:pt x="126" y="72"/>
                      </a:lnTo>
                      <a:lnTo>
                        <a:pt x="126" y="72"/>
                      </a:lnTo>
                      <a:lnTo>
                        <a:pt x="130" y="72"/>
                      </a:lnTo>
                      <a:lnTo>
                        <a:pt x="130" y="70"/>
                      </a:lnTo>
                      <a:lnTo>
                        <a:pt x="130" y="68"/>
                      </a:lnTo>
                      <a:lnTo>
                        <a:pt x="132" y="68"/>
                      </a:lnTo>
                      <a:lnTo>
                        <a:pt x="132" y="68"/>
                      </a:lnTo>
                      <a:lnTo>
                        <a:pt x="134" y="66"/>
                      </a:lnTo>
                      <a:lnTo>
                        <a:pt x="134" y="64"/>
                      </a:lnTo>
                      <a:lnTo>
                        <a:pt x="136" y="62"/>
                      </a:lnTo>
                      <a:lnTo>
                        <a:pt x="138" y="62"/>
                      </a:lnTo>
                      <a:lnTo>
                        <a:pt x="138" y="62"/>
                      </a:lnTo>
                      <a:lnTo>
                        <a:pt x="142" y="60"/>
                      </a:lnTo>
                      <a:lnTo>
                        <a:pt x="144" y="58"/>
                      </a:lnTo>
                      <a:lnTo>
                        <a:pt x="146" y="56"/>
                      </a:lnTo>
                      <a:lnTo>
                        <a:pt x="148" y="56"/>
                      </a:lnTo>
                      <a:lnTo>
                        <a:pt x="148" y="56"/>
                      </a:lnTo>
                      <a:lnTo>
                        <a:pt x="150" y="56"/>
                      </a:lnTo>
                      <a:lnTo>
                        <a:pt x="152" y="54"/>
                      </a:lnTo>
                      <a:lnTo>
                        <a:pt x="154" y="52"/>
                      </a:lnTo>
                      <a:lnTo>
                        <a:pt x="160" y="52"/>
                      </a:lnTo>
                      <a:lnTo>
                        <a:pt x="160" y="52"/>
                      </a:lnTo>
                      <a:lnTo>
                        <a:pt x="164" y="52"/>
                      </a:lnTo>
                      <a:lnTo>
                        <a:pt x="166" y="50"/>
                      </a:lnTo>
                      <a:lnTo>
                        <a:pt x="166" y="48"/>
                      </a:lnTo>
                      <a:lnTo>
                        <a:pt x="168" y="48"/>
                      </a:lnTo>
                      <a:lnTo>
                        <a:pt x="168" y="48"/>
                      </a:lnTo>
                      <a:lnTo>
                        <a:pt x="172" y="46"/>
                      </a:lnTo>
                      <a:lnTo>
                        <a:pt x="172" y="44"/>
                      </a:lnTo>
                      <a:lnTo>
                        <a:pt x="174" y="42"/>
                      </a:lnTo>
                      <a:lnTo>
                        <a:pt x="178" y="40"/>
                      </a:lnTo>
                      <a:lnTo>
                        <a:pt x="178" y="40"/>
                      </a:lnTo>
                      <a:lnTo>
                        <a:pt x="182" y="38"/>
                      </a:lnTo>
                      <a:lnTo>
                        <a:pt x="184" y="38"/>
                      </a:lnTo>
                      <a:lnTo>
                        <a:pt x="186" y="36"/>
                      </a:lnTo>
                      <a:lnTo>
                        <a:pt x="188" y="36"/>
                      </a:lnTo>
                      <a:lnTo>
                        <a:pt x="188" y="36"/>
                      </a:lnTo>
                      <a:lnTo>
                        <a:pt x="192" y="34"/>
                      </a:lnTo>
                      <a:lnTo>
                        <a:pt x="192" y="32"/>
                      </a:lnTo>
                      <a:lnTo>
                        <a:pt x="194" y="30"/>
                      </a:lnTo>
                      <a:lnTo>
                        <a:pt x="196" y="30"/>
                      </a:lnTo>
                      <a:lnTo>
                        <a:pt x="196" y="30"/>
                      </a:lnTo>
                      <a:lnTo>
                        <a:pt x="200" y="30"/>
                      </a:lnTo>
                      <a:lnTo>
                        <a:pt x="206" y="28"/>
                      </a:lnTo>
                      <a:lnTo>
                        <a:pt x="210" y="26"/>
                      </a:lnTo>
                      <a:lnTo>
                        <a:pt x="214" y="26"/>
                      </a:lnTo>
                      <a:lnTo>
                        <a:pt x="214" y="26"/>
                      </a:lnTo>
                      <a:lnTo>
                        <a:pt x="218" y="26"/>
                      </a:lnTo>
                      <a:lnTo>
                        <a:pt x="220" y="26"/>
                      </a:lnTo>
                      <a:lnTo>
                        <a:pt x="224" y="24"/>
                      </a:lnTo>
                      <a:lnTo>
                        <a:pt x="228" y="24"/>
                      </a:lnTo>
                      <a:lnTo>
                        <a:pt x="228" y="24"/>
                      </a:lnTo>
                      <a:lnTo>
                        <a:pt x="232" y="24"/>
                      </a:lnTo>
                      <a:lnTo>
                        <a:pt x="234" y="24"/>
                      </a:lnTo>
                      <a:lnTo>
                        <a:pt x="238" y="22"/>
                      </a:lnTo>
                      <a:lnTo>
                        <a:pt x="242" y="22"/>
                      </a:lnTo>
                      <a:lnTo>
                        <a:pt x="242" y="22"/>
                      </a:lnTo>
                      <a:lnTo>
                        <a:pt x="248" y="22"/>
                      </a:lnTo>
                      <a:lnTo>
                        <a:pt x="248" y="20"/>
                      </a:lnTo>
                      <a:lnTo>
                        <a:pt x="248" y="18"/>
                      </a:lnTo>
                      <a:lnTo>
                        <a:pt x="252" y="18"/>
                      </a:lnTo>
                      <a:lnTo>
                        <a:pt x="252" y="18"/>
                      </a:lnTo>
                      <a:lnTo>
                        <a:pt x="256" y="18"/>
                      </a:lnTo>
                      <a:lnTo>
                        <a:pt x="258" y="16"/>
                      </a:lnTo>
                      <a:lnTo>
                        <a:pt x="260" y="16"/>
                      </a:lnTo>
                      <a:lnTo>
                        <a:pt x="264" y="16"/>
                      </a:lnTo>
                      <a:lnTo>
                        <a:pt x="264" y="16"/>
                      </a:lnTo>
                      <a:lnTo>
                        <a:pt x="268" y="16"/>
                      </a:lnTo>
                      <a:lnTo>
                        <a:pt x="276" y="16"/>
                      </a:lnTo>
                      <a:lnTo>
                        <a:pt x="276" y="16"/>
                      </a:lnTo>
                      <a:lnTo>
                        <a:pt x="282" y="14"/>
                      </a:lnTo>
                      <a:lnTo>
                        <a:pt x="286" y="12"/>
                      </a:lnTo>
                      <a:lnTo>
                        <a:pt x="290" y="10"/>
                      </a:lnTo>
                      <a:lnTo>
                        <a:pt x="294" y="14"/>
                      </a:lnTo>
                      <a:lnTo>
                        <a:pt x="294" y="14"/>
                      </a:lnTo>
                      <a:lnTo>
                        <a:pt x="298" y="10"/>
                      </a:lnTo>
                      <a:lnTo>
                        <a:pt x="300" y="8"/>
                      </a:lnTo>
                      <a:lnTo>
                        <a:pt x="304" y="10"/>
                      </a:lnTo>
                      <a:lnTo>
                        <a:pt x="308" y="16"/>
                      </a:lnTo>
                      <a:lnTo>
                        <a:pt x="308" y="16"/>
                      </a:lnTo>
                      <a:lnTo>
                        <a:pt x="310" y="12"/>
                      </a:lnTo>
                      <a:lnTo>
                        <a:pt x="310" y="10"/>
                      </a:lnTo>
                      <a:lnTo>
                        <a:pt x="308" y="8"/>
                      </a:lnTo>
                      <a:lnTo>
                        <a:pt x="306" y="6"/>
                      </a:lnTo>
                      <a:lnTo>
                        <a:pt x="310" y="4"/>
                      </a:lnTo>
                      <a:lnTo>
                        <a:pt x="310" y="4"/>
                      </a:lnTo>
                      <a:lnTo>
                        <a:pt x="316" y="0"/>
                      </a:lnTo>
                      <a:lnTo>
                        <a:pt x="318" y="2"/>
                      </a:lnTo>
                      <a:lnTo>
                        <a:pt x="320" y="2"/>
                      </a:lnTo>
                      <a:lnTo>
                        <a:pt x="324" y="2"/>
                      </a:lnTo>
                      <a:lnTo>
                        <a:pt x="324" y="2"/>
                      </a:lnTo>
                      <a:lnTo>
                        <a:pt x="326" y="2"/>
                      </a:lnTo>
                      <a:lnTo>
                        <a:pt x="326" y="4"/>
                      </a:lnTo>
                      <a:lnTo>
                        <a:pt x="324" y="10"/>
                      </a:lnTo>
                      <a:lnTo>
                        <a:pt x="320" y="16"/>
                      </a:lnTo>
                      <a:lnTo>
                        <a:pt x="322" y="16"/>
                      </a:lnTo>
                      <a:lnTo>
                        <a:pt x="324" y="16"/>
                      </a:lnTo>
                      <a:lnTo>
                        <a:pt x="324" y="16"/>
                      </a:lnTo>
                      <a:lnTo>
                        <a:pt x="330" y="12"/>
                      </a:lnTo>
                      <a:lnTo>
                        <a:pt x="332" y="8"/>
                      </a:lnTo>
                      <a:lnTo>
                        <a:pt x="334" y="6"/>
                      </a:lnTo>
                      <a:lnTo>
                        <a:pt x="336" y="4"/>
                      </a:lnTo>
                      <a:lnTo>
                        <a:pt x="336" y="4"/>
                      </a:lnTo>
                      <a:lnTo>
                        <a:pt x="336" y="8"/>
                      </a:lnTo>
                      <a:lnTo>
                        <a:pt x="336" y="12"/>
                      </a:lnTo>
                      <a:lnTo>
                        <a:pt x="338" y="12"/>
                      </a:lnTo>
                      <a:lnTo>
                        <a:pt x="338" y="12"/>
                      </a:lnTo>
                      <a:lnTo>
                        <a:pt x="340" y="10"/>
                      </a:lnTo>
                      <a:lnTo>
                        <a:pt x="340" y="6"/>
                      </a:lnTo>
                      <a:lnTo>
                        <a:pt x="342" y="4"/>
                      </a:lnTo>
                      <a:lnTo>
                        <a:pt x="346" y="4"/>
                      </a:lnTo>
                      <a:lnTo>
                        <a:pt x="346" y="4"/>
                      </a:lnTo>
                      <a:lnTo>
                        <a:pt x="348" y="4"/>
                      </a:lnTo>
                      <a:lnTo>
                        <a:pt x="350" y="6"/>
                      </a:lnTo>
                      <a:lnTo>
                        <a:pt x="350" y="8"/>
                      </a:lnTo>
                      <a:lnTo>
                        <a:pt x="348" y="10"/>
                      </a:lnTo>
                      <a:lnTo>
                        <a:pt x="348" y="10"/>
                      </a:lnTo>
                      <a:lnTo>
                        <a:pt x="348" y="10"/>
                      </a:lnTo>
                      <a:lnTo>
                        <a:pt x="352" y="10"/>
                      </a:lnTo>
                      <a:lnTo>
                        <a:pt x="352" y="10"/>
                      </a:lnTo>
                      <a:lnTo>
                        <a:pt x="354" y="10"/>
                      </a:lnTo>
                      <a:lnTo>
                        <a:pt x="356" y="10"/>
                      </a:lnTo>
                      <a:lnTo>
                        <a:pt x="356" y="10"/>
                      </a:lnTo>
                      <a:lnTo>
                        <a:pt x="360" y="8"/>
                      </a:lnTo>
                      <a:lnTo>
                        <a:pt x="362" y="8"/>
                      </a:lnTo>
                      <a:lnTo>
                        <a:pt x="364" y="10"/>
                      </a:lnTo>
                      <a:lnTo>
                        <a:pt x="366" y="12"/>
                      </a:lnTo>
                      <a:lnTo>
                        <a:pt x="366" y="12"/>
                      </a:lnTo>
                      <a:lnTo>
                        <a:pt x="372" y="12"/>
                      </a:lnTo>
                      <a:lnTo>
                        <a:pt x="376" y="12"/>
                      </a:lnTo>
                      <a:lnTo>
                        <a:pt x="380" y="16"/>
                      </a:lnTo>
                      <a:lnTo>
                        <a:pt x="380" y="16"/>
                      </a:lnTo>
                      <a:lnTo>
                        <a:pt x="380" y="18"/>
                      </a:lnTo>
                      <a:lnTo>
                        <a:pt x="378" y="18"/>
                      </a:lnTo>
                      <a:lnTo>
                        <a:pt x="372" y="18"/>
                      </a:lnTo>
                      <a:lnTo>
                        <a:pt x="364" y="18"/>
                      </a:lnTo>
                      <a:lnTo>
                        <a:pt x="364" y="18"/>
                      </a:lnTo>
                      <a:lnTo>
                        <a:pt x="378" y="22"/>
                      </a:lnTo>
                      <a:lnTo>
                        <a:pt x="378" y="22"/>
                      </a:lnTo>
                      <a:lnTo>
                        <a:pt x="378" y="26"/>
                      </a:lnTo>
                      <a:lnTo>
                        <a:pt x="376" y="26"/>
                      </a:lnTo>
                      <a:lnTo>
                        <a:pt x="374" y="26"/>
                      </a:lnTo>
                      <a:lnTo>
                        <a:pt x="372" y="26"/>
                      </a:lnTo>
                      <a:lnTo>
                        <a:pt x="372" y="26"/>
                      </a:lnTo>
                      <a:lnTo>
                        <a:pt x="368" y="32"/>
                      </a:lnTo>
                      <a:lnTo>
                        <a:pt x="366" y="36"/>
                      </a:lnTo>
                      <a:lnTo>
                        <a:pt x="364" y="40"/>
                      </a:lnTo>
                      <a:lnTo>
                        <a:pt x="364" y="40"/>
                      </a:lnTo>
                      <a:lnTo>
                        <a:pt x="362" y="36"/>
                      </a:lnTo>
                      <a:lnTo>
                        <a:pt x="362" y="34"/>
                      </a:lnTo>
                      <a:lnTo>
                        <a:pt x="360" y="32"/>
                      </a:lnTo>
                      <a:lnTo>
                        <a:pt x="360" y="32"/>
                      </a:lnTo>
                      <a:lnTo>
                        <a:pt x="360" y="30"/>
                      </a:lnTo>
                      <a:lnTo>
                        <a:pt x="362" y="26"/>
                      </a:lnTo>
                      <a:lnTo>
                        <a:pt x="362" y="24"/>
                      </a:lnTo>
                      <a:lnTo>
                        <a:pt x="360" y="22"/>
                      </a:lnTo>
                      <a:lnTo>
                        <a:pt x="360" y="22"/>
                      </a:lnTo>
                      <a:lnTo>
                        <a:pt x="354" y="20"/>
                      </a:lnTo>
                      <a:lnTo>
                        <a:pt x="350" y="18"/>
                      </a:lnTo>
                      <a:lnTo>
                        <a:pt x="350" y="16"/>
                      </a:lnTo>
                      <a:lnTo>
                        <a:pt x="350" y="16"/>
                      </a:lnTo>
                      <a:lnTo>
                        <a:pt x="348" y="14"/>
                      </a:lnTo>
                      <a:lnTo>
                        <a:pt x="346" y="14"/>
                      </a:lnTo>
                      <a:lnTo>
                        <a:pt x="340" y="16"/>
                      </a:lnTo>
                      <a:lnTo>
                        <a:pt x="340" y="16"/>
                      </a:lnTo>
                      <a:lnTo>
                        <a:pt x="334" y="18"/>
                      </a:lnTo>
                      <a:lnTo>
                        <a:pt x="332" y="18"/>
                      </a:lnTo>
                      <a:lnTo>
                        <a:pt x="330" y="20"/>
                      </a:lnTo>
                      <a:lnTo>
                        <a:pt x="330" y="20"/>
                      </a:lnTo>
                      <a:lnTo>
                        <a:pt x="322" y="26"/>
                      </a:lnTo>
                      <a:lnTo>
                        <a:pt x="318" y="28"/>
                      </a:lnTo>
                      <a:lnTo>
                        <a:pt x="320" y="32"/>
                      </a:lnTo>
                      <a:lnTo>
                        <a:pt x="320" y="32"/>
                      </a:lnTo>
                      <a:lnTo>
                        <a:pt x="320" y="34"/>
                      </a:lnTo>
                      <a:lnTo>
                        <a:pt x="318" y="36"/>
                      </a:lnTo>
                      <a:lnTo>
                        <a:pt x="318" y="36"/>
                      </a:lnTo>
                      <a:lnTo>
                        <a:pt x="312" y="38"/>
                      </a:lnTo>
                      <a:lnTo>
                        <a:pt x="310" y="44"/>
                      </a:lnTo>
                      <a:lnTo>
                        <a:pt x="310" y="44"/>
                      </a:lnTo>
                      <a:lnTo>
                        <a:pt x="306" y="46"/>
                      </a:lnTo>
                      <a:lnTo>
                        <a:pt x="304" y="44"/>
                      </a:lnTo>
                      <a:lnTo>
                        <a:pt x="296" y="38"/>
                      </a:lnTo>
                      <a:lnTo>
                        <a:pt x="296" y="38"/>
                      </a:lnTo>
                      <a:lnTo>
                        <a:pt x="294" y="36"/>
                      </a:lnTo>
                      <a:lnTo>
                        <a:pt x="292" y="40"/>
                      </a:lnTo>
                      <a:lnTo>
                        <a:pt x="292" y="40"/>
                      </a:lnTo>
                      <a:lnTo>
                        <a:pt x="290" y="40"/>
                      </a:lnTo>
                      <a:lnTo>
                        <a:pt x="284" y="40"/>
                      </a:lnTo>
                      <a:lnTo>
                        <a:pt x="274" y="38"/>
                      </a:lnTo>
                      <a:lnTo>
                        <a:pt x="274" y="38"/>
                      </a:lnTo>
                      <a:lnTo>
                        <a:pt x="258" y="34"/>
                      </a:lnTo>
                      <a:lnTo>
                        <a:pt x="252" y="32"/>
                      </a:lnTo>
                      <a:lnTo>
                        <a:pt x="248" y="30"/>
                      </a:lnTo>
                      <a:lnTo>
                        <a:pt x="248" y="30"/>
                      </a:lnTo>
                      <a:lnTo>
                        <a:pt x="246" y="28"/>
                      </a:lnTo>
                      <a:lnTo>
                        <a:pt x="244" y="28"/>
                      </a:lnTo>
                      <a:lnTo>
                        <a:pt x="240" y="30"/>
                      </a:lnTo>
                      <a:lnTo>
                        <a:pt x="240" y="30"/>
                      </a:lnTo>
                      <a:lnTo>
                        <a:pt x="240" y="32"/>
                      </a:lnTo>
                      <a:lnTo>
                        <a:pt x="240" y="32"/>
                      </a:lnTo>
                      <a:lnTo>
                        <a:pt x="240" y="34"/>
                      </a:lnTo>
                      <a:lnTo>
                        <a:pt x="238" y="34"/>
                      </a:lnTo>
                      <a:lnTo>
                        <a:pt x="238" y="34"/>
                      </a:lnTo>
                      <a:lnTo>
                        <a:pt x="226" y="40"/>
                      </a:lnTo>
                      <a:lnTo>
                        <a:pt x="218" y="44"/>
                      </a:lnTo>
                      <a:lnTo>
                        <a:pt x="218" y="44"/>
                      </a:lnTo>
                      <a:lnTo>
                        <a:pt x="214" y="44"/>
                      </a:lnTo>
                      <a:lnTo>
                        <a:pt x="212" y="44"/>
                      </a:lnTo>
                      <a:lnTo>
                        <a:pt x="208" y="42"/>
                      </a:lnTo>
                      <a:lnTo>
                        <a:pt x="206" y="40"/>
                      </a:lnTo>
                      <a:lnTo>
                        <a:pt x="204" y="40"/>
                      </a:lnTo>
                      <a:lnTo>
                        <a:pt x="194" y="44"/>
                      </a:lnTo>
                      <a:lnTo>
                        <a:pt x="194" y="44"/>
                      </a:lnTo>
                      <a:lnTo>
                        <a:pt x="184" y="50"/>
                      </a:lnTo>
                      <a:lnTo>
                        <a:pt x="176" y="54"/>
                      </a:lnTo>
                      <a:lnTo>
                        <a:pt x="176" y="54"/>
                      </a:lnTo>
                      <a:lnTo>
                        <a:pt x="170" y="60"/>
                      </a:lnTo>
                      <a:lnTo>
                        <a:pt x="168" y="64"/>
                      </a:lnTo>
                      <a:lnTo>
                        <a:pt x="168" y="68"/>
                      </a:lnTo>
                      <a:lnTo>
                        <a:pt x="166" y="70"/>
                      </a:lnTo>
                      <a:lnTo>
                        <a:pt x="166" y="70"/>
                      </a:lnTo>
                      <a:lnTo>
                        <a:pt x="162" y="70"/>
                      </a:lnTo>
                      <a:lnTo>
                        <a:pt x="160" y="70"/>
                      </a:lnTo>
                      <a:lnTo>
                        <a:pt x="156" y="70"/>
                      </a:lnTo>
                      <a:lnTo>
                        <a:pt x="154" y="72"/>
                      </a:lnTo>
                      <a:lnTo>
                        <a:pt x="154" y="72"/>
                      </a:lnTo>
                      <a:lnTo>
                        <a:pt x="152" y="74"/>
                      </a:lnTo>
                      <a:lnTo>
                        <a:pt x="152" y="78"/>
                      </a:lnTo>
                      <a:lnTo>
                        <a:pt x="152" y="82"/>
                      </a:lnTo>
                      <a:lnTo>
                        <a:pt x="150" y="86"/>
                      </a:lnTo>
                      <a:lnTo>
                        <a:pt x="150" y="86"/>
                      </a:lnTo>
                      <a:lnTo>
                        <a:pt x="148" y="90"/>
                      </a:lnTo>
                      <a:lnTo>
                        <a:pt x="148" y="94"/>
                      </a:lnTo>
                      <a:lnTo>
                        <a:pt x="148" y="96"/>
                      </a:lnTo>
                      <a:lnTo>
                        <a:pt x="146" y="98"/>
                      </a:lnTo>
                      <a:lnTo>
                        <a:pt x="138" y="100"/>
                      </a:lnTo>
                      <a:lnTo>
                        <a:pt x="138" y="100"/>
                      </a:lnTo>
                      <a:lnTo>
                        <a:pt x="130" y="102"/>
                      </a:lnTo>
                      <a:lnTo>
                        <a:pt x="126" y="106"/>
                      </a:lnTo>
                      <a:lnTo>
                        <a:pt x="122" y="110"/>
                      </a:lnTo>
                      <a:lnTo>
                        <a:pt x="116" y="112"/>
                      </a:lnTo>
                      <a:lnTo>
                        <a:pt x="116" y="112"/>
                      </a:lnTo>
                      <a:lnTo>
                        <a:pt x="116" y="114"/>
                      </a:lnTo>
                      <a:lnTo>
                        <a:pt x="118" y="116"/>
                      </a:lnTo>
                      <a:lnTo>
                        <a:pt x="118" y="120"/>
                      </a:lnTo>
                      <a:lnTo>
                        <a:pt x="118" y="120"/>
                      </a:lnTo>
                      <a:lnTo>
                        <a:pt x="118" y="126"/>
                      </a:lnTo>
                      <a:lnTo>
                        <a:pt x="118" y="130"/>
                      </a:lnTo>
                      <a:lnTo>
                        <a:pt x="120" y="134"/>
                      </a:lnTo>
                      <a:lnTo>
                        <a:pt x="120" y="134"/>
                      </a:lnTo>
                      <a:lnTo>
                        <a:pt x="120" y="138"/>
                      </a:lnTo>
                      <a:lnTo>
                        <a:pt x="122" y="140"/>
                      </a:lnTo>
                      <a:lnTo>
                        <a:pt x="124" y="142"/>
                      </a:lnTo>
                      <a:lnTo>
                        <a:pt x="126" y="144"/>
                      </a:lnTo>
                      <a:lnTo>
                        <a:pt x="126" y="144"/>
                      </a:lnTo>
                      <a:lnTo>
                        <a:pt x="124" y="148"/>
                      </a:lnTo>
                      <a:lnTo>
                        <a:pt x="120" y="150"/>
                      </a:lnTo>
                      <a:lnTo>
                        <a:pt x="120" y="150"/>
                      </a:lnTo>
                      <a:lnTo>
                        <a:pt x="122" y="156"/>
                      </a:lnTo>
                      <a:lnTo>
                        <a:pt x="122" y="160"/>
                      </a:lnTo>
                      <a:lnTo>
                        <a:pt x="120" y="164"/>
                      </a:lnTo>
                      <a:lnTo>
                        <a:pt x="118" y="166"/>
                      </a:lnTo>
                      <a:lnTo>
                        <a:pt x="114" y="170"/>
                      </a:lnTo>
                      <a:lnTo>
                        <a:pt x="112" y="172"/>
                      </a:lnTo>
                      <a:lnTo>
                        <a:pt x="112" y="172"/>
                      </a:lnTo>
                      <a:lnTo>
                        <a:pt x="112" y="174"/>
                      </a:lnTo>
                      <a:lnTo>
                        <a:pt x="112" y="176"/>
                      </a:lnTo>
                      <a:lnTo>
                        <a:pt x="110" y="178"/>
                      </a:lnTo>
                      <a:lnTo>
                        <a:pt x="112" y="180"/>
                      </a:lnTo>
                      <a:lnTo>
                        <a:pt x="112" y="180"/>
                      </a:lnTo>
                      <a:lnTo>
                        <a:pt x="114" y="184"/>
                      </a:lnTo>
                      <a:lnTo>
                        <a:pt x="112" y="186"/>
                      </a:lnTo>
                      <a:lnTo>
                        <a:pt x="110" y="186"/>
                      </a:lnTo>
                      <a:lnTo>
                        <a:pt x="108" y="186"/>
                      </a:lnTo>
                      <a:lnTo>
                        <a:pt x="108" y="186"/>
                      </a:lnTo>
                      <a:close/>
                    </a:path>
                  </a:pathLst>
                </a:custGeom>
                <a:solidFill>
                  <a:schemeClr val="accent6"/>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93" name="Finland"/>
              <p:cNvSpPr>
                <a:spLocks/>
              </p:cNvSpPr>
              <p:nvPr/>
            </p:nvSpPr>
            <p:spPr bwMode="auto">
              <a:xfrm>
                <a:off x="6261373" y="1369714"/>
                <a:ext cx="285538" cy="242787"/>
              </a:xfrm>
              <a:custGeom>
                <a:avLst/>
                <a:gdLst/>
                <a:ahLst/>
                <a:cxnLst>
                  <a:cxn ang="0">
                    <a:pos x="130" y="144"/>
                  </a:cxn>
                  <a:cxn ang="0">
                    <a:pos x="108" y="148"/>
                  </a:cxn>
                  <a:cxn ang="0">
                    <a:pos x="94" y="150"/>
                  </a:cxn>
                  <a:cxn ang="0">
                    <a:pos x="82" y="150"/>
                  </a:cxn>
                  <a:cxn ang="0">
                    <a:pos x="68" y="156"/>
                  </a:cxn>
                  <a:cxn ang="0">
                    <a:pos x="58" y="156"/>
                  </a:cxn>
                  <a:cxn ang="0">
                    <a:pos x="52" y="152"/>
                  </a:cxn>
                  <a:cxn ang="0">
                    <a:pos x="44" y="148"/>
                  </a:cxn>
                  <a:cxn ang="0">
                    <a:pos x="38" y="146"/>
                  </a:cxn>
                  <a:cxn ang="0">
                    <a:pos x="34" y="136"/>
                  </a:cxn>
                  <a:cxn ang="0">
                    <a:pos x="32" y="130"/>
                  </a:cxn>
                  <a:cxn ang="0">
                    <a:pos x="30" y="124"/>
                  </a:cxn>
                  <a:cxn ang="0">
                    <a:pos x="28" y="120"/>
                  </a:cxn>
                  <a:cxn ang="0">
                    <a:pos x="30" y="116"/>
                  </a:cxn>
                  <a:cxn ang="0">
                    <a:pos x="28" y="112"/>
                  </a:cxn>
                  <a:cxn ang="0">
                    <a:pos x="34" y="110"/>
                  </a:cxn>
                  <a:cxn ang="0">
                    <a:pos x="34" y="108"/>
                  </a:cxn>
                  <a:cxn ang="0">
                    <a:pos x="40" y="106"/>
                  </a:cxn>
                  <a:cxn ang="0">
                    <a:pos x="48" y="102"/>
                  </a:cxn>
                  <a:cxn ang="0">
                    <a:pos x="56" y="98"/>
                  </a:cxn>
                  <a:cxn ang="0">
                    <a:pos x="60" y="96"/>
                  </a:cxn>
                  <a:cxn ang="0">
                    <a:pos x="66" y="94"/>
                  </a:cxn>
                  <a:cxn ang="0">
                    <a:pos x="80" y="84"/>
                  </a:cxn>
                  <a:cxn ang="0">
                    <a:pos x="88" y="84"/>
                  </a:cxn>
                  <a:cxn ang="0">
                    <a:pos x="86" y="78"/>
                  </a:cxn>
                  <a:cxn ang="0">
                    <a:pos x="70" y="72"/>
                  </a:cxn>
                  <a:cxn ang="0">
                    <a:pos x="60" y="66"/>
                  </a:cxn>
                  <a:cxn ang="0">
                    <a:pos x="54" y="54"/>
                  </a:cxn>
                  <a:cxn ang="0">
                    <a:pos x="46" y="42"/>
                  </a:cxn>
                  <a:cxn ang="0">
                    <a:pos x="42" y="36"/>
                  </a:cxn>
                  <a:cxn ang="0">
                    <a:pos x="8" y="26"/>
                  </a:cxn>
                  <a:cxn ang="0">
                    <a:pos x="2" y="18"/>
                  </a:cxn>
                  <a:cxn ang="0">
                    <a:pos x="8" y="14"/>
                  </a:cxn>
                  <a:cxn ang="0">
                    <a:pos x="36" y="24"/>
                  </a:cxn>
                  <a:cxn ang="0">
                    <a:pos x="54" y="26"/>
                  </a:cxn>
                  <a:cxn ang="0">
                    <a:pos x="68" y="32"/>
                  </a:cxn>
                  <a:cxn ang="0">
                    <a:pos x="80" y="22"/>
                  </a:cxn>
                  <a:cxn ang="0">
                    <a:pos x="84" y="12"/>
                  </a:cxn>
                  <a:cxn ang="0">
                    <a:pos x="102" y="2"/>
                  </a:cxn>
                  <a:cxn ang="0">
                    <a:pos x="112" y="2"/>
                  </a:cxn>
                  <a:cxn ang="0">
                    <a:pos x="124" y="10"/>
                  </a:cxn>
                  <a:cxn ang="0">
                    <a:pos x="124" y="20"/>
                  </a:cxn>
                  <a:cxn ang="0">
                    <a:pos x="132" y="30"/>
                  </a:cxn>
                  <a:cxn ang="0">
                    <a:pos x="142" y="40"/>
                  </a:cxn>
                  <a:cxn ang="0">
                    <a:pos x="150" y="54"/>
                  </a:cxn>
                  <a:cxn ang="0">
                    <a:pos x="158" y="66"/>
                  </a:cxn>
                  <a:cxn ang="0">
                    <a:pos x="164" y="76"/>
                  </a:cxn>
                  <a:cxn ang="0">
                    <a:pos x="164" y="84"/>
                  </a:cxn>
                  <a:cxn ang="0">
                    <a:pos x="170" y="94"/>
                  </a:cxn>
                  <a:cxn ang="0">
                    <a:pos x="188" y="108"/>
                  </a:cxn>
                  <a:cxn ang="0">
                    <a:pos x="180" y="120"/>
                  </a:cxn>
                  <a:cxn ang="0">
                    <a:pos x="172" y="126"/>
                  </a:cxn>
                  <a:cxn ang="0">
                    <a:pos x="148" y="142"/>
                  </a:cxn>
                </a:cxnLst>
                <a:rect l="0" t="0" r="r" b="b"/>
                <a:pathLst>
                  <a:path w="188" h="160">
                    <a:moveTo>
                      <a:pt x="148" y="146"/>
                    </a:moveTo>
                    <a:lnTo>
                      <a:pt x="148" y="146"/>
                    </a:lnTo>
                    <a:lnTo>
                      <a:pt x="138" y="146"/>
                    </a:lnTo>
                    <a:lnTo>
                      <a:pt x="132" y="146"/>
                    </a:lnTo>
                    <a:lnTo>
                      <a:pt x="130" y="144"/>
                    </a:lnTo>
                    <a:lnTo>
                      <a:pt x="126" y="146"/>
                    </a:lnTo>
                    <a:lnTo>
                      <a:pt x="126" y="146"/>
                    </a:lnTo>
                    <a:lnTo>
                      <a:pt x="118" y="148"/>
                    </a:lnTo>
                    <a:lnTo>
                      <a:pt x="112" y="148"/>
                    </a:lnTo>
                    <a:lnTo>
                      <a:pt x="108" y="148"/>
                    </a:lnTo>
                    <a:lnTo>
                      <a:pt x="104" y="148"/>
                    </a:lnTo>
                    <a:lnTo>
                      <a:pt x="104" y="148"/>
                    </a:lnTo>
                    <a:lnTo>
                      <a:pt x="100" y="150"/>
                    </a:lnTo>
                    <a:lnTo>
                      <a:pt x="96" y="150"/>
                    </a:lnTo>
                    <a:lnTo>
                      <a:pt x="94" y="150"/>
                    </a:lnTo>
                    <a:lnTo>
                      <a:pt x="92" y="152"/>
                    </a:lnTo>
                    <a:lnTo>
                      <a:pt x="92" y="152"/>
                    </a:lnTo>
                    <a:lnTo>
                      <a:pt x="90" y="152"/>
                    </a:lnTo>
                    <a:lnTo>
                      <a:pt x="86" y="152"/>
                    </a:lnTo>
                    <a:lnTo>
                      <a:pt x="82" y="150"/>
                    </a:lnTo>
                    <a:lnTo>
                      <a:pt x="78" y="150"/>
                    </a:lnTo>
                    <a:lnTo>
                      <a:pt x="78" y="150"/>
                    </a:lnTo>
                    <a:lnTo>
                      <a:pt x="72" y="154"/>
                    </a:lnTo>
                    <a:lnTo>
                      <a:pt x="70" y="154"/>
                    </a:lnTo>
                    <a:lnTo>
                      <a:pt x="68" y="156"/>
                    </a:lnTo>
                    <a:lnTo>
                      <a:pt x="68" y="156"/>
                    </a:lnTo>
                    <a:lnTo>
                      <a:pt x="62" y="158"/>
                    </a:lnTo>
                    <a:lnTo>
                      <a:pt x="56" y="160"/>
                    </a:lnTo>
                    <a:lnTo>
                      <a:pt x="56" y="160"/>
                    </a:lnTo>
                    <a:lnTo>
                      <a:pt x="58" y="156"/>
                    </a:lnTo>
                    <a:lnTo>
                      <a:pt x="58" y="154"/>
                    </a:lnTo>
                    <a:lnTo>
                      <a:pt x="56" y="154"/>
                    </a:lnTo>
                    <a:lnTo>
                      <a:pt x="56" y="154"/>
                    </a:lnTo>
                    <a:lnTo>
                      <a:pt x="52" y="154"/>
                    </a:lnTo>
                    <a:lnTo>
                      <a:pt x="52" y="152"/>
                    </a:lnTo>
                    <a:lnTo>
                      <a:pt x="52" y="146"/>
                    </a:lnTo>
                    <a:lnTo>
                      <a:pt x="52" y="146"/>
                    </a:lnTo>
                    <a:lnTo>
                      <a:pt x="46" y="150"/>
                    </a:lnTo>
                    <a:lnTo>
                      <a:pt x="44" y="150"/>
                    </a:lnTo>
                    <a:lnTo>
                      <a:pt x="44" y="148"/>
                    </a:lnTo>
                    <a:lnTo>
                      <a:pt x="44" y="146"/>
                    </a:lnTo>
                    <a:lnTo>
                      <a:pt x="42" y="144"/>
                    </a:lnTo>
                    <a:lnTo>
                      <a:pt x="40" y="144"/>
                    </a:lnTo>
                    <a:lnTo>
                      <a:pt x="40" y="144"/>
                    </a:lnTo>
                    <a:lnTo>
                      <a:pt x="38" y="146"/>
                    </a:lnTo>
                    <a:lnTo>
                      <a:pt x="36" y="144"/>
                    </a:lnTo>
                    <a:lnTo>
                      <a:pt x="36" y="142"/>
                    </a:lnTo>
                    <a:lnTo>
                      <a:pt x="36" y="138"/>
                    </a:lnTo>
                    <a:lnTo>
                      <a:pt x="36" y="138"/>
                    </a:lnTo>
                    <a:lnTo>
                      <a:pt x="34" y="136"/>
                    </a:lnTo>
                    <a:lnTo>
                      <a:pt x="34" y="134"/>
                    </a:lnTo>
                    <a:lnTo>
                      <a:pt x="36" y="134"/>
                    </a:lnTo>
                    <a:lnTo>
                      <a:pt x="34" y="132"/>
                    </a:lnTo>
                    <a:lnTo>
                      <a:pt x="34" y="132"/>
                    </a:lnTo>
                    <a:lnTo>
                      <a:pt x="32" y="130"/>
                    </a:lnTo>
                    <a:lnTo>
                      <a:pt x="30" y="128"/>
                    </a:lnTo>
                    <a:lnTo>
                      <a:pt x="30" y="128"/>
                    </a:lnTo>
                    <a:lnTo>
                      <a:pt x="30" y="126"/>
                    </a:lnTo>
                    <a:lnTo>
                      <a:pt x="30" y="126"/>
                    </a:lnTo>
                    <a:lnTo>
                      <a:pt x="30" y="124"/>
                    </a:lnTo>
                    <a:lnTo>
                      <a:pt x="28" y="124"/>
                    </a:lnTo>
                    <a:lnTo>
                      <a:pt x="28" y="124"/>
                    </a:lnTo>
                    <a:lnTo>
                      <a:pt x="28" y="122"/>
                    </a:lnTo>
                    <a:lnTo>
                      <a:pt x="28" y="122"/>
                    </a:lnTo>
                    <a:lnTo>
                      <a:pt x="28" y="120"/>
                    </a:lnTo>
                    <a:lnTo>
                      <a:pt x="28" y="118"/>
                    </a:lnTo>
                    <a:lnTo>
                      <a:pt x="28" y="118"/>
                    </a:lnTo>
                    <a:lnTo>
                      <a:pt x="28" y="118"/>
                    </a:lnTo>
                    <a:lnTo>
                      <a:pt x="28" y="116"/>
                    </a:lnTo>
                    <a:lnTo>
                      <a:pt x="30" y="116"/>
                    </a:lnTo>
                    <a:lnTo>
                      <a:pt x="28" y="116"/>
                    </a:lnTo>
                    <a:lnTo>
                      <a:pt x="28" y="116"/>
                    </a:lnTo>
                    <a:lnTo>
                      <a:pt x="26" y="114"/>
                    </a:lnTo>
                    <a:lnTo>
                      <a:pt x="26" y="112"/>
                    </a:lnTo>
                    <a:lnTo>
                      <a:pt x="28" y="112"/>
                    </a:lnTo>
                    <a:lnTo>
                      <a:pt x="30" y="112"/>
                    </a:lnTo>
                    <a:lnTo>
                      <a:pt x="30" y="112"/>
                    </a:lnTo>
                    <a:lnTo>
                      <a:pt x="32" y="112"/>
                    </a:lnTo>
                    <a:lnTo>
                      <a:pt x="32" y="112"/>
                    </a:lnTo>
                    <a:lnTo>
                      <a:pt x="34" y="110"/>
                    </a:lnTo>
                    <a:lnTo>
                      <a:pt x="32" y="110"/>
                    </a:lnTo>
                    <a:lnTo>
                      <a:pt x="32" y="110"/>
                    </a:lnTo>
                    <a:lnTo>
                      <a:pt x="30" y="108"/>
                    </a:lnTo>
                    <a:lnTo>
                      <a:pt x="32" y="108"/>
                    </a:lnTo>
                    <a:lnTo>
                      <a:pt x="34" y="108"/>
                    </a:lnTo>
                    <a:lnTo>
                      <a:pt x="34" y="108"/>
                    </a:lnTo>
                    <a:lnTo>
                      <a:pt x="38" y="106"/>
                    </a:lnTo>
                    <a:lnTo>
                      <a:pt x="38" y="106"/>
                    </a:lnTo>
                    <a:lnTo>
                      <a:pt x="38" y="106"/>
                    </a:lnTo>
                    <a:lnTo>
                      <a:pt x="40" y="106"/>
                    </a:lnTo>
                    <a:lnTo>
                      <a:pt x="42" y="104"/>
                    </a:lnTo>
                    <a:lnTo>
                      <a:pt x="44" y="102"/>
                    </a:lnTo>
                    <a:lnTo>
                      <a:pt x="46" y="102"/>
                    </a:lnTo>
                    <a:lnTo>
                      <a:pt x="46" y="102"/>
                    </a:lnTo>
                    <a:lnTo>
                      <a:pt x="48" y="102"/>
                    </a:lnTo>
                    <a:lnTo>
                      <a:pt x="50" y="100"/>
                    </a:lnTo>
                    <a:lnTo>
                      <a:pt x="50" y="98"/>
                    </a:lnTo>
                    <a:lnTo>
                      <a:pt x="54" y="98"/>
                    </a:lnTo>
                    <a:lnTo>
                      <a:pt x="54" y="98"/>
                    </a:lnTo>
                    <a:lnTo>
                      <a:pt x="56" y="98"/>
                    </a:lnTo>
                    <a:lnTo>
                      <a:pt x="56" y="98"/>
                    </a:lnTo>
                    <a:lnTo>
                      <a:pt x="58" y="96"/>
                    </a:lnTo>
                    <a:lnTo>
                      <a:pt x="58" y="96"/>
                    </a:lnTo>
                    <a:lnTo>
                      <a:pt x="58" y="96"/>
                    </a:lnTo>
                    <a:lnTo>
                      <a:pt x="60" y="96"/>
                    </a:lnTo>
                    <a:lnTo>
                      <a:pt x="60" y="94"/>
                    </a:lnTo>
                    <a:lnTo>
                      <a:pt x="62" y="94"/>
                    </a:lnTo>
                    <a:lnTo>
                      <a:pt x="64" y="94"/>
                    </a:lnTo>
                    <a:lnTo>
                      <a:pt x="64" y="94"/>
                    </a:lnTo>
                    <a:lnTo>
                      <a:pt x="66" y="94"/>
                    </a:lnTo>
                    <a:lnTo>
                      <a:pt x="68" y="92"/>
                    </a:lnTo>
                    <a:lnTo>
                      <a:pt x="72" y="90"/>
                    </a:lnTo>
                    <a:lnTo>
                      <a:pt x="72" y="90"/>
                    </a:lnTo>
                    <a:lnTo>
                      <a:pt x="76" y="88"/>
                    </a:lnTo>
                    <a:lnTo>
                      <a:pt x="80" y="84"/>
                    </a:lnTo>
                    <a:lnTo>
                      <a:pt x="80" y="84"/>
                    </a:lnTo>
                    <a:lnTo>
                      <a:pt x="82" y="82"/>
                    </a:lnTo>
                    <a:lnTo>
                      <a:pt x="84" y="84"/>
                    </a:lnTo>
                    <a:lnTo>
                      <a:pt x="84" y="84"/>
                    </a:lnTo>
                    <a:lnTo>
                      <a:pt x="88" y="84"/>
                    </a:lnTo>
                    <a:lnTo>
                      <a:pt x="88" y="84"/>
                    </a:lnTo>
                    <a:lnTo>
                      <a:pt x="88" y="84"/>
                    </a:lnTo>
                    <a:lnTo>
                      <a:pt x="88" y="82"/>
                    </a:lnTo>
                    <a:lnTo>
                      <a:pt x="86" y="80"/>
                    </a:lnTo>
                    <a:lnTo>
                      <a:pt x="86" y="78"/>
                    </a:lnTo>
                    <a:lnTo>
                      <a:pt x="86" y="78"/>
                    </a:lnTo>
                    <a:lnTo>
                      <a:pt x="84" y="76"/>
                    </a:lnTo>
                    <a:lnTo>
                      <a:pt x="82" y="74"/>
                    </a:lnTo>
                    <a:lnTo>
                      <a:pt x="76" y="72"/>
                    </a:lnTo>
                    <a:lnTo>
                      <a:pt x="70" y="72"/>
                    </a:lnTo>
                    <a:lnTo>
                      <a:pt x="66" y="70"/>
                    </a:lnTo>
                    <a:lnTo>
                      <a:pt x="66" y="70"/>
                    </a:lnTo>
                    <a:lnTo>
                      <a:pt x="62" y="68"/>
                    </a:lnTo>
                    <a:lnTo>
                      <a:pt x="60" y="66"/>
                    </a:lnTo>
                    <a:lnTo>
                      <a:pt x="60" y="66"/>
                    </a:lnTo>
                    <a:lnTo>
                      <a:pt x="56" y="64"/>
                    </a:lnTo>
                    <a:lnTo>
                      <a:pt x="56" y="64"/>
                    </a:lnTo>
                    <a:lnTo>
                      <a:pt x="56" y="60"/>
                    </a:lnTo>
                    <a:lnTo>
                      <a:pt x="56" y="56"/>
                    </a:lnTo>
                    <a:lnTo>
                      <a:pt x="54" y="54"/>
                    </a:lnTo>
                    <a:lnTo>
                      <a:pt x="50" y="50"/>
                    </a:lnTo>
                    <a:lnTo>
                      <a:pt x="50" y="50"/>
                    </a:lnTo>
                    <a:lnTo>
                      <a:pt x="46" y="46"/>
                    </a:lnTo>
                    <a:lnTo>
                      <a:pt x="46" y="44"/>
                    </a:lnTo>
                    <a:lnTo>
                      <a:pt x="46" y="42"/>
                    </a:lnTo>
                    <a:lnTo>
                      <a:pt x="44" y="42"/>
                    </a:lnTo>
                    <a:lnTo>
                      <a:pt x="44" y="42"/>
                    </a:lnTo>
                    <a:lnTo>
                      <a:pt x="42" y="40"/>
                    </a:lnTo>
                    <a:lnTo>
                      <a:pt x="42" y="38"/>
                    </a:lnTo>
                    <a:lnTo>
                      <a:pt x="42" y="36"/>
                    </a:lnTo>
                    <a:lnTo>
                      <a:pt x="36" y="32"/>
                    </a:lnTo>
                    <a:lnTo>
                      <a:pt x="36" y="32"/>
                    </a:lnTo>
                    <a:lnTo>
                      <a:pt x="28" y="28"/>
                    </a:lnTo>
                    <a:lnTo>
                      <a:pt x="18" y="28"/>
                    </a:lnTo>
                    <a:lnTo>
                      <a:pt x="8" y="26"/>
                    </a:lnTo>
                    <a:lnTo>
                      <a:pt x="4" y="24"/>
                    </a:lnTo>
                    <a:lnTo>
                      <a:pt x="0" y="20"/>
                    </a:lnTo>
                    <a:lnTo>
                      <a:pt x="0" y="20"/>
                    </a:lnTo>
                    <a:lnTo>
                      <a:pt x="2" y="20"/>
                    </a:lnTo>
                    <a:lnTo>
                      <a:pt x="2" y="18"/>
                    </a:lnTo>
                    <a:lnTo>
                      <a:pt x="2" y="18"/>
                    </a:lnTo>
                    <a:lnTo>
                      <a:pt x="2" y="16"/>
                    </a:lnTo>
                    <a:lnTo>
                      <a:pt x="2" y="16"/>
                    </a:lnTo>
                    <a:lnTo>
                      <a:pt x="6" y="14"/>
                    </a:lnTo>
                    <a:lnTo>
                      <a:pt x="8" y="14"/>
                    </a:lnTo>
                    <a:lnTo>
                      <a:pt x="10" y="16"/>
                    </a:lnTo>
                    <a:lnTo>
                      <a:pt x="10" y="16"/>
                    </a:lnTo>
                    <a:lnTo>
                      <a:pt x="14" y="18"/>
                    </a:lnTo>
                    <a:lnTo>
                      <a:pt x="20" y="20"/>
                    </a:lnTo>
                    <a:lnTo>
                      <a:pt x="36" y="24"/>
                    </a:lnTo>
                    <a:lnTo>
                      <a:pt x="36" y="24"/>
                    </a:lnTo>
                    <a:lnTo>
                      <a:pt x="46" y="26"/>
                    </a:lnTo>
                    <a:lnTo>
                      <a:pt x="52" y="26"/>
                    </a:lnTo>
                    <a:lnTo>
                      <a:pt x="54" y="26"/>
                    </a:lnTo>
                    <a:lnTo>
                      <a:pt x="54" y="26"/>
                    </a:lnTo>
                    <a:lnTo>
                      <a:pt x="56" y="22"/>
                    </a:lnTo>
                    <a:lnTo>
                      <a:pt x="58" y="24"/>
                    </a:lnTo>
                    <a:lnTo>
                      <a:pt x="58" y="24"/>
                    </a:lnTo>
                    <a:lnTo>
                      <a:pt x="66" y="30"/>
                    </a:lnTo>
                    <a:lnTo>
                      <a:pt x="68" y="32"/>
                    </a:lnTo>
                    <a:lnTo>
                      <a:pt x="72" y="30"/>
                    </a:lnTo>
                    <a:lnTo>
                      <a:pt x="72" y="30"/>
                    </a:lnTo>
                    <a:lnTo>
                      <a:pt x="74" y="24"/>
                    </a:lnTo>
                    <a:lnTo>
                      <a:pt x="80" y="22"/>
                    </a:lnTo>
                    <a:lnTo>
                      <a:pt x="80" y="22"/>
                    </a:lnTo>
                    <a:lnTo>
                      <a:pt x="82" y="20"/>
                    </a:lnTo>
                    <a:lnTo>
                      <a:pt x="82" y="18"/>
                    </a:lnTo>
                    <a:lnTo>
                      <a:pt x="82" y="18"/>
                    </a:lnTo>
                    <a:lnTo>
                      <a:pt x="80" y="14"/>
                    </a:lnTo>
                    <a:lnTo>
                      <a:pt x="84" y="12"/>
                    </a:lnTo>
                    <a:lnTo>
                      <a:pt x="92" y="6"/>
                    </a:lnTo>
                    <a:lnTo>
                      <a:pt x="92" y="6"/>
                    </a:lnTo>
                    <a:lnTo>
                      <a:pt x="94" y="4"/>
                    </a:lnTo>
                    <a:lnTo>
                      <a:pt x="96" y="4"/>
                    </a:lnTo>
                    <a:lnTo>
                      <a:pt x="102" y="2"/>
                    </a:lnTo>
                    <a:lnTo>
                      <a:pt x="102" y="2"/>
                    </a:lnTo>
                    <a:lnTo>
                      <a:pt x="108" y="0"/>
                    </a:lnTo>
                    <a:lnTo>
                      <a:pt x="110" y="0"/>
                    </a:lnTo>
                    <a:lnTo>
                      <a:pt x="112" y="2"/>
                    </a:lnTo>
                    <a:lnTo>
                      <a:pt x="112" y="2"/>
                    </a:lnTo>
                    <a:lnTo>
                      <a:pt x="112" y="4"/>
                    </a:lnTo>
                    <a:lnTo>
                      <a:pt x="116" y="6"/>
                    </a:lnTo>
                    <a:lnTo>
                      <a:pt x="122" y="8"/>
                    </a:lnTo>
                    <a:lnTo>
                      <a:pt x="122" y="8"/>
                    </a:lnTo>
                    <a:lnTo>
                      <a:pt x="124" y="10"/>
                    </a:lnTo>
                    <a:lnTo>
                      <a:pt x="124" y="12"/>
                    </a:lnTo>
                    <a:lnTo>
                      <a:pt x="122" y="16"/>
                    </a:lnTo>
                    <a:lnTo>
                      <a:pt x="122" y="18"/>
                    </a:lnTo>
                    <a:lnTo>
                      <a:pt x="122" y="18"/>
                    </a:lnTo>
                    <a:lnTo>
                      <a:pt x="124" y="20"/>
                    </a:lnTo>
                    <a:lnTo>
                      <a:pt x="124" y="22"/>
                    </a:lnTo>
                    <a:lnTo>
                      <a:pt x="126" y="26"/>
                    </a:lnTo>
                    <a:lnTo>
                      <a:pt x="126" y="26"/>
                    </a:lnTo>
                    <a:lnTo>
                      <a:pt x="128" y="30"/>
                    </a:lnTo>
                    <a:lnTo>
                      <a:pt x="132" y="30"/>
                    </a:lnTo>
                    <a:lnTo>
                      <a:pt x="134" y="30"/>
                    </a:lnTo>
                    <a:lnTo>
                      <a:pt x="138" y="34"/>
                    </a:lnTo>
                    <a:lnTo>
                      <a:pt x="138" y="34"/>
                    </a:lnTo>
                    <a:lnTo>
                      <a:pt x="142" y="38"/>
                    </a:lnTo>
                    <a:lnTo>
                      <a:pt x="142" y="40"/>
                    </a:lnTo>
                    <a:lnTo>
                      <a:pt x="142" y="44"/>
                    </a:lnTo>
                    <a:lnTo>
                      <a:pt x="142" y="46"/>
                    </a:lnTo>
                    <a:lnTo>
                      <a:pt x="142" y="48"/>
                    </a:lnTo>
                    <a:lnTo>
                      <a:pt x="150" y="54"/>
                    </a:lnTo>
                    <a:lnTo>
                      <a:pt x="150" y="54"/>
                    </a:lnTo>
                    <a:lnTo>
                      <a:pt x="158" y="60"/>
                    </a:lnTo>
                    <a:lnTo>
                      <a:pt x="160" y="64"/>
                    </a:lnTo>
                    <a:lnTo>
                      <a:pt x="160" y="66"/>
                    </a:lnTo>
                    <a:lnTo>
                      <a:pt x="158" y="66"/>
                    </a:lnTo>
                    <a:lnTo>
                      <a:pt x="158" y="66"/>
                    </a:lnTo>
                    <a:lnTo>
                      <a:pt x="156" y="68"/>
                    </a:lnTo>
                    <a:lnTo>
                      <a:pt x="158" y="70"/>
                    </a:lnTo>
                    <a:lnTo>
                      <a:pt x="160" y="74"/>
                    </a:lnTo>
                    <a:lnTo>
                      <a:pt x="164" y="76"/>
                    </a:lnTo>
                    <a:lnTo>
                      <a:pt x="164" y="76"/>
                    </a:lnTo>
                    <a:lnTo>
                      <a:pt x="166" y="78"/>
                    </a:lnTo>
                    <a:lnTo>
                      <a:pt x="162" y="80"/>
                    </a:lnTo>
                    <a:lnTo>
                      <a:pt x="162" y="82"/>
                    </a:lnTo>
                    <a:lnTo>
                      <a:pt x="164" y="84"/>
                    </a:lnTo>
                    <a:lnTo>
                      <a:pt x="164" y="84"/>
                    </a:lnTo>
                    <a:lnTo>
                      <a:pt x="172" y="88"/>
                    </a:lnTo>
                    <a:lnTo>
                      <a:pt x="174" y="90"/>
                    </a:lnTo>
                    <a:lnTo>
                      <a:pt x="174" y="92"/>
                    </a:lnTo>
                    <a:lnTo>
                      <a:pt x="172" y="94"/>
                    </a:lnTo>
                    <a:lnTo>
                      <a:pt x="170" y="94"/>
                    </a:lnTo>
                    <a:lnTo>
                      <a:pt x="170" y="96"/>
                    </a:lnTo>
                    <a:lnTo>
                      <a:pt x="180" y="100"/>
                    </a:lnTo>
                    <a:lnTo>
                      <a:pt x="180" y="100"/>
                    </a:lnTo>
                    <a:lnTo>
                      <a:pt x="188" y="104"/>
                    </a:lnTo>
                    <a:lnTo>
                      <a:pt x="188" y="108"/>
                    </a:lnTo>
                    <a:lnTo>
                      <a:pt x="186" y="112"/>
                    </a:lnTo>
                    <a:lnTo>
                      <a:pt x="182" y="116"/>
                    </a:lnTo>
                    <a:lnTo>
                      <a:pt x="182" y="116"/>
                    </a:lnTo>
                    <a:lnTo>
                      <a:pt x="180" y="118"/>
                    </a:lnTo>
                    <a:lnTo>
                      <a:pt x="180" y="120"/>
                    </a:lnTo>
                    <a:lnTo>
                      <a:pt x="180" y="122"/>
                    </a:lnTo>
                    <a:lnTo>
                      <a:pt x="178" y="122"/>
                    </a:lnTo>
                    <a:lnTo>
                      <a:pt x="178" y="122"/>
                    </a:lnTo>
                    <a:lnTo>
                      <a:pt x="174" y="122"/>
                    </a:lnTo>
                    <a:lnTo>
                      <a:pt x="172" y="126"/>
                    </a:lnTo>
                    <a:lnTo>
                      <a:pt x="168" y="130"/>
                    </a:lnTo>
                    <a:lnTo>
                      <a:pt x="160" y="134"/>
                    </a:lnTo>
                    <a:lnTo>
                      <a:pt x="160" y="134"/>
                    </a:lnTo>
                    <a:lnTo>
                      <a:pt x="152" y="140"/>
                    </a:lnTo>
                    <a:lnTo>
                      <a:pt x="148" y="142"/>
                    </a:lnTo>
                    <a:lnTo>
                      <a:pt x="148" y="146"/>
                    </a:lnTo>
                    <a:lnTo>
                      <a:pt x="148" y="146"/>
                    </a:lnTo>
                    <a:close/>
                  </a:path>
                </a:pathLst>
              </a:custGeom>
              <a:solidFill>
                <a:schemeClr val="accent6"/>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4" name="Freeform 129"/>
              <p:cNvSpPr>
                <a:spLocks/>
              </p:cNvSpPr>
              <p:nvPr/>
            </p:nvSpPr>
            <p:spPr bwMode="auto">
              <a:xfrm>
                <a:off x="6935167" y="1299471"/>
                <a:ext cx="160995" cy="66766"/>
              </a:xfrm>
              <a:custGeom>
                <a:avLst/>
                <a:gdLst/>
                <a:ahLst/>
                <a:cxnLst>
                  <a:cxn ang="0">
                    <a:pos x="102" y="34"/>
                  </a:cxn>
                  <a:cxn ang="0">
                    <a:pos x="74" y="30"/>
                  </a:cxn>
                  <a:cxn ang="0">
                    <a:pos x="68" y="28"/>
                  </a:cxn>
                  <a:cxn ang="0">
                    <a:pos x="52" y="18"/>
                  </a:cxn>
                  <a:cxn ang="0">
                    <a:pos x="52" y="16"/>
                  </a:cxn>
                  <a:cxn ang="0">
                    <a:pos x="54" y="10"/>
                  </a:cxn>
                  <a:cxn ang="0">
                    <a:pos x="54" y="10"/>
                  </a:cxn>
                  <a:cxn ang="0">
                    <a:pos x="56" y="6"/>
                  </a:cxn>
                  <a:cxn ang="0">
                    <a:pos x="60" y="4"/>
                  </a:cxn>
                  <a:cxn ang="0">
                    <a:pos x="58" y="4"/>
                  </a:cxn>
                  <a:cxn ang="0">
                    <a:pos x="36" y="0"/>
                  </a:cxn>
                  <a:cxn ang="0">
                    <a:pos x="32" y="2"/>
                  </a:cxn>
                  <a:cxn ang="0">
                    <a:pos x="26" y="2"/>
                  </a:cxn>
                  <a:cxn ang="0">
                    <a:pos x="20" y="4"/>
                  </a:cxn>
                  <a:cxn ang="0">
                    <a:pos x="18" y="6"/>
                  </a:cxn>
                  <a:cxn ang="0">
                    <a:pos x="18" y="8"/>
                  </a:cxn>
                  <a:cxn ang="0">
                    <a:pos x="12" y="12"/>
                  </a:cxn>
                  <a:cxn ang="0">
                    <a:pos x="10" y="18"/>
                  </a:cxn>
                  <a:cxn ang="0">
                    <a:pos x="6" y="18"/>
                  </a:cxn>
                  <a:cxn ang="0">
                    <a:pos x="2" y="20"/>
                  </a:cxn>
                  <a:cxn ang="0">
                    <a:pos x="0" y="26"/>
                  </a:cxn>
                  <a:cxn ang="0">
                    <a:pos x="2" y="28"/>
                  </a:cxn>
                  <a:cxn ang="0">
                    <a:pos x="6" y="28"/>
                  </a:cxn>
                  <a:cxn ang="0">
                    <a:pos x="12" y="26"/>
                  </a:cxn>
                  <a:cxn ang="0">
                    <a:pos x="14" y="28"/>
                  </a:cxn>
                  <a:cxn ang="0">
                    <a:pos x="18" y="28"/>
                  </a:cxn>
                  <a:cxn ang="0">
                    <a:pos x="20" y="30"/>
                  </a:cxn>
                  <a:cxn ang="0">
                    <a:pos x="22" y="32"/>
                  </a:cxn>
                  <a:cxn ang="0">
                    <a:pos x="26" y="30"/>
                  </a:cxn>
                  <a:cxn ang="0">
                    <a:pos x="28" y="32"/>
                  </a:cxn>
                  <a:cxn ang="0">
                    <a:pos x="30" y="34"/>
                  </a:cxn>
                  <a:cxn ang="0">
                    <a:pos x="34" y="36"/>
                  </a:cxn>
                  <a:cxn ang="0">
                    <a:pos x="34" y="38"/>
                  </a:cxn>
                  <a:cxn ang="0">
                    <a:pos x="32" y="38"/>
                  </a:cxn>
                  <a:cxn ang="0">
                    <a:pos x="32" y="38"/>
                  </a:cxn>
                  <a:cxn ang="0">
                    <a:pos x="30" y="42"/>
                  </a:cxn>
                  <a:cxn ang="0">
                    <a:pos x="32" y="44"/>
                  </a:cxn>
                  <a:cxn ang="0">
                    <a:pos x="40" y="42"/>
                  </a:cxn>
                  <a:cxn ang="0">
                    <a:pos x="46" y="44"/>
                  </a:cxn>
                  <a:cxn ang="0">
                    <a:pos x="52" y="44"/>
                  </a:cxn>
                  <a:cxn ang="0">
                    <a:pos x="56" y="42"/>
                  </a:cxn>
                  <a:cxn ang="0">
                    <a:pos x="56" y="42"/>
                  </a:cxn>
                  <a:cxn ang="0">
                    <a:pos x="62" y="42"/>
                  </a:cxn>
                  <a:cxn ang="0">
                    <a:pos x="68" y="42"/>
                  </a:cxn>
                  <a:cxn ang="0">
                    <a:pos x="68" y="42"/>
                  </a:cxn>
                  <a:cxn ang="0">
                    <a:pos x="72" y="38"/>
                  </a:cxn>
                  <a:cxn ang="0">
                    <a:pos x="80" y="40"/>
                  </a:cxn>
                  <a:cxn ang="0">
                    <a:pos x="88" y="42"/>
                  </a:cxn>
                  <a:cxn ang="0">
                    <a:pos x="88" y="40"/>
                  </a:cxn>
                  <a:cxn ang="0">
                    <a:pos x="86" y="38"/>
                  </a:cxn>
                  <a:cxn ang="0">
                    <a:pos x="92" y="38"/>
                  </a:cxn>
                  <a:cxn ang="0">
                    <a:pos x="96" y="38"/>
                  </a:cxn>
                  <a:cxn ang="0">
                    <a:pos x="106" y="36"/>
                  </a:cxn>
                  <a:cxn ang="0">
                    <a:pos x="102" y="34"/>
                  </a:cxn>
                </a:cxnLst>
                <a:rect l="0" t="0" r="r" b="b"/>
                <a:pathLst>
                  <a:path w="106" h="44">
                    <a:moveTo>
                      <a:pt x="102" y="34"/>
                    </a:moveTo>
                    <a:lnTo>
                      <a:pt x="102" y="34"/>
                    </a:lnTo>
                    <a:lnTo>
                      <a:pt x="82" y="32"/>
                    </a:lnTo>
                    <a:lnTo>
                      <a:pt x="74" y="30"/>
                    </a:lnTo>
                    <a:lnTo>
                      <a:pt x="68" y="28"/>
                    </a:lnTo>
                    <a:lnTo>
                      <a:pt x="68" y="28"/>
                    </a:lnTo>
                    <a:lnTo>
                      <a:pt x="56" y="22"/>
                    </a:lnTo>
                    <a:lnTo>
                      <a:pt x="52" y="18"/>
                    </a:lnTo>
                    <a:lnTo>
                      <a:pt x="52" y="16"/>
                    </a:lnTo>
                    <a:lnTo>
                      <a:pt x="52" y="16"/>
                    </a:lnTo>
                    <a:lnTo>
                      <a:pt x="54" y="12"/>
                    </a:lnTo>
                    <a:lnTo>
                      <a:pt x="54" y="10"/>
                    </a:lnTo>
                    <a:lnTo>
                      <a:pt x="54" y="10"/>
                    </a:lnTo>
                    <a:lnTo>
                      <a:pt x="54" y="10"/>
                    </a:lnTo>
                    <a:lnTo>
                      <a:pt x="54" y="8"/>
                    </a:lnTo>
                    <a:lnTo>
                      <a:pt x="56" y="6"/>
                    </a:lnTo>
                    <a:lnTo>
                      <a:pt x="60" y="4"/>
                    </a:lnTo>
                    <a:lnTo>
                      <a:pt x="60" y="4"/>
                    </a:lnTo>
                    <a:lnTo>
                      <a:pt x="58" y="4"/>
                    </a:lnTo>
                    <a:lnTo>
                      <a:pt x="58" y="4"/>
                    </a:lnTo>
                    <a:lnTo>
                      <a:pt x="48" y="2"/>
                    </a:lnTo>
                    <a:lnTo>
                      <a:pt x="36" y="0"/>
                    </a:lnTo>
                    <a:lnTo>
                      <a:pt x="36" y="0"/>
                    </a:lnTo>
                    <a:lnTo>
                      <a:pt x="32" y="2"/>
                    </a:lnTo>
                    <a:lnTo>
                      <a:pt x="26" y="2"/>
                    </a:lnTo>
                    <a:lnTo>
                      <a:pt x="26" y="2"/>
                    </a:lnTo>
                    <a:lnTo>
                      <a:pt x="22" y="2"/>
                    </a:lnTo>
                    <a:lnTo>
                      <a:pt x="20" y="4"/>
                    </a:lnTo>
                    <a:lnTo>
                      <a:pt x="18" y="4"/>
                    </a:lnTo>
                    <a:lnTo>
                      <a:pt x="18" y="6"/>
                    </a:lnTo>
                    <a:lnTo>
                      <a:pt x="18" y="6"/>
                    </a:lnTo>
                    <a:lnTo>
                      <a:pt x="18" y="8"/>
                    </a:lnTo>
                    <a:lnTo>
                      <a:pt x="18" y="8"/>
                    </a:lnTo>
                    <a:lnTo>
                      <a:pt x="12" y="12"/>
                    </a:lnTo>
                    <a:lnTo>
                      <a:pt x="12" y="12"/>
                    </a:lnTo>
                    <a:lnTo>
                      <a:pt x="10" y="18"/>
                    </a:lnTo>
                    <a:lnTo>
                      <a:pt x="8" y="18"/>
                    </a:lnTo>
                    <a:lnTo>
                      <a:pt x="6" y="18"/>
                    </a:lnTo>
                    <a:lnTo>
                      <a:pt x="6" y="18"/>
                    </a:lnTo>
                    <a:lnTo>
                      <a:pt x="2" y="20"/>
                    </a:lnTo>
                    <a:lnTo>
                      <a:pt x="0" y="22"/>
                    </a:lnTo>
                    <a:lnTo>
                      <a:pt x="0" y="26"/>
                    </a:lnTo>
                    <a:lnTo>
                      <a:pt x="0" y="28"/>
                    </a:lnTo>
                    <a:lnTo>
                      <a:pt x="2" y="28"/>
                    </a:lnTo>
                    <a:lnTo>
                      <a:pt x="2" y="28"/>
                    </a:lnTo>
                    <a:lnTo>
                      <a:pt x="6" y="28"/>
                    </a:lnTo>
                    <a:lnTo>
                      <a:pt x="10" y="26"/>
                    </a:lnTo>
                    <a:lnTo>
                      <a:pt x="12" y="26"/>
                    </a:lnTo>
                    <a:lnTo>
                      <a:pt x="14" y="28"/>
                    </a:lnTo>
                    <a:lnTo>
                      <a:pt x="14" y="28"/>
                    </a:lnTo>
                    <a:lnTo>
                      <a:pt x="16" y="30"/>
                    </a:lnTo>
                    <a:lnTo>
                      <a:pt x="18" y="28"/>
                    </a:lnTo>
                    <a:lnTo>
                      <a:pt x="20" y="28"/>
                    </a:lnTo>
                    <a:lnTo>
                      <a:pt x="20" y="30"/>
                    </a:lnTo>
                    <a:lnTo>
                      <a:pt x="20" y="30"/>
                    </a:lnTo>
                    <a:lnTo>
                      <a:pt x="22" y="32"/>
                    </a:lnTo>
                    <a:lnTo>
                      <a:pt x="24" y="30"/>
                    </a:lnTo>
                    <a:lnTo>
                      <a:pt x="26" y="30"/>
                    </a:lnTo>
                    <a:lnTo>
                      <a:pt x="28" y="32"/>
                    </a:lnTo>
                    <a:lnTo>
                      <a:pt x="28" y="32"/>
                    </a:lnTo>
                    <a:lnTo>
                      <a:pt x="28" y="34"/>
                    </a:lnTo>
                    <a:lnTo>
                      <a:pt x="30" y="34"/>
                    </a:lnTo>
                    <a:lnTo>
                      <a:pt x="34" y="34"/>
                    </a:lnTo>
                    <a:lnTo>
                      <a:pt x="34" y="36"/>
                    </a:lnTo>
                    <a:lnTo>
                      <a:pt x="34" y="36"/>
                    </a:lnTo>
                    <a:lnTo>
                      <a:pt x="34" y="38"/>
                    </a:lnTo>
                    <a:lnTo>
                      <a:pt x="32" y="38"/>
                    </a:lnTo>
                    <a:lnTo>
                      <a:pt x="32" y="38"/>
                    </a:lnTo>
                    <a:lnTo>
                      <a:pt x="32" y="38"/>
                    </a:lnTo>
                    <a:lnTo>
                      <a:pt x="32" y="38"/>
                    </a:lnTo>
                    <a:lnTo>
                      <a:pt x="30" y="40"/>
                    </a:lnTo>
                    <a:lnTo>
                      <a:pt x="30" y="42"/>
                    </a:lnTo>
                    <a:lnTo>
                      <a:pt x="30" y="42"/>
                    </a:lnTo>
                    <a:lnTo>
                      <a:pt x="32" y="44"/>
                    </a:lnTo>
                    <a:lnTo>
                      <a:pt x="32" y="44"/>
                    </a:lnTo>
                    <a:lnTo>
                      <a:pt x="40" y="42"/>
                    </a:lnTo>
                    <a:lnTo>
                      <a:pt x="44" y="42"/>
                    </a:lnTo>
                    <a:lnTo>
                      <a:pt x="46" y="44"/>
                    </a:lnTo>
                    <a:lnTo>
                      <a:pt x="46" y="44"/>
                    </a:lnTo>
                    <a:lnTo>
                      <a:pt x="52" y="44"/>
                    </a:lnTo>
                    <a:lnTo>
                      <a:pt x="56" y="44"/>
                    </a:lnTo>
                    <a:lnTo>
                      <a:pt x="56" y="42"/>
                    </a:lnTo>
                    <a:lnTo>
                      <a:pt x="56" y="42"/>
                    </a:lnTo>
                    <a:lnTo>
                      <a:pt x="56" y="42"/>
                    </a:lnTo>
                    <a:lnTo>
                      <a:pt x="56" y="42"/>
                    </a:lnTo>
                    <a:lnTo>
                      <a:pt x="62" y="42"/>
                    </a:lnTo>
                    <a:lnTo>
                      <a:pt x="66" y="42"/>
                    </a:lnTo>
                    <a:lnTo>
                      <a:pt x="68" y="42"/>
                    </a:lnTo>
                    <a:lnTo>
                      <a:pt x="68" y="42"/>
                    </a:lnTo>
                    <a:lnTo>
                      <a:pt x="68" y="42"/>
                    </a:lnTo>
                    <a:lnTo>
                      <a:pt x="68" y="40"/>
                    </a:lnTo>
                    <a:lnTo>
                      <a:pt x="72" y="38"/>
                    </a:lnTo>
                    <a:lnTo>
                      <a:pt x="76" y="38"/>
                    </a:lnTo>
                    <a:lnTo>
                      <a:pt x="80" y="40"/>
                    </a:lnTo>
                    <a:lnTo>
                      <a:pt x="80" y="40"/>
                    </a:lnTo>
                    <a:lnTo>
                      <a:pt x="88" y="42"/>
                    </a:lnTo>
                    <a:lnTo>
                      <a:pt x="88" y="42"/>
                    </a:lnTo>
                    <a:lnTo>
                      <a:pt x="88" y="40"/>
                    </a:lnTo>
                    <a:lnTo>
                      <a:pt x="88" y="40"/>
                    </a:lnTo>
                    <a:lnTo>
                      <a:pt x="86" y="38"/>
                    </a:lnTo>
                    <a:lnTo>
                      <a:pt x="88" y="38"/>
                    </a:lnTo>
                    <a:lnTo>
                      <a:pt x="92" y="38"/>
                    </a:lnTo>
                    <a:lnTo>
                      <a:pt x="92" y="38"/>
                    </a:lnTo>
                    <a:lnTo>
                      <a:pt x="96" y="38"/>
                    </a:lnTo>
                    <a:lnTo>
                      <a:pt x="102" y="38"/>
                    </a:lnTo>
                    <a:lnTo>
                      <a:pt x="106" y="36"/>
                    </a:lnTo>
                    <a:lnTo>
                      <a:pt x="102" y="34"/>
                    </a:lnTo>
                    <a:lnTo>
                      <a:pt x="102" y="34"/>
                    </a:lnTo>
                    <a:close/>
                  </a:path>
                </a:pathLst>
              </a:custGeom>
              <a:solidFill>
                <a:schemeClr val="accent6"/>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5" name="Freeform 130"/>
              <p:cNvSpPr>
                <a:spLocks/>
              </p:cNvSpPr>
              <p:nvPr/>
            </p:nvSpPr>
            <p:spPr bwMode="auto">
              <a:xfrm>
                <a:off x="6971619" y="1241809"/>
                <a:ext cx="239974" cy="57662"/>
              </a:xfrm>
              <a:custGeom>
                <a:avLst/>
                <a:gdLst/>
                <a:ahLst/>
                <a:cxnLst>
                  <a:cxn ang="0">
                    <a:pos x="4" y="38"/>
                  </a:cxn>
                  <a:cxn ang="0">
                    <a:pos x="22" y="38"/>
                  </a:cxn>
                  <a:cxn ang="0">
                    <a:pos x="30" y="38"/>
                  </a:cxn>
                  <a:cxn ang="0">
                    <a:pos x="36" y="38"/>
                  </a:cxn>
                  <a:cxn ang="0">
                    <a:pos x="38" y="32"/>
                  </a:cxn>
                  <a:cxn ang="0">
                    <a:pos x="44" y="32"/>
                  </a:cxn>
                  <a:cxn ang="0">
                    <a:pos x="52" y="32"/>
                  </a:cxn>
                  <a:cxn ang="0">
                    <a:pos x="50" y="30"/>
                  </a:cxn>
                  <a:cxn ang="0">
                    <a:pos x="58" y="30"/>
                  </a:cxn>
                  <a:cxn ang="0">
                    <a:pos x="64" y="30"/>
                  </a:cxn>
                  <a:cxn ang="0">
                    <a:pos x="64" y="28"/>
                  </a:cxn>
                  <a:cxn ang="0">
                    <a:pos x="64" y="28"/>
                  </a:cxn>
                  <a:cxn ang="0">
                    <a:pos x="74" y="28"/>
                  </a:cxn>
                  <a:cxn ang="0">
                    <a:pos x="74" y="26"/>
                  </a:cxn>
                  <a:cxn ang="0">
                    <a:pos x="74" y="24"/>
                  </a:cxn>
                  <a:cxn ang="0">
                    <a:pos x="82" y="24"/>
                  </a:cxn>
                  <a:cxn ang="0">
                    <a:pos x="88" y="24"/>
                  </a:cxn>
                  <a:cxn ang="0">
                    <a:pos x="88" y="22"/>
                  </a:cxn>
                  <a:cxn ang="0">
                    <a:pos x="88" y="20"/>
                  </a:cxn>
                  <a:cxn ang="0">
                    <a:pos x="100" y="20"/>
                  </a:cxn>
                  <a:cxn ang="0">
                    <a:pos x="104" y="20"/>
                  </a:cxn>
                  <a:cxn ang="0">
                    <a:pos x="110" y="18"/>
                  </a:cxn>
                  <a:cxn ang="0">
                    <a:pos x="116" y="18"/>
                  </a:cxn>
                  <a:cxn ang="0">
                    <a:pos x="114" y="18"/>
                  </a:cxn>
                  <a:cxn ang="0">
                    <a:pos x="116" y="16"/>
                  </a:cxn>
                  <a:cxn ang="0">
                    <a:pos x="130" y="16"/>
                  </a:cxn>
                  <a:cxn ang="0">
                    <a:pos x="132" y="16"/>
                  </a:cxn>
                  <a:cxn ang="0">
                    <a:pos x="134" y="14"/>
                  </a:cxn>
                  <a:cxn ang="0">
                    <a:pos x="140" y="14"/>
                  </a:cxn>
                  <a:cxn ang="0">
                    <a:pos x="148" y="14"/>
                  </a:cxn>
                  <a:cxn ang="0">
                    <a:pos x="148" y="14"/>
                  </a:cxn>
                  <a:cxn ang="0">
                    <a:pos x="150" y="12"/>
                  </a:cxn>
                  <a:cxn ang="0">
                    <a:pos x="158" y="10"/>
                  </a:cxn>
                  <a:cxn ang="0">
                    <a:pos x="158" y="6"/>
                  </a:cxn>
                  <a:cxn ang="0">
                    <a:pos x="154" y="2"/>
                  </a:cxn>
                  <a:cxn ang="0">
                    <a:pos x="140" y="4"/>
                  </a:cxn>
                  <a:cxn ang="0">
                    <a:pos x="130" y="6"/>
                  </a:cxn>
                  <a:cxn ang="0">
                    <a:pos x="116" y="8"/>
                  </a:cxn>
                  <a:cxn ang="0">
                    <a:pos x="90" y="6"/>
                  </a:cxn>
                  <a:cxn ang="0">
                    <a:pos x="90" y="8"/>
                  </a:cxn>
                  <a:cxn ang="0">
                    <a:pos x="90" y="8"/>
                  </a:cxn>
                  <a:cxn ang="0">
                    <a:pos x="82" y="10"/>
                  </a:cxn>
                  <a:cxn ang="0">
                    <a:pos x="74" y="10"/>
                  </a:cxn>
                  <a:cxn ang="0">
                    <a:pos x="74" y="10"/>
                  </a:cxn>
                  <a:cxn ang="0">
                    <a:pos x="58" y="10"/>
                  </a:cxn>
                  <a:cxn ang="0">
                    <a:pos x="58" y="10"/>
                  </a:cxn>
                  <a:cxn ang="0">
                    <a:pos x="58" y="12"/>
                  </a:cxn>
                  <a:cxn ang="0">
                    <a:pos x="48" y="14"/>
                  </a:cxn>
                  <a:cxn ang="0">
                    <a:pos x="36" y="18"/>
                  </a:cxn>
                  <a:cxn ang="0">
                    <a:pos x="38" y="18"/>
                  </a:cxn>
                  <a:cxn ang="0">
                    <a:pos x="18" y="20"/>
                  </a:cxn>
                  <a:cxn ang="0">
                    <a:pos x="16" y="22"/>
                  </a:cxn>
                  <a:cxn ang="0">
                    <a:pos x="16" y="22"/>
                  </a:cxn>
                  <a:cxn ang="0">
                    <a:pos x="8" y="26"/>
                  </a:cxn>
                  <a:cxn ang="0">
                    <a:pos x="2" y="28"/>
                  </a:cxn>
                  <a:cxn ang="0">
                    <a:pos x="2" y="30"/>
                  </a:cxn>
                  <a:cxn ang="0">
                    <a:pos x="0" y="36"/>
                  </a:cxn>
                  <a:cxn ang="0">
                    <a:pos x="4" y="38"/>
                  </a:cxn>
                </a:cxnLst>
                <a:rect l="0" t="0" r="r" b="b"/>
                <a:pathLst>
                  <a:path w="158" h="38">
                    <a:moveTo>
                      <a:pt x="4" y="38"/>
                    </a:moveTo>
                    <a:lnTo>
                      <a:pt x="4" y="38"/>
                    </a:lnTo>
                    <a:lnTo>
                      <a:pt x="14" y="36"/>
                    </a:lnTo>
                    <a:lnTo>
                      <a:pt x="22" y="38"/>
                    </a:lnTo>
                    <a:lnTo>
                      <a:pt x="22" y="38"/>
                    </a:lnTo>
                    <a:lnTo>
                      <a:pt x="30" y="38"/>
                    </a:lnTo>
                    <a:lnTo>
                      <a:pt x="36" y="38"/>
                    </a:lnTo>
                    <a:lnTo>
                      <a:pt x="36" y="38"/>
                    </a:lnTo>
                    <a:lnTo>
                      <a:pt x="40" y="34"/>
                    </a:lnTo>
                    <a:lnTo>
                      <a:pt x="38" y="32"/>
                    </a:lnTo>
                    <a:lnTo>
                      <a:pt x="38" y="32"/>
                    </a:lnTo>
                    <a:lnTo>
                      <a:pt x="44" y="32"/>
                    </a:lnTo>
                    <a:lnTo>
                      <a:pt x="50" y="32"/>
                    </a:lnTo>
                    <a:lnTo>
                      <a:pt x="52" y="32"/>
                    </a:lnTo>
                    <a:lnTo>
                      <a:pt x="52" y="32"/>
                    </a:lnTo>
                    <a:lnTo>
                      <a:pt x="50" y="30"/>
                    </a:lnTo>
                    <a:lnTo>
                      <a:pt x="52" y="30"/>
                    </a:lnTo>
                    <a:lnTo>
                      <a:pt x="58" y="30"/>
                    </a:lnTo>
                    <a:lnTo>
                      <a:pt x="62" y="30"/>
                    </a:lnTo>
                    <a:lnTo>
                      <a:pt x="64" y="30"/>
                    </a:lnTo>
                    <a:lnTo>
                      <a:pt x="64" y="28"/>
                    </a:lnTo>
                    <a:lnTo>
                      <a:pt x="64" y="28"/>
                    </a:lnTo>
                    <a:lnTo>
                      <a:pt x="64" y="28"/>
                    </a:lnTo>
                    <a:lnTo>
                      <a:pt x="64" y="28"/>
                    </a:lnTo>
                    <a:lnTo>
                      <a:pt x="70" y="28"/>
                    </a:lnTo>
                    <a:lnTo>
                      <a:pt x="74" y="28"/>
                    </a:lnTo>
                    <a:lnTo>
                      <a:pt x="76" y="28"/>
                    </a:lnTo>
                    <a:lnTo>
                      <a:pt x="74" y="26"/>
                    </a:lnTo>
                    <a:lnTo>
                      <a:pt x="74" y="26"/>
                    </a:lnTo>
                    <a:lnTo>
                      <a:pt x="74" y="24"/>
                    </a:lnTo>
                    <a:lnTo>
                      <a:pt x="76" y="24"/>
                    </a:lnTo>
                    <a:lnTo>
                      <a:pt x="82" y="24"/>
                    </a:lnTo>
                    <a:lnTo>
                      <a:pt x="86" y="24"/>
                    </a:lnTo>
                    <a:lnTo>
                      <a:pt x="88" y="24"/>
                    </a:lnTo>
                    <a:lnTo>
                      <a:pt x="88" y="22"/>
                    </a:lnTo>
                    <a:lnTo>
                      <a:pt x="88" y="22"/>
                    </a:lnTo>
                    <a:lnTo>
                      <a:pt x="86" y="20"/>
                    </a:lnTo>
                    <a:lnTo>
                      <a:pt x="88" y="20"/>
                    </a:lnTo>
                    <a:lnTo>
                      <a:pt x="94" y="20"/>
                    </a:lnTo>
                    <a:lnTo>
                      <a:pt x="100" y="20"/>
                    </a:lnTo>
                    <a:lnTo>
                      <a:pt x="104" y="20"/>
                    </a:lnTo>
                    <a:lnTo>
                      <a:pt x="104" y="20"/>
                    </a:lnTo>
                    <a:lnTo>
                      <a:pt x="106" y="18"/>
                    </a:lnTo>
                    <a:lnTo>
                      <a:pt x="110" y="18"/>
                    </a:lnTo>
                    <a:lnTo>
                      <a:pt x="114" y="18"/>
                    </a:lnTo>
                    <a:lnTo>
                      <a:pt x="116" y="18"/>
                    </a:lnTo>
                    <a:lnTo>
                      <a:pt x="114" y="18"/>
                    </a:lnTo>
                    <a:lnTo>
                      <a:pt x="114" y="18"/>
                    </a:lnTo>
                    <a:lnTo>
                      <a:pt x="116" y="16"/>
                    </a:lnTo>
                    <a:lnTo>
                      <a:pt x="116" y="16"/>
                    </a:lnTo>
                    <a:lnTo>
                      <a:pt x="124" y="16"/>
                    </a:lnTo>
                    <a:lnTo>
                      <a:pt x="130" y="16"/>
                    </a:lnTo>
                    <a:lnTo>
                      <a:pt x="132" y="16"/>
                    </a:lnTo>
                    <a:lnTo>
                      <a:pt x="132" y="16"/>
                    </a:lnTo>
                    <a:lnTo>
                      <a:pt x="132" y="16"/>
                    </a:lnTo>
                    <a:lnTo>
                      <a:pt x="134" y="14"/>
                    </a:lnTo>
                    <a:lnTo>
                      <a:pt x="134" y="14"/>
                    </a:lnTo>
                    <a:lnTo>
                      <a:pt x="140" y="14"/>
                    </a:lnTo>
                    <a:lnTo>
                      <a:pt x="146" y="16"/>
                    </a:lnTo>
                    <a:lnTo>
                      <a:pt x="148" y="14"/>
                    </a:lnTo>
                    <a:lnTo>
                      <a:pt x="148" y="14"/>
                    </a:lnTo>
                    <a:lnTo>
                      <a:pt x="148" y="14"/>
                    </a:lnTo>
                    <a:lnTo>
                      <a:pt x="148" y="12"/>
                    </a:lnTo>
                    <a:lnTo>
                      <a:pt x="150" y="12"/>
                    </a:lnTo>
                    <a:lnTo>
                      <a:pt x="154" y="12"/>
                    </a:lnTo>
                    <a:lnTo>
                      <a:pt x="158" y="10"/>
                    </a:lnTo>
                    <a:lnTo>
                      <a:pt x="158" y="8"/>
                    </a:lnTo>
                    <a:lnTo>
                      <a:pt x="158" y="6"/>
                    </a:lnTo>
                    <a:lnTo>
                      <a:pt x="158" y="6"/>
                    </a:lnTo>
                    <a:lnTo>
                      <a:pt x="154" y="2"/>
                    </a:lnTo>
                    <a:lnTo>
                      <a:pt x="148" y="0"/>
                    </a:lnTo>
                    <a:lnTo>
                      <a:pt x="140" y="4"/>
                    </a:lnTo>
                    <a:lnTo>
                      <a:pt x="140" y="4"/>
                    </a:lnTo>
                    <a:lnTo>
                      <a:pt x="130" y="6"/>
                    </a:lnTo>
                    <a:lnTo>
                      <a:pt x="116" y="8"/>
                    </a:lnTo>
                    <a:lnTo>
                      <a:pt x="116" y="8"/>
                    </a:lnTo>
                    <a:lnTo>
                      <a:pt x="98" y="8"/>
                    </a:lnTo>
                    <a:lnTo>
                      <a:pt x="90" y="6"/>
                    </a:lnTo>
                    <a:lnTo>
                      <a:pt x="88" y="8"/>
                    </a:lnTo>
                    <a:lnTo>
                      <a:pt x="90" y="8"/>
                    </a:lnTo>
                    <a:lnTo>
                      <a:pt x="90" y="8"/>
                    </a:lnTo>
                    <a:lnTo>
                      <a:pt x="90" y="8"/>
                    </a:lnTo>
                    <a:lnTo>
                      <a:pt x="88" y="10"/>
                    </a:lnTo>
                    <a:lnTo>
                      <a:pt x="82" y="10"/>
                    </a:lnTo>
                    <a:lnTo>
                      <a:pt x="74" y="10"/>
                    </a:lnTo>
                    <a:lnTo>
                      <a:pt x="74" y="10"/>
                    </a:lnTo>
                    <a:lnTo>
                      <a:pt x="74" y="10"/>
                    </a:lnTo>
                    <a:lnTo>
                      <a:pt x="74" y="10"/>
                    </a:lnTo>
                    <a:lnTo>
                      <a:pt x="64" y="10"/>
                    </a:lnTo>
                    <a:lnTo>
                      <a:pt x="58" y="10"/>
                    </a:lnTo>
                    <a:lnTo>
                      <a:pt x="56" y="10"/>
                    </a:lnTo>
                    <a:lnTo>
                      <a:pt x="58" y="10"/>
                    </a:lnTo>
                    <a:lnTo>
                      <a:pt x="58" y="10"/>
                    </a:lnTo>
                    <a:lnTo>
                      <a:pt x="58" y="12"/>
                    </a:lnTo>
                    <a:lnTo>
                      <a:pt x="56" y="12"/>
                    </a:lnTo>
                    <a:lnTo>
                      <a:pt x="48" y="14"/>
                    </a:lnTo>
                    <a:lnTo>
                      <a:pt x="38" y="16"/>
                    </a:lnTo>
                    <a:lnTo>
                      <a:pt x="36" y="18"/>
                    </a:lnTo>
                    <a:lnTo>
                      <a:pt x="38" y="18"/>
                    </a:lnTo>
                    <a:lnTo>
                      <a:pt x="38" y="18"/>
                    </a:lnTo>
                    <a:lnTo>
                      <a:pt x="28" y="18"/>
                    </a:lnTo>
                    <a:lnTo>
                      <a:pt x="18" y="20"/>
                    </a:lnTo>
                    <a:lnTo>
                      <a:pt x="16" y="20"/>
                    </a:lnTo>
                    <a:lnTo>
                      <a:pt x="16" y="22"/>
                    </a:lnTo>
                    <a:lnTo>
                      <a:pt x="16" y="22"/>
                    </a:lnTo>
                    <a:lnTo>
                      <a:pt x="16" y="22"/>
                    </a:lnTo>
                    <a:lnTo>
                      <a:pt x="14" y="24"/>
                    </a:lnTo>
                    <a:lnTo>
                      <a:pt x="8" y="26"/>
                    </a:lnTo>
                    <a:lnTo>
                      <a:pt x="4" y="28"/>
                    </a:lnTo>
                    <a:lnTo>
                      <a:pt x="2" y="28"/>
                    </a:lnTo>
                    <a:lnTo>
                      <a:pt x="2" y="30"/>
                    </a:lnTo>
                    <a:lnTo>
                      <a:pt x="2" y="30"/>
                    </a:lnTo>
                    <a:lnTo>
                      <a:pt x="2" y="32"/>
                    </a:lnTo>
                    <a:lnTo>
                      <a:pt x="0" y="36"/>
                    </a:lnTo>
                    <a:lnTo>
                      <a:pt x="0" y="38"/>
                    </a:lnTo>
                    <a:lnTo>
                      <a:pt x="4" y="38"/>
                    </a:lnTo>
                    <a:lnTo>
                      <a:pt x="4" y="38"/>
                    </a:lnTo>
                    <a:close/>
                  </a:path>
                </a:pathLst>
              </a:custGeom>
              <a:solidFill>
                <a:schemeClr val="accent6"/>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96" name="Hungary"/>
            <p:cNvSpPr>
              <a:spLocks/>
            </p:cNvSpPr>
            <p:nvPr/>
          </p:nvSpPr>
          <p:spPr bwMode="auto">
            <a:xfrm>
              <a:off x="6237933" y="1913893"/>
              <a:ext cx="170108" cy="94080"/>
            </a:xfrm>
            <a:custGeom>
              <a:avLst/>
              <a:gdLst/>
              <a:ahLst/>
              <a:cxnLst>
                <a:cxn ang="0">
                  <a:pos x="112" y="14"/>
                </a:cxn>
                <a:cxn ang="0">
                  <a:pos x="106" y="8"/>
                </a:cxn>
                <a:cxn ang="0">
                  <a:pos x="106" y="4"/>
                </a:cxn>
                <a:cxn ang="0">
                  <a:pos x="98" y="6"/>
                </a:cxn>
                <a:cxn ang="0">
                  <a:pos x="90" y="2"/>
                </a:cxn>
                <a:cxn ang="0">
                  <a:pos x="82" y="2"/>
                </a:cxn>
                <a:cxn ang="0">
                  <a:pos x="76" y="4"/>
                </a:cxn>
                <a:cxn ang="0">
                  <a:pos x="72" y="4"/>
                </a:cxn>
                <a:cxn ang="0">
                  <a:pos x="62" y="10"/>
                </a:cxn>
                <a:cxn ang="0">
                  <a:pos x="54" y="12"/>
                </a:cxn>
                <a:cxn ang="0">
                  <a:pos x="44" y="14"/>
                </a:cxn>
                <a:cxn ang="0">
                  <a:pos x="40" y="16"/>
                </a:cxn>
                <a:cxn ang="0">
                  <a:pos x="42" y="18"/>
                </a:cxn>
                <a:cxn ang="0">
                  <a:pos x="38" y="20"/>
                </a:cxn>
                <a:cxn ang="0">
                  <a:pos x="30" y="20"/>
                </a:cxn>
                <a:cxn ang="0">
                  <a:pos x="18" y="18"/>
                </a:cxn>
                <a:cxn ang="0">
                  <a:pos x="14" y="22"/>
                </a:cxn>
                <a:cxn ang="0">
                  <a:pos x="6" y="20"/>
                </a:cxn>
                <a:cxn ang="0">
                  <a:pos x="2" y="20"/>
                </a:cxn>
                <a:cxn ang="0">
                  <a:pos x="6" y="24"/>
                </a:cxn>
                <a:cxn ang="0">
                  <a:pos x="8" y="26"/>
                </a:cxn>
                <a:cxn ang="0">
                  <a:pos x="6" y="30"/>
                </a:cxn>
                <a:cxn ang="0">
                  <a:pos x="6" y="34"/>
                </a:cxn>
                <a:cxn ang="0">
                  <a:pos x="0" y="40"/>
                </a:cxn>
                <a:cxn ang="0">
                  <a:pos x="4" y="42"/>
                </a:cxn>
                <a:cxn ang="0">
                  <a:pos x="6" y="44"/>
                </a:cxn>
                <a:cxn ang="0">
                  <a:pos x="6" y="44"/>
                </a:cxn>
                <a:cxn ang="0">
                  <a:pos x="8" y="48"/>
                </a:cxn>
                <a:cxn ang="0">
                  <a:pos x="10" y="50"/>
                </a:cxn>
                <a:cxn ang="0">
                  <a:pos x="18" y="54"/>
                </a:cxn>
                <a:cxn ang="0">
                  <a:pos x="22" y="56"/>
                </a:cxn>
                <a:cxn ang="0">
                  <a:pos x="34" y="60"/>
                </a:cxn>
                <a:cxn ang="0">
                  <a:pos x="36" y="62"/>
                </a:cxn>
                <a:cxn ang="0">
                  <a:pos x="40" y="62"/>
                </a:cxn>
                <a:cxn ang="0">
                  <a:pos x="46" y="56"/>
                </a:cxn>
                <a:cxn ang="0">
                  <a:pos x="54" y="54"/>
                </a:cxn>
                <a:cxn ang="0">
                  <a:pos x="60" y="54"/>
                </a:cxn>
                <a:cxn ang="0">
                  <a:pos x="62" y="56"/>
                </a:cxn>
                <a:cxn ang="0">
                  <a:pos x="70" y="54"/>
                </a:cxn>
                <a:cxn ang="0">
                  <a:pos x="82" y="54"/>
                </a:cxn>
                <a:cxn ang="0">
                  <a:pos x="86" y="54"/>
                </a:cxn>
                <a:cxn ang="0">
                  <a:pos x="90" y="50"/>
                </a:cxn>
                <a:cxn ang="0">
                  <a:pos x="98" y="38"/>
                </a:cxn>
                <a:cxn ang="0">
                  <a:pos x="104" y="28"/>
                </a:cxn>
                <a:cxn ang="0">
                  <a:pos x="102" y="24"/>
                </a:cxn>
                <a:cxn ang="0">
                  <a:pos x="104" y="20"/>
                </a:cxn>
                <a:cxn ang="0">
                  <a:pos x="112" y="14"/>
                </a:cxn>
              </a:cxnLst>
              <a:rect l="0" t="0" r="r" b="b"/>
              <a:pathLst>
                <a:path w="112" h="62">
                  <a:moveTo>
                    <a:pt x="112" y="14"/>
                  </a:moveTo>
                  <a:lnTo>
                    <a:pt x="112" y="14"/>
                  </a:lnTo>
                  <a:lnTo>
                    <a:pt x="110" y="12"/>
                  </a:lnTo>
                  <a:lnTo>
                    <a:pt x="106" y="8"/>
                  </a:lnTo>
                  <a:lnTo>
                    <a:pt x="106" y="8"/>
                  </a:lnTo>
                  <a:lnTo>
                    <a:pt x="106" y="4"/>
                  </a:lnTo>
                  <a:lnTo>
                    <a:pt x="106" y="4"/>
                  </a:lnTo>
                  <a:lnTo>
                    <a:pt x="98" y="6"/>
                  </a:lnTo>
                  <a:lnTo>
                    <a:pt x="90" y="2"/>
                  </a:lnTo>
                  <a:lnTo>
                    <a:pt x="90" y="2"/>
                  </a:lnTo>
                  <a:lnTo>
                    <a:pt x="84" y="0"/>
                  </a:lnTo>
                  <a:lnTo>
                    <a:pt x="82" y="2"/>
                  </a:lnTo>
                  <a:lnTo>
                    <a:pt x="80" y="4"/>
                  </a:lnTo>
                  <a:lnTo>
                    <a:pt x="76" y="4"/>
                  </a:lnTo>
                  <a:lnTo>
                    <a:pt x="76" y="4"/>
                  </a:lnTo>
                  <a:lnTo>
                    <a:pt x="72" y="4"/>
                  </a:lnTo>
                  <a:lnTo>
                    <a:pt x="68" y="6"/>
                  </a:lnTo>
                  <a:lnTo>
                    <a:pt x="62" y="10"/>
                  </a:lnTo>
                  <a:lnTo>
                    <a:pt x="62" y="10"/>
                  </a:lnTo>
                  <a:lnTo>
                    <a:pt x="54" y="12"/>
                  </a:lnTo>
                  <a:lnTo>
                    <a:pt x="44" y="14"/>
                  </a:lnTo>
                  <a:lnTo>
                    <a:pt x="44" y="14"/>
                  </a:lnTo>
                  <a:lnTo>
                    <a:pt x="42" y="14"/>
                  </a:lnTo>
                  <a:lnTo>
                    <a:pt x="40" y="16"/>
                  </a:lnTo>
                  <a:lnTo>
                    <a:pt x="42" y="18"/>
                  </a:lnTo>
                  <a:lnTo>
                    <a:pt x="42" y="18"/>
                  </a:lnTo>
                  <a:lnTo>
                    <a:pt x="40" y="20"/>
                  </a:lnTo>
                  <a:lnTo>
                    <a:pt x="38" y="20"/>
                  </a:lnTo>
                  <a:lnTo>
                    <a:pt x="30" y="20"/>
                  </a:lnTo>
                  <a:lnTo>
                    <a:pt x="30" y="20"/>
                  </a:lnTo>
                  <a:lnTo>
                    <a:pt x="24" y="20"/>
                  </a:lnTo>
                  <a:lnTo>
                    <a:pt x="18" y="18"/>
                  </a:lnTo>
                  <a:lnTo>
                    <a:pt x="18" y="18"/>
                  </a:lnTo>
                  <a:lnTo>
                    <a:pt x="14" y="22"/>
                  </a:lnTo>
                  <a:lnTo>
                    <a:pt x="12" y="22"/>
                  </a:lnTo>
                  <a:lnTo>
                    <a:pt x="6" y="20"/>
                  </a:lnTo>
                  <a:lnTo>
                    <a:pt x="6" y="20"/>
                  </a:lnTo>
                  <a:lnTo>
                    <a:pt x="2" y="20"/>
                  </a:lnTo>
                  <a:lnTo>
                    <a:pt x="2" y="20"/>
                  </a:lnTo>
                  <a:lnTo>
                    <a:pt x="6" y="24"/>
                  </a:lnTo>
                  <a:lnTo>
                    <a:pt x="6" y="24"/>
                  </a:lnTo>
                  <a:lnTo>
                    <a:pt x="8" y="26"/>
                  </a:lnTo>
                  <a:lnTo>
                    <a:pt x="8" y="28"/>
                  </a:lnTo>
                  <a:lnTo>
                    <a:pt x="6" y="30"/>
                  </a:lnTo>
                  <a:lnTo>
                    <a:pt x="6" y="34"/>
                  </a:lnTo>
                  <a:lnTo>
                    <a:pt x="6" y="34"/>
                  </a:lnTo>
                  <a:lnTo>
                    <a:pt x="4" y="36"/>
                  </a:lnTo>
                  <a:lnTo>
                    <a:pt x="0" y="40"/>
                  </a:lnTo>
                  <a:lnTo>
                    <a:pt x="0" y="40"/>
                  </a:lnTo>
                  <a:lnTo>
                    <a:pt x="4" y="42"/>
                  </a:lnTo>
                  <a:lnTo>
                    <a:pt x="6" y="42"/>
                  </a:lnTo>
                  <a:lnTo>
                    <a:pt x="6" y="44"/>
                  </a:lnTo>
                  <a:lnTo>
                    <a:pt x="6" y="44"/>
                  </a:lnTo>
                  <a:lnTo>
                    <a:pt x="6" y="44"/>
                  </a:lnTo>
                  <a:lnTo>
                    <a:pt x="8" y="46"/>
                  </a:lnTo>
                  <a:lnTo>
                    <a:pt x="8" y="48"/>
                  </a:lnTo>
                  <a:lnTo>
                    <a:pt x="8" y="48"/>
                  </a:lnTo>
                  <a:lnTo>
                    <a:pt x="10" y="50"/>
                  </a:lnTo>
                  <a:lnTo>
                    <a:pt x="10" y="50"/>
                  </a:lnTo>
                  <a:lnTo>
                    <a:pt x="18" y="54"/>
                  </a:lnTo>
                  <a:lnTo>
                    <a:pt x="22" y="56"/>
                  </a:lnTo>
                  <a:lnTo>
                    <a:pt x="22" y="56"/>
                  </a:lnTo>
                  <a:lnTo>
                    <a:pt x="28" y="58"/>
                  </a:lnTo>
                  <a:lnTo>
                    <a:pt x="34" y="60"/>
                  </a:lnTo>
                  <a:lnTo>
                    <a:pt x="34" y="60"/>
                  </a:lnTo>
                  <a:lnTo>
                    <a:pt x="36" y="62"/>
                  </a:lnTo>
                  <a:lnTo>
                    <a:pt x="40" y="62"/>
                  </a:lnTo>
                  <a:lnTo>
                    <a:pt x="40" y="62"/>
                  </a:lnTo>
                  <a:lnTo>
                    <a:pt x="44" y="60"/>
                  </a:lnTo>
                  <a:lnTo>
                    <a:pt x="46" y="56"/>
                  </a:lnTo>
                  <a:lnTo>
                    <a:pt x="46" y="56"/>
                  </a:lnTo>
                  <a:lnTo>
                    <a:pt x="54" y="54"/>
                  </a:lnTo>
                  <a:lnTo>
                    <a:pt x="58" y="54"/>
                  </a:lnTo>
                  <a:lnTo>
                    <a:pt x="60" y="54"/>
                  </a:lnTo>
                  <a:lnTo>
                    <a:pt x="60" y="54"/>
                  </a:lnTo>
                  <a:lnTo>
                    <a:pt x="62" y="56"/>
                  </a:lnTo>
                  <a:lnTo>
                    <a:pt x="70" y="54"/>
                  </a:lnTo>
                  <a:lnTo>
                    <a:pt x="70" y="54"/>
                  </a:lnTo>
                  <a:lnTo>
                    <a:pt x="80" y="54"/>
                  </a:lnTo>
                  <a:lnTo>
                    <a:pt x="82" y="54"/>
                  </a:lnTo>
                  <a:lnTo>
                    <a:pt x="82" y="54"/>
                  </a:lnTo>
                  <a:lnTo>
                    <a:pt x="86" y="54"/>
                  </a:lnTo>
                  <a:lnTo>
                    <a:pt x="90" y="50"/>
                  </a:lnTo>
                  <a:lnTo>
                    <a:pt x="90" y="50"/>
                  </a:lnTo>
                  <a:lnTo>
                    <a:pt x="98" y="38"/>
                  </a:lnTo>
                  <a:lnTo>
                    <a:pt x="98" y="38"/>
                  </a:lnTo>
                  <a:lnTo>
                    <a:pt x="102" y="34"/>
                  </a:lnTo>
                  <a:lnTo>
                    <a:pt x="104" y="28"/>
                  </a:lnTo>
                  <a:lnTo>
                    <a:pt x="104" y="28"/>
                  </a:lnTo>
                  <a:lnTo>
                    <a:pt x="102" y="24"/>
                  </a:lnTo>
                  <a:lnTo>
                    <a:pt x="104" y="20"/>
                  </a:lnTo>
                  <a:lnTo>
                    <a:pt x="104" y="20"/>
                  </a:lnTo>
                  <a:lnTo>
                    <a:pt x="112" y="14"/>
                  </a:lnTo>
                  <a:lnTo>
                    <a:pt x="112" y="14"/>
                  </a:lnTo>
                  <a:close/>
                </a:path>
              </a:pathLst>
            </a:custGeom>
            <a:solidFill>
              <a:schemeClr val="accent6"/>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1049" name="Group 1048"/>
          <p:cNvGrpSpPr/>
          <p:nvPr/>
        </p:nvGrpSpPr>
        <p:grpSpPr>
          <a:xfrm>
            <a:off x="2143338" y="1031850"/>
            <a:ext cx="5867676" cy="3909174"/>
            <a:chOff x="2857040" y="1375800"/>
            <a:chExt cx="7821530" cy="5212232"/>
          </a:xfrm>
        </p:grpSpPr>
        <p:grpSp>
          <p:nvGrpSpPr>
            <p:cNvPr id="1048" name="Group 1047"/>
            <p:cNvGrpSpPr/>
            <p:nvPr/>
          </p:nvGrpSpPr>
          <p:grpSpPr>
            <a:xfrm>
              <a:off x="2857040" y="1375800"/>
              <a:ext cx="7821530" cy="5212232"/>
              <a:chOff x="2857040" y="1375800"/>
              <a:chExt cx="7821530" cy="5212232"/>
            </a:xfrm>
          </p:grpSpPr>
          <p:grpSp>
            <p:nvGrpSpPr>
              <p:cNvPr id="1047" name="Group 1046"/>
              <p:cNvGrpSpPr/>
              <p:nvPr/>
            </p:nvGrpSpPr>
            <p:grpSpPr>
              <a:xfrm>
                <a:off x="2857040" y="1375800"/>
                <a:ext cx="7821530" cy="5212232"/>
                <a:chOff x="2857040" y="1375800"/>
                <a:chExt cx="7821530" cy="5212232"/>
              </a:xfrm>
            </p:grpSpPr>
            <p:grpSp>
              <p:nvGrpSpPr>
                <p:cNvPr id="1037" name="Group 1036"/>
                <p:cNvGrpSpPr/>
                <p:nvPr/>
              </p:nvGrpSpPr>
              <p:grpSpPr>
                <a:xfrm>
                  <a:off x="2857040" y="1375800"/>
                  <a:ext cx="7728696" cy="5212232"/>
                  <a:chOff x="2857040" y="1375800"/>
                  <a:chExt cx="7728696" cy="5212232"/>
                </a:xfrm>
                <a:solidFill>
                  <a:schemeClr val="accent3"/>
                </a:solidFill>
              </p:grpSpPr>
              <p:grpSp>
                <p:nvGrpSpPr>
                  <p:cNvPr id="6" name="Group 5"/>
                  <p:cNvGrpSpPr/>
                  <p:nvPr/>
                </p:nvGrpSpPr>
                <p:grpSpPr>
                  <a:xfrm>
                    <a:off x="2857040" y="1375800"/>
                    <a:ext cx="7728696" cy="5212232"/>
                    <a:chOff x="2857040" y="1375800"/>
                    <a:chExt cx="7728696" cy="5212232"/>
                  </a:xfrm>
                  <a:grpFill/>
                </p:grpSpPr>
                <p:grpSp>
                  <p:nvGrpSpPr>
                    <p:cNvPr id="5" name="Group 4"/>
                    <p:cNvGrpSpPr/>
                    <p:nvPr/>
                  </p:nvGrpSpPr>
                  <p:grpSpPr>
                    <a:xfrm>
                      <a:off x="2857040" y="1375800"/>
                      <a:ext cx="7728696" cy="5212232"/>
                      <a:chOff x="2857040" y="1375800"/>
                      <a:chExt cx="7728696" cy="5212232"/>
                    </a:xfrm>
                    <a:grpFill/>
                  </p:grpSpPr>
                  <p:grpSp>
                    <p:nvGrpSpPr>
                      <p:cNvPr id="4" name="Group 3"/>
                      <p:cNvGrpSpPr/>
                      <p:nvPr/>
                    </p:nvGrpSpPr>
                    <p:grpSpPr>
                      <a:xfrm>
                        <a:off x="2857040" y="1375800"/>
                        <a:ext cx="7728696" cy="5212232"/>
                        <a:chOff x="2857040" y="1375800"/>
                        <a:chExt cx="7728696" cy="5212232"/>
                      </a:xfrm>
                      <a:grpFill/>
                    </p:grpSpPr>
                    <p:grpSp>
                      <p:nvGrpSpPr>
                        <p:cNvPr id="2" name="Group 1"/>
                        <p:cNvGrpSpPr/>
                        <p:nvPr/>
                      </p:nvGrpSpPr>
                      <p:grpSpPr>
                        <a:xfrm>
                          <a:off x="2857040" y="1375800"/>
                          <a:ext cx="7728696" cy="3605366"/>
                          <a:chOff x="2857040" y="1375800"/>
                          <a:chExt cx="7728696" cy="3605366"/>
                        </a:xfrm>
                        <a:grpFill/>
                      </p:grpSpPr>
                      <p:grpSp>
                        <p:nvGrpSpPr>
                          <p:cNvPr id="1035" name="APOLLO"/>
                          <p:cNvGrpSpPr/>
                          <p:nvPr/>
                        </p:nvGrpSpPr>
                        <p:grpSpPr>
                          <a:xfrm>
                            <a:off x="2857040" y="1375800"/>
                            <a:ext cx="6995071" cy="3605366"/>
                            <a:chOff x="2857040" y="1375800"/>
                            <a:chExt cx="6995071" cy="3605366"/>
                          </a:xfrm>
                          <a:grpFill/>
                        </p:grpSpPr>
                        <p:sp>
                          <p:nvSpPr>
                            <p:cNvPr id="686" name="Cyprus"/>
                            <p:cNvSpPr>
                              <a:spLocks/>
                            </p:cNvSpPr>
                            <p:nvPr/>
                          </p:nvSpPr>
                          <p:spPr bwMode="auto">
                            <a:xfrm>
                              <a:off x="6803820" y="2335177"/>
                              <a:ext cx="27432" cy="9144"/>
                            </a:xfrm>
                            <a:custGeom>
                              <a:avLst/>
                              <a:gdLst/>
                              <a:ahLst/>
                              <a:cxnLst>
                                <a:cxn ang="0">
                                  <a:pos x="14" y="4"/>
                                </a:cxn>
                                <a:cxn ang="0">
                                  <a:pos x="14" y="4"/>
                                </a:cxn>
                                <a:cxn ang="0">
                                  <a:pos x="12" y="4"/>
                                </a:cxn>
                                <a:cxn ang="0">
                                  <a:pos x="10" y="6"/>
                                </a:cxn>
                                <a:cxn ang="0">
                                  <a:pos x="10" y="8"/>
                                </a:cxn>
                                <a:cxn ang="0">
                                  <a:pos x="10" y="10"/>
                                </a:cxn>
                                <a:cxn ang="0">
                                  <a:pos x="10" y="10"/>
                                </a:cxn>
                                <a:cxn ang="0">
                                  <a:pos x="6" y="20"/>
                                </a:cxn>
                                <a:cxn ang="0">
                                  <a:pos x="2" y="30"/>
                                </a:cxn>
                                <a:cxn ang="0">
                                  <a:pos x="2" y="30"/>
                                </a:cxn>
                                <a:cxn ang="0">
                                  <a:pos x="0" y="36"/>
                                </a:cxn>
                                <a:cxn ang="0">
                                  <a:pos x="0" y="42"/>
                                </a:cxn>
                                <a:cxn ang="0">
                                  <a:pos x="2" y="44"/>
                                </a:cxn>
                                <a:cxn ang="0">
                                  <a:pos x="4" y="50"/>
                                </a:cxn>
                                <a:cxn ang="0">
                                  <a:pos x="4" y="50"/>
                                </a:cxn>
                                <a:cxn ang="0">
                                  <a:pos x="4" y="54"/>
                                </a:cxn>
                                <a:cxn ang="0">
                                  <a:pos x="6" y="56"/>
                                </a:cxn>
                                <a:cxn ang="0">
                                  <a:pos x="10" y="58"/>
                                </a:cxn>
                                <a:cxn ang="0">
                                  <a:pos x="10" y="58"/>
                                </a:cxn>
                                <a:cxn ang="0">
                                  <a:pos x="14" y="66"/>
                                </a:cxn>
                                <a:cxn ang="0">
                                  <a:pos x="20" y="68"/>
                                </a:cxn>
                                <a:cxn ang="0">
                                  <a:pos x="20" y="68"/>
                                </a:cxn>
                                <a:cxn ang="0">
                                  <a:pos x="24" y="72"/>
                                </a:cxn>
                                <a:cxn ang="0">
                                  <a:pos x="24" y="76"/>
                                </a:cxn>
                                <a:cxn ang="0">
                                  <a:pos x="24" y="76"/>
                                </a:cxn>
                                <a:cxn ang="0">
                                  <a:pos x="24" y="76"/>
                                </a:cxn>
                                <a:cxn ang="0">
                                  <a:pos x="26" y="78"/>
                                </a:cxn>
                                <a:cxn ang="0">
                                  <a:pos x="30" y="76"/>
                                </a:cxn>
                                <a:cxn ang="0">
                                  <a:pos x="30" y="76"/>
                                </a:cxn>
                                <a:cxn ang="0">
                                  <a:pos x="28" y="70"/>
                                </a:cxn>
                                <a:cxn ang="0">
                                  <a:pos x="28" y="64"/>
                                </a:cxn>
                                <a:cxn ang="0">
                                  <a:pos x="28" y="64"/>
                                </a:cxn>
                                <a:cxn ang="0">
                                  <a:pos x="30" y="62"/>
                                </a:cxn>
                                <a:cxn ang="0">
                                  <a:pos x="32" y="60"/>
                                </a:cxn>
                                <a:cxn ang="0">
                                  <a:pos x="32" y="56"/>
                                </a:cxn>
                                <a:cxn ang="0">
                                  <a:pos x="32" y="52"/>
                                </a:cxn>
                                <a:cxn ang="0">
                                  <a:pos x="32" y="52"/>
                                </a:cxn>
                                <a:cxn ang="0">
                                  <a:pos x="32" y="42"/>
                                </a:cxn>
                                <a:cxn ang="0">
                                  <a:pos x="32" y="38"/>
                                </a:cxn>
                                <a:cxn ang="0">
                                  <a:pos x="30" y="34"/>
                                </a:cxn>
                                <a:cxn ang="0">
                                  <a:pos x="30" y="34"/>
                                </a:cxn>
                                <a:cxn ang="0">
                                  <a:pos x="28" y="30"/>
                                </a:cxn>
                                <a:cxn ang="0">
                                  <a:pos x="28" y="28"/>
                                </a:cxn>
                                <a:cxn ang="0">
                                  <a:pos x="28" y="28"/>
                                </a:cxn>
                                <a:cxn ang="0">
                                  <a:pos x="30" y="22"/>
                                </a:cxn>
                                <a:cxn ang="0">
                                  <a:pos x="28" y="14"/>
                                </a:cxn>
                                <a:cxn ang="0">
                                  <a:pos x="28" y="14"/>
                                </a:cxn>
                                <a:cxn ang="0">
                                  <a:pos x="28" y="10"/>
                                </a:cxn>
                                <a:cxn ang="0">
                                  <a:pos x="28" y="8"/>
                                </a:cxn>
                                <a:cxn ang="0">
                                  <a:pos x="28" y="8"/>
                                </a:cxn>
                                <a:cxn ang="0">
                                  <a:pos x="28" y="8"/>
                                </a:cxn>
                                <a:cxn ang="0">
                                  <a:pos x="30" y="6"/>
                                </a:cxn>
                                <a:cxn ang="0">
                                  <a:pos x="30" y="4"/>
                                </a:cxn>
                                <a:cxn ang="0">
                                  <a:pos x="22" y="0"/>
                                </a:cxn>
                                <a:cxn ang="0">
                                  <a:pos x="22" y="0"/>
                                </a:cxn>
                                <a:cxn ang="0">
                                  <a:pos x="20" y="0"/>
                                </a:cxn>
                                <a:cxn ang="0">
                                  <a:pos x="18" y="2"/>
                                </a:cxn>
                                <a:cxn ang="0">
                                  <a:pos x="16" y="2"/>
                                </a:cxn>
                                <a:cxn ang="0">
                                  <a:pos x="14" y="4"/>
                                </a:cxn>
                                <a:cxn ang="0">
                                  <a:pos x="14" y="4"/>
                                </a:cxn>
                              </a:cxnLst>
                              <a:rect l="0" t="0" r="r" b="b"/>
                              <a:pathLst>
                                <a:path w="32" h="78">
                                  <a:moveTo>
                                    <a:pt x="14" y="4"/>
                                  </a:moveTo>
                                  <a:lnTo>
                                    <a:pt x="14" y="4"/>
                                  </a:lnTo>
                                  <a:lnTo>
                                    <a:pt x="12" y="4"/>
                                  </a:lnTo>
                                  <a:lnTo>
                                    <a:pt x="10" y="6"/>
                                  </a:lnTo>
                                  <a:lnTo>
                                    <a:pt x="10" y="8"/>
                                  </a:lnTo>
                                  <a:lnTo>
                                    <a:pt x="10" y="10"/>
                                  </a:lnTo>
                                  <a:lnTo>
                                    <a:pt x="10" y="10"/>
                                  </a:lnTo>
                                  <a:lnTo>
                                    <a:pt x="6" y="20"/>
                                  </a:lnTo>
                                  <a:lnTo>
                                    <a:pt x="2" y="30"/>
                                  </a:lnTo>
                                  <a:lnTo>
                                    <a:pt x="2" y="30"/>
                                  </a:lnTo>
                                  <a:lnTo>
                                    <a:pt x="0" y="36"/>
                                  </a:lnTo>
                                  <a:lnTo>
                                    <a:pt x="0" y="42"/>
                                  </a:lnTo>
                                  <a:lnTo>
                                    <a:pt x="2" y="44"/>
                                  </a:lnTo>
                                  <a:lnTo>
                                    <a:pt x="4" y="50"/>
                                  </a:lnTo>
                                  <a:lnTo>
                                    <a:pt x="4" y="50"/>
                                  </a:lnTo>
                                  <a:lnTo>
                                    <a:pt x="4" y="54"/>
                                  </a:lnTo>
                                  <a:lnTo>
                                    <a:pt x="6" y="56"/>
                                  </a:lnTo>
                                  <a:lnTo>
                                    <a:pt x="10" y="58"/>
                                  </a:lnTo>
                                  <a:lnTo>
                                    <a:pt x="10" y="58"/>
                                  </a:lnTo>
                                  <a:lnTo>
                                    <a:pt x="14" y="66"/>
                                  </a:lnTo>
                                  <a:lnTo>
                                    <a:pt x="20" y="68"/>
                                  </a:lnTo>
                                  <a:lnTo>
                                    <a:pt x="20" y="68"/>
                                  </a:lnTo>
                                  <a:lnTo>
                                    <a:pt x="24" y="72"/>
                                  </a:lnTo>
                                  <a:lnTo>
                                    <a:pt x="24" y="76"/>
                                  </a:lnTo>
                                  <a:lnTo>
                                    <a:pt x="24" y="76"/>
                                  </a:lnTo>
                                  <a:lnTo>
                                    <a:pt x="24" y="76"/>
                                  </a:lnTo>
                                  <a:lnTo>
                                    <a:pt x="26" y="78"/>
                                  </a:lnTo>
                                  <a:lnTo>
                                    <a:pt x="30" y="76"/>
                                  </a:lnTo>
                                  <a:lnTo>
                                    <a:pt x="30" y="76"/>
                                  </a:lnTo>
                                  <a:lnTo>
                                    <a:pt x="28" y="70"/>
                                  </a:lnTo>
                                  <a:lnTo>
                                    <a:pt x="28" y="64"/>
                                  </a:lnTo>
                                  <a:lnTo>
                                    <a:pt x="28" y="64"/>
                                  </a:lnTo>
                                  <a:lnTo>
                                    <a:pt x="30" y="62"/>
                                  </a:lnTo>
                                  <a:lnTo>
                                    <a:pt x="32" y="60"/>
                                  </a:lnTo>
                                  <a:lnTo>
                                    <a:pt x="32" y="56"/>
                                  </a:lnTo>
                                  <a:lnTo>
                                    <a:pt x="32" y="52"/>
                                  </a:lnTo>
                                  <a:lnTo>
                                    <a:pt x="32" y="52"/>
                                  </a:lnTo>
                                  <a:lnTo>
                                    <a:pt x="32" y="42"/>
                                  </a:lnTo>
                                  <a:lnTo>
                                    <a:pt x="32" y="38"/>
                                  </a:lnTo>
                                  <a:lnTo>
                                    <a:pt x="30" y="34"/>
                                  </a:lnTo>
                                  <a:lnTo>
                                    <a:pt x="30" y="34"/>
                                  </a:lnTo>
                                  <a:lnTo>
                                    <a:pt x="28" y="30"/>
                                  </a:lnTo>
                                  <a:lnTo>
                                    <a:pt x="28" y="28"/>
                                  </a:lnTo>
                                  <a:lnTo>
                                    <a:pt x="28" y="28"/>
                                  </a:lnTo>
                                  <a:lnTo>
                                    <a:pt x="30" y="22"/>
                                  </a:lnTo>
                                  <a:lnTo>
                                    <a:pt x="28" y="14"/>
                                  </a:lnTo>
                                  <a:lnTo>
                                    <a:pt x="28" y="14"/>
                                  </a:lnTo>
                                  <a:lnTo>
                                    <a:pt x="28" y="10"/>
                                  </a:lnTo>
                                  <a:lnTo>
                                    <a:pt x="28" y="8"/>
                                  </a:lnTo>
                                  <a:lnTo>
                                    <a:pt x="28" y="8"/>
                                  </a:lnTo>
                                  <a:lnTo>
                                    <a:pt x="28" y="8"/>
                                  </a:lnTo>
                                  <a:lnTo>
                                    <a:pt x="30" y="6"/>
                                  </a:lnTo>
                                  <a:lnTo>
                                    <a:pt x="30" y="4"/>
                                  </a:lnTo>
                                  <a:lnTo>
                                    <a:pt x="22" y="0"/>
                                  </a:lnTo>
                                  <a:lnTo>
                                    <a:pt x="22" y="0"/>
                                  </a:lnTo>
                                  <a:lnTo>
                                    <a:pt x="20" y="0"/>
                                  </a:lnTo>
                                  <a:lnTo>
                                    <a:pt x="18" y="2"/>
                                  </a:lnTo>
                                  <a:lnTo>
                                    <a:pt x="16" y="2"/>
                                  </a:lnTo>
                                  <a:lnTo>
                                    <a:pt x="14" y="4"/>
                                  </a:lnTo>
                                  <a:lnTo>
                                    <a:pt x="14" y="4"/>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7" name="Greenland"/>
                            <p:cNvSpPr>
                              <a:spLocks/>
                            </p:cNvSpPr>
                            <p:nvPr/>
                          </p:nvSpPr>
                          <p:spPr bwMode="auto">
                            <a:xfrm>
                              <a:off x="4539047" y="1375800"/>
                              <a:ext cx="54678" cy="21244"/>
                            </a:xfrm>
                            <a:custGeom>
                              <a:avLst/>
                              <a:gdLst/>
                              <a:ahLst/>
                              <a:cxnLst>
                                <a:cxn ang="0">
                                  <a:pos x="24" y="2"/>
                                </a:cxn>
                                <a:cxn ang="0">
                                  <a:pos x="24" y="2"/>
                                </a:cxn>
                                <a:cxn ang="0">
                                  <a:pos x="16" y="2"/>
                                </a:cxn>
                                <a:cxn ang="0">
                                  <a:pos x="16" y="2"/>
                                </a:cxn>
                                <a:cxn ang="0">
                                  <a:pos x="6" y="0"/>
                                </a:cxn>
                                <a:cxn ang="0">
                                  <a:pos x="6" y="0"/>
                                </a:cxn>
                                <a:cxn ang="0">
                                  <a:pos x="2" y="2"/>
                                </a:cxn>
                                <a:cxn ang="0">
                                  <a:pos x="2" y="2"/>
                                </a:cxn>
                                <a:cxn ang="0">
                                  <a:pos x="2" y="2"/>
                                </a:cxn>
                                <a:cxn ang="0">
                                  <a:pos x="0" y="6"/>
                                </a:cxn>
                                <a:cxn ang="0">
                                  <a:pos x="4" y="8"/>
                                </a:cxn>
                                <a:cxn ang="0">
                                  <a:pos x="4" y="8"/>
                                </a:cxn>
                                <a:cxn ang="0">
                                  <a:pos x="6" y="8"/>
                                </a:cxn>
                                <a:cxn ang="0">
                                  <a:pos x="10" y="10"/>
                                </a:cxn>
                                <a:cxn ang="0">
                                  <a:pos x="10" y="10"/>
                                </a:cxn>
                                <a:cxn ang="0">
                                  <a:pos x="14" y="12"/>
                                </a:cxn>
                                <a:cxn ang="0">
                                  <a:pos x="18" y="12"/>
                                </a:cxn>
                                <a:cxn ang="0">
                                  <a:pos x="18" y="12"/>
                                </a:cxn>
                                <a:cxn ang="0">
                                  <a:pos x="24" y="14"/>
                                </a:cxn>
                                <a:cxn ang="0">
                                  <a:pos x="32" y="12"/>
                                </a:cxn>
                                <a:cxn ang="0">
                                  <a:pos x="32" y="12"/>
                                </a:cxn>
                                <a:cxn ang="0">
                                  <a:pos x="34" y="12"/>
                                </a:cxn>
                                <a:cxn ang="0">
                                  <a:pos x="36" y="10"/>
                                </a:cxn>
                                <a:cxn ang="0">
                                  <a:pos x="36" y="8"/>
                                </a:cxn>
                                <a:cxn ang="0">
                                  <a:pos x="34" y="6"/>
                                </a:cxn>
                                <a:cxn ang="0">
                                  <a:pos x="34" y="6"/>
                                </a:cxn>
                                <a:cxn ang="0">
                                  <a:pos x="28" y="4"/>
                                </a:cxn>
                                <a:cxn ang="0">
                                  <a:pos x="24" y="2"/>
                                </a:cxn>
                                <a:cxn ang="0">
                                  <a:pos x="24" y="2"/>
                                </a:cxn>
                              </a:cxnLst>
                              <a:rect l="0" t="0" r="r" b="b"/>
                              <a:pathLst>
                                <a:path w="36" h="14">
                                  <a:moveTo>
                                    <a:pt x="24" y="2"/>
                                  </a:moveTo>
                                  <a:lnTo>
                                    <a:pt x="24" y="2"/>
                                  </a:lnTo>
                                  <a:lnTo>
                                    <a:pt x="16" y="2"/>
                                  </a:lnTo>
                                  <a:lnTo>
                                    <a:pt x="16" y="2"/>
                                  </a:lnTo>
                                  <a:lnTo>
                                    <a:pt x="6" y="0"/>
                                  </a:lnTo>
                                  <a:lnTo>
                                    <a:pt x="6" y="0"/>
                                  </a:lnTo>
                                  <a:lnTo>
                                    <a:pt x="2" y="2"/>
                                  </a:lnTo>
                                  <a:lnTo>
                                    <a:pt x="2" y="2"/>
                                  </a:lnTo>
                                  <a:lnTo>
                                    <a:pt x="2" y="2"/>
                                  </a:lnTo>
                                  <a:lnTo>
                                    <a:pt x="0" y="6"/>
                                  </a:lnTo>
                                  <a:lnTo>
                                    <a:pt x="4" y="8"/>
                                  </a:lnTo>
                                  <a:lnTo>
                                    <a:pt x="4" y="8"/>
                                  </a:lnTo>
                                  <a:lnTo>
                                    <a:pt x="6" y="8"/>
                                  </a:lnTo>
                                  <a:lnTo>
                                    <a:pt x="10" y="10"/>
                                  </a:lnTo>
                                  <a:lnTo>
                                    <a:pt x="10" y="10"/>
                                  </a:lnTo>
                                  <a:lnTo>
                                    <a:pt x="14" y="12"/>
                                  </a:lnTo>
                                  <a:lnTo>
                                    <a:pt x="18" y="12"/>
                                  </a:lnTo>
                                  <a:lnTo>
                                    <a:pt x="18" y="12"/>
                                  </a:lnTo>
                                  <a:lnTo>
                                    <a:pt x="24" y="14"/>
                                  </a:lnTo>
                                  <a:lnTo>
                                    <a:pt x="32" y="12"/>
                                  </a:lnTo>
                                  <a:lnTo>
                                    <a:pt x="32" y="12"/>
                                  </a:lnTo>
                                  <a:lnTo>
                                    <a:pt x="34" y="12"/>
                                  </a:lnTo>
                                  <a:lnTo>
                                    <a:pt x="36" y="10"/>
                                  </a:lnTo>
                                  <a:lnTo>
                                    <a:pt x="36" y="8"/>
                                  </a:lnTo>
                                  <a:lnTo>
                                    <a:pt x="34" y="6"/>
                                  </a:lnTo>
                                  <a:lnTo>
                                    <a:pt x="34" y="6"/>
                                  </a:lnTo>
                                  <a:lnTo>
                                    <a:pt x="28" y="4"/>
                                  </a:lnTo>
                                  <a:lnTo>
                                    <a:pt x="24" y="2"/>
                                  </a:lnTo>
                                  <a:lnTo>
                                    <a:pt x="24" y="2"/>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8" name="Azerbaijan"/>
                            <p:cNvSpPr>
                              <a:spLocks/>
                            </p:cNvSpPr>
                            <p:nvPr/>
                          </p:nvSpPr>
                          <p:spPr bwMode="auto">
                            <a:xfrm>
                              <a:off x="7117988" y="2204293"/>
                              <a:ext cx="36452" cy="15174"/>
                            </a:xfrm>
                            <a:custGeom>
                              <a:avLst/>
                              <a:gdLst/>
                              <a:ahLst/>
                              <a:cxnLst>
                                <a:cxn ang="0">
                                  <a:pos x="0" y="0"/>
                                </a:cxn>
                                <a:cxn ang="0">
                                  <a:pos x="0" y="0"/>
                                </a:cxn>
                                <a:cxn ang="0">
                                  <a:pos x="2" y="4"/>
                                </a:cxn>
                                <a:cxn ang="0">
                                  <a:pos x="4" y="8"/>
                                </a:cxn>
                                <a:cxn ang="0">
                                  <a:pos x="12" y="10"/>
                                </a:cxn>
                                <a:cxn ang="0">
                                  <a:pos x="20" y="10"/>
                                </a:cxn>
                                <a:cxn ang="0">
                                  <a:pos x="24" y="10"/>
                                </a:cxn>
                                <a:cxn ang="0">
                                  <a:pos x="24" y="10"/>
                                </a:cxn>
                                <a:cxn ang="0">
                                  <a:pos x="18" y="4"/>
                                </a:cxn>
                                <a:cxn ang="0">
                                  <a:pos x="12" y="2"/>
                                </a:cxn>
                                <a:cxn ang="0">
                                  <a:pos x="6" y="0"/>
                                </a:cxn>
                                <a:cxn ang="0">
                                  <a:pos x="0" y="0"/>
                                </a:cxn>
                                <a:cxn ang="0">
                                  <a:pos x="0" y="0"/>
                                </a:cxn>
                              </a:cxnLst>
                              <a:rect l="0" t="0" r="r" b="b"/>
                              <a:pathLst>
                                <a:path w="24" h="10">
                                  <a:moveTo>
                                    <a:pt x="0" y="0"/>
                                  </a:moveTo>
                                  <a:lnTo>
                                    <a:pt x="0" y="0"/>
                                  </a:lnTo>
                                  <a:lnTo>
                                    <a:pt x="2" y="4"/>
                                  </a:lnTo>
                                  <a:lnTo>
                                    <a:pt x="4" y="8"/>
                                  </a:lnTo>
                                  <a:lnTo>
                                    <a:pt x="12" y="10"/>
                                  </a:lnTo>
                                  <a:lnTo>
                                    <a:pt x="20" y="10"/>
                                  </a:lnTo>
                                  <a:lnTo>
                                    <a:pt x="24" y="10"/>
                                  </a:lnTo>
                                  <a:lnTo>
                                    <a:pt x="24" y="10"/>
                                  </a:lnTo>
                                  <a:lnTo>
                                    <a:pt x="18" y="4"/>
                                  </a:lnTo>
                                  <a:lnTo>
                                    <a:pt x="12" y="2"/>
                                  </a:lnTo>
                                  <a:lnTo>
                                    <a:pt x="6" y="0"/>
                                  </a:lnTo>
                                  <a:lnTo>
                                    <a:pt x="0" y="0"/>
                                  </a:lnTo>
                                  <a:lnTo>
                                    <a:pt x="0" y="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6" name="Serbia"/>
                            <p:cNvSpPr>
                              <a:spLocks/>
                            </p:cNvSpPr>
                            <p:nvPr/>
                          </p:nvSpPr>
                          <p:spPr bwMode="auto">
                            <a:xfrm>
                              <a:off x="6338152" y="1996128"/>
                              <a:ext cx="91129" cy="118917"/>
                            </a:xfrm>
                            <a:custGeom>
                              <a:avLst/>
                              <a:gdLst>
                                <a:gd name="T0" fmla="*/ 640 w 661"/>
                                <a:gd name="T1" fmla="*/ 696 h 862"/>
                                <a:gd name="T2" fmla="*/ 568 w 661"/>
                                <a:gd name="T3" fmla="*/ 611 h 862"/>
                                <a:gd name="T4" fmla="*/ 602 w 661"/>
                                <a:gd name="T5" fmla="*/ 475 h 862"/>
                                <a:gd name="T6" fmla="*/ 619 w 661"/>
                                <a:gd name="T7" fmla="*/ 445 h 862"/>
                                <a:gd name="T8" fmla="*/ 598 w 661"/>
                                <a:gd name="T9" fmla="*/ 403 h 862"/>
                                <a:gd name="T10" fmla="*/ 598 w 661"/>
                                <a:gd name="T11" fmla="*/ 361 h 862"/>
                                <a:gd name="T12" fmla="*/ 576 w 661"/>
                                <a:gd name="T13" fmla="*/ 341 h 862"/>
                                <a:gd name="T14" fmla="*/ 534 w 661"/>
                                <a:gd name="T15" fmla="*/ 361 h 862"/>
                                <a:gd name="T16" fmla="*/ 471 w 661"/>
                                <a:gd name="T17" fmla="*/ 320 h 862"/>
                                <a:gd name="T18" fmla="*/ 429 w 661"/>
                                <a:gd name="T19" fmla="*/ 299 h 862"/>
                                <a:gd name="T20" fmla="*/ 387 w 661"/>
                                <a:gd name="T21" fmla="*/ 299 h 862"/>
                                <a:gd name="T22" fmla="*/ 366 w 661"/>
                                <a:gd name="T23" fmla="*/ 236 h 862"/>
                                <a:gd name="T24" fmla="*/ 324 w 661"/>
                                <a:gd name="T25" fmla="*/ 173 h 862"/>
                                <a:gd name="T26" fmla="*/ 282 w 661"/>
                                <a:gd name="T27" fmla="*/ 132 h 862"/>
                                <a:gd name="T28" fmla="*/ 240 w 661"/>
                                <a:gd name="T29" fmla="*/ 111 h 862"/>
                                <a:gd name="T30" fmla="*/ 219 w 661"/>
                                <a:gd name="T31" fmla="*/ 69 h 862"/>
                                <a:gd name="T32" fmla="*/ 176 w 661"/>
                                <a:gd name="T33" fmla="*/ 27 h 862"/>
                                <a:gd name="T34" fmla="*/ 163 w 661"/>
                                <a:gd name="T35" fmla="*/ 0 h 862"/>
                                <a:gd name="T36" fmla="*/ 93 w 661"/>
                                <a:gd name="T37" fmla="*/ 8 h 862"/>
                                <a:gd name="T38" fmla="*/ 37 w 661"/>
                                <a:gd name="T39" fmla="*/ 35 h 862"/>
                                <a:gd name="T40" fmla="*/ 0 w 661"/>
                                <a:gd name="T41" fmla="*/ 72 h 862"/>
                                <a:gd name="T42" fmla="*/ 0 w 661"/>
                                <a:gd name="T43" fmla="*/ 147 h 862"/>
                                <a:gd name="T44" fmla="*/ 37 w 661"/>
                                <a:gd name="T45" fmla="*/ 238 h 862"/>
                                <a:gd name="T46" fmla="*/ 73 w 661"/>
                                <a:gd name="T47" fmla="*/ 302 h 862"/>
                                <a:gd name="T48" fmla="*/ 53 w 661"/>
                                <a:gd name="T49" fmla="*/ 427 h 862"/>
                                <a:gd name="T50" fmla="*/ 120 w 661"/>
                                <a:gd name="T51" fmla="*/ 478 h 862"/>
                                <a:gd name="T52" fmla="*/ 73 w 661"/>
                                <a:gd name="T53" fmla="*/ 497 h 862"/>
                                <a:gd name="T54" fmla="*/ 90 w 661"/>
                                <a:gd name="T55" fmla="*/ 592 h 862"/>
                                <a:gd name="T56" fmla="*/ 64 w 661"/>
                                <a:gd name="T57" fmla="*/ 592 h 862"/>
                                <a:gd name="T58" fmla="*/ 162 w 661"/>
                                <a:gd name="T59" fmla="*/ 680 h 862"/>
                                <a:gd name="T60" fmla="*/ 229 w 661"/>
                                <a:gd name="T61" fmla="*/ 757 h 862"/>
                                <a:gd name="T62" fmla="*/ 293 w 661"/>
                                <a:gd name="T63" fmla="*/ 654 h 862"/>
                                <a:gd name="T64" fmla="*/ 410 w 661"/>
                                <a:gd name="T65" fmla="*/ 757 h 862"/>
                                <a:gd name="T66" fmla="*/ 424 w 661"/>
                                <a:gd name="T67" fmla="*/ 862 h 862"/>
                                <a:gd name="T68" fmla="*/ 562 w 661"/>
                                <a:gd name="T69" fmla="*/ 862 h 862"/>
                                <a:gd name="T70" fmla="*/ 568 w 661"/>
                                <a:gd name="T71" fmla="*/ 757 h 862"/>
                                <a:gd name="T72" fmla="*/ 644 w 661"/>
                                <a:gd name="T73" fmla="*/ 700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61" h="862">
                                  <a:moveTo>
                                    <a:pt x="644" y="700"/>
                                  </a:moveTo>
                                  <a:cubicBezTo>
                                    <a:pt x="640" y="696"/>
                                    <a:pt x="640" y="696"/>
                                    <a:pt x="640" y="696"/>
                                  </a:cubicBezTo>
                                  <a:cubicBezTo>
                                    <a:pt x="661" y="675"/>
                                    <a:pt x="661" y="675"/>
                                    <a:pt x="661" y="675"/>
                                  </a:cubicBezTo>
                                  <a:cubicBezTo>
                                    <a:pt x="568" y="611"/>
                                    <a:pt x="568" y="611"/>
                                    <a:pt x="568" y="611"/>
                                  </a:cubicBezTo>
                                  <a:cubicBezTo>
                                    <a:pt x="557" y="497"/>
                                    <a:pt x="557" y="497"/>
                                    <a:pt x="557" y="497"/>
                                  </a:cubicBezTo>
                                  <a:cubicBezTo>
                                    <a:pt x="602" y="475"/>
                                    <a:pt x="602" y="475"/>
                                    <a:pt x="602" y="475"/>
                                  </a:cubicBezTo>
                                  <a:cubicBezTo>
                                    <a:pt x="598" y="466"/>
                                    <a:pt x="598" y="466"/>
                                    <a:pt x="598" y="466"/>
                                  </a:cubicBezTo>
                                  <a:cubicBezTo>
                                    <a:pt x="619" y="445"/>
                                    <a:pt x="619" y="445"/>
                                    <a:pt x="619" y="445"/>
                                  </a:cubicBezTo>
                                  <a:cubicBezTo>
                                    <a:pt x="640" y="424"/>
                                    <a:pt x="640" y="424"/>
                                    <a:pt x="640" y="424"/>
                                  </a:cubicBezTo>
                                  <a:cubicBezTo>
                                    <a:pt x="598" y="403"/>
                                    <a:pt x="598" y="403"/>
                                    <a:pt x="598" y="403"/>
                                  </a:cubicBezTo>
                                  <a:cubicBezTo>
                                    <a:pt x="555" y="382"/>
                                    <a:pt x="555" y="382"/>
                                    <a:pt x="555" y="382"/>
                                  </a:cubicBezTo>
                                  <a:cubicBezTo>
                                    <a:pt x="598" y="361"/>
                                    <a:pt x="598" y="361"/>
                                    <a:pt x="598" y="361"/>
                                  </a:cubicBezTo>
                                  <a:cubicBezTo>
                                    <a:pt x="598" y="341"/>
                                    <a:pt x="598" y="341"/>
                                    <a:pt x="598" y="341"/>
                                  </a:cubicBezTo>
                                  <a:cubicBezTo>
                                    <a:pt x="576" y="341"/>
                                    <a:pt x="576" y="341"/>
                                    <a:pt x="576" y="341"/>
                                  </a:cubicBezTo>
                                  <a:cubicBezTo>
                                    <a:pt x="555" y="341"/>
                                    <a:pt x="555" y="341"/>
                                    <a:pt x="555" y="341"/>
                                  </a:cubicBezTo>
                                  <a:cubicBezTo>
                                    <a:pt x="534" y="361"/>
                                    <a:pt x="534" y="361"/>
                                    <a:pt x="534" y="361"/>
                                  </a:cubicBezTo>
                                  <a:cubicBezTo>
                                    <a:pt x="513" y="361"/>
                                    <a:pt x="513" y="361"/>
                                    <a:pt x="513" y="361"/>
                                  </a:cubicBezTo>
                                  <a:cubicBezTo>
                                    <a:pt x="471" y="320"/>
                                    <a:pt x="471" y="320"/>
                                    <a:pt x="471" y="320"/>
                                  </a:cubicBezTo>
                                  <a:cubicBezTo>
                                    <a:pt x="450" y="299"/>
                                    <a:pt x="450" y="299"/>
                                    <a:pt x="450" y="299"/>
                                  </a:cubicBezTo>
                                  <a:cubicBezTo>
                                    <a:pt x="429" y="299"/>
                                    <a:pt x="429" y="299"/>
                                    <a:pt x="429" y="299"/>
                                  </a:cubicBezTo>
                                  <a:cubicBezTo>
                                    <a:pt x="408" y="299"/>
                                    <a:pt x="408" y="299"/>
                                    <a:pt x="408" y="299"/>
                                  </a:cubicBezTo>
                                  <a:cubicBezTo>
                                    <a:pt x="387" y="299"/>
                                    <a:pt x="387" y="299"/>
                                    <a:pt x="387" y="299"/>
                                  </a:cubicBezTo>
                                  <a:cubicBezTo>
                                    <a:pt x="345" y="257"/>
                                    <a:pt x="345" y="257"/>
                                    <a:pt x="345" y="257"/>
                                  </a:cubicBezTo>
                                  <a:cubicBezTo>
                                    <a:pt x="366" y="236"/>
                                    <a:pt x="366" y="236"/>
                                    <a:pt x="366" y="236"/>
                                  </a:cubicBezTo>
                                  <a:cubicBezTo>
                                    <a:pt x="366" y="215"/>
                                    <a:pt x="366" y="215"/>
                                    <a:pt x="366" y="215"/>
                                  </a:cubicBezTo>
                                  <a:cubicBezTo>
                                    <a:pt x="324" y="173"/>
                                    <a:pt x="324" y="173"/>
                                    <a:pt x="324" y="173"/>
                                  </a:cubicBezTo>
                                  <a:cubicBezTo>
                                    <a:pt x="303" y="153"/>
                                    <a:pt x="303" y="153"/>
                                    <a:pt x="303" y="153"/>
                                  </a:cubicBezTo>
                                  <a:cubicBezTo>
                                    <a:pt x="282" y="132"/>
                                    <a:pt x="282" y="132"/>
                                    <a:pt x="282" y="132"/>
                                  </a:cubicBezTo>
                                  <a:cubicBezTo>
                                    <a:pt x="261" y="111"/>
                                    <a:pt x="261" y="111"/>
                                    <a:pt x="261" y="111"/>
                                  </a:cubicBezTo>
                                  <a:cubicBezTo>
                                    <a:pt x="240" y="111"/>
                                    <a:pt x="240" y="111"/>
                                    <a:pt x="240" y="111"/>
                                  </a:cubicBezTo>
                                  <a:cubicBezTo>
                                    <a:pt x="219" y="90"/>
                                    <a:pt x="219" y="90"/>
                                    <a:pt x="219" y="90"/>
                                  </a:cubicBezTo>
                                  <a:cubicBezTo>
                                    <a:pt x="219" y="69"/>
                                    <a:pt x="219" y="69"/>
                                    <a:pt x="219" y="69"/>
                                  </a:cubicBezTo>
                                  <a:cubicBezTo>
                                    <a:pt x="198" y="48"/>
                                    <a:pt x="198" y="48"/>
                                    <a:pt x="198" y="48"/>
                                  </a:cubicBezTo>
                                  <a:cubicBezTo>
                                    <a:pt x="176" y="27"/>
                                    <a:pt x="176" y="27"/>
                                    <a:pt x="176" y="27"/>
                                  </a:cubicBezTo>
                                  <a:cubicBezTo>
                                    <a:pt x="167" y="9"/>
                                    <a:pt x="167" y="9"/>
                                    <a:pt x="167" y="9"/>
                                  </a:cubicBezTo>
                                  <a:cubicBezTo>
                                    <a:pt x="163" y="0"/>
                                    <a:pt x="163" y="0"/>
                                    <a:pt x="163" y="0"/>
                                  </a:cubicBezTo>
                                  <a:cubicBezTo>
                                    <a:pt x="146" y="8"/>
                                    <a:pt x="146" y="8"/>
                                    <a:pt x="146" y="8"/>
                                  </a:cubicBezTo>
                                  <a:cubicBezTo>
                                    <a:pt x="93" y="8"/>
                                    <a:pt x="93" y="8"/>
                                    <a:pt x="93" y="8"/>
                                  </a:cubicBezTo>
                                  <a:cubicBezTo>
                                    <a:pt x="72" y="35"/>
                                    <a:pt x="72" y="35"/>
                                    <a:pt x="72" y="35"/>
                                  </a:cubicBezTo>
                                  <a:cubicBezTo>
                                    <a:pt x="37" y="35"/>
                                    <a:pt x="37" y="35"/>
                                    <a:pt x="37" y="35"/>
                                  </a:cubicBezTo>
                                  <a:cubicBezTo>
                                    <a:pt x="37" y="35"/>
                                    <a:pt x="32" y="59"/>
                                    <a:pt x="18" y="59"/>
                                  </a:cubicBezTo>
                                  <a:cubicBezTo>
                                    <a:pt x="5" y="59"/>
                                    <a:pt x="0" y="72"/>
                                    <a:pt x="0" y="72"/>
                                  </a:cubicBezTo>
                                  <a:cubicBezTo>
                                    <a:pt x="26" y="131"/>
                                    <a:pt x="26" y="131"/>
                                    <a:pt x="26" y="131"/>
                                  </a:cubicBezTo>
                                  <a:cubicBezTo>
                                    <a:pt x="0" y="147"/>
                                    <a:pt x="0" y="147"/>
                                    <a:pt x="0" y="147"/>
                                  </a:cubicBezTo>
                                  <a:cubicBezTo>
                                    <a:pt x="85" y="216"/>
                                    <a:pt x="85" y="216"/>
                                    <a:pt x="85" y="216"/>
                                  </a:cubicBezTo>
                                  <a:cubicBezTo>
                                    <a:pt x="37" y="238"/>
                                    <a:pt x="37" y="238"/>
                                    <a:pt x="37" y="238"/>
                                  </a:cubicBezTo>
                                  <a:cubicBezTo>
                                    <a:pt x="40" y="283"/>
                                    <a:pt x="40" y="283"/>
                                    <a:pt x="40" y="283"/>
                                  </a:cubicBezTo>
                                  <a:cubicBezTo>
                                    <a:pt x="73" y="302"/>
                                    <a:pt x="73" y="302"/>
                                    <a:pt x="73" y="302"/>
                                  </a:cubicBezTo>
                                  <a:cubicBezTo>
                                    <a:pt x="40" y="382"/>
                                    <a:pt x="40" y="382"/>
                                    <a:pt x="40" y="382"/>
                                  </a:cubicBezTo>
                                  <a:cubicBezTo>
                                    <a:pt x="53" y="427"/>
                                    <a:pt x="53" y="427"/>
                                    <a:pt x="53" y="427"/>
                                  </a:cubicBezTo>
                                  <a:cubicBezTo>
                                    <a:pt x="73" y="427"/>
                                    <a:pt x="73" y="427"/>
                                    <a:pt x="73" y="427"/>
                                  </a:cubicBezTo>
                                  <a:cubicBezTo>
                                    <a:pt x="120" y="478"/>
                                    <a:pt x="120" y="478"/>
                                    <a:pt x="120" y="478"/>
                                  </a:cubicBezTo>
                                  <a:cubicBezTo>
                                    <a:pt x="98" y="497"/>
                                    <a:pt x="98" y="497"/>
                                    <a:pt x="98" y="497"/>
                                  </a:cubicBezTo>
                                  <a:cubicBezTo>
                                    <a:pt x="73" y="497"/>
                                    <a:pt x="73" y="497"/>
                                    <a:pt x="73" y="497"/>
                                  </a:cubicBezTo>
                                  <a:cubicBezTo>
                                    <a:pt x="114" y="566"/>
                                    <a:pt x="114" y="566"/>
                                    <a:pt x="114" y="566"/>
                                  </a:cubicBezTo>
                                  <a:cubicBezTo>
                                    <a:pt x="90" y="592"/>
                                    <a:pt x="90" y="592"/>
                                    <a:pt x="90" y="592"/>
                                  </a:cubicBezTo>
                                  <a:cubicBezTo>
                                    <a:pt x="73" y="592"/>
                                    <a:pt x="73" y="592"/>
                                    <a:pt x="73" y="592"/>
                                  </a:cubicBezTo>
                                  <a:cubicBezTo>
                                    <a:pt x="64" y="592"/>
                                    <a:pt x="64" y="592"/>
                                    <a:pt x="64" y="592"/>
                                  </a:cubicBezTo>
                                  <a:cubicBezTo>
                                    <a:pt x="112" y="654"/>
                                    <a:pt x="112" y="654"/>
                                    <a:pt x="112" y="654"/>
                                  </a:cubicBezTo>
                                  <a:cubicBezTo>
                                    <a:pt x="162" y="680"/>
                                    <a:pt x="162" y="680"/>
                                    <a:pt x="162" y="680"/>
                                  </a:cubicBezTo>
                                  <a:cubicBezTo>
                                    <a:pt x="229" y="728"/>
                                    <a:pt x="229" y="728"/>
                                    <a:pt x="229" y="728"/>
                                  </a:cubicBezTo>
                                  <a:cubicBezTo>
                                    <a:pt x="229" y="757"/>
                                    <a:pt x="229" y="757"/>
                                    <a:pt x="229" y="757"/>
                                  </a:cubicBezTo>
                                  <a:cubicBezTo>
                                    <a:pt x="272" y="715"/>
                                    <a:pt x="272" y="715"/>
                                    <a:pt x="272" y="715"/>
                                  </a:cubicBezTo>
                                  <a:cubicBezTo>
                                    <a:pt x="293" y="654"/>
                                    <a:pt x="293" y="654"/>
                                    <a:pt x="293" y="654"/>
                                  </a:cubicBezTo>
                                  <a:cubicBezTo>
                                    <a:pt x="333" y="691"/>
                                    <a:pt x="333" y="691"/>
                                    <a:pt x="333" y="691"/>
                                  </a:cubicBezTo>
                                  <a:cubicBezTo>
                                    <a:pt x="410" y="757"/>
                                    <a:pt x="410" y="757"/>
                                    <a:pt x="410" y="757"/>
                                  </a:cubicBezTo>
                                  <a:cubicBezTo>
                                    <a:pt x="456" y="795"/>
                                    <a:pt x="456" y="795"/>
                                    <a:pt x="456" y="795"/>
                                  </a:cubicBezTo>
                                  <a:cubicBezTo>
                                    <a:pt x="424" y="862"/>
                                    <a:pt x="424" y="862"/>
                                    <a:pt x="424" y="862"/>
                                  </a:cubicBezTo>
                                  <a:cubicBezTo>
                                    <a:pt x="546" y="846"/>
                                    <a:pt x="546" y="846"/>
                                    <a:pt x="546" y="846"/>
                                  </a:cubicBezTo>
                                  <a:cubicBezTo>
                                    <a:pt x="562" y="862"/>
                                    <a:pt x="562" y="862"/>
                                    <a:pt x="562" y="862"/>
                                  </a:cubicBezTo>
                                  <a:cubicBezTo>
                                    <a:pt x="586" y="827"/>
                                    <a:pt x="586" y="827"/>
                                    <a:pt x="586" y="827"/>
                                  </a:cubicBezTo>
                                  <a:cubicBezTo>
                                    <a:pt x="568" y="757"/>
                                    <a:pt x="568" y="757"/>
                                    <a:pt x="568" y="757"/>
                                  </a:cubicBezTo>
                                  <a:cubicBezTo>
                                    <a:pt x="618" y="739"/>
                                    <a:pt x="618" y="739"/>
                                    <a:pt x="618" y="739"/>
                                  </a:cubicBezTo>
                                  <a:lnTo>
                                    <a:pt x="644" y="700"/>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endParaRPr lang="en-US" dirty="0"/>
                            </a:p>
                          </p:txBody>
                        </p:sp>
                        <p:sp>
                          <p:nvSpPr>
                            <p:cNvPr id="675" name="Luxembourg"/>
                            <p:cNvSpPr>
                              <a:spLocks/>
                            </p:cNvSpPr>
                            <p:nvPr/>
                          </p:nvSpPr>
                          <p:spPr bwMode="auto">
                            <a:xfrm>
                              <a:off x="5936362" y="1879582"/>
                              <a:ext cx="15188" cy="12139"/>
                            </a:xfrm>
                            <a:custGeom>
                              <a:avLst/>
                              <a:gdLst/>
                              <a:ahLst/>
                              <a:cxnLst>
                                <a:cxn ang="0">
                                  <a:pos x="8" y="8"/>
                                </a:cxn>
                                <a:cxn ang="0">
                                  <a:pos x="8" y="8"/>
                                </a:cxn>
                                <a:cxn ang="0">
                                  <a:pos x="0" y="8"/>
                                </a:cxn>
                                <a:cxn ang="0">
                                  <a:pos x="0" y="8"/>
                                </a:cxn>
                                <a:cxn ang="0">
                                  <a:pos x="4" y="4"/>
                                </a:cxn>
                                <a:cxn ang="0">
                                  <a:pos x="8" y="0"/>
                                </a:cxn>
                                <a:cxn ang="0">
                                  <a:pos x="8" y="0"/>
                                </a:cxn>
                                <a:cxn ang="0">
                                  <a:pos x="10" y="2"/>
                                </a:cxn>
                                <a:cxn ang="0">
                                  <a:pos x="8" y="8"/>
                                </a:cxn>
                                <a:cxn ang="0">
                                  <a:pos x="8" y="8"/>
                                </a:cxn>
                              </a:cxnLst>
                              <a:rect l="0" t="0" r="r" b="b"/>
                              <a:pathLst>
                                <a:path w="10" h="8">
                                  <a:moveTo>
                                    <a:pt x="8" y="8"/>
                                  </a:moveTo>
                                  <a:lnTo>
                                    <a:pt x="8" y="8"/>
                                  </a:lnTo>
                                  <a:lnTo>
                                    <a:pt x="0" y="8"/>
                                  </a:lnTo>
                                  <a:lnTo>
                                    <a:pt x="0" y="8"/>
                                  </a:lnTo>
                                  <a:lnTo>
                                    <a:pt x="4" y="4"/>
                                  </a:lnTo>
                                  <a:lnTo>
                                    <a:pt x="8" y="0"/>
                                  </a:lnTo>
                                  <a:lnTo>
                                    <a:pt x="8" y="0"/>
                                  </a:lnTo>
                                  <a:lnTo>
                                    <a:pt x="10" y="2"/>
                                  </a:lnTo>
                                  <a:lnTo>
                                    <a:pt x="8" y="8"/>
                                  </a:lnTo>
                                  <a:lnTo>
                                    <a:pt x="8" y="8"/>
                                  </a:lnTo>
                                  <a:close/>
                                </a:path>
                              </a:pathLst>
                            </a:cu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bg1">
                                    <a:alpha val="99000"/>
                                  </a:schemeClr>
                                </a:solidFill>
                              </a:endParaRPr>
                            </a:p>
                          </p:txBody>
                        </p:sp>
                        <p:grpSp>
                          <p:nvGrpSpPr>
                            <p:cNvPr id="1034" name="APOLLO"/>
                            <p:cNvGrpSpPr/>
                            <p:nvPr/>
                          </p:nvGrpSpPr>
                          <p:grpSpPr>
                            <a:xfrm>
                              <a:off x="2857040" y="1549591"/>
                              <a:ext cx="6995071" cy="3431575"/>
                              <a:chOff x="2857040" y="1549591"/>
                              <a:chExt cx="6995071" cy="3431575"/>
                            </a:xfrm>
                            <a:grpFill/>
                          </p:grpSpPr>
                          <p:sp>
                            <p:nvSpPr>
                              <p:cNvPr id="644" name="Albania"/>
                              <p:cNvSpPr>
                                <a:spLocks/>
                              </p:cNvSpPr>
                              <p:nvPr/>
                            </p:nvSpPr>
                            <p:spPr bwMode="auto">
                              <a:xfrm>
                                <a:off x="6340352" y="2112455"/>
                                <a:ext cx="54678" cy="94080"/>
                              </a:xfrm>
                              <a:custGeom>
                                <a:avLst/>
                                <a:gdLst/>
                                <a:ahLst/>
                                <a:cxnLst>
                                  <a:cxn ang="0">
                                    <a:pos x="26" y="62"/>
                                  </a:cxn>
                                  <a:cxn ang="0">
                                    <a:pos x="18" y="56"/>
                                  </a:cxn>
                                  <a:cxn ang="0">
                                    <a:pos x="18" y="54"/>
                                  </a:cxn>
                                  <a:cxn ang="0">
                                    <a:pos x="14" y="52"/>
                                  </a:cxn>
                                  <a:cxn ang="0">
                                    <a:pos x="10" y="50"/>
                                  </a:cxn>
                                  <a:cxn ang="0">
                                    <a:pos x="8" y="44"/>
                                  </a:cxn>
                                  <a:cxn ang="0">
                                    <a:pos x="6" y="42"/>
                                  </a:cxn>
                                  <a:cxn ang="0">
                                    <a:pos x="8" y="42"/>
                                  </a:cxn>
                                  <a:cxn ang="0">
                                    <a:pos x="12" y="44"/>
                                  </a:cxn>
                                  <a:cxn ang="0">
                                    <a:pos x="12" y="42"/>
                                  </a:cxn>
                                  <a:cxn ang="0">
                                    <a:pos x="8" y="38"/>
                                  </a:cxn>
                                  <a:cxn ang="0">
                                    <a:pos x="6" y="36"/>
                                  </a:cxn>
                                  <a:cxn ang="0">
                                    <a:pos x="6" y="30"/>
                                  </a:cxn>
                                  <a:cxn ang="0">
                                    <a:pos x="6" y="30"/>
                                  </a:cxn>
                                  <a:cxn ang="0">
                                    <a:pos x="8" y="26"/>
                                  </a:cxn>
                                  <a:cxn ang="0">
                                    <a:pos x="8" y="26"/>
                                  </a:cxn>
                                  <a:cxn ang="0">
                                    <a:pos x="6" y="24"/>
                                  </a:cxn>
                                  <a:cxn ang="0">
                                    <a:pos x="6" y="20"/>
                                  </a:cxn>
                                  <a:cxn ang="0">
                                    <a:pos x="4" y="14"/>
                                  </a:cxn>
                                  <a:cxn ang="0">
                                    <a:pos x="2" y="12"/>
                                  </a:cxn>
                                  <a:cxn ang="0">
                                    <a:pos x="6" y="10"/>
                                  </a:cxn>
                                  <a:cxn ang="0">
                                    <a:pos x="4" y="10"/>
                                  </a:cxn>
                                  <a:cxn ang="0">
                                    <a:pos x="0" y="8"/>
                                  </a:cxn>
                                  <a:cxn ang="0">
                                    <a:pos x="2" y="6"/>
                                  </a:cxn>
                                  <a:cxn ang="0">
                                    <a:pos x="0" y="4"/>
                                  </a:cxn>
                                  <a:cxn ang="0">
                                    <a:pos x="0" y="2"/>
                                  </a:cxn>
                                  <a:cxn ang="0">
                                    <a:pos x="6" y="0"/>
                                  </a:cxn>
                                  <a:cxn ang="0">
                                    <a:pos x="12" y="0"/>
                                  </a:cxn>
                                  <a:cxn ang="0">
                                    <a:pos x="18" y="4"/>
                                  </a:cxn>
                                  <a:cxn ang="0">
                                    <a:pos x="20" y="10"/>
                                  </a:cxn>
                                  <a:cxn ang="0">
                                    <a:pos x="22" y="16"/>
                                  </a:cxn>
                                  <a:cxn ang="0">
                                    <a:pos x="24" y="18"/>
                                  </a:cxn>
                                  <a:cxn ang="0">
                                    <a:pos x="26" y="22"/>
                                  </a:cxn>
                                  <a:cxn ang="0">
                                    <a:pos x="32" y="26"/>
                                  </a:cxn>
                                  <a:cxn ang="0">
                                    <a:pos x="36" y="36"/>
                                  </a:cxn>
                                  <a:cxn ang="0">
                                    <a:pos x="36" y="40"/>
                                  </a:cxn>
                                  <a:cxn ang="0">
                                    <a:pos x="32" y="50"/>
                                  </a:cxn>
                                  <a:cxn ang="0">
                                    <a:pos x="30" y="56"/>
                                  </a:cxn>
                                  <a:cxn ang="0">
                                    <a:pos x="26" y="58"/>
                                  </a:cxn>
                                  <a:cxn ang="0">
                                    <a:pos x="26" y="60"/>
                                  </a:cxn>
                                  <a:cxn ang="0">
                                    <a:pos x="26" y="62"/>
                                  </a:cxn>
                                </a:cxnLst>
                                <a:rect l="0" t="0" r="r" b="b"/>
                                <a:pathLst>
                                  <a:path w="36" h="62">
                                    <a:moveTo>
                                      <a:pt x="26" y="62"/>
                                    </a:moveTo>
                                    <a:lnTo>
                                      <a:pt x="26" y="62"/>
                                    </a:lnTo>
                                    <a:lnTo>
                                      <a:pt x="22" y="60"/>
                                    </a:lnTo>
                                    <a:lnTo>
                                      <a:pt x="18" y="56"/>
                                    </a:lnTo>
                                    <a:lnTo>
                                      <a:pt x="18" y="54"/>
                                    </a:lnTo>
                                    <a:lnTo>
                                      <a:pt x="18" y="54"/>
                                    </a:lnTo>
                                    <a:lnTo>
                                      <a:pt x="16" y="52"/>
                                    </a:lnTo>
                                    <a:lnTo>
                                      <a:pt x="14" y="52"/>
                                    </a:lnTo>
                                    <a:lnTo>
                                      <a:pt x="12" y="52"/>
                                    </a:lnTo>
                                    <a:lnTo>
                                      <a:pt x="10" y="50"/>
                                    </a:lnTo>
                                    <a:lnTo>
                                      <a:pt x="10" y="50"/>
                                    </a:lnTo>
                                    <a:lnTo>
                                      <a:pt x="8" y="44"/>
                                    </a:lnTo>
                                    <a:lnTo>
                                      <a:pt x="6" y="42"/>
                                    </a:lnTo>
                                    <a:lnTo>
                                      <a:pt x="6" y="42"/>
                                    </a:lnTo>
                                    <a:lnTo>
                                      <a:pt x="6" y="40"/>
                                    </a:lnTo>
                                    <a:lnTo>
                                      <a:pt x="8" y="42"/>
                                    </a:lnTo>
                                    <a:lnTo>
                                      <a:pt x="8" y="42"/>
                                    </a:lnTo>
                                    <a:lnTo>
                                      <a:pt x="12" y="44"/>
                                    </a:lnTo>
                                    <a:lnTo>
                                      <a:pt x="12" y="44"/>
                                    </a:lnTo>
                                    <a:lnTo>
                                      <a:pt x="12" y="42"/>
                                    </a:lnTo>
                                    <a:lnTo>
                                      <a:pt x="12" y="42"/>
                                    </a:lnTo>
                                    <a:lnTo>
                                      <a:pt x="8" y="38"/>
                                    </a:lnTo>
                                    <a:lnTo>
                                      <a:pt x="6" y="36"/>
                                    </a:lnTo>
                                    <a:lnTo>
                                      <a:pt x="6" y="36"/>
                                    </a:lnTo>
                                    <a:lnTo>
                                      <a:pt x="6" y="32"/>
                                    </a:lnTo>
                                    <a:lnTo>
                                      <a:pt x="6" y="30"/>
                                    </a:lnTo>
                                    <a:lnTo>
                                      <a:pt x="6" y="30"/>
                                    </a:lnTo>
                                    <a:lnTo>
                                      <a:pt x="6" y="30"/>
                                    </a:lnTo>
                                    <a:lnTo>
                                      <a:pt x="8" y="26"/>
                                    </a:lnTo>
                                    <a:lnTo>
                                      <a:pt x="8" y="26"/>
                                    </a:lnTo>
                                    <a:lnTo>
                                      <a:pt x="8" y="26"/>
                                    </a:lnTo>
                                    <a:lnTo>
                                      <a:pt x="8" y="26"/>
                                    </a:lnTo>
                                    <a:lnTo>
                                      <a:pt x="6" y="26"/>
                                    </a:lnTo>
                                    <a:lnTo>
                                      <a:pt x="6" y="24"/>
                                    </a:lnTo>
                                    <a:lnTo>
                                      <a:pt x="6" y="20"/>
                                    </a:lnTo>
                                    <a:lnTo>
                                      <a:pt x="6" y="20"/>
                                    </a:lnTo>
                                    <a:lnTo>
                                      <a:pt x="6" y="16"/>
                                    </a:lnTo>
                                    <a:lnTo>
                                      <a:pt x="4" y="14"/>
                                    </a:lnTo>
                                    <a:lnTo>
                                      <a:pt x="2" y="12"/>
                                    </a:lnTo>
                                    <a:lnTo>
                                      <a:pt x="2" y="12"/>
                                    </a:lnTo>
                                    <a:lnTo>
                                      <a:pt x="2" y="12"/>
                                    </a:lnTo>
                                    <a:lnTo>
                                      <a:pt x="6" y="10"/>
                                    </a:lnTo>
                                    <a:lnTo>
                                      <a:pt x="6" y="10"/>
                                    </a:lnTo>
                                    <a:lnTo>
                                      <a:pt x="4" y="10"/>
                                    </a:lnTo>
                                    <a:lnTo>
                                      <a:pt x="4" y="10"/>
                                    </a:lnTo>
                                    <a:lnTo>
                                      <a:pt x="0" y="8"/>
                                    </a:lnTo>
                                    <a:lnTo>
                                      <a:pt x="0" y="8"/>
                                    </a:lnTo>
                                    <a:lnTo>
                                      <a:pt x="2" y="6"/>
                                    </a:lnTo>
                                    <a:lnTo>
                                      <a:pt x="2" y="6"/>
                                    </a:lnTo>
                                    <a:lnTo>
                                      <a:pt x="0" y="4"/>
                                    </a:lnTo>
                                    <a:lnTo>
                                      <a:pt x="0" y="4"/>
                                    </a:lnTo>
                                    <a:lnTo>
                                      <a:pt x="0" y="2"/>
                                    </a:lnTo>
                                    <a:lnTo>
                                      <a:pt x="0" y="2"/>
                                    </a:lnTo>
                                    <a:lnTo>
                                      <a:pt x="6" y="0"/>
                                    </a:lnTo>
                                    <a:lnTo>
                                      <a:pt x="6" y="0"/>
                                    </a:lnTo>
                                    <a:lnTo>
                                      <a:pt x="12" y="0"/>
                                    </a:lnTo>
                                    <a:lnTo>
                                      <a:pt x="16" y="2"/>
                                    </a:lnTo>
                                    <a:lnTo>
                                      <a:pt x="18" y="4"/>
                                    </a:lnTo>
                                    <a:lnTo>
                                      <a:pt x="18" y="4"/>
                                    </a:lnTo>
                                    <a:lnTo>
                                      <a:pt x="20" y="10"/>
                                    </a:lnTo>
                                    <a:lnTo>
                                      <a:pt x="22" y="16"/>
                                    </a:lnTo>
                                    <a:lnTo>
                                      <a:pt x="22" y="16"/>
                                    </a:lnTo>
                                    <a:lnTo>
                                      <a:pt x="22" y="18"/>
                                    </a:lnTo>
                                    <a:lnTo>
                                      <a:pt x="24" y="18"/>
                                    </a:lnTo>
                                    <a:lnTo>
                                      <a:pt x="24" y="20"/>
                                    </a:lnTo>
                                    <a:lnTo>
                                      <a:pt x="26" y="22"/>
                                    </a:lnTo>
                                    <a:lnTo>
                                      <a:pt x="26" y="22"/>
                                    </a:lnTo>
                                    <a:lnTo>
                                      <a:pt x="32" y="26"/>
                                    </a:lnTo>
                                    <a:lnTo>
                                      <a:pt x="34" y="30"/>
                                    </a:lnTo>
                                    <a:lnTo>
                                      <a:pt x="36" y="36"/>
                                    </a:lnTo>
                                    <a:lnTo>
                                      <a:pt x="36" y="36"/>
                                    </a:lnTo>
                                    <a:lnTo>
                                      <a:pt x="36" y="40"/>
                                    </a:lnTo>
                                    <a:lnTo>
                                      <a:pt x="34" y="44"/>
                                    </a:lnTo>
                                    <a:lnTo>
                                      <a:pt x="32" y="50"/>
                                    </a:lnTo>
                                    <a:lnTo>
                                      <a:pt x="32" y="50"/>
                                    </a:lnTo>
                                    <a:lnTo>
                                      <a:pt x="30" y="56"/>
                                    </a:lnTo>
                                    <a:lnTo>
                                      <a:pt x="26" y="58"/>
                                    </a:lnTo>
                                    <a:lnTo>
                                      <a:pt x="26" y="58"/>
                                    </a:lnTo>
                                    <a:lnTo>
                                      <a:pt x="26" y="58"/>
                                    </a:lnTo>
                                    <a:lnTo>
                                      <a:pt x="26" y="60"/>
                                    </a:lnTo>
                                    <a:lnTo>
                                      <a:pt x="26" y="60"/>
                                    </a:lnTo>
                                    <a:lnTo>
                                      <a:pt x="26" y="62"/>
                                    </a:lnTo>
                                    <a:lnTo>
                                      <a:pt x="26" y="62"/>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9" name="Bosnia and Herzegovina"/>
                              <p:cNvSpPr>
                                <a:spLocks/>
                              </p:cNvSpPr>
                              <p:nvPr/>
                            </p:nvSpPr>
                            <p:spPr bwMode="auto">
                              <a:xfrm>
                                <a:off x="6268056" y="2025847"/>
                                <a:ext cx="90722" cy="88105"/>
                              </a:xfrm>
                              <a:custGeom>
                                <a:avLst/>
                                <a:gdLst>
                                  <a:gd name="T0" fmla="*/ 435 w 832"/>
                                  <a:gd name="T1" fmla="*/ 694 h 808"/>
                                  <a:gd name="T2" fmla="*/ 350 w 832"/>
                                  <a:gd name="T3" fmla="*/ 600 h 808"/>
                                  <a:gd name="T4" fmla="*/ 350 w 832"/>
                                  <a:gd name="T5" fmla="*/ 529 h 808"/>
                                  <a:gd name="T6" fmla="*/ 265 w 832"/>
                                  <a:gd name="T7" fmla="*/ 498 h 808"/>
                                  <a:gd name="T8" fmla="*/ 102 w 832"/>
                                  <a:gd name="T9" fmla="*/ 302 h 808"/>
                                  <a:gd name="T10" fmla="*/ 71 w 832"/>
                                  <a:gd name="T11" fmla="*/ 196 h 808"/>
                                  <a:gd name="T12" fmla="*/ 71 w 832"/>
                                  <a:gd name="T13" fmla="*/ 158 h 808"/>
                                  <a:gd name="T14" fmla="*/ 0 w 832"/>
                                  <a:gd name="T15" fmla="*/ 158 h 808"/>
                                  <a:gd name="T16" fmla="*/ 0 w 832"/>
                                  <a:gd name="T17" fmla="*/ 0 h 808"/>
                                  <a:gd name="T18" fmla="*/ 128 w 832"/>
                                  <a:gd name="T19" fmla="*/ 57 h 808"/>
                                  <a:gd name="T20" fmla="*/ 177 w 832"/>
                                  <a:gd name="T21" fmla="*/ 0 h 808"/>
                                  <a:gd name="T22" fmla="*/ 260 w 832"/>
                                  <a:gd name="T23" fmla="*/ 0 h 808"/>
                                  <a:gd name="T24" fmla="*/ 350 w 832"/>
                                  <a:gd name="T25" fmla="*/ 57 h 808"/>
                                  <a:gd name="T26" fmla="*/ 480 w 832"/>
                                  <a:gd name="T27" fmla="*/ 71 h 808"/>
                                  <a:gd name="T28" fmla="*/ 508 w 832"/>
                                  <a:gd name="T29" fmla="*/ 38 h 808"/>
                                  <a:gd name="T30" fmla="*/ 643 w 832"/>
                                  <a:gd name="T31" fmla="*/ 52 h 808"/>
                                  <a:gd name="T32" fmla="*/ 699 w 832"/>
                                  <a:gd name="T33" fmla="*/ 109 h 808"/>
                                  <a:gd name="T34" fmla="*/ 782 w 832"/>
                                  <a:gd name="T35" fmla="*/ 113 h 808"/>
                                  <a:gd name="T36" fmla="*/ 782 w 832"/>
                                  <a:gd name="T37" fmla="*/ 203 h 808"/>
                                  <a:gd name="T38" fmla="*/ 732 w 832"/>
                                  <a:gd name="T39" fmla="*/ 246 h 808"/>
                                  <a:gd name="T40" fmla="*/ 832 w 832"/>
                                  <a:gd name="T41" fmla="*/ 347 h 808"/>
                                  <a:gd name="T42" fmla="*/ 832 w 832"/>
                                  <a:gd name="T43" fmla="*/ 409 h 808"/>
                                  <a:gd name="T44" fmla="*/ 789 w 832"/>
                                  <a:gd name="T45" fmla="*/ 409 h 808"/>
                                  <a:gd name="T46" fmla="*/ 832 w 832"/>
                                  <a:gd name="T47" fmla="*/ 479 h 808"/>
                                  <a:gd name="T48" fmla="*/ 832 w 832"/>
                                  <a:gd name="T49" fmla="*/ 510 h 808"/>
                                  <a:gd name="T50" fmla="*/ 763 w 832"/>
                                  <a:gd name="T51" fmla="*/ 491 h 808"/>
                                  <a:gd name="T52" fmla="*/ 695 w 832"/>
                                  <a:gd name="T53" fmla="*/ 505 h 808"/>
                                  <a:gd name="T54" fmla="*/ 732 w 832"/>
                                  <a:gd name="T55" fmla="*/ 581 h 808"/>
                                  <a:gd name="T56" fmla="*/ 688 w 832"/>
                                  <a:gd name="T57" fmla="*/ 567 h 808"/>
                                  <a:gd name="T58" fmla="*/ 643 w 832"/>
                                  <a:gd name="T59" fmla="*/ 605 h 808"/>
                                  <a:gd name="T60" fmla="*/ 650 w 832"/>
                                  <a:gd name="T61" fmla="*/ 650 h 808"/>
                                  <a:gd name="T62" fmla="*/ 612 w 832"/>
                                  <a:gd name="T63" fmla="*/ 650 h 808"/>
                                  <a:gd name="T64" fmla="*/ 593 w 832"/>
                                  <a:gd name="T65" fmla="*/ 737 h 808"/>
                                  <a:gd name="T66" fmla="*/ 612 w 832"/>
                                  <a:gd name="T67" fmla="*/ 808 h 808"/>
                                  <a:gd name="T68" fmla="*/ 555 w 832"/>
                                  <a:gd name="T69" fmla="*/ 808 h 808"/>
                                  <a:gd name="T70" fmla="*/ 435 w 832"/>
                                  <a:gd name="T71" fmla="*/ 694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32" h="808">
                                    <a:moveTo>
                                      <a:pt x="435" y="694"/>
                                    </a:moveTo>
                                    <a:lnTo>
                                      <a:pt x="350" y="600"/>
                                    </a:lnTo>
                                    <a:lnTo>
                                      <a:pt x="350" y="529"/>
                                    </a:lnTo>
                                    <a:lnTo>
                                      <a:pt x="265" y="498"/>
                                    </a:lnTo>
                                    <a:lnTo>
                                      <a:pt x="102" y="302"/>
                                    </a:lnTo>
                                    <a:lnTo>
                                      <a:pt x="71" y="196"/>
                                    </a:lnTo>
                                    <a:lnTo>
                                      <a:pt x="71" y="158"/>
                                    </a:lnTo>
                                    <a:lnTo>
                                      <a:pt x="0" y="158"/>
                                    </a:lnTo>
                                    <a:lnTo>
                                      <a:pt x="0" y="0"/>
                                    </a:lnTo>
                                    <a:lnTo>
                                      <a:pt x="128" y="57"/>
                                    </a:lnTo>
                                    <a:lnTo>
                                      <a:pt x="177" y="0"/>
                                    </a:lnTo>
                                    <a:lnTo>
                                      <a:pt x="260" y="0"/>
                                    </a:lnTo>
                                    <a:lnTo>
                                      <a:pt x="350" y="57"/>
                                    </a:lnTo>
                                    <a:lnTo>
                                      <a:pt x="480" y="71"/>
                                    </a:lnTo>
                                    <a:lnTo>
                                      <a:pt x="508" y="38"/>
                                    </a:lnTo>
                                    <a:lnTo>
                                      <a:pt x="643" y="52"/>
                                    </a:lnTo>
                                    <a:lnTo>
                                      <a:pt x="699" y="109"/>
                                    </a:lnTo>
                                    <a:lnTo>
                                      <a:pt x="782" y="113"/>
                                    </a:lnTo>
                                    <a:lnTo>
                                      <a:pt x="782" y="203"/>
                                    </a:lnTo>
                                    <a:lnTo>
                                      <a:pt x="732" y="246"/>
                                    </a:lnTo>
                                    <a:lnTo>
                                      <a:pt x="832" y="347"/>
                                    </a:lnTo>
                                    <a:lnTo>
                                      <a:pt x="832" y="409"/>
                                    </a:lnTo>
                                    <a:lnTo>
                                      <a:pt x="789" y="409"/>
                                    </a:lnTo>
                                    <a:lnTo>
                                      <a:pt x="832" y="479"/>
                                    </a:lnTo>
                                    <a:lnTo>
                                      <a:pt x="832" y="510"/>
                                    </a:lnTo>
                                    <a:lnTo>
                                      <a:pt x="763" y="491"/>
                                    </a:lnTo>
                                    <a:lnTo>
                                      <a:pt x="695" y="505"/>
                                    </a:lnTo>
                                    <a:lnTo>
                                      <a:pt x="732" y="581"/>
                                    </a:lnTo>
                                    <a:lnTo>
                                      <a:pt x="688" y="567"/>
                                    </a:lnTo>
                                    <a:lnTo>
                                      <a:pt x="643" y="605"/>
                                    </a:lnTo>
                                    <a:lnTo>
                                      <a:pt x="650" y="650"/>
                                    </a:lnTo>
                                    <a:lnTo>
                                      <a:pt x="612" y="650"/>
                                    </a:lnTo>
                                    <a:lnTo>
                                      <a:pt x="593" y="737"/>
                                    </a:lnTo>
                                    <a:lnTo>
                                      <a:pt x="612" y="808"/>
                                    </a:lnTo>
                                    <a:lnTo>
                                      <a:pt x="555" y="808"/>
                                    </a:lnTo>
                                    <a:lnTo>
                                      <a:pt x="435" y="694"/>
                                    </a:lnTo>
                                    <a:close/>
                                  </a:path>
                                </a:pathLst>
                              </a:custGeom>
                              <a:grpFill/>
                              <a:ln w="9"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92" name="Djibouti"/>
                              <p:cNvSpPr/>
                              <p:nvPr/>
                            </p:nvSpPr>
                            <p:spPr bwMode="auto">
                              <a:xfrm>
                                <a:off x="7127884" y="3187260"/>
                                <a:ext cx="54677" cy="67086"/>
                              </a:xfrm>
                              <a:custGeom>
                                <a:avLst/>
                                <a:gdLst/>
                                <a:ahLst/>
                                <a:cxnLst/>
                                <a:rect l="l" t="t" r="r" b="b"/>
                                <a:pathLst>
                                  <a:path w="54677" h="67086">
                                    <a:moveTo>
                                      <a:pt x="22077" y="0"/>
                                    </a:moveTo>
                                    <a:lnTo>
                                      <a:pt x="42756" y="8565"/>
                                    </a:lnTo>
                                    <a:lnTo>
                                      <a:pt x="48602" y="12459"/>
                                    </a:lnTo>
                                    <a:lnTo>
                                      <a:pt x="50145" y="14771"/>
                                    </a:lnTo>
                                    <a:lnTo>
                                      <a:pt x="54677" y="25714"/>
                                    </a:lnTo>
                                    <a:lnTo>
                                      <a:pt x="54677" y="27633"/>
                                    </a:lnTo>
                                    <a:lnTo>
                                      <a:pt x="54677" y="33703"/>
                                    </a:lnTo>
                                    <a:lnTo>
                                      <a:pt x="51640" y="42807"/>
                                    </a:lnTo>
                                    <a:lnTo>
                                      <a:pt x="45564" y="45842"/>
                                    </a:lnTo>
                                    <a:lnTo>
                                      <a:pt x="39489" y="48877"/>
                                    </a:lnTo>
                                    <a:lnTo>
                                      <a:pt x="33414" y="48877"/>
                                    </a:lnTo>
                                    <a:lnTo>
                                      <a:pt x="21263" y="54947"/>
                                    </a:lnTo>
                                    <a:lnTo>
                                      <a:pt x="27338" y="54947"/>
                                    </a:lnTo>
                                    <a:lnTo>
                                      <a:pt x="39489" y="51912"/>
                                    </a:lnTo>
                                    <a:lnTo>
                                      <a:pt x="42527" y="51912"/>
                                    </a:lnTo>
                                    <a:lnTo>
                                      <a:pt x="45564" y="54947"/>
                                    </a:lnTo>
                                    <a:lnTo>
                                      <a:pt x="33414" y="67086"/>
                                    </a:lnTo>
                                    <a:lnTo>
                                      <a:pt x="27338" y="64051"/>
                                    </a:lnTo>
                                    <a:lnTo>
                                      <a:pt x="21263" y="64051"/>
                                    </a:lnTo>
                                    <a:lnTo>
                                      <a:pt x="15188" y="67086"/>
                                    </a:lnTo>
                                    <a:lnTo>
                                      <a:pt x="9112" y="67086"/>
                                    </a:lnTo>
                                    <a:lnTo>
                                      <a:pt x="6075" y="67086"/>
                                    </a:lnTo>
                                    <a:lnTo>
                                      <a:pt x="3037" y="61016"/>
                                    </a:lnTo>
                                    <a:lnTo>
                                      <a:pt x="0" y="57982"/>
                                    </a:lnTo>
                                    <a:lnTo>
                                      <a:pt x="0" y="45842"/>
                                    </a:lnTo>
                                    <a:lnTo>
                                      <a:pt x="6075" y="24598"/>
                                    </a:lnTo>
                                    <a:lnTo>
                                      <a:pt x="9112" y="15494"/>
                                    </a:lnTo>
                                    <a:lnTo>
                                      <a:pt x="15188" y="12459"/>
                                    </a:lnTo>
                                    <a:lnTo>
                                      <a:pt x="21263" y="12459"/>
                                    </a:lnTo>
                                    <a:lnTo>
                                      <a:pt x="15241" y="2832"/>
                                    </a:lnTo>
                                    <a:cubicBezTo>
                                      <a:pt x="17170" y="241"/>
                                      <a:pt x="19595" y="0"/>
                                      <a:pt x="22077" y="0"/>
                                    </a:cubicBezTo>
                                    <a:close/>
                                  </a:path>
                                </a:pathLst>
                              </a:custGeom>
                              <a:grpFill/>
                              <a:ln>
                                <a:solidFill>
                                  <a:schemeClr val="tx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695" name="Equatorial Guinea"/>
                              <p:cNvSpPr>
                                <a:spLocks/>
                              </p:cNvSpPr>
                              <p:nvPr/>
                            </p:nvSpPr>
                            <p:spPr bwMode="auto">
                              <a:xfrm>
                                <a:off x="6079114" y="3601180"/>
                                <a:ext cx="69866" cy="45523"/>
                              </a:xfrm>
                              <a:custGeom>
                                <a:avLst/>
                                <a:gdLst/>
                                <a:ahLst/>
                                <a:cxnLst>
                                  <a:cxn ang="0">
                                    <a:pos x="12" y="2"/>
                                  </a:cxn>
                                  <a:cxn ang="0">
                                    <a:pos x="12" y="2"/>
                                  </a:cxn>
                                  <a:cxn ang="0">
                                    <a:pos x="10" y="4"/>
                                  </a:cxn>
                                  <a:cxn ang="0">
                                    <a:pos x="8" y="8"/>
                                  </a:cxn>
                                  <a:cxn ang="0">
                                    <a:pos x="8" y="10"/>
                                  </a:cxn>
                                  <a:cxn ang="0">
                                    <a:pos x="8" y="10"/>
                                  </a:cxn>
                                  <a:cxn ang="0">
                                    <a:pos x="8" y="14"/>
                                  </a:cxn>
                                  <a:cxn ang="0">
                                    <a:pos x="4" y="18"/>
                                  </a:cxn>
                                  <a:cxn ang="0">
                                    <a:pos x="2" y="22"/>
                                  </a:cxn>
                                  <a:cxn ang="0">
                                    <a:pos x="0" y="26"/>
                                  </a:cxn>
                                  <a:cxn ang="0">
                                    <a:pos x="0" y="26"/>
                                  </a:cxn>
                                  <a:cxn ang="0">
                                    <a:pos x="2" y="28"/>
                                  </a:cxn>
                                  <a:cxn ang="0">
                                    <a:pos x="6" y="28"/>
                                  </a:cxn>
                                  <a:cxn ang="0">
                                    <a:pos x="10" y="28"/>
                                  </a:cxn>
                                  <a:cxn ang="0">
                                    <a:pos x="16" y="30"/>
                                  </a:cxn>
                                  <a:cxn ang="0">
                                    <a:pos x="44" y="30"/>
                                  </a:cxn>
                                  <a:cxn ang="0">
                                    <a:pos x="46" y="16"/>
                                  </a:cxn>
                                  <a:cxn ang="0">
                                    <a:pos x="42" y="16"/>
                                  </a:cxn>
                                  <a:cxn ang="0">
                                    <a:pos x="44" y="14"/>
                                  </a:cxn>
                                  <a:cxn ang="0">
                                    <a:pos x="46" y="2"/>
                                  </a:cxn>
                                  <a:cxn ang="0">
                                    <a:pos x="46" y="2"/>
                                  </a:cxn>
                                  <a:cxn ang="0">
                                    <a:pos x="38" y="2"/>
                                  </a:cxn>
                                  <a:cxn ang="0">
                                    <a:pos x="38" y="2"/>
                                  </a:cxn>
                                  <a:cxn ang="0">
                                    <a:pos x="32" y="2"/>
                                  </a:cxn>
                                  <a:cxn ang="0">
                                    <a:pos x="28" y="0"/>
                                  </a:cxn>
                                  <a:cxn ang="0">
                                    <a:pos x="22" y="0"/>
                                  </a:cxn>
                                  <a:cxn ang="0">
                                    <a:pos x="12" y="2"/>
                                  </a:cxn>
                                  <a:cxn ang="0">
                                    <a:pos x="12" y="2"/>
                                  </a:cxn>
                                </a:cxnLst>
                                <a:rect l="0" t="0" r="r" b="b"/>
                                <a:pathLst>
                                  <a:path w="46" h="30">
                                    <a:moveTo>
                                      <a:pt x="12" y="2"/>
                                    </a:moveTo>
                                    <a:lnTo>
                                      <a:pt x="12" y="2"/>
                                    </a:lnTo>
                                    <a:lnTo>
                                      <a:pt x="10" y="4"/>
                                    </a:lnTo>
                                    <a:lnTo>
                                      <a:pt x="8" y="8"/>
                                    </a:lnTo>
                                    <a:lnTo>
                                      <a:pt x="8" y="10"/>
                                    </a:lnTo>
                                    <a:lnTo>
                                      <a:pt x="8" y="10"/>
                                    </a:lnTo>
                                    <a:lnTo>
                                      <a:pt x="8" y="14"/>
                                    </a:lnTo>
                                    <a:lnTo>
                                      <a:pt x="4" y="18"/>
                                    </a:lnTo>
                                    <a:lnTo>
                                      <a:pt x="2" y="22"/>
                                    </a:lnTo>
                                    <a:lnTo>
                                      <a:pt x="0" y="26"/>
                                    </a:lnTo>
                                    <a:lnTo>
                                      <a:pt x="0" y="26"/>
                                    </a:lnTo>
                                    <a:lnTo>
                                      <a:pt x="2" y="28"/>
                                    </a:lnTo>
                                    <a:lnTo>
                                      <a:pt x="6" y="28"/>
                                    </a:lnTo>
                                    <a:lnTo>
                                      <a:pt x="10" y="28"/>
                                    </a:lnTo>
                                    <a:lnTo>
                                      <a:pt x="16" y="30"/>
                                    </a:lnTo>
                                    <a:lnTo>
                                      <a:pt x="44" y="30"/>
                                    </a:lnTo>
                                    <a:lnTo>
                                      <a:pt x="46" y="16"/>
                                    </a:lnTo>
                                    <a:lnTo>
                                      <a:pt x="42" y="16"/>
                                    </a:lnTo>
                                    <a:lnTo>
                                      <a:pt x="44" y="14"/>
                                    </a:lnTo>
                                    <a:lnTo>
                                      <a:pt x="46" y="2"/>
                                    </a:lnTo>
                                    <a:lnTo>
                                      <a:pt x="46" y="2"/>
                                    </a:lnTo>
                                    <a:lnTo>
                                      <a:pt x="38" y="2"/>
                                    </a:lnTo>
                                    <a:lnTo>
                                      <a:pt x="38" y="2"/>
                                    </a:lnTo>
                                    <a:lnTo>
                                      <a:pt x="32" y="2"/>
                                    </a:lnTo>
                                    <a:lnTo>
                                      <a:pt x="28" y="0"/>
                                    </a:lnTo>
                                    <a:lnTo>
                                      <a:pt x="22" y="0"/>
                                    </a:lnTo>
                                    <a:lnTo>
                                      <a:pt x="12" y="2"/>
                                    </a:lnTo>
                                    <a:lnTo>
                                      <a:pt x="12" y="2"/>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700" name="Faroe Islands"/>
                              <p:cNvGrpSpPr/>
                              <p:nvPr/>
                            </p:nvGrpSpPr>
                            <p:grpSpPr>
                              <a:xfrm>
                                <a:off x="5562300" y="1551091"/>
                                <a:ext cx="31823" cy="21631"/>
                                <a:chOff x="5093520" y="2991541"/>
                                <a:chExt cx="31823" cy="21631"/>
                              </a:xfrm>
                              <a:grpFill/>
                            </p:grpSpPr>
                            <p:sp>
                              <p:nvSpPr>
                                <p:cNvPr id="701" name="Faroe Islands"/>
                                <p:cNvSpPr>
                                  <a:spLocks/>
                                </p:cNvSpPr>
                                <p:nvPr/>
                              </p:nvSpPr>
                              <p:spPr bwMode="auto">
                                <a:xfrm>
                                  <a:off x="5110155" y="3001033"/>
                                  <a:ext cx="15188" cy="12139"/>
                                </a:xfrm>
                                <a:custGeom>
                                  <a:avLst/>
                                  <a:gdLst/>
                                  <a:ahLst/>
                                  <a:cxnLst>
                                    <a:cxn ang="0">
                                      <a:pos x="8" y="8"/>
                                    </a:cxn>
                                    <a:cxn ang="0">
                                      <a:pos x="8" y="8"/>
                                    </a:cxn>
                                    <a:cxn ang="0">
                                      <a:pos x="0" y="8"/>
                                    </a:cxn>
                                    <a:cxn ang="0">
                                      <a:pos x="0" y="8"/>
                                    </a:cxn>
                                    <a:cxn ang="0">
                                      <a:pos x="4" y="4"/>
                                    </a:cxn>
                                    <a:cxn ang="0">
                                      <a:pos x="8" y="0"/>
                                    </a:cxn>
                                    <a:cxn ang="0">
                                      <a:pos x="8" y="0"/>
                                    </a:cxn>
                                    <a:cxn ang="0">
                                      <a:pos x="10" y="2"/>
                                    </a:cxn>
                                    <a:cxn ang="0">
                                      <a:pos x="8" y="8"/>
                                    </a:cxn>
                                    <a:cxn ang="0">
                                      <a:pos x="8" y="8"/>
                                    </a:cxn>
                                  </a:cxnLst>
                                  <a:rect l="0" t="0" r="r" b="b"/>
                                  <a:pathLst>
                                    <a:path w="10" h="8">
                                      <a:moveTo>
                                        <a:pt x="8" y="8"/>
                                      </a:moveTo>
                                      <a:lnTo>
                                        <a:pt x="8" y="8"/>
                                      </a:lnTo>
                                      <a:lnTo>
                                        <a:pt x="0" y="8"/>
                                      </a:lnTo>
                                      <a:lnTo>
                                        <a:pt x="0" y="8"/>
                                      </a:lnTo>
                                      <a:lnTo>
                                        <a:pt x="4" y="4"/>
                                      </a:lnTo>
                                      <a:lnTo>
                                        <a:pt x="8" y="0"/>
                                      </a:lnTo>
                                      <a:lnTo>
                                        <a:pt x="8" y="0"/>
                                      </a:lnTo>
                                      <a:lnTo>
                                        <a:pt x="10" y="2"/>
                                      </a:lnTo>
                                      <a:lnTo>
                                        <a:pt x="8" y="8"/>
                                      </a:lnTo>
                                      <a:lnTo>
                                        <a:pt x="8" y="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2" name="Faroe Islands"/>
                                <p:cNvSpPr>
                                  <a:spLocks/>
                                </p:cNvSpPr>
                                <p:nvPr/>
                              </p:nvSpPr>
                              <p:spPr bwMode="auto">
                                <a:xfrm>
                                  <a:off x="5093520" y="2991541"/>
                                  <a:ext cx="15188" cy="12139"/>
                                </a:xfrm>
                                <a:custGeom>
                                  <a:avLst/>
                                  <a:gdLst/>
                                  <a:ahLst/>
                                  <a:cxnLst>
                                    <a:cxn ang="0">
                                      <a:pos x="8" y="8"/>
                                    </a:cxn>
                                    <a:cxn ang="0">
                                      <a:pos x="8" y="8"/>
                                    </a:cxn>
                                    <a:cxn ang="0">
                                      <a:pos x="0" y="8"/>
                                    </a:cxn>
                                    <a:cxn ang="0">
                                      <a:pos x="0" y="8"/>
                                    </a:cxn>
                                    <a:cxn ang="0">
                                      <a:pos x="4" y="4"/>
                                    </a:cxn>
                                    <a:cxn ang="0">
                                      <a:pos x="8" y="0"/>
                                    </a:cxn>
                                    <a:cxn ang="0">
                                      <a:pos x="8" y="0"/>
                                    </a:cxn>
                                    <a:cxn ang="0">
                                      <a:pos x="10" y="2"/>
                                    </a:cxn>
                                    <a:cxn ang="0">
                                      <a:pos x="8" y="8"/>
                                    </a:cxn>
                                    <a:cxn ang="0">
                                      <a:pos x="8" y="8"/>
                                    </a:cxn>
                                  </a:cxnLst>
                                  <a:rect l="0" t="0" r="r" b="b"/>
                                  <a:pathLst>
                                    <a:path w="10" h="8">
                                      <a:moveTo>
                                        <a:pt x="8" y="8"/>
                                      </a:moveTo>
                                      <a:lnTo>
                                        <a:pt x="8" y="8"/>
                                      </a:lnTo>
                                      <a:lnTo>
                                        <a:pt x="0" y="8"/>
                                      </a:lnTo>
                                      <a:lnTo>
                                        <a:pt x="0" y="8"/>
                                      </a:lnTo>
                                      <a:lnTo>
                                        <a:pt x="4" y="4"/>
                                      </a:lnTo>
                                      <a:lnTo>
                                        <a:pt x="8" y="0"/>
                                      </a:lnTo>
                                      <a:lnTo>
                                        <a:pt x="8" y="0"/>
                                      </a:lnTo>
                                      <a:lnTo>
                                        <a:pt x="10" y="2"/>
                                      </a:lnTo>
                                      <a:lnTo>
                                        <a:pt x="8" y="8"/>
                                      </a:lnTo>
                                      <a:lnTo>
                                        <a:pt x="8" y="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712" name="Gambia"/>
                              <p:cNvSpPr>
                                <a:spLocks/>
                              </p:cNvSpPr>
                              <p:nvPr/>
                            </p:nvSpPr>
                            <p:spPr bwMode="auto">
                              <a:xfrm>
                                <a:off x="5258967" y="3154212"/>
                                <a:ext cx="94167" cy="27314"/>
                              </a:xfrm>
                              <a:custGeom>
                                <a:avLst/>
                                <a:gdLst/>
                                <a:ahLst/>
                                <a:cxnLst>
                                  <a:cxn ang="0">
                                    <a:pos x="2" y="18"/>
                                  </a:cxn>
                                  <a:cxn ang="0">
                                    <a:pos x="2" y="18"/>
                                  </a:cxn>
                                  <a:cxn ang="0">
                                    <a:pos x="12" y="16"/>
                                  </a:cxn>
                                  <a:cxn ang="0">
                                    <a:pos x="16" y="14"/>
                                  </a:cxn>
                                  <a:cxn ang="0">
                                    <a:pos x="16" y="14"/>
                                  </a:cxn>
                                  <a:cxn ang="0">
                                    <a:pos x="20" y="12"/>
                                  </a:cxn>
                                  <a:cxn ang="0">
                                    <a:pos x="28" y="10"/>
                                  </a:cxn>
                                  <a:cxn ang="0">
                                    <a:pos x="28" y="10"/>
                                  </a:cxn>
                                  <a:cxn ang="0">
                                    <a:pos x="32" y="10"/>
                                  </a:cxn>
                                  <a:cxn ang="0">
                                    <a:pos x="38" y="10"/>
                                  </a:cxn>
                                  <a:cxn ang="0">
                                    <a:pos x="44" y="10"/>
                                  </a:cxn>
                                  <a:cxn ang="0">
                                    <a:pos x="54" y="10"/>
                                  </a:cxn>
                                  <a:cxn ang="0">
                                    <a:pos x="54" y="10"/>
                                  </a:cxn>
                                  <a:cxn ang="0">
                                    <a:pos x="62" y="6"/>
                                  </a:cxn>
                                  <a:cxn ang="0">
                                    <a:pos x="62" y="6"/>
                                  </a:cxn>
                                  <a:cxn ang="0">
                                    <a:pos x="56" y="6"/>
                                  </a:cxn>
                                  <a:cxn ang="0">
                                    <a:pos x="56" y="6"/>
                                  </a:cxn>
                                  <a:cxn ang="0">
                                    <a:pos x="48" y="4"/>
                                  </a:cxn>
                                  <a:cxn ang="0">
                                    <a:pos x="38" y="2"/>
                                  </a:cxn>
                                  <a:cxn ang="0">
                                    <a:pos x="30" y="0"/>
                                  </a:cxn>
                                  <a:cxn ang="0">
                                    <a:pos x="24" y="0"/>
                                  </a:cxn>
                                  <a:cxn ang="0">
                                    <a:pos x="24" y="0"/>
                                  </a:cxn>
                                  <a:cxn ang="0">
                                    <a:pos x="20" y="0"/>
                                  </a:cxn>
                                  <a:cxn ang="0">
                                    <a:pos x="20" y="2"/>
                                  </a:cxn>
                                  <a:cxn ang="0">
                                    <a:pos x="16" y="2"/>
                                  </a:cxn>
                                  <a:cxn ang="0">
                                    <a:pos x="0" y="4"/>
                                  </a:cxn>
                                  <a:cxn ang="0">
                                    <a:pos x="0" y="4"/>
                                  </a:cxn>
                                  <a:cxn ang="0">
                                    <a:pos x="2" y="10"/>
                                  </a:cxn>
                                  <a:cxn ang="0">
                                    <a:pos x="4" y="12"/>
                                  </a:cxn>
                                  <a:cxn ang="0">
                                    <a:pos x="4" y="14"/>
                                  </a:cxn>
                                  <a:cxn ang="0">
                                    <a:pos x="8" y="12"/>
                                  </a:cxn>
                                  <a:cxn ang="0">
                                    <a:pos x="8" y="12"/>
                                  </a:cxn>
                                  <a:cxn ang="0">
                                    <a:pos x="10" y="12"/>
                                  </a:cxn>
                                  <a:cxn ang="0">
                                    <a:pos x="10" y="10"/>
                                  </a:cxn>
                                  <a:cxn ang="0">
                                    <a:pos x="14" y="8"/>
                                  </a:cxn>
                                  <a:cxn ang="0">
                                    <a:pos x="26" y="6"/>
                                  </a:cxn>
                                  <a:cxn ang="0">
                                    <a:pos x="26" y="6"/>
                                  </a:cxn>
                                  <a:cxn ang="0">
                                    <a:pos x="14" y="8"/>
                                  </a:cxn>
                                  <a:cxn ang="0">
                                    <a:pos x="12" y="10"/>
                                  </a:cxn>
                                  <a:cxn ang="0">
                                    <a:pos x="12" y="12"/>
                                  </a:cxn>
                                  <a:cxn ang="0">
                                    <a:pos x="10" y="14"/>
                                  </a:cxn>
                                  <a:cxn ang="0">
                                    <a:pos x="10" y="14"/>
                                  </a:cxn>
                                  <a:cxn ang="0">
                                    <a:pos x="4" y="14"/>
                                  </a:cxn>
                                  <a:cxn ang="0">
                                    <a:pos x="2" y="14"/>
                                  </a:cxn>
                                  <a:cxn ang="0">
                                    <a:pos x="2" y="14"/>
                                  </a:cxn>
                                  <a:cxn ang="0">
                                    <a:pos x="2" y="18"/>
                                  </a:cxn>
                                  <a:cxn ang="0">
                                    <a:pos x="2" y="18"/>
                                  </a:cxn>
                                </a:cxnLst>
                                <a:rect l="0" t="0" r="r" b="b"/>
                                <a:pathLst>
                                  <a:path w="62" h="18">
                                    <a:moveTo>
                                      <a:pt x="2" y="18"/>
                                    </a:moveTo>
                                    <a:lnTo>
                                      <a:pt x="2" y="18"/>
                                    </a:lnTo>
                                    <a:lnTo>
                                      <a:pt x="12" y="16"/>
                                    </a:lnTo>
                                    <a:lnTo>
                                      <a:pt x="16" y="14"/>
                                    </a:lnTo>
                                    <a:lnTo>
                                      <a:pt x="16" y="14"/>
                                    </a:lnTo>
                                    <a:lnTo>
                                      <a:pt x="20" y="12"/>
                                    </a:lnTo>
                                    <a:lnTo>
                                      <a:pt x="28" y="10"/>
                                    </a:lnTo>
                                    <a:lnTo>
                                      <a:pt x="28" y="10"/>
                                    </a:lnTo>
                                    <a:lnTo>
                                      <a:pt x="32" y="10"/>
                                    </a:lnTo>
                                    <a:lnTo>
                                      <a:pt x="38" y="10"/>
                                    </a:lnTo>
                                    <a:lnTo>
                                      <a:pt x="44" y="10"/>
                                    </a:lnTo>
                                    <a:lnTo>
                                      <a:pt x="54" y="10"/>
                                    </a:lnTo>
                                    <a:lnTo>
                                      <a:pt x="54" y="10"/>
                                    </a:lnTo>
                                    <a:lnTo>
                                      <a:pt x="62" y="6"/>
                                    </a:lnTo>
                                    <a:lnTo>
                                      <a:pt x="62" y="6"/>
                                    </a:lnTo>
                                    <a:lnTo>
                                      <a:pt x="56" y="6"/>
                                    </a:lnTo>
                                    <a:lnTo>
                                      <a:pt x="56" y="6"/>
                                    </a:lnTo>
                                    <a:lnTo>
                                      <a:pt x="48" y="4"/>
                                    </a:lnTo>
                                    <a:lnTo>
                                      <a:pt x="38" y="2"/>
                                    </a:lnTo>
                                    <a:lnTo>
                                      <a:pt x="30" y="0"/>
                                    </a:lnTo>
                                    <a:lnTo>
                                      <a:pt x="24" y="0"/>
                                    </a:lnTo>
                                    <a:lnTo>
                                      <a:pt x="24" y="0"/>
                                    </a:lnTo>
                                    <a:lnTo>
                                      <a:pt x="20" y="0"/>
                                    </a:lnTo>
                                    <a:lnTo>
                                      <a:pt x="20" y="2"/>
                                    </a:lnTo>
                                    <a:lnTo>
                                      <a:pt x="16" y="2"/>
                                    </a:lnTo>
                                    <a:lnTo>
                                      <a:pt x="0" y="4"/>
                                    </a:lnTo>
                                    <a:lnTo>
                                      <a:pt x="0" y="4"/>
                                    </a:lnTo>
                                    <a:lnTo>
                                      <a:pt x="2" y="10"/>
                                    </a:lnTo>
                                    <a:lnTo>
                                      <a:pt x="4" y="12"/>
                                    </a:lnTo>
                                    <a:lnTo>
                                      <a:pt x="4" y="14"/>
                                    </a:lnTo>
                                    <a:lnTo>
                                      <a:pt x="8" y="12"/>
                                    </a:lnTo>
                                    <a:lnTo>
                                      <a:pt x="8" y="12"/>
                                    </a:lnTo>
                                    <a:lnTo>
                                      <a:pt x="10" y="12"/>
                                    </a:lnTo>
                                    <a:lnTo>
                                      <a:pt x="10" y="10"/>
                                    </a:lnTo>
                                    <a:lnTo>
                                      <a:pt x="14" y="8"/>
                                    </a:lnTo>
                                    <a:lnTo>
                                      <a:pt x="26" y="6"/>
                                    </a:lnTo>
                                    <a:lnTo>
                                      <a:pt x="26" y="6"/>
                                    </a:lnTo>
                                    <a:lnTo>
                                      <a:pt x="14" y="8"/>
                                    </a:lnTo>
                                    <a:lnTo>
                                      <a:pt x="12" y="10"/>
                                    </a:lnTo>
                                    <a:lnTo>
                                      <a:pt x="12" y="12"/>
                                    </a:lnTo>
                                    <a:lnTo>
                                      <a:pt x="10" y="14"/>
                                    </a:lnTo>
                                    <a:lnTo>
                                      <a:pt x="10" y="14"/>
                                    </a:lnTo>
                                    <a:lnTo>
                                      <a:pt x="4" y="14"/>
                                    </a:lnTo>
                                    <a:lnTo>
                                      <a:pt x="2" y="14"/>
                                    </a:lnTo>
                                    <a:lnTo>
                                      <a:pt x="2" y="14"/>
                                    </a:lnTo>
                                    <a:lnTo>
                                      <a:pt x="2" y="18"/>
                                    </a:lnTo>
                                    <a:lnTo>
                                      <a:pt x="2" y="1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6" name="Guinea-Bissau"/>
                              <p:cNvSpPr>
                                <a:spLocks/>
                              </p:cNvSpPr>
                              <p:nvPr/>
                            </p:nvSpPr>
                            <p:spPr bwMode="auto">
                              <a:xfrm>
                                <a:off x="5261989" y="3196684"/>
                                <a:ext cx="82017" cy="57662"/>
                              </a:xfrm>
                              <a:custGeom>
                                <a:avLst/>
                                <a:gdLst/>
                                <a:ahLst/>
                                <a:cxnLst>
                                  <a:cxn ang="0">
                                    <a:pos x="28" y="38"/>
                                  </a:cxn>
                                  <a:cxn ang="0">
                                    <a:pos x="34" y="32"/>
                                  </a:cxn>
                                  <a:cxn ang="0">
                                    <a:pos x="38" y="28"/>
                                  </a:cxn>
                                  <a:cxn ang="0">
                                    <a:pos x="44" y="26"/>
                                  </a:cxn>
                                  <a:cxn ang="0">
                                    <a:pos x="48" y="26"/>
                                  </a:cxn>
                                  <a:cxn ang="0">
                                    <a:pos x="54" y="18"/>
                                  </a:cxn>
                                  <a:cxn ang="0">
                                    <a:pos x="52" y="14"/>
                                  </a:cxn>
                                  <a:cxn ang="0">
                                    <a:pos x="52" y="10"/>
                                  </a:cxn>
                                  <a:cxn ang="0">
                                    <a:pos x="54" y="2"/>
                                  </a:cxn>
                                  <a:cxn ang="0">
                                    <a:pos x="38" y="0"/>
                                  </a:cxn>
                                  <a:cxn ang="0">
                                    <a:pos x="32" y="0"/>
                                  </a:cxn>
                                  <a:cxn ang="0">
                                    <a:pos x="14" y="4"/>
                                  </a:cxn>
                                  <a:cxn ang="0">
                                    <a:pos x="6" y="4"/>
                                  </a:cxn>
                                  <a:cxn ang="0">
                                    <a:pos x="4" y="8"/>
                                  </a:cxn>
                                  <a:cxn ang="0">
                                    <a:pos x="0" y="10"/>
                                  </a:cxn>
                                  <a:cxn ang="0">
                                    <a:pos x="8" y="10"/>
                                  </a:cxn>
                                  <a:cxn ang="0">
                                    <a:pos x="2" y="14"/>
                                  </a:cxn>
                                  <a:cxn ang="0">
                                    <a:pos x="6" y="16"/>
                                  </a:cxn>
                                  <a:cxn ang="0">
                                    <a:pos x="10" y="18"/>
                                  </a:cxn>
                                  <a:cxn ang="0">
                                    <a:pos x="12" y="16"/>
                                  </a:cxn>
                                  <a:cxn ang="0">
                                    <a:pos x="14" y="16"/>
                                  </a:cxn>
                                  <a:cxn ang="0">
                                    <a:pos x="14" y="18"/>
                                  </a:cxn>
                                  <a:cxn ang="0">
                                    <a:pos x="12" y="20"/>
                                  </a:cxn>
                                  <a:cxn ang="0">
                                    <a:pos x="16" y="20"/>
                                  </a:cxn>
                                  <a:cxn ang="0">
                                    <a:pos x="26" y="16"/>
                                  </a:cxn>
                                  <a:cxn ang="0">
                                    <a:pos x="30" y="18"/>
                                  </a:cxn>
                                  <a:cxn ang="0">
                                    <a:pos x="26" y="18"/>
                                  </a:cxn>
                                  <a:cxn ang="0">
                                    <a:pos x="14" y="22"/>
                                  </a:cxn>
                                  <a:cxn ang="0">
                                    <a:pos x="16" y="24"/>
                                  </a:cxn>
                                  <a:cxn ang="0">
                                    <a:pos x="18" y="26"/>
                                  </a:cxn>
                                  <a:cxn ang="0">
                                    <a:pos x="20" y="26"/>
                                  </a:cxn>
                                  <a:cxn ang="0">
                                    <a:pos x="22" y="24"/>
                                  </a:cxn>
                                  <a:cxn ang="0">
                                    <a:pos x="28" y="20"/>
                                  </a:cxn>
                                  <a:cxn ang="0">
                                    <a:pos x="26" y="24"/>
                                  </a:cxn>
                                  <a:cxn ang="0">
                                    <a:pos x="28" y="28"/>
                                  </a:cxn>
                                  <a:cxn ang="0">
                                    <a:pos x="26" y="26"/>
                                  </a:cxn>
                                  <a:cxn ang="0">
                                    <a:pos x="22" y="28"/>
                                  </a:cxn>
                                  <a:cxn ang="0">
                                    <a:pos x="22" y="32"/>
                                  </a:cxn>
                                  <a:cxn ang="0">
                                    <a:pos x="24" y="34"/>
                                  </a:cxn>
                                  <a:cxn ang="0">
                                    <a:pos x="28" y="38"/>
                                  </a:cxn>
                                </a:cxnLst>
                                <a:rect l="0" t="0" r="r" b="b"/>
                                <a:pathLst>
                                  <a:path w="54" h="38">
                                    <a:moveTo>
                                      <a:pt x="28" y="38"/>
                                    </a:moveTo>
                                    <a:lnTo>
                                      <a:pt x="28" y="38"/>
                                    </a:lnTo>
                                    <a:lnTo>
                                      <a:pt x="30" y="34"/>
                                    </a:lnTo>
                                    <a:lnTo>
                                      <a:pt x="34" y="32"/>
                                    </a:lnTo>
                                    <a:lnTo>
                                      <a:pt x="34" y="32"/>
                                    </a:lnTo>
                                    <a:lnTo>
                                      <a:pt x="38" y="28"/>
                                    </a:lnTo>
                                    <a:lnTo>
                                      <a:pt x="42" y="26"/>
                                    </a:lnTo>
                                    <a:lnTo>
                                      <a:pt x="44" y="26"/>
                                    </a:lnTo>
                                    <a:lnTo>
                                      <a:pt x="44" y="26"/>
                                    </a:lnTo>
                                    <a:lnTo>
                                      <a:pt x="48" y="26"/>
                                    </a:lnTo>
                                    <a:lnTo>
                                      <a:pt x="52" y="22"/>
                                    </a:lnTo>
                                    <a:lnTo>
                                      <a:pt x="54" y="18"/>
                                    </a:lnTo>
                                    <a:lnTo>
                                      <a:pt x="52" y="14"/>
                                    </a:lnTo>
                                    <a:lnTo>
                                      <a:pt x="52" y="14"/>
                                    </a:lnTo>
                                    <a:lnTo>
                                      <a:pt x="50" y="12"/>
                                    </a:lnTo>
                                    <a:lnTo>
                                      <a:pt x="52" y="10"/>
                                    </a:lnTo>
                                    <a:lnTo>
                                      <a:pt x="54" y="8"/>
                                    </a:lnTo>
                                    <a:lnTo>
                                      <a:pt x="54" y="2"/>
                                    </a:lnTo>
                                    <a:lnTo>
                                      <a:pt x="54" y="2"/>
                                    </a:lnTo>
                                    <a:lnTo>
                                      <a:pt x="38" y="0"/>
                                    </a:lnTo>
                                    <a:lnTo>
                                      <a:pt x="38" y="0"/>
                                    </a:lnTo>
                                    <a:lnTo>
                                      <a:pt x="32" y="0"/>
                                    </a:lnTo>
                                    <a:lnTo>
                                      <a:pt x="26" y="2"/>
                                    </a:lnTo>
                                    <a:lnTo>
                                      <a:pt x="14" y="4"/>
                                    </a:lnTo>
                                    <a:lnTo>
                                      <a:pt x="14" y="4"/>
                                    </a:lnTo>
                                    <a:lnTo>
                                      <a:pt x="6" y="4"/>
                                    </a:lnTo>
                                    <a:lnTo>
                                      <a:pt x="4" y="6"/>
                                    </a:lnTo>
                                    <a:lnTo>
                                      <a:pt x="4" y="8"/>
                                    </a:lnTo>
                                    <a:lnTo>
                                      <a:pt x="0" y="10"/>
                                    </a:lnTo>
                                    <a:lnTo>
                                      <a:pt x="0" y="10"/>
                                    </a:lnTo>
                                    <a:lnTo>
                                      <a:pt x="2" y="12"/>
                                    </a:lnTo>
                                    <a:lnTo>
                                      <a:pt x="8" y="10"/>
                                    </a:lnTo>
                                    <a:lnTo>
                                      <a:pt x="8" y="10"/>
                                    </a:lnTo>
                                    <a:lnTo>
                                      <a:pt x="2" y="14"/>
                                    </a:lnTo>
                                    <a:lnTo>
                                      <a:pt x="4" y="14"/>
                                    </a:lnTo>
                                    <a:lnTo>
                                      <a:pt x="6" y="16"/>
                                    </a:lnTo>
                                    <a:lnTo>
                                      <a:pt x="6" y="16"/>
                                    </a:lnTo>
                                    <a:lnTo>
                                      <a:pt x="10" y="18"/>
                                    </a:lnTo>
                                    <a:lnTo>
                                      <a:pt x="12" y="16"/>
                                    </a:lnTo>
                                    <a:lnTo>
                                      <a:pt x="12" y="16"/>
                                    </a:lnTo>
                                    <a:lnTo>
                                      <a:pt x="14" y="16"/>
                                    </a:lnTo>
                                    <a:lnTo>
                                      <a:pt x="14" y="16"/>
                                    </a:lnTo>
                                    <a:lnTo>
                                      <a:pt x="14" y="16"/>
                                    </a:lnTo>
                                    <a:lnTo>
                                      <a:pt x="14" y="18"/>
                                    </a:lnTo>
                                    <a:lnTo>
                                      <a:pt x="12" y="18"/>
                                    </a:lnTo>
                                    <a:lnTo>
                                      <a:pt x="12" y="20"/>
                                    </a:lnTo>
                                    <a:lnTo>
                                      <a:pt x="12" y="20"/>
                                    </a:lnTo>
                                    <a:lnTo>
                                      <a:pt x="16" y="20"/>
                                    </a:lnTo>
                                    <a:lnTo>
                                      <a:pt x="20" y="18"/>
                                    </a:lnTo>
                                    <a:lnTo>
                                      <a:pt x="26" y="16"/>
                                    </a:lnTo>
                                    <a:lnTo>
                                      <a:pt x="30" y="18"/>
                                    </a:lnTo>
                                    <a:lnTo>
                                      <a:pt x="30" y="18"/>
                                    </a:lnTo>
                                    <a:lnTo>
                                      <a:pt x="30" y="18"/>
                                    </a:lnTo>
                                    <a:lnTo>
                                      <a:pt x="26" y="18"/>
                                    </a:lnTo>
                                    <a:lnTo>
                                      <a:pt x="22" y="20"/>
                                    </a:lnTo>
                                    <a:lnTo>
                                      <a:pt x="14" y="22"/>
                                    </a:lnTo>
                                    <a:lnTo>
                                      <a:pt x="14" y="22"/>
                                    </a:lnTo>
                                    <a:lnTo>
                                      <a:pt x="16" y="24"/>
                                    </a:lnTo>
                                    <a:lnTo>
                                      <a:pt x="16" y="26"/>
                                    </a:lnTo>
                                    <a:lnTo>
                                      <a:pt x="18" y="26"/>
                                    </a:lnTo>
                                    <a:lnTo>
                                      <a:pt x="20" y="26"/>
                                    </a:lnTo>
                                    <a:lnTo>
                                      <a:pt x="20" y="26"/>
                                    </a:lnTo>
                                    <a:lnTo>
                                      <a:pt x="20" y="26"/>
                                    </a:lnTo>
                                    <a:lnTo>
                                      <a:pt x="22" y="24"/>
                                    </a:lnTo>
                                    <a:lnTo>
                                      <a:pt x="24" y="22"/>
                                    </a:lnTo>
                                    <a:lnTo>
                                      <a:pt x="28" y="20"/>
                                    </a:lnTo>
                                    <a:lnTo>
                                      <a:pt x="28" y="20"/>
                                    </a:lnTo>
                                    <a:lnTo>
                                      <a:pt x="26" y="24"/>
                                    </a:lnTo>
                                    <a:lnTo>
                                      <a:pt x="26" y="26"/>
                                    </a:lnTo>
                                    <a:lnTo>
                                      <a:pt x="28" y="28"/>
                                    </a:lnTo>
                                    <a:lnTo>
                                      <a:pt x="26" y="26"/>
                                    </a:lnTo>
                                    <a:lnTo>
                                      <a:pt x="26" y="26"/>
                                    </a:lnTo>
                                    <a:lnTo>
                                      <a:pt x="24" y="26"/>
                                    </a:lnTo>
                                    <a:lnTo>
                                      <a:pt x="22" y="28"/>
                                    </a:lnTo>
                                    <a:lnTo>
                                      <a:pt x="22" y="32"/>
                                    </a:lnTo>
                                    <a:lnTo>
                                      <a:pt x="22" y="32"/>
                                    </a:lnTo>
                                    <a:lnTo>
                                      <a:pt x="24" y="32"/>
                                    </a:lnTo>
                                    <a:lnTo>
                                      <a:pt x="24" y="34"/>
                                    </a:lnTo>
                                    <a:lnTo>
                                      <a:pt x="24" y="36"/>
                                    </a:lnTo>
                                    <a:lnTo>
                                      <a:pt x="28" y="38"/>
                                    </a:lnTo>
                                    <a:lnTo>
                                      <a:pt x="28" y="3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1" name="El Salvador"/>
                              <p:cNvSpPr>
                                <a:spLocks/>
                              </p:cNvSpPr>
                              <p:nvPr/>
                            </p:nvSpPr>
                            <p:spPr bwMode="auto">
                              <a:xfrm>
                                <a:off x="2910220" y="3135987"/>
                                <a:ext cx="78979" cy="42488"/>
                              </a:xfrm>
                              <a:custGeom>
                                <a:avLst/>
                                <a:gdLst/>
                                <a:ahLst/>
                                <a:cxnLst>
                                  <a:cxn ang="0">
                                    <a:pos x="18" y="0"/>
                                  </a:cxn>
                                  <a:cxn ang="0">
                                    <a:pos x="18" y="0"/>
                                  </a:cxn>
                                  <a:cxn ang="0">
                                    <a:pos x="24" y="0"/>
                                  </a:cxn>
                                  <a:cxn ang="0">
                                    <a:pos x="24" y="2"/>
                                  </a:cxn>
                                  <a:cxn ang="0">
                                    <a:pos x="26" y="4"/>
                                  </a:cxn>
                                  <a:cxn ang="0">
                                    <a:pos x="28" y="2"/>
                                  </a:cxn>
                                  <a:cxn ang="0">
                                    <a:pos x="28" y="2"/>
                                  </a:cxn>
                                  <a:cxn ang="0">
                                    <a:pos x="32" y="4"/>
                                  </a:cxn>
                                  <a:cxn ang="0">
                                    <a:pos x="34" y="6"/>
                                  </a:cxn>
                                  <a:cxn ang="0">
                                    <a:pos x="36" y="10"/>
                                  </a:cxn>
                                  <a:cxn ang="0">
                                    <a:pos x="40" y="12"/>
                                  </a:cxn>
                                  <a:cxn ang="0">
                                    <a:pos x="40" y="12"/>
                                  </a:cxn>
                                  <a:cxn ang="0">
                                    <a:pos x="46" y="12"/>
                                  </a:cxn>
                                  <a:cxn ang="0">
                                    <a:pos x="48" y="14"/>
                                  </a:cxn>
                                  <a:cxn ang="0">
                                    <a:pos x="48" y="16"/>
                                  </a:cxn>
                                  <a:cxn ang="0">
                                    <a:pos x="50" y="18"/>
                                  </a:cxn>
                                  <a:cxn ang="0">
                                    <a:pos x="50" y="18"/>
                                  </a:cxn>
                                  <a:cxn ang="0">
                                    <a:pos x="50" y="18"/>
                                  </a:cxn>
                                  <a:cxn ang="0">
                                    <a:pos x="50" y="20"/>
                                  </a:cxn>
                                  <a:cxn ang="0">
                                    <a:pos x="50" y="22"/>
                                  </a:cxn>
                                  <a:cxn ang="0">
                                    <a:pos x="52" y="24"/>
                                  </a:cxn>
                                  <a:cxn ang="0">
                                    <a:pos x="52" y="24"/>
                                  </a:cxn>
                                  <a:cxn ang="0">
                                    <a:pos x="38" y="28"/>
                                  </a:cxn>
                                  <a:cxn ang="0">
                                    <a:pos x="30" y="26"/>
                                  </a:cxn>
                                  <a:cxn ang="0">
                                    <a:pos x="24" y="24"/>
                                  </a:cxn>
                                  <a:cxn ang="0">
                                    <a:pos x="16" y="22"/>
                                  </a:cxn>
                                  <a:cxn ang="0">
                                    <a:pos x="16" y="22"/>
                                  </a:cxn>
                                  <a:cxn ang="0">
                                    <a:pos x="6" y="18"/>
                                  </a:cxn>
                                  <a:cxn ang="0">
                                    <a:pos x="0" y="16"/>
                                  </a:cxn>
                                  <a:cxn ang="0">
                                    <a:pos x="0" y="16"/>
                                  </a:cxn>
                                  <a:cxn ang="0">
                                    <a:pos x="4" y="10"/>
                                  </a:cxn>
                                  <a:cxn ang="0">
                                    <a:pos x="6" y="8"/>
                                  </a:cxn>
                                  <a:cxn ang="0">
                                    <a:pos x="10" y="8"/>
                                  </a:cxn>
                                  <a:cxn ang="0">
                                    <a:pos x="12" y="4"/>
                                  </a:cxn>
                                  <a:cxn ang="0">
                                    <a:pos x="12" y="4"/>
                                  </a:cxn>
                                  <a:cxn ang="0">
                                    <a:pos x="14" y="0"/>
                                  </a:cxn>
                                  <a:cxn ang="0">
                                    <a:pos x="18" y="0"/>
                                  </a:cxn>
                                  <a:cxn ang="0">
                                    <a:pos x="18" y="0"/>
                                  </a:cxn>
                                </a:cxnLst>
                                <a:rect l="0" t="0" r="r" b="b"/>
                                <a:pathLst>
                                  <a:path w="52" h="28">
                                    <a:moveTo>
                                      <a:pt x="18" y="0"/>
                                    </a:moveTo>
                                    <a:lnTo>
                                      <a:pt x="18" y="0"/>
                                    </a:lnTo>
                                    <a:lnTo>
                                      <a:pt x="24" y="0"/>
                                    </a:lnTo>
                                    <a:lnTo>
                                      <a:pt x="24" y="2"/>
                                    </a:lnTo>
                                    <a:lnTo>
                                      <a:pt x="26" y="4"/>
                                    </a:lnTo>
                                    <a:lnTo>
                                      <a:pt x="28" y="2"/>
                                    </a:lnTo>
                                    <a:lnTo>
                                      <a:pt x="28" y="2"/>
                                    </a:lnTo>
                                    <a:lnTo>
                                      <a:pt x="32" y="4"/>
                                    </a:lnTo>
                                    <a:lnTo>
                                      <a:pt x="34" y="6"/>
                                    </a:lnTo>
                                    <a:lnTo>
                                      <a:pt x="36" y="10"/>
                                    </a:lnTo>
                                    <a:lnTo>
                                      <a:pt x="40" y="12"/>
                                    </a:lnTo>
                                    <a:lnTo>
                                      <a:pt x="40" y="12"/>
                                    </a:lnTo>
                                    <a:lnTo>
                                      <a:pt x="46" y="12"/>
                                    </a:lnTo>
                                    <a:lnTo>
                                      <a:pt x="48" y="14"/>
                                    </a:lnTo>
                                    <a:lnTo>
                                      <a:pt x="48" y="16"/>
                                    </a:lnTo>
                                    <a:lnTo>
                                      <a:pt x="50" y="18"/>
                                    </a:lnTo>
                                    <a:lnTo>
                                      <a:pt x="50" y="18"/>
                                    </a:lnTo>
                                    <a:lnTo>
                                      <a:pt x="50" y="18"/>
                                    </a:lnTo>
                                    <a:lnTo>
                                      <a:pt x="50" y="20"/>
                                    </a:lnTo>
                                    <a:lnTo>
                                      <a:pt x="50" y="22"/>
                                    </a:lnTo>
                                    <a:lnTo>
                                      <a:pt x="52" y="24"/>
                                    </a:lnTo>
                                    <a:lnTo>
                                      <a:pt x="52" y="24"/>
                                    </a:lnTo>
                                    <a:lnTo>
                                      <a:pt x="38" y="28"/>
                                    </a:lnTo>
                                    <a:lnTo>
                                      <a:pt x="30" y="26"/>
                                    </a:lnTo>
                                    <a:lnTo>
                                      <a:pt x="24" y="24"/>
                                    </a:lnTo>
                                    <a:lnTo>
                                      <a:pt x="16" y="22"/>
                                    </a:lnTo>
                                    <a:lnTo>
                                      <a:pt x="16" y="22"/>
                                    </a:lnTo>
                                    <a:lnTo>
                                      <a:pt x="6" y="18"/>
                                    </a:lnTo>
                                    <a:lnTo>
                                      <a:pt x="0" y="16"/>
                                    </a:lnTo>
                                    <a:lnTo>
                                      <a:pt x="0" y="16"/>
                                    </a:lnTo>
                                    <a:lnTo>
                                      <a:pt x="4" y="10"/>
                                    </a:lnTo>
                                    <a:lnTo>
                                      <a:pt x="6" y="8"/>
                                    </a:lnTo>
                                    <a:lnTo>
                                      <a:pt x="10" y="8"/>
                                    </a:lnTo>
                                    <a:lnTo>
                                      <a:pt x="12" y="4"/>
                                    </a:lnTo>
                                    <a:lnTo>
                                      <a:pt x="12" y="4"/>
                                    </a:lnTo>
                                    <a:lnTo>
                                      <a:pt x="14" y="0"/>
                                    </a:lnTo>
                                    <a:lnTo>
                                      <a:pt x="18" y="0"/>
                                    </a:lnTo>
                                    <a:lnTo>
                                      <a:pt x="18" y="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9" name="Armenia"/>
                              <p:cNvSpPr>
                                <a:spLocks/>
                              </p:cNvSpPr>
                              <p:nvPr/>
                            </p:nvSpPr>
                            <p:spPr bwMode="auto">
                              <a:xfrm>
                                <a:off x="7057236" y="2148427"/>
                                <a:ext cx="112393" cy="72836"/>
                              </a:xfrm>
                              <a:custGeom>
                                <a:avLst/>
                                <a:gdLst/>
                                <a:ahLst/>
                                <a:cxnLst>
                                  <a:cxn ang="0">
                                    <a:pos x="28" y="0"/>
                                  </a:cxn>
                                  <a:cxn ang="0">
                                    <a:pos x="28" y="0"/>
                                  </a:cxn>
                                  <a:cxn ang="0">
                                    <a:pos x="34" y="2"/>
                                  </a:cxn>
                                  <a:cxn ang="0">
                                    <a:pos x="40" y="6"/>
                                  </a:cxn>
                                  <a:cxn ang="0">
                                    <a:pos x="40" y="6"/>
                                  </a:cxn>
                                  <a:cxn ang="0">
                                    <a:pos x="44" y="8"/>
                                  </a:cxn>
                                  <a:cxn ang="0">
                                    <a:pos x="44" y="12"/>
                                  </a:cxn>
                                  <a:cxn ang="0">
                                    <a:pos x="44" y="12"/>
                                  </a:cxn>
                                  <a:cxn ang="0">
                                    <a:pos x="46" y="18"/>
                                  </a:cxn>
                                  <a:cxn ang="0">
                                    <a:pos x="48" y="18"/>
                                  </a:cxn>
                                  <a:cxn ang="0">
                                    <a:pos x="50" y="20"/>
                                  </a:cxn>
                                  <a:cxn ang="0">
                                    <a:pos x="52" y="24"/>
                                  </a:cxn>
                                  <a:cxn ang="0">
                                    <a:pos x="52" y="24"/>
                                  </a:cxn>
                                  <a:cxn ang="0">
                                    <a:pos x="52" y="30"/>
                                  </a:cxn>
                                  <a:cxn ang="0">
                                    <a:pos x="56" y="32"/>
                                  </a:cxn>
                                  <a:cxn ang="0">
                                    <a:pos x="62" y="36"/>
                                  </a:cxn>
                                  <a:cxn ang="0">
                                    <a:pos x="70" y="38"/>
                                  </a:cxn>
                                  <a:cxn ang="0">
                                    <a:pos x="72" y="40"/>
                                  </a:cxn>
                                  <a:cxn ang="0">
                                    <a:pos x="74" y="42"/>
                                  </a:cxn>
                                  <a:cxn ang="0">
                                    <a:pos x="74" y="42"/>
                                  </a:cxn>
                                  <a:cxn ang="0">
                                    <a:pos x="64" y="48"/>
                                  </a:cxn>
                                  <a:cxn ang="0">
                                    <a:pos x="64" y="48"/>
                                  </a:cxn>
                                  <a:cxn ang="0">
                                    <a:pos x="58" y="42"/>
                                  </a:cxn>
                                  <a:cxn ang="0">
                                    <a:pos x="52" y="40"/>
                                  </a:cxn>
                                  <a:cxn ang="0">
                                    <a:pos x="46" y="38"/>
                                  </a:cxn>
                                  <a:cxn ang="0">
                                    <a:pos x="40" y="38"/>
                                  </a:cxn>
                                  <a:cxn ang="0">
                                    <a:pos x="40" y="38"/>
                                  </a:cxn>
                                  <a:cxn ang="0">
                                    <a:pos x="38" y="36"/>
                                  </a:cxn>
                                  <a:cxn ang="0">
                                    <a:pos x="34" y="34"/>
                                  </a:cxn>
                                  <a:cxn ang="0">
                                    <a:pos x="28" y="30"/>
                                  </a:cxn>
                                  <a:cxn ang="0">
                                    <a:pos x="28" y="30"/>
                                  </a:cxn>
                                  <a:cxn ang="0">
                                    <a:pos x="24" y="26"/>
                                  </a:cxn>
                                  <a:cxn ang="0">
                                    <a:pos x="22" y="24"/>
                                  </a:cxn>
                                  <a:cxn ang="0">
                                    <a:pos x="20" y="22"/>
                                  </a:cxn>
                                  <a:cxn ang="0">
                                    <a:pos x="12" y="20"/>
                                  </a:cxn>
                                  <a:cxn ang="0">
                                    <a:pos x="12" y="20"/>
                                  </a:cxn>
                                  <a:cxn ang="0">
                                    <a:pos x="6" y="18"/>
                                  </a:cxn>
                                  <a:cxn ang="0">
                                    <a:pos x="4" y="18"/>
                                  </a:cxn>
                                  <a:cxn ang="0">
                                    <a:pos x="4" y="16"/>
                                  </a:cxn>
                                  <a:cxn ang="0">
                                    <a:pos x="4" y="12"/>
                                  </a:cxn>
                                  <a:cxn ang="0">
                                    <a:pos x="4" y="8"/>
                                  </a:cxn>
                                  <a:cxn ang="0">
                                    <a:pos x="4" y="6"/>
                                  </a:cxn>
                                  <a:cxn ang="0">
                                    <a:pos x="0" y="2"/>
                                  </a:cxn>
                                  <a:cxn ang="0">
                                    <a:pos x="0" y="2"/>
                                  </a:cxn>
                                  <a:cxn ang="0">
                                    <a:pos x="18" y="2"/>
                                  </a:cxn>
                                  <a:cxn ang="0">
                                    <a:pos x="28" y="0"/>
                                  </a:cxn>
                                  <a:cxn ang="0">
                                    <a:pos x="28" y="0"/>
                                  </a:cxn>
                                </a:cxnLst>
                                <a:rect l="0" t="0" r="r" b="b"/>
                                <a:pathLst>
                                  <a:path w="74" h="48">
                                    <a:moveTo>
                                      <a:pt x="28" y="0"/>
                                    </a:moveTo>
                                    <a:lnTo>
                                      <a:pt x="28" y="0"/>
                                    </a:lnTo>
                                    <a:lnTo>
                                      <a:pt x="34" y="2"/>
                                    </a:lnTo>
                                    <a:lnTo>
                                      <a:pt x="40" y="6"/>
                                    </a:lnTo>
                                    <a:lnTo>
                                      <a:pt x="40" y="6"/>
                                    </a:lnTo>
                                    <a:lnTo>
                                      <a:pt x="44" y="8"/>
                                    </a:lnTo>
                                    <a:lnTo>
                                      <a:pt x="44" y="12"/>
                                    </a:lnTo>
                                    <a:lnTo>
                                      <a:pt x="44" y="12"/>
                                    </a:lnTo>
                                    <a:lnTo>
                                      <a:pt x="46" y="18"/>
                                    </a:lnTo>
                                    <a:lnTo>
                                      <a:pt x="48" y="18"/>
                                    </a:lnTo>
                                    <a:lnTo>
                                      <a:pt x="50" y="20"/>
                                    </a:lnTo>
                                    <a:lnTo>
                                      <a:pt x="52" y="24"/>
                                    </a:lnTo>
                                    <a:lnTo>
                                      <a:pt x="52" y="24"/>
                                    </a:lnTo>
                                    <a:lnTo>
                                      <a:pt x="52" y="30"/>
                                    </a:lnTo>
                                    <a:lnTo>
                                      <a:pt x="56" y="32"/>
                                    </a:lnTo>
                                    <a:lnTo>
                                      <a:pt x="62" y="36"/>
                                    </a:lnTo>
                                    <a:lnTo>
                                      <a:pt x="70" y="38"/>
                                    </a:lnTo>
                                    <a:lnTo>
                                      <a:pt x="72" y="40"/>
                                    </a:lnTo>
                                    <a:lnTo>
                                      <a:pt x="74" y="42"/>
                                    </a:lnTo>
                                    <a:lnTo>
                                      <a:pt x="74" y="42"/>
                                    </a:lnTo>
                                    <a:lnTo>
                                      <a:pt x="64" y="48"/>
                                    </a:lnTo>
                                    <a:lnTo>
                                      <a:pt x="64" y="48"/>
                                    </a:lnTo>
                                    <a:lnTo>
                                      <a:pt x="58" y="42"/>
                                    </a:lnTo>
                                    <a:lnTo>
                                      <a:pt x="52" y="40"/>
                                    </a:lnTo>
                                    <a:lnTo>
                                      <a:pt x="46" y="38"/>
                                    </a:lnTo>
                                    <a:lnTo>
                                      <a:pt x="40" y="38"/>
                                    </a:lnTo>
                                    <a:lnTo>
                                      <a:pt x="40" y="38"/>
                                    </a:lnTo>
                                    <a:lnTo>
                                      <a:pt x="38" y="36"/>
                                    </a:lnTo>
                                    <a:lnTo>
                                      <a:pt x="34" y="34"/>
                                    </a:lnTo>
                                    <a:lnTo>
                                      <a:pt x="28" y="30"/>
                                    </a:lnTo>
                                    <a:lnTo>
                                      <a:pt x="28" y="30"/>
                                    </a:lnTo>
                                    <a:lnTo>
                                      <a:pt x="24" y="26"/>
                                    </a:lnTo>
                                    <a:lnTo>
                                      <a:pt x="22" y="24"/>
                                    </a:lnTo>
                                    <a:lnTo>
                                      <a:pt x="20" y="22"/>
                                    </a:lnTo>
                                    <a:lnTo>
                                      <a:pt x="12" y="20"/>
                                    </a:lnTo>
                                    <a:lnTo>
                                      <a:pt x="12" y="20"/>
                                    </a:lnTo>
                                    <a:lnTo>
                                      <a:pt x="6" y="18"/>
                                    </a:lnTo>
                                    <a:lnTo>
                                      <a:pt x="4" y="18"/>
                                    </a:lnTo>
                                    <a:lnTo>
                                      <a:pt x="4" y="16"/>
                                    </a:lnTo>
                                    <a:lnTo>
                                      <a:pt x="4" y="12"/>
                                    </a:lnTo>
                                    <a:lnTo>
                                      <a:pt x="4" y="8"/>
                                    </a:lnTo>
                                    <a:lnTo>
                                      <a:pt x="4" y="6"/>
                                    </a:lnTo>
                                    <a:lnTo>
                                      <a:pt x="0" y="2"/>
                                    </a:lnTo>
                                    <a:lnTo>
                                      <a:pt x="0" y="2"/>
                                    </a:lnTo>
                                    <a:lnTo>
                                      <a:pt x="18" y="2"/>
                                    </a:lnTo>
                                    <a:lnTo>
                                      <a:pt x="28" y="0"/>
                                    </a:lnTo>
                                    <a:lnTo>
                                      <a:pt x="28" y="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3" name="Botswana &amp; Zimbabwe"/>
                              <p:cNvSpPr>
                                <a:spLocks/>
                              </p:cNvSpPr>
                              <p:nvPr/>
                            </p:nvSpPr>
                            <p:spPr bwMode="auto">
                              <a:xfrm>
                                <a:off x="6486159" y="4009942"/>
                                <a:ext cx="379705" cy="373285"/>
                              </a:xfrm>
                              <a:custGeom>
                                <a:avLst/>
                                <a:gdLst/>
                                <a:ahLst/>
                                <a:cxnLst>
                                  <a:cxn ang="0">
                                    <a:pos x="168" y="186"/>
                                  </a:cxn>
                                  <a:cxn ang="0">
                                    <a:pos x="166" y="178"/>
                                  </a:cxn>
                                  <a:cxn ang="0">
                                    <a:pos x="202" y="166"/>
                                  </a:cxn>
                                  <a:cxn ang="0">
                                    <a:pos x="234" y="152"/>
                                  </a:cxn>
                                  <a:cxn ang="0">
                                    <a:pos x="228" y="152"/>
                                  </a:cxn>
                                  <a:cxn ang="0">
                                    <a:pos x="224" y="150"/>
                                  </a:cxn>
                                  <a:cxn ang="0">
                                    <a:pos x="226" y="142"/>
                                  </a:cxn>
                                  <a:cxn ang="0">
                                    <a:pos x="230" y="128"/>
                                  </a:cxn>
                                  <a:cxn ang="0">
                                    <a:pos x="240" y="120"/>
                                  </a:cxn>
                                  <a:cxn ang="0">
                                    <a:pos x="246" y="112"/>
                                  </a:cxn>
                                  <a:cxn ang="0">
                                    <a:pos x="242" y="112"/>
                                  </a:cxn>
                                  <a:cxn ang="0">
                                    <a:pos x="240" y="92"/>
                                  </a:cxn>
                                  <a:cxn ang="0">
                                    <a:pos x="248" y="72"/>
                                  </a:cxn>
                                  <a:cxn ang="0">
                                    <a:pos x="248" y="66"/>
                                  </a:cxn>
                                  <a:cxn ang="0">
                                    <a:pos x="246" y="56"/>
                                  </a:cxn>
                                  <a:cxn ang="0">
                                    <a:pos x="244" y="46"/>
                                  </a:cxn>
                                  <a:cxn ang="0">
                                    <a:pos x="244" y="36"/>
                                  </a:cxn>
                                  <a:cxn ang="0">
                                    <a:pos x="218" y="24"/>
                                  </a:cxn>
                                  <a:cxn ang="0">
                                    <a:pos x="200" y="14"/>
                                  </a:cxn>
                                  <a:cxn ang="0">
                                    <a:pos x="190" y="12"/>
                                  </a:cxn>
                                  <a:cxn ang="0">
                                    <a:pos x="184" y="4"/>
                                  </a:cxn>
                                  <a:cxn ang="0">
                                    <a:pos x="154" y="10"/>
                                  </a:cxn>
                                  <a:cxn ang="0">
                                    <a:pos x="156" y="20"/>
                                  </a:cxn>
                                  <a:cxn ang="0">
                                    <a:pos x="148" y="30"/>
                                  </a:cxn>
                                  <a:cxn ang="0">
                                    <a:pos x="154" y="40"/>
                                  </a:cxn>
                                  <a:cxn ang="0">
                                    <a:pos x="152" y="48"/>
                                  </a:cxn>
                                  <a:cxn ang="0">
                                    <a:pos x="146" y="60"/>
                                  </a:cxn>
                                  <a:cxn ang="0">
                                    <a:pos x="142" y="68"/>
                                  </a:cxn>
                                  <a:cxn ang="0">
                                    <a:pos x="144" y="86"/>
                                  </a:cxn>
                                  <a:cxn ang="0">
                                    <a:pos x="142" y="92"/>
                                  </a:cxn>
                                  <a:cxn ang="0">
                                    <a:pos x="158" y="104"/>
                                  </a:cxn>
                                  <a:cxn ang="0">
                                    <a:pos x="164" y="102"/>
                                  </a:cxn>
                                  <a:cxn ang="0">
                                    <a:pos x="160" y="126"/>
                                  </a:cxn>
                                  <a:cxn ang="0">
                                    <a:pos x="156" y="122"/>
                                  </a:cxn>
                                  <a:cxn ang="0">
                                    <a:pos x="144" y="118"/>
                                  </a:cxn>
                                  <a:cxn ang="0">
                                    <a:pos x="130" y="104"/>
                                  </a:cxn>
                                  <a:cxn ang="0">
                                    <a:pos x="114" y="96"/>
                                  </a:cxn>
                                  <a:cxn ang="0">
                                    <a:pos x="104" y="94"/>
                                  </a:cxn>
                                  <a:cxn ang="0">
                                    <a:pos x="92" y="94"/>
                                  </a:cxn>
                                  <a:cxn ang="0">
                                    <a:pos x="80" y="92"/>
                                  </a:cxn>
                                  <a:cxn ang="0">
                                    <a:pos x="72" y="86"/>
                                  </a:cxn>
                                  <a:cxn ang="0">
                                    <a:pos x="72" y="78"/>
                                  </a:cxn>
                                  <a:cxn ang="0">
                                    <a:pos x="60" y="78"/>
                                  </a:cxn>
                                  <a:cxn ang="0">
                                    <a:pos x="50" y="74"/>
                                  </a:cxn>
                                  <a:cxn ang="0">
                                    <a:pos x="46" y="80"/>
                                  </a:cxn>
                                  <a:cxn ang="0">
                                    <a:pos x="48" y="100"/>
                                  </a:cxn>
                                  <a:cxn ang="0">
                                    <a:pos x="48" y="120"/>
                                  </a:cxn>
                                  <a:cxn ang="0">
                                    <a:pos x="0" y="124"/>
                                  </a:cxn>
                                  <a:cxn ang="0">
                                    <a:pos x="0" y="220"/>
                                  </a:cxn>
                                  <a:cxn ang="0">
                                    <a:pos x="4" y="228"/>
                                  </a:cxn>
                                  <a:cxn ang="0">
                                    <a:pos x="16" y="238"/>
                                  </a:cxn>
                                  <a:cxn ang="0">
                                    <a:pos x="26" y="238"/>
                                  </a:cxn>
                                  <a:cxn ang="0">
                                    <a:pos x="42" y="238"/>
                                  </a:cxn>
                                  <a:cxn ang="0">
                                    <a:pos x="56" y="242"/>
                                  </a:cxn>
                                  <a:cxn ang="0">
                                    <a:pos x="76" y="244"/>
                                  </a:cxn>
                                  <a:cxn ang="0">
                                    <a:pos x="94" y="244"/>
                                  </a:cxn>
                                  <a:cxn ang="0">
                                    <a:pos x="104" y="242"/>
                                  </a:cxn>
                                  <a:cxn ang="0">
                                    <a:pos x="114" y="240"/>
                                  </a:cxn>
                                  <a:cxn ang="0">
                                    <a:pos x="126" y="216"/>
                                  </a:cxn>
                                  <a:cxn ang="0">
                                    <a:pos x="146" y="200"/>
                                  </a:cxn>
                                  <a:cxn ang="0">
                                    <a:pos x="156" y="194"/>
                                  </a:cxn>
                                  <a:cxn ang="0">
                                    <a:pos x="156" y="194"/>
                                  </a:cxn>
                                </a:cxnLst>
                                <a:rect l="0" t="0" r="r" b="b"/>
                                <a:pathLst>
                                  <a:path w="250" h="246">
                                    <a:moveTo>
                                      <a:pt x="170" y="190"/>
                                    </a:moveTo>
                                    <a:lnTo>
                                      <a:pt x="170" y="190"/>
                                    </a:lnTo>
                                    <a:lnTo>
                                      <a:pt x="168" y="186"/>
                                    </a:lnTo>
                                    <a:lnTo>
                                      <a:pt x="168" y="182"/>
                                    </a:lnTo>
                                    <a:lnTo>
                                      <a:pt x="168" y="182"/>
                                    </a:lnTo>
                                    <a:lnTo>
                                      <a:pt x="166" y="178"/>
                                    </a:lnTo>
                                    <a:lnTo>
                                      <a:pt x="166" y="178"/>
                                    </a:lnTo>
                                    <a:lnTo>
                                      <a:pt x="182" y="172"/>
                                    </a:lnTo>
                                    <a:lnTo>
                                      <a:pt x="202" y="166"/>
                                    </a:lnTo>
                                    <a:lnTo>
                                      <a:pt x="202" y="166"/>
                                    </a:lnTo>
                                    <a:lnTo>
                                      <a:pt x="218" y="160"/>
                                    </a:lnTo>
                                    <a:lnTo>
                                      <a:pt x="234" y="152"/>
                                    </a:lnTo>
                                    <a:lnTo>
                                      <a:pt x="234" y="152"/>
                                    </a:lnTo>
                                    <a:lnTo>
                                      <a:pt x="230" y="152"/>
                                    </a:lnTo>
                                    <a:lnTo>
                                      <a:pt x="228" y="152"/>
                                    </a:lnTo>
                                    <a:lnTo>
                                      <a:pt x="226" y="152"/>
                                    </a:lnTo>
                                    <a:lnTo>
                                      <a:pt x="224" y="150"/>
                                    </a:lnTo>
                                    <a:lnTo>
                                      <a:pt x="224" y="150"/>
                                    </a:lnTo>
                                    <a:lnTo>
                                      <a:pt x="224" y="148"/>
                                    </a:lnTo>
                                    <a:lnTo>
                                      <a:pt x="224" y="146"/>
                                    </a:lnTo>
                                    <a:lnTo>
                                      <a:pt x="226" y="142"/>
                                    </a:lnTo>
                                    <a:lnTo>
                                      <a:pt x="228" y="134"/>
                                    </a:lnTo>
                                    <a:lnTo>
                                      <a:pt x="228" y="134"/>
                                    </a:lnTo>
                                    <a:lnTo>
                                      <a:pt x="230" y="128"/>
                                    </a:lnTo>
                                    <a:lnTo>
                                      <a:pt x="232" y="124"/>
                                    </a:lnTo>
                                    <a:lnTo>
                                      <a:pt x="240" y="120"/>
                                    </a:lnTo>
                                    <a:lnTo>
                                      <a:pt x="240" y="120"/>
                                    </a:lnTo>
                                    <a:lnTo>
                                      <a:pt x="244" y="116"/>
                                    </a:lnTo>
                                    <a:lnTo>
                                      <a:pt x="246" y="114"/>
                                    </a:lnTo>
                                    <a:lnTo>
                                      <a:pt x="246" y="112"/>
                                    </a:lnTo>
                                    <a:lnTo>
                                      <a:pt x="244" y="112"/>
                                    </a:lnTo>
                                    <a:lnTo>
                                      <a:pt x="244" y="112"/>
                                    </a:lnTo>
                                    <a:lnTo>
                                      <a:pt x="242" y="112"/>
                                    </a:lnTo>
                                    <a:lnTo>
                                      <a:pt x="242" y="108"/>
                                    </a:lnTo>
                                    <a:lnTo>
                                      <a:pt x="240" y="92"/>
                                    </a:lnTo>
                                    <a:lnTo>
                                      <a:pt x="240" y="92"/>
                                    </a:lnTo>
                                    <a:lnTo>
                                      <a:pt x="242" y="78"/>
                                    </a:lnTo>
                                    <a:lnTo>
                                      <a:pt x="244" y="74"/>
                                    </a:lnTo>
                                    <a:lnTo>
                                      <a:pt x="248" y="72"/>
                                    </a:lnTo>
                                    <a:lnTo>
                                      <a:pt x="248" y="72"/>
                                    </a:lnTo>
                                    <a:lnTo>
                                      <a:pt x="250" y="68"/>
                                    </a:lnTo>
                                    <a:lnTo>
                                      <a:pt x="248" y="66"/>
                                    </a:lnTo>
                                    <a:lnTo>
                                      <a:pt x="246" y="62"/>
                                    </a:lnTo>
                                    <a:lnTo>
                                      <a:pt x="246" y="56"/>
                                    </a:lnTo>
                                    <a:lnTo>
                                      <a:pt x="246" y="56"/>
                                    </a:lnTo>
                                    <a:lnTo>
                                      <a:pt x="248" y="52"/>
                                    </a:lnTo>
                                    <a:lnTo>
                                      <a:pt x="248" y="50"/>
                                    </a:lnTo>
                                    <a:lnTo>
                                      <a:pt x="244" y="46"/>
                                    </a:lnTo>
                                    <a:lnTo>
                                      <a:pt x="242" y="42"/>
                                    </a:lnTo>
                                    <a:lnTo>
                                      <a:pt x="242" y="38"/>
                                    </a:lnTo>
                                    <a:lnTo>
                                      <a:pt x="244" y="36"/>
                                    </a:lnTo>
                                    <a:lnTo>
                                      <a:pt x="244" y="36"/>
                                    </a:lnTo>
                                    <a:lnTo>
                                      <a:pt x="226" y="30"/>
                                    </a:lnTo>
                                    <a:lnTo>
                                      <a:pt x="218" y="24"/>
                                    </a:lnTo>
                                    <a:lnTo>
                                      <a:pt x="210" y="18"/>
                                    </a:lnTo>
                                    <a:lnTo>
                                      <a:pt x="200" y="14"/>
                                    </a:lnTo>
                                    <a:lnTo>
                                      <a:pt x="200" y="14"/>
                                    </a:lnTo>
                                    <a:lnTo>
                                      <a:pt x="194" y="14"/>
                                    </a:lnTo>
                                    <a:lnTo>
                                      <a:pt x="192" y="14"/>
                                    </a:lnTo>
                                    <a:lnTo>
                                      <a:pt x="190" y="12"/>
                                    </a:lnTo>
                                    <a:lnTo>
                                      <a:pt x="190" y="12"/>
                                    </a:lnTo>
                                    <a:lnTo>
                                      <a:pt x="186" y="4"/>
                                    </a:lnTo>
                                    <a:lnTo>
                                      <a:pt x="184" y="4"/>
                                    </a:lnTo>
                                    <a:lnTo>
                                      <a:pt x="184" y="4"/>
                                    </a:lnTo>
                                    <a:lnTo>
                                      <a:pt x="184" y="0"/>
                                    </a:lnTo>
                                    <a:lnTo>
                                      <a:pt x="154" y="10"/>
                                    </a:lnTo>
                                    <a:lnTo>
                                      <a:pt x="154" y="10"/>
                                    </a:lnTo>
                                    <a:lnTo>
                                      <a:pt x="156" y="14"/>
                                    </a:lnTo>
                                    <a:lnTo>
                                      <a:pt x="156" y="20"/>
                                    </a:lnTo>
                                    <a:lnTo>
                                      <a:pt x="154" y="26"/>
                                    </a:lnTo>
                                    <a:lnTo>
                                      <a:pt x="148" y="30"/>
                                    </a:lnTo>
                                    <a:lnTo>
                                      <a:pt x="148" y="30"/>
                                    </a:lnTo>
                                    <a:lnTo>
                                      <a:pt x="150" y="36"/>
                                    </a:lnTo>
                                    <a:lnTo>
                                      <a:pt x="152" y="38"/>
                                    </a:lnTo>
                                    <a:lnTo>
                                      <a:pt x="154" y="40"/>
                                    </a:lnTo>
                                    <a:lnTo>
                                      <a:pt x="154" y="44"/>
                                    </a:lnTo>
                                    <a:lnTo>
                                      <a:pt x="154" y="44"/>
                                    </a:lnTo>
                                    <a:lnTo>
                                      <a:pt x="152" y="48"/>
                                    </a:lnTo>
                                    <a:lnTo>
                                      <a:pt x="152" y="52"/>
                                    </a:lnTo>
                                    <a:lnTo>
                                      <a:pt x="150" y="56"/>
                                    </a:lnTo>
                                    <a:lnTo>
                                      <a:pt x="146" y="60"/>
                                    </a:lnTo>
                                    <a:lnTo>
                                      <a:pt x="146" y="60"/>
                                    </a:lnTo>
                                    <a:lnTo>
                                      <a:pt x="144" y="64"/>
                                    </a:lnTo>
                                    <a:lnTo>
                                      <a:pt x="142" y="68"/>
                                    </a:lnTo>
                                    <a:lnTo>
                                      <a:pt x="142" y="76"/>
                                    </a:lnTo>
                                    <a:lnTo>
                                      <a:pt x="142" y="82"/>
                                    </a:lnTo>
                                    <a:lnTo>
                                      <a:pt x="144" y="86"/>
                                    </a:lnTo>
                                    <a:lnTo>
                                      <a:pt x="144" y="86"/>
                                    </a:lnTo>
                                    <a:lnTo>
                                      <a:pt x="142" y="88"/>
                                    </a:lnTo>
                                    <a:lnTo>
                                      <a:pt x="142" y="92"/>
                                    </a:lnTo>
                                    <a:lnTo>
                                      <a:pt x="152" y="100"/>
                                    </a:lnTo>
                                    <a:lnTo>
                                      <a:pt x="152" y="100"/>
                                    </a:lnTo>
                                    <a:lnTo>
                                      <a:pt x="158" y="104"/>
                                    </a:lnTo>
                                    <a:lnTo>
                                      <a:pt x="160" y="104"/>
                                    </a:lnTo>
                                    <a:lnTo>
                                      <a:pt x="160" y="102"/>
                                    </a:lnTo>
                                    <a:lnTo>
                                      <a:pt x="164" y="102"/>
                                    </a:lnTo>
                                    <a:lnTo>
                                      <a:pt x="164" y="128"/>
                                    </a:lnTo>
                                    <a:lnTo>
                                      <a:pt x="164" y="128"/>
                                    </a:lnTo>
                                    <a:lnTo>
                                      <a:pt x="160" y="126"/>
                                    </a:lnTo>
                                    <a:lnTo>
                                      <a:pt x="158" y="126"/>
                                    </a:lnTo>
                                    <a:lnTo>
                                      <a:pt x="156" y="122"/>
                                    </a:lnTo>
                                    <a:lnTo>
                                      <a:pt x="156" y="122"/>
                                    </a:lnTo>
                                    <a:lnTo>
                                      <a:pt x="154" y="120"/>
                                    </a:lnTo>
                                    <a:lnTo>
                                      <a:pt x="150" y="120"/>
                                    </a:lnTo>
                                    <a:lnTo>
                                      <a:pt x="144" y="118"/>
                                    </a:lnTo>
                                    <a:lnTo>
                                      <a:pt x="138" y="112"/>
                                    </a:lnTo>
                                    <a:lnTo>
                                      <a:pt x="138" y="112"/>
                                    </a:lnTo>
                                    <a:lnTo>
                                      <a:pt x="130" y="104"/>
                                    </a:lnTo>
                                    <a:lnTo>
                                      <a:pt x="124" y="102"/>
                                    </a:lnTo>
                                    <a:lnTo>
                                      <a:pt x="118" y="100"/>
                                    </a:lnTo>
                                    <a:lnTo>
                                      <a:pt x="114" y="96"/>
                                    </a:lnTo>
                                    <a:lnTo>
                                      <a:pt x="114" y="96"/>
                                    </a:lnTo>
                                    <a:lnTo>
                                      <a:pt x="108" y="92"/>
                                    </a:lnTo>
                                    <a:lnTo>
                                      <a:pt x="104" y="94"/>
                                    </a:lnTo>
                                    <a:lnTo>
                                      <a:pt x="100" y="94"/>
                                    </a:lnTo>
                                    <a:lnTo>
                                      <a:pt x="92" y="94"/>
                                    </a:lnTo>
                                    <a:lnTo>
                                      <a:pt x="92" y="94"/>
                                    </a:lnTo>
                                    <a:lnTo>
                                      <a:pt x="84" y="92"/>
                                    </a:lnTo>
                                    <a:lnTo>
                                      <a:pt x="82" y="92"/>
                                    </a:lnTo>
                                    <a:lnTo>
                                      <a:pt x="80" y="92"/>
                                    </a:lnTo>
                                    <a:lnTo>
                                      <a:pt x="76" y="90"/>
                                    </a:lnTo>
                                    <a:lnTo>
                                      <a:pt x="76" y="90"/>
                                    </a:lnTo>
                                    <a:lnTo>
                                      <a:pt x="72" y="86"/>
                                    </a:lnTo>
                                    <a:lnTo>
                                      <a:pt x="72" y="82"/>
                                    </a:lnTo>
                                    <a:lnTo>
                                      <a:pt x="72" y="78"/>
                                    </a:lnTo>
                                    <a:lnTo>
                                      <a:pt x="72" y="78"/>
                                    </a:lnTo>
                                    <a:lnTo>
                                      <a:pt x="70" y="76"/>
                                    </a:lnTo>
                                    <a:lnTo>
                                      <a:pt x="60" y="78"/>
                                    </a:lnTo>
                                    <a:lnTo>
                                      <a:pt x="60" y="78"/>
                                    </a:lnTo>
                                    <a:lnTo>
                                      <a:pt x="54" y="78"/>
                                    </a:lnTo>
                                    <a:lnTo>
                                      <a:pt x="52" y="76"/>
                                    </a:lnTo>
                                    <a:lnTo>
                                      <a:pt x="50" y="74"/>
                                    </a:lnTo>
                                    <a:lnTo>
                                      <a:pt x="48" y="72"/>
                                    </a:lnTo>
                                    <a:lnTo>
                                      <a:pt x="48" y="72"/>
                                    </a:lnTo>
                                    <a:lnTo>
                                      <a:pt x="46" y="80"/>
                                    </a:lnTo>
                                    <a:lnTo>
                                      <a:pt x="46" y="86"/>
                                    </a:lnTo>
                                    <a:lnTo>
                                      <a:pt x="46" y="90"/>
                                    </a:lnTo>
                                    <a:lnTo>
                                      <a:pt x="48" y="100"/>
                                    </a:lnTo>
                                    <a:lnTo>
                                      <a:pt x="48" y="100"/>
                                    </a:lnTo>
                                    <a:lnTo>
                                      <a:pt x="46" y="116"/>
                                    </a:lnTo>
                                    <a:lnTo>
                                      <a:pt x="48" y="120"/>
                                    </a:lnTo>
                                    <a:lnTo>
                                      <a:pt x="50" y="124"/>
                                    </a:lnTo>
                                    <a:lnTo>
                                      <a:pt x="0" y="124"/>
                                    </a:lnTo>
                                    <a:lnTo>
                                      <a:pt x="0" y="124"/>
                                    </a:lnTo>
                                    <a:lnTo>
                                      <a:pt x="0" y="218"/>
                                    </a:lnTo>
                                    <a:lnTo>
                                      <a:pt x="0" y="218"/>
                                    </a:lnTo>
                                    <a:lnTo>
                                      <a:pt x="0" y="220"/>
                                    </a:lnTo>
                                    <a:lnTo>
                                      <a:pt x="4" y="226"/>
                                    </a:lnTo>
                                    <a:lnTo>
                                      <a:pt x="4" y="226"/>
                                    </a:lnTo>
                                    <a:lnTo>
                                      <a:pt x="4" y="228"/>
                                    </a:lnTo>
                                    <a:lnTo>
                                      <a:pt x="6" y="228"/>
                                    </a:lnTo>
                                    <a:lnTo>
                                      <a:pt x="10" y="230"/>
                                    </a:lnTo>
                                    <a:lnTo>
                                      <a:pt x="16" y="238"/>
                                    </a:lnTo>
                                    <a:lnTo>
                                      <a:pt x="16" y="238"/>
                                    </a:lnTo>
                                    <a:lnTo>
                                      <a:pt x="22" y="238"/>
                                    </a:lnTo>
                                    <a:lnTo>
                                      <a:pt x="26" y="238"/>
                                    </a:lnTo>
                                    <a:lnTo>
                                      <a:pt x="32" y="238"/>
                                    </a:lnTo>
                                    <a:lnTo>
                                      <a:pt x="42" y="238"/>
                                    </a:lnTo>
                                    <a:lnTo>
                                      <a:pt x="42" y="238"/>
                                    </a:lnTo>
                                    <a:lnTo>
                                      <a:pt x="50" y="236"/>
                                    </a:lnTo>
                                    <a:lnTo>
                                      <a:pt x="54" y="238"/>
                                    </a:lnTo>
                                    <a:lnTo>
                                      <a:pt x="56" y="242"/>
                                    </a:lnTo>
                                    <a:lnTo>
                                      <a:pt x="60" y="244"/>
                                    </a:lnTo>
                                    <a:lnTo>
                                      <a:pt x="60" y="244"/>
                                    </a:lnTo>
                                    <a:lnTo>
                                      <a:pt x="76" y="244"/>
                                    </a:lnTo>
                                    <a:lnTo>
                                      <a:pt x="86" y="244"/>
                                    </a:lnTo>
                                    <a:lnTo>
                                      <a:pt x="94" y="244"/>
                                    </a:lnTo>
                                    <a:lnTo>
                                      <a:pt x="94" y="244"/>
                                    </a:lnTo>
                                    <a:lnTo>
                                      <a:pt x="98" y="246"/>
                                    </a:lnTo>
                                    <a:lnTo>
                                      <a:pt x="100" y="244"/>
                                    </a:lnTo>
                                    <a:lnTo>
                                      <a:pt x="104" y="242"/>
                                    </a:lnTo>
                                    <a:lnTo>
                                      <a:pt x="110" y="242"/>
                                    </a:lnTo>
                                    <a:lnTo>
                                      <a:pt x="110" y="242"/>
                                    </a:lnTo>
                                    <a:lnTo>
                                      <a:pt x="114" y="240"/>
                                    </a:lnTo>
                                    <a:lnTo>
                                      <a:pt x="118" y="236"/>
                                    </a:lnTo>
                                    <a:lnTo>
                                      <a:pt x="124" y="224"/>
                                    </a:lnTo>
                                    <a:lnTo>
                                      <a:pt x="126" y="216"/>
                                    </a:lnTo>
                                    <a:lnTo>
                                      <a:pt x="132" y="210"/>
                                    </a:lnTo>
                                    <a:lnTo>
                                      <a:pt x="138" y="204"/>
                                    </a:lnTo>
                                    <a:lnTo>
                                      <a:pt x="146" y="200"/>
                                    </a:lnTo>
                                    <a:lnTo>
                                      <a:pt x="146" y="200"/>
                                    </a:lnTo>
                                    <a:lnTo>
                                      <a:pt x="154" y="196"/>
                                    </a:lnTo>
                                    <a:lnTo>
                                      <a:pt x="156" y="194"/>
                                    </a:lnTo>
                                    <a:lnTo>
                                      <a:pt x="154" y="194"/>
                                    </a:lnTo>
                                    <a:lnTo>
                                      <a:pt x="154" y="194"/>
                                    </a:lnTo>
                                    <a:lnTo>
                                      <a:pt x="156" y="194"/>
                                    </a:lnTo>
                                    <a:lnTo>
                                      <a:pt x="170" y="190"/>
                                    </a:lnTo>
                                    <a:lnTo>
                                      <a:pt x="170" y="19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4" name="Burkina Faso"/>
                              <p:cNvSpPr>
                                <a:spLocks/>
                              </p:cNvSpPr>
                              <p:nvPr/>
                            </p:nvSpPr>
                            <p:spPr bwMode="auto">
                              <a:xfrm>
                                <a:off x="5614356" y="3108674"/>
                                <a:ext cx="243012" cy="203334"/>
                              </a:xfrm>
                              <a:custGeom>
                                <a:avLst/>
                                <a:gdLst/>
                                <a:ahLst/>
                                <a:cxnLst>
                                  <a:cxn ang="0">
                                    <a:pos x="116" y="14"/>
                                  </a:cxn>
                                  <a:cxn ang="0">
                                    <a:pos x="124" y="32"/>
                                  </a:cxn>
                                  <a:cxn ang="0">
                                    <a:pos x="132" y="34"/>
                                  </a:cxn>
                                  <a:cxn ang="0">
                                    <a:pos x="128" y="40"/>
                                  </a:cxn>
                                  <a:cxn ang="0">
                                    <a:pos x="134" y="50"/>
                                  </a:cxn>
                                  <a:cxn ang="0">
                                    <a:pos x="150" y="58"/>
                                  </a:cxn>
                                  <a:cxn ang="0">
                                    <a:pos x="156" y="60"/>
                                  </a:cxn>
                                  <a:cxn ang="0">
                                    <a:pos x="156" y="62"/>
                                  </a:cxn>
                                  <a:cxn ang="0">
                                    <a:pos x="160" y="72"/>
                                  </a:cxn>
                                  <a:cxn ang="0">
                                    <a:pos x="144" y="78"/>
                                  </a:cxn>
                                  <a:cxn ang="0">
                                    <a:pos x="140" y="86"/>
                                  </a:cxn>
                                  <a:cxn ang="0">
                                    <a:pos x="134" y="90"/>
                                  </a:cxn>
                                  <a:cxn ang="0">
                                    <a:pos x="132" y="96"/>
                                  </a:cxn>
                                  <a:cxn ang="0">
                                    <a:pos x="128" y="96"/>
                                  </a:cxn>
                                  <a:cxn ang="0">
                                    <a:pos x="120" y="96"/>
                                  </a:cxn>
                                  <a:cxn ang="0">
                                    <a:pos x="106" y="94"/>
                                  </a:cxn>
                                  <a:cxn ang="0">
                                    <a:pos x="100" y="96"/>
                                  </a:cxn>
                                  <a:cxn ang="0">
                                    <a:pos x="84" y="98"/>
                                  </a:cxn>
                                  <a:cxn ang="0">
                                    <a:pos x="54" y="100"/>
                                  </a:cxn>
                                  <a:cxn ang="0">
                                    <a:pos x="52" y="110"/>
                                  </a:cxn>
                                  <a:cxn ang="0">
                                    <a:pos x="54" y="116"/>
                                  </a:cxn>
                                  <a:cxn ang="0">
                                    <a:pos x="56" y="122"/>
                                  </a:cxn>
                                  <a:cxn ang="0">
                                    <a:pos x="56" y="134"/>
                                  </a:cxn>
                                  <a:cxn ang="0">
                                    <a:pos x="48" y="128"/>
                                  </a:cxn>
                                  <a:cxn ang="0">
                                    <a:pos x="44" y="128"/>
                                  </a:cxn>
                                  <a:cxn ang="0">
                                    <a:pos x="34" y="128"/>
                                  </a:cxn>
                                  <a:cxn ang="0">
                                    <a:pos x="18" y="130"/>
                                  </a:cxn>
                                  <a:cxn ang="0">
                                    <a:pos x="8" y="126"/>
                                  </a:cxn>
                                  <a:cxn ang="0">
                                    <a:pos x="0" y="114"/>
                                  </a:cxn>
                                  <a:cxn ang="0">
                                    <a:pos x="6" y="92"/>
                                  </a:cxn>
                                  <a:cxn ang="0">
                                    <a:pos x="10" y="86"/>
                                  </a:cxn>
                                  <a:cxn ang="0">
                                    <a:pos x="6" y="82"/>
                                  </a:cxn>
                                  <a:cxn ang="0">
                                    <a:pos x="12" y="76"/>
                                  </a:cxn>
                                  <a:cxn ang="0">
                                    <a:pos x="32" y="58"/>
                                  </a:cxn>
                                  <a:cxn ang="0">
                                    <a:pos x="30" y="54"/>
                                  </a:cxn>
                                  <a:cxn ang="0">
                                    <a:pos x="38" y="48"/>
                                  </a:cxn>
                                  <a:cxn ang="0">
                                    <a:pos x="38" y="44"/>
                                  </a:cxn>
                                  <a:cxn ang="0">
                                    <a:pos x="46" y="30"/>
                                  </a:cxn>
                                  <a:cxn ang="0">
                                    <a:pos x="52" y="30"/>
                                  </a:cxn>
                                  <a:cxn ang="0">
                                    <a:pos x="70" y="24"/>
                                  </a:cxn>
                                  <a:cxn ang="0">
                                    <a:pos x="70" y="22"/>
                                  </a:cxn>
                                  <a:cxn ang="0">
                                    <a:pos x="74" y="18"/>
                                  </a:cxn>
                                  <a:cxn ang="0">
                                    <a:pos x="86" y="6"/>
                                  </a:cxn>
                                  <a:cxn ang="0">
                                    <a:pos x="98" y="2"/>
                                  </a:cxn>
                                  <a:cxn ang="0">
                                    <a:pos x="102" y="0"/>
                                  </a:cxn>
                                </a:cxnLst>
                                <a:rect l="0" t="0" r="r" b="b"/>
                                <a:pathLst>
                                  <a:path w="160" h="134">
                                    <a:moveTo>
                                      <a:pt x="116" y="4"/>
                                    </a:moveTo>
                                    <a:lnTo>
                                      <a:pt x="116" y="4"/>
                                    </a:lnTo>
                                    <a:lnTo>
                                      <a:pt x="116" y="14"/>
                                    </a:lnTo>
                                    <a:lnTo>
                                      <a:pt x="118" y="22"/>
                                    </a:lnTo>
                                    <a:lnTo>
                                      <a:pt x="122" y="30"/>
                                    </a:lnTo>
                                    <a:lnTo>
                                      <a:pt x="124" y="32"/>
                                    </a:lnTo>
                                    <a:lnTo>
                                      <a:pt x="128" y="34"/>
                                    </a:lnTo>
                                    <a:lnTo>
                                      <a:pt x="128" y="34"/>
                                    </a:lnTo>
                                    <a:lnTo>
                                      <a:pt x="132" y="34"/>
                                    </a:lnTo>
                                    <a:lnTo>
                                      <a:pt x="132" y="36"/>
                                    </a:lnTo>
                                    <a:lnTo>
                                      <a:pt x="128" y="40"/>
                                    </a:lnTo>
                                    <a:lnTo>
                                      <a:pt x="128" y="40"/>
                                    </a:lnTo>
                                    <a:lnTo>
                                      <a:pt x="126" y="42"/>
                                    </a:lnTo>
                                    <a:lnTo>
                                      <a:pt x="126" y="44"/>
                                    </a:lnTo>
                                    <a:lnTo>
                                      <a:pt x="134" y="50"/>
                                    </a:lnTo>
                                    <a:lnTo>
                                      <a:pt x="134" y="50"/>
                                    </a:lnTo>
                                    <a:lnTo>
                                      <a:pt x="144" y="56"/>
                                    </a:lnTo>
                                    <a:lnTo>
                                      <a:pt x="150" y="58"/>
                                    </a:lnTo>
                                    <a:lnTo>
                                      <a:pt x="152" y="58"/>
                                    </a:lnTo>
                                    <a:lnTo>
                                      <a:pt x="156" y="60"/>
                                    </a:lnTo>
                                    <a:lnTo>
                                      <a:pt x="156" y="60"/>
                                    </a:lnTo>
                                    <a:lnTo>
                                      <a:pt x="158" y="62"/>
                                    </a:lnTo>
                                    <a:lnTo>
                                      <a:pt x="156" y="62"/>
                                    </a:lnTo>
                                    <a:lnTo>
                                      <a:pt x="156" y="62"/>
                                    </a:lnTo>
                                    <a:lnTo>
                                      <a:pt x="154" y="64"/>
                                    </a:lnTo>
                                    <a:lnTo>
                                      <a:pt x="160" y="72"/>
                                    </a:lnTo>
                                    <a:lnTo>
                                      <a:pt x="160" y="72"/>
                                    </a:lnTo>
                                    <a:lnTo>
                                      <a:pt x="154" y="76"/>
                                    </a:lnTo>
                                    <a:lnTo>
                                      <a:pt x="150" y="76"/>
                                    </a:lnTo>
                                    <a:lnTo>
                                      <a:pt x="144" y="78"/>
                                    </a:lnTo>
                                    <a:lnTo>
                                      <a:pt x="142" y="82"/>
                                    </a:lnTo>
                                    <a:lnTo>
                                      <a:pt x="142" y="82"/>
                                    </a:lnTo>
                                    <a:lnTo>
                                      <a:pt x="140" y="86"/>
                                    </a:lnTo>
                                    <a:lnTo>
                                      <a:pt x="136" y="88"/>
                                    </a:lnTo>
                                    <a:lnTo>
                                      <a:pt x="136" y="90"/>
                                    </a:lnTo>
                                    <a:lnTo>
                                      <a:pt x="134" y="90"/>
                                    </a:lnTo>
                                    <a:lnTo>
                                      <a:pt x="134" y="90"/>
                                    </a:lnTo>
                                    <a:lnTo>
                                      <a:pt x="134" y="98"/>
                                    </a:lnTo>
                                    <a:lnTo>
                                      <a:pt x="132" y="96"/>
                                    </a:lnTo>
                                    <a:lnTo>
                                      <a:pt x="132" y="96"/>
                                    </a:lnTo>
                                    <a:lnTo>
                                      <a:pt x="128" y="96"/>
                                    </a:lnTo>
                                    <a:lnTo>
                                      <a:pt x="128" y="96"/>
                                    </a:lnTo>
                                    <a:lnTo>
                                      <a:pt x="126" y="98"/>
                                    </a:lnTo>
                                    <a:lnTo>
                                      <a:pt x="124" y="98"/>
                                    </a:lnTo>
                                    <a:lnTo>
                                      <a:pt x="120" y="96"/>
                                    </a:lnTo>
                                    <a:lnTo>
                                      <a:pt x="110" y="96"/>
                                    </a:lnTo>
                                    <a:lnTo>
                                      <a:pt x="110" y="96"/>
                                    </a:lnTo>
                                    <a:lnTo>
                                      <a:pt x="106" y="94"/>
                                    </a:lnTo>
                                    <a:lnTo>
                                      <a:pt x="104" y="94"/>
                                    </a:lnTo>
                                    <a:lnTo>
                                      <a:pt x="102" y="94"/>
                                    </a:lnTo>
                                    <a:lnTo>
                                      <a:pt x="100" y="96"/>
                                    </a:lnTo>
                                    <a:lnTo>
                                      <a:pt x="100" y="96"/>
                                    </a:lnTo>
                                    <a:lnTo>
                                      <a:pt x="94" y="98"/>
                                    </a:lnTo>
                                    <a:lnTo>
                                      <a:pt x="84" y="98"/>
                                    </a:lnTo>
                                    <a:lnTo>
                                      <a:pt x="58" y="98"/>
                                    </a:lnTo>
                                    <a:lnTo>
                                      <a:pt x="58" y="98"/>
                                    </a:lnTo>
                                    <a:lnTo>
                                      <a:pt x="54" y="100"/>
                                    </a:lnTo>
                                    <a:lnTo>
                                      <a:pt x="52" y="104"/>
                                    </a:lnTo>
                                    <a:lnTo>
                                      <a:pt x="52" y="108"/>
                                    </a:lnTo>
                                    <a:lnTo>
                                      <a:pt x="52" y="110"/>
                                    </a:lnTo>
                                    <a:lnTo>
                                      <a:pt x="52" y="110"/>
                                    </a:lnTo>
                                    <a:lnTo>
                                      <a:pt x="54" y="114"/>
                                    </a:lnTo>
                                    <a:lnTo>
                                      <a:pt x="54" y="116"/>
                                    </a:lnTo>
                                    <a:lnTo>
                                      <a:pt x="54" y="118"/>
                                    </a:lnTo>
                                    <a:lnTo>
                                      <a:pt x="56" y="122"/>
                                    </a:lnTo>
                                    <a:lnTo>
                                      <a:pt x="56" y="122"/>
                                    </a:lnTo>
                                    <a:lnTo>
                                      <a:pt x="60" y="130"/>
                                    </a:lnTo>
                                    <a:lnTo>
                                      <a:pt x="60" y="132"/>
                                    </a:lnTo>
                                    <a:lnTo>
                                      <a:pt x="56" y="134"/>
                                    </a:lnTo>
                                    <a:lnTo>
                                      <a:pt x="56" y="134"/>
                                    </a:lnTo>
                                    <a:lnTo>
                                      <a:pt x="52" y="132"/>
                                    </a:lnTo>
                                    <a:lnTo>
                                      <a:pt x="48" y="128"/>
                                    </a:lnTo>
                                    <a:lnTo>
                                      <a:pt x="46" y="128"/>
                                    </a:lnTo>
                                    <a:lnTo>
                                      <a:pt x="44" y="128"/>
                                    </a:lnTo>
                                    <a:lnTo>
                                      <a:pt x="44" y="128"/>
                                    </a:lnTo>
                                    <a:lnTo>
                                      <a:pt x="42" y="130"/>
                                    </a:lnTo>
                                    <a:lnTo>
                                      <a:pt x="38" y="128"/>
                                    </a:lnTo>
                                    <a:lnTo>
                                      <a:pt x="34" y="128"/>
                                    </a:lnTo>
                                    <a:lnTo>
                                      <a:pt x="30" y="128"/>
                                    </a:lnTo>
                                    <a:lnTo>
                                      <a:pt x="30" y="128"/>
                                    </a:lnTo>
                                    <a:lnTo>
                                      <a:pt x="18" y="130"/>
                                    </a:lnTo>
                                    <a:lnTo>
                                      <a:pt x="12" y="130"/>
                                    </a:lnTo>
                                    <a:lnTo>
                                      <a:pt x="12" y="130"/>
                                    </a:lnTo>
                                    <a:lnTo>
                                      <a:pt x="8" y="126"/>
                                    </a:lnTo>
                                    <a:lnTo>
                                      <a:pt x="8" y="122"/>
                                    </a:lnTo>
                                    <a:lnTo>
                                      <a:pt x="6" y="118"/>
                                    </a:lnTo>
                                    <a:lnTo>
                                      <a:pt x="0" y="114"/>
                                    </a:lnTo>
                                    <a:lnTo>
                                      <a:pt x="0" y="114"/>
                                    </a:lnTo>
                                    <a:lnTo>
                                      <a:pt x="4" y="98"/>
                                    </a:lnTo>
                                    <a:lnTo>
                                      <a:pt x="6" y="92"/>
                                    </a:lnTo>
                                    <a:lnTo>
                                      <a:pt x="10" y="90"/>
                                    </a:lnTo>
                                    <a:lnTo>
                                      <a:pt x="10" y="86"/>
                                    </a:lnTo>
                                    <a:lnTo>
                                      <a:pt x="10" y="86"/>
                                    </a:lnTo>
                                    <a:lnTo>
                                      <a:pt x="8" y="82"/>
                                    </a:lnTo>
                                    <a:lnTo>
                                      <a:pt x="6" y="82"/>
                                    </a:lnTo>
                                    <a:lnTo>
                                      <a:pt x="6" y="82"/>
                                    </a:lnTo>
                                    <a:lnTo>
                                      <a:pt x="6" y="80"/>
                                    </a:lnTo>
                                    <a:lnTo>
                                      <a:pt x="12" y="76"/>
                                    </a:lnTo>
                                    <a:lnTo>
                                      <a:pt x="12" y="76"/>
                                    </a:lnTo>
                                    <a:lnTo>
                                      <a:pt x="28" y="66"/>
                                    </a:lnTo>
                                    <a:lnTo>
                                      <a:pt x="32" y="60"/>
                                    </a:lnTo>
                                    <a:lnTo>
                                      <a:pt x="32" y="58"/>
                                    </a:lnTo>
                                    <a:lnTo>
                                      <a:pt x="32" y="56"/>
                                    </a:lnTo>
                                    <a:lnTo>
                                      <a:pt x="32" y="56"/>
                                    </a:lnTo>
                                    <a:lnTo>
                                      <a:pt x="30" y="54"/>
                                    </a:lnTo>
                                    <a:lnTo>
                                      <a:pt x="30" y="52"/>
                                    </a:lnTo>
                                    <a:lnTo>
                                      <a:pt x="34" y="52"/>
                                    </a:lnTo>
                                    <a:lnTo>
                                      <a:pt x="38" y="48"/>
                                    </a:lnTo>
                                    <a:lnTo>
                                      <a:pt x="38" y="46"/>
                                    </a:lnTo>
                                    <a:lnTo>
                                      <a:pt x="38" y="44"/>
                                    </a:lnTo>
                                    <a:lnTo>
                                      <a:pt x="38" y="44"/>
                                    </a:lnTo>
                                    <a:lnTo>
                                      <a:pt x="38" y="40"/>
                                    </a:lnTo>
                                    <a:lnTo>
                                      <a:pt x="40" y="34"/>
                                    </a:lnTo>
                                    <a:lnTo>
                                      <a:pt x="46" y="30"/>
                                    </a:lnTo>
                                    <a:lnTo>
                                      <a:pt x="50" y="30"/>
                                    </a:lnTo>
                                    <a:lnTo>
                                      <a:pt x="52" y="30"/>
                                    </a:lnTo>
                                    <a:lnTo>
                                      <a:pt x="52" y="30"/>
                                    </a:lnTo>
                                    <a:lnTo>
                                      <a:pt x="60" y="30"/>
                                    </a:lnTo>
                                    <a:lnTo>
                                      <a:pt x="68" y="28"/>
                                    </a:lnTo>
                                    <a:lnTo>
                                      <a:pt x="70" y="24"/>
                                    </a:lnTo>
                                    <a:lnTo>
                                      <a:pt x="72" y="24"/>
                                    </a:lnTo>
                                    <a:lnTo>
                                      <a:pt x="70" y="22"/>
                                    </a:lnTo>
                                    <a:lnTo>
                                      <a:pt x="70" y="22"/>
                                    </a:lnTo>
                                    <a:lnTo>
                                      <a:pt x="66" y="20"/>
                                    </a:lnTo>
                                    <a:lnTo>
                                      <a:pt x="70" y="20"/>
                                    </a:lnTo>
                                    <a:lnTo>
                                      <a:pt x="74" y="18"/>
                                    </a:lnTo>
                                    <a:lnTo>
                                      <a:pt x="80" y="14"/>
                                    </a:lnTo>
                                    <a:lnTo>
                                      <a:pt x="80" y="14"/>
                                    </a:lnTo>
                                    <a:lnTo>
                                      <a:pt x="86" y="6"/>
                                    </a:lnTo>
                                    <a:lnTo>
                                      <a:pt x="90" y="6"/>
                                    </a:lnTo>
                                    <a:lnTo>
                                      <a:pt x="94" y="6"/>
                                    </a:lnTo>
                                    <a:lnTo>
                                      <a:pt x="98" y="2"/>
                                    </a:lnTo>
                                    <a:lnTo>
                                      <a:pt x="98" y="2"/>
                                    </a:lnTo>
                                    <a:lnTo>
                                      <a:pt x="100" y="0"/>
                                    </a:lnTo>
                                    <a:lnTo>
                                      <a:pt x="102" y="0"/>
                                    </a:lnTo>
                                    <a:lnTo>
                                      <a:pt x="116" y="4"/>
                                    </a:lnTo>
                                    <a:lnTo>
                                      <a:pt x="116" y="4"/>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5" name="Burundi"/>
                              <p:cNvSpPr>
                                <a:spLocks/>
                              </p:cNvSpPr>
                              <p:nvPr/>
                            </p:nvSpPr>
                            <p:spPr bwMode="auto">
                              <a:xfrm>
                                <a:off x="6723095" y="3776336"/>
                                <a:ext cx="63791" cy="91045"/>
                              </a:xfrm>
                              <a:custGeom>
                                <a:avLst/>
                                <a:gdLst/>
                                <a:ahLst/>
                                <a:cxnLst>
                                  <a:cxn ang="0">
                                    <a:pos x="14" y="42"/>
                                  </a:cxn>
                                  <a:cxn ang="0">
                                    <a:pos x="14" y="42"/>
                                  </a:cxn>
                                  <a:cxn ang="0">
                                    <a:pos x="16" y="56"/>
                                  </a:cxn>
                                  <a:cxn ang="0">
                                    <a:pos x="20" y="60"/>
                                  </a:cxn>
                                  <a:cxn ang="0">
                                    <a:pos x="20" y="60"/>
                                  </a:cxn>
                                  <a:cxn ang="0">
                                    <a:pos x="28" y="50"/>
                                  </a:cxn>
                                  <a:cxn ang="0">
                                    <a:pos x="34" y="42"/>
                                  </a:cxn>
                                  <a:cxn ang="0">
                                    <a:pos x="36" y="36"/>
                                  </a:cxn>
                                  <a:cxn ang="0">
                                    <a:pos x="38" y="30"/>
                                  </a:cxn>
                                  <a:cxn ang="0">
                                    <a:pos x="38" y="30"/>
                                  </a:cxn>
                                  <a:cxn ang="0">
                                    <a:pos x="38" y="26"/>
                                  </a:cxn>
                                  <a:cxn ang="0">
                                    <a:pos x="40" y="24"/>
                                  </a:cxn>
                                  <a:cxn ang="0">
                                    <a:pos x="42" y="20"/>
                                  </a:cxn>
                                  <a:cxn ang="0">
                                    <a:pos x="42" y="14"/>
                                  </a:cxn>
                                  <a:cxn ang="0">
                                    <a:pos x="42" y="14"/>
                                  </a:cxn>
                                  <a:cxn ang="0">
                                    <a:pos x="40" y="14"/>
                                  </a:cxn>
                                  <a:cxn ang="0">
                                    <a:pos x="38" y="12"/>
                                  </a:cxn>
                                  <a:cxn ang="0">
                                    <a:pos x="32" y="12"/>
                                  </a:cxn>
                                  <a:cxn ang="0">
                                    <a:pos x="30" y="10"/>
                                  </a:cxn>
                                  <a:cxn ang="0">
                                    <a:pos x="28" y="8"/>
                                  </a:cxn>
                                  <a:cxn ang="0">
                                    <a:pos x="28" y="6"/>
                                  </a:cxn>
                                  <a:cxn ang="0">
                                    <a:pos x="32" y="2"/>
                                  </a:cxn>
                                  <a:cxn ang="0">
                                    <a:pos x="32" y="2"/>
                                  </a:cxn>
                                  <a:cxn ang="0">
                                    <a:pos x="26" y="0"/>
                                  </a:cxn>
                                  <a:cxn ang="0">
                                    <a:pos x="22" y="0"/>
                                  </a:cxn>
                                  <a:cxn ang="0">
                                    <a:pos x="16" y="0"/>
                                  </a:cxn>
                                  <a:cxn ang="0">
                                    <a:pos x="16" y="2"/>
                                  </a:cxn>
                                  <a:cxn ang="0">
                                    <a:pos x="16" y="6"/>
                                  </a:cxn>
                                  <a:cxn ang="0">
                                    <a:pos x="16" y="6"/>
                                  </a:cxn>
                                  <a:cxn ang="0">
                                    <a:pos x="16" y="12"/>
                                  </a:cxn>
                                  <a:cxn ang="0">
                                    <a:pos x="14" y="12"/>
                                  </a:cxn>
                                  <a:cxn ang="0">
                                    <a:pos x="8" y="10"/>
                                  </a:cxn>
                                  <a:cxn ang="0">
                                    <a:pos x="4" y="10"/>
                                  </a:cxn>
                                  <a:cxn ang="0">
                                    <a:pos x="0" y="10"/>
                                  </a:cxn>
                                  <a:cxn ang="0">
                                    <a:pos x="0" y="10"/>
                                  </a:cxn>
                                  <a:cxn ang="0">
                                    <a:pos x="6" y="34"/>
                                  </a:cxn>
                                  <a:cxn ang="0">
                                    <a:pos x="8" y="38"/>
                                  </a:cxn>
                                  <a:cxn ang="0">
                                    <a:pos x="10" y="40"/>
                                  </a:cxn>
                                  <a:cxn ang="0">
                                    <a:pos x="12" y="40"/>
                                  </a:cxn>
                                  <a:cxn ang="0">
                                    <a:pos x="12" y="40"/>
                                  </a:cxn>
                                  <a:cxn ang="0">
                                    <a:pos x="14" y="42"/>
                                  </a:cxn>
                                  <a:cxn ang="0">
                                    <a:pos x="14" y="42"/>
                                  </a:cxn>
                                </a:cxnLst>
                                <a:rect l="0" t="0" r="r" b="b"/>
                                <a:pathLst>
                                  <a:path w="42" h="60">
                                    <a:moveTo>
                                      <a:pt x="14" y="42"/>
                                    </a:moveTo>
                                    <a:lnTo>
                                      <a:pt x="14" y="42"/>
                                    </a:lnTo>
                                    <a:lnTo>
                                      <a:pt x="16" y="56"/>
                                    </a:lnTo>
                                    <a:lnTo>
                                      <a:pt x="20" y="60"/>
                                    </a:lnTo>
                                    <a:lnTo>
                                      <a:pt x="20" y="60"/>
                                    </a:lnTo>
                                    <a:lnTo>
                                      <a:pt x="28" y="50"/>
                                    </a:lnTo>
                                    <a:lnTo>
                                      <a:pt x="34" y="42"/>
                                    </a:lnTo>
                                    <a:lnTo>
                                      <a:pt x="36" y="36"/>
                                    </a:lnTo>
                                    <a:lnTo>
                                      <a:pt x="38" y="30"/>
                                    </a:lnTo>
                                    <a:lnTo>
                                      <a:pt x="38" y="30"/>
                                    </a:lnTo>
                                    <a:lnTo>
                                      <a:pt x="38" y="26"/>
                                    </a:lnTo>
                                    <a:lnTo>
                                      <a:pt x="40" y="24"/>
                                    </a:lnTo>
                                    <a:lnTo>
                                      <a:pt x="42" y="20"/>
                                    </a:lnTo>
                                    <a:lnTo>
                                      <a:pt x="42" y="14"/>
                                    </a:lnTo>
                                    <a:lnTo>
                                      <a:pt x="42" y="14"/>
                                    </a:lnTo>
                                    <a:lnTo>
                                      <a:pt x="40" y="14"/>
                                    </a:lnTo>
                                    <a:lnTo>
                                      <a:pt x="38" y="12"/>
                                    </a:lnTo>
                                    <a:lnTo>
                                      <a:pt x="32" y="12"/>
                                    </a:lnTo>
                                    <a:lnTo>
                                      <a:pt x="30" y="10"/>
                                    </a:lnTo>
                                    <a:lnTo>
                                      <a:pt x="28" y="8"/>
                                    </a:lnTo>
                                    <a:lnTo>
                                      <a:pt x="28" y="6"/>
                                    </a:lnTo>
                                    <a:lnTo>
                                      <a:pt x="32" y="2"/>
                                    </a:lnTo>
                                    <a:lnTo>
                                      <a:pt x="32" y="2"/>
                                    </a:lnTo>
                                    <a:lnTo>
                                      <a:pt x="26" y="0"/>
                                    </a:lnTo>
                                    <a:lnTo>
                                      <a:pt x="22" y="0"/>
                                    </a:lnTo>
                                    <a:lnTo>
                                      <a:pt x="16" y="0"/>
                                    </a:lnTo>
                                    <a:lnTo>
                                      <a:pt x="16" y="2"/>
                                    </a:lnTo>
                                    <a:lnTo>
                                      <a:pt x="16" y="6"/>
                                    </a:lnTo>
                                    <a:lnTo>
                                      <a:pt x="16" y="6"/>
                                    </a:lnTo>
                                    <a:lnTo>
                                      <a:pt x="16" y="12"/>
                                    </a:lnTo>
                                    <a:lnTo>
                                      <a:pt x="14" y="12"/>
                                    </a:lnTo>
                                    <a:lnTo>
                                      <a:pt x="8" y="10"/>
                                    </a:lnTo>
                                    <a:lnTo>
                                      <a:pt x="4" y="10"/>
                                    </a:lnTo>
                                    <a:lnTo>
                                      <a:pt x="0" y="10"/>
                                    </a:lnTo>
                                    <a:lnTo>
                                      <a:pt x="0" y="10"/>
                                    </a:lnTo>
                                    <a:lnTo>
                                      <a:pt x="6" y="34"/>
                                    </a:lnTo>
                                    <a:lnTo>
                                      <a:pt x="8" y="38"/>
                                    </a:lnTo>
                                    <a:lnTo>
                                      <a:pt x="10" y="40"/>
                                    </a:lnTo>
                                    <a:lnTo>
                                      <a:pt x="12" y="40"/>
                                    </a:lnTo>
                                    <a:lnTo>
                                      <a:pt x="12" y="40"/>
                                    </a:lnTo>
                                    <a:lnTo>
                                      <a:pt x="14" y="42"/>
                                    </a:lnTo>
                                    <a:lnTo>
                                      <a:pt x="14" y="42"/>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0" name="Central African Republic"/>
                              <p:cNvSpPr>
                                <a:spLocks/>
                              </p:cNvSpPr>
                              <p:nvPr/>
                            </p:nvSpPr>
                            <p:spPr bwMode="auto">
                              <a:xfrm>
                                <a:off x="6243147" y="3248276"/>
                                <a:ext cx="425270" cy="336867"/>
                              </a:xfrm>
                              <a:custGeom>
                                <a:avLst/>
                                <a:gdLst/>
                                <a:ahLst/>
                                <a:cxnLst>
                                  <a:cxn ang="0">
                                    <a:pos x="276" y="146"/>
                                  </a:cxn>
                                  <a:cxn ang="0">
                                    <a:pos x="270" y="136"/>
                                  </a:cxn>
                                  <a:cxn ang="0">
                                    <a:pos x="266" y="126"/>
                                  </a:cxn>
                                  <a:cxn ang="0">
                                    <a:pos x="260" y="122"/>
                                  </a:cxn>
                                  <a:cxn ang="0">
                                    <a:pos x="256" y="114"/>
                                  </a:cxn>
                                  <a:cxn ang="0">
                                    <a:pos x="250" y="106"/>
                                  </a:cxn>
                                  <a:cxn ang="0">
                                    <a:pos x="244" y="102"/>
                                  </a:cxn>
                                  <a:cxn ang="0">
                                    <a:pos x="236" y="92"/>
                                  </a:cxn>
                                  <a:cxn ang="0">
                                    <a:pos x="234" y="82"/>
                                  </a:cxn>
                                  <a:cxn ang="0">
                                    <a:pos x="220" y="74"/>
                                  </a:cxn>
                                  <a:cxn ang="0">
                                    <a:pos x="212" y="68"/>
                                  </a:cxn>
                                  <a:cxn ang="0">
                                    <a:pos x="206" y="64"/>
                                  </a:cxn>
                                  <a:cxn ang="0">
                                    <a:pos x="206" y="56"/>
                                  </a:cxn>
                                  <a:cxn ang="0">
                                    <a:pos x="198" y="52"/>
                                  </a:cxn>
                                  <a:cxn ang="0">
                                    <a:pos x="192" y="44"/>
                                  </a:cxn>
                                  <a:cxn ang="0">
                                    <a:pos x="196" y="32"/>
                                  </a:cxn>
                                  <a:cxn ang="0">
                                    <a:pos x="192" y="24"/>
                                  </a:cxn>
                                  <a:cxn ang="0">
                                    <a:pos x="186" y="14"/>
                                  </a:cxn>
                                  <a:cxn ang="0">
                                    <a:pos x="182" y="2"/>
                                  </a:cxn>
                                  <a:cxn ang="0">
                                    <a:pos x="176" y="2"/>
                                  </a:cxn>
                                  <a:cxn ang="0">
                                    <a:pos x="162" y="8"/>
                                  </a:cxn>
                                  <a:cxn ang="0">
                                    <a:pos x="156" y="18"/>
                                  </a:cxn>
                                  <a:cxn ang="0">
                                    <a:pos x="152" y="26"/>
                                  </a:cxn>
                                  <a:cxn ang="0">
                                    <a:pos x="146" y="32"/>
                                  </a:cxn>
                                  <a:cxn ang="0">
                                    <a:pos x="140" y="40"/>
                                  </a:cxn>
                                  <a:cxn ang="0">
                                    <a:pos x="114" y="50"/>
                                  </a:cxn>
                                  <a:cxn ang="0">
                                    <a:pos x="104" y="52"/>
                                  </a:cxn>
                                  <a:cxn ang="0">
                                    <a:pos x="96" y="54"/>
                                  </a:cxn>
                                  <a:cxn ang="0">
                                    <a:pos x="98" y="62"/>
                                  </a:cxn>
                                  <a:cxn ang="0">
                                    <a:pos x="98" y="66"/>
                                  </a:cxn>
                                  <a:cxn ang="0">
                                    <a:pos x="92" y="72"/>
                                  </a:cxn>
                                  <a:cxn ang="0">
                                    <a:pos x="80" y="78"/>
                                  </a:cxn>
                                  <a:cxn ang="0">
                                    <a:pos x="42" y="92"/>
                                  </a:cxn>
                                  <a:cxn ang="0">
                                    <a:pos x="36" y="94"/>
                                  </a:cxn>
                                  <a:cxn ang="0">
                                    <a:pos x="24" y="96"/>
                                  </a:cxn>
                                  <a:cxn ang="0">
                                    <a:pos x="10" y="132"/>
                                  </a:cxn>
                                  <a:cxn ang="0">
                                    <a:pos x="0" y="152"/>
                                  </a:cxn>
                                  <a:cxn ang="0">
                                    <a:pos x="4" y="166"/>
                                  </a:cxn>
                                  <a:cxn ang="0">
                                    <a:pos x="16" y="182"/>
                                  </a:cxn>
                                  <a:cxn ang="0">
                                    <a:pos x="30" y="200"/>
                                  </a:cxn>
                                  <a:cxn ang="0">
                                    <a:pos x="38" y="212"/>
                                  </a:cxn>
                                  <a:cxn ang="0">
                                    <a:pos x="38" y="222"/>
                                  </a:cxn>
                                  <a:cxn ang="0">
                                    <a:pos x="48" y="210"/>
                                  </a:cxn>
                                  <a:cxn ang="0">
                                    <a:pos x="54" y="190"/>
                                  </a:cxn>
                                  <a:cxn ang="0">
                                    <a:pos x="76" y="190"/>
                                  </a:cxn>
                                  <a:cxn ang="0">
                                    <a:pos x="98" y="170"/>
                                  </a:cxn>
                                  <a:cxn ang="0">
                                    <a:pos x="110" y="154"/>
                                  </a:cxn>
                                  <a:cxn ang="0">
                                    <a:pos x="124" y="152"/>
                                  </a:cxn>
                                  <a:cxn ang="0">
                                    <a:pos x="140" y="162"/>
                                  </a:cxn>
                                  <a:cxn ang="0">
                                    <a:pos x="146" y="162"/>
                                  </a:cxn>
                                  <a:cxn ang="0">
                                    <a:pos x="162" y="166"/>
                                  </a:cxn>
                                  <a:cxn ang="0">
                                    <a:pos x="186" y="170"/>
                                  </a:cxn>
                                  <a:cxn ang="0">
                                    <a:pos x="192" y="164"/>
                                  </a:cxn>
                                  <a:cxn ang="0">
                                    <a:pos x="206" y="158"/>
                                  </a:cxn>
                                  <a:cxn ang="0">
                                    <a:pos x="224" y="152"/>
                                  </a:cxn>
                                  <a:cxn ang="0">
                                    <a:pos x="228" y="148"/>
                                  </a:cxn>
                                  <a:cxn ang="0">
                                    <a:pos x="234" y="150"/>
                                  </a:cxn>
                                  <a:cxn ang="0">
                                    <a:pos x="280" y="154"/>
                                  </a:cxn>
                                </a:cxnLst>
                                <a:rect l="0" t="0" r="r" b="b"/>
                                <a:pathLst>
                                  <a:path w="280" h="222">
                                    <a:moveTo>
                                      <a:pt x="280" y="154"/>
                                    </a:moveTo>
                                    <a:lnTo>
                                      <a:pt x="280" y="154"/>
                                    </a:lnTo>
                                    <a:lnTo>
                                      <a:pt x="276" y="146"/>
                                    </a:lnTo>
                                    <a:lnTo>
                                      <a:pt x="274" y="144"/>
                                    </a:lnTo>
                                    <a:lnTo>
                                      <a:pt x="270" y="142"/>
                                    </a:lnTo>
                                    <a:lnTo>
                                      <a:pt x="270" y="136"/>
                                    </a:lnTo>
                                    <a:lnTo>
                                      <a:pt x="270" y="136"/>
                                    </a:lnTo>
                                    <a:lnTo>
                                      <a:pt x="268" y="132"/>
                                    </a:lnTo>
                                    <a:lnTo>
                                      <a:pt x="266" y="126"/>
                                    </a:lnTo>
                                    <a:lnTo>
                                      <a:pt x="262" y="124"/>
                                    </a:lnTo>
                                    <a:lnTo>
                                      <a:pt x="260" y="122"/>
                                    </a:lnTo>
                                    <a:lnTo>
                                      <a:pt x="260" y="122"/>
                                    </a:lnTo>
                                    <a:lnTo>
                                      <a:pt x="258" y="120"/>
                                    </a:lnTo>
                                    <a:lnTo>
                                      <a:pt x="258" y="120"/>
                                    </a:lnTo>
                                    <a:lnTo>
                                      <a:pt x="256" y="114"/>
                                    </a:lnTo>
                                    <a:lnTo>
                                      <a:pt x="254" y="108"/>
                                    </a:lnTo>
                                    <a:lnTo>
                                      <a:pt x="252" y="106"/>
                                    </a:lnTo>
                                    <a:lnTo>
                                      <a:pt x="250" y="106"/>
                                    </a:lnTo>
                                    <a:lnTo>
                                      <a:pt x="250" y="106"/>
                                    </a:lnTo>
                                    <a:lnTo>
                                      <a:pt x="246" y="104"/>
                                    </a:lnTo>
                                    <a:lnTo>
                                      <a:pt x="244" y="102"/>
                                    </a:lnTo>
                                    <a:lnTo>
                                      <a:pt x="242" y="98"/>
                                    </a:lnTo>
                                    <a:lnTo>
                                      <a:pt x="236" y="92"/>
                                    </a:lnTo>
                                    <a:lnTo>
                                      <a:pt x="236" y="92"/>
                                    </a:lnTo>
                                    <a:lnTo>
                                      <a:pt x="232" y="88"/>
                                    </a:lnTo>
                                    <a:lnTo>
                                      <a:pt x="234" y="84"/>
                                    </a:lnTo>
                                    <a:lnTo>
                                      <a:pt x="234" y="82"/>
                                    </a:lnTo>
                                    <a:lnTo>
                                      <a:pt x="226" y="78"/>
                                    </a:lnTo>
                                    <a:lnTo>
                                      <a:pt x="226" y="78"/>
                                    </a:lnTo>
                                    <a:lnTo>
                                      <a:pt x="220" y="74"/>
                                    </a:lnTo>
                                    <a:lnTo>
                                      <a:pt x="220" y="72"/>
                                    </a:lnTo>
                                    <a:lnTo>
                                      <a:pt x="220" y="70"/>
                                    </a:lnTo>
                                    <a:lnTo>
                                      <a:pt x="212" y="68"/>
                                    </a:lnTo>
                                    <a:lnTo>
                                      <a:pt x="212" y="68"/>
                                    </a:lnTo>
                                    <a:lnTo>
                                      <a:pt x="208" y="66"/>
                                    </a:lnTo>
                                    <a:lnTo>
                                      <a:pt x="206" y="64"/>
                                    </a:lnTo>
                                    <a:lnTo>
                                      <a:pt x="206" y="60"/>
                                    </a:lnTo>
                                    <a:lnTo>
                                      <a:pt x="206" y="58"/>
                                    </a:lnTo>
                                    <a:lnTo>
                                      <a:pt x="206" y="56"/>
                                    </a:lnTo>
                                    <a:lnTo>
                                      <a:pt x="204" y="54"/>
                                    </a:lnTo>
                                    <a:lnTo>
                                      <a:pt x="198" y="52"/>
                                    </a:lnTo>
                                    <a:lnTo>
                                      <a:pt x="198" y="52"/>
                                    </a:lnTo>
                                    <a:lnTo>
                                      <a:pt x="194" y="50"/>
                                    </a:lnTo>
                                    <a:lnTo>
                                      <a:pt x="192" y="46"/>
                                    </a:lnTo>
                                    <a:lnTo>
                                      <a:pt x="192" y="44"/>
                                    </a:lnTo>
                                    <a:lnTo>
                                      <a:pt x="194" y="42"/>
                                    </a:lnTo>
                                    <a:lnTo>
                                      <a:pt x="196" y="34"/>
                                    </a:lnTo>
                                    <a:lnTo>
                                      <a:pt x="196" y="32"/>
                                    </a:lnTo>
                                    <a:lnTo>
                                      <a:pt x="194" y="28"/>
                                    </a:lnTo>
                                    <a:lnTo>
                                      <a:pt x="194" y="28"/>
                                    </a:lnTo>
                                    <a:lnTo>
                                      <a:pt x="192" y="24"/>
                                    </a:lnTo>
                                    <a:lnTo>
                                      <a:pt x="192" y="22"/>
                                    </a:lnTo>
                                    <a:lnTo>
                                      <a:pt x="190" y="18"/>
                                    </a:lnTo>
                                    <a:lnTo>
                                      <a:pt x="186" y="14"/>
                                    </a:lnTo>
                                    <a:lnTo>
                                      <a:pt x="186" y="14"/>
                                    </a:lnTo>
                                    <a:lnTo>
                                      <a:pt x="182" y="6"/>
                                    </a:lnTo>
                                    <a:lnTo>
                                      <a:pt x="182" y="2"/>
                                    </a:lnTo>
                                    <a:lnTo>
                                      <a:pt x="182" y="2"/>
                                    </a:lnTo>
                                    <a:lnTo>
                                      <a:pt x="178" y="0"/>
                                    </a:lnTo>
                                    <a:lnTo>
                                      <a:pt x="176" y="2"/>
                                    </a:lnTo>
                                    <a:lnTo>
                                      <a:pt x="172" y="4"/>
                                    </a:lnTo>
                                    <a:lnTo>
                                      <a:pt x="162" y="8"/>
                                    </a:lnTo>
                                    <a:lnTo>
                                      <a:pt x="162" y="8"/>
                                    </a:lnTo>
                                    <a:lnTo>
                                      <a:pt x="158" y="10"/>
                                    </a:lnTo>
                                    <a:lnTo>
                                      <a:pt x="156" y="12"/>
                                    </a:lnTo>
                                    <a:lnTo>
                                      <a:pt x="156" y="18"/>
                                    </a:lnTo>
                                    <a:lnTo>
                                      <a:pt x="156" y="22"/>
                                    </a:lnTo>
                                    <a:lnTo>
                                      <a:pt x="154" y="24"/>
                                    </a:lnTo>
                                    <a:lnTo>
                                      <a:pt x="152" y="26"/>
                                    </a:lnTo>
                                    <a:lnTo>
                                      <a:pt x="152" y="26"/>
                                    </a:lnTo>
                                    <a:lnTo>
                                      <a:pt x="148" y="28"/>
                                    </a:lnTo>
                                    <a:lnTo>
                                      <a:pt x="146" y="32"/>
                                    </a:lnTo>
                                    <a:lnTo>
                                      <a:pt x="144" y="36"/>
                                    </a:lnTo>
                                    <a:lnTo>
                                      <a:pt x="140" y="40"/>
                                    </a:lnTo>
                                    <a:lnTo>
                                      <a:pt x="140" y="40"/>
                                    </a:lnTo>
                                    <a:lnTo>
                                      <a:pt x="136" y="42"/>
                                    </a:lnTo>
                                    <a:lnTo>
                                      <a:pt x="130" y="44"/>
                                    </a:lnTo>
                                    <a:lnTo>
                                      <a:pt x="114" y="50"/>
                                    </a:lnTo>
                                    <a:lnTo>
                                      <a:pt x="114" y="50"/>
                                    </a:lnTo>
                                    <a:lnTo>
                                      <a:pt x="108" y="52"/>
                                    </a:lnTo>
                                    <a:lnTo>
                                      <a:pt x="104" y="52"/>
                                    </a:lnTo>
                                    <a:lnTo>
                                      <a:pt x="102" y="52"/>
                                    </a:lnTo>
                                    <a:lnTo>
                                      <a:pt x="96" y="54"/>
                                    </a:lnTo>
                                    <a:lnTo>
                                      <a:pt x="96" y="54"/>
                                    </a:lnTo>
                                    <a:lnTo>
                                      <a:pt x="92" y="58"/>
                                    </a:lnTo>
                                    <a:lnTo>
                                      <a:pt x="94" y="60"/>
                                    </a:lnTo>
                                    <a:lnTo>
                                      <a:pt x="98" y="62"/>
                                    </a:lnTo>
                                    <a:lnTo>
                                      <a:pt x="98" y="64"/>
                                    </a:lnTo>
                                    <a:lnTo>
                                      <a:pt x="98" y="66"/>
                                    </a:lnTo>
                                    <a:lnTo>
                                      <a:pt x="98" y="66"/>
                                    </a:lnTo>
                                    <a:lnTo>
                                      <a:pt x="98" y="70"/>
                                    </a:lnTo>
                                    <a:lnTo>
                                      <a:pt x="96" y="72"/>
                                    </a:lnTo>
                                    <a:lnTo>
                                      <a:pt x="92" y="72"/>
                                    </a:lnTo>
                                    <a:lnTo>
                                      <a:pt x="88" y="76"/>
                                    </a:lnTo>
                                    <a:lnTo>
                                      <a:pt x="88" y="76"/>
                                    </a:lnTo>
                                    <a:lnTo>
                                      <a:pt x="80" y="78"/>
                                    </a:lnTo>
                                    <a:lnTo>
                                      <a:pt x="68" y="82"/>
                                    </a:lnTo>
                                    <a:lnTo>
                                      <a:pt x="54" y="86"/>
                                    </a:lnTo>
                                    <a:lnTo>
                                      <a:pt x="42" y="92"/>
                                    </a:lnTo>
                                    <a:lnTo>
                                      <a:pt x="42" y="92"/>
                                    </a:lnTo>
                                    <a:lnTo>
                                      <a:pt x="38" y="94"/>
                                    </a:lnTo>
                                    <a:lnTo>
                                      <a:pt x="36" y="94"/>
                                    </a:lnTo>
                                    <a:lnTo>
                                      <a:pt x="34" y="94"/>
                                    </a:lnTo>
                                    <a:lnTo>
                                      <a:pt x="24" y="96"/>
                                    </a:lnTo>
                                    <a:lnTo>
                                      <a:pt x="24" y="96"/>
                                    </a:lnTo>
                                    <a:lnTo>
                                      <a:pt x="18" y="104"/>
                                    </a:lnTo>
                                    <a:lnTo>
                                      <a:pt x="14" y="112"/>
                                    </a:lnTo>
                                    <a:lnTo>
                                      <a:pt x="10" y="132"/>
                                    </a:lnTo>
                                    <a:lnTo>
                                      <a:pt x="10" y="132"/>
                                    </a:lnTo>
                                    <a:lnTo>
                                      <a:pt x="4" y="146"/>
                                    </a:lnTo>
                                    <a:lnTo>
                                      <a:pt x="0" y="152"/>
                                    </a:lnTo>
                                    <a:lnTo>
                                      <a:pt x="0" y="156"/>
                                    </a:lnTo>
                                    <a:lnTo>
                                      <a:pt x="4" y="166"/>
                                    </a:lnTo>
                                    <a:lnTo>
                                      <a:pt x="4" y="166"/>
                                    </a:lnTo>
                                    <a:lnTo>
                                      <a:pt x="8" y="176"/>
                                    </a:lnTo>
                                    <a:lnTo>
                                      <a:pt x="12" y="178"/>
                                    </a:lnTo>
                                    <a:lnTo>
                                      <a:pt x="16" y="182"/>
                                    </a:lnTo>
                                    <a:lnTo>
                                      <a:pt x="22" y="190"/>
                                    </a:lnTo>
                                    <a:lnTo>
                                      <a:pt x="22" y="190"/>
                                    </a:lnTo>
                                    <a:lnTo>
                                      <a:pt x="30" y="200"/>
                                    </a:lnTo>
                                    <a:lnTo>
                                      <a:pt x="36" y="204"/>
                                    </a:lnTo>
                                    <a:lnTo>
                                      <a:pt x="40" y="206"/>
                                    </a:lnTo>
                                    <a:lnTo>
                                      <a:pt x="38" y="212"/>
                                    </a:lnTo>
                                    <a:lnTo>
                                      <a:pt x="38" y="212"/>
                                    </a:lnTo>
                                    <a:lnTo>
                                      <a:pt x="38" y="216"/>
                                    </a:lnTo>
                                    <a:lnTo>
                                      <a:pt x="38" y="222"/>
                                    </a:lnTo>
                                    <a:lnTo>
                                      <a:pt x="38" y="222"/>
                                    </a:lnTo>
                                    <a:lnTo>
                                      <a:pt x="44" y="216"/>
                                    </a:lnTo>
                                    <a:lnTo>
                                      <a:pt x="48" y="210"/>
                                    </a:lnTo>
                                    <a:lnTo>
                                      <a:pt x="50" y="200"/>
                                    </a:lnTo>
                                    <a:lnTo>
                                      <a:pt x="52" y="192"/>
                                    </a:lnTo>
                                    <a:lnTo>
                                      <a:pt x="54" y="190"/>
                                    </a:lnTo>
                                    <a:lnTo>
                                      <a:pt x="56" y="190"/>
                                    </a:lnTo>
                                    <a:lnTo>
                                      <a:pt x="56" y="190"/>
                                    </a:lnTo>
                                    <a:lnTo>
                                      <a:pt x="76" y="190"/>
                                    </a:lnTo>
                                    <a:lnTo>
                                      <a:pt x="94" y="190"/>
                                    </a:lnTo>
                                    <a:lnTo>
                                      <a:pt x="94" y="190"/>
                                    </a:lnTo>
                                    <a:lnTo>
                                      <a:pt x="98" y="170"/>
                                    </a:lnTo>
                                    <a:lnTo>
                                      <a:pt x="102" y="160"/>
                                    </a:lnTo>
                                    <a:lnTo>
                                      <a:pt x="106" y="156"/>
                                    </a:lnTo>
                                    <a:lnTo>
                                      <a:pt x="110" y="154"/>
                                    </a:lnTo>
                                    <a:lnTo>
                                      <a:pt x="118" y="152"/>
                                    </a:lnTo>
                                    <a:lnTo>
                                      <a:pt x="118" y="152"/>
                                    </a:lnTo>
                                    <a:lnTo>
                                      <a:pt x="124" y="152"/>
                                    </a:lnTo>
                                    <a:lnTo>
                                      <a:pt x="128" y="154"/>
                                    </a:lnTo>
                                    <a:lnTo>
                                      <a:pt x="134" y="158"/>
                                    </a:lnTo>
                                    <a:lnTo>
                                      <a:pt x="140" y="162"/>
                                    </a:lnTo>
                                    <a:lnTo>
                                      <a:pt x="142" y="164"/>
                                    </a:lnTo>
                                    <a:lnTo>
                                      <a:pt x="146" y="162"/>
                                    </a:lnTo>
                                    <a:lnTo>
                                      <a:pt x="146" y="162"/>
                                    </a:lnTo>
                                    <a:lnTo>
                                      <a:pt x="150" y="162"/>
                                    </a:lnTo>
                                    <a:lnTo>
                                      <a:pt x="154" y="164"/>
                                    </a:lnTo>
                                    <a:lnTo>
                                      <a:pt x="162" y="166"/>
                                    </a:lnTo>
                                    <a:lnTo>
                                      <a:pt x="172" y="170"/>
                                    </a:lnTo>
                                    <a:lnTo>
                                      <a:pt x="178" y="172"/>
                                    </a:lnTo>
                                    <a:lnTo>
                                      <a:pt x="186" y="170"/>
                                    </a:lnTo>
                                    <a:lnTo>
                                      <a:pt x="186" y="170"/>
                                    </a:lnTo>
                                    <a:lnTo>
                                      <a:pt x="188" y="168"/>
                                    </a:lnTo>
                                    <a:lnTo>
                                      <a:pt x="192" y="164"/>
                                    </a:lnTo>
                                    <a:lnTo>
                                      <a:pt x="196" y="160"/>
                                    </a:lnTo>
                                    <a:lnTo>
                                      <a:pt x="206" y="158"/>
                                    </a:lnTo>
                                    <a:lnTo>
                                      <a:pt x="206" y="158"/>
                                    </a:lnTo>
                                    <a:lnTo>
                                      <a:pt x="220" y="156"/>
                                    </a:lnTo>
                                    <a:lnTo>
                                      <a:pt x="222" y="154"/>
                                    </a:lnTo>
                                    <a:lnTo>
                                      <a:pt x="224" y="152"/>
                                    </a:lnTo>
                                    <a:lnTo>
                                      <a:pt x="224" y="150"/>
                                    </a:lnTo>
                                    <a:lnTo>
                                      <a:pt x="224" y="148"/>
                                    </a:lnTo>
                                    <a:lnTo>
                                      <a:pt x="228" y="148"/>
                                    </a:lnTo>
                                    <a:lnTo>
                                      <a:pt x="228" y="148"/>
                                    </a:lnTo>
                                    <a:lnTo>
                                      <a:pt x="230" y="148"/>
                                    </a:lnTo>
                                    <a:lnTo>
                                      <a:pt x="234" y="150"/>
                                    </a:lnTo>
                                    <a:lnTo>
                                      <a:pt x="246" y="152"/>
                                    </a:lnTo>
                                    <a:lnTo>
                                      <a:pt x="280" y="154"/>
                                    </a:lnTo>
                                    <a:lnTo>
                                      <a:pt x="280" y="154"/>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2" name="Congo"/>
                              <p:cNvSpPr>
                                <a:spLocks/>
                              </p:cNvSpPr>
                              <p:nvPr/>
                            </p:nvSpPr>
                            <p:spPr bwMode="auto">
                              <a:xfrm>
                                <a:off x="6133905" y="3536584"/>
                                <a:ext cx="252124" cy="339901"/>
                              </a:xfrm>
                              <a:custGeom>
                                <a:avLst/>
                                <a:gdLst/>
                                <a:ahLst/>
                                <a:cxnLst>
                                  <a:cxn ang="0">
                                    <a:pos x="70" y="44"/>
                                  </a:cxn>
                                  <a:cxn ang="0">
                                    <a:pos x="86" y="46"/>
                                  </a:cxn>
                                  <a:cxn ang="0">
                                    <a:pos x="100" y="46"/>
                                  </a:cxn>
                                  <a:cxn ang="0">
                                    <a:pos x="110" y="50"/>
                                  </a:cxn>
                                  <a:cxn ang="0">
                                    <a:pos x="110" y="32"/>
                                  </a:cxn>
                                  <a:cxn ang="0">
                                    <a:pos x="120" y="20"/>
                                  </a:cxn>
                                  <a:cxn ang="0">
                                    <a:pos x="126" y="0"/>
                                  </a:cxn>
                                  <a:cxn ang="0">
                                    <a:pos x="148" y="0"/>
                                  </a:cxn>
                                  <a:cxn ang="0">
                                    <a:pos x="164" y="16"/>
                                  </a:cxn>
                                  <a:cxn ang="0">
                                    <a:pos x="160" y="34"/>
                                  </a:cxn>
                                  <a:cxn ang="0">
                                    <a:pos x="158" y="42"/>
                                  </a:cxn>
                                  <a:cxn ang="0">
                                    <a:pos x="154" y="70"/>
                                  </a:cxn>
                                  <a:cxn ang="0">
                                    <a:pos x="152" y="98"/>
                                  </a:cxn>
                                  <a:cxn ang="0">
                                    <a:pos x="138" y="124"/>
                                  </a:cxn>
                                  <a:cxn ang="0">
                                    <a:pos x="126" y="134"/>
                                  </a:cxn>
                                  <a:cxn ang="0">
                                    <a:pos x="120" y="160"/>
                                  </a:cxn>
                                  <a:cxn ang="0">
                                    <a:pos x="112" y="188"/>
                                  </a:cxn>
                                  <a:cxn ang="0">
                                    <a:pos x="100" y="200"/>
                                  </a:cxn>
                                  <a:cxn ang="0">
                                    <a:pos x="86" y="216"/>
                                  </a:cxn>
                                  <a:cxn ang="0">
                                    <a:pos x="80" y="224"/>
                                  </a:cxn>
                                  <a:cxn ang="0">
                                    <a:pos x="74" y="214"/>
                                  </a:cxn>
                                  <a:cxn ang="0">
                                    <a:pos x="66" y="214"/>
                                  </a:cxn>
                                  <a:cxn ang="0">
                                    <a:pos x="60" y="216"/>
                                  </a:cxn>
                                  <a:cxn ang="0">
                                    <a:pos x="52" y="218"/>
                                  </a:cxn>
                                  <a:cxn ang="0">
                                    <a:pos x="40" y="210"/>
                                  </a:cxn>
                                  <a:cxn ang="0">
                                    <a:pos x="34" y="212"/>
                                  </a:cxn>
                                  <a:cxn ang="0">
                                    <a:pos x="28" y="214"/>
                                  </a:cxn>
                                  <a:cxn ang="0">
                                    <a:pos x="24" y="220"/>
                                  </a:cxn>
                                  <a:cxn ang="0">
                                    <a:pos x="16" y="216"/>
                                  </a:cxn>
                                  <a:cxn ang="0">
                                    <a:pos x="2" y="200"/>
                                  </a:cxn>
                                  <a:cxn ang="0">
                                    <a:pos x="0" y="196"/>
                                  </a:cxn>
                                  <a:cxn ang="0">
                                    <a:pos x="12" y="188"/>
                                  </a:cxn>
                                  <a:cxn ang="0">
                                    <a:pos x="14" y="194"/>
                                  </a:cxn>
                                  <a:cxn ang="0">
                                    <a:pos x="18" y="188"/>
                                  </a:cxn>
                                  <a:cxn ang="0">
                                    <a:pos x="12" y="168"/>
                                  </a:cxn>
                                  <a:cxn ang="0">
                                    <a:pos x="12" y="164"/>
                                  </a:cxn>
                                  <a:cxn ang="0">
                                    <a:pos x="16" y="162"/>
                                  </a:cxn>
                                  <a:cxn ang="0">
                                    <a:pos x="22" y="162"/>
                                  </a:cxn>
                                  <a:cxn ang="0">
                                    <a:pos x="28" y="160"/>
                                  </a:cxn>
                                  <a:cxn ang="0">
                                    <a:pos x="30" y="148"/>
                                  </a:cxn>
                                  <a:cxn ang="0">
                                    <a:pos x="32" y="150"/>
                                  </a:cxn>
                                  <a:cxn ang="0">
                                    <a:pos x="38" y="160"/>
                                  </a:cxn>
                                  <a:cxn ang="0">
                                    <a:pos x="42" y="158"/>
                                  </a:cxn>
                                  <a:cxn ang="0">
                                    <a:pos x="52" y="158"/>
                                  </a:cxn>
                                  <a:cxn ang="0">
                                    <a:pos x="58" y="158"/>
                                  </a:cxn>
                                  <a:cxn ang="0">
                                    <a:pos x="68" y="164"/>
                                  </a:cxn>
                                  <a:cxn ang="0">
                                    <a:pos x="72" y="152"/>
                                  </a:cxn>
                                  <a:cxn ang="0">
                                    <a:pos x="80" y="142"/>
                                  </a:cxn>
                                  <a:cxn ang="0">
                                    <a:pos x="78" y="134"/>
                                  </a:cxn>
                                  <a:cxn ang="0">
                                    <a:pos x="78" y="126"/>
                                  </a:cxn>
                                  <a:cxn ang="0">
                                    <a:pos x="80" y="118"/>
                                  </a:cxn>
                                  <a:cxn ang="0">
                                    <a:pos x="78" y="114"/>
                                  </a:cxn>
                                  <a:cxn ang="0">
                                    <a:pos x="74" y="108"/>
                                  </a:cxn>
                                  <a:cxn ang="0">
                                    <a:pos x="68" y="96"/>
                                  </a:cxn>
                                  <a:cxn ang="0">
                                    <a:pos x="76" y="96"/>
                                  </a:cxn>
                                  <a:cxn ang="0">
                                    <a:pos x="74" y="88"/>
                                  </a:cxn>
                                  <a:cxn ang="0">
                                    <a:pos x="82" y="82"/>
                                  </a:cxn>
                                  <a:cxn ang="0">
                                    <a:pos x="82" y="74"/>
                                  </a:cxn>
                                  <a:cxn ang="0">
                                    <a:pos x="82" y="64"/>
                                  </a:cxn>
                                  <a:cxn ang="0">
                                    <a:pos x="68" y="62"/>
                                  </a:cxn>
                                  <a:cxn ang="0">
                                    <a:pos x="58" y="62"/>
                                  </a:cxn>
                                  <a:cxn ang="0">
                                    <a:pos x="62" y="44"/>
                                  </a:cxn>
                                </a:cxnLst>
                                <a:rect l="0" t="0" r="r" b="b"/>
                                <a:pathLst>
                                  <a:path w="166" h="224">
                                    <a:moveTo>
                                      <a:pt x="62" y="44"/>
                                    </a:moveTo>
                                    <a:lnTo>
                                      <a:pt x="62" y="44"/>
                                    </a:lnTo>
                                    <a:lnTo>
                                      <a:pt x="70" y="44"/>
                                    </a:lnTo>
                                    <a:lnTo>
                                      <a:pt x="76" y="44"/>
                                    </a:lnTo>
                                    <a:lnTo>
                                      <a:pt x="80" y="46"/>
                                    </a:lnTo>
                                    <a:lnTo>
                                      <a:pt x="86" y="46"/>
                                    </a:lnTo>
                                    <a:lnTo>
                                      <a:pt x="86" y="46"/>
                                    </a:lnTo>
                                    <a:lnTo>
                                      <a:pt x="92" y="46"/>
                                    </a:lnTo>
                                    <a:lnTo>
                                      <a:pt x="100" y="46"/>
                                    </a:lnTo>
                                    <a:lnTo>
                                      <a:pt x="100" y="46"/>
                                    </a:lnTo>
                                    <a:lnTo>
                                      <a:pt x="106" y="48"/>
                                    </a:lnTo>
                                    <a:lnTo>
                                      <a:pt x="110" y="50"/>
                                    </a:lnTo>
                                    <a:lnTo>
                                      <a:pt x="112" y="48"/>
                                    </a:lnTo>
                                    <a:lnTo>
                                      <a:pt x="112" y="46"/>
                                    </a:lnTo>
                                    <a:lnTo>
                                      <a:pt x="110" y="32"/>
                                    </a:lnTo>
                                    <a:lnTo>
                                      <a:pt x="110" y="32"/>
                                    </a:lnTo>
                                    <a:lnTo>
                                      <a:pt x="116" y="26"/>
                                    </a:lnTo>
                                    <a:lnTo>
                                      <a:pt x="120" y="20"/>
                                    </a:lnTo>
                                    <a:lnTo>
                                      <a:pt x="122" y="10"/>
                                    </a:lnTo>
                                    <a:lnTo>
                                      <a:pt x="124" y="2"/>
                                    </a:lnTo>
                                    <a:lnTo>
                                      <a:pt x="126" y="0"/>
                                    </a:lnTo>
                                    <a:lnTo>
                                      <a:pt x="128" y="0"/>
                                    </a:lnTo>
                                    <a:lnTo>
                                      <a:pt x="128" y="0"/>
                                    </a:lnTo>
                                    <a:lnTo>
                                      <a:pt x="148" y="0"/>
                                    </a:lnTo>
                                    <a:lnTo>
                                      <a:pt x="166" y="0"/>
                                    </a:lnTo>
                                    <a:lnTo>
                                      <a:pt x="166" y="0"/>
                                    </a:lnTo>
                                    <a:lnTo>
                                      <a:pt x="164" y="16"/>
                                    </a:lnTo>
                                    <a:lnTo>
                                      <a:pt x="160" y="24"/>
                                    </a:lnTo>
                                    <a:lnTo>
                                      <a:pt x="158" y="28"/>
                                    </a:lnTo>
                                    <a:lnTo>
                                      <a:pt x="160" y="34"/>
                                    </a:lnTo>
                                    <a:lnTo>
                                      <a:pt x="160" y="34"/>
                                    </a:lnTo>
                                    <a:lnTo>
                                      <a:pt x="160" y="38"/>
                                    </a:lnTo>
                                    <a:lnTo>
                                      <a:pt x="158" y="42"/>
                                    </a:lnTo>
                                    <a:lnTo>
                                      <a:pt x="156" y="50"/>
                                    </a:lnTo>
                                    <a:lnTo>
                                      <a:pt x="154" y="70"/>
                                    </a:lnTo>
                                    <a:lnTo>
                                      <a:pt x="154" y="70"/>
                                    </a:lnTo>
                                    <a:lnTo>
                                      <a:pt x="152" y="84"/>
                                    </a:lnTo>
                                    <a:lnTo>
                                      <a:pt x="154" y="92"/>
                                    </a:lnTo>
                                    <a:lnTo>
                                      <a:pt x="152" y="98"/>
                                    </a:lnTo>
                                    <a:lnTo>
                                      <a:pt x="148" y="108"/>
                                    </a:lnTo>
                                    <a:lnTo>
                                      <a:pt x="148" y="108"/>
                                    </a:lnTo>
                                    <a:lnTo>
                                      <a:pt x="138" y="124"/>
                                    </a:lnTo>
                                    <a:lnTo>
                                      <a:pt x="134" y="128"/>
                                    </a:lnTo>
                                    <a:lnTo>
                                      <a:pt x="130" y="130"/>
                                    </a:lnTo>
                                    <a:lnTo>
                                      <a:pt x="126" y="134"/>
                                    </a:lnTo>
                                    <a:lnTo>
                                      <a:pt x="126" y="134"/>
                                    </a:lnTo>
                                    <a:lnTo>
                                      <a:pt x="122" y="146"/>
                                    </a:lnTo>
                                    <a:lnTo>
                                      <a:pt x="120" y="160"/>
                                    </a:lnTo>
                                    <a:lnTo>
                                      <a:pt x="118" y="174"/>
                                    </a:lnTo>
                                    <a:lnTo>
                                      <a:pt x="112" y="188"/>
                                    </a:lnTo>
                                    <a:lnTo>
                                      <a:pt x="112" y="188"/>
                                    </a:lnTo>
                                    <a:lnTo>
                                      <a:pt x="108" y="194"/>
                                    </a:lnTo>
                                    <a:lnTo>
                                      <a:pt x="106" y="198"/>
                                    </a:lnTo>
                                    <a:lnTo>
                                      <a:pt x="100" y="200"/>
                                    </a:lnTo>
                                    <a:lnTo>
                                      <a:pt x="94" y="204"/>
                                    </a:lnTo>
                                    <a:lnTo>
                                      <a:pt x="90" y="208"/>
                                    </a:lnTo>
                                    <a:lnTo>
                                      <a:pt x="86" y="216"/>
                                    </a:lnTo>
                                    <a:lnTo>
                                      <a:pt x="86" y="216"/>
                                    </a:lnTo>
                                    <a:lnTo>
                                      <a:pt x="80" y="224"/>
                                    </a:lnTo>
                                    <a:lnTo>
                                      <a:pt x="80" y="224"/>
                                    </a:lnTo>
                                    <a:lnTo>
                                      <a:pt x="78" y="222"/>
                                    </a:lnTo>
                                    <a:lnTo>
                                      <a:pt x="76" y="216"/>
                                    </a:lnTo>
                                    <a:lnTo>
                                      <a:pt x="74" y="214"/>
                                    </a:lnTo>
                                    <a:lnTo>
                                      <a:pt x="70" y="214"/>
                                    </a:lnTo>
                                    <a:lnTo>
                                      <a:pt x="70" y="214"/>
                                    </a:lnTo>
                                    <a:lnTo>
                                      <a:pt x="66" y="214"/>
                                    </a:lnTo>
                                    <a:lnTo>
                                      <a:pt x="66" y="212"/>
                                    </a:lnTo>
                                    <a:lnTo>
                                      <a:pt x="64" y="212"/>
                                    </a:lnTo>
                                    <a:lnTo>
                                      <a:pt x="60" y="216"/>
                                    </a:lnTo>
                                    <a:lnTo>
                                      <a:pt x="60" y="216"/>
                                    </a:lnTo>
                                    <a:lnTo>
                                      <a:pt x="56" y="218"/>
                                    </a:lnTo>
                                    <a:lnTo>
                                      <a:pt x="52" y="218"/>
                                    </a:lnTo>
                                    <a:lnTo>
                                      <a:pt x="44" y="212"/>
                                    </a:lnTo>
                                    <a:lnTo>
                                      <a:pt x="44" y="212"/>
                                    </a:lnTo>
                                    <a:lnTo>
                                      <a:pt x="40" y="210"/>
                                    </a:lnTo>
                                    <a:lnTo>
                                      <a:pt x="36" y="210"/>
                                    </a:lnTo>
                                    <a:lnTo>
                                      <a:pt x="34" y="212"/>
                                    </a:lnTo>
                                    <a:lnTo>
                                      <a:pt x="34" y="212"/>
                                    </a:lnTo>
                                    <a:lnTo>
                                      <a:pt x="32" y="214"/>
                                    </a:lnTo>
                                    <a:lnTo>
                                      <a:pt x="30" y="214"/>
                                    </a:lnTo>
                                    <a:lnTo>
                                      <a:pt x="28" y="214"/>
                                    </a:lnTo>
                                    <a:lnTo>
                                      <a:pt x="26" y="218"/>
                                    </a:lnTo>
                                    <a:lnTo>
                                      <a:pt x="26" y="218"/>
                                    </a:lnTo>
                                    <a:lnTo>
                                      <a:pt x="24" y="220"/>
                                    </a:lnTo>
                                    <a:lnTo>
                                      <a:pt x="24" y="218"/>
                                    </a:lnTo>
                                    <a:lnTo>
                                      <a:pt x="22" y="216"/>
                                    </a:lnTo>
                                    <a:lnTo>
                                      <a:pt x="16" y="216"/>
                                    </a:lnTo>
                                    <a:lnTo>
                                      <a:pt x="16" y="216"/>
                                    </a:lnTo>
                                    <a:lnTo>
                                      <a:pt x="8" y="206"/>
                                    </a:lnTo>
                                    <a:lnTo>
                                      <a:pt x="2" y="200"/>
                                    </a:lnTo>
                                    <a:lnTo>
                                      <a:pt x="0" y="198"/>
                                    </a:lnTo>
                                    <a:lnTo>
                                      <a:pt x="0" y="196"/>
                                    </a:lnTo>
                                    <a:lnTo>
                                      <a:pt x="0" y="196"/>
                                    </a:lnTo>
                                    <a:lnTo>
                                      <a:pt x="6" y="190"/>
                                    </a:lnTo>
                                    <a:lnTo>
                                      <a:pt x="8" y="188"/>
                                    </a:lnTo>
                                    <a:lnTo>
                                      <a:pt x="12" y="188"/>
                                    </a:lnTo>
                                    <a:lnTo>
                                      <a:pt x="12" y="190"/>
                                    </a:lnTo>
                                    <a:lnTo>
                                      <a:pt x="14" y="194"/>
                                    </a:lnTo>
                                    <a:lnTo>
                                      <a:pt x="14" y="194"/>
                                    </a:lnTo>
                                    <a:lnTo>
                                      <a:pt x="16" y="192"/>
                                    </a:lnTo>
                                    <a:lnTo>
                                      <a:pt x="16" y="192"/>
                                    </a:lnTo>
                                    <a:lnTo>
                                      <a:pt x="18" y="188"/>
                                    </a:lnTo>
                                    <a:lnTo>
                                      <a:pt x="18" y="182"/>
                                    </a:lnTo>
                                    <a:lnTo>
                                      <a:pt x="14" y="176"/>
                                    </a:lnTo>
                                    <a:lnTo>
                                      <a:pt x="12" y="168"/>
                                    </a:lnTo>
                                    <a:lnTo>
                                      <a:pt x="10" y="162"/>
                                    </a:lnTo>
                                    <a:lnTo>
                                      <a:pt x="10" y="162"/>
                                    </a:lnTo>
                                    <a:lnTo>
                                      <a:pt x="12" y="164"/>
                                    </a:lnTo>
                                    <a:lnTo>
                                      <a:pt x="14" y="164"/>
                                    </a:lnTo>
                                    <a:lnTo>
                                      <a:pt x="16" y="162"/>
                                    </a:lnTo>
                                    <a:lnTo>
                                      <a:pt x="16" y="162"/>
                                    </a:lnTo>
                                    <a:lnTo>
                                      <a:pt x="20" y="160"/>
                                    </a:lnTo>
                                    <a:lnTo>
                                      <a:pt x="22" y="162"/>
                                    </a:lnTo>
                                    <a:lnTo>
                                      <a:pt x="22" y="162"/>
                                    </a:lnTo>
                                    <a:lnTo>
                                      <a:pt x="24" y="162"/>
                                    </a:lnTo>
                                    <a:lnTo>
                                      <a:pt x="24" y="162"/>
                                    </a:lnTo>
                                    <a:lnTo>
                                      <a:pt x="28" y="160"/>
                                    </a:lnTo>
                                    <a:lnTo>
                                      <a:pt x="28" y="156"/>
                                    </a:lnTo>
                                    <a:lnTo>
                                      <a:pt x="26" y="150"/>
                                    </a:lnTo>
                                    <a:lnTo>
                                      <a:pt x="30" y="148"/>
                                    </a:lnTo>
                                    <a:lnTo>
                                      <a:pt x="30" y="148"/>
                                    </a:lnTo>
                                    <a:lnTo>
                                      <a:pt x="30" y="148"/>
                                    </a:lnTo>
                                    <a:lnTo>
                                      <a:pt x="32" y="150"/>
                                    </a:lnTo>
                                    <a:lnTo>
                                      <a:pt x="34" y="154"/>
                                    </a:lnTo>
                                    <a:lnTo>
                                      <a:pt x="38" y="158"/>
                                    </a:lnTo>
                                    <a:lnTo>
                                      <a:pt x="38" y="160"/>
                                    </a:lnTo>
                                    <a:lnTo>
                                      <a:pt x="40" y="160"/>
                                    </a:lnTo>
                                    <a:lnTo>
                                      <a:pt x="40" y="160"/>
                                    </a:lnTo>
                                    <a:lnTo>
                                      <a:pt x="42" y="158"/>
                                    </a:lnTo>
                                    <a:lnTo>
                                      <a:pt x="46" y="158"/>
                                    </a:lnTo>
                                    <a:lnTo>
                                      <a:pt x="50" y="158"/>
                                    </a:lnTo>
                                    <a:lnTo>
                                      <a:pt x="52" y="158"/>
                                    </a:lnTo>
                                    <a:lnTo>
                                      <a:pt x="52" y="158"/>
                                    </a:lnTo>
                                    <a:lnTo>
                                      <a:pt x="56" y="156"/>
                                    </a:lnTo>
                                    <a:lnTo>
                                      <a:pt x="58" y="158"/>
                                    </a:lnTo>
                                    <a:lnTo>
                                      <a:pt x="66" y="164"/>
                                    </a:lnTo>
                                    <a:lnTo>
                                      <a:pt x="66" y="164"/>
                                    </a:lnTo>
                                    <a:lnTo>
                                      <a:pt x="68" y="164"/>
                                    </a:lnTo>
                                    <a:lnTo>
                                      <a:pt x="70" y="162"/>
                                    </a:lnTo>
                                    <a:lnTo>
                                      <a:pt x="72" y="152"/>
                                    </a:lnTo>
                                    <a:lnTo>
                                      <a:pt x="72" y="152"/>
                                    </a:lnTo>
                                    <a:lnTo>
                                      <a:pt x="74" y="146"/>
                                    </a:lnTo>
                                    <a:lnTo>
                                      <a:pt x="78" y="144"/>
                                    </a:lnTo>
                                    <a:lnTo>
                                      <a:pt x="80" y="142"/>
                                    </a:lnTo>
                                    <a:lnTo>
                                      <a:pt x="80" y="138"/>
                                    </a:lnTo>
                                    <a:lnTo>
                                      <a:pt x="80" y="138"/>
                                    </a:lnTo>
                                    <a:lnTo>
                                      <a:pt x="78" y="134"/>
                                    </a:lnTo>
                                    <a:lnTo>
                                      <a:pt x="80" y="132"/>
                                    </a:lnTo>
                                    <a:lnTo>
                                      <a:pt x="80" y="130"/>
                                    </a:lnTo>
                                    <a:lnTo>
                                      <a:pt x="78" y="126"/>
                                    </a:lnTo>
                                    <a:lnTo>
                                      <a:pt x="78" y="126"/>
                                    </a:lnTo>
                                    <a:lnTo>
                                      <a:pt x="78" y="120"/>
                                    </a:lnTo>
                                    <a:lnTo>
                                      <a:pt x="80" y="118"/>
                                    </a:lnTo>
                                    <a:lnTo>
                                      <a:pt x="80" y="116"/>
                                    </a:lnTo>
                                    <a:lnTo>
                                      <a:pt x="78" y="114"/>
                                    </a:lnTo>
                                    <a:lnTo>
                                      <a:pt x="78" y="114"/>
                                    </a:lnTo>
                                    <a:lnTo>
                                      <a:pt x="76" y="112"/>
                                    </a:lnTo>
                                    <a:lnTo>
                                      <a:pt x="76" y="110"/>
                                    </a:lnTo>
                                    <a:lnTo>
                                      <a:pt x="74" y="108"/>
                                    </a:lnTo>
                                    <a:lnTo>
                                      <a:pt x="72" y="102"/>
                                    </a:lnTo>
                                    <a:lnTo>
                                      <a:pt x="72" y="102"/>
                                    </a:lnTo>
                                    <a:lnTo>
                                      <a:pt x="68" y="96"/>
                                    </a:lnTo>
                                    <a:lnTo>
                                      <a:pt x="72" y="98"/>
                                    </a:lnTo>
                                    <a:lnTo>
                                      <a:pt x="76" y="98"/>
                                    </a:lnTo>
                                    <a:lnTo>
                                      <a:pt x="76" y="96"/>
                                    </a:lnTo>
                                    <a:lnTo>
                                      <a:pt x="74" y="92"/>
                                    </a:lnTo>
                                    <a:lnTo>
                                      <a:pt x="74" y="92"/>
                                    </a:lnTo>
                                    <a:lnTo>
                                      <a:pt x="74" y="88"/>
                                    </a:lnTo>
                                    <a:lnTo>
                                      <a:pt x="74" y="86"/>
                                    </a:lnTo>
                                    <a:lnTo>
                                      <a:pt x="78" y="84"/>
                                    </a:lnTo>
                                    <a:lnTo>
                                      <a:pt x="82" y="82"/>
                                    </a:lnTo>
                                    <a:lnTo>
                                      <a:pt x="82" y="78"/>
                                    </a:lnTo>
                                    <a:lnTo>
                                      <a:pt x="82" y="74"/>
                                    </a:lnTo>
                                    <a:lnTo>
                                      <a:pt x="82" y="74"/>
                                    </a:lnTo>
                                    <a:lnTo>
                                      <a:pt x="82" y="70"/>
                                    </a:lnTo>
                                    <a:lnTo>
                                      <a:pt x="82" y="66"/>
                                    </a:lnTo>
                                    <a:lnTo>
                                      <a:pt x="82" y="64"/>
                                    </a:lnTo>
                                    <a:lnTo>
                                      <a:pt x="78" y="62"/>
                                    </a:lnTo>
                                    <a:lnTo>
                                      <a:pt x="78" y="62"/>
                                    </a:lnTo>
                                    <a:lnTo>
                                      <a:pt x="68" y="62"/>
                                    </a:lnTo>
                                    <a:lnTo>
                                      <a:pt x="60" y="62"/>
                                    </a:lnTo>
                                    <a:lnTo>
                                      <a:pt x="60" y="62"/>
                                    </a:lnTo>
                                    <a:lnTo>
                                      <a:pt x="58" y="62"/>
                                    </a:lnTo>
                                    <a:lnTo>
                                      <a:pt x="56" y="60"/>
                                    </a:lnTo>
                                    <a:lnTo>
                                      <a:pt x="56" y="54"/>
                                    </a:lnTo>
                                    <a:lnTo>
                                      <a:pt x="62" y="44"/>
                                    </a:lnTo>
                                    <a:lnTo>
                                      <a:pt x="62" y="44"/>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0" name="Honduras"/>
                              <p:cNvSpPr>
                                <a:spLocks/>
                              </p:cNvSpPr>
                              <p:nvPr/>
                            </p:nvSpPr>
                            <p:spPr bwMode="auto">
                              <a:xfrm>
                                <a:off x="2938194" y="3069221"/>
                                <a:ext cx="206560" cy="115324"/>
                              </a:xfrm>
                              <a:custGeom>
                                <a:avLst/>
                                <a:gdLst/>
                                <a:ahLst/>
                                <a:cxnLst>
                                  <a:cxn ang="0">
                                    <a:pos x="32" y="66"/>
                                  </a:cxn>
                                  <a:cxn ang="0">
                                    <a:pos x="32" y="62"/>
                                  </a:cxn>
                                  <a:cxn ang="0">
                                    <a:pos x="30" y="58"/>
                                  </a:cxn>
                                  <a:cxn ang="0">
                                    <a:pos x="22" y="56"/>
                                  </a:cxn>
                                  <a:cxn ang="0">
                                    <a:pos x="14" y="48"/>
                                  </a:cxn>
                                  <a:cxn ang="0">
                                    <a:pos x="8" y="48"/>
                                  </a:cxn>
                                  <a:cxn ang="0">
                                    <a:pos x="0" y="44"/>
                                  </a:cxn>
                                  <a:cxn ang="0">
                                    <a:pos x="8" y="36"/>
                                  </a:cxn>
                                  <a:cxn ang="0">
                                    <a:pos x="8" y="32"/>
                                  </a:cxn>
                                  <a:cxn ang="0">
                                    <a:pos x="10" y="26"/>
                                  </a:cxn>
                                  <a:cxn ang="0">
                                    <a:pos x="26" y="12"/>
                                  </a:cxn>
                                  <a:cxn ang="0">
                                    <a:pos x="32" y="6"/>
                                  </a:cxn>
                                  <a:cxn ang="0">
                                    <a:pos x="40" y="4"/>
                                  </a:cxn>
                                  <a:cxn ang="0">
                                    <a:pos x="44" y="0"/>
                                  </a:cxn>
                                  <a:cxn ang="0">
                                    <a:pos x="54" y="4"/>
                                  </a:cxn>
                                  <a:cxn ang="0">
                                    <a:pos x="82" y="0"/>
                                  </a:cxn>
                                  <a:cxn ang="0">
                                    <a:pos x="92" y="0"/>
                                  </a:cxn>
                                  <a:cxn ang="0">
                                    <a:pos x="96" y="0"/>
                                  </a:cxn>
                                  <a:cxn ang="0">
                                    <a:pos x="102" y="0"/>
                                  </a:cxn>
                                  <a:cxn ang="0">
                                    <a:pos x="112" y="4"/>
                                  </a:cxn>
                                  <a:cxn ang="0">
                                    <a:pos x="110" y="8"/>
                                  </a:cxn>
                                  <a:cxn ang="0">
                                    <a:pos x="112" y="10"/>
                                  </a:cxn>
                                  <a:cxn ang="0">
                                    <a:pos x="122" y="14"/>
                                  </a:cxn>
                                  <a:cxn ang="0">
                                    <a:pos x="124" y="10"/>
                                  </a:cxn>
                                  <a:cxn ang="0">
                                    <a:pos x="134" y="18"/>
                                  </a:cxn>
                                  <a:cxn ang="0">
                                    <a:pos x="136" y="22"/>
                                  </a:cxn>
                                  <a:cxn ang="0">
                                    <a:pos x="124" y="28"/>
                                  </a:cxn>
                                  <a:cxn ang="0">
                                    <a:pos x="110" y="32"/>
                                  </a:cxn>
                                  <a:cxn ang="0">
                                    <a:pos x="104" y="30"/>
                                  </a:cxn>
                                  <a:cxn ang="0">
                                    <a:pos x="100" y="32"/>
                                  </a:cxn>
                                  <a:cxn ang="0">
                                    <a:pos x="94" y="34"/>
                                  </a:cxn>
                                  <a:cxn ang="0">
                                    <a:pos x="94" y="42"/>
                                  </a:cxn>
                                  <a:cxn ang="0">
                                    <a:pos x="82" y="48"/>
                                  </a:cxn>
                                  <a:cxn ang="0">
                                    <a:pos x="72" y="52"/>
                                  </a:cxn>
                                  <a:cxn ang="0">
                                    <a:pos x="66" y="54"/>
                                  </a:cxn>
                                  <a:cxn ang="0">
                                    <a:pos x="64" y="60"/>
                                  </a:cxn>
                                  <a:cxn ang="0">
                                    <a:pos x="60" y="62"/>
                                  </a:cxn>
                                  <a:cxn ang="0">
                                    <a:pos x="54" y="62"/>
                                  </a:cxn>
                                  <a:cxn ang="0">
                                    <a:pos x="54" y="66"/>
                                  </a:cxn>
                                  <a:cxn ang="0">
                                    <a:pos x="44" y="76"/>
                                  </a:cxn>
                                  <a:cxn ang="0">
                                    <a:pos x="42" y="72"/>
                                  </a:cxn>
                                  <a:cxn ang="0">
                                    <a:pos x="38" y="66"/>
                                  </a:cxn>
                                </a:cxnLst>
                                <a:rect l="0" t="0" r="r" b="b"/>
                                <a:pathLst>
                                  <a:path w="136" h="76">
                                    <a:moveTo>
                                      <a:pt x="34" y="68"/>
                                    </a:moveTo>
                                    <a:lnTo>
                                      <a:pt x="34" y="68"/>
                                    </a:lnTo>
                                    <a:lnTo>
                                      <a:pt x="32" y="66"/>
                                    </a:lnTo>
                                    <a:lnTo>
                                      <a:pt x="32" y="64"/>
                                    </a:lnTo>
                                    <a:lnTo>
                                      <a:pt x="32" y="62"/>
                                    </a:lnTo>
                                    <a:lnTo>
                                      <a:pt x="32" y="62"/>
                                    </a:lnTo>
                                    <a:lnTo>
                                      <a:pt x="32" y="62"/>
                                    </a:lnTo>
                                    <a:lnTo>
                                      <a:pt x="30" y="60"/>
                                    </a:lnTo>
                                    <a:lnTo>
                                      <a:pt x="30" y="58"/>
                                    </a:lnTo>
                                    <a:lnTo>
                                      <a:pt x="28" y="56"/>
                                    </a:lnTo>
                                    <a:lnTo>
                                      <a:pt x="22" y="56"/>
                                    </a:lnTo>
                                    <a:lnTo>
                                      <a:pt x="22" y="56"/>
                                    </a:lnTo>
                                    <a:lnTo>
                                      <a:pt x="18" y="54"/>
                                    </a:lnTo>
                                    <a:lnTo>
                                      <a:pt x="16" y="50"/>
                                    </a:lnTo>
                                    <a:lnTo>
                                      <a:pt x="14" y="48"/>
                                    </a:lnTo>
                                    <a:lnTo>
                                      <a:pt x="10" y="46"/>
                                    </a:lnTo>
                                    <a:lnTo>
                                      <a:pt x="10" y="46"/>
                                    </a:lnTo>
                                    <a:lnTo>
                                      <a:pt x="8" y="48"/>
                                    </a:lnTo>
                                    <a:lnTo>
                                      <a:pt x="6" y="46"/>
                                    </a:lnTo>
                                    <a:lnTo>
                                      <a:pt x="6" y="44"/>
                                    </a:lnTo>
                                    <a:lnTo>
                                      <a:pt x="0" y="44"/>
                                    </a:lnTo>
                                    <a:lnTo>
                                      <a:pt x="0" y="44"/>
                                    </a:lnTo>
                                    <a:lnTo>
                                      <a:pt x="2" y="40"/>
                                    </a:lnTo>
                                    <a:lnTo>
                                      <a:pt x="8" y="36"/>
                                    </a:lnTo>
                                    <a:lnTo>
                                      <a:pt x="8" y="36"/>
                                    </a:lnTo>
                                    <a:lnTo>
                                      <a:pt x="10" y="32"/>
                                    </a:lnTo>
                                    <a:lnTo>
                                      <a:pt x="8" y="32"/>
                                    </a:lnTo>
                                    <a:lnTo>
                                      <a:pt x="6" y="30"/>
                                    </a:lnTo>
                                    <a:lnTo>
                                      <a:pt x="10" y="26"/>
                                    </a:lnTo>
                                    <a:lnTo>
                                      <a:pt x="10" y="26"/>
                                    </a:lnTo>
                                    <a:lnTo>
                                      <a:pt x="16" y="20"/>
                                    </a:lnTo>
                                    <a:lnTo>
                                      <a:pt x="22" y="16"/>
                                    </a:lnTo>
                                    <a:lnTo>
                                      <a:pt x="26" y="12"/>
                                    </a:lnTo>
                                    <a:lnTo>
                                      <a:pt x="30" y="4"/>
                                    </a:lnTo>
                                    <a:lnTo>
                                      <a:pt x="30" y="4"/>
                                    </a:lnTo>
                                    <a:lnTo>
                                      <a:pt x="32" y="6"/>
                                    </a:lnTo>
                                    <a:lnTo>
                                      <a:pt x="34" y="6"/>
                                    </a:lnTo>
                                    <a:lnTo>
                                      <a:pt x="36" y="4"/>
                                    </a:lnTo>
                                    <a:lnTo>
                                      <a:pt x="40" y="4"/>
                                    </a:lnTo>
                                    <a:lnTo>
                                      <a:pt x="40" y="4"/>
                                    </a:lnTo>
                                    <a:lnTo>
                                      <a:pt x="40" y="0"/>
                                    </a:lnTo>
                                    <a:lnTo>
                                      <a:pt x="44" y="0"/>
                                    </a:lnTo>
                                    <a:lnTo>
                                      <a:pt x="50" y="2"/>
                                    </a:lnTo>
                                    <a:lnTo>
                                      <a:pt x="50" y="2"/>
                                    </a:lnTo>
                                    <a:lnTo>
                                      <a:pt x="54" y="4"/>
                                    </a:lnTo>
                                    <a:lnTo>
                                      <a:pt x="60" y="4"/>
                                    </a:lnTo>
                                    <a:lnTo>
                                      <a:pt x="70" y="2"/>
                                    </a:lnTo>
                                    <a:lnTo>
                                      <a:pt x="82" y="0"/>
                                    </a:lnTo>
                                    <a:lnTo>
                                      <a:pt x="88" y="0"/>
                                    </a:lnTo>
                                    <a:lnTo>
                                      <a:pt x="92" y="0"/>
                                    </a:lnTo>
                                    <a:lnTo>
                                      <a:pt x="92" y="0"/>
                                    </a:lnTo>
                                    <a:lnTo>
                                      <a:pt x="96" y="2"/>
                                    </a:lnTo>
                                    <a:lnTo>
                                      <a:pt x="96" y="2"/>
                                    </a:lnTo>
                                    <a:lnTo>
                                      <a:pt x="96" y="0"/>
                                    </a:lnTo>
                                    <a:lnTo>
                                      <a:pt x="96" y="0"/>
                                    </a:lnTo>
                                    <a:lnTo>
                                      <a:pt x="96" y="0"/>
                                    </a:lnTo>
                                    <a:lnTo>
                                      <a:pt x="102" y="0"/>
                                    </a:lnTo>
                                    <a:lnTo>
                                      <a:pt x="104" y="2"/>
                                    </a:lnTo>
                                    <a:lnTo>
                                      <a:pt x="112" y="4"/>
                                    </a:lnTo>
                                    <a:lnTo>
                                      <a:pt x="112" y="4"/>
                                    </a:lnTo>
                                    <a:lnTo>
                                      <a:pt x="118" y="6"/>
                                    </a:lnTo>
                                    <a:lnTo>
                                      <a:pt x="114" y="6"/>
                                    </a:lnTo>
                                    <a:lnTo>
                                      <a:pt x="110" y="8"/>
                                    </a:lnTo>
                                    <a:lnTo>
                                      <a:pt x="110" y="8"/>
                                    </a:lnTo>
                                    <a:lnTo>
                                      <a:pt x="108" y="8"/>
                                    </a:lnTo>
                                    <a:lnTo>
                                      <a:pt x="112" y="10"/>
                                    </a:lnTo>
                                    <a:lnTo>
                                      <a:pt x="116" y="12"/>
                                    </a:lnTo>
                                    <a:lnTo>
                                      <a:pt x="116" y="12"/>
                                    </a:lnTo>
                                    <a:lnTo>
                                      <a:pt x="122" y="14"/>
                                    </a:lnTo>
                                    <a:lnTo>
                                      <a:pt x="120" y="12"/>
                                    </a:lnTo>
                                    <a:lnTo>
                                      <a:pt x="120" y="8"/>
                                    </a:lnTo>
                                    <a:lnTo>
                                      <a:pt x="124" y="10"/>
                                    </a:lnTo>
                                    <a:lnTo>
                                      <a:pt x="124" y="10"/>
                                    </a:lnTo>
                                    <a:lnTo>
                                      <a:pt x="130" y="14"/>
                                    </a:lnTo>
                                    <a:lnTo>
                                      <a:pt x="134" y="18"/>
                                    </a:lnTo>
                                    <a:lnTo>
                                      <a:pt x="134" y="20"/>
                                    </a:lnTo>
                                    <a:lnTo>
                                      <a:pt x="136" y="22"/>
                                    </a:lnTo>
                                    <a:lnTo>
                                      <a:pt x="136" y="22"/>
                                    </a:lnTo>
                                    <a:lnTo>
                                      <a:pt x="130" y="24"/>
                                    </a:lnTo>
                                    <a:lnTo>
                                      <a:pt x="124" y="28"/>
                                    </a:lnTo>
                                    <a:lnTo>
                                      <a:pt x="124" y="28"/>
                                    </a:lnTo>
                                    <a:lnTo>
                                      <a:pt x="120" y="30"/>
                                    </a:lnTo>
                                    <a:lnTo>
                                      <a:pt x="116" y="32"/>
                                    </a:lnTo>
                                    <a:lnTo>
                                      <a:pt x="110" y="32"/>
                                    </a:lnTo>
                                    <a:lnTo>
                                      <a:pt x="110" y="32"/>
                                    </a:lnTo>
                                    <a:lnTo>
                                      <a:pt x="106" y="32"/>
                                    </a:lnTo>
                                    <a:lnTo>
                                      <a:pt x="104" y="30"/>
                                    </a:lnTo>
                                    <a:lnTo>
                                      <a:pt x="100" y="30"/>
                                    </a:lnTo>
                                    <a:lnTo>
                                      <a:pt x="100" y="32"/>
                                    </a:lnTo>
                                    <a:lnTo>
                                      <a:pt x="100" y="32"/>
                                    </a:lnTo>
                                    <a:lnTo>
                                      <a:pt x="98" y="34"/>
                                    </a:lnTo>
                                    <a:lnTo>
                                      <a:pt x="96" y="34"/>
                                    </a:lnTo>
                                    <a:lnTo>
                                      <a:pt x="94" y="34"/>
                                    </a:lnTo>
                                    <a:lnTo>
                                      <a:pt x="94" y="38"/>
                                    </a:lnTo>
                                    <a:lnTo>
                                      <a:pt x="94" y="38"/>
                                    </a:lnTo>
                                    <a:lnTo>
                                      <a:pt x="94" y="42"/>
                                    </a:lnTo>
                                    <a:lnTo>
                                      <a:pt x="92" y="42"/>
                                    </a:lnTo>
                                    <a:lnTo>
                                      <a:pt x="86" y="42"/>
                                    </a:lnTo>
                                    <a:lnTo>
                                      <a:pt x="82" y="48"/>
                                    </a:lnTo>
                                    <a:lnTo>
                                      <a:pt x="82" y="48"/>
                                    </a:lnTo>
                                    <a:lnTo>
                                      <a:pt x="76" y="52"/>
                                    </a:lnTo>
                                    <a:lnTo>
                                      <a:pt x="72" y="52"/>
                                    </a:lnTo>
                                    <a:lnTo>
                                      <a:pt x="70" y="52"/>
                                    </a:lnTo>
                                    <a:lnTo>
                                      <a:pt x="66" y="54"/>
                                    </a:lnTo>
                                    <a:lnTo>
                                      <a:pt x="66" y="54"/>
                                    </a:lnTo>
                                    <a:lnTo>
                                      <a:pt x="64" y="56"/>
                                    </a:lnTo>
                                    <a:lnTo>
                                      <a:pt x="64" y="58"/>
                                    </a:lnTo>
                                    <a:lnTo>
                                      <a:pt x="64" y="60"/>
                                    </a:lnTo>
                                    <a:lnTo>
                                      <a:pt x="62" y="62"/>
                                    </a:lnTo>
                                    <a:lnTo>
                                      <a:pt x="62" y="62"/>
                                    </a:lnTo>
                                    <a:lnTo>
                                      <a:pt x="60" y="62"/>
                                    </a:lnTo>
                                    <a:lnTo>
                                      <a:pt x="58" y="62"/>
                                    </a:lnTo>
                                    <a:lnTo>
                                      <a:pt x="56" y="60"/>
                                    </a:lnTo>
                                    <a:lnTo>
                                      <a:pt x="54" y="62"/>
                                    </a:lnTo>
                                    <a:lnTo>
                                      <a:pt x="54" y="62"/>
                                    </a:lnTo>
                                    <a:lnTo>
                                      <a:pt x="52" y="64"/>
                                    </a:lnTo>
                                    <a:lnTo>
                                      <a:pt x="54" y="66"/>
                                    </a:lnTo>
                                    <a:lnTo>
                                      <a:pt x="52" y="70"/>
                                    </a:lnTo>
                                    <a:lnTo>
                                      <a:pt x="44" y="76"/>
                                    </a:lnTo>
                                    <a:lnTo>
                                      <a:pt x="44" y="76"/>
                                    </a:lnTo>
                                    <a:lnTo>
                                      <a:pt x="44" y="74"/>
                                    </a:lnTo>
                                    <a:lnTo>
                                      <a:pt x="42" y="72"/>
                                    </a:lnTo>
                                    <a:lnTo>
                                      <a:pt x="42" y="72"/>
                                    </a:lnTo>
                                    <a:lnTo>
                                      <a:pt x="40" y="70"/>
                                    </a:lnTo>
                                    <a:lnTo>
                                      <a:pt x="40" y="68"/>
                                    </a:lnTo>
                                    <a:lnTo>
                                      <a:pt x="38" y="66"/>
                                    </a:lnTo>
                                    <a:lnTo>
                                      <a:pt x="34" y="68"/>
                                    </a:lnTo>
                                    <a:lnTo>
                                      <a:pt x="34" y="6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6" name="Sierra Leone Liberia"/>
                              <p:cNvSpPr>
                                <a:spLocks/>
                              </p:cNvSpPr>
                              <p:nvPr/>
                            </p:nvSpPr>
                            <p:spPr bwMode="auto">
                              <a:xfrm>
                                <a:off x="5413872" y="3357529"/>
                                <a:ext cx="136694" cy="151742"/>
                              </a:xfrm>
                              <a:custGeom>
                                <a:avLst/>
                                <a:gdLst/>
                                <a:ahLst/>
                                <a:cxnLst>
                                  <a:cxn ang="0">
                                    <a:pos x="82" y="100"/>
                                  </a:cxn>
                                  <a:cxn ang="0">
                                    <a:pos x="82" y="86"/>
                                  </a:cxn>
                                  <a:cxn ang="0">
                                    <a:pos x="86" y="82"/>
                                  </a:cxn>
                                  <a:cxn ang="0">
                                    <a:pos x="90" y="78"/>
                                  </a:cxn>
                                  <a:cxn ang="0">
                                    <a:pos x="88" y="74"/>
                                  </a:cxn>
                                  <a:cxn ang="0">
                                    <a:pos x="88" y="66"/>
                                  </a:cxn>
                                  <a:cxn ang="0">
                                    <a:pos x="82" y="64"/>
                                  </a:cxn>
                                  <a:cxn ang="0">
                                    <a:pos x="76" y="60"/>
                                  </a:cxn>
                                  <a:cxn ang="0">
                                    <a:pos x="74" y="58"/>
                                  </a:cxn>
                                  <a:cxn ang="0">
                                    <a:pos x="70" y="58"/>
                                  </a:cxn>
                                  <a:cxn ang="0">
                                    <a:pos x="66" y="56"/>
                                  </a:cxn>
                                  <a:cxn ang="0">
                                    <a:pos x="68" y="44"/>
                                  </a:cxn>
                                  <a:cxn ang="0">
                                    <a:pos x="68" y="40"/>
                                  </a:cxn>
                                  <a:cxn ang="0">
                                    <a:pos x="68" y="34"/>
                                  </a:cxn>
                                  <a:cxn ang="0">
                                    <a:pos x="66" y="26"/>
                                  </a:cxn>
                                  <a:cxn ang="0">
                                    <a:pos x="64" y="24"/>
                                  </a:cxn>
                                  <a:cxn ang="0">
                                    <a:pos x="60" y="26"/>
                                  </a:cxn>
                                  <a:cxn ang="0">
                                    <a:pos x="58" y="30"/>
                                  </a:cxn>
                                  <a:cxn ang="0">
                                    <a:pos x="50" y="30"/>
                                  </a:cxn>
                                  <a:cxn ang="0">
                                    <a:pos x="48" y="28"/>
                                  </a:cxn>
                                  <a:cxn ang="0">
                                    <a:pos x="50" y="22"/>
                                  </a:cxn>
                                  <a:cxn ang="0">
                                    <a:pos x="46" y="12"/>
                                  </a:cxn>
                                  <a:cxn ang="0">
                                    <a:pos x="38" y="0"/>
                                  </a:cxn>
                                  <a:cxn ang="0">
                                    <a:pos x="24" y="4"/>
                                  </a:cxn>
                                  <a:cxn ang="0">
                                    <a:pos x="24" y="6"/>
                                  </a:cxn>
                                  <a:cxn ang="0">
                                    <a:pos x="22" y="12"/>
                                  </a:cxn>
                                  <a:cxn ang="0">
                                    <a:pos x="16" y="20"/>
                                  </a:cxn>
                                  <a:cxn ang="0">
                                    <a:pos x="0" y="34"/>
                                  </a:cxn>
                                  <a:cxn ang="0">
                                    <a:pos x="2" y="38"/>
                                  </a:cxn>
                                  <a:cxn ang="0">
                                    <a:pos x="8" y="42"/>
                                  </a:cxn>
                                  <a:cxn ang="0">
                                    <a:pos x="4" y="44"/>
                                  </a:cxn>
                                  <a:cxn ang="0">
                                    <a:pos x="8" y="46"/>
                                  </a:cxn>
                                  <a:cxn ang="0">
                                    <a:pos x="16" y="52"/>
                                  </a:cxn>
                                  <a:cxn ang="0">
                                    <a:pos x="22" y="56"/>
                                  </a:cxn>
                                  <a:cxn ang="0">
                                    <a:pos x="22" y="58"/>
                                  </a:cxn>
                                  <a:cxn ang="0">
                                    <a:pos x="26" y="64"/>
                                  </a:cxn>
                                  <a:cxn ang="0">
                                    <a:pos x="34" y="70"/>
                                  </a:cxn>
                                  <a:cxn ang="0">
                                    <a:pos x="44" y="78"/>
                                  </a:cxn>
                                  <a:cxn ang="0">
                                    <a:pos x="50" y="84"/>
                                  </a:cxn>
                                  <a:cxn ang="0">
                                    <a:pos x="54" y="86"/>
                                  </a:cxn>
                                  <a:cxn ang="0">
                                    <a:pos x="54" y="88"/>
                                  </a:cxn>
                                  <a:cxn ang="0">
                                    <a:pos x="58" y="90"/>
                                  </a:cxn>
                                  <a:cxn ang="0">
                                    <a:pos x="72" y="98"/>
                                  </a:cxn>
                                  <a:cxn ang="0">
                                    <a:pos x="82" y="100"/>
                                  </a:cxn>
                                </a:cxnLst>
                                <a:rect l="0" t="0" r="r" b="b"/>
                                <a:pathLst>
                                  <a:path w="90" h="100">
                                    <a:moveTo>
                                      <a:pt x="82" y="100"/>
                                    </a:moveTo>
                                    <a:lnTo>
                                      <a:pt x="82" y="100"/>
                                    </a:lnTo>
                                    <a:lnTo>
                                      <a:pt x="82" y="92"/>
                                    </a:lnTo>
                                    <a:lnTo>
                                      <a:pt x="82" y="86"/>
                                    </a:lnTo>
                                    <a:lnTo>
                                      <a:pt x="84" y="82"/>
                                    </a:lnTo>
                                    <a:lnTo>
                                      <a:pt x="86" y="82"/>
                                    </a:lnTo>
                                    <a:lnTo>
                                      <a:pt x="90" y="80"/>
                                    </a:lnTo>
                                    <a:lnTo>
                                      <a:pt x="90" y="78"/>
                                    </a:lnTo>
                                    <a:lnTo>
                                      <a:pt x="88" y="74"/>
                                    </a:lnTo>
                                    <a:lnTo>
                                      <a:pt x="88" y="74"/>
                                    </a:lnTo>
                                    <a:lnTo>
                                      <a:pt x="88" y="70"/>
                                    </a:lnTo>
                                    <a:lnTo>
                                      <a:pt x="88" y="66"/>
                                    </a:lnTo>
                                    <a:lnTo>
                                      <a:pt x="88" y="66"/>
                                    </a:lnTo>
                                    <a:lnTo>
                                      <a:pt x="82" y="64"/>
                                    </a:lnTo>
                                    <a:lnTo>
                                      <a:pt x="82" y="64"/>
                                    </a:lnTo>
                                    <a:lnTo>
                                      <a:pt x="76" y="60"/>
                                    </a:lnTo>
                                    <a:lnTo>
                                      <a:pt x="74" y="58"/>
                                    </a:lnTo>
                                    <a:lnTo>
                                      <a:pt x="74" y="58"/>
                                    </a:lnTo>
                                    <a:lnTo>
                                      <a:pt x="70" y="58"/>
                                    </a:lnTo>
                                    <a:lnTo>
                                      <a:pt x="70" y="58"/>
                                    </a:lnTo>
                                    <a:lnTo>
                                      <a:pt x="68" y="56"/>
                                    </a:lnTo>
                                    <a:lnTo>
                                      <a:pt x="66" y="56"/>
                                    </a:lnTo>
                                    <a:lnTo>
                                      <a:pt x="66" y="50"/>
                                    </a:lnTo>
                                    <a:lnTo>
                                      <a:pt x="68" y="44"/>
                                    </a:lnTo>
                                    <a:lnTo>
                                      <a:pt x="68" y="40"/>
                                    </a:lnTo>
                                    <a:lnTo>
                                      <a:pt x="68" y="40"/>
                                    </a:lnTo>
                                    <a:lnTo>
                                      <a:pt x="68" y="38"/>
                                    </a:lnTo>
                                    <a:lnTo>
                                      <a:pt x="68" y="34"/>
                                    </a:lnTo>
                                    <a:lnTo>
                                      <a:pt x="68" y="32"/>
                                    </a:lnTo>
                                    <a:lnTo>
                                      <a:pt x="66" y="26"/>
                                    </a:lnTo>
                                    <a:lnTo>
                                      <a:pt x="66" y="26"/>
                                    </a:lnTo>
                                    <a:lnTo>
                                      <a:pt x="64" y="24"/>
                                    </a:lnTo>
                                    <a:lnTo>
                                      <a:pt x="62" y="22"/>
                                    </a:lnTo>
                                    <a:lnTo>
                                      <a:pt x="60" y="26"/>
                                    </a:lnTo>
                                    <a:lnTo>
                                      <a:pt x="60" y="26"/>
                                    </a:lnTo>
                                    <a:lnTo>
                                      <a:pt x="58" y="30"/>
                                    </a:lnTo>
                                    <a:lnTo>
                                      <a:pt x="54" y="30"/>
                                    </a:lnTo>
                                    <a:lnTo>
                                      <a:pt x="50" y="30"/>
                                    </a:lnTo>
                                    <a:lnTo>
                                      <a:pt x="50" y="30"/>
                                    </a:lnTo>
                                    <a:lnTo>
                                      <a:pt x="48" y="28"/>
                                    </a:lnTo>
                                    <a:lnTo>
                                      <a:pt x="48" y="26"/>
                                    </a:lnTo>
                                    <a:lnTo>
                                      <a:pt x="50" y="22"/>
                                    </a:lnTo>
                                    <a:lnTo>
                                      <a:pt x="46" y="12"/>
                                    </a:lnTo>
                                    <a:lnTo>
                                      <a:pt x="46" y="12"/>
                                    </a:lnTo>
                                    <a:lnTo>
                                      <a:pt x="42" y="4"/>
                                    </a:lnTo>
                                    <a:lnTo>
                                      <a:pt x="38" y="0"/>
                                    </a:lnTo>
                                    <a:lnTo>
                                      <a:pt x="32" y="0"/>
                                    </a:lnTo>
                                    <a:lnTo>
                                      <a:pt x="24" y="4"/>
                                    </a:lnTo>
                                    <a:lnTo>
                                      <a:pt x="24" y="4"/>
                                    </a:lnTo>
                                    <a:lnTo>
                                      <a:pt x="24" y="6"/>
                                    </a:lnTo>
                                    <a:lnTo>
                                      <a:pt x="24" y="8"/>
                                    </a:lnTo>
                                    <a:lnTo>
                                      <a:pt x="22" y="12"/>
                                    </a:lnTo>
                                    <a:lnTo>
                                      <a:pt x="16" y="20"/>
                                    </a:lnTo>
                                    <a:lnTo>
                                      <a:pt x="16" y="20"/>
                                    </a:lnTo>
                                    <a:lnTo>
                                      <a:pt x="2" y="32"/>
                                    </a:lnTo>
                                    <a:lnTo>
                                      <a:pt x="0" y="34"/>
                                    </a:lnTo>
                                    <a:lnTo>
                                      <a:pt x="2" y="38"/>
                                    </a:lnTo>
                                    <a:lnTo>
                                      <a:pt x="2" y="38"/>
                                    </a:lnTo>
                                    <a:lnTo>
                                      <a:pt x="8" y="42"/>
                                    </a:lnTo>
                                    <a:lnTo>
                                      <a:pt x="8" y="42"/>
                                    </a:lnTo>
                                    <a:lnTo>
                                      <a:pt x="6" y="44"/>
                                    </a:lnTo>
                                    <a:lnTo>
                                      <a:pt x="4" y="44"/>
                                    </a:lnTo>
                                    <a:lnTo>
                                      <a:pt x="8" y="46"/>
                                    </a:lnTo>
                                    <a:lnTo>
                                      <a:pt x="8" y="46"/>
                                    </a:lnTo>
                                    <a:lnTo>
                                      <a:pt x="12" y="50"/>
                                    </a:lnTo>
                                    <a:lnTo>
                                      <a:pt x="16" y="52"/>
                                    </a:lnTo>
                                    <a:lnTo>
                                      <a:pt x="18" y="54"/>
                                    </a:lnTo>
                                    <a:lnTo>
                                      <a:pt x="22" y="56"/>
                                    </a:lnTo>
                                    <a:lnTo>
                                      <a:pt x="22" y="56"/>
                                    </a:lnTo>
                                    <a:lnTo>
                                      <a:pt x="22" y="58"/>
                                    </a:lnTo>
                                    <a:lnTo>
                                      <a:pt x="22" y="60"/>
                                    </a:lnTo>
                                    <a:lnTo>
                                      <a:pt x="26" y="64"/>
                                    </a:lnTo>
                                    <a:lnTo>
                                      <a:pt x="34" y="70"/>
                                    </a:lnTo>
                                    <a:lnTo>
                                      <a:pt x="34" y="70"/>
                                    </a:lnTo>
                                    <a:lnTo>
                                      <a:pt x="42" y="74"/>
                                    </a:lnTo>
                                    <a:lnTo>
                                      <a:pt x="44" y="78"/>
                                    </a:lnTo>
                                    <a:lnTo>
                                      <a:pt x="46" y="82"/>
                                    </a:lnTo>
                                    <a:lnTo>
                                      <a:pt x="50" y="84"/>
                                    </a:lnTo>
                                    <a:lnTo>
                                      <a:pt x="50" y="84"/>
                                    </a:lnTo>
                                    <a:lnTo>
                                      <a:pt x="54" y="86"/>
                                    </a:lnTo>
                                    <a:lnTo>
                                      <a:pt x="54" y="86"/>
                                    </a:lnTo>
                                    <a:lnTo>
                                      <a:pt x="54" y="88"/>
                                    </a:lnTo>
                                    <a:lnTo>
                                      <a:pt x="58" y="90"/>
                                    </a:lnTo>
                                    <a:lnTo>
                                      <a:pt x="58" y="90"/>
                                    </a:lnTo>
                                    <a:lnTo>
                                      <a:pt x="68" y="94"/>
                                    </a:lnTo>
                                    <a:lnTo>
                                      <a:pt x="72" y="98"/>
                                    </a:lnTo>
                                    <a:lnTo>
                                      <a:pt x="74" y="100"/>
                                    </a:lnTo>
                                    <a:lnTo>
                                      <a:pt x="82" y="100"/>
                                    </a:lnTo>
                                    <a:lnTo>
                                      <a:pt x="82" y="10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Macedonia (FYROM)"/>
                              <p:cNvSpPr>
                                <a:spLocks/>
                              </p:cNvSpPr>
                              <p:nvPr/>
                            </p:nvSpPr>
                            <p:spPr bwMode="auto">
                              <a:xfrm>
                                <a:off x="6373067" y="2104728"/>
                                <a:ext cx="85026" cy="63730"/>
                              </a:xfrm>
                              <a:custGeom>
                                <a:avLst/>
                                <a:gdLst>
                                  <a:gd name="T0" fmla="*/ 78 w 1066"/>
                                  <a:gd name="T1" fmla="*/ 577 h 799"/>
                                  <a:gd name="T2" fmla="*/ 123 w 1066"/>
                                  <a:gd name="T3" fmla="*/ 667 h 799"/>
                                  <a:gd name="T4" fmla="*/ 168 w 1066"/>
                                  <a:gd name="T5" fmla="*/ 799 h 799"/>
                                  <a:gd name="T6" fmla="*/ 258 w 1066"/>
                                  <a:gd name="T7" fmla="*/ 712 h 799"/>
                                  <a:gd name="T8" fmla="*/ 348 w 1066"/>
                                  <a:gd name="T9" fmla="*/ 712 h 799"/>
                                  <a:gd name="T10" fmla="*/ 527 w 1066"/>
                                  <a:gd name="T11" fmla="*/ 712 h 799"/>
                                  <a:gd name="T12" fmla="*/ 617 w 1066"/>
                                  <a:gd name="T13" fmla="*/ 712 h 799"/>
                                  <a:gd name="T14" fmla="*/ 707 w 1066"/>
                                  <a:gd name="T15" fmla="*/ 622 h 799"/>
                                  <a:gd name="T16" fmla="*/ 752 w 1066"/>
                                  <a:gd name="T17" fmla="*/ 532 h 799"/>
                                  <a:gd name="T18" fmla="*/ 796 w 1066"/>
                                  <a:gd name="T19" fmla="*/ 532 h 799"/>
                                  <a:gd name="T20" fmla="*/ 841 w 1066"/>
                                  <a:gd name="T21" fmla="*/ 532 h 799"/>
                                  <a:gd name="T22" fmla="*/ 931 w 1066"/>
                                  <a:gd name="T23" fmla="*/ 577 h 799"/>
                                  <a:gd name="T24" fmla="*/ 976 w 1066"/>
                                  <a:gd name="T25" fmla="*/ 577 h 799"/>
                                  <a:gd name="T26" fmla="*/ 976 w 1066"/>
                                  <a:gd name="T27" fmla="*/ 532 h 799"/>
                                  <a:gd name="T28" fmla="*/ 1021 w 1066"/>
                                  <a:gd name="T29" fmla="*/ 489 h 799"/>
                                  <a:gd name="T30" fmla="*/ 1066 w 1066"/>
                                  <a:gd name="T31" fmla="*/ 445 h 799"/>
                                  <a:gd name="T32" fmla="*/ 1066 w 1066"/>
                                  <a:gd name="T33" fmla="*/ 355 h 799"/>
                                  <a:gd name="T34" fmla="*/ 1021 w 1066"/>
                                  <a:gd name="T35" fmla="*/ 222 h 799"/>
                                  <a:gd name="T36" fmla="*/ 841 w 1066"/>
                                  <a:gd name="T37" fmla="*/ 88 h 799"/>
                                  <a:gd name="T38" fmla="*/ 752 w 1066"/>
                                  <a:gd name="T39" fmla="*/ 45 h 799"/>
                                  <a:gd name="T40" fmla="*/ 707 w 1066"/>
                                  <a:gd name="T41" fmla="*/ 0 h 799"/>
                                  <a:gd name="T42" fmla="*/ 610 w 1066"/>
                                  <a:gd name="T43" fmla="*/ 38 h 799"/>
                                  <a:gd name="T44" fmla="*/ 340 w 1066"/>
                                  <a:gd name="T45" fmla="*/ 95 h 799"/>
                                  <a:gd name="T46" fmla="*/ 307 w 1066"/>
                                  <a:gd name="T47" fmla="*/ 152 h 799"/>
                                  <a:gd name="T48" fmla="*/ 251 w 1066"/>
                                  <a:gd name="T49" fmla="*/ 95 h 799"/>
                                  <a:gd name="T50" fmla="*/ 57 w 1066"/>
                                  <a:gd name="T51" fmla="*/ 201 h 799"/>
                                  <a:gd name="T52" fmla="*/ 0 w 1066"/>
                                  <a:gd name="T53" fmla="*/ 428 h 799"/>
                                  <a:gd name="T54" fmla="*/ 31 w 1066"/>
                                  <a:gd name="T55" fmla="*/ 525 h 799"/>
                                  <a:gd name="T56" fmla="*/ 0 w 1066"/>
                                  <a:gd name="T57" fmla="*/ 525 h 799"/>
                                  <a:gd name="T58" fmla="*/ 78 w 1066"/>
                                  <a:gd name="T59" fmla="*/ 577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66" h="799">
                                    <a:moveTo>
                                      <a:pt x="78" y="577"/>
                                    </a:moveTo>
                                    <a:lnTo>
                                      <a:pt x="123" y="667"/>
                                    </a:lnTo>
                                    <a:lnTo>
                                      <a:pt x="168" y="799"/>
                                    </a:lnTo>
                                    <a:lnTo>
                                      <a:pt x="258" y="712"/>
                                    </a:lnTo>
                                    <a:lnTo>
                                      <a:pt x="348" y="712"/>
                                    </a:lnTo>
                                    <a:lnTo>
                                      <a:pt x="527" y="712"/>
                                    </a:lnTo>
                                    <a:lnTo>
                                      <a:pt x="617" y="712"/>
                                    </a:lnTo>
                                    <a:lnTo>
                                      <a:pt x="707" y="622"/>
                                    </a:lnTo>
                                    <a:lnTo>
                                      <a:pt x="752" y="532"/>
                                    </a:lnTo>
                                    <a:lnTo>
                                      <a:pt x="796" y="532"/>
                                    </a:lnTo>
                                    <a:lnTo>
                                      <a:pt x="841" y="532"/>
                                    </a:lnTo>
                                    <a:lnTo>
                                      <a:pt x="931" y="577"/>
                                    </a:lnTo>
                                    <a:lnTo>
                                      <a:pt x="976" y="577"/>
                                    </a:lnTo>
                                    <a:lnTo>
                                      <a:pt x="976" y="532"/>
                                    </a:lnTo>
                                    <a:lnTo>
                                      <a:pt x="1021" y="489"/>
                                    </a:lnTo>
                                    <a:lnTo>
                                      <a:pt x="1066" y="445"/>
                                    </a:lnTo>
                                    <a:lnTo>
                                      <a:pt x="1066" y="355"/>
                                    </a:lnTo>
                                    <a:lnTo>
                                      <a:pt x="1021" y="222"/>
                                    </a:lnTo>
                                    <a:lnTo>
                                      <a:pt x="841" y="88"/>
                                    </a:lnTo>
                                    <a:lnTo>
                                      <a:pt x="752" y="45"/>
                                    </a:lnTo>
                                    <a:lnTo>
                                      <a:pt x="707" y="0"/>
                                    </a:lnTo>
                                    <a:lnTo>
                                      <a:pt x="610" y="38"/>
                                    </a:lnTo>
                                    <a:lnTo>
                                      <a:pt x="340" y="95"/>
                                    </a:lnTo>
                                    <a:lnTo>
                                      <a:pt x="307" y="152"/>
                                    </a:lnTo>
                                    <a:lnTo>
                                      <a:pt x="251" y="95"/>
                                    </a:lnTo>
                                    <a:lnTo>
                                      <a:pt x="57" y="201"/>
                                    </a:lnTo>
                                    <a:lnTo>
                                      <a:pt x="0" y="428"/>
                                    </a:lnTo>
                                    <a:lnTo>
                                      <a:pt x="31" y="525"/>
                                    </a:lnTo>
                                    <a:lnTo>
                                      <a:pt x="0" y="525"/>
                                    </a:lnTo>
                                    <a:lnTo>
                                      <a:pt x="78" y="577"/>
                                    </a:lnTo>
                                    <a:close/>
                                  </a:path>
                                </a:pathLst>
                              </a:custGeom>
                              <a:grp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405" name="Malawi"/>
                              <p:cNvSpPr>
                                <a:spLocks/>
                              </p:cNvSpPr>
                              <p:nvPr/>
                            </p:nvSpPr>
                            <p:spPr bwMode="auto">
                              <a:xfrm>
                                <a:off x="6826374" y="4064646"/>
                                <a:ext cx="106317" cy="288309"/>
                              </a:xfrm>
                              <a:custGeom>
                                <a:avLst/>
                                <a:gdLst/>
                                <a:ahLst/>
                                <a:cxnLst>
                                  <a:cxn ang="0">
                                    <a:pos x="6" y="116"/>
                                  </a:cxn>
                                  <a:cxn ang="0">
                                    <a:pos x="0" y="114"/>
                                  </a:cxn>
                                  <a:cxn ang="0">
                                    <a:pos x="0" y="110"/>
                                  </a:cxn>
                                  <a:cxn ang="0">
                                    <a:pos x="4" y="98"/>
                                  </a:cxn>
                                  <a:cxn ang="0">
                                    <a:pos x="16" y="84"/>
                                  </a:cxn>
                                  <a:cxn ang="0">
                                    <a:pos x="22" y="78"/>
                                  </a:cxn>
                                  <a:cxn ang="0">
                                    <a:pos x="20" y="76"/>
                                  </a:cxn>
                                  <a:cxn ang="0">
                                    <a:pos x="16" y="56"/>
                                  </a:cxn>
                                  <a:cxn ang="0">
                                    <a:pos x="20" y="38"/>
                                  </a:cxn>
                                  <a:cxn ang="0">
                                    <a:pos x="26" y="32"/>
                                  </a:cxn>
                                  <a:cxn ang="0">
                                    <a:pos x="22" y="20"/>
                                  </a:cxn>
                                  <a:cxn ang="0">
                                    <a:pos x="24" y="14"/>
                                  </a:cxn>
                                  <a:cxn ang="0">
                                    <a:pos x="18" y="2"/>
                                  </a:cxn>
                                  <a:cxn ang="0">
                                    <a:pos x="36" y="6"/>
                                  </a:cxn>
                                  <a:cxn ang="0">
                                    <a:pos x="36" y="12"/>
                                  </a:cxn>
                                  <a:cxn ang="0">
                                    <a:pos x="40" y="26"/>
                                  </a:cxn>
                                  <a:cxn ang="0">
                                    <a:pos x="40" y="44"/>
                                  </a:cxn>
                                  <a:cxn ang="0">
                                    <a:pos x="44" y="50"/>
                                  </a:cxn>
                                  <a:cxn ang="0">
                                    <a:pos x="36" y="66"/>
                                  </a:cxn>
                                  <a:cxn ang="0">
                                    <a:pos x="36" y="72"/>
                                  </a:cxn>
                                  <a:cxn ang="0">
                                    <a:pos x="38" y="84"/>
                                  </a:cxn>
                                  <a:cxn ang="0">
                                    <a:pos x="38" y="92"/>
                                  </a:cxn>
                                  <a:cxn ang="0">
                                    <a:pos x="36" y="106"/>
                                  </a:cxn>
                                  <a:cxn ang="0">
                                    <a:pos x="42" y="110"/>
                                  </a:cxn>
                                  <a:cxn ang="0">
                                    <a:pos x="44" y="120"/>
                                  </a:cxn>
                                  <a:cxn ang="0">
                                    <a:pos x="52" y="120"/>
                                  </a:cxn>
                                  <a:cxn ang="0">
                                    <a:pos x="54" y="120"/>
                                  </a:cxn>
                                  <a:cxn ang="0">
                                    <a:pos x="58" y="114"/>
                                  </a:cxn>
                                  <a:cxn ang="0">
                                    <a:pos x="70" y="126"/>
                                  </a:cxn>
                                  <a:cxn ang="0">
                                    <a:pos x="68" y="140"/>
                                  </a:cxn>
                                  <a:cxn ang="0">
                                    <a:pos x="68" y="154"/>
                                  </a:cxn>
                                  <a:cxn ang="0">
                                    <a:pos x="62" y="164"/>
                                  </a:cxn>
                                  <a:cxn ang="0">
                                    <a:pos x="58" y="172"/>
                                  </a:cxn>
                                  <a:cxn ang="0">
                                    <a:pos x="58" y="188"/>
                                  </a:cxn>
                                  <a:cxn ang="0">
                                    <a:pos x="54" y="190"/>
                                  </a:cxn>
                                  <a:cxn ang="0">
                                    <a:pos x="46" y="180"/>
                                  </a:cxn>
                                  <a:cxn ang="0">
                                    <a:pos x="40" y="176"/>
                                  </a:cxn>
                                  <a:cxn ang="0">
                                    <a:pos x="34" y="152"/>
                                  </a:cxn>
                                  <a:cxn ang="0">
                                    <a:pos x="38" y="148"/>
                                  </a:cxn>
                                  <a:cxn ang="0">
                                    <a:pos x="36" y="128"/>
                                  </a:cxn>
                                  <a:cxn ang="0">
                                    <a:pos x="30" y="130"/>
                                  </a:cxn>
                                  <a:cxn ang="0">
                                    <a:pos x="22" y="132"/>
                                  </a:cxn>
                                  <a:cxn ang="0">
                                    <a:pos x="14" y="122"/>
                                  </a:cxn>
                                </a:cxnLst>
                                <a:rect l="0" t="0" r="r" b="b"/>
                                <a:pathLst>
                                  <a:path w="70" h="190">
                                    <a:moveTo>
                                      <a:pt x="10" y="116"/>
                                    </a:moveTo>
                                    <a:lnTo>
                                      <a:pt x="10" y="116"/>
                                    </a:lnTo>
                                    <a:lnTo>
                                      <a:pt x="6" y="116"/>
                                    </a:lnTo>
                                    <a:lnTo>
                                      <a:pt x="4" y="116"/>
                                    </a:lnTo>
                                    <a:lnTo>
                                      <a:pt x="2" y="116"/>
                                    </a:lnTo>
                                    <a:lnTo>
                                      <a:pt x="0" y="114"/>
                                    </a:lnTo>
                                    <a:lnTo>
                                      <a:pt x="0" y="114"/>
                                    </a:lnTo>
                                    <a:lnTo>
                                      <a:pt x="0" y="112"/>
                                    </a:lnTo>
                                    <a:lnTo>
                                      <a:pt x="0" y="110"/>
                                    </a:lnTo>
                                    <a:lnTo>
                                      <a:pt x="2" y="106"/>
                                    </a:lnTo>
                                    <a:lnTo>
                                      <a:pt x="4" y="98"/>
                                    </a:lnTo>
                                    <a:lnTo>
                                      <a:pt x="4" y="98"/>
                                    </a:lnTo>
                                    <a:lnTo>
                                      <a:pt x="6" y="92"/>
                                    </a:lnTo>
                                    <a:lnTo>
                                      <a:pt x="8" y="88"/>
                                    </a:lnTo>
                                    <a:lnTo>
                                      <a:pt x="16" y="84"/>
                                    </a:lnTo>
                                    <a:lnTo>
                                      <a:pt x="16" y="84"/>
                                    </a:lnTo>
                                    <a:lnTo>
                                      <a:pt x="20" y="80"/>
                                    </a:lnTo>
                                    <a:lnTo>
                                      <a:pt x="22" y="78"/>
                                    </a:lnTo>
                                    <a:lnTo>
                                      <a:pt x="22" y="76"/>
                                    </a:lnTo>
                                    <a:lnTo>
                                      <a:pt x="20" y="76"/>
                                    </a:lnTo>
                                    <a:lnTo>
                                      <a:pt x="20" y="76"/>
                                    </a:lnTo>
                                    <a:lnTo>
                                      <a:pt x="18" y="76"/>
                                    </a:lnTo>
                                    <a:lnTo>
                                      <a:pt x="18" y="72"/>
                                    </a:lnTo>
                                    <a:lnTo>
                                      <a:pt x="16" y="56"/>
                                    </a:lnTo>
                                    <a:lnTo>
                                      <a:pt x="16" y="56"/>
                                    </a:lnTo>
                                    <a:lnTo>
                                      <a:pt x="18" y="42"/>
                                    </a:lnTo>
                                    <a:lnTo>
                                      <a:pt x="20" y="38"/>
                                    </a:lnTo>
                                    <a:lnTo>
                                      <a:pt x="24" y="36"/>
                                    </a:lnTo>
                                    <a:lnTo>
                                      <a:pt x="24" y="36"/>
                                    </a:lnTo>
                                    <a:lnTo>
                                      <a:pt x="26" y="32"/>
                                    </a:lnTo>
                                    <a:lnTo>
                                      <a:pt x="24" y="30"/>
                                    </a:lnTo>
                                    <a:lnTo>
                                      <a:pt x="22" y="26"/>
                                    </a:lnTo>
                                    <a:lnTo>
                                      <a:pt x="22" y="20"/>
                                    </a:lnTo>
                                    <a:lnTo>
                                      <a:pt x="22" y="20"/>
                                    </a:lnTo>
                                    <a:lnTo>
                                      <a:pt x="24" y="16"/>
                                    </a:lnTo>
                                    <a:lnTo>
                                      <a:pt x="24" y="14"/>
                                    </a:lnTo>
                                    <a:lnTo>
                                      <a:pt x="20" y="10"/>
                                    </a:lnTo>
                                    <a:lnTo>
                                      <a:pt x="18" y="6"/>
                                    </a:lnTo>
                                    <a:lnTo>
                                      <a:pt x="18" y="2"/>
                                    </a:lnTo>
                                    <a:lnTo>
                                      <a:pt x="20" y="0"/>
                                    </a:lnTo>
                                    <a:lnTo>
                                      <a:pt x="20" y="0"/>
                                    </a:lnTo>
                                    <a:lnTo>
                                      <a:pt x="36" y="6"/>
                                    </a:lnTo>
                                    <a:lnTo>
                                      <a:pt x="36" y="6"/>
                                    </a:lnTo>
                                    <a:lnTo>
                                      <a:pt x="36" y="8"/>
                                    </a:lnTo>
                                    <a:lnTo>
                                      <a:pt x="36" y="12"/>
                                    </a:lnTo>
                                    <a:lnTo>
                                      <a:pt x="40" y="20"/>
                                    </a:lnTo>
                                    <a:lnTo>
                                      <a:pt x="40" y="20"/>
                                    </a:lnTo>
                                    <a:lnTo>
                                      <a:pt x="40" y="26"/>
                                    </a:lnTo>
                                    <a:lnTo>
                                      <a:pt x="40" y="32"/>
                                    </a:lnTo>
                                    <a:lnTo>
                                      <a:pt x="38" y="40"/>
                                    </a:lnTo>
                                    <a:lnTo>
                                      <a:pt x="40" y="44"/>
                                    </a:lnTo>
                                    <a:lnTo>
                                      <a:pt x="42" y="46"/>
                                    </a:lnTo>
                                    <a:lnTo>
                                      <a:pt x="42" y="46"/>
                                    </a:lnTo>
                                    <a:lnTo>
                                      <a:pt x="44" y="50"/>
                                    </a:lnTo>
                                    <a:lnTo>
                                      <a:pt x="44" y="52"/>
                                    </a:lnTo>
                                    <a:lnTo>
                                      <a:pt x="40" y="60"/>
                                    </a:lnTo>
                                    <a:lnTo>
                                      <a:pt x="36" y="66"/>
                                    </a:lnTo>
                                    <a:lnTo>
                                      <a:pt x="34" y="70"/>
                                    </a:lnTo>
                                    <a:lnTo>
                                      <a:pt x="36" y="72"/>
                                    </a:lnTo>
                                    <a:lnTo>
                                      <a:pt x="36" y="72"/>
                                    </a:lnTo>
                                    <a:lnTo>
                                      <a:pt x="40" y="76"/>
                                    </a:lnTo>
                                    <a:lnTo>
                                      <a:pt x="40" y="80"/>
                                    </a:lnTo>
                                    <a:lnTo>
                                      <a:pt x="38" y="84"/>
                                    </a:lnTo>
                                    <a:lnTo>
                                      <a:pt x="38" y="88"/>
                                    </a:lnTo>
                                    <a:lnTo>
                                      <a:pt x="38" y="88"/>
                                    </a:lnTo>
                                    <a:lnTo>
                                      <a:pt x="38" y="92"/>
                                    </a:lnTo>
                                    <a:lnTo>
                                      <a:pt x="36" y="98"/>
                                    </a:lnTo>
                                    <a:lnTo>
                                      <a:pt x="36" y="102"/>
                                    </a:lnTo>
                                    <a:lnTo>
                                      <a:pt x="36" y="106"/>
                                    </a:lnTo>
                                    <a:lnTo>
                                      <a:pt x="38" y="108"/>
                                    </a:lnTo>
                                    <a:lnTo>
                                      <a:pt x="38" y="108"/>
                                    </a:lnTo>
                                    <a:lnTo>
                                      <a:pt x="42" y="110"/>
                                    </a:lnTo>
                                    <a:lnTo>
                                      <a:pt x="40" y="112"/>
                                    </a:lnTo>
                                    <a:lnTo>
                                      <a:pt x="40" y="114"/>
                                    </a:lnTo>
                                    <a:lnTo>
                                      <a:pt x="44" y="120"/>
                                    </a:lnTo>
                                    <a:lnTo>
                                      <a:pt x="44" y="120"/>
                                    </a:lnTo>
                                    <a:lnTo>
                                      <a:pt x="50" y="122"/>
                                    </a:lnTo>
                                    <a:lnTo>
                                      <a:pt x="52" y="120"/>
                                    </a:lnTo>
                                    <a:lnTo>
                                      <a:pt x="54" y="120"/>
                                    </a:lnTo>
                                    <a:lnTo>
                                      <a:pt x="54" y="120"/>
                                    </a:lnTo>
                                    <a:lnTo>
                                      <a:pt x="54" y="120"/>
                                    </a:lnTo>
                                    <a:lnTo>
                                      <a:pt x="58" y="126"/>
                                    </a:lnTo>
                                    <a:lnTo>
                                      <a:pt x="58" y="122"/>
                                    </a:lnTo>
                                    <a:lnTo>
                                      <a:pt x="58" y="114"/>
                                    </a:lnTo>
                                    <a:lnTo>
                                      <a:pt x="58" y="114"/>
                                    </a:lnTo>
                                    <a:lnTo>
                                      <a:pt x="66" y="122"/>
                                    </a:lnTo>
                                    <a:lnTo>
                                      <a:pt x="70" y="126"/>
                                    </a:lnTo>
                                    <a:lnTo>
                                      <a:pt x="70" y="132"/>
                                    </a:lnTo>
                                    <a:lnTo>
                                      <a:pt x="68" y="140"/>
                                    </a:lnTo>
                                    <a:lnTo>
                                      <a:pt x="68" y="140"/>
                                    </a:lnTo>
                                    <a:lnTo>
                                      <a:pt x="66" y="144"/>
                                    </a:lnTo>
                                    <a:lnTo>
                                      <a:pt x="66" y="148"/>
                                    </a:lnTo>
                                    <a:lnTo>
                                      <a:pt x="68" y="154"/>
                                    </a:lnTo>
                                    <a:lnTo>
                                      <a:pt x="68" y="158"/>
                                    </a:lnTo>
                                    <a:lnTo>
                                      <a:pt x="66" y="162"/>
                                    </a:lnTo>
                                    <a:lnTo>
                                      <a:pt x="62" y="164"/>
                                    </a:lnTo>
                                    <a:lnTo>
                                      <a:pt x="62" y="164"/>
                                    </a:lnTo>
                                    <a:lnTo>
                                      <a:pt x="60" y="168"/>
                                    </a:lnTo>
                                    <a:lnTo>
                                      <a:pt x="58" y="172"/>
                                    </a:lnTo>
                                    <a:lnTo>
                                      <a:pt x="56" y="180"/>
                                    </a:lnTo>
                                    <a:lnTo>
                                      <a:pt x="58" y="186"/>
                                    </a:lnTo>
                                    <a:lnTo>
                                      <a:pt x="58" y="188"/>
                                    </a:lnTo>
                                    <a:lnTo>
                                      <a:pt x="56" y="190"/>
                                    </a:lnTo>
                                    <a:lnTo>
                                      <a:pt x="56" y="190"/>
                                    </a:lnTo>
                                    <a:lnTo>
                                      <a:pt x="54" y="190"/>
                                    </a:lnTo>
                                    <a:lnTo>
                                      <a:pt x="52" y="188"/>
                                    </a:lnTo>
                                    <a:lnTo>
                                      <a:pt x="50" y="184"/>
                                    </a:lnTo>
                                    <a:lnTo>
                                      <a:pt x="46" y="180"/>
                                    </a:lnTo>
                                    <a:lnTo>
                                      <a:pt x="46" y="180"/>
                                    </a:lnTo>
                                    <a:lnTo>
                                      <a:pt x="42" y="180"/>
                                    </a:lnTo>
                                    <a:lnTo>
                                      <a:pt x="40" y="176"/>
                                    </a:lnTo>
                                    <a:lnTo>
                                      <a:pt x="34" y="164"/>
                                    </a:lnTo>
                                    <a:lnTo>
                                      <a:pt x="32" y="154"/>
                                    </a:lnTo>
                                    <a:lnTo>
                                      <a:pt x="34" y="152"/>
                                    </a:lnTo>
                                    <a:lnTo>
                                      <a:pt x="36" y="150"/>
                                    </a:lnTo>
                                    <a:lnTo>
                                      <a:pt x="36" y="150"/>
                                    </a:lnTo>
                                    <a:lnTo>
                                      <a:pt x="38" y="148"/>
                                    </a:lnTo>
                                    <a:lnTo>
                                      <a:pt x="38" y="140"/>
                                    </a:lnTo>
                                    <a:lnTo>
                                      <a:pt x="38" y="132"/>
                                    </a:lnTo>
                                    <a:lnTo>
                                      <a:pt x="36" y="128"/>
                                    </a:lnTo>
                                    <a:lnTo>
                                      <a:pt x="36" y="128"/>
                                    </a:lnTo>
                                    <a:lnTo>
                                      <a:pt x="34" y="128"/>
                                    </a:lnTo>
                                    <a:lnTo>
                                      <a:pt x="30" y="130"/>
                                    </a:lnTo>
                                    <a:lnTo>
                                      <a:pt x="26" y="132"/>
                                    </a:lnTo>
                                    <a:lnTo>
                                      <a:pt x="22" y="132"/>
                                    </a:lnTo>
                                    <a:lnTo>
                                      <a:pt x="22" y="132"/>
                                    </a:lnTo>
                                    <a:lnTo>
                                      <a:pt x="20" y="130"/>
                                    </a:lnTo>
                                    <a:lnTo>
                                      <a:pt x="18" y="126"/>
                                    </a:lnTo>
                                    <a:lnTo>
                                      <a:pt x="14" y="122"/>
                                    </a:lnTo>
                                    <a:lnTo>
                                      <a:pt x="10" y="116"/>
                                    </a:lnTo>
                                    <a:lnTo>
                                      <a:pt x="10" y="116"/>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2" name="Malta"/>
                              <p:cNvSpPr>
                                <a:spLocks/>
                              </p:cNvSpPr>
                              <p:nvPr/>
                            </p:nvSpPr>
                            <p:spPr bwMode="auto">
                              <a:xfrm>
                                <a:off x="6188313" y="2322990"/>
                                <a:ext cx="18226" cy="15174"/>
                              </a:xfrm>
                              <a:custGeom>
                                <a:avLst/>
                                <a:gdLst/>
                                <a:ahLst/>
                                <a:cxnLst>
                                  <a:cxn ang="0">
                                    <a:pos x="6" y="0"/>
                                  </a:cxn>
                                  <a:cxn ang="0">
                                    <a:pos x="6" y="0"/>
                                  </a:cxn>
                                  <a:cxn ang="0">
                                    <a:pos x="4" y="0"/>
                                  </a:cxn>
                                  <a:cxn ang="0">
                                    <a:pos x="2" y="2"/>
                                  </a:cxn>
                                  <a:cxn ang="0">
                                    <a:pos x="2" y="2"/>
                                  </a:cxn>
                                  <a:cxn ang="0">
                                    <a:pos x="2" y="4"/>
                                  </a:cxn>
                                  <a:cxn ang="0">
                                    <a:pos x="2" y="4"/>
                                  </a:cxn>
                                  <a:cxn ang="0">
                                    <a:pos x="4" y="6"/>
                                  </a:cxn>
                                  <a:cxn ang="0">
                                    <a:pos x="4" y="6"/>
                                  </a:cxn>
                                  <a:cxn ang="0">
                                    <a:pos x="4" y="6"/>
                                  </a:cxn>
                                  <a:cxn ang="0">
                                    <a:pos x="4" y="6"/>
                                  </a:cxn>
                                  <a:cxn ang="0">
                                    <a:pos x="0" y="6"/>
                                  </a:cxn>
                                  <a:cxn ang="0">
                                    <a:pos x="0" y="6"/>
                                  </a:cxn>
                                  <a:cxn ang="0">
                                    <a:pos x="0" y="6"/>
                                  </a:cxn>
                                  <a:cxn ang="0">
                                    <a:pos x="0" y="6"/>
                                  </a:cxn>
                                  <a:cxn ang="0">
                                    <a:pos x="0" y="6"/>
                                  </a:cxn>
                                  <a:cxn ang="0">
                                    <a:pos x="0" y="6"/>
                                  </a:cxn>
                                  <a:cxn ang="0">
                                    <a:pos x="2" y="8"/>
                                  </a:cxn>
                                  <a:cxn ang="0">
                                    <a:pos x="6" y="10"/>
                                  </a:cxn>
                                  <a:cxn ang="0">
                                    <a:pos x="6" y="10"/>
                                  </a:cxn>
                                  <a:cxn ang="0">
                                    <a:pos x="8" y="10"/>
                                  </a:cxn>
                                  <a:cxn ang="0">
                                    <a:pos x="12" y="8"/>
                                  </a:cxn>
                                  <a:cxn ang="0">
                                    <a:pos x="12" y="8"/>
                                  </a:cxn>
                                  <a:cxn ang="0">
                                    <a:pos x="12" y="8"/>
                                  </a:cxn>
                                  <a:cxn ang="0">
                                    <a:pos x="12" y="6"/>
                                  </a:cxn>
                                  <a:cxn ang="0">
                                    <a:pos x="12" y="6"/>
                                  </a:cxn>
                                  <a:cxn ang="0">
                                    <a:pos x="12" y="4"/>
                                  </a:cxn>
                                  <a:cxn ang="0">
                                    <a:pos x="12" y="4"/>
                                  </a:cxn>
                                  <a:cxn ang="0">
                                    <a:pos x="12" y="2"/>
                                  </a:cxn>
                                  <a:cxn ang="0">
                                    <a:pos x="12" y="2"/>
                                  </a:cxn>
                                  <a:cxn ang="0">
                                    <a:pos x="12" y="0"/>
                                  </a:cxn>
                                  <a:cxn ang="0">
                                    <a:pos x="12" y="0"/>
                                  </a:cxn>
                                  <a:cxn ang="0">
                                    <a:pos x="10" y="0"/>
                                  </a:cxn>
                                  <a:cxn ang="0">
                                    <a:pos x="10" y="0"/>
                                  </a:cxn>
                                  <a:cxn ang="0">
                                    <a:pos x="6" y="0"/>
                                  </a:cxn>
                                  <a:cxn ang="0">
                                    <a:pos x="6" y="0"/>
                                  </a:cxn>
                                </a:cxnLst>
                                <a:rect l="0" t="0" r="r" b="b"/>
                                <a:pathLst>
                                  <a:path w="12" h="10">
                                    <a:moveTo>
                                      <a:pt x="6" y="0"/>
                                    </a:moveTo>
                                    <a:lnTo>
                                      <a:pt x="6" y="0"/>
                                    </a:lnTo>
                                    <a:lnTo>
                                      <a:pt x="4" y="0"/>
                                    </a:lnTo>
                                    <a:lnTo>
                                      <a:pt x="2" y="2"/>
                                    </a:lnTo>
                                    <a:lnTo>
                                      <a:pt x="2" y="2"/>
                                    </a:lnTo>
                                    <a:lnTo>
                                      <a:pt x="2" y="4"/>
                                    </a:lnTo>
                                    <a:lnTo>
                                      <a:pt x="2" y="4"/>
                                    </a:lnTo>
                                    <a:lnTo>
                                      <a:pt x="4" y="6"/>
                                    </a:lnTo>
                                    <a:lnTo>
                                      <a:pt x="4" y="6"/>
                                    </a:lnTo>
                                    <a:lnTo>
                                      <a:pt x="4" y="6"/>
                                    </a:lnTo>
                                    <a:lnTo>
                                      <a:pt x="4" y="6"/>
                                    </a:lnTo>
                                    <a:lnTo>
                                      <a:pt x="0" y="6"/>
                                    </a:lnTo>
                                    <a:lnTo>
                                      <a:pt x="0" y="6"/>
                                    </a:lnTo>
                                    <a:lnTo>
                                      <a:pt x="0" y="6"/>
                                    </a:lnTo>
                                    <a:lnTo>
                                      <a:pt x="0" y="6"/>
                                    </a:lnTo>
                                    <a:lnTo>
                                      <a:pt x="0" y="6"/>
                                    </a:lnTo>
                                    <a:lnTo>
                                      <a:pt x="0" y="6"/>
                                    </a:lnTo>
                                    <a:lnTo>
                                      <a:pt x="2" y="8"/>
                                    </a:lnTo>
                                    <a:lnTo>
                                      <a:pt x="6" y="10"/>
                                    </a:lnTo>
                                    <a:lnTo>
                                      <a:pt x="6" y="10"/>
                                    </a:lnTo>
                                    <a:lnTo>
                                      <a:pt x="8" y="10"/>
                                    </a:lnTo>
                                    <a:lnTo>
                                      <a:pt x="12" y="8"/>
                                    </a:lnTo>
                                    <a:lnTo>
                                      <a:pt x="12" y="8"/>
                                    </a:lnTo>
                                    <a:lnTo>
                                      <a:pt x="12" y="8"/>
                                    </a:lnTo>
                                    <a:lnTo>
                                      <a:pt x="12" y="6"/>
                                    </a:lnTo>
                                    <a:lnTo>
                                      <a:pt x="12" y="6"/>
                                    </a:lnTo>
                                    <a:lnTo>
                                      <a:pt x="12" y="4"/>
                                    </a:lnTo>
                                    <a:lnTo>
                                      <a:pt x="12" y="4"/>
                                    </a:lnTo>
                                    <a:lnTo>
                                      <a:pt x="12" y="2"/>
                                    </a:lnTo>
                                    <a:lnTo>
                                      <a:pt x="12" y="2"/>
                                    </a:lnTo>
                                    <a:lnTo>
                                      <a:pt x="12" y="0"/>
                                    </a:lnTo>
                                    <a:lnTo>
                                      <a:pt x="12" y="0"/>
                                    </a:lnTo>
                                    <a:lnTo>
                                      <a:pt x="10" y="0"/>
                                    </a:lnTo>
                                    <a:lnTo>
                                      <a:pt x="10" y="0"/>
                                    </a:lnTo>
                                    <a:lnTo>
                                      <a:pt x="6" y="0"/>
                                    </a:lnTo>
                                    <a:lnTo>
                                      <a:pt x="6" y="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0" name="Rwanda"/>
                              <p:cNvSpPr>
                                <a:spLocks/>
                              </p:cNvSpPr>
                              <p:nvPr/>
                            </p:nvSpPr>
                            <p:spPr bwMode="auto">
                              <a:xfrm>
                                <a:off x="6720057" y="3715640"/>
                                <a:ext cx="78979" cy="78906"/>
                              </a:xfrm>
                              <a:custGeom>
                                <a:avLst/>
                                <a:gdLst/>
                                <a:ahLst/>
                                <a:cxnLst>
                                  <a:cxn ang="0">
                                    <a:pos x="20" y="6"/>
                                  </a:cxn>
                                  <a:cxn ang="0">
                                    <a:pos x="20" y="6"/>
                                  </a:cxn>
                                  <a:cxn ang="0">
                                    <a:pos x="26" y="4"/>
                                  </a:cxn>
                                  <a:cxn ang="0">
                                    <a:pos x="28" y="4"/>
                                  </a:cxn>
                                  <a:cxn ang="0">
                                    <a:pos x="30" y="6"/>
                                  </a:cxn>
                                  <a:cxn ang="0">
                                    <a:pos x="40" y="2"/>
                                  </a:cxn>
                                  <a:cxn ang="0">
                                    <a:pos x="40" y="2"/>
                                  </a:cxn>
                                  <a:cxn ang="0">
                                    <a:pos x="46" y="0"/>
                                  </a:cxn>
                                  <a:cxn ang="0">
                                    <a:pos x="50" y="0"/>
                                  </a:cxn>
                                  <a:cxn ang="0">
                                    <a:pos x="50" y="0"/>
                                  </a:cxn>
                                  <a:cxn ang="0">
                                    <a:pos x="48" y="4"/>
                                  </a:cxn>
                                  <a:cxn ang="0">
                                    <a:pos x="48" y="8"/>
                                  </a:cxn>
                                  <a:cxn ang="0">
                                    <a:pos x="48" y="16"/>
                                  </a:cxn>
                                  <a:cxn ang="0">
                                    <a:pos x="52" y="22"/>
                                  </a:cxn>
                                  <a:cxn ang="0">
                                    <a:pos x="52" y="26"/>
                                  </a:cxn>
                                  <a:cxn ang="0">
                                    <a:pos x="50" y="32"/>
                                  </a:cxn>
                                  <a:cxn ang="0">
                                    <a:pos x="50" y="32"/>
                                  </a:cxn>
                                  <a:cxn ang="0">
                                    <a:pos x="48" y="38"/>
                                  </a:cxn>
                                  <a:cxn ang="0">
                                    <a:pos x="46" y="42"/>
                                  </a:cxn>
                                  <a:cxn ang="0">
                                    <a:pos x="42" y="44"/>
                                  </a:cxn>
                                  <a:cxn ang="0">
                                    <a:pos x="34" y="42"/>
                                  </a:cxn>
                                  <a:cxn ang="0">
                                    <a:pos x="34" y="42"/>
                                  </a:cxn>
                                  <a:cxn ang="0">
                                    <a:pos x="28" y="40"/>
                                  </a:cxn>
                                  <a:cxn ang="0">
                                    <a:pos x="24" y="40"/>
                                  </a:cxn>
                                  <a:cxn ang="0">
                                    <a:pos x="18" y="40"/>
                                  </a:cxn>
                                  <a:cxn ang="0">
                                    <a:pos x="18" y="42"/>
                                  </a:cxn>
                                  <a:cxn ang="0">
                                    <a:pos x="18" y="46"/>
                                  </a:cxn>
                                  <a:cxn ang="0">
                                    <a:pos x="18" y="46"/>
                                  </a:cxn>
                                  <a:cxn ang="0">
                                    <a:pos x="18" y="52"/>
                                  </a:cxn>
                                  <a:cxn ang="0">
                                    <a:pos x="16" y="52"/>
                                  </a:cxn>
                                  <a:cxn ang="0">
                                    <a:pos x="10" y="50"/>
                                  </a:cxn>
                                  <a:cxn ang="0">
                                    <a:pos x="6" y="50"/>
                                  </a:cxn>
                                  <a:cxn ang="0">
                                    <a:pos x="2" y="50"/>
                                  </a:cxn>
                                  <a:cxn ang="0">
                                    <a:pos x="2" y="50"/>
                                  </a:cxn>
                                  <a:cxn ang="0">
                                    <a:pos x="0" y="42"/>
                                  </a:cxn>
                                  <a:cxn ang="0">
                                    <a:pos x="2" y="38"/>
                                  </a:cxn>
                                  <a:cxn ang="0">
                                    <a:pos x="4" y="36"/>
                                  </a:cxn>
                                  <a:cxn ang="0">
                                    <a:pos x="6" y="36"/>
                                  </a:cxn>
                                  <a:cxn ang="0">
                                    <a:pos x="6" y="36"/>
                                  </a:cxn>
                                  <a:cxn ang="0">
                                    <a:pos x="12" y="32"/>
                                  </a:cxn>
                                  <a:cxn ang="0">
                                    <a:pos x="14" y="28"/>
                                  </a:cxn>
                                  <a:cxn ang="0">
                                    <a:pos x="14" y="26"/>
                                  </a:cxn>
                                  <a:cxn ang="0">
                                    <a:pos x="14" y="22"/>
                                  </a:cxn>
                                  <a:cxn ang="0">
                                    <a:pos x="14" y="14"/>
                                  </a:cxn>
                                  <a:cxn ang="0">
                                    <a:pos x="16" y="10"/>
                                  </a:cxn>
                                  <a:cxn ang="0">
                                    <a:pos x="20" y="6"/>
                                  </a:cxn>
                                  <a:cxn ang="0">
                                    <a:pos x="20" y="6"/>
                                  </a:cxn>
                                </a:cxnLst>
                                <a:rect l="0" t="0" r="r" b="b"/>
                                <a:pathLst>
                                  <a:path w="52" h="52">
                                    <a:moveTo>
                                      <a:pt x="20" y="6"/>
                                    </a:moveTo>
                                    <a:lnTo>
                                      <a:pt x="20" y="6"/>
                                    </a:lnTo>
                                    <a:lnTo>
                                      <a:pt x="26" y="4"/>
                                    </a:lnTo>
                                    <a:lnTo>
                                      <a:pt x="28" y="4"/>
                                    </a:lnTo>
                                    <a:lnTo>
                                      <a:pt x="30" y="6"/>
                                    </a:lnTo>
                                    <a:lnTo>
                                      <a:pt x="40" y="2"/>
                                    </a:lnTo>
                                    <a:lnTo>
                                      <a:pt x="40" y="2"/>
                                    </a:lnTo>
                                    <a:lnTo>
                                      <a:pt x="46" y="0"/>
                                    </a:lnTo>
                                    <a:lnTo>
                                      <a:pt x="50" y="0"/>
                                    </a:lnTo>
                                    <a:lnTo>
                                      <a:pt x="50" y="0"/>
                                    </a:lnTo>
                                    <a:lnTo>
                                      <a:pt x="48" y="4"/>
                                    </a:lnTo>
                                    <a:lnTo>
                                      <a:pt x="48" y="8"/>
                                    </a:lnTo>
                                    <a:lnTo>
                                      <a:pt x="48" y="16"/>
                                    </a:lnTo>
                                    <a:lnTo>
                                      <a:pt x="52" y="22"/>
                                    </a:lnTo>
                                    <a:lnTo>
                                      <a:pt x="52" y="26"/>
                                    </a:lnTo>
                                    <a:lnTo>
                                      <a:pt x="50" y="32"/>
                                    </a:lnTo>
                                    <a:lnTo>
                                      <a:pt x="50" y="32"/>
                                    </a:lnTo>
                                    <a:lnTo>
                                      <a:pt x="48" y="38"/>
                                    </a:lnTo>
                                    <a:lnTo>
                                      <a:pt x="46" y="42"/>
                                    </a:lnTo>
                                    <a:lnTo>
                                      <a:pt x="42" y="44"/>
                                    </a:lnTo>
                                    <a:lnTo>
                                      <a:pt x="34" y="42"/>
                                    </a:lnTo>
                                    <a:lnTo>
                                      <a:pt x="34" y="42"/>
                                    </a:lnTo>
                                    <a:lnTo>
                                      <a:pt x="28" y="40"/>
                                    </a:lnTo>
                                    <a:lnTo>
                                      <a:pt x="24" y="40"/>
                                    </a:lnTo>
                                    <a:lnTo>
                                      <a:pt x="18" y="40"/>
                                    </a:lnTo>
                                    <a:lnTo>
                                      <a:pt x="18" y="42"/>
                                    </a:lnTo>
                                    <a:lnTo>
                                      <a:pt x="18" y="46"/>
                                    </a:lnTo>
                                    <a:lnTo>
                                      <a:pt x="18" y="46"/>
                                    </a:lnTo>
                                    <a:lnTo>
                                      <a:pt x="18" y="52"/>
                                    </a:lnTo>
                                    <a:lnTo>
                                      <a:pt x="16" y="52"/>
                                    </a:lnTo>
                                    <a:lnTo>
                                      <a:pt x="10" y="50"/>
                                    </a:lnTo>
                                    <a:lnTo>
                                      <a:pt x="6" y="50"/>
                                    </a:lnTo>
                                    <a:lnTo>
                                      <a:pt x="2" y="50"/>
                                    </a:lnTo>
                                    <a:lnTo>
                                      <a:pt x="2" y="50"/>
                                    </a:lnTo>
                                    <a:lnTo>
                                      <a:pt x="0" y="42"/>
                                    </a:lnTo>
                                    <a:lnTo>
                                      <a:pt x="2" y="38"/>
                                    </a:lnTo>
                                    <a:lnTo>
                                      <a:pt x="4" y="36"/>
                                    </a:lnTo>
                                    <a:lnTo>
                                      <a:pt x="6" y="36"/>
                                    </a:lnTo>
                                    <a:lnTo>
                                      <a:pt x="6" y="36"/>
                                    </a:lnTo>
                                    <a:lnTo>
                                      <a:pt x="12" y="32"/>
                                    </a:lnTo>
                                    <a:lnTo>
                                      <a:pt x="14" y="28"/>
                                    </a:lnTo>
                                    <a:lnTo>
                                      <a:pt x="14" y="26"/>
                                    </a:lnTo>
                                    <a:lnTo>
                                      <a:pt x="14" y="22"/>
                                    </a:lnTo>
                                    <a:lnTo>
                                      <a:pt x="14" y="14"/>
                                    </a:lnTo>
                                    <a:lnTo>
                                      <a:pt x="16" y="10"/>
                                    </a:lnTo>
                                    <a:lnTo>
                                      <a:pt x="20" y="6"/>
                                    </a:lnTo>
                                    <a:lnTo>
                                      <a:pt x="20" y="6"/>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6" name="Benin"/>
                              <p:cNvSpPr>
                                <a:spLocks/>
                              </p:cNvSpPr>
                              <p:nvPr/>
                            </p:nvSpPr>
                            <p:spPr bwMode="auto">
                              <a:xfrm>
                                <a:off x="5805727" y="3208822"/>
                                <a:ext cx="103279" cy="242787"/>
                              </a:xfrm>
                              <a:custGeom>
                                <a:avLst/>
                                <a:gdLst/>
                                <a:ahLst/>
                                <a:cxnLst>
                                  <a:cxn ang="0">
                                    <a:pos x="50" y="158"/>
                                  </a:cxn>
                                  <a:cxn ang="0">
                                    <a:pos x="50" y="132"/>
                                  </a:cxn>
                                  <a:cxn ang="0">
                                    <a:pos x="48" y="120"/>
                                  </a:cxn>
                                  <a:cxn ang="0">
                                    <a:pos x="50" y="118"/>
                                  </a:cxn>
                                  <a:cxn ang="0">
                                    <a:pos x="48" y="88"/>
                                  </a:cxn>
                                  <a:cxn ang="0">
                                    <a:pos x="52" y="86"/>
                                  </a:cxn>
                                  <a:cxn ang="0">
                                    <a:pos x="50" y="80"/>
                                  </a:cxn>
                                  <a:cxn ang="0">
                                    <a:pos x="52" y="78"/>
                                  </a:cxn>
                                  <a:cxn ang="0">
                                    <a:pos x="54" y="72"/>
                                  </a:cxn>
                                  <a:cxn ang="0">
                                    <a:pos x="58" y="68"/>
                                  </a:cxn>
                                  <a:cxn ang="0">
                                    <a:pos x="62" y="64"/>
                                  </a:cxn>
                                  <a:cxn ang="0">
                                    <a:pos x="64" y="56"/>
                                  </a:cxn>
                                  <a:cxn ang="0">
                                    <a:pos x="62" y="54"/>
                                  </a:cxn>
                                  <a:cxn ang="0">
                                    <a:pos x="62" y="52"/>
                                  </a:cxn>
                                  <a:cxn ang="0">
                                    <a:pos x="64" y="50"/>
                                  </a:cxn>
                                  <a:cxn ang="0">
                                    <a:pos x="68" y="44"/>
                                  </a:cxn>
                                  <a:cxn ang="0">
                                    <a:pos x="66" y="34"/>
                                  </a:cxn>
                                  <a:cxn ang="0">
                                    <a:pos x="64" y="30"/>
                                  </a:cxn>
                                  <a:cxn ang="0">
                                    <a:pos x="64" y="22"/>
                                  </a:cxn>
                                  <a:cxn ang="0">
                                    <a:pos x="62" y="20"/>
                                  </a:cxn>
                                  <a:cxn ang="0">
                                    <a:pos x="62" y="10"/>
                                  </a:cxn>
                                  <a:cxn ang="0">
                                    <a:pos x="52" y="2"/>
                                  </a:cxn>
                                  <a:cxn ang="0">
                                    <a:pos x="42" y="2"/>
                                  </a:cxn>
                                  <a:cxn ang="0">
                                    <a:pos x="34" y="6"/>
                                  </a:cxn>
                                  <a:cxn ang="0">
                                    <a:pos x="24" y="10"/>
                                  </a:cxn>
                                  <a:cxn ang="0">
                                    <a:pos x="16" y="16"/>
                                  </a:cxn>
                                  <a:cxn ang="0">
                                    <a:pos x="14" y="20"/>
                                  </a:cxn>
                                  <a:cxn ang="0">
                                    <a:pos x="10" y="24"/>
                                  </a:cxn>
                                  <a:cxn ang="0">
                                    <a:pos x="8" y="24"/>
                                  </a:cxn>
                                  <a:cxn ang="0">
                                    <a:pos x="6" y="30"/>
                                  </a:cxn>
                                  <a:cxn ang="0">
                                    <a:pos x="2" y="30"/>
                                  </a:cxn>
                                  <a:cxn ang="0">
                                    <a:pos x="0" y="42"/>
                                  </a:cxn>
                                  <a:cxn ang="0">
                                    <a:pos x="4" y="54"/>
                                  </a:cxn>
                                  <a:cxn ang="0">
                                    <a:pos x="12" y="58"/>
                                  </a:cxn>
                                  <a:cxn ang="0">
                                    <a:pos x="16" y="64"/>
                                  </a:cxn>
                                  <a:cxn ang="0">
                                    <a:pos x="16" y="78"/>
                                  </a:cxn>
                                  <a:cxn ang="0">
                                    <a:pos x="20" y="84"/>
                                  </a:cxn>
                                  <a:cxn ang="0">
                                    <a:pos x="24" y="86"/>
                                  </a:cxn>
                                  <a:cxn ang="0">
                                    <a:pos x="24" y="92"/>
                                  </a:cxn>
                                  <a:cxn ang="0">
                                    <a:pos x="26" y="134"/>
                                  </a:cxn>
                                  <a:cxn ang="0">
                                    <a:pos x="24" y="138"/>
                                  </a:cxn>
                                  <a:cxn ang="0">
                                    <a:pos x="22" y="142"/>
                                  </a:cxn>
                                  <a:cxn ang="0">
                                    <a:pos x="24" y="148"/>
                                  </a:cxn>
                                  <a:cxn ang="0">
                                    <a:pos x="30" y="154"/>
                                  </a:cxn>
                                  <a:cxn ang="0">
                                    <a:pos x="32" y="160"/>
                                  </a:cxn>
                                  <a:cxn ang="0">
                                    <a:pos x="40" y="160"/>
                                  </a:cxn>
                                  <a:cxn ang="0">
                                    <a:pos x="40" y="158"/>
                                  </a:cxn>
                                  <a:cxn ang="0">
                                    <a:pos x="40" y="156"/>
                                  </a:cxn>
                                  <a:cxn ang="0">
                                    <a:pos x="44" y="158"/>
                                  </a:cxn>
                                  <a:cxn ang="0">
                                    <a:pos x="44" y="158"/>
                                  </a:cxn>
                                  <a:cxn ang="0">
                                    <a:pos x="50" y="158"/>
                                  </a:cxn>
                                </a:cxnLst>
                                <a:rect l="0" t="0" r="r" b="b"/>
                                <a:pathLst>
                                  <a:path w="68" h="160">
                                    <a:moveTo>
                                      <a:pt x="50" y="158"/>
                                    </a:moveTo>
                                    <a:lnTo>
                                      <a:pt x="50" y="158"/>
                                    </a:lnTo>
                                    <a:lnTo>
                                      <a:pt x="50" y="144"/>
                                    </a:lnTo>
                                    <a:lnTo>
                                      <a:pt x="50" y="132"/>
                                    </a:lnTo>
                                    <a:lnTo>
                                      <a:pt x="50" y="124"/>
                                    </a:lnTo>
                                    <a:lnTo>
                                      <a:pt x="48" y="120"/>
                                    </a:lnTo>
                                    <a:lnTo>
                                      <a:pt x="48" y="120"/>
                                    </a:lnTo>
                                    <a:lnTo>
                                      <a:pt x="50" y="118"/>
                                    </a:lnTo>
                                    <a:lnTo>
                                      <a:pt x="50" y="110"/>
                                    </a:lnTo>
                                    <a:lnTo>
                                      <a:pt x="48" y="88"/>
                                    </a:lnTo>
                                    <a:lnTo>
                                      <a:pt x="48" y="88"/>
                                    </a:lnTo>
                                    <a:lnTo>
                                      <a:pt x="52" y="86"/>
                                    </a:lnTo>
                                    <a:lnTo>
                                      <a:pt x="52" y="82"/>
                                    </a:lnTo>
                                    <a:lnTo>
                                      <a:pt x="50" y="80"/>
                                    </a:lnTo>
                                    <a:lnTo>
                                      <a:pt x="52" y="78"/>
                                    </a:lnTo>
                                    <a:lnTo>
                                      <a:pt x="52" y="78"/>
                                    </a:lnTo>
                                    <a:lnTo>
                                      <a:pt x="54" y="74"/>
                                    </a:lnTo>
                                    <a:lnTo>
                                      <a:pt x="54" y="72"/>
                                    </a:lnTo>
                                    <a:lnTo>
                                      <a:pt x="56" y="70"/>
                                    </a:lnTo>
                                    <a:lnTo>
                                      <a:pt x="58" y="68"/>
                                    </a:lnTo>
                                    <a:lnTo>
                                      <a:pt x="58" y="68"/>
                                    </a:lnTo>
                                    <a:lnTo>
                                      <a:pt x="62" y="64"/>
                                    </a:lnTo>
                                    <a:lnTo>
                                      <a:pt x="64" y="60"/>
                                    </a:lnTo>
                                    <a:lnTo>
                                      <a:pt x="64" y="56"/>
                                    </a:lnTo>
                                    <a:lnTo>
                                      <a:pt x="62" y="54"/>
                                    </a:lnTo>
                                    <a:lnTo>
                                      <a:pt x="62" y="54"/>
                                    </a:lnTo>
                                    <a:lnTo>
                                      <a:pt x="62" y="52"/>
                                    </a:lnTo>
                                    <a:lnTo>
                                      <a:pt x="62" y="52"/>
                                    </a:lnTo>
                                    <a:lnTo>
                                      <a:pt x="64" y="50"/>
                                    </a:lnTo>
                                    <a:lnTo>
                                      <a:pt x="64" y="50"/>
                                    </a:lnTo>
                                    <a:lnTo>
                                      <a:pt x="66" y="48"/>
                                    </a:lnTo>
                                    <a:lnTo>
                                      <a:pt x="68" y="44"/>
                                    </a:lnTo>
                                    <a:lnTo>
                                      <a:pt x="68" y="40"/>
                                    </a:lnTo>
                                    <a:lnTo>
                                      <a:pt x="66" y="34"/>
                                    </a:lnTo>
                                    <a:lnTo>
                                      <a:pt x="66" y="34"/>
                                    </a:lnTo>
                                    <a:lnTo>
                                      <a:pt x="64" y="30"/>
                                    </a:lnTo>
                                    <a:lnTo>
                                      <a:pt x="64" y="26"/>
                                    </a:lnTo>
                                    <a:lnTo>
                                      <a:pt x="64" y="22"/>
                                    </a:lnTo>
                                    <a:lnTo>
                                      <a:pt x="62" y="20"/>
                                    </a:lnTo>
                                    <a:lnTo>
                                      <a:pt x="62" y="20"/>
                                    </a:lnTo>
                                    <a:lnTo>
                                      <a:pt x="60" y="18"/>
                                    </a:lnTo>
                                    <a:lnTo>
                                      <a:pt x="62" y="10"/>
                                    </a:lnTo>
                                    <a:lnTo>
                                      <a:pt x="62" y="10"/>
                                    </a:lnTo>
                                    <a:lnTo>
                                      <a:pt x="52" y="2"/>
                                    </a:lnTo>
                                    <a:lnTo>
                                      <a:pt x="46" y="0"/>
                                    </a:lnTo>
                                    <a:lnTo>
                                      <a:pt x="42" y="2"/>
                                    </a:lnTo>
                                    <a:lnTo>
                                      <a:pt x="34" y="6"/>
                                    </a:lnTo>
                                    <a:lnTo>
                                      <a:pt x="34" y="6"/>
                                    </a:lnTo>
                                    <a:lnTo>
                                      <a:pt x="28" y="10"/>
                                    </a:lnTo>
                                    <a:lnTo>
                                      <a:pt x="24" y="10"/>
                                    </a:lnTo>
                                    <a:lnTo>
                                      <a:pt x="18" y="12"/>
                                    </a:lnTo>
                                    <a:lnTo>
                                      <a:pt x="16" y="16"/>
                                    </a:lnTo>
                                    <a:lnTo>
                                      <a:pt x="16" y="16"/>
                                    </a:lnTo>
                                    <a:lnTo>
                                      <a:pt x="14" y="20"/>
                                    </a:lnTo>
                                    <a:lnTo>
                                      <a:pt x="10" y="22"/>
                                    </a:lnTo>
                                    <a:lnTo>
                                      <a:pt x="10" y="24"/>
                                    </a:lnTo>
                                    <a:lnTo>
                                      <a:pt x="8" y="24"/>
                                    </a:lnTo>
                                    <a:lnTo>
                                      <a:pt x="8" y="24"/>
                                    </a:lnTo>
                                    <a:lnTo>
                                      <a:pt x="8" y="32"/>
                                    </a:lnTo>
                                    <a:lnTo>
                                      <a:pt x="6" y="30"/>
                                    </a:lnTo>
                                    <a:lnTo>
                                      <a:pt x="6" y="30"/>
                                    </a:lnTo>
                                    <a:lnTo>
                                      <a:pt x="2" y="30"/>
                                    </a:lnTo>
                                    <a:lnTo>
                                      <a:pt x="2" y="30"/>
                                    </a:lnTo>
                                    <a:lnTo>
                                      <a:pt x="0" y="42"/>
                                    </a:lnTo>
                                    <a:lnTo>
                                      <a:pt x="2" y="50"/>
                                    </a:lnTo>
                                    <a:lnTo>
                                      <a:pt x="4" y="54"/>
                                    </a:lnTo>
                                    <a:lnTo>
                                      <a:pt x="12" y="58"/>
                                    </a:lnTo>
                                    <a:lnTo>
                                      <a:pt x="12" y="58"/>
                                    </a:lnTo>
                                    <a:lnTo>
                                      <a:pt x="14" y="60"/>
                                    </a:lnTo>
                                    <a:lnTo>
                                      <a:pt x="16" y="64"/>
                                    </a:lnTo>
                                    <a:lnTo>
                                      <a:pt x="16" y="70"/>
                                    </a:lnTo>
                                    <a:lnTo>
                                      <a:pt x="16" y="78"/>
                                    </a:lnTo>
                                    <a:lnTo>
                                      <a:pt x="18" y="80"/>
                                    </a:lnTo>
                                    <a:lnTo>
                                      <a:pt x="20" y="84"/>
                                    </a:lnTo>
                                    <a:lnTo>
                                      <a:pt x="20" y="84"/>
                                    </a:lnTo>
                                    <a:lnTo>
                                      <a:pt x="24" y="86"/>
                                    </a:lnTo>
                                    <a:lnTo>
                                      <a:pt x="24" y="92"/>
                                    </a:lnTo>
                                    <a:lnTo>
                                      <a:pt x="24" y="92"/>
                                    </a:lnTo>
                                    <a:lnTo>
                                      <a:pt x="26" y="134"/>
                                    </a:lnTo>
                                    <a:lnTo>
                                      <a:pt x="26" y="134"/>
                                    </a:lnTo>
                                    <a:lnTo>
                                      <a:pt x="26" y="136"/>
                                    </a:lnTo>
                                    <a:lnTo>
                                      <a:pt x="24" y="138"/>
                                    </a:lnTo>
                                    <a:lnTo>
                                      <a:pt x="24" y="138"/>
                                    </a:lnTo>
                                    <a:lnTo>
                                      <a:pt x="22" y="142"/>
                                    </a:lnTo>
                                    <a:lnTo>
                                      <a:pt x="22" y="142"/>
                                    </a:lnTo>
                                    <a:lnTo>
                                      <a:pt x="24" y="148"/>
                                    </a:lnTo>
                                    <a:lnTo>
                                      <a:pt x="26" y="152"/>
                                    </a:lnTo>
                                    <a:lnTo>
                                      <a:pt x="30" y="154"/>
                                    </a:lnTo>
                                    <a:lnTo>
                                      <a:pt x="32" y="160"/>
                                    </a:lnTo>
                                    <a:lnTo>
                                      <a:pt x="32" y="160"/>
                                    </a:lnTo>
                                    <a:lnTo>
                                      <a:pt x="38" y="160"/>
                                    </a:lnTo>
                                    <a:lnTo>
                                      <a:pt x="40" y="160"/>
                                    </a:lnTo>
                                    <a:lnTo>
                                      <a:pt x="40" y="158"/>
                                    </a:lnTo>
                                    <a:lnTo>
                                      <a:pt x="40" y="158"/>
                                    </a:lnTo>
                                    <a:lnTo>
                                      <a:pt x="38" y="158"/>
                                    </a:lnTo>
                                    <a:lnTo>
                                      <a:pt x="40" y="156"/>
                                    </a:lnTo>
                                    <a:lnTo>
                                      <a:pt x="44" y="158"/>
                                    </a:lnTo>
                                    <a:lnTo>
                                      <a:pt x="44" y="158"/>
                                    </a:lnTo>
                                    <a:lnTo>
                                      <a:pt x="44" y="158"/>
                                    </a:lnTo>
                                    <a:lnTo>
                                      <a:pt x="44" y="158"/>
                                    </a:lnTo>
                                    <a:lnTo>
                                      <a:pt x="50" y="158"/>
                                    </a:lnTo>
                                    <a:lnTo>
                                      <a:pt x="50" y="15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1" name="Swaziland"/>
                              <p:cNvSpPr>
                                <a:spLocks/>
                              </p:cNvSpPr>
                              <p:nvPr/>
                            </p:nvSpPr>
                            <p:spPr bwMode="auto">
                              <a:xfrm>
                                <a:off x="6731791" y="4677981"/>
                                <a:ext cx="45565" cy="60697"/>
                              </a:xfrm>
                              <a:custGeom>
                                <a:avLst/>
                                <a:gdLst/>
                                <a:ahLst/>
                                <a:cxnLst>
                                  <a:cxn ang="0">
                                    <a:pos x="30" y="26"/>
                                  </a:cxn>
                                  <a:cxn ang="0">
                                    <a:pos x="30" y="26"/>
                                  </a:cxn>
                                  <a:cxn ang="0">
                                    <a:pos x="28" y="28"/>
                                  </a:cxn>
                                  <a:cxn ang="0">
                                    <a:pos x="30" y="32"/>
                                  </a:cxn>
                                  <a:cxn ang="0">
                                    <a:pos x="30" y="36"/>
                                  </a:cxn>
                                  <a:cxn ang="0">
                                    <a:pos x="28" y="38"/>
                                  </a:cxn>
                                  <a:cxn ang="0">
                                    <a:pos x="28" y="38"/>
                                  </a:cxn>
                                  <a:cxn ang="0">
                                    <a:pos x="24" y="40"/>
                                  </a:cxn>
                                  <a:cxn ang="0">
                                    <a:pos x="20" y="40"/>
                                  </a:cxn>
                                  <a:cxn ang="0">
                                    <a:pos x="16" y="38"/>
                                  </a:cxn>
                                  <a:cxn ang="0">
                                    <a:pos x="8" y="34"/>
                                  </a:cxn>
                                  <a:cxn ang="0">
                                    <a:pos x="8" y="34"/>
                                  </a:cxn>
                                  <a:cxn ang="0">
                                    <a:pos x="0" y="28"/>
                                  </a:cxn>
                                  <a:cxn ang="0">
                                    <a:pos x="0" y="24"/>
                                  </a:cxn>
                                  <a:cxn ang="0">
                                    <a:pos x="0" y="18"/>
                                  </a:cxn>
                                  <a:cxn ang="0">
                                    <a:pos x="4" y="10"/>
                                  </a:cxn>
                                  <a:cxn ang="0">
                                    <a:pos x="4" y="10"/>
                                  </a:cxn>
                                  <a:cxn ang="0">
                                    <a:pos x="8" y="4"/>
                                  </a:cxn>
                                  <a:cxn ang="0">
                                    <a:pos x="10" y="0"/>
                                  </a:cxn>
                                  <a:cxn ang="0">
                                    <a:pos x="14" y="0"/>
                                  </a:cxn>
                                  <a:cxn ang="0">
                                    <a:pos x="22" y="4"/>
                                  </a:cxn>
                                  <a:cxn ang="0">
                                    <a:pos x="22" y="4"/>
                                  </a:cxn>
                                  <a:cxn ang="0">
                                    <a:pos x="26" y="8"/>
                                  </a:cxn>
                                  <a:cxn ang="0">
                                    <a:pos x="28" y="12"/>
                                  </a:cxn>
                                  <a:cxn ang="0">
                                    <a:pos x="28" y="18"/>
                                  </a:cxn>
                                  <a:cxn ang="0">
                                    <a:pos x="30" y="26"/>
                                  </a:cxn>
                                  <a:cxn ang="0">
                                    <a:pos x="30" y="26"/>
                                  </a:cxn>
                                </a:cxnLst>
                                <a:rect l="0" t="0" r="r" b="b"/>
                                <a:pathLst>
                                  <a:path w="30" h="40">
                                    <a:moveTo>
                                      <a:pt x="30" y="26"/>
                                    </a:moveTo>
                                    <a:lnTo>
                                      <a:pt x="30" y="26"/>
                                    </a:lnTo>
                                    <a:lnTo>
                                      <a:pt x="28" y="28"/>
                                    </a:lnTo>
                                    <a:lnTo>
                                      <a:pt x="30" y="32"/>
                                    </a:lnTo>
                                    <a:lnTo>
                                      <a:pt x="30" y="36"/>
                                    </a:lnTo>
                                    <a:lnTo>
                                      <a:pt x="28" y="38"/>
                                    </a:lnTo>
                                    <a:lnTo>
                                      <a:pt x="28" y="38"/>
                                    </a:lnTo>
                                    <a:lnTo>
                                      <a:pt x="24" y="40"/>
                                    </a:lnTo>
                                    <a:lnTo>
                                      <a:pt x="20" y="40"/>
                                    </a:lnTo>
                                    <a:lnTo>
                                      <a:pt x="16" y="38"/>
                                    </a:lnTo>
                                    <a:lnTo>
                                      <a:pt x="8" y="34"/>
                                    </a:lnTo>
                                    <a:lnTo>
                                      <a:pt x="8" y="34"/>
                                    </a:lnTo>
                                    <a:lnTo>
                                      <a:pt x="0" y="28"/>
                                    </a:lnTo>
                                    <a:lnTo>
                                      <a:pt x="0" y="24"/>
                                    </a:lnTo>
                                    <a:lnTo>
                                      <a:pt x="0" y="18"/>
                                    </a:lnTo>
                                    <a:lnTo>
                                      <a:pt x="4" y="10"/>
                                    </a:lnTo>
                                    <a:lnTo>
                                      <a:pt x="4" y="10"/>
                                    </a:lnTo>
                                    <a:lnTo>
                                      <a:pt x="8" y="4"/>
                                    </a:lnTo>
                                    <a:lnTo>
                                      <a:pt x="10" y="0"/>
                                    </a:lnTo>
                                    <a:lnTo>
                                      <a:pt x="14" y="0"/>
                                    </a:lnTo>
                                    <a:lnTo>
                                      <a:pt x="22" y="4"/>
                                    </a:lnTo>
                                    <a:lnTo>
                                      <a:pt x="22" y="4"/>
                                    </a:lnTo>
                                    <a:lnTo>
                                      <a:pt x="26" y="8"/>
                                    </a:lnTo>
                                    <a:lnTo>
                                      <a:pt x="28" y="12"/>
                                    </a:lnTo>
                                    <a:lnTo>
                                      <a:pt x="28" y="18"/>
                                    </a:lnTo>
                                    <a:lnTo>
                                      <a:pt x="30" y="26"/>
                                    </a:lnTo>
                                    <a:lnTo>
                                      <a:pt x="30" y="26"/>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2" name="Tajikistan"/>
                              <p:cNvSpPr>
                                <a:spLocks/>
                              </p:cNvSpPr>
                              <p:nvPr/>
                            </p:nvSpPr>
                            <p:spPr bwMode="auto">
                              <a:xfrm>
                                <a:off x="7757205" y="2170910"/>
                                <a:ext cx="227824" cy="112289"/>
                              </a:xfrm>
                              <a:custGeom>
                                <a:avLst/>
                                <a:gdLst/>
                                <a:ahLst/>
                                <a:cxnLst>
                                  <a:cxn ang="0">
                                    <a:pos x="22" y="58"/>
                                  </a:cxn>
                                  <a:cxn ang="0">
                                    <a:pos x="28" y="64"/>
                                  </a:cxn>
                                  <a:cxn ang="0">
                                    <a:pos x="40" y="62"/>
                                  </a:cxn>
                                  <a:cxn ang="0">
                                    <a:pos x="54" y="62"/>
                                  </a:cxn>
                                  <a:cxn ang="0">
                                    <a:pos x="54" y="58"/>
                                  </a:cxn>
                                  <a:cxn ang="0">
                                    <a:pos x="56" y="54"/>
                                  </a:cxn>
                                  <a:cxn ang="0">
                                    <a:pos x="62" y="52"/>
                                  </a:cxn>
                                  <a:cxn ang="0">
                                    <a:pos x="66" y="50"/>
                                  </a:cxn>
                                  <a:cxn ang="0">
                                    <a:pos x="68" y="42"/>
                                  </a:cxn>
                                  <a:cxn ang="0">
                                    <a:pos x="80" y="40"/>
                                  </a:cxn>
                                  <a:cxn ang="0">
                                    <a:pos x="82" y="46"/>
                                  </a:cxn>
                                  <a:cxn ang="0">
                                    <a:pos x="86" y="50"/>
                                  </a:cxn>
                                  <a:cxn ang="0">
                                    <a:pos x="86" y="52"/>
                                  </a:cxn>
                                  <a:cxn ang="0">
                                    <a:pos x="98" y="70"/>
                                  </a:cxn>
                                  <a:cxn ang="0">
                                    <a:pos x="104" y="74"/>
                                  </a:cxn>
                                  <a:cxn ang="0">
                                    <a:pos x="118" y="64"/>
                                  </a:cxn>
                                  <a:cxn ang="0">
                                    <a:pos x="126" y="60"/>
                                  </a:cxn>
                                  <a:cxn ang="0">
                                    <a:pos x="126" y="62"/>
                                  </a:cxn>
                                  <a:cxn ang="0">
                                    <a:pos x="128" y="64"/>
                                  </a:cxn>
                                  <a:cxn ang="0">
                                    <a:pos x="138" y="60"/>
                                  </a:cxn>
                                  <a:cxn ang="0">
                                    <a:pos x="150" y="56"/>
                                  </a:cxn>
                                  <a:cxn ang="0">
                                    <a:pos x="146" y="44"/>
                                  </a:cxn>
                                  <a:cxn ang="0">
                                    <a:pos x="138" y="32"/>
                                  </a:cxn>
                                  <a:cxn ang="0">
                                    <a:pos x="136" y="26"/>
                                  </a:cxn>
                                  <a:cxn ang="0">
                                    <a:pos x="124" y="28"/>
                                  </a:cxn>
                                  <a:cxn ang="0">
                                    <a:pos x="118" y="22"/>
                                  </a:cxn>
                                  <a:cxn ang="0">
                                    <a:pos x="74" y="26"/>
                                  </a:cxn>
                                  <a:cxn ang="0">
                                    <a:pos x="64" y="24"/>
                                  </a:cxn>
                                  <a:cxn ang="0">
                                    <a:pos x="50" y="24"/>
                                  </a:cxn>
                                  <a:cxn ang="0">
                                    <a:pos x="38" y="24"/>
                                  </a:cxn>
                                  <a:cxn ang="0">
                                    <a:pos x="28" y="22"/>
                                  </a:cxn>
                                  <a:cxn ang="0">
                                    <a:pos x="36" y="16"/>
                                  </a:cxn>
                                  <a:cxn ang="0">
                                    <a:pos x="48" y="16"/>
                                  </a:cxn>
                                  <a:cxn ang="0">
                                    <a:pos x="58" y="14"/>
                                  </a:cxn>
                                  <a:cxn ang="0">
                                    <a:pos x="52" y="8"/>
                                  </a:cxn>
                                  <a:cxn ang="0">
                                    <a:pos x="56" y="4"/>
                                  </a:cxn>
                                  <a:cxn ang="0">
                                    <a:pos x="52" y="0"/>
                                  </a:cxn>
                                  <a:cxn ang="0">
                                    <a:pos x="42" y="4"/>
                                  </a:cxn>
                                  <a:cxn ang="0">
                                    <a:pos x="30" y="4"/>
                                  </a:cxn>
                                  <a:cxn ang="0">
                                    <a:pos x="24" y="12"/>
                                  </a:cxn>
                                  <a:cxn ang="0">
                                    <a:pos x="24" y="14"/>
                                  </a:cxn>
                                  <a:cxn ang="0">
                                    <a:pos x="20" y="20"/>
                                  </a:cxn>
                                  <a:cxn ang="0">
                                    <a:pos x="6" y="22"/>
                                  </a:cxn>
                                  <a:cxn ang="0">
                                    <a:pos x="0" y="28"/>
                                  </a:cxn>
                                  <a:cxn ang="0">
                                    <a:pos x="10" y="34"/>
                                  </a:cxn>
                                  <a:cxn ang="0">
                                    <a:pos x="18" y="36"/>
                                  </a:cxn>
                                  <a:cxn ang="0">
                                    <a:pos x="20" y="38"/>
                                  </a:cxn>
                                  <a:cxn ang="0">
                                    <a:pos x="22" y="44"/>
                                  </a:cxn>
                                  <a:cxn ang="0">
                                    <a:pos x="18" y="58"/>
                                  </a:cxn>
                                </a:cxnLst>
                                <a:rect l="0" t="0" r="r" b="b"/>
                                <a:pathLst>
                                  <a:path w="150" h="74">
                                    <a:moveTo>
                                      <a:pt x="18" y="58"/>
                                    </a:moveTo>
                                    <a:lnTo>
                                      <a:pt x="18" y="58"/>
                                    </a:lnTo>
                                    <a:lnTo>
                                      <a:pt x="22" y="58"/>
                                    </a:lnTo>
                                    <a:lnTo>
                                      <a:pt x="24" y="58"/>
                                    </a:lnTo>
                                    <a:lnTo>
                                      <a:pt x="26" y="62"/>
                                    </a:lnTo>
                                    <a:lnTo>
                                      <a:pt x="28" y="64"/>
                                    </a:lnTo>
                                    <a:lnTo>
                                      <a:pt x="34" y="64"/>
                                    </a:lnTo>
                                    <a:lnTo>
                                      <a:pt x="34" y="64"/>
                                    </a:lnTo>
                                    <a:lnTo>
                                      <a:pt x="40" y="62"/>
                                    </a:lnTo>
                                    <a:lnTo>
                                      <a:pt x="44" y="62"/>
                                    </a:lnTo>
                                    <a:lnTo>
                                      <a:pt x="50" y="64"/>
                                    </a:lnTo>
                                    <a:lnTo>
                                      <a:pt x="54" y="62"/>
                                    </a:lnTo>
                                    <a:lnTo>
                                      <a:pt x="54" y="62"/>
                                    </a:lnTo>
                                    <a:lnTo>
                                      <a:pt x="56" y="60"/>
                                    </a:lnTo>
                                    <a:lnTo>
                                      <a:pt x="54" y="58"/>
                                    </a:lnTo>
                                    <a:lnTo>
                                      <a:pt x="54" y="56"/>
                                    </a:lnTo>
                                    <a:lnTo>
                                      <a:pt x="56" y="54"/>
                                    </a:lnTo>
                                    <a:lnTo>
                                      <a:pt x="56" y="54"/>
                                    </a:lnTo>
                                    <a:lnTo>
                                      <a:pt x="60" y="52"/>
                                    </a:lnTo>
                                    <a:lnTo>
                                      <a:pt x="60" y="52"/>
                                    </a:lnTo>
                                    <a:lnTo>
                                      <a:pt x="62" y="52"/>
                                    </a:lnTo>
                                    <a:lnTo>
                                      <a:pt x="64" y="52"/>
                                    </a:lnTo>
                                    <a:lnTo>
                                      <a:pt x="64" y="52"/>
                                    </a:lnTo>
                                    <a:lnTo>
                                      <a:pt x="66" y="50"/>
                                    </a:lnTo>
                                    <a:lnTo>
                                      <a:pt x="64" y="48"/>
                                    </a:lnTo>
                                    <a:lnTo>
                                      <a:pt x="66" y="46"/>
                                    </a:lnTo>
                                    <a:lnTo>
                                      <a:pt x="68" y="42"/>
                                    </a:lnTo>
                                    <a:lnTo>
                                      <a:pt x="68" y="42"/>
                                    </a:lnTo>
                                    <a:lnTo>
                                      <a:pt x="74" y="40"/>
                                    </a:lnTo>
                                    <a:lnTo>
                                      <a:pt x="80" y="40"/>
                                    </a:lnTo>
                                    <a:lnTo>
                                      <a:pt x="82" y="42"/>
                                    </a:lnTo>
                                    <a:lnTo>
                                      <a:pt x="82" y="46"/>
                                    </a:lnTo>
                                    <a:lnTo>
                                      <a:pt x="82" y="46"/>
                                    </a:lnTo>
                                    <a:lnTo>
                                      <a:pt x="80" y="50"/>
                                    </a:lnTo>
                                    <a:lnTo>
                                      <a:pt x="82" y="50"/>
                                    </a:lnTo>
                                    <a:lnTo>
                                      <a:pt x="86" y="50"/>
                                    </a:lnTo>
                                    <a:lnTo>
                                      <a:pt x="86" y="50"/>
                                    </a:lnTo>
                                    <a:lnTo>
                                      <a:pt x="86" y="52"/>
                                    </a:lnTo>
                                    <a:lnTo>
                                      <a:pt x="86" y="52"/>
                                    </a:lnTo>
                                    <a:lnTo>
                                      <a:pt x="88" y="56"/>
                                    </a:lnTo>
                                    <a:lnTo>
                                      <a:pt x="92" y="62"/>
                                    </a:lnTo>
                                    <a:lnTo>
                                      <a:pt x="98" y="70"/>
                                    </a:lnTo>
                                    <a:lnTo>
                                      <a:pt x="98" y="70"/>
                                    </a:lnTo>
                                    <a:lnTo>
                                      <a:pt x="102" y="74"/>
                                    </a:lnTo>
                                    <a:lnTo>
                                      <a:pt x="104" y="74"/>
                                    </a:lnTo>
                                    <a:lnTo>
                                      <a:pt x="112" y="68"/>
                                    </a:lnTo>
                                    <a:lnTo>
                                      <a:pt x="112" y="68"/>
                                    </a:lnTo>
                                    <a:lnTo>
                                      <a:pt x="118" y="64"/>
                                    </a:lnTo>
                                    <a:lnTo>
                                      <a:pt x="122" y="62"/>
                                    </a:lnTo>
                                    <a:lnTo>
                                      <a:pt x="124" y="60"/>
                                    </a:lnTo>
                                    <a:lnTo>
                                      <a:pt x="126" y="60"/>
                                    </a:lnTo>
                                    <a:lnTo>
                                      <a:pt x="126" y="60"/>
                                    </a:lnTo>
                                    <a:lnTo>
                                      <a:pt x="128" y="60"/>
                                    </a:lnTo>
                                    <a:lnTo>
                                      <a:pt x="126" y="62"/>
                                    </a:lnTo>
                                    <a:lnTo>
                                      <a:pt x="126" y="64"/>
                                    </a:lnTo>
                                    <a:lnTo>
                                      <a:pt x="128" y="64"/>
                                    </a:lnTo>
                                    <a:lnTo>
                                      <a:pt x="128" y="64"/>
                                    </a:lnTo>
                                    <a:lnTo>
                                      <a:pt x="130" y="64"/>
                                    </a:lnTo>
                                    <a:lnTo>
                                      <a:pt x="134" y="62"/>
                                    </a:lnTo>
                                    <a:lnTo>
                                      <a:pt x="138" y="60"/>
                                    </a:lnTo>
                                    <a:lnTo>
                                      <a:pt x="148" y="60"/>
                                    </a:lnTo>
                                    <a:lnTo>
                                      <a:pt x="148" y="60"/>
                                    </a:lnTo>
                                    <a:lnTo>
                                      <a:pt x="150" y="56"/>
                                    </a:lnTo>
                                    <a:lnTo>
                                      <a:pt x="148" y="48"/>
                                    </a:lnTo>
                                    <a:lnTo>
                                      <a:pt x="148" y="48"/>
                                    </a:lnTo>
                                    <a:lnTo>
                                      <a:pt x="146" y="44"/>
                                    </a:lnTo>
                                    <a:lnTo>
                                      <a:pt x="140" y="42"/>
                                    </a:lnTo>
                                    <a:lnTo>
                                      <a:pt x="138" y="38"/>
                                    </a:lnTo>
                                    <a:lnTo>
                                      <a:pt x="138" y="32"/>
                                    </a:lnTo>
                                    <a:lnTo>
                                      <a:pt x="138" y="32"/>
                                    </a:lnTo>
                                    <a:lnTo>
                                      <a:pt x="138" y="28"/>
                                    </a:lnTo>
                                    <a:lnTo>
                                      <a:pt x="136" y="26"/>
                                    </a:lnTo>
                                    <a:lnTo>
                                      <a:pt x="130" y="26"/>
                                    </a:lnTo>
                                    <a:lnTo>
                                      <a:pt x="126" y="28"/>
                                    </a:lnTo>
                                    <a:lnTo>
                                      <a:pt x="124" y="28"/>
                                    </a:lnTo>
                                    <a:lnTo>
                                      <a:pt x="120" y="26"/>
                                    </a:lnTo>
                                    <a:lnTo>
                                      <a:pt x="118" y="22"/>
                                    </a:lnTo>
                                    <a:lnTo>
                                      <a:pt x="118" y="22"/>
                                    </a:lnTo>
                                    <a:lnTo>
                                      <a:pt x="102" y="26"/>
                                    </a:lnTo>
                                    <a:lnTo>
                                      <a:pt x="86" y="28"/>
                                    </a:lnTo>
                                    <a:lnTo>
                                      <a:pt x="74" y="26"/>
                                    </a:lnTo>
                                    <a:lnTo>
                                      <a:pt x="68" y="24"/>
                                    </a:lnTo>
                                    <a:lnTo>
                                      <a:pt x="68" y="24"/>
                                    </a:lnTo>
                                    <a:lnTo>
                                      <a:pt x="64" y="24"/>
                                    </a:lnTo>
                                    <a:lnTo>
                                      <a:pt x="60" y="24"/>
                                    </a:lnTo>
                                    <a:lnTo>
                                      <a:pt x="54" y="26"/>
                                    </a:lnTo>
                                    <a:lnTo>
                                      <a:pt x="50" y="24"/>
                                    </a:lnTo>
                                    <a:lnTo>
                                      <a:pt x="50" y="24"/>
                                    </a:lnTo>
                                    <a:lnTo>
                                      <a:pt x="46" y="24"/>
                                    </a:lnTo>
                                    <a:lnTo>
                                      <a:pt x="38" y="24"/>
                                    </a:lnTo>
                                    <a:lnTo>
                                      <a:pt x="30" y="24"/>
                                    </a:lnTo>
                                    <a:lnTo>
                                      <a:pt x="28" y="24"/>
                                    </a:lnTo>
                                    <a:lnTo>
                                      <a:pt x="28" y="22"/>
                                    </a:lnTo>
                                    <a:lnTo>
                                      <a:pt x="28" y="22"/>
                                    </a:lnTo>
                                    <a:lnTo>
                                      <a:pt x="30" y="18"/>
                                    </a:lnTo>
                                    <a:lnTo>
                                      <a:pt x="36" y="16"/>
                                    </a:lnTo>
                                    <a:lnTo>
                                      <a:pt x="42" y="16"/>
                                    </a:lnTo>
                                    <a:lnTo>
                                      <a:pt x="48" y="16"/>
                                    </a:lnTo>
                                    <a:lnTo>
                                      <a:pt x="48" y="16"/>
                                    </a:lnTo>
                                    <a:lnTo>
                                      <a:pt x="52" y="18"/>
                                    </a:lnTo>
                                    <a:lnTo>
                                      <a:pt x="56" y="18"/>
                                    </a:lnTo>
                                    <a:lnTo>
                                      <a:pt x="58" y="14"/>
                                    </a:lnTo>
                                    <a:lnTo>
                                      <a:pt x="58" y="10"/>
                                    </a:lnTo>
                                    <a:lnTo>
                                      <a:pt x="58" y="10"/>
                                    </a:lnTo>
                                    <a:lnTo>
                                      <a:pt x="52" y="8"/>
                                    </a:lnTo>
                                    <a:lnTo>
                                      <a:pt x="52" y="6"/>
                                    </a:lnTo>
                                    <a:lnTo>
                                      <a:pt x="52" y="6"/>
                                    </a:lnTo>
                                    <a:lnTo>
                                      <a:pt x="56" y="4"/>
                                    </a:lnTo>
                                    <a:lnTo>
                                      <a:pt x="56" y="4"/>
                                    </a:lnTo>
                                    <a:lnTo>
                                      <a:pt x="52" y="0"/>
                                    </a:lnTo>
                                    <a:lnTo>
                                      <a:pt x="52" y="0"/>
                                    </a:lnTo>
                                    <a:lnTo>
                                      <a:pt x="50" y="0"/>
                                    </a:lnTo>
                                    <a:lnTo>
                                      <a:pt x="48" y="0"/>
                                    </a:lnTo>
                                    <a:lnTo>
                                      <a:pt x="42" y="4"/>
                                    </a:lnTo>
                                    <a:lnTo>
                                      <a:pt x="36" y="6"/>
                                    </a:lnTo>
                                    <a:lnTo>
                                      <a:pt x="32" y="6"/>
                                    </a:lnTo>
                                    <a:lnTo>
                                      <a:pt x="30" y="4"/>
                                    </a:lnTo>
                                    <a:lnTo>
                                      <a:pt x="30" y="4"/>
                                    </a:lnTo>
                                    <a:lnTo>
                                      <a:pt x="28" y="8"/>
                                    </a:lnTo>
                                    <a:lnTo>
                                      <a:pt x="24" y="12"/>
                                    </a:lnTo>
                                    <a:lnTo>
                                      <a:pt x="16" y="14"/>
                                    </a:lnTo>
                                    <a:lnTo>
                                      <a:pt x="16" y="14"/>
                                    </a:lnTo>
                                    <a:lnTo>
                                      <a:pt x="24" y="14"/>
                                    </a:lnTo>
                                    <a:lnTo>
                                      <a:pt x="24" y="16"/>
                                    </a:lnTo>
                                    <a:lnTo>
                                      <a:pt x="24" y="18"/>
                                    </a:lnTo>
                                    <a:lnTo>
                                      <a:pt x="20" y="20"/>
                                    </a:lnTo>
                                    <a:lnTo>
                                      <a:pt x="10" y="22"/>
                                    </a:lnTo>
                                    <a:lnTo>
                                      <a:pt x="10" y="22"/>
                                    </a:lnTo>
                                    <a:lnTo>
                                      <a:pt x="6" y="22"/>
                                    </a:lnTo>
                                    <a:lnTo>
                                      <a:pt x="2" y="24"/>
                                    </a:lnTo>
                                    <a:lnTo>
                                      <a:pt x="0" y="26"/>
                                    </a:lnTo>
                                    <a:lnTo>
                                      <a:pt x="0" y="28"/>
                                    </a:lnTo>
                                    <a:lnTo>
                                      <a:pt x="4" y="32"/>
                                    </a:lnTo>
                                    <a:lnTo>
                                      <a:pt x="10" y="34"/>
                                    </a:lnTo>
                                    <a:lnTo>
                                      <a:pt x="10" y="34"/>
                                    </a:lnTo>
                                    <a:lnTo>
                                      <a:pt x="16" y="34"/>
                                    </a:lnTo>
                                    <a:lnTo>
                                      <a:pt x="18" y="36"/>
                                    </a:lnTo>
                                    <a:lnTo>
                                      <a:pt x="18" y="36"/>
                                    </a:lnTo>
                                    <a:lnTo>
                                      <a:pt x="16" y="38"/>
                                    </a:lnTo>
                                    <a:lnTo>
                                      <a:pt x="20" y="38"/>
                                    </a:lnTo>
                                    <a:lnTo>
                                      <a:pt x="20" y="38"/>
                                    </a:lnTo>
                                    <a:lnTo>
                                      <a:pt x="22" y="40"/>
                                    </a:lnTo>
                                    <a:lnTo>
                                      <a:pt x="24" y="40"/>
                                    </a:lnTo>
                                    <a:lnTo>
                                      <a:pt x="22" y="44"/>
                                    </a:lnTo>
                                    <a:lnTo>
                                      <a:pt x="18" y="50"/>
                                    </a:lnTo>
                                    <a:lnTo>
                                      <a:pt x="18" y="58"/>
                                    </a:lnTo>
                                    <a:lnTo>
                                      <a:pt x="18" y="5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6" name="Tunisia"/>
                              <p:cNvSpPr>
                                <a:spLocks/>
                              </p:cNvSpPr>
                              <p:nvPr/>
                            </p:nvSpPr>
                            <p:spPr bwMode="auto">
                              <a:xfrm>
                                <a:off x="5993419" y="2274095"/>
                                <a:ext cx="127581" cy="257961"/>
                              </a:xfrm>
                              <a:custGeom>
                                <a:avLst/>
                                <a:gdLst/>
                                <a:ahLst/>
                                <a:cxnLst>
                                  <a:cxn ang="0">
                                    <a:pos x="34" y="142"/>
                                  </a:cxn>
                                  <a:cxn ang="0">
                                    <a:pos x="26" y="126"/>
                                  </a:cxn>
                                  <a:cxn ang="0">
                                    <a:pos x="20" y="120"/>
                                  </a:cxn>
                                  <a:cxn ang="0">
                                    <a:pos x="12" y="102"/>
                                  </a:cxn>
                                  <a:cxn ang="0">
                                    <a:pos x="4" y="96"/>
                                  </a:cxn>
                                  <a:cxn ang="0">
                                    <a:pos x="0" y="78"/>
                                  </a:cxn>
                                  <a:cxn ang="0">
                                    <a:pos x="8" y="72"/>
                                  </a:cxn>
                                  <a:cxn ang="0">
                                    <a:pos x="14" y="64"/>
                                  </a:cxn>
                                  <a:cxn ang="0">
                                    <a:pos x="18" y="60"/>
                                  </a:cxn>
                                  <a:cxn ang="0">
                                    <a:pos x="18" y="52"/>
                                  </a:cxn>
                                  <a:cxn ang="0">
                                    <a:pos x="18" y="44"/>
                                  </a:cxn>
                                  <a:cxn ang="0">
                                    <a:pos x="16" y="26"/>
                                  </a:cxn>
                                  <a:cxn ang="0">
                                    <a:pos x="14" y="22"/>
                                  </a:cxn>
                                  <a:cxn ang="0">
                                    <a:pos x="18" y="16"/>
                                  </a:cxn>
                                  <a:cxn ang="0">
                                    <a:pos x="34" y="4"/>
                                  </a:cxn>
                                  <a:cxn ang="0">
                                    <a:pos x="48" y="0"/>
                                  </a:cxn>
                                  <a:cxn ang="0">
                                    <a:pos x="54" y="4"/>
                                  </a:cxn>
                                  <a:cxn ang="0">
                                    <a:pos x="56" y="4"/>
                                  </a:cxn>
                                  <a:cxn ang="0">
                                    <a:pos x="54" y="10"/>
                                  </a:cxn>
                                  <a:cxn ang="0">
                                    <a:pos x="54" y="14"/>
                                  </a:cxn>
                                  <a:cxn ang="0">
                                    <a:pos x="60" y="12"/>
                                  </a:cxn>
                                  <a:cxn ang="0">
                                    <a:pos x="70" y="12"/>
                                  </a:cxn>
                                  <a:cxn ang="0">
                                    <a:pos x="70" y="14"/>
                                  </a:cxn>
                                  <a:cxn ang="0">
                                    <a:pos x="70" y="18"/>
                                  </a:cxn>
                                  <a:cxn ang="0">
                                    <a:pos x="66" y="24"/>
                                  </a:cxn>
                                  <a:cxn ang="0">
                                    <a:pos x="68" y="36"/>
                                  </a:cxn>
                                  <a:cxn ang="0">
                                    <a:pos x="76" y="46"/>
                                  </a:cxn>
                                  <a:cxn ang="0">
                                    <a:pos x="78" y="52"/>
                                  </a:cxn>
                                  <a:cxn ang="0">
                                    <a:pos x="74" y="64"/>
                                  </a:cxn>
                                  <a:cxn ang="0">
                                    <a:pos x="58" y="72"/>
                                  </a:cxn>
                                  <a:cxn ang="0">
                                    <a:pos x="54" y="80"/>
                                  </a:cxn>
                                  <a:cxn ang="0">
                                    <a:pos x="64" y="88"/>
                                  </a:cxn>
                                  <a:cxn ang="0">
                                    <a:pos x="70" y="86"/>
                                  </a:cxn>
                                  <a:cxn ang="0">
                                    <a:pos x="72" y="86"/>
                                  </a:cxn>
                                  <a:cxn ang="0">
                                    <a:pos x="70" y="90"/>
                                  </a:cxn>
                                  <a:cxn ang="0">
                                    <a:pos x="76" y="94"/>
                                  </a:cxn>
                                  <a:cxn ang="0">
                                    <a:pos x="80" y="110"/>
                                  </a:cxn>
                                  <a:cxn ang="0">
                                    <a:pos x="84" y="112"/>
                                  </a:cxn>
                                  <a:cxn ang="0">
                                    <a:pos x="78" y="118"/>
                                  </a:cxn>
                                  <a:cxn ang="0">
                                    <a:pos x="64" y="128"/>
                                  </a:cxn>
                                  <a:cxn ang="0">
                                    <a:pos x="58" y="136"/>
                                  </a:cxn>
                                  <a:cxn ang="0">
                                    <a:pos x="58" y="146"/>
                                  </a:cxn>
                                  <a:cxn ang="0">
                                    <a:pos x="58" y="158"/>
                                  </a:cxn>
                                  <a:cxn ang="0">
                                    <a:pos x="40" y="170"/>
                                  </a:cxn>
                                </a:cxnLst>
                                <a:rect l="0" t="0" r="r" b="b"/>
                                <a:pathLst>
                                  <a:path w="84" h="170">
                                    <a:moveTo>
                                      <a:pt x="40" y="170"/>
                                    </a:moveTo>
                                    <a:lnTo>
                                      <a:pt x="40" y="170"/>
                                    </a:lnTo>
                                    <a:lnTo>
                                      <a:pt x="34" y="142"/>
                                    </a:lnTo>
                                    <a:lnTo>
                                      <a:pt x="32" y="132"/>
                                    </a:lnTo>
                                    <a:lnTo>
                                      <a:pt x="30" y="128"/>
                                    </a:lnTo>
                                    <a:lnTo>
                                      <a:pt x="26" y="126"/>
                                    </a:lnTo>
                                    <a:lnTo>
                                      <a:pt x="26" y="126"/>
                                    </a:lnTo>
                                    <a:lnTo>
                                      <a:pt x="22" y="124"/>
                                    </a:lnTo>
                                    <a:lnTo>
                                      <a:pt x="20" y="120"/>
                                    </a:lnTo>
                                    <a:lnTo>
                                      <a:pt x="16" y="112"/>
                                    </a:lnTo>
                                    <a:lnTo>
                                      <a:pt x="14" y="106"/>
                                    </a:lnTo>
                                    <a:lnTo>
                                      <a:pt x="12" y="102"/>
                                    </a:lnTo>
                                    <a:lnTo>
                                      <a:pt x="8" y="98"/>
                                    </a:lnTo>
                                    <a:lnTo>
                                      <a:pt x="8" y="98"/>
                                    </a:lnTo>
                                    <a:lnTo>
                                      <a:pt x="4" y="96"/>
                                    </a:lnTo>
                                    <a:lnTo>
                                      <a:pt x="2" y="92"/>
                                    </a:lnTo>
                                    <a:lnTo>
                                      <a:pt x="0" y="84"/>
                                    </a:lnTo>
                                    <a:lnTo>
                                      <a:pt x="0" y="78"/>
                                    </a:lnTo>
                                    <a:lnTo>
                                      <a:pt x="4" y="74"/>
                                    </a:lnTo>
                                    <a:lnTo>
                                      <a:pt x="4" y="74"/>
                                    </a:lnTo>
                                    <a:lnTo>
                                      <a:pt x="8" y="72"/>
                                    </a:lnTo>
                                    <a:lnTo>
                                      <a:pt x="10" y="70"/>
                                    </a:lnTo>
                                    <a:lnTo>
                                      <a:pt x="10" y="66"/>
                                    </a:lnTo>
                                    <a:lnTo>
                                      <a:pt x="14" y="64"/>
                                    </a:lnTo>
                                    <a:lnTo>
                                      <a:pt x="14" y="64"/>
                                    </a:lnTo>
                                    <a:lnTo>
                                      <a:pt x="18" y="62"/>
                                    </a:lnTo>
                                    <a:lnTo>
                                      <a:pt x="18" y="60"/>
                                    </a:lnTo>
                                    <a:lnTo>
                                      <a:pt x="18" y="56"/>
                                    </a:lnTo>
                                    <a:lnTo>
                                      <a:pt x="18" y="52"/>
                                    </a:lnTo>
                                    <a:lnTo>
                                      <a:pt x="18" y="52"/>
                                    </a:lnTo>
                                    <a:lnTo>
                                      <a:pt x="20" y="50"/>
                                    </a:lnTo>
                                    <a:lnTo>
                                      <a:pt x="18" y="48"/>
                                    </a:lnTo>
                                    <a:lnTo>
                                      <a:pt x="18" y="44"/>
                                    </a:lnTo>
                                    <a:lnTo>
                                      <a:pt x="16" y="38"/>
                                    </a:lnTo>
                                    <a:lnTo>
                                      <a:pt x="16" y="38"/>
                                    </a:lnTo>
                                    <a:lnTo>
                                      <a:pt x="16" y="26"/>
                                    </a:lnTo>
                                    <a:lnTo>
                                      <a:pt x="16" y="24"/>
                                    </a:lnTo>
                                    <a:lnTo>
                                      <a:pt x="14" y="22"/>
                                    </a:lnTo>
                                    <a:lnTo>
                                      <a:pt x="14" y="22"/>
                                    </a:lnTo>
                                    <a:lnTo>
                                      <a:pt x="12" y="22"/>
                                    </a:lnTo>
                                    <a:lnTo>
                                      <a:pt x="14" y="20"/>
                                    </a:lnTo>
                                    <a:lnTo>
                                      <a:pt x="18" y="16"/>
                                    </a:lnTo>
                                    <a:lnTo>
                                      <a:pt x="22" y="10"/>
                                    </a:lnTo>
                                    <a:lnTo>
                                      <a:pt x="22" y="10"/>
                                    </a:lnTo>
                                    <a:lnTo>
                                      <a:pt x="34" y="4"/>
                                    </a:lnTo>
                                    <a:lnTo>
                                      <a:pt x="42" y="2"/>
                                    </a:lnTo>
                                    <a:lnTo>
                                      <a:pt x="42" y="2"/>
                                    </a:lnTo>
                                    <a:lnTo>
                                      <a:pt x="48" y="0"/>
                                    </a:lnTo>
                                    <a:lnTo>
                                      <a:pt x="50" y="0"/>
                                    </a:lnTo>
                                    <a:lnTo>
                                      <a:pt x="52" y="2"/>
                                    </a:lnTo>
                                    <a:lnTo>
                                      <a:pt x="54" y="4"/>
                                    </a:lnTo>
                                    <a:lnTo>
                                      <a:pt x="54" y="4"/>
                                    </a:lnTo>
                                    <a:lnTo>
                                      <a:pt x="56" y="4"/>
                                    </a:lnTo>
                                    <a:lnTo>
                                      <a:pt x="56" y="4"/>
                                    </a:lnTo>
                                    <a:lnTo>
                                      <a:pt x="54" y="6"/>
                                    </a:lnTo>
                                    <a:lnTo>
                                      <a:pt x="52" y="8"/>
                                    </a:lnTo>
                                    <a:lnTo>
                                      <a:pt x="54" y="10"/>
                                    </a:lnTo>
                                    <a:lnTo>
                                      <a:pt x="54" y="10"/>
                                    </a:lnTo>
                                    <a:lnTo>
                                      <a:pt x="54" y="12"/>
                                    </a:lnTo>
                                    <a:lnTo>
                                      <a:pt x="54" y="14"/>
                                    </a:lnTo>
                                    <a:lnTo>
                                      <a:pt x="54" y="14"/>
                                    </a:lnTo>
                                    <a:lnTo>
                                      <a:pt x="60" y="12"/>
                                    </a:lnTo>
                                    <a:lnTo>
                                      <a:pt x="60" y="12"/>
                                    </a:lnTo>
                                    <a:lnTo>
                                      <a:pt x="68" y="10"/>
                                    </a:lnTo>
                                    <a:lnTo>
                                      <a:pt x="70" y="10"/>
                                    </a:lnTo>
                                    <a:lnTo>
                                      <a:pt x="70" y="12"/>
                                    </a:lnTo>
                                    <a:lnTo>
                                      <a:pt x="70" y="12"/>
                                    </a:lnTo>
                                    <a:lnTo>
                                      <a:pt x="70" y="14"/>
                                    </a:lnTo>
                                    <a:lnTo>
                                      <a:pt x="70" y="14"/>
                                    </a:lnTo>
                                    <a:lnTo>
                                      <a:pt x="70" y="16"/>
                                    </a:lnTo>
                                    <a:lnTo>
                                      <a:pt x="70" y="18"/>
                                    </a:lnTo>
                                    <a:lnTo>
                                      <a:pt x="70" y="18"/>
                                    </a:lnTo>
                                    <a:lnTo>
                                      <a:pt x="68" y="22"/>
                                    </a:lnTo>
                                    <a:lnTo>
                                      <a:pt x="66" y="22"/>
                                    </a:lnTo>
                                    <a:lnTo>
                                      <a:pt x="66" y="24"/>
                                    </a:lnTo>
                                    <a:lnTo>
                                      <a:pt x="66" y="30"/>
                                    </a:lnTo>
                                    <a:lnTo>
                                      <a:pt x="66" y="30"/>
                                    </a:lnTo>
                                    <a:lnTo>
                                      <a:pt x="68" y="36"/>
                                    </a:lnTo>
                                    <a:lnTo>
                                      <a:pt x="72" y="40"/>
                                    </a:lnTo>
                                    <a:lnTo>
                                      <a:pt x="74" y="42"/>
                                    </a:lnTo>
                                    <a:lnTo>
                                      <a:pt x="76" y="46"/>
                                    </a:lnTo>
                                    <a:lnTo>
                                      <a:pt x="76" y="46"/>
                                    </a:lnTo>
                                    <a:lnTo>
                                      <a:pt x="76" y="50"/>
                                    </a:lnTo>
                                    <a:lnTo>
                                      <a:pt x="78" y="52"/>
                                    </a:lnTo>
                                    <a:lnTo>
                                      <a:pt x="78" y="56"/>
                                    </a:lnTo>
                                    <a:lnTo>
                                      <a:pt x="74" y="64"/>
                                    </a:lnTo>
                                    <a:lnTo>
                                      <a:pt x="74" y="64"/>
                                    </a:lnTo>
                                    <a:lnTo>
                                      <a:pt x="68" y="70"/>
                                    </a:lnTo>
                                    <a:lnTo>
                                      <a:pt x="62" y="72"/>
                                    </a:lnTo>
                                    <a:lnTo>
                                      <a:pt x="58" y="72"/>
                                    </a:lnTo>
                                    <a:lnTo>
                                      <a:pt x="54" y="76"/>
                                    </a:lnTo>
                                    <a:lnTo>
                                      <a:pt x="54" y="76"/>
                                    </a:lnTo>
                                    <a:lnTo>
                                      <a:pt x="54" y="80"/>
                                    </a:lnTo>
                                    <a:lnTo>
                                      <a:pt x="54" y="82"/>
                                    </a:lnTo>
                                    <a:lnTo>
                                      <a:pt x="58" y="88"/>
                                    </a:lnTo>
                                    <a:lnTo>
                                      <a:pt x="64" y="88"/>
                                    </a:lnTo>
                                    <a:lnTo>
                                      <a:pt x="68" y="88"/>
                                    </a:lnTo>
                                    <a:lnTo>
                                      <a:pt x="68" y="88"/>
                                    </a:lnTo>
                                    <a:lnTo>
                                      <a:pt x="70" y="86"/>
                                    </a:lnTo>
                                    <a:lnTo>
                                      <a:pt x="68" y="84"/>
                                    </a:lnTo>
                                    <a:lnTo>
                                      <a:pt x="72" y="86"/>
                                    </a:lnTo>
                                    <a:lnTo>
                                      <a:pt x="72" y="86"/>
                                    </a:lnTo>
                                    <a:lnTo>
                                      <a:pt x="74" y="88"/>
                                    </a:lnTo>
                                    <a:lnTo>
                                      <a:pt x="72" y="90"/>
                                    </a:lnTo>
                                    <a:lnTo>
                                      <a:pt x="70" y="90"/>
                                    </a:lnTo>
                                    <a:lnTo>
                                      <a:pt x="72" y="92"/>
                                    </a:lnTo>
                                    <a:lnTo>
                                      <a:pt x="72" y="92"/>
                                    </a:lnTo>
                                    <a:lnTo>
                                      <a:pt x="76" y="94"/>
                                    </a:lnTo>
                                    <a:lnTo>
                                      <a:pt x="78" y="96"/>
                                    </a:lnTo>
                                    <a:lnTo>
                                      <a:pt x="82" y="98"/>
                                    </a:lnTo>
                                    <a:lnTo>
                                      <a:pt x="80" y="110"/>
                                    </a:lnTo>
                                    <a:lnTo>
                                      <a:pt x="80" y="110"/>
                                    </a:lnTo>
                                    <a:lnTo>
                                      <a:pt x="82" y="110"/>
                                    </a:lnTo>
                                    <a:lnTo>
                                      <a:pt x="84" y="112"/>
                                    </a:lnTo>
                                    <a:lnTo>
                                      <a:pt x="82" y="116"/>
                                    </a:lnTo>
                                    <a:lnTo>
                                      <a:pt x="78" y="118"/>
                                    </a:lnTo>
                                    <a:lnTo>
                                      <a:pt x="78" y="118"/>
                                    </a:lnTo>
                                    <a:lnTo>
                                      <a:pt x="70" y="122"/>
                                    </a:lnTo>
                                    <a:lnTo>
                                      <a:pt x="66" y="124"/>
                                    </a:lnTo>
                                    <a:lnTo>
                                      <a:pt x="64" y="128"/>
                                    </a:lnTo>
                                    <a:lnTo>
                                      <a:pt x="64" y="128"/>
                                    </a:lnTo>
                                    <a:lnTo>
                                      <a:pt x="62" y="132"/>
                                    </a:lnTo>
                                    <a:lnTo>
                                      <a:pt x="58" y="136"/>
                                    </a:lnTo>
                                    <a:lnTo>
                                      <a:pt x="56" y="140"/>
                                    </a:lnTo>
                                    <a:lnTo>
                                      <a:pt x="58" y="146"/>
                                    </a:lnTo>
                                    <a:lnTo>
                                      <a:pt x="58" y="146"/>
                                    </a:lnTo>
                                    <a:lnTo>
                                      <a:pt x="60" y="150"/>
                                    </a:lnTo>
                                    <a:lnTo>
                                      <a:pt x="60" y="154"/>
                                    </a:lnTo>
                                    <a:lnTo>
                                      <a:pt x="58" y="158"/>
                                    </a:lnTo>
                                    <a:lnTo>
                                      <a:pt x="54" y="162"/>
                                    </a:lnTo>
                                    <a:lnTo>
                                      <a:pt x="46" y="166"/>
                                    </a:lnTo>
                                    <a:lnTo>
                                      <a:pt x="40" y="170"/>
                                    </a:lnTo>
                                    <a:lnTo>
                                      <a:pt x="40" y="17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1029" name="Apollo"/>
                              <p:cNvGrpSpPr/>
                              <p:nvPr/>
                            </p:nvGrpSpPr>
                            <p:grpSpPr>
                              <a:xfrm>
                                <a:off x="2857040" y="1549591"/>
                                <a:ext cx="6995071" cy="3431575"/>
                                <a:chOff x="2857040" y="1549591"/>
                                <a:chExt cx="6995071" cy="3431575"/>
                              </a:xfrm>
                              <a:grpFill/>
                            </p:grpSpPr>
                            <p:grpSp>
                              <p:nvGrpSpPr>
                                <p:cNvPr id="696" name="Faroe Islands"/>
                                <p:cNvGrpSpPr/>
                                <p:nvPr/>
                              </p:nvGrpSpPr>
                              <p:grpSpPr>
                                <a:xfrm>
                                  <a:off x="5560800" y="1549591"/>
                                  <a:ext cx="31823" cy="21631"/>
                                  <a:chOff x="5093520" y="2991541"/>
                                  <a:chExt cx="31823" cy="21631"/>
                                </a:xfrm>
                                <a:grpFill/>
                              </p:grpSpPr>
                              <p:sp>
                                <p:nvSpPr>
                                  <p:cNvPr id="697" name="Faroe Islands"/>
                                  <p:cNvSpPr>
                                    <a:spLocks/>
                                  </p:cNvSpPr>
                                  <p:nvPr/>
                                </p:nvSpPr>
                                <p:spPr bwMode="auto">
                                  <a:xfrm>
                                    <a:off x="5110155" y="3001033"/>
                                    <a:ext cx="15188" cy="12139"/>
                                  </a:xfrm>
                                  <a:custGeom>
                                    <a:avLst/>
                                    <a:gdLst/>
                                    <a:ahLst/>
                                    <a:cxnLst>
                                      <a:cxn ang="0">
                                        <a:pos x="8" y="8"/>
                                      </a:cxn>
                                      <a:cxn ang="0">
                                        <a:pos x="8" y="8"/>
                                      </a:cxn>
                                      <a:cxn ang="0">
                                        <a:pos x="0" y="8"/>
                                      </a:cxn>
                                      <a:cxn ang="0">
                                        <a:pos x="0" y="8"/>
                                      </a:cxn>
                                      <a:cxn ang="0">
                                        <a:pos x="4" y="4"/>
                                      </a:cxn>
                                      <a:cxn ang="0">
                                        <a:pos x="8" y="0"/>
                                      </a:cxn>
                                      <a:cxn ang="0">
                                        <a:pos x="8" y="0"/>
                                      </a:cxn>
                                      <a:cxn ang="0">
                                        <a:pos x="10" y="2"/>
                                      </a:cxn>
                                      <a:cxn ang="0">
                                        <a:pos x="8" y="8"/>
                                      </a:cxn>
                                      <a:cxn ang="0">
                                        <a:pos x="8" y="8"/>
                                      </a:cxn>
                                    </a:cxnLst>
                                    <a:rect l="0" t="0" r="r" b="b"/>
                                    <a:pathLst>
                                      <a:path w="10" h="8">
                                        <a:moveTo>
                                          <a:pt x="8" y="8"/>
                                        </a:moveTo>
                                        <a:lnTo>
                                          <a:pt x="8" y="8"/>
                                        </a:lnTo>
                                        <a:lnTo>
                                          <a:pt x="0" y="8"/>
                                        </a:lnTo>
                                        <a:lnTo>
                                          <a:pt x="0" y="8"/>
                                        </a:lnTo>
                                        <a:lnTo>
                                          <a:pt x="4" y="4"/>
                                        </a:lnTo>
                                        <a:lnTo>
                                          <a:pt x="8" y="0"/>
                                        </a:lnTo>
                                        <a:lnTo>
                                          <a:pt x="8" y="0"/>
                                        </a:lnTo>
                                        <a:lnTo>
                                          <a:pt x="10" y="2"/>
                                        </a:lnTo>
                                        <a:lnTo>
                                          <a:pt x="8" y="8"/>
                                        </a:lnTo>
                                        <a:lnTo>
                                          <a:pt x="8" y="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9" name="Faroe Islands"/>
                                  <p:cNvSpPr>
                                    <a:spLocks/>
                                  </p:cNvSpPr>
                                  <p:nvPr/>
                                </p:nvSpPr>
                                <p:spPr bwMode="auto">
                                  <a:xfrm>
                                    <a:off x="5093520" y="2991541"/>
                                    <a:ext cx="15188" cy="12139"/>
                                  </a:xfrm>
                                  <a:custGeom>
                                    <a:avLst/>
                                    <a:gdLst/>
                                    <a:ahLst/>
                                    <a:cxnLst>
                                      <a:cxn ang="0">
                                        <a:pos x="8" y="8"/>
                                      </a:cxn>
                                      <a:cxn ang="0">
                                        <a:pos x="8" y="8"/>
                                      </a:cxn>
                                      <a:cxn ang="0">
                                        <a:pos x="0" y="8"/>
                                      </a:cxn>
                                      <a:cxn ang="0">
                                        <a:pos x="0" y="8"/>
                                      </a:cxn>
                                      <a:cxn ang="0">
                                        <a:pos x="4" y="4"/>
                                      </a:cxn>
                                      <a:cxn ang="0">
                                        <a:pos x="8" y="0"/>
                                      </a:cxn>
                                      <a:cxn ang="0">
                                        <a:pos x="8" y="0"/>
                                      </a:cxn>
                                      <a:cxn ang="0">
                                        <a:pos x="10" y="2"/>
                                      </a:cxn>
                                      <a:cxn ang="0">
                                        <a:pos x="8" y="8"/>
                                      </a:cxn>
                                      <a:cxn ang="0">
                                        <a:pos x="8" y="8"/>
                                      </a:cxn>
                                    </a:cxnLst>
                                    <a:rect l="0" t="0" r="r" b="b"/>
                                    <a:pathLst>
                                      <a:path w="10" h="8">
                                        <a:moveTo>
                                          <a:pt x="8" y="8"/>
                                        </a:moveTo>
                                        <a:lnTo>
                                          <a:pt x="8" y="8"/>
                                        </a:lnTo>
                                        <a:lnTo>
                                          <a:pt x="0" y="8"/>
                                        </a:lnTo>
                                        <a:lnTo>
                                          <a:pt x="0" y="8"/>
                                        </a:lnTo>
                                        <a:lnTo>
                                          <a:pt x="4" y="4"/>
                                        </a:lnTo>
                                        <a:lnTo>
                                          <a:pt x="8" y="0"/>
                                        </a:lnTo>
                                        <a:lnTo>
                                          <a:pt x="8" y="0"/>
                                        </a:lnTo>
                                        <a:lnTo>
                                          <a:pt x="10" y="2"/>
                                        </a:lnTo>
                                        <a:lnTo>
                                          <a:pt x="8" y="8"/>
                                        </a:lnTo>
                                        <a:lnTo>
                                          <a:pt x="8" y="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685" name="Cyprus"/>
                                <p:cNvSpPr>
                                  <a:spLocks/>
                                </p:cNvSpPr>
                                <p:nvPr/>
                              </p:nvSpPr>
                              <p:spPr bwMode="auto">
                                <a:xfrm>
                                  <a:off x="6806185" y="2335161"/>
                                  <a:ext cx="27432" cy="9144"/>
                                </a:xfrm>
                                <a:custGeom>
                                  <a:avLst/>
                                  <a:gdLst/>
                                  <a:ahLst/>
                                  <a:cxnLst>
                                    <a:cxn ang="0">
                                      <a:pos x="14" y="4"/>
                                    </a:cxn>
                                    <a:cxn ang="0">
                                      <a:pos x="14" y="4"/>
                                    </a:cxn>
                                    <a:cxn ang="0">
                                      <a:pos x="12" y="4"/>
                                    </a:cxn>
                                    <a:cxn ang="0">
                                      <a:pos x="10" y="6"/>
                                    </a:cxn>
                                    <a:cxn ang="0">
                                      <a:pos x="10" y="8"/>
                                    </a:cxn>
                                    <a:cxn ang="0">
                                      <a:pos x="10" y="10"/>
                                    </a:cxn>
                                    <a:cxn ang="0">
                                      <a:pos x="10" y="10"/>
                                    </a:cxn>
                                    <a:cxn ang="0">
                                      <a:pos x="6" y="20"/>
                                    </a:cxn>
                                    <a:cxn ang="0">
                                      <a:pos x="2" y="30"/>
                                    </a:cxn>
                                    <a:cxn ang="0">
                                      <a:pos x="2" y="30"/>
                                    </a:cxn>
                                    <a:cxn ang="0">
                                      <a:pos x="0" y="36"/>
                                    </a:cxn>
                                    <a:cxn ang="0">
                                      <a:pos x="0" y="42"/>
                                    </a:cxn>
                                    <a:cxn ang="0">
                                      <a:pos x="2" y="44"/>
                                    </a:cxn>
                                    <a:cxn ang="0">
                                      <a:pos x="4" y="50"/>
                                    </a:cxn>
                                    <a:cxn ang="0">
                                      <a:pos x="4" y="50"/>
                                    </a:cxn>
                                    <a:cxn ang="0">
                                      <a:pos x="4" y="54"/>
                                    </a:cxn>
                                    <a:cxn ang="0">
                                      <a:pos x="6" y="56"/>
                                    </a:cxn>
                                    <a:cxn ang="0">
                                      <a:pos x="10" y="58"/>
                                    </a:cxn>
                                    <a:cxn ang="0">
                                      <a:pos x="10" y="58"/>
                                    </a:cxn>
                                    <a:cxn ang="0">
                                      <a:pos x="14" y="66"/>
                                    </a:cxn>
                                    <a:cxn ang="0">
                                      <a:pos x="20" y="68"/>
                                    </a:cxn>
                                    <a:cxn ang="0">
                                      <a:pos x="20" y="68"/>
                                    </a:cxn>
                                    <a:cxn ang="0">
                                      <a:pos x="24" y="72"/>
                                    </a:cxn>
                                    <a:cxn ang="0">
                                      <a:pos x="24" y="76"/>
                                    </a:cxn>
                                    <a:cxn ang="0">
                                      <a:pos x="24" y="76"/>
                                    </a:cxn>
                                    <a:cxn ang="0">
                                      <a:pos x="24" y="76"/>
                                    </a:cxn>
                                    <a:cxn ang="0">
                                      <a:pos x="26" y="78"/>
                                    </a:cxn>
                                    <a:cxn ang="0">
                                      <a:pos x="30" y="76"/>
                                    </a:cxn>
                                    <a:cxn ang="0">
                                      <a:pos x="30" y="76"/>
                                    </a:cxn>
                                    <a:cxn ang="0">
                                      <a:pos x="28" y="70"/>
                                    </a:cxn>
                                    <a:cxn ang="0">
                                      <a:pos x="28" y="64"/>
                                    </a:cxn>
                                    <a:cxn ang="0">
                                      <a:pos x="28" y="64"/>
                                    </a:cxn>
                                    <a:cxn ang="0">
                                      <a:pos x="30" y="62"/>
                                    </a:cxn>
                                    <a:cxn ang="0">
                                      <a:pos x="32" y="60"/>
                                    </a:cxn>
                                    <a:cxn ang="0">
                                      <a:pos x="32" y="56"/>
                                    </a:cxn>
                                    <a:cxn ang="0">
                                      <a:pos x="32" y="52"/>
                                    </a:cxn>
                                    <a:cxn ang="0">
                                      <a:pos x="32" y="52"/>
                                    </a:cxn>
                                    <a:cxn ang="0">
                                      <a:pos x="32" y="42"/>
                                    </a:cxn>
                                    <a:cxn ang="0">
                                      <a:pos x="32" y="38"/>
                                    </a:cxn>
                                    <a:cxn ang="0">
                                      <a:pos x="30" y="34"/>
                                    </a:cxn>
                                    <a:cxn ang="0">
                                      <a:pos x="30" y="34"/>
                                    </a:cxn>
                                    <a:cxn ang="0">
                                      <a:pos x="28" y="30"/>
                                    </a:cxn>
                                    <a:cxn ang="0">
                                      <a:pos x="28" y="28"/>
                                    </a:cxn>
                                    <a:cxn ang="0">
                                      <a:pos x="28" y="28"/>
                                    </a:cxn>
                                    <a:cxn ang="0">
                                      <a:pos x="30" y="22"/>
                                    </a:cxn>
                                    <a:cxn ang="0">
                                      <a:pos x="28" y="14"/>
                                    </a:cxn>
                                    <a:cxn ang="0">
                                      <a:pos x="28" y="14"/>
                                    </a:cxn>
                                    <a:cxn ang="0">
                                      <a:pos x="28" y="10"/>
                                    </a:cxn>
                                    <a:cxn ang="0">
                                      <a:pos x="28" y="8"/>
                                    </a:cxn>
                                    <a:cxn ang="0">
                                      <a:pos x="28" y="8"/>
                                    </a:cxn>
                                    <a:cxn ang="0">
                                      <a:pos x="28" y="8"/>
                                    </a:cxn>
                                    <a:cxn ang="0">
                                      <a:pos x="30" y="6"/>
                                    </a:cxn>
                                    <a:cxn ang="0">
                                      <a:pos x="30" y="4"/>
                                    </a:cxn>
                                    <a:cxn ang="0">
                                      <a:pos x="22" y="0"/>
                                    </a:cxn>
                                    <a:cxn ang="0">
                                      <a:pos x="22" y="0"/>
                                    </a:cxn>
                                    <a:cxn ang="0">
                                      <a:pos x="20" y="0"/>
                                    </a:cxn>
                                    <a:cxn ang="0">
                                      <a:pos x="18" y="2"/>
                                    </a:cxn>
                                    <a:cxn ang="0">
                                      <a:pos x="16" y="2"/>
                                    </a:cxn>
                                    <a:cxn ang="0">
                                      <a:pos x="14" y="4"/>
                                    </a:cxn>
                                    <a:cxn ang="0">
                                      <a:pos x="14" y="4"/>
                                    </a:cxn>
                                  </a:cxnLst>
                                  <a:rect l="0" t="0" r="r" b="b"/>
                                  <a:pathLst>
                                    <a:path w="32" h="78">
                                      <a:moveTo>
                                        <a:pt x="14" y="4"/>
                                      </a:moveTo>
                                      <a:lnTo>
                                        <a:pt x="14" y="4"/>
                                      </a:lnTo>
                                      <a:lnTo>
                                        <a:pt x="12" y="4"/>
                                      </a:lnTo>
                                      <a:lnTo>
                                        <a:pt x="10" y="6"/>
                                      </a:lnTo>
                                      <a:lnTo>
                                        <a:pt x="10" y="8"/>
                                      </a:lnTo>
                                      <a:lnTo>
                                        <a:pt x="10" y="10"/>
                                      </a:lnTo>
                                      <a:lnTo>
                                        <a:pt x="10" y="10"/>
                                      </a:lnTo>
                                      <a:lnTo>
                                        <a:pt x="6" y="20"/>
                                      </a:lnTo>
                                      <a:lnTo>
                                        <a:pt x="2" y="30"/>
                                      </a:lnTo>
                                      <a:lnTo>
                                        <a:pt x="2" y="30"/>
                                      </a:lnTo>
                                      <a:lnTo>
                                        <a:pt x="0" y="36"/>
                                      </a:lnTo>
                                      <a:lnTo>
                                        <a:pt x="0" y="42"/>
                                      </a:lnTo>
                                      <a:lnTo>
                                        <a:pt x="2" y="44"/>
                                      </a:lnTo>
                                      <a:lnTo>
                                        <a:pt x="4" y="50"/>
                                      </a:lnTo>
                                      <a:lnTo>
                                        <a:pt x="4" y="50"/>
                                      </a:lnTo>
                                      <a:lnTo>
                                        <a:pt x="4" y="54"/>
                                      </a:lnTo>
                                      <a:lnTo>
                                        <a:pt x="6" y="56"/>
                                      </a:lnTo>
                                      <a:lnTo>
                                        <a:pt x="10" y="58"/>
                                      </a:lnTo>
                                      <a:lnTo>
                                        <a:pt x="10" y="58"/>
                                      </a:lnTo>
                                      <a:lnTo>
                                        <a:pt x="14" y="66"/>
                                      </a:lnTo>
                                      <a:lnTo>
                                        <a:pt x="20" y="68"/>
                                      </a:lnTo>
                                      <a:lnTo>
                                        <a:pt x="20" y="68"/>
                                      </a:lnTo>
                                      <a:lnTo>
                                        <a:pt x="24" y="72"/>
                                      </a:lnTo>
                                      <a:lnTo>
                                        <a:pt x="24" y="76"/>
                                      </a:lnTo>
                                      <a:lnTo>
                                        <a:pt x="24" y="76"/>
                                      </a:lnTo>
                                      <a:lnTo>
                                        <a:pt x="24" y="76"/>
                                      </a:lnTo>
                                      <a:lnTo>
                                        <a:pt x="26" y="78"/>
                                      </a:lnTo>
                                      <a:lnTo>
                                        <a:pt x="30" y="76"/>
                                      </a:lnTo>
                                      <a:lnTo>
                                        <a:pt x="30" y="76"/>
                                      </a:lnTo>
                                      <a:lnTo>
                                        <a:pt x="28" y="70"/>
                                      </a:lnTo>
                                      <a:lnTo>
                                        <a:pt x="28" y="64"/>
                                      </a:lnTo>
                                      <a:lnTo>
                                        <a:pt x="28" y="64"/>
                                      </a:lnTo>
                                      <a:lnTo>
                                        <a:pt x="30" y="62"/>
                                      </a:lnTo>
                                      <a:lnTo>
                                        <a:pt x="32" y="60"/>
                                      </a:lnTo>
                                      <a:lnTo>
                                        <a:pt x="32" y="56"/>
                                      </a:lnTo>
                                      <a:lnTo>
                                        <a:pt x="32" y="52"/>
                                      </a:lnTo>
                                      <a:lnTo>
                                        <a:pt x="32" y="52"/>
                                      </a:lnTo>
                                      <a:lnTo>
                                        <a:pt x="32" y="42"/>
                                      </a:lnTo>
                                      <a:lnTo>
                                        <a:pt x="32" y="38"/>
                                      </a:lnTo>
                                      <a:lnTo>
                                        <a:pt x="30" y="34"/>
                                      </a:lnTo>
                                      <a:lnTo>
                                        <a:pt x="30" y="34"/>
                                      </a:lnTo>
                                      <a:lnTo>
                                        <a:pt x="28" y="30"/>
                                      </a:lnTo>
                                      <a:lnTo>
                                        <a:pt x="28" y="28"/>
                                      </a:lnTo>
                                      <a:lnTo>
                                        <a:pt x="28" y="28"/>
                                      </a:lnTo>
                                      <a:lnTo>
                                        <a:pt x="30" y="22"/>
                                      </a:lnTo>
                                      <a:lnTo>
                                        <a:pt x="28" y="14"/>
                                      </a:lnTo>
                                      <a:lnTo>
                                        <a:pt x="28" y="14"/>
                                      </a:lnTo>
                                      <a:lnTo>
                                        <a:pt x="28" y="10"/>
                                      </a:lnTo>
                                      <a:lnTo>
                                        <a:pt x="28" y="8"/>
                                      </a:lnTo>
                                      <a:lnTo>
                                        <a:pt x="28" y="8"/>
                                      </a:lnTo>
                                      <a:lnTo>
                                        <a:pt x="28" y="8"/>
                                      </a:lnTo>
                                      <a:lnTo>
                                        <a:pt x="30" y="6"/>
                                      </a:lnTo>
                                      <a:lnTo>
                                        <a:pt x="30" y="4"/>
                                      </a:lnTo>
                                      <a:lnTo>
                                        <a:pt x="22" y="0"/>
                                      </a:lnTo>
                                      <a:lnTo>
                                        <a:pt x="22" y="0"/>
                                      </a:lnTo>
                                      <a:lnTo>
                                        <a:pt x="20" y="0"/>
                                      </a:lnTo>
                                      <a:lnTo>
                                        <a:pt x="18" y="2"/>
                                      </a:lnTo>
                                      <a:lnTo>
                                        <a:pt x="16" y="2"/>
                                      </a:lnTo>
                                      <a:lnTo>
                                        <a:pt x="14" y="4"/>
                                      </a:lnTo>
                                      <a:lnTo>
                                        <a:pt x="14" y="4"/>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1" name="Yemen"/>
                                <p:cNvSpPr>
                                  <a:spLocks/>
                                </p:cNvSpPr>
                                <p:nvPr/>
                              </p:nvSpPr>
                              <p:spPr bwMode="auto">
                                <a:xfrm>
                                  <a:off x="7148365" y="2963002"/>
                                  <a:ext cx="337179" cy="230647"/>
                                </a:xfrm>
                                <a:custGeom>
                                  <a:avLst/>
                                  <a:gdLst/>
                                  <a:ahLst/>
                                  <a:cxnLst>
                                    <a:cxn ang="0">
                                      <a:pos x="0" y="62"/>
                                    </a:cxn>
                                    <a:cxn ang="0">
                                      <a:pos x="6" y="94"/>
                                    </a:cxn>
                                    <a:cxn ang="0">
                                      <a:pos x="8" y="100"/>
                                    </a:cxn>
                                    <a:cxn ang="0">
                                      <a:pos x="10" y="110"/>
                                    </a:cxn>
                                    <a:cxn ang="0">
                                      <a:pos x="16" y="124"/>
                                    </a:cxn>
                                    <a:cxn ang="0">
                                      <a:pos x="16" y="130"/>
                                    </a:cxn>
                                    <a:cxn ang="0">
                                      <a:pos x="16" y="138"/>
                                    </a:cxn>
                                    <a:cxn ang="0">
                                      <a:pos x="20" y="146"/>
                                    </a:cxn>
                                    <a:cxn ang="0">
                                      <a:pos x="36" y="152"/>
                                    </a:cxn>
                                    <a:cxn ang="0">
                                      <a:pos x="50" y="148"/>
                                    </a:cxn>
                                    <a:cxn ang="0">
                                      <a:pos x="52" y="146"/>
                                    </a:cxn>
                                    <a:cxn ang="0">
                                      <a:pos x="56" y="144"/>
                                    </a:cxn>
                                    <a:cxn ang="0">
                                      <a:pos x="66" y="138"/>
                                    </a:cxn>
                                    <a:cxn ang="0">
                                      <a:pos x="70" y="136"/>
                                    </a:cxn>
                                    <a:cxn ang="0">
                                      <a:pos x="84" y="132"/>
                                    </a:cxn>
                                    <a:cxn ang="0">
                                      <a:pos x="98" y="128"/>
                                    </a:cxn>
                                    <a:cxn ang="0">
                                      <a:pos x="102" y="124"/>
                                    </a:cxn>
                                    <a:cxn ang="0">
                                      <a:pos x="110" y="120"/>
                                    </a:cxn>
                                    <a:cxn ang="0">
                                      <a:pos x="130" y="116"/>
                                    </a:cxn>
                                    <a:cxn ang="0">
                                      <a:pos x="138" y="108"/>
                                    </a:cxn>
                                    <a:cxn ang="0">
                                      <a:pos x="142" y="104"/>
                                    </a:cxn>
                                    <a:cxn ang="0">
                                      <a:pos x="162" y="94"/>
                                    </a:cxn>
                                    <a:cxn ang="0">
                                      <a:pos x="184" y="86"/>
                                    </a:cxn>
                                    <a:cxn ang="0">
                                      <a:pos x="190" y="82"/>
                                    </a:cxn>
                                    <a:cxn ang="0">
                                      <a:pos x="204" y="78"/>
                                    </a:cxn>
                                    <a:cxn ang="0">
                                      <a:pos x="204" y="74"/>
                                    </a:cxn>
                                    <a:cxn ang="0">
                                      <a:pos x="202" y="70"/>
                                    </a:cxn>
                                    <a:cxn ang="0">
                                      <a:pos x="202" y="64"/>
                                    </a:cxn>
                                    <a:cxn ang="0">
                                      <a:pos x="214" y="56"/>
                                    </a:cxn>
                                    <a:cxn ang="0">
                                      <a:pos x="222" y="52"/>
                                    </a:cxn>
                                    <a:cxn ang="0">
                                      <a:pos x="212" y="48"/>
                                    </a:cxn>
                                    <a:cxn ang="0">
                                      <a:pos x="214" y="42"/>
                                    </a:cxn>
                                    <a:cxn ang="0">
                                      <a:pos x="214" y="36"/>
                                    </a:cxn>
                                    <a:cxn ang="0">
                                      <a:pos x="210" y="34"/>
                                    </a:cxn>
                                    <a:cxn ang="0">
                                      <a:pos x="192" y="26"/>
                                    </a:cxn>
                                    <a:cxn ang="0">
                                      <a:pos x="184" y="18"/>
                                    </a:cxn>
                                    <a:cxn ang="0">
                                      <a:pos x="182" y="0"/>
                                    </a:cxn>
                                    <a:cxn ang="0">
                                      <a:pos x="134" y="20"/>
                                    </a:cxn>
                                    <a:cxn ang="0">
                                      <a:pos x="114" y="44"/>
                                    </a:cxn>
                                    <a:cxn ang="0">
                                      <a:pos x="78" y="80"/>
                                    </a:cxn>
                                    <a:cxn ang="0">
                                      <a:pos x="80" y="70"/>
                                    </a:cxn>
                                    <a:cxn ang="0">
                                      <a:pos x="76" y="62"/>
                                    </a:cxn>
                                    <a:cxn ang="0">
                                      <a:pos x="70" y="60"/>
                                    </a:cxn>
                                    <a:cxn ang="0">
                                      <a:pos x="60" y="54"/>
                                    </a:cxn>
                                    <a:cxn ang="0">
                                      <a:pos x="34" y="46"/>
                                    </a:cxn>
                                    <a:cxn ang="0">
                                      <a:pos x="22" y="44"/>
                                    </a:cxn>
                                    <a:cxn ang="0">
                                      <a:pos x="18" y="46"/>
                                    </a:cxn>
                                    <a:cxn ang="0">
                                      <a:pos x="14" y="50"/>
                                    </a:cxn>
                                    <a:cxn ang="0">
                                      <a:pos x="12" y="52"/>
                                    </a:cxn>
                                    <a:cxn ang="0">
                                      <a:pos x="12" y="56"/>
                                    </a:cxn>
                                    <a:cxn ang="0">
                                      <a:pos x="10" y="60"/>
                                    </a:cxn>
                                    <a:cxn ang="0">
                                      <a:pos x="0" y="62"/>
                                    </a:cxn>
                                  </a:cxnLst>
                                  <a:rect l="0" t="0" r="r" b="b"/>
                                  <a:pathLst>
                                    <a:path w="222" h="152">
                                      <a:moveTo>
                                        <a:pt x="0" y="62"/>
                                      </a:moveTo>
                                      <a:lnTo>
                                        <a:pt x="0" y="62"/>
                                      </a:lnTo>
                                      <a:lnTo>
                                        <a:pt x="4" y="84"/>
                                      </a:lnTo>
                                      <a:lnTo>
                                        <a:pt x="6" y="94"/>
                                      </a:lnTo>
                                      <a:lnTo>
                                        <a:pt x="8" y="98"/>
                                      </a:lnTo>
                                      <a:lnTo>
                                        <a:pt x="8" y="100"/>
                                      </a:lnTo>
                                      <a:lnTo>
                                        <a:pt x="8" y="100"/>
                                      </a:lnTo>
                                      <a:lnTo>
                                        <a:pt x="10" y="110"/>
                                      </a:lnTo>
                                      <a:lnTo>
                                        <a:pt x="14" y="118"/>
                                      </a:lnTo>
                                      <a:lnTo>
                                        <a:pt x="16" y="124"/>
                                      </a:lnTo>
                                      <a:lnTo>
                                        <a:pt x="16" y="130"/>
                                      </a:lnTo>
                                      <a:lnTo>
                                        <a:pt x="16" y="130"/>
                                      </a:lnTo>
                                      <a:lnTo>
                                        <a:pt x="14" y="134"/>
                                      </a:lnTo>
                                      <a:lnTo>
                                        <a:pt x="16" y="138"/>
                                      </a:lnTo>
                                      <a:lnTo>
                                        <a:pt x="20" y="146"/>
                                      </a:lnTo>
                                      <a:lnTo>
                                        <a:pt x="20" y="146"/>
                                      </a:lnTo>
                                      <a:lnTo>
                                        <a:pt x="26" y="150"/>
                                      </a:lnTo>
                                      <a:lnTo>
                                        <a:pt x="36" y="152"/>
                                      </a:lnTo>
                                      <a:lnTo>
                                        <a:pt x="46" y="150"/>
                                      </a:lnTo>
                                      <a:lnTo>
                                        <a:pt x="50" y="148"/>
                                      </a:lnTo>
                                      <a:lnTo>
                                        <a:pt x="52" y="146"/>
                                      </a:lnTo>
                                      <a:lnTo>
                                        <a:pt x="52" y="146"/>
                                      </a:lnTo>
                                      <a:lnTo>
                                        <a:pt x="54" y="144"/>
                                      </a:lnTo>
                                      <a:lnTo>
                                        <a:pt x="56" y="144"/>
                                      </a:lnTo>
                                      <a:lnTo>
                                        <a:pt x="60" y="144"/>
                                      </a:lnTo>
                                      <a:lnTo>
                                        <a:pt x="66" y="138"/>
                                      </a:lnTo>
                                      <a:lnTo>
                                        <a:pt x="66" y="138"/>
                                      </a:lnTo>
                                      <a:lnTo>
                                        <a:pt x="70" y="136"/>
                                      </a:lnTo>
                                      <a:lnTo>
                                        <a:pt x="74" y="134"/>
                                      </a:lnTo>
                                      <a:lnTo>
                                        <a:pt x="84" y="132"/>
                                      </a:lnTo>
                                      <a:lnTo>
                                        <a:pt x="94" y="132"/>
                                      </a:lnTo>
                                      <a:lnTo>
                                        <a:pt x="98" y="128"/>
                                      </a:lnTo>
                                      <a:lnTo>
                                        <a:pt x="102" y="124"/>
                                      </a:lnTo>
                                      <a:lnTo>
                                        <a:pt x="102" y="124"/>
                                      </a:lnTo>
                                      <a:lnTo>
                                        <a:pt x="106" y="122"/>
                                      </a:lnTo>
                                      <a:lnTo>
                                        <a:pt x="110" y="120"/>
                                      </a:lnTo>
                                      <a:lnTo>
                                        <a:pt x="120" y="118"/>
                                      </a:lnTo>
                                      <a:lnTo>
                                        <a:pt x="130" y="116"/>
                                      </a:lnTo>
                                      <a:lnTo>
                                        <a:pt x="134" y="112"/>
                                      </a:lnTo>
                                      <a:lnTo>
                                        <a:pt x="138" y="108"/>
                                      </a:lnTo>
                                      <a:lnTo>
                                        <a:pt x="138" y="108"/>
                                      </a:lnTo>
                                      <a:lnTo>
                                        <a:pt x="142" y="104"/>
                                      </a:lnTo>
                                      <a:lnTo>
                                        <a:pt x="148" y="100"/>
                                      </a:lnTo>
                                      <a:lnTo>
                                        <a:pt x="162" y="94"/>
                                      </a:lnTo>
                                      <a:lnTo>
                                        <a:pt x="176" y="90"/>
                                      </a:lnTo>
                                      <a:lnTo>
                                        <a:pt x="184" y="86"/>
                                      </a:lnTo>
                                      <a:lnTo>
                                        <a:pt x="184" y="86"/>
                                      </a:lnTo>
                                      <a:lnTo>
                                        <a:pt x="190" y="82"/>
                                      </a:lnTo>
                                      <a:lnTo>
                                        <a:pt x="198" y="80"/>
                                      </a:lnTo>
                                      <a:lnTo>
                                        <a:pt x="204" y="78"/>
                                      </a:lnTo>
                                      <a:lnTo>
                                        <a:pt x="206" y="76"/>
                                      </a:lnTo>
                                      <a:lnTo>
                                        <a:pt x="204" y="74"/>
                                      </a:lnTo>
                                      <a:lnTo>
                                        <a:pt x="204" y="74"/>
                                      </a:lnTo>
                                      <a:lnTo>
                                        <a:pt x="202" y="70"/>
                                      </a:lnTo>
                                      <a:lnTo>
                                        <a:pt x="202" y="68"/>
                                      </a:lnTo>
                                      <a:lnTo>
                                        <a:pt x="202" y="64"/>
                                      </a:lnTo>
                                      <a:lnTo>
                                        <a:pt x="206" y="62"/>
                                      </a:lnTo>
                                      <a:lnTo>
                                        <a:pt x="214" y="56"/>
                                      </a:lnTo>
                                      <a:lnTo>
                                        <a:pt x="222" y="52"/>
                                      </a:lnTo>
                                      <a:lnTo>
                                        <a:pt x="222" y="52"/>
                                      </a:lnTo>
                                      <a:lnTo>
                                        <a:pt x="216" y="50"/>
                                      </a:lnTo>
                                      <a:lnTo>
                                        <a:pt x="212" y="48"/>
                                      </a:lnTo>
                                      <a:lnTo>
                                        <a:pt x="212" y="44"/>
                                      </a:lnTo>
                                      <a:lnTo>
                                        <a:pt x="214" y="42"/>
                                      </a:lnTo>
                                      <a:lnTo>
                                        <a:pt x="216" y="38"/>
                                      </a:lnTo>
                                      <a:lnTo>
                                        <a:pt x="214" y="36"/>
                                      </a:lnTo>
                                      <a:lnTo>
                                        <a:pt x="210" y="34"/>
                                      </a:lnTo>
                                      <a:lnTo>
                                        <a:pt x="210" y="34"/>
                                      </a:lnTo>
                                      <a:lnTo>
                                        <a:pt x="200" y="30"/>
                                      </a:lnTo>
                                      <a:lnTo>
                                        <a:pt x="192" y="26"/>
                                      </a:lnTo>
                                      <a:lnTo>
                                        <a:pt x="186" y="22"/>
                                      </a:lnTo>
                                      <a:lnTo>
                                        <a:pt x="184" y="18"/>
                                      </a:lnTo>
                                      <a:lnTo>
                                        <a:pt x="182" y="10"/>
                                      </a:lnTo>
                                      <a:lnTo>
                                        <a:pt x="182" y="0"/>
                                      </a:lnTo>
                                      <a:lnTo>
                                        <a:pt x="182" y="0"/>
                                      </a:lnTo>
                                      <a:lnTo>
                                        <a:pt x="134" y="20"/>
                                      </a:lnTo>
                                      <a:lnTo>
                                        <a:pt x="134" y="20"/>
                                      </a:lnTo>
                                      <a:lnTo>
                                        <a:pt x="114" y="44"/>
                                      </a:lnTo>
                                      <a:lnTo>
                                        <a:pt x="94" y="64"/>
                                      </a:lnTo>
                                      <a:lnTo>
                                        <a:pt x="78" y="80"/>
                                      </a:lnTo>
                                      <a:lnTo>
                                        <a:pt x="78" y="80"/>
                                      </a:lnTo>
                                      <a:lnTo>
                                        <a:pt x="80" y="70"/>
                                      </a:lnTo>
                                      <a:lnTo>
                                        <a:pt x="78" y="64"/>
                                      </a:lnTo>
                                      <a:lnTo>
                                        <a:pt x="76" y="62"/>
                                      </a:lnTo>
                                      <a:lnTo>
                                        <a:pt x="70" y="60"/>
                                      </a:lnTo>
                                      <a:lnTo>
                                        <a:pt x="70" y="60"/>
                                      </a:lnTo>
                                      <a:lnTo>
                                        <a:pt x="66" y="56"/>
                                      </a:lnTo>
                                      <a:lnTo>
                                        <a:pt x="60" y="54"/>
                                      </a:lnTo>
                                      <a:lnTo>
                                        <a:pt x="52" y="50"/>
                                      </a:lnTo>
                                      <a:lnTo>
                                        <a:pt x="34" y="46"/>
                                      </a:lnTo>
                                      <a:lnTo>
                                        <a:pt x="34" y="46"/>
                                      </a:lnTo>
                                      <a:lnTo>
                                        <a:pt x="22" y="44"/>
                                      </a:lnTo>
                                      <a:lnTo>
                                        <a:pt x="18" y="44"/>
                                      </a:lnTo>
                                      <a:lnTo>
                                        <a:pt x="18" y="46"/>
                                      </a:lnTo>
                                      <a:lnTo>
                                        <a:pt x="18" y="48"/>
                                      </a:lnTo>
                                      <a:lnTo>
                                        <a:pt x="14" y="50"/>
                                      </a:lnTo>
                                      <a:lnTo>
                                        <a:pt x="14" y="50"/>
                                      </a:lnTo>
                                      <a:lnTo>
                                        <a:pt x="12" y="52"/>
                                      </a:lnTo>
                                      <a:lnTo>
                                        <a:pt x="12" y="54"/>
                                      </a:lnTo>
                                      <a:lnTo>
                                        <a:pt x="12" y="56"/>
                                      </a:lnTo>
                                      <a:lnTo>
                                        <a:pt x="12" y="58"/>
                                      </a:lnTo>
                                      <a:lnTo>
                                        <a:pt x="10" y="60"/>
                                      </a:lnTo>
                                      <a:lnTo>
                                        <a:pt x="0" y="62"/>
                                      </a:lnTo>
                                      <a:lnTo>
                                        <a:pt x="0" y="62"/>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2" name="Andora"/>
                                <p:cNvSpPr>
                                  <a:spLocks/>
                                </p:cNvSpPr>
                                <p:nvPr/>
                              </p:nvSpPr>
                              <p:spPr bwMode="auto">
                                <a:xfrm>
                                  <a:off x="5804956" y="2101541"/>
                                  <a:ext cx="18226" cy="15174"/>
                                </a:xfrm>
                                <a:custGeom>
                                  <a:avLst/>
                                  <a:gdLst/>
                                  <a:ahLst/>
                                  <a:cxnLst>
                                    <a:cxn ang="0">
                                      <a:pos x="6" y="0"/>
                                    </a:cxn>
                                    <a:cxn ang="0">
                                      <a:pos x="6" y="0"/>
                                    </a:cxn>
                                    <a:cxn ang="0">
                                      <a:pos x="4" y="0"/>
                                    </a:cxn>
                                    <a:cxn ang="0">
                                      <a:pos x="2" y="2"/>
                                    </a:cxn>
                                    <a:cxn ang="0">
                                      <a:pos x="2" y="2"/>
                                    </a:cxn>
                                    <a:cxn ang="0">
                                      <a:pos x="2" y="4"/>
                                    </a:cxn>
                                    <a:cxn ang="0">
                                      <a:pos x="2" y="4"/>
                                    </a:cxn>
                                    <a:cxn ang="0">
                                      <a:pos x="4" y="6"/>
                                    </a:cxn>
                                    <a:cxn ang="0">
                                      <a:pos x="4" y="6"/>
                                    </a:cxn>
                                    <a:cxn ang="0">
                                      <a:pos x="4" y="6"/>
                                    </a:cxn>
                                    <a:cxn ang="0">
                                      <a:pos x="4" y="6"/>
                                    </a:cxn>
                                    <a:cxn ang="0">
                                      <a:pos x="0" y="6"/>
                                    </a:cxn>
                                    <a:cxn ang="0">
                                      <a:pos x="0" y="6"/>
                                    </a:cxn>
                                    <a:cxn ang="0">
                                      <a:pos x="0" y="6"/>
                                    </a:cxn>
                                    <a:cxn ang="0">
                                      <a:pos x="0" y="6"/>
                                    </a:cxn>
                                    <a:cxn ang="0">
                                      <a:pos x="0" y="6"/>
                                    </a:cxn>
                                    <a:cxn ang="0">
                                      <a:pos x="0" y="6"/>
                                    </a:cxn>
                                    <a:cxn ang="0">
                                      <a:pos x="2" y="8"/>
                                    </a:cxn>
                                    <a:cxn ang="0">
                                      <a:pos x="6" y="10"/>
                                    </a:cxn>
                                    <a:cxn ang="0">
                                      <a:pos x="6" y="10"/>
                                    </a:cxn>
                                    <a:cxn ang="0">
                                      <a:pos x="8" y="10"/>
                                    </a:cxn>
                                    <a:cxn ang="0">
                                      <a:pos x="12" y="8"/>
                                    </a:cxn>
                                    <a:cxn ang="0">
                                      <a:pos x="12" y="8"/>
                                    </a:cxn>
                                    <a:cxn ang="0">
                                      <a:pos x="12" y="8"/>
                                    </a:cxn>
                                    <a:cxn ang="0">
                                      <a:pos x="12" y="6"/>
                                    </a:cxn>
                                    <a:cxn ang="0">
                                      <a:pos x="12" y="6"/>
                                    </a:cxn>
                                    <a:cxn ang="0">
                                      <a:pos x="12" y="4"/>
                                    </a:cxn>
                                    <a:cxn ang="0">
                                      <a:pos x="12" y="4"/>
                                    </a:cxn>
                                    <a:cxn ang="0">
                                      <a:pos x="12" y="2"/>
                                    </a:cxn>
                                    <a:cxn ang="0">
                                      <a:pos x="12" y="2"/>
                                    </a:cxn>
                                    <a:cxn ang="0">
                                      <a:pos x="12" y="0"/>
                                    </a:cxn>
                                    <a:cxn ang="0">
                                      <a:pos x="12" y="0"/>
                                    </a:cxn>
                                    <a:cxn ang="0">
                                      <a:pos x="10" y="0"/>
                                    </a:cxn>
                                    <a:cxn ang="0">
                                      <a:pos x="10" y="0"/>
                                    </a:cxn>
                                    <a:cxn ang="0">
                                      <a:pos x="6" y="0"/>
                                    </a:cxn>
                                    <a:cxn ang="0">
                                      <a:pos x="6" y="0"/>
                                    </a:cxn>
                                  </a:cxnLst>
                                  <a:rect l="0" t="0" r="r" b="b"/>
                                  <a:pathLst>
                                    <a:path w="12" h="10">
                                      <a:moveTo>
                                        <a:pt x="6" y="0"/>
                                      </a:moveTo>
                                      <a:lnTo>
                                        <a:pt x="6" y="0"/>
                                      </a:lnTo>
                                      <a:lnTo>
                                        <a:pt x="4" y="0"/>
                                      </a:lnTo>
                                      <a:lnTo>
                                        <a:pt x="2" y="2"/>
                                      </a:lnTo>
                                      <a:lnTo>
                                        <a:pt x="2" y="2"/>
                                      </a:lnTo>
                                      <a:lnTo>
                                        <a:pt x="2" y="4"/>
                                      </a:lnTo>
                                      <a:lnTo>
                                        <a:pt x="2" y="4"/>
                                      </a:lnTo>
                                      <a:lnTo>
                                        <a:pt x="4" y="6"/>
                                      </a:lnTo>
                                      <a:lnTo>
                                        <a:pt x="4" y="6"/>
                                      </a:lnTo>
                                      <a:lnTo>
                                        <a:pt x="4" y="6"/>
                                      </a:lnTo>
                                      <a:lnTo>
                                        <a:pt x="4" y="6"/>
                                      </a:lnTo>
                                      <a:lnTo>
                                        <a:pt x="0" y="6"/>
                                      </a:lnTo>
                                      <a:lnTo>
                                        <a:pt x="0" y="6"/>
                                      </a:lnTo>
                                      <a:lnTo>
                                        <a:pt x="0" y="6"/>
                                      </a:lnTo>
                                      <a:lnTo>
                                        <a:pt x="0" y="6"/>
                                      </a:lnTo>
                                      <a:lnTo>
                                        <a:pt x="0" y="6"/>
                                      </a:lnTo>
                                      <a:lnTo>
                                        <a:pt x="0" y="6"/>
                                      </a:lnTo>
                                      <a:lnTo>
                                        <a:pt x="2" y="8"/>
                                      </a:lnTo>
                                      <a:lnTo>
                                        <a:pt x="6" y="10"/>
                                      </a:lnTo>
                                      <a:lnTo>
                                        <a:pt x="6" y="10"/>
                                      </a:lnTo>
                                      <a:lnTo>
                                        <a:pt x="8" y="10"/>
                                      </a:lnTo>
                                      <a:lnTo>
                                        <a:pt x="12" y="8"/>
                                      </a:lnTo>
                                      <a:lnTo>
                                        <a:pt x="12" y="8"/>
                                      </a:lnTo>
                                      <a:lnTo>
                                        <a:pt x="12" y="8"/>
                                      </a:lnTo>
                                      <a:lnTo>
                                        <a:pt x="12" y="6"/>
                                      </a:lnTo>
                                      <a:lnTo>
                                        <a:pt x="12" y="6"/>
                                      </a:lnTo>
                                      <a:lnTo>
                                        <a:pt x="12" y="4"/>
                                      </a:lnTo>
                                      <a:lnTo>
                                        <a:pt x="12" y="4"/>
                                      </a:lnTo>
                                      <a:lnTo>
                                        <a:pt x="12" y="2"/>
                                      </a:lnTo>
                                      <a:lnTo>
                                        <a:pt x="12" y="2"/>
                                      </a:lnTo>
                                      <a:lnTo>
                                        <a:pt x="12" y="0"/>
                                      </a:lnTo>
                                      <a:lnTo>
                                        <a:pt x="12" y="0"/>
                                      </a:lnTo>
                                      <a:lnTo>
                                        <a:pt x="10" y="0"/>
                                      </a:lnTo>
                                      <a:lnTo>
                                        <a:pt x="10" y="0"/>
                                      </a:lnTo>
                                      <a:lnTo>
                                        <a:pt x="6" y="0"/>
                                      </a:lnTo>
                                      <a:lnTo>
                                        <a:pt x="6" y="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3" name="belize"/>
                                <p:cNvSpPr>
                                  <a:spLocks/>
                                </p:cNvSpPr>
                                <p:nvPr/>
                              </p:nvSpPr>
                              <p:spPr bwMode="auto">
                                <a:xfrm>
                                  <a:off x="2957938" y="2981211"/>
                                  <a:ext cx="51640" cy="88010"/>
                                </a:xfrm>
                                <a:custGeom>
                                  <a:avLst/>
                                  <a:gdLst/>
                                  <a:ahLst/>
                                  <a:cxnLst>
                                    <a:cxn ang="0">
                                      <a:pos x="6" y="14"/>
                                    </a:cxn>
                                    <a:cxn ang="0">
                                      <a:pos x="6" y="14"/>
                                    </a:cxn>
                                    <a:cxn ang="0">
                                      <a:pos x="10" y="10"/>
                                    </a:cxn>
                                    <a:cxn ang="0">
                                      <a:pos x="12" y="10"/>
                                    </a:cxn>
                                    <a:cxn ang="0">
                                      <a:pos x="14" y="12"/>
                                    </a:cxn>
                                    <a:cxn ang="0">
                                      <a:pos x="16" y="12"/>
                                    </a:cxn>
                                    <a:cxn ang="0">
                                      <a:pos x="18" y="12"/>
                                    </a:cxn>
                                    <a:cxn ang="0">
                                      <a:pos x="22" y="8"/>
                                    </a:cxn>
                                    <a:cxn ang="0">
                                      <a:pos x="30" y="0"/>
                                    </a:cxn>
                                    <a:cxn ang="0">
                                      <a:pos x="30" y="0"/>
                                    </a:cxn>
                                    <a:cxn ang="0">
                                      <a:pos x="34" y="0"/>
                                    </a:cxn>
                                    <a:cxn ang="0">
                                      <a:pos x="34" y="2"/>
                                    </a:cxn>
                                    <a:cxn ang="0">
                                      <a:pos x="34" y="8"/>
                                    </a:cxn>
                                    <a:cxn ang="0">
                                      <a:pos x="30" y="16"/>
                                    </a:cxn>
                                    <a:cxn ang="0">
                                      <a:pos x="30" y="24"/>
                                    </a:cxn>
                                    <a:cxn ang="0">
                                      <a:pos x="30" y="24"/>
                                    </a:cxn>
                                    <a:cxn ang="0">
                                      <a:pos x="28" y="30"/>
                                    </a:cxn>
                                    <a:cxn ang="0">
                                      <a:pos x="26" y="34"/>
                                    </a:cxn>
                                    <a:cxn ang="0">
                                      <a:pos x="18" y="46"/>
                                    </a:cxn>
                                    <a:cxn ang="0">
                                      <a:pos x="18" y="46"/>
                                    </a:cxn>
                                    <a:cxn ang="0">
                                      <a:pos x="16" y="50"/>
                                    </a:cxn>
                                    <a:cxn ang="0">
                                      <a:pos x="12" y="52"/>
                                    </a:cxn>
                                    <a:cxn ang="0">
                                      <a:pos x="10" y="54"/>
                                    </a:cxn>
                                    <a:cxn ang="0">
                                      <a:pos x="10" y="58"/>
                                    </a:cxn>
                                    <a:cxn ang="0">
                                      <a:pos x="0" y="58"/>
                                    </a:cxn>
                                    <a:cxn ang="0">
                                      <a:pos x="6" y="14"/>
                                    </a:cxn>
                                    <a:cxn ang="0">
                                      <a:pos x="6" y="14"/>
                                    </a:cxn>
                                  </a:cxnLst>
                                  <a:rect l="0" t="0" r="r" b="b"/>
                                  <a:pathLst>
                                    <a:path w="34" h="58">
                                      <a:moveTo>
                                        <a:pt x="6" y="14"/>
                                      </a:moveTo>
                                      <a:lnTo>
                                        <a:pt x="6" y="14"/>
                                      </a:lnTo>
                                      <a:lnTo>
                                        <a:pt x="10" y="10"/>
                                      </a:lnTo>
                                      <a:lnTo>
                                        <a:pt x="12" y="10"/>
                                      </a:lnTo>
                                      <a:lnTo>
                                        <a:pt x="14" y="12"/>
                                      </a:lnTo>
                                      <a:lnTo>
                                        <a:pt x="16" y="12"/>
                                      </a:lnTo>
                                      <a:lnTo>
                                        <a:pt x="18" y="12"/>
                                      </a:lnTo>
                                      <a:lnTo>
                                        <a:pt x="22" y="8"/>
                                      </a:lnTo>
                                      <a:lnTo>
                                        <a:pt x="30" y="0"/>
                                      </a:lnTo>
                                      <a:lnTo>
                                        <a:pt x="30" y="0"/>
                                      </a:lnTo>
                                      <a:lnTo>
                                        <a:pt x="34" y="0"/>
                                      </a:lnTo>
                                      <a:lnTo>
                                        <a:pt x="34" y="2"/>
                                      </a:lnTo>
                                      <a:lnTo>
                                        <a:pt x="34" y="8"/>
                                      </a:lnTo>
                                      <a:lnTo>
                                        <a:pt x="30" y="16"/>
                                      </a:lnTo>
                                      <a:lnTo>
                                        <a:pt x="30" y="24"/>
                                      </a:lnTo>
                                      <a:lnTo>
                                        <a:pt x="30" y="24"/>
                                      </a:lnTo>
                                      <a:lnTo>
                                        <a:pt x="28" y="30"/>
                                      </a:lnTo>
                                      <a:lnTo>
                                        <a:pt x="26" y="34"/>
                                      </a:lnTo>
                                      <a:lnTo>
                                        <a:pt x="18" y="46"/>
                                      </a:lnTo>
                                      <a:lnTo>
                                        <a:pt x="18" y="46"/>
                                      </a:lnTo>
                                      <a:lnTo>
                                        <a:pt x="16" y="50"/>
                                      </a:lnTo>
                                      <a:lnTo>
                                        <a:pt x="12" y="52"/>
                                      </a:lnTo>
                                      <a:lnTo>
                                        <a:pt x="10" y="54"/>
                                      </a:lnTo>
                                      <a:lnTo>
                                        <a:pt x="10" y="58"/>
                                      </a:lnTo>
                                      <a:lnTo>
                                        <a:pt x="0" y="58"/>
                                      </a:lnTo>
                                      <a:lnTo>
                                        <a:pt x="6" y="14"/>
                                      </a:lnTo>
                                      <a:lnTo>
                                        <a:pt x="6" y="14"/>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9" name="Azerbaijan"/>
                                <p:cNvSpPr>
                                  <a:spLocks/>
                                </p:cNvSpPr>
                                <p:nvPr/>
                              </p:nvSpPr>
                              <p:spPr bwMode="auto">
                                <a:xfrm>
                                  <a:off x="7101219" y="2125388"/>
                                  <a:ext cx="154920" cy="124428"/>
                                </a:xfrm>
                                <a:custGeom>
                                  <a:avLst/>
                                  <a:gdLst/>
                                  <a:ahLst/>
                                  <a:cxnLst>
                                    <a:cxn ang="0">
                                      <a:pos x="46" y="56"/>
                                    </a:cxn>
                                    <a:cxn ang="0">
                                      <a:pos x="58" y="48"/>
                                    </a:cxn>
                                    <a:cxn ang="0">
                                      <a:pos x="60" y="50"/>
                                    </a:cxn>
                                    <a:cxn ang="0">
                                      <a:pos x="66" y="56"/>
                                    </a:cxn>
                                    <a:cxn ang="0">
                                      <a:pos x="64" y="58"/>
                                    </a:cxn>
                                    <a:cxn ang="0">
                                      <a:pos x="68" y="64"/>
                                    </a:cxn>
                                    <a:cxn ang="0">
                                      <a:pos x="62" y="70"/>
                                    </a:cxn>
                                    <a:cxn ang="0">
                                      <a:pos x="72" y="76"/>
                                    </a:cxn>
                                    <a:cxn ang="0">
                                      <a:pos x="82" y="82"/>
                                    </a:cxn>
                                    <a:cxn ang="0">
                                      <a:pos x="88" y="80"/>
                                    </a:cxn>
                                    <a:cxn ang="0">
                                      <a:pos x="82" y="66"/>
                                    </a:cxn>
                                    <a:cxn ang="0">
                                      <a:pos x="84" y="60"/>
                                    </a:cxn>
                                    <a:cxn ang="0">
                                      <a:pos x="86" y="64"/>
                                    </a:cxn>
                                    <a:cxn ang="0">
                                      <a:pos x="90" y="66"/>
                                    </a:cxn>
                                    <a:cxn ang="0">
                                      <a:pos x="90" y="64"/>
                                    </a:cxn>
                                    <a:cxn ang="0">
                                      <a:pos x="88" y="58"/>
                                    </a:cxn>
                                    <a:cxn ang="0">
                                      <a:pos x="90" y="54"/>
                                    </a:cxn>
                                    <a:cxn ang="0">
                                      <a:pos x="90" y="48"/>
                                    </a:cxn>
                                    <a:cxn ang="0">
                                      <a:pos x="92" y="40"/>
                                    </a:cxn>
                                    <a:cxn ang="0">
                                      <a:pos x="94" y="40"/>
                                    </a:cxn>
                                    <a:cxn ang="0">
                                      <a:pos x="102" y="40"/>
                                    </a:cxn>
                                    <a:cxn ang="0">
                                      <a:pos x="102" y="38"/>
                                    </a:cxn>
                                    <a:cxn ang="0">
                                      <a:pos x="96" y="30"/>
                                    </a:cxn>
                                    <a:cxn ang="0">
                                      <a:pos x="94" y="30"/>
                                    </a:cxn>
                                    <a:cxn ang="0">
                                      <a:pos x="90" y="30"/>
                                    </a:cxn>
                                    <a:cxn ang="0">
                                      <a:pos x="80" y="24"/>
                                    </a:cxn>
                                    <a:cxn ang="0">
                                      <a:pos x="70" y="12"/>
                                    </a:cxn>
                                    <a:cxn ang="0">
                                      <a:pos x="58" y="0"/>
                                    </a:cxn>
                                    <a:cxn ang="0">
                                      <a:pos x="52" y="4"/>
                                    </a:cxn>
                                    <a:cxn ang="0">
                                      <a:pos x="36" y="8"/>
                                    </a:cxn>
                                    <a:cxn ang="0">
                                      <a:pos x="22" y="2"/>
                                    </a:cxn>
                                    <a:cxn ang="0">
                                      <a:pos x="26" y="14"/>
                                    </a:cxn>
                                    <a:cxn ang="0">
                                      <a:pos x="26" y="16"/>
                                    </a:cxn>
                                    <a:cxn ang="0">
                                      <a:pos x="16" y="14"/>
                                    </a:cxn>
                                    <a:cxn ang="0">
                                      <a:pos x="0" y="14"/>
                                    </a:cxn>
                                    <a:cxn ang="0">
                                      <a:pos x="6" y="16"/>
                                    </a:cxn>
                                    <a:cxn ang="0">
                                      <a:pos x="12" y="20"/>
                                    </a:cxn>
                                    <a:cxn ang="0">
                                      <a:pos x="16" y="26"/>
                                    </a:cxn>
                                    <a:cxn ang="0">
                                      <a:pos x="18" y="32"/>
                                    </a:cxn>
                                    <a:cxn ang="0">
                                      <a:pos x="22" y="34"/>
                                    </a:cxn>
                                    <a:cxn ang="0">
                                      <a:pos x="24" y="38"/>
                                    </a:cxn>
                                    <a:cxn ang="0">
                                      <a:pos x="28" y="46"/>
                                    </a:cxn>
                                    <a:cxn ang="0">
                                      <a:pos x="42" y="52"/>
                                    </a:cxn>
                                    <a:cxn ang="0">
                                      <a:pos x="46" y="56"/>
                                    </a:cxn>
                                  </a:cxnLst>
                                  <a:rect l="0" t="0" r="r" b="b"/>
                                  <a:pathLst>
                                    <a:path w="102" h="82">
                                      <a:moveTo>
                                        <a:pt x="46" y="56"/>
                                      </a:moveTo>
                                      <a:lnTo>
                                        <a:pt x="46" y="56"/>
                                      </a:lnTo>
                                      <a:lnTo>
                                        <a:pt x="56" y="48"/>
                                      </a:lnTo>
                                      <a:lnTo>
                                        <a:pt x="58" y="48"/>
                                      </a:lnTo>
                                      <a:lnTo>
                                        <a:pt x="60" y="50"/>
                                      </a:lnTo>
                                      <a:lnTo>
                                        <a:pt x="60" y="50"/>
                                      </a:lnTo>
                                      <a:lnTo>
                                        <a:pt x="66" y="54"/>
                                      </a:lnTo>
                                      <a:lnTo>
                                        <a:pt x="66" y="56"/>
                                      </a:lnTo>
                                      <a:lnTo>
                                        <a:pt x="64" y="58"/>
                                      </a:lnTo>
                                      <a:lnTo>
                                        <a:pt x="64" y="58"/>
                                      </a:lnTo>
                                      <a:lnTo>
                                        <a:pt x="68" y="60"/>
                                      </a:lnTo>
                                      <a:lnTo>
                                        <a:pt x="68" y="64"/>
                                      </a:lnTo>
                                      <a:lnTo>
                                        <a:pt x="66" y="68"/>
                                      </a:lnTo>
                                      <a:lnTo>
                                        <a:pt x="62" y="70"/>
                                      </a:lnTo>
                                      <a:lnTo>
                                        <a:pt x="62" y="70"/>
                                      </a:lnTo>
                                      <a:lnTo>
                                        <a:pt x="72" y="76"/>
                                      </a:lnTo>
                                      <a:lnTo>
                                        <a:pt x="78" y="80"/>
                                      </a:lnTo>
                                      <a:lnTo>
                                        <a:pt x="82" y="82"/>
                                      </a:lnTo>
                                      <a:lnTo>
                                        <a:pt x="88" y="80"/>
                                      </a:lnTo>
                                      <a:lnTo>
                                        <a:pt x="88" y="80"/>
                                      </a:lnTo>
                                      <a:lnTo>
                                        <a:pt x="84" y="70"/>
                                      </a:lnTo>
                                      <a:lnTo>
                                        <a:pt x="82" y="66"/>
                                      </a:lnTo>
                                      <a:lnTo>
                                        <a:pt x="82" y="62"/>
                                      </a:lnTo>
                                      <a:lnTo>
                                        <a:pt x="84" y="60"/>
                                      </a:lnTo>
                                      <a:lnTo>
                                        <a:pt x="84" y="60"/>
                                      </a:lnTo>
                                      <a:lnTo>
                                        <a:pt x="86" y="64"/>
                                      </a:lnTo>
                                      <a:lnTo>
                                        <a:pt x="88" y="66"/>
                                      </a:lnTo>
                                      <a:lnTo>
                                        <a:pt x="90" y="66"/>
                                      </a:lnTo>
                                      <a:lnTo>
                                        <a:pt x="90" y="66"/>
                                      </a:lnTo>
                                      <a:lnTo>
                                        <a:pt x="90" y="64"/>
                                      </a:lnTo>
                                      <a:lnTo>
                                        <a:pt x="88" y="60"/>
                                      </a:lnTo>
                                      <a:lnTo>
                                        <a:pt x="88" y="58"/>
                                      </a:lnTo>
                                      <a:lnTo>
                                        <a:pt x="90" y="54"/>
                                      </a:lnTo>
                                      <a:lnTo>
                                        <a:pt x="90" y="54"/>
                                      </a:lnTo>
                                      <a:lnTo>
                                        <a:pt x="90" y="50"/>
                                      </a:lnTo>
                                      <a:lnTo>
                                        <a:pt x="90" y="48"/>
                                      </a:lnTo>
                                      <a:lnTo>
                                        <a:pt x="90" y="44"/>
                                      </a:lnTo>
                                      <a:lnTo>
                                        <a:pt x="92" y="40"/>
                                      </a:lnTo>
                                      <a:lnTo>
                                        <a:pt x="92" y="40"/>
                                      </a:lnTo>
                                      <a:lnTo>
                                        <a:pt x="94" y="40"/>
                                      </a:lnTo>
                                      <a:lnTo>
                                        <a:pt x="98" y="40"/>
                                      </a:lnTo>
                                      <a:lnTo>
                                        <a:pt x="102" y="40"/>
                                      </a:lnTo>
                                      <a:lnTo>
                                        <a:pt x="102" y="40"/>
                                      </a:lnTo>
                                      <a:lnTo>
                                        <a:pt x="102" y="38"/>
                                      </a:lnTo>
                                      <a:lnTo>
                                        <a:pt x="100" y="34"/>
                                      </a:lnTo>
                                      <a:lnTo>
                                        <a:pt x="96" y="30"/>
                                      </a:lnTo>
                                      <a:lnTo>
                                        <a:pt x="94" y="30"/>
                                      </a:lnTo>
                                      <a:lnTo>
                                        <a:pt x="94" y="30"/>
                                      </a:lnTo>
                                      <a:lnTo>
                                        <a:pt x="92" y="32"/>
                                      </a:lnTo>
                                      <a:lnTo>
                                        <a:pt x="90" y="30"/>
                                      </a:lnTo>
                                      <a:lnTo>
                                        <a:pt x="80" y="24"/>
                                      </a:lnTo>
                                      <a:lnTo>
                                        <a:pt x="80" y="24"/>
                                      </a:lnTo>
                                      <a:lnTo>
                                        <a:pt x="76" y="18"/>
                                      </a:lnTo>
                                      <a:lnTo>
                                        <a:pt x="70" y="12"/>
                                      </a:lnTo>
                                      <a:lnTo>
                                        <a:pt x="66" y="6"/>
                                      </a:lnTo>
                                      <a:lnTo>
                                        <a:pt x="58" y="0"/>
                                      </a:lnTo>
                                      <a:lnTo>
                                        <a:pt x="58" y="0"/>
                                      </a:lnTo>
                                      <a:lnTo>
                                        <a:pt x="52" y="4"/>
                                      </a:lnTo>
                                      <a:lnTo>
                                        <a:pt x="44" y="8"/>
                                      </a:lnTo>
                                      <a:lnTo>
                                        <a:pt x="36" y="8"/>
                                      </a:lnTo>
                                      <a:lnTo>
                                        <a:pt x="22" y="2"/>
                                      </a:lnTo>
                                      <a:lnTo>
                                        <a:pt x="22" y="2"/>
                                      </a:lnTo>
                                      <a:lnTo>
                                        <a:pt x="24" y="10"/>
                                      </a:lnTo>
                                      <a:lnTo>
                                        <a:pt x="26" y="14"/>
                                      </a:lnTo>
                                      <a:lnTo>
                                        <a:pt x="26" y="16"/>
                                      </a:lnTo>
                                      <a:lnTo>
                                        <a:pt x="26" y="16"/>
                                      </a:lnTo>
                                      <a:lnTo>
                                        <a:pt x="20" y="16"/>
                                      </a:lnTo>
                                      <a:lnTo>
                                        <a:pt x="16" y="14"/>
                                      </a:lnTo>
                                      <a:lnTo>
                                        <a:pt x="10" y="14"/>
                                      </a:lnTo>
                                      <a:lnTo>
                                        <a:pt x="0" y="14"/>
                                      </a:lnTo>
                                      <a:lnTo>
                                        <a:pt x="0" y="14"/>
                                      </a:lnTo>
                                      <a:lnTo>
                                        <a:pt x="6" y="16"/>
                                      </a:lnTo>
                                      <a:lnTo>
                                        <a:pt x="12" y="20"/>
                                      </a:lnTo>
                                      <a:lnTo>
                                        <a:pt x="12" y="20"/>
                                      </a:lnTo>
                                      <a:lnTo>
                                        <a:pt x="16" y="22"/>
                                      </a:lnTo>
                                      <a:lnTo>
                                        <a:pt x="16" y="26"/>
                                      </a:lnTo>
                                      <a:lnTo>
                                        <a:pt x="16" y="26"/>
                                      </a:lnTo>
                                      <a:lnTo>
                                        <a:pt x="18" y="32"/>
                                      </a:lnTo>
                                      <a:lnTo>
                                        <a:pt x="20" y="32"/>
                                      </a:lnTo>
                                      <a:lnTo>
                                        <a:pt x="22" y="34"/>
                                      </a:lnTo>
                                      <a:lnTo>
                                        <a:pt x="24" y="38"/>
                                      </a:lnTo>
                                      <a:lnTo>
                                        <a:pt x="24" y="38"/>
                                      </a:lnTo>
                                      <a:lnTo>
                                        <a:pt x="24" y="44"/>
                                      </a:lnTo>
                                      <a:lnTo>
                                        <a:pt x="28" y="46"/>
                                      </a:lnTo>
                                      <a:lnTo>
                                        <a:pt x="34" y="50"/>
                                      </a:lnTo>
                                      <a:lnTo>
                                        <a:pt x="42" y="52"/>
                                      </a:lnTo>
                                      <a:lnTo>
                                        <a:pt x="44" y="54"/>
                                      </a:lnTo>
                                      <a:lnTo>
                                        <a:pt x="46" y="56"/>
                                      </a:lnTo>
                                      <a:lnTo>
                                        <a:pt x="46" y="56"/>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1" name="Bahamas"/>
                                <p:cNvSpPr>
                                  <a:spLocks/>
                                </p:cNvSpPr>
                                <p:nvPr/>
                              </p:nvSpPr>
                              <p:spPr bwMode="auto">
                                <a:xfrm rot="9136277">
                                  <a:off x="3363739" y="2744850"/>
                                  <a:ext cx="18288" cy="33383"/>
                                </a:xfrm>
                                <a:custGeom>
                                  <a:avLst/>
                                  <a:gdLst/>
                                  <a:ahLst/>
                                  <a:cxnLst>
                                    <a:cxn ang="0">
                                      <a:pos x="24" y="22"/>
                                    </a:cxn>
                                    <a:cxn ang="0">
                                      <a:pos x="24" y="22"/>
                                    </a:cxn>
                                    <a:cxn ang="0">
                                      <a:pos x="22" y="18"/>
                                    </a:cxn>
                                    <a:cxn ang="0">
                                      <a:pos x="18" y="16"/>
                                    </a:cxn>
                                    <a:cxn ang="0">
                                      <a:pos x="18" y="16"/>
                                    </a:cxn>
                                    <a:cxn ang="0">
                                      <a:pos x="16" y="16"/>
                                    </a:cxn>
                                    <a:cxn ang="0">
                                      <a:pos x="14" y="14"/>
                                    </a:cxn>
                                    <a:cxn ang="0">
                                      <a:pos x="12" y="10"/>
                                    </a:cxn>
                                    <a:cxn ang="0">
                                      <a:pos x="12" y="10"/>
                                    </a:cxn>
                                    <a:cxn ang="0">
                                      <a:pos x="10" y="8"/>
                                    </a:cxn>
                                    <a:cxn ang="0">
                                      <a:pos x="6" y="6"/>
                                    </a:cxn>
                                    <a:cxn ang="0">
                                      <a:pos x="6" y="6"/>
                                    </a:cxn>
                                    <a:cxn ang="0">
                                      <a:pos x="2" y="4"/>
                                    </a:cxn>
                                    <a:cxn ang="0">
                                      <a:pos x="0" y="4"/>
                                    </a:cxn>
                                    <a:cxn ang="0">
                                      <a:pos x="2" y="2"/>
                                    </a:cxn>
                                    <a:cxn ang="0">
                                      <a:pos x="2" y="2"/>
                                    </a:cxn>
                                    <a:cxn ang="0">
                                      <a:pos x="10" y="0"/>
                                    </a:cxn>
                                    <a:cxn ang="0">
                                      <a:pos x="14" y="0"/>
                                    </a:cxn>
                                    <a:cxn ang="0">
                                      <a:pos x="14" y="0"/>
                                    </a:cxn>
                                    <a:cxn ang="0">
                                      <a:pos x="16" y="0"/>
                                    </a:cxn>
                                    <a:cxn ang="0">
                                      <a:pos x="22" y="0"/>
                                    </a:cxn>
                                    <a:cxn ang="0">
                                      <a:pos x="22" y="0"/>
                                    </a:cxn>
                                    <a:cxn ang="0">
                                      <a:pos x="34" y="2"/>
                                    </a:cxn>
                                    <a:cxn ang="0">
                                      <a:pos x="34" y="2"/>
                                    </a:cxn>
                                    <a:cxn ang="0">
                                      <a:pos x="38" y="6"/>
                                    </a:cxn>
                                    <a:cxn ang="0">
                                      <a:pos x="40" y="8"/>
                                    </a:cxn>
                                    <a:cxn ang="0">
                                      <a:pos x="44" y="10"/>
                                    </a:cxn>
                                    <a:cxn ang="0">
                                      <a:pos x="44" y="10"/>
                                    </a:cxn>
                                    <a:cxn ang="0">
                                      <a:pos x="48" y="12"/>
                                    </a:cxn>
                                    <a:cxn ang="0">
                                      <a:pos x="50" y="14"/>
                                    </a:cxn>
                                    <a:cxn ang="0">
                                      <a:pos x="50" y="14"/>
                                    </a:cxn>
                                    <a:cxn ang="0">
                                      <a:pos x="48" y="16"/>
                                    </a:cxn>
                                    <a:cxn ang="0">
                                      <a:pos x="44" y="16"/>
                                    </a:cxn>
                                    <a:cxn ang="0">
                                      <a:pos x="44" y="16"/>
                                    </a:cxn>
                                    <a:cxn ang="0">
                                      <a:pos x="40" y="18"/>
                                    </a:cxn>
                                    <a:cxn ang="0">
                                      <a:pos x="34" y="18"/>
                                    </a:cxn>
                                    <a:cxn ang="0">
                                      <a:pos x="34" y="18"/>
                                    </a:cxn>
                                    <a:cxn ang="0">
                                      <a:pos x="32" y="16"/>
                                    </a:cxn>
                                    <a:cxn ang="0">
                                      <a:pos x="32" y="18"/>
                                    </a:cxn>
                                    <a:cxn ang="0">
                                      <a:pos x="32" y="18"/>
                                    </a:cxn>
                                    <a:cxn ang="0">
                                      <a:pos x="30" y="20"/>
                                    </a:cxn>
                                    <a:cxn ang="0">
                                      <a:pos x="28" y="18"/>
                                    </a:cxn>
                                    <a:cxn ang="0">
                                      <a:pos x="28" y="18"/>
                                    </a:cxn>
                                    <a:cxn ang="0">
                                      <a:pos x="26" y="18"/>
                                    </a:cxn>
                                    <a:cxn ang="0">
                                      <a:pos x="26" y="20"/>
                                    </a:cxn>
                                    <a:cxn ang="0">
                                      <a:pos x="26" y="20"/>
                                    </a:cxn>
                                    <a:cxn ang="0">
                                      <a:pos x="26" y="22"/>
                                    </a:cxn>
                                    <a:cxn ang="0">
                                      <a:pos x="24" y="22"/>
                                    </a:cxn>
                                    <a:cxn ang="0">
                                      <a:pos x="24" y="22"/>
                                    </a:cxn>
                                  </a:cxnLst>
                                  <a:rect l="0" t="0" r="r" b="b"/>
                                  <a:pathLst>
                                    <a:path w="50" h="22">
                                      <a:moveTo>
                                        <a:pt x="24" y="22"/>
                                      </a:moveTo>
                                      <a:lnTo>
                                        <a:pt x="24" y="22"/>
                                      </a:lnTo>
                                      <a:lnTo>
                                        <a:pt x="22" y="18"/>
                                      </a:lnTo>
                                      <a:lnTo>
                                        <a:pt x="18" y="16"/>
                                      </a:lnTo>
                                      <a:lnTo>
                                        <a:pt x="18" y="16"/>
                                      </a:lnTo>
                                      <a:lnTo>
                                        <a:pt x="16" y="16"/>
                                      </a:lnTo>
                                      <a:lnTo>
                                        <a:pt x="14" y="14"/>
                                      </a:lnTo>
                                      <a:lnTo>
                                        <a:pt x="12" y="10"/>
                                      </a:lnTo>
                                      <a:lnTo>
                                        <a:pt x="12" y="10"/>
                                      </a:lnTo>
                                      <a:lnTo>
                                        <a:pt x="10" y="8"/>
                                      </a:lnTo>
                                      <a:lnTo>
                                        <a:pt x="6" y="6"/>
                                      </a:lnTo>
                                      <a:lnTo>
                                        <a:pt x="6" y="6"/>
                                      </a:lnTo>
                                      <a:lnTo>
                                        <a:pt x="2" y="4"/>
                                      </a:lnTo>
                                      <a:lnTo>
                                        <a:pt x="0" y="4"/>
                                      </a:lnTo>
                                      <a:lnTo>
                                        <a:pt x="2" y="2"/>
                                      </a:lnTo>
                                      <a:lnTo>
                                        <a:pt x="2" y="2"/>
                                      </a:lnTo>
                                      <a:lnTo>
                                        <a:pt x="10" y="0"/>
                                      </a:lnTo>
                                      <a:lnTo>
                                        <a:pt x="14" y="0"/>
                                      </a:lnTo>
                                      <a:lnTo>
                                        <a:pt x="14" y="0"/>
                                      </a:lnTo>
                                      <a:lnTo>
                                        <a:pt x="16" y="0"/>
                                      </a:lnTo>
                                      <a:lnTo>
                                        <a:pt x="22" y="0"/>
                                      </a:lnTo>
                                      <a:lnTo>
                                        <a:pt x="22" y="0"/>
                                      </a:lnTo>
                                      <a:lnTo>
                                        <a:pt x="34" y="2"/>
                                      </a:lnTo>
                                      <a:lnTo>
                                        <a:pt x="34" y="2"/>
                                      </a:lnTo>
                                      <a:lnTo>
                                        <a:pt x="38" y="6"/>
                                      </a:lnTo>
                                      <a:lnTo>
                                        <a:pt x="40" y="8"/>
                                      </a:lnTo>
                                      <a:lnTo>
                                        <a:pt x="44" y="10"/>
                                      </a:lnTo>
                                      <a:lnTo>
                                        <a:pt x="44" y="10"/>
                                      </a:lnTo>
                                      <a:lnTo>
                                        <a:pt x="48" y="12"/>
                                      </a:lnTo>
                                      <a:lnTo>
                                        <a:pt x="50" y="14"/>
                                      </a:lnTo>
                                      <a:lnTo>
                                        <a:pt x="50" y="14"/>
                                      </a:lnTo>
                                      <a:lnTo>
                                        <a:pt x="48" y="16"/>
                                      </a:lnTo>
                                      <a:lnTo>
                                        <a:pt x="44" y="16"/>
                                      </a:lnTo>
                                      <a:lnTo>
                                        <a:pt x="44" y="16"/>
                                      </a:lnTo>
                                      <a:lnTo>
                                        <a:pt x="40" y="18"/>
                                      </a:lnTo>
                                      <a:lnTo>
                                        <a:pt x="34" y="18"/>
                                      </a:lnTo>
                                      <a:lnTo>
                                        <a:pt x="34" y="18"/>
                                      </a:lnTo>
                                      <a:lnTo>
                                        <a:pt x="32" y="16"/>
                                      </a:lnTo>
                                      <a:lnTo>
                                        <a:pt x="32" y="18"/>
                                      </a:lnTo>
                                      <a:lnTo>
                                        <a:pt x="32" y="18"/>
                                      </a:lnTo>
                                      <a:lnTo>
                                        <a:pt x="30" y="20"/>
                                      </a:lnTo>
                                      <a:lnTo>
                                        <a:pt x="28" y="18"/>
                                      </a:lnTo>
                                      <a:lnTo>
                                        <a:pt x="28" y="18"/>
                                      </a:lnTo>
                                      <a:lnTo>
                                        <a:pt x="26" y="18"/>
                                      </a:lnTo>
                                      <a:lnTo>
                                        <a:pt x="26" y="20"/>
                                      </a:lnTo>
                                      <a:lnTo>
                                        <a:pt x="26" y="20"/>
                                      </a:lnTo>
                                      <a:lnTo>
                                        <a:pt x="26" y="22"/>
                                      </a:lnTo>
                                      <a:lnTo>
                                        <a:pt x="24" y="22"/>
                                      </a:lnTo>
                                      <a:lnTo>
                                        <a:pt x="24" y="22"/>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4" name="Bhutan"/>
                                <p:cNvSpPr>
                                  <a:spLocks/>
                                </p:cNvSpPr>
                                <p:nvPr/>
                              </p:nvSpPr>
                              <p:spPr bwMode="auto">
                                <a:xfrm>
                                  <a:off x="8524415" y="2589717"/>
                                  <a:ext cx="103279" cy="48557"/>
                                </a:xfrm>
                                <a:custGeom>
                                  <a:avLst/>
                                  <a:gdLst/>
                                  <a:ahLst/>
                                  <a:cxnLst>
                                    <a:cxn ang="0">
                                      <a:pos x="0" y="22"/>
                                    </a:cxn>
                                    <a:cxn ang="0">
                                      <a:pos x="0" y="22"/>
                                    </a:cxn>
                                    <a:cxn ang="0">
                                      <a:pos x="4" y="10"/>
                                    </a:cxn>
                                    <a:cxn ang="0">
                                      <a:pos x="8" y="4"/>
                                    </a:cxn>
                                    <a:cxn ang="0">
                                      <a:pos x="14" y="0"/>
                                    </a:cxn>
                                    <a:cxn ang="0">
                                      <a:pos x="22" y="0"/>
                                    </a:cxn>
                                    <a:cxn ang="0">
                                      <a:pos x="22" y="0"/>
                                    </a:cxn>
                                    <a:cxn ang="0">
                                      <a:pos x="32" y="0"/>
                                    </a:cxn>
                                    <a:cxn ang="0">
                                      <a:pos x="38" y="2"/>
                                    </a:cxn>
                                    <a:cxn ang="0">
                                      <a:pos x="42" y="4"/>
                                    </a:cxn>
                                    <a:cxn ang="0">
                                      <a:pos x="46" y="6"/>
                                    </a:cxn>
                                    <a:cxn ang="0">
                                      <a:pos x="46" y="6"/>
                                    </a:cxn>
                                    <a:cxn ang="0">
                                      <a:pos x="48" y="8"/>
                                    </a:cxn>
                                    <a:cxn ang="0">
                                      <a:pos x="50" y="6"/>
                                    </a:cxn>
                                    <a:cxn ang="0">
                                      <a:pos x="50" y="6"/>
                                    </a:cxn>
                                    <a:cxn ang="0">
                                      <a:pos x="52" y="10"/>
                                    </a:cxn>
                                    <a:cxn ang="0">
                                      <a:pos x="54" y="12"/>
                                    </a:cxn>
                                    <a:cxn ang="0">
                                      <a:pos x="64" y="12"/>
                                    </a:cxn>
                                    <a:cxn ang="0">
                                      <a:pos x="64" y="12"/>
                                    </a:cxn>
                                    <a:cxn ang="0">
                                      <a:pos x="66" y="14"/>
                                    </a:cxn>
                                    <a:cxn ang="0">
                                      <a:pos x="68" y="18"/>
                                    </a:cxn>
                                    <a:cxn ang="0">
                                      <a:pos x="68" y="28"/>
                                    </a:cxn>
                                    <a:cxn ang="0">
                                      <a:pos x="68" y="28"/>
                                    </a:cxn>
                                    <a:cxn ang="0">
                                      <a:pos x="68" y="28"/>
                                    </a:cxn>
                                    <a:cxn ang="0">
                                      <a:pos x="66" y="30"/>
                                    </a:cxn>
                                    <a:cxn ang="0">
                                      <a:pos x="58" y="28"/>
                                    </a:cxn>
                                    <a:cxn ang="0">
                                      <a:pos x="50" y="28"/>
                                    </a:cxn>
                                    <a:cxn ang="0">
                                      <a:pos x="42" y="30"/>
                                    </a:cxn>
                                    <a:cxn ang="0">
                                      <a:pos x="42" y="30"/>
                                    </a:cxn>
                                    <a:cxn ang="0">
                                      <a:pos x="38" y="32"/>
                                    </a:cxn>
                                    <a:cxn ang="0">
                                      <a:pos x="32" y="32"/>
                                    </a:cxn>
                                    <a:cxn ang="0">
                                      <a:pos x="28" y="30"/>
                                    </a:cxn>
                                    <a:cxn ang="0">
                                      <a:pos x="24" y="26"/>
                                    </a:cxn>
                                    <a:cxn ang="0">
                                      <a:pos x="24" y="26"/>
                                    </a:cxn>
                                    <a:cxn ang="0">
                                      <a:pos x="20" y="24"/>
                                    </a:cxn>
                                    <a:cxn ang="0">
                                      <a:pos x="12" y="24"/>
                                    </a:cxn>
                                    <a:cxn ang="0">
                                      <a:pos x="6" y="24"/>
                                    </a:cxn>
                                    <a:cxn ang="0">
                                      <a:pos x="0" y="22"/>
                                    </a:cxn>
                                    <a:cxn ang="0">
                                      <a:pos x="0" y="22"/>
                                    </a:cxn>
                                  </a:cxnLst>
                                  <a:rect l="0" t="0" r="r" b="b"/>
                                  <a:pathLst>
                                    <a:path w="68" h="32">
                                      <a:moveTo>
                                        <a:pt x="0" y="22"/>
                                      </a:moveTo>
                                      <a:lnTo>
                                        <a:pt x="0" y="22"/>
                                      </a:lnTo>
                                      <a:lnTo>
                                        <a:pt x="4" y="10"/>
                                      </a:lnTo>
                                      <a:lnTo>
                                        <a:pt x="8" y="4"/>
                                      </a:lnTo>
                                      <a:lnTo>
                                        <a:pt x="14" y="0"/>
                                      </a:lnTo>
                                      <a:lnTo>
                                        <a:pt x="22" y="0"/>
                                      </a:lnTo>
                                      <a:lnTo>
                                        <a:pt x="22" y="0"/>
                                      </a:lnTo>
                                      <a:lnTo>
                                        <a:pt x="32" y="0"/>
                                      </a:lnTo>
                                      <a:lnTo>
                                        <a:pt x="38" y="2"/>
                                      </a:lnTo>
                                      <a:lnTo>
                                        <a:pt x="42" y="4"/>
                                      </a:lnTo>
                                      <a:lnTo>
                                        <a:pt x="46" y="6"/>
                                      </a:lnTo>
                                      <a:lnTo>
                                        <a:pt x="46" y="6"/>
                                      </a:lnTo>
                                      <a:lnTo>
                                        <a:pt x="48" y="8"/>
                                      </a:lnTo>
                                      <a:lnTo>
                                        <a:pt x="50" y="6"/>
                                      </a:lnTo>
                                      <a:lnTo>
                                        <a:pt x="50" y="6"/>
                                      </a:lnTo>
                                      <a:lnTo>
                                        <a:pt x="52" y="10"/>
                                      </a:lnTo>
                                      <a:lnTo>
                                        <a:pt x="54" y="12"/>
                                      </a:lnTo>
                                      <a:lnTo>
                                        <a:pt x="64" y="12"/>
                                      </a:lnTo>
                                      <a:lnTo>
                                        <a:pt x="64" y="12"/>
                                      </a:lnTo>
                                      <a:lnTo>
                                        <a:pt x="66" y="14"/>
                                      </a:lnTo>
                                      <a:lnTo>
                                        <a:pt x="68" y="18"/>
                                      </a:lnTo>
                                      <a:lnTo>
                                        <a:pt x="68" y="28"/>
                                      </a:lnTo>
                                      <a:lnTo>
                                        <a:pt x="68" y="28"/>
                                      </a:lnTo>
                                      <a:lnTo>
                                        <a:pt x="68" y="28"/>
                                      </a:lnTo>
                                      <a:lnTo>
                                        <a:pt x="66" y="30"/>
                                      </a:lnTo>
                                      <a:lnTo>
                                        <a:pt x="58" y="28"/>
                                      </a:lnTo>
                                      <a:lnTo>
                                        <a:pt x="50" y="28"/>
                                      </a:lnTo>
                                      <a:lnTo>
                                        <a:pt x="42" y="30"/>
                                      </a:lnTo>
                                      <a:lnTo>
                                        <a:pt x="42" y="30"/>
                                      </a:lnTo>
                                      <a:lnTo>
                                        <a:pt x="38" y="32"/>
                                      </a:lnTo>
                                      <a:lnTo>
                                        <a:pt x="32" y="32"/>
                                      </a:lnTo>
                                      <a:lnTo>
                                        <a:pt x="28" y="30"/>
                                      </a:lnTo>
                                      <a:lnTo>
                                        <a:pt x="24" y="26"/>
                                      </a:lnTo>
                                      <a:lnTo>
                                        <a:pt x="24" y="26"/>
                                      </a:lnTo>
                                      <a:lnTo>
                                        <a:pt x="20" y="24"/>
                                      </a:lnTo>
                                      <a:lnTo>
                                        <a:pt x="12" y="24"/>
                                      </a:lnTo>
                                      <a:lnTo>
                                        <a:pt x="6" y="24"/>
                                      </a:lnTo>
                                      <a:lnTo>
                                        <a:pt x="0" y="22"/>
                                      </a:lnTo>
                                      <a:lnTo>
                                        <a:pt x="0" y="22"/>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1" name="Brunei"/>
                                <p:cNvSpPr>
                                  <a:spLocks/>
                                </p:cNvSpPr>
                                <p:nvPr/>
                              </p:nvSpPr>
                              <p:spPr bwMode="auto">
                                <a:xfrm>
                                  <a:off x="9432670" y="3463748"/>
                                  <a:ext cx="45565" cy="42488"/>
                                </a:xfrm>
                                <a:custGeom>
                                  <a:avLst/>
                                  <a:gdLst/>
                                  <a:ahLst/>
                                  <a:cxnLst>
                                    <a:cxn ang="0">
                                      <a:pos x="0" y="12"/>
                                    </a:cxn>
                                    <a:cxn ang="0">
                                      <a:pos x="0" y="12"/>
                                    </a:cxn>
                                    <a:cxn ang="0">
                                      <a:pos x="4" y="10"/>
                                    </a:cxn>
                                    <a:cxn ang="0">
                                      <a:pos x="6" y="8"/>
                                    </a:cxn>
                                    <a:cxn ang="0">
                                      <a:pos x="10" y="6"/>
                                    </a:cxn>
                                    <a:cxn ang="0">
                                      <a:pos x="18" y="2"/>
                                    </a:cxn>
                                    <a:cxn ang="0">
                                      <a:pos x="18" y="2"/>
                                    </a:cxn>
                                    <a:cxn ang="0">
                                      <a:pos x="24" y="0"/>
                                    </a:cxn>
                                    <a:cxn ang="0">
                                      <a:pos x="28" y="0"/>
                                    </a:cxn>
                                    <a:cxn ang="0">
                                      <a:pos x="28" y="0"/>
                                    </a:cxn>
                                    <a:cxn ang="0">
                                      <a:pos x="28" y="4"/>
                                    </a:cxn>
                                    <a:cxn ang="0">
                                      <a:pos x="30" y="10"/>
                                    </a:cxn>
                                    <a:cxn ang="0">
                                      <a:pos x="30" y="10"/>
                                    </a:cxn>
                                    <a:cxn ang="0">
                                      <a:pos x="30" y="12"/>
                                    </a:cxn>
                                    <a:cxn ang="0">
                                      <a:pos x="30" y="14"/>
                                    </a:cxn>
                                    <a:cxn ang="0">
                                      <a:pos x="28" y="16"/>
                                    </a:cxn>
                                    <a:cxn ang="0">
                                      <a:pos x="28" y="16"/>
                                    </a:cxn>
                                    <a:cxn ang="0">
                                      <a:pos x="26" y="16"/>
                                    </a:cxn>
                                    <a:cxn ang="0">
                                      <a:pos x="26" y="16"/>
                                    </a:cxn>
                                    <a:cxn ang="0">
                                      <a:pos x="24" y="12"/>
                                    </a:cxn>
                                    <a:cxn ang="0">
                                      <a:pos x="24" y="6"/>
                                    </a:cxn>
                                    <a:cxn ang="0">
                                      <a:pos x="22" y="6"/>
                                    </a:cxn>
                                    <a:cxn ang="0">
                                      <a:pos x="20" y="6"/>
                                    </a:cxn>
                                    <a:cxn ang="0">
                                      <a:pos x="20" y="6"/>
                                    </a:cxn>
                                    <a:cxn ang="0">
                                      <a:pos x="18" y="8"/>
                                    </a:cxn>
                                    <a:cxn ang="0">
                                      <a:pos x="18" y="10"/>
                                    </a:cxn>
                                    <a:cxn ang="0">
                                      <a:pos x="18" y="14"/>
                                    </a:cxn>
                                    <a:cxn ang="0">
                                      <a:pos x="20" y="20"/>
                                    </a:cxn>
                                    <a:cxn ang="0">
                                      <a:pos x="18" y="26"/>
                                    </a:cxn>
                                    <a:cxn ang="0">
                                      <a:pos x="18" y="26"/>
                                    </a:cxn>
                                    <a:cxn ang="0">
                                      <a:pos x="16" y="28"/>
                                    </a:cxn>
                                    <a:cxn ang="0">
                                      <a:pos x="12" y="26"/>
                                    </a:cxn>
                                    <a:cxn ang="0">
                                      <a:pos x="8" y="20"/>
                                    </a:cxn>
                                    <a:cxn ang="0">
                                      <a:pos x="8" y="20"/>
                                    </a:cxn>
                                    <a:cxn ang="0">
                                      <a:pos x="6" y="18"/>
                                    </a:cxn>
                                    <a:cxn ang="0">
                                      <a:pos x="6" y="18"/>
                                    </a:cxn>
                                    <a:cxn ang="0">
                                      <a:pos x="6" y="20"/>
                                    </a:cxn>
                                    <a:cxn ang="0">
                                      <a:pos x="4" y="18"/>
                                    </a:cxn>
                                    <a:cxn ang="0">
                                      <a:pos x="4" y="18"/>
                                    </a:cxn>
                                    <a:cxn ang="0">
                                      <a:pos x="4" y="16"/>
                                    </a:cxn>
                                    <a:cxn ang="0">
                                      <a:pos x="2" y="14"/>
                                    </a:cxn>
                                    <a:cxn ang="0">
                                      <a:pos x="0" y="12"/>
                                    </a:cxn>
                                    <a:cxn ang="0">
                                      <a:pos x="0" y="12"/>
                                    </a:cxn>
                                  </a:cxnLst>
                                  <a:rect l="0" t="0" r="r" b="b"/>
                                  <a:pathLst>
                                    <a:path w="30" h="28">
                                      <a:moveTo>
                                        <a:pt x="0" y="12"/>
                                      </a:moveTo>
                                      <a:lnTo>
                                        <a:pt x="0" y="12"/>
                                      </a:lnTo>
                                      <a:lnTo>
                                        <a:pt x="4" y="10"/>
                                      </a:lnTo>
                                      <a:lnTo>
                                        <a:pt x="6" y="8"/>
                                      </a:lnTo>
                                      <a:lnTo>
                                        <a:pt x="10" y="6"/>
                                      </a:lnTo>
                                      <a:lnTo>
                                        <a:pt x="18" y="2"/>
                                      </a:lnTo>
                                      <a:lnTo>
                                        <a:pt x="18" y="2"/>
                                      </a:lnTo>
                                      <a:lnTo>
                                        <a:pt x="24" y="0"/>
                                      </a:lnTo>
                                      <a:lnTo>
                                        <a:pt x="28" y="0"/>
                                      </a:lnTo>
                                      <a:lnTo>
                                        <a:pt x="28" y="0"/>
                                      </a:lnTo>
                                      <a:lnTo>
                                        <a:pt x="28" y="4"/>
                                      </a:lnTo>
                                      <a:lnTo>
                                        <a:pt x="30" y="10"/>
                                      </a:lnTo>
                                      <a:lnTo>
                                        <a:pt x="30" y="10"/>
                                      </a:lnTo>
                                      <a:lnTo>
                                        <a:pt x="30" y="12"/>
                                      </a:lnTo>
                                      <a:lnTo>
                                        <a:pt x="30" y="14"/>
                                      </a:lnTo>
                                      <a:lnTo>
                                        <a:pt x="28" y="16"/>
                                      </a:lnTo>
                                      <a:lnTo>
                                        <a:pt x="28" y="16"/>
                                      </a:lnTo>
                                      <a:lnTo>
                                        <a:pt x="26" y="16"/>
                                      </a:lnTo>
                                      <a:lnTo>
                                        <a:pt x="26" y="16"/>
                                      </a:lnTo>
                                      <a:lnTo>
                                        <a:pt x="24" y="12"/>
                                      </a:lnTo>
                                      <a:lnTo>
                                        <a:pt x="24" y="6"/>
                                      </a:lnTo>
                                      <a:lnTo>
                                        <a:pt x="22" y="6"/>
                                      </a:lnTo>
                                      <a:lnTo>
                                        <a:pt x="20" y="6"/>
                                      </a:lnTo>
                                      <a:lnTo>
                                        <a:pt x="20" y="6"/>
                                      </a:lnTo>
                                      <a:lnTo>
                                        <a:pt x="18" y="8"/>
                                      </a:lnTo>
                                      <a:lnTo>
                                        <a:pt x="18" y="10"/>
                                      </a:lnTo>
                                      <a:lnTo>
                                        <a:pt x="18" y="14"/>
                                      </a:lnTo>
                                      <a:lnTo>
                                        <a:pt x="20" y="20"/>
                                      </a:lnTo>
                                      <a:lnTo>
                                        <a:pt x="18" y="26"/>
                                      </a:lnTo>
                                      <a:lnTo>
                                        <a:pt x="18" y="26"/>
                                      </a:lnTo>
                                      <a:lnTo>
                                        <a:pt x="16" y="28"/>
                                      </a:lnTo>
                                      <a:lnTo>
                                        <a:pt x="12" y="26"/>
                                      </a:lnTo>
                                      <a:lnTo>
                                        <a:pt x="8" y="20"/>
                                      </a:lnTo>
                                      <a:lnTo>
                                        <a:pt x="8" y="20"/>
                                      </a:lnTo>
                                      <a:lnTo>
                                        <a:pt x="6" y="18"/>
                                      </a:lnTo>
                                      <a:lnTo>
                                        <a:pt x="6" y="18"/>
                                      </a:lnTo>
                                      <a:lnTo>
                                        <a:pt x="6" y="20"/>
                                      </a:lnTo>
                                      <a:lnTo>
                                        <a:pt x="4" y="18"/>
                                      </a:lnTo>
                                      <a:lnTo>
                                        <a:pt x="4" y="18"/>
                                      </a:lnTo>
                                      <a:lnTo>
                                        <a:pt x="4" y="16"/>
                                      </a:lnTo>
                                      <a:lnTo>
                                        <a:pt x="2" y="14"/>
                                      </a:lnTo>
                                      <a:lnTo>
                                        <a:pt x="0" y="12"/>
                                      </a:lnTo>
                                      <a:lnTo>
                                        <a:pt x="0" y="12"/>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1" name="Gabon"/>
                                <p:cNvSpPr>
                                  <a:spLocks/>
                                </p:cNvSpPr>
                                <p:nvPr/>
                              </p:nvSpPr>
                              <p:spPr bwMode="auto">
                                <a:xfrm>
                                  <a:off x="6060139" y="3592728"/>
                                  <a:ext cx="197447" cy="239752"/>
                                </a:xfrm>
                                <a:custGeom>
                                  <a:avLst/>
                                  <a:gdLst/>
                                  <a:ahLst/>
                                  <a:cxnLst>
                                    <a:cxn ang="0">
                                      <a:pos x="24" y="36"/>
                                    </a:cxn>
                                    <a:cxn ang="0">
                                      <a:pos x="22" y="46"/>
                                    </a:cxn>
                                    <a:cxn ang="0">
                                      <a:pos x="14" y="46"/>
                                    </a:cxn>
                                    <a:cxn ang="0">
                                      <a:pos x="24" y="56"/>
                                    </a:cxn>
                                    <a:cxn ang="0">
                                      <a:pos x="26" y="58"/>
                                    </a:cxn>
                                    <a:cxn ang="0">
                                      <a:pos x="20" y="56"/>
                                    </a:cxn>
                                    <a:cxn ang="0">
                                      <a:pos x="14" y="52"/>
                                    </a:cxn>
                                    <a:cxn ang="0">
                                      <a:pos x="12" y="60"/>
                                    </a:cxn>
                                    <a:cxn ang="0">
                                      <a:pos x="10" y="68"/>
                                    </a:cxn>
                                    <a:cxn ang="0">
                                      <a:pos x="6" y="78"/>
                                    </a:cxn>
                                    <a:cxn ang="0">
                                      <a:pos x="0" y="76"/>
                                    </a:cxn>
                                    <a:cxn ang="0">
                                      <a:pos x="10" y="100"/>
                                    </a:cxn>
                                    <a:cxn ang="0">
                                      <a:pos x="12" y="102"/>
                                    </a:cxn>
                                    <a:cxn ang="0">
                                      <a:pos x="10" y="106"/>
                                    </a:cxn>
                                    <a:cxn ang="0">
                                      <a:pos x="16" y="116"/>
                                    </a:cxn>
                                    <a:cxn ang="0">
                                      <a:pos x="16" y="118"/>
                                    </a:cxn>
                                    <a:cxn ang="0">
                                      <a:pos x="28" y="132"/>
                                    </a:cxn>
                                    <a:cxn ang="0">
                                      <a:pos x="32" y="138"/>
                                    </a:cxn>
                                    <a:cxn ang="0">
                                      <a:pos x="44" y="150"/>
                                    </a:cxn>
                                    <a:cxn ang="0">
                                      <a:pos x="44" y="154"/>
                                    </a:cxn>
                                    <a:cxn ang="0">
                                      <a:pos x="48" y="158"/>
                                    </a:cxn>
                                    <a:cxn ang="0">
                                      <a:pos x="56" y="150"/>
                                    </a:cxn>
                                    <a:cxn ang="0">
                                      <a:pos x="62" y="156"/>
                                    </a:cxn>
                                    <a:cxn ang="0">
                                      <a:pos x="64" y="154"/>
                                    </a:cxn>
                                    <a:cxn ang="0">
                                      <a:pos x="62" y="138"/>
                                    </a:cxn>
                                    <a:cxn ang="0">
                                      <a:pos x="58" y="124"/>
                                    </a:cxn>
                                    <a:cxn ang="0">
                                      <a:pos x="64" y="124"/>
                                    </a:cxn>
                                    <a:cxn ang="0">
                                      <a:pos x="70" y="124"/>
                                    </a:cxn>
                                    <a:cxn ang="0">
                                      <a:pos x="72" y="124"/>
                                    </a:cxn>
                                    <a:cxn ang="0">
                                      <a:pos x="74" y="112"/>
                                    </a:cxn>
                                    <a:cxn ang="0">
                                      <a:pos x="78" y="110"/>
                                    </a:cxn>
                                    <a:cxn ang="0">
                                      <a:pos x="86" y="120"/>
                                    </a:cxn>
                                    <a:cxn ang="0">
                                      <a:pos x="88" y="122"/>
                                    </a:cxn>
                                    <a:cxn ang="0">
                                      <a:pos x="98" y="120"/>
                                    </a:cxn>
                                    <a:cxn ang="0">
                                      <a:pos x="104" y="118"/>
                                    </a:cxn>
                                    <a:cxn ang="0">
                                      <a:pos x="114" y="126"/>
                                    </a:cxn>
                                    <a:cxn ang="0">
                                      <a:pos x="120" y="114"/>
                                    </a:cxn>
                                    <a:cxn ang="0">
                                      <a:pos x="126" y="106"/>
                                    </a:cxn>
                                    <a:cxn ang="0">
                                      <a:pos x="128" y="100"/>
                                    </a:cxn>
                                    <a:cxn ang="0">
                                      <a:pos x="128" y="92"/>
                                    </a:cxn>
                                    <a:cxn ang="0">
                                      <a:pos x="126" y="82"/>
                                    </a:cxn>
                                    <a:cxn ang="0">
                                      <a:pos x="126" y="76"/>
                                    </a:cxn>
                                    <a:cxn ang="0">
                                      <a:pos x="124" y="72"/>
                                    </a:cxn>
                                    <a:cxn ang="0">
                                      <a:pos x="120" y="64"/>
                                    </a:cxn>
                                    <a:cxn ang="0">
                                      <a:pos x="124" y="60"/>
                                    </a:cxn>
                                    <a:cxn ang="0">
                                      <a:pos x="122" y="54"/>
                                    </a:cxn>
                                    <a:cxn ang="0">
                                      <a:pos x="126" y="46"/>
                                    </a:cxn>
                                    <a:cxn ang="0">
                                      <a:pos x="130" y="36"/>
                                    </a:cxn>
                                    <a:cxn ang="0">
                                      <a:pos x="130" y="28"/>
                                    </a:cxn>
                                    <a:cxn ang="0">
                                      <a:pos x="126" y="24"/>
                                    </a:cxn>
                                    <a:cxn ang="0">
                                      <a:pos x="108" y="24"/>
                                    </a:cxn>
                                    <a:cxn ang="0">
                                      <a:pos x="104" y="16"/>
                                    </a:cxn>
                                    <a:cxn ang="0">
                                      <a:pos x="104" y="4"/>
                                    </a:cxn>
                                    <a:cxn ang="0">
                                      <a:pos x="84" y="2"/>
                                    </a:cxn>
                                    <a:cxn ang="0">
                                      <a:pos x="50" y="6"/>
                                    </a:cxn>
                                    <a:cxn ang="0">
                                      <a:pos x="56" y="18"/>
                                    </a:cxn>
                                    <a:cxn ang="0">
                                      <a:pos x="56" y="34"/>
                                    </a:cxn>
                                  </a:cxnLst>
                                  <a:rect l="0" t="0" r="r" b="b"/>
                                  <a:pathLst>
                                    <a:path w="130" h="158">
                                      <a:moveTo>
                                        <a:pt x="28" y="34"/>
                                      </a:moveTo>
                                      <a:lnTo>
                                        <a:pt x="28" y="34"/>
                                      </a:lnTo>
                                      <a:lnTo>
                                        <a:pt x="24" y="36"/>
                                      </a:lnTo>
                                      <a:lnTo>
                                        <a:pt x="22" y="38"/>
                                      </a:lnTo>
                                      <a:lnTo>
                                        <a:pt x="22" y="42"/>
                                      </a:lnTo>
                                      <a:lnTo>
                                        <a:pt x="22" y="46"/>
                                      </a:lnTo>
                                      <a:lnTo>
                                        <a:pt x="16" y="46"/>
                                      </a:lnTo>
                                      <a:lnTo>
                                        <a:pt x="16" y="46"/>
                                      </a:lnTo>
                                      <a:lnTo>
                                        <a:pt x="14" y="46"/>
                                      </a:lnTo>
                                      <a:lnTo>
                                        <a:pt x="14" y="48"/>
                                      </a:lnTo>
                                      <a:lnTo>
                                        <a:pt x="16" y="50"/>
                                      </a:lnTo>
                                      <a:lnTo>
                                        <a:pt x="24" y="56"/>
                                      </a:lnTo>
                                      <a:lnTo>
                                        <a:pt x="24" y="56"/>
                                      </a:lnTo>
                                      <a:lnTo>
                                        <a:pt x="26" y="56"/>
                                      </a:lnTo>
                                      <a:lnTo>
                                        <a:pt x="26" y="58"/>
                                      </a:lnTo>
                                      <a:lnTo>
                                        <a:pt x="26" y="60"/>
                                      </a:lnTo>
                                      <a:lnTo>
                                        <a:pt x="26" y="60"/>
                                      </a:lnTo>
                                      <a:lnTo>
                                        <a:pt x="20" y="56"/>
                                      </a:lnTo>
                                      <a:lnTo>
                                        <a:pt x="16" y="54"/>
                                      </a:lnTo>
                                      <a:lnTo>
                                        <a:pt x="16" y="52"/>
                                      </a:lnTo>
                                      <a:lnTo>
                                        <a:pt x="14" y="52"/>
                                      </a:lnTo>
                                      <a:lnTo>
                                        <a:pt x="14" y="52"/>
                                      </a:lnTo>
                                      <a:lnTo>
                                        <a:pt x="12" y="54"/>
                                      </a:lnTo>
                                      <a:lnTo>
                                        <a:pt x="12" y="60"/>
                                      </a:lnTo>
                                      <a:lnTo>
                                        <a:pt x="12" y="64"/>
                                      </a:lnTo>
                                      <a:lnTo>
                                        <a:pt x="10" y="68"/>
                                      </a:lnTo>
                                      <a:lnTo>
                                        <a:pt x="10" y="68"/>
                                      </a:lnTo>
                                      <a:lnTo>
                                        <a:pt x="8" y="72"/>
                                      </a:lnTo>
                                      <a:lnTo>
                                        <a:pt x="8" y="76"/>
                                      </a:lnTo>
                                      <a:lnTo>
                                        <a:pt x="6" y="78"/>
                                      </a:lnTo>
                                      <a:lnTo>
                                        <a:pt x="0" y="76"/>
                                      </a:lnTo>
                                      <a:lnTo>
                                        <a:pt x="0" y="76"/>
                                      </a:lnTo>
                                      <a:lnTo>
                                        <a:pt x="0" y="76"/>
                                      </a:lnTo>
                                      <a:lnTo>
                                        <a:pt x="0" y="78"/>
                                      </a:lnTo>
                                      <a:lnTo>
                                        <a:pt x="2" y="86"/>
                                      </a:lnTo>
                                      <a:lnTo>
                                        <a:pt x="10" y="100"/>
                                      </a:lnTo>
                                      <a:lnTo>
                                        <a:pt x="10" y="100"/>
                                      </a:lnTo>
                                      <a:lnTo>
                                        <a:pt x="12" y="100"/>
                                      </a:lnTo>
                                      <a:lnTo>
                                        <a:pt x="12" y="102"/>
                                      </a:lnTo>
                                      <a:lnTo>
                                        <a:pt x="10" y="104"/>
                                      </a:lnTo>
                                      <a:lnTo>
                                        <a:pt x="10" y="104"/>
                                      </a:lnTo>
                                      <a:lnTo>
                                        <a:pt x="10" y="106"/>
                                      </a:lnTo>
                                      <a:lnTo>
                                        <a:pt x="10" y="110"/>
                                      </a:lnTo>
                                      <a:lnTo>
                                        <a:pt x="16" y="116"/>
                                      </a:lnTo>
                                      <a:lnTo>
                                        <a:pt x="16" y="116"/>
                                      </a:lnTo>
                                      <a:lnTo>
                                        <a:pt x="18" y="118"/>
                                      </a:lnTo>
                                      <a:lnTo>
                                        <a:pt x="18" y="120"/>
                                      </a:lnTo>
                                      <a:lnTo>
                                        <a:pt x="16" y="118"/>
                                      </a:lnTo>
                                      <a:lnTo>
                                        <a:pt x="16" y="118"/>
                                      </a:lnTo>
                                      <a:lnTo>
                                        <a:pt x="22" y="128"/>
                                      </a:lnTo>
                                      <a:lnTo>
                                        <a:pt x="28" y="132"/>
                                      </a:lnTo>
                                      <a:lnTo>
                                        <a:pt x="32" y="136"/>
                                      </a:lnTo>
                                      <a:lnTo>
                                        <a:pt x="32" y="138"/>
                                      </a:lnTo>
                                      <a:lnTo>
                                        <a:pt x="32" y="138"/>
                                      </a:lnTo>
                                      <a:lnTo>
                                        <a:pt x="36" y="142"/>
                                      </a:lnTo>
                                      <a:lnTo>
                                        <a:pt x="40" y="146"/>
                                      </a:lnTo>
                                      <a:lnTo>
                                        <a:pt x="44" y="150"/>
                                      </a:lnTo>
                                      <a:lnTo>
                                        <a:pt x="46" y="152"/>
                                      </a:lnTo>
                                      <a:lnTo>
                                        <a:pt x="46" y="152"/>
                                      </a:lnTo>
                                      <a:lnTo>
                                        <a:pt x="44" y="154"/>
                                      </a:lnTo>
                                      <a:lnTo>
                                        <a:pt x="46" y="156"/>
                                      </a:lnTo>
                                      <a:lnTo>
                                        <a:pt x="48" y="158"/>
                                      </a:lnTo>
                                      <a:lnTo>
                                        <a:pt x="48" y="158"/>
                                      </a:lnTo>
                                      <a:lnTo>
                                        <a:pt x="48" y="158"/>
                                      </a:lnTo>
                                      <a:lnTo>
                                        <a:pt x="54" y="152"/>
                                      </a:lnTo>
                                      <a:lnTo>
                                        <a:pt x="56" y="150"/>
                                      </a:lnTo>
                                      <a:lnTo>
                                        <a:pt x="60" y="150"/>
                                      </a:lnTo>
                                      <a:lnTo>
                                        <a:pt x="60" y="152"/>
                                      </a:lnTo>
                                      <a:lnTo>
                                        <a:pt x="62" y="156"/>
                                      </a:lnTo>
                                      <a:lnTo>
                                        <a:pt x="62" y="156"/>
                                      </a:lnTo>
                                      <a:lnTo>
                                        <a:pt x="64" y="154"/>
                                      </a:lnTo>
                                      <a:lnTo>
                                        <a:pt x="64" y="154"/>
                                      </a:lnTo>
                                      <a:lnTo>
                                        <a:pt x="66" y="150"/>
                                      </a:lnTo>
                                      <a:lnTo>
                                        <a:pt x="66" y="144"/>
                                      </a:lnTo>
                                      <a:lnTo>
                                        <a:pt x="62" y="138"/>
                                      </a:lnTo>
                                      <a:lnTo>
                                        <a:pt x="60" y="130"/>
                                      </a:lnTo>
                                      <a:lnTo>
                                        <a:pt x="58" y="124"/>
                                      </a:lnTo>
                                      <a:lnTo>
                                        <a:pt x="58" y="124"/>
                                      </a:lnTo>
                                      <a:lnTo>
                                        <a:pt x="60" y="126"/>
                                      </a:lnTo>
                                      <a:lnTo>
                                        <a:pt x="62" y="126"/>
                                      </a:lnTo>
                                      <a:lnTo>
                                        <a:pt x="64" y="124"/>
                                      </a:lnTo>
                                      <a:lnTo>
                                        <a:pt x="64" y="124"/>
                                      </a:lnTo>
                                      <a:lnTo>
                                        <a:pt x="68" y="122"/>
                                      </a:lnTo>
                                      <a:lnTo>
                                        <a:pt x="70" y="124"/>
                                      </a:lnTo>
                                      <a:lnTo>
                                        <a:pt x="70" y="124"/>
                                      </a:lnTo>
                                      <a:lnTo>
                                        <a:pt x="72" y="124"/>
                                      </a:lnTo>
                                      <a:lnTo>
                                        <a:pt x="72" y="124"/>
                                      </a:lnTo>
                                      <a:lnTo>
                                        <a:pt x="76" y="122"/>
                                      </a:lnTo>
                                      <a:lnTo>
                                        <a:pt x="76" y="118"/>
                                      </a:lnTo>
                                      <a:lnTo>
                                        <a:pt x="74" y="112"/>
                                      </a:lnTo>
                                      <a:lnTo>
                                        <a:pt x="78" y="110"/>
                                      </a:lnTo>
                                      <a:lnTo>
                                        <a:pt x="78" y="110"/>
                                      </a:lnTo>
                                      <a:lnTo>
                                        <a:pt x="78" y="110"/>
                                      </a:lnTo>
                                      <a:lnTo>
                                        <a:pt x="80" y="112"/>
                                      </a:lnTo>
                                      <a:lnTo>
                                        <a:pt x="82" y="116"/>
                                      </a:lnTo>
                                      <a:lnTo>
                                        <a:pt x="86" y="120"/>
                                      </a:lnTo>
                                      <a:lnTo>
                                        <a:pt x="86" y="122"/>
                                      </a:lnTo>
                                      <a:lnTo>
                                        <a:pt x="88" y="122"/>
                                      </a:lnTo>
                                      <a:lnTo>
                                        <a:pt x="88" y="122"/>
                                      </a:lnTo>
                                      <a:lnTo>
                                        <a:pt x="90" y="120"/>
                                      </a:lnTo>
                                      <a:lnTo>
                                        <a:pt x="94" y="120"/>
                                      </a:lnTo>
                                      <a:lnTo>
                                        <a:pt x="98" y="120"/>
                                      </a:lnTo>
                                      <a:lnTo>
                                        <a:pt x="100" y="120"/>
                                      </a:lnTo>
                                      <a:lnTo>
                                        <a:pt x="100" y="120"/>
                                      </a:lnTo>
                                      <a:lnTo>
                                        <a:pt x="104" y="118"/>
                                      </a:lnTo>
                                      <a:lnTo>
                                        <a:pt x="106" y="120"/>
                                      </a:lnTo>
                                      <a:lnTo>
                                        <a:pt x="114" y="126"/>
                                      </a:lnTo>
                                      <a:lnTo>
                                        <a:pt x="114" y="126"/>
                                      </a:lnTo>
                                      <a:lnTo>
                                        <a:pt x="116" y="126"/>
                                      </a:lnTo>
                                      <a:lnTo>
                                        <a:pt x="118" y="124"/>
                                      </a:lnTo>
                                      <a:lnTo>
                                        <a:pt x="120" y="114"/>
                                      </a:lnTo>
                                      <a:lnTo>
                                        <a:pt x="120" y="114"/>
                                      </a:lnTo>
                                      <a:lnTo>
                                        <a:pt x="122" y="108"/>
                                      </a:lnTo>
                                      <a:lnTo>
                                        <a:pt x="126" y="106"/>
                                      </a:lnTo>
                                      <a:lnTo>
                                        <a:pt x="128" y="104"/>
                                      </a:lnTo>
                                      <a:lnTo>
                                        <a:pt x="128" y="100"/>
                                      </a:lnTo>
                                      <a:lnTo>
                                        <a:pt x="128" y="100"/>
                                      </a:lnTo>
                                      <a:lnTo>
                                        <a:pt x="126" y="96"/>
                                      </a:lnTo>
                                      <a:lnTo>
                                        <a:pt x="128" y="94"/>
                                      </a:lnTo>
                                      <a:lnTo>
                                        <a:pt x="128" y="92"/>
                                      </a:lnTo>
                                      <a:lnTo>
                                        <a:pt x="126" y="88"/>
                                      </a:lnTo>
                                      <a:lnTo>
                                        <a:pt x="126" y="88"/>
                                      </a:lnTo>
                                      <a:lnTo>
                                        <a:pt x="126" y="82"/>
                                      </a:lnTo>
                                      <a:lnTo>
                                        <a:pt x="128" y="80"/>
                                      </a:lnTo>
                                      <a:lnTo>
                                        <a:pt x="128" y="78"/>
                                      </a:lnTo>
                                      <a:lnTo>
                                        <a:pt x="126" y="76"/>
                                      </a:lnTo>
                                      <a:lnTo>
                                        <a:pt x="126" y="76"/>
                                      </a:lnTo>
                                      <a:lnTo>
                                        <a:pt x="124" y="74"/>
                                      </a:lnTo>
                                      <a:lnTo>
                                        <a:pt x="124" y="72"/>
                                      </a:lnTo>
                                      <a:lnTo>
                                        <a:pt x="122" y="70"/>
                                      </a:lnTo>
                                      <a:lnTo>
                                        <a:pt x="120" y="64"/>
                                      </a:lnTo>
                                      <a:lnTo>
                                        <a:pt x="120" y="64"/>
                                      </a:lnTo>
                                      <a:lnTo>
                                        <a:pt x="116" y="58"/>
                                      </a:lnTo>
                                      <a:lnTo>
                                        <a:pt x="120" y="60"/>
                                      </a:lnTo>
                                      <a:lnTo>
                                        <a:pt x="124" y="60"/>
                                      </a:lnTo>
                                      <a:lnTo>
                                        <a:pt x="124" y="58"/>
                                      </a:lnTo>
                                      <a:lnTo>
                                        <a:pt x="122" y="54"/>
                                      </a:lnTo>
                                      <a:lnTo>
                                        <a:pt x="122" y="54"/>
                                      </a:lnTo>
                                      <a:lnTo>
                                        <a:pt x="122" y="50"/>
                                      </a:lnTo>
                                      <a:lnTo>
                                        <a:pt x="122" y="48"/>
                                      </a:lnTo>
                                      <a:lnTo>
                                        <a:pt x="126" y="46"/>
                                      </a:lnTo>
                                      <a:lnTo>
                                        <a:pt x="130" y="44"/>
                                      </a:lnTo>
                                      <a:lnTo>
                                        <a:pt x="130" y="40"/>
                                      </a:lnTo>
                                      <a:lnTo>
                                        <a:pt x="130" y="36"/>
                                      </a:lnTo>
                                      <a:lnTo>
                                        <a:pt x="130" y="36"/>
                                      </a:lnTo>
                                      <a:lnTo>
                                        <a:pt x="130" y="32"/>
                                      </a:lnTo>
                                      <a:lnTo>
                                        <a:pt x="130" y="28"/>
                                      </a:lnTo>
                                      <a:lnTo>
                                        <a:pt x="130" y="26"/>
                                      </a:lnTo>
                                      <a:lnTo>
                                        <a:pt x="126" y="24"/>
                                      </a:lnTo>
                                      <a:lnTo>
                                        <a:pt x="126" y="24"/>
                                      </a:lnTo>
                                      <a:lnTo>
                                        <a:pt x="116" y="24"/>
                                      </a:lnTo>
                                      <a:lnTo>
                                        <a:pt x="108" y="24"/>
                                      </a:lnTo>
                                      <a:lnTo>
                                        <a:pt x="108" y="24"/>
                                      </a:lnTo>
                                      <a:lnTo>
                                        <a:pt x="106" y="24"/>
                                      </a:lnTo>
                                      <a:lnTo>
                                        <a:pt x="104" y="22"/>
                                      </a:lnTo>
                                      <a:lnTo>
                                        <a:pt x="104" y="16"/>
                                      </a:lnTo>
                                      <a:lnTo>
                                        <a:pt x="110" y="6"/>
                                      </a:lnTo>
                                      <a:lnTo>
                                        <a:pt x="110" y="6"/>
                                      </a:lnTo>
                                      <a:lnTo>
                                        <a:pt x="104" y="4"/>
                                      </a:lnTo>
                                      <a:lnTo>
                                        <a:pt x="96" y="4"/>
                                      </a:lnTo>
                                      <a:lnTo>
                                        <a:pt x="96" y="4"/>
                                      </a:lnTo>
                                      <a:lnTo>
                                        <a:pt x="84" y="2"/>
                                      </a:lnTo>
                                      <a:lnTo>
                                        <a:pt x="76" y="0"/>
                                      </a:lnTo>
                                      <a:lnTo>
                                        <a:pt x="68" y="0"/>
                                      </a:lnTo>
                                      <a:lnTo>
                                        <a:pt x="50" y="6"/>
                                      </a:lnTo>
                                      <a:lnTo>
                                        <a:pt x="50" y="6"/>
                                      </a:lnTo>
                                      <a:lnTo>
                                        <a:pt x="58" y="6"/>
                                      </a:lnTo>
                                      <a:lnTo>
                                        <a:pt x="56" y="18"/>
                                      </a:lnTo>
                                      <a:lnTo>
                                        <a:pt x="54" y="20"/>
                                      </a:lnTo>
                                      <a:lnTo>
                                        <a:pt x="58" y="20"/>
                                      </a:lnTo>
                                      <a:lnTo>
                                        <a:pt x="56" y="34"/>
                                      </a:lnTo>
                                      <a:lnTo>
                                        <a:pt x="28" y="34"/>
                                      </a:lnTo>
                                      <a:lnTo>
                                        <a:pt x="28" y="34"/>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3" name="Geogia"/>
                                <p:cNvSpPr>
                                  <a:spLocks/>
                                </p:cNvSpPr>
                                <p:nvPr/>
                              </p:nvSpPr>
                              <p:spPr bwMode="auto">
                                <a:xfrm>
                                  <a:off x="6902827" y="2058621"/>
                                  <a:ext cx="233898" cy="91045"/>
                                </a:xfrm>
                                <a:custGeom>
                                  <a:avLst/>
                                  <a:gdLst/>
                                  <a:ahLst/>
                                  <a:cxnLst>
                                    <a:cxn ang="0">
                                      <a:pos x="0" y="2"/>
                                    </a:cxn>
                                    <a:cxn ang="0">
                                      <a:pos x="10" y="6"/>
                                    </a:cxn>
                                    <a:cxn ang="0">
                                      <a:pos x="28" y="16"/>
                                    </a:cxn>
                                    <a:cxn ang="0">
                                      <a:pos x="36" y="20"/>
                                    </a:cxn>
                                    <a:cxn ang="0">
                                      <a:pos x="44" y="22"/>
                                    </a:cxn>
                                    <a:cxn ang="0">
                                      <a:pos x="46" y="26"/>
                                    </a:cxn>
                                    <a:cxn ang="0">
                                      <a:pos x="50" y="30"/>
                                    </a:cxn>
                                    <a:cxn ang="0">
                                      <a:pos x="54" y="38"/>
                                    </a:cxn>
                                    <a:cxn ang="0">
                                      <a:pos x="54" y="48"/>
                                    </a:cxn>
                                    <a:cxn ang="0">
                                      <a:pos x="62" y="48"/>
                                    </a:cxn>
                                    <a:cxn ang="0">
                                      <a:pos x="78" y="52"/>
                                    </a:cxn>
                                    <a:cxn ang="0">
                                      <a:pos x="88" y="50"/>
                                    </a:cxn>
                                    <a:cxn ang="0">
                                      <a:pos x="92" y="50"/>
                                    </a:cxn>
                                    <a:cxn ang="0">
                                      <a:pos x="90" y="56"/>
                                    </a:cxn>
                                    <a:cxn ang="0">
                                      <a:pos x="94" y="60"/>
                                    </a:cxn>
                                    <a:cxn ang="0">
                                      <a:pos x="100" y="60"/>
                                    </a:cxn>
                                    <a:cxn ang="0">
                                      <a:pos x="128" y="58"/>
                                    </a:cxn>
                                    <a:cxn ang="0">
                                      <a:pos x="138" y="58"/>
                                    </a:cxn>
                                    <a:cxn ang="0">
                                      <a:pos x="148" y="60"/>
                                    </a:cxn>
                                    <a:cxn ang="0">
                                      <a:pos x="154" y="60"/>
                                    </a:cxn>
                                    <a:cxn ang="0">
                                      <a:pos x="152" y="54"/>
                                    </a:cxn>
                                    <a:cxn ang="0">
                                      <a:pos x="150" y="46"/>
                                    </a:cxn>
                                    <a:cxn ang="0">
                                      <a:pos x="128" y="32"/>
                                    </a:cxn>
                                    <a:cxn ang="0">
                                      <a:pos x="116" y="24"/>
                                    </a:cxn>
                                    <a:cxn ang="0">
                                      <a:pos x="108" y="22"/>
                                    </a:cxn>
                                    <a:cxn ang="0">
                                      <a:pos x="94" y="24"/>
                                    </a:cxn>
                                    <a:cxn ang="0">
                                      <a:pos x="78" y="18"/>
                                    </a:cxn>
                                    <a:cxn ang="0">
                                      <a:pos x="72" y="14"/>
                                    </a:cxn>
                                    <a:cxn ang="0">
                                      <a:pos x="54" y="10"/>
                                    </a:cxn>
                                    <a:cxn ang="0">
                                      <a:pos x="24" y="4"/>
                                    </a:cxn>
                                    <a:cxn ang="0">
                                      <a:pos x="14" y="0"/>
                                    </a:cxn>
                                    <a:cxn ang="0">
                                      <a:pos x="2" y="2"/>
                                    </a:cxn>
                                    <a:cxn ang="0">
                                      <a:pos x="0" y="2"/>
                                    </a:cxn>
                                  </a:cxnLst>
                                  <a:rect l="0" t="0" r="r" b="b"/>
                                  <a:pathLst>
                                    <a:path w="154" h="60">
                                      <a:moveTo>
                                        <a:pt x="0" y="2"/>
                                      </a:moveTo>
                                      <a:lnTo>
                                        <a:pt x="0" y="2"/>
                                      </a:lnTo>
                                      <a:lnTo>
                                        <a:pt x="6" y="6"/>
                                      </a:lnTo>
                                      <a:lnTo>
                                        <a:pt x="10" y="6"/>
                                      </a:lnTo>
                                      <a:lnTo>
                                        <a:pt x="16" y="8"/>
                                      </a:lnTo>
                                      <a:lnTo>
                                        <a:pt x="28" y="16"/>
                                      </a:lnTo>
                                      <a:lnTo>
                                        <a:pt x="28" y="16"/>
                                      </a:lnTo>
                                      <a:lnTo>
                                        <a:pt x="36" y="20"/>
                                      </a:lnTo>
                                      <a:lnTo>
                                        <a:pt x="40" y="20"/>
                                      </a:lnTo>
                                      <a:lnTo>
                                        <a:pt x="44" y="22"/>
                                      </a:lnTo>
                                      <a:lnTo>
                                        <a:pt x="46" y="26"/>
                                      </a:lnTo>
                                      <a:lnTo>
                                        <a:pt x="46" y="26"/>
                                      </a:lnTo>
                                      <a:lnTo>
                                        <a:pt x="48" y="28"/>
                                      </a:lnTo>
                                      <a:lnTo>
                                        <a:pt x="50" y="30"/>
                                      </a:lnTo>
                                      <a:lnTo>
                                        <a:pt x="52" y="32"/>
                                      </a:lnTo>
                                      <a:lnTo>
                                        <a:pt x="54" y="38"/>
                                      </a:lnTo>
                                      <a:lnTo>
                                        <a:pt x="54" y="38"/>
                                      </a:lnTo>
                                      <a:lnTo>
                                        <a:pt x="54" y="48"/>
                                      </a:lnTo>
                                      <a:lnTo>
                                        <a:pt x="54" y="48"/>
                                      </a:lnTo>
                                      <a:lnTo>
                                        <a:pt x="62" y="48"/>
                                      </a:lnTo>
                                      <a:lnTo>
                                        <a:pt x="68" y="50"/>
                                      </a:lnTo>
                                      <a:lnTo>
                                        <a:pt x="78" y="52"/>
                                      </a:lnTo>
                                      <a:lnTo>
                                        <a:pt x="88" y="50"/>
                                      </a:lnTo>
                                      <a:lnTo>
                                        <a:pt x="88" y="50"/>
                                      </a:lnTo>
                                      <a:lnTo>
                                        <a:pt x="92" y="48"/>
                                      </a:lnTo>
                                      <a:lnTo>
                                        <a:pt x="92" y="50"/>
                                      </a:lnTo>
                                      <a:lnTo>
                                        <a:pt x="92" y="52"/>
                                      </a:lnTo>
                                      <a:lnTo>
                                        <a:pt x="90" y="56"/>
                                      </a:lnTo>
                                      <a:lnTo>
                                        <a:pt x="92" y="58"/>
                                      </a:lnTo>
                                      <a:lnTo>
                                        <a:pt x="94" y="60"/>
                                      </a:lnTo>
                                      <a:lnTo>
                                        <a:pt x="100" y="60"/>
                                      </a:lnTo>
                                      <a:lnTo>
                                        <a:pt x="100" y="60"/>
                                      </a:lnTo>
                                      <a:lnTo>
                                        <a:pt x="118" y="60"/>
                                      </a:lnTo>
                                      <a:lnTo>
                                        <a:pt x="128" y="58"/>
                                      </a:lnTo>
                                      <a:lnTo>
                                        <a:pt x="128" y="58"/>
                                      </a:lnTo>
                                      <a:lnTo>
                                        <a:pt x="138" y="58"/>
                                      </a:lnTo>
                                      <a:lnTo>
                                        <a:pt x="144" y="58"/>
                                      </a:lnTo>
                                      <a:lnTo>
                                        <a:pt x="148" y="60"/>
                                      </a:lnTo>
                                      <a:lnTo>
                                        <a:pt x="154" y="60"/>
                                      </a:lnTo>
                                      <a:lnTo>
                                        <a:pt x="154" y="60"/>
                                      </a:lnTo>
                                      <a:lnTo>
                                        <a:pt x="154" y="58"/>
                                      </a:lnTo>
                                      <a:lnTo>
                                        <a:pt x="152" y="54"/>
                                      </a:lnTo>
                                      <a:lnTo>
                                        <a:pt x="150" y="46"/>
                                      </a:lnTo>
                                      <a:lnTo>
                                        <a:pt x="150" y="46"/>
                                      </a:lnTo>
                                      <a:lnTo>
                                        <a:pt x="134" y="38"/>
                                      </a:lnTo>
                                      <a:lnTo>
                                        <a:pt x="128" y="32"/>
                                      </a:lnTo>
                                      <a:lnTo>
                                        <a:pt x="124" y="28"/>
                                      </a:lnTo>
                                      <a:lnTo>
                                        <a:pt x="116" y="24"/>
                                      </a:lnTo>
                                      <a:lnTo>
                                        <a:pt x="116" y="24"/>
                                      </a:lnTo>
                                      <a:lnTo>
                                        <a:pt x="108" y="22"/>
                                      </a:lnTo>
                                      <a:lnTo>
                                        <a:pt x="102" y="22"/>
                                      </a:lnTo>
                                      <a:lnTo>
                                        <a:pt x="94" y="24"/>
                                      </a:lnTo>
                                      <a:lnTo>
                                        <a:pt x="88" y="24"/>
                                      </a:lnTo>
                                      <a:lnTo>
                                        <a:pt x="78" y="18"/>
                                      </a:lnTo>
                                      <a:lnTo>
                                        <a:pt x="78" y="18"/>
                                      </a:lnTo>
                                      <a:lnTo>
                                        <a:pt x="72" y="14"/>
                                      </a:lnTo>
                                      <a:lnTo>
                                        <a:pt x="66" y="12"/>
                                      </a:lnTo>
                                      <a:lnTo>
                                        <a:pt x="54" y="10"/>
                                      </a:lnTo>
                                      <a:lnTo>
                                        <a:pt x="40" y="8"/>
                                      </a:lnTo>
                                      <a:lnTo>
                                        <a:pt x="24" y="4"/>
                                      </a:lnTo>
                                      <a:lnTo>
                                        <a:pt x="24" y="4"/>
                                      </a:lnTo>
                                      <a:lnTo>
                                        <a:pt x="14" y="0"/>
                                      </a:lnTo>
                                      <a:lnTo>
                                        <a:pt x="6" y="0"/>
                                      </a:lnTo>
                                      <a:lnTo>
                                        <a:pt x="2" y="2"/>
                                      </a:lnTo>
                                      <a:lnTo>
                                        <a:pt x="0" y="2"/>
                                      </a:lnTo>
                                      <a:lnTo>
                                        <a:pt x="0" y="2"/>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8" name="Guyana"/>
                                <p:cNvSpPr>
                                  <a:spLocks/>
                                </p:cNvSpPr>
                                <p:nvPr/>
                              </p:nvSpPr>
                              <p:spPr bwMode="auto">
                                <a:xfrm>
                                  <a:off x="3819109" y="3361671"/>
                                  <a:ext cx="148845" cy="282240"/>
                                </a:xfrm>
                                <a:custGeom>
                                  <a:avLst/>
                                  <a:gdLst/>
                                  <a:ahLst/>
                                  <a:cxnLst>
                                    <a:cxn ang="0">
                                      <a:pos x="36" y="0"/>
                                    </a:cxn>
                                    <a:cxn ang="0">
                                      <a:pos x="56" y="12"/>
                                    </a:cxn>
                                    <a:cxn ang="0">
                                      <a:pos x="66" y="30"/>
                                    </a:cxn>
                                    <a:cxn ang="0">
                                      <a:pos x="66" y="36"/>
                                    </a:cxn>
                                    <a:cxn ang="0">
                                      <a:pos x="76" y="40"/>
                                    </a:cxn>
                                    <a:cxn ang="0">
                                      <a:pos x="82" y="52"/>
                                    </a:cxn>
                                    <a:cxn ang="0">
                                      <a:pos x="88" y="54"/>
                                    </a:cxn>
                                    <a:cxn ang="0">
                                      <a:pos x="82" y="74"/>
                                    </a:cxn>
                                    <a:cxn ang="0">
                                      <a:pos x="78" y="84"/>
                                    </a:cxn>
                                    <a:cxn ang="0">
                                      <a:pos x="74" y="88"/>
                                    </a:cxn>
                                    <a:cxn ang="0">
                                      <a:pos x="70" y="94"/>
                                    </a:cxn>
                                    <a:cxn ang="0">
                                      <a:pos x="66" y="110"/>
                                    </a:cxn>
                                    <a:cxn ang="0">
                                      <a:pos x="70" y="126"/>
                                    </a:cxn>
                                    <a:cxn ang="0">
                                      <a:pos x="72" y="128"/>
                                    </a:cxn>
                                    <a:cxn ang="0">
                                      <a:pos x="78" y="132"/>
                                    </a:cxn>
                                    <a:cxn ang="0">
                                      <a:pos x="86" y="146"/>
                                    </a:cxn>
                                    <a:cxn ang="0">
                                      <a:pos x="92" y="164"/>
                                    </a:cxn>
                                    <a:cxn ang="0">
                                      <a:pos x="98" y="168"/>
                                    </a:cxn>
                                    <a:cxn ang="0">
                                      <a:pos x="86" y="166"/>
                                    </a:cxn>
                                    <a:cxn ang="0">
                                      <a:pos x="84" y="166"/>
                                    </a:cxn>
                                    <a:cxn ang="0">
                                      <a:pos x="72" y="174"/>
                                    </a:cxn>
                                    <a:cxn ang="0">
                                      <a:pos x="60" y="180"/>
                                    </a:cxn>
                                    <a:cxn ang="0">
                                      <a:pos x="56" y="182"/>
                                    </a:cxn>
                                    <a:cxn ang="0">
                                      <a:pos x="52" y="186"/>
                                    </a:cxn>
                                    <a:cxn ang="0">
                                      <a:pos x="42" y="180"/>
                                    </a:cxn>
                                    <a:cxn ang="0">
                                      <a:pos x="40" y="172"/>
                                    </a:cxn>
                                    <a:cxn ang="0">
                                      <a:pos x="34" y="160"/>
                                    </a:cxn>
                                    <a:cxn ang="0">
                                      <a:pos x="30" y="152"/>
                                    </a:cxn>
                                    <a:cxn ang="0">
                                      <a:pos x="30" y="146"/>
                                    </a:cxn>
                                    <a:cxn ang="0">
                                      <a:pos x="28" y="138"/>
                                    </a:cxn>
                                    <a:cxn ang="0">
                                      <a:pos x="30" y="132"/>
                                    </a:cxn>
                                    <a:cxn ang="0">
                                      <a:pos x="32" y="120"/>
                                    </a:cxn>
                                    <a:cxn ang="0">
                                      <a:pos x="38" y="110"/>
                                    </a:cxn>
                                    <a:cxn ang="0">
                                      <a:pos x="34" y="104"/>
                                    </a:cxn>
                                    <a:cxn ang="0">
                                      <a:pos x="32" y="98"/>
                                    </a:cxn>
                                    <a:cxn ang="0">
                                      <a:pos x="24" y="96"/>
                                    </a:cxn>
                                    <a:cxn ang="0">
                                      <a:pos x="26" y="86"/>
                                    </a:cxn>
                                    <a:cxn ang="0">
                                      <a:pos x="14" y="84"/>
                                    </a:cxn>
                                    <a:cxn ang="0">
                                      <a:pos x="2" y="64"/>
                                    </a:cxn>
                                    <a:cxn ang="0">
                                      <a:pos x="2" y="56"/>
                                    </a:cxn>
                                    <a:cxn ang="0">
                                      <a:pos x="6" y="46"/>
                                    </a:cxn>
                                    <a:cxn ang="0">
                                      <a:pos x="6" y="40"/>
                                    </a:cxn>
                                    <a:cxn ang="0">
                                      <a:pos x="20" y="32"/>
                                    </a:cxn>
                                    <a:cxn ang="0">
                                      <a:pos x="14" y="26"/>
                                    </a:cxn>
                                    <a:cxn ang="0">
                                      <a:pos x="10" y="26"/>
                                    </a:cxn>
                                    <a:cxn ang="0">
                                      <a:pos x="12" y="20"/>
                                    </a:cxn>
                                    <a:cxn ang="0">
                                      <a:pos x="14" y="14"/>
                                    </a:cxn>
                                    <a:cxn ang="0">
                                      <a:pos x="18" y="10"/>
                                    </a:cxn>
                                    <a:cxn ang="0">
                                      <a:pos x="30" y="8"/>
                                    </a:cxn>
                                    <a:cxn ang="0">
                                      <a:pos x="30" y="2"/>
                                    </a:cxn>
                                  </a:cxnLst>
                                  <a:rect l="0" t="0" r="r" b="b"/>
                                  <a:pathLst>
                                    <a:path w="98" h="186">
                                      <a:moveTo>
                                        <a:pt x="30" y="2"/>
                                      </a:moveTo>
                                      <a:lnTo>
                                        <a:pt x="30" y="2"/>
                                      </a:lnTo>
                                      <a:lnTo>
                                        <a:pt x="36" y="0"/>
                                      </a:lnTo>
                                      <a:lnTo>
                                        <a:pt x="40" y="0"/>
                                      </a:lnTo>
                                      <a:lnTo>
                                        <a:pt x="56" y="12"/>
                                      </a:lnTo>
                                      <a:lnTo>
                                        <a:pt x="56" y="12"/>
                                      </a:lnTo>
                                      <a:lnTo>
                                        <a:pt x="64" y="20"/>
                                      </a:lnTo>
                                      <a:lnTo>
                                        <a:pt x="66" y="24"/>
                                      </a:lnTo>
                                      <a:lnTo>
                                        <a:pt x="66" y="30"/>
                                      </a:lnTo>
                                      <a:lnTo>
                                        <a:pt x="62" y="38"/>
                                      </a:lnTo>
                                      <a:lnTo>
                                        <a:pt x="62" y="38"/>
                                      </a:lnTo>
                                      <a:lnTo>
                                        <a:pt x="66" y="36"/>
                                      </a:lnTo>
                                      <a:lnTo>
                                        <a:pt x="70" y="36"/>
                                      </a:lnTo>
                                      <a:lnTo>
                                        <a:pt x="76" y="40"/>
                                      </a:lnTo>
                                      <a:lnTo>
                                        <a:pt x="76" y="40"/>
                                      </a:lnTo>
                                      <a:lnTo>
                                        <a:pt x="80" y="46"/>
                                      </a:lnTo>
                                      <a:lnTo>
                                        <a:pt x="82" y="48"/>
                                      </a:lnTo>
                                      <a:lnTo>
                                        <a:pt x="82" y="52"/>
                                      </a:lnTo>
                                      <a:lnTo>
                                        <a:pt x="86" y="52"/>
                                      </a:lnTo>
                                      <a:lnTo>
                                        <a:pt x="86" y="52"/>
                                      </a:lnTo>
                                      <a:lnTo>
                                        <a:pt x="88" y="54"/>
                                      </a:lnTo>
                                      <a:lnTo>
                                        <a:pt x="88" y="56"/>
                                      </a:lnTo>
                                      <a:lnTo>
                                        <a:pt x="86" y="64"/>
                                      </a:lnTo>
                                      <a:lnTo>
                                        <a:pt x="82" y="74"/>
                                      </a:lnTo>
                                      <a:lnTo>
                                        <a:pt x="82" y="74"/>
                                      </a:lnTo>
                                      <a:lnTo>
                                        <a:pt x="78" y="80"/>
                                      </a:lnTo>
                                      <a:lnTo>
                                        <a:pt x="78" y="84"/>
                                      </a:lnTo>
                                      <a:lnTo>
                                        <a:pt x="78" y="86"/>
                                      </a:lnTo>
                                      <a:lnTo>
                                        <a:pt x="74" y="88"/>
                                      </a:lnTo>
                                      <a:lnTo>
                                        <a:pt x="74" y="88"/>
                                      </a:lnTo>
                                      <a:lnTo>
                                        <a:pt x="70" y="90"/>
                                      </a:lnTo>
                                      <a:lnTo>
                                        <a:pt x="68" y="92"/>
                                      </a:lnTo>
                                      <a:lnTo>
                                        <a:pt x="70" y="94"/>
                                      </a:lnTo>
                                      <a:lnTo>
                                        <a:pt x="68" y="102"/>
                                      </a:lnTo>
                                      <a:lnTo>
                                        <a:pt x="68" y="102"/>
                                      </a:lnTo>
                                      <a:lnTo>
                                        <a:pt x="66" y="110"/>
                                      </a:lnTo>
                                      <a:lnTo>
                                        <a:pt x="68" y="116"/>
                                      </a:lnTo>
                                      <a:lnTo>
                                        <a:pt x="70" y="120"/>
                                      </a:lnTo>
                                      <a:lnTo>
                                        <a:pt x="70" y="126"/>
                                      </a:lnTo>
                                      <a:lnTo>
                                        <a:pt x="70" y="126"/>
                                      </a:lnTo>
                                      <a:lnTo>
                                        <a:pt x="72" y="128"/>
                                      </a:lnTo>
                                      <a:lnTo>
                                        <a:pt x="72" y="128"/>
                                      </a:lnTo>
                                      <a:lnTo>
                                        <a:pt x="76" y="128"/>
                                      </a:lnTo>
                                      <a:lnTo>
                                        <a:pt x="78" y="132"/>
                                      </a:lnTo>
                                      <a:lnTo>
                                        <a:pt x="78" y="132"/>
                                      </a:lnTo>
                                      <a:lnTo>
                                        <a:pt x="82" y="140"/>
                                      </a:lnTo>
                                      <a:lnTo>
                                        <a:pt x="86" y="146"/>
                                      </a:lnTo>
                                      <a:lnTo>
                                        <a:pt x="86" y="146"/>
                                      </a:lnTo>
                                      <a:lnTo>
                                        <a:pt x="88" y="150"/>
                                      </a:lnTo>
                                      <a:lnTo>
                                        <a:pt x="90" y="156"/>
                                      </a:lnTo>
                                      <a:lnTo>
                                        <a:pt x="92" y="164"/>
                                      </a:lnTo>
                                      <a:lnTo>
                                        <a:pt x="94" y="166"/>
                                      </a:lnTo>
                                      <a:lnTo>
                                        <a:pt x="98" y="168"/>
                                      </a:lnTo>
                                      <a:lnTo>
                                        <a:pt x="98" y="168"/>
                                      </a:lnTo>
                                      <a:lnTo>
                                        <a:pt x="90" y="170"/>
                                      </a:lnTo>
                                      <a:lnTo>
                                        <a:pt x="88" y="168"/>
                                      </a:lnTo>
                                      <a:lnTo>
                                        <a:pt x="86" y="166"/>
                                      </a:lnTo>
                                      <a:lnTo>
                                        <a:pt x="86" y="166"/>
                                      </a:lnTo>
                                      <a:lnTo>
                                        <a:pt x="86" y="166"/>
                                      </a:lnTo>
                                      <a:lnTo>
                                        <a:pt x="84" y="166"/>
                                      </a:lnTo>
                                      <a:lnTo>
                                        <a:pt x="82" y="168"/>
                                      </a:lnTo>
                                      <a:lnTo>
                                        <a:pt x="80" y="170"/>
                                      </a:lnTo>
                                      <a:lnTo>
                                        <a:pt x="72" y="174"/>
                                      </a:lnTo>
                                      <a:lnTo>
                                        <a:pt x="72" y="174"/>
                                      </a:lnTo>
                                      <a:lnTo>
                                        <a:pt x="64" y="176"/>
                                      </a:lnTo>
                                      <a:lnTo>
                                        <a:pt x="60" y="180"/>
                                      </a:lnTo>
                                      <a:lnTo>
                                        <a:pt x="60" y="184"/>
                                      </a:lnTo>
                                      <a:lnTo>
                                        <a:pt x="60" y="184"/>
                                      </a:lnTo>
                                      <a:lnTo>
                                        <a:pt x="56" y="182"/>
                                      </a:lnTo>
                                      <a:lnTo>
                                        <a:pt x="54" y="184"/>
                                      </a:lnTo>
                                      <a:lnTo>
                                        <a:pt x="52" y="186"/>
                                      </a:lnTo>
                                      <a:lnTo>
                                        <a:pt x="52" y="186"/>
                                      </a:lnTo>
                                      <a:lnTo>
                                        <a:pt x="48" y="184"/>
                                      </a:lnTo>
                                      <a:lnTo>
                                        <a:pt x="46" y="182"/>
                                      </a:lnTo>
                                      <a:lnTo>
                                        <a:pt x="42" y="180"/>
                                      </a:lnTo>
                                      <a:lnTo>
                                        <a:pt x="40" y="174"/>
                                      </a:lnTo>
                                      <a:lnTo>
                                        <a:pt x="40" y="174"/>
                                      </a:lnTo>
                                      <a:lnTo>
                                        <a:pt x="40" y="172"/>
                                      </a:lnTo>
                                      <a:lnTo>
                                        <a:pt x="38" y="170"/>
                                      </a:lnTo>
                                      <a:lnTo>
                                        <a:pt x="36" y="168"/>
                                      </a:lnTo>
                                      <a:lnTo>
                                        <a:pt x="34" y="160"/>
                                      </a:lnTo>
                                      <a:lnTo>
                                        <a:pt x="34" y="160"/>
                                      </a:lnTo>
                                      <a:lnTo>
                                        <a:pt x="32" y="154"/>
                                      </a:lnTo>
                                      <a:lnTo>
                                        <a:pt x="30" y="152"/>
                                      </a:lnTo>
                                      <a:lnTo>
                                        <a:pt x="28" y="150"/>
                                      </a:lnTo>
                                      <a:lnTo>
                                        <a:pt x="30" y="146"/>
                                      </a:lnTo>
                                      <a:lnTo>
                                        <a:pt x="30" y="146"/>
                                      </a:lnTo>
                                      <a:lnTo>
                                        <a:pt x="32" y="144"/>
                                      </a:lnTo>
                                      <a:lnTo>
                                        <a:pt x="30" y="140"/>
                                      </a:lnTo>
                                      <a:lnTo>
                                        <a:pt x="28" y="138"/>
                                      </a:lnTo>
                                      <a:lnTo>
                                        <a:pt x="28" y="134"/>
                                      </a:lnTo>
                                      <a:lnTo>
                                        <a:pt x="28" y="134"/>
                                      </a:lnTo>
                                      <a:lnTo>
                                        <a:pt x="30" y="132"/>
                                      </a:lnTo>
                                      <a:lnTo>
                                        <a:pt x="28" y="130"/>
                                      </a:lnTo>
                                      <a:lnTo>
                                        <a:pt x="28" y="126"/>
                                      </a:lnTo>
                                      <a:lnTo>
                                        <a:pt x="32" y="120"/>
                                      </a:lnTo>
                                      <a:lnTo>
                                        <a:pt x="32" y="120"/>
                                      </a:lnTo>
                                      <a:lnTo>
                                        <a:pt x="38" y="112"/>
                                      </a:lnTo>
                                      <a:lnTo>
                                        <a:pt x="38" y="110"/>
                                      </a:lnTo>
                                      <a:lnTo>
                                        <a:pt x="38" y="110"/>
                                      </a:lnTo>
                                      <a:lnTo>
                                        <a:pt x="34" y="108"/>
                                      </a:lnTo>
                                      <a:lnTo>
                                        <a:pt x="34" y="104"/>
                                      </a:lnTo>
                                      <a:lnTo>
                                        <a:pt x="32" y="100"/>
                                      </a:lnTo>
                                      <a:lnTo>
                                        <a:pt x="32" y="100"/>
                                      </a:lnTo>
                                      <a:lnTo>
                                        <a:pt x="32" y="98"/>
                                      </a:lnTo>
                                      <a:lnTo>
                                        <a:pt x="32" y="96"/>
                                      </a:lnTo>
                                      <a:lnTo>
                                        <a:pt x="28" y="96"/>
                                      </a:lnTo>
                                      <a:lnTo>
                                        <a:pt x="24" y="96"/>
                                      </a:lnTo>
                                      <a:lnTo>
                                        <a:pt x="26" y="92"/>
                                      </a:lnTo>
                                      <a:lnTo>
                                        <a:pt x="26" y="92"/>
                                      </a:lnTo>
                                      <a:lnTo>
                                        <a:pt x="26" y="86"/>
                                      </a:lnTo>
                                      <a:lnTo>
                                        <a:pt x="24" y="86"/>
                                      </a:lnTo>
                                      <a:lnTo>
                                        <a:pt x="20" y="86"/>
                                      </a:lnTo>
                                      <a:lnTo>
                                        <a:pt x="14" y="84"/>
                                      </a:lnTo>
                                      <a:lnTo>
                                        <a:pt x="14" y="84"/>
                                      </a:lnTo>
                                      <a:lnTo>
                                        <a:pt x="4" y="70"/>
                                      </a:lnTo>
                                      <a:lnTo>
                                        <a:pt x="2" y="64"/>
                                      </a:lnTo>
                                      <a:lnTo>
                                        <a:pt x="0" y="60"/>
                                      </a:lnTo>
                                      <a:lnTo>
                                        <a:pt x="0" y="60"/>
                                      </a:lnTo>
                                      <a:lnTo>
                                        <a:pt x="2" y="56"/>
                                      </a:lnTo>
                                      <a:lnTo>
                                        <a:pt x="4" y="52"/>
                                      </a:lnTo>
                                      <a:lnTo>
                                        <a:pt x="8" y="50"/>
                                      </a:lnTo>
                                      <a:lnTo>
                                        <a:pt x="6" y="46"/>
                                      </a:lnTo>
                                      <a:lnTo>
                                        <a:pt x="6" y="46"/>
                                      </a:lnTo>
                                      <a:lnTo>
                                        <a:pt x="6" y="42"/>
                                      </a:lnTo>
                                      <a:lnTo>
                                        <a:pt x="6" y="40"/>
                                      </a:lnTo>
                                      <a:lnTo>
                                        <a:pt x="16" y="34"/>
                                      </a:lnTo>
                                      <a:lnTo>
                                        <a:pt x="16" y="34"/>
                                      </a:lnTo>
                                      <a:lnTo>
                                        <a:pt x="20" y="32"/>
                                      </a:lnTo>
                                      <a:lnTo>
                                        <a:pt x="20" y="28"/>
                                      </a:lnTo>
                                      <a:lnTo>
                                        <a:pt x="18" y="26"/>
                                      </a:lnTo>
                                      <a:lnTo>
                                        <a:pt x="14" y="26"/>
                                      </a:lnTo>
                                      <a:lnTo>
                                        <a:pt x="14" y="26"/>
                                      </a:lnTo>
                                      <a:lnTo>
                                        <a:pt x="10" y="28"/>
                                      </a:lnTo>
                                      <a:lnTo>
                                        <a:pt x="10" y="26"/>
                                      </a:lnTo>
                                      <a:lnTo>
                                        <a:pt x="12" y="24"/>
                                      </a:lnTo>
                                      <a:lnTo>
                                        <a:pt x="12" y="20"/>
                                      </a:lnTo>
                                      <a:lnTo>
                                        <a:pt x="12" y="20"/>
                                      </a:lnTo>
                                      <a:lnTo>
                                        <a:pt x="12" y="18"/>
                                      </a:lnTo>
                                      <a:lnTo>
                                        <a:pt x="12" y="16"/>
                                      </a:lnTo>
                                      <a:lnTo>
                                        <a:pt x="14" y="14"/>
                                      </a:lnTo>
                                      <a:lnTo>
                                        <a:pt x="16" y="12"/>
                                      </a:lnTo>
                                      <a:lnTo>
                                        <a:pt x="16" y="12"/>
                                      </a:lnTo>
                                      <a:lnTo>
                                        <a:pt x="18" y="10"/>
                                      </a:lnTo>
                                      <a:lnTo>
                                        <a:pt x="20" y="8"/>
                                      </a:lnTo>
                                      <a:lnTo>
                                        <a:pt x="26" y="8"/>
                                      </a:lnTo>
                                      <a:lnTo>
                                        <a:pt x="30" y="8"/>
                                      </a:lnTo>
                                      <a:lnTo>
                                        <a:pt x="30" y="6"/>
                                      </a:lnTo>
                                      <a:lnTo>
                                        <a:pt x="30" y="2"/>
                                      </a:lnTo>
                                      <a:lnTo>
                                        <a:pt x="30" y="2"/>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1" name="Kyrgyzstan"/>
                                <p:cNvSpPr>
                                  <a:spLocks/>
                                </p:cNvSpPr>
                                <p:nvPr/>
                              </p:nvSpPr>
                              <p:spPr bwMode="auto">
                                <a:xfrm>
                                  <a:off x="7801458" y="2088970"/>
                                  <a:ext cx="291614" cy="124428"/>
                                </a:xfrm>
                                <a:custGeom>
                                  <a:avLst/>
                                  <a:gdLst/>
                                  <a:ahLst/>
                                  <a:cxnLst>
                                    <a:cxn ang="0">
                                      <a:pos x="30" y="68"/>
                                    </a:cxn>
                                    <a:cxn ang="0">
                                      <a:pos x="20" y="70"/>
                                    </a:cxn>
                                    <a:cxn ang="0">
                                      <a:pos x="8" y="70"/>
                                    </a:cxn>
                                    <a:cxn ang="0">
                                      <a:pos x="0" y="76"/>
                                    </a:cxn>
                                    <a:cxn ang="0">
                                      <a:pos x="10" y="78"/>
                                    </a:cxn>
                                    <a:cxn ang="0">
                                      <a:pos x="22" y="78"/>
                                    </a:cxn>
                                    <a:cxn ang="0">
                                      <a:pos x="36" y="78"/>
                                    </a:cxn>
                                    <a:cxn ang="0">
                                      <a:pos x="46" y="80"/>
                                    </a:cxn>
                                    <a:cxn ang="0">
                                      <a:pos x="90" y="76"/>
                                    </a:cxn>
                                    <a:cxn ang="0">
                                      <a:pos x="94" y="52"/>
                                    </a:cxn>
                                    <a:cxn ang="0">
                                      <a:pos x="106" y="46"/>
                                    </a:cxn>
                                    <a:cxn ang="0">
                                      <a:pos x="112" y="44"/>
                                    </a:cxn>
                                    <a:cxn ang="0">
                                      <a:pos x="122" y="46"/>
                                    </a:cxn>
                                    <a:cxn ang="0">
                                      <a:pos x="132" y="48"/>
                                    </a:cxn>
                                    <a:cxn ang="0">
                                      <a:pos x="138" y="38"/>
                                    </a:cxn>
                                    <a:cxn ang="0">
                                      <a:pos x="150" y="34"/>
                                    </a:cxn>
                                    <a:cxn ang="0">
                                      <a:pos x="158" y="34"/>
                                    </a:cxn>
                                    <a:cxn ang="0">
                                      <a:pos x="172" y="26"/>
                                    </a:cxn>
                                    <a:cxn ang="0">
                                      <a:pos x="176" y="22"/>
                                    </a:cxn>
                                    <a:cxn ang="0">
                                      <a:pos x="186" y="16"/>
                                    </a:cxn>
                                    <a:cxn ang="0">
                                      <a:pos x="192" y="12"/>
                                    </a:cxn>
                                    <a:cxn ang="0">
                                      <a:pos x="186" y="14"/>
                                    </a:cxn>
                                    <a:cxn ang="0">
                                      <a:pos x="178" y="10"/>
                                    </a:cxn>
                                    <a:cxn ang="0">
                                      <a:pos x="166" y="8"/>
                                    </a:cxn>
                                    <a:cxn ang="0">
                                      <a:pos x="162" y="6"/>
                                    </a:cxn>
                                    <a:cxn ang="0">
                                      <a:pos x="104" y="6"/>
                                    </a:cxn>
                                    <a:cxn ang="0">
                                      <a:pos x="82" y="0"/>
                                    </a:cxn>
                                    <a:cxn ang="0">
                                      <a:pos x="72" y="6"/>
                                    </a:cxn>
                                    <a:cxn ang="0">
                                      <a:pos x="70" y="10"/>
                                    </a:cxn>
                                    <a:cxn ang="0">
                                      <a:pos x="52" y="6"/>
                                    </a:cxn>
                                    <a:cxn ang="0">
                                      <a:pos x="40" y="8"/>
                                    </a:cxn>
                                    <a:cxn ang="0">
                                      <a:pos x="26" y="16"/>
                                    </a:cxn>
                                    <a:cxn ang="0">
                                      <a:pos x="32" y="18"/>
                                    </a:cxn>
                                    <a:cxn ang="0">
                                      <a:pos x="24" y="32"/>
                                    </a:cxn>
                                    <a:cxn ang="0">
                                      <a:pos x="14" y="48"/>
                                    </a:cxn>
                                    <a:cxn ang="0">
                                      <a:pos x="20" y="44"/>
                                    </a:cxn>
                                    <a:cxn ang="0">
                                      <a:pos x="32" y="44"/>
                                    </a:cxn>
                                    <a:cxn ang="0">
                                      <a:pos x="42" y="44"/>
                                    </a:cxn>
                                    <a:cxn ang="0">
                                      <a:pos x="50" y="38"/>
                                    </a:cxn>
                                    <a:cxn ang="0">
                                      <a:pos x="56" y="42"/>
                                    </a:cxn>
                                    <a:cxn ang="0">
                                      <a:pos x="68" y="50"/>
                                    </a:cxn>
                                    <a:cxn ang="0">
                                      <a:pos x="78" y="52"/>
                                    </a:cxn>
                                    <a:cxn ang="0">
                                      <a:pos x="78" y="54"/>
                                    </a:cxn>
                                    <a:cxn ang="0">
                                      <a:pos x="50" y="64"/>
                                    </a:cxn>
                                    <a:cxn ang="0">
                                      <a:pos x="40" y="64"/>
                                    </a:cxn>
                                    <a:cxn ang="0">
                                      <a:pos x="30" y="64"/>
                                    </a:cxn>
                                  </a:cxnLst>
                                  <a:rect l="0" t="0" r="r" b="b"/>
                                  <a:pathLst>
                                    <a:path w="192" h="82">
                                      <a:moveTo>
                                        <a:pt x="30" y="64"/>
                                      </a:moveTo>
                                      <a:lnTo>
                                        <a:pt x="30" y="64"/>
                                      </a:lnTo>
                                      <a:lnTo>
                                        <a:pt x="30" y="68"/>
                                      </a:lnTo>
                                      <a:lnTo>
                                        <a:pt x="28" y="72"/>
                                      </a:lnTo>
                                      <a:lnTo>
                                        <a:pt x="24" y="72"/>
                                      </a:lnTo>
                                      <a:lnTo>
                                        <a:pt x="20" y="70"/>
                                      </a:lnTo>
                                      <a:lnTo>
                                        <a:pt x="20" y="70"/>
                                      </a:lnTo>
                                      <a:lnTo>
                                        <a:pt x="14" y="70"/>
                                      </a:lnTo>
                                      <a:lnTo>
                                        <a:pt x="8" y="70"/>
                                      </a:lnTo>
                                      <a:lnTo>
                                        <a:pt x="2" y="72"/>
                                      </a:lnTo>
                                      <a:lnTo>
                                        <a:pt x="0" y="76"/>
                                      </a:lnTo>
                                      <a:lnTo>
                                        <a:pt x="0" y="76"/>
                                      </a:lnTo>
                                      <a:lnTo>
                                        <a:pt x="0" y="78"/>
                                      </a:lnTo>
                                      <a:lnTo>
                                        <a:pt x="2" y="78"/>
                                      </a:lnTo>
                                      <a:lnTo>
                                        <a:pt x="10" y="78"/>
                                      </a:lnTo>
                                      <a:lnTo>
                                        <a:pt x="18" y="78"/>
                                      </a:lnTo>
                                      <a:lnTo>
                                        <a:pt x="22" y="78"/>
                                      </a:lnTo>
                                      <a:lnTo>
                                        <a:pt x="22" y="78"/>
                                      </a:lnTo>
                                      <a:lnTo>
                                        <a:pt x="26" y="80"/>
                                      </a:lnTo>
                                      <a:lnTo>
                                        <a:pt x="32" y="78"/>
                                      </a:lnTo>
                                      <a:lnTo>
                                        <a:pt x="36" y="78"/>
                                      </a:lnTo>
                                      <a:lnTo>
                                        <a:pt x="40" y="78"/>
                                      </a:lnTo>
                                      <a:lnTo>
                                        <a:pt x="40" y="78"/>
                                      </a:lnTo>
                                      <a:lnTo>
                                        <a:pt x="46" y="80"/>
                                      </a:lnTo>
                                      <a:lnTo>
                                        <a:pt x="58" y="82"/>
                                      </a:lnTo>
                                      <a:lnTo>
                                        <a:pt x="74" y="80"/>
                                      </a:lnTo>
                                      <a:lnTo>
                                        <a:pt x="90" y="76"/>
                                      </a:lnTo>
                                      <a:lnTo>
                                        <a:pt x="90" y="76"/>
                                      </a:lnTo>
                                      <a:lnTo>
                                        <a:pt x="92" y="62"/>
                                      </a:lnTo>
                                      <a:lnTo>
                                        <a:pt x="94" y="52"/>
                                      </a:lnTo>
                                      <a:lnTo>
                                        <a:pt x="100" y="46"/>
                                      </a:lnTo>
                                      <a:lnTo>
                                        <a:pt x="104" y="46"/>
                                      </a:lnTo>
                                      <a:lnTo>
                                        <a:pt x="106" y="46"/>
                                      </a:lnTo>
                                      <a:lnTo>
                                        <a:pt x="106" y="46"/>
                                      </a:lnTo>
                                      <a:lnTo>
                                        <a:pt x="112" y="48"/>
                                      </a:lnTo>
                                      <a:lnTo>
                                        <a:pt x="112" y="44"/>
                                      </a:lnTo>
                                      <a:lnTo>
                                        <a:pt x="112" y="44"/>
                                      </a:lnTo>
                                      <a:lnTo>
                                        <a:pt x="114" y="44"/>
                                      </a:lnTo>
                                      <a:lnTo>
                                        <a:pt x="122" y="46"/>
                                      </a:lnTo>
                                      <a:lnTo>
                                        <a:pt x="122" y="46"/>
                                      </a:lnTo>
                                      <a:lnTo>
                                        <a:pt x="130" y="48"/>
                                      </a:lnTo>
                                      <a:lnTo>
                                        <a:pt x="132" y="48"/>
                                      </a:lnTo>
                                      <a:lnTo>
                                        <a:pt x="132" y="46"/>
                                      </a:lnTo>
                                      <a:lnTo>
                                        <a:pt x="134" y="40"/>
                                      </a:lnTo>
                                      <a:lnTo>
                                        <a:pt x="138" y="38"/>
                                      </a:lnTo>
                                      <a:lnTo>
                                        <a:pt x="142" y="36"/>
                                      </a:lnTo>
                                      <a:lnTo>
                                        <a:pt x="142" y="36"/>
                                      </a:lnTo>
                                      <a:lnTo>
                                        <a:pt x="150" y="34"/>
                                      </a:lnTo>
                                      <a:lnTo>
                                        <a:pt x="152" y="36"/>
                                      </a:lnTo>
                                      <a:lnTo>
                                        <a:pt x="154" y="36"/>
                                      </a:lnTo>
                                      <a:lnTo>
                                        <a:pt x="158" y="34"/>
                                      </a:lnTo>
                                      <a:lnTo>
                                        <a:pt x="158" y="34"/>
                                      </a:lnTo>
                                      <a:lnTo>
                                        <a:pt x="166" y="28"/>
                                      </a:lnTo>
                                      <a:lnTo>
                                        <a:pt x="172" y="26"/>
                                      </a:lnTo>
                                      <a:lnTo>
                                        <a:pt x="174" y="24"/>
                                      </a:lnTo>
                                      <a:lnTo>
                                        <a:pt x="176" y="22"/>
                                      </a:lnTo>
                                      <a:lnTo>
                                        <a:pt x="176" y="22"/>
                                      </a:lnTo>
                                      <a:lnTo>
                                        <a:pt x="176" y="18"/>
                                      </a:lnTo>
                                      <a:lnTo>
                                        <a:pt x="180" y="18"/>
                                      </a:lnTo>
                                      <a:lnTo>
                                        <a:pt x="186" y="16"/>
                                      </a:lnTo>
                                      <a:lnTo>
                                        <a:pt x="190" y="16"/>
                                      </a:lnTo>
                                      <a:lnTo>
                                        <a:pt x="192" y="14"/>
                                      </a:lnTo>
                                      <a:lnTo>
                                        <a:pt x="192" y="12"/>
                                      </a:lnTo>
                                      <a:lnTo>
                                        <a:pt x="192" y="12"/>
                                      </a:lnTo>
                                      <a:lnTo>
                                        <a:pt x="188" y="16"/>
                                      </a:lnTo>
                                      <a:lnTo>
                                        <a:pt x="186" y="14"/>
                                      </a:lnTo>
                                      <a:lnTo>
                                        <a:pt x="184" y="10"/>
                                      </a:lnTo>
                                      <a:lnTo>
                                        <a:pt x="182" y="10"/>
                                      </a:lnTo>
                                      <a:lnTo>
                                        <a:pt x="178" y="10"/>
                                      </a:lnTo>
                                      <a:lnTo>
                                        <a:pt x="178" y="10"/>
                                      </a:lnTo>
                                      <a:lnTo>
                                        <a:pt x="170" y="10"/>
                                      </a:lnTo>
                                      <a:lnTo>
                                        <a:pt x="166" y="8"/>
                                      </a:lnTo>
                                      <a:lnTo>
                                        <a:pt x="166" y="6"/>
                                      </a:lnTo>
                                      <a:lnTo>
                                        <a:pt x="162" y="6"/>
                                      </a:lnTo>
                                      <a:lnTo>
                                        <a:pt x="162" y="6"/>
                                      </a:lnTo>
                                      <a:lnTo>
                                        <a:pt x="152" y="6"/>
                                      </a:lnTo>
                                      <a:lnTo>
                                        <a:pt x="136" y="6"/>
                                      </a:lnTo>
                                      <a:lnTo>
                                        <a:pt x="104" y="6"/>
                                      </a:lnTo>
                                      <a:lnTo>
                                        <a:pt x="104" y="6"/>
                                      </a:lnTo>
                                      <a:lnTo>
                                        <a:pt x="92" y="4"/>
                                      </a:lnTo>
                                      <a:lnTo>
                                        <a:pt x="82" y="0"/>
                                      </a:lnTo>
                                      <a:lnTo>
                                        <a:pt x="74" y="0"/>
                                      </a:lnTo>
                                      <a:lnTo>
                                        <a:pt x="72" y="2"/>
                                      </a:lnTo>
                                      <a:lnTo>
                                        <a:pt x="72" y="6"/>
                                      </a:lnTo>
                                      <a:lnTo>
                                        <a:pt x="72" y="6"/>
                                      </a:lnTo>
                                      <a:lnTo>
                                        <a:pt x="70" y="10"/>
                                      </a:lnTo>
                                      <a:lnTo>
                                        <a:pt x="70" y="10"/>
                                      </a:lnTo>
                                      <a:lnTo>
                                        <a:pt x="64" y="10"/>
                                      </a:lnTo>
                                      <a:lnTo>
                                        <a:pt x="56" y="8"/>
                                      </a:lnTo>
                                      <a:lnTo>
                                        <a:pt x="52" y="6"/>
                                      </a:lnTo>
                                      <a:lnTo>
                                        <a:pt x="48" y="8"/>
                                      </a:lnTo>
                                      <a:lnTo>
                                        <a:pt x="48" y="8"/>
                                      </a:lnTo>
                                      <a:lnTo>
                                        <a:pt x="40" y="8"/>
                                      </a:lnTo>
                                      <a:lnTo>
                                        <a:pt x="38" y="8"/>
                                      </a:lnTo>
                                      <a:lnTo>
                                        <a:pt x="34" y="8"/>
                                      </a:lnTo>
                                      <a:lnTo>
                                        <a:pt x="26" y="16"/>
                                      </a:lnTo>
                                      <a:lnTo>
                                        <a:pt x="26" y="16"/>
                                      </a:lnTo>
                                      <a:lnTo>
                                        <a:pt x="30" y="16"/>
                                      </a:lnTo>
                                      <a:lnTo>
                                        <a:pt x="32" y="18"/>
                                      </a:lnTo>
                                      <a:lnTo>
                                        <a:pt x="30" y="24"/>
                                      </a:lnTo>
                                      <a:lnTo>
                                        <a:pt x="24" y="32"/>
                                      </a:lnTo>
                                      <a:lnTo>
                                        <a:pt x="24" y="32"/>
                                      </a:lnTo>
                                      <a:lnTo>
                                        <a:pt x="16" y="42"/>
                                      </a:lnTo>
                                      <a:lnTo>
                                        <a:pt x="14" y="46"/>
                                      </a:lnTo>
                                      <a:lnTo>
                                        <a:pt x="14" y="48"/>
                                      </a:lnTo>
                                      <a:lnTo>
                                        <a:pt x="16" y="48"/>
                                      </a:lnTo>
                                      <a:lnTo>
                                        <a:pt x="20" y="44"/>
                                      </a:lnTo>
                                      <a:lnTo>
                                        <a:pt x="20" y="44"/>
                                      </a:lnTo>
                                      <a:lnTo>
                                        <a:pt x="24" y="42"/>
                                      </a:lnTo>
                                      <a:lnTo>
                                        <a:pt x="28" y="42"/>
                                      </a:lnTo>
                                      <a:lnTo>
                                        <a:pt x="32" y="44"/>
                                      </a:lnTo>
                                      <a:lnTo>
                                        <a:pt x="36" y="46"/>
                                      </a:lnTo>
                                      <a:lnTo>
                                        <a:pt x="40" y="46"/>
                                      </a:lnTo>
                                      <a:lnTo>
                                        <a:pt x="42" y="44"/>
                                      </a:lnTo>
                                      <a:lnTo>
                                        <a:pt x="42" y="44"/>
                                      </a:lnTo>
                                      <a:lnTo>
                                        <a:pt x="48" y="38"/>
                                      </a:lnTo>
                                      <a:lnTo>
                                        <a:pt x="50" y="38"/>
                                      </a:lnTo>
                                      <a:lnTo>
                                        <a:pt x="54" y="38"/>
                                      </a:lnTo>
                                      <a:lnTo>
                                        <a:pt x="56" y="42"/>
                                      </a:lnTo>
                                      <a:lnTo>
                                        <a:pt x="56" y="42"/>
                                      </a:lnTo>
                                      <a:lnTo>
                                        <a:pt x="58" y="46"/>
                                      </a:lnTo>
                                      <a:lnTo>
                                        <a:pt x="62" y="46"/>
                                      </a:lnTo>
                                      <a:lnTo>
                                        <a:pt x="68" y="50"/>
                                      </a:lnTo>
                                      <a:lnTo>
                                        <a:pt x="68" y="50"/>
                                      </a:lnTo>
                                      <a:lnTo>
                                        <a:pt x="72" y="50"/>
                                      </a:lnTo>
                                      <a:lnTo>
                                        <a:pt x="78" y="52"/>
                                      </a:lnTo>
                                      <a:lnTo>
                                        <a:pt x="82" y="52"/>
                                      </a:lnTo>
                                      <a:lnTo>
                                        <a:pt x="78" y="54"/>
                                      </a:lnTo>
                                      <a:lnTo>
                                        <a:pt x="78" y="54"/>
                                      </a:lnTo>
                                      <a:lnTo>
                                        <a:pt x="62" y="62"/>
                                      </a:lnTo>
                                      <a:lnTo>
                                        <a:pt x="56" y="64"/>
                                      </a:lnTo>
                                      <a:lnTo>
                                        <a:pt x="50" y="64"/>
                                      </a:lnTo>
                                      <a:lnTo>
                                        <a:pt x="50" y="64"/>
                                      </a:lnTo>
                                      <a:lnTo>
                                        <a:pt x="44" y="62"/>
                                      </a:lnTo>
                                      <a:lnTo>
                                        <a:pt x="40" y="64"/>
                                      </a:lnTo>
                                      <a:lnTo>
                                        <a:pt x="36" y="64"/>
                                      </a:lnTo>
                                      <a:lnTo>
                                        <a:pt x="30" y="64"/>
                                      </a:lnTo>
                                      <a:lnTo>
                                        <a:pt x="30" y="64"/>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2" name="Lebanon"/>
                                <p:cNvSpPr>
                                  <a:spLocks/>
                                </p:cNvSpPr>
                                <p:nvPr/>
                              </p:nvSpPr>
                              <p:spPr bwMode="auto">
                                <a:xfrm>
                                  <a:off x="6844600" y="2375971"/>
                                  <a:ext cx="54678" cy="51592"/>
                                </a:xfrm>
                                <a:custGeom>
                                  <a:avLst/>
                                  <a:gdLst/>
                                  <a:ahLst/>
                                  <a:cxnLst>
                                    <a:cxn ang="0">
                                      <a:pos x="14" y="4"/>
                                    </a:cxn>
                                    <a:cxn ang="0">
                                      <a:pos x="14" y="4"/>
                                    </a:cxn>
                                    <a:cxn ang="0">
                                      <a:pos x="12" y="8"/>
                                    </a:cxn>
                                    <a:cxn ang="0">
                                      <a:pos x="10" y="10"/>
                                    </a:cxn>
                                    <a:cxn ang="0">
                                      <a:pos x="8" y="12"/>
                                    </a:cxn>
                                    <a:cxn ang="0">
                                      <a:pos x="6" y="16"/>
                                    </a:cxn>
                                    <a:cxn ang="0">
                                      <a:pos x="6" y="16"/>
                                    </a:cxn>
                                    <a:cxn ang="0">
                                      <a:pos x="4" y="22"/>
                                    </a:cxn>
                                    <a:cxn ang="0">
                                      <a:pos x="2" y="24"/>
                                    </a:cxn>
                                    <a:cxn ang="0">
                                      <a:pos x="0" y="28"/>
                                    </a:cxn>
                                    <a:cxn ang="0">
                                      <a:pos x="0" y="34"/>
                                    </a:cxn>
                                    <a:cxn ang="0">
                                      <a:pos x="18" y="34"/>
                                    </a:cxn>
                                    <a:cxn ang="0">
                                      <a:pos x="18" y="34"/>
                                    </a:cxn>
                                    <a:cxn ang="0">
                                      <a:pos x="22" y="30"/>
                                    </a:cxn>
                                    <a:cxn ang="0">
                                      <a:pos x="22" y="28"/>
                                    </a:cxn>
                                    <a:cxn ang="0">
                                      <a:pos x="20" y="26"/>
                                    </a:cxn>
                                    <a:cxn ang="0">
                                      <a:pos x="22" y="24"/>
                                    </a:cxn>
                                    <a:cxn ang="0">
                                      <a:pos x="22" y="24"/>
                                    </a:cxn>
                                    <a:cxn ang="0">
                                      <a:pos x="26" y="22"/>
                                    </a:cxn>
                                    <a:cxn ang="0">
                                      <a:pos x="28" y="22"/>
                                    </a:cxn>
                                    <a:cxn ang="0">
                                      <a:pos x="30" y="22"/>
                                    </a:cxn>
                                    <a:cxn ang="0">
                                      <a:pos x="32" y="22"/>
                                    </a:cxn>
                                    <a:cxn ang="0">
                                      <a:pos x="32" y="22"/>
                                    </a:cxn>
                                    <a:cxn ang="0">
                                      <a:pos x="34" y="20"/>
                                    </a:cxn>
                                    <a:cxn ang="0">
                                      <a:pos x="32" y="18"/>
                                    </a:cxn>
                                    <a:cxn ang="0">
                                      <a:pos x="32" y="16"/>
                                    </a:cxn>
                                    <a:cxn ang="0">
                                      <a:pos x="34" y="14"/>
                                    </a:cxn>
                                    <a:cxn ang="0">
                                      <a:pos x="34" y="14"/>
                                    </a:cxn>
                                    <a:cxn ang="0">
                                      <a:pos x="36" y="12"/>
                                    </a:cxn>
                                    <a:cxn ang="0">
                                      <a:pos x="36" y="10"/>
                                    </a:cxn>
                                    <a:cxn ang="0">
                                      <a:pos x="34" y="6"/>
                                    </a:cxn>
                                    <a:cxn ang="0">
                                      <a:pos x="30" y="2"/>
                                    </a:cxn>
                                    <a:cxn ang="0">
                                      <a:pos x="26" y="0"/>
                                    </a:cxn>
                                    <a:cxn ang="0">
                                      <a:pos x="26" y="0"/>
                                    </a:cxn>
                                    <a:cxn ang="0">
                                      <a:pos x="20" y="0"/>
                                    </a:cxn>
                                    <a:cxn ang="0">
                                      <a:pos x="14" y="4"/>
                                    </a:cxn>
                                    <a:cxn ang="0">
                                      <a:pos x="14" y="4"/>
                                    </a:cxn>
                                  </a:cxnLst>
                                  <a:rect l="0" t="0" r="r" b="b"/>
                                  <a:pathLst>
                                    <a:path w="36" h="34">
                                      <a:moveTo>
                                        <a:pt x="14" y="4"/>
                                      </a:moveTo>
                                      <a:lnTo>
                                        <a:pt x="14" y="4"/>
                                      </a:lnTo>
                                      <a:lnTo>
                                        <a:pt x="12" y="8"/>
                                      </a:lnTo>
                                      <a:lnTo>
                                        <a:pt x="10" y="10"/>
                                      </a:lnTo>
                                      <a:lnTo>
                                        <a:pt x="8" y="12"/>
                                      </a:lnTo>
                                      <a:lnTo>
                                        <a:pt x="6" y="16"/>
                                      </a:lnTo>
                                      <a:lnTo>
                                        <a:pt x="6" y="16"/>
                                      </a:lnTo>
                                      <a:lnTo>
                                        <a:pt x="4" y="22"/>
                                      </a:lnTo>
                                      <a:lnTo>
                                        <a:pt x="2" y="24"/>
                                      </a:lnTo>
                                      <a:lnTo>
                                        <a:pt x="0" y="28"/>
                                      </a:lnTo>
                                      <a:lnTo>
                                        <a:pt x="0" y="34"/>
                                      </a:lnTo>
                                      <a:lnTo>
                                        <a:pt x="18" y="34"/>
                                      </a:lnTo>
                                      <a:lnTo>
                                        <a:pt x="18" y="34"/>
                                      </a:lnTo>
                                      <a:lnTo>
                                        <a:pt x="22" y="30"/>
                                      </a:lnTo>
                                      <a:lnTo>
                                        <a:pt x="22" y="28"/>
                                      </a:lnTo>
                                      <a:lnTo>
                                        <a:pt x="20" y="26"/>
                                      </a:lnTo>
                                      <a:lnTo>
                                        <a:pt x="22" y="24"/>
                                      </a:lnTo>
                                      <a:lnTo>
                                        <a:pt x="22" y="24"/>
                                      </a:lnTo>
                                      <a:lnTo>
                                        <a:pt x="26" y="22"/>
                                      </a:lnTo>
                                      <a:lnTo>
                                        <a:pt x="28" y="22"/>
                                      </a:lnTo>
                                      <a:lnTo>
                                        <a:pt x="30" y="22"/>
                                      </a:lnTo>
                                      <a:lnTo>
                                        <a:pt x="32" y="22"/>
                                      </a:lnTo>
                                      <a:lnTo>
                                        <a:pt x="32" y="22"/>
                                      </a:lnTo>
                                      <a:lnTo>
                                        <a:pt x="34" y="20"/>
                                      </a:lnTo>
                                      <a:lnTo>
                                        <a:pt x="32" y="18"/>
                                      </a:lnTo>
                                      <a:lnTo>
                                        <a:pt x="32" y="16"/>
                                      </a:lnTo>
                                      <a:lnTo>
                                        <a:pt x="34" y="14"/>
                                      </a:lnTo>
                                      <a:lnTo>
                                        <a:pt x="34" y="14"/>
                                      </a:lnTo>
                                      <a:lnTo>
                                        <a:pt x="36" y="12"/>
                                      </a:lnTo>
                                      <a:lnTo>
                                        <a:pt x="36" y="10"/>
                                      </a:lnTo>
                                      <a:lnTo>
                                        <a:pt x="34" y="6"/>
                                      </a:lnTo>
                                      <a:lnTo>
                                        <a:pt x="30" y="2"/>
                                      </a:lnTo>
                                      <a:lnTo>
                                        <a:pt x="26" y="0"/>
                                      </a:lnTo>
                                      <a:lnTo>
                                        <a:pt x="26" y="0"/>
                                      </a:lnTo>
                                      <a:lnTo>
                                        <a:pt x="20" y="0"/>
                                      </a:lnTo>
                                      <a:lnTo>
                                        <a:pt x="14" y="4"/>
                                      </a:lnTo>
                                      <a:lnTo>
                                        <a:pt x="14" y="4"/>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4" name="Libya"/>
                                <p:cNvSpPr>
                                  <a:spLocks/>
                                </p:cNvSpPr>
                                <p:nvPr/>
                              </p:nvSpPr>
                              <p:spPr bwMode="auto">
                                <a:xfrm>
                                  <a:off x="6051776" y="2422331"/>
                                  <a:ext cx="504248" cy="488608"/>
                                </a:xfrm>
                                <a:custGeom>
                                  <a:avLst/>
                                  <a:gdLst/>
                                  <a:ahLst/>
                                  <a:cxnLst>
                                    <a:cxn ang="0">
                                      <a:pos x="318" y="32"/>
                                    </a:cxn>
                                    <a:cxn ang="0">
                                      <a:pos x="312" y="28"/>
                                    </a:cxn>
                                    <a:cxn ang="0">
                                      <a:pos x="304" y="28"/>
                                    </a:cxn>
                                    <a:cxn ang="0">
                                      <a:pos x="296" y="24"/>
                                    </a:cxn>
                                    <a:cxn ang="0">
                                      <a:pos x="292" y="20"/>
                                    </a:cxn>
                                    <a:cxn ang="0">
                                      <a:pos x="282" y="14"/>
                                    </a:cxn>
                                    <a:cxn ang="0">
                                      <a:pos x="266" y="12"/>
                                    </a:cxn>
                                    <a:cxn ang="0">
                                      <a:pos x="264" y="14"/>
                                    </a:cxn>
                                    <a:cxn ang="0">
                                      <a:pos x="262" y="10"/>
                                    </a:cxn>
                                    <a:cxn ang="0">
                                      <a:pos x="244" y="10"/>
                                    </a:cxn>
                                    <a:cxn ang="0">
                                      <a:pos x="228" y="20"/>
                                    </a:cxn>
                                    <a:cxn ang="0">
                                      <a:pos x="220" y="36"/>
                                    </a:cxn>
                                    <a:cxn ang="0">
                                      <a:pos x="226" y="38"/>
                                    </a:cxn>
                                    <a:cxn ang="0">
                                      <a:pos x="220" y="60"/>
                                    </a:cxn>
                                    <a:cxn ang="0">
                                      <a:pos x="210" y="64"/>
                                    </a:cxn>
                                    <a:cxn ang="0">
                                      <a:pos x="196" y="60"/>
                                    </a:cxn>
                                    <a:cxn ang="0">
                                      <a:pos x="174" y="48"/>
                                    </a:cxn>
                                    <a:cxn ang="0">
                                      <a:pos x="152" y="42"/>
                                    </a:cxn>
                                    <a:cxn ang="0">
                                      <a:pos x="138" y="42"/>
                                    </a:cxn>
                                    <a:cxn ang="0">
                                      <a:pos x="130" y="36"/>
                                    </a:cxn>
                                    <a:cxn ang="0">
                                      <a:pos x="126" y="20"/>
                                    </a:cxn>
                                    <a:cxn ang="0">
                                      <a:pos x="116" y="18"/>
                                    </a:cxn>
                                    <a:cxn ang="0">
                                      <a:pos x="110" y="14"/>
                                    </a:cxn>
                                    <a:cxn ang="0">
                                      <a:pos x="96" y="12"/>
                                    </a:cxn>
                                    <a:cxn ang="0">
                                      <a:pos x="88" y="10"/>
                                    </a:cxn>
                                    <a:cxn ang="0">
                                      <a:pos x="76" y="8"/>
                                    </a:cxn>
                                    <a:cxn ang="0">
                                      <a:pos x="62" y="8"/>
                                    </a:cxn>
                                    <a:cxn ang="0">
                                      <a:pos x="44" y="0"/>
                                    </a:cxn>
                                    <a:cxn ang="0">
                                      <a:pos x="44" y="12"/>
                                    </a:cxn>
                                    <a:cxn ang="0">
                                      <a:pos x="40" y="20"/>
                                    </a:cxn>
                                    <a:cxn ang="0">
                                      <a:pos x="28" y="26"/>
                                    </a:cxn>
                                    <a:cxn ang="0">
                                      <a:pos x="24" y="34"/>
                                    </a:cxn>
                                    <a:cxn ang="0">
                                      <a:pos x="20" y="48"/>
                                    </a:cxn>
                                    <a:cxn ang="0">
                                      <a:pos x="22" y="56"/>
                                    </a:cxn>
                                    <a:cxn ang="0">
                                      <a:pos x="8" y="68"/>
                                    </a:cxn>
                                    <a:cxn ang="0">
                                      <a:pos x="0" y="72"/>
                                    </a:cxn>
                                    <a:cxn ang="0">
                                      <a:pos x="4" y="78"/>
                                    </a:cxn>
                                    <a:cxn ang="0">
                                      <a:pos x="8" y="98"/>
                                    </a:cxn>
                                    <a:cxn ang="0">
                                      <a:pos x="20" y="120"/>
                                    </a:cxn>
                                    <a:cxn ang="0">
                                      <a:pos x="18" y="132"/>
                                    </a:cxn>
                                    <a:cxn ang="0">
                                      <a:pos x="18" y="138"/>
                                    </a:cxn>
                                    <a:cxn ang="0">
                                      <a:pos x="22" y="144"/>
                                    </a:cxn>
                                    <a:cxn ang="0">
                                      <a:pos x="18" y="150"/>
                                    </a:cxn>
                                    <a:cxn ang="0">
                                      <a:pos x="8" y="158"/>
                                    </a:cxn>
                                    <a:cxn ang="0">
                                      <a:pos x="6" y="164"/>
                                    </a:cxn>
                                    <a:cxn ang="0">
                                      <a:pos x="18" y="172"/>
                                    </a:cxn>
                                    <a:cxn ang="0">
                                      <a:pos x="20" y="178"/>
                                    </a:cxn>
                                    <a:cxn ang="0">
                                      <a:pos x="24" y="184"/>
                                    </a:cxn>
                                    <a:cxn ang="0">
                                      <a:pos x="32" y="192"/>
                                    </a:cxn>
                                    <a:cxn ang="0">
                                      <a:pos x="46" y="196"/>
                                    </a:cxn>
                                    <a:cxn ang="0">
                                      <a:pos x="64" y="208"/>
                                    </a:cxn>
                                    <a:cxn ang="0">
                                      <a:pos x="130" y="222"/>
                                    </a:cxn>
                                    <a:cxn ang="0">
                                      <a:pos x="154" y="210"/>
                                    </a:cxn>
                                    <a:cxn ang="0">
                                      <a:pos x="176" y="214"/>
                                    </a:cxn>
                                    <a:cxn ang="0">
                                      <a:pos x="332" y="322"/>
                                    </a:cxn>
                                    <a:cxn ang="0">
                                      <a:pos x="318" y="96"/>
                                    </a:cxn>
                                    <a:cxn ang="0">
                                      <a:pos x="320" y="82"/>
                                    </a:cxn>
                                    <a:cxn ang="0">
                                      <a:pos x="318" y="76"/>
                                    </a:cxn>
                                    <a:cxn ang="0">
                                      <a:pos x="320" y="66"/>
                                    </a:cxn>
                                    <a:cxn ang="0">
                                      <a:pos x="318" y="58"/>
                                    </a:cxn>
                                    <a:cxn ang="0">
                                      <a:pos x="320" y="32"/>
                                    </a:cxn>
                                  </a:cxnLst>
                                  <a:rect l="0" t="0" r="r" b="b"/>
                                  <a:pathLst>
                                    <a:path w="332" h="322">
                                      <a:moveTo>
                                        <a:pt x="320" y="32"/>
                                      </a:moveTo>
                                      <a:lnTo>
                                        <a:pt x="320" y="32"/>
                                      </a:lnTo>
                                      <a:lnTo>
                                        <a:pt x="318" y="32"/>
                                      </a:lnTo>
                                      <a:lnTo>
                                        <a:pt x="318" y="30"/>
                                      </a:lnTo>
                                      <a:lnTo>
                                        <a:pt x="316" y="28"/>
                                      </a:lnTo>
                                      <a:lnTo>
                                        <a:pt x="312" y="28"/>
                                      </a:lnTo>
                                      <a:lnTo>
                                        <a:pt x="312" y="28"/>
                                      </a:lnTo>
                                      <a:lnTo>
                                        <a:pt x="306" y="28"/>
                                      </a:lnTo>
                                      <a:lnTo>
                                        <a:pt x="304" y="28"/>
                                      </a:lnTo>
                                      <a:lnTo>
                                        <a:pt x="304" y="24"/>
                                      </a:lnTo>
                                      <a:lnTo>
                                        <a:pt x="296" y="24"/>
                                      </a:lnTo>
                                      <a:lnTo>
                                        <a:pt x="296" y="24"/>
                                      </a:lnTo>
                                      <a:lnTo>
                                        <a:pt x="290" y="24"/>
                                      </a:lnTo>
                                      <a:lnTo>
                                        <a:pt x="290" y="22"/>
                                      </a:lnTo>
                                      <a:lnTo>
                                        <a:pt x="292" y="20"/>
                                      </a:lnTo>
                                      <a:lnTo>
                                        <a:pt x="290" y="18"/>
                                      </a:lnTo>
                                      <a:lnTo>
                                        <a:pt x="288" y="18"/>
                                      </a:lnTo>
                                      <a:lnTo>
                                        <a:pt x="282" y="14"/>
                                      </a:lnTo>
                                      <a:lnTo>
                                        <a:pt x="282" y="14"/>
                                      </a:lnTo>
                                      <a:lnTo>
                                        <a:pt x="270" y="12"/>
                                      </a:lnTo>
                                      <a:lnTo>
                                        <a:pt x="266" y="12"/>
                                      </a:lnTo>
                                      <a:lnTo>
                                        <a:pt x="266" y="14"/>
                                      </a:lnTo>
                                      <a:lnTo>
                                        <a:pt x="264" y="14"/>
                                      </a:lnTo>
                                      <a:lnTo>
                                        <a:pt x="264" y="14"/>
                                      </a:lnTo>
                                      <a:lnTo>
                                        <a:pt x="260" y="12"/>
                                      </a:lnTo>
                                      <a:lnTo>
                                        <a:pt x="262" y="12"/>
                                      </a:lnTo>
                                      <a:lnTo>
                                        <a:pt x="262" y="10"/>
                                      </a:lnTo>
                                      <a:lnTo>
                                        <a:pt x="254" y="10"/>
                                      </a:lnTo>
                                      <a:lnTo>
                                        <a:pt x="254" y="10"/>
                                      </a:lnTo>
                                      <a:lnTo>
                                        <a:pt x="244" y="10"/>
                                      </a:lnTo>
                                      <a:lnTo>
                                        <a:pt x="238" y="12"/>
                                      </a:lnTo>
                                      <a:lnTo>
                                        <a:pt x="228" y="20"/>
                                      </a:lnTo>
                                      <a:lnTo>
                                        <a:pt x="228" y="20"/>
                                      </a:lnTo>
                                      <a:lnTo>
                                        <a:pt x="222" y="26"/>
                                      </a:lnTo>
                                      <a:lnTo>
                                        <a:pt x="220" y="30"/>
                                      </a:lnTo>
                                      <a:lnTo>
                                        <a:pt x="220" y="36"/>
                                      </a:lnTo>
                                      <a:lnTo>
                                        <a:pt x="222" y="38"/>
                                      </a:lnTo>
                                      <a:lnTo>
                                        <a:pt x="222" y="38"/>
                                      </a:lnTo>
                                      <a:lnTo>
                                        <a:pt x="226" y="38"/>
                                      </a:lnTo>
                                      <a:lnTo>
                                        <a:pt x="226" y="42"/>
                                      </a:lnTo>
                                      <a:lnTo>
                                        <a:pt x="226" y="52"/>
                                      </a:lnTo>
                                      <a:lnTo>
                                        <a:pt x="220" y="60"/>
                                      </a:lnTo>
                                      <a:lnTo>
                                        <a:pt x="216" y="64"/>
                                      </a:lnTo>
                                      <a:lnTo>
                                        <a:pt x="210" y="64"/>
                                      </a:lnTo>
                                      <a:lnTo>
                                        <a:pt x="210" y="64"/>
                                      </a:lnTo>
                                      <a:lnTo>
                                        <a:pt x="204" y="66"/>
                                      </a:lnTo>
                                      <a:lnTo>
                                        <a:pt x="200" y="64"/>
                                      </a:lnTo>
                                      <a:lnTo>
                                        <a:pt x="196" y="60"/>
                                      </a:lnTo>
                                      <a:lnTo>
                                        <a:pt x="186" y="54"/>
                                      </a:lnTo>
                                      <a:lnTo>
                                        <a:pt x="186" y="54"/>
                                      </a:lnTo>
                                      <a:lnTo>
                                        <a:pt x="174" y="48"/>
                                      </a:lnTo>
                                      <a:lnTo>
                                        <a:pt x="166" y="46"/>
                                      </a:lnTo>
                                      <a:lnTo>
                                        <a:pt x="158" y="44"/>
                                      </a:lnTo>
                                      <a:lnTo>
                                        <a:pt x="152" y="42"/>
                                      </a:lnTo>
                                      <a:lnTo>
                                        <a:pt x="152" y="42"/>
                                      </a:lnTo>
                                      <a:lnTo>
                                        <a:pt x="146" y="42"/>
                                      </a:lnTo>
                                      <a:lnTo>
                                        <a:pt x="138" y="42"/>
                                      </a:lnTo>
                                      <a:lnTo>
                                        <a:pt x="136" y="42"/>
                                      </a:lnTo>
                                      <a:lnTo>
                                        <a:pt x="132" y="40"/>
                                      </a:lnTo>
                                      <a:lnTo>
                                        <a:pt x="130" y="36"/>
                                      </a:lnTo>
                                      <a:lnTo>
                                        <a:pt x="128" y="28"/>
                                      </a:lnTo>
                                      <a:lnTo>
                                        <a:pt x="128" y="28"/>
                                      </a:lnTo>
                                      <a:lnTo>
                                        <a:pt x="126" y="20"/>
                                      </a:lnTo>
                                      <a:lnTo>
                                        <a:pt x="124" y="20"/>
                                      </a:lnTo>
                                      <a:lnTo>
                                        <a:pt x="118" y="20"/>
                                      </a:lnTo>
                                      <a:lnTo>
                                        <a:pt x="116" y="18"/>
                                      </a:lnTo>
                                      <a:lnTo>
                                        <a:pt x="112" y="16"/>
                                      </a:lnTo>
                                      <a:lnTo>
                                        <a:pt x="112" y="16"/>
                                      </a:lnTo>
                                      <a:lnTo>
                                        <a:pt x="110" y="14"/>
                                      </a:lnTo>
                                      <a:lnTo>
                                        <a:pt x="106" y="12"/>
                                      </a:lnTo>
                                      <a:lnTo>
                                        <a:pt x="100" y="12"/>
                                      </a:lnTo>
                                      <a:lnTo>
                                        <a:pt x="96" y="12"/>
                                      </a:lnTo>
                                      <a:lnTo>
                                        <a:pt x="92" y="12"/>
                                      </a:lnTo>
                                      <a:lnTo>
                                        <a:pt x="88" y="10"/>
                                      </a:lnTo>
                                      <a:lnTo>
                                        <a:pt x="88" y="10"/>
                                      </a:lnTo>
                                      <a:lnTo>
                                        <a:pt x="86" y="8"/>
                                      </a:lnTo>
                                      <a:lnTo>
                                        <a:pt x="82" y="6"/>
                                      </a:lnTo>
                                      <a:lnTo>
                                        <a:pt x="76" y="8"/>
                                      </a:lnTo>
                                      <a:lnTo>
                                        <a:pt x="70" y="10"/>
                                      </a:lnTo>
                                      <a:lnTo>
                                        <a:pt x="66" y="10"/>
                                      </a:lnTo>
                                      <a:lnTo>
                                        <a:pt x="62" y="8"/>
                                      </a:lnTo>
                                      <a:lnTo>
                                        <a:pt x="62" y="8"/>
                                      </a:lnTo>
                                      <a:lnTo>
                                        <a:pt x="50" y="4"/>
                                      </a:lnTo>
                                      <a:lnTo>
                                        <a:pt x="44" y="0"/>
                                      </a:lnTo>
                                      <a:lnTo>
                                        <a:pt x="42" y="12"/>
                                      </a:lnTo>
                                      <a:lnTo>
                                        <a:pt x="42" y="12"/>
                                      </a:lnTo>
                                      <a:lnTo>
                                        <a:pt x="44" y="12"/>
                                      </a:lnTo>
                                      <a:lnTo>
                                        <a:pt x="46" y="14"/>
                                      </a:lnTo>
                                      <a:lnTo>
                                        <a:pt x="44" y="18"/>
                                      </a:lnTo>
                                      <a:lnTo>
                                        <a:pt x="40" y="20"/>
                                      </a:lnTo>
                                      <a:lnTo>
                                        <a:pt x="40" y="20"/>
                                      </a:lnTo>
                                      <a:lnTo>
                                        <a:pt x="32" y="24"/>
                                      </a:lnTo>
                                      <a:lnTo>
                                        <a:pt x="28" y="26"/>
                                      </a:lnTo>
                                      <a:lnTo>
                                        <a:pt x="26" y="30"/>
                                      </a:lnTo>
                                      <a:lnTo>
                                        <a:pt x="26" y="30"/>
                                      </a:lnTo>
                                      <a:lnTo>
                                        <a:pt x="24" y="34"/>
                                      </a:lnTo>
                                      <a:lnTo>
                                        <a:pt x="20" y="38"/>
                                      </a:lnTo>
                                      <a:lnTo>
                                        <a:pt x="18" y="42"/>
                                      </a:lnTo>
                                      <a:lnTo>
                                        <a:pt x="20" y="48"/>
                                      </a:lnTo>
                                      <a:lnTo>
                                        <a:pt x="20" y="48"/>
                                      </a:lnTo>
                                      <a:lnTo>
                                        <a:pt x="22" y="52"/>
                                      </a:lnTo>
                                      <a:lnTo>
                                        <a:pt x="22" y="56"/>
                                      </a:lnTo>
                                      <a:lnTo>
                                        <a:pt x="20" y="60"/>
                                      </a:lnTo>
                                      <a:lnTo>
                                        <a:pt x="16" y="64"/>
                                      </a:lnTo>
                                      <a:lnTo>
                                        <a:pt x="8" y="68"/>
                                      </a:lnTo>
                                      <a:lnTo>
                                        <a:pt x="2" y="72"/>
                                      </a:lnTo>
                                      <a:lnTo>
                                        <a:pt x="2" y="72"/>
                                      </a:lnTo>
                                      <a:lnTo>
                                        <a:pt x="0" y="72"/>
                                      </a:lnTo>
                                      <a:lnTo>
                                        <a:pt x="0" y="74"/>
                                      </a:lnTo>
                                      <a:lnTo>
                                        <a:pt x="4" y="78"/>
                                      </a:lnTo>
                                      <a:lnTo>
                                        <a:pt x="4" y="78"/>
                                      </a:lnTo>
                                      <a:lnTo>
                                        <a:pt x="6" y="84"/>
                                      </a:lnTo>
                                      <a:lnTo>
                                        <a:pt x="6" y="90"/>
                                      </a:lnTo>
                                      <a:lnTo>
                                        <a:pt x="8" y="98"/>
                                      </a:lnTo>
                                      <a:lnTo>
                                        <a:pt x="14" y="108"/>
                                      </a:lnTo>
                                      <a:lnTo>
                                        <a:pt x="14" y="108"/>
                                      </a:lnTo>
                                      <a:lnTo>
                                        <a:pt x="20" y="120"/>
                                      </a:lnTo>
                                      <a:lnTo>
                                        <a:pt x="22" y="126"/>
                                      </a:lnTo>
                                      <a:lnTo>
                                        <a:pt x="20" y="130"/>
                                      </a:lnTo>
                                      <a:lnTo>
                                        <a:pt x="18" y="132"/>
                                      </a:lnTo>
                                      <a:lnTo>
                                        <a:pt x="18" y="132"/>
                                      </a:lnTo>
                                      <a:lnTo>
                                        <a:pt x="16" y="134"/>
                                      </a:lnTo>
                                      <a:lnTo>
                                        <a:pt x="18" y="138"/>
                                      </a:lnTo>
                                      <a:lnTo>
                                        <a:pt x="18" y="138"/>
                                      </a:lnTo>
                                      <a:lnTo>
                                        <a:pt x="22" y="142"/>
                                      </a:lnTo>
                                      <a:lnTo>
                                        <a:pt x="22" y="144"/>
                                      </a:lnTo>
                                      <a:lnTo>
                                        <a:pt x="20" y="146"/>
                                      </a:lnTo>
                                      <a:lnTo>
                                        <a:pt x="18" y="150"/>
                                      </a:lnTo>
                                      <a:lnTo>
                                        <a:pt x="18" y="150"/>
                                      </a:lnTo>
                                      <a:lnTo>
                                        <a:pt x="16" y="154"/>
                                      </a:lnTo>
                                      <a:lnTo>
                                        <a:pt x="14" y="156"/>
                                      </a:lnTo>
                                      <a:lnTo>
                                        <a:pt x="8" y="158"/>
                                      </a:lnTo>
                                      <a:lnTo>
                                        <a:pt x="6" y="160"/>
                                      </a:lnTo>
                                      <a:lnTo>
                                        <a:pt x="6" y="162"/>
                                      </a:lnTo>
                                      <a:lnTo>
                                        <a:pt x="6" y="164"/>
                                      </a:lnTo>
                                      <a:lnTo>
                                        <a:pt x="6" y="164"/>
                                      </a:lnTo>
                                      <a:lnTo>
                                        <a:pt x="14" y="170"/>
                                      </a:lnTo>
                                      <a:lnTo>
                                        <a:pt x="18" y="172"/>
                                      </a:lnTo>
                                      <a:lnTo>
                                        <a:pt x="20" y="174"/>
                                      </a:lnTo>
                                      <a:lnTo>
                                        <a:pt x="20" y="178"/>
                                      </a:lnTo>
                                      <a:lnTo>
                                        <a:pt x="20" y="178"/>
                                      </a:lnTo>
                                      <a:lnTo>
                                        <a:pt x="20" y="182"/>
                                      </a:lnTo>
                                      <a:lnTo>
                                        <a:pt x="22" y="182"/>
                                      </a:lnTo>
                                      <a:lnTo>
                                        <a:pt x="24" y="184"/>
                                      </a:lnTo>
                                      <a:lnTo>
                                        <a:pt x="28" y="188"/>
                                      </a:lnTo>
                                      <a:lnTo>
                                        <a:pt x="28" y="188"/>
                                      </a:lnTo>
                                      <a:lnTo>
                                        <a:pt x="32" y="192"/>
                                      </a:lnTo>
                                      <a:lnTo>
                                        <a:pt x="36" y="192"/>
                                      </a:lnTo>
                                      <a:lnTo>
                                        <a:pt x="40" y="192"/>
                                      </a:lnTo>
                                      <a:lnTo>
                                        <a:pt x="46" y="196"/>
                                      </a:lnTo>
                                      <a:lnTo>
                                        <a:pt x="46" y="196"/>
                                      </a:lnTo>
                                      <a:lnTo>
                                        <a:pt x="60" y="206"/>
                                      </a:lnTo>
                                      <a:lnTo>
                                        <a:pt x="64" y="208"/>
                                      </a:lnTo>
                                      <a:lnTo>
                                        <a:pt x="108" y="216"/>
                                      </a:lnTo>
                                      <a:lnTo>
                                        <a:pt x="116" y="226"/>
                                      </a:lnTo>
                                      <a:lnTo>
                                        <a:pt x="130" y="222"/>
                                      </a:lnTo>
                                      <a:lnTo>
                                        <a:pt x="130" y="222"/>
                                      </a:lnTo>
                                      <a:lnTo>
                                        <a:pt x="154" y="210"/>
                                      </a:lnTo>
                                      <a:lnTo>
                                        <a:pt x="154" y="210"/>
                                      </a:lnTo>
                                      <a:lnTo>
                                        <a:pt x="160" y="208"/>
                                      </a:lnTo>
                                      <a:lnTo>
                                        <a:pt x="166" y="208"/>
                                      </a:lnTo>
                                      <a:lnTo>
                                        <a:pt x="176" y="214"/>
                                      </a:lnTo>
                                      <a:lnTo>
                                        <a:pt x="176" y="214"/>
                                      </a:lnTo>
                                      <a:lnTo>
                                        <a:pt x="316" y="322"/>
                                      </a:lnTo>
                                      <a:lnTo>
                                        <a:pt x="332" y="322"/>
                                      </a:lnTo>
                                      <a:lnTo>
                                        <a:pt x="330" y="266"/>
                                      </a:lnTo>
                                      <a:lnTo>
                                        <a:pt x="330" y="266"/>
                                      </a:lnTo>
                                      <a:lnTo>
                                        <a:pt x="318" y="96"/>
                                      </a:lnTo>
                                      <a:lnTo>
                                        <a:pt x="318" y="96"/>
                                      </a:lnTo>
                                      <a:lnTo>
                                        <a:pt x="320" y="86"/>
                                      </a:lnTo>
                                      <a:lnTo>
                                        <a:pt x="320" y="82"/>
                                      </a:lnTo>
                                      <a:lnTo>
                                        <a:pt x="322" y="80"/>
                                      </a:lnTo>
                                      <a:lnTo>
                                        <a:pt x="318" y="76"/>
                                      </a:lnTo>
                                      <a:lnTo>
                                        <a:pt x="318" y="76"/>
                                      </a:lnTo>
                                      <a:lnTo>
                                        <a:pt x="316" y="74"/>
                                      </a:lnTo>
                                      <a:lnTo>
                                        <a:pt x="316" y="72"/>
                                      </a:lnTo>
                                      <a:lnTo>
                                        <a:pt x="320" y="66"/>
                                      </a:lnTo>
                                      <a:lnTo>
                                        <a:pt x="322" y="62"/>
                                      </a:lnTo>
                                      <a:lnTo>
                                        <a:pt x="322" y="60"/>
                                      </a:lnTo>
                                      <a:lnTo>
                                        <a:pt x="318" y="58"/>
                                      </a:lnTo>
                                      <a:lnTo>
                                        <a:pt x="318" y="58"/>
                                      </a:lnTo>
                                      <a:lnTo>
                                        <a:pt x="318" y="42"/>
                                      </a:lnTo>
                                      <a:lnTo>
                                        <a:pt x="320" y="32"/>
                                      </a:lnTo>
                                      <a:lnTo>
                                        <a:pt x="320" y="32"/>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5" name="Liechtenstein"/>
                                <p:cNvSpPr>
                                  <a:spLocks/>
                                </p:cNvSpPr>
                                <p:nvPr/>
                              </p:nvSpPr>
                              <p:spPr bwMode="auto">
                                <a:xfrm>
                                  <a:off x="6038310" y="1951554"/>
                                  <a:ext cx="9144" cy="15174"/>
                                </a:xfrm>
                                <a:custGeom>
                                  <a:avLst/>
                                  <a:gdLst/>
                                  <a:ahLst/>
                                  <a:cxnLst>
                                    <a:cxn ang="0">
                                      <a:pos x="6" y="0"/>
                                    </a:cxn>
                                    <a:cxn ang="0">
                                      <a:pos x="6" y="0"/>
                                    </a:cxn>
                                    <a:cxn ang="0">
                                      <a:pos x="4" y="0"/>
                                    </a:cxn>
                                    <a:cxn ang="0">
                                      <a:pos x="2" y="2"/>
                                    </a:cxn>
                                    <a:cxn ang="0">
                                      <a:pos x="2" y="2"/>
                                    </a:cxn>
                                    <a:cxn ang="0">
                                      <a:pos x="2" y="4"/>
                                    </a:cxn>
                                    <a:cxn ang="0">
                                      <a:pos x="2" y="4"/>
                                    </a:cxn>
                                    <a:cxn ang="0">
                                      <a:pos x="4" y="6"/>
                                    </a:cxn>
                                    <a:cxn ang="0">
                                      <a:pos x="4" y="6"/>
                                    </a:cxn>
                                    <a:cxn ang="0">
                                      <a:pos x="4" y="6"/>
                                    </a:cxn>
                                    <a:cxn ang="0">
                                      <a:pos x="4" y="6"/>
                                    </a:cxn>
                                    <a:cxn ang="0">
                                      <a:pos x="0" y="6"/>
                                    </a:cxn>
                                    <a:cxn ang="0">
                                      <a:pos x="0" y="6"/>
                                    </a:cxn>
                                    <a:cxn ang="0">
                                      <a:pos x="0" y="6"/>
                                    </a:cxn>
                                    <a:cxn ang="0">
                                      <a:pos x="0" y="6"/>
                                    </a:cxn>
                                    <a:cxn ang="0">
                                      <a:pos x="0" y="6"/>
                                    </a:cxn>
                                    <a:cxn ang="0">
                                      <a:pos x="0" y="6"/>
                                    </a:cxn>
                                    <a:cxn ang="0">
                                      <a:pos x="2" y="8"/>
                                    </a:cxn>
                                    <a:cxn ang="0">
                                      <a:pos x="6" y="10"/>
                                    </a:cxn>
                                    <a:cxn ang="0">
                                      <a:pos x="6" y="10"/>
                                    </a:cxn>
                                    <a:cxn ang="0">
                                      <a:pos x="8" y="10"/>
                                    </a:cxn>
                                    <a:cxn ang="0">
                                      <a:pos x="12" y="8"/>
                                    </a:cxn>
                                    <a:cxn ang="0">
                                      <a:pos x="12" y="8"/>
                                    </a:cxn>
                                    <a:cxn ang="0">
                                      <a:pos x="12" y="8"/>
                                    </a:cxn>
                                    <a:cxn ang="0">
                                      <a:pos x="12" y="6"/>
                                    </a:cxn>
                                    <a:cxn ang="0">
                                      <a:pos x="12" y="6"/>
                                    </a:cxn>
                                    <a:cxn ang="0">
                                      <a:pos x="12" y="4"/>
                                    </a:cxn>
                                    <a:cxn ang="0">
                                      <a:pos x="12" y="4"/>
                                    </a:cxn>
                                    <a:cxn ang="0">
                                      <a:pos x="12" y="2"/>
                                    </a:cxn>
                                    <a:cxn ang="0">
                                      <a:pos x="12" y="2"/>
                                    </a:cxn>
                                    <a:cxn ang="0">
                                      <a:pos x="12" y="0"/>
                                    </a:cxn>
                                    <a:cxn ang="0">
                                      <a:pos x="12" y="0"/>
                                    </a:cxn>
                                    <a:cxn ang="0">
                                      <a:pos x="10" y="0"/>
                                    </a:cxn>
                                    <a:cxn ang="0">
                                      <a:pos x="10" y="0"/>
                                    </a:cxn>
                                    <a:cxn ang="0">
                                      <a:pos x="6" y="0"/>
                                    </a:cxn>
                                    <a:cxn ang="0">
                                      <a:pos x="6" y="0"/>
                                    </a:cxn>
                                  </a:cxnLst>
                                  <a:rect l="0" t="0" r="r" b="b"/>
                                  <a:pathLst>
                                    <a:path w="12" h="10">
                                      <a:moveTo>
                                        <a:pt x="6" y="0"/>
                                      </a:moveTo>
                                      <a:lnTo>
                                        <a:pt x="6" y="0"/>
                                      </a:lnTo>
                                      <a:lnTo>
                                        <a:pt x="4" y="0"/>
                                      </a:lnTo>
                                      <a:lnTo>
                                        <a:pt x="2" y="2"/>
                                      </a:lnTo>
                                      <a:lnTo>
                                        <a:pt x="2" y="2"/>
                                      </a:lnTo>
                                      <a:lnTo>
                                        <a:pt x="2" y="4"/>
                                      </a:lnTo>
                                      <a:lnTo>
                                        <a:pt x="2" y="4"/>
                                      </a:lnTo>
                                      <a:lnTo>
                                        <a:pt x="4" y="6"/>
                                      </a:lnTo>
                                      <a:lnTo>
                                        <a:pt x="4" y="6"/>
                                      </a:lnTo>
                                      <a:lnTo>
                                        <a:pt x="4" y="6"/>
                                      </a:lnTo>
                                      <a:lnTo>
                                        <a:pt x="4" y="6"/>
                                      </a:lnTo>
                                      <a:lnTo>
                                        <a:pt x="0" y="6"/>
                                      </a:lnTo>
                                      <a:lnTo>
                                        <a:pt x="0" y="6"/>
                                      </a:lnTo>
                                      <a:lnTo>
                                        <a:pt x="0" y="6"/>
                                      </a:lnTo>
                                      <a:lnTo>
                                        <a:pt x="0" y="6"/>
                                      </a:lnTo>
                                      <a:lnTo>
                                        <a:pt x="0" y="6"/>
                                      </a:lnTo>
                                      <a:lnTo>
                                        <a:pt x="0" y="6"/>
                                      </a:lnTo>
                                      <a:lnTo>
                                        <a:pt x="2" y="8"/>
                                      </a:lnTo>
                                      <a:lnTo>
                                        <a:pt x="6" y="10"/>
                                      </a:lnTo>
                                      <a:lnTo>
                                        <a:pt x="6" y="10"/>
                                      </a:lnTo>
                                      <a:lnTo>
                                        <a:pt x="8" y="10"/>
                                      </a:lnTo>
                                      <a:lnTo>
                                        <a:pt x="12" y="8"/>
                                      </a:lnTo>
                                      <a:lnTo>
                                        <a:pt x="12" y="8"/>
                                      </a:lnTo>
                                      <a:lnTo>
                                        <a:pt x="12" y="8"/>
                                      </a:lnTo>
                                      <a:lnTo>
                                        <a:pt x="12" y="6"/>
                                      </a:lnTo>
                                      <a:lnTo>
                                        <a:pt x="12" y="6"/>
                                      </a:lnTo>
                                      <a:lnTo>
                                        <a:pt x="12" y="4"/>
                                      </a:lnTo>
                                      <a:lnTo>
                                        <a:pt x="12" y="4"/>
                                      </a:lnTo>
                                      <a:lnTo>
                                        <a:pt x="12" y="2"/>
                                      </a:lnTo>
                                      <a:lnTo>
                                        <a:pt x="12" y="2"/>
                                      </a:lnTo>
                                      <a:lnTo>
                                        <a:pt x="12" y="0"/>
                                      </a:lnTo>
                                      <a:lnTo>
                                        <a:pt x="12" y="0"/>
                                      </a:lnTo>
                                      <a:lnTo>
                                        <a:pt x="10" y="0"/>
                                      </a:lnTo>
                                      <a:lnTo>
                                        <a:pt x="10" y="0"/>
                                      </a:lnTo>
                                      <a:lnTo>
                                        <a:pt x="6" y="0"/>
                                      </a:lnTo>
                                      <a:lnTo>
                                        <a:pt x="6" y="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6" name="Macao SAR"/>
                                <p:cNvSpPr>
                                  <a:spLocks/>
                                </p:cNvSpPr>
                                <p:nvPr/>
                              </p:nvSpPr>
                              <p:spPr bwMode="black">
                                <a:xfrm>
                                  <a:off x="9283262" y="2712879"/>
                                  <a:ext cx="60032" cy="114351"/>
                                </a:xfrm>
                                <a:custGeom>
                                  <a:avLst/>
                                  <a:gdLst/>
                                  <a:ahLst/>
                                  <a:cxnLst/>
                                  <a:rect l="l" t="t" r="r" b="b"/>
                                  <a:pathLst>
                                    <a:path w="504048" h="961272">
                                      <a:moveTo>
                                        <a:pt x="252787" y="143227"/>
                                      </a:moveTo>
                                      <a:cubicBezTo>
                                        <a:pt x="208292" y="143227"/>
                                        <a:pt x="172221" y="179298"/>
                                        <a:pt x="172221" y="223793"/>
                                      </a:cubicBezTo>
                                      <a:cubicBezTo>
                                        <a:pt x="172221" y="268288"/>
                                        <a:pt x="208292" y="304359"/>
                                        <a:pt x="252787" y="304359"/>
                                      </a:cubicBezTo>
                                      <a:cubicBezTo>
                                        <a:pt x="297282" y="304359"/>
                                        <a:pt x="333353" y="268288"/>
                                        <a:pt x="333353" y="223793"/>
                                      </a:cubicBezTo>
                                      <a:cubicBezTo>
                                        <a:pt x="333353" y="179298"/>
                                        <a:pt x="297282" y="143227"/>
                                        <a:pt x="252787" y="143227"/>
                                      </a:cubicBezTo>
                                      <a:close/>
                                      <a:moveTo>
                                        <a:pt x="251531" y="0"/>
                                      </a:moveTo>
                                      <a:cubicBezTo>
                                        <a:pt x="390613" y="0"/>
                                        <a:pt x="504048" y="112858"/>
                                        <a:pt x="504048" y="252445"/>
                                      </a:cubicBezTo>
                                      <a:cubicBezTo>
                                        <a:pt x="504048" y="255415"/>
                                        <a:pt x="504048" y="258385"/>
                                        <a:pt x="504048" y="261355"/>
                                      </a:cubicBezTo>
                                      <a:cubicBezTo>
                                        <a:pt x="504048" y="278185"/>
                                        <a:pt x="502075" y="296005"/>
                                        <a:pt x="498130" y="314814"/>
                                      </a:cubicBezTo>
                                      <a:cubicBezTo>
                                        <a:pt x="498130" y="314814"/>
                                        <a:pt x="498130" y="314814"/>
                                        <a:pt x="250544" y="961272"/>
                                      </a:cubicBezTo>
                                      <a:cubicBezTo>
                                        <a:pt x="250544" y="961272"/>
                                        <a:pt x="250544" y="961272"/>
                                        <a:pt x="4932" y="314814"/>
                                      </a:cubicBezTo>
                                      <a:cubicBezTo>
                                        <a:pt x="1973" y="299965"/>
                                        <a:pt x="0" y="285115"/>
                                        <a:pt x="0" y="271255"/>
                                      </a:cubicBezTo>
                                      <a:cubicBezTo>
                                        <a:pt x="0" y="265315"/>
                                        <a:pt x="0" y="259375"/>
                                        <a:pt x="0" y="252445"/>
                                      </a:cubicBezTo>
                                      <a:cubicBezTo>
                                        <a:pt x="0" y="112858"/>
                                        <a:pt x="112449" y="0"/>
                                        <a:pt x="251531" y="0"/>
                                      </a:cubicBezTo>
                                      <a:close/>
                                    </a:path>
                                  </a:pathLst>
                                </a:custGeom>
                                <a:grpFill/>
                                <a:ln>
                                  <a:solidFill>
                                    <a:schemeClr val="tx1"/>
                                  </a:solid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629"/>
                                  <a:endParaRPr lang="en-US" spc="-92" dirty="0">
                                    <a:solidFill>
                                      <a:schemeClr val="tx1">
                                        <a:lumMod val="50000"/>
                                      </a:schemeClr>
                                    </a:solidFill>
                                    <a:latin typeface="Segoe Light" pitchFamily="34" charset="0"/>
                                  </a:endParaRPr>
                                </a:p>
                              </p:txBody>
                            </p:sp>
                            <p:sp>
                              <p:nvSpPr>
                                <p:cNvPr id="359" name="Ecuador"/>
                                <p:cNvSpPr>
                                  <a:spLocks/>
                                </p:cNvSpPr>
                                <p:nvPr/>
                              </p:nvSpPr>
                              <p:spPr bwMode="auto">
                                <a:xfrm>
                                  <a:off x="3184512" y="3649701"/>
                                  <a:ext cx="173146" cy="215473"/>
                                </a:xfrm>
                                <a:custGeom>
                                  <a:avLst/>
                                  <a:gdLst/>
                                  <a:ahLst/>
                                  <a:cxnLst>
                                    <a:cxn ang="0">
                                      <a:pos x="36" y="0"/>
                                    </a:cxn>
                                    <a:cxn ang="0">
                                      <a:pos x="30" y="4"/>
                                    </a:cxn>
                                    <a:cxn ang="0">
                                      <a:pos x="22" y="8"/>
                                    </a:cxn>
                                    <a:cxn ang="0">
                                      <a:pos x="20" y="10"/>
                                    </a:cxn>
                                    <a:cxn ang="0">
                                      <a:pos x="14" y="12"/>
                                    </a:cxn>
                                    <a:cxn ang="0">
                                      <a:pos x="12" y="14"/>
                                    </a:cxn>
                                    <a:cxn ang="0">
                                      <a:pos x="14" y="18"/>
                                    </a:cxn>
                                    <a:cxn ang="0">
                                      <a:pos x="14" y="24"/>
                                    </a:cxn>
                                    <a:cxn ang="0">
                                      <a:pos x="12" y="28"/>
                                    </a:cxn>
                                    <a:cxn ang="0">
                                      <a:pos x="12" y="32"/>
                                    </a:cxn>
                                    <a:cxn ang="0">
                                      <a:pos x="10" y="40"/>
                                    </a:cxn>
                                    <a:cxn ang="0">
                                      <a:pos x="0" y="64"/>
                                    </a:cxn>
                                    <a:cxn ang="0">
                                      <a:pos x="2" y="66"/>
                                    </a:cxn>
                                    <a:cxn ang="0">
                                      <a:pos x="4" y="66"/>
                                    </a:cxn>
                                    <a:cxn ang="0">
                                      <a:pos x="2" y="70"/>
                                    </a:cxn>
                                    <a:cxn ang="0">
                                      <a:pos x="4" y="70"/>
                                    </a:cxn>
                                    <a:cxn ang="0">
                                      <a:pos x="2" y="72"/>
                                    </a:cxn>
                                    <a:cxn ang="0">
                                      <a:pos x="0" y="78"/>
                                    </a:cxn>
                                    <a:cxn ang="0">
                                      <a:pos x="0" y="80"/>
                                    </a:cxn>
                                    <a:cxn ang="0">
                                      <a:pos x="2" y="84"/>
                                    </a:cxn>
                                    <a:cxn ang="0">
                                      <a:pos x="2" y="86"/>
                                    </a:cxn>
                                    <a:cxn ang="0">
                                      <a:pos x="4" y="88"/>
                                    </a:cxn>
                                    <a:cxn ang="0">
                                      <a:pos x="4" y="92"/>
                                    </a:cxn>
                                    <a:cxn ang="0">
                                      <a:pos x="2" y="92"/>
                                    </a:cxn>
                                    <a:cxn ang="0">
                                      <a:pos x="4" y="94"/>
                                    </a:cxn>
                                    <a:cxn ang="0">
                                      <a:pos x="6" y="96"/>
                                    </a:cxn>
                                    <a:cxn ang="0">
                                      <a:pos x="10" y="100"/>
                                    </a:cxn>
                                    <a:cxn ang="0">
                                      <a:pos x="12" y="94"/>
                                    </a:cxn>
                                    <a:cxn ang="0">
                                      <a:pos x="12" y="92"/>
                                    </a:cxn>
                                    <a:cxn ang="0">
                                      <a:pos x="16" y="90"/>
                                    </a:cxn>
                                    <a:cxn ang="0">
                                      <a:pos x="18" y="92"/>
                                    </a:cxn>
                                    <a:cxn ang="0">
                                      <a:pos x="20" y="96"/>
                                    </a:cxn>
                                    <a:cxn ang="0">
                                      <a:pos x="18" y="104"/>
                                    </a:cxn>
                                    <a:cxn ang="0">
                                      <a:pos x="10" y="118"/>
                                    </a:cxn>
                                    <a:cxn ang="0">
                                      <a:pos x="4" y="122"/>
                                    </a:cxn>
                                    <a:cxn ang="0">
                                      <a:pos x="2" y="130"/>
                                    </a:cxn>
                                    <a:cxn ang="0">
                                      <a:pos x="6" y="136"/>
                                    </a:cxn>
                                    <a:cxn ang="0">
                                      <a:pos x="14" y="134"/>
                                    </a:cxn>
                                    <a:cxn ang="0">
                                      <a:pos x="18" y="134"/>
                                    </a:cxn>
                                    <a:cxn ang="0">
                                      <a:pos x="28" y="140"/>
                                    </a:cxn>
                                    <a:cxn ang="0">
                                      <a:pos x="36" y="140"/>
                                    </a:cxn>
                                    <a:cxn ang="0">
                                      <a:pos x="40" y="136"/>
                                    </a:cxn>
                                    <a:cxn ang="0">
                                      <a:pos x="46" y="128"/>
                                    </a:cxn>
                                    <a:cxn ang="0">
                                      <a:pos x="46" y="120"/>
                                    </a:cxn>
                                    <a:cxn ang="0">
                                      <a:pos x="52" y="116"/>
                                    </a:cxn>
                                    <a:cxn ang="0">
                                      <a:pos x="58" y="110"/>
                                    </a:cxn>
                                    <a:cxn ang="0">
                                      <a:pos x="70" y="104"/>
                                    </a:cxn>
                                    <a:cxn ang="0">
                                      <a:pos x="84" y="96"/>
                                    </a:cxn>
                                    <a:cxn ang="0">
                                      <a:pos x="100" y="78"/>
                                    </a:cxn>
                                    <a:cxn ang="0">
                                      <a:pos x="108" y="68"/>
                                    </a:cxn>
                                    <a:cxn ang="0">
                                      <a:pos x="114" y="52"/>
                                    </a:cxn>
                                    <a:cxn ang="0">
                                      <a:pos x="112" y="36"/>
                                    </a:cxn>
                                    <a:cxn ang="0">
                                      <a:pos x="88" y="24"/>
                                    </a:cxn>
                                    <a:cxn ang="0">
                                      <a:pos x="88" y="26"/>
                                    </a:cxn>
                                    <a:cxn ang="0">
                                      <a:pos x="86" y="26"/>
                                    </a:cxn>
                                    <a:cxn ang="0">
                                      <a:pos x="78" y="26"/>
                                    </a:cxn>
                                    <a:cxn ang="0">
                                      <a:pos x="64" y="18"/>
                                    </a:cxn>
                                    <a:cxn ang="0">
                                      <a:pos x="60" y="12"/>
                                    </a:cxn>
                                    <a:cxn ang="0">
                                      <a:pos x="36" y="0"/>
                                    </a:cxn>
                                  </a:cxnLst>
                                  <a:rect l="0" t="0" r="r" b="b"/>
                                  <a:pathLst>
                                    <a:path w="114" h="142">
                                      <a:moveTo>
                                        <a:pt x="36" y="0"/>
                                      </a:moveTo>
                                      <a:lnTo>
                                        <a:pt x="36" y="0"/>
                                      </a:lnTo>
                                      <a:lnTo>
                                        <a:pt x="32" y="2"/>
                                      </a:lnTo>
                                      <a:lnTo>
                                        <a:pt x="30" y="4"/>
                                      </a:lnTo>
                                      <a:lnTo>
                                        <a:pt x="26" y="6"/>
                                      </a:lnTo>
                                      <a:lnTo>
                                        <a:pt x="22" y="8"/>
                                      </a:lnTo>
                                      <a:lnTo>
                                        <a:pt x="22" y="8"/>
                                      </a:lnTo>
                                      <a:lnTo>
                                        <a:pt x="20" y="10"/>
                                      </a:lnTo>
                                      <a:lnTo>
                                        <a:pt x="16" y="10"/>
                                      </a:lnTo>
                                      <a:lnTo>
                                        <a:pt x="14" y="12"/>
                                      </a:lnTo>
                                      <a:lnTo>
                                        <a:pt x="12" y="14"/>
                                      </a:lnTo>
                                      <a:lnTo>
                                        <a:pt x="12" y="14"/>
                                      </a:lnTo>
                                      <a:lnTo>
                                        <a:pt x="12" y="16"/>
                                      </a:lnTo>
                                      <a:lnTo>
                                        <a:pt x="14" y="18"/>
                                      </a:lnTo>
                                      <a:lnTo>
                                        <a:pt x="16" y="18"/>
                                      </a:lnTo>
                                      <a:lnTo>
                                        <a:pt x="14" y="24"/>
                                      </a:lnTo>
                                      <a:lnTo>
                                        <a:pt x="14" y="24"/>
                                      </a:lnTo>
                                      <a:lnTo>
                                        <a:pt x="12" y="28"/>
                                      </a:lnTo>
                                      <a:lnTo>
                                        <a:pt x="12" y="30"/>
                                      </a:lnTo>
                                      <a:lnTo>
                                        <a:pt x="12" y="32"/>
                                      </a:lnTo>
                                      <a:lnTo>
                                        <a:pt x="10" y="40"/>
                                      </a:lnTo>
                                      <a:lnTo>
                                        <a:pt x="10" y="40"/>
                                      </a:lnTo>
                                      <a:lnTo>
                                        <a:pt x="0" y="58"/>
                                      </a:lnTo>
                                      <a:lnTo>
                                        <a:pt x="0" y="64"/>
                                      </a:lnTo>
                                      <a:lnTo>
                                        <a:pt x="0" y="64"/>
                                      </a:lnTo>
                                      <a:lnTo>
                                        <a:pt x="2" y="66"/>
                                      </a:lnTo>
                                      <a:lnTo>
                                        <a:pt x="2" y="66"/>
                                      </a:lnTo>
                                      <a:lnTo>
                                        <a:pt x="4" y="66"/>
                                      </a:lnTo>
                                      <a:lnTo>
                                        <a:pt x="2" y="68"/>
                                      </a:lnTo>
                                      <a:lnTo>
                                        <a:pt x="2" y="70"/>
                                      </a:lnTo>
                                      <a:lnTo>
                                        <a:pt x="4" y="70"/>
                                      </a:lnTo>
                                      <a:lnTo>
                                        <a:pt x="4" y="70"/>
                                      </a:lnTo>
                                      <a:lnTo>
                                        <a:pt x="2" y="72"/>
                                      </a:lnTo>
                                      <a:lnTo>
                                        <a:pt x="2" y="72"/>
                                      </a:lnTo>
                                      <a:lnTo>
                                        <a:pt x="2" y="74"/>
                                      </a:lnTo>
                                      <a:lnTo>
                                        <a:pt x="0" y="78"/>
                                      </a:lnTo>
                                      <a:lnTo>
                                        <a:pt x="0" y="78"/>
                                      </a:lnTo>
                                      <a:lnTo>
                                        <a:pt x="0" y="80"/>
                                      </a:lnTo>
                                      <a:lnTo>
                                        <a:pt x="0" y="82"/>
                                      </a:lnTo>
                                      <a:lnTo>
                                        <a:pt x="2" y="84"/>
                                      </a:lnTo>
                                      <a:lnTo>
                                        <a:pt x="2" y="86"/>
                                      </a:lnTo>
                                      <a:lnTo>
                                        <a:pt x="2" y="86"/>
                                      </a:lnTo>
                                      <a:lnTo>
                                        <a:pt x="2" y="88"/>
                                      </a:lnTo>
                                      <a:lnTo>
                                        <a:pt x="4" y="88"/>
                                      </a:lnTo>
                                      <a:lnTo>
                                        <a:pt x="6" y="90"/>
                                      </a:lnTo>
                                      <a:lnTo>
                                        <a:pt x="4" y="92"/>
                                      </a:lnTo>
                                      <a:lnTo>
                                        <a:pt x="4" y="92"/>
                                      </a:lnTo>
                                      <a:lnTo>
                                        <a:pt x="2" y="92"/>
                                      </a:lnTo>
                                      <a:lnTo>
                                        <a:pt x="2" y="94"/>
                                      </a:lnTo>
                                      <a:lnTo>
                                        <a:pt x="4" y="94"/>
                                      </a:lnTo>
                                      <a:lnTo>
                                        <a:pt x="6" y="96"/>
                                      </a:lnTo>
                                      <a:lnTo>
                                        <a:pt x="6" y="96"/>
                                      </a:lnTo>
                                      <a:lnTo>
                                        <a:pt x="8" y="100"/>
                                      </a:lnTo>
                                      <a:lnTo>
                                        <a:pt x="10" y="100"/>
                                      </a:lnTo>
                                      <a:lnTo>
                                        <a:pt x="12" y="98"/>
                                      </a:lnTo>
                                      <a:lnTo>
                                        <a:pt x="12" y="94"/>
                                      </a:lnTo>
                                      <a:lnTo>
                                        <a:pt x="12" y="94"/>
                                      </a:lnTo>
                                      <a:lnTo>
                                        <a:pt x="12" y="92"/>
                                      </a:lnTo>
                                      <a:lnTo>
                                        <a:pt x="14" y="90"/>
                                      </a:lnTo>
                                      <a:lnTo>
                                        <a:pt x="16" y="90"/>
                                      </a:lnTo>
                                      <a:lnTo>
                                        <a:pt x="18" y="92"/>
                                      </a:lnTo>
                                      <a:lnTo>
                                        <a:pt x="18" y="92"/>
                                      </a:lnTo>
                                      <a:lnTo>
                                        <a:pt x="18" y="94"/>
                                      </a:lnTo>
                                      <a:lnTo>
                                        <a:pt x="20" y="96"/>
                                      </a:lnTo>
                                      <a:lnTo>
                                        <a:pt x="22" y="98"/>
                                      </a:lnTo>
                                      <a:lnTo>
                                        <a:pt x="18" y="104"/>
                                      </a:lnTo>
                                      <a:lnTo>
                                        <a:pt x="18" y="104"/>
                                      </a:lnTo>
                                      <a:lnTo>
                                        <a:pt x="10" y="118"/>
                                      </a:lnTo>
                                      <a:lnTo>
                                        <a:pt x="8" y="122"/>
                                      </a:lnTo>
                                      <a:lnTo>
                                        <a:pt x="4" y="122"/>
                                      </a:lnTo>
                                      <a:lnTo>
                                        <a:pt x="4" y="122"/>
                                      </a:lnTo>
                                      <a:lnTo>
                                        <a:pt x="2" y="130"/>
                                      </a:lnTo>
                                      <a:lnTo>
                                        <a:pt x="4" y="134"/>
                                      </a:lnTo>
                                      <a:lnTo>
                                        <a:pt x="6" y="136"/>
                                      </a:lnTo>
                                      <a:lnTo>
                                        <a:pt x="14" y="134"/>
                                      </a:lnTo>
                                      <a:lnTo>
                                        <a:pt x="14" y="134"/>
                                      </a:lnTo>
                                      <a:lnTo>
                                        <a:pt x="16" y="134"/>
                                      </a:lnTo>
                                      <a:lnTo>
                                        <a:pt x="18" y="134"/>
                                      </a:lnTo>
                                      <a:lnTo>
                                        <a:pt x="24" y="138"/>
                                      </a:lnTo>
                                      <a:lnTo>
                                        <a:pt x="28" y="140"/>
                                      </a:lnTo>
                                      <a:lnTo>
                                        <a:pt x="32" y="142"/>
                                      </a:lnTo>
                                      <a:lnTo>
                                        <a:pt x="36" y="140"/>
                                      </a:lnTo>
                                      <a:lnTo>
                                        <a:pt x="40" y="136"/>
                                      </a:lnTo>
                                      <a:lnTo>
                                        <a:pt x="40" y="136"/>
                                      </a:lnTo>
                                      <a:lnTo>
                                        <a:pt x="44" y="132"/>
                                      </a:lnTo>
                                      <a:lnTo>
                                        <a:pt x="46" y="128"/>
                                      </a:lnTo>
                                      <a:lnTo>
                                        <a:pt x="46" y="124"/>
                                      </a:lnTo>
                                      <a:lnTo>
                                        <a:pt x="46" y="120"/>
                                      </a:lnTo>
                                      <a:lnTo>
                                        <a:pt x="52" y="116"/>
                                      </a:lnTo>
                                      <a:lnTo>
                                        <a:pt x="52" y="116"/>
                                      </a:lnTo>
                                      <a:lnTo>
                                        <a:pt x="56" y="112"/>
                                      </a:lnTo>
                                      <a:lnTo>
                                        <a:pt x="58" y="110"/>
                                      </a:lnTo>
                                      <a:lnTo>
                                        <a:pt x="60" y="108"/>
                                      </a:lnTo>
                                      <a:lnTo>
                                        <a:pt x="70" y="104"/>
                                      </a:lnTo>
                                      <a:lnTo>
                                        <a:pt x="70" y="104"/>
                                      </a:lnTo>
                                      <a:lnTo>
                                        <a:pt x="84" y="96"/>
                                      </a:lnTo>
                                      <a:lnTo>
                                        <a:pt x="94" y="88"/>
                                      </a:lnTo>
                                      <a:lnTo>
                                        <a:pt x="100" y="78"/>
                                      </a:lnTo>
                                      <a:lnTo>
                                        <a:pt x="108" y="68"/>
                                      </a:lnTo>
                                      <a:lnTo>
                                        <a:pt x="108" y="68"/>
                                      </a:lnTo>
                                      <a:lnTo>
                                        <a:pt x="114" y="60"/>
                                      </a:lnTo>
                                      <a:lnTo>
                                        <a:pt x="114" y="52"/>
                                      </a:lnTo>
                                      <a:lnTo>
                                        <a:pt x="112" y="36"/>
                                      </a:lnTo>
                                      <a:lnTo>
                                        <a:pt x="112" y="36"/>
                                      </a:lnTo>
                                      <a:lnTo>
                                        <a:pt x="94" y="26"/>
                                      </a:lnTo>
                                      <a:lnTo>
                                        <a:pt x="88" y="24"/>
                                      </a:lnTo>
                                      <a:lnTo>
                                        <a:pt x="86" y="24"/>
                                      </a:lnTo>
                                      <a:lnTo>
                                        <a:pt x="88" y="26"/>
                                      </a:lnTo>
                                      <a:lnTo>
                                        <a:pt x="88" y="26"/>
                                      </a:lnTo>
                                      <a:lnTo>
                                        <a:pt x="86" y="26"/>
                                      </a:lnTo>
                                      <a:lnTo>
                                        <a:pt x="86" y="28"/>
                                      </a:lnTo>
                                      <a:lnTo>
                                        <a:pt x="78" y="26"/>
                                      </a:lnTo>
                                      <a:lnTo>
                                        <a:pt x="70" y="22"/>
                                      </a:lnTo>
                                      <a:lnTo>
                                        <a:pt x="64" y="18"/>
                                      </a:lnTo>
                                      <a:lnTo>
                                        <a:pt x="64" y="18"/>
                                      </a:lnTo>
                                      <a:lnTo>
                                        <a:pt x="60" y="12"/>
                                      </a:lnTo>
                                      <a:lnTo>
                                        <a:pt x="54" y="8"/>
                                      </a:lnTo>
                                      <a:lnTo>
                                        <a:pt x="36" y="0"/>
                                      </a:lnTo>
                                      <a:lnTo>
                                        <a:pt x="36" y="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0" name="Egypt"/>
                                <p:cNvSpPr>
                                  <a:spLocks noEditPoints="1"/>
                                </p:cNvSpPr>
                                <p:nvPr/>
                              </p:nvSpPr>
                              <p:spPr bwMode="auto">
                                <a:xfrm>
                                  <a:off x="6532662" y="2471359"/>
                                  <a:ext cx="379705" cy="358110"/>
                                </a:xfrm>
                                <a:custGeom>
                                  <a:avLst/>
                                  <a:gdLst/>
                                  <a:ahLst/>
                                  <a:cxnLst>
                                    <a:cxn ang="0">
                                      <a:pos x="14" y="234"/>
                                    </a:cxn>
                                    <a:cxn ang="0">
                                      <a:pos x="216" y="234"/>
                                    </a:cxn>
                                    <a:cxn ang="0">
                                      <a:pos x="228" y="236"/>
                                    </a:cxn>
                                    <a:cxn ang="0">
                                      <a:pos x="232" y="234"/>
                                    </a:cxn>
                                    <a:cxn ang="0">
                                      <a:pos x="232" y="230"/>
                                    </a:cxn>
                                    <a:cxn ang="0">
                                      <a:pos x="240" y="226"/>
                                    </a:cxn>
                                    <a:cxn ang="0">
                                      <a:pos x="248" y="224"/>
                                    </a:cxn>
                                    <a:cxn ang="0">
                                      <a:pos x="246" y="216"/>
                                    </a:cxn>
                                    <a:cxn ang="0">
                                      <a:pos x="242" y="204"/>
                                    </a:cxn>
                                    <a:cxn ang="0">
                                      <a:pos x="238" y="196"/>
                                    </a:cxn>
                                    <a:cxn ang="0">
                                      <a:pos x="244" y="194"/>
                                    </a:cxn>
                                    <a:cxn ang="0">
                                      <a:pos x="242" y="190"/>
                                    </a:cxn>
                                    <a:cxn ang="0">
                                      <a:pos x="222" y="164"/>
                                    </a:cxn>
                                    <a:cxn ang="0">
                                      <a:pos x="212" y="150"/>
                                    </a:cxn>
                                    <a:cxn ang="0">
                                      <a:pos x="194" y="122"/>
                                    </a:cxn>
                                    <a:cxn ang="0">
                                      <a:pos x="192" y="114"/>
                                    </a:cxn>
                                    <a:cxn ang="0">
                                      <a:pos x="194" y="112"/>
                                    </a:cxn>
                                    <a:cxn ang="0">
                                      <a:pos x="184" y="100"/>
                                    </a:cxn>
                                    <a:cxn ang="0">
                                      <a:pos x="182" y="92"/>
                                    </a:cxn>
                                    <a:cxn ang="0">
                                      <a:pos x="166" y="70"/>
                                    </a:cxn>
                                    <a:cxn ang="0">
                                      <a:pos x="164" y="62"/>
                                    </a:cxn>
                                    <a:cxn ang="0">
                                      <a:pos x="160" y="50"/>
                                    </a:cxn>
                                    <a:cxn ang="0">
                                      <a:pos x="156" y="34"/>
                                    </a:cxn>
                                    <a:cxn ang="0">
                                      <a:pos x="158" y="38"/>
                                    </a:cxn>
                                    <a:cxn ang="0">
                                      <a:pos x="164" y="48"/>
                                    </a:cxn>
                                    <a:cxn ang="0">
                                      <a:pos x="174" y="60"/>
                                    </a:cxn>
                                    <a:cxn ang="0">
                                      <a:pos x="182" y="72"/>
                                    </a:cxn>
                                    <a:cxn ang="0">
                                      <a:pos x="196" y="92"/>
                                    </a:cxn>
                                    <a:cxn ang="0">
                                      <a:pos x="206" y="98"/>
                                    </a:cxn>
                                    <a:cxn ang="0">
                                      <a:pos x="212" y="88"/>
                                    </a:cxn>
                                    <a:cxn ang="0">
                                      <a:pos x="210" y="74"/>
                                    </a:cxn>
                                    <a:cxn ang="0">
                                      <a:pos x="212" y="62"/>
                                    </a:cxn>
                                    <a:cxn ang="0">
                                      <a:pos x="214" y="50"/>
                                    </a:cxn>
                                    <a:cxn ang="0">
                                      <a:pos x="194" y="18"/>
                                    </a:cxn>
                                    <a:cxn ang="0">
                                      <a:pos x="198" y="10"/>
                                    </a:cxn>
                                    <a:cxn ang="0">
                                      <a:pos x="192" y="10"/>
                                    </a:cxn>
                                    <a:cxn ang="0">
                                      <a:pos x="178" y="16"/>
                                    </a:cxn>
                                    <a:cxn ang="0">
                                      <a:pos x="164" y="14"/>
                                    </a:cxn>
                                    <a:cxn ang="0">
                                      <a:pos x="138" y="8"/>
                                    </a:cxn>
                                    <a:cxn ang="0">
                                      <a:pos x="126" y="8"/>
                                    </a:cxn>
                                    <a:cxn ang="0">
                                      <a:pos x="112" y="8"/>
                                    </a:cxn>
                                    <a:cxn ang="0">
                                      <a:pos x="104" y="12"/>
                                    </a:cxn>
                                    <a:cxn ang="0">
                                      <a:pos x="100" y="16"/>
                                    </a:cxn>
                                    <a:cxn ang="0">
                                      <a:pos x="90" y="22"/>
                                    </a:cxn>
                                    <a:cxn ang="0">
                                      <a:pos x="82" y="18"/>
                                    </a:cxn>
                                    <a:cxn ang="0">
                                      <a:pos x="72" y="16"/>
                                    </a:cxn>
                                    <a:cxn ang="0">
                                      <a:pos x="68" y="14"/>
                                    </a:cxn>
                                    <a:cxn ang="0">
                                      <a:pos x="62" y="14"/>
                                    </a:cxn>
                                    <a:cxn ang="0">
                                      <a:pos x="44" y="6"/>
                                    </a:cxn>
                                    <a:cxn ang="0">
                                      <a:pos x="22" y="4"/>
                                    </a:cxn>
                                    <a:cxn ang="0">
                                      <a:pos x="10" y="6"/>
                                    </a:cxn>
                                    <a:cxn ang="0">
                                      <a:pos x="2" y="10"/>
                                    </a:cxn>
                                    <a:cxn ang="0">
                                      <a:pos x="6" y="28"/>
                                    </a:cxn>
                                    <a:cxn ang="0">
                                      <a:pos x="0" y="40"/>
                                    </a:cxn>
                                    <a:cxn ang="0">
                                      <a:pos x="2" y="44"/>
                                    </a:cxn>
                                    <a:cxn ang="0">
                                      <a:pos x="4" y="54"/>
                                    </a:cxn>
                                    <a:cxn ang="0">
                                      <a:pos x="14" y="234"/>
                                    </a:cxn>
                                  </a:cxnLst>
                                  <a:rect l="0" t="0" r="r" b="b"/>
                                  <a:pathLst>
                                    <a:path w="250" h="236">
                                      <a:moveTo>
                                        <a:pt x="14" y="234"/>
                                      </a:moveTo>
                                      <a:lnTo>
                                        <a:pt x="216" y="234"/>
                                      </a:lnTo>
                                      <a:lnTo>
                                        <a:pt x="14" y="234"/>
                                      </a:lnTo>
                                      <a:lnTo>
                                        <a:pt x="14" y="234"/>
                                      </a:lnTo>
                                      <a:close/>
                                      <a:moveTo>
                                        <a:pt x="14" y="234"/>
                                      </a:moveTo>
                                      <a:lnTo>
                                        <a:pt x="216" y="234"/>
                                      </a:lnTo>
                                      <a:lnTo>
                                        <a:pt x="216" y="234"/>
                                      </a:lnTo>
                                      <a:lnTo>
                                        <a:pt x="222" y="236"/>
                                      </a:lnTo>
                                      <a:lnTo>
                                        <a:pt x="228" y="236"/>
                                      </a:lnTo>
                                      <a:lnTo>
                                        <a:pt x="232" y="236"/>
                                      </a:lnTo>
                                      <a:lnTo>
                                        <a:pt x="232" y="234"/>
                                      </a:lnTo>
                                      <a:lnTo>
                                        <a:pt x="232" y="234"/>
                                      </a:lnTo>
                                      <a:lnTo>
                                        <a:pt x="232" y="234"/>
                                      </a:lnTo>
                                      <a:lnTo>
                                        <a:pt x="230" y="232"/>
                                      </a:lnTo>
                                      <a:lnTo>
                                        <a:pt x="232" y="230"/>
                                      </a:lnTo>
                                      <a:lnTo>
                                        <a:pt x="236" y="230"/>
                                      </a:lnTo>
                                      <a:lnTo>
                                        <a:pt x="240" y="226"/>
                                      </a:lnTo>
                                      <a:lnTo>
                                        <a:pt x="240" y="226"/>
                                      </a:lnTo>
                                      <a:lnTo>
                                        <a:pt x="242" y="224"/>
                                      </a:lnTo>
                                      <a:lnTo>
                                        <a:pt x="244" y="222"/>
                                      </a:lnTo>
                                      <a:lnTo>
                                        <a:pt x="248" y="224"/>
                                      </a:lnTo>
                                      <a:lnTo>
                                        <a:pt x="250" y="220"/>
                                      </a:lnTo>
                                      <a:lnTo>
                                        <a:pt x="250" y="220"/>
                                      </a:lnTo>
                                      <a:lnTo>
                                        <a:pt x="246" y="216"/>
                                      </a:lnTo>
                                      <a:lnTo>
                                        <a:pt x="246" y="214"/>
                                      </a:lnTo>
                                      <a:lnTo>
                                        <a:pt x="246" y="212"/>
                                      </a:lnTo>
                                      <a:lnTo>
                                        <a:pt x="242" y="204"/>
                                      </a:lnTo>
                                      <a:lnTo>
                                        <a:pt x="242" y="204"/>
                                      </a:lnTo>
                                      <a:lnTo>
                                        <a:pt x="238" y="200"/>
                                      </a:lnTo>
                                      <a:lnTo>
                                        <a:pt x="238" y="196"/>
                                      </a:lnTo>
                                      <a:lnTo>
                                        <a:pt x="238" y="196"/>
                                      </a:lnTo>
                                      <a:lnTo>
                                        <a:pt x="240" y="196"/>
                                      </a:lnTo>
                                      <a:lnTo>
                                        <a:pt x="244" y="194"/>
                                      </a:lnTo>
                                      <a:lnTo>
                                        <a:pt x="244" y="194"/>
                                      </a:lnTo>
                                      <a:lnTo>
                                        <a:pt x="242" y="190"/>
                                      </a:lnTo>
                                      <a:lnTo>
                                        <a:pt x="242" y="190"/>
                                      </a:lnTo>
                                      <a:lnTo>
                                        <a:pt x="230" y="178"/>
                                      </a:lnTo>
                                      <a:lnTo>
                                        <a:pt x="224" y="172"/>
                                      </a:lnTo>
                                      <a:lnTo>
                                        <a:pt x="222" y="164"/>
                                      </a:lnTo>
                                      <a:lnTo>
                                        <a:pt x="222" y="164"/>
                                      </a:lnTo>
                                      <a:lnTo>
                                        <a:pt x="218" y="156"/>
                                      </a:lnTo>
                                      <a:lnTo>
                                        <a:pt x="212" y="150"/>
                                      </a:lnTo>
                                      <a:lnTo>
                                        <a:pt x="204" y="140"/>
                                      </a:lnTo>
                                      <a:lnTo>
                                        <a:pt x="194" y="122"/>
                                      </a:lnTo>
                                      <a:lnTo>
                                        <a:pt x="194" y="122"/>
                                      </a:lnTo>
                                      <a:lnTo>
                                        <a:pt x="192" y="116"/>
                                      </a:lnTo>
                                      <a:lnTo>
                                        <a:pt x="192" y="114"/>
                                      </a:lnTo>
                                      <a:lnTo>
                                        <a:pt x="192" y="114"/>
                                      </a:lnTo>
                                      <a:lnTo>
                                        <a:pt x="194" y="112"/>
                                      </a:lnTo>
                                      <a:lnTo>
                                        <a:pt x="194" y="112"/>
                                      </a:lnTo>
                                      <a:lnTo>
                                        <a:pt x="194" y="112"/>
                                      </a:lnTo>
                                      <a:lnTo>
                                        <a:pt x="190" y="106"/>
                                      </a:lnTo>
                                      <a:lnTo>
                                        <a:pt x="190" y="106"/>
                                      </a:lnTo>
                                      <a:lnTo>
                                        <a:pt x="184" y="100"/>
                                      </a:lnTo>
                                      <a:lnTo>
                                        <a:pt x="184" y="98"/>
                                      </a:lnTo>
                                      <a:lnTo>
                                        <a:pt x="186" y="98"/>
                                      </a:lnTo>
                                      <a:lnTo>
                                        <a:pt x="182" y="92"/>
                                      </a:lnTo>
                                      <a:lnTo>
                                        <a:pt x="182" y="92"/>
                                      </a:lnTo>
                                      <a:lnTo>
                                        <a:pt x="172" y="80"/>
                                      </a:lnTo>
                                      <a:lnTo>
                                        <a:pt x="166" y="70"/>
                                      </a:lnTo>
                                      <a:lnTo>
                                        <a:pt x="166" y="70"/>
                                      </a:lnTo>
                                      <a:lnTo>
                                        <a:pt x="164" y="66"/>
                                      </a:lnTo>
                                      <a:lnTo>
                                        <a:pt x="164" y="62"/>
                                      </a:lnTo>
                                      <a:lnTo>
                                        <a:pt x="164" y="58"/>
                                      </a:lnTo>
                                      <a:lnTo>
                                        <a:pt x="160" y="50"/>
                                      </a:lnTo>
                                      <a:lnTo>
                                        <a:pt x="160" y="50"/>
                                      </a:lnTo>
                                      <a:lnTo>
                                        <a:pt x="156" y="44"/>
                                      </a:lnTo>
                                      <a:lnTo>
                                        <a:pt x="156" y="40"/>
                                      </a:lnTo>
                                      <a:lnTo>
                                        <a:pt x="156" y="34"/>
                                      </a:lnTo>
                                      <a:lnTo>
                                        <a:pt x="152" y="26"/>
                                      </a:lnTo>
                                      <a:lnTo>
                                        <a:pt x="152" y="26"/>
                                      </a:lnTo>
                                      <a:lnTo>
                                        <a:pt x="158" y="38"/>
                                      </a:lnTo>
                                      <a:lnTo>
                                        <a:pt x="160" y="44"/>
                                      </a:lnTo>
                                      <a:lnTo>
                                        <a:pt x="164" y="48"/>
                                      </a:lnTo>
                                      <a:lnTo>
                                        <a:pt x="164" y="48"/>
                                      </a:lnTo>
                                      <a:lnTo>
                                        <a:pt x="168" y="52"/>
                                      </a:lnTo>
                                      <a:lnTo>
                                        <a:pt x="170" y="56"/>
                                      </a:lnTo>
                                      <a:lnTo>
                                        <a:pt x="174" y="60"/>
                                      </a:lnTo>
                                      <a:lnTo>
                                        <a:pt x="178" y="66"/>
                                      </a:lnTo>
                                      <a:lnTo>
                                        <a:pt x="178" y="66"/>
                                      </a:lnTo>
                                      <a:lnTo>
                                        <a:pt x="182" y="72"/>
                                      </a:lnTo>
                                      <a:lnTo>
                                        <a:pt x="186" y="78"/>
                                      </a:lnTo>
                                      <a:lnTo>
                                        <a:pt x="190" y="84"/>
                                      </a:lnTo>
                                      <a:lnTo>
                                        <a:pt x="196" y="92"/>
                                      </a:lnTo>
                                      <a:lnTo>
                                        <a:pt x="196" y="92"/>
                                      </a:lnTo>
                                      <a:lnTo>
                                        <a:pt x="204" y="100"/>
                                      </a:lnTo>
                                      <a:lnTo>
                                        <a:pt x="206" y="98"/>
                                      </a:lnTo>
                                      <a:lnTo>
                                        <a:pt x="210" y="94"/>
                                      </a:lnTo>
                                      <a:lnTo>
                                        <a:pt x="210" y="94"/>
                                      </a:lnTo>
                                      <a:lnTo>
                                        <a:pt x="212" y="88"/>
                                      </a:lnTo>
                                      <a:lnTo>
                                        <a:pt x="212" y="84"/>
                                      </a:lnTo>
                                      <a:lnTo>
                                        <a:pt x="210" y="80"/>
                                      </a:lnTo>
                                      <a:lnTo>
                                        <a:pt x="210" y="74"/>
                                      </a:lnTo>
                                      <a:lnTo>
                                        <a:pt x="210" y="74"/>
                                      </a:lnTo>
                                      <a:lnTo>
                                        <a:pt x="212" y="66"/>
                                      </a:lnTo>
                                      <a:lnTo>
                                        <a:pt x="212" y="62"/>
                                      </a:lnTo>
                                      <a:lnTo>
                                        <a:pt x="212" y="56"/>
                                      </a:lnTo>
                                      <a:lnTo>
                                        <a:pt x="214" y="50"/>
                                      </a:lnTo>
                                      <a:lnTo>
                                        <a:pt x="214" y="50"/>
                                      </a:lnTo>
                                      <a:lnTo>
                                        <a:pt x="196" y="20"/>
                                      </a:lnTo>
                                      <a:lnTo>
                                        <a:pt x="196" y="20"/>
                                      </a:lnTo>
                                      <a:lnTo>
                                        <a:pt x="194" y="18"/>
                                      </a:lnTo>
                                      <a:lnTo>
                                        <a:pt x="194" y="14"/>
                                      </a:lnTo>
                                      <a:lnTo>
                                        <a:pt x="196" y="12"/>
                                      </a:lnTo>
                                      <a:lnTo>
                                        <a:pt x="198" y="10"/>
                                      </a:lnTo>
                                      <a:lnTo>
                                        <a:pt x="196" y="6"/>
                                      </a:lnTo>
                                      <a:lnTo>
                                        <a:pt x="196" y="6"/>
                                      </a:lnTo>
                                      <a:lnTo>
                                        <a:pt x="192" y="10"/>
                                      </a:lnTo>
                                      <a:lnTo>
                                        <a:pt x="186" y="14"/>
                                      </a:lnTo>
                                      <a:lnTo>
                                        <a:pt x="182" y="16"/>
                                      </a:lnTo>
                                      <a:lnTo>
                                        <a:pt x="178" y="16"/>
                                      </a:lnTo>
                                      <a:lnTo>
                                        <a:pt x="170" y="14"/>
                                      </a:lnTo>
                                      <a:lnTo>
                                        <a:pt x="164" y="14"/>
                                      </a:lnTo>
                                      <a:lnTo>
                                        <a:pt x="164" y="14"/>
                                      </a:lnTo>
                                      <a:lnTo>
                                        <a:pt x="150" y="12"/>
                                      </a:lnTo>
                                      <a:lnTo>
                                        <a:pt x="138" y="8"/>
                                      </a:lnTo>
                                      <a:lnTo>
                                        <a:pt x="138" y="8"/>
                                      </a:lnTo>
                                      <a:lnTo>
                                        <a:pt x="132" y="6"/>
                                      </a:lnTo>
                                      <a:lnTo>
                                        <a:pt x="130" y="8"/>
                                      </a:lnTo>
                                      <a:lnTo>
                                        <a:pt x="126" y="8"/>
                                      </a:lnTo>
                                      <a:lnTo>
                                        <a:pt x="122" y="6"/>
                                      </a:lnTo>
                                      <a:lnTo>
                                        <a:pt x="122" y="6"/>
                                      </a:lnTo>
                                      <a:lnTo>
                                        <a:pt x="112" y="8"/>
                                      </a:lnTo>
                                      <a:lnTo>
                                        <a:pt x="106" y="10"/>
                                      </a:lnTo>
                                      <a:lnTo>
                                        <a:pt x="104" y="12"/>
                                      </a:lnTo>
                                      <a:lnTo>
                                        <a:pt x="104" y="12"/>
                                      </a:lnTo>
                                      <a:lnTo>
                                        <a:pt x="104" y="12"/>
                                      </a:lnTo>
                                      <a:lnTo>
                                        <a:pt x="104" y="14"/>
                                      </a:lnTo>
                                      <a:lnTo>
                                        <a:pt x="100" y="16"/>
                                      </a:lnTo>
                                      <a:lnTo>
                                        <a:pt x="96" y="18"/>
                                      </a:lnTo>
                                      <a:lnTo>
                                        <a:pt x="90" y="22"/>
                                      </a:lnTo>
                                      <a:lnTo>
                                        <a:pt x="90" y="22"/>
                                      </a:lnTo>
                                      <a:lnTo>
                                        <a:pt x="86" y="24"/>
                                      </a:lnTo>
                                      <a:lnTo>
                                        <a:pt x="84" y="22"/>
                                      </a:lnTo>
                                      <a:lnTo>
                                        <a:pt x="82" y="18"/>
                                      </a:lnTo>
                                      <a:lnTo>
                                        <a:pt x="78" y="16"/>
                                      </a:lnTo>
                                      <a:lnTo>
                                        <a:pt x="78" y="16"/>
                                      </a:lnTo>
                                      <a:lnTo>
                                        <a:pt x="72" y="16"/>
                                      </a:lnTo>
                                      <a:lnTo>
                                        <a:pt x="72" y="12"/>
                                      </a:lnTo>
                                      <a:lnTo>
                                        <a:pt x="72" y="12"/>
                                      </a:lnTo>
                                      <a:lnTo>
                                        <a:pt x="68" y="14"/>
                                      </a:lnTo>
                                      <a:lnTo>
                                        <a:pt x="68" y="14"/>
                                      </a:lnTo>
                                      <a:lnTo>
                                        <a:pt x="66" y="14"/>
                                      </a:lnTo>
                                      <a:lnTo>
                                        <a:pt x="62" y="14"/>
                                      </a:lnTo>
                                      <a:lnTo>
                                        <a:pt x="52" y="8"/>
                                      </a:lnTo>
                                      <a:lnTo>
                                        <a:pt x="52" y="8"/>
                                      </a:lnTo>
                                      <a:lnTo>
                                        <a:pt x="44" y="6"/>
                                      </a:lnTo>
                                      <a:lnTo>
                                        <a:pt x="34" y="4"/>
                                      </a:lnTo>
                                      <a:lnTo>
                                        <a:pt x="26" y="4"/>
                                      </a:lnTo>
                                      <a:lnTo>
                                        <a:pt x="22" y="4"/>
                                      </a:lnTo>
                                      <a:lnTo>
                                        <a:pt x="22" y="4"/>
                                      </a:lnTo>
                                      <a:lnTo>
                                        <a:pt x="16" y="6"/>
                                      </a:lnTo>
                                      <a:lnTo>
                                        <a:pt x="10" y="6"/>
                                      </a:lnTo>
                                      <a:lnTo>
                                        <a:pt x="4" y="0"/>
                                      </a:lnTo>
                                      <a:lnTo>
                                        <a:pt x="4" y="0"/>
                                      </a:lnTo>
                                      <a:lnTo>
                                        <a:pt x="2" y="10"/>
                                      </a:lnTo>
                                      <a:lnTo>
                                        <a:pt x="2" y="26"/>
                                      </a:lnTo>
                                      <a:lnTo>
                                        <a:pt x="2" y="26"/>
                                      </a:lnTo>
                                      <a:lnTo>
                                        <a:pt x="6" y="28"/>
                                      </a:lnTo>
                                      <a:lnTo>
                                        <a:pt x="6" y="30"/>
                                      </a:lnTo>
                                      <a:lnTo>
                                        <a:pt x="4" y="34"/>
                                      </a:lnTo>
                                      <a:lnTo>
                                        <a:pt x="0" y="40"/>
                                      </a:lnTo>
                                      <a:lnTo>
                                        <a:pt x="0" y="42"/>
                                      </a:lnTo>
                                      <a:lnTo>
                                        <a:pt x="2" y="44"/>
                                      </a:lnTo>
                                      <a:lnTo>
                                        <a:pt x="2" y="44"/>
                                      </a:lnTo>
                                      <a:lnTo>
                                        <a:pt x="6" y="48"/>
                                      </a:lnTo>
                                      <a:lnTo>
                                        <a:pt x="4" y="50"/>
                                      </a:lnTo>
                                      <a:lnTo>
                                        <a:pt x="4" y="54"/>
                                      </a:lnTo>
                                      <a:lnTo>
                                        <a:pt x="2" y="64"/>
                                      </a:lnTo>
                                      <a:lnTo>
                                        <a:pt x="2" y="64"/>
                                      </a:lnTo>
                                      <a:lnTo>
                                        <a:pt x="14" y="234"/>
                                      </a:lnTo>
                                      <a:lnTo>
                                        <a:pt x="14" y="234"/>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2" name="Eritrea"/>
                                <p:cNvSpPr>
                                  <a:spLocks/>
                                </p:cNvSpPr>
                                <p:nvPr/>
                              </p:nvSpPr>
                              <p:spPr bwMode="auto">
                                <a:xfrm>
                                  <a:off x="6939549" y="2978176"/>
                                  <a:ext cx="243012" cy="234798"/>
                                </a:xfrm>
                                <a:custGeom>
                                  <a:avLst/>
                                  <a:gdLst/>
                                  <a:ahLst/>
                                  <a:cxnLst/>
                                  <a:rect l="l" t="t" r="r" b="b"/>
                                  <a:pathLst>
                                    <a:path w="243012" h="234798">
                                      <a:moveTo>
                                        <a:pt x="238480" y="223855"/>
                                      </a:moveTo>
                                      <a:lnTo>
                                        <a:pt x="243012" y="230648"/>
                                      </a:lnTo>
                                      <a:lnTo>
                                        <a:pt x="243012" y="234798"/>
                                      </a:lnTo>
                                      <a:close/>
                                      <a:moveTo>
                                        <a:pt x="60753" y="0"/>
                                      </a:moveTo>
                                      <a:lnTo>
                                        <a:pt x="85054" y="36418"/>
                                      </a:lnTo>
                                      <a:lnTo>
                                        <a:pt x="91130" y="51592"/>
                                      </a:lnTo>
                                      <a:lnTo>
                                        <a:pt x="97205" y="75871"/>
                                      </a:lnTo>
                                      <a:lnTo>
                                        <a:pt x="103280" y="97115"/>
                                      </a:lnTo>
                                      <a:lnTo>
                                        <a:pt x="109356" y="109254"/>
                                      </a:lnTo>
                                      <a:lnTo>
                                        <a:pt x="112393" y="109254"/>
                                      </a:lnTo>
                                      <a:lnTo>
                                        <a:pt x="115431" y="109254"/>
                                      </a:lnTo>
                                      <a:lnTo>
                                        <a:pt x="118469" y="106219"/>
                                      </a:lnTo>
                                      <a:lnTo>
                                        <a:pt x="121506" y="112289"/>
                                      </a:lnTo>
                                      <a:lnTo>
                                        <a:pt x="127582" y="118359"/>
                                      </a:lnTo>
                                      <a:lnTo>
                                        <a:pt x="130619" y="121394"/>
                                      </a:lnTo>
                                      <a:lnTo>
                                        <a:pt x="136694" y="124428"/>
                                      </a:lnTo>
                                      <a:lnTo>
                                        <a:pt x="142770" y="127463"/>
                                      </a:lnTo>
                                      <a:lnTo>
                                        <a:pt x="148845" y="130498"/>
                                      </a:lnTo>
                                      <a:lnTo>
                                        <a:pt x="151883" y="133533"/>
                                      </a:lnTo>
                                      <a:lnTo>
                                        <a:pt x="157958" y="133533"/>
                                      </a:lnTo>
                                      <a:lnTo>
                                        <a:pt x="160996" y="136568"/>
                                      </a:lnTo>
                                      <a:lnTo>
                                        <a:pt x="167071" y="139603"/>
                                      </a:lnTo>
                                      <a:lnTo>
                                        <a:pt x="176184" y="151742"/>
                                      </a:lnTo>
                                      <a:lnTo>
                                        <a:pt x="185297" y="163881"/>
                                      </a:lnTo>
                                      <a:lnTo>
                                        <a:pt x="197447" y="176021"/>
                                      </a:lnTo>
                                      <a:lnTo>
                                        <a:pt x="206560" y="185125"/>
                                      </a:lnTo>
                                      <a:lnTo>
                                        <a:pt x="209598" y="194230"/>
                                      </a:lnTo>
                                      <a:lnTo>
                                        <a:pt x="209598" y="197264"/>
                                      </a:lnTo>
                                      <a:lnTo>
                                        <a:pt x="212636" y="200299"/>
                                      </a:lnTo>
                                      <a:lnTo>
                                        <a:pt x="218711" y="200299"/>
                                      </a:lnTo>
                                      <a:lnTo>
                                        <a:pt x="218711" y="203334"/>
                                      </a:lnTo>
                                      <a:lnTo>
                                        <a:pt x="227824" y="215473"/>
                                      </a:lnTo>
                                      <a:lnTo>
                                        <a:pt x="231091" y="217649"/>
                                      </a:lnTo>
                                      <a:lnTo>
                                        <a:pt x="210412" y="209084"/>
                                      </a:lnTo>
                                      <a:cubicBezTo>
                                        <a:pt x="207930" y="209084"/>
                                        <a:pt x="205505" y="209325"/>
                                        <a:pt x="203576" y="211916"/>
                                      </a:cubicBezTo>
                                      <a:lnTo>
                                        <a:pt x="194410" y="197264"/>
                                      </a:lnTo>
                                      <a:lnTo>
                                        <a:pt x="173146" y="176021"/>
                                      </a:lnTo>
                                      <a:lnTo>
                                        <a:pt x="164033" y="166916"/>
                                      </a:lnTo>
                                      <a:lnTo>
                                        <a:pt x="151883" y="157812"/>
                                      </a:lnTo>
                                      <a:lnTo>
                                        <a:pt x="139732" y="154777"/>
                                      </a:lnTo>
                                      <a:lnTo>
                                        <a:pt x="124544" y="154777"/>
                                      </a:lnTo>
                                      <a:lnTo>
                                        <a:pt x="112393" y="154777"/>
                                      </a:lnTo>
                                      <a:lnTo>
                                        <a:pt x="106318" y="154777"/>
                                      </a:lnTo>
                                      <a:lnTo>
                                        <a:pt x="100243" y="154777"/>
                                      </a:lnTo>
                                      <a:lnTo>
                                        <a:pt x="91130" y="157812"/>
                                      </a:lnTo>
                                      <a:lnTo>
                                        <a:pt x="82017" y="157812"/>
                                      </a:lnTo>
                                      <a:lnTo>
                                        <a:pt x="72904" y="157812"/>
                                      </a:lnTo>
                                      <a:lnTo>
                                        <a:pt x="66829" y="154777"/>
                                      </a:lnTo>
                                      <a:lnTo>
                                        <a:pt x="63791" y="151742"/>
                                      </a:lnTo>
                                      <a:lnTo>
                                        <a:pt x="57716" y="145672"/>
                                      </a:lnTo>
                                      <a:lnTo>
                                        <a:pt x="57716" y="142637"/>
                                      </a:lnTo>
                                      <a:lnTo>
                                        <a:pt x="51640" y="142637"/>
                                      </a:lnTo>
                                      <a:lnTo>
                                        <a:pt x="48603" y="145672"/>
                                      </a:lnTo>
                                      <a:lnTo>
                                        <a:pt x="45565" y="151742"/>
                                      </a:lnTo>
                                      <a:lnTo>
                                        <a:pt x="42527" y="160846"/>
                                      </a:lnTo>
                                      <a:lnTo>
                                        <a:pt x="36452" y="163881"/>
                                      </a:lnTo>
                                      <a:lnTo>
                                        <a:pt x="33414" y="163881"/>
                                      </a:lnTo>
                                      <a:lnTo>
                                        <a:pt x="33414" y="160846"/>
                                      </a:lnTo>
                                      <a:lnTo>
                                        <a:pt x="30377" y="157812"/>
                                      </a:lnTo>
                                      <a:lnTo>
                                        <a:pt x="27339" y="154777"/>
                                      </a:lnTo>
                                      <a:lnTo>
                                        <a:pt x="21264" y="154777"/>
                                      </a:lnTo>
                                      <a:lnTo>
                                        <a:pt x="0" y="160846"/>
                                      </a:lnTo>
                                      <a:lnTo>
                                        <a:pt x="6076" y="121394"/>
                                      </a:lnTo>
                                      <a:lnTo>
                                        <a:pt x="15188" y="66767"/>
                                      </a:lnTo>
                                      <a:lnTo>
                                        <a:pt x="18226" y="48557"/>
                                      </a:lnTo>
                                      <a:lnTo>
                                        <a:pt x="21264" y="39453"/>
                                      </a:lnTo>
                                      <a:lnTo>
                                        <a:pt x="27339" y="30348"/>
                                      </a:lnTo>
                                      <a:lnTo>
                                        <a:pt x="33414" y="27314"/>
                                      </a:lnTo>
                                      <a:lnTo>
                                        <a:pt x="45565" y="18209"/>
                                      </a:lnTo>
                                      <a:lnTo>
                                        <a:pt x="54678" y="9105"/>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3" name="Ethiopia"/>
                                <p:cNvSpPr>
                                  <a:spLocks/>
                                </p:cNvSpPr>
                                <p:nvPr/>
                              </p:nvSpPr>
                              <p:spPr bwMode="auto">
                                <a:xfrm>
                                  <a:off x="6850676" y="3120813"/>
                                  <a:ext cx="482986" cy="421842"/>
                                </a:xfrm>
                                <a:custGeom>
                                  <a:avLst/>
                                  <a:gdLst/>
                                  <a:ahLst/>
                                  <a:cxnLst>
                                    <a:cxn ang="0">
                                      <a:pos x="60" y="248"/>
                                    </a:cxn>
                                    <a:cxn ang="0">
                                      <a:pos x="62" y="240"/>
                                    </a:cxn>
                                    <a:cxn ang="0">
                                      <a:pos x="50" y="230"/>
                                    </a:cxn>
                                    <a:cxn ang="0">
                                      <a:pos x="44" y="220"/>
                                    </a:cxn>
                                    <a:cxn ang="0">
                                      <a:pos x="40" y="214"/>
                                    </a:cxn>
                                    <a:cxn ang="0">
                                      <a:pos x="36" y="208"/>
                                    </a:cxn>
                                    <a:cxn ang="0">
                                      <a:pos x="30" y="198"/>
                                    </a:cxn>
                                    <a:cxn ang="0">
                                      <a:pos x="22" y="186"/>
                                    </a:cxn>
                                    <a:cxn ang="0">
                                      <a:pos x="0" y="166"/>
                                    </a:cxn>
                                    <a:cxn ang="0">
                                      <a:pos x="6" y="152"/>
                                    </a:cxn>
                                    <a:cxn ang="0">
                                      <a:pos x="16" y="148"/>
                                    </a:cxn>
                                    <a:cxn ang="0">
                                      <a:pos x="22" y="138"/>
                                    </a:cxn>
                                    <a:cxn ang="0">
                                      <a:pos x="24" y="118"/>
                                    </a:cxn>
                                    <a:cxn ang="0">
                                      <a:pos x="24" y="104"/>
                                    </a:cxn>
                                    <a:cxn ang="0">
                                      <a:pos x="28" y="88"/>
                                    </a:cxn>
                                    <a:cxn ang="0">
                                      <a:pos x="34" y="78"/>
                                    </a:cxn>
                                    <a:cxn ang="0">
                                      <a:pos x="36" y="66"/>
                                    </a:cxn>
                                    <a:cxn ang="0">
                                      <a:pos x="38" y="58"/>
                                    </a:cxn>
                                    <a:cxn ang="0">
                                      <a:pos x="46" y="44"/>
                                    </a:cxn>
                                    <a:cxn ang="0">
                                      <a:pos x="56" y="22"/>
                                    </a:cxn>
                                    <a:cxn ang="0">
                                      <a:pos x="58" y="12"/>
                                    </a:cxn>
                                    <a:cxn ang="0">
                                      <a:pos x="76" y="8"/>
                                    </a:cxn>
                                    <a:cxn ang="0">
                                      <a:pos x="80" y="12"/>
                                    </a:cxn>
                                    <a:cxn ang="0">
                                      <a:pos x="82" y="14"/>
                                    </a:cxn>
                                    <a:cxn ang="0">
                                      <a:pos x="86" y="12"/>
                                    </a:cxn>
                                    <a:cxn ang="0">
                                      <a:pos x="88" y="6"/>
                                    </a:cxn>
                                    <a:cxn ang="0">
                                      <a:pos x="90" y="2"/>
                                    </a:cxn>
                                    <a:cxn ang="0">
                                      <a:pos x="92" y="0"/>
                                    </a:cxn>
                                    <a:cxn ang="0">
                                      <a:pos x="96" y="2"/>
                                    </a:cxn>
                                    <a:cxn ang="0">
                                      <a:pos x="102" y="8"/>
                                    </a:cxn>
                                    <a:cxn ang="0">
                                      <a:pos x="112" y="10"/>
                                    </a:cxn>
                                    <a:cxn ang="0">
                                      <a:pos x="118" y="10"/>
                                    </a:cxn>
                                    <a:cxn ang="0">
                                      <a:pos x="128" y="8"/>
                                    </a:cxn>
                                    <a:cxn ang="0">
                                      <a:pos x="140" y="8"/>
                                    </a:cxn>
                                    <a:cxn ang="0">
                                      <a:pos x="150" y="8"/>
                                    </a:cxn>
                                    <a:cxn ang="0">
                                      <a:pos x="166" y="16"/>
                                    </a:cxn>
                                    <a:cxn ang="0">
                                      <a:pos x="186" y="36"/>
                                    </a:cxn>
                                    <a:cxn ang="0">
                                      <a:pos x="196" y="52"/>
                                    </a:cxn>
                                    <a:cxn ang="0">
                                      <a:pos x="188" y="54"/>
                                    </a:cxn>
                                    <a:cxn ang="0">
                                      <a:pos x="186" y="60"/>
                                    </a:cxn>
                                    <a:cxn ang="0">
                                      <a:pos x="182" y="82"/>
                                    </a:cxn>
                                    <a:cxn ang="0">
                                      <a:pos x="184" y="84"/>
                                    </a:cxn>
                                    <a:cxn ang="0">
                                      <a:pos x="188" y="88"/>
                                    </a:cxn>
                                    <a:cxn ang="0">
                                      <a:pos x="196" y="86"/>
                                    </a:cxn>
                                    <a:cxn ang="0">
                                      <a:pos x="204" y="88"/>
                                    </a:cxn>
                                    <a:cxn ang="0">
                                      <a:pos x="210" y="114"/>
                                    </a:cxn>
                                    <a:cxn ang="0">
                                      <a:pos x="286" y="158"/>
                                    </a:cxn>
                                    <a:cxn ang="0">
                                      <a:pos x="318" y="166"/>
                                    </a:cxn>
                                    <a:cxn ang="0">
                                      <a:pos x="248" y="240"/>
                                    </a:cxn>
                                    <a:cxn ang="0">
                                      <a:pos x="244" y="242"/>
                                    </a:cxn>
                                    <a:cxn ang="0">
                                      <a:pos x="236" y="242"/>
                                    </a:cxn>
                                    <a:cxn ang="0">
                                      <a:pos x="216" y="248"/>
                                    </a:cxn>
                                    <a:cxn ang="0">
                                      <a:pos x="188" y="270"/>
                                    </a:cxn>
                                    <a:cxn ang="0">
                                      <a:pos x="172" y="266"/>
                                    </a:cxn>
                                    <a:cxn ang="0">
                                      <a:pos x="158" y="266"/>
                                    </a:cxn>
                                    <a:cxn ang="0">
                                      <a:pos x="154" y="268"/>
                                    </a:cxn>
                                    <a:cxn ang="0">
                                      <a:pos x="152" y="274"/>
                                    </a:cxn>
                                    <a:cxn ang="0">
                                      <a:pos x="148" y="276"/>
                                    </a:cxn>
                                    <a:cxn ang="0">
                                      <a:pos x="128" y="278"/>
                                    </a:cxn>
                                    <a:cxn ang="0">
                                      <a:pos x="106" y="274"/>
                                    </a:cxn>
                                    <a:cxn ang="0">
                                      <a:pos x="94" y="264"/>
                                    </a:cxn>
                                    <a:cxn ang="0">
                                      <a:pos x="84" y="254"/>
                                    </a:cxn>
                                    <a:cxn ang="0">
                                      <a:pos x="60" y="248"/>
                                    </a:cxn>
                                  </a:cxnLst>
                                  <a:rect l="0" t="0" r="r" b="b"/>
                                  <a:pathLst>
                                    <a:path w="318" h="278">
                                      <a:moveTo>
                                        <a:pt x="60" y="248"/>
                                      </a:moveTo>
                                      <a:lnTo>
                                        <a:pt x="60" y="248"/>
                                      </a:lnTo>
                                      <a:lnTo>
                                        <a:pt x="62" y="244"/>
                                      </a:lnTo>
                                      <a:lnTo>
                                        <a:pt x="62" y="240"/>
                                      </a:lnTo>
                                      <a:lnTo>
                                        <a:pt x="56" y="234"/>
                                      </a:lnTo>
                                      <a:lnTo>
                                        <a:pt x="50" y="230"/>
                                      </a:lnTo>
                                      <a:lnTo>
                                        <a:pt x="48" y="226"/>
                                      </a:lnTo>
                                      <a:lnTo>
                                        <a:pt x="44" y="220"/>
                                      </a:lnTo>
                                      <a:lnTo>
                                        <a:pt x="44" y="220"/>
                                      </a:lnTo>
                                      <a:lnTo>
                                        <a:pt x="40" y="214"/>
                                      </a:lnTo>
                                      <a:lnTo>
                                        <a:pt x="38" y="210"/>
                                      </a:lnTo>
                                      <a:lnTo>
                                        <a:pt x="36" y="208"/>
                                      </a:lnTo>
                                      <a:lnTo>
                                        <a:pt x="30" y="198"/>
                                      </a:lnTo>
                                      <a:lnTo>
                                        <a:pt x="30" y="198"/>
                                      </a:lnTo>
                                      <a:lnTo>
                                        <a:pt x="28" y="192"/>
                                      </a:lnTo>
                                      <a:lnTo>
                                        <a:pt x="22" y="186"/>
                                      </a:lnTo>
                                      <a:lnTo>
                                        <a:pt x="12" y="176"/>
                                      </a:lnTo>
                                      <a:lnTo>
                                        <a:pt x="0" y="166"/>
                                      </a:lnTo>
                                      <a:lnTo>
                                        <a:pt x="6" y="152"/>
                                      </a:lnTo>
                                      <a:lnTo>
                                        <a:pt x="6" y="152"/>
                                      </a:lnTo>
                                      <a:lnTo>
                                        <a:pt x="10" y="152"/>
                                      </a:lnTo>
                                      <a:lnTo>
                                        <a:pt x="16" y="148"/>
                                      </a:lnTo>
                                      <a:lnTo>
                                        <a:pt x="20" y="144"/>
                                      </a:lnTo>
                                      <a:lnTo>
                                        <a:pt x="22" y="138"/>
                                      </a:lnTo>
                                      <a:lnTo>
                                        <a:pt x="24" y="130"/>
                                      </a:lnTo>
                                      <a:lnTo>
                                        <a:pt x="24" y="118"/>
                                      </a:lnTo>
                                      <a:lnTo>
                                        <a:pt x="24" y="118"/>
                                      </a:lnTo>
                                      <a:lnTo>
                                        <a:pt x="24" y="104"/>
                                      </a:lnTo>
                                      <a:lnTo>
                                        <a:pt x="26" y="94"/>
                                      </a:lnTo>
                                      <a:lnTo>
                                        <a:pt x="28" y="88"/>
                                      </a:lnTo>
                                      <a:lnTo>
                                        <a:pt x="30" y="84"/>
                                      </a:lnTo>
                                      <a:lnTo>
                                        <a:pt x="34" y="78"/>
                                      </a:lnTo>
                                      <a:lnTo>
                                        <a:pt x="36" y="74"/>
                                      </a:lnTo>
                                      <a:lnTo>
                                        <a:pt x="36" y="66"/>
                                      </a:lnTo>
                                      <a:lnTo>
                                        <a:pt x="36" y="66"/>
                                      </a:lnTo>
                                      <a:lnTo>
                                        <a:pt x="38" y="58"/>
                                      </a:lnTo>
                                      <a:lnTo>
                                        <a:pt x="40" y="52"/>
                                      </a:lnTo>
                                      <a:lnTo>
                                        <a:pt x="46" y="44"/>
                                      </a:lnTo>
                                      <a:lnTo>
                                        <a:pt x="54" y="32"/>
                                      </a:lnTo>
                                      <a:lnTo>
                                        <a:pt x="56" y="22"/>
                                      </a:lnTo>
                                      <a:lnTo>
                                        <a:pt x="58" y="12"/>
                                      </a:lnTo>
                                      <a:lnTo>
                                        <a:pt x="58" y="12"/>
                                      </a:lnTo>
                                      <a:lnTo>
                                        <a:pt x="72" y="8"/>
                                      </a:lnTo>
                                      <a:lnTo>
                                        <a:pt x="76" y="8"/>
                                      </a:lnTo>
                                      <a:lnTo>
                                        <a:pt x="78" y="10"/>
                                      </a:lnTo>
                                      <a:lnTo>
                                        <a:pt x="80" y="12"/>
                                      </a:lnTo>
                                      <a:lnTo>
                                        <a:pt x="80" y="14"/>
                                      </a:lnTo>
                                      <a:lnTo>
                                        <a:pt x="82" y="14"/>
                                      </a:lnTo>
                                      <a:lnTo>
                                        <a:pt x="82" y="14"/>
                                      </a:lnTo>
                                      <a:lnTo>
                                        <a:pt x="86" y="12"/>
                                      </a:lnTo>
                                      <a:lnTo>
                                        <a:pt x="86" y="12"/>
                                      </a:lnTo>
                                      <a:lnTo>
                                        <a:pt x="88" y="6"/>
                                      </a:lnTo>
                                      <a:lnTo>
                                        <a:pt x="90" y="2"/>
                                      </a:lnTo>
                                      <a:lnTo>
                                        <a:pt x="90" y="2"/>
                                      </a:lnTo>
                                      <a:lnTo>
                                        <a:pt x="92" y="0"/>
                                      </a:lnTo>
                                      <a:lnTo>
                                        <a:pt x="92" y="0"/>
                                      </a:lnTo>
                                      <a:lnTo>
                                        <a:pt x="96" y="0"/>
                                      </a:lnTo>
                                      <a:lnTo>
                                        <a:pt x="96" y="2"/>
                                      </a:lnTo>
                                      <a:lnTo>
                                        <a:pt x="100" y="6"/>
                                      </a:lnTo>
                                      <a:lnTo>
                                        <a:pt x="102" y="8"/>
                                      </a:lnTo>
                                      <a:lnTo>
                                        <a:pt x="106" y="10"/>
                                      </a:lnTo>
                                      <a:lnTo>
                                        <a:pt x="112" y="10"/>
                                      </a:lnTo>
                                      <a:lnTo>
                                        <a:pt x="118" y="10"/>
                                      </a:lnTo>
                                      <a:lnTo>
                                        <a:pt x="118" y="10"/>
                                      </a:lnTo>
                                      <a:lnTo>
                                        <a:pt x="124" y="8"/>
                                      </a:lnTo>
                                      <a:lnTo>
                                        <a:pt x="128" y="8"/>
                                      </a:lnTo>
                                      <a:lnTo>
                                        <a:pt x="132" y="8"/>
                                      </a:lnTo>
                                      <a:lnTo>
                                        <a:pt x="140" y="8"/>
                                      </a:lnTo>
                                      <a:lnTo>
                                        <a:pt x="140" y="8"/>
                                      </a:lnTo>
                                      <a:lnTo>
                                        <a:pt x="150" y="8"/>
                                      </a:lnTo>
                                      <a:lnTo>
                                        <a:pt x="158" y="10"/>
                                      </a:lnTo>
                                      <a:lnTo>
                                        <a:pt x="166" y="16"/>
                                      </a:lnTo>
                                      <a:lnTo>
                                        <a:pt x="172" y="22"/>
                                      </a:lnTo>
                                      <a:lnTo>
                                        <a:pt x="186" y="36"/>
                                      </a:lnTo>
                                      <a:lnTo>
                                        <a:pt x="196" y="52"/>
                                      </a:lnTo>
                                      <a:lnTo>
                                        <a:pt x="196" y="52"/>
                                      </a:lnTo>
                                      <a:lnTo>
                                        <a:pt x="192" y="52"/>
                                      </a:lnTo>
                                      <a:lnTo>
                                        <a:pt x="188" y="54"/>
                                      </a:lnTo>
                                      <a:lnTo>
                                        <a:pt x="186" y="60"/>
                                      </a:lnTo>
                                      <a:lnTo>
                                        <a:pt x="186" y="60"/>
                                      </a:lnTo>
                                      <a:lnTo>
                                        <a:pt x="182" y="74"/>
                                      </a:lnTo>
                                      <a:lnTo>
                                        <a:pt x="182" y="82"/>
                                      </a:lnTo>
                                      <a:lnTo>
                                        <a:pt x="184" y="84"/>
                                      </a:lnTo>
                                      <a:lnTo>
                                        <a:pt x="184" y="84"/>
                                      </a:lnTo>
                                      <a:lnTo>
                                        <a:pt x="186" y="88"/>
                                      </a:lnTo>
                                      <a:lnTo>
                                        <a:pt x="188" y="88"/>
                                      </a:lnTo>
                                      <a:lnTo>
                                        <a:pt x="192" y="86"/>
                                      </a:lnTo>
                                      <a:lnTo>
                                        <a:pt x="196" y="86"/>
                                      </a:lnTo>
                                      <a:lnTo>
                                        <a:pt x="200" y="86"/>
                                      </a:lnTo>
                                      <a:lnTo>
                                        <a:pt x="204" y="88"/>
                                      </a:lnTo>
                                      <a:lnTo>
                                        <a:pt x="196" y="94"/>
                                      </a:lnTo>
                                      <a:lnTo>
                                        <a:pt x="210" y="114"/>
                                      </a:lnTo>
                                      <a:lnTo>
                                        <a:pt x="216" y="128"/>
                                      </a:lnTo>
                                      <a:lnTo>
                                        <a:pt x="286" y="158"/>
                                      </a:lnTo>
                                      <a:lnTo>
                                        <a:pt x="318" y="166"/>
                                      </a:lnTo>
                                      <a:lnTo>
                                        <a:pt x="318" y="166"/>
                                      </a:lnTo>
                                      <a:lnTo>
                                        <a:pt x="260" y="230"/>
                                      </a:lnTo>
                                      <a:lnTo>
                                        <a:pt x="248" y="240"/>
                                      </a:lnTo>
                                      <a:lnTo>
                                        <a:pt x="246" y="242"/>
                                      </a:lnTo>
                                      <a:lnTo>
                                        <a:pt x="244" y="242"/>
                                      </a:lnTo>
                                      <a:lnTo>
                                        <a:pt x="244" y="242"/>
                                      </a:lnTo>
                                      <a:lnTo>
                                        <a:pt x="236" y="242"/>
                                      </a:lnTo>
                                      <a:lnTo>
                                        <a:pt x="230" y="242"/>
                                      </a:lnTo>
                                      <a:lnTo>
                                        <a:pt x="216" y="248"/>
                                      </a:lnTo>
                                      <a:lnTo>
                                        <a:pt x="188" y="270"/>
                                      </a:lnTo>
                                      <a:lnTo>
                                        <a:pt x="188" y="270"/>
                                      </a:lnTo>
                                      <a:lnTo>
                                        <a:pt x="176" y="268"/>
                                      </a:lnTo>
                                      <a:lnTo>
                                        <a:pt x="172" y="266"/>
                                      </a:lnTo>
                                      <a:lnTo>
                                        <a:pt x="168" y="264"/>
                                      </a:lnTo>
                                      <a:lnTo>
                                        <a:pt x="158" y="266"/>
                                      </a:lnTo>
                                      <a:lnTo>
                                        <a:pt x="158" y="266"/>
                                      </a:lnTo>
                                      <a:lnTo>
                                        <a:pt x="154" y="268"/>
                                      </a:lnTo>
                                      <a:lnTo>
                                        <a:pt x="152" y="270"/>
                                      </a:lnTo>
                                      <a:lnTo>
                                        <a:pt x="152" y="274"/>
                                      </a:lnTo>
                                      <a:lnTo>
                                        <a:pt x="152" y="276"/>
                                      </a:lnTo>
                                      <a:lnTo>
                                        <a:pt x="148" y="276"/>
                                      </a:lnTo>
                                      <a:lnTo>
                                        <a:pt x="128" y="278"/>
                                      </a:lnTo>
                                      <a:lnTo>
                                        <a:pt x="128" y="278"/>
                                      </a:lnTo>
                                      <a:lnTo>
                                        <a:pt x="114" y="276"/>
                                      </a:lnTo>
                                      <a:lnTo>
                                        <a:pt x="106" y="274"/>
                                      </a:lnTo>
                                      <a:lnTo>
                                        <a:pt x="100" y="270"/>
                                      </a:lnTo>
                                      <a:lnTo>
                                        <a:pt x="94" y="264"/>
                                      </a:lnTo>
                                      <a:lnTo>
                                        <a:pt x="90" y="260"/>
                                      </a:lnTo>
                                      <a:lnTo>
                                        <a:pt x="84" y="254"/>
                                      </a:lnTo>
                                      <a:lnTo>
                                        <a:pt x="74" y="252"/>
                                      </a:lnTo>
                                      <a:lnTo>
                                        <a:pt x="60" y="248"/>
                                      </a:lnTo>
                                      <a:lnTo>
                                        <a:pt x="60" y="24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4" name="Afghanistan"/>
                                <p:cNvSpPr>
                                  <a:spLocks/>
                                </p:cNvSpPr>
                                <p:nvPr/>
                              </p:nvSpPr>
                              <p:spPr bwMode="auto">
                                <a:xfrm>
                                  <a:off x="7608362" y="2231607"/>
                                  <a:ext cx="376667" cy="315623"/>
                                </a:xfrm>
                                <a:custGeom>
                                  <a:avLst/>
                                  <a:gdLst/>
                                  <a:ahLst/>
                                  <a:cxnLst>
                                    <a:cxn ang="0">
                                      <a:pos x="74" y="22"/>
                                    </a:cxn>
                                    <a:cxn ang="0">
                                      <a:pos x="66" y="28"/>
                                    </a:cxn>
                                    <a:cxn ang="0">
                                      <a:pos x="64" y="46"/>
                                    </a:cxn>
                                    <a:cxn ang="0">
                                      <a:pos x="42" y="56"/>
                                    </a:cxn>
                                    <a:cxn ang="0">
                                      <a:pos x="40" y="66"/>
                                    </a:cxn>
                                    <a:cxn ang="0">
                                      <a:pos x="30" y="70"/>
                                    </a:cxn>
                                    <a:cxn ang="0">
                                      <a:pos x="18" y="64"/>
                                    </a:cxn>
                                    <a:cxn ang="0">
                                      <a:pos x="6" y="58"/>
                                    </a:cxn>
                                    <a:cxn ang="0">
                                      <a:pos x="6" y="70"/>
                                    </a:cxn>
                                    <a:cxn ang="0">
                                      <a:pos x="10" y="80"/>
                                    </a:cxn>
                                    <a:cxn ang="0">
                                      <a:pos x="0" y="96"/>
                                    </a:cxn>
                                    <a:cxn ang="0">
                                      <a:pos x="6" y="108"/>
                                    </a:cxn>
                                    <a:cxn ang="0">
                                      <a:pos x="10" y="126"/>
                                    </a:cxn>
                                    <a:cxn ang="0">
                                      <a:pos x="12" y="150"/>
                                    </a:cxn>
                                    <a:cxn ang="0">
                                      <a:pos x="24" y="154"/>
                                    </a:cxn>
                                    <a:cxn ang="0">
                                      <a:pos x="40" y="164"/>
                                    </a:cxn>
                                    <a:cxn ang="0">
                                      <a:pos x="36" y="192"/>
                                    </a:cxn>
                                    <a:cxn ang="0">
                                      <a:pos x="60" y="206"/>
                                    </a:cxn>
                                    <a:cxn ang="0">
                                      <a:pos x="88" y="208"/>
                                    </a:cxn>
                                    <a:cxn ang="0">
                                      <a:pos x="140" y="192"/>
                                    </a:cxn>
                                    <a:cxn ang="0">
                                      <a:pos x="136" y="186"/>
                                    </a:cxn>
                                    <a:cxn ang="0">
                                      <a:pos x="134" y="180"/>
                                    </a:cxn>
                                    <a:cxn ang="0">
                                      <a:pos x="144" y="164"/>
                                    </a:cxn>
                                    <a:cxn ang="0">
                                      <a:pos x="156" y="166"/>
                                    </a:cxn>
                                    <a:cxn ang="0">
                                      <a:pos x="160" y="158"/>
                                    </a:cxn>
                                    <a:cxn ang="0">
                                      <a:pos x="170" y="152"/>
                                    </a:cxn>
                                    <a:cxn ang="0">
                                      <a:pos x="176" y="142"/>
                                    </a:cxn>
                                    <a:cxn ang="0">
                                      <a:pos x="170" y="126"/>
                                    </a:cxn>
                                    <a:cxn ang="0">
                                      <a:pos x="182" y="118"/>
                                    </a:cxn>
                                    <a:cxn ang="0">
                                      <a:pos x="184" y="110"/>
                                    </a:cxn>
                                    <a:cxn ang="0">
                                      <a:pos x="174" y="102"/>
                                    </a:cxn>
                                    <a:cxn ang="0">
                                      <a:pos x="186" y="100"/>
                                    </a:cxn>
                                    <a:cxn ang="0">
                                      <a:pos x="218" y="100"/>
                                    </a:cxn>
                                    <a:cxn ang="0">
                                      <a:pos x="214" y="94"/>
                                    </a:cxn>
                                    <a:cxn ang="0">
                                      <a:pos x="210" y="78"/>
                                    </a:cxn>
                                    <a:cxn ang="0">
                                      <a:pos x="206" y="66"/>
                                    </a:cxn>
                                    <a:cxn ang="0">
                                      <a:pos x="204" y="48"/>
                                    </a:cxn>
                                    <a:cxn ang="0">
                                      <a:pos x="218" y="42"/>
                                    </a:cxn>
                                    <a:cxn ang="0">
                                      <a:pos x="224" y="34"/>
                                    </a:cxn>
                                    <a:cxn ang="0">
                                      <a:pos x="242" y="26"/>
                                    </a:cxn>
                                    <a:cxn ang="0">
                                      <a:pos x="248" y="20"/>
                                    </a:cxn>
                                    <a:cxn ang="0">
                                      <a:pos x="230" y="24"/>
                                    </a:cxn>
                                    <a:cxn ang="0">
                                      <a:pos x="226" y="22"/>
                                    </a:cxn>
                                    <a:cxn ang="0">
                                      <a:pos x="224" y="20"/>
                                    </a:cxn>
                                    <a:cxn ang="0">
                                      <a:pos x="212" y="28"/>
                                    </a:cxn>
                                    <a:cxn ang="0">
                                      <a:pos x="198" y="30"/>
                                    </a:cxn>
                                    <a:cxn ang="0">
                                      <a:pos x="186" y="12"/>
                                    </a:cxn>
                                    <a:cxn ang="0">
                                      <a:pos x="180" y="10"/>
                                    </a:cxn>
                                    <a:cxn ang="0">
                                      <a:pos x="180" y="0"/>
                                    </a:cxn>
                                    <a:cxn ang="0">
                                      <a:pos x="166" y="6"/>
                                    </a:cxn>
                                    <a:cxn ang="0">
                                      <a:pos x="164" y="12"/>
                                    </a:cxn>
                                    <a:cxn ang="0">
                                      <a:pos x="156" y="14"/>
                                    </a:cxn>
                                    <a:cxn ang="0">
                                      <a:pos x="156" y="20"/>
                                    </a:cxn>
                                    <a:cxn ang="0">
                                      <a:pos x="144" y="22"/>
                                    </a:cxn>
                                    <a:cxn ang="0">
                                      <a:pos x="128" y="24"/>
                                    </a:cxn>
                                    <a:cxn ang="0">
                                      <a:pos x="118" y="18"/>
                                    </a:cxn>
                                    <a:cxn ang="0">
                                      <a:pos x="104" y="20"/>
                                    </a:cxn>
                                    <a:cxn ang="0">
                                      <a:pos x="92" y="20"/>
                                    </a:cxn>
                                  </a:cxnLst>
                                  <a:rect l="0" t="0" r="r" b="b"/>
                                  <a:pathLst>
                                    <a:path w="248" h="208">
                                      <a:moveTo>
                                        <a:pt x="82" y="18"/>
                                      </a:moveTo>
                                      <a:lnTo>
                                        <a:pt x="82" y="18"/>
                                      </a:lnTo>
                                      <a:lnTo>
                                        <a:pt x="76" y="20"/>
                                      </a:lnTo>
                                      <a:lnTo>
                                        <a:pt x="74" y="22"/>
                                      </a:lnTo>
                                      <a:lnTo>
                                        <a:pt x="72" y="24"/>
                                      </a:lnTo>
                                      <a:lnTo>
                                        <a:pt x="68" y="24"/>
                                      </a:lnTo>
                                      <a:lnTo>
                                        <a:pt x="68" y="24"/>
                                      </a:lnTo>
                                      <a:lnTo>
                                        <a:pt x="66" y="28"/>
                                      </a:lnTo>
                                      <a:lnTo>
                                        <a:pt x="64" y="32"/>
                                      </a:lnTo>
                                      <a:lnTo>
                                        <a:pt x="64" y="42"/>
                                      </a:lnTo>
                                      <a:lnTo>
                                        <a:pt x="64" y="42"/>
                                      </a:lnTo>
                                      <a:lnTo>
                                        <a:pt x="64" y="46"/>
                                      </a:lnTo>
                                      <a:lnTo>
                                        <a:pt x="60" y="48"/>
                                      </a:lnTo>
                                      <a:lnTo>
                                        <a:pt x="48" y="54"/>
                                      </a:lnTo>
                                      <a:lnTo>
                                        <a:pt x="48" y="54"/>
                                      </a:lnTo>
                                      <a:lnTo>
                                        <a:pt x="42" y="56"/>
                                      </a:lnTo>
                                      <a:lnTo>
                                        <a:pt x="42" y="60"/>
                                      </a:lnTo>
                                      <a:lnTo>
                                        <a:pt x="42" y="62"/>
                                      </a:lnTo>
                                      <a:lnTo>
                                        <a:pt x="40" y="66"/>
                                      </a:lnTo>
                                      <a:lnTo>
                                        <a:pt x="40" y="66"/>
                                      </a:lnTo>
                                      <a:lnTo>
                                        <a:pt x="34" y="72"/>
                                      </a:lnTo>
                                      <a:lnTo>
                                        <a:pt x="34" y="74"/>
                                      </a:lnTo>
                                      <a:lnTo>
                                        <a:pt x="34" y="74"/>
                                      </a:lnTo>
                                      <a:lnTo>
                                        <a:pt x="30" y="70"/>
                                      </a:lnTo>
                                      <a:lnTo>
                                        <a:pt x="26" y="66"/>
                                      </a:lnTo>
                                      <a:lnTo>
                                        <a:pt x="24" y="64"/>
                                      </a:lnTo>
                                      <a:lnTo>
                                        <a:pt x="18" y="64"/>
                                      </a:lnTo>
                                      <a:lnTo>
                                        <a:pt x="18" y="64"/>
                                      </a:lnTo>
                                      <a:lnTo>
                                        <a:pt x="14" y="64"/>
                                      </a:lnTo>
                                      <a:lnTo>
                                        <a:pt x="10" y="62"/>
                                      </a:lnTo>
                                      <a:lnTo>
                                        <a:pt x="6" y="58"/>
                                      </a:lnTo>
                                      <a:lnTo>
                                        <a:pt x="6" y="58"/>
                                      </a:lnTo>
                                      <a:lnTo>
                                        <a:pt x="6" y="62"/>
                                      </a:lnTo>
                                      <a:lnTo>
                                        <a:pt x="6" y="62"/>
                                      </a:lnTo>
                                      <a:lnTo>
                                        <a:pt x="8" y="66"/>
                                      </a:lnTo>
                                      <a:lnTo>
                                        <a:pt x="6" y="70"/>
                                      </a:lnTo>
                                      <a:lnTo>
                                        <a:pt x="6" y="70"/>
                                      </a:lnTo>
                                      <a:lnTo>
                                        <a:pt x="6" y="74"/>
                                      </a:lnTo>
                                      <a:lnTo>
                                        <a:pt x="8" y="78"/>
                                      </a:lnTo>
                                      <a:lnTo>
                                        <a:pt x="10" y="80"/>
                                      </a:lnTo>
                                      <a:lnTo>
                                        <a:pt x="8" y="86"/>
                                      </a:lnTo>
                                      <a:lnTo>
                                        <a:pt x="8" y="86"/>
                                      </a:lnTo>
                                      <a:lnTo>
                                        <a:pt x="4" y="92"/>
                                      </a:lnTo>
                                      <a:lnTo>
                                        <a:pt x="0" y="96"/>
                                      </a:lnTo>
                                      <a:lnTo>
                                        <a:pt x="0" y="98"/>
                                      </a:lnTo>
                                      <a:lnTo>
                                        <a:pt x="2" y="102"/>
                                      </a:lnTo>
                                      <a:lnTo>
                                        <a:pt x="2" y="102"/>
                                      </a:lnTo>
                                      <a:lnTo>
                                        <a:pt x="6" y="108"/>
                                      </a:lnTo>
                                      <a:lnTo>
                                        <a:pt x="6" y="114"/>
                                      </a:lnTo>
                                      <a:lnTo>
                                        <a:pt x="6" y="118"/>
                                      </a:lnTo>
                                      <a:lnTo>
                                        <a:pt x="10" y="126"/>
                                      </a:lnTo>
                                      <a:lnTo>
                                        <a:pt x="10" y="126"/>
                                      </a:lnTo>
                                      <a:lnTo>
                                        <a:pt x="12" y="130"/>
                                      </a:lnTo>
                                      <a:lnTo>
                                        <a:pt x="12" y="136"/>
                                      </a:lnTo>
                                      <a:lnTo>
                                        <a:pt x="12" y="146"/>
                                      </a:lnTo>
                                      <a:lnTo>
                                        <a:pt x="12" y="150"/>
                                      </a:lnTo>
                                      <a:lnTo>
                                        <a:pt x="14" y="152"/>
                                      </a:lnTo>
                                      <a:lnTo>
                                        <a:pt x="16" y="154"/>
                                      </a:lnTo>
                                      <a:lnTo>
                                        <a:pt x="24" y="154"/>
                                      </a:lnTo>
                                      <a:lnTo>
                                        <a:pt x="24" y="154"/>
                                      </a:lnTo>
                                      <a:lnTo>
                                        <a:pt x="32" y="154"/>
                                      </a:lnTo>
                                      <a:lnTo>
                                        <a:pt x="36" y="156"/>
                                      </a:lnTo>
                                      <a:lnTo>
                                        <a:pt x="38" y="158"/>
                                      </a:lnTo>
                                      <a:lnTo>
                                        <a:pt x="40" y="164"/>
                                      </a:lnTo>
                                      <a:lnTo>
                                        <a:pt x="36" y="176"/>
                                      </a:lnTo>
                                      <a:lnTo>
                                        <a:pt x="30" y="190"/>
                                      </a:lnTo>
                                      <a:lnTo>
                                        <a:pt x="30" y="190"/>
                                      </a:lnTo>
                                      <a:lnTo>
                                        <a:pt x="36" y="192"/>
                                      </a:lnTo>
                                      <a:lnTo>
                                        <a:pt x="44" y="198"/>
                                      </a:lnTo>
                                      <a:lnTo>
                                        <a:pt x="44" y="198"/>
                                      </a:lnTo>
                                      <a:lnTo>
                                        <a:pt x="52" y="202"/>
                                      </a:lnTo>
                                      <a:lnTo>
                                        <a:pt x="60" y="206"/>
                                      </a:lnTo>
                                      <a:lnTo>
                                        <a:pt x="70" y="206"/>
                                      </a:lnTo>
                                      <a:lnTo>
                                        <a:pt x="80" y="206"/>
                                      </a:lnTo>
                                      <a:lnTo>
                                        <a:pt x="80" y="206"/>
                                      </a:lnTo>
                                      <a:lnTo>
                                        <a:pt x="88" y="208"/>
                                      </a:lnTo>
                                      <a:lnTo>
                                        <a:pt x="100" y="206"/>
                                      </a:lnTo>
                                      <a:lnTo>
                                        <a:pt x="124" y="200"/>
                                      </a:lnTo>
                                      <a:lnTo>
                                        <a:pt x="124" y="200"/>
                                      </a:lnTo>
                                      <a:lnTo>
                                        <a:pt x="140" y="192"/>
                                      </a:lnTo>
                                      <a:lnTo>
                                        <a:pt x="142" y="190"/>
                                      </a:lnTo>
                                      <a:lnTo>
                                        <a:pt x="138" y="188"/>
                                      </a:lnTo>
                                      <a:lnTo>
                                        <a:pt x="138" y="188"/>
                                      </a:lnTo>
                                      <a:lnTo>
                                        <a:pt x="136" y="186"/>
                                      </a:lnTo>
                                      <a:lnTo>
                                        <a:pt x="136" y="186"/>
                                      </a:lnTo>
                                      <a:lnTo>
                                        <a:pt x="136" y="184"/>
                                      </a:lnTo>
                                      <a:lnTo>
                                        <a:pt x="134" y="180"/>
                                      </a:lnTo>
                                      <a:lnTo>
                                        <a:pt x="134" y="180"/>
                                      </a:lnTo>
                                      <a:lnTo>
                                        <a:pt x="134" y="178"/>
                                      </a:lnTo>
                                      <a:lnTo>
                                        <a:pt x="134" y="174"/>
                                      </a:lnTo>
                                      <a:lnTo>
                                        <a:pt x="138" y="168"/>
                                      </a:lnTo>
                                      <a:lnTo>
                                        <a:pt x="144" y="164"/>
                                      </a:lnTo>
                                      <a:lnTo>
                                        <a:pt x="148" y="164"/>
                                      </a:lnTo>
                                      <a:lnTo>
                                        <a:pt x="152" y="164"/>
                                      </a:lnTo>
                                      <a:lnTo>
                                        <a:pt x="152" y="164"/>
                                      </a:lnTo>
                                      <a:lnTo>
                                        <a:pt x="156" y="166"/>
                                      </a:lnTo>
                                      <a:lnTo>
                                        <a:pt x="158" y="164"/>
                                      </a:lnTo>
                                      <a:lnTo>
                                        <a:pt x="162" y="162"/>
                                      </a:lnTo>
                                      <a:lnTo>
                                        <a:pt x="160" y="158"/>
                                      </a:lnTo>
                                      <a:lnTo>
                                        <a:pt x="160" y="158"/>
                                      </a:lnTo>
                                      <a:lnTo>
                                        <a:pt x="160" y="154"/>
                                      </a:lnTo>
                                      <a:lnTo>
                                        <a:pt x="162" y="154"/>
                                      </a:lnTo>
                                      <a:lnTo>
                                        <a:pt x="166" y="154"/>
                                      </a:lnTo>
                                      <a:lnTo>
                                        <a:pt x="170" y="152"/>
                                      </a:lnTo>
                                      <a:lnTo>
                                        <a:pt x="174" y="148"/>
                                      </a:lnTo>
                                      <a:lnTo>
                                        <a:pt x="174" y="148"/>
                                      </a:lnTo>
                                      <a:lnTo>
                                        <a:pt x="176" y="144"/>
                                      </a:lnTo>
                                      <a:lnTo>
                                        <a:pt x="176" y="142"/>
                                      </a:lnTo>
                                      <a:lnTo>
                                        <a:pt x="172" y="138"/>
                                      </a:lnTo>
                                      <a:lnTo>
                                        <a:pt x="170" y="132"/>
                                      </a:lnTo>
                                      <a:lnTo>
                                        <a:pt x="168" y="130"/>
                                      </a:lnTo>
                                      <a:lnTo>
                                        <a:pt x="170" y="126"/>
                                      </a:lnTo>
                                      <a:lnTo>
                                        <a:pt x="170" y="126"/>
                                      </a:lnTo>
                                      <a:lnTo>
                                        <a:pt x="172" y="120"/>
                                      </a:lnTo>
                                      <a:lnTo>
                                        <a:pt x="178" y="120"/>
                                      </a:lnTo>
                                      <a:lnTo>
                                        <a:pt x="182" y="118"/>
                                      </a:lnTo>
                                      <a:lnTo>
                                        <a:pt x="184" y="114"/>
                                      </a:lnTo>
                                      <a:lnTo>
                                        <a:pt x="184" y="114"/>
                                      </a:lnTo>
                                      <a:lnTo>
                                        <a:pt x="184" y="112"/>
                                      </a:lnTo>
                                      <a:lnTo>
                                        <a:pt x="184" y="110"/>
                                      </a:lnTo>
                                      <a:lnTo>
                                        <a:pt x="180" y="108"/>
                                      </a:lnTo>
                                      <a:lnTo>
                                        <a:pt x="174" y="104"/>
                                      </a:lnTo>
                                      <a:lnTo>
                                        <a:pt x="174" y="102"/>
                                      </a:lnTo>
                                      <a:lnTo>
                                        <a:pt x="174" y="102"/>
                                      </a:lnTo>
                                      <a:lnTo>
                                        <a:pt x="174" y="102"/>
                                      </a:lnTo>
                                      <a:lnTo>
                                        <a:pt x="176" y="100"/>
                                      </a:lnTo>
                                      <a:lnTo>
                                        <a:pt x="178" y="100"/>
                                      </a:lnTo>
                                      <a:lnTo>
                                        <a:pt x="186" y="100"/>
                                      </a:lnTo>
                                      <a:lnTo>
                                        <a:pt x="208" y="102"/>
                                      </a:lnTo>
                                      <a:lnTo>
                                        <a:pt x="208" y="102"/>
                                      </a:lnTo>
                                      <a:lnTo>
                                        <a:pt x="216" y="102"/>
                                      </a:lnTo>
                                      <a:lnTo>
                                        <a:pt x="218" y="100"/>
                                      </a:lnTo>
                                      <a:lnTo>
                                        <a:pt x="218" y="100"/>
                                      </a:lnTo>
                                      <a:lnTo>
                                        <a:pt x="216" y="96"/>
                                      </a:lnTo>
                                      <a:lnTo>
                                        <a:pt x="214" y="94"/>
                                      </a:lnTo>
                                      <a:lnTo>
                                        <a:pt x="214" y="94"/>
                                      </a:lnTo>
                                      <a:lnTo>
                                        <a:pt x="210" y="90"/>
                                      </a:lnTo>
                                      <a:lnTo>
                                        <a:pt x="208" y="86"/>
                                      </a:lnTo>
                                      <a:lnTo>
                                        <a:pt x="208" y="82"/>
                                      </a:lnTo>
                                      <a:lnTo>
                                        <a:pt x="210" y="78"/>
                                      </a:lnTo>
                                      <a:lnTo>
                                        <a:pt x="212" y="72"/>
                                      </a:lnTo>
                                      <a:lnTo>
                                        <a:pt x="210" y="70"/>
                                      </a:lnTo>
                                      <a:lnTo>
                                        <a:pt x="206" y="66"/>
                                      </a:lnTo>
                                      <a:lnTo>
                                        <a:pt x="206" y="66"/>
                                      </a:lnTo>
                                      <a:lnTo>
                                        <a:pt x="200" y="60"/>
                                      </a:lnTo>
                                      <a:lnTo>
                                        <a:pt x="198" y="56"/>
                                      </a:lnTo>
                                      <a:lnTo>
                                        <a:pt x="200" y="54"/>
                                      </a:lnTo>
                                      <a:lnTo>
                                        <a:pt x="204" y="48"/>
                                      </a:lnTo>
                                      <a:lnTo>
                                        <a:pt x="204" y="48"/>
                                      </a:lnTo>
                                      <a:lnTo>
                                        <a:pt x="208" y="44"/>
                                      </a:lnTo>
                                      <a:lnTo>
                                        <a:pt x="214" y="44"/>
                                      </a:lnTo>
                                      <a:lnTo>
                                        <a:pt x="218" y="42"/>
                                      </a:lnTo>
                                      <a:lnTo>
                                        <a:pt x="220" y="38"/>
                                      </a:lnTo>
                                      <a:lnTo>
                                        <a:pt x="220" y="38"/>
                                      </a:lnTo>
                                      <a:lnTo>
                                        <a:pt x="220" y="36"/>
                                      </a:lnTo>
                                      <a:lnTo>
                                        <a:pt x="224" y="34"/>
                                      </a:lnTo>
                                      <a:lnTo>
                                        <a:pt x="232" y="32"/>
                                      </a:lnTo>
                                      <a:lnTo>
                                        <a:pt x="244" y="30"/>
                                      </a:lnTo>
                                      <a:lnTo>
                                        <a:pt x="244" y="30"/>
                                      </a:lnTo>
                                      <a:lnTo>
                                        <a:pt x="242" y="26"/>
                                      </a:lnTo>
                                      <a:lnTo>
                                        <a:pt x="242" y="26"/>
                                      </a:lnTo>
                                      <a:lnTo>
                                        <a:pt x="240" y="24"/>
                                      </a:lnTo>
                                      <a:lnTo>
                                        <a:pt x="240" y="22"/>
                                      </a:lnTo>
                                      <a:lnTo>
                                        <a:pt x="248" y="20"/>
                                      </a:lnTo>
                                      <a:lnTo>
                                        <a:pt x="248" y="20"/>
                                      </a:lnTo>
                                      <a:lnTo>
                                        <a:pt x="238" y="20"/>
                                      </a:lnTo>
                                      <a:lnTo>
                                        <a:pt x="234" y="22"/>
                                      </a:lnTo>
                                      <a:lnTo>
                                        <a:pt x="230" y="24"/>
                                      </a:lnTo>
                                      <a:lnTo>
                                        <a:pt x="228" y="24"/>
                                      </a:lnTo>
                                      <a:lnTo>
                                        <a:pt x="228" y="24"/>
                                      </a:lnTo>
                                      <a:lnTo>
                                        <a:pt x="226" y="24"/>
                                      </a:lnTo>
                                      <a:lnTo>
                                        <a:pt x="226" y="22"/>
                                      </a:lnTo>
                                      <a:lnTo>
                                        <a:pt x="228" y="20"/>
                                      </a:lnTo>
                                      <a:lnTo>
                                        <a:pt x="226" y="20"/>
                                      </a:lnTo>
                                      <a:lnTo>
                                        <a:pt x="226" y="20"/>
                                      </a:lnTo>
                                      <a:lnTo>
                                        <a:pt x="224" y="20"/>
                                      </a:lnTo>
                                      <a:lnTo>
                                        <a:pt x="222" y="22"/>
                                      </a:lnTo>
                                      <a:lnTo>
                                        <a:pt x="218" y="24"/>
                                      </a:lnTo>
                                      <a:lnTo>
                                        <a:pt x="212" y="28"/>
                                      </a:lnTo>
                                      <a:lnTo>
                                        <a:pt x="212" y="28"/>
                                      </a:lnTo>
                                      <a:lnTo>
                                        <a:pt x="204" y="34"/>
                                      </a:lnTo>
                                      <a:lnTo>
                                        <a:pt x="202" y="34"/>
                                      </a:lnTo>
                                      <a:lnTo>
                                        <a:pt x="198" y="30"/>
                                      </a:lnTo>
                                      <a:lnTo>
                                        <a:pt x="198" y="30"/>
                                      </a:lnTo>
                                      <a:lnTo>
                                        <a:pt x="192" y="22"/>
                                      </a:lnTo>
                                      <a:lnTo>
                                        <a:pt x="188" y="16"/>
                                      </a:lnTo>
                                      <a:lnTo>
                                        <a:pt x="186" y="12"/>
                                      </a:lnTo>
                                      <a:lnTo>
                                        <a:pt x="186" y="12"/>
                                      </a:lnTo>
                                      <a:lnTo>
                                        <a:pt x="186" y="10"/>
                                      </a:lnTo>
                                      <a:lnTo>
                                        <a:pt x="186" y="10"/>
                                      </a:lnTo>
                                      <a:lnTo>
                                        <a:pt x="182" y="10"/>
                                      </a:lnTo>
                                      <a:lnTo>
                                        <a:pt x="180" y="10"/>
                                      </a:lnTo>
                                      <a:lnTo>
                                        <a:pt x="182" y="6"/>
                                      </a:lnTo>
                                      <a:lnTo>
                                        <a:pt x="182" y="6"/>
                                      </a:lnTo>
                                      <a:lnTo>
                                        <a:pt x="182" y="2"/>
                                      </a:lnTo>
                                      <a:lnTo>
                                        <a:pt x="180" y="0"/>
                                      </a:lnTo>
                                      <a:lnTo>
                                        <a:pt x="174" y="0"/>
                                      </a:lnTo>
                                      <a:lnTo>
                                        <a:pt x="168" y="2"/>
                                      </a:lnTo>
                                      <a:lnTo>
                                        <a:pt x="168" y="2"/>
                                      </a:lnTo>
                                      <a:lnTo>
                                        <a:pt x="166" y="6"/>
                                      </a:lnTo>
                                      <a:lnTo>
                                        <a:pt x="164" y="8"/>
                                      </a:lnTo>
                                      <a:lnTo>
                                        <a:pt x="166" y="10"/>
                                      </a:lnTo>
                                      <a:lnTo>
                                        <a:pt x="164" y="12"/>
                                      </a:lnTo>
                                      <a:lnTo>
                                        <a:pt x="164" y="12"/>
                                      </a:lnTo>
                                      <a:lnTo>
                                        <a:pt x="162" y="12"/>
                                      </a:lnTo>
                                      <a:lnTo>
                                        <a:pt x="160" y="12"/>
                                      </a:lnTo>
                                      <a:lnTo>
                                        <a:pt x="160" y="12"/>
                                      </a:lnTo>
                                      <a:lnTo>
                                        <a:pt x="156" y="14"/>
                                      </a:lnTo>
                                      <a:lnTo>
                                        <a:pt x="156" y="14"/>
                                      </a:lnTo>
                                      <a:lnTo>
                                        <a:pt x="154" y="16"/>
                                      </a:lnTo>
                                      <a:lnTo>
                                        <a:pt x="154" y="18"/>
                                      </a:lnTo>
                                      <a:lnTo>
                                        <a:pt x="156" y="20"/>
                                      </a:lnTo>
                                      <a:lnTo>
                                        <a:pt x="154" y="22"/>
                                      </a:lnTo>
                                      <a:lnTo>
                                        <a:pt x="154" y="22"/>
                                      </a:lnTo>
                                      <a:lnTo>
                                        <a:pt x="150" y="24"/>
                                      </a:lnTo>
                                      <a:lnTo>
                                        <a:pt x="144" y="22"/>
                                      </a:lnTo>
                                      <a:lnTo>
                                        <a:pt x="140" y="22"/>
                                      </a:lnTo>
                                      <a:lnTo>
                                        <a:pt x="134" y="24"/>
                                      </a:lnTo>
                                      <a:lnTo>
                                        <a:pt x="134" y="24"/>
                                      </a:lnTo>
                                      <a:lnTo>
                                        <a:pt x="128" y="24"/>
                                      </a:lnTo>
                                      <a:lnTo>
                                        <a:pt x="126" y="22"/>
                                      </a:lnTo>
                                      <a:lnTo>
                                        <a:pt x="124" y="18"/>
                                      </a:lnTo>
                                      <a:lnTo>
                                        <a:pt x="122" y="18"/>
                                      </a:lnTo>
                                      <a:lnTo>
                                        <a:pt x="118" y="18"/>
                                      </a:lnTo>
                                      <a:lnTo>
                                        <a:pt x="118" y="18"/>
                                      </a:lnTo>
                                      <a:lnTo>
                                        <a:pt x="110" y="20"/>
                                      </a:lnTo>
                                      <a:lnTo>
                                        <a:pt x="108" y="20"/>
                                      </a:lnTo>
                                      <a:lnTo>
                                        <a:pt x="104" y="20"/>
                                      </a:lnTo>
                                      <a:lnTo>
                                        <a:pt x="104" y="20"/>
                                      </a:lnTo>
                                      <a:lnTo>
                                        <a:pt x="102" y="18"/>
                                      </a:lnTo>
                                      <a:lnTo>
                                        <a:pt x="98" y="20"/>
                                      </a:lnTo>
                                      <a:lnTo>
                                        <a:pt x="92" y="20"/>
                                      </a:lnTo>
                                      <a:lnTo>
                                        <a:pt x="82" y="18"/>
                                      </a:lnTo>
                                      <a:lnTo>
                                        <a:pt x="82" y="1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5" name="Algeria"/>
                                <p:cNvSpPr>
                                  <a:spLocks/>
                                </p:cNvSpPr>
                                <p:nvPr/>
                              </p:nvSpPr>
                              <p:spPr bwMode="auto">
                                <a:xfrm>
                                  <a:off x="5513835" y="2280164"/>
                                  <a:ext cx="634867" cy="679803"/>
                                </a:xfrm>
                                <a:custGeom>
                                  <a:avLst/>
                                  <a:gdLst/>
                                  <a:ahLst/>
                                  <a:cxnLst>
                                    <a:cxn ang="0">
                                      <a:pos x="292" y="432"/>
                                    </a:cxn>
                                    <a:cxn ang="0">
                                      <a:pos x="316" y="408"/>
                                    </a:cxn>
                                    <a:cxn ang="0">
                                      <a:pos x="418" y="302"/>
                                    </a:cxn>
                                    <a:cxn ang="0">
                                      <a:pos x="394" y="286"/>
                                    </a:cxn>
                                    <a:cxn ang="0">
                                      <a:pos x="378" y="278"/>
                                    </a:cxn>
                                    <a:cxn ang="0">
                                      <a:pos x="374" y="268"/>
                                    </a:cxn>
                                    <a:cxn ang="0">
                                      <a:pos x="360" y="256"/>
                                    </a:cxn>
                                    <a:cxn ang="0">
                                      <a:pos x="372" y="244"/>
                                    </a:cxn>
                                    <a:cxn ang="0">
                                      <a:pos x="372" y="232"/>
                                    </a:cxn>
                                    <a:cxn ang="0">
                                      <a:pos x="374" y="224"/>
                                    </a:cxn>
                                    <a:cxn ang="0">
                                      <a:pos x="362" y="192"/>
                                    </a:cxn>
                                    <a:cxn ang="0">
                                      <a:pos x="354" y="168"/>
                                    </a:cxn>
                                    <a:cxn ang="0">
                                      <a:pos x="348" y="128"/>
                                    </a:cxn>
                                    <a:cxn ang="0">
                                      <a:pos x="336" y="116"/>
                                    </a:cxn>
                                    <a:cxn ang="0">
                                      <a:pos x="324" y="94"/>
                                    </a:cxn>
                                    <a:cxn ang="0">
                                      <a:pos x="320" y="70"/>
                                    </a:cxn>
                                    <a:cxn ang="0">
                                      <a:pos x="330" y="60"/>
                                    </a:cxn>
                                    <a:cxn ang="0">
                                      <a:pos x="334" y="48"/>
                                    </a:cxn>
                                    <a:cxn ang="0">
                                      <a:pos x="332" y="34"/>
                                    </a:cxn>
                                    <a:cxn ang="0">
                                      <a:pos x="330" y="18"/>
                                    </a:cxn>
                                    <a:cxn ang="0">
                                      <a:pos x="338" y="6"/>
                                    </a:cxn>
                                    <a:cxn ang="0">
                                      <a:pos x="326" y="2"/>
                                    </a:cxn>
                                    <a:cxn ang="0">
                                      <a:pos x="314" y="4"/>
                                    </a:cxn>
                                    <a:cxn ang="0">
                                      <a:pos x="306" y="6"/>
                                    </a:cxn>
                                    <a:cxn ang="0">
                                      <a:pos x="290" y="10"/>
                                    </a:cxn>
                                    <a:cxn ang="0">
                                      <a:pos x="276" y="6"/>
                                    </a:cxn>
                                    <a:cxn ang="0">
                                      <a:pos x="256" y="8"/>
                                    </a:cxn>
                                    <a:cxn ang="0">
                                      <a:pos x="242" y="12"/>
                                    </a:cxn>
                                    <a:cxn ang="0">
                                      <a:pos x="214" y="16"/>
                                    </a:cxn>
                                    <a:cxn ang="0">
                                      <a:pos x="192" y="28"/>
                                    </a:cxn>
                                    <a:cxn ang="0">
                                      <a:pos x="176" y="38"/>
                                    </a:cxn>
                                    <a:cxn ang="0">
                                      <a:pos x="166" y="34"/>
                                    </a:cxn>
                                    <a:cxn ang="0">
                                      <a:pos x="152" y="44"/>
                                    </a:cxn>
                                    <a:cxn ang="0">
                                      <a:pos x="142" y="48"/>
                                    </a:cxn>
                                    <a:cxn ang="0">
                                      <a:pos x="140" y="58"/>
                                    </a:cxn>
                                    <a:cxn ang="0">
                                      <a:pos x="140" y="90"/>
                                    </a:cxn>
                                    <a:cxn ang="0">
                                      <a:pos x="160" y="104"/>
                                    </a:cxn>
                                    <a:cxn ang="0">
                                      <a:pos x="158" y="116"/>
                                    </a:cxn>
                                    <a:cxn ang="0">
                                      <a:pos x="132" y="118"/>
                                    </a:cxn>
                                    <a:cxn ang="0">
                                      <a:pos x="106" y="128"/>
                                    </a:cxn>
                                    <a:cxn ang="0">
                                      <a:pos x="110" y="140"/>
                                    </a:cxn>
                                    <a:cxn ang="0">
                                      <a:pos x="68" y="166"/>
                                    </a:cxn>
                                    <a:cxn ang="0">
                                      <a:pos x="44" y="178"/>
                                    </a:cxn>
                                    <a:cxn ang="0">
                                      <a:pos x="32" y="182"/>
                                    </a:cxn>
                                    <a:cxn ang="0">
                                      <a:pos x="20" y="184"/>
                                    </a:cxn>
                                    <a:cxn ang="0">
                                      <a:pos x="10" y="194"/>
                                    </a:cxn>
                                    <a:cxn ang="0">
                                      <a:pos x="0" y="234"/>
                                    </a:cxn>
                                    <a:cxn ang="0">
                                      <a:pos x="224" y="408"/>
                                    </a:cxn>
                                    <a:cxn ang="0">
                                      <a:pos x="232" y="412"/>
                                    </a:cxn>
                                    <a:cxn ang="0">
                                      <a:pos x="236" y="416"/>
                                    </a:cxn>
                                    <a:cxn ang="0">
                                      <a:pos x="244" y="424"/>
                                    </a:cxn>
                                    <a:cxn ang="0">
                                      <a:pos x="246" y="436"/>
                                    </a:cxn>
                                    <a:cxn ang="0">
                                      <a:pos x="248" y="446"/>
                                    </a:cxn>
                                  </a:cxnLst>
                                  <a:rect l="0" t="0" r="r" b="b"/>
                                  <a:pathLst>
                                    <a:path w="418" h="448">
                                      <a:moveTo>
                                        <a:pt x="266" y="440"/>
                                      </a:moveTo>
                                      <a:lnTo>
                                        <a:pt x="266" y="440"/>
                                      </a:lnTo>
                                      <a:lnTo>
                                        <a:pt x="288" y="432"/>
                                      </a:lnTo>
                                      <a:lnTo>
                                        <a:pt x="288" y="432"/>
                                      </a:lnTo>
                                      <a:lnTo>
                                        <a:pt x="292" y="432"/>
                                      </a:lnTo>
                                      <a:lnTo>
                                        <a:pt x="294" y="430"/>
                                      </a:lnTo>
                                      <a:lnTo>
                                        <a:pt x="304" y="420"/>
                                      </a:lnTo>
                                      <a:lnTo>
                                        <a:pt x="304" y="420"/>
                                      </a:lnTo>
                                      <a:lnTo>
                                        <a:pt x="312" y="412"/>
                                      </a:lnTo>
                                      <a:lnTo>
                                        <a:pt x="316" y="408"/>
                                      </a:lnTo>
                                      <a:lnTo>
                                        <a:pt x="322" y="404"/>
                                      </a:lnTo>
                                      <a:lnTo>
                                        <a:pt x="330" y="396"/>
                                      </a:lnTo>
                                      <a:lnTo>
                                        <a:pt x="330" y="396"/>
                                      </a:lnTo>
                                      <a:lnTo>
                                        <a:pt x="382" y="340"/>
                                      </a:lnTo>
                                      <a:lnTo>
                                        <a:pt x="418" y="302"/>
                                      </a:lnTo>
                                      <a:lnTo>
                                        <a:pt x="418" y="302"/>
                                      </a:lnTo>
                                      <a:lnTo>
                                        <a:pt x="414" y="300"/>
                                      </a:lnTo>
                                      <a:lnTo>
                                        <a:pt x="400" y="290"/>
                                      </a:lnTo>
                                      <a:lnTo>
                                        <a:pt x="400" y="290"/>
                                      </a:lnTo>
                                      <a:lnTo>
                                        <a:pt x="394" y="286"/>
                                      </a:lnTo>
                                      <a:lnTo>
                                        <a:pt x="390" y="286"/>
                                      </a:lnTo>
                                      <a:lnTo>
                                        <a:pt x="386" y="286"/>
                                      </a:lnTo>
                                      <a:lnTo>
                                        <a:pt x="382" y="282"/>
                                      </a:lnTo>
                                      <a:lnTo>
                                        <a:pt x="382" y="282"/>
                                      </a:lnTo>
                                      <a:lnTo>
                                        <a:pt x="378" y="278"/>
                                      </a:lnTo>
                                      <a:lnTo>
                                        <a:pt x="376" y="276"/>
                                      </a:lnTo>
                                      <a:lnTo>
                                        <a:pt x="374" y="276"/>
                                      </a:lnTo>
                                      <a:lnTo>
                                        <a:pt x="374" y="272"/>
                                      </a:lnTo>
                                      <a:lnTo>
                                        <a:pt x="374" y="272"/>
                                      </a:lnTo>
                                      <a:lnTo>
                                        <a:pt x="374" y="268"/>
                                      </a:lnTo>
                                      <a:lnTo>
                                        <a:pt x="372" y="266"/>
                                      </a:lnTo>
                                      <a:lnTo>
                                        <a:pt x="368" y="264"/>
                                      </a:lnTo>
                                      <a:lnTo>
                                        <a:pt x="360" y="258"/>
                                      </a:lnTo>
                                      <a:lnTo>
                                        <a:pt x="360" y="258"/>
                                      </a:lnTo>
                                      <a:lnTo>
                                        <a:pt x="360" y="256"/>
                                      </a:lnTo>
                                      <a:lnTo>
                                        <a:pt x="360" y="254"/>
                                      </a:lnTo>
                                      <a:lnTo>
                                        <a:pt x="362" y="252"/>
                                      </a:lnTo>
                                      <a:lnTo>
                                        <a:pt x="368" y="250"/>
                                      </a:lnTo>
                                      <a:lnTo>
                                        <a:pt x="370" y="248"/>
                                      </a:lnTo>
                                      <a:lnTo>
                                        <a:pt x="372" y="244"/>
                                      </a:lnTo>
                                      <a:lnTo>
                                        <a:pt x="372" y="244"/>
                                      </a:lnTo>
                                      <a:lnTo>
                                        <a:pt x="374" y="240"/>
                                      </a:lnTo>
                                      <a:lnTo>
                                        <a:pt x="376" y="238"/>
                                      </a:lnTo>
                                      <a:lnTo>
                                        <a:pt x="376" y="236"/>
                                      </a:lnTo>
                                      <a:lnTo>
                                        <a:pt x="372" y="232"/>
                                      </a:lnTo>
                                      <a:lnTo>
                                        <a:pt x="372" y="232"/>
                                      </a:lnTo>
                                      <a:lnTo>
                                        <a:pt x="370" y="228"/>
                                      </a:lnTo>
                                      <a:lnTo>
                                        <a:pt x="372" y="226"/>
                                      </a:lnTo>
                                      <a:lnTo>
                                        <a:pt x="372" y="226"/>
                                      </a:lnTo>
                                      <a:lnTo>
                                        <a:pt x="374" y="224"/>
                                      </a:lnTo>
                                      <a:lnTo>
                                        <a:pt x="376" y="220"/>
                                      </a:lnTo>
                                      <a:lnTo>
                                        <a:pt x="374" y="214"/>
                                      </a:lnTo>
                                      <a:lnTo>
                                        <a:pt x="368" y="202"/>
                                      </a:lnTo>
                                      <a:lnTo>
                                        <a:pt x="368" y="202"/>
                                      </a:lnTo>
                                      <a:lnTo>
                                        <a:pt x="362" y="192"/>
                                      </a:lnTo>
                                      <a:lnTo>
                                        <a:pt x="360" y="184"/>
                                      </a:lnTo>
                                      <a:lnTo>
                                        <a:pt x="360" y="178"/>
                                      </a:lnTo>
                                      <a:lnTo>
                                        <a:pt x="358" y="172"/>
                                      </a:lnTo>
                                      <a:lnTo>
                                        <a:pt x="358" y="172"/>
                                      </a:lnTo>
                                      <a:lnTo>
                                        <a:pt x="354" y="168"/>
                                      </a:lnTo>
                                      <a:lnTo>
                                        <a:pt x="354" y="166"/>
                                      </a:lnTo>
                                      <a:lnTo>
                                        <a:pt x="356" y="166"/>
                                      </a:lnTo>
                                      <a:lnTo>
                                        <a:pt x="356" y="166"/>
                                      </a:lnTo>
                                      <a:lnTo>
                                        <a:pt x="350" y="138"/>
                                      </a:lnTo>
                                      <a:lnTo>
                                        <a:pt x="348" y="128"/>
                                      </a:lnTo>
                                      <a:lnTo>
                                        <a:pt x="346" y="124"/>
                                      </a:lnTo>
                                      <a:lnTo>
                                        <a:pt x="342" y="122"/>
                                      </a:lnTo>
                                      <a:lnTo>
                                        <a:pt x="342" y="122"/>
                                      </a:lnTo>
                                      <a:lnTo>
                                        <a:pt x="338" y="120"/>
                                      </a:lnTo>
                                      <a:lnTo>
                                        <a:pt x="336" y="116"/>
                                      </a:lnTo>
                                      <a:lnTo>
                                        <a:pt x="332" y="108"/>
                                      </a:lnTo>
                                      <a:lnTo>
                                        <a:pt x="330" y="102"/>
                                      </a:lnTo>
                                      <a:lnTo>
                                        <a:pt x="328" y="98"/>
                                      </a:lnTo>
                                      <a:lnTo>
                                        <a:pt x="324" y="94"/>
                                      </a:lnTo>
                                      <a:lnTo>
                                        <a:pt x="324" y="94"/>
                                      </a:lnTo>
                                      <a:lnTo>
                                        <a:pt x="320" y="92"/>
                                      </a:lnTo>
                                      <a:lnTo>
                                        <a:pt x="318" y="88"/>
                                      </a:lnTo>
                                      <a:lnTo>
                                        <a:pt x="316" y="80"/>
                                      </a:lnTo>
                                      <a:lnTo>
                                        <a:pt x="316" y="74"/>
                                      </a:lnTo>
                                      <a:lnTo>
                                        <a:pt x="320" y="70"/>
                                      </a:lnTo>
                                      <a:lnTo>
                                        <a:pt x="320" y="70"/>
                                      </a:lnTo>
                                      <a:lnTo>
                                        <a:pt x="324" y="68"/>
                                      </a:lnTo>
                                      <a:lnTo>
                                        <a:pt x="326" y="66"/>
                                      </a:lnTo>
                                      <a:lnTo>
                                        <a:pt x="326" y="62"/>
                                      </a:lnTo>
                                      <a:lnTo>
                                        <a:pt x="330" y="60"/>
                                      </a:lnTo>
                                      <a:lnTo>
                                        <a:pt x="330" y="60"/>
                                      </a:lnTo>
                                      <a:lnTo>
                                        <a:pt x="334" y="58"/>
                                      </a:lnTo>
                                      <a:lnTo>
                                        <a:pt x="334" y="56"/>
                                      </a:lnTo>
                                      <a:lnTo>
                                        <a:pt x="334" y="52"/>
                                      </a:lnTo>
                                      <a:lnTo>
                                        <a:pt x="334" y="48"/>
                                      </a:lnTo>
                                      <a:lnTo>
                                        <a:pt x="334" y="48"/>
                                      </a:lnTo>
                                      <a:lnTo>
                                        <a:pt x="336" y="46"/>
                                      </a:lnTo>
                                      <a:lnTo>
                                        <a:pt x="334" y="44"/>
                                      </a:lnTo>
                                      <a:lnTo>
                                        <a:pt x="334" y="40"/>
                                      </a:lnTo>
                                      <a:lnTo>
                                        <a:pt x="332" y="34"/>
                                      </a:lnTo>
                                      <a:lnTo>
                                        <a:pt x="332" y="34"/>
                                      </a:lnTo>
                                      <a:lnTo>
                                        <a:pt x="332" y="22"/>
                                      </a:lnTo>
                                      <a:lnTo>
                                        <a:pt x="332" y="20"/>
                                      </a:lnTo>
                                      <a:lnTo>
                                        <a:pt x="330" y="18"/>
                                      </a:lnTo>
                                      <a:lnTo>
                                        <a:pt x="330" y="18"/>
                                      </a:lnTo>
                                      <a:lnTo>
                                        <a:pt x="328" y="18"/>
                                      </a:lnTo>
                                      <a:lnTo>
                                        <a:pt x="330" y="16"/>
                                      </a:lnTo>
                                      <a:lnTo>
                                        <a:pt x="334" y="12"/>
                                      </a:lnTo>
                                      <a:lnTo>
                                        <a:pt x="338" y="6"/>
                                      </a:lnTo>
                                      <a:lnTo>
                                        <a:pt x="338" y="6"/>
                                      </a:lnTo>
                                      <a:lnTo>
                                        <a:pt x="330" y="4"/>
                                      </a:lnTo>
                                      <a:lnTo>
                                        <a:pt x="328" y="4"/>
                                      </a:lnTo>
                                      <a:lnTo>
                                        <a:pt x="328" y="4"/>
                                      </a:lnTo>
                                      <a:lnTo>
                                        <a:pt x="326" y="2"/>
                                      </a:lnTo>
                                      <a:lnTo>
                                        <a:pt x="326" y="2"/>
                                      </a:lnTo>
                                      <a:lnTo>
                                        <a:pt x="318" y="0"/>
                                      </a:lnTo>
                                      <a:lnTo>
                                        <a:pt x="320" y="2"/>
                                      </a:lnTo>
                                      <a:lnTo>
                                        <a:pt x="318" y="4"/>
                                      </a:lnTo>
                                      <a:lnTo>
                                        <a:pt x="318" y="4"/>
                                      </a:lnTo>
                                      <a:lnTo>
                                        <a:pt x="314" y="4"/>
                                      </a:lnTo>
                                      <a:lnTo>
                                        <a:pt x="312" y="2"/>
                                      </a:lnTo>
                                      <a:lnTo>
                                        <a:pt x="310" y="0"/>
                                      </a:lnTo>
                                      <a:lnTo>
                                        <a:pt x="308" y="4"/>
                                      </a:lnTo>
                                      <a:lnTo>
                                        <a:pt x="308" y="4"/>
                                      </a:lnTo>
                                      <a:lnTo>
                                        <a:pt x="306" y="6"/>
                                      </a:lnTo>
                                      <a:lnTo>
                                        <a:pt x="302" y="6"/>
                                      </a:lnTo>
                                      <a:lnTo>
                                        <a:pt x="298" y="6"/>
                                      </a:lnTo>
                                      <a:lnTo>
                                        <a:pt x="294" y="8"/>
                                      </a:lnTo>
                                      <a:lnTo>
                                        <a:pt x="294" y="8"/>
                                      </a:lnTo>
                                      <a:lnTo>
                                        <a:pt x="290" y="10"/>
                                      </a:lnTo>
                                      <a:lnTo>
                                        <a:pt x="290" y="8"/>
                                      </a:lnTo>
                                      <a:lnTo>
                                        <a:pt x="288" y="6"/>
                                      </a:lnTo>
                                      <a:lnTo>
                                        <a:pt x="284" y="6"/>
                                      </a:lnTo>
                                      <a:lnTo>
                                        <a:pt x="284" y="6"/>
                                      </a:lnTo>
                                      <a:lnTo>
                                        <a:pt x="276" y="6"/>
                                      </a:lnTo>
                                      <a:lnTo>
                                        <a:pt x="272" y="6"/>
                                      </a:lnTo>
                                      <a:lnTo>
                                        <a:pt x="266" y="6"/>
                                      </a:lnTo>
                                      <a:lnTo>
                                        <a:pt x="262" y="6"/>
                                      </a:lnTo>
                                      <a:lnTo>
                                        <a:pt x="262" y="6"/>
                                      </a:lnTo>
                                      <a:lnTo>
                                        <a:pt x="256" y="8"/>
                                      </a:lnTo>
                                      <a:lnTo>
                                        <a:pt x="250" y="12"/>
                                      </a:lnTo>
                                      <a:lnTo>
                                        <a:pt x="250" y="12"/>
                                      </a:lnTo>
                                      <a:lnTo>
                                        <a:pt x="248" y="14"/>
                                      </a:lnTo>
                                      <a:lnTo>
                                        <a:pt x="246" y="12"/>
                                      </a:lnTo>
                                      <a:lnTo>
                                        <a:pt x="242" y="12"/>
                                      </a:lnTo>
                                      <a:lnTo>
                                        <a:pt x="230" y="12"/>
                                      </a:lnTo>
                                      <a:lnTo>
                                        <a:pt x="230" y="12"/>
                                      </a:lnTo>
                                      <a:lnTo>
                                        <a:pt x="220" y="12"/>
                                      </a:lnTo>
                                      <a:lnTo>
                                        <a:pt x="216" y="14"/>
                                      </a:lnTo>
                                      <a:lnTo>
                                        <a:pt x="214" y="16"/>
                                      </a:lnTo>
                                      <a:lnTo>
                                        <a:pt x="210" y="16"/>
                                      </a:lnTo>
                                      <a:lnTo>
                                        <a:pt x="210" y="16"/>
                                      </a:lnTo>
                                      <a:lnTo>
                                        <a:pt x="204" y="18"/>
                                      </a:lnTo>
                                      <a:lnTo>
                                        <a:pt x="198" y="22"/>
                                      </a:lnTo>
                                      <a:lnTo>
                                        <a:pt x="192" y="28"/>
                                      </a:lnTo>
                                      <a:lnTo>
                                        <a:pt x="186" y="30"/>
                                      </a:lnTo>
                                      <a:lnTo>
                                        <a:pt x="186" y="30"/>
                                      </a:lnTo>
                                      <a:lnTo>
                                        <a:pt x="184" y="32"/>
                                      </a:lnTo>
                                      <a:lnTo>
                                        <a:pt x="180" y="36"/>
                                      </a:lnTo>
                                      <a:lnTo>
                                        <a:pt x="176" y="38"/>
                                      </a:lnTo>
                                      <a:lnTo>
                                        <a:pt x="174" y="38"/>
                                      </a:lnTo>
                                      <a:lnTo>
                                        <a:pt x="170" y="34"/>
                                      </a:lnTo>
                                      <a:lnTo>
                                        <a:pt x="170" y="34"/>
                                      </a:lnTo>
                                      <a:lnTo>
                                        <a:pt x="166" y="32"/>
                                      </a:lnTo>
                                      <a:lnTo>
                                        <a:pt x="166" y="34"/>
                                      </a:lnTo>
                                      <a:lnTo>
                                        <a:pt x="164" y="38"/>
                                      </a:lnTo>
                                      <a:lnTo>
                                        <a:pt x="160" y="38"/>
                                      </a:lnTo>
                                      <a:lnTo>
                                        <a:pt x="160" y="38"/>
                                      </a:lnTo>
                                      <a:lnTo>
                                        <a:pt x="154" y="40"/>
                                      </a:lnTo>
                                      <a:lnTo>
                                        <a:pt x="152" y="44"/>
                                      </a:lnTo>
                                      <a:lnTo>
                                        <a:pt x="152" y="46"/>
                                      </a:lnTo>
                                      <a:lnTo>
                                        <a:pt x="148" y="48"/>
                                      </a:lnTo>
                                      <a:lnTo>
                                        <a:pt x="148" y="48"/>
                                      </a:lnTo>
                                      <a:lnTo>
                                        <a:pt x="144" y="48"/>
                                      </a:lnTo>
                                      <a:lnTo>
                                        <a:pt x="142" y="48"/>
                                      </a:lnTo>
                                      <a:lnTo>
                                        <a:pt x="142" y="50"/>
                                      </a:lnTo>
                                      <a:lnTo>
                                        <a:pt x="138" y="50"/>
                                      </a:lnTo>
                                      <a:lnTo>
                                        <a:pt x="138" y="50"/>
                                      </a:lnTo>
                                      <a:lnTo>
                                        <a:pt x="140" y="54"/>
                                      </a:lnTo>
                                      <a:lnTo>
                                        <a:pt x="140" y="58"/>
                                      </a:lnTo>
                                      <a:lnTo>
                                        <a:pt x="142" y="70"/>
                                      </a:lnTo>
                                      <a:lnTo>
                                        <a:pt x="142" y="70"/>
                                      </a:lnTo>
                                      <a:lnTo>
                                        <a:pt x="140" y="78"/>
                                      </a:lnTo>
                                      <a:lnTo>
                                        <a:pt x="140" y="86"/>
                                      </a:lnTo>
                                      <a:lnTo>
                                        <a:pt x="140" y="90"/>
                                      </a:lnTo>
                                      <a:lnTo>
                                        <a:pt x="142" y="94"/>
                                      </a:lnTo>
                                      <a:lnTo>
                                        <a:pt x="146" y="96"/>
                                      </a:lnTo>
                                      <a:lnTo>
                                        <a:pt x="152" y="100"/>
                                      </a:lnTo>
                                      <a:lnTo>
                                        <a:pt x="152" y="100"/>
                                      </a:lnTo>
                                      <a:lnTo>
                                        <a:pt x="160" y="104"/>
                                      </a:lnTo>
                                      <a:lnTo>
                                        <a:pt x="162" y="108"/>
                                      </a:lnTo>
                                      <a:lnTo>
                                        <a:pt x="160" y="110"/>
                                      </a:lnTo>
                                      <a:lnTo>
                                        <a:pt x="158" y="112"/>
                                      </a:lnTo>
                                      <a:lnTo>
                                        <a:pt x="158" y="112"/>
                                      </a:lnTo>
                                      <a:lnTo>
                                        <a:pt x="158" y="116"/>
                                      </a:lnTo>
                                      <a:lnTo>
                                        <a:pt x="160" y="118"/>
                                      </a:lnTo>
                                      <a:lnTo>
                                        <a:pt x="156" y="120"/>
                                      </a:lnTo>
                                      <a:lnTo>
                                        <a:pt x="142" y="118"/>
                                      </a:lnTo>
                                      <a:lnTo>
                                        <a:pt x="142" y="118"/>
                                      </a:lnTo>
                                      <a:lnTo>
                                        <a:pt x="132" y="118"/>
                                      </a:lnTo>
                                      <a:lnTo>
                                        <a:pt x="124" y="120"/>
                                      </a:lnTo>
                                      <a:lnTo>
                                        <a:pt x="120" y="122"/>
                                      </a:lnTo>
                                      <a:lnTo>
                                        <a:pt x="112" y="124"/>
                                      </a:lnTo>
                                      <a:lnTo>
                                        <a:pt x="112" y="124"/>
                                      </a:lnTo>
                                      <a:lnTo>
                                        <a:pt x="106" y="128"/>
                                      </a:lnTo>
                                      <a:lnTo>
                                        <a:pt x="102" y="132"/>
                                      </a:lnTo>
                                      <a:lnTo>
                                        <a:pt x="102" y="136"/>
                                      </a:lnTo>
                                      <a:lnTo>
                                        <a:pt x="106" y="140"/>
                                      </a:lnTo>
                                      <a:lnTo>
                                        <a:pt x="106" y="140"/>
                                      </a:lnTo>
                                      <a:lnTo>
                                        <a:pt x="110" y="140"/>
                                      </a:lnTo>
                                      <a:lnTo>
                                        <a:pt x="108" y="142"/>
                                      </a:lnTo>
                                      <a:lnTo>
                                        <a:pt x="92" y="150"/>
                                      </a:lnTo>
                                      <a:lnTo>
                                        <a:pt x="92" y="150"/>
                                      </a:lnTo>
                                      <a:lnTo>
                                        <a:pt x="76" y="158"/>
                                      </a:lnTo>
                                      <a:lnTo>
                                        <a:pt x="68" y="166"/>
                                      </a:lnTo>
                                      <a:lnTo>
                                        <a:pt x="68" y="166"/>
                                      </a:lnTo>
                                      <a:lnTo>
                                        <a:pt x="60" y="174"/>
                                      </a:lnTo>
                                      <a:lnTo>
                                        <a:pt x="52" y="178"/>
                                      </a:lnTo>
                                      <a:lnTo>
                                        <a:pt x="52" y="178"/>
                                      </a:lnTo>
                                      <a:lnTo>
                                        <a:pt x="44" y="178"/>
                                      </a:lnTo>
                                      <a:lnTo>
                                        <a:pt x="42" y="176"/>
                                      </a:lnTo>
                                      <a:lnTo>
                                        <a:pt x="42" y="176"/>
                                      </a:lnTo>
                                      <a:lnTo>
                                        <a:pt x="40" y="174"/>
                                      </a:lnTo>
                                      <a:lnTo>
                                        <a:pt x="36" y="176"/>
                                      </a:lnTo>
                                      <a:lnTo>
                                        <a:pt x="32" y="182"/>
                                      </a:lnTo>
                                      <a:lnTo>
                                        <a:pt x="28" y="188"/>
                                      </a:lnTo>
                                      <a:lnTo>
                                        <a:pt x="26" y="188"/>
                                      </a:lnTo>
                                      <a:lnTo>
                                        <a:pt x="22" y="184"/>
                                      </a:lnTo>
                                      <a:lnTo>
                                        <a:pt x="22" y="184"/>
                                      </a:lnTo>
                                      <a:lnTo>
                                        <a:pt x="20" y="184"/>
                                      </a:lnTo>
                                      <a:lnTo>
                                        <a:pt x="18" y="184"/>
                                      </a:lnTo>
                                      <a:lnTo>
                                        <a:pt x="14" y="188"/>
                                      </a:lnTo>
                                      <a:lnTo>
                                        <a:pt x="12" y="190"/>
                                      </a:lnTo>
                                      <a:lnTo>
                                        <a:pt x="12" y="190"/>
                                      </a:lnTo>
                                      <a:lnTo>
                                        <a:pt x="10" y="194"/>
                                      </a:lnTo>
                                      <a:lnTo>
                                        <a:pt x="6" y="198"/>
                                      </a:lnTo>
                                      <a:lnTo>
                                        <a:pt x="2" y="200"/>
                                      </a:lnTo>
                                      <a:lnTo>
                                        <a:pt x="0" y="206"/>
                                      </a:lnTo>
                                      <a:lnTo>
                                        <a:pt x="0" y="222"/>
                                      </a:lnTo>
                                      <a:lnTo>
                                        <a:pt x="0" y="234"/>
                                      </a:lnTo>
                                      <a:lnTo>
                                        <a:pt x="78" y="296"/>
                                      </a:lnTo>
                                      <a:lnTo>
                                        <a:pt x="78" y="296"/>
                                      </a:lnTo>
                                      <a:lnTo>
                                        <a:pt x="220" y="404"/>
                                      </a:lnTo>
                                      <a:lnTo>
                                        <a:pt x="220" y="404"/>
                                      </a:lnTo>
                                      <a:lnTo>
                                        <a:pt x="224" y="408"/>
                                      </a:lnTo>
                                      <a:lnTo>
                                        <a:pt x="228" y="408"/>
                                      </a:lnTo>
                                      <a:lnTo>
                                        <a:pt x="230" y="408"/>
                                      </a:lnTo>
                                      <a:lnTo>
                                        <a:pt x="232" y="410"/>
                                      </a:lnTo>
                                      <a:lnTo>
                                        <a:pt x="232" y="410"/>
                                      </a:lnTo>
                                      <a:lnTo>
                                        <a:pt x="232" y="412"/>
                                      </a:lnTo>
                                      <a:lnTo>
                                        <a:pt x="232" y="412"/>
                                      </a:lnTo>
                                      <a:lnTo>
                                        <a:pt x="230" y="414"/>
                                      </a:lnTo>
                                      <a:lnTo>
                                        <a:pt x="232" y="416"/>
                                      </a:lnTo>
                                      <a:lnTo>
                                        <a:pt x="232" y="416"/>
                                      </a:lnTo>
                                      <a:lnTo>
                                        <a:pt x="236" y="416"/>
                                      </a:lnTo>
                                      <a:lnTo>
                                        <a:pt x="238" y="418"/>
                                      </a:lnTo>
                                      <a:lnTo>
                                        <a:pt x="240" y="418"/>
                                      </a:lnTo>
                                      <a:lnTo>
                                        <a:pt x="242" y="420"/>
                                      </a:lnTo>
                                      <a:lnTo>
                                        <a:pt x="242" y="420"/>
                                      </a:lnTo>
                                      <a:lnTo>
                                        <a:pt x="244" y="424"/>
                                      </a:lnTo>
                                      <a:lnTo>
                                        <a:pt x="246" y="424"/>
                                      </a:lnTo>
                                      <a:lnTo>
                                        <a:pt x="248" y="426"/>
                                      </a:lnTo>
                                      <a:lnTo>
                                        <a:pt x="248" y="426"/>
                                      </a:lnTo>
                                      <a:lnTo>
                                        <a:pt x="250" y="430"/>
                                      </a:lnTo>
                                      <a:lnTo>
                                        <a:pt x="246" y="436"/>
                                      </a:lnTo>
                                      <a:lnTo>
                                        <a:pt x="244" y="440"/>
                                      </a:lnTo>
                                      <a:lnTo>
                                        <a:pt x="242" y="446"/>
                                      </a:lnTo>
                                      <a:lnTo>
                                        <a:pt x="242" y="446"/>
                                      </a:lnTo>
                                      <a:lnTo>
                                        <a:pt x="244" y="448"/>
                                      </a:lnTo>
                                      <a:lnTo>
                                        <a:pt x="248" y="446"/>
                                      </a:lnTo>
                                      <a:lnTo>
                                        <a:pt x="266" y="440"/>
                                      </a:lnTo>
                                      <a:lnTo>
                                        <a:pt x="266" y="44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6" name="Angola"/>
                                <p:cNvSpPr>
                                  <a:spLocks/>
                                </p:cNvSpPr>
                                <p:nvPr/>
                              </p:nvSpPr>
                              <p:spPr bwMode="auto">
                                <a:xfrm>
                                  <a:off x="6155056" y="3915939"/>
                                  <a:ext cx="407044" cy="473434"/>
                                </a:xfrm>
                                <a:custGeom>
                                  <a:avLst/>
                                  <a:gdLst/>
                                  <a:ahLst/>
                                  <a:cxnLst>
                                    <a:cxn ang="0">
                                      <a:pos x="252" y="136"/>
                                    </a:cxn>
                                    <a:cxn ang="0">
                                      <a:pos x="224" y="142"/>
                                    </a:cxn>
                                    <a:cxn ang="0">
                                      <a:pos x="222" y="114"/>
                                    </a:cxn>
                                    <a:cxn ang="0">
                                      <a:pos x="216" y="106"/>
                                    </a:cxn>
                                    <a:cxn ang="0">
                                      <a:pos x="216" y="86"/>
                                    </a:cxn>
                                    <a:cxn ang="0">
                                      <a:pos x="212" y="56"/>
                                    </a:cxn>
                                    <a:cxn ang="0">
                                      <a:pos x="216" y="42"/>
                                    </a:cxn>
                                    <a:cxn ang="0">
                                      <a:pos x="202" y="36"/>
                                    </a:cxn>
                                    <a:cxn ang="0">
                                      <a:pos x="196" y="34"/>
                                    </a:cxn>
                                    <a:cxn ang="0">
                                      <a:pos x="192" y="30"/>
                                    </a:cxn>
                                    <a:cxn ang="0">
                                      <a:pos x="182" y="32"/>
                                    </a:cxn>
                                    <a:cxn ang="0">
                                      <a:pos x="168" y="36"/>
                                    </a:cxn>
                                    <a:cxn ang="0">
                                      <a:pos x="166" y="44"/>
                                    </a:cxn>
                                    <a:cxn ang="0">
                                      <a:pos x="162" y="54"/>
                                    </a:cxn>
                                    <a:cxn ang="0">
                                      <a:pos x="154" y="54"/>
                                    </a:cxn>
                                    <a:cxn ang="0">
                                      <a:pos x="142" y="56"/>
                                    </a:cxn>
                                    <a:cxn ang="0">
                                      <a:pos x="130" y="58"/>
                                    </a:cxn>
                                    <a:cxn ang="0">
                                      <a:pos x="122" y="42"/>
                                    </a:cxn>
                                    <a:cxn ang="0">
                                      <a:pos x="116" y="34"/>
                                    </a:cxn>
                                    <a:cxn ang="0">
                                      <a:pos x="110" y="14"/>
                                    </a:cxn>
                                    <a:cxn ang="0">
                                      <a:pos x="104" y="2"/>
                                    </a:cxn>
                                    <a:cxn ang="0">
                                      <a:pos x="90" y="0"/>
                                    </a:cxn>
                                    <a:cxn ang="0">
                                      <a:pos x="78" y="0"/>
                                    </a:cxn>
                                    <a:cxn ang="0">
                                      <a:pos x="36" y="2"/>
                                    </a:cxn>
                                    <a:cxn ang="0">
                                      <a:pos x="28" y="6"/>
                                    </a:cxn>
                                    <a:cxn ang="0">
                                      <a:pos x="16" y="12"/>
                                    </a:cxn>
                                    <a:cxn ang="0">
                                      <a:pos x="24" y="22"/>
                                    </a:cxn>
                                    <a:cxn ang="0">
                                      <a:pos x="30" y="40"/>
                                    </a:cxn>
                                    <a:cxn ang="0">
                                      <a:pos x="36" y="68"/>
                                    </a:cxn>
                                    <a:cxn ang="0">
                                      <a:pos x="34" y="82"/>
                                    </a:cxn>
                                    <a:cxn ang="0">
                                      <a:pos x="36" y="92"/>
                                    </a:cxn>
                                    <a:cxn ang="0">
                                      <a:pos x="36" y="102"/>
                                    </a:cxn>
                                    <a:cxn ang="0">
                                      <a:pos x="46" y="136"/>
                                    </a:cxn>
                                    <a:cxn ang="0">
                                      <a:pos x="42" y="156"/>
                                    </a:cxn>
                                    <a:cxn ang="0">
                                      <a:pos x="30" y="168"/>
                                    </a:cxn>
                                    <a:cxn ang="0">
                                      <a:pos x="22" y="178"/>
                                    </a:cxn>
                                    <a:cxn ang="0">
                                      <a:pos x="14" y="192"/>
                                    </a:cxn>
                                    <a:cxn ang="0">
                                      <a:pos x="8" y="236"/>
                                    </a:cxn>
                                    <a:cxn ang="0">
                                      <a:pos x="4" y="264"/>
                                    </a:cxn>
                                    <a:cxn ang="0">
                                      <a:pos x="0" y="268"/>
                                    </a:cxn>
                                    <a:cxn ang="0">
                                      <a:pos x="0" y="298"/>
                                    </a:cxn>
                                    <a:cxn ang="0">
                                      <a:pos x="18" y="294"/>
                                    </a:cxn>
                                    <a:cxn ang="0">
                                      <a:pos x="30" y="288"/>
                                    </a:cxn>
                                    <a:cxn ang="0">
                                      <a:pos x="48" y="294"/>
                                    </a:cxn>
                                    <a:cxn ang="0">
                                      <a:pos x="134" y="296"/>
                                    </a:cxn>
                                    <a:cxn ang="0">
                                      <a:pos x="134" y="298"/>
                                    </a:cxn>
                                    <a:cxn ang="0">
                                      <a:pos x="160" y="308"/>
                                    </a:cxn>
                                    <a:cxn ang="0">
                                      <a:pos x="176" y="308"/>
                                    </a:cxn>
                                    <a:cxn ang="0">
                                      <a:pos x="190" y="312"/>
                                    </a:cxn>
                                    <a:cxn ang="0">
                                      <a:pos x="234" y="300"/>
                                    </a:cxn>
                                    <a:cxn ang="0">
                                      <a:pos x="222" y="290"/>
                                    </a:cxn>
                                    <a:cxn ang="0">
                                      <a:pos x="218" y="282"/>
                                    </a:cxn>
                                    <a:cxn ang="0">
                                      <a:pos x="218" y="186"/>
                                    </a:cxn>
                                    <a:cxn ang="0">
                                      <a:pos x="266" y="182"/>
                                    </a:cxn>
                                    <a:cxn ang="0">
                                      <a:pos x="266" y="162"/>
                                    </a:cxn>
                                    <a:cxn ang="0">
                                      <a:pos x="264" y="142"/>
                                    </a:cxn>
                                  </a:cxnLst>
                                  <a:rect l="0" t="0" r="r" b="b"/>
                                  <a:pathLst>
                                    <a:path w="268" h="312">
                                      <a:moveTo>
                                        <a:pt x="266" y="134"/>
                                      </a:moveTo>
                                      <a:lnTo>
                                        <a:pt x="266" y="134"/>
                                      </a:lnTo>
                                      <a:lnTo>
                                        <a:pt x="252" y="136"/>
                                      </a:lnTo>
                                      <a:lnTo>
                                        <a:pt x="250" y="134"/>
                                      </a:lnTo>
                                      <a:lnTo>
                                        <a:pt x="224" y="142"/>
                                      </a:lnTo>
                                      <a:lnTo>
                                        <a:pt x="224" y="142"/>
                                      </a:lnTo>
                                      <a:lnTo>
                                        <a:pt x="224" y="128"/>
                                      </a:lnTo>
                                      <a:lnTo>
                                        <a:pt x="224" y="120"/>
                                      </a:lnTo>
                                      <a:lnTo>
                                        <a:pt x="222" y="114"/>
                                      </a:lnTo>
                                      <a:lnTo>
                                        <a:pt x="220" y="112"/>
                                      </a:lnTo>
                                      <a:lnTo>
                                        <a:pt x="218" y="110"/>
                                      </a:lnTo>
                                      <a:lnTo>
                                        <a:pt x="216" y="106"/>
                                      </a:lnTo>
                                      <a:lnTo>
                                        <a:pt x="216" y="98"/>
                                      </a:lnTo>
                                      <a:lnTo>
                                        <a:pt x="216" y="86"/>
                                      </a:lnTo>
                                      <a:lnTo>
                                        <a:pt x="216" y="86"/>
                                      </a:lnTo>
                                      <a:lnTo>
                                        <a:pt x="214" y="74"/>
                                      </a:lnTo>
                                      <a:lnTo>
                                        <a:pt x="214" y="64"/>
                                      </a:lnTo>
                                      <a:lnTo>
                                        <a:pt x="212" y="56"/>
                                      </a:lnTo>
                                      <a:lnTo>
                                        <a:pt x="214" y="48"/>
                                      </a:lnTo>
                                      <a:lnTo>
                                        <a:pt x="214" y="48"/>
                                      </a:lnTo>
                                      <a:lnTo>
                                        <a:pt x="216" y="42"/>
                                      </a:lnTo>
                                      <a:lnTo>
                                        <a:pt x="214" y="38"/>
                                      </a:lnTo>
                                      <a:lnTo>
                                        <a:pt x="210" y="36"/>
                                      </a:lnTo>
                                      <a:lnTo>
                                        <a:pt x="202" y="36"/>
                                      </a:lnTo>
                                      <a:lnTo>
                                        <a:pt x="202" y="36"/>
                                      </a:lnTo>
                                      <a:lnTo>
                                        <a:pt x="196" y="36"/>
                                      </a:lnTo>
                                      <a:lnTo>
                                        <a:pt x="196" y="34"/>
                                      </a:lnTo>
                                      <a:lnTo>
                                        <a:pt x="196" y="32"/>
                                      </a:lnTo>
                                      <a:lnTo>
                                        <a:pt x="192" y="30"/>
                                      </a:lnTo>
                                      <a:lnTo>
                                        <a:pt x="192" y="30"/>
                                      </a:lnTo>
                                      <a:lnTo>
                                        <a:pt x="186" y="30"/>
                                      </a:lnTo>
                                      <a:lnTo>
                                        <a:pt x="184" y="32"/>
                                      </a:lnTo>
                                      <a:lnTo>
                                        <a:pt x="182" y="32"/>
                                      </a:lnTo>
                                      <a:lnTo>
                                        <a:pt x="174" y="34"/>
                                      </a:lnTo>
                                      <a:lnTo>
                                        <a:pt x="174" y="34"/>
                                      </a:lnTo>
                                      <a:lnTo>
                                        <a:pt x="168" y="36"/>
                                      </a:lnTo>
                                      <a:lnTo>
                                        <a:pt x="166" y="38"/>
                                      </a:lnTo>
                                      <a:lnTo>
                                        <a:pt x="166" y="42"/>
                                      </a:lnTo>
                                      <a:lnTo>
                                        <a:pt x="166" y="44"/>
                                      </a:lnTo>
                                      <a:lnTo>
                                        <a:pt x="166" y="44"/>
                                      </a:lnTo>
                                      <a:lnTo>
                                        <a:pt x="164" y="48"/>
                                      </a:lnTo>
                                      <a:lnTo>
                                        <a:pt x="162" y="54"/>
                                      </a:lnTo>
                                      <a:lnTo>
                                        <a:pt x="160" y="56"/>
                                      </a:lnTo>
                                      <a:lnTo>
                                        <a:pt x="154" y="54"/>
                                      </a:lnTo>
                                      <a:lnTo>
                                        <a:pt x="154" y="54"/>
                                      </a:lnTo>
                                      <a:lnTo>
                                        <a:pt x="150" y="52"/>
                                      </a:lnTo>
                                      <a:lnTo>
                                        <a:pt x="146" y="54"/>
                                      </a:lnTo>
                                      <a:lnTo>
                                        <a:pt x="142" y="56"/>
                                      </a:lnTo>
                                      <a:lnTo>
                                        <a:pt x="134" y="58"/>
                                      </a:lnTo>
                                      <a:lnTo>
                                        <a:pt x="134" y="58"/>
                                      </a:lnTo>
                                      <a:lnTo>
                                        <a:pt x="130" y="58"/>
                                      </a:lnTo>
                                      <a:lnTo>
                                        <a:pt x="126" y="56"/>
                                      </a:lnTo>
                                      <a:lnTo>
                                        <a:pt x="124" y="50"/>
                                      </a:lnTo>
                                      <a:lnTo>
                                        <a:pt x="122" y="42"/>
                                      </a:lnTo>
                                      <a:lnTo>
                                        <a:pt x="120" y="38"/>
                                      </a:lnTo>
                                      <a:lnTo>
                                        <a:pt x="116" y="34"/>
                                      </a:lnTo>
                                      <a:lnTo>
                                        <a:pt x="116" y="34"/>
                                      </a:lnTo>
                                      <a:lnTo>
                                        <a:pt x="112" y="30"/>
                                      </a:lnTo>
                                      <a:lnTo>
                                        <a:pt x="112" y="24"/>
                                      </a:lnTo>
                                      <a:lnTo>
                                        <a:pt x="110" y="14"/>
                                      </a:lnTo>
                                      <a:lnTo>
                                        <a:pt x="110" y="6"/>
                                      </a:lnTo>
                                      <a:lnTo>
                                        <a:pt x="108" y="2"/>
                                      </a:lnTo>
                                      <a:lnTo>
                                        <a:pt x="104" y="2"/>
                                      </a:lnTo>
                                      <a:lnTo>
                                        <a:pt x="104" y="2"/>
                                      </a:lnTo>
                                      <a:lnTo>
                                        <a:pt x="96" y="2"/>
                                      </a:lnTo>
                                      <a:lnTo>
                                        <a:pt x="90" y="0"/>
                                      </a:lnTo>
                                      <a:lnTo>
                                        <a:pt x="86" y="0"/>
                                      </a:lnTo>
                                      <a:lnTo>
                                        <a:pt x="78" y="0"/>
                                      </a:lnTo>
                                      <a:lnTo>
                                        <a:pt x="78" y="0"/>
                                      </a:lnTo>
                                      <a:lnTo>
                                        <a:pt x="52" y="0"/>
                                      </a:lnTo>
                                      <a:lnTo>
                                        <a:pt x="44" y="0"/>
                                      </a:lnTo>
                                      <a:lnTo>
                                        <a:pt x="36" y="2"/>
                                      </a:lnTo>
                                      <a:lnTo>
                                        <a:pt x="36" y="2"/>
                                      </a:lnTo>
                                      <a:lnTo>
                                        <a:pt x="32" y="4"/>
                                      </a:lnTo>
                                      <a:lnTo>
                                        <a:pt x="28" y="6"/>
                                      </a:lnTo>
                                      <a:lnTo>
                                        <a:pt x="18" y="10"/>
                                      </a:lnTo>
                                      <a:lnTo>
                                        <a:pt x="18" y="10"/>
                                      </a:lnTo>
                                      <a:lnTo>
                                        <a:pt x="16" y="12"/>
                                      </a:lnTo>
                                      <a:lnTo>
                                        <a:pt x="16" y="12"/>
                                      </a:lnTo>
                                      <a:lnTo>
                                        <a:pt x="18" y="16"/>
                                      </a:lnTo>
                                      <a:lnTo>
                                        <a:pt x="24" y="22"/>
                                      </a:lnTo>
                                      <a:lnTo>
                                        <a:pt x="26" y="30"/>
                                      </a:lnTo>
                                      <a:lnTo>
                                        <a:pt x="26" y="30"/>
                                      </a:lnTo>
                                      <a:lnTo>
                                        <a:pt x="30" y="40"/>
                                      </a:lnTo>
                                      <a:lnTo>
                                        <a:pt x="34" y="52"/>
                                      </a:lnTo>
                                      <a:lnTo>
                                        <a:pt x="36" y="62"/>
                                      </a:lnTo>
                                      <a:lnTo>
                                        <a:pt x="36" y="68"/>
                                      </a:lnTo>
                                      <a:lnTo>
                                        <a:pt x="36" y="72"/>
                                      </a:lnTo>
                                      <a:lnTo>
                                        <a:pt x="36" y="72"/>
                                      </a:lnTo>
                                      <a:lnTo>
                                        <a:pt x="34" y="82"/>
                                      </a:lnTo>
                                      <a:lnTo>
                                        <a:pt x="34" y="86"/>
                                      </a:lnTo>
                                      <a:lnTo>
                                        <a:pt x="36" y="88"/>
                                      </a:lnTo>
                                      <a:lnTo>
                                        <a:pt x="36" y="92"/>
                                      </a:lnTo>
                                      <a:lnTo>
                                        <a:pt x="36" y="92"/>
                                      </a:lnTo>
                                      <a:lnTo>
                                        <a:pt x="34" y="98"/>
                                      </a:lnTo>
                                      <a:lnTo>
                                        <a:pt x="36" y="102"/>
                                      </a:lnTo>
                                      <a:lnTo>
                                        <a:pt x="42" y="114"/>
                                      </a:lnTo>
                                      <a:lnTo>
                                        <a:pt x="46" y="128"/>
                                      </a:lnTo>
                                      <a:lnTo>
                                        <a:pt x="46" y="136"/>
                                      </a:lnTo>
                                      <a:lnTo>
                                        <a:pt x="46" y="144"/>
                                      </a:lnTo>
                                      <a:lnTo>
                                        <a:pt x="46" y="144"/>
                                      </a:lnTo>
                                      <a:lnTo>
                                        <a:pt x="42" y="156"/>
                                      </a:lnTo>
                                      <a:lnTo>
                                        <a:pt x="38" y="160"/>
                                      </a:lnTo>
                                      <a:lnTo>
                                        <a:pt x="34" y="162"/>
                                      </a:lnTo>
                                      <a:lnTo>
                                        <a:pt x="30" y="168"/>
                                      </a:lnTo>
                                      <a:lnTo>
                                        <a:pt x="30" y="168"/>
                                      </a:lnTo>
                                      <a:lnTo>
                                        <a:pt x="26" y="176"/>
                                      </a:lnTo>
                                      <a:lnTo>
                                        <a:pt x="22" y="178"/>
                                      </a:lnTo>
                                      <a:lnTo>
                                        <a:pt x="20" y="180"/>
                                      </a:lnTo>
                                      <a:lnTo>
                                        <a:pt x="14" y="192"/>
                                      </a:lnTo>
                                      <a:lnTo>
                                        <a:pt x="14" y="192"/>
                                      </a:lnTo>
                                      <a:lnTo>
                                        <a:pt x="10" y="202"/>
                                      </a:lnTo>
                                      <a:lnTo>
                                        <a:pt x="8" y="214"/>
                                      </a:lnTo>
                                      <a:lnTo>
                                        <a:pt x="8" y="236"/>
                                      </a:lnTo>
                                      <a:lnTo>
                                        <a:pt x="8" y="254"/>
                                      </a:lnTo>
                                      <a:lnTo>
                                        <a:pt x="6" y="260"/>
                                      </a:lnTo>
                                      <a:lnTo>
                                        <a:pt x="4" y="264"/>
                                      </a:lnTo>
                                      <a:lnTo>
                                        <a:pt x="4" y="264"/>
                                      </a:lnTo>
                                      <a:lnTo>
                                        <a:pt x="0" y="266"/>
                                      </a:lnTo>
                                      <a:lnTo>
                                        <a:pt x="0" y="268"/>
                                      </a:lnTo>
                                      <a:lnTo>
                                        <a:pt x="0" y="276"/>
                                      </a:lnTo>
                                      <a:lnTo>
                                        <a:pt x="0" y="298"/>
                                      </a:lnTo>
                                      <a:lnTo>
                                        <a:pt x="0" y="298"/>
                                      </a:lnTo>
                                      <a:lnTo>
                                        <a:pt x="12" y="294"/>
                                      </a:lnTo>
                                      <a:lnTo>
                                        <a:pt x="16" y="292"/>
                                      </a:lnTo>
                                      <a:lnTo>
                                        <a:pt x="18" y="294"/>
                                      </a:lnTo>
                                      <a:lnTo>
                                        <a:pt x="24" y="290"/>
                                      </a:lnTo>
                                      <a:lnTo>
                                        <a:pt x="24" y="290"/>
                                      </a:lnTo>
                                      <a:lnTo>
                                        <a:pt x="30" y="288"/>
                                      </a:lnTo>
                                      <a:lnTo>
                                        <a:pt x="32" y="290"/>
                                      </a:lnTo>
                                      <a:lnTo>
                                        <a:pt x="40" y="294"/>
                                      </a:lnTo>
                                      <a:lnTo>
                                        <a:pt x="48" y="294"/>
                                      </a:lnTo>
                                      <a:lnTo>
                                        <a:pt x="60" y="296"/>
                                      </a:lnTo>
                                      <a:lnTo>
                                        <a:pt x="60" y="296"/>
                                      </a:lnTo>
                                      <a:lnTo>
                                        <a:pt x="134" y="296"/>
                                      </a:lnTo>
                                      <a:lnTo>
                                        <a:pt x="134" y="296"/>
                                      </a:lnTo>
                                      <a:lnTo>
                                        <a:pt x="134" y="296"/>
                                      </a:lnTo>
                                      <a:lnTo>
                                        <a:pt x="134" y="298"/>
                                      </a:lnTo>
                                      <a:lnTo>
                                        <a:pt x="142" y="302"/>
                                      </a:lnTo>
                                      <a:lnTo>
                                        <a:pt x="160" y="308"/>
                                      </a:lnTo>
                                      <a:lnTo>
                                        <a:pt x="160" y="308"/>
                                      </a:lnTo>
                                      <a:lnTo>
                                        <a:pt x="160" y="310"/>
                                      </a:lnTo>
                                      <a:lnTo>
                                        <a:pt x="162" y="310"/>
                                      </a:lnTo>
                                      <a:lnTo>
                                        <a:pt x="176" y="308"/>
                                      </a:lnTo>
                                      <a:lnTo>
                                        <a:pt x="176" y="308"/>
                                      </a:lnTo>
                                      <a:lnTo>
                                        <a:pt x="184" y="310"/>
                                      </a:lnTo>
                                      <a:lnTo>
                                        <a:pt x="190" y="312"/>
                                      </a:lnTo>
                                      <a:lnTo>
                                        <a:pt x="204" y="310"/>
                                      </a:lnTo>
                                      <a:lnTo>
                                        <a:pt x="234" y="300"/>
                                      </a:lnTo>
                                      <a:lnTo>
                                        <a:pt x="234" y="300"/>
                                      </a:lnTo>
                                      <a:lnTo>
                                        <a:pt x="228" y="292"/>
                                      </a:lnTo>
                                      <a:lnTo>
                                        <a:pt x="224" y="290"/>
                                      </a:lnTo>
                                      <a:lnTo>
                                        <a:pt x="222" y="290"/>
                                      </a:lnTo>
                                      <a:lnTo>
                                        <a:pt x="222" y="288"/>
                                      </a:lnTo>
                                      <a:lnTo>
                                        <a:pt x="222" y="288"/>
                                      </a:lnTo>
                                      <a:lnTo>
                                        <a:pt x="218" y="282"/>
                                      </a:lnTo>
                                      <a:lnTo>
                                        <a:pt x="218" y="280"/>
                                      </a:lnTo>
                                      <a:lnTo>
                                        <a:pt x="218" y="280"/>
                                      </a:lnTo>
                                      <a:lnTo>
                                        <a:pt x="218" y="186"/>
                                      </a:lnTo>
                                      <a:lnTo>
                                        <a:pt x="268" y="186"/>
                                      </a:lnTo>
                                      <a:lnTo>
                                        <a:pt x="268" y="186"/>
                                      </a:lnTo>
                                      <a:lnTo>
                                        <a:pt x="266" y="182"/>
                                      </a:lnTo>
                                      <a:lnTo>
                                        <a:pt x="264" y="178"/>
                                      </a:lnTo>
                                      <a:lnTo>
                                        <a:pt x="266" y="162"/>
                                      </a:lnTo>
                                      <a:lnTo>
                                        <a:pt x="266" y="162"/>
                                      </a:lnTo>
                                      <a:lnTo>
                                        <a:pt x="264" y="152"/>
                                      </a:lnTo>
                                      <a:lnTo>
                                        <a:pt x="264" y="148"/>
                                      </a:lnTo>
                                      <a:lnTo>
                                        <a:pt x="264" y="142"/>
                                      </a:lnTo>
                                      <a:lnTo>
                                        <a:pt x="266" y="134"/>
                                      </a:lnTo>
                                      <a:lnTo>
                                        <a:pt x="266" y="134"/>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0" name="Bangladesh"/>
                                <p:cNvSpPr>
                                  <a:spLocks/>
                                </p:cNvSpPr>
                                <p:nvPr/>
                              </p:nvSpPr>
                              <p:spPr bwMode="auto">
                                <a:xfrm>
                                  <a:off x="8490902" y="2644344"/>
                                  <a:ext cx="191372" cy="239752"/>
                                </a:xfrm>
                                <a:custGeom>
                                  <a:avLst/>
                                  <a:gdLst/>
                                  <a:ahLst/>
                                  <a:cxnLst>
                                    <a:cxn ang="0">
                                      <a:pos x="118" y="150"/>
                                    </a:cxn>
                                    <a:cxn ang="0">
                                      <a:pos x="122" y="144"/>
                                    </a:cxn>
                                    <a:cxn ang="0">
                                      <a:pos x="122" y="130"/>
                                    </a:cxn>
                                    <a:cxn ang="0">
                                      <a:pos x="124" y="128"/>
                                    </a:cxn>
                                    <a:cxn ang="0">
                                      <a:pos x="112" y="98"/>
                                    </a:cxn>
                                    <a:cxn ang="0">
                                      <a:pos x="104" y="86"/>
                                    </a:cxn>
                                    <a:cxn ang="0">
                                      <a:pos x="98" y="88"/>
                                    </a:cxn>
                                    <a:cxn ang="0">
                                      <a:pos x="94" y="90"/>
                                    </a:cxn>
                                    <a:cxn ang="0">
                                      <a:pos x="90" y="90"/>
                                    </a:cxn>
                                    <a:cxn ang="0">
                                      <a:pos x="82" y="86"/>
                                    </a:cxn>
                                    <a:cxn ang="0">
                                      <a:pos x="82" y="76"/>
                                    </a:cxn>
                                    <a:cxn ang="0">
                                      <a:pos x="96" y="70"/>
                                    </a:cxn>
                                    <a:cxn ang="0">
                                      <a:pos x="106" y="64"/>
                                    </a:cxn>
                                    <a:cxn ang="0">
                                      <a:pos x="110" y="56"/>
                                    </a:cxn>
                                    <a:cxn ang="0">
                                      <a:pos x="112" y="50"/>
                                    </a:cxn>
                                    <a:cxn ang="0">
                                      <a:pos x="92" y="46"/>
                                    </a:cxn>
                                    <a:cxn ang="0">
                                      <a:pos x="62" y="44"/>
                                    </a:cxn>
                                    <a:cxn ang="0">
                                      <a:pos x="50" y="36"/>
                                    </a:cxn>
                                    <a:cxn ang="0">
                                      <a:pos x="40" y="18"/>
                                    </a:cxn>
                                    <a:cxn ang="0">
                                      <a:pos x="34" y="22"/>
                                    </a:cxn>
                                    <a:cxn ang="0">
                                      <a:pos x="32" y="12"/>
                                    </a:cxn>
                                    <a:cxn ang="0">
                                      <a:pos x="28" y="10"/>
                                    </a:cxn>
                                    <a:cxn ang="0">
                                      <a:pos x="24" y="14"/>
                                    </a:cxn>
                                    <a:cxn ang="0">
                                      <a:pos x="16" y="0"/>
                                    </a:cxn>
                                    <a:cxn ang="0">
                                      <a:pos x="14" y="14"/>
                                    </a:cxn>
                                    <a:cxn ang="0">
                                      <a:pos x="2" y="22"/>
                                    </a:cxn>
                                    <a:cxn ang="0">
                                      <a:pos x="4" y="26"/>
                                    </a:cxn>
                                    <a:cxn ang="0">
                                      <a:pos x="28" y="40"/>
                                    </a:cxn>
                                    <a:cxn ang="0">
                                      <a:pos x="26" y="44"/>
                                    </a:cxn>
                                    <a:cxn ang="0">
                                      <a:pos x="18" y="54"/>
                                    </a:cxn>
                                    <a:cxn ang="0">
                                      <a:pos x="20" y="64"/>
                                    </a:cxn>
                                    <a:cxn ang="0">
                                      <a:pos x="38" y="76"/>
                                    </a:cxn>
                                    <a:cxn ang="0">
                                      <a:pos x="38" y="88"/>
                                    </a:cxn>
                                    <a:cxn ang="0">
                                      <a:pos x="40" y="94"/>
                                    </a:cxn>
                                    <a:cxn ang="0">
                                      <a:pos x="38" y="98"/>
                                    </a:cxn>
                                    <a:cxn ang="0">
                                      <a:pos x="46" y="110"/>
                                    </a:cxn>
                                    <a:cxn ang="0">
                                      <a:pos x="46" y="128"/>
                                    </a:cxn>
                                    <a:cxn ang="0">
                                      <a:pos x="50" y="130"/>
                                    </a:cxn>
                                    <a:cxn ang="0">
                                      <a:pos x="54" y="128"/>
                                    </a:cxn>
                                    <a:cxn ang="0">
                                      <a:pos x="58" y="130"/>
                                    </a:cxn>
                                    <a:cxn ang="0">
                                      <a:pos x="62" y="126"/>
                                    </a:cxn>
                                    <a:cxn ang="0">
                                      <a:pos x="64" y="126"/>
                                    </a:cxn>
                                    <a:cxn ang="0">
                                      <a:pos x="64" y="120"/>
                                    </a:cxn>
                                    <a:cxn ang="0">
                                      <a:pos x="72" y="126"/>
                                    </a:cxn>
                                    <a:cxn ang="0">
                                      <a:pos x="76" y="120"/>
                                    </a:cxn>
                                    <a:cxn ang="0">
                                      <a:pos x="78" y="116"/>
                                    </a:cxn>
                                    <a:cxn ang="0">
                                      <a:pos x="76" y="112"/>
                                    </a:cxn>
                                    <a:cxn ang="0">
                                      <a:pos x="78" y="108"/>
                                    </a:cxn>
                                    <a:cxn ang="0">
                                      <a:pos x="74" y="104"/>
                                    </a:cxn>
                                    <a:cxn ang="0">
                                      <a:pos x="74" y="102"/>
                                    </a:cxn>
                                    <a:cxn ang="0">
                                      <a:pos x="76" y="96"/>
                                    </a:cxn>
                                    <a:cxn ang="0">
                                      <a:pos x="86" y="108"/>
                                    </a:cxn>
                                    <a:cxn ang="0">
                                      <a:pos x="88" y="108"/>
                                    </a:cxn>
                                    <a:cxn ang="0">
                                      <a:pos x="98" y="128"/>
                                    </a:cxn>
                                    <a:cxn ang="0">
                                      <a:pos x="106" y="144"/>
                                    </a:cxn>
                                    <a:cxn ang="0">
                                      <a:pos x="116" y="158"/>
                                    </a:cxn>
                                  </a:cxnLst>
                                  <a:rect l="0" t="0" r="r" b="b"/>
                                  <a:pathLst>
                                    <a:path w="126" h="158">
                                      <a:moveTo>
                                        <a:pt x="116" y="158"/>
                                      </a:moveTo>
                                      <a:lnTo>
                                        <a:pt x="116" y="158"/>
                                      </a:lnTo>
                                      <a:lnTo>
                                        <a:pt x="118" y="150"/>
                                      </a:lnTo>
                                      <a:lnTo>
                                        <a:pt x="120" y="148"/>
                                      </a:lnTo>
                                      <a:lnTo>
                                        <a:pt x="122" y="148"/>
                                      </a:lnTo>
                                      <a:lnTo>
                                        <a:pt x="122" y="144"/>
                                      </a:lnTo>
                                      <a:lnTo>
                                        <a:pt x="122" y="144"/>
                                      </a:lnTo>
                                      <a:lnTo>
                                        <a:pt x="120" y="134"/>
                                      </a:lnTo>
                                      <a:lnTo>
                                        <a:pt x="122" y="130"/>
                                      </a:lnTo>
                                      <a:lnTo>
                                        <a:pt x="126" y="130"/>
                                      </a:lnTo>
                                      <a:lnTo>
                                        <a:pt x="126" y="130"/>
                                      </a:lnTo>
                                      <a:lnTo>
                                        <a:pt x="124" y="128"/>
                                      </a:lnTo>
                                      <a:lnTo>
                                        <a:pt x="120" y="124"/>
                                      </a:lnTo>
                                      <a:lnTo>
                                        <a:pt x="116" y="112"/>
                                      </a:lnTo>
                                      <a:lnTo>
                                        <a:pt x="112" y="98"/>
                                      </a:lnTo>
                                      <a:lnTo>
                                        <a:pt x="108" y="88"/>
                                      </a:lnTo>
                                      <a:lnTo>
                                        <a:pt x="108" y="88"/>
                                      </a:lnTo>
                                      <a:lnTo>
                                        <a:pt x="104" y="86"/>
                                      </a:lnTo>
                                      <a:lnTo>
                                        <a:pt x="102" y="86"/>
                                      </a:lnTo>
                                      <a:lnTo>
                                        <a:pt x="100" y="88"/>
                                      </a:lnTo>
                                      <a:lnTo>
                                        <a:pt x="98" y="88"/>
                                      </a:lnTo>
                                      <a:lnTo>
                                        <a:pt x="98" y="88"/>
                                      </a:lnTo>
                                      <a:lnTo>
                                        <a:pt x="94" y="88"/>
                                      </a:lnTo>
                                      <a:lnTo>
                                        <a:pt x="94" y="90"/>
                                      </a:lnTo>
                                      <a:lnTo>
                                        <a:pt x="92" y="92"/>
                                      </a:lnTo>
                                      <a:lnTo>
                                        <a:pt x="90" y="90"/>
                                      </a:lnTo>
                                      <a:lnTo>
                                        <a:pt x="90" y="90"/>
                                      </a:lnTo>
                                      <a:lnTo>
                                        <a:pt x="88" y="88"/>
                                      </a:lnTo>
                                      <a:lnTo>
                                        <a:pt x="84" y="88"/>
                                      </a:lnTo>
                                      <a:lnTo>
                                        <a:pt x="82" y="86"/>
                                      </a:lnTo>
                                      <a:lnTo>
                                        <a:pt x="80" y="82"/>
                                      </a:lnTo>
                                      <a:lnTo>
                                        <a:pt x="80" y="82"/>
                                      </a:lnTo>
                                      <a:lnTo>
                                        <a:pt x="82" y="76"/>
                                      </a:lnTo>
                                      <a:lnTo>
                                        <a:pt x="86" y="72"/>
                                      </a:lnTo>
                                      <a:lnTo>
                                        <a:pt x="90" y="70"/>
                                      </a:lnTo>
                                      <a:lnTo>
                                        <a:pt x="96" y="70"/>
                                      </a:lnTo>
                                      <a:lnTo>
                                        <a:pt x="104" y="68"/>
                                      </a:lnTo>
                                      <a:lnTo>
                                        <a:pt x="108" y="68"/>
                                      </a:lnTo>
                                      <a:lnTo>
                                        <a:pt x="106" y="64"/>
                                      </a:lnTo>
                                      <a:lnTo>
                                        <a:pt x="106" y="64"/>
                                      </a:lnTo>
                                      <a:lnTo>
                                        <a:pt x="106" y="60"/>
                                      </a:lnTo>
                                      <a:lnTo>
                                        <a:pt x="110" y="56"/>
                                      </a:lnTo>
                                      <a:lnTo>
                                        <a:pt x="112" y="52"/>
                                      </a:lnTo>
                                      <a:lnTo>
                                        <a:pt x="112" y="50"/>
                                      </a:lnTo>
                                      <a:lnTo>
                                        <a:pt x="112" y="50"/>
                                      </a:lnTo>
                                      <a:lnTo>
                                        <a:pt x="108" y="46"/>
                                      </a:lnTo>
                                      <a:lnTo>
                                        <a:pt x="104" y="46"/>
                                      </a:lnTo>
                                      <a:lnTo>
                                        <a:pt x="92" y="46"/>
                                      </a:lnTo>
                                      <a:lnTo>
                                        <a:pt x="76" y="48"/>
                                      </a:lnTo>
                                      <a:lnTo>
                                        <a:pt x="68" y="48"/>
                                      </a:lnTo>
                                      <a:lnTo>
                                        <a:pt x="62" y="44"/>
                                      </a:lnTo>
                                      <a:lnTo>
                                        <a:pt x="62" y="44"/>
                                      </a:lnTo>
                                      <a:lnTo>
                                        <a:pt x="56" y="42"/>
                                      </a:lnTo>
                                      <a:lnTo>
                                        <a:pt x="50" y="36"/>
                                      </a:lnTo>
                                      <a:lnTo>
                                        <a:pt x="46" y="26"/>
                                      </a:lnTo>
                                      <a:lnTo>
                                        <a:pt x="42" y="18"/>
                                      </a:lnTo>
                                      <a:lnTo>
                                        <a:pt x="40" y="18"/>
                                      </a:lnTo>
                                      <a:lnTo>
                                        <a:pt x="36" y="20"/>
                                      </a:lnTo>
                                      <a:lnTo>
                                        <a:pt x="36" y="20"/>
                                      </a:lnTo>
                                      <a:lnTo>
                                        <a:pt x="34" y="22"/>
                                      </a:lnTo>
                                      <a:lnTo>
                                        <a:pt x="34" y="20"/>
                                      </a:lnTo>
                                      <a:lnTo>
                                        <a:pt x="34" y="16"/>
                                      </a:lnTo>
                                      <a:lnTo>
                                        <a:pt x="32" y="12"/>
                                      </a:lnTo>
                                      <a:lnTo>
                                        <a:pt x="32" y="12"/>
                                      </a:lnTo>
                                      <a:lnTo>
                                        <a:pt x="30" y="10"/>
                                      </a:lnTo>
                                      <a:lnTo>
                                        <a:pt x="28" y="10"/>
                                      </a:lnTo>
                                      <a:lnTo>
                                        <a:pt x="28" y="14"/>
                                      </a:lnTo>
                                      <a:lnTo>
                                        <a:pt x="26" y="16"/>
                                      </a:lnTo>
                                      <a:lnTo>
                                        <a:pt x="24" y="14"/>
                                      </a:lnTo>
                                      <a:lnTo>
                                        <a:pt x="18" y="0"/>
                                      </a:lnTo>
                                      <a:lnTo>
                                        <a:pt x="18" y="0"/>
                                      </a:lnTo>
                                      <a:lnTo>
                                        <a:pt x="16" y="0"/>
                                      </a:lnTo>
                                      <a:lnTo>
                                        <a:pt x="14" y="2"/>
                                      </a:lnTo>
                                      <a:lnTo>
                                        <a:pt x="14" y="14"/>
                                      </a:lnTo>
                                      <a:lnTo>
                                        <a:pt x="14" y="14"/>
                                      </a:lnTo>
                                      <a:lnTo>
                                        <a:pt x="12" y="18"/>
                                      </a:lnTo>
                                      <a:lnTo>
                                        <a:pt x="8" y="20"/>
                                      </a:lnTo>
                                      <a:lnTo>
                                        <a:pt x="2" y="22"/>
                                      </a:lnTo>
                                      <a:lnTo>
                                        <a:pt x="0" y="24"/>
                                      </a:lnTo>
                                      <a:lnTo>
                                        <a:pt x="0" y="24"/>
                                      </a:lnTo>
                                      <a:lnTo>
                                        <a:pt x="4" y="26"/>
                                      </a:lnTo>
                                      <a:lnTo>
                                        <a:pt x="14" y="32"/>
                                      </a:lnTo>
                                      <a:lnTo>
                                        <a:pt x="24" y="36"/>
                                      </a:lnTo>
                                      <a:lnTo>
                                        <a:pt x="28" y="40"/>
                                      </a:lnTo>
                                      <a:lnTo>
                                        <a:pt x="28" y="42"/>
                                      </a:lnTo>
                                      <a:lnTo>
                                        <a:pt x="28" y="42"/>
                                      </a:lnTo>
                                      <a:lnTo>
                                        <a:pt x="26" y="44"/>
                                      </a:lnTo>
                                      <a:lnTo>
                                        <a:pt x="24" y="46"/>
                                      </a:lnTo>
                                      <a:lnTo>
                                        <a:pt x="20" y="48"/>
                                      </a:lnTo>
                                      <a:lnTo>
                                        <a:pt x="18" y="54"/>
                                      </a:lnTo>
                                      <a:lnTo>
                                        <a:pt x="18" y="54"/>
                                      </a:lnTo>
                                      <a:lnTo>
                                        <a:pt x="18" y="60"/>
                                      </a:lnTo>
                                      <a:lnTo>
                                        <a:pt x="20" y="64"/>
                                      </a:lnTo>
                                      <a:lnTo>
                                        <a:pt x="28" y="68"/>
                                      </a:lnTo>
                                      <a:lnTo>
                                        <a:pt x="36" y="74"/>
                                      </a:lnTo>
                                      <a:lnTo>
                                        <a:pt x="38" y="76"/>
                                      </a:lnTo>
                                      <a:lnTo>
                                        <a:pt x="38" y="80"/>
                                      </a:lnTo>
                                      <a:lnTo>
                                        <a:pt x="38" y="80"/>
                                      </a:lnTo>
                                      <a:lnTo>
                                        <a:pt x="38" y="88"/>
                                      </a:lnTo>
                                      <a:lnTo>
                                        <a:pt x="40" y="90"/>
                                      </a:lnTo>
                                      <a:lnTo>
                                        <a:pt x="40" y="90"/>
                                      </a:lnTo>
                                      <a:lnTo>
                                        <a:pt x="40" y="94"/>
                                      </a:lnTo>
                                      <a:lnTo>
                                        <a:pt x="40" y="94"/>
                                      </a:lnTo>
                                      <a:lnTo>
                                        <a:pt x="38" y="96"/>
                                      </a:lnTo>
                                      <a:lnTo>
                                        <a:pt x="38" y="98"/>
                                      </a:lnTo>
                                      <a:lnTo>
                                        <a:pt x="40" y="102"/>
                                      </a:lnTo>
                                      <a:lnTo>
                                        <a:pt x="44" y="106"/>
                                      </a:lnTo>
                                      <a:lnTo>
                                        <a:pt x="46" y="110"/>
                                      </a:lnTo>
                                      <a:lnTo>
                                        <a:pt x="46" y="118"/>
                                      </a:lnTo>
                                      <a:lnTo>
                                        <a:pt x="46" y="128"/>
                                      </a:lnTo>
                                      <a:lnTo>
                                        <a:pt x="46" y="128"/>
                                      </a:lnTo>
                                      <a:lnTo>
                                        <a:pt x="48" y="128"/>
                                      </a:lnTo>
                                      <a:lnTo>
                                        <a:pt x="50" y="130"/>
                                      </a:lnTo>
                                      <a:lnTo>
                                        <a:pt x="50" y="130"/>
                                      </a:lnTo>
                                      <a:lnTo>
                                        <a:pt x="50" y="130"/>
                                      </a:lnTo>
                                      <a:lnTo>
                                        <a:pt x="52" y="128"/>
                                      </a:lnTo>
                                      <a:lnTo>
                                        <a:pt x="54" y="128"/>
                                      </a:lnTo>
                                      <a:lnTo>
                                        <a:pt x="56" y="128"/>
                                      </a:lnTo>
                                      <a:lnTo>
                                        <a:pt x="56" y="128"/>
                                      </a:lnTo>
                                      <a:lnTo>
                                        <a:pt x="58" y="130"/>
                                      </a:lnTo>
                                      <a:lnTo>
                                        <a:pt x="58" y="128"/>
                                      </a:lnTo>
                                      <a:lnTo>
                                        <a:pt x="60" y="126"/>
                                      </a:lnTo>
                                      <a:lnTo>
                                        <a:pt x="62" y="126"/>
                                      </a:lnTo>
                                      <a:lnTo>
                                        <a:pt x="62" y="126"/>
                                      </a:lnTo>
                                      <a:lnTo>
                                        <a:pt x="64" y="128"/>
                                      </a:lnTo>
                                      <a:lnTo>
                                        <a:pt x="64" y="126"/>
                                      </a:lnTo>
                                      <a:lnTo>
                                        <a:pt x="62" y="122"/>
                                      </a:lnTo>
                                      <a:lnTo>
                                        <a:pt x="62" y="122"/>
                                      </a:lnTo>
                                      <a:lnTo>
                                        <a:pt x="64" y="120"/>
                                      </a:lnTo>
                                      <a:lnTo>
                                        <a:pt x="68" y="124"/>
                                      </a:lnTo>
                                      <a:lnTo>
                                        <a:pt x="68" y="124"/>
                                      </a:lnTo>
                                      <a:lnTo>
                                        <a:pt x="72" y="126"/>
                                      </a:lnTo>
                                      <a:lnTo>
                                        <a:pt x="72" y="124"/>
                                      </a:lnTo>
                                      <a:lnTo>
                                        <a:pt x="74" y="122"/>
                                      </a:lnTo>
                                      <a:lnTo>
                                        <a:pt x="76" y="120"/>
                                      </a:lnTo>
                                      <a:lnTo>
                                        <a:pt x="76" y="120"/>
                                      </a:lnTo>
                                      <a:lnTo>
                                        <a:pt x="78" y="118"/>
                                      </a:lnTo>
                                      <a:lnTo>
                                        <a:pt x="78" y="116"/>
                                      </a:lnTo>
                                      <a:lnTo>
                                        <a:pt x="78" y="112"/>
                                      </a:lnTo>
                                      <a:lnTo>
                                        <a:pt x="76" y="112"/>
                                      </a:lnTo>
                                      <a:lnTo>
                                        <a:pt x="76" y="112"/>
                                      </a:lnTo>
                                      <a:lnTo>
                                        <a:pt x="76" y="110"/>
                                      </a:lnTo>
                                      <a:lnTo>
                                        <a:pt x="78" y="108"/>
                                      </a:lnTo>
                                      <a:lnTo>
                                        <a:pt x="78" y="108"/>
                                      </a:lnTo>
                                      <a:lnTo>
                                        <a:pt x="76" y="106"/>
                                      </a:lnTo>
                                      <a:lnTo>
                                        <a:pt x="76" y="106"/>
                                      </a:lnTo>
                                      <a:lnTo>
                                        <a:pt x="74" y="104"/>
                                      </a:lnTo>
                                      <a:lnTo>
                                        <a:pt x="70" y="102"/>
                                      </a:lnTo>
                                      <a:lnTo>
                                        <a:pt x="70" y="102"/>
                                      </a:lnTo>
                                      <a:lnTo>
                                        <a:pt x="74" y="102"/>
                                      </a:lnTo>
                                      <a:lnTo>
                                        <a:pt x="76" y="102"/>
                                      </a:lnTo>
                                      <a:lnTo>
                                        <a:pt x="76" y="96"/>
                                      </a:lnTo>
                                      <a:lnTo>
                                        <a:pt x="76" y="96"/>
                                      </a:lnTo>
                                      <a:lnTo>
                                        <a:pt x="78" y="104"/>
                                      </a:lnTo>
                                      <a:lnTo>
                                        <a:pt x="82" y="106"/>
                                      </a:lnTo>
                                      <a:lnTo>
                                        <a:pt x="86" y="108"/>
                                      </a:lnTo>
                                      <a:lnTo>
                                        <a:pt x="90" y="108"/>
                                      </a:lnTo>
                                      <a:lnTo>
                                        <a:pt x="90" y="108"/>
                                      </a:lnTo>
                                      <a:lnTo>
                                        <a:pt x="88" y="108"/>
                                      </a:lnTo>
                                      <a:lnTo>
                                        <a:pt x="88" y="110"/>
                                      </a:lnTo>
                                      <a:lnTo>
                                        <a:pt x="92" y="118"/>
                                      </a:lnTo>
                                      <a:lnTo>
                                        <a:pt x="98" y="128"/>
                                      </a:lnTo>
                                      <a:lnTo>
                                        <a:pt x="104" y="138"/>
                                      </a:lnTo>
                                      <a:lnTo>
                                        <a:pt x="104" y="138"/>
                                      </a:lnTo>
                                      <a:lnTo>
                                        <a:pt x="106" y="144"/>
                                      </a:lnTo>
                                      <a:lnTo>
                                        <a:pt x="110" y="150"/>
                                      </a:lnTo>
                                      <a:lnTo>
                                        <a:pt x="116" y="158"/>
                                      </a:lnTo>
                                      <a:lnTo>
                                        <a:pt x="116" y="15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1" name="Belarus"/>
                                <p:cNvSpPr>
                                  <a:spLocks/>
                                </p:cNvSpPr>
                                <p:nvPr/>
                              </p:nvSpPr>
                              <p:spPr bwMode="auto">
                                <a:xfrm>
                                  <a:off x="6403486" y="1682302"/>
                                  <a:ext cx="267312" cy="148707"/>
                                </a:xfrm>
                                <a:custGeom>
                                  <a:avLst/>
                                  <a:gdLst/>
                                  <a:ahLst/>
                                  <a:cxnLst>
                                    <a:cxn ang="0">
                                      <a:pos x="144" y="58"/>
                                    </a:cxn>
                                    <a:cxn ang="0">
                                      <a:pos x="146" y="50"/>
                                    </a:cxn>
                                    <a:cxn ang="0">
                                      <a:pos x="152" y="52"/>
                                    </a:cxn>
                                    <a:cxn ang="0">
                                      <a:pos x="168" y="52"/>
                                    </a:cxn>
                                    <a:cxn ang="0">
                                      <a:pos x="176" y="46"/>
                                    </a:cxn>
                                    <a:cxn ang="0">
                                      <a:pos x="172" y="42"/>
                                    </a:cxn>
                                    <a:cxn ang="0">
                                      <a:pos x="162" y="36"/>
                                    </a:cxn>
                                    <a:cxn ang="0">
                                      <a:pos x="154" y="36"/>
                                    </a:cxn>
                                    <a:cxn ang="0">
                                      <a:pos x="152" y="34"/>
                                    </a:cxn>
                                    <a:cxn ang="0">
                                      <a:pos x="148" y="30"/>
                                    </a:cxn>
                                    <a:cxn ang="0">
                                      <a:pos x="140" y="30"/>
                                    </a:cxn>
                                    <a:cxn ang="0">
                                      <a:pos x="124" y="22"/>
                                    </a:cxn>
                                    <a:cxn ang="0">
                                      <a:pos x="120" y="16"/>
                                    </a:cxn>
                                    <a:cxn ang="0">
                                      <a:pos x="116" y="10"/>
                                    </a:cxn>
                                    <a:cxn ang="0">
                                      <a:pos x="114" y="4"/>
                                    </a:cxn>
                                    <a:cxn ang="0">
                                      <a:pos x="106" y="0"/>
                                    </a:cxn>
                                    <a:cxn ang="0">
                                      <a:pos x="96" y="6"/>
                                    </a:cxn>
                                    <a:cxn ang="0">
                                      <a:pos x="90" y="6"/>
                                    </a:cxn>
                                    <a:cxn ang="0">
                                      <a:pos x="88" y="4"/>
                                    </a:cxn>
                                    <a:cxn ang="0">
                                      <a:pos x="68" y="2"/>
                                    </a:cxn>
                                    <a:cxn ang="0">
                                      <a:pos x="66" y="6"/>
                                    </a:cxn>
                                    <a:cxn ang="0">
                                      <a:pos x="68" y="14"/>
                                    </a:cxn>
                                    <a:cxn ang="0">
                                      <a:pos x="58" y="16"/>
                                    </a:cxn>
                                    <a:cxn ang="0">
                                      <a:pos x="52" y="22"/>
                                    </a:cxn>
                                    <a:cxn ang="0">
                                      <a:pos x="50" y="28"/>
                                    </a:cxn>
                                    <a:cxn ang="0">
                                      <a:pos x="52" y="32"/>
                                    </a:cxn>
                                    <a:cxn ang="0">
                                      <a:pos x="42" y="34"/>
                                    </a:cxn>
                                    <a:cxn ang="0">
                                      <a:pos x="36" y="38"/>
                                    </a:cxn>
                                    <a:cxn ang="0">
                                      <a:pos x="30" y="44"/>
                                    </a:cxn>
                                    <a:cxn ang="0">
                                      <a:pos x="30" y="50"/>
                                    </a:cxn>
                                    <a:cxn ang="0">
                                      <a:pos x="32" y="54"/>
                                    </a:cxn>
                                    <a:cxn ang="0">
                                      <a:pos x="26" y="54"/>
                                    </a:cxn>
                                    <a:cxn ang="0">
                                      <a:pos x="16" y="56"/>
                                    </a:cxn>
                                    <a:cxn ang="0">
                                      <a:pos x="0" y="52"/>
                                    </a:cxn>
                                    <a:cxn ang="0">
                                      <a:pos x="4" y="62"/>
                                    </a:cxn>
                                    <a:cxn ang="0">
                                      <a:pos x="10" y="68"/>
                                    </a:cxn>
                                    <a:cxn ang="0">
                                      <a:pos x="4" y="76"/>
                                    </a:cxn>
                                    <a:cxn ang="0">
                                      <a:pos x="4" y="86"/>
                                    </a:cxn>
                                    <a:cxn ang="0">
                                      <a:pos x="12" y="92"/>
                                    </a:cxn>
                                    <a:cxn ang="0">
                                      <a:pos x="26" y="90"/>
                                    </a:cxn>
                                    <a:cxn ang="0">
                                      <a:pos x="44" y="88"/>
                                    </a:cxn>
                                    <a:cxn ang="0">
                                      <a:pos x="76" y="98"/>
                                    </a:cxn>
                                    <a:cxn ang="0">
                                      <a:pos x="92" y="92"/>
                                    </a:cxn>
                                    <a:cxn ang="0">
                                      <a:pos x="96" y="96"/>
                                    </a:cxn>
                                    <a:cxn ang="0">
                                      <a:pos x="106" y="94"/>
                                    </a:cxn>
                                    <a:cxn ang="0">
                                      <a:pos x="112" y="92"/>
                                    </a:cxn>
                                    <a:cxn ang="0">
                                      <a:pos x="118" y="88"/>
                                    </a:cxn>
                                    <a:cxn ang="0">
                                      <a:pos x="126" y="90"/>
                                    </a:cxn>
                                    <a:cxn ang="0">
                                      <a:pos x="142" y="92"/>
                                    </a:cxn>
                                    <a:cxn ang="0">
                                      <a:pos x="144" y="88"/>
                                    </a:cxn>
                                    <a:cxn ang="0">
                                      <a:pos x="140" y="72"/>
                                    </a:cxn>
                                    <a:cxn ang="0">
                                      <a:pos x="154" y="70"/>
                                    </a:cxn>
                                  </a:cxnLst>
                                  <a:rect l="0" t="0" r="r" b="b"/>
                                  <a:pathLst>
                                    <a:path w="176" h="98">
                                      <a:moveTo>
                                        <a:pt x="154" y="70"/>
                                      </a:moveTo>
                                      <a:lnTo>
                                        <a:pt x="154" y="70"/>
                                      </a:lnTo>
                                      <a:lnTo>
                                        <a:pt x="144" y="58"/>
                                      </a:lnTo>
                                      <a:lnTo>
                                        <a:pt x="144" y="54"/>
                                      </a:lnTo>
                                      <a:lnTo>
                                        <a:pt x="144" y="52"/>
                                      </a:lnTo>
                                      <a:lnTo>
                                        <a:pt x="146" y="50"/>
                                      </a:lnTo>
                                      <a:lnTo>
                                        <a:pt x="148" y="50"/>
                                      </a:lnTo>
                                      <a:lnTo>
                                        <a:pt x="152" y="52"/>
                                      </a:lnTo>
                                      <a:lnTo>
                                        <a:pt x="152" y="52"/>
                                      </a:lnTo>
                                      <a:lnTo>
                                        <a:pt x="156" y="54"/>
                                      </a:lnTo>
                                      <a:lnTo>
                                        <a:pt x="160" y="54"/>
                                      </a:lnTo>
                                      <a:lnTo>
                                        <a:pt x="168" y="52"/>
                                      </a:lnTo>
                                      <a:lnTo>
                                        <a:pt x="168" y="52"/>
                                      </a:lnTo>
                                      <a:lnTo>
                                        <a:pt x="174" y="50"/>
                                      </a:lnTo>
                                      <a:lnTo>
                                        <a:pt x="176" y="46"/>
                                      </a:lnTo>
                                      <a:lnTo>
                                        <a:pt x="174" y="44"/>
                                      </a:lnTo>
                                      <a:lnTo>
                                        <a:pt x="172" y="42"/>
                                      </a:lnTo>
                                      <a:lnTo>
                                        <a:pt x="172" y="42"/>
                                      </a:lnTo>
                                      <a:lnTo>
                                        <a:pt x="168" y="40"/>
                                      </a:lnTo>
                                      <a:lnTo>
                                        <a:pt x="166" y="40"/>
                                      </a:lnTo>
                                      <a:lnTo>
                                        <a:pt x="162" y="36"/>
                                      </a:lnTo>
                                      <a:lnTo>
                                        <a:pt x="162" y="36"/>
                                      </a:lnTo>
                                      <a:lnTo>
                                        <a:pt x="158" y="36"/>
                                      </a:lnTo>
                                      <a:lnTo>
                                        <a:pt x="154" y="36"/>
                                      </a:lnTo>
                                      <a:lnTo>
                                        <a:pt x="154" y="36"/>
                                      </a:lnTo>
                                      <a:lnTo>
                                        <a:pt x="150" y="34"/>
                                      </a:lnTo>
                                      <a:lnTo>
                                        <a:pt x="152" y="34"/>
                                      </a:lnTo>
                                      <a:lnTo>
                                        <a:pt x="152" y="32"/>
                                      </a:lnTo>
                                      <a:lnTo>
                                        <a:pt x="148" y="30"/>
                                      </a:lnTo>
                                      <a:lnTo>
                                        <a:pt x="148" y="30"/>
                                      </a:lnTo>
                                      <a:lnTo>
                                        <a:pt x="144" y="30"/>
                                      </a:lnTo>
                                      <a:lnTo>
                                        <a:pt x="140" y="30"/>
                                      </a:lnTo>
                                      <a:lnTo>
                                        <a:pt x="140" y="30"/>
                                      </a:lnTo>
                                      <a:lnTo>
                                        <a:pt x="126" y="24"/>
                                      </a:lnTo>
                                      <a:lnTo>
                                        <a:pt x="124" y="22"/>
                                      </a:lnTo>
                                      <a:lnTo>
                                        <a:pt x="124" y="22"/>
                                      </a:lnTo>
                                      <a:lnTo>
                                        <a:pt x="124" y="22"/>
                                      </a:lnTo>
                                      <a:lnTo>
                                        <a:pt x="124" y="18"/>
                                      </a:lnTo>
                                      <a:lnTo>
                                        <a:pt x="120" y="16"/>
                                      </a:lnTo>
                                      <a:lnTo>
                                        <a:pt x="120" y="16"/>
                                      </a:lnTo>
                                      <a:lnTo>
                                        <a:pt x="116" y="12"/>
                                      </a:lnTo>
                                      <a:lnTo>
                                        <a:pt x="116" y="10"/>
                                      </a:lnTo>
                                      <a:lnTo>
                                        <a:pt x="118" y="8"/>
                                      </a:lnTo>
                                      <a:lnTo>
                                        <a:pt x="118" y="6"/>
                                      </a:lnTo>
                                      <a:lnTo>
                                        <a:pt x="114" y="4"/>
                                      </a:lnTo>
                                      <a:lnTo>
                                        <a:pt x="114" y="4"/>
                                      </a:lnTo>
                                      <a:lnTo>
                                        <a:pt x="110" y="2"/>
                                      </a:lnTo>
                                      <a:lnTo>
                                        <a:pt x="106" y="0"/>
                                      </a:lnTo>
                                      <a:lnTo>
                                        <a:pt x="104" y="0"/>
                                      </a:lnTo>
                                      <a:lnTo>
                                        <a:pt x="104" y="0"/>
                                      </a:lnTo>
                                      <a:lnTo>
                                        <a:pt x="96" y="6"/>
                                      </a:lnTo>
                                      <a:lnTo>
                                        <a:pt x="92" y="8"/>
                                      </a:lnTo>
                                      <a:lnTo>
                                        <a:pt x="92" y="8"/>
                                      </a:lnTo>
                                      <a:lnTo>
                                        <a:pt x="90" y="6"/>
                                      </a:lnTo>
                                      <a:lnTo>
                                        <a:pt x="90" y="6"/>
                                      </a:lnTo>
                                      <a:lnTo>
                                        <a:pt x="90" y="6"/>
                                      </a:lnTo>
                                      <a:lnTo>
                                        <a:pt x="88" y="4"/>
                                      </a:lnTo>
                                      <a:lnTo>
                                        <a:pt x="80" y="4"/>
                                      </a:lnTo>
                                      <a:lnTo>
                                        <a:pt x="72" y="4"/>
                                      </a:lnTo>
                                      <a:lnTo>
                                        <a:pt x="68" y="2"/>
                                      </a:lnTo>
                                      <a:lnTo>
                                        <a:pt x="68" y="2"/>
                                      </a:lnTo>
                                      <a:lnTo>
                                        <a:pt x="66" y="4"/>
                                      </a:lnTo>
                                      <a:lnTo>
                                        <a:pt x="66" y="6"/>
                                      </a:lnTo>
                                      <a:lnTo>
                                        <a:pt x="68" y="10"/>
                                      </a:lnTo>
                                      <a:lnTo>
                                        <a:pt x="70" y="14"/>
                                      </a:lnTo>
                                      <a:lnTo>
                                        <a:pt x="68" y="14"/>
                                      </a:lnTo>
                                      <a:lnTo>
                                        <a:pt x="64" y="14"/>
                                      </a:lnTo>
                                      <a:lnTo>
                                        <a:pt x="64" y="14"/>
                                      </a:lnTo>
                                      <a:lnTo>
                                        <a:pt x="58" y="16"/>
                                      </a:lnTo>
                                      <a:lnTo>
                                        <a:pt x="56" y="18"/>
                                      </a:lnTo>
                                      <a:lnTo>
                                        <a:pt x="56" y="20"/>
                                      </a:lnTo>
                                      <a:lnTo>
                                        <a:pt x="52" y="22"/>
                                      </a:lnTo>
                                      <a:lnTo>
                                        <a:pt x="52" y="22"/>
                                      </a:lnTo>
                                      <a:lnTo>
                                        <a:pt x="50" y="26"/>
                                      </a:lnTo>
                                      <a:lnTo>
                                        <a:pt x="50" y="28"/>
                                      </a:lnTo>
                                      <a:lnTo>
                                        <a:pt x="52" y="28"/>
                                      </a:lnTo>
                                      <a:lnTo>
                                        <a:pt x="52" y="32"/>
                                      </a:lnTo>
                                      <a:lnTo>
                                        <a:pt x="52" y="32"/>
                                      </a:lnTo>
                                      <a:lnTo>
                                        <a:pt x="50" y="34"/>
                                      </a:lnTo>
                                      <a:lnTo>
                                        <a:pt x="46" y="34"/>
                                      </a:lnTo>
                                      <a:lnTo>
                                        <a:pt x="42" y="34"/>
                                      </a:lnTo>
                                      <a:lnTo>
                                        <a:pt x="40" y="36"/>
                                      </a:lnTo>
                                      <a:lnTo>
                                        <a:pt x="40" y="36"/>
                                      </a:lnTo>
                                      <a:lnTo>
                                        <a:pt x="36" y="38"/>
                                      </a:lnTo>
                                      <a:lnTo>
                                        <a:pt x="34" y="38"/>
                                      </a:lnTo>
                                      <a:lnTo>
                                        <a:pt x="32" y="40"/>
                                      </a:lnTo>
                                      <a:lnTo>
                                        <a:pt x="30" y="44"/>
                                      </a:lnTo>
                                      <a:lnTo>
                                        <a:pt x="30" y="44"/>
                                      </a:lnTo>
                                      <a:lnTo>
                                        <a:pt x="30" y="48"/>
                                      </a:lnTo>
                                      <a:lnTo>
                                        <a:pt x="30" y="50"/>
                                      </a:lnTo>
                                      <a:lnTo>
                                        <a:pt x="32" y="52"/>
                                      </a:lnTo>
                                      <a:lnTo>
                                        <a:pt x="32" y="54"/>
                                      </a:lnTo>
                                      <a:lnTo>
                                        <a:pt x="32" y="54"/>
                                      </a:lnTo>
                                      <a:lnTo>
                                        <a:pt x="30" y="54"/>
                                      </a:lnTo>
                                      <a:lnTo>
                                        <a:pt x="28" y="54"/>
                                      </a:lnTo>
                                      <a:lnTo>
                                        <a:pt x="26" y="54"/>
                                      </a:lnTo>
                                      <a:lnTo>
                                        <a:pt x="22" y="54"/>
                                      </a:lnTo>
                                      <a:lnTo>
                                        <a:pt x="22" y="54"/>
                                      </a:lnTo>
                                      <a:lnTo>
                                        <a:pt x="16" y="56"/>
                                      </a:lnTo>
                                      <a:lnTo>
                                        <a:pt x="12" y="56"/>
                                      </a:lnTo>
                                      <a:lnTo>
                                        <a:pt x="8" y="54"/>
                                      </a:lnTo>
                                      <a:lnTo>
                                        <a:pt x="0" y="52"/>
                                      </a:lnTo>
                                      <a:lnTo>
                                        <a:pt x="0" y="52"/>
                                      </a:lnTo>
                                      <a:lnTo>
                                        <a:pt x="2" y="56"/>
                                      </a:lnTo>
                                      <a:lnTo>
                                        <a:pt x="4" y="62"/>
                                      </a:lnTo>
                                      <a:lnTo>
                                        <a:pt x="4" y="62"/>
                                      </a:lnTo>
                                      <a:lnTo>
                                        <a:pt x="8" y="64"/>
                                      </a:lnTo>
                                      <a:lnTo>
                                        <a:pt x="10" y="68"/>
                                      </a:lnTo>
                                      <a:lnTo>
                                        <a:pt x="10" y="72"/>
                                      </a:lnTo>
                                      <a:lnTo>
                                        <a:pt x="4" y="76"/>
                                      </a:lnTo>
                                      <a:lnTo>
                                        <a:pt x="4" y="76"/>
                                      </a:lnTo>
                                      <a:lnTo>
                                        <a:pt x="0" y="78"/>
                                      </a:lnTo>
                                      <a:lnTo>
                                        <a:pt x="0" y="82"/>
                                      </a:lnTo>
                                      <a:lnTo>
                                        <a:pt x="4" y="86"/>
                                      </a:lnTo>
                                      <a:lnTo>
                                        <a:pt x="6" y="96"/>
                                      </a:lnTo>
                                      <a:lnTo>
                                        <a:pt x="6" y="96"/>
                                      </a:lnTo>
                                      <a:lnTo>
                                        <a:pt x="12" y="92"/>
                                      </a:lnTo>
                                      <a:lnTo>
                                        <a:pt x="14" y="92"/>
                                      </a:lnTo>
                                      <a:lnTo>
                                        <a:pt x="16" y="94"/>
                                      </a:lnTo>
                                      <a:lnTo>
                                        <a:pt x="26" y="90"/>
                                      </a:lnTo>
                                      <a:lnTo>
                                        <a:pt x="26" y="90"/>
                                      </a:lnTo>
                                      <a:lnTo>
                                        <a:pt x="36" y="88"/>
                                      </a:lnTo>
                                      <a:lnTo>
                                        <a:pt x="44" y="88"/>
                                      </a:lnTo>
                                      <a:lnTo>
                                        <a:pt x="58" y="92"/>
                                      </a:lnTo>
                                      <a:lnTo>
                                        <a:pt x="70" y="96"/>
                                      </a:lnTo>
                                      <a:lnTo>
                                        <a:pt x="76" y="98"/>
                                      </a:lnTo>
                                      <a:lnTo>
                                        <a:pt x="84" y="96"/>
                                      </a:lnTo>
                                      <a:lnTo>
                                        <a:pt x="84" y="96"/>
                                      </a:lnTo>
                                      <a:lnTo>
                                        <a:pt x="92" y="92"/>
                                      </a:lnTo>
                                      <a:lnTo>
                                        <a:pt x="94" y="94"/>
                                      </a:lnTo>
                                      <a:lnTo>
                                        <a:pt x="94" y="94"/>
                                      </a:lnTo>
                                      <a:lnTo>
                                        <a:pt x="96" y="96"/>
                                      </a:lnTo>
                                      <a:lnTo>
                                        <a:pt x="100" y="96"/>
                                      </a:lnTo>
                                      <a:lnTo>
                                        <a:pt x="100" y="96"/>
                                      </a:lnTo>
                                      <a:lnTo>
                                        <a:pt x="106" y="94"/>
                                      </a:lnTo>
                                      <a:lnTo>
                                        <a:pt x="106" y="94"/>
                                      </a:lnTo>
                                      <a:lnTo>
                                        <a:pt x="108" y="96"/>
                                      </a:lnTo>
                                      <a:lnTo>
                                        <a:pt x="112" y="92"/>
                                      </a:lnTo>
                                      <a:lnTo>
                                        <a:pt x="112" y="92"/>
                                      </a:lnTo>
                                      <a:lnTo>
                                        <a:pt x="116" y="88"/>
                                      </a:lnTo>
                                      <a:lnTo>
                                        <a:pt x="118" y="88"/>
                                      </a:lnTo>
                                      <a:lnTo>
                                        <a:pt x="120" y="90"/>
                                      </a:lnTo>
                                      <a:lnTo>
                                        <a:pt x="126" y="90"/>
                                      </a:lnTo>
                                      <a:lnTo>
                                        <a:pt x="126" y="90"/>
                                      </a:lnTo>
                                      <a:lnTo>
                                        <a:pt x="132" y="90"/>
                                      </a:lnTo>
                                      <a:lnTo>
                                        <a:pt x="138" y="92"/>
                                      </a:lnTo>
                                      <a:lnTo>
                                        <a:pt x="142" y="92"/>
                                      </a:lnTo>
                                      <a:lnTo>
                                        <a:pt x="144" y="90"/>
                                      </a:lnTo>
                                      <a:lnTo>
                                        <a:pt x="144" y="88"/>
                                      </a:lnTo>
                                      <a:lnTo>
                                        <a:pt x="144" y="88"/>
                                      </a:lnTo>
                                      <a:lnTo>
                                        <a:pt x="142" y="82"/>
                                      </a:lnTo>
                                      <a:lnTo>
                                        <a:pt x="140" y="76"/>
                                      </a:lnTo>
                                      <a:lnTo>
                                        <a:pt x="140" y="72"/>
                                      </a:lnTo>
                                      <a:lnTo>
                                        <a:pt x="142" y="70"/>
                                      </a:lnTo>
                                      <a:lnTo>
                                        <a:pt x="146" y="70"/>
                                      </a:lnTo>
                                      <a:lnTo>
                                        <a:pt x="154" y="70"/>
                                      </a:lnTo>
                                      <a:lnTo>
                                        <a:pt x="154" y="7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2" name="Bolivia"/>
                                <p:cNvSpPr>
                                  <a:spLocks/>
                                </p:cNvSpPr>
                                <p:nvPr/>
                              </p:nvSpPr>
                              <p:spPr bwMode="auto">
                                <a:xfrm>
                                  <a:off x="3558528" y="4081127"/>
                                  <a:ext cx="419195" cy="491643"/>
                                </a:xfrm>
                                <a:custGeom>
                                  <a:avLst/>
                                  <a:gdLst/>
                                  <a:ahLst/>
                                  <a:cxnLst>
                                    <a:cxn ang="0">
                                      <a:pos x="14" y="30"/>
                                    </a:cxn>
                                    <a:cxn ang="0">
                                      <a:pos x="28" y="30"/>
                                    </a:cxn>
                                    <a:cxn ang="0">
                                      <a:pos x="42" y="22"/>
                                    </a:cxn>
                                    <a:cxn ang="0">
                                      <a:pos x="52" y="14"/>
                                    </a:cxn>
                                    <a:cxn ang="0">
                                      <a:pos x="76" y="0"/>
                                    </a:cxn>
                                    <a:cxn ang="0">
                                      <a:pos x="92" y="4"/>
                                    </a:cxn>
                                    <a:cxn ang="0">
                                      <a:pos x="102" y="50"/>
                                    </a:cxn>
                                    <a:cxn ang="0">
                                      <a:pos x="112" y="62"/>
                                    </a:cxn>
                                    <a:cxn ang="0">
                                      <a:pos x="130" y="64"/>
                                    </a:cxn>
                                    <a:cxn ang="0">
                                      <a:pos x="148" y="74"/>
                                    </a:cxn>
                                    <a:cxn ang="0">
                                      <a:pos x="158" y="80"/>
                                    </a:cxn>
                                    <a:cxn ang="0">
                                      <a:pos x="178" y="92"/>
                                    </a:cxn>
                                    <a:cxn ang="0">
                                      <a:pos x="194" y="102"/>
                                    </a:cxn>
                                    <a:cxn ang="0">
                                      <a:pos x="206" y="124"/>
                                    </a:cxn>
                                    <a:cxn ang="0">
                                      <a:pos x="206" y="134"/>
                                    </a:cxn>
                                    <a:cxn ang="0">
                                      <a:pos x="208" y="140"/>
                                    </a:cxn>
                                    <a:cxn ang="0">
                                      <a:pos x="252" y="158"/>
                                    </a:cxn>
                                    <a:cxn ang="0">
                                      <a:pos x="248" y="170"/>
                                    </a:cxn>
                                    <a:cxn ang="0">
                                      <a:pos x="254" y="176"/>
                                    </a:cxn>
                                    <a:cxn ang="0">
                                      <a:pos x="272" y="188"/>
                                    </a:cxn>
                                    <a:cxn ang="0">
                                      <a:pos x="276" y="198"/>
                                    </a:cxn>
                                    <a:cxn ang="0">
                                      <a:pos x="274" y="208"/>
                                    </a:cxn>
                                    <a:cxn ang="0">
                                      <a:pos x="272" y="222"/>
                                    </a:cxn>
                                    <a:cxn ang="0">
                                      <a:pos x="272" y="230"/>
                                    </a:cxn>
                                    <a:cxn ang="0">
                                      <a:pos x="250" y="218"/>
                                    </a:cxn>
                                    <a:cxn ang="0">
                                      <a:pos x="196" y="222"/>
                                    </a:cxn>
                                    <a:cxn ang="0">
                                      <a:pos x="188" y="232"/>
                                    </a:cxn>
                                    <a:cxn ang="0">
                                      <a:pos x="180" y="252"/>
                                    </a:cxn>
                                    <a:cxn ang="0">
                                      <a:pos x="184" y="284"/>
                                    </a:cxn>
                                    <a:cxn ang="0">
                                      <a:pos x="186" y="306"/>
                                    </a:cxn>
                                    <a:cxn ang="0">
                                      <a:pos x="168" y="306"/>
                                    </a:cxn>
                                    <a:cxn ang="0">
                                      <a:pos x="152" y="304"/>
                                    </a:cxn>
                                    <a:cxn ang="0">
                                      <a:pos x="150" y="316"/>
                                    </a:cxn>
                                    <a:cxn ang="0">
                                      <a:pos x="148" y="322"/>
                                    </a:cxn>
                                    <a:cxn ang="0">
                                      <a:pos x="138" y="306"/>
                                    </a:cxn>
                                    <a:cxn ang="0">
                                      <a:pos x="118" y="304"/>
                                    </a:cxn>
                                    <a:cxn ang="0">
                                      <a:pos x="114" y="298"/>
                                    </a:cxn>
                                    <a:cxn ang="0">
                                      <a:pos x="106" y="302"/>
                                    </a:cxn>
                                    <a:cxn ang="0">
                                      <a:pos x="94" y="316"/>
                                    </a:cxn>
                                    <a:cxn ang="0">
                                      <a:pos x="90" y="322"/>
                                    </a:cxn>
                                    <a:cxn ang="0">
                                      <a:pos x="74" y="318"/>
                                    </a:cxn>
                                    <a:cxn ang="0">
                                      <a:pos x="58" y="272"/>
                                    </a:cxn>
                                    <a:cxn ang="0">
                                      <a:pos x="52" y="244"/>
                                    </a:cxn>
                                    <a:cxn ang="0">
                                      <a:pos x="36" y="214"/>
                                    </a:cxn>
                                    <a:cxn ang="0">
                                      <a:pos x="22" y="190"/>
                                    </a:cxn>
                                    <a:cxn ang="0">
                                      <a:pos x="22" y="182"/>
                                    </a:cxn>
                                    <a:cxn ang="0">
                                      <a:pos x="30" y="164"/>
                                    </a:cxn>
                                    <a:cxn ang="0">
                                      <a:pos x="30" y="148"/>
                                    </a:cxn>
                                    <a:cxn ang="0">
                                      <a:pos x="28" y="136"/>
                                    </a:cxn>
                                    <a:cxn ang="0">
                                      <a:pos x="22" y="126"/>
                                    </a:cxn>
                                    <a:cxn ang="0">
                                      <a:pos x="24" y="114"/>
                                    </a:cxn>
                                    <a:cxn ang="0">
                                      <a:pos x="20" y="86"/>
                                    </a:cxn>
                                    <a:cxn ang="0">
                                      <a:pos x="24" y="70"/>
                                    </a:cxn>
                                    <a:cxn ang="0">
                                      <a:pos x="0" y="30"/>
                                    </a:cxn>
                                  </a:cxnLst>
                                  <a:rect l="0" t="0" r="r" b="b"/>
                                  <a:pathLst>
                                    <a:path w="276" h="324">
                                      <a:moveTo>
                                        <a:pt x="0" y="30"/>
                                      </a:moveTo>
                                      <a:lnTo>
                                        <a:pt x="0" y="30"/>
                                      </a:lnTo>
                                      <a:lnTo>
                                        <a:pt x="8" y="30"/>
                                      </a:lnTo>
                                      <a:lnTo>
                                        <a:pt x="14" y="30"/>
                                      </a:lnTo>
                                      <a:lnTo>
                                        <a:pt x="20" y="34"/>
                                      </a:lnTo>
                                      <a:lnTo>
                                        <a:pt x="24" y="34"/>
                                      </a:lnTo>
                                      <a:lnTo>
                                        <a:pt x="28" y="30"/>
                                      </a:lnTo>
                                      <a:lnTo>
                                        <a:pt x="28" y="30"/>
                                      </a:lnTo>
                                      <a:lnTo>
                                        <a:pt x="34" y="28"/>
                                      </a:lnTo>
                                      <a:lnTo>
                                        <a:pt x="38" y="28"/>
                                      </a:lnTo>
                                      <a:lnTo>
                                        <a:pt x="40" y="26"/>
                                      </a:lnTo>
                                      <a:lnTo>
                                        <a:pt x="42" y="22"/>
                                      </a:lnTo>
                                      <a:lnTo>
                                        <a:pt x="42" y="22"/>
                                      </a:lnTo>
                                      <a:lnTo>
                                        <a:pt x="42" y="18"/>
                                      </a:lnTo>
                                      <a:lnTo>
                                        <a:pt x="46" y="16"/>
                                      </a:lnTo>
                                      <a:lnTo>
                                        <a:pt x="52" y="14"/>
                                      </a:lnTo>
                                      <a:lnTo>
                                        <a:pt x="58" y="8"/>
                                      </a:lnTo>
                                      <a:lnTo>
                                        <a:pt x="58" y="8"/>
                                      </a:lnTo>
                                      <a:lnTo>
                                        <a:pt x="64" y="4"/>
                                      </a:lnTo>
                                      <a:lnTo>
                                        <a:pt x="76" y="0"/>
                                      </a:lnTo>
                                      <a:lnTo>
                                        <a:pt x="86" y="0"/>
                                      </a:lnTo>
                                      <a:lnTo>
                                        <a:pt x="90" y="0"/>
                                      </a:lnTo>
                                      <a:lnTo>
                                        <a:pt x="92" y="4"/>
                                      </a:lnTo>
                                      <a:lnTo>
                                        <a:pt x="92" y="4"/>
                                      </a:lnTo>
                                      <a:lnTo>
                                        <a:pt x="92" y="30"/>
                                      </a:lnTo>
                                      <a:lnTo>
                                        <a:pt x="96" y="44"/>
                                      </a:lnTo>
                                      <a:lnTo>
                                        <a:pt x="98" y="48"/>
                                      </a:lnTo>
                                      <a:lnTo>
                                        <a:pt x="102" y="50"/>
                                      </a:lnTo>
                                      <a:lnTo>
                                        <a:pt x="102" y="50"/>
                                      </a:lnTo>
                                      <a:lnTo>
                                        <a:pt x="106" y="54"/>
                                      </a:lnTo>
                                      <a:lnTo>
                                        <a:pt x="108" y="58"/>
                                      </a:lnTo>
                                      <a:lnTo>
                                        <a:pt x="112" y="62"/>
                                      </a:lnTo>
                                      <a:lnTo>
                                        <a:pt x="116" y="64"/>
                                      </a:lnTo>
                                      <a:lnTo>
                                        <a:pt x="124" y="64"/>
                                      </a:lnTo>
                                      <a:lnTo>
                                        <a:pt x="124" y="64"/>
                                      </a:lnTo>
                                      <a:lnTo>
                                        <a:pt x="130" y="64"/>
                                      </a:lnTo>
                                      <a:lnTo>
                                        <a:pt x="134" y="64"/>
                                      </a:lnTo>
                                      <a:lnTo>
                                        <a:pt x="140" y="68"/>
                                      </a:lnTo>
                                      <a:lnTo>
                                        <a:pt x="144" y="72"/>
                                      </a:lnTo>
                                      <a:lnTo>
                                        <a:pt x="148" y="74"/>
                                      </a:lnTo>
                                      <a:lnTo>
                                        <a:pt x="150" y="74"/>
                                      </a:lnTo>
                                      <a:lnTo>
                                        <a:pt x="150" y="74"/>
                                      </a:lnTo>
                                      <a:lnTo>
                                        <a:pt x="156" y="76"/>
                                      </a:lnTo>
                                      <a:lnTo>
                                        <a:pt x="158" y="80"/>
                                      </a:lnTo>
                                      <a:lnTo>
                                        <a:pt x="160" y="84"/>
                                      </a:lnTo>
                                      <a:lnTo>
                                        <a:pt x="170" y="88"/>
                                      </a:lnTo>
                                      <a:lnTo>
                                        <a:pt x="170" y="88"/>
                                      </a:lnTo>
                                      <a:lnTo>
                                        <a:pt x="178" y="92"/>
                                      </a:lnTo>
                                      <a:lnTo>
                                        <a:pt x="180" y="94"/>
                                      </a:lnTo>
                                      <a:lnTo>
                                        <a:pt x="182" y="98"/>
                                      </a:lnTo>
                                      <a:lnTo>
                                        <a:pt x="194" y="102"/>
                                      </a:lnTo>
                                      <a:lnTo>
                                        <a:pt x="194" y="102"/>
                                      </a:lnTo>
                                      <a:lnTo>
                                        <a:pt x="204" y="108"/>
                                      </a:lnTo>
                                      <a:lnTo>
                                        <a:pt x="206" y="112"/>
                                      </a:lnTo>
                                      <a:lnTo>
                                        <a:pt x="206" y="116"/>
                                      </a:lnTo>
                                      <a:lnTo>
                                        <a:pt x="206" y="124"/>
                                      </a:lnTo>
                                      <a:lnTo>
                                        <a:pt x="206" y="124"/>
                                      </a:lnTo>
                                      <a:lnTo>
                                        <a:pt x="208" y="128"/>
                                      </a:lnTo>
                                      <a:lnTo>
                                        <a:pt x="208" y="132"/>
                                      </a:lnTo>
                                      <a:lnTo>
                                        <a:pt x="206" y="134"/>
                                      </a:lnTo>
                                      <a:lnTo>
                                        <a:pt x="208" y="138"/>
                                      </a:lnTo>
                                      <a:lnTo>
                                        <a:pt x="208" y="138"/>
                                      </a:lnTo>
                                      <a:lnTo>
                                        <a:pt x="208" y="140"/>
                                      </a:lnTo>
                                      <a:lnTo>
                                        <a:pt x="208" y="140"/>
                                      </a:lnTo>
                                      <a:lnTo>
                                        <a:pt x="206" y="140"/>
                                      </a:lnTo>
                                      <a:lnTo>
                                        <a:pt x="208" y="144"/>
                                      </a:lnTo>
                                      <a:lnTo>
                                        <a:pt x="218" y="158"/>
                                      </a:lnTo>
                                      <a:lnTo>
                                        <a:pt x="252" y="158"/>
                                      </a:lnTo>
                                      <a:lnTo>
                                        <a:pt x="252" y="158"/>
                                      </a:lnTo>
                                      <a:lnTo>
                                        <a:pt x="252" y="162"/>
                                      </a:lnTo>
                                      <a:lnTo>
                                        <a:pt x="252" y="166"/>
                                      </a:lnTo>
                                      <a:lnTo>
                                        <a:pt x="248" y="170"/>
                                      </a:lnTo>
                                      <a:lnTo>
                                        <a:pt x="248" y="172"/>
                                      </a:lnTo>
                                      <a:lnTo>
                                        <a:pt x="248" y="174"/>
                                      </a:lnTo>
                                      <a:lnTo>
                                        <a:pt x="254" y="176"/>
                                      </a:lnTo>
                                      <a:lnTo>
                                        <a:pt x="254" y="176"/>
                                      </a:lnTo>
                                      <a:lnTo>
                                        <a:pt x="262" y="178"/>
                                      </a:lnTo>
                                      <a:lnTo>
                                        <a:pt x="266" y="180"/>
                                      </a:lnTo>
                                      <a:lnTo>
                                        <a:pt x="268" y="184"/>
                                      </a:lnTo>
                                      <a:lnTo>
                                        <a:pt x="272" y="188"/>
                                      </a:lnTo>
                                      <a:lnTo>
                                        <a:pt x="272" y="188"/>
                                      </a:lnTo>
                                      <a:lnTo>
                                        <a:pt x="274" y="190"/>
                                      </a:lnTo>
                                      <a:lnTo>
                                        <a:pt x="276" y="192"/>
                                      </a:lnTo>
                                      <a:lnTo>
                                        <a:pt x="276" y="198"/>
                                      </a:lnTo>
                                      <a:lnTo>
                                        <a:pt x="272" y="202"/>
                                      </a:lnTo>
                                      <a:lnTo>
                                        <a:pt x="272" y="206"/>
                                      </a:lnTo>
                                      <a:lnTo>
                                        <a:pt x="274" y="208"/>
                                      </a:lnTo>
                                      <a:lnTo>
                                        <a:pt x="274" y="208"/>
                                      </a:lnTo>
                                      <a:lnTo>
                                        <a:pt x="274" y="212"/>
                                      </a:lnTo>
                                      <a:lnTo>
                                        <a:pt x="272" y="216"/>
                                      </a:lnTo>
                                      <a:lnTo>
                                        <a:pt x="272" y="220"/>
                                      </a:lnTo>
                                      <a:lnTo>
                                        <a:pt x="272" y="222"/>
                                      </a:lnTo>
                                      <a:lnTo>
                                        <a:pt x="272" y="222"/>
                                      </a:lnTo>
                                      <a:lnTo>
                                        <a:pt x="276" y="228"/>
                                      </a:lnTo>
                                      <a:lnTo>
                                        <a:pt x="272" y="230"/>
                                      </a:lnTo>
                                      <a:lnTo>
                                        <a:pt x="272" y="230"/>
                                      </a:lnTo>
                                      <a:lnTo>
                                        <a:pt x="264" y="226"/>
                                      </a:lnTo>
                                      <a:lnTo>
                                        <a:pt x="262" y="224"/>
                                      </a:lnTo>
                                      <a:lnTo>
                                        <a:pt x="260" y="222"/>
                                      </a:lnTo>
                                      <a:lnTo>
                                        <a:pt x="250" y="218"/>
                                      </a:lnTo>
                                      <a:lnTo>
                                        <a:pt x="250" y="218"/>
                                      </a:lnTo>
                                      <a:lnTo>
                                        <a:pt x="238" y="216"/>
                                      </a:lnTo>
                                      <a:lnTo>
                                        <a:pt x="226" y="216"/>
                                      </a:lnTo>
                                      <a:lnTo>
                                        <a:pt x="196" y="222"/>
                                      </a:lnTo>
                                      <a:lnTo>
                                        <a:pt x="196" y="222"/>
                                      </a:lnTo>
                                      <a:lnTo>
                                        <a:pt x="192" y="224"/>
                                      </a:lnTo>
                                      <a:lnTo>
                                        <a:pt x="190" y="226"/>
                                      </a:lnTo>
                                      <a:lnTo>
                                        <a:pt x="188" y="232"/>
                                      </a:lnTo>
                                      <a:lnTo>
                                        <a:pt x="186" y="240"/>
                                      </a:lnTo>
                                      <a:lnTo>
                                        <a:pt x="182" y="248"/>
                                      </a:lnTo>
                                      <a:lnTo>
                                        <a:pt x="182" y="248"/>
                                      </a:lnTo>
                                      <a:lnTo>
                                        <a:pt x="180" y="252"/>
                                      </a:lnTo>
                                      <a:lnTo>
                                        <a:pt x="180" y="256"/>
                                      </a:lnTo>
                                      <a:lnTo>
                                        <a:pt x="182" y="264"/>
                                      </a:lnTo>
                                      <a:lnTo>
                                        <a:pt x="184" y="274"/>
                                      </a:lnTo>
                                      <a:lnTo>
                                        <a:pt x="184" y="284"/>
                                      </a:lnTo>
                                      <a:lnTo>
                                        <a:pt x="184" y="284"/>
                                      </a:lnTo>
                                      <a:lnTo>
                                        <a:pt x="184" y="298"/>
                                      </a:lnTo>
                                      <a:lnTo>
                                        <a:pt x="186" y="306"/>
                                      </a:lnTo>
                                      <a:lnTo>
                                        <a:pt x="186" y="306"/>
                                      </a:lnTo>
                                      <a:lnTo>
                                        <a:pt x="182" y="306"/>
                                      </a:lnTo>
                                      <a:lnTo>
                                        <a:pt x="180" y="306"/>
                                      </a:lnTo>
                                      <a:lnTo>
                                        <a:pt x="176" y="304"/>
                                      </a:lnTo>
                                      <a:lnTo>
                                        <a:pt x="168" y="306"/>
                                      </a:lnTo>
                                      <a:lnTo>
                                        <a:pt x="168" y="306"/>
                                      </a:lnTo>
                                      <a:lnTo>
                                        <a:pt x="162" y="306"/>
                                      </a:lnTo>
                                      <a:lnTo>
                                        <a:pt x="156" y="304"/>
                                      </a:lnTo>
                                      <a:lnTo>
                                        <a:pt x="152" y="304"/>
                                      </a:lnTo>
                                      <a:lnTo>
                                        <a:pt x="150" y="306"/>
                                      </a:lnTo>
                                      <a:lnTo>
                                        <a:pt x="150" y="306"/>
                                      </a:lnTo>
                                      <a:lnTo>
                                        <a:pt x="148" y="312"/>
                                      </a:lnTo>
                                      <a:lnTo>
                                        <a:pt x="150" y="316"/>
                                      </a:lnTo>
                                      <a:lnTo>
                                        <a:pt x="150" y="318"/>
                                      </a:lnTo>
                                      <a:lnTo>
                                        <a:pt x="148" y="322"/>
                                      </a:lnTo>
                                      <a:lnTo>
                                        <a:pt x="148" y="322"/>
                                      </a:lnTo>
                                      <a:lnTo>
                                        <a:pt x="148" y="322"/>
                                      </a:lnTo>
                                      <a:lnTo>
                                        <a:pt x="148" y="320"/>
                                      </a:lnTo>
                                      <a:lnTo>
                                        <a:pt x="146" y="314"/>
                                      </a:lnTo>
                                      <a:lnTo>
                                        <a:pt x="142" y="308"/>
                                      </a:lnTo>
                                      <a:lnTo>
                                        <a:pt x="138" y="306"/>
                                      </a:lnTo>
                                      <a:lnTo>
                                        <a:pt x="134" y="304"/>
                                      </a:lnTo>
                                      <a:lnTo>
                                        <a:pt x="134" y="304"/>
                                      </a:lnTo>
                                      <a:lnTo>
                                        <a:pt x="124" y="304"/>
                                      </a:lnTo>
                                      <a:lnTo>
                                        <a:pt x="118" y="304"/>
                                      </a:lnTo>
                                      <a:lnTo>
                                        <a:pt x="118" y="304"/>
                                      </a:lnTo>
                                      <a:lnTo>
                                        <a:pt x="116" y="304"/>
                                      </a:lnTo>
                                      <a:lnTo>
                                        <a:pt x="116" y="302"/>
                                      </a:lnTo>
                                      <a:lnTo>
                                        <a:pt x="114" y="298"/>
                                      </a:lnTo>
                                      <a:lnTo>
                                        <a:pt x="108" y="298"/>
                                      </a:lnTo>
                                      <a:lnTo>
                                        <a:pt x="108" y="298"/>
                                      </a:lnTo>
                                      <a:lnTo>
                                        <a:pt x="108" y="300"/>
                                      </a:lnTo>
                                      <a:lnTo>
                                        <a:pt x="106" y="302"/>
                                      </a:lnTo>
                                      <a:lnTo>
                                        <a:pt x="100" y="308"/>
                                      </a:lnTo>
                                      <a:lnTo>
                                        <a:pt x="96" y="312"/>
                                      </a:lnTo>
                                      <a:lnTo>
                                        <a:pt x="94" y="314"/>
                                      </a:lnTo>
                                      <a:lnTo>
                                        <a:pt x="94" y="316"/>
                                      </a:lnTo>
                                      <a:lnTo>
                                        <a:pt x="94" y="316"/>
                                      </a:lnTo>
                                      <a:lnTo>
                                        <a:pt x="96" y="318"/>
                                      </a:lnTo>
                                      <a:lnTo>
                                        <a:pt x="94" y="318"/>
                                      </a:lnTo>
                                      <a:lnTo>
                                        <a:pt x="90" y="322"/>
                                      </a:lnTo>
                                      <a:lnTo>
                                        <a:pt x="90" y="322"/>
                                      </a:lnTo>
                                      <a:lnTo>
                                        <a:pt x="80" y="324"/>
                                      </a:lnTo>
                                      <a:lnTo>
                                        <a:pt x="76" y="322"/>
                                      </a:lnTo>
                                      <a:lnTo>
                                        <a:pt x="74" y="318"/>
                                      </a:lnTo>
                                      <a:lnTo>
                                        <a:pt x="72" y="312"/>
                                      </a:lnTo>
                                      <a:lnTo>
                                        <a:pt x="70" y="296"/>
                                      </a:lnTo>
                                      <a:lnTo>
                                        <a:pt x="66" y="284"/>
                                      </a:lnTo>
                                      <a:lnTo>
                                        <a:pt x="58" y="272"/>
                                      </a:lnTo>
                                      <a:lnTo>
                                        <a:pt x="58" y="272"/>
                                      </a:lnTo>
                                      <a:lnTo>
                                        <a:pt x="54" y="262"/>
                                      </a:lnTo>
                                      <a:lnTo>
                                        <a:pt x="52" y="252"/>
                                      </a:lnTo>
                                      <a:lnTo>
                                        <a:pt x="52" y="244"/>
                                      </a:lnTo>
                                      <a:lnTo>
                                        <a:pt x="48" y="236"/>
                                      </a:lnTo>
                                      <a:lnTo>
                                        <a:pt x="48" y="236"/>
                                      </a:lnTo>
                                      <a:lnTo>
                                        <a:pt x="40" y="222"/>
                                      </a:lnTo>
                                      <a:lnTo>
                                        <a:pt x="36" y="214"/>
                                      </a:lnTo>
                                      <a:lnTo>
                                        <a:pt x="30" y="208"/>
                                      </a:lnTo>
                                      <a:lnTo>
                                        <a:pt x="20" y="198"/>
                                      </a:lnTo>
                                      <a:lnTo>
                                        <a:pt x="20" y="198"/>
                                      </a:lnTo>
                                      <a:lnTo>
                                        <a:pt x="22" y="190"/>
                                      </a:lnTo>
                                      <a:lnTo>
                                        <a:pt x="22" y="188"/>
                                      </a:lnTo>
                                      <a:lnTo>
                                        <a:pt x="20" y="186"/>
                                      </a:lnTo>
                                      <a:lnTo>
                                        <a:pt x="22" y="182"/>
                                      </a:lnTo>
                                      <a:lnTo>
                                        <a:pt x="22" y="182"/>
                                      </a:lnTo>
                                      <a:lnTo>
                                        <a:pt x="26" y="176"/>
                                      </a:lnTo>
                                      <a:lnTo>
                                        <a:pt x="26" y="174"/>
                                      </a:lnTo>
                                      <a:lnTo>
                                        <a:pt x="26" y="170"/>
                                      </a:lnTo>
                                      <a:lnTo>
                                        <a:pt x="30" y="164"/>
                                      </a:lnTo>
                                      <a:lnTo>
                                        <a:pt x="30" y="164"/>
                                      </a:lnTo>
                                      <a:lnTo>
                                        <a:pt x="32" y="158"/>
                                      </a:lnTo>
                                      <a:lnTo>
                                        <a:pt x="32" y="154"/>
                                      </a:lnTo>
                                      <a:lnTo>
                                        <a:pt x="30" y="148"/>
                                      </a:lnTo>
                                      <a:lnTo>
                                        <a:pt x="26" y="142"/>
                                      </a:lnTo>
                                      <a:lnTo>
                                        <a:pt x="26" y="140"/>
                                      </a:lnTo>
                                      <a:lnTo>
                                        <a:pt x="28" y="136"/>
                                      </a:lnTo>
                                      <a:lnTo>
                                        <a:pt x="28" y="136"/>
                                      </a:lnTo>
                                      <a:lnTo>
                                        <a:pt x="28" y="134"/>
                                      </a:lnTo>
                                      <a:lnTo>
                                        <a:pt x="28" y="132"/>
                                      </a:lnTo>
                                      <a:lnTo>
                                        <a:pt x="24" y="128"/>
                                      </a:lnTo>
                                      <a:lnTo>
                                        <a:pt x="22" y="126"/>
                                      </a:lnTo>
                                      <a:lnTo>
                                        <a:pt x="20" y="124"/>
                                      </a:lnTo>
                                      <a:lnTo>
                                        <a:pt x="20" y="120"/>
                                      </a:lnTo>
                                      <a:lnTo>
                                        <a:pt x="24" y="114"/>
                                      </a:lnTo>
                                      <a:lnTo>
                                        <a:pt x="24" y="114"/>
                                      </a:lnTo>
                                      <a:lnTo>
                                        <a:pt x="24" y="110"/>
                                      </a:lnTo>
                                      <a:lnTo>
                                        <a:pt x="24" y="106"/>
                                      </a:lnTo>
                                      <a:lnTo>
                                        <a:pt x="22" y="96"/>
                                      </a:lnTo>
                                      <a:lnTo>
                                        <a:pt x="20" y="86"/>
                                      </a:lnTo>
                                      <a:lnTo>
                                        <a:pt x="20" y="80"/>
                                      </a:lnTo>
                                      <a:lnTo>
                                        <a:pt x="22" y="76"/>
                                      </a:lnTo>
                                      <a:lnTo>
                                        <a:pt x="22" y="76"/>
                                      </a:lnTo>
                                      <a:lnTo>
                                        <a:pt x="24" y="70"/>
                                      </a:lnTo>
                                      <a:lnTo>
                                        <a:pt x="26" y="68"/>
                                      </a:lnTo>
                                      <a:lnTo>
                                        <a:pt x="22" y="58"/>
                                      </a:lnTo>
                                      <a:lnTo>
                                        <a:pt x="12" y="48"/>
                                      </a:lnTo>
                                      <a:lnTo>
                                        <a:pt x="0" y="30"/>
                                      </a:lnTo>
                                      <a:lnTo>
                                        <a:pt x="0" y="3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7" name="Cambodia"/>
                                <p:cNvSpPr>
                                  <a:spLocks/>
                                </p:cNvSpPr>
                                <p:nvPr/>
                              </p:nvSpPr>
                              <p:spPr bwMode="auto">
                                <a:xfrm>
                                  <a:off x="9040816" y="3111709"/>
                                  <a:ext cx="185296" cy="176020"/>
                                </a:xfrm>
                                <a:custGeom>
                                  <a:avLst/>
                                  <a:gdLst/>
                                  <a:ahLst/>
                                  <a:cxnLst>
                                    <a:cxn ang="0">
                                      <a:pos x="50" y="114"/>
                                    </a:cxn>
                                    <a:cxn ang="0">
                                      <a:pos x="46" y="116"/>
                                    </a:cxn>
                                    <a:cxn ang="0">
                                      <a:pos x="46" y="112"/>
                                    </a:cxn>
                                    <a:cxn ang="0">
                                      <a:pos x="42" y="106"/>
                                    </a:cxn>
                                    <a:cxn ang="0">
                                      <a:pos x="34" y="108"/>
                                    </a:cxn>
                                    <a:cxn ang="0">
                                      <a:pos x="32" y="108"/>
                                    </a:cxn>
                                    <a:cxn ang="0">
                                      <a:pos x="26" y="106"/>
                                    </a:cxn>
                                    <a:cxn ang="0">
                                      <a:pos x="28" y="102"/>
                                    </a:cxn>
                                    <a:cxn ang="0">
                                      <a:pos x="30" y="102"/>
                                    </a:cxn>
                                    <a:cxn ang="0">
                                      <a:pos x="32" y="96"/>
                                    </a:cxn>
                                    <a:cxn ang="0">
                                      <a:pos x="26" y="90"/>
                                    </a:cxn>
                                    <a:cxn ang="0">
                                      <a:pos x="24" y="92"/>
                                    </a:cxn>
                                    <a:cxn ang="0">
                                      <a:pos x="24" y="96"/>
                                    </a:cxn>
                                    <a:cxn ang="0">
                                      <a:pos x="22" y="98"/>
                                    </a:cxn>
                                    <a:cxn ang="0">
                                      <a:pos x="18" y="96"/>
                                    </a:cxn>
                                    <a:cxn ang="0">
                                      <a:pos x="18" y="88"/>
                                    </a:cxn>
                                    <a:cxn ang="0">
                                      <a:pos x="18" y="72"/>
                                    </a:cxn>
                                    <a:cxn ang="0">
                                      <a:pos x="10" y="60"/>
                                    </a:cxn>
                                    <a:cxn ang="0">
                                      <a:pos x="0" y="44"/>
                                    </a:cxn>
                                    <a:cxn ang="0">
                                      <a:pos x="0" y="40"/>
                                    </a:cxn>
                                    <a:cxn ang="0">
                                      <a:pos x="16" y="18"/>
                                    </a:cxn>
                                    <a:cxn ang="0">
                                      <a:pos x="20" y="16"/>
                                    </a:cxn>
                                    <a:cxn ang="0">
                                      <a:pos x="28" y="18"/>
                                    </a:cxn>
                                    <a:cxn ang="0">
                                      <a:pos x="30" y="16"/>
                                    </a:cxn>
                                    <a:cxn ang="0">
                                      <a:pos x="36" y="16"/>
                                    </a:cxn>
                                    <a:cxn ang="0">
                                      <a:pos x="40" y="16"/>
                                    </a:cxn>
                                    <a:cxn ang="0">
                                      <a:pos x="44" y="16"/>
                                    </a:cxn>
                                    <a:cxn ang="0">
                                      <a:pos x="52" y="16"/>
                                    </a:cxn>
                                    <a:cxn ang="0">
                                      <a:pos x="60" y="12"/>
                                    </a:cxn>
                                    <a:cxn ang="0">
                                      <a:pos x="78" y="16"/>
                                    </a:cxn>
                                    <a:cxn ang="0">
                                      <a:pos x="82" y="22"/>
                                    </a:cxn>
                                    <a:cxn ang="0">
                                      <a:pos x="84" y="20"/>
                                    </a:cxn>
                                    <a:cxn ang="0">
                                      <a:pos x="84" y="12"/>
                                    </a:cxn>
                                    <a:cxn ang="0">
                                      <a:pos x="84" y="2"/>
                                    </a:cxn>
                                    <a:cxn ang="0">
                                      <a:pos x="86" y="0"/>
                                    </a:cxn>
                                    <a:cxn ang="0">
                                      <a:pos x="92" y="2"/>
                                    </a:cxn>
                                    <a:cxn ang="0">
                                      <a:pos x="110" y="16"/>
                                    </a:cxn>
                                    <a:cxn ang="0">
                                      <a:pos x="122" y="22"/>
                                    </a:cxn>
                                    <a:cxn ang="0">
                                      <a:pos x="120" y="30"/>
                                    </a:cxn>
                                    <a:cxn ang="0">
                                      <a:pos x="114" y="50"/>
                                    </a:cxn>
                                    <a:cxn ang="0">
                                      <a:pos x="116" y="60"/>
                                    </a:cxn>
                                    <a:cxn ang="0">
                                      <a:pos x="122" y="66"/>
                                    </a:cxn>
                                    <a:cxn ang="0">
                                      <a:pos x="116" y="74"/>
                                    </a:cxn>
                                    <a:cxn ang="0">
                                      <a:pos x="110" y="74"/>
                                    </a:cxn>
                                    <a:cxn ang="0">
                                      <a:pos x="102" y="74"/>
                                    </a:cxn>
                                    <a:cxn ang="0">
                                      <a:pos x="94" y="82"/>
                                    </a:cxn>
                                    <a:cxn ang="0">
                                      <a:pos x="82" y="90"/>
                                    </a:cxn>
                                    <a:cxn ang="0">
                                      <a:pos x="76" y="90"/>
                                    </a:cxn>
                                    <a:cxn ang="0">
                                      <a:pos x="76" y="92"/>
                                    </a:cxn>
                                    <a:cxn ang="0">
                                      <a:pos x="82" y="98"/>
                                    </a:cxn>
                                    <a:cxn ang="0">
                                      <a:pos x="88" y="104"/>
                                    </a:cxn>
                                    <a:cxn ang="0">
                                      <a:pos x="88" y="106"/>
                                    </a:cxn>
                                    <a:cxn ang="0">
                                      <a:pos x="84" y="106"/>
                                    </a:cxn>
                                    <a:cxn ang="0">
                                      <a:pos x="78" y="100"/>
                                    </a:cxn>
                                    <a:cxn ang="0">
                                      <a:pos x="72" y="102"/>
                                    </a:cxn>
                                    <a:cxn ang="0">
                                      <a:pos x="62" y="106"/>
                                    </a:cxn>
                                    <a:cxn ang="0">
                                      <a:pos x="54" y="110"/>
                                    </a:cxn>
                                    <a:cxn ang="0">
                                      <a:pos x="50" y="114"/>
                                    </a:cxn>
                                  </a:cxnLst>
                                  <a:rect l="0" t="0" r="r" b="b"/>
                                  <a:pathLst>
                                    <a:path w="122" h="116">
                                      <a:moveTo>
                                        <a:pt x="50" y="114"/>
                                      </a:moveTo>
                                      <a:lnTo>
                                        <a:pt x="50" y="114"/>
                                      </a:lnTo>
                                      <a:lnTo>
                                        <a:pt x="48" y="116"/>
                                      </a:lnTo>
                                      <a:lnTo>
                                        <a:pt x="46" y="116"/>
                                      </a:lnTo>
                                      <a:lnTo>
                                        <a:pt x="46" y="112"/>
                                      </a:lnTo>
                                      <a:lnTo>
                                        <a:pt x="46" y="112"/>
                                      </a:lnTo>
                                      <a:lnTo>
                                        <a:pt x="44" y="108"/>
                                      </a:lnTo>
                                      <a:lnTo>
                                        <a:pt x="42" y="106"/>
                                      </a:lnTo>
                                      <a:lnTo>
                                        <a:pt x="38" y="106"/>
                                      </a:lnTo>
                                      <a:lnTo>
                                        <a:pt x="34" y="108"/>
                                      </a:lnTo>
                                      <a:lnTo>
                                        <a:pt x="34" y="108"/>
                                      </a:lnTo>
                                      <a:lnTo>
                                        <a:pt x="32" y="108"/>
                                      </a:lnTo>
                                      <a:lnTo>
                                        <a:pt x="30" y="108"/>
                                      </a:lnTo>
                                      <a:lnTo>
                                        <a:pt x="26" y="106"/>
                                      </a:lnTo>
                                      <a:lnTo>
                                        <a:pt x="26" y="102"/>
                                      </a:lnTo>
                                      <a:lnTo>
                                        <a:pt x="28" y="102"/>
                                      </a:lnTo>
                                      <a:lnTo>
                                        <a:pt x="30" y="102"/>
                                      </a:lnTo>
                                      <a:lnTo>
                                        <a:pt x="30" y="102"/>
                                      </a:lnTo>
                                      <a:lnTo>
                                        <a:pt x="32" y="100"/>
                                      </a:lnTo>
                                      <a:lnTo>
                                        <a:pt x="32" y="96"/>
                                      </a:lnTo>
                                      <a:lnTo>
                                        <a:pt x="30" y="92"/>
                                      </a:lnTo>
                                      <a:lnTo>
                                        <a:pt x="26" y="90"/>
                                      </a:lnTo>
                                      <a:lnTo>
                                        <a:pt x="26" y="90"/>
                                      </a:lnTo>
                                      <a:lnTo>
                                        <a:pt x="24" y="92"/>
                                      </a:lnTo>
                                      <a:lnTo>
                                        <a:pt x="24" y="94"/>
                                      </a:lnTo>
                                      <a:lnTo>
                                        <a:pt x="24" y="96"/>
                                      </a:lnTo>
                                      <a:lnTo>
                                        <a:pt x="22" y="98"/>
                                      </a:lnTo>
                                      <a:lnTo>
                                        <a:pt x="22" y="98"/>
                                      </a:lnTo>
                                      <a:lnTo>
                                        <a:pt x="18" y="98"/>
                                      </a:lnTo>
                                      <a:lnTo>
                                        <a:pt x="18" y="96"/>
                                      </a:lnTo>
                                      <a:lnTo>
                                        <a:pt x="18" y="88"/>
                                      </a:lnTo>
                                      <a:lnTo>
                                        <a:pt x="18" y="88"/>
                                      </a:lnTo>
                                      <a:lnTo>
                                        <a:pt x="20" y="80"/>
                                      </a:lnTo>
                                      <a:lnTo>
                                        <a:pt x="18" y="72"/>
                                      </a:lnTo>
                                      <a:lnTo>
                                        <a:pt x="16" y="66"/>
                                      </a:lnTo>
                                      <a:lnTo>
                                        <a:pt x="10" y="60"/>
                                      </a:lnTo>
                                      <a:lnTo>
                                        <a:pt x="2" y="50"/>
                                      </a:lnTo>
                                      <a:lnTo>
                                        <a:pt x="0" y="44"/>
                                      </a:lnTo>
                                      <a:lnTo>
                                        <a:pt x="0" y="40"/>
                                      </a:lnTo>
                                      <a:lnTo>
                                        <a:pt x="0" y="40"/>
                                      </a:lnTo>
                                      <a:lnTo>
                                        <a:pt x="10" y="28"/>
                                      </a:lnTo>
                                      <a:lnTo>
                                        <a:pt x="16" y="18"/>
                                      </a:lnTo>
                                      <a:lnTo>
                                        <a:pt x="16" y="18"/>
                                      </a:lnTo>
                                      <a:lnTo>
                                        <a:pt x="20" y="16"/>
                                      </a:lnTo>
                                      <a:lnTo>
                                        <a:pt x="24" y="16"/>
                                      </a:lnTo>
                                      <a:lnTo>
                                        <a:pt x="28" y="18"/>
                                      </a:lnTo>
                                      <a:lnTo>
                                        <a:pt x="30" y="16"/>
                                      </a:lnTo>
                                      <a:lnTo>
                                        <a:pt x="30" y="16"/>
                                      </a:lnTo>
                                      <a:lnTo>
                                        <a:pt x="34" y="16"/>
                                      </a:lnTo>
                                      <a:lnTo>
                                        <a:pt x="36" y="16"/>
                                      </a:lnTo>
                                      <a:lnTo>
                                        <a:pt x="38" y="18"/>
                                      </a:lnTo>
                                      <a:lnTo>
                                        <a:pt x="40" y="16"/>
                                      </a:lnTo>
                                      <a:lnTo>
                                        <a:pt x="40" y="16"/>
                                      </a:lnTo>
                                      <a:lnTo>
                                        <a:pt x="44" y="16"/>
                                      </a:lnTo>
                                      <a:lnTo>
                                        <a:pt x="46" y="16"/>
                                      </a:lnTo>
                                      <a:lnTo>
                                        <a:pt x="52" y="16"/>
                                      </a:lnTo>
                                      <a:lnTo>
                                        <a:pt x="60" y="12"/>
                                      </a:lnTo>
                                      <a:lnTo>
                                        <a:pt x="60" y="12"/>
                                      </a:lnTo>
                                      <a:lnTo>
                                        <a:pt x="74" y="14"/>
                                      </a:lnTo>
                                      <a:lnTo>
                                        <a:pt x="78" y="16"/>
                                      </a:lnTo>
                                      <a:lnTo>
                                        <a:pt x="80" y="20"/>
                                      </a:lnTo>
                                      <a:lnTo>
                                        <a:pt x="82" y="22"/>
                                      </a:lnTo>
                                      <a:lnTo>
                                        <a:pt x="82" y="22"/>
                                      </a:lnTo>
                                      <a:lnTo>
                                        <a:pt x="84" y="20"/>
                                      </a:lnTo>
                                      <a:lnTo>
                                        <a:pt x="84" y="18"/>
                                      </a:lnTo>
                                      <a:lnTo>
                                        <a:pt x="84" y="12"/>
                                      </a:lnTo>
                                      <a:lnTo>
                                        <a:pt x="82" y="6"/>
                                      </a:lnTo>
                                      <a:lnTo>
                                        <a:pt x="84" y="2"/>
                                      </a:lnTo>
                                      <a:lnTo>
                                        <a:pt x="86" y="0"/>
                                      </a:lnTo>
                                      <a:lnTo>
                                        <a:pt x="86" y="0"/>
                                      </a:lnTo>
                                      <a:lnTo>
                                        <a:pt x="88" y="0"/>
                                      </a:lnTo>
                                      <a:lnTo>
                                        <a:pt x="92" y="2"/>
                                      </a:lnTo>
                                      <a:lnTo>
                                        <a:pt x="100" y="8"/>
                                      </a:lnTo>
                                      <a:lnTo>
                                        <a:pt x="110" y="16"/>
                                      </a:lnTo>
                                      <a:lnTo>
                                        <a:pt x="116" y="20"/>
                                      </a:lnTo>
                                      <a:lnTo>
                                        <a:pt x="122" y="22"/>
                                      </a:lnTo>
                                      <a:lnTo>
                                        <a:pt x="122" y="22"/>
                                      </a:lnTo>
                                      <a:lnTo>
                                        <a:pt x="120" y="30"/>
                                      </a:lnTo>
                                      <a:lnTo>
                                        <a:pt x="116" y="40"/>
                                      </a:lnTo>
                                      <a:lnTo>
                                        <a:pt x="114" y="50"/>
                                      </a:lnTo>
                                      <a:lnTo>
                                        <a:pt x="114" y="56"/>
                                      </a:lnTo>
                                      <a:lnTo>
                                        <a:pt x="116" y="60"/>
                                      </a:lnTo>
                                      <a:lnTo>
                                        <a:pt x="116" y="60"/>
                                      </a:lnTo>
                                      <a:lnTo>
                                        <a:pt x="122" y="66"/>
                                      </a:lnTo>
                                      <a:lnTo>
                                        <a:pt x="120" y="72"/>
                                      </a:lnTo>
                                      <a:lnTo>
                                        <a:pt x="116" y="74"/>
                                      </a:lnTo>
                                      <a:lnTo>
                                        <a:pt x="110" y="74"/>
                                      </a:lnTo>
                                      <a:lnTo>
                                        <a:pt x="110" y="74"/>
                                      </a:lnTo>
                                      <a:lnTo>
                                        <a:pt x="106" y="72"/>
                                      </a:lnTo>
                                      <a:lnTo>
                                        <a:pt x="102" y="74"/>
                                      </a:lnTo>
                                      <a:lnTo>
                                        <a:pt x="94" y="82"/>
                                      </a:lnTo>
                                      <a:lnTo>
                                        <a:pt x="94" y="82"/>
                                      </a:lnTo>
                                      <a:lnTo>
                                        <a:pt x="86" y="88"/>
                                      </a:lnTo>
                                      <a:lnTo>
                                        <a:pt x="82" y="90"/>
                                      </a:lnTo>
                                      <a:lnTo>
                                        <a:pt x="80" y="88"/>
                                      </a:lnTo>
                                      <a:lnTo>
                                        <a:pt x="76" y="90"/>
                                      </a:lnTo>
                                      <a:lnTo>
                                        <a:pt x="76" y="90"/>
                                      </a:lnTo>
                                      <a:lnTo>
                                        <a:pt x="76" y="92"/>
                                      </a:lnTo>
                                      <a:lnTo>
                                        <a:pt x="78" y="94"/>
                                      </a:lnTo>
                                      <a:lnTo>
                                        <a:pt x="82" y="98"/>
                                      </a:lnTo>
                                      <a:lnTo>
                                        <a:pt x="88" y="102"/>
                                      </a:lnTo>
                                      <a:lnTo>
                                        <a:pt x="88" y="104"/>
                                      </a:lnTo>
                                      <a:lnTo>
                                        <a:pt x="88" y="106"/>
                                      </a:lnTo>
                                      <a:lnTo>
                                        <a:pt x="88" y="106"/>
                                      </a:lnTo>
                                      <a:lnTo>
                                        <a:pt x="86" y="106"/>
                                      </a:lnTo>
                                      <a:lnTo>
                                        <a:pt x="84" y="106"/>
                                      </a:lnTo>
                                      <a:lnTo>
                                        <a:pt x="82" y="102"/>
                                      </a:lnTo>
                                      <a:lnTo>
                                        <a:pt x="78" y="100"/>
                                      </a:lnTo>
                                      <a:lnTo>
                                        <a:pt x="74" y="100"/>
                                      </a:lnTo>
                                      <a:lnTo>
                                        <a:pt x="72" y="102"/>
                                      </a:lnTo>
                                      <a:lnTo>
                                        <a:pt x="72" y="102"/>
                                      </a:lnTo>
                                      <a:lnTo>
                                        <a:pt x="62" y="106"/>
                                      </a:lnTo>
                                      <a:lnTo>
                                        <a:pt x="56" y="108"/>
                                      </a:lnTo>
                                      <a:lnTo>
                                        <a:pt x="54" y="110"/>
                                      </a:lnTo>
                                      <a:lnTo>
                                        <a:pt x="50" y="114"/>
                                      </a:lnTo>
                                      <a:lnTo>
                                        <a:pt x="50" y="114"/>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9" name="Cameroon"/>
                                <p:cNvSpPr>
                                  <a:spLocks/>
                                </p:cNvSpPr>
                                <p:nvPr/>
                              </p:nvSpPr>
                              <p:spPr bwMode="auto">
                                <a:xfrm>
                                  <a:off x="6054814" y="3190613"/>
                                  <a:ext cx="249086" cy="421842"/>
                                </a:xfrm>
                                <a:custGeom>
                                  <a:avLst/>
                                  <a:gdLst/>
                                  <a:ahLst/>
                                  <a:cxnLst>
                                    <a:cxn ang="0">
                                      <a:pos x="2" y="196"/>
                                    </a:cxn>
                                    <a:cxn ang="0">
                                      <a:pos x="8" y="184"/>
                                    </a:cxn>
                                    <a:cxn ang="0">
                                      <a:pos x="22" y="160"/>
                                    </a:cxn>
                                    <a:cxn ang="0">
                                      <a:pos x="34" y="150"/>
                                    </a:cxn>
                                    <a:cxn ang="0">
                                      <a:pos x="46" y="154"/>
                                    </a:cxn>
                                    <a:cxn ang="0">
                                      <a:pos x="52" y="158"/>
                                    </a:cxn>
                                    <a:cxn ang="0">
                                      <a:pos x="60" y="158"/>
                                    </a:cxn>
                                    <a:cxn ang="0">
                                      <a:pos x="66" y="150"/>
                                    </a:cxn>
                                    <a:cxn ang="0">
                                      <a:pos x="74" y="134"/>
                                    </a:cxn>
                                    <a:cxn ang="0">
                                      <a:pos x="76" y="120"/>
                                    </a:cxn>
                                    <a:cxn ang="0">
                                      <a:pos x="86" y="110"/>
                                    </a:cxn>
                                    <a:cxn ang="0">
                                      <a:pos x="90" y="98"/>
                                    </a:cxn>
                                    <a:cxn ang="0">
                                      <a:pos x="96" y="90"/>
                                    </a:cxn>
                                    <a:cxn ang="0">
                                      <a:pos x="94" y="84"/>
                                    </a:cxn>
                                    <a:cxn ang="0">
                                      <a:pos x="100" y="78"/>
                                    </a:cxn>
                                    <a:cxn ang="0">
                                      <a:pos x="100" y="64"/>
                                    </a:cxn>
                                    <a:cxn ang="0">
                                      <a:pos x="116" y="30"/>
                                    </a:cxn>
                                    <a:cxn ang="0">
                                      <a:pos x="126" y="12"/>
                                    </a:cxn>
                                    <a:cxn ang="0">
                                      <a:pos x="122" y="2"/>
                                    </a:cxn>
                                    <a:cxn ang="0">
                                      <a:pos x="130" y="0"/>
                                    </a:cxn>
                                    <a:cxn ang="0">
                                      <a:pos x="134" y="30"/>
                                    </a:cxn>
                                    <a:cxn ang="0">
                                      <a:pos x="152" y="66"/>
                                    </a:cxn>
                                    <a:cxn ang="0">
                                      <a:pos x="138" y="66"/>
                                    </a:cxn>
                                    <a:cxn ang="0">
                                      <a:pos x="128" y="68"/>
                                    </a:cxn>
                                    <a:cxn ang="0">
                                      <a:pos x="118" y="72"/>
                                    </a:cxn>
                                    <a:cxn ang="0">
                                      <a:pos x="126" y="90"/>
                                    </a:cxn>
                                    <a:cxn ang="0">
                                      <a:pos x="148" y="122"/>
                                    </a:cxn>
                                    <a:cxn ang="0">
                                      <a:pos x="142" y="142"/>
                                    </a:cxn>
                                    <a:cxn ang="0">
                                      <a:pos x="128" y="184"/>
                                    </a:cxn>
                                    <a:cxn ang="0">
                                      <a:pos x="128" y="204"/>
                                    </a:cxn>
                                    <a:cxn ang="0">
                                      <a:pos x="146" y="228"/>
                                    </a:cxn>
                                    <a:cxn ang="0">
                                      <a:pos x="164" y="244"/>
                                    </a:cxn>
                                    <a:cxn ang="0">
                                      <a:pos x="162" y="260"/>
                                    </a:cxn>
                                    <a:cxn ang="0">
                                      <a:pos x="162" y="278"/>
                                    </a:cxn>
                                    <a:cxn ang="0">
                                      <a:pos x="144" y="274"/>
                                    </a:cxn>
                                    <a:cxn ang="0">
                                      <a:pos x="128" y="272"/>
                                    </a:cxn>
                                    <a:cxn ang="0">
                                      <a:pos x="108" y="270"/>
                                    </a:cxn>
                                    <a:cxn ang="0">
                                      <a:pos x="80" y="266"/>
                                    </a:cxn>
                                    <a:cxn ang="0">
                                      <a:pos x="48" y="272"/>
                                    </a:cxn>
                                    <a:cxn ang="0">
                                      <a:pos x="28" y="272"/>
                                    </a:cxn>
                                    <a:cxn ang="0">
                                      <a:pos x="28" y="250"/>
                                    </a:cxn>
                                    <a:cxn ang="0">
                                      <a:pos x="26" y="236"/>
                                    </a:cxn>
                                    <a:cxn ang="0">
                                      <a:pos x="20" y="230"/>
                                    </a:cxn>
                                    <a:cxn ang="0">
                                      <a:pos x="28" y="228"/>
                                    </a:cxn>
                                    <a:cxn ang="0">
                                      <a:pos x="26" y="224"/>
                                    </a:cxn>
                                    <a:cxn ang="0">
                                      <a:pos x="22" y="222"/>
                                    </a:cxn>
                                    <a:cxn ang="0">
                                      <a:pos x="16" y="224"/>
                                    </a:cxn>
                                    <a:cxn ang="0">
                                      <a:pos x="8" y="212"/>
                                    </a:cxn>
                                    <a:cxn ang="0">
                                      <a:pos x="4" y="212"/>
                                    </a:cxn>
                                  </a:cxnLst>
                                  <a:rect l="0" t="0" r="r" b="b"/>
                                  <a:pathLst>
                                    <a:path w="164" h="278">
                                      <a:moveTo>
                                        <a:pt x="4" y="212"/>
                                      </a:moveTo>
                                      <a:lnTo>
                                        <a:pt x="4" y="212"/>
                                      </a:lnTo>
                                      <a:lnTo>
                                        <a:pt x="0" y="200"/>
                                      </a:lnTo>
                                      <a:lnTo>
                                        <a:pt x="2" y="196"/>
                                      </a:lnTo>
                                      <a:lnTo>
                                        <a:pt x="6" y="192"/>
                                      </a:lnTo>
                                      <a:lnTo>
                                        <a:pt x="6" y="192"/>
                                      </a:lnTo>
                                      <a:lnTo>
                                        <a:pt x="10" y="188"/>
                                      </a:lnTo>
                                      <a:lnTo>
                                        <a:pt x="8" y="184"/>
                                      </a:lnTo>
                                      <a:lnTo>
                                        <a:pt x="10" y="178"/>
                                      </a:lnTo>
                                      <a:lnTo>
                                        <a:pt x="18" y="168"/>
                                      </a:lnTo>
                                      <a:lnTo>
                                        <a:pt x="18" y="168"/>
                                      </a:lnTo>
                                      <a:lnTo>
                                        <a:pt x="22" y="160"/>
                                      </a:lnTo>
                                      <a:lnTo>
                                        <a:pt x="24" y="156"/>
                                      </a:lnTo>
                                      <a:lnTo>
                                        <a:pt x="28" y="152"/>
                                      </a:lnTo>
                                      <a:lnTo>
                                        <a:pt x="34" y="150"/>
                                      </a:lnTo>
                                      <a:lnTo>
                                        <a:pt x="34" y="150"/>
                                      </a:lnTo>
                                      <a:lnTo>
                                        <a:pt x="40" y="150"/>
                                      </a:lnTo>
                                      <a:lnTo>
                                        <a:pt x="42" y="152"/>
                                      </a:lnTo>
                                      <a:lnTo>
                                        <a:pt x="44" y="154"/>
                                      </a:lnTo>
                                      <a:lnTo>
                                        <a:pt x="46" y="154"/>
                                      </a:lnTo>
                                      <a:lnTo>
                                        <a:pt x="46" y="154"/>
                                      </a:lnTo>
                                      <a:lnTo>
                                        <a:pt x="50" y="154"/>
                                      </a:lnTo>
                                      <a:lnTo>
                                        <a:pt x="50" y="156"/>
                                      </a:lnTo>
                                      <a:lnTo>
                                        <a:pt x="52" y="158"/>
                                      </a:lnTo>
                                      <a:lnTo>
                                        <a:pt x="56" y="160"/>
                                      </a:lnTo>
                                      <a:lnTo>
                                        <a:pt x="56" y="160"/>
                                      </a:lnTo>
                                      <a:lnTo>
                                        <a:pt x="58" y="160"/>
                                      </a:lnTo>
                                      <a:lnTo>
                                        <a:pt x="60" y="158"/>
                                      </a:lnTo>
                                      <a:lnTo>
                                        <a:pt x="60" y="154"/>
                                      </a:lnTo>
                                      <a:lnTo>
                                        <a:pt x="64" y="152"/>
                                      </a:lnTo>
                                      <a:lnTo>
                                        <a:pt x="64" y="152"/>
                                      </a:lnTo>
                                      <a:lnTo>
                                        <a:pt x="66" y="150"/>
                                      </a:lnTo>
                                      <a:lnTo>
                                        <a:pt x="66" y="148"/>
                                      </a:lnTo>
                                      <a:lnTo>
                                        <a:pt x="68" y="144"/>
                                      </a:lnTo>
                                      <a:lnTo>
                                        <a:pt x="74" y="134"/>
                                      </a:lnTo>
                                      <a:lnTo>
                                        <a:pt x="74" y="134"/>
                                      </a:lnTo>
                                      <a:lnTo>
                                        <a:pt x="80" y="128"/>
                                      </a:lnTo>
                                      <a:lnTo>
                                        <a:pt x="80" y="124"/>
                                      </a:lnTo>
                                      <a:lnTo>
                                        <a:pt x="78" y="124"/>
                                      </a:lnTo>
                                      <a:lnTo>
                                        <a:pt x="76" y="120"/>
                                      </a:lnTo>
                                      <a:lnTo>
                                        <a:pt x="76" y="120"/>
                                      </a:lnTo>
                                      <a:lnTo>
                                        <a:pt x="80" y="116"/>
                                      </a:lnTo>
                                      <a:lnTo>
                                        <a:pt x="82" y="112"/>
                                      </a:lnTo>
                                      <a:lnTo>
                                        <a:pt x="86" y="110"/>
                                      </a:lnTo>
                                      <a:lnTo>
                                        <a:pt x="88" y="106"/>
                                      </a:lnTo>
                                      <a:lnTo>
                                        <a:pt x="88" y="106"/>
                                      </a:lnTo>
                                      <a:lnTo>
                                        <a:pt x="88" y="100"/>
                                      </a:lnTo>
                                      <a:lnTo>
                                        <a:pt x="90" y="98"/>
                                      </a:lnTo>
                                      <a:lnTo>
                                        <a:pt x="92" y="98"/>
                                      </a:lnTo>
                                      <a:lnTo>
                                        <a:pt x="96" y="94"/>
                                      </a:lnTo>
                                      <a:lnTo>
                                        <a:pt x="96" y="94"/>
                                      </a:lnTo>
                                      <a:lnTo>
                                        <a:pt x="96" y="90"/>
                                      </a:lnTo>
                                      <a:lnTo>
                                        <a:pt x="94" y="88"/>
                                      </a:lnTo>
                                      <a:lnTo>
                                        <a:pt x="94" y="86"/>
                                      </a:lnTo>
                                      <a:lnTo>
                                        <a:pt x="94" y="84"/>
                                      </a:lnTo>
                                      <a:lnTo>
                                        <a:pt x="94" y="84"/>
                                      </a:lnTo>
                                      <a:lnTo>
                                        <a:pt x="96" y="80"/>
                                      </a:lnTo>
                                      <a:lnTo>
                                        <a:pt x="98" y="80"/>
                                      </a:lnTo>
                                      <a:lnTo>
                                        <a:pt x="98" y="80"/>
                                      </a:lnTo>
                                      <a:lnTo>
                                        <a:pt x="100" y="78"/>
                                      </a:lnTo>
                                      <a:lnTo>
                                        <a:pt x="100" y="78"/>
                                      </a:lnTo>
                                      <a:lnTo>
                                        <a:pt x="100" y="74"/>
                                      </a:lnTo>
                                      <a:lnTo>
                                        <a:pt x="100" y="72"/>
                                      </a:lnTo>
                                      <a:lnTo>
                                        <a:pt x="100" y="64"/>
                                      </a:lnTo>
                                      <a:lnTo>
                                        <a:pt x="110" y="42"/>
                                      </a:lnTo>
                                      <a:lnTo>
                                        <a:pt x="110" y="42"/>
                                      </a:lnTo>
                                      <a:lnTo>
                                        <a:pt x="114" y="32"/>
                                      </a:lnTo>
                                      <a:lnTo>
                                        <a:pt x="116" y="30"/>
                                      </a:lnTo>
                                      <a:lnTo>
                                        <a:pt x="120" y="28"/>
                                      </a:lnTo>
                                      <a:lnTo>
                                        <a:pt x="124" y="20"/>
                                      </a:lnTo>
                                      <a:lnTo>
                                        <a:pt x="124" y="20"/>
                                      </a:lnTo>
                                      <a:lnTo>
                                        <a:pt x="126" y="12"/>
                                      </a:lnTo>
                                      <a:lnTo>
                                        <a:pt x="124" y="10"/>
                                      </a:lnTo>
                                      <a:lnTo>
                                        <a:pt x="124" y="10"/>
                                      </a:lnTo>
                                      <a:lnTo>
                                        <a:pt x="122" y="8"/>
                                      </a:lnTo>
                                      <a:lnTo>
                                        <a:pt x="122" y="2"/>
                                      </a:lnTo>
                                      <a:lnTo>
                                        <a:pt x="122" y="2"/>
                                      </a:lnTo>
                                      <a:lnTo>
                                        <a:pt x="126" y="2"/>
                                      </a:lnTo>
                                      <a:lnTo>
                                        <a:pt x="130" y="0"/>
                                      </a:lnTo>
                                      <a:lnTo>
                                        <a:pt x="130" y="0"/>
                                      </a:lnTo>
                                      <a:lnTo>
                                        <a:pt x="130" y="12"/>
                                      </a:lnTo>
                                      <a:lnTo>
                                        <a:pt x="132" y="16"/>
                                      </a:lnTo>
                                      <a:lnTo>
                                        <a:pt x="134" y="18"/>
                                      </a:lnTo>
                                      <a:lnTo>
                                        <a:pt x="134" y="30"/>
                                      </a:lnTo>
                                      <a:lnTo>
                                        <a:pt x="134" y="30"/>
                                      </a:lnTo>
                                      <a:lnTo>
                                        <a:pt x="134" y="40"/>
                                      </a:lnTo>
                                      <a:lnTo>
                                        <a:pt x="136" y="50"/>
                                      </a:lnTo>
                                      <a:lnTo>
                                        <a:pt x="152" y="66"/>
                                      </a:lnTo>
                                      <a:lnTo>
                                        <a:pt x="152" y="66"/>
                                      </a:lnTo>
                                      <a:lnTo>
                                        <a:pt x="148" y="68"/>
                                      </a:lnTo>
                                      <a:lnTo>
                                        <a:pt x="146" y="68"/>
                                      </a:lnTo>
                                      <a:lnTo>
                                        <a:pt x="138" y="66"/>
                                      </a:lnTo>
                                      <a:lnTo>
                                        <a:pt x="138" y="66"/>
                                      </a:lnTo>
                                      <a:lnTo>
                                        <a:pt x="140" y="68"/>
                                      </a:lnTo>
                                      <a:lnTo>
                                        <a:pt x="138" y="70"/>
                                      </a:lnTo>
                                      <a:lnTo>
                                        <a:pt x="128" y="68"/>
                                      </a:lnTo>
                                      <a:lnTo>
                                        <a:pt x="128" y="68"/>
                                      </a:lnTo>
                                      <a:lnTo>
                                        <a:pt x="122" y="68"/>
                                      </a:lnTo>
                                      <a:lnTo>
                                        <a:pt x="118" y="70"/>
                                      </a:lnTo>
                                      <a:lnTo>
                                        <a:pt x="118" y="72"/>
                                      </a:lnTo>
                                      <a:lnTo>
                                        <a:pt x="120" y="78"/>
                                      </a:lnTo>
                                      <a:lnTo>
                                        <a:pt x="120" y="78"/>
                                      </a:lnTo>
                                      <a:lnTo>
                                        <a:pt x="124" y="86"/>
                                      </a:lnTo>
                                      <a:lnTo>
                                        <a:pt x="126" y="90"/>
                                      </a:lnTo>
                                      <a:lnTo>
                                        <a:pt x="130" y="92"/>
                                      </a:lnTo>
                                      <a:lnTo>
                                        <a:pt x="136" y="102"/>
                                      </a:lnTo>
                                      <a:lnTo>
                                        <a:pt x="136" y="102"/>
                                      </a:lnTo>
                                      <a:lnTo>
                                        <a:pt x="148" y="122"/>
                                      </a:lnTo>
                                      <a:lnTo>
                                        <a:pt x="150" y="128"/>
                                      </a:lnTo>
                                      <a:lnTo>
                                        <a:pt x="148" y="134"/>
                                      </a:lnTo>
                                      <a:lnTo>
                                        <a:pt x="148" y="134"/>
                                      </a:lnTo>
                                      <a:lnTo>
                                        <a:pt x="142" y="142"/>
                                      </a:lnTo>
                                      <a:lnTo>
                                        <a:pt x="138" y="150"/>
                                      </a:lnTo>
                                      <a:lnTo>
                                        <a:pt x="134" y="170"/>
                                      </a:lnTo>
                                      <a:lnTo>
                                        <a:pt x="134" y="170"/>
                                      </a:lnTo>
                                      <a:lnTo>
                                        <a:pt x="128" y="184"/>
                                      </a:lnTo>
                                      <a:lnTo>
                                        <a:pt x="124" y="190"/>
                                      </a:lnTo>
                                      <a:lnTo>
                                        <a:pt x="124" y="194"/>
                                      </a:lnTo>
                                      <a:lnTo>
                                        <a:pt x="128" y="204"/>
                                      </a:lnTo>
                                      <a:lnTo>
                                        <a:pt x="128" y="204"/>
                                      </a:lnTo>
                                      <a:lnTo>
                                        <a:pt x="132" y="214"/>
                                      </a:lnTo>
                                      <a:lnTo>
                                        <a:pt x="136" y="216"/>
                                      </a:lnTo>
                                      <a:lnTo>
                                        <a:pt x="140" y="220"/>
                                      </a:lnTo>
                                      <a:lnTo>
                                        <a:pt x="146" y="228"/>
                                      </a:lnTo>
                                      <a:lnTo>
                                        <a:pt x="146" y="228"/>
                                      </a:lnTo>
                                      <a:lnTo>
                                        <a:pt x="154" y="238"/>
                                      </a:lnTo>
                                      <a:lnTo>
                                        <a:pt x="160" y="242"/>
                                      </a:lnTo>
                                      <a:lnTo>
                                        <a:pt x="164" y="244"/>
                                      </a:lnTo>
                                      <a:lnTo>
                                        <a:pt x="162" y="250"/>
                                      </a:lnTo>
                                      <a:lnTo>
                                        <a:pt x="162" y="250"/>
                                      </a:lnTo>
                                      <a:lnTo>
                                        <a:pt x="162" y="254"/>
                                      </a:lnTo>
                                      <a:lnTo>
                                        <a:pt x="162" y="260"/>
                                      </a:lnTo>
                                      <a:lnTo>
                                        <a:pt x="162" y="260"/>
                                      </a:lnTo>
                                      <a:lnTo>
                                        <a:pt x="164" y="274"/>
                                      </a:lnTo>
                                      <a:lnTo>
                                        <a:pt x="164" y="276"/>
                                      </a:lnTo>
                                      <a:lnTo>
                                        <a:pt x="162" y="278"/>
                                      </a:lnTo>
                                      <a:lnTo>
                                        <a:pt x="158" y="276"/>
                                      </a:lnTo>
                                      <a:lnTo>
                                        <a:pt x="152" y="274"/>
                                      </a:lnTo>
                                      <a:lnTo>
                                        <a:pt x="152" y="274"/>
                                      </a:lnTo>
                                      <a:lnTo>
                                        <a:pt x="144" y="274"/>
                                      </a:lnTo>
                                      <a:lnTo>
                                        <a:pt x="138" y="274"/>
                                      </a:lnTo>
                                      <a:lnTo>
                                        <a:pt x="138" y="274"/>
                                      </a:lnTo>
                                      <a:lnTo>
                                        <a:pt x="132" y="274"/>
                                      </a:lnTo>
                                      <a:lnTo>
                                        <a:pt x="128" y="272"/>
                                      </a:lnTo>
                                      <a:lnTo>
                                        <a:pt x="122" y="272"/>
                                      </a:lnTo>
                                      <a:lnTo>
                                        <a:pt x="114" y="272"/>
                                      </a:lnTo>
                                      <a:lnTo>
                                        <a:pt x="114" y="272"/>
                                      </a:lnTo>
                                      <a:lnTo>
                                        <a:pt x="108" y="270"/>
                                      </a:lnTo>
                                      <a:lnTo>
                                        <a:pt x="100" y="270"/>
                                      </a:lnTo>
                                      <a:lnTo>
                                        <a:pt x="100" y="270"/>
                                      </a:lnTo>
                                      <a:lnTo>
                                        <a:pt x="88" y="268"/>
                                      </a:lnTo>
                                      <a:lnTo>
                                        <a:pt x="80" y="266"/>
                                      </a:lnTo>
                                      <a:lnTo>
                                        <a:pt x="72" y="266"/>
                                      </a:lnTo>
                                      <a:lnTo>
                                        <a:pt x="54" y="272"/>
                                      </a:lnTo>
                                      <a:lnTo>
                                        <a:pt x="54" y="272"/>
                                      </a:lnTo>
                                      <a:lnTo>
                                        <a:pt x="48" y="272"/>
                                      </a:lnTo>
                                      <a:lnTo>
                                        <a:pt x="44" y="270"/>
                                      </a:lnTo>
                                      <a:lnTo>
                                        <a:pt x="38" y="270"/>
                                      </a:lnTo>
                                      <a:lnTo>
                                        <a:pt x="28" y="272"/>
                                      </a:lnTo>
                                      <a:lnTo>
                                        <a:pt x="28" y="272"/>
                                      </a:lnTo>
                                      <a:lnTo>
                                        <a:pt x="28" y="258"/>
                                      </a:lnTo>
                                      <a:lnTo>
                                        <a:pt x="28" y="254"/>
                                      </a:lnTo>
                                      <a:lnTo>
                                        <a:pt x="28" y="250"/>
                                      </a:lnTo>
                                      <a:lnTo>
                                        <a:pt x="28" y="250"/>
                                      </a:lnTo>
                                      <a:lnTo>
                                        <a:pt x="30" y="244"/>
                                      </a:lnTo>
                                      <a:lnTo>
                                        <a:pt x="28" y="240"/>
                                      </a:lnTo>
                                      <a:lnTo>
                                        <a:pt x="26" y="238"/>
                                      </a:lnTo>
                                      <a:lnTo>
                                        <a:pt x="26" y="236"/>
                                      </a:lnTo>
                                      <a:lnTo>
                                        <a:pt x="26" y="236"/>
                                      </a:lnTo>
                                      <a:lnTo>
                                        <a:pt x="26" y="234"/>
                                      </a:lnTo>
                                      <a:lnTo>
                                        <a:pt x="22" y="232"/>
                                      </a:lnTo>
                                      <a:lnTo>
                                        <a:pt x="20" y="230"/>
                                      </a:lnTo>
                                      <a:lnTo>
                                        <a:pt x="24" y="230"/>
                                      </a:lnTo>
                                      <a:lnTo>
                                        <a:pt x="24" y="230"/>
                                      </a:lnTo>
                                      <a:lnTo>
                                        <a:pt x="28" y="230"/>
                                      </a:lnTo>
                                      <a:lnTo>
                                        <a:pt x="28" y="228"/>
                                      </a:lnTo>
                                      <a:lnTo>
                                        <a:pt x="26" y="226"/>
                                      </a:lnTo>
                                      <a:lnTo>
                                        <a:pt x="26" y="226"/>
                                      </a:lnTo>
                                      <a:lnTo>
                                        <a:pt x="26" y="224"/>
                                      </a:lnTo>
                                      <a:lnTo>
                                        <a:pt x="26" y="224"/>
                                      </a:lnTo>
                                      <a:lnTo>
                                        <a:pt x="28" y="222"/>
                                      </a:lnTo>
                                      <a:lnTo>
                                        <a:pt x="26" y="224"/>
                                      </a:lnTo>
                                      <a:lnTo>
                                        <a:pt x="24" y="224"/>
                                      </a:lnTo>
                                      <a:lnTo>
                                        <a:pt x="22" y="222"/>
                                      </a:lnTo>
                                      <a:lnTo>
                                        <a:pt x="22" y="222"/>
                                      </a:lnTo>
                                      <a:lnTo>
                                        <a:pt x="22" y="224"/>
                                      </a:lnTo>
                                      <a:lnTo>
                                        <a:pt x="20" y="226"/>
                                      </a:lnTo>
                                      <a:lnTo>
                                        <a:pt x="16" y="224"/>
                                      </a:lnTo>
                                      <a:lnTo>
                                        <a:pt x="16" y="224"/>
                                      </a:lnTo>
                                      <a:lnTo>
                                        <a:pt x="10" y="218"/>
                                      </a:lnTo>
                                      <a:lnTo>
                                        <a:pt x="8" y="214"/>
                                      </a:lnTo>
                                      <a:lnTo>
                                        <a:pt x="8" y="212"/>
                                      </a:lnTo>
                                      <a:lnTo>
                                        <a:pt x="6" y="214"/>
                                      </a:lnTo>
                                      <a:lnTo>
                                        <a:pt x="6" y="214"/>
                                      </a:lnTo>
                                      <a:lnTo>
                                        <a:pt x="6" y="214"/>
                                      </a:lnTo>
                                      <a:lnTo>
                                        <a:pt x="4" y="212"/>
                                      </a:lnTo>
                                      <a:lnTo>
                                        <a:pt x="4" y="212"/>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1" name="Chad"/>
                                <p:cNvSpPr>
                                  <a:spLocks/>
                                </p:cNvSpPr>
                                <p:nvPr/>
                              </p:nvSpPr>
                              <p:spPr bwMode="auto">
                                <a:xfrm>
                                  <a:off x="6218847" y="2738424"/>
                                  <a:ext cx="318953" cy="655524"/>
                                </a:xfrm>
                                <a:custGeom>
                                  <a:avLst/>
                                  <a:gdLst/>
                                  <a:ahLst/>
                                  <a:cxnLst>
                                    <a:cxn ang="0">
                                      <a:pos x="196" y="330"/>
                                    </a:cxn>
                                    <a:cxn ang="0">
                                      <a:pos x="190" y="320"/>
                                    </a:cxn>
                                    <a:cxn ang="0">
                                      <a:pos x="184" y="300"/>
                                    </a:cxn>
                                    <a:cxn ang="0">
                                      <a:pos x="186" y="296"/>
                                    </a:cxn>
                                    <a:cxn ang="0">
                                      <a:pos x="170" y="294"/>
                                    </a:cxn>
                                    <a:cxn ang="0">
                                      <a:pos x="166" y="286"/>
                                    </a:cxn>
                                    <a:cxn ang="0">
                                      <a:pos x="174" y="268"/>
                                    </a:cxn>
                                    <a:cxn ang="0">
                                      <a:pos x="178" y="258"/>
                                    </a:cxn>
                                    <a:cxn ang="0">
                                      <a:pos x="176" y="250"/>
                                    </a:cxn>
                                    <a:cxn ang="0">
                                      <a:pos x="178" y="240"/>
                                    </a:cxn>
                                    <a:cxn ang="0">
                                      <a:pos x="192" y="214"/>
                                    </a:cxn>
                                    <a:cxn ang="0">
                                      <a:pos x="210" y="212"/>
                                    </a:cxn>
                                    <a:cxn ang="0">
                                      <a:pos x="66" y="6"/>
                                    </a:cxn>
                                    <a:cxn ang="0">
                                      <a:pos x="44" y="2"/>
                                    </a:cxn>
                                    <a:cxn ang="0">
                                      <a:pos x="24" y="50"/>
                                    </a:cxn>
                                    <a:cxn ang="0">
                                      <a:pos x="26" y="70"/>
                                    </a:cxn>
                                    <a:cxn ang="0">
                                      <a:pos x="30" y="88"/>
                                    </a:cxn>
                                    <a:cxn ang="0">
                                      <a:pos x="44" y="98"/>
                                    </a:cxn>
                                    <a:cxn ang="0">
                                      <a:pos x="40" y="108"/>
                                    </a:cxn>
                                    <a:cxn ang="0">
                                      <a:pos x="34" y="180"/>
                                    </a:cxn>
                                    <a:cxn ang="0">
                                      <a:pos x="18" y="222"/>
                                    </a:cxn>
                                    <a:cxn ang="0">
                                      <a:pos x="4" y="236"/>
                                    </a:cxn>
                                    <a:cxn ang="0">
                                      <a:pos x="2" y="248"/>
                                    </a:cxn>
                                    <a:cxn ang="0">
                                      <a:pos x="4" y="260"/>
                                    </a:cxn>
                                    <a:cxn ang="0">
                                      <a:pos x="12" y="264"/>
                                    </a:cxn>
                                    <a:cxn ang="0">
                                      <a:pos x="14" y="274"/>
                                    </a:cxn>
                                    <a:cxn ang="0">
                                      <a:pos x="28" y="280"/>
                                    </a:cxn>
                                    <a:cxn ang="0">
                                      <a:pos x="34" y="288"/>
                                    </a:cxn>
                                    <a:cxn ang="0">
                                      <a:pos x="42" y="294"/>
                                    </a:cxn>
                                    <a:cxn ang="0">
                                      <a:pos x="22" y="298"/>
                                    </a:cxn>
                                    <a:cxn ang="0">
                                      <a:pos x="26" y="316"/>
                                    </a:cxn>
                                    <a:cxn ang="0">
                                      <a:pos x="28" y="348"/>
                                    </a:cxn>
                                    <a:cxn ang="0">
                                      <a:pos x="38" y="366"/>
                                    </a:cxn>
                                    <a:cxn ang="0">
                                      <a:pos x="30" y="368"/>
                                    </a:cxn>
                                    <a:cxn ang="0">
                                      <a:pos x="10" y="368"/>
                                    </a:cxn>
                                    <a:cxn ang="0">
                                      <a:pos x="16" y="384"/>
                                    </a:cxn>
                                    <a:cxn ang="0">
                                      <a:pos x="28" y="400"/>
                                    </a:cxn>
                                    <a:cxn ang="0">
                                      <a:pos x="40" y="432"/>
                                    </a:cxn>
                                    <a:cxn ang="0">
                                      <a:pos x="58" y="428"/>
                                    </a:cxn>
                                    <a:cxn ang="0">
                                      <a:pos x="96" y="414"/>
                                    </a:cxn>
                                    <a:cxn ang="0">
                                      <a:pos x="112" y="408"/>
                                    </a:cxn>
                                    <a:cxn ang="0">
                                      <a:pos x="114" y="400"/>
                                    </a:cxn>
                                    <a:cxn ang="0">
                                      <a:pos x="112" y="390"/>
                                    </a:cxn>
                                    <a:cxn ang="0">
                                      <a:pos x="124" y="388"/>
                                    </a:cxn>
                                    <a:cxn ang="0">
                                      <a:pos x="152" y="378"/>
                                    </a:cxn>
                                    <a:cxn ang="0">
                                      <a:pos x="162" y="368"/>
                                    </a:cxn>
                                    <a:cxn ang="0">
                                      <a:pos x="170" y="360"/>
                                    </a:cxn>
                                    <a:cxn ang="0">
                                      <a:pos x="174" y="346"/>
                                    </a:cxn>
                                    <a:cxn ang="0">
                                      <a:pos x="192" y="338"/>
                                    </a:cxn>
                                  </a:cxnLst>
                                  <a:rect l="0" t="0" r="r" b="b"/>
                                  <a:pathLst>
                                    <a:path w="210" h="432">
                                      <a:moveTo>
                                        <a:pt x="198" y="338"/>
                                      </a:moveTo>
                                      <a:lnTo>
                                        <a:pt x="198" y="338"/>
                                      </a:lnTo>
                                      <a:lnTo>
                                        <a:pt x="198" y="332"/>
                                      </a:lnTo>
                                      <a:lnTo>
                                        <a:pt x="196" y="330"/>
                                      </a:lnTo>
                                      <a:lnTo>
                                        <a:pt x="194" y="328"/>
                                      </a:lnTo>
                                      <a:lnTo>
                                        <a:pt x="194" y="328"/>
                                      </a:lnTo>
                                      <a:lnTo>
                                        <a:pt x="190" y="326"/>
                                      </a:lnTo>
                                      <a:lnTo>
                                        <a:pt x="190" y="320"/>
                                      </a:lnTo>
                                      <a:lnTo>
                                        <a:pt x="188" y="314"/>
                                      </a:lnTo>
                                      <a:lnTo>
                                        <a:pt x="186" y="306"/>
                                      </a:lnTo>
                                      <a:lnTo>
                                        <a:pt x="186" y="306"/>
                                      </a:lnTo>
                                      <a:lnTo>
                                        <a:pt x="184" y="300"/>
                                      </a:lnTo>
                                      <a:lnTo>
                                        <a:pt x="184" y="298"/>
                                      </a:lnTo>
                                      <a:lnTo>
                                        <a:pt x="186" y="298"/>
                                      </a:lnTo>
                                      <a:lnTo>
                                        <a:pt x="186" y="296"/>
                                      </a:lnTo>
                                      <a:lnTo>
                                        <a:pt x="186" y="296"/>
                                      </a:lnTo>
                                      <a:lnTo>
                                        <a:pt x="182" y="292"/>
                                      </a:lnTo>
                                      <a:lnTo>
                                        <a:pt x="180" y="292"/>
                                      </a:lnTo>
                                      <a:lnTo>
                                        <a:pt x="174" y="292"/>
                                      </a:lnTo>
                                      <a:lnTo>
                                        <a:pt x="170" y="294"/>
                                      </a:lnTo>
                                      <a:lnTo>
                                        <a:pt x="168" y="294"/>
                                      </a:lnTo>
                                      <a:lnTo>
                                        <a:pt x="166" y="292"/>
                                      </a:lnTo>
                                      <a:lnTo>
                                        <a:pt x="166" y="292"/>
                                      </a:lnTo>
                                      <a:lnTo>
                                        <a:pt x="166" y="286"/>
                                      </a:lnTo>
                                      <a:lnTo>
                                        <a:pt x="166" y="280"/>
                                      </a:lnTo>
                                      <a:lnTo>
                                        <a:pt x="168" y="274"/>
                                      </a:lnTo>
                                      <a:lnTo>
                                        <a:pt x="174" y="270"/>
                                      </a:lnTo>
                                      <a:lnTo>
                                        <a:pt x="174" y="268"/>
                                      </a:lnTo>
                                      <a:lnTo>
                                        <a:pt x="174" y="266"/>
                                      </a:lnTo>
                                      <a:lnTo>
                                        <a:pt x="174" y="266"/>
                                      </a:lnTo>
                                      <a:lnTo>
                                        <a:pt x="174" y="262"/>
                                      </a:lnTo>
                                      <a:lnTo>
                                        <a:pt x="178" y="258"/>
                                      </a:lnTo>
                                      <a:lnTo>
                                        <a:pt x="180" y="256"/>
                                      </a:lnTo>
                                      <a:lnTo>
                                        <a:pt x="180" y="254"/>
                                      </a:lnTo>
                                      <a:lnTo>
                                        <a:pt x="180" y="254"/>
                                      </a:lnTo>
                                      <a:lnTo>
                                        <a:pt x="176" y="250"/>
                                      </a:lnTo>
                                      <a:lnTo>
                                        <a:pt x="176" y="248"/>
                                      </a:lnTo>
                                      <a:lnTo>
                                        <a:pt x="178" y="246"/>
                                      </a:lnTo>
                                      <a:lnTo>
                                        <a:pt x="178" y="240"/>
                                      </a:lnTo>
                                      <a:lnTo>
                                        <a:pt x="178" y="240"/>
                                      </a:lnTo>
                                      <a:lnTo>
                                        <a:pt x="180" y="232"/>
                                      </a:lnTo>
                                      <a:lnTo>
                                        <a:pt x="182" y="226"/>
                                      </a:lnTo>
                                      <a:lnTo>
                                        <a:pt x="192" y="214"/>
                                      </a:lnTo>
                                      <a:lnTo>
                                        <a:pt x="192" y="214"/>
                                      </a:lnTo>
                                      <a:lnTo>
                                        <a:pt x="196" y="210"/>
                                      </a:lnTo>
                                      <a:lnTo>
                                        <a:pt x="200" y="212"/>
                                      </a:lnTo>
                                      <a:lnTo>
                                        <a:pt x="202" y="214"/>
                                      </a:lnTo>
                                      <a:lnTo>
                                        <a:pt x="210" y="212"/>
                                      </a:lnTo>
                                      <a:lnTo>
                                        <a:pt x="206" y="114"/>
                                      </a:lnTo>
                                      <a:lnTo>
                                        <a:pt x="206" y="114"/>
                                      </a:lnTo>
                                      <a:lnTo>
                                        <a:pt x="66" y="6"/>
                                      </a:lnTo>
                                      <a:lnTo>
                                        <a:pt x="66" y="6"/>
                                      </a:lnTo>
                                      <a:lnTo>
                                        <a:pt x="56" y="0"/>
                                      </a:lnTo>
                                      <a:lnTo>
                                        <a:pt x="50" y="0"/>
                                      </a:lnTo>
                                      <a:lnTo>
                                        <a:pt x="44" y="2"/>
                                      </a:lnTo>
                                      <a:lnTo>
                                        <a:pt x="44" y="2"/>
                                      </a:lnTo>
                                      <a:lnTo>
                                        <a:pt x="20" y="14"/>
                                      </a:lnTo>
                                      <a:lnTo>
                                        <a:pt x="20" y="14"/>
                                      </a:lnTo>
                                      <a:lnTo>
                                        <a:pt x="24" y="36"/>
                                      </a:lnTo>
                                      <a:lnTo>
                                        <a:pt x="24" y="50"/>
                                      </a:lnTo>
                                      <a:lnTo>
                                        <a:pt x="24" y="64"/>
                                      </a:lnTo>
                                      <a:lnTo>
                                        <a:pt x="24" y="64"/>
                                      </a:lnTo>
                                      <a:lnTo>
                                        <a:pt x="24" y="66"/>
                                      </a:lnTo>
                                      <a:lnTo>
                                        <a:pt x="26" y="70"/>
                                      </a:lnTo>
                                      <a:lnTo>
                                        <a:pt x="28" y="74"/>
                                      </a:lnTo>
                                      <a:lnTo>
                                        <a:pt x="28" y="82"/>
                                      </a:lnTo>
                                      <a:lnTo>
                                        <a:pt x="28" y="82"/>
                                      </a:lnTo>
                                      <a:lnTo>
                                        <a:pt x="30" y="88"/>
                                      </a:lnTo>
                                      <a:lnTo>
                                        <a:pt x="32" y="90"/>
                                      </a:lnTo>
                                      <a:lnTo>
                                        <a:pt x="36" y="94"/>
                                      </a:lnTo>
                                      <a:lnTo>
                                        <a:pt x="42" y="98"/>
                                      </a:lnTo>
                                      <a:lnTo>
                                        <a:pt x="44" y="98"/>
                                      </a:lnTo>
                                      <a:lnTo>
                                        <a:pt x="44" y="102"/>
                                      </a:lnTo>
                                      <a:lnTo>
                                        <a:pt x="44" y="102"/>
                                      </a:lnTo>
                                      <a:lnTo>
                                        <a:pt x="42" y="106"/>
                                      </a:lnTo>
                                      <a:lnTo>
                                        <a:pt x="40" y="108"/>
                                      </a:lnTo>
                                      <a:lnTo>
                                        <a:pt x="36" y="114"/>
                                      </a:lnTo>
                                      <a:lnTo>
                                        <a:pt x="34" y="120"/>
                                      </a:lnTo>
                                      <a:lnTo>
                                        <a:pt x="34" y="120"/>
                                      </a:lnTo>
                                      <a:lnTo>
                                        <a:pt x="34" y="180"/>
                                      </a:lnTo>
                                      <a:lnTo>
                                        <a:pt x="34" y="180"/>
                                      </a:lnTo>
                                      <a:lnTo>
                                        <a:pt x="32" y="190"/>
                                      </a:lnTo>
                                      <a:lnTo>
                                        <a:pt x="30" y="200"/>
                                      </a:lnTo>
                                      <a:lnTo>
                                        <a:pt x="18" y="222"/>
                                      </a:lnTo>
                                      <a:lnTo>
                                        <a:pt x="18" y="222"/>
                                      </a:lnTo>
                                      <a:lnTo>
                                        <a:pt x="12" y="230"/>
                                      </a:lnTo>
                                      <a:lnTo>
                                        <a:pt x="8" y="234"/>
                                      </a:lnTo>
                                      <a:lnTo>
                                        <a:pt x="4" y="236"/>
                                      </a:lnTo>
                                      <a:lnTo>
                                        <a:pt x="4" y="240"/>
                                      </a:lnTo>
                                      <a:lnTo>
                                        <a:pt x="4" y="240"/>
                                      </a:lnTo>
                                      <a:lnTo>
                                        <a:pt x="4" y="246"/>
                                      </a:lnTo>
                                      <a:lnTo>
                                        <a:pt x="2" y="248"/>
                                      </a:lnTo>
                                      <a:lnTo>
                                        <a:pt x="0" y="252"/>
                                      </a:lnTo>
                                      <a:lnTo>
                                        <a:pt x="0" y="256"/>
                                      </a:lnTo>
                                      <a:lnTo>
                                        <a:pt x="0" y="256"/>
                                      </a:lnTo>
                                      <a:lnTo>
                                        <a:pt x="4" y="260"/>
                                      </a:lnTo>
                                      <a:lnTo>
                                        <a:pt x="6" y="262"/>
                                      </a:lnTo>
                                      <a:lnTo>
                                        <a:pt x="8" y="262"/>
                                      </a:lnTo>
                                      <a:lnTo>
                                        <a:pt x="12" y="264"/>
                                      </a:lnTo>
                                      <a:lnTo>
                                        <a:pt x="12" y="264"/>
                                      </a:lnTo>
                                      <a:lnTo>
                                        <a:pt x="16" y="264"/>
                                      </a:lnTo>
                                      <a:lnTo>
                                        <a:pt x="16" y="266"/>
                                      </a:lnTo>
                                      <a:lnTo>
                                        <a:pt x="16" y="270"/>
                                      </a:lnTo>
                                      <a:lnTo>
                                        <a:pt x="14" y="274"/>
                                      </a:lnTo>
                                      <a:lnTo>
                                        <a:pt x="16" y="276"/>
                                      </a:lnTo>
                                      <a:lnTo>
                                        <a:pt x="20" y="278"/>
                                      </a:lnTo>
                                      <a:lnTo>
                                        <a:pt x="20" y="278"/>
                                      </a:lnTo>
                                      <a:lnTo>
                                        <a:pt x="28" y="280"/>
                                      </a:lnTo>
                                      <a:lnTo>
                                        <a:pt x="34" y="282"/>
                                      </a:lnTo>
                                      <a:lnTo>
                                        <a:pt x="34" y="284"/>
                                      </a:lnTo>
                                      <a:lnTo>
                                        <a:pt x="34" y="286"/>
                                      </a:lnTo>
                                      <a:lnTo>
                                        <a:pt x="34" y="288"/>
                                      </a:lnTo>
                                      <a:lnTo>
                                        <a:pt x="34" y="290"/>
                                      </a:lnTo>
                                      <a:lnTo>
                                        <a:pt x="36" y="292"/>
                                      </a:lnTo>
                                      <a:lnTo>
                                        <a:pt x="42" y="294"/>
                                      </a:lnTo>
                                      <a:lnTo>
                                        <a:pt x="42" y="294"/>
                                      </a:lnTo>
                                      <a:lnTo>
                                        <a:pt x="38" y="296"/>
                                      </a:lnTo>
                                      <a:lnTo>
                                        <a:pt x="34" y="294"/>
                                      </a:lnTo>
                                      <a:lnTo>
                                        <a:pt x="30" y="294"/>
                                      </a:lnTo>
                                      <a:lnTo>
                                        <a:pt x="22" y="298"/>
                                      </a:lnTo>
                                      <a:lnTo>
                                        <a:pt x="22" y="298"/>
                                      </a:lnTo>
                                      <a:lnTo>
                                        <a:pt x="22" y="310"/>
                                      </a:lnTo>
                                      <a:lnTo>
                                        <a:pt x="24" y="314"/>
                                      </a:lnTo>
                                      <a:lnTo>
                                        <a:pt x="26" y="316"/>
                                      </a:lnTo>
                                      <a:lnTo>
                                        <a:pt x="26" y="328"/>
                                      </a:lnTo>
                                      <a:lnTo>
                                        <a:pt x="26" y="328"/>
                                      </a:lnTo>
                                      <a:lnTo>
                                        <a:pt x="26" y="338"/>
                                      </a:lnTo>
                                      <a:lnTo>
                                        <a:pt x="28" y="348"/>
                                      </a:lnTo>
                                      <a:lnTo>
                                        <a:pt x="44" y="364"/>
                                      </a:lnTo>
                                      <a:lnTo>
                                        <a:pt x="44" y="364"/>
                                      </a:lnTo>
                                      <a:lnTo>
                                        <a:pt x="40" y="366"/>
                                      </a:lnTo>
                                      <a:lnTo>
                                        <a:pt x="38" y="366"/>
                                      </a:lnTo>
                                      <a:lnTo>
                                        <a:pt x="30" y="364"/>
                                      </a:lnTo>
                                      <a:lnTo>
                                        <a:pt x="30" y="364"/>
                                      </a:lnTo>
                                      <a:lnTo>
                                        <a:pt x="32" y="366"/>
                                      </a:lnTo>
                                      <a:lnTo>
                                        <a:pt x="30" y="368"/>
                                      </a:lnTo>
                                      <a:lnTo>
                                        <a:pt x="20" y="366"/>
                                      </a:lnTo>
                                      <a:lnTo>
                                        <a:pt x="20" y="366"/>
                                      </a:lnTo>
                                      <a:lnTo>
                                        <a:pt x="14" y="366"/>
                                      </a:lnTo>
                                      <a:lnTo>
                                        <a:pt x="10" y="368"/>
                                      </a:lnTo>
                                      <a:lnTo>
                                        <a:pt x="10" y="370"/>
                                      </a:lnTo>
                                      <a:lnTo>
                                        <a:pt x="12" y="376"/>
                                      </a:lnTo>
                                      <a:lnTo>
                                        <a:pt x="12" y="376"/>
                                      </a:lnTo>
                                      <a:lnTo>
                                        <a:pt x="16" y="384"/>
                                      </a:lnTo>
                                      <a:lnTo>
                                        <a:pt x="18" y="388"/>
                                      </a:lnTo>
                                      <a:lnTo>
                                        <a:pt x="22" y="390"/>
                                      </a:lnTo>
                                      <a:lnTo>
                                        <a:pt x="28" y="400"/>
                                      </a:lnTo>
                                      <a:lnTo>
                                        <a:pt x="28" y="400"/>
                                      </a:lnTo>
                                      <a:lnTo>
                                        <a:pt x="40" y="420"/>
                                      </a:lnTo>
                                      <a:lnTo>
                                        <a:pt x="42" y="426"/>
                                      </a:lnTo>
                                      <a:lnTo>
                                        <a:pt x="40" y="432"/>
                                      </a:lnTo>
                                      <a:lnTo>
                                        <a:pt x="40" y="432"/>
                                      </a:lnTo>
                                      <a:lnTo>
                                        <a:pt x="50" y="430"/>
                                      </a:lnTo>
                                      <a:lnTo>
                                        <a:pt x="52" y="430"/>
                                      </a:lnTo>
                                      <a:lnTo>
                                        <a:pt x="54" y="430"/>
                                      </a:lnTo>
                                      <a:lnTo>
                                        <a:pt x="58" y="428"/>
                                      </a:lnTo>
                                      <a:lnTo>
                                        <a:pt x="58" y="428"/>
                                      </a:lnTo>
                                      <a:lnTo>
                                        <a:pt x="70" y="422"/>
                                      </a:lnTo>
                                      <a:lnTo>
                                        <a:pt x="84" y="418"/>
                                      </a:lnTo>
                                      <a:lnTo>
                                        <a:pt x="96" y="414"/>
                                      </a:lnTo>
                                      <a:lnTo>
                                        <a:pt x="104" y="412"/>
                                      </a:lnTo>
                                      <a:lnTo>
                                        <a:pt x="104" y="412"/>
                                      </a:lnTo>
                                      <a:lnTo>
                                        <a:pt x="108" y="408"/>
                                      </a:lnTo>
                                      <a:lnTo>
                                        <a:pt x="112" y="408"/>
                                      </a:lnTo>
                                      <a:lnTo>
                                        <a:pt x="114" y="406"/>
                                      </a:lnTo>
                                      <a:lnTo>
                                        <a:pt x="114" y="402"/>
                                      </a:lnTo>
                                      <a:lnTo>
                                        <a:pt x="114" y="402"/>
                                      </a:lnTo>
                                      <a:lnTo>
                                        <a:pt x="114" y="400"/>
                                      </a:lnTo>
                                      <a:lnTo>
                                        <a:pt x="114" y="398"/>
                                      </a:lnTo>
                                      <a:lnTo>
                                        <a:pt x="110" y="396"/>
                                      </a:lnTo>
                                      <a:lnTo>
                                        <a:pt x="108" y="394"/>
                                      </a:lnTo>
                                      <a:lnTo>
                                        <a:pt x="112" y="390"/>
                                      </a:lnTo>
                                      <a:lnTo>
                                        <a:pt x="112" y="390"/>
                                      </a:lnTo>
                                      <a:lnTo>
                                        <a:pt x="118" y="388"/>
                                      </a:lnTo>
                                      <a:lnTo>
                                        <a:pt x="120" y="388"/>
                                      </a:lnTo>
                                      <a:lnTo>
                                        <a:pt x="124" y="388"/>
                                      </a:lnTo>
                                      <a:lnTo>
                                        <a:pt x="130" y="386"/>
                                      </a:lnTo>
                                      <a:lnTo>
                                        <a:pt x="130" y="386"/>
                                      </a:lnTo>
                                      <a:lnTo>
                                        <a:pt x="146" y="380"/>
                                      </a:lnTo>
                                      <a:lnTo>
                                        <a:pt x="152" y="378"/>
                                      </a:lnTo>
                                      <a:lnTo>
                                        <a:pt x="156" y="376"/>
                                      </a:lnTo>
                                      <a:lnTo>
                                        <a:pt x="156" y="376"/>
                                      </a:lnTo>
                                      <a:lnTo>
                                        <a:pt x="160" y="372"/>
                                      </a:lnTo>
                                      <a:lnTo>
                                        <a:pt x="162" y="368"/>
                                      </a:lnTo>
                                      <a:lnTo>
                                        <a:pt x="164" y="364"/>
                                      </a:lnTo>
                                      <a:lnTo>
                                        <a:pt x="168" y="362"/>
                                      </a:lnTo>
                                      <a:lnTo>
                                        <a:pt x="168" y="362"/>
                                      </a:lnTo>
                                      <a:lnTo>
                                        <a:pt x="170" y="360"/>
                                      </a:lnTo>
                                      <a:lnTo>
                                        <a:pt x="172" y="358"/>
                                      </a:lnTo>
                                      <a:lnTo>
                                        <a:pt x="172" y="354"/>
                                      </a:lnTo>
                                      <a:lnTo>
                                        <a:pt x="172" y="348"/>
                                      </a:lnTo>
                                      <a:lnTo>
                                        <a:pt x="174" y="346"/>
                                      </a:lnTo>
                                      <a:lnTo>
                                        <a:pt x="178" y="344"/>
                                      </a:lnTo>
                                      <a:lnTo>
                                        <a:pt x="178" y="344"/>
                                      </a:lnTo>
                                      <a:lnTo>
                                        <a:pt x="188" y="340"/>
                                      </a:lnTo>
                                      <a:lnTo>
                                        <a:pt x="192" y="338"/>
                                      </a:lnTo>
                                      <a:lnTo>
                                        <a:pt x="194" y="336"/>
                                      </a:lnTo>
                                      <a:lnTo>
                                        <a:pt x="198" y="338"/>
                                      </a:lnTo>
                                      <a:lnTo>
                                        <a:pt x="198" y="33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3" name="Ivory Coast (Cote D'Ivoire)"/>
                                <p:cNvSpPr>
                                  <a:spLocks/>
                                </p:cNvSpPr>
                                <p:nvPr/>
                              </p:nvSpPr>
                              <p:spPr bwMode="auto">
                                <a:xfrm>
                                  <a:off x="5514113" y="3272555"/>
                                  <a:ext cx="197447" cy="242787"/>
                                </a:xfrm>
                                <a:custGeom>
                                  <a:avLst/>
                                  <a:gdLst/>
                                  <a:ahLst/>
                                  <a:cxnLst>
                                    <a:cxn ang="0">
                                      <a:pos x="112" y="140"/>
                                    </a:cxn>
                                    <a:cxn ang="0">
                                      <a:pos x="104" y="136"/>
                                    </a:cxn>
                                    <a:cxn ang="0">
                                      <a:pos x="94" y="136"/>
                                    </a:cxn>
                                    <a:cxn ang="0">
                                      <a:pos x="98" y="138"/>
                                    </a:cxn>
                                    <a:cxn ang="0">
                                      <a:pos x="108" y="140"/>
                                    </a:cxn>
                                    <a:cxn ang="0">
                                      <a:pos x="86" y="142"/>
                                    </a:cxn>
                                    <a:cxn ang="0">
                                      <a:pos x="60" y="146"/>
                                    </a:cxn>
                                    <a:cxn ang="0">
                                      <a:pos x="52" y="144"/>
                                    </a:cxn>
                                    <a:cxn ang="0">
                                      <a:pos x="48" y="148"/>
                                    </a:cxn>
                                    <a:cxn ang="0">
                                      <a:pos x="24" y="160"/>
                                    </a:cxn>
                                    <a:cxn ang="0">
                                      <a:pos x="16" y="160"/>
                                    </a:cxn>
                                    <a:cxn ang="0">
                                      <a:pos x="16" y="156"/>
                                    </a:cxn>
                                    <a:cxn ang="0">
                                      <a:pos x="18" y="138"/>
                                    </a:cxn>
                                    <a:cxn ang="0">
                                      <a:pos x="24" y="134"/>
                                    </a:cxn>
                                    <a:cxn ang="0">
                                      <a:pos x="22" y="126"/>
                                    </a:cxn>
                                    <a:cxn ang="0">
                                      <a:pos x="16" y="120"/>
                                    </a:cxn>
                                    <a:cxn ang="0">
                                      <a:pos x="8" y="114"/>
                                    </a:cxn>
                                    <a:cxn ang="0">
                                      <a:pos x="4" y="114"/>
                                    </a:cxn>
                                    <a:cxn ang="0">
                                      <a:pos x="0" y="106"/>
                                    </a:cxn>
                                    <a:cxn ang="0">
                                      <a:pos x="2" y="96"/>
                                    </a:cxn>
                                    <a:cxn ang="0">
                                      <a:pos x="2" y="88"/>
                                    </a:cxn>
                                    <a:cxn ang="0">
                                      <a:pos x="4" y="80"/>
                                    </a:cxn>
                                    <a:cxn ang="0">
                                      <a:pos x="8" y="72"/>
                                    </a:cxn>
                                    <a:cxn ang="0">
                                      <a:pos x="8" y="68"/>
                                    </a:cxn>
                                    <a:cxn ang="0">
                                      <a:pos x="4" y="64"/>
                                    </a:cxn>
                                    <a:cxn ang="0">
                                      <a:pos x="10" y="58"/>
                                    </a:cxn>
                                    <a:cxn ang="0">
                                      <a:pos x="16" y="56"/>
                                    </a:cxn>
                                    <a:cxn ang="0">
                                      <a:pos x="16" y="50"/>
                                    </a:cxn>
                                    <a:cxn ang="0">
                                      <a:pos x="16" y="44"/>
                                    </a:cxn>
                                    <a:cxn ang="0">
                                      <a:pos x="16" y="34"/>
                                    </a:cxn>
                                    <a:cxn ang="0">
                                      <a:pos x="14" y="30"/>
                                    </a:cxn>
                                    <a:cxn ang="0">
                                      <a:pos x="10" y="28"/>
                                    </a:cxn>
                                    <a:cxn ang="0">
                                      <a:pos x="6" y="26"/>
                                    </a:cxn>
                                    <a:cxn ang="0">
                                      <a:pos x="6" y="20"/>
                                    </a:cxn>
                                    <a:cxn ang="0">
                                      <a:pos x="14" y="10"/>
                                    </a:cxn>
                                    <a:cxn ang="0">
                                      <a:pos x="20" y="4"/>
                                    </a:cxn>
                                    <a:cxn ang="0">
                                      <a:pos x="28" y="10"/>
                                    </a:cxn>
                                    <a:cxn ang="0">
                                      <a:pos x="34" y="6"/>
                                    </a:cxn>
                                    <a:cxn ang="0">
                                      <a:pos x="42" y="2"/>
                                    </a:cxn>
                                    <a:cxn ang="0">
                                      <a:pos x="50" y="6"/>
                                    </a:cxn>
                                    <a:cxn ang="0">
                                      <a:pos x="56" y="2"/>
                                    </a:cxn>
                                    <a:cxn ang="0">
                                      <a:pos x="66" y="6"/>
                                    </a:cxn>
                                    <a:cxn ang="0">
                                      <a:pos x="74" y="18"/>
                                    </a:cxn>
                                    <a:cxn ang="0">
                                      <a:pos x="84" y="22"/>
                                    </a:cxn>
                                    <a:cxn ang="0">
                                      <a:pos x="100" y="20"/>
                                    </a:cxn>
                                    <a:cxn ang="0">
                                      <a:pos x="110" y="20"/>
                                    </a:cxn>
                                    <a:cxn ang="0">
                                      <a:pos x="114" y="20"/>
                                    </a:cxn>
                                    <a:cxn ang="0">
                                      <a:pos x="122" y="26"/>
                                    </a:cxn>
                                    <a:cxn ang="0">
                                      <a:pos x="126" y="34"/>
                                    </a:cxn>
                                    <a:cxn ang="0">
                                      <a:pos x="128" y="46"/>
                                    </a:cxn>
                                    <a:cxn ang="0">
                                      <a:pos x="124" y="72"/>
                                    </a:cxn>
                                    <a:cxn ang="0">
                                      <a:pos x="120" y="86"/>
                                    </a:cxn>
                                    <a:cxn ang="0">
                                      <a:pos x="118" y="98"/>
                                    </a:cxn>
                                    <a:cxn ang="0">
                                      <a:pos x="116" y="116"/>
                                    </a:cxn>
                                    <a:cxn ang="0">
                                      <a:pos x="120" y="128"/>
                                    </a:cxn>
                                    <a:cxn ang="0">
                                      <a:pos x="124" y="134"/>
                                    </a:cxn>
                                    <a:cxn ang="0">
                                      <a:pos x="122" y="138"/>
                                    </a:cxn>
                                  </a:cxnLst>
                                  <a:rect l="0" t="0" r="r" b="b"/>
                                  <a:pathLst>
                                    <a:path w="130" h="160">
                                      <a:moveTo>
                                        <a:pt x="120" y="140"/>
                                      </a:moveTo>
                                      <a:lnTo>
                                        <a:pt x="120" y="140"/>
                                      </a:lnTo>
                                      <a:lnTo>
                                        <a:pt x="112" y="140"/>
                                      </a:lnTo>
                                      <a:lnTo>
                                        <a:pt x="110" y="138"/>
                                      </a:lnTo>
                                      <a:lnTo>
                                        <a:pt x="108" y="136"/>
                                      </a:lnTo>
                                      <a:lnTo>
                                        <a:pt x="104" y="136"/>
                                      </a:lnTo>
                                      <a:lnTo>
                                        <a:pt x="104" y="136"/>
                                      </a:lnTo>
                                      <a:lnTo>
                                        <a:pt x="98" y="136"/>
                                      </a:lnTo>
                                      <a:lnTo>
                                        <a:pt x="94" y="136"/>
                                      </a:lnTo>
                                      <a:lnTo>
                                        <a:pt x="94" y="136"/>
                                      </a:lnTo>
                                      <a:lnTo>
                                        <a:pt x="94" y="136"/>
                                      </a:lnTo>
                                      <a:lnTo>
                                        <a:pt x="98" y="138"/>
                                      </a:lnTo>
                                      <a:lnTo>
                                        <a:pt x="102" y="138"/>
                                      </a:lnTo>
                                      <a:lnTo>
                                        <a:pt x="104" y="138"/>
                                      </a:lnTo>
                                      <a:lnTo>
                                        <a:pt x="108" y="140"/>
                                      </a:lnTo>
                                      <a:lnTo>
                                        <a:pt x="108" y="140"/>
                                      </a:lnTo>
                                      <a:lnTo>
                                        <a:pt x="100" y="140"/>
                                      </a:lnTo>
                                      <a:lnTo>
                                        <a:pt x="86" y="142"/>
                                      </a:lnTo>
                                      <a:lnTo>
                                        <a:pt x="86" y="142"/>
                                      </a:lnTo>
                                      <a:lnTo>
                                        <a:pt x="70" y="144"/>
                                      </a:lnTo>
                                      <a:lnTo>
                                        <a:pt x="60" y="146"/>
                                      </a:lnTo>
                                      <a:lnTo>
                                        <a:pt x="56" y="148"/>
                                      </a:lnTo>
                                      <a:lnTo>
                                        <a:pt x="54" y="146"/>
                                      </a:lnTo>
                                      <a:lnTo>
                                        <a:pt x="52" y="144"/>
                                      </a:lnTo>
                                      <a:lnTo>
                                        <a:pt x="48" y="140"/>
                                      </a:lnTo>
                                      <a:lnTo>
                                        <a:pt x="48" y="140"/>
                                      </a:lnTo>
                                      <a:lnTo>
                                        <a:pt x="48" y="148"/>
                                      </a:lnTo>
                                      <a:lnTo>
                                        <a:pt x="42" y="152"/>
                                      </a:lnTo>
                                      <a:lnTo>
                                        <a:pt x="34" y="156"/>
                                      </a:lnTo>
                                      <a:lnTo>
                                        <a:pt x="24" y="160"/>
                                      </a:lnTo>
                                      <a:lnTo>
                                        <a:pt x="24" y="160"/>
                                      </a:lnTo>
                                      <a:lnTo>
                                        <a:pt x="18" y="160"/>
                                      </a:lnTo>
                                      <a:lnTo>
                                        <a:pt x="16" y="160"/>
                                      </a:lnTo>
                                      <a:lnTo>
                                        <a:pt x="14" y="158"/>
                                      </a:lnTo>
                                      <a:lnTo>
                                        <a:pt x="16" y="156"/>
                                      </a:lnTo>
                                      <a:lnTo>
                                        <a:pt x="16" y="156"/>
                                      </a:lnTo>
                                      <a:lnTo>
                                        <a:pt x="16" y="148"/>
                                      </a:lnTo>
                                      <a:lnTo>
                                        <a:pt x="16" y="142"/>
                                      </a:lnTo>
                                      <a:lnTo>
                                        <a:pt x="18" y="138"/>
                                      </a:lnTo>
                                      <a:lnTo>
                                        <a:pt x="20" y="138"/>
                                      </a:lnTo>
                                      <a:lnTo>
                                        <a:pt x="24" y="136"/>
                                      </a:lnTo>
                                      <a:lnTo>
                                        <a:pt x="24" y="134"/>
                                      </a:lnTo>
                                      <a:lnTo>
                                        <a:pt x="22" y="130"/>
                                      </a:lnTo>
                                      <a:lnTo>
                                        <a:pt x="22" y="130"/>
                                      </a:lnTo>
                                      <a:lnTo>
                                        <a:pt x="22" y="126"/>
                                      </a:lnTo>
                                      <a:lnTo>
                                        <a:pt x="22" y="122"/>
                                      </a:lnTo>
                                      <a:lnTo>
                                        <a:pt x="22" y="122"/>
                                      </a:lnTo>
                                      <a:lnTo>
                                        <a:pt x="16" y="120"/>
                                      </a:lnTo>
                                      <a:lnTo>
                                        <a:pt x="16" y="120"/>
                                      </a:lnTo>
                                      <a:lnTo>
                                        <a:pt x="10" y="116"/>
                                      </a:lnTo>
                                      <a:lnTo>
                                        <a:pt x="8" y="114"/>
                                      </a:lnTo>
                                      <a:lnTo>
                                        <a:pt x="8" y="114"/>
                                      </a:lnTo>
                                      <a:lnTo>
                                        <a:pt x="4" y="114"/>
                                      </a:lnTo>
                                      <a:lnTo>
                                        <a:pt x="4" y="114"/>
                                      </a:lnTo>
                                      <a:lnTo>
                                        <a:pt x="2" y="112"/>
                                      </a:lnTo>
                                      <a:lnTo>
                                        <a:pt x="0" y="112"/>
                                      </a:lnTo>
                                      <a:lnTo>
                                        <a:pt x="0" y="106"/>
                                      </a:lnTo>
                                      <a:lnTo>
                                        <a:pt x="2" y="100"/>
                                      </a:lnTo>
                                      <a:lnTo>
                                        <a:pt x="2" y="96"/>
                                      </a:lnTo>
                                      <a:lnTo>
                                        <a:pt x="2" y="96"/>
                                      </a:lnTo>
                                      <a:lnTo>
                                        <a:pt x="2" y="94"/>
                                      </a:lnTo>
                                      <a:lnTo>
                                        <a:pt x="2" y="90"/>
                                      </a:lnTo>
                                      <a:lnTo>
                                        <a:pt x="2" y="88"/>
                                      </a:lnTo>
                                      <a:lnTo>
                                        <a:pt x="0" y="82"/>
                                      </a:lnTo>
                                      <a:lnTo>
                                        <a:pt x="0" y="82"/>
                                      </a:lnTo>
                                      <a:lnTo>
                                        <a:pt x="4" y="80"/>
                                      </a:lnTo>
                                      <a:lnTo>
                                        <a:pt x="4" y="78"/>
                                      </a:lnTo>
                                      <a:lnTo>
                                        <a:pt x="4" y="76"/>
                                      </a:lnTo>
                                      <a:lnTo>
                                        <a:pt x="8" y="72"/>
                                      </a:lnTo>
                                      <a:lnTo>
                                        <a:pt x="8" y="72"/>
                                      </a:lnTo>
                                      <a:lnTo>
                                        <a:pt x="10" y="70"/>
                                      </a:lnTo>
                                      <a:lnTo>
                                        <a:pt x="8" y="68"/>
                                      </a:lnTo>
                                      <a:lnTo>
                                        <a:pt x="6" y="68"/>
                                      </a:lnTo>
                                      <a:lnTo>
                                        <a:pt x="4" y="64"/>
                                      </a:lnTo>
                                      <a:lnTo>
                                        <a:pt x="4" y="64"/>
                                      </a:lnTo>
                                      <a:lnTo>
                                        <a:pt x="4" y="62"/>
                                      </a:lnTo>
                                      <a:lnTo>
                                        <a:pt x="6" y="60"/>
                                      </a:lnTo>
                                      <a:lnTo>
                                        <a:pt x="10" y="58"/>
                                      </a:lnTo>
                                      <a:lnTo>
                                        <a:pt x="16" y="60"/>
                                      </a:lnTo>
                                      <a:lnTo>
                                        <a:pt x="16" y="58"/>
                                      </a:lnTo>
                                      <a:lnTo>
                                        <a:pt x="16" y="56"/>
                                      </a:lnTo>
                                      <a:lnTo>
                                        <a:pt x="16" y="56"/>
                                      </a:lnTo>
                                      <a:lnTo>
                                        <a:pt x="14" y="52"/>
                                      </a:lnTo>
                                      <a:lnTo>
                                        <a:pt x="16" y="50"/>
                                      </a:lnTo>
                                      <a:lnTo>
                                        <a:pt x="16" y="46"/>
                                      </a:lnTo>
                                      <a:lnTo>
                                        <a:pt x="16" y="44"/>
                                      </a:lnTo>
                                      <a:lnTo>
                                        <a:pt x="16" y="44"/>
                                      </a:lnTo>
                                      <a:lnTo>
                                        <a:pt x="14" y="40"/>
                                      </a:lnTo>
                                      <a:lnTo>
                                        <a:pt x="16" y="36"/>
                                      </a:lnTo>
                                      <a:lnTo>
                                        <a:pt x="16" y="34"/>
                                      </a:lnTo>
                                      <a:lnTo>
                                        <a:pt x="16" y="32"/>
                                      </a:lnTo>
                                      <a:lnTo>
                                        <a:pt x="16" y="32"/>
                                      </a:lnTo>
                                      <a:lnTo>
                                        <a:pt x="14" y="30"/>
                                      </a:lnTo>
                                      <a:lnTo>
                                        <a:pt x="12" y="30"/>
                                      </a:lnTo>
                                      <a:lnTo>
                                        <a:pt x="12" y="32"/>
                                      </a:lnTo>
                                      <a:lnTo>
                                        <a:pt x="10" y="28"/>
                                      </a:lnTo>
                                      <a:lnTo>
                                        <a:pt x="10" y="28"/>
                                      </a:lnTo>
                                      <a:lnTo>
                                        <a:pt x="8" y="26"/>
                                      </a:lnTo>
                                      <a:lnTo>
                                        <a:pt x="6" y="26"/>
                                      </a:lnTo>
                                      <a:lnTo>
                                        <a:pt x="6" y="26"/>
                                      </a:lnTo>
                                      <a:lnTo>
                                        <a:pt x="6" y="20"/>
                                      </a:lnTo>
                                      <a:lnTo>
                                        <a:pt x="6" y="20"/>
                                      </a:lnTo>
                                      <a:lnTo>
                                        <a:pt x="10" y="14"/>
                                      </a:lnTo>
                                      <a:lnTo>
                                        <a:pt x="12" y="10"/>
                                      </a:lnTo>
                                      <a:lnTo>
                                        <a:pt x="14" y="10"/>
                                      </a:lnTo>
                                      <a:lnTo>
                                        <a:pt x="14" y="10"/>
                                      </a:lnTo>
                                      <a:lnTo>
                                        <a:pt x="18" y="6"/>
                                      </a:lnTo>
                                      <a:lnTo>
                                        <a:pt x="20" y="4"/>
                                      </a:lnTo>
                                      <a:lnTo>
                                        <a:pt x="24" y="6"/>
                                      </a:lnTo>
                                      <a:lnTo>
                                        <a:pt x="24" y="6"/>
                                      </a:lnTo>
                                      <a:lnTo>
                                        <a:pt x="28" y="10"/>
                                      </a:lnTo>
                                      <a:lnTo>
                                        <a:pt x="30" y="8"/>
                                      </a:lnTo>
                                      <a:lnTo>
                                        <a:pt x="34" y="6"/>
                                      </a:lnTo>
                                      <a:lnTo>
                                        <a:pt x="34" y="6"/>
                                      </a:lnTo>
                                      <a:lnTo>
                                        <a:pt x="36" y="2"/>
                                      </a:lnTo>
                                      <a:lnTo>
                                        <a:pt x="40" y="0"/>
                                      </a:lnTo>
                                      <a:lnTo>
                                        <a:pt x="42" y="2"/>
                                      </a:lnTo>
                                      <a:lnTo>
                                        <a:pt x="44" y="2"/>
                                      </a:lnTo>
                                      <a:lnTo>
                                        <a:pt x="48" y="6"/>
                                      </a:lnTo>
                                      <a:lnTo>
                                        <a:pt x="50" y="6"/>
                                      </a:lnTo>
                                      <a:lnTo>
                                        <a:pt x="52" y="4"/>
                                      </a:lnTo>
                                      <a:lnTo>
                                        <a:pt x="52" y="4"/>
                                      </a:lnTo>
                                      <a:lnTo>
                                        <a:pt x="56" y="2"/>
                                      </a:lnTo>
                                      <a:lnTo>
                                        <a:pt x="60" y="4"/>
                                      </a:lnTo>
                                      <a:lnTo>
                                        <a:pt x="66" y="6"/>
                                      </a:lnTo>
                                      <a:lnTo>
                                        <a:pt x="66" y="6"/>
                                      </a:lnTo>
                                      <a:lnTo>
                                        <a:pt x="72" y="10"/>
                                      </a:lnTo>
                                      <a:lnTo>
                                        <a:pt x="74" y="14"/>
                                      </a:lnTo>
                                      <a:lnTo>
                                        <a:pt x="74" y="18"/>
                                      </a:lnTo>
                                      <a:lnTo>
                                        <a:pt x="78" y="22"/>
                                      </a:lnTo>
                                      <a:lnTo>
                                        <a:pt x="78" y="22"/>
                                      </a:lnTo>
                                      <a:lnTo>
                                        <a:pt x="84" y="22"/>
                                      </a:lnTo>
                                      <a:lnTo>
                                        <a:pt x="96" y="20"/>
                                      </a:lnTo>
                                      <a:lnTo>
                                        <a:pt x="96" y="20"/>
                                      </a:lnTo>
                                      <a:lnTo>
                                        <a:pt x="100" y="20"/>
                                      </a:lnTo>
                                      <a:lnTo>
                                        <a:pt x="104" y="20"/>
                                      </a:lnTo>
                                      <a:lnTo>
                                        <a:pt x="108" y="22"/>
                                      </a:lnTo>
                                      <a:lnTo>
                                        <a:pt x="110" y="20"/>
                                      </a:lnTo>
                                      <a:lnTo>
                                        <a:pt x="110" y="20"/>
                                      </a:lnTo>
                                      <a:lnTo>
                                        <a:pt x="112" y="20"/>
                                      </a:lnTo>
                                      <a:lnTo>
                                        <a:pt x="114" y="20"/>
                                      </a:lnTo>
                                      <a:lnTo>
                                        <a:pt x="118" y="24"/>
                                      </a:lnTo>
                                      <a:lnTo>
                                        <a:pt x="122" y="26"/>
                                      </a:lnTo>
                                      <a:lnTo>
                                        <a:pt x="122" y="26"/>
                                      </a:lnTo>
                                      <a:lnTo>
                                        <a:pt x="126" y="30"/>
                                      </a:lnTo>
                                      <a:lnTo>
                                        <a:pt x="126" y="32"/>
                                      </a:lnTo>
                                      <a:lnTo>
                                        <a:pt x="126" y="34"/>
                                      </a:lnTo>
                                      <a:lnTo>
                                        <a:pt x="126" y="40"/>
                                      </a:lnTo>
                                      <a:lnTo>
                                        <a:pt x="126" y="40"/>
                                      </a:lnTo>
                                      <a:lnTo>
                                        <a:pt x="128" y="46"/>
                                      </a:lnTo>
                                      <a:lnTo>
                                        <a:pt x="130" y="54"/>
                                      </a:lnTo>
                                      <a:lnTo>
                                        <a:pt x="128" y="62"/>
                                      </a:lnTo>
                                      <a:lnTo>
                                        <a:pt x="124" y="72"/>
                                      </a:lnTo>
                                      <a:lnTo>
                                        <a:pt x="124" y="72"/>
                                      </a:lnTo>
                                      <a:lnTo>
                                        <a:pt x="122" y="80"/>
                                      </a:lnTo>
                                      <a:lnTo>
                                        <a:pt x="120" y="86"/>
                                      </a:lnTo>
                                      <a:lnTo>
                                        <a:pt x="120" y="90"/>
                                      </a:lnTo>
                                      <a:lnTo>
                                        <a:pt x="118" y="98"/>
                                      </a:lnTo>
                                      <a:lnTo>
                                        <a:pt x="118" y="98"/>
                                      </a:lnTo>
                                      <a:lnTo>
                                        <a:pt x="114" y="104"/>
                                      </a:lnTo>
                                      <a:lnTo>
                                        <a:pt x="114" y="110"/>
                                      </a:lnTo>
                                      <a:lnTo>
                                        <a:pt x="116" y="116"/>
                                      </a:lnTo>
                                      <a:lnTo>
                                        <a:pt x="118" y="122"/>
                                      </a:lnTo>
                                      <a:lnTo>
                                        <a:pt x="118" y="122"/>
                                      </a:lnTo>
                                      <a:lnTo>
                                        <a:pt x="120" y="128"/>
                                      </a:lnTo>
                                      <a:lnTo>
                                        <a:pt x="122" y="130"/>
                                      </a:lnTo>
                                      <a:lnTo>
                                        <a:pt x="124" y="130"/>
                                      </a:lnTo>
                                      <a:lnTo>
                                        <a:pt x="124" y="134"/>
                                      </a:lnTo>
                                      <a:lnTo>
                                        <a:pt x="124" y="134"/>
                                      </a:lnTo>
                                      <a:lnTo>
                                        <a:pt x="124" y="136"/>
                                      </a:lnTo>
                                      <a:lnTo>
                                        <a:pt x="122" y="138"/>
                                      </a:lnTo>
                                      <a:lnTo>
                                        <a:pt x="120" y="140"/>
                                      </a:lnTo>
                                      <a:lnTo>
                                        <a:pt x="120" y="14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4" name="Dominican Republic"/>
                                <p:cNvSpPr>
                                  <a:spLocks/>
                                </p:cNvSpPr>
                                <p:nvPr/>
                              </p:nvSpPr>
                              <p:spPr bwMode="auto">
                                <a:xfrm>
                                  <a:off x="3515344" y="2911410"/>
                                  <a:ext cx="121505" cy="84975"/>
                                </a:xfrm>
                                <a:custGeom>
                                  <a:avLst/>
                                  <a:gdLst/>
                                  <a:ahLst/>
                                  <a:cxnLst>
                                    <a:cxn ang="0">
                                      <a:pos x="4" y="46"/>
                                    </a:cxn>
                                    <a:cxn ang="0">
                                      <a:pos x="4" y="48"/>
                                    </a:cxn>
                                    <a:cxn ang="0">
                                      <a:pos x="2" y="54"/>
                                    </a:cxn>
                                    <a:cxn ang="0">
                                      <a:pos x="4" y="54"/>
                                    </a:cxn>
                                    <a:cxn ang="0">
                                      <a:pos x="10" y="54"/>
                                    </a:cxn>
                                    <a:cxn ang="0">
                                      <a:pos x="10" y="54"/>
                                    </a:cxn>
                                    <a:cxn ang="0">
                                      <a:pos x="12" y="56"/>
                                    </a:cxn>
                                    <a:cxn ang="0">
                                      <a:pos x="16" y="52"/>
                                    </a:cxn>
                                    <a:cxn ang="0">
                                      <a:pos x="22" y="48"/>
                                    </a:cxn>
                                    <a:cxn ang="0">
                                      <a:pos x="26" y="46"/>
                                    </a:cxn>
                                    <a:cxn ang="0">
                                      <a:pos x="24" y="42"/>
                                    </a:cxn>
                                    <a:cxn ang="0">
                                      <a:pos x="24" y="42"/>
                                    </a:cxn>
                                    <a:cxn ang="0">
                                      <a:pos x="28" y="42"/>
                                    </a:cxn>
                                    <a:cxn ang="0">
                                      <a:pos x="30" y="40"/>
                                    </a:cxn>
                                    <a:cxn ang="0">
                                      <a:pos x="32" y="40"/>
                                    </a:cxn>
                                    <a:cxn ang="0">
                                      <a:pos x="34" y="42"/>
                                    </a:cxn>
                                    <a:cxn ang="0">
                                      <a:pos x="38" y="42"/>
                                    </a:cxn>
                                    <a:cxn ang="0">
                                      <a:pos x="40" y="40"/>
                                    </a:cxn>
                                    <a:cxn ang="0">
                                      <a:pos x="42" y="38"/>
                                    </a:cxn>
                                    <a:cxn ang="0">
                                      <a:pos x="48" y="40"/>
                                    </a:cxn>
                                    <a:cxn ang="0">
                                      <a:pos x="52" y="38"/>
                                    </a:cxn>
                                    <a:cxn ang="0">
                                      <a:pos x="56" y="36"/>
                                    </a:cxn>
                                    <a:cxn ang="0">
                                      <a:pos x="66" y="44"/>
                                    </a:cxn>
                                    <a:cxn ang="0">
                                      <a:pos x="68" y="46"/>
                                    </a:cxn>
                                    <a:cxn ang="0">
                                      <a:pos x="70" y="42"/>
                                    </a:cxn>
                                    <a:cxn ang="0">
                                      <a:pos x="72" y="40"/>
                                    </a:cxn>
                                    <a:cxn ang="0">
                                      <a:pos x="74" y="40"/>
                                    </a:cxn>
                                    <a:cxn ang="0">
                                      <a:pos x="80" y="36"/>
                                    </a:cxn>
                                    <a:cxn ang="0">
                                      <a:pos x="78" y="32"/>
                                    </a:cxn>
                                    <a:cxn ang="0">
                                      <a:pos x="68" y="24"/>
                                    </a:cxn>
                                    <a:cxn ang="0">
                                      <a:pos x="60" y="20"/>
                                    </a:cxn>
                                    <a:cxn ang="0">
                                      <a:pos x="52" y="20"/>
                                    </a:cxn>
                                    <a:cxn ang="0">
                                      <a:pos x="46" y="18"/>
                                    </a:cxn>
                                    <a:cxn ang="0">
                                      <a:pos x="52" y="16"/>
                                    </a:cxn>
                                    <a:cxn ang="0">
                                      <a:pos x="56" y="16"/>
                                    </a:cxn>
                                    <a:cxn ang="0">
                                      <a:pos x="60" y="14"/>
                                    </a:cxn>
                                    <a:cxn ang="0">
                                      <a:pos x="58" y="14"/>
                                    </a:cxn>
                                    <a:cxn ang="0">
                                      <a:pos x="48" y="12"/>
                                    </a:cxn>
                                    <a:cxn ang="0">
                                      <a:pos x="48" y="10"/>
                                    </a:cxn>
                                    <a:cxn ang="0">
                                      <a:pos x="46" y="6"/>
                                    </a:cxn>
                                    <a:cxn ang="0">
                                      <a:pos x="42" y="6"/>
                                    </a:cxn>
                                    <a:cxn ang="0">
                                      <a:pos x="38" y="6"/>
                                    </a:cxn>
                                    <a:cxn ang="0">
                                      <a:pos x="32" y="4"/>
                                    </a:cxn>
                                    <a:cxn ang="0">
                                      <a:pos x="28" y="2"/>
                                    </a:cxn>
                                    <a:cxn ang="0">
                                      <a:pos x="24" y="0"/>
                                    </a:cxn>
                                    <a:cxn ang="0">
                                      <a:pos x="20" y="2"/>
                                    </a:cxn>
                                    <a:cxn ang="0">
                                      <a:pos x="14" y="0"/>
                                    </a:cxn>
                                    <a:cxn ang="0">
                                      <a:pos x="12" y="2"/>
                                    </a:cxn>
                                    <a:cxn ang="0">
                                      <a:pos x="8" y="4"/>
                                    </a:cxn>
                                    <a:cxn ang="0">
                                      <a:pos x="8" y="12"/>
                                    </a:cxn>
                                    <a:cxn ang="0">
                                      <a:pos x="8" y="14"/>
                                    </a:cxn>
                                    <a:cxn ang="0">
                                      <a:pos x="10" y="18"/>
                                    </a:cxn>
                                    <a:cxn ang="0">
                                      <a:pos x="8" y="20"/>
                                    </a:cxn>
                                    <a:cxn ang="0">
                                      <a:pos x="6" y="24"/>
                                    </a:cxn>
                                    <a:cxn ang="0">
                                      <a:pos x="8" y="32"/>
                                    </a:cxn>
                                    <a:cxn ang="0">
                                      <a:pos x="4" y="36"/>
                                    </a:cxn>
                                    <a:cxn ang="0">
                                      <a:pos x="2" y="38"/>
                                    </a:cxn>
                                    <a:cxn ang="0">
                                      <a:pos x="4" y="46"/>
                                    </a:cxn>
                                  </a:cxnLst>
                                  <a:rect l="0" t="0" r="r" b="b"/>
                                  <a:pathLst>
                                    <a:path w="80" h="56">
                                      <a:moveTo>
                                        <a:pt x="4" y="46"/>
                                      </a:moveTo>
                                      <a:lnTo>
                                        <a:pt x="4" y="46"/>
                                      </a:lnTo>
                                      <a:lnTo>
                                        <a:pt x="4" y="48"/>
                                      </a:lnTo>
                                      <a:lnTo>
                                        <a:pt x="4" y="48"/>
                                      </a:lnTo>
                                      <a:lnTo>
                                        <a:pt x="4" y="52"/>
                                      </a:lnTo>
                                      <a:lnTo>
                                        <a:pt x="2" y="54"/>
                                      </a:lnTo>
                                      <a:lnTo>
                                        <a:pt x="4" y="54"/>
                                      </a:lnTo>
                                      <a:lnTo>
                                        <a:pt x="4" y="54"/>
                                      </a:lnTo>
                                      <a:lnTo>
                                        <a:pt x="8" y="54"/>
                                      </a:lnTo>
                                      <a:lnTo>
                                        <a:pt x="10" y="54"/>
                                      </a:lnTo>
                                      <a:lnTo>
                                        <a:pt x="10" y="54"/>
                                      </a:lnTo>
                                      <a:lnTo>
                                        <a:pt x="10" y="54"/>
                                      </a:lnTo>
                                      <a:lnTo>
                                        <a:pt x="10" y="56"/>
                                      </a:lnTo>
                                      <a:lnTo>
                                        <a:pt x="12" y="56"/>
                                      </a:lnTo>
                                      <a:lnTo>
                                        <a:pt x="16" y="52"/>
                                      </a:lnTo>
                                      <a:lnTo>
                                        <a:pt x="16" y="52"/>
                                      </a:lnTo>
                                      <a:lnTo>
                                        <a:pt x="18" y="50"/>
                                      </a:lnTo>
                                      <a:lnTo>
                                        <a:pt x="22" y="48"/>
                                      </a:lnTo>
                                      <a:lnTo>
                                        <a:pt x="22" y="48"/>
                                      </a:lnTo>
                                      <a:lnTo>
                                        <a:pt x="26" y="46"/>
                                      </a:lnTo>
                                      <a:lnTo>
                                        <a:pt x="26" y="44"/>
                                      </a:lnTo>
                                      <a:lnTo>
                                        <a:pt x="24" y="42"/>
                                      </a:lnTo>
                                      <a:lnTo>
                                        <a:pt x="24" y="42"/>
                                      </a:lnTo>
                                      <a:lnTo>
                                        <a:pt x="24" y="42"/>
                                      </a:lnTo>
                                      <a:lnTo>
                                        <a:pt x="26" y="42"/>
                                      </a:lnTo>
                                      <a:lnTo>
                                        <a:pt x="28" y="42"/>
                                      </a:lnTo>
                                      <a:lnTo>
                                        <a:pt x="30" y="40"/>
                                      </a:lnTo>
                                      <a:lnTo>
                                        <a:pt x="30" y="40"/>
                                      </a:lnTo>
                                      <a:lnTo>
                                        <a:pt x="30" y="40"/>
                                      </a:lnTo>
                                      <a:lnTo>
                                        <a:pt x="32" y="40"/>
                                      </a:lnTo>
                                      <a:lnTo>
                                        <a:pt x="32" y="42"/>
                                      </a:lnTo>
                                      <a:lnTo>
                                        <a:pt x="34" y="42"/>
                                      </a:lnTo>
                                      <a:lnTo>
                                        <a:pt x="34" y="42"/>
                                      </a:lnTo>
                                      <a:lnTo>
                                        <a:pt x="38" y="42"/>
                                      </a:lnTo>
                                      <a:lnTo>
                                        <a:pt x="40" y="42"/>
                                      </a:lnTo>
                                      <a:lnTo>
                                        <a:pt x="40" y="40"/>
                                      </a:lnTo>
                                      <a:lnTo>
                                        <a:pt x="40" y="40"/>
                                      </a:lnTo>
                                      <a:lnTo>
                                        <a:pt x="42" y="38"/>
                                      </a:lnTo>
                                      <a:lnTo>
                                        <a:pt x="44" y="38"/>
                                      </a:lnTo>
                                      <a:lnTo>
                                        <a:pt x="48" y="40"/>
                                      </a:lnTo>
                                      <a:lnTo>
                                        <a:pt x="48" y="40"/>
                                      </a:lnTo>
                                      <a:lnTo>
                                        <a:pt x="52" y="38"/>
                                      </a:lnTo>
                                      <a:lnTo>
                                        <a:pt x="56" y="36"/>
                                      </a:lnTo>
                                      <a:lnTo>
                                        <a:pt x="56" y="36"/>
                                      </a:lnTo>
                                      <a:lnTo>
                                        <a:pt x="62" y="40"/>
                                      </a:lnTo>
                                      <a:lnTo>
                                        <a:pt x="66" y="44"/>
                                      </a:lnTo>
                                      <a:lnTo>
                                        <a:pt x="66" y="44"/>
                                      </a:lnTo>
                                      <a:lnTo>
                                        <a:pt x="68" y="46"/>
                                      </a:lnTo>
                                      <a:lnTo>
                                        <a:pt x="68" y="44"/>
                                      </a:lnTo>
                                      <a:lnTo>
                                        <a:pt x="70" y="42"/>
                                      </a:lnTo>
                                      <a:lnTo>
                                        <a:pt x="70" y="42"/>
                                      </a:lnTo>
                                      <a:lnTo>
                                        <a:pt x="72" y="40"/>
                                      </a:lnTo>
                                      <a:lnTo>
                                        <a:pt x="74" y="40"/>
                                      </a:lnTo>
                                      <a:lnTo>
                                        <a:pt x="74" y="40"/>
                                      </a:lnTo>
                                      <a:lnTo>
                                        <a:pt x="78" y="40"/>
                                      </a:lnTo>
                                      <a:lnTo>
                                        <a:pt x="80" y="36"/>
                                      </a:lnTo>
                                      <a:lnTo>
                                        <a:pt x="80" y="34"/>
                                      </a:lnTo>
                                      <a:lnTo>
                                        <a:pt x="78" y="32"/>
                                      </a:lnTo>
                                      <a:lnTo>
                                        <a:pt x="78" y="32"/>
                                      </a:lnTo>
                                      <a:lnTo>
                                        <a:pt x="68" y="24"/>
                                      </a:lnTo>
                                      <a:lnTo>
                                        <a:pt x="68" y="24"/>
                                      </a:lnTo>
                                      <a:lnTo>
                                        <a:pt x="60" y="20"/>
                                      </a:lnTo>
                                      <a:lnTo>
                                        <a:pt x="52" y="20"/>
                                      </a:lnTo>
                                      <a:lnTo>
                                        <a:pt x="52" y="20"/>
                                      </a:lnTo>
                                      <a:lnTo>
                                        <a:pt x="50" y="18"/>
                                      </a:lnTo>
                                      <a:lnTo>
                                        <a:pt x="46" y="18"/>
                                      </a:lnTo>
                                      <a:lnTo>
                                        <a:pt x="46" y="18"/>
                                      </a:lnTo>
                                      <a:lnTo>
                                        <a:pt x="52" y="16"/>
                                      </a:lnTo>
                                      <a:lnTo>
                                        <a:pt x="56" y="16"/>
                                      </a:lnTo>
                                      <a:lnTo>
                                        <a:pt x="56" y="16"/>
                                      </a:lnTo>
                                      <a:lnTo>
                                        <a:pt x="58" y="16"/>
                                      </a:lnTo>
                                      <a:lnTo>
                                        <a:pt x="60" y="14"/>
                                      </a:lnTo>
                                      <a:lnTo>
                                        <a:pt x="58" y="14"/>
                                      </a:lnTo>
                                      <a:lnTo>
                                        <a:pt x="58" y="14"/>
                                      </a:lnTo>
                                      <a:lnTo>
                                        <a:pt x="52" y="12"/>
                                      </a:lnTo>
                                      <a:lnTo>
                                        <a:pt x="48" y="12"/>
                                      </a:lnTo>
                                      <a:lnTo>
                                        <a:pt x="48" y="12"/>
                                      </a:lnTo>
                                      <a:lnTo>
                                        <a:pt x="48" y="10"/>
                                      </a:lnTo>
                                      <a:lnTo>
                                        <a:pt x="48" y="8"/>
                                      </a:lnTo>
                                      <a:lnTo>
                                        <a:pt x="46" y="6"/>
                                      </a:lnTo>
                                      <a:lnTo>
                                        <a:pt x="46" y="6"/>
                                      </a:lnTo>
                                      <a:lnTo>
                                        <a:pt x="42" y="6"/>
                                      </a:lnTo>
                                      <a:lnTo>
                                        <a:pt x="38" y="6"/>
                                      </a:lnTo>
                                      <a:lnTo>
                                        <a:pt x="38" y="6"/>
                                      </a:lnTo>
                                      <a:lnTo>
                                        <a:pt x="34" y="4"/>
                                      </a:lnTo>
                                      <a:lnTo>
                                        <a:pt x="32" y="4"/>
                                      </a:lnTo>
                                      <a:lnTo>
                                        <a:pt x="32" y="4"/>
                                      </a:lnTo>
                                      <a:lnTo>
                                        <a:pt x="28" y="2"/>
                                      </a:lnTo>
                                      <a:lnTo>
                                        <a:pt x="26" y="0"/>
                                      </a:lnTo>
                                      <a:lnTo>
                                        <a:pt x="24" y="0"/>
                                      </a:lnTo>
                                      <a:lnTo>
                                        <a:pt x="24" y="0"/>
                                      </a:lnTo>
                                      <a:lnTo>
                                        <a:pt x="20" y="2"/>
                                      </a:lnTo>
                                      <a:lnTo>
                                        <a:pt x="18" y="0"/>
                                      </a:lnTo>
                                      <a:lnTo>
                                        <a:pt x="14" y="0"/>
                                      </a:lnTo>
                                      <a:lnTo>
                                        <a:pt x="12" y="2"/>
                                      </a:lnTo>
                                      <a:lnTo>
                                        <a:pt x="12" y="2"/>
                                      </a:lnTo>
                                      <a:lnTo>
                                        <a:pt x="8" y="4"/>
                                      </a:lnTo>
                                      <a:lnTo>
                                        <a:pt x="8" y="4"/>
                                      </a:lnTo>
                                      <a:lnTo>
                                        <a:pt x="10" y="8"/>
                                      </a:lnTo>
                                      <a:lnTo>
                                        <a:pt x="8" y="12"/>
                                      </a:lnTo>
                                      <a:lnTo>
                                        <a:pt x="8" y="12"/>
                                      </a:lnTo>
                                      <a:lnTo>
                                        <a:pt x="8" y="14"/>
                                      </a:lnTo>
                                      <a:lnTo>
                                        <a:pt x="8" y="16"/>
                                      </a:lnTo>
                                      <a:lnTo>
                                        <a:pt x="10" y="18"/>
                                      </a:lnTo>
                                      <a:lnTo>
                                        <a:pt x="8" y="20"/>
                                      </a:lnTo>
                                      <a:lnTo>
                                        <a:pt x="8" y="20"/>
                                      </a:lnTo>
                                      <a:lnTo>
                                        <a:pt x="6" y="22"/>
                                      </a:lnTo>
                                      <a:lnTo>
                                        <a:pt x="6" y="24"/>
                                      </a:lnTo>
                                      <a:lnTo>
                                        <a:pt x="8" y="28"/>
                                      </a:lnTo>
                                      <a:lnTo>
                                        <a:pt x="8" y="32"/>
                                      </a:lnTo>
                                      <a:lnTo>
                                        <a:pt x="4" y="36"/>
                                      </a:lnTo>
                                      <a:lnTo>
                                        <a:pt x="4" y="36"/>
                                      </a:lnTo>
                                      <a:lnTo>
                                        <a:pt x="0" y="36"/>
                                      </a:lnTo>
                                      <a:lnTo>
                                        <a:pt x="2" y="38"/>
                                      </a:lnTo>
                                      <a:lnTo>
                                        <a:pt x="4" y="42"/>
                                      </a:lnTo>
                                      <a:lnTo>
                                        <a:pt x="4" y="46"/>
                                      </a:lnTo>
                                      <a:lnTo>
                                        <a:pt x="4" y="46"/>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5" name="Ghana"/>
                                <p:cNvSpPr>
                                  <a:spLocks/>
                                </p:cNvSpPr>
                                <p:nvPr/>
                              </p:nvSpPr>
                              <p:spPr bwMode="auto">
                                <a:xfrm>
                                  <a:off x="5687259" y="3250657"/>
                                  <a:ext cx="139731" cy="245822"/>
                                </a:xfrm>
                                <a:custGeom>
                                  <a:avLst/>
                                  <a:gdLst/>
                                  <a:ahLst/>
                                  <a:cxnLst>
                                    <a:cxn ang="0">
                                      <a:pos x="12" y="38"/>
                                    </a:cxn>
                                    <a:cxn ang="0">
                                      <a:pos x="8" y="28"/>
                                    </a:cxn>
                                    <a:cxn ang="0">
                                      <a:pos x="6" y="20"/>
                                    </a:cxn>
                                    <a:cxn ang="0">
                                      <a:pos x="4" y="14"/>
                                    </a:cxn>
                                    <a:cxn ang="0">
                                      <a:pos x="10" y="4"/>
                                    </a:cxn>
                                    <a:cxn ang="0">
                                      <a:pos x="46" y="4"/>
                                    </a:cxn>
                                    <a:cxn ang="0">
                                      <a:pos x="54" y="0"/>
                                    </a:cxn>
                                    <a:cxn ang="0">
                                      <a:pos x="62" y="2"/>
                                    </a:cxn>
                                    <a:cxn ang="0">
                                      <a:pos x="60" y="14"/>
                                    </a:cxn>
                                    <a:cxn ang="0">
                                      <a:pos x="62" y="20"/>
                                    </a:cxn>
                                    <a:cxn ang="0">
                                      <a:pos x="66" y="22"/>
                                    </a:cxn>
                                    <a:cxn ang="0">
                                      <a:pos x="68" y="26"/>
                                    </a:cxn>
                                    <a:cxn ang="0">
                                      <a:pos x="70" y="34"/>
                                    </a:cxn>
                                    <a:cxn ang="0">
                                      <a:pos x="72" y="46"/>
                                    </a:cxn>
                                    <a:cxn ang="0">
                                      <a:pos x="72" y="50"/>
                                    </a:cxn>
                                    <a:cxn ang="0">
                                      <a:pos x="78" y="60"/>
                                    </a:cxn>
                                    <a:cxn ang="0">
                                      <a:pos x="80" y="62"/>
                                    </a:cxn>
                                    <a:cxn ang="0">
                                      <a:pos x="80" y="76"/>
                                    </a:cxn>
                                    <a:cxn ang="0">
                                      <a:pos x="80" y="78"/>
                                    </a:cxn>
                                    <a:cxn ang="0">
                                      <a:pos x="80" y="86"/>
                                    </a:cxn>
                                    <a:cxn ang="0">
                                      <a:pos x="78" y="92"/>
                                    </a:cxn>
                                    <a:cxn ang="0">
                                      <a:pos x="76" y="110"/>
                                    </a:cxn>
                                    <a:cxn ang="0">
                                      <a:pos x="78" y="118"/>
                                    </a:cxn>
                                    <a:cxn ang="0">
                                      <a:pos x="84" y="126"/>
                                    </a:cxn>
                                    <a:cxn ang="0">
                                      <a:pos x="90" y="132"/>
                                    </a:cxn>
                                    <a:cxn ang="0">
                                      <a:pos x="88" y="146"/>
                                    </a:cxn>
                                    <a:cxn ang="0">
                                      <a:pos x="82" y="144"/>
                                    </a:cxn>
                                    <a:cxn ang="0">
                                      <a:pos x="80" y="146"/>
                                    </a:cxn>
                                    <a:cxn ang="0">
                                      <a:pos x="74" y="150"/>
                                    </a:cxn>
                                    <a:cxn ang="0">
                                      <a:pos x="52" y="158"/>
                                    </a:cxn>
                                    <a:cxn ang="0">
                                      <a:pos x="40" y="162"/>
                                    </a:cxn>
                                    <a:cxn ang="0">
                                      <a:pos x="32" y="162"/>
                                    </a:cxn>
                                    <a:cxn ang="0">
                                      <a:pos x="20" y="156"/>
                                    </a:cxn>
                                    <a:cxn ang="0">
                                      <a:pos x="6" y="154"/>
                                    </a:cxn>
                                    <a:cxn ang="0">
                                      <a:pos x="10" y="150"/>
                                    </a:cxn>
                                    <a:cxn ang="0">
                                      <a:pos x="10" y="144"/>
                                    </a:cxn>
                                    <a:cxn ang="0">
                                      <a:pos x="4" y="136"/>
                                    </a:cxn>
                                    <a:cxn ang="0">
                                      <a:pos x="0" y="124"/>
                                    </a:cxn>
                                    <a:cxn ang="0">
                                      <a:pos x="4" y="112"/>
                                    </a:cxn>
                                    <a:cxn ang="0">
                                      <a:pos x="8" y="94"/>
                                    </a:cxn>
                                    <a:cxn ang="0">
                                      <a:pos x="14" y="76"/>
                                    </a:cxn>
                                    <a:cxn ang="0">
                                      <a:pos x="12" y="54"/>
                                    </a:cxn>
                                    <a:cxn ang="0">
                                      <a:pos x="12" y="46"/>
                                    </a:cxn>
                                    <a:cxn ang="0">
                                      <a:pos x="8" y="40"/>
                                    </a:cxn>
                                  </a:cxnLst>
                                  <a:rect l="0" t="0" r="r" b="b"/>
                                  <a:pathLst>
                                    <a:path w="92" h="162">
                                      <a:moveTo>
                                        <a:pt x="8" y="40"/>
                                      </a:moveTo>
                                      <a:lnTo>
                                        <a:pt x="8" y="40"/>
                                      </a:lnTo>
                                      <a:lnTo>
                                        <a:pt x="12" y="38"/>
                                      </a:lnTo>
                                      <a:lnTo>
                                        <a:pt x="12" y="36"/>
                                      </a:lnTo>
                                      <a:lnTo>
                                        <a:pt x="8" y="28"/>
                                      </a:lnTo>
                                      <a:lnTo>
                                        <a:pt x="8" y="28"/>
                                      </a:lnTo>
                                      <a:lnTo>
                                        <a:pt x="6" y="24"/>
                                      </a:lnTo>
                                      <a:lnTo>
                                        <a:pt x="6" y="22"/>
                                      </a:lnTo>
                                      <a:lnTo>
                                        <a:pt x="6" y="20"/>
                                      </a:lnTo>
                                      <a:lnTo>
                                        <a:pt x="4" y="16"/>
                                      </a:lnTo>
                                      <a:lnTo>
                                        <a:pt x="4" y="16"/>
                                      </a:lnTo>
                                      <a:lnTo>
                                        <a:pt x="4" y="14"/>
                                      </a:lnTo>
                                      <a:lnTo>
                                        <a:pt x="4" y="10"/>
                                      </a:lnTo>
                                      <a:lnTo>
                                        <a:pt x="6" y="6"/>
                                      </a:lnTo>
                                      <a:lnTo>
                                        <a:pt x="10" y="4"/>
                                      </a:lnTo>
                                      <a:lnTo>
                                        <a:pt x="10" y="4"/>
                                      </a:lnTo>
                                      <a:lnTo>
                                        <a:pt x="36" y="4"/>
                                      </a:lnTo>
                                      <a:lnTo>
                                        <a:pt x="46" y="4"/>
                                      </a:lnTo>
                                      <a:lnTo>
                                        <a:pt x="52" y="2"/>
                                      </a:lnTo>
                                      <a:lnTo>
                                        <a:pt x="52" y="2"/>
                                      </a:lnTo>
                                      <a:lnTo>
                                        <a:pt x="54" y="0"/>
                                      </a:lnTo>
                                      <a:lnTo>
                                        <a:pt x="56" y="0"/>
                                      </a:lnTo>
                                      <a:lnTo>
                                        <a:pt x="58" y="0"/>
                                      </a:lnTo>
                                      <a:lnTo>
                                        <a:pt x="62" y="2"/>
                                      </a:lnTo>
                                      <a:lnTo>
                                        <a:pt x="62" y="2"/>
                                      </a:lnTo>
                                      <a:lnTo>
                                        <a:pt x="60" y="10"/>
                                      </a:lnTo>
                                      <a:lnTo>
                                        <a:pt x="60" y="14"/>
                                      </a:lnTo>
                                      <a:lnTo>
                                        <a:pt x="62" y="16"/>
                                      </a:lnTo>
                                      <a:lnTo>
                                        <a:pt x="62" y="20"/>
                                      </a:lnTo>
                                      <a:lnTo>
                                        <a:pt x="62" y="20"/>
                                      </a:lnTo>
                                      <a:lnTo>
                                        <a:pt x="62" y="22"/>
                                      </a:lnTo>
                                      <a:lnTo>
                                        <a:pt x="62" y="22"/>
                                      </a:lnTo>
                                      <a:lnTo>
                                        <a:pt x="66" y="22"/>
                                      </a:lnTo>
                                      <a:lnTo>
                                        <a:pt x="68" y="22"/>
                                      </a:lnTo>
                                      <a:lnTo>
                                        <a:pt x="68" y="26"/>
                                      </a:lnTo>
                                      <a:lnTo>
                                        <a:pt x="68" y="26"/>
                                      </a:lnTo>
                                      <a:lnTo>
                                        <a:pt x="68" y="30"/>
                                      </a:lnTo>
                                      <a:lnTo>
                                        <a:pt x="68" y="32"/>
                                      </a:lnTo>
                                      <a:lnTo>
                                        <a:pt x="70" y="34"/>
                                      </a:lnTo>
                                      <a:lnTo>
                                        <a:pt x="72" y="38"/>
                                      </a:lnTo>
                                      <a:lnTo>
                                        <a:pt x="72" y="38"/>
                                      </a:lnTo>
                                      <a:lnTo>
                                        <a:pt x="72" y="46"/>
                                      </a:lnTo>
                                      <a:lnTo>
                                        <a:pt x="72" y="48"/>
                                      </a:lnTo>
                                      <a:lnTo>
                                        <a:pt x="72" y="50"/>
                                      </a:lnTo>
                                      <a:lnTo>
                                        <a:pt x="72" y="50"/>
                                      </a:lnTo>
                                      <a:lnTo>
                                        <a:pt x="74" y="56"/>
                                      </a:lnTo>
                                      <a:lnTo>
                                        <a:pt x="76" y="60"/>
                                      </a:lnTo>
                                      <a:lnTo>
                                        <a:pt x="78" y="60"/>
                                      </a:lnTo>
                                      <a:lnTo>
                                        <a:pt x="78" y="60"/>
                                      </a:lnTo>
                                      <a:lnTo>
                                        <a:pt x="80" y="60"/>
                                      </a:lnTo>
                                      <a:lnTo>
                                        <a:pt x="80" y="62"/>
                                      </a:lnTo>
                                      <a:lnTo>
                                        <a:pt x="80" y="70"/>
                                      </a:lnTo>
                                      <a:lnTo>
                                        <a:pt x="80" y="70"/>
                                      </a:lnTo>
                                      <a:lnTo>
                                        <a:pt x="80" y="76"/>
                                      </a:lnTo>
                                      <a:lnTo>
                                        <a:pt x="80" y="78"/>
                                      </a:lnTo>
                                      <a:lnTo>
                                        <a:pt x="80" y="78"/>
                                      </a:lnTo>
                                      <a:lnTo>
                                        <a:pt x="80" y="78"/>
                                      </a:lnTo>
                                      <a:lnTo>
                                        <a:pt x="78" y="80"/>
                                      </a:lnTo>
                                      <a:lnTo>
                                        <a:pt x="80" y="84"/>
                                      </a:lnTo>
                                      <a:lnTo>
                                        <a:pt x="80" y="86"/>
                                      </a:lnTo>
                                      <a:lnTo>
                                        <a:pt x="80" y="88"/>
                                      </a:lnTo>
                                      <a:lnTo>
                                        <a:pt x="80" y="88"/>
                                      </a:lnTo>
                                      <a:lnTo>
                                        <a:pt x="78" y="92"/>
                                      </a:lnTo>
                                      <a:lnTo>
                                        <a:pt x="78" y="96"/>
                                      </a:lnTo>
                                      <a:lnTo>
                                        <a:pt x="78" y="102"/>
                                      </a:lnTo>
                                      <a:lnTo>
                                        <a:pt x="76" y="110"/>
                                      </a:lnTo>
                                      <a:lnTo>
                                        <a:pt x="76" y="110"/>
                                      </a:lnTo>
                                      <a:lnTo>
                                        <a:pt x="76" y="116"/>
                                      </a:lnTo>
                                      <a:lnTo>
                                        <a:pt x="78" y="118"/>
                                      </a:lnTo>
                                      <a:lnTo>
                                        <a:pt x="82" y="122"/>
                                      </a:lnTo>
                                      <a:lnTo>
                                        <a:pt x="84" y="126"/>
                                      </a:lnTo>
                                      <a:lnTo>
                                        <a:pt x="84" y="126"/>
                                      </a:lnTo>
                                      <a:lnTo>
                                        <a:pt x="86" y="130"/>
                                      </a:lnTo>
                                      <a:lnTo>
                                        <a:pt x="88" y="130"/>
                                      </a:lnTo>
                                      <a:lnTo>
                                        <a:pt x="90" y="132"/>
                                      </a:lnTo>
                                      <a:lnTo>
                                        <a:pt x="92" y="138"/>
                                      </a:lnTo>
                                      <a:lnTo>
                                        <a:pt x="92" y="138"/>
                                      </a:lnTo>
                                      <a:lnTo>
                                        <a:pt x="88" y="146"/>
                                      </a:lnTo>
                                      <a:lnTo>
                                        <a:pt x="86" y="146"/>
                                      </a:lnTo>
                                      <a:lnTo>
                                        <a:pt x="84" y="146"/>
                                      </a:lnTo>
                                      <a:lnTo>
                                        <a:pt x="82" y="144"/>
                                      </a:lnTo>
                                      <a:lnTo>
                                        <a:pt x="78" y="144"/>
                                      </a:lnTo>
                                      <a:lnTo>
                                        <a:pt x="78" y="144"/>
                                      </a:lnTo>
                                      <a:lnTo>
                                        <a:pt x="80" y="146"/>
                                      </a:lnTo>
                                      <a:lnTo>
                                        <a:pt x="80" y="146"/>
                                      </a:lnTo>
                                      <a:lnTo>
                                        <a:pt x="74" y="150"/>
                                      </a:lnTo>
                                      <a:lnTo>
                                        <a:pt x="74" y="150"/>
                                      </a:lnTo>
                                      <a:lnTo>
                                        <a:pt x="66" y="156"/>
                                      </a:lnTo>
                                      <a:lnTo>
                                        <a:pt x="52" y="158"/>
                                      </a:lnTo>
                                      <a:lnTo>
                                        <a:pt x="52" y="158"/>
                                      </a:lnTo>
                                      <a:lnTo>
                                        <a:pt x="44" y="160"/>
                                      </a:lnTo>
                                      <a:lnTo>
                                        <a:pt x="42" y="160"/>
                                      </a:lnTo>
                                      <a:lnTo>
                                        <a:pt x="40" y="162"/>
                                      </a:lnTo>
                                      <a:lnTo>
                                        <a:pt x="36" y="162"/>
                                      </a:lnTo>
                                      <a:lnTo>
                                        <a:pt x="36" y="162"/>
                                      </a:lnTo>
                                      <a:lnTo>
                                        <a:pt x="32" y="162"/>
                                      </a:lnTo>
                                      <a:lnTo>
                                        <a:pt x="30" y="160"/>
                                      </a:lnTo>
                                      <a:lnTo>
                                        <a:pt x="28" y="158"/>
                                      </a:lnTo>
                                      <a:lnTo>
                                        <a:pt x="20" y="156"/>
                                      </a:lnTo>
                                      <a:lnTo>
                                        <a:pt x="20" y="156"/>
                                      </a:lnTo>
                                      <a:lnTo>
                                        <a:pt x="10" y="156"/>
                                      </a:lnTo>
                                      <a:lnTo>
                                        <a:pt x="6" y="154"/>
                                      </a:lnTo>
                                      <a:lnTo>
                                        <a:pt x="6" y="154"/>
                                      </a:lnTo>
                                      <a:lnTo>
                                        <a:pt x="8" y="152"/>
                                      </a:lnTo>
                                      <a:lnTo>
                                        <a:pt x="10" y="150"/>
                                      </a:lnTo>
                                      <a:lnTo>
                                        <a:pt x="10" y="148"/>
                                      </a:lnTo>
                                      <a:lnTo>
                                        <a:pt x="10" y="148"/>
                                      </a:lnTo>
                                      <a:lnTo>
                                        <a:pt x="10" y="144"/>
                                      </a:lnTo>
                                      <a:lnTo>
                                        <a:pt x="8" y="144"/>
                                      </a:lnTo>
                                      <a:lnTo>
                                        <a:pt x="6" y="142"/>
                                      </a:lnTo>
                                      <a:lnTo>
                                        <a:pt x="4" y="136"/>
                                      </a:lnTo>
                                      <a:lnTo>
                                        <a:pt x="4" y="136"/>
                                      </a:lnTo>
                                      <a:lnTo>
                                        <a:pt x="2" y="130"/>
                                      </a:lnTo>
                                      <a:lnTo>
                                        <a:pt x="0" y="124"/>
                                      </a:lnTo>
                                      <a:lnTo>
                                        <a:pt x="0" y="118"/>
                                      </a:lnTo>
                                      <a:lnTo>
                                        <a:pt x="4" y="112"/>
                                      </a:lnTo>
                                      <a:lnTo>
                                        <a:pt x="4" y="112"/>
                                      </a:lnTo>
                                      <a:lnTo>
                                        <a:pt x="6" y="104"/>
                                      </a:lnTo>
                                      <a:lnTo>
                                        <a:pt x="6" y="100"/>
                                      </a:lnTo>
                                      <a:lnTo>
                                        <a:pt x="8" y="94"/>
                                      </a:lnTo>
                                      <a:lnTo>
                                        <a:pt x="10" y="86"/>
                                      </a:lnTo>
                                      <a:lnTo>
                                        <a:pt x="10" y="86"/>
                                      </a:lnTo>
                                      <a:lnTo>
                                        <a:pt x="14" y="76"/>
                                      </a:lnTo>
                                      <a:lnTo>
                                        <a:pt x="16" y="68"/>
                                      </a:lnTo>
                                      <a:lnTo>
                                        <a:pt x="14" y="60"/>
                                      </a:lnTo>
                                      <a:lnTo>
                                        <a:pt x="12" y="54"/>
                                      </a:lnTo>
                                      <a:lnTo>
                                        <a:pt x="12" y="54"/>
                                      </a:lnTo>
                                      <a:lnTo>
                                        <a:pt x="12" y="48"/>
                                      </a:lnTo>
                                      <a:lnTo>
                                        <a:pt x="12" y="46"/>
                                      </a:lnTo>
                                      <a:lnTo>
                                        <a:pt x="12" y="44"/>
                                      </a:lnTo>
                                      <a:lnTo>
                                        <a:pt x="8" y="40"/>
                                      </a:lnTo>
                                      <a:lnTo>
                                        <a:pt x="8" y="4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6" name="Guatemala"/>
                                <p:cNvSpPr>
                                  <a:spLocks/>
                                </p:cNvSpPr>
                                <p:nvPr/>
                              </p:nvSpPr>
                              <p:spPr bwMode="auto">
                                <a:xfrm>
                                  <a:off x="2857040" y="3002455"/>
                                  <a:ext cx="127581" cy="157811"/>
                                </a:xfrm>
                                <a:custGeom>
                                  <a:avLst/>
                                  <a:gdLst/>
                                  <a:ahLst/>
                                  <a:cxnLst>
                                    <a:cxn ang="0">
                                      <a:pos x="36" y="104"/>
                                    </a:cxn>
                                    <a:cxn ang="0">
                                      <a:pos x="42" y="96"/>
                                    </a:cxn>
                                    <a:cxn ang="0">
                                      <a:pos x="48" y="92"/>
                                    </a:cxn>
                                    <a:cxn ang="0">
                                      <a:pos x="50" y="88"/>
                                    </a:cxn>
                                    <a:cxn ang="0">
                                      <a:pos x="54" y="88"/>
                                    </a:cxn>
                                    <a:cxn ang="0">
                                      <a:pos x="62" y="80"/>
                                    </a:cxn>
                                    <a:cxn ang="0">
                                      <a:pos x="64" y="76"/>
                                    </a:cxn>
                                    <a:cxn ang="0">
                                      <a:pos x="60" y="74"/>
                                    </a:cxn>
                                    <a:cxn ang="0">
                                      <a:pos x="64" y="70"/>
                                    </a:cxn>
                                    <a:cxn ang="0">
                                      <a:pos x="76" y="60"/>
                                    </a:cxn>
                                    <a:cxn ang="0">
                                      <a:pos x="84" y="48"/>
                                    </a:cxn>
                                    <a:cxn ang="0">
                                      <a:pos x="80" y="46"/>
                                    </a:cxn>
                                    <a:cxn ang="0">
                                      <a:pos x="76" y="46"/>
                                    </a:cxn>
                                    <a:cxn ang="0">
                                      <a:pos x="66" y="44"/>
                                    </a:cxn>
                                    <a:cxn ang="0">
                                      <a:pos x="38" y="0"/>
                                    </a:cxn>
                                    <a:cxn ang="0">
                                      <a:pos x="36" y="4"/>
                                    </a:cxn>
                                    <a:cxn ang="0">
                                      <a:pos x="40" y="10"/>
                                    </a:cxn>
                                    <a:cxn ang="0">
                                      <a:pos x="42" y="14"/>
                                    </a:cxn>
                                    <a:cxn ang="0">
                                      <a:pos x="36" y="18"/>
                                    </a:cxn>
                                    <a:cxn ang="0">
                                      <a:pos x="30" y="24"/>
                                    </a:cxn>
                                    <a:cxn ang="0">
                                      <a:pos x="32" y="26"/>
                                    </a:cxn>
                                    <a:cxn ang="0">
                                      <a:pos x="40" y="30"/>
                                    </a:cxn>
                                    <a:cxn ang="0">
                                      <a:pos x="40" y="32"/>
                                    </a:cxn>
                                    <a:cxn ang="0">
                                      <a:pos x="42" y="38"/>
                                    </a:cxn>
                                    <a:cxn ang="0">
                                      <a:pos x="44" y="44"/>
                                    </a:cxn>
                                    <a:cxn ang="0">
                                      <a:pos x="28" y="42"/>
                                    </a:cxn>
                                    <a:cxn ang="0">
                                      <a:pos x="16" y="46"/>
                                    </a:cxn>
                                    <a:cxn ang="0">
                                      <a:pos x="6" y="56"/>
                                    </a:cxn>
                                    <a:cxn ang="0">
                                      <a:pos x="0" y="80"/>
                                    </a:cxn>
                                    <a:cxn ang="0">
                                      <a:pos x="8" y="92"/>
                                    </a:cxn>
                                    <a:cxn ang="0">
                                      <a:pos x="24" y="102"/>
                                    </a:cxn>
                                    <a:cxn ang="0">
                                      <a:pos x="36" y="104"/>
                                    </a:cxn>
                                  </a:cxnLst>
                                  <a:rect l="0" t="0" r="r" b="b"/>
                                  <a:pathLst>
                                    <a:path w="84" h="104">
                                      <a:moveTo>
                                        <a:pt x="36" y="104"/>
                                      </a:moveTo>
                                      <a:lnTo>
                                        <a:pt x="36" y="104"/>
                                      </a:lnTo>
                                      <a:lnTo>
                                        <a:pt x="40" y="98"/>
                                      </a:lnTo>
                                      <a:lnTo>
                                        <a:pt x="42" y="96"/>
                                      </a:lnTo>
                                      <a:lnTo>
                                        <a:pt x="46" y="96"/>
                                      </a:lnTo>
                                      <a:lnTo>
                                        <a:pt x="48" y="92"/>
                                      </a:lnTo>
                                      <a:lnTo>
                                        <a:pt x="48" y="92"/>
                                      </a:lnTo>
                                      <a:lnTo>
                                        <a:pt x="50" y="88"/>
                                      </a:lnTo>
                                      <a:lnTo>
                                        <a:pt x="54" y="88"/>
                                      </a:lnTo>
                                      <a:lnTo>
                                        <a:pt x="54" y="88"/>
                                      </a:lnTo>
                                      <a:lnTo>
                                        <a:pt x="56" y="84"/>
                                      </a:lnTo>
                                      <a:lnTo>
                                        <a:pt x="62" y="80"/>
                                      </a:lnTo>
                                      <a:lnTo>
                                        <a:pt x="62" y="80"/>
                                      </a:lnTo>
                                      <a:lnTo>
                                        <a:pt x="64" y="76"/>
                                      </a:lnTo>
                                      <a:lnTo>
                                        <a:pt x="62" y="76"/>
                                      </a:lnTo>
                                      <a:lnTo>
                                        <a:pt x="60" y="74"/>
                                      </a:lnTo>
                                      <a:lnTo>
                                        <a:pt x="64" y="70"/>
                                      </a:lnTo>
                                      <a:lnTo>
                                        <a:pt x="64" y="70"/>
                                      </a:lnTo>
                                      <a:lnTo>
                                        <a:pt x="70" y="64"/>
                                      </a:lnTo>
                                      <a:lnTo>
                                        <a:pt x="76" y="60"/>
                                      </a:lnTo>
                                      <a:lnTo>
                                        <a:pt x="80" y="56"/>
                                      </a:lnTo>
                                      <a:lnTo>
                                        <a:pt x="84" y="48"/>
                                      </a:lnTo>
                                      <a:lnTo>
                                        <a:pt x="84" y="48"/>
                                      </a:lnTo>
                                      <a:lnTo>
                                        <a:pt x="80" y="46"/>
                                      </a:lnTo>
                                      <a:lnTo>
                                        <a:pt x="78" y="46"/>
                                      </a:lnTo>
                                      <a:lnTo>
                                        <a:pt x="76" y="46"/>
                                      </a:lnTo>
                                      <a:lnTo>
                                        <a:pt x="76" y="44"/>
                                      </a:lnTo>
                                      <a:lnTo>
                                        <a:pt x="66" y="44"/>
                                      </a:lnTo>
                                      <a:lnTo>
                                        <a:pt x="72" y="0"/>
                                      </a:lnTo>
                                      <a:lnTo>
                                        <a:pt x="38" y="0"/>
                                      </a:lnTo>
                                      <a:lnTo>
                                        <a:pt x="38" y="0"/>
                                      </a:lnTo>
                                      <a:lnTo>
                                        <a:pt x="36" y="4"/>
                                      </a:lnTo>
                                      <a:lnTo>
                                        <a:pt x="38" y="8"/>
                                      </a:lnTo>
                                      <a:lnTo>
                                        <a:pt x="40" y="10"/>
                                      </a:lnTo>
                                      <a:lnTo>
                                        <a:pt x="42" y="14"/>
                                      </a:lnTo>
                                      <a:lnTo>
                                        <a:pt x="42" y="14"/>
                                      </a:lnTo>
                                      <a:lnTo>
                                        <a:pt x="40" y="18"/>
                                      </a:lnTo>
                                      <a:lnTo>
                                        <a:pt x="36" y="18"/>
                                      </a:lnTo>
                                      <a:lnTo>
                                        <a:pt x="32" y="20"/>
                                      </a:lnTo>
                                      <a:lnTo>
                                        <a:pt x="30" y="24"/>
                                      </a:lnTo>
                                      <a:lnTo>
                                        <a:pt x="30" y="24"/>
                                      </a:lnTo>
                                      <a:lnTo>
                                        <a:pt x="32" y="26"/>
                                      </a:lnTo>
                                      <a:lnTo>
                                        <a:pt x="36" y="28"/>
                                      </a:lnTo>
                                      <a:lnTo>
                                        <a:pt x="40" y="30"/>
                                      </a:lnTo>
                                      <a:lnTo>
                                        <a:pt x="40" y="32"/>
                                      </a:lnTo>
                                      <a:lnTo>
                                        <a:pt x="40" y="32"/>
                                      </a:lnTo>
                                      <a:lnTo>
                                        <a:pt x="40" y="36"/>
                                      </a:lnTo>
                                      <a:lnTo>
                                        <a:pt x="42" y="38"/>
                                      </a:lnTo>
                                      <a:lnTo>
                                        <a:pt x="44" y="40"/>
                                      </a:lnTo>
                                      <a:lnTo>
                                        <a:pt x="44" y="44"/>
                                      </a:lnTo>
                                      <a:lnTo>
                                        <a:pt x="44" y="44"/>
                                      </a:lnTo>
                                      <a:lnTo>
                                        <a:pt x="28" y="42"/>
                                      </a:lnTo>
                                      <a:lnTo>
                                        <a:pt x="22" y="44"/>
                                      </a:lnTo>
                                      <a:lnTo>
                                        <a:pt x="16" y="46"/>
                                      </a:lnTo>
                                      <a:lnTo>
                                        <a:pt x="12" y="50"/>
                                      </a:lnTo>
                                      <a:lnTo>
                                        <a:pt x="6" y="56"/>
                                      </a:lnTo>
                                      <a:lnTo>
                                        <a:pt x="4" y="66"/>
                                      </a:lnTo>
                                      <a:lnTo>
                                        <a:pt x="0" y="80"/>
                                      </a:lnTo>
                                      <a:lnTo>
                                        <a:pt x="0" y="80"/>
                                      </a:lnTo>
                                      <a:lnTo>
                                        <a:pt x="8" y="92"/>
                                      </a:lnTo>
                                      <a:lnTo>
                                        <a:pt x="16" y="98"/>
                                      </a:lnTo>
                                      <a:lnTo>
                                        <a:pt x="24" y="102"/>
                                      </a:lnTo>
                                      <a:lnTo>
                                        <a:pt x="36" y="104"/>
                                      </a:lnTo>
                                      <a:lnTo>
                                        <a:pt x="36" y="104"/>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8" name="Guinea"/>
                                <p:cNvSpPr>
                                  <a:spLocks/>
                                </p:cNvSpPr>
                                <p:nvPr/>
                              </p:nvSpPr>
                              <p:spPr bwMode="auto">
                                <a:xfrm>
                                  <a:off x="5304516" y="3199719"/>
                                  <a:ext cx="233898" cy="203334"/>
                                </a:xfrm>
                                <a:custGeom>
                                  <a:avLst/>
                                  <a:gdLst/>
                                  <a:ahLst/>
                                  <a:cxnLst>
                                    <a:cxn ang="0">
                                      <a:pos x="134" y="126"/>
                                    </a:cxn>
                                    <a:cxn ang="0">
                                      <a:pos x="126" y="134"/>
                                    </a:cxn>
                                    <a:cxn ang="0">
                                      <a:pos x="120" y="130"/>
                                    </a:cxn>
                                    <a:cxn ang="0">
                                      <a:pos x="114" y="108"/>
                                    </a:cxn>
                                    <a:cxn ang="0">
                                      <a:pos x="96" y="108"/>
                                    </a:cxn>
                                    <a:cxn ang="0">
                                      <a:pos x="94" y="92"/>
                                    </a:cxn>
                                    <a:cxn ang="0">
                                      <a:pos x="92" y="88"/>
                                    </a:cxn>
                                    <a:cxn ang="0">
                                      <a:pos x="84" y="84"/>
                                    </a:cxn>
                                    <a:cxn ang="0">
                                      <a:pos x="82" y="74"/>
                                    </a:cxn>
                                    <a:cxn ang="0">
                                      <a:pos x="76" y="68"/>
                                    </a:cxn>
                                    <a:cxn ang="0">
                                      <a:pos x="62" y="68"/>
                                    </a:cxn>
                                    <a:cxn ang="0">
                                      <a:pos x="50" y="72"/>
                                    </a:cxn>
                                    <a:cxn ang="0">
                                      <a:pos x="44" y="84"/>
                                    </a:cxn>
                                    <a:cxn ang="0">
                                      <a:pos x="36" y="92"/>
                                    </a:cxn>
                                    <a:cxn ang="0">
                                      <a:pos x="38" y="88"/>
                                    </a:cxn>
                                    <a:cxn ang="0">
                                      <a:pos x="28" y="78"/>
                                    </a:cxn>
                                    <a:cxn ang="0">
                                      <a:pos x="26" y="70"/>
                                    </a:cxn>
                                    <a:cxn ang="0">
                                      <a:pos x="16" y="58"/>
                                    </a:cxn>
                                    <a:cxn ang="0">
                                      <a:pos x="10" y="52"/>
                                    </a:cxn>
                                    <a:cxn ang="0">
                                      <a:pos x="2" y="44"/>
                                    </a:cxn>
                                    <a:cxn ang="0">
                                      <a:pos x="2" y="32"/>
                                    </a:cxn>
                                    <a:cxn ang="0">
                                      <a:pos x="14" y="24"/>
                                    </a:cxn>
                                    <a:cxn ang="0">
                                      <a:pos x="24" y="20"/>
                                    </a:cxn>
                                    <a:cxn ang="0">
                                      <a:pos x="22" y="10"/>
                                    </a:cxn>
                                    <a:cxn ang="0">
                                      <a:pos x="26" y="0"/>
                                    </a:cxn>
                                    <a:cxn ang="0">
                                      <a:pos x="44" y="2"/>
                                    </a:cxn>
                                    <a:cxn ang="0">
                                      <a:pos x="62" y="4"/>
                                    </a:cxn>
                                    <a:cxn ang="0">
                                      <a:pos x="76" y="8"/>
                                    </a:cxn>
                                    <a:cxn ang="0">
                                      <a:pos x="84" y="10"/>
                                    </a:cxn>
                                    <a:cxn ang="0">
                                      <a:pos x="90" y="8"/>
                                    </a:cxn>
                                    <a:cxn ang="0">
                                      <a:pos x="102" y="10"/>
                                    </a:cxn>
                                    <a:cxn ang="0">
                                      <a:pos x="108" y="10"/>
                                    </a:cxn>
                                    <a:cxn ang="0">
                                      <a:pos x="116" y="4"/>
                                    </a:cxn>
                                    <a:cxn ang="0">
                                      <a:pos x="126" y="6"/>
                                    </a:cxn>
                                    <a:cxn ang="0">
                                      <a:pos x="130" y="14"/>
                                    </a:cxn>
                                    <a:cxn ang="0">
                                      <a:pos x="134" y="24"/>
                                    </a:cxn>
                                    <a:cxn ang="0">
                                      <a:pos x="132" y="38"/>
                                    </a:cxn>
                                    <a:cxn ang="0">
                                      <a:pos x="140" y="42"/>
                                    </a:cxn>
                                    <a:cxn ang="0">
                                      <a:pos x="148" y="54"/>
                                    </a:cxn>
                                    <a:cxn ang="0">
                                      <a:pos x="150" y="58"/>
                                    </a:cxn>
                                    <a:cxn ang="0">
                                      <a:pos x="144" y="74"/>
                                    </a:cxn>
                                    <a:cxn ang="0">
                                      <a:pos x="148" y="76"/>
                                    </a:cxn>
                                    <a:cxn ang="0">
                                      <a:pos x="154" y="80"/>
                                    </a:cxn>
                                    <a:cxn ang="0">
                                      <a:pos x="152" y="88"/>
                                    </a:cxn>
                                    <a:cxn ang="0">
                                      <a:pos x="154" y="98"/>
                                    </a:cxn>
                                    <a:cxn ang="0">
                                      <a:pos x="154" y="106"/>
                                    </a:cxn>
                                    <a:cxn ang="0">
                                      <a:pos x="142" y="110"/>
                                    </a:cxn>
                                    <a:cxn ang="0">
                                      <a:pos x="146" y="116"/>
                                    </a:cxn>
                                    <a:cxn ang="0">
                                      <a:pos x="142" y="124"/>
                                    </a:cxn>
                                    <a:cxn ang="0">
                                      <a:pos x="138" y="130"/>
                                    </a:cxn>
                                  </a:cxnLst>
                                  <a:rect l="0" t="0" r="r" b="b"/>
                                  <a:pathLst>
                                    <a:path w="154" h="134">
                                      <a:moveTo>
                                        <a:pt x="138" y="130"/>
                                      </a:moveTo>
                                      <a:lnTo>
                                        <a:pt x="138" y="130"/>
                                      </a:lnTo>
                                      <a:lnTo>
                                        <a:pt x="136" y="128"/>
                                      </a:lnTo>
                                      <a:lnTo>
                                        <a:pt x="134" y="126"/>
                                      </a:lnTo>
                                      <a:lnTo>
                                        <a:pt x="132" y="130"/>
                                      </a:lnTo>
                                      <a:lnTo>
                                        <a:pt x="132" y="130"/>
                                      </a:lnTo>
                                      <a:lnTo>
                                        <a:pt x="130" y="134"/>
                                      </a:lnTo>
                                      <a:lnTo>
                                        <a:pt x="126" y="134"/>
                                      </a:lnTo>
                                      <a:lnTo>
                                        <a:pt x="122" y="134"/>
                                      </a:lnTo>
                                      <a:lnTo>
                                        <a:pt x="122" y="134"/>
                                      </a:lnTo>
                                      <a:lnTo>
                                        <a:pt x="120" y="132"/>
                                      </a:lnTo>
                                      <a:lnTo>
                                        <a:pt x="120" y="130"/>
                                      </a:lnTo>
                                      <a:lnTo>
                                        <a:pt x="122" y="126"/>
                                      </a:lnTo>
                                      <a:lnTo>
                                        <a:pt x="118" y="116"/>
                                      </a:lnTo>
                                      <a:lnTo>
                                        <a:pt x="118" y="116"/>
                                      </a:lnTo>
                                      <a:lnTo>
                                        <a:pt x="114" y="108"/>
                                      </a:lnTo>
                                      <a:lnTo>
                                        <a:pt x="110" y="104"/>
                                      </a:lnTo>
                                      <a:lnTo>
                                        <a:pt x="104" y="104"/>
                                      </a:lnTo>
                                      <a:lnTo>
                                        <a:pt x="96" y="108"/>
                                      </a:lnTo>
                                      <a:lnTo>
                                        <a:pt x="96" y="108"/>
                                      </a:lnTo>
                                      <a:lnTo>
                                        <a:pt x="94" y="102"/>
                                      </a:lnTo>
                                      <a:lnTo>
                                        <a:pt x="94" y="98"/>
                                      </a:lnTo>
                                      <a:lnTo>
                                        <a:pt x="94" y="96"/>
                                      </a:lnTo>
                                      <a:lnTo>
                                        <a:pt x="94" y="92"/>
                                      </a:lnTo>
                                      <a:lnTo>
                                        <a:pt x="94" y="92"/>
                                      </a:lnTo>
                                      <a:lnTo>
                                        <a:pt x="92" y="90"/>
                                      </a:lnTo>
                                      <a:lnTo>
                                        <a:pt x="94" y="90"/>
                                      </a:lnTo>
                                      <a:lnTo>
                                        <a:pt x="92" y="88"/>
                                      </a:lnTo>
                                      <a:lnTo>
                                        <a:pt x="88" y="86"/>
                                      </a:lnTo>
                                      <a:lnTo>
                                        <a:pt x="88" y="86"/>
                                      </a:lnTo>
                                      <a:lnTo>
                                        <a:pt x="86" y="84"/>
                                      </a:lnTo>
                                      <a:lnTo>
                                        <a:pt x="84" y="84"/>
                                      </a:lnTo>
                                      <a:lnTo>
                                        <a:pt x="86" y="80"/>
                                      </a:lnTo>
                                      <a:lnTo>
                                        <a:pt x="86" y="76"/>
                                      </a:lnTo>
                                      <a:lnTo>
                                        <a:pt x="86" y="74"/>
                                      </a:lnTo>
                                      <a:lnTo>
                                        <a:pt x="82" y="74"/>
                                      </a:lnTo>
                                      <a:lnTo>
                                        <a:pt x="82" y="74"/>
                                      </a:lnTo>
                                      <a:lnTo>
                                        <a:pt x="80" y="72"/>
                                      </a:lnTo>
                                      <a:lnTo>
                                        <a:pt x="78" y="70"/>
                                      </a:lnTo>
                                      <a:lnTo>
                                        <a:pt x="76" y="68"/>
                                      </a:lnTo>
                                      <a:lnTo>
                                        <a:pt x="72" y="68"/>
                                      </a:lnTo>
                                      <a:lnTo>
                                        <a:pt x="72" y="68"/>
                                      </a:lnTo>
                                      <a:lnTo>
                                        <a:pt x="66" y="66"/>
                                      </a:lnTo>
                                      <a:lnTo>
                                        <a:pt x="62" y="68"/>
                                      </a:lnTo>
                                      <a:lnTo>
                                        <a:pt x="58" y="70"/>
                                      </a:lnTo>
                                      <a:lnTo>
                                        <a:pt x="54" y="72"/>
                                      </a:lnTo>
                                      <a:lnTo>
                                        <a:pt x="54" y="72"/>
                                      </a:lnTo>
                                      <a:lnTo>
                                        <a:pt x="50" y="72"/>
                                      </a:lnTo>
                                      <a:lnTo>
                                        <a:pt x="48" y="76"/>
                                      </a:lnTo>
                                      <a:lnTo>
                                        <a:pt x="46" y="80"/>
                                      </a:lnTo>
                                      <a:lnTo>
                                        <a:pt x="44" y="84"/>
                                      </a:lnTo>
                                      <a:lnTo>
                                        <a:pt x="44" y="84"/>
                                      </a:lnTo>
                                      <a:lnTo>
                                        <a:pt x="42" y="86"/>
                                      </a:lnTo>
                                      <a:lnTo>
                                        <a:pt x="40" y="88"/>
                                      </a:lnTo>
                                      <a:lnTo>
                                        <a:pt x="40" y="90"/>
                                      </a:lnTo>
                                      <a:lnTo>
                                        <a:pt x="36" y="92"/>
                                      </a:lnTo>
                                      <a:lnTo>
                                        <a:pt x="36" y="92"/>
                                      </a:lnTo>
                                      <a:lnTo>
                                        <a:pt x="34" y="92"/>
                                      </a:lnTo>
                                      <a:lnTo>
                                        <a:pt x="34" y="90"/>
                                      </a:lnTo>
                                      <a:lnTo>
                                        <a:pt x="38" y="88"/>
                                      </a:lnTo>
                                      <a:lnTo>
                                        <a:pt x="38" y="86"/>
                                      </a:lnTo>
                                      <a:lnTo>
                                        <a:pt x="38" y="86"/>
                                      </a:lnTo>
                                      <a:lnTo>
                                        <a:pt x="34" y="84"/>
                                      </a:lnTo>
                                      <a:lnTo>
                                        <a:pt x="28" y="78"/>
                                      </a:lnTo>
                                      <a:lnTo>
                                        <a:pt x="24" y="74"/>
                                      </a:lnTo>
                                      <a:lnTo>
                                        <a:pt x="24" y="72"/>
                                      </a:lnTo>
                                      <a:lnTo>
                                        <a:pt x="26" y="70"/>
                                      </a:lnTo>
                                      <a:lnTo>
                                        <a:pt x="26" y="70"/>
                                      </a:lnTo>
                                      <a:lnTo>
                                        <a:pt x="20" y="70"/>
                                      </a:lnTo>
                                      <a:lnTo>
                                        <a:pt x="16" y="66"/>
                                      </a:lnTo>
                                      <a:lnTo>
                                        <a:pt x="16" y="62"/>
                                      </a:lnTo>
                                      <a:lnTo>
                                        <a:pt x="16" y="58"/>
                                      </a:lnTo>
                                      <a:lnTo>
                                        <a:pt x="16" y="58"/>
                                      </a:lnTo>
                                      <a:lnTo>
                                        <a:pt x="16" y="56"/>
                                      </a:lnTo>
                                      <a:lnTo>
                                        <a:pt x="12" y="54"/>
                                      </a:lnTo>
                                      <a:lnTo>
                                        <a:pt x="10" y="52"/>
                                      </a:lnTo>
                                      <a:lnTo>
                                        <a:pt x="10" y="48"/>
                                      </a:lnTo>
                                      <a:lnTo>
                                        <a:pt x="10" y="48"/>
                                      </a:lnTo>
                                      <a:lnTo>
                                        <a:pt x="6" y="48"/>
                                      </a:lnTo>
                                      <a:lnTo>
                                        <a:pt x="2" y="44"/>
                                      </a:lnTo>
                                      <a:lnTo>
                                        <a:pt x="0" y="40"/>
                                      </a:lnTo>
                                      <a:lnTo>
                                        <a:pt x="0" y="36"/>
                                      </a:lnTo>
                                      <a:lnTo>
                                        <a:pt x="0" y="36"/>
                                      </a:lnTo>
                                      <a:lnTo>
                                        <a:pt x="2" y="32"/>
                                      </a:lnTo>
                                      <a:lnTo>
                                        <a:pt x="6" y="30"/>
                                      </a:lnTo>
                                      <a:lnTo>
                                        <a:pt x="6" y="30"/>
                                      </a:lnTo>
                                      <a:lnTo>
                                        <a:pt x="10" y="26"/>
                                      </a:lnTo>
                                      <a:lnTo>
                                        <a:pt x="14" y="24"/>
                                      </a:lnTo>
                                      <a:lnTo>
                                        <a:pt x="16" y="24"/>
                                      </a:lnTo>
                                      <a:lnTo>
                                        <a:pt x="16" y="24"/>
                                      </a:lnTo>
                                      <a:lnTo>
                                        <a:pt x="20" y="24"/>
                                      </a:lnTo>
                                      <a:lnTo>
                                        <a:pt x="24" y="20"/>
                                      </a:lnTo>
                                      <a:lnTo>
                                        <a:pt x="26" y="16"/>
                                      </a:lnTo>
                                      <a:lnTo>
                                        <a:pt x="24" y="12"/>
                                      </a:lnTo>
                                      <a:lnTo>
                                        <a:pt x="24" y="12"/>
                                      </a:lnTo>
                                      <a:lnTo>
                                        <a:pt x="22" y="10"/>
                                      </a:lnTo>
                                      <a:lnTo>
                                        <a:pt x="24" y="8"/>
                                      </a:lnTo>
                                      <a:lnTo>
                                        <a:pt x="26" y="6"/>
                                      </a:lnTo>
                                      <a:lnTo>
                                        <a:pt x="26" y="0"/>
                                      </a:lnTo>
                                      <a:lnTo>
                                        <a:pt x="26" y="0"/>
                                      </a:lnTo>
                                      <a:lnTo>
                                        <a:pt x="32" y="0"/>
                                      </a:lnTo>
                                      <a:lnTo>
                                        <a:pt x="36" y="2"/>
                                      </a:lnTo>
                                      <a:lnTo>
                                        <a:pt x="40" y="2"/>
                                      </a:lnTo>
                                      <a:lnTo>
                                        <a:pt x="44" y="2"/>
                                      </a:lnTo>
                                      <a:lnTo>
                                        <a:pt x="44" y="2"/>
                                      </a:lnTo>
                                      <a:lnTo>
                                        <a:pt x="50" y="2"/>
                                      </a:lnTo>
                                      <a:lnTo>
                                        <a:pt x="56" y="4"/>
                                      </a:lnTo>
                                      <a:lnTo>
                                        <a:pt x="62" y="4"/>
                                      </a:lnTo>
                                      <a:lnTo>
                                        <a:pt x="74" y="4"/>
                                      </a:lnTo>
                                      <a:lnTo>
                                        <a:pt x="74" y="4"/>
                                      </a:lnTo>
                                      <a:lnTo>
                                        <a:pt x="74" y="6"/>
                                      </a:lnTo>
                                      <a:lnTo>
                                        <a:pt x="76" y="8"/>
                                      </a:lnTo>
                                      <a:lnTo>
                                        <a:pt x="80" y="8"/>
                                      </a:lnTo>
                                      <a:lnTo>
                                        <a:pt x="82" y="6"/>
                                      </a:lnTo>
                                      <a:lnTo>
                                        <a:pt x="82" y="6"/>
                                      </a:lnTo>
                                      <a:lnTo>
                                        <a:pt x="84" y="10"/>
                                      </a:lnTo>
                                      <a:lnTo>
                                        <a:pt x="86" y="10"/>
                                      </a:lnTo>
                                      <a:lnTo>
                                        <a:pt x="88" y="8"/>
                                      </a:lnTo>
                                      <a:lnTo>
                                        <a:pt x="90" y="8"/>
                                      </a:lnTo>
                                      <a:lnTo>
                                        <a:pt x="90" y="8"/>
                                      </a:lnTo>
                                      <a:lnTo>
                                        <a:pt x="94" y="8"/>
                                      </a:lnTo>
                                      <a:lnTo>
                                        <a:pt x="96" y="10"/>
                                      </a:lnTo>
                                      <a:lnTo>
                                        <a:pt x="98" y="12"/>
                                      </a:lnTo>
                                      <a:lnTo>
                                        <a:pt x="102" y="10"/>
                                      </a:lnTo>
                                      <a:lnTo>
                                        <a:pt x="102" y="10"/>
                                      </a:lnTo>
                                      <a:lnTo>
                                        <a:pt x="104" y="8"/>
                                      </a:lnTo>
                                      <a:lnTo>
                                        <a:pt x="106" y="10"/>
                                      </a:lnTo>
                                      <a:lnTo>
                                        <a:pt x="108" y="10"/>
                                      </a:lnTo>
                                      <a:lnTo>
                                        <a:pt x="114" y="8"/>
                                      </a:lnTo>
                                      <a:lnTo>
                                        <a:pt x="114" y="8"/>
                                      </a:lnTo>
                                      <a:lnTo>
                                        <a:pt x="114" y="6"/>
                                      </a:lnTo>
                                      <a:lnTo>
                                        <a:pt x="116" y="4"/>
                                      </a:lnTo>
                                      <a:lnTo>
                                        <a:pt x="118" y="2"/>
                                      </a:lnTo>
                                      <a:lnTo>
                                        <a:pt x="122" y="4"/>
                                      </a:lnTo>
                                      <a:lnTo>
                                        <a:pt x="122" y="4"/>
                                      </a:lnTo>
                                      <a:lnTo>
                                        <a:pt x="126" y="6"/>
                                      </a:lnTo>
                                      <a:lnTo>
                                        <a:pt x="126" y="8"/>
                                      </a:lnTo>
                                      <a:lnTo>
                                        <a:pt x="126" y="10"/>
                                      </a:lnTo>
                                      <a:lnTo>
                                        <a:pt x="130" y="14"/>
                                      </a:lnTo>
                                      <a:lnTo>
                                        <a:pt x="130" y="14"/>
                                      </a:lnTo>
                                      <a:lnTo>
                                        <a:pt x="132" y="18"/>
                                      </a:lnTo>
                                      <a:lnTo>
                                        <a:pt x="132" y="20"/>
                                      </a:lnTo>
                                      <a:lnTo>
                                        <a:pt x="132" y="22"/>
                                      </a:lnTo>
                                      <a:lnTo>
                                        <a:pt x="134" y="24"/>
                                      </a:lnTo>
                                      <a:lnTo>
                                        <a:pt x="134" y="24"/>
                                      </a:lnTo>
                                      <a:lnTo>
                                        <a:pt x="138" y="26"/>
                                      </a:lnTo>
                                      <a:lnTo>
                                        <a:pt x="138" y="28"/>
                                      </a:lnTo>
                                      <a:lnTo>
                                        <a:pt x="132" y="38"/>
                                      </a:lnTo>
                                      <a:lnTo>
                                        <a:pt x="132" y="38"/>
                                      </a:lnTo>
                                      <a:lnTo>
                                        <a:pt x="136" y="36"/>
                                      </a:lnTo>
                                      <a:lnTo>
                                        <a:pt x="140" y="38"/>
                                      </a:lnTo>
                                      <a:lnTo>
                                        <a:pt x="140" y="42"/>
                                      </a:lnTo>
                                      <a:lnTo>
                                        <a:pt x="142" y="48"/>
                                      </a:lnTo>
                                      <a:lnTo>
                                        <a:pt x="142" y="48"/>
                                      </a:lnTo>
                                      <a:lnTo>
                                        <a:pt x="144" y="52"/>
                                      </a:lnTo>
                                      <a:lnTo>
                                        <a:pt x="148" y="54"/>
                                      </a:lnTo>
                                      <a:lnTo>
                                        <a:pt x="150" y="56"/>
                                      </a:lnTo>
                                      <a:lnTo>
                                        <a:pt x="152" y="58"/>
                                      </a:lnTo>
                                      <a:lnTo>
                                        <a:pt x="152" y="58"/>
                                      </a:lnTo>
                                      <a:lnTo>
                                        <a:pt x="150" y="58"/>
                                      </a:lnTo>
                                      <a:lnTo>
                                        <a:pt x="148" y="62"/>
                                      </a:lnTo>
                                      <a:lnTo>
                                        <a:pt x="144" y="68"/>
                                      </a:lnTo>
                                      <a:lnTo>
                                        <a:pt x="144" y="68"/>
                                      </a:lnTo>
                                      <a:lnTo>
                                        <a:pt x="144" y="74"/>
                                      </a:lnTo>
                                      <a:lnTo>
                                        <a:pt x="144" y="74"/>
                                      </a:lnTo>
                                      <a:lnTo>
                                        <a:pt x="146" y="74"/>
                                      </a:lnTo>
                                      <a:lnTo>
                                        <a:pt x="148" y="76"/>
                                      </a:lnTo>
                                      <a:lnTo>
                                        <a:pt x="148" y="76"/>
                                      </a:lnTo>
                                      <a:lnTo>
                                        <a:pt x="150" y="80"/>
                                      </a:lnTo>
                                      <a:lnTo>
                                        <a:pt x="150" y="78"/>
                                      </a:lnTo>
                                      <a:lnTo>
                                        <a:pt x="152" y="78"/>
                                      </a:lnTo>
                                      <a:lnTo>
                                        <a:pt x="154" y="80"/>
                                      </a:lnTo>
                                      <a:lnTo>
                                        <a:pt x="154" y="80"/>
                                      </a:lnTo>
                                      <a:lnTo>
                                        <a:pt x="154" y="82"/>
                                      </a:lnTo>
                                      <a:lnTo>
                                        <a:pt x="154" y="84"/>
                                      </a:lnTo>
                                      <a:lnTo>
                                        <a:pt x="152" y="88"/>
                                      </a:lnTo>
                                      <a:lnTo>
                                        <a:pt x="154" y="92"/>
                                      </a:lnTo>
                                      <a:lnTo>
                                        <a:pt x="154" y="92"/>
                                      </a:lnTo>
                                      <a:lnTo>
                                        <a:pt x="154" y="94"/>
                                      </a:lnTo>
                                      <a:lnTo>
                                        <a:pt x="154" y="98"/>
                                      </a:lnTo>
                                      <a:lnTo>
                                        <a:pt x="152" y="100"/>
                                      </a:lnTo>
                                      <a:lnTo>
                                        <a:pt x="154" y="104"/>
                                      </a:lnTo>
                                      <a:lnTo>
                                        <a:pt x="154" y="104"/>
                                      </a:lnTo>
                                      <a:lnTo>
                                        <a:pt x="154" y="106"/>
                                      </a:lnTo>
                                      <a:lnTo>
                                        <a:pt x="154" y="108"/>
                                      </a:lnTo>
                                      <a:lnTo>
                                        <a:pt x="148" y="106"/>
                                      </a:lnTo>
                                      <a:lnTo>
                                        <a:pt x="144" y="108"/>
                                      </a:lnTo>
                                      <a:lnTo>
                                        <a:pt x="142" y="110"/>
                                      </a:lnTo>
                                      <a:lnTo>
                                        <a:pt x="142" y="112"/>
                                      </a:lnTo>
                                      <a:lnTo>
                                        <a:pt x="142" y="112"/>
                                      </a:lnTo>
                                      <a:lnTo>
                                        <a:pt x="144" y="116"/>
                                      </a:lnTo>
                                      <a:lnTo>
                                        <a:pt x="146" y="116"/>
                                      </a:lnTo>
                                      <a:lnTo>
                                        <a:pt x="148" y="118"/>
                                      </a:lnTo>
                                      <a:lnTo>
                                        <a:pt x="146" y="120"/>
                                      </a:lnTo>
                                      <a:lnTo>
                                        <a:pt x="146" y="120"/>
                                      </a:lnTo>
                                      <a:lnTo>
                                        <a:pt x="142" y="124"/>
                                      </a:lnTo>
                                      <a:lnTo>
                                        <a:pt x="142" y="126"/>
                                      </a:lnTo>
                                      <a:lnTo>
                                        <a:pt x="142" y="128"/>
                                      </a:lnTo>
                                      <a:lnTo>
                                        <a:pt x="138" y="130"/>
                                      </a:lnTo>
                                      <a:lnTo>
                                        <a:pt x="138" y="13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9" name="Haiti"/>
                                <p:cNvSpPr>
                                  <a:spLocks/>
                                </p:cNvSpPr>
                                <p:nvPr/>
                              </p:nvSpPr>
                              <p:spPr bwMode="auto">
                                <a:xfrm>
                                  <a:off x="3440575" y="2914444"/>
                                  <a:ext cx="88091" cy="66766"/>
                                </a:xfrm>
                                <a:custGeom>
                                  <a:avLst/>
                                  <a:gdLst/>
                                  <a:ahLst/>
                                  <a:cxnLst>
                                    <a:cxn ang="0">
                                      <a:pos x="52" y="44"/>
                                    </a:cxn>
                                    <a:cxn ang="0">
                                      <a:pos x="46" y="42"/>
                                    </a:cxn>
                                    <a:cxn ang="0">
                                      <a:pos x="30" y="42"/>
                                    </a:cxn>
                                    <a:cxn ang="0">
                                      <a:pos x="24" y="42"/>
                                    </a:cxn>
                                    <a:cxn ang="0">
                                      <a:pos x="20" y="40"/>
                                    </a:cxn>
                                    <a:cxn ang="0">
                                      <a:pos x="12" y="42"/>
                                    </a:cxn>
                                    <a:cxn ang="0">
                                      <a:pos x="10" y="44"/>
                                    </a:cxn>
                                    <a:cxn ang="0">
                                      <a:pos x="8" y="42"/>
                                    </a:cxn>
                                    <a:cxn ang="0">
                                      <a:pos x="0" y="40"/>
                                    </a:cxn>
                                    <a:cxn ang="0">
                                      <a:pos x="0" y="38"/>
                                    </a:cxn>
                                    <a:cxn ang="0">
                                      <a:pos x="0" y="36"/>
                                    </a:cxn>
                                    <a:cxn ang="0">
                                      <a:pos x="0" y="34"/>
                                    </a:cxn>
                                    <a:cxn ang="0">
                                      <a:pos x="2" y="32"/>
                                    </a:cxn>
                                    <a:cxn ang="0">
                                      <a:pos x="8" y="32"/>
                                    </a:cxn>
                                    <a:cxn ang="0">
                                      <a:pos x="16" y="32"/>
                                    </a:cxn>
                                    <a:cxn ang="0">
                                      <a:pos x="18" y="32"/>
                                    </a:cxn>
                                    <a:cxn ang="0">
                                      <a:pos x="24" y="32"/>
                                    </a:cxn>
                                    <a:cxn ang="0">
                                      <a:pos x="32" y="30"/>
                                    </a:cxn>
                                    <a:cxn ang="0">
                                      <a:pos x="38" y="30"/>
                                    </a:cxn>
                                    <a:cxn ang="0">
                                      <a:pos x="42" y="30"/>
                                    </a:cxn>
                                    <a:cxn ang="0">
                                      <a:pos x="34" y="26"/>
                                    </a:cxn>
                                    <a:cxn ang="0">
                                      <a:pos x="34" y="22"/>
                                    </a:cxn>
                                    <a:cxn ang="0">
                                      <a:pos x="32" y="20"/>
                                    </a:cxn>
                                    <a:cxn ang="0">
                                      <a:pos x="30" y="18"/>
                                    </a:cxn>
                                    <a:cxn ang="0">
                                      <a:pos x="32" y="14"/>
                                    </a:cxn>
                                    <a:cxn ang="0">
                                      <a:pos x="30" y="12"/>
                                    </a:cxn>
                                    <a:cxn ang="0">
                                      <a:pos x="32" y="10"/>
                                    </a:cxn>
                                    <a:cxn ang="0">
                                      <a:pos x="30" y="8"/>
                                    </a:cxn>
                                    <a:cxn ang="0">
                                      <a:pos x="26" y="6"/>
                                    </a:cxn>
                                    <a:cxn ang="0">
                                      <a:pos x="22" y="0"/>
                                    </a:cxn>
                                    <a:cxn ang="0">
                                      <a:pos x="26" y="0"/>
                                    </a:cxn>
                                    <a:cxn ang="0">
                                      <a:pos x="32" y="0"/>
                                    </a:cxn>
                                    <a:cxn ang="0">
                                      <a:pos x="38" y="0"/>
                                    </a:cxn>
                                    <a:cxn ang="0">
                                      <a:pos x="46" y="2"/>
                                    </a:cxn>
                                    <a:cxn ang="0">
                                      <a:pos x="46" y="2"/>
                                    </a:cxn>
                                    <a:cxn ang="0">
                                      <a:pos x="50" y="2"/>
                                    </a:cxn>
                                    <a:cxn ang="0">
                                      <a:pos x="56" y="2"/>
                                    </a:cxn>
                                    <a:cxn ang="0">
                                      <a:pos x="58" y="6"/>
                                    </a:cxn>
                                    <a:cxn ang="0">
                                      <a:pos x="56" y="10"/>
                                    </a:cxn>
                                    <a:cxn ang="0">
                                      <a:pos x="56" y="14"/>
                                    </a:cxn>
                                    <a:cxn ang="0">
                                      <a:pos x="56" y="18"/>
                                    </a:cxn>
                                    <a:cxn ang="0">
                                      <a:pos x="54" y="20"/>
                                    </a:cxn>
                                    <a:cxn ang="0">
                                      <a:pos x="56" y="26"/>
                                    </a:cxn>
                                    <a:cxn ang="0">
                                      <a:pos x="52" y="34"/>
                                    </a:cxn>
                                    <a:cxn ang="0">
                                      <a:pos x="48" y="34"/>
                                    </a:cxn>
                                    <a:cxn ang="0">
                                      <a:pos x="52" y="40"/>
                                    </a:cxn>
                                    <a:cxn ang="0">
                                      <a:pos x="52" y="44"/>
                                    </a:cxn>
                                  </a:cxnLst>
                                  <a:rect l="0" t="0" r="r" b="b"/>
                                  <a:pathLst>
                                    <a:path w="58" h="44">
                                      <a:moveTo>
                                        <a:pt x="52" y="44"/>
                                      </a:moveTo>
                                      <a:lnTo>
                                        <a:pt x="52" y="44"/>
                                      </a:lnTo>
                                      <a:lnTo>
                                        <a:pt x="46" y="42"/>
                                      </a:lnTo>
                                      <a:lnTo>
                                        <a:pt x="46" y="42"/>
                                      </a:lnTo>
                                      <a:lnTo>
                                        <a:pt x="38" y="42"/>
                                      </a:lnTo>
                                      <a:lnTo>
                                        <a:pt x="30" y="42"/>
                                      </a:lnTo>
                                      <a:lnTo>
                                        <a:pt x="30" y="42"/>
                                      </a:lnTo>
                                      <a:lnTo>
                                        <a:pt x="24" y="42"/>
                                      </a:lnTo>
                                      <a:lnTo>
                                        <a:pt x="20" y="40"/>
                                      </a:lnTo>
                                      <a:lnTo>
                                        <a:pt x="20" y="40"/>
                                      </a:lnTo>
                                      <a:lnTo>
                                        <a:pt x="14" y="40"/>
                                      </a:lnTo>
                                      <a:lnTo>
                                        <a:pt x="12" y="42"/>
                                      </a:lnTo>
                                      <a:lnTo>
                                        <a:pt x="12" y="42"/>
                                      </a:lnTo>
                                      <a:lnTo>
                                        <a:pt x="10" y="44"/>
                                      </a:lnTo>
                                      <a:lnTo>
                                        <a:pt x="8" y="42"/>
                                      </a:lnTo>
                                      <a:lnTo>
                                        <a:pt x="8" y="42"/>
                                      </a:lnTo>
                                      <a:lnTo>
                                        <a:pt x="6" y="40"/>
                                      </a:lnTo>
                                      <a:lnTo>
                                        <a:pt x="0" y="40"/>
                                      </a:lnTo>
                                      <a:lnTo>
                                        <a:pt x="0" y="40"/>
                                      </a:lnTo>
                                      <a:lnTo>
                                        <a:pt x="0" y="38"/>
                                      </a:lnTo>
                                      <a:lnTo>
                                        <a:pt x="0" y="38"/>
                                      </a:lnTo>
                                      <a:lnTo>
                                        <a:pt x="0" y="36"/>
                                      </a:lnTo>
                                      <a:lnTo>
                                        <a:pt x="0" y="34"/>
                                      </a:lnTo>
                                      <a:lnTo>
                                        <a:pt x="0" y="34"/>
                                      </a:lnTo>
                                      <a:lnTo>
                                        <a:pt x="0" y="32"/>
                                      </a:lnTo>
                                      <a:lnTo>
                                        <a:pt x="2" y="32"/>
                                      </a:lnTo>
                                      <a:lnTo>
                                        <a:pt x="8" y="32"/>
                                      </a:lnTo>
                                      <a:lnTo>
                                        <a:pt x="8" y="32"/>
                                      </a:lnTo>
                                      <a:lnTo>
                                        <a:pt x="12" y="32"/>
                                      </a:lnTo>
                                      <a:lnTo>
                                        <a:pt x="16" y="32"/>
                                      </a:lnTo>
                                      <a:lnTo>
                                        <a:pt x="16" y="32"/>
                                      </a:lnTo>
                                      <a:lnTo>
                                        <a:pt x="18" y="32"/>
                                      </a:lnTo>
                                      <a:lnTo>
                                        <a:pt x="24" y="32"/>
                                      </a:lnTo>
                                      <a:lnTo>
                                        <a:pt x="24" y="32"/>
                                      </a:lnTo>
                                      <a:lnTo>
                                        <a:pt x="28" y="32"/>
                                      </a:lnTo>
                                      <a:lnTo>
                                        <a:pt x="32" y="30"/>
                                      </a:lnTo>
                                      <a:lnTo>
                                        <a:pt x="32" y="30"/>
                                      </a:lnTo>
                                      <a:lnTo>
                                        <a:pt x="38" y="30"/>
                                      </a:lnTo>
                                      <a:lnTo>
                                        <a:pt x="42" y="30"/>
                                      </a:lnTo>
                                      <a:lnTo>
                                        <a:pt x="42" y="30"/>
                                      </a:lnTo>
                                      <a:lnTo>
                                        <a:pt x="34" y="26"/>
                                      </a:lnTo>
                                      <a:lnTo>
                                        <a:pt x="34" y="26"/>
                                      </a:lnTo>
                                      <a:lnTo>
                                        <a:pt x="34" y="24"/>
                                      </a:lnTo>
                                      <a:lnTo>
                                        <a:pt x="34" y="22"/>
                                      </a:lnTo>
                                      <a:lnTo>
                                        <a:pt x="34" y="22"/>
                                      </a:lnTo>
                                      <a:lnTo>
                                        <a:pt x="32" y="20"/>
                                      </a:lnTo>
                                      <a:lnTo>
                                        <a:pt x="32" y="20"/>
                                      </a:lnTo>
                                      <a:lnTo>
                                        <a:pt x="30" y="18"/>
                                      </a:lnTo>
                                      <a:lnTo>
                                        <a:pt x="30" y="16"/>
                                      </a:lnTo>
                                      <a:lnTo>
                                        <a:pt x="32" y="14"/>
                                      </a:lnTo>
                                      <a:lnTo>
                                        <a:pt x="32" y="14"/>
                                      </a:lnTo>
                                      <a:lnTo>
                                        <a:pt x="30" y="12"/>
                                      </a:lnTo>
                                      <a:lnTo>
                                        <a:pt x="32" y="10"/>
                                      </a:lnTo>
                                      <a:lnTo>
                                        <a:pt x="32" y="10"/>
                                      </a:lnTo>
                                      <a:lnTo>
                                        <a:pt x="32" y="8"/>
                                      </a:lnTo>
                                      <a:lnTo>
                                        <a:pt x="30" y="8"/>
                                      </a:lnTo>
                                      <a:lnTo>
                                        <a:pt x="26" y="6"/>
                                      </a:lnTo>
                                      <a:lnTo>
                                        <a:pt x="26" y="6"/>
                                      </a:lnTo>
                                      <a:lnTo>
                                        <a:pt x="22" y="4"/>
                                      </a:lnTo>
                                      <a:lnTo>
                                        <a:pt x="22" y="0"/>
                                      </a:lnTo>
                                      <a:lnTo>
                                        <a:pt x="22" y="0"/>
                                      </a:lnTo>
                                      <a:lnTo>
                                        <a:pt x="26" y="0"/>
                                      </a:lnTo>
                                      <a:lnTo>
                                        <a:pt x="32" y="0"/>
                                      </a:lnTo>
                                      <a:lnTo>
                                        <a:pt x="32" y="0"/>
                                      </a:lnTo>
                                      <a:lnTo>
                                        <a:pt x="36" y="0"/>
                                      </a:lnTo>
                                      <a:lnTo>
                                        <a:pt x="38" y="0"/>
                                      </a:lnTo>
                                      <a:lnTo>
                                        <a:pt x="38" y="0"/>
                                      </a:lnTo>
                                      <a:lnTo>
                                        <a:pt x="46" y="2"/>
                                      </a:lnTo>
                                      <a:lnTo>
                                        <a:pt x="46" y="2"/>
                                      </a:lnTo>
                                      <a:lnTo>
                                        <a:pt x="46" y="2"/>
                                      </a:lnTo>
                                      <a:lnTo>
                                        <a:pt x="50" y="2"/>
                                      </a:lnTo>
                                      <a:lnTo>
                                        <a:pt x="50" y="2"/>
                                      </a:lnTo>
                                      <a:lnTo>
                                        <a:pt x="52" y="0"/>
                                      </a:lnTo>
                                      <a:lnTo>
                                        <a:pt x="56" y="2"/>
                                      </a:lnTo>
                                      <a:lnTo>
                                        <a:pt x="56" y="2"/>
                                      </a:lnTo>
                                      <a:lnTo>
                                        <a:pt x="58" y="6"/>
                                      </a:lnTo>
                                      <a:lnTo>
                                        <a:pt x="56" y="10"/>
                                      </a:lnTo>
                                      <a:lnTo>
                                        <a:pt x="56" y="10"/>
                                      </a:lnTo>
                                      <a:lnTo>
                                        <a:pt x="56" y="12"/>
                                      </a:lnTo>
                                      <a:lnTo>
                                        <a:pt x="56" y="14"/>
                                      </a:lnTo>
                                      <a:lnTo>
                                        <a:pt x="58" y="16"/>
                                      </a:lnTo>
                                      <a:lnTo>
                                        <a:pt x="56" y="18"/>
                                      </a:lnTo>
                                      <a:lnTo>
                                        <a:pt x="56" y="18"/>
                                      </a:lnTo>
                                      <a:lnTo>
                                        <a:pt x="54" y="20"/>
                                      </a:lnTo>
                                      <a:lnTo>
                                        <a:pt x="54" y="22"/>
                                      </a:lnTo>
                                      <a:lnTo>
                                        <a:pt x="56" y="26"/>
                                      </a:lnTo>
                                      <a:lnTo>
                                        <a:pt x="56" y="30"/>
                                      </a:lnTo>
                                      <a:lnTo>
                                        <a:pt x="52" y="34"/>
                                      </a:lnTo>
                                      <a:lnTo>
                                        <a:pt x="52" y="34"/>
                                      </a:lnTo>
                                      <a:lnTo>
                                        <a:pt x="48" y="34"/>
                                      </a:lnTo>
                                      <a:lnTo>
                                        <a:pt x="50" y="36"/>
                                      </a:lnTo>
                                      <a:lnTo>
                                        <a:pt x="52" y="40"/>
                                      </a:lnTo>
                                      <a:lnTo>
                                        <a:pt x="52" y="44"/>
                                      </a:lnTo>
                                      <a:lnTo>
                                        <a:pt x="52" y="44"/>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1" name="Jamaica"/>
                                <p:cNvSpPr>
                                  <a:spLocks/>
                                </p:cNvSpPr>
                                <p:nvPr/>
                              </p:nvSpPr>
                              <p:spPr bwMode="auto">
                                <a:xfrm>
                                  <a:off x="3308785" y="2966037"/>
                                  <a:ext cx="75941" cy="33383"/>
                                </a:xfrm>
                                <a:custGeom>
                                  <a:avLst/>
                                  <a:gdLst/>
                                  <a:ahLst/>
                                  <a:cxnLst>
                                    <a:cxn ang="0">
                                      <a:pos x="24" y="22"/>
                                    </a:cxn>
                                    <a:cxn ang="0">
                                      <a:pos x="24" y="22"/>
                                    </a:cxn>
                                    <a:cxn ang="0">
                                      <a:pos x="22" y="18"/>
                                    </a:cxn>
                                    <a:cxn ang="0">
                                      <a:pos x="18" y="16"/>
                                    </a:cxn>
                                    <a:cxn ang="0">
                                      <a:pos x="18" y="16"/>
                                    </a:cxn>
                                    <a:cxn ang="0">
                                      <a:pos x="16" y="16"/>
                                    </a:cxn>
                                    <a:cxn ang="0">
                                      <a:pos x="14" y="14"/>
                                    </a:cxn>
                                    <a:cxn ang="0">
                                      <a:pos x="12" y="10"/>
                                    </a:cxn>
                                    <a:cxn ang="0">
                                      <a:pos x="12" y="10"/>
                                    </a:cxn>
                                    <a:cxn ang="0">
                                      <a:pos x="10" y="8"/>
                                    </a:cxn>
                                    <a:cxn ang="0">
                                      <a:pos x="6" y="6"/>
                                    </a:cxn>
                                    <a:cxn ang="0">
                                      <a:pos x="6" y="6"/>
                                    </a:cxn>
                                    <a:cxn ang="0">
                                      <a:pos x="2" y="4"/>
                                    </a:cxn>
                                    <a:cxn ang="0">
                                      <a:pos x="0" y="4"/>
                                    </a:cxn>
                                    <a:cxn ang="0">
                                      <a:pos x="2" y="2"/>
                                    </a:cxn>
                                    <a:cxn ang="0">
                                      <a:pos x="2" y="2"/>
                                    </a:cxn>
                                    <a:cxn ang="0">
                                      <a:pos x="10" y="0"/>
                                    </a:cxn>
                                    <a:cxn ang="0">
                                      <a:pos x="14" y="0"/>
                                    </a:cxn>
                                    <a:cxn ang="0">
                                      <a:pos x="14" y="0"/>
                                    </a:cxn>
                                    <a:cxn ang="0">
                                      <a:pos x="16" y="0"/>
                                    </a:cxn>
                                    <a:cxn ang="0">
                                      <a:pos x="22" y="0"/>
                                    </a:cxn>
                                    <a:cxn ang="0">
                                      <a:pos x="22" y="0"/>
                                    </a:cxn>
                                    <a:cxn ang="0">
                                      <a:pos x="34" y="2"/>
                                    </a:cxn>
                                    <a:cxn ang="0">
                                      <a:pos x="34" y="2"/>
                                    </a:cxn>
                                    <a:cxn ang="0">
                                      <a:pos x="38" y="6"/>
                                    </a:cxn>
                                    <a:cxn ang="0">
                                      <a:pos x="40" y="8"/>
                                    </a:cxn>
                                    <a:cxn ang="0">
                                      <a:pos x="44" y="10"/>
                                    </a:cxn>
                                    <a:cxn ang="0">
                                      <a:pos x="44" y="10"/>
                                    </a:cxn>
                                    <a:cxn ang="0">
                                      <a:pos x="48" y="12"/>
                                    </a:cxn>
                                    <a:cxn ang="0">
                                      <a:pos x="50" y="14"/>
                                    </a:cxn>
                                    <a:cxn ang="0">
                                      <a:pos x="50" y="14"/>
                                    </a:cxn>
                                    <a:cxn ang="0">
                                      <a:pos x="48" y="16"/>
                                    </a:cxn>
                                    <a:cxn ang="0">
                                      <a:pos x="44" y="16"/>
                                    </a:cxn>
                                    <a:cxn ang="0">
                                      <a:pos x="44" y="16"/>
                                    </a:cxn>
                                    <a:cxn ang="0">
                                      <a:pos x="40" y="18"/>
                                    </a:cxn>
                                    <a:cxn ang="0">
                                      <a:pos x="34" y="18"/>
                                    </a:cxn>
                                    <a:cxn ang="0">
                                      <a:pos x="34" y="18"/>
                                    </a:cxn>
                                    <a:cxn ang="0">
                                      <a:pos x="32" y="16"/>
                                    </a:cxn>
                                    <a:cxn ang="0">
                                      <a:pos x="32" y="18"/>
                                    </a:cxn>
                                    <a:cxn ang="0">
                                      <a:pos x="32" y="18"/>
                                    </a:cxn>
                                    <a:cxn ang="0">
                                      <a:pos x="30" y="20"/>
                                    </a:cxn>
                                    <a:cxn ang="0">
                                      <a:pos x="28" y="18"/>
                                    </a:cxn>
                                    <a:cxn ang="0">
                                      <a:pos x="28" y="18"/>
                                    </a:cxn>
                                    <a:cxn ang="0">
                                      <a:pos x="26" y="18"/>
                                    </a:cxn>
                                    <a:cxn ang="0">
                                      <a:pos x="26" y="20"/>
                                    </a:cxn>
                                    <a:cxn ang="0">
                                      <a:pos x="26" y="20"/>
                                    </a:cxn>
                                    <a:cxn ang="0">
                                      <a:pos x="26" y="22"/>
                                    </a:cxn>
                                    <a:cxn ang="0">
                                      <a:pos x="24" y="22"/>
                                    </a:cxn>
                                    <a:cxn ang="0">
                                      <a:pos x="24" y="22"/>
                                    </a:cxn>
                                  </a:cxnLst>
                                  <a:rect l="0" t="0" r="r" b="b"/>
                                  <a:pathLst>
                                    <a:path w="50" h="22">
                                      <a:moveTo>
                                        <a:pt x="24" y="22"/>
                                      </a:moveTo>
                                      <a:lnTo>
                                        <a:pt x="24" y="22"/>
                                      </a:lnTo>
                                      <a:lnTo>
                                        <a:pt x="22" y="18"/>
                                      </a:lnTo>
                                      <a:lnTo>
                                        <a:pt x="18" y="16"/>
                                      </a:lnTo>
                                      <a:lnTo>
                                        <a:pt x="18" y="16"/>
                                      </a:lnTo>
                                      <a:lnTo>
                                        <a:pt x="16" y="16"/>
                                      </a:lnTo>
                                      <a:lnTo>
                                        <a:pt x="14" y="14"/>
                                      </a:lnTo>
                                      <a:lnTo>
                                        <a:pt x="12" y="10"/>
                                      </a:lnTo>
                                      <a:lnTo>
                                        <a:pt x="12" y="10"/>
                                      </a:lnTo>
                                      <a:lnTo>
                                        <a:pt x="10" y="8"/>
                                      </a:lnTo>
                                      <a:lnTo>
                                        <a:pt x="6" y="6"/>
                                      </a:lnTo>
                                      <a:lnTo>
                                        <a:pt x="6" y="6"/>
                                      </a:lnTo>
                                      <a:lnTo>
                                        <a:pt x="2" y="4"/>
                                      </a:lnTo>
                                      <a:lnTo>
                                        <a:pt x="0" y="4"/>
                                      </a:lnTo>
                                      <a:lnTo>
                                        <a:pt x="2" y="2"/>
                                      </a:lnTo>
                                      <a:lnTo>
                                        <a:pt x="2" y="2"/>
                                      </a:lnTo>
                                      <a:lnTo>
                                        <a:pt x="10" y="0"/>
                                      </a:lnTo>
                                      <a:lnTo>
                                        <a:pt x="14" y="0"/>
                                      </a:lnTo>
                                      <a:lnTo>
                                        <a:pt x="14" y="0"/>
                                      </a:lnTo>
                                      <a:lnTo>
                                        <a:pt x="16" y="0"/>
                                      </a:lnTo>
                                      <a:lnTo>
                                        <a:pt x="22" y="0"/>
                                      </a:lnTo>
                                      <a:lnTo>
                                        <a:pt x="22" y="0"/>
                                      </a:lnTo>
                                      <a:lnTo>
                                        <a:pt x="34" y="2"/>
                                      </a:lnTo>
                                      <a:lnTo>
                                        <a:pt x="34" y="2"/>
                                      </a:lnTo>
                                      <a:lnTo>
                                        <a:pt x="38" y="6"/>
                                      </a:lnTo>
                                      <a:lnTo>
                                        <a:pt x="40" y="8"/>
                                      </a:lnTo>
                                      <a:lnTo>
                                        <a:pt x="44" y="10"/>
                                      </a:lnTo>
                                      <a:lnTo>
                                        <a:pt x="44" y="10"/>
                                      </a:lnTo>
                                      <a:lnTo>
                                        <a:pt x="48" y="12"/>
                                      </a:lnTo>
                                      <a:lnTo>
                                        <a:pt x="50" y="14"/>
                                      </a:lnTo>
                                      <a:lnTo>
                                        <a:pt x="50" y="14"/>
                                      </a:lnTo>
                                      <a:lnTo>
                                        <a:pt x="48" y="16"/>
                                      </a:lnTo>
                                      <a:lnTo>
                                        <a:pt x="44" y="16"/>
                                      </a:lnTo>
                                      <a:lnTo>
                                        <a:pt x="44" y="16"/>
                                      </a:lnTo>
                                      <a:lnTo>
                                        <a:pt x="40" y="18"/>
                                      </a:lnTo>
                                      <a:lnTo>
                                        <a:pt x="34" y="18"/>
                                      </a:lnTo>
                                      <a:lnTo>
                                        <a:pt x="34" y="18"/>
                                      </a:lnTo>
                                      <a:lnTo>
                                        <a:pt x="32" y="16"/>
                                      </a:lnTo>
                                      <a:lnTo>
                                        <a:pt x="32" y="18"/>
                                      </a:lnTo>
                                      <a:lnTo>
                                        <a:pt x="32" y="18"/>
                                      </a:lnTo>
                                      <a:lnTo>
                                        <a:pt x="30" y="20"/>
                                      </a:lnTo>
                                      <a:lnTo>
                                        <a:pt x="28" y="18"/>
                                      </a:lnTo>
                                      <a:lnTo>
                                        <a:pt x="28" y="18"/>
                                      </a:lnTo>
                                      <a:lnTo>
                                        <a:pt x="26" y="18"/>
                                      </a:lnTo>
                                      <a:lnTo>
                                        <a:pt x="26" y="20"/>
                                      </a:lnTo>
                                      <a:lnTo>
                                        <a:pt x="26" y="20"/>
                                      </a:lnTo>
                                      <a:lnTo>
                                        <a:pt x="26" y="22"/>
                                      </a:lnTo>
                                      <a:lnTo>
                                        <a:pt x="24" y="22"/>
                                      </a:lnTo>
                                      <a:lnTo>
                                        <a:pt x="24" y="22"/>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2" name="Jordan"/>
                                <p:cNvSpPr>
                                  <a:spLocks/>
                                </p:cNvSpPr>
                                <p:nvPr/>
                              </p:nvSpPr>
                              <p:spPr bwMode="auto">
                                <a:xfrm>
                                  <a:off x="6844600" y="2410662"/>
                                  <a:ext cx="124543" cy="157811"/>
                                </a:xfrm>
                                <a:custGeom>
                                  <a:avLst/>
                                  <a:gdLst/>
                                  <a:ahLst/>
                                  <a:cxnLst>
                                    <a:cxn ang="0">
                                      <a:pos x="70" y="0"/>
                                    </a:cxn>
                                    <a:cxn ang="0">
                                      <a:pos x="80" y="26"/>
                                    </a:cxn>
                                    <a:cxn ang="0">
                                      <a:pos x="82" y="32"/>
                                    </a:cxn>
                                    <a:cxn ang="0">
                                      <a:pos x="72" y="38"/>
                                    </a:cxn>
                                    <a:cxn ang="0">
                                      <a:pos x="66" y="70"/>
                                    </a:cxn>
                                    <a:cxn ang="0">
                                      <a:pos x="58" y="74"/>
                                    </a:cxn>
                                    <a:cxn ang="0">
                                      <a:pos x="52" y="82"/>
                                    </a:cxn>
                                    <a:cxn ang="0">
                                      <a:pos x="46" y="84"/>
                                    </a:cxn>
                                    <a:cxn ang="0">
                                      <a:pos x="38" y="88"/>
                                    </a:cxn>
                                    <a:cxn ang="0">
                                      <a:pos x="32" y="100"/>
                                    </a:cxn>
                                    <a:cxn ang="0">
                                      <a:pos x="28" y="104"/>
                                    </a:cxn>
                                    <a:cxn ang="0">
                                      <a:pos x="26" y="104"/>
                                    </a:cxn>
                                    <a:cxn ang="0">
                                      <a:pos x="18" y="96"/>
                                    </a:cxn>
                                    <a:cxn ang="0">
                                      <a:pos x="10" y="90"/>
                                    </a:cxn>
                                    <a:cxn ang="0">
                                      <a:pos x="8" y="90"/>
                                    </a:cxn>
                                    <a:cxn ang="0">
                                      <a:pos x="12" y="56"/>
                                    </a:cxn>
                                    <a:cxn ang="0">
                                      <a:pos x="12" y="50"/>
                                    </a:cxn>
                                    <a:cxn ang="0">
                                      <a:pos x="8" y="48"/>
                                    </a:cxn>
                                    <a:cxn ang="0">
                                      <a:pos x="2" y="50"/>
                                    </a:cxn>
                                    <a:cxn ang="0">
                                      <a:pos x="0" y="50"/>
                                    </a:cxn>
                                    <a:cxn ang="0">
                                      <a:pos x="4" y="44"/>
                                    </a:cxn>
                                    <a:cxn ang="0">
                                      <a:pos x="4" y="38"/>
                                    </a:cxn>
                                    <a:cxn ang="0">
                                      <a:pos x="2" y="36"/>
                                    </a:cxn>
                                    <a:cxn ang="0">
                                      <a:pos x="0" y="28"/>
                                    </a:cxn>
                                    <a:cxn ang="0">
                                      <a:pos x="2" y="20"/>
                                    </a:cxn>
                                    <a:cxn ang="0">
                                      <a:pos x="4" y="18"/>
                                    </a:cxn>
                                    <a:cxn ang="0">
                                      <a:pos x="8" y="20"/>
                                    </a:cxn>
                                    <a:cxn ang="0">
                                      <a:pos x="10" y="22"/>
                                    </a:cxn>
                                    <a:cxn ang="0">
                                      <a:pos x="12" y="20"/>
                                    </a:cxn>
                                    <a:cxn ang="0">
                                      <a:pos x="12" y="16"/>
                                    </a:cxn>
                                    <a:cxn ang="0">
                                      <a:pos x="16" y="16"/>
                                    </a:cxn>
                                    <a:cxn ang="0">
                                      <a:pos x="34" y="22"/>
                                    </a:cxn>
                                    <a:cxn ang="0">
                                      <a:pos x="38" y="20"/>
                                    </a:cxn>
                                    <a:cxn ang="0">
                                      <a:pos x="70" y="0"/>
                                    </a:cxn>
                                  </a:cxnLst>
                                  <a:rect l="0" t="0" r="r" b="b"/>
                                  <a:pathLst>
                                    <a:path w="82" h="104">
                                      <a:moveTo>
                                        <a:pt x="70" y="0"/>
                                      </a:moveTo>
                                      <a:lnTo>
                                        <a:pt x="70" y="0"/>
                                      </a:lnTo>
                                      <a:lnTo>
                                        <a:pt x="78" y="18"/>
                                      </a:lnTo>
                                      <a:lnTo>
                                        <a:pt x="80" y="26"/>
                                      </a:lnTo>
                                      <a:lnTo>
                                        <a:pt x="82" y="32"/>
                                      </a:lnTo>
                                      <a:lnTo>
                                        <a:pt x="82" y="32"/>
                                      </a:lnTo>
                                      <a:lnTo>
                                        <a:pt x="78" y="36"/>
                                      </a:lnTo>
                                      <a:lnTo>
                                        <a:pt x="72" y="38"/>
                                      </a:lnTo>
                                      <a:lnTo>
                                        <a:pt x="42" y="42"/>
                                      </a:lnTo>
                                      <a:lnTo>
                                        <a:pt x="66" y="70"/>
                                      </a:lnTo>
                                      <a:lnTo>
                                        <a:pt x="66" y="70"/>
                                      </a:lnTo>
                                      <a:lnTo>
                                        <a:pt x="58" y="74"/>
                                      </a:lnTo>
                                      <a:lnTo>
                                        <a:pt x="56" y="80"/>
                                      </a:lnTo>
                                      <a:lnTo>
                                        <a:pt x="52" y="82"/>
                                      </a:lnTo>
                                      <a:lnTo>
                                        <a:pt x="46" y="84"/>
                                      </a:lnTo>
                                      <a:lnTo>
                                        <a:pt x="46" y="84"/>
                                      </a:lnTo>
                                      <a:lnTo>
                                        <a:pt x="42" y="86"/>
                                      </a:lnTo>
                                      <a:lnTo>
                                        <a:pt x="38" y="88"/>
                                      </a:lnTo>
                                      <a:lnTo>
                                        <a:pt x="34" y="94"/>
                                      </a:lnTo>
                                      <a:lnTo>
                                        <a:pt x="32" y="100"/>
                                      </a:lnTo>
                                      <a:lnTo>
                                        <a:pt x="30" y="102"/>
                                      </a:lnTo>
                                      <a:lnTo>
                                        <a:pt x="28" y="104"/>
                                      </a:lnTo>
                                      <a:lnTo>
                                        <a:pt x="28" y="104"/>
                                      </a:lnTo>
                                      <a:lnTo>
                                        <a:pt x="26" y="104"/>
                                      </a:lnTo>
                                      <a:lnTo>
                                        <a:pt x="24" y="102"/>
                                      </a:lnTo>
                                      <a:lnTo>
                                        <a:pt x="18" y="96"/>
                                      </a:lnTo>
                                      <a:lnTo>
                                        <a:pt x="14" y="92"/>
                                      </a:lnTo>
                                      <a:lnTo>
                                        <a:pt x="10" y="90"/>
                                      </a:lnTo>
                                      <a:lnTo>
                                        <a:pt x="8" y="90"/>
                                      </a:lnTo>
                                      <a:lnTo>
                                        <a:pt x="8" y="90"/>
                                      </a:lnTo>
                                      <a:lnTo>
                                        <a:pt x="10" y="74"/>
                                      </a:lnTo>
                                      <a:lnTo>
                                        <a:pt x="12" y="56"/>
                                      </a:lnTo>
                                      <a:lnTo>
                                        <a:pt x="12" y="56"/>
                                      </a:lnTo>
                                      <a:lnTo>
                                        <a:pt x="12" y="50"/>
                                      </a:lnTo>
                                      <a:lnTo>
                                        <a:pt x="10" y="48"/>
                                      </a:lnTo>
                                      <a:lnTo>
                                        <a:pt x="8" y="48"/>
                                      </a:lnTo>
                                      <a:lnTo>
                                        <a:pt x="4" y="50"/>
                                      </a:lnTo>
                                      <a:lnTo>
                                        <a:pt x="2" y="50"/>
                                      </a:lnTo>
                                      <a:lnTo>
                                        <a:pt x="0" y="50"/>
                                      </a:lnTo>
                                      <a:lnTo>
                                        <a:pt x="0" y="50"/>
                                      </a:lnTo>
                                      <a:lnTo>
                                        <a:pt x="0" y="46"/>
                                      </a:lnTo>
                                      <a:lnTo>
                                        <a:pt x="4" y="44"/>
                                      </a:lnTo>
                                      <a:lnTo>
                                        <a:pt x="6" y="40"/>
                                      </a:lnTo>
                                      <a:lnTo>
                                        <a:pt x="4" y="38"/>
                                      </a:lnTo>
                                      <a:lnTo>
                                        <a:pt x="2" y="36"/>
                                      </a:lnTo>
                                      <a:lnTo>
                                        <a:pt x="2" y="36"/>
                                      </a:lnTo>
                                      <a:lnTo>
                                        <a:pt x="2" y="34"/>
                                      </a:lnTo>
                                      <a:lnTo>
                                        <a:pt x="0" y="28"/>
                                      </a:lnTo>
                                      <a:lnTo>
                                        <a:pt x="0" y="22"/>
                                      </a:lnTo>
                                      <a:lnTo>
                                        <a:pt x="2" y="20"/>
                                      </a:lnTo>
                                      <a:lnTo>
                                        <a:pt x="4" y="18"/>
                                      </a:lnTo>
                                      <a:lnTo>
                                        <a:pt x="4" y="18"/>
                                      </a:lnTo>
                                      <a:lnTo>
                                        <a:pt x="6" y="18"/>
                                      </a:lnTo>
                                      <a:lnTo>
                                        <a:pt x="8" y="20"/>
                                      </a:lnTo>
                                      <a:lnTo>
                                        <a:pt x="8" y="22"/>
                                      </a:lnTo>
                                      <a:lnTo>
                                        <a:pt x="10" y="22"/>
                                      </a:lnTo>
                                      <a:lnTo>
                                        <a:pt x="10" y="22"/>
                                      </a:lnTo>
                                      <a:lnTo>
                                        <a:pt x="12" y="20"/>
                                      </a:lnTo>
                                      <a:lnTo>
                                        <a:pt x="12" y="18"/>
                                      </a:lnTo>
                                      <a:lnTo>
                                        <a:pt x="12" y="16"/>
                                      </a:lnTo>
                                      <a:lnTo>
                                        <a:pt x="16" y="16"/>
                                      </a:lnTo>
                                      <a:lnTo>
                                        <a:pt x="16" y="16"/>
                                      </a:lnTo>
                                      <a:lnTo>
                                        <a:pt x="30" y="22"/>
                                      </a:lnTo>
                                      <a:lnTo>
                                        <a:pt x="34" y="22"/>
                                      </a:lnTo>
                                      <a:lnTo>
                                        <a:pt x="38" y="20"/>
                                      </a:lnTo>
                                      <a:lnTo>
                                        <a:pt x="38" y="20"/>
                                      </a:lnTo>
                                      <a:lnTo>
                                        <a:pt x="70" y="0"/>
                                      </a:lnTo>
                                      <a:lnTo>
                                        <a:pt x="70" y="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3" name="Kenya"/>
                                <p:cNvSpPr>
                                  <a:spLocks/>
                                </p:cNvSpPr>
                                <p:nvPr/>
                              </p:nvSpPr>
                              <p:spPr bwMode="auto">
                                <a:xfrm>
                                  <a:off x="6876359" y="3497133"/>
                                  <a:ext cx="264275" cy="382389"/>
                                </a:xfrm>
                                <a:custGeom>
                                  <a:avLst/>
                                  <a:gdLst/>
                                  <a:ahLst/>
                                  <a:cxnLst>
                                    <a:cxn ang="0">
                                      <a:pos x="126" y="252"/>
                                    </a:cxn>
                                    <a:cxn ang="0">
                                      <a:pos x="132" y="242"/>
                                    </a:cxn>
                                    <a:cxn ang="0">
                                      <a:pos x="134" y="236"/>
                                    </a:cxn>
                                    <a:cxn ang="0">
                                      <a:pos x="138" y="228"/>
                                    </a:cxn>
                                    <a:cxn ang="0">
                                      <a:pos x="140" y="222"/>
                                    </a:cxn>
                                    <a:cxn ang="0">
                                      <a:pos x="142" y="210"/>
                                    </a:cxn>
                                    <a:cxn ang="0">
                                      <a:pos x="142" y="200"/>
                                    </a:cxn>
                                    <a:cxn ang="0">
                                      <a:pos x="144" y="194"/>
                                    </a:cxn>
                                    <a:cxn ang="0">
                                      <a:pos x="148" y="186"/>
                                    </a:cxn>
                                    <a:cxn ang="0">
                                      <a:pos x="160" y="178"/>
                                    </a:cxn>
                                    <a:cxn ang="0">
                                      <a:pos x="174" y="168"/>
                                    </a:cxn>
                                    <a:cxn ang="0">
                                      <a:pos x="152" y="144"/>
                                    </a:cxn>
                                    <a:cxn ang="0">
                                      <a:pos x="150" y="140"/>
                                    </a:cxn>
                                    <a:cxn ang="0">
                                      <a:pos x="150" y="54"/>
                                    </a:cxn>
                                    <a:cxn ang="0">
                                      <a:pos x="154" y="44"/>
                                    </a:cxn>
                                    <a:cxn ang="0">
                                      <a:pos x="164" y="34"/>
                                    </a:cxn>
                                    <a:cxn ang="0">
                                      <a:pos x="170" y="22"/>
                                    </a:cxn>
                                    <a:cxn ang="0">
                                      <a:pos x="158" y="20"/>
                                    </a:cxn>
                                    <a:cxn ang="0">
                                      <a:pos x="150" y="16"/>
                                    </a:cxn>
                                    <a:cxn ang="0">
                                      <a:pos x="140" y="18"/>
                                    </a:cxn>
                                    <a:cxn ang="0">
                                      <a:pos x="134" y="22"/>
                                    </a:cxn>
                                    <a:cxn ang="0">
                                      <a:pos x="134" y="28"/>
                                    </a:cxn>
                                    <a:cxn ang="0">
                                      <a:pos x="110" y="30"/>
                                    </a:cxn>
                                    <a:cxn ang="0">
                                      <a:pos x="96" y="28"/>
                                    </a:cxn>
                                    <a:cxn ang="0">
                                      <a:pos x="82" y="22"/>
                                    </a:cxn>
                                    <a:cxn ang="0">
                                      <a:pos x="72" y="12"/>
                                    </a:cxn>
                                    <a:cxn ang="0">
                                      <a:pos x="56" y="4"/>
                                    </a:cxn>
                                    <a:cxn ang="0">
                                      <a:pos x="42" y="0"/>
                                    </a:cxn>
                                    <a:cxn ang="0">
                                      <a:pos x="32" y="8"/>
                                    </a:cxn>
                                    <a:cxn ang="0">
                                      <a:pos x="26" y="4"/>
                                    </a:cxn>
                                    <a:cxn ang="0">
                                      <a:pos x="18" y="4"/>
                                    </a:cxn>
                                    <a:cxn ang="0">
                                      <a:pos x="0" y="16"/>
                                    </a:cxn>
                                    <a:cxn ang="0">
                                      <a:pos x="6" y="24"/>
                                    </a:cxn>
                                    <a:cxn ang="0">
                                      <a:pos x="8" y="34"/>
                                    </a:cxn>
                                    <a:cxn ang="0">
                                      <a:pos x="12" y="42"/>
                                    </a:cxn>
                                    <a:cxn ang="0">
                                      <a:pos x="20" y="44"/>
                                    </a:cxn>
                                    <a:cxn ang="0">
                                      <a:pos x="20" y="50"/>
                                    </a:cxn>
                                    <a:cxn ang="0">
                                      <a:pos x="20" y="52"/>
                                    </a:cxn>
                                    <a:cxn ang="0">
                                      <a:pos x="24" y="62"/>
                                    </a:cxn>
                                    <a:cxn ang="0">
                                      <a:pos x="26" y="74"/>
                                    </a:cxn>
                                    <a:cxn ang="0">
                                      <a:pos x="26" y="78"/>
                                    </a:cxn>
                                    <a:cxn ang="0">
                                      <a:pos x="24" y="94"/>
                                    </a:cxn>
                                    <a:cxn ang="0">
                                      <a:pos x="20" y="100"/>
                                    </a:cxn>
                                    <a:cxn ang="0">
                                      <a:pos x="16" y="102"/>
                                    </a:cxn>
                                    <a:cxn ang="0">
                                      <a:pos x="4" y="120"/>
                                    </a:cxn>
                                    <a:cxn ang="0">
                                      <a:pos x="8" y="122"/>
                                    </a:cxn>
                                    <a:cxn ang="0">
                                      <a:pos x="6" y="128"/>
                                    </a:cxn>
                                    <a:cxn ang="0">
                                      <a:pos x="4" y="132"/>
                                    </a:cxn>
                                    <a:cxn ang="0">
                                      <a:pos x="8" y="134"/>
                                    </a:cxn>
                                    <a:cxn ang="0">
                                      <a:pos x="10" y="132"/>
                                    </a:cxn>
                                    <a:cxn ang="0">
                                      <a:pos x="16" y="130"/>
                                    </a:cxn>
                                    <a:cxn ang="0">
                                      <a:pos x="20" y="132"/>
                                    </a:cxn>
                                    <a:cxn ang="0">
                                      <a:pos x="20" y="134"/>
                                    </a:cxn>
                                    <a:cxn ang="0">
                                      <a:pos x="14" y="136"/>
                                    </a:cxn>
                                    <a:cxn ang="0">
                                      <a:pos x="10" y="142"/>
                                    </a:cxn>
                                    <a:cxn ang="0">
                                      <a:pos x="12" y="146"/>
                                    </a:cxn>
                                    <a:cxn ang="0">
                                      <a:pos x="12" y="150"/>
                                    </a:cxn>
                                    <a:cxn ang="0">
                                      <a:pos x="80" y="196"/>
                                    </a:cxn>
                                    <a:cxn ang="0">
                                      <a:pos x="84" y="198"/>
                                    </a:cxn>
                                    <a:cxn ang="0">
                                      <a:pos x="86" y="210"/>
                                    </a:cxn>
                                    <a:cxn ang="0">
                                      <a:pos x="88" y="220"/>
                                    </a:cxn>
                                    <a:cxn ang="0">
                                      <a:pos x="92" y="224"/>
                                    </a:cxn>
                                    <a:cxn ang="0">
                                      <a:pos x="126" y="252"/>
                                    </a:cxn>
                                  </a:cxnLst>
                                  <a:rect l="0" t="0" r="r" b="b"/>
                                  <a:pathLst>
                                    <a:path w="174" h="252">
                                      <a:moveTo>
                                        <a:pt x="126" y="252"/>
                                      </a:moveTo>
                                      <a:lnTo>
                                        <a:pt x="126" y="252"/>
                                      </a:lnTo>
                                      <a:lnTo>
                                        <a:pt x="130" y="250"/>
                                      </a:lnTo>
                                      <a:lnTo>
                                        <a:pt x="132" y="242"/>
                                      </a:lnTo>
                                      <a:lnTo>
                                        <a:pt x="132" y="242"/>
                                      </a:lnTo>
                                      <a:lnTo>
                                        <a:pt x="134" y="236"/>
                                      </a:lnTo>
                                      <a:lnTo>
                                        <a:pt x="136" y="232"/>
                                      </a:lnTo>
                                      <a:lnTo>
                                        <a:pt x="138" y="228"/>
                                      </a:lnTo>
                                      <a:lnTo>
                                        <a:pt x="140" y="222"/>
                                      </a:lnTo>
                                      <a:lnTo>
                                        <a:pt x="140" y="222"/>
                                      </a:lnTo>
                                      <a:lnTo>
                                        <a:pt x="140" y="214"/>
                                      </a:lnTo>
                                      <a:lnTo>
                                        <a:pt x="142" y="210"/>
                                      </a:lnTo>
                                      <a:lnTo>
                                        <a:pt x="142" y="208"/>
                                      </a:lnTo>
                                      <a:lnTo>
                                        <a:pt x="142" y="200"/>
                                      </a:lnTo>
                                      <a:lnTo>
                                        <a:pt x="142" y="200"/>
                                      </a:lnTo>
                                      <a:lnTo>
                                        <a:pt x="144" y="194"/>
                                      </a:lnTo>
                                      <a:lnTo>
                                        <a:pt x="144" y="190"/>
                                      </a:lnTo>
                                      <a:lnTo>
                                        <a:pt x="148" y="186"/>
                                      </a:lnTo>
                                      <a:lnTo>
                                        <a:pt x="150" y="184"/>
                                      </a:lnTo>
                                      <a:lnTo>
                                        <a:pt x="160" y="178"/>
                                      </a:lnTo>
                                      <a:lnTo>
                                        <a:pt x="174" y="168"/>
                                      </a:lnTo>
                                      <a:lnTo>
                                        <a:pt x="174" y="168"/>
                                      </a:lnTo>
                                      <a:lnTo>
                                        <a:pt x="154" y="148"/>
                                      </a:lnTo>
                                      <a:lnTo>
                                        <a:pt x="152" y="144"/>
                                      </a:lnTo>
                                      <a:lnTo>
                                        <a:pt x="150" y="140"/>
                                      </a:lnTo>
                                      <a:lnTo>
                                        <a:pt x="150" y="140"/>
                                      </a:lnTo>
                                      <a:lnTo>
                                        <a:pt x="150" y="54"/>
                                      </a:lnTo>
                                      <a:lnTo>
                                        <a:pt x="150" y="54"/>
                                      </a:lnTo>
                                      <a:lnTo>
                                        <a:pt x="152" y="48"/>
                                      </a:lnTo>
                                      <a:lnTo>
                                        <a:pt x="154" y="44"/>
                                      </a:lnTo>
                                      <a:lnTo>
                                        <a:pt x="158" y="40"/>
                                      </a:lnTo>
                                      <a:lnTo>
                                        <a:pt x="164" y="34"/>
                                      </a:lnTo>
                                      <a:lnTo>
                                        <a:pt x="168" y="28"/>
                                      </a:lnTo>
                                      <a:lnTo>
                                        <a:pt x="170" y="22"/>
                                      </a:lnTo>
                                      <a:lnTo>
                                        <a:pt x="170" y="22"/>
                                      </a:lnTo>
                                      <a:lnTo>
                                        <a:pt x="158" y="20"/>
                                      </a:lnTo>
                                      <a:lnTo>
                                        <a:pt x="154" y="18"/>
                                      </a:lnTo>
                                      <a:lnTo>
                                        <a:pt x="150" y="16"/>
                                      </a:lnTo>
                                      <a:lnTo>
                                        <a:pt x="140" y="18"/>
                                      </a:lnTo>
                                      <a:lnTo>
                                        <a:pt x="140" y="18"/>
                                      </a:lnTo>
                                      <a:lnTo>
                                        <a:pt x="136" y="20"/>
                                      </a:lnTo>
                                      <a:lnTo>
                                        <a:pt x="134" y="22"/>
                                      </a:lnTo>
                                      <a:lnTo>
                                        <a:pt x="134" y="26"/>
                                      </a:lnTo>
                                      <a:lnTo>
                                        <a:pt x="134" y="28"/>
                                      </a:lnTo>
                                      <a:lnTo>
                                        <a:pt x="130" y="28"/>
                                      </a:lnTo>
                                      <a:lnTo>
                                        <a:pt x="110" y="30"/>
                                      </a:lnTo>
                                      <a:lnTo>
                                        <a:pt x="110" y="30"/>
                                      </a:lnTo>
                                      <a:lnTo>
                                        <a:pt x="96" y="28"/>
                                      </a:lnTo>
                                      <a:lnTo>
                                        <a:pt x="88" y="26"/>
                                      </a:lnTo>
                                      <a:lnTo>
                                        <a:pt x="82" y="22"/>
                                      </a:lnTo>
                                      <a:lnTo>
                                        <a:pt x="76" y="16"/>
                                      </a:lnTo>
                                      <a:lnTo>
                                        <a:pt x="72" y="12"/>
                                      </a:lnTo>
                                      <a:lnTo>
                                        <a:pt x="66" y="6"/>
                                      </a:lnTo>
                                      <a:lnTo>
                                        <a:pt x="56" y="4"/>
                                      </a:lnTo>
                                      <a:lnTo>
                                        <a:pt x="42" y="0"/>
                                      </a:lnTo>
                                      <a:lnTo>
                                        <a:pt x="42" y="0"/>
                                      </a:lnTo>
                                      <a:lnTo>
                                        <a:pt x="36" y="6"/>
                                      </a:lnTo>
                                      <a:lnTo>
                                        <a:pt x="32" y="8"/>
                                      </a:lnTo>
                                      <a:lnTo>
                                        <a:pt x="28" y="6"/>
                                      </a:lnTo>
                                      <a:lnTo>
                                        <a:pt x="26" y="4"/>
                                      </a:lnTo>
                                      <a:lnTo>
                                        <a:pt x="22" y="4"/>
                                      </a:lnTo>
                                      <a:lnTo>
                                        <a:pt x="18" y="4"/>
                                      </a:lnTo>
                                      <a:lnTo>
                                        <a:pt x="10" y="8"/>
                                      </a:lnTo>
                                      <a:lnTo>
                                        <a:pt x="0" y="16"/>
                                      </a:lnTo>
                                      <a:lnTo>
                                        <a:pt x="0" y="16"/>
                                      </a:lnTo>
                                      <a:lnTo>
                                        <a:pt x="6" y="24"/>
                                      </a:lnTo>
                                      <a:lnTo>
                                        <a:pt x="8" y="30"/>
                                      </a:lnTo>
                                      <a:lnTo>
                                        <a:pt x="8" y="34"/>
                                      </a:lnTo>
                                      <a:lnTo>
                                        <a:pt x="12" y="42"/>
                                      </a:lnTo>
                                      <a:lnTo>
                                        <a:pt x="12" y="42"/>
                                      </a:lnTo>
                                      <a:lnTo>
                                        <a:pt x="18" y="44"/>
                                      </a:lnTo>
                                      <a:lnTo>
                                        <a:pt x="20" y="44"/>
                                      </a:lnTo>
                                      <a:lnTo>
                                        <a:pt x="20" y="46"/>
                                      </a:lnTo>
                                      <a:lnTo>
                                        <a:pt x="20" y="50"/>
                                      </a:lnTo>
                                      <a:lnTo>
                                        <a:pt x="20" y="50"/>
                                      </a:lnTo>
                                      <a:lnTo>
                                        <a:pt x="20" y="52"/>
                                      </a:lnTo>
                                      <a:lnTo>
                                        <a:pt x="20" y="56"/>
                                      </a:lnTo>
                                      <a:lnTo>
                                        <a:pt x="24" y="62"/>
                                      </a:lnTo>
                                      <a:lnTo>
                                        <a:pt x="26" y="70"/>
                                      </a:lnTo>
                                      <a:lnTo>
                                        <a:pt x="26" y="74"/>
                                      </a:lnTo>
                                      <a:lnTo>
                                        <a:pt x="26" y="78"/>
                                      </a:lnTo>
                                      <a:lnTo>
                                        <a:pt x="26" y="78"/>
                                      </a:lnTo>
                                      <a:lnTo>
                                        <a:pt x="22" y="88"/>
                                      </a:lnTo>
                                      <a:lnTo>
                                        <a:pt x="24" y="94"/>
                                      </a:lnTo>
                                      <a:lnTo>
                                        <a:pt x="24" y="98"/>
                                      </a:lnTo>
                                      <a:lnTo>
                                        <a:pt x="20" y="100"/>
                                      </a:lnTo>
                                      <a:lnTo>
                                        <a:pt x="20" y="100"/>
                                      </a:lnTo>
                                      <a:lnTo>
                                        <a:pt x="16" y="102"/>
                                      </a:lnTo>
                                      <a:lnTo>
                                        <a:pt x="14" y="104"/>
                                      </a:lnTo>
                                      <a:lnTo>
                                        <a:pt x="4" y="120"/>
                                      </a:lnTo>
                                      <a:lnTo>
                                        <a:pt x="4" y="120"/>
                                      </a:lnTo>
                                      <a:lnTo>
                                        <a:pt x="8" y="122"/>
                                      </a:lnTo>
                                      <a:lnTo>
                                        <a:pt x="8" y="124"/>
                                      </a:lnTo>
                                      <a:lnTo>
                                        <a:pt x="6" y="128"/>
                                      </a:lnTo>
                                      <a:lnTo>
                                        <a:pt x="6" y="128"/>
                                      </a:lnTo>
                                      <a:lnTo>
                                        <a:pt x="4" y="132"/>
                                      </a:lnTo>
                                      <a:lnTo>
                                        <a:pt x="6" y="134"/>
                                      </a:lnTo>
                                      <a:lnTo>
                                        <a:pt x="8" y="134"/>
                                      </a:lnTo>
                                      <a:lnTo>
                                        <a:pt x="10" y="132"/>
                                      </a:lnTo>
                                      <a:lnTo>
                                        <a:pt x="10" y="132"/>
                                      </a:lnTo>
                                      <a:lnTo>
                                        <a:pt x="12" y="130"/>
                                      </a:lnTo>
                                      <a:lnTo>
                                        <a:pt x="16" y="130"/>
                                      </a:lnTo>
                                      <a:lnTo>
                                        <a:pt x="18" y="130"/>
                                      </a:lnTo>
                                      <a:lnTo>
                                        <a:pt x="20" y="132"/>
                                      </a:lnTo>
                                      <a:lnTo>
                                        <a:pt x="20" y="132"/>
                                      </a:lnTo>
                                      <a:lnTo>
                                        <a:pt x="20" y="134"/>
                                      </a:lnTo>
                                      <a:lnTo>
                                        <a:pt x="18" y="134"/>
                                      </a:lnTo>
                                      <a:lnTo>
                                        <a:pt x="14" y="136"/>
                                      </a:lnTo>
                                      <a:lnTo>
                                        <a:pt x="10" y="142"/>
                                      </a:lnTo>
                                      <a:lnTo>
                                        <a:pt x="10" y="142"/>
                                      </a:lnTo>
                                      <a:lnTo>
                                        <a:pt x="10" y="144"/>
                                      </a:lnTo>
                                      <a:lnTo>
                                        <a:pt x="12" y="146"/>
                                      </a:lnTo>
                                      <a:lnTo>
                                        <a:pt x="12" y="146"/>
                                      </a:lnTo>
                                      <a:lnTo>
                                        <a:pt x="12" y="150"/>
                                      </a:lnTo>
                                      <a:lnTo>
                                        <a:pt x="12" y="150"/>
                                      </a:lnTo>
                                      <a:lnTo>
                                        <a:pt x="80" y="196"/>
                                      </a:lnTo>
                                      <a:lnTo>
                                        <a:pt x="80" y="196"/>
                                      </a:lnTo>
                                      <a:lnTo>
                                        <a:pt x="84" y="198"/>
                                      </a:lnTo>
                                      <a:lnTo>
                                        <a:pt x="86" y="202"/>
                                      </a:lnTo>
                                      <a:lnTo>
                                        <a:pt x="86" y="210"/>
                                      </a:lnTo>
                                      <a:lnTo>
                                        <a:pt x="86" y="216"/>
                                      </a:lnTo>
                                      <a:lnTo>
                                        <a:pt x="88" y="220"/>
                                      </a:lnTo>
                                      <a:lnTo>
                                        <a:pt x="92" y="224"/>
                                      </a:lnTo>
                                      <a:lnTo>
                                        <a:pt x="92" y="224"/>
                                      </a:lnTo>
                                      <a:lnTo>
                                        <a:pt x="110" y="238"/>
                                      </a:lnTo>
                                      <a:lnTo>
                                        <a:pt x="126" y="252"/>
                                      </a:lnTo>
                                      <a:lnTo>
                                        <a:pt x="126" y="252"/>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4" name="Kuwait"/>
                                <p:cNvSpPr>
                                  <a:spLocks/>
                                </p:cNvSpPr>
                                <p:nvPr/>
                              </p:nvSpPr>
                              <p:spPr bwMode="auto">
                                <a:xfrm>
                                  <a:off x="7212155" y="2527660"/>
                                  <a:ext cx="57715" cy="42488"/>
                                </a:xfrm>
                                <a:custGeom>
                                  <a:avLst/>
                                  <a:gdLst/>
                                  <a:ahLst/>
                                  <a:cxnLst>
                                    <a:cxn ang="0">
                                      <a:pos x="0" y="18"/>
                                    </a:cxn>
                                    <a:cxn ang="0">
                                      <a:pos x="0" y="18"/>
                                    </a:cxn>
                                    <a:cxn ang="0">
                                      <a:pos x="6" y="16"/>
                                    </a:cxn>
                                    <a:cxn ang="0">
                                      <a:pos x="10" y="12"/>
                                    </a:cxn>
                                    <a:cxn ang="0">
                                      <a:pos x="14" y="4"/>
                                    </a:cxn>
                                    <a:cxn ang="0">
                                      <a:pos x="16" y="2"/>
                                    </a:cxn>
                                    <a:cxn ang="0">
                                      <a:pos x="20" y="0"/>
                                    </a:cxn>
                                    <a:cxn ang="0">
                                      <a:pos x="24" y="2"/>
                                    </a:cxn>
                                    <a:cxn ang="0">
                                      <a:pos x="30" y="4"/>
                                    </a:cxn>
                                    <a:cxn ang="0">
                                      <a:pos x="30" y="4"/>
                                    </a:cxn>
                                    <a:cxn ang="0">
                                      <a:pos x="36" y="6"/>
                                    </a:cxn>
                                    <a:cxn ang="0">
                                      <a:pos x="38" y="8"/>
                                    </a:cxn>
                                    <a:cxn ang="0">
                                      <a:pos x="36" y="12"/>
                                    </a:cxn>
                                    <a:cxn ang="0">
                                      <a:pos x="38" y="12"/>
                                    </a:cxn>
                                    <a:cxn ang="0">
                                      <a:pos x="38" y="12"/>
                                    </a:cxn>
                                    <a:cxn ang="0">
                                      <a:pos x="38" y="14"/>
                                    </a:cxn>
                                    <a:cxn ang="0">
                                      <a:pos x="38" y="14"/>
                                    </a:cxn>
                                    <a:cxn ang="0">
                                      <a:pos x="34" y="16"/>
                                    </a:cxn>
                                    <a:cxn ang="0">
                                      <a:pos x="30" y="20"/>
                                    </a:cxn>
                                    <a:cxn ang="0">
                                      <a:pos x="28" y="24"/>
                                    </a:cxn>
                                    <a:cxn ang="0">
                                      <a:pos x="30" y="28"/>
                                    </a:cxn>
                                    <a:cxn ang="0">
                                      <a:pos x="30" y="28"/>
                                    </a:cxn>
                                    <a:cxn ang="0">
                                      <a:pos x="22" y="28"/>
                                    </a:cxn>
                                    <a:cxn ang="0">
                                      <a:pos x="18" y="28"/>
                                    </a:cxn>
                                    <a:cxn ang="0">
                                      <a:pos x="16" y="26"/>
                                    </a:cxn>
                                    <a:cxn ang="0">
                                      <a:pos x="16" y="24"/>
                                    </a:cxn>
                                    <a:cxn ang="0">
                                      <a:pos x="14" y="22"/>
                                    </a:cxn>
                                    <a:cxn ang="0">
                                      <a:pos x="12" y="20"/>
                                    </a:cxn>
                                    <a:cxn ang="0">
                                      <a:pos x="8" y="18"/>
                                    </a:cxn>
                                    <a:cxn ang="0">
                                      <a:pos x="0" y="18"/>
                                    </a:cxn>
                                    <a:cxn ang="0">
                                      <a:pos x="0" y="18"/>
                                    </a:cxn>
                                  </a:cxnLst>
                                  <a:rect l="0" t="0" r="r" b="b"/>
                                  <a:pathLst>
                                    <a:path w="38" h="28">
                                      <a:moveTo>
                                        <a:pt x="0" y="18"/>
                                      </a:moveTo>
                                      <a:lnTo>
                                        <a:pt x="0" y="18"/>
                                      </a:lnTo>
                                      <a:lnTo>
                                        <a:pt x="6" y="16"/>
                                      </a:lnTo>
                                      <a:lnTo>
                                        <a:pt x="10" y="12"/>
                                      </a:lnTo>
                                      <a:lnTo>
                                        <a:pt x="14" y="4"/>
                                      </a:lnTo>
                                      <a:lnTo>
                                        <a:pt x="16" y="2"/>
                                      </a:lnTo>
                                      <a:lnTo>
                                        <a:pt x="20" y="0"/>
                                      </a:lnTo>
                                      <a:lnTo>
                                        <a:pt x="24" y="2"/>
                                      </a:lnTo>
                                      <a:lnTo>
                                        <a:pt x="30" y="4"/>
                                      </a:lnTo>
                                      <a:lnTo>
                                        <a:pt x="30" y="4"/>
                                      </a:lnTo>
                                      <a:lnTo>
                                        <a:pt x="36" y="6"/>
                                      </a:lnTo>
                                      <a:lnTo>
                                        <a:pt x="38" y="8"/>
                                      </a:lnTo>
                                      <a:lnTo>
                                        <a:pt x="36" y="12"/>
                                      </a:lnTo>
                                      <a:lnTo>
                                        <a:pt x="38" y="12"/>
                                      </a:lnTo>
                                      <a:lnTo>
                                        <a:pt x="38" y="12"/>
                                      </a:lnTo>
                                      <a:lnTo>
                                        <a:pt x="38" y="14"/>
                                      </a:lnTo>
                                      <a:lnTo>
                                        <a:pt x="38" y="14"/>
                                      </a:lnTo>
                                      <a:lnTo>
                                        <a:pt x="34" y="16"/>
                                      </a:lnTo>
                                      <a:lnTo>
                                        <a:pt x="30" y="20"/>
                                      </a:lnTo>
                                      <a:lnTo>
                                        <a:pt x="28" y="24"/>
                                      </a:lnTo>
                                      <a:lnTo>
                                        <a:pt x="30" y="28"/>
                                      </a:lnTo>
                                      <a:lnTo>
                                        <a:pt x="30" y="28"/>
                                      </a:lnTo>
                                      <a:lnTo>
                                        <a:pt x="22" y="28"/>
                                      </a:lnTo>
                                      <a:lnTo>
                                        <a:pt x="18" y="28"/>
                                      </a:lnTo>
                                      <a:lnTo>
                                        <a:pt x="16" y="26"/>
                                      </a:lnTo>
                                      <a:lnTo>
                                        <a:pt x="16" y="24"/>
                                      </a:lnTo>
                                      <a:lnTo>
                                        <a:pt x="14" y="22"/>
                                      </a:lnTo>
                                      <a:lnTo>
                                        <a:pt x="12" y="20"/>
                                      </a:lnTo>
                                      <a:lnTo>
                                        <a:pt x="8" y="18"/>
                                      </a:lnTo>
                                      <a:lnTo>
                                        <a:pt x="0" y="18"/>
                                      </a:lnTo>
                                      <a:lnTo>
                                        <a:pt x="0" y="1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5" name="Laos"/>
                                <p:cNvSpPr>
                                  <a:spLocks/>
                                </p:cNvSpPr>
                                <p:nvPr/>
                              </p:nvSpPr>
                              <p:spPr bwMode="auto">
                                <a:xfrm>
                                  <a:off x="8925385" y="2823399"/>
                                  <a:ext cx="300727" cy="321692"/>
                                </a:xfrm>
                                <a:custGeom>
                                  <a:avLst/>
                                  <a:gdLst/>
                                  <a:ahLst/>
                                  <a:cxnLst>
                                    <a:cxn ang="0">
                                      <a:pos x="8" y="2"/>
                                    </a:cxn>
                                    <a:cxn ang="0">
                                      <a:pos x="4" y="6"/>
                                    </a:cxn>
                                    <a:cxn ang="0">
                                      <a:pos x="12" y="20"/>
                                    </a:cxn>
                                    <a:cxn ang="0">
                                      <a:pos x="18" y="30"/>
                                    </a:cxn>
                                    <a:cxn ang="0">
                                      <a:pos x="14" y="36"/>
                                    </a:cxn>
                                    <a:cxn ang="0">
                                      <a:pos x="6" y="30"/>
                                    </a:cxn>
                                    <a:cxn ang="0">
                                      <a:pos x="0" y="42"/>
                                    </a:cxn>
                                    <a:cxn ang="0">
                                      <a:pos x="0" y="52"/>
                                    </a:cxn>
                                    <a:cxn ang="0">
                                      <a:pos x="4" y="56"/>
                                    </a:cxn>
                                    <a:cxn ang="0">
                                      <a:pos x="6" y="60"/>
                                    </a:cxn>
                                    <a:cxn ang="0">
                                      <a:pos x="18" y="64"/>
                                    </a:cxn>
                                    <a:cxn ang="0">
                                      <a:pos x="28" y="66"/>
                                    </a:cxn>
                                    <a:cxn ang="0">
                                      <a:pos x="22" y="84"/>
                                    </a:cxn>
                                    <a:cxn ang="0">
                                      <a:pos x="20" y="110"/>
                                    </a:cxn>
                                    <a:cxn ang="0">
                                      <a:pos x="24" y="110"/>
                                    </a:cxn>
                                    <a:cxn ang="0">
                                      <a:pos x="38" y="102"/>
                                    </a:cxn>
                                    <a:cxn ang="0">
                                      <a:pos x="46" y="106"/>
                                    </a:cxn>
                                    <a:cxn ang="0">
                                      <a:pos x="60" y="110"/>
                                    </a:cxn>
                                    <a:cxn ang="0">
                                      <a:pos x="76" y="106"/>
                                    </a:cxn>
                                    <a:cxn ang="0">
                                      <a:pos x="86" y="114"/>
                                    </a:cxn>
                                    <a:cxn ang="0">
                                      <a:pos x="108" y="132"/>
                                    </a:cxn>
                                    <a:cxn ang="0">
                                      <a:pos x="108" y="142"/>
                                    </a:cxn>
                                    <a:cxn ang="0">
                                      <a:pos x="122" y="162"/>
                                    </a:cxn>
                                    <a:cxn ang="0">
                                      <a:pos x="130" y="162"/>
                                    </a:cxn>
                                    <a:cxn ang="0">
                                      <a:pos x="138" y="170"/>
                                    </a:cxn>
                                    <a:cxn ang="0">
                                      <a:pos x="140" y="178"/>
                                    </a:cxn>
                                    <a:cxn ang="0">
                                      <a:pos x="142" y="188"/>
                                    </a:cxn>
                                    <a:cxn ang="0">
                                      <a:pos x="140" y="196"/>
                                    </a:cxn>
                                    <a:cxn ang="0">
                                      <a:pos x="136" y="202"/>
                                    </a:cxn>
                                    <a:cxn ang="0">
                                      <a:pos x="156" y="210"/>
                                    </a:cxn>
                                    <a:cxn ang="0">
                                      <a:pos x="160" y="210"/>
                                    </a:cxn>
                                    <a:cxn ang="0">
                                      <a:pos x="158" y="196"/>
                                    </a:cxn>
                                    <a:cxn ang="0">
                                      <a:pos x="162" y="190"/>
                                    </a:cxn>
                                    <a:cxn ang="0">
                                      <a:pos x="176" y="198"/>
                                    </a:cxn>
                                    <a:cxn ang="0">
                                      <a:pos x="198" y="212"/>
                                    </a:cxn>
                                    <a:cxn ang="0">
                                      <a:pos x="192" y="194"/>
                                    </a:cxn>
                                    <a:cxn ang="0">
                                      <a:pos x="182" y="176"/>
                                    </a:cxn>
                                    <a:cxn ang="0">
                                      <a:pos x="180" y="162"/>
                                    </a:cxn>
                                    <a:cxn ang="0">
                                      <a:pos x="160" y="154"/>
                                    </a:cxn>
                                    <a:cxn ang="0">
                                      <a:pos x="146" y="148"/>
                                    </a:cxn>
                                    <a:cxn ang="0">
                                      <a:pos x="140" y="130"/>
                                    </a:cxn>
                                    <a:cxn ang="0">
                                      <a:pos x="132" y="122"/>
                                    </a:cxn>
                                    <a:cxn ang="0">
                                      <a:pos x="118" y="108"/>
                                    </a:cxn>
                                    <a:cxn ang="0">
                                      <a:pos x="114" y="96"/>
                                    </a:cxn>
                                    <a:cxn ang="0">
                                      <a:pos x="110" y="92"/>
                                    </a:cxn>
                                    <a:cxn ang="0">
                                      <a:pos x="90" y="82"/>
                                    </a:cxn>
                                    <a:cxn ang="0">
                                      <a:pos x="80" y="74"/>
                                    </a:cxn>
                                    <a:cxn ang="0">
                                      <a:pos x="94" y="68"/>
                                    </a:cxn>
                                    <a:cxn ang="0">
                                      <a:pos x="102" y="68"/>
                                    </a:cxn>
                                    <a:cxn ang="0">
                                      <a:pos x="106" y="58"/>
                                    </a:cxn>
                                    <a:cxn ang="0">
                                      <a:pos x="98" y="46"/>
                                    </a:cxn>
                                    <a:cxn ang="0">
                                      <a:pos x="68" y="42"/>
                                    </a:cxn>
                                    <a:cxn ang="0">
                                      <a:pos x="50" y="38"/>
                                    </a:cxn>
                                    <a:cxn ang="0">
                                      <a:pos x="44" y="30"/>
                                    </a:cxn>
                                    <a:cxn ang="0">
                                      <a:pos x="44" y="24"/>
                                    </a:cxn>
                                    <a:cxn ang="0">
                                      <a:pos x="22" y="6"/>
                                    </a:cxn>
                                  </a:cxnLst>
                                  <a:rect l="0" t="0" r="r" b="b"/>
                                  <a:pathLst>
                                    <a:path w="198" h="212">
                                      <a:moveTo>
                                        <a:pt x="18" y="0"/>
                                      </a:moveTo>
                                      <a:lnTo>
                                        <a:pt x="18" y="0"/>
                                      </a:lnTo>
                                      <a:lnTo>
                                        <a:pt x="8" y="2"/>
                                      </a:lnTo>
                                      <a:lnTo>
                                        <a:pt x="6" y="4"/>
                                      </a:lnTo>
                                      <a:lnTo>
                                        <a:pt x="4" y="6"/>
                                      </a:lnTo>
                                      <a:lnTo>
                                        <a:pt x="4" y="6"/>
                                      </a:lnTo>
                                      <a:lnTo>
                                        <a:pt x="6" y="10"/>
                                      </a:lnTo>
                                      <a:lnTo>
                                        <a:pt x="8" y="14"/>
                                      </a:lnTo>
                                      <a:lnTo>
                                        <a:pt x="12" y="20"/>
                                      </a:lnTo>
                                      <a:lnTo>
                                        <a:pt x="16" y="26"/>
                                      </a:lnTo>
                                      <a:lnTo>
                                        <a:pt x="16" y="26"/>
                                      </a:lnTo>
                                      <a:lnTo>
                                        <a:pt x="18" y="30"/>
                                      </a:lnTo>
                                      <a:lnTo>
                                        <a:pt x="16" y="32"/>
                                      </a:lnTo>
                                      <a:lnTo>
                                        <a:pt x="16" y="34"/>
                                      </a:lnTo>
                                      <a:lnTo>
                                        <a:pt x="14" y="36"/>
                                      </a:lnTo>
                                      <a:lnTo>
                                        <a:pt x="8" y="34"/>
                                      </a:lnTo>
                                      <a:lnTo>
                                        <a:pt x="6" y="30"/>
                                      </a:lnTo>
                                      <a:lnTo>
                                        <a:pt x="6" y="30"/>
                                      </a:lnTo>
                                      <a:lnTo>
                                        <a:pt x="2" y="34"/>
                                      </a:lnTo>
                                      <a:lnTo>
                                        <a:pt x="0" y="38"/>
                                      </a:lnTo>
                                      <a:lnTo>
                                        <a:pt x="0" y="42"/>
                                      </a:lnTo>
                                      <a:lnTo>
                                        <a:pt x="2" y="48"/>
                                      </a:lnTo>
                                      <a:lnTo>
                                        <a:pt x="2" y="50"/>
                                      </a:lnTo>
                                      <a:lnTo>
                                        <a:pt x="0" y="52"/>
                                      </a:lnTo>
                                      <a:lnTo>
                                        <a:pt x="0" y="52"/>
                                      </a:lnTo>
                                      <a:lnTo>
                                        <a:pt x="2" y="56"/>
                                      </a:lnTo>
                                      <a:lnTo>
                                        <a:pt x="4" y="56"/>
                                      </a:lnTo>
                                      <a:lnTo>
                                        <a:pt x="4" y="56"/>
                                      </a:lnTo>
                                      <a:lnTo>
                                        <a:pt x="6" y="60"/>
                                      </a:lnTo>
                                      <a:lnTo>
                                        <a:pt x="6" y="60"/>
                                      </a:lnTo>
                                      <a:lnTo>
                                        <a:pt x="8" y="64"/>
                                      </a:lnTo>
                                      <a:lnTo>
                                        <a:pt x="10" y="66"/>
                                      </a:lnTo>
                                      <a:lnTo>
                                        <a:pt x="18" y="64"/>
                                      </a:lnTo>
                                      <a:lnTo>
                                        <a:pt x="24" y="64"/>
                                      </a:lnTo>
                                      <a:lnTo>
                                        <a:pt x="26" y="64"/>
                                      </a:lnTo>
                                      <a:lnTo>
                                        <a:pt x="28" y="66"/>
                                      </a:lnTo>
                                      <a:lnTo>
                                        <a:pt x="28" y="66"/>
                                      </a:lnTo>
                                      <a:lnTo>
                                        <a:pt x="28" y="72"/>
                                      </a:lnTo>
                                      <a:lnTo>
                                        <a:pt x="22" y="84"/>
                                      </a:lnTo>
                                      <a:lnTo>
                                        <a:pt x="20" y="98"/>
                                      </a:lnTo>
                                      <a:lnTo>
                                        <a:pt x="20" y="104"/>
                                      </a:lnTo>
                                      <a:lnTo>
                                        <a:pt x="20" y="110"/>
                                      </a:lnTo>
                                      <a:lnTo>
                                        <a:pt x="20" y="110"/>
                                      </a:lnTo>
                                      <a:lnTo>
                                        <a:pt x="22" y="112"/>
                                      </a:lnTo>
                                      <a:lnTo>
                                        <a:pt x="24" y="110"/>
                                      </a:lnTo>
                                      <a:lnTo>
                                        <a:pt x="30" y="106"/>
                                      </a:lnTo>
                                      <a:lnTo>
                                        <a:pt x="34" y="104"/>
                                      </a:lnTo>
                                      <a:lnTo>
                                        <a:pt x="38" y="102"/>
                                      </a:lnTo>
                                      <a:lnTo>
                                        <a:pt x="42" y="102"/>
                                      </a:lnTo>
                                      <a:lnTo>
                                        <a:pt x="46" y="106"/>
                                      </a:lnTo>
                                      <a:lnTo>
                                        <a:pt x="46" y="106"/>
                                      </a:lnTo>
                                      <a:lnTo>
                                        <a:pt x="52" y="110"/>
                                      </a:lnTo>
                                      <a:lnTo>
                                        <a:pt x="56" y="112"/>
                                      </a:lnTo>
                                      <a:lnTo>
                                        <a:pt x="60" y="110"/>
                                      </a:lnTo>
                                      <a:lnTo>
                                        <a:pt x="64" y="108"/>
                                      </a:lnTo>
                                      <a:lnTo>
                                        <a:pt x="70" y="108"/>
                                      </a:lnTo>
                                      <a:lnTo>
                                        <a:pt x="76" y="106"/>
                                      </a:lnTo>
                                      <a:lnTo>
                                        <a:pt x="80" y="108"/>
                                      </a:lnTo>
                                      <a:lnTo>
                                        <a:pt x="86" y="114"/>
                                      </a:lnTo>
                                      <a:lnTo>
                                        <a:pt x="86" y="114"/>
                                      </a:lnTo>
                                      <a:lnTo>
                                        <a:pt x="98" y="124"/>
                                      </a:lnTo>
                                      <a:lnTo>
                                        <a:pt x="104" y="128"/>
                                      </a:lnTo>
                                      <a:lnTo>
                                        <a:pt x="108" y="132"/>
                                      </a:lnTo>
                                      <a:lnTo>
                                        <a:pt x="108" y="138"/>
                                      </a:lnTo>
                                      <a:lnTo>
                                        <a:pt x="108" y="138"/>
                                      </a:lnTo>
                                      <a:lnTo>
                                        <a:pt x="108" y="142"/>
                                      </a:lnTo>
                                      <a:lnTo>
                                        <a:pt x="108" y="146"/>
                                      </a:lnTo>
                                      <a:lnTo>
                                        <a:pt x="114" y="156"/>
                                      </a:lnTo>
                                      <a:lnTo>
                                        <a:pt x="122" y="162"/>
                                      </a:lnTo>
                                      <a:lnTo>
                                        <a:pt x="126" y="162"/>
                                      </a:lnTo>
                                      <a:lnTo>
                                        <a:pt x="130" y="162"/>
                                      </a:lnTo>
                                      <a:lnTo>
                                        <a:pt x="130" y="162"/>
                                      </a:lnTo>
                                      <a:lnTo>
                                        <a:pt x="132" y="166"/>
                                      </a:lnTo>
                                      <a:lnTo>
                                        <a:pt x="136" y="168"/>
                                      </a:lnTo>
                                      <a:lnTo>
                                        <a:pt x="138" y="170"/>
                                      </a:lnTo>
                                      <a:lnTo>
                                        <a:pt x="138" y="174"/>
                                      </a:lnTo>
                                      <a:lnTo>
                                        <a:pt x="138" y="174"/>
                                      </a:lnTo>
                                      <a:lnTo>
                                        <a:pt x="140" y="178"/>
                                      </a:lnTo>
                                      <a:lnTo>
                                        <a:pt x="142" y="182"/>
                                      </a:lnTo>
                                      <a:lnTo>
                                        <a:pt x="144" y="184"/>
                                      </a:lnTo>
                                      <a:lnTo>
                                        <a:pt x="142" y="188"/>
                                      </a:lnTo>
                                      <a:lnTo>
                                        <a:pt x="142" y="188"/>
                                      </a:lnTo>
                                      <a:lnTo>
                                        <a:pt x="140" y="192"/>
                                      </a:lnTo>
                                      <a:lnTo>
                                        <a:pt x="140" y="196"/>
                                      </a:lnTo>
                                      <a:lnTo>
                                        <a:pt x="138" y="198"/>
                                      </a:lnTo>
                                      <a:lnTo>
                                        <a:pt x="136" y="202"/>
                                      </a:lnTo>
                                      <a:lnTo>
                                        <a:pt x="136" y="202"/>
                                      </a:lnTo>
                                      <a:lnTo>
                                        <a:pt x="150" y="204"/>
                                      </a:lnTo>
                                      <a:lnTo>
                                        <a:pt x="154" y="206"/>
                                      </a:lnTo>
                                      <a:lnTo>
                                        <a:pt x="156" y="210"/>
                                      </a:lnTo>
                                      <a:lnTo>
                                        <a:pt x="158" y="212"/>
                                      </a:lnTo>
                                      <a:lnTo>
                                        <a:pt x="158" y="212"/>
                                      </a:lnTo>
                                      <a:lnTo>
                                        <a:pt x="160" y="210"/>
                                      </a:lnTo>
                                      <a:lnTo>
                                        <a:pt x="160" y="208"/>
                                      </a:lnTo>
                                      <a:lnTo>
                                        <a:pt x="160" y="202"/>
                                      </a:lnTo>
                                      <a:lnTo>
                                        <a:pt x="158" y="196"/>
                                      </a:lnTo>
                                      <a:lnTo>
                                        <a:pt x="160" y="192"/>
                                      </a:lnTo>
                                      <a:lnTo>
                                        <a:pt x="162" y="190"/>
                                      </a:lnTo>
                                      <a:lnTo>
                                        <a:pt x="162" y="190"/>
                                      </a:lnTo>
                                      <a:lnTo>
                                        <a:pt x="164" y="190"/>
                                      </a:lnTo>
                                      <a:lnTo>
                                        <a:pt x="168" y="192"/>
                                      </a:lnTo>
                                      <a:lnTo>
                                        <a:pt x="176" y="198"/>
                                      </a:lnTo>
                                      <a:lnTo>
                                        <a:pt x="186" y="206"/>
                                      </a:lnTo>
                                      <a:lnTo>
                                        <a:pt x="192" y="210"/>
                                      </a:lnTo>
                                      <a:lnTo>
                                        <a:pt x="198" y="212"/>
                                      </a:lnTo>
                                      <a:lnTo>
                                        <a:pt x="198" y="212"/>
                                      </a:lnTo>
                                      <a:lnTo>
                                        <a:pt x="196" y="204"/>
                                      </a:lnTo>
                                      <a:lnTo>
                                        <a:pt x="192" y="194"/>
                                      </a:lnTo>
                                      <a:lnTo>
                                        <a:pt x="184" y="180"/>
                                      </a:lnTo>
                                      <a:lnTo>
                                        <a:pt x="184" y="180"/>
                                      </a:lnTo>
                                      <a:lnTo>
                                        <a:pt x="182" y="176"/>
                                      </a:lnTo>
                                      <a:lnTo>
                                        <a:pt x="182" y="174"/>
                                      </a:lnTo>
                                      <a:lnTo>
                                        <a:pt x="182" y="166"/>
                                      </a:lnTo>
                                      <a:lnTo>
                                        <a:pt x="180" y="162"/>
                                      </a:lnTo>
                                      <a:lnTo>
                                        <a:pt x="176" y="160"/>
                                      </a:lnTo>
                                      <a:lnTo>
                                        <a:pt x="170" y="156"/>
                                      </a:lnTo>
                                      <a:lnTo>
                                        <a:pt x="160" y="154"/>
                                      </a:lnTo>
                                      <a:lnTo>
                                        <a:pt x="160" y="154"/>
                                      </a:lnTo>
                                      <a:lnTo>
                                        <a:pt x="152" y="150"/>
                                      </a:lnTo>
                                      <a:lnTo>
                                        <a:pt x="146" y="148"/>
                                      </a:lnTo>
                                      <a:lnTo>
                                        <a:pt x="144" y="142"/>
                                      </a:lnTo>
                                      <a:lnTo>
                                        <a:pt x="142" y="138"/>
                                      </a:lnTo>
                                      <a:lnTo>
                                        <a:pt x="140" y="130"/>
                                      </a:lnTo>
                                      <a:lnTo>
                                        <a:pt x="138" y="126"/>
                                      </a:lnTo>
                                      <a:lnTo>
                                        <a:pt x="132" y="122"/>
                                      </a:lnTo>
                                      <a:lnTo>
                                        <a:pt x="132" y="122"/>
                                      </a:lnTo>
                                      <a:lnTo>
                                        <a:pt x="126" y="120"/>
                                      </a:lnTo>
                                      <a:lnTo>
                                        <a:pt x="122" y="116"/>
                                      </a:lnTo>
                                      <a:lnTo>
                                        <a:pt x="118" y="108"/>
                                      </a:lnTo>
                                      <a:lnTo>
                                        <a:pt x="116" y="100"/>
                                      </a:lnTo>
                                      <a:lnTo>
                                        <a:pt x="116" y="98"/>
                                      </a:lnTo>
                                      <a:lnTo>
                                        <a:pt x="114" y="96"/>
                                      </a:lnTo>
                                      <a:lnTo>
                                        <a:pt x="114" y="96"/>
                                      </a:lnTo>
                                      <a:lnTo>
                                        <a:pt x="112" y="94"/>
                                      </a:lnTo>
                                      <a:lnTo>
                                        <a:pt x="110" y="92"/>
                                      </a:lnTo>
                                      <a:lnTo>
                                        <a:pt x="106" y="88"/>
                                      </a:lnTo>
                                      <a:lnTo>
                                        <a:pt x="90" y="82"/>
                                      </a:lnTo>
                                      <a:lnTo>
                                        <a:pt x="90" y="82"/>
                                      </a:lnTo>
                                      <a:lnTo>
                                        <a:pt x="84" y="80"/>
                                      </a:lnTo>
                                      <a:lnTo>
                                        <a:pt x="80" y="76"/>
                                      </a:lnTo>
                                      <a:lnTo>
                                        <a:pt x="80" y="74"/>
                                      </a:lnTo>
                                      <a:lnTo>
                                        <a:pt x="82" y="72"/>
                                      </a:lnTo>
                                      <a:lnTo>
                                        <a:pt x="88" y="68"/>
                                      </a:lnTo>
                                      <a:lnTo>
                                        <a:pt x="94" y="68"/>
                                      </a:lnTo>
                                      <a:lnTo>
                                        <a:pt x="94" y="68"/>
                                      </a:lnTo>
                                      <a:lnTo>
                                        <a:pt x="98" y="68"/>
                                      </a:lnTo>
                                      <a:lnTo>
                                        <a:pt x="102" y="68"/>
                                      </a:lnTo>
                                      <a:lnTo>
                                        <a:pt x="104" y="64"/>
                                      </a:lnTo>
                                      <a:lnTo>
                                        <a:pt x="106" y="58"/>
                                      </a:lnTo>
                                      <a:lnTo>
                                        <a:pt x="106" y="58"/>
                                      </a:lnTo>
                                      <a:lnTo>
                                        <a:pt x="104" y="54"/>
                                      </a:lnTo>
                                      <a:lnTo>
                                        <a:pt x="98" y="46"/>
                                      </a:lnTo>
                                      <a:lnTo>
                                        <a:pt x="98" y="46"/>
                                      </a:lnTo>
                                      <a:lnTo>
                                        <a:pt x="94" y="44"/>
                                      </a:lnTo>
                                      <a:lnTo>
                                        <a:pt x="88" y="42"/>
                                      </a:lnTo>
                                      <a:lnTo>
                                        <a:pt x="68" y="42"/>
                                      </a:lnTo>
                                      <a:lnTo>
                                        <a:pt x="68" y="42"/>
                                      </a:lnTo>
                                      <a:lnTo>
                                        <a:pt x="58" y="40"/>
                                      </a:lnTo>
                                      <a:lnTo>
                                        <a:pt x="50" y="38"/>
                                      </a:lnTo>
                                      <a:lnTo>
                                        <a:pt x="46" y="34"/>
                                      </a:lnTo>
                                      <a:lnTo>
                                        <a:pt x="44" y="32"/>
                                      </a:lnTo>
                                      <a:lnTo>
                                        <a:pt x="44" y="30"/>
                                      </a:lnTo>
                                      <a:lnTo>
                                        <a:pt x="44" y="30"/>
                                      </a:lnTo>
                                      <a:lnTo>
                                        <a:pt x="44" y="26"/>
                                      </a:lnTo>
                                      <a:lnTo>
                                        <a:pt x="44" y="24"/>
                                      </a:lnTo>
                                      <a:lnTo>
                                        <a:pt x="36" y="20"/>
                                      </a:lnTo>
                                      <a:lnTo>
                                        <a:pt x="26" y="12"/>
                                      </a:lnTo>
                                      <a:lnTo>
                                        <a:pt x="22" y="6"/>
                                      </a:lnTo>
                                      <a:lnTo>
                                        <a:pt x="18" y="0"/>
                                      </a:lnTo>
                                      <a:lnTo>
                                        <a:pt x="18" y="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4" name="Madagascar"/>
                                <p:cNvSpPr>
                                  <a:spLocks/>
                                </p:cNvSpPr>
                                <p:nvPr/>
                              </p:nvSpPr>
                              <p:spPr bwMode="auto">
                                <a:xfrm>
                                  <a:off x="7121026" y="4135024"/>
                                  <a:ext cx="255162" cy="491643"/>
                                </a:xfrm>
                                <a:custGeom>
                                  <a:avLst/>
                                  <a:gdLst/>
                                  <a:ahLst/>
                                  <a:cxnLst>
                                    <a:cxn ang="0">
                                      <a:pos x="146" y="2"/>
                                    </a:cxn>
                                    <a:cxn ang="0">
                                      <a:pos x="150" y="4"/>
                                    </a:cxn>
                                    <a:cxn ang="0">
                                      <a:pos x="154" y="10"/>
                                    </a:cxn>
                                    <a:cxn ang="0">
                                      <a:pos x="162" y="46"/>
                                    </a:cxn>
                                    <a:cxn ang="0">
                                      <a:pos x="166" y="86"/>
                                    </a:cxn>
                                    <a:cxn ang="0">
                                      <a:pos x="158" y="86"/>
                                    </a:cxn>
                                    <a:cxn ang="0">
                                      <a:pos x="152" y="84"/>
                                    </a:cxn>
                                    <a:cxn ang="0">
                                      <a:pos x="152" y="100"/>
                                    </a:cxn>
                                    <a:cxn ang="0">
                                      <a:pos x="154" y="112"/>
                                    </a:cxn>
                                    <a:cxn ang="0">
                                      <a:pos x="146" y="126"/>
                                    </a:cxn>
                                    <a:cxn ang="0">
                                      <a:pos x="136" y="164"/>
                                    </a:cxn>
                                    <a:cxn ang="0">
                                      <a:pos x="122" y="192"/>
                                    </a:cxn>
                                    <a:cxn ang="0">
                                      <a:pos x="110" y="232"/>
                                    </a:cxn>
                                    <a:cxn ang="0">
                                      <a:pos x="94" y="282"/>
                                    </a:cxn>
                                    <a:cxn ang="0">
                                      <a:pos x="84" y="300"/>
                                    </a:cxn>
                                    <a:cxn ang="0">
                                      <a:pos x="60" y="318"/>
                                    </a:cxn>
                                    <a:cxn ang="0">
                                      <a:pos x="44" y="324"/>
                                    </a:cxn>
                                    <a:cxn ang="0">
                                      <a:pos x="20" y="316"/>
                                    </a:cxn>
                                    <a:cxn ang="0">
                                      <a:pos x="8" y="294"/>
                                    </a:cxn>
                                    <a:cxn ang="0">
                                      <a:pos x="6" y="278"/>
                                    </a:cxn>
                                    <a:cxn ang="0">
                                      <a:pos x="0" y="258"/>
                                    </a:cxn>
                                    <a:cxn ang="0">
                                      <a:pos x="2" y="242"/>
                                    </a:cxn>
                                    <a:cxn ang="0">
                                      <a:pos x="14" y="220"/>
                                    </a:cxn>
                                    <a:cxn ang="0">
                                      <a:pos x="22" y="210"/>
                                    </a:cxn>
                                    <a:cxn ang="0">
                                      <a:pos x="28" y="196"/>
                                    </a:cxn>
                                    <a:cxn ang="0">
                                      <a:pos x="30" y="182"/>
                                    </a:cxn>
                                    <a:cxn ang="0">
                                      <a:pos x="30" y="158"/>
                                    </a:cxn>
                                    <a:cxn ang="0">
                                      <a:pos x="30" y="132"/>
                                    </a:cxn>
                                    <a:cxn ang="0">
                                      <a:pos x="40" y="110"/>
                                    </a:cxn>
                                    <a:cxn ang="0">
                                      <a:pos x="46" y="100"/>
                                    </a:cxn>
                                    <a:cxn ang="0">
                                      <a:pos x="54" y="96"/>
                                    </a:cxn>
                                    <a:cxn ang="0">
                                      <a:pos x="60" y="90"/>
                                    </a:cxn>
                                    <a:cxn ang="0">
                                      <a:pos x="82" y="92"/>
                                    </a:cxn>
                                    <a:cxn ang="0">
                                      <a:pos x="86" y="82"/>
                                    </a:cxn>
                                    <a:cxn ang="0">
                                      <a:pos x="94" y="72"/>
                                    </a:cxn>
                                    <a:cxn ang="0">
                                      <a:pos x="98" y="74"/>
                                    </a:cxn>
                                    <a:cxn ang="0">
                                      <a:pos x="104" y="68"/>
                                    </a:cxn>
                                    <a:cxn ang="0">
                                      <a:pos x="110" y="54"/>
                                    </a:cxn>
                                    <a:cxn ang="0">
                                      <a:pos x="114" y="52"/>
                                    </a:cxn>
                                    <a:cxn ang="0">
                                      <a:pos x="112" y="42"/>
                                    </a:cxn>
                                    <a:cxn ang="0">
                                      <a:pos x="114" y="38"/>
                                    </a:cxn>
                                    <a:cxn ang="0">
                                      <a:pos x="120" y="40"/>
                                    </a:cxn>
                                    <a:cxn ang="0">
                                      <a:pos x="124" y="38"/>
                                    </a:cxn>
                                    <a:cxn ang="0">
                                      <a:pos x="136" y="20"/>
                                    </a:cxn>
                                    <a:cxn ang="0">
                                      <a:pos x="134" y="12"/>
                                    </a:cxn>
                                    <a:cxn ang="0">
                                      <a:pos x="140" y="6"/>
                                    </a:cxn>
                                  </a:cxnLst>
                                  <a:rect l="0" t="0" r="r" b="b"/>
                                  <a:pathLst>
                                    <a:path w="168" h="324">
                                      <a:moveTo>
                                        <a:pt x="140" y="6"/>
                                      </a:moveTo>
                                      <a:lnTo>
                                        <a:pt x="140" y="6"/>
                                      </a:lnTo>
                                      <a:lnTo>
                                        <a:pt x="146" y="2"/>
                                      </a:lnTo>
                                      <a:lnTo>
                                        <a:pt x="148" y="0"/>
                                      </a:lnTo>
                                      <a:lnTo>
                                        <a:pt x="150" y="2"/>
                                      </a:lnTo>
                                      <a:lnTo>
                                        <a:pt x="150" y="4"/>
                                      </a:lnTo>
                                      <a:lnTo>
                                        <a:pt x="150" y="8"/>
                                      </a:lnTo>
                                      <a:lnTo>
                                        <a:pt x="152" y="10"/>
                                      </a:lnTo>
                                      <a:lnTo>
                                        <a:pt x="154" y="10"/>
                                      </a:lnTo>
                                      <a:lnTo>
                                        <a:pt x="154" y="10"/>
                                      </a:lnTo>
                                      <a:lnTo>
                                        <a:pt x="158" y="20"/>
                                      </a:lnTo>
                                      <a:lnTo>
                                        <a:pt x="162" y="46"/>
                                      </a:lnTo>
                                      <a:lnTo>
                                        <a:pt x="166" y="72"/>
                                      </a:lnTo>
                                      <a:lnTo>
                                        <a:pt x="168" y="82"/>
                                      </a:lnTo>
                                      <a:lnTo>
                                        <a:pt x="166" y="86"/>
                                      </a:lnTo>
                                      <a:lnTo>
                                        <a:pt x="166" y="86"/>
                                      </a:lnTo>
                                      <a:lnTo>
                                        <a:pt x="162" y="88"/>
                                      </a:lnTo>
                                      <a:lnTo>
                                        <a:pt x="158" y="86"/>
                                      </a:lnTo>
                                      <a:lnTo>
                                        <a:pt x="156" y="84"/>
                                      </a:lnTo>
                                      <a:lnTo>
                                        <a:pt x="152" y="84"/>
                                      </a:lnTo>
                                      <a:lnTo>
                                        <a:pt x="152" y="84"/>
                                      </a:lnTo>
                                      <a:lnTo>
                                        <a:pt x="152" y="88"/>
                                      </a:lnTo>
                                      <a:lnTo>
                                        <a:pt x="150" y="92"/>
                                      </a:lnTo>
                                      <a:lnTo>
                                        <a:pt x="152" y="100"/>
                                      </a:lnTo>
                                      <a:lnTo>
                                        <a:pt x="156" y="106"/>
                                      </a:lnTo>
                                      <a:lnTo>
                                        <a:pt x="156" y="110"/>
                                      </a:lnTo>
                                      <a:lnTo>
                                        <a:pt x="154" y="112"/>
                                      </a:lnTo>
                                      <a:lnTo>
                                        <a:pt x="154" y="112"/>
                                      </a:lnTo>
                                      <a:lnTo>
                                        <a:pt x="150" y="120"/>
                                      </a:lnTo>
                                      <a:lnTo>
                                        <a:pt x="146" y="126"/>
                                      </a:lnTo>
                                      <a:lnTo>
                                        <a:pt x="142" y="140"/>
                                      </a:lnTo>
                                      <a:lnTo>
                                        <a:pt x="140" y="154"/>
                                      </a:lnTo>
                                      <a:lnTo>
                                        <a:pt x="136" y="164"/>
                                      </a:lnTo>
                                      <a:lnTo>
                                        <a:pt x="132" y="172"/>
                                      </a:lnTo>
                                      <a:lnTo>
                                        <a:pt x="132" y="172"/>
                                      </a:lnTo>
                                      <a:lnTo>
                                        <a:pt x="122" y="192"/>
                                      </a:lnTo>
                                      <a:lnTo>
                                        <a:pt x="116" y="208"/>
                                      </a:lnTo>
                                      <a:lnTo>
                                        <a:pt x="112" y="220"/>
                                      </a:lnTo>
                                      <a:lnTo>
                                        <a:pt x="110" y="232"/>
                                      </a:lnTo>
                                      <a:lnTo>
                                        <a:pt x="106" y="254"/>
                                      </a:lnTo>
                                      <a:lnTo>
                                        <a:pt x="102" y="266"/>
                                      </a:lnTo>
                                      <a:lnTo>
                                        <a:pt x="94" y="282"/>
                                      </a:lnTo>
                                      <a:lnTo>
                                        <a:pt x="94" y="282"/>
                                      </a:lnTo>
                                      <a:lnTo>
                                        <a:pt x="90" y="294"/>
                                      </a:lnTo>
                                      <a:lnTo>
                                        <a:pt x="84" y="300"/>
                                      </a:lnTo>
                                      <a:lnTo>
                                        <a:pt x="74" y="310"/>
                                      </a:lnTo>
                                      <a:lnTo>
                                        <a:pt x="64" y="316"/>
                                      </a:lnTo>
                                      <a:lnTo>
                                        <a:pt x="60" y="318"/>
                                      </a:lnTo>
                                      <a:lnTo>
                                        <a:pt x="60" y="318"/>
                                      </a:lnTo>
                                      <a:lnTo>
                                        <a:pt x="52" y="322"/>
                                      </a:lnTo>
                                      <a:lnTo>
                                        <a:pt x="44" y="324"/>
                                      </a:lnTo>
                                      <a:lnTo>
                                        <a:pt x="36" y="324"/>
                                      </a:lnTo>
                                      <a:lnTo>
                                        <a:pt x="28" y="322"/>
                                      </a:lnTo>
                                      <a:lnTo>
                                        <a:pt x="20" y="316"/>
                                      </a:lnTo>
                                      <a:lnTo>
                                        <a:pt x="14" y="310"/>
                                      </a:lnTo>
                                      <a:lnTo>
                                        <a:pt x="10" y="302"/>
                                      </a:lnTo>
                                      <a:lnTo>
                                        <a:pt x="8" y="294"/>
                                      </a:lnTo>
                                      <a:lnTo>
                                        <a:pt x="8" y="294"/>
                                      </a:lnTo>
                                      <a:lnTo>
                                        <a:pt x="8" y="286"/>
                                      </a:lnTo>
                                      <a:lnTo>
                                        <a:pt x="6" y="278"/>
                                      </a:lnTo>
                                      <a:lnTo>
                                        <a:pt x="2" y="268"/>
                                      </a:lnTo>
                                      <a:lnTo>
                                        <a:pt x="0" y="264"/>
                                      </a:lnTo>
                                      <a:lnTo>
                                        <a:pt x="0" y="258"/>
                                      </a:lnTo>
                                      <a:lnTo>
                                        <a:pt x="0" y="250"/>
                                      </a:lnTo>
                                      <a:lnTo>
                                        <a:pt x="2" y="242"/>
                                      </a:lnTo>
                                      <a:lnTo>
                                        <a:pt x="2" y="242"/>
                                      </a:lnTo>
                                      <a:lnTo>
                                        <a:pt x="4" y="232"/>
                                      </a:lnTo>
                                      <a:lnTo>
                                        <a:pt x="8" y="226"/>
                                      </a:lnTo>
                                      <a:lnTo>
                                        <a:pt x="14" y="220"/>
                                      </a:lnTo>
                                      <a:lnTo>
                                        <a:pt x="18" y="218"/>
                                      </a:lnTo>
                                      <a:lnTo>
                                        <a:pt x="20" y="214"/>
                                      </a:lnTo>
                                      <a:lnTo>
                                        <a:pt x="22" y="210"/>
                                      </a:lnTo>
                                      <a:lnTo>
                                        <a:pt x="22" y="210"/>
                                      </a:lnTo>
                                      <a:lnTo>
                                        <a:pt x="26" y="200"/>
                                      </a:lnTo>
                                      <a:lnTo>
                                        <a:pt x="28" y="196"/>
                                      </a:lnTo>
                                      <a:lnTo>
                                        <a:pt x="30" y="190"/>
                                      </a:lnTo>
                                      <a:lnTo>
                                        <a:pt x="30" y="182"/>
                                      </a:lnTo>
                                      <a:lnTo>
                                        <a:pt x="30" y="182"/>
                                      </a:lnTo>
                                      <a:lnTo>
                                        <a:pt x="28" y="172"/>
                                      </a:lnTo>
                                      <a:lnTo>
                                        <a:pt x="28" y="164"/>
                                      </a:lnTo>
                                      <a:lnTo>
                                        <a:pt x="30" y="158"/>
                                      </a:lnTo>
                                      <a:lnTo>
                                        <a:pt x="28" y="144"/>
                                      </a:lnTo>
                                      <a:lnTo>
                                        <a:pt x="28" y="144"/>
                                      </a:lnTo>
                                      <a:lnTo>
                                        <a:pt x="30" y="132"/>
                                      </a:lnTo>
                                      <a:lnTo>
                                        <a:pt x="32" y="126"/>
                                      </a:lnTo>
                                      <a:lnTo>
                                        <a:pt x="36" y="118"/>
                                      </a:lnTo>
                                      <a:lnTo>
                                        <a:pt x="40" y="110"/>
                                      </a:lnTo>
                                      <a:lnTo>
                                        <a:pt x="40" y="110"/>
                                      </a:lnTo>
                                      <a:lnTo>
                                        <a:pt x="42" y="102"/>
                                      </a:lnTo>
                                      <a:lnTo>
                                        <a:pt x="46" y="100"/>
                                      </a:lnTo>
                                      <a:lnTo>
                                        <a:pt x="50" y="100"/>
                                      </a:lnTo>
                                      <a:lnTo>
                                        <a:pt x="52" y="100"/>
                                      </a:lnTo>
                                      <a:lnTo>
                                        <a:pt x="54" y="96"/>
                                      </a:lnTo>
                                      <a:lnTo>
                                        <a:pt x="54" y="96"/>
                                      </a:lnTo>
                                      <a:lnTo>
                                        <a:pt x="56" y="92"/>
                                      </a:lnTo>
                                      <a:lnTo>
                                        <a:pt x="60" y="90"/>
                                      </a:lnTo>
                                      <a:lnTo>
                                        <a:pt x="70" y="92"/>
                                      </a:lnTo>
                                      <a:lnTo>
                                        <a:pt x="80" y="92"/>
                                      </a:lnTo>
                                      <a:lnTo>
                                        <a:pt x="82" y="92"/>
                                      </a:lnTo>
                                      <a:lnTo>
                                        <a:pt x="84" y="88"/>
                                      </a:lnTo>
                                      <a:lnTo>
                                        <a:pt x="84" y="88"/>
                                      </a:lnTo>
                                      <a:lnTo>
                                        <a:pt x="86" y="82"/>
                                      </a:lnTo>
                                      <a:lnTo>
                                        <a:pt x="88" y="78"/>
                                      </a:lnTo>
                                      <a:lnTo>
                                        <a:pt x="94" y="72"/>
                                      </a:lnTo>
                                      <a:lnTo>
                                        <a:pt x="94" y="72"/>
                                      </a:lnTo>
                                      <a:lnTo>
                                        <a:pt x="96" y="70"/>
                                      </a:lnTo>
                                      <a:lnTo>
                                        <a:pt x="96" y="74"/>
                                      </a:lnTo>
                                      <a:lnTo>
                                        <a:pt x="98" y="74"/>
                                      </a:lnTo>
                                      <a:lnTo>
                                        <a:pt x="98" y="74"/>
                                      </a:lnTo>
                                      <a:lnTo>
                                        <a:pt x="104" y="68"/>
                                      </a:lnTo>
                                      <a:lnTo>
                                        <a:pt x="104" y="68"/>
                                      </a:lnTo>
                                      <a:lnTo>
                                        <a:pt x="110" y="60"/>
                                      </a:lnTo>
                                      <a:lnTo>
                                        <a:pt x="110" y="54"/>
                                      </a:lnTo>
                                      <a:lnTo>
                                        <a:pt x="110" y="54"/>
                                      </a:lnTo>
                                      <a:lnTo>
                                        <a:pt x="114" y="52"/>
                                      </a:lnTo>
                                      <a:lnTo>
                                        <a:pt x="114" y="52"/>
                                      </a:lnTo>
                                      <a:lnTo>
                                        <a:pt x="114" y="52"/>
                                      </a:lnTo>
                                      <a:lnTo>
                                        <a:pt x="116" y="50"/>
                                      </a:lnTo>
                                      <a:lnTo>
                                        <a:pt x="114" y="46"/>
                                      </a:lnTo>
                                      <a:lnTo>
                                        <a:pt x="112" y="42"/>
                                      </a:lnTo>
                                      <a:lnTo>
                                        <a:pt x="112" y="40"/>
                                      </a:lnTo>
                                      <a:lnTo>
                                        <a:pt x="114" y="38"/>
                                      </a:lnTo>
                                      <a:lnTo>
                                        <a:pt x="114" y="38"/>
                                      </a:lnTo>
                                      <a:lnTo>
                                        <a:pt x="116" y="36"/>
                                      </a:lnTo>
                                      <a:lnTo>
                                        <a:pt x="118" y="36"/>
                                      </a:lnTo>
                                      <a:lnTo>
                                        <a:pt x="120" y="40"/>
                                      </a:lnTo>
                                      <a:lnTo>
                                        <a:pt x="122" y="40"/>
                                      </a:lnTo>
                                      <a:lnTo>
                                        <a:pt x="124" y="38"/>
                                      </a:lnTo>
                                      <a:lnTo>
                                        <a:pt x="124" y="38"/>
                                      </a:lnTo>
                                      <a:lnTo>
                                        <a:pt x="128" y="30"/>
                                      </a:lnTo>
                                      <a:lnTo>
                                        <a:pt x="132" y="26"/>
                                      </a:lnTo>
                                      <a:lnTo>
                                        <a:pt x="136" y="20"/>
                                      </a:lnTo>
                                      <a:lnTo>
                                        <a:pt x="136" y="18"/>
                                      </a:lnTo>
                                      <a:lnTo>
                                        <a:pt x="136" y="18"/>
                                      </a:lnTo>
                                      <a:lnTo>
                                        <a:pt x="134" y="12"/>
                                      </a:lnTo>
                                      <a:lnTo>
                                        <a:pt x="136" y="10"/>
                                      </a:lnTo>
                                      <a:lnTo>
                                        <a:pt x="140" y="6"/>
                                      </a:lnTo>
                                      <a:lnTo>
                                        <a:pt x="140" y="6"/>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0" name="Mali"/>
                                <p:cNvSpPr>
                                  <a:spLocks/>
                                </p:cNvSpPr>
                                <p:nvPr/>
                              </p:nvSpPr>
                              <p:spPr bwMode="auto">
                                <a:xfrm>
                                  <a:off x="5395512" y="2727897"/>
                                  <a:ext cx="522474" cy="558409"/>
                                </a:xfrm>
                                <a:custGeom>
                                  <a:avLst/>
                                  <a:gdLst/>
                                  <a:ahLst/>
                                  <a:cxnLst>
                                    <a:cxn ang="0">
                                      <a:pos x="150" y="342"/>
                                    </a:cxn>
                                    <a:cxn ang="0">
                                      <a:pos x="152" y="332"/>
                                    </a:cxn>
                                    <a:cxn ang="0">
                                      <a:pos x="156" y="326"/>
                                    </a:cxn>
                                    <a:cxn ang="0">
                                      <a:pos x="176" y="308"/>
                                    </a:cxn>
                                    <a:cxn ang="0">
                                      <a:pos x="174" y="302"/>
                                    </a:cxn>
                                    <a:cxn ang="0">
                                      <a:pos x="182" y="294"/>
                                    </a:cxn>
                                    <a:cxn ang="0">
                                      <a:pos x="190" y="280"/>
                                    </a:cxn>
                                    <a:cxn ang="0">
                                      <a:pos x="204" y="280"/>
                                    </a:cxn>
                                    <a:cxn ang="0">
                                      <a:pos x="214" y="272"/>
                                    </a:cxn>
                                    <a:cxn ang="0">
                                      <a:pos x="218" y="268"/>
                                    </a:cxn>
                                    <a:cxn ang="0">
                                      <a:pos x="234" y="256"/>
                                    </a:cxn>
                                    <a:cxn ang="0">
                                      <a:pos x="244" y="250"/>
                                    </a:cxn>
                                    <a:cxn ang="0">
                                      <a:pos x="264" y="254"/>
                                    </a:cxn>
                                    <a:cxn ang="0">
                                      <a:pos x="270" y="250"/>
                                    </a:cxn>
                                    <a:cxn ang="0">
                                      <a:pos x="284" y="244"/>
                                    </a:cxn>
                                    <a:cxn ang="0">
                                      <a:pos x="308" y="238"/>
                                    </a:cxn>
                                    <a:cxn ang="0">
                                      <a:pos x="322" y="232"/>
                                    </a:cxn>
                                    <a:cxn ang="0">
                                      <a:pos x="338" y="222"/>
                                    </a:cxn>
                                    <a:cxn ang="0">
                                      <a:pos x="342" y="204"/>
                                    </a:cxn>
                                    <a:cxn ang="0">
                                      <a:pos x="344" y="198"/>
                                    </a:cxn>
                                    <a:cxn ang="0">
                                      <a:pos x="344" y="144"/>
                                    </a:cxn>
                                    <a:cxn ang="0">
                                      <a:pos x="320" y="150"/>
                                    </a:cxn>
                                    <a:cxn ang="0">
                                      <a:pos x="326" y="130"/>
                                    </a:cxn>
                                    <a:cxn ang="0">
                                      <a:pos x="320" y="124"/>
                                    </a:cxn>
                                    <a:cxn ang="0">
                                      <a:pos x="314" y="120"/>
                                    </a:cxn>
                                    <a:cxn ang="0">
                                      <a:pos x="310" y="116"/>
                                    </a:cxn>
                                    <a:cxn ang="0">
                                      <a:pos x="308" y="112"/>
                                    </a:cxn>
                                    <a:cxn ang="0">
                                      <a:pos x="298" y="108"/>
                                    </a:cxn>
                                    <a:cxn ang="0">
                                      <a:pos x="134" y="196"/>
                                    </a:cxn>
                                    <a:cxn ang="0">
                                      <a:pos x="146" y="212"/>
                                    </a:cxn>
                                    <a:cxn ang="0">
                                      <a:pos x="68" y="238"/>
                                    </a:cxn>
                                    <a:cxn ang="0">
                                      <a:pos x="64" y="232"/>
                                    </a:cxn>
                                    <a:cxn ang="0">
                                      <a:pos x="58" y="238"/>
                                    </a:cxn>
                                    <a:cxn ang="0">
                                      <a:pos x="38" y="238"/>
                                    </a:cxn>
                                    <a:cxn ang="0">
                                      <a:pos x="26" y="234"/>
                                    </a:cxn>
                                    <a:cxn ang="0">
                                      <a:pos x="18" y="230"/>
                                    </a:cxn>
                                    <a:cxn ang="0">
                                      <a:pos x="14" y="234"/>
                                    </a:cxn>
                                    <a:cxn ang="0">
                                      <a:pos x="0" y="250"/>
                                    </a:cxn>
                                    <a:cxn ang="0">
                                      <a:pos x="4" y="260"/>
                                    </a:cxn>
                                    <a:cxn ang="0">
                                      <a:pos x="4" y="280"/>
                                    </a:cxn>
                                    <a:cxn ang="0">
                                      <a:pos x="10" y="282"/>
                                    </a:cxn>
                                    <a:cxn ang="0">
                                      <a:pos x="14" y="314"/>
                                    </a:cxn>
                                    <a:cxn ang="0">
                                      <a:pos x="20" y="318"/>
                                    </a:cxn>
                                    <a:cxn ang="0">
                                      <a:pos x="26" y="320"/>
                                    </a:cxn>
                                    <a:cxn ang="0">
                                      <a:pos x="34" y="318"/>
                                    </a:cxn>
                                    <a:cxn ang="0">
                                      <a:pos x="42" y="320"/>
                                    </a:cxn>
                                    <a:cxn ang="0">
                                      <a:pos x="54" y="318"/>
                                    </a:cxn>
                                    <a:cxn ang="0">
                                      <a:pos x="58" y="312"/>
                                    </a:cxn>
                                    <a:cxn ang="0">
                                      <a:pos x="66" y="318"/>
                                    </a:cxn>
                                    <a:cxn ang="0">
                                      <a:pos x="72" y="328"/>
                                    </a:cxn>
                                    <a:cxn ang="0">
                                      <a:pos x="74" y="334"/>
                                    </a:cxn>
                                    <a:cxn ang="0">
                                      <a:pos x="72" y="348"/>
                                    </a:cxn>
                                    <a:cxn ang="0">
                                      <a:pos x="82" y="358"/>
                                    </a:cxn>
                                    <a:cxn ang="0">
                                      <a:pos x="90" y="366"/>
                                    </a:cxn>
                                    <a:cxn ang="0">
                                      <a:pos x="98" y="362"/>
                                    </a:cxn>
                                    <a:cxn ang="0">
                                      <a:pos x="108" y="366"/>
                                    </a:cxn>
                                    <a:cxn ang="0">
                                      <a:pos x="118" y="358"/>
                                    </a:cxn>
                                    <a:cxn ang="0">
                                      <a:pos x="128" y="364"/>
                                    </a:cxn>
                                    <a:cxn ang="0">
                                      <a:pos x="138" y="362"/>
                                    </a:cxn>
                                  </a:cxnLst>
                                  <a:rect l="0" t="0" r="r" b="b"/>
                                  <a:pathLst>
                                    <a:path w="344" h="368">
                                      <a:moveTo>
                                        <a:pt x="144" y="364"/>
                                      </a:moveTo>
                                      <a:lnTo>
                                        <a:pt x="144" y="364"/>
                                      </a:lnTo>
                                      <a:lnTo>
                                        <a:pt x="148" y="348"/>
                                      </a:lnTo>
                                      <a:lnTo>
                                        <a:pt x="150" y="342"/>
                                      </a:lnTo>
                                      <a:lnTo>
                                        <a:pt x="154" y="340"/>
                                      </a:lnTo>
                                      <a:lnTo>
                                        <a:pt x="154" y="336"/>
                                      </a:lnTo>
                                      <a:lnTo>
                                        <a:pt x="154" y="336"/>
                                      </a:lnTo>
                                      <a:lnTo>
                                        <a:pt x="152" y="332"/>
                                      </a:lnTo>
                                      <a:lnTo>
                                        <a:pt x="150" y="332"/>
                                      </a:lnTo>
                                      <a:lnTo>
                                        <a:pt x="150" y="332"/>
                                      </a:lnTo>
                                      <a:lnTo>
                                        <a:pt x="150" y="330"/>
                                      </a:lnTo>
                                      <a:lnTo>
                                        <a:pt x="156" y="326"/>
                                      </a:lnTo>
                                      <a:lnTo>
                                        <a:pt x="156" y="326"/>
                                      </a:lnTo>
                                      <a:lnTo>
                                        <a:pt x="172" y="316"/>
                                      </a:lnTo>
                                      <a:lnTo>
                                        <a:pt x="176" y="310"/>
                                      </a:lnTo>
                                      <a:lnTo>
                                        <a:pt x="176" y="308"/>
                                      </a:lnTo>
                                      <a:lnTo>
                                        <a:pt x="176" y="306"/>
                                      </a:lnTo>
                                      <a:lnTo>
                                        <a:pt x="176" y="306"/>
                                      </a:lnTo>
                                      <a:lnTo>
                                        <a:pt x="174" y="304"/>
                                      </a:lnTo>
                                      <a:lnTo>
                                        <a:pt x="174" y="302"/>
                                      </a:lnTo>
                                      <a:lnTo>
                                        <a:pt x="178" y="302"/>
                                      </a:lnTo>
                                      <a:lnTo>
                                        <a:pt x="182" y="298"/>
                                      </a:lnTo>
                                      <a:lnTo>
                                        <a:pt x="182" y="296"/>
                                      </a:lnTo>
                                      <a:lnTo>
                                        <a:pt x="182" y="294"/>
                                      </a:lnTo>
                                      <a:lnTo>
                                        <a:pt x="182" y="294"/>
                                      </a:lnTo>
                                      <a:lnTo>
                                        <a:pt x="182" y="290"/>
                                      </a:lnTo>
                                      <a:lnTo>
                                        <a:pt x="184" y="284"/>
                                      </a:lnTo>
                                      <a:lnTo>
                                        <a:pt x="190" y="280"/>
                                      </a:lnTo>
                                      <a:lnTo>
                                        <a:pt x="194" y="280"/>
                                      </a:lnTo>
                                      <a:lnTo>
                                        <a:pt x="196" y="280"/>
                                      </a:lnTo>
                                      <a:lnTo>
                                        <a:pt x="196" y="280"/>
                                      </a:lnTo>
                                      <a:lnTo>
                                        <a:pt x="204" y="280"/>
                                      </a:lnTo>
                                      <a:lnTo>
                                        <a:pt x="212" y="278"/>
                                      </a:lnTo>
                                      <a:lnTo>
                                        <a:pt x="214" y="274"/>
                                      </a:lnTo>
                                      <a:lnTo>
                                        <a:pt x="216" y="274"/>
                                      </a:lnTo>
                                      <a:lnTo>
                                        <a:pt x="214" y="272"/>
                                      </a:lnTo>
                                      <a:lnTo>
                                        <a:pt x="214" y="272"/>
                                      </a:lnTo>
                                      <a:lnTo>
                                        <a:pt x="210" y="270"/>
                                      </a:lnTo>
                                      <a:lnTo>
                                        <a:pt x="214" y="270"/>
                                      </a:lnTo>
                                      <a:lnTo>
                                        <a:pt x="218" y="268"/>
                                      </a:lnTo>
                                      <a:lnTo>
                                        <a:pt x="224" y="264"/>
                                      </a:lnTo>
                                      <a:lnTo>
                                        <a:pt x="224" y="264"/>
                                      </a:lnTo>
                                      <a:lnTo>
                                        <a:pt x="230" y="256"/>
                                      </a:lnTo>
                                      <a:lnTo>
                                        <a:pt x="234" y="256"/>
                                      </a:lnTo>
                                      <a:lnTo>
                                        <a:pt x="238" y="256"/>
                                      </a:lnTo>
                                      <a:lnTo>
                                        <a:pt x="242" y="252"/>
                                      </a:lnTo>
                                      <a:lnTo>
                                        <a:pt x="242" y="252"/>
                                      </a:lnTo>
                                      <a:lnTo>
                                        <a:pt x="244" y="250"/>
                                      </a:lnTo>
                                      <a:lnTo>
                                        <a:pt x="246" y="250"/>
                                      </a:lnTo>
                                      <a:lnTo>
                                        <a:pt x="260" y="254"/>
                                      </a:lnTo>
                                      <a:lnTo>
                                        <a:pt x="260" y="254"/>
                                      </a:lnTo>
                                      <a:lnTo>
                                        <a:pt x="264" y="254"/>
                                      </a:lnTo>
                                      <a:lnTo>
                                        <a:pt x="266" y="254"/>
                                      </a:lnTo>
                                      <a:lnTo>
                                        <a:pt x="268" y="252"/>
                                      </a:lnTo>
                                      <a:lnTo>
                                        <a:pt x="268" y="252"/>
                                      </a:lnTo>
                                      <a:lnTo>
                                        <a:pt x="270" y="250"/>
                                      </a:lnTo>
                                      <a:lnTo>
                                        <a:pt x="274" y="250"/>
                                      </a:lnTo>
                                      <a:lnTo>
                                        <a:pt x="278" y="248"/>
                                      </a:lnTo>
                                      <a:lnTo>
                                        <a:pt x="284" y="244"/>
                                      </a:lnTo>
                                      <a:lnTo>
                                        <a:pt x="284" y="244"/>
                                      </a:lnTo>
                                      <a:lnTo>
                                        <a:pt x="288" y="240"/>
                                      </a:lnTo>
                                      <a:lnTo>
                                        <a:pt x="290" y="238"/>
                                      </a:lnTo>
                                      <a:lnTo>
                                        <a:pt x="298" y="238"/>
                                      </a:lnTo>
                                      <a:lnTo>
                                        <a:pt x="308" y="238"/>
                                      </a:lnTo>
                                      <a:lnTo>
                                        <a:pt x="312" y="238"/>
                                      </a:lnTo>
                                      <a:lnTo>
                                        <a:pt x="316" y="234"/>
                                      </a:lnTo>
                                      <a:lnTo>
                                        <a:pt x="316" y="234"/>
                                      </a:lnTo>
                                      <a:lnTo>
                                        <a:pt x="322" y="232"/>
                                      </a:lnTo>
                                      <a:lnTo>
                                        <a:pt x="330" y="228"/>
                                      </a:lnTo>
                                      <a:lnTo>
                                        <a:pt x="336" y="226"/>
                                      </a:lnTo>
                                      <a:lnTo>
                                        <a:pt x="336" y="224"/>
                                      </a:lnTo>
                                      <a:lnTo>
                                        <a:pt x="338" y="222"/>
                                      </a:lnTo>
                                      <a:lnTo>
                                        <a:pt x="338" y="222"/>
                                      </a:lnTo>
                                      <a:lnTo>
                                        <a:pt x="340" y="216"/>
                                      </a:lnTo>
                                      <a:lnTo>
                                        <a:pt x="340" y="212"/>
                                      </a:lnTo>
                                      <a:lnTo>
                                        <a:pt x="342" y="204"/>
                                      </a:lnTo>
                                      <a:lnTo>
                                        <a:pt x="342" y="204"/>
                                      </a:lnTo>
                                      <a:lnTo>
                                        <a:pt x="342" y="200"/>
                                      </a:lnTo>
                                      <a:lnTo>
                                        <a:pt x="342" y="198"/>
                                      </a:lnTo>
                                      <a:lnTo>
                                        <a:pt x="344" y="198"/>
                                      </a:lnTo>
                                      <a:lnTo>
                                        <a:pt x="344" y="194"/>
                                      </a:lnTo>
                                      <a:lnTo>
                                        <a:pt x="344" y="194"/>
                                      </a:lnTo>
                                      <a:lnTo>
                                        <a:pt x="344" y="144"/>
                                      </a:lnTo>
                                      <a:lnTo>
                                        <a:pt x="344" y="144"/>
                                      </a:lnTo>
                                      <a:lnTo>
                                        <a:pt x="326" y="150"/>
                                      </a:lnTo>
                                      <a:lnTo>
                                        <a:pt x="322" y="152"/>
                                      </a:lnTo>
                                      <a:lnTo>
                                        <a:pt x="320" y="150"/>
                                      </a:lnTo>
                                      <a:lnTo>
                                        <a:pt x="320" y="150"/>
                                      </a:lnTo>
                                      <a:lnTo>
                                        <a:pt x="322" y="144"/>
                                      </a:lnTo>
                                      <a:lnTo>
                                        <a:pt x="324" y="140"/>
                                      </a:lnTo>
                                      <a:lnTo>
                                        <a:pt x="328" y="134"/>
                                      </a:lnTo>
                                      <a:lnTo>
                                        <a:pt x="326" y="130"/>
                                      </a:lnTo>
                                      <a:lnTo>
                                        <a:pt x="326" y="130"/>
                                      </a:lnTo>
                                      <a:lnTo>
                                        <a:pt x="324" y="128"/>
                                      </a:lnTo>
                                      <a:lnTo>
                                        <a:pt x="322" y="128"/>
                                      </a:lnTo>
                                      <a:lnTo>
                                        <a:pt x="320" y="124"/>
                                      </a:lnTo>
                                      <a:lnTo>
                                        <a:pt x="320" y="124"/>
                                      </a:lnTo>
                                      <a:lnTo>
                                        <a:pt x="318" y="122"/>
                                      </a:lnTo>
                                      <a:lnTo>
                                        <a:pt x="316" y="122"/>
                                      </a:lnTo>
                                      <a:lnTo>
                                        <a:pt x="314" y="120"/>
                                      </a:lnTo>
                                      <a:lnTo>
                                        <a:pt x="310" y="120"/>
                                      </a:lnTo>
                                      <a:lnTo>
                                        <a:pt x="310" y="120"/>
                                      </a:lnTo>
                                      <a:lnTo>
                                        <a:pt x="308" y="118"/>
                                      </a:lnTo>
                                      <a:lnTo>
                                        <a:pt x="310" y="116"/>
                                      </a:lnTo>
                                      <a:lnTo>
                                        <a:pt x="310" y="116"/>
                                      </a:lnTo>
                                      <a:lnTo>
                                        <a:pt x="310" y="114"/>
                                      </a:lnTo>
                                      <a:lnTo>
                                        <a:pt x="310" y="114"/>
                                      </a:lnTo>
                                      <a:lnTo>
                                        <a:pt x="308" y="112"/>
                                      </a:lnTo>
                                      <a:lnTo>
                                        <a:pt x="306" y="112"/>
                                      </a:lnTo>
                                      <a:lnTo>
                                        <a:pt x="302" y="112"/>
                                      </a:lnTo>
                                      <a:lnTo>
                                        <a:pt x="298" y="108"/>
                                      </a:lnTo>
                                      <a:lnTo>
                                        <a:pt x="298" y="108"/>
                                      </a:lnTo>
                                      <a:lnTo>
                                        <a:pt x="156" y="0"/>
                                      </a:lnTo>
                                      <a:lnTo>
                                        <a:pt x="130" y="0"/>
                                      </a:lnTo>
                                      <a:lnTo>
                                        <a:pt x="130" y="0"/>
                                      </a:lnTo>
                                      <a:lnTo>
                                        <a:pt x="134" y="196"/>
                                      </a:lnTo>
                                      <a:lnTo>
                                        <a:pt x="134" y="196"/>
                                      </a:lnTo>
                                      <a:lnTo>
                                        <a:pt x="134" y="202"/>
                                      </a:lnTo>
                                      <a:lnTo>
                                        <a:pt x="138" y="206"/>
                                      </a:lnTo>
                                      <a:lnTo>
                                        <a:pt x="146" y="212"/>
                                      </a:lnTo>
                                      <a:lnTo>
                                        <a:pt x="136" y="238"/>
                                      </a:lnTo>
                                      <a:lnTo>
                                        <a:pt x="136" y="238"/>
                                      </a:lnTo>
                                      <a:lnTo>
                                        <a:pt x="68" y="238"/>
                                      </a:lnTo>
                                      <a:lnTo>
                                        <a:pt x="68" y="238"/>
                                      </a:lnTo>
                                      <a:lnTo>
                                        <a:pt x="66" y="236"/>
                                      </a:lnTo>
                                      <a:lnTo>
                                        <a:pt x="66" y="236"/>
                                      </a:lnTo>
                                      <a:lnTo>
                                        <a:pt x="66" y="234"/>
                                      </a:lnTo>
                                      <a:lnTo>
                                        <a:pt x="64" y="232"/>
                                      </a:lnTo>
                                      <a:lnTo>
                                        <a:pt x="64" y="232"/>
                                      </a:lnTo>
                                      <a:lnTo>
                                        <a:pt x="60" y="234"/>
                                      </a:lnTo>
                                      <a:lnTo>
                                        <a:pt x="58" y="236"/>
                                      </a:lnTo>
                                      <a:lnTo>
                                        <a:pt x="58" y="238"/>
                                      </a:lnTo>
                                      <a:lnTo>
                                        <a:pt x="54" y="238"/>
                                      </a:lnTo>
                                      <a:lnTo>
                                        <a:pt x="54" y="238"/>
                                      </a:lnTo>
                                      <a:lnTo>
                                        <a:pt x="44" y="238"/>
                                      </a:lnTo>
                                      <a:lnTo>
                                        <a:pt x="38" y="238"/>
                                      </a:lnTo>
                                      <a:lnTo>
                                        <a:pt x="34" y="240"/>
                                      </a:lnTo>
                                      <a:lnTo>
                                        <a:pt x="34" y="240"/>
                                      </a:lnTo>
                                      <a:lnTo>
                                        <a:pt x="28" y="238"/>
                                      </a:lnTo>
                                      <a:lnTo>
                                        <a:pt x="26" y="234"/>
                                      </a:lnTo>
                                      <a:lnTo>
                                        <a:pt x="24" y="230"/>
                                      </a:lnTo>
                                      <a:lnTo>
                                        <a:pt x="20" y="230"/>
                                      </a:lnTo>
                                      <a:lnTo>
                                        <a:pt x="20" y="230"/>
                                      </a:lnTo>
                                      <a:lnTo>
                                        <a:pt x="18" y="230"/>
                                      </a:lnTo>
                                      <a:lnTo>
                                        <a:pt x="16" y="232"/>
                                      </a:lnTo>
                                      <a:lnTo>
                                        <a:pt x="16" y="232"/>
                                      </a:lnTo>
                                      <a:lnTo>
                                        <a:pt x="14" y="234"/>
                                      </a:lnTo>
                                      <a:lnTo>
                                        <a:pt x="14" y="234"/>
                                      </a:lnTo>
                                      <a:lnTo>
                                        <a:pt x="10" y="236"/>
                                      </a:lnTo>
                                      <a:lnTo>
                                        <a:pt x="8" y="242"/>
                                      </a:lnTo>
                                      <a:lnTo>
                                        <a:pt x="4" y="246"/>
                                      </a:lnTo>
                                      <a:lnTo>
                                        <a:pt x="0" y="250"/>
                                      </a:lnTo>
                                      <a:lnTo>
                                        <a:pt x="0" y="250"/>
                                      </a:lnTo>
                                      <a:lnTo>
                                        <a:pt x="0" y="256"/>
                                      </a:lnTo>
                                      <a:lnTo>
                                        <a:pt x="2" y="258"/>
                                      </a:lnTo>
                                      <a:lnTo>
                                        <a:pt x="4" y="260"/>
                                      </a:lnTo>
                                      <a:lnTo>
                                        <a:pt x="2" y="268"/>
                                      </a:lnTo>
                                      <a:lnTo>
                                        <a:pt x="2" y="268"/>
                                      </a:lnTo>
                                      <a:lnTo>
                                        <a:pt x="2" y="274"/>
                                      </a:lnTo>
                                      <a:lnTo>
                                        <a:pt x="4" y="280"/>
                                      </a:lnTo>
                                      <a:lnTo>
                                        <a:pt x="6" y="284"/>
                                      </a:lnTo>
                                      <a:lnTo>
                                        <a:pt x="8" y="284"/>
                                      </a:lnTo>
                                      <a:lnTo>
                                        <a:pt x="10" y="282"/>
                                      </a:lnTo>
                                      <a:lnTo>
                                        <a:pt x="10" y="282"/>
                                      </a:lnTo>
                                      <a:lnTo>
                                        <a:pt x="14" y="290"/>
                                      </a:lnTo>
                                      <a:lnTo>
                                        <a:pt x="16" y="298"/>
                                      </a:lnTo>
                                      <a:lnTo>
                                        <a:pt x="16" y="308"/>
                                      </a:lnTo>
                                      <a:lnTo>
                                        <a:pt x="14" y="314"/>
                                      </a:lnTo>
                                      <a:lnTo>
                                        <a:pt x="14" y="314"/>
                                      </a:lnTo>
                                      <a:lnTo>
                                        <a:pt x="14" y="316"/>
                                      </a:lnTo>
                                      <a:lnTo>
                                        <a:pt x="16" y="318"/>
                                      </a:lnTo>
                                      <a:lnTo>
                                        <a:pt x="20" y="318"/>
                                      </a:lnTo>
                                      <a:lnTo>
                                        <a:pt x="22" y="316"/>
                                      </a:lnTo>
                                      <a:lnTo>
                                        <a:pt x="22" y="316"/>
                                      </a:lnTo>
                                      <a:lnTo>
                                        <a:pt x="24" y="320"/>
                                      </a:lnTo>
                                      <a:lnTo>
                                        <a:pt x="26" y="320"/>
                                      </a:lnTo>
                                      <a:lnTo>
                                        <a:pt x="28" y="318"/>
                                      </a:lnTo>
                                      <a:lnTo>
                                        <a:pt x="30" y="318"/>
                                      </a:lnTo>
                                      <a:lnTo>
                                        <a:pt x="30" y="318"/>
                                      </a:lnTo>
                                      <a:lnTo>
                                        <a:pt x="34" y="318"/>
                                      </a:lnTo>
                                      <a:lnTo>
                                        <a:pt x="36" y="320"/>
                                      </a:lnTo>
                                      <a:lnTo>
                                        <a:pt x="38" y="322"/>
                                      </a:lnTo>
                                      <a:lnTo>
                                        <a:pt x="42" y="320"/>
                                      </a:lnTo>
                                      <a:lnTo>
                                        <a:pt x="42" y="320"/>
                                      </a:lnTo>
                                      <a:lnTo>
                                        <a:pt x="44" y="318"/>
                                      </a:lnTo>
                                      <a:lnTo>
                                        <a:pt x="46" y="320"/>
                                      </a:lnTo>
                                      <a:lnTo>
                                        <a:pt x="48" y="320"/>
                                      </a:lnTo>
                                      <a:lnTo>
                                        <a:pt x="54" y="318"/>
                                      </a:lnTo>
                                      <a:lnTo>
                                        <a:pt x="54" y="318"/>
                                      </a:lnTo>
                                      <a:lnTo>
                                        <a:pt x="54" y="316"/>
                                      </a:lnTo>
                                      <a:lnTo>
                                        <a:pt x="56" y="314"/>
                                      </a:lnTo>
                                      <a:lnTo>
                                        <a:pt x="58" y="312"/>
                                      </a:lnTo>
                                      <a:lnTo>
                                        <a:pt x="62" y="314"/>
                                      </a:lnTo>
                                      <a:lnTo>
                                        <a:pt x="62" y="314"/>
                                      </a:lnTo>
                                      <a:lnTo>
                                        <a:pt x="66" y="316"/>
                                      </a:lnTo>
                                      <a:lnTo>
                                        <a:pt x="66" y="318"/>
                                      </a:lnTo>
                                      <a:lnTo>
                                        <a:pt x="66" y="320"/>
                                      </a:lnTo>
                                      <a:lnTo>
                                        <a:pt x="70" y="324"/>
                                      </a:lnTo>
                                      <a:lnTo>
                                        <a:pt x="70" y="324"/>
                                      </a:lnTo>
                                      <a:lnTo>
                                        <a:pt x="72" y="328"/>
                                      </a:lnTo>
                                      <a:lnTo>
                                        <a:pt x="72" y="330"/>
                                      </a:lnTo>
                                      <a:lnTo>
                                        <a:pt x="72" y="332"/>
                                      </a:lnTo>
                                      <a:lnTo>
                                        <a:pt x="74" y="334"/>
                                      </a:lnTo>
                                      <a:lnTo>
                                        <a:pt x="74" y="334"/>
                                      </a:lnTo>
                                      <a:lnTo>
                                        <a:pt x="78" y="336"/>
                                      </a:lnTo>
                                      <a:lnTo>
                                        <a:pt x="78" y="338"/>
                                      </a:lnTo>
                                      <a:lnTo>
                                        <a:pt x="72" y="348"/>
                                      </a:lnTo>
                                      <a:lnTo>
                                        <a:pt x="72" y="348"/>
                                      </a:lnTo>
                                      <a:lnTo>
                                        <a:pt x="76" y="346"/>
                                      </a:lnTo>
                                      <a:lnTo>
                                        <a:pt x="80" y="348"/>
                                      </a:lnTo>
                                      <a:lnTo>
                                        <a:pt x="80" y="352"/>
                                      </a:lnTo>
                                      <a:lnTo>
                                        <a:pt x="82" y="358"/>
                                      </a:lnTo>
                                      <a:lnTo>
                                        <a:pt x="82" y="358"/>
                                      </a:lnTo>
                                      <a:lnTo>
                                        <a:pt x="84" y="362"/>
                                      </a:lnTo>
                                      <a:lnTo>
                                        <a:pt x="88" y="364"/>
                                      </a:lnTo>
                                      <a:lnTo>
                                        <a:pt x="90" y="366"/>
                                      </a:lnTo>
                                      <a:lnTo>
                                        <a:pt x="92" y="368"/>
                                      </a:lnTo>
                                      <a:lnTo>
                                        <a:pt x="92" y="368"/>
                                      </a:lnTo>
                                      <a:lnTo>
                                        <a:pt x="96" y="364"/>
                                      </a:lnTo>
                                      <a:lnTo>
                                        <a:pt x="98" y="362"/>
                                      </a:lnTo>
                                      <a:lnTo>
                                        <a:pt x="102" y="364"/>
                                      </a:lnTo>
                                      <a:lnTo>
                                        <a:pt x="102" y="364"/>
                                      </a:lnTo>
                                      <a:lnTo>
                                        <a:pt x="106" y="368"/>
                                      </a:lnTo>
                                      <a:lnTo>
                                        <a:pt x="108" y="366"/>
                                      </a:lnTo>
                                      <a:lnTo>
                                        <a:pt x="112" y="364"/>
                                      </a:lnTo>
                                      <a:lnTo>
                                        <a:pt x="112" y="364"/>
                                      </a:lnTo>
                                      <a:lnTo>
                                        <a:pt x="114" y="360"/>
                                      </a:lnTo>
                                      <a:lnTo>
                                        <a:pt x="118" y="358"/>
                                      </a:lnTo>
                                      <a:lnTo>
                                        <a:pt x="120" y="360"/>
                                      </a:lnTo>
                                      <a:lnTo>
                                        <a:pt x="122" y="360"/>
                                      </a:lnTo>
                                      <a:lnTo>
                                        <a:pt x="126" y="364"/>
                                      </a:lnTo>
                                      <a:lnTo>
                                        <a:pt x="128" y="364"/>
                                      </a:lnTo>
                                      <a:lnTo>
                                        <a:pt x="130" y="362"/>
                                      </a:lnTo>
                                      <a:lnTo>
                                        <a:pt x="130" y="362"/>
                                      </a:lnTo>
                                      <a:lnTo>
                                        <a:pt x="134" y="360"/>
                                      </a:lnTo>
                                      <a:lnTo>
                                        <a:pt x="138" y="362"/>
                                      </a:lnTo>
                                      <a:lnTo>
                                        <a:pt x="144" y="364"/>
                                      </a:lnTo>
                                      <a:lnTo>
                                        <a:pt x="144" y="364"/>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2" name="Mauritania"/>
                                <p:cNvSpPr>
                                  <a:spLocks/>
                                </p:cNvSpPr>
                                <p:nvPr/>
                              </p:nvSpPr>
                              <p:spPr bwMode="auto">
                                <a:xfrm>
                                  <a:off x="5261989" y="2637160"/>
                                  <a:ext cx="370593" cy="473434"/>
                                </a:xfrm>
                                <a:custGeom>
                                  <a:avLst/>
                                  <a:gdLst/>
                                  <a:ahLst/>
                                  <a:cxnLst>
                                    <a:cxn ang="0">
                                      <a:pos x="0" y="162"/>
                                    </a:cxn>
                                    <a:cxn ang="0">
                                      <a:pos x="4" y="164"/>
                                    </a:cxn>
                                    <a:cxn ang="0">
                                      <a:pos x="10" y="178"/>
                                    </a:cxn>
                                    <a:cxn ang="0">
                                      <a:pos x="8" y="188"/>
                                    </a:cxn>
                                    <a:cxn ang="0">
                                      <a:pos x="6" y="196"/>
                                    </a:cxn>
                                    <a:cxn ang="0">
                                      <a:pos x="10" y="196"/>
                                    </a:cxn>
                                    <a:cxn ang="0">
                                      <a:pos x="6" y="202"/>
                                    </a:cxn>
                                    <a:cxn ang="0">
                                      <a:pos x="14" y="216"/>
                                    </a:cxn>
                                    <a:cxn ang="0">
                                      <a:pos x="14" y="242"/>
                                    </a:cxn>
                                    <a:cxn ang="0">
                                      <a:pos x="8" y="264"/>
                                    </a:cxn>
                                    <a:cxn ang="0">
                                      <a:pos x="8" y="274"/>
                                    </a:cxn>
                                    <a:cxn ang="0">
                                      <a:pos x="16" y="270"/>
                                    </a:cxn>
                                    <a:cxn ang="0">
                                      <a:pos x="22" y="272"/>
                                    </a:cxn>
                                    <a:cxn ang="0">
                                      <a:pos x="28" y="272"/>
                                    </a:cxn>
                                    <a:cxn ang="0">
                                      <a:pos x="36" y="272"/>
                                    </a:cxn>
                                    <a:cxn ang="0">
                                      <a:pos x="40" y="268"/>
                                    </a:cxn>
                                    <a:cxn ang="0">
                                      <a:pos x="42" y="268"/>
                                    </a:cxn>
                                    <a:cxn ang="0">
                                      <a:pos x="48" y="270"/>
                                    </a:cxn>
                                    <a:cxn ang="0">
                                      <a:pos x="58" y="276"/>
                                    </a:cxn>
                                    <a:cxn ang="0">
                                      <a:pos x="66" y="282"/>
                                    </a:cxn>
                                    <a:cxn ang="0">
                                      <a:pos x="70" y="284"/>
                                    </a:cxn>
                                    <a:cxn ang="0">
                                      <a:pos x="72" y="290"/>
                                    </a:cxn>
                                    <a:cxn ang="0">
                                      <a:pos x="76" y="298"/>
                                    </a:cxn>
                                    <a:cxn ang="0">
                                      <a:pos x="80" y="304"/>
                                    </a:cxn>
                                    <a:cxn ang="0">
                                      <a:pos x="88" y="312"/>
                                    </a:cxn>
                                    <a:cxn ang="0">
                                      <a:pos x="96" y="304"/>
                                    </a:cxn>
                                    <a:cxn ang="0">
                                      <a:pos x="102" y="296"/>
                                    </a:cxn>
                                    <a:cxn ang="0">
                                      <a:pos x="106" y="292"/>
                                    </a:cxn>
                                    <a:cxn ang="0">
                                      <a:pos x="112" y="292"/>
                                    </a:cxn>
                                    <a:cxn ang="0">
                                      <a:pos x="122" y="302"/>
                                    </a:cxn>
                                    <a:cxn ang="0">
                                      <a:pos x="132" y="300"/>
                                    </a:cxn>
                                    <a:cxn ang="0">
                                      <a:pos x="146" y="300"/>
                                    </a:cxn>
                                    <a:cxn ang="0">
                                      <a:pos x="152" y="294"/>
                                    </a:cxn>
                                    <a:cxn ang="0">
                                      <a:pos x="154" y="298"/>
                                    </a:cxn>
                                    <a:cxn ang="0">
                                      <a:pos x="156" y="300"/>
                                    </a:cxn>
                                    <a:cxn ang="0">
                                      <a:pos x="234" y="274"/>
                                    </a:cxn>
                                    <a:cxn ang="0">
                                      <a:pos x="222" y="258"/>
                                    </a:cxn>
                                    <a:cxn ang="0">
                                      <a:pos x="244" y="62"/>
                                    </a:cxn>
                                    <a:cxn ang="0">
                                      <a:pos x="98" y="34"/>
                                    </a:cxn>
                                    <a:cxn ang="0">
                                      <a:pos x="96" y="92"/>
                                    </a:cxn>
                                    <a:cxn ang="0">
                                      <a:pos x="86" y="98"/>
                                    </a:cxn>
                                    <a:cxn ang="0">
                                      <a:pos x="76" y="108"/>
                                    </a:cxn>
                                    <a:cxn ang="0">
                                      <a:pos x="76" y="144"/>
                                    </a:cxn>
                                    <a:cxn ang="0">
                                      <a:pos x="14" y="144"/>
                                    </a:cxn>
                                    <a:cxn ang="0">
                                      <a:pos x="0" y="150"/>
                                    </a:cxn>
                                  </a:cxnLst>
                                  <a:rect l="0" t="0" r="r" b="b"/>
                                  <a:pathLst>
                                    <a:path w="244" h="312">
                                      <a:moveTo>
                                        <a:pt x="0" y="150"/>
                                      </a:moveTo>
                                      <a:lnTo>
                                        <a:pt x="0" y="150"/>
                                      </a:lnTo>
                                      <a:lnTo>
                                        <a:pt x="0" y="162"/>
                                      </a:lnTo>
                                      <a:lnTo>
                                        <a:pt x="0" y="164"/>
                                      </a:lnTo>
                                      <a:lnTo>
                                        <a:pt x="4" y="164"/>
                                      </a:lnTo>
                                      <a:lnTo>
                                        <a:pt x="4" y="164"/>
                                      </a:lnTo>
                                      <a:lnTo>
                                        <a:pt x="6" y="166"/>
                                      </a:lnTo>
                                      <a:lnTo>
                                        <a:pt x="8" y="170"/>
                                      </a:lnTo>
                                      <a:lnTo>
                                        <a:pt x="10" y="178"/>
                                      </a:lnTo>
                                      <a:lnTo>
                                        <a:pt x="10" y="178"/>
                                      </a:lnTo>
                                      <a:lnTo>
                                        <a:pt x="10" y="182"/>
                                      </a:lnTo>
                                      <a:lnTo>
                                        <a:pt x="8" y="188"/>
                                      </a:lnTo>
                                      <a:lnTo>
                                        <a:pt x="8" y="188"/>
                                      </a:lnTo>
                                      <a:lnTo>
                                        <a:pt x="6" y="196"/>
                                      </a:lnTo>
                                      <a:lnTo>
                                        <a:pt x="6" y="196"/>
                                      </a:lnTo>
                                      <a:lnTo>
                                        <a:pt x="10" y="196"/>
                                      </a:lnTo>
                                      <a:lnTo>
                                        <a:pt x="10" y="196"/>
                                      </a:lnTo>
                                      <a:lnTo>
                                        <a:pt x="10" y="196"/>
                                      </a:lnTo>
                                      <a:lnTo>
                                        <a:pt x="10" y="198"/>
                                      </a:lnTo>
                                      <a:lnTo>
                                        <a:pt x="6" y="200"/>
                                      </a:lnTo>
                                      <a:lnTo>
                                        <a:pt x="6" y="202"/>
                                      </a:lnTo>
                                      <a:lnTo>
                                        <a:pt x="6" y="202"/>
                                      </a:lnTo>
                                      <a:lnTo>
                                        <a:pt x="10" y="210"/>
                                      </a:lnTo>
                                      <a:lnTo>
                                        <a:pt x="14" y="216"/>
                                      </a:lnTo>
                                      <a:lnTo>
                                        <a:pt x="16" y="226"/>
                                      </a:lnTo>
                                      <a:lnTo>
                                        <a:pt x="14" y="242"/>
                                      </a:lnTo>
                                      <a:lnTo>
                                        <a:pt x="14" y="242"/>
                                      </a:lnTo>
                                      <a:lnTo>
                                        <a:pt x="12" y="252"/>
                                      </a:lnTo>
                                      <a:lnTo>
                                        <a:pt x="10" y="258"/>
                                      </a:lnTo>
                                      <a:lnTo>
                                        <a:pt x="8" y="264"/>
                                      </a:lnTo>
                                      <a:lnTo>
                                        <a:pt x="6" y="268"/>
                                      </a:lnTo>
                                      <a:lnTo>
                                        <a:pt x="8" y="274"/>
                                      </a:lnTo>
                                      <a:lnTo>
                                        <a:pt x="8" y="274"/>
                                      </a:lnTo>
                                      <a:lnTo>
                                        <a:pt x="12" y="270"/>
                                      </a:lnTo>
                                      <a:lnTo>
                                        <a:pt x="14" y="268"/>
                                      </a:lnTo>
                                      <a:lnTo>
                                        <a:pt x="16" y="270"/>
                                      </a:lnTo>
                                      <a:lnTo>
                                        <a:pt x="16" y="270"/>
                                      </a:lnTo>
                                      <a:lnTo>
                                        <a:pt x="20" y="272"/>
                                      </a:lnTo>
                                      <a:lnTo>
                                        <a:pt x="22" y="272"/>
                                      </a:lnTo>
                                      <a:lnTo>
                                        <a:pt x="26" y="272"/>
                                      </a:lnTo>
                                      <a:lnTo>
                                        <a:pt x="26" y="272"/>
                                      </a:lnTo>
                                      <a:lnTo>
                                        <a:pt x="28" y="272"/>
                                      </a:lnTo>
                                      <a:lnTo>
                                        <a:pt x="32" y="272"/>
                                      </a:lnTo>
                                      <a:lnTo>
                                        <a:pt x="32" y="272"/>
                                      </a:lnTo>
                                      <a:lnTo>
                                        <a:pt x="36" y="272"/>
                                      </a:lnTo>
                                      <a:lnTo>
                                        <a:pt x="36" y="270"/>
                                      </a:lnTo>
                                      <a:lnTo>
                                        <a:pt x="38" y="268"/>
                                      </a:lnTo>
                                      <a:lnTo>
                                        <a:pt x="40" y="268"/>
                                      </a:lnTo>
                                      <a:lnTo>
                                        <a:pt x="40" y="268"/>
                                      </a:lnTo>
                                      <a:lnTo>
                                        <a:pt x="42" y="268"/>
                                      </a:lnTo>
                                      <a:lnTo>
                                        <a:pt x="42" y="268"/>
                                      </a:lnTo>
                                      <a:lnTo>
                                        <a:pt x="44" y="270"/>
                                      </a:lnTo>
                                      <a:lnTo>
                                        <a:pt x="48" y="270"/>
                                      </a:lnTo>
                                      <a:lnTo>
                                        <a:pt x="48" y="270"/>
                                      </a:lnTo>
                                      <a:lnTo>
                                        <a:pt x="52" y="272"/>
                                      </a:lnTo>
                                      <a:lnTo>
                                        <a:pt x="56" y="272"/>
                                      </a:lnTo>
                                      <a:lnTo>
                                        <a:pt x="58" y="276"/>
                                      </a:lnTo>
                                      <a:lnTo>
                                        <a:pt x="62" y="280"/>
                                      </a:lnTo>
                                      <a:lnTo>
                                        <a:pt x="64" y="282"/>
                                      </a:lnTo>
                                      <a:lnTo>
                                        <a:pt x="66" y="282"/>
                                      </a:lnTo>
                                      <a:lnTo>
                                        <a:pt x="66" y="282"/>
                                      </a:lnTo>
                                      <a:lnTo>
                                        <a:pt x="70" y="282"/>
                                      </a:lnTo>
                                      <a:lnTo>
                                        <a:pt x="70" y="284"/>
                                      </a:lnTo>
                                      <a:lnTo>
                                        <a:pt x="70" y="288"/>
                                      </a:lnTo>
                                      <a:lnTo>
                                        <a:pt x="72" y="290"/>
                                      </a:lnTo>
                                      <a:lnTo>
                                        <a:pt x="72" y="290"/>
                                      </a:lnTo>
                                      <a:lnTo>
                                        <a:pt x="76" y="292"/>
                                      </a:lnTo>
                                      <a:lnTo>
                                        <a:pt x="76" y="294"/>
                                      </a:lnTo>
                                      <a:lnTo>
                                        <a:pt x="76" y="298"/>
                                      </a:lnTo>
                                      <a:lnTo>
                                        <a:pt x="78" y="300"/>
                                      </a:lnTo>
                                      <a:lnTo>
                                        <a:pt x="78" y="300"/>
                                      </a:lnTo>
                                      <a:lnTo>
                                        <a:pt x="80" y="304"/>
                                      </a:lnTo>
                                      <a:lnTo>
                                        <a:pt x="80" y="306"/>
                                      </a:lnTo>
                                      <a:lnTo>
                                        <a:pt x="82" y="308"/>
                                      </a:lnTo>
                                      <a:lnTo>
                                        <a:pt x="88" y="312"/>
                                      </a:lnTo>
                                      <a:lnTo>
                                        <a:pt x="88" y="312"/>
                                      </a:lnTo>
                                      <a:lnTo>
                                        <a:pt x="92" y="308"/>
                                      </a:lnTo>
                                      <a:lnTo>
                                        <a:pt x="96" y="304"/>
                                      </a:lnTo>
                                      <a:lnTo>
                                        <a:pt x="98" y="298"/>
                                      </a:lnTo>
                                      <a:lnTo>
                                        <a:pt x="102" y="296"/>
                                      </a:lnTo>
                                      <a:lnTo>
                                        <a:pt x="102" y="296"/>
                                      </a:lnTo>
                                      <a:lnTo>
                                        <a:pt x="104" y="294"/>
                                      </a:lnTo>
                                      <a:lnTo>
                                        <a:pt x="104" y="294"/>
                                      </a:lnTo>
                                      <a:lnTo>
                                        <a:pt x="106" y="292"/>
                                      </a:lnTo>
                                      <a:lnTo>
                                        <a:pt x="108" y="292"/>
                                      </a:lnTo>
                                      <a:lnTo>
                                        <a:pt x="108" y="292"/>
                                      </a:lnTo>
                                      <a:lnTo>
                                        <a:pt x="112" y="292"/>
                                      </a:lnTo>
                                      <a:lnTo>
                                        <a:pt x="114" y="296"/>
                                      </a:lnTo>
                                      <a:lnTo>
                                        <a:pt x="116" y="300"/>
                                      </a:lnTo>
                                      <a:lnTo>
                                        <a:pt x="122" y="302"/>
                                      </a:lnTo>
                                      <a:lnTo>
                                        <a:pt x="122" y="302"/>
                                      </a:lnTo>
                                      <a:lnTo>
                                        <a:pt x="126" y="300"/>
                                      </a:lnTo>
                                      <a:lnTo>
                                        <a:pt x="132" y="300"/>
                                      </a:lnTo>
                                      <a:lnTo>
                                        <a:pt x="142" y="300"/>
                                      </a:lnTo>
                                      <a:lnTo>
                                        <a:pt x="142" y="300"/>
                                      </a:lnTo>
                                      <a:lnTo>
                                        <a:pt x="146" y="300"/>
                                      </a:lnTo>
                                      <a:lnTo>
                                        <a:pt x="146" y="298"/>
                                      </a:lnTo>
                                      <a:lnTo>
                                        <a:pt x="148" y="296"/>
                                      </a:lnTo>
                                      <a:lnTo>
                                        <a:pt x="152" y="294"/>
                                      </a:lnTo>
                                      <a:lnTo>
                                        <a:pt x="152" y="294"/>
                                      </a:lnTo>
                                      <a:lnTo>
                                        <a:pt x="154" y="296"/>
                                      </a:lnTo>
                                      <a:lnTo>
                                        <a:pt x="154" y="298"/>
                                      </a:lnTo>
                                      <a:lnTo>
                                        <a:pt x="154" y="298"/>
                                      </a:lnTo>
                                      <a:lnTo>
                                        <a:pt x="156" y="300"/>
                                      </a:lnTo>
                                      <a:lnTo>
                                        <a:pt x="156" y="300"/>
                                      </a:lnTo>
                                      <a:lnTo>
                                        <a:pt x="224" y="300"/>
                                      </a:lnTo>
                                      <a:lnTo>
                                        <a:pt x="234" y="274"/>
                                      </a:lnTo>
                                      <a:lnTo>
                                        <a:pt x="234" y="274"/>
                                      </a:lnTo>
                                      <a:lnTo>
                                        <a:pt x="226" y="268"/>
                                      </a:lnTo>
                                      <a:lnTo>
                                        <a:pt x="222" y="264"/>
                                      </a:lnTo>
                                      <a:lnTo>
                                        <a:pt x="222" y="258"/>
                                      </a:lnTo>
                                      <a:lnTo>
                                        <a:pt x="222" y="258"/>
                                      </a:lnTo>
                                      <a:lnTo>
                                        <a:pt x="218" y="62"/>
                                      </a:lnTo>
                                      <a:lnTo>
                                        <a:pt x="244" y="62"/>
                                      </a:lnTo>
                                      <a:lnTo>
                                        <a:pt x="166" y="0"/>
                                      </a:lnTo>
                                      <a:lnTo>
                                        <a:pt x="166" y="34"/>
                                      </a:lnTo>
                                      <a:lnTo>
                                        <a:pt x="98" y="34"/>
                                      </a:lnTo>
                                      <a:lnTo>
                                        <a:pt x="98" y="34"/>
                                      </a:lnTo>
                                      <a:lnTo>
                                        <a:pt x="96" y="92"/>
                                      </a:lnTo>
                                      <a:lnTo>
                                        <a:pt x="96" y="92"/>
                                      </a:lnTo>
                                      <a:lnTo>
                                        <a:pt x="94" y="96"/>
                                      </a:lnTo>
                                      <a:lnTo>
                                        <a:pt x="92" y="98"/>
                                      </a:lnTo>
                                      <a:lnTo>
                                        <a:pt x="86" y="98"/>
                                      </a:lnTo>
                                      <a:lnTo>
                                        <a:pt x="82" y="100"/>
                                      </a:lnTo>
                                      <a:lnTo>
                                        <a:pt x="78" y="102"/>
                                      </a:lnTo>
                                      <a:lnTo>
                                        <a:pt x="76" y="108"/>
                                      </a:lnTo>
                                      <a:lnTo>
                                        <a:pt x="76" y="116"/>
                                      </a:lnTo>
                                      <a:lnTo>
                                        <a:pt x="76" y="116"/>
                                      </a:lnTo>
                                      <a:lnTo>
                                        <a:pt x="76" y="144"/>
                                      </a:lnTo>
                                      <a:lnTo>
                                        <a:pt x="76" y="144"/>
                                      </a:lnTo>
                                      <a:lnTo>
                                        <a:pt x="14" y="144"/>
                                      </a:lnTo>
                                      <a:lnTo>
                                        <a:pt x="14" y="144"/>
                                      </a:lnTo>
                                      <a:lnTo>
                                        <a:pt x="8" y="144"/>
                                      </a:lnTo>
                                      <a:lnTo>
                                        <a:pt x="4" y="144"/>
                                      </a:lnTo>
                                      <a:lnTo>
                                        <a:pt x="0" y="150"/>
                                      </a:lnTo>
                                      <a:lnTo>
                                        <a:pt x="0" y="15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4" name="Monaco"/>
                                <p:cNvSpPr>
                                  <a:spLocks/>
                                </p:cNvSpPr>
                                <p:nvPr/>
                              </p:nvSpPr>
                              <p:spPr bwMode="auto">
                                <a:xfrm>
                                  <a:off x="5981617" y="2060554"/>
                                  <a:ext cx="15188" cy="12139"/>
                                </a:xfrm>
                                <a:custGeom>
                                  <a:avLst/>
                                  <a:gdLst/>
                                  <a:ahLst/>
                                  <a:cxnLst>
                                    <a:cxn ang="0">
                                      <a:pos x="8" y="8"/>
                                    </a:cxn>
                                    <a:cxn ang="0">
                                      <a:pos x="8" y="8"/>
                                    </a:cxn>
                                    <a:cxn ang="0">
                                      <a:pos x="0" y="8"/>
                                    </a:cxn>
                                    <a:cxn ang="0">
                                      <a:pos x="0" y="8"/>
                                    </a:cxn>
                                    <a:cxn ang="0">
                                      <a:pos x="4" y="4"/>
                                    </a:cxn>
                                    <a:cxn ang="0">
                                      <a:pos x="8" y="0"/>
                                    </a:cxn>
                                    <a:cxn ang="0">
                                      <a:pos x="8" y="0"/>
                                    </a:cxn>
                                    <a:cxn ang="0">
                                      <a:pos x="10" y="2"/>
                                    </a:cxn>
                                    <a:cxn ang="0">
                                      <a:pos x="8" y="8"/>
                                    </a:cxn>
                                    <a:cxn ang="0">
                                      <a:pos x="8" y="8"/>
                                    </a:cxn>
                                  </a:cxnLst>
                                  <a:rect l="0" t="0" r="r" b="b"/>
                                  <a:pathLst>
                                    <a:path w="10" h="8">
                                      <a:moveTo>
                                        <a:pt x="8" y="8"/>
                                      </a:moveTo>
                                      <a:lnTo>
                                        <a:pt x="8" y="8"/>
                                      </a:lnTo>
                                      <a:lnTo>
                                        <a:pt x="0" y="8"/>
                                      </a:lnTo>
                                      <a:lnTo>
                                        <a:pt x="0" y="8"/>
                                      </a:lnTo>
                                      <a:lnTo>
                                        <a:pt x="4" y="4"/>
                                      </a:lnTo>
                                      <a:lnTo>
                                        <a:pt x="8" y="0"/>
                                      </a:lnTo>
                                      <a:lnTo>
                                        <a:pt x="8" y="0"/>
                                      </a:lnTo>
                                      <a:lnTo>
                                        <a:pt x="10" y="2"/>
                                      </a:lnTo>
                                      <a:lnTo>
                                        <a:pt x="8" y="8"/>
                                      </a:lnTo>
                                      <a:lnTo>
                                        <a:pt x="8" y="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5" name="Mongolia"/>
                                <p:cNvSpPr>
                                  <a:spLocks/>
                                </p:cNvSpPr>
                                <p:nvPr/>
                              </p:nvSpPr>
                              <p:spPr bwMode="auto">
                                <a:xfrm>
                                  <a:off x="8214577" y="1794591"/>
                                  <a:ext cx="893067" cy="321692"/>
                                </a:xfrm>
                                <a:custGeom>
                                  <a:avLst/>
                                  <a:gdLst/>
                                  <a:ahLst/>
                                  <a:cxnLst>
                                    <a:cxn ang="0">
                                      <a:pos x="4" y="60"/>
                                    </a:cxn>
                                    <a:cxn ang="0">
                                      <a:pos x="18" y="50"/>
                                    </a:cxn>
                                    <a:cxn ang="0">
                                      <a:pos x="24" y="48"/>
                                    </a:cxn>
                                    <a:cxn ang="0">
                                      <a:pos x="32" y="44"/>
                                    </a:cxn>
                                    <a:cxn ang="0">
                                      <a:pos x="46" y="40"/>
                                    </a:cxn>
                                    <a:cxn ang="0">
                                      <a:pos x="58" y="34"/>
                                    </a:cxn>
                                    <a:cxn ang="0">
                                      <a:pos x="74" y="30"/>
                                    </a:cxn>
                                    <a:cxn ang="0">
                                      <a:pos x="86" y="34"/>
                                    </a:cxn>
                                    <a:cxn ang="0">
                                      <a:pos x="102" y="46"/>
                                    </a:cxn>
                                    <a:cxn ang="0">
                                      <a:pos x="116" y="48"/>
                                    </a:cxn>
                                    <a:cxn ang="0">
                                      <a:pos x="148" y="52"/>
                                    </a:cxn>
                                    <a:cxn ang="0">
                                      <a:pos x="164" y="50"/>
                                    </a:cxn>
                                    <a:cxn ang="0">
                                      <a:pos x="162" y="36"/>
                                    </a:cxn>
                                    <a:cxn ang="0">
                                      <a:pos x="152" y="26"/>
                                    </a:cxn>
                                    <a:cxn ang="0">
                                      <a:pos x="152" y="6"/>
                                    </a:cxn>
                                    <a:cxn ang="0">
                                      <a:pos x="176" y="6"/>
                                    </a:cxn>
                                    <a:cxn ang="0">
                                      <a:pos x="218" y="32"/>
                                    </a:cxn>
                                    <a:cxn ang="0">
                                      <a:pos x="250" y="46"/>
                                    </a:cxn>
                                    <a:cxn ang="0">
                                      <a:pos x="294" y="44"/>
                                    </a:cxn>
                                    <a:cxn ang="0">
                                      <a:pos x="320" y="56"/>
                                    </a:cxn>
                                    <a:cxn ang="0">
                                      <a:pos x="364" y="56"/>
                                    </a:cxn>
                                    <a:cxn ang="0">
                                      <a:pos x="428" y="46"/>
                                    </a:cxn>
                                    <a:cxn ang="0">
                                      <a:pos x="462" y="54"/>
                                    </a:cxn>
                                    <a:cxn ang="0">
                                      <a:pos x="462" y="72"/>
                                    </a:cxn>
                                    <a:cxn ang="0">
                                      <a:pos x="450" y="86"/>
                                    </a:cxn>
                                    <a:cxn ang="0">
                                      <a:pos x="490" y="84"/>
                                    </a:cxn>
                                    <a:cxn ang="0">
                                      <a:pos x="516" y="86"/>
                                    </a:cxn>
                                    <a:cxn ang="0">
                                      <a:pos x="542" y="72"/>
                                    </a:cxn>
                                    <a:cxn ang="0">
                                      <a:pos x="582" y="92"/>
                                    </a:cxn>
                                    <a:cxn ang="0">
                                      <a:pos x="584" y="108"/>
                                    </a:cxn>
                                    <a:cxn ang="0">
                                      <a:pos x="568" y="112"/>
                                    </a:cxn>
                                    <a:cxn ang="0">
                                      <a:pos x="548" y="116"/>
                                    </a:cxn>
                                    <a:cxn ang="0">
                                      <a:pos x="526" y="134"/>
                                    </a:cxn>
                                    <a:cxn ang="0">
                                      <a:pos x="514" y="146"/>
                                    </a:cxn>
                                    <a:cxn ang="0">
                                      <a:pos x="492" y="144"/>
                                    </a:cxn>
                                    <a:cxn ang="0">
                                      <a:pos x="496" y="158"/>
                                    </a:cxn>
                                    <a:cxn ang="0">
                                      <a:pos x="512" y="170"/>
                                    </a:cxn>
                                    <a:cxn ang="0">
                                      <a:pos x="496" y="186"/>
                                    </a:cxn>
                                    <a:cxn ang="0">
                                      <a:pos x="486" y="196"/>
                                    </a:cxn>
                                    <a:cxn ang="0">
                                      <a:pos x="450" y="200"/>
                                    </a:cxn>
                                    <a:cxn ang="0">
                                      <a:pos x="402" y="212"/>
                                    </a:cxn>
                                    <a:cxn ang="0">
                                      <a:pos x="338" y="198"/>
                                    </a:cxn>
                                    <a:cxn ang="0">
                                      <a:pos x="310" y="190"/>
                                    </a:cxn>
                                    <a:cxn ang="0">
                                      <a:pos x="276" y="192"/>
                                    </a:cxn>
                                    <a:cxn ang="0">
                                      <a:pos x="242" y="190"/>
                                    </a:cxn>
                                    <a:cxn ang="0">
                                      <a:pos x="218" y="198"/>
                                    </a:cxn>
                                    <a:cxn ang="0">
                                      <a:pos x="210" y="176"/>
                                    </a:cxn>
                                    <a:cxn ang="0">
                                      <a:pos x="202" y="164"/>
                                    </a:cxn>
                                    <a:cxn ang="0">
                                      <a:pos x="198" y="156"/>
                                    </a:cxn>
                                    <a:cxn ang="0">
                                      <a:pos x="172" y="158"/>
                                    </a:cxn>
                                    <a:cxn ang="0">
                                      <a:pos x="102" y="150"/>
                                    </a:cxn>
                                    <a:cxn ang="0">
                                      <a:pos x="96" y="144"/>
                                    </a:cxn>
                                    <a:cxn ang="0">
                                      <a:pos x="92" y="128"/>
                                    </a:cxn>
                                    <a:cxn ang="0">
                                      <a:pos x="78" y="114"/>
                                    </a:cxn>
                                    <a:cxn ang="0">
                                      <a:pos x="64" y="94"/>
                                    </a:cxn>
                                    <a:cxn ang="0">
                                      <a:pos x="48" y="84"/>
                                    </a:cxn>
                                    <a:cxn ang="0">
                                      <a:pos x="32" y="86"/>
                                    </a:cxn>
                                    <a:cxn ang="0">
                                      <a:pos x="8" y="76"/>
                                    </a:cxn>
                                  </a:cxnLst>
                                  <a:rect l="0" t="0" r="r" b="b"/>
                                  <a:pathLst>
                                    <a:path w="588" h="212">
                                      <a:moveTo>
                                        <a:pt x="0" y="68"/>
                                      </a:moveTo>
                                      <a:lnTo>
                                        <a:pt x="0" y="68"/>
                                      </a:lnTo>
                                      <a:lnTo>
                                        <a:pt x="2" y="66"/>
                                      </a:lnTo>
                                      <a:lnTo>
                                        <a:pt x="2" y="62"/>
                                      </a:lnTo>
                                      <a:lnTo>
                                        <a:pt x="4" y="60"/>
                                      </a:lnTo>
                                      <a:lnTo>
                                        <a:pt x="8" y="58"/>
                                      </a:lnTo>
                                      <a:lnTo>
                                        <a:pt x="8" y="58"/>
                                      </a:lnTo>
                                      <a:lnTo>
                                        <a:pt x="12" y="56"/>
                                      </a:lnTo>
                                      <a:lnTo>
                                        <a:pt x="16" y="52"/>
                                      </a:lnTo>
                                      <a:lnTo>
                                        <a:pt x="18" y="50"/>
                                      </a:lnTo>
                                      <a:lnTo>
                                        <a:pt x="22" y="52"/>
                                      </a:lnTo>
                                      <a:lnTo>
                                        <a:pt x="22" y="52"/>
                                      </a:lnTo>
                                      <a:lnTo>
                                        <a:pt x="24" y="52"/>
                                      </a:lnTo>
                                      <a:lnTo>
                                        <a:pt x="24" y="52"/>
                                      </a:lnTo>
                                      <a:lnTo>
                                        <a:pt x="24" y="48"/>
                                      </a:lnTo>
                                      <a:lnTo>
                                        <a:pt x="26" y="44"/>
                                      </a:lnTo>
                                      <a:lnTo>
                                        <a:pt x="26" y="44"/>
                                      </a:lnTo>
                                      <a:lnTo>
                                        <a:pt x="28" y="44"/>
                                      </a:lnTo>
                                      <a:lnTo>
                                        <a:pt x="28" y="44"/>
                                      </a:lnTo>
                                      <a:lnTo>
                                        <a:pt x="32" y="44"/>
                                      </a:lnTo>
                                      <a:lnTo>
                                        <a:pt x="36" y="42"/>
                                      </a:lnTo>
                                      <a:lnTo>
                                        <a:pt x="40" y="40"/>
                                      </a:lnTo>
                                      <a:lnTo>
                                        <a:pt x="44" y="40"/>
                                      </a:lnTo>
                                      <a:lnTo>
                                        <a:pt x="44" y="40"/>
                                      </a:lnTo>
                                      <a:lnTo>
                                        <a:pt x="46" y="40"/>
                                      </a:lnTo>
                                      <a:lnTo>
                                        <a:pt x="50" y="36"/>
                                      </a:lnTo>
                                      <a:lnTo>
                                        <a:pt x="54" y="34"/>
                                      </a:lnTo>
                                      <a:lnTo>
                                        <a:pt x="56" y="32"/>
                                      </a:lnTo>
                                      <a:lnTo>
                                        <a:pt x="58" y="34"/>
                                      </a:lnTo>
                                      <a:lnTo>
                                        <a:pt x="58" y="34"/>
                                      </a:lnTo>
                                      <a:lnTo>
                                        <a:pt x="60" y="34"/>
                                      </a:lnTo>
                                      <a:lnTo>
                                        <a:pt x="62" y="34"/>
                                      </a:lnTo>
                                      <a:lnTo>
                                        <a:pt x="66" y="32"/>
                                      </a:lnTo>
                                      <a:lnTo>
                                        <a:pt x="70" y="30"/>
                                      </a:lnTo>
                                      <a:lnTo>
                                        <a:pt x="74" y="30"/>
                                      </a:lnTo>
                                      <a:lnTo>
                                        <a:pt x="76" y="30"/>
                                      </a:lnTo>
                                      <a:lnTo>
                                        <a:pt x="76" y="30"/>
                                      </a:lnTo>
                                      <a:lnTo>
                                        <a:pt x="78" y="34"/>
                                      </a:lnTo>
                                      <a:lnTo>
                                        <a:pt x="80" y="34"/>
                                      </a:lnTo>
                                      <a:lnTo>
                                        <a:pt x="86" y="34"/>
                                      </a:lnTo>
                                      <a:lnTo>
                                        <a:pt x="90" y="34"/>
                                      </a:lnTo>
                                      <a:lnTo>
                                        <a:pt x="94" y="36"/>
                                      </a:lnTo>
                                      <a:lnTo>
                                        <a:pt x="96" y="40"/>
                                      </a:lnTo>
                                      <a:lnTo>
                                        <a:pt x="96" y="40"/>
                                      </a:lnTo>
                                      <a:lnTo>
                                        <a:pt x="102" y="46"/>
                                      </a:lnTo>
                                      <a:lnTo>
                                        <a:pt x="104" y="46"/>
                                      </a:lnTo>
                                      <a:lnTo>
                                        <a:pt x="108" y="46"/>
                                      </a:lnTo>
                                      <a:lnTo>
                                        <a:pt x="112" y="46"/>
                                      </a:lnTo>
                                      <a:lnTo>
                                        <a:pt x="112" y="46"/>
                                      </a:lnTo>
                                      <a:lnTo>
                                        <a:pt x="116" y="48"/>
                                      </a:lnTo>
                                      <a:lnTo>
                                        <a:pt x="120" y="50"/>
                                      </a:lnTo>
                                      <a:lnTo>
                                        <a:pt x="126" y="50"/>
                                      </a:lnTo>
                                      <a:lnTo>
                                        <a:pt x="136" y="52"/>
                                      </a:lnTo>
                                      <a:lnTo>
                                        <a:pt x="136" y="52"/>
                                      </a:lnTo>
                                      <a:lnTo>
                                        <a:pt x="148" y="52"/>
                                      </a:lnTo>
                                      <a:lnTo>
                                        <a:pt x="154" y="50"/>
                                      </a:lnTo>
                                      <a:lnTo>
                                        <a:pt x="158" y="50"/>
                                      </a:lnTo>
                                      <a:lnTo>
                                        <a:pt x="160" y="50"/>
                                      </a:lnTo>
                                      <a:lnTo>
                                        <a:pt x="160" y="50"/>
                                      </a:lnTo>
                                      <a:lnTo>
                                        <a:pt x="164" y="50"/>
                                      </a:lnTo>
                                      <a:lnTo>
                                        <a:pt x="166" y="46"/>
                                      </a:lnTo>
                                      <a:lnTo>
                                        <a:pt x="168" y="44"/>
                                      </a:lnTo>
                                      <a:lnTo>
                                        <a:pt x="168" y="42"/>
                                      </a:lnTo>
                                      <a:lnTo>
                                        <a:pt x="166" y="40"/>
                                      </a:lnTo>
                                      <a:lnTo>
                                        <a:pt x="162" y="36"/>
                                      </a:lnTo>
                                      <a:lnTo>
                                        <a:pt x="162" y="36"/>
                                      </a:lnTo>
                                      <a:lnTo>
                                        <a:pt x="150" y="30"/>
                                      </a:lnTo>
                                      <a:lnTo>
                                        <a:pt x="148" y="28"/>
                                      </a:lnTo>
                                      <a:lnTo>
                                        <a:pt x="148" y="28"/>
                                      </a:lnTo>
                                      <a:lnTo>
                                        <a:pt x="152" y="26"/>
                                      </a:lnTo>
                                      <a:lnTo>
                                        <a:pt x="156" y="20"/>
                                      </a:lnTo>
                                      <a:lnTo>
                                        <a:pt x="156" y="20"/>
                                      </a:lnTo>
                                      <a:lnTo>
                                        <a:pt x="156" y="14"/>
                                      </a:lnTo>
                                      <a:lnTo>
                                        <a:pt x="154" y="10"/>
                                      </a:lnTo>
                                      <a:lnTo>
                                        <a:pt x="152" y="6"/>
                                      </a:lnTo>
                                      <a:lnTo>
                                        <a:pt x="152" y="2"/>
                                      </a:lnTo>
                                      <a:lnTo>
                                        <a:pt x="154" y="0"/>
                                      </a:lnTo>
                                      <a:lnTo>
                                        <a:pt x="154" y="0"/>
                                      </a:lnTo>
                                      <a:lnTo>
                                        <a:pt x="166" y="4"/>
                                      </a:lnTo>
                                      <a:lnTo>
                                        <a:pt x="176" y="6"/>
                                      </a:lnTo>
                                      <a:lnTo>
                                        <a:pt x="192" y="10"/>
                                      </a:lnTo>
                                      <a:lnTo>
                                        <a:pt x="192" y="10"/>
                                      </a:lnTo>
                                      <a:lnTo>
                                        <a:pt x="202" y="14"/>
                                      </a:lnTo>
                                      <a:lnTo>
                                        <a:pt x="208" y="18"/>
                                      </a:lnTo>
                                      <a:lnTo>
                                        <a:pt x="218" y="32"/>
                                      </a:lnTo>
                                      <a:lnTo>
                                        <a:pt x="222" y="38"/>
                                      </a:lnTo>
                                      <a:lnTo>
                                        <a:pt x="228" y="44"/>
                                      </a:lnTo>
                                      <a:lnTo>
                                        <a:pt x="238" y="46"/>
                                      </a:lnTo>
                                      <a:lnTo>
                                        <a:pt x="250" y="46"/>
                                      </a:lnTo>
                                      <a:lnTo>
                                        <a:pt x="250" y="46"/>
                                      </a:lnTo>
                                      <a:lnTo>
                                        <a:pt x="274" y="42"/>
                                      </a:lnTo>
                                      <a:lnTo>
                                        <a:pt x="282" y="44"/>
                                      </a:lnTo>
                                      <a:lnTo>
                                        <a:pt x="286" y="44"/>
                                      </a:lnTo>
                                      <a:lnTo>
                                        <a:pt x="294" y="44"/>
                                      </a:lnTo>
                                      <a:lnTo>
                                        <a:pt x="294" y="44"/>
                                      </a:lnTo>
                                      <a:lnTo>
                                        <a:pt x="306" y="44"/>
                                      </a:lnTo>
                                      <a:lnTo>
                                        <a:pt x="312" y="46"/>
                                      </a:lnTo>
                                      <a:lnTo>
                                        <a:pt x="314" y="50"/>
                                      </a:lnTo>
                                      <a:lnTo>
                                        <a:pt x="318" y="52"/>
                                      </a:lnTo>
                                      <a:lnTo>
                                        <a:pt x="320" y="56"/>
                                      </a:lnTo>
                                      <a:lnTo>
                                        <a:pt x="326" y="58"/>
                                      </a:lnTo>
                                      <a:lnTo>
                                        <a:pt x="334" y="58"/>
                                      </a:lnTo>
                                      <a:lnTo>
                                        <a:pt x="346" y="56"/>
                                      </a:lnTo>
                                      <a:lnTo>
                                        <a:pt x="346" y="56"/>
                                      </a:lnTo>
                                      <a:lnTo>
                                        <a:pt x="364" y="56"/>
                                      </a:lnTo>
                                      <a:lnTo>
                                        <a:pt x="380" y="56"/>
                                      </a:lnTo>
                                      <a:lnTo>
                                        <a:pt x="394" y="56"/>
                                      </a:lnTo>
                                      <a:lnTo>
                                        <a:pt x="412" y="52"/>
                                      </a:lnTo>
                                      <a:lnTo>
                                        <a:pt x="412" y="52"/>
                                      </a:lnTo>
                                      <a:lnTo>
                                        <a:pt x="428" y="46"/>
                                      </a:lnTo>
                                      <a:lnTo>
                                        <a:pt x="440" y="44"/>
                                      </a:lnTo>
                                      <a:lnTo>
                                        <a:pt x="454" y="44"/>
                                      </a:lnTo>
                                      <a:lnTo>
                                        <a:pt x="472" y="48"/>
                                      </a:lnTo>
                                      <a:lnTo>
                                        <a:pt x="472" y="48"/>
                                      </a:lnTo>
                                      <a:lnTo>
                                        <a:pt x="462" y="54"/>
                                      </a:lnTo>
                                      <a:lnTo>
                                        <a:pt x="458" y="58"/>
                                      </a:lnTo>
                                      <a:lnTo>
                                        <a:pt x="458" y="62"/>
                                      </a:lnTo>
                                      <a:lnTo>
                                        <a:pt x="460" y="64"/>
                                      </a:lnTo>
                                      <a:lnTo>
                                        <a:pt x="462" y="70"/>
                                      </a:lnTo>
                                      <a:lnTo>
                                        <a:pt x="462" y="72"/>
                                      </a:lnTo>
                                      <a:lnTo>
                                        <a:pt x="456" y="76"/>
                                      </a:lnTo>
                                      <a:lnTo>
                                        <a:pt x="456" y="76"/>
                                      </a:lnTo>
                                      <a:lnTo>
                                        <a:pt x="450" y="80"/>
                                      </a:lnTo>
                                      <a:lnTo>
                                        <a:pt x="450" y="84"/>
                                      </a:lnTo>
                                      <a:lnTo>
                                        <a:pt x="450" y="86"/>
                                      </a:lnTo>
                                      <a:lnTo>
                                        <a:pt x="452" y="88"/>
                                      </a:lnTo>
                                      <a:lnTo>
                                        <a:pt x="458" y="88"/>
                                      </a:lnTo>
                                      <a:lnTo>
                                        <a:pt x="474" y="86"/>
                                      </a:lnTo>
                                      <a:lnTo>
                                        <a:pt x="474" y="86"/>
                                      </a:lnTo>
                                      <a:lnTo>
                                        <a:pt x="490" y="84"/>
                                      </a:lnTo>
                                      <a:lnTo>
                                        <a:pt x="500" y="84"/>
                                      </a:lnTo>
                                      <a:lnTo>
                                        <a:pt x="506" y="84"/>
                                      </a:lnTo>
                                      <a:lnTo>
                                        <a:pt x="510" y="86"/>
                                      </a:lnTo>
                                      <a:lnTo>
                                        <a:pt x="514" y="88"/>
                                      </a:lnTo>
                                      <a:lnTo>
                                        <a:pt x="516" y="86"/>
                                      </a:lnTo>
                                      <a:lnTo>
                                        <a:pt x="528" y="80"/>
                                      </a:lnTo>
                                      <a:lnTo>
                                        <a:pt x="528" y="80"/>
                                      </a:lnTo>
                                      <a:lnTo>
                                        <a:pt x="532" y="76"/>
                                      </a:lnTo>
                                      <a:lnTo>
                                        <a:pt x="538" y="72"/>
                                      </a:lnTo>
                                      <a:lnTo>
                                        <a:pt x="542" y="72"/>
                                      </a:lnTo>
                                      <a:lnTo>
                                        <a:pt x="546" y="74"/>
                                      </a:lnTo>
                                      <a:lnTo>
                                        <a:pt x="560" y="78"/>
                                      </a:lnTo>
                                      <a:lnTo>
                                        <a:pt x="578" y="90"/>
                                      </a:lnTo>
                                      <a:lnTo>
                                        <a:pt x="578" y="90"/>
                                      </a:lnTo>
                                      <a:lnTo>
                                        <a:pt x="582" y="92"/>
                                      </a:lnTo>
                                      <a:lnTo>
                                        <a:pt x="586" y="96"/>
                                      </a:lnTo>
                                      <a:lnTo>
                                        <a:pt x="588" y="100"/>
                                      </a:lnTo>
                                      <a:lnTo>
                                        <a:pt x="588" y="104"/>
                                      </a:lnTo>
                                      <a:lnTo>
                                        <a:pt x="586" y="106"/>
                                      </a:lnTo>
                                      <a:lnTo>
                                        <a:pt x="584" y="108"/>
                                      </a:lnTo>
                                      <a:lnTo>
                                        <a:pt x="580" y="110"/>
                                      </a:lnTo>
                                      <a:lnTo>
                                        <a:pt x="576" y="110"/>
                                      </a:lnTo>
                                      <a:lnTo>
                                        <a:pt x="576" y="110"/>
                                      </a:lnTo>
                                      <a:lnTo>
                                        <a:pt x="570" y="110"/>
                                      </a:lnTo>
                                      <a:lnTo>
                                        <a:pt x="568" y="112"/>
                                      </a:lnTo>
                                      <a:lnTo>
                                        <a:pt x="566" y="114"/>
                                      </a:lnTo>
                                      <a:lnTo>
                                        <a:pt x="560" y="114"/>
                                      </a:lnTo>
                                      <a:lnTo>
                                        <a:pt x="560" y="114"/>
                                      </a:lnTo>
                                      <a:lnTo>
                                        <a:pt x="552" y="114"/>
                                      </a:lnTo>
                                      <a:lnTo>
                                        <a:pt x="548" y="116"/>
                                      </a:lnTo>
                                      <a:lnTo>
                                        <a:pt x="542" y="124"/>
                                      </a:lnTo>
                                      <a:lnTo>
                                        <a:pt x="542" y="124"/>
                                      </a:lnTo>
                                      <a:lnTo>
                                        <a:pt x="536" y="130"/>
                                      </a:lnTo>
                                      <a:lnTo>
                                        <a:pt x="532" y="132"/>
                                      </a:lnTo>
                                      <a:lnTo>
                                        <a:pt x="526" y="134"/>
                                      </a:lnTo>
                                      <a:lnTo>
                                        <a:pt x="520" y="134"/>
                                      </a:lnTo>
                                      <a:lnTo>
                                        <a:pt x="518" y="136"/>
                                      </a:lnTo>
                                      <a:lnTo>
                                        <a:pt x="516" y="140"/>
                                      </a:lnTo>
                                      <a:lnTo>
                                        <a:pt x="516" y="140"/>
                                      </a:lnTo>
                                      <a:lnTo>
                                        <a:pt x="514" y="146"/>
                                      </a:lnTo>
                                      <a:lnTo>
                                        <a:pt x="510" y="148"/>
                                      </a:lnTo>
                                      <a:lnTo>
                                        <a:pt x="506" y="148"/>
                                      </a:lnTo>
                                      <a:lnTo>
                                        <a:pt x="502" y="148"/>
                                      </a:lnTo>
                                      <a:lnTo>
                                        <a:pt x="496" y="144"/>
                                      </a:lnTo>
                                      <a:lnTo>
                                        <a:pt x="492" y="144"/>
                                      </a:lnTo>
                                      <a:lnTo>
                                        <a:pt x="490" y="148"/>
                                      </a:lnTo>
                                      <a:lnTo>
                                        <a:pt x="490" y="148"/>
                                      </a:lnTo>
                                      <a:lnTo>
                                        <a:pt x="490" y="152"/>
                                      </a:lnTo>
                                      <a:lnTo>
                                        <a:pt x="492" y="156"/>
                                      </a:lnTo>
                                      <a:lnTo>
                                        <a:pt x="496" y="158"/>
                                      </a:lnTo>
                                      <a:lnTo>
                                        <a:pt x="504" y="160"/>
                                      </a:lnTo>
                                      <a:lnTo>
                                        <a:pt x="504" y="160"/>
                                      </a:lnTo>
                                      <a:lnTo>
                                        <a:pt x="508" y="162"/>
                                      </a:lnTo>
                                      <a:lnTo>
                                        <a:pt x="512" y="164"/>
                                      </a:lnTo>
                                      <a:lnTo>
                                        <a:pt x="512" y="170"/>
                                      </a:lnTo>
                                      <a:lnTo>
                                        <a:pt x="512" y="174"/>
                                      </a:lnTo>
                                      <a:lnTo>
                                        <a:pt x="508" y="178"/>
                                      </a:lnTo>
                                      <a:lnTo>
                                        <a:pt x="506" y="182"/>
                                      </a:lnTo>
                                      <a:lnTo>
                                        <a:pt x="502" y="186"/>
                                      </a:lnTo>
                                      <a:lnTo>
                                        <a:pt x="496" y="186"/>
                                      </a:lnTo>
                                      <a:lnTo>
                                        <a:pt x="496" y="186"/>
                                      </a:lnTo>
                                      <a:lnTo>
                                        <a:pt x="494" y="186"/>
                                      </a:lnTo>
                                      <a:lnTo>
                                        <a:pt x="492" y="188"/>
                                      </a:lnTo>
                                      <a:lnTo>
                                        <a:pt x="488" y="194"/>
                                      </a:lnTo>
                                      <a:lnTo>
                                        <a:pt x="486" y="196"/>
                                      </a:lnTo>
                                      <a:lnTo>
                                        <a:pt x="482" y="198"/>
                                      </a:lnTo>
                                      <a:lnTo>
                                        <a:pt x="476" y="200"/>
                                      </a:lnTo>
                                      <a:lnTo>
                                        <a:pt x="468" y="200"/>
                                      </a:lnTo>
                                      <a:lnTo>
                                        <a:pt x="468" y="200"/>
                                      </a:lnTo>
                                      <a:lnTo>
                                        <a:pt x="450" y="200"/>
                                      </a:lnTo>
                                      <a:lnTo>
                                        <a:pt x="438" y="202"/>
                                      </a:lnTo>
                                      <a:lnTo>
                                        <a:pt x="428" y="204"/>
                                      </a:lnTo>
                                      <a:lnTo>
                                        <a:pt x="420" y="208"/>
                                      </a:lnTo>
                                      <a:lnTo>
                                        <a:pt x="412" y="210"/>
                                      </a:lnTo>
                                      <a:lnTo>
                                        <a:pt x="402" y="212"/>
                                      </a:lnTo>
                                      <a:lnTo>
                                        <a:pt x="390" y="212"/>
                                      </a:lnTo>
                                      <a:lnTo>
                                        <a:pt x="372" y="210"/>
                                      </a:lnTo>
                                      <a:lnTo>
                                        <a:pt x="372" y="210"/>
                                      </a:lnTo>
                                      <a:lnTo>
                                        <a:pt x="344" y="202"/>
                                      </a:lnTo>
                                      <a:lnTo>
                                        <a:pt x="338" y="198"/>
                                      </a:lnTo>
                                      <a:lnTo>
                                        <a:pt x="334" y="196"/>
                                      </a:lnTo>
                                      <a:lnTo>
                                        <a:pt x="330" y="194"/>
                                      </a:lnTo>
                                      <a:lnTo>
                                        <a:pt x="320" y="192"/>
                                      </a:lnTo>
                                      <a:lnTo>
                                        <a:pt x="320" y="192"/>
                                      </a:lnTo>
                                      <a:lnTo>
                                        <a:pt x="310" y="190"/>
                                      </a:lnTo>
                                      <a:lnTo>
                                        <a:pt x="302" y="188"/>
                                      </a:lnTo>
                                      <a:lnTo>
                                        <a:pt x="294" y="188"/>
                                      </a:lnTo>
                                      <a:lnTo>
                                        <a:pt x="286" y="190"/>
                                      </a:lnTo>
                                      <a:lnTo>
                                        <a:pt x="286" y="190"/>
                                      </a:lnTo>
                                      <a:lnTo>
                                        <a:pt x="276" y="192"/>
                                      </a:lnTo>
                                      <a:lnTo>
                                        <a:pt x="266" y="190"/>
                                      </a:lnTo>
                                      <a:lnTo>
                                        <a:pt x="258" y="190"/>
                                      </a:lnTo>
                                      <a:lnTo>
                                        <a:pt x="248" y="190"/>
                                      </a:lnTo>
                                      <a:lnTo>
                                        <a:pt x="248" y="190"/>
                                      </a:lnTo>
                                      <a:lnTo>
                                        <a:pt x="242" y="190"/>
                                      </a:lnTo>
                                      <a:lnTo>
                                        <a:pt x="236" y="190"/>
                                      </a:lnTo>
                                      <a:lnTo>
                                        <a:pt x="230" y="190"/>
                                      </a:lnTo>
                                      <a:lnTo>
                                        <a:pt x="222" y="196"/>
                                      </a:lnTo>
                                      <a:lnTo>
                                        <a:pt x="222" y="196"/>
                                      </a:lnTo>
                                      <a:lnTo>
                                        <a:pt x="218" y="198"/>
                                      </a:lnTo>
                                      <a:lnTo>
                                        <a:pt x="216" y="198"/>
                                      </a:lnTo>
                                      <a:lnTo>
                                        <a:pt x="216" y="192"/>
                                      </a:lnTo>
                                      <a:lnTo>
                                        <a:pt x="216" y="184"/>
                                      </a:lnTo>
                                      <a:lnTo>
                                        <a:pt x="214" y="180"/>
                                      </a:lnTo>
                                      <a:lnTo>
                                        <a:pt x="210" y="176"/>
                                      </a:lnTo>
                                      <a:lnTo>
                                        <a:pt x="210" y="176"/>
                                      </a:lnTo>
                                      <a:lnTo>
                                        <a:pt x="206" y="172"/>
                                      </a:lnTo>
                                      <a:lnTo>
                                        <a:pt x="204" y="168"/>
                                      </a:lnTo>
                                      <a:lnTo>
                                        <a:pt x="204" y="164"/>
                                      </a:lnTo>
                                      <a:lnTo>
                                        <a:pt x="202" y="164"/>
                                      </a:lnTo>
                                      <a:lnTo>
                                        <a:pt x="202" y="164"/>
                                      </a:lnTo>
                                      <a:lnTo>
                                        <a:pt x="200" y="164"/>
                                      </a:lnTo>
                                      <a:lnTo>
                                        <a:pt x="198" y="162"/>
                                      </a:lnTo>
                                      <a:lnTo>
                                        <a:pt x="198" y="158"/>
                                      </a:lnTo>
                                      <a:lnTo>
                                        <a:pt x="198" y="156"/>
                                      </a:lnTo>
                                      <a:lnTo>
                                        <a:pt x="194" y="158"/>
                                      </a:lnTo>
                                      <a:lnTo>
                                        <a:pt x="194" y="158"/>
                                      </a:lnTo>
                                      <a:lnTo>
                                        <a:pt x="192" y="160"/>
                                      </a:lnTo>
                                      <a:lnTo>
                                        <a:pt x="186" y="160"/>
                                      </a:lnTo>
                                      <a:lnTo>
                                        <a:pt x="172" y="158"/>
                                      </a:lnTo>
                                      <a:lnTo>
                                        <a:pt x="152" y="150"/>
                                      </a:lnTo>
                                      <a:lnTo>
                                        <a:pt x="152" y="150"/>
                                      </a:lnTo>
                                      <a:lnTo>
                                        <a:pt x="142" y="146"/>
                                      </a:lnTo>
                                      <a:lnTo>
                                        <a:pt x="132" y="146"/>
                                      </a:lnTo>
                                      <a:lnTo>
                                        <a:pt x="102" y="150"/>
                                      </a:lnTo>
                                      <a:lnTo>
                                        <a:pt x="102" y="150"/>
                                      </a:lnTo>
                                      <a:lnTo>
                                        <a:pt x="92" y="150"/>
                                      </a:lnTo>
                                      <a:lnTo>
                                        <a:pt x="90" y="150"/>
                                      </a:lnTo>
                                      <a:lnTo>
                                        <a:pt x="92" y="148"/>
                                      </a:lnTo>
                                      <a:lnTo>
                                        <a:pt x="96" y="144"/>
                                      </a:lnTo>
                                      <a:lnTo>
                                        <a:pt x="96" y="140"/>
                                      </a:lnTo>
                                      <a:lnTo>
                                        <a:pt x="94" y="136"/>
                                      </a:lnTo>
                                      <a:lnTo>
                                        <a:pt x="94" y="136"/>
                                      </a:lnTo>
                                      <a:lnTo>
                                        <a:pt x="90" y="132"/>
                                      </a:lnTo>
                                      <a:lnTo>
                                        <a:pt x="92" y="128"/>
                                      </a:lnTo>
                                      <a:lnTo>
                                        <a:pt x="92" y="126"/>
                                      </a:lnTo>
                                      <a:lnTo>
                                        <a:pt x="88" y="122"/>
                                      </a:lnTo>
                                      <a:lnTo>
                                        <a:pt x="88" y="122"/>
                                      </a:lnTo>
                                      <a:lnTo>
                                        <a:pt x="82" y="118"/>
                                      </a:lnTo>
                                      <a:lnTo>
                                        <a:pt x="78" y="114"/>
                                      </a:lnTo>
                                      <a:lnTo>
                                        <a:pt x="74" y="106"/>
                                      </a:lnTo>
                                      <a:lnTo>
                                        <a:pt x="72" y="98"/>
                                      </a:lnTo>
                                      <a:lnTo>
                                        <a:pt x="68" y="96"/>
                                      </a:lnTo>
                                      <a:lnTo>
                                        <a:pt x="64" y="94"/>
                                      </a:lnTo>
                                      <a:lnTo>
                                        <a:pt x="64" y="94"/>
                                      </a:lnTo>
                                      <a:lnTo>
                                        <a:pt x="56" y="90"/>
                                      </a:lnTo>
                                      <a:lnTo>
                                        <a:pt x="54" y="88"/>
                                      </a:lnTo>
                                      <a:lnTo>
                                        <a:pt x="54" y="88"/>
                                      </a:lnTo>
                                      <a:lnTo>
                                        <a:pt x="50" y="86"/>
                                      </a:lnTo>
                                      <a:lnTo>
                                        <a:pt x="48" y="84"/>
                                      </a:lnTo>
                                      <a:lnTo>
                                        <a:pt x="44" y="88"/>
                                      </a:lnTo>
                                      <a:lnTo>
                                        <a:pt x="42" y="90"/>
                                      </a:lnTo>
                                      <a:lnTo>
                                        <a:pt x="38" y="90"/>
                                      </a:lnTo>
                                      <a:lnTo>
                                        <a:pt x="36" y="90"/>
                                      </a:lnTo>
                                      <a:lnTo>
                                        <a:pt x="32" y="86"/>
                                      </a:lnTo>
                                      <a:lnTo>
                                        <a:pt x="32" y="86"/>
                                      </a:lnTo>
                                      <a:lnTo>
                                        <a:pt x="26" y="82"/>
                                      </a:lnTo>
                                      <a:lnTo>
                                        <a:pt x="22" y="80"/>
                                      </a:lnTo>
                                      <a:lnTo>
                                        <a:pt x="14" y="78"/>
                                      </a:lnTo>
                                      <a:lnTo>
                                        <a:pt x="8" y="76"/>
                                      </a:lnTo>
                                      <a:lnTo>
                                        <a:pt x="4" y="74"/>
                                      </a:lnTo>
                                      <a:lnTo>
                                        <a:pt x="2" y="70"/>
                                      </a:lnTo>
                                      <a:lnTo>
                                        <a:pt x="0" y="68"/>
                                      </a:lnTo>
                                      <a:lnTo>
                                        <a:pt x="0" y="6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3" name="Morocco"/>
                                <p:cNvSpPr>
                                  <a:spLocks/>
                                </p:cNvSpPr>
                                <p:nvPr/>
                              </p:nvSpPr>
                              <p:spPr bwMode="auto">
                                <a:xfrm>
                                  <a:off x="5389570" y="2328722"/>
                                  <a:ext cx="370593" cy="288309"/>
                                </a:xfrm>
                                <a:custGeom>
                                  <a:avLst/>
                                  <a:gdLst/>
                                  <a:ahLst/>
                                  <a:cxnLst>
                                    <a:cxn ang="0">
                                      <a:pos x="4" y="184"/>
                                    </a:cxn>
                                    <a:cxn ang="0">
                                      <a:pos x="22" y="178"/>
                                    </a:cxn>
                                    <a:cxn ang="0">
                                      <a:pos x="40" y="170"/>
                                    </a:cxn>
                                    <a:cxn ang="0">
                                      <a:pos x="48" y="162"/>
                                    </a:cxn>
                                    <a:cxn ang="0">
                                      <a:pos x="72" y="140"/>
                                    </a:cxn>
                                    <a:cxn ang="0">
                                      <a:pos x="76" y="130"/>
                                    </a:cxn>
                                    <a:cxn ang="0">
                                      <a:pos x="66" y="120"/>
                                    </a:cxn>
                                    <a:cxn ang="0">
                                      <a:pos x="66" y="110"/>
                                    </a:cxn>
                                    <a:cxn ang="0">
                                      <a:pos x="84" y="84"/>
                                    </a:cxn>
                                    <a:cxn ang="0">
                                      <a:pos x="92" y="66"/>
                                    </a:cxn>
                                    <a:cxn ang="0">
                                      <a:pos x="112" y="56"/>
                                    </a:cxn>
                                    <a:cxn ang="0">
                                      <a:pos x="136" y="28"/>
                                    </a:cxn>
                                    <a:cxn ang="0">
                                      <a:pos x="146" y="14"/>
                                    </a:cxn>
                                    <a:cxn ang="0">
                                      <a:pos x="154" y="6"/>
                                    </a:cxn>
                                    <a:cxn ang="0">
                                      <a:pos x="164" y="2"/>
                                    </a:cxn>
                                    <a:cxn ang="0">
                                      <a:pos x="166" y="6"/>
                                    </a:cxn>
                                    <a:cxn ang="0">
                                      <a:pos x="174" y="8"/>
                                    </a:cxn>
                                    <a:cxn ang="0">
                                      <a:pos x="188" y="14"/>
                                    </a:cxn>
                                    <a:cxn ang="0">
                                      <a:pos x="196" y="14"/>
                                    </a:cxn>
                                    <a:cxn ang="0">
                                      <a:pos x="208" y="10"/>
                                    </a:cxn>
                                    <a:cxn ang="0">
                                      <a:pos x="208" y="12"/>
                                    </a:cxn>
                                    <a:cxn ang="0">
                                      <a:pos x="214" y="16"/>
                                    </a:cxn>
                                    <a:cxn ang="0">
                                      <a:pos x="220" y="18"/>
                                    </a:cxn>
                                    <a:cxn ang="0">
                                      <a:pos x="224" y="38"/>
                                    </a:cxn>
                                    <a:cxn ang="0">
                                      <a:pos x="222" y="54"/>
                                    </a:cxn>
                                    <a:cxn ang="0">
                                      <a:pos x="228" y="64"/>
                                    </a:cxn>
                                    <a:cxn ang="0">
                                      <a:pos x="242" y="72"/>
                                    </a:cxn>
                                    <a:cxn ang="0">
                                      <a:pos x="240" y="80"/>
                                    </a:cxn>
                                    <a:cxn ang="0">
                                      <a:pos x="242" y="86"/>
                                    </a:cxn>
                                    <a:cxn ang="0">
                                      <a:pos x="224" y="86"/>
                                    </a:cxn>
                                    <a:cxn ang="0">
                                      <a:pos x="202" y="90"/>
                                    </a:cxn>
                                    <a:cxn ang="0">
                                      <a:pos x="188" y="96"/>
                                    </a:cxn>
                                    <a:cxn ang="0">
                                      <a:pos x="188" y="108"/>
                                    </a:cxn>
                                    <a:cxn ang="0">
                                      <a:pos x="190" y="110"/>
                                    </a:cxn>
                                    <a:cxn ang="0">
                                      <a:pos x="158" y="126"/>
                                    </a:cxn>
                                    <a:cxn ang="0">
                                      <a:pos x="142" y="142"/>
                                    </a:cxn>
                                    <a:cxn ang="0">
                                      <a:pos x="126" y="146"/>
                                    </a:cxn>
                                    <a:cxn ang="0">
                                      <a:pos x="122" y="142"/>
                                    </a:cxn>
                                    <a:cxn ang="0">
                                      <a:pos x="110" y="156"/>
                                    </a:cxn>
                                    <a:cxn ang="0">
                                      <a:pos x="104" y="152"/>
                                    </a:cxn>
                                    <a:cxn ang="0">
                                      <a:pos x="96" y="156"/>
                                    </a:cxn>
                                    <a:cxn ang="0">
                                      <a:pos x="92" y="162"/>
                                    </a:cxn>
                                    <a:cxn ang="0">
                                      <a:pos x="82" y="174"/>
                                    </a:cxn>
                                    <a:cxn ang="0">
                                      <a:pos x="0" y="190"/>
                                    </a:cxn>
                                  </a:cxnLst>
                                  <a:rect l="0" t="0" r="r" b="b"/>
                                  <a:pathLst>
                                    <a:path w="244" h="190">
                                      <a:moveTo>
                                        <a:pt x="0" y="190"/>
                                      </a:moveTo>
                                      <a:lnTo>
                                        <a:pt x="0" y="190"/>
                                      </a:lnTo>
                                      <a:lnTo>
                                        <a:pt x="4" y="184"/>
                                      </a:lnTo>
                                      <a:lnTo>
                                        <a:pt x="10" y="180"/>
                                      </a:lnTo>
                                      <a:lnTo>
                                        <a:pt x="16" y="180"/>
                                      </a:lnTo>
                                      <a:lnTo>
                                        <a:pt x="22" y="178"/>
                                      </a:lnTo>
                                      <a:lnTo>
                                        <a:pt x="32" y="176"/>
                                      </a:lnTo>
                                      <a:lnTo>
                                        <a:pt x="36" y="174"/>
                                      </a:lnTo>
                                      <a:lnTo>
                                        <a:pt x="40" y="170"/>
                                      </a:lnTo>
                                      <a:lnTo>
                                        <a:pt x="40" y="170"/>
                                      </a:lnTo>
                                      <a:lnTo>
                                        <a:pt x="42" y="166"/>
                                      </a:lnTo>
                                      <a:lnTo>
                                        <a:pt x="48" y="162"/>
                                      </a:lnTo>
                                      <a:lnTo>
                                        <a:pt x="58" y="154"/>
                                      </a:lnTo>
                                      <a:lnTo>
                                        <a:pt x="68" y="146"/>
                                      </a:lnTo>
                                      <a:lnTo>
                                        <a:pt x="72" y="140"/>
                                      </a:lnTo>
                                      <a:lnTo>
                                        <a:pt x="76" y="134"/>
                                      </a:lnTo>
                                      <a:lnTo>
                                        <a:pt x="76" y="134"/>
                                      </a:lnTo>
                                      <a:lnTo>
                                        <a:pt x="76" y="130"/>
                                      </a:lnTo>
                                      <a:lnTo>
                                        <a:pt x="74" y="128"/>
                                      </a:lnTo>
                                      <a:lnTo>
                                        <a:pt x="70" y="124"/>
                                      </a:lnTo>
                                      <a:lnTo>
                                        <a:pt x="66" y="120"/>
                                      </a:lnTo>
                                      <a:lnTo>
                                        <a:pt x="66" y="116"/>
                                      </a:lnTo>
                                      <a:lnTo>
                                        <a:pt x="66" y="110"/>
                                      </a:lnTo>
                                      <a:lnTo>
                                        <a:pt x="66" y="110"/>
                                      </a:lnTo>
                                      <a:lnTo>
                                        <a:pt x="74" y="96"/>
                                      </a:lnTo>
                                      <a:lnTo>
                                        <a:pt x="80" y="90"/>
                                      </a:lnTo>
                                      <a:lnTo>
                                        <a:pt x="84" y="84"/>
                                      </a:lnTo>
                                      <a:lnTo>
                                        <a:pt x="88" y="70"/>
                                      </a:lnTo>
                                      <a:lnTo>
                                        <a:pt x="88" y="70"/>
                                      </a:lnTo>
                                      <a:lnTo>
                                        <a:pt x="92" y="66"/>
                                      </a:lnTo>
                                      <a:lnTo>
                                        <a:pt x="94" y="62"/>
                                      </a:lnTo>
                                      <a:lnTo>
                                        <a:pt x="106" y="58"/>
                                      </a:lnTo>
                                      <a:lnTo>
                                        <a:pt x="112" y="56"/>
                                      </a:lnTo>
                                      <a:lnTo>
                                        <a:pt x="120" y="50"/>
                                      </a:lnTo>
                                      <a:lnTo>
                                        <a:pt x="128" y="42"/>
                                      </a:lnTo>
                                      <a:lnTo>
                                        <a:pt x="136" y="28"/>
                                      </a:lnTo>
                                      <a:lnTo>
                                        <a:pt x="136" y="28"/>
                                      </a:lnTo>
                                      <a:lnTo>
                                        <a:pt x="142" y="18"/>
                                      </a:lnTo>
                                      <a:lnTo>
                                        <a:pt x="146" y="14"/>
                                      </a:lnTo>
                                      <a:lnTo>
                                        <a:pt x="150" y="10"/>
                                      </a:lnTo>
                                      <a:lnTo>
                                        <a:pt x="154" y="6"/>
                                      </a:lnTo>
                                      <a:lnTo>
                                        <a:pt x="154" y="6"/>
                                      </a:lnTo>
                                      <a:lnTo>
                                        <a:pt x="158" y="0"/>
                                      </a:lnTo>
                                      <a:lnTo>
                                        <a:pt x="162" y="0"/>
                                      </a:lnTo>
                                      <a:lnTo>
                                        <a:pt x="164" y="2"/>
                                      </a:lnTo>
                                      <a:lnTo>
                                        <a:pt x="164" y="4"/>
                                      </a:lnTo>
                                      <a:lnTo>
                                        <a:pt x="164" y="4"/>
                                      </a:lnTo>
                                      <a:lnTo>
                                        <a:pt x="166" y="6"/>
                                      </a:lnTo>
                                      <a:lnTo>
                                        <a:pt x="170" y="8"/>
                                      </a:lnTo>
                                      <a:lnTo>
                                        <a:pt x="174" y="8"/>
                                      </a:lnTo>
                                      <a:lnTo>
                                        <a:pt x="174" y="8"/>
                                      </a:lnTo>
                                      <a:lnTo>
                                        <a:pt x="178" y="10"/>
                                      </a:lnTo>
                                      <a:lnTo>
                                        <a:pt x="182" y="12"/>
                                      </a:lnTo>
                                      <a:lnTo>
                                        <a:pt x="188" y="14"/>
                                      </a:lnTo>
                                      <a:lnTo>
                                        <a:pt x="194" y="14"/>
                                      </a:lnTo>
                                      <a:lnTo>
                                        <a:pt x="194" y="14"/>
                                      </a:lnTo>
                                      <a:lnTo>
                                        <a:pt x="196" y="14"/>
                                      </a:lnTo>
                                      <a:lnTo>
                                        <a:pt x="198" y="16"/>
                                      </a:lnTo>
                                      <a:lnTo>
                                        <a:pt x="202" y="16"/>
                                      </a:lnTo>
                                      <a:lnTo>
                                        <a:pt x="208" y="10"/>
                                      </a:lnTo>
                                      <a:lnTo>
                                        <a:pt x="208" y="10"/>
                                      </a:lnTo>
                                      <a:lnTo>
                                        <a:pt x="208" y="8"/>
                                      </a:lnTo>
                                      <a:lnTo>
                                        <a:pt x="208" y="12"/>
                                      </a:lnTo>
                                      <a:lnTo>
                                        <a:pt x="208" y="14"/>
                                      </a:lnTo>
                                      <a:lnTo>
                                        <a:pt x="210" y="16"/>
                                      </a:lnTo>
                                      <a:lnTo>
                                        <a:pt x="214" y="16"/>
                                      </a:lnTo>
                                      <a:lnTo>
                                        <a:pt x="214" y="16"/>
                                      </a:lnTo>
                                      <a:lnTo>
                                        <a:pt x="220" y="18"/>
                                      </a:lnTo>
                                      <a:lnTo>
                                        <a:pt x="220" y="18"/>
                                      </a:lnTo>
                                      <a:lnTo>
                                        <a:pt x="222" y="22"/>
                                      </a:lnTo>
                                      <a:lnTo>
                                        <a:pt x="222" y="26"/>
                                      </a:lnTo>
                                      <a:lnTo>
                                        <a:pt x="224" y="38"/>
                                      </a:lnTo>
                                      <a:lnTo>
                                        <a:pt x="224" y="38"/>
                                      </a:lnTo>
                                      <a:lnTo>
                                        <a:pt x="222" y="46"/>
                                      </a:lnTo>
                                      <a:lnTo>
                                        <a:pt x="222" y="54"/>
                                      </a:lnTo>
                                      <a:lnTo>
                                        <a:pt x="222" y="58"/>
                                      </a:lnTo>
                                      <a:lnTo>
                                        <a:pt x="224" y="62"/>
                                      </a:lnTo>
                                      <a:lnTo>
                                        <a:pt x="228" y="64"/>
                                      </a:lnTo>
                                      <a:lnTo>
                                        <a:pt x="234" y="68"/>
                                      </a:lnTo>
                                      <a:lnTo>
                                        <a:pt x="234" y="68"/>
                                      </a:lnTo>
                                      <a:lnTo>
                                        <a:pt x="242" y="72"/>
                                      </a:lnTo>
                                      <a:lnTo>
                                        <a:pt x="244" y="76"/>
                                      </a:lnTo>
                                      <a:lnTo>
                                        <a:pt x="242" y="78"/>
                                      </a:lnTo>
                                      <a:lnTo>
                                        <a:pt x="240" y="80"/>
                                      </a:lnTo>
                                      <a:lnTo>
                                        <a:pt x="240" y="80"/>
                                      </a:lnTo>
                                      <a:lnTo>
                                        <a:pt x="240" y="84"/>
                                      </a:lnTo>
                                      <a:lnTo>
                                        <a:pt x="242" y="86"/>
                                      </a:lnTo>
                                      <a:lnTo>
                                        <a:pt x="238" y="88"/>
                                      </a:lnTo>
                                      <a:lnTo>
                                        <a:pt x="224" y="86"/>
                                      </a:lnTo>
                                      <a:lnTo>
                                        <a:pt x="224" y="86"/>
                                      </a:lnTo>
                                      <a:lnTo>
                                        <a:pt x="214" y="86"/>
                                      </a:lnTo>
                                      <a:lnTo>
                                        <a:pt x="206" y="88"/>
                                      </a:lnTo>
                                      <a:lnTo>
                                        <a:pt x="202" y="90"/>
                                      </a:lnTo>
                                      <a:lnTo>
                                        <a:pt x="194" y="92"/>
                                      </a:lnTo>
                                      <a:lnTo>
                                        <a:pt x="194" y="92"/>
                                      </a:lnTo>
                                      <a:lnTo>
                                        <a:pt x="188" y="96"/>
                                      </a:lnTo>
                                      <a:lnTo>
                                        <a:pt x="184" y="100"/>
                                      </a:lnTo>
                                      <a:lnTo>
                                        <a:pt x="184" y="104"/>
                                      </a:lnTo>
                                      <a:lnTo>
                                        <a:pt x="188" y="108"/>
                                      </a:lnTo>
                                      <a:lnTo>
                                        <a:pt x="188" y="108"/>
                                      </a:lnTo>
                                      <a:lnTo>
                                        <a:pt x="192" y="108"/>
                                      </a:lnTo>
                                      <a:lnTo>
                                        <a:pt x="190" y="110"/>
                                      </a:lnTo>
                                      <a:lnTo>
                                        <a:pt x="174" y="118"/>
                                      </a:lnTo>
                                      <a:lnTo>
                                        <a:pt x="174" y="118"/>
                                      </a:lnTo>
                                      <a:lnTo>
                                        <a:pt x="158" y="126"/>
                                      </a:lnTo>
                                      <a:lnTo>
                                        <a:pt x="150" y="134"/>
                                      </a:lnTo>
                                      <a:lnTo>
                                        <a:pt x="150" y="134"/>
                                      </a:lnTo>
                                      <a:lnTo>
                                        <a:pt x="142" y="142"/>
                                      </a:lnTo>
                                      <a:lnTo>
                                        <a:pt x="134" y="146"/>
                                      </a:lnTo>
                                      <a:lnTo>
                                        <a:pt x="134" y="146"/>
                                      </a:lnTo>
                                      <a:lnTo>
                                        <a:pt x="126" y="146"/>
                                      </a:lnTo>
                                      <a:lnTo>
                                        <a:pt x="124" y="144"/>
                                      </a:lnTo>
                                      <a:lnTo>
                                        <a:pt x="124" y="144"/>
                                      </a:lnTo>
                                      <a:lnTo>
                                        <a:pt x="122" y="142"/>
                                      </a:lnTo>
                                      <a:lnTo>
                                        <a:pt x="118" y="144"/>
                                      </a:lnTo>
                                      <a:lnTo>
                                        <a:pt x="114" y="150"/>
                                      </a:lnTo>
                                      <a:lnTo>
                                        <a:pt x="110" y="156"/>
                                      </a:lnTo>
                                      <a:lnTo>
                                        <a:pt x="108" y="156"/>
                                      </a:lnTo>
                                      <a:lnTo>
                                        <a:pt x="104" y="152"/>
                                      </a:lnTo>
                                      <a:lnTo>
                                        <a:pt x="104" y="152"/>
                                      </a:lnTo>
                                      <a:lnTo>
                                        <a:pt x="102" y="152"/>
                                      </a:lnTo>
                                      <a:lnTo>
                                        <a:pt x="100" y="152"/>
                                      </a:lnTo>
                                      <a:lnTo>
                                        <a:pt x="96" y="156"/>
                                      </a:lnTo>
                                      <a:lnTo>
                                        <a:pt x="94" y="158"/>
                                      </a:lnTo>
                                      <a:lnTo>
                                        <a:pt x="94" y="158"/>
                                      </a:lnTo>
                                      <a:lnTo>
                                        <a:pt x="92" y="162"/>
                                      </a:lnTo>
                                      <a:lnTo>
                                        <a:pt x="88" y="166"/>
                                      </a:lnTo>
                                      <a:lnTo>
                                        <a:pt x="84" y="168"/>
                                      </a:lnTo>
                                      <a:lnTo>
                                        <a:pt x="82" y="174"/>
                                      </a:lnTo>
                                      <a:lnTo>
                                        <a:pt x="82" y="190"/>
                                      </a:lnTo>
                                      <a:lnTo>
                                        <a:pt x="0" y="190"/>
                                      </a:lnTo>
                                      <a:lnTo>
                                        <a:pt x="0" y="19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4" name="Mozambique"/>
                                <p:cNvSpPr>
                                  <a:spLocks/>
                                </p:cNvSpPr>
                                <p:nvPr/>
                              </p:nvSpPr>
                              <p:spPr bwMode="auto">
                                <a:xfrm>
                                  <a:off x="6738283" y="4106059"/>
                                  <a:ext cx="352367" cy="613036"/>
                                </a:xfrm>
                                <a:custGeom>
                                  <a:avLst/>
                                  <a:gdLst/>
                                  <a:ahLst/>
                                  <a:cxnLst>
                                    <a:cxn ang="0">
                                      <a:pos x="36" y="274"/>
                                    </a:cxn>
                                    <a:cxn ang="0">
                                      <a:pos x="36" y="266"/>
                                    </a:cxn>
                                    <a:cxn ang="0">
                                      <a:pos x="40" y="262"/>
                                    </a:cxn>
                                    <a:cxn ang="0">
                                      <a:pos x="54" y="244"/>
                                    </a:cxn>
                                    <a:cxn ang="0">
                                      <a:pos x="52" y="234"/>
                                    </a:cxn>
                                    <a:cxn ang="0">
                                      <a:pos x="46" y="224"/>
                                    </a:cxn>
                                    <a:cxn ang="0">
                                      <a:pos x="58" y="202"/>
                                    </a:cxn>
                                    <a:cxn ang="0">
                                      <a:pos x="58" y="186"/>
                                    </a:cxn>
                                    <a:cxn ang="0">
                                      <a:pos x="60" y="168"/>
                                    </a:cxn>
                                    <a:cxn ang="0">
                                      <a:pos x="52" y="152"/>
                                    </a:cxn>
                                    <a:cxn ang="0">
                                      <a:pos x="30" y="146"/>
                                    </a:cxn>
                                    <a:cxn ang="0">
                                      <a:pos x="10" y="140"/>
                                    </a:cxn>
                                    <a:cxn ang="0">
                                      <a:pos x="2" y="124"/>
                                    </a:cxn>
                                    <a:cxn ang="0">
                                      <a:pos x="0" y="116"/>
                                    </a:cxn>
                                    <a:cxn ang="0">
                                      <a:pos x="52" y="98"/>
                                    </a:cxn>
                                    <a:cxn ang="0">
                                      <a:pos x="76" y="100"/>
                                    </a:cxn>
                                    <a:cxn ang="0">
                                      <a:pos x="84" y="106"/>
                                    </a:cxn>
                                    <a:cxn ang="0">
                                      <a:pos x="94" y="102"/>
                                    </a:cxn>
                                    <a:cxn ang="0">
                                      <a:pos x="94" y="124"/>
                                    </a:cxn>
                                    <a:cxn ang="0">
                                      <a:pos x="92" y="138"/>
                                    </a:cxn>
                                    <a:cxn ang="0">
                                      <a:pos x="104" y="154"/>
                                    </a:cxn>
                                    <a:cxn ang="0">
                                      <a:pos x="114" y="164"/>
                                    </a:cxn>
                                    <a:cxn ang="0">
                                      <a:pos x="114" y="154"/>
                                    </a:cxn>
                                    <a:cxn ang="0">
                                      <a:pos x="120" y="138"/>
                                    </a:cxn>
                                    <a:cxn ang="0">
                                      <a:pos x="124" y="122"/>
                                    </a:cxn>
                                    <a:cxn ang="0">
                                      <a:pos x="128" y="106"/>
                                    </a:cxn>
                                    <a:cxn ang="0">
                                      <a:pos x="116" y="88"/>
                                    </a:cxn>
                                    <a:cxn ang="0">
                                      <a:pos x="108" y="78"/>
                                    </a:cxn>
                                    <a:cxn ang="0">
                                      <a:pos x="112" y="52"/>
                                    </a:cxn>
                                    <a:cxn ang="0">
                                      <a:pos x="110" y="38"/>
                                    </a:cxn>
                                    <a:cxn ang="0">
                                      <a:pos x="122" y="26"/>
                                    </a:cxn>
                                    <a:cxn ang="0">
                                      <a:pos x="138" y="26"/>
                                    </a:cxn>
                                    <a:cxn ang="0">
                                      <a:pos x="154" y="28"/>
                                    </a:cxn>
                                    <a:cxn ang="0">
                                      <a:pos x="164" y="26"/>
                                    </a:cxn>
                                    <a:cxn ang="0">
                                      <a:pos x="180" y="20"/>
                                    </a:cxn>
                                    <a:cxn ang="0">
                                      <a:pos x="184" y="14"/>
                                    </a:cxn>
                                    <a:cxn ang="0">
                                      <a:pos x="202" y="14"/>
                                    </a:cxn>
                                    <a:cxn ang="0">
                                      <a:pos x="228" y="0"/>
                                    </a:cxn>
                                    <a:cxn ang="0">
                                      <a:pos x="230" y="20"/>
                                    </a:cxn>
                                    <a:cxn ang="0">
                                      <a:pos x="228" y="36"/>
                                    </a:cxn>
                                    <a:cxn ang="0">
                                      <a:pos x="228" y="62"/>
                                    </a:cxn>
                                    <a:cxn ang="0">
                                      <a:pos x="228" y="94"/>
                                    </a:cxn>
                                    <a:cxn ang="0">
                                      <a:pos x="224" y="132"/>
                                    </a:cxn>
                                    <a:cxn ang="0">
                                      <a:pos x="214" y="142"/>
                                    </a:cxn>
                                    <a:cxn ang="0">
                                      <a:pos x="194" y="166"/>
                                    </a:cxn>
                                    <a:cxn ang="0">
                                      <a:pos x="174" y="174"/>
                                    </a:cxn>
                                    <a:cxn ang="0">
                                      <a:pos x="158" y="184"/>
                                    </a:cxn>
                                    <a:cxn ang="0">
                                      <a:pos x="130" y="204"/>
                                    </a:cxn>
                                    <a:cxn ang="0">
                                      <a:pos x="108" y="226"/>
                                    </a:cxn>
                                    <a:cxn ang="0">
                                      <a:pos x="88" y="252"/>
                                    </a:cxn>
                                    <a:cxn ang="0">
                                      <a:pos x="92" y="262"/>
                                    </a:cxn>
                                    <a:cxn ang="0">
                                      <a:pos x="100" y="288"/>
                                    </a:cxn>
                                    <a:cxn ang="0">
                                      <a:pos x="102" y="312"/>
                                    </a:cxn>
                                    <a:cxn ang="0">
                                      <a:pos x="98" y="324"/>
                                    </a:cxn>
                                    <a:cxn ang="0">
                                      <a:pos x="92" y="344"/>
                                    </a:cxn>
                                    <a:cxn ang="0">
                                      <a:pos x="68" y="370"/>
                                    </a:cxn>
                                    <a:cxn ang="0">
                                      <a:pos x="36" y="386"/>
                                    </a:cxn>
                                    <a:cxn ang="0">
                                      <a:pos x="38" y="404"/>
                                    </a:cxn>
                                    <a:cxn ang="0">
                                      <a:pos x="24" y="390"/>
                                    </a:cxn>
                                    <a:cxn ang="0">
                                      <a:pos x="22" y="368"/>
                                    </a:cxn>
                                    <a:cxn ang="0">
                                      <a:pos x="28" y="338"/>
                                    </a:cxn>
                                    <a:cxn ang="0">
                                      <a:pos x="22" y="300"/>
                                    </a:cxn>
                                  </a:cxnLst>
                                  <a:rect l="0" t="0" r="r" b="b"/>
                                  <a:pathLst>
                                    <a:path w="232" h="404">
                                      <a:moveTo>
                                        <a:pt x="22" y="300"/>
                                      </a:moveTo>
                                      <a:lnTo>
                                        <a:pt x="22" y="300"/>
                                      </a:lnTo>
                                      <a:lnTo>
                                        <a:pt x="36" y="274"/>
                                      </a:lnTo>
                                      <a:lnTo>
                                        <a:pt x="36" y="274"/>
                                      </a:lnTo>
                                      <a:lnTo>
                                        <a:pt x="36" y="272"/>
                                      </a:lnTo>
                                      <a:lnTo>
                                        <a:pt x="36" y="270"/>
                                      </a:lnTo>
                                      <a:lnTo>
                                        <a:pt x="36" y="270"/>
                                      </a:lnTo>
                                      <a:lnTo>
                                        <a:pt x="36" y="266"/>
                                      </a:lnTo>
                                      <a:lnTo>
                                        <a:pt x="36" y="266"/>
                                      </a:lnTo>
                                      <a:lnTo>
                                        <a:pt x="36" y="262"/>
                                      </a:lnTo>
                                      <a:lnTo>
                                        <a:pt x="38" y="262"/>
                                      </a:lnTo>
                                      <a:lnTo>
                                        <a:pt x="40" y="262"/>
                                      </a:lnTo>
                                      <a:lnTo>
                                        <a:pt x="44" y="254"/>
                                      </a:lnTo>
                                      <a:lnTo>
                                        <a:pt x="44" y="254"/>
                                      </a:lnTo>
                                      <a:lnTo>
                                        <a:pt x="50" y="246"/>
                                      </a:lnTo>
                                      <a:lnTo>
                                        <a:pt x="54" y="244"/>
                                      </a:lnTo>
                                      <a:lnTo>
                                        <a:pt x="56" y="244"/>
                                      </a:lnTo>
                                      <a:lnTo>
                                        <a:pt x="54" y="238"/>
                                      </a:lnTo>
                                      <a:lnTo>
                                        <a:pt x="54" y="238"/>
                                      </a:lnTo>
                                      <a:lnTo>
                                        <a:pt x="52" y="234"/>
                                      </a:lnTo>
                                      <a:lnTo>
                                        <a:pt x="54" y="232"/>
                                      </a:lnTo>
                                      <a:lnTo>
                                        <a:pt x="52" y="230"/>
                                      </a:lnTo>
                                      <a:lnTo>
                                        <a:pt x="46" y="224"/>
                                      </a:lnTo>
                                      <a:lnTo>
                                        <a:pt x="46" y="224"/>
                                      </a:lnTo>
                                      <a:lnTo>
                                        <a:pt x="54" y="214"/>
                                      </a:lnTo>
                                      <a:lnTo>
                                        <a:pt x="56" y="208"/>
                                      </a:lnTo>
                                      <a:lnTo>
                                        <a:pt x="56" y="204"/>
                                      </a:lnTo>
                                      <a:lnTo>
                                        <a:pt x="58" y="202"/>
                                      </a:lnTo>
                                      <a:lnTo>
                                        <a:pt x="58" y="202"/>
                                      </a:lnTo>
                                      <a:lnTo>
                                        <a:pt x="62" y="198"/>
                                      </a:lnTo>
                                      <a:lnTo>
                                        <a:pt x="60" y="192"/>
                                      </a:lnTo>
                                      <a:lnTo>
                                        <a:pt x="58" y="186"/>
                                      </a:lnTo>
                                      <a:lnTo>
                                        <a:pt x="58" y="180"/>
                                      </a:lnTo>
                                      <a:lnTo>
                                        <a:pt x="58" y="180"/>
                                      </a:lnTo>
                                      <a:lnTo>
                                        <a:pt x="58" y="172"/>
                                      </a:lnTo>
                                      <a:lnTo>
                                        <a:pt x="60" y="168"/>
                                      </a:lnTo>
                                      <a:lnTo>
                                        <a:pt x="62" y="166"/>
                                      </a:lnTo>
                                      <a:lnTo>
                                        <a:pt x="58" y="160"/>
                                      </a:lnTo>
                                      <a:lnTo>
                                        <a:pt x="58" y="160"/>
                                      </a:lnTo>
                                      <a:lnTo>
                                        <a:pt x="52" y="152"/>
                                      </a:lnTo>
                                      <a:lnTo>
                                        <a:pt x="44" y="152"/>
                                      </a:lnTo>
                                      <a:lnTo>
                                        <a:pt x="44" y="152"/>
                                      </a:lnTo>
                                      <a:lnTo>
                                        <a:pt x="36" y="148"/>
                                      </a:lnTo>
                                      <a:lnTo>
                                        <a:pt x="30" y="146"/>
                                      </a:lnTo>
                                      <a:lnTo>
                                        <a:pt x="26" y="142"/>
                                      </a:lnTo>
                                      <a:lnTo>
                                        <a:pt x="16" y="140"/>
                                      </a:lnTo>
                                      <a:lnTo>
                                        <a:pt x="16" y="140"/>
                                      </a:lnTo>
                                      <a:lnTo>
                                        <a:pt x="10" y="140"/>
                                      </a:lnTo>
                                      <a:lnTo>
                                        <a:pt x="8" y="138"/>
                                      </a:lnTo>
                                      <a:lnTo>
                                        <a:pt x="4" y="128"/>
                                      </a:lnTo>
                                      <a:lnTo>
                                        <a:pt x="4" y="128"/>
                                      </a:lnTo>
                                      <a:lnTo>
                                        <a:pt x="2" y="124"/>
                                      </a:lnTo>
                                      <a:lnTo>
                                        <a:pt x="2" y="120"/>
                                      </a:lnTo>
                                      <a:lnTo>
                                        <a:pt x="2" y="120"/>
                                      </a:lnTo>
                                      <a:lnTo>
                                        <a:pt x="0" y="116"/>
                                      </a:lnTo>
                                      <a:lnTo>
                                        <a:pt x="0" y="116"/>
                                      </a:lnTo>
                                      <a:lnTo>
                                        <a:pt x="16" y="110"/>
                                      </a:lnTo>
                                      <a:lnTo>
                                        <a:pt x="36" y="104"/>
                                      </a:lnTo>
                                      <a:lnTo>
                                        <a:pt x="36" y="104"/>
                                      </a:lnTo>
                                      <a:lnTo>
                                        <a:pt x="52" y="98"/>
                                      </a:lnTo>
                                      <a:lnTo>
                                        <a:pt x="68" y="90"/>
                                      </a:lnTo>
                                      <a:lnTo>
                                        <a:pt x="68" y="90"/>
                                      </a:lnTo>
                                      <a:lnTo>
                                        <a:pt x="72" y="96"/>
                                      </a:lnTo>
                                      <a:lnTo>
                                        <a:pt x="76" y="100"/>
                                      </a:lnTo>
                                      <a:lnTo>
                                        <a:pt x="78" y="104"/>
                                      </a:lnTo>
                                      <a:lnTo>
                                        <a:pt x="80" y="106"/>
                                      </a:lnTo>
                                      <a:lnTo>
                                        <a:pt x="80" y="106"/>
                                      </a:lnTo>
                                      <a:lnTo>
                                        <a:pt x="84" y="106"/>
                                      </a:lnTo>
                                      <a:lnTo>
                                        <a:pt x="88" y="104"/>
                                      </a:lnTo>
                                      <a:lnTo>
                                        <a:pt x="92" y="102"/>
                                      </a:lnTo>
                                      <a:lnTo>
                                        <a:pt x="94" y="102"/>
                                      </a:lnTo>
                                      <a:lnTo>
                                        <a:pt x="94" y="102"/>
                                      </a:lnTo>
                                      <a:lnTo>
                                        <a:pt x="96" y="106"/>
                                      </a:lnTo>
                                      <a:lnTo>
                                        <a:pt x="96" y="114"/>
                                      </a:lnTo>
                                      <a:lnTo>
                                        <a:pt x="96" y="122"/>
                                      </a:lnTo>
                                      <a:lnTo>
                                        <a:pt x="94" y="124"/>
                                      </a:lnTo>
                                      <a:lnTo>
                                        <a:pt x="94" y="124"/>
                                      </a:lnTo>
                                      <a:lnTo>
                                        <a:pt x="92" y="126"/>
                                      </a:lnTo>
                                      <a:lnTo>
                                        <a:pt x="90" y="128"/>
                                      </a:lnTo>
                                      <a:lnTo>
                                        <a:pt x="92" y="138"/>
                                      </a:lnTo>
                                      <a:lnTo>
                                        <a:pt x="98" y="150"/>
                                      </a:lnTo>
                                      <a:lnTo>
                                        <a:pt x="100" y="154"/>
                                      </a:lnTo>
                                      <a:lnTo>
                                        <a:pt x="104" y="154"/>
                                      </a:lnTo>
                                      <a:lnTo>
                                        <a:pt x="104" y="154"/>
                                      </a:lnTo>
                                      <a:lnTo>
                                        <a:pt x="108" y="158"/>
                                      </a:lnTo>
                                      <a:lnTo>
                                        <a:pt x="110" y="162"/>
                                      </a:lnTo>
                                      <a:lnTo>
                                        <a:pt x="112" y="164"/>
                                      </a:lnTo>
                                      <a:lnTo>
                                        <a:pt x="114" y="164"/>
                                      </a:lnTo>
                                      <a:lnTo>
                                        <a:pt x="114" y="164"/>
                                      </a:lnTo>
                                      <a:lnTo>
                                        <a:pt x="116" y="162"/>
                                      </a:lnTo>
                                      <a:lnTo>
                                        <a:pt x="116" y="160"/>
                                      </a:lnTo>
                                      <a:lnTo>
                                        <a:pt x="114" y="154"/>
                                      </a:lnTo>
                                      <a:lnTo>
                                        <a:pt x="116" y="146"/>
                                      </a:lnTo>
                                      <a:lnTo>
                                        <a:pt x="118" y="142"/>
                                      </a:lnTo>
                                      <a:lnTo>
                                        <a:pt x="120" y="138"/>
                                      </a:lnTo>
                                      <a:lnTo>
                                        <a:pt x="120" y="138"/>
                                      </a:lnTo>
                                      <a:lnTo>
                                        <a:pt x="124" y="136"/>
                                      </a:lnTo>
                                      <a:lnTo>
                                        <a:pt x="126" y="132"/>
                                      </a:lnTo>
                                      <a:lnTo>
                                        <a:pt x="126" y="128"/>
                                      </a:lnTo>
                                      <a:lnTo>
                                        <a:pt x="124" y="122"/>
                                      </a:lnTo>
                                      <a:lnTo>
                                        <a:pt x="124" y="118"/>
                                      </a:lnTo>
                                      <a:lnTo>
                                        <a:pt x="126" y="114"/>
                                      </a:lnTo>
                                      <a:lnTo>
                                        <a:pt x="126" y="114"/>
                                      </a:lnTo>
                                      <a:lnTo>
                                        <a:pt x="128" y="106"/>
                                      </a:lnTo>
                                      <a:lnTo>
                                        <a:pt x="128" y="100"/>
                                      </a:lnTo>
                                      <a:lnTo>
                                        <a:pt x="124" y="96"/>
                                      </a:lnTo>
                                      <a:lnTo>
                                        <a:pt x="116" y="88"/>
                                      </a:lnTo>
                                      <a:lnTo>
                                        <a:pt x="116" y="88"/>
                                      </a:lnTo>
                                      <a:lnTo>
                                        <a:pt x="114" y="84"/>
                                      </a:lnTo>
                                      <a:lnTo>
                                        <a:pt x="112" y="80"/>
                                      </a:lnTo>
                                      <a:lnTo>
                                        <a:pt x="112" y="80"/>
                                      </a:lnTo>
                                      <a:lnTo>
                                        <a:pt x="108" y="78"/>
                                      </a:lnTo>
                                      <a:lnTo>
                                        <a:pt x="108" y="74"/>
                                      </a:lnTo>
                                      <a:lnTo>
                                        <a:pt x="110" y="66"/>
                                      </a:lnTo>
                                      <a:lnTo>
                                        <a:pt x="112" y="56"/>
                                      </a:lnTo>
                                      <a:lnTo>
                                        <a:pt x="112" y="52"/>
                                      </a:lnTo>
                                      <a:lnTo>
                                        <a:pt x="110" y="46"/>
                                      </a:lnTo>
                                      <a:lnTo>
                                        <a:pt x="110" y="46"/>
                                      </a:lnTo>
                                      <a:lnTo>
                                        <a:pt x="108" y="42"/>
                                      </a:lnTo>
                                      <a:lnTo>
                                        <a:pt x="110" y="38"/>
                                      </a:lnTo>
                                      <a:lnTo>
                                        <a:pt x="112" y="34"/>
                                      </a:lnTo>
                                      <a:lnTo>
                                        <a:pt x="112" y="28"/>
                                      </a:lnTo>
                                      <a:lnTo>
                                        <a:pt x="112" y="28"/>
                                      </a:lnTo>
                                      <a:lnTo>
                                        <a:pt x="122" y="26"/>
                                      </a:lnTo>
                                      <a:lnTo>
                                        <a:pt x="126" y="22"/>
                                      </a:lnTo>
                                      <a:lnTo>
                                        <a:pt x="130" y="22"/>
                                      </a:lnTo>
                                      <a:lnTo>
                                        <a:pt x="138" y="26"/>
                                      </a:lnTo>
                                      <a:lnTo>
                                        <a:pt x="138" y="26"/>
                                      </a:lnTo>
                                      <a:lnTo>
                                        <a:pt x="144" y="28"/>
                                      </a:lnTo>
                                      <a:lnTo>
                                        <a:pt x="148" y="30"/>
                                      </a:lnTo>
                                      <a:lnTo>
                                        <a:pt x="152" y="30"/>
                                      </a:lnTo>
                                      <a:lnTo>
                                        <a:pt x="154" y="28"/>
                                      </a:lnTo>
                                      <a:lnTo>
                                        <a:pt x="156" y="24"/>
                                      </a:lnTo>
                                      <a:lnTo>
                                        <a:pt x="160" y="24"/>
                                      </a:lnTo>
                                      <a:lnTo>
                                        <a:pt x="164" y="26"/>
                                      </a:lnTo>
                                      <a:lnTo>
                                        <a:pt x="164" y="26"/>
                                      </a:lnTo>
                                      <a:lnTo>
                                        <a:pt x="168" y="26"/>
                                      </a:lnTo>
                                      <a:lnTo>
                                        <a:pt x="174" y="24"/>
                                      </a:lnTo>
                                      <a:lnTo>
                                        <a:pt x="178" y="22"/>
                                      </a:lnTo>
                                      <a:lnTo>
                                        <a:pt x="180" y="20"/>
                                      </a:lnTo>
                                      <a:lnTo>
                                        <a:pt x="180" y="20"/>
                                      </a:lnTo>
                                      <a:lnTo>
                                        <a:pt x="178" y="18"/>
                                      </a:lnTo>
                                      <a:lnTo>
                                        <a:pt x="178" y="16"/>
                                      </a:lnTo>
                                      <a:lnTo>
                                        <a:pt x="184" y="14"/>
                                      </a:lnTo>
                                      <a:lnTo>
                                        <a:pt x="190" y="14"/>
                                      </a:lnTo>
                                      <a:lnTo>
                                        <a:pt x="196" y="14"/>
                                      </a:lnTo>
                                      <a:lnTo>
                                        <a:pt x="196" y="14"/>
                                      </a:lnTo>
                                      <a:lnTo>
                                        <a:pt x="202" y="14"/>
                                      </a:lnTo>
                                      <a:lnTo>
                                        <a:pt x="212" y="12"/>
                                      </a:lnTo>
                                      <a:lnTo>
                                        <a:pt x="222" y="8"/>
                                      </a:lnTo>
                                      <a:lnTo>
                                        <a:pt x="226" y="4"/>
                                      </a:lnTo>
                                      <a:lnTo>
                                        <a:pt x="228" y="0"/>
                                      </a:lnTo>
                                      <a:lnTo>
                                        <a:pt x="228" y="0"/>
                                      </a:lnTo>
                                      <a:lnTo>
                                        <a:pt x="230" y="6"/>
                                      </a:lnTo>
                                      <a:lnTo>
                                        <a:pt x="230" y="14"/>
                                      </a:lnTo>
                                      <a:lnTo>
                                        <a:pt x="230" y="20"/>
                                      </a:lnTo>
                                      <a:lnTo>
                                        <a:pt x="230" y="26"/>
                                      </a:lnTo>
                                      <a:lnTo>
                                        <a:pt x="230" y="26"/>
                                      </a:lnTo>
                                      <a:lnTo>
                                        <a:pt x="230" y="32"/>
                                      </a:lnTo>
                                      <a:lnTo>
                                        <a:pt x="228" y="36"/>
                                      </a:lnTo>
                                      <a:lnTo>
                                        <a:pt x="226" y="42"/>
                                      </a:lnTo>
                                      <a:lnTo>
                                        <a:pt x="228" y="52"/>
                                      </a:lnTo>
                                      <a:lnTo>
                                        <a:pt x="228" y="52"/>
                                      </a:lnTo>
                                      <a:lnTo>
                                        <a:pt x="228" y="62"/>
                                      </a:lnTo>
                                      <a:lnTo>
                                        <a:pt x="226" y="70"/>
                                      </a:lnTo>
                                      <a:lnTo>
                                        <a:pt x="224" y="80"/>
                                      </a:lnTo>
                                      <a:lnTo>
                                        <a:pt x="228" y="94"/>
                                      </a:lnTo>
                                      <a:lnTo>
                                        <a:pt x="228" y="94"/>
                                      </a:lnTo>
                                      <a:lnTo>
                                        <a:pt x="232" y="106"/>
                                      </a:lnTo>
                                      <a:lnTo>
                                        <a:pt x="232" y="114"/>
                                      </a:lnTo>
                                      <a:lnTo>
                                        <a:pt x="230" y="120"/>
                                      </a:lnTo>
                                      <a:lnTo>
                                        <a:pt x="224" y="132"/>
                                      </a:lnTo>
                                      <a:lnTo>
                                        <a:pt x="224" y="132"/>
                                      </a:lnTo>
                                      <a:lnTo>
                                        <a:pt x="220" y="140"/>
                                      </a:lnTo>
                                      <a:lnTo>
                                        <a:pt x="216" y="140"/>
                                      </a:lnTo>
                                      <a:lnTo>
                                        <a:pt x="214" y="142"/>
                                      </a:lnTo>
                                      <a:lnTo>
                                        <a:pt x="210" y="148"/>
                                      </a:lnTo>
                                      <a:lnTo>
                                        <a:pt x="210" y="148"/>
                                      </a:lnTo>
                                      <a:lnTo>
                                        <a:pt x="204" y="158"/>
                                      </a:lnTo>
                                      <a:lnTo>
                                        <a:pt x="194" y="166"/>
                                      </a:lnTo>
                                      <a:lnTo>
                                        <a:pt x="184" y="172"/>
                                      </a:lnTo>
                                      <a:lnTo>
                                        <a:pt x="180" y="174"/>
                                      </a:lnTo>
                                      <a:lnTo>
                                        <a:pt x="174" y="174"/>
                                      </a:lnTo>
                                      <a:lnTo>
                                        <a:pt x="174" y="174"/>
                                      </a:lnTo>
                                      <a:lnTo>
                                        <a:pt x="172" y="176"/>
                                      </a:lnTo>
                                      <a:lnTo>
                                        <a:pt x="172" y="178"/>
                                      </a:lnTo>
                                      <a:lnTo>
                                        <a:pt x="168" y="182"/>
                                      </a:lnTo>
                                      <a:lnTo>
                                        <a:pt x="158" y="184"/>
                                      </a:lnTo>
                                      <a:lnTo>
                                        <a:pt x="158" y="184"/>
                                      </a:lnTo>
                                      <a:lnTo>
                                        <a:pt x="152" y="186"/>
                                      </a:lnTo>
                                      <a:lnTo>
                                        <a:pt x="144" y="192"/>
                                      </a:lnTo>
                                      <a:lnTo>
                                        <a:pt x="130" y="204"/>
                                      </a:lnTo>
                                      <a:lnTo>
                                        <a:pt x="118" y="218"/>
                                      </a:lnTo>
                                      <a:lnTo>
                                        <a:pt x="112" y="222"/>
                                      </a:lnTo>
                                      <a:lnTo>
                                        <a:pt x="108" y="226"/>
                                      </a:lnTo>
                                      <a:lnTo>
                                        <a:pt x="108" y="226"/>
                                      </a:lnTo>
                                      <a:lnTo>
                                        <a:pt x="102" y="230"/>
                                      </a:lnTo>
                                      <a:lnTo>
                                        <a:pt x="96" y="234"/>
                                      </a:lnTo>
                                      <a:lnTo>
                                        <a:pt x="90" y="246"/>
                                      </a:lnTo>
                                      <a:lnTo>
                                        <a:pt x="88" y="252"/>
                                      </a:lnTo>
                                      <a:lnTo>
                                        <a:pt x="88" y="256"/>
                                      </a:lnTo>
                                      <a:lnTo>
                                        <a:pt x="88" y="260"/>
                                      </a:lnTo>
                                      <a:lnTo>
                                        <a:pt x="92" y="262"/>
                                      </a:lnTo>
                                      <a:lnTo>
                                        <a:pt x="92" y="262"/>
                                      </a:lnTo>
                                      <a:lnTo>
                                        <a:pt x="94" y="266"/>
                                      </a:lnTo>
                                      <a:lnTo>
                                        <a:pt x="96" y="270"/>
                                      </a:lnTo>
                                      <a:lnTo>
                                        <a:pt x="96" y="278"/>
                                      </a:lnTo>
                                      <a:lnTo>
                                        <a:pt x="100" y="288"/>
                                      </a:lnTo>
                                      <a:lnTo>
                                        <a:pt x="100" y="288"/>
                                      </a:lnTo>
                                      <a:lnTo>
                                        <a:pt x="100" y="298"/>
                                      </a:lnTo>
                                      <a:lnTo>
                                        <a:pt x="100" y="304"/>
                                      </a:lnTo>
                                      <a:lnTo>
                                        <a:pt x="102" y="312"/>
                                      </a:lnTo>
                                      <a:lnTo>
                                        <a:pt x="102" y="312"/>
                                      </a:lnTo>
                                      <a:lnTo>
                                        <a:pt x="102" y="316"/>
                                      </a:lnTo>
                                      <a:lnTo>
                                        <a:pt x="102" y="320"/>
                                      </a:lnTo>
                                      <a:lnTo>
                                        <a:pt x="98" y="324"/>
                                      </a:lnTo>
                                      <a:lnTo>
                                        <a:pt x="96" y="330"/>
                                      </a:lnTo>
                                      <a:lnTo>
                                        <a:pt x="94" y="338"/>
                                      </a:lnTo>
                                      <a:lnTo>
                                        <a:pt x="94" y="338"/>
                                      </a:lnTo>
                                      <a:lnTo>
                                        <a:pt x="92" y="344"/>
                                      </a:lnTo>
                                      <a:lnTo>
                                        <a:pt x="88" y="354"/>
                                      </a:lnTo>
                                      <a:lnTo>
                                        <a:pt x="82" y="358"/>
                                      </a:lnTo>
                                      <a:lnTo>
                                        <a:pt x="76" y="364"/>
                                      </a:lnTo>
                                      <a:lnTo>
                                        <a:pt x="68" y="370"/>
                                      </a:lnTo>
                                      <a:lnTo>
                                        <a:pt x="58" y="374"/>
                                      </a:lnTo>
                                      <a:lnTo>
                                        <a:pt x="58" y="374"/>
                                      </a:lnTo>
                                      <a:lnTo>
                                        <a:pt x="40" y="382"/>
                                      </a:lnTo>
                                      <a:lnTo>
                                        <a:pt x="36" y="386"/>
                                      </a:lnTo>
                                      <a:lnTo>
                                        <a:pt x="36" y="388"/>
                                      </a:lnTo>
                                      <a:lnTo>
                                        <a:pt x="38" y="394"/>
                                      </a:lnTo>
                                      <a:lnTo>
                                        <a:pt x="38" y="398"/>
                                      </a:lnTo>
                                      <a:lnTo>
                                        <a:pt x="38" y="404"/>
                                      </a:lnTo>
                                      <a:lnTo>
                                        <a:pt x="26" y="404"/>
                                      </a:lnTo>
                                      <a:lnTo>
                                        <a:pt x="26" y="404"/>
                                      </a:lnTo>
                                      <a:lnTo>
                                        <a:pt x="24" y="396"/>
                                      </a:lnTo>
                                      <a:lnTo>
                                        <a:pt x="24" y="390"/>
                                      </a:lnTo>
                                      <a:lnTo>
                                        <a:pt x="22" y="386"/>
                                      </a:lnTo>
                                      <a:lnTo>
                                        <a:pt x="18" y="382"/>
                                      </a:lnTo>
                                      <a:lnTo>
                                        <a:pt x="18" y="382"/>
                                      </a:lnTo>
                                      <a:lnTo>
                                        <a:pt x="22" y="368"/>
                                      </a:lnTo>
                                      <a:lnTo>
                                        <a:pt x="26" y="360"/>
                                      </a:lnTo>
                                      <a:lnTo>
                                        <a:pt x="28" y="352"/>
                                      </a:lnTo>
                                      <a:lnTo>
                                        <a:pt x="28" y="338"/>
                                      </a:lnTo>
                                      <a:lnTo>
                                        <a:pt x="28" y="338"/>
                                      </a:lnTo>
                                      <a:lnTo>
                                        <a:pt x="26" y="324"/>
                                      </a:lnTo>
                                      <a:lnTo>
                                        <a:pt x="28" y="316"/>
                                      </a:lnTo>
                                      <a:lnTo>
                                        <a:pt x="28" y="312"/>
                                      </a:lnTo>
                                      <a:lnTo>
                                        <a:pt x="22" y="300"/>
                                      </a:lnTo>
                                      <a:lnTo>
                                        <a:pt x="22" y="30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5" name="Myanmar"/>
                                <p:cNvSpPr>
                                  <a:spLocks/>
                                </p:cNvSpPr>
                                <p:nvPr/>
                              </p:nvSpPr>
                              <p:spPr bwMode="auto">
                                <a:xfrm>
                                  <a:off x="8667646" y="2577578"/>
                                  <a:ext cx="285538" cy="725325"/>
                                </a:xfrm>
                                <a:custGeom>
                                  <a:avLst/>
                                  <a:gdLst/>
                                  <a:ahLst/>
                                  <a:cxnLst>
                                    <a:cxn ang="0">
                                      <a:pos x="150" y="220"/>
                                    </a:cxn>
                                    <a:cxn ang="0">
                                      <a:pos x="132" y="226"/>
                                    </a:cxn>
                                    <a:cxn ang="0">
                                      <a:pos x="132" y="248"/>
                                    </a:cxn>
                                    <a:cxn ang="0">
                                      <a:pos x="120" y="256"/>
                                    </a:cxn>
                                    <a:cxn ang="0">
                                      <a:pos x="126" y="268"/>
                                    </a:cxn>
                                    <a:cxn ang="0">
                                      <a:pos x="142" y="288"/>
                                    </a:cxn>
                                    <a:cxn ang="0">
                                      <a:pos x="170" y="312"/>
                                    </a:cxn>
                                    <a:cxn ang="0">
                                      <a:pos x="158" y="318"/>
                                    </a:cxn>
                                    <a:cxn ang="0">
                                      <a:pos x="158" y="336"/>
                                    </a:cxn>
                                    <a:cxn ang="0">
                                      <a:pos x="154" y="352"/>
                                    </a:cxn>
                                    <a:cxn ang="0">
                                      <a:pos x="178" y="378"/>
                                    </a:cxn>
                                    <a:cxn ang="0">
                                      <a:pos x="188" y="428"/>
                                    </a:cxn>
                                    <a:cxn ang="0">
                                      <a:pos x="176" y="462"/>
                                    </a:cxn>
                                    <a:cxn ang="0">
                                      <a:pos x="174" y="478"/>
                                    </a:cxn>
                                    <a:cxn ang="0">
                                      <a:pos x="174" y="440"/>
                                    </a:cxn>
                                    <a:cxn ang="0">
                                      <a:pos x="170" y="420"/>
                                    </a:cxn>
                                    <a:cxn ang="0">
                                      <a:pos x="158" y="378"/>
                                    </a:cxn>
                                    <a:cxn ang="0">
                                      <a:pos x="148" y="352"/>
                                    </a:cxn>
                                    <a:cxn ang="0">
                                      <a:pos x="134" y="314"/>
                                    </a:cxn>
                                    <a:cxn ang="0">
                                      <a:pos x="116" y="290"/>
                                    </a:cxn>
                                    <a:cxn ang="0">
                                      <a:pos x="114" y="320"/>
                                    </a:cxn>
                                    <a:cxn ang="0">
                                      <a:pos x="100" y="332"/>
                                    </a:cxn>
                                    <a:cxn ang="0">
                                      <a:pos x="84" y="330"/>
                                    </a:cxn>
                                    <a:cxn ang="0">
                                      <a:pos x="68" y="330"/>
                                    </a:cxn>
                                    <a:cxn ang="0">
                                      <a:pos x="62" y="314"/>
                                    </a:cxn>
                                    <a:cxn ang="0">
                                      <a:pos x="60" y="266"/>
                                    </a:cxn>
                                    <a:cxn ang="0">
                                      <a:pos x="24" y="220"/>
                                    </a:cxn>
                                    <a:cxn ang="0">
                                      <a:pos x="12" y="214"/>
                                    </a:cxn>
                                    <a:cxn ang="0">
                                      <a:pos x="4" y="192"/>
                                    </a:cxn>
                                    <a:cxn ang="0">
                                      <a:pos x="10" y="174"/>
                                    </a:cxn>
                                    <a:cxn ang="0">
                                      <a:pos x="20" y="148"/>
                                    </a:cxn>
                                    <a:cxn ang="0">
                                      <a:pos x="34" y="142"/>
                                    </a:cxn>
                                    <a:cxn ang="0">
                                      <a:pos x="34" y="104"/>
                                    </a:cxn>
                                    <a:cxn ang="0">
                                      <a:pos x="32" y="78"/>
                                    </a:cxn>
                                    <a:cxn ang="0">
                                      <a:pos x="52" y="48"/>
                                    </a:cxn>
                                    <a:cxn ang="0">
                                      <a:pos x="82" y="30"/>
                                    </a:cxn>
                                    <a:cxn ang="0">
                                      <a:pos x="80" y="16"/>
                                    </a:cxn>
                                    <a:cxn ang="0">
                                      <a:pos x="72" y="0"/>
                                    </a:cxn>
                                    <a:cxn ang="0">
                                      <a:pos x="102" y="20"/>
                                    </a:cxn>
                                    <a:cxn ang="0">
                                      <a:pos x="112" y="28"/>
                                    </a:cxn>
                                    <a:cxn ang="0">
                                      <a:pos x="124" y="68"/>
                                    </a:cxn>
                                    <a:cxn ang="0">
                                      <a:pos x="106" y="80"/>
                                    </a:cxn>
                                    <a:cxn ang="0">
                                      <a:pos x="102" y="98"/>
                                    </a:cxn>
                                    <a:cxn ang="0">
                                      <a:pos x="102" y="112"/>
                                    </a:cxn>
                                    <a:cxn ang="0">
                                      <a:pos x="96" y="124"/>
                                    </a:cxn>
                                    <a:cxn ang="0">
                                      <a:pos x="108" y="126"/>
                                    </a:cxn>
                                    <a:cxn ang="0">
                                      <a:pos x="116" y="136"/>
                                    </a:cxn>
                                    <a:cxn ang="0">
                                      <a:pos x="122" y="146"/>
                                    </a:cxn>
                                    <a:cxn ang="0">
                                      <a:pos x="132" y="150"/>
                                    </a:cxn>
                                    <a:cxn ang="0">
                                      <a:pos x="122" y="170"/>
                                    </a:cxn>
                                    <a:cxn ang="0">
                                      <a:pos x="150" y="182"/>
                                    </a:cxn>
                                    <a:cxn ang="0">
                                      <a:pos x="176" y="192"/>
                                    </a:cxn>
                                    <a:cxn ang="0">
                                      <a:pos x="172" y="212"/>
                                    </a:cxn>
                                  </a:cxnLst>
                                  <a:rect l="0" t="0" r="r" b="b"/>
                                  <a:pathLst>
                                    <a:path w="188" h="478">
                                      <a:moveTo>
                                        <a:pt x="170" y="214"/>
                                      </a:moveTo>
                                      <a:lnTo>
                                        <a:pt x="170" y="214"/>
                                      </a:lnTo>
                                      <a:lnTo>
                                        <a:pt x="154" y="216"/>
                                      </a:lnTo>
                                      <a:lnTo>
                                        <a:pt x="152" y="216"/>
                                      </a:lnTo>
                                      <a:lnTo>
                                        <a:pt x="150" y="220"/>
                                      </a:lnTo>
                                      <a:lnTo>
                                        <a:pt x="150" y="220"/>
                                      </a:lnTo>
                                      <a:lnTo>
                                        <a:pt x="150" y="222"/>
                                      </a:lnTo>
                                      <a:lnTo>
                                        <a:pt x="148" y="222"/>
                                      </a:lnTo>
                                      <a:lnTo>
                                        <a:pt x="144" y="222"/>
                                      </a:lnTo>
                                      <a:lnTo>
                                        <a:pt x="138" y="222"/>
                                      </a:lnTo>
                                      <a:lnTo>
                                        <a:pt x="134" y="224"/>
                                      </a:lnTo>
                                      <a:lnTo>
                                        <a:pt x="132" y="226"/>
                                      </a:lnTo>
                                      <a:lnTo>
                                        <a:pt x="132" y="226"/>
                                      </a:lnTo>
                                      <a:lnTo>
                                        <a:pt x="130" y="230"/>
                                      </a:lnTo>
                                      <a:lnTo>
                                        <a:pt x="128" y="234"/>
                                      </a:lnTo>
                                      <a:lnTo>
                                        <a:pt x="130" y="240"/>
                                      </a:lnTo>
                                      <a:lnTo>
                                        <a:pt x="132" y="244"/>
                                      </a:lnTo>
                                      <a:lnTo>
                                        <a:pt x="132" y="248"/>
                                      </a:lnTo>
                                      <a:lnTo>
                                        <a:pt x="130" y="250"/>
                                      </a:lnTo>
                                      <a:lnTo>
                                        <a:pt x="130" y="250"/>
                                      </a:lnTo>
                                      <a:lnTo>
                                        <a:pt x="128" y="254"/>
                                      </a:lnTo>
                                      <a:lnTo>
                                        <a:pt x="124" y="254"/>
                                      </a:lnTo>
                                      <a:lnTo>
                                        <a:pt x="122" y="254"/>
                                      </a:lnTo>
                                      <a:lnTo>
                                        <a:pt x="120" y="256"/>
                                      </a:lnTo>
                                      <a:lnTo>
                                        <a:pt x="120" y="256"/>
                                      </a:lnTo>
                                      <a:lnTo>
                                        <a:pt x="120" y="260"/>
                                      </a:lnTo>
                                      <a:lnTo>
                                        <a:pt x="122" y="262"/>
                                      </a:lnTo>
                                      <a:lnTo>
                                        <a:pt x="124" y="266"/>
                                      </a:lnTo>
                                      <a:lnTo>
                                        <a:pt x="126" y="268"/>
                                      </a:lnTo>
                                      <a:lnTo>
                                        <a:pt x="126" y="268"/>
                                      </a:lnTo>
                                      <a:lnTo>
                                        <a:pt x="124" y="270"/>
                                      </a:lnTo>
                                      <a:lnTo>
                                        <a:pt x="124" y="272"/>
                                      </a:lnTo>
                                      <a:lnTo>
                                        <a:pt x="130" y="276"/>
                                      </a:lnTo>
                                      <a:lnTo>
                                        <a:pt x="136" y="282"/>
                                      </a:lnTo>
                                      <a:lnTo>
                                        <a:pt x="142" y="288"/>
                                      </a:lnTo>
                                      <a:lnTo>
                                        <a:pt x="142" y="288"/>
                                      </a:lnTo>
                                      <a:lnTo>
                                        <a:pt x="150" y="296"/>
                                      </a:lnTo>
                                      <a:lnTo>
                                        <a:pt x="158" y="302"/>
                                      </a:lnTo>
                                      <a:lnTo>
                                        <a:pt x="166" y="306"/>
                                      </a:lnTo>
                                      <a:lnTo>
                                        <a:pt x="170" y="310"/>
                                      </a:lnTo>
                                      <a:lnTo>
                                        <a:pt x="170" y="310"/>
                                      </a:lnTo>
                                      <a:lnTo>
                                        <a:pt x="170" y="312"/>
                                      </a:lnTo>
                                      <a:lnTo>
                                        <a:pt x="168" y="312"/>
                                      </a:lnTo>
                                      <a:lnTo>
                                        <a:pt x="164" y="312"/>
                                      </a:lnTo>
                                      <a:lnTo>
                                        <a:pt x="160" y="314"/>
                                      </a:lnTo>
                                      <a:lnTo>
                                        <a:pt x="160" y="316"/>
                                      </a:lnTo>
                                      <a:lnTo>
                                        <a:pt x="158" y="318"/>
                                      </a:lnTo>
                                      <a:lnTo>
                                        <a:pt x="158" y="318"/>
                                      </a:lnTo>
                                      <a:lnTo>
                                        <a:pt x="158" y="322"/>
                                      </a:lnTo>
                                      <a:lnTo>
                                        <a:pt x="160" y="324"/>
                                      </a:lnTo>
                                      <a:lnTo>
                                        <a:pt x="160" y="326"/>
                                      </a:lnTo>
                                      <a:lnTo>
                                        <a:pt x="158" y="332"/>
                                      </a:lnTo>
                                      <a:lnTo>
                                        <a:pt x="158" y="332"/>
                                      </a:lnTo>
                                      <a:lnTo>
                                        <a:pt x="158" y="336"/>
                                      </a:lnTo>
                                      <a:lnTo>
                                        <a:pt x="158" y="340"/>
                                      </a:lnTo>
                                      <a:lnTo>
                                        <a:pt x="160" y="344"/>
                                      </a:lnTo>
                                      <a:lnTo>
                                        <a:pt x="158" y="346"/>
                                      </a:lnTo>
                                      <a:lnTo>
                                        <a:pt x="158" y="346"/>
                                      </a:lnTo>
                                      <a:lnTo>
                                        <a:pt x="156" y="348"/>
                                      </a:lnTo>
                                      <a:lnTo>
                                        <a:pt x="154" y="352"/>
                                      </a:lnTo>
                                      <a:lnTo>
                                        <a:pt x="156" y="356"/>
                                      </a:lnTo>
                                      <a:lnTo>
                                        <a:pt x="162" y="364"/>
                                      </a:lnTo>
                                      <a:lnTo>
                                        <a:pt x="172" y="372"/>
                                      </a:lnTo>
                                      <a:lnTo>
                                        <a:pt x="172" y="372"/>
                                      </a:lnTo>
                                      <a:lnTo>
                                        <a:pt x="176" y="374"/>
                                      </a:lnTo>
                                      <a:lnTo>
                                        <a:pt x="178" y="378"/>
                                      </a:lnTo>
                                      <a:lnTo>
                                        <a:pt x="178" y="386"/>
                                      </a:lnTo>
                                      <a:lnTo>
                                        <a:pt x="178" y="398"/>
                                      </a:lnTo>
                                      <a:lnTo>
                                        <a:pt x="180" y="406"/>
                                      </a:lnTo>
                                      <a:lnTo>
                                        <a:pt x="184" y="418"/>
                                      </a:lnTo>
                                      <a:lnTo>
                                        <a:pt x="184" y="418"/>
                                      </a:lnTo>
                                      <a:lnTo>
                                        <a:pt x="188" y="428"/>
                                      </a:lnTo>
                                      <a:lnTo>
                                        <a:pt x="188" y="434"/>
                                      </a:lnTo>
                                      <a:lnTo>
                                        <a:pt x="186" y="440"/>
                                      </a:lnTo>
                                      <a:lnTo>
                                        <a:pt x="184" y="446"/>
                                      </a:lnTo>
                                      <a:lnTo>
                                        <a:pt x="178" y="454"/>
                                      </a:lnTo>
                                      <a:lnTo>
                                        <a:pt x="176" y="458"/>
                                      </a:lnTo>
                                      <a:lnTo>
                                        <a:pt x="176" y="462"/>
                                      </a:lnTo>
                                      <a:lnTo>
                                        <a:pt x="176" y="462"/>
                                      </a:lnTo>
                                      <a:lnTo>
                                        <a:pt x="176" y="470"/>
                                      </a:lnTo>
                                      <a:lnTo>
                                        <a:pt x="176" y="472"/>
                                      </a:lnTo>
                                      <a:lnTo>
                                        <a:pt x="174" y="474"/>
                                      </a:lnTo>
                                      <a:lnTo>
                                        <a:pt x="174" y="478"/>
                                      </a:lnTo>
                                      <a:lnTo>
                                        <a:pt x="174" y="478"/>
                                      </a:lnTo>
                                      <a:lnTo>
                                        <a:pt x="168" y="468"/>
                                      </a:lnTo>
                                      <a:lnTo>
                                        <a:pt x="168" y="460"/>
                                      </a:lnTo>
                                      <a:lnTo>
                                        <a:pt x="168" y="452"/>
                                      </a:lnTo>
                                      <a:lnTo>
                                        <a:pt x="170" y="448"/>
                                      </a:lnTo>
                                      <a:lnTo>
                                        <a:pt x="174" y="444"/>
                                      </a:lnTo>
                                      <a:lnTo>
                                        <a:pt x="174" y="440"/>
                                      </a:lnTo>
                                      <a:lnTo>
                                        <a:pt x="174" y="434"/>
                                      </a:lnTo>
                                      <a:lnTo>
                                        <a:pt x="170" y="430"/>
                                      </a:lnTo>
                                      <a:lnTo>
                                        <a:pt x="170" y="430"/>
                                      </a:lnTo>
                                      <a:lnTo>
                                        <a:pt x="166" y="426"/>
                                      </a:lnTo>
                                      <a:lnTo>
                                        <a:pt x="168" y="424"/>
                                      </a:lnTo>
                                      <a:lnTo>
                                        <a:pt x="170" y="420"/>
                                      </a:lnTo>
                                      <a:lnTo>
                                        <a:pt x="170" y="416"/>
                                      </a:lnTo>
                                      <a:lnTo>
                                        <a:pt x="170" y="410"/>
                                      </a:lnTo>
                                      <a:lnTo>
                                        <a:pt x="170" y="410"/>
                                      </a:lnTo>
                                      <a:lnTo>
                                        <a:pt x="162" y="386"/>
                                      </a:lnTo>
                                      <a:lnTo>
                                        <a:pt x="160" y="378"/>
                                      </a:lnTo>
                                      <a:lnTo>
                                        <a:pt x="158" y="378"/>
                                      </a:lnTo>
                                      <a:lnTo>
                                        <a:pt x="156" y="378"/>
                                      </a:lnTo>
                                      <a:lnTo>
                                        <a:pt x="156" y="378"/>
                                      </a:lnTo>
                                      <a:lnTo>
                                        <a:pt x="156" y="378"/>
                                      </a:lnTo>
                                      <a:lnTo>
                                        <a:pt x="154" y="376"/>
                                      </a:lnTo>
                                      <a:lnTo>
                                        <a:pt x="152" y="368"/>
                                      </a:lnTo>
                                      <a:lnTo>
                                        <a:pt x="148" y="352"/>
                                      </a:lnTo>
                                      <a:lnTo>
                                        <a:pt x="148" y="352"/>
                                      </a:lnTo>
                                      <a:lnTo>
                                        <a:pt x="142" y="334"/>
                                      </a:lnTo>
                                      <a:lnTo>
                                        <a:pt x="138" y="322"/>
                                      </a:lnTo>
                                      <a:lnTo>
                                        <a:pt x="138" y="322"/>
                                      </a:lnTo>
                                      <a:lnTo>
                                        <a:pt x="136" y="318"/>
                                      </a:lnTo>
                                      <a:lnTo>
                                        <a:pt x="134" y="314"/>
                                      </a:lnTo>
                                      <a:lnTo>
                                        <a:pt x="132" y="312"/>
                                      </a:lnTo>
                                      <a:lnTo>
                                        <a:pt x="132" y="306"/>
                                      </a:lnTo>
                                      <a:lnTo>
                                        <a:pt x="132" y="306"/>
                                      </a:lnTo>
                                      <a:lnTo>
                                        <a:pt x="128" y="308"/>
                                      </a:lnTo>
                                      <a:lnTo>
                                        <a:pt x="126" y="306"/>
                                      </a:lnTo>
                                      <a:lnTo>
                                        <a:pt x="116" y="290"/>
                                      </a:lnTo>
                                      <a:lnTo>
                                        <a:pt x="116" y="290"/>
                                      </a:lnTo>
                                      <a:lnTo>
                                        <a:pt x="120" y="310"/>
                                      </a:lnTo>
                                      <a:lnTo>
                                        <a:pt x="120" y="316"/>
                                      </a:lnTo>
                                      <a:lnTo>
                                        <a:pt x="118" y="318"/>
                                      </a:lnTo>
                                      <a:lnTo>
                                        <a:pt x="114" y="320"/>
                                      </a:lnTo>
                                      <a:lnTo>
                                        <a:pt x="114" y="320"/>
                                      </a:lnTo>
                                      <a:lnTo>
                                        <a:pt x="110" y="324"/>
                                      </a:lnTo>
                                      <a:lnTo>
                                        <a:pt x="106" y="330"/>
                                      </a:lnTo>
                                      <a:lnTo>
                                        <a:pt x="104" y="332"/>
                                      </a:lnTo>
                                      <a:lnTo>
                                        <a:pt x="102" y="332"/>
                                      </a:lnTo>
                                      <a:lnTo>
                                        <a:pt x="100" y="332"/>
                                      </a:lnTo>
                                      <a:lnTo>
                                        <a:pt x="100" y="332"/>
                                      </a:lnTo>
                                      <a:lnTo>
                                        <a:pt x="98" y="330"/>
                                      </a:lnTo>
                                      <a:lnTo>
                                        <a:pt x="94" y="332"/>
                                      </a:lnTo>
                                      <a:lnTo>
                                        <a:pt x="92" y="334"/>
                                      </a:lnTo>
                                      <a:lnTo>
                                        <a:pt x="88" y="332"/>
                                      </a:lnTo>
                                      <a:lnTo>
                                        <a:pt x="88" y="332"/>
                                      </a:lnTo>
                                      <a:lnTo>
                                        <a:pt x="84" y="330"/>
                                      </a:lnTo>
                                      <a:lnTo>
                                        <a:pt x="80" y="332"/>
                                      </a:lnTo>
                                      <a:lnTo>
                                        <a:pt x="76" y="334"/>
                                      </a:lnTo>
                                      <a:lnTo>
                                        <a:pt x="72" y="330"/>
                                      </a:lnTo>
                                      <a:lnTo>
                                        <a:pt x="72" y="330"/>
                                      </a:lnTo>
                                      <a:lnTo>
                                        <a:pt x="70" y="328"/>
                                      </a:lnTo>
                                      <a:lnTo>
                                        <a:pt x="68" y="330"/>
                                      </a:lnTo>
                                      <a:lnTo>
                                        <a:pt x="66" y="330"/>
                                      </a:lnTo>
                                      <a:lnTo>
                                        <a:pt x="62" y="330"/>
                                      </a:lnTo>
                                      <a:lnTo>
                                        <a:pt x="62" y="330"/>
                                      </a:lnTo>
                                      <a:lnTo>
                                        <a:pt x="60" y="328"/>
                                      </a:lnTo>
                                      <a:lnTo>
                                        <a:pt x="60" y="324"/>
                                      </a:lnTo>
                                      <a:lnTo>
                                        <a:pt x="62" y="314"/>
                                      </a:lnTo>
                                      <a:lnTo>
                                        <a:pt x="64" y="308"/>
                                      </a:lnTo>
                                      <a:lnTo>
                                        <a:pt x="66" y="300"/>
                                      </a:lnTo>
                                      <a:lnTo>
                                        <a:pt x="66" y="288"/>
                                      </a:lnTo>
                                      <a:lnTo>
                                        <a:pt x="64" y="276"/>
                                      </a:lnTo>
                                      <a:lnTo>
                                        <a:pt x="64" y="276"/>
                                      </a:lnTo>
                                      <a:lnTo>
                                        <a:pt x="60" y="266"/>
                                      </a:lnTo>
                                      <a:lnTo>
                                        <a:pt x="56" y="258"/>
                                      </a:lnTo>
                                      <a:lnTo>
                                        <a:pt x="48" y="248"/>
                                      </a:lnTo>
                                      <a:lnTo>
                                        <a:pt x="34" y="230"/>
                                      </a:lnTo>
                                      <a:lnTo>
                                        <a:pt x="34" y="230"/>
                                      </a:lnTo>
                                      <a:lnTo>
                                        <a:pt x="26" y="220"/>
                                      </a:lnTo>
                                      <a:lnTo>
                                        <a:pt x="24" y="220"/>
                                      </a:lnTo>
                                      <a:lnTo>
                                        <a:pt x="24" y="220"/>
                                      </a:lnTo>
                                      <a:lnTo>
                                        <a:pt x="22" y="222"/>
                                      </a:lnTo>
                                      <a:lnTo>
                                        <a:pt x="16" y="216"/>
                                      </a:lnTo>
                                      <a:lnTo>
                                        <a:pt x="16" y="216"/>
                                      </a:lnTo>
                                      <a:lnTo>
                                        <a:pt x="12" y="212"/>
                                      </a:lnTo>
                                      <a:lnTo>
                                        <a:pt x="12" y="214"/>
                                      </a:lnTo>
                                      <a:lnTo>
                                        <a:pt x="10" y="214"/>
                                      </a:lnTo>
                                      <a:lnTo>
                                        <a:pt x="8" y="214"/>
                                      </a:lnTo>
                                      <a:lnTo>
                                        <a:pt x="0" y="202"/>
                                      </a:lnTo>
                                      <a:lnTo>
                                        <a:pt x="0" y="202"/>
                                      </a:lnTo>
                                      <a:lnTo>
                                        <a:pt x="2" y="194"/>
                                      </a:lnTo>
                                      <a:lnTo>
                                        <a:pt x="4" y="192"/>
                                      </a:lnTo>
                                      <a:lnTo>
                                        <a:pt x="6" y="192"/>
                                      </a:lnTo>
                                      <a:lnTo>
                                        <a:pt x="6" y="188"/>
                                      </a:lnTo>
                                      <a:lnTo>
                                        <a:pt x="6" y="188"/>
                                      </a:lnTo>
                                      <a:lnTo>
                                        <a:pt x="4" y="178"/>
                                      </a:lnTo>
                                      <a:lnTo>
                                        <a:pt x="6" y="174"/>
                                      </a:lnTo>
                                      <a:lnTo>
                                        <a:pt x="10" y="174"/>
                                      </a:lnTo>
                                      <a:lnTo>
                                        <a:pt x="10" y="174"/>
                                      </a:lnTo>
                                      <a:lnTo>
                                        <a:pt x="16" y="174"/>
                                      </a:lnTo>
                                      <a:lnTo>
                                        <a:pt x="20" y="170"/>
                                      </a:lnTo>
                                      <a:lnTo>
                                        <a:pt x="22" y="162"/>
                                      </a:lnTo>
                                      <a:lnTo>
                                        <a:pt x="20" y="148"/>
                                      </a:lnTo>
                                      <a:lnTo>
                                        <a:pt x="20" y="148"/>
                                      </a:lnTo>
                                      <a:lnTo>
                                        <a:pt x="22" y="144"/>
                                      </a:lnTo>
                                      <a:lnTo>
                                        <a:pt x="22" y="140"/>
                                      </a:lnTo>
                                      <a:lnTo>
                                        <a:pt x="26" y="140"/>
                                      </a:lnTo>
                                      <a:lnTo>
                                        <a:pt x="28" y="142"/>
                                      </a:lnTo>
                                      <a:lnTo>
                                        <a:pt x="32" y="142"/>
                                      </a:lnTo>
                                      <a:lnTo>
                                        <a:pt x="34" y="142"/>
                                      </a:lnTo>
                                      <a:lnTo>
                                        <a:pt x="34" y="138"/>
                                      </a:lnTo>
                                      <a:lnTo>
                                        <a:pt x="34" y="132"/>
                                      </a:lnTo>
                                      <a:lnTo>
                                        <a:pt x="34" y="132"/>
                                      </a:lnTo>
                                      <a:lnTo>
                                        <a:pt x="34" y="120"/>
                                      </a:lnTo>
                                      <a:lnTo>
                                        <a:pt x="36" y="112"/>
                                      </a:lnTo>
                                      <a:lnTo>
                                        <a:pt x="34" y="104"/>
                                      </a:lnTo>
                                      <a:lnTo>
                                        <a:pt x="32" y="98"/>
                                      </a:lnTo>
                                      <a:lnTo>
                                        <a:pt x="28" y="92"/>
                                      </a:lnTo>
                                      <a:lnTo>
                                        <a:pt x="28" y="92"/>
                                      </a:lnTo>
                                      <a:lnTo>
                                        <a:pt x="26" y="86"/>
                                      </a:lnTo>
                                      <a:lnTo>
                                        <a:pt x="28" y="82"/>
                                      </a:lnTo>
                                      <a:lnTo>
                                        <a:pt x="32" y="78"/>
                                      </a:lnTo>
                                      <a:lnTo>
                                        <a:pt x="32" y="72"/>
                                      </a:lnTo>
                                      <a:lnTo>
                                        <a:pt x="32" y="72"/>
                                      </a:lnTo>
                                      <a:lnTo>
                                        <a:pt x="32" y="68"/>
                                      </a:lnTo>
                                      <a:lnTo>
                                        <a:pt x="34" y="66"/>
                                      </a:lnTo>
                                      <a:lnTo>
                                        <a:pt x="42" y="58"/>
                                      </a:lnTo>
                                      <a:lnTo>
                                        <a:pt x="52" y="48"/>
                                      </a:lnTo>
                                      <a:lnTo>
                                        <a:pt x="62" y="34"/>
                                      </a:lnTo>
                                      <a:lnTo>
                                        <a:pt x="62" y="34"/>
                                      </a:lnTo>
                                      <a:lnTo>
                                        <a:pt x="66" y="32"/>
                                      </a:lnTo>
                                      <a:lnTo>
                                        <a:pt x="70" y="30"/>
                                      </a:lnTo>
                                      <a:lnTo>
                                        <a:pt x="78" y="30"/>
                                      </a:lnTo>
                                      <a:lnTo>
                                        <a:pt x="82" y="30"/>
                                      </a:lnTo>
                                      <a:lnTo>
                                        <a:pt x="82" y="28"/>
                                      </a:lnTo>
                                      <a:lnTo>
                                        <a:pt x="78" y="24"/>
                                      </a:lnTo>
                                      <a:lnTo>
                                        <a:pt x="78" y="24"/>
                                      </a:lnTo>
                                      <a:lnTo>
                                        <a:pt x="76" y="20"/>
                                      </a:lnTo>
                                      <a:lnTo>
                                        <a:pt x="76" y="18"/>
                                      </a:lnTo>
                                      <a:lnTo>
                                        <a:pt x="80" y="16"/>
                                      </a:lnTo>
                                      <a:lnTo>
                                        <a:pt x="82" y="14"/>
                                      </a:lnTo>
                                      <a:lnTo>
                                        <a:pt x="80" y="10"/>
                                      </a:lnTo>
                                      <a:lnTo>
                                        <a:pt x="78" y="6"/>
                                      </a:lnTo>
                                      <a:lnTo>
                                        <a:pt x="68" y="0"/>
                                      </a:lnTo>
                                      <a:lnTo>
                                        <a:pt x="68" y="0"/>
                                      </a:lnTo>
                                      <a:lnTo>
                                        <a:pt x="72" y="0"/>
                                      </a:lnTo>
                                      <a:lnTo>
                                        <a:pt x="76" y="0"/>
                                      </a:lnTo>
                                      <a:lnTo>
                                        <a:pt x="82" y="2"/>
                                      </a:lnTo>
                                      <a:lnTo>
                                        <a:pt x="90" y="8"/>
                                      </a:lnTo>
                                      <a:lnTo>
                                        <a:pt x="90" y="8"/>
                                      </a:lnTo>
                                      <a:lnTo>
                                        <a:pt x="100" y="16"/>
                                      </a:lnTo>
                                      <a:lnTo>
                                        <a:pt x="102" y="20"/>
                                      </a:lnTo>
                                      <a:lnTo>
                                        <a:pt x="102" y="22"/>
                                      </a:lnTo>
                                      <a:lnTo>
                                        <a:pt x="106" y="20"/>
                                      </a:lnTo>
                                      <a:lnTo>
                                        <a:pt x="106" y="20"/>
                                      </a:lnTo>
                                      <a:lnTo>
                                        <a:pt x="108" y="18"/>
                                      </a:lnTo>
                                      <a:lnTo>
                                        <a:pt x="110" y="20"/>
                                      </a:lnTo>
                                      <a:lnTo>
                                        <a:pt x="112" y="28"/>
                                      </a:lnTo>
                                      <a:lnTo>
                                        <a:pt x="114" y="42"/>
                                      </a:lnTo>
                                      <a:lnTo>
                                        <a:pt x="116" y="50"/>
                                      </a:lnTo>
                                      <a:lnTo>
                                        <a:pt x="120" y="58"/>
                                      </a:lnTo>
                                      <a:lnTo>
                                        <a:pt x="120" y="58"/>
                                      </a:lnTo>
                                      <a:lnTo>
                                        <a:pt x="124" y="66"/>
                                      </a:lnTo>
                                      <a:lnTo>
                                        <a:pt x="124" y="68"/>
                                      </a:lnTo>
                                      <a:lnTo>
                                        <a:pt x="122" y="68"/>
                                      </a:lnTo>
                                      <a:lnTo>
                                        <a:pt x="118" y="66"/>
                                      </a:lnTo>
                                      <a:lnTo>
                                        <a:pt x="116" y="66"/>
                                      </a:lnTo>
                                      <a:lnTo>
                                        <a:pt x="116" y="66"/>
                                      </a:lnTo>
                                      <a:lnTo>
                                        <a:pt x="110" y="76"/>
                                      </a:lnTo>
                                      <a:lnTo>
                                        <a:pt x="106" y="80"/>
                                      </a:lnTo>
                                      <a:lnTo>
                                        <a:pt x="102" y="86"/>
                                      </a:lnTo>
                                      <a:lnTo>
                                        <a:pt x="102" y="88"/>
                                      </a:lnTo>
                                      <a:lnTo>
                                        <a:pt x="104" y="92"/>
                                      </a:lnTo>
                                      <a:lnTo>
                                        <a:pt x="104" y="92"/>
                                      </a:lnTo>
                                      <a:lnTo>
                                        <a:pt x="104" y="96"/>
                                      </a:lnTo>
                                      <a:lnTo>
                                        <a:pt x="102" y="98"/>
                                      </a:lnTo>
                                      <a:lnTo>
                                        <a:pt x="100" y="98"/>
                                      </a:lnTo>
                                      <a:lnTo>
                                        <a:pt x="98" y="100"/>
                                      </a:lnTo>
                                      <a:lnTo>
                                        <a:pt x="98" y="100"/>
                                      </a:lnTo>
                                      <a:lnTo>
                                        <a:pt x="96" y="106"/>
                                      </a:lnTo>
                                      <a:lnTo>
                                        <a:pt x="98" y="108"/>
                                      </a:lnTo>
                                      <a:lnTo>
                                        <a:pt x="102" y="112"/>
                                      </a:lnTo>
                                      <a:lnTo>
                                        <a:pt x="106" y="114"/>
                                      </a:lnTo>
                                      <a:lnTo>
                                        <a:pt x="108" y="118"/>
                                      </a:lnTo>
                                      <a:lnTo>
                                        <a:pt x="108" y="118"/>
                                      </a:lnTo>
                                      <a:lnTo>
                                        <a:pt x="106" y="120"/>
                                      </a:lnTo>
                                      <a:lnTo>
                                        <a:pt x="100" y="122"/>
                                      </a:lnTo>
                                      <a:lnTo>
                                        <a:pt x="96" y="124"/>
                                      </a:lnTo>
                                      <a:lnTo>
                                        <a:pt x="94" y="124"/>
                                      </a:lnTo>
                                      <a:lnTo>
                                        <a:pt x="94" y="126"/>
                                      </a:lnTo>
                                      <a:lnTo>
                                        <a:pt x="94" y="126"/>
                                      </a:lnTo>
                                      <a:lnTo>
                                        <a:pt x="94" y="130"/>
                                      </a:lnTo>
                                      <a:lnTo>
                                        <a:pt x="96" y="130"/>
                                      </a:lnTo>
                                      <a:lnTo>
                                        <a:pt x="108" y="126"/>
                                      </a:lnTo>
                                      <a:lnTo>
                                        <a:pt x="108" y="126"/>
                                      </a:lnTo>
                                      <a:lnTo>
                                        <a:pt x="118" y="124"/>
                                      </a:lnTo>
                                      <a:lnTo>
                                        <a:pt x="120" y="126"/>
                                      </a:lnTo>
                                      <a:lnTo>
                                        <a:pt x="118" y="130"/>
                                      </a:lnTo>
                                      <a:lnTo>
                                        <a:pt x="118" y="130"/>
                                      </a:lnTo>
                                      <a:lnTo>
                                        <a:pt x="116" y="136"/>
                                      </a:lnTo>
                                      <a:lnTo>
                                        <a:pt x="116" y="138"/>
                                      </a:lnTo>
                                      <a:lnTo>
                                        <a:pt x="120" y="140"/>
                                      </a:lnTo>
                                      <a:lnTo>
                                        <a:pt x="120" y="142"/>
                                      </a:lnTo>
                                      <a:lnTo>
                                        <a:pt x="120" y="142"/>
                                      </a:lnTo>
                                      <a:lnTo>
                                        <a:pt x="120" y="144"/>
                                      </a:lnTo>
                                      <a:lnTo>
                                        <a:pt x="122" y="146"/>
                                      </a:lnTo>
                                      <a:lnTo>
                                        <a:pt x="126" y="148"/>
                                      </a:lnTo>
                                      <a:lnTo>
                                        <a:pt x="130" y="146"/>
                                      </a:lnTo>
                                      <a:lnTo>
                                        <a:pt x="130" y="146"/>
                                      </a:lnTo>
                                      <a:lnTo>
                                        <a:pt x="132" y="148"/>
                                      </a:lnTo>
                                      <a:lnTo>
                                        <a:pt x="132" y="148"/>
                                      </a:lnTo>
                                      <a:lnTo>
                                        <a:pt x="132" y="150"/>
                                      </a:lnTo>
                                      <a:lnTo>
                                        <a:pt x="136" y="150"/>
                                      </a:lnTo>
                                      <a:lnTo>
                                        <a:pt x="140" y="150"/>
                                      </a:lnTo>
                                      <a:lnTo>
                                        <a:pt x="140" y="152"/>
                                      </a:lnTo>
                                      <a:lnTo>
                                        <a:pt x="140" y="152"/>
                                      </a:lnTo>
                                      <a:lnTo>
                                        <a:pt x="122" y="170"/>
                                      </a:lnTo>
                                      <a:lnTo>
                                        <a:pt x="122" y="170"/>
                                      </a:lnTo>
                                      <a:lnTo>
                                        <a:pt x="122" y="174"/>
                                      </a:lnTo>
                                      <a:lnTo>
                                        <a:pt x="124" y="176"/>
                                      </a:lnTo>
                                      <a:lnTo>
                                        <a:pt x="134" y="176"/>
                                      </a:lnTo>
                                      <a:lnTo>
                                        <a:pt x="148" y="176"/>
                                      </a:lnTo>
                                      <a:lnTo>
                                        <a:pt x="148" y="176"/>
                                      </a:lnTo>
                                      <a:lnTo>
                                        <a:pt x="150" y="182"/>
                                      </a:lnTo>
                                      <a:lnTo>
                                        <a:pt x="154" y="186"/>
                                      </a:lnTo>
                                      <a:lnTo>
                                        <a:pt x="158" y="188"/>
                                      </a:lnTo>
                                      <a:lnTo>
                                        <a:pt x="162" y="188"/>
                                      </a:lnTo>
                                      <a:lnTo>
                                        <a:pt x="170" y="190"/>
                                      </a:lnTo>
                                      <a:lnTo>
                                        <a:pt x="174" y="192"/>
                                      </a:lnTo>
                                      <a:lnTo>
                                        <a:pt x="176" y="192"/>
                                      </a:lnTo>
                                      <a:lnTo>
                                        <a:pt x="176" y="192"/>
                                      </a:lnTo>
                                      <a:lnTo>
                                        <a:pt x="172" y="196"/>
                                      </a:lnTo>
                                      <a:lnTo>
                                        <a:pt x="170" y="200"/>
                                      </a:lnTo>
                                      <a:lnTo>
                                        <a:pt x="170" y="204"/>
                                      </a:lnTo>
                                      <a:lnTo>
                                        <a:pt x="172" y="210"/>
                                      </a:lnTo>
                                      <a:lnTo>
                                        <a:pt x="172" y="212"/>
                                      </a:lnTo>
                                      <a:lnTo>
                                        <a:pt x="170" y="214"/>
                                      </a:lnTo>
                                      <a:lnTo>
                                        <a:pt x="170" y="214"/>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6" name="Namibia"/>
                                <p:cNvSpPr>
                                  <a:spLocks/>
                                </p:cNvSpPr>
                                <p:nvPr/>
                              </p:nvSpPr>
                              <p:spPr bwMode="auto">
                                <a:xfrm>
                                  <a:off x="6155056" y="4352955"/>
                                  <a:ext cx="422232" cy="437016"/>
                                </a:xfrm>
                                <a:custGeom>
                                  <a:avLst/>
                                  <a:gdLst/>
                                  <a:ahLst/>
                                  <a:cxnLst>
                                    <a:cxn ang="0">
                                      <a:pos x="0" y="10"/>
                                    </a:cxn>
                                    <a:cxn ang="0">
                                      <a:pos x="4" y="30"/>
                                    </a:cxn>
                                    <a:cxn ang="0">
                                      <a:pos x="18" y="60"/>
                                    </a:cxn>
                                    <a:cxn ang="0">
                                      <a:pos x="20" y="72"/>
                                    </a:cxn>
                                    <a:cxn ang="0">
                                      <a:pos x="22" y="82"/>
                                    </a:cxn>
                                    <a:cxn ang="0">
                                      <a:pos x="38" y="118"/>
                                    </a:cxn>
                                    <a:cxn ang="0">
                                      <a:pos x="54" y="146"/>
                                    </a:cxn>
                                    <a:cxn ang="0">
                                      <a:pos x="56" y="150"/>
                                    </a:cxn>
                                    <a:cxn ang="0">
                                      <a:pos x="54" y="162"/>
                                    </a:cxn>
                                    <a:cxn ang="0">
                                      <a:pos x="54" y="172"/>
                                    </a:cxn>
                                    <a:cxn ang="0">
                                      <a:pos x="54" y="180"/>
                                    </a:cxn>
                                    <a:cxn ang="0">
                                      <a:pos x="60" y="214"/>
                                    </a:cxn>
                                    <a:cxn ang="0">
                                      <a:pos x="68" y="244"/>
                                    </a:cxn>
                                    <a:cxn ang="0">
                                      <a:pos x="68" y="248"/>
                                    </a:cxn>
                                    <a:cxn ang="0">
                                      <a:pos x="70" y="262"/>
                                    </a:cxn>
                                    <a:cxn ang="0">
                                      <a:pos x="80" y="282"/>
                                    </a:cxn>
                                    <a:cxn ang="0">
                                      <a:pos x="92" y="274"/>
                                    </a:cxn>
                                    <a:cxn ang="0">
                                      <a:pos x="104" y="270"/>
                                    </a:cxn>
                                    <a:cxn ang="0">
                                      <a:pos x="108" y="272"/>
                                    </a:cxn>
                                    <a:cxn ang="0">
                                      <a:pos x="110" y="280"/>
                                    </a:cxn>
                                    <a:cxn ang="0">
                                      <a:pos x="118" y="288"/>
                                    </a:cxn>
                                    <a:cxn ang="0">
                                      <a:pos x="122" y="288"/>
                                    </a:cxn>
                                    <a:cxn ang="0">
                                      <a:pos x="136" y="286"/>
                                    </a:cxn>
                                    <a:cxn ang="0">
                                      <a:pos x="144" y="282"/>
                                    </a:cxn>
                                    <a:cxn ang="0">
                                      <a:pos x="152" y="276"/>
                                    </a:cxn>
                                    <a:cxn ang="0">
                                      <a:pos x="160" y="198"/>
                                    </a:cxn>
                                    <a:cxn ang="0">
                                      <a:pos x="164" y="124"/>
                                    </a:cxn>
                                    <a:cxn ang="0">
                                      <a:pos x="188" y="40"/>
                                    </a:cxn>
                                    <a:cxn ang="0">
                                      <a:pos x="228" y="28"/>
                                    </a:cxn>
                                    <a:cxn ang="0">
                                      <a:pos x="232" y="28"/>
                                    </a:cxn>
                                    <a:cxn ang="0">
                                      <a:pos x="244" y="32"/>
                                    </a:cxn>
                                    <a:cxn ang="0">
                                      <a:pos x="252" y="36"/>
                                    </a:cxn>
                                    <a:cxn ang="0">
                                      <a:pos x="254" y="34"/>
                                    </a:cxn>
                                    <a:cxn ang="0">
                                      <a:pos x="268" y="24"/>
                                    </a:cxn>
                                    <a:cxn ang="0">
                                      <a:pos x="278" y="18"/>
                                    </a:cxn>
                                    <a:cxn ang="0">
                                      <a:pos x="274" y="16"/>
                                    </a:cxn>
                                    <a:cxn ang="0">
                                      <a:pos x="268" y="10"/>
                                    </a:cxn>
                                    <a:cxn ang="0">
                                      <a:pos x="260" y="12"/>
                                    </a:cxn>
                                    <a:cxn ang="0">
                                      <a:pos x="244" y="12"/>
                                    </a:cxn>
                                    <a:cxn ang="0">
                                      <a:pos x="234" y="12"/>
                                    </a:cxn>
                                    <a:cxn ang="0">
                                      <a:pos x="204" y="22"/>
                                    </a:cxn>
                                    <a:cxn ang="0">
                                      <a:pos x="184" y="22"/>
                                    </a:cxn>
                                    <a:cxn ang="0">
                                      <a:pos x="176" y="20"/>
                                    </a:cxn>
                                    <a:cxn ang="0">
                                      <a:pos x="160" y="22"/>
                                    </a:cxn>
                                    <a:cxn ang="0">
                                      <a:pos x="160" y="20"/>
                                    </a:cxn>
                                    <a:cxn ang="0">
                                      <a:pos x="134" y="10"/>
                                    </a:cxn>
                                    <a:cxn ang="0">
                                      <a:pos x="134" y="8"/>
                                    </a:cxn>
                                    <a:cxn ang="0">
                                      <a:pos x="60" y="8"/>
                                    </a:cxn>
                                    <a:cxn ang="0">
                                      <a:pos x="48" y="6"/>
                                    </a:cxn>
                                    <a:cxn ang="0">
                                      <a:pos x="32" y="2"/>
                                    </a:cxn>
                                    <a:cxn ang="0">
                                      <a:pos x="24" y="2"/>
                                    </a:cxn>
                                    <a:cxn ang="0">
                                      <a:pos x="18" y="6"/>
                                    </a:cxn>
                                    <a:cxn ang="0">
                                      <a:pos x="12" y="6"/>
                                    </a:cxn>
                                    <a:cxn ang="0">
                                      <a:pos x="0" y="10"/>
                                    </a:cxn>
                                  </a:cxnLst>
                                  <a:rect l="0" t="0" r="r" b="b"/>
                                  <a:pathLst>
                                    <a:path w="278" h="288">
                                      <a:moveTo>
                                        <a:pt x="0" y="10"/>
                                      </a:moveTo>
                                      <a:lnTo>
                                        <a:pt x="0" y="10"/>
                                      </a:lnTo>
                                      <a:lnTo>
                                        <a:pt x="2" y="20"/>
                                      </a:lnTo>
                                      <a:lnTo>
                                        <a:pt x="4" y="30"/>
                                      </a:lnTo>
                                      <a:lnTo>
                                        <a:pt x="10" y="46"/>
                                      </a:lnTo>
                                      <a:lnTo>
                                        <a:pt x="18" y="60"/>
                                      </a:lnTo>
                                      <a:lnTo>
                                        <a:pt x="20" y="66"/>
                                      </a:lnTo>
                                      <a:lnTo>
                                        <a:pt x="20" y="72"/>
                                      </a:lnTo>
                                      <a:lnTo>
                                        <a:pt x="20" y="72"/>
                                      </a:lnTo>
                                      <a:lnTo>
                                        <a:pt x="22" y="82"/>
                                      </a:lnTo>
                                      <a:lnTo>
                                        <a:pt x="26" y="92"/>
                                      </a:lnTo>
                                      <a:lnTo>
                                        <a:pt x="38" y="118"/>
                                      </a:lnTo>
                                      <a:lnTo>
                                        <a:pt x="52" y="138"/>
                                      </a:lnTo>
                                      <a:lnTo>
                                        <a:pt x="54" y="146"/>
                                      </a:lnTo>
                                      <a:lnTo>
                                        <a:pt x="56" y="150"/>
                                      </a:lnTo>
                                      <a:lnTo>
                                        <a:pt x="56" y="150"/>
                                      </a:lnTo>
                                      <a:lnTo>
                                        <a:pt x="54" y="158"/>
                                      </a:lnTo>
                                      <a:lnTo>
                                        <a:pt x="54" y="162"/>
                                      </a:lnTo>
                                      <a:lnTo>
                                        <a:pt x="56" y="164"/>
                                      </a:lnTo>
                                      <a:lnTo>
                                        <a:pt x="54" y="172"/>
                                      </a:lnTo>
                                      <a:lnTo>
                                        <a:pt x="54" y="172"/>
                                      </a:lnTo>
                                      <a:lnTo>
                                        <a:pt x="54" y="180"/>
                                      </a:lnTo>
                                      <a:lnTo>
                                        <a:pt x="56" y="190"/>
                                      </a:lnTo>
                                      <a:lnTo>
                                        <a:pt x="60" y="214"/>
                                      </a:lnTo>
                                      <a:lnTo>
                                        <a:pt x="66" y="236"/>
                                      </a:lnTo>
                                      <a:lnTo>
                                        <a:pt x="68" y="244"/>
                                      </a:lnTo>
                                      <a:lnTo>
                                        <a:pt x="68" y="248"/>
                                      </a:lnTo>
                                      <a:lnTo>
                                        <a:pt x="68" y="248"/>
                                      </a:lnTo>
                                      <a:lnTo>
                                        <a:pt x="68" y="254"/>
                                      </a:lnTo>
                                      <a:lnTo>
                                        <a:pt x="70" y="262"/>
                                      </a:lnTo>
                                      <a:lnTo>
                                        <a:pt x="74" y="272"/>
                                      </a:lnTo>
                                      <a:lnTo>
                                        <a:pt x="80" y="282"/>
                                      </a:lnTo>
                                      <a:lnTo>
                                        <a:pt x="80" y="282"/>
                                      </a:lnTo>
                                      <a:lnTo>
                                        <a:pt x="92" y="274"/>
                                      </a:lnTo>
                                      <a:lnTo>
                                        <a:pt x="98" y="272"/>
                                      </a:lnTo>
                                      <a:lnTo>
                                        <a:pt x="104" y="270"/>
                                      </a:lnTo>
                                      <a:lnTo>
                                        <a:pt x="104" y="270"/>
                                      </a:lnTo>
                                      <a:lnTo>
                                        <a:pt x="108" y="272"/>
                                      </a:lnTo>
                                      <a:lnTo>
                                        <a:pt x="108" y="274"/>
                                      </a:lnTo>
                                      <a:lnTo>
                                        <a:pt x="110" y="280"/>
                                      </a:lnTo>
                                      <a:lnTo>
                                        <a:pt x="114" y="286"/>
                                      </a:lnTo>
                                      <a:lnTo>
                                        <a:pt x="118" y="288"/>
                                      </a:lnTo>
                                      <a:lnTo>
                                        <a:pt x="122" y="288"/>
                                      </a:lnTo>
                                      <a:lnTo>
                                        <a:pt x="122" y="288"/>
                                      </a:lnTo>
                                      <a:lnTo>
                                        <a:pt x="130" y="288"/>
                                      </a:lnTo>
                                      <a:lnTo>
                                        <a:pt x="136" y="286"/>
                                      </a:lnTo>
                                      <a:lnTo>
                                        <a:pt x="140" y="284"/>
                                      </a:lnTo>
                                      <a:lnTo>
                                        <a:pt x="144" y="282"/>
                                      </a:lnTo>
                                      <a:lnTo>
                                        <a:pt x="148" y="278"/>
                                      </a:lnTo>
                                      <a:lnTo>
                                        <a:pt x="152" y="276"/>
                                      </a:lnTo>
                                      <a:lnTo>
                                        <a:pt x="156" y="276"/>
                                      </a:lnTo>
                                      <a:lnTo>
                                        <a:pt x="160" y="198"/>
                                      </a:lnTo>
                                      <a:lnTo>
                                        <a:pt x="160" y="198"/>
                                      </a:lnTo>
                                      <a:lnTo>
                                        <a:pt x="164" y="124"/>
                                      </a:lnTo>
                                      <a:lnTo>
                                        <a:pt x="184" y="124"/>
                                      </a:lnTo>
                                      <a:lnTo>
                                        <a:pt x="188" y="40"/>
                                      </a:lnTo>
                                      <a:lnTo>
                                        <a:pt x="188" y="40"/>
                                      </a:lnTo>
                                      <a:lnTo>
                                        <a:pt x="228" y="28"/>
                                      </a:lnTo>
                                      <a:lnTo>
                                        <a:pt x="228" y="28"/>
                                      </a:lnTo>
                                      <a:lnTo>
                                        <a:pt x="232" y="28"/>
                                      </a:lnTo>
                                      <a:lnTo>
                                        <a:pt x="238" y="28"/>
                                      </a:lnTo>
                                      <a:lnTo>
                                        <a:pt x="244" y="32"/>
                                      </a:lnTo>
                                      <a:lnTo>
                                        <a:pt x="248" y="36"/>
                                      </a:lnTo>
                                      <a:lnTo>
                                        <a:pt x="252" y="36"/>
                                      </a:lnTo>
                                      <a:lnTo>
                                        <a:pt x="254" y="34"/>
                                      </a:lnTo>
                                      <a:lnTo>
                                        <a:pt x="254" y="34"/>
                                      </a:lnTo>
                                      <a:lnTo>
                                        <a:pt x="262" y="26"/>
                                      </a:lnTo>
                                      <a:lnTo>
                                        <a:pt x="268" y="24"/>
                                      </a:lnTo>
                                      <a:lnTo>
                                        <a:pt x="272" y="24"/>
                                      </a:lnTo>
                                      <a:lnTo>
                                        <a:pt x="278" y="18"/>
                                      </a:lnTo>
                                      <a:lnTo>
                                        <a:pt x="278" y="18"/>
                                      </a:lnTo>
                                      <a:lnTo>
                                        <a:pt x="274" y="16"/>
                                      </a:lnTo>
                                      <a:lnTo>
                                        <a:pt x="272" y="12"/>
                                      </a:lnTo>
                                      <a:lnTo>
                                        <a:pt x="268" y="10"/>
                                      </a:lnTo>
                                      <a:lnTo>
                                        <a:pt x="260" y="12"/>
                                      </a:lnTo>
                                      <a:lnTo>
                                        <a:pt x="260" y="12"/>
                                      </a:lnTo>
                                      <a:lnTo>
                                        <a:pt x="250" y="12"/>
                                      </a:lnTo>
                                      <a:lnTo>
                                        <a:pt x="244" y="12"/>
                                      </a:lnTo>
                                      <a:lnTo>
                                        <a:pt x="240" y="12"/>
                                      </a:lnTo>
                                      <a:lnTo>
                                        <a:pt x="234" y="12"/>
                                      </a:lnTo>
                                      <a:lnTo>
                                        <a:pt x="234" y="12"/>
                                      </a:lnTo>
                                      <a:lnTo>
                                        <a:pt x="204" y="22"/>
                                      </a:lnTo>
                                      <a:lnTo>
                                        <a:pt x="190" y="24"/>
                                      </a:lnTo>
                                      <a:lnTo>
                                        <a:pt x="184" y="22"/>
                                      </a:lnTo>
                                      <a:lnTo>
                                        <a:pt x="176" y="20"/>
                                      </a:lnTo>
                                      <a:lnTo>
                                        <a:pt x="176" y="20"/>
                                      </a:lnTo>
                                      <a:lnTo>
                                        <a:pt x="162" y="22"/>
                                      </a:lnTo>
                                      <a:lnTo>
                                        <a:pt x="160" y="22"/>
                                      </a:lnTo>
                                      <a:lnTo>
                                        <a:pt x="160" y="20"/>
                                      </a:lnTo>
                                      <a:lnTo>
                                        <a:pt x="160" y="20"/>
                                      </a:lnTo>
                                      <a:lnTo>
                                        <a:pt x="142" y="14"/>
                                      </a:lnTo>
                                      <a:lnTo>
                                        <a:pt x="134" y="10"/>
                                      </a:lnTo>
                                      <a:lnTo>
                                        <a:pt x="134" y="8"/>
                                      </a:lnTo>
                                      <a:lnTo>
                                        <a:pt x="134" y="8"/>
                                      </a:lnTo>
                                      <a:lnTo>
                                        <a:pt x="134" y="8"/>
                                      </a:lnTo>
                                      <a:lnTo>
                                        <a:pt x="60" y="8"/>
                                      </a:lnTo>
                                      <a:lnTo>
                                        <a:pt x="60" y="8"/>
                                      </a:lnTo>
                                      <a:lnTo>
                                        <a:pt x="48" y="6"/>
                                      </a:lnTo>
                                      <a:lnTo>
                                        <a:pt x="40" y="6"/>
                                      </a:lnTo>
                                      <a:lnTo>
                                        <a:pt x="32" y="2"/>
                                      </a:lnTo>
                                      <a:lnTo>
                                        <a:pt x="30" y="0"/>
                                      </a:lnTo>
                                      <a:lnTo>
                                        <a:pt x="24" y="2"/>
                                      </a:lnTo>
                                      <a:lnTo>
                                        <a:pt x="24" y="2"/>
                                      </a:lnTo>
                                      <a:lnTo>
                                        <a:pt x="18" y="6"/>
                                      </a:lnTo>
                                      <a:lnTo>
                                        <a:pt x="16" y="4"/>
                                      </a:lnTo>
                                      <a:lnTo>
                                        <a:pt x="12" y="6"/>
                                      </a:lnTo>
                                      <a:lnTo>
                                        <a:pt x="0" y="10"/>
                                      </a:lnTo>
                                      <a:lnTo>
                                        <a:pt x="0" y="1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0" name="Nepal"/>
                                <p:cNvSpPr>
                                  <a:spLocks/>
                                </p:cNvSpPr>
                                <p:nvPr/>
                              </p:nvSpPr>
                              <p:spPr bwMode="auto">
                                <a:xfrm>
                                  <a:off x="8237329" y="2541160"/>
                                  <a:ext cx="270350" cy="139602"/>
                                </a:xfrm>
                                <a:custGeom>
                                  <a:avLst/>
                                  <a:gdLst/>
                                  <a:ahLst/>
                                  <a:cxnLst>
                                    <a:cxn ang="0">
                                      <a:pos x="24" y="0"/>
                                    </a:cxn>
                                    <a:cxn ang="0">
                                      <a:pos x="36" y="2"/>
                                    </a:cxn>
                                    <a:cxn ang="0">
                                      <a:pos x="48" y="6"/>
                                    </a:cxn>
                                    <a:cxn ang="0">
                                      <a:pos x="52" y="8"/>
                                    </a:cxn>
                                    <a:cxn ang="0">
                                      <a:pos x="58" y="6"/>
                                    </a:cxn>
                                    <a:cxn ang="0">
                                      <a:pos x="70" y="8"/>
                                    </a:cxn>
                                    <a:cxn ang="0">
                                      <a:pos x="76" y="12"/>
                                    </a:cxn>
                                    <a:cxn ang="0">
                                      <a:pos x="100" y="26"/>
                                    </a:cxn>
                                    <a:cxn ang="0">
                                      <a:pos x="110" y="30"/>
                                    </a:cxn>
                                    <a:cxn ang="0">
                                      <a:pos x="112" y="34"/>
                                    </a:cxn>
                                    <a:cxn ang="0">
                                      <a:pos x="118" y="34"/>
                                    </a:cxn>
                                    <a:cxn ang="0">
                                      <a:pos x="126" y="36"/>
                                    </a:cxn>
                                    <a:cxn ang="0">
                                      <a:pos x="128" y="42"/>
                                    </a:cxn>
                                    <a:cxn ang="0">
                                      <a:pos x="132" y="42"/>
                                    </a:cxn>
                                    <a:cxn ang="0">
                                      <a:pos x="156" y="40"/>
                                    </a:cxn>
                                    <a:cxn ang="0">
                                      <a:pos x="176" y="46"/>
                                    </a:cxn>
                                    <a:cxn ang="0">
                                      <a:pos x="178" y="50"/>
                                    </a:cxn>
                                    <a:cxn ang="0">
                                      <a:pos x="172" y="60"/>
                                    </a:cxn>
                                    <a:cxn ang="0">
                                      <a:pos x="164" y="70"/>
                                    </a:cxn>
                                    <a:cxn ang="0">
                                      <a:pos x="166" y="72"/>
                                    </a:cxn>
                                    <a:cxn ang="0">
                                      <a:pos x="168" y="84"/>
                                    </a:cxn>
                                    <a:cxn ang="0">
                                      <a:pos x="164" y="92"/>
                                    </a:cxn>
                                    <a:cxn ang="0">
                                      <a:pos x="156" y="92"/>
                                    </a:cxn>
                                    <a:cxn ang="0">
                                      <a:pos x="150" y="92"/>
                                    </a:cxn>
                                    <a:cxn ang="0">
                                      <a:pos x="146" y="92"/>
                                    </a:cxn>
                                    <a:cxn ang="0">
                                      <a:pos x="138" y="90"/>
                                    </a:cxn>
                                    <a:cxn ang="0">
                                      <a:pos x="128" y="88"/>
                                    </a:cxn>
                                    <a:cxn ang="0">
                                      <a:pos x="122" y="88"/>
                                    </a:cxn>
                                    <a:cxn ang="0">
                                      <a:pos x="116" y="82"/>
                                    </a:cxn>
                                    <a:cxn ang="0">
                                      <a:pos x="112" y="82"/>
                                    </a:cxn>
                                    <a:cxn ang="0">
                                      <a:pos x="110" y="80"/>
                                    </a:cxn>
                                    <a:cxn ang="0">
                                      <a:pos x="102" y="72"/>
                                    </a:cxn>
                                    <a:cxn ang="0">
                                      <a:pos x="84" y="66"/>
                                    </a:cxn>
                                    <a:cxn ang="0">
                                      <a:pos x="76" y="66"/>
                                    </a:cxn>
                                    <a:cxn ang="0">
                                      <a:pos x="74" y="68"/>
                                    </a:cxn>
                                    <a:cxn ang="0">
                                      <a:pos x="70" y="68"/>
                                    </a:cxn>
                                    <a:cxn ang="0">
                                      <a:pos x="58" y="66"/>
                                    </a:cxn>
                                    <a:cxn ang="0">
                                      <a:pos x="54" y="64"/>
                                    </a:cxn>
                                    <a:cxn ang="0">
                                      <a:pos x="54" y="60"/>
                                    </a:cxn>
                                    <a:cxn ang="0">
                                      <a:pos x="40" y="56"/>
                                    </a:cxn>
                                    <a:cxn ang="0">
                                      <a:pos x="24" y="46"/>
                                    </a:cxn>
                                    <a:cxn ang="0">
                                      <a:pos x="20" y="42"/>
                                    </a:cxn>
                                    <a:cxn ang="0">
                                      <a:pos x="10" y="42"/>
                                    </a:cxn>
                                    <a:cxn ang="0">
                                      <a:pos x="4" y="38"/>
                                    </a:cxn>
                                    <a:cxn ang="0">
                                      <a:pos x="2" y="32"/>
                                    </a:cxn>
                                    <a:cxn ang="0">
                                      <a:pos x="14" y="22"/>
                                    </a:cxn>
                                    <a:cxn ang="0">
                                      <a:pos x="18" y="16"/>
                                    </a:cxn>
                                    <a:cxn ang="0">
                                      <a:pos x="16" y="12"/>
                                    </a:cxn>
                                    <a:cxn ang="0">
                                      <a:pos x="18" y="10"/>
                                    </a:cxn>
                                    <a:cxn ang="0">
                                      <a:pos x="24" y="0"/>
                                    </a:cxn>
                                  </a:cxnLst>
                                  <a:rect l="0" t="0" r="r" b="b"/>
                                  <a:pathLst>
                                    <a:path w="178" h="92">
                                      <a:moveTo>
                                        <a:pt x="24" y="0"/>
                                      </a:moveTo>
                                      <a:lnTo>
                                        <a:pt x="24" y="0"/>
                                      </a:lnTo>
                                      <a:lnTo>
                                        <a:pt x="30" y="2"/>
                                      </a:lnTo>
                                      <a:lnTo>
                                        <a:pt x="36" y="2"/>
                                      </a:lnTo>
                                      <a:lnTo>
                                        <a:pt x="42" y="2"/>
                                      </a:lnTo>
                                      <a:lnTo>
                                        <a:pt x="48" y="6"/>
                                      </a:lnTo>
                                      <a:lnTo>
                                        <a:pt x="48" y="6"/>
                                      </a:lnTo>
                                      <a:lnTo>
                                        <a:pt x="52" y="8"/>
                                      </a:lnTo>
                                      <a:lnTo>
                                        <a:pt x="54" y="8"/>
                                      </a:lnTo>
                                      <a:lnTo>
                                        <a:pt x="58" y="6"/>
                                      </a:lnTo>
                                      <a:lnTo>
                                        <a:pt x="64" y="6"/>
                                      </a:lnTo>
                                      <a:lnTo>
                                        <a:pt x="70" y="8"/>
                                      </a:lnTo>
                                      <a:lnTo>
                                        <a:pt x="76" y="12"/>
                                      </a:lnTo>
                                      <a:lnTo>
                                        <a:pt x="76" y="12"/>
                                      </a:lnTo>
                                      <a:lnTo>
                                        <a:pt x="92" y="22"/>
                                      </a:lnTo>
                                      <a:lnTo>
                                        <a:pt x="100" y="26"/>
                                      </a:lnTo>
                                      <a:lnTo>
                                        <a:pt x="106" y="26"/>
                                      </a:lnTo>
                                      <a:lnTo>
                                        <a:pt x="110" y="30"/>
                                      </a:lnTo>
                                      <a:lnTo>
                                        <a:pt x="110" y="30"/>
                                      </a:lnTo>
                                      <a:lnTo>
                                        <a:pt x="112" y="34"/>
                                      </a:lnTo>
                                      <a:lnTo>
                                        <a:pt x="114" y="36"/>
                                      </a:lnTo>
                                      <a:lnTo>
                                        <a:pt x="118" y="34"/>
                                      </a:lnTo>
                                      <a:lnTo>
                                        <a:pt x="124" y="34"/>
                                      </a:lnTo>
                                      <a:lnTo>
                                        <a:pt x="126" y="36"/>
                                      </a:lnTo>
                                      <a:lnTo>
                                        <a:pt x="128" y="42"/>
                                      </a:lnTo>
                                      <a:lnTo>
                                        <a:pt x="128" y="42"/>
                                      </a:lnTo>
                                      <a:lnTo>
                                        <a:pt x="130" y="42"/>
                                      </a:lnTo>
                                      <a:lnTo>
                                        <a:pt x="132" y="42"/>
                                      </a:lnTo>
                                      <a:lnTo>
                                        <a:pt x="140" y="40"/>
                                      </a:lnTo>
                                      <a:lnTo>
                                        <a:pt x="156" y="40"/>
                                      </a:lnTo>
                                      <a:lnTo>
                                        <a:pt x="164" y="42"/>
                                      </a:lnTo>
                                      <a:lnTo>
                                        <a:pt x="176" y="46"/>
                                      </a:lnTo>
                                      <a:lnTo>
                                        <a:pt x="176" y="46"/>
                                      </a:lnTo>
                                      <a:lnTo>
                                        <a:pt x="178" y="50"/>
                                      </a:lnTo>
                                      <a:lnTo>
                                        <a:pt x="178" y="54"/>
                                      </a:lnTo>
                                      <a:lnTo>
                                        <a:pt x="172" y="60"/>
                                      </a:lnTo>
                                      <a:lnTo>
                                        <a:pt x="166" y="66"/>
                                      </a:lnTo>
                                      <a:lnTo>
                                        <a:pt x="164" y="70"/>
                                      </a:lnTo>
                                      <a:lnTo>
                                        <a:pt x="166" y="72"/>
                                      </a:lnTo>
                                      <a:lnTo>
                                        <a:pt x="166" y="72"/>
                                      </a:lnTo>
                                      <a:lnTo>
                                        <a:pt x="168" y="78"/>
                                      </a:lnTo>
                                      <a:lnTo>
                                        <a:pt x="168" y="84"/>
                                      </a:lnTo>
                                      <a:lnTo>
                                        <a:pt x="166" y="88"/>
                                      </a:lnTo>
                                      <a:lnTo>
                                        <a:pt x="164" y="92"/>
                                      </a:lnTo>
                                      <a:lnTo>
                                        <a:pt x="164" y="92"/>
                                      </a:lnTo>
                                      <a:lnTo>
                                        <a:pt x="156" y="92"/>
                                      </a:lnTo>
                                      <a:lnTo>
                                        <a:pt x="152" y="92"/>
                                      </a:lnTo>
                                      <a:lnTo>
                                        <a:pt x="150" y="92"/>
                                      </a:lnTo>
                                      <a:lnTo>
                                        <a:pt x="146" y="92"/>
                                      </a:lnTo>
                                      <a:lnTo>
                                        <a:pt x="146" y="92"/>
                                      </a:lnTo>
                                      <a:lnTo>
                                        <a:pt x="140" y="92"/>
                                      </a:lnTo>
                                      <a:lnTo>
                                        <a:pt x="138" y="90"/>
                                      </a:lnTo>
                                      <a:lnTo>
                                        <a:pt x="136" y="88"/>
                                      </a:lnTo>
                                      <a:lnTo>
                                        <a:pt x="128" y="88"/>
                                      </a:lnTo>
                                      <a:lnTo>
                                        <a:pt x="128" y="88"/>
                                      </a:lnTo>
                                      <a:lnTo>
                                        <a:pt x="122" y="88"/>
                                      </a:lnTo>
                                      <a:lnTo>
                                        <a:pt x="118" y="84"/>
                                      </a:lnTo>
                                      <a:lnTo>
                                        <a:pt x="116" y="82"/>
                                      </a:lnTo>
                                      <a:lnTo>
                                        <a:pt x="112" y="82"/>
                                      </a:lnTo>
                                      <a:lnTo>
                                        <a:pt x="112" y="82"/>
                                      </a:lnTo>
                                      <a:lnTo>
                                        <a:pt x="110" y="82"/>
                                      </a:lnTo>
                                      <a:lnTo>
                                        <a:pt x="110" y="80"/>
                                      </a:lnTo>
                                      <a:lnTo>
                                        <a:pt x="108" y="76"/>
                                      </a:lnTo>
                                      <a:lnTo>
                                        <a:pt x="102" y="72"/>
                                      </a:lnTo>
                                      <a:lnTo>
                                        <a:pt x="102" y="72"/>
                                      </a:lnTo>
                                      <a:lnTo>
                                        <a:pt x="84" y="66"/>
                                      </a:lnTo>
                                      <a:lnTo>
                                        <a:pt x="78" y="66"/>
                                      </a:lnTo>
                                      <a:lnTo>
                                        <a:pt x="76" y="66"/>
                                      </a:lnTo>
                                      <a:lnTo>
                                        <a:pt x="74" y="68"/>
                                      </a:lnTo>
                                      <a:lnTo>
                                        <a:pt x="74" y="68"/>
                                      </a:lnTo>
                                      <a:lnTo>
                                        <a:pt x="74" y="68"/>
                                      </a:lnTo>
                                      <a:lnTo>
                                        <a:pt x="70" y="68"/>
                                      </a:lnTo>
                                      <a:lnTo>
                                        <a:pt x="58" y="66"/>
                                      </a:lnTo>
                                      <a:lnTo>
                                        <a:pt x="58" y="66"/>
                                      </a:lnTo>
                                      <a:lnTo>
                                        <a:pt x="54" y="66"/>
                                      </a:lnTo>
                                      <a:lnTo>
                                        <a:pt x="54" y="64"/>
                                      </a:lnTo>
                                      <a:lnTo>
                                        <a:pt x="56" y="62"/>
                                      </a:lnTo>
                                      <a:lnTo>
                                        <a:pt x="54" y="60"/>
                                      </a:lnTo>
                                      <a:lnTo>
                                        <a:pt x="54" y="60"/>
                                      </a:lnTo>
                                      <a:lnTo>
                                        <a:pt x="40" y="56"/>
                                      </a:lnTo>
                                      <a:lnTo>
                                        <a:pt x="32" y="52"/>
                                      </a:lnTo>
                                      <a:lnTo>
                                        <a:pt x="24" y="46"/>
                                      </a:lnTo>
                                      <a:lnTo>
                                        <a:pt x="24" y="46"/>
                                      </a:lnTo>
                                      <a:lnTo>
                                        <a:pt x="20" y="42"/>
                                      </a:lnTo>
                                      <a:lnTo>
                                        <a:pt x="16" y="42"/>
                                      </a:lnTo>
                                      <a:lnTo>
                                        <a:pt x="10" y="42"/>
                                      </a:lnTo>
                                      <a:lnTo>
                                        <a:pt x="4" y="38"/>
                                      </a:lnTo>
                                      <a:lnTo>
                                        <a:pt x="4" y="38"/>
                                      </a:lnTo>
                                      <a:lnTo>
                                        <a:pt x="0" y="36"/>
                                      </a:lnTo>
                                      <a:lnTo>
                                        <a:pt x="2" y="32"/>
                                      </a:lnTo>
                                      <a:lnTo>
                                        <a:pt x="8" y="28"/>
                                      </a:lnTo>
                                      <a:lnTo>
                                        <a:pt x="14" y="22"/>
                                      </a:lnTo>
                                      <a:lnTo>
                                        <a:pt x="14" y="22"/>
                                      </a:lnTo>
                                      <a:lnTo>
                                        <a:pt x="18" y="16"/>
                                      </a:lnTo>
                                      <a:lnTo>
                                        <a:pt x="18" y="14"/>
                                      </a:lnTo>
                                      <a:lnTo>
                                        <a:pt x="16" y="12"/>
                                      </a:lnTo>
                                      <a:lnTo>
                                        <a:pt x="18" y="10"/>
                                      </a:lnTo>
                                      <a:lnTo>
                                        <a:pt x="18" y="10"/>
                                      </a:lnTo>
                                      <a:lnTo>
                                        <a:pt x="22" y="2"/>
                                      </a:lnTo>
                                      <a:lnTo>
                                        <a:pt x="24" y="0"/>
                                      </a:lnTo>
                                      <a:lnTo>
                                        <a:pt x="24" y="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1" name="Nicaragua"/>
                                <p:cNvSpPr>
                                  <a:spLocks/>
                                </p:cNvSpPr>
                                <p:nvPr/>
                              </p:nvSpPr>
                              <p:spPr bwMode="auto">
                                <a:xfrm>
                                  <a:off x="2995908" y="3102604"/>
                                  <a:ext cx="148845" cy="172986"/>
                                </a:xfrm>
                                <a:custGeom>
                                  <a:avLst/>
                                  <a:gdLst/>
                                  <a:ahLst/>
                                  <a:cxnLst>
                                    <a:cxn ang="0">
                                      <a:pos x="6" y="54"/>
                                    </a:cxn>
                                    <a:cxn ang="0">
                                      <a:pos x="16" y="44"/>
                                    </a:cxn>
                                    <a:cxn ang="0">
                                      <a:pos x="16" y="40"/>
                                    </a:cxn>
                                    <a:cxn ang="0">
                                      <a:pos x="18" y="38"/>
                                    </a:cxn>
                                    <a:cxn ang="0">
                                      <a:pos x="22" y="40"/>
                                    </a:cxn>
                                    <a:cxn ang="0">
                                      <a:pos x="24" y="40"/>
                                    </a:cxn>
                                    <a:cxn ang="0">
                                      <a:pos x="26" y="36"/>
                                    </a:cxn>
                                    <a:cxn ang="0">
                                      <a:pos x="28" y="32"/>
                                    </a:cxn>
                                    <a:cxn ang="0">
                                      <a:pos x="32" y="30"/>
                                    </a:cxn>
                                    <a:cxn ang="0">
                                      <a:pos x="38" y="30"/>
                                    </a:cxn>
                                    <a:cxn ang="0">
                                      <a:pos x="44" y="26"/>
                                    </a:cxn>
                                    <a:cxn ang="0">
                                      <a:pos x="54" y="20"/>
                                    </a:cxn>
                                    <a:cxn ang="0">
                                      <a:pos x="56" y="16"/>
                                    </a:cxn>
                                    <a:cxn ang="0">
                                      <a:pos x="56" y="12"/>
                                    </a:cxn>
                                    <a:cxn ang="0">
                                      <a:pos x="60" y="12"/>
                                    </a:cxn>
                                    <a:cxn ang="0">
                                      <a:pos x="62" y="10"/>
                                    </a:cxn>
                                    <a:cxn ang="0">
                                      <a:pos x="66" y="8"/>
                                    </a:cxn>
                                    <a:cxn ang="0">
                                      <a:pos x="72" y="10"/>
                                    </a:cxn>
                                    <a:cxn ang="0">
                                      <a:pos x="78" y="10"/>
                                    </a:cxn>
                                    <a:cxn ang="0">
                                      <a:pos x="86" y="6"/>
                                    </a:cxn>
                                    <a:cxn ang="0">
                                      <a:pos x="92" y="2"/>
                                    </a:cxn>
                                    <a:cxn ang="0">
                                      <a:pos x="98" y="0"/>
                                    </a:cxn>
                                    <a:cxn ang="0">
                                      <a:pos x="98" y="2"/>
                                    </a:cxn>
                                    <a:cxn ang="0">
                                      <a:pos x="94" y="6"/>
                                    </a:cxn>
                                    <a:cxn ang="0">
                                      <a:pos x="96" y="10"/>
                                    </a:cxn>
                                    <a:cxn ang="0">
                                      <a:pos x="96" y="10"/>
                                    </a:cxn>
                                    <a:cxn ang="0">
                                      <a:pos x="96" y="18"/>
                                    </a:cxn>
                                    <a:cxn ang="0">
                                      <a:pos x="90" y="28"/>
                                    </a:cxn>
                                    <a:cxn ang="0">
                                      <a:pos x="92" y="28"/>
                                    </a:cxn>
                                    <a:cxn ang="0">
                                      <a:pos x="88" y="42"/>
                                    </a:cxn>
                                    <a:cxn ang="0">
                                      <a:pos x="86" y="52"/>
                                    </a:cxn>
                                    <a:cxn ang="0">
                                      <a:pos x="86" y="58"/>
                                    </a:cxn>
                                    <a:cxn ang="0">
                                      <a:pos x="84" y="64"/>
                                    </a:cxn>
                                    <a:cxn ang="0">
                                      <a:pos x="82" y="64"/>
                                    </a:cxn>
                                    <a:cxn ang="0">
                                      <a:pos x="84" y="68"/>
                                    </a:cxn>
                                    <a:cxn ang="0">
                                      <a:pos x="84" y="72"/>
                                    </a:cxn>
                                    <a:cxn ang="0">
                                      <a:pos x="84" y="74"/>
                                    </a:cxn>
                                    <a:cxn ang="0">
                                      <a:pos x="82" y="74"/>
                                    </a:cxn>
                                    <a:cxn ang="0">
                                      <a:pos x="82" y="78"/>
                                    </a:cxn>
                                    <a:cxn ang="0">
                                      <a:pos x="84" y="80"/>
                                    </a:cxn>
                                    <a:cxn ang="0">
                                      <a:pos x="84" y="84"/>
                                    </a:cxn>
                                    <a:cxn ang="0">
                                      <a:pos x="82" y="90"/>
                                    </a:cxn>
                                    <a:cxn ang="0">
                                      <a:pos x="80" y="92"/>
                                    </a:cxn>
                                    <a:cxn ang="0">
                                      <a:pos x="78" y="100"/>
                                    </a:cxn>
                                    <a:cxn ang="0">
                                      <a:pos x="82" y="112"/>
                                    </a:cxn>
                                    <a:cxn ang="0">
                                      <a:pos x="74" y="114"/>
                                    </a:cxn>
                                    <a:cxn ang="0">
                                      <a:pos x="68" y="114"/>
                                    </a:cxn>
                                    <a:cxn ang="0">
                                      <a:pos x="64" y="114"/>
                                    </a:cxn>
                                    <a:cxn ang="0">
                                      <a:pos x="54" y="108"/>
                                    </a:cxn>
                                    <a:cxn ang="0">
                                      <a:pos x="48" y="110"/>
                                    </a:cxn>
                                    <a:cxn ang="0">
                                      <a:pos x="40" y="108"/>
                                    </a:cxn>
                                    <a:cxn ang="0">
                                      <a:pos x="32" y="110"/>
                                    </a:cxn>
                                    <a:cxn ang="0">
                                      <a:pos x="28" y="106"/>
                                    </a:cxn>
                                    <a:cxn ang="0">
                                      <a:pos x="28" y="100"/>
                                    </a:cxn>
                                    <a:cxn ang="0">
                                      <a:pos x="22" y="94"/>
                                    </a:cxn>
                                    <a:cxn ang="0">
                                      <a:pos x="14" y="86"/>
                                    </a:cxn>
                                    <a:cxn ang="0">
                                      <a:pos x="8" y="68"/>
                                    </a:cxn>
                                    <a:cxn ang="0">
                                      <a:pos x="2" y="60"/>
                                    </a:cxn>
                                    <a:cxn ang="0">
                                      <a:pos x="0" y="52"/>
                                    </a:cxn>
                                    <a:cxn ang="0">
                                      <a:pos x="6" y="54"/>
                                    </a:cxn>
                                  </a:cxnLst>
                                  <a:rect l="0" t="0" r="r" b="b"/>
                                  <a:pathLst>
                                    <a:path w="98" h="114">
                                      <a:moveTo>
                                        <a:pt x="6" y="54"/>
                                      </a:moveTo>
                                      <a:lnTo>
                                        <a:pt x="6" y="54"/>
                                      </a:lnTo>
                                      <a:lnTo>
                                        <a:pt x="14" y="48"/>
                                      </a:lnTo>
                                      <a:lnTo>
                                        <a:pt x="16" y="44"/>
                                      </a:lnTo>
                                      <a:lnTo>
                                        <a:pt x="14" y="42"/>
                                      </a:lnTo>
                                      <a:lnTo>
                                        <a:pt x="16" y="40"/>
                                      </a:lnTo>
                                      <a:lnTo>
                                        <a:pt x="16" y="40"/>
                                      </a:lnTo>
                                      <a:lnTo>
                                        <a:pt x="18" y="38"/>
                                      </a:lnTo>
                                      <a:lnTo>
                                        <a:pt x="20" y="40"/>
                                      </a:lnTo>
                                      <a:lnTo>
                                        <a:pt x="22" y="40"/>
                                      </a:lnTo>
                                      <a:lnTo>
                                        <a:pt x="24" y="40"/>
                                      </a:lnTo>
                                      <a:lnTo>
                                        <a:pt x="24" y="40"/>
                                      </a:lnTo>
                                      <a:lnTo>
                                        <a:pt x="26" y="38"/>
                                      </a:lnTo>
                                      <a:lnTo>
                                        <a:pt x="26" y="36"/>
                                      </a:lnTo>
                                      <a:lnTo>
                                        <a:pt x="26" y="34"/>
                                      </a:lnTo>
                                      <a:lnTo>
                                        <a:pt x="28" y="32"/>
                                      </a:lnTo>
                                      <a:lnTo>
                                        <a:pt x="28" y="32"/>
                                      </a:lnTo>
                                      <a:lnTo>
                                        <a:pt x="32" y="30"/>
                                      </a:lnTo>
                                      <a:lnTo>
                                        <a:pt x="34" y="30"/>
                                      </a:lnTo>
                                      <a:lnTo>
                                        <a:pt x="38" y="30"/>
                                      </a:lnTo>
                                      <a:lnTo>
                                        <a:pt x="44" y="26"/>
                                      </a:lnTo>
                                      <a:lnTo>
                                        <a:pt x="44" y="26"/>
                                      </a:lnTo>
                                      <a:lnTo>
                                        <a:pt x="48" y="20"/>
                                      </a:lnTo>
                                      <a:lnTo>
                                        <a:pt x="54" y="20"/>
                                      </a:lnTo>
                                      <a:lnTo>
                                        <a:pt x="56" y="20"/>
                                      </a:lnTo>
                                      <a:lnTo>
                                        <a:pt x="56" y="16"/>
                                      </a:lnTo>
                                      <a:lnTo>
                                        <a:pt x="56" y="16"/>
                                      </a:lnTo>
                                      <a:lnTo>
                                        <a:pt x="56" y="12"/>
                                      </a:lnTo>
                                      <a:lnTo>
                                        <a:pt x="58" y="12"/>
                                      </a:lnTo>
                                      <a:lnTo>
                                        <a:pt x="60" y="12"/>
                                      </a:lnTo>
                                      <a:lnTo>
                                        <a:pt x="62" y="10"/>
                                      </a:lnTo>
                                      <a:lnTo>
                                        <a:pt x="62" y="10"/>
                                      </a:lnTo>
                                      <a:lnTo>
                                        <a:pt x="62" y="8"/>
                                      </a:lnTo>
                                      <a:lnTo>
                                        <a:pt x="66" y="8"/>
                                      </a:lnTo>
                                      <a:lnTo>
                                        <a:pt x="68" y="10"/>
                                      </a:lnTo>
                                      <a:lnTo>
                                        <a:pt x="72" y="10"/>
                                      </a:lnTo>
                                      <a:lnTo>
                                        <a:pt x="72" y="10"/>
                                      </a:lnTo>
                                      <a:lnTo>
                                        <a:pt x="78" y="10"/>
                                      </a:lnTo>
                                      <a:lnTo>
                                        <a:pt x="82" y="8"/>
                                      </a:lnTo>
                                      <a:lnTo>
                                        <a:pt x="86" y="6"/>
                                      </a:lnTo>
                                      <a:lnTo>
                                        <a:pt x="86" y="6"/>
                                      </a:lnTo>
                                      <a:lnTo>
                                        <a:pt x="92" y="2"/>
                                      </a:lnTo>
                                      <a:lnTo>
                                        <a:pt x="98" y="0"/>
                                      </a:lnTo>
                                      <a:lnTo>
                                        <a:pt x="98" y="0"/>
                                      </a:lnTo>
                                      <a:lnTo>
                                        <a:pt x="98" y="0"/>
                                      </a:lnTo>
                                      <a:lnTo>
                                        <a:pt x="98" y="2"/>
                                      </a:lnTo>
                                      <a:lnTo>
                                        <a:pt x="96" y="4"/>
                                      </a:lnTo>
                                      <a:lnTo>
                                        <a:pt x="94" y="6"/>
                                      </a:lnTo>
                                      <a:lnTo>
                                        <a:pt x="94" y="8"/>
                                      </a:lnTo>
                                      <a:lnTo>
                                        <a:pt x="96" y="10"/>
                                      </a:lnTo>
                                      <a:lnTo>
                                        <a:pt x="96" y="10"/>
                                      </a:lnTo>
                                      <a:lnTo>
                                        <a:pt x="96" y="10"/>
                                      </a:lnTo>
                                      <a:lnTo>
                                        <a:pt x="98" y="12"/>
                                      </a:lnTo>
                                      <a:lnTo>
                                        <a:pt x="96" y="18"/>
                                      </a:lnTo>
                                      <a:lnTo>
                                        <a:pt x="94" y="24"/>
                                      </a:lnTo>
                                      <a:lnTo>
                                        <a:pt x="90" y="28"/>
                                      </a:lnTo>
                                      <a:lnTo>
                                        <a:pt x="90" y="28"/>
                                      </a:lnTo>
                                      <a:lnTo>
                                        <a:pt x="92" y="28"/>
                                      </a:lnTo>
                                      <a:lnTo>
                                        <a:pt x="92" y="32"/>
                                      </a:lnTo>
                                      <a:lnTo>
                                        <a:pt x="88" y="42"/>
                                      </a:lnTo>
                                      <a:lnTo>
                                        <a:pt x="88" y="42"/>
                                      </a:lnTo>
                                      <a:lnTo>
                                        <a:pt x="86" y="52"/>
                                      </a:lnTo>
                                      <a:lnTo>
                                        <a:pt x="86" y="58"/>
                                      </a:lnTo>
                                      <a:lnTo>
                                        <a:pt x="86" y="58"/>
                                      </a:lnTo>
                                      <a:lnTo>
                                        <a:pt x="86" y="60"/>
                                      </a:lnTo>
                                      <a:lnTo>
                                        <a:pt x="84" y="64"/>
                                      </a:lnTo>
                                      <a:lnTo>
                                        <a:pt x="82" y="64"/>
                                      </a:lnTo>
                                      <a:lnTo>
                                        <a:pt x="82" y="64"/>
                                      </a:lnTo>
                                      <a:lnTo>
                                        <a:pt x="84" y="64"/>
                                      </a:lnTo>
                                      <a:lnTo>
                                        <a:pt x="84" y="68"/>
                                      </a:lnTo>
                                      <a:lnTo>
                                        <a:pt x="84" y="68"/>
                                      </a:lnTo>
                                      <a:lnTo>
                                        <a:pt x="84" y="72"/>
                                      </a:lnTo>
                                      <a:lnTo>
                                        <a:pt x="84" y="74"/>
                                      </a:lnTo>
                                      <a:lnTo>
                                        <a:pt x="84" y="74"/>
                                      </a:lnTo>
                                      <a:lnTo>
                                        <a:pt x="84" y="74"/>
                                      </a:lnTo>
                                      <a:lnTo>
                                        <a:pt x="82" y="74"/>
                                      </a:lnTo>
                                      <a:lnTo>
                                        <a:pt x="80" y="76"/>
                                      </a:lnTo>
                                      <a:lnTo>
                                        <a:pt x="82" y="78"/>
                                      </a:lnTo>
                                      <a:lnTo>
                                        <a:pt x="84" y="80"/>
                                      </a:lnTo>
                                      <a:lnTo>
                                        <a:pt x="84" y="80"/>
                                      </a:lnTo>
                                      <a:lnTo>
                                        <a:pt x="84" y="82"/>
                                      </a:lnTo>
                                      <a:lnTo>
                                        <a:pt x="84" y="84"/>
                                      </a:lnTo>
                                      <a:lnTo>
                                        <a:pt x="84" y="88"/>
                                      </a:lnTo>
                                      <a:lnTo>
                                        <a:pt x="82" y="90"/>
                                      </a:lnTo>
                                      <a:lnTo>
                                        <a:pt x="82" y="90"/>
                                      </a:lnTo>
                                      <a:lnTo>
                                        <a:pt x="80" y="92"/>
                                      </a:lnTo>
                                      <a:lnTo>
                                        <a:pt x="78" y="94"/>
                                      </a:lnTo>
                                      <a:lnTo>
                                        <a:pt x="78" y="100"/>
                                      </a:lnTo>
                                      <a:lnTo>
                                        <a:pt x="82" y="112"/>
                                      </a:lnTo>
                                      <a:lnTo>
                                        <a:pt x="82" y="112"/>
                                      </a:lnTo>
                                      <a:lnTo>
                                        <a:pt x="76" y="114"/>
                                      </a:lnTo>
                                      <a:lnTo>
                                        <a:pt x="74" y="114"/>
                                      </a:lnTo>
                                      <a:lnTo>
                                        <a:pt x="72" y="112"/>
                                      </a:lnTo>
                                      <a:lnTo>
                                        <a:pt x="68" y="114"/>
                                      </a:lnTo>
                                      <a:lnTo>
                                        <a:pt x="68" y="114"/>
                                      </a:lnTo>
                                      <a:lnTo>
                                        <a:pt x="64" y="114"/>
                                      </a:lnTo>
                                      <a:lnTo>
                                        <a:pt x="60" y="110"/>
                                      </a:lnTo>
                                      <a:lnTo>
                                        <a:pt x="54" y="108"/>
                                      </a:lnTo>
                                      <a:lnTo>
                                        <a:pt x="48" y="110"/>
                                      </a:lnTo>
                                      <a:lnTo>
                                        <a:pt x="48" y="110"/>
                                      </a:lnTo>
                                      <a:lnTo>
                                        <a:pt x="44" y="110"/>
                                      </a:lnTo>
                                      <a:lnTo>
                                        <a:pt x="40" y="108"/>
                                      </a:lnTo>
                                      <a:lnTo>
                                        <a:pt x="36" y="108"/>
                                      </a:lnTo>
                                      <a:lnTo>
                                        <a:pt x="32" y="110"/>
                                      </a:lnTo>
                                      <a:lnTo>
                                        <a:pt x="32" y="110"/>
                                      </a:lnTo>
                                      <a:lnTo>
                                        <a:pt x="28" y="106"/>
                                      </a:lnTo>
                                      <a:lnTo>
                                        <a:pt x="28" y="102"/>
                                      </a:lnTo>
                                      <a:lnTo>
                                        <a:pt x="28" y="100"/>
                                      </a:lnTo>
                                      <a:lnTo>
                                        <a:pt x="22" y="94"/>
                                      </a:lnTo>
                                      <a:lnTo>
                                        <a:pt x="22" y="94"/>
                                      </a:lnTo>
                                      <a:lnTo>
                                        <a:pt x="18" y="90"/>
                                      </a:lnTo>
                                      <a:lnTo>
                                        <a:pt x="14" y="86"/>
                                      </a:lnTo>
                                      <a:lnTo>
                                        <a:pt x="10" y="78"/>
                                      </a:lnTo>
                                      <a:lnTo>
                                        <a:pt x="8" y="68"/>
                                      </a:lnTo>
                                      <a:lnTo>
                                        <a:pt x="2" y="60"/>
                                      </a:lnTo>
                                      <a:lnTo>
                                        <a:pt x="2" y="60"/>
                                      </a:lnTo>
                                      <a:lnTo>
                                        <a:pt x="0" y="54"/>
                                      </a:lnTo>
                                      <a:lnTo>
                                        <a:pt x="0" y="52"/>
                                      </a:lnTo>
                                      <a:lnTo>
                                        <a:pt x="4" y="52"/>
                                      </a:lnTo>
                                      <a:lnTo>
                                        <a:pt x="6" y="54"/>
                                      </a:lnTo>
                                      <a:lnTo>
                                        <a:pt x="6" y="54"/>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2" name="Niger"/>
                                <p:cNvSpPr>
                                  <a:spLocks/>
                                </p:cNvSpPr>
                                <p:nvPr/>
                              </p:nvSpPr>
                              <p:spPr bwMode="auto">
                                <a:xfrm>
                                  <a:off x="5790539" y="2738424"/>
                                  <a:ext cx="495136" cy="485573"/>
                                </a:xfrm>
                                <a:custGeom>
                                  <a:avLst/>
                                  <a:gdLst/>
                                  <a:ahLst/>
                                  <a:cxnLst>
                                    <a:cxn ang="0">
                                      <a:pos x="4" y="248"/>
                                    </a:cxn>
                                    <a:cxn ang="0">
                                      <a:pos x="8" y="246"/>
                                    </a:cxn>
                                    <a:cxn ang="0">
                                      <a:pos x="18" y="242"/>
                                    </a:cxn>
                                    <a:cxn ang="0">
                                      <a:pos x="28" y="234"/>
                                    </a:cxn>
                                    <a:cxn ang="0">
                                      <a:pos x="48" y="232"/>
                                    </a:cxn>
                                    <a:cxn ang="0">
                                      <a:pos x="56" y="228"/>
                                    </a:cxn>
                                    <a:cxn ang="0">
                                      <a:pos x="76" y="220"/>
                                    </a:cxn>
                                    <a:cxn ang="0">
                                      <a:pos x="78" y="216"/>
                                    </a:cxn>
                                    <a:cxn ang="0">
                                      <a:pos x="82" y="198"/>
                                    </a:cxn>
                                    <a:cxn ang="0">
                                      <a:pos x="82" y="192"/>
                                    </a:cxn>
                                    <a:cxn ang="0">
                                      <a:pos x="84" y="188"/>
                                    </a:cxn>
                                    <a:cxn ang="0">
                                      <a:pos x="106" y="130"/>
                                    </a:cxn>
                                    <a:cxn ang="0">
                                      <a:pos x="112" y="128"/>
                                    </a:cxn>
                                    <a:cxn ang="0">
                                      <a:pos x="130" y="110"/>
                                    </a:cxn>
                                    <a:cxn ang="0">
                                      <a:pos x="148" y="94"/>
                                    </a:cxn>
                                    <a:cxn ang="0">
                                      <a:pos x="236" y="0"/>
                                    </a:cxn>
                                    <a:cxn ang="0">
                                      <a:pos x="302" y="14"/>
                                    </a:cxn>
                                    <a:cxn ang="0">
                                      <a:pos x="306" y="50"/>
                                    </a:cxn>
                                    <a:cxn ang="0">
                                      <a:pos x="306" y="66"/>
                                    </a:cxn>
                                    <a:cxn ang="0">
                                      <a:pos x="310" y="82"/>
                                    </a:cxn>
                                    <a:cxn ang="0">
                                      <a:pos x="314" y="90"/>
                                    </a:cxn>
                                    <a:cxn ang="0">
                                      <a:pos x="326" y="98"/>
                                    </a:cxn>
                                    <a:cxn ang="0">
                                      <a:pos x="324" y="106"/>
                                    </a:cxn>
                                    <a:cxn ang="0">
                                      <a:pos x="316" y="120"/>
                                    </a:cxn>
                                    <a:cxn ang="0">
                                      <a:pos x="316" y="180"/>
                                    </a:cxn>
                                    <a:cxn ang="0">
                                      <a:pos x="300" y="222"/>
                                    </a:cxn>
                                    <a:cxn ang="0">
                                      <a:pos x="290" y="234"/>
                                    </a:cxn>
                                    <a:cxn ang="0">
                                      <a:pos x="286" y="240"/>
                                    </a:cxn>
                                    <a:cxn ang="0">
                                      <a:pos x="282" y="252"/>
                                    </a:cxn>
                                    <a:cxn ang="0">
                                      <a:pos x="278" y="256"/>
                                    </a:cxn>
                                    <a:cxn ang="0">
                                      <a:pos x="274" y="270"/>
                                    </a:cxn>
                                    <a:cxn ang="0">
                                      <a:pos x="264" y="272"/>
                                    </a:cxn>
                                    <a:cxn ang="0">
                                      <a:pos x="264" y="278"/>
                                    </a:cxn>
                                    <a:cxn ang="0">
                                      <a:pos x="254" y="278"/>
                                    </a:cxn>
                                    <a:cxn ang="0">
                                      <a:pos x="212" y="280"/>
                                    </a:cxn>
                                    <a:cxn ang="0">
                                      <a:pos x="206" y="284"/>
                                    </a:cxn>
                                    <a:cxn ang="0">
                                      <a:pos x="190" y="290"/>
                                    </a:cxn>
                                    <a:cxn ang="0">
                                      <a:pos x="164" y="284"/>
                                    </a:cxn>
                                    <a:cxn ang="0">
                                      <a:pos x="154" y="278"/>
                                    </a:cxn>
                                    <a:cxn ang="0">
                                      <a:pos x="150" y="282"/>
                                    </a:cxn>
                                    <a:cxn ang="0">
                                      <a:pos x="144" y="280"/>
                                    </a:cxn>
                                    <a:cxn ang="0">
                                      <a:pos x="136" y="278"/>
                                    </a:cxn>
                                    <a:cxn ang="0">
                                      <a:pos x="130" y="270"/>
                                    </a:cxn>
                                    <a:cxn ang="0">
                                      <a:pos x="124" y="268"/>
                                    </a:cxn>
                                    <a:cxn ang="0">
                                      <a:pos x="114" y="268"/>
                                    </a:cxn>
                                    <a:cxn ang="0">
                                      <a:pos x="106" y="268"/>
                                    </a:cxn>
                                    <a:cxn ang="0">
                                      <a:pos x="102" y="266"/>
                                    </a:cxn>
                                    <a:cxn ang="0">
                                      <a:pos x="90" y="270"/>
                                    </a:cxn>
                                    <a:cxn ang="0">
                                      <a:pos x="80" y="286"/>
                                    </a:cxn>
                                    <a:cxn ang="0">
                                      <a:pos x="72" y="296"/>
                                    </a:cxn>
                                    <a:cxn ang="0">
                                      <a:pos x="72" y="314"/>
                                    </a:cxn>
                                    <a:cxn ang="0">
                                      <a:pos x="62" y="312"/>
                                    </a:cxn>
                                    <a:cxn ang="0">
                                      <a:pos x="44" y="316"/>
                                    </a:cxn>
                                    <a:cxn ang="0">
                                      <a:pos x="40" y="306"/>
                                    </a:cxn>
                                    <a:cxn ang="0">
                                      <a:pos x="40" y="304"/>
                                    </a:cxn>
                                    <a:cxn ang="0">
                                      <a:pos x="34" y="302"/>
                                    </a:cxn>
                                    <a:cxn ang="0">
                                      <a:pos x="18" y="294"/>
                                    </a:cxn>
                                    <a:cxn ang="0">
                                      <a:pos x="12" y="284"/>
                                    </a:cxn>
                                    <a:cxn ang="0">
                                      <a:pos x="16" y="278"/>
                                    </a:cxn>
                                    <a:cxn ang="0">
                                      <a:pos x="8" y="276"/>
                                    </a:cxn>
                                    <a:cxn ang="0">
                                      <a:pos x="0" y="258"/>
                                    </a:cxn>
                                  </a:cxnLst>
                                  <a:rect l="0" t="0" r="r" b="b"/>
                                  <a:pathLst>
                                    <a:path w="326" h="320">
                                      <a:moveTo>
                                        <a:pt x="0" y="248"/>
                                      </a:moveTo>
                                      <a:lnTo>
                                        <a:pt x="0" y="248"/>
                                      </a:lnTo>
                                      <a:lnTo>
                                        <a:pt x="4" y="248"/>
                                      </a:lnTo>
                                      <a:lnTo>
                                        <a:pt x="6" y="248"/>
                                      </a:lnTo>
                                      <a:lnTo>
                                        <a:pt x="8" y="246"/>
                                      </a:lnTo>
                                      <a:lnTo>
                                        <a:pt x="8" y="246"/>
                                      </a:lnTo>
                                      <a:lnTo>
                                        <a:pt x="10" y="244"/>
                                      </a:lnTo>
                                      <a:lnTo>
                                        <a:pt x="14" y="244"/>
                                      </a:lnTo>
                                      <a:lnTo>
                                        <a:pt x="18" y="242"/>
                                      </a:lnTo>
                                      <a:lnTo>
                                        <a:pt x="24" y="238"/>
                                      </a:lnTo>
                                      <a:lnTo>
                                        <a:pt x="24" y="238"/>
                                      </a:lnTo>
                                      <a:lnTo>
                                        <a:pt x="28" y="234"/>
                                      </a:lnTo>
                                      <a:lnTo>
                                        <a:pt x="30" y="232"/>
                                      </a:lnTo>
                                      <a:lnTo>
                                        <a:pt x="38" y="232"/>
                                      </a:lnTo>
                                      <a:lnTo>
                                        <a:pt x="48" y="232"/>
                                      </a:lnTo>
                                      <a:lnTo>
                                        <a:pt x="52" y="232"/>
                                      </a:lnTo>
                                      <a:lnTo>
                                        <a:pt x="56" y="228"/>
                                      </a:lnTo>
                                      <a:lnTo>
                                        <a:pt x="56" y="228"/>
                                      </a:lnTo>
                                      <a:lnTo>
                                        <a:pt x="62" y="226"/>
                                      </a:lnTo>
                                      <a:lnTo>
                                        <a:pt x="70" y="222"/>
                                      </a:lnTo>
                                      <a:lnTo>
                                        <a:pt x="76" y="220"/>
                                      </a:lnTo>
                                      <a:lnTo>
                                        <a:pt x="76" y="218"/>
                                      </a:lnTo>
                                      <a:lnTo>
                                        <a:pt x="78" y="216"/>
                                      </a:lnTo>
                                      <a:lnTo>
                                        <a:pt x="78" y="216"/>
                                      </a:lnTo>
                                      <a:lnTo>
                                        <a:pt x="80" y="210"/>
                                      </a:lnTo>
                                      <a:lnTo>
                                        <a:pt x="80" y="206"/>
                                      </a:lnTo>
                                      <a:lnTo>
                                        <a:pt x="82" y="198"/>
                                      </a:lnTo>
                                      <a:lnTo>
                                        <a:pt x="82" y="198"/>
                                      </a:lnTo>
                                      <a:lnTo>
                                        <a:pt x="82" y="194"/>
                                      </a:lnTo>
                                      <a:lnTo>
                                        <a:pt x="82" y="192"/>
                                      </a:lnTo>
                                      <a:lnTo>
                                        <a:pt x="84" y="192"/>
                                      </a:lnTo>
                                      <a:lnTo>
                                        <a:pt x="84" y="188"/>
                                      </a:lnTo>
                                      <a:lnTo>
                                        <a:pt x="84" y="188"/>
                                      </a:lnTo>
                                      <a:lnTo>
                                        <a:pt x="84" y="138"/>
                                      </a:lnTo>
                                      <a:lnTo>
                                        <a:pt x="84" y="138"/>
                                      </a:lnTo>
                                      <a:lnTo>
                                        <a:pt x="106" y="130"/>
                                      </a:lnTo>
                                      <a:lnTo>
                                        <a:pt x="106" y="130"/>
                                      </a:lnTo>
                                      <a:lnTo>
                                        <a:pt x="110" y="130"/>
                                      </a:lnTo>
                                      <a:lnTo>
                                        <a:pt x="112" y="128"/>
                                      </a:lnTo>
                                      <a:lnTo>
                                        <a:pt x="122" y="118"/>
                                      </a:lnTo>
                                      <a:lnTo>
                                        <a:pt x="122" y="118"/>
                                      </a:lnTo>
                                      <a:lnTo>
                                        <a:pt x="130" y="110"/>
                                      </a:lnTo>
                                      <a:lnTo>
                                        <a:pt x="134" y="106"/>
                                      </a:lnTo>
                                      <a:lnTo>
                                        <a:pt x="140" y="102"/>
                                      </a:lnTo>
                                      <a:lnTo>
                                        <a:pt x="148" y="94"/>
                                      </a:lnTo>
                                      <a:lnTo>
                                        <a:pt x="148" y="94"/>
                                      </a:lnTo>
                                      <a:lnTo>
                                        <a:pt x="200" y="38"/>
                                      </a:lnTo>
                                      <a:lnTo>
                                        <a:pt x="236" y="0"/>
                                      </a:lnTo>
                                      <a:lnTo>
                                        <a:pt x="280" y="8"/>
                                      </a:lnTo>
                                      <a:lnTo>
                                        <a:pt x="288" y="18"/>
                                      </a:lnTo>
                                      <a:lnTo>
                                        <a:pt x="302" y="14"/>
                                      </a:lnTo>
                                      <a:lnTo>
                                        <a:pt x="302" y="14"/>
                                      </a:lnTo>
                                      <a:lnTo>
                                        <a:pt x="306" y="36"/>
                                      </a:lnTo>
                                      <a:lnTo>
                                        <a:pt x="306" y="50"/>
                                      </a:lnTo>
                                      <a:lnTo>
                                        <a:pt x="306" y="64"/>
                                      </a:lnTo>
                                      <a:lnTo>
                                        <a:pt x="306" y="64"/>
                                      </a:lnTo>
                                      <a:lnTo>
                                        <a:pt x="306" y="66"/>
                                      </a:lnTo>
                                      <a:lnTo>
                                        <a:pt x="308" y="70"/>
                                      </a:lnTo>
                                      <a:lnTo>
                                        <a:pt x="310" y="74"/>
                                      </a:lnTo>
                                      <a:lnTo>
                                        <a:pt x="310" y="82"/>
                                      </a:lnTo>
                                      <a:lnTo>
                                        <a:pt x="310" y="82"/>
                                      </a:lnTo>
                                      <a:lnTo>
                                        <a:pt x="312" y="88"/>
                                      </a:lnTo>
                                      <a:lnTo>
                                        <a:pt x="314" y="90"/>
                                      </a:lnTo>
                                      <a:lnTo>
                                        <a:pt x="318" y="94"/>
                                      </a:lnTo>
                                      <a:lnTo>
                                        <a:pt x="324" y="98"/>
                                      </a:lnTo>
                                      <a:lnTo>
                                        <a:pt x="326" y="98"/>
                                      </a:lnTo>
                                      <a:lnTo>
                                        <a:pt x="326" y="102"/>
                                      </a:lnTo>
                                      <a:lnTo>
                                        <a:pt x="326" y="102"/>
                                      </a:lnTo>
                                      <a:lnTo>
                                        <a:pt x="324" y="106"/>
                                      </a:lnTo>
                                      <a:lnTo>
                                        <a:pt x="322" y="108"/>
                                      </a:lnTo>
                                      <a:lnTo>
                                        <a:pt x="318" y="114"/>
                                      </a:lnTo>
                                      <a:lnTo>
                                        <a:pt x="316" y="120"/>
                                      </a:lnTo>
                                      <a:lnTo>
                                        <a:pt x="316" y="120"/>
                                      </a:lnTo>
                                      <a:lnTo>
                                        <a:pt x="316" y="180"/>
                                      </a:lnTo>
                                      <a:lnTo>
                                        <a:pt x="316" y="180"/>
                                      </a:lnTo>
                                      <a:lnTo>
                                        <a:pt x="314" y="190"/>
                                      </a:lnTo>
                                      <a:lnTo>
                                        <a:pt x="312" y="200"/>
                                      </a:lnTo>
                                      <a:lnTo>
                                        <a:pt x="300" y="222"/>
                                      </a:lnTo>
                                      <a:lnTo>
                                        <a:pt x="300" y="222"/>
                                      </a:lnTo>
                                      <a:lnTo>
                                        <a:pt x="294" y="230"/>
                                      </a:lnTo>
                                      <a:lnTo>
                                        <a:pt x="290" y="234"/>
                                      </a:lnTo>
                                      <a:lnTo>
                                        <a:pt x="286" y="236"/>
                                      </a:lnTo>
                                      <a:lnTo>
                                        <a:pt x="286" y="240"/>
                                      </a:lnTo>
                                      <a:lnTo>
                                        <a:pt x="286" y="240"/>
                                      </a:lnTo>
                                      <a:lnTo>
                                        <a:pt x="286" y="246"/>
                                      </a:lnTo>
                                      <a:lnTo>
                                        <a:pt x="284" y="248"/>
                                      </a:lnTo>
                                      <a:lnTo>
                                        <a:pt x="282" y="252"/>
                                      </a:lnTo>
                                      <a:lnTo>
                                        <a:pt x="282" y="256"/>
                                      </a:lnTo>
                                      <a:lnTo>
                                        <a:pt x="282" y="256"/>
                                      </a:lnTo>
                                      <a:lnTo>
                                        <a:pt x="278" y="256"/>
                                      </a:lnTo>
                                      <a:lnTo>
                                        <a:pt x="276" y="258"/>
                                      </a:lnTo>
                                      <a:lnTo>
                                        <a:pt x="274" y="262"/>
                                      </a:lnTo>
                                      <a:lnTo>
                                        <a:pt x="274" y="270"/>
                                      </a:lnTo>
                                      <a:lnTo>
                                        <a:pt x="274" y="270"/>
                                      </a:lnTo>
                                      <a:lnTo>
                                        <a:pt x="266" y="270"/>
                                      </a:lnTo>
                                      <a:lnTo>
                                        <a:pt x="264" y="272"/>
                                      </a:lnTo>
                                      <a:lnTo>
                                        <a:pt x="262" y="274"/>
                                      </a:lnTo>
                                      <a:lnTo>
                                        <a:pt x="262" y="278"/>
                                      </a:lnTo>
                                      <a:lnTo>
                                        <a:pt x="264" y="278"/>
                                      </a:lnTo>
                                      <a:lnTo>
                                        <a:pt x="262" y="280"/>
                                      </a:lnTo>
                                      <a:lnTo>
                                        <a:pt x="254" y="278"/>
                                      </a:lnTo>
                                      <a:lnTo>
                                        <a:pt x="254" y="278"/>
                                      </a:lnTo>
                                      <a:lnTo>
                                        <a:pt x="238" y="276"/>
                                      </a:lnTo>
                                      <a:lnTo>
                                        <a:pt x="224" y="276"/>
                                      </a:lnTo>
                                      <a:lnTo>
                                        <a:pt x="212" y="280"/>
                                      </a:lnTo>
                                      <a:lnTo>
                                        <a:pt x="208" y="282"/>
                                      </a:lnTo>
                                      <a:lnTo>
                                        <a:pt x="206" y="284"/>
                                      </a:lnTo>
                                      <a:lnTo>
                                        <a:pt x="206" y="284"/>
                                      </a:lnTo>
                                      <a:lnTo>
                                        <a:pt x="202" y="288"/>
                                      </a:lnTo>
                                      <a:lnTo>
                                        <a:pt x="196" y="290"/>
                                      </a:lnTo>
                                      <a:lnTo>
                                        <a:pt x="190" y="290"/>
                                      </a:lnTo>
                                      <a:lnTo>
                                        <a:pt x="182" y="290"/>
                                      </a:lnTo>
                                      <a:lnTo>
                                        <a:pt x="170" y="286"/>
                                      </a:lnTo>
                                      <a:lnTo>
                                        <a:pt x="164" y="284"/>
                                      </a:lnTo>
                                      <a:lnTo>
                                        <a:pt x="164" y="284"/>
                                      </a:lnTo>
                                      <a:lnTo>
                                        <a:pt x="156" y="278"/>
                                      </a:lnTo>
                                      <a:lnTo>
                                        <a:pt x="154" y="278"/>
                                      </a:lnTo>
                                      <a:lnTo>
                                        <a:pt x="154" y="278"/>
                                      </a:lnTo>
                                      <a:lnTo>
                                        <a:pt x="152" y="282"/>
                                      </a:lnTo>
                                      <a:lnTo>
                                        <a:pt x="150" y="282"/>
                                      </a:lnTo>
                                      <a:lnTo>
                                        <a:pt x="148" y="282"/>
                                      </a:lnTo>
                                      <a:lnTo>
                                        <a:pt x="148" y="282"/>
                                      </a:lnTo>
                                      <a:lnTo>
                                        <a:pt x="144" y="280"/>
                                      </a:lnTo>
                                      <a:lnTo>
                                        <a:pt x="142" y="282"/>
                                      </a:lnTo>
                                      <a:lnTo>
                                        <a:pt x="138" y="282"/>
                                      </a:lnTo>
                                      <a:lnTo>
                                        <a:pt x="136" y="278"/>
                                      </a:lnTo>
                                      <a:lnTo>
                                        <a:pt x="136" y="278"/>
                                      </a:lnTo>
                                      <a:lnTo>
                                        <a:pt x="132" y="272"/>
                                      </a:lnTo>
                                      <a:lnTo>
                                        <a:pt x="130" y="270"/>
                                      </a:lnTo>
                                      <a:lnTo>
                                        <a:pt x="128" y="272"/>
                                      </a:lnTo>
                                      <a:lnTo>
                                        <a:pt x="124" y="268"/>
                                      </a:lnTo>
                                      <a:lnTo>
                                        <a:pt x="124" y="268"/>
                                      </a:lnTo>
                                      <a:lnTo>
                                        <a:pt x="120" y="268"/>
                                      </a:lnTo>
                                      <a:lnTo>
                                        <a:pt x="118" y="268"/>
                                      </a:lnTo>
                                      <a:lnTo>
                                        <a:pt x="114" y="268"/>
                                      </a:lnTo>
                                      <a:lnTo>
                                        <a:pt x="110" y="270"/>
                                      </a:lnTo>
                                      <a:lnTo>
                                        <a:pt x="108" y="270"/>
                                      </a:lnTo>
                                      <a:lnTo>
                                        <a:pt x="106" y="268"/>
                                      </a:lnTo>
                                      <a:lnTo>
                                        <a:pt x="106" y="268"/>
                                      </a:lnTo>
                                      <a:lnTo>
                                        <a:pt x="106" y="266"/>
                                      </a:lnTo>
                                      <a:lnTo>
                                        <a:pt x="102" y="266"/>
                                      </a:lnTo>
                                      <a:lnTo>
                                        <a:pt x="98" y="266"/>
                                      </a:lnTo>
                                      <a:lnTo>
                                        <a:pt x="90" y="270"/>
                                      </a:lnTo>
                                      <a:lnTo>
                                        <a:pt x="90" y="270"/>
                                      </a:lnTo>
                                      <a:lnTo>
                                        <a:pt x="84" y="276"/>
                                      </a:lnTo>
                                      <a:lnTo>
                                        <a:pt x="82" y="282"/>
                                      </a:lnTo>
                                      <a:lnTo>
                                        <a:pt x="80" y="286"/>
                                      </a:lnTo>
                                      <a:lnTo>
                                        <a:pt x="76" y="292"/>
                                      </a:lnTo>
                                      <a:lnTo>
                                        <a:pt x="76" y="292"/>
                                      </a:lnTo>
                                      <a:lnTo>
                                        <a:pt x="72" y="296"/>
                                      </a:lnTo>
                                      <a:lnTo>
                                        <a:pt x="72" y="300"/>
                                      </a:lnTo>
                                      <a:lnTo>
                                        <a:pt x="72" y="306"/>
                                      </a:lnTo>
                                      <a:lnTo>
                                        <a:pt x="72" y="314"/>
                                      </a:lnTo>
                                      <a:lnTo>
                                        <a:pt x="72" y="320"/>
                                      </a:lnTo>
                                      <a:lnTo>
                                        <a:pt x="72" y="320"/>
                                      </a:lnTo>
                                      <a:lnTo>
                                        <a:pt x="62" y="312"/>
                                      </a:lnTo>
                                      <a:lnTo>
                                        <a:pt x="56" y="310"/>
                                      </a:lnTo>
                                      <a:lnTo>
                                        <a:pt x="52" y="312"/>
                                      </a:lnTo>
                                      <a:lnTo>
                                        <a:pt x="44" y="316"/>
                                      </a:lnTo>
                                      <a:lnTo>
                                        <a:pt x="44" y="316"/>
                                      </a:lnTo>
                                      <a:lnTo>
                                        <a:pt x="38" y="308"/>
                                      </a:lnTo>
                                      <a:lnTo>
                                        <a:pt x="40" y="306"/>
                                      </a:lnTo>
                                      <a:lnTo>
                                        <a:pt x="40" y="306"/>
                                      </a:lnTo>
                                      <a:lnTo>
                                        <a:pt x="42" y="306"/>
                                      </a:lnTo>
                                      <a:lnTo>
                                        <a:pt x="40" y="304"/>
                                      </a:lnTo>
                                      <a:lnTo>
                                        <a:pt x="40" y="304"/>
                                      </a:lnTo>
                                      <a:lnTo>
                                        <a:pt x="36" y="302"/>
                                      </a:lnTo>
                                      <a:lnTo>
                                        <a:pt x="34" y="302"/>
                                      </a:lnTo>
                                      <a:lnTo>
                                        <a:pt x="28" y="300"/>
                                      </a:lnTo>
                                      <a:lnTo>
                                        <a:pt x="18" y="294"/>
                                      </a:lnTo>
                                      <a:lnTo>
                                        <a:pt x="18" y="294"/>
                                      </a:lnTo>
                                      <a:lnTo>
                                        <a:pt x="10" y="288"/>
                                      </a:lnTo>
                                      <a:lnTo>
                                        <a:pt x="10" y="286"/>
                                      </a:lnTo>
                                      <a:lnTo>
                                        <a:pt x="12" y="284"/>
                                      </a:lnTo>
                                      <a:lnTo>
                                        <a:pt x="12" y="284"/>
                                      </a:lnTo>
                                      <a:lnTo>
                                        <a:pt x="16" y="280"/>
                                      </a:lnTo>
                                      <a:lnTo>
                                        <a:pt x="16" y="278"/>
                                      </a:lnTo>
                                      <a:lnTo>
                                        <a:pt x="12" y="278"/>
                                      </a:lnTo>
                                      <a:lnTo>
                                        <a:pt x="12" y="278"/>
                                      </a:lnTo>
                                      <a:lnTo>
                                        <a:pt x="8" y="276"/>
                                      </a:lnTo>
                                      <a:lnTo>
                                        <a:pt x="6" y="274"/>
                                      </a:lnTo>
                                      <a:lnTo>
                                        <a:pt x="2" y="266"/>
                                      </a:lnTo>
                                      <a:lnTo>
                                        <a:pt x="0" y="258"/>
                                      </a:lnTo>
                                      <a:lnTo>
                                        <a:pt x="0" y="248"/>
                                      </a:lnTo>
                                      <a:lnTo>
                                        <a:pt x="0" y="24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3" name="Nigeria"/>
                                <p:cNvSpPr>
                                  <a:spLocks/>
                                </p:cNvSpPr>
                                <p:nvPr/>
                              </p:nvSpPr>
                              <p:spPr bwMode="auto">
                                <a:xfrm>
                                  <a:off x="5880368" y="3142611"/>
                                  <a:ext cx="367555" cy="379354"/>
                                </a:xfrm>
                                <a:custGeom>
                                  <a:avLst/>
                                  <a:gdLst/>
                                  <a:ahLst/>
                                  <a:cxnLst>
                                    <a:cxn ang="0">
                                      <a:pos x="228" y="20"/>
                                    </a:cxn>
                                    <a:cxn ang="0">
                                      <a:pos x="230" y="30"/>
                                    </a:cxn>
                                    <a:cxn ang="0">
                                      <a:pos x="240" y="42"/>
                                    </a:cxn>
                                    <a:cxn ang="0">
                                      <a:pos x="236" y="60"/>
                                    </a:cxn>
                                    <a:cxn ang="0">
                                      <a:pos x="216" y="96"/>
                                    </a:cxn>
                                    <a:cxn ang="0">
                                      <a:pos x="214" y="112"/>
                                    </a:cxn>
                                    <a:cxn ang="0">
                                      <a:pos x="210" y="118"/>
                                    </a:cxn>
                                    <a:cxn ang="0">
                                      <a:pos x="208" y="130"/>
                                    </a:cxn>
                                    <a:cxn ang="0">
                                      <a:pos x="202" y="142"/>
                                    </a:cxn>
                                    <a:cxn ang="0">
                                      <a:pos x="194" y="156"/>
                                    </a:cxn>
                                    <a:cxn ang="0">
                                      <a:pos x="184" y="176"/>
                                    </a:cxn>
                                    <a:cxn ang="0">
                                      <a:pos x="176" y="186"/>
                                    </a:cxn>
                                    <a:cxn ang="0">
                                      <a:pos x="168" y="190"/>
                                    </a:cxn>
                                    <a:cxn ang="0">
                                      <a:pos x="160" y="186"/>
                                    </a:cxn>
                                    <a:cxn ang="0">
                                      <a:pos x="144" y="184"/>
                                    </a:cxn>
                                    <a:cxn ang="0">
                                      <a:pos x="126" y="210"/>
                                    </a:cxn>
                                    <a:cxn ang="0">
                                      <a:pos x="118" y="228"/>
                                    </a:cxn>
                                    <a:cxn ang="0">
                                      <a:pos x="110" y="240"/>
                                    </a:cxn>
                                    <a:cxn ang="0">
                                      <a:pos x="102" y="244"/>
                                    </a:cxn>
                                    <a:cxn ang="0">
                                      <a:pos x="94" y="242"/>
                                    </a:cxn>
                                    <a:cxn ang="0">
                                      <a:pos x="88" y="248"/>
                                    </a:cxn>
                                    <a:cxn ang="0">
                                      <a:pos x="82" y="250"/>
                                    </a:cxn>
                                    <a:cxn ang="0">
                                      <a:pos x="76" y="250"/>
                                    </a:cxn>
                                    <a:cxn ang="0">
                                      <a:pos x="56" y="238"/>
                                    </a:cxn>
                                    <a:cxn ang="0">
                                      <a:pos x="52" y="232"/>
                                    </a:cxn>
                                    <a:cxn ang="0">
                                      <a:pos x="56" y="226"/>
                                    </a:cxn>
                                    <a:cxn ang="0">
                                      <a:pos x="52" y="228"/>
                                    </a:cxn>
                                    <a:cxn ang="0">
                                      <a:pos x="50" y="222"/>
                                    </a:cxn>
                                    <a:cxn ang="0">
                                      <a:pos x="54" y="218"/>
                                    </a:cxn>
                                    <a:cxn ang="0">
                                      <a:pos x="50" y="214"/>
                                    </a:cxn>
                                    <a:cxn ang="0">
                                      <a:pos x="28" y="204"/>
                                    </a:cxn>
                                    <a:cxn ang="0">
                                      <a:pos x="12" y="200"/>
                                    </a:cxn>
                                    <a:cxn ang="0">
                                      <a:pos x="2" y="188"/>
                                    </a:cxn>
                                    <a:cxn ang="0">
                                      <a:pos x="2" y="162"/>
                                    </a:cxn>
                                    <a:cxn ang="0">
                                      <a:pos x="4" y="126"/>
                                    </a:cxn>
                                    <a:cxn ang="0">
                                      <a:pos x="6" y="116"/>
                                    </a:cxn>
                                    <a:cxn ang="0">
                                      <a:pos x="16" y="104"/>
                                    </a:cxn>
                                    <a:cxn ang="0">
                                      <a:pos x="14" y="96"/>
                                    </a:cxn>
                                    <a:cxn ang="0">
                                      <a:pos x="20" y="84"/>
                                    </a:cxn>
                                    <a:cxn ang="0">
                                      <a:pos x="16" y="66"/>
                                    </a:cxn>
                                    <a:cxn ang="0">
                                      <a:pos x="14" y="54"/>
                                    </a:cxn>
                                    <a:cxn ang="0">
                                      <a:pos x="18" y="26"/>
                                    </a:cxn>
                                    <a:cxn ang="0">
                                      <a:pos x="32" y="4"/>
                                    </a:cxn>
                                    <a:cxn ang="0">
                                      <a:pos x="48" y="2"/>
                                    </a:cxn>
                                    <a:cxn ang="0">
                                      <a:pos x="60" y="2"/>
                                    </a:cxn>
                                    <a:cxn ang="0">
                                      <a:pos x="72" y="4"/>
                                    </a:cxn>
                                    <a:cxn ang="0">
                                      <a:pos x="84" y="16"/>
                                    </a:cxn>
                                    <a:cxn ang="0">
                                      <a:pos x="94" y="16"/>
                                    </a:cxn>
                                    <a:cxn ang="0">
                                      <a:pos x="106" y="18"/>
                                    </a:cxn>
                                    <a:cxn ang="0">
                                      <a:pos x="144" y="22"/>
                                    </a:cxn>
                                    <a:cxn ang="0">
                                      <a:pos x="166" y="10"/>
                                    </a:cxn>
                                    <a:cxn ang="0">
                                      <a:pos x="206" y="12"/>
                                    </a:cxn>
                                    <a:cxn ang="0">
                                      <a:pos x="216" y="4"/>
                                    </a:cxn>
                                  </a:cxnLst>
                                  <a:rect l="0" t="0" r="r" b="b"/>
                                  <a:pathLst>
                                    <a:path w="242" h="250">
                                      <a:moveTo>
                                        <a:pt x="216" y="4"/>
                                      </a:moveTo>
                                      <a:lnTo>
                                        <a:pt x="216" y="4"/>
                                      </a:lnTo>
                                      <a:lnTo>
                                        <a:pt x="218" y="10"/>
                                      </a:lnTo>
                                      <a:lnTo>
                                        <a:pt x="222" y="16"/>
                                      </a:lnTo>
                                      <a:lnTo>
                                        <a:pt x="228" y="20"/>
                                      </a:lnTo>
                                      <a:lnTo>
                                        <a:pt x="232" y="22"/>
                                      </a:lnTo>
                                      <a:lnTo>
                                        <a:pt x="230" y="24"/>
                                      </a:lnTo>
                                      <a:lnTo>
                                        <a:pt x="230" y="24"/>
                                      </a:lnTo>
                                      <a:lnTo>
                                        <a:pt x="230" y="26"/>
                                      </a:lnTo>
                                      <a:lnTo>
                                        <a:pt x="230" y="30"/>
                                      </a:lnTo>
                                      <a:lnTo>
                                        <a:pt x="232" y="34"/>
                                      </a:lnTo>
                                      <a:lnTo>
                                        <a:pt x="238" y="34"/>
                                      </a:lnTo>
                                      <a:lnTo>
                                        <a:pt x="238" y="34"/>
                                      </a:lnTo>
                                      <a:lnTo>
                                        <a:pt x="238" y="40"/>
                                      </a:lnTo>
                                      <a:lnTo>
                                        <a:pt x="240" y="42"/>
                                      </a:lnTo>
                                      <a:lnTo>
                                        <a:pt x="240" y="42"/>
                                      </a:lnTo>
                                      <a:lnTo>
                                        <a:pt x="242" y="44"/>
                                      </a:lnTo>
                                      <a:lnTo>
                                        <a:pt x="240" y="52"/>
                                      </a:lnTo>
                                      <a:lnTo>
                                        <a:pt x="240" y="52"/>
                                      </a:lnTo>
                                      <a:lnTo>
                                        <a:pt x="236" y="60"/>
                                      </a:lnTo>
                                      <a:lnTo>
                                        <a:pt x="232" y="62"/>
                                      </a:lnTo>
                                      <a:lnTo>
                                        <a:pt x="230" y="64"/>
                                      </a:lnTo>
                                      <a:lnTo>
                                        <a:pt x="226" y="74"/>
                                      </a:lnTo>
                                      <a:lnTo>
                                        <a:pt x="226" y="74"/>
                                      </a:lnTo>
                                      <a:lnTo>
                                        <a:pt x="216" y="96"/>
                                      </a:lnTo>
                                      <a:lnTo>
                                        <a:pt x="216" y="104"/>
                                      </a:lnTo>
                                      <a:lnTo>
                                        <a:pt x="216" y="106"/>
                                      </a:lnTo>
                                      <a:lnTo>
                                        <a:pt x="216" y="110"/>
                                      </a:lnTo>
                                      <a:lnTo>
                                        <a:pt x="216" y="110"/>
                                      </a:lnTo>
                                      <a:lnTo>
                                        <a:pt x="214" y="112"/>
                                      </a:lnTo>
                                      <a:lnTo>
                                        <a:pt x="214" y="112"/>
                                      </a:lnTo>
                                      <a:lnTo>
                                        <a:pt x="212" y="112"/>
                                      </a:lnTo>
                                      <a:lnTo>
                                        <a:pt x="210" y="116"/>
                                      </a:lnTo>
                                      <a:lnTo>
                                        <a:pt x="210" y="116"/>
                                      </a:lnTo>
                                      <a:lnTo>
                                        <a:pt x="210" y="118"/>
                                      </a:lnTo>
                                      <a:lnTo>
                                        <a:pt x="210" y="120"/>
                                      </a:lnTo>
                                      <a:lnTo>
                                        <a:pt x="212" y="122"/>
                                      </a:lnTo>
                                      <a:lnTo>
                                        <a:pt x="212" y="126"/>
                                      </a:lnTo>
                                      <a:lnTo>
                                        <a:pt x="212" y="126"/>
                                      </a:lnTo>
                                      <a:lnTo>
                                        <a:pt x="208" y="130"/>
                                      </a:lnTo>
                                      <a:lnTo>
                                        <a:pt x="206" y="130"/>
                                      </a:lnTo>
                                      <a:lnTo>
                                        <a:pt x="204" y="132"/>
                                      </a:lnTo>
                                      <a:lnTo>
                                        <a:pt x="204" y="138"/>
                                      </a:lnTo>
                                      <a:lnTo>
                                        <a:pt x="204" y="138"/>
                                      </a:lnTo>
                                      <a:lnTo>
                                        <a:pt x="202" y="142"/>
                                      </a:lnTo>
                                      <a:lnTo>
                                        <a:pt x="198" y="144"/>
                                      </a:lnTo>
                                      <a:lnTo>
                                        <a:pt x="196" y="148"/>
                                      </a:lnTo>
                                      <a:lnTo>
                                        <a:pt x="192" y="152"/>
                                      </a:lnTo>
                                      <a:lnTo>
                                        <a:pt x="192" y="152"/>
                                      </a:lnTo>
                                      <a:lnTo>
                                        <a:pt x="194" y="156"/>
                                      </a:lnTo>
                                      <a:lnTo>
                                        <a:pt x="196" y="156"/>
                                      </a:lnTo>
                                      <a:lnTo>
                                        <a:pt x="196" y="160"/>
                                      </a:lnTo>
                                      <a:lnTo>
                                        <a:pt x="190" y="166"/>
                                      </a:lnTo>
                                      <a:lnTo>
                                        <a:pt x="190" y="166"/>
                                      </a:lnTo>
                                      <a:lnTo>
                                        <a:pt x="184" y="176"/>
                                      </a:lnTo>
                                      <a:lnTo>
                                        <a:pt x="182" y="180"/>
                                      </a:lnTo>
                                      <a:lnTo>
                                        <a:pt x="182" y="182"/>
                                      </a:lnTo>
                                      <a:lnTo>
                                        <a:pt x="180" y="184"/>
                                      </a:lnTo>
                                      <a:lnTo>
                                        <a:pt x="180" y="184"/>
                                      </a:lnTo>
                                      <a:lnTo>
                                        <a:pt x="176" y="186"/>
                                      </a:lnTo>
                                      <a:lnTo>
                                        <a:pt x="176" y="190"/>
                                      </a:lnTo>
                                      <a:lnTo>
                                        <a:pt x="174" y="192"/>
                                      </a:lnTo>
                                      <a:lnTo>
                                        <a:pt x="172" y="192"/>
                                      </a:lnTo>
                                      <a:lnTo>
                                        <a:pt x="172" y="192"/>
                                      </a:lnTo>
                                      <a:lnTo>
                                        <a:pt x="168" y="190"/>
                                      </a:lnTo>
                                      <a:lnTo>
                                        <a:pt x="166" y="188"/>
                                      </a:lnTo>
                                      <a:lnTo>
                                        <a:pt x="166" y="186"/>
                                      </a:lnTo>
                                      <a:lnTo>
                                        <a:pt x="162" y="186"/>
                                      </a:lnTo>
                                      <a:lnTo>
                                        <a:pt x="162" y="186"/>
                                      </a:lnTo>
                                      <a:lnTo>
                                        <a:pt x="160" y="186"/>
                                      </a:lnTo>
                                      <a:lnTo>
                                        <a:pt x="158" y="184"/>
                                      </a:lnTo>
                                      <a:lnTo>
                                        <a:pt x="156" y="182"/>
                                      </a:lnTo>
                                      <a:lnTo>
                                        <a:pt x="150" y="182"/>
                                      </a:lnTo>
                                      <a:lnTo>
                                        <a:pt x="150" y="182"/>
                                      </a:lnTo>
                                      <a:lnTo>
                                        <a:pt x="144" y="184"/>
                                      </a:lnTo>
                                      <a:lnTo>
                                        <a:pt x="140" y="188"/>
                                      </a:lnTo>
                                      <a:lnTo>
                                        <a:pt x="138" y="192"/>
                                      </a:lnTo>
                                      <a:lnTo>
                                        <a:pt x="134" y="200"/>
                                      </a:lnTo>
                                      <a:lnTo>
                                        <a:pt x="134" y="200"/>
                                      </a:lnTo>
                                      <a:lnTo>
                                        <a:pt x="126" y="210"/>
                                      </a:lnTo>
                                      <a:lnTo>
                                        <a:pt x="124" y="216"/>
                                      </a:lnTo>
                                      <a:lnTo>
                                        <a:pt x="126" y="220"/>
                                      </a:lnTo>
                                      <a:lnTo>
                                        <a:pt x="122" y="224"/>
                                      </a:lnTo>
                                      <a:lnTo>
                                        <a:pt x="122" y="224"/>
                                      </a:lnTo>
                                      <a:lnTo>
                                        <a:pt x="118" y="228"/>
                                      </a:lnTo>
                                      <a:lnTo>
                                        <a:pt x="116" y="232"/>
                                      </a:lnTo>
                                      <a:lnTo>
                                        <a:pt x="120" y="244"/>
                                      </a:lnTo>
                                      <a:lnTo>
                                        <a:pt x="120" y="244"/>
                                      </a:lnTo>
                                      <a:lnTo>
                                        <a:pt x="114" y="242"/>
                                      </a:lnTo>
                                      <a:lnTo>
                                        <a:pt x="110" y="240"/>
                                      </a:lnTo>
                                      <a:lnTo>
                                        <a:pt x="110" y="240"/>
                                      </a:lnTo>
                                      <a:lnTo>
                                        <a:pt x="112" y="242"/>
                                      </a:lnTo>
                                      <a:lnTo>
                                        <a:pt x="110" y="244"/>
                                      </a:lnTo>
                                      <a:lnTo>
                                        <a:pt x="106" y="246"/>
                                      </a:lnTo>
                                      <a:lnTo>
                                        <a:pt x="102" y="244"/>
                                      </a:lnTo>
                                      <a:lnTo>
                                        <a:pt x="102" y="244"/>
                                      </a:lnTo>
                                      <a:lnTo>
                                        <a:pt x="102" y="246"/>
                                      </a:lnTo>
                                      <a:lnTo>
                                        <a:pt x="100" y="246"/>
                                      </a:lnTo>
                                      <a:lnTo>
                                        <a:pt x="98" y="246"/>
                                      </a:lnTo>
                                      <a:lnTo>
                                        <a:pt x="94" y="242"/>
                                      </a:lnTo>
                                      <a:lnTo>
                                        <a:pt x="94" y="242"/>
                                      </a:lnTo>
                                      <a:lnTo>
                                        <a:pt x="90" y="244"/>
                                      </a:lnTo>
                                      <a:lnTo>
                                        <a:pt x="90" y="246"/>
                                      </a:lnTo>
                                      <a:lnTo>
                                        <a:pt x="90" y="246"/>
                                      </a:lnTo>
                                      <a:lnTo>
                                        <a:pt x="88" y="248"/>
                                      </a:lnTo>
                                      <a:lnTo>
                                        <a:pt x="88" y="248"/>
                                      </a:lnTo>
                                      <a:lnTo>
                                        <a:pt x="86" y="248"/>
                                      </a:lnTo>
                                      <a:lnTo>
                                        <a:pt x="86" y="248"/>
                                      </a:lnTo>
                                      <a:lnTo>
                                        <a:pt x="82" y="250"/>
                                      </a:lnTo>
                                      <a:lnTo>
                                        <a:pt x="82" y="250"/>
                                      </a:lnTo>
                                      <a:lnTo>
                                        <a:pt x="80" y="250"/>
                                      </a:lnTo>
                                      <a:lnTo>
                                        <a:pt x="80" y="250"/>
                                      </a:lnTo>
                                      <a:lnTo>
                                        <a:pt x="78" y="250"/>
                                      </a:lnTo>
                                      <a:lnTo>
                                        <a:pt x="76" y="250"/>
                                      </a:lnTo>
                                      <a:lnTo>
                                        <a:pt x="76" y="250"/>
                                      </a:lnTo>
                                      <a:lnTo>
                                        <a:pt x="70" y="248"/>
                                      </a:lnTo>
                                      <a:lnTo>
                                        <a:pt x="58" y="242"/>
                                      </a:lnTo>
                                      <a:lnTo>
                                        <a:pt x="58" y="242"/>
                                      </a:lnTo>
                                      <a:lnTo>
                                        <a:pt x="56" y="240"/>
                                      </a:lnTo>
                                      <a:lnTo>
                                        <a:pt x="56" y="238"/>
                                      </a:lnTo>
                                      <a:lnTo>
                                        <a:pt x="56" y="238"/>
                                      </a:lnTo>
                                      <a:lnTo>
                                        <a:pt x="54" y="236"/>
                                      </a:lnTo>
                                      <a:lnTo>
                                        <a:pt x="54" y="236"/>
                                      </a:lnTo>
                                      <a:lnTo>
                                        <a:pt x="52" y="234"/>
                                      </a:lnTo>
                                      <a:lnTo>
                                        <a:pt x="52" y="232"/>
                                      </a:lnTo>
                                      <a:lnTo>
                                        <a:pt x="54" y="230"/>
                                      </a:lnTo>
                                      <a:lnTo>
                                        <a:pt x="54" y="230"/>
                                      </a:lnTo>
                                      <a:lnTo>
                                        <a:pt x="56" y="228"/>
                                      </a:lnTo>
                                      <a:lnTo>
                                        <a:pt x="56" y="228"/>
                                      </a:lnTo>
                                      <a:lnTo>
                                        <a:pt x="56" y="226"/>
                                      </a:lnTo>
                                      <a:lnTo>
                                        <a:pt x="60" y="224"/>
                                      </a:lnTo>
                                      <a:lnTo>
                                        <a:pt x="60" y="224"/>
                                      </a:lnTo>
                                      <a:lnTo>
                                        <a:pt x="56" y="224"/>
                                      </a:lnTo>
                                      <a:lnTo>
                                        <a:pt x="56" y="224"/>
                                      </a:lnTo>
                                      <a:lnTo>
                                        <a:pt x="52" y="228"/>
                                      </a:lnTo>
                                      <a:lnTo>
                                        <a:pt x="52" y="228"/>
                                      </a:lnTo>
                                      <a:lnTo>
                                        <a:pt x="52" y="228"/>
                                      </a:lnTo>
                                      <a:lnTo>
                                        <a:pt x="52" y="226"/>
                                      </a:lnTo>
                                      <a:lnTo>
                                        <a:pt x="52" y="224"/>
                                      </a:lnTo>
                                      <a:lnTo>
                                        <a:pt x="50" y="222"/>
                                      </a:lnTo>
                                      <a:lnTo>
                                        <a:pt x="50" y="222"/>
                                      </a:lnTo>
                                      <a:lnTo>
                                        <a:pt x="50" y="222"/>
                                      </a:lnTo>
                                      <a:lnTo>
                                        <a:pt x="50" y="220"/>
                                      </a:lnTo>
                                      <a:lnTo>
                                        <a:pt x="54" y="218"/>
                                      </a:lnTo>
                                      <a:lnTo>
                                        <a:pt x="54" y="218"/>
                                      </a:lnTo>
                                      <a:lnTo>
                                        <a:pt x="50" y="220"/>
                                      </a:lnTo>
                                      <a:lnTo>
                                        <a:pt x="48" y="218"/>
                                      </a:lnTo>
                                      <a:lnTo>
                                        <a:pt x="50" y="216"/>
                                      </a:lnTo>
                                      <a:lnTo>
                                        <a:pt x="50" y="216"/>
                                      </a:lnTo>
                                      <a:lnTo>
                                        <a:pt x="50" y="214"/>
                                      </a:lnTo>
                                      <a:lnTo>
                                        <a:pt x="48" y="212"/>
                                      </a:lnTo>
                                      <a:lnTo>
                                        <a:pt x="44" y="208"/>
                                      </a:lnTo>
                                      <a:lnTo>
                                        <a:pt x="36" y="204"/>
                                      </a:lnTo>
                                      <a:lnTo>
                                        <a:pt x="28" y="204"/>
                                      </a:lnTo>
                                      <a:lnTo>
                                        <a:pt x="28" y="204"/>
                                      </a:lnTo>
                                      <a:lnTo>
                                        <a:pt x="18" y="202"/>
                                      </a:lnTo>
                                      <a:lnTo>
                                        <a:pt x="16" y="202"/>
                                      </a:lnTo>
                                      <a:lnTo>
                                        <a:pt x="20" y="200"/>
                                      </a:lnTo>
                                      <a:lnTo>
                                        <a:pt x="20" y="200"/>
                                      </a:lnTo>
                                      <a:lnTo>
                                        <a:pt x="12" y="200"/>
                                      </a:lnTo>
                                      <a:lnTo>
                                        <a:pt x="12" y="200"/>
                                      </a:lnTo>
                                      <a:lnTo>
                                        <a:pt x="10" y="202"/>
                                      </a:lnTo>
                                      <a:lnTo>
                                        <a:pt x="2" y="202"/>
                                      </a:lnTo>
                                      <a:lnTo>
                                        <a:pt x="2" y="202"/>
                                      </a:lnTo>
                                      <a:lnTo>
                                        <a:pt x="2" y="188"/>
                                      </a:lnTo>
                                      <a:lnTo>
                                        <a:pt x="2" y="176"/>
                                      </a:lnTo>
                                      <a:lnTo>
                                        <a:pt x="2" y="168"/>
                                      </a:lnTo>
                                      <a:lnTo>
                                        <a:pt x="0" y="164"/>
                                      </a:lnTo>
                                      <a:lnTo>
                                        <a:pt x="0" y="164"/>
                                      </a:lnTo>
                                      <a:lnTo>
                                        <a:pt x="2" y="162"/>
                                      </a:lnTo>
                                      <a:lnTo>
                                        <a:pt x="2" y="154"/>
                                      </a:lnTo>
                                      <a:lnTo>
                                        <a:pt x="0" y="132"/>
                                      </a:lnTo>
                                      <a:lnTo>
                                        <a:pt x="0" y="132"/>
                                      </a:lnTo>
                                      <a:lnTo>
                                        <a:pt x="4" y="130"/>
                                      </a:lnTo>
                                      <a:lnTo>
                                        <a:pt x="4" y="126"/>
                                      </a:lnTo>
                                      <a:lnTo>
                                        <a:pt x="2" y="124"/>
                                      </a:lnTo>
                                      <a:lnTo>
                                        <a:pt x="4" y="122"/>
                                      </a:lnTo>
                                      <a:lnTo>
                                        <a:pt x="4" y="122"/>
                                      </a:lnTo>
                                      <a:lnTo>
                                        <a:pt x="6" y="118"/>
                                      </a:lnTo>
                                      <a:lnTo>
                                        <a:pt x="6" y="116"/>
                                      </a:lnTo>
                                      <a:lnTo>
                                        <a:pt x="8" y="114"/>
                                      </a:lnTo>
                                      <a:lnTo>
                                        <a:pt x="10" y="112"/>
                                      </a:lnTo>
                                      <a:lnTo>
                                        <a:pt x="10" y="112"/>
                                      </a:lnTo>
                                      <a:lnTo>
                                        <a:pt x="14" y="108"/>
                                      </a:lnTo>
                                      <a:lnTo>
                                        <a:pt x="16" y="104"/>
                                      </a:lnTo>
                                      <a:lnTo>
                                        <a:pt x="16" y="100"/>
                                      </a:lnTo>
                                      <a:lnTo>
                                        <a:pt x="14" y="98"/>
                                      </a:lnTo>
                                      <a:lnTo>
                                        <a:pt x="14" y="98"/>
                                      </a:lnTo>
                                      <a:lnTo>
                                        <a:pt x="14" y="96"/>
                                      </a:lnTo>
                                      <a:lnTo>
                                        <a:pt x="14" y="96"/>
                                      </a:lnTo>
                                      <a:lnTo>
                                        <a:pt x="16" y="94"/>
                                      </a:lnTo>
                                      <a:lnTo>
                                        <a:pt x="16" y="94"/>
                                      </a:lnTo>
                                      <a:lnTo>
                                        <a:pt x="18" y="92"/>
                                      </a:lnTo>
                                      <a:lnTo>
                                        <a:pt x="20" y="88"/>
                                      </a:lnTo>
                                      <a:lnTo>
                                        <a:pt x="20" y="84"/>
                                      </a:lnTo>
                                      <a:lnTo>
                                        <a:pt x="18" y="78"/>
                                      </a:lnTo>
                                      <a:lnTo>
                                        <a:pt x="18" y="78"/>
                                      </a:lnTo>
                                      <a:lnTo>
                                        <a:pt x="16" y="74"/>
                                      </a:lnTo>
                                      <a:lnTo>
                                        <a:pt x="16" y="70"/>
                                      </a:lnTo>
                                      <a:lnTo>
                                        <a:pt x="16" y="66"/>
                                      </a:lnTo>
                                      <a:lnTo>
                                        <a:pt x="14" y="64"/>
                                      </a:lnTo>
                                      <a:lnTo>
                                        <a:pt x="14" y="64"/>
                                      </a:lnTo>
                                      <a:lnTo>
                                        <a:pt x="12" y="62"/>
                                      </a:lnTo>
                                      <a:lnTo>
                                        <a:pt x="14" y="54"/>
                                      </a:lnTo>
                                      <a:lnTo>
                                        <a:pt x="14" y="54"/>
                                      </a:lnTo>
                                      <a:lnTo>
                                        <a:pt x="14" y="48"/>
                                      </a:lnTo>
                                      <a:lnTo>
                                        <a:pt x="14" y="40"/>
                                      </a:lnTo>
                                      <a:lnTo>
                                        <a:pt x="14" y="34"/>
                                      </a:lnTo>
                                      <a:lnTo>
                                        <a:pt x="14" y="30"/>
                                      </a:lnTo>
                                      <a:lnTo>
                                        <a:pt x="18" y="26"/>
                                      </a:lnTo>
                                      <a:lnTo>
                                        <a:pt x="18" y="26"/>
                                      </a:lnTo>
                                      <a:lnTo>
                                        <a:pt x="22" y="20"/>
                                      </a:lnTo>
                                      <a:lnTo>
                                        <a:pt x="24" y="16"/>
                                      </a:lnTo>
                                      <a:lnTo>
                                        <a:pt x="26" y="10"/>
                                      </a:lnTo>
                                      <a:lnTo>
                                        <a:pt x="32" y="4"/>
                                      </a:lnTo>
                                      <a:lnTo>
                                        <a:pt x="32" y="4"/>
                                      </a:lnTo>
                                      <a:lnTo>
                                        <a:pt x="40" y="0"/>
                                      </a:lnTo>
                                      <a:lnTo>
                                        <a:pt x="44" y="0"/>
                                      </a:lnTo>
                                      <a:lnTo>
                                        <a:pt x="48" y="0"/>
                                      </a:lnTo>
                                      <a:lnTo>
                                        <a:pt x="48" y="2"/>
                                      </a:lnTo>
                                      <a:lnTo>
                                        <a:pt x="48" y="2"/>
                                      </a:lnTo>
                                      <a:lnTo>
                                        <a:pt x="50" y="4"/>
                                      </a:lnTo>
                                      <a:lnTo>
                                        <a:pt x="52" y="4"/>
                                      </a:lnTo>
                                      <a:lnTo>
                                        <a:pt x="56" y="2"/>
                                      </a:lnTo>
                                      <a:lnTo>
                                        <a:pt x="60" y="2"/>
                                      </a:lnTo>
                                      <a:lnTo>
                                        <a:pt x="62" y="2"/>
                                      </a:lnTo>
                                      <a:lnTo>
                                        <a:pt x="66" y="2"/>
                                      </a:lnTo>
                                      <a:lnTo>
                                        <a:pt x="66" y="2"/>
                                      </a:lnTo>
                                      <a:lnTo>
                                        <a:pt x="70" y="6"/>
                                      </a:lnTo>
                                      <a:lnTo>
                                        <a:pt x="72" y="4"/>
                                      </a:lnTo>
                                      <a:lnTo>
                                        <a:pt x="74" y="6"/>
                                      </a:lnTo>
                                      <a:lnTo>
                                        <a:pt x="78" y="12"/>
                                      </a:lnTo>
                                      <a:lnTo>
                                        <a:pt x="78" y="12"/>
                                      </a:lnTo>
                                      <a:lnTo>
                                        <a:pt x="80" y="16"/>
                                      </a:lnTo>
                                      <a:lnTo>
                                        <a:pt x="84" y="16"/>
                                      </a:lnTo>
                                      <a:lnTo>
                                        <a:pt x="86" y="14"/>
                                      </a:lnTo>
                                      <a:lnTo>
                                        <a:pt x="90" y="16"/>
                                      </a:lnTo>
                                      <a:lnTo>
                                        <a:pt x="90" y="16"/>
                                      </a:lnTo>
                                      <a:lnTo>
                                        <a:pt x="92" y="16"/>
                                      </a:lnTo>
                                      <a:lnTo>
                                        <a:pt x="94" y="16"/>
                                      </a:lnTo>
                                      <a:lnTo>
                                        <a:pt x="96" y="12"/>
                                      </a:lnTo>
                                      <a:lnTo>
                                        <a:pt x="96" y="12"/>
                                      </a:lnTo>
                                      <a:lnTo>
                                        <a:pt x="98" y="12"/>
                                      </a:lnTo>
                                      <a:lnTo>
                                        <a:pt x="106" y="18"/>
                                      </a:lnTo>
                                      <a:lnTo>
                                        <a:pt x="106" y="18"/>
                                      </a:lnTo>
                                      <a:lnTo>
                                        <a:pt x="112" y="20"/>
                                      </a:lnTo>
                                      <a:lnTo>
                                        <a:pt x="124" y="24"/>
                                      </a:lnTo>
                                      <a:lnTo>
                                        <a:pt x="132" y="24"/>
                                      </a:lnTo>
                                      <a:lnTo>
                                        <a:pt x="138" y="24"/>
                                      </a:lnTo>
                                      <a:lnTo>
                                        <a:pt x="144" y="22"/>
                                      </a:lnTo>
                                      <a:lnTo>
                                        <a:pt x="148" y="18"/>
                                      </a:lnTo>
                                      <a:lnTo>
                                        <a:pt x="148" y="18"/>
                                      </a:lnTo>
                                      <a:lnTo>
                                        <a:pt x="150" y="16"/>
                                      </a:lnTo>
                                      <a:lnTo>
                                        <a:pt x="154" y="14"/>
                                      </a:lnTo>
                                      <a:lnTo>
                                        <a:pt x="166" y="10"/>
                                      </a:lnTo>
                                      <a:lnTo>
                                        <a:pt x="180" y="10"/>
                                      </a:lnTo>
                                      <a:lnTo>
                                        <a:pt x="196" y="12"/>
                                      </a:lnTo>
                                      <a:lnTo>
                                        <a:pt x="196" y="12"/>
                                      </a:lnTo>
                                      <a:lnTo>
                                        <a:pt x="204" y="14"/>
                                      </a:lnTo>
                                      <a:lnTo>
                                        <a:pt x="206" y="12"/>
                                      </a:lnTo>
                                      <a:lnTo>
                                        <a:pt x="204" y="12"/>
                                      </a:lnTo>
                                      <a:lnTo>
                                        <a:pt x="204" y="8"/>
                                      </a:lnTo>
                                      <a:lnTo>
                                        <a:pt x="206" y="6"/>
                                      </a:lnTo>
                                      <a:lnTo>
                                        <a:pt x="208" y="4"/>
                                      </a:lnTo>
                                      <a:lnTo>
                                        <a:pt x="216" y="4"/>
                                      </a:lnTo>
                                      <a:lnTo>
                                        <a:pt x="216" y="4"/>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4" name="Oman"/>
                                <p:cNvSpPr>
                                  <a:spLocks/>
                                </p:cNvSpPr>
                                <p:nvPr/>
                              </p:nvSpPr>
                              <p:spPr bwMode="auto">
                                <a:xfrm>
                                  <a:off x="7424791" y="2728836"/>
                                  <a:ext cx="236936" cy="312588"/>
                                </a:xfrm>
                                <a:custGeom>
                                  <a:avLst/>
                                  <a:gdLst/>
                                  <a:ahLst/>
                                  <a:cxnLst>
                                    <a:cxn ang="0">
                                      <a:pos x="40" y="206"/>
                                    </a:cxn>
                                    <a:cxn ang="0">
                                      <a:pos x="54" y="200"/>
                                    </a:cxn>
                                    <a:cxn ang="0">
                                      <a:pos x="58" y="198"/>
                                    </a:cxn>
                                    <a:cxn ang="0">
                                      <a:pos x="72" y="194"/>
                                    </a:cxn>
                                    <a:cxn ang="0">
                                      <a:pos x="80" y="190"/>
                                    </a:cxn>
                                    <a:cxn ang="0">
                                      <a:pos x="84" y="182"/>
                                    </a:cxn>
                                    <a:cxn ang="0">
                                      <a:pos x="84" y="176"/>
                                    </a:cxn>
                                    <a:cxn ang="0">
                                      <a:pos x="90" y="174"/>
                                    </a:cxn>
                                    <a:cxn ang="0">
                                      <a:pos x="102" y="172"/>
                                    </a:cxn>
                                    <a:cxn ang="0">
                                      <a:pos x="108" y="166"/>
                                    </a:cxn>
                                    <a:cxn ang="0">
                                      <a:pos x="108" y="162"/>
                                    </a:cxn>
                                    <a:cxn ang="0">
                                      <a:pos x="110" y="150"/>
                                    </a:cxn>
                                    <a:cxn ang="0">
                                      <a:pos x="120" y="144"/>
                                    </a:cxn>
                                    <a:cxn ang="0">
                                      <a:pos x="126" y="144"/>
                                    </a:cxn>
                                    <a:cxn ang="0">
                                      <a:pos x="134" y="146"/>
                                    </a:cxn>
                                    <a:cxn ang="0">
                                      <a:pos x="128" y="132"/>
                                    </a:cxn>
                                    <a:cxn ang="0">
                                      <a:pos x="128" y="126"/>
                                    </a:cxn>
                                    <a:cxn ang="0">
                                      <a:pos x="130" y="108"/>
                                    </a:cxn>
                                    <a:cxn ang="0">
                                      <a:pos x="136" y="100"/>
                                    </a:cxn>
                                    <a:cxn ang="0">
                                      <a:pos x="136" y="100"/>
                                    </a:cxn>
                                    <a:cxn ang="0">
                                      <a:pos x="142" y="98"/>
                                    </a:cxn>
                                    <a:cxn ang="0">
                                      <a:pos x="150" y="74"/>
                                    </a:cxn>
                                    <a:cxn ang="0">
                                      <a:pos x="154" y="66"/>
                                    </a:cxn>
                                    <a:cxn ang="0">
                                      <a:pos x="156" y="62"/>
                                    </a:cxn>
                                    <a:cxn ang="0">
                                      <a:pos x="152" y="60"/>
                                    </a:cxn>
                                    <a:cxn ang="0">
                                      <a:pos x="150" y="58"/>
                                    </a:cxn>
                                    <a:cxn ang="0">
                                      <a:pos x="144" y="52"/>
                                    </a:cxn>
                                    <a:cxn ang="0">
                                      <a:pos x="142" y="46"/>
                                    </a:cxn>
                                    <a:cxn ang="0">
                                      <a:pos x="140" y="40"/>
                                    </a:cxn>
                                    <a:cxn ang="0">
                                      <a:pos x="136" y="36"/>
                                    </a:cxn>
                                    <a:cxn ang="0">
                                      <a:pos x="132" y="34"/>
                                    </a:cxn>
                                    <a:cxn ang="0">
                                      <a:pos x="128" y="34"/>
                                    </a:cxn>
                                    <a:cxn ang="0">
                                      <a:pos x="122" y="30"/>
                                    </a:cxn>
                                    <a:cxn ang="0">
                                      <a:pos x="106" y="22"/>
                                    </a:cxn>
                                    <a:cxn ang="0">
                                      <a:pos x="96" y="14"/>
                                    </a:cxn>
                                    <a:cxn ang="0">
                                      <a:pos x="96" y="12"/>
                                    </a:cxn>
                                    <a:cxn ang="0">
                                      <a:pos x="86" y="6"/>
                                    </a:cxn>
                                    <a:cxn ang="0">
                                      <a:pos x="82" y="0"/>
                                    </a:cxn>
                                    <a:cxn ang="0">
                                      <a:pos x="78" y="2"/>
                                    </a:cxn>
                                    <a:cxn ang="0">
                                      <a:pos x="70" y="4"/>
                                    </a:cxn>
                                    <a:cxn ang="0">
                                      <a:pos x="68" y="12"/>
                                    </a:cxn>
                                    <a:cxn ang="0">
                                      <a:pos x="68" y="20"/>
                                    </a:cxn>
                                    <a:cxn ang="0">
                                      <a:pos x="74" y="26"/>
                                    </a:cxn>
                                    <a:cxn ang="0">
                                      <a:pos x="74" y="28"/>
                                    </a:cxn>
                                    <a:cxn ang="0">
                                      <a:pos x="68" y="32"/>
                                    </a:cxn>
                                    <a:cxn ang="0">
                                      <a:pos x="60" y="36"/>
                                    </a:cxn>
                                    <a:cxn ang="0">
                                      <a:pos x="60" y="36"/>
                                    </a:cxn>
                                    <a:cxn ang="0">
                                      <a:pos x="64" y="42"/>
                                    </a:cxn>
                                    <a:cxn ang="0">
                                      <a:pos x="64" y="46"/>
                                    </a:cxn>
                                    <a:cxn ang="0">
                                      <a:pos x="58" y="54"/>
                                    </a:cxn>
                                    <a:cxn ang="0">
                                      <a:pos x="56" y="64"/>
                                    </a:cxn>
                                    <a:cxn ang="0">
                                      <a:pos x="70" y="76"/>
                                    </a:cxn>
                                    <a:cxn ang="0">
                                      <a:pos x="0" y="154"/>
                                    </a:cxn>
                                    <a:cxn ang="0">
                                      <a:pos x="0" y="164"/>
                                    </a:cxn>
                                    <a:cxn ang="0">
                                      <a:pos x="4" y="176"/>
                                    </a:cxn>
                                    <a:cxn ang="0">
                                      <a:pos x="18" y="184"/>
                                    </a:cxn>
                                    <a:cxn ang="0">
                                      <a:pos x="28" y="188"/>
                                    </a:cxn>
                                    <a:cxn ang="0">
                                      <a:pos x="34" y="192"/>
                                    </a:cxn>
                                    <a:cxn ang="0">
                                      <a:pos x="30" y="198"/>
                                    </a:cxn>
                                    <a:cxn ang="0">
                                      <a:pos x="34" y="204"/>
                                    </a:cxn>
                                    <a:cxn ang="0">
                                      <a:pos x="40" y="206"/>
                                    </a:cxn>
                                  </a:cxnLst>
                                  <a:rect l="0" t="0" r="r" b="b"/>
                                  <a:pathLst>
                                    <a:path w="156" h="206">
                                      <a:moveTo>
                                        <a:pt x="40" y="206"/>
                                      </a:moveTo>
                                      <a:lnTo>
                                        <a:pt x="40" y="206"/>
                                      </a:lnTo>
                                      <a:lnTo>
                                        <a:pt x="46" y="204"/>
                                      </a:lnTo>
                                      <a:lnTo>
                                        <a:pt x="54" y="200"/>
                                      </a:lnTo>
                                      <a:lnTo>
                                        <a:pt x="54" y="200"/>
                                      </a:lnTo>
                                      <a:lnTo>
                                        <a:pt x="58" y="198"/>
                                      </a:lnTo>
                                      <a:lnTo>
                                        <a:pt x="66" y="196"/>
                                      </a:lnTo>
                                      <a:lnTo>
                                        <a:pt x="72" y="194"/>
                                      </a:lnTo>
                                      <a:lnTo>
                                        <a:pt x="80" y="190"/>
                                      </a:lnTo>
                                      <a:lnTo>
                                        <a:pt x="80" y="190"/>
                                      </a:lnTo>
                                      <a:lnTo>
                                        <a:pt x="84" y="184"/>
                                      </a:lnTo>
                                      <a:lnTo>
                                        <a:pt x="84" y="182"/>
                                      </a:lnTo>
                                      <a:lnTo>
                                        <a:pt x="84" y="180"/>
                                      </a:lnTo>
                                      <a:lnTo>
                                        <a:pt x="84" y="176"/>
                                      </a:lnTo>
                                      <a:lnTo>
                                        <a:pt x="84" y="176"/>
                                      </a:lnTo>
                                      <a:lnTo>
                                        <a:pt x="90" y="174"/>
                                      </a:lnTo>
                                      <a:lnTo>
                                        <a:pt x="98" y="172"/>
                                      </a:lnTo>
                                      <a:lnTo>
                                        <a:pt x="102" y="172"/>
                                      </a:lnTo>
                                      <a:lnTo>
                                        <a:pt x="106" y="170"/>
                                      </a:lnTo>
                                      <a:lnTo>
                                        <a:pt x="108" y="166"/>
                                      </a:lnTo>
                                      <a:lnTo>
                                        <a:pt x="108" y="162"/>
                                      </a:lnTo>
                                      <a:lnTo>
                                        <a:pt x="108" y="162"/>
                                      </a:lnTo>
                                      <a:lnTo>
                                        <a:pt x="108" y="156"/>
                                      </a:lnTo>
                                      <a:lnTo>
                                        <a:pt x="110" y="150"/>
                                      </a:lnTo>
                                      <a:lnTo>
                                        <a:pt x="116" y="144"/>
                                      </a:lnTo>
                                      <a:lnTo>
                                        <a:pt x="120" y="144"/>
                                      </a:lnTo>
                                      <a:lnTo>
                                        <a:pt x="126" y="144"/>
                                      </a:lnTo>
                                      <a:lnTo>
                                        <a:pt x="126" y="144"/>
                                      </a:lnTo>
                                      <a:lnTo>
                                        <a:pt x="132" y="146"/>
                                      </a:lnTo>
                                      <a:lnTo>
                                        <a:pt x="134" y="146"/>
                                      </a:lnTo>
                                      <a:lnTo>
                                        <a:pt x="134" y="144"/>
                                      </a:lnTo>
                                      <a:lnTo>
                                        <a:pt x="128" y="132"/>
                                      </a:lnTo>
                                      <a:lnTo>
                                        <a:pt x="128" y="132"/>
                                      </a:lnTo>
                                      <a:lnTo>
                                        <a:pt x="128" y="126"/>
                                      </a:lnTo>
                                      <a:lnTo>
                                        <a:pt x="126" y="120"/>
                                      </a:lnTo>
                                      <a:lnTo>
                                        <a:pt x="130" y="108"/>
                                      </a:lnTo>
                                      <a:lnTo>
                                        <a:pt x="134" y="100"/>
                                      </a:lnTo>
                                      <a:lnTo>
                                        <a:pt x="136" y="100"/>
                                      </a:lnTo>
                                      <a:lnTo>
                                        <a:pt x="136" y="100"/>
                                      </a:lnTo>
                                      <a:lnTo>
                                        <a:pt x="136" y="100"/>
                                      </a:lnTo>
                                      <a:lnTo>
                                        <a:pt x="140" y="102"/>
                                      </a:lnTo>
                                      <a:lnTo>
                                        <a:pt x="142" y="98"/>
                                      </a:lnTo>
                                      <a:lnTo>
                                        <a:pt x="146" y="88"/>
                                      </a:lnTo>
                                      <a:lnTo>
                                        <a:pt x="150" y="74"/>
                                      </a:lnTo>
                                      <a:lnTo>
                                        <a:pt x="154" y="66"/>
                                      </a:lnTo>
                                      <a:lnTo>
                                        <a:pt x="154" y="66"/>
                                      </a:lnTo>
                                      <a:lnTo>
                                        <a:pt x="156" y="64"/>
                                      </a:lnTo>
                                      <a:lnTo>
                                        <a:pt x="156" y="62"/>
                                      </a:lnTo>
                                      <a:lnTo>
                                        <a:pt x="154" y="60"/>
                                      </a:lnTo>
                                      <a:lnTo>
                                        <a:pt x="152" y="60"/>
                                      </a:lnTo>
                                      <a:lnTo>
                                        <a:pt x="152" y="60"/>
                                      </a:lnTo>
                                      <a:lnTo>
                                        <a:pt x="150" y="58"/>
                                      </a:lnTo>
                                      <a:lnTo>
                                        <a:pt x="146" y="56"/>
                                      </a:lnTo>
                                      <a:lnTo>
                                        <a:pt x="144" y="52"/>
                                      </a:lnTo>
                                      <a:lnTo>
                                        <a:pt x="142" y="46"/>
                                      </a:lnTo>
                                      <a:lnTo>
                                        <a:pt x="142" y="46"/>
                                      </a:lnTo>
                                      <a:lnTo>
                                        <a:pt x="140" y="40"/>
                                      </a:lnTo>
                                      <a:lnTo>
                                        <a:pt x="140" y="40"/>
                                      </a:lnTo>
                                      <a:lnTo>
                                        <a:pt x="138" y="40"/>
                                      </a:lnTo>
                                      <a:lnTo>
                                        <a:pt x="136" y="36"/>
                                      </a:lnTo>
                                      <a:lnTo>
                                        <a:pt x="136" y="36"/>
                                      </a:lnTo>
                                      <a:lnTo>
                                        <a:pt x="132" y="34"/>
                                      </a:lnTo>
                                      <a:lnTo>
                                        <a:pt x="130" y="34"/>
                                      </a:lnTo>
                                      <a:lnTo>
                                        <a:pt x="128" y="34"/>
                                      </a:lnTo>
                                      <a:lnTo>
                                        <a:pt x="122" y="30"/>
                                      </a:lnTo>
                                      <a:lnTo>
                                        <a:pt x="122" y="30"/>
                                      </a:lnTo>
                                      <a:lnTo>
                                        <a:pt x="114" y="26"/>
                                      </a:lnTo>
                                      <a:lnTo>
                                        <a:pt x="106" y="22"/>
                                      </a:lnTo>
                                      <a:lnTo>
                                        <a:pt x="100" y="18"/>
                                      </a:lnTo>
                                      <a:lnTo>
                                        <a:pt x="96" y="14"/>
                                      </a:lnTo>
                                      <a:lnTo>
                                        <a:pt x="96" y="14"/>
                                      </a:lnTo>
                                      <a:lnTo>
                                        <a:pt x="96" y="12"/>
                                      </a:lnTo>
                                      <a:lnTo>
                                        <a:pt x="92" y="8"/>
                                      </a:lnTo>
                                      <a:lnTo>
                                        <a:pt x="86" y="6"/>
                                      </a:lnTo>
                                      <a:lnTo>
                                        <a:pt x="82" y="0"/>
                                      </a:lnTo>
                                      <a:lnTo>
                                        <a:pt x="82" y="0"/>
                                      </a:lnTo>
                                      <a:lnTo>
                                        <a:pt x="80" y="2"/>
                                      </a:lnTo>
                                      <a:lnTo>
                                        <a:pt x="78" y="2"/>
                                      </a:lnTo>
                                      <a:lnTo>
                                        <a:pt x="74" y="2"/>
                                      </a:lnTo>
                                      <a:lnTo>
                                        <a:pt x="70" y="4"/>
                                      </a:lnTo>
                                      <a:lnTo>
                                        <a:pt x="68" y="8"/>
                                      </a:lnTo>
                                      <a:lnTo>
                                        <a:pt x="68" y="12"/>
                                      </a:lnTo>
                                      <a:lnTo>
                                        <a:pt x="68" y="12"/>
                                      </a:lnTo>
                                      <a:lnTo>
                                        <a:pt x="68" y="20"/>
                                      </a:lnTo>
                                      <a:lnTo>
                                        <a:pt x="72" y="24"/>
                                      </a:lnTo>
                                      <a:lnTo>
                                        <a:pt x="74" y="26"/>
                                      </a:lnTo>
                                      <a:lnTo>
                                        <a:pt x="74" y="28"/>
                                      </a:lnTo>
                                      <a:lnTo>
                                        <a:pt x="74" y="28"/>
                                      </a:lnTo>
                                      <a:lnTo>
                                        <a:pt x="70" y="32"/>
                                      </a:lnTo>
                                      <a:lnTo>
                                        <a:pt x="68" y="32"/>
                                      </a:lnTo>
                                      <a:lnTo>
                                        <a:pt x="64" y="32"/>
                                      </a:lnTo>
                                      <a:lnTo>
                                        <a:pt x="60" y="36"/>
                                      </a:lnTo>
                                      <a:lnTo>
                                        <a:pt x="60" y="36"/>
                                      </a:lnTo>
                                      <a:lnTo>
                                        <a:pt x="60" y="36"/>
                                      </a:lnTo>
                                      <a:lnTo>
                                        <a:pt x="62" y="38"/>
                                      </a:lnTo>
                                      <a:lnTo>
                                        <a:pt x="64" y="42"/>
                                      </a:lnTo>
                                      <a:lnTo>
                                        <a:pt x="64" y="46"/>
                                      </a:lnTo>
                                      <a:lnTo>
                                        <a:pt x="64" y="46"/>
                                      </a:lnTo>
                                      <a:lnTo>
                                        <a:pt x="60" y="52"/>
                                      </a:lnTo>
                                      <a:lnTo>
                                        <a:pt x="58" y="54"/>
                                      </a:lnTo>
                                      <a:lnTo>
                                        <a:pt x="56" y="56"/>
                                      </a:lnTo>
                                      <a:lnTo>
                                        <a:pt x="56" y="64"/>
                                      </a:lnTo>
                                      <a:lnTo>
                                        <a:pt x="56" y="64"/>
                                      </a:lnTo>
                                      <a:lnTo>
                                        <a:pt x="70" y="76"/>
                                      </a:lnTo>
                                      <a:lnTo>
                                        <a:pt x="60" y="126"/>
                                      </a:lnTo>
                                      <a:lnTo>
                                        <a:pt x="0" y="154"/>
                                      </a:lnTo>
                                      <a:lnTo>
                                        <a:pt x="0" y="154"/>
                                      </a:lnTo>
                                      <a:lnTo>
                                        <a:pt x="0" y="164"/>
                                      </a:lnTo>
                                      <a:lnTo>
                                        <a:pt x="2" y="172"/>
                                      </a:lnTo>
                                      <a:lnTo>
                                        <a:pt x="4" y="176"/>
                                      </a:lnTo>
                                      <a:lnTo>
                                        <a:pt x="10" y="180"/>
                                      </a:lnTo>
                                      <a:lnTo>
                                        <a:pt x="18" y="184"/>
                                      </a:lnTo>
                                      <a:lnTo>
                                        <a:pt x="28" y="188"/>
                                      </a:lnTo>
                                      <a:lnTo>
                                        <a:pt x="28" y="188"/>
                                      </a:lnTo>
                                      <a:lnTo>
                                        <a:pt x="32" y="190"/>
                                      </a:lnTo>
                                      <a:lnTo>
                                        <a:pt x="34" y="192"/>
                                      </a:lnTo>
                                      <a:lnTo>
                                        <a:pt x="32" y="196"/>
                                      </a:lnTo>
                                      <a:lnTo>
                                        <a:pt x="30" y="198"/>
                                      </a:lnTo>
                                      <a:lnTo>
                                        <a:pt x="30" y="202"/>
                                      </a:lnTo>
                                      <a:lnTo>
                                        <a:pt x="34" y="204"/>
                                      </a:lnTo>
                                      <a:lnTo>
                                        <a:pt x="40" y="206"/>
                                      </a:lnTo>
                                      <a:lnTo>
                                        <a:pt x="40" y="206"/>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5" name="Pakistan"/>
                                <p:cNvSpPr>
                                  <a:spLocks/>
                                </p:cNvSpPr>
                                <p:nvPr/>
                              </p:nvSpPr>
                              <p:spPr bwMode="auto">
                                <a:xfrm>
                                  <a:off x="7652613" y="2271887"/>
                                  <a:ext cx="455646" cy="488608"/>
                                </a:xfrm>
                                <a:custGeom>
                                  <a:avLst/>
                                  <a:gdLst/>
                                  <a:ahLst/>
                                  <a:cxnLst>
                                    <a:cxn ang="0">
                                      <a:pos x="152" y="314"/>
                                    </a:cxn>
                                    <a:cxn ang="0">
                                      <a:pos x="146" y="304"/>
                                    </a:cxn>
                                    <a:cxn ang="0">
                                      <a:pos x="132" y="292"/>
                                    </a:cxn>
                                    <a:cxn ang="0">
                                      <a:pos x="124" y="286"/>
                                    </a:cxn>
                                    <a:cxn ang="0">
                                      <a:pos x="116" y="286"/>
                                    </a:cxn>
                                    <a:cxn ang="0">
                                      <a:pos x="96" y="290"/>
                                    </a:cxn>
                                    <a:cxn ang="0">
                                      <a:pos x="80" y="286"/>
                                    </a:cxn>
                                    <a:cxn ang="0">
                                      <a:pos x="64" y="284"/>
                                    </a:cxn>
                                    <a:cxn ang="0">
                                      <a:pos x="44" y="282"/>
                                    </a:cxn>
                                    <a:cxn ang="0">
                                      <a:pos x="34" y="282"/>
                                    </a:cxn>
                                    <a:cxn ang="0">
                                      <a:pos x="32" y="262"/>
                                    </a:cxn>
                                    <a:cxn ang="0">
                                      <a:pos x="42" y="244"/>
                                    </a:cxn>
                                    <a:cxn ang="0">
                                      <a:pos x="52" y="242"/>
                                    </a:cxn>
                                    <a:cxn ang="0">
                                      <a:pos x="56" y="230"/>
                                    </a:cxn>
                                    <a:cxn ang="0">
                                      <a:pos x="44" y="212"/>
                                    </a:cxn>
                                    <a:cxn ang="0">
                                      <a:pos x="22" y="198"/>
                                    </a:cxn>
                                    <a:cxn ang="0">
                                      <a:pos x="14" y="170"/>
                                    </a:cxn>
                                    <a:cxn ang="0">
                                      <a:pos x="50" y="178"/>
                                    </a:cxn>
                                    <a:cxn ang="0">
                                      <a:pos x="112" y="162"/>
                                    </a:cxn>
                                    <a:cxn ang="0">
                                      <a:pos x="104" y="152"/>
                                    </a:cxn>
                                    <a:cxn ang="0">
                                      <a:pos x="118" y="136"/>
                                    </a:cxn>
                                    <a:cxn ang="0">
                                      <a:pos x="130" y="130"/>
                                    </a:cxn>
                                    <a:cxn ang="0">
                                      <a:pos x="144" y="120"/>
                                    </a:cxn>
                                    <a:cxn ang="0">
                                      <a:pos x="138" y="102"/>
                                    </a:cxn>
                                    <a:cxn ang="0">
                                      <a:pos x="154" y="86"/>
                                    </a:cxn>
                                    <a:cxn ang="0">
                                      <a:pos x="144" y="74"/>
                                    </a:cxn>
                                    <a:cxn ang="0">
                                      <a:pos x="178" y="74"/>
                                    </a:cxn>
                                    <a:cxn ang="0">
                                      <a:pos x="184" y="66"/>
                                    </a:cxn>
                                    <a:cxn ang="0">
                                      <a:pos x="182" y="44"/>
                                    </a:cxn>
                                    <a:cxn ang="0">
                                      <a:pos x="170" y="26"/>
                                    </a:cxn>
                                    <a:cxn ang="0">
                                      <a:pos x="190" y="10"/>
                                    </a:cxn>
                                    <a:cxn ang="0">
                                      <a:pos x="214" y="2"/>
                                    </a:cxn>
                                    <a:cxn ang="0">
                                      <a:pos x="256" y="16"/>
                                    </a:cxn>
                                    <a:cxn ang="0">
                                      <a:pos x="258" y="30"/>
                                    </a:cxn>
                                    <a:cxn ang="0">
                                      <a:pos x="284" y="34"/>
                                    </a:cxn>
                                    <a:cxn ang="0">
                                      <a:pos x="300" y="56"/>
                                    </a:cxn>
                                    <a:cxn ang="0">
                                      <a:pos x="262" y="64"/>
                                    </a:cxn>
                                    <a:cxn ang="0">
                                      <a:pos x="222" y="62"/>
                                    </a:cxn>
                                    <a:cxn ang="0">
                                      <a:pos x="226" y="74"/>
                                    </a:cxn>
                                    <a:cxn ang="0">
                                      <a:pos x="234" y="88"/>
                                    </a:cxn>
                                    <a:cxn ang="0">
                                      <a:pos x="250" y="88"/>
                                    </a:cxn>
                                    <a:cxn ang="0">
                                      <a:pos x="260" y="96"/>
                                    </a:cxn>
                                    <a:cxn ang="0">
                                      <a:pos x="266" y="108"/>
                                    </a:cxn>
                                    <a:cxn ang="0">
                                      <a:pos x="260" y="122"/>
                                    </a:cxn>
                                    <a:cxn ang="0">
                                      <a:pos x="268" y="138"/>
                                    </a:cxn>
                                    <a:cxn ang="0">
                                      <a:pos x="256" y="168"/>
                                    </a:cxn>
                                    <a:cxn ang="0">
                                      <a:pos x="238" y="192"/>
                                    </a:cxn>
                                    <a:cxn ang="0">
                                      <a:pos x="214" y="220"/>
                                    </a:cxn>
                                    <a:cxn ang="0">
                                      <a:pos x="196" y="220"/>
                                    </a:cxn>
                                    <a:cxn ang="0">
                                      <a:pos x="180" y="244"/>
                                    </a:cxn>
                                    <a:cxn ang="0">
                                      <a:pos x="192" y="262"/>
                                    </a:cxn>
                                    <a:cxn ang="0">
                                      <a:pos x="226" y="292"/>
                                    </a:cxn>
                                    <a:cxn ang="0">
                                      <a:pos x="226" y="304"/>
                                    </a:cxn>
                                    <a:cxn ang="0">
                                      <a:pos x="216" y="310"/>
                                    </a:cxn>
                                    <a:cxn ang="0">
                                      <a:pos x="196" y="310"/>
                                    </a:cxn>
                                    <a:cxn ang="0">
                                      <a:pos x="178" y="310"/>
                                    </a:cxn>
                                    <a:cxn ang="0">
                                      <a:pos x="162" y="322"/>
                                    </a:cxn>
                                  </a:cxnLst>
                                  <a:rect l="0" t="0" r="r" b="b"/>
                                  <a:pathLst>
                                    <a:path w="300" h="322">
                                      <a:moveTo>
                                        <a:pt x="162" y="322"/>
                                      </a:moveTo>
                                      <a:lnTo>
                                        <a:pt x="162" y="322"/>
                                      </a:lnTo>
                                      <a:lnTo>
                                        <a:pt x="152" y="320"/>
                                      </a:lnTo>
                                      <a:lnTo>
                                        <a:pt x="150" y="318"/>
                                      </a:lnTo>
                                      <a:lnTo>
                                        <a:pt x="150" y="318"/>
                                      </a:lnTo>
                                      <a:lnTo>
                                        <a:pt x="152" y="314"/>
                                      </a:lnTo>
                                      <a:lnTo>
                                        <a:pt x="152" y="312"/>
                                      </a:lnTo>
                                      <a:lnTo>
                                        <a:pt x="150" y="310"/>
                                      </a:lnTo>
                                      <a:lnTo>
                                        <a:pt x="150" y="310"/>
                                      </a:lnTo>
                                      <a:lnTo>
                                        <a:pt x="150" y="308"/>
                                      </a:lnTo>
                                      <a:lnTo>
                                        <a:pt x="148" y="306"/>
                                      </a:lnTo>
                                      <a:lnTo>
                                        <a:pt x="146" y="304"/>
                                      </a:lnTo>
                                      <a:lnTo>
                                        <a:pt x="138" y="302"/>
                                      </a:lnTo>
                                      <a:lnTo>
                                        <a:pt x="138" y="302"/>
                                      </a:lnTo>
                                      <a:lnTo>
                                        <a:pt x="132" y="302"/>
                                      </a:lnTo>
                                      <a:lnTo>
                                        <a:pt x="132" y="300"/>
                                      </a:lnTo>
                                      <a:lnTo>
                                        <a:pt x="132" y="296"/>
                                      </a:lnTo>
                                      <a:lnTo>
                                        <a:pt x="132" y="292"/>
                                      </a:lnTo>
                                      <a:lnTo>
                                        <a:pt x="132" y="292"/>
                                      </a:lnTo>
                                      <a:lnTo>
                                        <a:pt x="130" y="288"/>
                                      </a:lnTo>
                                      <a:lnTo>
                                        <a:pt x="126" y="286"/>
                                      </a:lnTo>
                                      <a:lnTo>
                                        <a:pt x="122" y="286"/>
                                      </a:lnTo>
                                      <a:lnTo>
                                        <a:pt x="122" y="286"/>
                                      </a:lnTo>
                                      <a:lnTo>
                                        <a:pt x="124" y="286"/>
                                      </a:lnTo>
                                      <a:lnTo>
                                        <a:pt x="126" y="288"/>
                                      </a:lnTo>
                                      <a:lnTo>
                                        <a:pt x="126" y="288"/>
                                      </a:lnTo>
                                      <a:lnTo>
                                        <a:pt x="126" y="288"/>
                                      </a:lnTo>
                                      <a:lnTo>
                                        <a:pt x="124" y="290"/>
                                      </a:lnTo>
                                      <a:lnTo>
                                        <a:pt x="120" y="288"/>
                                      </a:lnTo>
                                      <a:lnTo>
                                        <a:pt x="116" y="286"/>
                                      </a:lnTo>
                                      <a:lnTo>
                                        <a:pt x="114" y="288"/>
                                      </a:lnTo>
                                      <a:lnTo>
                                        <a:pt x="114" y="288"/>
                                      </a:lnTo>
                                      <a:lnTo>
                                        <a:pt x="104" y="288"/>
                                      </a:lnTo>
                                      <a:lnTo>
                                        <a:pt x="98" y="288"/>
                                      </a:lnTo>
                                      <a:lnTo>
                                        <a:pt x="98" y="288"/>
                                      </a:lnTo>
                                      <a:lnTo>
                                        <a:pt x="96" y="290"/>
                                      </a:lnTo>
                                      <a:lnTo>
                                        <a:pt x="90" y="290"/>
                                      </a:lnTo>
                                      <a:lnTo>
                                        <a:pt x="86" y="288"/>
                                      </a:lnTo>
                                      <a:lnTo>
                                        <a:pt x="84" y="284"/>
                                      </a:lnTo>
                                      <a:lnTo>
                                        <a:pt x="84" y="284"/>
                                      </a:lnTo>
                                      <a:lnTo>
                                        <a:pt x="82" y="286"/>
                                      </a:lnTo>
                                      <a:lnTo>
                                        <a:pt x="80" y="286"/>
                                      </a:lnTo>
                                      <a:lnTo>
                                        <a:pt x="76" y="284"/>
                                      </a:lnTo>
                                      <a:lnTo>
                                        <a:pt x="76" y="284"/>
                                      </a:lnTo>
                                      <a:lnTo>
                                        <a:pt x="74" y="282"/>
                                      </a:lnTo>
                                      <a:lnTo>
                                        <a:pt x="72" y="284"/>
                                      </a:lnTo>
                                      <a:lnTo>
                                        <a:pt x="70" y="286"/>
                                      </a:lnTo>
                                      <a:lnTo>
                                        <a:pt x="64" y="284"/>
                                      </a:lnTo>
                                      <a:lnTo>
                                        <a:pt x="64" y="284"/>
                                      </a:lnTo>
                                      <a:lnTo>
                                        <a:pt x="60" y="282"/>
                                      </a:lnTo>
                                      <a:lnTo>
                                        <a:pt x="56" y="284"/>
                                      </a:lnTo>
                                      <a:lnTo>
                                        <a:pt x="52" y="284"/>
                                      </a:lnTo>
                                      <a:lnTo>
                                        <a:pt x="44" y="282"/>
                                      </a:lnTo>
                                      <a:lnTo>
                                        <a:pt x="44" y="282"/>
                                      </a:lnTo>
                                      <a:lnTo>
                                        <a:pt x="38" y="282"/>
                                      </a:lnTo>
                                      <a:lnTo>
                                        <a:pt x="38" y="284"/>
                                      </a:lnTo>
                                      <a:lnTo>
                                        <a:pt x="36" y="286"/>
                                      </a:lnTo>
                                      <a:lnTo>
                                        <a:pt x="32" y="284"/>
                                      </a:lnTo>
                                      <a:lnTo>
                                        <a:pt x="32" y="284"/>
                                      </a:lnTo>
                                      <a:lnTo>
                                        <a:pt x="34" y="282"/>
                                      </a:lnTo>
                                      <a:lnTo>
                                        <a:pt x="34" y="278"/>
                                      </a:lnTo>
                                      <a:lnTo>
                                        <a:pt x="34" y="272"/>
                                      </a:lnTo>
                                      <a:lnTo>
                                        <a:pt x="32" y="266"/>
                                      </a:lnTo>
                                      <a:lnTo>
                                        <a:pt x="32" y="266"/>
                                      </a:lnTo>
                                      <a:lnTo>
                                        <a:pt x="32" y="264"/>
                                      </a:lnTo>
                                      <a:lnTo>
                                        <a:pt x="32" y="262"/>
                                      </a:lnTo>
                                      <a:lnTo>
                                        <a:pt x="36" y="256"/>
                                      </a:lnTo>
                                      <a:lnTo>
                                        <a:pt x="40" y="252"/>
                                      </a:lnTo>
                                      <a:lnTo>
                                        <a:pt x="42" y="250"/>
                                      </a:lnTo>
                                      <a:lnTo>
                                        <a:pt x="42" y="248"/>
                                      </a:lnTo>
                                      <a:lnTo>
                                        <a:pt x="42" y="248"/>
                                      </a:lnTo>
                                      <a:lnTo>
                                        <a:pt x="42" y="244"/>
                                      </a:lnTo>
                                      <a:lnTo>
                                        <a:pt x="42" y="242"/>
                                      </a:lnTo>
                                      <a:lnTo>
                                        <a:pt x="46" y="242"/>
                                      </a:lnTo>
                                      <a:lnTo>
                                        <a:pt x="50" y="244"/>
                                      </a:lnTo>
                                      <a:lnTo>
                                        <a:pt x="50" y="242"/>
                                      </a:lnTo>
                                      <a:lnTo>
                                        <a:pt x="50" y="242"/>
                                      </a:lnTo>
                                      <a:lnTo>
                                        <a:pt x="52" y="242"/>
                                      </a:lnTo>
                                      <a:lnTo>
                                        <a:pt x="54" y="240"/>
                                      </a:lnTo>
                                      <a:lnTo>
                                        <a:pt x="56" y="238"/>
                                      </a:lnTo>
                                      <a:lnTo>
                                        <a:pt x="56" y="236"/>
                                      </a:lnTo>
                                      <a:lnTo>
                                        <a:pt x="56" y="236"/>
                                      </a:lnTo>
                                      <a:lnTo>
                                        <a:pt x="56" y="234"/>
                                      </a:lnTo>
                                      <a:lnTo>
                                        <a:pt x="56" y="230"/>
                                      </a:lnTo>
                                      <a:lnTo>
                                        <a:pt x="56" y="226"/>
                                      </a:lnTo>
                                      <a:lnTo>
                                        <a:pt x="54" y="226"/>
                                      </a:lnTo>
                                      <a:lnTo>
                                        <a:pt x="54" y="226"/>
                                      </a:lnTo>
                                      <a:lnTo>
                                        <a:pt x="50" y="226"/>
                                      </a:lnTo>
                                      <a:lnTo>
                                        <a:pt x="48" y="226"/>
                                      </a:lnTo>
                                      <a:lnTo>
                                        <a:pt x="44" y="212"/>
                                      </a:lnTo>
                                      <a:lnTo>
                                        <a:pt x="44" y="212"/>
                                      </a:lnTo>
                                      <a:lnTo>
                                        <a:pt x="38" y="200"/>
                                      </a:lnTo>
                                      <a:lnTo>
                                        <a:pt x="36" y="200"/>
                                      </a:lnTo>
                                      <a:lnTo>
                                        <a:pt x="30" y="200"/>
                                      </a:lnTo>
                                      <a:lnTo>
                                        <a:pt x="30" y="200"/>
                                      </a:lnTo>
                                      <a:lnTo>
                                        <a:pt x="22" y="198"/>
                                      </a:lnTo>
                                      <a:lnTo>
                                        <a:pt x="20" y="194"/>
                                      </a:lnTo>
                                      <a:lnTo>
                                        <a:pt x="14" y="182"/>
                                      </a:lnTo>
                                      <a:lnTo>
                                        <a:pt x="0" y="162"/>
                                      </a:lnTo>
                                      <a:lnTo>
                                        <a:pt x="0" y="162"/>
                                      </a:lnTo>
                                      <a:lnTo>
                                        <a:pt x="6" y="164"/>
                                      </a:lnTo>
                                      <a:lnTo>
                                        <a:pt x="14" y="170"/>
                                      </a:lnTo>
                                      <a:lnTo>
                                        <a:pt x="14" y="170"/>
                                      </a:lnTo>
                                      <a:lnTo>
                                        <a:pt x="22" y="174"/>
                                      </a:lnTo>
                                      <a:lnTo>
                                        <a:pt x="30" y="178"/>
                                      </a:lnTo>
                                      <a:lnTo>
                                        <a:pt x="40" y="178"/>
                                      </a:lnTo>
                                      <a:lnTo>
                                        <a:pt x="50" y="178"/>
                                      </a:lnTo>
                                      <a:lnTo>
                                        <a:pt x="50" y="178"/>
                                      </a:lnTo>
                                      <a:lnTo>
                                        <a:pt x="58" y="180"/>
                                      </a:lnTo>
                                      <a:lnTo>
                                        <a:pt x="70" y="178"/>
                                      </a:lnTo>
                                      <a:lnTo>
                                        <a:pt x="94" y="172"/>
                                      </a:lnTo>
                                      <a:lnTo>
                                        <a:pt x="94" y="172"/>
                                      </a:lnTo>
                                      <a:lnTo>
                                        <a:pt x="110" y="164"/>
                                      </a:lnTo>
                                      <a:lnTo>
                                        <a:pt x="112" y="162"/>
                                      </a:lnTo>
                                      <a:lnTo>
                                        <a:pt x="108" y="160"/>
                                      </a:lnTo>
                                      <a:lnTo>
                                        <a:pt x="108" y="160"/>
                                      </a:lnTo>
                                      <a:lnTo>
                                        <a:pt x="106" y="158"/>
                                      </a:lnTo>
                                      <a:lnTo>
                                        <a:pt x="106" y="158"/>
                                      </a:lnTo>
                                      <a:lnTo>
                                        <a:pt x="106" y="156"/>
                                      </a:lnTo>
                                      <a:lnTo>
                                        <a:pt x="104" y="152"/>
                                      </a:lnTo>
                                      <a:lnTo>
                                        <a:pt x="104" y="152"/>
                                      </a:lnTo>
                                      <a:lnTo>
                                        <a:pt x="104" y="150"/>
                                      </a:lnTo>
                                      <a:lnTo>
                                        <a:pt x="104" y="146"/>
                                      </a:lnTo>
                                      <a:lnTo>
                                        <a:pt x="108" y="140"/>
                                      </a:lnTo>
                                      <a:lnTo>
                                        <a:pt x="114" y="136"/>
                                      </a:lnTo>
                                      <a:lnTo>
                                        <a:pt x="118" y="136"/>
                                      </a:lnTo>
                                      <a:lnTo>
                                        <a:pt x="122" y="136"/>
                                      </a:lnTo>
                                      <a:lnTo>
                                        <a:pt x="122" y="136"/>
                                      </a:lnTo>
                                      <a:lnTo>
                                        <a:pt x="126" y="138"/>
                                      </a:lnTo>
                                      <a:lnTo>
                                        <a:pt x="128" y="136"/>
                                      </a:lnTo>
                                      <a:lnTo>
                                        <a:pt x="132" y="134"/>
                                      </a:lnTo>
                                      <a:lnTo>
                                        <a:pt x="130" y="130"/>
                                      </a:lnTo>
                                      <a:lnTo>
                                        <a:pt x="130" y="130"/>
                                      </a:lnTo>
                                      <a:lnTo>
                                        <a:pt x="130" y="126"/>
                                      </a:lnTo>
                                      <a:lnTo>
                                        <a:pt x="132" y="126"/>
                                      </a:lnTo>
                                      <a:lnTo>
                                        <a:pt x="136" y="126"/>
                                      </a:lnTo>
                                      <a:lnTo>
                                        <a:pt x="140" y="124"/>
                                      </a:lnTo>
                                      <a:lnTo>
                                        <a:pt x="144" y="120"/>
                                      </a:lnTo>
                                      <a:lnTo>
                                        <a:pt x="144" y="120"/>
                                      </a:lnTo>
                                      <a:lnTo>
                                        <a:pt x="146" y="116"/>
                                      </a:lnTo>
                                      <a:lnTo>
                                        <a:pt x="146" y="114"/>
                                      </a:lnTo>
                                      <a:lnTo>
                                        <a:pt x="142" y="110"/>
                                      </a:lnTo>
                                      <a:lnTo>
                                        <a:pt x="140" y="104"/>
                                      </a:lnTo>
                                      <a:lnTo>
                                        <a:pt x="138" y="102"/>
                                      </a:lnTo>
                                      <a:lnTo>
                                        <a:pt x="140" y="98"/>
                                      </a:lnTo>
                                      <a:lnTo>
                                        <a:pt x="140" y="98"/>
                                      </a:lnTo>
                                      <a:lnTo>
                                        <a:pt x="142" y="92"/>
                                      </a:lnTo>
                                      <a:lnTo>
                                        <a:pt x="148" y="92"/>
                                      </a:lnTo>
                                      <a:lnTo>
                                        <a:pt x="152" y="90"/>
                                      </a:lnTo>
                                      <a:lnTo>
                                        <a:pt x="154" y="86"/>
                                      </a:lnTo>
                                      <a:lnTo>
                                        <a:pt x="154" y="86"/>
                                      </a:lnTo>
                                      <a:lnTo>
                                        <a:pt x="154" y="84"/>
                                      </a:lnTo>
                                      <a:lnTo>
                                        <a:pt x="154" y="82"/>
                                      </a:lnTo>
                                      <a:lnTo>
                                        <a:pt x="150" y="80"/>
                                      </a:lnTo>
                                      <a:lnTo>
                                        <a:pt x="144" y="76"/>
                                      </a:lnTo>
                                      <a:lnTo>
                                        <a:pt x="144" y="74"/>
                                      </a:lnTo>
                                      <a:lnTo>
                                        <a:pt x="144" y="74"/>
                                      </a:lnTo>
                                      <a:lnTo>
                                        <a:pt x="144" y="74"/>
                                      </a:lnTo>
                                      <a:lnTo>
                                        <a:pt x="146" y="72"/>
                                      </a:lnTo>
                                      <a:lnTo>
                                        <a:pt x="148" y="72"/>
                                      </a:lnTo>
                                      <a:lnTo>
                                        <a:pt x="156" y="72"/>
                                      </a:lnTo>
                                      <a:lnTo>
                                        <a:pt x="178" y="74"/>
                                      </a:lnTo>
                                      <a:lnTo>
                                        <a:pt x="178" y="74"/>
                                      </a:lnTo>
                                      <a:lnTo>
                                        <a:pt x="186" y="74"/>
                                      </a:lnTo>
                                      <a:lnTo>
                                        <a:pt x="188" y="72"/>
                                      </a:lnTo>
                                      <a:lnTo>
                                        <a:pt x="188" y="72"/>
                                      </a:lnTo>
                                      <a:lnTo>
                                        <a:pt x="186" y="68"/>
                                      </a:lnTo>
                                      <a:lnTo>
                                        <a:pt x="184" y="66"/>
                                      </a:lnTo>
                                      <a:lnTo>
                                        <a:pt x="184" y="66"/>
                                      </a:lnTo>
                                      <a:lnTo>
                                        <a:pt x="180" y="62"/>
                                      </a:lnTo>
                                      <a:lnTo>
                                        <a:pt x="178" y="58"/>
                                      </a:lnTo>
                                      <a:lnTo>
                                        <a:pt x="178" y="54"/>
                                      </a:lnTo>
                                      <a:lnTo>
                                        <a:pt x="180" y="50"/>
                                      </a:lnTo>
                                      <a:lnTo>
                                        <a:pt x="182" y="44"/>
                                      </a:lnTo>
                                      <a:lnTo>
                                        <a:pt x="180" y="42"/>
                                      </a:lnTo>
                                      <a:lnTo>
                                        <a:pt x="176" y="38"/>
                                      </a:lnTo>
                                      <a:lnTo>
                                        <a:pt x="176" y="38"/>
                                      </a:lnTo>
                                      <a:lnTo>
                                        <a:pt x="170" y="32"/>
                                      </a:lnTo>
                                      <a:lnTo>
                                        <a:pt x="168" y="28"/>
                                      </a:lnTo>
                                      <a:lnTo>
                                        <a:pt x="170" y="26"/>
                                      </a:lnTo>
                                      <a:lnTo>
                                        <a:pt x="174" y="20"/>
                                      </a:lnTo>
                                      <a:lnTo>
                                        <a:pt x="174" y="20"/>
                                      </a:lnTo>
                                      <a:lnTo>
                                        <a:pt x="178" y="16"/>
                                      </a:lnTo>
                                      <a:lnTo>
                                        <a:pt x="184" y="16"/>
                                      </a:lnTo>
                                      <a:lnTo>
                                        <a:pt x="188" y="14"/>
                                      </a:lnTo>
                                      <a:lnTo>
                                        <a:pt x="190" y="10"/>
                                      </a:lnTo>
                                      <a:lnTo>
                                        <a:pt x="190" y="10"/>
                                      </a:lnTo>
                                      <a:lnTo>
                                        <a:pt x="190" y="8"/>
                                      </a:lnTo>
                                      <a:lnTo>
                                        <a:pt x="194" y="6"/>
                                      </a:lnTo>
                                      <a:lnTo>
                                        <a:pt x="202" y="4"/>
                                      </a:lnTo>
                                      <a:lnTo>
                                        <a:pt x="214" y="2"/>
                                      </a:lnTo>
                                      <a:lnTo>
                                        <a:pt x="214" y="2"/>
                                      </a:lnTo>
                                      <a:lnTo>
                                        <a:pt x="218" y="2"/>
                                      </a:lnTo>
                                      <a:lnTo>
                                        <a:pt x="220" y="0"/>
                                      </a:lnTo>
                                      <a:lnTo>
                                        <a:pt x="226" y="2"/>
                                      </a:lnTo>
                                      <a:lnTo>
                                        <a:pt x="240" y="8"/>
                                      </a:lnTo>
                                      <a:lnTo>
                                        <a:pt x="240" y="8"/>
                                      </a:lnTo>
                                      <a:lnTo>
                                        <a:pt x="256" y="16"/>
                                      </a:lnTo>
                                      <a:lnTo>
                                        <a:pt x="256" y="18"/>
                                      </a:lnTo>
                                      <a:lnTo>
                                        <a:pt x="256" y="20"/>
                                      </a:lnTo>
                                      <a:lnTo>
                                        <a:pt x="256" y="20"/>
                                      </a:lnTo>
                                      <a:lnTo>
                                        <a:pt x="254" y="26"/>
                                      </a:lnTo>
                                      <a:lnTo>
                                        <a:pt x="256" y="30"/>
                                      </a:lnTo>
                                      <a:lnTo>
                                        <a:pt x="258" y="30"/>
                                      </a:lnTo>
                                      <a:lnTo>
                                        <a:pt x="264" y="30"/>
                                      </a:lnTo>
                                      <a:lnTo>
                                        <a:pt x="274" y="30"/>
                                      </a:lnTo>
                                      <a:lnTo>
                                        <a:pt x="278" y="30"/>
                                      </a:lnTo>
                                      <a:lnTo>
                                        <a:pt x="282" y="30"/>
                                      </a:lnTo>
                                      <a:lnTo>
                                        <a:pt x="282" y="30"/>
                                      </a:lnTo>
                                      <a:lnTo>
                                        <a:pt x="284" y="34"/>
                                      </a:lnTo>
                                      <a:lnTo>
                                        <a:pt x="288" y="36"/>
                                      </a:lnTo>
                                      <a:lnTo>
                                        <a:pt x="292" y="38"/>
                                      </a:lnTo>
                                      <a:lnTo>
                                        <a:pt x="296" y="46"/>
                                      </a:lnTo>
                                      <a:lnTo>
                                        <a:pt x="296" y="46"/>
                                      </a:lnTo>
                                      <a:lnTo>
                                        <a:pt x="300" y="52"/>
                                      </a:lnTo>
                                      <a:lnTo>
                                        <a:pt x="300" y="56"/>
                                      </a:lnTo>
                                      <a:lnTo>
                                        <a:pt x="296" y="58"/>
                                      </a:lnTo>
                                      <a:lnTo>
                                        <a:pt x="290" y="58"/>
                                      </a:lnTo>
                                      <a:lnTo>
                                        <a:pt x="290" y="58"/>
                                      </a:lnTo>
                                      <a:lnTo>
                                        <a:pt x="278" y="60"/>
                                      </a:lnTo>
                                      <a:lnTo>
                                        <a:pt x="270" y="62"/>
                                      </a:lnTo>
                                      <a:lnTo>
                                        <a:pt x="262" y="64"/>
                                      </a:lnTo>
                                      <a:lnTo>
                                        <a:pt x="242" y="62"/>
                                      </a:lnTo>
                                      <a:lnTo>
                                        <a:pt x="242" y="62"/>
                                      </a:lnTo>
                                      <a:lnTo>
                                        <a:pt x="232" y="60"/>
                                      </a:lnTo>
                                      <a:lnTo>
                                        <a:pt x="226" y="60"/>
                                      </a:lnTo>
                                      <a:lnTo>
                                        <a:pt x="224" y="62"/>
                                      </a:lnTo>
                                      <a:lnTo>
                                        <a:pt x="222" y="62"/>
                                      </a:lnTo>
                                      <a:lnTo>
                                        <a:pt x="224" y="66"/>
                                      </a:lnTo>
                                      <a:lnTo>
                                        <a:pt x="228" y="70"/>
                                      </a:lnTo>
                                      <a:lnTo>
                                        <a:pt x="228" y="70"/>
                                      </a:lnTo>
                                      <a:lnTo>
                                        <a:pt x="224" y="70"/>
                                      </a:lnTo>
                                      <a:lnTo>
                                        <a:pt x="224" y="72"/>
                                      </a:lnTo>
                                      <a:lnTo>
                                        <a:pt x="226" y="74"/>
                                      </a:lnTo>
                                      <a:lnTo>
                                        <a:pt x="230" y="78"/>
                                      </a:lnTo>
                                      <a:lnTo>
                                        <a:pt x="232" y="80"/>
                                      </a:lnTo>
                                      <a:lnTo>
                                        <a:pt x="232" y="84"/>
                                      </a:lnTo>
                                      <a:lnTo>
                                        <a:pt x="232" y="84"/>
                                      </a:lnTo>
                                      <a:lnTo>
                                        <a:pt x="232" y="86"/>
                                      </a:lnTo>
                                      <a:lnTo>
                                        <a:pt x="234" y="88"/>
                                      </a:lnTo>
                                      <a:lnTo>
                                        <a:pt x="238" y="86"/>
                                      </a:lnTo>
                                      <a:lnTo>
                                        <a:pt x="244" y="84"/>
                                      </a:lnTo>
                                      <a:lnTo>
                                        <a:pt x="246" y="84"/>
                                      </a:lnTo>
                                      <a:lnTo>
                                        <a:pt x="248" y="84"/>
                                      </a:lnTo>
                                      <a:lnTo>
                                        <a:pt x="248" y="84"/>
                                      </a:lnTo>
                                      <a:lnTo>
                                        <a:pt x="250" y="88"/>
                                      </a:lnTo>
                                      <a:lnTo>
                                        <a:pt x="250" y="90"/>
                                      </a:lnTo>
                                      <a:lnTo>
                                        <a:pt x="250" y="94"/>
                                      </a:lnTo>
                                      <a:lnTo>
                                        <a:pt x="250" y="96"/>
                                      </a:lnTo>
                                      <a:lnTo>
                                        <a:pt x="252" y="98"/>
                                      </a:lnTo>
                                      <a:lnTo>
                                        <a:pt x="260" y="96"/>
                                      </a:lnTo>
                                      <a:lnTo>
                                        <a:pt x="260" y="96"/>
                                      </a:lnTo>
                                      <a:lnTo>
                                        <a:pt x="264" y="96"/>
                                      </a:lnTo>
                                      <a:lnTo>
                                        <a:pt x="266" y="96"/>
                                      </a:lnTo>
                                      <a:lnTo>
                                        <a:pt x="264" y="100"/>
                                      </a:lnTo>
                                      <a:lnTo>
                                        <a:pt x="264" y="106"/>
                                      </a:lnTo>
                                      <a:lnTo>
                                        <a:pt x="264" y="108"/>
                                      </a:lnTo>
                                      <a:lnTo>
                                        <a:pt x="266" y="108"/>
                                      </a:lnTo>
                                      <a:lnTo>
                                        <a:pt x="266" y="108"/>
                                      </a:lnTo>
                                      <a:lnTo>
                                        <a:pt x="270" y="110"/>
                                      </a:lnTo>
                                      <a:lnTo>
                                        <a:pt x="268" y="112"/>
                                      </a:lnTo>
                                      <a:lnTo>
                                        <a:pt x="264" y="116"/>
                                      </a:lnTo>
                                      <a:lnTo>
                                        <a:pt x="260" y="118"/>
                                      </a:lnTo>
                                      <a:lnTo>
                                        <a:pt x="260" y="122"/>
                                      </a:lnTo>
                                      <a:lnTo>
                                        <a:pt x="260" y="126"/>
                                      </a:lnTo>
                                      <a:lnTo>
                                        <a:pt x="264" y="128"/>
                                      </a:lnTo>
                                      <a:lnTo>
                                        <a:pt x="264" y="128"/>
                                      </a:lnTo>
                                      <a:lnTo>
                                        <a:pt x="270" y="136"/>
                                      </a:lnTo>
                                      <a:lnTo>
                                        <a:pt x="270" y="136"/>
                                      </a:lnTo>
                                      <a:lnTo>
                                        <a:pt x="268" y="138"/>
                                      </a:lnTo>
                                      <a:lnTo>
                                        <a:pt x="264" y="140"/>
                                      </a:lnTo>
                                      <a:lnTo>
                                        <a:pt x="262" y="144"/>
                                      </a:lnTo>
                                      <a:lnTo>
                                        <a:pt x="258" y="150"/>
                                      </a:lnTo>
                                      <a:lnTo>
                                        <a:pt x="258" y="158"/>
                                      </a:lnTo>
                                      <a:lnTo>
                                        <a:pt x="258" y="158"/>
                                      </a:lnTo>
                                      <a:lnTo>
                                        <a:pt x="256" y="168"/>
                                      </a:lnTo>
                                      <a:lnTo>
                                        <a:pt x="254" y="176"/>
                                      </a:lnTo>
                                      <a:lnTo>
                                        <a:pt x="250" y="180"/>
                                      </a:lnTo>
                                      <a:lnTo>
                                        <a:pt x="246" y="182"/>
                                      </a:lnTo>
                                      <a:lnTo>
                                        <a:pt x="240" y="186"/>
                                      </a:lnTo>
                                      <a:lnTo>
                                        <a:pt x="238" y="188"/>
                                      </a:lnTo>
                                      <a:lnTo>
                                        <a:pt x="238" y="192"/>
                                      </a:lnTo>
                                      <a:lnTo>
                                        <a:pt x="238" y="192"/>
                                      </a:lnTo>
                                      <a:lnTo>
                                        <a:pt x="236" y="196"/>
                                      </a:lnTo>
                                      <a:lnTo>
                                        <a:pt x="232" y="204"/>
                                      </a:lnTo>
                                      <a:lnTo>
                                        <a:pt x="226" y="212"/>
                                      </a:lnTo>
                                      <a:lnTo>
                                        <a:pt x="214" y="220"/>
                                      </a:lnTo>
                                      <a:lnTo>
                                        <a:pt x="214" y="220"/>
                                      </a:lnTo>
                                      <a:lnTo>
                                        <a:pt x="208" y="222"/>
                                      </a:lnTo>
                                      <a:lnTo>
                                        <a:pt x="206" y="222"/>
                                      </a:lnTo>
                                      <a:lnTo>
                                        <a:pt x="204" y="220"/>
                                      </a:lnTo>
                                      <a:lnTo>
                                        <a:pt x="202" y="218"/>
                                      </a:lnTo>
                                      <a:lnTo>
                                        <a:pt x="202" y="216"/>
                                      </a:lnTo>
                                      <a:lnTo>
                                        <a:pt x="196" y="220"/>
                                      </a:lnTo>
                                      <a:lnTo>
                                        <a:pt x="196" y="220"/>
                                      </a:lnTo>
                                      <a:lnTo>
                                        <a:pt x="182" y="234"/>
                                      </a:lnTo>
                                      <a:lnTo>
                                        <a:pt x="180" y="240"/>
                                      </a:lnTo>
                                      <a:lnTo>
                                        <a:pt x="180" y="242"/>
                                      </a:lnTo>
                                      <a:lnTo>
                                        <a:pt x="180" y="244"/>
                                      </a:lnTo>
                                      <a:lnTo>
                                        <a:pt x="180" y="244"/>
                                      </a:lnTo>
                                      <a:lnTo>
                                        <a:pt x="186" y="246"/>
                                      </a:lnTo>
                                      <a:lnTo>
                                        <a:pt x="190" y="248"/>
                                      </a:lnTo>
                                      <a:lnTo>
                                        <a:pt x="192" y="252"/>
                                      </a:lnTo>
                                      <a:lnTo>
                                        <a:pt x="192" y="258"/>
                                      </a:lnTo>
                                      <a:lnTo>
                                        <a:pt x="192" y="258"/>
                                      </a:lnTo>
                                      <a:lnTo>
                                        <a:pt x="192" y="262"/>
                                      </a:lnTo>
                                      <a:lnTo>
                                        <a:pt x="194" y="266"/>
                                      </a:lnTo>
                                      <a:lnTo>
                                        <a:pt x="198" y="270"/>
                                      </a:lnTo>
                                      <a:lnTo>
                                        <a:pt x="208" y="276"/>
                                      </a:lnTo>
                                      <a:lnTo>
                                        <a:pt x="220" y="286"/>
                                      </a:lnTo>
                                      <a:lnTo>
                                        <a:pt x="220" y="286"/>
                                      </a:lnTo>
                                      <a:lnTo>
                                        <a:pt x="226" y="292"/>
                                      </a:lnTo>
                                      <a:lnTo>
                                        <a:pt x="230" y="296"/>
                                      </a:lnTo>
                                      <a:lnTo>
                                        <a:pt x="230" y="300"/>
                                      </a:lnTo>
                                      <a:lnTo>
                                        <a:pt x="228" y="300"/>
                                      </a:lnTo>
                                      <a:lnTo>
                                        <a:pt x="224" y="302"/>
                                      </a:lnTo>
                                      <a:lnTo>
                                        <a:pt x="224" y="302"/>
                                      </a:lnTo>
                                      <a:lnTo>
                                        <a:pt x="226" y="304"/>
                                      </a:lnTo>
                                      <a:lnTo>
                                        <a:pt x="226" y="304"/>
                                      </a:lnTo>
                                      <a:lnTo>
                                        <a:pt x="232" y="308"/>
                                      </a:lnTo>
                                      <a:lnTo>
                                        <a:pt x="224" y="310"/>
                                      </a:lnTo>
                                      <a:lnTo>
                                        <a:pt x="224" y="310"/>
                                      </a:lnTo>
                                      <a:lnTo>
                                        <a:pt x="218" y="312"/>
                                      </a:lnTo>
                                      <a:lnTo>
                                        <a:pt x="216" y="310"/>
                                      </a:lnTo>
                                      <a:lnTo>
                                        <a:pt x="216" y="308"/>
                                      </a:lnTo>
                                      <a:lnTo>
                                        <a:pt x="216" y="306"/>
                                      </a:lnTo>
                                      <a:lnTo>
                                        <a:pt x="210" y="308"/>
                                      </a:lnTo>
                                      <a:lnTo>
                                        <a:pt x="210" y="308"/>
                                      </a:lnTo>
                                      <a:lnTo>
                                        <a:pt x="202" y="310"/>
                                      </a:lnTo>
                                      <a:lnTo>
                                        <a:pt x="196" y="310"/>
                                      </a:lnTo>
                                      <a:lnTo>
                                        <a:pt x="190" y="310"/>
                                      </a:lnTo>
                                      <a:lnTo>
                                        <a:pt x="186" y="312"/>
                                      </a:lnTo>
                                      <a:lnTo>
                                        <a:pt x="186" y="312"/>
                                      </a:lnTo>
                                      <a:lnTo>
                                        <a:pt x="182" y="312"/>
                                      </a:lnTo>
                                      <a:lnTo>
                                        <a:pt x="180" y="312"/>
                                      </a:lnTo>
                                      <a:lnTo>
                                        <a:pt x="178" y="310"/>
                                      </a:lnTo>
                                      <a:lnTo>
                                        <a:pt x="174" y="312"/>
                                      </a:lnTo>
                                      <a:lnTo>
                                        <a:pt x="174" y="312"/>
                                      </a:lnTo>
                                      <a:lnTo>
                                        <a:pt x="170" y="316"/>
                                      </a:lnTo>
                                      <a:lnTo>
                                        <a:pt x="168" y="316"/>
                                      </a:lnTo>
                                      <a:lnTo>
                                        <a:pt x="166" y="316"/>
                                      </a:lnTo>
                                      <a:lnTo>
                                        <a:pt x="162" y="322"/>
                                      </a:lnTo>
                                      <a:lnTo>
                                        <a:pt x="162" y="322"/>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8" name="Panama"/>
                                <p:cNvSpPr>
                                  <a:spLocks/>
                                </p:cNvSpPr>
                                <p:nvPr/>
                              </p:nvSpPr>
                              <p:spPr bwMode="auto">
                                <a:xfrm>
                                  <a:off x="3126275" y="3315041"/>
                                  <a:ext cx="185296" cy="94080"/>
                                </a:xfrm>
                                <a:custGeom>
                                  <a:avLst/>
                                  <a:gdLst/>
                                  <a:ahLst/>
                                  <a:cxnLst>
                                    <a:cxn ang="0">
                                      <a:pos x="116" y="20"/>
                                    </a:cxn>
                                    <a:cxn ang="0">
                                      <a:pos x="110" y="16"/>
                                    </a:cxn>
                                    <a:cxn ang="0">
                                      <a:pos x="110" y="14"/>
                                    </a:cxn>
                                    <a:cxn ang="0">
                                      <a:pos x="94" y="4"/>
                                    </a:cxn>
                                    <a:cxn ang="0">
                                      <a:pos x="84" y="2"/>
                                    </a:cxn>
                                    <a:cxn ang="0">
                                      <a:pos x="74" y="8"/>
                                    </a:cxn>
                                    <a:cxn ang="0">
                                      <a:pos x="72" y="12"/>
                                    </a:cxn>
                                    <a:cxn ang="0">
                                      <a:pos x="74" y="18"/>
                                    </a:cxn>
                                    <a:cxn ang="0">
                                      <a:pos x="66" y="20"/>
                                    </a:cxn>
                                    <a:cxn ang="0">
                                      <a:pos x="70" y="12"/>
                                    </a:cxn>
                                    <a:cxn ang="0">
                                      <a:pos x="66" y="12"/>
                                    </a:cxn>
                                    <a:cxn ang="0">
                                      <a:pos x="60" y="16"/>
                                    </a:cxn>
                                    <a:cxn ang="0">
                                      <a:pos x="50" y="18"/>
                                    </a:cxn>
                                    <a:cxn ang="0">
                                      <a:pos x="32" y="20"/>
                                    </a:cxn>
                                    <a:cxn ang="0">
                                      <a:pos x="26" y="14"/>
                                    </a:cxn>
                                    <a:cxn ang="0">
                                      <a:pos x="22" y="14"/>
                                    </a:cxn>
                                    <a:cxn ang="0">
                                      <a:pos x="20" y="16"/>
                                    </a:cxn>
                                    <a:cxn ang="0">
                                      <a:pos x="16" y="12"/>
                                    </a:cxn>
                                    <a:cxn ang="0">
                                      <a:pos x="18" y="10"/>
                                    </a:cxn>
                                    <a:cxn ang="0">
                                      <a:pos x="18" y="6"/>
                                    </a:cxn>
                                    <a:cxn ang="0">
                                      <a:pos x="12" y="0"/>
                                    </a:cxn>
                                    <a:cxn ang="0">
                                      <a:pos x="4" y="4"/>
                                    </a:cxn>
                                    <a:cxn ang="0">
                                      <a:pos x="6" y="12"/>
                                    </a:cxn>
                                    <a:cxn ang="0">
                                      <a:pos x="6" y="18"/>
                                    </a:cxn>
                                    <a:cxn ang="0">
                                      <a:pos x="4" y="28"/>
                                    </a:cxn>
                                    <a:cxn ang="0">
                                      <a:pos x="0" y="32"/>
                                    </a:cxn>
                                    <a:cxn ang="0">
                                      <a:pos x="2" y="40"/>
                                    </a:cxn>
                                    <a:cxn ang="0">
                                      <a:pos x="4" y="36"/>
                                    </a:cxn>
                                    <a:cxn ang="0">
                                      <a:pos x="6" y="36"/>
                                    </a:cxn>
                                    <a:cxn ang="0">
                                      <a:pos x="12" y="36"/>
                                    </a:cxn>
                                    <a:cxn ang="0">
                                      <a:pos x="14" y="36"/>
                                    </a:cxn>
                                    <a:cxn ang="0">
                                      <a:pos x="24" y="40"/>
                                    </a:cxn>
                                    <a:cxn ang="0">
                                      <a:pos x="30" y="46"/>
                                    </a:cxn>
                                    <a:cxn ang="0">
                                      <a:pos x="34" y="52"/>
                                    </a:cxn>
                                    <a:cxn ang="0">
                                      <a:pos x="38" y="54"/>
                                    </a:cxn>
                                    <a:cxn ang="0">
                                      <a:pos x="40" y="50"/>
                                    </a:cxn>
                                    <a:cxn ang="0">
                                      <a:pos x="42" y="50"/>
                                    </a:cxn>
                                    <a:cxn ang="0">
                                      <a:pos x="44" y="58"/>
                                    </a:cxn>
                                    <a:cxn ang="0">
                                      <a:pos x="56" y="62"/>
                                    </a:cxn>
                                    <a:cxn ang="0">
                                      <a:pos x="62" y="54"/>
                                    </a:cxn>
                                    <a:cxn ang="0">
                                      <a:pos x="58" y="48"/>
                                    </a:cxn>
                                    <a:cxn ang="0">
                                      <a:pos x="56" y="46"/>
                                    </a:cxn>
                                    <a:cxn ang="0">
                                      <a:pos x="58" y="40"/>
                                    </a:cxn>
                                    <a:cxn ang="0">
                                      <a:pos x="70" y="28"/>
                                    </a:cxn>
                                    <a:cxn ang="0">
                                      <a:pos x="70" y="26"/>
                                    </a:cxn>
                                    <a:cxn ang="0">
                                      <a:pos x="80" y="24"/>
                                    </a:cxn>
                                    <a:cxn ang="0">
                                      <a:pos x="94" y="30"/>
                                    </a:cxn>
                                    <a:cxn ang="0">
                                      <a:pos x="100" y="30"/>
                                    </a:cxn>
                                    <a:cxn ang="0">
                                      <a:pos x="100" y="38"/>
                                    </a:cxn>
                                    <a:cxn ang="0">
                                      <a:pos x="112" y="28"/>
                                    </a:cxn>
                                    <a:cxn ang="0">
                                      <a:pos x="110" y="38"/>
                                    </a:cxn>
                                    <a:cxn ang="0">
                                      <a:pos x="104" y="40"/>
                                    </a:cxn>
                                    <a:cxn ang="0">
                                      <a:pos x="100" y="48"/>
                                    </a:cxn>
                                    <a:cxn ang="0">
                                      <a:pos x="102" y="54"/>
                                    </a:cxn>
                                    <a:cxn ang="0">
                                      <a:pos x="104" y="60"/>
                                    </a:cxn>
                                    <a:cxn ang="0">
                                      <a:pos x="106" y="58"/>
                                    </a:cxn>
                                    <a:cxn ang="0">
                                      <a:pos x="108" y="52"/>
                                    </a:cxn>
                                    <a:cxn ang="0">
                                      <a:pos x="118" y="50"/>
                                    </a:cxn>
                                    <a:cxn ang="0">
                                      <a:pos x="120" y="44"/>
                                    </a:cxn>
                                    <a:cxn ang="0">
                                      <a:pos x="120" y="40"/>
                                    </a:cxn>
                                    <a:cxn ang="0">
                                      <a:pos x="118" y="36"/>
                                    </a:cxn>
                                    <a:cxn ang="0">
                                      <a:pos x="118" y="32"/>
                                    </a:cxn>
                                    <a:cxn ang="0">
                                      <a:pos x="120" y="24"/>
                                    </a:cxn>
                                  </a:cxnLst>
                                  <a:rect l="0" t="0" r="r" b="b"/>
                                  <a:pathLst>
                                    <a:path w="122" h="62">
                                      <a:moveTo>
                                        <a:pt x="120" y="24"/>
                                      </a:moveTo>
                                      <a:lnTo>
                                        <a:pt x="120" y="24"/>
                                      </a:lnTo>
                                      <a:lnTo>
                                        <a:pt x="116" y="20"/>
                                      </a:lnTo>
                                      <a:lnTo>
                                        <a:pt x="114" y="20"/>
                                      </a:lnTo>
                                      <a:lnTo>
                                        <a:pt x="112" y="18"/>
                                      </a:lnTo>
                                      <a:lnTo>
                                        <a:pt x="110" y="16"/>
                                      </a:lnTo>
                                      <a:lnTo>
                                        <a:pt x="110" y="16"/>
                                      </a:lnTo>
                                      <a:lnTo>
                                        <a:pt x="108" y="14"/>
                                      </a:lnTo>
                                      <a:lnTo>
                                        <a:pt x="110" y="14"/>
                                      </a:lnTo>
                                      <a:lnTo>
                                        <a:pt x="104" y="10"/>
                                      </a:lnTo>
                                      <a:lnTo>
                                        <a:pt x="104" y="10"/>
                                      </a:lnTo>
                                      <a:lnTo>
                                        <a:pt x="94" y="4"/>
                                      </a:lnTo>
                                      <a:lnTo>
                                        <a:pt x="90" y="4"/>
                                      </a:lnTo>
                                      <a:lnTo>
                                        <a:pt x="90" y="4"/>
                                      </a:lnTo>
                                      <a:lnTo>
                                        <a:pt x="84" y="2"/>
                                      </a:lnTo>
                                      <a:lnTo>
                                        <a:pt x="78" y="4"/>
                                      </a:lnTo>
                                      <a:lnTo>
                                        <a:pt x="78" y="4"/>
                                      </a:lnTo>
                                      <a:lnTo>
                                        <a:pt x="74" y="8"/>
                                      </a:lnTo>
                                      <a:lnTo>
                                        <a:pt x="72" y="10"/>
                                      </a:lnTo>
                                      <a:lnTo>
                                        <a:pt x="72" y="12"/>
                                      </a:lnTo>
                                      <a:lnTo>
                                        <a:pt x="72" y="12"/>
                                      </a:lnTo>
                                      <a:lnTo>
                                        <a:pt x="78" y="16"/>
                                      </a:lnTo>
                                      <a:lnTo>
                                        <a:pt x="78" y="16"/>
                                      </a:lnTo>
                                      <a:lnTo>
                                        <a:pt x="74" y="18"/>
                                      </a:lnTo>
                                      <a:lnTo>
                                        <a:pt x="74" y="18"/>
                                      </a:lnTo>
                                      <a:lnTo>
                                        <a:pt x="68" y="20"/>
                                      </a:lnTo>
                                      <a:lnTo>
                                        <a:pt x="66" y="20"/>
                                      </a:lnTo>
                                      <a:lnTo>
                                        <a:pt x="68" y="16"/>
                                      </a:lnTo>
                                      <a:lnTo>
                                        <a:pt x="68" y="16"/>
                                      </a:lnTo>
                                      <a:lnTo>
                                        <a:pt x="70" y="12"/>
                                      </a:lnTo>
                                      <a:lnTo>
                                        <a:pt x="70" y="10"/>
                                      </a:lnTo>
                                      <a:lnTo>
                                        <a:pt x="68" y="10"/>
                                      </a:lnTo>
                                      <a:lnTo>
                                        <a:pt x="66" y="12"/>
                                      </a:lnTo>
                                      <a:lnTo>
                                        <a:pt x="66" y="12"/>
                                      </a:lnTo>
                                      <a:lnTo>
                                        <a:pt x="64" y="14"/>
                                      </a:lnTo>
                                      <a:lnTo>
                                        <a:pt x="60" y="16"/>
                                      </a:lnTo>
                                      <a:lnTo>
                                        <a:pt x="54" y="16"/>
                                      </a:lnTo>
                                      <a:lnTo>
                                        <a:pt x="50" y="18"/>
                                      </a:lnTo>
                                      <a:lnTo>
                                        <a:pt x="50" y="18"/>
                                      </a:lnTo>
                                      <a:lnTo>
                                        <a:pt x="46" y="20"/>
                                      </a:lnTo>
                                      <a:lnTo>
                                        <a:pt x="40" y="20"/>
                                      </a:lnTo>
                                      <a:lnTo>
                                        <a:pt x="32" y="20"/>
                                      </a:lnTo>
                                      <a:lnTo>
                                        <a:pt x="30" y="18"/>
                                      </a:lnTo>
                                      <a:lnTo>
                                        <a:pt x="30" y="18"/>
                                      </a:lnTo>
                                      <a:lnTo>
                                        <a:pt x="26" y="14"/>
                                      </a:lnTo>
                                      <a:lnTo>
                                        <a:pt x="22" y="10"/>
                                      </a:lnTo>
                                      <a:lnTo>
                                        <a:pt x="22" y="10"/>
                                      </a:lnTo>
                                      <a:lnTo>
                                        <a:pt x="22" y="14"/>
                                      </a:lnTo>
                                      <a:lnTo>
                                        <a:pt x="22" y="16"/>
                                      </a:lnTo>
                                      <a:lnTo>
                                        <a:pt x="22" y="16"/>
                                      </a:lnTo>
                                      <a:lnTo>
                                        <a:pt x="20" y="16"/>
                                      </a:lnTo>
                                      <a:lnTo>
                                        <a:pt x="20" y="16"/>
                                      </a:lnTo>
                                      <a:lnTo>
                                        <a:pt x="16" y="14"/>
                                      </a:lnTo>
                                      <a:lnTo>
                                        <a:pt x="16" y="12"/>
                                      </a:lnTo>
                                      <a:lnTo>
                                        <a:pt x="18" y="10"/>
                                      </a:lnTo>
                                      <a:lnTo>
                                        <a:pt x="18" y="10"/>
                                      </a:lnTo>
                                      <a:lnTo>
                                        <a:pt x="18" y="10"/>
                                      </a:lnTo>
                                      <a:lnTo>
                                        <a:pt x="16" y="8"/>
                                      </a:lnTo>
                                      <a:lnTo>
                                        <a:pt x="18" y="6"/>
                                      </a:lnTo>
                                      <a:lnTo>
                                        <a:pt x="18" y="6"/>
                                      </a:lnTo>
                                      <a:lnTo>
                                        <a:pt x="18" y="6"/>
                                      </a:lnTo>
                                      <a:lnTo>
                                        <a:pt x="16" y="4"/>
                                      </a:lnTo>
                                      <a:lnTo>
                                        <a:pt x="12" y="0"/>
                                      </a:lnTo>
                                      <a:lnTo>
                                        <a:pt x="12" y="0"/>
                                      </a:lnTo>
                                      <a:lnTo>
                                        <a:pt x="8" y="2"/>
                                      </a:lnTo>
                                      <a:lnTo>
                                        <a:pt x="4" y="4"/>
                                      </a:lnTo>
                                      <a:lnTo>
                                        <a:pt x="4" y="6"/>
                                      </a:lnTo>
                                      <a:lnTo>
                                        <a:pt x="4" y="8"/>
                                      </a:lnTo>
                                      <a:lnTo>
                                        <a:pt x="6" y="12"/>
                                      </a:lnTo>
                                      <a:lnTo>
                                        <a:pt x="8" y="16"/>
                                      </a:lnTo>
                                      <a:lnTo>
                                        <a:pt x="6" y="18"/>
                                      </a:lnTo>
                                      <a:lnTo>
                                        <a:pt x="6" y="18"/>
                                      </a:lnTo>
                                      <a:lnTo>
                                        <a:pt x="4" y="22"/>
                                      </a:lnTo>
                                      <a:lnTo>
                                        <a:pt x="4" y="26"/>
                                      </a:lnTo>
                                      <a:lnTo>
                                        <a:pt x="4" y="28"/>
                                      </a:lnTo>
                                      <a:lnTo>
                                        <a:pt x="2" y="30"/>
                                      </a:lnTo>
                                      <a:lnTo>
                                        <a:pt x="2" y="30"/>
                                      </a:lnTo>
                                      <a:lnTo>
                                        <a:pt x="0" y="32"/>
                                      </a:lnTo>
                                      <a:lnTo>
                                        <a:pt x="2" y="34"/>
                                      </a:lnTo>
                                      <a:lnTo>
                                        <a:pt x="2" y="36"/>
                                      </a:lnTo>
                                      <a:lnTo>
                                        <a:pt x="2" y="40"/>
                                      </a:lnTo>
                                      <a:lnTo>
                                        <a:pt x="2" y="40"/>
                                      </a:lnTo>
                                      <a:lnTo>
                                        <a:pt x="4" y="40"/>
                                      </a:lnTo>
                                      <a:lnTo>
                                        <a:pt x="4" y="36"/>
                                      </a:lnTo>
                                      <a:lnTo>
                                        <a:pt x="4" y="36"/>
                                      </a:lnTo>
                                      <a:lnTo>
                                        <a:pt x="6" y="36"/>
                                      </a:lnTo>
                                      <a:lnTo>
                                        <a:pt x="6" y="36"/>
                                      </a:lnTo>
                                      <a:lnTo>
                                        <a:pt x="8" y="36"/>
                                      </a:lnTo>
                                      <a:lnTo>
                                        <a:pt x="12" y="36"/>
                                      </a:lnTo>
                                      <a:lnTo>
                                        <a:pt x="12" y="36"/>
                                      </a:lnTo>
                                      <a:lnTo>
                                        <a:pt x="12" y="34"/>
                                      </a:lnTo>
                                      <a:lnTo>
                                        <a:pt x="12" y="34"/>
                                      </a:lnTo>
                                      <a:lnTo>
                                        <a:pt x="14" y="36"/>
                                      </a:lnTo>
                                      <a:lnTo>
                                        <a:pt x="18" y="38"/>
                                      </a:lnTo>
                                      <a:lnTo>
                                        <a:pt x="18" y="38"/>
                                      </a:lnTo>
                                      <a:lnTo>
                                        <a:pt x="24" y="40"/>
                                      </a:lnTo>
                                      <a:lnTo>
                                        <a:pt x="26" y="42"/>
                                      </a:lnTo>
                                      <a:lnTo>
                                        <a:pt x="28" y="44"/>
                                      </a:lnTo>
                                      <a:lnTo>
                                        <a:pt x="30" y="46"/>
                                      </a:lnTo>
                                      <a:lnTo>
                                        <a:pt x="30" y="46"/>
                                      </a:lnTo>
                                      <a:lnTo>
                                        <a:pt x="32" y="50"/>
                                      </a:lnTo>
                                      <a:lnTo>
                                        <a:pt x="34" y="52"/>
                                      </a:lnTo>
                                      <a:lnTo>
                                        <a:pt x="34" y="54"/>
                                      </a:lnTo>
                                      <a:lnTo>
                                        <a:pt x="38" y="54"/>
                                      </a:lnTo>
                                      <a:lnTo>
                                        <a:pt x="38" y="54"/>
                                      </a:lnTo>
                                      <a:lnTo>
                                        <a:pt x="40" y="54"/>
                                      </a:lnTo>
                                      <a:lnTo>
                                        <a:pt x="40" y="52"/>
                                      </a:lnTo>
                                      <a:lnTo>
                                        <a:pt x="40" y="50"/>
                                      </a:lnTo>
                                      <a:lnTo>
                                        <a:pt x="44" y="48"/>
                                      </a:lnTo>
                                      <a:lnTo>
                                        <a:pt x="44" y="48"/>
                                      </a:lnTo>
                                      <a:lnTo>
                                        <a:pt x="42" y="50"/>
                                      </a:lnTo>
                                      <a:lnTo>
                                        <a:pt x="42" y="52"/>
                                      </a:lnTo>
                                      <a:lnTo>
                                        <a:pt x="44" y="58"/>
                                      </a:lnTo>
                                      <a:lnTo>
                                        <a:pt x="44" y="58"/>
                                      </a:lnTo>
                                      <a:lnTo>
                                        <a:pt x="48" y="62"/>
                                      </a:lnTo>
                                      <a:lnTo>
                                        <a:pt x="52" y="62"/>
                                      </a:lnTo>
                                      <a:lnTo>
                                        <a:pt x="56" y="62"/>
                                      </a:lnTo>
                                      <a:lnTo>
                                        <a:pt x="60" y="58"/>
                                      </a:lnTo>
                                      <a:lnTo>
                                        <a:pt x="60" y="58"/>
                                      </a:lnTo>
                                      <a:lnTo>
                                        <a:pt x="62" y="54"/>
                                      </a:lnTo>
                                      <a:lnTo>
                                        <a:pt x="60" y="52"/>
                                      </a:lnTo>
                                      <a:lnTo>
                                        <a:pt x="58" y="50"/>
                                      </a:lnTo>
                                      <a:lnTo>
                                        <a:pt x="58" y="48"/>
                                      </a:lnTo>
                                      <a:lnTo>
                                        <a:pt x="58" y="48"/>
                                      </a:lnTo>
                                      <a:lnTo>
                                        <a:pt x="58" y="46"/>
                                      </a:lnTo>
                                      <a:lnTo>
                                        <a:pt x="56" y="46"/>
                                      </a:lnTo>
                                      <a:lnTo>
                                        <a:pt x="56" y="44"/>
                                      </a:lnTo>
                                      <a:lnTo>
                                        <a:pt x="58" y="40"/>
                                      </a:lnTo>
                                      <a:lnTo>
                                        <a:pt x="58" y="40"/>
                                      </a:lnTo>
                                      <a:lnTo>
                                        <a:pt x="64" y="34"/>
                                      </a:lnTo>
                                      <a:lnTo>
                                        <a:pt x="68" y="30"/>
                                      </a:lnTo>
                                      <a:lnTo>
                                        <a:pt x="70" y="28"/>
                                      </a:lnTo>
                                      <a:lnTo>
                                        <a:pt x="70" y="26"/>
                                      </a:lnTo>
                                      <a:lnTo>
                                        <a:pt x="70" y="26"/>
                                      </a:lnTo>
                                      <a:lnTo>
                                        <a:pt x="70" y="26"/>
                                      </a:lnTo>
                                      <a:lnTo>
                                        <a:pt x="72" y="24"/>
                                      </a:lnTo>
                                      <a:lnTo>
                                        <a:pt x="80" y="24"/>
                                      </a:lnTo>
                                      <a:lnTo>
                                        <a:pt x="80" y="24"/>
                                      </a:lnTo>
                                      <a:lnTo>
                                        <a:pt x="88" y="24"/>
                                      </a:lnTo>
                                      <a:lnTo>
                                        <a:pt x="92" y="26"/>
                                      </a:lnTo>
                                      <a:lnTo>
                                        <a:pt x="94" y="30"/>
                                      </a:lnTo>
                                      <a:lnTo>
                                        <a:pt x="96" y="30"/>
                                      </a:lnTo>
                                      <a:lnTo>
                                        <a:pt x="96" y="30"/>
                                      </a:lnTo>
                                      <a:lnTo>
                                        <a:pt x="100" y="30"/>
                                      </a:lnTo>
                                      <a:lnTo>
                                        <a:pt x="100" y="32"/>
                                      </a:lnTo>
                                      <a:lnTo>
                                        <a:pt x="100" y="38"/>
                                      </a:lnTo>
                                      <a:lnTo>
                                        <a:pt x="100" y="38"/>
                                      </a:lnTo>
                                      <a:lnTo>
                                        <a:pt x="108" y="34"/>
                                      </a:lnTo>
                                      <a:lnTo>
                                        <a:pt x="112" y="28"/>
                                      </a:lnTo>
                                      <a:lnTo>
                                        <a:pt x="112" y="28"/>
                                      </a:lnTo>
                                      <a:lnTo>
                                        <a:pt x="112" y="36"/>
                                      </a:lnTo>
                                      <a:lnTo>
                                        <a:pt x="112" y="38"/>
                                      </a:lnTo>
                                      <a:lnTo>
                                        <a:pt x="110" y="38"/>
                                      </a:lnTo>
                                      <a:lnTo>
                                        <a:pt x="110" y="38"/>
                                      </a:lnTo>
                                      <a:lnTo>
                                        <a:pt x="106" y="38"/>
                                      </a:lnTo>
                                      <a:lnTo>
                                        <a:pt x="104" y="40"/>
                                      </a:lnTo>
                                      <a:lnTo>
                                        <a:pt x="104" y="40"/>
                                      </a:lnTo>
                                      <a:lnTo>
                                        <a:pt x="102" y="44"/>
                                      </a:lnTo>
                                      <a:lnTo>
                                        <a:pt x="100" y="48"/>
                                      </a:lnTo>
                                      <a:lnTo>
                                        <a:pt x="102" y="52"/>
                                      </a:lnTo>
                                      <a:lnTo>
                                        <a:pt x="102" y="54"/>
                                      </a:lnTo>
                                      <a:lnTo>
                                        <a:pt x="102" y="54"/>
                                      </a:lnTo>
                                      <a:lnTo>
                                        <a:pt x="100" y="58"/>
                                      </a:lnTo>
                                      <a:lnTo>
                                        <a:pt x="102" y="58"/>
                                      </a:lnTo>
                                      <a:lnTo>
                                        <a:pt x="104" y="60"/>
                                      </a:lnTo>
                                      <a:lnTo>
                                        <a:pt x="104" y="62"/>
                                      </a:lnTo>
                                      <a:lnTo>
                                        <a:pt x="104" y="62"/>
                                      </a:lnTo>
                                      <a:lnTo>
                                        <a:pt x="106" y="58"/>
                                      </a:lnTo>
                                      <a:lnTo>
                                        <a:pt x="108" y="54"/>
                                      </a:lnTo>
                                      <a:lnTo>
                                        <a:pt x="108" y="54"/>
                                      </a:lnTo>
                                      <a:lnTo>
                                        <a:pt x="108" y="52"/>
                                      </a:lnTo>
                                      <a:lnTo>
                                        <a:pt x="110" y="52"/>
                                      </a:lnTo>
                                      <a:lnTo>
                                        <a:pt x="112" y="52"/>
                                      </a:lnTo>
                                      <a:lnTo>
                                        <a:pt x="118" y="50"/>
                                      </a:lnTo>
                                      <a:lnTo>
                                        <a:pt x="118" y="50"/>
                                      </a:lnTo>
                                      <a:lnTo>
                                        <a:pt x="120" y="46"/>
                                      </a:lnTo>
                                      <a:lnTo>
                                        <a:pt x="120" y="44"/>
                                      </a:lnTo>
                                      <a:lnTo>
                                        <a:pt x="118" y="44"/>
                                      </a:lnTo>
                                      <a:lnTo>
                                        <a:pt x="120" y="40"/>
                                      </a:lnTo>
                                      <a:lnTo>
                                        <a:pt x="120" y="40"/>
                                      </a:lnTo>
                                      <a:lnTo>
                                        <a:pt x="122" y="38"/>
                                      </a:lnTo>
                                      <a:lnTo>
                                        <a:pt x="120" y="38"/>
                                      </a:lnTo>
                                      <a:lnTo>
                                        <a:pt x="118" y="36"/>
                                      </a:lnTo>
                                      <a:lnTo>
                                        <a:pt x="118" y="34"/>
                                      </a:lnTo>
                                      <a:lnTo>
                                        <a:pt x="118" y="34"/>
                                      </a:lnTo>
                                      <a:lnTo>
                                        <a:pt x="118" y="32"/>
                                      </a:lnTo>
                                      <a:lnTo>
                                        <a:pt x="118" y="30"/>
                                      </a:lnTo>
                                      <a:lnTo>
                                        <a:pt x="118" y="28"/>
                                      </a:lnTo>
                                      <a:lnTo>
                                        <a:pt x="120" y="24"/>
                                      </a:lnTo>
                                      <a:lnTo>
                                        <a:pt x="120" y="24"/>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9" name="Paraguay"/>
                                <p:cNvSpPr>
                                  <a:spLocks/>
                                </p:cNvSpPr>
                                <p:nvPr/>
                              </p:nvSpPr>
                              <p:spPr bwMode="auto">
                                <a:xfrm>
                                  <a:off x="3831260" y="4410616"/>
                                  <a:ext cx="276426" cy="321692"/>
                                </a:xfrm>
                                <a:custGeom>
                                  <a:avLst/>
                                  <a:gdLst/>
                                  <a:ahLst/>
                                  <a:cxnLst>
                                    <a:cxn ang="0">
                                      <a:pos x="4" y="82"/>
                                    </a:cxn>
                                    <a:cxn ang="0">
                                      <a:pos x="4" y="58"/>
                                    </a:cxn>
                                    <a:cxn ang="0">
                                      <a:pos x="0" y="36"/>
                                    </a:cxn>
                                    <a:cxn ang="0">
                                      <a:pos x="6" y="24"/>
                                    </a:cxn>
                                    <a:cxn ang="0">
                                      <a:pos x="12" y="8"/>
                                    </a:cxn>
                                    <a:cxn ang="0">
                                      <a:pos x="46" y="0"/>
                                    </a:cxn>
                                    <a:cxn ang="0">
                                      <a:pos x="70" y="2"/>
                                    </a:cxn>
                                    <a:cxn ang="0">
                                      <a:pos x="84" y="10"/>
                                    </a:cxn>
                                    <a:cxn ang="0">
                                      <a:pos x="94" y="20"/>
                                    </a:cxn>
                                    <a:cxn ang="0">
                                      <a:pos x="100" y="34"/>
                                    </a:cxn>
                                    <a:cxn ang="0">
                                      <a:pos x="108" y="48"/>
                                    </a:cxn>
                                    <a:cxn ang="0">
                                      <a:pos x="106" y="62"/>
                                    </a:cxn>
                                    <a:cxn ang="0">
                                      <a:pos x="106" y="84"/>
                                    </a:cxn>
                                    <a:cxn ang="0">
                                      <a:pos x="120" y="88"/>
                                    </a:cxn>
                                    <a:cxn ang="0">
                                      <a:pos x="134" y="90"/>
                                    </a:cxn>
                                    <a:cxn ang="0">
                                      <a:pos x="148" y="94"/>
                                    </a:cxn>
                                    <a:cxn ang="0">
                                      <a:pos x="154" y="98"/>
                                    </a:cxn>
                                    <a:cxn ang="0">
                                      <a:pos x="154" y="114"/>
                                    </a:cxn>
                                    <a:cxn ang="0">
                                      <a:pos x="156" y="126"/>
                                    </a:cxn>
                                    <a:cxn ang="0">
                                      <a:pos x="164" y="128"/>
                                    </a:cxn>
                                    <a:cxn ang="0">
                                      <a:pos x="178" y="130"/>
                                    </a:cxn>
                                    <a:cxn ang="0">
                                      <a:pos x="180" y="144"/>
                                    </a:cxn>
                                    <a:cxn ang="0">
                                      <a:pos x="180" y="172"/>
                                    </a:cxn>
                                    <a:cxn ang="0">
                                      <a:pos x="178" y="182"/>
                                    </a:cxn>
                                    <a:cxn ang="0">
                                      <a:pos x="176" y="188"/>
                                    </a:cxn>
                                    <a:cxn ang="0">
                                      <a:pos x="172" y="192"/>
                                    </a:cxn>
                                    <a:cxn ang="0">
                                      <a:pos x="166" y="202"/>
                                    </a:cxn>
                                    <a:cxn ang="0">
                                      <a:pos x="154" y="206"/>
                                    </a:cxn>
                                    <a:cxn ang="0">
                                      <a:pos x="146" y="210"/>
                                    </a:cxn>
                                    <a:cxn ang="0">
                                      <a:pos x="138" y="212"/>
                                    </a:cxn>
                                    <a:cxn ang="0">
                                      <a:pos x="134" y="210"/>
                                    </a:cxn>
                                    <a:cxn ang="0">
                                      <a:pos x="112" y="202"/>
                                    </a:cxn>
                                    <a:cxn ang="0">
                                      <a:pos x="100" y="202"/>
                                    </a:cxn>
                                    <a:cxn ang="0">
                                      <a:pos x="104" y="190"/>
                                    </a:cxn>
                                    <a:cxn ang="0">
                                      <a:pos x="108" y="178"/>
                                    </a:cxn>
                                    <a:cxn ang="0">
                                      <a:pos x="112" y="170"/>
                                    </a:cxn>
                                    <a:cxn ang="0">
                                      <a:pos x="104" y="162"/>
                                    </a:cxn>
                                    <a:cxn ang="0">
                                      <a:pos x="96" y="154"/>
                                    </a:cxn>
                                    <a:cxn ang="0">
                                      <a:pos x="78" y="142"/>
                                    </a:cxn>
                                    <a:cxn ang="0">
                                      <a:pos x="66" y="138"/>
                                    </a:cxn>
                                    <a:cxn ang="0">
                                      <a:pos x="50" y="132"/>
                                    </a:cxn>
                                    <a:cxn ang="0">
                                      <a:pos x="44" y="128"/>
                                    </a:cxn>
                                    <a:cxn ang="0">
                                      <a:pos x="18" y="106"/>
                                    </a:cxn>
                                    <a:cxn ang="0">
                                      <a:pos x="12" y="100"/>
                                    </a:cxn>
                                    <a:cxn ang="0">
                                      <a:pos x="6" y="90"/>
                                    </a:cxn>
                                  </a:cxnLst>
                                  <a:rect l="0" t="0" r="r" b="b"/>
                                  <a:pathLst>
                                    <a:path w="182" h="212">
                                      <a:moveTo>
                                        <a:pt x="6" y="90"/>
                                      </a:moveTo>
                                      <a:lnTo>
                                        <a:pt x="6" y="90"/>
                                      </a:lnTo>
                                      <a:lnTo>
                                        <a:pt x="4" y="82"/>
                                      </a:lnTo>
                                      <a:lnTo>
                                        <a:pt x="4" y="68"/>
                                      </a:lnTo>
                                      <a:lnTo>
                                        <a:pt x="4" y="68"/>
                                      </a:lnTo>
                                      <a:lnTo>
                                        <a:pt x="4" y="58"/>
                                      </a:lnTo>
                                      <a:lnTo>
                                        <a:pt x="2" y="48"/>
                                      </a:lnTo>
                                      <a:lnTo>
                                        <a:pt x="0" y="40"/>
                                      </a:lnTo>
                                      <a:lnTo>
                                        <a:pt x="0" y="36"/>
                                      </a:lnTo>
                                      <a:lnTo>
                                        <a:pt x="2" y="32"/>
                                      </a:lnTo>
                                      <a:lnTo>
                                        <a:pt x="2" y="32"/>
                                      </a:lnTo>
                                      <a:lnTo>
                                        <a:pt x="6" y="24"/>
                                      </a:lnTo>
                                      <a:lnTo>
                                        <a:pt x="8" y="16"/>
                                      </a:lnTo>
                                      <a:lnTo>
                                        <a:pt x="10" y="10"/>
                                      </a:lnTo>
                                      <a:lnTo>
                                        <a:pt x="12" y="8"/>
                                      </a:lnTo>
                                      <a:lnTo>
                                        <a:pt x="16" y="6"/>
                                      </a:lnTo>
                                      <a:lnTo>
                                        <a:pt x="16" y="6"/>
                                      </a:lnTo>
                                      <a:lnTo>
                                        <a:pt x="46" y="0"/>
                                      </a:lnTo>
                                      <a:lnTo>
                                        <a:pt x="58" y="0"/>
                                      </a:lnTo>
                                      <a:lnTo>
                                        <a:pt x="70" y="2"/>
                                      </a:lnTo>
                                      <a:lnTo>
                                        <a:pt x="70" y="2"/>
                                      </a:lnTo>
                                      <a:lnTo>
                                        <a:pt x="80" y="6"/>
                                      </a:lnTo>
                                      <a:lnTo>
                                        <a:pt x="82" y="8"/>
                                      </a:lnTo>
                                      <a:lnTo>
                                        <a:pt x="84" y="10"/>
                                      </a:lnTo>
                                      <a:lnTo>
                                        <a:pt x="92" y="14"/>
                                      </a:lnTo>
                                      <a:lnTo>
                                        <a:pt x="92" y="14"/>
                                      </a:lnTo>
                                      <a:lnTo>
                                        <a:pt x="94" y="20"/>
                                      </a:lnTo>
                                      <a:lnTo>
                                        <a:pt x="94" y="24"/>
                                      </a:lnTo>
                                      <a:lnTo>
                                        <a:pt x="94" y="26"/>
                                      </a:lnTo>
                                      <a:lnTo>
                                        <a:pt x="100" y="34"/>
                                      </a:lnTo>
                                      <a:lnTo>
                                        <a:pt x="100" y="34"/>
                                      </a:lnTo>
                                      <a:lnTo>
                                        <a:pt x="106" y="42"/>
                                      </a:lnTo>
                                      <a:lnTo>
                                        <a:pt x="108" y="48"/>
                                      </a:lnTo>
                                      <a:lnTo>
                                        <a:pt x="108" y="52"/>
                                      </a:lnTo>
                                      <a:lnTo>
                                        <a:pt x="106" y="62"/>
                                      </a:lnTo>
                                      <a:lnTo>
                                        <a:pt x="106" y="62"/>
                                      </a:lnTo>
                                      <a:lnTo>
                                        <a:pt x="100" y="80"/>
                                      </a:lnTo>
                                      <a:lnTo>
                                        <a:pt x="100" y="84"/>
                                      </a:lnTo>
                                      <a:lnTo>
                                        <a:pt x="106" y="84"/>
                                      </a:lnTo>
                                      <a:lnTo>
                                        <a:pt x="106" y="84"/>
                                      </a:lnTo>
                                      <a:lnTo>
                                        <a:pt x="114" y="86"/>
                                      </a:lnTo>
                                      <a:lnTo>
                                        <a:pt x="120" y="88"/>
                                      </a:lnTo>
                                      <a:lnTo>
                                        <a:pt x="126" y="90"/>
                                      </a:lnTo>
                                      <a:lnTo>
                                        <a:pt x="134" y="90"/>
                                      </a:lnTo>
                                      <a:lnTo>
                                        <a:pt x="134" y="90"/>
                                      </a:lnTo>
                                      <a:lnTo>
                                        <a:pt x="138" y="90"/>
                                      </a:lnTo>
                                      <a:lnTo>
                                        <a:pt x="142" y="90"/>
                                      </a:lnTo>
                                      <a:lnTo>
                                        <a:pt x="148" y="94"/>
                                      </a:lnTo>
                                      <a:lnTo>
                                        <a:pt x="148" y="94"/>
                                      </a:lnTo>
                                      <a:lnTo>
                                        <a:pt x="152" y="96"/>
                                      </a:lnTo>
                                      <a:lnTo>
                                        <a:pt x="154" y="98"/>
                                      </a:lnTo>
                                      <a:lnTo>
                                        <a:pt x="154" y="102"/>
                                      </a:lnTo>
                                      <a:lnTo>
                                        <a:pt x="152" y="108"/>
                                      </a:lnTo>
                                      <a:lnTo>
                                        <a:pt x="154" y="114"/>
                                      </a:lnTo>
                                      <a:lnTo>
                                        <a:pt x="154" y="114"/>
                                      </a:lnTo>
                                      <a:lnTo>
                                        <a:pt x="156" y="122"/>
                                      </a:lnTo>
                                      <a:lnTo>
                                        <a:pt x="156" y="126"/>
                                      </a:lnTo>
                                      <a:lnTo>
                                        <a:pt x="158" y="128"/>
                                      </a:lnTo>
                                      <a:lnTo>
                                        <a:pt x="164" y="128"/>
                                      </a:lnTo>
                                      <a:lnTo>
                                        <a:pt x="164" y="128"/>
                                      </a:lnTo>
                                      <a:lnTo>
                                        <a:pt x="170" y="126"/>
                                      </a:lnTo>
                                      <a:lnTo>
                                        <a:pt x="176" y="128"/>
                                      </a:lnTo>
                                      <a:lnTo>
                                        <a:pt x="178" y="130"/>
                                      </a:lnTo>
                                      <a:lnTo>
                                        <a:pt x="178" y="138"/>
                                      </a:lnTo>
                                      <a:lnTo>
                                        <a:pt x="178" y="138"/>
                                      </a:lnTo>
                                      <a:lnTo>
                                        <a:pt x="180" y="144"/>
                                      </a:lnTo>
                                      <a:lnTo>
                                        <a:pt x="182" y="148"/>
                                      </a:lnTo>
                                      <a:lnTo>
                                        <a:pt x="182" y="156"/>
                                      </a:lnTo>
                                      <a:lnTo>
                                        <a:pt x="180" y="172"/>
                                      </a:lnTo>
                                      <a:lnTo>
                                        <a:pt x="180" y="172"/>
                                      </a:lnTo>
                                      <a:lnTo>
                                        <a:pt x="180" y="178"/>
                                      </a:lnTo>
                                      <a:lnTo>
                                        <a:pt x="178" y="182"/>
                                      </a:lnTo>
                                      <a:lnTo>
                                        <a:pt x="178" y="182"/>
                                      </a:lnTo>
                                      <a:lnTo>
                                        <a:pt x="178" y="186"/>
                                      </a:lnTo>
                                      <a:lnTo>
                                        <a:pt x="176" y="188"/>
                                      </a:lnTo>
                                      <a:lnTo>
                                        <a:pt x="174" y="190"/>
                                      </a:lnTo>
                                      <a:lnTo>
                                        <a:pt x="172" y="192"/>
                                      </a:lnTo>
                                      <a:lnTo>
                                        <a:pt x="172" y="192"/>
                                      </a:lnTo>
                                      <a:lnTo>
                                        <a:pt x="170" y="198"/>
                                      </a:lnTo>
                                      <a:lnTo>
                                        <a:pt x="166" y="202"/>
                                      </a:lnTo>
                                      <a:lnTo>
                                        <a:pt x="166" y="202"/>
                                      </a:lnTo>
                                      <a:lnTo>
                                        <a:pt x="162" y="208"/>
                                      </a:lnTo>
                                      <a:lnTo>
                                        <a:pt x="158" y="208"/>
                                      </a:lnTo>
                                      <a:lnTo>
                                        <a:pt x="154" y="206"/>
                                      </a:lnTo>
                                      <a:lnTo>
                                        <a:pt x="150" y="208"/>
                                      </a:lnTo>
                                      <a:lnTo>
                                        <a:pt x="150" y="208"/>
                                      </a:lnTo>
                                      <a:lnTo>
                                        <a:pt x="146" y="210"/>
                                      </a:lnTo>
                                      <a:lnTo>
                                        <a:pt x="144" y="210"/>
                                      </a:lnTo>
                                      <a:lnTo>
                                        <a:pt x="142" y="210"/>
                                      </a:lnTo>
                                      <a:lnTo>
                                        <a:pt x="138" y="212"/>
                                      </a:lnTo>
                                      <a:lnTo>
                                        <a:pt x="138" y="212"/>
                                      </a:lnTo>
                                      <a:lnTo>
                                        <a:pt x="136" y="212"/>
                                      </a:lnTo>
                                      <a:lnTo>
                                        <a:pt x="134" y="210"/>
                                      </a:lnTo>
                                      <a:lnTo>
                                        <a:pt x="126" y="208"/>
                                      </a:lnTo>
                                      <a:lnTo>
                                        <a:pt x="116" y="204"/>
                                      </a:lnTo>
                                      <a:lnTo>
                                        <a:pt x="112" y="202"/>
                                      </a:lnTo>
                                      <a:lnTo>
                                        <a:pt x="104" y="204"/>
                                      </a:lnTo>
                                      <a:lnTo>
                                        <a:pt x="104" y="204"/>
                                      </a:lnTo>
                                      <a:lnTo>
                                        <a:pt x="100" y="202"/>
                                      </a:lnTo>
                                      <a:lnTo>
                                        <a:pt x="100" y="200"/>
                                      </a:lnTo>
                                      <a:lnTo>
                                        <a:pt x="104" y="190"/>
                                      </a:lnTo>
                                      <a:lnTo>
                                        <a:pt x="104" y="190"/>
                                      </a:lnTo>
                                      <a:lnTo>
                                        <a:pt x="108" y="186"/>
                                      </a:lnTo>
                                      <a:lnTo>
                                        <a:pt x="108" y="182"/>
                                      </a:lnTo>
                                      <a:lnTo>
                                        <a:pt x="108" y="178"/>
                                      </a:lnTo>
                                      <a:lnTo>
                                        <a:pt x="112" y="174"/>
                                      </a:lnTo>
                                      <a:lnTo>
                                        <a:pt x="112" y="174"/>
                                      </a:lnTo>
                                      <a:lnTo>
                                        <a:pt x="112" y="170"/>
                                      </a:lnTo>
                                      <a:lnTo>
                                        <a:pt x="112" y="168"/>
                                      </a:lnTo>
                                      <a:lnTo>
                                        <a:pt x="108" y="166"/>
                                      </a:lnTo>
                                      <a:lnTo>
                                        <a:pt x="104" y="162"/>
                                      </a:lnTo>
                                      <a:lnTo>
                                        <a:pt x="104" y="162"/>
                                      </a:lnTo>
                                      <a:lnTo>
                                        <a:pt x="100" y="156"/>
                                      </a:lnTo>
                                      <a:lnTo>
                                        <a:pt x="96" y="154"/>
                                      </a:lnTo>
                                      <a:lnTo>
                                        <a:pt x="84" y="146"/>
                                      </a:lnTo>
                                      <a:lnTo>
                                        <a:pt x="84" y="146"/>
                                      </a:lnTo>
                                      <a:lnTo>
                                        <a:pt x="78" y="142"/>
                                      </a:lnTo>
                                      <a:lnTo>
                                        <a:pt x="74" y="142"/>
                                      </a:lnTo>
                                      <a:lnTo>
                                        <a:pt x="72" y="142"/>
                                      </a:lnTo>
                                      <a:lnTo>
                                        <a:pt x="66" y="138"/>
                                      </a:lnTo>
                                      <a:lnTo>
                                        <a:pt x="66" y="138"/>
                                      </a:lnTo>
                                      <a:lnTo>
                                        <a:pt x="56" y="134"/>
                                      </a:lnTo>
                                      <a:lnTo>
                                        <a:pt x="50" y="132"/>
                                      </a:lnTo>
                                      <a:lnTo>
                                        <a:pt x="48" y="132"/>
                                      </a:lnTo>
                                      <a:lnTo>
                                        <a:pt x="44" y="128"/>
                                      </a:lnTo>
                                      <a:lnTo>
                                        <a:pt x="44" y="128"/>
                                      </a:lnTo>
                                      <a:lnTo>
                                        <a:pt x="30" y="116"/>
                                      </a:lnTo>
                                      <a:lnTo>
                                        <a:pt x="18" y="106"/>
                                      </a:lnTo>
                                      <a:lnTo>
                                        <a:pt x="18" y="106"/>
                                      </a:lnTo>
                                      <a:lnTo>
                                        <a:pt x="14" y="104"/>
                                      </a:lnTo>
                                      <a:lnTo>
                                        <a:pt x="12" y="102"/>
                                      </a:lnTo>
                                      <a:lnTo>
                                        <a:pt x="12" y="100"/>
                                      </a:lnTo>
                                      <a:lnTo>
                                        <a:pt x="12" y="94"/>
                                      </a:lnTo>
                                      <a:lnTo>
                                        <a:pt x="10" y="92"/>
                                      </a:lnTo>
                                      <a:lnTo>
                                        <a:pt x="6" y="90"/>
                                      </a:lnTo>
                                      <a:lnTo>
                                        <a:pt x="6" y="9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6" name="Zimbabwe"/>
                                <p:cNvSpPr>
                                  <a:spLocks/>
                                </p:cNvSpPr>
                                <p:nvPr/>
                              </p:nvSpPr>
                              <p:spPr bwMode="auto">
                                <a:xfrm>
                                  <a:off x="6577824" y="4298328"/>
                                  <a:ext cx="255162" cy="260996"/>
                                </a:xfrm>
                                <a:custGeom>
                                  <a:avLst/>
                                  <a:gdLst/>
                                  <a:ahLst/>
                                  <a:cxnLst>
                                    <a:cxn ang="0">
                                      <a:pos x="84" y="168"/>
                                    </a:cxn>
                                    <a:cxn ang="0">
                                      <a:pos x="94" y="166"/>
                                    </a:cxn>
                                    <a:cxn ang="0">
                                      <a:pos x="108" y="170"/>
                                    </a:cxn>
                                    <a:cxn ang="0">
                                      <a:pos x="114" y="170"/>
                                    </a:cxn>
                                    <a:cxn ang="0">
                                      <a:pos x="126" y="172"/>
                                    </a:cxn>
                                    <a:cxn ang="0">
                                      <a:pos x="128" y="172"/>
                                    </a:cxn>
                                    <a:cxn ang="0">
                                      <a:pos x="142" y="146"/>
                                    </a:cxn>
                                    <a:cxn ang="0">
                                      <a:pos x="142" y="142"/>
                                    </a:cxn>
                                    <a:cxn ang="0">
                                      <a:pos x="142" y="138"/>
                                    </a:cxn>
                                    <a:cxn ang="0">
                                      <a:pos x="142" y="134"/>
                                    </a:cxn>
                                    <a:cxn ang="0">
                                      <a:pos x="146" y="134"/>
                                    </a:cxn>
                                    <a:cxn ang="0">
                                      <a:pos x="150" y="126"/>
                                    </a:cxn>
                                    <a:cxn ang="0">
                                      <a:pos x="160" y="116"/>
                                    </a:cxn>
                                    <a:cxn ang="0">
                                      <a:pos x="160" y="110"/>
                                    </a:cxn>
                                    <a:cxn ang="0">
                                      <a:pos x="158" y="106"/>
                                    </a:cxn>
                                    <a:cxn ang="0">
                                      <a:pos x="158" y="102"/>
                                    </a:cxn>
                                    <a:cxn ang="0">
                                      <a:pos x="152" y="96"/>
                                    </a:cxn>
                                    <a:cxn ang="0">
                                      <a:pos x="162" y="80"/>
                                    </a:cxn>
                                    <a:cxn ang="0">
                                      <a:pos x="164" y="74"/>
                                    </a:cxn>
                                    <a:cxn ang="0">
                                      <a:pos x="168" y="70"/>
                                    </a:cxn>
                                    <a:cxn ang="0">
                                      <a:pos x="164" y="58"/>
                                    </a:cxn>
                                    <a:cxn ang="0">
                                      <a:pos x="164" y="52"/>
                                    </a:cxn>
                                    <a:cxn ang="0">
                                      <a:pos x="166" y="40"/>
                                    </a:cxn>
                                    <a:cxn ang="0">
                                      <a:pos x="164" y="32"/>
                                    </a:cxn>
                                    <a:cxn ang="0">
                                      <a:pos x="158" y="24"/>
                                    </a:cxn>
                                    <a:cxn ang="0">
                                      <a:pos x="150" y="24"/>
                                    </a:cxn>
                                    <a:cxn ang="0">
                                      <a:pos x="136" y="18"/>
                                    </a:cxn>
                                    <a:cxn ang="0">
                                      <a:pos x="122" y="12"/>
                                    </a:cxn>
                                    <a:cxn ang="0">
                                      <a:pos x="116" y="12"/>
                                    </a:cxn>
                                    <a:cxn ang="0">
                                      <a:pos x="110" y="0"/>
                                    </a:cxn>
                                    <a:cxn ang="0">
                                      <a:pos x="96" y="4"/>
                                    </a:cxn>
                                    <a:cxn ang="0">
                                      <a:pos x="94" y="4"/>
                                    </a:cxn>
                                    <a:cxn ang="0">
                                      <a:pos x="94" y="6"/>
                                    </a:cxn>
                                    <a:cxn ang="0">
                                      <a:pos x="86" y="10"/>
                                    </a:cxn>
                                    <a:cxn ang="0">
                                      <a:pos x="72" y="20"/>
                                    </a:cxn>
                                    <a:cxn ang="0">
                                      <a:pos x="64" y="34"/>
                                    </a:cxn>
                                    <a:cxn ang="0">
                                      <a:pos x="54" y="50"/>
                                    </a:cxn>
                                    <a:cxn ang="0">
                                      <a:pos x="50" y="52"/>
                                    </a:cxn>
                                    <a:cxn ang="0">
                                      <a:pos x="40" y="54"/>
                                    </a:cxn>
                                    <a:cxn ang="0">
                                      <a:pos x="34" y="54"/>
                                    </a:cxn>
                                    <a:cxn ang="0">
                                      <a:pos x="26" y="54"/>
                                    </a:cxn>
                                    <a:cxn ang="0">
                                      <a:pos x="0" y="54"/>
                                    </a:cxn>
                                    <a:cxn ang="0">
                                      <a:pos x="4" y="66"/>
                                    </a:cxn>
                                    <a:cxn ang="0">
                                      <a:pos x="10" y="72"/>
                                    </a:cxn>
                                    <a:cxn ang="0">
                                      <a:pos x="12" y="82"/>
                                    </a:cxn>
                                    <a:cxn ang="0">
                                      <a:pos x="18" y="98"/>
                                    </a:cxn>
                                    <a:cxn ang="0">
                                      <a:pos x="32" y="112"/>
                                    </a:cxn>
                                    <a:cxn ang="0">
                                      <a:pos x="42" y="126"/>
                                    </a:cxn>
                                    <a:cxn ang="0">
                                      <a:pos x="46" y="130"/>
                                    </a:cxn>
                                    <a:cxn ang="0">
                                      <a:pos x="46" y="134"/>
                                    </a:cxn>
                                    <a:cxn ang="0">
                                      <a:pos x="52" y="148"/>
                                    </a:cxn>
                                    <a:cxn ang="0">
                                      <a:pos x="60" y="156"/>
                                    </a:cxn>
                                    <a:cxn ang="0">
                                      <a:pos x="66" y="158"/>
                                    </a:cxn>
                                    <a:cxn ang="0">
                                      <a:pos x="84" y="164"/>
                                    </a:cxn>
                                    <a:cxn ang="0">
                                      <a:pos x="84" y="168"/>
                                    </a:cxn>
                                  </a:cxnLst>
                                  <a:rect l="0" t="0" r="r" b="b"/>
                                  <a:pathLst>
                                    <a:path w="168" h="172">
                                      <a:moveTo>
                                        <a:pt x="84" y="168"/>
                                      </a:moveTo>
                                      <a:lnTo>
                                        <a:pt x="84" y="168"/>
                                      </a:lnTo>
                                      <a:lnTo>
                                        <a:pt x="88" y="166"/>
                                      </a:lnTo>
                                      <a:lnTo>
                                        <a:pt x="94" y="166"/>
                                      </a:lnTo>
                                      <a:lnTo>
                                        <a:pt x="100" y="168"/>
                                      </a:lnTo>
                                      <a:lnTo>
                                        <a:pt x="108" y="170"/>
                                      </a:lnTo>
                                      <a:lnTo>
                                        <a:pt x="114" y="170"/>
                                      </a:lnTo>
                                      <a:lnTo>
                                        <a:pt x="114" y="170"/>
                                      </a:lnTo>
                                      <a:lnTo>
                                        <a:pt x="122" y="170"/>
                                      </a:lnTo>
                                      <a:lnTo>
                                        <a:pt x="126" y="172"/>
                                      </a:lnTo>
                                      <a:lnTo>
                                        <a:pt x="128" y="172"/>
                                      </a:lnTo>
                                      <a:lnTo>
                                        <a:pt x="128" y="172"/>
                                      </a:lnTo>
                                      <a:lnTo>
                                        <a:pt x="142" y="146"/>
                                      </a:lnTo>
                                      <a:lnTo>
                                        <a:pt x="142" y="146"/>
                                      </a:lnTo>
                                      <a:lnTo>
                                        <a:pt x="142" y="144"/>
                                      </a:lnTo>
                                      <a:lnTo>
                                        <a:pt x="142" y="142"/>
                                      </a:lnTo>
                                      <a:lnTo>
                                        <a:pt x="142" y="142"/>
                                      </a:lnTo>
                                      <a:lnTo>
                                        <a:pt x="142" y="138"/>
                                      </a:lnTo>
                                      <a:lnTo>
                                        <a:pt x="142" y="138"/>
                                      </a:lnTo>
                                      <a:lnTo>
                                        <a:pt x="142" y="134"/>
                                      </a:lnTo>
                                      <a:lnTo>
                                        <a:pt x="144" y="134"/>
                                      </a:lnTo>
                                      <a:lnTo>
                                        <a:pt x="146" y="134"/>
                                      </a:lnTo>
                                      <a:lnTo>
                                        <a:pt x="150" y="126"/>
                                      </a:lnTo>
                                      <a:lnTo>
                                        <a:pt x="150" y="126"/>
                                      </a:lnTo>
                                      <a:lnTo>
                                        <a:pt x="156" y="118"/>
                                      </a:lnTo>
                                      <a:lnTo>
                                        <a:pt x="160" y="116"/>
                                      </a:lnTo>
                                      <a:lnTo>
                                        <a:pt x="162" y="116"/>
                                      </a:lnTo>
                                      <a:lnTo>
                                        <a:pt x="160" y="110"/>
                                      </a:lnTo>
                                      <a:lnTo>
                                        <a:pt x="160" y="110"/>
                                      </a:lnTo>
                                      <a:lnTo>
                                        <a:pt x="158" y="106"/>
                                      </a:lnTo>
                                      <a:lnTo>
                                        <a:pt x="160" y="104"/>
                                      </a:lnTo>
                                      <a:lnTo>
                                        <a:pt x="158" y="102"/>
                                      </a:lnTo>
                                      <a:lnTo>
                                        <a:pt x="152" y="96"/>
                                      </a:lnTo>
                                      <a:lnTo>
                                        <a:pt x="152" y="96"/>
                                      </a:lnTo>
                                      <a:lnTo>
                                        <a:pt x="160" y="86"/>
                                      </a:lnTo>
                                      <a:lnTo>
                                        <a:pt x="162" y="80"/>
                                      </a:lnTo>
                                      <a:lnTo>
                                        <a:pt x="162" y="76"/>
                                      </a:lnTo>
                                      <a:lnTo>
                                        <a:pt x="164" y="74"/>
                                      </a:lnTo>
                                      <a:lnTo>
                                        <a:pt x="164" y="74"/>
                                      </a:lnTo>
                                      <a:lnTo>
                                        <a:pt x="168" y="70"/>
                                      </a:lnTo>
                                      <a:lnTo>
                                        <a:pt x="166" y="64"/>
                                      </a:lnTo>
                                      <a:lnTo>
                                        <a:pt x="164" y="58"/>
                                      </a:lnTo>
                                      <a:lnTo>
                                        <a:pt x="164" y="52"/>
                                      </a:lnTo>
                                      <a:lnTo>
                                        <a:pt x="164" y="52"/>
                                      </a:lnTo>
                                      <a:lnTo>
                                        <a:pt x="164" y="44"/>
                                      </a:lnTo>
                                      <a:lnTo>
                                        <a:pt x="166" y="40"/>
                                      </a:lnTo>
                                      <a:lnTo>
                                        <a:pt x="168" y="38"/>
                                      </a:lnTo>
                                      <a:lnTo>
                                        <a:pt x="164" y="32"/>
                                      </a:lnTo>
                                      <a:lnTo>
                                        <a:pt x="164" y="32"/>
                                      </a:lnTo>
                                      <a:lnTo>
                                        <a:pt x="158" y="24"/>
                                      </a:lnTo>
                                      <a:lnTo>
                                        <a:pt x="150" y="24"/>
                                      </a:lnTo>
                                      <a:lnTo>
                                        <a:pt x="150" y="24"/>
                                      </a:lnTo>
                                      <a:lnTo>
                                        <a:pt x="142" y="20"/>
                                      </a:lnTo>
                                      <a:lnTo>
                                        <a:pt x="136" y="18"/>
                                      </a:lnTo>
                                      <a:lnTo>
                                        <a:pt x="132" y="14"/>
                                      </a:lnTo>
                                      <a:lnTo>
                                        <a:pt x="122" y="12"/>
                                      </a:lnTo>
                                      <a:lnTo>
                                        <a:pt x="122" y="12"/>
                                      </a:lnTo>
                                      <a:lnTo>
                                        <a:pt x="116" y="12"/>
                                      </a:lnTo>
                                      <a:lnTo>
                                        <a:pt x="114" y="10"/>
                                      </a:lnTo>
                                      <a:lnTo>
                                        <a:pt x="110" y="0"/>
                                      </a:lnTo>
                                      <a:lnTo>
                                        <a:pt x="110" y="0"/>
                                      </a:lnTo>
                                      <a:lnTo>
                                        <a:pt x="96" y="4"/>
                                      </a:lnTo>
                                      <a:lnTo>
                                        <a:pt x="94" y="4"/>
                                      </a:lnTo>
                                      <a:lnTo>
                                        <a:pt x="94" y="4"/>
                                      </a:lnTo>
                                      <a:lnTo>
                                        <a:pt x="96" y="4"/>
                                      </a:lnTo>
                                      <a:lnTo>
                                        <a:pt x="94" y="6"/>
                                      </a:lnTo>
                                      <a:lnTo>
                                        <a:pt x="86" y="10"/>
                                      </a:lnTo>
                                      <a:lnTo>
                                        <a:pt x="86" y="10"/>
                                      </a:lnTo>
                                      <a:lnTo>
                                        <a:pt x="78" y="14"/>
                                      </a:lnTo>
                                      <a:lnTo>
                                        <a:pt x="72" y="20"/>
                                      </a:lnTo>
                                      <a:lnTo>
                                        <a:pt x="66" y="26"/>
                                      </a:lnTo>
                                      <a:lnTo>
                                        <a:pt x="64" y="34"/>
                                      </a:lnTo>
                                      <a:lnTo>
                                        <a:pt x="58" y="46"/>
                                      </a:lnTo>
                                      <a:lnTo>
                                        <a:pt x="54" y="50"/>
                                      </a:lnTo>
                                      <a:lnTo>
                                        <a:pt x="50" y="52"/>
                                      </a:lnTo>
                                      <a:lnTo>
                                        <a:pt x="50" y="52"/>
                                      </a:lnTo>
                                      <a:lnTo>
                                        <a:pt x="44" y="52"/>
                                      </a:lnTo>
                                      <a:lnTo>
                                        <a:pt x="40" y="54"/>
                                      </a:lnTo>
                                      <a:lnTo>
                                        <a:pt x="38" y="56"/>
                                      </a:lnTo>
                                      <a:lnTo>
                                        <a:pt x="34" y="54"/>
                                      </a:lnTo>
                                      <a:lnTo>
                                        <a:pt x="34" y="54"/>
                                      </a:lnTo>
                                      <a:lnTo>
                                        <a:pt x="26" y="54"/>
                                      </a:lnTo>
                                      <a:lnTo>
                                        <a:pt x="16" y="54"/>
                                      </a:lnTo>
                                      <a:lnTo>
                                        <a:pt x="0" y="54"/>
                                      </a:lnTo>
                                      <a:lnTo>
                                        <a:pt x="0" y="54"/>
                                      </a:lnTo>
                                      <a:lnTo>
                                        <a:pt x="4" y="66"/>
                                      </a:lnTo>
                                      <a:lnTo>
                                        <a:pt x="8" y="70"/>
                                      </a:lnTo>
                                      <a:lnTo>
                                        <a:pt x="10" y="72"/>
                                      </a:lnTo>
                                      <a:lnTo>
                                        <a:pt x="12" y="82"/>
                                      </a:lnTo>
                                      <a:lnTo>
                                        <a:pt x="12" y="82"/>
                                      </a:lnTo>
                                      <a:lnTo>
                                        <a:pt x="14" y="92"/>
                                      </a:lnTo>
                                      <a:lnTo>
                                        <a:pt x="18" y="98"/>
                                      </a:lnTo>
                                      <a:lnTo>
                                        <a:pt x="32" y="112"/>
                                      </a:lnTo>
                                      <a:lnTo>
                                        <a:pt x="32" y="112"/>
                                      </a:lnTo>
                                      <a:lnTo>
                                        <a:pt x="38" y="120"/>
                                      </a:lnTo>
                                      <a:lnTo>
                                        <a:pt x="42" y="126"/>
                                      </a:lnTo>
                                      <a:lnTo>
                                        <a:pt x="44" y="128"/>
                                      </a:lnTo>
                                      <a:lnTo>
                                        <a:pt x="46" y="130"/>
                                      </a:lnTo>
                                      <a:lnTo>
                                        <a:pt x="46" y="130"/>
                                      </a:lnTo>
                                      <a:lnTo>
                                        <a:pt x="46" y="134"/>
                                      </a:lnTo>
                                      <a:lnTo>
                                        <a:pt x="50" y="144"/>
                                      </a:lnTo>
                                      <a:lnTo>
                                        <a:pt x="52" y="148"/>
                                      </a:lnTo>
                                      <a:lnTo>
                                        <a:pt x="54" y="152"/>
                                      </a:lnTo>
                                      <a:lnTo>
                                        <a:pt x="60" y="156"/>
                                      </a:lnTo>
                                      <a:lnTo>
                                        <a:pt x="66" y="158"/>
                                      </a:lnTo>
                                      <a:lnTo>
                                        <a:pt x="66" y="158"/>
                                      </a:lnTo>
                                      <a:lnTo>
                                        <a:pt x="78" y="162"/>
                                      </a:lnTo>
                                      <a:lnTo>
                                        <a:pt x="84" y="164"/>
                                      </a:lnTo>
                                      <a:lnTo>
                                        <a:pt x="84" y="166"/>
                                      </a:lnTo>
                                      <a:lnTo>
                                        <a:pt x="84" y="168"/>
                                      </a:lnTo>
                                      <a:lnTo>
                                        <a:pt x="84" y="16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4" name="San Marino"/>
                                <p:cNvSpPr>
                                  <a:spLocks/>
                                </p:cNvSpPr>
                                <p:nvPr/>
                              </p:nvSpPr>
                              <p:spPr bwMode="auto">
                                <a:xfrm>
                                  <a:off x="6145471" y="2065858"/>
                                  <a:ext cx="18226" cy="15174"/>
                                </a:xfrm>
                                <a:custGeom>
                                  <a:avLst/>
                                  <a:gdLst/>
                                  <a:ahLst/>
                                  <a:cxnLst>
                                    <a:cxn ang="0">
                                      <a:pos x="6" y="0"/>
                                    </a:cxn>
                                    <a:cxn ang="0">
                                      <a:pos x="6" y="0"/>
                                    </a:cxn>
                                    <a:cxn ang="0">
                                      <a:pos x="4" y="0"/>
                                    </a:cxn>
                                    <a:cxn ang="0">
                                      <a:pos x="2" y="2"/>
                                    </a:cxn>
                                    <a:cxn ang="0">
                                      <a:pos x="2" y="2"/>
                                    </a:cxn>
                                    <a:cxn ang="0">
                                      <a:pos x="2" y="4"/>
                                    </a:cxn>
                                    <a:cxn ang="0">
                                      <a:pos x="2" y="4"/>
                                    </a:cxn>
                                    <a:cxn ang="0">
                                      <a:pos x="4" y="6"/>
                                    </a:cxn>
                                    <a:cxn ang="0">
                                      <a:pos x="4" y="6"/>
                                    </a:cxn>
                                    <a:cxn ang="0">
                                      <a:pos x="4" y="6"/>
                                    </a:cxn>
                                    <a:cxn ang="0">
                                      <a:pos x="4" y="6"/>
                                    </a:cxn>
                                    <a:cxn ang="0">
                                      <a:pos x="0" y="6"/>
                                    </a:cxn>
                                    <a:cxn ang="0">
                                      <a:pos x="0" y="6"/>
                                    </a:cxn>
                                    <a:cxn ang="0">
                                      <a:pos x="0" y="6"/>
                                    </a:cxn>
                                    <a:cxn ang="0">
                                      <a:pos x="0" y="6"/>
                                    </a:cxn>
                                    <a:cxn ang="0">
                                      <a:pos x="0" y="6"/>
                                    </a:cxn>
                                    <a:cxn ang="0">
                                      <a:pos x="0" y="6"/>
                                    </a:cxn>
                                    <a:cxn ang="0">
                                      <a:pos x="2" y="8"/>
                                    </a:cxn>
                                    <a:cxn ang="0">
                                      <a:pos x="6" y="10"/>
                                    </a:cxn>
                                    <a:cxn ang="0">
                                      <a:pos x="6" y="10"/>
                                    </a:cxn>
                                    <a:cxn ang="0">
                                      <a:pos x="8" y="10"/>
                                    </a:cxn>
                                    <a:cxn ang="0">
                                      <a:pos x="12" y="8"/>
                                    </a:cxn>
                                    <a:cxn ang="0">
                                      <a:pos x="12" y="8"/>
                                    </a:cxn>
                                    <a:cxn ang="0">
                                      <a:pos x="12" y="8"/>
                                    </a:cxn>
                                    <a:cxn ang="0">
                                      <a:pos x="12" y="6"/>
                                    </a:cxn>
                                    <a:cxn ang="0">
                                      <a:pos x="12" y="6"/>
                                    </a:cxn>
                                    <a:cxn ang="0">
                                      <a:pos x="12" y="4"/>
                                    </a:cxn>
                                    <a:cxn ang="0">
                                      <a:pos x="12" y="4"/>
                                    </a:cxn>
                                    <a:cxn ang="0">
                                      <a:pos x="12" y="2"/>
                                    </a:cxn>
                                    <a:cxn ang="0">
                                      <a:pos x="12" y="2"/>
                                    </a:cxn>
                                    <a:cxn ang="0">
                                      <a:pos x="12" y="0"/>
                                    </a:cxn>
                                    <a:cxn ang="0">
                                      <a:pos x="12" y="0"/>
                                    </a:cxn>
                                    <a:cxn ang="0">
                                      <a:pos x="10" y="0"/>
                                    </a:cxn>
                                    <a:cxn ang="0">
                                      <a:pos x="10" y="0"/>
                                    </a:cxn>
                                    <a:cxn ang="0">
                                      <a:pos x="6" y="0"/>
                                    </a:cxn>
                                    <a:cxn ang="0">
                                      <a:pos x="6" y="0"/>
                                    </a:cxn>
                                  </a:cxnLst>
                                  <a:rect l="0" t="0" r="r" b="b"/>
                                  <a:pathLst>
                                    <a:path w="12" h="10">
                                      <a:moveTo>
                                        <a:pt x="6" y="0"/>
                                      </a:moveTo>
                                      <a:lnTo>
                                        <a:pt x="6" y="0"/>
                                      </a:lnTo>
                                      <a:lnTo>
                                        <a:pt x="4" y="0"/>
                                      </a:lnTo>
                                      <a:lnTo>
                                        <a:pt x="2" y="2"/>
                                      </a:lnTo>
                                      <a:lnTo>
                                        <a:pt x="2" y="2"/>
                                      </a:lnTo>
                                      <a:lnTo>
                                        <a:pt x="2" y="4"/>
                                      </a:lnTo>
                                      <a:lnTo>
                                        <a:pt x="2" y="4"/>
                                      </a:lnTo>
                                      <a:lnTo>
                                        <a:pt x="4" y="6"/>
                                      </a:lnTo>
                                      <a:lnTo>
                                        <a:pt x="4" y="6"/>
                                      </a:lnTo>
                                      <a:lnTo>
                                        <a:pt x="4" y="6"/>
                                      </a:lnTo>
                                      <a:lnTo>
                                        <a:pt x="4" y="6"/>
                                      </a:lnTo>
                                      <a:lnTo>
                                        <a:pt x="0" y="6"/>
                                      </a:lnTo>
                                      <a:lnTo>
                                        <a:pt x="0" y="6"/>
                                      </a:lnTo>
                                      <a:lnTo>
                                        <a:pt x="0" y="6"/>
                                      </a:lnTo>
                                      <a:lnTo>
                                        <a:pt x="0" y="6"/>
                                      </a:lnTo>
                                      <a:lnTo>
                                        <a:pt x="0" y="6"/>
                                      </a:lnTo>
                                      <a:lnTo>
                                        <a:pt x="0" y="6"/>
                                      </a:lnTo>
                                      <a:lnTo>
                                        <a:pt x="2" y="8"/>
                                      </a:lnTo>
                                      <a:lnTo>
                                        <a:pt x="6" y="10"/>
                                      </a:lnTo>
                                      <a:lnTo>
                                        <a:pt x="6" y="10"/>
                                      </a:lnTo>
                                      <a:lnTo>
                                        <a:pt x="8" y="10"/>
                                      </a:lnTo>
                                      <a:lnTo>
                                        <a:pt x="12" y="8"/>
                                      </a:lnTo>
                                      <a:lnTo>
                                        <a:pt x="12" y="8"/>
                                      </a:lnTo>
                                      <a:lnTo>
                                        <a:pt x="12" y="8"/>
                                      </a:lnTo>
                                      <a:lnTo>
                                        <a:pt x="12" y="6"/>
                                      </a:lnTo>
                                      <a:lnTo>
                                        <a:pt x="12" y="6"/>
                                      </a:lnTo>
                                      <a:lnTo>
                                        <a:pt x="12" y="4"/>
                                      </a:lnTo>
                                      <a:lnTo>
                                        <a:pt x="12" y="4"/>
                                      </a:lnTo>
                                      <a:lnTo>
                                        <a:pt x="12" y="2"/>
                                      </a:lnTo>
                                      <a:lnTo>
                                        <a:pt x="12" y="2"/>
                                      </a:lnTo>
                                      <a:lnTo>
                                        <a:pt x="12" y="0"/>
                                      </a:lnTo>
                                      <a:lnTo>
                                        <a:pt x="12" y="0"/>
                                      </a:lnTo>
                                      <a:lnTo>
                                        <a:pt x="10" y="0"/>
                                      </a:lnTo>
                                      <a:lnTo>
                                        <a:pt x="10" y="0"/>
                                      </a:lnTo>
                                      <a:lnTo>
                                        <a:pt x="6" y="0"/>
                                      </a:lnTo>
                                      <a:lnTo>
                                        <a:pt x="6" y="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2" name="Senegal"/>
                                <p:cNvSpPr>
                                  <a:spLocks/>
                                </p:cNvSpPr>
                                <p:nvPr/>
                              </p:nvSpPr>
                              <p:spPr bwMode="auto">
                                <a:xfrm>
                                  <a:off x="5225707" y="3041907"/>
                                  <a:ext cx="194409" cy="169951"/>
                                </a:xfrm>
                                <a:custGeom>
                                  <a:avLst/>
                                  <a:gdLst/>
                                  <a:ahLst/>
                                  <a:cxnLst>
                                    <a:cxn ang="0">
                                      <a:pos x="106" y="40"/>
                                    </a:cxn>
                                    <a:cxn ang="0">
                                      <a:pos x="102" y="32"/>
                                    </a:cxn>
                                    <a:cxn ang="0">
                                      <a:pos x="100" y="26"/>
                                    </a:cxn>
                                    <a:cxn ang="0">
                                      <a:pos x="96" y="22"/>
                                    </a:cxn>
                                    <a:cxn ang="0">
                                      <a:pos x="94" y="14"/>
                                    </a:cxn>
                                    <a:cxn ang="0">
                                      <a:pos x="88" y="14"/>
                                    </a:cxn>
                                    <a:cxn ang="0">
                                      <a:pos x="80" y="4"/>
                                    </a:cxn>
                                    <a:cxn ang="0">
                                      <a:pos x="72" y="2"/>
                                    </a:cxn>
                                    <a:cxn ang="0">
                                      <a:pos x="66" y="0"/>
                                    </a:cxn>
                                    <a:cxn ang="0">
                                      <a:pos x="62" y="0"/>
                                    </a:cxn>
                                    <a:cxn ang="0">
                                      <a:pos x="56" y="4"/>
                                    </a:cxn>
                                    <a:cxn ang="0">
                                      <a:pos x="50" y="4"/>
                                    </a:cxn>
                                    <a:cxn ang="0">
                                      <a:pos x="44" y="4"/>
                                    </a:cxn>
                                    <a:cxn ang="0">
                                      <a:pos x="38" y="2"/>
                                    </a:cxn>
                                    <a:cxn ang="0">
                                      <a:pos x="32" y="6"/>
                                    </a:cxn>
                                    <a:cxn ang="0">
                                      <a:pos x="20" y="30"/>
                                    </a:cxn>
                                    <a:cxn ang="0">
                                      <a:pos x="6" y="46"/>
                                    </a:cxn>
                                    <a:cxn ang="0">
                                      <a:pos x="4" y="54"/>
                                    </a:cxn>
                                    <a:cxn ang="0">
                                      <a:pos x="8" y="56"/>
                                    </a:cxn>
                                    <a:cxn ang="0">
                                      <a:pos x="10" y="60"/>
                                    </a:cxn>
                                    <a:cxn ang="0">
                                      <a:pos x="12" y="62"/>
                                    </a:cxn>
                                    <a:cxn ang="0">
                                      <a:pos x="18" y="66"/>
                                    </a:cxn>
                                    <a:cxn ang="0">
                                      <a:pos x="26" y="66"/>
                                    </a:cxn>
                                    <a:cxn ang="0">
                                      <a:pos x="18" y="68"/>
                                    </a:cxn>
                                    <a:cxn ang="0">
                                      <a:pos x="22" y="74"/>
                                    </a:cxn>
                                    <a:cxn ang="0">
                                      <a:pos x="22" y="78"/>
                                    </a:cxn>
                                    <a:cxn ang="0">
                                      <a:pos x="42" y="76"/>
                                    </a:cxn>
                                    <a:cxn ang="0">
                                      <a:pos x="46" y="74"/>
                                    </a:cxn>
                                    <a:cxn ang="0">
                                      <a:pos x="70" y="78"/>
                                    </a:cxn>
                                    <a:cxn ang="0">
                                      <a:pos x="84" y="80"/>
                                    </a:cxn>
                                    <a:cxn ang="0">
                                      <a:pos x="76" y="84"/>
                                    </a:cxn>
                                    <a:cxn ang="0">
                                      <a:pos x="54" y="84"/>
                                    </a:cxn>
                                    <a:cxn ang="0">
                                      <a:pos x="42" y="86"/>
                                    </a:cxn>
                                    <a:cxn ang="0">
                                      <a:pos x="34" y="90"/>
                                    </a:cxn>
                                    <a:cxn ang="0">
                                      <a:pos x="22" y="100"/>
                                    </a:cxn>
                                    <a:cxn ang="0">
                                      <a:pos x="24" y="102"/>
                                    </a:cxn>
                                    <a:cxn ang="0">
                                      <a:pos x="32" y="100"/>
                                    </a:cxn>
                                    <a:cxn ang="0">
                                      <a:pos x="38" y="98"/>
                                    </a:cxn>
                                    <a:cxn ang="0">
                                      <a:pos x="44" y="98"/>
                                    </a:cxn>
                                    <a:cxn ang="0">
                                      <a:pos x="52" y="98"/>
                                    </a:cxn>
                                    <a:cxn ang="0">
                                      <a:pos x="58" y="100"/>
                                    </a:cxn>
                                    <a:cxn ang="0">
                                      <a:pos x="52" y="102"/>
                                    </a:cxn>
                                    <a:cxn ang="0">
                                      <a:pos x="48" y="100"/>
                                    </a:cxn>
                                    <a:cxn ang="0">
                                      <a:pos x="44" y="100"/>
                                    </a:cxn>
                                    <a:cxn ang="0">
                                      <a:pos x="34" y="102"/>
                                    </a:cxn>
                                    <a:cxn ang="0">
                                      <a:pos x="28" y="102"/>
                                    </a:cxn>
                                    <a:cxn ang="0">
                                      <a:pos x="26" y="104"/>
                                    </a:cxn>
                                    <a:cxn ang="0">
                                      <a:pos x="24" y="112"/>
                                    </a:cxn>
                                    <a:cxn ang="0">
                                      <a:pos x="28" y="108"/>
                                    </a:cxn>
                                    <a:cxn ang="0">
                                      <a:pos x="38" y="106"/>
                                    </a:cxn>
                                    <a:cxn ang="0">
                                      <a:pos x="62" y="102"/>
                                    </a:cxn>
                                    <a:cxn ang="0">
                                      <a:pos x="78" y="104"/>
                                    </a:cxn>
                                    <a:cxn ang="0">
                                      <a:pos x="92" y="106"/>
                                    </a:cxn>
                                    <a:cxn ang="0">
                                      <a:pos x="102" y="106"/>
                                    </a:cxn>
                                    <a:cxn ang="0">
                                      <a:pos x="126" y="108"/>
                                    </a:cxn>
                                    <a:cxn ang="0">
                                      <a:pos x="128" y="92"/>
                                    </a:cxn>
                                    <a:cxn ang="0">
                                      <a:pos x="122" y="76"/>
                                    </a:cxn>
                                    <a:cxn ang="0">
                                      <a:pos x="116" y="74"/>
                                    </a:cxn>
                                    <a:cxn ang="0">
                                      <a:pos x="114" y="62"/>
                                    </a:cxn>
                                    <a:cxn ang="0">
                                      <a:pos x="112" y="50"/>
                                    </a:cxn>
                                  </a:cxnLst>
                                  <a:rect l="0" t="0" r="r" b="b"/>
                                  <a:pathLst>
                                    <a:path w="128" h="112">
                                      <a:moveTo>
                                        <a:pt x="112" y="44"/>
                                      </a:moveTo>
                                      <a:lnTo>
                                        <a:pt x="112" y="44"/>
                                      </a:lnTo>
                                      <a:lnTo>
                                        <a:pt x="106" y="40"/>
                                      </a:lnTo>
                                      <a:lnTo>
                                        <a:pt x="104" y="38"/>
                                      </a:lnTo>
                                      <a:lnTo>
                                        <a:pt x="104" y="36"/>
                                      </a:lnTo>
                                      <a:lnTo>
                                        <a:pt x="102" y="32"/>
                                      </a:lnTo>
                                      <a:lnTo>
                                        <a:pt x="102" y="32"/>
                                      </a:lnTo>
                                      <a:lnTo>
                                        <a:pt x="100" y="30"/>
                                      </a:lnTo>
                                      <a:lnTo>
                                        <a:pt x="100" y="26"/>
                                      </a:lnTo>
                                      <a:lnTo>
                                        <a:pt x="100" y="24"/>
                                      </a:lnTo>
                                      <a:lnTo>
                                        <a:pt x="96" y="22"/>
                                      </a:lnTo>
                                      <a:lnTo>
                                        <a:pt x="96" y="22"/>
                                      </a:lnTo>
                                      <a:lnTo>
                                        <a:pt x="94" y="20"/>
                                      </a:lnTo>
                                      <a:lnTo>
                                        <a:pt x="94" y="16"/>
                                      </a:lnTo>
                                      <a:lnTo>
                                        <a:pt x="94" y="14"/>
                                      </a:lnTo>
                                      <a:lnTo>
                                        <a:pt x="90" y="14"/>
                                      </a:lnTo>
                                      <a:lnTo>
                                        <a:pt x="90" y="14"/>
                                      </a:lnTo>
                                      <a:lnTo>
                                        <a:pt x="88" y="14"/>
                                      </a:lnTo>
                                      <a:lnTo>
                                        <a:pt x="86" y="12"/>
                                      </a:lnTo>
                                      <a:lnTo>
                                        <a:pt x="82" y="8"/>
                                      </a:lnTo>
                                      <a:lnTo>
                                        <a:pt x="80" y="4"/>
                                      </a:lnTo>
                                      <a:lnTo>
                                        <a:pt x="76" y="4"/>
                                      </a:lnTo>
                                      <a:lnTo>
                                        <a:pt x="72" y="2"/>
                                      </a:lnTo>
                                      <a:lnTo>
                                        <a:pt x="72" y="2"/>
                                      </a:lnTo>
                                      <a:lnTo>
                                        <a:pt x="68" y="2"/>
                                      </a:lnTo>
                                      <a:lnTo>
                                        <a:pt x="66" y="0"/>
                                      </a:lnTo>
                                      <a:lnTo>
                                        <a:pt x="66" y="0"/>
                                      </a:lnTo>
                                      <a:lnTo>
                                        <a:pt x="64" y="0"/>
                                      </a:lnTo>
                                      <a:lnTo>
                                        <a:pt x="64" y="0"/>
                                      </a:lnTo>
                                      <a:lnTo>
                                        <a:pt x="62" y="0"/>
                                      </a:lnTo>
                                      <a:lnTo>
                                        <a:pt x="60" y="2"/>
                                      </a:lnTo>
                                      <a:lnTo>
                                        <a:pt x="60" y="4"/>
                                      </a:lnTo>
                                      <a:lnTo>
                                        <a:pt x="56" y="4"/>
                                      </a:lnTo>
                                      <a:lnTo>
                                        <a:pt x="56" y="4"/>
                                      </a:lnTo>
                                      <a:lnTo>
                                        <a:pt x="52" y="4"/>
                                      </a:lnTo>
                                      <a:lnTo>
                                        <a:pt x="50" y="4"/>
                                      </a:lnTo>
                                      <a:lnTo>
                                        <a:pt x="50" y="4"/>
                                      </a:lnTo>
                                      <a:lnTo>
                                        <a:pt x="46" y="4"/>
                                      </a:lnTo>
                                      <a:lnTo>
                                        <a:pt x="44" y="4"/>
                                      </a:lnTo>
                                      <a:lnTo>
                                        <a:pt x="40" y="2"/>
                                      </a:lnTo>
                                      <a:lnTo>
                                        <a:pt x="40" y="2"/>
                                      </a:lnTo>
                                      <a:lnTo>
                                        <a:pt x="38" y="2"/>
                                      </a:lnTo>
                                      <a:lnTo>
                                        <a:pt x="36" y="2"/>
                                      </a:lnTo>
                                      <a:lnTo>
                                        <a:pt x="32" y="6"/>
                                      </a:lnTo>
                                      <a:lnTo>
                                        <a:pt x="32" y="6"/>
                                      </a:lnTo>
                                      <a:lnTo>
                                        <a:pt x="28" y="16"/>
                                      </a:lnTo>
                                      <a:lnTo>
                                        <a:pt x="20" y="30"/>
                                      </a:lnTo>
                                      <a:lnTo>
                                        <a:pt x="20" y="30"/>
                                      </a:lnTo>
                                      <a:lnTo>
                                        <a:pt x="12" y="42"/>
                                      </a:lnTo>
                                      <a:lnTo>
                                        <a:pt x="6" y="46"/>
                                      </a:lnTo>
                                      <a:lnTo>
                                        <a:pt x="6" y="46"/>
                                      </a:lnTo>
                                      <a:lnTo>
                                        <a:pt x="0" y="52"/>
                                      </a:lnTo>
                                      <a:lnTo>
                                        <a:pt x="0" y="52"/>
                                      </a:lnTo>
                                      <a:lnTo>
                                        <a:pt x="4" y="54"/>
                                      </a:lnTo>
                                      <a:lnTo>
                                        <a:pt x="4" y="54"/>
                                      </a:lnTo>
                                      <a:lnTo>
                                        <a:pt x="8" y="56"/>
                                      </a:lnTo>
                                      <a:lnTo>
                                        <a:pt x="8" y="56"/>
                                      </a:lnTo>
                                      <a:lnTo>
                                        <a:pt x="6" y="58"/>
                                      </a:lnTo>
                                      <a:lnTo>
                                        <a:pt x="10" y="60"/>
                                      </a:lnTo>
                                      <a:lnTo>
                                        <a:pt x="10" y="60"/>
                                      </a:lnTo>
                                      <a:lnTo>
                                        <a:pt x="14" y="62"/>
                                      </a:lnTo>
                                      <a:lnTo>
                                        <a:pt x="14" y="62"/>
                                      </a:lnTo>
                                      <a:lnTo>
                                        <a:pt x="12" y="62"/>
                                      </a:lnTo>
                                      <a:lnTo>
                                        <a:pt x="14" y="66"/>
                                      </a:lnTo>
                                      <a:lnTo>
                                        <a:pt x="14" y="66"/>
                                      </a:lnTo>
                                      <a:lnTo>
                                        <a:pt x="18" y="66"/>
                                      </a:lnTo>
                                      <a:lnTo>
                                        <a:pt x="20" y="66"/>
                                      </a:lnTo>
                                      <a:lnTo>
                                        <a:pt x="22" y="64"/>
                                      </a:lnTo>
                                      <a:lnTo>
                                        <a:pt x="26" y="66"/>
                                      </a:lnTo>
                                      <a:lnTo>
                                        <a:pt x="26" y="66"/>
                                      </a:lnTo>
                                      <a:lnTo>
                                        <a:pt x="20" y="66"/>
                                      </a:lnTo>
                                      <a:lnTo>
                                        <a:pt x="18" y="68"/>
                                      </a:lnTo>
                                      <a:lnTo>
                                        <a:pt x="20" y="70"/>
                                      </a:lnTo>
                                      <a:lnTo>
                                        <a:pt x="20" y="70"/>
                                      </a:lnTo>
                                      <a:lnTo>
                                        <a:pt x="22" y="74"/>
                                      </a:lnTo>
                                      <a:lnTo>
                                        <a:pt x="22" y="74"/>
                                      </a:lnTo>
                                      <a:lnTo>
                                        <a:pt x="20" y="76"/>
                                      </a:lnTo>
                                      <a:lnTo>
                                        <a:pt x="22" y="78"/>
                                      </a:lnTo>
                                      <a:lnTo>
                                        <a:pt x="22" y="78"/>
                                      </a:lnTo>
                                      <a:lnTo>
                                        <a:pt x="38" y="76"/>
                                      </a:lnTo>
                                      <a:lnTo>
                                        <a:pt x="42" y="76"/>
                                      </a:lnTo>
                                      <a:lnTo>
                                        <a:pt x="42" y="74"/>
                                      </a:lnTo>
                                      <a:lnTo>
                                        <a:pt x="46" y="74"/>
                                      </a:lnTo>
                                      <a:lnTo>
                                        <a:pt x="46" y="74"/>
                                      </a:lnTo>
                                      <a:lnTo>
                                        <a:pt x="52" y="74"/>
                                      </a:lnTo>
                                      <a:lnTo>
                                        <a:pt x="60" y="76"/>
                                      </a:lnTo>
                                      <a:lnTo>
                                        <a:pt x="70" y="78"/>
                                      </a:lnTo>
                                      <a:lnTo>
                                        <a:pt x="78" y="80"/>
                                      </a:lnTo>
                                      <a:lnTo>
                                        <a:pt x="78" y="80"/>
                                      </a:lnTo>
                                      <a:lnTo>
                                        <a:pt x="84" y="80"/>
                                      </a:lnTo>
                                      <a:lnTo>
                                        <a:pt x="84" y="80"/>
                                      </a:lnTo>
                                      <a:lnTo>
                                        <a:pt x="76" y="84"/>
                                      </a:lnTo>
                                      <a:lnTo>
                                        <a:pt x="76" y="84"/>
                                      </a:lnTo>
                                      <a:lnTo>
                                        <a:pt x="66" y="84"/>
                                      </a:lnTo>
                                      <a:lnTo>
                                        <a:pt x="60" y="84"/>
                                      </a:lnTo>
                                      <a:lnTo>
                                        <a:pt x="54" y="84"/>
                                      </a:lnTo>
                                      <a:lnTo>
                                        <a:pt x="50" y="84"/>
                                      </a:lnTo>
                                      <a:lnTo>
                                        <a:pt x="50" y="84"/>
                                      </a:lnTo>
                                      <a:lnTo>
                                        <a:pt x="42" y="86"/>
                                      </a:lnTo>
                                      <a:lnTo>
                                        <a:pt x="38" y="88"/>
                                      </a:lnTo>
                                      <a:lnTo>
                                        <a:pt x="38" y="88"/>
                                      </a:lnTo>
                                      <a:lnTo>
                                        <a:pt x="34" y="90"/>
                                      </a:lnTo>
                                      <a:lnTo>
                                        <a:pt x="24" y="92"/>
                                      </a:lnTo>
                                      <a:lnTo>
                                        <a:pt x="24" y="92"/>
                                      </a:lnTo>
                                      <a:lnTo>
                                        <a:pt x="22" y="100"/>
                                      </a:lnTo>
                                      <a:lnTo>
                                        <a:pt x="22" y="102"/>
                                      </a:lnTo>
                                      <a:lnTo>
                                        <a:pt x="24" y="102"/>
                                      </a:lnTo>
                                      <a:lnTo>
                                        <a:pt x="24" y="102"/>
                                      </a:lnTo>
                                      <a:lnTo>
                                        <a:pt x="28" y="100"/>
                                      </a:lnTo>
                                      <a:lnTo>
                                        <a:pt x="30" y="98"/>
                                      </a:lnTo>
                                      <a:lnTo>
                                        <a:pt x="32" y="100"/>
                                      </a:lnTo>
                                      <a:lnTo>
                                        <a:pt x="34" y="100"/>
                                      </a:lnTo>
                                      <a:lnTo>
                                        <a:pt x="34" y="100"/>
                                      </a:lnTo>
                                      <a:lnTo>
                                        <a:pt x="38" y="98"/>
                                      </a:lnTo>
                                      <a:lnTo>
                                        <a:pt x="40" y="98"/>
                                      </a:lnTo>
                                      <a:lnTo>
                                        <a:pt x="42" y="98"/>
                                      </a:lnTo>
                                      <a:lnTo>
                                        <a:pt x="44" y="98"/>
                                      </a:lnTo>
                                      <a:lnTo>
                                        <a:pt x="44" y="98"/>
                                      </a:lnTo>
                                      <a:lnTo>
                                        <a:pt x="48" y="98"/>
                                      </a:lnTo>
                                      <a:lnTo>
                                        <a:pt x="52" y="98"/>
                                      </a:lnTo>
                                      <a:lnTo>
                                        <a:pt x="54" y="100"/>
                                      </a:lnTo>
                                      <a:lnTo>
                                        <a:pt x="58" y="100"/>
                                      </a:lnTo>
                                      <a:lnTo>
                                        <a:pt x="58" y="100"/>
                                      </a:lnTo>
                                      <a:lnTo>
                                        <a:pt x="56" y="100"/>
                                      </a:lnTo>
                                      <a:lnTo>
                                        <a:pt x="54" y="102"/>
                                      </a:lnTo>
                                      <a:lnTo>
                                        <a:pt x="52" y="102"/>
                                      </a:lnTo>
                                      <a:lnTo>
                                        <a:pt x="52" y="102"/>
                                      </a:lnTo>
                                      <a:lnTo>
                                        <a:pt x="48" y="100"/>
                                      </a:lnTo>
                                      <a:lnTo>
                                        <a:pt x="48" y="100"/>
                                      </a:lnTo>
                                      <a:lnTo>
                                        <a:pt x="46" y="100"/>
                                      </a:lnTo>
                                      <a:lnTo>
                                        <a:pt x="44" y="100"/>
                                      </a:lnTo>
                                      <a:lnTo>
                                        <a:pt x="44" y="100"/>
                                      </a:lnTo>
                                      <a:lnTo>
                                        <a:pt x="38" y="100"/>
                                      </a:lnTo>
                                      <a:lnTo>
                                        <a:pt x="36" y="102"/>
                                      </a:lnTo>
                                      <a:lnTo>
                                        <a:pt x="34" y="102"/>
                                      </a:lnTo>
                                      <a:lnTo>
                                        <a:pt x="34" y="102"/>
                                      </a:lnTo>
                                      <a:lnTo>
                                        <a:pt x="28" y="102"/>
                                      </a:lnTo>
                                      <a:lnTo>
                                        <a:pt x="28" y="102"/>
                                      </a:lnTo>
                                      <a:lnTo>
                                        <a:pt x="28" y="104"/>
                                      </a:lnTo>
                                      <a:lnTo>
                                        <a:pt x="26" y="104"/>
                                      </a:lnTo>
                                      <a:lnTo>
                                        <a:pt x="26" y="104"/>
                                      </a:lnTo>
                                      <a:lnTo>
                                        <a:pt x="22" y="106"/>
                                      </a:lnTo>
                                      <a:lnTo>
                                        <a:pt x="22" y="108"/>
                                      </a:lnTo>
                                      <a:lnTo>
                                        <a:pt x="24" y="112"/>
                                      </a:lnTo>
                                      <a:lnTo>
                                        <a:pt x="24" y="112"/>
                                      </a:lnTo>
                                      <a:lnTo>
                                        <a:pt x="28" y="110"/>
                                      </a:lnTo>
                                      <a:lnTo>
                                        <a:pt x="28" y="108"/>
                                      </a:lnTo>
                                      <a:lnTo>
                                        <a:pt x="30" y="106"/>
                                      </a:lnTo>
                                      <a:lnTo>
                                        <a:pt x="38" y="106"/>
                                      </a:lnTo>
                                      <a:lnTo>
                                        <a:pt x="38" y="106"/>
                                      </a:lnTo>
                                      <a:lnTo>
                                        <a:pt x="50" y="104"/>
                                      </a:lnTo>
                                      <a:lnTo>
                                        <a:pt x="56" y="102"/>
                                      </a:lnTo>
                                      <a:lnTo>
                                        <a:pt x="62" y="102"/>
                                      </a:lnTo>
                                      <a:lnTo>
                                        <a:pt x="62" y="102"/>
                                      </a:lnTo>
                                      <a:lnTo>
                                        <a:pt x="78" y="104"/>
                                      </a:lnTo>
                                      <a:lnTo>
                                        <a:pt x="78" y="104"/>
                                      </a:lnTo>
                                      <a:lnTo>
                                        <a:pt x="84" y="104"/>
                                      </a:lnTo>
                                      <a:lnTo>
                                        <a:pt x="88" y="106"/>
                                      </a:lnTo>
                                      <a:lnTo>
                                        <a:pt x="92" y="106"/>
                                      </a:lnTo>
                                      <a:lnTo>
                                        <a:pt x="96" y="106"/>
                                      </a:lnTo>
                                      <a:lnTo>
                                        <a:pt x="96" y="106"/>
                                      </a:lnTo>
                                      <a:lnTo>
                                        <a:pt x="102" y="106"/>
                                      </a:lnTo>
                                      <a:lnTo>
                                        <a:pt x="108" y="108"/>
                                      </a:lnTo>
                                      <a:lnTo>
                                        <a:pt x="114" y="108"/>
                                      </a:lnTo>
                                      <a:lnTo>
                                        <a:pt x="126" y="108"/>
                                      </a:lnTo>
                                      <a:lnTo>
                                        <a:pt x="126" y="108"/>
                                      </a:lnTo>
                                      <a:lnTo>
                                        <a:pt x="128" y="102"/>
                                      </a:lnTo>
                                      <a:lnTo>
                                        <a:pt x="128" y="92"/>
                                      </a:lnTo>
                                      <a:lnTo>
                                        <a:pt x="126" y="84"/>
                                      </a:lnTo>
                                      <a:lnTo>
                                        <a:pt x="122" y="76"/>
                                      </a:lnTo>
                                      <a:lnTo>
                                        <a:pt x="122" y="76"/>
                                      </a:lnTo>
                                      <a:lnTo>
                                        <a:pt x="120" y="78"/>
                                      </a:lnTo>
                                      <a:lnTo>
                                        <a:pt x="118" y="78"/>
                                      </a:lnTo>
                                      <a:lnTo>
                                        <a:pt x="116" y="74"/>
                                      </a:lnTo>
                                      <a:lnTo>
                                        <a:pt x="114" y="68"/>
                                      </a:lnTo>
                                      <a:lnTo>
                                        <a:pt x="114" y="62"/>
                                      </a:lnTo>
                                      <a:lnTo>
                                        <a:pt x="114" y="62"/>
                                      </a:lnTo>
                                      <a:lnTo>
                                        <a:pt x="116" y="54"/>
                                      </a:lnTo>
                                      <a:lnTo>
                                        <a:pt x="114" y="52"/>
                                      </a:lnTo>
                                      <a:lnTo>
                                        <a:pt x="112" y="50"/>
                                      </a:lnTo>
                                      <a:lnTo>
                                        <a:pt x="112" y="44"/>
                                      </a:lnTo>
                                      <a:lnTo>
                                        <a:pt x="112" y="44"/>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9" name="Sierra Leone"/>
                                <p:cNvSpPr>
                                  <a:spLocks/>
                                </p:cNvSpPr>
                                <p:nvPr/>
                              </p:nvSpPr>
                              <p:spPr bwMode="auto">
                                <a:xfrm>
                                  <a:off x="5359194" y="3299867"/>
                                  <a:ext cx="91129" cy="115324"/>
                                </a:xfrm>
                                <a:custGeom>
                                  <a:avLst/>
                                  <a:gdLst/>
                                  <a:ahLst/>
                                  <a:cxnLst>
                                    <a:cxn ang="0">
                                      <a:pos x="38" y="76"/>
                                    </a:cxn>
                                    <a:cxn ang="0">
                                      <a:pos x="38" y="70"/>
                                    </a:cxn>
                                    <a:cxn ang="0">
                                      <a:pos x="52" y="58"/>
                                    </a:cxn>
                                    <a:cxn ang="0">
                                      <a:pos x="60" y="46"/>
                                    </a:cxn>
                                    <a:cxn ang="0">
                                      <a:pos x="60" y="42"/>
                                    </a:cxn>
                                    <a:cxn ang="0">
                                      <a:pos x="58" y="36"/>
                                    </a:cxn>
                                    <a:cxn ang="0">
                                      <a:pos x="58" y="30"/>
                                    </a:cxn>
                                    <a:cxn ang="0">
                                      <a:pos x="58" y="26"/>
                                    </a:cxn>
                                    <a:cxn ang="0">
                                      <a:pos x="58" y="24"/>
                                    </a:cxn>
                                    <a:cxn ang="0">
                                      <a:pos x="52" y="20"/>
                                    </a:cxn>
                                    <a:cxn ang="0">
                                      <a:pos x="50" y="18"/>
                                    </a:cxn>
                                    <a:cxn ang="0">
                                      <a:pos x="50" y="14"/>
                                    </a:cxn>
                                    <a:cxn ang="0">
                                      <a:pos x="50" y="8"/>
                                    </a:cxn>
                                    <a:cxn ang="0">
                                      <a:pos x="46" y="8"/>
                                    </a:cxn>
                                    <a:cxn ang="0">
                                      <a:pos x="42" y="4"/>
                                    </a:cxn>
                                    <a:cxn ang="0">
                                      <a:pos x="36" y="2"/>
                                    </a:cxn>
                                    <a:cxn ang="0">
                                      <a:pos x="30" y="0"/>
                                    </a:cxn>
                                    <a:cxn ang="0">
                                      <a:pos x="22" y="4"/>
                                    </a:cxn>
                                    <a:cxn ang="0">
                                      <a:pos x="18" y="6"/>
                                    </a:cxn>
                                    <a:cxn ang="0">
                                      <a:pos x="12" y="10"/>
                                    </a:cxn>
                                    <a:cxn ang="0">
                                      <a:pos x="8" y="18"/>
                                    </a:cxn>
                                    <a:cxn ang="0">
                                      <a:pos x="6" y="20"/>
                                    </a:cxn>
                                    <a:cxn ang="0">
                                      <a:pos x="4" y="24"/>
                                    </a:cxn>
                                    <a:cxn ang="0">
                                      <a:pos x="0" y="26"/>
                                    </a:cxn>
                                    <a:cxn ang="0">
                                      <a:pos x="2" y="30"/>
                                    </a:cxn>
                                    <a:cxn ang="0">
                                      <a:pos x="2" y="32"/>
                                    </a:cxn>
                                    <a:cxn ang="0">
                                      <a:pos x="0" y="34"/>
                                    </a:cxn>
                                    <a:cxn ang="0">
                                      <a:pos x="4" y="36"/>
                                    </a:cxn>
                                    <a:cxn ang="0">
                                      <a:pos x="4" y="36"/>
                                    </a:cxn>
                                    <a:cxn ang="0">
                                      <a:pos x="4" y="38"/>
                                    </a:cxn>
                                    <a:cxn ang="0">
                                      <a:pos x="2" y="40"/>
                                    </a:cxn>
                                    <a:cxn ang="0">
                                      <a:pos x="0" y="40"/>
                                    </a:cxn>
                                    <a:cxn ang="0">
                                      <a:pos x="6" y="46"/>
                                    </a:cxn>
                                    <a:cxn ang="0">
                                      <a:pos x="8" y="50"/>
                                    </a:cxn>
                                    <a:cxn ang="0">
                                      <a:pos x="10" y="52"/>
                                    </a:cxn>
                                    <a:cxn ang="0">
                                      <a:pos x="8" y="54"/>
                                    </a:cxn>
                                    <a:cxn ang="0">
                                      <a:pos x="12" y="58"/>
                                    </a:cxn>
                                    <a:cxn ang="0">
                                      <a:pos x="16" y="60"/>
                                    </a:cxn>
                                    <a:cxn ang="0">
                                      <a:pos x="20" y="58"/>
                                    </a:cxn>
                                    <a:cxn ang="0">
                                      <a:pos x="20" y="60"/>
                                    </a:cxn>
                                    <a:cxn ang="0">
                                      <a:pos x="22" y="62"/>
                                    </a:cxn>
                                    <a:cxn ang="0">
                                      <a:pos x="22" y="62"/>
                                    </a:cxn>
                                    <a:cxn ang="0">
                                      <a:pos x="22" y="64"/>
                                    </a:cxn>
                                    <a:cxn ang="0">
                                      <a:pos x="22" y="66"/>
                                    </a:cxn>
                                    <a:cxn ang="0">
                                      <a:pos x="18" y="66"/>
                                    </a:cxn>
                                    <a:cxn ang="0">
                                      <a:pos x="18" y="66"/>
                                    </a:cxn>
                                    <a:cxn ang="0">
                                      <a:pos x="32" y="74"/>
                                    </a:cxn>
                                    <a:cxn ang="0">
                                      <a:pos x="38" y="76"/>
                                    </a:cxn>
                                  </a:cxnLst>
                                  <a:rect l="0" t="0" r="r" b="b"/>
                                  <a:pathLst>
                                    <a:path w="60" h="76">
                                      <a:moveTo>
                                        <a:pt x="38" y="76"/>
                                      </a:moveTo>
                                      <a:lnTo>
                                        <a:pt x="38" y="76"/>
                                      </a:lnTo>
                                      <a:lnTo>
                                        <a:pt x="36" y="72"/>
                                      </a:lnTo>
                                      <a:lnTo>
                                        <a:pt x="38" y="70"/>
                                      </a:lnTo>
                                      <a:lnTo>
                                        <a:pt x="52" y="58"/>
                                      </a:lnTo>
                                      <a:lnTo>
                                        <a:pt x="52" y="58"/>
                                      </a:lnTo>
                                      <a:lnTo>
                                        <a:pt x="58" y="50"/>
                                      </a:lnTo>
                                      <a:lnTo>
                                        <a:pt x="60" y="46"/>
                                      </a:lnTo>
                                      <a:lnTo>
                                        <a:pt x="60" y="44"/>
                                      </a:lnTo>
                                      <a:lnTo>
                                        <a:pt x="60" y="42"/>
                                      </a:lnTo>
                                      <a:lnTo>
                                        <a:pt x="60" y="42"/>
                                      </a:lnTo>
                                      <a:lnTo>
                                        <a:pt x="58" y="36"/>
                                      </a:lnTo>
                                      <a:lnTo>
                                        <a:pt x="58" y="32"/>
                                      </a:lnTo>
                                      <a:lnTo>
                                        <a:pt x="58" y="30"/>
                                      </a:lnTo>
                                      <a:lnTo>
                                        <a:pt x="58" y="26"/>
                                      </a:lnTo>
                                      <a:lnTo>
                                        <a:pt x="58" y="26"/>
                                      </a:lnTo>
                                      <a:lnTo>
                                        <a:pt x="56" y="24"/>
                                      </a:lnTo>
                                      <a:lnTo>
                                        <a:pt x="58" y="24"/>
                                      </a:lnTo>
                                      <a:lnTo>
                                        <a:pt x="56" y="22"/>
                                      </a:lnTo>
                                      <a:lnTo>
                                        <a:pt x="52" y="20"/>
                                      </a:lnTo>
                                      <a:lnTo>
                                        <a:pt x="52" y="20"/>
                                      </a:lnTo>
                                      <a:lnTo>
                                        <a:pt x="50" y="18"/>
                                      </a:lnTo>
                                      <a:lnTo>
                                        <a:pt x="48" y="18"/>
                                      </a:lnTo>
                                      <a:lnTo>
                                        <a:pt x="50" y="14"/>
                                      </a:lnTo>
                                      <a:lnTo>
                                        <a:pt x="50" y="10"/>
                                      </a:lnTo>
                                      <a:lnTo>
                                        <a:pt x="50" y="8"/>
                                      </a:lnTo>
                                      <a:lnTo>
                                        <a:pt x="46" y="8"/>
                                      </a:lnTo>
                                      <a:lnTo>
                                        <a:pt x="46" y="8"/>
                                      </a:lnTo>
                                      <a:lnTo>
                                        <a:pt x="44" y="6"/>
                                      </a:lnTo>
                                      <a:lnTo>
                                        <a:pt x="42" y="4"/>
                                      </a:lnTo>
                                      <a:lnTo>
                                        <a:pt x="40" y="2"/>
                                      </a:lnTo>
                                      <a:lnTo>
                                        <a:pt x="36" y="2"/>
                                      </a:lnTo>
                                      <a:lnTo>
                                        <a:pt x="36" y="2"/>
                                      </a:lnTo>
                                      <a:lnTo>
                                        <a:pt x="30" y="0"/>
                                      </a:lnTo>
                                      <a:lnTo>
                                        <a:pt x="26" y="2"/>
                                      </a:lnTo>
                                      <a:lnTo>
                                        <a:pt x="22" y="4"/>
                                      </a:lnTo>
                                      <a:lnTo>
                                        <a:pt x="18" y="6"/>
                                      </a:lnTo>
                                      <a:lnTo>
                                        <a:pt x="18" y="6"/>
                                      </a:lnTo>
                                      <a:lnTo>
                                        <a:pt x="14" y="6"/>
                                      </a:lnTo>
                                      <a:lnTo>
                                        <a:pt x="12" y="10"/>
                                      </a:lnTo>
                                      <a:lnTo>
                                        <a:pt x="10" y="14"/>
                                      </a:lnTo>
                                      <a:lnTo>
                                        <a:pt x="8" y="18"/>
                                      </a:lnTo>
                                      <a:lnTo>
                                        <a:pt x="8" y="18"/>
                                      </a:lnTo>
                                      <a:lnTo>
                                        <a:pt x="6" y="20"/>
                                      </a:lnTo>
                                      <a:lnTo>
                                        <a:pt x="4" y="22"/>
                                      </a:lnTo>
                                      <a:lnTo>
                                        <a:pt x="4" y="24"/>
                                      </a:lnTo>
                                      <a:lnTo>
                                        <a:pt x="0" y="26"/>
                                      </a:lnTo>
                                      <a:lnTo>
                                        <a:pt x="0" y="26"/>
                                      </a:lnTo>
                                      <a:lnTo>
                                        <a:pt x="0" y="28"/>
                                      </a:lnTo>
                                      <a:lnTo>
                                        <a:pt x="2" y="30"/>
                                      </a:lnTo>
                                      <a:lnTo>
                                        <a:pt x="2" y="30"/>
                                      </a:lnTo>
                                      <a:lnTo>
                                        <a:pt x="2" y="32"/>
                                      </a:lnTo>
                                      <a:lnTo>
                                        <a:pt x="2" y="32"/>
                                      </a:lnTo>
                                      <a:lnTo>
                                        <a:pt x="0" y="34"/>
                                      </a:lnTo>
                                      <a:lnTo>
                                        <a:pt x="2" y="34"/>
                                      </a:lnTo>
                                      <a:lnTo>
                                        <a:pt x="4" y="36"/>
                                      </a:lnTo>
                                      <a:lnTo>
                                        <a:pt x="4" y="36"/>
                                      </a:lnTo>
                                      <a:lnTo>
                                        <a:pt x="4" y="36"/>
                                      </a:lnTo>
                                      <a:lnTo>
                                        <a:pt x="4" y="38"/>
                                      </a:lnTo>
                                      <a:lnTo>
                                        <a:pt x="4" y="38"/>
                                      </a:lnTo>
                                      <a:lnTo>
                                        <a:pt x="4" y="40"/>
                                      </a:lnTo>
                                      <a:lnTo>
                                        <a:pt x="2" y="40"/>
                                      </a:lnTo>
                                      <a:lnTo>
                                        <a:pt x="2" y="40"/>
                                      </a:lnTo>
                                      <a:lnTo>
                                        <a:pt x="0" y="40"/>
                                      </a:lnTo>
                                      <a:lnTo>
                                        <a:pt x="0" y="42"/>
                                      </a:lnTo>
                                      <a:lnTo>
                                        <a:pt x="6" y="46"/>
                                      </a:lnTo>
                                      <a:lnTo>
                                        <a:pt x="6" y="46"/>
                                      </a:lnTo>
                                      <a:lnTo>
                                        <a:pt x="8" y="50"/>
                                      </a:lnTo>
                                      <a:lnTo>
                                        <a:pt x="10" y="52"/>
                                      </a:lnTo>
                                      <a:lnTo>
                                        <a:pt x="10" y="52"/>
                                      </a:lnTo>
                                      <a:lnTo>
                                        <a:pt x="10" y="52"/>
                                      </a:lnTo>
                                      <a:lnTo>
                                        <a:pt x="8" y="54"/>
                                      </a:lnTo>
                                      <a:lnTo>
                                        <a:pt x="6" y="54"/>
                                      </a:lnTo>
                                      <a:lnTo>
                                        <a:pt x="12" y="58"/>
                                      </a:lnTo>
                                      <a:lnTo>
                                        <a:pt x="12" y="58"/>
                                      </a:lnTo>
                                      <a:lnTo>
                                        <a:pt x="16" y="60"/>
                                      </a:lnTo>
                                      <a:lnTo>
                                        <a:pt x="18" y="60"/>
                                      </a:lnTo>
                                      <a:lnTo>
                                        <a:pt x="20" y="58"/>
                                      </a:lnTo>
                                      <a:lnTo>
                                        <a:pt x="20" y="60"/>
                                      </a:lnTo>
                                      <a:lnTo>
                                        <a:pt x="20" y="60"/>
                                      </a:lnTo>
                                      <a:lnTo>
                                        <a:pt x="20" y="62"/>
                                      </a:lnTo>
                                      <a:lnTo>
                                        <a:pt x="22" y="62"/>
                                      </a:lnTo>
                                      <a:lnTo>
                                        <a:pt x="24" y="62"/>
                                      </a:lnTo>
                                      <a:lnTo>
                                        <a:pt x="22" y="62"/>
                                      </a:lnTo>
                                      <a:lnTo>
                                        <a:pt x="22" y="62"/>
                                      </a:lnTo>
                                      <a:lnTo>
                                        <a:pt x="22" y="64"/>
                                      </a:lnTo>
                                      <a:lnTo>
                                        <a:pt x="24" y="66"/>
                                      </a:lnTo>
                                      <a:lnTo>
                                        <a:pt x="22" y="66"/>
                                      </a:lnTo>
                                      <a:lnTo>
                                        <a:pt x="18" y="66"/>
                                      </a:lnTo>
                                      <a:lnTo>
                                        <a:pt x="18" y="66"/>
                                      </a:lnTo>
                                      <a:lnTo>
                                        <a:pt x="18" y="66"/>
                                      </a:lnTo>
                                      <a:lnTo>
                                        <a:pt x="18" y="66"/>
                                      </a:lnTo>
                                      <a:lnTo>
                                        <a:pt x="24" y="70"/>
                                      </a:lnTo>
                                      <a:lnTo>
                                        <a:pt x="32" y="74"/>
                                      </a:lnTo>
                                      <a:lnTo>
                                        <a:pt x="38" y="76"/>
                                      </a:lnTo>
                                      <a:lnTo>
                                        <a:pt x="38" y="76"/>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8" name="Somalia"/>
                                <p:cNvSpPr>
                                  <a:spLocks/>
                                </p:cNvSpPr>
                                <p:nvPr/>
                              </p:nvSpPr>
                              <p:spPr bwMode="auto">
                                <a:xfrm>
                                  <a:off x="7105838" y="3227064"/>
                                  <a:ext cx="325027" cy="525026"/>
                                </a:xfrm>
                                <a:custGeom>
                                  <a:avLst/>
                                  <a:gdLst/>
                                  <a:ahLst/>
                                  <a:cxnLst>
                                    <a:cxn ang="0">
                                      <a:pos x="24" y="346"/>
                                    </a:cxn>
                                    <a:cxn ang="0">
                                      <a:pos x="36" y="324"/>
                                    </a:cxn>
                                    <a:cxn ang="0">
                                      <a:pos x="44" y="312"/>
                                    </a:cxn>
                                    <a:cxn ang="0">
                                      <a:pos x="62" y="294"/>
                                    </a:cxn>
                                    <a:cxn ang="0">
                                      <a:pos x="72" y="282"/>
                                    </a:cxn>
                                    <a:cxn ang="0">
                                      <a:pos x="90" y="264"/>
                                    </a:cxn>
                                    <a:cxn ang="0">
                                      <a:pos x="112" y="242"/>
                                    </a:cxn>
                                    <a:cxn ang="0">
                                      <a:pos x="138" y="214"/>
                                    </a:cxn>
                                    <a:cxn ang="0">
                                      <a:pos x="150" y="188"/>
                                    </a:cxn>
                                    <a:cxn ang="0">
                                      <a:pos x="152" y="184"/>
                                    </a:cxn>
                                    <a:cxn ang="0">
                                      <a:pos x="166" y="170"/>
                                    </a:cxn>
                                    <a:cxn ang="0">
                                      <a:pos x="174" y="158"/>
                                    </a:cxn>
                                    <a:cxn ang="0">
                                      <a:pos x="178" y="140"/>
                                    </a:cxn>
                                    <a:cxn ang="0">
                                      <a:pos x="178" y="132"/>
                                    </a:cxn>
                                    <a:cxn ang="0">
                                      <a:pos x="188" y="108"/>
                                    </a:cxn>
                                    <a:cxn ang="0">
                                      <a:pos x="198" y="88"/>
                                    </a:cxn>
                                    <a:cxn ang="0">
                                      <a:pos x="198" y="82"/>
                                    </a:cxn>
                                    <a:cxn ang="0">
                                      <a:pos x="200" y="78"/>
                                    </a:cxn>
                                    <a:cxn ang="0">
                                      <a:pos x="208" y="62"/>
                                    </a:cxn>
                                    <a:cxn ang="0">
                                      <a:pos x="210" y="52"/>
                                    </a:cxn>
                                    <a:cxn ang="0">
                                      <a:pos x="210" y="50"/>
                                    </a:cxn>
                                    <a:cxn ang="0">
                                      <a:pos x="210" y="48"/>
                                    </a:cxn>
                                    <a:cxn ang="0">
                                      <a:pos x="210" y="32"/>
                                    </a:cxn>
                                    <a:cxn ang="0">
                                      <a:pos x="210" y="28"/>
                                    </a:cxn>
                                    <a:cxn ang="0">
                                      <a:pos x="212" y="28"/>
                                    </a:cxn>
                                    <a:cxn ang="0">
                                      <a:pos x="212" y="24"/>
                                    </a:cxn>
                                    <a:cxn ang="0">
                                      <a:pos x="208" y="12"/>
                                    </a:cxn>
                                    <a:cxn ang="0">
                                      <a:pos x="210" y="6"/>
                                    </a:cxn>
                                    <a:cxn ang="0">
                                      <a:pos x="206" y="0"/>
                                    </a:cxn>
                                    <a:cxn ang="0">
                                      <a:pos x="194" y="0"/>
                                    </a:cxn>
                                    <a:cxn ang="0">
                                      <a:pos x="182" y="10"/>
                                    </a:cxn>
                                    <a:cxn ang="0">
                                      <a:pos x="162" y="16"/>
                                    </a:cxn>
                                    <a:cxn ang="0">
                                      <a:pos x="156" y="16"/>
                                    </a:cxn>
                                    <a:cxn ang="0">
                                      <a:pos x="150" y="20"/>
                                    </a:cxn>
                                    <a:cxn ang="0">
                                      <a:pos x="142" y="20"/>
                                    </a:cxn>
                                    <a:cxn ang="0">
                                      <a:pos x="128" y="24"/>
                                    </a:cxn>
                                    <a:cxn ang="0">
                                      <a:pos x="110" y="28"/>
                                    </a:cxn>
                                    <a:cxn ang="0">
                                      <a:pos x="100" y="26"/>
                                    </a:cxn>
                                    <a:cxn ang="0">
                                      <a:pos x="82" y="34"/>
                                    </a:cxn>
                                    <a:cxn ang="0">
                                      <a:pos x="78" y="36"/>
                                    </a:cxn>
                                    <a:cxn ang="0">
                                      <a:pos x="60" y="26"/>
                                    </a:cxn>
                                    <a:cxn ang="0">
                                      <a:pos x="44" y="10"/>
                                    </a:cxn>
                                    <a:cxn ang="0">
                                      <a:pos x="28" y="24"/>
                                    </a:cxn>
                                    <a:cxn ang="0">
                                      <a:pos x="48" y="58"/>
                                    </a:cxn>
                                    <a:cxn ang="0">
                                      <a:pos x="150" y="96"/>
                                    </a:cxn>
                                    <a:cxn ang="0">
                                      <a:pos x="92" y="160"/>
                                    </a:cxn>
                                    <a:cxn ang="0">
                                      <a:pos x="78" y="172"/>
                                    </a:cxn>
                                    <a:cxn ang="0">
                                      <a:pos x="76" y="172"/>
                                    </a:cxn>
                                    <a:cxn ang="0">
                                      <a:pos x="62" y="172"/>
                                    </a:cxn>
                                    <a:cxn ang="0">
                                      <a:pos x="20" y="200"/>
                                    </a:cxn>
                                    <a:cxn ang="0">
                                      <a:pos x="18" y="206"/>
                                    </a:cxn>
                                    <a:cxn ang="0">
                                      <a:pos x="8" y="218"/>
                                    </a:cxn>
                                    <a:cxn ang="0">
                                      <a:pos x="2" y="226"/>
                                    </a:cxn>
                                    <a:cxn ang="0">
                                      <a:pos x="0" y="232"/>
                                    </a:cxn>
                                    <a:cxn ang="0">
                                      <a:pos x="0" y="318"/>
                                    </a:cxn>
                                    <a:cxn ang="0">
                                      <a:pos x="4" y="326"/>
                                    </a:cxn>
                                    <a:cxn ang="0">
                                      <a:pos x="24" y="346"/>
                                    </a:cxn>
                                  </a:cxnLst>
                                  <a:rect l="0" t="0" r="r" b="b"/>
                                  <a:pathLst>
                                    <a:path w="214" h="346">
                                      <a:moveTo>
                                        <a:pt x="24" y="346"/>
                                      </a:moveTo>
                                      <a:lnTo>
                                        <a:pt x="24" y="346"/>
                                      </a:lnTo>
                                      <a:lnTo>
                                        <a:pt x="28" y="340"/>
                                      </a:lnTo>
                                      <a:lnTo>
                                        <a:pt x="36" y="324"/>
                                      </a:lnTo>
                                      <a:lnTo>
                                        <a:pt x="36" y="324"/>
                                      </a:lnTo>
                                      <a:lnTo>
                                        <a:pt x="44" y="312"/>
                                      </a:lnTo>
                                      <a:lnTo>
                                        <a:pt x="52" y="304"/>
                                      </a:lnTo>
                                      <a:lnTo>
                                        <a:pt x="62" y="294"/>
                                      </a:lnTo>
                                      <a:lnTo>
                                        <a:pt x="72" y="282"/>
                                      </a:lnTo>
                                      <a:lnTo>
                                        <a:pt x="72" y="282"/>
                                      </a:lnTo>
                                      <a:lnTo>
                                        <a:pt x="80" y="270"/>
                                      </a:lnTo>
                                      <a:lnTo>
                                        <a:pt x="90" y="264"/>
                                      </a:lnTo>
                                      <a:lnTo>
                                        <a:pt x="100" y="256"/>
                                      </a:lnTo>
                                      <a:lnTo>
                                        <a:pt x="112" y="242"/>
                                      </a:lnTo>
                                      <a:lnTo>
                                        <a:pt x="112" y="242"/>
                                      </a:lnTo>
                                      <a:lnTo>
                                        <a:pt x="138" y="214"/>
                                      </a:lnTo>
                                      <a:lnTo>
                                        <a:pt x="146" y="200"/>
                                      </a:lnTo>
                                      <a:lnTo>
                                        <a:pt x="150" y="188"/>
                                      </a:lnTo>
                                      <a:lnTo>
                                        <a:pt x="150" y="188"/>
                                      </a:lnTo>
                                      <a:lnTo>
                                        <a:pt x="152" y="184"/>
                                      </a:lnTo>
                                      <a:lnTo>
                                        <a:pt x="156" y="180"/>
                                      </a:lnTo>
                                      <a:lnTo>
                                        <a:pt x="166" y="170"/>
                                      </a:lnTo>
                                      <a:lnTo>
                                        <a:pt x="170" y="164"/>
                                      </a:lnTo>
                                      <a:lnTo>
                                        <a:pt x="174" y="158"/>
                                      </a:lnTo>
                                      <a:lnTo>
                                        <a:pt x="176" y="150"/>
                                      </a:lnTo>
                                      <a:lnTo>
                                        <a:pt x="178" y="140"/>
                                      </a:lnTo>
                                      <a:lnTo>
                                        <a:pt x="178" y="140"/>
                                      </a:lnTo>
                                      <a:lnTo>
                                        <a:pt x="178" y="132"/>
                                      </a:lnTo>
                                      <a:lnTo>
                                        <a:pt x="182" y="124"/>
                                      </a:lnTo>
                                      <a:lnTo>
                                        <a:pt x="188" y="108"/>
                                      </a:lnTo>
                                      <a:lnTo>
                                        <a:pt x="196" y="94"/>
                                      </a:lnTo>
                                      <a:lnTo>
                                        <a:pt x="198" y="88"/>
                                      </a:lnTo>
                                      <a:lnTo>
                                        <a:pt x="198" y="82"/>
                                      </a:lnTo>
                                      <a:lnTo>
                                        <a:pt x="198" y="82"/>
                                      </a:lnTo>
                                      <a:lnTo>
                                        <a:pt x="198" y="80"/>
                                      </a:lnTo>
                                      <a:lnTo>
                                        <a:pt x="200" y="78"/>
                                      </a:lnTo>
                                      <a:lnTo>
                                        <a:pt x="202" y="74"/>
                                      </a:lnTo>
                                      <a:lnTo>
                                        <a:pt x="208" y="62"/>
                                      </a:lnTo>
                                      <a:lnTo>
                                        <a:pt x="208" y="62"/>
                                      </a:lnTo>
                                      <a:lnTo>
                                        <a:pt x="210" y="52"/>
                                      </a:lnTo>
                                      <a:lnTo>
                                        <a:pt x="210" y="50"/>
                                      </a:lnTo>
                                      <a:lnTo>
                                        <a:pt x="210" y="50"/>
                                      </a:lnTo>
                                      <a:lnTo>
                                        <a:pt x="210" y="48"/>
                                      </a:lnTo>
                                      <a:lnTo>
                                        <a:pt x="210" y="48"/>
                                      </a:lnTo>
                                      <a:lnTo>
                                        <a:pt x="212" y="40"/>
                                      </a:lnTo>
                                      <a:lnTo>
                                        <a:pt x="210" y="32"/>
                                      </a:lnTo>
                                      <a:lnTo>
                                        <a:pt x="210" y="28"/>
                                      </a:lnTo>
                                      <a:lnTo>
                                        <a:pt x="210" y="28"/>
                                      </a:lnTo>
                                      <a:lnTo>
                                        <a:pt x="212" y="28"/>
                                      </a:lnTo>
                                      <a:lnTo>
                                        <a:pt x="212" y="28"/>
                                      </a:lnTo>
                                      <a:lnTo>
                                        <a:pt x="214" y="28"/>
                                      </a:lnTo>
                                      <a:lnTo>
                                        <a:pt x="212" y="24"/>
                                      </a:lnTo>
                                      <a:lnTo>
                                        <a:pt x="208" y="18"/>
                                      </a:lnTo>
                                      <a:lnTo>
                                        <a:pt x="208" y="12"/>
                                      </a:lnTo>
                                      <a:lnTo>
                                        <a:pt x="210" y="6"/>
                                      </a:lnTo>
                                      <a:lnTo>
                                        <a:pt x="210" y="6"/>
                                      </a:lnTo>
                                      <a:lnTo>
                                        <a:pt x="208" y="2"/>
                                      </a:lnTo>
                                      <a:lnTo>
                                        <a:pt x="206" y="0"/>
                                      </a:lnTo>
                                      <a:lnTo>
                                        <a:pt x="200" y="0"/>
                                      </a:lnTo>
                                      <a:lnTo>
                                        <a:pt x="194" y="0"/>
                                      </a:lnTo>
                                      <a:lnTo>
                                        <a:pt x="194" y="0"/>
                                      </a:lnTo>
                                      <a:lnTo>
                                        <a:pt x="182" y="10"/>
                                      </a:lnTo>
                                      <a:lnTo>
                                        <a:pt x="172" y="14"/>
                                      </a:lnTo>
                                      <a:lnTo>
                                        <a:pt x="162" y="16"/>
                                      </a:lnTo>
                                      <a:lnTo>
                                        <a:pt x="162" y="16"/>
                                      </a:lnTo>
                                      <a:lnTo>
                                        <a:pt x="156" y="16"/>
                                      </a:lnTo>
                                      <a:lnTo>
                                        <a:pt x="154" y="18"/>
                                      </a:lnTo>
                                      <a:lnTo>
                                        <a:pt x="150" y="20"/>
                                      </a:lnTo>
                                      <a:lnTo>
                                        <a:pt x="142" y="20"/>
                                      </a:lnTo>
                                      <a:lnTo>
                                        <a:pt x="142" y="20"/>
                                      </a:lnTo>
                                      <a:lnTo>
                                        <a:pt x="132" y="20"/>
                                      </a:lnTo>
                                      <a:lnTo>
                                        <a:pt x="128" y="24"/>
                                      </a:lnTo>
                                      <a:lnTo>
                                        <a:pt x="120" y="26"/>
                                      </a:lnTo>
                                      <a:lnTo>
                                        <a:pt x="110" y="28"/>
                                      </a:lnTo>
                                      <a:lnTo>
                                        <a:pt x="110" y="28"/>
                                      </a:lnTo>
                                      <a:lnTo>
                                        <a:pt x="100" y="26"/>
                                      </a:lnTo>
                                      <a:lnTo>
                                        <a:pt x="96" y="28"/>
                                      </a:lnTo>
                                      <a:lnTo>
                                        <a:pt x="82" y="34"/>
                                      </a:lnTo>
                                      <a:lnTo>
                                        <a:pt x="82" y="34"/>
                                      </a:lnTo>
                                      <a:lnTo>
                                        <a:pt x="78" y="36"/>
                                      </a:lnTo>
                                      <a:lnTo>
                                        <a:pt x="72" y="34"/>
                                      </a:lnTo>
                                      <a:lnTo>
                                        <a:pt x="60" y="26"/>
                                      </a:lnTo>
                                      <a:lnTo>
                                        <a:pt x="50" y="18"/>
                                      </a:lnTo>
                                      <a:lnTo>
                                        <a:pt x="44" y="10"/>
                                      </a:lnTo>
                                      <a:lnTo>
                                        <a:pt x="36" y="18"/>
                                      </a:lnTo>
                                      <a:lnTo>
                                        <a:pt x="28" y="24"/>
                                      </a:lnTo>
                                      <a:lnTo>
                                        <a:pt x="42" y="44"/>
                                      </a:lnTo>
                                      <a:lnTo>
                                        <a:pt x="48" y="58"/>
                                      </a:lnTo>
                                      <a:lnTo>
                                        <a:pt x="118" y="88"/>
                                      </a:lnTo>
                                      <a:lnTo>
                                        <a:pt x="150" y="96"/>
                                      </a:lnTo>
                                      <a:lnTo>
                                        <a:pt x="150" y="96"/>
                                      </a:lnTo>
                                      <a:lnTo>
                                        <a:pt x="92" y="160"/>
                                      </a:lnTo>
                                      <a:lnTo>
                                        <a:pt x="80" y="170"/>
                                      </a:lnTo>
                                      <a:lnTo>
                                        <a:pt x="78" y="172"/>
                                      </a:lnTo>
                                      <a:lnTo>
                                        <a:pt x="76" y="172"/>
                                      </a:lnTo>
                                      <a:lnTo>
                                        <a:pt x="76" y="172"/>
                                      </a:lnTo>
                                      <a:lnTo>
                                        <a:pt x="68" y="172"/>
                                      </a:lnTo>
                                      <a:lnTo>
                                        <a:pt x="62" y="172"/>
                                      </a:lnTo>
                                      <a:lnTo>
                                        <a:pt x="48" y="178"/>
                                      </a:lnTo>
                                      <a:lnTo>
                                        <a:pt x="20" y="200"/>
                                      </a:lnTo>
                                      <a:lnTo>
                                        <a:pt x="20" y="200"/>
                                      </a:lnTo>
                                      <a:lnTo>
                                        <a:pt x="18" y="206"/>
                                      </a:lnTo>
                                      <a:lnTo>
                                        <a:pt x="14" y="212"/>
                                      </a:lnTo>
                                      <a:lnTo>
                                        <a:pt x="8" y="218"/>
                                      </a:lnTo>
                                      <a:lnTo>
                                        <a:pt x="4" y="222"/>
                                      </a:lnTo>
                                      <a:lnTo>
                                        <a:pt x="2" y="226"/>
                                      </a:lnTo>
                                      <a:lnTo>
                                        <a:pt x="0" y="232"/>
                                      </a:lnTo>
                                      <a:lnTo>
                                        <a:pt x="0" y="232"/>
                                      </a:lnTo>
                                      <a:lnTo>
                                        <a:pt x="0" y="318"/>
                                      </a:lnTo>
                                      <a:lnTo>
                                        <a:pt x="0" y="318"/>
                                      </a:lnTo>
                                      <a:lnTo>
                                        <a:pt x="2" y="322"/>
                                      </a:lnTo>
                                      <a:lnTo>
                                        <a:pt x="4" y="326"/>
                                      </a:lnTo>
                                      <a:lnTo>
                                        <a:pt x="24" y="346"/>
                                      </a:lnTo>
                                      <a:lnTo>
                                        <a:pt x="24" y="346"/>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9" name="Sri Lanka"/>
                                <p:cNvSpPr>
                                  <a:spLocks/>
                                </p:cNvSpPr>
                                <p:nvPr/>
                              </p:nvSpPr>
                              <p:spPr bwMode="auto">
                                <a:xfrm>
                                  <a:off x="8336083" y="3296262"/>
                                  <a:ext cx="78979" cy="142637"/>
                                </a:xfrm>
                                <a:custGeom>
                                  <a:avLst/>
                                  <a:gdLst/>
                                  <a:ahLst/>
                                  <a:cxnLst>
                                    <a:cxn ang="0">
                                      <a:pos x="2" y="2"/>
                                    </a:cxn>
                                    <a:cxn ang="0">
                                      <a:pos x="12" y="2"/>
                                    </a:cxn>
                                    <a:cxn ang="0">
                                      <a:pos x="14" y="2"/>
                                    </a:cxn>
                                    <a:cxn ang="0">
                                      <a:pos x="16" y="6"/>
                                    </a:cxn>
                                    <a:cxn ang="0">
                                      <a:pos x="28" y="18"/>
                                    </a:cxn>
                                    <a:cxn ang="0">
                                      <a:pos x="38" y="34"/>
                                    </a:cxn>
                                    <a:cxn ang="0">
                                      <a:pos x="46" y="46"/>
                                    </a:cxn>
                                    <a:cxn ang="0">
                                      <a:pos x="48" y="48"/>
                                    </a:cxn>
                                    <a:cxn ang="0">
                                      <a:pos x="52" y="66"/>
                                    </a:cxn>
                                    <a:cxn ang="0">
                                      <a:pos x="48" y="82"/>
                                    </a:cxn>
                                    <a:cxn ang="0">
                                      <a:pos x="44" y="84"/>
                                    </a:cxn>
                                    <a:cxn ang="0">
                                      <a:pos x="28" y="94"/>
                                    </a:cxn>
                                    <a:cxn ang="0">
                                      <a:pos x="22" y="94"/>
                                    </a:cxn>
                                    <a:cxn ang="0">
                                      <a:pos x="8" y="86"/>
                                    </a:cxn>
                                    <a:cxn ang="0">
                                      <a:pos x="2" y="76"/>
                                    </a:cxn>
                                    <a:cxn ang="0">
                                      <a:pos x="2" y="74"/>
                                    </a:cxn>
                                    <a:cxn ang="0">
                                      <a:pos x="0" y="60"/>
                                    </a:cxn>
                                    <a:cxn ang="0">
                                      <a:pos x="0" y="46"/>
                                    </a:cxn>
                                    <a:cxn ang="0">
                                      <a:pos x="0" y="46"/>
                                    </a:cxn>
                                    <a:cxn ang="0">
                                      <a:pos x="4" y="50"/>
                                    </a:cxn>
                                    <a:cxn ang="0">
                                      <a:pos x="2" y="46"/>
                                    </a:cxn>
                                    <a:cxn ang="0">
                                      <a:pos x="4" y="40"/>
                                    </a:cxn>
                                    <a:cxn ang="0">
                                      <a:pos x="4" y="36"/>
                                    </a:cxn>
                                    <a:cxn ang="0">
                                      <a:pos x="2" y="30"/>
                                    </a:cxn>
                                    <a:cxn ang="0">
                                      <a:pos x="4" y="28"/>
                                    </a:cxn>
                                    <a:cxn ang="0">
                                      <a:pos x="6" y="22"/>
                                    </a:cxn>
                                    <a:cxn ang="0">
                                      <a:pos x="6" y="18"/>
                                    </a:cxn>
                                    <a:cxn ang="0">
                                      <a:pos x="8" y="16"/>
                                    </a:cxn>
                                    <a:cxn ang="0">
                                      <a:pos x="6" y="12"/>
                                    </a:cxn>
                                    <a:cxn ang="0">
                                      <a:pos x="6" y="10"/>
                                    </a:cxn>
                                    <a:cxn ang="0">
                                      <a:pos x="8" y="6"/>
                                    </a:cxn>
                                    <a:cxn ang="0">
                                      <a:pos x="10" y="6"/>
                                    </a:cxn>
                                    <a:cxn ang="0">
                                      <a:pos x="8" y="4"/>
                                    </a:cxn>
                                    <a:cxn ang="0">
                                      <a:pos x="4" y="6"/>
                                    </a:cxn>
                                    <a:cxn ang="0">
                                      <a:pos x="0" y="6"/>
                                    </a:cxn>
                                    <a:cxn ang="0">
                                      <a:pos x="0" y="4"/>
                                    </a:cxn>
                                    <a:cxn ang="0">
                                      <a:pos x="2" y="2"/>
                                    </a:cxn>
                                  </a:cxnLst>
                                  <a:rect l="0" t="0" r="r" b="b"/>
                                  <a:pathLst>
                                    <a:path w="52" h="94">
                                      <a:moveTo>
                                        <a:pt x="2" y="2"/>
                                      </a:moveTo>
                                      <a:lnTo>
                                        <a:pt x="2" y="2"/>
                                      </a:lnTo>
                                      <a:lnTo>
                                        <a:pt x="10" y="0"/>
                                      </a:lnTo>
                                      <a:lnTo>
                                        <a:pt x="12" y="2"/>
                                      </a:lnTo>
                                      <a:lnTo>
                                        <a:pt x="14" y="2"/>
                                      </a:lnTo>
                                      <a:lnTo>
                                        <a:pt x="14" y="2"/>
                                      </a:lnTo>
                                      <a:lnTo>
                                        <a:pt x="14" y="4"/>
                                      </a:lnTo>
                                      <a:lnTo>
                                        <a:pt x="16" y="6"/>
                                      </a:lnTo>
                                      <a:lnTo>
                                        <a:pt x="20" y="8"/>
                                      </a:lnTo>
                                      <a:lnTo>
                                        <a:pt x="28" y="18"/>
                                      </a:lnTo>
                                      <a:lnTo>
                                        <a:pt x="28" y="18"/>
                                      </a:lnTo>
                                      <a:lnTo>
                                        <a:pt x="38" y="34"/>
                                      </a:lnTo>
                                      <a:lnTo>
                                        <a:pt x="42" y="40"/>
                                      </a:lnTo>
                                      <a:lnTo>
                                        <a:pt x="46" y="46"/>
                                      </a:lnTo>
                                      <a:lnTo>
                                        <a:pt x="46" y="46"/>
                                      </a:lnTo>
                                      <a:lnTo>
                                        <a:pt x="48" y="48"/>
                                      </a:lnTo>
                                      <a:lnTo>
                                        <a:pt x="50" y="54"/>
                                      </a:lnTo>
                                      <a:lnTo>
                                        <a:pt x="52" y="66"/>
                                      </a:lnTo>
                                      <a:lnTo>
                                        <a:pt x="50" y="78"/>
                                      </a:lnTo>
                                      <a:lnTo>
                                        <a:pt x="48" y="82"/>
                                      </a:lnTo>
                                      <a:lnTo>
                                        <a:pt x="44" y="84"/>
                                      </a:lnTo>
                                      <a:lnTo>
                                        <a:pt x="44" y="84"/>
                                      </a:lnTo>
                                      <a:lnTo>
                                        <a:pt x="32" y="90"/>
                                      </a:lnTo>
                                      <a:lnTo>
                                        <a:pt x="28" y="94"/>
                                      </a:lnTo>
                                      <a:lnTo>
                                        <a:pt x="22" y="94"/>
                                      </a:lnTo>
                                      <a:lnTo>
                                        <a:pt x="22" y="94"/>
                                      </a:lnTo>
                                      <a:lnTo>
                                        <a:pt x="16" y="92"/>
                                      </a:lnTo>
                                      <a:lnTo>
                                        <a:pt x="8" y="86"/>
                                      </a:lnTo>
                                      <a:lnTo>
                                        <a:pt x="4" y="78"/>
                                      </a:lnTo>
                                      <a:lnTo>
                                        <a:pt x="2" y="76"/>
                                      </a:lnTo>
                                      <a:lnTo>
                                        <a:pt x="2" y="74"/>
                                      </a:lnTo>
                                      <a:lnTo>
                                        <a:pt x="2" y="74"/>
                                      </a:lnTo>
                                      <a:lnTo>
                                        <a:pt x="2" y="68"/>
                                      </a:lnTo>
                                      <a:lnTo>
                                        <a:pt x="0" y="60"/>
                                      </a:lnTo>
                                      <a:lnTo>
                                        <a:pt x="0" y="50"/>
                                      </a:lnTo>
                                      <a:lnTo>
                                        <a:pt x="0" y="46"/>
                                      </a:lnTo>
                                      <a:lnTo>
                                        <a:pt x="0" y="46"/>
                                      </a:lnTo>
                                      <a:lnTo>
                                        <a:pt x="0" y="46"/>
                                      </a:lnTo>
                                      <a:lnTo>
                                        <a:pt x="2" y="48"/>
                                      </a:lnTo>
                                      <a:lnTo>
                                        <a:pt x="4" y="50"/>
                                      </a:lnTo>
                                      <a:lnTo>
                                        <a:pt x="4" y="50"/>
                                      </a:lnTo>
                                      <a:lnTo>
                                        <a:pt x="2" y="46"/>
                                      </a:lnTo>
                                      <a:lnTo>
                                        <a:pt x="2" y="42"/>
                                      </a:lnTo>
                                      <a:lnTo>
                                        <a:pt x="4" y="40"/>
                                      </a:lnTo>
                                      <a:lnTo>
                                        <a:pt x="4" y="40"/>
                                      </a:lnTo>
                                      <a:lnTo>
                                        <a:pt x="4" y="36"/>
                                      </a:lnTo>
                                      <a:lnTo>
                                        <a:pt x="4" y="34"/>
                                      </a:lnTo>
                                      <a:lnTo>
                                        <a:pt x="2" y="30"/>
                                      </a:lnTo>
                                      <a:lnTo>
                                        <a:pt x="4" y="28"/>
                                      </a:lnTo>
                                      <a:lnTo>
                                        <a:pt x="4" y="28"/>
                                      </a:lnTo>
                                      <a:lnTo>
                                        <a:pt x="6" y="26"/>
                                      </a:lnTo>
                                      <a:lnTo>
                                        <a:pt x="6" y="22"/>
                                      </a:lnTo>
                                      <a:lnTo>
                                        <a:pt x="6" y="20"/>
                                      </a:lnTo>
                                      <a:lnTo>
                                        <a:pt x="6" y="18"/>
                                      </a:lnTo>
                                      <a:lnTo>
                                        <a:pt x="6" y="18"/>
                                      </a:lnTo>
                                      <a:lnTo>
                                        <a:pt x="8" y="16"/>
                                      </a:lnTo>
                                      <a:lnTo>
                                        <a:pt x="8" y="14"/>
                                      </a:lnTo>
                                      <a:lnTo>
                                        <a:pt x="6" y="12"/>
                                      </a:lnTo>
                                      <a:lnTo>
                                        <a:pt x="6" y="10"/>
                                      </a:lnTo>
                                      <a:lnTo>
                                        <a:pt x="6" y="10"/>
                                      </a:lnTo>
                                      <a:lnTo>
                                        <a:pt x="8" y="8"/>
                                      </a:lnTo>
                                      <a:lnTo>
                                        <a:pt x="8" y="6"/>
                                      </a:lnTo>
                                      <a:lnTo>
                                        <a:pt x="10" y="6"/>
                                      </a:lnTo>
                                      <a:lnTo>
                                        <a:pt x="10" y="6"/>
                                      </a:lnTo>
                                      <a:lnTo>
                                        <a:pt x="12" y="6"/>
                                      </a:lnTo>
                                      <a:lnTo>
                                        <a:pt x="8" y="4"/>
                                      </a:lnTo>
                                      <a:lnTo>
                                        <a:pt x="8" y="4"/>
                                      </a:lnTo>
                                      <a:lnTo>
                                        <a:pt x="4" y="6"/>
                                      </a:lnTo>
                                      <a:lnTo>
                                        <a:pt x="0" y="6"/>
                                      </a:lnTo>
                                      <a:lnTo>
                                        <a:pt x="0" y="6"/>
                                      </a:lnTo>
                                      <a:lnTo>
                                        <a:pt x="0" y="6"/>
                                      </a:lnTo>
                                      <a:lnTo>
                                        <a:pt x="0" y="4"/>
                                      </a:lnTo>
                                      <a:lnTo>
                                        <a:pt x="2" y="2"/>
                                      </a:lnTo>
                                      <a:lnTo>
                                        <a:pt x="2" y="2"/>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0" name="Suriname"/>
                                <p:cNvSpPr>
                                  <a:spLocks/>
                                </p:cNvSpPr>
                                <p:nvPr/>
                              </p:nvSpPr>
                              <p:spPr bwMode="auto">
                                <a:xfrm>
                                  <a:off x="3917449" y="3454645"/>
                                  <a:ext cx="139731" cy="166916"/>
                                </a:xfrm>
                                <a:custGeom>
                                  <a:avLst/>
                                  <a:gdLst/>
                                  <a:ahLst/>
                                  <a:cxnLst>
                                    <a:cxn ang="0">
                                      <a:pos x="72" y="100"/>
                                    </a:cxn>
                                    <a:cxn ang="0">
                                      <a:pos x="80" y="90"/>
                                    </a:cxn>
                                    <a:cxn ang="0">
                                      <a:pos x="82" y="82"/>
                                    </a:cxn>
                                    <a:cxn ang="0">
                                      <a:pos x="82" y="78"/>
                                    </a:cxn>
                                    <a:cxn ang="0">
                                      <a:pos x="86" y="70"/>
                                    </a:cxn>
                                    <a:cxn ang="0">
                                      <a:pos x="84" y="66"/>
                                    </a:cxn>
                                    <a:cxn ang="0">
                                      <a:pos x="80" y="52"/>
                                    </a:cxn>
                                    <a:cxn ang="0">
                                      <a:pos x="76" y="48"/>
                                    </a:cxn>
                                    <a:cxn ang="0">
                                      <a:pos x="78" y="42"/>
                                    </a:cxn>
                                    <a:cxn ang="0">
                                      <a:pos x="76" y="38"/>
                                    </a:cxn>
                                    <a:cxn ang="0">
                                      <a:pos x="78" y="24"/>
                                    </a:cxn>
                                    <a:cxn ang="0">
                                      <a:pos x="92" y="8"/>
                                    </a:cxn>
                                    <a:cxn ang="0">
                                      <a:pos x="90" y="4"/>
                                    </a:cxn>
                                    <a:cxn ang="0">
                                      <a:pos x="80" y="2"/>
                                    </a:cxn>
                                    <a:cxn ang="0">
                                      <a:pos x="76" y="2"/>
                                    </a:cxn>
                                    <a:cxn ang="0">
                                      <a:pos x="70" y="2"/>
                                    </a:cxn>
                                    <a:cxn ang="0">
                                      <a:pos x="62" y="4"/>
                                    </a:cxn>
                                    <a:cxn ang="0">
                                      <a:pos x="60" y="4"/>
                                    </a:cxn>
                                    <a:cxn ang="0">
                                      <a:pos x="56" y="4"/>
                                    </a:cxn>
                                    <a:cxn ang="0">
                                      <a:pos x="50" y="4"/>
                                    </a:cxn>
                                    <a:cxn ang="0">
                                      <a:pos x="44" y="4"/>
                                    </a:cxn>
                                    <a:cxn ang="0">
                                      <a:pos x="30" y="0"/>
                                    </a:cxn>
                                    <a:cxn ang="0">
                                      <a:pos x="24" y="4"/>
                                    </a:cxn>
                                    <a:cxn ang="0">
                                      <a:pos x="16" y="14"/>
                                    </a:cxn>
                                    <a:cxn ang="0">
                                      <a:pos x="12" y="20"/>
                                    </a:cxn>
                                    <a:cxn ang="0">
                                      <a:pos x="12" y="26"/>
                                    </a:cxn>
                                    <a:cxn ang="0">
                                      <a:pos x="8" y="28"/>
                                    </a:cxn>
                                    <a:cxn ang="0">
                                      <a:pos x="2" y="32"/>
                                    </a:cxn>
                                    <a:cxn ang="0">
                                      <a:pos x="2" y="42"/>
                                    </a:cxn>
                                    <a:cxn ang="0">
                                      <a:pos x="0" y="50"/>
                                    </a:cxn>
                                    <a:cxn ang="0">
                                      <a:pos x="4" y="60"/>
                                    </a:cxn>
                                    <a:cxn ang="0">
                                      <a:pos x="4" y="66"/>
                                    </a:cxn>
                                    <a:cxn ang="0">
                                      <a:pos x="6" y="68"/>
                                    </a:cxn>
                                    <a:cxn ang="0">
                                      <a:pos x="12" y="72"/>
                                    </a:cxn>
                                    <a:cxn ang="0">
                                      <a:pos x="16" y="80"/>
                                    </a:cxn>
                                    <a:cxn ang="0">
                                      <a:pos x="20" y="86"/>
                                    </a:cxn>
                                    <a:cxn ang="0">
                                      <a:pos x="24" y="96"/>
                                    </a:cxn>
                                    <a:cxn ang="0">
                                      <a:pos x="28" y="106"/>
                                    </a:cxn>
                                    <a:cxn ang="0">
                                      <a:pos x="32" y="108"/>
                                    </a:cxn>
                                    <a:cxn ang="0">
                                      <a:pos x="50" y="108"/>
                                    </a:cxn>
                                    <a:cxn ang="0">
                                      <a:pos x="46" y="104"/>
                                    </a:cxn>
                                    <a:cxn ang="0">
                                      <a:pos x="48" y="100"/>
                                    </a:cxn>
                                    <a:cxn ang="0">
                                      <a:pos x="50" y="102"/>
                                    </a:cxn>
                                    <a:cxn ang="0">
                                      <a:pos x="56" y="102"/>
                                    </a:cxn>
                                    <a:cxn ang="0">
                                      <a:pos x="58" y="102"/>
                                    </a:cxn>
                                    <a:cxn ang="0">
                                      <a:pos x="60" y="98"/>
                                    </a:cxn>
                                    <a:cxn ang="0">
                                      <a:pos x="64" y="96"/>
                                    </a:cxn>
                                    <a:cxn ang="0">
                                      <a:pos x="68" y="98"/>
                                    </a:cxn>
                                    <a:cxn ang="0">
                                      <a:pos x="72" y="100"/>
                                    </a:cxn>
                                  </a:cxnLst>
                                  <a:rect l="0" t="0" r="r" b="b"/>
                                  <a:pathLst>
                                    <a:path w="92" h="110">
                                      <a:moveTo>
                                        <a:pt x="72" y="100"/>
                                      </a:moveTo>
                                      <a:lnTo>
                                        <a:pt x="72" y="100"/>
                                      </a:lnTo>
                                      <a:lnTo>
                                        <a:pt x="76" y="94"/>
                                      </a:lnTo>
                                      <a:lnTo>
                                        <a:pt x="80" y="90"/>
                                      </a:lnTo>
                                      <a:lnTo>
                                        <a:pt x="82" y="86"/>
                                      </a:lnTo>
                                      <a:lnTo>
                                        <a:pt x="82" y="82"/>
                                      </a:lnTo>
                                      <a:lnTo>
                                        <a:pt x="82" y="82"/>
                                      </a:lnTo>
                                      <a:lnTo>
                                        <a:pt x="82" y="78"/>
                                      </a:lnTo>
                                      <a:lnTo>
                                        <a:pt x="84" y="74"/>
                                      </a:lnTo>
                                      <a:lnTo>
                                        <a:pt x="86" y="70"/>
                                      </a:lnTo>
                                      <a:lnTo>
                                        <a:pt x="84" y="66"/>
                                      </a:lnTo>
                                      <a:lnTo>
                                        <a:pt x="84" y="66"/>
                                      </a:lnTo>
                                      <a:lnTo>
                                        <a:pt x="82" y="58"/>
                                      </a:lnTo>
                                      <a:lnTo>
                                        <a:pt x="80" y="52"/>
                                      </a:lnTo>
                                      <a:lnTo>
                                        <a:pt x="80" y="52"/>
                                      </a:lnTo>
                                      <a:lnTo>
                                        <a:pt x="76" y="48"/>
                                      </a:lnTo>
                                      <a:lnTo>
                                        <a:pt x="78" y="44"/>
                                      </a:lnTo>
                                      <a:lnTo>
                                        <a:pt x="78" y="42"/>
                                      </a:lnTo>
                                      <a:lnTo>
                                        <a:pt x="76" y="38"/>
                                      </a:lnTo>
                                      <a:lnTo>
                                        <a:pt x="76" y="38"/>
                                      </a:lnTo>
                                      <a:lnTo>
                                        <a:pt x="76" y="32"/>
                                      </a:lnTo>
                                      <a:lnTo>
                                        <a:pt x="78" y="24"/>
                                      </a:lnTo>
                                      <a:lnTo>
                                        <a:pt x="84" y="16"/>
                                      </a:lnTo>
                                      <a:lnTo>
                                        <a:pt x="92" y="8"/>
                                      </a:lnTo>
                                      <a:lnTo>
                                        <a:pt x="92" y="8"/>
                                      </a:lnTo>
                                      <a:lnTo>
                                        <a:pt x="90" y="4"/>
                                      </a:lnTo>
                                      <a:lnTo>
                                        <a:pt x="86" y="2"/>
                                      </a:lnTo>
                                      <a:lnTo>
                                        <a:pt x="80" y="2"/>
                                      </a:lnTo>
                                      <a:lnTo>
                                        <a:pt x="76" y="2"/>
                                      </a:lnTo>
                                      <a:lnTo>
                                        <a:pt x="76" y="2"/>
                                      </a:lnTo>
                                      <a:lnTo>
                                        <a:pt x="74" y="2"/>
                                      </a:lnTo>
                                      <a:lnTo>
                                        <a:pt x="70" y="2"/>
                                      </a:lnTo>
                                      <a:lnTo>
                                        <a:pt x="66" y="2"/>
                                      </a:lnTo>
                                      <a:lnTo>
                                        <a:pt x="62" y="4"/>
                                      </a:lnTo>
                                      <a:lnTo>
                                        <a:pt x="62" y="4"/>
                                      </a:lnTo>
                                      <a:lnTo>
                                        <a:pt x="60" y="4"/>
                                      </a:lnTo>
                                      <a:lnTo>
                                        <a:pt x="58" y="4"/>
                                      </a:lnTo>
                                      <a:lnTo>
                                        <a:pt x="56" y="4"/>
                                      </a:lnTo>
                                      <a:lnTo>
                                        <a:pt x="50" y="4"/>
                                      </a:lnTo>
                                      <a:lnTo>
                                        <a:pt x="50" y="4"/>
                                      </a:lnTo>
                                      <a:lnTo>
                                        <a:pt x="48" y="6"/>
                                      </a:lnTo>
                                      <a:lnTo>
                                        <a:pt x="44" y="4"/>
                                      </a:lnTo>
                                      <a:lnTo>
                                        <a:pt x="38" y="2"/>
                                      </a:lnTo>
                                      <a:lnTo>
                                        <a:pt x="30" y="0"/>
                                      </a:lnTo>
                                      <a:lnTo>
                                        <a:pt x="26" y="0"/>
                                      </a:lnTo>
                                      <a:lnTo>
                                        <a:pt x="24" y="4"/>
                                      </a:lnTo>
                                      <a:lnTo>
                                        <a:pt x="24" y="4"/>
                                      </a:lnTo>
                                      <a:lnTo>
                                        <a:pt x="16" y="14"/>
                                      </a:lnTo>
                                      <a:lnTo>
                                        <a:pt x="16" y="14"/>
                                      </a:lnTo>
                                      <a:lnTo>
                                        <a:pt x="12" y="20"/>
                                      </a:lnTo>
                                      <a:lnTo>
                                        <a:pt x="12" y="24"/>
                                      </a:lnTo>
                                      <a:lnTo>
                                        <a:pt x="12" y="26"/>
                                      </a:lnTo>
                                      <a:lnTo>
                                        <a:pt x="8" y="28"/>
                                      </a:lnTo>
                                      <a:lnTo>
                                        <a:pt x="8" y="28"/>
                                      </a:lnTo>
                                      <a:lnTo>
                                        <a:pt x="4" y="30"/>
                                      </a:lnTo>
                                      <a:lnTo>
                                        <a:pt x="2" y="32"/>
                                      </a:lnTo>
                                      <a:lnTo>
                                        <a:pt x="4" y="34"/>
                                      </a:lnTo>
                                      <a:lnTo>
                                        <a:pt x="2" y="42"/>
                                      </a:lnTo>
                                      <a:lnTo>
                                        <a:pt x="2" y="42"/>
                                      </a:lnTo>
                                      <a:lnTo>
                                        <a:pt x="0" y="50"/>
                                      </a:lnTo>
                                      <a:lnTo>
                                        <a:pt x="2" y="56"/>
                                      </a:lnTo>
                                      <a:lnTo>
                                        <a:pt x="4" y="60"/>
                                      </a:lnTo>
                                      <a:lnTo>
                                        <a:pt x="4" y="66"/>
                                      </a:lnTo>
                                      <a:lnTo>
                                        <a:pt x="4" y="66"/>
                                      </a:lnTo>
                                      <a:lnTo>
                                        <a:pt x="6" y="68"/>
                                      </a:lnTo>
                                      <a:lnTo>
                                        <a:pt x="6" y="68"/>
                                      </a:lnTo>
                                      <a:lnTo>
                                        <a:pt x="10" y="68"/>
                                      </a:lnTo>
                                      <a:lnTo>
                                        <a:pt x="12" y="72"/>
                                      </a:lnTo>
                                      <a:lnTo>
                                        <a:pt x="12" y="72"/>
                                      </a:lnTo>
                                      <a:lnTo>
                                        <a:pt x="16" y="80"/>
                                      </a:lnTo>
                                      <a:lnTo>
                                        <a:pt x="20" y="86"/>
                                      </a:lnTo>
                                      <a:lnTo>
                                        <a:pt x="20" y="86"/>
                                      </a:lnTo>
                                      <a:lnTo>
                                        <a:pt x="22" y="90"/>
                                      </a:lnTo>
                                      <a:lnTo>
                                        <a:pt x="24" y="96"/>
                                      </a:lnTo>
                                      <a:lnTo>
                                        <a:pt x="26" y="104"/>
                                      </a:lnTo>
                                      <a:lnTo>
                                        <a:pt x="28" y="106"/>
                                      </a:lnTo>
                                      <a:lnTo>
                                        <a:pt x="32" y="108"/>
                                      </a:lnTo>
                                      <a:lnTo>
                                        <a:pt x="32" y="108"/>
                                      </a:lnTo>
                                      <a:lnTo>
                                        <a:pt x="46" y="110"/>
                                      </a:lnTo>
                                      <a:lnTo>
                                        <a:pt x="50" y="108"/>
                                      </a:lnTo>
                                      <a:lnTo>
                                        <a:pt x="50" y="106"/>
                                      </a:lnTo>
                                      <a:lnTo>
                                        <a:pt x="46" y="104"/>
                                      </a:lnTo>
                                      <a:lnTo>
                                        <a:pt x="44" y="102"/>
                                      </a:lnTo>
                                      <a:lnTo>
                                        <a:pt x="48" y="100"/>
                                      </a:lnTo>
                                      <a:lnTo>
                                        <a:pt x="48" y="100"/>
                                      </a:lnTo>
                                      <a:lnTo>
                                        <a:pt x="50" y="102"/>
                                      </a:lnTo>
                                      <a:lnTo>
                                        <a:pt x="52" y="102"/>
                                      </a:lnTo>
                                      <a:lnTo>
                                        <a:pt x="56" y="102"/>
                                      </a:lnTo>
                                      <a:lnTo>
                                        <a:pt x="56" y="102"/>
                                      </a:lnTo>
                                      <a:lnTo>
                                        <a:pt x="58" y="102"/>
                                      </a:lnTo>
                                      <a:lnTo>
                                        <a:pt x="60" y="100"/>
                                      </a:lnTo>
                                      <a:lnTo>
                                        <a:pt x="60" y="98"/>
                                      </a:lnTo>
                                      <a:lnTo>
                                        <a:pt x="64" y="96"/>
                                      </a:lnTo>
                                      <a:lnTo>
                                        <a:pt x="64" y="96"/>
                                      </a:lnTo>
                                      <a:lnTo>
                                        <a:pt x="66" y="98"/>
                                      </a:lnTo>
                                      <a:lnTo>
                                        <a:pt x="68" y="98"/>
                                      </a:lnTo>
                                      <a:lnTo>
                                        <a:pt x="68" y="100"/>
                                      </a:lnTo>
                                      <a:lnTo>
                                        <a:pt x="72" y="100"/>
                                      </a:lnTo>
                                      <a:lnTo>
                                        <a:pt x="72" y="10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3" name="Tanzania"/>
                                <p:cNvSpPr>
                                  <a:spLocks/>
                                </p:cNvSpPr>
                                <p:nvPr/>
                              </p:nvSpPr>
                              <p:spPr bwMode="auto">
                                <a:xfrm>
                                  <a:off x="6750434" y="3715818"/>
                                  <a:ext cx="334141" cy="433981"/>
                                </a:xfrm>
                                <a:custGeom>
                                  <a:avLst/>
                                  <a:gdLst/>
                                  <a:ahLst/>
                                  <a:cxnLst>
                                    <a:cxn ang="0">
                                      <a:pos x="50" y="20"/>
                                    </a:cxn>
                                    <a:cxn ang="0">
                                      <a:pos x="42" y="42"/>
                                    </a:cxn>
                                    <a:cxn ang="0">
                                      <a:pos x="42" y="48"/>
                                    </a:cxn>
                                    <a:cxn ang="0">
                                      <a:pos x="48" y="54"/>
                                    </a:cxn>
                                    <a:cxn ang="0">
                                      <a:pos x="56" y="50"/>
                                    </a:cxn>
                                    <a:cxn ang="0">
                                      <a:pos x="70" y="52"/>
                                    </a:cxn>
                                    <a:cxn ang="0">
                                      <a:pos x="82" y="44"/>
                                    </a:cxn>
                                    <a:cxn ang="0">
                                      <a:pos x="84" y="38"/>
                                    </a:cxn>
                                    <a:cxn ang="0">
                                      <a:pos x="82" y="30"/>
                                    </a:cxn>
                                    <a:cxn ang="0">
                                      <a:pos x="84" y="24"/>
                                    </a:cxn>
                                    <a:cxn ang="0">
                                      <a:pos x="96" y="10"/>
                                    </a:cxn>
                                    <a:cxn ang="0">
                                      <a:pos x="164" y="52"/>
                                    </a:cxn>
                                    <a:cxn ang="0">
                                      <a:pos x="170" y="72"/>
                                    </a:cxn>
                                    <a:cxn ang="0">
                                      <a:pos x="194" y="94"/>
                                    </a:cxn>
                                    <a:cxn ang="0">
                                      <a:pos x="206" y="120"/>
                                    </a:cxn>
                                    <a:cxn ang="0">
                                      <a:pos x="194" y="148"/>
                                    </a:cxn>
                                    <a:cxn ang="0">
                                      <a:pos x="204" y="166"/>
                                    </a:cxn>
                                    <a:cxn ang="0">
                                      <a:pos x="208" y="180"/>
                                    </a:cxn>
                                    <a:cxn ang="0">
                                      <a:pos x="202" y="198"/>
                                    </a:cxn>
                                    <a:cxn ang="0">
                                      <a:pos x="202" y="214"/>
                                    </a:cxn>
                                    <a:cxn ang="0">
                                      <a:pos x="210" y="236"/>
                                    </a:cxn>
                                    <a:cxn ang="0">
                                      <a:pos x="220" y="256"/>
                                    </a:cxn>
                                    <a:cxn ang="0">
                                      <a:pos x="194" y="270"/>
                                    </a:cxn>
                                    <a:cxn ang="0">
                                      <a:pos x="176" y="270"/>
                                    </a:cxn>
                                    <a:cxn ang="0">
                                      <a:pos x="172" y="276"/>
                                    </a:cxn>
                                    <a:cxn ang="0">
                                      <a:pos x="156" y="282"/>
                                    </a:cxn>
                                    <a:cxn ang="0">
                                      <a:pos x="146" y="284"/>
                                    </a:cxn>
                                    <a:cxn ang="0">
                                      <a:pos x="130" y="282"/>
                                    </a:cxn>
                                    <a:cxn ang="0">
                                      <a:pos x="114" y="282"/>
                                    </a:cxn>
                                    <a:cxn ang="0">
                                      <a:pos x="102" y="278"/>
                                    </a:cxn>
                                    <a:cxn ang="0">
                                      <a:pos x="102" y="258"/>
                                    </a:cxn>
                                    <a:cxn ang="0">
                                      <a:pos x="98" y="248"/>
                                    </a:cxn>
                                    <a:cxn ang="0">
                                      <a:pos x="88" y="234"/>
                                    </a:cxn>
                                    <a:cxn ang="0">
                                      <a:pos x="70" y="230"/>
                                    </a:cxn>
                                    <a:cxn ang="0">
                                      <a:pos x="26" y="208"/>
                                    </a:cxn>
                                    <a:cxn ang="0">
                                      <a:pos x="22" y="190"/>
                                    </a:cxn>
                                    <a:cxn ang="0">
                                      <a:pos x="18" y="176"/>
                                    </a:cxn>
                                    <a:cxn ang="0">
                                      <a:pos x="6" y="156"/>
                                    </a:cxn>
                                    <a:cxn ang="0">
                                      <a:pos x="10" y="148"/>
                                    </a:cxn>
                                    <a:cxn ang="0">
                                      <a:pos x="4" y="132"/>
                                    </a:cxn>
                                    <a:cxn ang="0">
                                      <a:pos x="2" y="100"/>
                                    </a:cxn>
                                    <a:cxn ang="0">
                                      <a:pos x="18" y="76"/>
                                    </a:cxn>
                                    <a:cxn ang="0">
                                      <a:pos x="22" y="64"/>
                                    </a:cxn>
                                    <a:cxn ang="0">
                                      <a:pos x="22" y="54"/>
                                    </a:cxn>
                                    <a:cxn ang="0">
                                      <a:pos x="10" y="48"/>
                                    </a:cxn>
                                    <a:cxn ang="0">
                                      <a:pos x="22" y="44"/>
                                    </a:cxn>
                                    <a:cxn ang="0">
                                      <a:pos x="30" y="32"/>
                                    </a:cxn>
                                    <a:cxn ang="0">
                                      <a:pos x="28" y="8"/>
                                    </a:cxn>
                                    <a:cxn ang="0">
                                      <a:pos x="40" y="4"/>
                                    </a:cxn>
                                  </a:cxnLst>
                                  <a:rect l="0" t="0" r="r" b="b"/>
                                  <a:pathLst>
                                    <a:path w="220" h="286">
                                      <a:moveTo>
                                        <a:pt x="48" y="0"/>
                                      </a:moveTo>
                                      <a:lnTo>
                                        <a:pt x="48" y="0"/>
                                      </a:lnTo>
                                      <a:lnTo>
                                        <a:pt x="50" y="10"/>
                                      </a:lnTo>
                                      <a:lnTo>
                                        <a:pt x="50" y="20"/>
                                      </a:lnTo>
                                      <a:lnTo>
                                        <a:pt x="46" y="30"/>
                                      </a:lnTo>
                                      <a:lnTo>
                                        <a:pt x="44" y="38"/>
                                      </a:lnTo>
                                      <a:lnTo>
                                        <a:pt x="44" y="38"/>
                                      </a:lnTo>
                                      <a:lnTo>
                                        <a:pt x="42" y="42"/>
                                      </a:lnTo>
                                      <a:lnTo>
                                        <a:pt x="42" y="44"/>
                                      </a:lnTo>
                                      <a:lnTo>
                                        <a:pt x="44" y="44"/>
                                      </a:lnTo>
                                      <a:lnTo>
                                        <a:pt x="42" y="48"/>
                                      </a:lnTo>
                                      <a:lnTo>
                                        <a:pt x="42" y="48"/>
                                      </a:lnTo>
                                      <a:lnTo>
                                        <a:pt x="42" y="50"/>
                                      </a:lnTo>
                                      <a:lnTo>
                                        <a:pt x="44" y="50"/>
                                      </a:lnTo>
                                      <a:lnTo>
                                        <a:pt x="46" y="52"/>
                                      </a:lnTo>
                                      <a:lnTo>
                                        <a:pt x="48" y="54"/>
                                      </a:lnTo>
                                      <a:lnTo>
                                        <a:pt x="48" y="54"/>
                                      </a:lnTo>
                                      <a:lnTo>
                                        <a:pt x="50" y="50"/>
                                      </a:lnTo>
                                      <a:lnTo>
                                        <a:pt x="56" y="50"/>
                                      </a:lnTo>
                                      <a:lnTo>
                                        <a:pt x="56" y="50"/>
                                      </a:lnTo>
                                      <a:lnTo>
                                        <a:pt x="60" y="50"/>
                                      </a:lnTo>
                                      <a:lnTo>
                                        <a:pt x="62" y="52"/>
                                      </a:lnTo>
                                      <a:lnTo>
                                        <a:pt x="64" y="54"/>
                                      </a:lnTo>
                                      <a:lnTo>
                                        <a:pt x="70" y="52"/>
                                      </a:lnTo>
                                      <a:lnTo>
                                        <a:pt x="70" y="52"/>
                                      </a:lnTo>
                                      <a:lnTo>
                                        <a:pt x="80" y="48"/>
                                      </a:lnTo>
                                      <a:lnTo>
                                        <a:pt x="82" y="48"/>
                                      </a:lnTo>
                                      <a:lnTo>
                                        <a:pt x="82" y="44"/>
                                      </a:lnTo>
                                      <a:lnTo>
                                        <a:pt x="82" y="44"/>
                                      </a:lnTo>
                                      <a:lnTo>
                                        <a:pt x="82" y="40"/>
                                      </a:lnTo>
                                      <a:lnTo>
                                        <a:pt x="84" y="38"/>
                                      </a:lnTo>
                                      <a:lnTo>
                                        <a:pt x="84" y="38"/>
                                      </a:lnTo>
                                      <a:lnTo>
                                        <a:pt x="82" y="36"/>
                                      </a:lnTo>
                                      <a:lnTo>
                                        <a:pt x="82" y="36"/>
                                      </a:lnTo>
                                      <a:lnTo>
                                        <a:pt x="80" y="34"/>
                                      </a:lnTo>
                                      <a:lnTo>
                                        <a:pt x="82" y="30"/>
                                      </a:lnTo>
                                      <a:lnTo>
                                        <a:pt x="84" y="28"/>
                                      </a:lnTo>
                                      <a:lnTo>
                                        <a:pt x="84" y="26"/>
                                      </a:lnTo>
                                      <a:lnTo>
                                        <a:pt x="84" y="26"/>
                                      </a:lnTo>
                                      <a:lnTo>
                                        <a:pt x="84" y="24"/>
                                      </a:lnTo>
                                      <a:lnTo>
                                        <a:pt x="86" y="22"/>
                                      </a:lnTo>
                                      <a:lnTo>
                                        <a:pt x="90" y="18"/>
                                      </a:lnTo>
                                      <a:lnTo>
                                        <a:pt x="94" y="14"/>
                                      </a:lnTo>
                                      <a:lnTo>
                                        <a:pt x="96" y="10"/>
                                      </a:lnTo>
                                      <a:lnTo>
                                        <a:pt x="96" y="6"/>
                                      </a:lnTo>
                                      <a:lnTo>
                                        <a:pt x="96" y="6"/>
                                      </a:lnTo>
                                      <a:lnTo>
                                        <a:pt x="164" y="52"/>
                                      </a:lnTo>
                                      <a:lnTo>
                                        <a:pt x="164" y="52"/>
                                      </a:lnTo>
                                      <a:lnTo>
                                        <a:pt x="168" y="54"/>
                                      </a:lnTo>
                                      <a:lnTo>
                                        <a:pt x="170" y="58"/>
                                      </a:lnTo>
                                      <a:lnTo>
                                        <a:pt x="170" y="66"/>
                                      </a:lnTo>
                                      <a:lnTo>
                                        <a:pt x="170" y="72"/>
                                      </a:lnTo>
                                      <a:lnTo>
                                        <a:pt x="172" y="76"/>
                                      </a:lnTo>
                                      <a:lnTo>
                                        <a:pt x="176" y="80"/>
                                      </a:lnTo>
                                      <a:lnTo>
                                        <a:pt x="176" y="80"/>
                                      </a:lnTo>
                                      <a:lnTo>
                                        <a:pt x="194" y="94"/>
                                      </a:lnTo>
                                      <a:lnTo>
                                        <a:pt x="210" y="108"/>
                                      </a:lnTo>
                                      <a:lnTo>
                                        <a:pt x="210" y="108"/>
                                      </a:lnTo>
                                      <a:lnTo>
                                        <a:pt x="206" y="114"/>
                                      </a:lnTo>
                                      <a:lnTo>
                                        <a:pt x="206" y="120"/>
                                      </a:lnTo>
                                      <a:lnTo>
                                        <a:pt x="204" y="128"/>
                                      </a:lnTo>
                                      <a:lnTo>
                                        <a:pt x="196" y="140"/>
                                      </a:lnTo>
                                      <a:lnTo>
                                        <a:pt x="196" y="140"/>
                                      </a:lnTo>
                                      <a:lnTo>
                                        <a:pt x="194" y="148"/>
                                      </a:lnTo>
                                      <a:lnTo>
                                        <a:pt x="194" y="154"/>
                                      </a:lnTo>
                                      <a:lnTo>
                                        <a:pt x="196" y="158"/>
                                      </a:lnTo>
                                      <a:lnTo>
                                        <a:pt x="200" y="162"/>
                                      </a:lnTo>
                                      <a:lnTo>
                                        <a:pt x="204" y="166"/>
                                      </a:lnTo>
                                      <a:lnTo>
                                        <a:pt x="208" y="170"/>
                                      </a:lnTo>
                                      <a:lnTo>
                                        <a:pt x="210" y="174"/>
                                      </a:lnTo>
                                      <a:lnTo>
                                        <a:pt x="208" y="180"/>
                                      </a:lnTo>
                                      <a:lnTo>
                                        <a:pt x="208" y="180"/>
                                      </a:lnTo>
                                      <a:lnTo>
                                        <a:pt x="206" y="186"/>
                                      </a:lnTo>
                                      <a:lnTo>
                                        <a:pt x="206" y="188"/>
                                      </a:lnTo>
                                      <a:lnTo>
                                        <a:pt x="206" y="190"/>
                                      </a:lnTo>
                                      <a:lnTo>
                                        <a:pt x="202" y="198"/>
                                      </a:lnTo>
                                      <a:lnTo>
                                        <a:pt x="202" y="198"/>
                                      </a:lnTo>
                                      <a:lnTo>
                                        <a:pt x="200" y="202"/>
                                      </a:lnTo>
                                      <a:lnTo>
                                        <a:pt x="200" y="206"/>
                                      </a:lnTo>
                                      <a:lnTo>
                                        <a:pt x="202" y="214"/>
                                      </a:lnTo>
                                      <a:lnTo>
                                        <a:pt x="208" y="222"/>
                                      </a:lnTo>
                                      <a:lnTo>
                                        <a:pt x="210" y="228"/>
                                      </a:lnTo>
                                      <a:lnTo>
                                        <a:pt x="210" y="236"/>
                                      </a:lnTo>
                                      <a:lnTo>
                                        <a:pt x="210" y="236"/>
                                      </a:lnTo>
                                      <a:lnTo>
                                        <a:pt x="210" y="242"/>
                                      </a:lnTo>
                                      <a:lnTo>
                                        <a:pt x="212" y="246"/>
                                      </a:lnTo>
                                      <a:lnTo>
                                        <a:pt x="220" y="256"/>
                                      </a:lnTo>
                                      <a:lnTo>
                                        <a:pt x="220" y="256"/>
                                      </a:lnTo>
                                      <a:lnTo>
                                        <a:pt x="218" y="260"/>
                                      </a:lnTo>
                                      <a:lnTo>
                                        <a:pt x="214" y="264"/>
                                      </a:lnTo>
                                      <a:lnTo>
                                        <a:pt x="204" y="268"/>
                                      </a:lnTo>
                                      <a:lnTo>
                                        <a:pt x="194" y="270"/>
                                      </a:lnTo>
                                      <a:lnTo>
                                        <a:pt x="188" y="270"/>
                                      </a:lnTo>
                                      <a:lnTo>
                                        <a:pt x="188" y="270"/>
                                      </a:lnTo>
                                      <a:lnTo>
                                        <a:pt x="182" y="270"/>
                                      </a:lnTo>
                                      <a:lnTo>
                                        <a:pt x="176" y="270"/>
                                      </a:lnTo>
                                      <a:lnTo>
                                        <a:pt x="170" y="272"/>
                                      </a:lnTo>
                                      <a:lnTo>
                                        <a:pt x="170" y="274"/>
                                      </a:lnTo>
                                      <a:lnTo>
                                        <a:pt x="172" y="276"/>
                                      </a:lnTo>
                                      <a:lnTo>
                                        <a:pt x="172" y="276"/>
                                      </a:lnTo>
                                      <a:lnTo>
                                        <a:pt x="170" y="278"/>
                                      </a:lnTo>
                                      <a:lnTo>
                                        <a:pt x="166" y="280"/>
                                      </a:lnTo>
                                      <a:lnTo>
                                        <a:pt x="160" y="282"/>
                                      </a:lnTo>
                                      <a:lnTo>
                                        <a:pt x="156" y="282"/>
                                      </a:lnTo>
                                      <a:lnTo>
                                        <a:pt x="156" y="282"/>
                                      </a:lnTo>
                                      <a:lnTo>
                                        <a:pt x="152" y="280"/>
                                      </a:lnTo>
                                      <a:lnTo>
                                        <a:pt x="148" y="280"/>
                                      </a:lnTo>
                                      <a:lnTo>
                                        <a:pt x="146" y="284"/>
                                      </a:lnTo>
                                      <a:lnTo>
                                        <a:pt x="144" y="286"/>
                                      </a:lnTo>
                                      <a:lnTo>
                                        <a:pt x="140" y="286"/>
                                      </a:lnTo>
                                      <a:lnTo>
                                        <a:pt x="136" y="284"/>
                                      </a:lnTo>
                                      <a:lnTo>
                                        <a:pt x="130" y="282"/>
                                      </a:lnTo>
                                      <a:lnTo>
                                        <a:pt x="130" y="282"/>
                                      </a:lnTo>
                                      <a:lnTo>
                                        <a:pt x="122" y="278"/>
                                      </a:lnTo>
                                      <a:lnTo>
                                        <a:pt x="118" y="278"/>
                                      </a:lnTo>
                                      <a:lnTo>
                                        <a:pt x="114" y="282"/>
                                      </a:lnTo>
                                      <a:lnTo>
                                        <a:pt x="104" y="284"/>
                                      </a:lnTo>
                                      <a:lnTo>
                                        <a:pt x="104" y="284"/>
                                      </a:lnTo>
                                      <a:lnTo>
                                        <a:pt x="104" y="278"/>
                                      </a:lnTo>
                                      <a:lnTo>
                                        <a:pt x="102" y="278"/>
                                      </a:lnTo>
                                      <a:lnTo>
                                        <a:pt x="100" y="274"/>
                                      </a:lnTo>
                                      <a:lnTo>
                                        <a:pt x="100" y="266"/>
                                      </a:lnTo>
                                      <a:lnTo>
                                        <a:pt x="100" y="266"/>
                                      </a:lnTo>
                                      <a:lnTo>
                                        <a:pt x="102" y="258"/>
                                      </a:lnTo>
                                      <a:lnTo>
                                        <a:pt x="100" y="256"/>
                                      </a:lnTo>
                                      <a:lnTo>
                                        <a:pt x="98" y="254"/>
                                      </a:lnTo>
                                      <a:lnTo>
                                        <a:pt x="98" y="248"/>
                                      </a:lnTo>
                                      <a:lnTo>
                                        <a:pt x="98" y="248"/>
                                      </a:lnTo>
                                      <a:lnTo>
                                        <a:pt x="96" y="240"/>
                                      </a:lnTo>
                                      <a:lnTo>
                                        <a:pt x="92" y="236"/>
                                      </a:lnTo>
                                      <a:lnTo>
                                        <a:pt x="90" y="234"/>
                                      </a:lnTo>
                                      <a:lnTo>
                                        <a:pt x="88" y="234"/>
                                      </a:lnTo>
                                      <a:lnTo>
                                        <a:pt x="86" y="236"/>
                                      </a:lnTo>
                                      <a:lnTo>
                                        <a:pt x="86" y="236"/>
                                      </a:lnTo>
                                      <a:lnTo>
                                        <a:pt x="70" y="230"/>
                                      </a:lnTo>
                                      <a:lnTo>
                                        <a:pt x="70" y="230"/>
                                      </a:lnTo>
                                      <a:lnTo>
                                        <a:pt x="52" y="224"/>
                                      </a:lnTo>
                                      <a:lnTo>
                                        <a:pt x="44" y="218"/>
                                      </a:lnTo>
                                      <a:lnTo>
                                        <a:pt x="36" y="212"/>
                                      </a:lnTo>
                                      <a:lnTo>
                                        <a:pt x="26" y="208"/>
                                      </a:lnTo>
                                      <a:lnTo>
                                        <a:pt x="26" y="208"/>
                                      </a:lnTo>
                                      <a:lnTo>
                                        <a:pt x="26" y="204"/>
                                      </a:lnTo>
                                      <a:lnTo>
                                        <a:pt x="26" y="198"/>
                                      </a:lnTo>
                                      <a:lnTo>
                                        <a:pt x="22" y="190"/>
                                      </a:lnTo>
                                      <a:lnTo>
                                        <a:pt x="18" y="182"/>
                                      </a:lnTo>
                                      <a:lnTo>
                                        <a:pt x="18" y="178"/>
                                      </a:lnTo>
                                      <a:lnTo>
                                        <a:pt x="18" y="176"/>
                                      </a:lnTo>
                                      <a:lnTo>
                                        <a:pt x="18" y="176"/>
                                      </a:lnTo>
                                      <a:lnTo>
                                        <a:pt x="18" y="172"/>
                                      </a:lnTo>
                                      <a:lnTo>
                                        <a:pt x="18" y="170"/>
                                      </a:lnTo>
                                      <a:lnTo>
                                        <a:pt x="10" y="162"/>
                                      </a:lnTo>
                                      <a:lnTo>
                                        <a:pt x="6" y="156"/>
                                      </a:lnTo>
                                      <a:lnTo>
                                        <a:pt x="6" y="154"/>
                                      </a:lnTo>
                                      <a:lnTo>
                                        <a:pt x="8" y="150"/>
                                      </a:lnTo>
                                      <a:lnTo>
                                        <a:pt x="8" y="150"/>
                                      </a:lnTo>
                                      <a:lnTo>
                                        <a:pt x="10" y="148"/>
                                      </a:lnTo>
                                      <a:lnTo>
                                        <a:pt x="8" y="144"/>
                                      </a:lnTo>
                                      <a:lnTo>
                                        <a:pt x="6" y="138"/>
                                      </a:lnTo>
                                      <a:lnTo>
                                        <a:pt x="4" y="132"/>
                                      </a:lnTo>
                                      <a:lnTo>
                                        <a:pt x="4" y="132"/>
                                      </a:lnTo>
                                      <a:lnTo>
                                        <a:pt x="4" y="124"/>
                                      </a:lnTo>
                                      <a:lnTo>
                                        <a:pt x="2" y="116"/>
                                      </a:lnTo>
                                      <a:lnTo>
                                        <a:pt x="0" y="110"/>
                                      </a:lnTo>
                                      <a:lnTo>
                                        <a:pt x="2" y="100"/>
                                      </a:lnTo>
                                      <a:lnTo>
                                        <a:pt x="2" y="100"/>
                                      </a:lnTo>
                                      <a:lnTo>
                                        <a:pt x="10" y="90"/>
                                      </a:lnTo>
                                      <a:lnTo>
                                        <a:pt x="16" y="82"/>
                                      </a:lnTo>
                                      <a:lnTo>
                                        <a:pt x="18" y="76"/>
                                      </a:lnTo>
                                      <a:lnTo>
                                        <a:pt x="20" y="70"/>
                                      </a:lnTo>
                                      <a:lnTo>
                                        <a:pt x="20" y="70"/>
                                      </a:lnTo>
                                      <a:lnTo>
                                        <a:pt x="20" y="66"/>
                                      </a:lnTo>
                                      <a:lnTo>
                                        <a:pt x="22" y="64"/>
                                      </a:lnTo>
                                      <a:lnTo>
                                        <a:pt x="24" y="60"/>
                                      </a:lnTo>
                                      <a:lnTo>
                                        <a:pt x="24" y="54"/>
                                      </a:lnTo>
                                      <a:lnTo>
                                        <a:pt x="24" y="54"/>
                                      </a:lnTo>
                                      <a:lnTo>
                                        <a:pt x="22" y="54"/>
                                      </a:lnTo>
                                      <a:lnTo>
                                        <a:pt x="20" y="52"/>
                                      </a:lnTo>
                                      <a:lnTo>
                                        <a:pt x="14" y="52"/>
                                      </a:lnTo>
                                      <a:lnTo>
                                        <a:pt x="12" y="50"/>
                                      </a:lnTo>
                                      <a:lnTo>
                                        <a:pt x="10" y="48"/>
                                      </a:lnTo>
                                      <a:lnTo>
                                        <a:pt x="10" y="46"/>
                                      </a:lnTo>
                                      <a:lnTo>
                                        <a:pt x="14" y="42"/>
                                      </a:lnTo>
                                      <a:lnTo>
                                        <a:pt x="14" y="42"/>
                                      </a:lnTo>
                                      <a:lnTo>
                                        <a:pt x="22" y="44"/>
                                      </a:lnTo>
                                      <a:lnTo>
                                        <a:pt x="26" y="42"/>
                                      </a:lnTo>
                                      <a:lnTo>
                                        <a:pt x="28" y="38"/>
                                      </a:lnTo>
                                      <a:lnTo>
                                        <a:pt x="30" y="32"/>
                                      </a:lnTo>
                                      <a:lnTo>
                                        <a:pt x="30" y="32"/>
                                      </a:lnTo>
                                      <a:lnTo>
                                        <a:pt x="32" y="26"/>
                                      </a:lnTo>
                                      <a:lnTo>
                                        <a:pt x="32" y="22"/>
                                      </a:lnTo>
                                      <a:lnTo>
                                        <a:pt x="28" y="16"/>
                                      </a:lnTo>
                                      <a:lnTo>
                                        <a:pt x="28" y="8"/>
                                      </a:lnTo>
                                      <a:lnTo>
                                        <a:pt x="28" y="4"/>
                                      </a:lnTo>
                                      <a:lnTo>
                                        <a:pt x="30" y="0"/>
                                      </a:lnTo>
                                      <a:lnTo>
                                        <a:pt x="30" y="0"/>
                                      </a:lnTo>
                                      <a:lnTo>
                                        <a:pt x="40" y="4"/>
                                      </a:lnTo>
                                      <a:lnTo>
                                        <a:pt x="44" y="2"/>
                                      </a:lnTo>
                                      <a:lnTo>
                                        <a:pt x="48" y="0"/>
                                      </a:lnTo>
                                      <a:lnTo>
                                        <a:pt x="48" y="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6" name="DR Congo"/>
                                <p:cNvSpPr>
                                  <a:spLocks/>
                                </p:cNvSpPr>
                                <p:nvPr/>
                              </p:nvSpPr>
                              <p:spPr bwMode="auto">
                                <a:xfrm>
                                  <a:off x="6176737" y="3472835"/>
                                  <a:ext cx="631829" cy="731395"/>
                                </a:xfrm>
                                <a:custGeom>
                                  <a:avLst/>
                                  <a:gdLst/>
                                  <a:ahLst/>
                                  <a:cxnLst>
                                    <a:cxn ang="0">
                                      <a:pos x="154" y="6"/>
                                    </a:cxn>
                                    <a:cxn ang="0">
                                      <a:pos x="184" y="14"/>
                                    </a:cxn>
                                    <a:cxn ang="0">
                                      <a:pos x="206" y="18"/>
                                    </a:cxn>
                                    <a:cxn ang="0">
                                      <a:pos x="236" y="16"/>
                                    </a:cxn>
                                    <a:cxn ang="0">
                                      <a:pos x="268" y="4"/>
                                    </a:cxn>
                                    <a:cxn ang="0">
                                      <a:pos x="278" y="2"/>
                                    </a:cxn>
                                    <a:cxn ang="0">
                                      <a:pos x="334" y="16"/>
                                    </a:cxn>
                                    <a:cxn ang="0">
                                      <a:pos x="358" y="24"/>
                                    </a:cxn>
                                    <a:cxn ang="0">
                                      <a:pos x="374" y="24"/>
                                    </a:cxn>
                                    <a:cxn ang="0">
                                      <a:pos x="398" y="54"/>
                                    </a:cxn>
                                    <a:cxn ang="0">
                                      <a:pos x="404" y="76"/>
                                    </a:cxn>
                                    <a:cxn ang="0">
                                      <a:pos x="414" y="82"/>
                                    </a:cxn>
                                    <a:cxn ang="0">
                                      <a:pos x="390" y="118"/>
                                    </a:cxn>
                                    <a:cxn ang="0">
                                      <a:pos x="374" y="154"/>
                                    </a:cxn>
                                    <a:cxn ang="0">
                                      <a:pos x="372" y="186"/>
                                    </a:cxn>
                                    <a:cxn ang="0">
                                      <a:pos x="360" y="198"/>
                                    </a:cxn>
                                    <a:cxn ang="0">
                                      <a:pos x="370" y="240"/>
                                    </a:cxn>
                                    <a:cxn ang="0">
                                      <a:pos x="368" y="270"/>
                                    </a:cxn>
                                    <a:cxn ang="0">
                                      <a:pos x="368" y="306"/>
                                    </a:cxn>
                                    <a:cxn ang="0">
                                      <a:pos x="388" y="354"/>
                                    </a:cxn>
                                    <a:cxn ang="0">
                                      <a:pos x="352" y="384"/>
                                    </a:cxn>
                                    <a:cxn ang="0">
                                      <a:pos x="358" y="398"/>
                                    </a:cxn>
                                    <a:cxn ang="0">
                                      <a:pos x="348" y="418"/>
                                    </a:cxn>
                                    <a:cxn ang="0">
                                      <a:pos x="346" y="442"/>
                                    </a:cxn>
                                    <a:cxn ang="0">
                                      <a:pos x="364" y="456"/>
                                    </a:cxn>
                                    <a:cxn ang="0">
                                      <a:pos x="360" y="476"/>
                                    </a:cxn>
                                    <a:cxn ang="0">
                                      <a:pos x="342" y="466"/>
                                    </a:cxn>
                                    <a:cxn ang="0">
                                      <a:pos x="312" y="446"/>
                                    </a:cxn>
                                    <a:cxn ang="0">
                                      <a:pos x="286" y="446"/>
                                    </a:cxn>
                                    <a:cxn ang="0">
                                      <a:pos x="276" y="432"/>
                                    </a:cxn>
                                    <a:cxn ang="0">
                                      <a:pos x="256" y="430"/>
                                    </a:cxn>
                                    <a:cxn ang="0">
                                      <a:pos x="210" y="434"/>
                                    </a:cxn>
                                    <a:cxn ang="0">
                                      <a:pos x="204" y="402"/>
                                    </a:cxn>
                                    <a:cxn ang="0">
                                      <a:pos x="200" y="356"/>
                                    </a:cxn>
                                    <a:cxn ang="0">
                                      <a:pos x="196" y="328"/>
                                    </a:cxn>
                                    <a:cxn ang="0">
                                      <a:pos x="178" y="322"/>
                                    </a:cxn>
                                    <a:cxn ang="0">
                                      <a:pos x="160" y="326"/>
                                    </a:cxn>
                                    <a:cxn ang="0">
                                      <a:pos x="150" y="340"/>
                                    </a:cxn>
                                    <a:cxn ang="0">
                                      <a:pos x="132" y="346"/>
                                    </a:cxn>
                                    <a:cxn ang="0">
                                      <a:pos x="110" y="342"/>
                                    </a:cxn>
                                    <a:cxn ang="0">
                                      <a:pos x="98" y="316"/>
                                    </a:cxn>
                                    <a:cxn ang="0">
                                      <a:pos x="82" y="294"/>
                                    </a:cxn>
                                    <a:cxn ang="0">
                                      <a:pos x="30" y="292"/>
                                    </a:cxn>
                                    <a:cxn ang="0">
                                      <a:pos x="10" y="298"/>
                                    </a:cxn>
                                    <a:cxn ang="0">
                                      <a:pos x="6" y="292"/>
                                    </a:cxn>
                                    <a:cxn ang="0">
                                      <a:pos x="12" y="258"/>
                                    </a:cxn>
                                    <a:cxn ang="0">
                                      <a:pos x="32" y="258"/>
                                    </a:cxn>
                                    <a:cxn ang="0">
                                      <a:pos x="46" y="256"/>
                                    </a:cxn>
                                    <a:cxn ang="0">
                                      <a:pos x="58" y="258"/>
                                    </a:cxn>
                                    <a:cxn ang="0">
                                      <a:pos x="84" y="230"/>
                                    </a:cxn>
                                    <a:cxn ang="0">
                                      <a:pos x="98" y="176"/>
                                    </a:cxn>
                                    <a:cxn ang="0">
                                      <a:pos x="124" y="140"/>
                                    </a:cxn>
                                    <a:cxn ang="0">
                                      <a:pos x="130" y="84"/>
                                    </a:cxn>
                                    <a:cxn ang="0">
                                      <a:pos x="136" y="58"/>
                                    </a:cxn>
                                  </a:cxnLst>
                                  <a:rect l="0" t="0" r="r" b="b"/>
                                  <a:pathLst>
                                    <a:path w="416" h="482">
                                      <a:moveTo>
                                        <a:pt x="138" y="42"/>
                                      </a:moveTo>
                                      <a:lnTo>
                                        <a:pt x="138" y="42"/>
                                      </a:lnTo>
                                      <a:lnTo>
                                        <a:pt x="142" y="22"/>
                                      </a:lnTo>
                                      <a:lnTo>
                                        <a:pt x="146" y="12"/>
                                      </a:lnTo>
                                      <a:lnTo>
                                        <a:pt x="150" y="8"/>
                                      </a:lnTo>
                                      <a:lnTo>
                                        <a:pt x="154" y="6"/>
                                      </a:lnTo>
                                      <a:lnTo>
                                        <a:pt x="162" y="4"/>
                                      </a:lnTo>
                                      <a:lnTo>
                                        <a:pt x="162" y="4"/>
                                      </a:lnTo>
                                      <a:lnTo>
                                        <a:pt x="168" y="4"/>
                                      </a:lnTo>
                                      <a:lnTo>
                                        <a:pt x="172" y="6"/>
                                      </a:lnTo>
                                      <a:lnTo>
                                        <a:pt x="178" y="10"/>
                                      </a:lnTo>
                                      <a:lnTo>
                                        <a:pt x="184" y="14"/>
                                      </a:lnTo>
                                      <a:lnTo>
                                        <a:pt x="186" y="16"/>
                                      </a:lnTo>
                                      <a:lnTo>
                                        <a:pt x="190" y="14"/>
                                      </a:lnTo>
                                      <a:lnTo>
                                        <a:pt x="190" y="14"/>
                                      </a:lnTo>
                                      <a:lnTo>
                                        <a:pt x="194" y="14"/>
                                      </a:lnTo>
                                      <a:lnTo>
                                        <a:pt x="198" y="16"/>
                                      </a:lnTo>
                                      <a:lnTo>
                                        <a:pt x="206" y="18"/>
                                      </a:lnTo>
                                      <a:lnTo>
                                        <a:pt x="216" y="22"/>
                                      </a:lnTo>
                                      <a:lnTo>
                                        <a:pt x="222" y="24"/>
                                      </a:lnTo>
                                      <a:lnTo>
                                        <a:pt x="230" y="22"/>
                                      </a:lnTo>
                                      <a:lnTo>
                                        <a:pt x="230" y="22"/>
                                      </a:lnTo>
                                      <a:lnTo>
                                        <a:pt x="232" y="20"/>
                                      </a:lnTo>
                                      <a:lnTo>
                                        <a:pt x="236" y="16"/>
                                      </a:lnTo>
                                      <a:lnTo>
                                        <a:pt x="240" y="12"/>
                                      </a:lnTo>
                                      <a:lnTo>
                                        <a:pt x="250" y="10"/>
                                      </a:lnTo>
                                      <a:lnTo>
                                        <a:pt x="250" y="10"/>
                                      </a:lnTo>
                                      <a:lnTo>
                                        <a:pt x="264" y="8"/>
                                      </a:lnTo>
                                      <a:lnTo>
                                        <a:pt x="266" y="6"/>
                                      </a:lnTo>
                                      <a:lnTo>
                                        <a:pt x="268" y="4"/>
                                      </a:lnTo>
                                      <a:lnTo>
                                        <a:pt x="268" y="2"/>
                                      </a:lnTo>
                                      <a:lnTo>
                                        <a:pt x="268" y="0"/>
                                      </a:lnTo>
                                      <a:lnTo>
                                        <a:pt x="272" y="0"/>
                                      </a:lnTo>
                                      <a:lnTo>
                                        <a:pt x="272" y="0"/>
                                      </a:lnTo>
                                      <a:lnTo>
                                        <a:pt x="274" y="0"/>
                                      </a:lnTo>
                                      <a:lnTo>
                                        <a:pt x="278" y="2"/>
                                      </a:lnTo>
                                      <a:lnTo>
                                        <a:pt x="290" y="4"/>
                                      </a:lnTo>
                                      <a:lnTo>
                                        <a:pt x="324" y="6"/>
                                      </a:lnTo>
                                      <a:lnTo>
                                        <a:pt x="324" y="6"/>
                                      </a:lnTo>
                                      <a:lnTo>
                                        <a:pt x="328" y="12"/>
                                      </a:lnTo>
                                      <a:lnTo>
                                        <a:pt x="330" y="14"/>
                                      </a:lnTo>
                                      <a:lnTo>
                                        <a:pt x="334" y="16"/>
                                      </a:lnTo>
                                      <a:lnTo>
                                        <a:pt x="338" y="20"/>
                                      </a:lnTo>
                                      <a:lnTo>
                                        <a:pt x="338" y="20"/>
                                      </a:lnTo>
                                      <a:lnTo>
                                        <a:pt x="342" y="24"/>
                                      </a:lnTo>
                                      <a:lnTo>
                                        <a:pt x="346" y="24"/>
                                      </a:lnTo>
                                      <a:lnTo>
                                        <a:pt x="350" y="24"/>
                                      </a:lnTo>
                                      <a:lnTo>
                                        <a:pt x="358" y="24"/>
                                      </a:lnTo>
                                      <a:lnTo>
                                        <a:pt x="358" y="24"/>
                                      </a:lnTo>
                                      <a:lnTo>
                                        <a:pt x="362" y="24"/>
                                      </a:lnTo>
                                      <a:lnTo>
                                        <a:pt x="364" y="22"/>
                                      </a:lnTo>
                                      <a:lnTo>
                                        <a:pt x="368" y="20"/>
                                      </a:lnTo>
                                      <a:lnTo>
                                        <a:pt x="374" y="24"/>
                                      </a:lnTo>
                                      <a:lnTo>
                                        <a:pt x="374" y="24"/>
                                      </a:lnTo>
                                      <a:lnTo>
                                        <a:pt x="392" y="38"/>
                                      </a:lnTo>
                                      <a:lnTo>
                                        <a:pt x="398" y="42"/>
                                      </a:lnTo>
                                      <a:lnTo>
                                        <a:pt x="404" y="42"/>
                                      </a:lnTo>
                                      <a:lnTo>
                                        <a:pt x="404" y="42"/>
                                      </a:lnTo>
                                      <a:lnTo>
                                        <a:pt x="398" y="52"/>
                                      </a:lnTo>
                                      <a:lnTo>
                                        <a:pt x="398" y="54"/>
                                      </a:lnTo>
                                      <a:lnTo>
                                        <a:pt x="400" y="56"/>
                                      </a:lnTo>
                                      <a:lnTo>
                                        <a:pt x="400" y="64"/>
                                      </a:lnTo>
                                      <a:lnTo>
                                        <a:pt x="400" y="64"/>
                                      </a:lnTo>
                                      <a:lnTo>
                                        <a:pt x="400" y="70"/>
                                      </a:lnTo>
                                      <a:lnTo>
                                        <a:pt x="402" y="74"/>
                                      </a:lnTo>
                                      <a:lnTo>
                                        <a:pt x="404" y="76"/>
                                      </a:lnTo>
                                      <a:lnTo>
                                        <a:pt x="406" y="76"/>
                                      </a:lnTo>
                                      <a:lnTo>
                                        <a:pt x="412" y="78"/>
                                      </a:lnTo>
                                      <a:lnTo>
                                        <a:pt x="414" y="78"/>
                                      </a:lnTo>
                                      <a:lnTo>
                                        <a:pt x="416" y="80"/>
                                      </a:lnTo>
                                      <a:lnTo>
                                        <a:pt x="416" y="80"/>
                                      </a:lnTo>
                                      <a:lnTo>
                                        <a:pt x="414" y="82"/>
                                      </a:lnTo>
                                      <a:lnTo>
                                        <a:pt x="412" y="82"/>
                                      </a:lnTo>
                                      <a:lnTo>
                                        <a:pt x="410" y="86"/>
                                      </a:lnTo>
                                      <a:lnTo>
                                        <a:pt x="406" y="94"/>
                                      </a:lnTo>
                                      <a:lnTo>
                                        <a:pt x="406" y="94"/>
                                      </a:lnTo>
                                      <a:lnTo>
                                        <a:pt x="398" y="110"/>
                                      </a:lnTo>
                                      <a:lnTo>
                                        <a:pt x="390" y="118"/>
                                      </a:lnTo>
                                      <a:lnTo>
                                        <a:pt x="384" y="124"/>
                                      </a:lnTo>
                                      <a:lnTo>
                                        <a:pt x="382" y="132"/>
                                      </a:lnTo>
                                      <a:lnTo>
                                        <a:pt x="382" y="132"/>
                                      </a:lnTo>
                                      <a:lnTo>
                                        <a:pt x="378" y="142"/>
                                      </a:lnTo>
                                      <a:lnTo>
                                        <a:pt x="376" y="148"/>
                                      </a:lnTo>
                                      <a:lnTo>
                                        <a:pt x="374" y="154"/>
                                      </a:lnTo>
                                      <a:lnTo>
                                        <a:pt x="378" y="166"/>
                                      </a:lnTo>
                                      <a:lnTo>
                                        <a:pt x="378" y="166"/>
                                      </a:lnTo>
                                      <a:lnTo>
                                        <a:pt x="374" y="170"/>
                                      </a:lnTo>
                                      <a:lnTo>
                                        <a:pt x="372" y="174"/>
                                      </a:lnTo>
                                      <a:lnTo>
                                        <a:pt x="372" y="182"/>
                                      </a:lnTo>
                                      <a:lnTo>
                                        <a:pt x="372" y="186"/>
                                      </a:lnTo>
                                      <a:lnTo>
                                        <a:pt x="372" y="188"/>
                                      </a:lnTo>
                                      <a:lnTo>
                                        <a:pt x="370" y="192"/>
                                      </a:lnTo>
                                      <a:lnTo>
                                        <a:pt x="364" y="196"/>
                                      </a:lnTo>
                                      <a:lnTo>
                                        <a:pt x="364" y="196"/>
                                      </a:lnTo>
                                      <a:lnTo>
                                        <a:pt x="362" y="196"/>
                                      </a:lnTo>
                                      <a:lnTo>
                                        <a:pt x="360" y="198"/>
                                      </a:lnTo>
                                      <a:lnTo>
                                        <a:pt x="358" y="202"/>
                                      </a:lnTo>
                                      <a:lnTo>
                                        <a:pt x="360" y="210"/>
                                      </a:lnTo>
                                      <a:lnTo>
                                        <a:pt x="360" y="210"/>
                                      </a:lnTo>
                                      <a:lnTo>
                                        <a:pt x="366" y="234"/>
                                      </a:lnTo>
                                      <a:lnTo>
                                        <a:pt x="368" y="238"/>
                                      </a:lnTo>
                                      <a:lnTo>
                                        <a:pt x="370" y="240"/>
                                      </a:lnTo>
                                      <a:lnTo>
                                        <a:pt x="372" y="240"/>
                                      </a:lnTo>
                                      <a:lnTo>
                                        <a:pt x="372" y="240"/>
                                      </a:lnTo>
                                      <a:lnTo>
                                        <a:pt x="374" y="242"/>
                                      </a:lnTo>
                                      <a:lnTo>
                                        <a:pt x="374" y="242"/>
                                      </a:lnTo>
                                      <a:lnTo>
                                        <a:pt x="370" y="258"/>
                                      </a:lnTo>
                                      <a:lnTo>
                                        <a:pt x="368" y="270"/>
                                      </a:lnTo>
                                      <a:lnTo>
                                        <a:pt x="368" y="280"/>
                                      </a:lnTo>
                                      <a:lnTo>
                                        <a:pt x="368" y="288"/>
                                      </a:lnTo>
                                      <a:lnTo>
                                        <a:pt x="370" y="298"/>
                                      </a:lnTo>
                                      <a:lnTo>
                                        <a:pt x="370" y="302"/>
                                      </a:lnTo>
                                      <a:lnTo>
                                        <a:pt x="368" y="306"/>
                                      </a:lnTo>
                                      <a:lnTo>
                                        <a:pt x="368" y="306"/>
                                      </a:lnTo>
                                      <a:lnTo>
                                        <a:pt x="366" y="310"/>
                                      </a:lnTo>
                                      <a:lnTo>
                                        <a:pt x="368" y="314"/>
                                      </a:lnTo>
                                      <a:lnTo>
                                        <a:pt x="374" y="326"/>
                                      </a:lnTo>
                                      <a:lnTo>
                                        <a:pt x="384" y="340"/>
                                      </a:lnTo>
                                      <a:lnTo>
                                        <a:pt x="386" y="346"/>
                                      </a:lnTo>
                                      <a:lnTo>
                                        <a:pt x="388" y="354"/>
                                      </a:lnTo>
                                      <a:lnTo>
                                        <a:pt x="358" y="364"/>
                                      </a:lnTo>
                                      <a:lnTo>
                                        <a:pt x="358" y="364"/>
                                      </a:lnTo>
                                      <a:lnTo>
                                        <a:pt x="360" y="368"/>
                                      </a:lnTo>
                                      <a:lnTo>
                                        <a:pt x="360" y="374"/>
                                      </a:lnTo>
                                      <a:lnTo>
                                        <a:pt x="358" y="380"/>
                                      </a:lnTo>
                                      <a:lnTo>
                                        <a:pt x="352" y="384"/>
                                      </a:lnTo>
                                      <a:lnTo>
                                        <a:pt x="352" y="384"/>
                                      </a:lnTo>
                                      <a:lnTo>
                                        <a:pt x="354" y="390"/>
                                      </a:lnTo>
                                      <a:lnTo>
                                        <a:pt x="356" y="392"/>
                                      </a:lnTo>
                                      <a:lnTo>
                                        <a:pt x="358" y="394"/>
                                      </a:lnTo>
                                      <a:lnTo>
                                        <a:pt x="358" y="398"/>
                                      </a:lnTo>
                                      <a:lnTo>
                                        <a:pt x="358" y="398"/>
                                      </a:lnTo>
                                      <a:lnTo>
                                        <a:pt x="356" y="402"/>
                                      </a:lnTo>
                                      <a:lnTo>
                                        <a:pt x="356" y="406"/>
                                      </a:lnTo>
                                      <a:lnTo>
                                        <a:pt x="354" y="410"/>
                                      </a:lnTo>
                                      <a:lnTo>
                                        <a:pt x="350" y="414"/>
                                      </a:lnTo>
                                      <a:lnTo>
                                        <a:pt x="350" y="414"/>
                                      </a:lnTo>
                                      <a:lnTo>
                                        <a:pt x="348" y="418"/>
                                      </a:lnTo>
                                      <a:lnTo>
                                        <a:pt x="346" y="422"/>
                                      </a:lnTo>
                                      <a:lnTo>
                                        <a:pt x="346" y="430"/>
                                      </a:lnTo>
                                      <a:lnTo>
                                        <a:pt x="346" y="436"/>
                                      </a:lnTo>
                                      <a:lnTo>
                                        <a:pt x="348" y="440"/>
                                      </a:lnTo>
                                      <a:lnTo>
                                        <a:pt x="348" y="440"/>
                                      </a:lnTo>
                                      <a:lnTo>
                                        <a:pt x="346" y="442"/>
                                      </a:lnTo>
                                      <a:lnTo>
                                        <a:pt x="346" y="446"/>
                                      </a:lnTo>
                                      <a:lnTo>
                                        <a:pt x="356" y="454"/>
                                      </a:lnTo>
                                      <a:lnTo>
                                        <a:pt x="356" y="454"/>
                                      </a:lnTo>
                                      <a:lnTo>
                                        <a:pt x="362" y="458"/>
                                      </a:lnTo>
                                      <a:lnTo>
                                        <a:pt x="364" y="458"/>
                                      </a:lnTo>
                                      <a:lnTo>
                                        <a:pt x="364" y="456"/>
                                      </a:lnTo>
                                      <a:lnTo>
                                        <a:pt x="368" y="456"/>
                                      </a:lnTo>
                                      <a:lnTo>
                                        <a:pt x="368" y="482"/>
                                      </a:lnTo>
                                      <a:lnTo>
                                        <a:pt x="368" y="482"/>
                                      </a:lnTo>
                                      <a:lnTo>
                                        <a:pt x="364" y="480"/>
                                      </a:lnTo>
                                      <a:lnTo>
                                        <a:pt x="362" y="480"/>
                                      </a:lnTo>
                                      <a:lnTo>
                                        <a:pt x="360" y="476"/>
                                      </a:lnTo>
                                      <a:lnTo>
                                        <a:pt x="360" y="476"/>
                                      </a:lnTo>
                                      <a:lnTo>
                                        <a:pt x="358" y="474"/>
                                      </a:lnTo>
                                      <a:lnTo>
                                        <a:pt x="354" y="474"/>
                                      </a:lnTo>
                                      <a:lnTo>
                                        <a:pt x="348" y="472"/>
                                      </a:lnTo>
                                      <a:lnTo>
                                        <a:pt x="342" y="466"/>
                                      </a:lnTo>
                                      <a:lnTo>
                                        <a:pt x="342" y="466"/>
                                      </a:lnTo>
                                      <a:lnTo>
                                        <a:pt x="334" y="458"/>
                                      </a:lnTo>
                                      <a:lnTo>
                                        <a:pt x="328" y="456"/>
                                      </a:lnTo>
                                      <a:lnTo>
                                        <a:pt x="322" y="454"/>
                                      </a:lnTo>
                                      <a:lnTo>
                                        <a:pt x="318" y="450"/>
                                      </a:lnTo>
                                      <a:lnTo>
                                        <a:pt x="318" y="450"/>
                                      </a:lnTo>
                                      <a:lnTo>
                                        <a:pt x="312" y="446"/>
                                      </a:lnTo>
                                      <a:lnTo>
                                        <a:pt x="308" y="448"/>
                                      </a:lnTo>
                                      <a:lnTo>
                                        <a:pt x="304" y="448"/>
                                      </a:lnTo>
                                      <a:lnTo>
                                        <a:pt x="296" y="448"/>
                                      </a:lnTo>
                                      <a:lnTo>
                                        <a:pt x="296" y="448"/>
                                      </a:lnTo>
                                      <a:lnTo>
                                        <a:pt x="288" y="446"/>
                                      </a:lnTo>
                                      <a:lnTo>
                                        <a:pt x="286" y="446"/>
                                      </a:lnTo>
                                      <a:lnTo>
                                        <a:pt x="284" y="446"/>
                                      </a:lnTo>
                                      <a:lnTo>
                                        <a:pt x="280" y="444"/>
                                      </a:lnTo>
                                      <a:lnTo>
                                        <a:pt x="280" y="444"/>
                                      </a:lnTo>
                                      <a:lnTo>
                                        <a:pt x="276" y="440"/>
                                      </a:lnTo>
                                      <a:lnTo>
                                        <a:pt x="276" y="436"/>
                                      </a:lnTo>
                                      <a:lnTo>
                                        <a:pt x="276" y="432"/>
                                      </a:lnTo>
                                      <a:lnTo>
                                        <a:pt x="276" y="432"/>
                                      </a:lnTo>
                                      <a:lnTo>
                                        <a:pt x="274" y="430"/>
                                      </a:lnTo>
                                      <a:lnTo>
                                        <a:pt x="264" y="432"/>
                                      </a:lnTo>
                                      <a:lnTo>
                                        <a:pt x="264" y="432"/>
                                      </a:lnTo>
                                      <a:lnTo>
                                        <a:pt x="258" y="432"/>
                                      </a:lnTo>
                                      <a:lnTo>
                                        <a:pt x="256" y="430"/>
                                      </a:lnTo>
                                      <a:lnTo>
                                        <a:pt x="254" y="428"/>
                                      </a:lnTo>
                                      <a:lnTo>
                                        <a:pt x="252" y="426"/>
                                      </a:lnTo>
                                      <a:lnTo>
                                        <a:pt x="252" y="426"/>
                                      </a:lnTo>
                                      <a:lnTo>
                                        <a:pt x="238" y="428"/>
                                      </a:lnTo>
                                      <a:lnTo>
                                        <a:pt x="236" y="426"/>
                                      </a:lnTo>
                                      <a:lnTo>
                                        <a:pt x="210" y="434"/>
                                      </a:lnTo>
                                      <a:lnTo>
                                        <a:pt x="210" y="434"/>
                                      </a:lnTo>
                                      <a:lnTo>
                                        <a:pt x="210" y="420"/>
                                      </a:lnTo>
                                      <a:lnTo>
                                        <a:pt x="210" y="412"/>
                                      </a:lnTo>
                                      <a:lnTo>
                                        <a:pt x="208" y="406"/>
                                      </a:lnTo>
                                      <a:lnTo>
                                        <a:pt x="206" y="404"/>
                                      </a:lnTo>
                                      <a:lnTo>
                                        <a:pt x="204" y="402"/>
                                      </a:lnTo>
                                      <a:lnTo>
                                        <a:pt x="202" y="398"/>
                                      </a:lnTo>
                                      <a:lnTo>
                                        <a:pt x="202" y="390"/>
                                      </a:lnTo>
                                      <a:lnTo>
                                        <a:pt x="202" y="378"/>
                                      </a:lnTo>
                                      <a:lnTo>
                                        <a:pt x="202" y="378"/>
                                      </a:lnTo>
                                      <a:lnTo>
                                        <a:pt x="200" y="366"/>
                                      </a:lnTo>
                                      <a:lnTo>
                                        <a:pt x="200" y="356"/>
                                      </a:lnTo>
                                      <a:lnTo>
                                        <a:pt x="198" y="348"/>
                                      </a:lnTo>
                                      <a:lnTo>
                                        <a:pt x="200" y="340"/>
                                      </a:lnTo>
                                      <a:lnTo>
                                        <a:pt x="200" y="340"/>
                                      </a:lnTo>
                                      <a:lnTo>
                                        <a:pt x="202" y="334"/>
                                      </a:lnTo>
                                      <a:lnTo>
                                        <a:pt x="200" y="330"/>
                                      </a:lnTo>
                                      <a:lnTo>
                                        <a:pt x="196" y="328"/>
                                      </a:lnTo>
                                      <a:lnTo>
                                        <a:pt x="188" y="328"/>
                                      </a:lnTo>
                                      <a:lnTo>
                                        <a:pt x="188" y="328"/>
                                      </a:lnTo>
                                      <a:lnTo>
                                        <a:pt x="182" y="328"/>
                                      </a:lnTo>
                                      <a:lnTo>
                                        <a:pt x="182" y="326"/>
                                      </a:lnTo>
                                      <a:lnTo>
                                        <a:pt x="182" y="324"/>
                                      </a:lnTo>
                                      <a:lnTo>
                                        <a:pt x="178" y="322"/>
                                      </a:lnTo>
                                      <a:lnTo>
                                        <a:pt x="178" y="322"/>
                                      </a:lnTo>
                                      <a:lnTo>
                                        <a:pt x="172" y="322"/>
                                      </a:lnTo>
                                      <a:lnTo>
                                        <a:pt x="170" y="324"/>
                                      </a:lnTo>
                                      <a:lnTo>
                                        <a:pt x="168" y="324"/>
                                      </a:lnTo>
                                      <a:lnTo>
                                        <a:pt x="160" y="326"/>
                                      </a:lnTo>
                                      <a:lnTo>
                                        <a:pt x="160" y="326"/>
                                      </a:lnTo>
                                      <a:lnTo>
                                        <a:pt x="154" y="328"/>
                                      </a:lnTo>
                                      <a:lnTo>
                                        <a:pt x="152" y="330"/>
                                      </a:lnTo>
                                      <a:lnTo>
                                        <a:pt x="152" y="334"/>
                                      </a:lnTo>
                                      <a:lnTo>
                                        <a:pt x="152" y="336"/>
                                      </a:lnTo>
                                      <a:lnTo>
                                        <a:pt x="152" y="336"/>
                                      </a:lnTo>
                                      <a:lnTo>
                                        <a:pt x="150" y="340"/>
                                      </a:lnTo>
                                      <a:lnTo>
                                        <a:pt x="148" y="346"/>
                                      </a:lnTo>
                                      <a:lnTo>
                                        <a:pt x="146" y="348"/>
                                      </a:lnTo>
                                      <a:lnTo>
                                        <a:pt x="140" y="346"/>
                                      </a:lnTo>
                                      <a:lnTo>
                                        <a:pt x="140" y="346"/>
                                      </a:lnTo>
                                      <a:lnTo>
                                        <a:pt x="136" y="344"/>
                                      </a:lnTo>
                                      <a:lnTo>
                                        <a:pt x="132" y="346"/>
                                      </a:lnTo>
                                      <a:lnTo>
                                        <a:pt x="128" y="348"/>
                                      </a:lnTo>
                                      <a:lnTo>
                                        <a:pt x="120" y="350"/>
                                      </a:lnTo>
                                      <a:lnTo>
                                        <a:pt x="120" y="350"/>
                                      </a:lnTo>
                                      <a:lnTo>
                                        <a:pt x="116" y="350"/>
                                      </a:lnTo>
                                      <a:lnTo>
                                        <a:pt x="112" y="348"/>
                                      </a:lnTo>
                                      <a:lnTo>
                                        <a:pt x="110" y="342"/>
                                      </a:lnTo>
                                      <a:lnTo>
                                        <a:pt x="108" y="334"/>
                                      </a:lnTo>
                                      <a:lnTo>
                                        <a:pt x="106" y="330"/>
                                      </a:lnTo>
                                      <a:lnTo>
                                        <a:pt x="102" y="326"/>
                                      </a:lnTo>
                                      <a:lnTo>
                                        <a:pt x="102" y="326"/>
                                      </a:lnTo>
                                      <a:lnTo>
                                        <a:pt x="98" y="322"/>
                                      </a:lnTo>
                                      <a:lnTo>
                                        <a:pt x="98" y="316"/>
                                      </a:lnTo>
                                      <a:lnTo>
                                        <a:pt x="96" y="306"/>
                                      </a:lnTo>
                                      <a:lnTo>
                                        <a:pt x="96" y="298"/>
                                      </a:lnTo>
                                      <a:lnTo>
                                        <a:pt x="94" y="294"/>
                                      </a:lnTo>
                                      <a:lnTo>
                                        <a:pt x="90" y="294"/>
                                      </a:lnTo>
                                      <a:lnTo>
                                        <a:pt x="90" y="294"/>
                                      </a:lnTo>
                                      <a:lnTo>
                                        <a:pt x="82" y="294"/>
                                      </a:lnTo>
                                      <a:lnTo>
                                        <a:pt x="76" y="292"/>
                                      </a:lnTo>
                                      <a:lnTo>
                                        <a:pt x="72" y="292"/>
                                      </a:lnTo>
                                      <a:lnTo>
                                        <a:pt x="64" y="292"/>
                                      </a:lnTo>
                                      <a:lnTo>
                                        <a:pt x="64" y="292"/>
                                      </a:lnTo>
                                      <a:lnTo>
                                        <a:pt x="38" y="292"/>
                                      </a:lnTo>
                                      <a:lnTo>
                                        <a:pt x="30" y="292"/>
                                      </a:lnTo>
                                      <a:lnTo>
                                        <a:pt x="22" y="294"/>
                                      </a:lnTo>
                                      <a:lnTo>
                                        <a:pt x="22" y="294"/>
                                      </a:lnTo>
                                      <a:lnTo>
                                        <a:pt x="18" y="296"/>
                                      </a:lnTo>
                                      <a:lnTo>
                                        <a:pt x="14" y="296"/>
                                      </a:lnTo>
                                      <a:lnTo>
                                        <a:pt x="12" y="296"/>
                                      </a:lnTo>
                                      <a:lnTo>
                                        <a:pt x="10" y="298"/>
                                      </a:lnTo>
                                      <a:lnTo>
                                        <a:pt x="10" y="298"/>
                                      </a:lnTo>
                                      <a:lnTo>
                                        <a:pt x="6" y="298"/>
                                      </a:lnTo>
                                      <a:lnTo>
                                        <a:pt x="2" y="298"/>
                                      </a:lnTo>
                                      <a:lnTo>
                                        <a:pt x="0" y="294"/>
                                      </a:lnTo>
                                      <a:lnTo>
                                        <a:pt x="0" y="294"/>
                                      </a:lnTo>
                                      <a:lnTo>
                                        <a:pt x="6" y="292"/>
                                      </a:lnTo>
                                      <a:lnTo>
                                        <a:pt x="10" y="290"/>
                                      </a:lnTo>
                                      <a:lnTo>
                                        <a:pt x="6" y="276"/>
                                      </a:lnTo>
                                      <a:lnTo>
                                        <a:pt x="6" y="276"/>
                                      </a:lnTo>
                                      <a:lnTo>
                                        <a:pt x="6" y="266"/>
                                      </a:lnTo>
                                      <a:lnTo>
                                        <a:pt x="10" y="260"/>
                                      </a:lnTo>
                                      <a:lnTo>
                                        <a:pt x="12" y="258"/>
                                      </a:lnTo>
                                      <a:lnTo>
                                        <a:pt x="16" y="254"/>
                                      </a:lnTo>
                                      <a:lnTo>
                                        <a:pt x="16" y="254"/>
                                      </a:lnTo>
                                      <a:lnTo>
                                        <a:pt x="24" y="260"/>
                                      </a:lnTo>
                                      <a:lnTo>
                                        <a:pt x="28" y="260"/>
                                      </a:lnTo>
                                      <a:lnTo>
                                        <a:pt x="32" y="258"/>
                                      </a:lnTo>
                                      <a:lnTo>
                                        <a:pt x="32" y="258"/>
                                      </a:lnTo>
                                      <a:lnTo>
                                        <a:pt x="36" y="254"/>
                                      </a:lnTo>
                                      <a:lnTo>
                                        <a:pt x="38" y="254"/>
                                      </a:lnTo>
                                      <a:lnTo>
                                        <a:pt x="38" y="256"/>
                                      </a:lnTo>
                                      <a:lnTo>
                                        <a:pt x="42" y="256"/>
                                      </a:lnTo>
                                      <a:lnTo>
                                        <a:pt x="42" y="256"/>
                                      </a:lnTo>
                                      <a:lnTo>
                                        <a:pt x="46" y="256"/>
                                      </a:lnTo>
                                      <a:lnTo>
                                        <a:pt x="48" y="258"/>
                                      </a:lnTo>
                                      <a:lnTo>
                                        <a:pt x="50" y="264"/>
                                      </a:lnTo>
                                      <a:lnTo>
                                        <a:pt x="52" y="266"/>
                                      </a:lnTo>
                                      <a:lnTo>
                                        <a:pt x="52" y="266"/>
                                      </a:lnTo>
                                      <a:lnTo>
                                        <a:pt x="58" y="258"/>
                                      </a:lnTo>
                                      <a:lnTo>
                                        <a:pt x="58" y="258"/>
                                      </a:lnTo>
                                      <a:lnTo>
                                        <a:pt x="62" y="250"/>
                                      </a:lnTo>
                                      <a:lnTo>
                                        <a:pt x="66" y="246"/>
                                      </a:lnTo>
                                      <a:lnTo>
                                        <a:pt x="72" y="242"/>
                                      </a:lnTo>
                                      <a:lnTo>
                                        <a:pt x="78" y="240"/>
                                      </a:lnTo>
                                      <a:lnTo>
                                        <a:pt x="80" y="236"/>
                                      </a:lnTo>
                                      <a:lnTo>
                                        <a:pt x="84" y="230"/>
                                      </a:lnTo>
                                      <a:lnTo>
                                        <a:pt x="84" y="230"/>
                                      </a:lnTo>
                                      <a:lnTo>
                                        <a:pt x="90" y="216"/>
                                      </a:lnTo>
                                      <a:lnTo>
                                        <a:pt x="92" y="202"/>
                                      </a:lnTo>
                                      <a:lnTo>
                                        <a:pt x="94" y="188"/>
                                      </a:lnTo>
                                      <a:lnTo>
                                        <a:pt x="98" y="176"/>
                                      </a:lnTo>
                                      <a:lnTo>
                                        <a:pt x="98" y="176"/>
                                      </a:lnTo>
                                      <a:lnTo>
                                        <a:pt x="102" y="172"/>
                                      </a:lnTo>
                                      <a:lnTo>
                                        <a:pt x="106" y="170"/>
                                      </a:lnTo>
                                      <a:lnTo>
                                        <a:pt x="110" y="166"/>
                                      </a:lnTo>
                                      <a:lnTo>
                                        <a:pt x="120" y="150"/>
                                      </a:lnTo>
                                      <a:lnTo>
                                        <a:pt x="120" y="150"/>
                                      </a:lnTo>
                                      <a:lnTo>
                                        <a:pt x="124" y="140"/>
                                      </a:lnTo>
                                      <a:lnTo>
                                        <a:pt x="126" y="134"/>
                                      </a:lnTo>
                                      <a:lnTo>
                                        <a:pt x="124" y="126"/>
                                      </a:lnTo>
                                      <a:lnTo>
                                        <a:pt x="126" y="112"/>
                                      </a:lnTo>
                                      <a:lnTo>
                                        <a:pt x="126" y="112"/>
                                      </a:lnTo>
                                      <a:lnTo>
                                        <a:pt x="128" y="92"/>
                                      </a:lnTo>
                                      <a:lnTo>
                                        <a:pt x="130" y="84"/>
                                      </a:lnTo>
                                      <a:lnTo>
                                        <a:pt x="132" y="80"/>
                                      </a:lnTo>
                                      <a:lnTo>
                                        <a:pt x="132" y="76"/>
                                      </a:lnTo>
                                      <a:lnTo>
                                        <a:pt x="132" y="76"/>
                                      </a:lnTo>
                                      <a:lnTo>
                                        <a:pt x="130" y="70"/>
                                      </a:lnTo>
                                      <a:lnTo>
                                        <a:pt x="132" y="66"/>
                                      </a:lnTo>
                                      <a:lnTo>
                                        <a:pt x="136" y="58"/>
                                      </a:lnTo>
                                      <a:lnTo>
                                        <a:pt x="138" y="42"/>
                                      </a:lnTo>
                                      <a:lnTo>
                                        <a:pt x="138" y="42"/>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1041" name="East Timor (Timor-Leste)"/>
                                <p:cNvGrpSpPr/>
                                <p:nvPr/>
                              </p:nvGrpSpPr>
                              <p:grpSpPr>
                                <a:xfrm>
                                  <a:off x="9743366" y="3990174"/>
                                  <a:ext cx="108745" cy="46036"/>
                                  <a:chOff x="7387430" y="3852863"/>
                                  <a:chExt cx="108745" cy="46036"/>
                                </a:xfrm>
                                <a:grpFill/>
                              </p:grpSpPr>
                              <p:sp>
                                <p:nvSpPr>
                                  <p:cNvPr id="1039" name="Timor-Leste"/>
                                  <p:cNvSpPr>
                                    <a:spLocks/>
                                  </p:cNvSpPr>
                                  <p:nvPr/>
                                </p:nvSpPr>
                                <p:spPr bwMode="auto">
                                  <a:xfrm>
                                    <a:off x="7387430" y="3890962"/>
                                    <a:ext cx="11113" cy="7937"/>
                                  </a:xfrm>
                                  <a:custGeom>
                                    <a:avLst/>
                                    <a:gdLst>
                                      <a:gd name="T0" fmla="*/ 2 w 7"/>
                                      <a:gd name="T1" fmla="*/ 0 h 5"/>
                                      <a:gd name="T2" fmla="*/ 5 w 7"/>
                                      <a:gd name="T3" fmla="*/ 0 h 5"/>
                                      <a:gd name="T4" fmla="*/ 5 w 7"/>
                                      <a:gd name="T5" fmla="*/ 0 h 5"/>
                                      <a:gd name="T6" fmla="*/ 7 w 7"/>
                                      <a:gd name="T7" fmla="*/ 0 h 5"/>
                                      <a:gd name="T8" fmla="*/ 5 w 7"/>
                                      <a:gd name="T9" fmla="*/ 3 h 5"/>
                                      <a:gd name="T10" fmla="*/ 5 w 7"/>
                                      <a:gd name="T11" fmla="*/ 5 h 5"/>
                                      <a:gd name="T12" fmla="*/ 0 w 7"/>
                                      <a:gd name="T13" fmla="*/ 5 h 5"/>
                                      <a:gd name="T14" fmla="*/ 0 w 7"/>
                                      <a:gd name="T15" fmla="*/ 3 h 5"/>
                                      <a:gd name="T16" fmla="*/ 2 w 7"/>
                                      <a:gd name="T17" fmla="*/ 0 h 5"/>
                                      <a:gd name="T18" fmla="*/ 2 w 7"/>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2" y="0"/>
                                        </a:moveTo>
                                        <a:lnTo>
                                          <a:pt x="5" y="0"/>
                                        </a:lnTo>
                                        <a:lnTo>
                                          <a:pt x="5" y="0"/>
                                        </a:lnTo>
                                        <a:lnTo>
                                          <a:pt x="7" y="0"/>
                                        </a:lnTo>
                                        <a:lnTo>
                                          <a:pt x="5" y="3"/>
                                        </a:lnTo>
                                        <a:lnTo>
                                          <a:pt x="5" y="5"/>
                                        </a:lnTo>
                                        <a:lnTo>
                                          <a:pt x="0" y="5"/>
                                        </a:lnTo>
                                        <a:lnTo>
                                          <a:pt x="0" y="3"/>
                                        </a:lnTo>
                                        <a:lnTo>
                                          <a:pt x="2" y="0"/>
                                        </a:lnTo>
                                        <a:lnTo>
                                          <a:pt x="2" y="0"/>
                                        </a:lnTo>
                                        <a:close/>
                                      </a:path>
                                    </a:pathLst>
                                  </a:custGeom>
                                  <a:grp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040" name="Timor-Leste"/>
                                  <p:cNvSpPr>
                                    <a:spLocks/>
                                  </p:cNvSpPr>
                                  <p:nvPr/>
                                </p:nvSpPr>
                                <p:spPr bwMode="auto">
                                  <a:xfrm>
                                    <a:off x="7413625" y="3852863"/>
                                    <a:ext cx="82550" cy="39687"/>
                                  </a:xfrm>
                                  <a:custGeom>
                                    <a:avLst/>
                                    <a:gdLst>
                                      <a:gd name="T0" fmla="*/ 52 w 52"/>
                                      <a:gd name="T1" fmla="*/ 2 h 25"/>
                                      <a:gd name="T2" fmla="*/ 49 w 52"/>
                                      <a:gd name="T3" fmla="*/ 2 h 25"/>
                                      <a:gd name="T4" fmla="*/ 47 w 52"/>
                                      <a:gd name="T5" fmla="*/ 2 h 25"/>
                                      <a:gd name="T6" fmla="*/ 44 w 52"/>
                                      <a:gd name="T7" fmla="*/ 0 h 25"/>
                                      <a:gd name="T8" fmla="*/ 35 w 52"/>
                                      <a:gd name="T9" fmla="*/ 2 h 25"/>
                                      <a:gd name="T10" fmla="*/ 33 w 52"/>
                                      <a:gd name="T11" fmla="*/ 2 h 25"/>
                                      <a:gd name="T12" fmla="*/ 28 w 52"/>
                                      <a:gd name="T13" fmla="*/ 4 h 25"/>
                                      <a:gd name="T14" fmla="*/ 23 w 52"/>
                                      <a:gd name="T15" fmla="*/ 4 h 25"/>
                                      <a:gd name="T16" fmla="*/ 14 w 52"/>
                                      <a:gd name="T17" fmla="*/ 4 h 25"/>
                                      <a:gd name="T18" fmla="*/ 9 w 52"/>
                                      <a:gd name="T19" fmla="*/ 7 h 25"/>
                                      <a:gd name="T20" fmla="*/ 4 w 52"/>
                                      <a:gd name="T21" fmla="*/ 11 h 25"/>
                                      <a:gd name="T22" fmla="*/ 0 w 52"/>
                                      <a:gd name="T23" fmla="*/ 14 h 25"/>
                                      <a:gd name="T24" fmla="*/ 0 w 52"/>
                                      <a:gd name="T25" fmla="*/ 18 h 25"/>
                                      <a:gd name="T26" fmla="*/ 2 w 52"/>
                                      <a:gd name="T27" fmla="*/ 18 h 25"/>
                                      <a:gd name="T28" fmla="*/ 7 w 52"/>
                                      <a:gd name="T29" fmla="*/ 14 h 25"/>
                                      <a:gd name="T30" fmla="*/ 9 w 52"/>
                                      <a:gd name="T31" fmla="*/ 21 h 25"/>
                                      <a:gd name="T32" fmla="*/ 2 w 52"/>
                                      <a:gd name="T33" fmla="*/ 21 h 25"/>
                                      <a:gd name="T34" fmla="*/ 4 w 52"/>
                                      <a:gd name="T35" fmla="*/ 25 h 25"/>
                                      <a:gd name="T36" fmla="*/ 7 w 52"/>
                                      <a:gd name="T37" fmla="*/ 25 h 25"/>
                                      <a:gd name="T38" fmla="*/ 9 w 52"/>
                                      <a:gd name="T39" fmla="*/ 25 h 25"/>
                                      <a:gd name="T40" fmla="*/ 14 w 52"/>
                                      <a:gd name="T41" fmla="*/ 23 h 25"/>
                                      <a:gd name="T42" fmla="*/ 16 w 52"/>
                                      <a:gd name="T43" fmla="*/ 21 h 25"/>
                                      <a:gd name="T44" fmla="*/ 18 w 52"/>
                                      <a:gd name="T45" fmla="*/ 18 h 25"/>
                                      <a:gd name="T46" fmla="*/ 21 w 52"/>
                                      <a:gd name="T47" fmla="*/ 18 h 25"/>
                                      <a:gd name="T48" fmla="*/ 23 w 52"/>
                                      <a:gd name="T49" fmla="*/ 18 h 25"/>
                                      <a:gd name="T50" fmla="*/ 26 w 52"/>
                                      <a:gd name="T51" fmla="*/ 18 h 25"/>
                                      <a:gd name="T52" fmla="*/ 28 w 52"/>
                                      <a:gd name="T53" fmla="*/ 16 h 25"/>
                                      <a:gd name="T54" fmla="*/ 33 w 52"/>
                                      <a:gd name="T55" fmla="*/ 14 h 25"/>
                                      <a:gd name="T56" fmla="*/ 40 w 52"/>
                                      <a:gd name="T57" fmla="*/ 14 h 25"/>
                                      <a:gd name="T58" fmla="*/ 44 w 52"/>
                                      <a:gd name="T59" fmla="*/ 9 h 25"/>
                                      <a:gd name="T60" fmla="*/ 49 w 52"/>
                                      <a:gd name="T61" fmla="*/ 4 h 25"/>
                                      <a:gd name="T62" fmla="*/ 52 w 52"/>
                                      <a:gd name="T63" fmla="*/ 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 h="25">
                                        <a:moveTo>
                                          <a:pt x="52" y="2"/>
                                        </a:moveTo>
                                        <a:lnTo>
                                          <a:pt x="49" y="2"/>
                                        </a:lnTo>
                                        <a:lnTo>
                                          <a:pt x="47" y="2"/>
                                        </a:lnTo>
                                        <a:lnTo>
                                          <a:pt x="44" y="0"/>
                                        </a:lnTo>
                                        <a:lnTo>
                                          <a:pt x="35" y="2"/>
                                        </a:lnTo>
                                        <a:lnTo>
                                          <a:pt x="33" y="2"/>
                                        </a:lnTo>
                                        <a:lnTo>
                                          <a:pt x="28" y="4"/>
                                        </a:lnTo>
                                        <a:lnTo>
                                          <a:pt x="23" y="4"/>
                                        </a:lnTo>
                                        <a:lnTo>
                                          <a:pt x="14" y="4"/>
                                        </a:lnTo>
                                        <a:lnTo>
                                          <a:pt x="9" y="7"/>
                                        </a:lnTo>
                                        <a:lnTo>
                                          <a:pt x="4" y="11"/>
                                        </a:lnTo>
                                        <a:lnTo>
                                          <a:pt x="0" y="14"/>
                                        </a:lnTo>
                                        <a:lnTo>
                                          <a:pt x="0" y="18"/>
                                        </a:lnTo>
                                        <a:lnTo>
                                          <a:pt x="2" y="18"/>
                                        </a:lnTo>
                                        <a:lnTo>
                                          <a:pt x="7" y="14"/>
                                        </a:lnTo>
                                        <a:lnTo>
                                          <a:pt x="9" y="21"/>
                                        </a:lnTo>
                                        <a:lnTo>
                                          <a:pt x="2" y="21"/>
                                        </a:lnTo>
                                        <a:lnTo>
                                          <a:pt x="4" y="25"/>
                                        </a:lnTo>
                                        <a:lnTo>
                                          <a:pt x="7" y="25"/>
                                        </a:lnTo>
                                        <a:lnTo>
                                          <a:pt x="9" y="25"/>
                                        </a:lnTo>
                                        <a:lnTo>
                                          <a:pt x="14" y="23"/>
                                        </a:lnTo>
                                        <a:lnTo>
                                          <a:pt x="16" y="21"/>
                                        </a:lnTo>
                                        <a:lnTo>
                                          <a:pt x="18" y="18"/>
                                        </a:lnTo>
                                        <a:lnTo>
                                          <a:pt x="21" y="18"/>
                                        </a:lnTo>
                                        <a:lnTo>
                                          <a:pt x="23" y="18"/>
                                        </a:lnTo>
                                        <a:lnTo>
                                          <a:pt x="26" y="18"/>
                                        </a:lnTo>
                                        <a:lnTo>
                                          <a:pt x="28" y="16"/>
                                        </a:lnTo>
                                        <a:lnTo>
                                          <a:pt x="33" y="14"/>
                                        </a:lnTo>
                                        <a:lnTo>
                                          <a:pt x="40" y="14"/>
                                        </a:lnTo>
                                        <a:lnTo>
                                          <a:pt x="44" y="9"/>
                                        </a:lnTo>
                                        <a:lnTo>
                                          <a:pt x="49" y="4"/>
                                        </a:lnTo>
                                        <a:lnTo>
                                          <a:pt x="52" y="2"/>
                                        </a:lnTo>
                                        <a:close/>
                                      </a:path>
                                    </a:pathLst>
                                  </a:custGeom>
                                  <a:grp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grpSp>
                            <p:sp>
                              <p:nvSpPr>
                                <p:cNvPr id="521" name="Togo"/>
                                <p:cNvSpPr>
                                  <a:spLocks/>
                                </p:cNvSpPr>
                                <p:nvPr/>
                              </p:nvSpPr>
                              <p:spPr bwMode="auto">
                                <a:xfrm>
                                  <a:off x="5778803" y="3254480"/>
                                  <a:ext cx="75941" cy="206369"/>
                                </a:xfrm>
                                <a:custGeom>
                                  <a:avLst/>
                                  <a:gdLst/>
                                  <a:ahLst/>
                                  <a:cxnLst>
                                    <a:cxn ang="0">
                                      <a:pos x="20" y="0"/>
                                    </a:cxn>
                                    <a:cxn ang="0">
                                      <a:pos x="16" y="2"/>
                                    </a:cxn>
                                    <a:cxn ang="0">
                                      <a:pos x="2" y="0"/>
                                    </a:cxn>
                                    <a:cxn ang="0">
                                      <a:pos x="0" y="8"/>
                                    </a:cxn>
                                    <a:cxn ang="0">
                                      <a:pos x="2" y="14"/>
                                    </a:cxn>
                                    <a:cxn ang="0">
                                      <a:pos x="2" y="18"/>
                                    </a:cxn>
                                    <a:cxn ang="0">
                                      <a:pos x="2" y="20"/>
                                    </a:cxn>
                                    <a:cxn ang="0">
                                      <a:pos x="8" y="20"/>
                                    </a:cxn>
                                    <a:cxn ang="0">
                                      <a:pos x="8" y="24"/>
                                    </a:cxn>
                                    <a:cxn ang="0">
                                      <a:pos x="8" y="30"/>
                                    </a:cxn>
                                    <a:cxn ang="0">
                                      <a:pos x="12" y="36"/>
                                    </a:cxn>
                                    <a:cxn ang="0">
                                      <a:pos x="12" y="44"/>
                                    </a:cxn>
                                    <a:cxn ang="0">
                                      <a:pos x="12" y="48"/>
                                    </a:cxn>
                                    <a:cxn ang="0">
                                      <a:pos x="14" y="54"/>
                                    </a:cxn>
                                    <a:cxn ang="0">
                                      <a:pos x="18" y="58"/>
                                    </a:cxn>
                                    <a:cxn ang="0">
                                      <a:pos x="20" y="58"/>
                                    </a:cxn>
                                    <a:cxn ang="0">
                                      <a:pos x="20" y="68"/>
                                    </a:cxn>
                                    <a:cxn ang="0">
                                      <a:pos x="20" y="74"/>
                                    </a:cxn>
                                    <a:cxn ang="0">
                                      <a:pos x="20" y="76"/>
                                    </a:cxn>
                                    <a:cxn ang="0">
                                      <a:pos x="18" y="78"/>
                                    </a:cxn>
                                    <a:cxn ang="0">
                                      <a:pos x="20" y="84"/>
                                    </a:cxn>
                                    <a:cxn ang="0">
                                      <a:pos x="20" y="86"/>
                                    </a:cxn>
                                    <a:cxn ang="0">
                                      <a:pos x="18" y="94"/>
                                    </a:cxn>
                                    <a:cxn ang="0">
                                      <a:pos x="16" y="108"/>
                                    </a:cxn>
                                    <a:cxn ang="0">
                                      <a:pos x="16" y="114"/>
                                    </a:cxn>
                                    <a:cxn ang="0">
                                      <a:pos x="22" y="120"/>
                                    </a:cxn>
                                    <a:cxn ang="0">
                                      <a:pos x="24" y="124"/>
                                    </a:cxn>
                                    <a:cxn ang="0">
                                      <a:pos x="28" y="128"/>
                                    </a:cxn>
                                    <a:cxn ang="0">
                                      <a:pos x="32" y="136"/>
                                    </a:cxn>
                                    <a:cxn ang="0">
                                      <a:pos x="42" y="134"/>
                                    </a:cxn>
                                    <a:cxn ang="0">
                                      <a:pos x="50" y="130"/>
                                    </a:cxn>
                                    <a:cxn ang="0">
                                      <a:pos x="48" y="124"/>
                                    </a:cxn>
                                    <a:cxn ang="0">
                                      <a:pos x="42" y="118"/>
                                    </a:cxn>
                                    <a:cxn ang="0">
                                      <a:pos x="40" y="112"/>
                                    </a:cxn>
                                    <a:cxn ang="0">
                                      <a:pos x="42" y="108"/>
                                    </a:cxn>
                                    <a:cxn ang="0">
                                      <a:pos x="44" y="104"/>
                                    </a:cxn>
                                    <a:cxn ang="0">
                                      <a:pos x="42" y="62"/>
                                    </a:cxn>
                                    <a:cxn ang="0">
                                      <a:pos x="42" y="56"/>
                                    </a:cxn>
                                    <a:cxn ang="0">
                                      <a:pos x="38" y="54"/>
                                    </a:cxn>
                                    <a:cxn ang="0">
                                      <a:pos x="34" y="48"/>
                                    </a:cxn>
                                    <a:cxn ang="0">
                                      <a:pos x="34" y="34"/>
                                    </a:cxn>
                                    <a:cxn ang="0">
                                      <a:pos x="30" y="28"/>
                                    </a:cxn>
                                    <a:cxn ang="0">
                                      <a:pos x="22" y="24"/>
                                    </a:cxn>
                                    <a:cxn ang="0">
                                      <a:pos x="18" y="12"/>
                                    </a:cxn>
                                    <a:cxn ang="0">
                                      <a:pos x="20" y="0"/>
                                    </a:cxn>
                                  </a:cxnLst>
                                  <a:rect l="0" t="0" r="r" b="b"/>
                                  <a:pathLst>
                                    <a:path w="50" h="136">
                                      <a:moveTo>
                                        <a:pt x="20" y="0"/>
                                      </a:moveTo>
                                      <a:lnTo>
                                        <a:pt x="20" y="0"/>
                                      </a:lnTo>
                                      <a:lnTo>
                                        <a:pt x="18" y="2"/>
                                      </a:lnTo>
                                      <a:lnTo>
                                        <a:pt x="16" y="2"/>
                                      </a:lnTo>
                                      <a:lnTo>
                                        <a:pt x="12" y="0"/>
                                      </a:lnTo>
                                      <a:lnTo>
                                        <a:pt x="2" y="0"/>
                                      </a:lnTo>
                                      <a:lnTo>
                                        <a:pt x="2" y="0"/>
                                      </a:lnTo>
                                      <a:lnTo>
                                        <a:pt x="0" y="8"/>
                                      </a:lnTo>
                                      <a:lnTo>
                                        <a:pt x="0" y="12"/>
                                      </a:lnTo>
                                      <a:lnTo>
                                        <a:pt x="2" y="14"/>
                                      </a:lnTo>
                                      <a:lnTo>
                                        <a:pt x="2" y="18"/>
                                      </a:lnTo>
                                      <a:lnTo>
                                        <a:pt x="2" y="18"/>
                                      </a:lnTo>
                                      <a:lnTo>
                                        <a:pt x="2" y="20"/>
                                      </a:lnTo>
                                      <a:lnTo>
                                        <a:pt x="2" y="20"/>
                                      </a:lnTo>
                                      <a:lnTo>
                                        <a:pt x="6" y="20"/>
                                      </a:lnTo>
                                      <a:lnTo>
                                        <a:pt x="8" y="20"/>
                                      </a:lnTo>
                                      <a:lnTo>
                                        <a:pt x="8" y="24"/>
                                      </a:lnTo>
                                      <a:lnTo>
                                        <a:pt x="8" y="24"/>
                                      </a:lnTo>
                                      <a:lnTo>
                                        <a:pt x="8" y="28"/>
                                      </a:lnTo>
                                      <a:lnTo>
                                        <a:pt x="8" y="30"/>
                                      </a:lnTo>
                                      <a:lnTo>
                                        <a:pt x="10" y="32"/>
                                      </a:lnTo>
                                      <a:lnTo>
                                        <a:pt x="12" y="36"/>
                                      </a:lnTo>
                                      <a:lnTo>
                                        <a:pt x="12" y="36"/>
                                      </a:lnTo>
                                      <a:lnTo>
                                        <a:pt x="12" y="44"/>
                                      </a:lnTo>
                                      <a:lnTo>
                                        <a:pt x="12" y="46"/>
                                      </a:lnTo>
                                      <a:lnTo>
                                        <a:pt x="12" y="48"/>
                                      </a:lnTo>
                                      <a:lnTo>
                                        <a:pt x="12" y="48"/>
                                      </a:lnTo>
                                      <a:lnTo>
                                        <a:pt x="14" y="54"/>
                                      </a:lnTo>
                                      <a:lnTo>
                                        <a:pt x="16" y="58"/>
                                      </a:lnTo>
                                      <a:lnTo>
                                        <a:pt x="18" y="58"/>
                                      </a:lnTo>
                                      <a:lnTo>
                                        <a:pt x="18" y="58"/>
                                      </a:lnTo>
                                      <a:lnTo>
                                        <a:pt x="20" y="58"/>
                                      </a:lnTo>
                                      <a:lnTo>
                                        <a:pt x="20" y="60"/>
                                      </a:lnTo>
                                      <a:lnTo>
                                        <a:pt x="20" y="68"/>
                                      </a:lnTo>
                                      <a:lnTo>
                                        <a:pt x="20" y="68"/>
                                      </a:lnTo>
                                      <a:lnTo>
                                        <a:pt x="20" y="74"/>
                                      </a:lnTo>
                                      <a:lnTo>
                                        <a:pt x="20" y="76"/>
                                      </a:lnTo>
                                      <a:lnTo>
                                        <a:pt x="20" y="76"/>
                                      </a:lnTo>
                                      <a:lnTo>
                                        <a:pt x="20" y="76"/>
                                      </a:lnTo>
                                      <a:lnTo>
                                        <a:pt x="18" y="78"/>
                                      </a:lnTo>
                                      <a:lnTo>
                                        <a:pt x="20" y="82"/>
                                      </a:lnTo>
                                      <a:lnTo>
                                        <a:pt x="20" y="84"/>
                                      </a:lnTo>
                                      <a:lnTo>
                                        <a:pt x="20" y="86"/>
                                      </a:lnTo>
                                      <a:lnTo>
                                        <a:pt x="20" y="86"/>
                                      </a:lnTo>
                                      <a:lnTo>
                                        <a:pt x="18" y="90"/>
                                      </a:lnTo>
                                      <a:lnTo>
                                        <a:pt x="18" y="94"/>
                                      </a:lnTo>
                                      <a:lnTo>
                                        <a:pt x="18" y="100"/>
                                      </a:lnTo>
                                      <a:lnTo>
                                        <a:pt x="16" y="108"/>
                                      </a:lnTo>
                                      <a:lnTo>
                                        <a:pt x="16" y="108"/>
                                      </a:lnTo>
                                      <a:lnTo>
                                        <a:pt x="16" y="114"/>
                                      </a:lnTo>
                                      <a:lnTo>
                                        <a:pt x="18" y="116"/>
                                      </a:lnTo>
                                      <a:lnTo>
                                        <a:pt x="22" y="120"/>
                                      </a:lnTo>
                                      <a:lnTo>
                                        <a:pt x="24" y="124"/>
                                      </a:lnTo>
                                      <a:lnTo>
                                        <a:pt x="24" y="124"/>
                                      </a:lnTo>
                                      <a:lnTo>
                                        <a:pt x="26" y="128"/>
                                      </a:lnTo>
                                      <a:lnTo>
                                        <a:pt x="28" y="128"/>
                                      </a:lnTo>
                                      <a:lnTo>
                                        <a:pt x="30" y="130"/>
                                      </a:lnTo>
                                      <a:lnTo>
                                        <a:pt x="32" y="136"/>
                                      </a:lnTo>
                                      <a:lnTo>
                                        <a:pt x="32" y="136"/>
                                      </a:lnTo>
                                      <a:lnTo>
                                        <a:pt x="42" y="134"/>
                                      </a:lnTo>
                                      <a:lnTo>
                                        <a:pt x="46" y="134"/>
                                      </a:lnTo>
                                      <a:lnTo>
                                        <a:pt x="50" y="130"/>
                                      </a:lnTo>
                                      <a:lnTo>
                                        <a:pt x="50" y="130"/>
                                      </a:lnTo>
                                      <a:lnTo>
                                        <a:pt x="48" y="124"/>
                                      </a:lnTo>
                                      <a:lnTo>
                                        <a:pt x="44" y="122"/>
                                      </a:lnTo>
                                      <a:lnTo>
                                        <a:pt x="42" y="118"/>
                                      </a:lnTo>
                                      <a:lnTo>
                                        <a:pt x="40" y="112"/>
                                      </a:lnTo>
                                      <a:lnTo>
                                        <a:pt x="40" y="112"/>
                                      </a:lnTo>
                                      <a:lnTo>
                                        <a:pt x="42" y="108"/>
                                      </a:lnTo>
                                      <a:lnTo>
                                        <a:pt x="42" y="108"/>
                                      </a:lnTo>
                                      <a:lnTo>
                                        <a:pt x="44" y="106"/>
                                      </a:lnTo>
                                      <a:lnTo>
                                        <a:pt x="44" y="104"/>
                                      </a:lnTo>
                                      <a:lnTo>
                                        <a:pt x="44" y="104"/>
                                      </a:lnTo>
                                      <a:lnTo>
                                        <a:pt x="42" y="62"/>
                                      </a:lnTo>
                                      <a:lnTo>
                                        <a:pt x="42" y="62"/>
                                      </a:lnTo>
                                      <a:lnTo>
                                        <a:pt x="42" y="56"/>
                                      </a:lnTo>
                                      <a:lnTo>
                                        <a:pt x="38" y="54"/>
                                      </a:lnTo>
                                      <a:lnTo>
                                        <a:pt x="38" y="54"/>
                                      </a:lnTo>
                                      <a:lnTo>
                                        <a:pt x="36" y="50"/>
                                      </a:lnTo>
                                      <a:lnTo>
                                        <a:pt x="34" y="48"/>
                                      </a:lnTo>
                                      <a:lnTo>
                                        <a:pt x="34" y="40"/>
                                      </a:lnTo>
                                      <a:lnTo>
                                        <a:pt x="34" y="34"/>
                                      </a:lnTo>
                                      <a:lnTo>
                                        <a:pt x="32" y="30"/>
                                      </a:lnTo>
                                      <a:lnTo>
                                        <a:pt x="30" y="28"/>
                                      </a:lnTo>
                                      <a:lnTo>
                                        <a:pt x="30" y="28"/>
                                      </a:lnTo>
                                      <a:lnTo>
                                        <a:pt x="22" y="24"/>
                                      </a:lnTo>
                                      <a:lnTo>
                                        <a:pt x="20" y="20"/>
                                      </a:lnTo>
                                      <a:lnTo>
                                        <a:pt x="18" y="12"/>
                                      </a:lnTo>
                                      <a:lnTo>
                                        <a:pt x="20" y="0"/>
                                      </a:lnTo>
                                      <a:lnTo>
                                        <a:pt x="20" y="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7" name="Turkmenistan"/>
                                <p:cNvSpPr>
                                  <a:spLocks/>
                                </p:cNvSpPr>
                                <p:nvPr/>
                              </p:nvSpPr>
                              <p:spPr bwMode="auto">
                                <a:xfrm>
                                  <a:off x="7319129" y="2109683"/>
                                  <a:ext cx="410082" cy="230647"/>
                                </a:xfrm>
                                <a:custGeom>
                                  <a:avLst/>
                                  <a:gdLst/>
                                  <a:ahLst/>
                                  <a:cxnLst>
                                    <a:cxn ang="0">
                                      <a:pos x="48" y="24"/>
                                    </a:cxn>
                                    <a:cxn ang="0">
                                      <a:pos x="34" y="10"/>
                                    </a:cxn>
                                    <a:cxn ang="0">
                                      <a:pos x="8" y="8"/>
                                    </a:cxn>
                                    <a:cxn ang="0">
                                      <a:pos x="6" y="28"/>
                                    </a:cxn>
                                    <a:cxn ang="0">
                                      <a:pos x="10" y="22"/>
                                    </a:cxn>
                                    <a:cxn ang="0">
                                      <a:pos x="8" y="16"/>
                                    </a:cxn>
                                    <a:cxn ang="0">
                                      <a:pos x="22" y="12"/>
                                    </a:cxn>
                                    <a:cxn ang="0">
                                      <a:pos x="32" y="20"/>
                                    </a:cxn>
                                    <a:cxn ang="0">
                                      <a:pos x="36" y="26"/>
                                    </a:cxn>
                                    <a:cxn ang="0">
                                      <a:pos x="28" y="32"/>
                                    </a:cxn>
                                    <a:cxn ang="0">
                                      <a:pos x="22" y="34"/>
                                    </a:cxn>
                                    <a:cxn ang="0">
                                      <a:pos x="12" y="34"/>
                                    </a:cxn>
                                    <a:cxn ang="0">
                                      <a:pos x="8" y="38"/>
                                    </a:cxn>
                                    <a:cxn ang="0">
                                      <a:pos x="14" y="50"/>
                                    </a:cxn>
                                    <a:cxn ang="0">
                                      <a:pos x="22" y="50"/>
                                    </a:cxn>
                                    <a:cxn ang="0">
                                      <a:pos x="24" y="54"/>
                                    </a:cxn>
                                    <a:cxn ang="0">
                                      <a:pos x="14" y="54"/>
                                    </a:cxn>
                                    <a:cxn ang="0">
                                      <a:pos x="14" y="60"/>
                                    </a:cxn>
                                    <a:cxn ang="0">
                                      <a:pos x="24" y="62"/>
                                    </a:cxn>
                                    <a:cxn ang="0">
                                      <a:pos x="32" y="66"/>
                                    </a:cxn>
                                    <a:cxn ang="0">
                                      <a:pos x="44" y="74"/>
                                    </a:cxn>
                                    <a:cxn ang="0">
                                      <a:pos x="46" y="98"/>
                                    </a:cxn>
                                    <a:cxn ang="0">
                                      <a:pos x="56" y="100"/>
                                    </a:cxn>
                                    <a:cxn ang="0">
                                      <a:pos x="66" y="82"/>
                                    </a:cxn>
                                    <a:cxn ang="0">
                                      <a:pos x="82" y="80"/>
                                    </a:cxn>
                                    <a:cxn ang="0">
                                      <a:pos x="96" y="78"/>
                                    </a:cxn>
                                    <a:cxn ang="0">
                                      <a:pos x="106" y="86"/>
                                    </a:cxn>
                                    <a:cxn ang="0">
                                      <a:pos x="146" y="98"/>
                                    </a:cxn>
                                    <a:cxn ang="0">
                                      <a:pos x="164" y="108"/>
                                    </a:cxn>
                                    <a:cxn ang="0">
                                      <a:pos x="182" y="114"/>
                                    </a:cxn>
                                    <a:cxn ang="0">
                                      <a:pos x="186" y="124"/>
                                    </a:cxn>
                                    <a:cxn ang="0">
                                      <a:pos x="198" y="140"/>
                                    </a:cxn>
                                    <a:cxn ang="0">
                                      <a:pos x="212" y="142"/>
                                    </a:cxn>
                                    <a:cxn ang="0">
                                      <a:pos x="222" y="152"/>
                                    </a:cxn>
                                    <a:cxn ang="0">
                                      <a:pos x="230" y="140"/>
                                    </a:cxn>
                                    <a:cxn ang="0">
                                      <a:pos x="236" y="132"/>
                                    </a:cxn>
                                    <a:cxn ang="0">
                                      <a:pos x="252" y="120"/>
                                    </a:cxn>
                                    <a:cxn ang="0">
                                      <a:pos x="256" y="102"/>
                                    </a:cxn>
                                    <a:cxn ang="0">
                                      <a:pos x="270" y="96"/>
                                    </a:cxn>
                                    <a:cxn ang="0">
                                      <a:pos x="268" y="80"/>
                                    </a:cxn>
                                    <a:cxn ang="0">
                                      <a:pos x="258" y="76"/>
                                    </a:cxn>
                                    <a:cxn ang="0">
                                      <a:pos x="236" y="74"/>
                                    </a:cxn>
                                    <a:cxn ang="0">
                                      <a:pos x="208" y="60"/>
                                    </a:cxn>
                                    <a:cxn ang="0">
                                      <a:pos x="158" y="22"/>
                                    </a:cxn>
                                    <a:cxn ang="0">
                                      <a:pos x="140" y="24"/>
                                    </a:cxn>
                                    <a:cxn ang="0">
                                      <a:pos x="128" y="18"/>
                                    </a:cxn>
                                    <a:cxn ang="0">
                                      <a:pos x="126" y="10"/>
                                    </a:cxn>
                                    <a:cxn ang="0">
                                      <a:pos x="104" y="0"/>
                                    </a:cxn>
                                    <a:cxn ang="0">
                                      <a:pos x="96" y="4"/>
                                    </a:cxn>
                                    <a:cxn ang="0">
                                      <a:pos x="88" y="8"/>
                                    </a:cxn>
                                    <a:cxn ang="0">
                                      <a:pos x="78" y="16"/>
                                    </a:cxn>
                                    <a:cxn ang="0">
                                      <a:pos x="76" y="28"/>
                                    </a:cxn>
                                  </a:cxnLst>
                                  <a:rect l="0" t="0" r="r" b="b"/>
                                  <a:pathLst>
                                    <a:path w="270" h="152">
                                      <a:moveTo>
                                        <a:pt x="70" y="28"/>
                                      </a:moveTo>
                                      <a:lnTo>
                                        <a:pt x="70" y="28"/>
                                      </a:lnTo>
                                      <a:lnTo>
                                        <a:pt x="54" y="28"/>
                                      </a:lnTo>
                                      <a:lnTo>
                                        <a:pt x="48" y="24"/>
                                      </a:lnTo>
                                      <a:lnTo>
                                        <a:pt x="42" y="18"/>
                                      </a:lnTo>
                                      <a:lnTo>
                                        <a:pt x="42" y="18"/>
                                      </a:lnTo>
                                      <a:lnTo>
                                        <a:pt x="40" y="14"/>
                                      </a:lnTo>
                                      <a:lnTo>
                                        <a:pt x="34" y="10"/>
                                      </a:lnTo>
                                      <a:lnTo>
                                        <a:pt x="28" y="6"/>
                                      </a:lnTo>
                                      <a:lnTo>
                                        <a:pt x="22" y="6"/>
                                      </a:lnTo>
                                      <a:lnTo>
                                        <a:pt x="16" y="6"/>
                                      </a:lnTo>
                                      <a:lnTo>
                                        <a:pt x="8" y="8"/>
                                      </a:lnTo>
                                      <a:lnTo>
                                        <a:pt x="4" y="14"/>
                                      </a:lnTo>
                                      <a:lnTo>
                                        <a:pt x="0" y="22"/>
                                      </a:lnTo>
                                      <a:lnTo>
                                        <a:pt x="0" y="22"/>
                                      </a:lnTo>
                                      <a:lnTo>
                                        <a:pt x="6" y="28"/>
                                      </a:lnTo>
                                      <a:lnTo>
                                        <a:pt x="8" y="30"/>
                                      </a:lnTo>
                                      <a:lnTo>
                                        <a:pt x="8" y="30"/>
                                      </a:lnTo>
                                      <a:lnTo>
                                        <a:pt x="10" y="26"/>
                                      </a:lnTo>
                                      <a:lnTo>
                                        <a:pt x="10" y="22"/>
                                      </a:lnTo>
                                      <a:lnTo>
                                        <a:pt x="10" y="20"/>
                                      </a:lnTo>
                                      <a:lnTo>
                                        <a:pt x="10" y="20"/>
                                      </a:lnTo>
                                      <a:lnTo>
                                        <a:pt x="8" y="18"/>
                                      </a:lnTo>
                                      <a:lnTo>
                                        <a:pt x="8" y="16"/>
                                      </a:lnTo>
                                      <a:lnTo>
                                        <a:pt x="12" y="12"/>
                                      </a:lnTo>
                                      <a:lnTo>
                                        <a:pt x="12" y="12"/>
                                      </a:lnTo>
                                      <a:lnTo>
                                        <a:pt x="20" y="12"/>
                                      </a:lnTo>
                                      <a:lnTo>
                                        <a:pt x="22" y="12"/>
                                      </a:lnTo>
                                      <a:lnTo>
                                        <a:pt x="24" y="14"/>
                                      </a:lnTo>
                                      <a:lnTo>
                                        <a:pt x="24" y="14"/>
                                      </a:lnTo>
                                      <a:lnTo>
                                        <a:pt x="26" y="18"/>
                                      </a:lnTo>
                                      <a:lnTo>
                                        <a:pt x="32" y="20"/>
                                      </a:lnTo>
                                      <a:lnTo>
                                        <a:pt x="36" y="22"/>
                                      </a:lnTo>
                                      <a:lnTo>
                                        <a:pt x="38" y="24"/>
                                      </a:lnTo>
                                      <a:lnTo>
                                        <a:pt x="36" y="26"/>
                                      </a:lnTo>
                                      <a:lnTo>
                                        <a:pt x="36" y="26"/>
                                      </a:lnTo>
                                      <a:lnTo>
                                        <a:pt x="34" y="28"/>
                                      </a:lnTo>
                                      <a:lnTo>
                                        <a:pt x="34" y="30"/>
                                      </a:lnTo>
                                      <a:lnTo>
                                        <a:pt x="32" y="32"/>
                                      </a:lnTo>
                                      <a:lnTo>
                                        <a:pt x="28" y="32"/>
                                      </a:lnTo>
                                      <a:lnTo>
                                        <a:pt x="28" y="32"/>
                                      </a:lnTo>
                                      <a:lnTo>
                                        <a:pt x="24" y="32"/>
                                      </a:lnTo>
                                      <a:lnTo>
                                        <a:pt x="24" y="32"/>
                                      </a:lnTo>
                                      <a:lnTo>
                                        <a:pt x="22" y="34"/>
                                      </a:lnTo>
                                      <a:lnTo>
                                        <a:pt x="20" y="34"/>
                                      </a:lnTo>
                                      <a:lnTo>
                                        <a:pt x="20" y="34"/>
                                      </a:lnTo>
                                      <a:lnTo>
                                        <a:pt x="16" y="36"/>
                                      </a:lnTo>
                                      <a:lnTo>
                                        <a:pt x="12" y="34"/>
                                      </a:lnTo>
                                      <a:lnTo>
                                        <a:pt x="8" y="30"/>
                                      </a:lnTo>
                                      <a:lnTo>
                                        <a:pt x="8" y="30"/>
                                      </a:lnTo>
                                      <a:lnTo>
                                        <a:pt x="8" y="34"/>
                                      </a:lnTo>
                                      <a:lnTo>
                                        <a:pt x="8" y="38"/>
                                      </a:lnTo>
                                      <a:lnTo>
                                        <a:pt x="10" y="48"/>
                                      </a:lnTo>
                                      <a:lnTo>
                                        <a:pt x="10" y="48"/>
                                      </a:lnTo>
                                      <a:lnTo>
                                        <a:pt x="12" y="48"/>
                                      </a:lnTo>
                                      <a:lnTo>
                                        <a:pt x="14" y="50"/>
                                      </a:lnTo>
                                      <a:lnTo>
                                        <a:pt x="18" y="48"/>
                                      </a:lnTo>
                                      <a:lnTo>
                                        <a:pt x="22" y="48"/>
                                      </a:lnTo>
                                      <a:lnTo>
                                        <a:pt x="22" y="48"/>
                                      </a:lnTo>
                                      <a:lnTo>
                                        <a:pt x="22" y="50"/>
                                      </a:lnTo>
                                      <a:lnTo>
                                        <a:pt x="22" y="50"/>
                                      </a:lnTo>
                                      <a:lnTo>
                                        <a:pt x="22" y="52"/>
                                      </a:lnTo>
                                      <a:lnTo>
                                        <a:pt x="24" y="54"/>
                                      </a:lnTo>
                                      <a:lnTo>
                                        <a:pt x="24" y="54"/>
                                      </a:lnTo>
                                      <a:lnTo>
                                        <a:pt x="22" y="56"/>
                                      </a:lnTo>
                                      <a:lnTo>
                                        <a:pt x="22" y="56"/>
                                      </a:lnTo>
                                      <a:lnTo>
                                        <a:pt x="16" y="56"/>
                                      </a:lnTo>
                                      <a:lnTo>
                                        <a:pt x="14" y="54"/>
                                      </a:lnTo>
                                      <a:lnTo>
                                        <a:pt x="12" y="54"/>
                                      </a:lnTo>
                                      <a:lnTo>
                                        <a:pt x="12" y="54"/>
                                      </a:lnTo>
                                      <a:lnTo>
                                        <a:pt x="14" y="60"/>
                                      </a:lnTo>
                                      <a:lnTo>
                                        <a:pt x="14" y="60"/>
                                      </a:lnTo>
                                      <a:lnTo>
                                        <a:pt x="18" y="66"/>
                                      </a:lnTo>
                                      <a:lnTo>
                                        <a:pt x="20" y="66"/>
                                      </a:lnTo>
                                      <a:lnTo>
                                        <a:pt x="20" y="64"/>
                                      </a:lnTo>
                                      <a:lnTo>
                                        <a:pt x="24" y="62"/>
                                      </a:lnTo>
                                      <a:lnTo>
                                        <a:pt x="24" y="62"/>
                                      </a:lnTo>
                                      <a:lnTo>
                                        <a:pt x="26" y="62"/>
                                      </a:lnTo>
                                      <a:lnTo>
                                        <a:pt x="30" y="64"/>
                                      </a:lnTo>
                                      <a:lnTo>
                                        <a:pt x="32" y="66"/>
                                      </a:lnTo>
                                      <a:lnTo>
                                        <a:pt x="38" y="70"/>
                                      </a:lnTo>
                                      <a:lnTo>
                                        <a:pt x="38" y="70"/>
                                      </a:lnTo>
                                      <a:lnTo>
                                        <a:pt x="42" y="72"/>
                                      </a:lnTo>
                                      <a:lnTo>
                                        <a:pt x="44" y="74"/>
                                      </a:lnTo>
                                      <a:lnTo>
                                        <a:pt x="44" y="80"/>
                                      </a:lnTo>
                                      <a:lnTo>
                                        <a:pt x="44" y="88"/>
                                      </a:lnTo>
                                      <a:lnTo>
                                        <a:pt x="46" y="98"/>
                                      </a:lnTo>
                                      <a:lnTo>
                                        <a:pt x="46" y="98"/>
                                      </a:lnTo>
                                      <a:lnTo>
                                        <a:pt x="46" y="102"/>
                                      </a:lnTo>
                                      <a:lnTo>
                                        <a:pt x="50" y="102"/>
                                      </a:lnTo>
                                      <a:lnTo>
                                        <a:pt x="56" y="100"/>
                                      </a:lnTo>
                                      <a:lnTo>
                                        <a:pt x="56" y="100"/>
                                      </a:lnTo>
                                      <a:lnTo>
                                        <a:pt x="58" y="96"/>
                                      </a:lnTo>
                                      <a:lnTo>
                                        <a:pt x="60" y="92"/>
                                      </a:lnTo>
                                      <a:lnTo>
                                        <a:pt x="60" y="86"/>
                                      </a:lnTo>
                                      <a:lnTo>
                                        <a:pt x="66" y="82"/>
                                      </a:lnTo>
                                      <a:lnTo>
                                        <a:pt x="66" y="82"/>
                                      </a:lnTo>
                                      <a:lnTo>
                                        <a:pt x="72" y="80"/>
                                      </a:lnTo>
                                      <a:lnTo>
                                        <a:pt x="78" y="80"/>
                                      </a:lnTo>
                                      <a:lnTo>
                                        <a:pt x="82" y="80"/>
                                      </a:lnTo>
                                      <a:lnTo>
                                        <a:pt x="86" y="80"/>
                                      </a:lnTo>
                                      <a:lnTo>
                                        <a:pt x="86" y="80"/>
                                      </a:lnTo>
                                      <a:lnTo>
                                        <a:pt x="90" y="78"/>
                                      </a:lnTo>
                                      <a:lnTo>
                                        <a:pt x="96" y="78"/>
                                      </a:lnTo>
                                      <a:lnTo>
                                        <a:pt x="100" y="80"/>
                                      </a:lnTo>
                                      <a:lnTo>
                                        <a:pt x="104" y="84"/>
                                      </a:lnTo>
                                      <a:lnTo>
                                        <a:pt x="104" y="84"/>
                                      </a:lnTo>
                                      <a:lnTo>
                                        <a:pt x="106" y="86"/>
                                      </a:lnTo>
                                      <a:lnTo>
                                        <a:pt x="110" y="88"/>
                                      </a:lnTo>
                                      <a:lnTo>
                                        <a:pt x="124" y="92"/>
                                      </a:lnTo>
                                      <a:lnTo>
                                        <a:pt x="140" y="96"/>
                                      </a:lnTo>
                                      <a:lnTo>
                                        <a:pt x="146" y="98"/>
                                      </a:lnTo>
                                      <a:lnTo>
                                        <a:pt x="152" y="102"/>
                                      </a:lnTo>
                                      <a:lnTo>
                                        <a:pt x="152" y="102"/>
                                      </a:lnTo>
                                      <a:lnTo>
                                        <a:pt x="160" y="108"/>
                                      </a:lnTo>
                                      <a:lnTo>
                                        <a:pt x="164" y="108"/>
                                      </a:lnTo>
                                      <a:lnTo>
                                        <a:pt x="170" y="108"/>
                                      </a:lnTo>
                                      <a:lnTo>
                                        <a:pt x="176" y="110"/>
                                      </a:lnTo>
                                      <a:lnTo>
                                        <a:pt x="176" y="110"/>
                                      </a:lnTo>
                                      <a:lnTo>
                                        <a:pt x="182" y="114"/>
                                      </a:lnTo>
                                      <a:lnTo>
                                        <a:pt x="184" y="118"/>
                                      </a:lnTo>
                                      <a:lnTo>
                                        <a:pt x="184" y="120"/>
                                      </a:lnTo>
                                      <a:lnTo>
                                        <a:pt x="186" y="124"/>
                                      </a:lnTo>
                                      <a:lnTo>
                                        <a:pt x="186" y="124"/>
                                      </a:lnTo>
                                      <a:lnTo>
                                        <a:pt x="190" y="128"/>
                                      </a:lnTo>
                                      <a:lnTo>
                                        <a:pt x="194" y="136"/>
                                      </a:lnTo>
                                      <a:lnTo>
                                        <a:pt x="194" y="136"/>
                                      </a:lnTo>
                                      <a:lnTo>
                                        <a:pt x="198" y="140"/>
                                      </a:lnTo>
                                      <a:lnTo>
                                        <a:pt x="202" y="142"/>
                                      </a:lnTo>
                                      <a:lnTo>
                                        <a:pt x="206" y="142"/>
                                      </a:lnTo>
                                      <a:lnTo>
                                        <a:pt x="206" y="142"/>
                                      </a:lnTo>
                                      <a:lnTo>
                                        <a:pt x="212" y="142"/>
                                      </a:lnTo>
                                      <a:lnTo>
                                        <a:pt x="214" y="144"/>
                                      </a:lnTo>
                                      <a:lnTo>
                                        <a:pt x="218" y="148"/>
                                      </a:lnTo>
                                      <a:lnTo>
                                        <a:pt x="222" y="152"/>
                                      </a:lnTo>
                                      <a:lnTo>
                                        <a:pt x="222" y="152"/>
                                      </a:lnTo>
                                      <a:lnTo>
                                        <a:pt x="222" y="150"/>
                                      </a:lnTo>
                                      <a:lnTo>
                                        <a:pt x="228" y="144"/>
                                      </a:lnTo>
                                      <a:lnTo>
                                        <a:pt x="228" y="144"/>
                                      </a:lnTo>
                                      <a:lnTo>
                                        <a:pt x="230" y="140"/>
                                      </a:lnTo>
                                      <a:lnTo>
                                        <a:pt x="230" y="138"/>
                                      </a:lnTo>
                                      <a:lnTo>
                                        <a:pt x="230" y="134"/>
                                      </a:lnTo>
                                      <a:lnTo>
                                        <a:pt x="236" y="132"/>
                                      </a:lnTo>
                                      <a:lnTo>
                                        <a:pt x="236" y="132"/>
                                      </a:lnTo>
                                      <a:lnTo>
                                        <a:pt x="248" y="126"/>
                                      </a:lnTo>
                                      <a:lnTo>
                                        <a:pt x="252" y="124"/>
                                      </a:lnTo>
                                      <a:lnTo>
                                        <a:pt x="252" y="120"/>
                                      </a:lnTo>
                                      <a:lnTo>
                                        <a:pt x="252" y="120"/>
                                      </a:lnTo>
                                      <a:lnTo>
                                        <a:pt x="252" y="110"/>
                                      </a:lnTo>
                                      <a:lnTo>
                                        <a:pt x="254" y="106"/>
                                      </a:lnTo>
                                      <a:lnTo>
                                        <a:pt x="256" y="102"/>
                                      </a:lnTo>
                                      <a:lnTo>
                                        <a:pt x="256" y="102"/>
                                      </a:lnTo>
                                      <a:lnTo>
                                        <a:pt x="260" y="102"/>
                                      </a:lnTo>
                                      <a:lnTo>
                                        <a:pt x="262" y="100"/>
                                      </a:lnTo>
                                      <a:lnTo>
                                        <a:pt x="264" y="98"/>
                                      </a:lnTo>
                                      <a:lnTo>
                                        <a:pt x="270" y="96"/>
                                      </a:lnTo>
                                      <a:lnTo>
                                        <a:pt x="270" y="96"/>
                                      </a:lnTo>
                                      <a:lnTo>
                                        <a:pt x="268" y="90"/>
                                      </a:lnTo>
                                      <a:lnTo>
                                        <a:pt x="268" y="84"/>
                                      </a:lnTo>
                                      <a:lnTo>
                                        <a:pt x="268" y="80"/>
                                      </a:lnTo>
                                      <a:lnTo>
                                        <a:pt x="264" y="78"/>
                                      </a:lnTo>
                                      <a:lnTo>
                                        <a:pt x="264" y="78"/>
                                      </a:lnTo>
                                      <a:lnTo>
                                        <a:pt x="260" y="78"/>
                                      </a:lnTo>
                                      <a:lnTo>
                                        <a:pt x="258" y="76"/>
                                      </a:lnTo>
                                      <a:lnTo>
                                        <a:pt x="252" y="76"/>
                                      </a:lnTo>
                                      <a:lnTo>
                                        <a:pt x="244" y="74"/>
                                      </a:lnTo>
                                      <a:lnTo>
                                        <a:pt x="244" y="74"/>
                                      </a:lnTo>
                                      <a:lnTo>
                                        <a:pt x="236" y="74"/>
                                      </a:lnTo>
                                      <a:lnTo>
                                        <a:pt x="230" y="70"/>
                                      </a:lnTo>
                                      <a:lnTo>
                                        <a:pt x="224" y="66"/>
                                      </a:lnTo>
                                      <a:lnTo>
                                        <a:pt x="208" y="60"/>
                                      </a:lnTo>
                                      <a:lnTo>
                                        <a:pt x="208" y="60"/>
                                      </a:lnTo>
                                      <a:lnTo>
                                        <a:pt x="188" y="52"/>
                                      </a:lnTo>
                                      <a:lnTo>
                                        <a:pt x="176" y="44"/>
                                      </a:lnTo>
                                      <a:lnTo>
                                        <a:pt x="168" y="36"/>
                                      </a:lnTo>
                                      <a:lnTo>
                                        <a:pt x="158" y="22"/>
                                      </a:lnTo>
                                      <a:lnTo>
                                        <a:pt x="158" y="22"/>
                                      </a:lnTo>
                                      <a:lnTo>
                                        <a:pt x="154" y="20"/>
                                      </a:lnTo>
                                      <a:lnTo>
                                        <a:pt x="152" y="20"/>
                                      </a:lnTo>
                                      <a:lnTo>
                                        <a:pt x="140" y="24"/>
                                      </a:lnTo>
                                      <a:lnTo>
                                        <a:pt x="140" y="24"/>
                                      </a:lnTo>
                                      <a:lnTo>
                                        <a:pt x="134" y="24"/>
                                      </a:lnTo>
                                      <a:lnTo>
                                        <a:pt x="130" y="22"/>
                                      </a:lnTo>
                                      <a:lnTo>
                                        <a:pt x="128" y="18"/>
                                      </a:lnTo>
                                      <a:lnTo>
                                        <a:pt x="128" y="14"/>
                                      </a:lnTo>
                                      <a:lnTo>
                                        <a:pt x="128" y="14"/>
                                      </a:lnTo>
                                      <a:lnTo>
                                        <a:pt x="128" y="12"/>
                                      </a:lnTo>
                                      <a:lnTo>
                                        <a:pt x="126" y="10"/>
                                      </a:lnTo>
                                      <a:lnTo>
                                        <a:pt x="120" y="6"/>
                                      </a:lnTo>
                                      <a:lnTo>
                                        <a:pt x="112" y="2"/>
                                      </a:lnTo>
                                      <a:lnTo>
                                        <a:pt x="104" y="0"/>
                                      </a:lnTo>
                                      <a:lnTo>
                                        <a:pt x="104" y="0"/>
                                      </a:lnTo>
                                      <a:lnTo>
                                        <a:pt x="100" y="0"/>
                                      </a:lnTo>
                                      <a:lnTo>
                                        <a:pt x="102" y="2"/>
                                      </a:lnTo>
                                      <a:lnTo>
                                        <a:pt x="102" y="4"/>
                                      </a:lnTo>
                                      <a:lnTo>
                                        <a:pt x="96" y="4"/>
                                      </a:lnTo>
                                      <a:lnTo>
                                        <a:pt x="96" y="4"/>
                                      </a:lnTo>
                                      <a:lnTo>
                                        <a:pt x="92" y="4"/>
                                      </a:lnTo>
                                      <a:lnTo>
                                        <a:pt x="90" y="6"/>
                                      </a:lnTo>
                                      <a:lnTo>
                                        <a:pt x="88" y="8"/>
                                      </a:lnTo>
                                      <a:lnTo>
                                        <a:pt x="84" y="10"/>
                                      </a:lnTo>
                                      <a:lnTo>
                                        <a:pt x="84" y="10"/>
                                      </a:lnTo>
                                      <a:lnTo>
                                        <a:pt x="80" y="14"/>
                                      </a:lnTo>
                                      <a:lnTo>
                                        <a:pt x="78" y="16"/>
                                      </a:lnTo>
                                      <a:lnTo>
                                        <a:pt x="80" y="22"/>
                                      </a:lnTo>
                                      <a:lnTo>
                                        <a:pt x="80" y="26"/>
                                      </a:lnTo>
                                      <a:lnTo>
                                        <a:pt x="80" y="26"/>
                                      </a:lnTo>
                                      <a:lnTo>
                                        <a:pt x="76" y="28"/>
                                      </a:lnTo>
                                      <a:lnTo>
                                        <a:pt x="70" y="28"/>
                                      </a:lnTo>
                                      <a:lnTo>
                                        <a:pt x="70" y="2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0" name="Uganda"/>
                                <p:cNvSpPr>
                                  <a:spLocks/>
                                </p:cNvSpPr>
                                <p:nvPr/>
                              </p:nvSpPr>
                              <p:spPr bwMode="auto">
                                <a:xfrm>
                                  <a:off x="6744359" y="3521410"/>
                                  <a:ext cx="173146" cy="203334"/>
                                </a:xfrm>
                                <a:custGeom>
                                  <a:avLst/>
                                  <a:gdLst/>
                                  <a:ahLst/>
                                  <a:cxnLst>
                                    <a:cxn ang="0">
                                      <a:pos x="92" y="104"/>
                                    </a:cxn>
                                    <a:cxn ang="0">
                                      <a:pos x="88" y="104"/>
                                    </a:cxn>
                                    <a:cxn ang="0">
                                      <a:pos x="86" y="104"/>
                                    </a:cxn>
                                    <a:cxn ang="0">
                                      <a:pos x="84" y="100"/>
                                    </a:cxn>
                                    <a:cxn ang="0">
                                      <a:pos x="80" y="104"/>
                                    </a:cxn>
                                    <a:cxn ang="0">
                                      <a:pos x="74" y="104"/>
                                    </a:cxn>
                                    <a:cxn ang="0">
                                      <a:pos x="70" y="106"/>
                                    </a:cxn>
                                    <a:cxn ang="0">
                                      <a:pos x="64" y="106"/>
                                    </a:cxn>
                                    <a:cxn ang="0">
                                      <a:pos x="62" y="110"/>
                                    </a:cxn>
                                    <a:cxn ang="0">
                                      <a:pos x="62" y="112"/>
                                    </a:cxn>
                                    <a:cxn ang="0">
                                      <a:pos x="58" y="114"/>
                                    </a:cxn>
                                    <a:cxn ang="0">
                                      <a:pos x="58" y="116"/>
                                    </a:cxn>
                                    <a:cxn ang="0">
                                      <a:pos x="52" y="124"/>
                                    </a:cxn>
                                    <a:cxn ang="0">
                                      <a:pos x="52" y="128"/>
                                    </a:cxn>
                                    <a:cxn ang="0">
                                      <a:pos x="44" y="132"/>
                                    </a:cxn>
                                    <a:cxn ang="0">
                                      <a:pos x="34" y="128"/>
                                    </a:cxn>
                                    <a:cxn ang="0">
                                      <a:pos x="24" y="130"/>
                                    </a:cxn>
                                    <a:cxn ang="0">
                                      <a:pos x="14" y="134"/>
                                    </a:cxn>
                                    <a:cxn ang="0">
                                      <a:pos x="10" y="132"/>
                                    </a:cxn>
                                    <a:cxn ang="0">
                                      <a:pos x="4" y="134"/>
                                    </a:cxn>
                                    <a:cxn ang="0">
                                      <a:pos x="2" y="116"/>
                                    </a:cxn>
                                    <a:cxn ang="0">
                                      <a:pos x="8" y="100"/>
                                    </a:cxn>
                                    <a:cxn ang="0">
                                      <a:pos x="10" y="92"/>
                                    </a:cxn>
                                    <a:cxn ang="0">
                                      <a:pos x="24" y="78"/>
                                    </a:cxn>
                                    <a:cxn ang="0">
                                      <a:pos x="32" y="62"/>
                                    </a:cxn>
                                    <a:cxn ang="0">
                                      <a:pos x="38" y="50"/>
                                    </a:cxn>
                                    <a:cxn ang="0">
                                      <a:pos x="42" y="48"/>
                                    </a:cxn>
                                    <a:cxn ang="0">
                                      <a:pos x="40" y="46"/>
                                    </a:cxn>
                                    <a:cxn ang="0">
                                      <a:pos x="32" y="44"/>
                                    </a:cxn>
                                    <a:cxn ang="0">
                                      <a:pos x="28" y="42"/>
                                    </a:cxn>
                                    <a:cxn ang="0">
                                      <a:pos x="26" y="32"/>
                                    </a:cxn>
                                    <a:cxn ang="0">
                                      <a:pos x="26" y="24"/>
                                    </a:cxn>
                                    <a:cxn ang="0">
                                      <a:pos x="24" y="20"/>
                                    </a:cxn>
                                    <a:cxn ang="0">
                                      <a:pos x="30" y="10"/>
                                    </a:cxn>
                                    <a:cxn ang="0">
                                      <a:pos x="44" y="8"/>
                                    </a:cxn>
                                    <a:cxn ang="0">
                                      <a:pos x="64" y="10"/>
                                    </a:cxn>
                                    <a:cxn ang="0">
                                      <a:pos x="78" y="6"/>
                                    </a:cxn>
                                    <a:cxn ang="0">
                                      <a:pos x="88" y="0"/>
                                    </a:cxn>
                                    <a:cxn ang="0">
                                      <a:pos x="96" y="14"/>
                                    </a:cxn>
                                    <a:cxn ang="0">
                                      <a:pos x="100" y="26"/>
                                    </a:cxn>
                                    <a:cxn ang="0">
                                      <a:pos x="106" y="28"/>
                                    </a:cxn>
                                    <a:cxn ang="0">
                                      <a:pos x="108" y="30"/>
                                    </a:cxn>
                                    <a:cxn ang="0">
                                      <a:pos x="108" y="34"/>
                                    </a:cxn>
                                    <a:cxn ang="0">
                                      <a:pos x="108" y="40"/>
                                    </a:cxn>
                                    <a:cxn ang="0">
                                      <a:pos x="114" y="54"/>
                                    </a:cxn>
                                    <a:cxn ang="0">
                                      <a:pos x="114" y="62"/>
                                    </a:cxn>
                                    <a:cxn ang="0">
                                      <a:pos x="110" y="72"/>
                                    </a:cxn>
                                    <a:cxn ang="0">
                                      <a:pos x="112" y="82"/>
                                    </a:cxn>
                                    <a:cxn ang="0">
                                      <a:pos x="108" y="84"/>
                                    </a:cxn>
                                    <a:cxn ang="0">
                                      <a:pos x="102" y="88"/>
                                    </a:cxn>
                                    <a:cxn ang="0">
                                      <a:pos x="92" y="104"/>
                                    </a:cxn>
                                  </a:cxnLst>
                                  <a:rect l="0" t="0" r="r" b="b"/>
                                  <a:pathLst>
                                    <a:path w="114" h="134">
                                      <a:moveTo>
                                        <a:pt x="92" y="104"/>
                                      </a:moveTo>
                                      <a:lnTo>
                                        <a:pt x="92" y="104"/>
                                      </a:lnTo>
                                      <a:lnTo>
                                        <a:pt x="90" y="102"/>
                                      </a:lnTo>
                                      <a:lnTo>
                                        <a:pt x="88" y="104"/>
                                      </a:lnTo>
                                      <a:lnTo>
                                        <a:pt x="88" y="104"/>
                                      </a:lnTo>
                                      <a:lnTo>
                                        <a:pt x="86" y="104"/>
                                      </a:lnTo>
                                      <a:lnTo>
                                        <a:pt x="86" y="104"/>
                                      </a:lnTo>
                                      <a:lnTo>
                                        <a:pt x="84" y="100"/>
                                      </a:lnTo>
                                      <a:lnTo>
                                        <a:pt x="80" y="104"/>
                                      </a:lnTo>
                                      <a:lnTo>
                                        <a:pt x="80" y="104"/>
                                      </a:lnTo>
                                      <a:lnTo>
                                        <a:pt x="76" y="104"/>
                                      </a:lnTo>
                                      <a:lnTo>
                                        <a:pt x="74" y="104"/>
                                      </a:lnTo>
                                      <a:lnTo>
                                        <a:pt x="72" y="104"/>
                                      </a:lnTo>
                                      <a:lnTo>
                                        <a:pt x="70" y="106"/>
                                      </a:lnTo>
                                      <a:lnTo>
                                        <a:pt x="70" y="106"/>
                                      </a:lnTo>
                                      <a:lnTo>
                                        <a:pt x="64" y="106"/>
                                      </a:lnTo>
                                      <a:lnTo>
                                        <a:pt x="62" y="106"/>
                                      </a:lnTo>
                                      <a:lnTo>
                                        <a:pt x="62" y="110"/>
                                      </a:lnTo>
                                      <a:lnTo>
                                        <a:pt x="62" y="110"/>
                                      </a:lnTo>
                                      <a:lnTo>
                                        <a:pt x="62" y="112"/>
                                      </a:lnTo>
                                      <a:lnTo>
                                        <a:pt x="60" y="112"/>
                                      </a:lnTo>
                                      <a:lnTo>
                                        <a:pt x="58" y="114"/>
                                      </a:lnTo>
                                      <a:lnTo>
                                        <a:pt x="58" y="116"/>
                                      </a:lnTo>
                                      <a:lnTo>
                                        <a:pt x="58" y="116"/>
                                      </a:lnTo>
                                      <a:lnTo>
                                        <a:pt x="54" y="122"/>
                                      </a:lnTo>
                                      <a:lnTo>
                                        <a:pt x="52" y="124"/>
                                      </a:lnTo>
                                      <a:lnTo>
                                        <a:pt x="52" y="128"/>
                                      </a:lnTo>
                                      <a:lnTo>
                                        <a:pt x="52" y="128"/>
                                      </a:lnTo>
                                      <a:lnTo>
                                        <a:pt x="48" y="130"/>
                                      </a:lnTo>
                                      <a:lnTo>
                                        <a:pt x="44" y="132"/>
                                      </a:lnTo>
                                      <a:lnTo>
                                        <a:pt x="34" y="128"/>
                                      </a:lnTo>
                                      <a:lnTo>
                                        <a:pt x="34" y="128"/>
                                      </a:lnTo>
                                      <a:lnTo>
                                        <a:pt x="30" y="128"/>
                                      </a:lnTo>
                                      <a:lnTo>
                                        <a:pt x="24" y="130"/>
                                      </a:lnTo>
                                      <a:lnTo>
                                        <a:pt x="24" y="130"/>
                                      </a:lnTo>
                                      <a:lnTo>
                                        <a:pt x="14" y="134"/>
                                      </a:lnTo>
                                      <a:lnTo>
                                        <a:pt x="12" y="132"/>
                                      </a:lnTo>
                                      <a:lnTo>
                                        <a:pt x="10" y="132"/>
                                      </a:lnTo>
                                      <a:lnTo>
                                        <a:pt x="4" y="134"/>
                                      </a:lnTo>
                                      <a:lnTo>
                                        <a:pt x="4" y="134"/>
                                      </a:lnTo>
                                      <a:lnTo>
                                        <a:pt x="0" y="122"/>
                                      </a:lnTo>
                                      <a:lnTo>
                                        <a:pt x="2" y="116"/>
                                      </a:lnTo>
                                      <a:lnTo>
                                        <a:pt x="4" y="110"/>
                                      </a:lnTo>
                                      <a:lnTo>
                                        <a:pt x="8" y="100"/>
                                      </a:lnTo>
                                      <a:lnTo>
                                        <a:pt x="8" y="100"/>
                                      </a:lnTo>
                                      <a:lnTo>
                                        <a:pt x="10" y="92"/>
                                      </a:lnTo>
                                      <a:lnTo>
                                        <a:pt x="16" y="86"/>
                                      </a:lnTo>
                                      <a:lnTo>
                                        <a:pt x="24" y="78"/>
                                      </a:lnTo>
                                      <a:lnTo>
                                        <a:pt x="32" y="62"/>
                                      </a:lnTo>
                                      <a:lnTo>
                                        <a:pt x="32" y="62"/>
                                      </a:lnTo>
                                      <a:lnTo>
                                        <a:pt x="36" y="54"/>
                                      </a:lnTo>
                                      <a:lnTo>
                                        <a:pt x="38" y="50"/>
                                      </a:lnTo>
                                      <a:lnTo>
                                        <a:pt x="40" y="50"/>
                                      </a:lnTo>
                                      <a:lnTo>
                                        <a:pt x="42" y="48"/>
                                      </a:lnTo>
                                      <a:lnTo>
                                        <a:pt x="42" y="48"/>
                                      </a:lnTo>
                                      <a:lnTo>
                                        <a:pt x="40" y="46"/>
                                      </a:lnTo>
                                      <a:lnTo>
                                        <a:pt x="38" y="46"/>
                                      </a:lnTo>
                                      <a:lnTo>
                                        <a:pt x="32" y="44"/>
                                      </a:lnTo>
                                      <a:lnTo>
                                        <a:pt x="30" y="44"/>
                                      </a:lnTo>
                                      <a:lnTo>
                                        <a:pt x="28" y="42"/>
                                      </a:lnTo>
                                      <a:lnTo>
                                        <a:pt x="26" y="38"/>
                                      </a:lnTo>
                                      <a:lnTo>
                                        <a:pt x="26" y="32"/>
                                      </a:lnTo>
                                      <a:lnTo>
                                        <a:pt x="26" y="32"/>
                                      </a:lnTo>
                                      <a:lnTo>
                                        <a:pt x="26" y="24"/>
                                      </a:lnTo>
                                      <a:lnTo>
                                        <a:pt x="24" y="22"/>
                                      </a:lnTo>
                                      <a:lnTo>
                                        <a:pt x="24" y="20"/>
                                      </a:lnTo>
                                      <a:lnTo>
                                        <a:pt x="30" y="10"/>
                                      </a:lnTo>
                                      <a:lnTo>
                                        <a:pt x="30" y="10"/>
                                      </a:lnTo>
                                      <a:lnTo>
                                        <a:pt x="38" y="8"/>
                                      </a:lnTo>
                                      <a:lnTo>
                                        <a:pt x="44" y="8"/>
                                      </a:lnTo>
                                      <a:lnTo>
                                        <a:pt x="56" y="10"/>
                                      </a:lnTo>
                                      <a:lnTo>
                                        <a:pt x="64" y="10"/>
                                      </a:lnTo>
                                      <a:lnTo>
                                        <a:pt x="70" y="10"/>
                                      </a:lnTo>
                                      <a:lnTo>
                                        <a:pt x="78" y="6"/>
                                      </a:lnTo>
                                      <a:lnTo>
                                        <a:pt x="88" y="0"/>
                                      </a:lnTo>
                                      <a:lnTo>
                                        <a:pt x="88" y="0"/>
                                      </a:lnTo>
                                      <a:lnTo>
                                        <a:pt x="94" y="8"/>
                                      </a:lnTo>
                                      <a:lnTo>
                                        <a:pt x="96" y="14"/>
                                      </a:lnTo>
                                      <a:lnTo>
                                        <a:pt x="96" y="18"/>
                                      </a:lnTo>
                                      <a:lnTo>
                                        <a:pt x="100" y="26"/>
                                      </a:lnTo>
                                      <a:lnTo>
                                        <a:pt x="100" y="26"/>
                                      </a:lnTo>
                                      <a:lnTo>
                                        <a:pt x="106" y="28"/>
                                      </a:lnTo>
                                      <a:lnTo>
                                        <a:pt x="108" y="28"/>
                                      </a:lnTo>
                                      <a:lnTo>
                                        <a:pt x="108" y="30"/>
                                      </a:lnTo>
                                      <a:lnTo>
                                        <a:pt x="108" y="34"/>
                                      </a:lnTo>
                                      <a:lnTo>
                                        <a:pt x="108" y="34"/>
                                      </a:lnTo>
                                      <a:lnTo>
                                        <a:pt x="108" y="36"/>
                                      </a:lnTo>
                                      <a:lnTo>
                                        <a:pt x="108" y="40"/>
                                      </a:lnTo>
                                      <a:lnTo>
                                        <a:pt x="112" y="46"/>
                                      </a:lnTo>
                                      <a:lnTo>
                                        <a:pt x="114" y="54"/>
                                      </a:lnTo>
                                      <a:lnTo>
                                        <a:pt x="114" y="58"/>
                                      </a:lnTo>
                                      <a:lnTo>
                                        <a:pt x="114" y="62"/>
                                      </a:lnTo>
                                      <a:lnTo>
                                        <a:pt x="114" y="62"/>
                                      </a:lnTo>
                                      <a:lnTo>
                                        <a:pt x="110" y="72"/>
                                      </a:lnTo>
                                      <a:lnTo>
                                        <a:pt x="112" y="78"/>
                                      </a:lnTo>
                                      <a:lnTo>
                                        <a:pt x="112" y="82"/>
                                      </a:lnTo>
                                      <a:lnTo>
                                        <a:pt x="108" y="84"/>
                                      </a:lnTo>
                                      <a:lnTo>
                                        <a:pt x="108" y="84"/>
                                      </a:lnTo>
                                      <a:lnTo>
                                        <a:pt x="104" y="86"/>
                                      </a:lnTo>
                                      <a:lnTo>
                                        <a:pt x="102" y="88"/>
                                      </a:lnTo>
                                      <a:lnTo>
                                        <a:pt x="92" y="104"/>
                                      </a:lnTo>
                                      <a:lnTo>
                                        <a:pt x="92" y="104"/>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1" name="Uruguay"/>
                                <p:cNvSpPr>
                                  <a:spLocks/>
                                </p:cNvSpPr>
                                <p:nvPr/>
                              </p:nvSpPr>
                              <p:spPr bwMode="auto">
                                <a:xfrm>
                                  <a:off x="4034781" y="4808180"/>
                                  <a:ext cx="160995" cy="172986"/>
                                </a:xfrm>
                                <a:custGeom>
                                  <a:avLst/>
                                  <a:gdLst/>
                                  <a:ahLst/>
                                  <a:cxnLst>
                                    <a:cxn ang="0">
                                      <a:pos x="6" y="78"/>
                                    </a:cxn>
                                    <a:cxn ang="0">
                                      <a:pos x="10" y="96"/>
                                    </a:cxn>
                                    <a:cxn ang="0">
                                      <a:pos x="20" y="102"/>
                                    </a:cxn>
                                    <a:cxn ang="0">
                                      <a:pos x="36" y="104"/>
                                    </a:cxn>
                                    <a:cxn ang="0">
                                      <a:pos x="38" y="106"/>
                                    </a:cxn>
                                    <a:cxn ang="0">
                                      <a:pos x="48" y="108"/>
                                    </a:cxn>
                                    <a:cxn ang="0">
                                      <a:pos x="58" y="110"/>
                                    </a:cxn>
                                    <a:cxn ang="0">
                                      <a:pos x="62" y="112"/>
                                    </a:cxn>
                                    <a:cxn ang="0">
                                      <a:pos x="82" y="114"/>
                                    </a:cxn>
                                    <a:cxn ang="0">
                                      <a:pos x="94" y="108"/>
                                    </a:cxn>
                                    <a:cxn ang="0">
                                      <a:pos x="106" y="98"/>
                                    </a:cxn>
                                    <a:cxn ang="0">
                                      <a:pos x="102" y="90"/>
                                    </a:cxn>
                                    <a:cxn ang="0">
                                      <a:pos x="104" y="82"/>
                                    </a:cxn>
                                    <a:cxn ang="0">
                                      <a:pos x="106" y="72"/>
                                    </a:cxn>
                                    <a:cxn ang="0">
                                      <a:pos x="98" y="64"/>
                                    </a:cxn>
                                    <a:cxn ang="0">
                                      <a:pos x="92" y="58"/>
                                    </a:cxn>
                                    <a:cxn ang="0">
                                      <a:pos x="88" y="56"/>
                                    </a:cxn>
                                    <a:cxn ang="0">
                                      <a:pos x="82" y="50"/>
                                    </a:cxn>
                                    <a:cxn ang="0">
                                      <a:pos x="66" y="38"/>
                                    </a:cxn>
                                    <a:cxn ang="0">
                                      <a:pos x="56" y="34"/>
                                    </a:cxn>
                                    <a:cxn ang="0">
                                      <a:pos x="52" y="30"/>
                                    </a:cxn>
                                    <a:cxn ang="0">
                                      <a:pos x="46" y="32"/>
                                    </a:cxn>
                                    <a:cxn ang="0">
                                      <a:pos x="44" y="32"/>
                                    </a:cxn>
                                    <a:cxn ang="0">
                                      <a:pos x="42" y="26"/>
                                    </a:cxn>
                                    <a:cxn ang="0">
                                      <a:pos x="40" y="14"/>
                                    </a:cxn>
                                    <a:cxn ang="0">
                                      <a:pos x="34" y="6"/>
                                    </a:cxn>
                                    <a:cxn ang="0">
                                      <a:pos x="30" y="0"/>
                                    </a:cxn>
                                    <a:cxn ang="0">
                                      <a:pos x="22" y="2"/>
                                    </a:cxn>
                                    <a:cxn ang="0">
                                      <a:pos x="12" y="8"/>
                                    </a:cxn>
                                    <a:cxn ang="0">
                                      <a:pos x="4" y="8"/>
                                    </a:cxn>
                                    <a:cxn ang="0">
                                      <a:pos x="2" y="24"/>
                                    </a:cxn>
                                    <a:cxn ang="0">
                                      <a:pos x="2" y="38"/>
                                    </a:cxn>
                                    <a:cxn ang="0">
                                      <a:pos x="0" y="44"/>
                                    </a:cxn>
                                    <a:cxn ang="0">
                                      <a:pos x="4" y="62"/>
                                    </a:cxn>
                                    <a:cxn ang="0">
                                      <a:pos x="6" y="74"/>
                                    </a:cxn>
                                    <a:cxn ang="0">
                                      <a:pos x="6" y="78"/>
                                    </a:cxn>
                                  </a:cxnLst>
                                  <a:rect l="0" t="0" r="r" b="b"/>
                                  <a:pathLst>
                                    <a:path w="106" h="114">
                                      <a:moveTo>
                                        <a:pt x="6" y="78"/>
                                      </a:moveTo>
                                      <a:lnTo>
                                        <a:pt x="6" y="78"/>
                                      </a:lnTo>
                                      <a:lnTo>
                                        <a:pt x="8" y="88"/>
                                      </a:lnTo>
                                      <a:lnTo>
                                        <a:pt x="10" y="96"/>
                                      </a:lnTo>
                                      <a:lnTo>
                                        <a:pt x="16" y="100"/>
                                      </a:lnTo>
                                      <a:lnTo>
                                        <a:pt x="20" y="102"/>
                                      </a:lnTo>
                                      <a:lnTo>
                                        <a:pt x="30" y="104"/>
                                      </a:lnTo>
                                      <a:lnTo>
                                        <a:pt x="36" y="104"/>
                                      </a:lnTo>
                                      <a:lnTo>
                                        <a:pt x="38" y="106"/>
                                      </a:lnTo>
                                      <a:lnTo>
                                        <a:pt x="38" y="106"/>
                                      </a:lnTo>
                                      <a:lnTo>
                                        <a:pt x="42" y="108"/>
                                      </a:lnTo>
                                      <a:lnTo>
                                        <a:pt x="48" y="108"/>
                                      </a:lnTo>
                                      <a:lnTo>
                                        <a:pt x="52" y="108"/>
                                      </a:lnTo>
                                      <a:lnTo>
                                        <a:pt x="58" y="110"/>
                                      </a:lnTo>
                                      <a:lnTo>
                                        <a:pt x="58" y="110"/>
                                      </a:lnTo>
                                      <a:lnTo>
                                        <a:pt x="62" y="112"/>
                                      </a:lnTo>
                                      <a:lnTo>
                                        <a:pt x="68" y="114"/>
                                      </a:lnTo>
                                      <a:lnTo>
                                        <a:pt x="82" y="114"/>
                                      </a:lnTo>
                                      <a:lnTo>
                                        <a:pt x="88" y="112"/>
                                      </a:lnTo>
                                      <a:lnTo>
                                        <a:pt x="94" y="108"/>
                                      </a:lnTo>
                                      <a:lnTo>
                                        <a:pt x="100" y="102"/>
                                      </a:lnTo>
                                      <a:lnTo>
                                        <a:pt x="106" y="98"/>
                                      </a:lnTo>
                                      <a:lnTo>
                                        <a:pt x="106" y="98"/>
                                      </a:lnTo>
                                      <a:lnTo>
                                        <a:pt x="102" y="90"/>
                                      </a:lnTo>
                                      <a:lnTo>
                                        <a:pt x="104" y="82"/>
                                      </a:lnTo>
                                      <a:lnTo>
                                        <a:pt x="104" y="82"/>
                                      </a:lnTo>
                                      <a:lnTo>
                                        <a:pt x="106" y="74"/>
                                      </a:lnTo>
                                      <a:lnTo>
                                        <a:pt x="106" y="72"/>
                                      </a:lnTo>
                                      <a:lnTo>
                                        <a:pt x="102" y="70"/>
                                      </a:lnTo>
                                      <a:lnTo>
                                        <a:pt x="98" y="64"/>
                                      </a:lnTo>
                                      <a:lnTo>
                                        <a:pt x="98" y="64"/>
                                      </a:lnTo>
                                      <a:lnTo>
                                        <a:pt x="92" y="58"/>
                                      </a:lnTo>
                                      <a:lnTo>
                                        <a:pt x="90" y="56"/>
                                      </a:lnTo>
                                      <a:lnTo>
                                        <a:pt x="88" y="56"/>
                                      </a:lnTo>
                                      <a:lnTo>
                                        <a:pt x="82" y="50"/>
                                      </a:lnTo>
                                      <a:lnTo>
                                        <a:pt x="82" y="50"/>
                                      </a:lnTo>
                                      <a:lnTo>
                                        <a:pt x="74" y="42"/>
                                      </a:lnTo>
                                      <a:lnTo>
                                        <a:pt x="66" y="38"/>
                                      </a:lnTo>
                                      <a:lnTo>
                                        <a:pt x="60" y="38"/>
                                      </a:lnTo>
                                      <a:lnTo>
                                        <a:pt x="56" y="34"/>
                                      </a:lnTo>
                                      <a:lnTo>
                                        <a:pt x="56" y="34"/>
                                      </a:lnTo>
                                      <a:lnTo>
                                        <a:pt x="52" y="30"/>
                                      </a:lnTo>
                                      <a:lnTo>
                                        <a:pt x="50" y="32"/>
                                      </a:lnTo>
                                      <a:lnTo>
                                        <a:pt x="46" y="32"/>
                                      </a:lnTo>
                                      <a:lnTo>
                                        <a:pt x="46" y="32"/>
                                      </a:lnTo>
                                      <a:lnTo>
                                        <a:pt x="44" y="32"/>
                                      </a:lnTo>
                                      <a:lnTo>
                                        <a:pt x="44" y="30"/>
                                      </a:lnTo>
                                      <a:lnTo>
                                        <a:pt x="42" y="26"/>
                                      </a:lnTo>
                                      <a:lnTo>
                                        <a:pt x="42" y="20"/>
                                      </a:lnTo>
                                      <a:lnTo>
                                        <a:pt x="40" y="14"/>
                                      </a:lnTo>
                                      <a:lnTo>
                                        <a:pt x="40" y="14"/>
                                      </a:lnTo>
                                      <a:lnTo>
                                        <a:pt x="34" y="6"/>
                                      </a:lnTo>
                                      <a:lnTo>
                                        <a:pt x="32" y="2"/>
                                      </a:lnTo>
                                      <a:lnTo>
                                        <a:pt x="30" y="0"/>
                                      </a:lnTo>
                                      <a:lnTo>
                                        <a:pt x="30" y="0"/>
                                      </a:lnTo>
                                      <a:lnTo>
                                        <a:pt x="22" y="2"/>
                                      </a:lnTo>
                                      <a:lnTo>
                                        <a:pt x="16" y="4"/>
                                      </a:lnTo>
                                      <a:lnTo>
                                        <a:pt x="12" y="8"/>
                                      </a:lnTo>
                                      <a:lnTo>
                                        <a:pt x="4" y="8"/>
                                      </a:lnTo>
                                      <a:lnTo>
                                        <a:pt x="4" y="8"/>
                                      </a:lnTo>
                                      <a:lnTo>
                                        <a:pt x="2" y="18"/>
                                      </a:lnTo>
                                      <a:lnTo>
                                        <a:pt x="2" y="24"/>
                                      </a:lnTo>
                                      <a:lnTo>
                                        <a:pt x="2" y="28"/>
                                      </a:lnTo>
                                      <a:lnTo>
                                        <a:pt x="2" y="38"/>
                                      </a:lnTo>
                                      <a:lnTo>
                                        <a:pt x="2" y="38"/>
                                      </a:lnTo>
                                      <a:lnTo>
                                        <a:pt x="0" y="44"/>
                                      </a:lnTo>
                                      <a:lnTo>
                                        <a:pt x="0" y="50"/>
                                      </a:lnTo>
                                      <a:lnTo>
                                        <a:pt x="4" y="62"/>
                                      </a:lnTo>
                                      <a:lnTo>
                                        <a:pt x="6" y="70"/>
                                      </a:lnTo>
                                      <a:lnTo>
                                        <a:pt x="6" y="74"/>
                                      </a:lnTo>
                                      <a:lnTo>
                                        <a:pt x="6" y="78"/>
                                      </a:lnTo>
                                      <a:lnTo>
                                        <a:pt x="6" y="7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2" name="Uzbekistan"/>
                                <p:cNvSpPr>
                                  <a:spLocks/>
                                </p:cNvSpPr>
                                <p:nvPr/>
                              </p:nvSpPr>
                              <p:spPr bwMode="auto">
                                <a:xfrm>
                                  <a:off x="7393757" y="2007029"/>
                                  <a:ext cx="531587" cy="254926"/>
                                </a:xfrm>
                                <a:custGeom>
                                  <a:avLst/>
                                  <a:gdLst/>
                                  <a:ahLst/>
                                  <a:cxnLst>
                                    <a:cxn ang="0">
                                      <a:pos x="32" y="96"/>
                                    </a:cxn>
                                    <a:cxn ang="0">
                                      <a:pos x="32" y="84"/>
                                    </a:cxn>
                                    <a:cxn ang="0">
                                      <a:pos x="42" y="76"/>
                                    </a:cxn>
                                    <a:cxn ang="0">
                                      <a:pos x="54" y="74"/>
                                    </a:cxn>
                                    <a:cxn ang="0">
                                      <a:pos x="56" y="70"/>
                                    </a:cxn>
                                    <a:cxn ang="0">
                                      <a:pos x="80" y="82"/>
                                    </a:cxn>
                                    <a:cxn ang="0">
                                      <a:pos x="82" y="92"/>
                                    </a:cxn>
                                    <a:cxn ang="0">
                                      <a:pos x="104" y="90"/>
                                    </a:cxn>
                                    <a:cxn ang="0">
                                      <a:pos x="120" y="106"/>
                                    </a:cxn>
                                    <a:cxn ang="0">
                                      <a:pos x="160" y="130"/>
                                    </a:cxn>
                                    <a:cxn ang="0">
                                      <a:pos x="196" y="144"/>
                                    </a:cxn>
                                    <a:cxn ang="0">
                                      <a:pos x="212" y="148"/>
                                    </a:cxn>
                                    <a:cxn ang="0">
                                      <a:pos x="220" y="154"/>
                                    </a:cxn>
                                    <a:cxn ang="0">
                                      <a:pos x="232" y="168"/>
                                    </a:cxn>
                                    <a:cxn ang="0">
                                      <a:pos x="244" y="168"/>
                                    </a:cxn>
                                    <a:cxn ang="0">
                                      <a:pos x="258" y="166"/>
                                    </a:cxn>
                                    <a:cxn ang="0">
                                      <a:pos x="262" y="148"/>
                                    </a:cxn>
                                    <a:cxn ang="0">
                                      <a:pos x="258" y="144"/>
                                    </a:cxn>
                                    <a:cxn ang="0">
                                      <a:pos x="250" y="142"/>
                                    </a:cxn>
                                    <a:cxn ang="0">
                                      <a:pos x="242" y="132"/>
                                    </a:cxn>
                                    <a:cxn ang="0">
                                      <a:pos x="260" y="128"/>
                                    </a:cxn>
                                    <a:cxn ang="0">
                                      <a:pos x="256" y="122"/>
                                    </a:cxn>
                                    <a:cxn ang="0">
                                      <a:pos x="270" y="112"/>
                                    </a:cxn>
                                    <a:cxn ang="0">
                                      <a:pos x="282" y="112"/>
                                    </a:cxn>
                                    <a:cxn ang="0">
                                      <a:pos x="292" y="108"/>
                                    </a:cxn>
                                    <a:cxn ang="0">
                                      <a:pos x="292" y="114"/>
                                    </a:cxn>
                                    <a:cxn ang="0">
                                      <a:pos x="304" y="118"/>
                                    </a:cxn>
                                    <a:cxn ang="0">
                                      <a:pos x="318" y="118"/>
                                    </a:cxn>
                                    <a:cxn ang="0">
                                      <a:pos x="346" y="108"/>
                                    </a:cxn>
                                    <a:cxn ang="0">
                                      <a:pos x="336" y="104"/>
                                    </a:cxn>
                                    <a:cxn ang="0">
                                      <a:pos x="324" y="96"/>
                                    </a:cxn>
                                    <a:cxn ang="0">
                                      <a:pos x="316" y="92"/>
                                    </a:cxn>
                                    <a:cxn ang="0">
                                      <a:pos x="304" y="100"/>
                                    </a:cxn>
                                    <a:cxn ang="0">
                                      <a:pos x="288" y="98"/>
                                    </a:cxn>
                                    <a:cxn ang="0">
                                      <a:pos x="282" y="100"/>
                                    </a:cxn>
                                    <a:cxn ang="0">
                                      <a:pos x="298" y="78"/>
                                    </a:cxn>
                                    <a:cxn ang="0">
                                      <a:pos x="294" y="70"/>
                                    </a:cxn>
                                    <a:cxn ang="0">
                                      <a:pos x="280" y="86"/>
                                    </a:cxn>
                                    <a:cxn ang="0">
                                      <a:pos x="264" y="102"/>
                                    </a:cxn>
                                    <a:cxn ang="0">
                                      <a:pos x="262" y="114"/>
                                    </a:cxn>
                                    <a:cxn ang="0">
                                      <a:pos x="252" y="114"/>
                                    </a:cxn>
                                    <a:cxn ang="0">
                                      <a:pos x="252" y="108"/>
                                    </a:cxn>
                                    <a:cxn ang="0">
                                      <a:pos x="218" y="106"/>
                                    </a:cxn>
                                    <a:cxn ang="0">
                                      <a:pos x="194" y="76"/>
                                    </a:cxn>
                                    <a:cxn ang="0">
                                      <a:pos x="190" y="64"/>
                                    </a:cxn>
                                    <a:cxn ang="0">
                                      <a:pos x="166" y="44"/>
                                    </a:cxn>
                                    <a:cxn ang="0">
                                      <a:pos x="156" y="42"/>
                                    </a:cxn>
                                    <a:cxn ang="0">
                                      <a:pos x="150" y="48"/>
                                    </a:cxn>
                                    <a:cxn ang="0">
                                      <a:pos x="98" y="44"/>
                                    </a:cxn>
                                    <a:cxn ang="0">
                                      <a:pos x="94" y="26"/>
                                    </a:cxn>
                                    <a:cxn ang="0">
                                      <a:pos x="88" y="34"/>
                                    </a:cxn>
                                    <a:cxn ang="0">
                                      <a:pos x="78" y="40"/>
                                    </a:cxn>
                                    <a:cxn ang="0">
                                      <a:pos x="58" y="46"/>
                                    </a:cxn>
                                    <a:cxn ang="0">
                                      <a:pos x="46" y="44"/>
                                    </a:cxn>
                                    <a:cxn ang="0">
                                      <a:pos x="34" y="38"/>
                                    </a:cxn>
                                    <a:cxn ang="0">
                                      <a:pos x="28" y="28"/>
                                    </a:cxn>
                                    <a:cxn ang="0">
                                      <a:pos x="32" y="14"/>
                                    </a:cxn>
                                    <a:cxn ang="0">
                                      <a:pos x="30" y="0"/>
                                    </a:cxn>
                                    <a:cxn ang="0">
                                      <a:pos x="8" y="10"/>
                                    </a:cxn>
                                    <a:cxn ang="0">
                                      <a:pos x="0" y="22"/>
                                    </a:cxn>
                                  </a:cxnLst>
                                  <a:rect l="0" t="0" r="r" b="b"/>
                                  <a:pathLst>
                                    <a:path w="350" h="168">
                                      <a:moveTo>
                                        <a:pt x="22" y="98"/>
                                      </a:moveTo>
                                      <a:lnTo>
                                        <a:pt x="22" y="98"/>
                                      </a:lnTo>
                                      <a:lnTo>
                                        <a:pt x="28" y="98"/>
                                      </a:lnTo>
                                      <a:lnTo>
                                        <a:pt x="32" y="96"/>
                                      </a:lnTo>
                                      <a:lnTo>
                                        <a:pt x="32" y="96"/>
                                      </a:lnTo>
                                      <a:lnTo>
                                        <a:pt x="32" y="92"/>
                                      </a:lnTo>
                                      <a:lnTo>
                                        <a:pt x="30" y="86"/>
                                      </a:lnTo>
                                      <a:lnTo>
                                        <a:pt x="32" y="84"/>
                                      </a:lnTo>
                                      <a:lnTo>
                                        <a:pt x="36" y="80"/>
                                      </a:lnTo>
                                      <a:lnTo>
                                        <a:pt x="36" y="80"/>
                                      </a:lnTo>
                                      <a:lnTo>
                                        <a:pt x="40" y="78"/>
                                      </a:lnTo>
                                      <a:lnTo>
                                        <a:pt x="42" y="76"/>
                                      </a:lnTo>
                                      <a:lnTo>
                                        <a:pt x="44" y="74"/>
                                      </a:lnTo>
                                      <a:lnTo>
                                        <a:pt x="48" y="74"/>
                                      </a:lnTo>
                                      <a:lnTo>
                                        <a:pt x="48" y="74"/>
                                      </a:lnTo>
                                      <a:lnTo>
                                        <a:pt x="54" y="74"/>
                                      </a:lnTo>
                                      <a:lnTo>
                                        <a:pt x="54" y="72"/>
                                      </a:lnTo>
                                      <a:lnTo>
                                        <a:pt x="52" y="70"/>
                                      </a:lnTo>
                                      <a:lnTo>
                                        <a:pt x="56" y="70"/>
                                      </a:lnTo>
                                      <a:lnTo>
                                        <a:pt x="56" y="70"/>
                                      </a:lnTo>
                                      <a:lnTo>
                                        <a:pt x="64" y="72"/>
                                      </a:lnTo>
                                      <a:lnTo>
                                        <a:pt x="72" y="76"/>
                                      </a:lnTo>
                                      <a:lnTo>
                                        <a:pt x="78" y="80"/>
                                      </a:lnTo>
                                      <a:lnTo>
                                        <a:pt x="80" y="82"/>
                                      </a:lnTo>
                                      <a:lnTo>
                                        <a:pt x="80" y="84"/>
                                      </a:lnTo>
                                      <a:lnTo>
                                        <a:pt x="80" y="84"/>
                                      </a:lnTo>
                                      <a:lnTo>
                                        <a:pt x="80" y="88"/>
                                      </a:lnTo>
                                      <a:lnTo>
                                        <a:pt x="82" y="92"/>
                                      </a:lnTo>
                                      <a:lnTo>
                                        <a:pt x="86" y="94"/>
                                      </a:lnTo>
                                      <a:lnTo>
                                        <a:pt x="92" y="94"/>
                                      </a:lnTo>
                                      <a:lnTo>
                                        <a:pt x="92" y="94"/>
                                      </a:lnTo>
                                      <a:lnTo>
                                        <a:pt x="104" y="90"/>
                                      </a:lnTo>
                                      <a:lnTo>
                                        <a:pt x="106" y="90"/>
                                      </a:lnTo>
                                      <a:lnTo>
                                        <a:pt x="110" y="92"/>
                                      </a:lnTo>
                                      <a:lnTo>
                                        <a:pt x="110" y="92"/>
                                      </a:lnTo>
                                      <a:lnTo>
                                        <a:pt x="120" y="106"/>
                                      </a:lnTo>
                                      <a:lnTo>
                                        <a:pt x="128" y="114"/>
                                      </a:lnTo>
                                      <a:lnTo>
                                        <a:pt x="140" y="122"/>
                                      </a:lnTo>
                                      <a:lnTo>
                                        <a:pt x="160" y="130"/>
                                      </a:lnTo>
                                      <a:lnTo>
                                        <a:pt x="160" y="130"/>
                                      </a:lnTo>
                                      <a:lnTo>
                                        <a:pt x="176" y="136"/>
                                      </a:lnTo>
                                      <a:lnTo>
                                        <a:pt x="182" y="140"/>
                                      </a:lnTo>
                                      <a:lnTo>
                                        <a:pt x="188" y="144"/>
                                      </a:lnTo>
                                      <a:lnTo>
                                        <a:pt x="196" y="144"/>
                                      </a:lnTo>
                                      <a:lnTo>
                                        <a:pt x="196" y="144"/>
                                      </a:lnTo>
                                      <a:lnTo>
                                        <a:pt x="204" y="146"/>
                                      </a:lnTo>
                                      <a:lnTo>
                                        <a:pt x="210" y="146"/>
                                      </a:lnTo>
                                      <a:lnTo>
                                        <a:pt x="212" y="148"/>
                                      </a:lnTo>
                                      <a:lnTo>
                                        <a:pt x="216" y="148"/>
                                      </a:lnTo>
                                      <a:lnTo>
                                        <a:pt x="216" y="148"/>
                                      </a:lnTo>
                                      <a:lnTo>
                                        <a:pt x="220" y="150"/>
                                      </a:lnTo>
                                      <a:lnTo>
                                        <a:pt x="220" y="154"/>
                                      </a:lnTo>
                                      <a:lnTo>
                                        <a:pt x="220" y="160"/>
                                      </a:lnTo>
                                      <a:lnTo>
                                        <a:pt x="222" y="166"/>
                                      </a:lnTo>
                                      <a:lnTo>
                                        <a:pt x="222" y="166"/>
                                      </a:lnTo>
                                      <a:lnTo>
                                        <a:pt x="232" y="168"/>
                                      </a:lnTo>
                                      <a:lnTo>
                                        <a:pt x="238" y="168"/>
                                      </a:lnTo>
                                      <a:lnTo>
                                        <a:pt x="242" y="166"/>
                                      </a:lnTo>
                                      <a:lnTo>
                                        <a:pt x="244" y="168"/>
                                      </a:lnTo>
                                      <a:lnTo>
                                        <a:pt x="244" y="168"/>
                                      </a:lnTo>
                                      <a:lnTo>
                                        <a:pt x="248" y="168"/>
                                      </a:lnTo>
                                      <a:lnTo>
                                        <a:pt x="250" y="168"/>
                                      </a:lnTo>
                                      <a:lnTo>
                                        <a:pt x="258" y="166"/>
                                      </a:lnTo>
                                      <a:lnTo>
                                        <a:pt x="258" y="166"/>
                                      </a:lnTo>
                                      <a:lnTo>
                                        <a:pt x="258" y="158"/>
                                      </a:lnTo>
                                      <a:lnTo>
                                        <a:pt x="262" y="152"/>
                                      </a:lnTo>
                                      <a:lnTo>
                                        <a:pt x="264" y="148"/>
                                      </a:lnTo>
                                      <a:lnTo>
                                        <a:pt x="262" y="148"/>
                                      </a:lnTo>
                                      <a:lnTo>
                                        <a:pt x="260" y="146"/>
                                      </a:lnTo>
                                      <a:lnTo>
                                        <a:pt x="260" y="146"/>
                                      </a:lnTo>
                                      <a:lnTo>
                                        <a:pt x="256" y="146"/>
                                      </a:lnTo>
                                      <a:lnTo>
                                        <a:pt x="258" y="144"/>
                                      </a:lnTo>
                                      <a:lnTo>
                                        <a:pt x="258" y="144"/>
                                      </a:lnTo>
                                      <a:lnTo>
                                        <a:pt x="256" y="142"/>
                                      </a:lnTo>
                                      <a:lnTo>
                                        <a:pt x="250" y="142"/>
                                      </a:lnTo>
                                      <a:lnTo>
                                        <a:pt x="250" y="142"/>
                                      </a:lnTo>
                                      <a:lnTo>
                                        <a:pt x="244" y="140"/>
                                      </a:lnTo>
                                      <a:lnTo>
                                        <a:pt x="240" y="136"/>
                                      </a:lnTo>
                                      <a:lnTo>
                                        <a:pt x="240" y="134"/>
                                      </a:lnTo>
                                      <a:lnTo>
                                        <a:pt x="242" y="132"/>
                                      </a:lnTo>
                                      <a:lnTo>
                                        <a:pt x="246" y="130"/>
                                      </a:lnTo>
                                      <a:lnTo>
                                        <a:pt x="250" y="130"/>
                                      </a:lnTo>
                                      <a:lnTo>
                                        <a:pt x="250" y="130"/>
                                      </a:lnTo>
                                      <a:lnTo>
                                        <a:pt x="260" y="128"/>
                                      </a:lnTo>
                                      <a:lnTo>
                                        <a:pt x="264" y="126"/>
                                      </a:lnTo>
                                      <a:lnTo>
                                        <a:pt x="264" y="124"/>
                                      </a:lnTo>
                                      <a:lnTo>
                                        <a:pt x="264" y="122"/>
                                      </a:lnTo>
                                      <a:lnTo>
                                        <a:pt x="256" y="122"/>
                                      </a:lnTo>
                                      <a:lnTo>
                                        <a:pt x="256" y="122"/>
                                      </a:lnTo>
                                      <a:lnTo>
                                        <a:pt x="264" y="120"/>
                                      </a:lnTo>
                                      <a:lnTo>
                                        <a:pt x="268" y="116"/>
                                      </a:lnTo>
                                      <a:lnTo>
                                        <a:pt x="270" y="112"/>
                                      </a:lnTo>
                                      <a:lnTo>
                                        <a:pt x="270" y="112"/>
                                      </a:lnTo>
                                      <a:lnTo>
                                        <a:pt x="272" y="114"/>
                                      </a:lnTo>
                                      <a:lnTo>
                                        <a:pt x="276" y="114"/>
                                      </a:lnTo>
                                      <a:lnTo>
                                        <a:pt x="282" y="112"/>
                                      </a:lnTo>
                                      <a:lnTo>
                                        <a:pt x="288" y="108"/>
                                      </a:lnTo>
                                      <a:lnTo>
                                        <a:pt x="290" y="108"/>
                                      </a:lnTo>
                                      <a:lnTo>
                                        <a:pt x="292" y="108"/>
                                      </a:lnTo>
                                      <a:lnTo>
                                        <a:pt x="292" y="108"/>
                                      </a:lnTo>
                                      <a:lnTo>
                                        <a:pt x="296" y="112"/>
                                      </a:lnTo>
                                      <a:lnTo>
                                        <a:pt x="296" y="112"/>
                                      </a:lnTo>
                                      <a:lnTo>
                                        <a:pt x="292" y="114"/>
                                      </a:lnTo>
                                      <a:lnTo>
                                        <a:pt x="292" y="114"/>
                                      </a:lnTo>
                                      <a:lnTo>
                                        <a:pt x="292" y="116"/>
                                      </a:lnTo>
                                      <a:lnTo>
                                        <a:pt x="298" y="118"/>
                                      </a:lnTo>
                                      <a:lnTo>
                                        <a:pt x="298" y="118"/>
                                      </a:lnTo>
                                      <a:lnTo>
                                        <a:pt x="304" y="118"/>
                                      </a:lnTo>
                                      <a:lnTo>
                                        <a:pt x="308" y="118"/>
                                      </a:lnTo>
                                      <a:lnTo>
                                        <a:pt x="312" y="116"/>
                                      </a:lnTo>
                                      <a:lnTo>
                                        <a:pt x="318" y="118"/>
                                      </a:lnTo>
                                      <a:lnTo>
                                        <a:pt x="318" y="118"/>
                                      </a:lnTo>
                                      <a:lnTo>
                                        <a:pt x="324" y="118"/>
                                      </a:lnTo>
                                      <a:lnTo>
                                        <a:pt x="330" y="116"/>
                                      </a:lnTo>
                                      <a:lnTo>
                                        <a:pt x="346" y="108"/>
                                      </a:lnTo>
                                      <a:lnTo>
                                        <a:pt x="346" y="108"/>
                                      </a:lnTo>
                                      <a:lnTo>
                                        <a:pt x="350" y="106"/>
                                      </a:lnTo>
                                      <a:lnTo>
                                        <a:pt x="346" y="106"/>
                                      </a:lnTo>
                                      <a:lnTo>
                                        <a:pt x="340" y="104"/>
                                      </a:lnTo>
                                      <a:lnTo>
                                        <a:pt x="336" y="104"/>
                                      </a:lnTo>
                                      <a:lnTo>
                                        <a:pt x="336" y="104"/>
                                      </a:lnTo>
                                      <a:lnTo>
                                        <a:pt x="330" y="100"/>
                                      </a:lnTo>
                                      <a:lnTo>
                                        <a:pt x="326" y="100"/>
                                      </a:lnTo>
                                      <a:lnTo>
                                        <a:pt x="324" y="96"/>
                                      </a:lnTo>
                                      <a:lnTo>
                                        <a:pt x="324" y="96"/>
                                      </a:lnTo>
                                      <a:lnTo>
                                        <a:pt x="322" y="92"/>
                                      </a:lnTo>
                                      <a:lnTo>
                                        <a:pt x="318" y="92"/>
                                      </a:lnTo>
                                      <a:lnTo>
                                        <a:pt x="316" y="92"/>
                                      </a:lnTo>
                                      <a:lnTo>
                                        <a:pt x="310" y="98"/>
                                      </a:lnTo>
                                      <a:lnTo>
                                        <a:pt x="310" y="98"/>
                                      </a:lnTo>
                                      <a:lnTo>
                                        <a:pt x="308" y="100"/>
                                      </a:lnTo>
                                      <a:lnTo>
                                        <a:pt x="304" y="100"/>
                                      </a:lnTo>
                                      <a:lnTo>
                                        <a:pt x="300" y="98"/>
                                      </a:lnTo>
                                      <a:lnTo>
                                        <a:pt x="296" y="96"/>
                                      </a:lnTo>
                                      <a:lnTo>
                                        <a:pt x="292" y="96"/>
                                      </a:lnTo>
                                      <a:lnTo>
                                        <a:pt x="288" y="98"/>
                                      </a:lnTo>
                                      <a:lnTo>
                                        <a:pt x="288" y="98"/>
                                      </a:lnTo>
                                      <a:lnTo>
                                        <a:pt x="284" y="102"/>
                                      </a:lnTo>
                                      <a:lnTo>
                                        <a:pt x="282" y="102"/>
                                      </a:lnTo>
                                      <a:lnTo>
                                        <a:pt x="282" y="100"/>
                                      </a:lnTo>
                                      <a:lnTo>
                                        <a:pt x="284" y="96"/>
                                      </a:lnTo>
                                      <a:lnTo>
                                        <a:pt x="292" y="86"/>
                                      </a:lnTo>
                                      <a:lnTo>
                                        <a:pt x="292" y="86"/>
                                      </a:lnTo>
                                      <a:lnTo>
                                        <a:pt x="298" y="78"/>
                                      </a:lnTo>
                                      <a:lnTo>
                                        <a:pt x="300" y="72"/>
                                      </a:lnTo>
                                      <a:lnTo>
                                        <a:pt x="298" y="70"/>
                                      </a:lnTo>
                                      <a:lnTo>
                                        <a:pt x="294" y="70"/>
                                      </a:lnTo>
                                      <a:lnTo>
                                        <a:pt x="294" y="70"/>
                                      </a:lnTo>
                                      <a:lnTo>
                                        <a:pt x="288" y="74"/>
                                      </a:lnTo>
                                      <a:lnTo>
                                        <a:pt x="288" y="74"/>
                                      </a:lnTo>
                                      <a:lnTo>
                                        <a:pt x="282" y="80"/>
                                      </a:lnTo>
                                      <a:lnTo>
                                        <a:pt x="280" y="86"/>
                                      </a:lnTo>
                                      <a:lnTo>
                                        <a:pt x="276" y="92"/>
                                      </a:lnTo>
                                      <a:lnTo>
                                        <a:pt x="270" y="98"/>
                                      </a:lnTo>
                                      <a:lnTo>
                                        <a:pt x="270" y="98"/>
                                      </a:lnTo>
                                      <a:lnTo>
                                        <a:pt x="264" y="102"/>
                                      </a:lnTo>
                                      <a:lnTo>
                                        <a:pt x="262" y="106"/>
                                      </a:lnTo>
                                      <a:lnTo>
                                        <a:pt x="262" y="110"/>
                                      </a:lnTo>
                                      <a:lnTo>
                                        <a:pt x="262" y="112"/>
                                      </a:lnTo>
                                      <a:lnTo>
                                        <a:pt x="262" y="114"/>
                                      </a:lnTo>
                                      <a:lnTo>
                                        <a:pt x="258" y="114"/>
                                      </a:lnTo>
                                      <a:lnTo>
                                        <a:pt x="258" y="114"/>
                                      </a:lnTo>
                                      <a:lnTo>
                                        <a:pt x="254" y="114"/>
                                      </a:lnTo>
                                      <a:lnTo>
                                        <a:pt x="252" y="114"/>
                                      </a:lnTo>
                                      <a:lnTo>
                                        <a:pt x="254" y="110"/>
                                      </a:lnTo>
                                      <a:lnTo>
                                        <a:pt x="256" y="108"/>
                                      </a:lnTo>
                                      <a:lnTo>
                                        <a:pt x="252" y="108"/>
                                      </a:lnTo>
                                      <a:lnTo>
                                        <a:pt x="252" y="108"/>
                                      </a:lnTo>
                                      <a:lnTo>
                                        <a:pt x="234" y="110"/>
                                      </a:lnTo>
                                      <a:lnTo>
                                        <a:pt x="226" y="110"/>
                                      </a:lnTo>
                                      <a:lnTo>
                                        <a:pt x="222" y="108"/>
                                      </a:lnTo>
                                      <a:lnTo>
                                        <a:pt x="218" y="106"/>
                                      </a:lnTo>
                                      <a:lnTo>
                                        <a:pt x="216" y="102"/>
                                      </a:lnTo>
                                      <a:lnTo>
                                        <a:pt x="214" y="90"/>
                                      </a:lnTo>
                                      <a:lnTo>
                                        <a:pt x="204" y="92"/>
                                      </a:lnTo>
                                      <a:lnTo>
                                        <a:pt x="194" y="76"/>
                                      </a:lnTo>
                                      <a:lnTo>
                                        <a:pt x="202" y="76"/>
                                      </a:lnTo>
                                      <a:lnTo>
                                        <a:pt x="198" y="58"/>
                                      </a:lnTo>
                                      <a:lnTo>
                                        <a:pt x="190" y="64"/>
                                      </a:lnTo>
                                      <a:lnTo>
                                        <a:pt x="190" y="64"/>
                                      </a:lnTo>
                                      <a:lnTo>
                                        <a:pt x="178" y="50"/>
                                      </a:lnTo>
                                      <a:lnTo>
                                        <a:pt x="174" y="46"/>
                                      </a:lnTo>
                                      <a:lnTo>
                                        <a:pt x="170" y="44"/>
                                      </a:lnTo>
                                      <a:lnTo>
                                        <a:pt x="166" y="44"/>
                                      </a:lnTo>
                                      <a:lnTo>
                                        <a:pt x="160" y="42"/>
                                      </a:lnTo>
                                      <a:lnTo>
                                        <a:pt x="160" y="42"/>
                                      </a:lnTo>
                                      <a:lnTo>
                                        <a:pt x="156" y="38"/>
                                      </a:lnTo>
                                      <a:lnTo>
                                        <a:pt x="156" y="42"/>
                                      </a:lnTo>
                                      <a:lnTo>
                                        <a:pt x="154" y="46"/>
                                      </a:lnTo>
                                      <a:lnTo>
                                        <a:pt x="152" y="48"/>
                                      </a:lnTo>
                                      <a:lnTo>
                                        <a:pt x="150" y="48"/>
                                      </a:lnTo>
                                      <a:lnTo>
                                        <a:pt x="150" y="48"/>
                                      </a:lnTo>
                                      <a:lnTo>
                                        <a:pt x="104" y="46"/>
                                      </a:lnTo>
                                      <a:lnTo>
                                        <a:pt x="104" y="46"/>
                                      </a:lnTo>
                                      <a:lnTo>
                                        <a:pt x="102" y="46"/>
                                      </a:lnTo>
                                      <a:lnTo>
                                        <a:pt x="98" y="44"/>
                                      </a:lnTo>
                                      <a:lnTo>
                                        <a:pt x="94" y="36"/>
                                      </a:lnTo>
                                      <a:lnTo>
                                        <a:pt x="92" y="30"/>
                                      </a:lnTo>
                                      <a:lnTo>
                                        <a:pt x="92" y="26"/>
                                      </a:lnTo>
                                      <a:lnTo>
                                        <a:pt x="94" y="26"/>
                                      </a:lnTo>
                                      <a:lnTo>
                                        <a:pt x="94" y="26"/>
                                      </a:lnTo>
                                      <a:lnTo>
                                        <a:pt x="90" y="30"/>
                                      </a:lnTo>
                                      <a:lnTo>
                                        <a:pt x="90" y="32"/>
                                      </a:lnTo>
                                      <a:lnTo>
                                        <a:pt x="88" y="34"/>
                                      </a:lnTo>
                                      <a:lnTo>
                                        <a:pt x="86" y="36"/>
                                      </a:lnTo>
                                      <a:lnTo>
                                        <a:pt x="86" y="36"/>
                                      </a:lnTo>
                                      <a:lnTo>
                                        <a:pt x="82" y="38"/>
                                      </a:lnTo>
                                      <a:lnTo>
                                        <a:pt x="78" y="40"/>
                                      </a:lnTo>
                                      <a:lnTo>
                                        <a:pt x="76" y="44"/>
                                      </a:lnTo>
                                      <a:lnTo>
                                        <a:pt x="66" y="46"/>
                                      </a:lnTo>
                                      <a:lnTo>
                                        <a:pt x="66" y="46"/>
                                      </a:lnTo>
                                      <a:lnTo>
                                        <a:pt x="58" y="46"/>
                                      </a:lnTo>
                                      <a:lnTo>
                                        <a:pt x="54" y="46"/>
                                      </a:lnTo>
                                      <a:lnTo>
                                        <a:pt x="52" y="44"/>
                                      </a:lnTo>
                                      <a:lnTo>
                                        <a:pt x="46" y="44"/>
                                      </a:lnTo>
                                      <a:lnTo>
                                        <a:pt x="46" y="44"/>
                                      </a:lnTo>
                                      <a:lnTo>
                                        <a:pt x="40" y="44"/>
                                      </a:lnTo>
                                      <a:lnTo>
                                        <a:pt x="38" y="42"/>
                                      </a:lnTo>
                                      <a:lnTo>
                                        <a:pt x="38" y="40"/>
                                      </a:lnTo>
                                      <a:lnTo>
                                        <a:pt x="34" y="38"/>
                                      </a:lnTo>
                                      <a:lnTo>
                                        <a:pt x="34" y="38"/>
                                      </a:lnTo>
                                      <a:lnTo>
                                        <a:pt x="32" y="36"/>
                                      </a:lnTo>
                                      <a:lnTo>
                                        <a:pt x="30" y="34"/>
                                      </a:lnTo>
                                      <a:lnTo>
                                        <a:pt x="28" y="28"/>
                                      </a:lnTo>
                                      <a:lnTo>
                                        <a:pt x="28" y="22"/>
                                      </a:lnTo>
                                      <a:lnTo>
                                        <a:pt x="30" y="16"/>
                                      </a:lnTo>
                                      <a:lnTo>
                                        <a:pt x="30" y="16"/>
                                      </a:lnTo>
                                      <a:lnTo>
                                        <a:pt x="32" y="14"/>
                                      </a:lnTo>
                                      <a:lnTo>
                                        <a:pt x="32" y="12"/>
                                      </a:lnTo>
                                      <a:lnTo>
                                        <a:pt x="30" y="8"/>
                                      </a:lnTo>
                                      <a:lnTo>
                                        <a:pt x="30" y="0"/>
                                      </a:lnTo>
                                      <a:lnTo>
                                        <a:pt x="30" y="0"/>
                                      </a:lnTo>
                                      <a:lnTo>
                                        <a:pt x="30" y="2"/>
                                      </a:lnTo>
                                      <a:lnTo>
                                        <a:pt x="26" y="4"/>
                                      </a:lnTo>
                                      <a:lnTo>
                                        <a:pt x="14" y="6"/>
                                      </a:lnTo>
                                      <a:lnTo>
                                        <a:pt x="8" y="10"/>
                                      </a:lnTo>
                                      <a:lnTo>
                                        <a:pt x="2" y="12"/>
                                      </a:lnTo>
                                      <a:lnTo>
                                        <a:pt x="0" y="16"/>
                                      </a:lnTo>
                                      <a:lnTo>
                                        <a:pt x="0" y="22"/>
                                      </a:lnTo>
                                      <a:lnTo>
                                        <a:pt x="0" y="22"/>
                                      </a:lnTo>
                                      <a:lnTo>
                                        <a:pt x="22" y="98"/>
                                      </a:lnTo>
                                      <a:lnTo>
                                        <a:pt x="22" y="9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3" name="Lesotho"/>
                                <p:cNvSpPr>
                                  <a:spLocks/>
                                </p:cNvSpPr>
                                <p:nvPr/>
                              </p:nvSpPr>
                              <p:spPr bwMode="auto">
                                <a:xfrm>
                                  <a:off x="6613740" y="4751172"/>
                                  <a:ext cx="72903" cy="72836"/>
                                </a:xfrm>
                                <a:custGeom>
                                  <a:avLst/>
                                  <a:gdLst/>
                                  <a:ahLst/>
                                  <a:cxnLst>
                                    <a:cxn ang="0">
                                      <a:pos x="38" y="2"/>
                                    </a:cxn>
                                    <a:cxn ang="0">
                                      <a:pos x="38" y="2"/>
                                    </a:cxn>
                                    <a:cxn ang="0">
                                      <a:pos x="26" y="0"/>
                                    </a:cxn>
                                    <a:cxn ang="0">
                                      <a:pos x="20" y="2"/>
                                    </a:cxn>
                                    <a:cxn ang="0">
                                      <a:pos x="14" y="8"/>
                                    </a:cxn>
                                    <a:cxn ang="0">
                                      <a:pos x="10" y="14"/>
                                    </a:cxn>
                                    <a:cxn ang="0">
                                      <a:pos x="10" y="14"/>
                                    </a:cxn>
                                    <a:cxn ang="0">
                                      <a:pos x="0" y="26"/>
                                    </a:cxn>
                                    <a:cxn ang="0">
                                      <a:pos x="0" y="30"/>
                                    </a:cxn>
                                    <a:cxn ang="0">
                                      <a:pos x="4" y="38"/>
                                    </a:cxn>
                                    <a:cxn ang="0">
                                      <a:pos x="4" y="38"/>
                                    </a:cxn>
                                    <a:cxn ang="0">
                                      <a:pos x="10" y="46"/>
                                    </a:cxn>
                                    <a:cxn ang="0">
                                      <a:pos x="16" y="48"/>
                                    </a:cxn>
                                    <a:cxn ang="0">
                                      <a:pos x="20" y="48"/>
                                    </a:cxn>
                                    <a:cxn ang="0">
                                      <a:pos x="24" y="44"/>
                                    </a:cxn>
                                    <a:cxn ang="0">
                                      <a:pos x="24" y="44"/>
                                    </a:cxn>
                                    <a:cxn ang="0">
                                      <a:pos x="28" y="38"/>
                                    </a:cxn>
                                    <a:cxn ang="0">
                                      <a:pos x="32" y="36"/>
                                    </a:cxn>
                                    <a:cxn ang="0">
                                      <a:pos x="38" y="34"/>
                                    </a:cxn>
                                    <a:cxn ang="0">
                                      <a:pos x="44" y="28"/>
                                    </a:cxn>
                                    <a:cxn ang="0">
                                      <a:pos x="44" y="28"/>
                                    </a:cxn>
                                    <a:cxn ang="0">
                                      <a:pos x="48" y="22"/>
                                    </a:cxn>
                                    <a:cxn ang="0">
                                      <a:pos x="48" y="18"/>
                                    </a:cxn>
                                    <a:cxn ang="0">
                                      <a:pos x="48" y="14"/>
                                    </a:cxn>
                                    <a:cxn ang="0">
                                      <a:pos x="48" y="14"/>
                                    </a:cxn>
                                    <a:cxn ang="0">
                                      <a:pos x="46" y="6"/>
                                    </a:cxn>
                                    <a:cxn ang="0">
                                      <a:pos x="42" y="4"/>
                                    </a:cxn>
                                    <a:cxn ang="0">
                                      <a:pos x="38" y="2"/>
                                    </a:cxn>
                                    <a:cxn ang="0">
                                      <a:pos x="38" y="2"/>
                                    </a:cxn>
                                  </a:cxnLst>
                                  <a:rect l="0" t="0" r="r" b="b"/>
                                  <a:pathLst>
                                    <a:path w="48" h="48">
                                      <a:moveTo>
                                        <a:pt x="38" y="2"/>
                                      </a:moveTo>
                                      <a:lnTo>
                                        <a:pt x="38" y="2"/>
                                      </a:lnTo>
                                      <a:lnTo>
                                        <a:pt x="26" y="0"/>
                                      </a:lnTo>
                                      <a:lnTo>
                                        <a:pt x="20" y="2"/>
                                      </a:lnTo>
                                      <a:lnTo>
                                        <a:pt x="14" y="8"/>
                                      </a:lnTo>
                                      <a:lnTo>
                                        <a:pt x="10" y="14"/>
                                      </a:lnTo>
                                      <a:lnTo>
                                        <a:pt x="10" y="14"/>
                                      </a:lnTo>
                                      <a:lnTo>
                                        <a:pt x="0" y="26"/>
                                      </a:lnTo>
                                      <a:lnTo>
                                        <a:pt x="0" y="30"/>
                                      </a:lnTo>
                                      <a:lnTo>
                                        <a:pt x="4" y="38"/>
                                      </a:lnTo>
                                      <a:lnTo>
                                        <a:pt x="4" y="38"/>
                                      </a:lnTo>
                                      <a:lnTo>
                                        <a:pt x="10" y="46"/>
                                      </a:lnTo>
                                      <a:lnTo>
                                        <a:pt x="16" y="48"/>
                                      </a:lnTo>
                                      <a:lnTo>
                                        <a:pt x="20" y="48"/>
                                      </a:lnTo>
                                      <a:lnTo>
                                        <a:pt x="24" y="44"/>
                                      </a:lnTo>
                                      <a:lnTo>
                                        <a:pt x="24" y="44"/>
                                      </a:lnTo>
                                      <a:lnTo>
                                        <a:pt x="28" y="38"/>
                                      </a:lnTo>
                                      <a:lnTo>
                                        <a:pt x="32" y="36"/>
                                      </a:lnTo>
                                      <a:lnTo>
                                        <a:pt x="38" y="34"/>
                                      </a:lnTo>
                                      <a:lnTo>
                                        <a:pt x="44" y="28"/>
                                      </a:lnTo>
                                      <a:lnTo>
                                        <a:pt x="44" y="28"/>
                                      </a:lnTo>
                                      <a:lnTo>
                                        <a:pt x="48" y="22"/>
                                      </a:lnTo>
                                      <a:lnTo>
                                        <a:pt x="48" y="18"/>
                                      </a:lnTo>
                                      <a:lnTo>
                                        <a:pt x="48" y="14"/>
                                      </a:lnTo>
                                      <a:lnTo>
                                        <a:pt x="48" y="14"/>
                                      </a:lnTo>
                                      <a:lnTo>
                                        <a:pt x="46" y="6"/>
                                      </a:lnTo>
                                      <a:lnTo>
                                        <a:pt x="42" y="4"/>
                                      </a:lnTo>
                                      <a:lnTo>
                                        <a:pt x="38" y="2"/>
                                      </a:lnTo>
                                      <a:lnTo>
                                        <a:pt x="38" y="2"/>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sp>
                        <p:nvSpPr>
                          <p:cNvPr id="542" name="Freeform 195"/>
                          <p:cNvSpPr>
                            <a:spLocks/>
                          </p:cNvSpPr>
                          <p:nvPr/>
                        </p:nvSpPr>
                        <p:spPr bwMode="auto">
                          <a:xfrm>
                            <a:off x="10278934" y="3780270"/>
                            <a:ext cx="306802" cy="306518"/>
                          </a:xfrm>
                          <a:custGeom>
                            <a:avLst/>
                            <a:gdLst/>
                            <a:ahLst/>
                            <a:cxnLst>
                              <a:cxn ang="0">
                                <a:pos x="10" y="168"/>
                              </a:cxn>
                              <a:cxn ang="0">
                                <a:pos x="22" y="162"/>
                              </a:cxn>
                              <a:cxn ang="0">
                                <a:pos x="38" y="164"/>
                              </a:cxn>
                              <a:cxn ang="0">
                                <a:pos x="50" y="154"/>
                              </a:cxn>
                              <a:cxn ang="0">
                                <a:pos x="24" y="150"/>
                              </a:cxn>
                              <a:cxn ang="0">
                                <a:pos x="16" y="140"/>
                              </a:cxn>
                              <a:cxn ang="0">
                                <a:pos x="26" y="146"/>
                              </a:cxn>
                              <a:cxn ang="0">
                                <a:pos x="40" y="148"/>
                              </a:cxn>
                              <a:cxn ang="0">
                                <a:pos x="42" y="142"/>
                              </a:cxn>
                              <a:cxn ang="0">
                                <a:pos x="56" y="142"/>
                              </a:cxn>
                              <a:cxn ang="0">
                                <a:pos x="48" y="130"/>
                              </a:cxn>
                              <a:cxn ang="0">
                                <a:pos x="54" y="134"/>
                              </a:cxn>
                              <a:cxn ang="0">
                                <a:pos x="52" y="128"/>
                              </a:cxn>
                              <a:cxn ang="0">
                                <a:pos x="66" y="126"/>
                              </a:cxn>
                              <a:cxn ang="0">
                                <a:pos x="74" y="126"/>
                              </a:cxn>
                              <a:cxn ang="0">
                                <a:pos x="82" y="128"/>
                              </a:cxn>
                              <a:cxn ang="0">
                                <a:pos x="102" y="140"/>
                              </a:cxn>
                              <a:cxn ang="0">
                                <a:pos x="110" y="156"/>
                              </a:cxn>
                              <a:cxn ang="0">
                                <a:pos x="114" y="160"/>
                              </a:cxn>
                              <a:cxn ang="0">
                                <a:pos x="116" y="162"/>
                              </a:cxn>
                              <a:cxn ang="0">
                                <a:pos x="124" y="172"/>
                              </a:cxn>
                              <a:cxn ang="0">
                                <a:pos x="128" y="176"/>
                              </a:cxn>
                              <a:cxn ang="0">
                                <a:pos x="138" y="188"/>
                              </a:cxn>
                              <a:cxn ang="0">
                                <a:pos x="164" y="192"/>
                              </a:cxn>
                              <a:cxn ang="0">
                                <a:pos x="184" y="198"/>
                              </a:cxn>
                              <a:cxn ang="0">
                                <a:pos x="194" y="198"/>
                              </a:cxn>
                              <a:cxn ang="0">
                                <a:pos x="198" y="196"/>
                              </a:cxn>
                              <a:cxn ang="0">
                                <a:pos x="194" y="192"/>
                              </a:cxn>
                              <a:cxn ang="0">
                                <a:pos x="180" y="184"/>
                              </a:cxn>
                              <a:cxn ang="0">
                                <a:pos x="186" y="178"/>
                              </a:cxn>
                              <a:cxn ang="0">
                                <a:pos x="172" y="170"/>
                              </a:cxn>
                              <a:cxn ang="0">
                                <a:pos x="170" y="160"/>
                              </a:cxn>
                              <a:cxn ang="0">
                                <a:pos x="162" y="156"/>
                              </a:cxn>
                              <a:cxn ang="0">
                                <a:pos x="160" y="150"/>
                              </a:cxn>
                              <a:cxn ang="0">
                                <a:pos x="156" y="138"/>
                              </a:cxn>
                              <a:cxn ang="0">
                                <a:pos x="150" y="134"/>
                              </a:cxn>
                              <a:cxn ang="0">
                                <a:pos x="146" y="122"/>
                              </a:cxn>
                              <a:cxn ang="0">
                                <a:pos x="142" y="116"/>
                              </a:cxn>
                              <a:cxn ang="0">
                                <a:pos x="136" y="110"/>
                              </a:cxn>
                              <a:cxn ang="0">
                                <a:pos x="136" y="98"/>
                              </a:cxn>
                              <a:cxn ang="0">
                                <a:pos x="144" y="96"/>
                              </a:cxn>
                              <a:cxn ang="0">
                                <a:pos x="152" y="96"/>
                              </a:cxn>
                              <a:cxn ang="0">
                                <a:pos x="148" y="84"/>
                              </a:cxn>
                              <a:cxn ang="0">
                                <a:pos x="118" y="70"/>
                              </a:cxn>
                              <a:cxn ang="0">
                                <a:pos x="114" y="66"/>
                              </a:cxn>
                              <a:cxn ang="0">
                                <a:pos x="106" y="64"/>
                              </a:cxn>
                              <a:cxn ang="0">
                                <a:pos x="106" y="58"/>
                              </a:cxn>
                              <a:cxn ang="0">
                                <a:pos x="104" y="48"/>
                              </a:cxn>
                              <a:cxn ang="0">
                                <a:pos x="94" y="40"/>
                              </a:cxn>
                              <a:cxn ang="0">
                                <a:pos x="90" y="36"/>
                              </a:cxn>
                              <a:cxn ang="0">
                                <a:pos x="72" y="28"/>
                              </a:cxn>
                              <a:cxn ang="0">
                                <a:pos x="50" y="16"/>
                              </a:cxn>
                              <a:cxn ang="0">
                                <a:pos x="16" y="0"/>
                              </a:cxn>
                              <a:cxn ang="0">
                                <a:pos x="0" y="164"/>
                              </a:cxn>
                            </a:cxnLst>
                            <a:rect l="0" t="0" r="r" b="b"/>
                            <a:pathLst>
                              <a:path w="202" h="202">
                                <a:moveTo>
                                  <a:pt x="0" y="164"/>
                                </a:moveTo>
                                <a:lnTo>
                                  <a:pt x="0" y="164"/>
                                </a:lnTo>
                                <a:lnTo>
                                  <a:pt x="4" y="164"/>
                                </a:lnTo>
                                <a:lnTo>
                                  <a:pt x="8" y="166"/>
                                </a:lnTo>
                                <a:lnTo>
                                  <a:pt x="10" y="168"/>
                                </a:lnTo>
                                <a:lnTo>
                                  <a:pt x="16" y="168"/>
                                </a:lnTo>
                                <a:lnTo>
                                  <a:pt x="16" y="168"/>
                                </a:lnTo>
                                <a:lnTo>
                                  <a:pt x="20" y="166"/>
                                </a:lnTo>
                                <a:lnTo>
                                  <a:pt x="20" y="164"/>
                                </a:lnTo>
                                <a:lnTo>
                                  <a:pt x="22" y="162"/>
                                </a:lnTo>
                                <a:lnTo>
                                  <a:pt x="26" y="166"/>
                                </a:lnTo>
                                <a:lnTo>
                                  <a:pt x="26" y="166"/>
                                </a:lnTo>
                                <a:lnTo>
                                  <a:pt x="32" y="168"/>
                                </a:lnTo>
                                <a:lnTo>
                                  <a:pt x="36" y="166"/>
                                </a:lnTo>
                                <a:lnTo>
                                  <a:pt x="38" y="164"/>
                                </a:lnTo>
                                <a:lnTo>
                                  <a:pt x="44" y="162"/>
                                </a:lnTo>
                                <a:lnTo>
                                  <a:pt x="44" y="162"/>
                                </a:lnTo>
                                <a:lnTo>
                                  <a:pt x="48" y="160"/>
                                </a:lnTo>
                                <a:lnTo>
                                  <a:pt x="50" y="156"/>
                                </a:lnTo>
                                <a:lnTo>
                                  <a:pt x="50" y="154"/>
                                </a:lnTo>
                                <a:lnTo>
                                  <a:pt x="48" y="152"/>
                                </a:lnTo>
                                <a:lnTo>
                                  <a:pt x="40" y="152"/>
                                </a:lnTo>
                                <a:lnTo>
                                  <a:pt x="40" y="152"/>
                                </a:lnTo>
                                <a:lnTo>
                                  <a:pt x="28" y="152"/>
                                </a:lnTo>
                                <a:lnTo>
                                  <a:pt x="24" y="150"/>
                                </a:lnTo>
                                <a:lnTo>
                                  <a:pt x="22" y="146"/>
                                </a:lnTo>
                                <a:lnTo>
                                  <a:pt x="22" y="146"/>
                                </a:lnTo>
                                <a:lnTo>
                                  <a:pt x="20" y="144"/>
                                </a:lnTo>
                                <a:lnTo>
                                  <a:pt x="18" y="142"/>
                                </a:lnTo>
                                <a:lnTo>
                                  <a:pt x="16" y="140"/>
                                </a:lnTo>
                                <a:lnTo>
                                  <a:pt x="14" y="138"/>
                                </a:lnTo>
                                <a:lnTo>
                                  <a:pt x="14" y="138"/>
                                </a:lnTo>
                                <a:lnTo>
                                  <a:pt x="22" y="142"/>
                                </a:lnTo>
                                <a:lnTo>
                                  <a:pt x="24" y="142"/>
                                </a:lnTo>
                                <a:lnTo>
                                  <a:pt x="26" y="146"/>
                                </a:lnTo>
                                <a:lnTo>
                                  <a:pt x="26" y="146"/>
                                </a:lnTo>
                                <a:lnTo>
                                  <a:pt x="28" y="148"/>
                                </a:lnTo>
                                <a:lnTo>
                                  <a:pt x="32" y="148"/>
                                </a:lnTo>
                                <a:lnTo>
                                  <a:pt x="40" y="148"/>
                                </a:lnTo>
                                <a:lnTo>
                                  <a:pt x="40" y="148"/>
                                </a:lnTo>
                                <a:lnTo>
                                  <a:pt x="50" y="150"/>
                                </a:lnTo>
                                <a:lnTo>
                                  <a:pt x="48" y="148"/>
                                </a:lnTo>
                                <a:lnTo>
                                  <a:pt x="48" y="148"/>
                                </a:lnTo>
                                <a:lnTo>
                                  <a:pt x="42" y="144"/>
                                </a:lnTo>
                                <a:lnTo>
                                  <a:pt x="42" y="142"/>
                                </a:lnTo>
                                <a:lnTo>
                                  <a:pt x="44" y="144"/>
                                </a:lnTo>
                                <a:lnTo>
                                  <a:pt x="44" y="144"/>
                                </a:lnTo>
                                <a:lnTo>
                                  <a:pt x="50" y="144"/>
                                </a:lnTo>
                                <a:lnTo>
                                  <a:pt x="54" y="144"/>
                                </a:lnTo>
                                <a:lnTo>
                                  <a:pt x="56" y="142"/>
                                </a:lnTo>
                                <a:lnTo>
                                  <a:pt x="52" y="138"/>
                                </a:lnTo>
                                <a:lnTo>
                                  <a:pt x="52" y="138"/>
                                </a:lnTo>
                                <a:lnTo>
                                  <a:pt x="50" y="134"/>
                                </a:lnTo>
                                <a:lnTo>
                                  <a:pt x="48" y="132"/>
                                </a:lnTo>
                                <a:lnTo>
                                  <a:pt x="48" y="130"/>
                                </a:lnTo>
                                <a:lnTo>
                                  <a:pt x="44" y="130"/>
                                </a:lnTo>
                                <a:lnTo>
                                  <a:pt x="44" y="130"/>
                                </a:lnTo>
                                <a:lnTo>
                                  <a:pt x="50" y="130"/>
                                </a:lnTo>
                                <a:lnTo>
                                  <a:pt x="52" y="132"/>
                                </a:lnTo>
                                <a:lnTo>
                                  <a:pt x="54" y="134"/>
                                </a:lnTo>
                                <a:lnTo>
                                  <a:pt x="58" y="136"/>
                                </a:lnTo>
                                <a:lnTo>
                                  <a:pt x="58" y="136"/>
                                </a:lnTo>
                                <a:lnTo>
                                  <a:pt x="60" y="134"/>
                                </a:lnTo>
                                <a:lnTo>
                                  <a:pt x="58" y="132"/>
                                </a:lnTo>
                                <a:lnTo>
                                  <a:pt x="52" y="128"/>
                                </a:lnTo>
                                <a:lnTo>
                                  <a:pt x="52" y="128"/>
                                </a:lnTo>
                                <a:lnTo>
                                  <a:pt x="60" y="130"/>
                                </a:lnTo>
                                <a:lnTo>
                                  <a:pt x="60" y="126"/>
                                </a:lnTo>
                                <a:lnTo>
                                  <a:pt x="60" y="126"/>
                                </a:lnTo>
                                <a:lnTo>
                                  <a:pt x="66" y="126"/>
                                </a:lnTo>
                                <a:lnTo>
                                  <a:pt x="68" y="124"/>
                                </a:lnTo>
                                <a:lnTo>
                                  <a:pt x="68" y="124"/>
                                </a:lnTo>
                                <a:lnTo>
                                  <a:pt x="72" y="128"/>
                                </a:lnTo>
                                <a:lnTo>
                                  <a:pt x="74" y="126"/>
                                </a:lnTo>
                                <a:lnTo>
                                  <a:pt x="74" y="126"/>
                                </a:lnTo>
                                <a:lnTo>
                                  <a:pt x="78" y="124"/>
                                </a:lnTo>
                                <a:lnTo>
                                  <a:pt x="78" y="124"/>
                                </a:lnTo>
                                <a:lnTo>
                                  <a:pt x="80" y="126"/>
                                </a:lnTo>
                                <a:lnTo>
                                  <a:pt x="82" y="128"/>
                                </a:lnTo>
                                <a:lnTo>
                                  <a:pt x="82" y="128"/>
                                </a:lnTo>
                                <a:lnTo>
                                  <a:pt x="88" y="134"/>
                                </a:lnTo>
                                <a:lnTo>
                                  <a:pt x="90" y="134"/>
                                </a:lnTo>
                                <a:lnTo>
                                  <a:pt x="96" y="136"/>
                                </a:lnTo>
                                <a:lnTo>
                                  <a:pt x="96" y="136"/>
                                </a:lnTo>
                                <a:lnTo>
                                  <a:pt x="102" y="140"/>
                                </a:lnTo>
                                <a:lnTo>
                                  <a:pt x="108" y="146"/>
                                </a:lnTo>
                                <a:lnTo>
                                  <a:pt x="110" y="152"/>
                                </a:lnTo>
                                <a:lnTo>
                                  <a:pt x="110" y="154"/>
                                </a:lnTo>
                                <a:lnTo>
                                  <a:pt x="110" y="156"/>
                                </a:lnTo>
                                <a:lnTo>
                                  <a:pt x="110" y="156"/>
                                </a:lnTo>
                                <a:lnTo>
                                  <a:pt x="108" y="158"/>
                                </a:lnTo>
                                <a:lnTo>
                                  <a:pt x="110" y="160"/>
                                </a:lnTo>
                                <a:lnTo>
                                  <a:pt x="112" y="162"/>
                                </a:lnTo>
                                <a:lnTo>
                                  <a:pt x="114" y="160"/>
                                </a:lnTo>
                                <a:lnTo>
                                  <a:pt x="114" y="160"/>
                                </a:lnTo>
                                <a:lnTo>
                                  <a:pt x="116" y="160"/>
                                </a:lnTo>
                                <a:lnTo>
                                  <a:pt x="118" y="160"/>
                                </a:lnTo>
                                <a:lnTo>
                                  <a:pt x="118" y="160"/>
                                </a:lnTo>
                                <a:lnTo>
                                  <a:pt x="116" y="162"/>
                                </a:lnTo>
                                <a:lnTo>
                                  <a:pt x="116" y="162"/>
                                </a:lnTo>
                                <a:lnTo>
                                  <a:pt x="116" y="164"/>
                                </a:lnTo>
                                <a:lnTo>
                                  <a:pt x="116" y="168"/>
                                </a:lnTo>
                                <a:lnTo>
                                  <a:pt x="118" y="172"/>
                                </a:lnTo>
                                <a:lnTo>
                                  <a:pt x="124" y="172"/>
                                </a:lnTo>
                                <a:lnTo>
                                  <a:pt x="124" y="172"/>
                                </a:lnTo>
                                <a:lnTo>
                                  <a:pt x="126" y="170"/>
                                </a:lnTo>
                                <a:lnTo>
                                  <a:pt x="126" y="170"/>
                                </a:lnTo>
                                <a:lnTo>
                                  <a:pt x="126" y="172"/>
                                </a:lnTo>
                                <a:lnTo>
                                  <a:pt x="128" y="176"/>
                                </a:lnTo>
                                <a:lnTo>
                                  <a:pt x="128" y="176"/>
                                </a:lnTo>
                                <a:lnTo>
                                  <a:pt x="130" y="182"/>
                                </a:lnTo>
                                <a:lnTo>
                                  <a:pt x="130" y="186"/>
                                </a:lnTo>
                                <a:lnTo>
                                  <a:pt x="132" y="186"/>
                                </a:lnTo>
                                <a:lnTo>
                                  <a:pt x="138" y="188"/>
                                </a:lnTo>
                                <a:lnTo>
                                  <a:pt x="138" y="188"/>
                                </a:lnTo>
                                <a:lnTo>
                                  <a:pt x="150" y="190"/>
                                </a:lnTo>
                                <a:lnTo>
                                  <a:pt x="156" y="190"/>
                                </a:lnTo>
                                <a:lnTo>
                                  <a:pt x="160" y="190"/>
                                </a:lnTo>
                                <a:lnTo>
                                  <a:pt x="164" y="192"/>
                                </a:lnTo>
                                <a:lnTo>
                                  <a:pt x="164" y="192"/>
                                </a:lnTo>
                                <a:lnTo>
                                  <a:pt x="168" y="194"/>
                                </a:lnTo>
                                <a:lnTo>
                                  <a:pt x="172" y="196"/>
                                </a:lnTo>
                                <a:lnTo>
                                  <a:pt x="186" y="196"/>
                                </a:lnTo>
                                <a:lnTo>
                                  <a:pt x="186" y="196"/>
                                </a:lnTo>
                                <a:lnTo>
                                  <a:pt x="184" y="198"/>
                                </a:lnTo>
                                <a:lnTo>
                                  <a:pt x="186" y="200"/>
                                </a:lnTo>
                                <a:lnTo>
                                  <a:pt x="196" y="202"/>
                                </a:lnTo>
                                <a:lnTo>
                                  <a:pt x="196" y="202"/>
                                </a:lnTo>
                                <a:lnTo>
                                  <a:pt x="196" y="200"/>
                                </a:lnTo>
                                <a:lnTo>
                                  <a:pt x="194" y="198"/>
                                </a:lnTo>
                                <a:lnTo>
                                  <a:pt x="192" y="198"/>
                                </a:lnTo>
                                <a:lnTo>
                                  <a:pt x="192" y="196"/>
                                </a:lnTo>
                                <a:lnTo>
                                  <a:pt x="192" y="196"/>
                                </a:lnTo>
                                <a:lnTo>
                                  <a:pt x="192" y="196"/>
                                </a:lnTo>
                                <a:lnTo>
                                  <a:pt x="198" y="196"/>
                                </a:lnTo>
                                <a:lnTo>
                                  <a:pt x="202" y="194"/>
                                </a:lnTo>
                                <a:lnTo>
                                  <a:pt x="202" y="194"/>
                                </a:lnTo>
                                <a:lnTo>
                                  <a:pt x="202" y="194"/>
                                </a:lnTo>
                                <a:lnTo>
                                  <a:pt x="198" y="194"/>
                                </a:lnTo>
                                <a:lnTo>
                                  <a:pt x="194" y="192"/>
                                </a:lnTo>
                                <a:lnTo>
                                  <a:pt x="190" y="190"/>
                                </a:lnTo>
                                <a:lnTo>
                                  <a:pt x="190" y="190"/>
                                </a:lnTo>
                                <a:lnTo>
                                  <a:pt x="186" y="188"/>
                                </a:lnTo>
                                <a:lnTo>
                                  <a:pt x="182" y="186"/>
                                </a:lnTo>
                                <a:lnTo>
                                  <a:pt x="180" y="184"/>
                                </a:lnTo>
                                <a:lnTo>
                                  <a:pt x="184" y="182"/>
                                </a:lnTo>
                                <a:lnTo>
                                  <a:pt x="184" y="182"/>
                                </a:lnTo>
                                <a:lnTo>
                                  <a:pt x="188" y="182"/>
                                </a:lnTo>
                                <a:lnTo>
                                  <a:pt x="188" y="180"/>
                                </a:lnTo>
                                <a:lnTo>
                                  <a:pt x="186" y="178"/>
                                </a:lnTo>
                                <a:lnTo>
                                  <a:pt x="180" y="176"/>
                                </a:lnTo>
                                <a:lnTo>
                                  <a:pt x="180" y="176"/>
                                </a:lnTo>
                                <a:lnTo>
                                  <a:pt x="176" y="176"/>
                                </a:lnTo>
                                <a:lnTo>
                                  <a:pt x="172" y="174"/>
                                </a:lnTo>
                                <a:lnTo>
                                  <a:pt x="172" y="170"/>
                                </a:lnTo>
                                <a:lnTo>
                                  <a:pt x="174" y="166"/>
                                </a:lnTo>
                                <a:lnTo>
                                  <a:pt x="174" y="166"/>
                                </a:lnTo>
                                <a:lnTo>
                                  <a:pt x="174" y="164"/>
                                </a:lnTo>
                                <a:lnTo>
                                  <a:pt x="174" y="162"/>
                                </a:lnTo>
                                <a:lnTo>
                                  <a:pt x="170" y="160"/>
                                </a:lnTo>
                                <a:lnTo>
                                  <a:pt x="166" y="162"/>
                                </a:lnTo>
                                <a:lnTo>
                                  <a:pt x="166" y="162"/>
                                </a:lnTo>
                                <a:lnTo>
                                  <a:pt x="164" y="162"/>
                                </a:lnTo>
                                <a:lnTo>
                                  <a:pt x="164" y="158"/>
                                </a:lnTo>
                                <a:lnTo>
                                  <a:pt x="162" y="156"/>
                                </a:lnTo>
                                <a:lnTo>
                                  <a:pt x="160" y="154"/>
                                </a:lnTo>
                                <a:lnTo>
                                  <a:pt x="160" y="154"/>
                                </a:lnTo>
                                <a:lnTo>
                                  <a:pt x="158" y="152"/>
                                </a:lnTo>
                                <a:lnTo>
                                  <a:pt x="158" y="152"/>
                                </a:lnTo>
                                <a:lnTo>
                                  <a:pt x="160" y="150"/>
                                </a:lnTo>
                                <a:lnTo>
                                  <a:pt x="158" y="148"/>
                                </a:lnTo>
                                <a:lnTo>
                                  <a:pt x="158" y="148"/>
                                </a:lnTo>
                                <a:lnTo>
                                  <a:pt x="158" y="144"/>
                                </a:lnTo>
                                <a:lnTo>
                                  <a:pt x="158" y="140"/>
                                </a:lnTo>
                                <a:lnTo>
                                  <a:pt x="156" y="138"/>
                                </a:lnTo>
                                <a:lnTo>
                                  <a:pt x="154" y="138"/>
                                </a:lnTo>
                                <a:lnTo>
                                  <a:pt x="154" y="138"/>
                                </a:lnTo>
                                <a:lnTo>
                                  <a:pt x="152" y="136"/>
                                </a:lnTo>
                                <a:lnTo>
                                  <a:pt x="150" y="134"/>
                                </a:lnTo>
                                <a:lnTo>
                                  <a:pt x="150" y="134"/>
                                </a:lnTo>
                                <a:lnTo>
                                  <a:pt x="148" y="132"/>
                                </a:lnTo>
                                <a:lnTo>
                                  <a:pt x="148" y="132"/>
                                </a:lnTo>
                                <a:lnTo>
                                  <a:pt x="146" y="128"/>
                                </a:lnTo>
                                <a:lnTo>
                                  <a:pt x="146" y="124"/>
                                </a:lnTo>
                                <a:lnTo>
                                  <a:pt x="146" y="122"/>
                                </a:lnTo>
                                <a:lnTo>
                                  <a:pt x="144" y="120"/>
                                </a:lnTo>
                                <a:lnTo>
                                  <a:pt x="144" y="120"/>
                                </a:lnTo>
                                <a:lnTo>
                                  <a:pt x="144" y="122"/>
                                </a:lnTo>
                                <a:lnTo>
                                  <a:pt x="142" y="120"/>
                                </a:lnTo>
                                <a:lnTo>
                                  <a:pt x="142" y="116"/>
                                </a:lnTo>
                                <a:lnTo>
                                  <a:pt x="142" y="112"/>
                                </a:lnTo>
                                <a:lnTo>
                                  <a:pt x="140" y="110"/>
                                </a:lnTo>
                                <a:lnTo>
                                  <a:pt x="138" y="110"/>
                                </a:lnTo>
                                <a:lnTo>
                                  <a:pt x="138" y="110"/>
                                </a:lnTo>
                                <a:lnTo>
                                  <a:pt x="136" y="110"/>
                                </a:lnTo>
                                <a:lnTo>
                                  <a:pt x="136" y="106"/>
                                </a:lnTo>
                                <a:lnTo>
                                  <a:pt x="136" y="102"/>
                                </a:lnTo>
                                <a:lnTo>
                                  <a:pt x="136" y="98"/>
                                </a:lnTo>
                                <a:lnTo>
                                  <a:pt x="136" y="98"/>
                                </a:lnTo>
                                <a:lnTo>
                                  <a:pt x="136" y="98"/>
                                </a:lnTo>
                                <a:lnTo>
                                  <a:pt x="136" y="98"/>
                                </a:lnTo>
                                <a:lnTo>
                                  <a:pt x="140" y="98"/>
                                </a:lnTo>
                                <a:lnTo>
                                  <a:pt x="144" y="98"/>
                                </a:lnTo>
                                <a:lnTo>
                                  <a:pt x="144" y="98"/>
                                </a:lnTo>
                                <a:lnTo>
                                  <a:pt x="144" y="96"/>
                                </a:lnTo>
                                <a:lnTo>
                                  <a:pt x="144" y="96"/>
                                </a:lnTo>
                                <a:lnTo>
                                  <a:pt x="144" y="96"/>
                                </a:lnTo>
                                <a:lnTo>
                                  <a:pt x="146" y="96"/>
                                </a:lnTo>
                                <a:lnTo>
                                  <a:pt x="148" y="98"/>
                                </a:lnTo>
                                <a:lnTo>
                                  <a:pt x="152" y="96"/>
                                </a:lnTo>
                                <a:lnTo>
                                  <a:pt x="152" y="94"/>
                                </a:lnTo>
                                <a:lnTo>
                                  <a:pt x="152" y="90"/>
                                </a:lnTo>
                                <a:lnTo>
                                  <a:pt x="152" y="90"/>
                                </a:lnTo>
                                <a:lnTo>
                                  <a:pt x="150" y="86"/>
                                </a:lnTo>
                                <a:lnTo>
                                  <a:pt x="148" y="84"/>
                                </a:lnTo>
                                <a:lnTo>
                                  <a:pt x="138" y="80"/>
                                </a:lnTo>
                                <a:lnTo>
                                  <a:pt x="130" y="76"/>
                                </a:lnTo>
                                <a:lnTo>
                                  <a:pt x="122" y="72"/>
                                </a:lnTo>
                                <a:lnTo>
                                  <a:pt x="122" y="72"/>
                                </a:lnTo>
                                <a:lnTo>
                                  <a:pt x="118" y="70"/>
                                </a:lnTo>
                                <a:lnTo>
                                  <a:pt x="116" y="70"/>
                                </a:lnTo>
                                <a:lnTo>
                                  <a:pt x="114" y="70"/>
                                </a:lnTo>
                                <a:lnTo>
                                  <a:pt x="114" y="68"/>
                                </a:lnTo>
                                <a:lnTo>
                                  <a:pt x="114" y="68"/>
                                </a:lnTo>
                                <a:lnTo>
                                  <a:pt x="114" y="66"/>
                                </a:lnTo>
                                <a:lnTo>
                                  <a:pt x="112" y="66"/>
                                </a:lnTo>
                                <a:lnTo>
                                  <a:pt x="110" y="66"/>
                                </a:lnTo>
                                <a:lnTo>
                                  <a:pt x="108" y="66"/>
                                </a:lnTo>
                                <a:lnTo>
                                  <a:pt x="108" y="66"/>
                                </a:lnTo>
                                <a:lnTo>
                                  <a:pt x="106" y="64"/>
                                </a:lnTo>
                                <a:lnTo>
                                  <a:pt x="104" y="64"/>
                                </a:lnTo>
                                <a:lnTo>
                                  <a:pt x="102" y="64"/>
                                </a:lnTo>
                                <a:lnTo>
                                  <a:pt x="104" y="60"/>
                                </a:lnTo>
                                <a:lnTo>
                                  <a:pt x="104" y="60"/>
                                </a:lnTo>
                                <a:lnTo>
                                  <a:pt x="106" y="58"/>
                                </a:lnTo>
                                <a:lnTo>
                                  <a:pt x="106" y="56"/>
                                </a:lnTo>
                                <a:lnTo>
                                  <a:pt x="106" y="54"/>
                                </a:lnTo>
                                <a:lnTo>
                                  <a:pt x="104" y="50"/>
                                </a:lnTo>
                                <a:lnTo>
                                  <a:pt x="104" y="50"/>
                                </a:lnTo>
                                <a:lnTo>
                                  <a:pt x="104" y="48"/>
                                </a:lnTo>
                                <a:lnTo>
                                  <a:pt x="102" y="48"/>
                                </a:lnTo>
                                <a:lnTo>
                                  <a:pt x="100" y="46"/>
                                </a:lnTo>
                                <a:lnTo>
                                  <a:pt x="96" y="44"/>
                                </a:lnTo>
                                <a:lnTo>
                                  <a:pt x="96" y="44"/>
                                </a:lnTo>
                                <a:lnTo>
                                  <a:pt x="94" y="40"/>
                                </a:lnTo>
                                <a:lnTo>
                                  <a:pt x="92" y="40"/>
                                </a:lnTo>
                                <a:lnTo>
                                  <a:pt x="92" y="40"/>
                                </a:lnTo>
                                <a:lnTo>
                                  <a:pt x="90" y="38"/>
                                </a:lnTo>
                                <a:lnTo>
                                  <a:pt x="90" y="38"/>
                                </a:lnTo>
                                <a:lnTo>
                                  <a:pt x="90" y="36"/>
                                </a:lnTo>
                                <a:lnTo>
                                  <a:pt x="88" y="34"/>
                                </a:lnTo>
                                <a:lnTo>
                                  <a:pt x="84" y="34"/>
                                </a:lnTo>
                                <a:lnTo>
                                  <a:pt x="78" y="32"/>
                                </a:lnTo>
                                <a:lnTo>
                                  <a:pt x="76" y="32"/>
                                </a:lnTo>
                                <a:lnTo>
                                  <a:pt x="72" y="28"/>
                                </a:lnTo>
                                <a:lnTo>
                                  <a:pt x="72" y="28"/>
                                </a:lnTo>
                                <a:lnTo>
                                  <a:pt x="68" y="22"/>
                                </a:lnTo>
                                <a:lnTo>
                                  <a:pt x="64" y="20"/>
                                </a:lnTo>
                                <a:lnTo>
                                  <a:pt x="56" y="16"/>
                                </a:lnTo>
                                <a:lnTo>
                                  <a:pt x="50" y="16"/>
                                </a:lnTo>
                                <a:lnTo>
                                  <a:pt x="46" y="14"/>
                                </a:lnTo>
                                <a:lnTo>
                                  <a:pt x="46" y="14"/>
                                </a:lnTo>
                                <a:lnTo>
                                  <a:pt x="40" y="10"/>
                                </a:lnTo>
                                <a:lnTo>
                                  <a:pt x="32" y="6"/>
                                </a:lnTo>
                                <a:lnTo>
                                  <a:pt x="16" y="0"/>
                                </a:lnTo>
                                <a:lnTo>
                                  <a:pt x="16" y="0"/>
                                </a:lnTo>
                                <a:lnTo>
                                  <a:pt x="12" y="52"/>
                                </a:lnTo>
                                <a:lnTo>
                                  <a:pt x="8" y="98"/>
                                </a:lnTo>
                                <a:lnTo>
                                  <a:pt x="0" y="164"/>
                                </a:lnTo>
                                <a:lnTo>
                                  <a:pt x="0" y="16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569" name="APOLLO BLOCK"/>
                        <p:cNvSpPr/>
                        <p:nvPr/>
                      </p:nvSpPr>
                      <p:spPr>
                        <a:xfrm>
                          <a:off x="7852963" y="5904910"/>
                          <a:ext cx="2396023" cy="68312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800" b="1" dirty="0">
                              <a:solidFill>
                                <a:schemeClr val="tx1">
                                  <a:alpha val="99000"/>
                                </a:schemeClr>
                              </a:solidFill>
                            </a:rPr>
                            <a:t>180+ Countries</a:t>
                          </a:r>
                        </a:p>
                        <a:p>
                          <a:pPr algn="ctr"/>
                          <a:r>
                            <a:rPr lang="en-US" sz="1100" dirty="0">
                              <a:solidFill>
                                <a:schemeClr val="tx1">
                                  <a:alpha val="99000"/>
                                </a:schemeClr>
                              </a:solidFill>
                            </a:rPr>
                            <a:t>Windows Phone 8</a:t>
                          </a:r>
                          <a:endParaRPr lang="en-US" sz="1100" dirty="0">
                            <a:solidFill>
                              <a:schemeClr val="tx1">
                                <a:alpha val="99000"/>
                              </a:schemeClr>
                            </a:solidFill>
                          </a:endParaRPr>
                        </a:p>
                      </p:txBody>
                    </p:sp>
                  </p:grpSp>
                  <p:sp>
                    <p:nvSpPr>
                      <p:cNvPr id="550" name="Freeform 61"/>
                      <p:cNvSpPr>
                        <a:spLocks/>
                      </p:cNvSpPr>
                      <p:nvPr/>
                    </p:nvSpPr>
                    <p:spPr bwMode="auto">
                      <a:xfrm>
                        <a:off x="5255899" y="2621778"/>
                        <a:ext cx="258200" cy="245822"/>
                      </a:xfrm>
                      <a:custGeom>
                        <a:avLst/>
                        <a:gdLst/>
                        <a:ahLst/>
                        <a:cxnLst>
                          <a:cxn ang="0">
                            <a:pos x="4" y="162"/>
                          </a:cxn>
                          <a:cxn ang="0">
                            <a:pos x="4" y="162"/>
                          </a:cxn>
                          <a:cxn ang="0">
                            <a:pos x="6" y="160"/>
                          </a:cxn>
                          <a:cxn ang="0">
                            <a:pos x="4" y="160"/>
                          </a:cxn>
                          <a:cxn ang="0">
                            <a:pos x="2" y="162"/>
                          </a:cxn>
                          <a:cxn ang="0">
                            <a:pos x="0" y="162"/>
                          </a:cxn>
                          <a:cxn ang="0">
                            <a:pos x="0" y="162"/>
                          </a:cxn>
                          <a:cxn ang="0">
                            <a:pos x="2" y="154"/>
                          </a:cxn>
                          <a:cxn ang="0">
                            <a:pos x="2" y="154"/>
                          </a:cxn>
                          <a:cxn ang="0">
                            <a:pos x="6" y="144"/>
                          </a:cxn>
                          <a:cxn ang="0">
                            <a:pos x="12" y="136"/>
                          </a:cxn>
                          <a:cxn ang="0">
                            <a:pos x="16" y="128"/>
                          </a:cxn>
                          <a:cxn ang="0">
                            <a:pos x="20" y="112"/>
                          </a:cxn>
                          <a:cxn ang="0">
                            <a:pos x="20" y="112"/>
                          </a:cxn>
                          <a:cxn ang="0">
                            <a:pos x="22" y="104"/>
                          </a:cxn>
                          <a:cxn ang="0">
                            <a:pos x="26" y="96"/>
                          </a:cxn>
                          <a:cxn ang="0">
                            <a:pos x="34" y="84"/>
                          </a:cxn>
                          <a:cxn ang="0">
                            <a:pos x="44" y="72"/>
                          </a:cxn>
                          <a:cxn ang="0">
                            <a:pos x="48" y="64"/>
                          </a:cxn>
                          <a:cxn ang="0">
                            <a:pos x="52" y="54"/>
                          </a:cxn>
                          <a:cxn ang="0">
                            <a:pos x="52" y="54"/>
                          </a:cxn>
                          <a:cxn ang="0">
                            <a:pos x="56" y="44"/>
                          </a:cxn>
                          <a:cxn ang="0">
                            <a:pos x="60" y="38"/>
                          </a:cxn>
                          <a:cxn ang="0">
                            <a:pos x="64" y="34"/>
                          </a:cxn>
                          <a:cxn ang="0">
                            <a:pos x="66" y="34"/>
                          </a:cxn>
                          <a:cxn ang="0">
                            <a:pos x="70" y="34"/>
                          </a:cxn>
                          <a:cxn ang="0">
                            <a:pos x="72" y="32"/>
                          </a:cxn>
                          <a:cxn ang="0">
                            <a:pos x="74" y="28"/>
                          </a:cxn>
                          <a:cxn ang="0">
                            <a:pos x="78" y="20"/>
                          </a:cxn>
                          <a:cxn ang="0">
                            <a:pos x="78" y="20"/>
                          </a:cxn>
                          <a:cxn ang="0">
                            <a:pos x="82" y="8"/>
                          </a:cxn>
                          <a:cxn ang="0">
                            <a:pos x="88" y="0"/>
                          </a:cxn>
                          <a:cxn ang="0">
                            <a:pos x="170" y="0"/>
                          </a:cxn>
                          <a:cxn ang="0">
                            <a:pos x="170" y="12"/>
                          </a:cxn>
                          <a:cxn ang="0">
                            <a:pos x="170" y="46"/>
                          </a:cxn>
                          <a:cxn ang="0">
                            <a:pos x="102" y="46"/>
                          </a:cxn>
                          <a:cxn ang="0">
                            <a:pos x="102" y="46"/>
                          </a:cxn>
                          <a:cxn ang="0">
                            <a:pos x="100" y="104"/>
                          </a:cxn>
                          <a:cxn ang="0">
                            <a:pos x="100" y="104"/>
                          </a:cxn>
                          <a:cxn ang="0">
                            <a:pos x="98" y="108"/>
                          </a:cxn>
                          <a:cxn ang="0">
                            <a:pos x="96" y="110"/>
                          </a:cxn>
                          <a:cxn ang="0">
                            <a:pos x="90" y="110"/>
                          </a:cxn>
                          <a:cxn ang="0">
                            <a:pos x="86" y="112"/>
                          </a:cxn>
                          <a:cxn ang="0">
                            <a:pos x="82" y="114"/>
                          </a:cxn>
                          <a:cxn ang="0">
                            <a:pos x="80" y="120"/>
                          </a:cxn>
                          <a:cxn ang="0">
                            <a:pos x="80" y="128"/>
                          </a:cxn>
                          <a:cxn ang="0">
                            <a:pos x="80" y="128"/>
                          </a:cxn>
                          <a:cxn ang="0">
                            <a:pos x="80" y="156"/>
                          </a:cxn>
                          <a:cxn ang="0">
                            <a:pos x="80" y="156"/>
                          </a:cxn>
                          <a:cxn ang="0">
                            <a:pos x="18" y="156"/>
                          </a:cxn>
                          <a:cxn ang="0">
                            <a:pos x="18" y="156"/>
                          </a:cxn>
                          <a:cxn ang="0">
                            <a:pos x="12" y="156"/>
                          </a:cxn>
                          <a:cxn ang="0">
                            <a:pos x="8" y="156"/>
                          </a:cxn>
                          <a:cxn ang="0">
                            <a:pos x="4" y="162"/>
                          </a:cxn>
                          <a:cxn ang="0">
                            <a:pos x="4" y="162"/>
                          </a:cxn>
                        </a:cxnLst>
                        <a:rect l="0" t="0" r="r" b="b"/>
                        <a:pathLst>
                          <a:path w="170" h="162">
                            <a:moveTo>
                              <a:pt x="4" y="162"/>
                            </a:moveTo>
                            <a:lnTo>
                              <a:pt x="4" y="162"/>
                            </a:lnTo>
                            <a:lnTo>
                              <a:pt x="6" y="160"/>
                            </a:lnTo>
                            <a:lnTo>
                              <a:pt x="4" y="160"/>
                            </a:lnTo>
                            <a:lnTo>
                              <a:pt x="2" y="162"/>
                            </a:lnTo>
                            <a:lnTo>
                              <a:pt x="0" y="162"/>
                            </a:lnTo>
                            <a:lnTo>
                              <a:pt x="0" y="162"/>
                            </a:lnTo>
                            <a:lnTo>
                              <a:pt x="2" y="154"/>
                            </a:lnTo>
                            <a:lnTo>
                              <a:pt x="2" y="154"/>
                            </a:lnTo>
                            <a:lnTo>
                              <a:pt x="6" y="144"/>
                            </a:lnTo>
                            <a:lnTo>
                              <a:pt x="12" y="136"/>
                            </a:lnTo>
                            <a:lnTo>
                              <a:pt x="16" y="128"/>
                            </a:lnTo>
                            <a:lnTo>
                              <a:pt x="20" y="112"/>
                            </a:lnTo>
                            <a:lnTo>
                              <a:pt x="20" y="112"/>
                            </a:lnTo>
                            <a:lnTo>
                              <a:pt x="22" y="104"/>
                            </a:lnTo>
                            <a:lnTo>
                              <a:pt x="26" y="96"/>
                            </a:lnTo>
                            <a:lnTo>
                              <a:pt x="34" y="84"/>
                            </a:lnTo>
                            <a:lnTo>
                              <a:pt x="44" y="72"/>
                            </a:lnTo>
                            <a:lnTo>
                              <a:pt x="48" y="64"/>
                            </a:lnTo>
                            <a:lnTo>
                              <a:pt x="52" y="54"/>
                            </a:lnTo>
                            <a:lnTo>
                              <a:pt x="52" y="54"/>
                            </a:lnTo>
                            <a:lnTo>
                              <a:pt x="56" y="44"/>
                            </a:lnTo>
                            <a:lnTo>
                              <a:pt x="60" y="38"/>
                            </a:lnTo>
                            <a:lnTo>
                              <a:pt x="64" y="34"/>
                            </a:lnTo>
                            <a:lnTo>
                              <a:pt x="66" y="34"/>
                            </a:lnTo>
                            <a:lnTo>
                              <a:pt x="70" y="34"/>
                            </a:lnTo>
                            <a:lnTo>
                              <a:pt x="72" y="32"/>
                            </a:lnTo>
                            <a:lnTo>
                              <a:pt x="74" y="28"/>
                            </a:lnTo>
                            <a:lnTo>
                              <a:pt x="78" y="20"/>
                            </a:lnTo>
                            <a:lnTo>
                              <a:pt x="78" y="20"/>
                            </a:lnTo>
                            <a:lnTo>
                              <a:pt x="82" y="8"/>
                            </a:lnTo>
                            <a:lnTo>
                              <a:pt x="88" y="0"/>
                            </a:lnTo>
                            <a:lnTo>
                              <a:pt x="170" y="0"/>
                            </a:lnTo>
                            <a:lnTo>
                              <a:pt x="170" y="12"/>
                            </a:lnTo>
                            <a:lnTo>
                              <a:pt x="170" y="46"/>
                            </a:lnTo>
                            <a:lnTo>
                              <a:pt x="102" y="46"/>
                            </a:lnTo>
                            <a:lnTo>
                              <a:pt x="102" y="46"/>
                            </a:lnTo>
                            <a:lnTo>
                              <a:pt x="100" y="104"/>
                            </a:lnTo>
                            <a:lnTo>
                              <a:pt x="100" y="104"/>
                            </a:lnTo>
                            <a:lnTo>
                              <a:pt x="98" y="108"/>
                            </a:lnTo>
                            <a:lnTo>
                              <a:pt x="96" y="110"/>
                            </a:lnTo>
                            <a:lnTo>
                              <a:pt x="90" y="110"/>
                            </a:lnTo>
                            <a:lnTo>
                              <a:pt x="86" y="112"/>
                            </a:lnTo>
                            <a:lnTo>
                              <a:pt x="82" y="114"/>
                            </a:lnTo>
                            <a:lnTo>
                              <a:pt x="80" y="120"/>
                            </a:lnTo>
                            <a:lnTo>
                              <a:pt x="80" y="128"/>
                            </a:lnTo>
                            <a:lnTo>
                              <a:pt x="80" y="128"/>
                            </a:lnTo>
                            <a:lnTo>
                              <a:pt x="80" y="156"/>
                            </a:lnTo>
                            <a:lnTo>
                              <a:pt x="80" y="156"/>
                            </a:lnTo>
                            <a:lnTo>
                              <a:pt x="18" y="156"/>
                            </a:lnTo>
                            <a:lnTo>
                              <a:pt x="18" y="156"/>
                            </a:lnTo>
                            <a:lnTo>
                              <a:pt x="12" y="156"/>
                            </a:lnTo>
                            <a:lnTo>
                              <a:pt x="8" y="156"/>
                            </a:lnTo>
                            <a:lnTo>
                              <a:pt x="4" y="162"/>
                            </a:lnTo>
                            <a:lnTo>
                              <a:pt x="4" y="16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552" name="Freeform 19"/>
                    <p:cNvSpPr>
                      <a:spLocks/>
                    </p:cNvSpPr>
                    <p:nvPr/>
                  </p:nvSpPr>
                  <p:spPr bwMode="auto">
                    <a:xfrm>
                      <a:off x="4030845" y="3463559"/>
                      <a:ext cx="103279" cy="154777"/>
                    </a:xfrm>
                    <a:custGeom>
                      <a:avLst/>
                      <a:gdLst/>
                      <a:ahLst/>
                      <a:cxnLst>
                        <a:cxn ang="0">
                          <a:pos x="68" y="38"/>
                        </a:cxn>
                        <a:cxn ang="0">
                          <a:pos x="64" y="32"/>
                        </a:cxn>
                        <a:cxn ang="0">
                          <a:pos x="62" y="26"/>
                        </a:cxn>
                        <a:cxn ang="0">
                          <a:pos x="60" y="24"/>
                        </a:cxn>
                        <a:cxn ang="0">
                          <a:pos x="56" y="22"/>
                        </a:cxn>
                        <a:cxn ang="0">
                          <a:pos x="54" y="18"/>
                        </a:cxn>
                        <a:cxn ang="0">
                          <a:pos x="50" y="16"/>
                        </a:cxn>
                        <a:cxn ang="0">
                          <a:pos x="46" y="14"/>
                        </a:cxn>
                        <a:cxn ang="0">
                          <a:pos x="42" y="10"/>
                        </a:cxn>
                        <a:cxn ang="0">
                          <a:pos x="32" y="6"/>
                        </a:cxn>
                        <a:cxn ang="0">
                          <a:pos x="28" y="4"/>
                        </a:cxn>
                        <a:cxn ang="0">
                          <a:pos x="24" y="0"/>
                        </a:cxn>
                        <a:cxn ang="0">
                          <a:pos x="20" y="2"/>
                        </a:cxn>
                        <a:cxn ang="0">
                          <a:pos x="6" y="18"/>
                        </a:cxn>
                        <a:cxn ang="0">
                          <a:pos x="4" y="32"/>
                        </a:cxn>
                        <a:cxn ang="0">
                          <a:pos x="6" y="36"/>
                        </a:cxn>
                        <a:cxn ang="0">
                          <a:pos x="4" y="42"/>
                        </a:cxn>
                        <a:cxn ang="0">
                          <a:pos x="8" y="46"/>
                        </a:cxn>
                        <a:cxn ang="0">
                          <a:pos x="12" y="60"/>
                        </a:cxn>
                        <a:cxn ang="0">
                          <a:pos x="14" y="64"/>
                        </a:cxn>
                        <a:cxn ang="0">
                          <a:pos x="10" y="72"/>
                        </a:cxn>
                        <a:cxn ang="0">
                          <a:pos x="10" y="76"/>
                        </a:cxn>
                        <a:cxn ang="0">
                          <a:pos x="8" y="84"/>
                        </a:cxn>
                        <a:cxn ang="0">
                          <a:pos x="0" y="94"/>
                        </a:cxn>
                        <a:cxn ang="0">
                          <a:pos x="4" y="96"/>
                        </a:cxn>
                        <a:cxn ang="0">
                          <a:pos x="6" y="96"/>
                        </a:cxn>
                        <a:cxn ang="0">
                          <a:pos x="10" y="98"/>
                        </a:cxn>
                        <a:cxn ang="0">
                          <a:pos x="14" y="98"/>
                        </a:cxn>
                        <a:cxn ang="0">
                          <a:pos x="18" y="98"/>
                        </a:cxn>
                        <a:cxn ang="0">
                          <a:pos x="22" y="102"/>
                        </a:cxn>
                        <a:cxn ang="0">
                          <a:pos x="30" y="100"/>
                        </a:cxn>
                        <a:cxn ang="0">
                          <a:pos x="40" y="96"/>
                        </a:cxn>
                        <a:cxn ang="0">
                          <a:pos x="40" y="92"/>
                        </a:cxn>
                        <a:cxn ang="0">
                          <a:pos x="44" y="88"/>
                        </a:cxn>
                        <a:cxn ang="0">
                          <a:pos x="48" y="80"/>
                        </a:cxn>
                        <a:cxn ang="0">
                          <a:pos x="50" y="72"/>
                        </a:cxn>
                        <a:cxn ang="0">
                          <a:pos x="56" y="66"/>
                        </a:cxn>
                        <a:cxn ang="0">
                          <a:pos x="56" y="64"/>
                        </a:cxn>
                        <a:cxn ang="0">
                          <a:pos x="60" y="56"/>
                        </a:cxn>
                        <a:cxn ang="0">
                          <a:pos x="62" y="50"/>
                        </a:cxn>
                        <a:cxn ang="0">
                          <a:pos x="62" y="44"/>
                        </a:cxn>
                        <a:cxn ang="0">
                          <a:pos x="66" y="42"/>
                        </a:cxn>
                        <a:cxn ang="0">
                          <a:pos x="68" y="38"/>
                        </a:cxn>
                      </a:cxnLst>
                      <a:rect l="0" t="0" r="r" b="b"/>
                      <a:pathLst>
                        <a:path w="68" h="102">
                          <a:moveTo>
                            <a:pt x="68" y="38"/>
                          </a:moveTo>
                          <a:lnTo>
                            <a:pt x="68" y="38"/>
                          </a:lnTo>
                          <a:lnTo>
                            <a:pt x="66" y="34"/>
                          </a:lnTo>
                          <a:lnTo>
                            <a:pt x="64" y="32"/>
                          </a:lnTo>
                          <a:lnTo>
                            <a:pt x="62" y="30"/>
                          </a:lnTo>
                          <a:lnTo>
                            <a:pt x="62" y="26"/>
                          </a:lnTo>
                          <a:lnTo>
                            <a:pt x="62" y="26"/>
                          </a:lnTo>
                          <a:lnTo>
                            <a:pt x="60" y="24"/>
                          </a:lnTo>
                          <a:lnTo>
                            <a:pt x="58" y="24"/>
                          </a:lnTo>
                          <a:lnTo>
                            <a:pt x="56" y="22"/>
                          </a:lnTo>
                          <a:lnTo>
                            <a:pt x="54" y="18"/>
                          </a:lnTo>
                          <a:lnTo>
                            <a:pt x="54" y="18"/>
                          </a:lnTo>
                          <a:lnTo>
                            <a:pt x="52" y="16"/>
                          </a:lnTo>
                          <a:lnTo>
                            <a:pt x="50" y="16"/>
                          </a:lnTo>
                          <a:lnTo>
                            <a:pt x="50" y="16"/>
                          </a:lnTo>
                          <a:lnTo>
                            <a:pt x="46" y="14"/>
                          </a:lnTo>
                          <a:lnTo>
                            <a:pt x="46" y="14"/>
                          </a:lnTo>
                          <a:lnTo>
                            <a:pt x="42" y="10"/>
                          </a:lnTo>
                          <a:lnTo>
                            <a:pt x="36" y="8"/>
                          </a:lnTo>
                          <a:lnTo>
                            <a:pt x="32" y="6"/>
                          </a:lnTo>
                          <a:lnTo>
                            <a:pt x="28" y="4"/>
                          </a:lnTo>
                          <a:lnTo>
                            <a:pt x="28" y="4"/>
                          </a:lnTo>
                          <a:lnTo>
                            <a:pt x="26" y="0"/>
                          </a:lnTo>
                          <a:lnTo>
                            <a:pt x="24" y="0"/>
                          </a:lnTo>
                          <a:lnTo>
                            <a:pt x="20" y="2"/>
                          </a:lnTo>
                          <a:lnTo>
                            <a:pt x="20" y="2"/>
                          </a:lnTo>
                          <a:lnTo>
                            <a:pt x="12" y="10"/>
                          </a:lnTo>
                          <a:lnTo>
                            <a:pt x="6" y="18"/>
                          </a:lnTo>
                          <a:lnTo>
                            <a:pt x="4" y="26"/>
                          </a:lnTo>
                          <a:lnTo>
                            <a:pt x="4" y="32"/>
                          </a:lnTo>
                          <a:lnTo>
                            <a:pt x="4" y="32"/>
                          </a:lnTo>
                          <a:lnTo>
                            <a:pt x="6" y="36"/>
                          </a:lnTo>
                          <a:lnTo>
                            <a:pt x="6" y="38"/>
                          </a:lnTo>
                          <a:lnTo>
                            <a:pt x="4" y="42"/>
                          </a:lnTo>
                          <a:lnTo>
                            <a:pt x="8" y="46"/>
                          </a:lnTo>
                          <a:lnTo>
                            <a:pt x="8" y="46"/>
                          </a:lnTo>
                          <a:lnTo>
                            <a:pt x="10" y="52"/>
                          </a:lnTo>
                          <a:lnTo>
                            <a:pt x="12" y="60"/>
                          </a:lnTo>
                          <a:lnTo>
                            <a:pt x="12" y="60"/>
                          </a:lnTo>
                          <a:lnTo>
                            <a:pt x="14" y="64"/>
                          </a:lnTo>
                          <a:lnTo>
                            <a:pt x="12" y="68"/>
                          </a:lnTo>
                          <a:lnTo>
                            <a:pt x="10" y="72"/>
                          </a:lnTo>
                          <a:lnTo>
                            <a:pt x="10" y="76"/>
                          </a:lnTo>
                          <a:lnTo>
                            <a:pt x="10" y="76"/>
                          </a:lnTo>
                          <a:lnTo>
                            <a:pt x="10" y="80"/>
                          </a:lnTo>
                          <a:lnTo>
                            <a:pt x="8" y="84"/>
                          </a:lnTo>
                          <a:lnTo>
                            <a:pt x="4" y="88"/>
                          </a:lnTo>
                          <a:lnTo>
                            <a:pt x="0" y="94"/>
                          </a:lnTo>
                          <a:lnTo>
                            <a:pt x="0" y="94"/>
                          </a:lnTo>
                          <a:lnTo>
                            <a:pt x="4" y="96"/>
                          </a:lnTo>
                          <a:lnTo>
                            <a:pt x="6" y="96"/>
                          </a:lnTo>
                          <a:lnTo>
                            <a:pt x="6" y="96"/>
                          </a:lnTo>
                          <a:lnTo>
                            <a:pt x="10" y="96"/>
                          </a:lnTo>
                          <a:lnTo>
                            <a:pt x="10" y="98"/>
                          </a:lnTo>
                          <a:lnTo>
                            <a:pt x="12" y="98"/>
                          </a:lnTo>
                          <a:lnTo>
                            <a:pt x="14" y="98"/>
                          </a:lnTo>
                          <a:lnTo>
                            <a:pt x="14" y="98"/>
                          </a:lnTo>
                          <a:lnTo>
                            <a:pt x="18" y="98"/>
                          </a:lnTo>
                          <a:lnTo>
                            <a:pt x="20" y="102"/>
                          </a:lnTo>
                          <a:lnTo>
                            <a:pt x="22" y="102"/>
                          </a:lnTo>
                          <a:lnTo>
                            <a:pt x="30" y="100"/>
                          </a:lnTo>
                          <a:lnTo>
                            <a:pt x="30" y="100"/>
                          </a:lnTo>
                          <a:lnTo>
                            <a:pt x="38" y="98"/>
                          </a:lnTo>
                          <a:lnTo>
                            <a:pt x="40" y="96"/>
                          </a:lnTo>
                          <a:lnTo>
                            <a:pt x="40" y="92"/>
                          </a:lnTo>
                          <a:lnTo>
                            <a:pt x="40" y="92"/>
                          </a:lnTo>
                          <a:lnTo>
                            <a:pt x="42" y="88"/>
                          </a:lnTo>
                          <a:lnTo>
                            <a:pt x="44" y="88"/>
                          </a:lnTo>
                          <a:lnTo>
                            <a:pt x="46" y="86"/>
                          </a:lnTo>
                          <a:lnTo>
                            <a:pt x="48" y="80"/>
                          </a:lnTo>
                          <a:lnTo>
                            <a:pt x="48" y="80"/>
                          </a:lnTo>
                          <a:lnTo>
                            <a:pt x="50" y="72"/>
                          </a:lnTo>
                          <a:lnTo>
                            <a:pt x="54" y="68"/>
                          </a:lnTo>
                          <a:lnTo>
                            <a:pt x="56" y="66"/>
                          </a:lnTo>
                          <a:lnTo>
                            <a:pt x="56" y="64"/>
                          </a:lnTo>
                          <a:lnTo>
                            <a:pt x="56" y="64"/>
                          </a:lnTo>
                          <a:lnTo>
                            <a:pt x="58" y="58"/>
                          </a:lnTo>
                          <a:lnTo>
                            <a:pt x="60" y="56"/>
                          </a:lnTo>
                          <a:lnTo>
                            <a:pt x="62" y="54"/>
                          </a:lnTo>
                          <a:lnTo>
                            <a:pt x="62" y="50"/>
                          </a:lnTo>
                          <a:lnTo>
                            <a:pt x="62" y="50"/>
                          </a:lnTo>
                          <a:lnTo>
                            <a:pt x="62" y="44"/>
                          </a:lnTo>
                          <a:lnTo>
                            <a:pt x="64" y="44"/>
                          </a:lnTo>
                          <a:lnTo>
                            <a:pt x="66" y="42"/>
                          </a:lnTo>
                          <a:lnTo>
                            <a:pt x="68" y="38"/>
                          </a:lnTo>
                          <a:lnTo>
                            <a:pt x="68" y="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554" name="Lithuania"/>
                  <p:cNvSpPr>
                    <a:spLocks/>
                  </p:cNvSpPr>
                  <p:nvPr/>
                </p:nvSpPr>
                <p:spPr bwMode="auto">
                  <a:xfrm>
                    <a:off x="6339803" y="1702111"/>
                    <a:ext cx="142769" cy="69801"/>
                  </a:xfrm>
                  <a:custGeom>
                    <a:avLst/>
                    <a:gdLst/>
                    <a:ahLst/>
                    <a:cxnLst>
                      <a:cxn ang="0">
                        <a:pos x="26" y="34"/>
                      </a:cxn>
                      <a:cxn ang="0">
                        <a:pos x="30" y="34"/>
                      </a:cxn>
                      <a:cxn ang="0">
                        <a:pos x="34" y="36"/>
                      </a:cxn>
                      <a:cxn ang="0">
                        <a:pos x="36" y="36"/>
                      </a:cxn>
                      <a:cxn ang="0">
                        <a:pos x="42" y="42"/>
                      </a:cxn>
                      <a:cxn ang="0">
                        <a:pos x="50" y="44"/>
                      </a:cxn>
                      <a:cxn ang="0">
                        <a:pos x="58" y="46"/>
                      </a:cxn>
                      <a:cxn ang="0">
                        <a:pos x="64" y="44"/>
                      </a:cxn>
                      <a:cxn ang="0">
                        <a:pos x="70" y="44"/>
                      </a:cxn>
                      <a:cxn ang="0">
                        <a:pos x="74" y="44"/>
                      </a:cxn>
                      <a:cxn ang="0">
                        <a:pos x="74" y="42"/>
                      </a:cxn>
                      <a:cxn ang="0">
                        <a:pos x="72" y="38"/>
                      </a:cxn>
                      <a:cxn ang="0">
                        <a:pos x="72" y="34"/>
                      </a:cxn>
                      <a:cxn ang="0">
                        <a:pos x="76" y="28"/>
                      </a:cxn>
                      <a:cxn ang="0">
                        <a:pos x="82" y="26"/>
                      </a:cxn>
                      <a:cxn ang="0">
                        <a:pos x="84" y="24"/>
                      </a:cxn>
                      <a:cxn ang="0">
                        <a:pos x="92" y="24"/>
                      </a:cxn>
                      <a:cxn ang="0">
                        <a:pos x="94" y="22"/>
                      </a:cxn>
                      <a:cxn ang="0">
                        <a:pos x="92" y="18"/>
                      </a:cxn>
                      <a:cxn ang="0">
                        <a:pos x="94" y="12"/>
                      </a:cxn>
                      <a:cxn ang="0">
                        <a:pos x="72" y="8"/>
                      </a:cxn>
                      <a:cxn ang="0">
                        <a:pos x="60" y="2"/>
                      </a:cxn>
                      <a:cxn ang="0">
                        <a:pos x="56" y="4"/>
                      </a:cxn>
                      <a:cxn ang="0">
                        <a:pos x="48" y="4"/>
                      </a:cxn>
                      <a:cxn ang="0">
                        <a:pos x="38" y="0"/>
                      </a:cxn>
                      <a:cxn ang="0">
                        <a:pos x="30" y="0"/>
                      </a:cxn>
                      <a:cxn ang="0">
                        <a:pos x="16" y="0"/>
                      </a:cxn>
                      <a:cxn ang="0">
                        <a:pos x="6" y="6"/>
                      </a:cxn>
                      <a:cxn ang="0">
                        <a:pos x="0" y="12"/>
                      </a:cxn>
                      <a:cxn ang="0">
                        <a:pos x="2" y="20"/>
                      </a:cxn>
                      <a:cxn ang="0">
                        <a:pos x="2" y="24"/>
                      </a:cxn>
                      <a:cxn ang="0">
                        <a:pos x="6" y="26"/>
                      </a:cxn>
                      <a:cxn ang="0">
                        <a:pos x="8" y="26"/>
                      </a:cxn>
                      <a:cxn ang="0">
                        <a:pos x="22" y="24"/>
                      </a:cxn>
                      <a:cxn ang="0">
                        <a:pos x="26" y="26"/>
                      </a:cxn>
                      <a:cxn ang="0">
                        <a:pos x="28" y="30"/>
                      </a:cxn>
                      <a:cxn ang="0">
                        <a:pos x="26" y="34"/>
                      </a:cxn>
                    </a:cxnLst>
                    <a:rect l="0" t="0" r="r" b="b"/>
                    <a:pathLst>
                      <a:path w="94" h="46">
                        <a:moveTo>
                          <a:pt x="26" y="34"/>
                        </a:moveTo>
                        <a:lnTo>
                          <a:pt x="26" y="34"/>
                        </a:lnTo>
                        <a:lnTo>
                          <a:pt x="30" y="34"/>
                        </a:lnTo>
                        <a:lnTo>
                          <a:pt x="30" y="34"/>
                        </a:lnTo>
                        <a:lnTo>
                          <a:pt x="32" y="36"/>
                        </a:lnTo>
                        <a:lnTo>
                          <a:pt x="34" y="36"/>
                        </a:lnTo>
                        <a:lnTo>
                          <a:pt x="34" y="36"/>
                        </a:lnTo>
                        <a:lnTo>
                          <a:pt x="36" y="36"/>
                        </a:lnTo>
                        <a:lnTo>
                          <a:pt x="38" y="38"/>
                        </a:lnTo>
                        <a:lnTo>
                          <a:pt x="42" y="42"/>
                        </a:lnTo>
                        <a:lnTo>
                          <a:pt x="42" y="42"/>
                        </a:lnTo>
                        <a:lnTo>
                          <a:pt x="50" y="44"/>
                        </a:lnTo>
                        <a:lnTo>
                          <a:pt x="54" y="46"/>
                        </a:lnTo>
                        <a:lnTo>
                          <a:pt x="58" y="46"/>
                        </a:lnTo>
                        <a:lnTo>
                          <a:pt x="64" y="44"/>
                        </a:lnTo>
                        <a:lnTo>
                          <a:pt x="64" y="44"/>
                        </a:lnTo>
                        <a:lnTo>
                          <a:pt x="68" y="44"/>
                        </a:lnTo>
                        <a:lnTo>
                          <a:pt x="70" y="44"/>
                        </a:lnTo>
                        <a:lnTo>
                          <a:pt x="72" y="44"/>
                        </a:lnTo>
                        <a:lnTo>
                          <a:pt x="74" y="44"/>
                        </a:lnTo>
                        <a:lnTo>
                          <a:pt x="74" y="44"/>
                        </a:lnTo>
                        <a:lnTo>
                          <a:pt x="74" y="42"/>
                        </a:lnTo>
                        <a:lnTo>
                          <a:pt x="72" y="40"/>
                        </a:lnTo>
                        <a:lnTo>
                          <a:pt x="72" y="38"/>
                        </a:lnTo>
                        <a:lnTo>
                          <a:pt x="72" y="34"/>
                        </a:lnTo>
                        <a:lnTo>
                          <a:pt x="72" y="34"/>
                        </a:lnTo>
                        <a:lnTo>
                          <a:pt x="74" y="30"/>
                        </a:lnTo>
                        <a:lnTo>
                          <a:pt x="76" y="28"/>
                        </a:lnTo>
                        <a:lnTo>
                          <a:pt x="78" y="28"/>
                        </a:lnTo>
                        <a:lnTo>
                          <a:pt x="82" y="26"/>
                        </a:lnTo>
                        <a:lnTo>
                          <a:pt x="82" y="26"/>
                        </a:lnTo>
                        <a:lnTo>
                          <a:pt x="84" y="24"/>
                        </a:lnTo>
                        <a:lnTo>
                          <a:pt x="88" y="24"/>
                        </a:lnTo>
                        <a:lnTo>
                          <a:pt x="92" y="24"/>
                        </a:lnTo>
                        <a:lnTo>
                          <a:pt x="94" y="22"/>
                        </a:lnTo>
                        <a:lnTo>
                          <a:pt x="94" y="22"/>
                        </a:lnTo>
                        <a:lnTo>
                          <a:pt x="94" y="18"/>
                        </a:lnTo>
                        <a:lnTo>
                          <a:pt x="92" y="18"/>
                        </a:lnTo>
                        <a:lnTo>
                          <a:pt x="92" y="16"/>
                        </a:lnTo>
                        <a:lnTo>
                          <a:pt x="94" y="12"/>
                        </a:lnTo>
                        <a:lnTo>
                          <a:pt x="94" y="12"/>
                        </a:lnTo>
                        <a:lnTo>
                          <a:pt x="72" y="8"/>
                        </a:lnTo>
                        <a:lnTo>
                          <a:pt x="64" y="6"/>
                        </a:lnTo>
                        <a:lnTo>
                          <a:pt x="60" y="2"/>
                        </a:lnTo>
                        <a:lnTo>
                          <a:pt x="56" y="4"/>
                        </a:lnTo>
                        <a:lnTo>
                          <a:pt x="56" y="4"/>
                        </a:lnTo>
                        <a:lnTo>
                          <a:pt x="52" y="4"/>
                        </a:lnTo>
                        <a:lnTo>
                          <a:pt x="48" y="4"/>
                        </a:lnTo>
                        <a:lnTo>
                          <a:pt x="44" y="2"/>
                        </a:lnTo>
                        <a:lnTo>
                          <a:pt x="38" y="0"/>
                        </a:lnTo>
                        <a:lnTo>
                          <a:pt x="38" y="0"/>
                        </a:lnTo>
                        <a:lnTo>
                          <a:pt x="30" y="0"/>
                        </a:lnTo>
                        <a:lnTo>
                          <a:pt x="22" y="0"/>
                        </a:lnTo>
                        <a:lnTo>
                          <a:pt x="16" y="0"/>
                        </a:lnTo>
                        <a:lnTo>
                          <a:pt x="10" y="2"/>
                        </a:lnTo>
                        <a:lnTo>
                          <a:pt x="6" y="6"/>
                        </a:lnTo>
                        <a:lnTo>
                          <a:pt x="0" y="12"/>
                        </a:lnTo>
                        <a:lnTo>
                          <a:pt x="0" y="12"/>
                        </a:lnTo>
                        <a:lnTo>
                          <a:pt x="0" y="18"/>
                        </a:lnTo>
                        <a:lnTo>
                          <a:pt x="2" y="20"/>
                        </a:lnTo>
                        <a:lnTo>
                          <a:pt x="2" y="22"/>
                        </a:lnTo>
                        <a:lnTo>
                          <a:pt x="2" y="24"/>
                        </a:lnTo>
                        <a:lnTo>
                          <a:pt x="2" y="24"/>
                        </a:lnTo>
                        <a:lnTo>
                          <a:pt x="6" y="26"/>
                        </a:lnTo>
                        <a:lnTo>
                          <a:pt x="8" y="26"/>
                        </a:lnTo>
                        <a:lnTo>
                          <a:pt x="8" y="26"/>
                        </a:lnTo>
                        <a:lnTo>
                          <a:pt x="16" y="26"/>
                        </a:lnTo>
                        <a:lnTo>
                          <a:pt x="22" y="24"/>
                        </a:lnTo>
                        <a:lnTo>
                          <a:pt x="26" y="26"/>
                        </a:lnTo>
                        <a:lnTo>
                          <a:pt x="26" y="26"/>
                        </a:lnTo>
                        <a:lnTo>
                          <a:pt x="28" y="28"/>
                        </a:lnTo>
                        <a:lnTo>
                          <a:pt x="28" y="30"/>
                        </a:lnTo>
                        <a:lnTo>
                          <a:pt x="26" y="34"/>
                        </a:lnTo>
                        <a:lnTo>
                          <a:pt x="26" y="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559" name="Freeform 132"/>
                <p:cNvSpPr>
                  <a:spLocks/>
                </p:cNvSpPr>
                <p:nvPr/>
              </p:nvSpPr>
              <p:spPr bwMode="auto">
                <a:xfrm>
                  <a:off x="10541876" y="3850102"/>
                  <a:ext cx="136694" cy="78906"/>
                </a:xfrm>
                <a:custGeom>
                  <a:avLst/>
                  <a:gdLst/>
                  <a:ahLst/>
                  <a:cxnLst>
                    <a:cxn ang="0">
                      <a:pos x="10" y="42"/>
                    </a:cxn>
                    <a:cxn ang="0">
                      <a:pos x="0" y="34"/>
                    </a:cxn>
                    <a:cxn ang="0">
                      <a:pos x="2" y="30"/>
                    </a:cxn>
                    <a:cxn ang="0">
                      <a:pos x="10" y="28"/>
                    </a:cxn>
                    <a:cxn ang="0">
                      <a:pos x="18" y="28"/>
                    </a:cxn>
                    <a:cxn ang="0">
                      <a:pos x="22" y="26"/>
                    </a:cxn>
                    <a:cxn ang="0">
                      <a:pos x="24" y="28"/>
                    </a:cxn>
                    <a:cxn ang="0">
                      <a:pos x="26" y="26"/>
                    </a:cxn>
                    <a:cxn ang="0">
                      <a:pos x="30" y="22"/>
                    </a:cxn>
                    <a:cxn ang="0">
                      <a:pos x="32" y="20"/>
                    </a:cxn>
                    <a:cxn ang="0">
                      <a:pos x="34" y="20"/>
                    </a:cxn>
                    <a:cxn ang="0">
                      <a:pos x="34" y="24"/>
                    </a:cxn>
                    <a:cxn ang="0">
                      <a:pos x="36" y="26"/>
                    </a:cxn>
                    <a:cxn ang="0">
                      <a:pos x="42" y="24"/>
                    </a:cxn>
                    <a:cxn ang="0">
                      <a:pos x="48" y="26"/>
                    </a:cxn>
                    <a:cxn ang="0">
                      <a:pos x="54" y="22"/>
                    </a:cxn>
                    <a:cxn ang="0">
                      <a:pos x="64" y="18"/>
                    </a:cxn>
                    <a:cxn ang="0">
                      <a:pos x="66" y="16"/>
                    </a:cxn>
                    <a:cxn ang="0">
                      <a:pos x="66" y="14"/>
                    </a:cxn>
                    <a:cxn ang="0">
                      <a:pos x="72" y="12"/>
                    </a:cxn>
                    <a:cxn ang="0">
                      <a:pos x="70" y="8"/>
                    </a:cxn>
                    <a:cxn ang="0">
                      <a:pos x="66" y="0"/>
                    </a:cxn>
                    <a:cxn ang="0">
                      <a:pos x="70" y="0"/>
                    </a:cxn>
                    <a:cxn ang="0">
                      <a:pos x="76" y="2"/>
                    </a:cxn>
                    <a:cxn ang="0">
                      <a:pos x="80" y="2"/>
                    </a:cxn>
                    <a:cxn ang="0">
                      <a:pos x="82" y="0"/>
                    </a:cxn>
                    <a:cxn ang="0">
                      <a:pos x="86" y="2"/>
                    </a:cxn>
                    <a:cxn ang="0">
                      <a:pos x="86" y="4"/>
                    </a:cxn>
                    <a:cxn ang="0">
                      <a:pos x="88" y="6"/>
                    </a:cxn>
                    <a:cxn ang="0">
                      <a:pos x="90" y="12"/>
                    </a:cxn>
                    <a:cxn ang="0">
                      <a:pos x="88" y="16"/>
                    </a:cxn>
                    <a:cxn ang="0">
                      <a:pos x="84" y="20"/>
                    </a:cxn>
                    <a:cxn ang="0">
                      <a:pos x="86" y="26"/>
                    </a:cxn>
                    <a:cxn ang="0">
                      <a:pos x="80" y="32"/>
                    </a:cxn>
                    <a:cxn ang="0">
                      <a:pos x="80" y="32"/>
                    </a:cxn>
                    <a:cxn ang="0">
                      <a:pos x="76" y="28"/>
                    </a:cxn>
                    <a:cxn ang="0">
                      <a:pos x="74" y="30"/>
                    </a:cxn>
                    <a:cxn ang="0">
                      <a:pos x="76" y="32"/>
                    </a:cxn>
                    <a:cxn ang="0">
                      <a:pos x="74" y="36"/>
                    </a:cxn>
                    <a:cxn ang="0">
                      <a:pos x="66" y="44"/>
                    </a:cxn>
                    <a:cxn ang="0">
                      <a:pos x="58" y="46"/>
                    </a:cxn>
                    <a:cxn ang="0">
                      <a:pos x="54" y="48"/>
                    </a:cxn>
                    <a:cxn ang="0">
                      <a:pos x="46" y="52"/>
                    </a:cxn>
                    <a:cxn ang="0">
                      <a:pos x="38" y="52"/>
                    </a:cxn>
                    <a:cxn ang="0">
                      <a:pos x="34" y="52"/>
                    </a:cxn>
                    <a:cxn ang="0">
                      <a:pos x="26" y="48"/>
                    </a:cxn>
                    <a:cxn ang="0">
                      <a:pos x="22" y="50"/>
                    </a:cxn>
                    <a:cxn ang="0">
                      <a:pos x="16" y="50"/>
                    </a:cxn>
                    <a:cxn ang="0">
                      <a:pos x="10" y="42"/>
                    </a:cxn>
                  </a:cxnLst>
                  <a:rect l="0" t="0" r="r" b="b"/>
                  <a:pathLst>
                    <a:path w="90" h="52">
                      <a:moveTo>
                        <a:pt x="10" y="42"/>
                      </a:moveTo>
                      <a:lnTo>
                        <a:pt x="10" y="42"/>
                      </a:lnTo>
                      <a:lnTo>
                        <a:pt x="2" y="36"/>
                      </a:lnTo>
                      <a:lnTo>
                        <a:pt x="0" y="34"/>
                      </a:lnTo>
                      <a:lnTo>
                        <a:pt x="2" y="30"/>
                      </a:lnTo>
                      <a:lnTo>
                        <a:pt x="2" y="30"/>
                      </a:lnTo>
                      <a:lnTo>
                        <a:pt x="6" y="28"/>
                      </a:lnTo>
                      <a:lnTo>
                        <a:pt x="10" y="28"/>
                      </a:lnTo>
                      <a:lnTo>
                        <a:pt x="14" y="30"/>
                      </a:lnTo>
                      <a:lnTo>
                        <a:pt x="18" y="28"/>
                      </a:lnTo>
                      <a:lnTo>
                        <a:pt x="18" y="28"/>
                      </a:lnTo>
                      <a:lnTo>
                        <a:pt x="22" y="26"/>
                      </a:lnTo>
                      <a:lnTo>
                        <a:pt x="22" y="28"/>
                      </a:lnTo>
                      <a:lnTo>
                        <a:pt x="24" y="28"/>
                      </a:lnTo>
                      <a:lnTo>
                        <a:pt x="26" y="26"/>
                      </a:lnTo>
                      <a:lnTo>
                        <a:pt x="26" y="26"/>
                      </a:lnTo>
                      <a:lnTo>
                        <a:pt x="30" y="24"/>
                      </a:lnTo>
                      <a:lnTo>
                        <a:pt x="30" y="22"/>
                      </a:lnTo>
                      <a:lnTo>
                        <a:pt x="28" y="22"/>
                      </a:lnTo>
                      <a:lnTo>
                        <a:pt x="32" y="20"/>
                      </a:lnTo>
                      <a:lnTo>
                        <a:pt x="32" y="20"/>
                      </a:lnTo>
                      <a:lnTo>
                        <a:pt x="34" y="20"/>
                      </a:lnTo>
                      <a:lnTo>
                        <a:pt x="34" y="20"/>
                      </a:lnTo>
                      <a:lnTo>
                        <a:pt x="34" y="24"/>
                      </a:lnTo>
                      <a:lnTo>
                        <a:pt x="34" y="28"/>
                      </a:lnTo>
                      <a:lnTo>
                        <a:pt x="36" y="26"/>
                      </a:lnTo>
                      <a:lnTo>
                        <a:pt x="36" y="26"/>
                      </a:lnTo>
                      <a:lnTo>
                        <a:pt x="42" y="24"/>
                      </a:lnTo>
                      <a:lnTo>
                        <a:pt x="44" y="24"/>
                      </a:lnTo>
                      <a:lnTo>
                        <a:pt x="48" y="26"/>
                      </a:lnTo>
                      <a:lnTo>
                        <a:pt x="54" y="22"/>
                      </a:lnTo>
                      <a:lnTo>
                        <a:pt x="54" y="22"/>
                      </a:lnTo>
                      <a:lnTo>
                        <a:pt x="60" y="20"/>
                      </a:lnTo>
                      <a:lnTo>
                        <a:pt x="64" y="18"/>
                      </a:lnTo>
                      <a:lnTo>
                        <a:pt x="66" y="18"/>
                      </a:lnTo>
                      <a:lnTo>
                        <a:pt x="66" y="16"/>
                      </a:lnTo>
                      <a:lnTo>
                        <a:pt x="66" y="16"/>
                      </a:lnTo>
                      <a:lnTo>
                        <a:pt x="66" y="14"/>
                      </a:lnTo>
                      <a:lnTo>
                        <a:pt x="70" y="14"/>
                      </a:lnTo>
                      <a:lnTo>
                        <a:pt x="72" y="12"/>
                      </a:lnTo>
                      <a:lnTo>
                        <a:pt x="70" y="8"/>
                      </a:lnTo>
                      <a:lnTo>
                        <a:pt x="70" y="8"/>
                      </a:lnTo>
                      <a:lnTo>
                        <a:pt x="68" y="2"/>
                      </a:lnTo>
                      <a:lnTo>
                        <a:pt x="66" y="0"/>
                      </a:lnTo>
                      <a:lnTo>
                        <a:pt x="70" y="0"/>
                      </a:lnTo>
                      <a:lnTo>
                        <a:pt x="70" y="0"/>
                      </a:lnTo>
                      <a:lnTo>
                        <a:pt x="74" y="0"/>
                      </a:lnTo>
                      <a:lnTo>
                        <a:pt x="76" y="2"/>
                      </a:lnTo>
                      <a:lnTo>
                        <a:pt x="78" y="2"/>
                      </a:lnTo>
                      <a:lnTo>
                        <a:pt x="80" y="2"/>
                      </a:lnTo>
                      <a:lnTo>
                        <a:pt x="80" y="2"/>
                      </a:lnTo>
                      <a:lnTo>
                        <a:pt x="82" y="0"/>
                      </a:lnTo>
                      <a:lnTo>
                        <a:pt x="84" y="2"/>
                      </a:lnTo>
                      <a:lnTo>
                        <a:pt x="86" y="2"/>
                      </a:lnTo>
                      <a:lnTo>
                        <a:pt x="86" y="4"/>
                      </a:lnTo>
                      <a:lnTo>
                        <a:pt x="86" y="4"/>
                      </a:lnTo>
                      <a:lnTo>
                        <a:pt x="88" y="4"/>
                      </a:lnTo>
                      <a:lnTo>
                        <a:pt x="88" y="6"/>
                      </a:lnTo>
                      <a:lnTo>
                        <a:pt x="90" y="12"/>
                      </a:lnTo>
                      <a:lnTo>
                        <a:pt x="90" y="12"/>
                      </a:lnTo>
                      <a:lnTo>
                        <a:pt x="90" y="16"/>
                      </a:lnTo>
                      <a:lnTo>
                        <a:pt x="88" y="16"/>
                      </a:lnTo>
                      <a:lnTo>
                        <a:pt x="84" y="16"/>
                      </a:lnTo>
                      <a:lnTo>
                        <a:pt x="84" y="20"/>
                      </a:lnTo>
                      <a:lnTo>
                        <a:pt x="84" y="20"/>
                      </a:lnTo>
                      <a:lnTo>
                        <a:pt x="86" y="26"/>
                      </a:lnTo>
                      <a:lnTo>
                        <a:pt x="84" y="28"/>
                      </a:lnTo>
                      <a:lnTo>
                        <a:pt x="80" y="32"/>
                      </a:lnTo>
                      <a:lnTo>
                        <a:pt x="80" y="32"/>
                      </a:lnTo>
                      <a:lnTo>
                        <a:pt x="80" y="32"/>
                      </a:lnTo>
                      <a:lnTo>
                        <a:pt x="78" y="30"/>
                      </a:lnTo>
                      <a:lnTo>
                        <a:pt x="76" y="28"/>
                      </a:lnTo>
                      <a:lnTo>
                        <a:pt x="74" y="30"/>
                      </a:lnTo>
                      <a:lnTo>
                        <a:pt x="74" y="30"/>
                      </a:lnTo>
                      <a:lnTo>
                        <a:pt x="72" y="32"/>
                      </a:lnTo>
                      <a:lnTo>
                        <a:pt x="76" y="32"/>
                      </a:lnTo>
                      <a:lnTo>
                        <a:pt x="78" y="32"/>
                      </a:lnTo>
                      <a:lnTo>
                        <a:pt x="74" y="36"/>
                      </a:lnTo>
                      <a:lnTo>
                        <a:pt x="74" y="36"/>
                      </a:lnTo>
                      <a:lnTo>
                        <a:pt x="66" y="44"/>
                      </a:lnTo>
                      <a:lnTo>
                        <a:pt x="60" y="46"/>
                      </a:lnTo>
                      <a:lnTo>
                        <a:pt x="58" y="46"/>
                      </a:lnTo>
                      <a:lnTo>
                        <a:pt x="54" y="48"/>
                      </a:lnTo>
                      <a:lnTo>
                        <a:pt x="54" y="48"/>
                      </a:lnTo>
                      <a:lnTo>
                        <a:pt x="48" y="52"/>
                      </a:lnTo>
                      <a:lnTo>
                        <a:pt x="46" y="52"/>
                      </a:lnTo>
                      <a:lnTo>
                        <a:pt x="44" y="50"/>
                      </a:lnTo>
                      <a:lnTo>
                        <a:pt x="38" y="52"/>
                      </a:lnTo>
                      <a:lnTo>
                        <a:pt x="38" y="52"/>
                      </a:lnTo>
                      <a:lnTo>
                        <a:pt x="34" y="52"/>
                      </a:lnTo>
                      <a:lnTo>
                        <a:pt x="30" y="50"/>
                      </a:lnTo>
                      <a:lnTo>
                        <a:pt x="26" y="48"/>
                      </a:lnTo>
                      <a:lnTo>
                        <a:pt x="22" y="50"/>
                      </a:lnTo>
                      <a:lnTo>
                        <a:pt x="22" y="50"/>
                      </a:lnTo>
                      <a:lnTo>
                        <a:pt x="18" y="52"/>
                      </a:lnTo>
                      <a:lnTo>
                        <a:pt x="16" y="50"/>
                      </a:lnTo>
                      <a:lnTo>
                        <a:pt x="14" y="46"/>
                      </a:lnTo>
                      <a:lnTo>
                        <a:pt x="10" y="42"/>
                      </a:lnTo>
                      <a:lnTo>
                        <a:pt x="10" y="42"/>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560" name="Botswana"/>
              <p:cNvSpPr>
                <a:spLocks/>
              </p:cNvSpPr>
              <p:nvPr/>
            </p:nvSpPr>
            <p:spPr bwMode="auto">
              <a:xfrm>
                <a:off x="6398067" y="4380846"/>
                <a:ext cx="306802" cy="339901"/>
              </a:xfrm>
              <a:custGeom>
                <a:avLst/>
                <a:gdLst/>
                <a:ahLst/>
                <a:cxnLst>
                  <a:cxn ang="0">
                    <a:pos x="0" y="180"/>
                  </a:cxn>
                  <a:cxn ang="0">
                    <a:pos x="24" y="106"/>
                  </a:cxn>
                  <a:cxn ang="0">
                    <a:pos x="28" y="22"/>
                  </a:cxn>
                  <a:cxn ang="0">
                    <a:pos x="68" y="10"/>
                  </a:cxn>
                  <a:cxn ang="0">
                    <a:pos x="78" y="10"/>
                  </a:cxn>
                  <a:cxn ang="0">
                    <a:pos x="88" y="18"/>
                  </a:cxn>
                  <a:cxn ang="0">
                    <a:pos x="94" y="16"/>
                  </a:cxn>
                  <a:cxn ang="0">
                    <a:pos x="102" y="8"/>
                  </a:cxn>
                  <a:cxn ang="0">
                    <a:pos x="112" y="6"/>
                  </a:cxn>
                  <a:cxn ang="0">
                    <a:pos x="118" y="0"/>
                  </a:cxn>
                  <a:cxn ang="0">
                    <a:pos x="126" y="16"/>
                  </a:cxn>
                  <a:cxn ang="0">
                    <a:pos x="130" y="28"/>
                  </a:cxn>
                  <a:cxn ang="0">
                    <a:pos x="132" y="38"/>
                  </a:cxn>
                  <a:cxn ang="0">
                    <a:pos x="150" y="58"/>
                  </a:cxn>
                  <a:cxn ang="0">
                    <a:pos x="156" y="66"/>
                  </a:cxn>
                  <a:cxn ang="0">
                    <a:pos x="162" y="74"/>
                  </a:cxn>
                  <a:cxn ang="0">
                    <a:pos x="164" y="76"/>
                  </a:cxn>
                  <a:cxn ang="0">
                    <a:pos x="168" y="90"/>
                  </a:cxn>
                  <a:cxn ang="0">
                    <a:pos x="172" y="98"/>
                  </a:cxn>
                  <a:cxn ang="0">
                    <a:pos x="184" y="104"/>
                  </a:cxn>
                  <a:cxn ang="0">
                    <a:pos x="196" y="108"/>
                  </a:cxn>
                  <a:cxn ang="0">
                    <a:pos x="202" y="112"/>
                  </a:cxn>
                  <a:cxn ang="0">
                    <a:pos x="202" y="114"/>
                  </a:cxn>
                  <a:cxn ang="0">
                    <a:pos x="196" y="118"/>
                  </a:cxn>
                  <a:cxn ang="0">
                    <a:pos x="188" y="120"/>
                  </a:cxn>
                  <a:cxn ang="0">
                    <a:pos x="182" y="122"/>
                  </a:cxn>
                  <a:cxn ang="0">
                    <a:pos x="176" y="130"/>
                  </a:cxn>
                  <a:cxn ang="0">
                    <a:pos x="166" y="136"/>
                  </a:cxn>
                  <a:cxn ang="0">
                    <a:pos x="158" y="144"/>
                  </a:cxn>
                  <a:cxn ang="0">
                    <a:pos x="150" y="158"/>
                  </a:cxn>
                  <a:cxn ang="0">
                    <a:pos x="138" y="168"/>
                  </a:cxn>
                  <a:cxn ang="0">
                    <a:pos x="126" y="190"/>
                  </a:cxn>
                  <a:cxn ang="0">
                    <a:pos x="118" y="192"/>
                  </a:cxn>
                  <a:cxn ang="0">
                    <a:pos x="104" y="198"/>
                  </a:cxn>
                  <a:cxn ang="0">
                    <a:pos x="94" y="196"/>
                  </a:cxn>
                  <a:cxn ang="0">
                    <a:pos x="88" y="194"/>
                  </a:cxn>
                  <a:cxn ang="0">
                    <a:pos x="88" y="190"/>
                  </a:cxn>
                  <a:cxn ang="0">
                    <a:pos x="84" y="190"/>
                  </a:cxn>
                  <a:cxn ang="0">
                    <a:pos x="66" y="194"/>
                  </a:cxn>
                  <a:cxn ang="0">
                    <a:pos x="60" y="202"/>
                  </a:cxn>
                  <a:cxn ang="0">
                    <a:pos x="62" y="204"/>
                  </a:cxn>
                  <a:cxn ang="0">
                    <a:pos x="62" y="206"/>
                  </a:cxn>
                  <a:cxn ang="0">
                    <a:pos x="54" y="212"/>
                  </a:cxn>
                  <a:cxn ang="0">
                    <a:pos x="50" y="218"/>
                  </a:cxn>
                  <a:cxn ang="0">
                    <a:pos x="48" y="220"/>
                  </a:cxn>
                  <a:cxn ang="0">
                    <a:pos x="42" y="222"/>
                  </a:cxn>
                  <a:cxn ang="0">
                    <a:pos x="42" y="224"/>
                  </a:cxn>
                  <a:cxn ang="0">
                    <a:pos x="34" y="224"/>
                  </a:cxn>
                  <a:cxn ang="0">
                    <a:pos x="28" y="224"/>
                  </a:cxn>
                  <a:cxn ang="0">
                    <a:pos x="22" y="222"/>
                  </a:cxn>
                  <a:cxn ang="0">
                    <a:pos x="26" y="212"/>
                  </a:cxn>
                  <a:cxn ang="0">
                    <a:pos x="24" y="198"/>
                  </a:cxn>
                  <a:cxn ang="0">
                    <a:pos x="16" y="188"/>
                  </a:cxn>
                  <a:cxn ang="0">
                    <a:pos x="0" y="180"/>
                  </a:cxn>
                </a:cxnLst>
                <a:rect l="0" t="0" r="r" b="b"/>
                <a:pathLst>
                  <a:path w="202" h="224">
                    <a:moveTo>
                      <a:pt x="0" y="180"/>
                    </a:moveTo>
                    <a:lnTo>
                      <a:pt x="0" y="180"/>
                    </a:lnTo>
                    <a:lnTo>
                      <a:pt x="4" y="106"/>
                    </a:lnTo>
                    <a:lnTo>
                      <a:pt x="24" y="106"/>
                    </a:lnTo>
                    <a:lnTo>
                      <a:pt x="28" y="22"/>
                    </a:lnTo>
                    <a:lnTo>
                      <a:pt x="28" y="22"/>
                    </a:lnTo>
                    <a:lnTo>
                      <a:pt x="68" y="10"/>
                    </a:lnTo>
                    <a:lnTo>
                      <a:pt x="68" y="10"/>
                    </a:lnTo>
                    <a:lnTo>
                      <a:pt x="72" y="10"/>
                    </a:lnTo>
                    <a:lnTo>
                      <a:pt x="78" y="10"/>
                    </a:lnTo>
                    <a:lnTo>
                      <a:pt x="84" y="14"/>
                    </a:lnTo>
                    <a:lnTo>
                      <a:pt x="88" y="18"/>
                    </a:lnTo>
                    <a:lnTo>
                      <a:pt x="92" y="18"/>
                    </a:lnTo>
                    <a:lnTo>
                      <a:pt x="94" y="16"/>
                    </a:lnTo>
                    <a:lnTo>
                      <a:pt x="94" y="16"/>
                    </a:lnTo>
                    <a:lnTo>
                      <a:pt x="102" y="8"/>
                    </a:lnTo>
                    <a:lnTo>
                      <a:pt x="108" y="6"/>
                    </a:lnTo>
                    <a:lnTo>
                      <a:pt x="112" y="6"/>
                    </a:lnTo>
                    <a:lnTo>
                      <a:pt x="118" y="0"/>
                    </a:lnTo>
                    <a:lnTo>
                      <a:pt x="118" y="0"/>
                    </a:lnTo>
                    <a:lnTo>
                      <a:pt x="122" y="12"/>
                    </a:lnTo>
                    <a:lnTo>
                      <a:pt x="126" y="16"/>
                    </a:lnTo>
                    <a:lnTo>
                      <a:pt x="128" y="18"/>
                    </a:lnTo>
                    <a:lnTo>
                      <a:pt x="130" y="28"/>
                    </a:lnTo>
                    <a:lnTo>
                      <a:pt x="130" y="28"/>
                    </a:lnTo>
                    <a:lnTo>
                      <a:pt x="132" y="38"/>
                    </a:lnTo>
                    <a:lnTo>
                      <a:pt x="136" y="44"/>
                    </a:lnTo>
                    <a:lnTo>
                      <a:pt x="150" y="58"/>
                    </a:lnTo>
                    <a:lnTo>
                      <a:pt x="150" y="58"/>
                    </a:lnTo>
                    <a:lnTo>
                      <a:pt x="156" y="66"/>
                    </a:lnTo>
                    <a:lnTo>
                      <a:pt x="160" y="72"/>
                    </a:lnTo>
                    <a:lnTo>
                      <a:pt x="162" y="74"/>
                    </a:lnTo>
                    <a:lnTo>
                      <a:pt x="164" y="76"/>
                    </a:lnTo>
                    <a:lnTo>
                      <a:pt x="164" y="76"/>
                    </a:lnTo>
                    <a:lnTo>
                      <a:pt x="164" y="80"/>
                    </a:lnTo>
                    <a:lnTo>
                      <a:pt x="168" y="90"/>
                    </a:lnTo>
                    <a:lnTo>
                      <a:pt x="170" y="94"/>
                    </a:lnTo>
                    <a:lnTo>
                      <a:pt x="172" y="98"/>
                    </a:lnTo>
                    <a:lnTo>
                      <a:pt x="178" y="102"/>
                    </a:lnTo>
                    <a:lnTo>
                      <a:pt x="184" y="104"/>
                    </a:lnTo>
                    <a:lnTo>
                      <a:pt x="184" y="104"/>
                    </a:lnTo>
                    <a:lnTo>
                      <a:pt x="196" y="108"/>
                    </a:lnTo>
                    <a:lnTo>
                      <a:pt x="202" y="110"/>
                    </a:lnTo>
                    <a:lnTo>
                      <a:pt x="202" y="112"/>
                    </a:lnTo>
                    <a:lnTo>
                      <a:pt x="202" y="114"/>
                    </a:lnTo>
                    <a:lnTo>
                      <a:pt x="202" y="114"/>
                    </a:lnTo>
                    <a:lnTo>
                      <a:pt x="198" y="116"/>
                    </a:lnTo>
                    <a:lnTo>
                      <a:pt x="196" y="118"/>
                    </a:lnTo>
                    <a:lnTo>
                      <a:pt x="194" y="120"/>
                    </a:lnTo>
                    <a:lnTo>
                      <a:pt x="188" y="120"/>
                    </a:lnTo>
                    <a:lnTo>
                      <a:pt x="188" y="120"/>
                    </a:lnTo>
                    <a:lnTo>
                      <a:pt x="182" y="122"/>
                    </a:lnTo>
                    <a:lnTo>
                      <a:pt x="180" y="126"/>
                    </a:lnTo>
                    <a:lnTo>
                      <a:pt x="176" y="130"/>
                    </a:lnTo>
                    <a:lnTo>
                      <a:pt x="166" y="136"/>
                    </a:lnTo>
                    <a:lnTo>
                      <a:pt x="166" y="136"/>
                    </a:lnTo>
                    <a:lnTo>
                      <a:pt x="162" y="138"/>
                    </a:lnTo>
                    <a:lnTo>
                      <a:pt x="158" y="144"/>
                    </a:lnTo>
                    <a:lnTo>
                      <a:pt x="150" y="158"/>
                    </a:lnTo>
                    <a:lnTo>
                      <a:pt x="150" y="158"/>
                    </a:lnTo>
                    <a:lnTo>
                      <a:pt x="144" y="164"/>
                    </a:lnTo>
                    <a:lnTo>
                      <a:pt x="138" y="168"/>
                    </a:lnTo>
                    <a:lnTo>
                      <a:pt x="132" y="174"/>
                    </a:lnTo>
                    <a:lnTo>
                      <a:pt x="126" y="190"/>
                    </a:lnTo>
                    <a:lnTo>
                      <a:pt x="126" y="190"/>
                    </a:lnTo>
                    <a:lnTo>
                      <a:pt x="118" y="192"/>
                    </a:lnTo>
                    <a:lnTo>
                      <a:pt x="112" y="194"/>
                    </a:lnTo>
                    <a:lnTo>
                      <a:pt x="104" y="198"/>
                    </a:lnTo>
                    <a:lnTo>
                      <a:pt x="100" y="198"/>
                    </a:lnTo>
                    <a:lnTo>
                      <a:pt x="94" y="196"/>
                    </a:lnTo>
                    <a:lnTo>
                      <a:pt x="94" y="196"/>
                    </a:lnTo>
                    <a:lnTo>
                      <a:pt x="88" y="194"/>
                    </a:lnTo>
                    <a:lnTo>
                      <a:pt x="88" y="192"/>
                    </a:lnTo>
                    <a:lnTo>
                      <a:pt x="88" y="190"/>
                    </a:lnTo>
                    <a:lnTo>
                      <a:pt x="84" y="190"/>
                    </a:lnTo>
                    <a:lnTo>
                      <a:pt x="84" y="190"/>
                    </a:lnTo>
                    <a:lnTo>
                      <a:pt x="74" y="190"/>
                    </a:lnTo>
                    <a:lnTo>
                      <a:pt x="66" y="194"/>
                    </a:lnTo>
                    <a:lnTo>
                      <a:pt x="62" y="198"/>
                    </a:lnTo>
                    <a:lnTo>
                      <a:pt x="60" y="202"/>
                    </a:lnTo>
                    <a:lnTo>
                      <a:pt x="62" y="204"/>
                    </a:lnTo>
                    <a:lnTo>
                      <a:pt x="62" y="204"/>
                    </a:lnTo>
                    <a:lnTo>
                      <a:pt x="62" y="206"/>
                    </a:lnTo>
                    <a:lnTo>
                      <a:pt x="62" y="206"/>
                    </a:lnTo>
                    <a:lnTo>
                      <a:pt x="58" y="208"/>
                    </a:lnTo>
                    <a:lnTo>
                      <a:pt x="54" y="212"/>
                    </a:lnTo>
                    <a:lnTo>
                      <a:pt x="50" y="218"/>
                    </a:lnTo>
                    <a:lnTo>
                      <a:pt x="50" y="218"/>
                    </a:lnTo>
                    <a:lnTo>
                      <a:pt x="48" y="220"/>
                    </a:lnTo>
                    <a:lnTo>
                      <a:pt x="48" y="220"/>
                    </a:lnTo>
                    <a:lnTo>
                      <a:pt x="46" y="218"/>
                    </a:lnTo>
                    <a:lnTo>
                      <a:pt x="42" y="222"/>
                    </a:lnTo>
                    <a:lnTo>
                      <a:pt x="42" y="222"/>
                    </a:lnTo>
                    <a:lnTo>
                      <a:pt x="42" y="224"/>
                    </a:lnTo>
                    <a:lnTo>
                      <a:pt x="38" y="224"/>
                    </a:lnTo>
                    <a:lnTo>
                      <a:pt x="34" y="224"/>
                    </a:lnTo>
                    <a:lnTo>
                      <a:pt x="28" y="224"/>
                    </a:lnTo>
                    <a:lnTo>
                      <a:pt x="28" y="224"/>
                    </a:lnTo>
                    <a:lnTo>
                      <a:pt x="22" y="224"/>
                    </a:lnTo>
                    <a:lnTo>
                      <a:pt x="22" y="222"/>
                    </a:lnTo>
                    <a:lnTo>
                      <a:pt x="26" y="212"/>
                    </a:lnTo>
                    <a:lnTo>
                      <a:pt x="26" y="212"/>
                    </a:lnTo>
                    <a:lnTo>
                      <a:pt x="26" y="206"/>
                    </a:lnTo>
                    <a:lnTo>
                      <a:pt x="24" y="198"/>
                    </a:lnTo>
                    <a:lnTo>
                      <a:pt x="20" y="192"/>
                    </a:lnTo>
                    <a:lnTo>
                      <a:pt x="16" y="188"/>
                    </a:lnTo>
                    <a:lnTo>
                      <a:pt x="10" y="184"/>
                    </a:lnTo>
                    <a:lnTo>
                      <a:pt x="0" y="180"/>
                    </a:lnTo>
                    <a:lnTo>
                      <a:pt x="0" y="180"/>
                    </a:lnTo>
                    <a:close/>
                  </a:path>
                </a:pathLst>
              </a:custGeom>
              <a:solidFill>
                <a:schemeClr val="accent3"/>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35" name="Freeform 8"/>
            <p:cNvSpPr>
              <a:spLocks/>
            </p:cNvSpPr>
            <p:nvPr/>
          </p:nvSpPr>
          <p:spPr bwMode="auto">
            <a:xfrm>
              <a:off x="3944737" y="5556492"/>
              <a:ext cx="118469" cy="60697"/>
            </a:xfrm>
            <a:custGeom>
              <a:avLst/>
              <a:gdLst/>
              <a:ahLst/>
              <a:cxnLst>
                <a:cxn ang="0">
                  <a:pos x="0" y="0"/>
                </a:cxn>
                <a:cxn ang="0">
                  <a:pos x="10" y="4"/>
                </a:cxn>
                <a:cxn ang="0">
                  <a:pos x="12" y="6"/>
                </a:cxn>
                <a:cxn ang="0">
                  <a:pos x="8" y="6"/>
                </a:cxn>
                <a:cxn ang="0">
                  <a:pos x="10" y="8"/>
                </a:cxn>
                <a:cxn ang="0">
                  <a:pos x="14" y="8"/>
                </a:cxn>
                <a:cxn ang="0">
                  <a:pos x="16" y="10"/>
                </a:cxn>
                <a:cxn ang="0">
                  <a:pos x="20" y="14"/>
                </a:cxn>
                <a:cxn ang="0">
                  <a:pos x="26" y="16"/>
                </a:cxn>
                <a:cxn ang="0">
                  <a:pos x="32" y="20"/>
                </a:cxn>
                <a:cxn ang="0">
                  <a:pos x="38" y="22"/>
                </a:cxn>
                <a:cxn ang="0">
                  <a:pos x="42" y="24"/>
                </a:cxn>
                <a:cxn ang="0">
                  <a:pos x="50" y="26"/>
                </a:cxn>
                <a:cxn ang="0">
                  <a:pos x="52" y="26"/>
                </a:cxn>
                <a:cxn ang="0">
                  <a:pos x="58" y="30"/>
                </a:cxn>
                <a:cxn ang="0">
                  <a:pos x="64" y="32"/>
                </a:cxn>
                <a:cxn ang="0">
                  <a:pos x="68" y="34"/>
                </a:cxn>
                <a:cxn ang="0">
                  <a:pos x="74" y="34"/>
                </a:cxn>
                <a:cxn ang="0">
                  <a:pos x="78" y="34"/>
                </a:cxn>
                <a:cxn ang="0">
                  <a:pos x="78" y="36"/>
                </a:cxn>
                <a:cxn ang="0">
                  <a:pos x="76" y="38"/>
                </a:cxn>
                <a:cxn ang="0">
                  <a:pos x="72" y="38"/>
                </a:cxn>
                <a:cxn ang="0">
                  <a:pos x="66" y="40"/>
                </a:cxn>
                <a:cxn ang="0">
                  <a:pos x="64" y="40"/>
                </a:cxn>
                <a:cxn ang="0">
                  <a:pos x="60" y="40"/>
                </a:cxn>
                <a:cxn ang="0">
                  <a:pos x="56" y="40"/>
                </a:cxn>
                <a:cxn ang="0">
                  <a:pos x="46" y="38"/>
                </a:cxn>
                <a:cxn ang="0">
                  <a:pos x="38" y="40"/>
                </a:cxn>
                <a:cxn ang="0">
                  <a:pos x="32" y="38"/>
                </a:cxn>
                <a:cxn ang="0">
                  <a:pos x="24" y="36"/>
                </a:cxn>
                <a:cxn ang="0">
                  <a:pos x="24" y="38"/>
                </a:cxn>
                <a:cxn ang="0">
                  <a:pos x="20" y="38"/>
                </a:cxn>
              </a:cxnLst>
              <a:rect l="0" t="0" r="r" b="b"/>
              <a:pathLst>
                <a:path w="78" h="40">
                  <a:moveTo>
                    <a:pt x="20" y="38"/>
                  </a:moveTo>
                  <a:lnTo>
                    <a:pt x="0" y="0"/>
                  </a:lnTo>
                  <a:lnTo>
                    <a:pt x="0" y="0"/>
                  </a:lnTo>
                  <a:lnTo>
                    <a:pt x="10" y="4"/>
                  </a:lnTo>
                  <a:lnTo>
                    <a:pt x="10" y="4"/>
                  </a:lnTo>
                  <a:lnTo>
                    <a:pt x="12" y="6"/>
                  </a:lnTo>
                  <a:lnTo>
                    <a:pt x="8" y="6"/>
                  </a:lnTo>
                  <a:lnTo>
                    <a:pt x="8" y="6"/>
                  </a:lnTo>
                  <a:lnTo>
                    <a:pt x="6" y="8"/>
                  </a:lnTo>
                  <a:lnTo>
                    <a:pt x="10" y="8"/>
                  </a:lnTo>
                  <a:lnTo>
                    <a:pt x="10" y="8"/>
                  </a:lnTo>
                  <a:lnTo>
                    <a:pt x="14" y="8"/>
                  </a:lnTo>
                  <a:lnTo>
                    <a:pt x="14" y="8"/>
                  </a:lnTo>
                  <a:lnTo>
                    <a:pt x="16" y="10"/>
                  </a:lnTo>
                  <a:lnTo>
                    <a:pt x="16" y="10"/>
                  </a:lnTo>
                  <a:lnTo>
                    <a:pt x="20" y="14"/>
                  </a:lnTo>
                  <a:lnTo>
                    <a:pt x="26" y="16"/>
                  </a:lnTo>
                  <a:lnTo>
                    <a:pt x="26" y="16"/>
                  </a:lnTo>
                  <a:lnTo>
                    <a:pt x="28" y="18"/>
                  </a:lnTo>
                  <a:lnTo>
                    <a:pt x="32" y="20"/>
                  </a:lnTo>
                  <a:lnTo>
                    <a:pt x="32" y="20"/>
                  </a:lnTo>
                  <a:lnTo>
                    <a:pt x="38" y="22"/>
                  </a:lnTo>
                  <a:lnTo>
                    <a:pt x="42" y="24"/>
                  </a:lnTo>
                  <a:lnTo>
                    <a:pt x="42" y="24"/>
                  </a:lnTo>
                  <a:lnTo>
                    <a:pt x="46" y="26"/>
                  </a:lnTo>
                  <a:lnTo>
                    <a:pt x="50" y="26"/>
                  </a:lnTo>
                  <a:lnTo>
                    <a:pt x="50" y="26"/>
                  </a:lnTo>
                  <a:lnTo>
                    <a:pt x="52" y="26"/>
                  </a:lnTo>
                  <a:lnTo>
                    <a:pt x="52" y="26"/>
                  </a:lnTo>
                  <a:lnTo>
                    <a:pt x="58" y="30"/>
                  </a:lnTo>
                  <a:lnTo>
                    <a:pt x="58" y="30"/>
                  </a:lnTo>
                  <a:lnTo>
                    <a:pt x="64" y="32"/>
                  </a:lnTo>
                  <a:lnTo>
                    <a:pt x="68" y="34"/>
                  </a:lnTo>
                  <a:lnTo>
                    <a:pt x="68" y="34"/>
                  </a:lnTo>
                  <a:lnTo>
                    <a:pt x="72" y="34"/>
                  </a:lnTo>
                  <a:lnTo>
                    <a:pt x="74" y="34"/>
                  </a:lnTo>
                  <a:lnTo>
                    <a:pt x="74" y="34"/>
                  </a:lnTo>
                  <a:lnTo>
                    <a:pt x="78" y="34"/>
                  </a:lnTo>
                  <a:lnTo>
                    <a:pt x="78" y="34"/>
                  </a:lnTo>
                  <a:lnTo>
                    <a:pt x="78" y="36"/>
                  </a:lnTo>
                  <a:lnTo>
                    <a:pt x="78" y="36"/>
                  </a:lnTo>
                  <a:lnTo>
                    <a:pt x="76" y="38"/>
                  </a:lnTo>
                  <a:lnTo>
                    <a:pt x="72" y="38"/>
                  </a:lnTo>
                  <a:lnTo>
                    <a:pt x="72" y="38"/>
                  </a:lnTo>
                  <a:lnTo>
                    <a:pt x="70" y="40"/>
                  </a:lnTo>
                  <a:lnTo>
                    <a:pt x="66" y="40"/>
                  </a:lnTo>
                  <a:lnTo>
                    <a:pt x="66" y="40"/>
                  </a:lnTo>
                  <a:lnTo>
                    <a:pt x="64" y="40"/>
                  </a:lnTo>
                  <a:lnTo>
                    <a:pt x="62" y="40"/>
                  </a:lnTo>
                  <a:lnTo>
                    <a:pt x="60" y="40"/>
                  </a:lnTo>
                  <a:lnTo>
                    <a:pt x="56" y="40"/>
                  </a:lnTo>
                  <a:lnTo>
                    <a:pt x="56" y="40"/>
                  </a:lnTo>
                  <a:lnTo>
                    <a:pt x="50" y="38"/>
                  </a:lnTo>
                  <a:lnTo>
                    <a:pt x="46" y="38"/>
                  </a:lnTo>
                  <a:lnTo>
                    <a:pt x="46" y="38"/>
                  </a:lnTo>
                  <a:lnTo>
                    <a:pt x="38" y="40"/>
                  </a:lnTo>
                  <a:lnTo>
                    <a:pt x="32" y="38"/>
                  </a:lnTo>
                  <a:lnTo>
                    <a:pt x="32" y="38"/>
                  </a:lnTo>
                  <a:lnTo>
                    <a:pt x="28" y="36"/>
                  </a:lnTo>
                  <a:lnTo>
                    <a:pt x="24" y="36"/>
                  </a:lnTo>
                  <a:lnTo>
                    <a:pt x="24" y="38"/>
                  </a:lnTo>
                  <a:lnTo>
                    <a:pt x="24" y="38"/>
                  </a:lnTo>
                  <a:lnTo>
                    <a:pt x="20" y="38"/>
                  </a:lnTo>
                  <a:lnTo>
                    <a:pt x="20" y="38"/>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503" name="Freeform 67"/>
          <p:cNvSpPr>
            <a:spLocks/>
          </p:cNvSpPr>
          <p:nvPr/>
        </p:nvSpPr>
        <p:spPr bwMode="auto">
          <a:xfrm>
            <a:off x="6891762" y="2179005"/>
            <a:ext cx="61529" cy="54627"/>
          </a:xfrm>
          <a:custGeom>
            <a:avLst/>
            <a:gdLst/>
            <a:ahLst/>
            <a:cxnLst>
              <a:cxn ang="0">
                <a:pos x="14" y="8"/>
              </a:cxn>
              <a:cxn ang="0">
                <a:pos x="22" y="6"/>
              </a:cxn>
              <a:cxn ang="0">
                <a:pos x="24" y="4"/>
              </a:cxn>
              <a:cxn ang="0">
                <a:pos x="28" y="2"/>
              </a:cxn>
              <a:cxn ang="0">
                <a:pos x="38" y="2"/>
              </a:cxn>
              <a:cxn ang="0">
                <a:pos x="44" y="0"/>
              </a:cxn>
              <a:cxn ang="0">
                <a:pos x="46" y="2"/>
              </a:cxn>
              <a:cxn ang="0">
                <a:pos x="48" y="2"/>
              </a:cxn>
              <a:cxn ang="0">
                <a:pos x="50" y="2"/>
              </a:cxn>
              <a:cxn ang="0">
                <a:pos x="54" y="8"/>
              </a:cxn>
              <a:cxn ang="0">
                <a:pos x="52" y="12"/>
              </a:cxn>
              <a:cxn ang="0">
                <a:pos x="50" y="14"/>
              </a:cxn>
              <a:cxn ang="0">
                <a:pos x="46" y="20"/>
              </a:cxn>
              <a:cxn ang="0">
                <a:pos x="46" y="22"/>
              </a:cxn>
              <a:cxn ang="0">
                <a:pos x="46" y="30"/>
              </a:cxn>
              <a:cxn ang="0">
                <a:pos x="42" y="34"/>
              </a:cxn>
              <a:cxn ang="0">
                <a:pos x="40" y="40"/>
              </a:cxn>
              <a:cxn ang="0">
                <a:pos x="34" y="44"/>
              </a:cxn>
              <a:cxn ang="0">
                <a:pos x="28" y="44"/>
              </a:cxn>
              <a:cxn ang="0">
                <a:pos x="24" y="46"/>
              </a:cxn>
              <a:cxn ang="0">
                <a:pos x="22" y="48"/>
              </a:cxn>
              <a:cxn ang="0">
                <a:pos x="18" y="46"/>
              </a:cxn>
              <a:cxn ang="0">
                <a:pos x="12" y="42"/>
              </a:cxn>
              <a:cxn ang="0">
                <a:pos x="6" y="36"/>
              </a:cxn>
              <a:cxn ang="0">
                <a:pos x="2" y="30"/>
              </a:cxn>
              <a:cxn ang="0">
                <a:pos x="2" y="26"/>
              </a:cxn>
              <a:cxn ang="0">
                <a:pos x="0" y="22"/>
              </a:cxn>
              <a:cxn ang="0">
                <a:pos x="2" y="18"/>
              </a:cxn>
              <a:cxn ang="0">
                <a:pos x="12" y="10"/>
              </a:cxn>
              <a:cxn ang="0">
                <a:pos x="14" y="10"/>
              </a:cxn>
              <a:cxn ang="0">
                <a:pos x="12" y="8"/>
              </a:cxn>
              <a:cxn ang="0">
                <a:pos x="14" y="8"/>
              </a:cxn>
            </a:cxnLst>
            <a:rect l="0" t="0" r="r" b="b"/>
            <a:pathLst>
              <a:path w="54" h="48">
                <a:moveTo>
                  <a:pt x="14" y="8"/>
                </a:moveTo>
                <a:lnTo>
                  <a:pt x="14" y="8"/>
                </a:lnTo>
                <a:lnTo>
                  <a:pt x="18" y="6"/>
                </a:lnTo>
                <a:lnTo>
                  <a:pt x="22" y="6"/>
                </a:lnTo>
                <a:lnTo>
                  <a:pt x="22" y="6"/>
                </a:lnTo>
                <a:lnTo>
                  <a:pt x="24" y="4"/>
                </a:lnTo>
                <a:lnTo>
                  <a:pt x="28" y="2"/>
                </a:lnTo>
                <a:lnTo>
                  <a:pt x="28" y="2"/>
                </a:lnTo>
                <a:lnTo>
                  <a:pt x="38" y="2"/>
                </a:lnTo>
                <a:lnTo>
                  <a:pt x="38" y="2"/>
                </a:lnTo>
                <a:lnTo>
                  <a:pt x="42" y="0"/>
                </a:lnTo>
                <a:lnTo>
                  <a:pt x="44" y="0"/>
                </a:lnTo>
                <a:lnTo>
                  <a:pt x="46" y="2"/>
                </a:lnTo>
                <a:lnTo>
                  <a:pt x="46" y="2"/>
                </a:lnTo>
                <a:lnTo>
                  <a:pt x="46" y="2"/>
                </a:lnTo>
                <a:lnTo>
                  <a:pt x="48" y="2"/>
                </a:lnTo>
                <a:lnTo>
                  <a:pt x="50" y="0"/>
                </a:lnTo>
                <a:lnTo>
                  <a:pt x="50" y="2"/>
                </a:lnTo>
                <a:lnTo>
                  <a:pt x="50" y="2"/>
                </a:lnTo>
                <a:lnTo>
                  <a:pt x="54" y="8"/>
                </a:lnTo>
                <a:lnTo>
                  <a:pt x="54" y="10"/>
                </a:lnTo>
                <a:lnTo>
                  <a:pt x="52" y="12"/>
                </a:lnTo>
                <a:lnTo>
                  <a:pt x="52" y="12"/>
                </a:lnTo>
                <a:lnTo>
                  <a:pt x="50" y="14"/>
                </a:lnTo>
                <a:lnTo>
                  <a:pt x="48" y="16"/>
                </a:lnTo>
                <a:lnTo>
                  <a:pt x="46" y="20"/>
                </a:lnTo>
                <a:lnTo>
                  <a:pt x="46" y="20"/>
                </a:lnTo>
                <a:lnTo>
                  <a:pt x="46" y="22"/>
                </a:lnTo>
                <a:lnTo>
                  <a:pt x="46" y="24"/>
                </a:lnTo>
                <a:lnTo>
                  <a:pt x="46" y="30"/>
                </a:lnTo>
                <a:lnTo>
                  <a:pt x="46" y="30"/>
                </a:lnTo>
                <a:lnTo>
                  <a:pt x="42" y="34"/>
                </a:lnTo>
                <a:lnTo>
                  <a:pt x="40" y="40"/>
                </a:lnTo>
                <a:lnTo>
                  <a:pt x="40" y="40"/>
                </a:lnTo>
                <a:lnTo>
                  <a:pt x="36" y="42"/>
                </a:lnTo>
                <a:lnTo>
                  <a:pt x="34" y="44"/>
                </a:lnTo>
                <a:lnTo>
                  <a:pt x="28" y="44"/>
                </a:lnTo>
                <a:lnTo>
                  <a:pt x="28" y="44"/>
                </a:lnTo>
                <a:lnTo>
                  <a:pt x="26" y="44"/>
                </a:lnTo>
                <a:lnTo>
                  <a:pt x="24" y="46"/>
                </a:lnTo>
                <a:lnTo>
                  <a:pt x="24" y="46"/>
                </a:lnTo>
                <a:lnTo>
                  <a:pt x="22" y="48"/>
                </a:lnTo>
                <a:lnTo>
                  <a:pt x="18" y="46"/>
                </a:lnTo>
                <a:lnTo>
                  <a:pt x="18" y="46"/>
                </a:lnTo>
                <a:lnTo>
                  <a:pt x="16" y="44"/>
                </a:lnTo>
                <a:lnTo>
                  <a:pt x="12" y="42"/>
                </a:lnTo>
                <a:lnTo>
                  <a:pt x="12" y="42"/>
                </a:lnTo>
                <a:lnTo>
                  <a:pt x="6" y="36"/>
                </a:lnTo>
                <a:lnTo>
                  <a:pt x="2" y="34"/>
                </a:lnTo>
                <a:lnTo>
                  <a:pt x="2" y="30"/>
                </a:lnTo>
                <a:lnTo>
                  <a:pt x="2" y="30"/>
                </a:lnTo>
                <a:lnTo>
                  <a:pt x="2" y="26"/>
                </a:lnTo>
                <a:lnTo>
                  <a:pt x="2" y="24"/>
                </a:lnTo>
                <a:lnTo>
                  <a:pt x="0" y="22"/>
                </a:lnTo>
                <a:lnTo>
                  <a:pt x="2" y="18"/>
                </a:lnTo>
                <a:lnTo>
                  <a:pt x="2" y="18"/>
                </a:lnTo>
                <a:lnTo>
                  <a:pt x="8" y="12"/>
                </a:lnTo>
                <a:lnTo>
                  <a:pt x="12" y="10"/>
                </a:lnTo>
                <a:lnTo>
                  <a:pt x="12" y="10"/>
                </a:lnTo>
                <a:lnTo>
                  <a:pt x="14" y="10"/>
                </a:lnTo>
                <a:lnTo>
                  <a:pt x="14" y="10"/>
                </a:lnTo>
                <a:lnTo>
                  <a:pt x="12" y="8"/>
                </a:lnTo>
                <a:lnTo>
                  <a:pt x="14" y="8"/>
                </a:lnTo>
                <a:lnTo>
                  <a:pt x="14" y="8"/>
                </a:lnTo>
                <a:close/>
              </a:path>
            </a:pathLst>
          </a:custGeom>
          <a:solidFill>
            <a:schemeClr val="tx1"/>
          </a:solidFill>
          <a:ln w="6350">
            <a:solidFill>
              <a:schemeClr val="tx1"/>
            </a:solidFill>
            <a:round/>
            <a:headEnd/>
            <a:tailEnd/>
          </a:ln>
        </p:spPr>
        <p:txBody>
          <a:bodyPr vert="horz" wrap="square" lIns="68589" tIns="34295" rIns="68589" bIns="34295" numCol="1" anchor="t" anchorCtr="0" compatLnSpc="1">
            <a:prstTxWarp prst="textNoShape">
              <a:avLst/>
            </a:prstTxWarp>
          </a:bodyPr>
          <a:lstStyle/>
          <a:p>
            <a:endParaRPr lang="en-US" dirty="0"/>
          </a:p>
        </p:txBody>
      </p:sp>
      <p:grpSp>
        <p:nvGrpSpPr>
          <p:cNvPr id="214" name="Group 213"/>
          <p:cNvGrpSpPr/>
          <p:nvPr/>
        </p:nvGrpSpPr>
        <p:grpSpPr>
          <a:xfrm>
            <a:off x="2277141" y="1086465"/>
            <a:ext cx="5450950" cy="3854560"/>
            <a:chOff x="3035397" y="1448619"/>
            <a:chExt cx="7266040" cy="5139413"/>
          </a:xfrm>
        </p:grpSpPr>
        <p:grpSp>
          <p:nvGrpSpPr>
            <p:cNvPr id="213" name="Group 212"/>
            <p:cNvGrpSpPr/>
            <p:nvPr/>
          </p:nvGrpSpPr>
          <p:grpSpPr>
            <a:xfrm>
              <a:off x="3035397" y="1448619"/>
              <a:ext cx="7266040" cy="5139413"/>
              <a:chOff x="3035397" y="1448619"/>
              <a:chExt cx="7266040" cy="5139413"/>
            </a:xfrm>
          </p:grpSpPr>
          <p:grpSp>
            <p:nvGrpSpPr>
              <p:cNvPr id="205" name="Group 204"/>
              <p:cNvGrpSpPr/>
              <p:nvPr/>
            </p:nvGrpSpPr>
            <p:grpSpPr>
              <a:xfrm>
                <a:off x="3035397" y="1448619"/>
                <a:ext cx="7266040" cy="5139413"/>
                <a:chOff x="3035397" y="1448619"/>
                <a:chExt cx="7266040" cy="5139413"/>
              </a:xfrm>
            </p:grpSpPr>
            <p:grpSp>
              <p:nvGrpSpPr>
                <p:cNvPr id="1042" name="Group 1041"/>
                <p:cNvGrpSpPr/>
                <p:nvPr/>
              </p:nvGrpSpPr>
              <p:grpSpPr>
                <a:xfrm>
                  <a:off x="3035397" y="1448619"/>
                  <a:ext cx="7266040" cy="5139413"/>
                  <a:chOff x="3035397" y="1448619"/>
                  <a:chExt cx="7266040" cy="5139413"/>
                </a:xfrm>
              </p:grpSpPr>
              <p:sp>
                <p:nvSpPr>
                  <p:cNvPr id="570" name="TANGO BLOCK"/>
                  <p:cNvSpPr/>
                  <p:nvPr/>
                </p:nvSpPr>
                <p:spPr>
                  <a:xfrm>
                    <a:off x="4954100" y="5900262"/>
                    <a:ext cx="2396023" cy="68777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en-US" sz="1800" b="1" dirty="0">
                        <a:solidFill>
                          <a:schemeClr val="tx1">
                            <a:alpha val="99000"/>
                          </a:schemeClr>
                        </a:solidFill>
                      </a:rPr>
                      <a:t>63 Countries</a:t>
                    </a:r>
                  </a:p>
                  <a:p>
                    <a:pPr algn="ctr"/>
                    <a:r>
                      <a:rPr lang="en-US" sz="1100" dirty="0">
                        <a:solidFill>
                          <a:schemeClr val="tx1">
                            <a:alpha val="99000"/>
                          </a:schemeClr>
                        </a:solidFill>
                      </a:rPr>
                      <a:t>Windows Phone 7.5</a:t>
                    </a:r>
                  </a:p>
                </p:txBody>
              </p:sp>
              <p:grpSp>
                <p:nvGrpSpPr>
                  <p:cNvPr id="1038" name="Group 1037"/>
                  <p:cNvGrpSpPr/>
                  <p:nvPr/>
                </p:nvGrpSpPr>
                <p:grpSpPr>
                  <a:xfrm>
                    <a:off x="3035397" y="1448619"/>
                    <a:ext cx="7266040" cy="2640635"/>
                    <a:chOff x="3035397" y="1448619"/>
                    <a:chExt cx="7266040" cy="2640635"/>
                  </a:xfrm>
                </p:grpSpPr>
                <p:grpSp>
                  <p:nvGrpSpPr>
                    <p:cNvPr id="1027" name="TANGO"/>
                    <p:cNvGrpSpPr/>
                    <p:nvPr/>
                  </p:nvGrpSpPr>
                  <p:grpSpPr>
                    <a:xfrm>
                      <a:off x="3035397" y="1448619"/>
                      <a:ext cx="7266040" cy="2640635"/>
                      <a:chOff x="3035397" y="1448619"/>
                      <a:chExt cx="7266040" cy="2640635"/>
                    </a:xfrm>
                  </p:grpSpPr>
                  <p:sp>
                    <p:nvSpPr>
                      <p:cNvPr id="625" name="Israel"/>
                      <p:cNvSpPr>
                        <a:spLocks/>
                      </p:cNvSpPr>
                      <p:nvPr/>
                    </p:nvSpPr>
                    <p:spPr bwMode="auto">
                      <a:xfrm>
                        <a:off x="6827893" y="2425837"/>
                        <a:ext cx="45565" cy="121393"/>
                      </a:xfrm>
                      <a:custGeom>
                        <a:avLst/>
                        <a:gdLst/>
                        <a:ahLst/>
                        <a:cxnLst>
                          <a:cxn ang="0">
                            <a:pos x="20" y="80"/>
                          </a:cxn>
                          <a:cxn ang="0">
                            <a:pos x="20" y="80"/>
                          </a:cxn>
                          <a:cxn ang="0">
                            <a:pos x="2" y="50"/>
                          </a:cxn>
                          <a:cxn ang="0">
                            <a:pos x="2" y="50"/>
                          </a:cxn>
                          <a:cxn ang="0">
                            <a:pos x="0" y="48"/>
                          </a:cxn>
                          <a:cxn ang="0">
                            <a:pos x="0" y="44"/>
                          </a:cxn>
                          <a:cxn ang="0">
                            <a:pos x="2" y="42"/>
                          </a:cxn>
                          <a:cxn ang="0">
                            <a:pos x="4" y="40"/>
                          </a:cxn>
                          <a:cxn ang="0">
                            <a:pos x="2" y="36"/>
                          </a:cxn>
                          <a:cxn ang="0">
                            <a:pos x="2" y="36"/>
                          </a:cxn>
                          <a:cxn ang="0">
                            <a:pos x="4" y="28"/>
                          </a:cxn>
                          <a:cxn ang="0">
                            <a:pos x="6" y="24"/>
                          </a:cxn>
                          <a:cxn ang="0">
                            <a:pos x="6" y="22"/>
                          </a:cxn>
                          <a:cxn ang="0">
                            <a:pos x="8" y="16"/>
                          </a:cxn>
                          <a:cxn ang="0">
                            <a:pos x="8" y="16"/>
                          </a:cxn>
                          <a:cxn ang="0">
                            <a:pos x="8" y="12"/>
                          </a:cxn>
                          <a:cxn ang="0">
                            <a:pos x="10" y="8"/>
                          </a:cxn>
                          <a:cxn ang="0">
                            <a:pos x="12" y="4"/>
                          </a:cxn>
                          <a:cxn ang="0">
                            <a:pos x="12" y="0"/>
                          </a:cxn>
                          <a:cxn ang="0">
                            <a:pos x="30" y="0"/>
                          </a:cxn>
                          <a:cxn ang="0">
                            <a:pos x="28" y="6"/>
                          </a:cxn>
                          <a:cxn ang="0">
                            <a:pos x="28" y="6"/>
                          </a:cxn>
                          <a:cxn ang="0">
                            <a:pos x="24" y="6"/>
                          </a:cxn>
                          <a:cxn ang="0">
                            <a:pos x="24" y="8"/>
                          </a:cxn>
                          <a:cxn ang="0">
                            <a:pos x="24" y="10"/>
                          </a:cxn>
                          <a:cxn ang="0">
                            <a:pos x="22" y="12"/>
                          </a:cxn>
                          <a:cxn ang="0">
                            <a:pos x="22" y="12"/>
                          </a:cxn>
                          <a:cxn ang="0">
                            <a:pos x="20" y="12"/>
                          </a:cxn>
                          <a:cxn ang="0">
                            <a:pos x="20" y="10"/>
                          </a:cxn>
                          <a:cxn ang="0">
                            <a:pos x="18" y="8"/>
                          </a:cxn>
                          <a:cxn ang="0">
                            <a:pos x="16" y="8"/>
                          </a:cxn>
                          <a:cxn ang="0">
                            <a:pos x="16" y="8"/>
                          </a:cxn>
                          <a:cxn ang="0">
                            <a:pos x="14" y="10"/>
                          </a:cxn>
                          <a:cxn ang="0">
                            <a:pos x="12" y="12"/>
                          </a:cxn>
                          <a:cxn ang="0">
                            <a:pos x="12" y="18"/>
                          </a:cxn>
                          <a:cxn ang="0">
                            <a:pos x="14" y="24"/>
                          </a:cxn>
                          <a:cxn ang="0">
                            <a:pos x="14" y="26"/>
                          </a:cxn>
                          <a:cxn ang="0">
                            <a:pos x="14" y="26"/>
                          </a:cxn>
                          <a:cxn ang="0">
                            <a:pos x="16" y="28"/>
                          </a:cxn>
                          <a:cxn ang="0">
                            <a:pos x="18" y="30"/>
                          </a:cxn>
                          <a:cxn ang="0">
                            <a:pos x="16" y="34"/>
                          </a:cxn>
                          <a:cxn ang="0">
                            <a:pos x="12" y="36"/>
                          </a:cxn>
                          <a:cxn ang="0">
                            <a:pos x="12" y="40"/>
                          </a:cxn>
                          <a:cxn ang="0">
                            <a:pos x="12" y="40"/>
                          </a:cxn>
                          <a:cxn ang="0">
                            <a:pos x="14" y="40"/>
                          </a:cxn>
                          <a:cxn ang="0">
                            <a:pos x="16" y="40"/>
                          </a:cxn>
                          <a:cxn ang="0">
                            <a:pos x="20" y="38"/>
                          </a:cxn>
                          <a:cxn ang="0">
                            <a:pos x="22" y="38"/>
                          </a:cxn>
                          <a:cxn ang="0">
                            <a:pos x="24" y="40"/>
                          </a:cxn>
                          <a:cxn ang="0">
                            <a:pos x="24" y="46"/>
                          </a:cxn>
                          <a:cxn ang="0">
                            <a:pos x="24" y="46"/>
                          </a:cxn>
                          <a:cxn ang="0">
                            <a:pos x="22" y="64"/>
                          </a:cxn>
                          <a:cxn ang="0">
                            <a:pos x="20" y="80"/>
                          </a:cxn>
                          <a:cxn ang="0">
                            <a:pos x="20" y="80"/>
                          </a:cxn>
                        </a:cxnLst>
                        <a:rect l="0" t="0" r="r" b="b"/>
                        <a:pathLst>
                          <a:path w="30" h="80">
                            <a:moveTo>
                              <a:pt x="20" y="80"/>
                            </a:moveTo>
                            <a:lnTo>
                              <a:pt x="20" y="80"/>
                            </a:lnTo>
                            <a:lnTo>
                              <a:pt x="2" y="50"/>
                            </a:lnTo>
                            <a:lnTo>
                              <a:pt x="2" y="50"/>
                            </a:lnTo>
                            <a:lnTo>
                              <a:pt x="0" y="48"/>
                            </a:lnTo>
                            <a:lnTo>
                              <a:pt x="0" y="44"/>
                            </a:lnTo>
                            <a:lnTo>
                              <a:pt x="2" y="42"/>
                            </a:lnTo>
                            <a:lnTo>
                              <a:pt x="4" y="40"/>
                            </a:lnTo>
                            <a:lnTo>
                              <a:pt x="2" y="36"/>
                            </a:lnTo>
                            <a:lnTo>
                              <a:pt x="2" y="36"/>
                            </a:lnTo>
                            <a:lnTo>
                              <a:pt x="4" y="28"/>
                            </a:lnTo>
                            <a:lnTo>
                              <a:pt x="6" y="24"/>
                            </a:lnTo>
                            <a:lnTo>
                              <a:pt x="6" y="22"/>
                            </a:lnTo>
                            <a:lnTo>
                              <a:pt x="8" y="16"/>
                            </a:lnTo>
                            <a:lnTo>
                              <a:pt x="8" y="16"/>
                            </a:lnTo>
                            <a:lnTo>
                              <a:pt x="8" y="12"/>
                            </a:lnTo>
                            <a:lnTo>
                              <a:pt x="10" y="8"/>
                            </a:lnTo>
                            <a:lnTo>
                              <a:pt x="12" y="4"/>
                            </a:lnTo>
                            <a:lnTo>
                              <a:pt x="12" y="0"/>
                            </a:lnTo>
                            <a:lnTo>
                              <a:pt x="30" y="0"/>
                            </a:lnTo>
                            <a:lnTo>
                              <a:pt x="28" y="6"/>
                            </a:lnTo>
                            <a:lnTo>
                              <a:pt x="28" y="6"/>
                            </a:lnTo>
                            <a:lnTo>
                              <a:pt x="24" y="6"/>
                            </a:lnTo>
                            <a:lnTo>
                              <a:pt x="24" y="8"/>
                            </a:lnTo>
                            <a:lnTo>
                              <a:pt x="24" y="10"/>
                            </a:lnTo>
                            <a:lnTo>
                              <a:pt x="22" y="12"/>
                            </a:lnTo>
                            <a:lnTo>
                              <a:pt x="22" y="12"/>
                            </a:lnTo>
                            <a:lnTo>
                              <a:pt x="20" y="12"/>
                            </a:lnTo>
                            <a:lnTo>
                              <a:pt x="20" y="10"/>
                            </a:lnTo>
                            <a:lnTo>
                              <a:pt x="18" y="8"/>
                            </a:lnTo>
                            <a:lnTo>
                              <a:pt x="16" y="8"/>
                            </a:lnTo>
                            <a:lnTo>
                              <a:pt x="16" y="8"/>
                            </a:lnTo>
                            <a:lnTo>
                              <a:pt x="14" y="10"/>
                            </a:lnTo>
                            <a:lnTo>
                              <a:pt x="12" y="12"/>
                            </a:lnTo>
                            <a:lnTo>
                              <a:pt x="12" y="18"/>
                            </a:lnTo>
                            <a:lnTo>
                              <a:pt x="14" y="24"/>
                            </a:lnTo>
                            <a:lnTo>
                              <a:pt x="14" y="26"/>
                            </a:lnTo>
                            <a:lnTo>
                              <a:pt x="14" y="26"/>
                            </a:lnTo>
                            <a:lnTo>
                              <a:pt x="16" y="28"/>
                            </a:lnTo>
                            <a:lnTo>
                              <a:pt x="18" y="30"/>
                            </a:lnTo>
                            <a:lnTo>
                              <a:pt x="16" y="34"/>
                            </a:lnTo>
                            <a:lnTo>
                              <a:pt x="12" y="36"/>
                            </a:lnTo>
                            <a:lnTo>
                              <a:pt x="12" y="40"/>
                            </a:lnTo>
                            <a:lnTo>
                              <a:pt x="12" y="40"/>
                            </a:lnTo>
                            <a:lnTo>
                              <a:pt x="14" y="40"/>
                            </a:lnTo>
                            <a:lnTo>
                              <a:pt x="16" y="40"/>
                            </a:lnTo>
                            <a:lnTo>
                              <a:pt x="20" y="38"/>
                            </a:lnTo>
                            <a:lnTo>
                              <a:pt x="22" y="38"/>
                            </a:lnTo>
                            <a:lnTo>
                              <a:pt x="24" y="40"/>
                            </a:lnTo>
                            <a:lnTo>
                              <a:pt x="24" y="46"/>
                            </a:lnTo>
                            <a:lnTo>
                              <a:pt x="24" y="46"/>
                            </a:lnTo>
                            <a:lnTo>
                              <a:pt x="22" y="64"/>
                            </a:lnTo>
                            <a:lnTo>
                              <a:pt x="20" y="80"/>
                            </a:lnTo>
                            <a:lnTo>
                              <a:pt x="20" y="80"/>
                            </a:lnTo>
                            <a:close/>
                          </a:path>
                        </a:pathLst>
                      </a:custGeom>
                      <a:solidFill>
                        <a:schemeClr val="tx2"/>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8" name="Qatar"/>
                      <p:cNvSpPr>
                        <a:spLocks/>
                      </p:cNvSpPr>
                      <p:nvPr/>
                    </p:nvSpPr>
                    <p:spPr bwMode="auto">
                      <a:xfrm>
                        <a:off x="7357962" y="2680760"/>
                        <a:ext cx="36452" cy="48557"/>
                      </a:xfrm>
                      <a:custGeom>
                        <a:avLst/>
                        <a:gdLst/>
                        <a:ahLst/>
                        <a:cxnLst>
                          <a:cxn ang="0">
                            <a:pos x="22" y="32"/>
                          </a:cxn>
                          <a:cxn ang="0">
                            <a:pos x="22" y="32"/>
                          </a:cxn>
                          <a:cxn ang="0">
                            <a:pos x="24" y="28"/>
                          </a:cxn>
                          <a:cxn ang="0">
                            <a:pos x="22" y="24"/>
                          </a:cxn>
                          <a:cxn ang="0">
                            <a:pos x="22" y="18"/>
                          </a:cxn>
                          <a:cxn ang="0">
                            <a:pos x="22" y="16"/>
                          </a:cxn>
                          <a:cxn ang="0">
                            <a:pos x="22" y="16"/>
                          </a:cxn>
                          <a:cxn ang="0">
                            <a:pos x="24" y="14"/>
                          </a:cxn>
                          <a:cxn ang="0">
                            <a:pos x="24" y="12"/>
                          </a:cxn>
                          <a:cxn ang="0">
                            <a:pos x="22" y="8"/>
                          </a:cxn>
                          <a:cxn ang="0">
                            <a:pos x="14" y="0"/>
                          </a:cxn>
                          <a:cxn ang="0">
                            <a:pos x="14" y="0"/>
                          </a:cxn>
                          <a:cxn ang="0">
                            <a:pos x="12" y="0"/>
                          </a:cxn>
                          <a:cxn ang="0">
                            <a:pos x="10" y="2"/>
                          </a:cxn>
                          <a:cxn ang="0">
                            <a:pos x="6" y="8"/>
                          </a:cxn>
                          <a:cxn ang="0">
                            <a:pos x="6" y="8"/>
                          </a:cxn>
                          <a:cxn ang="0">
                            <a:pos x="4" y="8"/>
                          </a:cxn>
                          <a:cxn ang="0">
                            <a:pos x="4" y="8"/>
                          </a:cxn>
                          <a:cxn ang="0">
                            <a:pos x="4" y="6"/>
                          </a:cxn>
                          <a:cxn ang="0">
                            <a:pos x="2" y="6"/>
                          </a:cxn>
                          <a:cxn ang="0">
                            <a:pos x="2" y="6"/>
                          </a:cxn>
                          <a:cxn ang="0">
                            <a:pos x="2" y="8"/>
                          </a:cxn>
                          <a:cxn ang="0">
                            <a:pos x="0" y="10"/>
                          </a:cxn>
                          <a:cxn ang="0">
                            <a:pos x="6" y="24"/>
                          </a:cxn>
                          <a:cxn ang="0">
                            <a:pos x="6" y="24"/>
                          </a:cxn>
                          <a:cxn ang="0">
                            <a:pos x="14" y="30"/>
                          </a:cxn>
                          <a:cxn ang="0">
                            <a:pos x="22" y="32"/>
                          </a:cxn>
                          <a:cxn ang="0">
                            <a:pos x="22" y="32"/>
                          </a:cxn>
                        </a:cxnLst>
                        <a:rect l="0" t="0" r="r" b="b"/>
                        <a:pathLst>
                          <a:path w="24" h="32">
                            <a:moveTo>
                              <a:pt x="22" y="32"/>
                            </a:moveTo>
                            <a:lnTo>
                              <a:pt x="22" y="32"/>
                            </a:lnTo>
                            <a:lnTo>
                              <a:pt x="24" y="28"/>
                            </a:lnTo>
                            <a:lnTo>
                              <a:pt x="22" y="24"/>
                            </a:lnTo>
                            <a:lnTo>
                              <a:pt x="22" y="18"/>
                            </a:lnTo>
                            <a:lnTo>
                              <a:pt x="22" y="16"/>
                            </a:lnTo>
                            <a:lnTo>
                              <a:pt x="22" y="16"/>
                            </a:lnTo>
                            <a:lnTo>
                              <a:pt x="24" y="14"/>
                            </a:lnTo>
                            <a:lnTo>
                              <a:pt x="24" y="12"/>
                            </a:lnTo>
                            <a:lnTo>
                              <a:pt x="22" y="8"/>
                            </a:lnTo>
                            <a:lnTo>
                              <a:pt x="14" y="0"/>
                            </a:lnTo>
                            <a:lnTo>
                              <a:pt x="14" y="0"/>
                            </a:lnTo>
                            <a:lnTo>
                              <a:pt x="12" y="0"/>
                            </a:lnTo>
                            <a:lnTo>
                              <a:pt x="10" y="2"/>
                            </a:lnTo>
                            <a:lnTo>
                              <a:pt x="6" y="8"/>
                            </a:lnTo>
                            <a:lnTo>
                              <a:pt x="6" y="8"/>
                            </a:lnTo>
                            <a:lnTo>
                              <a:pt x="4" y="8"/>
                            </a:lnTo>
                            <a:lnTo>
                              <a:pt x="4" y="8"/>
                            </a:lnTo>
                            <a:lnTo>
                              <a:pt x="4" y="6"/>
                            </a:lnTo>
                            <a:lnTo>
                              <a:pt x="2" y="6"/>
                            </a:lnTo>
                            <a:lnTo>
                              <a:pt x="2" y="6"/>
                            </a:lnTo>
                            <a:lnTo>
                              <a:pt x="2" y="8"/>
                            </a:lnTo>
                            <a:lnTo>
                              <a:pt x="0" y="10"/>
                            </a:lnTo>
                            <a:lnTo>
                              <a:pt x="6" y="24"/>
                            </a:lnTo>
                            <a:lnTo>
                              <a:pt x="6" y="24"/>
                            </a:lnTo>
                            <a:lnTo>
                              <a:pt x="14" y="30"/>
                            </a:lnTo>
                            <a:lnTo>
                              <a:pt x="22" y="32"/>
                            </a:lnTo>
                            <a:lnTo>
                              <a:pt x="22" y="32"/>
                            </a:lnTo>
                            <a:close/>
                          </a:path>
                        </a:pathLst>
                      </a:custGeom>
                      <a:solidFill>
                        <a:schemeClr val="tx2"/>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9" name="Romania"/>
                      <p:cNvSpPr>
                        <a:spLocks/>
                      </p:cNvSpPr>
                      <p:nvPr/>
                    </p:nvSpPr>
                    <p:spPr bwMode="auto">
                      <a:xfrm>
                        <a:off x="6361616" y="1922054"/>
                        <a:ext cx="267312" cy="151742"/>
                      </a:xfrm>
                      <a:custGeom>
                        <a:avLst/>
                        <a:gdLst/>
                        <a:ahLst/>
                        <a:cxnLst>
                          <a:cxn ang="0">
                            <a:pos x="8" y="44"/>
                          </a:cxn>
                          <a:cxn ang="0">
                            <a:pos x="20" y="28"/>
                          </a:cxn>
                          <a:cxn ang="0">
                            <a:pos x="22" y="14"/>
                          </a:cxn>
                          <a:cxn ang="0">
                            <a:pos x="36" y="6"/>
                          </a:cxn>
                          <a:cxn ang="0">
                            <a:pos x="44" y="8"/>
                          </a:cxn>
                          <a:cxn ang="0">
                            <a:pos x="54" y="8"/>
                          </a:cxn>
                          <a:cxn ang="0">
                            <a:pos x="60" y="8"/>
                          </a:cxn>
                          <a:cxn ang="0">
                            <a:pos x="70" y="4"/>
                          </a:cxn>
                          <a:cxn ang="0">
                            <a:pos x="80" y="4"/>
                          </a:cxn>
                          <a:cxn ang="0">
                            <a:pos x="94" y="2"/>
                          </a:cxn>
                          <a:cxn ang="0">
                            <a:pos x="112" y="2"/>
                          </a:cxn>
                          <a:cxn ang="0">
                            <a:pos x="120" y="8"/>
                          </a:cxn>
                          <a:cxn ang="0">
                            <a:pos x="126" y="20"/>
                          </a:cxn>
                          <a:cxn ang="0">
                            <a:pos x="132" y="24"/>
                          </a:cxn>
                          <a:cxn ang="0">
                            <a:pos x="134" y="28"/>
                          </a:cxn>
                          <a:cxn ang="0">
                            <a:pos x="136" y="34"/>
                          </a:cxn>
                          <a:cxn ang="0">
                            <a:pos x="136" y="38"/>
                          </a:cxn>
                          <a:cxn ang="0">
                            <a:pos x="138" y="46"/>
                          </a:cxn>
                          <a:cxn ang="0">
                            <a:pos x="142" y="50"/>
                          </a:cxn>
                          <a:cxn ang="0">
                            <a:pos x="144" y="54"/>
                          </a:cxn>
                          <a:cxn ang="0">
                            <a:pos x="152" y="64"/>
                          </a:cxn>
                          <a:cxn ang="0">
                            <a:pos x="158" y="62"/>
                          </a:cxn>
                          <a:cxn ang="0">
                            <a:pos x="176" y="60"/>
                          </a:cxn>
                          <a:cxn ang="0">
                            <a:pos x="174" y="62"/>
                          </a:cxn>
                          <a:cxn ang="0">
                            <a:pos x="174" y="70"/>
                          </a:cxn>
                          <a:cxn ang="0">
                            <a:pos x="168" y="72"/>
                          </a:cxn>
                          <a:cxn ang="0">
                            <a:pos x="166" y="70"/>
                          </a:cxn>
                          <a:cxn ang="0">
                            <a:pos x="164" y="74"/>
                          </a:cxn>
                          <a:cxn ang="0">
                            <a:pos x="164" y="78"/>
                          </a:cxn>
                          <a:cxn ang="0">
                            <a:pos x="162" y="92"/>
                          </a:cxn>
                          <a:cxn ang="0">
                            <a:pos x="162" y="98"/>
                          </a:cxn>
                          <a:cxn ang="0">
                            <a:pos x="150" y="94"/>
                          </a:cxn>
                          <a:cxn ang="0">
                            <a:pos x="130" y="90"/>
                          </a:cxn>
                          <a:cxn ang="0">
                            <a:pos x="122" y="88"/>
                          </a:cxn>
                          <a:cxn ang="0">
                            <a:pos x="102" y="98"/>
                          </a:cxn>
                          <a:cxn ang="0">
                            <a:pos x="92" y="100"/>
                          </a:cxn>
                          <a:cxn ang="0">
                            <a:pos x="72" y="98"/>
                          </a:cxn>
                          <a:cxn ang="0">
                            <a:pos x="56" y="96"/>
                          </a:cxn>
                          <a:cxn ang="0">
                            <a:pos x="50" y="92"/>
                          </a:cxn>
                          <a:cxn ang="0">
                            <a:pos x="42" y="88"/>
                          </a:cxn>
                          <a:cxn ang="0">
                            <a:pos x="42" y="82"/>
                          </a:cxn>
                          <a:cxn ang="0">
                            <a:pos x="38" y="82"/>
                          </a:cxn>
                          <a:cxn ang="0">
                            <a:pos x="30" y="80"/>
                          </a:cxn>
                          <a:cxn ang="0">
                            <a:pos x="24" y="78"/>
                          </a:cxn>
                          <a:cxn ang="0">
                            <a:pos x="20" y="72"/>
                          </a:cxn>
                          <a:cxn ang="0">
                            <a:pos x="16" y="66"/>
                          </a:cxn>
                          <a:cxn ang="0">
                            <a:pos x="10" y="60"/>
                          </a:cxn>
                          <a:cxn ang="0">
                            <a:pos x="6" y="56"/>
                          </a:cxn>
                          <a:cxn ang="0">
                            <a:pos x="0" y="48"/>
                          </a:cxn>
                        </a:cxnLst>
                        <a:rect l="0" t="0" r="r" b="b"/>
                        <a:pathLst>
                          <a:path w="176" h="100">
                            <a:moveTo>
                              <a:pt x="0" y="48"/>
                            </a:moveTo>
                            <a:lnTo>
                              <a:pt x="0" y="48"/>
                            </a:lnTo>
                            <a:lnTo>
                              <a:pt x="4" y="48"/>
                            </a:lnTo>
                            <a:lnTo>
                              <a:pt x="8" y="44"/>
                            </a:lnTo>
                            <a:lnTo>
                              <a:pt x="8" y="44"/>
                            </a:lnTo>
                            <a:lnTo>
                              <a:pt x="16" y="32"/>
                            </a:lnTo>
                            <a:lnTo>
                              <a:pt x="16" y="32"/>
                            </a:lnTo>
                            <a:lnTo>
                              <a:pt x="20" y="28"/>
                            </a:lnTo>
                            <a:lnTo>
                              <a:pt x="22" y="22"/>
                            </a:lnTo>
                            <a:lnTo>
                              <a:pt x="22" y="22"/>
                            </a:lnTo>
                            <a:lnTo>
                              <a:pt x="20" y="18"/>
                            </a:lnTo>
                            <a:lnTo>
                              <a:pt x="22" y="14"/>
                            </a:lnTo>
                            <a:lnTo>
                              <a:pt x="22" y="14"/>
                            </a:lnTo>
                            <a:lnTo>
                              <a:pt x="30" y="8"/>
                            </a:lnTo>
                            <a:lnTo>
                              <a:pt x="30" y="8"/>
                            </a:lnTo>
                            <a:lnTo>
                              <a:pt x="36" y="6"/>
                            </a:lnTo>
                            <a:lnTo>
                              <a:pt x="40" y="6"/>
                            </a:lnTo>
                            <a:lnTo>
                              <a:pt x="42" y="8"/>
                            </a:lnTo>
                            <a:lnTo>
                              <a:pt x="44" y="8"/>
                            </a:lnTo>
                            <a:lnTo>
                              <a:pt x="44" y="8"/>
                            </a:lnTo>
                            <a:lnTo>
                              <a:pt x="46" y="6"/>
                            </a:lnTo>
                            <a:lnTo>
                              <a:pt x="48" y="6"/>
                            </a:lnTo>
                            <a:lnTo>
                              <a:pt x="50" y="8"/>
                            </a:lnTo>
                            <a:lnTo>
                              <a:pt x="54" y="8"/>
                            </a:lnTo>
                            <a:lnTo>
                              <a:pt x="54" y="8"/>
                            </a:lnTo>
                            <a:lnTo>
                              <a:pt x="58" y="6"/>
                            </a:lnTo>
                            <a:lnTo>
                              <a:pt x="60" y="8"/>
                            </a:lnTo>
                            <a:lnTo>
                              <a:pt x="60" y="8"/>
                            </a:lnTo>
                            <a:lnTo>
                              <a:pt x="62" y="6"/>
                            </a:lnTo>
                            <a:lnTo>
                              <a:pt x="62" y="6"/>
                            </a:lnTo>
                            <a:lnTo>
                              <a:pt x="66" y="4"/>
                            </a:lnTo>
                            <a:lnTo>
                              <a:pt x="70" y="4"/>
                            </a:lnTo>
                            <a:lnTo>
                              <a:pt x="74" y="6"/>
                            </a:lnTo>
                            <a:lnTo>
                              <a:pt x="76" y="6"/>
                            </a:lnTo>
                            <a:lnTo>
                              <a:pt x="76" y="6"/>
                            </a:lnTo>
                            <a:lnTo>
                              <a:pt x="80" y="4"/>
                            </a:lnTo>
                            <a:lnTo>
                              <a:pt x="86" y="4"/>
                            </a:lnTo>
                            <a:lnTo>
                              <a:pt x="92" y="4"/>
                            </a:lnTo>
                            <a:lnTo>
                              <a:pt x="94" y="2"/>
                            </a:lnTo>
                            <a:lnTo>
                              <a:pt x="94" y="2"/>
                            </a:lnTo>
                            <a:lnTo>
                              <a:pt x="100" y="0"/>
                            </a:lnTo>
                            <a:lnTo>
                              <a:pt x="104" y="2"/>
                            </a:lnTo>
                            <a:lnTo>
                              <a:pt x="110" y="2"/>
                            </a:lnTo>
                            <a:lnTo>
                              <a:pt x="112" y="2"/>
                            </a:lnTo>
                            <a:lnTo>
                              <a:pt x="112" y="2"/>
                            </a:lnTo>
                            <a:lnTo>
                              <a:pt x="116" y="2"/>
                            </a:lnTo>
                            <a:lnTo>
                              <a:pt x="116" y="2"/>
                            </a:lnTo>
                            <a:lnTo>
                              <a:pt x="120" y="8"/>
                            </a:lnTo>
                            <a:lnTo>
                              <a:pt x="122" y="12"/>
                            </a:lnTo>
                            <a:lnTo>
                              <a:pt x="122" y="12"/>
                            </a:lnTo>
                            <a:lnTo>
                              <a:pt x="124" y="14"/>
                            </a:lnTo>
                            <a:lnTo>
                              <a:pt x="126" y="20"/>
                            </a:lnTo>
                            <a:lnTo>
                              <a:pt x="126" y="20"/>
                            </a:lnTo>
                            <a:lnTo>
                              <a:pt x="128" y="22"/>
                            </a:lnTo>
                            <a:lnTo>
                              <a:pt x="130" y="22"/>
                            </a:lnTo>
                            <a:lnTo>
                              <a:pt x="132" y="24"/>
                            </a:lnTo>
                            <a:lnTo>
                              <a:pt x="132" y="24"/>
                            </a:lnTo>
                            <a:lnTo>
                              <a:pt x="132" y="24"/>
                            </a:lnTo>
                            <a:lnTo>
                              <a:pt x="132" y="26"/>
                            </a:lnTo>
                            <a:lnTo>
                              <a:pt x="134" y="28"/>
                            </a:lnTo>
                            <a:lnTo>
                              <a:pt x="136" y="30"/>
                            </a:lnTo>
                            <a:lnTo>
                              <a:pt x="136" y="32"/>
                            </a:lnTo>
                            <a:lnTo>
                              <a:pt x="136" y="32"/>
                            </a:lnTo>
                            <a:lnTo>
                              <a:pt x="136" y="34"/>
                            </a:lnTo>
                            <a:lnTo>
                              <a:pt x="136" y="36"/>
                            </a:lnTo>
                            <a:lnTo>
                              <a:pt x="136" y="38"/>
                            </a:lnTo>
                            <a:lnTo>
                              <a:pt x="136" y="38"/>
                            </a:lnTo>
                            <a:lnTo>
                              <a:pt x="136" y="38"/>
                            </a:lnTo>
                            <a:lnTo>
                              <a:pt x="136" y="40"/>
                            </a:lnTo>
                            <a:lnTo>
                              <a:pt x="138" y="42"/>
                            </a:lnTo>
                            <a:lnTo>
                              <a:pt x="138" y="46"/>
                            </a:lnTo>
                            <a:lnTo>
                              <a:pt x="138" y="46"/>
                            </a:lnTo>
                            <a:lnTo>
                              <a:pt x="138" y="46"/>
                            </a:lnTo>
                            <a:lnTo>
                              <a:pt x="140" y="48"/>
                            </a:lnTo>
                            <a:lnTo>
                              <a:pt x="142" y="48"/>
                            </a:lnTo>
                            <a:lnTo>
                              <a:pt x="142" y="50"/>
                            </a:lnTo>
                            <a:lnTo>
                              <a:pt x="142" y="50"/>
                            </a:lnTo>
                            <a:lnTo>
                              <a:pt x="144" y="52"/>
                            </a:lnTo>
                            <a:lnTo>
                              <a:pt x="144" y="54"/>
                            </a:lnTo>
                            <a:lnTo>
                              <a:pt x="144" y="54"/>
                            </a:lnTo>
                            <a:lnTo>
                              <a:pt x="144" y="56"/>
                            </a:lnTo>
                            <a:lnTo>
                              <a:pt x="146" y="60"/>
                            </a:lnTo>
                            <a:lnTo>
                              <a:pt x="146" y="60"/>
                            </a:lnTo>
                            <a:lnTo>
                              <a:pt x="152" y="64"/>
                            </a:lnTo>
                            <a:lnTo>
                              <a:pt x="156" y="66"/>
                            </a:lnTo>
                            <a:lnTo>
                              <a:pt x="158" y="64"/>
                            </a:lnTo>
                            <a:lnTo>
                              <a:pt x="158" y="62"/>
                            </a:lnTo>
                            <a:lnTo>
                              <a:pt x="158" y="62"/>
                            </a:lnTo>
                            <a:lnTo>
                              <a:pt x="164" y="60"/>
                            </a:lnTo>
                            <a:lnTo>
                              <a:pt x="166" y="60"/>
                            </a:lnTo>
                            <a:lnTo>
                              <a:pt x="170" y="58"/>
                            </a:lnTo>
                            <a:lnTo>
                              <a:pt x="176" y="60"/>
                            </a:lnTo>
                            <a:lnTo>
                              <a:pt x="176" y="60"/>
                            </a:lnTo>
                            <a:lnTo>
                              <a:pt x="174" y="62"/>
                            </a:lnTo>
                            <a:lnTo>
                              <a:pt x="174" y="62"/>
                            </a:lnTo>
                            <a:lnTo>
                              <a:pt x="174" y="62"/>
                            </a:lnTo>
                            <a:lnTo>
                              <a:pt x="174" y="68"/>
                            </a:lnTo>
                            <a:lnTo>
                              <a:pt x="174" y="68"/>
                            </a:lnTo>
                            <a:lnTo>
                              <a:pt x="174" y="70"/>
                            </a:lnTo>
                            <a:lnTo>
                              <a:pt x="174" y="70"/>
                            </a:lnTo>
                            <a:lnTo>
                              <a:pt x="170" y="70"/>
                            </a:lnTo>
                            <a:lnTo>
                              <a:pt x="170" y="70"/>
                            </a:lnTo>
                            <a:lnTo>
                              <a:pt x="168" y="72"/>
                            </a:lnTo>
                            <a:lnTo>
                              <a:pt x="168" y="72"/>
                            </a:lnTo>
                            <a:lnTo>
                              <a:pt x="168" y="70"/>
                            </a:lnTo>
                            <a:lnTo>
                              <a:pt x="168" y="68"/>
                            </a:lnTo>
                            <a:lnTo>
                              <a:pt x="166" y="70"/>
                            </a:lnTo>
                            <a:lnTo>
                              <a:pt x="166" y="70"/>
                            </a:lnTo>
                            <a:lnTo>
                              <a:pt x="164" y="70"/>
                            </a:lnTo>
                            <a:lnTo>
                              <a:pt x="164" y="70"/>
                            </a:lnTo>
                            <a:lnTo>
                              <a:pt x="166" y="72"/>
                            </a:lnTo>
                            <a:lnTo>
                              <a:pt x="164" y="74"/>
                            </a:lnTo>
                            <a:lnTo>
                              <a:pt x="164" y="74"/>
                            </a:lnTo>
                            <a:lnTo>
                              <a:pt x="164" y="76"/>
                            </a:lnTo>
                            <a:lnTo>
                              <a:pt x="164" y="78"/>
                            </a:lnTo>
                            <a:lnTo>
                              <a:pt x="164" y="78"/>
                            </a:lnTo>
                            <a:lnTo>
                              <a:pt x="162" y="80"/>
                            </a:lnTo>
                            <a:lnTo>
                              <a:pt x="162" y="84"/>
                            </a:lnTo>
                            <a:lnTo>
                              <a:pt x="162" y="84"/>
                            </a:lnTo>
                            <a:lnTo>
                              <a:pt x="162" y="92"/>
                            </a:lnTo>
                            <a:lnTo>
                              <a:pt x="162" y="92"/>
                            </a:lnTo>
                            <a:lnTo>
                              <a:pt x="162" y="96"/>
                            </a:lnTo>
                            <a:lnTo>
                              <a:pt x="162" y="98"/>
                            </a:lnTo>
                            <a:lnTo>
                              <a:pt x="162" y="98"/>
                            </a:lnTo>
                            <a:lnTo>
                              <a:pt x="156" y="96"/>
                            </a:lnTo>
                            <a:lnTo>
                              <a:pt x="154" y="96"/>
                            </a:lnTo>
                            <a:lnTo>
                              <a:pt x="152" y="94"/>
                            </a:lnTo>
                            <a:lnTo>
                              <a:pt x="150" y="94"/>
                            </a:lnTo>
                            <a:lnTo>
                              <a:pt x="150" y="94"/>
                            </a:lnTo>
                            <a:lnTo>
                              <a:pt x="138" y="94"/>
                            </a:lnTo>
                            <a:lnTo>
                              <a:pt x="134" y="92"/>
                            </a:lnTo>
                            <a:lnTo>
                              <a:pt x="130" y="90"/>
                            </a:lnTo>
                            <a:lnTo>
                              <a:pt x="130" y="90"/>
                            </a:lnTo>
                            <a:lnTo>
                              <a:pt x="130" y="88"/>
                            </a:lnTo>
                            <a:lnTo>
                              <a:pt x="128" y="88"/>
                            </a:lnTo>
                            <a:lnTo>
                              <a:pt x="122" y="88"/>
                            </a:lnTo>
                            <a:lnTo>
                              <a:pt x="122" y="88"/>
                            </a:lnTo>
                            <a:lnTo>
                              <a:pt x="112" y="92"/>
                            </a:lnTo>
                            <a:lnTo>
                              <a:pt x="106" y="94"/>
                            </a:lnTo>
                            <a:lnTo>
                              <a:pt x="102" y="98"/>
                            </a:lnTo>
                            <a:lnTo>
                              <a:pt x="102" y="98"/>
                            </a:lnTo>
                            <a:lnTo>
                              <a:pt x="98" y="100"/>
                            </a:lnTo>
                            <a:lnTo>
                              <a:pt x="92" y="100"/>
                            </a:lnTo>
                            <a:lnTo>
                              <a:pt x="92" y="100"/>
                            </a:lnTo>
                            <a:lnTo>
                              <a:pt x="84" y="98"/>
                            </a:lnTo>
                            <a:lnTo>
                              <a:pt x="78" y="98"/>
                            </a:lnTo>
                            <a:lnTo>
                              <a:pt x="78" y="98"/>
                            </a:lnTo>
                            <a:lnTo>
                              <a:pt x="72" y="98"/>
                            </a:lnTo>
                            <a:lnTo>
                              <a:pt x="66" y="98"/>
                            </a:lnTo>
                            <a:lnTo>
                              <a:pt x="66" y="98"/>
                            </a:lnTo>
                            <a:lnTo>
                              <a:pt x="60" y="96"/>
                            </a:lnTo>
                            <a:lnTo>
                              <a:pt x="56" y="96"/>
                            </a:lnTo>
                            <a:lnTo>
                              <a:pt x="56" y="96"/>
                            </a:lnTo>
                            <a:lnTo>
                              <a:pt x="52" y="96"/>
                            </a:lnTo>
                            <a:lnTo>
                              <a:pt x="50" y="92"/>
                            </a:lnTo>
                            <a:lnTo>
                              <a:pt x="50" y="92"/>
                            </a:lnTo>
                            <a:lnTo>
                              <a:pt x="50" y="92"/>
                            </a:lnTo>
                            <a:lnTo>
                              <a:pt x="46" y="90"/>
                            </a:lnTo>
                            <a:lnTo>
                              <a:pt x="46" y="90"/>
                            </a:lnTo>
                            <a:lnTo>
                              <a:pt x="42" y="88"/>
                            </a:lnTo>
                            <a:lnTo>
                              <a:pt x="38" y="86"/>
                            </a:lnTo>
                            <a:lnTo>
                              <a:pt x="38" y="86"/>
                            </a:lnTo>
                            <a:lnTo>
                              <a:pt x="42" y="84"/>
                            </a:lnTo>
                            <a:lnTo>
                              <a:pt x="42" y="82"/>
                            </a:lnTo>
                            <a:lnTo>
                              <a:pt x="42" y="82"/>
                            </a:lnTo>
                            <a:lnTo>
                              <a:pt x="42" y="82"/>
                            </a:lnTo>
                            <a:lnTo>
                              <a:pt x="40" y="82"/>
                            </a:lnTo>
                            <a:lnTo>
                              <a:pt x="38" y="82"/>
                            </a:lnTo>
                            <a:lnTo>
                              <a:pt x="36" y="84"/>
                            </a:lnTo>
                            <a:lnTo>
                              <a:pt x="34" y="84"/>
                            </a:lnTo>
                            <a:lnTo>
                              <a:pt x="34" y="84"/>
                            </a:lnTo>
                            <a:lnTo>
                              <a:pt x="30" y="80"/>
                            </a:lnTo>
                            <a:lnTo>
                              <a:pt x="28" y="78"/>
                            </a:lnTo>
                            <a:lnTo>
                              <a:pt x="26" y="78"/>
                            </a:lnTo>
                            <a:lnTo>
                              <a:pt x="26" y="78"/>
                            </a:lnTo>
                            <a:lnTo>
                              <a:pt x="24" y="78"/>
                            </a:lnTo>
                            <a:lnTo>
                              <a:pt x="22" y="78"/>
                            </a:lnTo>
                            <a:lnTo>
                              <a:pt x="18" y="74"/>
                            </a:lnTo>
                            <a:lnTo>
                              <a:pt x="18" y="74"/>
                            </a:lnTo>
                            <a:lnTo>
                              <a:pt x="20" y="72"/>
                            </a:lnTo>
                            <a:lnTo>
                              <a:pt x="20" y="72"/>
                            </a:lnTo>
                            <a:lnTo>
                              <a:pt x="20" y="70"/>
                            </a:lnTo>
                            <a:lnTo>
                              <a:pt x="20" y="70"/>
                            </a:lnTo>
                            <a:lnTo>
                              <a:pt x="16" y="66"/>
                            </a:lnTo>
                            <a:lnTo>
                              <a:pt x="14" y="64"/>
                            </a:lnTo>
                            <a:lnTo>
                              <a:pt x="14" y="64"/>
                            </a:lnTo>
                            <a:lnTo>
                              <a:pt x="12" y="62"/>
                            </a:lnTo>
                            <a:lnTo>
                              <a:pt x="10" y="60"/>
                            </a:lnTo>
                            <a:lnTo>
                              <a:pt x="8" y="60"/>
                            </a:lnTo>
                            <a:lnTo>
                              <a:pt x="6" y="58"/>
                            </a:lnTo>
                            <a:lnTo>
                              <a:pt x="6" y="58"/>
                            </a:lnTo>
                            <a:lnTo>
                              <a:pt x="6" y="56"/>
                            </a:lnTo>
                            <a:lnTo>
                              <a:pt x="4" y="54"/>
                            </a:lnTo>
                            <a:lnTo>
                              <a:pt x="2" y="52"/>
                            </a:lnTo>
                            <a:lnTo>
                              <a:pt x="0" y="48"/>
                            </a:lnTo>
                            <a:lnTo>
                              <a:pt x="0" y="48"/>
                            </a:lnTo>
                            <a:close/>
                          </a:path>
                        </a:pathLst>
                      </a:custGeom>
                      <a:solidFill>
                        <a:schemeClr val="accent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4" name="UAE"/>
                      <p:cNvSpPr>
                        <a:spLocks/>
                      </p:cNvSpPr>
                      <p:nvPr/>
                    </p:nvSpPr>
                    <p:spPr bwMode="auto">
                      <a:xfrm>
                        <a:off x="7391376" y="2680762"/>
                        <a:ext cx="157957" cy="154777"/>
                      </a:xfrm>
                      <a:custGeom>
                        <a:avLst/>
                        <a:gdLst/>
                        <a:ahLst/>
                        <a:cxnLst>
                          <a:cxn ang="0">
                            <a:pos x="104" y="32"/>
                          </a:cxn>
                          <a:cxn ang="0">
                            <a:pos x="100" y="18"/>
                          </a:cxn>
                          <a:cxn ang="0">
                            <a:pos x="98" y="14"/>
                          </a:cxn>
                          <a:cxn ang="0">
                            <a:pos x="96" y="14"/>
                          </a:cxn>
                          <a:cxn ang="0">
                            <a:pos x="96" y="8"/>
                          </a:cxn>
                          <a:cxn ang="0">
                            <a:pos x="96" y="2"/>
                          </a:cxn>
                          <a:cxn ang="0">
                            <a:pos x="94" y="0"/>
                          </a:cxn>
                          <a:cxn ang="0">
                            <a:pos x="88" y="4"/>
                          </a:cxn>
                          <a:cxn ang="0">
                            <a:pos x="82" y="10"/>
                          </a:cxn>
                          <a:cxn ang="0">
                            <a:pos x="78" y="16"/>
                          </a:cxn>
                          <a:cxn ang="0">
                            <a:pos x="72" y="26"/>
                          </a:cxn>
                          <a:cxn ang="0">
                            <a:pos x="60" y="36"/>
                          </a:cxn>
                          <a:cxn ang="0">
                            <a:pos x="58" y="42"/>
                          </a:cxn>
                          <a:cxn ang="0">
                            <a:pos x="56" y="44"/>
                          </a:cxn>
                          <a:cxn ang="0">
                            <a:pos x="54" y="44"/>
                          </a:cxn>
                          <a:cxn ang="0">
                            <a:pos x="52" y="46"/>
                          </a:cxn>
                          <a:cxn ang="0">
                            <a:pos x="50" y="46"/>
                          </a:cxn>
                          <a:cxn ang="0">
                            <a:pos x="46" y="46"/>
                          </a:cxn>
                          <a:cxn ang="0">
                            <a:pos x="40" y="48"/>
                          </a:cxn>
                          <a:cxn ang="0">
                            <a:pos x="36" y="48"/>
                          </a:cxn>
                          <a:cxn ang="0">
                            <a:pos x="30" y="48"/>
                          </a:cxn>
                          <a:cxn ang="0">
                            <a:pos x="16" y="48"/>
                          </a:cxn>
                          <a:cxn ang="0">
                            <a:pos x="12" y="50"/>
                          </a:cxn>
                          <a:cxn ang="0">
                            <a:pos x="6" y="42"/>
                          </a:cxn>
                          <a:cxn ang="0">
                            <a:pos x="2" y="38"/>
                          </a:cxn>
                          <a:cxn ang="0">
                            <a:pos x="0" y="44"/>
                          </a:cxn>
                          <a:cxn ang="0">
                            <a:pos x="4" y="54"/>
                          </a:cxn>
                          <a:cxn ang="0">
                            <a:pos x="12" y="66"/>
                          </a:cxn>
                          <a:cxn ang="0">
                            <a:pos x="14" y="78"/>
                          </a:cxn>
                          <a:cxn ang="0">
                            <a:pos x="66" y="102"/>
                          </a:cxn>
                          <a:cxn ang="0">
                            <a:pos x="78" y="96"/>
                          </a:cxn>
                          <a:cxn ang="0">
                            <a:pos x="80" y="86"/>
                          </a:cxn>
                          <a:cxn ang="0">
                            <a:pos x="86" y="78"/>
                          </a:cxn>
                          <a:cxn ang="0">
                            <a:pos x="86" y="74"/>
                          </a:cxn>
                          <a:cxn ang="0">
                            <a:pos x="82" y="68"/>
                          </a:cxn>
                          <a:cxn ang="0">
                            <a:pos x="82" y="68"/>
                          </a:cxn>
                          <a:cxn ang="0">
                            <a:pos x="90" y="64"/>
                          </a:cxn>
                          <a:cxn ang="0">
                            <a:pos x="96" y="60"/>
                          </a:cxn>
                          <a:cxn ang="0">
                            <a:pos x="96" y="58"/>
                          </a:cxn>
                          <a:cxn ang="0">
                            <a:pos x="90" y="52"/>
                          </a:cxn>
                          <a:cxn ang="0">
                            <a:pos x="90" y="44"/>
                          </a:cxn>
                          <a:cxn ang="0">
                            <a:pos x="92" y="36"/>
                          </a:cxn>
                          <a:cxn ang="0">
                            <a:pos x="100" y="34"/>
                          </a:cxn>
                          <a:cxn ang="0">
                            <a:pos x="104" y="32"/>
                          </a:cxn>
                        </a:cxnLst>
                        <a:rect l="0" t="0" r="r" b="b"/>
                        <a:pathLst>
                          <a:path w="104" h="102">
                            <a:moveTo>
                              <a:pt x="104" y="32"/>
                            </a:moveTo>
                            <a:lnTo>
                              <a:pt x="104" y="32"/>
                            </a:lnTo>
                            <a:lnTo>
                              <a:pt x="100" y="24"/>
                            </a:lnTo>
                            <a:lnTo>
                              <a:pt x="100" y="18"/>
                            </a:lnTo>
                            <a:lnTo>
                              <a:pt x="100" y="14"/>
                            </a:lnTo>
                            <a:lnTo>
                              <a:pt x="98" y="14"/>
                            </a:lnTo>
                            <a:lnTo>
                              <a:pt x="98" y="14"/>
                            </a:lnTo>
                            <a:lnTo>
                              <a:pt x="96" y="14"/>
                            </a:lnTo>
                            <a:lnTo>
                              <a:pt x="94" y="12"/>
                            </a:lnTo>
                            <a:lnTo>
                              <a:pt x="96" y="8"/>
                            </a:lnTo>
                            <a:lnTo>
                              <a:pt x="98" y="2"/>
                            </a:lnTo>
                            <a:lnTo>
                              <a:pt x="96" y="2"/>
                            </a:lnTo>
                            <a:lnTo>
                              <a:pt x="94" y="0"/>
                            </a:lnTo>
                            <a:lnTo>
                              <a:pt x="94" y="0"/>
                            </a:lnTo>
                            <a:lnTo>
                              <a:pt x="90" y="0"/>
                            </a:lnTo>
                            <a:lnTo>
                              <a:pt x="88" y="4"/>
                            </a:lnTo>
                            <a:lnTo>
                              <a:pt x="88" y="6"/>
                            </a:lnTo>
                            <a:lnTo>
                              <a:pt x="82" y="10"/>
                            </a:lnTo>
                            <a:lnTo>
                              <a:pt x="82" y="10"/>
                            </a:lnTo>
                            <a:lnTo>
                              <a:pt x="78" y="16"/>
                            </a:lnTo>
                            <a:lnTo>
                              <a:pt x="76" y="20"/>
                            </a:lnTo>
                            <a:lnTo>
                              <a:pt x="72" y="26"/>
                            </a:lnTo>
                            <a:lnTo>
                              <a:pt x="60" y="36"/>
                            </a:lnTo>
                            <a:lnTo>
                              <a:pt x="60" y="36"/>
                            </a:lnTo>
                            <a:lnTo>
                              <a:pt x="58" y="40"/>
                            </a:lnTo>
                            <a:lnTo>
                              <a:pt x="58" y="42"/>
                            </a:lnTo>
                            <a:lnTo>
                              <a:pt x="58" y="44"/>
                            </a:lnTo>
                            <a:lnTo>
                              <a:pt x="56" y="44"/>
                            </a:lnTo>
                            <a:lnTo>
                              <a:pt x="56" y="44"/>
                            </a:lnTo>
                            <a:lnTo>
                              <a:pt x="54" y="44"/>
                            </a:lnTo>
                            <a:lnTo>
                              <a:pt x="52" y="44"/>
                            </a:lnTo>
                            <a:lnTo>
                              <a:pt x="52" y="46"/>
                            </a:lnTo>
                            <a:lnTo>
                              <a:pt x="50" y="46"/>
                            </a:lnTo>
                            <a:lnTo>
                              <a:pt x="50" y="46"/>
                            </a:lnTo>
                            <a:lnTo>
                              <a:pt x="46" y="46"/>
                            </a:lnTo>
                            <a:lnTo>
                              <a:pt x="46" y="46"/>
                            </a:lnTo>
                            <a:lnTo>
                              <a:pt x="44" y="48"/>
                            </a:lnTo>
                            <a:lnTo>
                              <a:pt x="40" y="48"/>
                            </a:lnTo>
                            <a:lnTo>
                              <a:pt x="40" y="48"/>
                            </a:lnTo>
                            <a:lnTo>
                              <a:pt x="36" y="48"/>
                            </a:lnTo>
                            <a:lnTo>
                              <a:pt x="30" y="48"/>
                            </a:lnTo>
                            <a:lnTo>
                              <a:pt x="30" y="48"/>
                            </a:lnTo>
                            <a:lnTo>
                              <a:pt x="20" y="48"/>
                            </a:lnTo>
                            <a:lnTo>
                              <a:pt x="16" y="48"/>
                            </a:lnTo>
                            <a:lnTo>
                              <a:pt x="12" y="50"/>
                            </a:lnTo>
                            <a:lnTo>
                              <a:pt x="12" y="50"/>
                            </a:lnTo>
                            <a:lnTo>
                              <a:pt x="8" y="46"/>
                            </a:lnTo>
                            <a:lnTo>
                              <a:pt x="6" y="42"/>
                            </a:lnTo>
                            <a:lnTo>
                              <a:pt x="4" y="38"/>
                            </a:lnTo>
                            <a:lnTo>
                              <a:pt x="2" y="38"/>
                            </a:lnTo>
                            <a:lnTo>
                              <a:pt x="2" y="38"/>
                            </a:lnTo>
                            <a:lnTo>
                              <a:pt x="0" y="44"/>
                            </a:lnTo>
                            <a:lnTo>
                              <a:pt x="2" y="48"/>
                            </a:lnTo>
                            <a:lnTo>
                              <a:pt x="4" y="54"/>
                            </a:lnTo>
                            <a:lnTo>
                              <a:pt x="6" y="56"/>
                            </a:lnTo>
                            <a:lnTo>
                              <a:pt x="12" y="66"/>
                            </a:lnTo>
                            <a:lnTo>
                              <a:pt x="14" y="72"/>
                            </a:lnTo>
                            <a:lnTo>
                              <a:pt x="14" y="78"/>
                            </a:lnTo>
                            <a:lnTo>
                              <a:pt x="66" y="102"/>
                            </a:lnTo>
                            <a:lnTo>
                              <a:pt x="66" y="102"/>
                            </a:lnTo>
                            <a:lnTo>
                              <a:pt x="78" y="96"/>
                            </a:lnTo>
                            <a:lnTo>
                              <a:pt x="78" y="96"/>
                            </a:lnTo>
                            <a:lnTo>
                              <a:pt x="78" y="88"/>
                            </a:lnTo>
                            <a:lnTo>
                              <a:pt x="80" y="86"/>
                            </a:lnTo>
                            <a:lnTo>
                              <a:pt x="82" y="84"/>
                            </a:lnTo>
                            <a:lnTo>
                              <a:pt x="86" y="78"/>
                            </a:lnTo>
                            <a:lnTo>
                              <a:pt x="86" y="78"/>
                            </a:lnTo>
                            <a:lnTo>
                              <a:pt x="86" y="74"/>
                            </a:lnTo>
                            <a:lnTo>
                              <a:pt x="84" y="70"/>
                            </a:lnTo>
                            <a:lnTo>
                              <a:pt x="82" y="68"/>
                            </a:lnTo>
                            <a:lnTo>
                              <a:pt x="82" y="68"/>
                            </a:lnTo>
                            <a:lnTo>
                              <a:pt x="82" y="68"/>
                            </a:lnTo>
                            <a:lnTo>
                              <a:pt x="86" y="64"/>
                            </a:lnTo>
                            <a:lnTo>
                              <a:pt x="90" y="64"/>
                            </a:lnTo>
                            <a:lnTo>
                              <a:pt x="92" y="64"/>
                            </a:lnTo>
                            <a:lnTo>
                              <a:pt x="96" y="60"/>
                            </a:lnTo>
                            <a:lnTo>
                              <a:pt x="96" y="60"/>
                            </a:lnTo>
                            <a:lnTo>
                              <a:pt x="96" y="58"/>
                            </a:lnTo>
                            <a:lnTo>
                              <a:pt x="94" y="56"/>
                            </a:lnTo>
                            <a:lnTo>
                              <a:pt x="90" y="52"/>
                            </a:lnTo>
                            <a:lnTo>
                              <a:pt x="90" y="44"/>
                            </a:lnTo>
                            <a:lnTo>
                              <a:pt x="90" y="44"/>
                            </a:lnTo>
                            <a:lnTo>
                              <a:pt x="90" y="40"/>
                            </a:lnTo>
                            <a:lnTo>
                              <a:pt x="92" y="36"/>
                            </a:lnTo>
                            <a:lnTo>
                              <a:pt x="96" y="34"/>
                            </a:lnTo>
                            <a:lnTo>
                              <a:pt x="100" y="34"/>
                            </a:lnTo>
                            <a:lnTo>
                              <a:pt x="102" y="34"/>
                            </a:lnTo>
                            <a:lnTo>
                              <a:pt x="104" y="32"/>
                            </a:lnTo>
                            <a:lnTo>
                              <a:pt x="104" y="32"/>
                            </a:lnTo>
                            <a:close/>
                          </a:path>
                        </a:pathLst>
                      </a:custGeom>
                      <a:solidFill>
                        <a:schemeClr val="tx2"/>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9" name="Malaysia"/>
                      <p:cNvSpPr>
                        <a:spLocks/>
                      </p:cNvSpPr>
                      <p:nvPr/>
                    </p:nvSpPr>
                    <p:spPr bwMode="auto">
                      <a:xfrm>
                        <a:off x="8986138" y="3403053"/>
                        <a:ext cx="619822" cy="242787"/>
                      </a:xfrm>
                      <a:custGeom>
                        <a:avLst/>
                        <a:gdLst/>
                        <a:ahLst/>
                        <a:cxnLst/>
                        <a:rect l="l" t="t" r="r" b="b"/>
                        <a:pathLst>
                          <a:path w="539875" h="211667">
                            <a:moveTo>
                              <a:pt x="5292" y="26458"/>
                            </a:moveTo>
                            <a:lnTo>
                              <a:pt x="10584" y="26458"/>
                            </a:lnTo>
                            <a:lnTo>
                              <a:pt x="21167" y="31750"/>
                            </a:lnTo>
                            <a:lnTo>
                              <a:pt x="26459" y="37041"/>
                            </a:lnTo>
                            <a:lnTo>
                              <a:pt x="34396" y="39687"/>
                            </a:lnTo>
                            <a:lnTo>
                              <a:pt x="42334" y="37041"/>
                            </a:lnTo>
                            <a:lnTo>
                              <a:pt x="44980" y="34396"/>
                            </a:lnTo>
                            <a:lnTo>
                              <a:pt x="47625" y="31750"/>
                            </a:lnTo>
                            <a:lnTo>
                              <a:pt x="52917" y="26458"/>
                            </a:lnTo>
                            <a:lnTo>
                              <a:pt x="60855" y="37041"/>
                            </a:lnTo>
                            <a:lnTo>
                              <a:pt x="66146" y="39687"/>
                            </a:lnTo>
                            <a:lnTo>
                              <a:pt x="71438" y="44979"/>
                            </a:lnTo>
                            <a:lnTo>
                              <a:pt x="74084" y="47625"/>
                            </a:lnTo>
                            <a:lnTo>
                              <a:pt x="76730" y="52916"/>
                            </a:lnTo>
                            <a:lnTo>
                              <a:pt x="87313" y="58208"/>
                            </a:lnTo>
                            <a:lnTo>
                              <a:pt x="97896" y="68791"/>
                            </a:lnTo>
                            <a:lnTo>
                              <a:pt x="103188" y="76729"/>
                            </a:lnTo>
                            <a:lnTo>
                              <a:pt x="105834" y="84666"/>
                            </a:lnTo>
                            <a:lnTo>
                              <a:pt x="105834" y="92604"/>
                            </a:lnTo>
                            <a:lnTo>
                              <a:pt x="105834" y="100541"/>
                            </a:lnTo>
                            <a:lnTo>
                              <a:pt x="103188" y="105833"/>
                            </a:lnTo>
                            <a:lnTo>
                              <a:pt x="100542" y="108479"/>
                            </a:lnTo>
                            <a:lnTo>
                              <a:pt x="92605" y="113771"/>
                            </a:lnTo>
                            <a:lnTo>
                              <a:pt x="95250" y="116416"/>
                            </a:lnTo>
                            <a:lnTo>
                              <a:pt x="100542" y="124354"/>
                            </a:lnTo>
                            <a:lnTo>
                              <a:pt x="97896" y="129646"/>
                            </a:lnTo>
                            <a:lnTo>
                              <a:pt x="97896" y="134937"/>
                            </a:lnTo>
                            <a:lnTo>
                              <a:pt x="103188" y="145521"/>
                            </a:lnTo>
                            <a:lnTo>
                              <a:pt x="108480" y="153458"/>
                            </a:lnTo>
                            <a:lnTo>
                              <a:pt x="111126" y="158750"/>
                            </a:lnTo>
                            <a:lnTo>
                              <a:pt x="113771" y="164041"/>
                            </a:lnTo>
                            <a:lnTo>
                              <a:pt x="121709" y="174625"/>
                            </a:lnTo>
                            <a:lnTo>
                              <a:pt x="132292" y="187854"/>
                            </a:lnTo>
                            <a:lnTo>
                              <a:pt x="132292" y="193145"/>
                            </a:lnTo>
                            <a:lnTo>
                              <a:pt x="132292" y="195791"/>
                            </a:lnTo>
                            <a:lnTo>
                              <a:pt x="129646" y="198437"/>
                            </a:lnTo>
                            <a:lnTo>
                              <a:pt x="127001" y="198437"/>
                            </a:lnTo>
                            <a:lnTo>
                              <a:pt x="119063" y="195791"/>
                            </a:lnTo>
                            <a:lnTo>
                              <a:pt x="116417" y="193145"/>
                            </a:lnTo>
                            <a:lnTo>
                              <a:pt x="113771" y="195791"/>
                            </a:lnTo>
                            <a:lnTo>
                              <a:pt x="111126" y="198437"/>
                            </a:lnTo>
                            <a:lnTo>
                              <a:pt x="108480" y="195791"/>
                            </a:lnTo>
                            <a:lnTo>
                              <a:pt x="100542" y="187854"/>
                            </a:lnTo>
                            <a:lnTo>
                              <a:pt x="95250" y="182562"/>
                            </a:lnTo>
                            <a:lnTo>
                              <a:pt x="84667" y="177270"/>
                            </a:lnTo>
                            <a:lnTo>
                              <a:pt x="79375" y="174625"/>
                            </a:lnTo>
                            <a:lnTo>
                              <a:pt x="76730" y="171979"/>
                            </a:lnTo>
                            <a:lnTo>
                              <a:pt x="74084" y="169333"/>
                            </a:lnTo>
                            <a:lnTo>
                              <a:pt x="60855" y="161396"/>
                            </a:lnTo>
                            <a:lnTo>
                              <a:pt x="55563" y="158750"/>
                            </a:lnTo>
                            <a:lnTo>
                              <a:pt x="52917" y="156104"/>
                            </a:lnTo>
                            <a:lnTo>
                              <a:pt x="50271" y="153458"/>
                            </a:lnTo>
                            <a:lnTo>
                              <a:pt x="44980" y="148166"/>
                            </a:lnTo>
                            <a:lnTo>
                              <a:pt x="37042" y="142875"/>
                            </a:lnTo>
                            <a:lnTo>
                              <a:pt x="37042" y="140229"/>
                            </a:lnTo>
                            <a:lnTo>
                              <a:pt x="39688" y="137583"/>
                            </a:lnTo>
                            <a:lnTo>
                              <a:pt x="39688" y="132291"/>
                            </a:lnTo>
                            <a:lnTo>
                              <a:pt x="37042" y="129646"/>
                            </a:lnTo>
                            <a:lnTo>
                              <a:pt x="31750" y="121708"/>
                            </a:lnTo>
                            <a:lnTo>
                              <a:pt x="26459" y="116416"/>
                            </a:lnTo>
                            <a:lnTo>
                              <a:pt x="26459" y="113771"/>
                            </a:lnTo>
                            <a:lnTo>
                              <a:pt x="26459" y="108479"/>
                            </a:lnTo>
                            <a:lnTo>
                              <a:pt x="29104" y="105833"/>
                            </a:lnTo>
                            <a:lnTo>
                              <a:pt x="26459" y="103187"/>
                            </a:lnTo>
                            <a:lnTo>
                              <a:pt x="21167" y="97896"/>
                            </a:lnTo>
                            <a:lnTo>
                              <a:pt x="21167" y="92604"/>
                            </a:lnTo>
                            <a:lnTo>
                              <a:pt x="18521" y="84666"/>
                            </a:lnTo>
                            <a:lnTo>
                              <a:pt x="15875" y="79375"/>
                            </a:lnTo>
                            <a:lnTo>
                              <a:pt x="13229" y="74083"/>
                            </a:lnTo>
                            <a:lnTo>
                              <a:pt x="13229" y="71437"/>
                            </a:lnTo>
                            <a:lnTo>
                              <a:pt x="13229" y="68791"/>
                            </a:lnTo>
                            <a:lnTo>
                              <a:pt x="13229" y="66146"/>
                            </a:lnTo>
                            <a:lnTo>
                              <a:pt x="10584" y="60854"/>
                            </a:lnTo>
                            <a:lnTo>
                              <a:pt x="10584" y="52916"/>
                            </a:lnTo>
                            <a:lnTo>
                              <a:pt x="7938" y="42333"/>
                            </a:lnTo>
                            <a:lnTo>
                              <a:pt x="0" y="29104"/>
                            </a:lnTo>
                            <a:close/>
                            <a:moveTo>
                              <a:pt x="455209" y="0"/>
                            </a:moveTo>
                            <a:lnTo>
                              <a:pt x="460500" y="0"/>
                            </a:lnTo>
                            <a:lnTo>
                              <a:pt x="460500" y="5292"/>
                            </a:lnTo>
                            <a:lnTo>
                              <a:pt x="460500" y="7937"/>
                            </a:lnTo>
                            <a:lnTo>
                              <a:pt x="463146" y="7937"/>
                            </a:lnTo>
                            <a:lnTo>
                              <a:pt x="468438" y="5292"/>
                            </a:lnTo>
                            <a:lnTo>
                              <a:pt x="468438" y="2646"/>
                            </a:lnTo>
                            <a:lnTo>
                              <a:pt x="468438" y="0"/>
                            </a:lnTo>
                            <a:lnTo>
                              <a:pt x="471084" y="0"/>
                            </a:lnTo>
                            <a:lnTo>
                              <a:pt x="473729" y="0"/>
                            </a:lnTo>
                            <a:lnTo>
                              <a:pt x="476375" y="0"/>
                            </a:lnTo>
                            <a:lnTo>
                              <a:pt x="476375" y="5292"/>
                            </a:lnTo>
                            <a:lnTo>
                              <a:pt x="476375" y="10583"/>
                            </a:lnTo>
                            <a:lnTo>
                              <a:pt x="481667" y="10583"/>
                            </a:lnTo>
                            <a:lnTo>
                              <a:pt x="486959" y="7937"/>
                            </a:lnTo>
                            <a:lnTo>
                              <a:pt x="486959" y="10583"/>
                            </a:lnTo>
                            <a:lnTo>
                              <a:pt x="486959" y="13229"/>
                            </a:lnTo>
                            <a:lnTo>
                              <a:pt x="489604" y="15875"/>
                            </a:lnTo>
                            <a:lnTo>
                              <a:pt x="492250" y="18521"/>
                            </a:lnTo>
                            <a:lnTo>
                              <a:pt x="489604" y="21167"/>
                            </a:lnTo>
                            <a:lnTo>
                              <a:pt x="484313" y="23812"/>
                            </a:lnTo>
                            <a:lnTo>
                              <a:pt x="486959" y="26459"/>
                            </a:lnTo>
                            <a:lnTo>
                              <a:pt x="492250" y="29104"/>
                            </a:lnTo>
                            <a:lnTo>
                              <a:pt x="484313" y="31750"/>
                            </a:lnTo>
                            <a:lnTo>
                              <a:pt x="492250" y="34396"/>
                            </a:lnTo>
                            <a:lnTo>
                              <a:pt x="497542" y="31750"/>
                            </a:lnTo>
                            <a:lnTo>
                              <a:pt x="500188" y="29104"/>
                            </a:lnTo>
                            <a:lnTo>
                              <a:pt x="502834" y="31750"/>
                            </a:lnTo>
                            <a:lnTo>
                              <a:pt x="505479" y="37042"/>
                            </a:lnTo>
                            <a:lnTo>
                              <a:pt x="505479" y="42334"/>
                            </a:lnTo>
                            <a:lnTo>
                              <a:pt x="505479" y="44979"/>
                            </a:lnTo>
                            <a:lnTo>
                              <a:pt x="508125" y="42334"/>
                            </a:lnTo>
                            <a:lnTo>
                              <a:pt x="510771" y="39688"/>
                            </a:lnTo>
                            <a:lnTo>
                              <a:pt x="516063" y="42334"/>
                            </a:lnTo>
                            <a:lnTo>
                              <a:pt x="521354" y="44979"/>
                            </a:lnTo>
                            <a:lnTo>
                              <a:pt x="526646" y="47625"/>
                            </a:lnTo>
                            <a:lnTo>
                              <a:pt x="529292" y="50271"/>
                            </a:lnTo>
                            <a:lnTo>
                              <a:pt x="531938" y="47625"/>
                            </a:lnTo>
                            <a:lnTo>
                              <a:pt x="534584" y="47625"/>
                            </a:lnTo>
                            <a:lnTo>
                              <a:pt x="539875" y="52917"/>
                            </a:lnTo>
                            <a:lnTo>
                              <a:pt x="539875" y="58209"/>
                            </a:lnTo>
                            <a:lnTo>
                              <a:pt x="537229" y="60854"/>
                            </a:lnTo>
                            <a:lnTo>
                              <a:pt x="534584" y="60854"/>
                            </a:lnTo>
                            <a:lnTo>
                              <a:pt x="526646" y="60854"/>
                            </a:lnTo>
                            <a:lnTo>
                              <a:pt x="524000" y="63500"/>
                            </a:lnTo>
                            <a:lnTo>
                              <a:pt x="518709" y="66146"/>
                            </a:lnTo>
                            <a:lnTo>
                              <a:pt x="516063" y="66146"/>
                            </a:lnTo>
                            <a:lnTo>
                              <a:pt x="510771" y="66146"/>
                            </a:lnTo>
                            <a:lnTo>
                              <a:pt x="508125" y="71438"/>
                            </a:lnTo>
                            <a:lnTo>
                              <a:pt x="513417" y="76729"/>
                            </a:lnTo>
                            <a:lnTo>
                              <a:pt x="524000" y="79375"/>
                            </a:lnTo>
                            <a:lnTo>
                              <a:pt x="529292" y="79375"/>
                            </a:lnTo>
                            <a:lnTo>
                              <a:pt x="524000" y="82021"/>
                            </a:lnTo>
                            <a:lnTo>
                              <a:pt x="516063" y="84667"/>
                            </a:lnTo>
                            <a:lnTo>
                              <a:pt x="508125" y="89959"/>
                            </a:lnTo>
                            <a:lnTo>
                              <a:pt x="502834" y="89959"/>
                            </a:lnTo>
                            <a:lnTo>
                              <a:pt x="492250" y="84667"/>
                            </a:lnTo>
                            <a:lnTo>
                              <a:pt x="492250" y="92604"/>
                            </a:lnTo>
                            <a:lnTo>
                              <a:pt x="489604" y="95250"/>
                            </a:lnTo>
                            <a:lnTo>
                              <a:pt x="473729" y="92604"/>
                            </a:lnTo>
                            <a:lnTo>
                              <a:pt x="465792" y="95250"/>
                            </a:lnTo>
                            <a:lnTo>
                              <a:pt x="460500" y="92604"/>
                            </a:lnTo>
                            <a:lnTo>
                              <a:pt x="457855" y="92604"/>
                            </a:lnTo>
                            <a:lnTo>
                              <a:pt x="452563" y="92604"/>
                            </a:lnTo>
                            <a:lnTo>
                              <a:pt x="447271" y="95250"/>
                            </a:lnTo>
                            <a:lnTo>
                              <a:pt x="444625" y="97896"/>
                            </a:lnTo>
                            <a:lnTo>
                              <a:pt x="444625" y="100542"/>
                            </a:lnTo>
                            <a:lnTo>
                              <a:pt x="441980" y="103188"/>
                            </a:lnTo>
                            <a:lnTo>
                              <a:pt x="441980" y="105834"/>
                            </a:lnTo>
                            <a:lnTo>
                              <a:pt x="441980" y="116417"/>
                            </a:lnTo>
                            <a:lnTo>
                              <a:pt x="441980" y="127000"/>
                            </a:lnTo>
                            <a:lnTo>
                              <a:pt x="436688" y="132292"/>
                            </a:lnTo>
                            <a:lnTo>
                              <a:pt x="431396" y="137584"/>
                            </a:lnTo>
                            <a:lnTo>
                              <a:pt x="426105" y="142875"/>
                            </a:lnTo>
                            <a:lnTo>
                              <a:pt x="423459" y="148167"/>
                            </a:lnTo>
                            <a:lnTo>
                              <a:pt x="420813" y="161396"/>
                            </a:lnTo>
                            <a:lnTo>
                              <a:pt x="418167" y="171980"/>
                            </a:lnTo>
                            <a:lnTo>
                              <a:pt x="415521" y="177271"/>
                            </a:lnTo>
                            <a:lnTo>
                              <a:pt x="412875" y="182563"/>
                            </a:lnTo>
                            <a:lnTo>
                              <a:pt x="407584" y="187855"/>
                            </a:lnTo>
                            <a:lnTo>
                              <a:pt x="404938" y="190500"/>
                            </a:lnTo>
                            <a:lnTo>
                              <a:pt x="399646" y="193146"/>
                            </a:lnTo>
                            <a:lnTo>
                              <a:pt x="386417" y="198438"/>
                            </a:lnTo>
                            <a:lnTo>
                              <a:pt x="375834" y="198438"/>
                            </a:lnTo>
                            <a:lnTo>
                              <a:pt x="370542" y="195792"/>
                            </a:lnTo>
                            <a:lnTo>
                              <a:pt x="367896" y="193146"/>
                            </a:lnTo>
                            <a:lnTo>
                              <a:pt x="367896" y="190500"/>
                            </a:lnTo>
                            <a:lnTo>
                              <a:pt x="365250" y="190500"/>
                            </a:lnTo>
                            <a:lnTo>
                              <a:pt x="359959" y="190500"/>
                            </a:lnTo>
                            <a:lnTo>
                              <a:pt x="354667" y="193146"/>
                            </a:lnTo>
                            <a:lnTo>
                              <a:pt x="349375" y="195792"/>
                            </a:lnTo>
                            <a:lnTo>
                              <a:pt x="349375" y="198438"/>
                            </a:lnTo>
                            <a:lnTo>
                              <a:pt x="346730" y="201084"/>
                            </a:lnTo>
                            <a:lnTo>
                              <a:pt x="341438" y="203730"/>
                            </a:lnTo>
                            <a:lnTo>
                              <a:pt x="336146" y="206375"/>
                            </a:lnTo>
                            <a:lnTo>
                              <a:pt x="333501" y="206375"/>
                            </a:lnTo>
                            <a:lnTo>
                              <a:pt x="325563" y="206375"/>
                            </a:lnTo>
                            <a:lnTo>
                              <a:pt x="314980" y="209021"/>
                            </a:lnTo>
                            <a:lnTo>
                              <a:pt x="304396" y="211667"/>
                            </a:lnTo>
                            <a:lnTo>
                              <a:pt x="299105" y="209021"/>
                            </a:lnTo>
                            <a:lnTo>
                              <a:pt x="296459" y="203730"/>
                            </a:lnTo>
                            <a:lnTo>
                              <a:pt x="296459" y="201084"/>
                            </a:lnTo>
                            <a:lnTo>
                              <a:pt x="291167" y="198438"/>
                            </a:lnTo>
                            <a:lnTo>
                              <a:pt x="288521" y="195792"/>
                            </a:lnTo>
                            <a:lnTo>
                              <a:pt x="288521" y="193146"/>
                            </a:lnTo>
                            <a:lnTo>
                              <a:pt x="288521" y="187855"/>
                            </a:lnTo>
                            <a:lnTo>
                              <a:pt x="283230" y="185209"/>
                            </a:lnTo>
                            <a:lnTo>
                              <a:pt x="280584" y="179917"/>
                            </a:lnTo>
                            <a:lnTo>
                              <a:pt x="277938" y="179917"/>
                            </a:lnTo>
                            <a:lnTo>
                              <a:pt x="277938" y="177271"/>
                            </a:lnTo>
                            <a:lnTo>
                              <a:pt x="275292" y="174625"/>
                            </a:lnTo>
                            <a:lnTo>
                              <a:pt x="275292" y="171980"/>
                            </a:lnTo>
                            <a:lnTo>
                              <a:pt x="277938" y="171980"/>
                            </a:lnTo>
                            <a:lnTo>
                              <a:pt x="280584" y="177271"/>
                            </a:lnTo>
                            <a:lnTo>
                              <a:pt x="291167" y="177271"/>
                            </a:lnTo>
                            <a:lnTo>
                              <a:pt x="301751" y="177271"/>
                            </a:lnTo>
                            <a:lnTo>
                              <a:pt x="307042" y="179917"/>
                            </a:lnTo>
                            <a:lnTo>
                              <a:pt x="309688" y="185209"/>
                            </a:lnTo>
                            <a:lnTo>
                              <a:pt x="312334" y="185209"/>
                            </a:lnTo>
                            <a:lnTo>
                              <a:pt x="322917" y="187855"/>
                            </a:lnTo>
                            <a:lnTo>
                              <a:pt x="328209" y="190500"/>
                            </a:lnTo>
                            <a:lnTo>
                              <a:pt x="325563" y="187855"/>
                            </a:lnTo>
                            <a:lnTo>
                              <a:pt x="314980" y="182563"/>
                            </a:lnTo>
                            <a:lnTo>
                              <a:pt x="312334" y="179917"/>
                            </a:lnTo>
                            <a:lnTo>
                              <a:pt x="309688" y="177271"/>
                            </a:lnTo>
                            <a:lnTo>
                              <a:pt x="314980" y="169334"/>
                            </a:lnTo>
                            <a:lnTo>
                              <a:pt x="320271" y="164042"/>
                            </a:lnTo>
                            <a:lnTo>
                              <a:pt x="320271" y="161396"/>
                            </a:lnTo>
                            <a:lnTo>
                              <a:pt x="320271" y="158750"/>
                            </a:lnTo>
                            <a:lnTo>
                              <a:pt x="320271" y="156105"/>
                            </a:lnTo>
                            <a:lnTo>
                              <a:pt x="320271" y="153459"/>
                            </a:lnTo>
                            <a:lnTo>
                              <a:pt x="322917" y="148167"/>
                            </a:lnTo>
                            <a:lnTo>
                              <a:pt x="325563" y="142875"/>
                            </a:lnTo>
                            <a:lnTo>
                              <a:pt x="328209" y="142875"/>
                            </a:lnTo>
                            <a:lnTo>
                              <a:pt x="333501" y="142875"/>
                            </a:lnTo>
                            <a:lnTo>
                              <a:pt x="346730" y="134938"/>
                            </a:lnTo>
                            <a:lnTo>
                              <a:pt x="359959" y="129646"/>
                            </a:lnTo>
                            <a:lnTo>
                              <a:pt x="365250" y="124354"/>
                            </a:lnTo>
                            <a:lnTo>
                              <a:pt x="370542" y="113771"/>
                            </a:lnTo>
                            <a:lnTo>
                              <a:pt x="381125" y="92604"/>
                            </a:lnTo>
                            <a:lnTo>
                              <a:pt x="389063" y="82021"/>
                            </a:lnTo>
                            <a:lnTo>
                              <a:pt x="389063" y="74084"/>
                            </a:lnTo>
                            <a:lnTo>
                              <a:pt x="391709" y="71438"/>
                            </a:lnTo>
                            <a:lnTo>
                              <a:pt x="397000" y="68792"/>
                            </a:lnTo>
                            <a:lnTo>
                              <a:pt x="399646" y="71438"/>
                            </a:lnTo>
                            <a:lnTo>
                              <a:pt x="402292" y="74084"/>
                            </a:lnTo>
                            <a:lnTo>
                              <a:pt x="402292" y="76729"/>
                            </a:lnTo>
                            <a:lnTo>
                              <a:pt x="404938" y="79375"/>
                            </a:lnTo>
                            <a:lnTo>
                              <a:pt x="404938" y="76729"/>
                            </a:lnTo>
                            <a:lnTo>
                              <a:pt x="407584" y="79375"/>
                            </a:lnTo>
                            <a:lnTo>
                              <a:pt x="412875" y="87313"/>
                            </a:lnTo>
                            <a:lnTo>
                              <a:pt x="418167" y="89959"/>
                            </a:lnTo>
                            <a:lnTo>
                              <a:pt x="420813" y="87313"/>
                            </a:lnTo>
                            <a:lnTo>
                              <a:pt x="423459" y="79375"/>
                            </a:lnTo>
                            <a:lnTo>
                              <a:pt x="420813" y="71438"/>
                            </a:lnTo>
                            <a:lnTo>
                              <a:pt x="420813" y="66146"/>
                            </a:lnTo>
                            <a:lnTo>
                              <a:pt x="420813" y="63500"/>
                            </a:lnTo>
                            <a:lnTo>
                              <a:pt x="423459" y="60854"/>
                            </a:lnTo>
                            <a:lnTo>
                              <a:pt x="426105" y="60854"/>
                            </a:lnTo>
                            <a:lnTo>
                              <a:pt x="428750" y="60854"/>
                            </a:lnTo>
                            <a:lnTo>
                              <a:pt x="428750" y="68792"/>
                            </a:lnTo>
                            <a:lnTo>
                              <a:pt x="431396" y="74084"/>
                            </a:lnTo>
                            <a:lnTo>
                              <a:pt x="434042" y="74084"/>
                            </a:lnTo>
                            <a:lnTo>
                              <a:pt x="436688" y="71438"/>
                            </a:lnTo>
                            <a:lnTo>
                              <a:pt x="436688" y="68792"/>
                            </a:lnTo>
                            <a:lnTo>
                              <a:pt x="436688" y="66146"/>
                            </a:lnTo>
                            <a:lnTo>
                              <a:pt x="434042" y="58209"/>
                            </a:lnTo>
                            <a:lnTo>
                              <a:pt x="434042" y="52917"/>
                            </a:lnTo>
                            <a:lnTo>
                              <a:pt x="436688" y="52917"/>
                            </a:lnTo>
                            <a:lnTo>
                              <a:pt x="439334" y="50271"/>
                            </a:lnTo>
                            <a:lnTo>
                              <a:pt x="439334" y="47625"/>
                            </a:lnTo>
                            <a:lnTo>
                              <a:pt x="436688" y="42334"/>
                            </a:lnTo>
                            <a:lnTo>
                              <a:pt x="436688" y="39688"/>
                            </a:lnTo>
                            <a:lnTo>
                              <a:pt x="439334" y="37042"/>
                            </a:lnTo>
                            <a:lnTo>
                              <a:pt x="444625" y="31750"/>
                            </a:lnTo>
                            <a:lnTo>
                              <a:pt x="441980" y="29104"/>
                            </a:lnTo>
                            <a:lnTo>
                              <a:pt x="441980" y="26459"/>
                            </a:lnTo>
                            <a:lnTo>
                              <a:pt x="447271" y="21167"/>
                            </a:lnTo>
                            <a:lnTo>
                              <a:pt x="452563" y="13229"/>
                            </a:lnTo>
                            <a:lnTo>
                              <a:pt x="452563" y="7937"/>
                            </a:lnTo>
                            <a:lnTo>
                              <a:pt x="455209" y="2646"/>
                            </a:lnTo>
                            <a:close/>
                          </a:path>
                        </a:pathLst>
                      </a:custGeom>
                      <a:solidFill>
                        <a:schemeClr val="tx2"/>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1024" name="TANGO"/>
                      <p:cNvGrpSpPr/>
                      <p:nvPr/>
                    </p:nvGrpSpPr>
                    <p:grpSpPr>
                      <a:xfrm>
                        <a:off x="3035397" y="1448619"/>
                        <a:ext cx="7266040" cy="2640635"/>
                        <a:chOff x="3035397" y="1448619"/>
                        <a:chExt cx="7266040" cy="2640635"/>
                      </a:xfrm>
                    </p:grpSpPr>
                    <p:sp>
                      <p:nvSpPr>
                        <p:cNvPr id="618" name="Bulgaria"/>
                        <p:cNvSpPr>
                          <a:spLocks/>
                        </p:cNvSpPr>
                        <p:nvPr/>
                      </p:nvSpPr>
                      <p:spPr bwMode="auto">
                        <a:xfrm>
                          <a:off x="6425406" y="2055587"/>
                          <a:ext cx="182259" cy="84975"/>
                        </a:xfrm>
                        <a:custGeom>
                          <a:avLst/>
                          <a:gdLst/>
                          <a:ahLst/>
                          <a:cxnLst>
                            <a:cxn ang="0">
                              <a:pos x="112" y="44"/>
                            </a:cxn>
                            <a:cxn ang="0">
                              <a:pos x="110" y="44"/>
                            </a:cxn>
                            <a:cxn ang="0">
                              <a:pos x="110" y="42"/>
                            </a:cxn>
                            <a:cxn ang="0">
                              <a:pos x="106" y="36"/>
                            </a:cxn>
                            <a:cxn ang="0">
                              <a:pos x="104" y="34"/>
                            </a:cxn>
                            <a:cxn ang="0">
                              <a:pos x="104" y="30"/>
                            </a:cxn>
                            <a:cxn ang="0">
                              <a:pos x="106" y="28"/>
                            </a:cxn>
                            <a:cxn ang="0">
                              <a:pos x="110" y="26"/>
                            </a:cxn>
                            <a:cxn ang="0">
                              <a:pos x="114" y="16"/>
                            </a:cxn>
                            <a:cxn ang="0">
                              <a:pos x="118" y="14"/>
                            </a:cxn>
                            <a:cxn ang="0">
                              <a:pos x="120" y="10"/>
                            </a:cxn>
                            <a:cxn ang="0">
                              <a:pos x="110" y="6"/>
                            </a:cxn>
                            <a:cxn ang="0">
                              <a:pos x="96" y="6"/>
                            </a:cxn>
                            <a:cxn ang="0">
                              <a:pos x="88" y="2"/>
                            </a:cxn>
                            <a:cxn ang="0">
                              <a:pos x="80" y="0"/>
                            </a:cxn>
                            <a:cxn ang="0">
                              <a:pos x="64" y="6"/>
                            </a:cxn>
                            <a:cxn ang="0">
                              <a:pos x="56" y="12"/>
                            </a:cxn>
                            <a:cxn ang="0">
                              <a:pos x="42" y="10"/>
                            </a:cxn>
                            <a:cxn ang="0">
                              <a:pos x="30" y="10"/>
                            </a:cxn>
                            <a:cxn ang="0">
                              <a:pos x="18" y="8"/>
                            </a:cxn>
                            <a:cxn ang="0">
                              <a:pos x="10" y="8"/>
                            </a:cxn>
                            <a:cxn ang="0">
                              <a:pos x="8" y="4"/>
                            </a:cxn>
                            <a:cxn ang="0">
                              <a:pos x="2" y="4"/>
                            </a:cxn>
                            <a:cxn ang="0">
                              <a:pos x="2" y="10"/>
                            </a:cxn>
                            <a:cxn ang="0">
                              <a:pos x="6" y="20"/>
                            </a:cxn>
                            <a:cxn ang="0">
                              <a:pos x="6" y="26"/>
                            </a:cxn>
                            <a:cxn ang="0">
                              <a:pos x="6" y="32"/>
                            </a:cxn>
                            <a:cxn ang="0">
                              <a:pos x="4" y="36"/>
                            </a:cxn>
                            <a:cxn ang="0">
                              <a:pos x="10" y="40"/>
                            </a:cxn>
                            <a:cxn ang="0">
                              <a:pos x="20" y="56"/>
                            </a:cxn>
                            <a:cxn ang="0">
                              <a:pos x="32" y="56"/>
                            </a:cxn>
                            <a:cxn ang="0">
                              <a:pos x="38" y="52"/>
                            </a:cxn>
                            <a:cxn ang="0">
                              <a:pos x="42" y="54"/>
                            </a:cxn>
                            <a:cxn ang="0">
                              <a:pos x="50" y="54"/>
                            </a:cxn>
                            <a:cxn ang="0">
                              <a:pos x="56" y="56"/>
                            </a:cxn>
                            <a:cxn ang="0">
                              <a:pos x="64" y="56"/>
                            </a:cxn>
                            <a:cxn ang="0">
                              <a:pos x="70" y="56"/>
                            </a:cxn>
                            <a:cxn ang="0">
                              <a:pos x="74" y="54"/>
                            </a:cxn>
                            <a:cxn ang="0">
                              <a:pos x="78" y="52"/>
                            </a:cxn>
                            <a:cxn ang="0">
                              <a:pos x="84" y="48"/>
                            </a:cxn>
                            <a:cxn ang="0">
                              <a:pos x="92" y="44"/>
                            </a:cxn>
                            <a:cxn ang="0">
                              <a:pos x="102" y="46"/>
                            </a:cxn>
                          </a:cxnLst>
                          <a:rect l="0" t="0" r="r" b="b"/>
                          <a:pathLst>
                            <a:path w="120" h="56">
                              <a:moveTo>
                                <a:pt x="112" y="46"/>
                              </a:moveTo>
                              <a:lnTo>
                                <a:pt x="112" y="46"/>
                              </a:lnTo>
                              <a:lnTo>
                                <a:pt x="112" y="44"/>
                              </a:lnTo>
                              <a:lnTo>
                                <a:pt x="110" y="44"/>
                              </a:lnTo>
                              <a:lnTo>
                                <a:pt x="110" y="44"/>
                              </a:lnTo>
                              <a:lnTo>
                                <a:pt x="110" y="44"/>
                              </a:lnTo>
                              <a:lnTo>
                                <a:pt x="110" y="44"/>
                              </a:lnTo>
                              <a:lnTo>
                                <a:pt x="110" y="42"/>
                              </a:lnTo>
                              <a:lnTo>
                                <a:pt x="110" y="42"/>
                              </a:lnTo>
                              <a:lnTo>
                                <a:pt x="106" y="38"/>
                              </a:lnTo>
                              <a:lnTo>
                                <a:pt x="106" y="36"/>
                              </a:lnTo>
                              <a:lnTo>
                                <a:pt x="106" y="36"/>
                              </a:lnTo>
                              <a:lnTo>
                                <a:pt x="106" y="36"/>
                              </a:lnTo>
                              <a:lnTo>
                                <a:pt x="106" y="36"/>
                              </a:lnTo>
                              <a:lnTo>
                                <a:pt x="104" y="34"/>
                              </a:lnTo>
                              <a:lnTo>
                                <a:pt x="104" y="34"/>
                              </a:lnTo>
                              <a:lnTo>
                                <a:pt x="104" y="34"/>
                              </a:lnTo>
                              <a:lnTo>
                                <a:pt x="104" y="30"/>
                              </a:lnTo>
                              <a:lnTo>
                                <a:pt x="104" y="30"/>
                              </a:lnTo>
                              <a:lnTo>
                                <a:pt x="106" y="28"/>
                              </a:lnTo>
                              <a:lnTo>
                                <a:pt x="106" y="28"/>
                              </a:lnTo>
                              <a:lnTo>
                                <a:pt x="108" y="28"/>
                              </a:lnTo>
                              <a:lnTo>
                                <a:pt x="110" y="26"/>
                              </a:lnTo>
                              <a:lnTo>
                                <a:pt x="110" y="26"/>
                              </a:lnTo>
                              <a:lnTo>
                                <a:pt x="112" y="20"/>
                              </a:lnTo>
                              <a:lnTo>
                                <a:pt x="114" y="16"/>
                              </a:lnTo>
                              <a:lnTo>
                                <a:pt x="114" y="16"/>
                              </a:lnTo>
                              <a:lnTo>
                                <a:pt x="116" y="12"/>
                              </a:lnTo>
                              <a:lnTo>
                                <a:pt x="118" y="14"/>
                              </a:lnTo>
                              <a:lnTo>
                                <a:pt x="118" y="14"/>
                              </a:lnTo>
                              <a:lnTo>
                                <a:pt x="120" y="14"/>
                              </a:lnTo>
                              <a:lnTo>
                                <a:pt x="120" y="10"/>
                              </a:lnTo>
                              <a:lnTo>
                                <a:pt x="120" y="10"/>
                              </a:lnTo>
                              <a:lnTo>
                                <a:pt x="114" y="8"/>
                              </a:lnTo>
                              <a:lnTo>
                                <a:pt x="112" y="8"/>
                              </a:lnTo>
                              <a:lnTo>
                                <a:pt x="110" y="6"/>
                              </a:lnTo>
                              <a:lnTo>
                                <a:pt x="108" y="6"/>
                              </a:lnTo>
                              <a:lnTo>
                                <a:pt x="108" y="6"/>
                              </a:lnTo>
                              <a:lnTo>
                                <a:pt x="96" y="6"/>
                              </a:lnTo>
                              <a:lnTo>
                                <a:pt x="92" y="4"/>
                              </a:lnTo>
                              <a:lnTo>
                                <a:pt x="88" y="2"/>
                              </a:lnTo>
                              <a:lnTo>
                                <a:pt x="88" y="2"/>
                              </a:lnTo>
                              <a:lnTo>
                                <a:pt x="88" y="0"/>
                              </a:lnTo>
                              <a:lnTo>
                                <a:pt x="86" y="0"/>
                              </a:lnTo>
                              <a:lnTo>
                                <a:pt x="80" y="0"/>
                              </a:lnTo>
                              <a:lnTo>
                                <a:pt x="80" y="0"/>
                              </a:lnTo>
                              <a:lnTo>
                                <a:pt x="70" y="4"/>
                              </a:lnTo>
                              <a:lnTo>
                                <a:pt x="64" y="6"/>
                              </a:lnTo>
                              <a:lnTo>
                                <a:pt x="60" y="10"/>
                              </a:lnTo>
                              <a:lnTo>
                                <a:pt x="60" y="10"/>
                              </a:lnTo>
                              <a:lnTo>
                                <a:pt x="56" y="12"/>
                              </a:lnTo>
                              <a:lnTo>
                                <a:pt x="50" y="12"/>
                              </a:lnTo>
                              <a:lnTo>
                                <a:pt x="50" y="12"/>
                              </a:lnTo>
                              <a:lnTo>
                                <a:pt x="42" y="10"/>
                              </a:lnTo>
                              <a:lnTo>
                                <a:pt x="36" y="10"/>
                              </a:lnTo>
                              <a:lnTo>
                                <a:pt x="36" y="10"/>
                              </a:lnTo>
                              <a:lnTo>
                                <a:pt x="30" y="10"/>
                              </a:lnTo>
                              <a:lnTo>
                                <a:pt x="24" y="10"/>
                              </a:lnTo>
                              <a:lnTo>
                                <a:pt x="24" y="10"/>
                              </a:lnTo>
                              <a:lnTo>
                                <a:pt x="18" y="8"/>
                              </a:lnTo>
                              <a:lnTo>
                                <a:pt x="14" y="8"/>
                              </a:lnTo>
                              <a:lnTo>
                                <a:pt x="14" y="8"/>
                              </a:lnTo>
                              <a:lnTo>
                                <a:pt x="10" y="8"/>
                              </a:lnTo>
                              <a:lnTo>
                                <a:pt x="8" y="4"/>
                              </a:lnTo>
                              <a:lnTo>
                                <a:pt x="8" y="4"/>
                              </a:lnTo>
                              <a:lnTo>
                                <a:pt x="8" y="4"/>
                              </a:lnTo>
                              <a:lnTo>
                                <a:pt x="4" y="2"/>
                              </a:lnTo>
                              <a:lnTo>
                                <a:pt x="4" y="2"/>
                              </a:lnTo>
                              <a:lnTo>
                                <a:pt x="2" y="4"/>
                              </a:lnTo>
                              <a:lnTo>
                                <a:pt x="0" y="6"/>
                              </a:lnTo>
                              <a:lnTo>
                                <a:pt x="2" y="10"/>
                              </a:lnTo>
                              <a:lnTo>
                                <a:pt x="2" y="10"/>
                              </a:lnTo>
                              <a:lnTo>
                                <a:pt x="4" y="16"/>
                              </a:lnTo>
                              <a:lnTo>
                                <a:pt x="6" y="20"/>
                              </a:lnTo>
                              <a:lnTo>
                                <a:pt x="6" y="20"/>
                              </a:lnTo>
                              <a:lnTo>
                                <a:pt x="8" y="24"/>
                              </a:lnTo>
                              <a:lnTo>
                                <a:pt x="6" y="26"/>
                              </a:lnTo>
                              <a:lnTo>
                                <a:pt x="6" y="26"/>
                              </a:lnTo>
                              <a:lnTo>
                                <a:pt x="4" y="28"/>
                              </a:lnTo>
                              <a:lnTo>
                                <a:pt x="6" y="30"/>
                              </a:lnTo>
                              <a:lnTo>
                                <a:pt x="6" y="32"/>
                              </a:lnTo>
                              <a:lnTo>
                                <a:pt x="6" y="34"/>
                              </a:lnTo>
                              <a:lnTo>
                                <a:pt x="6" y="34"/>
                              </a:lnTo>
                              <a:lnTo>
                                <a:pt x="4" y="36"/>
                              </a:lnTo>
                              <a:lnTo>
                                <a:pt x="6" y="38"/>
                              </a:lnTo>
                              <a:lnTo>
                                <a:pt x="10" y="40"/>
                              </a:lnTo>
                              <a:lnTo>
                                <a:pt x="10" y="40"/>
                              </a:lnTo>
                              <a:lnTo>
                                <a:pt x="18" y="46"/>
                              </a:lnTo>
                              <a:lnTo>
                                <a:pt x="20" y="52"/>
                              </a:lnTo>
                              <a:lnTo>
                                <a:pt x="20" y="56"/>
                              </a:lnTo>
                              <a:lnTo>
                                <a:pt x="20" y="56"/>
                              </a:lnTo>
                              <a:lnTo>
                                <a:pt x="28" y="56"/>
                              </a:lnTo>
                              <a:lnTo>
                                <a:pt x="32" y="56"/>
                              </a:lnTo>
                              <a:lnTo>
                                <a:pt x="34" y="56"/>
                              </a:lnTo>
                              <a:lnTo>
                                <a:pt x="34" y="56"/>
                              </a:lnTo>
                              <a:lnTo>
                                <a:pt x="38" y="52"/>
                              </a:lnTo>
                              <a:lnTo>
                                <a:pt x="40" y="52"/>
                              </a:lnTo>
                              <a:lnTo>
                                <a:pt x="42" y="54"/>
                              </a:lnTo>
                              <a:lnTo>
                                <a:pt x="42" y="54"/>
                              </a:lnTo>
                              <a:lnTo>
                                <a:pt x="46" y="54"/>
                              </a:lnTo>
                              <a:lnTo>
                                <a:pt x="50" y="54"/>
                              </a:lnTo>
                              <a:lnTo>
                                <a:pt x="50" y="54"/>
                              </a:lnTo>
                              <a:lnTo>
                                <a:pt x="54" y="56"/>
                              </a:lnTo>
                              <a:lnTo>
                                <a:pt x="56" y="56"/>
                              </a:lnTo>
                              <a:lnTo>
                                <a:pt x="56" y="56"/>
                              </a:lnTo>
                              <a:lnTo>
                                <a:pt x="62" y="56"/>
                              </a:lnTo>
                              <a:lnTo>
                                <a:pt x="64" y="56"/>
                              </a:lnTo>
                              <a:lnTo>
                                <a:pt x="64" y="56"/>
                              </a:lnTo>
                              <a:lnTo>
                                <a:pt x="64" y="56"/>
                              </a:lnTo>
                              <a:lnTo>
                                <a:pt x="66" y="54"/>
                              </a:lnTo>
                              <a:lnTo>
                                <a:pt x="70" y="56"/>
                              </a:lnTo>
                              <a:lnTo>
                                <a:pt x="74" y="56"/>
                              </a:lnTo>
                              <a:lnTo>
                                <a:pt x="74" y="54"/>
                              </a:lnTo>
                              <a:lnTo>
                                <a:pt x="74" y="54"/>
                              </a:lnTo>
                              <a:lnTo>
                                <a:pt x="74" y="54"/>
                              </a:lnTo>
                              <a:lnTo>
                                <a:pt x="74" y="50"/>
                              </a:lnTo>
                              <a:lnTo>
                                <a:pt x="78" y="52"/>
                              </a:lnTo>
                              <a:lnTo>
                                <a:pt x="78" y="52"/>
                              </a:lnTo>
                              <a:lnTo>
                                <a:pt x="80" y="48"/>
                              </a:lnTo>
                              <a:lnTo>
                                <a:pt x="84" y="48"/>
                              </a:lnTo>
                              <a:lnTo>
                                <a:pt x="84" y="48"/>
                              </a:lnTo>
                              <a:lnTo>
                                <a:pt x="88" y="44"/>
                              </a:lnTo>
                              <a:lnTo>
                                <a:pt x="92" y="44"/>
                              </a:lnTo>
                              <a:lnTo>
                                <a:pt x="94" y="44"/>
                              </a:lnTo>
                              <a:lnTo>
                                <a:pt x="94" y="44"/>
                              </a:lnTo>
                              <a:lnTo>
                                <a:pt x="102" y="46"/>
                              </a:lnTo>
                              <a:lnTo>
                                <a:pt x="112" y="46"/>
                              </a:lnTo>
                              <a:lnTo>
                                <a:pt x="112" y="46"/>
                              </a:lnTo>
                              <a:close/>
                            </a:path>
                          </a:pathLst>
                        </a:custGeom>
                        <a:solidFill>
                          <a:schemeClr val="accent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9" name="Costa Rica"/>
                        <p:cNvSpPr>
                          <a:spLocks/>
                        </p:cNvSpPr>
                        <p:nvPr/>
                      </p:nvSpPr>
                      <p:spPr bwMode="auto">
                        <a:xfrm>
                          <a:off x="3035397" y="3267895"/>
                          <a:ext cx="109355" cy="109254"/>
                        </a:xfrm>
                        <a:custGeom>
                          <a:avLst/>
                          <a:gdLst/>
                          <a:ahLst/>
                          <a:cxnLst>
                            <a:cxn ang="0">
                              <a:pos x="6" y="2"/>
                            </a:cxn>
                            <a:cxn ang="0">
                              <a:pos x="14" y="0"/>
                            </a:cxn>
                            <a:cxn ang="0">
                              <a:pos x="22" y="2"/>
                            </a:cxn>
                            <a:cxn ang="0">
                              <a:pos x="28" y="0"/>
                            </a:cxn>
                            <a:cxn ang="0">
                              <a:pos x="38" y="6"/>
                            </a:cxn>
                            <a:cxn ang="0">
                              <a:pos x="42" y="6"/>
                            </a:cxn>
                            <a:cxn ang="0">
                              <a:pos x="48" y="6"/>
                            </a:cxn>
                            <a:cxn ang="0">
                              <a:pos x="56" y="4"/>
                            </a:cxn>
                            <a:cxn ang="0">
                              <a:pos x="56" y="4"/>
                            </a:cxn>
                            <a:cxn ang="0">
                              <a:pos x="58" y="10"/>
                            </a:cxn>
                            <a:cxn ang="0">
                              <a:pos x="60" y="16"/>
                            </a:cxn>
                            <a:cxn ang="0">
                              <a:pos x="72" y="32"/>
                            </a:cxn>
                            <a:cxn ang="0">
                              <a:pos x="68" y="34"/>
                            </a:cxn>
                            <a:cxn ang="0">
                              <a:pos x="64" y="38"/>
                            </a:cxn>
                            <a:cxn ang="0">
                              <a:pos x="66" y="44"/>
                            </a:cxn>
                            <a:cxn ang="0">
                              <a:pos x="66" y="50"/>
                            </a:cxn>
                            <a:cxn ang="0">
                              <a:pos x="64" y="54"/>
                            </a:cxn>
                            <a:cxn ang="0">
                              <a:pos x="64" y="60"/>
                            </a:cxn>
                            <a:cxn ang="0">
                              <a:pos x="62" y="62"/>
                            </a:cxn>
                            <a:cxn ang="0">
                              <a:pos x="62" y="66"/>
                            </a:cxn>
                            <a:cxn ang="0">
                              <a:pos x="62" y="72"/>
                            </a:cxn>
                            <a:cxn ang="0">
                              <a:pos x="60" y="70"/>
                            </a:cxn>
                            <a:cxn ang="0">
                              <a:pos x="58" y="66"/>
                            </a:cxn>
                            <a:cxn ang="0">
                              <a:pos x="56" y="66"/>
                            </a:cxn>
                            <a:cxn ang="0">
                              <a:pos x="58" y="62"/>
                            </a:cxn>
                            <a:cxn ang="0">
                              <a:pos x="56" y="60"/>
                            </a:cxn>
                            <a:cxn ang="0">
                              <a:pos x="52" y="60"/>
                            </a:cxn>
                            <a:cxn ang="0">
                              <a:pos x="52" y="62"/>
                            </a:cxn>
                            <a:cxn ang="0">
                              <a:pos x="54" y="64"/>
                            </a:cxn>
                            <a:cxn ang="0">
                              <a:pos x="48" y="62"/>
                            </a:cxn>
                            <a:cxn ang="0">
                              <a:pos x="48" y="56"/>
                            </a:cxn>
                            <a:cxn ang="0">
                              <a:pos x="46" y="54"/>
                            </a:cxn>
                            <a:cxn ang="0">
                              <a:pos x="48" y="50"/>
                            </a:cxn>
                            <a:cxn ang="0">
                              <a:pos x="36" y="42"/>
                            </a:cxn>
                            <a:cxn ang="0">
                              <a:pos x="26" y="36"/>
                            </a:cxn>
                            <a:cxn ang="0">
                              <a:pos x="24" y="32"/>
                            </a:cxn>
                            <a:cxn ang="0">
                              <a:pos x="22" y="26"/>
                            </a:cxn>
                            <a:cxn ang="0">
                              <a:pos x="16" y="24"/>
                            </a:cxn>
                            <a:cxn ang="0">
                              <a:pos x="18" y="28"/>
                            </a:cxn>
                            <a:cxn ang="0">
                              <a:pos x="20" y="30"/>
                            </a:cxn>
                            <a:cxn ang="0">
                              <a:pos x="18" y="34"/>
                            </a:cxn>
                            <a:cxn ang="0">
                              <a:pos x="14" y="32"/>
                            </a:cxn>
                            <a:cxn ang="0">
                              <a:pos x="6" y="24"/>
                            </a:cxn>
                            <a:cxn ang="0">
                              <a:pos x="8" y="20"/>
                            </a:cxn>
                            <a:cxn ang="0">
                              <a:pos x="6" y="14"/>
                            </a:cxn>
                            <a:cxn ang="0">
                              <a:pos x="6" y="10"/>
                            </a:cxn>
                            <a:cxn ang="0">
                              <a:pos x="2" y="8"/>
                            </a:cxn>
                            <a:cxn ang="0">
                              <a:pos x="0" y="6"/>
                            </a:cxn>
                            <a:cxn ang="0">
                              <a:pos x="6" y="4"/>
                            </a:cxn>
                            <a:cxn ang="0">
                              <a:pos x="6" y="2"/>
                            </a:cxn>
                          </a:cxnLst>
                          <a:rect l="0" t="0" r="r" b="b"/>
                          <a:pathLst>
                            <a:path w="72" h="72">
                              <a:moveTo>
                                <a:pt x="6" y="2"/>
                              </a:moveTo>
                              <a:lnTo>
                                <a:pt x="6" y="2"/>
                              </a:lnTo>
                              <a:lnTo>
                                <a:pt x="10" y="0"/>
                              </a:lnTo>
                              <a:lnTo>
                                <a:pt x="14" y="0"/>
                              </a:lnTo>
                              <a:lnTo>
                                <a:pt x="18" y="2"/>
                              </a:lnTo>
                              <a:lnTo>
                                <a:pt x="22" y="2"/>
                              </a:lnTo>
                              <a:lnTo>
                                <a:pt x="22" y="2"/>
                              </a:lnTo>
                              <a:lnTo>
                                <a:pt x="28" y="0"/>
                              </a:lnTo>
                              <a:lnTo>
                                <a:pt x="34" y="2"/>
                              </a:lnTo>
                              <a:lnTo>
                                <a:pt x="38" y="6"/>
                              </a:lnTo>
                              <a:lnTo>
                                <a:pt x="42" y="6"/>
                              </a:lnTo>
                              <a:lnTo>
                                <a:pt x="42" y="6"/>
                              </a:lnTo>
                              <a:lnTo>
                                <a:pt x="46" y="4"/>
                              </a:lnTo>
                              <a:lnTo>
                                <a:pt x="48" y="6"/>
                              </a:lnTo>
                              <a:lnTo>
                                <a:pt x="50" y="6"/>
                              </a:lnTo>
                              <a:lnTo>
                                <a:pt x="56" y="4"/>
                              </a:lnTo>
                              <a:lnTo>
                                <a:pt x="56" y="4"/>
                              </a:lnTo>
                              <a:lnTo>
                                <a:pt x="56" y="4"/>
                              </a:lnTo>
                              <a:lnTo>
                                <a:pt x="58" y="6"/>
                              </a:lnTo>
                              <a:lnTo>
                                <a:pt x="58" y="10"/>
                              </a:lnTo>
                              <a:lnTo>
                                <a:pt x="58" y="10"/>
                              </a:lnTo>
                              <a:lnTo>
                                <a:pt x="60" y="16"/>
                              </a:lnTo>
                              <a:lnTo>
                                <a:pt x="62" y="22"/>
                              </a:lnTo>
                              <a:lnTo>
                                <a:pt x="72" y="32"/>
                              </a:lnTo>
                              <a:lnTo>
                                <a:pt x="72" y="32"/>
                              </a:lnTo>
                              <a:lnTo>
                                <a:pt x="68" y="34"/>
                              </a:lnTo>
                              <a:lnTo>
                                <a:pt x="64" y="36"/>
                              </a:lnTo>
                              <a:lnTo>
                                <a:pt x="64" y="38"/>
                              </a:lnTo>
                              <a:lnTo>
                                <a:pt x="64" y="40"/>
                              </a:lnTo>
                              <a:lnTo>
                                <a:pt x="66" y="44"/>
                              </a:lnTo>
                              <a:lnTo>
                                <a:pt x="68" y="48"/>
                              </a:lnTo>
                              <a:lnTo>
                                <a:pt x="66" y="50"/>
                              </a:lnTo>
                              <a:lnTo>
                                <a:pt x="66" y="50"/>
                              </a:lnTo>
                              <a:lnTo>
                                <a:pt x="64" y="54"/>
                              </a:lnTo>
                              <a:lnTo>
                                <a:pt x="64" y="58"/>
                              </a:lnTo>
                              <a:lnTo>
                                <a:pt x="64" y="60"/>
                              </a:lnTo>
                              <a:lnTo>
                                <a:pt x="62" y="62"/>
                              </a:lnTo>
                              <a:lnTo>
                                <a:pt x="62" y="62"/>
                              </a:lnTo>
                              <a:lnTo>
                                <a:pt x="60" y="64"/>
                              </a:lnTo>
                              <a:lnTo>
                                <a:pt x="62" y="66"/>
                              </a:lnTo>
                              <a:lnTo>
                                <a:pt x="62" y="68"/>
                              </a:lnTo>
                              <a:lnTo>
                                <a:pt x="62" y="72"/>
                              </a:lnTo>
                              <a:lnTo>
                                <a:pt x="62" y="72"/>
                              </a:lnTo>
                              <a:lnTo>
                                <a:pt x="60" y="70"/>
                              </a:lnTo>
                              <a:lnTo>
                                <a:pt x="60" y="68"/>
                              </a:lnTo>
                              <a:lnTo>
                                <a:pt x="58" y="66"/>
                              </a:lnTo>
                              <a:lnTo>
                                <a:pt x="58" y="66"/>
                              </a:lnTo>
                              <a:lnTo>
                                <a:pt x="56" y="66"/>
                              </a:lnTo>
                              <a:lnTo>
                                <a:pt x="56" y="64"/>
                              </a:lnTo>
                              <a:lnTo>
                                <a:pt x="58" y="62"/>
                              </a:lnTo>
                              <a:lnTo>
                                <a:pt x="56" y="60"/>
                              </a:lnTo>
                              <a:lnTo>
                                <a:pt x="56" y="60"/>
                              </a:lnTo>
                              <a:lnTo>
                                <a:pt x="52" y="58"/>
                              </a:lnTo>
                              <a:lnTo>
                                <a:pt x="52" y="60"/>
                              </a:lnTo>
                              <a:lnTo>
                                <a:pt x="52" y="62"/>
                              </a:lnTo>
                              <a:lnTo>
                                <a:pt x="52" y="62"/>
                              </a:lnTo>
                              <a:lnTo>
                                <a:pt x="54" y="62"/>
                              </a:lnTo>
                              <a:lnTo>
                                <a:pt x="54" y="64"/>
                              </a:lnTo>
                              <a:lnTo>
                                <a:pt x="48" y="62"/>
                              </a:lnTo>
                              <a:lnTo>
                                <a:pt x="48" y="62"/>
                              </a:lnTo>
                              <a:lnTo>
                                <a:pt x="44" y="60"/>
                              </a:lnTo>
                              <a:lnTo>
                                <a:pt x="48" y="56"/>
                              </a:lnTo>
                              <a:lnTo>
                                <a:pt x="48" y="56"/>
                              </a:lnTo>
                              <a:lnTo>
                                <a:pt x="46" y="54"/>
                              </a:lnTo>
                              <a:lnTo>
                                <a:pt x="46" y="52"/>
                              </a:lnTo>
                              <a:lnTo>
                                <a:pt x="48" y="50"/>
                              </a:lnTo>
                              <a:lnTo>
                                <a:pt x="48" y="50"/>
                              </a:lnTo>
                              <a:lnTo>
                                <a:pt x="36" y="42"/>
                              </a:lnTo>
                              <a:lnTo>
                                <a:pt x="26" y="36"/>
                              </a:lnTo>
                              <a:lnTo>
                                <a:pt x="26" y="36"/>
                              </a:lnTo>
                              <a:lnTo>
                                <a:pt x="24" y="32"/>
                              </a:lnTo>
                              <a:lnTo>
                                <a:pt x="24" y="32"/>
                              </a:lnTo>
                              <a:lnTo>
                                <a:pt x="26" y="30"/>
                              </a:lnTo>
                              <a:lnTo>
                                <a:pt x="22" y="26"/>
                              </a:lnTo>
                              <a:lnTo>
                                <a:pt x="22" y="26"/>
                              </a:lnTo>
                              <a:lnTo>
                                <a:pt x="16" y="24"/>
                              </a:lnTo>
                              <a:lnTo>
                                <a:pt x="16" y="24"/>
                              </a:lnTo>
                              <a:lnTo>
                                <a:pt x="18" y="28"/>
                              </a:lnTo>
                              <a:lnTo>
                                <a:pt x="18" y="28"/>
                              </a:lnTo>
                              <a:lnTo>
                                <a:pt x="20" y="30"/>
                              </a:lnTo>
                              <a:lnTo>
                                <a:pt x="20" y="32"/>
                              </a:lnTo>
                              <a:lnTo>
                                <a:pt x="18" y="34"/>
                              </a:lnTo>
                              <a:lnTo>
                                <a:pt x="14" y="32"/>
                              </a:lnTo>
                              <a:lnTo>
                                <a:pt x="14" y="32"/>
                              </a:lnTo>
                              <a:lnTo>
                                <a:pt x="6" y="26"/>
                              </a:lnTo>
                              <a:lnTo>
                                <a:pt x="6" y="24"/>
                              </a:lnTo>
                              <a:lnTo>
                                <a:pt x="8" y="20"/>
                              </a:lnTo>
                              <a:lnTo>
                                <a:pt x="8" y="20"/>
                              </a:lnTo>
                              <a:lnTo>
                                <a:pt x="6" y="16"/>
                              </a:lnTo>
                              <a:lnTo>
                                <a:pt x="6" y="14"/>
                              </a:lnTo>
                              <a:lnTo>
                                <a:pt x="6" y="10"/>
                              </a:lnTo>
                              <a:lnTo>
                                <a:pt x="6" y="10"/>
                              </a:lnTo>
                              <a:lnTo>
                                <a:pt x="4" y="8"/>
                              </a:lnTo>
                              <a:lnTo>
                                <a:pt x="2" y="8"/>
                              </a:lnTo>
                              <a:lnTo>
                                <a:pt x="0" y="6"/>
                              </a:lnTo>
                              <a:lnTo>
                                <a:pt x="0" y="6"/>
                              </a:lnTo>
                              <a:lnTo>
                                <a:pt x="0" y="6"/>
                              </a:lnTo>
                              <a:lnTo>
                                <a:pt x="6" y="4"/>
                              </a:lnTo>
                              <a:lnTo>
                                <a:pt x="6" y="4"/>
                              </a:lnTo>
                              <a:lnTo>
                                <a:pt x="6" y="2"/>
                              </a:lnTo>
                              <a:lnTo>
                                <a:pt x="6" y="2"/>
                              </a:lnTo>
                              <a:close/>
                            </a:path>
                          </a:pathLst>
                        </a:custGeom>
                        <a:solidFill>
                          <a:schemeClr val="accent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0" name="Croatia and Slovenia"/>
                        <p:cNvSpPr>
                          <a:spLocks/>
                        </p:cNvSpPr>
                        <p:nvPr/>
                      </p:nvSpPr>
                      <p:spPr bwMode="auto">
                        <a:xfrm>
                          <a:off x="6161877" y="1976352"/>
                          <a:ext cx="294651" cy="191195"/>
                        </a:xfrm>
                        <a:custGeom>
                          <a:avLst/>
                          <a:gdLst/>
                          <a:ahLst/>
                          <a:cxnLst>
                            <a:cxn ang="0">
                              <a:pos x="112" y="94"/>
                            </a:cxn>
                            <a:cxn ang="0">
                              <a:pos x="104" y="88"/>
                            </a:cxn>
                            <a:cxn ang="0">
                              <a:pos x="106" y="86"/>
                            </a:cxn>
                            <a:cxn ang="0">
                              <a:pos x="98" y="86"/>
                            </a:cxn>
                            <a:cxn ang="0">
                              <a:pos x="82" y="80"/>
                            </a:cxn>
                            <a:cxn ang="0">
                              <a:pos x="82" y="78"/>
                            </a:cxn>
                            <a:cxn ang="0">
                              <a:pos x="68" y="72"/>
                            </a:cxn>
                            <a:cxn ang="0">
                              <a:pos x="58" y="66"/>
                            </a:cxn>
                            <a:cxn ang="0">
                              <a:pos x="40" y="54"/>
                            </a:cxn>
                            <a:cxn ang="0">
                              <a:pos x="40" y="50"/>
                            </a:cxn>
                            <a:cxn ang="0">
                              <a:pos x="28" y="42"/>
                            </a:cxn>
                            <a:cxn ang="0">
                              <a:pos x="24" y="32"/>
                            </a:cxn>
                            <a:cxn ang="0">
                              <a:pos x="20" y="40"/>
                            </a:cxn>
                            <a:cxn ang="0">
                              <a:pos x="14" y="40"/>
                            </a:cxn>
                            <a:cxn ang="0">
                              <a:pos x="10" y="28"/>
                            </a:cxn>
                            <a:cxn ang="0">
                              <a:pos x="12" y="24"/>
                            </a:cxn>
                            <a:cxn ang="0">
                              <a:pos x="6" y="18"/>
                            </a:cxn>
                            <a:cxn ang="0">
                              <a:pos x="2" y="12"/>
                            </a:cxn>
                            <a:cxn ang="0">
                              <a:pos x="0" y="8"/>
                            </a:cxn>
                            <a:cxn ang="0">
                              <a:pos x="26" y="4"/>
                            </a:cxn>
                            <a:cxn ang="0">
                              <a:pos x="34" y="4"/>
                            </a:cxn>
                            <a:cxn ang="0">
                              <a:pos x="44" y="2"/>
                            </a:cxn>
                            <a:cxn ang="0">
                              <a:pos x="50" y="0"/>
                            </a:cxn>
                            <a:cxn ang="0">
                              <a:pos x="56" y="4"/>
                            </a:cxn>
                            <a:cxn ang="0">
                              <a:pos x="58" y="8"/>
                            </a:cxn>
                            <a:cxn ang="0">
                              <a:pos x="68" y="14"/>
                            </a:cxn>
                            <a:cxn ang="0">
                              <a:pos x="84" y="20"/>
                            </a:cxn>
                            <a:cxn ang="0">
                              <a:pos x="90" y="22"/>
                            </a:cxn>
                            <a:cxn ang="0">
                              <a:pos x="104" y="14"/>
                            </a:cxn>
                            <a:cxn ang="0">
                              <a:pos x="112" y="16"/>
                            </a:cxn>
                            <a:cxn ang="0">
                              <a:pos x="132" y="14"/>
                            </a:cxn>
                            <a:cxn ang="0">
                              <a:pos x="138" y="22"/>
                            </a:cxn>
                            <a:cxn ang="0">
                              <a:pos x="142" y="26"/>
                            </a:cxn>
                            <a:cxn ang="0">
                              <a:pos x="148" y="32"/>
                            </a:cxn>
                            <a:cxn ang="0">
                              <a:pos x="152" y="38"/>
                            </a:cxn>
                            <a:cxn ang="0">
                              <a:pos x="156" y="44"/>
                            </a:cxn>
                            <a:cxn ang="0">
                              <a:pos x="162" y="46"/>
                            </a:cxn>
                            <a:cxn ang="0">
                              <a:pos x="170" y="48"/>
                            </a:cxn>
                            <a:cxn ang="0">
                              <a:pos x="174" y="48"/>
                            </a:cxn>
                            <a:cxn ang="0">
                              <a:pos x="174" y="54"/>
                            </a:cxn>
                            <a:cxn ang="0">
                              <a:pos x="174" y="60"/>
                            </a:cxn>
                            <a:cxn ang="0">
                              <a:pos x="180" y="74"/>
                            </a:cxn>
                            <a:cxn ang="0">
                              <a:pos x="180" y="80"/>
                            </a:cxn>
                            <a:cxn ang="0">
                              <a:pos x="180" y="88"/>
                            </a:cxn>
                            <a:cxn ang="0">
                              <a:pos x="184" y="94"/>
                            </a:cxn>
                            <a:cxn ang="0">
                              <a:pos x="194" y="110"/>
                            </a:cxn>
                            <a:cxn ang="0">
                              <a:pos x="190" y="114"/>
                            </a:cxn>
                            <a:cxn ang="0">
                              <a:pos x="184" y="114"/>
                            </a:cxn>
                            <a:cxn ang="0">
                              <a:pos x="178" y="118"/>
                            </a:cxn>
                            <a:cxn ang="0">
                              <a:pos x="162" y="122"/>
                            </a:cxn>
                            <a:cxn ang="0">
                              <a:pos x="152" y="120"/>
                            </a:cxn>
                            <a:cxn ang="0">
                              <a:pos x="142" y="110"/>
                            </a:cxn>
                            <a:cxn ang="0">
                              <a:pos x="140" y="106"/>
                            </a:cxn>
                            <a:cxn ang="0">
                              <a:pos x="134" y="92"/>
                            </a:cxn>
                            <a:cxn ang="0">
                              <a:pos x="118" y="92"/>
                            </a:cxn>
                            <a:cxn ang="0">
                              <a:pos x="120" y="96"/>
                            </a:cxn>
                          </a:cxnLst>
                          <a:rect l="0" t="0" r="r" b="b"/>
                          <a:pathLst>
                            <a:path w="194" h="126">
                              <a:moveTo>
                                <a:pt x="118" y="98"/>
                              </a:moveTo>
                              <a:lnTo>
                                <a:pt x="118" y="98"/>
                              </a:lnTo>
                              <a:lnTo>
                                <a:pt x="116" y="96"/>
                              </a:lnTo>
                              <a:lnTo>
                                <a:pt x="112" y="94"/>
                              </a:lnTo>
                              <a:lnTo>
                                <a:pt x="112" y="94"/>
                              </a:lnTo>
                              <a:lnTo>
                                <a:pt x="108" y="92"/>
                              </a:lnTo>
                              <a:lnTo>
                                <a:pt x="104" y="88"/>
                              </a:lnTo>
                              <a:lnTo>
                                <a:pt x="104" y="88"/>
                              </a:lnTo>
                              <a:lnTo>
                                <a:pt x="102" y="88"/>
                              </a:lnTo>
                              <a:lnTo>
                                <a:pt x="102" y="86"/>
                              </a:lnTo>
                              <a:lnTo>
                                <a:pt x="106" y="86"/>
                              </a:lnTo>
                              <a:lnTo>
                                <a:pt x="106" y="86"/>
                              </a:lnTo>
                              <a:lnTo>
                                <a:pt x="104" y="86"/>
                              </a:lnTo>
                              <a:lnTo>
                                <a:pt x="104" y="86"/>
                              </a:lnTo>
                              <a:lnTo>
                                <a:pt x="98" y="86"/>
                              </a:lnTo>
                              <a:lnTo>
                                <a:pt x="98" y="86"/>
                              </a:lnTo>
                              <a:lnTo>
                                <a:pt x="90" y="84"/>
                              </a:lnTo>
                              <a:lnTo>
                                <a:pt x="84" y="82"/>
                              </a:lnTo>
                              <a:lnTo>
                                <a:pt x="84" y="82"/>
                              </a:lnTo>
                              <a:lnTo>
                                <a:pt x="82" y="80"/>
                              </a:lnTo>
                              <a:lnTo>
                                <a:pt x="84" y="80"/>
                              </a:lnTo>
                              <a:lnTo>
                                <a:pt x="84" y="80"/>
                              </a:lnTo>
                              <a:lnTo>
                                <a:pt x="82" y="78"/>
                              </a:lnTo>
                              <a:lnTo>
                                <a:pt x="82" y="78"/>
                              </a:lnTo>
                              <a:lnTo>
                                <a:pt x="70" y="70"/>
                              </a:lnTo>
                              <a:lnTo>
                                <a:pt x="70" y="70"/>
                              </a:lnTo>
                              <a:lnTo>
                                <a:pt x="68" y="70"/>
                              </a:lnTo>
                              <a:lnTo>
                                <a:pt x="68" y="72"/>
                              </a:lnTo>
                              <a:lnTo>
                                <a:pt x="66" y="72"/>
                              </a:lnTo>
                              <a:lnTo>
                                <a:pt x="64" y="70"/>
                              </a:lnTo>
                              <a:lnTo>
                                <a:pt x="64" y="70"/>
                              </a:lnTo>
                              <a:lnTo>
                                <a:pt x="58" y="66"/>
                              </a:lnTo>
                              <a:lnTo>
                                <a:pt x="52" y="62"/>
                              </a:lnTo>
                              <a:lnTo>
                                <a:pt x="52" y="62"/>
                              </a:lnTo>
                              <a:lnTo>
                                <a:pt x="40" y="56"/>
                              </a:lnTo>
                              <a:lnTo>
                                <a:pt x="40" y="54"/>
                              </a:lnTo>
                              <a:lnTo>
                                <a:pt x="42" y="52"/>
                              </a:lnTo>
                              <a:lnTo>
                                <a:pt x="42" y="52"/>
                              </a:lnTo>
                              <a:lnTo>
                                <a:pt x="44" y="52"/>
                              </a:lnTo>
                              <a:lnTo>
                                <a:pt x="40" y="50"/>
                              </a:lnTo>
                              <a:lnTo>
                                <a:pt x="40" y="50"/>
                              </a:lnTo>
                              <a:lnTo>
                                <a:pt x="32" y="46"/>
                              </a:lnTo>
                              <a:lnTo>
                                <a:pt x="30" y="44"/>
                              </a:lnTo>
                              <a:lnTo>
                                <a:pt x="28" y="42"/>
                              </a:lnTo>
                              <a:lnTo>
                                <a:pt x="28" y="42"/>
                              </a:lnTo>
                              <a:lnTo>
                                <a:pt x="28" y="36"/>
                              </a:lnTo>
                              <a:lnTo>
                                <a:pt x="26" y="34"/>
                              </a:lnTo>
                              <a:lnTo>
                                <a:pt x="24" y="32"/>
                              </a:lnTo>
                              <a:lnTo>
                                <a:pt x="24" y="30"/>
                              </a:lnTo>
                              <a:lnTo>
                                <a:pt x="24" y="30"/>
                              </a:lnTo>
                              <a:lnTo>
                                <a:pt x="22" y="36"/>
                              </a:lnTo>
                              <a:lnTo>
                                <a:pt x="20" y="40"/>
                              </a:lnTo>
                              <a:lnTo>
                                <a:pt x="20" y="40"/>
                              </a:lnTo>
                              <a:lnTo>
                                <a:pt x="16" y="42"/>
                              </a:lnTo>
                              <a:lnTo>
                                <a:pt x="16" y="42"/>
                              </a:lnTo>
                              <a:lnTo>
                                <a:pt x="14" y="40"/>
                              </a:lnTo>
                              <a:lnTo>
                                <a:pt x="14" y="40"/>
                              </a:lnTo>
                              <a:lnTo>
                                <a:pt x="10" y="32"/>
                              </a:lnTo>
                              <a:lnTo>
                                <a:pt x="8" y="30"/>
                              </a:lnTo>
                              <a:lnTo>
                                <a:pt x="10" y="28"/>
                              </a:lnTo>
                              <a:lnTo>
                                <a:pt x="10" y="28"/>
                              </a:lnTo>
                              <a:lnTo>
                                <a:pt x="12" y="26"/>
                              </a:lnTo>
                              <a:lnTo>
                                <a:pt x="14" y="26"/>
                              </a:lnTo>
                              <a:lnTo>
                                <a:pt x="12" y="24"/>
                              </a:lnTo>
                              <a:lnTo>
                                <a:pt x="10" y="24"/>
                              </a:lnTo>
                              <a:lnTo>
                                <a:pt x="10" y="24"/>
                              </a:lnTo>
                              <a:lnTo>
                                <a:pt x="10" y="20"/>
                              </a:lnTo>
                              <a:lnTo>
                                <a:pt x="6" y="18"/>
                              </a:lnTo>
                              <a:lnTo>
                                <a:pt x="4" y="16"/>
                              </a:lnTo>
                              <a:lnTo>
                                <a:pt x="2" y="14"/>
                              </a:lnTo>
                              <a:lnTo>
                                <a:pt x="2" y="14"/>
                              </a:lnTo>
                              <a:lnTo>
                                <a:pt x="2" y="12"/>
                              </a:lnTo>
                              <a:lnTo>
                                <a:pt x="2" y="12"/>
                              </a:lnTo>
                              <a:lnTo>
                                <a:pt x="0" y="10"/>
                              </a:lnTo>
                              <a:lnTo>
                                <a:pt x="0" y="8"/>
                              </a:lnTo>
                              <a:lnTo>
                                <a:pt x="0" y="8"/>
                              </a:lnTo>
                              <a:lnTo>
                                <a:pt x="14" y="10"/>
                              </a:lnTo>
                              <a:lnTo>
                                <a:pt x="20" y="8"/>
                              </a:lnTo>
                              <a:lnTo>
                                <a:pt x="20" y="8"/>
                              </a:lnTo>
                              <a:lnTo>
                                <a:pt x="26" y="4"/>
                              </a:lnTo>
                              <a:lnTo>
                                <a:pt x="28" y="2"/>
                              </a:lnTo>
                              <a:lnTo>
                                <a:pt x="30" y="2"/>
                              </a:lnTo>
                              <a:lnTo>
                                <a:pt x="30" y="2"/>
                              </a:lnTo>
                              <a:lnTo>
                                <a:pt x="34" y="4"/>
                              </a:lnTo>
                              <a:lnTo>
                                <a:pt x="36" y="2"/>
                              </a:lnTo>
                              <a:lnTo>
                                <a:pt x="36" y="2"/>
                              </a:lnTo>
                              <a:lnTo>
                                <a:pt x="40" y="0"/>
                              </a:lnTo>
                              <a:lnTo>
                                <a:pt x="44" y="2"/>
                              </a:lnTo>
                              <a:lnTo>
                                <a:pt x="44" y="2"/>
                              </a:lnTo>
                              <a:lnTo>
                                <a:pt x="48" y="4"/>
                              </a:lnTo>
                              <a:lnTo>
                                <a:pt x="50" y="2"/>
                              </a:lnTo>
                              <a:lnTo>
                                <a:pt x="50" y="0"/>
                              </a:lnTo>
                              <a:lnTo>
                                <a:pt x="50" y="0"/>
                              </a:lnTo>
                              <a:lnTo>
                                <a:pt x="54" y="2"/>
                              </a:lnTo>
                              <a:lnTo>
                                <a:pt x="56" y="2"/>
                              </a:lnTo>
                              <a:lnTo>
                                <a:pt x="56" y="4"/>
                              </a:lnTo>
                              <a:lnTo>
                                <a:pt x="56" y="4"/>
                              </a:lnTo>
                              <a:lnTo>
                                <a:pt x="56" y="4"/>
                              </a:lnTo>
                              <a:lnTo>
                                <a:pt x="58" y="6"/>
                              </a:lnTo>
                              <a:lnTo>
                                <a:pt x="58" y="8"/>
                              </a:lnTo>
                              <a:lnTo>
                                <a:pt x="58" y="8"/>
                              </a:lnTo>
                              <a:lnTo>
                                <a:pt x="60" y="10"/>
                              </a:lnTo>
                              <a:lnTo>
                                <a:pt x="60" y="10"/>
                              </a:lnTo>
                              <a:lnTo>
                                <a:pt x="68" y="14"/>
                              </a:lnTo>
                              <a:lnTo>
                                <a:pt x="72" y="16"/>
                              </a:lnTo>
                              <a:lnTo>
                                <a:pt x="72" y="16"/>
                              </a:lnTo>
                              <a:lnTo>
                                <a:pt x="78" y="18"/>
                              </a:lnTo>
                              <a:lnTo>
                                <a:pt x="84" y="20"/>
                              </a:lnTo>
                              <a:lnTo>
                                <a:pt x="84" y="20"/>
                              </a:lnTo>
                              <a:lnTo>
                                <a:pt x="86" y="22"/>
                              </a:lnTo>
                              <a:lnTo>
                                <a:pt x="90" y="22"/>
                              </a:lnTo>
                              <a:lnTo>
                                <a:pt x="90" y="22"/>
                              </a:lnTo>
                              <a:lnTo>
                                <a:pt x="94" y="20"/>
                              </a:lnTo>
                              <a:lnTo>
                                <a:pt x="96" y="16"/>
                              </a:lnTo>
                              <a:lnTo>
                                <a:pt x="96" y="16"/>
                              </a:lnTo>
                              <a:lnTo>
                                <a:pt x="104" y="14"/>
                              </a:lnTo>
                              <a:lnTo>
                                <a:pt x="108" y="14"/>
                              </a:lnTo>
                              <a:lnTo>
                                <a:pt x="110" y="14"/>
                              </a:lnTo>
                              <a:lnTo>
                                <a:pt x="110" y="14"/>
                              </a:lnTo>
                              <a:lnTo>
                                <a:pt x="112" y="16"/>
                              </a:lnTo>
                              <a:lnTo>
                                <a:pt x="120" y="14"/>
                              </a:lnTo>
                              <a:lnTo>
                                <a:pt x="120" y="14"/>
                              </a:lnTo>
                              <a:lnTo>
                                <a:pt x="130" y="14"/>
                              </a:lnTo>
                              <a:lnTo>
                                <a:pt x="132" y="14"/>
                              </a:lnTo>
                              <a:lnTo>
                                <a:pt x="132" y="14"/>
                              </a:lnTo>
                              <a:lnTo>
                                <a:pt x="134" y="18"/>
                              </a:lnTo>
                              <a:lnTo>
                                <a:pt x="136" y="20"/>
                              </a:lnTo>
                              <a:lnTo>
                                <a:pt x="138" y="22"/>
                              </a:lnTo>
                              <a:lnTo>
                                <a:pt x="138" y="24"/>
                              </a:lnTo>
                              <a:lnTo>
                                <a:pt x="138" y="24"/>
                              </a:lnTo>
                              <a:lnTo>
                                <a:pt x="140" y="26"/>
                              </a:lnTo>
                              <a:lnTo>
                                <a:pt x="142" y="26"/>
                              </a:lnTo>
                              <a:lnTo>
                                <a:pt x="144" y="28"/>
                              </a:lnTo>
                              <a:lnTo>
                                <a:pt x="146" y="30"/>
                              </a:lnTo>
                              <a:lnTo>
                                <a:pt x="146" y="30"/>
                              </a:lnTo>
                              <a:lnTo>
                                <a:pt x="148" y="32"/>
                              </a:lnTo>
                              <a:lnTo>
                                <a:pt x="152" y="36"/>
                              </a:lnTo>
                              <a:lnTo>
                                <a:pt x="152" y="36"/>
                              </a:lnTo>
                              <a:lnTo>
                                <a:pt x="152" y="38"/>
                              </a:lnTo>
                              <a:lnTo>
                                <a:pt x="152" y="38"/>
                              </a:lnTo>
                              <a:lnTo>
                                <a:pt x="150" y="40"/>
                              </a:lnTo>
                              <a:lnTo>
                                <a:pt x="150" y="40"/>
                              </a:lnTo>
                              <a:lnTo>
                                <a:pt x="154" y="44"/>
                              </a:lnTo>
                              <a:lnTo>
                                <a:pt x="156" y="44"/>
                              </a:lnTo>
                              <a:lnTo>
                                <a:pt x="158" y="44"/>
                              </a:lnTo>
                              <a:lnTo>
                                <a:pt x="158" y="44"/>
                              </a:lnTo>
                              <a:lnTo>
                                <a:pt x="160" y="44"/>
                              </a:lnTo>
                              <a:lnTo>
                                <a:pt x="162" y="46"/>
                              </a:lnTo>
                              <a:lnTo>
                                <a:pt x="166" y="50"/>
                              </a:lnTo>
                              <a:lnTo>
                                <a:pt x="166" y="50"/>
                              </a:lnTo>
                              <a:lnTo>
                                <a:pt x="168" y="50"/>
                              </a:lnTo>
                              <a:lnTo>
                                <a:pt x="170" y="48"/>
                              </a:lnTo>
                              <a:lnTo>
                                <a:pt x="172" y="48"/>
                              </a:lnTo>
                              <a:lnTo>
                                <a:pt x="174" y="48"/>
                              </a:lnTo>
                              <a:lnTo>
                                <a:pt x="174" y="48"/>
                              </a:lnTo>
                              <a:lnTo>
                                <a:pt x="174" y="48"/>
                              </a:lnTo>
                              <a:lnTo>
                                <a:pt x="174" y="50"/>
                              </a:lnTo>
                              <a:lnTo>
                                <a:pt x="170" y="52"/>
                              </a:lnTo>
                              <a:lnTo>
                                <a:pt x="170" y="52"/>
                              </a:lnTo>
                              <a:lnTo>
                                <a:pt x="174" y="54"/>
                              </a:lnTo>
                              <a:lnTo>
                                <a:pt x="178" y="56"/>
                              </a:lnTo>
                              <a:lnTo>
                                <a:pt x="178" y="56"/>
                              </a:lnTo>
                              <a:lnTo>
                                <a:pt x="176" y="58"/>
                              </a:lnTo>
                              <a:lnTo>
                                <a:pt x="174" y="60"/>
                              </a:lnTo>
                              <a:lnTo>
                                <a:pt x="176" y="64"/>
                              </a:lnTo>
                              <a:lnTo>
                                <a:pt x="176" y="64"/>
                              </a:lnTo>
                              <a:lnTo>
                                <a:pt x="178" y="70"/>
                              </a:lnTo>
                              <a:lnTo>
                                <a:pt x="180" y="74"/>
                              </a:lnTo>
                              <a:lnTo>
                                <a:pt x="180" y="74"/>
                              </a:lnTo>
                              <a:lnTo>
                                <a:pt x="182" y="78"/>
                              </a:lnTo>
                              <a:lnTo>
                                <a:pt x="180" y="80"/>
                              </a:lnTo>
                              <a:lnTo>
                                <a:pt x="180" y="80"/>
                              </a:lnTo>
                              <a:lnTo>
                                <a:pt x="178" y="82"/>
                              </a:lnTo>
                              <a:lnTo>
                                <a:pt x="180" y="84"/>
                              </a:lnTo>
                              <a:lnTo>
                                <a:pt x="180" y="86"/>
                              </a:lnTo>
                              <a:lnTo>
                                <a:pt x="180" y="88"/>
                              </a:lnTo>
                              <a:lnTo>
                                <a:pt x="180" y="88"/>
                              </a:lnTo>
                              <a:lnTo>
                                <a:pt x="178" y="90"/>
                              </a:lnTo>
                              <a:lnTo>
                                <a:pt x="180" y="92"/>
                              </a:lnTo>
                              <a:lnTo>
                                <a:pt x="184" y="94"/>
                              </a:lnTo>
                              <a:lnTo>
                                <a:pt x="184" y="94"/>
                              </a:lnTo>
                              <a:lnTo>
                                <a:pt x="192" y="100"/>
                              </a:lnTo>
                              <a:lnTo>
                                <a:pt x="194" y="106"/>
                              </a:lnTo>
                              <a:lnTo>
                                <a:pt x="194" y="110"/>
                              </a:lnTo>
                              <a:lnTo>
                                <a:pt x="194" y="110"/>
                              </a:lnTo>
                              <a:lnTo>
                                <a:pt x="192" y="112"/>
                              </a:lnTo>
                              <a:lnTo>
                                <a:pt x="190" y="114"/>
                              </a:lnTo>
                              <a:lnTo>
                                <a:pt x="190" y="114"/>
                              </a:lnTo>
                              <a:lnTo>
                                <a:pt x="190" y="116"/>
                              </a:lnTo>
                              <a:lnTo>
                                <a:pt x="188" y="116"/>
                              </a:lnTo>
                              <a:lnTo>
                                <a:pt x="184" y="114"/>
                              </a:lnTo>
                              <a:lnTo>
                                <a:pt x="184" y="114"/>
                              </a:lnTo>
                              <a:lnTo>
                                <a:pt x="182" y="114"/>
                              </a:lnTo>
                              <a:lnTo>
                                <a:pt x="180" y="114"/>
                              </a:lnTo>
                              <a:lnTo>
                                <a:pt x="178" y="118"/>
                              </a:lnTo>
                              <a:lnTo>
                                <a:pt x="178" y="118"/>
                              </a:lnTo>
                              <a:lnTo>
                                <a:pt x="174" y="122"/>
                              </a:lnTo>
                              <a:lnTo>
                                <a:pt x="170" y="122"/>
                              </a:lnTo>
                              <a:lnTo>
                                <a:pt x="162" y="122"/>
                              </a:lnTo>
                              <a:lnTo>
                                <a:pt x="162" y="122"/>
                              </a:lnTo>
                              <a:lnTo>
                                <a:pt x="158" y="122"/>
                              </a:lnTo>
                              <a:lnTo>
                                <a:pt x="154" y="126"/>
                              </a:lnTo>
                              <a:lnTo>
                                <a:pt x="154" y="126"/>
                              </a:lnTo>
                              <a:lnTo>
                                <a:pt x="152" y="120"/>
                              </a:lnTo>
                              <a:lnTo>
                                <a:pt x="150" y="116"/>
                              </a:lnTo>
                              <a:lnTo>
                                <a:pt x="144" y="112"/>
                              </a:lnTo>
                              <a:lnTo>
                                <a:pt x="144" y="112"/>
                              </a:lnTo>
                              <a:lnTo>
                                <a:pt x="142" y="110"/>
                              </a:lnTo>
                              <a:lnTo>
                                <a:pt x="142" y="108"/>
                              </a:lnTo>
                              <a:lnTo>
                                <a:pt x="140" y="108"/>
                              </a:lnTo>
                              <a:lnTo>
                                <a:pt x="140" y="106"/>
                              </a:lnTo>
                              <a:lnTo>
                                <a:pt x="140" y="106"/>
                              </a:lnTo>
                              <a:lnTo>
                                <a:pt x="138" y="100"/>
                              </a:lnTo>
                              <a:lnTo>
                                <a:pt x="136" y="94"/>
                              </a:lnTo>
                              <a:lnTo>
                                <a:pt x="136" y="94"/>
                              </a:lnTo>
                              <a:lnTo>
                                <a:pt x="134" y="92"/>
                              </a:lnTo>
                              <a:lnTo>
                                <a:pt x="130" y="90"/>
                              </a:lnTo>
                              <a:lnTo>
                                <a:pt x="124" y="90"/>
                              </a:lnTo>
                              <a:lnTo>
                                <a:pt x="124" y="90"/>
                              </a:lnTo>
                              <a:lnTo>
                                <a:pt x="118" y="92"/>
                              </a:lnTo>
                              <a:lnTo>
                                <a:pt x="118" y="92"/>
                              </a:lnTo>
                              <a:lnTo>
                                <a:pt x="118" y="94"/>
                              </a:lnTo>
                              <a:lnTo>
                                <a:pt x="118" y="94"/>
                              </a:lnTo>
                              <a:lnTo>
                                <a:pt x="120" y="96"/>
                              </a:lnTo>
                              <a:lnTo>
                                <a:pt x="120" y="96"/>
                              </a:lnTo>
                              <a:lnTo>
                                <a:pt x="118" y="98"/>
                              </a:lnTo>
                              <a:lnTo>
                                <a:pt x="118" y="98"/>
                              </a:lnTo>
                              <a:close/>
                            </a:path>
                          </a:pathLst>
                        </a:custGeom>
                        <a:solidFill>
                          <a:schemeClr val="tx2"/>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1" name="Slovakia"/>
                        <p:cNvSpPr>
                          <a:spLocks/>
                        </p:cNvSpPr>
                        <p:nvPr/>
                      </p:nvSpPr>
                      <p:spPr bwMode="auto">
                        <a:xfrm>
                          <a:off x="6263638" y="1883984"/>
                          <a:ext cx="136694" cy="60697"/>
                        </a:xfrm>
                        <a:custGeom>
                          <a:avLst/>
                          <a:gdLst/>
                          <a:ahLst/>
                          <a:cxnLst>
                            <a:cxn ang="0">
                              <a:pos x="26" y="2"/>
                            </a:cxn>
                            <a:cxn ang="0">
                              <a:pos x="36" y="4"/>
                            </a:cxn>
                            <a:cxn ang="0">
                              <a:pos x="38" y="0"/>
                            </a:cxn>
                            <a:cxn ang="0">
                              <a:pos x="42" y="4"/>
                            </a:cxn>
                            <a:cxn ang="0">
                              <a:pos x="48" y="6"/>
                            </a:cxn>
                            <a:cxn ang="0">
                              <a:pos x="52" y="4"/>
                            </a:cxn>
                            <a:cxn ang="0">
                              <a:pos x="56" y="6"/>
                            </a:cxn>
                            <a:cxn ang="0">
                              <a:pos x="60" y="8"/>
                            </a:cxn>
                            <a:cxn ang="0">
                              <a:pos x="62" y="6"/>
                            </a:cxn>
                            <a:cxn ang="0">
                              <a:pos x="66" y="2"/>
                            </a:cxn>
                            <a:cxn ang="0">
                              <a:pos x="70" y="4"/>
                            </a:cxn>
                            <a:cxn ang="0">
                              <a:pos x="82" y="10"/>
                            </a:cxn>
                            <a:cxn ang="0">
                              <a:pos x="90" y="10"/>
                            </a:cxn>
                            <a:cxn ang="0">
                              <a:pos x="90" y="16"/>
                            </a:cxn>
                            <a:cxn ang="0">
                              <a:pos x="88" y="20"/>
                            </a:cxn>
                            <a:cxn ang="0">
                              <a:pos x="88" y="22"/>
                            </a:cxn>
                            <a:cxn ang="0">
                              <a:pos x="88" y="24"/>
                            </a:cxn>
                            <a:cxn ang="0">
                              <a:pos x="72" y="22"/>
                            </a:cxn>
                            <a:cxn ang="0">
                              <a:pos x="66" y="20"/>
                            </a:cxn>
                            <a:cxn ang="0">
                              <a:pos x="62" y="24"/>
                            </a:cxn>
                            <a:cxn ang="0">
                              <a:pos x="58" y="24"/>
                            </a:cxn>
                            <a:cxn ang="0">
                              <a:pos x="50" y="26"/>
                            </a:cxn>
                            <a:cxn ang="0">
                              <a:pos x="44" y="30"/>
                            </a:cxn>
                            <a:cxn ang="0">
                              <a:pos x="26" y="34"/>
                            </a:cxn>
                            <a:cxn ang="0">
                              <a:pos x="24" y="34"/>
                            </a:cxn>
                            <a:cxn ang="0">
                              <a:pos x="24" y="38"/>
                            </a:cxn>
                            <a:cxn ang="0">
                              <a:pos x="22" y="40"/>
                            </a:cxn>
                            <a:cxn ang="0">
                              <a:pos x="12" y="40"/>
                            </a:cxn>
                            <a:cxn ang="0">
                              <a:pos x="6" y="40"/>
                            </a:cxn>
                            <a:cxn ang="0">
                              <a:pos x="0" y="38"/>
                            </a:cxn>
                            <a:cxn ang="0">
                              <a:pos x="0" y="28"/>
                            </a:cxn>
                            <a:cxn ang="0">
                              <a:pos x="2" y="26"/>
                            </a:cxn>
                            <a:cxn ang="0">
                              <a:pos x="10" y="20"/>
                            </a:cxn>
                            <a:cxn ang="0">
                              <a:pos x="18" y="16"/>
                            </a:cxn>
                            <a:cxn ang="0">
                              <a:pos x="20" y="8"/>
                            </a:cxn>
                            <a:cxn ang="0">
                              <a:pos x="26" y="2"/>
                            </a:cxn>
                          </a:cxnLst>
                          <a:rect l="0" t="0" r="r" b="b"/>
                          <a:pathLst>
                            <a:path w="90" h="40">
                              <a:moveTo>
                                <a:pt x="26" y="2"/>
                              </a:moveTo>
                              <a:lnTo>
                                <a:pt x="26" y="2"/>
                              </a:lnTo>
                              <a:lnTo>
                                <a:pt x="34" y="6"/>
                              </a:lnTo>
                              <a:lnTo>
                                <a:pt x="36" y="4"/>
                              </a:lnTo>
                              <a:lnTo>
                                <a:pt x="36" y="4"/>
                              </a:lnTo>
                              <a:lnTo>
                                <a:pt x="38" y="0"/>
                              </a:lnTo>
                              <a:lnTo>
                                <a:pt x="42" y="4"/>
                              </a:lnTo>
                              <a:lnTo>
                                <a:pt x="42" y="4"/>
                              </a:lnTo>
                              <a:lnTo>
                                <a:pt x="46" y="6"/>
                              </a:lnTo>
                              <a:lnTo>
                                <a:pt x="48" y="6"/>
                              </a:lnTo>
                              <a:lnTo>
                                <a:pt x="50" y="4"/>
                              </a:lnTo>
                              <a:lnTo>
                                <a:pt x="52" y="4"/>
                              </a:lnTo>
                              <a:lnTo>
                                <a:pt x="52" y="4"/>
                              </a:lnTo>
                              <a:lnTo>
                                <a:pt x="56" y="6"/>
                              </a:lnTo>
                              <a:lnTo>
                                <a:pt x="60" y="8"/>
                              </a:lnTo>
                              <a:lnTo>
                                <a:pt x="60" y="8"/>
                              </a:lnTo>
                              <a:lnTo>
                                <a:pt x="62" y="6"/>
                              </a:lnTo>
                              <a:lnTo>
                                <a:pt x="62" y="6"/>
                              </a:lnTo>
                              <a:lnTo>
                                <a:pt x="62" y="4"/>
                              </a:lnTo>
                              <a:lnTo>
                                <a:pt x="66" y="2"/>
                              </a:lnTo>
                              <a:lnTo>
                                <a:pt x="66" y="2"/>
                              </a:lnTo>
                              <a:lnTo>
                                <a:pt x="70" y="4"/>
                              </a:lnTo>
                              <a:lnTo>
                                <a:pt x="76" y="6"/>
                              </a:lnTo>
                              <a:lnTo>
                                <a:pt x="82" y="10"/>
                              </a:lnTo>
                              <a:lnTo>
                                <a:pt x="90" y="10"/>
                              </a:lnTo>
                              <a:lnTo>
                                <a:pt x="90" y="10"/>
                              </a:lnTo>
                              <a:lnTo>
                                <a:pt x="90" y="12"/>
                              </a:lnTo>
                              <a:lnTo>
                                <a:pt x="90" y="16"/>
                              </a:lnTo>
                              <a:lnTo>
                                <a:pt x="90" y="16"/>
                              </a:lnTo>
                              <a:lnTo>
                                <a:pt x="88" y="20"/>
                              </a:lnTo>
                              <a:lnTo>
                                <a:pt x="88" y="22"/>
                              </a:lnTo>
                              <a:lnTo>
                                <a:pt x="88" y="22"/>
                              </a:lnTo>
                              <a:lnTo>
                                <a:pt x="88" y="24"/>
                              </a:lnTo>
                              <a:lnTo>
                                <a:pt x="88" y="24"/>
                              </a:lnTo>
                              <a:lnTo>
                                <a:pt x="80" y="26"/>
                              </a:lnTo>
                              <a:lnTo>
                                <a:pt x="72" y="22"/>
                              </a:lnTo>
                              <a:lnTo>
                                <a:pt x="72" y="22"/>
                              </a:lnTo>
                              <a:lnTo>
                                <a:pt x="66" y="20"/>
                              </a:lnTo>
                              <a:lnTo>
                                <a:pt x="64" y="22"/>
                              </a:lnTo>
                              <a:lnTo>
                                <a:pt x="62" y="24"/>
                              </a:lnTo>
                              <a:lnTo>
                                <a:pt x="58" y="24"/>
                              </a:lnTo>
                              <a:lnTo>
                                <a:pt x="58" y="24"/>
                              </a:lnTo>
                              <a:lnTo>
                                <a:pt x="54" y="24"/>
                              </a:lnTo>
                              <a:lnTo>
                                <a:pt x="50" y="26"/>
                              </a:lnTo>
                              <a:lnTo>
                                <a:pt x="44" y="30"/>
                              </a:lnTo>
                              <a:lnTo>
                                <a:pt x="44" y="30"/>
                              </a:lnTo>
                              <a:lnTo>
                                <a:pt x="36" y="32"/>
                              </a:lnTo>
                              <a:lnTo>
                                <a:pt x="26" y="34"/>
                              </a:lnTo>
                              <a:lnTo>
                                <a:pt x="26" y="34"/>
                              </a:lnTo>
                              <a:lnTo>
                                <a:pt x="24" y="34"/>
                              </a:lnTo>
                              <a:lnTo>
                                <a:pt x="22" y="36"/>
                              </a:lnTo>
                              <a:lnTo>
                                <a:pt x="24" y="38"/>
                              </a:lnTo>
                              <a:lnTo>
                                <a:pt x="24" y="38"/>
                              </a:lnTo>
                              <a:lnTo>
                                <a:pt x="22" y="40"/>
                              </a:lnTo>
                              <a:lnTo>
                                <a:pt x="20" y="40"/>
                              </a:lnTo>
                              <a:lnTo>
                                <a:pt x="12" y="40"/>
                              </a:lnTo>
                              <a:lnTo>
                                <a:pt x="12" y="40"/>
                              </a:lnTo>
                              <a:lnTo>
                                <a:pt x="6" y="40"/>
                              </a:lnTo>
                              <a:lnTo>
                                <a:pt x="0" y="38"/>
                              </a:lnTo>
                              <a:lnTo>
                                <a:pt x="0" y="38"/>
                              </a:lnTo>
                              <a:lnTo>
                                <a:pt x="0" y="32"/>
                              </a:lnTo>
                              <a:lnTo>
                                <a:pt x="0" y="28"/>
                              </a:lnTo>
                              <a:lnTo>
                                <a:pt x="0" y="28"/>
                              </a:lnTo>
                              <a:lnTo>
                                <a:pt x="2" y="26"/>
                              </a:lnTo>
                              <a:lnTo>
                                <a:pt x="6" y="22"/>
                              </a:lnTo>
                              <a:lnTo>
                                <a:pt x="10" y="20"/>
                              </a:lnTo>
                              <a:lnTo>
                                <a:pt x="10" y="20"/>
                              </a:lnTo>
                              <a:lnTo>
                                <a:pt x="18" y="16"/>
                              </a:lnTo>
                              <a:lnTo>
                                <a:pt x="18" y="12"/>
                              </a:lnTo>
                              <a:lnTo>
                                <a:pt x="20" y="8"/>
                              </a:lnTo>
                              <a:lnTo>
                                <a:pt x="26" y="2"/>
                              </a:lnTo>
                              <a:lnTo>
                                <a:pt x="26" y="2"/>
                              </a:lnTo>
                              <a:close/>
                            </a:path>
                          </a:pathLst>
                        </a:custGeom>
                        <a:solidFill>
                          <a:schemeClr val="accent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2" name="Estonia"/>
                        <p:cNvSpPr>
                          <a:spLocks/>
                        </p:cNvSpPr>
                        <p:nvPr/>
                      </p:nvSpPr>
                      <p:spPr bwMode="auto">
                        <a:xfrm>
                          <a:off x="6389222" y="1614303"/>
                          <a:ext cx="112393" cy="45523"/>
                        </a:xfrm>
                        <a:custGeom>
                          <a:avLst/>
                          <a:gdLst/>
                          <a:ahLst/>
                          <a:cxnLst>
                            <a:cxn ang="0">
                              <a:pos x="18" y="30"/>
                            </a:cxn>
                            <a:cxn ang="0">
                              <a:pos x="18" y="24"/>
                            </a:cxn>
                            <a:cxn ang="0">
                              <a:pos x="14" y="24"/>
                            </a:cxn>
                            <a:cxn ang="0">
                              <a:pos x="14" y="26"/>
                            </a:cxn>
                            <a:cxn ang="0">
                              <a:pos x="10" y="24"/>
                            </a:cxn>
                            <a:cxn ang="0">
                              <a:pos x="10" y="22"/>
                            </a:cxn>
                            <a:cxn ang="0">
                              <a:pos x="6" y="20"/>
                            </a:cxn>
                            <a:cxn ang="0">
                              <a:pos x="4" y="16"/>
                            </a:cxn>
                            <a:cxn ang="0">
                              <a:pos x="6" y="16"/>
                            </a:cxn>
                            <a:cxn ang="0">
                              <a:pos x="8" y="14"/>
                            </a:cxn>
                            <a:cxn ang="0">
                              <a:pos x="0" y="12"/>
                            </a:cxn>
                            <a:cxn ang="0">
                              <a:pos x="0" y="10"/>
                            </a:cxn>
                            <a:cxn ang="0">
                              <a:pos x="0" y="8"/>
                            </a:cxn>
                            <a:cxn ang="0">
                              <a:pos x="4" y="6"/>
                            </a:cxn>
                            <a:cxn ang="0">
                              <a:pos x="8" y="4"/>
                            </a:cxn>
                            <a:cxn ang="0">
                              <a:pos x="10" y="2"/>
                            </a:cxn>
                            <a:cxn ang="0">
                              <a:pos x="14" y="2"/>
                            </a:cxn>
                            <a:cxn ang="0">
                              <a:pos x="16" y="2"/>
                            </a:cxn>
                            <a:cxn ang="0">
                              <a:pos x="20" y="2"/>
                            </a:cxn>
                            <a:cxn ang="0">
                              <a:pos x="22" y="2"/>
                            </a:cxn>
                            <a:cxn ang="0">
                              <a:pos x="24" y="0"/>
                            </a:cxn>
                            <a:cxn ang="0">
                              <a:pos x="28" y="0"/>
                            </a:cxn>
                            <a:cxn ang="0">
                              <a:pos x="30" y="0"/>
                            </a:cxn>
                            <a:cxn ang="0">
                              <a:pos x="34" y="0"/>
                            </a:cxn>
                            <a:cxn ang="0">
                              <a:pos x="38" y="2"/>
                            </a:cxn>
                            <a:cxn ang="0">
                              <a:pos x="40" y="0"/>
                            </a:cxn>
                            <a:cxn ang="0">
                              <a:pos x="44" y="2"/>
                            </a:cxn>
                            <a:cxn ang="0">
                              <a:pos x="52" y="6"/>
                            </a:cxn>
                            <a:cxn ang="0">
                              <a:pos x="62" y="6"/>
                            </a:cxn>
                            <a:cxn ang="0">
                              <a:pos x="68" y="6"/>
                            </a:cxn>
                            <a:cxn ang="0">
                              <a:pos x="70" y="4"/>
                            </a:cxn>
                            <a:cxn ang="0">
                              <a:pos x="74" y="8"/>
                            </a:cxn>
                            <a:cxn ang="0">
                              <a:pos x="72" y="26"/>
                            </a:cxn>
                            <a:cxn ang="0">
                              <a:pos x="60" y="30"/>
                            </a:cxn>
                            <a:cxn ang="0">
                              <a:pos x="56" y="28"/>
                            </a:cxn>
                            <a:cxn ang="0">
                              <a:pos x="46" y="28"/>
                            </a:cxn>
                            <a:cxn ang="0">
                              <a:pos x="44" y="26"/>
                            </a:cxn>
                            <a:cxn ang="0">
                              <a:pos x="44" y="24"/>
                            </a:cxn>
                            <a:cxn ang="0">
                              <a:pos x="32" y="24"/>
                            </a:cxn>
                            <a:cxn ang="0">
                              <a:pos x="28" y="24"/>
                            </a:cxn>
                            <a:cxn ang="0">
                              <a:pos x="18" y="30"/>
                            </a:cxn>
                          </a:cxnLst>
                          <a:rect l="0" t="0" r="r" b="b"/>
                          <a:pathLst>
                            <a:path w="74" h="30">
                              <a:moveTo>
                                <a:pt x="18" y="30"/>
                              </a:moveTo>
                              <a:lnTo>
                                <a:pt x="18" y="30"/>
                              </a:lnTo>
                              <a:lnTo>
                                <a:pt x="18" y="26"/>
                              </a:lnTo>
                              <a:lnTo>
                                <a:pt x="18" y="24"/>
                              </a:lnTo>
                              <a:lnTo>
                                <a:pt x="16" y="22"/>
                              </a:lnTo>
                              <a:lnTo>
                                <a:pt x="14" y="24"/>
                              </a:lnTo>
                              <a:lnTo>
                                <a:pt x="14" y="24"/>
                              </a:lnTo>
                              <a:lnTo>
                                <a:pt x="14" y="26"/>
                              </a:lnTo>
                              <a:lnTo>
                                <a:pt x="12" y="26"/>
                              </a:lnTo>
                              <a:lnTo>
                                <a:pt x="10" y="24"/>
                              </a:lnTo>
                              <a:lnTo>
                                <a:pt x="10" y="22"/>
                              </a:lnTo>
                              <a:lnTo>
                                <a:pt x="10" y="22"/>
                              </a:lnTo>
                              <a:lnTo>
                                <a:pt x="8" y="20"/>
                              </a:lnTo>
                              <a:lnTo>
                                <a:pt x="6" y="20"/>
                              </a:lnTo>
                              <a:lnTo>
                                <a:pt x="4" y="18"/>
                              </a:lnTo>
                              <a:lnTo>
                                <a:pt x="4" y="16"/>
                              </a:lnTo>
                              <a:lnTo>
                                <a:pt x="4" y="16"/>
                              </a:lnTo>
                              <a:lnTo>
                                <a:pt x="6" y="16"/>
                              </a:lnTo>
                              <a:lnTo>
                                <a:pt x="8" y="14"/>
                              </a:lnTo>
                              <a:lnTo>
                                <a:pt x="8" y="14"/>
                              </a:lnTo>
                              <a:lnTo>
                                <a:pt x="2" y="14"/>
                              </a:lnTo>
                              <a:lnTo>
                                <a:pt x="0" y="12"/>
                              </a:lnTo>
                              <a:lnTo>
                                <a:pt x="0" y="10"/>
                              </a:lnTo>
                              <a:lnTo>
                                <a:pt x="0" y="10"/>
                              </a:lnTo>
                              <a:lnTo>
                                <a:pt x="2" y="8"/>
                              </a:lnTo>
                              <a:lnTo>
                                <a:pt x="0" y="8"/>
                              </a:lnTo>
                              <a:lnTo>
                                <a:pt x="0" y="6"/>
                              </a:lnTo>
                              <a:lnTo>
                                <a:pt x="4" y="6"/>
                              </a:lnTo>
                              <a:lnTo>
                                <a:pt x="4" y="6"/>
                              </a:lnTo>
                              <a:lnTo>
                                <a:pt x="8" y="4"/>
                              </a:lnTo>
                              <a:lnTo>
                                <a:pt x="10" y="4"/>
                              </a:lnTo>
                              <a:lnTo>
                                <a:pt x="10" y="2"/>
                              </a:lnTo>
                              <a:lnTo>
                                <a:pt x="14" y="2"/>
                              </a:lnTo>
                              <a:lnTo>
                                <a:pt x="14" y="2"/>
                              </a:lnTo>
                              <a:lnTo>
                                <a:pt x="16" y="2"/>
                              </a:lnTo>
                              <a:lnTo>
                                <a:pt x="16" y="2"/>
                              </a:lnTo>
                              <a:lnTo>
                                <a:pt x="18" y="0"/>
                              </a:lnTo>
                              <a:lnTo>
                                <a:pt x="20" y="2"/>
                              </a:lnTo>
                              <a:lnTo>
                                <a:pt x="20" y="2"/>
                              </a:lnTo>
                              <a:lnTo>
                                <a:pt x="22" y="2"/>
                              </a:lnTo>
                              <a:lnTo>
                                <a:pt x="24" y="0"/>
                              </a:lnTo>
                              <a:lnTo>
                                <a:pt x="24" y="0"/>
                              </a:lnTo>
                              <a:lnTo>
                                <a:pt x="28" y="0"/>
                              </a:lnTo>
                              <a:lnTo>
                                <a:pt x="28" y="0"/>
                              </a:lnTo>
                              <a:lnTo>
                                <a:pt x="30" y="0"/>
                              </a:lnTo>
                              <a:lnTo>
                                <a:pt x="30" y="0"/>
                              </a:lnTo>
                              <a:lnTo>
                                <a:pt x="32" y="0"/>
                              </a:lnTo>
                              <a:lnTo>
                                <a:pt x="34" y="0"/>
                              </a:lnTo>
                              <a:lnTo>
                                <a:pt x="34" y="0"/>
                              </a:lnTo>
                              <a:lnTo>
                                <a:pt x="38" y="2"/>
                              </a:lnTo>
                              <a:lnTo>
                                <a:pt x="38" y="2"/>
                              </a:lnTo>
                              <a:lnTo>
                                <a:pt x="40" y="0"/>
                              </a:lnTo>
                              <a:lnTo>
                                <a:pt x="44" y="2"/>
                              </a:lnTo>
                              <a:lnTo>
                                <a:pt x="44" y="2"/>
                              </a:lnTo>
                              <a:lnTo>
                                <a:pt x="48" y="6"/>
                              </a:lnTo>
                              <a:lnTo>
                                <a:pt x="52" y="6"/>
                              </a:lnTo>
                              <a:lnTo>
                                <a:pt x="56" y="6"/>
                              </a:lnTo>
                              <a:lnTo>
                                <a:pt x="62" y="6"/>
                              </a:lnTo>
                              <a:lnTo>
                                <a:pt x="62" y="6"/>
                              </a:lnTo>
                              <a:lnTo>
                                <a:pt x="68" y="6"/>
                              </a:lnTo>
                              <a:lnTo>
                                <a:pt x="70" y="4"/>
                              </a:lnTo>
                              <a:lnTo>
                                <a:pt x="70" y="4"/>
                              </a:lnTo>
                              <a:lnTo>
                                <a:pt x="74" y="6"/>
                              </a:lnTo>
                              <a:lnTo>
                                <a:pt x="74" y="8"/>
                              </a:lnTo>
                              <a:lnTo>
                                <a:pt x="72" y="12"/>
                              </a:lnTo>
                              <a:lnTo>
                                <a:pt x="72" y="26"/>
                              </a:lnTo>
                              <a:lnTo>
                                <a:pt x="72" y="26"/>
                              </a:lnTo>
                              <a:lnTo>
                                <a:pt x="60" y="30"/>
                              </a:lnTo>
                              <a:lnTo>
                                <a:pt x="60" y="30"/>
                              </a:lnTo>
                              <a:lnTo>
                                <a:pt x="56" y="28"/>
                              </a:lnTo>
                              <a:lnTo>
                                <a:pt x="50" y="28"/>
                              </a:lnTo>
                              <a:lnTo>
                                <a:pt x="46" y="28"/>
                              </a:lnTo>
                              <a:lnTo>
                                <a:pt x="44" y="28"/>
                              </a:lnTo>
                              <a:lnTo>
                                <a:pt x="44" y="26"/>
                              </a:lnTo>
                              <a:lnTo>
                                <a:pt x="44" y="26"/>
                              </a:lnTo>
                              <a:lnTo>
                                <a:pt x="44" y="24"/>
                              </a:lnTo>
                              <a:lnTo>
                                <a:pt x="42" y="24"/>
                              </a:lnTo>
                              <a:lnTo>
                                <a:pt x="32" y="24"/>
                              </a:lnTo>
                              <a:lnTo>
                                <a:pt x="32" y="24"/>
                              </a:lnTo>
                              <a:lnTo>
                                <a:pt x="28" y="24"/>
                              </a:lnTo>
                              <a:lnTo>
                                <a:pt x="24" y="24"/>
                              </a:lnTo>
                              <a:lnTo>
                                <a:pt x="18" y="30"/>
                              </a:lnTo>
                              <a:lnTo>
                                <a:pt x="18" y="30"/>
                              </a:lnTo>
                              <a:close/>
                            </a:path>
                          </a:pathLst>
                        </a:custGeom>
                        <a:solidFill>
                          <a:schemeClr val="tx2"/>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3" name="Iceland"/>
                        <p:cNvSpPr>
                          <a:spLocks/>
                        </p:cNvSpPr>
                        <p:nvPr/>
                      </p:nvSpPr>
                      <p:spPr bwMode="auto">
                        <a:xfrm>
                          <a:off x="5198199" y="1448619"/>
                          <a:ext cx="243012" cy="75871"/>
                        </a:xfrm>
                        <a:custGeom>
                          <a:avLst/>
                          <a:gdLst/>
                          <a:ahLst/>
                          <a:cxnLst>
                            <a:cxn ang="0">
                              <a:pos x="28" y="44"/>
                            </a:cxn>
                            <a:cxn ang="0">
                              <a:pos x="42" y="44"/>
                            </a:cxn>
                            <a:cxn ang="0">
                              <a:pos x="58" y="48"/>
                            </a:cxn>
                            <a:cxn ang="0">
                              <a:pos x="88" y="48"/>
                            </a:cxn>
                            <a:cxn ang="0">
                              <a:pos x="106" y="42"/>
                            </a:cxn>
                            <a:cxn ang="0">
                              <a:pos x="124" y="36"/>
                            </a:cxn>
                            <a:cxn ang="0">
                              <a:pos x="138" y="34"/>
                            </a:cxn>
                            <a:cxn ang="0">
                              <a:pos x="146" y="30"/>
                            </a:cxn>
                            <a:cxn ang="0">
                              <a:pos x="152" y="26"/>
                            </a:cxn>
                            <a:cxn ang="0">
                              <a:pos x="154" y="22"/>
                            </a:cxn>
                            <a:cxn ang="0">
                              <a:pos x="160" y="18"/>
                            </a:cxn>
                            <a:cxn ang="0">
                              <a:pos x="156" y="16"/>
                            </a:cxn>
                            <a:cxn ang="0">
                              <a:pos x="152" y="12"/>
                            </a:cxn>
                            <a:cxn ang="0">
                              <a:pos x="140" y="12"/>
                            </a:cxn>
                            <a:cxn ang="0">
                              <a:pos x="144" y="6"/>
                            </a:cxn>
                            <a:cxn ang="0">
                              <a:pos x="144" y="4"/>
                            </a:cxn>
                            <a:cxn ang="0">
                              <a:pos x="146" y="2"/>
                            </a:cxn>
                            <a:cxn ang="0">
                              <a:pos x="130" y="6"/>
                            </a:cxn>
                            <a:cxn ang="0">
                              <a:pos x="126" y="2"/>
                            </a:cxn>
                            <a:cxn ang="0">
                              <a:pos x="118" y="2"/>
                            </a:cxn>
                            <a:cxn ang="0">
                              <a:pos x="116" y="6"/>
                            </a:cxn>
                            <a:cxn ang="0">
                              <a:pos x="110" y="6"/>
                            </a:cxn>
                            <a:cxn ang="0">
                              <a:pos x="104" y="10"/>
                            </a:cxn>
                            <a:cxn ang="0">
                              <a:pos x="96" y="12"/>
                            </a:cxn>
                            <a:cxn ang="0">
                              <a:pos x="90" y="10"/>
                            </a:cxn>
                            <a:cxn ang="0">
                              <a:pos x="84" y="6"/>
                            </a:cxn>
                            <a:cxn ang="0">
                              <a:pos x="74" y="10"/>
                            </a:cxn>
                            <a:cxn ang="0">
                              <a:pos x="70" y="12"/>
                            </a:cxn>
                            <a:cxn ang="0">
                              <a:pos x="68" y="8"/>
                            </a:cxn>
                            <a:cxn ang="0">
                              <a:pos x="60" y="12"/>
                            </a:cxn>
                            <a:cxn ang="0">
                              <a:pos x="58" y="16"/>
                            </a:cxn>
                            <a:cxn ang="0">
                              <a:pos x="54" y="16"/>
                            </a:cxn>
                            <a:cxn ang="0">
                              <a:pos x="50" y="22"/>
                            </a:cxn>
                            <a:cxn ang="0">
                              <a:pos x="46" y="18"/>
                            </a:cxn>
                            <a:cxn ang="0">
                              <a:pos x="46" y="16"/>
                            </a:cxn>
                            <a:cxn ang="0">
                              <a:pos x="46" y="12"/>
                            </a:cxn>
                            <a:cxn ang="0">
                              <a:pos x="42" y="8"/>
                            </a:cxn>
                            <a:cxn ang="0">
                              <a:pos x="34" y="4"/>
                            </a:cxn>
                            <a:cxn ang="0">
                              <a:pos x="30" y="6"/>
                            </a:cxn>
                            <a:cxn ang="0">
                              <a:pos x="30" y="8"/>
                            </a:cxn>
                            <a:cxn ang="0">
                              <a:pos x="32" y="12"/>
                            </a:cxn>
                            <a:cxn ang="0">
                              <a:pos x="18" y="8"/>
                            </a:cxn>
                            <a:cxn ang="0">
                              <a:pos x="14" y="10"/>
                            </a:cxn>
                            <a:cxn ang="0">
                              <a:pos x="12" y="12"/>
                            </a:cxn>
                            <a:cxn ang="0">
                              <a:pos x="18" y="14"/>
                            </a:cxn>
                            <a:cxn ang="0">
                              <a:pos x="10" y="14"/>
                            </a:cxn>
                            <a:cxn ang="0">
                              <a:pos x="8" y="16"/>
                            </a:cxn>
                            <a:cxn ang="0">
                              <a:pos x="0" y="18"/>
                            </a:cxn>
                            <a:cxn ang="0">
                              <a:pos x="4" y="18"/>
                            </a:cxn>
                            <a:cxn ang="0">
                              <a:pos x="24" y="18"/>
                            </a:cxn>
                            <a:cxn ang="0">
                              <a:pos x="38" y="18"/>
                            </a:cxn>
                            <a:cxn ang="0">
                              <a:pos x="26" y="24"/>
                            </a:cxn>
                            <a:cxn ang="0">
                              <a:pos x="30" y="24"/>
                            </a:cxn>
                            <a:cxn ang="0">
                              <a:pos x="30" y="26"/>
                            </a:cxn>
                            <a:cxn ang="0">
                              <a:pos x="4" y="30"/>
                            </a:cxn>
                            <a:cxn ang="0">
                              <a:pos x="10" y="30"/>
                            </a:cxn>
                            <a:cxn ang="0">
                              <a:pos x="24" y="30"/>
                            </a:cxn>
                            <a:cxn ang="0">
                              <a:pos x="32" y="34"/>
                            </a:cxn>
                            <a:cxn ang="0">
                              <a:pos x="36" y="36"/>
                            </a:cxn>
                            <a:cxn ang="0">
                              <a:pos x="32" y="36"/>
                            </a:cxn>
                            <a:cxn ang="0">
                              <a:pos x="16" y="44"/>
                            </a:cxn>
                          </a:cxnLst>
                          <a:rect l="0" t="0" r="r" b="b"/>
                          <a:pathLst>
                            <a:path w="160" h="50">
                              <a:moveTo>
                                <a:pt x="16" y="44"/>
                              </a:moveTo>
                              <a:lnTo>
                                <a:pt x="16" y="44"/>
                              </a:lnTo>
                              <a:lnTo>
                                <a:pt x="22" y="44"/>
                              </a:lnTo>
                              <a:lnTo>
                                <a:pt x="22" y="44"/>
                              </a:lnTo>
                              <a:lnTo>
                                <a:pt x="28" y="44"/>
                              </a:lnTo>
                              <a:lnTo>
                                <a:pt x="34" y="44"/>
                              </a:lnTo>
                              <a:lnTo>
                                <a:pt x="34" y="44"/>
                              </a:lnTo>
                              <a:lnTo>
                                <a:pt x="36" y="44"/>
                              </a:lnTo>
                              <a:lnTo>
                                <a:pt x="36" y="44"/>
                              </a:lnTo>
                              <a:lnTo>
                                <a:pt x="42" y="44"/>
                              </a:lnTo>
                              <a:lnTo>
                                <a:pt x="46" y="44"/>
                              </a:lnTo>
                              <a:lnTo>
                                <a:pt x="54" y="48"/>
                              </a:lnTo>
                              <a:lnTo>
                                <a:pt x="54" y="48"/>
                              </a:lnTo>
                              <a:lnTo>
                                <a:pt x="58" y="48"/>
                              </a:lnTo>
                              <a:lnTo>
                                <a:pt x="58" y="48"/>
                              </a:lnTo>
                              <a:lnTo>
                                <a:pt x="66" y="50"/>
                              </a:lnTo>
                              <a:lnTo>
                                <a:pt x="76" y="50"/>
                              </a:lnTo>
                              <a:lnTo>
                                <a:pt x="76" y="50"/>
                              </a:lnTo>
                              <a:lnTo>
                                <a:pt x="88" y="48"/>
                              </a:lnTo>
                              <a:lnTo>
                                <a:pt x="88" y="48"/>
                              </a:lnTo>
                              <a:lnTo>
                                <a:pt x="94" y="44"/>
                              </a:lnTo>
                              <a:lnTo>
                                <a:pt x="94" y="44"/>
                              </a:lnTo>
                              <a:lnTo>
                                <a:pt x="100" y="42"/>
                              </a:lnTo>
                              <a:lnTo>
                                <a:pt x="106" y="42"/>
                              </a:lnTo>
                              <a:lnTo>
                                <a:pt x="106" y="42"/>
                              </a:lnTo>
                              <a:lnTo>
                                <a:pt x="112" y="40"/>
                              </a:lnTo>
                              <a:lnTo>
                                <a:pt x="112" y="40"/>
                              </a:lnTo>
                              <a:lnTo>
                                <a:pt x="116" y="40"/>
                              </a:lnTo>
                              <a:lnTo>
                                <a:pt x="116" y="40"/>
                              </a:lnTo>
                              <a:lnTo>
                                <a:pt x="124" y="36"/>
                              </a:lnTo>
                              <a:lnTo>
                                <a:pt x="124" y="36"/>
                              </a:lnTo>
                              <a:lnTo>
                                <a:pt x="130" y="34"/>
                              </a:lnTo>
                              <a:lnTo>
                                <a:pt x="136" y="34"/>
                              </a:lnTo>
                              <a:lnTo>
                                <a:pt x="136" y="34"/>
                              </a:lnTo>
                              <a:lnTo>
                                <a:pt x="138" y="34"/>
                              </a:lnTo>
                              <a:lnTo>
                                <a:pt x="138" y="34"/>
                              </a:lnTo>
                              <a:lnTo>
                                <a:pt x="144" y="32"/>
                              </a:lnTo>
                              <a:lnTo>
                                <a:pt x="144" y="32"/>
                              </a:lnTo>
                              <a:lnTo>
                                <a:pt x="146" y="30"/>
                              </a:lnTo>
                              <a:lnTo>
                                <a:pt x="146" y="30"/>
                              </a:lnTo>
                              <a:lnTo>
                                <a:pt x="146" y="28"/>
                              </a:lnTo>
                              <a:lnTo>
                                <a:pt x="148" y="26"/>
                              </a:lnTo>
                              <a:lnTo>
                                <a:pt x="148" y="26"/>
                              </a:lnTo>
                              <a:lnTo>
                                <a:pt x="150" y="26"/>
                              </a:lnTo>
                              <a:lnTo>
                                <a:pt x="152" y="26"/>
                              </a:lnTo>
                              <a:lnTo>
                                <a:pt x="152" y="26"/>
                              </a:lnTo>
                              <a:lnTo>
                                <a:pt x="152" y="26"/>
                              </a:lnTo>
                              <a:lnTo>
                                <a:pt x="152" y="26"/>
                              </a:lnTo>
                              <a:lnTo>
                                <a:pt x="154" y="24"/>
                              </a:lnTo>
                              <a:lnTo>
                                <a:pt x="154" y="22"/>
                              </a:lnTo>
                              <a:lnTo>
                                <a:pt x="154" y="22"/>
                              </a:lnTo>
                              <a:lnTo>
                                <a:pt x="158" y="22"/>
                              </a:lnTo>
                              <a:lnTo>
                                <a:pt x="158" y="22"/>
                              </a:lnTo>
                              <a:lnTo>
                                <a:pt x="160" y="20"/>
                              </a:lnTo>
                              <a:lnTo>
                                <a:pt x="160" y="18"/>
                              </a:lnTo>
                              <a:lnTo>
                                <a:pt x="160" y="18"/>
                              </a:lnTo>
                              <a:lnTo>
                                <a:pt x="158" y="18"/>
                              </a:lnTo>
                              <a:lnTo>
                                <a:pt x="154" y="18"/>
                              </a:lnTo>
                              <a:lnTo>
                                <a:pt x="154" y="18"/>
                              </a:lnTo>
                              <a:lnTo>
                                <a:pt x="156" y="16"/>
                              </a:lnTo>
                              <a:lnTo>
                                <a:pt x="156" y="16"/>
                              </a:lnTo>
                              <a:lnTo>
                                <a:pt x="156" y="14"/>
                              </a:lnTo>
                              <a:lnTo>
                                <a:pt x="156" y="14"/>
                              </a:lnTo>
                              <a:lnTo>
                                <a:pt x="152" y="12"/>
                              </a:lnTo>
                              <a:lnTo>
                                <a:pt x="152" y="12"/>
                              </a:lnTo>
                              <a:lnTo>
                                <a:pt x="148" y="12"/>
                              </a:lnTo>
                              <a:lnTo>
                                <a:pt x="148" y="12"/>
                              </a:lnTo>
                              <a:lnTo>
                                <a:pt x="148" y="12"/>
                              </a:lnTo>
                              <a:lnTo>
                                <a:pt x="148" y="12"/>
                              </a:lnTo>
                              <a:lnTo>
                                <a:pt x="140" y="12"/>
                              </a:lnTo>
                              <a:lnTo>
                                <a:pt x="140" y="12"/>
                              </a:lnTo>
                              <a:lnTo>
                                <a:pt x="144" y="10"/>
                              </a:lnTo>
                              <a:lnTo>
                                <a:pt x="146" y="8"/>
                              </a:lnTo>
                              <a:lnTo>
                                <a:pt x="144" y="6"/>
                              </a:lnTo>
                              <a:lnTo>
                                <a:pt x="144" y="6"/>
                              </a:lnTo>
                              <a:lnTo>
                                <a:pt x="140" y="6"/>
                              </a:lnTo>
                              <a:lnTo>
                                <a:pt x="140" y="6"/>
                              </a:lnTo>
                              <a:lnTo>
                                <a:pt x="140" y="6"/>
                              </a:lnTo>
                              <a:lnTo>
                                <a:pt x="140" y="6"/>
                              </a:lnTo>
                              <a:lnTo>
                                <a:pt x="144" y="4"/>
                              </a:lnTo>
                              <a:lnTo>
                                <a:pt x="144" y="4"/>
                              </a:lnTo>
                              <a:lnTo>
                                <a:pt x="144" y="4"/>
                              </a:lnTo>
                              <a:lnTo>
                                <a:pt x="144" y="4"/>
                              </a:lnTo>
                              <a:lnTo>
                                <a:pt x="146" y="2"/>
                              </a:lnTo>
                              <a:lnTo>
                                <a:pt x="146" y="2"/>
                              </a:lnTo>
                              <a:lnTo>
                                <a:pt x="140" y="2"/>
                              </a:lnTo>
                              <a:lnTo>
                                <a:pt x="136" y="4"/>
                              </a:lnTo>
                              <a:lnTo>
                                <a:pt x="136" y="4"/>
                              </a:lnTo>
                              <a:lnTo>
                                <a:pt x="130" y="6"/>
                              </a:lnTo>
                              <a:lnTo>
                                <a:pt x="130" y="6"/>
                              </a:lnTo>
                              <a:lnTo>
                                <a:pt x="130" y="4"/>
                              </a:lnTo>
                              <a:lnTo>
                                <a:pt x="130" y="4"/>
                              </a:lnTo>
                              <a:lnTo>
                                <a:pt x="130" y="4"/>
                              </a:lnTo>
                              <a:lnTo>
                                <a:pt x="130" y="4"/>
                              </a:lnTo>
                              <a:lnTo>
                                <a:pt x="126" y="2"/>
                              </a:lnTo>
                              <a:lnTo>
                                <a:pt x="124" y="0"/>
                              </a:lnTo>
                              <a:lnTo>
                                <a:pt x="124" y="0"/>
                              </a:lnTo>
                              <a:lnTo>
                                <a:pt x="124" y="0"/>
                              </a:lnTo>
                              <a:lnTo>
                                <a:pt x="124" y="0"/>
                              </a:lnTo>
                              <a:lnTo>
                                <a:pt x="118" y="2"/>
                              </a:lnTo>
                              <a:lnTo>
                                <a:pt x="118" y="2"/>
                              </a:lnTo>
                              <a:lnTo>
                                <a:pt x="116" y="2"/>
                              </a:lnTo>
                              <a:lnTo>
                                <a:pt x="116" y="2"/>
                              </a:lnTo>
                              <a:lnTo>
                                <a:pt x="118" y="4"/>
                              </a:lnTo>
                              <a:lnTo>
                                <a:pt x="116" y="6"/>
                              </a:lnTo>
                              <a:lnTo>
                                <a:pt x="116" y="6"/>
                              </a:lnTo>
                              <a:lnTo>
                                <a:pt x="118" y="6"/>
                              </a:lnTo>
                              <a:lnTo>
                                <a:pt x="118" y="6"/>
                              </a:lnTo>
                              <a:lnTo>
                                <a:pt x="114" y="6"/>
                              </a:lnTo>
                              <a:lnTo>
                                <a:pt x="110" y="6"/>
                              </a:lnTo>
                              <a:lnTo>
                                <a:pt x="110" y="6"/>
                              </a:lnTo>
                              <a:lnTo>
                                <a:pt x="108" y="8"/>
                              </a:lnTo>
                              <a:lnTo>
                                <a:pt x="106" y="8"/>
                              </a:lnTo>
                              <a:lnTo>
                                <a:pt x="106" y="10"/>
                              </a:lnTo>
                              <a:lnTo>
                                <a:pt x="104" y="10"/>
                              </a:lnTo>
                              <a:lnTo>
                                <a:pt x="104" y="10"/>
                              </a:lnTo>
                              <a:lnTo>
                                <a:pt x="98" y="8"/>
                              </a:lnTo>
                              <a:lnTo>
                                <a:pt x="92" y="8"/>
                              </a:lnTo>
                              <a:lnTo>
                                <a:pt x="92" y="8"/>
                              </a:lnTo>
                              <a:lnTo>
                                <a:pt x="96" y="12"/>
                              </a:lnTo>
                              <a:lnTo>
                                <a:pt x="96" y="12"/>
                              </a:lnTo>
                              <a:lnTo>
                                <a:pt x="96" y="12"/>
                              </a:lnTo>
                              <a:lnTo>
                                <a:pt x="96" y="12"/>
                              </a:lnTo>
                              <a:lnTo>
                                <a:pt x="92" y="12"/>
                              </a:lnTo>
                              <a:lnTo>
                                <a:pt x="90" y="10"/>
                              </a:lnTo>
                              <a:lnTo>
                                <a:pt x="90" y="10"/>
                              </a:lnTo>
                              <a:lnTo>
                                <a:pt x="88" y="8"/>
                              </a:lnTo>
                              <a:lnTo>
                                <a:pt x="88" y="8"/>
                              </a:lnTo>
                              <a:lnTo>
                                <a:pt x="88" y="8"/>
                              </a:lnTo>
                              <a:lnTo>
                                <a:pt x="84" y="6"/>
                              </a:lnTo>
                              <a:lnTo>
                                <a:pt x="84" y="6"/>
                              </a:lnTo>
                              <a:lnTo>
                                <a:pt x="76" y="10"/>
                              </a:lnTo>
                              <a:lnTo>
                                <a:pt x="76" y="10"/>
                              </a:lnTo>
                              <a:lnTo>
                                <a:pt x="74" y="10"/>
                              </a:lnTo>
                              <a:lnTo>
                                <a:pt x="74" y="10"/>
                              </a:lnTo>
                              <a:lnTo>
                                <a:pt x="76" y="12"/>
                              </a:lnTo>
                              <a:lnTo>
                                <a:pt x="76" y="12"/>
                              </a:lnTo>
                              <a:lnTo>
                                <a:pt x="74" y="14"/>
                              </a:lnTo>
                              <a:lnTo>
                                <a:pt x="74" y="14"/>
                              </a:lnTo>
                              <a:lnTo>
                                <a:pt x="70" y="12"/>
                              </a:lnTo>
                              <a:lnTo>
                                <a:pt x="70" y="10"/>
                              </a:lnTo>
                              <a:lnTo>
                                <a:pt x="70" y="10"/>
                              </a:lnTo>
                              <a:lnTo>
                                <a:pt x="68" y="10"/>
                              </a:lnTo>
                              <a:lnTo>
                                <a:pt x="68" y="10"/>
                              </a:lnTo>
                              <a:lnTo>
                                <a:pt x="68" y="8"/>
                              </a:lnTo>
                              <a:lnTo>
                                <a:pt x="66" y="8"/>
                              </a:lnTo>
                              <a:lnTo>
                                <a:pt x="62" y="8"/>
                              </a:lnTo>
                              <a:lnTo>
                                <a:pt x="62" y="8"/>
                              </a:lnTo>
                              <a:lnTo>
                                <a:pt x="60" y="12"/>
                              </a:lnTo>
                              <a:lnTo>
                                <a:pt x="60" y="12"/>
                              </a:lnTo>
                              <a:lnTo>
                                <a:pt x="62" y="14"/>
                              </a:lnTo>
                              <a:lnTo>
                                <a:pt x="62" y="14"/>
                              </a:lnTo>
                              <a:lnTo>
                                <a:pt x="60" y="16"/>
                              </a:lnTo>
                              <a:lnTo>
                                <a:pt x="60" y="16"/>
                              </a:lnTo>
                              <a:lnTo>
                                <a:pt x="58" y="16"/>
                              </a:lnTo>
                              <a:lnTo>
                                <a:pt x="58" y="16"/>
                              </a:lnTo>
                              <a:lnTo>
                                <a:pt x="56" y="16"/>
                              </a:lnTo>
                              <a:lnTo>
                                <a:pt x="56" y="16"/>
                              </a:lnTo>
                              <a:lnTo>
                                <a:pt x="54" y="16"/>
                              </a:lnTo>
                              <a:lnTo>
                                <a:pt x="54" y="16"/>
                              </a:lnTo>
                              <a:lnTo>
                                <a:pt x="50" y="18"/>
                              </a:lnTo>
                              <a:lnTo>
                                <a:pt x="50" y="18"/>
                              </a:lnTo>
                              <a:lnTo>
                                <a:pt x="50" y="20"/>
                              </a:lnTo>
                              <a:lnTo>
                                <a:pt x="50" y="20"/>
                              </a:lnTo>
                              <a:lnTo>
                                <a:pt x="50" y="22"/>
                              </a:lnTo>
                              <a:lnTo>
                                <a:pt x="50" y="22"/>
                              </a:lnTo>
                              <a:lnTo>
                                <a:pt x="48" y="22"/>
                              </a:lnTo>
                              <a:lnTo>
                                <a:pt x="48" y="22"/>
                              </a:lnTo>
                              <a:lnTo>
                                <a:pt x="46" y="20"/>
                              </a:lnTo>
                              <a:lnTo>
                                <a:pt x="46" y="18"/>
                              </a:lnTo>
                              <a:lnTo>
                                <a:pt x="46" y="18"/>
                              </a:lnTo>
                              <a:lnTo>
                                <a:pt x="40" y="16"/>
                              </a:lnTo>
                              <a:lnTo>
                                <a:pt x="40" y="16"/>
                              </a:lnTo>
                              <a:lnTo>
                                <a:pt x="46" y="16"/>
                              </a:lnTo>
                              <a:lnTo>
                                <a:pt x="46" y="16"/>
                              </a:lnTo>
                              <a:lnTo>
                                <a:pt x="46" y="16"/>
                              </a:lnTo>
                              <a:lnTo>
                                <a:pt x="46" y="16"/>
                              </a:lnTo>
                              <a:lnTo>
                                <a:pt x="48" y="14"/>
                              </a:lnTo>
                              <a:lnTo>
                                <a:pt x="46" y="12"/>
                              </a:lnTo>
                              <a:lnTo>
                                <a:pt x="46" y="12"/>
                              </a:lnTo>
                              <a:lnTo>
                                <a:pt x="46" y="10"/>
                              </a:lnTo>
                              <a:lnTo>
                                <a:pt x="46" y="10"/>
                              </a:lnTo>
                              <a:lnTo>
                                <a:pt x="44" y="10"/>
                              </a:lnTo>
                              <a:lnTo>
                                <a:pt x="42" y="8"/>
                              </a:lnTo>
                              <a:lnTo>
                                <a:pt x="42" y="8"/>
                              </a:lnTo>
                              <a:lnTo>
                                <a:pt x="40" y="6"/>
                              </a:lnTo>
                              <a:lnTo>
                                <a:pt x="40" y="6"/>
                              </a:lnTo>
                              <a:lnTo>
                                <a:pt x="38" y="4"/>
                              </a:lnTo>
                              <a:lnTo>
                                <a:pt x="34" y="4"/>
                              </a:lnTo>
                              <a:lnTo>
                                <a:pt x="34" y="4"/>
                              </a:lnTo>
                              <a:lnTo>
                                <a:pt x="26" y="4"/>
                              </a:lnTo>
                              <a:lnTo>
                                <a:pt x="26" y="4"/>
                              </a:lnTo>
                              <a:lnTo>
                                <a:pt x="24" y="6"/>
                              </a:lnTo>
                              <a:lnTo>
                                <a:pt x="24" y="6"/>
                              </a:lnTo>
                              <a:lnTo>
                                <a:pt x="30" y="6"/>
                              </a:lnTo>
                              <a:lnTo>
                                <a:pt x="30" y="6"/>
                              </a:lnTo>
                              <a:lnTo>
                                <a:pt x="32" y="6"/>
                              </a:lnTo>
                              <a:lnTo>
                                <a:pt x="32" y="6"/>
                              </a:lnTo>
                              <a:lnTo>
                                <a:pt x="30" y="8"/>
                              </a:lnTo>
                              <a:lnTo>
                                <a:pt x="30" y="8"/>
                              </a:lnTo>
                              <a:lnTo>
                                <a:pt x="32" y="8"/>
                              </a:lnTo>
                              <a:lnTo>
                                <a:pt x="32" y="8"/>
                              </a:lnTo>
                              <a:lnTo>
                                <a:pt x="34" y="10"/>
                              </a:lnTo>
                              <a:lnTo>
                                <a:pt x="34" y="12"/>
                              </a:lnTo>
                              <a:lnTo>
                                <a:pt x="32" y="12"/>
                              </a:lnTo>
                              <a:lnTo>
                                <a:pt x="32" y="12"/>
                              </a:lnTo>
                              <a:lnTo>
                                <a:pt x="22" y="8"/>
                              </a:lnTo>
                              <a:lnTo>
                                <a:pt x="22" y="8"/>
                              </a:lnTo>
                              <a:lnTo>
                                <a:pt x="18" y="8"/>
                              </a:lnTo>
                              <a:lnTo>
                                <a:pt x="18" y="8"/>
                              </a:lnTo>
                              <a:lnTo>
                                <a:pt x="18" y="10"/>
                              </a:lnTo>
                              <a:lnTo>
                                <a:pt x="20" y="10"/>
                              </a:lnTo>
                              <a:lnTo>
                                <a:pt x="20" y="10"/>
                              </a:lnTo>
                              <a:lnTo>
                                <a:pt x="16" y="10"/>
                              </a:lnTo>
                              <a:lnTo>
                                <a:pt x="14" y="10"/>
                              </a:lnTo>
                              <a:lnTo>
                                <a:pt x="14" y="10"/>
                              </a:lnTo>
                              <a:lnTo>
                                <a:pt x="14" y="12"/>
                              </a:lnTo>
                              <a:lnTo>
                                <a:pt x="16" y="12"/>
                              </a:lnTo>
                              <a:lnTo>
                                <a:pt x="16" y="12"/>
                              </a:lnTo>
                              <a:lnTo>
                                <a:pt x="12" y="12"/>
                              </a:lnTo>
                              <a:lnTo>
                                <a:pt x="12" y="12"/>
                              </a:lnTo>
                              <a:lnTo>
                                <a:pt x="14" y="14"/>
                              </a:lnTo>
                              <a:lnTo>
                                <a:pt x="18" y="14"/>
                              </a:lnTo>
                              <a:lnTo>
                                <a:pt x="18" y="14"/>
                              </a:lnTo>
                              <a:lnTo>
                                <a:pt x="18" y="14"/>
                              </a:lnTo>
                              <a:lnTo>
                                <a:pt x="18" y="14"/>
                              </a:lnTo>
                              <a:lnTo>
                                <a:pt x="14" y="16"/>
                              </a:lnTo>
                              <a:lnTo>
                                <a:pt x="14" y="16"/>
                              </a:lnTo>
                              <a:lnTo>
                                <a:pt x="10" y="14"/>
                              </a:lnTo>
                              <a:lnTo>
                                <a:pt x="10" y="14"/>
                              </a:lnTo>
                              <a:lnTo>
                                <a:pt x="8" y="14"/>
                              </a:lnTo>
                              <a:lnTo>
                                <a:pt x="8" y="14"/>
                              </a:lnTo>
                              <a:lnTo>
                                <a:pt x="8" y="14"/>
                              </a:lnTo>
                              <a:lnTo>
                                <a:pt x="8" y="16"/>
                              </a:lnTo>
                              <a:lnTo>
                                <a:pt x="8" y="16"/>
                              </a:lnTo>
                              <a:lnTo>
                                <a:pt x="8" y="16"/>
                              </a:lnTo>
                              <a:lnTo>
                                <a:pt x="8" y="16"/>
                              </a:lnTo>
                              <a:lnTo>
                                <a:pt x="4" y="16"/>
                              </a:lnTo>
                              <a:lnTo>
                                <a:pt x="0" y="18"/>
                              </a:lnTo>
                              <a:lnTo>
                                <a:pt x="0" y="18"/>
                              </a:lnTo>
                              <a:lnTo>
                                <a:pt x="0" y="18"/>
                              </a:lnTo>
                              <a:lnTo>
                                <a:pt x="0" y="18"/>
                              </a:lnTo>
                              <a:lnTo>
                                <a:pt x="0" y="18"/>
                              </a:lnTo>
                              <a:lnTo>
                                <a:pt x="4" y="18"/>
                              </a:lnTo>
                              <a:lnTo>
                                <a:pt x="4" y="18"/>
                              </a:lnTo>
                              <a:lnTo>
                                <a:pt x="8" y="20"/>
                              </a:lnTo>
                              <a:lnTo>
                                <a:pt x="12" y="20"/>
                              </a:lnTo>
                              <a:lnTo>
                                <a:pt x="12" y="20"/>
                              </a:lnTo>
                              <a:lnTo>
                                <a:pt x="24" y="18"/>
                              </a:lnTo>
                              <a:lnTo>
                                <a:pt x="24" y="18"/>
                              </a:lnTo>
                              <a:lnTo>
                                <a:pt x="24" y="18"/>
                              </a:lnTo>
                              <a:lnTo>
                                <a:pt x="24" y="18"/>
                              </a:lnTo>
                              <a:lnTo>
                                <a:pt x="28" y="18"/>
                              </a:lnTo>
                              <a:lnTo>
                                <a:pt x="28" y="18"/>
                              </a:lnTo>
                              <a:lnTo>
                                <a:pt x="38" y="18"/>
                              </a:lnTo>
                              <a:lnTo>
                                <a:pt x="38" y="18"/>
                              </a:lnTo>
                              <a:lnTo>
                                <a:pt x="38" y="20"/>
                              </a:lnTo>
                              <a:lnTo>
                                <a:pt x="38" y="20"/>
                              </a:lnTo>
                              <a:lnTo>
                                <a:pt x="30" y="20"/>
                              </a:lnTo>
                              <a:lnTo>
                                <a:pt x="26" y="24"/>
                              </a:lnTo>
                              <a:lnTo>
                                <a:pt x="26" y="24"/>
                              </a:lnTo>
                              <a:lnTo>
                                <a:pt x="30" y="24"/>
                              </a:lnTo>
                              <a:lnTo>
                                <a:pt x="30" y="24"/>
                              </a:lnTo>
                              <a:lnTo>
                                <a:pt x="30" y="24"/>
                              </a:lnTo>
                              <a:lnTo>
                                <a:pt x="30" y="24"/>
                              </a:lnTo>
                              <a:lnTo>
                                <a:pt x="36" y="24"/>
                              </a:lnTo>
                              <a:lnTo>
                                <a:pt x="38" y="24"/>
                              </a:lnTo>
                              <a:lnTo>
                                <a:pt x="38" y="24"/>
                              </a:lnTo>
                              <a:lnTo>
                                <a:pt x="38" y="24"/>
                              </a:lnTo>
                              <a:lnTo>
                                <a:pt x="30" y="26"/>
                              </a:lnTo>
                              <a:lnTo>
                                <a:pt x="22" y="26"/>
                              </a:lnTo>
                              <a:lnTo>
                                <a:pt x="22" y="26"/>
                              </a:lnTo>
                              <a:lnTo>
                                <a:pt x="12" y="28"/>
                              </a:lnTo>
                              <a:lnTo>
                                <a:pt x="4" y="30"/>
                              </a:lnTo>
                              <a:lnTo>
                                <a:pt x="4" y="30"/>
                              </a:lnTo>
                              <a:lnTo>
                                <a:pt x="6" y="30"/>
                              </a:lnTo>
                              <a:lnTo>
                                <a:pt x="6" y="30"/>
                              </a:lnTo>
                              <a:lnTo>
                                <a:pt x="6" y="30"/>
                              </a:lnTo>
                              <a:lnTo>
                                <a:pt x="6" y="30"/>
                              </a:lnTo>
                              <a:lnTo>
                                <a:pt x="10" y="30"/>
                              </a:lnTo>
                              <a:lnTo>
                                <a:pt x="10" y="30"/>
                              </a:lnTo>
                              <a:lnTo>
                                <a:pt x="18" y="28"/>
                              </a:lnTo>
                              <a:lnTo>
                                <a:pt x="24" y="30"/>
                              </a:lnTo>
                              <a:lnTo>
                                <a:pt x="24" y="30"/>
                              </a:lnTo>
                              <a:lnTo>
                                <a:pt x="24" y="30"/>
                              </a:lnTo>
                              <a:lnTo>
                                <a:pt x="24" y="30"/>
                              </a:lnTo>
                              <a:lnTo>
                                <a:pt x="26" y="32"/>
                              </a:lnTo>
                              <a:lnTo>
                                <a:pt x="26" y="32"/>
                              </a:lnTo>
                              <a:lnTo>
                                <a:pt x="28" y="34"/>
                              </a:lnTo>
                              <a:lnTo>
                                <a:pt x="32" y="34"/>
                              </a:lnTo>
                              <a:lnTo>
                                <a:pt x="32" y="34"/>
                              </a:lnTo>
                              <a:lnTo>
                                <a:pt x="32" y="34"/>
                              </a:lnTo>
                              <a:lnTo>
                                <a:pt x="30" y="36"/>
                              </a:lnTo>
                              <a:lnTo>
                                <a:pt x="30" y="36"/>
                              </a:lnTo>
                              <a:lnTo>
                                <a:pt x="36" y="36"/>
                              </a:lnTo>
                              <a:lnTo>
                                <a:pt x="36" y="36"/>
                              </a:lnTo>
                              <a:lnTo>
                                <a:pt x="36" y="36"/>
                              </a:lnTo>
                              <a:lnTo>
                                <a:pt x="36" y="36"/>
                              </a:lnTo>
                              <a:lnTo>
                                <a:pt x="32" y="36"/>
                              </a:lnTo>
                              <a:lnTo>
                                <a:pt x="32" y="36"/>
                              </a:lnTo>
                              <a:lnTo>
                                <a:pt x="30" y="38"/>
                              </a:lnTo>
                              <a:lnTo>
                                <a:pt x="28" y="40"/>
                              </a:lnTo>
                              <a:lnTo>
                                <a:pt x="18" y="42"/>
                              </a:lnTo>
                              <a:lnTo>
                                <a:pt x="18" y="42"/>
                              </a:lnTo>
                              <a:lnTo>
                                <a:pt x="16" y="44"/>
                              </a:lnTo>
                              <a:lnTo>
                                <a:pt x="16" y="44"/>
                              </a:lnTo>
                              <a:lnTo>
                                <a:pt x="16" y="44"/>
                              </a:lnTo>
                              <a:lnTo>
                                <a:pt x="16" y="44"/>
                              </a:lnTo>
                              <a:lnTo>
                                <a:pt x="16" y="44"/>
                              </a:lnTo>
                              <a:close/>
                            </a:path>
                          </a:pathLst>
                        </a:custGeom>
                        <a:solidFill>
                          <a:schemeClr val="accent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4" name="Iraq"/>
                        <p:cNvSpPr>
                          <a:spLocks/>
                        </p:cNvSpPr>
                        <p:nvPr/>
                      </p:nvSpPr>
                      <p:spPr bwMode="auto">
                        <a:xfrm>
                          <a:off x="6950918" y="2272953"/>
                          <a:ext cx="331103" cy="282240"/>
                        </a:xfrm>
                        <a:custGeom>
                          <a:avLst/>
                          <a:gdLst/>
                          <a:ahLst/>
                          <a:cxnLst>
                            <a:cxn ang="0">
                              <a:pos x="34" y="126"/>
                            </a:cxn>
                            <a:cxn ang="0">
                              <a:pos x="72" y="142"/>
                            </a:cxn>
                            <a:cxn ang="0">
                              <a:pos x="94" y="158"/>
                            </a:cxn>
                            <a:cxn ang="0">
                              <a:pos x="120" y="180"/>
                            </a:cxn>
                            <a:cxn ang="0">
                              <a:pos x="172" y="186"/>
                            </a:cxn>
                            <a:cxn ang="0">
                              <a:pos x="182" y="180"/>
                            </a:cxn>
                            <a:cxn ang="0">
                              <a:pos x="192" y="168"/>
                            </a:cxn>
                            <a:cxn ang="0">
                              <a:pos x="202" y="172"/>
                            </a:cxn>
                            <a:cxn ang="0">
                              <a:pos x="208" y="170"/>
                            </a:cxn>
                            <a:cxn ang="0">
                              <a:pos x="214" y="176"/>
                            </a:cxn>
                            <a:cxn ang="0">
                              <a:pos x="218" y="172"/>
                            </a:cxn>
                            <a:cxn ang="0">
                              <a:pos x="212" y="160"/>
                            </a:cxn>
                            <a:cxn ang="0">
                              <a:pos x="204" y="158"/>
                            </a:cxn>
                            <a:cxn ang="0">
                              <a:pos x="198" y="146"/>
                            </a:cxn>
                            <a:cxn ang="0">
                              <a:pos x="196" y="136"/>
                            </a:cxn>
                            <a:cxn ang="0">
                              <a:pos x="182" y="116"/>
                            </a:cxn>
                            <a:cxn ang="0">
                              <a:pos x="172" y="108"/>
                            </a:cxn>
                            <a:cxn ang="0">
                              <a:pos x="156" y="100"/>
                            </a:cxn>
                            <a:cxn ang="0">
                              <a:pos x="148" y="94"/>
                            </a:cxn>
                            <a:cxn ang="0">
                              <a:pos x="148" y="86"/>
                            </a:cxn>
                            <a:cxn ang="0">
                              <a:pos x="138" y="78"/>
                            </a:cxn>
                            <a:cxn ang="0">
                              <a:pos x="142" y="74"/>
                            </a:cxn>
                            <a:cxn ang="0">
                              <a:pos x="138" y="68"/>
                            </a:cxn>
                            <a:cxn ang="0">
                              <a:pos x="146" y="50"/>
                            </a:cxn>
                            <a:cxn ang="0">
                              <a:pos x="144" y="44"/>
                            </a:cxn>
                            <a:cxn ang="0">
                              <a:pos x="148" y="36"/>
                            </a:cxn>
                            <a:cxn ang="0">
                              <a:pos x="148" y="32"/>
                            </a:cxn>
                            <a:cxn ang="0">
                              <a:pos x="134" y="32"/>
                            </a:cxn>
                            <a:cxn ang="0">
                              <a:pos x="128" y="22"/>
                            </a:cxn>
                            <a:cxn ang="0">
                              <a:pos x="128" y="20"/>
                            </a:cxn>
                            <a:cxn ang="0">
                              <a:pos x="124" y="18"/>
                            </a:cxn>
                            <a:cxn ang="0">
                              <a:pos x="116" y="8"/>
                            </a:cxn>
                            <a:cxn ang="0">
                              <a:pos x="106" y="10"/>
                            </a:cxn>
                            <a:cxn ang="0">
                              <a:pos x="98" y="6"/>
                            </a:cxn>
                            <a:cxn ang="0">
                              <a:pos x="90" y="4"/>
                            </a:cxn>
                            <a:cxn ang="0">
                              <a:pos x="76" y="0"/>
                            </a:cxn>
                            <a:cxn ang="0">
                              <a:pos x="62" y="6"/>
                            </a:cxn>
                            <a:cxn ang="0">
                              <a:pos x="50" y="16"/>
                            </a:cxn>
                            <a:cxn ang="0">
                              <a:pos x="46" y="26"/>
                            </a:cxn>
                            <a:cxn ang="0">
                              <a:pos x="48" y="42"/>
                            </a:cxn>
                            <a:cxn ang="0">
                              <a:pos x="50" y="58"/>
                            </a:cxn>
                            <a:cxn ang="0">
                              <a:pos x="44" y="64"/>
                            </a:cxn>
                            <a:cxn ang="0">
                              <a:pos x="8" y="110"/>
                            </a:cxn>
                            <a:cxn ang="0">
                              <a:pos x="12" y="124"/>
                            </a:cxn>
                          </a:cxnLst>
                          <a:rect l="0" t="0" r="r" b="b"/>
                          <a:pathLst>
                            <a:path w="218" h="186">
                              <a:moveTo>
                                <a:pt x="12" y="124"/>
                              </a:moveTo>
                              <a:lnTo>
                                <a:pt x="12" y="124"/>
                              </a:lnTo>
                              <a:lnTo>
                                <a:pt x="34" y="126"/>
                              </a:lnTo>
                              <a:lnTo>
                                <a:pt x="46" y="128"/>
                              </a:lnTo>
                              <a:lnTo>
                                <a:pt x="72" y="142"/>
                              </a:lnTo>
                              <a:lnTo>
                                <a:pt x="72" y="142"/>
                              </a:lnTo>
                              <a:lnTo>
                                <a:pt x="84" y="146"/>
                              </a:lnTo>
                              <a:lnTo>
                                <a:pt x="88" y="150"/>
                              </a:lnTo>
                              <a:lnTo>
                                <a:pt x="94" y="158"/>
                              </a:lnTo>
                              <a:lnTo>
                                <a:pt x="108" y="170"/>
                              </a:lnTo>
                              <a:lnTo>
                                <a:pt x="108" y="170"/>
                              </a:lnTo>
                              <a:lnTo>
                                <a:pt x="120" y="180"/>
                              </a:lnTo>
                              <a:lnTo>
                                <a:pt x="132" y="184"/>
                              </a:lnTo>
                              <a:lnTo>
                                <a:pt x="148" y="186"/>
                              </a:lnTo>
                              <a:lnTo>
                                <a:pt x="172" y="186"/>
                              </a:lnTo>
                              <a:lnTo>
                                <a:pt x="172" y="186"/>
                              </a:lnTo>
                              <a:lnTo>
                                <a:pt x="178" y="184"/>
                              </a:lnTo>
                              <a:lnTo>
                                <a:pt x="182" y="180"/>
                              </a:lnTo>
                              <a:lnTo>
                                <a:pt x="186" y="172"/>
                              </a:lnTo>
                              <a:lnTo>
                                <a:pt x="188" y="170"/>
                              </a:lnTo>
                              <a:lnTo>
                                <a:pt x="192" y="168"/>
                              </a:lnTo>
                              <a:lnTo>
                                <a:pt x="196" y="170"/>
                              </a:lnTo>
                              <a:lnTo>
                                <a:pt x="202" y="172"/>
                              </a:lnTo>
                              <a:lnTo>
                                <a:pt x="202" y="172"/>
                              </a:lnTo>
                              <a:lnTo>
                                <a:pt x="204" y="168"/>
                              </a:lnTo>
                              <a:lnTo>
                                <a:pt x="206" y="168"/>
                              </a:lnTo>
                              <a:lnTo>
                                <a:pt x="208" y="170"/>
                              </a:lnTo>
                              <a:lnTo>
                                <a:pt x="208" y="170"/>
                              </a:lnTo>
                              <a:lnTo>
                                <a:pt x="212" y="176"/>
                              </a:lnTo>
                              <a:lnTo>
                                <a:pt x="214" y="176"/>
                              </a:lnTo>
                              <a:lnTo>
                                <a:pt x="214" y="174"/>
                              </a:lnTo>
                              <a:lnTo>
                                <a:pt x="218" y="172"/>
                              </a:lnTo>
                              <a:lnTo>
                                <a:pt x="218" y="172"/>
                              </a:lnTo>
                              <a:lnTo>
                                <a:pt x="214" y="166"/>
                              </a:lnTo>
                              <a:lnTo>
                                <a:pt x="212" y="162"/>
                              </a:lnTo>
                              <a:lnTo>
                                <a:pt x="212" y="160"/>
                              </a:lnTo>
                              <a:lnTo>
                                <a:pt x="208" y="158"/>
                              </a:lnTo>
                              <a:lnTo>
                                <a:pt x="208" y="158"/>
                              </a:lnTo>
                              <a:lnTo>
                                <a:pt x="204" y="158"/>
                              </a:lnTo>
                              <a:lnTo>
                                <a:pt x="202" y="154"/>
                              </a:lnTo>
                              <a:lnTo>
                                <a:pt x="200" y="150"/>
                              </a:lnTo>
                              <a:lnTo>
                                <a:pt x="198" y="146"/>
                              </a:lnTo>
                              <a:lnTo>
                                <a:pt x="198" y="146"/>
                              </a:lnTo>
                              <a:lnTo>
                                <a:pt x="198" y="142"/>
                              </a:lnTo>
                              <a:lnTo>
                                <a:pt x="196" y="136"/>
                              </a:lnTo>
                              <a:lnTo>
                                <a:pt x="188" y="120"/>
                              </a:lnTo>
                              <a:lnTo>
                                <a:pt x="188" y="120"/>
                              </a:lnTo>
                              <a:lnTo>
                                <a:pt x="182" y="116"/>
                              </a:lnTo>
                              <a:lnTo>
                                <a:pt x="180" y="114"/>
                              </a:lnTo>
                              <a:lnTo>
                                <a:pt x="178" y="112"/>
                              </a:lnTo>
                              <a:lnTo>
                                <a:pt x="172" y="108"/>
                              </a:lnTo>
                              <a:lnTo>
                                <a:pt x="172" y="108"/>
                              </a:lnTo>
                              <a:lnTo>
                                <a:pt x="164" y="102"/>
                              </a:lnTo>
                              <a:lnTo>
                                <a:pt x="156" y="100"/>
                              </a:lnTo>
                              <a:lnTo>
                                <a:pt x="150" y="98"/>
                              </a:lnTo>
                              <a:lnTo>
                                <a:pt x="148" y="96"/>
                              </a:lnTo>
                              <a:lnTo>
                                <a:pt x="148" y="94"/>
                              </a:lnTo>
                              <a:lnTo>
                                <a:pt x="148" y="94"/>
                              </a:lnTo>
                              <a:lnTo>
                                <a:pt x="148" y="90"/>
                              </a:lnTo>
                              <a:lnTo>
                                <a:pt x="148" y="86"/>
                              </a:lnTo>
                              <a:lnTo>
                                <a:pt x="142" y="82"/>
                              </a:lnTo>
                              <a:lnTo>
                                <a:pt x="138" y="80"/>
                              </a:lnTo>
                              <a:lnTo>
                                <a:pt x="138" y="78"/>
                              </a:lnTo>
                              <a:lnTo>
                                <a:pt x="140" y="76"/>
                              </a:lnTo>
                              <a:lnTo>
                                <a:pt x="140" y="76"/>
                              </a:lnTo>
                              <a:lnTo>
                                <a:pt x="142" y="74"/>
                              </a:lnTo>
                              <a:lnTo>
                                <a:pt x="140" y="74"/>
                              </a:lnTo>
                              <a:lnTo>
                                <a:pt x="138" y="72"/>
                              </a:lnTo>
                              <a:lnTo>
                                <a:pt x="138" y="68"/>
                              </a:lnTo>
                              <a:lnTo>
                                <a:pt x="138" y="68"/>
                              </a:lnTo>
                              <a:lnTo>
                                <a:pt x="144" y="56"/>
                              </a:lnTo>
                              <a:lnTo>
                                <a:pt x="146" y="50"/>
                              </a:lnTo>
                              <a:lnTo>
                                <a:pt x="144" y="48"/>
                              </a:lnTo>
                              <a:lnTo>
                                <a:pt x="144" y="48"/>
                              </a:lnTo>
                              <a:lnTo>
                                <a:pt x="144" y="44"/>
                              </a:lnTo>
                              <a:lnTo>
                                <a:pt x="146" y="42"/>
                              </a:lnTo>
                              <a:lnTo>
                                <a:pt x="146" y="40"/>
                              </a:lnTo>
                              <a:lnTo>
                                <a:pt x="148" y="36"/>
                              </a:lnTo>
                              <a:lnTo>
                                <a:pt x="148" y="36"/>
                              </a:lnTo>
                              <a:lnTo>
                                <a:pt x="148" y="32"/>
                              </a:lnTo>
                              <a:lnTo>
                                <a:pt x="148" y="32"/>
                              </a:lnTo>
                              <a:lnTo>
                                <a:pt x="140" y="34"/>
                              </a:lnTo>
                              <a:lnTo>
                                <a:pt x="140" y="34"/>
                              </a:lnTo>
                              <a:lnTo>
                                <a:pt x="134" y="32"/>
                              </a:lnTo>
                              <a:lnTo>
                                <a:pt x="132" y="28"/>
                              </a:lnTo>
                              <a:lnTo>
                                <a:pt x="130" y="26"/>
                              </a:lnTo>
                              <a:lnTo>
                                <a:pt x="128" y="22"/>
                              </a:lnTo>
                              <a:lnTo>
                                <a:pt x="128" y="22"/>
                              </a:lnTo>
                              <a:lnTo>
                                <a:pt x="126" y="22"/>
                              </a:lnTo>
                              <a:lnTo>
                                <a:pt x="128" y="20"/>
                              </a:lnTo>
                              <a:lnTo>
                                <a:pt x="128" y="20"/>
                              </a:lnTo>
                              <a:lnTo>
                                <a:pt x="124" y="18"/>
                              </a:lnTo>
                              <a:lnTo>
                                <a:pt x="124" y="18"/>
                              </a:lnTo>
                              <a:lnTo>
                                <a:pt x="122" y="14"/>
                              </a:lnTo>
                              <a:lnTo>
                                <a:pt x="120" y="10"/>
                              </a:lnTo>
                              <a:lnTo>
                                <a:pt x="116" y="8"/>
                              </a:lnTo>
                              <a:lnTo>
                                <a:pt x="116" y="8"/>
                              </a:lnTo>
                              <a:lnTo>
                                <a:pt x="108" y="12"/>
                              </a:lnTo>
                              <a:lnTo>
                                <a:pt x="106" y="10"/>
                              </a:lnTo>
                              <a:lnTo>
                                <a:pt x="104" y="6"/>
                              </a:lnTo>
                              <a:lnTo>
                                <a:pt x="102" y="6"/>
                              </a:lnTo>
                              <a:lnTo>
                                <a:pt x="98" y="6"/>
                              </a:lnTo>
                              <a:lnTo>
                                <a:pt x="98" y="6"/>
                              </a:lnTo>
                              <a:lnTo>
                                <a:pt x="94" y="4"/>
                              </a:lnTo>
                              <a:lnTo>
                                <a:pt x="90" y="4"/>
                              </a:lnTo>
                              <a:lnTo>
                                <a:pt x="86" y="2"/>
                              </a:lnTo>
                              <a:lnTo>
                                <a:pt x="76" y="0"/>
                              </a:lnTo>
                              <a:lnTo>
                                <a:pt x="76" y="0"/>
                              </a:lnTo>
                              <a:lnTo>
                                <a:pt x="70" y="0"/>
                              </a:lnTo>
                              <a:lnTo>
                                <a:pt x="66" y="2"/>
                              </a:lnTo>
                              <a:lnTo>
                                <a:pt x="62" y="6"/>
                              </a:lnTo>
                              <a:lnTo>
                                <a:pt x="62" y="6"/>
                              </a:lnTo>
                              <a:lnTo>
                                <a:pt x="56" y="12"/>
                              </a:lnTo>
                              <a:lnTo>
                                <a:pt x="50" y="16"/>
                              </a:lnTo>
                              <a:lnTo>
                                <a:pt x="50" y="16"/>
                              </a:lnTo>
                              <a:lnTo>
                                <a:pt x="46" y="22"/>
                              </a:lnTo>
                              <a:lnTo>
                                <a:pt x="46" y="26"/>
                              </a:lnTo>
                              <a:lnTo>
                                <a:pt x="48" y="32"/>
                              </a:lnTo>
                              <a:lnTo>
                                <a:pt x="50" y="36"/>
                              </a:lnTo>
                              <a:lnTo>
                                <a:pt x="48" y="42"/>
                              </a:lnTo>
                              <a:lnTo>
                                <a:pt x="48" y="42"/>
                              </a:lnTo>
                              <a:lnTo>
                                <a:pt x="48" y="52"/>
                              </a:lnTo>
                              <a:lnTo>
                                <a:pt x="50" y="58"/>
                              </a:lnTo>
                              <a:lnTo>
                                <a:pt x="50" y="60"/>
                              </a:lnTo>
                              <a:lnTo>
                                <a:pt x="44" y="64"/>
                              </a:lnTo>
                              <a:lnTo>
                                <a:pt x="44" y="64"/>
                              </a:lnTo>
                              <a:lnTo>
                                <a:pt x="0" y="92"/>
                              </a:lnTo>
                              <a:lnTo>
                                <a:pt x="0" y="92"/>
                              </a:lnTo>
                              <a:lnTo>
                                <a:pt x="8" y="110"/>
                              </a:lnTo>
                              <a:lnTo>
                                <a:pt x="10" y="118"/>
                              </a:lnTo>
                              <a:lnTo>
                                <a:pt x="12" y="124"/>
                              </a:lnTo>
                              <a:lnTo>
                                <a:pt x="12" y="124"/>
                              </a:lnTo>
                              <a:close/>
                            </a:path>
                          </a:pathLst>
                        </a:custGeom>
                        <a:solidFill>
                          <a:schemeClr val="accent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6" name="Kazakhstan"/>
                        <p:cNvSpPr>
                          <a:spLocks/>
                        </p:cNvSpPr>
                        <p:nvPr/>
                      </p:nvSpPr>
                      <p:spPr bwMode="auto">
                        <a:xfrm>
                          <a:off x="7083469" y="1719342"/>
                          <a:ext cx="1120890" cy="461295"/>
                        </a:xfrm>
                        <a:custGeom>
                          <a:avLst/>
                          <a:gdLst/>
                          <a:ahLst/>
                          <a:cxnLst>
                            <a:cxn ang="0">
                              <a:pos x="474" y="288"/>
                            </a:cxn>
                            <a:cxn ang="0">
                              <a:pos x="456" y="304"/>
                            </a:cxn>
                            <a:cxn ang="0">
                              <a:pos x="420" y="292"/>
                            </a:cxn>
                            <a:cxn ang="0">
                              <a:pos x="378" y="236"/>
                            </a:cxn>
                            <a:cxn ang="0">
                              <a:pos x="354" y="238"/>
                            </a:cxn>
                            <a:cxn ang="0">
                              <a:pos x="298" y="216"/>
                            </a:cxn>
                            <a:cxn ang="0">
                              <a:pos x="288" y="192"/>
                            </a:cxn>
                            <a:cxn ang="0">
                              <a:pos x="276" y="178"/>
                            </a:cxn>
                            <a:cxn ang="0">
                              <a:pos x="252" y="176"/>
                            </a:cxn>
                            <a:cxn ang="0">
                              <a:pos x="240" y="186"/>
                            </a:cxn>
                            <a:cxn ang="0">
                              <a:pos x="206" y="202"/>
                            </a:cxn>
                            <a:cxn ang="0">
                              <a:pos x="198" y="278"/>
                            </a:cxn>
                            <a:cxn ang="0">
                              <a:pos x="156" y="282"/>
                            </a:cxn>
                            <a:cxn ang="0">
                              <a:pos x="150" y="250"/>
                            </a:cxn>
                            <a:cxn ang="0">
                              <a:pos x="128" y="240"/>
                            </a:cxn>
                            <a:cxn ang="0">
                              <a:pos x="98" y="222"/>
                            </a:cxn>
                            <a:cxn ang="0">
                              <a:pos x="102" y="214"/>
                            </a:cxn>
                            <a:cxn ang="0">
                              <a:pos x="96" y="204"/>
                            </a:cxn>
                            <a:cxn ang="0">
                              <a:pos x="120" y="192"/>
                            </a:cxn>
                            <a:cxn ang="0">
                              <a:pos x="134" y="192"/>
                            </a:cxn>
                            <a:cxn ang="0">
                              <a:pos x="132" y="172"/>
                            </a:cxn>
                            <a:cxn ang="0">
                              <a:pos x="122" y="152"/>
                            </a:cxn>
                            <a:cxn ang="0">
                              <a:pos x="82" y="160"/>
                            </a:cxn>
                            <a:cxn ang="0">
                              <a:pos x="54" y="168"/>
                            </a:cxn>
                            <a:cxn ang="0">
                              <a:pos x="46" y="150"/>
                            </a:cxn>
                            <a:cxn ang="0">
                              <a:pos x="16" y="142"/>
                            </a:cxn>
                            <a:cxn ang="0">
                              <a:pos x="0" y="126"/>
                            </a:cxn>
                            <a:cxn ang="0">
                              <a:pos x="10" y="86"/>
                            </a:cxn>
                            <a:cxn ang="0">
                              <a:pos x="32" y="94"/>
                            </a:cxn>
                            <a:cxn ang="0">
                              <a:pos x="38" y="78"/>
                            </a:cxn>
                            <a:cxn ang="0">
                              <a:pos x="56" y="64"/>
                            </a:cxn>
                            <a:cxn ang="0">
                              <a:pos x="86" y="66"/>
                            </a:cxn>
                            <a:cxn ang="0">
                              <a:pos x="118" y="72"/>
                            </a:cxn>
                            <a:cxn ang="0">
                              <a:pos x="148" y="74"/>
                            </a:cxn>
                            <a:cxn ang="0">
                              <a:pos x="172" y="78"/>
                            </a:cxn>
                            <a:cxn ang="0">
                              <a:pos x="198" y="82"/>
                            </a:cxn>
                            <a:cxn ang="0">
                              <a:pos x="246" y="84"/>
                            </a:cxn>
                            <a:cxn ang="0">
                              <a:pos x="230" y="66"/>
                            </a:cxn>
                            <a:cxn ang="0">
                              <a:pos x="228" y="46"/>
                            </a:cxn>
                            <a:cxn ang="0">
                              <a:pos x="208" y="36"/>
                            </a:cxn>
                            <a:cxn ang="0">
                              <a:pos x="282" y="22"/>
                            </a:cxn>
                            <a:cxn ang="0">
                              <a:pos x="338" y="10"/>
                            </a:cxn>
                            <a:cxn ang="0">
                              <a:pos x="374" y="4"/>
                            </a:cxn>
                            <a:cxn ang="0">
                              <a:pos x="382" y="22"/>
                            </a:cxn>
                            <a:cxn ang="0">
                              <a:pos x="406" y="22"/>
                            </a:cxn>
                            <a:cxn ang="0">
                              <a:pos x="422" y="34"/>
                            </a:cxn>
                            <a:cxn ang="0">
                              <a:pos x="444" y="24"/>
                            </a:cxn>
                            <a:cxn ang="0">
                              <a:pos x="462" y="26"/>
                            </a:cxn>
                            <a:cxn ang="0">
                              <a:pos x="568" y="88"/>
                            </a:cxn>
                            <a:cxn ang="0">
                              <a:pos x="592" y="90"/>
                            </a:cxn>
                            <a:cxn ang="0">
                              <a:pos x="640" y="96"/>
                            </a:cxn>
                            <a:cxn ang="0">
                              <a:pos x="664" y="108"/>
                            </a:cxn>
                            <a:cxn ang="0">
                              <a:pos x="690" y="104"/>
                            </a:cxn>
                            <a:cxn ang="0">
                              <a:pos x="726" y="114"/>
                            </a:cxn>
                            <a:cxn ang="0">
                              <a:pos x="722" y="122"/>
                            </a:cxn>
                            <a:cxn ang="0">
                              <a:pos x="696" y="156"/>
                            </a:cxn>
                            <a:cxn ang="0">
                              <a:pos x="674" y="186"/>
                            </a:cxn>
                            <a:cxn ang="0">
                              <a:pos x="640" y="206"/>
                            </a:cxn>
                            <a:cxn ang="0">
                              <a:pos x="664" y="234"/>
                            </a:cxn>
                            <a:cxn ang="0">
                              <a:pos x="658" y="258"/>
                            </a:cxn>
                            <a:cxn ang="0">
                              <a:pos x="634" y="250"/>
                            </a:cxn>
                            <a:cxn ang="0">
                              <a:pos x="544" y="250"/>
                            </a:cxn>
                            <a:cxn ang="0">
                              <a:pos x="512" y="252"/>
                            </a:cxn>
                          </a:cxnLst>
                          <a:rect l="0" t="0" r="r" b="b"/>
                          <a:pathLst>
                            <a:path w="738" h="304">
                              <a:moveTo>
                                <a:pt x="498" y="260"/>
                              </a:moveTo>
                              <a:lnTo>
                                <a:pt x="498" y="260"/>
                              </a:lnTo>
                              <a:lnTo>
                                <a:pt x="492" y="264"/>
                              </a:lnTo>
                              <a:lnTo>
                                <a:pt x="492" y="264"/>
                              </a:lnTo>
                              <a:lnTo>
                                <a:pt x="486" y="270"/>
                              </a:lnTo>
                              <a:lnTo>
                                <a:pt x="484" y="276"/>
                              </a:lnTo>
                              <a:lnTo>
                                <a:pt x="480" y="282"/>
                              </a:lnTo>
                              <a:lnTo>
                                <a:pt x="474" y="288"/>
                              </a:lnTo>
                              <a:lnTo>
                                <a:pt x="474" y="288"/>
                              </a:lnTo>
                              <a:lnTo>
                                <a:pt x="468" y="292"/>
                              </a:lnTo>
                              <a:lnTo>
                                <a:pt x="466" y="296"/>
                              </a:lnTo>
                              <a:lnTo>
                                <a:pt x="466" y="300"/>
                              </a:lnTo>
                              <a:lnTo>
                                <a:pt x="466" y="302"/>
                              </a:lnTo>
                              <a:lnTo>
                                <a:pt x="466" y="304"/>
                              </a:lnTo>
                              <a:lnTo>
                                <a:pt x="462" y="304"/>
                              </a:lnTo>
                              <a:lnTo>
                                <a:pt x="462" y="304"/>
                              </a:lnTo>
                              <a:lnTo>
                                <a:pt x="458" y="304"/>
                              </a:lnTo>
                              <a:lnTo>
                                <a:pt x="456" y="304"/>
                              </a:lnTo>
                              <a:lnTo>
                                <a:pt x="458" y="300"/>
                              </a:lnTo>
                              <a:lnTo>
                                <a:pt x="460" y="298"/>
                              </a:lnTo>
                              <a:lnTo>
                                <a:pt x="456" y="298"/>
                              </a:lnTo>
                              <a:lnTo>
                                <a:pt x="456" y="298"/>
                              </a:lnTo>
                              <a:lnTo>
                                <a:pt x="438" y="300"/>
                              </a:lnTo>
                              <a:lnTo>
                                <a:pt x="430" y="300"/>
                              </a:lnTo>
                              <a:lnTo>
                                <a:pt x="426" y="298"/>
                              </a:lnTo>
                              <a:lnTo>
                                <a:pt x="422" y="296"/>
                              </a:lnTo>
                              <a:lnTo>
                                <a:pt x="420" y="292"/>
                              </a:lnTo>
                              <a:lnTo>
                                <a:pt x="418" y="280"/>
                              </a:lnTo>
                              <a:lnTo>
                                <a:pt x="408" y="282"/>
                              </a:lnTo>
                              <a:lnTo>
                                <a:pt x="398" y="266"/>
                              </a:lnTo>
                              <a:lnTo>
                                <a:pt x="406" y="266"/>
                              </a:lnTo>
                              <a:lnTo>
                                <a:pt x="402" y="248"/>
                              </a:lnTo>
                              <a:lnTo>
                                <a:pt x="394" y="254"/>
                              </a:lnTo>
                              <a:lnTo>
                                <a:pt x="394" y="254"/>
                              </a:lnTo>
                              <a:lnTo>
                                <a:pt x="382" y="240"/>
                              </a:lnTo>
                              <a:lnTo>
                                <a:pt x="378" y="236"/>
                              </a:lnTo>
                              <a:lnTo>
                                <a:pt x="374" y="234"/>
                              </a:lnTo>
                              <a:lnTo>
                                <a:pt x="370" y="234"/>
                              </a:lnTo>
                              <a:lnTo>
                                <a:pt x="364" y="232"/>
                              </a:lnTo>
                              <a:lnTo>
                                <a:pt x="364" y="232"/>
                              </a:lnTo>
                              <a:lnTo>
                                <a:pt x="360" y="228"/>
                              </a:lnTo>
                              <a:lnTo>
                                <a:pt x="360" y="232"/>
                              </a:lnTo>
                              <a:lnTo>
                                <a:pt x="358" y="236"/>
                              </a:lnTo>
                              <a:lnTo>
                                <a:pt x="356" y="238"/>
                              </a:lnTo>
                              <a:lnTo>
                                <a:pt x="354" y="238"/>
                              </a:lnTo>
                              <a:lnTo>
                                <a:pt x="354" y="238"/>
                              </a:lnTo>
                              <a:lnTo>
                                <a:pt x="308" y="236"/>
                              </a:lnTo>
                              <a:lnTo>
                                <a:pt x="308" y="236"/>
                              </a:lnTo>
                              <a:lnTo>
                                <a:pt x="306" y="236"/>
                              </a:lnTo>
                              <a:lnTo>
                                <a:pt x="302" y="234"/>
                              </a:lnTo>
                              <a:lnTo>
                                <a:pt x="298" y="226"/>
                              </a:lnTo>
                              <a:lnTo>
                                <a:pt x="296" y="220"/>
                              </a:lnTo>
                              <a:lnTo>
                                <a:pt x="296" y="216"/>
                              </a:lnTo>
                              <a:lnTo>
                                <a:pt x="298" y="216"/>
                              </a:lnTo>
                              <a:lnTo>
                                <a:pt x="298" y="216"/>
                              </a:lnTo>
                              <a:lnTo>
                                <a:pt x="298" y="214"/>
                              </a:lnTo>
                              <a:lnTo>
                                <a:pt x="298" y="212"/>
                              </a:lnTo>
                              <a:lnTo>
                                <a:pt x="296" y="206"/>
                              </a:lnTo>
                              <a:lnTo>
                                <a:pt x="292" y="198"/>
                              </a:lnTo>
                              <a:lnTo>
                                <a:pt x="290" y="196"/>
                              </a:lnTo>
                              <a:lnTo>
                                <a:pt x="286" y="194"/>
                              </a:lnTo>
                              <a:lnTo>
                                <a:pt x="286" y="194"/>
                              </a:lnTo>
                              <a:lnTo>
                                <a:pt x="288" y="192"/>
                              </a:lnTo>
                              <a:lnTo>
                                <a:pt x="288" y="192"/>
                              </a:lnTo>
                              <a:lnTo>
                                <a:pt x="286" y="190"/>
                              </a:lnTo>
                              <a:lnTo>
                                <a:pt x="286" y="190"/>
                              </a:lnTo>
                              <a:lnTo>
                                <a:pt x="284" y="190"/>
                              </a:lnTo>
                              <a:lnTo>
                                <a:pt x="282" y="188"/>
                              </a:lnTo>
                              <a:lnTo>
                                <a:pt x="282" y="182"/>
                              </a:lnTo>
                              <a:lnTo>
                                <a:pt x="280" y="180"/>
                              </a:lnTo>
                              <a:lnTo>
                                <a:pt x="280" y="178"/>
                              </a:lnTo>
                              <a:lnTo>
                                <a:pt x="276" y="178"/>
                              </a:lnTo>
                              <a:lnTo>
                                <a:pt x="270" y="178"/>
                              </a:lnTo>
                              <a:lnTo>
                                <a:pt x="270" y="178"/>
                              </a:lnTo>
                              <a:lnTo>
                                <a:pt x="264" y="180"/>
                              </a:lnTo>
                              <a:lnTo>
                                <a:pt x="260" y="178"/>
                              </a:lnTo>
                              <a:lnTo>
                                <a:pt x="258" y="178"/>
                              </a:lnTo>
                              <a:lnTo>
                                <a:pt x="258" y="176"/>
                              </a:lnTo>
                              <a:lnTo>
                                <a:pt x="256" y="174"/>
                              </a:lnTo>
                              <a:lnTo>
                                <a:pt x="252" y="176"/>
                              </a:lnTo>
                              <a:lnTo>
                                <a:pt x="252" y="176"/>
                              </a:lnTo>
                              <a:lnTo>
                                <a:pt x="250" y="178"/>
                              </a:lnTo>
                              <a:lnTo>
                                <a:pt x="248" y="178"/>
                              </a:lnTo>
                              <a:lnTo>
                                <a:pt x="246" y="174"/>
                              </a:lnTo>
                              <a:lnTo>
                                <a:pt x="244" y="172"/>
                              </a:lnTo>
                              <a:lnTo>
                                <a:pt x="244" y="180"/>
                              </a:lnTo>
                              <a:lnTo>
                                <a:pt x="244" y="180"/>
                              </a:lnTo>
                              <a:lnTo>
                                <a:pt x="244" y="188"/>
                              </a:lnTo>
                              <a:lnTo>
                                <a:pt x="244" y="192"/>
                              </a:lnTo>
                              <a:lnTo>
                                <a:pt x="240" y="186"/>
                              </a:lnTo>
                              <a:lnTo>
                                <a:pt x="236" y="182"/>
                              </a:lnTo>
                              <a:lnTo>
                                <a:pt x="236" y="182"/>
                              </a:lnTo>
                              <a:lnTo>
                                <a:pt x="234" y="190"/>
                              </a:lnTo>
                              <a:lnTo>
                                <a:pt x="234" y="190"/>
                              </a:lnTo>
                              <a:lnTo>
                                <a:pt x="234" y="192"/>
                              </a:lnTo>
                              <a:lnTo>
                                <a:pt x="230" y="194"/>
                              </a:lnTo>
                              <a:lnTo>
                                <a:pt x="218" y="196"/>
                              </a:lnTo>
                              <a:lnTo>
                                <a:pt x="212" y="200"/>
                              </a:lnTo>
                              <a:lnTo>
                                <a:pt x="206" y="202"/>
                              </a:lnTo>
                              <a:lnTo>
                                <a:pt x="204" y="206"/>
                              </a:lnTo>
                              <a:lnTo>
                                <a:pt x="204" y="212"/>
                              </a:lnTo>
                              <a:lnTo>
                                <a:pt x="204" y="212"/>
                              </a:lnTo>
                              <a:lnTo>
                                <a:pt x="226" y="288"/>
                              </a:lnTo>
                              <a:lnTo>
                                <a:pt x="226" y="288"/>
                              </a:lnTo>
                              <a:lnTo>
                                <a:pt x="210" y="288"/>
                              </a:lnTo>
                              <a:lnTo>
                                <a:pt x="204" y="284"/>
                              </a:lnTo>
                              <a:lnTo>
                                <a:pt x="198" y="278"/>
                              </a:lnTo>
                              <a:lnTo>
                                <a:pt x="198" y="278"/>
                              </a:lnTo>
                              <a:lnTo>
                                <a:pt x="196" y="274"/>
                              </a:lnTo>
                              <a:lnTo>
                                <a:pt x="190" y="270"/>
                              </a:lnTo>
                              <a:lnTo>
                                <a:pt x="184" y="266"/>
                              </a:lnTo>
                              <a:lnTo>
                                <a:pt x="178" y="266"/>
                              </a:lnTo>
                              <a:lnTo>
                                <a:pt x="172" y="266"/>
                              </a:lnTo>
                              <a:lnTo>
                                <a:pt x="164" y="268"/>
                              </a:lnTo>
                              <a:lnTo>
                                <a:pt x="160" y="274"/>
                              </a:lnTo>
                              <a:lnTo>
                                <a:pt x="156" y="282"/>
                              </a:lnTo>
                              <a:lnTo>
                                <a:pt x="156" y="282"/>
                              </a:lnTo>
                              <a:lnTo>
                                <a:pt x="152" y="280"/>
                              </a:lnTo>
                              <a:lnTo>
                                <a:pt x="148" y="278"/>
                              </a:lnTo>
                              <a:lnTo>
                                <a:pt x="146" y="272"/>
                              </a:lnTo>
                              <a:lnTo>
                                <a:pt x="146" y="266"/>
                              </a:lnTo>
                              <a:lnTo>
                                <a:pt x="148" y="264"/>
                              </a:lnTo>
                              <a:lnTo>
                                <a:pt x="148" y="264"/>
                              </a:lnTo>
                              <a:lnTo>
                                <a:pt x="150" y="260"/>
                              </a:lnTo>
                              <a:lnTo>
                                <a:pt x="150" y="256"/>
                              </a:lnTo>
                              <a:lnTo>
                                <a:pt x="150" y="250"/>
                              </a:lnTo>
                              <a:lnTo>
                                <a:pt x="150" y="250"/>
                              </a:lnTo>
                              <a:lnTo>
                                <a:pt x="150" y="246"/>
                              </a:lnTo>
                              <a:lnTo>
                                <a:pt x="148" y="246"/>
                              </a:lnTo>
                              <a:lnTo>
                                <a:pt x="138" y="248"/>
                              </a:lnTo>
                              <a:lnTo>
                                <a:pt x="128" y="248"/>
                              </a:lnTo>
                              <a:lnTo>
                                <a:pt x="126" y="248"/>
                              </a:lnTo>
                              <a:lnTo>
                                <a:pt x="126" y="244"/>
                              </a:lnTo>
                              <a:lnTo>
                                <a:pt x="126" y="244"/>
                              </a:lnTo>
                              <a:lnTo>
                                <a:pt x="128" y="240"/>
                              </a:lnTo>
                              <a:lnTo>
                                <a:pt x="126" y="240"/>
                              </a:lnTo>
                              <a:lnTo>
                                <a:pt x="120" y="238"/>
                              </a:lnTo>
                              <a:lnTo>
                                <a:pt x="114" y="238"/>
                              </a:lnTo>
                              <a:lnTo>
                                <a:pt x="112" y="236"/>
                              </a:lnTo>
                              <a:lnTo>
                                <a:pt x="110" y="232"/>
                              </a:lnTo>
                              <a:lnTo>
                                <a:pt x="110" y="232"/>
                              </a:lnTo>
                              <a:lnTo>
                                <a:pt x="106" y="226"/>
                              </a:lnTo>
                              <a:lnTo>
                                <a:pt x="102" y="224"/>
                              </a:lnTo>
                              <a:lnTo>
                                <a:pt x="98" y="222"/>
                              </a:lnTo>
                              <a:lnTo>
                                <a:pt x="94" y="222"/>
                              </a:lnTo>
                              <a:lnTo>
                                <a:pt x="86" y="222"/>
                              </a:lnTo>
                              <a:lnTo>
                                <a:pt x="82" y="220"/>
                              </a:lnTo>
                              <a:lnTo>
                                <a:pt x="80" y="216"/>
                              </a:lnTo>
                              <a:lnTo>
                                <a:pt x="80" y="216"/>
                              </a:lnTo>
                              <a:lnTo>
                                <a:pt x="80" y="214"/>
                              </a:lnTo>
                              <a:lnTo>
                                <a:pt x="84" y="214"/>
                              </a:lnTo>
                              <a:lnTo>
                                <a:pt x="92" y="212"/>
                              </a:lnTo>
                              <a:lnTo>
                                <a:pt x="102" y="214"/>
                              </a:lnTo>
                              <a:lnTo>
                                <a:pt x="106" y="212"/>
                              </a:lnTo>
                              <a:lnTo>
                                <a:pt x="108" y="212"/>
                              </a:lnTo>
                              <a:lnTo>
                                <a:pt x="108" y="212"/>
                              </a:lnTo>
                              <a:lnTo>
                                <a:pt x="110" y="210"/>
                              </a:lnTo>
                              <a:lnTo>
                                <a:pt x="106" y="210"/>
                              </a:lnTo>
                              <a:lnTo>
                                <a:pt x="102" y="208"/>
                              </a:lnTo>
                              <a:lnTo>
                                <a:pt x="96" y="206"/>
                              </a:lnTo>
                              <a:lnTo>
                                <a:pt x="96" y="206"/>
                              </a:lnTo>
                              <a:lnTo>
                                <a:pt x="96" y="204"/>
                              </a:lnTo>
                              <a:lnTo>
                                <a:pt x="94" y="202"/>
                              </a:lnTo>
                              <a:lnTo>
                                <a:pt x="98" y="196"/>
                              </a:lnTo>
                              <a:lnTo>
                                <a:pt x="102" y="192"/>
                              </a:lnTo>
                              <a:lnTo>
                                <a:pt x="106" y="192"/>
                              </a:lnTo>
                              <a:lnTo>
                                <a:pt x="108" y="192"/>
                              </a:lnTo>
                              <a:lnTo>
                                <a:pt x="108" y="192"/>
                              </a:lnTo>
                              <a:lnTo>
                                <a:pt x="112" y="194"/>
                              </a:lnTo>
                              <a:lnTo>
                                <a:pt x="116" y="192"/>
                              </a:lnTo>
                              <a:lnTo>
                                <a:pt x="120" y="192"/>
                              </a:lnTo>
                              <a:lnTo>
                                <a:pt x="126" y="196"/>
                              </a:lnTo>
                              <a:lnTo>
                                <a:pt x="126" y="196"/>
                              </a:lnTo>
                              <a:lnTo>
                                <a:pt x="130" y="198"/>
                              </a:lnTo>
                              <a:lnTo>
                                <a:pt x="134" y="200"/>
                              </a:lnTo>
                              <a:lnTo>
                                <a:pt x="138" y="198"/>
                              </a:lnTo>
                              <a:lnTo>
                                <a:pt x="136" y="196"/>
                              </a:lnTo>
                              <a:lnTo>
                                <a:pt x="136" y="196"/>
                              </a:lnTo>
                              <a:lnTo>
                                <a:pt x="134" y="194"/>
                              </a:lnTo>
                              <a:lnTo>
                                <a:pt x="134" y="192"/>
                              </a:lnTo>
                              <a:lnTo>
                                <a:pt x="138" y="190"/>
                              </a:lnTo>
                              <a:lnTo>
                                <a:pt x="140" y="188"/>
                              </a:lnTo>
                              <a:lnTo>
                                <a:pt x="140" y="186"/>
                              </a:lnTo>
                              <a:lnTo>
                                <a:pt x="138" y="184"/>
                              </a:lnTo>
                              <a:lnTo>
                                <a:pt x="138" y="184"/>
                              </a:lnTo>
                              <a:lnTo>
                                <a:pt x="136" y="180"/>
                              </a:lnTo>
                              <a:lnTo>
                                <a:pt x="136" y="178"/>
                              </a:lnTo>
                              <a:lnTo>
                                <a:pt x="136" y="174"/>
                              </a:lnTo>
                              <a:lnTo>
                                <a:pt x="132" y="172"/>
                              </a:lnTo>
                              <a:lnTo>
                                <a:pt x="132" y="172"/>
                              </a:lnTo>
                              <a:lnTo>
                                <a:pt x="130" y="172"/>
                              </a:lnTo>
                              <a:lnTo>
                                <a:pt x="130" y="168"/>
                              </a:lnTo>
                              <a:lnTo>
                                <a:pt x="130" y="166"/>
                              </a:lnTo>
                              <a:lnTo>
                                <a:pt x="128" y="162"/>
                              </a:lnTo>
                              <a:lnTo>
                                <a:pt x="128" y="162"/>
                              </a:lnTo>
                              <a:lnTo>
                                <a:pt x="124" y="160"/>
                              </a:lnTo>
                              <a:lnTo>
                                <a:pt x="124" y="154"/>
                              </a:lnTo>
                              <a:lnTo>
                                <a:pt x="122" y="152"/>
                              </a:lnTo>
                              <a:lnTo>
                                <a:pt x="120" y="152"/>
                              </a:lnTo>
                              <a:lnTo>
                                <a:pt x="116" y="150"/>
                              </a:lnTo>
                              <a:lnTo>
                                <a:pt x="110" y="150"/>
                              </a:lnTo>
                              <a:lnTo>
                                <a:pt x="110" y="150"/>
                              </a:lnTo>
                              <a:lnTo>
                                <a:pt x="90" y="154"/>
                              </a:lnTo>
                              <a:lnTo>
                                <a:pt x="88" y="154"/>
                              </a:lnTo>
                              <a:lnTo>
                                <a:pt x="86" y="156"/>
                              </a:lnTo>
                              <a:lnTo>
                                <a:pt x="86" y="156"/>
                              </a:lnTo>
                              <a:lnTo>
                                <a:pt x="82" y="160"/>
                              </a:lnTo>
                              <a:lnTo>
                                <a:pt x="78" y="162"/>
                              </a:lnTo>
                              <a:lnTo>
                                <a:pt x="74" y="162"/>
                              </a:lnTo>
                              <a:lnTo>
                                <a:pt x="68" y="166"/>
                              </a:lnTo>
                              <a:lnTo>
                                <a:pt x="68" y="166"/>
                              </a:lnTo>
                              <a:lnTo>
                                <a:pt x="60" y="170"/>
                              </a:lnTo>
                              <a:lnTo>
                                <a:pt x="58" y="172"/>
                              </a:lnTo>
                              <a:lnTo>
                                <a:pt x="58" y="172"/>
                              </a:lnTo>
                              <a:lnTo>
                                <a:pt x="58" y="170"/>
                              </a:lnTo>
                              <a:lnTo>
                                <a:pt x="54" y="168"/>
                              </a:lnTo>
                              <a:lnTo>
                                <a:pt x="54" y="168"/>
                              </a:lnTo>
                              <a:lnTo>
                                <a:pt x="52" y="166"/>
                              </a:lnTo>
                              <a:lnTo>
                                <a:pt x="52" y="164"/>
                              </a:lnTo>
                              <a:lnTo>
                                <a:pt x="56" y="162"/>
                              </a:lnTo>
                              <a:lnTo>
                                <a:pt x="56" y="160"/>
                              </a:lnTo>
                              <a:lnTo>
                                <a:pt x="56" y="158"/>
                              </a:lnTo>
                              <a:lnTo>
                                <a:pt x="54" y="154"/>
                              </a:lnTo>
                              <a:lnTo>
                                <a:pt x="46" y="150"/>
                              </a:lnTo>
                              <a:lnTo>
                                <a:pt x="46" y="150"/>
                              </a:lnTo>
                              <a:lnTo>
                                <a:pt x="38" y="144"/>
                              </a:lnTo>
                              <a:lnTo>
                                <a:pt x="32" y="144"/>
                              </a:lnTo>
                              <a:lnTo>
                                <a:pt x="30" y="144"/>
                              </a:lnTo>
                              <a:lnTo>
                                <a:pt x="26" y="140"/>
                              </a:lnTo>
                              <a:lnTo>
                                <a:pt x="26" y="140"/>
                              </a:lnTo>
                              <a:lnTo>
                                <a:pt x="24" y="140"/>
                              </a:lnTo>
                              <a:lnTo>
                                <a:pt x="22" y="140"/>
                              </a:lnTo>
                              <a:lnTo>
                                <a:pt x="18" y="142"/>
                              </a:lnTo>
                              <a:lnTo>
                                <a:pt x="16" y="142"/>
                              </a:lnTo>
                              <a:lnTo>
                                <a:pt x="14" y="142"/>
                              </a:lnTo>
                              <a:lnTo>
                                <a:pt x="12" y="140"/>
                              </a:lnTo>
                              <a:lnTo>
                                <a:pt x="10" y="136"/>
                              </a:lnTo>
                              <a:lnTo>
                                <a:pt x="10" y="136"/>
                              </a:lnTo>
                              <a:lnTo>
                                <a:pt x="10" y="132"/>
                              </a:lnTo>
                              <a:lnTo>
                                <a:pt x="8" y="132"/>
                              </a:lnTo>
                              <a:lnTo>
                                <a:pt x="2" y="130"/>
                              </a:lnTo>
                              <a:lnTo>
                                <a:pt x="2" y="128"/>
                              </a:lnTo>
                              <a:lnTo>
                                <a:pt x="0" y="126"/>
                              </a:lnTo>
                              <a:lnTo>
                                <a:pt x="4" y="118"/>
                              </a:lnTo>
                              <a:lnTo>
                                <a:pt x="4" y="118"/>
                              </a:lnTo>
                              <a:lnTo>
                                <a:pt x="8" y="108"/>
                              </a:lnTo>
                              <a:lnTo>
                                <a:pt x="8" y="106"/>
                              </a:lnTo>
                              <a:lnTo>
                                <a:pt x="6" y="102"/>
                              </a:lnTo>
                              <a:lnTo>
                                <a:pt x="6" y="98"/>
                              </a:lnTo>
                              <a:lnTo>
                                <a:pt x="6" y="98"/>
                              </a:lnTo>
                              <a:lnTo>
                                <a:pt x="8" y="92"/>
                              </a:lnTo>
                              <a:lnTo>
                                <a:pt x="10" y="86"/>
                              </a:lnTo>
                              <a:lnTo>
                                <a:pt x="12" y="84"/>
                              </a:lnTo>
                              <a:lnTo>
                                <a:pt x="14" y="88"/>
                              </a:lnTo>
                              <a:lnTo>
                                <a:pt x="14" y="88"/>
                              </a:lnTo>
                              <a:lnTo>
                                <a:pt x="20" y="98"/>
                              </a:lnTo>
                              <a:lnTo>
                                <a:pt x="24" y="102"/>
                              </a:lnTo>
                              <a:lnTo>
                                <a:pt x="30" y="100"/>
                              </a:lnTo>
                              <a:lnTo>
                                <a:pt x="30" y="100"/>
                              </a:lnTo>
                              <a:lnTo>
                                <a:pt x="32" y="98"/>
                              </a:lnTo>
                              <a:lnTo>
                                <a:pt x="32" y="94"/>
                              </a:lnTo>
                              <a:lnTo>
                                <a:pt x="28" y="90"/>
                              </a:lnTo>
                              <a:lnTo>
                                <a:pt x="22" y="84"/>
                              </a:lnTo>
                              <a:lnTo>
                                <a:pt x="22" y="84"/>
                              </a:lnTo>
                              <a:lnTo>
                                <a:pt x="26" y="84"/>
                              </a:lnTo>
                              <a:lnTo>
                                <a:pt x="30" y="86"/>
                              </a:lnTo>
                              <a:lnTo>
                                <a:pt x="32" y="86"/>
                              </a:lnTo>
                              <a:lnTo>
                                <a:pt x="34" y="82"/>
                              </a:lnTo>
                              <a:lnTo>
                                <a:pt x="34" y="82"/>
                              </a:lnTo>
                              <a:lnTo>
                                <a:pt x="38" y="78"/>
                              </a:lnTo>
                              <a:lnTo>
                                <a:pt x="42" y="74"/>
                              </a:lnTo>
                              <a:lnTo>
                                <a:pt x="46" y="70"/>
                              </a:lnTo>
                              <a:lnTo>
                                <a:pt x="46" y="66"/>
                              </a:lnTo>
                              <a:lnTo>
                                <a:pt x="46" y="66"/>
                              </a:lnTo>
                              <a:lnTo>
                                <a:pt x="46" y="62"/>
                              </a:lnTo>
                              <a:lnTo>
                                <a:pt x="50" y="60"/>
                              </a:lnTo>
                              <a:lnTo>
                                <a:pt x="54" y="62"/>
                              </a:lnTo>
                              <a:lnTo>
                                <a:pt x="56" y="64"/>
                              </a:lnTo>
                              <a:lnTo>
                                <a:pt x="56" y="64"/>
                              </a:lnTo>
                              <a:lnTo>
                                <a:pt x="60" y="68"/>
                              </a:lnTo>
                              <a:lnTo>
                                <a:pt x="62" y="68"/>
                              </a:lnTo>
                              <a:lnTo>
                                <a:pt x="68" y="66"/>
                              </a:lnTo>
                              <a:lnTo>
                                <a:pt x="72" y="62"/>
                              </a:lnTo>
                              <a:lnTo>
                                <a:pt x="76" y="62"/>
                              </a:lnTo>
                              <a:lnTo>
                                <a:pt x="78" y="64"/>
                              </a:lnTo>
                              <a:lnTo>
                                <a:pt x="78" y="64"/>
                              </a:lnTo>
                              <a:lnTo>
                                <a:pt x="84" y="66"/>
                              </a:lnTo>
                              <a:lnTo>
                                <a:pt x="86" y="66"/>
                              </a:lnTo>
                              <a:lnTo>
                                <a:pt x="92" y="64"/>
                              </a:lnTo>
                              <a:lnTo>
                                <a:pt x="94" y="64"/>
                              </a:lnTo>
                              <a:lnTo>
                                <a:pt x="98" y="64"/>
                              </a:lnTo>
                              <a:lnTo>
                                <a:pt x="104" y="68"/>
                              </a:lnTo>
                              <a:lnTo>
                                <a:pt x="112" y="74"/>
                              </a:lnTo>
                              <a:lnTo>
                                <a:pt x="112" y="74"/>
                              </a:lnTo>
                              <a:lnTo>
                                <a:pt x="114" y="76"/>
                              </a:lnTo>
                              <a:lnTo>
                                <a:pt x="116" y="76"/>
                              </a:lnTo>
                              <a:lnTo>
                                <a:pt x="118" y="72"/>
                              </a:lnTo>
                              <a:lnTo>
                                <a:pt x="118" y="70"/>
                              </a:lnTo>
                              <a:lnTo>
                                <a:pt x="120" y="70"/>
                              </a:lnTo>
                              <a:lnTo>
                                <a:pt x="126" y="72"/>
                              </a:lnTo>
                              <a:lnTo>
                                <a:pt x="134" y="76"/>
                              </a:lnTo>
                              <a:lnTo>
                                <a:pt x="134" y="76"/>
                              </a:lnTo>
                              <a:lnTo>
                                <a:pt x="142" y="80"/>
                              </a:lnTo>
                              <a:lnTo>
                                <a:pt x="146" y="82"/>
                              </a:lnTo>
                              <a:lnTo>
                                <a:pt x="148" y="78"/>
                              </a:lnTo>
                              <a:lnTo>
                                <a:pt x="148" y="74"/>
                              </a:lnTo>
                              <a:lnTo>
                                <a:pt x="148" y="74"/>
                              </a:lnTo>
                              <a:lnTo>
                                <a:pt x="150" y="72"/>
                              </a:lnTo>
                              <a:lnTo>
                                <a:pt x="152" y="74"/>
                              </a:lnTo>
                              <a:lnTo>
                                <a:pt x="156" y="74"/>
                              </a:lnTo>
                              <a:lnTo>
                                <a:pt x="162" y="74"/>
                              </a:lnTo>
                              <a:lnTo>
                                <a:pt x="162" y="74"/>
                              </a:lnTo>
                              <a:lnTo>
                                <a:pt x="168" y="72"/>
                              </a:lnTo>
                              <a:lnTo>
                                <a:pt x="170" y="76"/>
                              </a:lnTo>
                              <a:lnTo>
                                <a:pt x="172" y="78"/>
                              </a:lnTo>
                              <a:lnTo>
                                <a:pt x="178" y="76"/>
                              </a:lnTo>
                              <a:lnTo>
                                <a:pt x="178" y="76"/>
                              </a:lnTo>
                              <a:lnTo>
                                <a:pt x="194" y="72"/>
                              </a:lnTo>
                              <a:lnTo>
                                <a:pt x="200" y="70"/>
                              </a:lnTo>
                              <a:lnTo>
                                <a:pt x="202" y="72"/>
                              </a:lnTo>
                              <a:lnTo>
                                <a:pt x="202" y="74"/>
                              </a:lnTo>
                              <a:lnTo>
                                <a:pt x="202" y="74"/>
                              </a:lnTo>
                              <a:lnTo>
                                <a:pt x="198" y="78"/>
                              </a:lnTo>
                              <a:lnTo>
                                <a:pt x="198" y="82"/>
                              </a:lnTo>
                              <a:lnTo>
                                <a:pt x="200" y="84"/>
                              </a:lnTo>
                              <a:lnTo>
                                <a:pt x="204" y="84"/>
                              </a:lnTo>
                              <a:lnTo>
                                <a:pt x="210" y="82"/>
                              </a:lnTo>
                              <a:lnTo>
                                <a:pt x="214" y="80"/>
                              </a:lnTo>
                              <a:lnTo>
                                <a:pt x="216" y="76"/>
                              </a:lnTo>
                              <a:lnTo>
                                <a:pt x="216" y="76"/>
                              </a:lnTo>
                              <a:lnTo>
                                <a:pt x="230" y="82"/>
                              </a:lnTo>
                              <a:lnTo>
                                <a:pt x="240" y="84"/>
                              </a:lnTo>
                              <a:lnTo>
                                <a:pt x="246" y="84"/>
                              </a:lnTo>
                              <a:lnTo>
                                <a:pt x="250" y="82"/>
                              </a:lnTo>
                              <a:lnTo>
                                <a:pt x="252" y="80"/>
                              </a:lnTo>
                              <a:lnTo>
                                <a:pt x="252" y="74"/>
                              </a:lnTo>
                              <a:lnTo>
                                <a:pt x="252" y="74"/>
                              </a:lnTo>
                              <a:lnTo>
                                <a:pt x="252" y="70"/>
                              </a:lnTo>
                              <a:lnTo>
                                <a:pt x="250" y="68"/>
                              </a:lnTo>
                              <a:lnTo>
                                <a:pt x="246" y="66"/>
                              </a:lnTo>
                              <a:lnTo>
                                <a:pt x="242" y="66"/>
                              </a:lnTo>
                              <a:lnTo>
                                <a:pt x="230" y="66"/>
                              </a:lnTo>
                              <a:lnTo>
                                <a:pt x="214" y="62"/>
                              </a:lnTo>
                              <a:lnTo>
                                <a:pt x="214" y="62"/>
                              </a:lnTo>
                              <a:lnTo>
                                <a:pt x="208" y="60"/>
                              </a:lnTo>
                              <a:lnTo>
                                <a:pt x="208" y="60"/>
                              </a:lnTo>
                              <a:lnTo>
                                <a:pt x="208" y="58"/>
                              </a:lnTo>
                              <a:lnTo>
                                <a:pt x="218" y="52"/>
                              </a:lnTo>
                              <a:lnTo>
                                <a:pt x="228" y="48"/>
                              </a:lnTo>
                              <a:lnTo>
                                <a:pt x="228" y="48"/>
                              </a:lnTo>
                              <a:lnTo>
                                <a:pt x="228" y="46"/>
                              </a:lnTo>
                              <a:lnTo>
                                <a:pt x="222" y="46"/>
                              </a:lnTo>
                              <a:lnTo>
                                <a:pt x="222" y="46"/>
                              </a:lnTo>
                              <a:lnTo>
                                <a:pt x="214" y="44"/>
                              </a:lnTo>
                              <a:lnTo>
                                <a:pt x="214" y="42"/>
                              </a:lnTo>
                              <a:lnTo>
                                <a:pt x="214" y="42"/>
                              </a:lnTo>
                              <a:lnTo>
                                <a:pt x="216" y="40"/>
                              </a:lnTo>
                              <a:lnTo>
                                <a:pt x="212" y="38"/>
                              </a:lnTo>
                              <a:lnTo>
                                <a:pt x="212" y="38"/>
                              </a:lnTo>
                              <a:lnTo>
                                <a:pt x="208" y="36"/>
                              </a:lnTo>
                              <a:lnTo>
                                <a:pt x="208" y="34"/>
                              </a:lnTo>
                              <a:lnTo>
                                <a:pt x="214" y="28"/>
                              </a:lnTo>
                              <a:lnTo>
                                <a:pt x="214" y="28"/>
                              </a:lnTo>
                              <a:lnTo>
                                <a:pt x="218" y="26"/>
                              </a:lnTo>
                              <a:lnTo>
                                <a:pt x="226" y="24"/>
                              </a:lnTo>
                              <a:lnTo>
                                <a:pt x="246" y="22"/>
                              </a:lnTo>
                              <a:lnTo>
                                <a:pt x="246" y="22"/>
                              </a:lnTo>
                              <a:lnTo>
                                <a:pt x="266" y="22"/>
                              </a:lnTo>
                              <a:lnTo>
                                <a:pt x="282" y="22"/>
                              </a:lnTo>
                              <a:lnTo>
                                <a:pt x="288" y="20"/>
                              </a:lnTo>
                              <a:lnTo>
                                <a:pt x="290" y="18"/>
                              </a:lnTo>
                              <a:lnTo>
                                <a:pt x="290" y="18"/>
                              </a:lnTo>
                              <a:lnTo>
                                <a:pt x="294" y="16"/>
                              </a:lnTo>
                              <a:lnTo>
                                <a:pt x="302" y="16"/>
                              </a:lnTo>
                              <a:lnTo>
                                <a:pt x="328" y="14"/>
                              </a:lnTo>
                              <a:lnTo>
                                <a:pt x="328" y="14"/>
                              </a:lnTo>
                              <a:lnTo>
                                <a:pt x="334" y="12"/>
                              </a:lnTo>
                              <a:lnTo>
                                <a:pt x="338" y="10"/>
                              </a:lnTo>
                              <a:lnTo>
                                <a:pt x="342" y="6"/>
                              </a:lnTo>
                              <a:lnTo>
                                <a:pt x="348" y="2"/>
                              </a:lnTo>
                              <a:lnTo>
                                <a:pt x="350" y="2"/>
                              </a:lnTo>
                              <a:lnTo>
                                <a:pt x="356" y="2"/>
                              </a:lnTo>
                              <a:lnTo>
                                <a:pt x="356" y="2"/>
                              </a:lnTo>
                              <a:lnTo>
                                <a:pt x="364" y="2"/>
                              </a:lnTo>
                              <a:lnTo>
                                <a:pt x="370" y="0"/>
                              </a:lnTo>
                              <a:lnTo>
                                <a:pt x="374" y="0"/>
                              </a:lnTo>
                              <a:lnTo>
                                <a:pt x="374" y="4"/>
                              </a:lnTo>
                              <a:lnTo>
                                <a:pt x="374" y="4"/>
                              </a:lnTo>
                              <a:lnTo>
                                <a:pt x="376" y="10"/>
                              </a:lnTo>
                              <a:lnTo>
                                <a:pt x="378" y="12"/>
                              </a:lnTo>
                              <a:lnTo>
                                <a:pt x="380" y="12"/>
                              </a:lnTo>
                              <a:lnTo>
                                <a:pt x="378" y="16"/>
                              </a:lnTo>
                              <a:lnTo>
                                <a:pt x="378" y="16"/>
                              </a:lnTo>
                              <a:lnTo>
                                <a:pt x="378" y="16"/>
                              </a:lnTo>
                              <a:lnTo>
                                <a:pt x="378" y="18"/>
                              </a:lnTo>
                              <a:lnTo>
                                <a:pt x="382" y="22"/>
                              </a:lnTo>
                              <a:lnTo>
                                <a:pt x="388" y="22"/>
                              </a:lnTo>
                              <a:lnTo>
                                <a:pt x="392" y="22"/>
                              </a:lnTo>
                              <a:lnTo>
                                <a:pt x="392" y="22"/>
                              </a:lnTo>
                              <a:lnTo>
                                <a:pt x="394" y="20"/>
                              </a:lnTo>
                              <a:lnTo>
                                <a:pt x="396" y="20"/>
                              </a:lnTo>
                              <a:lnTo>
                                <a:pt x="398" y="22"/>
                              </a:lnTo>
                              <a:lnTo>
                                <a:pt x="402" y="24"/>
                              </a:lnTo>
                              <a:lnTo>
                                <a:pt x="404" y="24"/>
                              </a:lnTo>
                              <a:lnTo>
                                <a:pt x="406" y="22"/>
                              </a:lnTo>
                              <a:lnTo>
                                <a:pt x="406" y="22"/>
                              </a:lnTo>
                              <a:lnTo>
                                <a:pt x="408" y="20"/>
                              </a:lnTo>
                              <a:lnTo>
                                <a:pt x="412" y="22"/>
                              </a:lnTo>
                              <a:lnTo>
                                <a:pt x="416" y="22"/>
                              </a:lnTo>
                              <a:lnTo>
                                <a:pt x="422" y="22"/>
                              </a:lnTo>
                              <a:lnTo>
                                <a:pt x="422" y="22"/>
                              </a:lnTo>
                              <a:lnTo>
                                <a:pt x="420" y="32"/>
                              </a:lnTo>
                              <a:lnTo>
                                <a:pt x="422" y="34"/>
                              </a:lnTo>
                              <a:lnTo>
                                <a:pt x="422" y="34"/>
                              </a:lnTo>
                              <a:lnTo>
                                <a:pt x="428" y="32"/>
                              </a:lnTo>
                              <a:lnTo>
                                <a:pt x="432" y="32"/>
                              </a:lnTo>
                              <a:lnTo>
                                <a:pt x="438" y="32"/>
                              </a:lnTo>
                              <a:lnTo>
                                <a:pt x="438" y="32"/>
                              </a:lnTo>
                              <a:lnTo>
                                <a:pt x="444" y="32"/>
                              </a:lnTo>
                              <a:lnTo>
                                <a:pt x="444" y="30"/>
                              </a:lnTo>
                              <a:lnTo>
                                <a:pt x="442" y="26"/>
                              </a:lnTo>
                              <a:lnTo>
                                <a:pt x="442" y="26"/>
                              </a:lnTo>
                              <a:lnTo>
                                <a:pt x="444" y="24"/>
                              </a:lnTo>
                              <a:lnTo>
                                <a:pt x="444" y="24"/>
                              </a:lnTo>
                              <a:lnTo>
                                <a:pt x="450" y="24"/>
                              </a:lnTo>
                              <a:lnTo>
                                <a:pt x="452" y="22"/>
                              </a:lnTo>
                              <a:lnTo>
                                <a:pt x="456" y="20"/>
                              </a:lnTo>
                              <a:lnTo>
                                <a:pt x="460" y="20"/>
                              </a:lnTo>
                              <a:lnTo>
                                <a:pt x="460" y="20"/>
                              </a:lnTo>
                              <a:lnTo>
                                <a:pt x="470" y="20"/>
                              </a:lnTo>
                              <a:lnTo>
                                <a:pt x="470" y="22"/>
                              </a:lnTo>
                              <a:lnTo>
                                <a:pt x="462" y="26"/>
                              </a:lnTo>
                              <a:lnTo>
                                <a:pt x="462" y="26"/>
                              </a:lnTo>
                              <a:lnTo>
                                <a:pt x="486" y="34"/>
                              </a:lnTo>
                              <a:lnTo>
                                <a:pt x="506" y="42"/>
                              </a:lnTo>
                              <a:lnTo>
                                <a:pt x="520" y="50"/>
                              </a:lnTo>
                              <a:lnTo>
                                <a:pt x="532" y="56"/>
                              </a:lnTo>
                              <a:lnTo>
                                <a:pt x="548" y="72"/>
                              </a:lnTo>
                              <a:lnTo>
                                <a:pt x="562" y="84"/>
                              </a:lnTo>
                              <a:lnTo>
                                <a:pt x="562" y="84"/>
                              </a:lnTo>
                              <a:lnTo>
                                <a:pt x="568" y="88"/>
                              </a:lnTo>
                              <a:lnTo>
                                <a:pt x="572" y="88"/>
                              </a:lnTo>
                              <a:lnTo>
                                <a:pt x="574" y="86"/>
                              </a:lnTo>
                              <a:lnTo>
                                <a:pt x="576" y="82"/>
                              </a:lnTo>
                              <a:lnTo>
                                <a:pt x="578" y="78"/>
                              </a:lnTo>
                              <a:lnTo>
                                <a:pt x="580" y="78"/>
                              </a:lnTo>
                              <a:lnTo>
                                <a:pt x="584" y="84"/>
                              </a:lnTo>
                              <a:lnTo>
                                <a:pt x="584" y="84"/>
                              </a:lnTo>
                              <a:lnTo>
                                <a:pt x="588" y="88"/>
                              </a:lnTo>
                              <a:lnTo>
                                <a:pt x="592" y="90"/>
                              </a:lnTo>
                              <a:lnTo>
                                <a:pt x="598" y="88"/>
                              </a:lnTo>
                              <a:lnTo>
                                <a:pt x="606" y="88"/>
                              </a:lnTo>
                              <a:lnTo>
                                <a:pt x="618" y="84"/>
                              </a:lnTo>
                              <a:lnTo>
                                <a:pt x="624" y="84"/>
                              </a:lnTo>
                              <a:lnTo>
                                <a:pt x="628" y="88"/>
                              </a:lnTo>
                              <a:lnTo>
                                <a:pt x="628" y="88"/>
                              </a:lnTo>
                              <a:lnTo>
                                <a:pt x="632" y="94"/>
                              </a:lnTo>
                              <a:lnTo>
                                <a:pt x="636" y="94"/>
                              </a:lnTo>
                              <a:lnTo>
                                <a:pt x="640" y="96"/>
                              </a:lnTo>
                              <a:lnTo>
                                <a:pt x="646" y="102"/>
                              </a:lnTo>
                              <a:lnTo>
                                <a:pt x="646" y="102"/>
                              </a:lnTo>
                              <a:lnTo>
                                <a:pt x="648" y="104"/>
                              </a:lnTo>
                              <a:lnTo>
                                <a:pt x="650" y="106"/>
                              </a:lnTo>
                              <a:lnTo>
                                <a:pt x="654" y="104"/>
                              </a:lnTo>
                              <a:lnTo>
                                <a:pt x="658" y="104"/>
                              </a:lnTo>
                              <a:lnTo>
                                <a:pt x="660" y="104"/>
                              </a:lnTo>
                              <a:lnTo>
                                <a:pt x="664" y="108"/>
                              </a:lnTo>
                              <a:lnTo>
                                <a:pt x="664" y="108"/>
                              </a:lnTo>
                              <a:lnTo>
                                <a:pt x="668" y="110"/>
                              </a:lnTo>
                              <a:lnTo>
                                <a:pt x="672" y="110"/>
                              </a:lnTo>
                              <a:lnTo>
                                <a:pt x="676" y="110"/>
                              </a:lnTo>
                              <a:lnTo>
                                <a:pt x="678" y="108"/>
                              </a:lnTo>
                              <a:lnTo>
                                <a:pt x="678" y="108"/>
                              </a:lnTo>
                              <a:lnTo>
                                <a:pt x="680" y="106"/>
                              </a:lnTo>
                              <a:lnTo>
                                <a:pt x="682" y="104"/>
                              </a:lnTo>
                              <a:lnTo>
                                <a:pt x="690" y="104"/>
                              </a:lnTo>
                              <a:lnTo>
                                <a:pt x="690" y="104"/>
                              </a:lnTo>
                              <a:lnTo>
                                <a:pt x="694" y="104"/>
                              </a:lnTo>
                              <a:lnTo>
                                <a:pt x="696" y="104"/>
                              </a:lnTo>
                              <a:lnTo>
                                <a:pt x="700" y="102"/>
                              </a:lnTo>
                              <a:lnTo>
                                <a:pt x="708" y="102"/>
                              </a:lnTo>
                              <a:lnTo>
                                <a:pt x="708" y="102"/>
                              </a:lnTo>
                              <a:lnTo>
                                <a:pt x="714" y="104"/>
                              </a:lnTo>
                              <a:lnTo>
                                <a:pt x="718" y="108"/>
                              </a:lnTo>
                              <a:lnTo>
                                <a:pt x="722" y="112"/>
                              </a:lnTo>
                              <a:lnTo>
                                <a:pt x="726" y="114"/>
                              </a:lnTo>
                              <a:lnTo>
                                <a:pt x="726" y="114"/>
                              </a:lnTo>
                              <a:lnTo>
                                <a:pt x="728" y="114"/>
                              </a:lnTo>
                              <a:lnTo>
                                <a:pt x="728" y="116"/>
                              </a:lnTo>
                              <a:lnTo>
                                <a:pt x="730" y="118"/>
                              </a:lnTo>
                              <a:lnTo>
                                <a:pt x="738" y="118"/>
                              </a:lnTo>
                              <a:lnTo>
                                <a:pt x="738" y="118"/>
                              </a:lnTo>
                              <a:lnTo>
                                <a:pt x="736" y="120"/>
                              </a:lnTo>
                              <a:lnTo>
                                <a:pt x="734" y="122"/>
                              </a:lnTo>
                              <a:lnTo>
                                <a:pt x="722" y="122"/>
                              </a:lnTo>
                              <a:lnTo>
                                <a:pt x="718" y="122"/>
                              </a:lnTo>
                              <a:lnTo>
                                <a:pt x="714" y="126"/>
                              </a:lnTo>
                              <a:lnTo>
                                <a:pt x="714" y="134"/>
                              </a:lnTo>
                              <a:lnTo>
                                <a:pt x="716" y="146"/>
                              </a:lnTo>
                              <a:lnTo>
                                <a:pt x="716" y="146"/>
                              </a:lnTo>
                              <a:lnTo>
                                <a:pt x="716" y="148"/>
                              </a:lnTo>
                              <a:lnTo>
                                <a:pt x="714" y="150"/>
                              </a:lnTo>
                              <a:lnTo>
                                <a:pt x="706" y="154"/>
                              </a:lnTo>
                              <a:lnTo>
                                <a:pt x="696" y="156"/>
                              </a:lnTo>
                              <a:lnTo>
                                <a:pt x="686" y="154"/>
                              </a:lnTo>
                              <a:lnTo>
                                <a:pt x="686" y="154"/>
                              </a:lnTo>
                              <a:lnTo>
                                <a:pt x="680" y="152"/>
                              </a:lnTo>
                              <a:lnTo>
                                <a:pt x="676" y="152"/>
                              </a:lnTo>
                              <a:lnTo>
                                <a:pt x="672" y="154"/>
                              </a:lnTo>
                              <a:lnTo>
                                <a:pt x="672" y="158"/>
                              </a:lnTo>
                              <a:lnTo>
                                <a:pt x="672" y="168"/>
                              </a:lnTo>
                              <a:lnTo>
                                <a:pt x="674" y="186"/>
                              </a:lnTo>
                              <a:lnTo>
                                <a:pt x="674" y="186"/>
                              </a:lnTo>
                              <a:lnTo>
                                <a:pt x="674" y="190"/>
                              </a:lnTo>
                              <a:lnTo>
                                <a:pt x="674" y="192"/>
                              </a:lnTo>
                              <a:lnTo>
                                <a:pt x="666" y="192"/>
                              </a:lnTo>
                              <a:lnTo>
                                <a:pt x="656" y="192"/>
                              </a:lnTo>
                              <a:lnTo>
                                <a:pt x="648" y="194"/>
                              </a:lnTo>
                              <a:lnTo>
                                <a:pt x="648" y="194"/>
                              </a:lnTo>
                              <a:lnTo>
                                <a:pt x="642" y="198"/>
                              </a:lnTo>
                              <a:lnTo>
                                <a:pt x="640" y="202"/>
                              </a:lnTo>
                              <a:lnTo>
                                <a:pt x="640" y="206"/>
                              </a:lnTo>
                              <a:lnTo>
                                <a:pt x="642" y="206"/>
                              </a:lnTo>
                              <a:lnTo>
                                <a:pt x="642" y="206"/>
                              </a:lnTo>
                              <a:lnTo>
                                <a:pt x="644" y="206"/>
                              </a:lnTo>
                              <a:lnTo>
                                <a:pt x="648" y="208"/>
                              </a:lnTo>
                              <a:lnTo>
                                <a:pt x="656" y="218"/>
                              </a:lnTo>
                              <a:lnTo>
                                <a:pt x="664" y="226"/>
                              </a:lnTo>
                              <a:lnTo>
                                <a:pt x="666" y="232"/>
                              </a:lnTo>
                              <a:lnTo>
                                <a:pt x="664" y="234"/>
                              </a:lnTo>
                              <a:lnTo>
                                <a:pt x="664" y="234"/>
                              </a:lnTo>
                              <a:lnTo>
                                <a:pt x="662" y="238"/>
                              </a:lnTo>
                              <a:lnTo>
                                <a:pt x="662" y="242"/>
                              </a:lnTo>
                              <a:lnTo>
                                <a:pt x="666" y="246"/>
                              </a:lnTo>
                              <a:lnTo>
                                <a:pt x="668" y="252"/>
                              </a:lnTo>
                              <a:lnTo>
                                <a:pt x="668" y="254"/>
                              </a:lnTo>
                              <a:lnTo>
                                <a:pt x="664" y="256"/>
                              </a:lnTo>
                              <a:lnTo>
                                <a:pt x="664" y="256"/>
                              </a:lnTo>
                              <a:lnTo>
                                <a:pt x="660" y="260"/>
                              </a:lnTo>
                              <a:lnTo>
                                <a:pt x="658" y="258"/>
                              </a:lnTo>
                              <a:lnTo>
                                <a:pt x="656" y="254"/>
                              </a:lnTo>
                              <a:lnTo>
                                <a:pt x="654" y="254"/>
                              </a:lnTo>
                              <a:lnTo>
                                <a:pt x="650" y="254"/>
                              </a:lnTo>
                              <a:lnTo>
                                <a:pt x="650" y="254"/>
                              </a:lnTo>
                              <a:lnTo>
                                <a:pt x="642" y="254"/>
                              </a:lnTo>
                              <a:lnTo>
                                <a:pt x="638" y="252"/>
                              </a:lnTo>
                              <a:lnTo>
                                <a:pt x="638" y="250"/>
                              </a:lnTo>
                              <a:lnTo>
                                <a:pt x="634" y="250"/>
                              </a:lnTo>
                              <a:lnTo>
                                <a:pt x="634" y="250"/>
                              </a:lnTo>
                              <a:lnTo>
                                <a:pt x="624" y="250"/>
                              </a:lnTo>
                              <a:lnTo>
                                <a:pt x="608" y="250"/>
                              </a:lnTo>
                              <a:lnTo>
                                <a:pt x="576" y="250"/>
                              </a:lnTo>
                              <a:lnTo>
                                <a:pt x="576" y="250"/>
                              </a:lnTo>
                              <a:lnTo>
                                <a:pt x="564" y="248"/>
                              </a:lnTo>
                              <a:lnTo>
                                <a:pt x="554" y="244"/>
                              </a:lnTo>
                              <a:lnTo>
                                <a:pt x="546" y="244"/>
                              </a:lnTo>
                              <a:lnTo>
                                <a:pt x="544" y="246"/>
                              </a:lnTo>
                              <a:lnTo>
                                <a:pt x="544" y="250"/>
                              </a:lnTo>
                              <a:lnTo>
                                <a:pt x="544" y="250"/>
                              </a:lnTo>
                              <a:lnTo>
                                <a:pt x="542" y="254"/>
                              </a:lnTo>
                              <a:lnTo>
                                <a:pt x="542" y="254"/>
                              </a:lnTo>
                              <a:lnTo>
                                <a:pt x="536" y="254"/>
                              </a:lnTo>
                              <a:lnTo>
                                <a:pt x="528" y="252"/>
                              </a:lnTo>
                              <a:lnTo>
                                <a:pt x="524" y="250"/>
                              </a:lnTo>
                              <a:lnTo>
                                <a:pt x="520" y="252"/>
                              </a:lnTo>
                              <a:lnTo>
                                <a:pt x="520" y="252"/>
                              </a:lnTo>
                              <a:lnTo>
                                <a:pt x="512" y="252"/>
                              </a:lnTo>
                              <a:lnTo>
                                <a:pt x="510" y="252"/>
                              </a:lnTo>
                              <a:lnTo>
                                <a:pt x="506" y="252"/>
                              </a:lnTo>
                              <a:lnTo>
                                <a:pt x="498" y="260"/>
                              </a:lnTo>
                              <a:lnTo>
                                <a:pt x="498" y="260"/>
                              </a:lnTo>
                              <a:close/>
                            </a:path>
                          </a:pathLst>
                        </a:custGeom>
                        <a:solidFill>
                          <a:schemeClr val="accent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7" name="Latvia"/>
                        <p:cNvSpPr>
                          <a:spLocks/>
                        </p:cNvSpPr>
                        <p:nvPr/>
                      </p:nvSpPr>
                      <p:spPr bwMode="auto">
                        <a:xfrm>
                          <a:off x="6335648" y="1650436"/>
                          <a:ext cx="173146" cy="63732"/>
                        </a:xfrm>
                        <a:custGeom>
                          <a:avLst/>
                          <a:gdLst/>
                          <a:ahLst/>
                          <a:cxnLst>
                            <a:cxn ang="0">
                              <a:pos x="2" y="42"/>
                            </a:cxn>
                            <a:cxn ang="0">
                              <a:pos x="0" y="32"/>
                            </a:cxn>
                            <a:cxn ang="0">
                              <a:pos x="2" y="28"/>
                            </a:cxn>
                            <a:cxn ang="0">
                              <a:pos x="4" y="22"/>
                            </a:cxn>
                            <a:cxn ang="0">
                              <a:pos x="6" y="16"/>
                            </a:cxn>
                            <a:cxn ang="0">
                              <a:pos x="10" y="12"/>
                            </a:cxn>
                            <a:cxn ang="0">
                              <a:pos x="16" y="8"/>
                            </a:cxn>
                            <a:cxn ang="0">
                              <a:pos x="22" y="6"/>
                            </a:cxn>
                            <a:cxn ang="0">
                              <a:pos x="24" y="8"/>
                            </a:cxn>
                            <a:cxn ang="0">
                              <a:pos x="28" y="12"/>
                            </a:cxn>
                            <a:cxn ang="0">
                              <a:pos x="32" y="12"/>
                            </a:cxn>
                            <a:cxn ang="0">
                              <a:pos x="34" y="16"/>
                            </a:cxn>
                            <a:cxn ang="0">
                              <a:pos x="38" y="20"/>
                            </a:cxn>
                            <a:cxn ang="0">
                              <a:pos x="42" y="22"/>
                            </a:cxn>
                            <a:cxn ang="0">
                              <a:pos x="46" y="22"/>
                            </a:cxn>
                            <a:cxn ang="0">
                              <a:pos x="50" y="22"/>
                            </a:cxn>
                            <a:cxn ang="0">
                              <a:pos x="54" y="16"/>
                            </a:cxn>
                            <a:cxn ang="0">
                              <a:pos x="54" y="14"/>
                            </a:cxn>
                            <a:cxn ang="0">
                              <a:pos x="52" y="6"/>
                            </a:cxn>
                            <a:cxn ang="0">
                              <a:pos x="58" y="0"/>
                            </a:cxn>
                            <a:cxn ang="0">
                              <a:pos x="66" y="0"/>
                            </a:cxn>
                            <a:cxn ang="0">
                              <a:pos x="76" y="0"/>
                            </a:cxn>
                            <a:cxn ang="0">
                              <a:pos x="78" y="2"/>
                            </a:cxn>
                            <a:cxn ang="0">
                              <a:pos x="78" y="4"/>
                            </a:cxn>
                            <a:cxn ang="0">
                              <a:pos x="84" y="4"/>
                            </a:cxn>
                            <a:cxn ang="0">
                              <a:pos x="94" y="6"/>
                            </a:cxn>
                            <a:cxn ang="0">
                              <a:pos x="106" y="2"/>
                            </a:cxn>
                            <a:cxn ang="0">
                              <a:pos x="104" y="6"/>
                            </a:cxn>
                            <a:cxn ang="0">
                              <a:pos x="108" y="6"/>
                            </a:cxn>
                            <a:cxn ang="0">
                              <a:pos x="108" y="10"/>
                            </a:cxn>
                            <a:cxn ang="0">
                              <a:pos x="108" y="14"/>
                            </a:cxn>
                            <a:cxn ang="0">
                              <a:pos x="112" y="22"/>
                            </a:cxn>
                            <a:cxn ang="0">
                              <a:pos x="110" y="24"/>
                            </a:cxn>
                            <a:cxn ang="0">
                              <a:pos x="112" y="30"/>
                            </a:cxn>
                            <a:cxn ang="0">
                              <a:pos x="112" y="34"/>
                            </a:cxn>
                            <a:cxn ang="0">
                              <a:pos x="108" y="34"/>
                            </a:cxn>
                            <a:cxn ang="0">
                              <a:pos x="100" y="38"/>
                            </a:cxn>
                            <a:cxn ang="0">
                              <a:pos x="96" y="42"/>
                            </a:cxn>
                            <a:cxn ang="0">
                              <a:pos x="74" y="38"/>
                            </a:cxn>
                            <a:cxn ang="0">
                              <a:pos x="62" y="32"/>
                            </a:cxn>
                            <a:cxn ang="0">
                              <a:pos x="58" y="34"/>
                            </a:cxn>
                            <a:cxn ang="0">
                              <a:pos x="50" y="34"/>
                            </a:cxn>
                            <a:cxn ang="0">
                              <a:pos x="40" y="30"/>
                            </a:cxn>
                            <a:cxn ang="0">
                              <a:pos x="32" y="30"/>
                            </a:cxn>
                            <a:cxn ang="0">
                              <a:pos x="18" y="30"/>
                            </a:cxn>
                            <a:cxn ang="0">
                              <a:pos x="8" y="36"/>
                            </a:cxn>
                            <a:cxn ang="0">
                              <a:pos x="2" y="42"/>
                            </a:cxn>
                          </a:cxnLst>
                          <a:rect l="0" t="0" r="r" b="b"/>
                          <a:pathLst>
                            <a:path w="114" h="42">
                              <a:moveTo>
                                <a:pt x="2" y="42"/>
                              </a:moveTo>
                              <a:lnTo>
                                <a:pt x="2" y="42"/>
                              </a:lnTo>
                              <a:lnTo>
                                <a:pt x="0" y="34"/>
                              </a:lnTo>
                              <a:lnTo>
                                <a:pt x="0" y="32"/>
                              </a:lnTo>
                              <a:lnTo>
                                <a:pt x="2" y="28"/>
                              </a:lnTo>
                              <a:lnTo>
                                <a:pt x="2" y="28"/>
                              </a:lnTo>
                              <a:lnTo>
                                <a:pt x="4" y="26"/>
                              </a:lnTo>
                              <a:lnTo>
                                <a:pt x="4" y="22"/>
                              </a:lnTo>
                              <a:lnTo>
                                <a:pt x="4" y="20"/>
                              </a:lnTo>
                              <a:lnTo>
                                <a:pt x="6" y="16"/>
                              </a:lnTo>
                              <a:lnTo>
                                <a:pt x="6" y="16"/>
                              </a:lnTo>
                              <a:lnTo>
                                <a:pt x="10" y="12"/>
                              </a:lnTo>
                              <a:lnTo>
                                <a:pt x="16" y="8"/>
                              </a:lnTo>
                              <a:lnTo>
                                <a:pt x="16" y="8"/>
                              </a:lnTo>
                              <a:lnTo>
                                <a:pt x="20" y="6"/>
                              </a:lnTo>
                              <a:lnTo>
                                <a:pt x="22" y="6"/>
                              </a:lnTo>
                              <a:lnTo>
                                <a:pt x="24" y="8"/>
                              </a:lnTo>
                              <a:lnTo>
                                <a:pt x="24" y="8"/>
                              </a:lnTo>
                              <a:lnTo>
                                <a:pt x="26" y="10"/>
                              </a:lnTo>
                              <a:lnTo>
                                <a:pt x="28" y="12"/>
                              </a:lnTo>
                              <a:lnTo>
                                <a:pt x="32" y="12"/>
                              </a:lnTo>
                              <a:lnTo>
                                <a:pt x="32" y="12"/>
                              </a:lnTo>
                              <a:lnTo>
                                <a:pt x="34" y="14"/>
                              </a:lnTo>
                              <a:lnTo>
                                <a:pt x="34" y="16"/>
                              </a:lnTo>
                              <a:lnTo>
                                <a:pt x="36" y="18"/>
                              </a:lnTo>
                              <a:lnTo>
                                <a:pt x="38" y="20"/>
                              </a:lnTo>
                              <a:lnTo>
                                <a:pt x="38" y="20"/>
                              </a:lnTo>
                              <a:lnTo>
                                <a:pt x="42" y="22"/>
                              </a:lnTo>
                              <a:lnTo>
                                <a:pt x="44" y="22"/>
                              </a:lnTo>
                              <a:lnTo>
                                <a:pt x="46" y="22"/>
                              </a:lnTo>
                              <a:lnTo>
                                <a:pt x="46" y="22"/>
                              </a:lnTo>
                              <a:lnTo>
                                <a:pt x="50" y="22"/>
                              </a:lnTo>
                              <a:lnTo>
                                <a:pt x="52" y="20"/>
                              </a:lnTo>
                              <a:lnTo>
                                <a:pt x="54" y="16"/>
                              </a:lnTo>
                              <a:lnTo>
                                <a:pt x="54" y="16"/>
                              </a:lnTo>
                              <a:lnTo>
                                <a:pt x="54" y="14"/>
                              </a:lnTo>
                              <a:lnTo>
                                <a:pt x="54" y="10"/>
                              </a:lnTo>
                              <a:lnTo>
                                <a:pt x="52" y="6"/>
                              </a:lnTo>
                              <a:lnTo>
                                <a:pt x="52" y="6"/>
                              </a:lnTo>
                              <a:lnTo>
                                <a:pt x="58" y="0"/>
                              </a:lnTo>
                              <a:lnTo>
                                <a:pt x="62" y="0"/>
                              </a:lnTo>
                              <a:lnTo>
                                <a:pt x="66" y="0"/>
                              </a:lnTo>
                              <a:lnTo>
                                <a:pt x="66" y="0"/>
                              </a:lnTo>
                              <a:lnTo>
                                <a:pt x="76" y="0"/>
                              </a:lnTo>
                              <a:lnTo>
                                <a:pt x="78" y="0"/>
                              </a:lnTo>
                              <a:lnTo>
                                <a:pt x="78" y="2"/>
                              </a:lnTo>
                              <a:lnTo>
                                <a:pt x="78" y="2"/>
                              </a:lnTo>
                              <a:lnTo>
                                <a:pt x="78" y="4"/>
                              </a:lnTo>
                              <a:lnTo>
                                <a:pt x="80" y="4"/>
                              </a:lnTo>
                              <a:lnTo>
                                <a:pt x="84" y="4"/>
                              </a:lnTo>
                              <a:lnTo>
                                <a:pt x="90" y="4"/>
                              </a:lnTo>
                              <a:lnTo>
                                <a:pt x="94" y="6"/>
                              </a:lnTo>
                              <a:lnTo>
                                <a:pt x="94" y="6"/>
                              </a:lnTo>
                              <a:lnTo>
                                <a:pt x="106" y="2"/>
                              </a:lnTo>
                              <a:lnTo>
                                <a:pt x="106" y="2"/>
                              </a:lnTo>
                              <a:lnTo>
                                <a:pt x="104" y="6"/>
                              </a:lnTo>
                              <a:lnTo>
                                <a:pt x="106" y="6"/>
                              </a:lnTo>
                              <a:lnTo>
                                <a:pt x="108" y="6"/>
                              </a:lnTo>
                              <a:lnTo>
                                <a:pt x="108" y="10"/>
                              </a:lnTo>
                              <a:lnTo>
                                <a:pt x="108" y="10"/>
                              </a:lnTo>
                              <a:lnTo>
                                <a:pt x="106" y="14"/>
                              </a:lnTo>
                              <a:lnTo>
                                <a:pt x="108" y="14"/>
                              </a:lnTo>
                              <a:lnTo>
                                <a:pt x="110" y="16"/>
                              </a:lnTo>
                              <a:lnTo>
                                <a:pt x="112" y="22"/>
                              </a:lnTo>
                              <a:lnTo>
                                <a:pt x="112" y="22"/>
                              </a:lnTo>
                              <a:lnTo>
                                <a:pt x="110" y="24"/>
                              </a:lnTo>
                              <a:lnTo>
                                <a:pt x="110" y="26"/>
                              </a:lnTo>
                              <a:lnTo>
                                <a:pt x="112" y="30"/>
                              </a:lnTo>
                              <a:lnTo>
                                <a:pt x="114" y="34"/>
                              </a:lnTo>
                              <a:lnTo>
                                <a:pt x="112" y="34"/>
                              </a:lnTo>
                              <a:lnTo>
                                <a:pt x="108" y="34"/>
                              </a:lnTo>
                              <a:lnTo>
                                <a:pt x="108" y="34"/>
                              </a:lnTo>
                              <a:lnTo>
                                <a:pt x="102" y="36"/>
                              </a:lnTo>
                              <a:lnTo>
                                <a:pt x="100" y="38"/>
                              </a:lnTo>
                              <a:lnTo>
                                <a:pt x="100" y="40"/>
                              </a:lnTo>
                              <a:lnTo>
                                <a:pt x="96" y="42"/>
                              </a:lnTo>
                              <a:lnTo>
                                <a:pt x="96" y="42"/>
                              </a:lnTo>
                              <a:lnTo>
                                <a:pt x="74" y="38"/>
                              </a:lnTo>
                              <a:lnTo>
                                <a:pt x="66" y="36"/>
                              </a:lnTo>
                              <a:lnTo>
                                <a:pt x="62" y="32"/>
                              </a:lnTo>
                              <a:lnTo>
                                <a:pt x="58" y="34"/>
                              </a:lnTo>
                              <a:lnTo>
                                <a:pt x="58" y="34"/>
                              </a:lnTo>
                              <a:lnTo>
                                <a:pt x="54" y="34"/>
                              </a:lnTo>
                              <a:lnTo>
                                <a:pt x="50" y="34"/>
                              </a:lnTo>
                              <a:lnTo>
                                <a:pt x="46" y="32"/>
                              </a:lnTo>
                              <a:lnTo>
                                <a:pt x="40" y="30"/>
                              </a:lnTo>
                              <a:lnTo>
                                <a:pt x="40" y="30"/>
                              </a:lnTo>
                              <a:lnTo>
                                <a:pt x="32" y="30"/>
                              </a:lnTo>
                              <a:lnTo>
                                <a:pt x="24" y="30"/>
                              </a:lnTo>
                              <a:lnTo>
                                <a:pt x="18" y="30"/>
                              </a:lnTo>
                              <a:lnTo>
                                <a:pt x="12" y="32"/>
                              </a:lnTo>
                              <a:lnTo>
                                <a:pt x="8" y="36"/>
                              </a:lnTo>
                              <a:lnTo>
                                <a:pt x="2" y="42"/>
                              </a:lnTo>
                              <a:lnTo>
                                <a:pt x="2" y="42"/>
                              </a:lnTo>
                              <a:close/>
                            </a:path>
                          </a:pathLst>
                        </a:custGeom>
                        <a:solidFill>
                          <a:schemeClr val="accent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0" name="Saudi Arabia"/>
                        <p:cNvSpPr>
                          <a:spLocks/>
                        </p:cNvSpPr>
                        <p:nvPr/>
                      </p:nvSpPr>
                      <p:spPr bwMode="auto">
                        <a:xfrm>
                          <a:off x="6856752" y="2459219"/>
                          <a:ext cx="674356" cy="625176"/>
                        </a:xfrm>
                        <a:custGeom>
                          <a:avLst/>
                          <a:gdLst/>
                          <a:ahLst/>
                          <a:cxnLst>
                            <a:cxn ang="0">
                              <a:pos x="354" y="182"/>
                            </a:cxn>
                            <a:cxn ang="0">
                              <a:pos x="352" y="180"/>
                            </a:cxn>
                            <a:cxn ang="0">
                              <a:pos x="336" y="170"/>
                            </a:cxn>
                            <a:cxn ang="0">
                              <a:pos x="326" y="156"/>
                            </a:cxn>
                            <a:cxn ang="0">
                              <a:pos x="320" y="140"/>
                            </a:cxn>
                            <a:cxn ang="0">
                              <a:pos x="316" y="130"/>
                            </a:cxn>
                            <a:cxn ang="0">
                              <a:pos x="310" y="124"/>
                            </a:cxn>
                            <a:cxn ang="0">
                              <a:pos x="296" y="114"/>
                            </a:cxn>
                            <a:cxn ang="0">
                              <a:pos x="296" y="110"/>
                            </a:cxn>
                            <a:cxn ang="0">
                              <a:pos x="288" y="104"/>
                            </a:cxn>
                            <a:cxn ang="0">
                              <a:pos x="266" y="70"/>
                            </a:cxn>
                            <a:cxn ang="0">
                              <a:pos x="252" y="72"/>
                            </a:cxn>
                            <a:cxn ang="0">
                              <a:pos x="246" y="64"/>
                            </a:cxn>
                            <a:cxn ang="0">
                              <a:pos x="210" y="62"/>
                            </a:cxn>
                            <a:cxn ang="0">
                              <a:pos x="170" y="46"/>
                            </a:cxn>
                            <a:cxn ang="0">
                              <a:pos x="134" y="18"/>
                            </a:cxn>
                            <a:cxn ang="0">
                              <a:pos x="74" y="0"/>
                            </a:cxn>
                            <a:cxn ang="0">
                              <a:pos x="34" y="10"/>
                            </a:cxn>
                            <a:cxn ang="0">
                              <a:pos x="48" y="48"/>
                            </a:cxn>
                            <a:cxn ang="0">
                              <a:pos x="34" y="54"/>
                            </a:cxn>
                            <a:cxn ang="0">
                              <a:pos x="22" y="70"/>
                            </a:cxn>
                            <a:cxn ang="0">
                              <a:pos x="16" y="70"/>
                            </a:cxn>
                            <a:cxn ang="0">
                              <a:pos x="0" y="58"/>
                            </a:cxn>
                            <a:cxn ang="0">
                              <a:pos x="2" y="68"/>
                            </a:cxn>
                            <a:cxn ang="0">
                              <a:pos x="4" y="80"/>
                            </a:cxn>
                            <a:cxn ang="0">
                              <a:pos x="4" y="90"/>
                            </a:cxn>
                            <a:cxn ang="0">
                              <a:pos x="10" y="98"/>
                            </a:cxn>
                            <a:cxn ang="0">
                              <a:pos x="24" y="116"/>
                            </a:cxn>
                            <a:cxn ang="0">
                              <a:pos x="24" y="122"/>
                            </a:cxn>
                            <a:cxn ang="0">
                              <a:pos x="50" y="160"/>
                            </a:cxn>
                            <a:cxn ang="0">
                              <a:pos x="60" y="186"/>
                            </a:cxn>
                            <a:cxn ang="0">
                              <a:pos x="76" y="194"/>
                            </a:cxn>
                            <a:cxn ang="0">
                              <a:pos x="86" y="204"/>
                            </a:cxn>
                            <a:cxn ang="0">
                              <a:pos x="90" y="220"/>
                            </a:cxn>
                            <a:cxn ang="0">
                              <a:pos x="110" y="260"/>
                            </a:cxn>
                            <a:cxn ang="0">
                              <a:pos x="104" y="266"/>
                            </a:cxn>
                            <a:cxn ang="0">
                              <a:pos x="108" y="278"/>
                            </a:cxn>
                            <a:cxn ang="0">
                              <a:pos x="132" y="298"/>
                            </a:cxn>
                            <a:cxn ang="0">
                              <a:pos x="150" y="328"/>
                            </a:cxn>
                            <a:cxn ang="0">
                              <a:pos x="172" y="352"/>
                            </a:cxn>
                            <a:cxn ang="0">
                              <a:pos x="186" y="382"/>
                            </a:cxn>
                            <a:cxn ang="0">
                              <a:pos x="192" y="390"/>
                            </a:cxn>
                            <a:cxn ang="0">
                              <a:pos x="192" y="394"/>
                            </a:cxn>
                            <a:cxn ang="0">
                              <a:pos x="204" y="386"/>
                            </a:cxn>
                            <a:cxn ang="0">
                              <a:pos x="210" y="380"/>
                            </a:cxn>
                            <a:cxn ang="0">
                              <a:pos x="226" y="378"/>
                            </a:cxn>
                            <a:cxn ang="0">
                              <a:pos x="258" y="388"/>
                            </a:cxn>
                            <a:cxn ang="0">
                              <a:pos x="270" y="396"/>
                            </a:cxn>
                            <a:cxn ang="0">
                              <a:pos x="286" y="396"/>
                            </a:cxn>
                            <a:cxn ang="0">
                              <a:pos x="374" y="332"/>
                            </a:cxn>
                            <a:cxn ang="0">
                              <a:pos x="430" y="242"/>
                            </a:cxn>
                            <a:cxn ang="0">
                              <a:pos x="366" y="224"/>
                            </a:cxn>
                            <a:cxn ang="0">
                              <a:pos x="356" y="200"/>
                            </a:cxn>
                            <a:cxn ang="0">
                              <a:pos x="354" y="184"/>
                            </a:cxn>
                          </a:cxnLst>
                          <a:rect l="0" t="0" r="r" b="b"/>
                          <a:pathLst>
                            <a:path w="444" h="412">
                              <a:moveTo>
                                <a:pt x="354" y="184"/>
                              </a:moveTo>
                              <a:lnTo>
                                <a:pt x="354" y="184"/>
                              </a:lnTo>
                              <a:lnTo>
                                <a:pt x="352" y="184"/>
                              </a:lnTo>
                              <a:lnTo>
                                <a:pt x="354" y="182"/>
                              </a:lnTo>
                              <a:lnTo>
                                <a:pt x="354" y="182"/>
                              </a:lnTo>
                              <a:lnTo>
                                <a:pt x="354" y="180"/>
                              </a:lnTo>
                              <a:lnTo>
                                <a:pt x="352" y="180"/>
                              </a:lnTo>
                              <a:lnTo>
                                <a:pt x="352" y="180"/>
                              </a:lnTo>
                              <a:lnTo>
                                <a:pt x="352" y="178"/>
                              </a:lnTo>
                              <a:lnTo>
                                <a:pt x="352" y="178"/>
                              </a:lnTo>
                              <a:lnTo>
                                <a:pt x="344" y="176"/>
                              </a:lnTo>
                              <a:lnTo>
                                <a:pt x="336" y="170"/>
                              </a:lnTo>
                              <a:lnTo>
                                <a:pt x="336" y="170"/>
                              </a:lnTo>
                              <a:lnTo>
                                <a:pt x="330" y="164"/>
                              </a:lnTo>
                              <a:lnTo>
                                <a:pt x="326" y="156"/>
                              </a:lnTo>
                              <a:lnTo>
                                <a:pt x="326" y="156"/>
                              </a:lnTo>
                              <a:lnTo>
                                <a:pt x="322" y="148"/>
                              </a:lnTo>
                              <a:lnTo>
                                <a:pt x="320" y="144"/>
                              </a:lnTo>
                              <a:lnTo>
                                <a:pt x="320" y="140"/>
                              </a:lnTo>
                              <a:lnTo>
                                <a:pt x="320" y="140"/>
                              </a:lnTo>
                              <a:lnTo>
                                <a:pt x="320" y="134"/>
                              </a:lnTo>
                              <a:lnTo>
                                <a:pt x="318" y="132"/>
                              </a:lnTo>
                              <a:lnTo>
                                <a:pt x="316" y="132"/>
                              </a:lnTo>
                              <a:lnTo>
                                <a:pt x="316" y="130"/>
                              </a:lnTo>
                              <a:lnTo>
                                <a:pt x="316" y="130"/>
                              </a:lnTo>
                              <a:lnTo>
                                <a:pt x="314" y="126"/>
                              </a:lnTo>
                              <a:lnTo>
                                <a:pt x="312" y="126"/>
                              </a:lnTo>
                              <a:lnTo>
                                <a:pt x="310" y="124"/>
                              </a:lnTo>
                              <a:lnTo>
                                <a:pt x="304" y="120"/>
                              </a:lnTo>
                              <a:lnTo>
                                <a:pt x="304" y="120"/>
                              </a:lnTo>
                              <a:lnTo>
                                <a:pt x="298" y="114"/>
                              </a:lnTo>
                              <a:lnTo>
                                <a:pt x="296" y="114"/>
                              </a:lnTo>
                              <a:lnTo>
                                <a:pt x="298" y="112"/>
                              </a:lnTo>
                              <a:lnTo>
                                <a:pt x="298" y="112"/>
                              </a:lnTo>
                              <a:lnTo>
                                <a:pt x="298" y="110"/>
                              </a:lnTo>
                              <a:lnTo>
                                <a:pt x="296" y="110"/>
                              </a:lnTo>
                              <a:lnTo>
                                <a:pt x="292" y="110"/>
                              </a:lnTo>
                              <a:lnTo>
                                <a:pt x="288" y="112"/>
                              </a:lnTo>
                              <a:lnTo>
                                <a:pt x="288" y="112"/>
                              </a:lnTo>
                              <a:lnTo>
                                <a:pt x="288" y="104"/>
                              </a:lnTo>
                              <a:lnTo>
                                <a:pt x="280" y="88"/>
                              </a:lnTo>
                              <a:lnTo>
                                <a:pt x="280" y="88"/>
                              </a:lnTo>
                              <a:lnTo>
                                <a:pt x="270" y="72"/>
                              </a:lnTo>
                              <a:lnTo>
                                <a:pt x="266" y="70"/>
                              </a:lnTo>
                              <a:lnTo>
                                <a:pt x="264" y="72"/>
                              </a:lnTo>
                              <a:lnTo>
                                <a:pt x="264" y="72"/>
                              </a:lnTo>
                              <a:lnTo>
                                <a:pt x="256" y="72"/>
                              </a:lnTo>
                              <a:lnTo>
                                <a:pt x="252" y="72"/>
                              </a:lnTo>
                              <a:lnTo>
                                <a:pt x="250" y="70"/>
                              </a:lnTo>
                              <a:lnTo>
                                <a:pt x="250" y="68"/>
                              </a:lnTo>
                              <a:lnTo>
                                <a:pt x="248" y="66"/>
                              </a:lnTo>
                              <a:lnTo>
                                <a:pt x="246" y="64"/>
                              </a:lnTo>
                              <a:lnTo>
                                <a:pt x="242" y="62"/>
                              </a:lnTo>
                              <a:lnTo>
                                <a:pt x="234" y="62"/>
                              </a:lnTo>
                              <a:lnTo>
                                <a:pt x="234" y="62"/>
                              </a:lnTo>
                              <a:lnTo>
                                <a:pt x="210" y="62"/>
                              </a:lnTo>
                              <a:lnTo>
                                <a:pt x="194" y="60"/>
                              </a:lnTo>
                              <a:lnTo>
                                <a:pt x="182" y="56"/>
                              </a:lnTo>
                              <a:lnTo>
                                <a:pt x="170" y="46"/>
                              </a:lnTo>
                              <a:lnTo>
                                <a:pt x="170" y="46"/>
                              </a:lnTo>
                              <a:lnTo>
                                <a:pt x="156" y="34"/>
                              </a:lnTo>
                              <a:lnTo>
                                <a:pt x="150" y="26"/>
                              </a:lnTo>
                              <a:lnTo>
                                <a:pt x="146" y="22"/>
                              </a:lnTo>
                              <a:lnTo>
                                <a:pt x="134" y="18"/>
                              </a:lnTo>
                              <a:lnTo>
                                <a:pt x="134" y="18"/>
                              </a:lnTo>
                              <a:lnTo>
                                <a:pt x="108" y="4"/>
                              </a:lnTo>
                              <a:lnTo>
                                <a:pt x="96" y="2"/>
                              </a:lnTo>
                              <a:lnTo>
                                <a:pt x="74" y="0"/>
                              </a:lnTo>
                              <a:lnTo>
                                <a:pt x="74" y="0"/>
                              </a:lnTo>
                              <a:lnTo>
                                <a:pt x="70" y="4"/>
                              </a:lnTo>
                              <a:lnTo>
                                <a:pt x="64" y="6"/>
                              </a:lnTo>
                              <a:lnTo>
                                <a:pt x="34" y="10"/>
                              </a:lnTo>
                              <a:lnTo>
                                <a:pt x="58" y="38"/>
                              </a:lnTo>
                              <a:lnTo>
                                <a:pt x="58" y="38"/>
                              </a:lnTo>
                              <a:lnTo>
                                <a:pt x="50" y="42"/>
                              </a:lnTo>
                              <a:lnTo>
                                <a:pt x="48" y="48"/>
                              </a:lnTo>
                              <a:lnTo>
                                <a:pt x="44" y="50"/>
                              </a:lnTo>
                              <a:lnTo>
                                <a:pt x="38" y="52"/>
                              </a:lnTo>
                              <a:lnTo>
                                <a:pt x="38" y="52"/>
                              </a:lnTo>
                              <a:lnTo>
                                <a:pt x="34" y="54"/>
                              </a:lnTo>
                              <a:lnTo>
                                <a:pt x="30" y="56"/>
                              </a:lnTo>
                              <a:lnTo>
                                <a:pt x="26" y="62"/>
                              </a:lnTo>
                              <a:lnTo>
                                <a:pt x="24" y="68"/>
                              </a:lnTo>
                              <a:lnTo>
                                <a:pt x="22" y="70"/>
                              </a:lnTo>
                              <a:lnTo>
                                <a:pt x="20" y="72"/>
                              </a:lnTo>
                              <a:lnTo>
                                <a:pt x="20" y="72"/>
                              </a:lnTo>
                              <a:lnTo>
                                <a:pt x="18" y="72"/>
                              </a:lnTo>
                              <a:lnTo>
                                <a:pt x="16" y="70"/>
                              </a:lnTo>
                              <a:lnTo>
                                <a:pt x="10" y="64"/>
                              </a:lnTo>
                              <a:lnTo>
                                <a:pt x="6" y="60"/>
                              </a:lnTo>
                              <a:lnTo>
                                <a:pt x="2" y="58"/>
                              </a:lnTo>
                              <a:lnTo>
                                <a:pt x="0" y="58"/>
                              </a:lnTo>
                              <a:lnTo>
                                <a:pt x="0" y="58"/>
                              </a:lnTo>
                              <a:lnTo>
                                <a:pt x="2" y="62"/>
                              </a:lnTo>
                              <a:lnTo>
                                <a:pt x="4" y="64"/>
                              </a:lnTo>
                              <a:lnTo>
                                <a:pt x="2" y="68"/>
                              </a:lnTo>
                              <a:lnTo>
                                <a:pt x="2" y="68"/>
                              </a:lnTo>
                              <a:lnTo>
                                <a:pt x="0" y="72"/>
                              </a:lnTo>
                              <a:lnTo>
                                <a:pt x="2" y="76"/>
                              </a:lnTo>
                              <a:lnTo>
                                <a:pt x="4" y="80"/>
                              </a:lnTo>
                              <a:lnTo>
                                <a:pt x="2" y="86"/>
                              </a:lnTo>
                              <a:lnTo>
                                <a:pt x="2" y="86"/>
                              </a:lnTo>
                              <a:lnTo>
                                <a:pt x="2" y="90"/>
                              </a:lnTo>
                              <a:lnTo>
                                <a:pt x="4" y="90"/>
                              </a:lnTo>
                              <a:lnTo>
                                <a:pt x="8" y="92"/>
                              </a:lnTo>
                              <a:lnTo>
                                <a:pt x="10" y="94"/>
                              </a:lnTo>
                              <a:lnTo>
                                <a:pt x="10" y="98"/>
                              </a:lnTo>
                              <a:lnTo>
                                <a:pt x="10" y="98"/>
                              </a:lnTo>
                              <a:lnTo>
                                <a:pt x="14" y="106"/>
                              </a:lnTo>
                              <a:lnTo>
                                <a:pt x="20" y="112"/>
                              </a:lnTo>
                              <a:lnTo>
                                <a:pt x="24" y="114"/>
                              </a:lnTo>
                              <a:lnTo>
                                <a:pt x="24" y="116"/>
                              </a:lnTo>
                              <a:lnTo>
                                <a:pt x="24" y="118"/>
                              </a:lnTo>
                              <a:lnTo>
                                <a:pt x="24" y="118"/>
                              </a:lnTo>
                              <a:lnTo>
                                <a:pt x="24" y="120"/>
                              </a:lnTo>
                              <a:lnTo>
                                <a:pt x="24" y="122"/>
                              </a:lnTo>
                              <a:lnTo>
                                <a:pt x="28" y="128"/>
                              </a:lnTo>
                              <a:lnTo>
                                <a:pt x="38" y="140"/>
                              </a:lnTo>
                              <a:lnTo>
                                <a:pt x="50" y="160"/>
                              </a:lnTo>
                              <a:lnTo>
                                <a:pt x="50" y="160"/>
                              </a:lnTo>
                              <a:lnTo>
                                <a:pt x="54" y="170"/>
                              </a:lnTo>
                              <a:lnTo>
                                <a:pt x="54" y="172"/>
                              </a:lnTo>
                              <a:lnTo>
                                <a:pt x="54" y="176"/>
                              </a:lnTo>
                              <a:lnTo>
                                <a:pt x="60" y="186"/>
                              </a:lnTo>
                              <a:lnTo>
                                <a:pt x="60" y="186"/>
                              </a:lnTo>
                              <a:lnTo>
                                <a:pt x="64" y="190"/>
                              </a:lnTo>
                              <a:lnTo>
                                <a:pt x="70" y="192"/>
                              </a:lnTo>
                              <a:lnTo>
                                <a:pt x="76" y="194"/>
                              </a:lnTo>
                              <a:lnTo>
                                <a:pt x="80" y="198"/>
                              </a:lnTo>
                              <a:lnTo>
                                <a:pt x="80" y="198"/>
                              </a:lnTo>
                              <a:lnTo>
                                <a:pt x="84" y="202"/>
                              </a:lnTo>
                              <a:lnTo>
                                <a:pt x="86" y="204"/>
                              </a:lnTo>
                              <a:lnTo>
                                <a:pt x="88" y="206"/>
                              </a:lnTo>
                              <a:lnTo>
                                <a:pt x="88" y="210"/>
                              </a:lnTo>
                              <a:lnTo>
                                <a:pt x="88" y="210"/>
                              </a:lnTo>
                              <a:lnTo>
                                <a:pt x="90" y="220"/>
                              </a:lnTo>
                              <a:lnTo>
                                <a:pt x="96" y="232"/>
                              </a:lnTo>
                              <a:lnTo>
                                <a:pt x="108" y="256"/>
                              </a:lnTo>
                              <a:lnTo>
                                <a:pt x="108" y="256"/>
                              </a:lnTo>
                              <a:lnTo>
                                <a:pt x="110" y="260"/>
                              </a:lnTo>
                              <a:lnTo>
                                <a:pt x="110" y="264"/>
                              </a:lnTo>
                              <a:lnTo>
                                <a:pt x="108" y="264"/>
                              </a:lnTo>
                              <a:lnTo>
                                <a:pt x="106" y="266"/>
                              </a:lnTo>
                              <a:lnTo>
                                <a:pt x="104" y="266"/>
                              </a:lnTo>
                              <a:lnTo>
                                <a:pt x="106" y="270"/>
                              </a:lnTo>
                              <a:lnTo>
                                <a:pt x="106" y="270"/>
                              </a:lnTo>
                              <a:lnTo>
                                <a:pt x="108" y="274"/>
                              </a:lnTo>
                              <a:lnTo>
                                <a:pt x="108" y="278"/>
                              </a:lnTo>
                              <a:lnTo>
                                <a:pt x="112" y="282"/>
                              </a:lnTo>
                              <a:lnTo>
                                <a:pt x="122" y="290"/>
                              </a:lnTo>
                              <a:lnTo>
                                <a:pt x="122" y="290"/>
                              </a:lnTo>
                              <a:lnTo>
                                <a:pt x="132" y="298"/>
                              </a:lnTo>
                              <a:lnTo>
                                <a:pt x="140" y="306"/>
                              </a:lnTo>
                              <a:lnTo>
                                <a:pt x="144" y="312"/>
                              </a:lnTo>
                              <a:lnTo>
                                <a:pt x="146" y="318"/>
                              </a:lnTo>
                              <a:lnTo>
                                <a:pt x="150" y="328"/>
                              </a:lnTo>
                              <a:lnTo>
                                <a:pt x="154" y="332"/>
                              </a:lnTo>
                              <a:lnTo>
                                <a:pt x="158" y="338"/>
                              </a:lnTo>
                              <a:lnTo>
                                <a:pt x="158" y="338"/>
                              </a:lnTo>
                              <a:lnTo>
                                <a:pt x="172" y="352"/>
                              </a:lnTo>
                              <a:lnTo>
                                <a:pt x="180" y="368"/>
                              </a:lnTo>
                              <a:lnTo>
                                <a:pt x="180" y="368"/>
                              </a:lnTo>
                              <a:lnTo>
                                <a:pt x="186" y="378"/>
                              </a:lnTo>
                              <a:lnTo>
                                <a:pt x="186" y="382"/>
                              </a:lnTo>
                              <a:lnTo>
                                <a:pt x="186" y="384"/>
                              </a:lnTo>
                              <a:lnTo>
                                <a:pt x="190" y="386"/>
                              </a:lnTo>
                              <a:lnTo>
                                <a:pt x="190" y="386"/>
                              </a:lnTo>
                              <a:lnTo>
                                <a:pt x="192" y="390"/>
                              </a:lnTo>
                              <a:lnTo>
                                <a:pt x="190" y="390"/>
                              </a:lnTo>
                              <a:lnTo>
                                <a:pt x="190" y="392"/>
                              </a:lnTo>
                              <a:lnTo>
                                <a:pt x="192" y="394"/>
                              </a:lnTo>
                              <a:lnTo>
                                <a:pt x="192" y="394"/>
                              </a:lnTo>
                              <a:lnTo>
                                <a:pt x="202" y="392"/>
                              </a:lnTo>
                              <a:lnTo>
                                <a:pt x="204" y="390"/>
                              </a:lnTo>
                              <a:lnTo>
                                <a:pt x="204" y="388"/>
                              </a:lnTo>
                              <a:lnTo>
                                <a:pt x="204" y="386"/>
                              </a:lnTo>
                              <a:lnTo>
                                <a:pt x="204" y="384"/>
                              </a:lnTo>
                              <a:lnTo>
                                <a:pt x="206" y="382"/>
                              </a:lnTo>
                              <a:lnTo>
                                <a:pt x="206" y="382"/>
                              </a:lnTo>
                              <a:lnTo>
                                <a:pt x="210" y="380"/>
                              </a:lnTo>
                              <a:lnTo>
                                <a:pt x="210" y="378"/>
                              </a:lnTo>
                              <a:lnTo>
                                <a:pt x="210" y="376"/>
                              </a:lnTo>
                              <a:lnTo>
                                <a:pt x="214" y="376"/>
                              </a:lnTo>
                              <a:lnTo>
                                <a:pt x="226" y="378"/>
                              </a:lnTo>
                              <a:lnTo>
                                <a:pt x="226" y="378"/>
                              </a:lnTo>
                              <a:lnTo>
                                <a:pt x="244" y="382"/>
                              </a:lnTo>
                              <a:lnTo>
                                <a:pt x="252" y="386"/>
                              </a:lnTo>
                              <a:lnTo>
                                <a:pt x="258" y="388"/>
                              </a:lnTo>
                              <a:lnTo>
                                <a:pt x="262" y="392"/>
                              </a:lnTo>
                              <a:lnTo>
                                <a:pt x="262" y="392"/>
                              </a:lnTo>
                              <a:lnTo>
                                <a:pt x="268" y="394"/>
                              </a:lnTo>
                              <a:lnTo>
                                <a:pt x="270" y="396"/>
                              </a:lnTo>
                              <a:lnTo>
                                <a:pt x="272" y="402"/>
                              </a:lnTo>
                              <a:lnTo>
                                <a:pt x="270" y="412"/>
                              </a:lnTo>
                              <a:lnTo>
                                <a:pt x="270" y="412"/>
                              </a:lnTo>
                              <a:lnTo>
                                <a:pt x="286" y="396"/>
                              </a:lnTo>
                              <a:lnTo>
                                <a:pt x="306" y="376"/>
                              </a:lnTo>
                              <a:lnTo>
                                <a:pt x="326" y="352"/>
                              </a:lnTo>
                              <a:lnTo>
                                <a:pt x="326" y="352"/>
                              </a:lnTo>
                              <a:lnTo>
                                <a:pt x="374" y="332"/>
                              </a:lnTo>
                              <a:lnTo>
                                <a:pt x="434" y="304"/>
                              </a:lnTo>
                              <a:lnTo>
                                <a:pt x="444" y="254"/>
                              </a:lnTo>
                              <a:lnTo>
                                <a:pt x="444" y="254"/>
                              </a:lnTo>
                              <a:lnTo>
                                <a:pt x="430" y="242"/>
                              </a:lnTo>
                              <a:lnTo>
                                <a:pt x="430" y="242"/>
                              </a:lnTo>
                              <a:lnTo>
                                <a:pt x="418" y="248"/>
                              </a:lnTo>
                              <a:lnTo>
                                <a:pt x="366" y="224"/>
                              </a:lnTo>
                              <a:lnTo>
                                <a:pt x="366" y="224"/>
                              </a:lnTo>
                              <a:lnTo>
                                <a:pt x="366" y="218"/>
                              </a:lnTo>
                              <a:lnTo>
                                <a:pt x="364" y="212"/>
                              </a:lnTo>
                              <a:lnTo>
                                <a:pt x="358" y="202"/>
                              </a:lnTo>
                              <a:lnTo>
                                <a:pt x="356" y="200"/>
                              </a:lnTo>
                              <a:lnTo>
                                <a:pt x="354" y="194"/>
                              </a:lnTo>
                              <a:lnTo>
                                <a:pt x="352" y="190"/>
                              </a:lnTo>
                              <a:lnTo>
                                <a:pt x="354" y="184"/>
                              </a:lnTo>
                              <a:lnTo>
                                <a:pt x="354" y="184"/>
                              </a:lnTo>
                              <a:close/>
                            </a:path>
                          </a:pathLst>
                        </a:custGeom>
                        <a:solidFill>
                          <a:schemeClr val="accent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1" name="Thailand"/>
                        <p:cNvSpPr>
                          <a:spLocks/>
                        </p:cNvSpPr>
                        <p:nvPr/>
                      </p:nvSpPr>
                      <p:spPr bwMode="auto">
                        <a:xfrm>
                          <a:off x="8849445" y="2902305"/>
                          <a:ext cx="294651" cy="546270"/>
                        </a:xfrm>
                        <a:custGeom>
                          <a:avLst/>
                          <a:gdLst/>
                          <a:ahLst/>
                          <a:cxnLst>
                            <a:cxn ang="0">
                              <a:pos x="114" y="336"/>
                            </a:cxn>
                            <a:cxn ang="0">
                              <a:pos x="100" y="312"/>
                            </a:cxn>
                            <a:cxn ang="0">
                              <a:pos x="86" y="290"/>
                            </a:cxn>
                            <a:cxn ang="0">
                              <a:pos x="72" y="276"/>
                            </a:cxn>
                            <a:cxn ang="0">
                              <a:pos x="68" y="246"/>
                            </a:cxn>
                            <a:cxn ang="0">
                              <a:pos x="76" y="216"/>
                            </a:cxn>
                            <a:cxn ang="0">
                              <a:pos x="72" y="184"/>
                            </a:cxn>
                            <a:cxn ang="0">
                              <a:pos x="70" y="160"/>
                            </a:cxn>
                            <a:cxn ang="0">
                              <a:pos x="80" y="158"/>
                            </a:cxn>
                            <a:cxn ang="0">
                              <a:pos x="94" y="162"/>
                            </a:cxn>
                            <a:cxn ang="0">
                              <a:pos x="94" y="182"/>
                            </a:cxn>
                            <a:cxn ang="0">
                              <a:pos x="110" y="186"/>
                            </a:cxn>
                            <a:cxn ang="0">
                              <a:pos x="124" y="204"/>
                            </a:cxn>
                            <a:cxn ang="0">
                              <a:pos x="130" y="204"/>
                            </a:cxn>
                            <a:cxn ang="0">
                              <a:pos x="136" y="214"/>
                            </a:cxn>
                            <a:cxn ang="0">
                              <a:pos x="144" y="210"/>
                            </a:cxn>
                            <a:cxn ang="0">
                              <a:pos x="126" y="178"/>
                            </a:cxn>
                            <a:cxn ang="0">
                              <a:pos x="154" y="156"/>
                            </a:cxn>
                            <a:cxn ang="0">
                              <a:pos x="166" y="154"/>
                            </a:cxn>
                            <a:cxn ang="0">
                              <a:pos x="186" y="150"/>
                            </a:cxn>
                            <a:cxn ang="0">
                              <a:pos x="194" y="132"/>
                            </a:cxn>
                            <a:cxn ang="0">
                              <a:pos x="186" y="116"/>
                            </a:cxn>
                            <a:cxn ang="0">
                              <a:pos x="164" y="104"/>
                            </a:cxn>
                            <a:cxn ang="0">
                              <a:pos x="154" y="76"/>
                            </a:cxn>
                            <a:cxn ang="0">
                              <a:pos x="120" y="56"/>
                            </a:cxn>
                            <a:cxn ang="0">
                              <a:pos x="96" y="54"/>
                            </a:cxn>
                            <a:cxn ang="0">
                              <a:pos x="72" y="60"/>
                            </a:cxn>
                            <a:cxn ang="0">
                              <a:pos x="78" y="20"/>
                            </a:cxn>
                            <a:cxn ang="0">
                              <a:pos x="60" y="14"/>
                            </a:cxn>
                            <a:cxn ang="0">
                              <a:pos x="52" y="4"/>
                            </a:cxn>
                            <a:cxn ang="0">
                              <a:pos x="30" y="6"/>
                            </a:cxn>
                            <a:cxn ang="0">
                              <a:pos x="12" y="12"/>
                            </a:cxn>
                            <a:cxn ang="0">
                              <a:pos x="12" y="34"/>
                            </a:cxn>
                            <a:cxn ang="0">
                              <a:pos x="0" y="42"/>
                            </a:cxn>
                            <a:cxn ang="0">
                              <a:pos x="6" y="54"/>
                            </a:cxn>
                            <a:cxn ang="0">
                              <a:pos x="22" y="74"/>
                            </a:cxn>
                            <a:cxn ang="0">
                              <a:pos x="50" y="98"/>
                            </a:cxn>
                            <a:cxn ang="0">
                              <a:pos x="38" y="104"/>
                            </a:cxn>
                            <a:cxn ang="0">
                              <a:pos x="38" y="122"/>
                            </a:cxn>
                            <a:cxn ang="0">
                              <a:pos x="34" y="138"/>
                            </a:cxn>
                            <a:cxn ang="0">
                              <a:pos x="58" y="164"/>
                            </a:cxn>
                            <a:cxn ang="0">
                              <a:pos x="68" y="214"/>
                            </a:cxn>
                            <a:cxn ang="0">
                              <a:pos x="56" y="248"/>
                            </a:cxn>
                            <a:cxn ang="0">
                              <a:pos x="54" y="264"/>
                            </a:cxn>
                            <a:cxn ang="0">
                              <a:pos x="50" y="284"/>
                            </a:cxn>
                            <a:cxn ang="0">
                              <a:pos x="44" y="302"/>
                            </a:cxn>
                            <a:cxn ang="0">
                              <a:pos x="52" y="304"/>
                            </a:cxn>
                            <a:cxn ang="0">
                              <a:pos x="58" y="310"/>
                            </a:cxn>
                            <a:cxn ang="0">
                              <a:pos x="66" y="322"/>
                            </a:cxn>
                            <a:cxn ang="0">
                              <a:pos x="70" y="320"/>
                            </a:cxn>
                            <a:cxn ang="0">
                              <a:pos x="76" y="338"/>
                            </a:cxn>
                            <a:cxn ang="0">
                              <a:pos x="98" y="350"/>
                            </a:cxn>
                            <a:cxn ang="0">
                              <a:pos x="124" y="356"/>
                            </a:cxn>
                          </a:cxnLst>
                          <a:rect l="0" t="0" r="r" b="b"/>
                          <a:pathLst>
                            <a:path w="194" h="360">
                              <a:moveTo>
                                <a:pt x="130" y="350"/>
                              </a:moveTo>
                              <a:lnTo>
                                <a:pt x="130" y="350"/>
                              </a:lnTo>
                              <a:lnTo>
                                <a:pt x="126" y="342"/>
                              </a:lnTo>
                              <a:lnTo>
                                <a:pt x="120" y="338"/>
                              </a:lnTo>
                              <a:lnTo>
                                <a:pt x="118" y="336"/>
                              </a:lnTo>
                              <a:lnTo>
                                <a:pt x="114" y="336"/>
                              </a:lnTo>
                              <a:lnTo>
                                <a:pt x="110" y="336"/>
                              </a:lnTo>
                              <a:lnTo>
                                <a:pt x="108" y="334"/>
                              </a:lnTo>
                              <a:lnTo>
                                <a:pt x="104" y="328"/>
                              </a:lnTo>
                              <a:lnTo>
                                <a:pt x="102" y="320"/>
                              </a:lnTo>
                              <a:lnTo>
                                <a:pt x="102" y="320"/>
                              </a:lnTo>
                              <a:lnTo>
                                <a:pt x="100" y="312"/>
                              </a:lnTo>
                              <a:lnTo>
                                <a:pt x="98" y="306"/>
                              </a:lnTo>
                              <a:lnTo>
                                <a:pt x="96" y="304"/>
                              </a:lnTo>
                              <a:lnTo>
                                <a:pt x="94" y="302"/>
                              </a:lnTo>
                              <a:lnTo>
                                <a:pt x="90" y="300"/>
                              </a:lnTo>
                              <a:lnTo>
                                <a:pt x="86" y="290"/>
                              </a:lnTo>
                              <a:lnTo>
                                <a:pt x="86" y="290"/>
                              </a:lnTo>
                              <a:lnTo>
                                <a:pt x="84" y="280"/>
                              </a:lnTo>
                              <a:lnTo>
                                <a:pt x="82" y="276"/>
                              </a:lnTo>
                              <a:lnTo>
                                <a:pt x="78" y="278"/>
                              </a:lnTo>
                              <a:lnTo>
                                <a:pt x="70" y="280"/>
                              </a:lnTo>
                              <a:lnTo>
                                <a:pt x="70" y="280"/>
                              </a:lnTo>
                              <a:lnTo>
                                <a:pt x="72" y="276"/>
                              </a:lnTo>
                              <a:lnTo>
                                <a:pt x="70" y="274"/>
                              </a:lnTo>
                              <a:lnTo>
                                <a:pt x="68" y="266"/>
                              </a:lnTo>
                              <a:lnTo>
                                <a:pt x="66" y="256"/>
                              </a:lnTo>
                              <a:lnTo>
                                <a:pt x="66" y="252"/>
                              </a:lnTo>
                              <a:lnTo>
                                <a:pt x="68" y="246"/>
                              </a:lnTo>
                              <a:lnTo>
                                <a:pt x="68" y="246"/>
                              </a:lnTo>
                              <a:lnTo>
                                <a:pt x="70" y="236"/>
                              </a:lnTo>
                              <a:lnTo>
                                <a:pt x="68" y="232"/>
                              </a:lnTo>
                              <a:lnTo>
                                <a:pt x="68" y="228"/>
                              </a:lnTo>
                              <a:lnTo>
                                <a:pt x="72" y="220"/>
                              </a:lnTo>
                              <a:lnTo>
                                <a:pt x="72" y="220"/>
                              </a:lnTo>
                              <a:lnTo>
                                <a:pt x="76" y="216"/>
                              </a:lnTo>
                              <a:lnTo>
                                <a:pt x="78" y="210"/>
                              </a:lnTo>
                              <a:lnTo>
                                <a:pt x="76" y="206"/>
                              </a:lnTo>
                              <a:lnTo>
                                <a:pt x="76" y="202"/>
                              </a:lnTo>
                              <a:lnTo>
                                <a:pt x="72" y="194"/>
                              </a:lnTo>
                              <a:lnTo>
                                <a:pt x="72" y="190"/>
                              </a:lnTo>
                              <a:lnTo>
                                <a:pt x="72" y="184"/>
                              </a:lnTo>
                              <a:lnTo>
                                <a:pt x="72" y="184"/>
                              </a:lnTo>
                              <a:lnTo>
                                <a:pt x="74" y="178"/>
                              </a:lnTo>
                              <a:lnTo>
                                <a:pt x="72" y="174"/>
                              </a:lnTo>
                              <a:lnTo>
                                <a:pt x="70" y="166"/>
                              </a:lnTo>
                              <a:lnTo>
                                <a:pt x="68" y="162"/>
                              </a:lnTo>
                              <a:lnTo>
                                <a:pt x="70" y="160"/>
                              </a:lnTo>
                              <a:lnTo>
                                <a:pt x="72" y="160"/>
                              </a:lnTo>
                              <a:lnTo>
                                <a:pt x="72" y="160"/>
                              </a:lnTo>
                              <a:lnTo>
                                <a:pt x="78" y="160"/>
                              </a:lnTo>
                              <a:lnTo>
                                <a:pt x="82" y="158"/>
                              </a:lnTo>
                              <a:lnTo>
                                <a:pt x="82" y="158"/>
                              </a:lnTo>
                              <a:lnTo>
                                <a:pt x="80" y="158"/>
                              </a:lnTo>
                              <a:lnTo>
                                <a:pt x="80" y="158"/>
                              </a:lnTo>
                              <a:lnTo>
                                <a:pt x="82" y="160"/>
                              </a:lnTo>
                              <a:lnTo>
                                <a:pt x="84" y="162"/>
                              </a:lnTo>
                              <a:lnTo>
                                <a:pt x="90" y="162"/>
                              </a:lnTo>
                              <a:lnTo>
                                <a:pt x="92" y="160"/>
                              </a:lnTo>
                              <a:lnTo>
                                <a:pt x="94" y="162"/>
                              </a:lnTo>
                              <a:lnTo>
                                <a:pt x="94" y="164"/>
                              </a:lnTo>
                              <a:lnTo>
                                <a:pt x="92" y="168"/>
                              </a:lnTo>
                              <a:lnTo>
                                <a:pt x="92" y="168"/>
                              </a:lnTo>
                              <a:lnTo>
                                <a:pt x="90" y="176"/>
                              </a:lnTo>
                              <a:lnTo>
                                <a:pt x="92" y="180"/>
                              </a:lnTo>
                              <a:lnTo>
                                <a:pt x="94" y="182"/>
                              </a:lnTo>
                              <a:lnTo>
                                <a:pt x="98" y="182"/>
                              </a:lnTo>
                              <a:lnTo>
                                <a:pt x="98" y="182"/>
                              </a:lnTo>
                              <a:lnTo>
                                <a:pt x="100" y="182"/>
                              </a:lnTo>
                              <a:lnTo>
                                <a:pt x="102" y="184"/>
                              </a:lnTo>
                              <a:lnTo>
                                <a:pt x="106" y="186"/>
                              </a:lnTo>
                              <a:lnTo>
                                <a:pt x="110" y="186"/>
                              </a:lnTo>
                              <a:lnTo>
                                <a:pt x="110" y="186"/>
                              </a:lnTo>
                              <a:lnTo>
                                <a:pt x="112" y="186"/>
                              </a:lnTo>
                              <a:lnTo>
                                <a:pt x="114" y="186"/>
                              </a:lnTo>
                              <a:lnTo>
                                <a:pt x="116" y="192"/>
                              </a:lnTo>
                              <a:lnTo>
                                <a:pt x="118" y="198"/>
                              </a:lnTo>
                              <a:lnTo>
                                <a:pt x="124" y="204"/>
                              </a:lnTo>
                              <a:lnTo>
                                <a:pt x="124" y="204"/>
                              </a:lnTo>
                              <a:lnTo>
                                <a:pt x="128" y="206"/>
                              </a:lnTo>
                              <a:lnTo>
                                <a:pt x="128" y="206"/>
                              </a:lnTo>
                              <a:lnTo>
                                <a:pt x="130" y="204"/>
                              </a:lnTo>
                              <a:lnTo>
                                <a:pt x="130" y="204"/>
                              </a:lnTo>
                              <a:lnTo>
                                <a:pt x="130" y="204"/>
                              </a:lnTo>
                              <a:lnTo>
                                <a:pt x="132" y="204"/>
                              </a:lnTo>
                              <a:lnTo>
                                <a:pt x="132" y="206"/>
                              </a:lnTo>
                              <a:lnTo>
                                <a:pt x="132" y="208"/>
                              </a:lnTo>
                              <a:lnTo>
                                <a:pt x="134" y="210"/>
                              </a:lnTo>
                              <a:lnTo>
                                <a:pt x="134" y="210"/>
                              </a:lnTo>
                              <a:lnTo>
                                <a:pt x="136" y="214"/>
                              </a:lnTo>
                              <a:lnTo>
                                <a:pt x="138" y="218"/>
                              </a:lnTo>
                              <a:lnTo>
                                <a:pt x="140" y="222"/>
                              </a:lnTo>
                              <a:lnTo>
                                <a:pt x="144" y="226"/>
                              </a:lnTo>
                              <a:lnTo>
                                <a:pt x="144" y="226"/>
                              </a:lnTo>
                              <a:lnTo>
                                <a:pt x="146" y="218"/>
                              </a:lnTo>
                              <a:lnTo>
                                <a:pt x="144" y="210"/>
                              </a:lnTo>
                              <a:lnTo>
                                <a:pt x="142" y="204"/>
                              </a:lnTo>
                              <a:lnTo>
                                <a:pt x="136" y="198"/>
                              </a:lnTo>
                              <a:lnTo>
                                <a:pt x="128" y="188"/>
                              </a:lnTo>
                              <a:lnTo>
                                <a:pt x="126" y="182"/>
                              </a:lnTo>
                              <a:lnTo>
                                <a:pt x="126" y="178"/>
                              </a:lnTo>
                              <a:lnTo>
                                <a:pt x="126" y="178"/>
                              </a:lnTo>
                              <a:lnTo>
                                <a:pt x="136" y="166"/>
                              </a:lnTo>
                              <a:lnTo>
                                <a:pt x="142" y="156"/>
                              </a:lnTo>
                              <a:lnTo>
                                <a:pt x="142" y="156"/>
                              </a:lnTo>
                              <a:lnTo>
                                <a:pt x="146" y="154"/>
                              </a:lnTo>
                              <a:lnTo>
                                <a:pt x="150" y="154"/>
                              </a:lnTo>
                              <a:lnTo>
                                <a:pt x="154" y="156"/>
                              </a:lnTo>
                              <a:lnTo>
                                <a:pt x="156" y="154"/>
                              </a:lnTo>
                              <a:lnTo>
                                <a:pt x="156" y="154"/>
                              </a:lnTo>
                              <a:lnTo>
                                <a:pt x="160" y="154"/>
                              </a:lnTo>
                              <a:lnTo>
                                <a:pt x="162" y="154"/>
                              </a:lnTo>
                              <a:lnTo>
                                <a:pt x="164" y="156"/>
                              </a:lnTo>
                              <a:lnTo>
                                <a:pt x="166" y="154"/>
                              </a:lnTo>
                              <a:lnTo>
                                <a:pt x="166" y="154"/>
                              </a:lnTo>
                              <a:lnTo>
                                <a:pt x="170" y="154"/>
                              </a:lnTo>
                              <a:lnTo>
                                <a:pt x="172" y="154"/>
                              </a:lnTo>
                              <a:lnTo>
                                <a:pt x="178" y="154"/>
                              </a:lnTo>
                              <a:lnTo>
                                <a:pt x="186" y="150"/>
                              </a:lnTo>
                              <a:lnTo>
                                <a:pt x="186" y="150"/>
                              </a:lnTo>
                              <a:lnTo>
                                <a:pt x="188" y="146"/>
                              </a:lnTo>
                              <a:lnTo>
                                <a:pt x="190" y="144"/>
                              </a:lnTo>
                              <a:lnTo>
                                <a:pt x="190" y="140"/>
                              </a:lnTo>
                              <a:lnTo>
                                <a:pt x="192" y="136"/>
                              </a:lnTo>
                              <a:lnTo>
                                <a:pt x="192" y="136"/>
                              </a:lnTo>
                              <a:lnTo>
                                <a:pt x="194" y="132"/>
                              </a:lnTo>
                              <a:lnTo>
                                <a:pt x="192" y="130"/>
                              </a:lnTo>
                              <a:lnTo>
                                <a:pt x="190" y="126"/>
                              </a:lnTo>
                              <a:lnTo>
                                <a:pt x="188" y="122"/>
                              </a:lnTo>
                              <a:lnTo>
                                <a:pt x="188" y="122"/>
                              </a:lnTo>
                              <a:lnTo>
                                <a:pt x="188" y="118"/>
                              </a:lnTo>
                              <a:lnTo>
                                <a:pt x="186" y="116"/>
                              </a:lnTo>
                              <a:lnTo>
                                <a:pt x="182" y="114"/>
                              </a:lnTo>
                              <a:lnTo>
                                <a:pt x="180" y="110"/>
                              </a:lnTo>
                              <a:lnTo>
                                <a:pt x="180" y="110"/>
                              </a:lnTo>
                              <a:lnTo>
                                <a:pt x="176" y="110"/>
                              </a:lnTo>
                              <a:lnTo>
                                <a:pt x="172" y="110"/>
                              </a:lnTo>
                              <a:lnTo>
                                <a:pt x="164" y="104"/>
                              </a:lnTo>
                              <a:lnTo>
                                <a:pt x="158" y="94"/>
                              </a:lnTo>
                              <a:lnTo>
                                <a:pt x="158" y="90"/>
                              </a:lnTo>
                              <a:lnTo>
                                <a:pt x="158" y="86"/>
                              </a:lnTo>
                              <a:lnTo>
                                <a:pt x="158" y="86"/>
                              </a:lnTo>
                              <a:lnTo>
                                <a:pt x="158" y="80"/>
                              </a:lnTo>
                              <a:lnTo>
                                <a:pt x="154" y="76"/>
                              </a:lnTo>
                              <a:lnTo>
                                <a:pt x="148" y="72"/>
                              </a:lnTo>
                              <a:lnTo>
                                <a:pt x="136" y="62"/>
                              </a:lnTo>
                              <a:lnTo>
                                <a:pt x="136" y="62"/>
                              </a:lnTo>
                              <a:lnTo>
                                <a:pt x="130" y="56"/>
                              </a:lnTo>
                              <a:lnTo>
                                <a:pt x="126" y="54"/>
                              </a:lnTo>
                              <a:lnTo>
                                <a:pt x="120" y="56"/>
                              </a:lnTo>
                              <a:lnTo>
                                <a:pt x="114" y="56"/>
                              </a:lnTo>
                              <a:lnTo>
                                <a:pt x="110" y="58"/>
                              </a:lnTo>
                              <a:lnTo>
                                <a:pt x="106" y="60"/>
                              </a:lnTo>
                              <a:lnTo>
                                <a:pt x="102" y="58"/>
                              </a:lnTo>
                              <a:lnTo>
                                <a:pt x="96" y="54"/>
                              </a:lnTo>
                              <a:lnTo>
                                <a:pt x="96" y="54"/>
                              </a:lnTo>
                              <a:lnTo>
                                <a:pt x="92" y="50"/>
                              </a:lnTo>
                              <a:lnTo>
                                <a:pt x="88" y="50"/>
                              </a:lnTo>
                              <a:lnTo>
                                <a:pt x="84" y="52"/>
                              </a:lnTo>
                              <a:lnTo>
                                <a:pt x="80" y="54"/>
                              </a:lnTo>
                              <a:lnTo>
                                <a:pt x="74" y="58"/>
                              </a:lnTo>
                              <a:lnTo>
                                <a:pt x="72" y="60"/>
                              </a:lnTo>
                              <a:lnTo>
                                <a:pt x="70" y="58"/>
                              </a:lnTo>
                              <a:lnTo>
                                <a:pt x="70" y="58"/>
                              </a:lnTo>
                              <a:lnTo>
                                <a:pt x="70" y="52"/>
                              </a:lnTo>
                              <a:lnTo>
                                <a:pt x="70" y="46"/>
                              </a:lnTo>
                              <a:lnTo>
                                <a:pt x="72" y="32"/>
                              </a:lnTo>
                              <a:lnTo>
                                <a:pt x="78" y="20"/>
                              </a:lnTo>
                              <a:lnTo>
                                <a:pt x="78" y="14"/>
                              </a:lnTo>
                              <a:lnTo>
                                <a:pt x="78" y="14"/>
                              </a:lnTo>
                              <a:lnTo>
                                <a:pt x="76" y="12"/>
                              </a:lnTo>
                              <a:lnTo>
                                <a:pt x="74" y="12"/>
                              </a:lnTo>
                              <a:lnTo>
                                <a:pt x="68" y="12"/>
                              </a:lnTo>
                              <a:lnTo>
                                <a:pt x="60" y="14"/>
                              </a:lnTo>
                              <a:lnTo>
                                <a:pt x="58" y="12"/>
                              </a:lnTo>
                              <a:lnTo>
                                <a:pt x="56" y="8"/>
                              </a:lnTo>
                              <a:lnTo>
                                <a:pt x="56" y="8"/>
                              </a:lnTo>
                              <a:lnTo>
                                <a:pt x="54" y="4"/>
                              </a:lnTo>
                              <a:lnTo>
                                <a:pt x="54" y="4"/>
                              </a:lnTo>
                              <a:lnTo>
                                <a:pt x="52" y="4"/>
                              </a:lnTo>
                              <a:lnTo>
                                <a:pt x="50" y="0"/>
                              </a:lnTo>
                              <a:lnTo>
                                <a:pt x="50" y="0"/>
                              </a:lnTo>
                              <a:lnTo>
                                <a:pt x="34" y="2"/>
                              </a:lnTo>
                              <a:lnTo>
                                <a:pt x="32" y="2"/>
                              </a:lnTo>
                              <a:lnTo>
                                <a:pt x="30" y="6"/>
                              </a:lnTo>
                              <a:lnTo>
                                <a:pt x="30" y="6"/>
                              </a:lnTo>
                              <a:lnTo>
                                <a:pt x="30" y="8"/>
                              </a:lnTo>
                              <a:lnTo>
                                <a:pt x="28" y="8"/>
                              </a:lnTo>
                              <a:lnTo>
                                <a:pt x="24" y="8"/>
                              </a:lnTo>
                              <a:lnTo>
                                <a:pt x="18" y="8"/>
                              </a:lnTo>
                              <a:lnTo>
                                <a:pt x="14" y="10"/>
                              </a:lnTo>
                              <a:lnTo>
                                <a:pt x="12" y="12"/>
                              </a:lnTo>
                              <a:lnTo>
                                <a:pt x="12" y="12"/>
                              </a:lnTo>
                              <a:lnTo>
                                <a:pt x="10" y="16"/>
                              </a:lnTo>
                              <a:lnTo>
                                <a:pt x="8" y="20"/>
                              </a:lnTo>
                              <a:lnTo>
                                <a:pt x="10" y="26"/>
                              </a:lnTo>
                              <a:lnTo>
                                <a:pt x="12" y="30"/>
                              </a:lnTo>
                              <a:lnTo>
                                <a:pt x="12" y="34"/>
                              </a:lnTo>
                              <a:lnTo>
                                <a:pt x="10" y="36"/>
                              </a:lnTo>
                              <a:lnTo>
                                <a:pt x="10" y="36"/>
                              </a:lnTo>
                              <a:lnTo>
                                <a:pt x="8" y="40"/>
                              </a:lnTo>
                              <a:lnTo>
                                <a:pt x="4" y="40"/>
                              </a:lnTo>
                              <a:lnTo>
                                <a:pt x="2" y="40"/>
                              </a:lnTo>
                              <a:lnTo>
                                <a:pt x="0" y="42"/>
                              </a:lnTo>
                              <a:lnTo>
                                <a:pt x="0" y="42"/>
                              </a:lnTo>
                              <a:lnTo>
                                <a:pt x="0" y="46"/>
                              </a:lnTo>
                              <a:lnTo>
                                <a:pt x="2" y="48"/>
                              </a:lnTo>
                              <a:lnTo>
                                <a:pt x="4" y="52"/>
                              </a:lnTo>
                              <a:lnTo>
                                <a:pt x="6" y="54"/>
                              </a:lnTo>
                              <a:lnTo>
                                <a:pt x="6" y="54"/>
                              </a:lnTo>
                              <a:lnTo>
                                <a:pt x="4" y="56"/>
                              </a:lnTo>
                              <a:lnTo>
                                <a:pt x="4" y="58"/>
                              </a:lnTo>
                              <a:lnTo>
                                <a:pt x="10" y="62"/>
                              </a:lnTo>
                              <a:lnTo>
                                <a:pt x="16" y="68"/>
                              </a:lnTo>
                              <a:lnTo>
                                <a:pt x="22" y="74"/>
                              </a:lnTo>
                              <a:lnTo>
                                <a:pt x="22" y="74"/>
                              </a:lnTo>
                              <a:lnTo>
                                <a:pt x="30" y="82"/>
                              </a:lnTo>
                              <a:lnTo>
                                <a:pt x="38" y="88"/>
                              </a:lnTo>
                              <a:lnTo>
                                <a:pt x="46" y="92"/>
                              </a:lnTo>
                              <a:lnTo>
                                <a:pt x="50" y="96"/>
                              </a:lnTo>
                              <a:lnTo>
                                <a:pt x="50" y="96"/>
                              </a:lnTo>
                              <a:lnTo>
                                <a:pt x="50" y="98"/>
                              </a:lnTo>
                              <a:lnTo>
                                <a:pt x="48" y="98"/>
                              </a:lnTo>
                              <a:lnTo>
                                <a:pt x="44" y="98"/>
                              </a:lnTo>
                              <a:lnTo>
                                <a:pt x="40" y="100"/>
                              </a:lnTo>
                              <a:lnTo>
                                <a:pt x="40" y="102"/>
                              </a:lnTo>
                              <a:lnTo>
                                <a:pt x="38" y="104"/>
                              </a:lnTo>
                              <a:lnTo>
                                <a:pt x="38" y="104"/>
                              </a:lnTo>
                              <a:lnTo>
                                <a:pt x="38" y="108"/>
                              </a:lnTo>
                              <a:lnTo>
                                <a:pt x="40" y="110"/>
                              </a:lnTo>
                              <a:lnTo>
                                <a:pt x="40" y="112"/>
                              </a:lnTo>
                              <a:lnTo>
                                <a:pt x="38" y="118"/>
                              </a:lnTo>
                              <a:lnTo>
                                <a:pt x="38" y="118"/>
                              </a:lnTo>
                              <a:lnTo>
                                <a:pt x="38" y="122"/>
                              </a:lnTo>
                              <a:lnTo>
                                <a:pt x="38" y="126"/>
                              </a:lnTo>
                              <a:lnTo>
                                <a:pt x="40" y="130"/>
                              </a:lnTo>
                              <a:lnTo>
                                <a:pt x="38" y="132"/>
                              </a:lnTo>
                              <a:lnTo>
                                <a:pt x="38" y="132"/>
                              </a:lnTo>
                              <a:lnTo>
                                <a:pt x="36" y="134"/>
                              </a:lnTo>
                              <a:lnTo>
                                <a:pt x="34" y="138"/>
                              </a:lnTo>
                              <a:lnTo>
                                <a:pt x="36" y="142"/>
                              </a:lnTo>
                              <a:lnTo>
                                <a:pt x="42" y="150"/>
                              </a:lnTo>
                              <a:lnTo>
                                <a:pt x="52" y="158"/>
                              </a:lnTo>
                              <a:lnTo>
                                <a:pt x="52" y="158"/>
                              </a:lnTo>
                              <a:lnTo>
                                <a:pt x="56" y="160"/>
                              </a:lnTo>
                              <a:lnTo>
                                <a:pt x="58" y="164"/>
                              </a:lnTo>
                              <a:lnTo>
                                <a:pt x="58" y="172"/>
                              </a:lnTo>
                              <a:lnTo>
                                <a:pt x="58" y="184"/>
                              </a:lnTo>
                              <a:lnTo>
                                <a:pt x="60" y="192"/>
                              </a:lnTo>
                              <a:lnTo>
                                <a:pt x="64" y="204"/>
                              </a:lnTo>
                              <a:lnTo>
                                <a:pt x="64" y="204"/>
                              </a:lnTo>
                              <a:lnTo>
                                <a:pt x="68" y="214"/>
                              </a:lnTo>
                              <a:lnTo>
                                <a:pt x="68" y="220"/>
                              </a:lnTo>
                              <a:lnTo>
                                <a:pt x="66" y="226"/>
                              </a:lnTo>
                              <a:lnTo>
                                <a:pt x="64" y="232"/>
                              </a:lnTo>
                              <a:lnTo>
                                <a:pt x="58" y="240"/>
                              </a:lnTo>
                              <a:lnTo>
                                <a:pt x="56" y="244"/>
                              </a:lnTo>
                              <a:lnTo>
                                <a:pt x="56" y="248"/>
                              </a:lnTo>
                              <a:lnTo>
                                <a:pt x="56" y="248"/>
                              </a:lnTo>
                              <a:lnTo>
                                <a:pt x="56" y="256"/>
                              </a:lnTo>
                              <a:lnTo>
                                <a:pt x="56" y="258"/>
                              </a:lnTo>
                              <a:lnTo>
                                <a:pt x="54" y="260"/>
                              </a:lnTo>
                              <a:lnTo>
                                <a:pt x="54" y="264"/>
                              </a:lnTo>
                              <a:lnTo>
                                <a:pt x="54" y="264"/>
                              </a:lnTo>
                              <a:lnTo>
                                <a:pt x="50" y="270"/>
                              </a:lnTo>
                              <a:lnTo>
                                <a:pt x="48" y="274"/>
                              </a:lnTo>
                              <a:lnTo>
                                <a:pt x="46" y="278"/>
                              </a:lnTo>
                              <a:lnTo>
                                <a:pt x="46" y="282"/>
                              </a:lnTo>
                              <a:lnTo>
                                <a:pt x="50" y="284"/>
                              </a:lnTo>
                              <a:lnTo>
                                <a:pt x="50" y="284"/>
                              </a:lnTo>
                              <a:lnTo>
                                <a:pt x="46" y="288"/>
                              </a:lnTo>
                              <a:lnTo>
                                <a:pt x="44" y="290"/>
                              </a:lnTo>
                              <a:lnTo>
                                <a:pt x="46" y="292"/>
                              </a:lnTo>
                              <a:lnTo>
                                <a:pt x="44" y="298"/>
                              </a:lnTo>
                              <a:lnTo>
                                <a:pt x="44" y="298"/>
                              </a:lnTo>
                              <a:lnTo>
                                <a:pt x="44" y="302"/>
                              </a:lnTo>
                              <a:lnTo>
                                <a:pt x="46" y="304"/>
                              </a:lnTo>
                              <a:lnTo>
                                <a:pt x="48" y="306"/>
                              </a:lnTo>
                              <a:lnTo>
                                <a:pt x="50" y="308"/>
                              </a:lnTo>
                              <a:lnTo>
                                <a:pt x="50" y="308"/>
                              </a:lnTo>
                              <a:lnTo>
                                <a:pt x="52" y="306"/>
                              </a:lnTo>
                              <a:lnTo>
                                <a:pt x="52" y="304"/>
                              </a:lnTo>
                              <a:lnTo>
                                <a:pt x="52" y="302"/>
                              </a:lnTo>
                              <a:lnTo>
                                <a:pt x="56" y="304"/>
                              </a:lnTo>
                              <a:lnTo>
                                <a:pt x="56" y="304"/>
                              </a:lnTo>
                              <a:lnTo>
                                <a:pt x="58" y="306"/>
                              </a:lnTo>
                              <a:lnTo>
                                <a:pt x="58" y="308"/>
                              </a:lnTo>
                              <a:lnTo>
                                <a:pt x="58" y="310"/>
                              </a:lnTo>
                              <a:lnTo>
                                <a:pt x="62" y="310"/>
                              </a:lnTo>
                              <a:lnTo>
                                <a:pt x="62" y="310"/>
                              </a:lnTo>
                              <a:lnTo>
                                <a:pt x="66" y="312"/>
                              </a:lnTo>
                              <a:lnTo>
                                <a:pt x="64" y="316"/>
                              </a:lnTo>
                              <a:lnTo>
                                <a:pt x="64" y="318"/>
                              </a:lnTo>
                              <a:lnTo>
                                <a:pt x="66" y="322"/>
                              </a:lnTo>
                              <a:lnTo>
                                <a:pt x="66" y="322"/>
                              </a:lnTo>
                              <a:lnTo>
                                <a:pt x="66" y="322"/>
                              </a:lnTo>
                              <a:lnTo>
                                <a:pt x="68" y="320"/>
                              </a:lnTo>
                              <a:lnTo>
                                <a:pt x="68" y="316"/>
                              </a:lnTo>
                              <a:lnTo>
                                <a:pt x="68" y="316"/>
                              </a:lnTo>
                              <a:lnTo>
                                <a:pt x="70" y="320"/>
                              </a:lnTo>
                              <a:lnTo>
                                <a:pt x="70" y="324"/>
                              </a:lnTo>
                              <a:lnTo>
                                <a:pt x="72" y="328"/>
                              </a:lnTo>
                              <a:lnTo>
                                <a:pt x="78" y="330"/>
                              </a:lnTo>
                              <a:lnTo>
                                <a:pt x="78" y="330"/>
                              </a:lnTo>
                              <a:lnTo>
                                <a:pt x="74" y="336"/>
                              </a:lnTo>
                              <a:lnTo>
                                <a:pt x="76" y="338"/>
                              </a:lnTo>
                              <a:lnTo>
                                <a:pt x="76" y="340"/>
                              </a:lnTo>
                              <a:lnTo>
                                <a:pt x="82" y="342"/>
                              </a:lnTo>
                              <a:lnTo>
                                <a:pt x="90" y="352"/>
                              </a:lnTo>
                              <a:lnTo>
                                <a:pt x="90" y="352"/>
                              </a:lnTo>
                              <a:lnTo>
                                <a:pt x="94" y="350"/>
                              </a:lnTo>
                              <a:lnTo>
                                <a:pt x="98" y="350"/>
                              </a:lnTo>
                              <a:lnTo>
                                <a:pt x="106" y="354"/>
                              </a:lnTo>
                              <a:lnTo>
                                <a:pt x="110" y="358"/>
                              </a:lnTo>
                              <a:lnTo>
                                <a:pt x="116" y="360"/>
                              </a:lnTo>
                              <a:lnTo>
                                <a:pt x="116" y="360"/>
                              </a:lnTo>
                              <a:lnTo>
                                <a:pt x="122" y="358"/>
                              </a:lnTo>
                              <a:lnTo>
                                <a:pt x="124" y="356"/>
                              </a:lnTo>
                              <a:lnTo>
                                <a:pt x="126" y="354"/>
                              </a:lnTo>
                              <a:lnTo>
                                <a:pt x="130" y="350"/>
                              </a:lnTo>
                              <a:lnTo>
                                <a:pt x="130" y="350"/>
                              </a:lnTo>
                              <a:close/>
                            </a:path>
                          </a:pathLst>
                        </a:custGeom>
                        <a:solidFill>
                          <a:schemeClr val="tx2"/>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2" name="Turkey"/>
                        <p:cNvSpPr>
                          <a:spLocks/>
                        </p:cNvSpPr>
                        <p:nvPr/>
                      </p:nvSpPr>
                      <p:spPr bwMode="auto">
                        <a:xfrm>
                          <a:off x="6559062" y="2124079"/>
                          <a:ext cx="568039" cy="203334"/>
                        </a:xfrm>
                        <a:custGeom>
                          <a:avLst/>
                          <a:gdLst/>
                          <a:ahLst/>
                          <a:cxnLst>
                            <a:cxn ang="0">
                              <a:pos x="260" y="22"/>
                            </a:cxn>
                            <a:cxn ang="0">
                              <a:pos x="236" y="20"/>
                            </a:cxn>
                            <a:cxn ang="0">
                              <a:pos x="202" y="18"/>
                            </a:cxn>
                            <a:cxn ang="0">
                              <a:pos x="186" y="12"/>
                            </a:cxn>
                            <a:cxn ang="0">
                              <a:pos x="172" y="6"/>
                            </a:cxn>
                            <a:cxn ang="0">
                              <a:pos x="156" y="2"/>
                            </a:cxn>
                            <a:cxn ang="0">
                              <a:pos x="126" y="4"/>
                            </a:cxn>
                            <a:cxn ang="0">
                              <a:pos x="98" y="14"/>
                            </a:cxn>
                            <a:cxn ang="0">
                              <a:pos x="68" y="20"/>
                            </a:cxn>
                            <a:cxn ang="0">
                              <a:pos x="48" y="24"/>
                            </a:cxn>
                            <a:cxn ang="0">
                              <a:pos x="72" y="28"/>
                            </a:cxn>
                            <a:cxn ang="0">
                              <a:pos x="54" y="32"/>
                            </a:cxn>
                            <a:cxn ang="0">
                              <a:pos x="32" y="34"/>
                            </a:cxn>
                            <a:cxn ang="0">
                              <a:pos x="22" y="36"/>
                            </a:cxn>
                            <a:cxn ang="0">
                              <a:pos x="8" y="42"/>
                            </a:cxn>
                            <a:cxn ang="0">
                              <a:pos x="0" y="52"/>
                            </a:cxn>
                            <a:cxn ang="0">
                              <a:pos x="4" y="56"/>
                            </a:cxn>
                            <a:cxn ang="0">
                              <a:pos x="10" y="62"/>
                            </a:cxn>
                            <a:cxn ang="0">
                              <a:pos x="12" y="68"/>
                            </a:cxn>
                            <a:cxn ang="0">
                              <a:pos x="12" y="74"/>
                            </a:cxn>
                            <a:cxn ang="0">
                              <a:pos x="8" y="74"/>
                            </a:cxn>
                            <a:cxn ang="0">
                              <a:pos x="4" y="78"/>
                            </a:cxn>
                            <a:cxn ang="0">
                              <a:pos x="8" y="88"/>
                            </a:cxn>
                            <a:cxn ang="0">
                              <a:pos x="22" y="92"/>
                            </a:cxn>
                            <a:cxn ang="0">
                              <a:pos x="24" y="102"/>
                            </a:cxn>
                            <a:cxn ang="0">
                              <a:pos x="34" y="106"/>
                            </a:cxn>
                            <a:cxn ang="0">
                              <a:pos x="34" y="110"/>
                            </a:cxn>
                            <a:cxn ang="0">
                              <a:pos x="32" y="114"/>
                            </a:cxn>
                            <a:cxn ang="0">
                              <a:pos x="38" y="118"/>
                            </a:cxn>
                            <a:cxn ang="0">
                              <a:pos x="36" y="122"/>
                            </a:cxn>
                            <a:cxn ang="0">
                              <a:pos x="52" y="122"/>
                            </a:cxn>
                            <a:cxn ang="0">
                              <a:pos x="66" y="120"/>
                            </a:cxn>
                            <a:cxn ang="0">
                              <a:pos x="68" y="124"/>
                            </a:cxn>
                            <a:cxn ang="0">
                              <a:pos x="82" y="132"/>
                            </a:cxn>
                            <a:cxn ang="0">
                              <a:pos x="98" y="124"/>
                            </a:cxn>
                            <a:cxn ang="0">
                              <a:pos x="106" y="118"/>
                            </a:cxn>
                            <a:cxn ang="0">
                              <a:pos x="128" y="128"/>
                            </a:cxn>
                            <a:cxn ang="0">
                              <a:pos x="156" y="132"/>
                            </a:cxn>
                            <a:cxn ang="0">
                              <a:pos x="166" y="120"/>
                            </a:cxn>
                            <a:cxn ang="0">
                              <a:pos x="188" y="122"/>
                            </a:cxn>
                            <a:cxn ang="0">
                              <a:pos x="196" y="120"/>
                            </a:cxn>
                            <a:cxn ang="0">
                              <a:pos x="192" y="130"/>
                            </a:cxn>
                            <a:cxn ang="0">
                              <a:pos x="208" y="130"/>
                            </a:cxn>
                            <a:cxn ang="0">
                              <a:pos x="218" y="116"/>
                            </a:cxn>
                            <a:cxn ang="0">
                              <a:pos x="250" y="114"/>
                            </a:cxn>
                            <a:cxn ang="0">
                              <a:pos x="298" y="104"/>
                            </a:cxn>
                            <a:cxn ang="0">
                              <a:pos x="320" y="104"/>
                            </a:cxn>
                            <a:cxn ang="0">
                              <a:pos x="334" y="98"/>
                            </a:cxn>
                            <a:cxn ang="0">
                              <a:pos x="356" y="104"/>
                            </a:cxn>
                            <a:cxn ang="0">
                              <a:pos x="374" y="106"/>
                            </a:cxn>
                            <a:cxn ang="0">
                              <a:pos x="370" y="100"/>
                            </a:cxn>
                            <a:cxn ang="0">
                              <a:pos x="362" y="92"/>
                            </a:cxn>
                            <a:cxn ang="0">
                              <a:pos x="354" y="74"/>
                            </a:cxn>
                            <a:cxn ang="0">
                              <a:pos x="346" y="56"/>
                            </a:cxn>
                            <a:cxn ang="0">
                              <a:pos x="354" y="52"/>
                            </a:cxn>
                            <a:cxn ang="0">
                              <a:pos x="350" y="40"/>
                            </a:cxn>
                            <a:cxn ang="0">
                              <a:pos x="332" y="34"/>
                            </a:cxn>
                            <a:cxn ang="0">
                              <a:pos x="328" y="18"/>
                            </a:cxn>
                            <a:cxn ang="0">
                              <a:pos x="320" y="10"/>
                            </a:cxn>
                            <a:cxn ang="0">
                              <a:pos x="306" y="10"/>
                            </a:cxn>
                          </a:cxnLst>
                          <a:rect l="0" t="0" r="r" b="b"/>
                          <a:pathLst>
                            <a:path w="374" h="134">
                              <a:moveTo>
                                <a:pt x="282" y="6"/>
                              </a:moveTo>
                              <a:lnTo>
                                <a:pt x="282" y="6"/>
                              </a:lnTo>
                              <a:lnTo>
                                <a:pt x="274" y="16"/>
                              </a:lnTo>
                              <a:lnTo>
                                <a:pt x="268" y="20"/>
                              </a:lnTo>
                              <a:lnTo>
                                <a:pt x="260" y="22"/>
                              </a:lnTo>
                              <a:lnTo>
                                <a:pt x="254" y="22"/>
                              </a:lnTo>
                              <a:lnTo>
                                <a:pt x="246" y="18"/>
                              </a:lnTo>
                              <a:lnTo>
                                <a:pt x="240" y="18"/>
                              </a:lnTo>
                              <a:lnTo>
                                <a:pt x="236" y="20"/>
                              </a:lnTo>
                              <a:lnTo>
                                <a:pt x="236" y="20"/>
                              </a:lnTo>
                              <a:lnTo>
                                <a:pt x="224" y="22"/>
                              </a:lnTo>
                              <a:lnTo>
                                <a:pt x="216" y="22"/>
                              </a:lnTo>
                              <a:lnTo>
                                <a:pt x="206" y="20"/>
                              </a:lnTo>
                              <a:lnTo>
                                <a:pt x="206" y="20"/>
                              </a:lnTo>
                              <a:lnTo>
                                <a:pt x="202" y="18"/>
                              </a:lnTo>
                              <a:lnTo>
                                <a:pt x="202" y="16"/>
                              </a:lnTo>
                              <a:lnTo>
                                <a:pt x="200" y="14"/>
                              </a:lnTo>
                              <a:lnTo>
                                <a:pt x="194" y="14"/>
                              </a:lnTo>
                              <a:lnTo>
                                <a:pt x="194" y="14"/>
                              </a:lnTo>
                              <a:lnTo>
                                <a:pt x="186" y="12"/>
                              </a:lnTo>
                              <a:lnTo>
                                <a:pt x="184" y="10"/>
                              </a:lnTo>
                              <a:lnTo>
                                <a:pt x="182" y="8"/>
                              </a:lnTo>
                              <a:lnTo>
                                <a:pt x="176" y="6"/>
                              </a:lnTo>
                              <a:lnTo>
                                <a:pt x="176" y="6"/>
                              </a:lnTo>
                              <a:lnTo>
                                <a:pt x="172" y="6"/>
                              </a:lnTo>
                              <a:lnTo>
                                <a:pt x="170" y="6"/>
                              </a:lnTo>
                              <a:lnTo>
                                <a:pt x="164" y="2"/>
                              </a:lnTo>
                              <a:lnTo>
                                <a:pt x="162" y="0"/>
                              </a:lnTo>
                              <a:lnTo>
                                <a:pt x="160" y="0"/>
                              </a:lnTo>
                              <a:lnTo>
                                <a:pt x="156" y="2"/>
                              </a:lnTo>
                              <a:lnTo>
                                <a:pt x="156" y="2"/>
                              </a:lnTo>
                              <a:lnTo>
                                <a:pt x="150" y="4"/>
                              </a:lnTo>
                              <a:lnTo>
                                <a:pt x="140" y="4"/>
                              </a:lnTo>
                              <a:lnTo>
                                <a:pt x="130" y="4"/>
                              </a:lnTo>
                              <a:lnTo>
                                <a:pt x="126" y="4"/>
                              </a:lnTo>
                              <a:lnTo>
                                <a:pt x="122" y="8"/>
                              </a:lnTo>
                              <a:lnTo>
                                <a:pt x="122" y="8"/>
                              </a:lnTo>
                              <a:lnTo>
                                <a:pt x="112" y="10"/>
                              </a:lnTo>
                              <a:lnTo>
                                <a:pt x="106" y="12"/>
                              </a:lnTo>
                              <a:lnTo>
                                <a:pt x="98" y="14"/>
                              </a:lnTo>
                              <a:lnTo>
                                <a:pt x="92" y="20"/>
                              </a:lnTo>
                              <a:lnTo>
                                <a:pt x="92" y="20"/>
                              </a:lnTo>
                              <a:lnTo>
                                <a:pt x="86" y="22"/>
                              </a:lnTo>
                              <a:lnTo>
                                <a:pt x="82" y="22"/>
                              </a:lnTo>
                              <a:lnTo>
                                <a:pt x="68" y="20"/>
                              </a:lnTo>
                              <a:lnTo>
                                <a:pt x="58" y="18"/>
                              </a:lnTo>
                              <a:lnTo>
                                <a:pt x="52" y="18"/>
                              </a:lnTo>
                              <a:lnTo>
                                <a:pt x="50" y="20"/>
                              </a:lnTo>
                              <a:lnTo>
                                <a:pt x="50" y="20"/>
                              </a:lnTo>
                              <a:lnTo>
                                <a:pt x="48" y="24"/>
                              </a:lnTo>
                              <a:lnTo>
                                <a:pt x="50" y="24"/>
                              </a:lnTo>
                              <a:lnTo>
                                <a:pt x="54" y="26"/>
                              </a:lnTo>
                              <a:lnTo>
                                <a:pt x="62" y="26"/>
                              </a:lnTo>
                              <a:lnTo>
                                <a:pt x="72" y="28"/>
                              </a:lnTo>
                              <a:lnTo>
                                <a:pt x="72" y="28"/>
                              </a:lnTo>
                              <a:lnTo>
                                <a:pt x="56" y="30"/>
                              </a:lnTo>
                              <a:lnTo>
                                <a:pt x="52" y="32"/>
                              </a:lnTo>
                              <a:lnTo>
                                <a:pt x="52" y="32"/>
                              </a:lnTo>
                              <a:lnTo>
                                <a:pt x="54" y="32"/>
                              </a:lnTo>
                              <a:lnTo>
                                <a:pt x="54" y="32"/>
                              </a:lnTo>
                              <a:lnTo>
                                <a:pt x="54" y="34"/>
                              </a:lnTo>
                              <a:lnTo>
                                <a:pt x="54" y="34"/>
                              </a:lnTo>
                              <a:lnTo>
                                <a:pt x="46" y="36"/>
                              </a:lnTo>
                              <a:lnTo>
                                <a:pt x="38" y="36"/>
                              </a:lnTo>
                              <a:lnTo>
                                <a:pt x="32" y="34"/>
                              </a:lnTo>
                              <a:lnTo>
                                <a:pt x="32" y="34"/>
                              </a:lnTo>
                              <a:lnTo>
                                <a:pt x="30" y="34"/>
                              </a:lnTo>
                              <a:lnTo>
                                <a:pt x="28" y="36"/>
                              </a:lnTo>
                              <a:lnTo>
                                <a:pt x="24" y="36"/>
                              </a:lnTo>
                              <a:lnTo>
                                <a:pt x="22" y="36"/>
                              </a:lnTo>
                              <a:lnTo>
                                <a:pt x="22" y="36"/>
                              </a:lnTo>
                              <a:lnTo>
                                <a:pt x="20" y="34"/>
                              </a:lnTo>
                              <a:lnTo>
                                <a:pt x="16" y="36"/>
                              </a:lnTo>
                              <a:lnTo>
                                <a:pt x="8" y="42"/>
                              </a:lnTo>
                              <a:lnTo>
                                <a:pt x="8" y="42"/>
                              </a:lnTo>
                              <a:lnTo>
                                <a:pt x="0" y="42"/>
                              </a:lnTo>
                              <a:lnTo>
                                <a:pt x="0" y="44"/>
                              </a:lnTo>
                              <a:lnTo>
                                <a:pt x="0" y="46"/>
                              </a:lnTo>
                              <a:lnTo>
                                <a:pt x="0" y="46"/>
                              </a:lnTo>
                              <a:lnTo>
                                <a:pt x="0" y="52"/>
                              </a:lnTo>
                              <a:lnTo>
                                <a:pt x="0" y="54"/>
                              </a:lnTo>
                              <a:lnTo>
                                <a:pt x="2" y="54"/>
                              </a:lnTo>
                              <a:lnTo>
                                <a:pt x="10" y="54"/>
                              </a:lnTo>
                              <a:lnTo>
                                <a:pt x="10" y="54"/>
                              </a:lnTo>
                              <a:lnTo>
                                <a:pt x="4" y="56"/>
                              </a:lnTo>
                              <a:lnTo>
                                <a:pt x="6" y="60"/>
                              </a:lnTo>
                              <a:lnTo>
                                <a:pt x="10" y="60"/>
                              </a:lnTo>
                              <a:lnTo>
                                <a:pt x="10" y="62"/>
                              </a:lnTo>
                              <a:lnTo>
                                <a:pt x="10" y="62"/>
                              </a:lnTo>
                              <a:lnTo>
                                <a:pt x="10" y="62"/>
                              </a:lnTo>
                              <a:lnTo>
                                <a:pt x="10" y="64"/>
                              </a:lnTo>
                              <a:lnTo>
                                <a:pt x="12" y="66"/>
                              </a:lnTo>
                              <a:lnTo>
                                <a:pt x="12" y="66"/>
                              </a:lnTo>
                              <a:lnTo>
                                <a:pt x="12" y="68"/>
                              </a:lnTo>
                              <a:lnTo>
                                <a:pt x="12" y="68"/>
                              </a:lnTo>
                              <a:lnTo>
                                <a:pt x="10" y="68"/>
                              </a:lnTo>
                              <a:lnTo>
                                <a:pt x="10" y="70"/>
                              </a:lnTo>
                              <a:lnTo>
                                <a:pt x="12" y="72"/>
                              </a:lnTo>
                              <a:lnTo>
                                <a:pt x="14" y="74"/>
                              </a:lnTo>
                              <a:lnTo>
                                <a:pt x="12" y="74"/>
                              </a:lnTo>
                              <a:lnTo>
                                <a:pt x="12" y="74"/>
                              </a:lnTo>
                              <a:lnTo>
                                <a:pt x="10" y="76"/>
                              </a:lnTo>
                              <a:lnTo>
                                <a:pt x="10" y="78"/>
                              </a:lnTo>
                              <a:lnTo>
                                <a:pt x="8" y="74"/>
                              </a:lnTo>
                              <a:lnTo>
                                <a:pt x="8" y="74"/>
                              </a:lnTo>
                              <a:lnTo>
                                <a:pt x="6" y="72"/>
                              </a:lnTo>
                              <a:lnTo>
                                <a:pt x="4" y="74"/>
                              </a:lnTo>
                              <a:lnTo>
                                <a:pt x="2" y="76"/>
                              </a:lnTo>
                              <a:lnTo>
                                <a:pt x="4" y="78"/>
                              </a:lnTo>
                              <a:lnTo>
                                <a:pt x="4" y="78"/>
                              </a:lnTo>
                              <a:lnTo>
                                <a:pt x="6" y="82"/>
                              </a:lnTo>
                              <a:lnTo>
                                <a:pt x="6" y="86"/>
                              </a:lnTo>
                              <a:lnTo>
                                <a:pt x="6" y="88"/>
                              </a:lnTo>
                              <a:lnTo>
                                <a:pt x="8" y="88"/>
                              </a:lnTo>
                              <a:lnTo>
                                <a:pt x="8" y="88"/>
                              </a:lnTo>
                              <a:lnTo>
                                <a:pt x="10" y="86"/>
                              </a:lnTo>
                              <a:lnTo>
                                <a:pt x="14" y="86"/>
                              </a:lnTo>
                              <a:lnTo>
                                <a:pt x="18" y="90"/>
                              </a:lnTo>
                              <a:lnTo>
                                <a:pt x="18" y="90"/>
                              </a:lnTo>
                              <a:lnTo>
                                <a:pt x="22" y="92"/>
                              </a:lnTo>
                              <a:lnTo>
                                <a:pt x="24" y="94"/>
                              </a:lnTo>
                              <a:lnTo>
                                <a:pt x="22" y="98"/>
                              </a:lnTo>
                              <a:lnTo>
                                <a:pt x="22" y="100"/>
                              </a:lnTo>
                              <a:lnTo>
                                <a:pt x="22" y="102"/>
                              </a:lnTo>
                              <a:lnTo>
                                <a:pt x="24" y="102"/>
                              </a:lnTo>
                              <a:lnTo>
                                <a:pt x="24" y="102"/>
                              </a:lnTo>
                              <a:lnTo>
                                <a:pt x="28" y="102"/>
                              </a:lnTo>
                              <a:lnTo>
                                <a:pt x="30" y="104"/>
                              </a:lnTo>
                              <a:lnTo>
                                <a:pt x="32" y="106"/>
                              </a:lnTo>
                              <a:lnTo>
                                <a:pt x="34" y="106"/>
                              </a:lnTo>
                              <a:lnTo>
                                <a:pt x="34" y="106"/>
                              </a:lnTo>
                              <a:lnTo>
                                <a:pt x="36" y="106"/>
                              </a:lnTo>
                              <a:lnTo>
                                <a:pt x="38" y="108"/>
                              </a:lnTo>
                              <a:lnTo>
                                <a:pt x="36" y="110"/>
                              </a:lnTo>
                              <a:lnTo>
                                <a:pt x="34" y="110"/>
                              </a:lnTo>
                              <a:lnTo>
                                <a:pt x="34" y="110"/>
                              </a:lnTo>
                              <a:lnTo>
                                <a:pt x="32" y="110"/>
                              </a:lnTo>
                              <a:lnTo>
                                <a:pt x="32" y="112"/>
                              </a:lnTo>
                              <a:lnTo>
                                <a:pt x="32" y="114"/>
                              </a:lnTo>
                              <a:lnTo>
                                <a:pt x="32" y="114"/>
                              </a:lnTo>
                              <a:lnTo>
                                <a:pt x="40" y="114"/>
                              </a:lnTo>
                              <a:lnTo>
                                <a:pt x="46" y="114"/>
                              </a:lnTo>
                              <a:lnTo>
                                <a:pt x="46" y="114"/>
                              </a:lnTo>
                              <a:lnTo>
                                <a:pt x="44" y="116"/>
                              </a:lnTo>
                              <a:lnTo>
                                <a:pt x="38" y="118"/>
                              </a:lnTo>
                              <a:lnTo>
                                <a:pt x="34" y="118"/>
                              </a:lnTo>
                              <a:lnTo>
                                <a:pt x="32" y="120"/>
                              </a:lnTo>
                              <a:lnTo>
                                <a:pt x="34" y="120"/>
                              </a:lnTo>
                              <a:lnTo>
                                <a:pt x="34" y="120"/>
                              </a:lnTo>
                              <a:lnTo>
                                <a:pt x="36" y="122"/>
                              </a:lnTo>
                              <a:lnTo>
                                <a:pt x="40" y="120"/>
                              </a:lnTo>
                              <a:lnTo>
                                <a:pt x="42" y="120"/>
                              </a:lnTo>
                              <a:lnTo>
                                <a:pt x="46" y="122"/>
                              </a:lnTo>
                              <a:lnTo>
                                <a:pt x="46" y="122"/>
                              </a:lnTo>
                              <a:lnTo>
                                <a:pt x="52" y="122"/>
                              </a:lnTo>
                              <a:lnTo>
                                <a:pt x="56" y="120"/>
                              </a:lnTo>
                              <a:lnTo>
                                <a:pt x="58" y="118"/>
                              </a:lnTo>
                              <a:lnTo>
                                <a:pt x="58" y="118"/>
                              </a:lnTo>
                              <a:lnTo>
                                <a:pt x="60" y="120"/>
                              </a:lnTo>
                              <a:lnTo>
                                <a:pt x="66" y="120"/>
                              </a:lnTo>
                              <a:lnTo>
                                <a:pt x="68" y="122"/>
                              </a:lnTo>
                              <a:lnTo>
                                <a:pt x="70" y="122"/>
                              </a:lnTo>
                              <a:lnTo>
                                <a:pt x="68" y="122"/>
                              </a:lnTo>
                              <a:lnTo>
                                <a:pt x="68" y="122"/>
                              </a:lnTo>
                              <a:lnTo>
                                <a:pt x="68" y="124"/>
                              </a:lnTo>
                              <a:lnTo>
                                <a:pt x="68" y="126"/>
                              </a:lnTo>
                              <a:lnTo>
                                <a:pt x="72" y="130"/>
                              </a:lnTo>
                              <a:lnTo>
                                <a:pt x="78" y="134"/>
                              </a:lnTo>
                              <a:lnTo>
                                <a:pt x="80" y="134"/>
                              </a:lnTo>
                              <a:lnTo>
                                <a:pt x="82" y="132"/>
                              </a:lnTo>
                              <a:lnTo>
                                <a:pt x="82" y="132"/>
                              </a:lnTo>
                              <a:lnTo>
                                <a:pt x="84" y="130"/>
                              </a:lnTo>
                              <a:lnTo>
                                <a:pt x="92" y="130"/>
                              </a:lnTo>
                              <a:lnTo>
                                <a:pt x="96" y="126"/>
                              </a:lnTo>
                              <a:lnTo>
                                <a:pt x="98" y="124"/>
                              </a:lnTo>
                              <a:lnTo>
                                <a:pt x="98" y="122"/>
                              </a:lnTo>
                              <a:lnTo>
                                <a:pt x="98" y="122"/>
                              </a:lnTo>
                              <a:lnTo>
                                <a:pt x="98" y="118"/>
                              </a:lnTo>
                              <a:lnTo>
                                <a:pt x="102" y="118"/>
                              </a:lnTo>
                              <a:lnTo>
                                <a:pt x="106" y="118"/>
                              </a:lnTo>
                              <a:lnTo>
                                <a:pt x="112" y="120"/>
                              </a:lnTo>
                              <a:lnTo>
                                <a:pt x="112" y="120"/>
                              </a:lnTo>
                              <a:lnTo>
                                <a:pt x="118" y="122"/>
                              </a:lnTo>
                              <a:lnTo>
                                <a:pt x="122" y="124"/>
                              </a:lnTo>
                              <a:lnTo>
                                <a:pt x="128" y="128"/>
                              </a:lnTo>
                              <a:lnTo>
                                <a:pt x="134" y="134"/>
                              </a:lnTo>
                              <a:lnTo>
                                <a:pt x="134" y="134"/>
                              </a:lnTo>
                              <a:lnTo>
                                <a:pt x="140" y="134"/>
                              </a:lnTo>
                              <a:lnTo>
                                <a:pt x="146" y="134"/>
                              </a:lnTo>
                              <a:lnTo>
                                <a:pt x="156" y="132"/>
                              </a:lnTo>
                              <a:lnTo>
                                <a:pt x="156" y="132"/>
                              </a:lnTo>
                              <a:lnTo>
                                <a:pt x="158" y="132"/>
                              </a:lnTo>
                              <a:lnTo>
                                <a:pt x="160" y="130"/>
                              </a:lnTo>
                              <a:lnTo>
                                <a:pt x="160" y="126"/>
                              </a:lnTo>
                              <a:lnTo>
                                <a:pt x="166" y="120"/>
                              </a:lnTo>
                              <a:lnTo>
                                <a:pt x="166" y="120"/>
                              </a:lnTo>
                              <a:lnTo>
                                <a:pt x="172" y="116"/>
                              </a:lnTo>
                              <a:lnTo>
                                <a:pt x="176" y="118"/>
                              </a:lnTo>
                              <a:lnTo>
                                <a:pt x="180" y="120"/>
                              </a:lnTo>
                              <a:lnTo>
                                <a:pt x="188" y="122"/>
                              </a:lnTo>
                              <a:lnTo>
                                <a:pt x="188" y="122"/>
                              </a:lnTo>
                              <a:lnTo>
                                <a:pt x="190" y="120"/>
                              </a:lnTo>
                              <a:lnTo>
                                <a:pt x="192" y="118"/>
                              </a:lnTo>
                              <a:lnTo>
                                <a:pt x="194" y="118"/>
                              </a:lnTo>
                              <a:lnTo>
                                <a:pt x="196" y="120"/>
                              </a:lnTo>
                              <a:lnTo>
                                <a:pt x="196" y="120"/>
                              </a:lnTo>
                              <a:lnTo>
                                <a:pt x="198" y="124"/>
                              </a:lnTo>
                              <a:lnTo>
                                <a:pt x="196" y="126"/>
                              </a:lnTo>
                              <a:lnTo>
                                <a:pt x="194" y="128"/>
                              </a:lnTo>
                              <a:lnTo>
                                <a:pt x="192" y="130"/>
                              </a:lnTo>
                              <a:lnTo>
                                <a:pt x="194" y="132"/>
                              </a:lnTo>
                              <a:lnTo>
                                <a:pt x="194" y="132"/>
                              </a:lnTo>
                              <a:lnTo>
                                <a:pt x="202" y="134"/>
                              </a:lnTo>
                              <a:lnTo>
                                <a:pt x="208" y="130"/>
                              </a:lnTo>
                              <a:lnTo>
                                <a:pt x="208" y="130"/>
                              </a:lnTo>
                              <a:lnTo>
                                <a:pt x="206" y="124"/>
                              </a:lnTo>
                              <a:lnTo>
                                <a:pt x="206" y="114"/>
                              </a:lnTo>
                              <a:lnTo>
                                <a:pt x="206" y="114"/>
                              </a:lnTo>
                              <a:lnTo>
                                <a:pt x="212" y="116"/>
                              </a:lnTo>
                              <a:lnTo>
                                <a:pt x="218" y="116"/>
                              </a:lnTo>
                              <a:lnTo>
                                <a:pt x="226" y="116"/>
                              </a:lnTo>
                              <a:lnTo>
                                <a:pt x="234" y="112"/>
                              </a:lnTo>
                              <a:lnTo>
                                <a:pt x="234" y="112"/>
                              </a:lnTo>
                              <a:lnTo>
                                <a:pt x="242" y="114"/>
                              </a:lnTo>
                              <a:lnTo>
                                <a:pt x="250" y="114"/>
                              </a:lnTo>
                              <a:lnTo>
                                <a:pt x="258" y="114"/>
                              </a:lnTo>
                              <a:lnTo>
                                <a:pt x="264" y="112"/>
                              </a:lnTo>
                              <a:lnTo>
                                <a:pt x="278" y="106"/>
                              </a:lnTo>
                              <a:lnTo>
                                <a:pt x="288" y="104"/>
                              </a:lnTo>
                              <a:lnTo>
                                <a:pt x="298" y="104"/>
                              </a:lnTo>
                              <a:lnTo>
                                <a:pt x="298" y="104"/>
                              </a:lnTo>
                              <a:lnTo>
                                <a:pt x="308" y="102"/>
                              </a:lnTo>
                              <a:lnTo>
                                <a:pt x="312" y="100"/>
                              </a:lnTo>
                              <a:lnTo>
                                <a:pt x="316" y="100"/>
                              </a:lnTo>
                              <a:lnTo>
                                <a:pt x="320" y="104"/>
                              </a:lnTo>
                              <a:lnTo>
                                <a:pt x="320" y="104"/>
                              </a:lnTo>
                              <a:lnTo>
                                <a:pt x="324" y="100"/>
                              </a:lnTo>
                              <a:lnTo>
                                <a:pt x="328" y="98"/>
                              </a:lnTo>
                              <a:lnTo>
                                <a:pt x="334" y="98"/>
                              </a:lnTo>
                              <a:lnTo>
                                <a:pt x="334" y="98"/>
                              </a:lnTo>
                              <a:lnTo>
                                <a:pt x="344" y="100"/>
                              </a:lnTo>
                              <a:lnTo>
                                <a:pt x="348" y="102"/>
                              </a:lnTo>
                              <a:lnTo>
                                <a:pt x="352" y="102"/>
                              </a:lnTo>
                              <a:lnTo>
                                <a:pt x="356" y="104"/>
                              </a:lnTo>
                              <a:lnTo>
                                <a:pt x="356" y="104"/>
                              </a:lnTo>
                              <a:lnTo>
                                <a:pt x="360" y="104"/>
                              </a:lnTo>
                              <a:lnTo>
                                <a:pt x="362" y="104"/>
                              </a:lnTo>
                              <a:lnTo>
                                <a:pt x="364" y="108"/>
                              </a:lnTo>
                              <a:lnTo>
                                <a:pt x="366" y="110"/>
                              </a:lnTo>
                              <a:lnTo>
                                <a:pt x="374" y="106"/>
                              </a:lnTo>
                              <a:lnTo>
                                <a:pt x="374" y="106"/>
                              </a:lnTo>
                              <a:lnTo>
                                <a:pt x="374" y="104"/>
                              </a:lnTo>
                              <a:lnTo>
                                <a:pt x="372" y="102"/>
                              </a:lnTo>
                              <a:lnTo>
                                <a:pt x="372" y="102"/>
                              </a:lnTo>
                              <a:lnTo>
                                <a:pt x="370" y="100"/>
                              </a:lnTo>
                              <a:lnTo>
                                <a:pt x="368" y="96"/>
                              </a:lnTo>
                              <a:lnTo>
                                <a:pt x="368" y="92"/>
                              </a:lnTo>
                              <a:lnTo>
                                <a:pt x="366" y="92"/>
                              </a:lnTo>
                              <a:lnTo>
                                <a:pt x="366" y="92"/>
                              </a:lnTo>
                              <a:lnTo>
                                <a:pt x="362" y="92"/>
                              </a:lnTo>
                              <a:lnTo>
                                <a:pt x="358" y="88"/>
                              </a:lnTo>
                              <a:lnTo>
                                <a:pt x="354" y="82"/>
                              </a:lnTo>
                              <a:lnTo>
                                <a:pt x="354" y="78"/>
                              </a:lnTo>
                              <a:lnTo>
                                <a:pt x="354" y="78"/>
                              </a:lnTo>
                              <a:lnTo>
                                <a:pt x="354" y="74"/>
                              </a:lnTo>
                              <a:lnTo>
                                <a:pt x="352" y="72"/>
                              </a:lnTo>
                              <a:lnTo>
                                <a:pt x="350" y="70"/>
                              </a:lnTo>
                              <a:lnTo>
                                <a:pt x="348" y="66"/>
                              </a:lnTo>
                              <a:lnTo>
                                <a:pt x="348" y="66"/>
                              </a:lnTo>
                              <a:lnTo>
                                <a:pt x="346" y="56"/>
                              </a:lnTo>
                              <a:lnTo>
                                <a:pt x="346" y="54"/>
                              </a:lnTo>
                              <a:lnTo>
                                <a:pt x="350" y="54"/>
                              </a:lnTo>
                              <a:lnTo>
                                <a:pt x="350" y="54"/>
                              </a:lnTo>
                              <a:lnTo>
                                <a:pt x="354" y="54"/>
                              </a:lnTo>
                              <a:lnTo>
                                <a:pt x="354" y="52"/>
                              </a:lnTo>
                              <a:lnTo>
                                <a:pt x="354" y="50"/>
                              </a:lnTo>
                              <a:lnTo>
                                <a:pt x="356" y="46"/>
                              </a:lnTo>
                              <a:lnTo>
                                <a:pt x="356" y="46"/>
                              </a:lnTo>
                              <a:lnTo>
                                <a:pt x="352" y="42"/>
                              </a:lnTo>
                              <a:lnTo>
                                <a:pt x="350" y="40"/>
                              </a:lnTo>
                              <a:lnTo>
                                <a:pt x="348" y="38"/>
                              </a:lnTo>
                              <a:lnTo>
                                <a:pt x="340" y="36"/>
                              </a:lnTo>
                              <a:lnTo>
                                <a:pt x="340" y="36"/>
                              </a:lnTo>
                              <a:lnTo>
                                <a:pt x="334" y="34"/>
                              </a:lnTo>
                              <a:lnTo>
                                <a:pt x="332" y="34"/>
                              </a:lnTo>
                              <a:lnTo>
                                <a:pt x="332" y="32"/>
                              </a:lnTo>
                              <a:lnTo>
                                <a:pt x="332" y="28"/>
                              </a:lnTo>
                              <a:lnTo>
                                <a:pt x="332" y="24"/>
                              </a:lnTo>
                              <a:lnTo>
                                <a:pt x="332" y="22"/>
                              </a:lnTo>
                              <a:lnTo>
                                <a:pt x="328" y="18"/>
                              </a:lnTo>
                              <a:lnTo>
                                <a:pt x="328" y="18"/>
                              </a:lnTo>
                              <a:lnTo>
                                <a:pt x="322" y="18"/>
                              </a:lnTo>
                              <a:lnTo>
                                <a:pt x="320" y="16"/>
                              </a:lnTo>
                              <a:lnTo>
                                <a:pt x="318" y="14"/>
                              </a:lnTo>
                              <a:lnTo>
                                <a:pt x="320" y="10"/>
                              </a:lnTo>
                              <a:lnTo>
                                <a:pt x="320" y="8"/>
                              </a:lnTo>
                              <a:lnTo>
                                <a:pt x="320" y="6"/>
                              </a:lnTo>
                              <a:lnTo>
                                <a:pt x="316" y="8"/>
                              </a:lnTo>
                              <a:lnTo>
                                <a:pt x="316" y="8"/>
                              </a:lnTo>
                              <a:lnTo>
                                <a:pt x="306" y="10"/>
                              </a:lnTo>
                              <a:lnTo>
                                <a:pt x="296" y="8"/>
                              </a:lnTo>
                              <a:lnTo>
                                <a:pt x="290" y="6"/>
                              </a:lnTo>
                              <a:lnTo>
                                <a:pt x="282" y="6"/>
                              </a:lnTo>
                              <a:lnTo>
                                <a:pt x="282" y="6"/>
                              </a:lnTo>
                              <a:close/>
                            </a:path>
                          </a:pathLst>
                        </a:custGeom>
                        <a:solidFill>
                          <a:schemeClr val="accent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3" name="Ukraine"/>
                        <p:cNvSpPr>
                          <a:spLocks/>
                        </p:cNvSpPr>
                        <p:nvPr/>
                      </p:nvSpPr>
                      <p:spPr bwMode="auto">
                        <a:xfrm>
                          <a:off x="6398067" y="1785486"/>
                          <a:ext cx="489060" cy="260996"/>
                        </a:xfrm>
                        <a:custGeom>
                          <a:avLst/>
                          <a:gdLst/>
                          <a:ahLst/>
                          <a:cxnLst>
                            <a:cxn ang="0">
                              <a:pos x="0" y="88"/>
                            </a:cxn>
                            <a:cxn ang="0">
                              <a:pos x="2" y="74"/>
                            </a:cxn>
                            <a:cxn ang="0">
                              <a:pos x="8" y="64"/>
                            </a:cxn>
                            <a:cxn ang="0">
                              <a:pos x="22" y="48"/>
                            </a:cxn>
                            <a:cxn ang="0">
                              <a:pos x="22" y="42"/>
                            </a:cxn>
                            <a:cxn ang="0">
                              <a:pos x="20" y="26"/>
                            </a:cxn>
                            <a:cxn ang="0">
                              <a:pos x="80" y="30"/>
                            </a:cxn>
                            <a:cxn ang="0">
                              <a:pos x="104" y="28"/>
                            </a:cxn>
                            <a:cxn ang="0">
                              <a:pos x="120" y="20"/>
                            </a:cxn>
                            <a:cxn ang="0">
                              <a:pos x="146" y="24"/>
                            </a:cxn>
                            <a:cxn ang="0">
                              <a:pos x="146" y="2"/>
                            </a:cxn>
                            <a:cxn ang="0">
                              <a:pos x="178" y="0"/>
                            </a:cxn>
                            <a:cxn ang="0">
                              <a:pos x="204" y="6"/>
                            </a:cxn>
                            <a:cxn ang="0">
                              <a:pos x="218" y="20"/>
                            </a:cxn>
                            <a:cxn ang="0">
                              <a:pos x="230" y="36"/>
                            </a:cxn>
                            <a:cxn ang="0">
                              <a:pos x="248" y="50"/>
                            </a:cxn>
                            <a:cxn ang="0">
                              <a:pos x="282" y="54"/>
                            </a:cxn>
                            <a:cxn ang="0">
                              <a:pos x="314" y="58"/>
                            </a:cxn>
                            <a:cxn ang="0">
                              <a:pos x="314" y="72"/>
                            </a:cxn>
                            <a:cxn ang="0">
                              <a:pos x="320" y="84"/>
                            </a:cxn>
                            <a:cxn ang="0">
                              <a:pos x="306" y="102"/>
                            </a:cxn>
                            <a:cxn ang="0">
                              <a:pos x="292" y="120"/>
                            </a:cxn>
                            <a:cxn ang="0">
                              <a:pos x="274" y="128"/>
                            </a:cxn>
                            <a:cxn ang="0">
                              <a:pos x="252" y="134"/>
                            </a:cxn>
                            <a:cxn ang="0">
                              <a:pos x="244" y="136"/>
                            </a:cxn>
                            <a:cxn ang="0">
                              <a:pos x="230" y="138"/>
                            </a:cxn>
                            <a:cxn ang="0">
                              <a:pos x="232" y="140"/>
                            </a:cxn>
                            <a:cxn ang="0">
                              <a:pos x="248" y="152"/>
                            </a:cxn>
                            <a:cxn ang="0">
                              <a:pos x="272" y="152"/>
                            </a:cxn>
                            <a:cxn ang="0">
                              <a:pos x="280" y="156"/>
                            </a:cxn>
                            <a:cxn ang="0">
                              <a:pos x="262" y="158"/>
                            </a:cxn>
                            <a:cxn ang="0">
                              <a:pos x="246" y="164"/>
                            </a:cxn>
                            <a:cxn ang="0">
                              <a:pos x="226" y="168"/>
                            </a:cxn>
                            <a:cxn ang="0">
                              <a:pos x="224" y="158"/>
                            </a:cxn>
                            <a:cxn ang="0">
                              <a:pos x="208" y="152"/>
                            </a:cxn>
                            <a:cxn ang="0">
                              <a:pos x="220" y="138"/>
                            </a:cxn>
                            <a:cxn ang="0">
                              <a:pos x="212" y="138"/>
                            </a:cxn>
                            <a:cxn ang="0">
                              <a:pos x="192" y="134"/>
                            </a:cxn>
                            <a:cxn ang="0">
                              <a:pos x="190" y="128"/>
                            </a:cxn>
                            <a:cxn ang="0">
                              <a:pos x="196" y="126"/>
                            </a:cxn>
                            <a:cxn ang="0">
                              <a:pos x="176" y="130"/>
                            </a:cxn>
                            <a:cxn ang="0">
                              <a:pos x="160" y="130"/>
                            </a:cxn>
                            <a:cxn ang="0">
                              <a:pos x="158" y="140"/>
                            </a:cxn>
                            <a:cxn ang="0">
                              <a:pos x="152" y="150"/>
                            </a:cxn>
                            <a:cxn ang="0">
                              <a:pos x="132" y="156"/>
                            </a:cxn>
                            <a:cxn ang="0">
                              <a:pos x="126" y="150"/>
                            </a:cxn>
                            <a:cxn ang="0">
                              <a:pos x="138" y="138"/>
                            </a:cxn>
                            <a:cxn ang="0">
                              <a:pos x="146" y="140"/>
                            </a:cxn>
                            <a:cxn ang="0">
                              <a:pos x="146" y="128"/>
                            </a:cxn>
                            <a:cxn ang="0">
                              <a:pos x="140" y="114"/>
                            </a:cxn>
                            <a:cxn ang="0">
                              <a:pos x="138" y="100"/>
                            </a:cxn>
                            <a:cxn ang="0">
                              <a:pos x="126" y="94"/>
                            </a:cxn>
                            <a:cxn ang="0">
                              <a:pos x="116" y="90"/>
                            </a:cxn>
                            <a:cxn ang="0">
                              <a:pos x="92" y="92"/>
                            </a:cxn>
                            <a:cxn ang="0">
                              <a:pos x="70" y="92"/>
                            </a:cxn>
                            <a:cxn ang="0">
                              <a:pos x="46" y="94"/>
                            </a:cxn>
                            <a:cxn ang="0">
                              <a:pos x="30" y="98"/>
                            </a:cxn>
                            <a:cxn ang="0">
                              <a:pos x="18" y="98"/>
                            </a:cxn>
                          </a:cxnLst>
                          <a:rect l="0" t="0" r="r" b="b"/>
                          <a:pathLst>
                            <a:path w="322" h="172">
                              <a:moveTo>
                                <a:pt x="6" y="98"/>
                              </a:moveTo>
                              <a:lnTo>
                                <a:pt x="6" y="98"/>
                              </a:lnTo>
                              <a:lnTo>
                                <a:pt x="4" y="96"/>
                              </a:lnTo>
                              <a:lnTo>
                                <a:pt x="0" y="92"/>
                              </a:lnTo>
                              <a:lnTo>
                                <a:pt x="0" y="92"/>
                              </a:lnTo>
                              <a:lnTo>
                                <a:pt x="0" y="88"/>
                              </a:lnTo>
                              <a:lnTo>
                                <a:pt x="0" y="88"/>
                              </a:lnTo>
                              <a:lnTo>
                                <a:pt x="0" y="86"/>
                              </a:lnTo>
                              <a:lnTo>
                                <a:pt x="0" y="86"/>
                              </a:lnTo>
                              <a:lnTo>
                                <a:pt x="0" y="84"/>
                              </a:lnTo>
                              <a:lnTo>
                                <a:pt x="2" y="80"/>
                              </a:lnTo>
                              <a:lnTo>
                                <a:pt x="2" y="80"/>
                              </a:lnTo>
                              <a:lnTo>
                                <a:pt x="2" y="76"/>
                              </a:lnTo>
                              <a:lnTo>
                                <a:pt x="2" y="74"/>
                              </a:lnTo>
                              <a:lnTo>
                                <a:pt x="2" y="74"/>
                              </a:lnTo>
                              <a:lnTo>
                                <a:pt x="6" y="74"/>
                              </a:lnTo>
                              <a:lnTo>
                                <a:pt x="6" y="74"/>
                              </a:lnTo>
                              <a:lnTo>
                                <a:pt x="8" y="70"/>
                              </a:lnTo>
                              <a:lnTo>
                                <a:pt x="8" y="70"/>
                              </a:lnTo>
                              <a:lnTo>
                                <a:pt x="8" y="66"/>
                              </a:lnTo>
                              <a:lnTo>
                                <a:pt x="8" y="64"/>
                              </a:lnTo>
                              <a:lnTo>
                                <a:pt x="10" y="62"/>
                              </a:lnTo>
                              <a:lnTo>
                                <a:pt x="16" y="56"/>
                              </a:lnTo>
                              <a:lnTo>
                                <a:pt x="16" y="56"/>
                              </a:lnTo>
                              <a:lnTo>
                                <a:pt x="18" y="52"/>
                              </a:lnTo>
                              <a:lnTo>
                                <a:pt x="22" y="50"/>
                              </a:lnTo>
                              <a:lnTo>
                                <a:pt x="24" y="50"/>
                              </a:lnTo>
                              <a:lnTo>
                                <a:pt x="22" y="48"/>
                              </a:lnTo>
                              <a:lnTo>
                                <a:pt x="22" y="48"/>
                              </a:lnTo>
                              <a:lnTo>
                                <a:pt x="22" y="44"/>
                              </a:lnTo>
                              <a:lnTo>
                                <a:pt x="24" y="44"/>
                              </a:lnTo>
                              <a:lnTo>
                                <a:pt x="26" y="46"/>
                              </a:lnTo>
                              <a:lnTo>
                                <a:pt x="26" y="44"/>
                              </a:lnTo>
                              <a:lnTo>
                                <a:pt x="26" y="44"/>
                              </a:lnTo>
                              <a:lnTo>
                                <a:pt x="22" y="42"/>
                              </a:lnTo>
                              <a:lnTo>
                                <a:pt x="18" y="40"/>
                              </a:lnTo>
                              <a:lnTo>
                                <a:pt x="14" y="36"/>
                              </a:lnTo>
                              <a:lnTo>
                                <a:pt x="10" y="28"/>
                              </a:lnTo>
                              <a:lnTo>
                                <a:pt x="10" y="28"/>
                              </a:lnTo>
                              <a:lnTo>
                                <a:pt x="16" y="24"/>
                              </a:lnTo>
                              <a:lnTo>
                                <a:pt x="18" y="24"/>
                              </a:lnTo>
                              <a:lnTo>
                                <a:pt x="20" y="26"/>
                              </a:lnTo>
                              <a:lnTo>
                                <a:pt x="30" y="22"/>
                              </a:lnTo>
                              <a:lnTo>
                                <a:pt x="30" y="22"/>
                              </a:lnTo>
                              <a:lnTo>
                                <a:pt x="40" y="20"/>
                              </a:lnTo>
                              <a:lnTo>
                                <a:pt x="48" y="20"/>
                              </a:lnTo>
                              <a:lnTo>
                                <a:pt x="62" y="24"/>
                              </a:lnTo>
                              <a:lnTo>
                                <a:pt x="74" y="28"/>
                              </a:lnTo>
                              <a:lnTo>
                                <a:pt x="80" y="30"/>
                              </a:lnTo>
                              <a:lnTo>
                                <a:pt x="88" y="28"/>
                              </a:lnTo>
                              <a:lnTo>
                                <a:pt x="88" y="28"/>
                              </a:lnTo>
                              <a:lnTo>
                                <a:pt x="96" y="24"/>
                              </a:lnTo>
                              <a:lnTo>
                                <a:pt x="98" y="26"/>
                              </a:lnTo>
                              <a:lnTo>
                                <a:pt x="98" y="26"/>
                              </a:lnTo>
                              <a:lnTo>
                                <a:pt x="100" y="28"/>
                              </a:lnTo>
                              <a:lnTo>
                                <a:pt x="104" y="28"/>
                              </a:lnTo>
                              <a:lnTo>
                                <a:pt x="104" y="28"/>
                              </a:lnTo>
                              <a:lnTo>
                                <a:pt x="110" y="26"/>
                              </a:lnTo>
                              <a:lnTo>
                                <a:pt x="110" y="26"/>
                              </a:lnTo>
                              <a:lnTo>
                                <a:pt x="112" y="28"/>
                              </a:lnTo>
                              <a:lnTo>
                                <a:pt x="116" y="24"/>
                              </a:lnTo>
                              <a:lnTo>
                                <a:pt x="116" y="24"/>
                              </a:lnTo>
                              <a:lnTo>
                                <a:pt x="120" y="20"/>
                              </a:lnTo>
                              <a:lnTo>
                                <a:pt x="122" y="20"/>
                              </a:lnTo>
                              <a:lnTo>
                                <a:pt x="124" y="22"/>
                              </a:lnTo>
                              <a:lnTo>
                                <a:pt x="130" y="22"/>
                              </a:lnTo>
                              <a:lnTo>
                                <a:pt x="130" y="22"/>
                              </a:lnTo>
                              <a:lnTo>
                                <a:pt x="136" y="22"/>
                              </a:lnTo>
                              <a:lnTo>
                                <a:pt x="142" y="24"/>
                              </a:lnTo>
                              <a:lnTo>
                                <a:pt x="146" y="24"/>
                              </a:lnTo>
                              <a:lnTo>
                                <a:pt x="148" y="22"/>
                              </a:lnTo>
                              <a:lnTo>
                                <a:pt x="148" y="20"/>
                              </a:lnTo>
                              <a:lnTo>
                                <a:pt x="148" y="20"/>
                              </a:lnTo>
                              <a:lnTo>
                                <a:pt x="146" y="14"/>
                              </a:lnTo>
                              <a:lnTo>
                                <a:pt x="144" y="8"/>
                              </a:lnTo>
                              <a:lnTo>
                                <a:pt x="144" y="4"/>
                              </a:lnTo>
                              <a:lnTo>
                                <a:pt x="146" y="2"/>
                              </a:lnTo>
                              <a:lnTo>
                                <a:pt x="150" y="2"/>
                              </a:lnTo>
                              <a:lnTo>
                                <a:pt x="158" y="2"/>
                              </a:lnTo>
                              <a:lnTo>
                                <a:pt x="158" y="2"/>
                              </a:lnTo>
                              <a:lnTo>
                                <a:pt x="160" y="2"/>
                              </a:lnTo>
                              <a:lnTo>
                                <a:pt x="162" y="0"/>
                              </a:lnTo>
                              <a:lnTo>
                                <a:pt x="166" y="0"/>
                              </a:lnTo>
                              <a:lnTo>
                                <a:pt x="178" y="0"/>
                              </a:lnTo>
                              <a:lnTo>
                                <a:pt x="178" y="0"/>
                              </a:lnTo>
                              <a:lnTo>
                                <a:pt x="192" y="0"/>
                              </a:lnTo>
                              <a:lnTo>
                                <a:pt x="196" y="2"/>
                              </a:lnTo>
                              <a:lnTo>
                                <a:pt x="196" y="4"/>
                              </a:lnTo>
                              <a:lnTo>
                                <a:pt x="200" y="6"/>
                              </a:lnTo>
                              <a:lnTo>
                                <a:pt x="200" y="6"/>
                              </a:lnTo>
                              <a:lnTo>
                                <a:pt x="204" y="6"/>
                              </a:lnTo>
                              <a:lnTo>
                                <a:pt x="204" y="10"/>
                              </a:lnTo>
                              <a:lnTo>
                                <a:pt x="202" y="16"/>
                              </a:lnTo>
                              <a:lnTo>
                                <a:pt x="200" y="20"/>
                              </a:lnTo>
                              <a:lnTo>
                                <a:pt x="202" y="20"/>
                              </a:lnTo>
                              <a:lnTo>
                                <a:pt x="206" y="20"/>
                              </a:lnTo>
                              <a:lnTo>
                                <a:pt x="206" y="20"/>
                              </a:lnTo>
                              <a:lnTo>
                                <a:pt x="218" y="20"/>
                              </a:lnTo>
                              <a:lnTo>
                                <a:pt x="218" y="22"/>
                              </a:lnTo>
                              <a:lnTo>
                                <a:pt x="224" y="26"/>
                              </a:lnTo>
                              <a:lnTo>
                                <a:pt x="224" y="26"/>
                              </a:lnTo>
                              <a:lnTo>
                                <a:pt x="228" y="28"/>
                              </a:lnTo>
                              <a:lnTo>
                                <a:pt x="230" y="32"/>
                              </a:lnTo>
                              <a:lnTo>
                                <a:pt x="230" y="34"/>
                              </a:lnTo>
                              <a:lnTo>
                                <a:pt x="230" y="36"/>
                              </a:lnTo>
                              <a:lnTo>
                                <a:pt x="228" y="40"/>
                              </a:lnTo>
                              <a:lnTo>
                                <a:pt x="228" y="40"/>
                              </a:lnTo>
                              <a:lnTo>
                                <a:pt x="232" y="42"/>
                              </a:lnTo>
                              <a:lnTo>
                                <a:pt x="232" y="42"/>
                              </a:lnTo>
                              <a:lnTo>
                                <a:pt x="242" y="46"/>
                              </a:lnTo>
                              <a:lnTo>
                                <a:pt x="244" y="50"/>
                              </a:lnTo>
                              <a:lnTo>
                                <a:pt x="248" y="50"/>
                              </a:lnTo>
                              <a:lnTo>
                                <a:pt x="256" y="46"/>
                              </a:lnTo>
                              <a:lnTo>
                                <a:pt x="256" y="46"/>
                              </a:lnTo>
                              <a:lnTo>
                                <a:pt x="262" y="44"/>
                              </a:lnTo>
                              <a:lnTo>
                                <a:pt x="264" y="44"/>
                              </a:lnTo>
                              <a:lnTo>
                                <a:pt x="270" y="46"/>
                              </a:lnTo>
                              <a:lnTo>
                                <a:pt x="278" y="52"/>
                              </a:lnTo>
                              <a:lnTo>
                                <a:pt x="282" y="54"/>
                              </a:lnTo>
                              <a:lnTo>
                                <a:pt x="288" y="54"/>
                              </a:lnTo>
                              <a:lnTo>
                                <a:pt x="288" y="54"/>
                              </a:lnTo>
                              <a:lnTo>
                                <a:pt x="296" y="54"/>
                              </a:lnTo>
                              <a:lnTo>
                                <a:pt x="300" y="56"/>
                              </a:lnTo>
                              <a:lnTo>
                                <a:pt x="304" y="58"/>
                              </a:lnTo>
                              <a:lnTo>
                                <a:pt x="314" y="58"/>
                              </a:lnTo>
                              <a:lnTo>
                                <a:pt x="314" y="58"/>
                              </a:lnTo>
                              <a:lnTo>
                                <a:pt x="320" y="60"/>
                              </a:lnTo>
                              <a:lnTo>
                                <a:pt x="320" y="60"/>
                              </a:lnTo>
                              <a:lnTo>
                                <a:pt x="316" y="66"/>
                              </a:lnTo>
                              <a:lnTo>
                                <a:pt x="312" y="70"/>
                              </a:lnTo>
                              <a:lnTo>
                                <a:pt x="310" y="70"/>
                              </a:lnTo>
                              <a:lnTo>
                                <a:pt x="314" y="72"/>
                              </a:lnTo>
                              <a:lnTo>
                                <a:pt x="314" y="72"/>
                              </a:lnTo>
                              <a:lnTo>
                                <a:pt x="316" y="72"/>
                              </a:lnTo>
                              <a:lnTo>
                                <a:pt x="316" y="74"/>
                              </a:lnTo>
                              <a:lnTo>
                                <a:pt x="314" y="78"/>
                              </a:lnTo>
                              <a:lnTo>
                                <a:pt x="314" y="80"/>
                              </a:lnTo>
                              <a:lnTo>
                                <a:pt x="316" y="80"/>
                              </a:lnTo>
                              <a:lnTo>
                                <a:pt x="316" y="80"/>
                              </a:lnTo>
                              <a:lnTo>
                                <a:pt x="320" y="84"/>
                              </a:lnTo>
                              <a:lnTo>
                                <a:pt x="322" y="86"/>
                              </a:lnTo>
                              <a:lnTo>
                                <a:pt x="322" y="88"/>
                              </a:lnTo>
                              <a:lnTo>
                                <a:pt x="320" y="92"/>
                              </a:lnTo>
                              <a:lnTo>
                                <a:pt x="316" y="96"/>
                              </a:lnTo>
                              <a:lnTo>
                                <a:pt x="310" y="100"/>
                              </a:lnTo>
                              <a:lnTo>
                                <a:pt x="310" y="100"/>
                              </a:lnTo>
                              <a:lnTo>
                                <a:pt x="306" y="102"/>
                              </a:lnTo>
                              <a:lnTo>
                                <a:pt x="300" y="106"/>
                              </a:lnTo>
                              <a:lnTo>
                                <a:pt x="298" y="110"/>
                              </a:lnTo>
                              <a:lnTo>
                                <a:pt x="298" y="118"/>
                              </a:lnTo>
                              <a:lnTo>
                                <a:pt x="298" y="118"/>
                              </a:lnTo>
                              <a:lnTo>
                                <a:pt x="296" y="120"/>
                              </a:lnTo>
                              <a:lnTo>
                                <a:pt x="292" y="120"/>
                              </a:lnTo>
                              <a:lnTo>
                                <a:pt x="292" y="120"/>
                              </a:lnTo>
                              <a:lnTo>
                                <a:pt x="288" y="122"/>
                              </a:lnTo>
                              <a:lnTo>
                                <a:pt x="286" y="122"/>
                              </a:lnTo>
                              <a:lnTo>
                                <a:pt x="284" y="122"/>
                              </a:lnTo>
                              <a:lnTo>
                                <a:pt x="280" y="126"/>
                              </a:lnTo>
                              <a:lnTo>
                                <a:pt x="280" y="126"/>
                              </a:lnTo>
                              <a:lnTo>
                                <a:pt x="276" y="130"/>
                              </a:lnTo>
                              <a:lnTo>
                                <a:pt x="274" y="128"/>
                              </a:lnTo>
                              <a:lnTo>
                                <a:pt x="272" y="128"/>
                              </a:lnTo>
                              <a:lnTo>
                                <a:pt x="268" y="132"/>
                              </a:lnTo>
                              <a:lnTo>
                                <a:pt x="268" y="132"/>
                              </a:lnTo>
                              <a:lnTo>
                                <a:pt x="264" y="136"/>
                              </a:lnTo>
                              <a:lnTo>
                                <a:pt x="258" y="134"/>
                              </a:lnTo>
                              <a:lnTo>
                                <a:pt x="258" y="134"/>
                              </a:lnTo>
                              <a:lnTo>
                                <a:pt x="252" y="134"/>
                              </a:lnTo>
                              <a:lnTo>
                                <a:pt x="248" y="136"/>
                              </a:lnTo>
                              <a:lnTo>
                                <a:pt x="244" y="138"/>
                              </a:lnTo>
                              <a:lnTo>
                                <a:pt x="238" y="138"/>
                              </a:lnTo>
                              <a:lnTo>
                                <a:pt x="238" y="138"/>
                              </a:lnTo>
                              <a:lnTo>
                                <a:pt x="236" y="138"/>
                              </a:lnTo>
                              <a:lnTo>
                                <a:pt x="236" y="138"/>
                              </a:lnTo>
                              <a:lnTo>
                                <a:pt x="244" y="136"/>
                              </a:lnTo>
                              <a:lnTo>
                                <a:pt x="244" y="136"/>
                              </a:lnTo>
                              <a:lnTo>
                                <a:pt x="246" y="136"/>
                              </a:lnTo>
                              <a:lnTo>
                                <a:pt x="244" y="134"/>
                              </a:lnTo>
                              <a:lnTo>
                                <a:pt x="238" y="136"/>
                              </a:lnTo>
                              <a:lnTo>
                                <a:pt x="238" y="136"/>
                              </a:lnTo>
                              <a:lnTo>
                                <a:pt x="232" y="138"/>
                              </a:lnTo>
                              <a:lnTo>
                                <a:pt x="230" y="138"/>
                              </a:lnTo>
                              <a:lnTo>
                                <a:pt x="228" y="136"/>
                              </a:lnTo>
                              <a:lnTo>
                                <a:pt x="228" y="136"/>
                              </a:lnTo>
                              <a:lnTo>
                                <a:pt x="228" y="138"/>
                              </a:lnTo>
                              <a:lnTo>
                                <a:pt x="228" y="140"/>
                              </a:lnTo>
                              <a:lnTo>
                                <a:pt x="230" y="140"/>
                              </a:lnTo>
                              <a:lnTo>
                                <a:pt x="232" y="140"/>
                              </a:lnTo>
                              <a:lnTo>
                                <a:pt x="232" y="140"/>
                              </a:lnTo>
                              <a:lnTo>
                                <a:pt x="236" y="140"/>
                              </a:lnTo>
                              <a:lnTo>
                                <a:pt x="238" y="142"/>
                              </a:lnTo>
                              <a:lnTo>
                                <a:pt x="238" y="142"/>
                              </a:lnTo>
                              <a:lnTo>
                                <a:pt x="246" y="146"/>
                              </a:lnTo>
                              <a:lnTo>
                                <a:pt x="250" y="148"/>
                              </a:lnTo>
                              <a:lnTo>
                                <a:pt x="250" y="150"/>
                              </a:lnTo>
                              <a:lnTo>
                                <a:pt x="248" y="152"/>
                              </a:lnTo>
                              <a:lnTo>
                                <a:pt x="248" y="152"/>
                              </a:lnTo>
                              <a:lnTo>
                                <a:pt x="254" y="152"/>
                              </a:lnTo>
                              <a:lnTo>
                                <a:pt x="258" y="152"/>
                              </a:lnTo>
                              <a:lnTo>
                                <a:pt x="262" y="154"/>
                              </a:lnTo>
                              <a:lnTo>
                                <a:pt x="266" y="152"/>
                              </a:lnTo>
                              <a:lnTo>
                                <a:pt x="266" y="152"/>
                              </a:lnTo>
                              <a:lnTo>
                                <a:pt x="272" y="152"/>
                              </a:lnTo>
                              <a:lnTo>
                                <a:pt x="280" y="152"/>
                              </a:lnTo>
                              <a:lnTo>
                                <a:pt x="280" y="152"/>
                              </a:lnTo>
                              <a:lnTo>
                                <a:pt x="282" y="154"/>
                              </a:lnTo>
                              <a:lnTo>
                                <a:pt x="282" y="154"/>
                              </a:lnTo>
                              <a:lnTo>
                                <a:pt x="280" y="154"/>
                              </a:lnTo>
                              <a:lnTo>
                                <a:pt x="280" y="156"/>
                              </a:lnTo>
                              <a:lnTo>
                                <a:pt x="280" y="156"/>
                              </a:lnTo>
                              <a:lnTo>
                                <a:pt x="278" y="158"/>
                              </a:lnTo>
                              <a:lnTo>
                                <a:pt x="278" y="158"/>
                              </a:lnTo>
                              <a:lnTo>
                                <a:pt x="276" y="158"/>
                              </a:lnTo>
                              <a:lnTo>
                                <a:pt x="276" y="158"/>
                              </a:lnTo>
                              <a:lnTo>
                                <a:pt x="272" y="160"/>
                              </a:lnTo>
                              <a:lnTo>
                                <a:pt x="268" y="158"/>
                              </a:lnTo>
                              <a:lnTo>
                                <a:pt x="262" y="158"/>
                              </a:lnTo>
                              <a:lnTo>
                                <a:pt x="260" y="158"/>
                              </a:lnTo>
                              <a:lnTo>
                                <a:pt x="258" y="160"/>
                              </a:lnTo>
                              <a:lnTo>
                                <a:pt x="258" y="160"/>
                              </a:lnTo>
                              <a:lnTo>
                                <a:pt x="256" y="162"/>
                              </a:lnTo>
                              <a:lnTo>
                                <a:pt x="248" y="164"/>
                              </a:lnTo>
                              <a:lnTo>
                                <a:pt x="248" y="164"/>
                              </a:lnTo>
                              <a:lnTo>
                                <a:pt x="246" y="164"/>
                              </a:lnTo>
                              <a:lnTo>
                                <a:pt x="244" y="166"/>
                              </a:lnTo>
                              <a:lnTo>
                                <a:pt x="242" y="170"/>
                              </a:lnTo>
                              <a:lnTo>
                                <a:pt x="240" y="172"/>
                              </a:lnTo>
                              <a:lnTo>
                                <a:pt x="238" y="172"/>
                              </a:lnTo>
                              <a:lnTo>
                                <a:pt x="228" y="170"/>
                              </a:lnTo>
                              <a:lnTo>
                                <a:pt x="228" y="170"/>
                              </a:lnTo>
                              <a:lnTo>
                                <a:pt x="226" y="168"/>
                              </a:lnTo>
                              <a:lnTo>
                                <a:pt x="226" y="168"/>
                              </a:lnTo>
                              <a:lnTo>
                                <a:pt x="228" y="164"/>
                              </a:lnTo>
                              <a:lnTo>
                                <a:pt x="230" y="160"/>
                              </a:lnTo>
                              <a:lnTo>
                                <a:pt x="228" y="160"/>
                              </a:lnTo>
                              <a:lnTo>
                                <a:pt x="226" y="160"/>
                              </a:lnTo>
                              <a:lnTo>
                                <a:pt x="226" y="160"/>
                              </a:lnTo>
                              <a:lnTo>
                                <a:pt x="224" y="158"/>
                              </a:lnTo>
                              <a:lnTo>
                                <a:pt x="222" y="158"/>
                              </a:lnTo>
                              <a:lnTo>
                                <a:pt x="222" y="154"/>
                              </a:lnTo>
                              <a:lnTo>
                                <a:pt x="218" y="152"/>
                              </a:lnTo>
                              <a:lnTo>
                                <a:pt x="212" y="154"/>
                              </a:lnTo>
                              <a:lnTo>
                                <a:pt x="212" y="154"/>
                              </a:lnTo>
                              <a:lnTo>
                                <a:pt x="210" y="154"/>
                              </a:lnTo>
                              <a:lnTo>
                                <a:pt x="208" y="152"/>
                              </a:lnTo>
                              <a:lnTo>
                                <a:pt x="210" y="148"/>
                              </a:lnTo>
                              <a:lnTo>
                                <a:pt x="210" y="148"/>
                              </a:lnTo>
                              <a:lnTo>
                                <a:pt x="216" y="144"/>
                              </a:lnTo>
                              <a:lnTo>
                                <a:pt x="224" y="140"/>
                              </a:lnTo>
                              <a:lnTo>
                                <a:pt x="224" y="140"/>
                              </a:lnTo>
                              <a:lnTo>
                                <a:pt x="220" y="140"/>
                              </a:lnTo>
                              <a:lnTo>
                                <a:pt x="220" y="138"/>
                              </a:lnTo>
                              <a:lnTo>
                                <a:pt x="220" y="138"/>
                              </a:lnTo>
                              <a:lnTo>
                                <a:pt x="220" y="138"/>
                              </a:lnTo>
                              <a:lnTo>
                                <a:pt x="218" y="140"/>
                              </a:lnTo>
                              <a:lnTo>
                                <a:pt x="216" y="140"/>
                              </a:lnTo>
                              <a:lnTo>
                                <a:pt x="214" y="140"/>
                              </a:lnTo>
                              <a:lnTo>
                                <a:pt x="214" y="140"/>
                              </a:lnTo>
                              <a:lnTo>
                                <a:pt x="212" y="138"/>
                              </a:lnTo>
                              <a:lnTo>
                                <a:pt x="210" y="138"/>
                              </a:lnTo>
                              <a:lnTo>
                                <a:pt x="206" y="138"/>
                              </a:lnTo>
                              <a:lnTo>
                                <a:pt x="200" y="136"/>
                              </a:lnTo>
                              <a:lnTo>
                                <a:pt x="200" y="136"/>
                              </a:lnTo>
                              <a:lnTo>
                                <a:pt x="194" y="134"/>
                              </a:lnTo>
                              <a:lnTo>
                                <a:pt x="192" y="134"/>
                              </a:lnTo>
                              <a:lnTo>
                                <a:pt x="192" y="134"/>
                              </a:lnTo>
                              <a:lnTo>
                                <a:pt x="190" y="132"/>
                              </a:lnTo>
                              <a:lnTo>
                                <a:pt x="190" y="132"/>
                              </a:lnTo>
                              <a:lnTo>
                                <a:pt x="194" y="132"/>
                              </a:lnTo>
                              <a:lnTo>
                                <a:pt x="198" y="130"/>
                              </a:lnTo>
                              <a:lnTo>
                                <a:pt x="194" y="130"/>
                              </a:lnTo>
                              <a:lnTo>
                                <a:pt x="194" y="130"/>
                              </a:lnTo>
                              <a:lnTo>
                                <a:pt x="190" y="128"/>
                              </a:lnTo>
                              <a:lnTo>
                                <a:pt x="194" y="128"/>
                              </a:lnTo>
                              <a:lnTo>
                                <a:pt x="194" y="128"/>
                              </a:lnTo>
                              <a:lnTo>
                                <a:pt x="206" y="128"/>
                              </a:lnTo>
                              <a:lnTo>
                                <a:pt x="206" y="128"/>
                              </a:lnTo>
                              <a:lnTo>
                                <a:pt x="206" y="128"/>
                              </a:lnTo>
                              <a:lnTo>
                                <a:pt x="196" y="126"/>
                              </a:lnTo>
                              <a:lnTo>
                                <a:pt x="196" y="126"/>
                              </a:lnTo>
                              <a:lnTo>
                                <a:pt x="190" y="124"/>
                              </a:lnTo>
                              <a:lnTo>
                                <a:pt x="188" y="126"/>
                              </a:lnTo>
                              <a:lnTo>
                                <a:pt x="186" y="126"/>
                              </a:lnTo>
                              <a:lnTo>
                                <a:pt x="182" y="128"/>
                              </a:lnTo>
                              <a:lnTo>
                                <a:pt x="182" y="128"/>
                              </a:lnTo>
                              <a:lnTo>
                                <a:pt x="178" y="128"/>
                              </a:lnTo>
                              <a:lnTo>
                                <a:pt x="176" y="130"/>
                              </a:lnTo>
                              <a:lnTo>
                                <a:pt x="172" y="132"/>
                              </a:lnTo>
                              <a:lnTo>
                                <a:pt x="168" y="134"/>
                              </a:lnTo>
                              <a:lnTo>
                                <a:pt x="168" y="134"/>
                              </a:lnTo>
                              <a:lnTo>
                                <a:pt x="164" y="134"/>
                              </a:lnTo>
                              <a:lnTo>
                                <a:pt x="164" y="132"/>
                              </a:lnTo>
                              <a:lnTo>
                                <a:pt x="164" y="132"/>
                              </a:lnTo>
                              <a:lnTo>
                                <a:pt x="160" y="130"/>
                              </a:lnTo>
                              <a:lnTo>
                                <a:pt x="160" y="130"/>
                              </a:lnTo>
                              <a:lnTo>
                                <a:pt x="162" y="132"/>
                              </a:lnTo>
                              <a:lnTo>
                                <a:pt x="162" y="132"/>
                              </a:lnTo>
                              <a:lnTo>
                                <a:pt x="164" y="136"/>
                              </a:lnTo>
                              <a:lnTo>
                                <a:pt x="162" y="138"/>
                              </a:lnTo>
                              <a:lnTo>
                                <a:pt x="162" y="138"/>
                              </a:lnTo>
                              <a:lnTo>
                                <a:pt x="158" y="140"/>
                              </a:lnTo>
                              <a:lnTo>
                                <a:pt x="154" y="144"/>
                              </a:lnTo>
                              <a:lnTo>
                                <a:pt x="154" y="144"/>
                              </a:lnTo>
                              <a:lnTo>
                                <a:pt x="154" y="146"/>
                              </a:lnTo>
                              <a:lnTo>
                                <a:pt x="154" y="148"/>
                              </a:lnTo>
                              <a:lnTo>
                                <a:pt x="154" y="148"/>
                              </a:lnTo>
                              <a:lnTo>
                                <a:pt x="152" y="150"/>
                              </a:lnTo>
                              <a:lnTo>
                                <a:pt x="152" y="150"/>
                              </a:lnTo>
                              <a:lnTo>
                                <a:pt x="146" y="148"/>
                              </a:lnTo>
                              <a:lnTo>
                                <a:pt x="142" y="150"/>
                              </a:lnTo>
                              <a:lnTo>
                                <a:pt x="140" y="150"/>
                              </a:lnTo>
                              <a:lnTo>
                                <a:pt x="134" y="152"/>
                              </a:lnTo>
                              <a:lnTo>
                                <a:pt x="134" y="152"/>
                              </a:lnTo>
                              <a:lnTo>
                                <a:pt x="134" y="154"/>
                              </a:lnTo>
                              <a:lnTo>
                                <a:pt x="132" y="156"/>
                              </a:lnTo>
                              <a:lnTo>
                                <a:pt x="128" y="154"/>
                              </a:lnTo>
                              <a:lnTo>
                                <a:pt x="122" y="150"/>
                              </a:lnTo>
                              <a:lnTo>
                                <a:pt x="122" y="150"/>
                              </a:lnTo>
                              <a:lnTo>
                                <a:pt x="124" y="150"/>
                              </a:lnTo>
                              <a:lnTo>
                                <a:pt x="124" y="150"/>
                              </a:lnTo>
                              <a:lnTo>
                                <a:pt x="126" y="150"/>
                              </a:lnTo>
                              <a:lnTo>
                                <a:pt x="126" y="150"/>
                              </a:lnTo>
                              <a:lnTo>
                                <a:pt x="130" y="148"/>
                              </a:lnTo>
                              <a:lnTo>
                                <a:pt x="130" y="144"/>
                              </a:lnTo>
                              <a:lnTo>
                                <a:pt x="132" y="136"/>
                              </a:lnTo>
                              <a:lnTo>
                                <a:pt x="132" y="136"/>
                              </a:lnTo>
                              <a:lnTo>
                                <a:pt x="134" y="136"/>
                              </a:lnTo>
                              <a:lnTo>
                                <a:pt x="136" y="138"/>
                              </a:lnTo>
                              <a:lnTo>
                                <a:pt x="138" y="138"/>
                              </a:lnTo>
                              <a:lnTo>
                                <a:pt x="140" y="138"/>
                              </a:lnTo>
                              <a:lnTo>
                                <a:pt x="140" y="138"/>
                              </a:lnTo>
                              <a:lnTo>
                                <a:pt x="140" y="138"/>
                              </a:lnTo>
                              <a:lnTo>
                                <a:pt x="142" y="140"/>
                              </a:lnTo>
                              <a:lnTo>
                                <a:pt x="144" y="140"/>
                              </a:lnTo>
                              <a:lnTo>
                                <a:pt x="146" y="140"/>
                              </a:lnTo>
                              <a:lnTo>
                                <a:pt x="146" y="140"/>
                              </a:lnTo>
                              <a:lnTo>
                                <a:pt x="150" y="138"/>
                              </a:lnTo>
                              <a:lnTo>
                                <a:pt x="152" y="138"/>
                              </a:lnTo>
                              <a:lnTo>
                                <a:pt x="150" y="138"/>
                              </a:lnTo>
                              <a:lnTo>
                                <a:pt x="150" y="138"/>
                              </a:lnTo>
                              <a:lnTo>
                                <a:pt x="148" y="134"/>
                              </a:lnTo>
                              <a:lnTo>
                                <a:pt x="148" y="132"/>
                              </a:lnTo>
                              <a:lnTo>
                                <a:pt x="146" y="128"/>
                              </a:lnTo>
                              <a:lnTo>
                                <a:pt x="144" y="124"/>
                              </a:lnTo>
                              <a:lnTo>
                                <a:pt x="144" y="124"/>
                              </a:lnTo>
                              <a:lnTo>
                                <a:pt x="144" y="122"/>
                              </a:lnTo>
                              <a:lnTo>
                                <a:pt x="144" y="120"/>
                              </a:lnTo>
                              <a:lnTo>
                                <a:pt x="142" y="118"/>
                              </a:lnTo>
                              <a:lnTo>
                                <a:pt x="140" y="114"/>
                              </a:lnTo>
                              <a:lnTo>
                                <a:pt x="140" y="114"/>
                              </a:lnTo>
                              <a:lnTo>
                                <a:pt x="138" y="108"/>
                              </a:lnTo>
                              <a:lnTo>
                                <a:pt x="138" y="106"/>
                              </a:lnTo>
                              <a:lnTo>
                                <a:pt x="138" y="104"/>
                              </a:lnTo>
                              <a:lnTo>
                                <a:pt x="138" y="102"/>
                              </a:lnTo>
                              <a:lnTo>
                                <a:pt x="138" y="102"/>
                              </a:lnTo>
                              <a:lnTo>
                                <a:pt x="136" y="100"/>
                              </a:lnTo>
                              <a:lnTo>
                                <a:pt x="138" y="100"/>
                              </a:lnTo>
                              <a:lnTo>
                                <a:pt x="136" y="98"/>
                              </a:lnTo>
                              <a:lnTo>
                                <a:pt x="134" y="98"/>
                              </a:lnTo>
                              <a:lnTo>
                                <a:pt x="134" y="98"/>
                              </a:lnTo>
                              <a:lnTo>
                                <a:pt x="132" y="96"/>
                              </a:lnTo>
                              <a:lnTo>
                                <a:pt x="130" y="96"/>
                              </a:lnTo>
                              <a:lnTo>
                                <a:pt x="128" y="94"/>
                              </a:lnTo>
                              <a:lnTo>
                                <a:pt x="126" y="94"/>
                              </a:lnTo>
                              <a:lnTo>
                                <a:pt x="126" y="94"/>
                              </a:lnTo>
                              <a:lnTo>
                                <a:pt x="124" y="94"/>
                              </a:lnTo>
                              <a:lnTo>
                                <a:pt x="122" y="92"/>
                              </a:lnTo>
                              <a:lnTo>
                                <a:pt x="122" y="92"/>
                              </a:lnTo>
                              <a:lnTo>
                                <a:pt x="120" y="92"/>
                              </a:lnTo>
                              <a:lnTo>
                                <a:pt x="120" y="92"/>
                              </a:lnTo>
                              <a:lnTo>
                                <a:pt x="116" y="90"/>
                              </a:lnTo>
                              <a:lnTo>
                                <a:pt x="112" y="88"/>
                              </a:lnTo>
                              <a:lnTo>
                                <a:pt x="108" y="86"/>
                              </a:lnTo>
                              <a:lnTo>
                                <a:pt x="102" y="90"/>
                              </a:lnTo>
                              <a:lnTo>
                                <a:pt x="102" y="90"/>
                              </a:lnTo>
                              <a:lnTo>
                                <a:pt x="96" y="92"/>
                              </a:lnTo>
                              <a:lnTo>
                                <a:pt x="92" y="92"/>
                              </a:lnTo>
                              <a:lnTo>
                                <a:pt x="92" y="92"/>
                              </a:lnTo>
                              <a:lnTo>
                                <a:pt x="88" y="92"/>
                              </a:lnTo>
                              <a:lnTo>
                                <a:pt x="88" y="92"/>
                              </a:lnTo>
                              <a:lnTo>
                                <a:pt x="86" y="92"/>
                              </a:lnTo>
                              <a:lnTo>
                                <a:pt x="80" y="92"/>
                              </a:lnTo>
                              <a:lnTo>
                                <a:pt x="76" y="90"/>
                              </a:lnTo>
                              <a:lnTo>
                                <a:pt x="70" y="92"/>
                              </a:lnTo>
                              <a:lnTo>
                                <a:pt x="70" y="92"/>
                              </a:lnTo>
                              <a:lnTo>
                                <a:pt x="68" y="94"/>
                              </a:lnTo>
                              <a:lnTo>
                                <a:pt x="62" y="94"/>
                              </a:lnTo>
                              <a:lnTo>
                                <a:pt x="56" y="94"/>
                              </a:lnTo>
                              <a:lnTo>
                                <a:pt x="52" y="96"/>
                              </a:lnTo>
                              <a:lnTo>
                                <a:pt x="52" y="96"/>
                              </a:lnTo>
                              <a:lnTo>
                                <a:pt x="50" y="96"/>
                              </a:lnTo>
                              <a:lnTo>
                                <a:pt x="46" y="94"/>
                              </a:lnTo>
                              <a:lnTo>
                                <a:pt x="42" y="94"/>
                              </a:lnTo>
                              <a:lnTo>
                                <a:pt x="38" y="96"/>
                              </a:lnTo>
                              <a:lnTo>
                                <a:pt x="38" y="96"/>
                              </a:lnTo>
                              <a:lnTo>
                                <a:pt x="36" y="98"/>
                              </a:lnTo>
                              <a:lnTo>
                                <a:pt x="36" y="98"/>
                              </a:lnTo>
                              <a:lnTo>
                                <a:pt x="34" y="96"/>
                              </a:lnTo>
                              <a:lnTo>
                                <a:pt x="30" y="98"/>
                              </a:lnTo>
                              <a:lnTo>
                                <a:pt x="30" y="98"/>
                              </a:lnTo>
                              <a:lnTo>
                                <a:pt x="26" y="98"/>
                              </a:lnTo>
                              <a:lnTo>
                                <a:pt x="24" y="96"/>
                              </a:lnTo>
                              <a:lnTo>
                                <a:pt x="22" y="96"/>
                              </a:lnTo>
                              <a:lnTo>
                                <a:pt x="20" y="98"/>
                              </a:lnTo>
                              <a:lnTo>
                                <a:pt x="20" y="98"/>
                              </a:lnTo>
                              <a:lnTo>
                                <a:pt x="18" y="98"/>
                              </a:lnTo>
                              <a:lnTo>
                                <a:pt x="16" y="96"/>
                              </a:lnTo>
                              <a:lnTo>
                                <a:pt x="12" y="96"/>
                              </a:lnTo>
                              <a:lnTo>
                                <a:pt x="6" y="98"/>
                              </a:lnTo>
                              <a:lnTo>
                                <a:pt x="6" y="98"/>
                              </a:lnTo>
                              <a:close/>
                            </a:path>
                          </a:pathLst>
                        </a:custGeom>
                        <a:solidFill>
                          <a:schemeClr val="tx2"/>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5" name="Venezuela"/>
                        <p:cNvSpPr>
                          <a:spLocks/>
                        </p:cNvSpPr>
                        <p:nvPr/>
                      </p:nvSpPr>
                      <p:spPr bwMode="auto">
                        <a:xfrm>
                          <a:off x="3433328" y="3214893"/>
                          <a:ext cx="431345" cy="452190"/>
                        </a:xfrm>
                        <a:custGeom>
                          <a:avLst/>
                          <a:gdLst/>
                          <a:ahLst/>
                          <a:cxnLst>
                            <a:cxn ang="0">
                              <a:pos x="266" y="94"/>
                            </a:cxn>
                            <a:cxn ang="0">
                              <a:pos x="270" y="84"/>
                            </a:cxn>
                            <a:cxn ang="0">
                              <a:pos x="266" y="80"/>
                            </a:cxn>
                            <a:cxn ang="0">
                              <a:pos x="262" y="70"/>
                            </a:cxn>
                            <a:cxn ang="0">
                              <a:pos x="236" y="56"/>
                            </a:cxn>
                            <a:cxn ang="0">
                              <a:pos x="226" y="40"/>
                            </a:cxn>
                            <a:cxn ang="0">
                              <a:pos x="242" y="36"/>
                            </a:cxn>
                            <a:cxn ang="0">
                              <a:pos x="226" y="32"/>
                            </a:cxn>
                            <a:cxn ang="0">
                              <a:pos x="202" y="34"/>
                            </a:cxn>
                            <a:cxn ang="0">
                              <a:pos x="204" y="42"/>
                            </a:cxn>
                            <a:cxn ang="0">
                              <a:pos x="166" y="44"/>
                            </a:cxn>
                            <a:cxn ang="0">
                              <a:pos x="148" y="36"/>
                            </a:cxn>
                            <a:cxn ang="0">
                              <a:pos x="116" y="30"/>
                            </a:cxn>
                            <a:cxn ang="0">
                              <a:pos x="106" y="18"/>
                            </a:cxn>
                            <a:cxn ang="0">
                              <a:pos x="86" y="12"/>
                            </a:cxn>
                            <a:cxn ang="0">
                              <a:pos x="74" y="6"/>
                            </a:cxn>
                            <a:cxn ang="0">
                              <a:pos x="84" y="12"/>
                            </a:cxn>
                            <a:cxn ang="0">
                              <a:pos x="78" y="16"/>
                            </a:cxn>
                            <a:cxn ang="0">
                              <a:pos x="54" y="32"/>
                            </a:cxn>
                            <a:cxn ang="0">
                              <a:pos x="48" y="46"/>
                            </a:cxn>
                            <a:cxn ang="0">
                              <a:pos x="54" y="54"/>
                            </a:cxn>
                            <a:cxn ang="0">
                              <a:pos x="42" y="76"/>
                            </a:cxn>
                            <a:cxn ang="0">
                              <a:pos x="30" y="64"/>
                            </a:cxn>
                            <a:cxn ang="0">
                              <a:pos x="40" y="50"/>
                            </a:cxn>
                            <a:cxn ang="0">
                              <a:pos x="46" y="38"/>
                            </a:cxn>
                            <a:cxn ang="0">
                              <a:pos x="40" y="18"/>
                            </a:cxn>
                            <a:cxn ang="0">
                              <a:pos x="48" y="10"/>
                            </a:cxn>
                            <a:cxn ang="0">
                              <a:pos x="14" y="46"/>
                            </a:cxn>
                            <a:cxn ang="0">
                              <a:pos x="2" y="74"/>
                            </a:cxn>
                            <a:cxn ang="0">
                              <a:pos x="6" y="82"/>
                            </a:cxn>
                            <a:cxn ang="0">
                              <a:pos x="12" y="90"/>
                            </a:cxn>
                            <a:cxn ang="0">
                              <a:pos x="16" y="124"/>
                            </a:cxn>
                            <a:cxn ang="0">
                              <a:pos x="42" y="140"/>
                            </a:cxn>
                            <a:cxn ang="0">
                              <a:pos x="68" y="144"/>
                            </a:cxn>
                            <a:cxn ang="0">
                              <a:pos x="100" y="160"/>
                            </a:cxn>
                            <a:cxn ang="0">
                              <a:pos x="116" y="162"/>
                            </a:cxn>
                            <a:cxn ang="0">
                              <a:pos x="112" y="174"/>
                            </a:cxn>
                            <a:cxn ang="0">
                              <a:pos x="108" y="196"/>
                            </a:cxn>
                            <a:cxn ang="0">
                              <a:pos x="120" y="220"/>
                            </a:cxn>
                            <a:cxn ang="0">
                              <a:pos x="118" y="246"/>
                            </a:cxn>
                            <a:cxn ang="0">
                              <a:pos x="132" y="290"/>
                            </a:cxn>
                            <a:cxn ang="0">
                              <a:pos x="152" y="298"/>
                            </a:cxn>
                            <a:cxn ang="0">
                              <a:pos x="170" y="292"/>
                            </a:cxn>
                            <a:cxn ang="0">
                              <a:pos x="186" y="280"/>
                            </a:cxn>
                            <a:cxn ang="0">
                              <a:pos x="194" y="266"/>
                            </a:cxn>
                            <a:cxn ang="0">
                              <a:pos x="202" y="252"/>
                            </a:cxn>
                            <a:cxn ang="0">
                              <a:pos x="190" y="228"/>
                            </a:cxn>
                            <a:cxn ang="0">
                              <a:pos x="180" y="208"/>
                            </a:cxn>
                            <a:cxn ang="0">
                              <a:pos x="208" y="212"/>
                            </a:cxn>
                            <a:cxn ang="0">
                              <a:pos x="232" y="212"/>
                            </a:cxn>
                            <a:cxn ang="0">
                              <a:pos x="236" y="208"/>
                            </a:cxn>
                            <a:cxn ang="0">
                              <a:pos x="260" y="194"/>
                            </a:cxn>
                            <a:cxn ang="0">
                              <a:pos x="256" y="162"/>
                            </a:cxn>
                            <a:cxn ang="0">
                              <a:pos x="260" y="144"/>
                            </a:cxn>
                            <a:cxn ang="0">
                              <a:pos x="274" y="130"/>
                            </a:cxn>
                            <a:cxn ang="0">
                              <a:pos x="264" y="124"/>
                            </a:cxn>
                            <a:cxn ang="0">
                              <a:pos x="268" y="112"/>
                            </a:cxn>
                            <a:cxn ang="0">
                              <a:pos x="284" y="106"/>
                            </a:cxn>
                          </a:cxnLst>
                          <a:rect l="0" t="0" r="r" b="b"/>
                          <a:pathLst>
                            <a:path w="284" h="298">
                              <a:moveTo>
                                <a:pt x="284" y="100"/>
                              </a:moveTo>
                              <a:lnTo>
                                <a:pt x="284" y="100"/>
                              </a:lnTo>
                              <a:lnTo>
                                <a:pt x="278" y="92"/>
                              </a:lnTo>
                              <a:lnTo>
                                <a:pt x="274" y="92"/>
                              </a:lnTo>
                              <a:lnTo>
                                <a:pt x="270" y="94"/>
                              </a:lnTo>
                              <a:lnTo>
                                <a:pt x="266" y="94"/>
                              </a:lnTo>
                              <a:lnTo>
                                <a:pt x="260" y="92"/>
                              </a:lnTo>
                              <a:lnTo>
                                <a:pt x="260" y="92"/>
                              </a:lnTo>
                              <a:lnTo>
                                <a:pt x="268" y="92"/>
                              </a:lnTo>
                              <a:lnTo>
                                <a:pt x="270" y="90"/>
                              </a:lnTo>
                              <a:lnTo>
                                <a:pt x="272" y="88"/>
                              </a:lnTo>
                              <a:lnTo>
                                <a:pt x="270" y="84"/>
                              </a:lnTo>
                              <a:lnTo>
                                <a:pt x="270" y="84"/>
                              </a:lnTo>
                              <a:lnTo>
                                <a:pt x="270" y="82"/>
                              </a:lnTo>
                              <a:lnTo>
                                <a:pt x="268" y="82"/>
                              </a:lnTo>
                              <a:lnTo>
                                <a:pt x="266" y="82"/>
                              </a:lnTo>
                              <a:lnTo>
                                <a:pt x="266" y="80"/>
                              </a:lnTo>
                              <a:lnTo>
                                <a:pt x="266" y="80"/>
                              </a:lnTo>
                              <a:lnTo>
                                <a:pt x="268" y="80"/>
                              </a:lnTo>
                              <a:lnTo>
                                <a:pt x="266" y="78"/>
                              </a:lnTo>
                              <a:lnTo>
                                <a:pt x="264" y="78"/>
                              </a:lnTo>
                              <a:lnTo>
                                <a:pt x="264" y="76"/>
                              </a:lnTo>
                              <a:lnTo>
                                <a:pt x="264" y="76"/>
                              </a:lnTo>
                              <a:lnTo>
                                <a:pt x="262" y="70"/>
                              </a:lnTo>
                              <a:lnTo>
                                <a:pt x="258" y="66"/>
                              </a:lnTo>
                              <a:lnTo>
                                <a:pt x="250" y="60"/>
                              </a:lnTo>
                              <a:lnTo>
                                <a:pt x="250" y="60"/>
                              </a:lnTo>
                              <a:lnTo>
                                <a:pt x="244" y="54"/>
                              </a:lnTo>
                              <a:lnTo>
                                <a:pt x="240" y="54"/>
                              </a:lnTo>
                              <a:lnTo>
                                <a:pt x="236" y="56"/>
                              </a:lnTo>
                              <a:lnTo>
                                <a:pt x="236" y="56"/>
                              </a:lnTo>
                              <a:lnTo>
                                <a:pt x="232" y="48"/>
                              </a:lnTo>
                              <a:lnTo>
                                <a:pt x="230" y="42"/>
                              </a:lnTo>
                              <a:lnTo>
                                <a:pt x="228" y="40"/>
                              </a:lnTo>
                              <a:lnTo>
                                <a:pt x="226" y="40"/>
                              </a:lnTo>
                              <a:lnTo>
                                <a:pt x="226" y="40"/>
                              </a:lnTo>
                              <a:lnTo>
                                <a:pt x="222" y="40"/>
                              </a:lnTo>
                              <a:lnTo>
                                <a:pt x="220" y="40"/>
                              </a:lnTo>
                              <a:lnTo>
                                <a:pt x="222" y="38"/>
                              </a:lnTo>
                              <a:lnTo>
                                <a:pt x="228" y="38"/>
                              </a:lnTo>
                              <a:lnTo>
                                <a:pt x="228" y="38"/>
                              </a:lnTo>
                              <a:lnTo>
                                <a:pt x="242" y="36"/>
                              </a:lnTo>
                              <a:lnTo>
                                <a:pt x="246" y="36"/>
                              </a:lnTo>
                              <a:lnTo>
                                <a:pt x="248" y="34"/>
                              </a:lnTo>
                              <a:lnTo>
                                <a:pt x="248" y="34"/>
                              </a:lnTo>
                              <a:lnTo>
                                <a:pt x="232" y="34"/>
                              </a:lnTo>
                              <a:lnTo>
                                <a:pt x="232" y="34"/>
                              </a:lnTo>
                              <a:lnTo>
                                <a:pt x="226" y="32"/>
                              </a:lnTo>
                              <a:lnTo>
                                <a:pt x="224" y="34"/>
                              </a:lnTo>
                              <a:lnTo>
                                <a:pt x="220" y="34"/>
                              </a:lnTo>
                              <a:lnTo>
                                <a:pt x="214" y="34"/>
                              </a:lnTo>
                              <a:lnTo>
                                <a:pt x="214" y="34"/>
                              </a:lnTo>
                              <a:lnTo>
                                <a:pt x="206" y="32"/>
                              </a:lnTo>
                              <a:lnTo>
                                <a:pt x="202" y="34"/>
                              </a:lnTo>
                              <a:lnTo>
                                <a:pt x="202" y="34"/>
                              </a:lnTo>
                              <a:lnTo>
                                <a:pt x="204" y="34"/>
                              </a:lnTo>
                              <a:lnTo>
                                <a:pt x="212" y="36"/>
                              </a:lnTo>
                              <a:lnTo>
                                <a:pt x="212" y="36"/>
                              </a:lnTo>
                              <a:lnTo>
                                <a:pt x="206" y="38"/>
                              </a:lnTo>
                              <a:lnTo>
                                <a:pt x="204" y="42"/>
                              </a:lnTo>
                              <a:lnTo>
                                <a:pt x="202" y="44"/>
                              </a:lnTo>
                              <a:lnTo>
                                <a:pt x="192" y="46"/>
                              </a:lnTo>
                              <a:lnTo>
                                <a:pt x="192" y="46"/>
                              </a:lnTo>
                              <a:lnTo>
                                <a:pt x="178" y="48"/>
                              </a:lnTo>
                              <a:lnTo>
                                <a:pt x="170" y="46"/>
                              </a:lnTo>
                              <a:lnTo>
                                <a:pt x="166" y="44"/>
                              </a:lnTo>
                              <a:lnTo>
                                <a:pt x="166" y="40"/>
                              </a:lnTo>
                              <a:lnTo>
                                <a:pt x="166" y="40"/>
                              </a:lnTo>
                              <a:lnTo>
                                <a:pt x="166" y="40"/>
                              </a:lnTo>
                              <a:lnTo>
                                <a:pt x="166" y="38"/>
                              </a:lnTo>
                              <a:lnTo>
                                <a:pt x="160" y="36"/>
                              </a:lnTo>
                              <a:lnTo>
                                <a:pt x="148" y="36"/>
                              </a:lnTo>
                              <a:lnTo>
                                <a:pt x="136" y="36"/>
                              </a:lnTo>
                              <a:lnTo>
                                <a:pt x="136" y="36"/>
                              </a:lnTo>
                              <a:lnTo>
                                <a:pt x="124" y="38"/>
                              </a:lnTo>
                              <a:lnTo>
                                <a:pt x="116" y="36"/>
                              </a:lnTo>
                              <a:lnTo>
                                <a:pt x="114" y="32"/>
                              </a:lnTo>
                              <a:lnTo>
                                <a:pt x="116" y="30"/>
                              </a:lnTo>
                              <a:lnTo>
                                <a:pt x="116" y="30"/>
                              </a:lnTo>
                              <a:lnTo>
                                <a:pt x="118" y="28"/>
                              </a:lnTo>
                              <a:lnTo>
                                <a:pt x="116" y="24"/>
                              </a:lnTo>
                              <a:lnTo>
                                <a:pt x="108" y="18"/>
                              </a:lnTo>
                              <a:lnTo>
                                <a:pt x="108" y="18"/>
                              </a:lnTo>
                              <a:lnTo>
                                <a:pt x="106" y="18"/>
                              </a:lnTo>
                              <a:lnTo>
                                <a:pt x="104" y="18"/>
                              </a:lnTo>
                              <a:lnTo>
                                <a:pt x="102" y="18"/>
                              </a:lnTo>
                              <a:lnTo>
                                <a:pt x="98" y="16"/>
                              </a:lnTo>
                              <a:lnTo>
                                <a:pt x="98" y="16"/>
                              </a:lnTo>
                              <a:lnTo>
                                <a:pt x="88" y="14"/>
                              </a:lnTo>
                              <a:lnTo>
                                <a:pt x="86" y="12"/>
                              </a:lnTo>
                              <a:lnTo>
                                <a:pt x="86" y="8"/>
                              </a:lnTo>
                              <a:lnTo>
                                <a:pt x="86" y="8"/>
                              </a:lnTo>
                              <a:lnTo>
                                <a:pt x="84" y="2"/>
                              </a:lnTo>
                              <a:lnTo>
                                <a:pt x="80" y="0"/>
                              </a:lnTo>
                              <a:lnTo>
                                <a:pt x="76" y="2"/>
                              </a:lnTo>
                              <a:lnTo>
                                <a:pt x="74" y="6"/>
                              </a:lnTo>
                              <a:lnTo>
                                <a:pt x="74" y="6"/>
                              </a:lnTo>
                              <a:lnTo>
                                <a:pt x="74" y="12"/>
                              </a:lnTo>
                              <a:lnTo>
                                <a:pt x="76" y="12"/>
                              </a:lnTo>
                              <a:lnTo>
                                <a:pt x="80" y="12"/>
                              </a:lnTo>
                              <a:lnTo>
                                <a:pt x="80" y="12"/>
                              </a:lnTo>
                              <a:lnTo>
                                <a:pt x="84" y="12"/>
                              </a:lnTo>
                              <a:lnTo>
                                <a:pt x="84" y="14"/>
                              </a:lnTo>
                              <a:lnTo>
                                <a:pt x="84" y="16"/>
                              </a:lnTo>
                              <a:lnTo>
                                <a:pt x="80" y="16"/>
                              </a:lnTo>
                              <a:lnTo>
                                <a:pt x="80" y="16"/>
                              </a:lnTo>
                              <a:lnTo>
                                <a:pt x="78" y="16"/>
                              </a:lnTo>
                              <a:lnTo>
                                <a:pt x="78" y="16"/>
                              </a:lnTo>
                              <a:lnTo>
                                <a:pt x="76" y="20"/>
                              </a:lnTo>
                              <a:lnTo>
                                <a:pt x="72" y="22"/>
                              </a:lnTo>
                              <a:lnTo>
                                <a:pt x="72" y="22"/>
                              </a:lnTo>
                              <a:lnTo>
                                <a:pt x="62" y="24"/>
                              </a:lnTo>
                              <a:lnTo>
                                <a:pt x="54" y="32"/>
                              </a:lnTo>
                              <a:lnTo>
                                <a:pt x="54" y="32"/>
                              </a:lnTo>
                              <a:lnTo>
                                <a:pt x="52" y="36"/>
                              </a:lnTo>
                              <a:lnTo>
                                <a:pt x="50" y="40"/>
                              </a:lnTo>
                              <a:lnTo>
                                <a:pt x="50" y="42"/>
                              </a:lnTo>
                              <a:lnTo>
                                <a:pt x="50" y="44"/>
                              </a:lnTo>
                              <a:lnTo>
                                <a:pt x="50" y="44"/>
                              </a:lnTo>
                              <a:lnTo>
                                <a:pt x="48" y="46"/>
                              </a:lnTo>
                              <a:lnTo>
                                <a:pt x="50" y="48"/>
                              </a:lnTo>
                              <a:lnTo>
                                <a:pt x="52" y="48"/>
                              </a:lnTo>
                              <a:lnTo>
                                <a:pt x="52" y="52"/>
                              </a:lnTo>
                              <a:lnTo>
                                <a:pt x="52" y="52"/>
                              </a:lnTo>
                              <a:lnTo>
                                <a:pt x="54" y="52"/>
                              </a:lnTo>
                              <a:lnTo>
                                <a:pt x="54" y="54"/>
                              </a:lnTo>
                              <a:lnTo>
                                <a:pt x="56" y="62"/>
                              </a:lnTo>
                              <a:lnTo>
                                <a:pt x="56" y="70"/>
                              </a:lnTo>
                              <a:lnTo>
                                <a:pt x="56" y="70"/>
                              </a:lnTo>
                              <a:lnTo>
                                <a:pt x="54" y="74"/>
                              </a:lnTo>
                              <a:lnTo>
                                <a:pt x="48" y="76"/>
                              </a:lnTo>
                              <a:lnTo>
                                <a:pt x="42" y="76"/>
                              </a:lnTo>
                              <a:lnTo>
                                <a:pt x="40" y="74"/>
                              </a:lnTo>
                              <a:lnTo>
                                <a:pt x="40" y="72"/>
                              </a:lnTo>
                              <a:lnTo>
                                <a:pt x="40" y="72"/>
                              </a:lnTo>
                              <a:lnTo>
                                <a:pt x="38" y="68"/>
                              </a:lnTo>
                              <a:lnTo>
                                <a:pt x="34" y="66"/>
                              </a:lnTo>
                              <a:lnTo>
                                <a:pt x="30" y="64"/>
                              </a:lnTo>
                              <a:lnTo>
                                <a:pt x="30" y="62"/>
                              </a:lnTo>
                              <a:lnTo>
                                <a:pt x="30" y="58"/>
                              </a:lnTo>
                              <a:lnTo>
                                <a:pt x="30" y="58"/>
                              </a:lnTo>
                              <a:lnTo>
                                <a:pt x="32" y="56"/>
                              </a:lnTo>
                              <a:lnTo>
                                <a:pt x="34" y="54"/>
                              </a:lnTo>
                              <a:lnTo>
                                <a:pt x="40" y="50"/>
                              </a:lnTo>
                              <a:lnTo>
                                <a:pt x="44" y="46"/>
                              </a:lnTo>
                              <a:lnTo>
                                <a:pt x="46" y="44"/>
                              </a:lnTo>
                              <a:lnTo>
                                <a:pt x="44" y="42"/>
                              </a:lnTo>
                              <a:lnTo>
                                <a:pt x="44" y="42"/>
                              </a:lnTo>
                              <a:lnTo>
                                <a:pt x="42" y="38"/>
                              </a:lnTo>
                              <a:lnTo>
                                <a:pt x="46" y="38"/>
                              </a:lnTo>
                              <a:lnTo>
                                <a:pt x="48" y="38"/>
                              </a:lnTo>
                              <a:lnTo>
                                <a:pt x="46" y="32"/>
                              </a:lnTo>
                              <a:lnTo>
                                <a:pt x="46" y="32"/>
                              </a:lnTo>
                              <a:lnTo>
                                <a:pt x="40" y="24"/>
                              </a:lnTo>
                              <a:lnTo>
                                <a:pt x="38" y="20"/>
                              </a:lnTo>
                              <a:lnTo>
                                <a:pt x="40" y="18"/>
                              </a:lnTo>
                              <a:lnTo>
                                <a:pt x="42" y="16"/>
                              </a:lnTo>
                              <a:lnTo>
                                <a:pt x="42" y="16"/>
                              </a:lnTo>
                              <a:lnTo>
                                <a:pt x="48" y="12"/>
                              </a:lnTo>
                              <a:lnTo>
                                <a:pt x="48" y="12"/>
                              </a:lnTo>
                              <a:lnTo>
                                <a:pt x="48" y="10"/>
                              </a:lnTo>
                              <a:lnTo>
                                <a:pt x="48" y="10"/>
                              </a:lnTo>
                              <a:lnTo>
                                <a:pt x="34" y="18"/>
                              </a:lnTo>
                              <a:lnTo>
                                <a:pt x="22" y="40"/>
                              </a:lnTo>
                              <a:lnTo>
                                <a:pt x="22" y="40"/>
                              </a:lnTo>
                              <a:lnTo>
                                <a:pt x="20" y="40"/>
                              </a:lnTo>
                              <a:lnTo>
                                <a:pt x="14" y="46"/>
                              </a:lnTo>
                              <a:lnTo>
                                <a:pt x="14" y="46"/>
                              </a:lnTo>
                              <a:lnTo>
                                <a:pt x="12" y="52"/>
                              </a:lnTo>
                              <a:lnTo>
                                <a:pt x="12" y="54"/>
                              </a:lnTo>
                              <a:lnTo>
                                <a:pt x="12" y="58"/>
                              </a:lnTo>
                              <a:lnTo>
                                <a:pt x="10" y="62"/>
                              </a:lnTo>
                              <a:lnTo>
                                <a:pt x="10" y="62"/>
                              </a:lnTo>
                              <a:lnTo>
                                <a:pt x="2" y="74"/>
                              </a:lnTo>
                              <a:lnTo>
                                <a:pt x="0" y="80"/>
                              </a:lnTo>
                              <a:lnTo>
                                <a:pt x="0" y="80"/>
                              </a:lnTo>
                              <a:lnTo>
                                <a:pt x="0" y="80"/>
                              </a:lnTo>
                              <a:lnTo>
                                <a:pt x="2" y="80"/>
                              </a:lnTo>
                              <a:lnTo>
                                <a:pt x="4" y="80"/>
                              </a:lnTo>
                              <a:lnTo>
                                <a:pt x="6" y="82"/>
                              </a:lnTo>
                              <a:lnTo>
                                <a:pt x="6" y="82"/>
                              </a:lnTo>
                              <a:lnTo>
                                <a:pt x="8" y="84"/>
                              </a:lnTo>
                              <a:lnTo>
                                <a:pt x="10" y="82"/>
                              </a:lnTo>
                              <a:lnTo>
                                <a:pt x="12" y="84"/>
                              </a:lnTo>
                              <a:lnTo>
                                <a:pt x="12" y="90"/>
                              </a:lnTo>
                              <a:lnTo>
                                <a:pt x="12" y="90"/>
                              </a:lnTo>
                              <a:lnTo>
                                <a:pt x="16" y="106"/>
                              </a:lnTo>
                              <a:lnTo>
                                <a:pt x="16" y="112"/>
                              </a:lnTo>
                              <a:lnTo>
                                <a:pt x="16" y="118"/>
                              </a:lnTo>
                              <a:lnTo>
                                <a:pt x="16" y="118"/>
                              </a:lnTo>
                              <a:lnTo>
                                <a:pt x="16" y="120"/>
                              </a:lnTo>
                              <a:lnTo>
                                <a:pt x="16" y="124"/>
                              </a:lnTo>
                              <a:lnTo>
                                <a:pt x="22" y="128"/>
                              </a:lnTo>
                              <a:lnTo>
                                <a:pt x="28" y="132"/>
                              </a:lnTo>
                              <a:lnTo>
                                <a:pt x="34" y="136"/>
                              </a:lnTo>
                              <a:lnTo>
                                <a:pt x="34" y="136"/>
                              </a:lnTo>
                              <a:lnTo>
                                <a:pt x="38" y="138"/>
                              </a:lnTo>
                              <a:lnTo>
                                <a:pt x="42" y="140"/>
                              </a:lnTo>
                              <a:lnTo>
                                <a:pt x="48" y="138"/>
                              </a:lnTo>
                              <a:lnTo>
                                <a:pt x="54" y="136"/>
                              </a:lnTo>
                              <a:lnTo>
                                <a:pt x="58" y="138"/>
                              </a:lnTo>
                              <a:lnTo>
                                <a:pt x="62" y="140"/>
                              </a:lnTo>
                              <a:lnTo>
                                <a:pt x="62" y="140"/>
                              </a:lnTo>
                              <a:lnTo>
                                <a:pt x="68" y="144"/>
                              </a:lnTo>
                              <a:lnTo>
                                <a:pt x="72" y="144"/>
                              </a:lnTo>
                              <a:lnTo>
                                <a:pt x="78" y="152"/>
                              </a:lnTo>
                              <a:lnTo>
                                <a:pt x="78" y="152"/>
                              </a:lnTo>
                              <a:lnTo>
                                <a:pt x="86" y="158"/>
                              </a:lnTo>
                              <a:lnTo>
                                <a:pt x="92" y="160"/>
                              </a:lnTo>
                              <a:lnTo>
                                <a:pt x="100" y="160"/>
                              </a:lnTo>
                              <a:lnTo>
                                <a:pt x="110" y="156"/>
                              </a:lnTo>
                              <a:lnTo>
                                <a:pt x="110" y="156"/>
                              </a:lnTo>
                              <a:lnTo>
                                <a:pt x="116" y="156"/>
                              </a:lnTo>
                              <a:lnTo>
                                <a:pt x="118" y="156"/>
                              </a:lnTo>
                              <a:lnTo>
                                <a:pt x="118" y="158"/>
                              </a:lnTo>
                              <a:lnTo>
                                <a:pt x="116" y="162"/>
                              </a:lnTo>
                              <a:lnTo>
                                <a:pt x="116" y="162"/>
                              </a:lnTo>
                              <a:lnTo>
                                <a:pt x="114" y="166"/>
                              </a:lnTo>
                              <a:lnTo>
                                <a:pt x="114" y="168"/>
                              </a:lnTo>
                              <a:lnTo>
                                <a:pt x="114" y="172"/>
                              </a:lnTo>
                              <a:lnTo>
                                <a:pt x="112" y="174"/>
                              </a:lnTo>
                              <a:lnTo>
                                <a:pt x="112" y="174"/>
                              </a:lnTo>
                              <a:lnTo>
                                <a:pt x="110" y="176"/>
                              </a:lnTo>
                              <a:lnTo>
                                <a:pt x="112" y="180"/>
                              </a:lnTo>
                              <a:lnTo>
                                <a:pt x="112" y="184"/>
                              </a:lnTo>
                              <a:lnTo>
                                <a:pt x="110" y="190"/>
                              </a:lnTo>
                              <a:lnTo>
                                <a:pt x="110" y="190"/>
                              </a:lnTo>
                              <a:lnTo>
                                <a:pt x="108" y="196"/>
                              </a:lnTo>
                              <a:lnTo>
                                <a:pt x="110" y="200"/>
                              </a:lnTo>
                              <a:lnTo>
                                <a:pt x="110" y="208"/>
                              </a:lnTo>
                              <a:lnTo>
                                <a:pt x="112" y="214"/>
                              </a:lnTo>
                              <a:lnTo>
                                <a:pt x="118" y="214"/>
                              </a:lnTo>
                              <a:lnTo>
                                <a:pt x="118" y="214"/>
                              </a:lnTo>
                              <a:lnTo>
                                <a:pt x="120" y="220"/>
                              </a:lnTo>
                              <a:lnTo>
                                <a:pt x="120" y="226"/>
                              </a:lnTo>
                              <a:lnTo>
                                <a:pt x="118" y="232"/>
                              </a:lnTo>
                              <a:lnTo>
                                <a:pt x="112" y="244"/>
                              </a:lnTo>
                              <a:lnTo>
                                <a:pt x="112" y="244"/>
                              </a:lnTo>
                              <a:lnTo>
                                <a:pt x="114" y="244"/>
                              </a:lnTo>
                              <a:lnTo>
                                <a:pt x="118" y="246"/>
                              </a:lnTo>
                              <a:lnTo>
                                <a:pt x="122" y="254"/>
                              </a:lnTo>
                              <a:lnTo>
                                <a:pt x="124" y="268"/>
                              </a:lnTo>
                              <a:lnTo>
                                <a:pt x="126" y="286"/>
                              </a:lnTo>
                              <a:lnTo>
                                <a:pt x="126" y="286"/>
                              </a:lnTo>
                              <a:lnTo>
                                <a:pt x="130" y="290"/>
                              </a:lnTo>
                              <a:lnTo>
                                <a:pt x="132" y="290"/>
                              </a:lnTo>
                              <a:lnTo>
                                <a:pt x="134" y="290"/>
                              </a:lnTo>
                              <a:lnTo>
                                <a:pt x="134" y="290"/>
                              </a:lnTo>
                              <a:lnTo>
                                <a:pt x="138" y="292"/>
                              </a:lnTo>
                              <a:lnTo>
                                <a:pt x="144" y="296"/>
                              </a:lnTo>
                              <a:lnTo>
                                <a:pt x="150" y="298"/>
                              </a:lnTo>
                              <a:lnTo>
                                <a:pt x="152" y="298"/>
                              </a:lnTo>
                              <a:lnTo>
                                <a:pt x="154" y="298"/>
                              </a:lnTo>
                              <a:lnTo>
                                <a:pt x="154" y="298"/>
                              </a:lnTo>
                              <a:lnTo>
                                <a:pt x="160" y="296"/>
                              </a:lnTo>
                              <a:lnTo>
                                <a:pt x="162" y="296"/>
                              </a:lnTo>
                              <a:lnTo>
                                <a:pt x="166" y="296"/>
                              </a:lnTo>
                              <a:lnTo>
                                <a:pt x="170" y="292"/>
                              </a:lnTo>
                              <a:lnTo>
                                <a:pt x="170" y="292"/>
                              </a:lnTo>
                              <a:lnTo>
                                <a:pt x="178" y="284"/>
                              </a:lnTo>
                              <a:lnTo>
                                <a:pt x="182" y="282"/>
                              </a:lnTo>
                              <a:lnTo>
                                <a:pt x="184" y="282"/>
                              </a:lnTo>
                              <a:lnTo>
                                <a:pt x="186" y="280"/>
                              </a:lnTo>
                              <a:lnTo>
                                <a:pt x="186" y="280"/>
                              </a:lnTo>
                              <a:lnTo>
                                <a:pt x="188" y="278"/>
                              </a:lnTo>
                              <a:lnTo>
                                <a:pt x="190" y="278"/>
                              </a:lnTo>
                              <a:lnTo>
                                <a:pt x="192" y="278"/>
                              </a:lnTo>
                              <a:lnTo>
                                <a:pt x="194" y="272"/>
                              </a:lnTo>
                              <a:lnTo>
                                <a:pt x="194" y="272"/>
                              </a:lnTo>
                              <a:lnTo>
                                <a:pt x="194" y="266"/>
                              </a:lnTo>
                              <a:lnTo>
                                <a:pt x="198" y="264"/>
                              </a:lnTo>
                              <a:lnTo>
                                <a:pt x="202" y="264"/>
                              </a:lnTo>
                              <a:lnTo>
                                <a:pt x="210" y="260"/>
                              </a:lnTo>
                              <a:lnTo>
                                <a:pt x="210" y="260"/>
                              </a:lnTo>
                              <a:lnTo>
                                <a:pt x="208" y="252"/>
                              </a:lnTo>
                              <a:lnTo>
                                <a:pt x="202" y="252"/>
                              </a:lnTo>
                              <a:lnTo>
                                <a:pt x="202" y="252"/>
                              </a:lnTo>
                              <a:lnTo>
                                <a:pt x="198" y="252"/>
                              </a:lnTo>
                              <a:lnTo>
                                <a:pt x="194" y="250"/>
                              </a:lnTo>
                              <a:lnTo>
                                <a:pt x="190" y="244"/>
                              </a:lnTo>
                              <a:lnTo>
                                <a:pt x="188" y="236"/>
                              </a:lnTo>
                              <a:lnTo>
                                <a:pt x="190" y="228"/>
                              </a:lnTo>
                              <a:lnTo>
                                <a:pt x="190" y="228"/>
                              </a:lnTo>
                              <a:lnTo>
                                <a:pt x="190" y="224"/>
                              </a:lnTo>
                              <a:lnTo>
                                <a:pt x="190" y="220"/>
                              </a:lnTo>
                              <a:lnTo>
                                <a:pt x="184" y="214"/>
                              </a:lnTo>
                              <a:lnTo>
                                <a:pt x="180" y="210"/>
                              </a:lnTo>
                              <a:lnTo>
                                <a:pt x="180" y="208"/>
                              </a:lnTo>
                              <a:lnTo>
                                <a:pt x="184" y="206"/>
                              </a:lnTo>
                              <a:lnTo>
                                <a:pt x="184" y="206"/>
                              </a:lnTo>
                              <a:lnTo>
                                <a:pt x="190" y="206"/>
                              </a:lnTo>
                              <a:lnTo>
                                <a:pt x="194" y="206"/>
                              </a:lnTo>
                              <a:lnTo>
                                <a:pt x="202" y="210"/>
                              </a:lnTo>
                              <a:lnTo>
                                <a:pt x="208" y="212"/>
                              </a:lnTo>
                              <a:lnTo>
                                <a:pt x="210" y="212"/>
                              </a:lnTo>
                              <a:lnTo>
                                <a:pt x="216" y="212"/>
                              </a:lnTo>
                              <a:lnTo>
                                <a:pt x="216" y="212"/>
                              </a:lnTo>
                              <a:lnTo>
                                <a:pt x="224" y="210"/>
                              </a:lnTo>
                              <a:lnTo>
                                <a:pt x="230" y="212"/>
                              </a:lnTo>
                              <a:lnTo>
                                <a:pt x="232" y="212"/>
                              </a:lnTo>
                              <a:lnTo>
                                <a:pt x="234" y="212"/>
                              </a:lnTo>
                              <a:lnTo>
                                <a:pt x="234" y="212"/>
                              </a:lnTo>
                              <a:lnTo>
                                <a:pt x="236" y="210"/>
                              </a:lnTo>
                              <a:lnTo>
                                <a:pt x="236" y="210"/>
                              </a:lnTo>
                              <a:lnTo>
                                <a:pt x="234" y="208"/>
                              </a:lnTo>
                              <a:lnTo>
                                <a:pt x="236" y="208"/>
                              </a:lnTo>
                              <a:lnTo>
                                <a:pt x="236" y="208"/>
                              </a:lnTo>
                              <a:lnTo>
                                <a:pt x="242" y="206"/>
                              </a:lnTo>
                              <a:lnTo>
                                <a:pt x="248" y="204"/>
                              </a:lnTo>
                              <a:lnTo>
                                <a:pt x="256" y="198"/>
                              </a:lnTo>
                              <a:lnTo>
                                <a:pt x="256" y="198"/>
                              </a:lnTo>
                              <a:lnTo>
                                <a:pt x="260" y="194"/>
                              </a:lnTo>
                              <a:lnTo>
                                <a:pt x="264" y="192"/>
                              </a:lnTo>
                              <a:lnTo>
                                <a:pt x="266" y="190"/>
                              </a:lnTo>
                              <a:lnTo>
                                <a:pt x="268" y="182"/>
                              </a:lnTo>
                              <a:lnTo>
                                <a:pt x="268" y="182"/>
                              </a:lnTo>
                              <a:lnTo>
                                <a:pt x="258" y="168"/>
                              </a:lnTo>
                              <a:lnTo>
                                <a:pt x="256" y="162"/>
                              </a:lnTo>
                              <a:lnTo>
                                <a:pt x="254" y="158"/>
                              </a:lnTo>
                              <a:lnTo>
                                <a:pt x="254" y="158"/>
                              </a:lnTo>
                              <a:lnTo>
                                <a:pt x="256" y="154"/>
                              </a:lnTo>
                              <a:lnTo>
                                <a:pt x="258" y="150"/>
                              </a:lnTo>
                              <a:lnTo>
                                <a:pt x="262" y="148"/>
                              </a:lnTo>
                              <a:lnTo>
                                <a:pt x="260" y="144"/>
                              </a:lnTo>
                              <a:lnTo>
                                <a:pt x="260" y="144"/>
                              </a:lnTo>
                              <a:lnTo>
                                <a:pt x="260" y="140"/>
                              </a:lnTo>
                              <a:lnTo>
                                <a:pt x="260" y="138"/>
                              </a:lnTo>
                              <a:lnTo>
                                <a:pt x="270" y="132"/>
                              </a:lnTo>
                              <a:lnTo>
                                <a:pt x="270" y="132"/>
                              </a:lnTo>
                              <a:lnTo>
                                <a:pt x="274" y="130"/>
                              </a:lnTo>
                              <a:lnTo>
                                <a:pt x="274" y="126"/>
                              </a:lnTo>
                              <a:lnTo>
                                <a:pt x="272" y="124"/>
                              </a:lnTo>
                              <a:lnTo>
                                <a:pt x="268" y="124"/>
                              </a:lnTo>
                              <a:lnTo>
                                <a:pt x="268" y="124"/>
                              </a:lnTo>
                              <a:lnTo>
                                <a:pt x="264" y="126"/>
                              </a:lnTo>
                              <a:lnTo>
                                <a:pt x="264" y="124"/>
                              </a:lnTo>
                              <a:lnTo>
                                <a:pt x="266" y="122"/>
                              </a:lnTo>
                              <a:lnTo>
                                <a:pt x="266" y="118"/>
                              </a:lnTo>
                              <a:lnTo>
                                <a:pt x="266" y="118"/>
                              </a:lnTo>
                              <a:lnTo>
                                <a:pt x="266" y="116"/>
                              </a:lnTo>
                              <a:lnTo>
                                <a:pt x="266" y="114"/>
                              </a:lnTo>
                              <a:lnTo>
                                <a:pt x="268" y="112"/>
                              </a:lnTo>
                              <a:lnTo>
                                <a:pt x="270" y="110"/>
                              </a:lnTo>
                              <a:lnTo>
                                <a:pt x="270" y="110"/>
                              </a:lnTo>
                              <a:lnTo>
                                <a:pt x="272" y="108"/>
                              </a:lnTo>
                              <a:lnTo>
                                <a:pt x="274" y="106"/>
                              </a:lnTo>
                              <a:lnTo>
                                <a:pt x="280" y="106"/>
                              </a:lnTo>
                              <a:lnTo>
                                <a:pt x="284" y="106"/>
                              </a:lnTo>
                              <a:lnTo>
                                <a:pt x="284" y="104"/>
                              </a:lnTo>
                              <a:lnTo>
                                <a:pt x="284" y="100"/>
                              </a:lnTo>
                              <a:lnTo>
                                <a:pt x="284" y="100"/>
                              </a:lnTo>
                              <a:close/>
                            </a:path>
                          </a:pathLst>
                        </a:custGeom>
                        <a:solidFill>
                          <a:schemeClr val="tx2"/>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6" name="Vietnam"/>
                        <p:cNvSpPr>
                          <a:spLocks/>
                        </p:cNvSpPr>
                        <p:nvPr/>
                      </p:nvSpPr>
                      <p:spPr bwMode="auto">
                        <a:xfrm>
                          <a:off x="8952724" y="2793051"/>
                          <a:ext cx="321990" cy="552340"/>
                        </a:xfrm>
                        <a:custGeom>
                          <a:avLst/>
                          <a:gdLst/>
                          <a:ahLst/>
                          <a:cxnLst>
                            <a:cxn ang="0">
                              <a:pos x="118" y="330"/>
                            </a:cxn>
                            <a:cxn ang="0">
                              <a:pos x="118" y="356"/>
                            </a:cxn>
                            <a:cxn ang="0">
                              <a:pos x="118" y="364"/>
                            </a:cxn>
                            <a:cxn ang="0">
                              <a:pos x="130" y="362"/>
                            </a:cxn>
                            <a:cxn ang="0">
                              <a:pos x="136" y="354"/>
                            </a:cxn>
                            <a:cxn ang="0">
                              <a:pos x="146" y="350"/>
                            </a:cxn>
                            <a:cxn ang="0">
                              <a:pos x="152" y="344"/>
                            </a:cxn>
                            <a:cxn ang="0">
                              <a:pos x="148" y="332"/>
                            </a:cxn>
                            <a:cxn ang="0">
                              <a:pos x="158" y="344"/>
                            </a:cxn>
                            <a:cxn ang="0">
                              <a:pos x="162" y="330"/>
                            </a:cxn>
                            <a:cxn ang="0">
                              <a:pos x="162" y="326"/>
                            </a:cxn>
                            <a:cxn ang="0">
                              <a:pos x="182" y="312"/>
                            </a:cxn>
                            <a:cxn ang="0">
                              <a:pos x="198" y="300"/>
                            </a:cxn>
                            <a:cxn ang="0">
                              <a:pos x="206" y="290"/>
                            </a:cxn>
                            <a:cxn ang="0">
                              <a:pos x="210" y="280"/>
                            </a:cxn>
                            <a:cxn ang="0">
                              <a:pos x="208" y="274"/>
                            </a:cxn>
                            <a:cxn ang="0">
                              <a:pos x="208" y="260"/>
                            </a:cxn>
                            <a:cxn ang="0">
                              <a:pos x="208" y="254"/>
                            </a:cxn>
                            <a:cxn ang="0">
                              <a:pos x="206" y="242"/>
                            </a:cxn>
                            <a:cxn ang="0">
                              <a:pos x="202" y="230"/>
                            </a:cxn>
                            <a:cxn ang="0">
                              <a:pos x="188" y="198"/>
                            </a:cxn>
                            <a:cxn ang="0">
                              <a:pos x="184" y="190"/>
                            </a:cxn>
                            <a:cxn ang="0">
                              <a:pos x="168" y="178"/>
                            </a:cxn>
                            <a:cxn ang="0">
                              <a:pos x="136" y="148"/>
                            </a:cxn>
                            <a:cxn ang="0">
                              <a:pos x="118" y="124"/>
                            </a:cxn>
                            <a:cxn ang="0">
                              <a:pos x="104" y="108"/>
                            </a:cxn>
                            <a:cxn ang="0">
                              <a:pos x="106" y="78"/>
                            </a:cxn>
                            <a:cxn ang="0">
                              <a:pos x="116" y="62"/>
                            </a:cxn>
                            <a:cxn ang="0">
                              <a:pos x="124" y="56"/>
                            </a:cxn>
                            <a:cxn ang="0">
                              <a:pos x="132" y="44"/>
                            </a:cxn>
                            <a:cxn ang="0">
                              <a:pos x="120" y="38"/>
                            </a:cxn>
                            <a:cxn ang="0">
                              <a:pos x="108" y="36"/>
                            </a:cxn>
                            <a:cxn ang="0">
                              <a:pos x="106" y="22"/>
                            </a:cxn>
                            <a:cxn ang="0">
                              <a:pos x="100" y="12"/>
                            </a:cxn>
                            <a:cxn ang="0">
                              <a:pos x="84" y="4"/>
                            </a:cxn>
                            <a:cxn ang="0">
                              <a:pos x="68" y="4"/>
                            </a:cxn>
                            <a:cxn ang="0">
                              <a:pos x="62" y="16"/>
                            </a:cxn>
                            <a:cxn ang="0">
                              <a:pos x="46" y="18"/>
                            </a:cxn>
                            <a:cxn ang="0">
                              <a:pos x="32" y="18"/>
                            </a:cxn>
                            <a:cxn ang="0">
                              <a:pos x="24" y="12"/>
                            </a:cxn>
                            <a:cxn ang="0">
                              <a:pos x="24" y="24"/>
                            </a:cxn>
                            <a:cxn ang="0">
                              <a:pos x="10" y="18"/>
                            </a:cxn>
                            <a:cxn ang="0">
                              <a:pos x="18" y="40"/>
                            </a:cxn>
                            <a:cxn ang="0">
                              <a:pos x="26" y="52"/>
                            </a:cxn>
                            <a:cxn ang="0">
                              <a:pos x="50" y="62"/>
                            </a:cxn>
                            <a:cxn ang="0">
                              <a:pos x="86" y="74"/>
                            </a:cxn>
                            <a:cxn ang="0">
                              <a:pos x="80" y="88"/>
                            </a:cxn>
                            <a:cxn ang="0">
                              <a:pos x="62" y="94"/>
                            </a:cxn>
                            <a:cxn ang="0">
                              <a:pos x="88" y="108"/>
                            </a:cxn>
                            <a:cxn ang="0">
                              <a:pos x="98" y="118"/>
                            </a:cxn>
                            <a:cxn ang="0">
                              <a:pos x="114" y="142"/>
                            </a:cxn>
                            <a:cxn ang="0">
                              <a:pos x="126" y="162"/>
                            </a:cxn>
                            <a:cxn ang="0">
                              <a:pos x="152" y="176"/>
                            </a:cxn>
                            <a:cxn ang="0">
                              <a:pos x="164" y="196"/>
                            </a:cxn>
                            <a:cxn ang="0">
                              <a:pos x="180" y="232"/>
                            </a:cxn>
                            <a:cxn ang="0">
                              <a:pos x="172" y="266"/>
                            </a:cxn>
                            <a:cxn ang="0">
                              <a:pos x="174" y="284"/>
                            </a:cxn>
                            <a:cxn ang="0">
                              <a:pos x="152" y="292"/>
                            </a:cxn>
                            <a:cxn ang="0">
                              <a:pos x="134" y="300"/>
                            </a:cxn>
                            <a:cxn ang="0">
                              <a:pos x="146" y="312"/>
                            </a:cxn>
                            <a:cxn ang="0">
                              <a:pos x="142" y="316"/>
                            </a:cxn>
                            <a:cxn ang="0">
                              <a:pos x="130" y="312"/>
                            </a:cxn>
                            <a:cxn ang="0">
                              <a:pos x="108" y="324"/>
                            </a:cxn>
                          </a:cxnLst>
                          <a:rect l="0" t="0" r="r" b="b"/>
                          <a:pathLst>
                            <a:path w="212" h="364">
                              <a:moveTo>
                                <a:pt x="108" y="324"/>
                              </a:moveTo>
                              <a:lnTo>
                                <a:pt x="108" y="324"/>
                              </a:lnTo>
                              <a:lnTo>
                                <a:pt x="114" y="326"/>
                              </a:lnTo>
                              <a:lnTo>
                                <a:pt x="116" y="328"/>
                              </a:lnTo>
                              <a:lnTo>
                                <a:pt x="118" y="330"/>
                              </a:lnTo>
                              <a:lnTo>
                                <a:pt x="122" y="330"/>
                              </a:lnTo>
                              <a:lnTo>
                                <a:pt x="122" y="330"/>
                              </a:lnTo>
                              <a:lnTo>
                                <a:pt x="118" y="340"/>
                              </a:lnTo>
                              <a:lnTo>
                                <a:pt x="118" y="346"/>
                              </a:lnTo>
                              <a:lnTo>
                                <a:pt x="118" y="356"/>
                              </a:lnTo>
                              <a:lnTo>
                                <a:pt x="120" y="360"/>
                              </a:lnTo>
                              <a:lnTo>
                                <a:pt x="120" y="362"/>
                              </a:lnTo>
                              <a:lnTo>
                                <a:pt x="120" y="362"/>
                              </a:lnTo>
                              <a:lnTo>
                                <a:pt x="120" y="362"/>
                              </a:lnTo>
                              <a:lnTo>
                                <a:pt x="118" y="364"/>
                              </a:lnTo>
                              <a:lnTo>
                                <a:pt x="124" y="364"/>
                              </a:lnTo>
                              <a:lnTo>
                                <a:pt x="124" y="364"/>
                              </a:lnTo>
                              <a:lnTo>
                                <a:pt x="128" y="364"/>
                              </a:lnTo>
                              <a:lnTo>
                                <a:pt x="128" y="362"/>
                              </a:lnTo>
                              <a:lnTo>
                                <a:pt x="130" y="362"/>
                              </a:lnTo>
                              <a:lnTo>
                                <a:pt x="132" y="360"/>
                              </a:lnTo>
                              <a:lnTo>
                                <a:pt x="132" y="360"/>
                              </a:lnTo>
                              <a:lnTo>
                                <a:pt x="134" y="360"/>
                              </a:lnTo>
                              <a:lnTo>
                                <a:pt x="134" y="356"/>
                              </a:lnTo>
                              <a:lnTo>
                                <a:pt x="136" y="354"/>
                              </a:lnTo>
                              <a:lnTo>
                                <a:pt x="142" y="354"/>
                              </a:lnTo>
                              <a:lnTo>
                                <a:pt x="142" y="354"/>
                              </a:lnTo>
                              <a:lnTo>
                                <a:pt x="146" y="352"/>
                              </a:lnTo>
                              <a:lnTo>
                                <a:pt x="146" y="352"/>
                              </a:lnTo>
                              <a:lnTo>
                                <a:pt x="146" y="350"/>
                              </a:lnTo>
                              <a:lnTo>
                                <a:pt x="148" y="350"/>
                              </a:lnTo>
                              <a:lnTo>
                                <a:pt x="148" y="350"/>
                              </a:lnTo>
                              <a:lnTo>
                                <a:pt x="152" y="350"/>
                              </a:lnTo>
                              <a:lnTo>
                                <a:pt x="152" y="348"/>
                              </a:lnTo>
                              <a:lnTo>
                                <a:pt x="152" y="344"/>
                              </a:lnTo>
                              <a:lnTo>
                                <a:pt x="148" y="340"/>
                              </a:lnTo>
                              <a:lnTo>
                                <a:pt x="148" y="340"/>
                              </a:lnTo>
                              <a:lnTo>
                                <a:pt x="146" y="336"/>
                              </a:lnTo>
                              <a:lnTo>
                                <a:pt x="146" y="334"/>
                              </a:lnTo>
                              <a:lnTo>
                                <a:pt x="148" y="332"/>
                              </a:lnTo>
                              <a:lnTo>
                                <a:pt x="148" y="334"/>
                              </a:lnTo>
                              <a:lnTo>
                                <a:pt x="148" y="334"/>
                              </a:lnTo>
                              <a:lnTo>
                                <a:pt x="152" y="342"/>
                              </a:lnTo>
                              <a:lnTo>
                                <a:pt x="156" y="344"/>
                              </a:lnTo>
                              <a:lnTo>
                                <a:pt x="158" y="344"/>
                              </a:lnTo>
                              <a:lnTo>
                                <a:pt x="158" y="344"/>
                              </a:lnTo>
                              <a:lnTo>
                                <a:pt x="158" y="340"/>
                              </a:lnTo>
                              <a:lnTo>
                                <a:pt x="158" y="338"/>
                              </a:lnTo>
                              <a:lnTo>
                                <a:pt x="160" y="334"/>
                              </a:lnTo>
                              <a:lnTo>
                                <a:pt x="162" y="330"/>
                              </a:lnTo>
                              <a:lnTo>
                                <a:pt x="162" y="330"/>
                              </a:lnTo>
                              <a:lnTo>
                                <a:pt x="162" y="328"/>
                              </a:lnTo>
                              <a:lnTo>
                                <a:pt x="162" y="326"/>
                              </a:lnTo>
                              <a:lnTo>
                                <a:pt x="160" y="326"/>
                              </a:lnTo>
                              <a:lnTo>
                                <a:pt x="162" y="326"/>
                              </a:lnTo>
                              <a:lnTo>
                                <a:pt x="162" y="326"/>
                              </a:lnTo>
                              <a:lnTo>
                                <a:pt x="166" y="324"/>
                              </a:lnTo>
                              <a:lnTo>
                                <a:pt x="174" y="320"/>
                              </a:lnTo>
                              <a:lnTo>
                                <a:pt x="182" y="312"/>
                              </a:lnTo>
                              <a:lnTo>
                                <a:pt x="182" y="312"/>
                              </a:lnTo>
                              <a:lnTo>
                                <a:pt x="186" y="312"/>
                              </a:lnTo>
                              <a:lnTo>
                                <a:pt x="190" y="308"/>
                              </a:lnTo>
                              <a:lnTo>
                                <a:pt x="190" y="308"/>
                              </a:lnTo>
                              <a:lnTo>
                                <a:pt x="196" y="304"/>
                              </a:lnTo>
                              <a:lnTo>
                                <a:pt x="198" y="300"/>
                              </a:lnTo>
                              <a:lnTo>
                                <a:pt x="200" y="296"/>
                              </a:lnTo>
                              <a:lnTo>
                                <a:pt x="200" y="296"/>
                              </a:lnTo>
                              <a:lnTo>
                                <a:pt x="200" y="292"/>
                              </a:lnTo>
                              <a:lnTo>
                                <a:pt x="202" y="290"/>
                              </a:lnTo>
                              <a:lnTo>
                                <a:pt x="206" y="290"/>
                              </a:lnTo>
                              <a:lnTo>
                                <a:pt x="208" y="292"/>
                              </a:lnTo>
                              <a:lnTo>
                                <a:pt x="208" y="288"/>
                              </a:lnTo>
                              <a:lnTo>
                                <a:pt x="208" y="288"/>
                              </a:lnTo>
                              <a:lnTo>
                                <a:pt x="210" y="284"/>
                              </a:lnTo>
                              <a:lnTo>
                                <a:pt x="210" y="280"/>
                              </a:lnTo>
                              <a:lnTo>
                                <a:pt x="212" y="278"/>
                              </a:lnTo>
                              <a:lnTo>
                                <a:pt x="208" y="278"/>
                              </a:lnTo>
                              <a:lnTo>
                                <a:pt x="208" y="278"/>
                              </a:lnTo>
                              <a:lnTo>
                                <a:pt x="204" y="278"/>
                              </a:lnTo>
                              <a:lnTo>
                                <a:pt x="208" y="274"/>
                              </a:lnTo>
                              <a:lnTo>
                                <a:pt x="208" y="274"/>
                              </a:lnTo>
                              <a:lnTo>
                                <a:pt x="208" y="270"/>
                              </a:lnTo>
                              <a:lnTo>
                                <a:pt x="208" y="264"/>
                              </a:lnTo>
                              <a:lnTo>
                                <a:pt x="206" y="262"/>
                              </a:lnTo>
                              <a:lnTo>
                                <a:pt x="208" y="260"/>
                              </a:lnTo>
                              <a:lnTo>
                                <a:pt x="208" y="260"/>
                              </a:lnTo>
                              <a:lnTo>
                                <a:pt x="212" y="260"/>
                              </a:lnTo>
                              <a:lnTo>
                                <a:pt x="212" y="260"/>
                              </a:lnTo>
                              <a:lnTo>
                                <a:pt x="208" y="254"/>
                              </a:lnTo>
                              <a:lnTo>
                                <a:pt x="208" y="254"/>
                              </a:lnTo>
                              <a:lnTo>
                                <a:pt x="206" y="250"/>
                              </a:lnTo>
                              <a:lnTo>
                                <a:pt x="208" y="248"/>
                              </a:lnTo>
                              <a:lnTo>
                                <a:pt x="208" y="246"/>
                              </a:lnTo>
                              <a:lnTo>
                                <a:pt x="206" y="242"/>
                              </a:lnTo>
                              <a:lnTo>
                                <a:pt x="206" y="242"/>
                              </a:lnTo>
                              <a:lnTo>
                                <a:pt x="202" y="238"/>
                              </a:lnTo>
                              <a:lnTo>
                                <a:pt x="202" y="236"/>
                              </a:lnTo>
                              <a:lnTo>
                                <a:pt x="204" y="234"/>
                              </a:lnTo>
                              <a:lnTo>
                                <a:pt x="202" y="230"/>
                              </a:lnTo>
                              <a:lnTo>
                                <a:pt x="202" y="230"/>
                              </a:lnTo>
                              <a:lnTo>
                                <a:pt x="200" y="226"/>
                              </a:lnTo>
                              <a:lnTo>
                                <a:pt x="200" y="220"/>
                              </a:lnTo>
                              <a:lnTo>
                                <a:pt x="196" y="212"/>
                              </a:lnTo>
                              <a:lnTo>
                                <a:pt x="188" y="198"/>
                              </a:lnTo>
                              <a:lnTo>
                                <a:pt x="188" y="198"/>
                              </a:lnTo>
                              <a:lnTo>
                                <a:pt x="186" y="194"/>
                              </a:lnTo>
                              <a:lnTo>
                                <a:pt x="186" y="192"/>
                              </a:lnTo>
                              <a:lnTo>
                                <a:pt x="186" y="190"/>
                              </a:lnTo>
                              <a:lnTo>
                                <a:pt x="184" y="190"/>
                              </a:lnTo>
                              <a:lnTo>
                                <a:pt x="184" y="190"/>
                              </a:lnTo>
                              <a:lnTo>
                                <a:pt x="182" y="190"/>
                              </a:lnTo>
                              <a:lnTo>
                                <a:pt x="180" y="190"/>
                              </a:lnTo>
                              <a:lnTo>
                                <a:pt x="174" y="182"/>
                              </a:lnTo>
                              <a:lnTo>
                                <a:pt x="174" y="182"/>
                              </a:lnTo>
                              <a:lnTo>
                                <a:pt x="168" y="178"/>
                              </a:lnTo>
                              <a:lnTo>
                                <a:pt x="160" y="172"/>
                              </a:lnTo>
                              <a:lnTo>
                                <a:pt x="154" y="168"/>
                              </a:lnTo>
                              <a:lnTo>
                                <a:pt x="146" y="158"/>
                              </a:lnTo>
                              <a:lnTo>
                                <a:pt x="146" y="158"/>
                              </a:lnTo>
                              <a:lnTo>
                                <a:pt x="136" y="148"/>
                              </a:lnTo>
                              <a:lnTo>
                                <a:pt x="128" y="140"/>
                              </a:lnTo>
                              <a:lnTo>
                                <a:pt x="120" y="132"/>
                              </a:lnTo>
                              <a:lnTo>
                                <a:pt x="118" y="128"/>
                              </a:lnTo>
                              <a:lnTo>
                                <a:pt x="118" y="124"/>
                              </a:lnTo>
                              <a:lnTo>
                                <a:pt x="118" y="124"/>
                              </a:lnTo>
                              <a:lnTo>
                                <a:pt x="118" y="120"/>
                              </a:lnTo>
                              <a:lnTo>
                                <a:pt x="116" y="118"/>
                              </a:lnTo>
                              <a:lnTo>
                                <a:pt x="110" y="116"/>
                              </a:lnTo>
                              <a:lnTo>
                                <a:pt x="104" y="108"/>
                              </a:lnTo>
                              <a:lnTo>
                                <a:pt x="104" y="108"/>
                              </a:lnTo>
                              <a:lnTo>
                                <a:pt x="96" y="96"/>
                              </a:lnTo>
                              <a:lnTo>
                                <a:pt x="96" y="92"/>
                              </a:lnTo>
                              <a:lnTo>
                                <a:pt x="100" y="88"/>
                              </a:lnTo>
                              <a:lnTo>
                                <a:pt x="100" y="88"/>
                              </a:lnTo>
                              <a:lnTo>
                                <a:pt x="106" y="78"/>
                              </a:lnTo>
                              <a:lnTo>
                                <a:pt x="112" y="74"/>
                              </a:lnTo>
                              <a:lnTo>
                                <a:pt x="114" y="72"/>
                              </a:lnTo>
                              <a:lnTo>
                                <a:pt x="116" y="66"/>
                              </a:lnTo>
                              <a:lnTo>
                                <a:pt x="116" y="66"/>
                              </a:lnTo>
                              <a:lnTo>
                                <a:pt x="116" y="62"/>
                              </a:lnTo>
                              <a:lnTo>
                                <a:pt x="118" y="60"/>
                              </a:lnTo>
                              <a:lnTo>
                                <a:pt x="120" y="60"/>
                              </a:lnTo>
                              <a:lnTo>
                                <a:pt x="124" y="60"/>
                              </a:lnTo>
                              <a:lnTo>
                                <a:pt x="126" y="58"/>
                              </a:lnTo>
                              <a:lnTo>
                                <a:pt x="124" y="56"/>
                              </a:lnTo>
                              <a:lnTo>
                                <a:pt x="124" y="56"/>
                              </a:lnTo>
                              <a:lnTo>
                                <a:pt x="124" y="54"/>
                              </a:lnTo>
                              <a:lnTo>
                                <a:pt x="126" y="54"/>
                              </a:lnTo>
                              <a:lnTo>
                                <a:pt x="130" y="52"/>
                              </a:lnTo>
                              <a:lnTo>
                                <a:pt x="132" y="44"/>
                              </a:lnTo>
                              <a:lnTo>
                                <a:pt x="132" y="42"/>
                              </a:lnTo>
                              <a:lnTo>
                                <a:pt x="132" y="42"/>
                              </a:lnTo>
                              <a:lnTo>
                                <a:pt x="128" y="42"/>
                              </a:lnTo>
                              <a:lnTo>
                                <a:pt x="126" y="42"/>
                              </a:lnTo>
                              <a:lnTo>
                                <a:pt x="120" y="38"/>
                              </a:lnTo>
                              <a:lnTo>
                                <a:pt x="116" y="34"/>
                              </a:lnTo>
                              <a:lnTo>
                                <a:pt x="114" y="34"/>
                              </a:lnTo>
                              <a:lnTo>
                                <a:pt x="112" y="34"/>
                              </a:lnTo>
                              <a:lnTo>
                                <a:pt x="112" y="34"/>
                              </a:lnTo>
                              <a:lnTo>
                                <a:pt x="108" y="36"/>
                              </a:lnTo>
                              <a:lnTo>
                                <a:pt x="106" y="32"/>
                              </a:lnTo>
                              <a:lnTo>
                                <a:pt x="106" y="32"/>
                              </a:lnTo>
                              <a:lnTo>
                                <a:pt x="100" y="28"/>
                              </a:lnTo>
                              <a:lnTo>
                                <a:pt x="102" y="26"/>
                              </a:lnTo>
                              <a:lnTo>
                                <a:pt x="106" y="22"/>
                              </a:lnTo>
                              <a:lnTo>
                                <a:pt x="106" y="22"/>
                              </a:lnTo>
                              <a:lnTo>
                                <a:pt x="112" y="20"/>
                              </a:lnTo>
                              <a:lnTo>
                                <a:pt x="114" y="16"/>
                              </a:lnTo>
                              <a:lnTo>
                                <a:pt x="108" y="14"/>
                              </a:lnTo>
                              <a:lnTo>
                                <a:pt x="100" y="12"/>
                              </a:lnTo>
                              <a:lnTo>
                                <a:pt x="100" y="12"/>
                              </a:lnTo>
                              <a:lnTo>
                                <a:pt x="92" y="12"/>
                              </a:lnTo>
                              <a:lnTo>
                                <a:pt x="88" y="10"/>
                              </a:lnTo>
                              <a:lnTo>
                                <a:pt x="86" y="6"/>
                              </a:lnTo>
                              <a:lnTo>
                                <a:pt x="84" y="4"/>
                              </a:lnTo>
                              <a:lnTo>
                                <a:pt x="82" y="0"/>
                              </a:lnTo>
                              <a:lnTo>
                                <a:pt x="82" y="0"/>
                              </a:lnTo>
                              <a:lnTo>
                                <a:pt x="78" y="0"/>
                              </a:lnTo>
                              <a:lnTo>
                                <a:pt x="78" y="0"/>
                              </a:lnTo>
                              <a:lnTo>
                                <a:pt x="68" y="4"/>
                              </a:lnTo>
                              <a:lnTo>
                                <a:pt x="64" y="6"/>
                              </a:lnTo>
                              <a:lnTo>
                                <a:pt x="62" y="10"/>
                              </a:lnTo>
                              <a:lnTo>
                                <a:pt x="62" y="10"/>
                              </a:lnTo>
                              <a:lnTo>
                                <a:pt x="64" y="16"/>
                              </a:lnTo>
                              <a:lnTo>
                                <a:pt x="62" y="16"/>
                              </a:lnTo>
                              <a:lnTo>
                                <a:pt x="58" y="16"/>
                              </a:lnTo>
                              <a:lnTo>
                                <a:pt x="52" y="18"/>
                              </a:lnTo>
                              <a:lnTo>
                                <a:pt x="52" y="18"/>
                              </a:lnTo>
                              <a:lnTo>
                                <a:pt x="48" y="18"/>
                              </a:lnTo>
                              <a:lnTo>
                                <a:pt x="46" y="18"/>
                              </a:lnTo>
                              <a:lnTo>
                                <a:pt x="44" y="16"/>
                              </a:lnTo>
                              <a:lnTo>
                                <a:pt x="38" y="16"/>
                              </a:lnTo>
                              <a:lnTo>
                                <a:pt x="38" y="16"/>
                              </a:lnTo>
                              <a:lnTo>
                                <a:pt x="36" y="18"/>
                              </a:lnTo>
                              <a:lnTo>
                                <a:pt x="32" y="18"/>
                              </a:lnTo>
                              <a:lnTo>
                                <a:pt x="30" y="14"/>
                              </a:lnTo>
                              <a:lnTo>
                                <a:pt x="28" y="12"/>
                              </a:lnTo>
                              <a:lnTo>
                                <a:pt x="26" y="10"/>
                              </a:lnTo>
                              <a:lnTo>
                                <a:pt x="24" y="12"/>
                              </a:lnTo>
                              <a:lnTo>
                                <a:pt x="24" y="12"/>
                              </a:lnTo>
                              <a:lnTo>
                                <a:pt x="22" y="16"/>
                              </a:lnTo>
                              <a:lnTo>
                                <a:pt x="22" y="20"/>
                              </a:lnTo>
                              <a:lnTo>
                                <a:pt x="24" y="22"/>
                              </a:lnTo>
                              <a:lnTo>
                                <a:pt x="24" y="24"/>
                              </a:lnTo>
                              <a:lnTo>
                                <a:pt x="24" y="24"/>
                              </a:lnTo>
                              <a:lnTo>
                                <a:pt x="20" y="24"/>
                              </a:lnTo>
                              <a:lnTo>
                                <a:pt x="18" y="22"/>
                              </a:lnTo>
                              <a:lnTo>
                                <a:pt x="14" y="18"/>
                              </a:lnTo>
                              <a:lnTo>
                                <a:pt x="10" y="18"/>
                              </a:lnTo>
                              <a:lnTo>
                                <a:pt x="10" y="18"/>
                              </a:lnTo>
                              <a:lnTo>
                                <a:pt x="0" y="20"/>
                              </a:lnTo>
                              <a:lnTo>
                                <a:pt x="0" y="20"/>
                              </a:lnTo>
                              <a:lnTo>
                                <a:pt x="4" y="26"/>
                              </a:lnTo>
                              <a:lnTo>
                                <a:pt x="8" y="32"/>
                              </a:lnTo>
                              <a:lnTo>
                                <a:pt x="18" y="40"/>
                              </a:lnTo>
                              <a:lnTo>
                                <a:pt x="26" y="44"/>
                              </a:lnTo>
                              <a:lnTo>
                                <a:pt x="26" y="46"/>
                              </a:lnTo>
                              <a:lnTo>
                                <a:pt x="26" y="50"/>
                              </a:lnTo>
                              <a:lnTo>
                                <a:pt x="26" y="50"/>
                              </a:lnTo>
                              <a:lnTo>
                                <a:pt x="26" y="52"/>
                              </a:lnTo>
                              <a:lnTo>
                                <a:pt x="28" y="54"/>
                              </a:lnTo>
                              <a:lnTo>
                                <a:pt x="32" y="58"/>
                              </a:lnTo>
                              <a:lnTo>
                                <a:pt x="40" y="60"/>
                              </a:lnTo>
                              <a:lnTo>
                                <a:pt x="50" y="62"/>
                              </a:lnTo>
                              <a:lnTo>
                                <a:pt x="50" y="62"/>
                              </a:lnTo>
                              <a:lnTo>
                                <a:pt x="70" y="62"/>
                              </a:lnTo>
                              <a:lnTo>
                                <a:pt x="76" y="64"/>
                              </a:lnTo>
                              <a:lnTo>
                                <a:pt x="80" y="66"/>
                              </a:lnTo>
                              <a:lnTo>
                                <a:pt x="80" y="66"/>
                              </a:lnTo>
                              <a:lnTo>
                                <a:pt x="86" y="74"/>
                              </a:lnTo>
                              <a:lnTo>
                                <a:pt x="88" y="78"/>
                              </a:lnTo>
                              <a:lnTo>
                                <a:pt x="88" y="78"/>
                              </a:lnTo>
                              <a:lnTo>
                                <a:pt x="86" y="84"/>
                              </a:lnTo>
                              <a:lnTo>
                                <a:pt x="84" y="88"/>
                              </a:lnTo>
                              <a:lnTo>
                                <a:pt x="80" y="88"/>
                              </a:lnTo>
                              <a:lnTo>
                                <a:pt x="76" y="88"/>
                              </a:lnTo>
                              <a:lnTo>
                                <a:pt x="76" y="88"/>
                              </a:lnTo>
                              <a:lnTo>
                                <a:pt x="70" y="88"/>
                              </a:lnTo>
                              <a:lnTo>
                                <a:pt x="64" y="92"/>
                              </a:lnTo>
                              <a:lnTo>
                                <a:pt x="62" y="94"/>
                              </a:lnTo>
                              <a:lnTo>
                                <a:pt x="62" y="96"/>
                              </a:lnTo>
                              <a:lnTo>
                                <a:pt x="66" y="100"/>
                              </a:lnTo>
                              <a:lnTo>
                                <a:pt x="72" y="102"/>
                              </a:lnTo>
                              <a:lnTo>
                                <a:pt x="72" y="102"/>
                              </a:lnTo>
                              <a:lnTo>
                                <a:pt x="88" y="108"/>
                              </a:lnTo>
                              <a:lnTo>
                                <a:pt x="92" y="112"/>
                              </a:lnTo>
                              <a:lnTo>
                                <a:pt x="94" y="114"/>
                              </a:lnTo>
                              <a:lnTo>
                                <a:pt x="96" y="116"/>
                              </a:lnTo>
                              <a:lnTo>
                                <a:pt x="96" y="116"/>
                              </a:lnTo>
                              <a:lnTo>
                                <a:pt x="98" y="118"/>
                              </a:lnTo>
                              <a:lnTo>
                                <a:pt x="98" y="120"/>
                              </a:lnTo>
                              <a:lnTo>
                                <a:pt x="100" y="128"/>
                              </a:lnTo>
                              <a:lnTo>
                                <a:pt x="104" y="136"/>
                              </a:lnTo>
                              <a:lnTo>
                                <a:pt x="108" y="140"/>
                              </a:lnTo>
                              <a:lnTo>
                                <a:pt x="114" y="142"/>
                              </a:lnTo>
                              <a:lnTo>
                                <a:pt x="114" y="142"/>
                              </a:lnTo>
                              <a:lnTo>
                                <a:pt x="120" y="146"/>
                              </a:lnTo>
                              <a:lnTo>
                                <a:pt x="122" y="150"/>
                              </a:lnTo>
                              <a:lnTo>
                                <a:pt x="124" y="158"/>
                              </a:lnTo>
                              <a:lnTo>
                                <a:pt x="126" y="162"/>
                              </a:lnTo>
                              <a:lnTo>
                                <a:pt x="128" y="168"/>
                              </a:lnTo>
                              <a:lnTo>
                                <a:pt x="134" y="170"/>
                              </a:lnTo>
                              <a:lnTo>
                                <a:pt x="142" y="174"/>
                              </a:lnTo>
                              <a:lnTo>
                                <a:pt x="142" y="174"/>
                              </a:lnTo>
                              <a:lnTo>
                                <a:pt x="152" y="176"/>
                              </a:lnTo>
                              <a:lnTo>
                                <a:pt x="158" y="180"/>
                              </a:lnTo>
                              <a:lnTo>
                                <a:pt x="162" y="182"/>
                              </a:lnTo>
                              <a:lnTo>
                                <a:pt x="164" y="186"/>
                              </a:lnTo>
                              <a:lnTo>
                                <a:pt x="164" y="194"/>
                              </a:lnTo>
                              <a:lnTo>
                                <a:pt x="164" y="196"/>
                              </a:lnTo>
                              <a:lnTo>
                                <a:pt x="166" y="200"/>
                              </a:lnTo>
                              <a:lnTo>
                                <a:pt x="166" y="200"/>
                              </a:lnTo>
                              <a:lnTo>
                                <a:pt x="174" y="214"/>
                              </a:lnTo>
                              <a:lnTo>
                                <a:pt x="178" y="224"/>
                              </a:lnTo>
                              <a:lnTo>
                                <a:pt x="180" y="232"/>
                              </a:lnTo>
                              <a:lnTo>
                                <a:pt x="180" y="232"/>
                              </a:lnTo>
                              <a:lnTo>
                                <a:pt x="178" y="240"/>
                              </a:lnTo>
                              <a:lnTo>
                                <a:pt x="174" y="250"/>
                              </a:lnTo>
                              <a:lnTo>
                                <a:pt x="172" y="260"/>
                              </a:lnTo>
                              <a:lnTo>
                                <a:pt x="172" y="266"/>
                              </a:lnTo>
                              <a:lnTo>
                                <a:pt x="174" y="270"/>
                              </a:lnTo>
                              <a:lnTo>
                                <a:pt x="174" y="270"/>
                              </a:lnTo>
                              <a:lnTo>
                                <a:pt x="180" y="276"/>
                              </a:lnTo>
                              <a:lnTo>
                                <a:pt x="178" y="282"/>
                              </a:lnTo>
                              <a:lnTo>
                                <a:pt x="174" y="284"/>
                              </a:lnTo>
                              <a:lnTo>
                                <a:pt x="168" y="284"/>
                              </a:lnTo>
                              <a:lnTo>
                                <a:pt x="168" y="284"/>
                              </a:lnTo>
                              <a:lnTo>
                                <a:pt x="164" y="282"/>
                              </a:lnTo>
                              <a:lnTo>
                                <a:pt x="160" y="284"/>
                              </a:lnTo>
                              <a:lnTo>
                                <a:pt x="152" y="292"/>
                              </a:lnTo>
                              <a:lnTo>
                                <a:pt x="152" y="292"/>
                              </a:lnTo>
                              <a:lnTo>
                                <a:pt x="144" y="298"/>
                              </a:lnTo>
                              <a:lnTo>
                                <a:pt x="140" y="300"/>
                              </a:lnTo>
                              <a:lnTo>
                                <a:pt x="138" y="298"/>
                              </a:lnTo>
                              <a:lnTo>
                                <a:pt x="134" y="300"/>
                              </a:lnTo>
                              <a:lnTo>
                                <a:pt x="134" y="300"/>
                              </a:lnTo>
                              <a:lnTo>
                                <a:pt x="134" y="302"/>
                              </a:lnTo>
                              <a:lnTo>
                                <a:pt x="136" y="304"/>
                              </a:lnTo>
                              <a:lnTo>
                                <a:pt x="140" y="308"/>
                              </a:lnTo>
                              <a:lnTo>
                                <a:pt x="146" y="312"/>
                              </a:lnTo>
                              <a:lnTo>
                                <a:pt x="146" y="314"/>
                              </a:lnTo>
                              <a:lnTo>
                                <a:pt x="146" y="316"/>
                              </a:lnTo>
                              <a:lnTo>
                                <a:pt x="146" y="316"/>
                              </a:lnTo>
                              <a:lnTo>
                                <a:pt x="144" y="316"/>
                              </a:lnTo>
                              <a:lnTo>
                                <a:pt x="142" y="316"/>
                              </a:lnTo>
                              <a:lnTo>
                                <a:pt x="140" y="312"/>
                              </a:lnTo>
                              <a:lnTo>
                                <a:pt x="136" y="310"/>
                              </a:lnTo>
                              <a:lnTo>
                                <a:pt x="132" y="310"/>
                              </a:lnTo>
                              <a:lnTo>
                                <a:pt x="130" y="312"/>
                              </a:lnTo>
                              <a:lnTo>
                                <a:pt x="130" y="312"/>
                              </a:lnTo>
                              <a:lnTo>
                                <a:pt x="120" y="316"/>
                              </a:lnTo>
                              <a:lnTo>
                                <a:pt x="114" y="318"/>
                              </a:lnTo>
                              <a:lnTo>
                                <a:pt x="112" y="320"/>
                              </a:lnTo>
                              <a:lnTo>
                                <a:pt x="108" y="324"/>
                              </a:lnTo>
                              <a:lnTo>
                                <a:pt x="108" y="324"/>
                              </a:lnTo>
                              <a:close/>
                            </a:path>
                          </a:pathLst>
                        </a:custGeom>
                        <a:solidFill>
                          <a:schemeClr val="accent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7" name="China"/>
                        <p:cNvSpPr>
                          <a:spLocks/>
                        </p:cNvSpPr>
                        <p:nvPr/>
                      </p:nvSpPr>
                      <p:spPr bwMode="auto">
                        <a:xfrm>
                          <a:off x="7938152" y="1764243"/>
                          <a:ext cx="1600837" cy="1138063"/>
                        </a:xfrm>
                        <a:custGeom>
                          <a:avLst/>
                          <a:gdLst/>
                          <a:ahLst/>
                          <a:cxnLst>
                            <a:cxn ang="0">
                              <a:pos x="124" y="124"/>
                            </a:cxn>
                            <a:cxn ang="0">
                              <a:pos x="80" y="176"/>
                            </a:cxn>
                            <a:cxn ang="0">
                              <a:pos x="96" y="230"/>
                            </a:cxn>
                            <a:cxn ang="0">
                              <a:pos x="42" y="262"/>
                            </a:cxn>
                            <a:cxn ang="0">
                              <a:pos x="8" y="296"/>
                            </a:cxn>
                            <a:cxn ang="0">
                              <a:pos x="26" y="338"/>
                            </a:cxn>
                            <a:cxn ang="0">
                              <a:pos x="94" y="366"/>
                            </a:cxn>
                            <a:cxn ang="0">
                              <a:pos x="156" y="450"/>
                            </a:cxn>
                            <a:cxn ang="0">
                              <a:pos x="200" y="498"/>
                            </a:cxn>
                            <a:cxn ang="0">
                              <a:pos x="288" y="534"/>
                            </a:cxn>
                            <a:cxn ang="0">
                              <a:pos x="372" y="558"/>
                            </a:cxn>
                            <a:cxn ang="0">
                              <a:pos x="432" y="550"/>
                            </a:cxn>
                            <a:cxn ang="0">
                              <a:pos x="524" y="522"/>
                            </a:cxn>
                            <a:cxn ang="0">
                              <a:pos x="556" y="536"/>
                            </a:cxn>
                            <a:cxn ang="0">
                              <a:pos x="602" y="604"/>
                            </a:cxn>
                            <a:cxn ang="0">
                              <a:pos x="586" y="650"/>
                            </a:cxn>
                            <a:cxn ang="0">
                              <a:pos x="596" y="674"/>
                            </a:cxn>
                            <a:cxn ang="0">
                              <a:pos x="602" y="710"/>
                            </a:cxn>
                            <a:cxn ang="0">
                              <a:pos x="666" y="724"/>
                            </a:cxn>
                            <a:cxn ang="0">
                              <a:pos x="692" y="700"/>
                            </a:cxn>
                            <a:cxn ang="0">
                              <a:pos x="730" y="694"/>
                            </a:cxn>
                            <a:cxn ang="0">
                              <a:pos x="780" y="698"/>
                            </a:cxn>
                            <a:cxn ang="0">
                              <a:pos x="806" y="718"/>
                            </a:cxn>
                            <a:cxn ang="0">
                              <a:pos x="840" y="720"/>
                            </a:cxn>
                            <a:cxn ang="0">
                              <a:pos x="860" y="732"/>
                            </a:cxn>
                            <a:cxn ang="0">
                              <a:pos x="856" y="712"/>
                            </a:cxn>
                            <a:cxn ang="0">
                              <a:pos x="912" y="694"/>
                            </a:cxn>
                            <a:cxn ang="0">
                              <a:pos x="944" y="684"/>
                            </a:cxn>
                            <a:cxn ang="0">
                              <a:pos x="986" y="656"/>
                            </a:cxn>
                            <a:cxn ang="0">
                              <a:pos x="1012" y="620"/>
                            </a:cxn>
                            <a:cxn ang="0">
                              <a:pos x="1026" y="582"/>
                            </a:cxn>
                            <a:cxn ang="0">
                              <a:pos x="1034" y="530"/>
                            </a:cxn>
                            <a:cxn ang="0">
                              <a:pos x="992" y="510"/>
                            </a:cxn>
                            <a:cxn ang="0">
                              <a:pos x="1016" y="492"/>
                            </a:cxn>
                            <a:cxn ang="0">
                              <a:pos x="988" y="472"/>
                            </a:cxn>
                            <a:cxn ang="0">
                              <a:pos x="974" y="442"/>
                            </a:cxn>
                            <a:cxn ang="0">
                              <a:pos x="922" y="402"/>
                            </a:cxn>
                            <a:cxn ang="0">
                              <a:pos x="942" y="370"/>
                            </a:cxn>
                            <a:cxn ang="0">
                              <a:pos x="962" y="348"/>
                            </a:cxn>
                            <a:cxn ang="0">
                              <a:pos x="906" y="352"/>
                            </a:cxn>
                            <a:cxn ang="0">
                              <a:pos x="834" y="310"/>
                            </a:cxn>
                            <a:cxn ang="0">
                              <a:pos x="886" y="270"/>
                            </a:cxn>
                            <a:cxn ang="0">
                              <a:pos x="904" y="302"/>
                            </a:cxn>
                            <a:cxn ang="0">
                              <a:pos x="916" y="306"/>
                            </a:cxn>
                            <a:cxn ang="0">
                              <a:pos x="980" y="256"/>
                            </a:cxn>
                            <a:cxn ang="0">
                              <a:pos x="1032" y="224"/>
                            </a:cxn>
                            <a:cxn ang="0">
                              <a:pos x="1038" y="186"/>
                            </a:cxn>
                            <a:cxn ang="0">
                              <a:pos x="1042" y="120"/>
                            </a:cxn>
                            <a:cxn ang="0">
                              <a:pos x="970" y="96"/>
                            </a:cxn>
                            <a:cxn ang="0">
                              <a:pos x="764" y="0"/>
                            </a:cxn>
                            <a:cxn ang="0">
                              <a:pos x="730" y="26"/>
                            </a:cxn>
                            <a:cxn ang="0">
                              <a:pos x="644" y="90"/>
                            </a:cxn>
                            <a:cxn ang="0">
                              <a:pos x="710" y="100"/>
                            </a:cxn>
                            <a:cxn ang="0">
                              <a:pos x="750" y="132"/>
                            </a:cxn>
                            <a:cxn ang="0">
                              <a:pos x="684" y="168"/>
                            </a:cxn>
                            <a:cxn ang="0">
                              <a:pos x="678" y="206"/>
                            </a:cxn>
                            <a:cxn ang="0">
                              <a:pos x="526" y="222"/>
                            </a:cxn>
                            <a:cxn ang="0">
                              <a:pos x="412" y="210"/>
                            </a:cxn>
                            <a:cxn ang="0">
                              <a:pos x="380" y="176"/>
                            </a:cxn>
                            <a:cxn ang="0">
                              <a:pos x="276" y="156"/>
                            </a:cxn>
                            <a:cxn ang="0">
                              <a:pos x="226" y="108"/>
                            </a:cxn>
                          </a:cxnLst>
                          <a:rect l="0" t="0" r="r" b="b"/>
                          <a:pathLst>
                            <a:path w="1054" h="750">
                              <a:moveTo>
                                <a:pt x="182" y="88"/>
                              </a:moveTo>
                              <a:lnTo>
                                <a:pt x="182" y="88"/>
                              </a:lnTo>
                              <a:lnTo>
                                <a:pt x="180" y="88"/>
                              </a:lnTo>
                              <a:lnTo>
                                <a:pt x="176" y="88"/>
                              </a:lnTo>
                              <a:lnTo>
                                <a:pt x="176" y="88"/>
                              </a:lnTo>
                              <a:lnTo>
                                <a:pt x="174" y="90"/>
                              </a:lnTo>
                              <a:lnTo>
                                <a:pt x="172" y="92"/>
                              </a:lnTo>
                              <a:lnTo>
                                <a:pt x="160" y="92"/>
                              </a:lnTo>
                              <a:lnTo>
                                <a:pt x="156" y="92"/>
                              </a:lnTo>
                              <a:lnTo>
                                <a:pt x="152" y="96"/>
                              </a:lnTo>
                              <a:lnTo>
                                <a:pt x="152" y="104"/>
                              </a:lnTo>
                              <a:lnTo>
                                <a:pt x="154" y="116"/>
                              </a:lnTo>
                              <a:lnTo>
                                <a:pt x="154" y="116"/>
                              </a:lnTo>
                              <a:lnTo>
                                <a:pt x="154" y="118"/>
                              </a:lnTo>
                              <a:lnTo>
                                <a:pt x="152" y="120"/>
                              </a:lnTo>
                              <a:lnTo>
                                <a:pt x="144" y="124"/>
                              </a:lnTo>
                              <a:lnTo>
                                <a:pt x="134" y="126"/>
                              </a:lnTo>
                              <a:lnTo>
                                <a:pt x="124" y="124"/>
                              </a:lnTo>
                              <a:lnTo>
                                <a:pt x="124" y="124"/>
                              </a:lnTo>
                              <a:lnTo>
                                <a:pt x="118" y="122"/>
                              </a:lnTo>
                              <a:lnTo>
                                <a:pt x="114" y="122"/>
                              </a:lnTo>
                              <a:lnTo>
                                <a:pt x="110" y="124"/>
                              </a:lnTo>
                              <a:lnTo>
                                <a:pt x="110" y="128"/>
                              </a:lnTo>
                              <a:lnTo>
                                <a:pt x="110" y="138"/>
                              </a:lnTo>
                              <a:lnTo>
                                <a:pt x="112" y="156"/>
                              </a:lnTo>
                              <a:lnTo>
                                <a:pt x="112" y="156"/>
                              </a:lnTo>
                              <a:lnTo>
                                <a:pt x="112" y="160"/>
                              </a:lnTo>
                              <a:lnTo>
                                <a:pt x="112" y="162"/>
                              </a:lnTo>
                              <a:lnTo>
                                <a:pt x="104" y="162"/>
                              </a:lnTo>
                              <a:lnTo>
                                <a:pt x="94" y="162"/>
                              </a:lnTo>
                              <a:lnTo>
                                <a:pt x="86" y="164"/>
                              </a:lnTo>
                              <a:lnTo>
                                <a:pt x="86" y="164"/>
                              </a:lnTo>
                              <a:lnTo>
                                <a:pt x="80" y="168"/>
                              </a:lnTo>
                              <a:lnTo>
                                <a:pt x="78" y="172"/>
                              </a:lnTo>
                              <a:lnTo>
                                <a:pt x="78" y="176"/>
                              </a:lnTo>
                              <a:lnTo>
                                <a:pt x="80" y="176"/>
                              </a:lnTo>
                              <a:lnTo>
                                <a:pt x="80" y="176"/>
                              </a:lnTo>
                              <a:lnTo>
                                <a:pt x="82" y="176"/>
                              </a:lnTo>
                              <a:lnTo>
                                <a:pt x="86" y="178"/>
                              </a:lnTo>
                              <a:lnTo>
                                <a:pt x="94" y="188"/>
                              </a:lnTo>
                              <a:lnTo>
                                <a:pt x="102" y="196"/>
                              </a:lnTo>
                              <a:lnTo>
                                <a:pt x="104" y="202"/>
                              </a:lnTo>
                              <a:lnTo>
                                <a:pt x="102" y="204"/>
                              </a:lnTo>
                              <a:lnTo>
                                <a:pt x="102" y="204"/>
                              </a:lnTo>
                              <a:lnTo>
                                <a:pt x="100" y="208"/>
                              </a:lnTo>
                              <a:lnTo>
                                <a:pt x="100" y="212"/>
                              </a:lnTo>
                              <a:lnTo>
                                <a:pt x="104" y="216"/>
                              </a:lnTo>
                              <a:lnTo>
                                <a:pt x="106" y="222"/>
                              </a:lnTo>
                              <a:lnTo>
                                <a:pt x="106" y="224"/>
                              </a:lnTo>
                              <a:lnTo>
                                <a:pt x="102" y="226"/>
                              </a:lnTo>
                              <a:lnTo>
                                <a:pt x="102" y="226"/>
                              </a:lnTo>
                              <a:lnTo>
                                <a:pt x="102" y="228"/>
                              </a:lnTo>
                              <a:lnTo>
                                <a:pt x="100" y="230"/>
                              </a:lnTo>
                              <a:lnTo>
                                <a:pt x="96" y="230"/>
                              </a:lnTo>
                              <a:lnTo>
                                <a:pt x="90" y="232"/>
                              </a:lnTo>
                              <a:lnTo>
                                <a:pt x="86" y="232"/>
                              </a:lnTo>
                              <a:lnTo>
                                <a:pt x="86" y="236"/>
                              </a:lnTo>
                              <a:lnTo>
                                <a:pt x="86" y="236"/>
                              </a:lnTo>
                              <a:lnTo>
                                <a:pt x="84" y="238"/>
                              </a:lnTo>
                              <a:lnTo>
                                <a:pt x="82" y="240"/>
                              </a:lnTo>
                              <a:lnTo>
                                <a:pt x="76" y="242"/>
                              </a:lnTo>
                              <a:lnTo>
                                <a:pt x="68" y="248"/>
                              </a:lnTo>
                              <a:lnTo>
                                <a:pt x="68" y="248"/>
                              </a:lnTo>
                              <a:lnTo>
                                <a:pt x="64" y="250"/>
                              </a:lnTo>
                              <a:lnTo>
                                <a:pt x="62" y="250"/>
                              </a:lnTo>
                              <a:lnTo>
                                <a:pt x="60" y="248"/>
                              </a:lnTo>
                              <a:lnTo>
                                <a:pt x="52" y="250"/>
                              </a:lnTo>
                              <a:lnTo>
                                <a:pt x="52" y="250"/>
                              </a:lnTo>
                              <a:lnTo>
                                <a:pt x="48" y="252"/>
                              </a:lnTo>
                              <a:lnTo>
                                <a:pt x="44" y="254"/>
                              </a:lnTo>
                              <a:lnTo>
                                <a:pt x="42" y="260"/>
                              </a:lnTo>
                              <a:lnTo>
                                <a:pt x="42" y="262"/>
                              </a:lnTo>
                              <a:lnTo>
                                <a:pt x="40" y="262"/>
                              </a:lnTo>
                              <a:lnTo>
                                <a:pt x="32" y="260"/>
                              </a:lnTo>
                              <a:lnTo>
                                <a:pt x="32" y="260"/>
                              </a:lnTo>
                              <a:lnTo>
                                <a:pt x="24" y="258"/>
                              </a:lnTo>
                              <a:lnTo>
                                <a:pt x="22" y="258"/>
                              </a:lnTo>
                              <a:lnTo>
                                <a:pt x="22" y="258"/>
                              </a:lnTo>
                              <a:lnTo>
                                <a:pt x="22" y="262"/>
                              </a:lnTo>
                              <a:lnTo>
                                <a:pt x="16" y="260"/>
                              </a:lnTo>
                              <a:lnTo>
                                <a:pt x="16" y="260"/>
                              </a:lnTo>
                              <a:lnTo>
                                <a:pt x="14" y="260"/>
                              </a:lnTo>
                              <a:lnTo>
                                <a:pt x="10" y="260"/>
                              </a:lnTo>
                              <a:lnTo>
                                <a:pt x="4" y="266"/>
                              </a:lnTo>
                              <a:lnTo>
                                <a:pt x="2" y="276"/>
                              </a:lnTo>
                              <a:lnTo>
                                <a:pt x="0" y="290"/>
                              </a:lnTo>
                              <a:lnTo>
                                <a:pt x="0" y="290"/>
                              </a:lnTo>
                              <a:lnTo>
                                <a:pt x="2" y="294"/>
                              </a:lnTo>
                              <a:lnTo>
                                <a:pt x="6" y="296"/>
                              </a:lnTo>
                              <a:lnTo>
                                <a:pt x="8" y="296"/>
                              </a:lnTo>
                              <a:lnTo>
                                <a:pt x="12" y="294"/>
                              </a:lnTo>
                              <a:lnTo>
                                <a:pt x="18" y="294"/>
                              </a:lnTo>
                              <a:lnTo>
                                <a:pt x="20" y="296"/>
                              </a:lnTo>
                              <a:lnTo>
                                <a:pt x="20" y="300"/>
                              </a:lnTo>
                              <a:lnTo>
                                <a:pt x="20" y="300"/>
                              </a:lnTo>
                              <a:lnTo>
                                <a:pt x="20" y="306"/>
                              </a:lnTo>
                              <a:lnTo>
                                <a:pt x="22" y="310"/>
                              </a:lnTo>
                              <a:lnTo>
                                <a:pt x="28" y="312"/>
                              </a:lnTo>
                              <a:lnTo>
                                <a:pt x="30" y="316"/>
                              </a:lnTo>
                              <a:lnTo>
                                <a:pt x="30" y="316"/>
                              </a:lnTo>
                              <a:lnTo>
                                <a:pt x="32" y="324"/>
                              </a:lnTo>
                              <a:lnTo>
                                <a:pt x="30" y="328"/>
                              </a:lnTo>
                              <a:lnTo>
                                <a:pt x="30" y="328"/>
                              </a:lnTo>
                              <a:lnTo>
                                <a:pt x="22" y="330"/>
                              </a:lnTo>
                              <a:lnTo>
                                <a:pt x="22" y="332"/>
                              </a:lnTo>
                              <a:lnTo>
                                <a:pt x="24" y="334"/>
                              </a:lnTo>
                              <a:lnTo>
                                <a:pt x="24" y="334"/>
                              </a:lnTo>
                              <a:lnTo>
                                <a:pt x="26" y="338"/>
                              </a:lnTo>
                              <a:lnTo>
                                <a:pt x="26" y="338"/>
                              </a:lnTo>
                              <a:lnTo>
                                <a:pt x="30" y="338"/>
                              </a:lnTo>
                              <a:lnTo>
                                <a:pt x="32" y="336"/>
                              </a:lnTo>
                              <a:lnTo>
                                <a:pt x="38" y="338"/>
                              </a:lnTo>
                              <a:lnTo>
                                <a:pt x="52" y="344"/>
                              </a:lnTo>
                              <a:lnTo>
                                <a:pt x="52" y="344"/>
                              </a:lnTo>
                              <a:lnTo>
                                <a:pt x="68" y="352"/>
                              </a:lnTo>
                              <a:lnTo>
                                <a:pt x="68" y="354"/>
                              </a:lnTo>
                              <a:lnTo>
                                <a:pt x="68" y="356"/>
                              </a:lnTo>
                              <a:lnTo>
                                <a:pt x="68" y="356"/>
                              </a:lnTo>
                              <a:lnTo>
                                <a:pt x="66" y="362"/>
                              </a:lnTo>
                              <a:lnTo>
                                <a:pt x="68" y="366"/>
                              </a:lnTo>
                              <a:lnTo>
                                <a:pt x="70" y="366"/>
                              </a:lnTo>
                              <a:lnTo>
                                <a:pt x="76" y="366"/>
                              </a:lnTo>
                              <a:lnTo>
                                <a:pt x="86" y="366"/>
                              </a:lnTo>
                              <a:lnTo>
                                <a:pt x="90" y="366"/>
                              </a:lnTo>
                              <a:lnTo>
                                <a:pt x="94" y="366"/>
                              </a:lnTo>
                              <a:lnTo>
                                <a:pt x="94" y="366"/>
                              </a:lnTo>
                              <a:lnTo>
                                <a:pt x="98" y="368"/>
                              </a:lnTo>
                              <a:lnTo>
                                <a:pt x="102" y="370"/>
                              </a:lnTo>
                              <a:lnTo>
                                <a:pt x="110" y="370"/>
                              </a:lnTo>
                              <a:lnTo>
                                <a:pt x="116" y="372"/>
                              </a:lnTo>
                              <a:lnTo>
                                <a:pt x="124" y="378"/>
                              </a:lnTo>
                              <a:lnTo>
                                <a:pt x="132" y="388"/>
                              </a:lnTo>
                              <a:lnTo>
                                <a:pt x="144" y="404"/>
                              </a:lnTo>
                              <a:lnTo>
                                <a:pt x="144" y="404"/>
                              </a:lnTo>
                              <a:lnTo>
                                <a:pt x="138" y="412"/>
                              </a:lnTo>
                              <a:lnTo>
                                <a:pt x="138" y="414"/>
                              </a:lnTo>
                              <a:lnTo>
                                <a:pt x="140" y="416"/>
                              </a:lnTo>
                              <a:lnTo>
                                <a:pt x="148" y="424"/>
                              </a:lnTo>
                              <a:lnTo>
                                <a:pt x="152" y="430"/>
                              </a:lnTo>
                              <a:lnTo>
                                <a:pt x="156" y="436"/>
                              </a:lnTo>
                              <a:lnTo>
                                <a:pt x="156" y="436"/>
                              </a:lnTo>
                              <a:lnTo>
                                <a:pt x="158" y="444"/>
                              </a:lnTo>
                              <a:lnTo>
                                <a:pt x="158" y="448"/>
                              </a:lnTo>
                              <a:lnTo>
                                <a:pt x="156" y="450"/>
                              </a:lnTo>
                              <a:lnTo>
                                <a:pt x="152" y="450"/>
                              </a:lnTo>
                              <a:lnTo>
                                <a:pt x="148" y="450"/>
                              </a:lnTo>
                              <a:lnTo>
                                <a:pt x="148" y="450"/>
                              </a:lnTo>
                              <a:lnTo>
                                <a:pt x="150" y="454"/>
                              </a:lnTo>
                              <a:lnTo>
                                <a:pt x="150" y="454"/>
                              </a:lnTo>
                              <a:lnTo>
                                <a:pt x="156" y="460"/>
                              </a:lnTo>
                              <a:lnTo>
                                <a:pt x="156" y="464"/>
                              </a:lnTo>
                              <a:lnTo>
                                <a:pt x="156" y="470"/>
                              </a:lnTo>
                              <a:lnTo>
                                <a:pt x="160" y="478"/>
                              </a:lnTo>
                              <a:lnTo>
                                <a:pt x="160" y="478"/>
                              </a:lnTo>
                              <a:lnTo>
                                <a:pt x="164" y="482"/>
                              </a:lnTo>
                              <a:lnTo>
                                <a:pt x="168" y="484"/>
                              </a:lnTo>
                              <a:lnTo>
                                <a:pt x="176" y="488"/>
                              </a:lnTo>
                              <a:lnTo>
                                <a:pt x="182" y="488"/>
                              </a:lnTo>
                              <a:lnTo>
                                <a:pt x="188" y="492"/>
                              </a:lnTo>
                              <a:lnTo>
                                <a:pt x="188" y="492"/>
                              </a:lnTo>
                              <a:lnTo>
                                <a:pt x="194" y="496"/>
                              </a:lnTo>
                              <a:lnTo>
                                <a:pt x="200" y="498"/>
                              </a:lnTo>
                              <a:lnTo>
                                <a:pt x="208" y="500"/>
                              </a:lnTo>
                              <a:lnTo>
                                <a:pt x="214" y="508"/>
                              </a:lnTo>
                              <a:lnTo>
                                <a:pt x="214" y="508"/>
                              </a:lnTo>
                              <a:lnTo>
                                <a:pt x="220" y="512"/>
                              </a:lnTo>
                              <a:lnTo>
                                <a:pt x="220" y="512"/>
                              </a:lnTo>
                              <a:lnTo>
                                <a:pt x="226" y="514"/>
                              </a:lnTo>
                              <a:lnTo>
                                <a:pt x="232" y="514"/>
                              </a:lnTo>
                              <a:lnTo>
                                <a:pt x="238" y="514"/>
                              </a:lnTo>
                              <a:lnTo>
                                <a:pt x="244" y="518"/>
                              </a:lnTo>
                              <a:lnTo>
                                <a:pt x="244" y="518"/>
                              </a:lnTo>
                              <a:lnTo>
                                <a:pt x="248" y="520"/>
                              </a:lnTo>
                              <a:lnTo>
                                <a:pt x="250" y="520"/>
                              </a:lnTo>
                              <a:lnTo>
                                <a:pt x="254" y="518"/>
                              </a:lnTo>
                              <a:lnTo>
                                <a:pt x="260" y="518"/>
                              </a:lnTo>
                              <a:lnTo>
                                <a:pt x="266" y="520"/>
                              </a:lnTo>
                              <a:lnTo>
                                <a:pt x="272" y="524"/>
                              </a:lnTo>
                              <a:lnTo>
                                <a:pt x="272" y="524"/>
                              </a:lnTo>
                              <a:lnTo>
                                <a:pt x="288" y="534"/>
                              </a:lnTo>
                              <a:lnTo>
                                <a:pt x="296" y="538"/>
                              </a:lnTo>
                              <a:lnTo>
                                <a:pt x="302" y="538"/>
                              </a:lnTo>
                              <a:lnTo>
                                <a:pt x="306" y="542"/>
                              </a:lnTo>
                              <a:lnTo>
                                <a:pt x="306" y="542"/>
                              </a:lnTo>
                              <a:lnTo>
                                <a:pt x="308" y="546"/>
                              </a:lnTo>
                              <a:lnTo>
                                <a:pt x="310" y="548"/>
                              </a:lnTo>
                              <a:lnTo>
                                <a:pt x="314" y="546"/>
                              </a:lnTo>
                              <a:lnTo>
                                <a:pt x="320" y="546"/>
                              </a:lnTo>
                              <a:lnTo>
                                <a:pt x="322" y="548"/>
                              </a:lnTo>
                              <a:lnTo>
                                <a:pt x="324" y="554"/>
                              </a:lnTo>
                              <a:lnTo>
                                <a:pt x="324" y="554"/>
                              </a:lnTo>
                              <a:lnTo>
                                <a:pt x="326" y="554"/>
                              </a:lnTo>
                              <a:lnTo>
                                <a:pt x="328" y="554"/>
                              </a:lnTo>
                              <a:lnTo>
                                <a:pt x="336" y="552"/>
                              </a:lnTo>
                              <a:lnTo>
                                <a:pt x="352" y="552"/>
                              </a:lnTo>
                              <a:lnTo>
                                <a:pt x="360" y="554"/>
                              </a:lnTo>
                              <a:lnTo>
                                <a:pt x="372" y="558"/>
                              </a:lnTo>
                              <a:lnTo>
                                <a:pt x="372" y="558"/>
                              </a:lnTo>
                              <a:lnTo>
                                <a:pt x="372" y="552"/>
                              </a:lnTo>
                              <a:lnTo>
                                <a:pt x="374" y="550"/>
                              </a:lnTo>
                              <a:lnTo>
                                <a:pt x="376" y="548"/>
                              </a:lnTo>
                              <a:lnTo>
                                <a:pt x="380" y="548"/>
                              </a:lnTo>
                              <a:lnTo>
                                <a:pt x="380" y="548"/>
                              </a:lnTo>
                              <a:lnTo>
                                <a:pt x="384" y="546"/>
                              </a:lnTo>
                              <a:lnTo>
                                <a:pt x="384" y="548"/>
                              </a:lnTo>
                              <a:lnTo>
                                <a:pt x="386" y="566"/>
                              </a:lnTo>
                              <a:lnTo>
                                <a:pt x="386" y="566"/>
                              </a:lnTo>
                              <a:lnTo>
                                <a:pt x="390" y="554"/>
                              </a:lnTo>
                              <a:lnTo>
                                <a:pt x="394" y="548"/>
                              </a:lnTo>
                              <a:lnTo>
                                <a:pt x="400" y="544"/>
                              </a:lnTo>
                              <a:lnTo>
                                <a:pt x="408" y="544"/>
                              </a:lnTo>
                              <a:lnTo>
                                <a:pt x="408" y="544"/>
                              </a:lnTo>
                              <a:lnTo>
                                <a:pt x="418" y="544"/>
                              </a:lnTo>
                              <a:lnTo>
                                <a:pt x="424" y="546"/>
                              </a:lnTo>
                              <a:lnTo>
                                <a:pt x="428" y="548"/>
                              </a:lnTo>
                              <a:lnTo>
                                <a:pt x="432" y="550"/>
                              </a:lnTo>
                              <a:lnTo>
                                <a:pt x="432" y="550"/>
                              </a:lnTo>
                              <a:lnTo>
                                <a:pt x="434" y="552"/>
                              </a:lnTo>
                              <a:lnTo>
                                <a:pt x="436" y="550"/>
                              </a:lnTo>
                              <a:lnTo>
                                <a:pt x="436" y="550"/>
                              </a:lnTo>
                              <a:lnTo>
                                <a:pt x="446" y="548"/>
                              </a:lnTo>
                              <a:lnTo>
                                <a:pt x="462" y="540"/>
                              </a:lnTo>
                              <a:lnTo>
                                <a:pt x="462" y="540"/>
                              </a:lnTo>
                              <a:lnTo>
                                <a:pt x="472" y="536"/>
                              </a:lnTo>
                              <a:lnTo>
                                <a:pt x="476" y="532"/>
                              </a:lnTo>
                              <a:lnTo>
                                <a:pt x="478" y="530"/>
                              </a:lnTo>
                              <a:lnTo>
                                <a:pt x="482" y="526"/>
                              </a:lnTo>
                              <a:lnTo>
                                <a:pt x="482" y="526"/>
                              </a:lnTo>
                              <a:lnTo>
                                <a:pt x="490" y="526"/>
                              </a:lnTo>
                              <a:lnTo>
                                <a:pt x="494" y="528"/>
                              </a:lnTo>
                              <a:lnTo>
                                <a:pt x="502" y="528"/>
                              </a:lnTo>
                              <a:lnTo>
                                <a:pt x="512" y="526"/>
                              </a:lnTo>
                              <a:lnTo>
                                <a:pt x="512" y="526"/>
                              </a:lnTo>
                              <a:lnTo>
                                <a:pt x="524" y="522"/>
                              </a:lnTo>
                              <a:lnTo>
                                <a:pt x="526" y="524"/>
                              </a:lnTo>
                              <a:lnTo>
                                <a:pt x="526" y="526"/>
                              </a:lnTo>
                              <a:lnTo>
                                <a:pt x="524" y="530"/>
                              </a:lnTo>
                              <a:lnTo>
                                <a:pt x="526" y="530"/>
                              </a:lnTo>
                              <a:lnTo>
                                <a:pt x="532" y="530"/>
                              </a:lnTo>
                              <a:lnTo>
                                <a:pt x="532" y="530"/>
                              </a:lnTo>
                              <a:lnTo>
                                <a:pt x="528" y="536"/>
                              </a:lnTo>
                              <a:lnTo>
                                <a:pt x="528" y="538"/>
                              </a:lnTo>
                              <a:lnTo>
                                <a:pt x="528" y="538"/>
                              </a:lnTo>
                              <a:lnTo>
                                <a:pt x="532" y="538"/>
                              </a:lnTo>
                              <a:lnTo>
                                <a:pt x="538" y="538"/>
                              </a:lnTo>
                              <a:lnTo>
                                <a:pt x="538" y="538"/>
                              </a:lnTo>
                              <a:lnTo>
                                <a:pt x="542" y="540"/>
                              </a:lnTo>
                              <a:lnTo>
                                <a:pt x="544" y="538"/>
                              </a:lnTo>
                              <a:lnTo>
                                <a:pt x="548" y="536"/>
                              </a:lnTo>
                              <a:lnTo>
                                <a:pt x="548" y="536"/>
                              </a:lnTo>
                              <a:lnTo>
                                <a:pt x="552" y="536"/>
                              </a:lnTo>
                              <a:lnTo>
                                <a:pt x="556" y="536"/>
                              </a:lnTo>
                              <a:lnTo>
                                <a:pt x="562" y="538"/>
                              </a:lnTo>
                              <a:lnTo>
                                <a:pt x="570" y="544"/>
                              </a:lnTo>
                              <a:lnTo>
                                <a:pt x="570" y="544"/>
                              </a:lnTo>
                              <a:lnTo>
                                <a:pt x="580" y="552"/>
                              </a:lnTo>
                              <a:lnTo>
                                <a:pt x="582" y="556"/>
                              </a:lnTo>
                              <a:lnTo>
                                <a:pt x="582" y="558"/>
                              </a:lnTo>
                              <a:lnTo>
                                <a:pt x="586" y="556"/>
                              </a:lnTo>
                              <a:lnTo>
                                <a:pt x="586" y="556"/>
                              </a:lnTo>
                              <a:lnTo>
                                <a:pt x="588" y="554"/>
                              </a:lnTo>
                              <a:lnTo>
                                <a:pt x="590" y="556"/>
                              </a:lnTo>
                              <a:lnTo>
                                <a:pt x="592" y="564"/>
                              </a:lnTo>
                              <a:lnTo>
                                <a:pt x="594" y="578"/>
                              </a:lnTo>
                              <a:lnTo>
                                <a:pt x="596" y="586"/>
                              </a:lnTo>
                              <a:lnTo>
                                <a:pt x="600" y="594"/>
                              </a:lnTo>
                              <a:lnTo>
                                <a:pt x="600" y="594"/>
                              </a:lnTo>
                              <a:lnTo>
                                <a:pt x="604" y="602"/>
                              </a:lnTo>
                              <a:lnTo>
                                <a:pt x="604" y="604"/>
                              </a:lnTo>
                              <a:lnTo>
                                <a:pt x="602" y="604"/>
                              </a:lnTo>
                              <a:lnTo>
                                <a:pt x="598" y="602"/>
                              </a:lnTo>
                              <a:lnTo>
                                <a:pt x="596" y="602"/>
                              </a:lnTo>
                              <a:lnTo>
                                <a:pt x="596" y="602"/>
                              </a:lnTo>
                              <a:lnTo>
                                <a:pt x="590" y="612"/>
                              </a:lnTo>
                              <a:lnTo>
                                <a:pt x="586" y="616"/>
                              </a:lnTo>
                              <a:lnTo>
                                <a:pt x="582" y="622"/>
                              </a:lnTo>
                              <a:lnTo>
                                <a:pt x="582" y="624"/>
                              </a:lnTo>
                              <a:lnTo>
                                <a:pt x="584" y="628"/>
                              </a:lnTo>
                              <a:lnTo>
                                <a:pt x="584" y="628"/>
                              </a:lnTo>
                              <a:lnTo>
                                <a:pt x="584" y="632"/>
                              </a:lnTo>
                              <a:lnTo>
                                <a:pt x="582" y="634"/>
                              </a:lnTo>
                              <a:lnTo>
                                <a:pt x="580" y="634"/>
                              </a:lnTo>
                              <a:lnTo>
                                <a:pt x="578" y="636"/>
                              </a:lnTo>
                              <a:lnTo>
                                <a:pt x="578" y="636"/>
                              </a:lnTo>
                              <a:lnTo>
                                <a:pt x="576" y="642"/>
                              </a:lnTo>
                              <a:lnTo>
                                <a:pt x="578" y="644"/>
                              </a:lnTo>
                              <a:lnTo>
                                <a:pt x="582" y="648"/>
                              </a:lnTo>
                              <a:lnTo>
                                <a:pt x="586" y="650"/>
                              </a:lnTo>
                              <a:lnTo>
                                <a:pt x="588" y="654"/>
                              </a:lnTo>
                              <a:lnTo>
                                <a:pt x="588" y="654"/>
                              </a:lnTo>
                              <a:lnTo>
                                <a:pt x="586" y="656"/>
                              </a:lnTo>
                              <a:lnTo>
                                <a:pt x="580" y="658"/>
                              </a:lnTo>
                              <a:lnTo>
                                <a:pt x="576" y="660"/>
                              </a:lnTo>
                              <a:lnTo>
                                <a:pt x="574" y="660"/>
                              </a:lnTo>
                              <a:lnTo>
                                <a:pt x="574" y="662"/>
                              </a:lnTo>
                              <a:lnTo>
                                <a:pt x="574" y="662"/>
                              </a:lnTo>
                              <a:lnTo>
                                <a:pt x="574" y="666"/>
                              </a:lnTo>
                              <a:lnTo>
                                <a:pt x="576" y="666"/>
                              </a:lnTo>
                              <a:lnTo>
                                <a:pt x="588" y="662"/>
                              </a:lnTo>
                              <a:lnTo>
                                <a:pt x="588" y="662"/>
                              </a:lnTo>
                              <a:lnTo>
                                <a:pt x="598" y="660"/>
                              </a:lnTo>
                              <a:lnTo>
                                <a:pt x="600" y="662"/>
                              </a:lnTo>
                              <a:lnTo>
                                <a:pt x="598" y="666"/>
                              </a:lnTo>
                              <a:lnTo>
                                <a:pt x="598" y="666"/>
                              </a:lnTo>
                              <a:lnTo>
                                <a:pt x="596" y="672"/>
                              </a:lnTo>
                              <a:lnTo>
                                <a:pt x="596" y="674"/>
                              </a:lnTo>
                              <a:lnTo>
                                <a:pt x="600" y="676"/>
                              </a:lnTo>
                              <a:lnTo>
                                <a:pt x="600" y="678"/>
                              </a:lnTo>
                              <a:lnTo>
                                <a:pt x="600" y="678"/>
                              </a:lnTo>
                              <a:lnTo>
                                <a:pt x="600" y="680"/>
                              </a:lnTo>
                              <a:lnTo>
                                <a:pt x="602" y="682"/>
                              </a:lnTo>
                              <a:lnTo>
                                <a:pt x="606" y="684"/>
                              </a:lnTo>
                              <a:lnTo>
                                <a:pt x="610" y="682"/>
                              </a:lnTo>
                              <a:lnTo>
                                <a:pt x="610" y="682"/>
                              </a:lnTo>
                              <a:lnTo>
                                <a:pt x="612" y="684"/>
                              </a:lnTo>
                              <a:lnTo>
                                <a:pt x="612" y="684"/>
                              </a:lnTo>
                              <a:lnTo>
                                <a:pt x="612" y="686"/>
                              </a:lnTo>
                              <a:lnTo>
                                <a:pt x="616" y="686"/>
                              </a:lnTo>
                              <a:lnTo>
                                <a:pt x="620" y="686"/>
                              </a:lnTo>
                              <a:lnTo>
                                <a:pt x="620" y="688"/>
                              </a:lnTo>
                              <a:lnTo>
                                <a:pt x="620" y="688"/>
                              </a:lnTo>
                              <a:lnTo>
                                <a:pt x="602" y="706"/>
                              </a:lnTo>
                              <a:lnTo>
                                <a:pt x="602" y="706"/>
                              </a:lnTo>
                              <a:lnTo>
                                <a:pt x="602" y="710"/>
                              </a:lnTo>
                              <a:lnTo>
                                <a:pt x="604" y="712"/>
                              </a:lnTo>
                              <a:lnTo>
                                <a:pt x="614" y="712"/>
                              </a:lnTo>
                              <a:lnTo>
                                <a:pt x="628" y="712"/>
                              </a:lnTo>
                              <a:lnTo>
                                <a:pt x="628" y="712"/>
                              </a:lnTo>
                              <a:lnTo>
                                <a:pt x="630" y="718"/>
                              </a:lnTo>
                              <a:lnTo>
                                <a:pt x="634" y="722"/>
                              </a:lnTo>
                              <a:lnTo>
                                <a:pt x="638" y="724"/>
                              </a:lnTo>
                              <a:lnTo>
                                <a:pt x="642" y="724"/>
                              </a:lnTo>
                              <a:lnTo>
                                <a:pt x="650" y="726"/>
                              </a:lnTo>
                              <a:lnTo>
                                <a:pt x="654" y="728"/>
                              </a:lnTo>
                              <a:lnTo>
                                <a:pt x="656" y="728"/>
                              </a:lnTo>
                              <a:lnTo>
                                <a:pt x="656" y="728"/>
                              </a:lnTo>
                              <a:lnTo>
                                <a:pt x="658" y="732"/>
                              </a:lnTo>
                              <a:lnTo>
                                <a:pt x="664" y="734"/>
                              </a:lnTo>
                              <a:lnTo>
                                <a:pt x="666" y="732"/>
                              </a:lnTo>
                              <a:lnTo>
                                <a:pt x="666" y="730"/>
                              </a:lnTo>
                              <a:lnTo>
                                <a:pt x="668" y="728"/>
                              </a:lnTo>
                              <a:lnTo>
                                <a:pt x="666" y="724"/>
                              </a:lnTo>
                              <a:lnTo>
                                <a:pt x="666" y="724"/>
                              </a:lnTo>
                              <a:lnTo>
                                <a:pt x="662" y="718"/>
                              </a:lnTo>
                              <a:lnTo>
                                <a:pt x="658" y="712"/>
                              </a:lnTo>
                              <a:lnTo>
                                <a:pt x="656" y="708"/>
                              </a:lnTo>
                              <a:lnTo>
                                <a:pt x="654" y="704"/>
                              </a:lnTo>
                              <a:lnTo>
                                <a:pt x="654" y="704"/>
                              </a:lnTo>
                              <a:lnTo>
                                <a:pt x="656" y="702"/>
                              </a:lnTo>
                              <a:lnTo>
                                <a:pt x="658" y="700"/>
                              </a:lnTo>
                              <a:lnTo>
                                <a:pt x="668" y="698"/>
                              </a:lnTo>
                              <a:lnTo>
                                <a:pt x="668" y="698"/>
                              </a:lnTo>
                              <a:lnTo>
                                <a:pt x="678" y="696"/>
                              </a:lnTo>
                              <a:lnTo>
                                <a:pt x="678" y="696"/>
                              </a:lnTo>
                              <a:lnTo>
                                <a:pt x="682" y="696"/>
                              </a:lnTo>
                              <a:lnTo>
                                <a:pt x="686" y="700"/>
                              </a:lnTo>
                              <a:lnTo>
                                <a:pt x="688" y="702"/>
                              </a:lnTo>
                              <a:lnTo>
                                <a:pt x="692" y="702"/>
                              </a:lnTo>
                              <a:lnTo>
                                <a:pt x="692" y="702"/>
                              </a:lnTo>
                              <a:lnTo>
                                <a:pt x="692" y="700"/>
                              </a:lnTo>
                              <a:lnTo>
                                <a:pt x="690" y="698"/>
                              </a:lnTo>
                              <a:lnTo>
                                <a:pt x="690" y="694"/>
                              </a:lnTo>
                              <a:lnTo>
                                <a:pt x="692" y="690"/>
                              </a:lnTo>
                              <a:lnTo>
                                <a:pt x="692" y="690"/>
                              </a:lnTo>
                              <a:lnTo>
                                <a:pt x="694" y="688"/>
                              </a:lnTo>
                              <a:lnTo>
                                <a:pt x="696" y="690"/>
                              </a:lnTo>
                              <a:lnTo>
                                <a:pt x="698" y="692"/>
                              </a:lnTo>
                              <a:lnTo>
                                <a:pt x="700" y="696"/>
                              </a:lnTo>
                              <a:lnTo>
                                <a:pt x="704" y="696"/>
                              </a:lnTo>
                              <a:lnTo>
                                <a:pt x="706" y="694"/>
                              </a:lnTo>
                              <a:lnTo>
                                <a:pt x="706" y="694"/>
                              </a:lnTo>
                              <a:lnTo>
                                <a:pt x="712" y="694"/>
                              </a:lnTo>
                              <a:lnTo>
                                <a:pt x="714" y="696"/>
                              </a:lnTo>
                              <a:lnTo>
                                <a:pt x="716" y="696"/>
                              </a:lnTo>
                              <a:lnTo>
                                <a:pt x="720" y="696"/>
                              </a:lnTo>
                              <a:lnTo>
                                <a:pt x="720" y="696"/>
                              </a:lnTo>
                              <a:lnTo>
                                <a:pt x="726" y="694"/>
                              </a:lnTo>
                              <a:lnTo>
                                <a:pt x="730" y="694"/>
                              </a:lnTo>
                              <a:lnTo>
                                <a:pt x="732" y="694"/>
                              </a:lnTo>
                              <a:lnTo>
                                <a:pt x="730" y="688"/>
                              </a:lnTo>
                              <a:lnTo>
                                <a:pt x="730" y="688"/>
                              </a:lnTo>
                              <a:lnTo>
                                <a:pt x="732" y="684"/>
                              </a:lnTo>
                              <a:lnTo>
                                <a:pt x="736" y="682"/>
                              </a:lnTo>
                              <a:lnTo>
                                <a:pt x="746" y="678"/>
                              </a:lnTo>
                              <a:lnTo>
                                <a:pt x="746" y="678"/>
                              </a:lnTo>
                              <a:lnTo>
                                <a:pt x="750" y="678"/>
                              </a:lnTo>
                              <a:lnTo>
                                <a:pt x="750" y="678"/>
                              </a:lnTo>
                              <a:lnTo>
                                <a:pt x="752" y="682"/>
                              </a:lnTo>
                              <a:lnTo>
                                <a:pt x="754" y="684"/>
                              </a:lnTo>
                              <a:lnTo>
                                <a:pt x="756" y="688"/>
                              </a:lnTo>
                              <a:lnTo>
                                <a:pt x="760" y="690"/>
                              </a:lnTo>
                              <a:lnTo>
                                <a:pt x="768" y="690"/>
                              </a:lnTo>
                              <a:lnTo>
                                <a:pt x="768" y="690"/>
                              </a:lnTo>
                              <a:lnTo>
                                <a:pt x="776" y="692"/>
                              </a:lnTo>
                              <a:lnTo>
                                <a:pt x="782" y="694"/>
                              </a:lnTo>
                              <a:lnTo>
                                <a:pt x="780" y="698"/>
                              </a:lnTo>
                              <a:lnTo>
                                <a:pt x="774" y="700"/>
                              </a:lnTo>
                              <a:lnTo>
                                <a:pt x="774" y="700"/>
                              </a:lnTo>
                              <a:lnTo>
                                <a:pt x="770" y="704"/>
                              </a:lnTo>
                              <a:lnTo>
                                <a:pt x="768" y="706"/>
                              </a:lnTo>
                              <a:lnTo>
                                <a:pt x="774" y="710"/>
                              </a:lnTo>
                              <a:lnTo>
                                <a:pt x="774" y="710"/>
                              </a:lnTo>
                              <a:lnTo>
                                <a:pt x="776" y="714"/>
                              </a:lnTo>
                              <a:lnTo>
                                <a:pt x="780" y="712"/>
                              </a:lnTo>
                              <a:lnTo>
                                <a:pt x="780" y="712"/>
                              </a:lnTo>
                              <a:lnTo>
                                <a:pt x="782" y="712"/>
                              </a:lnTo>
                              <a:lnTo>
                                <a:pt x="784" y="712"/>
                              </a:lnTo>
                              <a:lnTo>
                                <a:pt x="788" y="716"/>
                              </a:lnTo>
                              <a:lnTo>
                                <a:pt x="794" y="720"/>
                              </a:lnTo>
                              <a:lnTo>
                                <a:pt x="796" y="720"/>
                              </a:lnTo>
                              <a:lnTo>
                                <a:pt x="800" y="720"/>
                              </a:lnTo>
                              <a:lnTo>
                                <a:pt x="800" y="720"/>
                              </a:lnTo>
                              <a:lnTo>
                                <a:pt x="806" y="718"/>
                              </a:lnTo>
                              <a:lnTo>
                                <a:pt x="806" y="718"/>
                              </a:lnTo>
                              <a:lnTo>
                                <a:pt x="810" y="716"/>
                              </a:lnTo>
                              <a:lnTo>
                                <a:pt x="810" y="714"/>
                              </a:lnTo>
                              <a:lnTo>
                                <a:pt x="810" y="712"/>
                              </a:lnTo>
                              <a:lnTo>
                                <a:pt x="812" y="710"/>
                              </a:lnTo>
                              <a:lnTo>
                                <a:pt x="812" y="710"/>
                              </a:lnTo>
                              <a:lnTo>
                                <a:pt x="812" y="710"/>
                              </a:lnTo>
                              <a:lnTo>
                                <a:pt x="814" y="712"/>
                              </a:lnTo>
                              <a:lnTo>
                                <a:pt x="818" y="714"/>
                              </a:lnTo>
                              <a:lnTo>
                                <a:pt x="822" y="718"/>
                              </a:lnTo>
                              <a:lnTo>
                                <a:pt x="826" y="716"/>
                              </a:lnTo>
                              <a:lnTo>
                                <a:pt x="830" y="714"/>
                              </a:lnTo>
                              <a:lnTo>
                                <a:pt x="830" y="714"/>
                              </a:lnTo>
                              <a:lnTo>
                                <a:pt x="828" y="718"/>
                              </a:lnTo>
                              <a:lnTo>
                                <a:pt x="830" y="720"/>
                              </a:lnTo>
                              <a:lnTo>
                                <a:pt x="834" y="720"/>
                              </a:lnTo>
                              <a:lnTo>
                                <a:pt x="838" y="716"/>
                              </a:lnTo>
                              <a:lnTo>
                                <a:pt x="838" y="716"/>
                              </a:lnTo>
                              <a:lnTo>
                                <a:pt x="840" y="720"/>
                              </a:lnTo>
                              <a:lnTo>
                                <a:pt x="838" y="720"/>
                              </a:lnTo>
                              <a:lnTo>
                                <a:pt x="834" y="726"/>
                              </a:lnTo>
                              <a:lnTo>
                                <a:pt x="834" y="726"/>
                              </a:lnTo>
                              <a:lnTo>
                                <a:pt x="834" y="730"/>
                              </a:lnTo>
                              <a:lnTo>
                                <a:pt x="834" y="734"/>
                              </a:lnTo>
                              <a:lnTo>
                                <a:pt x="840" y="742"/>
                              </a:lnTo>
                              <a:lnTo>
                                <a:pt x="840" y="742"/>
                              </a:lnTo>
                              <a:lnTo>
                                <a:pt x="840" y="744"/>
                              </a:lnTo>
                              <a:lnTo>
                                <a:pt x="842" y="746"/>
                              </a:lnTo>
                              <a:lnTo>
                                <a:pt x="846" y="750"/>
                              </a:lnTo>
                              <a:lnTo>
                                <a:pt x="852" y="748"/>
                              </a:lnTo>
                              <a:lnTo>
                                <a:pt x="852" y="748"/>
                              </a:lnTo>
                              <a:lnTo>
                                <a:pt x="858" y="746"/>
                              </a:lnTo>
                              <a:lnTo>
                                <a:pt x="860" y="742"/>
                              </a:lnTo>
                              <a:lnTo>
                                <a:pt x="862" y="738"/>
                              </a:lnTo>
                              <a:lnTo>
                                <a:pt x="862" y="734"/>
                              </a:lnTo>
                              <a:lnTo>
                                <a:pt x="862" y="734"/>
                              </a:lnTo>
                              <a:lnTo>
                                <a:pt x="860" y="732"/>
                              </a:lnTo>
                              <a:lnTo>
                                <a:pt x="858" y="732"/>
                              </a:lnTo>
                              <a:lnTo>
                                <a:pt x="856" y="732"/>
                              </a:lnTo>
                              <a:lnTo>
                                <a:pt x="856" y="730"/>
                              </a:lnTo>
                              <a:lnTo>
                                <a:pt x="856" y="730"/>
                              </a:lnTo>
                              <a:lnTo>
                                <a:pt x="856" y="728"/>
                              </a:lnTo>
                              <a:lnTo>
                                <a:pt x="854" y="726"/>
                              </a:lnTo>
                              <a:lnTo>
                                <a:pt x="850" y="726"/>
                              </a:lnTo>
                              <a:lnTo>
                                <a:pt x="848" y="726"/>
                              </a:lnTo>
                              <a:lnTo>
                                <a:pt x="848" y="726"/>
                              </a:lnTo>
                              <a:lnTo>
                                <a:pt x="846" y="724"/>
                              </a:lnTo>
                              <a:lnTo>
                                <a:pt x="848" y="722"/>
                              </a:lnTo>
                              <a:lnTo>
                                <a:pt x="852" y="720"/>
                              </a:lnTo>
                              <a:lnTo>
                                <a:pt x="856" y="718"/>
                              </a:lnTo>
                              <a:lnTo>
                                <a:pt x="856" y="716"/>
                              </a:lnTo>
                              <a:lnTo>
                                <a:pt x="856" y="714"/>
                              </a:lnTo>
                              <a:lnTo>
                                <a:pt x="852" y="710"/>
                              </a:lnTo>
                              <a:lnTo>
                                <a:pt x="852" y="710"/>
                              </a:lnTo>
                              <a:lnTo>
                                <a:pt x="856" y="712"/>
                              </a:lnTo>
                              <a:lnTo>
                                <a:pt x="862" y="716"/>
                              </a:lnTo>
                              <a:lnTo>
                                <a:pt x="866" y="716"/>
                              </a:lnTo>
                              <a:lnTo>
                                <a:pt x="866" y="716"/>
                              </a:lnTo>
                              <a:lnTo>
                                <a:pt x="868" y="714"/>
                              </a:lnTo>
                              <a:lnTo>
                                <a:pt x="868" y="714"/>
                              </a:lnTo>
                              <a:lnTo>
                                <a:pt x="870" y="710"/>
                              </a:lnTo>
                              <a:lnTo>
                                <a:pt x="874" y="710"/>
                              </a:lnTo>
                              <a:lnTo>
                                <a:pt x="878" y="710"/>
                              </a:lnTo>
                              <a:lnTo>
                                <a:pt x="882" y="706"/>
                              </a:lnTo>
                              <a:lnTo>
                                <a:pt x="882" y="706"/>
                              </a:lnTo>
                              <a:lnTo>
                                <a:pt x="890" y="704"/>
                              </a:lnTo>
                              <a:lnTo>
                                <a:pt x="898" y="702"/>
                              </a:lnTo>
                              <a:lnTo>
                                <a:pt x="906" y="698"/>
                              </a:lnTo>
                              <a:lnTo>
                                <a:pt x="906" y="696"/>
                              </a:lnTo>
                              <a:lnTo>
                                <a:pt x="906" y="692"/>
                              </a:lnTo>
                              <a:lnTo>
                                <a:pt x="906" y="692"/>
                              </a:lnTo>
                              <a:lnTo>
                                <a:pt x="910" y="694"/>
                              </a:lnTo>
                              <a:lnTo>
                                <a:pt x="912" y="694"/>
                              </a:lnTo>
                              <a:lnTo>
                                <a:pt x="916" y="690"/>
                              </a:lnTo>
                              <a:lnTo>
                                <a:pt x="916" y="680"/>
                              </a:lnTo>
                              <a:lnTo>
                                <a:pt x="916" y="680"/>
                              </a:lnTo>
                              <a:lnTo>
                                <a:pt x="920" y="686"/>
                              </a:lnTo>
                              <a:lnTo>
                                <a:pt x="922" y="686"/>
                              </a:lnTo>
                              <a:lnTo>
                                <a:pt x="922" y="686"/>
                              </a:lnTo>
                              <a:lnTo>
                                <a:pt x="924" y="684"/>
                              </a:lnTo>
                              <a:lnTo>
                                <a:pt x="928" y="686"/>
                              </a:lnTo>
                              <a:lnTo>
                                <a:pt x="928" y="686"/>
                              </a:lnTo>
                              <a:lnTo>
                                <a:pt x="930" y="688"/>
                              </a:lnTo>
                              <a:lnTo>
                                <a:pt x="932" y="688"/>
                              </a:lnTo>
                              <a:lnTo>
                                <a:pt x="934" y="684"/>
                              </a:lnTo>
                              <a:lnTo>
                                <a:pt x="938" y="680"/>
                              </a:lnTo>
                              <a:lnTo>
                                <a:pt x="938" y="680"/>
                              </a:lnTo>
                              <a:lnTo>
                                <a:pt x="940" y="680"/>
                              </a:lnTo>
                              <a:lnTo>
                                <a:pt x="940" y="680"/>
                              </a:lnTo>
                              <a:lnTo>
                                <a:pt x="942" y="682"/>
                              </a:lnTo>
                              <a:lnTo>
                                <a:pt x="944" y="684"/>
                              </a:lnTo>
                              <a:lnTo>
                                <a:pt x="948" y="680"/>
                              </a:lnTo>
                              <a:lnTo>
                                <a:pt x="954" y="676"/>
                              </a:lnTo>
                              <a:lnTo>
                                <a:pt x="958" y="676"/>
                              </a:lnTo>
                              <a:lnTo>
                                <a:pt x="962" y="676"/>
                              </a:lnTo>
                              <a:lnTo>
                                <a:pt x="962" y="676"/>
                              </a:lnTo>
                              <a:lnTo>
                                <a:pt x="966" y="676"/>
                              </a:lnTo>
                              <a:lnTo>
                                <a:pt x="968" y="674"/>
                              </a:lnTo>
                              <a:lnTo>
                                <a:pt x="970" y="670"/>
                              </a:lnTo>
                              <a:lnTo>
                                <a:pt x="976" y="670"/>
                              </a:lnTo>
                              <a:lnTo>
                                <a:pt x="976" y="670"/>
                              </a:lnTo>
                              <a:lnTo>
                                <a:pt x="982" y="668"/>
                              </a:lnTo>
                              <a:lnTo>
                                <a:pt x="982" y="666"/>
                              </a:lnTo>
                              <a:lnTo>
                                <a:pt x="982" y="666"/>
                              </a:lnTo>
                              <a:lnTo>
                                <a:pt x="984" y="664"/>
                              </a:lnTo>
                              <a:lnTo>
                                <a:pt x="984" y="664"/>
                              </a:lnTo>
                              <a:lnTo>
                                <a:pt x="986" y="662"/>
                              </a:lnTo>
                              <a:lnTo>
                                <a:pt x="988" y="660"/>
                              </a:lnTo>
                              <a:lnTo>
                                <a:pt x="986" y="656"/>
                              </a:lnTo>
                              <a:lnTo>
                                <a:pt x="986" y="654"/>
                              </a:lnTo>
                              <a:lnTo>
                                <a:pt x="990" y="652"/>
                              </a:lnTo>
                              <a:lnTo>
                                <a:pt x="990" y="652"/>
                              </a:lnTo>
                              <a:lnTo>
                                <a:pt x="994" y="650"/>
                              </a:lnTo>
                              <a:lnTo>
                                <a:pt x="994" y="648"/>
                              </a:lnTo>
                              <a:lnTo>
                                <a:pt x="996" y="644"/>
                              </a:lnTo>
                              <a:lnTo>
                                <a:pt x="998" y="642"/>
                              </a:lnTo>
                              <a:lnTo>
                                <a:pt x="998" y="642"/>
                              </a:lnTo>
                              <a:lnTo>
                                <a:pt x="1002" y="640"/>
                              </a:lnTo>
                              <a:lnTo>
                                <a:pt x="1002" y="638"/>
                              </a:lnTo>
                              <a:lnTo>
                                <a:pt x="1002" y="634"/>
                              </a:lnTo>
                              <a:lnTo>
                                <a:pt x="1004" y="632"/>
                              </a:lnTo>
                              <a:lnTo>
                                <a:pt x="1008" y="632"/>
                              </a:lnTo>
                              <a:lnTo>
                                <a:pt x="1008" y="632"/>
                              </a:lnTo>
                              <a:lnTo>
                                <a:pt x="1014" y="632"/>
                              </a:lnTo>
                              <a:lnTo>
                                <a:pt x="1014" y="628"/>
                              </a:lnTo>
                              <a:lnTo>
                                <a:pt x="1012" y="622"/>
                              </a:lnTo>
                              <a:lnTo>
                                <a:pt x="1012" y="620"/>
                              </a:lnTo>
                              <a:lnTo>
                                <a:pt x="1014" y="616"/>
                              </a:lnTo>
                              <a:lnTo>
                                <a:pt x="1014" y="616"/>
                              </a:lnTo>
                              <a:lnTo>
                                <a:pt x="1018" y="610"/>
                              </a:lnTo>
                              <a:lnTo>
                                <a:pt x="1018" y="610"/>
                              </a:lnTo>
                              <a:lnTo>
                                <a:pt x="1014" y="610"/>
                              </a:lnTo>
                              <a:lnTo>
                                <a:pt x="1012" y="608"/>
                              </a:lnTo>
                              <a:lnTo>
                                <a:pt x="1012" y="608"/>
                              </a:lnTo>
                              <a:lnTo>
                                <a:pt x="1008" y="606"/>
                              </a:lnTo>
                              <a:lnTo>
                                <a:pt x="1012" y="604"/>
                              </a:lnTo>
                              <a:lnTo>
                                <a:pt x="1018" y="604"/>
                              </a:lnTo>
                              <a:lnTo>
                                <a:pt x="1020" y="602"/>
                              </a:lnTo>
                              <a:lnTo>
                                <a:pt x="1020" y="598"/>
                              </a:lnTo>
                              <a:lnTo>
                                <a:pt x="1020" y="598"/>
                              </a:lnTo>
                              <a:lnTo>
                                <a:pt x="1022" y="592"/>
                              </a:lnTo>
                              <a:lnTo>
                                <a:pt x="1024" y="590"/>
                              </a:lnTo>
                              <a:lnTo>
                                <a:pt x="1026" y="588"/>
                              </a:lnTo>
                              <a:lnTo>
                                <a:pt x="1026" y="582"/>
                              </a:lnTo>
                              <a:lnTo>
                                <a:pt x="1026" y="582"/>
                              </a:lnTo>
                              <a:lnTo>
                                <a:pt x="1026" y="566"/>
                              </a:lnTo>
                              <a:lnTo>
                                <a:pt x="1028" y="560"/>
                              </a:lnTo>
                              <a:lnTo>
                                <a:pt x="1030" y="558"/>
                              </a:lnTo>
                              <a:lnTo>
                                <a:pt x="1030" y="556"/>
                              </a:lnTo>
                              <a:lnTo>
                                <a:pt x="1030" y="556"/>
                              </a:lnTo>
                              <a:lnTo>
                                <a:pt x="1030" y="552"/>
                              </a:lnTo>
                              <a:lnTo>
                                <a:pt x="1030" y="550"/>
                              </a:lnTo>
                              <a:lnTo>
                                <a:pt x="1034" y="546"/>
                              </a:lnTo>
                              <a:lnTo>
                                <a:pt x="1036" y="544"/>
                              </a:lnTo>
                              <a:lnTo>
                                <a:pt x="1036" y="542"/>
                              </a:lnTo>
                              <a:lnTo>
                                <a:pt x="1032" y="538"/>
                              </a:lnTo>
                              <a:lnTo>
                                <a:pt x="1032" y="538"/>
                              </a:lnTo>
                              <a:lnTo>
                                <a:pt x="1028" y="536"/>
                              </a:lnTo>
                              <a:lnTo>
                                <a:pt x="1032" y="536"/>
                              </a:lnTo>
                              <a:lnTo>
                                <a:pt x="1034" y="534"/>
                              </a:lnTo>
                              <a:lnTo>
                                <a:pt x="1036" y="534"/>
                              </a:lnTo>
                              <a:lnTo>
                                <a:pt x="1034" y="530"/>
                              </a:lnTo>
                              <a:lnTo>
                                <a:pt x="1034" y="530"/>
                              </a:lnTo>
                              <a:lnTo>
                                <a:pt x="1032" y="526"/>
                              </a:lnTo>
                              <a:lnTo>
                                <a:pt x="1030" y="526"/>
                              </a:lnTo>
                              <a:lnTo>
                                <a:pt x="1028" y="528"/>
                              </a:lnTo>
                              <a:lnTo>
                                <a:pt x="1024" y="528"/>
                              </a:lnTo>
                              <a:lnTo>
                                <a:pt x="1024" y="528"/>
                              </a:lnTo>
                              <a:lnTo>
                                <a:pt x="1028" y="526"/>
                              </a:lnTo>
                              <a:lnTo>
                                <a:pt x="1032" y="520"/>
                              </a:lnTo>
                              <a:lnTo>
                                <a:pt x="1032" y="520"/>
                              </a:lnTo>
                              <a:lnTo>
                                <a:pt x="1026" y="520"/>
                              </a:lnTo>
                              <a:lnTo>
                                <a:pt x="1022" y="518"/>
                              </a:lnTo>
                              <a:lnTo>
                                <a:pt x="1016" y="514"/>
                              </a:lnTo>
                              <a:lnTo>
                                <a:pt x="1010" y="510"/>
                              </a:lnTo>
                              <a:lnTo>
                                <a:pt x="1008" y="510"/>
                              </a:lnTo>
                              <a:lnTo>
                                <a:pt x="1004" y="510"/>
                              </a:lnTo>
                              <a:lnTo>
                                <a:pt x="1004" y="510"/>
                              </a:lnTo>
                              <a:lnTo>
                                <a:pt x="998" y="512"/>
                              </a:lnTo>
                              <a:lnTo>
                                <a:pt x="994" y="510"/>
                              </a:lnTo>
                              <a:lnTo>
                                <a:pt x="992" y="510"/>
                              </a:lnTo>
                              <a:lnTo>
                                <a:pt x="984" y="514"/>
                              </a:lnTo>
                              <a:lnTo>
                                <a:pt x="984" y="514"/>
                              </a:lnTo>
                              <a:lnTo>
                                <a:pt x="988" y="512"/>
                              </a:lnTo>
                              <a:lnTo>
                                <a:pt x="990" y="508"/>
                              </a:lnTo>
                              <a:lnTo>
                                <a:pt x="996" y="508"/>
                              </a:lnTo>
                              <a:lnTo>
                                <a:pt x="1000" y="508"/>
                              </a:lnTo>
                              <a:lnTo>
                                <a:pt x="1000" y="506"/>
                              </a:lnTo>
                              <a:lnTo>
                                <a:pt x="1000" y="506"/>
                              </a:lnTo>
                              <a:lnTo>
                                <a:pt x="1000" y="504"/>
                              </a:lnTo>
                              <a:lnTo>
                                <a:pt x="1004" y="502"/>
                              </a:lnTo>
                              <a:lnTo>
                                <a:pt x="1008" y="502"/>
                              </a:lnTo>
                              <a:lnTo>
                                <a:pt x="1008" y="498"/>
                              </a:lnTo>
                              <a:lnTo>
                                <a:pt x="1008" y="498"/>
                              </a:lnTo>
                              <a:lnTo>
                                <a:pt x="1008" y="496"/>
                              </a:lnTo>
                              <a:lnTo>
                                <a:pt x="1012" y="494"/>
                              </a:lnTo>
                              <a:lnTo>
                                <a:pt x="1014" y="492"/>
                              </a:lnTo>
                              <a:lnTo>
                                <a:pt x="1016" y="492"/>
                              </a:lnTo>
                              <a:lnTo>
                                <a:pt x="1016" y="492"/>
                              </a:lnTo>
                              <a:lnTo>
                                <a:pt x="1014" y="488"/>
                              </a:lnTo>
                              <a:lnTo>
                                <a:pt x="1012" y="484"/>
                              </a:lnTo>
                              <a:lnTo>
                                <a:pt x="1004" y="480"/>
                              </a:lnTo>
                              <a:lnTo>
                                <a:pt x="998" y="478"/>
                              </a:lnTo>
                              <a:lnTo>
                                <a:pt x="996" y="478"/>
                              </a:lnTo>
                              <a:lnTo>
                                <a:pt x="996" y="478"/>
                              </a:lnTo>
                              <a:lnTo>
                                <a:pt x="994" y="476"/>
                              </a:lnTo>
                              <a:lnTo>
                                <a:pt x="990" y="476"/>
                              </a:lnTo>
                              <a:lnTo>
                                <a:pt x="984" y="478"/>
                              </a:lnTo>
                              <a:lnTo>
                                <a:pt x="978" y="478"/>
                              </a:lnTo>
                              <a:lnTo>
                                <a:pt x="974" y="476"/>
                              </a:lnTo>
                              <a:lnTo>
                                <a:pt x="972" y="472"/>
                              </a:lnTo>
                              <a:lnTo>
                                <a:pt x="972" y="472"/>
                              </a:lnTo>
                              <a:lnTo>
                                <a:pt x="976" y="476"/>
                              </a:lnTo>
                              <a:lnTo>
                                <a:pt x="980" y="476"/>
                              </a:lnTo>
                              <a:lnTo>
                                <a:pt x="984" y="474"/>
                              </a:lnTo>
                              <a:lnTo>
                                <a:pt x="984" y="474"/>
                              </a:lnTo>
                              <a:lnTo>
                                <a:pt x="988" y="472"/>
                              </a:lnTo>
                              <a:lnTo>
                                <a:pt x="990" y="472"/>
                              </a:lnTo>
                              <a:lnTo>
                                <a:pt x="998" y="474"/>
                              </a:lnTo>
                              <a:lnTo>
                                <a:pt x="1004" y="476"/>
                              </a:lnTo>
                              <a:lnTo>
                                <a:pt x="1010" y="478"/>
                              </a:lnTo>
                              <a:lnTo>
                                <a:pt x="1010" y="478"/>
                              </a:lnTo>
                              <a:lnTo>
                                <a:pt x="1010" y="474"/>
                              </a:lnTo>
                              <a:lnTo>
                                <a:pt x="1010" y="472"/>
                              </a:lnTo>
                              <a:lnTo>
                                <a:pt x="1004" y="470"/>
                              </a:lnTo>
                              <a:lnTo>
                                <a:pt x="1004" y="470"/>
                              </a:lnTo>
                              <a:lnTo>
                                <a:pt x="1000" y="466"/>
                              </a:lnTo>
                              <a:lnTo>
                                <a:pt x="998" y="464"/>
                              </a:lnTo>
                              <a:lnTo>
                                <a:pt x="998" y="462"/>
                              </a:lnTo>
                              <a:lnTo>
                                <a:pt x="994" y="462"/>
                              </a:lnTo>
                              <a:lnTo>
                                <a:pt x="994" y="462"/>
                              </a:lnTo>
                              <a:lnTo>
                                <a:pt x="988" y="460"/>
                              </a:lnTo>
                              <a:lnTo>
                                <a:pt x="982" y="456"/>
                              </a:lnTo>
                              <a:lnTo>
                                <a:pt x="978" y="450"/>
                              </a:lnTo>
                              <a:lnTo>
                                <a:pt x="974" y="442"/>
                              </a:lnTo>
                              <a:lnTo>
                                <a:pt x="974" y="442"/>
                              </a:lnTo>
                              <a:lnTo>
                                <a:pt x="972" y="436"/>
                              </a:lnTo>
                              <a:lnTo>
                                <a:pt x="970" y="434"/>
                              </a:lnTo>
                              <a:lnTo>
                                <a:pt x="966" y="434"/>
                              </a:lnTo>
                              <a:lnTo>
                                <a:pt x="964" y="430"/>
                              </a:lnTo>
                              <a:lnTo>
                                <a:pt x="964" y="430"/>
                              </a:lnTo>
                              <a:lnTo>
                                <a:pt x="962" y="424"/>
                              </a:lnTo>
                              <a:lnTo>
                                <a:pt x="962" y="424"/>
                              </a:lnTo>
                              <a:lnTo>
                                <a:pt x="958" y="422"/>
                              </a:lnTo>
                              <a:lnTo>
                                <a:pt x="956" y="420"/>
                              </a:lnTo>
                              <a:lnTo>
                                <a:pt x="956" y="420"/>
                              </a:lnTo>
                              <a:lnTo>
                                <a:pt x="950" y="414"/>
                              </a:lnTo>
                              <a:lnTo>
                                <a:pt x="946" y="410"/>
                              </a:lnTo>
                              <a:lnTo>
                                <a:pt x="936" y="406"/>
                              </a:lnTo>
                              <a:lnTo>
                                <a:pt x="928" y="404"/>
                              </a:lnTo>
                              <a:lnTo>
                                <a:pt x="924" y="404"/>
                              </a:lnTo>
                              <a:lnTo>
                                <a:pt x="922" y="402"/>
                              </a:lnTo>
                              <a:lnTo>
                                <a:pt x="922" y="402"/>
                              </a:lnTo>
                              <a:lnTo>
                                <a:pt x="922" y="400"/>
                              </a:lnTo>
                              <a:lnTo>
                                <a:pt x="924" y="396"/>
                              </a:lnTo>
                              <a:lnTo>
                                <a:pt x="930" y="392"/>
                              </a:lnTo>
                              <a:lnTo>
                                <a:pt x="932" y="390"/>
                              </a:lnTo>
                              <a:lnTo>
                                <a:pt x="932" y="388"/>
                              </a:lnTo>
                              <a:lnTo>
                                <a:pt x="928" y="386"/>
                              </a:lnTo>
                              <a:lnTo>
                                <a:pt x="928" y="386"/>
                              </a:lnTo>
                              <a:lnTo>
                                <a:pt x="926" y="386"/>
                              </a:lnTo>
                              <a:lnTo>
                                <a:pt x="926" y="386"/>
                              </a:lnTo>
                              <a:lnTo>
                                <a:pt x="932" y="384"/>
                              </a:lnTo>
                              <a:lnTo>
                                <a:pt x="936" y="382"/>
                              </a:lnTo>
                              <a:lnTo>
                                <a:pt x="938" y="380"/>
                              </a:lnTo>
                              <a:lnTo>
                                <a:pt x="938" y="378"/>
                              </a:lnTo>
                              <a:lnTo>
                                <a:pt x="938" y="378"/>
                              </a:lnTo>
                              <a:lnTo>
                                <a:pt x="936" y="374"/>
                              </a:lnTo>
                              <a:lnTo>
                                <a:pt x="938" y="374"/>
                              </a:lnTo>
                              <a:lnTo>
                                <a:pt x="940" y="372"/>
                              </a:lnTo>
                              <a:lnTo>
                                <a:pt x="942" y="370"/>
                              </a:lnTo>
                              <a:lnTo>
                                <a:pt x="942" y="370"/>
                              </a:lnTo>
                              <a:lnTo>
                                <a:pt x="944" y="368"/>
                              </a:lnTo>
                              <a:lnTo>
                                <a:pt x="944" y="368"/>
                              </a:lnTo>
                              <a:lnTo>
                                <a:pt x="946" y="368"/>
                              </a:lnTo>
                              <a:lnTo>
                                <a:pt x="948" y="364"/>
                              </a:lnTo>
                              <a:lnTo>
                                <a:pt x="948" y="364"/>
                              </a:lnTo>
                              <a:lnTo>
                                <a:pt x="950" y="362"/>
                              </a:lnTo>
                              <a:lnTo>
                                <a:pt x="952" y="360"/>
                              </a:lnTo>
                              <a:lnTo>
                                <a:pt x="956" y="360"/>
                              </a:lnTo>
                              <a:lnTo>
                                <a:pt x="958" y="360"/>
                              </a:lnTo>
                              <a:lnTo>
                                <a:pt x="960" y="360"/>
                              </a:lnTo>
                              <a:lnTo>
                                <a:pt x="960" y="358"/>
                              </a:lnTo>
                              <a:lnTo>
                                <a:pt x="960" y="358"/>
                              </a:lnTo>
                              <a:lnTo>
                                <a:pt x="962" y="356"/>
                              </a:lnTo>
                              <a:lnTo>
                                <a:pt x="962" y="354"/>
                              </a:lnTo>
                              <a:lnTo>
                                <a:pt x="962" y="354"/>
                              </a:lnTo>
                              <a:lnTo>
                                <a:pt x="964" y="350"/>
                              </a:lnTo>
                              <a:lnTo>
                                <a:pt x="962" y="348"/>
                              </a:lnTo>
                              <a:lnTo>
                                <a:pt x="956" y="348"/>
                              </a:lnTo>
                              <a:lnTo>
                                <a:pt x="956" y="348"/>
                              </a:lnTo>
                              <a:lnTo>
                                <a:pt x="948" y="346"/>
                              </a:lnTo>
                              <a:lnTo>
                                <a:pt x="942" y="348"/>
                              </a:lnTo>
                              <a:lnTo>
                                <a:pt x="940" y="348"/>
                              </a:lnTo>
                              <a:lnTo>
                                <a:pt x="938" y="346"/>
                              </a:lnTo>
                              <a:lnTo>
                                <a:pt x="938" y="346"/>
                              </a:lnTo>
                              <a:lnTo>
                                <a:pt x="934" y="342"/>
                              </a:lnTo>
                              <a:lnTo>
                                <a:pt x="926" y="342"/>
                              </a:lnTo>
                              <a:lnTo>
                                <a:pt x="920" y="342"/>
                              </a:lnTo>
                              <a:lnTo>
                                <a:pt x="918" y="342"/>
                              </a:lnTo>
                              <a:lnTo>
                                <a:pt x="918" y="344"/>
                              </a:lnTo>
                              <a:lnTo>
                                <a:pt x="918" y="344"/>
                              </a:lnTo>
                              <a:lnTo>
                                <a:pt x="916" y="346"/>
                              </a:lnTo>
                              <a:lnTo>
                                <a:pt x="914" y="348"/>
                              </a:lnTo>
                              <a:lnTo>
                                <a:pt x="908" y="348"/>
                              </a:lnTo>
                              <a:lnTo>
                                <a:pt x="908" y="348"/>
                              </a:lnTo>
                              <a:lnTo>
                                <a:pt x="906" y="352"/>
                              </a:lnTo>
                              <a:lnTo>
                                <a:pt x="902" y="354"/>
                              </a:lnTo>
                              <a:lnTo>
                                <a:pt x="894" y="354"/>
                              </a:lnTo>
                              <a:lnTo>
                                <a:pt x="886" y="350"/>
                              </a:lnTo>
                              <a:lnTo>
                                <a:pt x="884" y="348"/>
                              </a:lnTo>
                              <a:lnTo>
                                <a:pt x="884" y="346"/>
                              </a:lnTo>
                              <a:lnTo>
                                <a:pt x="884" y="346"/>
                              </a:lnTo>
                              <a:lnTo>
                                <a:pt x="886" y="342"/>
                              </a:lnTo>
                              <a:lnTo>
                                <a:pt x="884" y="338"/>
                              </a:lnTo>
                              <a:lnTo>
                                <a:pt x="882" y="336"/>
                              </a:lnTo>
                              <a:lnTo>
                                <a:pt x="880" y="334"/>
                              </a:lnTo>
                              <a:lnTo>
                                <a:pt x="868" y="332"/>
                              </a:lnTo>
                              <a:lnTo>
                                <a:pt x="856" y="334"/>
                              </a:lnTo>
                              <a:lnTo>
                                <a:pt x="856" y="334"/>
                              </a:lnTo>
                              <a:lnTo>
                                <a:pt x="852" y="328"/>
                              </a:lnTo>
                              <a:lnTo>
                                <a:pt x="850" y="324"/>
                              </a:lnTo>
                              <a:lnTo>
                                <a:pt x="842" y="318"/>
                              </a:lnTo>
                              <a:lnTo>
                                <a:pt x="836" y="314"/>
                              </a:lnTo>
                              <a:lnTo>
                                <a:pt x="834" y="310"/>
                              </a:lnTo>
                              <a:lnTo>
                                <a:pt x="834" y="304"/>
                              </a:lnTo>
                              <a:lnTo>
                                <a:pt x="834" y="304"/>
                              </a:lnTo>
                              <a:lnTo>
                                <a:pt x="836" y="298"/>
                              </a:lnTo>
                              <a:lnTo>
                                <a:pt x="840" y="296"/>
                              </a:lnTo>
                              <a:lnTo>
                                <a:pt x="844" y="296"/>
                              </a:lnTo>
                              <a:lnTo>
                                <a:pt x="850" y="296"/>
                              </a:lnTo>
                              <a:lnTo>
                                <a:pt x="856" y="298"/>
                              </a:lnTo>
                              <a:lnTo>
                                <a:pt x="860" y="298"/>
                              </a:lnTo>
                              <a:lnTo>
                                <a:pt x="864" y="296"/>
                              </a:lnTo>
                              <a:lnTo>
                                <a:pt x="866" y="290"/>
                              </a:lnTo>
                              <a:lnTo>
                                <a:pt x="866" y="290"/>
                              </a:lnTo>
                              <a:lnTo>
                                <a:pt x="868" y="286"/>
                              </a:lnTo>
                              <a:lnTo>
                                <a:pt x="870" y="282"/>
                              </a:lnTo>
                              <a:lnTo>
                                <a:pt x="876" y="280"/>
                              </a:lnTo>
                              <a:lnTo>
                                <a:pt x="884" y="276"/>
                              </a:lnTo>
                              <a:lnTo>
                                <a:pt x="886" y="274"/>
                              </a:lnTo>
                              <a:lnTo>
                                <a:pt x="886" y="270"/>
                              </a:lnTo>
                              <a:lnTo>
                                <a:pt x="886" y="270"/>
                              </a:lnTo>
                              <a:lnTo>
                                <a:pt x="888" y="268"/>
                              </a:lnTo>
                              <a:lnTo>
                                <a:pt x="888" y="266"/>
                              </a:lnTo>
                              <a:lnTo>
                                <a:pt x="892" y="266"/>
                              </a:lnTo>
                              <a:lnTo>
                                <a:pt x="896" y="266"/>
                              </a:lnTo>
                              <a:lnTo>
                                <a:pt x="894" y="260"/>
                              </a:lnTo>
                              <a:lnTo>
                                <a:pt x="894" y="260"/>
                              </a:lnTo>
                              <a:lnTo>
                                <a:pt x="900" y="264"/>
                              </a:lnTo>
                              <a:lnTo>
                                <a:pt x="904" y="268"/>
                              </a:lnTo>
                              <a:lnTo>
                                <a:pt x="914" y="270"/>
                              </a:lnTo>
                              <a:lnTo>
                                <a:pt x="918" y="272"/>
                              </a:lnTo>
                              <a:lnTo>
                                <a:pt x="918" y="274"/>
                              </a:lnTo>
                              <a:lnTo>
                                <a:pt x="916" y="280"/>
                              </a:lnTo>
                              <a:lnTo>
                                <a:pt x="910" y="286"/>
                              </a:lnTo>
                              <a:lnTo>
                                <a:pt x="910" y="286"/>
                              </a:lnTo>
                              <a:lnTo>
                                <a:pt x="904" y="294"/>
                              </a:lnTo>
                              <a:lnTo>
                                <a:pt x="902" y="298"/>
                              </a:lnTo>
                              <a:lnTo>
                                <a:pt x="902" y="300"/>
                              </a:lnTo>
                              <a:lnTo>
                                <a:pt x="904" y="302"/>
                              </a:lnTo>
                              <a:lnTo>
                                <a:pt x="910" y="300"/>
                              </a:lnTo>
                              <a:lnTo>
                                <a:pt x="912" y="300"/>
                              </a:lnTo>
                              <a:lnTo>
                                <a:pt x="910" y="300"/>
                              </a:lnTo>
                              <a:lnTo>
                                <a:pt x="910" y="300"/>
                              </a:lnTo>
                              <a:lnTo>
                                <a:pt x="908" y="302"/>
                              </a:lnTo>
                              <a:lnTo>
                                <a:pt x="908" y="304"/>
                              </a:lnTo>
                              <a:lnTo>
                                <a:pt x="910" y="304"/>
                              </a:lnTo>
                              <a:lnTo>
                                <a:pt x="908" y="306"/>
                              </a:lnTo>
                              <a:lnTo>
                                <a:pt x="908" y="306"/>
                              </a:lnTo>
                              <a:lnTo>
                                <a:pt x="904" y="310"/>
                              </a:lnTo>
                              <a:lnTo>
                                <a:pt x="904" y="312"/>
                              </a:lnTo>
                              <a:lnTo>
                                <a:pt x="906" y="312"/>
                              </a:lnTo>
                              <a:lnTo>
                                <a:pt x="912" y="312"/>
                              </a:lnTo>
                              <a:lnTo>
                                <a:pt x="912" y="312"/>
                              </a:lnTo>
                              <a:lnTo>
                                <a:pt x="914" y="310"/>
                              </a:lnTo>
                              <a:lnTo>
                                <a:pt x="914" y="308"/>
                              </a:lnTo>
                              <a:lnTo>
                                <a:pt x="914" y="308"/>
                              </a:lnTo>
                              <a:lnTo>
                                <a:pt x="916" y="306"/>
                              </a:lnTo>
                              <a:lnTo>
                                <a:pt x="916" y="306"/>
                              </a:lnTo>
                              <a:lnTo>
                                <a:pt x="922" y="302"/>
                              </a:lnTo>
                              <a:lnTo>
                                <a:pt x="928" y="294"/>
                              </a:lnTo>
                              <a:lnTo>
                                <a:pt x="936" y="288"/>
                              </a:lnTo>
                              <a:lnTo>
                                <a:pt x="942" y="286"/>
                              </a:lnTo>
                              <a:lnTo>
                                <a:pt x="948" y="284"/>
                              </a:lnTo>
                              <a:lnTo>
                                <a:pt x="948" y="284"/>
                              </a:lnTo>
                              <a:lnTo>
                                <a:pt x="954" y="284"/>
                              </a:lnTo>
                              <a:lnTo>
                                <a:pt x="956" y="282"/>
                              </a:lnTo>
                              <a:lnTo>
                                <a:pt x="962" y="278"/>
                              </a:lnTo>
                              <a:lnTo>
                                <a:pt x="962" y="278"/>
                              </a:lnTo>
                              <a:lnTo>
                                <a:pt x="964" y="276"/>
                              </a:lnTo>
                              <a:lnTo>
                                <a:pt x="964" y="276"/>
                              </a:lnTo>
                              <a:lnTo>
                                <a:pt x="972" y="270"/>
                              </a:lnTo>
                              <a:lnTo>
                                <a:pt x="976" y="266"/>
                              </a:lnTo>
                              <a:lnTo>
                                <a:pt x="978" y="262"/>
                              </a:lnTo>
                              <a:lnTo>
                                <a:pt x="980" y="256"/>
                              </a:lnTo>
                              <a:lnTo>
                                <a:pt x="980" y="256"/>
                              </a:lnTo>
                              <a:lnTo>
                                <a:pt x="984" y="250"/>
                              </a:lnTo>
                              <a:lnTo>
                                <a:pt x="988" y="244"/>
                              </a:lnTo>
                              <a:lnTo>
                                <a:pt x="992" y="242"/>
                              </a:lnTo>
                              <a:lnTo>
                                <a:pt x="996" y="240"/>
                              </a:lnTo>
                              <a:lnTo>
                                <a:pt x="1008" y="240"/>
                              </a:lnTo>
                              <a:lnTo>
                                <a:pt x="1008" y="240"/>
                              </a:lnTo>
                              <a:lnTo>
                                <a:pt x="1016" y="242"/>
                              </a:lnTo>
                              <a:lnTo>
                                <a:pt x="1022" y="240"/>
                              </a:lnTo>
                              <a:lnTo>
                                <a:pt x="1024" y="238"/>
                              </a:lnTo>
                              <a:lnTo>
                                <a:pt x="1020" y="234"/>
                              </a:lnTo>
                              <a:lnTo>
                                <a:pt x="1020" y="234"/>
                              </a:lnTo>
                              <a:lnTo>
                                <a:pt x="1018" y="232"/>
                              </a:lnTo>
                              <a:lnTo>
                                <a:pt x="1018" y="232"/>
                              </a:lnTo>
                              <a:lnTo>
                                <a:pt x="1024" y="230"/>
                              </a:lnTo>
                              <a:lnTo>
                                <a:pt x="1032" y="228"/>
                              </a:lnTo>
                              <a:lnTo>
                                <a:pt x="1032" y="226"/>
                              </a:lnTo>
                              <a:lnTo>
                                <a:pt x="1032" y="224"/>
                              </a:lnTo>
                              <a:lnTo>
                                <a:pt x="1032" y="224"/>
                              </a:lnTo>
                              <a:lnTo>
                                <a:pt x="1030" y="220"/>
                              </a:lnTo>
                              <a:lnTo>
                                <a:pt x="1032" y="218"/>
                              </a:lnTo>
                              <a:lnTo>
                                <a:pt x="1036" y="216"/>
                              </a:lnTo>
                              <a:lnTo>
                                <a:pt x="1036" y="212"/>
                              </a:lnTo>
                              <a:lnTo>
                                <a:pt x="1036" y="212"/>
                              </a:lnTo>
                              <a:lnTo>
                                <a:pt x="1036" y="212"/>
                              </a:lnTo>
                              <a:lnTo>
                                <a:pt x="1038" y="212"/>
                              </a:lnTo>
                              <a:lnTo>
                                <a:pt x="1044" y="218"/>
                              </a:lnTo>
                              <a:lnTo>
                                <a:pt x="1050" y="222"/>
                              </a:lnTo>
                              <a:lnTo>
                                <a:pt x="1052" y="220"/>
                              </a:lnTo>
                              <a:lnTo>
                                <a:pt x="1054" y="218"/>
                              </a:lnTo>
                              <a:lnTo>
                                <a:pt x="1054" y="218"/>
                              </a:lnTo>
                              <a:lnTo>
                                <a:pt x="1050" y="214"/>
                              </a:lnTo>
                              <a:lnTo>
                                <a:pt x="1046" y="208"/>
                              </a:lnTo>
                              <a:lnTo>
                                <a:pt x="1044" y="198"/>
                              </a:lnTo>
                              <a:lnTo>
                                <a:pt x="1044" y="198"/>
                              </a:lnTo>
                              <a:lnTo>
                                <a:pt x="1042" y="192"/>
                              </a:lnTo>
                              <a:lnTo>
                                <a:pt x="1038" y="186"/>
                              </a:lnTo>
                              <a:lnTo>
                                <a:pt x="1028" y="180"/>
                              </a:lnTo>
                              <a:lnTo>
                                <a:pt x="1022" y="174"/>
                              </a:lnTo>
                              <a:lnTo>
                                <a:pt x="1022" y="172"/>
                              </a:lnTo>
                              <a:lnTo>
                                <a:pt x="1026" y="170"/>
                              </a:lnTo>
                              <a:lnTo>
                                <a:pt x="1026" y="170"/>
                              </a:lnTo>
                              <a:lnTo>
                                <a:pt x="1034" y="162"/>
                              </a:lnTo>
                              <a:lnTo>
                                <a:pt x="1040" y="158"/>
                              </a:lnTo>
                              <a:lnTo>
                                <a:pt x="1042" y="154"/>
                              </a:lnTo>
                              <a:lnTo>
                                <a:pt x="1042" y="152"/>
                              </a:lnTo>
                              <a:lnTo>
                                <a:pt x="1042" y="146"/>
                              </a:lnTo>
                              <a:lnTo>
                                <a:pt x="1044" y="144"/>
                              </a:lnTo>
                              <a:lnTo>
                                <a:pt x="1046" y="142"/>
                              </a:lnTo>
                              <a:lnTo>
                                <a:pt x="1046" y="142"/>
                              </a:lnTo>
                              <a:lnTo>
                                <a:pt x="1052" y="136"/>
                              </a:lnTo>
                              <a:lnTo>
                                <a:pt x="1054" y="132"/>
                              </a:lnTo>
                              <a:lnTo>
                                <a:pt x="1052" y="128"/>
                              </a:lnTo>
                              <a:lnTo>
                                <a:pt x="1048" y="126"/>
                              </a:lnTo>
                              <a:lnTo>
                                <a:pt x="1042" y="120"/>
                              </a:lnTo>
                              <a:lnTo>
                                <a:pt x="1040" y="116"/>
                              </a:lnTo>
                              <a:lnTo>
                                <a:pt x="1042" y="112"/>
                              </a:lnTo>
                              <a:lnTo>
                                <a:pt x="1042" y="112"/>
                              </a:lnTo>
                              <a:lnTo>
                                <a:pt x="1046" y="106"/>
                              </a:lnTo>
                              <a:lnTo>
                                <a:pt x="1046" y="102"/>
                              </a:lnTo>
                              <a:lnTo>
                                <a:pt x="1044" y="96"/>
                              </a:lnTo>
                              <a:lnTo>
                                <a:pt x="1038" y="92"/>
                              </a:lnTo>
                              <a:lnTo>
                                <a:pt x="1034" y="90"/>
                              </a:lnTo>
                              <a:lnTo>
                                <a:pt x="1028" y="88"/>
                              </a:lnTo>
                              <a:lnTo>
                                <a:pt x="1020" y="88"/>
                              </a:lnTo>
                              <a:lnTo>
                                <a:pt x="1014" y="92"/>
                              </a:lnTo>
                              <a:lnTo>
                                <a:pt x="1014" y="92"/>
                              </a:lnTo>
                              <a:lnTo>
                                <a:pt x="1002" y="98"/>
                              </a:lnTo>
                              <a:lnTo>
                                <a:pt x="998" y="102"/>
                              </a:lnTo>
                              <a:lnTo>
                                <a:pt x="992" y="102"/>
                              </a:lnTo>
                              <a:lnTo>
                                <a:pt x="986" y="102"/>
                              </a:lnTo>
                              <a:lnTo>
                                <a:pt x="978" y="100"/>
                              </a:lnTo>
                              <a:lnTo>
                                <a:pt x="970" y="96"/>
                              </a:lnTo>
                              <a:lnTo>
                                <a:pt x="958" y="90"/>
                              </a:lnTo>
                              <a:lnTo>
                                <a:pt x="958" y="90"/>
                              </a:lnTo>
                              <a:lnTo>
                                <a:pt x="948" y="84"/>
                              </a:lnTo>
                              <a:lnTo>
                                <a:pt x="938" y="80"/>
                              </a:lnTo>
                              <a:lnTo>
                                <a:pt x="918" y="74"/>
                              </a:lnTo>
                              <a:lnTo>
                                <a:pt x="906" y="70"/>
                              </a:lnTo>
                              <a:lnTo>
                                <a:pt x="896" y="64"/>
                              </a:lnTo>
                              <a:lnTo>
                                <a:pt x="884" y="56"/>
                              </a:lnTo>
                              <a:lnTo>
                                <a:pt x="870" y="46"/>
                              </a:lnTo>
                              <a:lnTo>
                                <a:pt x="870" y="46"/>
                              </a:lnTo>
                              <a:lnTo>
                                <a:pt x="856" y="34"/>
                              </a:lnTo>
                              <a:lnTo>
                                <a:pt x="842" y="24"/>
                              </a:lnTo>
                              <a:lnTo>
                                <a:pt x="830" y="16"/>
                              </a:lnTo>
                              <a:lnTo>
                                <a:pt x="816" y="10"/>
                              </a:lnTo>
                              <a:lnTo>
                                <a:pt x="804" y="6"/>
                              </a:lnTo>
                              <a:lnTo>
                                <a:pt x="790" y="2"/>
                              </a:lnTo>
                              <a:lnTo>
                                <a:pt x="778" y="0"/>
                              </a:lnTo>
                              <a:lnTo>
                                <a:pt x="764" y="0"/>
                              </a:lnTo>
                              <a:lnTo>
                                <a:pt x="764" y="0"/>
                              </a:lnTo>
                              <a:lnTo>
                                <a:pt x="746" y="0"/>
                              </a:lnTo>
                              <a:lnTo>
                                <a:pt x="738" y="4"/>
                              </a:lnTo>
                              <a:lnTo>
                                <a:pt x="732" y="6"/>
                              </a:lnTo>
                              <a:lnTo>
                                <a:pt x="722" y="8"/>
                              </a:lnTo>
                              <a:lnTo>
                                <a:pt x="722" y="8"/>
                              </a:lnTo>
                              <a:lnTo>
                                <a:pt x="714" y="8"/>
                              </a:lnTo>
                              <a:lnTo>
                                <a:pt x="708" y="10"/>
                              </a:lnTo>
                              <a:lnTo>
                                <a:pt x="706" y="12"/>
                              </a:lnTo>
                              <a:lnTo>
                                <a:pt x="704" y="14"/>
                              </a:lnTo>
                              <a:lnTo>
                                <a:pt x="706" y="16"/>
                              </a:lnTo>
                              <a:lnTo>
                                <a:pt x="708" y="18"/>
                              </a:lnTo>
                              <a:lnTo>
                                <a:pt x="718" y="18"/>
                              </a:lnTo>
                              <a:lnTo>
                                <a:pt x="718" y="18"/>
                              </a:lnTo>
                              <a:lnTo>
                                <a:pt x="726" y="18"/>
                              </a:lnTo>
                              <a:lnTo>
                                <a:pt x="730" y="20"/>
                              </a:lnTo>
                              <a:lnTo>
                                <a:pt x="730" y="22"/>
                              </a:lnTo>
                              <a:lnTo>
                                <a:pt x="730" y="26"/>
                              </a:lnTo>
                              <a:lnTo>
                                <a:pt x="726" y="32"/>
                              </a:lnTo>
                              <a:lnTo>
                                <a:pt x="722" y="42"/>
                              </a:lnTo>
                              <a:lnTo>
                                <a:pt x="722" y="42"/>
                              </a:lnTo>
                              <a:lnTo>
                                <a:pt x="720" y="54"/>
                              </a:lnTo>
                              <a:lnTo>
                                <a:pt x="718" y="60"/>
                              </a:lnTo>
                              <a:lnTo>
                                <a:pt x="716" y="68"/>
                              </a:lnTo>
                              <a:lnTo>
                                <a:pt x="712" y="72"/>
                              </a:lnTo>
                              <a:lnTo>
                                <a:pt x="704" y="76"/>
                              </a:lnTo>
                              <a:lnTo>
                                <a:pt x="694" y="76"/>
                              </a:lnTo>
                              <a:lnTo>
                                <a:pt x="678" y="74"/>
                              </a:lnTo>
                              <a:lnTo>
                                <a:pt x="678" y="74"/>
                              </a:lnTo>
                              <a:lnTo>
                                <a:pt x="654" y="68"/>
                              </a:lnTo>
                              <a:lnTo>
                                <a:pt x="654" y="68"/>
                              </a:lnTo>
                              <a:lnTo>
                                <a:pt x="644" y="74"/>
                              </a:lnTo>
                              <a:lnTo>
                                <a:pt x="640" y="78"/>
                              </a:lnTo>
                              <a:lnTo>
                                <a:pt x="640" y="82"/>
                              </a:lnTo>
                              <a:lnTo>
                                <a:pt x="642" y="84"/>
                              </a:lnTo>
                              <a:lnTo>
                                <a:pt x="644" y="90"/>
                              </a:lnTo>
                              <a:lnTo>
                                <a:pt x="644" y="92"/>
                              </a:lnTo>
                              <a:lnTo>
                                <a:pt x="638" y="96"/>
                              </a:lnTo>
                              <a:lnTo>
                                <a:pt x="638" y="96"/>
                              </a:lnTo>
                              <a:lnTo>
                                <a:pt x="632" y="100"/>
                              </a:lnTo>
                              <a:lnTo>
                                <a:pt x="632" y="104"/>
                              </a:lnTo>
                              <a:lnTo>
                                <a:pt x="632" y="106"/>
                              </a:lnTo>
                              <a:lnTo>
                                <a:pt x="634" y="108"/>
                              </a:lnTo>
                              <a:lnTo>
                                <a:pt x="640" y="108"/>
                              </a:lnTo>
                              <a:lnTo>
                                <a:pt x="656" y="106"/>
                              </a:lnTo>
                              <a:lnTo>
                                <a:pt x="656" y="106"/>
                              </a:lnTo>
                              <a:lnTo>
                                <a:pt x="672" y="104"/>
                              </a:lnTo>
                              <a:lnTo>
                                <a:pt x="682" y="104"/>
                              </a:lnTo>
                              <a:lnTo>
                                <a:pt x="688" y="104"/>
                              </a:lnTo>
                              <a:lnTo>
                                <a:pt x="692" y="106"/>
                              </a:lnTo>
                              <a:lnTo>
                                <a:pt x="696" y="108"/>
                              </a:lnTo>
                              <a:lnTo>
                                <a:pt x="698" y="106"/>
                              </a:lnTo>
                              <a:lnTo>
                                <a:pt x="710" y="100"/>
                              </a:lnTo>
                              <a:lnTo>
                                <a:pt x="710" y="100"/>
                              </a:lnTo>
                              <a:lnTo>
                                <a:pt x="714" y="96"/>
                              </a:lnTo>
                              <a:lnTo>
                                <a:pt x="720" y="92"/>
                              </a:lnTo>
                              <a:lnTo>
                                <a:pt x="724" y="92"/>
                              </a:lnTo>
                              <a:lnTo>
                                <a:pt x="728" y="94"/>
                              </a:lnTo>
                              <a:lnTo>
                                <a:pt x="742" y="98"/>
                              </a:lnTo>
                              <a:lnTo>
                                <a:pt x="760" y="110"/>
                              </a:lnTo>
                              <a:lnTo>
                                <a:pt x="760" y="110"/>
                              </a:lnTo>
                              <a:lnTo>
                                <a:pt x="764" y="112"/>
                              </a:lnTo>
                              <a:lnTo>
                                <a:pt x="768" y="116"/>
                              </a:lnTo>
                              <a:lnTo>
                                <a:pt x="770" y="120"/>
                              </a:lnTo>
                              <a:lnTo>
                                <a:pt x="770" y="124"/>
                              </a:lnTo>
                              <a:lnTo>
                                <a:pt x="768" y="126"/>
                              </a:lnTo>
                              <a:lnTo>
                                <a:pt x="766" y="128"/>
                              </a:lnTo>
                              <a:lnTo>
                                <a:pt x="762" y="130"/>
                              </a:lnTo>
                              <a:lnTo>
                                <a:pt x="758" y="130"/>
                              </a:lnTo>
                              <a:lnTo>
                                <a:pt x="758" y="130"/>
                              </a:lnTo>
                              <a:lnTo>
                                <a:pt x="752" y="130"/>
                              </a:lnTo>
                              <a:lnTo>
                                <a:pt x="750" y="132"/>
                              </a:lnTo>
                              <a:lnTo>
                                <a:pt x="748" y="134"/>
                              </a:lnTo>
                              <a:lnTo>
                                <a:pt x="742" y="134"/>
                              </a:lnTo>
                              <a:lnTo>
                                <a:pt x="742" y="134"/>
                              </a:lnTo>
                              <a:lnTo>
                                <a:pt x="734" y="134"/>
                              </a:lnTo>
                              <a:lnTo>
                                <a:pt x="730" y="136"/>
                              </a:lnTo>
                              <a:lnTo>
                                <a:pt x="724" y="144"/>
                              </a:lnTo>
                              <a:lnTo>
                                <a:pt x="724" y="144"/>
                              </a:lnTo>
                              <a:lnTo>
                                <a:pt x="718" y="150"/>
                              </a:lnTo>
                              <a:lnTo>
                                <a:pt x="714" y="152"/>
                              </a:lnTo>
                              <a:lnTo>
                                <a:pt x="708" y="154"/>
                              </a:lnTo>
                              <a:lnTo>
                                <a:pt x="702" y="154"/>
                              </a:lnTo>
                              <a:lnTo>
                                <a:pt x="700" y="156"/>
                              </a:lnTo>
                              <a:lnTo>
                                <a:pt x="698" y="160"/>
                              </a:lnTo>
                              <a:lnTo>
                                <a:pt x="698" y="160"/>
                              </a:lnTo>
                              <a:lnTo>
                                <a:pt x="696" y="166"/>
                              </a:lnTo>
                              <a:lnTo>
                                <a:pt x="692" y="168"/>
                              </a:lnTo>
                              <a:lnTo>
                                <a:pt x="688" y="168"/>
                              </a:lnTo>
                              <a:lnTo>
                                <a:pt x="684" y="168"/>
                              </a:lnTo>
                              <a:lnTo>
                                <a:pt x="678" y="164"/>
                              </a:lnTo>
                              <a:lnTo>
                                <a:pt x="674" y="164"/>
                              </a:lnTo>
                              <a:lnTo>
                                <a:pt x="672" y="168"/>
                              </a:lnTo>
                              <a:lnTo>
                                <a:pt x="672" y="168"/>
                              </a:lnTo>
                              <a:lnTo>
                                <a:pt x="672" y="172"/>
                              </a:lnTo>
                              <a:lnTo>
                                <a:pt x="674" y="176"/>
                              </a:lnTo>
                              <a:lnTo>
                                <a:pt x="678" y="178"/>
                              </a:lnTo>
                              <a:lnTo>
                                <a:pt x="686" y="180"/>
                              </a:lnTo>
                              <a:lnTo>
                                <a:pt x="686" y="180"/>
                              </a:lnTo>
                              <a:lnTo>
                                <a:pt x="690" y="182"/>
                              </a:lnTo>
                              <a:lnTo>
                                <a:pt x="694" y="184"/>
                              </a:lnTo>
                              <a:lnTo>
                                <a:pt x="694" y="190"/>
                              </a:lnTo>
                              <a:lnTo>
                                <a:pt x="694" y="194"/>
                              </a:lnTo>
                              <a:lnTo>
                                <a:pt x="690" y="198"/>
                              </a:lnTo>
                              <a:lnTo>
                                <a:pt x="688" y="202"/>
                              </a:lnTo>
                              <a:lnTo>
                                <a:pt x="684" y="206"/>
                              </a:lnTo>
                              <a:lnTo>
                                <a:pt x="678" y="206"/>
                              </a:lnTo>
                              <a:lnTo>
                                <a:pt x="678" y="206"/>
                              </a:lnTo>
                              <a:lnTo>
                                <a:pt x="676" y="206"/>
                              </a:lnTo>
                              <a:lnTo>
                                <a:pt x="674" y="208"/>
                              </a:lnTo>
                              <a:lnTo>
                                <a:pt x="670" y="214"/>
                              </a:lnTo>
                              <a:lnTo>
                                <a:pt x="668" y="216"/>
                              </a:lnTo>
                              <a:lnTo>
                                <a:pt x="664" y="218"/>
                              </a:lnTo>
                              <a:lnTo>
                                <a:pt x="658" y="220"/>
                              </a:lnTo>
                              <a:lnTo>
                                <a:pt x="650" y="220"/>
                              </a:lnTo>
                              <a:lnTo>
                                <a:pt x="650" y="220"/>
                              </a:lnTo>
                              <a:lnTo>
                                <a:pt x="632" y="220"/>
                              </a:lnTo>
                              <a:lnTo>
                                <a:pt x="620" y="222"/>
                              </a:lnTo>
                              <a:lnTo>
                                <a:pt x="610" y="224"/>
                              </a:lnTo>
                              <a:lnTo>
                                <a:pt x="602" y="228"/>
                              </a:lnTo>
                              <a:lnTo>
                                <a:pt x="594" y="230"/>
                              </a:lnTo>
                              <a:lnTo>
                                <a:pt x="584" y="232"/>
                              </a:lnTo>
                              <a:lnTo>
                                <a:pt x="572" y="232"/>
                              </a:lnTo>
                              <a:lnTo>
                                <a:pt x="554" y="230"/>
                              </a:lnTo>
                              <a:lnTo>
                                <a:pt x="554" y="230"/>
                              </a:lnTo>
                              <a:lnTo>
                                <a:pt x="526" y="222"/>
                              </a:lnTo>
                              <a:lnTo>
                                <a:pt x="520" y="218"/>
                              </a:lnTo>
                              <a:lnTo>
                                <a:pt x="516" y="216"/>
                              </a:lnTo>
                              <a:lnTo>
                                <a:pt x="512" y="214"/>
                              </a:lnTo>
                              <a:lnTo>
                                <a:pt x="502" y="212"/>
                              </a:lnTo>
                              <a:lnTo>
                                <a:pt x="502" y="212"/>
                              </a:lnTo>
                              <a:lnTo>
                                <a:pt x="492" y="210"/>
                              </a:lnTo>
                              <a:lnTo>
                                <a:pt x="484" y="208"/>
                              </a:lnTo>
                              <a:lnTo>
                                <a:pt x="476" y="208"/>
                              </a:lnTo>
                              <a:lnTo>
                                <a:pt x="468" y="210"/>
                              </a:lnTo>
                              <a:lnTo>
                                <a:pt x="468" y="210"/>
                              </a:lnTo>
                              <a:lnTo>
                                <a:pt x="458" y="212"/>
                              </a:lnTo>
                              <a:lnTo>
                                <a:pt x="448" y="210"/>
                              </a:lnTo>
                              <a:lnTo>
                                <a:pt x="440" y="210"/>
                              </a:lnTo>
                              <a:lnTo>
                                <a:pt x="430" y="210"/>
                              </a:lnTo>
                              <a:lnTo>
                                <a:pt x="430" y="210"/>
                              </a:lnTo>
                              <a:lnTo>
                                <a:pt x="424" y="210"/>
                              </a:lnTo>
                              <a:lnTo>
                                <a:pt x="418" y="210"/>
                              </a:lnTo>
                              <a:lnTo>
                                <a:pt x="412" y="210"/>
                              </a:lnTo>
                              <a:lnTo>
                                <a:pt x="404" y="216"/>
                              </a:lnTo>
                              <a:lnTo>
                                <a:pt x="404" y="216"/>
                              </a:lnTo>
                              <a:lnTo>
                                <a:pt x="400" y="218"/>
                              </a:lnTo>
                              <a:lnTo>
                                <a:pt x="398" y="218"/>
                              </a:lnTo>
                              <a:lnTo>
                                <a:pt x="398" y="212"/>
                              </a:lnTo>
                              <a:lnTo>
                                <a:pt x="398" y="204"/>
                              </a:lnTo>
                              <a:lnTo>
                                <a:pt x="396" y="200"/>
                              </a:lnTo>
                              <a:lnTo>
                                <a:pt x="392" y="196"/>
                              </a:lnTo>
                              <a:lnTo>
                                <a:pt x="392" y="196"/>
                              </a:lnTo>
                              <a:lnTo>
                                <a:pt x="388" y="192"/>
                              </a:lnTo>
                              <a:lnTo>
                                <a:pt x="386" y="188"/>
                              </a:lnTo>
                              <a:lnTo>
                                <a:pt x="386" y="184"/>
                              </a:lnTo>
                              <a:lnTo>
                                <a:pt x="384" y="184"/>
                              </a:lnTo>
                              <a:lnTo>
                                <a:pt x="384" y="184"/>
                              </a:lnTo>
                              <a:lnTo>
                                <a:pt x="382" y="184"/>
                              </a:lnTo>
                              <a:lnTo>
                                <a:pt x="380" y="182"/>
                              </a:lnTo>
                              <a:lnTo>
                                <a:pt x="380" y="178"/>
                              </a:lnTo>
                              <a:lnTo>
                                <a:pt x="380" y="176"/>
                              </a:lnTo>
                              <a:lnTo>
                                <a:pt x="376" y="178"/>
                              </a:lnTo>
                              <a:lnTo>
                                <a:pt x="376" y="178"/>
                              </a:lnTo>
                              <a:lnTo>
                                <a:pt x="374" y="180"/>
                              </a:lnTo>
                              <a:lnTo>
                                <a:pt x="368" y="180"/>
                              </a:lnTo>
                              <a:lnTo>
                                <a:pt x="354" y="178"/>
                              </a:lnTo>
                              <a:lnTo>
                                <a:pt x="334" y="170"/>
                              </a:lnTo>
                              <a:lnTo>
                                <a:pt x="334" y="170"/>
                              </a:lnTo>
                              <a:lnTo>
                                <a:pt x="324" y="166"/>
                              </a:lnTo>
                              <a:lnTo>
                                <a:pt x="314" y="166"/>
                              </a:lnTo>
                              <a:lnTo>
                                <a:pt x="284" y="170"/>
                              </a:lnTo>
                              <a:lnTo>
                                <a:pt x="284" y="170"/>
                              </a:lnTo>
                              <a:lnTo>
                                <a:pt x="274" y="170"/>
                              </a:lnTo>
                              <a:lnTo>
                                <a:pt x="272" y="170"/>
                              </a:lnTo>
                              <a:lnTo>
                                <a:pt x="274" y="168"/>
                              </a:lnTo>
                              <a:lnTo>
                                <a:pt x="278" y="164"/>
                              </a:lnTo>
                              <a:lnTo>
                                <a:pt x="278" y="160"/>
                              </a:lnTo>
                              <a:lnTo>
                                <a:pt x="276" y="156"/>
                              </a:lnTo>
                              <a:lnTo>
                                <a:pt x="276" y="156"/>
                              </a:lnTo>
                              <a:lnTo>
                                <a:pt x="272" y="152"/>
                              </a:lnTo>
                              <a:lnTo>
                                <a:pt x="274" y="148"/>
                              </a:lnTo>
                              <a:lnTo>
                                <a:pt x="274" y="146"/>
                              </a:lnTo>
                              <a:lnTo>
                                <a:pt x="270" y="142"/>
                              </a:lnTo>
                              <a:lnTo>
                                <a:pt x="270" y="142"/>
                              </a:lnTo>
                              <a:lnTo>
                                <a:pt x="264" y="138"/>
                              </a:lnTo>
                              <a:lnTo>
                                <a:pt x="260" y="134"/>
                              </a:lnTo>
                              <a:lnTo>
                                <a:pt x="256" y="126"/>
                              </a:lnTo>
                              <a:lnTo>
                                <a:pt x="254" y="118"/>
                              </a:lnTo>
                              <a:lnTo>
                                <a:pt x="250" y="116"/>
                              </a:lnTo>
                              <a:lnTo>
                                <a:pt x="246" y="114"/>
                              </a:lnTo>
                              <a:lnTo>
                                <a:pt x="246" y="114"/>
                              </a:lnTo>
                              <a:lnTo>
                                <a:pt x="238" y="110"/>
                              </a:lnTo>
                              <a:lnTo>
                                <a:pt x="236" y="108"/>
                              </a:lnTo>
                              <a:lnTo>
                                <a:pt x="236" y="108"/>
                              </a:lnTo>
                              <a:lnTo>
                                <a:pt x="232" y="106"/>
                              </a:lnTo>
                              <a:lnTo>
                                <a:pt x="230" y="104"/>
                              </a:lnTo>
                              <a:lnTo>
                                <a:pt x="226" y="108"/>
                              </a:lnTo>
                              <a:lnTo>
                                <a:pt x="224" y="110"/>
                              </a:lnTo>
                              <a:lnTo>
                                <a:pt x="220" y="110"/>
                              </a:lnTo>
                              <a:lnTo>
                                <a:pt x="218" y="110"/>
                              </a:lnTo>
                              <a:lnTo>
                                <a:pt x="214" y="106"/>
                              </a:lnTo>
                              <a:lnTo>
                                <a:pt x="214" y="106"/>
                              </a:lnTo>
                              <a:lnTo>
                                <a:pt x="208" y="102"/>
                              </a:lnTo>
                              <a:lnTo>
                                <a:pt x="204" y="100"/>
                              </a:lnTo>
                              <a:lnTo>
                                <a:pt x="196" y="98"/>
                              </a:lnTo>
                              <a:lnTo>
                                <a:pt x="190" y="96"/>
                              </a:lnTo>
                              <a:lnTo>
                                <a:pt x="186" y="94"/>
                              </a:lnTo>
                              <a:lnTo>
                                <a:pt x="184" y="90"/>
                              </a:lnTo>
                              <a:lnTo>
                                <a:pt x="182" y="88"/>
                              </a:lnTo>
                              <a:lnTo>
                                <a:pt x="182" y="88"/>
                              </a:lnTo>
                              <a:close/>
                            </a:path>
                          </a:pathLst>
                        </a:custGeom>
                        <a:solidFill>
                          <a:schemeClr val="tx2"/>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8" name="Indonesia"/>
                        <p:cNvSpPr>
                          <a:spLocks/>
                        </p:cNvSpPr>
                        <p:nvPr/>
                      </p:nvSpPr>
                      <p:spPr bwMode="auto">
                        <a:xfrm>
                          <a:off x="8825143" y="3464078"/>
                          <a:ext cx="1476294" cy="625176"/>
                        </a:xfrm>
                        <a:custGeom>
                          <a:avLst/>
                          <a:gdLst/>
                          <a:ahLst/>
                          <a:cxnLst/>
                          <a:rect l="l" t="t" r="r" b="b"/>
                          <a:pathLst>
                            <a:path w="1285875" h="545042">
                              <a:moveTo>
                                <a:pt x="767292" y="529167"/>
                              </a:moveTo>
                              <a:lnTo>
                                <a:pt x="769938" y="529167"/>
                              </a:lnTo>
                              <a:lnTo>
                                <a:pt x="769938" y="531813"/>
                              </a:lnTo>
                              <a:lnTo>
                                <a:pt x="769938" y="534459"/>
                              </a:lnTo>
                              <a:lnTo>
                                <a:pt x="769938" y="537105"/>
                              </a:lnTo>
                              <a:lnTo>
                                <a:pt x="767292" y="537105"/>
                              </a:lnTo>
                              <a:lnTo>
                                <a:pt x="764646" y="539750"/>
                              </a:lnTo>
                              <a:lnTo>
                                <a:pt x="762000" y="542396"/>
                              </a:lnTo>
                              <a:lnTo>
                                <a:pt x="759354" y="542396"/>
                              </a:lnTo>
                              <a:lnTo>
                                <a:pt x="756708" y="542396"/>
                              </a:lnTo>
                              <a:lnTo>
                                <a:pt x="754063" y="545042"/>
                              </a:lnTo>
                              <a:lnTo>
                                <a:pt x="751417" y="542396"/>
                              </a:lnTo>
                              <a:lnTo>
                                <a:pt x="751417" y="539750"/>
                              </a:lnTo>
                              <a:lnTo>
                                <a:pt x="756708" y="537105"/>
                              </a:lnTo>
                              <a:lnTo>
                                <a:pt x="759354" y="534459"/>
                              </a:lnTo>
                              <a:lnTo>
                                <a:pt x="762000" y="534459"/>
                              </a:lnTo>
                              <a:lnTo>
                                <a:pt x="759354" y="531813"/>
                              </a:lnTo>
                              <a:lnTo>
                                <a:pt x="762000" y="531813"/>
                              </a:lnTo>
                              <a:close/>
                              <a:moveTo>
                                <a:pt x="669396" y="497417"/>
                              </a:moveTo>
                              <a:lnTo>
                                <a:pt x="677333" y="497417"/>
                              </a:lnTo>
                              <a:lnTo>
                                <a:pt x="685271" y="500063"/>
                              </a:lnTo>
                              <a:lnTo>
                                <a:pt x="687917" y="502709"/>
                              </a:lnTo>
                              <a:lnTo>
                                <a:pt x="690563" y="502709"/>
                              </a:lnTo>
                              <a:lnTo>
                                <a:pt x="695854" y="500063"/>
                              </a:lnTo>
                              <a:lnTo>
                                <a:pt x="695854" y="502709"/>
                              </a:lnTo>
                              <a:lnTo>
                                <a:pt x="698500" y="508000"/>
                              </a:lnTo>
                              <a:lnTo>
                                <a:pt x="701146" y="510646"/>
                              </a:lnTo>
                              <a:lnTo>
                                <a:pt x="701146" y="513292"/>
                              </a:lnTo>
                              <a:lnTo>
                                <a:pt x="703792" y="513292"/>
                              </a:lnTo>
                              <a:lnTo>
                                <a:pt x="706438" y="515938"/>
                              </a:lnTo>
                              <a:lnTo>
                                <a:pt x="706438" y="518584"/>
                              </a:lnTo>
                              <a:lnTo>
                                <a:pt x="706438" y="523875"/>
                              </a:lnTo>
                              <a:lnTo>
                                <a:pt x="701146" y="526521"/>
                              </a:lnTo>
                              <a:lnTo>
                                <a:pt x="698500" y="526521"/>
                              </a:lnTo>
                              <a:lnTo>
                                <a:pt x="693208" y="529167"/>
                              </a:lnTo>
                              <a:lnTo>
                                <a:pt x="687917" y="526521"/>
                              </a:lnTo>
                              <a:lnTo>
                                <a:pt x="685271" y="523875"/>
                              </a:lnTo>
                              <a:lnTo>
                                <a:pt x="685271" y="521230"/>
                              </a:lnTo>
                              <a:lnTo>
                                <a:pt x="679979" y="518584"/>
                              </a:lnTo>
                              <a:lnTo>
                                <a:pt x="672042" y="515938"/>
                              </a:lnTo>
                              <a:lnTo>
                                <a:pt x="666750" y="513292"/>
                              </a:lnTo>
                              <a:lnTo>
                                <a:pt x="661458" y="513292"/>
                              </a:lnTo>
                              <a:lnTo>
                                <a:pt x="653521" y="508000"/>
                              </a:lnTo>
                              <a:lnTo>
                                <a:pt x="650875" y="505355"/>
                              </a:lnTo>
                              <a:lnTo>
                                <a:pt x="653521" y="502709"/>
                              </a:lnTo>
                              <a:lnTo>
                                <a:pt x="658812" y="500063"/>
                              </a:lnTo>
                              <a:lnTo>
                                <a:pt x="664104" y="500063"/>
                              </a:lnTo>
                              <a:close/>
                              <a:moveTo>
                                <a:pt x="881063" y="463021"/>
                              </a:moveTo>
                              <a:lnTo>
                                <a:pt x="883709" y="465667"/>
                              </a:lnTo>
                              <a:lnTo>
                                <a:pt x="886354" y="465667"/>
                              </a:lnTo>
                              <a:lnTo>
                                <a:pt x="889000" y="465667"/>
                              </a:lnTo>
                              <a:lnTo>
                                <a:pt x="886354" y="468313"/>
                              </a:lnTo>
                              <a:lnTo>
                                <a:pt x="881063" y="473604"/>
                              </a:lnTo>
                              <a:lnTo>
                                <a:pt x="875771" y="478896"/>
                              </a:lnTo>
                              <a:lnTo>
                                <a:pt x="865188" y="478896"/>
                              </a:lnTo>
                              <a:lnTo>
                                <a:pt x="859896" y="481542"/>
                              </a:lnTo>
                              <a:lnTo>
                                <a:pt x="857250" y="484188"/>
                              </a:lnTo>
                              <a:lnTo>
                                <a:pt x="854604" y="484188"/>
                              </a:lnTo>
                              <a:lnTo>
                                <a:pt x="851959" y="484188"/>
                              </a:lnTo>
                              <a:lnTo>
                                <a:pt x="849313" y="484188"/>
                              </a:lnTo>
                              <a:lnTo>
                                <a:pt x="846667" y="486834"/>
                              </a:lnTo>
                              <a:lnTo>
                                <a:pt x="844021" y="489479"/>
                              </a:lnTo>
                              <a:lnTo>
                                <a:pt x="838729" y="492125"/>
                              </a:lnTo>
                              <a:lnTo>
                                <a:pt x="836084" y="494771"/>
                              </a:lnTo>
                              <a:lnTo>
                                <a:pt x="833438" y="494771"/>
                              </a:lnTo>
                              <a:lnTo>
                                <a:pt x="833438" y="497417"/>
                              </a:lnTo>
                              <a:lnTo>
                                <a:pt x="830792" y="502709"/>
                              </a:lnTo>
                              <a:lnTo>
                                <a:pt x="828146" y="505354"/>
                              </a:lnTo>
                              <a:lnTo>
                                <a:pt x="825500" y="508000"/>
                              </a:lnTo>
                              <a:lnTo>
                                <a:pt x="822854" y="508000"/>
                              </a:lnTo>
                              <a:lnTo>
                                <a:pt x="820209" y="510646"/>
                              </a:lnTo>
                              <a:lnTo>
                                <a:pt x="817563" y="513292"/>
                              </a:lnTo>
                              <a:lnTo>
                                <a:pt x="814917" y="515938"/>
                              </a:lnTo>
                              <a:lnTo>
                                <a:pt x="812271" y="518584"/>
                              </a:lnTo>
                              <a:lnTo>
                                <a:pt x="806979" y="518584"/>
                              </a:lnTo>
                              <a:lnTo>
                                <a:pt x="804334" y="518584"/>
                              </a:lnTo>
                              <a:lnTo>
                                <a:pt x="804334" y="521229"/>
                              </a:lnTo>
                              <a:lnTo>
                                <a:pt x="801688" y="521229"/>
                              </a:lnTo>
                              <a:lnTo>
                                <a:pt x="796396" y="523875"/>
                              </a:lnTo>
                              <a:lnTo>
                                <a:pt x="780521" y="526521"/>
                              </a:lnTo>
                              <a:lnTo>
                                <a:pt x="777875" y="526521"/>
                              </a:lnTo>
                              <a:lnTo>
                                <a:pt x="777875" y="523875"/>
                              </a:lnTo>
                              <a:lnTo>
                                <a:pt x="783167" y="518584"/>
                              </a:lnTo>
                              <a:lnTo>
                                <a:pt x="785813" y="518584"/>
                              </a:lnTo>
                              <a:lnTo>
                                <a:pt x="783167" y="515938"/>
                              </a:lnTo>
                              <a:lnTo>
                                <a:pt x="780521" y="513292"/>
                              </a:lnTo>
                              <a:lnTo>
                                <a:pt x="783167" y="505354"/>
                              </a:lnTo>
                              <a:lnTo>
                                <a:pt x="785813" y="502709"/>
                              </a:lnTo>
                              <a:lnTo>
                                <a:pt x="788459" y="500063"/>
                              </a:lnTo>
                              <a:lnTo>
                                <a:pt x="793750" y="497417"/>
                              </a:lnTo>
                              <a:lnTo>
                                <a:pt x="799042" y="497417"/>
                              </a:lnTo>
                              <a:lnTo>
                                <a:pt x="804334" y="494771"/>
                              </a:lnTo>
                              <a:lnTo>
                                <a:pt x="806979" y="492125"/>
                              </a:lnTo>
                              <a:lnTo>
                                <a:pt x="809625" y="489479"/>
                              </a:lnTo>
                              <a:lnTo>
                                <a:pt x="817563" y="486834"/>
                              </a:lnTo>
                              <a:lnTo>
                                <a:pt x="820209" y="484188"/>
                              </a:lnTo>
                              <a:lnTo>
                                <a:pt x="825500" y="478896"/>
                              </a:lnTo>
                              <a:lnTo>
                                <a:pt x="833438" y="476250"/>
                              </a:lnTo>
                              <a:lnTo>
                                <a:pt x="838729" y="470959"/>
                              </a:lnTo>
                              <a:lnTo>
                                <a:pt x="844021" y="468313"/>
                              </a:lnTo>
                              <a:lnTo>
                                <a:pt x="854604" y="468313"/>
                              </a:lnTo>
                              <a:lnTo>
                                <a:pt x="859896" y="468313"/>
                              </a:lnTo>
                              <a:lnTo>
                                <a:pt x="865188" y="465667"/>
                              </a:lnTo>
                              <a:lnTo>
                                <a:pt x="870479" y="465667"/>
                              </a:lnTo>
                              <a:close/>
                              <a:moveTo>
                                <a:pt x="584729" y="460375"/>
                              </a:moveTo>
                              <a:lnTo>
                                <a:pt x="590020" y="460375"/>
                              </a:lnTo>
                              <a:lnTo>
                                <a:pt x="592666" y="463021"/>
                              </a:lnTo>
                              <a:lnTo>
                                <a:pt x="597958" y="465667"/>
                              </a:lnTo>
                              <a:lnTo>
                                <a:pt x="595312" y="468313"/>
                              </a:lnTo>
                              <a:lnTo>
                                <a:pt x="592666" y="470959"/>
                              </a:lnTo>
                              <a:lnTo>
                                <a:pt x="592666" y="476250"/>
                              </a:lnTo>
                              <a:lnTo>
                                <a:pt x="592666" y="478896"/>
                              </a:lnTo>
                              <a:lnTo>
                                <a:pt x="590020" y="481542"/>
                              </a:lnTo>
                              <a:lnTo>
                                <a:pt x="587375" y="481542"/>
                              </a:lnTo>
                              <a:lnTo>
                                <a:pt x="582083" y="481542"/>
                              </a:lnTo>
                              <a:lnTo>
                                <a:pt x="576791" y="478896"/>
                              </a:lnTo>
                              <a:lnTo>
                                <a:pt x="571500" y="478896"/>
                              </a:lnTo>
                              <a:lnTo>
                                <a:pt x="571500" y="476250"/>
                              </a:lnTo>
                              <a:lnTo>
                                <a:pt x="574146" y="476250"/>
                              </a:lnTo>
                              <a:lnTo>
                                <a:pt x="576791" y="476250"/>
                              </a:lnTo>
                              <a:lnTo>
                                <a:pt x="579437" y="473605"/>
                              </a:lnTo>
                              <a:lnTo>
                                <a:pt x="579437" y="470959"/>
                              </a:lnTo>
                              <a:lnTo>
                                <a:pt x="579437" y="465667"/>
                              </a:lnTo>
                              <a:lnTo>
                                <a:pt x="579437" y="463021"/>
                              </a:lnTo>
                              <a:close/>
                              <a:moveTo>
                                <a:pt x="785813" y="457730"/>
                              </a:moveTo>
                              <a:lnTo>
                                <a:pt x="788459" y="457730"/>
                              </a:lnTo>
                              <a:lnTo>
                                <a:pt x="791104" y="457730"/>
                              </a:lnTo>
                              <a:lnTo>
                                <a:pt x="793750" y="457730"/>
                              </a:lnTo>
                              <a:lnTo>
                                <a:pt x="791104" y="460376"/>
                              </a:lnTo>
                              <a:lnTo>
                                <a:pt x="788459" y="463022"/>
                              </a:lnTo>
                              <a:lnTo>
                                <a:pt x="783167" y="463022"/>
                              </a:lnTo>
                              <a:lnTo>
                                <a:pt x="783167" y="460376"/>
                              </a:lnTo>
                              <a:close/>
                              <a:moveTo>
                                <a:pt x="822854" y="455084"/>
                              </a:moveTo>
                              <a:lnTo>
                                <a:pt x="825500" y="455084"/>
                              </a:lnTo>
                              <a:lnTo>
                                <a:pt x="825500" y="457730"/>
                              </a:lnTo>
                              <a:lnTo>
                                <a:pt x="828146" y="457730"/>
                              </a:lnTo>
                              <a:lnTo>
                                <a:pt x="833437" y="455084"/>
                              </a:lnTo>
                              <a:lnTo>
                                <a:pt x="836083" y="455084"/>
                              </a:lnTo>
                              <a:lnTo>
                                <a:pt x="836083" y="460375"/>
                              </a:lnTo>
                              <a:lnTo>
                                <a:pt x="836083" y="463021"/>
                              </a:lnTo>
                              <a:lnTo>
                                <a:pt x="828146" y="465667"/>
                              </a:lnTo>
                              <a:lnTo>
                                <a:pt x="820208" y="465667"/>
                              </a:lnTo>
                              <a:lnTo>
                                <a:pt x="817562" y="465667"/>
                              </a:lnTo>
                              <a:lnTo>
                                <a:pt x="820208" y="463021"/>
                              </a:lnTo>
                              <a:lnTo>
                                <a:pt x="822854" y="460375"/>
                              </a:lnTo>
                              <a:lnTo>
                                <a:pt x="820208" y="457730"/>
                              </a:lnTo>
                              <a:close/>
                              <a:moveTo>
                                <a:pt x="814916" y="455084"/>
                              </a:moveTo>
                              <a:lnTo>
                                <a:pt x="817562" y="457730"/>
                              </a:lnTo>
                              <a:lnTo>
                                <a:pt x="817562" y="460375"/>
                              </a:lnTo>
                              <a:lnTo>
                                <a:pt x="814916" y="465667"/>
                              </a:lnTo>
                              <a:lnTo>
                                <a:pt x="812271" y="468313"/>
                              </a:lnTo>
                              <a:lnTo>
                                <a:pt x="809625" y="468313"/>
                              </a:lnTo>
                              <a:lnTo>
                                <a:pt x="806979" y="468313"/>
                              </a:lnTo>
                              <a:lnTo>
                                <a:pt x="806979" y="463022"/>
                              </a:lnTo>
                              <a:lnTo>
                                <a:pt x="809625" y="460375"/>
                              </a:lnTo>
                              <a:lnTo>
                                <a:pt x="812271" y="460375"/>
                              </a:lnTo>
                              <a:lnTo>
                                <a:pt x="812271" y="457730"/>
                              </a:lnTo>
                              <a:close/>
                              <a:moveTo>
                                <a:pt x="801688" y="455084"/>
                              </a:moveTo>
                              <a:lnTo>
                                <a:pt x="804333" y="455084"/>
                              </a:lnTo>
                              <a:lnTo>
                                <a:pt x="806979" y="457730"/>
                              </a:lnTo>
                              <a:lnTo>
                                <a:pt x="806979" y="460376"/>
                              </a:lnTo>
                              <a:lnTo>
                                <a:pt x="804333" y="463022"/>
                              </a:lnTo>
                              <a:lnTo>
                                <a:pt x="801688" y="465667"/>
                              </a:lnTo>
                              <a:lnTo>
                                <a:pt x="801688" y="468313"/>
                              </a:lnTo>
                              <a:lnTo>
                                <a:pt x="801688" y="470959"/>
                              </a:lnTo>
                              <a:lnTo>
                                <a:pt x="799042" y="470959"/>
                              </a:lnTo>
                              <a:lnTo>
                                <a:pt x="796396" y="470959"/>
                              </a:lnTo>
                              <a:lnTo>
                                <a:pt x="791104" y="470959"/>
                              </a:lnTo>
                              <a:lnTo>
                                <a:pt x="788458" y="470959"/>
                              </a:lnTo>
                              <a:lnTo>
                                <a:pt x="791104" y="468313"/>
                              </a:lnTo>
                              <a:lnTo>
                                <a:pt x="793750" y="463022"/>
                              </a:lnTo>
                              <a:lnTo>
                                <a:pt x="796396" y="460376"/>
                              </a:lnTo>
                              <a:lnTo>
                                <a:pt x="796396" y="457730"/>
                              </a:lnTo>
                              <a:close/>
                              <a:moveTo>
                                <a:pt x="642937" y="455084"/>
                              </a:moveTo>
                              <a:lnTo>
                                <a:pt x="645583" y="457730"/>
                              </a:lnTo>
                              <a:lnTo>
                                <a:pt x="648229" y="457730"/>
                              </a:lnTo>
                              <a:lnTo>
                                <a:pt x="645583" y="463022"/>
                              </a:lnTo>
                              <a:lnTo>
                                <a:pt x="648229" y="463022"/>
                              </a:lnTo>
                              <a:lnTo>
                                <a:pt x="650875" y="463022"/>
                              </a:lnTo>
                              <a:lnTo>
                                <a:pt x="653520" y="463022"/>
                              </a:lnTo>
                              <a:lnTo>
                                <a:pt x="656166" y="463022"/>
                              </a:lnTo>
                              <a:lnTo>
                                <a:pt x="658812" y="463022"/>
                              </a:lnTo>
                              <a:lnTo>
                                <a:pt x="661458" y="463022"/>
                              </a:lnTo>
                              <a:lnTo>
                                <a:pt x="664104" y="465667"/>
                              </a:lnTo>
                              <a:lnTo>
                                <a:pt x="661458" y="468313"/>
                              </a:lnTo>
                              <a:lnTo>
                                <a:pt x="661458" y="470959"/>
                              </a:lnTo>
                              <a:lnTo>
                                <a:pt x="664104" y="470959"/>
                              </a:lnTo>
                              <a:lnTo>
                                <a:pt x="664104" y="473605"/>
                              </a:lnTo>
                              <a:lnTo>
                                <a:pt x="661458" y="473605"/>
                              </a:lnTo>
                              <a:lnTo>
                                <a:pt x="658812" y="473605"/>
                              </a:lnTo>
                              <a:lnTo>
                                <a:pt x="653520" y="473605"/>
                              </a:lnTo>
                              <a:lnTo>
                                <a:pt x="648229" y="476251"/>
                              </a:lnTo>
                              <a:lnTo>
                                <a:pt x="653520" y="476251"/>
                              </a:lnTo>
                              <a:lnTo>
                                <a:pt x="656166" y="476251"/>
                              </a:lnTo>
                              <a:lnTo>
                                <a:pt x="653520" y="478897"/>
                              </a:lnTo>
                              <a:lnTo>
                                <a:pt x="648229" y="481542"/>
                              </a:lnTo>
                              <a:lnTo>
                                <a:pt x="645583" y="481542"/>
                              </a:lnTo>
                              <a:lnTo>
                                <a:pt x="642937" y="478897"/>
                              </a:lnTo>
                              <a:lnTo>
                                <a:pt x="642937" y="476251"/>
                              </a:lnTo>
                              <a:lnTo>
                                <a:pt x="640291" y="478897"/>
                              </a:lnTo>
                              <a:lnTo>
                                <a:pt x="637645" y="481542"/>
                              </a:lnTo>
                              <a:lnTo>
                                <a:pt x="635000" y="481542"/>
                              </a:lnTo>
                              <a:lnTo>
                                <a:pt x="632354" y="481542"/>
                              </a:lnTo>
                              <a:lnTo>
                                <a:pt x="629708" y="481542"/>
                              </a:lnTo>
                              <a:lnTo>
                                <a:pt x="627062" y="484188"/>
                              </a:lnTo>
                              <a:lnTo>
                                <a:pt x="621770" y="486834"/>
                              </a:lnTo>
                              <a:lnTo>
                                <a:pt x="616479" y="486834"/>
                              </a:lnTo>
                              <a:lnTo>
                                <a:pt x="613833" y="486834"/>
                              </a:lnTo>
                              <a:lnTo>
                                <a:pt x="611187" y="486834"/>
                              </a:lnTo>
                              <a:lnTo>
                                <a:pt x="608541" y="486834"/>
                              </a:lnTo>
                              <a:lnTo>
                                <a:pt x="603250" y="484188"/>
                              </a:lnTo>
                              <a:lnTo>
                                <a:pt x="600604" y="481542"/>
                              </a:lnTo>
                              <a:lnTo>
                                <a:pt x="600604" y="478897"/>
                              </a:lnTo>
                              <a:lnTo>
                                <a:pt x="603250" y="476251"/>
                              </a:lnTo>
                              <a:lnTo>
                                <a:pt x="603250" y="473605"/>
                              </a:lnTo>
                              <a:lnTo>
                                <a:pt x="600604" y="470959"/>
                              </a:lnTo>
                              <a:lnTo>
                                <a:pt x="603250" y="468313"/>
                              </a:lnTo>
                              <a:lnTo>
                                <a:pt x="608541" y="465667"/>
                              </a:lnTo>
                              <a:lnTo>
                                <a:pt x="608541" y="463022"/>
                              </a:lnTo>
                              <a:lnTo>
                                <a:pt x="611187" y="463022"/>
                              </a:lnTo>
                              <a:lnTo>
                                <a:pt x="619125" y="463022"/>
                              </a:lnTo>
                              <a:lnTo>
                                <a:pt x="621770" y="463022"/>
                              </a:lnTo>
                              <a:lnTo>
                                <a:pt x="624416" y="465667"/>
                              </a:lnTo>
                              <a:lnTo>
                                <a:pt x="627062" y="470959"/>
                              </a:lnTo>
                              <a:lnTo>
                                <a:pt x="629708" y="473605"/>
                              </a:lnTo>
                              <a:lnTo>
                                <a:pt x="637645" y="470959"/>
                              </a:lnTo>
                              <a:lnTo>
                                <a:pt x="640291" y="470959"/>
                              </a:lnTo>
                              <a:lnTo>
                                <a:pt x="640291" y="468313"/>
                              </a:lnTo>
                              <a:lnTo>
                                <a:pt x="635000" y="465667"/>
                              </a:lnTo>
                              <a:lnTo>
                                <a:pt x="632354" y="465667"/>
                              </a:lnTo>
                              <a:lnTo>
                                <a:pt x="627062" y="463022"/>
                              </a:lnTo>
                              <a:lnTo>
                                <a:pt x="627062" y="460376"/>
                              </a:lnTo>
                              <a:lnTo>
                                <a:pt x="629708" y="457730"/>
                              </a:lnTo>
                              <a:lnTo>
                                <a:pt x="632354" y="457730"/>
                              </a:lnTo>
                              <a:lnTo>
                                <a:pt x="637645" y="457730"/>
                              </a:lnTo>
                              <a:close/>
                              <a:moveTo>
                                <a:pt x="767292" y="452438"/>
                              </a:moveTo>
                              <a:lnTo>
                                <a:pt x="772583" y="452438"/>
                              </a:lnTo>
                              <a:lnTo>
                                <a:pt x="777875" y="452438"/>
                              </a:lnTo>
                              <a:lnTo>
                                <a:pt x="777875" y="455084"/>
                              </a:lnTo>
                              <a:lnTo>
                                <a:pt x="780521" y="460375"/>
                              </a:lnTo>
                              <a:lnTo>
                                <a:pt x="777875" y="463021"/>
                              </a:lnTo>
                              <a:lnTo>
                                <a:pt x="775229" y="463021"/>
                              </a:lnTo>
                              <a:lnTo>
                                <a:pt x="775229" y="465667"/>
                              </a:lnTo>
                              <a:lnTo>
                                <a:pt x="772583" y="465667"/>
                              </a:lnTo>
                              <a:lnTo>
                                <a:pt x="769937" y="468313"/>
                              </a:lnTo>
                              <a:lnTo>
                                <a:pt x="769937" y="470959"/>
                              </a:lnTo>
                              <a:lnTo>
                                <a:pt x="767292" y="470959"/>
                              </a:lnTo>
                              <a:lnTo>
                                <a:pt x="764646" y="470959"/>
                              </a:lnTo>
                              <a:lnTo>
                                <a:pt x="764646" y="473605"/>
                              </a:lnTo>
                              <a:lnTo>
                                <a:pt x="762000" y="473605"/>
                              </a:lnTo>
                              <a:lnTo>
                                <a:pt x="759354" y="473605"/>
                              </a:lnTo>
                              <a:lnTo>
                                <a:pt x="759354" y="476250"/>
                              </a:lnTo>
                              <a:lnTo>
                                <a:pt x="756708" y="476250"/>
                              </a:lnTo>
                              <a:lnTo>
                                <a:pt x="754062" y="476250"/>
                              </a:lnTo>
                              <a:lnTo>
                                <a:pt x="751417" y="476250"/>
                              </a:lnTo>
                              <a:lnTo>
                                <a:pt x="748771" y="478896"/>
                              </a:lnTo>
                              <a:lnTo>
                                <a:pt x="743479" y="476250"/>
                              </a:lnTo>
                              <a:lnTo>
                                <a:pt x="738187" y="473605"/>
                              </a:lnTo>
                              <a:lnTo>
                                <a:pt x="732896" y="476250"/>
                              </a:lnTo>
                              <a:lnTo>
                                <a:pt x="727604" y="481542"/>
                              </a:lnTo>
                              <a:lnTo>
                                <a:pt x="724958" y="481542"/>
                              </a:lnTo>
                              <a:lnTo>
                                <a:pt x="719667" y="481542"/>
                              </a:lnTo>
                              <a:lnTo>
                                <a:pt x="717021" y="481542"/>
                              </a:lnTo>
                              <a:lnTo>
                                <a:pt x="711729" y="481542"/>
                              </a:lnTo>
                              <a:lnTo>
                                <a:pt x="706438" y="481542"/>
                              </a:lnTo>
                              <a:lnTo>
                                <a:pt x="703792" y="481542"/>
                              </a:lnTo>
                              <a:lnTo>
                                <a:pt x="693208" y="476250"/>
                              </a:lnTo>
                              <a:lnTo>
                                <a:pt x="687917" y="476250"/>
                              </a:lnTo>
                              <a:lnTo>
                                <a:pt x="682625" y="476250"/>
                              </a:lnTo>
                              <a:lnTo>
                                <a:pt x="679979" y="476250"/>
                              </a:lnTo>
                              <a:lnTo>
                                <a:pt x="677333" y="476250"/>
                              </a:lnTo>
                              <a:lnTo>
                                <a:pt x="672042" y="476250"/>
                              </a:lnTo>
                              <a:lnTo>
                                <a:pt x="674688" y="473605"/>
                              </a:lnTo>
                              <a:lnTo>
                                <a:pt x="672042" y="468313"/>
                              </a:lnTo>
                              <a:lnTo>
                                <a:pt x="672042" y="465667"/>
                              </a:lnTo>
                              <a:lnTo>
                                <a:pt x="674688" y="465667"/>
                              </a:lnTo>
                              <a:lnTo>
                                <a:pt x="674688" y="463021"/>
                              </a:lnTo>
                              <a:lnTo>
                                <a:pt x="677333" y="463021"/>
                              </a:lnTo>
                              <a:lnTo>
                                <a:pt x="679979" y="463021"/>
                              </a:lnTo>
                              <a:lnTo>
                                <a:pt x="679979" y="460375"/>
                              </a:lnTo>
                              <a:lnTo>
                                <a:pt x="682625" y="460375"/>
                              </a:lnTo>
                              <a:lnTo>
                                <a:pt x="685271" y="457730"/>
                              </a:lnTo>
                              <a:lnTo>
                                <a:pt x="687917" y="460375"/>
                              </a:lnTo>
                              <a:lnTo>
                                <a:pt x="690563" y="460375"/>
                              </a:lnTo>
                              <a:lnTo>
                                <a:pt x="693208" y="463021"/>
                              </a:lnTo>
                              <a:lnTo>
                                <a:pt x="695854" y="463021"/>
                              </a:lnTo>
                              <a:lnTo>
                                <a:pt x="698500" y="463021"/>
                              </a:lnTo>
                              <a:lnTo>
                                <a:pt x="701146" y="463021"/>
                              </a:lnTo>
                              <a:lnTo>
                                <a:pt x="703792" y="463021"/>
                              </a:lnTo>
                              <a:lnTo>
                                <a:pt x="709083" y="463021"/>
                              </a:lnTo>
                              <a:lnTo>
                                <a:pt x="711729" y="463021"/>
                              </a:lnTo>
                              <a:lnTo>
                                <a:pt x="714375" y="463021"/>
                              </a:lnTo>
                              <a:lnTo>
                                <a:pt x="719667" y="460375"/>
                              </a:lnTo>
                              <a:lnTo>
                                <a:pt x="722313" y="463021"/>
                              </a:lnTo>
                              <a:lnTo>
                                <a:pt x="727604" y="463021"/>
                              </a:lnTo>
                              <a:lnTo>
                                <a:pt x="730250" y="465667"/>
                              </a:lnTo>
                              <a:lnTo>
                                <a:pt x="732896" y="465667"/>
                              </a:lnTo>
                              <a:lnTo>
                                <a:pt x="738187" y="465667"/>
                              </a:lnTo>
                              <a:lnTo>
                                <a:pt x="740833" y="468313"/>
                              </a:lnTo>
                              <a:lnTo>
                                <a:pt x="740833" y="465667"/>
                              </a:lnTo>
                              <a:lnTo>
                                <a:pt x="743479" y="465667"/>
                              </a:lnTo>
                              <a:lnTo>
                                <a:pt x="743479" y="463021"/>
                              </a:lnTo>
                              <a:lnTo>
                                <a:pt x="748771" y="463021"/>
                              </a:lnTo>
                              <a:lnTo>
                                <a:pt x="754062" y="460375"/>
                              </a:lnTo>
                              <a:lnTo>
                                <a:pt x="762000" y="460375"/>
                              </a:lnTo>
                              <a:lnTo>
                                <a:pt x="769937" y="457730"/>
                              </a:lnTo>
                              <a:lnTo>
                                <a:pt x="772583" y="457730"/>
                              </a:lnTo>
                              <a:lnTo>
                                <a:pt x="769937" y="455084"/>
                              </a:lnTo>
                              <a:lnTo>
                                <a:pt x="767292" y="455084"/>
                              </a:lnTo>
                              <a:close/>
                              <a:moveTo>
                                <a:pt x="560917" y="452438"/>
                              </a:moveTo>
                              <a:lnTo>
                                <a:pt x="568854" y="455084"/>
                              </a:lnTo>
                              <a:lnTo>
                                <a:pt x="571500" y="460375"/>
                              </a:lnTo>
                              <a:lnTo>
                                <a:pt x="576792" y="463021"/>
                              </a:lnTo>
                              <a:lnTo>
                                <a:pt x="574146" y="465667"/>
                              </a:lnTo>
                              <a:lnTo>
                                <a:pt x="571500" y="465667"/>
                              </a:lnTo>
                              <a:lnTo>
                                <a:pt x="571500" y="468313"/>
                              </a:lnTo>
                              <a:lnTo>
                                <a:pt x="568854" y="470959"/>
                              </a:lnTo>
                              <a:lnTo>
                                <a:pt x="566208" y="468313"/>
                              </a:lnTo>
                              <a:lnTo>
                                <a:pt x="566208" y="470959"/>
                              </a:lnTo>
                              <a:lnTo>
                                <a:pt x="563562" y="473605"/>
                              </a:lnTo>
                              <a:lnTo>
                                <a:pt x="560917" y="476250"/>
                              </a:lnTo>
                              <a:lnTo>
                                <a:pt x="560917" y="478896"/>
                              </a:lnTo>
                              <a:lnTo>
                                <a:pt x="558271" y="478896"/>
                              </a:lnTo>
                              <a:lnTo>
                                <a:pt x="555625" y="478896"/>
                              </a:lnTo>
                              <a:lnTo>
                                <a:pt x="555625" y="476250"/>
                              </a:lnTo>
                              <a:lnTo>
                                <a:pt x="555625" y="473605"/>
                              </a:lnTo>
                              <a:lnTo>
                                <a:pt x="555625" y="470959"/>
                              </a:lnTo>
                              <a:lnTo>
                                <a:pt x="552979" y="468313"/>
                              </a:lnTo>
                              <a:lnTo>
                                <a:pt x="545041" y="465667"/>
                              </a:lnTo>
                              <a:lnTo>
                                <a:pt x="542396" y="463021"/>
                              </a:lnTo>
                              <a:lnTo>
                                <a:pt x="539750" y="460375"/>
                              </a:lnTo>
                              <a:lnTo>
                                <a:pt x="542396" y="457729"/>
                              </a:lnTo>
                              <a:lnTo>
                                <a:pt x="547687" y="457729"/>
                              </a:lnTo>
                              <a:lnTo>
                                <a:pt x="552979" y="455084"/>
                              </a:lnTo>
                              <a:lnTo>
                                <a:pt x="558271" y="455084"/>
                              </a:lnTo>
                              <a:close/>
                              <a:moveTo>
                                <a:pt x="867834" y="439209"/>
                              </a:moveTo>
                              <a:lnTo>
                                <a:pt x="873126" y="439209"/>
                              </a:lnTo>
                              <a:lnTo>
                                <a:pt x="878417" y="444500"/>
                              </a:lnTo>
                              <a:lnTo>
                                <a:pt x="881063" y="444500"/>
                              </a:lnTo>
                              <a:lnTo>
                                <a:pt x="881063" y="447146"/>
                              </a:lnTo>
                              <a:lnTo>
                                <a:pt x="878417" y="449792"/>
                              </a:lnTo>
                              <a:lnTo>
                                <a:pt x="870480" y="449792"/>
                              </a:lnTo>
                              <a:lnTo>
                                <a:pt x="865188" y="452438"/>
                              </a:lnTo>
                              <a:lnTo>
                                <a:pt x="862542" y="452438"/>
                              </a:lnTo>
                              <a:lnTo>
                                <a:pt x="854605" y="452438"/>
                              </a:lnTo>
                              <a:lnTo>
                                <a:pt x="846667" y="452438"/>
                              </a:lnTo>
                              <a:lnTo>
                                <a:pt x="851959" y="444500"/>
                              </a:lnTo>
                              <a:lnTo>
                                <a:pt x="854605" y="441855"/>
                              </a:lnTo>
                              <a:lnTo>
                                <a:pt x="857251" y="441855"/>
                              </a:lnTo>
                              <a:lnTo>
                                <a:pt x="862542" y="441855"/>
                              </a:lnTo>
                              <a:lnTo>
                                <a:pt x="865188" y="441855"/>
                              </a:lnTo>
                              <a:close/>
                              <a:moveTo>
                                <a:pt x="1185333" y="436563"/>
                              </a:moveTo>
                              <a:lnTo>
                                <a:pt x="1190625" y="436563"/>
                              </a:lnTo>
                              <a:lnTo>
                                <a:pt x="1195916" y="436563"/>
                              </a:lnTo>
                              <a:lnTo>
                                <a:pt x="1198562" y="439209"/>
                              </a:lnTo>
                              <a:lnTo>
                                <a:pt x="1195916" y="444501"/>
                              </a:lnTo>
                              <a:lnTo>
                                <a:pt x="1193271" y="447147"/>
                              </a:lnTo>
                              <a:lnTo>
                                <a:pt x="1195916" y="449792"/>
                              </a:lnTo>
                              <a:lnTo>
                                <a:pt x="1195916" y="463022"/>
                              </a:lnTo>
                              <a:lnTo>
                                <a:pt x="1193271" y="468313"/>
                              </a:lnTo>
                              <a:lnTo>
                                <a:pt x="1190625" y="470959"/>
                              </a:lnTo>
                              <a:lnTo>
                                <a:pt x="1187979" y="470959"/>
                              </a:lnTo>
                              <a:lnTo>
                                <a:pt x="1182687" y="470959"/>
                              </a:lnTo>
                              <a:lnTo>
                                <a:pt x="1174750" y="473605"/>
                              </a:lnTo>
                              <a:lnTo>
                                <a:pt x="1172104" y="470959"/>
                              </a:lnTo>
                              <a:lnTo>
                                <a:pt x="1172104" y="468313"/>
                              </a:lnTo>
                              <a:lnTo>
                                <a:pt x="1180042" y="444501"/>
                              </a:lnTo>
                              <a:close/>
                              <a:moveTo>
                                <a:pt x="529166" y="412750"/>
                              </a:moveTo>
                              <a:lnTo>
                                <a:pt x="534458" y="415396"/>
                              </a:lnTo>
                              <a:lnTo>
                                <a:pt x="531812" y="418042"/>
                              </a:lnTo>
                              <a:lnTo>
                                <a:pt x="529166" y="418042"/>
                              </a:lnTo>
                              <a:lnTo>
                                <a:pt x="526520" y="420687"/>
                              </a:lnTo>
                              <a:lnTo>
                                <a:pt x="526520" y="423333"/>
                              </a:lnTo>
                              <a:lnTo>
                                <a:pt x="523875" y="423333"/>
                              </a:lnTo>
                              <a:lnTo>
                                <a:pt x="518583" y="423333"/>
                              </a:lnTo>
                              <a:lnTo>
                                <a:pt x="510645" y="423333"/>
                              </a:lnTo>
                              <a:lnTo>
                                <a:pt x="508000" y="425979"/>
                              </a:lnTo>
                              <a:lnTo>
                                <a:pt x="505354" y="428625"/>
                              </a:lnTo>
                              <a:lnTo>
                                <a:pt x="500062" y="425979"/>
                              </a:lnTo>
                              <a:lnTo>
                                <a:pt x="494771" y="428625"/>
                              </a:lnTo>
                              <a:lnTo>
                                <a:pt x="492125" y="428625"/>
                              </a:lnTo>
                              <a:lnTo>
                                <a:pt x="492125" y="425979"/>
                              </a:lnTo>
                              <a:lnTo>
                                <a:pt x="494771" y="423333"/>
                              </a:lnTo>
                              <a:lnTo>
                                <a:pt x="492125" y="420687"/>
                              </a:lnTo>
                              <a:lnTo>
                                <a:pt x="494771" y="418042"/>
                              </a:lnTo>
                              <a:lnTo>
                                <a:pt x="502708" y="415396"/>
                              </a:lnTo>
                              <a:lnTo>
                                <a:pt x="513291" y="415396"/>
                              </a:lnTo>
                              <a:lnTo>
                                <a:pt x="521229" y="415396"/>
                              </a:lnTo>
                              <a:close/>
                              <a:moveTo>
                                <a:pt x="312208" y="383646"/>
                              </a:moveTo>
                              <a:lnTo>
                                <a:pt x="314854" y="386292"/>
                              </a:lnTo>
                              <a:lnTo>
                                <a:pt x="317500" y="386292"/>
                              </a:lnTo>
                              <a:lnTo>
                                <a:pt x="325438" y="383646"/>
                              </a:lnTo>
                              <a:lnTo>
                                <a:pt x="328083" y="386292"/>
                              </a:lnTo>
                              <a:lnTo>
                                <a:pt x="333375" y="388938"/>
                              </a:lnTo>
                              <a:lnTo>
                                <a:pt x="336021" y="388938"/>
                              </a:lnTo>
                              <a:lnTo>
                                <a:pt x="338667" y="386292"/>
                              </a:lnTo>
                              <a:lnTo>
                                <a:pt x="341313" y="386292"/>
                              </a:lnTo>
                              <a:lnTo>
                                <a:pt x="346604" y="386292"/>
                              </a:lnTo>
                              <a:lnTo>
                                <a:pt x="351896" y="388938"/>
                              </a:lnTo>
                              <a:lnTo>
                                <a:pt x="354542" y="388938"/>
                              </a:lnTo>
                              <a:lnTo>
                                <a:pt x="357188" y="391583"/>
                              </a:lnTo>
                              <a:lnTo>
                                <a:pt x="359833" y="391583"/>
                              </a:lnTo>
                              <a:lnTo>
                                <a:pt x="362479" y="391583"/>
                              </a:lnTo>
                              <a:lnTo>
                                <a:pt x="362479" y="394229"/>
                              </a:lnTo>
                              <a:lnTo>
                                <a:pt x="365125" y="394229"/>
                              </a:lnTo>
                              <a:lnTo>
                                <a:pt x="367771" y="394229"/>
                              </a:lnTo>
                              <a:lnTo>
                                <a:pt x="373063" y="391583"/>
                              </a:lnTo>
                              <a:lnTo>
                                <a:pt x="378354" y="394229"/>
                              </a:lnTo>
                              <a:lnTo>
                                <a:pt x="381000" y="399521"/>
                              </a:lnTo>
                              <a:lnTo>
                                <a:pt x="378354" y="402167"/>
                              </a:lnTo>
                              <a:lnTo>
                                <a:pt x="375708" y="404813"/>
                              </a:lnTo>
                              <a:lnTo>
                                <a:pt x="378354" y="404813"/>
                              </a:lnTo>
                              <a:lnTo>
                                <a:pt x="381000" y="407458"/>
                              </a:lnTo>
                              <a:lnTo>
                                <a:pt x="388938" y="407458"/>
                              </a:lnTo>
                              <a:lnTo>
                                <a:pt x="407458" y="407458"/>
                              </a:lnTo>
                              <a:lnTo>
                                <a:pt x="412750" y="410104"/>
                              </a:lnTo>
                              <a:lnTo>
                                <a:pt x="418042" y="407458"/>
                              </a:lnTo>
                              <a:lnTo>
                                <a:pt x="420688" y="407458"/>
                              </a:lnTo>
                              <a:lnTo>
                                <a:pt x="425979" y="410104"/>
                              </a:lnTo>
                              <a:lnTo>
                                <a:pt x="428625" y="407458"/>
                              </a:lnTo>
                              <a:lnTo>
                                <a:pt x="428625" y="404813"/>
                              </a:lnTo>
                              <a:lnTo>
                                <a:pt x="431271" y="396875"/>
                              </a:lnTo>
                              <a:lnTo>
                                <a:pt x="436563" y="394229"/>
                              </a:lnTo>
                              <a:lnTo>
                                <a:pt x="441854" y="394229"/>
                              </a:lnTo>
                              <a:lnTo>
                                <a:pt x="444500" y="399521"/>
                              </a:lnTo>
                              <a:lnTo>
                                <a:pt x="447146" y="404813"/>
                              </a:lnTo>
                              <a:lnTo>
                                <a:pt x="449792" y="407458"/>
                              </a:lnTo>
                              <a:lnTo>
                                <a:pt x="455083" y="407458"/>
                              </a:lnTo>
                              <a:lnTo>
                                <a:pt x="457729" y="404813"/>
                              </a:lnTo>
                              <a:lnTo>
                                <a:pt x="463021" y="407458"/>
                              </a:lnTo>
                              <a:lnTo>
                                <a:pt x="468313" y="410104"/>
                              </a:lnTo>
                              <a:lnTo>
                                <a:pt x="473604" y="415396"/>
                              </a:lnTo>
                              <a:lnTo>
                                <a:pt x="478896" y="418042"/>
                              </a:lnTo>
                              <a:lnTo>
                                <a:pt x="489479" y="420688"/>
                              </a:lnTo>
                              <a:lnTo>
                                <a:pt x="489479" y="423333"/>
                              </a:lnTo>
                              <a:lnTo>
                                <a:pt x="489479" y="428625"/>
                              </a:lnTo>
                              <a:lnTo>
                                <a:pt x="489479" y="431271"/>
                              </a:lnTo>
                              <a:lnTo>
                                <a:pt x="492125" y="431271"/>
                              </a:lnTo>
                              <a:lnTo>
                                <a:pt x="492125" y="436563"/>
                              </a:lnTo>
                              <a:lnTo>
                                <a:pt x="494771" y="439208"/>
                              </a:lnTo>
                              <a:lnTo>
                                <a:pt x="500063" y="441854"/>
                              </a:lnTo>
                              <a:lnTo>
                                <a:pt x="510646" y="444500"/>
                              </a:lnTo>
                              <a:lnTo>
                                <a:pt x="515938" y="441854"/>
                              </a:lnTo>
                              <a:lnTo>
                                <a:pt x="523875" y="441854"/>
                              </a:lnTo>
                              <a:lnTo>
                                <a:pt x="526521" y="441854"/>
                              </a:lnTo>
                              <a:lnTo>
                                <a:pt x="539750" y="447146"/>
                              </a:lnTo>
                              <a:lnTo>
                                <a:pt x="542396" y="449792"/>
                              </a:lnTo>
                              <a:lnTo>
                                <a:pt x="537104" y="457729"/>
                              </a:lnTo>
                              <a:lnTo>
                                <a:pt x="534458" y="463021"/>
                              </a:lnTo>
                              <a:lnTo>
                                <a:pt x="534458" y="465667"/>
                              </a:lnTo>
                              <a:lnTo>
                                <a:pt x="539750" y="470959"/>
                              </a:lnTo>
                              <a:lnTo>
                                <a:pt x="542396" y="476250"/>
                              </a:lnTo>
                              <a:lnTo>
                                <a:pt x="545042" y="478896"/>
                              </a:lnTo>
                              <a:lnTo>
                                <a:pt x="539750" y="478896"/>
                              </a:lnTo>
                              <a:lnTo>
                                <a:pt x="537104" y="478896"/>
                              </a:lnTo>
                              <a:lnTo>
                                <a:pt x="529167" y="476250"/>
                              </a:lnTo>
                              <a:lnTo>
                                <a:pt x="521229" y="470959"/>
                              </a:lnTo>
                              <a:lnTo>
                                <a:pt x="515938" y="470959"/>
                              </a:lnTo>
                              <a:lnTo>
                                <a:pt x="510646" y="470959"/>
                              </a:lnTo>
                              <a:lnTo>
                                <a:pt x="489479" y="470959"/>
                              </a:lnTo>
                              <a:lnTo>
                                <a:pt x="478896" y="470959"/>
                              </a:lnTo>
                              <a:lnTo>
                                <a:pt x="473604" y="468313"/>
                              </a:lnTo>
                              <a:lnTo>
                                <a:pt x="463021" y="468313"/>
                              </a:lnTo>
                              <a:lnTo>
                                <a:pt x="452438" y="465667"/>
                              </a:lnTo>
                              <a:lnTo>
                                <a:pt x="444500" y="463021"/>
                              </a:lnTo>
                              <a:lnTo>
                                <a:pt x="439208" y="457729"/>
                              </a:lnTo>
                              <a:lnTo>
                                <a:pt x="428625" y="455083"/>
                              </a:lnTo>
                              <a:lnTo>
                                <a:pt x="410104" y="455083"/>
                              </a:lnTo>
                              <a:lnTo>
                                <a:pt x="399521" y="449792"/>
                              </a:lnTo>
                              <a:lnTo>
                                <a:pt x="388938" y="447146"/>
                              </a:lnTo>
                              <a:lnTo>
                                <a:pt x="381000" y="444500"/>
                              </a:lnTo>
                              <a:lnTo>
                                <a:pt x="375708" y="447146"/>
                              </a:lnTo>
                              <a:lnTo>
                                <a:pt x="370417" y="447146"/>
                              </a:lnTo>
                              <a:lnTo>
                                <a:pt x="365125" y="444500"/>
                              </a:lnTo>
                              <a:lnTo>
                                <a:pt x="359833" y="441854"/>
                              </a:lnTo>
                              <a:lnTo>
                                <a:pt x="354542" y="441854"/>
                              </a:lnTo>
                              <a:lnTo>
                                <a:pt x="351896" y="441854"/>
                              </a:lnTo>
                              <a:lnTo>
                                <a:pt x="346604" y="439208"/>
                              </a:lnTo>
                              <a:lnTo>
                                <a:pt x="328083" y="433917"/>
                              </a:lnTo>
                              <a:lnTo>
                                <a:pt x="317500" y="433917"/>
                              </a:lnTo>
                              <a:lnTo>
                                <a:pt x="314854" y="431271"/>
                              </a:lnTo>
                              <a:lnTo>
                                <a:pt x="314854" y="428625"/>
                              </a:lnTo>
                              <a:lnTo>
                                <a:pt x="320146" y="425979"/>
                              </a:lnTo>
                              <a:lnTo>
                                <a:pt x="328083" y="420688"/>
                              </a:lnTo>
                              <a:lnTo>
                                <a:pt x="330729" y="420688"/>
                              </a:lnTo>
                              <a:lnTo>
                                <a:pt x="330729" y="418042"/>
                              </a:lnTo>
                              <a:lnTo>
                                <a:pt x="325438" y="418042"/>
                              </a:lnTo>
                              <a:lnTo>
                                <a:pt x="322792" y="418042"/>
                              </a:lnTo>
                              <a:lnTo>
                                <a:pt x="320146" y="418042"/>
                              </a:lnTo>
                              <a:lnTo>
                                <a:pt x="317500" y="418042"/>
                              </a:lnTo>
                              <a:lnTo>
                                <a:pt x="312208" y="415396"/>
                              </a:lnTo>
                              <a:lnTo>
                                <a:pt x="306917" y="415396"/>
                              </a:lnTo>
                              <a:lnTo>
                                <a:pt x="296333" y="412750"/>
                              </a:lnTo>
                              <a:lnTo>
                                <a:pt x="291042" y="412750"/>
                              </a:lnTo>
                              <a:lnTo>
                                <a:pt x="293688" y="407458"/>
                              </a:lnTo>
                              <a:lnTo>
                                <a:pt x="296333" y="407458"/>
                              </a:lnTo>
                              <a:lnTo>
                                <a:pt x="301625" y="410104"/>
                              </a:lnTo>
                              <a:lnTo>
                                <a:pt x="304271" y="407458"/>
                              </a:lnTo>
                              <a:lnTo>
                                <a:pt x="304271" y="402167"/>
                              </a:lnTo>
                              <a:lnTo>
                                <a:pt x="306917" y="402167"/>
                              </a:lnTo>
                              <a:lnTo>
                                <a:pt x="306917" y="396875"/>
                              </a:lnTo>
                              <a:lnTo>
                                <a:pt x="304271" y="391583"/>
                              </a:lnTo>
                              <a:lnTo>
                                <a:pt x="306917" y="386292"/>
                              </a:lnTo>
                              <a:close/>
                              <a:moveTo>
                                <a:pt x="756708" y="362480"/>
                              </a:moveTo>
                              <a:lnTo>
                                <a:pt x="759353" y="362480"/>
                              </a:lnTo>
                              <a:lnTo>
                                <a:pt x="764645" y="365126"/>
                              </a:lnTo>
                              <a:lnTo>
                                <a:pt x="767291" y="367772"/>
                              </a:lnTo>
                              <a:lnTo>
                                <a:pt x="767291" y="373063"/>
                              </a:lnTo>
                              <a:lnTo>
                                <a:pt x="767291" y="375709"/>
                              </a:lnTo>
                              <a:lnTo>
                                <a:pt x="764645" y="378355"/>
                              </a:lnTo>
                              <a:lnTo>
                                <a:pt x="759353" y="375709"/>
                              </a:lnTo>
                              <a:lnTo>
                                <a:pt x="756708" y="370417"/>
                              </a:lnTo>
                              <a:lnTo>
                                <a:pt x="754062" y="365126"/>
                              </a:lnTo>
                              <a:close/>
                              <a:moveTo>
                                <a:pt x="777875" y="341313"/>
                              </a:moveTo>
                              <a:lnTo>
                                <a:pt x="777875" y="346605"/>
                              </a:lnTo>
                              <a:lnTo>
                                <a:pt x="777875" y="349250"/>
                              </a:lnTo>
                              <a:lnTo>
                                <a:pt x="777875" y="351896"/>
                              </a:lnTo>
                              <a:lnTo>
                                <a:pt x="780521" y="354542"/>
                              </a:lnTo>
                              <a:lnTo>
                                <a:pt x="780521" y="357188"/>
                              </a:lnTo>
                              <a:lnTo>
                                <a:pt x="780521" y="359834"/>
                              </a:lnTo>
                              <a:lnTo>
                                <a:pt x="775229" y="362480"/>
                              </a:lnTo>
                              <a:lnTo>
                                <a:pt x="769938" y="362480"/>
                              </a:lnTo>
                              <a:lnTo>
                                <a:pt x="767292" y="359834"/>
                              </a:lnTo>
                              <a:lnTo>
                                <a:pt x="767292" y="357188"/>
                              </a:lnTo>
                              <a:lnTo>
                                <a:pt x="767292" y="354542"/>
                              </a:lnTo>
                              <a:lnTo>
                                <a:pt x="769938" y="351896"/>
                              </a:lnTo>
                              <a:lnTo>
                                <a:pt x="767292" y="349250"/>
                              </a:lnTo>
                              <a:lnTo>
                                <a:pt x="767292" y="346605"/>
                              </a:lnTo>
                              <a:lnTo>
                                <a:pt x="769938" y="343959"/>
                              </a:lnTo>
                              <a:close/>
                              <a:moveTo>
                                <a:pt x="785813" y="330730"/>
                              </a:moveTo>
                              <a:lnTo>
                                <a:pt x="791105" y="336022"/>
                              </a:lnTo>
                              <a:lnTo>
                                <a:pt x="793751" y="336022"/>
                              </a:lnTo>
                              <a:lnTo>
                                <a:pt x="796397" y="338667"/>
                              </a:lnTo>
                              <a:lnTo>
                                <a:pt x="793751" y="338667"/>
                              </a:lnTo>
                              <a:lnTo>
                                <a:pt x="791105" y="341313"/>
                              </a:lnTo>
                              <a:lnTo>
                                <a:pt x="793751" y="346605"/>
                              </a:lnTo>
                              <a:lnTo>
                                <a:pt x="796397" y="351897"/>
                              </a:lnTo>
                              <a:lnTo>
                                <a:pt x="799042" y="349251"/>
                              </a:lnTo>
                              <a:lnTo>
                                <a:pt x="801688" y="349251"/>
                              </a:lnTo>
                              <a:lnTo>
                                <a:pt x="804334" y="351897"/>
                              </a:lnTo>
                              <a:lnTo>
                                <a:pt x="801688" y="354542"/>
                              </a:lnTo>
                              <a:lnTo>
                                <a:pt x="799042" y="354542"/>
                              </a:lnTo>
                              <a:lnTo>
                                <a:pt x="796397" y="357188"/>
                              </a:lnTo>
                              <a:lnTo>
                                <a:pt x="793751" y="359834"/>
                              </a:lnTo>
                              <a:lnTo>
                                <a:pt x="793751" y="365126"/>
                              </a:lnTo>
                              <a:lnTo>
                                <a:pt x="791105" y="365126"/>
                              </a:lnTo>
                              <a:lnTo>
                                <a:pt x="785813" y="365126"/>
                              </a:lnTo>
                              <a:lnTo>
                                <a:pt x="783167" y="362480"/>
                              </a:lnTo>
                              <a:lnTo>
                                <a:pt x="783167" y="354542"/>
                              </a:lnTo>
                              <a:lnTo>
                                <a:pt x="783167" y="343959"/>
                              </a:lnTo>
                              <a:lnTo>
                                <a:pt x="780521" y="336022"/>
                              </a:lnTo>
                              <a:lnTo>
                                <a:pt x="783167" y="333376"/>
                              </a:lnTo>
                              <a:close/>
                              <a:moveTo>
                                <a:pt x="865188" y="296334"/>
                              </a:moveTo>
                              <a:lnTo>
                                <a:pt x="870480" y="296334"/>
                              </a:lnTo>
                              <a:lnTo>
                                <a:pt x="878417" y="296334"/>
                              </a:lnTo>
                              <a:lnTo>
                                <a:pt x="889001" y="298980"/>
                              </a:lnTo>
                              <a:lnTo>
                                <a:pt x="894292" y="304271"/>
                              </a:lnTo>
                              <a:lnTo>
                                <a:pt x="894292" y="306917"/>
                              </a:lnTo>
                              <a:lnTo>
                                <a:pt x="894292" y="309563"/>
                              </a:lnTo>
                              <a:lnTo>
                                <a:pt x="891647" y="314854"/>
                              </a:lnTo>
                              <a:lnTo>
                                <a:pt x="894292" y="314854"/>
                              </a:lnTo>
                              <a:lnTo>
                                <a:pt x="896938" y="317500"/>
                              </a:lnTo>
                              <a:lnTo>
                                <a:pt x="896938" y="320146"/>
                              </a:lnTo>
                              <a:lnTo>
                                <a:pt x="883709" y="322792"/>
                              </a:lnTo>
                              <a:lnTo>
                                <a:pt x="873126" y="320146"/>
                              </a:lnTo>
                              <a:lnTo>
                                <a:pt x="867834" y="317500"/>
                              </a:lnTo>
                              <a:lnTo>
                                <a:pt x="859896" y="306917"/>
                              </a:lnTo>
                              <a:lnTo>
                                <a:pt x="859896" y="304271"/>
                              </a:lnTo>
                              <a:lnTo>
                                <a:pt x="859896" y="298980"/>
                              </a:lnTo>
                              <a:lnTo>
                                <a:pt x="862542" y="298980"/>
                              </a:lnTo>
                              <a:close/>
                              <a:moveTo>
                                <a:pt x="933979" y="285750"/>
                              </a:moveTo>
                              <a:lnTo>
                                <a:pt x="941917" y="285750"/>
                              </a:lnTo>
                              <a:lnTo>
                                <a:pt x="949854" y="285750"/>
                              </a:lnTo>
                              <a:lnTo>
                                <a:pt x="955146" y="288396"/>
                              </a:lnTo>
                              <a:lnTo>
                                <a:pt x="957792" y="285750"/>
                              </a:lnTo>
                              <a:lnTo>
                                <a:pt x="960438" y="285750"/>
                              </a:lnTo>
                              <a:lnTo>
                                <a:pt x="960438" y="288396"/>
                              </a:lnTo>
                              <a:lnTo>
                                <a:pt x="963084" y="291042"/>
                              </a:lnTo>
                              <a:lnTo>
                                <a:pt x="968375" y="288396"/>
                              </a:lnTo>
                              <a:lnTo>
                                <a:pt x="973667" y="288396"/>
                              </a:lnTo>
                              <a:lnTo>
                                <a:pt x="984250" y="288396"/>
                              </a:lnTo>
                              <a:lnTo>
                                <a:pt x="989542" y="288396"/>
                              </a:lnTo>
                              <a:lnTo>
                                <a:pt x="992188" y="288396"/>
                              </a:lnTo>
                              <a:lnTo>
                                <a:pt x="994834" y="288396"/>
                              </a:lnTo>
                              <a:lnTo>
                                <a:pt x="994834" y="291042"/>
                              </a:lnTo>
                              <a:lnTo>
                                <a:pt x="997480" y="296333"/>
                              </a:lnTo>
                              <a:lnTo>
                                <a:pt x="1000125" y="296333"/>
                              </a:lnTo>
                              <a:lnTo>
                                <a:pt x="1000125" y="298979"/>
                              </a:lnTo>
                              <a:lnTo>
                                <a:pt x="1000125" y="304271"/>
                              </a:lnTo>
                              <a:lnTo>
                                <a:pt x="1000125" y="306917"/>
                              </a:lnTo>
                              <a:lnTo>
                                <a:pt x="1002771" y="309563"/>
                              </a:lnTo>
                              <a:lnTo>
                                <a:pt x="1002771" y="317500"/>
                              </a:lnTo>
                              <a:lnTo>
                                <a:pt x="1000125" y="320146"/>
                              </a:lnTo>
                              <a:lnTo>
                                <a:pt x="997480" y="322792"/>
                              </a:lnTo>
                              <a:lnTo>
                                <a:pt x="989542" y="317500"/>
                              </a:lnTo>
                              <a:lnTo>
                                <a:pt x="984250" y="314854"/>
                              </a:lnTo>
                              <a:lnTo>
                                <a:pt x="978959" y="312208"/>
                              </a:lnTo>
                              <a:lnTo>
                                <a:pt x="976313" y="304271"/>
                              </a:lnTo>
                              <a:lnTo>
                                <a:pt x="968375" y="304271"/>
                              </a:lnTo>
                              <a:lnTo>
                                <a:pt x="965729" y="304271"/>
                              </a:lnTo>
                              <a:lnTo>
                                <a:pt x="965729" y="306917"/>
                              </a:lnTo>
                              <a:lnTo>
                                <a:pt x="960438" y="306917"/>
                              </a:lnTo>
                              <a:lnTo>
                                <a:pt x="952500" y="306917"/>
                              </a:lnTo>
                              <a:lnTo>
                                <a:pt x="949854" y="309563"/>
                              </a:lnTo>
                              <a:lnTo>
                                <a:pt x="944563" y="309563"/>
                              </a:lnTo>
                              <a:lnTo>
                                <a:pt x="941917" y="306917"/>
                              </a:lnTo>
                              <a:lnTo>
                                <a:pt x="939271" y="304271"/>
                              </a:lnTo>
                              <a:lnTo>
                                <a:pt x="936625" y="306917"/>
                              </a:lnTo>
                              <a:lnTo>
                                <a:pt x="933979" y="309563"/>
                              </a:lnTo>
                              <a:lnTo>
                                <a:pt x="931333" y="312208"/>
                              </a:lnTo>
                              <a:lnTo>
                                <a:pt x="926042" y="309563"/>
                              </a:lnTo>
                              <a:lnTo>
                                <a:pt x="926042" y="306917"/>
                              </a:lnTo>
                              <a:lnTo>
                                <a:pt x="923396" y="306917"/>
                              </a:lnTo>
                              <a:lnTo>
                                <a:pt x="918104" y="309563"/>
                              </a:lnTo>
                              <a:lnTo>
                                <a:pt x="915458" y="314854"/>
                              </a:lnTo>
                              <a:lnTo>
                                <a:pt x="915458" y="306917"/>
                              </a:lnTo>
                              <a:lnTo>
                                <a:pt x="918104" y="304271"/>
                              </a:lnTo>
                              <a:lnTo>
                                <a:pt x="923396" y="301625"/>
                              </a:lnTo>
                              <a:lnTo>
                                <a:pt x="923396" y="293687"/>
                              </a:lnTo>
                              <a:lnTo>
                                <a:pt x="923396" y="291042"/>
                              </a:lnTo>
                              <a:lnTo>
                                <a:pt x="926042" y="288396"/>
                              </a:lnTo>
                              <a:close/>
                              <a:moveTo>
                                <a:pt x="973667" y="251355"/>
                              </a:moveTo>
                              <a:lnTo>
                                <a:pt x="981604" y="251355"/>
                              </a:lnTo>
                              <a:lnTo>
                                <a:pt x="981604" y="254001"/>
                              </a:lnTo>
                              <a:lnTo>
                                <a:pt x="981604" y="259292"/>
                              </a:lnTo>
                              <a:lnTo>
                                <a:pt x="976313" y="261938"/>
                              </a:lnTo>
                              <a:lnTo>
                                <a:pt x="968375" y="261938"/>
                              </a:lnTo>
                              <a:lnTo>
                                <a:pt x="963083" y="256646"/>
                              </a:lnTo>
                              <a:lnTo>
                                <a:pt x="963083" y="254001"/>
                              </a:lnTo>
                              <a:lnTo>
                                <a:pt x="965729" y="254001"/>
                              </a:lnTo>
                              <a:close/>
                              <a:moveTo>
                                <a:pt x="1037167" y="198438"/>
                              </a:moveTo>
                              <a:lnTo>
                                <a:pt x="1047751" y="201084"/>
                              </a:lnTo>
                              <a:lnTo>
                                <a:pt x="1058334" y="206375"/>
                              </a:lnTo>
                              <a:lnTo>
                                <a:pt x="1060980" y="209021"/>
                              </a:lnTo>
                              <a:lnTo>
                                <a:pt x="1063625" y="211667"/>
                              </a:lnTo>
                              <a:lnTo>
                                <a:pt x="1066271" y="214313"/>
                              </a:lnTo>
                              <a:lnTo>
                                <a:pt x="1074209" y="214313"/>
                              </a:lnTo>
                              <a:lnTo>
                                <a:pt x="1076855" y="214313"/>
                              </a:lnTo>
                              <a:lnTo>
                                <a:pt x="1079500" y="211667"/>
                              </a:lnTo>
                              <a:lnTo>
                                <a:pt x="1087438" y="216959"/>
                              </a:lnTo>
                              <a:lnTo>
                                <a:pt x="1084792" y="216959"/>
                              </a:lnTo>
                              <a:lnTo>
                                <a:pt x="1084792" y="219605"/>
                              </a:lnTo>
                              <a:lnTo>
                                <a:pt x="1087438" y="224896"/>
                              </a:lnTo>
                              <a:lnTo>
                                <a:pt x="1090084" y="230188"/>
                              </a:lnTo>
                              <a:lnTo>
                                <a:pt x="1090084" y="232834"/>
                              </a:lnTo>
                              <a:lnTo>
                                <a:pt x="1087438" y="238125"/>
                              </a:lnTo>
                              <a:lnTo>
                                <a:pt x="1084792" y="246063"/>
                              </a:lnTo>
                              <a:lnTo>
                                <a:pt x="1084792" y="254000"/>
                              </a:lnTo>
                              <a:lnTo>
                                <a:pt x="1090084" y="275167"/>
                              </a:lnTo>
                              <a:lnTo>
                                <a:pt x="1095375" y="272521"/>
                              </a:lnTo>
                              <a:lnTo>
                                <a:pt x="1095375" y="277813"/>
                              </a:lnTo>
                              <a:lnTo>
                                <a:pt x="1095375" y="283105"/>
                              </a:lnTo>
                              <a:lnTo>
                                <a:pt x="1098021" y="283105"/>
                              </a:lnTo>
                              <a:lnTo>
                                <a:pt x="1098021" y="280459"/>
                              </a:lnTo>
                              <a:lnTo>
                                <a:pt x="1100667" y="283105"/>
                              </a:lnTo>
                              <a:lnTo>
                                <a:pt x="1100667" y="285751"/>
                              </a:lnTo>
                              <a:lnTo>
                                <a:pt x="1103313" y="293688"/>
                              </a:lnTo>
                              <a:lnTo>
                                <a:pt x="1108605" y="293688"/>
                              </a:lnTo>
                              <a:lnTo>
                                <a:pt x="1113896" y="296334"/>
                              </a:lnTo>
                              <a:lnTo>
                                <a:pt x="1121834" y="293688"/>
                              </a:lnTo>
                              <a:lnTo>
                                <a:pt x="1121834" y="291042"/>
                              </a:lnTo>
                              <a:lnTo>
                                <a:pt x="1121834" y="288396"/>
                              </a:lnTo>
                              <a:lnTo>
                                <a:pt x="1124480" y="283105"/>
                              </a:lnTo>
                              <a:lnTo>
                                <a:pt x="1129771" y="280459"/>
                              </a:lnTo>
                              <a:lnTo>
                                <a:pt x="1129771" y="277813"/>
                              </a:lnTo>
                              <a:lnTo>
                                <a:pt x="1132417" y="272521"/>
                              </a:lnTo>
                              <a:lnTo>
                                <a:pt x="1135063" y="269875"/>
                              </a:lnTo>
                              <a:lnTo>
                                <a:pt x="1137709" y="267230"/>
                              </a:lnTo>
                              <a:lnTo>
                                <a:pt x="1137709" y="264584"/>
                              </a:lnTo>
                              <a:lnTo>
                                <a:pt x="1137709" y="261938"/>
                              </a:lnTo>
                              <a:lnTo>
                                <a:pt x="1140355" y="256646"/>
                              </a:lnTo>
                              <a:lnTo>
                                <a:pt x="1145646" y="254000"/>
                              </a:lnTo>
                              <a:lnTo>
                                <a:pt x="1148292" y="254000"/>
                              </a:lnTo>
                              <a:lnTo>
                                <a:pt x="1150938" y="254000"/>
                              </a:lnTo>
                              <a:lnTo>
                                <a:pt x="1150938" y="256646"/>
                              </a:lnTo>
                              <a:lnTo>
                                <a:pt x="1153584" y="254000"/>
                              </a:lnTo>
                              <a:lnTo>
                                <a:pt x="1156230" y="251355"/>
                              </a:lnTo>
                              <a:lnTo>
                                <a:pt x="1156230" y="246063"/>
                              </a:lnTo>
                              <a:lnTo>
                                <a:pt x="1158875" y="243417"/>
                              </a:lnTo>
                              <a:lnTo>
                                <a:pt x="1172105" y="232834"/>
                              </a:lnTo>
                              <a:lnTo>
                                <a:pt x="1182688" y="230188"/>
                              </a:lnTo>
                              <a:lnTo>
                                <a:pt x="1190625" y="232834"/>
                              </a:lnTo>
                              <a:lnTo>
                                <a:pt x="1219729" y="248709"/>
                              </a:lnTo>
                              <a:lnTo>
                                <a:pt x="1235604" y="254000"/>
                              </a:lnTo>
                              <a:lnTo>
                                <a:pt x="1251479" y="261938"/>
                              </a:lnTo>
                              <a:lnTo>
                                <a:pt x="1259417" y="264584"/>
                              </a:lnTo>
                              <a:lnTo>
                                <a:pt x="1262063" y="264584"/>
                              </a:lnTo>
                              <a:lnTo>
                                <a:pt x="1264709" y="264584"/>
                              </a:lnTo>
                              <a:lnTo>
                                <a:pt x="1272646" y="267230"/>
                              </a:lnTo>
                              <a:lnTo>
                                <a:pt x="1277938" y="269875"/>
                              </a:lnTo>
                              <a:lnTo>
                                <a:pt x="1280584" y="272521"/>
                              </a:lnTo>
                              <a:lnTo>
                                <a:pt x="1285875" y="275167"/>
                              </a:lnTo>
                              <a:lnTo>
                                <a:pt x="1280584" y="343959"/>
                              </a:lnTo>
                              <a:lnTo>
                                <a:pt x="1275292" y="404813"/>
                              </a:lnTo>
                              <a:lnTo>
                                <a:pt x="1264709" y="492126"/>
                              </a:lnTo>
                              <a:lnTo>
                                <a:pt x="1262063" y="492126"/>
                              </a:lnTo>
                              <a:lnTo>
                                <a:pt x="1259417" y="489480"/>
                              </a:lnTo>
                              <a:lnTo>
                                <a:pt x="1254125" y="481543"/>
                              </a:lnTo>
                              <a:lnTo>
                                <a:pt x="1248834" y="473605"/>
                              </a:lnTo>
                              <a:lnTo>
                                <a:pt x="1246188" y="470959"/>
                              </a:lnTo>
                              <a:lnTo>
                                <a:pt x="1243542" y="468314"/>
                              </a:lnTo>
                              <a:lnTo>
                                <a:pt x="1238250" y="465668"/>
                              </a:lnTo>
                              <a:lnTo>
                                <a:pt x="1238250" y="463022"/>
                              </a:lnTo>
                              <a:lnTo>
                                <a:pt x="1240896" y="460376"/>
                              </a:lnTo>
                              <a:lnTo>
                                <a:pt x="1240896" y="455084"/>
                              </a:lnTo>
                              <a:lnTo>
                                <a:pt x="1235604" y="460376"/>
                              </a:lnTo>
                              <a:lnTo>
                                <a:pt x="1232959" y="463022"/>
                              </a:lnTo>
                              <a:lnTo>
                                <a:pt x="1227667" y="463022"/>
                              </a:lnTo>
                              <a:lnTo>
                                <a:pt x="1219729" y="463022"/>
                              </a:lnTo>
                              <a:lnTo>
                                <a:pt x="1217084" y="463022"/>
                              </a:lnTo>
                              <a:lnTo>
                                <a:pt x="1214438" y="460376"/>
                              </a:lnTo>
                              <a:lnTo>
                                <a:pt x="1209146" y="463022"/>
                              </a:lnTo>
                              <a:lnTo>
                                <a:pt x="1203854" y="463022"/>
                              </a:lnTo>
                              <a:lnTo>
                                <a:pt x="1201209" y="460376"/>
                              </a:lnTo>
                              <a:lnTo>
                                <a:pt x="1201209" y="455084"/>
                              </a:lnTo>
                              <a:lnTo>
                                <a:pt x="1198563" y="449792"/>
                              </a:lnTo>
                              <a:lnTo>
                                <a:pt x="1195917" y="447147"/>
                              </a:lnTo>
                              <a:lnTo>
                                <a:pt x="1198563" y="444501"/>
                              </a:lnTo>
                              <a:lnTo>
                                <a:pt x="1201209" y="439209"/>
                              </a:lnTo>
                              <a:lnTo>
                                <a:pt x="1193271" y="433917"/>
                              </a:lnTo>
                              <a:lnTo>
                                <a:pt x="1190625" y="431272"/>
                              </a:lnTo>
                              <a:lnTo>
                                <a:pt x="1195917" y="428626"/>
                              </a:lnTo>
                              <a:lnTo>
                                <a:pt x="1206500" y="428626"/>
                              </a:lnTo>
                              <a:lnTo>
                                <a:pt x="1195917" y="423334"/>
                              </a:lnTo>
                              <a:lnTo>
                                <a:pt x="1187980" y="418042"/>
                              </a:lnTo>
                              <a:lnTo>
                                <a:pt x="1187980" y="412751"/>
                              </a:lnTo>
                              <a:lnTo>
                                <a:pt x="1190625" y="412751"/>
                              </a:lnTo>
                              <a:lnTo>
                                <a:pt x="1193271" y="410105"/>
                              </a:lnTo>
                              <a:lnTo>
                                <a:pt x="1195917" y="407459"/>
                              </a:lnTo>
                              <a:lnTo>
                                <a:pt x="1201209" y="407459"/>
                              </a:lnTo>
                              <a:lnTo>
                                <a:pt x="1211792" y="410105"/>
                              </a:lnTo>
                              <a:lnTo>
                                <a:pt x="1203854" y="404813"/>
                              </a:lnTo>
                              <a:lnTo>
                                <a:pt x="1193271" y="402167"/>
                              </a:lnTo>
                              <a:lnTo>
                                <a:pt x="1187980" y="396876"/>
                              </a:lnTo>
                              <a:lnTo>
                                <a:pt x="1185334" y="394230"/>
                              </a:lnTo>
                              <a:lnTo>
                                <a:pt x="1187980" y="394230"/>
                              </a:lnTo>
                              <a:lnTo>
                                <a:pt x="1190625" y="391584"/>
                              </a:lnTo>
                              <a:lnTo>
                                <a:pt x="1193271" y="391584"/>
                              </a:lnTo>
                              <a:lnTo>
                                <a:pt x="1193271" y="388938"/>
                              </a:lnTo>
                              <a:lnTo>
                                <a:pt x="1187980" y="383647"/>
                              </a:lnTo>
                              <a:lnTo>
                                <a:pt x="1182688" y="378355"/>
                              </a:lnTo>
                              <a:lnTo>
                                <a:pt x="1182688" y="375709"/>
                              </a:lnTo>
                              <a:lnTo>
                                <a:pt x="1193271" y="373063"/>
                              </a:lnTo>
                              <a:lnTo>
                                <a:pt x="1185334" y="373063"/>
                              </a:lnTo>
                              <a:lnTo>
                                <a:pt x="1182688" y="373063"/>
                              </a:lnTo>
                              <a:lnTo>
                                <a:pt x="1193271" y="367771"/>
                              </a:lnTo>
                              <a:lnTo>
                                <a:pt x="1182688" y="367771"/>
                              </a:lnTo>
                              <a:lnTo>
                                <a:pt x="1177396" y="365126"/>
                              </a:lnTo>
                              <a:lnTo>
                                <a:pt x="1180042" y="362480"/>
                              </a:lnTo>
                              <a:lnTo>
                                <a:pt x="1182688" y="357188"/>
                              </a:lnTo>
                              <a:lnTo>
                                <a:pt x="1177396" y="359834"/>
                              </a:lnTo>
                              <a:lnTo>
                                <a:pt x="1174750" y="357188"/>
                              </a:lnTo>
                              <a:lnTo>
                                <a:pt x="1172105" y="351896"/>
                              </a:lnTo>
                              <a:lnTo>
                                <a:pt x="1169459" y="349251"/>
                              </a:lnTo>
                              <a:lnTo>
                                <a:pt x="1164167" y="349251"/>
                              </a:lnTo>
                              <a:lnTo>
                                <a:pt x="1156230" y="349251"/>
                              </a:lnTo>
                              <a:lnTo>
                                <a:pt x="1145646" y="343959"/>
                              </a:lnTo>
                              <a:lnTo>
                                <a:pt x="1135063" y="338667"/>
                              </a:lnTo>
                              <a:lnTo>
                                <a:pt x="1124480" y="338667"/>
                              </a:lnTo>
                              <a:lnTo>
                                <a:pt x="1119188" y="341313"/>
                              </a:lnTo>
                              <a:lnTo>
                                <a:pt x="1116542" y="338667"/>
                              </a:lnTo>
                              <a:lnTo>
                                <a:pt x="1116542" y="336021"/>
                              </a:lnTo>
                              <a:lnTo>
                                <a:pt x="1111250" y="336021"/>
                              </a:lnTo>
                              <a:lnTo>
                                <a:pt x="1108605" y="333376"/>
                              </a:lnTo>
                              <a:lnTo>
                                <a:pt x="1108605" y="330730"/>
                              </a:lnTo>
                              <a:lnTo>
                                <a:pt x="1105959" y="330730"/>
                              </a:lnTo>
                              <a:lnTo>
                                <a:pt x="1100667" y="328084"/>
                              </a:lnTo>
                              <a:lnTo>
                                <a:pt x="1098021" y="325438"/>
                              </a:lnTo>
                              <a:lnTo>
                                <a:pt x="1095375" y="320146"/>
                              </a:lnTo>
                              <a:lnTo>
                                <a:pt x="1090084" y="317501"/>
                              </a:lnTo>
                              <a:lnTo>
                                <a:pt x="1082146" y="314855"/>
                              </a:lnTo>
                              <a:lnTo>
                                <a:pt x="1082146" y="312209"/>
                              </a:lnTo>
                              <a:lnTo>
                                <a:pt x="1084792" y="312209"/>
                              </a:lnTo>
                              <a:lnTo>
                                <a:pt x="1090084" y="309563"/>
                              </a:lnTo>
                              <a:lnTo>
                                <a:pt x="1084792" y="309563"/>
                              </a:lnTo>
                              <a:lnTo>
                                <a:pt x="1082146" y="312209"/>
                              </a:lnTo>
                              <a:lnTo>
                                <a:pt x="1079500" y="312209"/>
                              </a:lnTo>
                              <a:lnTo>
                                <a:pt x="1076855" y="312209"/>
                              </a:lnTo>
                              <a:lnTo>
                                <a:pt x="1074209" y="309563"/>
                              </a:lnTo>
                              <a:lnTo>
                                <a:pt x="1074209" y="306917"/>
                              </a:lnTo>
                              <a:lnTo>
                                <a:pt x="1074209" y="304271"/>
                              </a:lnTo>
                              <a:lnTo>
                                <a:pt x="1074209" y="301626"/>
                              </a:lnTo>
                              <a:lnTo>
                                <a:pt x="1074209" y="298980"/>
                              </a:lnTo>
                              <a:lnTo>
                                <a:pt x="1074209" y="296334"/>
                              </a:lnTo>
                              <a:lnTo>
                                <a:pt x="1076855" y="296334"/>
                              </a:lnTo>
                              <a:lnTo>
                                <a:pt x="1076855" y="293688"/>
                              </a:lnTo>
                              <a:lnTo>
                                <a:pt x="1071563" y="296334"/>
                              </a:lnTo>
                              <a:lnTo>
                                <a:pt x="1071563" y="301626"/>
                              </a:lnTo>
                              <a:lnTo>
                                <a:pt x="1068917" y="301626"/>
                              </a:lnTo>
                              <a:lnTo>
                                <a:pt x="1068917" y="304271"/>
                              </a:lnTo>
                              <a:lnTo>
                                <a:pt x="1071563" y="306917"/>
                              </a:lnTo>
                              <a:lnTo>
                                <a:pt x="1071563" y="309563"/>
                              </a:lnTo>
                              <a:lnTo>
                                <a:pt x="1066271" y="312209"/>
                              </a:lnTo>
                              <a:lnTo>
                                <a:pt x="1063625" y="314855"/>
                              </a:lnTo>
                              <a:lnTo>
                                <a:pt x="1063625" y="320146"/>
                              </a:lnTo>
                              <a:lnTo>
                                <a:pt x="1063625" y="322792"/>
                              </a:lnTo>
                              <a:lnTo>
                                <a:pt x="1055688" y="325438"/>
                              </a:lnTo>
                              <a:lnTo>
                                <a:pt x="1050396" y="325438"/>
                              </a:lnTo>
                              <a:lnTo>
                                <a:pt x="1047751" y="322792"/>
                              </a:lnTo>
                              <a:lnTo>
                                <a:pt x="1047751" y="314855"/>
                              </a:lnTo>
                              <a:lnTo>
                                <a:pt x="1042459" y="309563"/>
                              </a:lnTo>
                              <a:lnTo>
                                <a:pt x="1042459" y="306917"/>
                              </a:lnTo>
                              <a:lnTo>
                                <a:pt x="1047751" y="304271"/>
                              </a:lnTo>
                              <a:lnTo>
                                <a:pt x="1050396" y="304271"/>
                              </a:lnTo>
                              <a:lnTo>
                                <a:pt x="1050396" y="301626"/>
                              </a:lnTo>
                              <a:lnTo>
                                <a:pt x="1047751" y="301626"/>
                              </a:lnTo>
                              <a:lnTo>
                                <a:pt x="1047751" y="296334"/>
                              </a:lnTo>
                              <a:lnTo>
                                <a:pt x="1047751" y="293688"/>
                              </a:lnTo>
                              <a:lnTo>
                                <a:pt x="1045105" y="293688"/>
                              </a:lnTo>
                              <a:lnTo>
                                <a:pt x="1042459" y="293688"/>
                              </a:lnTo>
                              <a:lnTo>
                                <a:pt x="1039813" y="288396"/>
                              </a:lnTo>
                              <a:lnTo>
                                <a:pt x="1034521" y="285751"/>
                              </a:lnTo>
                              <a:lnTo>
                                <a:pt x="1031876" y="283105"/>
                              </a:lnTo>
                              <a:lnTo>
                                <a:pt x="1029230" y="280459"/>
                              </a:lnTo>
                              <a:lnTo>
                                <a:pt x="1023938" y="277813"/>
                              </a:lnTo>
                              <a:lnTo>
                                <a:pt x="1021292" y="277813"/>
                              </a:lnTo>
                              <a:lnTo>
                                <a:pt x="1018646" y="277813"/>
                              </a:lnTo>
                              <a:lnTo>
                                <a:pt x="1016001" y="275167"/>
                              </a:lnTo>
                              <a:lnTo>
                                <a:pt x="1018646" y="272521"/>
                              </a:lnTo>
                              <a:lnTo>
                                <a:pt x="1026584" y="267230"/>
                              </a:lnTo>
                              <a:lnTo>
                                <a:pt x="1037167" y="267230"/>
                              </a:lnTo>
                              <a:lnTo>
                                <a:pt x="1045105" y="267230"/>
                              </a:lnTo>
                              <a:lnTo>
                                <a:pt x="1047751" y="269875"/>
                              </a:lnTo>
                              <a:lnTo>
                                <a:pt x="1047751" y="267230"/>
                              </a:lnTo>
                              <a:lnTo>
                                <a:pt x="1050396" y="264584"/>
                              </a:lnTo>
                              <a:lnTo>
                                <a:pt x="1053042" y="261938"/>
                              </a:lnTo>
                              <a:lnTo>
                                <a:pt x="1060980" y="261938"/>
                              </a:lnTo>
                              <a:lnTo>
                                <a:pt x="1060980" y="267230"/>
                              </a:lnTo>
                              <a:lnTo>
                                <a:pt x="1066271" y="264584"/>
                              </a:lnTo>
                              <a:lnTo>
                                <a:pt x="1074209" y="264584"/>
                              </a:lnTo>
                              <a:lnTo>
                                <a:pt x="1076855" y="264584"/>
                              </a:lnTo>
                              <a:lnTo>
                                <a:pt x="1076855" y="261938"/>
                              </a:lnTo>
                              <a:lnTo>
                                <a:pt x="1074209" y="259292"/>
                              </a:lnTo>
                              <a:lnTo>
                                <a:pt x="1074209" y="254000"/>
                              </a:lnTo>
                              <a:lnTo>
                                <a:pt x="1074209" y="251355"/>
                              </a:lnTo>
                              <a:lnTo>
                                <a:pt x="1071563" y="254000"/>
                              </a:lnTo>
                              <a:lnTo>
                                <a:pt x="1068917" y="256646"/>
                              </a:lnTo>
                              <a:lnTo>
                                <a:pt x="1060980" y="256646"/>
                              </a:lnTo>
                              <a:lnTo>
                                <a:pt x="1055688" y="254000"/>
                              </a:lnTo>
                              <a:lnTo>
                                <a:pt x="1050396" y="256646"/>
                              </a:lnTo>
                              <a:lnTo>
                                <a:pt x="1047751" y="256646"/>
                              </a:lnTo>
                              <a:lnTo>
                                <a:pt x="1045105" y="256646"/>
                              </a:lnTo>
                              <a:lnTo>
                                <a:pt x="1039813" y="256646"/>
                              </a:lnTo>
                              <a:lnTo>
                                <a:pt x="1037167" y="256646"/>
                              </a:lnTo>
                              <a:lnTo>
                                <a:pt x="1034521" y="259292"/>
                              </a:lnTo>
                              <a:lnTo>
                                <a:pt x="1029230" y="256646"/>
                              </a:lnTo>
                              <a:lnTo>
                                <a:pt x="1023938" y="254000"/>
                              </a:lnTo>
                              <a:lnTo>
                                <a:pt x="1023938" y="251355"/>
                              </a:lnTo>
                              <a:lnTo>
                                <a:pt x="1026584" y="251355"/>
                              </a:lnTo>
                              <a:lnTo>
                                <a:pt x="1026584" y="248709"/>
                              </a:lnTo>
                              <a:lnTo>
                                <a:pt x="1023938" y="243417"/>
                              </a:lnTo>
                              <a:lnTo>
                                <a:pt x="1026584" y="243417"/>
                              </a:lnTo>
                              <a:lnTo>
                                <a:pt x="1029230" y="240771"/>
                              </a:lnTo>
                              <a:lnTo>
                                <a:pt x="1026584" y="240771"/>
                              </a:lnTo>
                              <a:lnTo>
                                <a:pt x="1023938" y="238125"/>
                              </a:lnTo>
                              <a:lnTo>
                                <a:pt x="1021292" y="235480"/>
                              </a:lnTo>
                              <a:lnTo>
                                <a:pt x="1016001" y="238125"/>
                              </a:lnTo>
                              <a:lnTo>
                                <a:pt x="1013355" y="238125"/>
                              </a:lnTo>
                              <a:lnTo>
                                <a:pt x="1010709" y="235480"/>
                              </a:lnTo>
                              <a:lnTo>
                                <a:pt x="1010709" y="232834"/>
                              </a:lnTo>
                              <a:lnTo>
                                <a:pt x="1005417" y="232834"/>
                              </a:lnTo>
                              <a:lnTo>
                                <a:pt x="1002771" y="235480"/>
                              </a:lnTo>
                              <a:lnTo>
                                <a:pt x="1000126" y="235480"/>
                              </a:lnTo>
                              <a:lnTo>
                                <a:pt x="989542" y="230188"/>
                              </a:lnTo>
                              <a:lnTo>
                                <a:pt x="994834" y="227542"/>
                              </a:lnTo>
                              <a:lnTo>
                                <a:pt x="994834" y="224896"/>
                              </a:lnTo>
                              <a:lnTo>
                                <a:pt x="997480" y="222250"/>
                              </a:lnTo>
                              <a:lnTo>
                                <a:pt x="1002771" y="222250"/>
                              </a:lnTo>
                              <a:lnTo>
                                <a:pt x="1002771" y="219605"/>
                              </a:lnTo>
                              <a:lnTo>
                                <a:pt x="1005417" y="214313"/>
                              </a:lnTo>
                              <a:lnTo>
                                <a:pt x="1010709" y="214313"/>
                              </a:lnTo>
                              <a:lnTo>
                                <a:pt x="1013355" y="211667"/>
                              </a:lnTo>
                              <a:lnTo>
                                <a:pt x="1016001" y="209021"/>
                              </a:lnTo>
                              <a:lnTo>
                                <a:pt x="1018646" y="206375"/>
                              </a:lnTo>
                              <a:lnTo>
                                <a:pt x="1023938" y="203730"/>
                              </a:lnTo>
                              <a:lnTo>
                                <a:pt x="1029230" y="201084"/>
                              </a:lnTo>
                              <a:close/>
                              <a:moveTo>
                                <a:pt x="825500" y="132292"/>
                              </a:moveTo>
                              <a:lnTo>
                                <a:pt x="828146" y="132292"/>
                              </a:lnTo>
                              <a:lnTo>
                                <a:pt x="833438" y="132292"/>
                              </a:lnTo>
                              <a:lnTo>
                                <a:pt x="838729" y="132292"/>
                              </a:lnTo>
                              <a:lnTo>
                                <a:pt x="838729" y="134938"/>
                              </a:lnTo>
                              <a:lnTo>
                                <a:pt x="836083" y="140229"/>
                              </a:lnTo>
                              <a:lnTo>
                                <a:pt x="833438" y="145521"/>
                              </a:lnTo>
                              <a:lnTo>
                                <a:pt x="830792" y="153459"/>
                              </a:lnTo>
                              <a:lnTo>
                                <a:pt x="825500" y="156104"/>
                              </a:lnTo>
                              <a:lnTo>
                                <a:pt x="817563" y="161396"/>
                              </a:lnTo>
                              <a:lnTo>
                                <a:pt x="817563" y="164042"/>
                              </a:lnTo>
                              <a:lnTo>
                                <a:pt x="814917" y="166688"/>
                              </a:lnTo>
                              <a:lnTo>
                                <a:pt x="814917" y="169334"/>
                              </a:lnTo>
                              <a:lnTo>
                                <a:pt x="809625" y="174625"/>
                              </a:lnTo>
                              <a:lnTo>
                                <a:pt x="796396" y="179917"/>
                              </a:lnTo>
                              <a:lnTo>
                                <a:pt x="783167" y="182563"/>
                              </a:lnTo>
                              <a:lnTo>
                                <a:pt x="777875" y="179917"/>
                              </a:lnTo>
                              <a:lnTo>
                                <a:pt x="775229" y="177271"/>
                              </a:lnTo>
                              <a:lnTo>
                                <a:pt x="772583" y="177271"/>
                              </a:lnTo>
                              <a:lnTo>
                                <a:pt x="769937" y="174625"/>
                              </a:lnTo>
                              <a:lnTo>
                                <a:pt x="762000" y="174625"/>
                              </a:lnTo>
                              <a:lnTo>
                                <a:pt x="751416" y="174625"/>
                              </a:lnTo>
                              <a:lnTo>
                                <a:pt x="748770" y="174625"/>
                              </a:lnTo>
                              <a:lnTo>
                                <a:pt x="746125" y="174625"/>
                              </a:lnTo>
                              <a:lnTo>
                                <a:pt x="743479" y="171979"/>
                              </a:lnTo>
                              <a:lnTo>
                                <a:pt x="732895" y="171979"/>
                              </a:lnTo>
                              <a:lnTo>
                                <a:pt x="722312" y="174625"/>
                              </a:lnTo>
                              <a:lnTo>
                                <a:pt x="717020" y="177271"/>
                              </a:lnTo>
                              <a:lnTo>
                                <a:pt x="709083" y="185209"/>
                              </a:lnTo>
                              <a:lnTo>
                                <a:pt x="703791" y="193146"/>
                              </a:lnTo>
                              <a:lnTo>
                                <a:pt x="703791" y="201084"/>
                              </a:lnTo>
                              <a:lnTo>
                                <a:pt x="706437" y="209021"/>
                              </a:lnTo>
                              <a:lnTo>
                                <a:pt x="711729" y="216959"/>
                              </a:lnTo>
                              <a:lnTo>
                                <a:pt x="717020" y="219604"/>
                              </a:lnTo>
                              <a:lnTo>
                                <a:pt x="719666" y="224896"/>
                              </a:lnTo>
                              <a:lnTo>
                                <a:pt x="719666" y="232834"/>
                              </a:lnTo>
                              <a:lnTo>
                                <a:pt x="727604" y="232834"/>
                              </a:lnTo>
                              <a:lnTo>
                                <a:pt x="730250" y="230188"/>
                              </a:lnTo>
                              <a:lnTo>
                                <a:pt x="730250" y="227542"/>
                              </a:lnTo>
                              <a:lnTo>
                                <a:pt x="735541" y="222250"/>
                              </a:lnTo>
                              <a:lnTo>
                                <a:pt x="743479" y="216959"/>
                              </a:lnTo>
                              <a:lnTo>
                                <a:pt x="746125" y="219604"/>
                              </a:lnTo>
                              <a:lnTo>
                                <a:pt x="748770" y="219604"/>
                              </a:lnTo>
                              <a:lnTo>
                                <a:pt x="756708" y="216959"/>
                              </a:lnTo>
                              <a:lnTo>
                                <a:pt x="762000" y="214313"/>
                              </a:lnTo>
                              <a:lnTo>
                                <a:pt x="767291" y="214313"/>
                              </a:lnTo>
                              <a:lnTo>
                                <a:pt x="772583" y="214313"/>
                              </a:lnTo>
                              <a:lnTo>
                                <a:pt x="777875" y="211667"/>
                              </a:lnTo>
                              <a:lnTo>
                                <a:pt x="777875" y="209021"/>
                              </a:lnTo>
                              <a:lnTo>
                                <a:pt x="780521" y="206375"/>
                              </a:lnTo>
                              <a:lnTo>
                                <a:pt x="788458" y="206375"/>
                              </a:lnTo>
                              <a:lnTo>
                                <a:pt x="796396" y="209021"/>
                              </a:lnTo>
                              <a:lnTo>
                                <a:pt x="796396" y="214313"/>
                              </a:lnTo>
                              <a:lnTo>
                                <a:pt x="793750" y="222250"/>
                              </a:lnTo>
                              <a:lnTo>
                                <a:pt x="788458" y="227542"/>
                              </a:lnTo>
                              <a:lnTo>
                                <a:pt x="785813" y="224896"/>
                              </a:lnTo>
                              <a:lnTo>
                                <a:pt x="783167" y="222250"/>
                              </a:lnTo>
                              <a:lnTo>
                                <a:pt x="777875" y="219604"/>
                              </a:lnTo>
                              <a:lnTo>
                                <a:pt x="775229" y="224896"/>
                              </a:lnTo>
                              <a:lnTo>
                                <a:pt x="772583" y="232834"/>
                              </a:lnTo>
                              <a:lnTo>
                                <a:pt x="769937" y="240771"/>
                              </a:lnTo>
                              <a:lnTo>
                                <a:pt x="764645" y="246063"/>
                              </a:lnTo>
                              <a:lnTo>
                                <a:pt x="759354" y="246063"/>
                              </a:lnTo>
                              <a:lnTo>
                                <a:pt x="754062" y="251354"/>
                              </a:lnTo>
                              <a:lnTo>
                                <a:pt x="748770" y="256646"/>
                              </a:lnTo>
                              <a:lnTo>
                                <a:pt x="746125" y="256646"/>
                              </a:lnTo>
                              <a:lnTo>
                                <a:pt x="740833" y="256646"/>
                              </a:lnTo>
                              <a:lnTo>
                                <a:pt x="746125" y="259292"/>
                              </a:lnTo>
                              <a:lnTo>
                                <a:pt x="748770" y="261938"/>
                              </a:lnTo>
                              <a:lnTo>
                                <a:pt x="748770" y="267229"/>
                              </a:lnTo>
                              <a:lnTo>
                                <a:pt x="746125" y="269875"/>
                              </a:lnTo>
                              <a:lnTo>
                                <a:pt x="748770" y="269875"/>
                              </a:lnTo>
                              <a:lnTo>
                                <a:pt x="754062" y="272521"/>
                              </a:lnTo>
                              <a:lnTo>
                                <a:pt x="756708" y="283104"/>
                              </a:lnTo>
                              <a:lnTo>
                                <a:pt x="759354" y="285750"/>
                              </a:lnTo>
                              <a:lnTo>
                                <a:pt x="762000" y="288396"/>
                              </a:lnTo>
                              <a:lnTo>
                                <a:pt x="764645" y="293688"/>
                              </a:lnTo>
                              <a:lnTo>
                                <a:pt x="764645" y="304271"/>
                              </a:lnTo>
                              <a:lnTo>
                                <a:pt x="767291" y="312209"/>
                              </a:lnTo>
                              <a:lnTo>
                                <a:pt x="769937" y="314854"/>
                              </a:lnTo>
                              <a:lnTo>
                                <a:pt x="772583" y="314854"/>
                              </a:lnTo>
                              <a:lnTo>
                                <a:pt x="772583" y="320146"/>
                              </a:lnTo>
                              <a:lnTo>
                                <a:pt x="772583" y="325438"/>
                              </a:lnTo>
                              <a:lnTo>
                                <a:pt x="775229" y="325438"/>
                              </a:lnTo>
                              <a:lnTo>
                                <a:pt x="777875" y="325438"/>
                              </a:lnTo>
                              <a:lnTo>
                                <a:pt x="777875" y="330729"/>
                              </a:lnTo>
                              <a:lnTo>
                                <a:pt x="777875" y="336021"/>
                              </a:lnTo>
                              <a:lnTo>
                                <a:pt x="775229" y="338667"/>
                              </a:lnTo>
                              <a:lnTo>
                                <a:pt x="767291" y="338667"/>
                              </a:lnTo>
                              <a:lnTo>
                                <a:pt x="762000" y="341313"/>
                              </a:lnTo>
                              <a:lnTo>
                                <a:pt x="759354" y="341313"/>
                              </a:lnTo>
                              <a:lnTo>
                                <a:pt x="756708" y="346604"/>
                              </a:lnTo>
                              <a:lnTo>
                                <a:pt x="756708" y="351896"/>
                              </a:lnTo>
                              <a:lnTo>
                                <a:pt x="759354" y="357188"/>
                              </a:lnTo>
                              <a:lnTo>
                                <a:pt x="756708" y="357188"/>
                              </a:lnTo>
                              <a:lnTo>
                                <a:pt x="746125" y="354542"/>
                              </a:lnTo>
                              <a:lnTo>
                                <a:pt x="740833" y="351896"/>
                              </a:lnTo>
                              <a:lnTo>
                                <a:pt x="738187" y="346604"/>
                              </a:lnTo>
                              <a:lnTo>
                                <a:pt x="738187" y="343959"/>
                              </a:lnTo>
                              <a:lnTo>
                                <a:pt x="738187" y="338667"/>
                              </a:lnTo>
                              <a:lnTo>
                                <a:pt x="743479" y="333375"/>
                              </a:lnTo>
                              <a:lnTo>
                                <a:pt x="743479" y="330729"/>
                              </a:lnTo>
                              <a:lnTo>
                                <a:pt x="743479" y="328084"/>
                              </a:lnTo>
                              <a:lnTo>
                                <a:pt x="735541" y="325438"/>
                              </a:lnTo>
                              <a:lnTo>
                                <a:pt x="727604" y="317500"/>
                              </a:lnTo>
                              <a:lnTo>
                                <a:pt x="724958" y="309563"/>
                              </a:lnTo>
                              <a:lnTo>
                                <a:pt x="724958" y="306917"/>
                              </a:lnTo>
                              <a:lnTo>
                                <a:pt x="727604" y="304271"/>
                              </a:lnTo>
                              <a:lnTo>
                                <a:pt x="730250" y="296334"/>
                              </a:lnTo>
                              <a:lnTo>
                                <a:pt x="732895" y="291042"/>
                              </a:lnTo>
                              <a:lnTo>
                                <a:pt x="727604" y="283104"/>
                              </a:lnTo>
                              <a:lnTo>
                                <a:pt x="724958" y="280459"/>
                              </a:lnTo>
                              <a:lnTo>
                                <a:pt x="719666" y="280459"/>
                              </a:lnTo>
                              <a:lnTo>
                                <a:pt x="719666" y="285750"/>
                              </a:lnTo>
                              <a:lnTo>
                                <a:pt x="717020" y="288396"/>
                              </a:lnTo>
                              <a:lnTo>
                                <a:pt x="711729" y="296334"/>
                              </a:lnTo>
                              <a:lnTo>
                                <a:pt x="706437" y="301625"/>
                              </a:lnTo>
                              <a:lnTo>
                                <a:pt x="706437" y="304271"/>
                              </a:lnTo>
                              <a:lnTo>
                                <a:pt x="709083" y="306917"/>
                              </a:lnTo>
                              <a:lnTo>
                                <a:pt x="711729" y="309563"/>
                              </a:lnTo>
                              <a:lnTo>
                                <a:pt x="714375" y="312209"/>
                              </a:lnTo>
                              <a:lnTo>
                                <a:pt x="711729" y="322792"/>
                              </a:lnTo>
                              <a:lnTo>
                                <a:pt x="709083" y="330729"/>
                              </a:lnTo>
                              <a:lnTo>
                                <a:pt x="709083" y="333375"/>
                              </a:lnTo>
                              <a:lnTo>
                                <a:pt x="711729" y="336021"/>
                              </a:lnTo>
                              <a:lnTo>
                                <a:pt x="714375" y="343959"/>
                              </a:lnTo>
                              <a:lnTo>
                                <a:pt x="714375" y="354542"/>
                              </a:lnTo>
                              <a:lnTo>
                                <a:pt x="714375" y="359834"/>
                              </a:lnTo>
                              <a:lnTo>
                                <a:pt x="711729" y="362479"/>
                              </a:lnTo>
                              <a:lnTo>
                                <a:pt x="709083" y="367771"/>
                              </a:lnTo>
                              <a:lnTo>
                                <a:pt x="706437" y="370417"/>
                              </a:lnTo>
                              <a:lnTo>
                                <a:pt x="711729" y="378354"/>
                              </a:lnTo>
                              <a:lnTo>
                                <a:pt x="711729" y="381000"/>
                              </a:lnTo>
                              <a:lnTo>
                                <a:pt x="701145" y="383646"/>
                              </a:lnTo>
                              <a:lnTo>
                                <a:pt x="693208" y="386292"/>
                              </a:lnTo>
                              <a:lnTo>
                                <a:pt x="685270" y="383646"/>
                              </a:lnTo>
                              <a:lnTo>
                                <a:pt x="682625" y="381000"/>
                              </a:lnTo>
                              <a:lnTo>
                                <a:pt x="679979" y="378354"/>
                              </a:lnTo>
                              <a:lnTo>
                                <a:pt x="679979" y="370417"/>
                              </a:lnTo>
                              <a:lnTo>
                                <a:pt x="682625" y="365125"/>
                              </a:lnTo>
                              <a:lnTo>
                                <a:pt x="682625" y="359834"/>
                              </a:lnTo>
                              <a:lnTo>
                                <a:pt x="682625" y="354542"/>
                              </a:lnTo>
                              <a:lnTo>
                                <a:pt x="685270" y="346604"/>
                              </a:lnTo>
                              <a:lnTo>
                                <a:pt x="687916" y="341313"/>
                              </a:lnTo>
                              <a:lnTo>
                                <a:pt x="690562" y="333375"/>
                              </a:lnTo>
                              <a:lnTo>
                                <a:pt x="685270" y="322792"/>
                              </a:lnTo>
                              <a:lnTo>
                                <a:pt x="677333" y="314854"/>
                              </a:lnTo>
                              <a:lnTo>
                                <a:pt x="674687" y="312209"/>
                              </a:lnTo>
                              <a:lnTo>
                                <a:pt x="672041" y="312209"/>
                              </a:lnTo>
                              <a:lnTo>
                                <a:pt x="666750" y="312209"/>
                              </a:lnTo>
                              <a:lnTo>
                                <a:pt x="664104" y="309563"/>
                              </a:lnTo>
                              <a:lnTo>
                                <a:pt x="664104" y="306917"/>
                              </a:lnTo>
                              <a:lnTo>
                                <a:pt x="666750" y="301625"/>
                              </a:lnTo>
                              <a:lnTo>
                                <a:pt x="672041" y="298979"/>
                              </a:lnTo>
                              <a:lnTo>
                                <a:pt x="672041" y="293688"/>
                              </a:lnTo>
                              <a:lnTo>
                                <a:pt x="672041" y="285750"/>
                              </a:lnTo>
                              <a:lnTo>
                                <a:pt x="669395" y="275167"/>
                              </a:lnTo>
                              <a:lnTo>
                                <a:pt x="672041" y="272521"/>
                              </a:lnTo>
                              <a:lnTo>
                                <a:pt x="677333" y="269875"/>
                              </a:lnTo>
                              <a:lnTo>
                                <a:pt x="674687" y="259292"/>
                              </a:lnTo>
                              <a:lnTo>
                                <a:pt x="674687" y="251354"/>
                              </a:lnTo>
                              <a:lnTo>
                                <a:pt x="677333" y="243417"/>
                              </a:lnTo>
                              <a:lnTo>
                                <a:pt x="679979" y="235479"/>
                              </a:lnTo>
                              <a:lnTo>
                                <a:pt x="685270" y="230188"/>
                              </a:lnTo>
                              <a:lnTo>
                                <a:pt x="687916" y="230188"/>
                              </a:lnTo>
                              <a:lnTo>
                                <a:pt x="690562" y="235479"/>
                              </a:lnTo>
                              <a:lnTo>
                                <a:pt x="690562" y="230188"/>
                              </a:lnTo>
                              <a:lnTo>
                                <a:pt x="687916" y="227542"/>
                              </a:lnTo>
                              <a:lnTo>
                                <a:pt x="685270" y="224896"/>
                              </a:lnTo>
                              <a:lnTo>
                                <a:pt x="687916" y="214313"/>
                              </a:lnTo>
                              <a:lnTo>
                                <a:pt x="687916" y="206375"/>
                              </a:lnTo>
                              <a:lnTo>
                                <a:pt x="687916" y="203729"/>
                              </a:lnTo>
                              <a:lnTo>
                                <a:pt x="687916" y="201084"/>
                              </a:lnTo>
                              <a:lnTo>
                                <a:pt x="690562" y="195792"/>
                              </a:lnTo>
                              <a:lnTo>
                                <a:pt x="690562" y="190500"/>
                              </a:lnTo>
                              <a:lnTo>
                                <a:pt x="687916" y="182563"/>
                              </a:lnTo>
                              <a:lnTo>
                                <a:pt x="687916" y="174625"/>
                              </a:lnTo>
                              <a:lnTo>
                                <a:pt x="690562" y="171979"/>
                              </a:lnTo>
                              <a:lnTo>
                                <a:pt x="693208" y="169334"/>
                              </a:lnTo>
                              <a:lnTo>
                                <a:pt x="695854" y="166688"/>
                              </a:lnTo>
                              <a:lnTo>
                                <a:pt x="695854" y="164042"/>
                              </a:lnTo>
                              <a:lnTo>
                                <a:pt x="693208" y="164042"/>
                              </a:lnTo>
                              <a:lnTo>
                                <a:pt x="695854" y="161396"/>
                              </a:lnTo>
                              <a:lnTo>
                                <a:pt x="698500" y="158750"/>
                              </a:lnTo>
                              <a:lnTo>
                                <a:pt x="701145" y="164042"/>
                              </a:lnTo>
                              <a:lnTo>
                                <a:pt x="703791" y="166688"/>
                              </a:lnTo>
                              <a:lnTo>
                                <a:pt x="709083" y="164042"/>
                              </a:lnTo>
                              <a:lnTo>
                                <a:pt x="714375" y="158750"/>
                              </a:lnTo>
                              <a:lnTo>
                                <a:pt x="714375" y="153459"/>
                              </a:lnTo>
                              <a:lnTo>
                                <a:pt x="717020" y="148167"/>
                              </a:lnTo>
                              <a:lnTo>
                                <a:pt x="722312" y="145521"/>
                              </a:lnTo>
                              <a:lnTo>
                                <a:pt x="727604" y="145521"/>
                              </a:lnTo>
                              <a:lnTo>
                                <a:pt x="730250" y="150813"/>
                              </a:lnTo>
                              <a:lnTo>
                                <a:pt x="735541" y="153459"/>
                              </a:lnTo>
                              <a:lnTo>
                                <a:pt x="740833" y="153459"/>
                              </a:lnTo>
                              <a:lnTo>
                                <a:pt x="748770" y="153459"/>
                              </a:lnTo>
                              <a:lnTo>
                                <a:pt x="756708" y="156104"/>
                              </a:lnTo>
                              <a:lnTo>
                                <a:pt x="762000" y="158750"/>
                              </a:lnTo>
                              <a:lnTo>
                                <a:pt x="769937" y="158750"/>
                              </a:lnTo>
                              <a:lnTo>
                                <a:pt x="775229" y="156104"/>
                              </a:lnTo>
                              <a:lnTo>
                                <a:pt x="783167" y="158750"/>
                              </a:lnTo>
                              <a:lnTo>
                                <a:pt x="791104" y="158750"/>
                              </a:lnTo>
                              <a:lnTo>
                                <a:pt x="801688" y="153459"/>
                              </a:lnTo>
                              <a:lnTo>
                                <a:pt x="812271" y="148167"/>
                              </a:lnTo>
                              <a:lnTo>
                                <a:pt x="817563" y="142875"/>
                              </a:lnTo>
                              <a:lnTo>
                                <a:pt x="817563" y="140229"/>
                              </a:lnTo>
                              <a:lnTo>
                                <a:pt x="820208" y="137584"/>
                              </a:lnTo>
                              <a:lnTo>
                                <a:pt x="825500" y="134938"/>
                              </a:lnTo>
                              <a:close/>
                              <a:moveTo>
                                <a:pt x="907521" y="116417"/>
                              </a:moveTo>
                              <a:lnTo>
                                <a:pt x="910166" y="116417"/>
                              </a:lnTo>
                              <a:lnTo>
                                <a:pt x="912812" y="119063"/>
                              </a:lnTo>
                              <a:lnTo>
                                <a:pt x="910166" y="121709"/>
                              </a:lnTo>
                              <a:lnTo>
                                <a:pt x="907521" y="127000"/>
                              </a:lnTo>
                              <a:lnTo>
                                <a:pt x="907521" y="129646"/>
                              </a:lnTo>
                              <a:lnTo>
                                <a:pt x="910166" y="132292"/>
                              </a:lnTo>
                              <a:lnTo>
                                <a:pt x="912812" y="134938"/>
                              </a:lnTo>
                              <a:lnTo>
                                <a:pt x="912812" y="140229"/>
                              </a:lnTo>
                              <a:lnTo>
                                <a:pt x="910166" y="145521"/>
                              </a:lnTo>
                              <a:lnTo>
                                <a:pt x="907521" y="150813"/>
                              </a:lnTo>
                              <a:lnTo>
                                <a:pt x="904875" y="153459"/>
                              </a:lnTo>
                              <a:lnTo>
                                <a:pt x="907521" y="156105"/>
                              </a:lnTo>
                              <a:lnTo>
                                <a:pt x="912812" y="158750"/>
                              </a:lnTo>
                              <a:lnTo>
                                <a:pt x="912812" y="156105"/>
                              </a:lnTo>
                              <a:lnTo>
                                <a:pt x="912812" y="153459"/>
                              </a:lnTo>
                              <a:lnTo>
                                <a:pt x="918104" y="150813"/>
                              </a:lnTo>
                              <a:lnTo>
                                <a:pt x="920750" y="150813"/>
                              </a:lnTo>
                              <a:lnTo>
                                <a:pt x="918104" y="148167"/>
                              </a:lnTo>
                              <a:lnTo>
                                <a:pt x="920750" y="142875"/>
                              </a:lnTo>
                              <a:lnTo>
                                <a:pt x="931333" y="140229"/>
                              </a:lnTo>
                              <a:lnTo>
                                <a:pt x="933979" y="145521"/>
                              </a:lnTo>
                              <a:lnTo>
                                <a:pt x="933979" y="150813"/>
                              </a:lnTo>
                              <a:lnTo>
                                <a:pt x="931333" y="156105"/>
                              </a:lnTo>
                              <a:lnTo>
                                <a:pt x="928687" y="158750"/>
                              </a:lnTo>
                              <a:lnTo>
                                <a:pt x="920750" y="161396"/>
                              </a:lnTo>
                              <a:lnTo>
                                <a:pt x="920750" y="164042"/>
                              </a:lnTo>
                              <a:lnTo>
                                <a:pt x="926041" y="164042"/>
                              </a:lnTo>
                              <a:lnTo>
                                <a:pt x="933979" y="166688"/>
                              </a:lnTo>
                              <a:lnTo>
                                <a:pt x="933979" y="171980"/>
                              </a:lnTo>
                              <a:lnTo>
                                <a:pt x="933979" y="177271"/>
                              </a:lnTo>
                              <a:lnTo>
                                <a:pt x="936625" y="179917"/>
                              </a:lnTo>
                              <a:lnTo>
                                <a:pt x="941916" y="185209"/>
                              </a:lnTo>
                              <a:lnTo>
                                <a:pt x="920750" y="174625"/>
                              </a:lnTo>
                              <a:lnTo>
                                <a:pt x="915458" y="174625"/>
                              </a:lnTo>
                              <a:lnTo>
                                <a:pt x="912812" y="177271"/>
                              </a:lnTo>
                              <a:lnTo>
                                <a:pt x="912812" y="179917"/>
                              </a:lnTo>
                              <a:lnTo>
                                <a:pt x="915458" y="182563"/>
                              </a:lnTo>
                              <a:lnTo>
                                <a:pt x="915458" y="185209"/>
                              </a:lnTo>
                              <a:lnTo>
                                <a:pt x="915458" y="187855"/>
                              </a:lnTo>
                              <a:lnTo>
                                <a:pt x="915458" y="193146"/>
                              </a:lnTo>
                              <a:lnTo>
                                <a:pt x="918104" y="198438"/>
                              </a:lnTo>
                              <a:lnTo>
                                <a:pt x="926041" y="216959"/>
                              </a:lnTo>
                              <a:lnTo>
                                <a:pt x="918104" y="211667"/>
                              </a:lnTo>
                              <a:lnTo>
                                <a:pt x="910166" y="206376"/>
                              </a:lnTo>
                              <a:lnTo>
                                <a:pt x="907521" y="203730"/>
                              </a:lnTo>
                              <a:lnTo>
                                <a:pt x="907521" y="201084"/>
                              </a:lnTo>
                              <a:lnTo>
                                <a:pt x="904875" y="198438"/>
                              </a:lnTo>
                              <a:lnTo>
                                <a:pt x="902229" y="195792"/>
                              </a:lnTo>
                              <a:lnTo>
                                <a:pt x="902229" y="190500"/>
                              </a:lnTo>
                              <a:lnTo>
                                <a:pt x="904875" y="182563"/>
                              </a:lnTo>
                              <a:lnTo>
                                <a:pt x="902229" y="177271"/>
                              </a:lnTo>
                              <a:lnTo>
                                <a:pt x="902229" y="174625"/>
                              </a:lnTo>
                              <a:lnTo>
                                <a:pt x="899583" y="171980"/>
                              </a:lnTo>
                              <a:lnTo>
                                <a:pt x="896937" y="169334"/>
                              </a:lnTo>
                              <a:lnTo>
                                <a:pt x="896937" y="166688"/>
                              </a:lnTo>
                              <a:lnTo>
                                <a:pt x="904875" y="164042"/>
                              </a:lnTo>
                              <a:lnTo>
                                <a:pt x="899583" y="161396"/>
                              </a:lnTo>
                              <a:lnTo>
                                <a:pt x="896937" y="161396"/>
                              </a:lnTo>
                              <a:lnTo>
                                <a:pt x="896937" y="156105"/>
                              </a:lnTo>
                              <a:lnTo>
                                <a:pt x="896937" y="148167"/>
                              </a:lnTo>
                              <a:lnTo>
                                <a:pt x="896937" y="132292"/>
                              </a:lnTo>
                              <a:lnTo>
                                <a:pt x="904875" y="121709"/>
                              </a:lnTo>
                              <a:close/>
                              <a:moveTo>
                                <a:pt x="584729" y="39688"/>
                              </a:moveTo>
                              <a:lnTo>
                                <a:pt x="590021" y="39688"/>
                              </a:lnTo>
                              <a:lnTo>
                                <a:pt x="592666" y="39688"/>
                              </a:lnTo>
                              <a:lnTo>
                                <a:pt x="597958" y="42334"/>
                              </a:lnTo>
                              <a:lnTo>
                                <a:pt x="605896" y="39688"/>
                              </a:lnTo>
                              <a:lnTo>
                                <a:pt x="621771" y="42334"/>
                              </a:lnTo>
                              <a:lnTo>
                                <a:pt x="627062" y="52917"/>
                              </a:lnTo>
                              <a:lnTo>
                                <a:pt x="629708" y="58209"/>
                              </a:lnTo>
                              <a:lnTo>
                                <a:pt x="632354" y="63500"/>
                              </a:lnTo>
                              <a:lnTo>
                                <a:pt x="627062" y="66146"/>
                              </a:lnTo>
                              <a:lnTo>
                                <a:pt x="624416" y="68792"/>
                              </a:lnTo>
                              <a:lnTo>
                                <a:pt x="624416" y="71438"/>
                              </a:lnTo>
                              <a:lnTo>
                                <a:pt x="619125" y="74084"/>
                              </a:lnTo>
                              <a:lnTo>
                                <a:pt x="621771" y="76730"/>
                              </a:lnTo>
                              <a:lnTo>
                                <a:pt x="627062" y="79375"/>
                              </a:lnTo>
                              <a:lnTo>
                                <a:pt x="629708" y="82021"/>
                              </a:lnTo>
                              <a:lnTo>
                                <a:pt x="632354" y="87313"/>
                              </a:lnTo>
                              <a:lnTo>
                                <a:pt x="632354" y="95250"/>
                              </a:lnTo>
                              <a:lnTo>
                                <a:pt x="635000" y="100542"/>
                              </a:lnTo>
                              <a:lnTo>
                                <a:pt x="640291" y="108480"/>
                              </a:lnTo>
                              <a:lnTo>
                                <a:pt x="645583" y="113771"/>
                              </a:lnTo>
                              <a:lnTo>
                                <a:pt x="648229" y="116417"/>
                              </a:lnTo>
                              <a:lnTo>
                                <a:pt x="645583" y="119063"/>
                              </a:lnTo>
                              <a:lnTo>
                                <a:pt x="635000" y="119063"/>
                              </a:lnTo>
                              <a:lnTo>
                                <a:pt x="640291" y="127000"/>
                              </a:lnTo>
                              <a:lnTo>
                                <a:pt x="645583" y="127000"/>
                              </a:lnTo>
                              <a:lnTo>
                                <a:pt x="650875" y="129646"/>
                              </a:lnTo>
                              <a:lnTo>
                                <a:pt x="658812" y="137584"/>
                              </a:lnTo>
                              <a:lnTo>
                                <a:pt x="664104" y="142875"/>
                              </a:lnTo>
                              <a:lnTo>
                                <a:pt x="666750" y="145521"/>
                              </a:lnTo>
                              <a:lnTo>
                                <a:pt x="666750" y="148167"/>
                              </a:lnTo>
                              <a:lnTo>
                                <a:pt x="666750" y="150813"/>
                              </a:lnTo>
                              <a:lnTo>
                                <a:pt x="664104" y="153459"/>
                              </a:lnTo>
                              <a:lnTo>
                                <a:pt x="653521" y="153459"/>
                              </a:lnTo>
                              <a:lnTo>
                                <a:pt x="645583" y="153459"/>
                              </a:lnTo>
                              <a:lnTo>
                                <a:pt x="645583" y="156105"/>
                              </a:lnTo>
                              <a:lnTo>
                                <a:pt x="640291" y="156105"/>
                              </a:lnTo>
                              <a:lnTo>
                                <a:pt x="637646" y="158750"/>
                              </a:lnTo>
                              <a:lnTo>
                                <a:pt x="635000" y="158750"/>
                              </a:lnTo>
                              <a:lnTo>
                                <a:pt x="637646" y="161396"/>
                              </a:lnTo>
                              <a:lnTo>
                                <a:pt x="635000" y="161396"/>
                              </a:lnTo>
                              <a:lnTo>
                                <a:pt x="635000" y="169334"/>
                              </a:lnTo>
                              <a:lnTo>
                                <a:pt x="632354" y="182563"/>
                              </a:lnTo>
                              <a:lnTo>
                                <a:pt x="632354" y="187855"/>
                              </a:lnTo>
                              <a:lnTo>
                                <a:pt x="629708" y="190500"/>
                              </a:lnTo>
                              <a:lnTo>
                                <a:pt x="627062" y="193146"/>
                              </a:lnTo>
                              <a:lnTo>
                                <a:pt x="629708" y="198438"/>
                              </a:lnTo>
                              <a:lnTo>
                                <a:pt x="632354" y="201084"/>
                              </a:lnTo>
                              <a:lnTo>
                                <a:pt x="635000" y="201084"/>
                              </a:lnTo>
                              <a:lnTo>
                                <a:pt x="637646" y="201084"/>
                              </a:lnTo>
                              <a:lnTo>
                                <a:pt x="635000" y="209021"/>
                              </a:lnTo>
                              <a:lnTo>
                                <a:pt x="632354" y="211667"/>
                              </a:lnTo>
                              <a:lnTo>
                                <a:pt x="627062" y="211667"/>
                              </a:lnTo>
                              <a:lnTo>
                                <a:pt x="621771" y="211667"/>
                              </a:lnTo>
                              <a:lnTo>
                                <a:pt x="621771" y="216959"/>
                              </a:lnTo>
                              <a:lnTo>
                                <a:pt x="619125" y="219605"/>
                              </a:lnTo>
                              <a:lnTo>
                                <a:pt x="613833" y="222250"/>
                              </a:lnTo>
                              <a:lnTo>
                                <a:pt x="608541" y="224896"/>
                              </a:lnTo>
                              <a:lnTo>
                                <a:pt x="605896" y="222250"/>
                              </a:lnTo>
                              <a:lnTo>
                                <a:pt x="605896" y="224896"/>
                              </a:lnTo>
                              <a:lnTo>
                                <a:pt x="608541" y="224896"/>
                              </a:lnTo>
                              <a:lnTo>
                                <a:pt x="608541" y="227542"/>
                              </a:lnTo>
                              <a:lnTo>
                                <a:pt x="603250" y="230188"/>
                              </a:lnTo>
                              <a:lnTo>
                                <a:pt x="597958" y="235480"/>
                              </a:lnTo>
                              <a:lnTo>
                                <a:pt x="600604" y="235480"/>
                              </a:lnTo>
                              <a:lnTo>
                                <a:pt x="603250" y="238125"/>
                              </a:lnTo>
                              <a:lnTo>
                                <a:pt x="600604" y="240771"/>
                              </a:lnTo>
                              <a:lnTo>
                                <a:pt x="597958" y="246063"/>
                              </a:lnTo>
                              <a:lnTo>
                                <a:pt x="600604" y="246063"/>
                              </a:lnTo>
                              <a:lnTo>
                                <a:pt x="592666" y="251355"/>
                              </a:lnTo>
                              <a:lnTo>
                                <a:pt x="595312" y="251355"/>
                              </a:lnTo>
                              <a:lnTo>
                                <a:pt x="597958" y="251355"/>
                              </a:lnTo>
                              <a:lnTo>
                                <a:pt x="597958" y="256646"/>
                              </a:lnTo>
                              <a:lnTo>
                                <a:pt x="597958" y="261938"/>
                              </a:lnTo>
                              <a:lnTo>
                                <a:pt x="603250" y="261938"/>
                              </a:lnTo>
                              <a:lnTo>
                                <a:pt x="605896" y="264584"/>
                              </a:lnTo>
                              <a:lnTo>
                                <a:pt x="597958" y="280459"/>
                              </a:lnTo>
                              <a:lnTo>
                                <a:pt x="592666" y="275167"/>
                              </a:lnTo>
                              <a:lnTo>
                                <a:pt x="595312" y="283105"/>
                              </a:lnTo>
                              <a:lnTo>
                                <a:pt x="597958" y="288396"/>
                              </a:lnTo>
                              <a:lnTo>
                                <a:pt x="595312" y="296334"/>
                              </a:lnTo>
                              <a:lnTo>
                                <a:pt x="582083" y="312209"/>
                              </a:lnTo>
                              <a:lnTo>
                                <a:pt x="574146" y="317501"/>
                              </a:lnTo>
                              <a:lnTo>
                                <a:pt x="563562" y="325438"/>
                              </a:lnTo>
                              <a:lnTo>
                                <a:pt x="555625" y="328084"/>
                              </a:lnTo>
                              <a:lnTo>
                                <a:pt x="552979" y="325438"/>
                              </a:lnTo>
                              <a:lnTo>
                                <a:pt x="552979" y="322792"/>
                              </a:lnTo>
                              <a:lnTo>
                                <a:pt x="550333" y="314855"/>
                              </a:lnTo>
                              <a:lnTo>
                                <a:pt x="547687" y="309563"/>
                              </a:lnTo>
                              <a:lnTo>
                                <a:pt x="542396" y="304271"/>
                              </a:lnTo>
                              <a:lnTo>
                                <a:pt x="539750" y="301626"/>
                              </a:lnTo>
                              <a:lnTo>
                                <a:pt x="534458" y="304271"/>
                              </a:lnTo>
                              <a:lnTo>
                                <a:pt x="529166" y="304271"/>
                              </a:lnTo>
                              <a:lnTo>
                                <a:pt x="526521" y="301626"/>
                              </a:lnTo>
                              <a:lnTo>
                                <a:pt x="529166" y="301626"/>
                              </a:lnTo>
                              <a:lnTo>
                                <a:pt x="529166" y="298980"/>
                              </a:lnTo>
                              <a:lnTo>
                                <a:pt x="526521" y="296334"/>
                              </a:lnTo>
                              <a:lnTo>
                                <a:pt x="521229" y="296334"/>
                              </a:lnTo>
                              <a:lnTo>
                                <a:pt x="518583" y="296334"/>
                              </a:lnTo>
                              <a:lnTo>
                                <a:pt x="518583" y="298980"/>
                              </a:lnTo>
                              <a:lnTo>
                                <a:pt x="513291" y="296334"/>
                              </a:lnTo>
                              <a:lnTo>
                                <a:pt x="510645" y="296334"/>
                              </a:lnTo>
                              <a:lnTo>
                                <a:pt x="505354" y="296334"/>
                              </a:lnTo>
                              <a:lnTo>
                                <a:pt x="502708" y="301626"/>
                              </a:lnTo>
                              <a:lnTo>
                                <a:pt x="500062" y="301626"/>
                              </a:lnTo>
                              <a:lnTo>
                                <a:pt x="494770" y="298980"/>
                              </a:lnTo>
                              <a:lnTo>
                                <a:pt x="489479" y="296334"/>
                              </a:lnTo>
                              <a:lnTo>
                                <a:pt x="484187" y="296334"/>
                              </a:lnTo>
                              <a:lnTo>
                                <a:pt x="481541" y="296334"/>
                              </a:lnTo>
                              <a:lnTo>
                                <a:pt x="470958" y="301626"/>
                              </a:lnTo>
                              <a:lnTo>
                                <a:pt x="470958" y="298980"/>
                              </a:lnTo>
                              <a:lnTo>
                                <a:pt x="468312" y="298980"/>
                              </a:lnTo>
                              <a:lnTo>
                                <a:pt x="468312" y="291042"/>
                              </a:lnTo>
                              <a:lnTo>
                                <a:pt x="468312" y="288396"/>
                              </a:lnTo>
                              <a:lnTo>
                                <a:pt x="465666" y="293688"/>
                              </a:lnTo>
                              <a:lnTo>
                                <a:pt x="463020" y="291042"/>
                              </a:lnTo>
                              <a:lnTo>
                                <a:pt x="460375" y="288396"/>
                              </a:lnTo>
                              <a:lnTo>
                                <a:pt x="457729" y="288396"/>
                              </a:lnTo>
                              <a:lnTo>
                                <a:pt x="455083" y="291042"/>
                              </a:lnTo>
                              <a:lnTo>
                                <a:pt x="452437" y="293688"/>
                              </a:lnTo>
                              <a:lnTo>
                                <a:pt x="449791" y="291042"/>
                              </a:lnTo>
                              <a:lnTo>
                                <a:pt x="444500" y="291042"/>
                              </a:lnTo>
                              <a:lnTo>
                                <a:pt x="441854" y="291042"/>
                              </a:lnTo>
                              <a:lnTo>
                                <a:pt x="439208" y="291042"/>
                              </a:lnTo>
                              <a:lnTo>
                                <a:pt x="436562" y="288396"/>
                              </a:lnTo>
                              <a:lnTo>
                                <a:pt x="433916" y="288396"/>
                              </a:lnTo>
                              <a:lnTo>
                                <a:pt x="428625" y="291042"/>
                              </a:lnTo>
                              <a:lnTo>
                                <a:pt x="425979" y="291042"/>
                              </a:lnTo>
                              <a:lnTo>
                                <a:pt x="423333" y="280459"/>
                              </a:lnTo>
                              <a:lnTo>
                                <a:pt x="423333" y="267230"/>
                              </a:lnTo>
                              <a:lnTo>
                                <a:pt x="423333" y="256646"/>
                              </a:lnTo>
                              <a:lnTo>
                                <a:pt x="423333" y="251355"/>
                              </a:lnTo>
                              <a:lnTo>
                                <a:pt x="420687" y="248709"/>
                              </a:lnTo>
                              <a:lnTo>
                                <a:pt x="418041" y="246063"/>
                              </a:lnTo>
                              <a:lnTo>
                                <a:pt x="423333" y="240771"/>
                              </a:lnTo>
                              <a:lnTo>
                                <a:pt x="423333" y="235480"/>
                              </a:lnTo>
                              <a:lnTo>
                                <a:pt x="420687" y="230188"/>
                              </a:lnTo>
                              <a:lnTo>
                                <a:pt x="418041" y="227542"/>
                              </a:lnTo>
                              <a:lnTo>
                                <a:pt x="415395" y="222250"/>
                              </a:lnTo>
                              <a:lnTo>
                                <a:pt x="415395" y="219605"/>
                              </a:lnTo>
                              <a:lnTo>
                                <a:pt x="410104" y="222250"/>
                              </a:lnTo>
                              <a:lnTo>
                                <a:pt x="404812" y="222250"/>
                              </a:lnTo>
                              <a:lnTo>
                                <a:pt x="404812" y="219605"/>
                              </a:lnTo>
                              <a:lnTo>
                                <a:pt x="404812" y="216959"/>
                              </a:lnTo>
                              <a:lnTo>
                                <a:pt x="407458" y="209021"/>
                              </a:lnTo>
                              <a:lnTo>
                                <a:pt x="404812" y="209021"/>
                              </a:lnTo>
                              <a:lnTo>
                                <a:pt x="399520" y="209021"/>
                              </a:lnTo>
                              <a:lnTo>
                                <a:pt x="396875" y="209021"/>
                              </a:lnTo>
                              <a:lnTo>
                                <a:pt x="396875" y="203730"/>
                              </a:lnTo>
                              <a:lnTo>
                                <a:pt x="396875" y="195792"/>
                              </a:lnTo>
                              <a:lnTo>
                                <a:pt x="399520" y="195792"/>
                              </a:lnTo>
                              <a:lnTo>
                                <a:pt x="402166" y="198438"/>
                              </a:lnTo>
                              <a:lnTo>
                                <a:pt x="404812" y="195792"/>
                              </a:lnTo>
                              <a:lnTo>
                                <a:pt x="402166" y="193146"/>
                              </a:lnTo>
                              <a:lnTo>
                                <a:pt x="399520" y="193146"/>
                              </a:lnTo>
                              <a:lnTo>
                                <a:pt x="396875" y="193146"/>
                              </a:lnTo>
                              <a:lnTo>
                                <a:pt x="394229" y="187855"/>
                              </a:lnTo>
                              <a:lnTo>
                                <a:pt x="396875" y="182563"/>
                              </a:lnTo>
                              <a:lnTo>
                                <a:pt x="399520" y="179917"/>
                              </a:lnTo>
                              <a:lnTo>
                                <a:pt x="399520" y="177271"/>
                              </a:lnTo>
                              <a:lnTo>
                                <a:pt x="396875" y="171980"/>
                              </a:lnTo>
                              <a:lnTo>
                                <a:pt x="394229" y="169334"/>
                              </a:lnTo>
                              <a:lnTo>
                                <a:pt x="396875" y="164042"/>
                              </a:lnTo>
                              <a:lnTo>
                                <a:pt x="396875" y="158750"/>
                              </a:lnTo>
                              <a:lnTo>
                                <a:pt x="399520" y="153459"/>
                              </a:lnTo>
                              <a:lnTo>
                                <a:pt x="396875" y="142875"/>
                              </a:lnTo>
                              <a:lnTo>
                                <a:pt x="396875" y="137584"/>
                              </a:lnTo>
                              <a:lnTo>
                                <a:pt x="399520" y="132292"/>
                              </a:lnTo>
                              <a:lnTo>
                                <a:pt x="402166" y="129646"/>
                              </a:lnTo>
                              <a:lnTo>
                                <a:pt x="402166" y="127000"/>
                              </a:lnTo>
                              <a:lnTo>
                                <a:pt x="402166" y="124355"/>
                              </a:lnTo>
                              <a:lnTo>
                                <a:pt x="407458" y="121709"/>
                              </a:lnTo>
                              <a:lnTo>
                                <a:pt x="410104" y="124355"/>
                              </a:lnTo>
                              <a:lnTo>
                                <a:pt x="410104" y="127000"/>
                              </a:lnTo>
                              <a:lnTo>
                                <a:pt x="412750" y="127000"/>
                              </a:lnTo>
                              <a:lnTo>
                                <a:pt x="415395" y="132292"/>
                              </a:lnTo>
                              <a:lnTo>
                                <a:pt x="420687" y="134938"/>
                              </a:lnTo>
                              <a:lnTo>
                                <a:pt x="420687" y="140230"/>
                              </a:lnTo>
                              <a:lnTo>
                                <a:pt x="420687" y="142875"/>
                              </a:lnTo>
                              <a:lnTo>
                                <a:pt x="423333" y="145521"/>
                              </a:lnTo>
                              <a:lnTo>
                                <a:pt x="428625" y="148167"/>
                              </a:lnTo>
                              <a:lnTo>
                                <a:pt x="428625" y="150813"/>
                              </a:lnTo>
                              <a:lnTo>
                                <a:pt x="431270" y="156105"/>
                              </a:lnTo>
                              <a:lnTo>
                                <a:pt x="436562" y="158750"/>
                              </a:lnTo>
                              <a:lnTo>
                                <a:pt x="447145" y="156105"/>
                              </a:lnTo>
                              <a:lnTo>
                                <a:pt x="457729" y="153459"/>
                              </a:lnTo>
                              <a:lnTo>
                                <a:pt x="465666" y="153459"/>
                              </a:lnTo>
                              <a:lnTo>
                                <a:pt x="468312" y="153459"/>
                              </a:lnTo>
                              <a:lnTo>
                                <a:pt x="473604" y="150813"/>
                              </a:lnTo>
                              <a:lnTo>
                                <a:pt x="478895" y="148167"/>
                              </a:lnTo>
                              <a:lnTo>
                                <a:pt x="481541" y="145521"/>
                              </a:lnTo>
                              <a:lnTo>
                                <a:pt x="481541" y="142875"/>
                              </a:lnTo>
                              <a:lnTo>
                                <a:pt x="486833" y="140230"/>
                              </a:lnTo>
                              <a:lnTo>
                                <a:pt x="492125" y="137584"/>
                              </a:lnTo>
                              <a:lnTo>
                                <a:pt x="497416" y="137584"/>
                              </a:lnTo>
                              <a:lnTo>
                                <a:pt x="500062" y="137584"/>
                              </a:lnTo>
                              <a:lnTo>
                                <a:pt x="500062" y="140230"/>
                              </a:lnTo>
                              <a:lnTo>
                                <a:pt x="502708" y="142875"/>
                              </a:lnTo>
                              <a:lnTo>
                                <a:pt x="508000" y="145521"/>
                              </a:lnTo>
                              <a:lnTo>
                                <a:pt x="518583" y="145521"/>
                              </a:lnTo>
                              <a:lnTo>
                                <a:pt x="531812" y="140230"/>
                              </a:lnTo>
                              <a:lnTo>
                                <a:pt x="537104" y="137584"/>
                              </a:lnTo>
                              <a:lnTo>
                                <a:pt x="539750" y="134938"/>
                              </a:lnTo>
                              <a:lnTo>
                                <a:pt x="545041" y="129646"/>
                              </a:lnTo>
                              <a:lnTo>
                                <a:pt x="547687" y="124355"/>
                              </a:lnTo>
                              <a:lnTo>
                                <a:pt x="550333" y="119063"/>
                              </a:lnTo>
                              <a:lnTo>
                                <a:pt x="552979" y="108480"/>
                              </a:lnTo>
                              <a:lnTo>
                                <a:pt x="555625" y="95250"/>
                              </a:lnTo>
                              <a:lnTo>
                                <a:pt x="558271" y="89959"/>
                              </a:lnTo>
                              <a:lnTo>
                                <a:pt x="563562" y="84667"/>
                              </a:lnTo>
                              <a:lnTo>
                                <a:pt x="568854" y="79375"/>
                              </a:lnTo>
                              <a:lnTo>
                                <a:pt x="574146" y="74084"/>
                              </a:lnTo>
                              <a:lnTo>
                                <a:pt x="574146" y="63500"/>
                              </a:lnTo>
                              <a:lnTo>
                                <a:pt x="574146" y="52917"/>
                              </a:lnTo>
                              <a:lnTo>
                                <a:pt x="574146" y="50271"/>
                              </a:lnTo>
                              <a:lnTo>
                                <a:pt x="576791" y="47625"/>
                              </a:lnTo>
                              <a:lnTo>
                                <a:pt x="576791" y="44980"/>
                              </a:lnTo>
                              <a:lnTo>
                                <a:pt x="579437" y="42334"/>
                              </a:lnTo>
                              <a:close/>
                              <a:moveTo>
                                <a:pt x="10583" y="0"/>
                              </a:moveTo>
                              <a:lnTo>
                                <a:pt x="13229" y="0"/>
                              </a:lnTo>
                              <a:lnTo>
                                <a:pt x="23812" y="5292"/>
                              </a:lnTo>
                              <a:lnTo>
                                <a:pt x="34396" y="10583"/>
                              </a:lnTo>
                              <a:lnTo>
                                <a:pt x="42333" y="13229"/>
                              </a:lnTo>
                              <a:lnTo>
                                <a:pt x="47625" y="13229"/>
                              </a:lnTo>
                              <a:lnTo>
                                <a:pt x="55562" y="10583"/>
                              </a:lnTo>
                              <a:lnTo>
                                <a:pt x="60854" y="10583"/>
                              </a:lnTo>
                              <a:lnTo>
                                <a:pt x="63500" y="10583"/>
                              </a:lnTo>
                              <a:lnTo>
                                <a:pt x="68791" y="13229"/>
                              </a:lnTo>
                              <a:lnTo>
                                <a:pt x="71437" y="13229"/>
                              </a:lnTo>
                              <a:lnTo>
                                <a:pt x="74083" y="15875"/>
                              </a:lnTo>
                              <a:lnTo>
                                <a:pt x="76729" y="21167"/>
                              </a:lnTo>
                              <a:lnTo>
                                <a:pt x="79375" y="29104"/>
                              </a:lnTo>
                              <a:lnTo>
                                <a:pt x="82021" y="31750"/>
                              </a:lnTo>
                              <a:lnTo>
                                <a:pt x="87312" y="34396"/>
                              </a:lnTo>
                              <a:lnTo>
                                <a:pt x="89958" y="37042"/>
                              </a:lnTo>
                              <a:lnTo>
                                <a:pt x="92604" y="39687"/>
                              </a:lnTo>
                              <a:lnTo>
                                <a:pt x="92604" y="44979"/>
                              </a:lnTo>
                              <a:lnTo>
                                <a:pt x="89958" y="47625"/>
                              </a:lnTo>
                              <a:lnTo>
                                <a:pt x="97895" y="52917"/>
                              </a:lnTo>
                              <a:lnTo>
                                <a:pt x="105833" y="55562"/>
                              </a:lnTo>
                              <a:lnTo>
                                <a:pt x="105833" y="58208"/>
                              </a:lnTo>
                              <a:lnTo>
                                <a:pt x="108479" y="60854"/>
                              </a:lnTo>
                              <a:lnTo>
                                <a:pt x="116416" y="63500"/>
                              </a:lnTo>
                              <a:lnTo>
                                <a:pt x="129645" y="71437"/>
                              </a:lnTo>
                              <a:lnTo>
                                <a:pt x="137583" y="79375"/>
                              </a:lnTo>
                              <a:lnTo>
                                <a:pt x="140229" y="87312"/>
                              </a:lnTo>
                              <a:lnTo>
                                <a:pt x="142875" y="92604"/>
                              </a:lnTo>
                              <a:lnTo>
                                <a:pt x="145520" y="92604"/>
                              </a:lnTo>
                              <a:lnTo>
                                <a:pt x="148166" y="95250"/>
                              </a:lnTo>
                              <a:lnTo>
                                <a:pt x="150812" y="103187"/>
                              </a:lnTo>
                              <a:lnTo>
                                <a:pt x="153458" y="108479"/>
                              </a:lnTo>
                              <a:lnTo>
                                <a:pt x="158750" y="108479"/>
                              </a:lnTo>
                              <a:lnTo>
                                <a:pt x="161395" y="113771"/>
                              </a:lnTo>
                              <a:lnTo>
                                <a:pt x="169333" y="124354"/>
                              </a:lnTo>
                              <a:lnTo>
                                <a:pt x="169333" y="119062"/>
                              </a:lnTo>
                              <a:lnTo>
                                <a:pt x="166687" y="113771"/>
                              </a:lnTo>
                              <a:lnTo>
                                <a:pt x="166687" y="111125"/>
                              </a:lnTo>
                              <a:lnTo>
                                <a:pt x="169333" y="111125"/>
                              </a:lnTo>
                              <a:lnTo>
                                <a:pt x="171979" y="111125"/>
                              </a:lnTo>
                              <a:lnTo>
                                <a:pt x="174625" y="113771"/>
                              </a:lnTo>
                              <a:lnTo>
                                <a:pt x="177270" y="119062"/>
                              </a:lnTo>
                              <a:lnTo>
                                <a:pt x="179916" y="124354"/>
                              </a:lnTo>
                              <a:lnTo>
                                <a:pt x="182562" y="127000"/>
                              </a:lnTo>
                              <a:lnTo>
                                <a:pt x="185208" y="127000"/>
                              </a:lnTo>
                              <a:lnTo>
                                <a:pt x="190500" y="127000"/>
                              </a:lnTo>
                              <a:lnTo>
                                <a:pt x="193145" y="129646"/>
                              </a:lnTo>
                              <a:lnTo>
                                <a:pt x="201083" y="142875"/>
                              </a:lnTo>
                              <a:lnTo>
                                <a:pt x="209020" y="156104"/>
                              </a:lnTo>
                              <a:lnTo>
                                <a:pt x="211666" y="158750"/>
                              </a:lnTo>
                              <a:lnTo>
                                <a:pt x="216958" y="161396"/>
                              </a:lnTo>
                              <a:lnTo>
                                <a:pt x="222250" y="164042"/>
                              </a:lnTo>
                              <a:lnTo>
                                <a:pt x="227541" y="166687"/>
                              </a:lnTo>
                              <a:lnTo>
                                <a:pt x="230187" y="171979"/>
                              </a:lnTo>
                              <a:lnTo>
                                <a:pt x="230187" y="174625"/>
                              </a:lnTo>
                              <a:lnTo>
                                <a:pt x="219604" y="179917"/>
                              </a:lnTo>
                              <a:lnTo>
                                <a:pt x="211666" y="185208"/>
                              </a:lnTo>
                              <a:lnTo>
                                <a:pt x="232833" y="177271"/>
                              </a:lnTo>
                              <a:lnTo>
                                <a:pt x="238125" y="174625"/>
                              </a:lnTo>
                              <a:lnTo>
                                <a:pt x="240770" y="174625"/>
                              </a:lnTo>
                              <a:lnTo>
                                <a:pt x="246062" y="177271"/>
                              </a:lnTo>
                              <a:lnTo>
                                <a:pt x="251354" y="182562"/>
                              </a:lnTo>
                              <a:lnTo>
                                <a:pt x="253999" y="185208"/>
                              </a:lnTo>
                              <a:lnTo>
                                <a:pt x="251354" y="187854"/>
                              </a:lnTo>
                              <a:lnTo>
                                <a:pt x="240770" y="193146"/>
                              </a:lnTo>
                              <a:lnTo>
                                <a:pt x="232833" y="198437"/>
                              </a:lnTo>
                              <a:lnTo>
                                <a:pt x="230187" y="198437"/>
                              </a:lnTo>
                              <a:lnTo>
                                <a:pt x="232833" y="201083"/>
                              </a:lnTo>
                              <a:lnTo>
                                <a:pt x="238125" y="203729"/>
                              </a:lnTo>
                              <a:lnTo>
                                <a:pt x="238125" y="206375"/>
                              </a:lnTo>
                              <a:lnTo>
                                <a:pt x="238125" y="209021"/>
                              </a:lnTo>
                              <a:lnTo>
                                <a:pt x="238125" y="214312"/>
                              </a:lnTo>
                              <a:lnTo>
                                <a:pt x="238125" y="216958"/>
                              </a:lnTo>
                              <a:lnTo>
                                <a:pt x="243416" y="219604"/>
                              </a:lnTo>
                              <a:lnTo>
                                <a:pt x="248708" y="224896"/>
                              </a:lnTo>
                              <a:lnTo>
                                <a:pt x="251354" y="224896"/>
                              </a:lnTo>
                              <a:lnTo>
                                <a:pt x="259291" y="224896"/>
                              </a:lnTo>
                              <a:lnTo>
                                <a:pt x="264583" y="224896"/>
                              </a:lnTo>
                              <a:lnTo>
                                <a:pt x="267229" y="224896"/>
                              </a:lnTo>
                              <a:lnTo>
                                <a:pt x="269874" y="232833"/>
                              </a:lnTo>
                              <a:lnTo>
                                <a:pt x="267229" y="240771"/>
                              </a:lnTo>
                              <a:lnTo>
                                <a:pt x="267229" y="248708"/>
                              </a:lnTo>
                              <a:lnTo>
                                <a:pt x="269874" y="251354"/>
                              </a:lnTo>
                              <a:lnTo>
                                <a:pt x="275166" y="251354"/>
                              </a:lnTo>
                              <a:lnTo>
                                <a:pt x="277812" y="251354"/>
                              </a:lnTo>
                              <a:lnTo>
                                <a:pt x="280458" y="251354"/>
                              </a:lnTo>
                              <a:lnTo>
                                <a:pt x="280458" y="256646"/>
                              </a:lnTo>
                              <a:lnTo>
                                <a:pt x="277812" y="267229"/>
                              </a:lnTo>
                              <a:lnTo>
                                <a:pt x="277812" y="275167"/>
                              </a:lnTo>
                              <a:lnTo>
                                <a:pt x="280458" y="267229"/>
                              </a:lnTo>
                              <a:lnTo>
                                <a:pt x="280458" y="264583"/>
                              </a:lnTo>
                              <a:lnTo>
                                <a:pt x="291041" y="267229"/>
                              </a:lnTo>
                              <a:lnTo>
                                <a:pt x="298979" y="269875"/>
                              </a:lnTo>
                              <a:lnTo>
                                <a:pt x="301624" y="275167"/>
                              </a:lnTo>
                              <a:lnTo>
                                <a:pt x="301624" y="277812"/>
                              </a:lnTo>
                              <a:lnTo>
                                <a:pt x="304270" y="277812"/>
                              </a:lnTo>
                              <a:lnTo>
                                <a:pt x="306916" y="280458"/>
                              </a:lnTo>
                              <a:lnTo>
                                <a:pt x="309562" y="283104"/>
                              </a:lnTo>
                              <a:lnTo>
                                <a:pt x="306916" y="283104"/>
                              </a:lnTo>
                              <a:lnTo>
                                <a:pt x="309562" y="285750"/>
                              </a:lnTo>
                              <a:lnTo>
                                <a:pt x="312208" y="285750"/>
                              </a:lnTo>
                              <a:lnTo>
                                <a:pt x="312208" y="288396"/>
                              </a:lnTo>
                              <a:lnTo>
                                <a:pt x="306916" y="291042"/>
                              </a:lnTo>
                              <a:lnTo>
                                <a:pt x="304270" y="296333"/>
                              </a:lnTo>
                              <a:lnTo>
                                <a:pt x="304270" y="298979"/>
                              </a:lnTo>
                              <a:lnTo>
                                <a:pt x="304270" y="304271"/>
                              </a:lnTo>
                              <a:lnTo>
                                <a:pt x="306916" y="306917"/>
                              </a:lnTo>
                              <a:lnTo>
                                <a:pt x="306916" y="309562"/>
                              </a:lnTo>
                              <a:lnTo>
                                <a:pt x="304270" y="317500"/>
                              </a:lnTo>
                              <a:lnTo>
                                <a:pt x="301624" y="328083"/>
                              </a:lnTo>
                              <a:lnTo>
                                <a:pt x="301624" y="330729"/>
                              </a:lnTo>
                              <a:lnTo>
                                <a:pt x="304270" y="336021"/>
                              </a:lnTo>
                              <a:lnTo>
                                <a:pt x="301624" y="351896"/>
                              </a:lnTo>
                              <a:lnTo>
                                <a:pt x="304270" y="378354"/>
                              </a:lnTo>
                              <a:lnTo>
                                <a:pt x="304270" y="381000"/>
                              </a:lnTo>
                              <a:lnTo>
                                <a:pt x="301624" y="383646"/>
                              </a:lnTo>
                              <a:lnTo>
                                <a:pt x="296333" y="378354"/>
                              </a:lnTo>
                              <a:lnTo>
                                <a:pt x="293687" y="373063"/>
                              </a:lnTo>
                              <a:lnTo>
                                <a:pt x="291041" y="373063"/>
                              </a:lnTo>
                              <a:lnTo>
                                <a:pt x="291041" y="375708"/>
                              </a:lnTo>
                              <a:lnTo>
                                <a:pt x="291041" y="381000"/>
                              </a:lnTo>
                              <a:lnTo>
                                <a:pt x="285749" y="381000"/>
                              </a:lnTo>
                              <a:lnTo>
                                <a:pt x="280458" y="378354"/>
                              </a:lnTo>
                              <a:lnTo>
                                <a:pt x="275166" y="375708"/>
                              </a:lnTo>
                              <a:lnTo>
                                <a:pt x="272520" y="375708"/>
                              </a:lnTo>
                              <a:lnTo>
                                <a:pt x="269874" y="375708"/>
                              </a:lnTo>
                              <a:lnTo>
                                <a:pt x="267229" y="373063"/>
                              </a:lnTo>
                              <a:lnTo>
                                <a:pt x="264583" y="373063"/>
                              </a:lnTo>
                              <a:lnTo>
                                <a:pt x="267229" y="378354"/>
                              </a:lnTo>
                              <a:lnTo>
                                <a:pt x="272520" y="381000"/>
                              </a:lnTo>
                              <a:lnTo>
                                <a:pt x="269874" y="383646"/>
                              </a:lnTo>
                              <a:lnTo>
                                <a:pt x="264583" y="378354"/>
                              </a:lnTo>
                              <a:lnTo>
                                <a:pt x="261937" y="373063"/>
                              </a:lnTo>
                              <a:lnTo>
                                <a:pt x="259291" y="367771"/>
                              </a:lnTo>
                              <a:lnTo>
                                <a:pt x="253999" y="365125"/>
                              </a:lnTo>
                              <a:lnTo>
                                <a:pt x="251354" y="359833"/>
                              </a:lnTo>
                              <a:lnTo>
                                <a:pt x="248708" y="357188"/>
                              </a:lnTo>
                              <a:lnTo>
                                <a:pt x="246062" y="351896"/>
                              </a:lnTo>
                              <a:lnTo>
                                <a:pt x="240770" y="351896"/>
                              </a:lnTo>
                              <a:lnTo>
                                <a:pt x="232833" y="349250"/>
                              </a:lnTo>
                              <a:lnTo>
                                <a:pt x="227541" y="341313"/>
                              </a:lnTo>
                              <a:lnTo>
                                <a:pt x="222250" y="333375"/>
                              </a:lnTo>
                              <a:lnTo>
                                <a:pt x="211666" y="325437"/>
                              </a:lnTo>
                              <a:lnTo>
                                <a:pt x="206375" y="317500"/>
                              </a:lnTo>
                              <a:lnTo>
                                <a:pt x="201083" y="312208"/>
                              </a:lnTo>
                              <a:lnTo>
                                <a:pt x="198437" y="304271"/>
                              </a:lnTo>
                              <a:lnTo>
                                <a:pt x="195791" y="296333"/>
                              </a:lnTo>
                              <a:lnTo>
                                <a:pt x="193145" y="293687"/>
                              </a:lnTo>
                              <a:lnTo>
                                <a:pt x="187854" y="291042"/>
                              </a:lnTo>
                              <a:lnTo>
                                <a:pt x="177270" y="285750"/>
                              </a:lnTo>
                              <a:lnTo>
                                <a:pt x="174625" y="277812"/>
                              </a:lnTo>
                              <a:lnTo>
                                <a:pt x="169333" y="269875"/>
                              </a:lnTo>
                              <a:lnTo>
                                <a:pt x="164041" y="259292"/>
                              </a:lnTo>
                              <a:lnTo>
                                <a:pt x="161395" y="256646"/>
                              </a:lnTo>
                              <a:lnTo>
                                <a:pt x="161395" y="254000"/>
                              </a:lnTo>
                              <a:lnTo>
                                <a:pt x="164041" y="251354"/>
                              </a:lnTo>
                              <a:lnTo>
                                <a:pt x="158750" y="240771"/>
                              </a:lnTo>
                              <a:lnTo>
                                <a:pt x="142875" y="216958"/>
                              </a:lnTo>
                              <a:lnTo>
                                <a:pt x="137583" y="198437"/>
                              </a:lnTo>
                              <a:lnTo>
                                <a:pt x="134937" y="190500"/>
                              </a:lnTo>
                              <a:lnTo>
                                <a:pt x="134937" y="187854"/>
                              </a:lnTo>
                              <a:lnTo>
                                <a:pt x="132291" y="185208"/>
                              </a:lnTo>
                              <a:lnTo>
                                <a:pt x="124354" y="182562"/>
                              </a:lnTo>
                              <a:lnTo>
                                <a:pt x="119062" y="179917"/>
                              </a:lnTo>
                              <a:lnTo>
                                <a:pt x="116416" y="179917"/>
                              </a:lnTo>
                              <a:lnTo>
                                <a:pt x="116416" y="174625"/>
                              </a:lnTo>
                              <a:lnTo>
                                <a:pt x="116416" y="169333"/>
                              </a:lnTo>
                              <a:lnTo>
                                <a:pt x="113770" y="166687"/>
                              </a:lnTo>
                              <a:lnTo>
                                <a:pt x="113770" y="161396"/>
                              </a:lnTo>
                              <a:lnTo>
                                <a:pt x="113770" y="156104"/>
                              </a:lnTo>
                              <a:lnTo>
                                <a:pt x="113770" y="150812"/>
                              </a:lnTo>
                              <a:lnTo>
                                <a:pt x="111125" y="145521"/>
                              </a:lnTo>
                              <a:lnTo>
                                <a:pt x="108479" y="137583"/>
                              </a:lnTo>
                              <a:lnTo>
                                <a:pt x="111125" y="132292"/>
                              </a:lnTo>
                              <a:lnTo>
                                <a:pt x="92604" y="116417"/>
                              </a:lnTo>
                              <a:lnTo>
                                <a:pt x="84666" y="113771"/>
                              </a:lnTo>
                              <a:lnTo>
                                <a:pt x="79375" y="111125"/>
                              </a:lnTo>
                              <a:lnTo>
                                <a:pt x="76729" y="113771"/>
                              </a:lnTo>
                              <a:lnTo>
                                <a:pt x="74083" y="111125"/>
                              </a:lnTo>
                              <a:lnTo>
                                <a:pt x="76729" y="100542"/>
                              </a:lnTo>
                              <a:lnTo>
                                <a:pt x="74083" y="95250"/>
                              </a:lnTo>
                              <a:lnTo>
                                <a:pt x="71437" y="89958"/>
                              </a:lnTo>
                              <a:lnTo>
                                <a:pt x="68791" y="87312"/>
                              </a:lnTo>
                              <a:lnTo>
                                <a:pt x="66146" y="82021"/>
                              </a:lnTo>
                              <a:lnTo>
                                <a:pt x="63500" y="76729"/>
                              </a:lnTo>
                              <a:lnTo>
                                <a:pt x="60854" y="74083"/>
                              </a:lnTo>
                              <a:lnTo>
                                <a:pt x="55562" y="71437"/>
                              </a:lnTo>
                              <a:lnTo>
                                <a:pt x="50271" y="66146"/>
                              </a:lnTo>
                              <a:lnTo>
                                <a:pt x="47625" y="60854"/>
                              </a:lnTo>
                              <a:lnTo>
                                <a:pt x="44979" y="60854"/>
                              </a:lnTo>
                              <a:lnTo>
                                <a:pt x="39687" y="60854"/>
                              </a:lnTo>
                              <a:lnTo>
                                <a:pt x="34396" y="60854"/>
                              </a:lnTo>
                              <a:lnTo>
                                <a:pt x="34396" y="52917"/>
                              </a:lnTo>
                              <a:lnTo>
                                <a:pt x="31750" y="47625"/>
                              </a:lnTo>
                              <a:lnTo>
                                <a:pt x="29104" y="44979"/>
                              </a:lnTo>
                              <a:lnTo>
                                <a:pt x="23812" y="37042"/>
                              </a:lnTo>
                              <a:lnTo>
                                <a:pt x="15875" y="31750"/>
                              </a:lnTo>
                              <a:lnTo>
                                <a:pt x="10583" y="23812"/>
                              </a:lnTo>
                              <a:lnTo>
                                <a:pt x="7937" y="15875"/>
                              </a:lnTo>
                              <a:lnTo>
                                <a:pt x="2646" y="10583"/>
                              </a:lnTo>
                              <a:lnTo>
                                <a:pt x="0" y="10583"/>
                              </a:lnTo>
                              <a:lnTo>
                                <a:pt x="5291" y="2646"/>
                              </a:lnTo>
                              <a:close/>
                            </a:path>
                          </a:pathLst>
                        </a:custGeom>
                        <a:solidFill>
                          <a:schemeClr val="tx2"/>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0" name="Philippines"/>
                        <p:cNvSpPr>
                          <a:spLocks/>
                        </p:cNvSpPr>
                        <p:nvPr/>
                      </p:nvSpPr>
                      <p:spPr bwMode="auto">
                        <a:xfrm>
                          <a:off x="9523800" y="2947828"/>
                          <a:ext cx="309838" cy="515921"/>
                        </a:xfrm>
                        <a:custGeom>
                          <a:avLst/>
                          <a:gdLst/>
                          <a:ahLst/>
                          <a:cxnLst/>
                          <a:rect l="l" t="t" r="r" b="b"/>
                          <a:pathLst>
                            <a:path w="269874" h="449791">
                              <a:moveTo>
                                <a:pt x="132292" y="410104"/>
                              </a:moveTo>
                              <a:lnTo>
                                <a:pt x="137584" y="410104"/>
                              </a:lnTo>
                              <a:lnTo>
                                <a:pt x="142875" y="412750"/>
                              </a:lnTo>
                              <a:lnTo>
                                <a:pt x="145521" y="415396"/>
                              </a:lnTo>
                              <a:lnTo>
                                <a:pt x="142875" y="418042"/>
                              </a:lnTo>
                              <a:lnTo>
                                <a:pt x="140230" y="420687"/>
                              </a:lnTo>
                              <a:lnTo>
                                <a:pt x="137584" y="423333"/>
                              </a:lnTo>
                              <a:lnTo>
                                <a:pt x="134938" y="423333"/>
                              </a:lnTo>
                              <a:lnTo>
                                <a:pt x="132292" y="420687"/>
                              </a:lnTo>
                              <a:lnTo>
                                <a:pt x="127000" y="415396"/>
                              </a:lnTo>
                              <a:lnTo>
                                <a:pt x="127000" y="412750"/>
                              </a:lnTo>
                              <a:lnTo>
                                <a:pt x="129646" y="412750"/>
                              </a:lnTo>
                              <a:close/>
                              <a:moveTo>
                                <a:pt x="232833" y="306916"/>
                              </a:moveTo>
                              <a:lnTo>
                                <a:pt x="240770" y="314854"/>
                              </a:lnTo>
                              <a:lnTo>
                                <a:pt x="246062" y="320145"/>
                              </a:lnTo>
                              <a:lnTo>
                                <a:pt x="248708" y="322791"/>
                              </a:lnTo>
                              <a:lnTo>
                                <a:pt x="251353" y="325437"/>
                              </a:lnTo>
                              <a:lnTo>
                                <a:pt x="248708" y="328083"/>
                              </a:lnTo>
                              <a:lnTo>
                                <a:pt x="251353" y="330729"/>
                              </a:lnTo>
                              <a:lnTo>
                                <a:pt x="253999" y="328083"/>
                              </a:lnTo>
                              <a:lnTo>
                                <a:pt x="253999" y="333374"/>
                              </a:lnTo>
                              <a:lnTo>
                                <a:pt x="251353" y="336020"/>
                              </a:lnTo>
                              <a:lnTo>
                                <a:pt x="253999" y="338666"/>
                              </a:lnTo>
                              <a:lnTo>
                                <a:pt x="256645" y="341312"/>
                              </a:lnTo>
                              <a:lnTo>
                                <a:pt x="259291" y="343958"/>
                              </a:lnTo>
                              <a:lnTo>
                                <a:pt x="259291" y="346604"/>
                              </a:lnTo>
                              <a:lnTo>
                                <a:pt x="256645" y="349249"/>
                              </a:lnTo>
                              <a:lnTo>
                                <a:pt x="253999" y="351895"/>
                              </a:lnTo>
                              <a:lnTo>
                                <a:pt x="253999" y="354541"/>
                              </a:lnTo>
                              <a:lnTo>
                                <a:pt x="256645" y="354541"/>
                              </a:lnTo>
                              <a:lnTo>
                                <a:pt x="259291" y="354541"/>
                              </a:lnTo>
                              <a:lnTo>
                                <a:pt x="261937" y="354541"/>
                              </a:lnTo>
                              <a:lnTo>
                                <a:pt x="261937" y="357187"/>
                              </a:lnTo>
                              <a:lnTo>
                                <a:pt x="261937" y="359833"/>
                              </a:lnTo>
                              <a:lnTo>
                                <a:pt x="264583" y="359833"/>
                              </a:lnTo>
                              <a:lnTo>
                                <a:pt x="264583" y="362479"/>
                              </a:lnTo>
                              <a:lnTo>
                                <a:pt x="264583" y="367770"/>
                              </a:lnTo>
                              <a:lnTo>
                                <a:pt x="261937" y="370416"/>
                              </a:lnTo>
                              <a:lnTo>
                                <a:pt x="264583" y="373062"/>
                              </a:lnTo>
                              <a:lnTo>
                                <a:pt x="267228" y="375708"/>
                              </a:lnTo>
                              <a:lnTo>
                                <a:pt x="269874" y="380999"/>
                              </a:lnTo>
                              <a:lnTo>
                                <a:pt x="267228" y="386291"/>
                              </a:lnTo>
                              <a:lnTo>
                                <a:pt x="267228" y="388937"/>
                              </a:lnTo>
                              <a:lnTo>
                                <a:pt x="264583" y="394229"/>
                              </a:lnTo>
                              <a:lnTo>
                                <a:pt x="261937" y="394229"/>
                              </a:lnTo>
                              <a:lnTo>
                                <a:pt x="259291" y="396874"/>
                              </a:lnTo>
                              <a:lnTo>
                                <a:pt x="261937" y="402166"/>
                              </a:lnTo>
                              <a:lnTo>
                                <a:pt x="261937" y="407458"/>
                              </a:lnTo>
                              <a:lnTo>
                                <a:pt x="261937" y="412749"/>
                              </a:lnTo>
                              <a:lnTo>
                                <a:pt x="261937" y="415395"/>
                              </a:lnTo>
                              <a:lnTo>
                                <a:pt x="259291" y="410104"/>
                              </a:lnTo>
                              <a:lnTo>
                                <a:pt x="256645" y="404812"/>
                              </a:lnTo>
                              <a:lnTo>
                                <a:pt x="256645" y="402166"/>
                              </a:lnTo>
                              <a:lnTo>
                                <a:pt x="256645" y="399520"/>
                              </a:lnTo>
                              <a:lnTo>
                                <a:pt x="253999" y="396874"/>
                              </a:lnTo>
                              <a:lnTo>
                                <a:pt x="251353" y="394229"/>
                              </a:lnTo>
                              <a:lnTo>
                                <a:pt x="251353" y="388937"/>
                              </a:lnTo>
                              <a:lnTo>
                                <a:pt x="248708" y="383645"/>
                              </a:lnTo>
                              <a:lnTo>
                                <a:pt x="248708" y="380999"/>
                              </a:lnTo>
                              <a:lnTo>
                                <a:pt x="246062" y="383645"/>
                              </a:lnTo>
                              <a:lnTo>
                                <a:pt x="246062" y="388937"/>
                              </a:lnTo>
                              <a:lnTo>
                                <a:pt x="246062" y="394229"/>
                              </a:lnTo>
                              <a:lnTo>
                                <a:pt x="243416" y="396874"/>
                              </a:lnTo>
                              <a:lnTo>
                                <a:pt x="240770" y="396874"/>
                              </a:lnTo>
                              <a:lnTo>
                                <a:pt x="240770" y="399520"/>
                              </a:lnTo>
                              <a:lnTo>
                                <a:pt x="240770" y="402166"/>
                              </a:lnTo>
                              <a:lnTo>
                                <a:pt x="240770" y="404812"/>
                              </a:lnTo>
                              <a:lnTo>
                                <a:pt x="238124" y="407458"/>
                              </a:lnTo>
                              <a:lnTo>
                                <a:pt x="240770" y="410104"/>
                              </a:lnTo>
                              <a:lnTo>
                                <a:pt x="240770" y="412749"/>
                              </a:lnTo>
                              <a:lnTo>
                                <a:pt x="243416" y="412749"/>
                              </a:lnTo>
                              <a:lnTo>
                                <a:pt x="246062" y="412749"/>
                              </a:lnTo>
                              <a:lnTo>
                                <a:pt x="248708" y="412749"/>
                              </a:lnTo>
                              <a:lnTo>
                                <a:pt x="251353" y="418041"/>
                              </a:lnTo>
                              <a:lnTo>
                                <a:pt x="253999" y="420687"/>
                              </a:lnTo>
                              <a:lnTo>
                                <a:pt x="253999" y="428624"/>
                              </a:lnTo>
                              <a:lnTo>
                                <a:pt x="253999" y="431270"/>
                              </a:lnTo>
                              <a:lnTo>
                                <a:pt x="253999" y="436562"/>
                              </a:lnTo>
                              <a:lnTo>
                                <a:pt x="246062" y="441854"/>
                              </a:lnTo>
                              <a:lnTo>
                                <a:pt x="246062" y="444499"/>
                              </a:lnTo>
                              <a:lnTo>
                                <a:pt x="246062" y="447145"/>
                              </a:lnTo>
                              <a:lnTo>
                                <a:pt x="243416" y="449791"/>
                              </a:lnTo>
                              <a:lnTo>
                                <a:pt x="238124" y="447145"/>
                              </a:lnTo>
                              <a:lnTo>
                                <a:pt x="235478" y="444499"/>
                              </a:lnTo>
                              <a:lnTo>
                                <a:pt x="232833" y="441854"/>
                              </a:lnTo>
                              <a:lnTo>
                                <a:pt x="235478" y="441854"/>
                              </a:lnTo>
                              <a:lnTo>
                                <a:pt x="235478" y="433916"/>
                              </a:lnTo>
                              <a:lnTo>
                                <a:pt x="235478" y="431270"/>
                              </a:lnTo>
                              <a:lnTo>
                                <a:pt x="232833" y="433916"/>
                              </a:lnTo>
                              <a:lnTo>
                                <a:pt x="232833" y="436562"/>
                              </a:lnTo>
                              <a:lnTo>
                                <a:pt x="230187" y="436562"/>
                              </a:lnTo>
                              <a:lnTo>
                                <a:pt x="224895" y="433916"/>
                              </a:lnTo>
                              <a:lnTo>
                                <a:pt x="216958" y="431270"/>
                              </a:lnTo>
                              <a:lnTo>
                                <a:pt x="209020" y="428624"/>
                              </a:lnTo>
                              <a:lnTo>
                                <a:pt x="201083" y="423333"/>
                              </a:lnTo>
                              <a:lnTo>
                                <a:pt x="195791" y="418041"/>
                              </a:lnTo>
                              <a:lnTo>
                                <a:pt x="193145" y="415395"/>
                              </a:lnTo>
                              <a:lnTo>
                                <a:pt x="193145" y="412749"/>
                              </a:lnTo>
                              <a:lnTo>
                                <a:pt x="195791" y="410104"/>
                              </a:lnTo>
                              <a:lnTo>
                                <a:pt x="193145" y="407458"/>
                              </a:lnTo>
                              <a:lnTo>
                                <a:pt x="190499" y="402166"/>
                              </a:lnTo>
                              <a:lnTo>
                                <a:pt x="190499" y="399520"/>
                              </a:lnTo>
                              <a:lnTo>
                                <a:pt x="190499" y="394229"/>
                              </a:lnTo>
                              <a:lnTo>
                                <a:pt x="190499" y="388937"/>
                              </a:lnTo>
                              <a:lnTo>
                                <a:pt x="193145" y="386291"/>
                              </a:lnTo>
                              <a:lnTo>
                                <a:pt x="195791" y="386291"/>
                              </a:lnTo>
                              <a:lnTo>
                                <a:pt x="198437" y="383645"/>
                              </a:lnTo>
                              <a:lnTo>
                                <a:pt x="198437" y="380999"/>
                              </a:lnTo>
                              <a:lnTo>
                                <a:pt x="201083" y="380999"/>
                              </a:lnTo>
                              <a:lnTo>
                                <a:pt x="201083" y="378354"/>
                              </a:lnTo>
                              <a:lnTo>
                                <a:pt x="198437" y="375708"/>
                              </a:lnTo>
                              <a:lnTo>
                                <a:pt x="190499" y="367770"/>
                              </a:lnTo>
                              <a:lnTo>
                                <a:pt x="185208" y="365124"/>
                              </a:lnTo>
                              <a:lnTo>
                                <a:pt x="182562" y="365124"/>
                              </a:lnTo>
                              <a:lnTo>
                                <a:pt x="182562" y="367770"/>
                              </a:lnTo>
                              <a:lnTo>
                                <a:pt x="185208" y="370416"/>
                              </a:lnTo>
                              <a:lnTo>
                                <a:pt x="182562" y="373062"/>
                              </a:lnTo>
                              <a:lnTo>
                                <a:pt x="182562" y="375708"/>
                              </a:lnTo>
                              <a:lnTo>
                                <a:pt x="185208" y="378354"/>
                              </a:lnTo>
                              <a:lnTo>
                                <a:pt x="182562" y="380999"/>
                              </a:lnTo>
                              <a:lnTo>
                                <a:pt x="179916" y="378354"/>
                              </a:lnTo>
                              <a:lnTo>
                                <a:pt x="177270" y="375708"/>
                              </a:lnTo>
                              <a:lnTo>
                                <a:pt x="174624" y="378354"/>
                              </a:lnTo>
                              <a:lnTo>
                                <a:pt x="174624" y="380999"/>
                              </a:lnTo>
                              <a:lnTo>
                                <a:pt x="171979" y="380999"/>
                              </a:lnTo>
                              <a:lnTo>
                                <a:pt x="169333" y="378354"/>
                              </a:lnTo>
                              <a:lnTo>
                                <a:pt x="166687" y="378354"/>
                              </a:lnTo>
                              <a:lnTo>
                                <a:pt x="164041" y="375708"/>
                              </a:lnTo>
                              <a:lnTo>
                                <a:pt x="161395" y="373062"/>
                              </a:lnTo>
                              <a:lnTo>
                                <a:pt x="161395" y="370416"/>
                              </a:lnTo>
                              <a:lnTo>
                                <a:pt x="161395" y="367770"/>
                              </a:lnTo>
                              <a:lnTo>
                                <a:pt x="158750" y="367770"/>
                              </a:lnTo>
                              <a:lnTo>
                                <a:pt x="156104" y="367770"/>
                              </a:lnTo>
                              <a:lnTo>
                                <a:pt x="153458" y="370416"/>
                              </a:lnTo>
                              <a:lnTo>
                                <a:pt x="150812" y="373062"/>
                              </a:lnTo>
                              <a:lnTo>
                                <a:pt x="150812" y="380999"/>
                              </a:lnTo>
                              <a:lnTo>
                                <a:pt x="150812" y="383645"/>
                              </a:lnTo>
                              <a:lnTo>
                                <a:pt x="150812" y="388937"/>
                              </a:lnTo>
                              <a:lnTo>
                                <a:pt x="148166" y="394229"/>
                              </a:lnTo>
                              <a:lnTo>
                                <a:pt x="145520" y="396874"/>
                              </a:lnTo>
                              <a:lnTo>
                                <a:pt x="142875" y="399520"/>
                              </a:lnTo>
                              <a:lnTo>
                                <a:pt x="134937" y="399520"/>
                              </a:lnTo>
                              <a:lnTo>
                                <a:pt x="132291" y="399520"/>
                              </a:lnTo>
                              <a:lnTo>
                                <a:pt x="132291" y="396874"/>
                              </a:lnTo>
                              <a:lnTo>
                                <a:pt x="132291" y="391583"/>
                              </a:lnTo>
                              <a:lnTo>
                                <a:pt x="132291" y="388937"/>
                              </a:lnTo>
                              <a:lnTo>
                                <a:pt x="137583" y="388937"/>
                              </a:lnTo>
                              <a:lnTo>
                                <a:pt x="137583" y="386291"/>
                              </a:lnTo>
                              <a:lnTo>
                                <a:pt x="134937" y="386291"/>
                              </a:lnTo>
                              <a:lnTo>
                                <a:pt x="134937" y="383645"/>
                              </a:lnTo>
                              <a:lnTo>
                                <a:pt x="137583" y="380999"/>
                              </a:lnTo>
                              <a:lnTo>
                                <a:pt x="137583" y="378354"/>
                              </a:lnTo>
                              <a:lnTo>
                                <a:pt x="140229" y="375708"/>
                              </a:lnTo>
                              <a:lnTo>
                                <a:pt x="137583" y="370416"/>
                              </a:lnTo>
                              <a:lnTo>
                                <a:pt x="137583" y="365124"/>
                              </a:lnTo>
                              <a:lnTo>
                                <a:pt x="140229" y="362479"/>
                              </a:lnTo>
                              <a:lnTo>
                                <a:pt x="145520" y="359833"/>
                              </a:lnTo>
                              <a:lnTo>
                                <a:pt x="150812" y="357187"/>
                              </a:lnTo>
                              <a:lnTo>
                                <a:pt x="158750" y="357187"/>
                              </a:lnTo>
                              <a:lnTo>
                                <a:pt x="161395" y="354541"/>
                              </a:lnTo>
                              <a:lnTo>
                                <a:pt x="158750" y="351895"/>
                              </a:lnTo>
                              <a:lnTo>
                                <a:pt x="158750" y="349249"/>
                              </a:lnTo>
                              <a:lnTo>
                                <a:pt x="161395" y="349249"/>
                              </a:lnTo>
                              <a:lnTo>
                                <a:pt x="161395" y="346604"/>
                              </a:lnTo>
                              <a:lnTo>
                                <a:pt x="158750" y="346604"/>
                              </a:lnTo>
                              <a:lnTo>
                                <a:pt x="161395" y="343958"/>
                              </a:lnTo>
                              <a:lnTo>
                                <a:pt x="164041" y="343958"/>
                              </a:lnTo>
                              <a:lnTo>
                                <a:pt x="164041" y="341312"/>
                              </a:lnTo>
                              <a:lnTo>
                                <a:pt x="169333" y="341312"/>
                              </a:lnTo>
                              <a:lnTo>
                                <a:pt x="171979" y="341312"/>
                              </a:lnTo>
                              <a:lnTo>
                                <a:pt x="174624" y="338666"/>
                              </a:lnTo>
                              <a:lnTo>
                                <a:pt x="177270" y="338666"/>
                              </a:lnTo>
                              <a:lnTo>
                                <a:pt x="177270" y="336020"/>
                              </a:lnTo>
                              <a:lnTo>
                                <a:pt x="182562" y="336020"/>
                              </a:lnTo>
                              <a:lnTo>
                                <a:pt x="185208" y="338666"/>
                              </a:lnTo>
                              <a:lnTo>
                                <a:pt x="187854" y="341312"/>
                              </a:lnTo>
                              <a:lnTo>
                                <a:pt x="187854" y="349249"/>
                              </a:lnTo>
                              <a:lnTo>
                                <a:pt x="187854" y="351895"/>
                              </a:lnTo>
                              <a:lnTo>
                                <a:pt x="185208" y="351895"/>
                              </a:lnTo>
                              <a:lnTo>
                                <a:pt x="182562" y="351895"/>
                              </a:lnTo>
                              <a:lnTo>
                                <a:pt x="182562" y="354541"/>
                              </a:lnTo>
                              <a:lnTo>
                                <a:pt x="185208" y="354541"/>
                              </a:lnTo>
                              <a:lnTo>
                                <a:pt x="190499" y="351895"/>
                              </a:lnTo>
                              <a:lnTo>
                                <a:pt x="195791" y="349249"/>
                              </a:lnTo>
                              <a:lnTo>
                                <a:pt x="195791" y="346604"/>
                              </a:lnTo>
                              <a:lnTo>
                                <a:pt x="195791" y="341312"/>
                              </a:lnTo>
                              <a:lnTo>
                                <a:pt x="198437" y="341312"/>
                              </a:lnTo>
                              <a:lnTo>
                                <a:pt x="201083" y="343958"/>
                              </a:lnTo>
                              <a:lnTo>
                                <a:pt x="206374" y="343958"/>
                              </a:lnTo>
                              <a:lnTo>
                                <a:pt x="206374" y="341312"/>
                              </a:lnTo>
                              <a:lnTo>
                                <a:pt x="209020" y="336020"/>
                              </a:lnTo>
                              <a:lnTo>
                                <a:pt x="211666" y="336020"/>
                              </a:lnTo>
                              <a:lnTo>
                                <a:pt x="214312" y="338666"/>
                              </a:lnTo>
                              <a:lnTo>
                                <a:pt x="216958" y="338666"/>
                              </a:lnTo>
                              <a:lnTo>
                                <a:pt x="219604" y="333374"/>
                              </a:lnTo>
                              <a:lnTo>
                                <a:pt x="219604" y="330729"/>
                              </a:lnTo>
                              <a:lnTo>
                                <a:pt x="222249" y="330729"/>
                              </a:lnTo>
                              <a:lnTo>
                                <a:pt x="224895" y="333374"/>
                              </a:lnTo>
                              <a:lnTo>
                                <a:pt x="227541" y="333374"/>
                              </a:lnTo>
                              <a:lnTo>
                                <a:pt x="230187" y="333374"/>
                              </a:lnTo>
                              <a:lnTo>
                                <a:pt x="230187" y="330729"/>
                              </a:lnTo>
                              <a:lnTo>
                                <a:pt x="230187" y="325437"/>
                              </a:lnTo>
                              <a:lnTo>
                                <a:pt x="230187" y="317499"/>
                              </a:lnTo>
                              <a:lnTo>
                                <a:pt x="230187" y="312208"/>
                              </a:lnTo>
                              <a:lnTo>
                                <a:pt x="232833" y="309562"/>
                              </a:lnTo>
                              <a:close/>
                              <a:moveTo>
                                <a:pt x="195791" y="298979"/>
                              </a:moveTo>
                              <a:lnTo>
                                <a:pt x="201083" y="301625"/>
                              </a:lnTo>
                              <a:lnTo>
                                <a:pt x="203728" y="301625"/>
                              </a:lnTo>
                              <a:lnTo>
                                <a:pt x="206374" y="304271"/>
                              </a:lnTo>
                              <a:lnTo>
                                <a:pt x="206374" y="306917"/>
                              </a:lnTo>
                              <a:lnTo>
                                <a:pt x="203728" y="309563"/>
                              </a:lnTo>
                              <a:lnTo>
                                <a:pt x="206374" y="312208"/>
                              </a:lnTo>
                              <a:lnTo>
                                <a:pt x="203728" y="312208"/>
                              </a:lnTo>
                              <a:lnTo>
                                <a:pt x="201083" y="314854"/>
                              </a:lnTo>
                              <a:lnTo>
                                <a:pt x="198437" y="317500"/>
                              </a:lnTo>
                              <a:lnTo>
                                <a:pt x="193145" y="317500"/>
                              </a:lnTo>
                              <a:lnTo>
                                <a:pt x="182562" y="317500"/>
                              </a:lnTo>
                              <a:lnTo>
                                <a:pt x="179916" y="317500"/>
                              </a:lnTo>
                              <a:lnTo>
                                <a:pt x="177270" y="317500"/>
                              </a:lnTo>
                              <a:lnTo>
                                <a:pt x="179916" y="314854"/>
                              </a:lnTo>
                              <a:lnTo>
                                <a:pt x="182562" y="314854"/>
                              </a:lnTo>
                              <a:lnTo>
                                <a:pt x="182562" y="312208"/>
                              </a:lnTo>
                              <a:lnTo>
                                <a:pt x="182562" y="309563"/>
                              </a:lnTo>
                              <a:lnTo>
                                <a:pt x="185208" y="306917"/>
                              </a:lnTo>
                              <a:lnTo>
                                <a:pt x="187854" y="306917"/>
                              </a:lnTo>
                              <a:lnTo>
                                <a:pt x="190499" y="301625"/>
                              </a:lnTo>
                              <a:close/>
                              <a:moveTo>
                                <a:pt x="156104" y="264583"/>
                              </a:moveTo>
                              <a:lnTo>
                                <a:pt x="158750" y="264583"/>
                              </a:lnTo>
                              <a:lnTo>
                                <a:pt x="164042" y="267229"/>
                              </a:lnTo>
                              <a:lnTo>
                                <a:pt x="166687" y="267229"/>
                              </a:lnTo>
                              <a:lnTo>
                                <a:pt x="169333" y="272520"/>
                              </a:lnTo>
                              <a:lnTo>
                                <a:pt x="169333" y="275166"/>
                              </a:lnTo>
                              <a:lnTo>
                                <a:pt x="169333" y="280458"/>
                              </a:lnTo>
                              <a:lnTo>
                                <a:pt x="164042" y="285750"/>
                              </a:lnTo>
                              <a:lnTo>
                                <a:pt x="164042" y="288395"/>
                              </a:lnTo>
                              <a:lnTo>
                                <a:pt x="164042" y="291041"/>
                              </a:lnTo>
                              <a:lnTo>
                                <a:pt x="161396" y="296333"/>
                              </a:lnTo>
                              <a:lnTo>
                                <a:pt x="156104" y="298979"/>
                              </a:lnTo>
                              <a:lnTo>
                                <a:pt x="156104" y="301625"/>
                              </a:lnTo>
                              <a:lnTo>
                                <a:pt x="158750" y="306917"/>
                              </a:lnTo>
                              <a:lnTo>
                                <a:pt x="158750" y="312208"/>
                              </a:lnTo>
                              <a:lnTo>
                                <a:pt x="158750" y="314854"/>
                              </a:lnTo>
                              <a:lnTo>
                                <a:pt x="161396" y="317500"/>
                              </a:lnTo>
                              <a:lnTo>
                                <a:pt x="164042" y="320146"/>
                              </a:lnTo>
                              <a:lnTo>
                                <a:pt x="164042" y="325438"/>
                              </a:lnTo>
                              <a:lnTo>
                                <a:pt x="161396" y="330729"/>
                              </a:lnTo>
                              <a:lnTo>
                                <a:pt x="158750" y="330729"/>
                              </a:lnTo>
                              <a:lnTo>
                                <a:pt x="156104" y="333375"/>
                              </a:lnTo>
                              <a:lnTo>
                                <a:pt x="153458" y="330729"/>
                              </a:lnTo>
                              <a:lnTo>
                                <a:pt x="150812" y="328083"/>
                              </a:lnTo>
                              <a:lnTo>
                                <a:pt x="148167" y="328083"/>
                              </a:lnTo>
                              <a:lnTo>
                                <a:pt x="142875" y="325438"/>
                              </a:lnTo>
                              <a:lnTo>
                                <a:pt x="137583" y="322792"/>
                              </a:lnTo>
                              <a:lnTo>
                                <a:pt x="137583" y="317500"/>
                              </a:lnTo>
                              <a:lnTo>
                                <a:pt x="137583" y="312208"/>
                              </a:lnTo>
                              <a:lnTo>
                                <a:pt x="137583" y="309563"/>
                              </a:lnTo>
                              <a:lnTo>
                                <a:pt x="140229" y="309563"/>
                              </a:lnTo>
                              <a:lnTo>
                                <a:pt x="145521" y="309563"/>
                              </a:lnTo>
                              <a:lnTo>
                                <a:pt x="145521" y="306917"/>
                              </a:lnTo>
                              <a:lnTo>
                                <a:pt x="145521" y="301625"/>
                              </a:lnTo>
                              <a:lnTo>
                                <a:pt x="145521" y="296333"/>
                              </a:lnTo>
                              <a:lnTo>
                                <a:pt x="145521" y="293687"/>
                              </a:lnTo>
                              <a:lnTo>
                                <a:pt x="148167" y="291041"/>
                              </a:lnTo>
                              <a:lnTo>
                                <a:pt x="145521" y="285750"/>
                              </a:lnTo>
                              <a:lnTo>
                                <a:pt x="148167" y="283104"/>
                              </a:lnTo>
                              <a:lnTo>
                                <a:pt x="150812" y="280458"/>
                              </a:lnTo>
                              <a:lnTo>
                                <a:pt x="150812" y="272520"/>
                              </a:lnTo>
                              <a:lnTo>
                                <a:pt x="150812" y="269875"/>
                              </a:lnTo>
                              <a:lnTo>
                                <a:pt x="150812" y="267229"/>
                              </a:lnTo>
                              <a:close/>
                              <a:moveTo>
                                <a:pt x="182562" y="261937"/>
                              </a:moveTo>
                              <a:lnTo>
                                <a:pt x="182562" y="264583"/>
                              </a:lnTo>
                              <a:lnTo>
                                <a:pt x="185208" y="267229"/>
                              </a:lnTo>
                              <a:lnTo>
                                <a:pt x="185208" y="269874"/>
                              </a:lnTo>
                              <a:lnTo>
                                <a:pt x="185208" y="272520"/>
                              </a:lnTo>
                              <a:lnTo>
                                <a:pt x="185208" y="280458"/>
                              </a:lnTo>
                              <a:lnTo>
                                <a:pt x="185208" y="283104"/>
                              </a:lnTo>
                              <a:lnTo>
                                <a:pt x="179916" y="285750"/>
                              </a:lnTo>
                              <a:lnTo>
                                <a:pt x="177271" y="288395"/>
                              </a:lnTo>
                              <a:lnTo>
                                <a:pt x="177271" y="291041"/>
                              </a:lnTo>
                              <a:lnTo>
                                <a:pt x="174625" y="293687"/>
                              </a:lnTo>
                              <a:lnTo>
                                <a:pt x="174625" y="296333"/>
                              </a:lnTo>
                              <a:lnTo>
                                <a:pt x="174625" y="298979"/>
                              </a:lnTo>
                              <a:lnTo>
                                <a:pt x="171979" y="312208"/>
                              </a:lnTo>
                              <a:lnTo>
                                <a:pt x="166687" y="317500"/>
                              </a:lnTo>
                              <a:lnTo>
                                <a:pt x="164041" y="317500"/>
                              </a:lnTo>
                              <a:lnTo>
                                <a:pt x="164041" y="306917"/>
                              </a:lnTo>
                              <a:lnTo>
                                <a:pt x="166687" y="296333"/>
                              </a:lnTo>
                              <a:lnTo>
                                <a:pt x="169333" y="291041"/>
                              </a:lnTo>
                              <a:lnTo>
                                <a:pt x="171979" y="285750"/>
                              </a:lnTo>
                              <a:lnTo>
                                <a:pt x="177271" y="272520"/>
                              </a:lnTo>
                              <a:lnTo>
                                <a:pt x="179916" y="264583"/>
                              </a:lnTo>
                              <a:close/>
                              <a:moveTo>
                                <a:pt x="52917" y="254000"/>
                              </a:moveTo>
                              <a:lnTo>
                                <a:pt x="55562" y="254000"/>
                              </a:lnTo>
                              <a:lnTo>
                                <a:pt x="58208" y="256646"/>
                              </a:lnTo>
                              <a:lnTo>
                                <a:pt x="60854" y="261937"/>
                              </a:lnTo>
                              <a:lnTo>
                                <a:pt x="58208" y="264583"/>
                              </a:lnTo>
                              <a:lnTo>
                                <a:pt x="58208" y="267229"/>
                              </a:lnTo>
                              <a:lnTo>
                                <a:pt x="58208" y="269875"/>
                              </a:lnTo>
                              <a:lnTo>
                                <a:pt x="60854" y="269875"/>
                              </a:lnTo>
                              <a:lnTo>
                                <a:pt x="60854" y="272521"/>
                              </a:lnTo>
                              <a:lnTo>
                                <a:pt x="63500" y="275167"/>
                              </a:lnTo>
                              <a:lnTo>
                                <a:pt x="66146" y="275167"/>
                              </a:lnTo>
                              <a:lnTo>
                                <a:pt x="66146" y="277812"/>
                              </a:lnTo>
                              <a:lnTo>
                                <a:pt x="63500" y="280458"/>
                              </a:lnTo>
                              <a:lnTo>
                                <a:pt x="60854" y="280458"/>
                              </a:lnTo>
                              <a:lnTo>
                                <a:pt x="60854" y="285750"/>
                              </a:lnTo>
                              <a:lnTo>
                                <a:pt x="60854" y="288396"/>
                              </a:lnTo>
                              <a:lnTo>
                                <a:pt x="58208" y="291041"/>
                              </a:lnTo>
                              <a:lnTo>
                                <a:pt x="47625" y="296333"/>
                              </a:lnTo>
                              <a:lnTo>
                                <a:pt x="39687" y="301625"/>
                              </a:lnTo>
                              <a:lnTo>
                                <a:pt x="39687" y="304271"/>
                              </a:lnTo>
                              <a:lnTo>
                                <a:pt x="42333" y="306917"/>
                              </a:lnTo>
                              <a:lnTo>
                                <a:pt x="42333" y="312208"/>
                              </a:lnTo>
                              <a:lnTo>
                                <a:pt x="37042" y="314854"/>
                              </a:lnTo>
                              <a:lnTo>
                                <a:pt x="37042" y="320146"/>
                              </a:lnTo>
                              <a:lnTo>
                                <a:pt x="34396" y="322792"/>
                              </a:lnTo>
                              <a:lnTo>
                                <a:pt x="31750" y="322792"/>
                              </a:lnTo>
                              <a:lnTo>
                                <a:pt x="26458" y="325438"/>
                              </a:lnTo>
                              <a:lnTo>
                                <a:pt x="23812" y="325438"/>
                              </a:lnTo>
                              <a:lnTo>
                                <a:pt x="23812" y="328083"/>
                              </a:lnTo>
                              <a:lnTo>
                                <a:pt x="23812" y="333375"/>
                              </a:lnTo>
                              <a:lnTo>
                                <a:pt x="21166" y="336021"/>
                              </a:lnTo>
                              <a:lnTo>
                                <a:pt x="15875" y="341312"/>
                              </a:lnTo>
                              <a:lnTo>
                                <a:pt x="10583" y="343958"/>
                              </a:lnTo>
                              <a:lnTo>
                                <a:pt x="7937" y="346604"/>
                              </a:lnTo>
                              <a:lnTo>
                                <a:pt x="5291" y="346604"/>
                              </a:lnTo>
                              <a:lnTo>
                                <a:pt x="2646" y="346604"/>
                              </a:lnTo>
                              <a:lnTo>
                                <a:pt x="0" y="343958"/>
                              </a:lnTo>
                              <a:lnTo>
                                <a:pt x="2646" y="341312"/>
                              </a:lnTo>
                              <a:lnTo>
                                <a:pt x="2646" y="336021"/>
                              </a:lnTo>
                              <a:lnTo>
                                <a:pt x="5291" y="333375"/>
                              </a:lnTo>
                              <a:lnTo>
                                <a:pt x="7937" y="330729"/>
                              </a:lnTo>
                              <a:lnTo>
                                <a:pt x="10583" y="325438"/>
                              </a:lnTo>
                              <a:lnTo>
                                <a:pt x="13229" y="322792"/>
                              </a:lnTo>
                              <a:lnTo>
                                <a:pt x="15875" y="320146"/>
                              </a:lnTo>
                              <a:lnTo>
                                <a:pt x="18521" y="317500"/>
                              </a:lnTo>
                              <a:lnTo>
                                <a:pt x="21166" y="314854"/>
                              </a:lnTo>
                              <a:lnTo>
                                <a:pt x="23812" y="309563"/>
                              </a:lnTo>
                              <a:lnTo>
                                <a:pt x="26458" y="304271"/>
                              </a:lnTo>
                              <a:lnTo>
                                <a:pt x="29104" y="301625"/>
                              </a:lnTo>
                              <a:lnTo>
                                <a:pt x="29104" y="296333"/>
                              </a:lnTo>
                              <a:lnTo>
                                <a:pt x="31750" y="293687"/>
                              </a:lnTo>
                              <a:lnTo>
                                <a:pt x="34396" y="293687"/>
                              </a:lnTo>
                              <a:lnTo>
                                <a:pt x="37042" y="291041"/>
                              </a:lnTo>
                              <a:lnTo>
                                <a:pt x="37042" y="288396"/>
                              </a:lnTo>
                              <a:lnTo>
                                <a:pt x="39687" y="283104"/>
                              </a:lnTo>
                              <a:lnTo>
                                <a:pt x="42333" y="280458"/>
                              </a:lnTo>
                              <a:lnTo>
                                <a:pt x="44979" y="280458"/>
                              </a:lnTo>
                              <a:lnTo>
                                <a:pt x="50271" y="275167"/>
                              </a:lnTo>
                              <a:lnTo>
                                <a:pt x="50271" y="272521"/>
                              </a:lnTo>
                              <a:lnTo>
                                <a:pt x="47625" y="269875"/>
                              </a:lnTo>
                              <a:lnTo>
                                <a:pt x="50271" y="267229"/>
                              </a:lnTo>
                              <a:lnTo>
                                <a:pt x="50271" y="264583"/>
                              </a:lnTo>
                              <a:lnTo>
                                <a:pt x="52917" y="259292"/>
                              </a:lnTo>
                              <a:close/>
                              <a:moveTo>
                                <a:pt x="185208" y="246062"/>
                              </a:moveTo>
                              <a:lnTo>
                                <a:pt x="187854" y="246062"/>
                              </a:lnTo>
                              <a:lnTo>
                                <a:pt x="190500" y="248708"/>
                              </a:lnTo>
                              <a:lnTo>
                                <a:pt x="198438" y="253999"/>
                              </a:lnTo>
                              <a:lnTo>
                                <a:pt x="198438" y="251354"/>
                              </a:lnTo>
                              <a:lnTo>
                                <a:pt x="201083" y="251354"/>
                              </a:lnTo>
                              <a:lnTo>
                                <a:pt x="201083" y="248708"/>
                              </a:lnTo>
                              <a:lnTo>
                                <a:pt x="203729" y="251354"/>
                              </a:lnTo>
                              <a:lnTo>
                                <a:pt x="206375" y="256645"/>
                              </a:lnTo>
                              <a:lnTo>
                                <a:pt x="206375" y="264583"/>
                              </a:lnTo>
                              <a:lnTo>
                                <a:pt x="206375" y="267229"/>
                              </a:lnTo>
                              <a:lnTo>
                                <a:pt x="211667" y="267229"/>
                              </a:lnTo>
                              <a:lnTo>
                                <a:pt x="214313" y="269874"/>
                              </a:lnTo>
                              <a:lnTo>
                                <a:pt x="216959" y="272520"/>
                              </a:lnTo>
                              <a:lnTo>
                                <a:pt x="216959" y="275166"/>
                              </a:lnTo>
                              <a:lnTo>
                                <a:pt x="219604" y="277812"/>
                              </a:lnTo>
                              <a:lnTo>
                                <a:pt x="222250" y="280458"/>
                              </a:lnTo>
                              <a:lnTo>
                                <a:pt x="222250" y="283104"/>
                              </a:lnTo>
                              <a:lnTo>
                                <a:pt x="219604" y="283104"/>
                              </a:lnTo>
                              <a:lnTo>
                                <a:pt x="222250" y="285750"/>
                              </a:lnTo>
                              <a:lnTo>
                                <a:pt x="222250" y="288395"/>
                              </a:lnTo>
                              <a:lnTo>
                                <a:pt x="219604" y="285750"/>
                              </a:lnTo>
                              <a:lnTo>
                                <a:pt x="216959" y="283104"/>
                              </a:lnTo>
                              <a:lnTo>
                                <a:pt x="211667" y="280458"/>
                              </a:lnTo>
                              <a:lnTo>
                                <a:pt x="211667" y="283104"/>
                              </a:lnTo>
                              <a:lnTo>
                                <a:pt x="211667" y="285750"/>
                              </a:lnTo>
                              <a:lnTo>
                                <a:pt x="214313" y="296333"/>
                              </a:lnTo>
                              <a:lnTo>
                                <a:pt x="211667" y="293687"/>
                              </a:lnTo>
                              <a:lnTo>
                                <a:pt x="206375" y="291041"/>
                              </a:lnTo>
                              <a:lnTo>
                                <a:pt x="203729" y="291041"/>
                              </a:lnTo>
                              <a:lnTo>
                                <a:pt x="203729" y="285750"/>
                              </a:lnTo>
                              <a:lnTo>
                                <a:pt x="203729" y="283104"/>
                              </a:lnTo>
                              <a:lnTo>
                                <a:pt x="201083" y="283104"/>
                              </a:lnTo>
                              <a:lnTo>
                                <a:pt x="201083" y="280458"/>
                              </a:lnTo>
                              <a:lnTo>
                                <a:pt x="201083" y="277812"/>
                              </a:lnTo>
                              <a:lnTo>
                                <a:pt x="203729" y="275166"/>
                              </a:lnTo>
                              <a:lnTo>
                                <a:pt x="203729" y="269874"/>
                              </a:lnTo>
                              <a:lnTo>
                                <a:pt x="201083" y="264583"/>
                              </a:lnTo>
                              <a:lnTo>
                                <a:pt x="195792" y="261937"/>
                              </a:lnTo>
                              <a:lnTo>
                                <a:pt x="195792" y="264583"/>
                              </a:lnTo>
                              <a:lnTo>
                                <a:pt x="195792" y="267229"/>
                              </a:lnTo>
                              <a:lnTo>
                                <a:pt x="193146" y="264583"/>
                              </a:lnTo>
                              <a:lnTo>
                                <a:pt x="190500" y="264583"/>
                              </a:lnTo>
                              <a:lnTo>
                                <a:pt x="190500" y="261937"/>
                              </a:lnTo>
                              <a:lnTo>
                                <a:pt x="190500" y="259291"/>
                              </a:lnTo>
                              <a:lnTo>
                                <a:pt x="187854" y="253999"/>
                              </a:lnTo>
                              <a:lnTo>
                                <a:pt x="185208" y="251354"/>
                              </a:lnTo>
                              <a:close/>
                              <a:moveTo>
                                <a:pt x="116416" y="232833"/>
                              </a:moveTo>
                              <a:lnTo>
                                <a:pt x="119061" y="232833"/>
                              </a:lnTo>
                              <a:lnTo>
                                <a:pt x="121707" y="232833"/>
                              </a:lnTo>
                              <a:lnTo>
                                <a:pt x="126999" y="232833"/>
                              </a:lnTo>
                              <a:lnTo>
                                <a:pt x="132291" y="235479"/>
                              </a:lnTo>
                              <a:lnTo>
                                <a:pt x="134937" y="238125"/>
                              </a:lnTo>
                              <a:lnTo>
                                <a:pt x="137583" y="240770"/>
                              </a:lnTo>
                              <a:lnTo>
                                <a:pt x="140229" y="240770"/>
                              </a:lnTo>
                              <a:lnTo>
                                <a:pt x="145520" y="238125"/>
                              </a:lnTo>
                              <a:lnTo>
                                <a:pt x="148166" y="238125"/>
                              </a:lnTo>
                              <a:lnTo>
                                <a:pt x="148166" y="240770"/>
                              </a:lnTo>
                              <a:lnTo>
                                <a:pt x="148166" y="243416"/>
                              </a:lnTo>
                              <a:lnTo>
                                <a:pt x="158749" y="240770"/>
                              </a:lnTo>
                              <a:lnTo>
                                <a:pt x="161395" y="240770"/>
                              </a:lnTo>
                              <a:lnTo>
                                <a:pt x="158749" y="243416"/>
                              </a:lnTo>
                              <a:lnTo>
                                <a:pt x="158749" y="246062"/>
                              </a:lnTo>
                              <a:lnTo>
                                <a:pt x="158749" y="248708"/>
                              </a:lnTo>
                              <a:lnTo>
                                <a:pt x="156104" y="251354"/>
                              </a:lnTo>
                              <a:lnTo>
                                <a:pt x="153458" y="254000"/>
                              </a:lnTo>
                              <a:lnTo>
                                <a:pt x="153458" y="256645"/>
                              </a:lnTo>
                              <a:lnTo>
                                <a:pt x="150812" y="259291"/>
                              </a:lnTo>
                              <a:lnTo>
                                <a:pt x="145520" y="259291"/>
                              </a:lnTo>
                              <a:lnTo>
                                <a:pt x="145520" y="261937"/>
                              </a:lnTo>
                              <a:lnTo>
                                <a:pt x="145520" y="264583"/>
                              </a:lnTo>
                              <a:lnTo>
                                <a:pt x="145520" y="267229"/>
                              </a:lnTo>
                              <a:lnTo>
                                <a:pt x="142874" y="269875"/>
                              </a:lnTo>
                              <a:lnTo>
                                <a:pt x="134937" y="269875"/>
                              </a:lnTo>
                              <a:lnTo>
                                <a:pt x="132291" y="269875"/>
                              </a:lnTo>
                              <a:lnTo>
                                <a:pt x="132291" y="272521"/>
                              </a:lnTo>
                              <a:lnTo>
                                <a:pt x="132291" y="280458"/>
                              </a:lnTo>
                              <a:lnTo>
                                <a:pt x="132291" y="283104"/>
                              </a:lnTo>
                              <a:lnTo>
                                <a:pt x="129645" y="283104"/>
                              </a:lnTo>
                              <a:lnTo>
                                <a:pt x="124353" y="283104"/>
                              </a:lnTo>
                              <a:lnTo>
                                <a:pt x="124353" y="280458"/>
                              </a:lnTo>
                              <a:lnTo>
                                <a:pt x="124353" y="277812"/>
                              </a:lnTo>
                              <a:lnTo>
                                <a:pt x="126999" y="272521"/>
                              </a:lnTo>
                              <a:lnTo>
                                <a:pt x="124353" y="269875"/>
                              </a:lnTo>
                              <a:lnTo>
                                <a:pt x="124353" y="267229"/>
                              </a:lnTo>
                              <a:lnTo>
                                <a:pt x="124353" y="264583"/>
                              </a:lnTo>
                              <a:lnTo>
                                <a:pt x="124353" y="259291"/>
                              </a:lnTo>
                              <a:lnTo>
                                <a:pt x="124353" y="256645"/>
                              </a:lnTo>
                              <a:lnTo>
                                <a:pt x="124353" y="254000"/>
                              </a:lnTo>
                              <a:lnTo>
                                <a:pt x="124353" y="248708"/>
                              </a:lnTo>
                              <a:lnTo>
                                <a:pt x="124353" y="246062"/>
                              </a:lnTo>
                              <a:lnTo>
                                <a:pt x="124353" y="240770"/>
                              </a:lnTo>
                              <a:lnTo>
                                <a:pt x="126999" y="238125"/>
                              </a:lnTo>
                              <a:lnTo>
                                <a:pt x="124353" y="238125"/>
                              </a:lnTo>
                              <a:lnTo>
                                <a:pt x="119061" y="238125"/>
                              </a:lnTo>
                              <a:lnTo>
                                <a:pt x="113770" y="238125"/>
                              </a:lnTo>
                              <a:lnTo>
                                <a:pt x="116416" y="235479"/>
                              </a:lnTo>
                              <a:close/>
                              <a:moveTo>
                                <a:pt x="148166" y="206375"/>
                              </a:moveTo>
                              <a:lnTo>
                                <a:pt x="150812" y="206375"/>
                              </a:lnTo>
                              <a:lnTo>
                                <a:pt x="156104" y="211667"/>
                              </a:lnTo>
                              <a:lnTo>
                                <a:pt x="158750" y="214312"/>
                              </a:lnTo>
                              <a:lnTo>
                                <a:pt x="164041" y="216958"/>
                              </a:lnTo>
                              <a:lnTo>
                                <a:pt x="166687" y="219604"/>
                              </a:lnTo>
                              <a:lnTo>
                                <a:pt x="171979" y="219604"/>
                              </a:lnTo>
                              <a:lnTo>
                                <a:pt x="174625" y="222250"/>
                              </a:lnTo>
                              <a:lnTo>
                                <a:pt x="177271" y="224896"/>
                              </a:lnTo>
                              <a:lnTo>
                                <a:pt x="182562" y="238125"/>
                              </a:lnTo>
                              <a:lnTo>
                                <a:pt x="182562" y="243417"/>
                              </a:lnTo>
                              <a:lnTo>
                                <a:pt x="179916" y="240771"/>
                              </a:lnTo>
                              <a:lnTo>
                                <a:pt x="174625" y="238125"/>
                              </a:lnTo>
                              <a:lnTo>
                                <a:pt x="169333" y="235479"/>
                              </a:lnTo>
                              <a:lnTo>
                                <a:pt x="166687" y="232833"/>
                              </a:lnTo>
                              <a:lnTo>
                                <a:pt x="164041" y="232833"/>
                              </a:lnTo>
                              <a:lnTo>
                                <a:pt x="161395" y="230188"/>
                              </a:lnTo>
                              <a:lnTo>
                                <a:pt x="161395" y="227542"/>
                              </a:lnTo>
                              <a:lnTo>
                                <a:pt x="158750" y="227542"/>
                              </a:lnTo>
                              <a:lnTo>
                                <a:pt x="156104" y="230188"/>
                              </a:lnTo>
                              <a:lnTo>
                                <a:pt x="153458" y="235479"/>
                              </a:lnTo>
                              <a:lnTo>
                                <a:pt x="153458" y="238125"/>
                              </a:lnTo>
                              <a:lnTo>
                                <a:pt x="150812" y="235479"/>
                              </a:lnTo>
                              <a:lnTo>
                                <a:pt x="150812" y="230188"/>
                              </a:lnTo>
                              <a:lnTo>
                                <a:pt x="150812" y="227542"/>
                              </a:lnTo>
                              <a:lnTo>
                                <a:pt x="153458" y="224896"/>
                              </a:lnTo>
                              <a:lnTo>
                                <a:pt x="150812" y="224896"/>
                              </a:lnTo>
                              <a:lnTo>
                                <a:pt x="148166" y="224896"/>
                              </a:lnTo>
                              <a:lnTo>
                                <a:pt x="150812" y="219604"/>
                              </a:lnTo>
                              <a:lnTo>
                                <a:pt x="148166" y="209021"/>
                              </a:lnTo>
                              <a:close/>
                              <a:moveTo>
                                <a:pt x="195791" y="203729"/>
                              </a:moveTo>
                              <a:lnTo>
                                <a:pt x="198437" y="203729"/>
                              </a:lnTo>
                              <a:lnTo>
                                <a:pt x="201083" y="203729"/>
                              </a:lnTo>
                              <a:lnTo>
                                <a:pt x="206374" y="203729"/>
                              </a:lnTo>
                              <a:lnTo>
                                <a:pt x="206374" y="206375"/>
                              </a:lnTo>
                              <a:lnTo>
                                <a:pt x="206374" y="209021"/>
                              </a:lnTo>
                              <a:lnTo>
                                <a:pt x="209020" y="209021"/>
                              </a:lnTo>
                              <a:lnTo>
                                <a:pt x="214312" y="209021"/>
                              </a:lnTo>
                              <a:lnTo>
                                <a:pt x="214312" y="211666"/>
                              </a:lnTo>
                              <a:lnTo>
                                <a:pt x="211666" y="211666"/>
                              </a:lnTo>
                              <a:lnTo>
                                <a:pt x="211666" y="214312"/>
                              </a:lnTo>
                              <a:lnTo>
                                <a:pt x="214312" y="214312"/>
                              </a:lnTo>
                              <a:lnTo>
                                <a:pt x="211666" y="219604"/>
                              </a:lnTo>
                              <a:lnTo>
                                <a:pt x="211666" y="222250"/>
                              </a:lnTo>
                              <a:lnTo>
                                <a:pt x="211666" y="224895"/>
                              </a:lnTo>
                              <a:lnTo>
                                <a:pt x="216958" y="230187"/>
                              </a:lnTo>
                              <a:lnTo>
                                <a:pt x="219603" y="230187"/>
                              </a:lnTo>
                              <a:lnTo>
                                <a:pt x="219603" y="232833"/>
                              </a:lnTo>
                              <a:lnTo>
                                <a:pt x="219603" y="235479"/>
                              </a:lnTo>
                              <a:lnTo>
                                <a:pt x="222249" y="238125"/>
                              </a:lnTo>
                              <a:lnTo>
                                <a:pt x="224895" y="238125"/>
                              </a:lnTo>
                              <a:lnTo>
                                <a:pt x="224895" y="240770"/>
                              </a:lnTo>
                              <a:lnTo>
                                <a:pt x="230187" y="243416"/>
                              </a:lnTo>
                              <a:lnTo>
                                <a:pt x="232832" y="246062"/>
                              </a:lnTo>
                              <a:lnTo>
                                <a:pt x="235478" y="248708"/>
                              </a:lnTo>
                              <a:lnTo>
                                <a:pt x="232832" y="248708"/>
                              </a:lnTo>
                              <a:lnTo>
                                <a:pt x="230187" y="253999"/>
                              </a:lnTo>
                              <a:lnTo>
                                <a:pt x="230187" y="256645"/>
                              </a:lnTo>
                              <a:lnTo>
                                <a:pt x="230187" y="259291"/>
                              </a:lnTo>
                              <a:lnTo>
                                <a:pt x="227541" y="259291"/>
                              </a:lnTo>
                              <a:lnTo>
                                <a:pt x="224895" y="259291"/>
                              </a:lnTo>
                              <a:lnTo>
                                <a:pt x="222249" y="259291"/>
                              </a:lnTo>
                              <a:lnTo>
                                <a:pt x="219603" y="259291"/>
                              </a:lnTo>
                              <a:lnTo>
                                <a:pt x="216958" y="253999"/>
                              </a:lnTo>
                              <a:lnTo>
                                <a:pt x="216958" y="251354"/>
                              </a:lnTo>
                              <a:lnTo>
                                <a:pt x="214312" y="251354"/>
                              </a:lnTo>
                              <a:lnTo>
                                <a:pt x="209020" y="251354"/>
                              </a:lnTo>
                              <a:lnTo>
                                <a:pt x="206374" y="251354"/>
                              </a:lnTo>
                              <a:lnTo>
                                <a:pt x="206374" y="248708"/>
                              </a:lnTo>
                              <a:lnTo>
                                <a:pt x="203728" y="246062"/>
                              </a:lnTo>
                              <a:lnTo>
                                <a:pt x="198437" y="246062"/>
                              </a:lnTo>
                              <a:lnTo>
                                <a:pt x="198437" y="243416"/>
                              </a:lnTo>
                              <a:lnTo>
                                <a:pt x="203728" y="238125"/>
                              </a:lnTo>
                              <a:lnTo>
                                <a:pt x="203728" y="235479"/>
                              </a:lnTo>
                              <a:lnTo>
                                <a:pt x="203728" y="232833"/>
                              </a:lnTo>
                              <a:lnTo>
                                <a:pt x="201083" y="232833"/>
                              </a:lnTo>
                              <a:lnTo>
                                <a:pt x="198437" y="232833"/>
                              </a:lnTo>
                              <a:lnTo>
                                <a:pt x="193145" y="224895"/>
                              </a:lnTo>
                              <a:lnTo>
                                <a:pt x="190499" y="224895"/>
                              </a:lnTo>
                              <a:lnTo>
                                <a:pt x="187854" y="222250"/>
                              </a:lnTo>
                              <a:lnTo>
                                <a:pt x="182562" y="216958"/>
                              </a:lnTo>
                              <a:lnTo>
                                <a:pt x="179916" y="211666"/>
                              </a:lnTo>
                              <a:lnTo>
                                <a:pt x="177270" y="209021"/>
                              </a:lnTo>
                              <a:lnTo>
                                <a:pt x="177270" y="206375"/>
                              </a:lnTo>
                              <a:lnTo>
                                <a:pt x="179916" y="206375"/>
                              </a:lnTo>
                              <a:lnTo>
                                <a:pt x="182562" y="206375"/>
                              </a:lnTo>
                              <a:lnTo>
                                <a:pt x="187854" y="206375"/>
                              </a:lnTo>
                              <a:lnTo>
                                <a:pt x="193145" y="206375"/>
                              </a:lnTo>
                              <a:close/>
                              <a:moveTo>
                                <a:pt x="60854" y="179916"/>
                              </a:moveTo>
                              <a:lnTo>
                                <a:pt x="63500" y="179916"/>
                              </a:lnTo>
                              <a:lnTo>
                                <a:pt x="66145" y="179916"/>
                              </a:lnTo>
                              <a:lnTo>
                                <a:pt x="68791" y="179916"/>
                              </a:lnTo>
                              <a:lnTo>
                                <a:pt x="74083" y="179916"/>
                              </a:lnTo>
                              <a:lnTo>
                                <a:pt x="76729" y="179916"/>
                              </a:lnTo>
                              <a:lnTo>
                                <a:pt x="79375" y="182562"/>
                              </a:lnTo>
                              <a:lnTo>
                                <a:pt x="84666" y="182562"/>
                              </a:lnTo>
                              <a:lnTo>
                                <a:pt x="87312" y="182562"/>
                              </a:lnTo>
                              <a:lnTo>
                                <a:pt x="92604" y="185208"/>
                              </a:lnTo>
                              <a:lnTo>
                                <a:pt x="97895" y="187853"/>
                              </a:lnTo>
                              <a:lnTo>
                                <a:pt x="100541" y="187853"/>
                              </a:lnTo>
                              <a:lnTo>
                                <a:pt x="100541" y="190499"/>
                              </a:lnTo>
                              <a:lnTo>
                                <a:pt x="103187" y="193145"/>
                              </a:lnTo>
                              <a:lnTo>
                                <a:pt x="103187" y="195791"/>
                              </a:lnTo>
                              <a:lnTo>
                                <a:pt x="103187" y="198437"/>
                              </a:lnTo>
                              <a:lnTo>
                                <a:pt x="103187" y="203729"/>
                              </a:lnTo>
                              <a:lnTo>
                                <a:pt x="105833" y="209020"/>
                              </a:lnTo>
                              <a:lnTo>
                                <a:pt x="108479" y="209020"/>
                              </a:lnTo>
                              <a:lnTo>
                                <a:pt x="105833" y="211666"/>
                              </a:lnTo>
                              <a:lnTo>
                                <a:pt x="103187" y="216958"/>
                              </a:lnTo>
                              <a:lnTo>
                                <a:pt x="97895" y="216958"/>
                              </a:lnTo>
                              <a:lnTo>
                                <a:pt x="89958" y="214312"/>
                              </a:lnTo>
                              <a:lnTo>
                                <a:pt x="87312" y="211666"/>
                              </a:lnTo>
                              <a:lnTo>
                                <a:pt x="87312" y="209020"/>
                              </a:lnTo>
                              <a:lnTo>
                                <a:pt x="84666" y="206374"/>
                              </a:lnTo>
                              <a:lnTo>
                                <a:pt x="82020" y="203729"/>
                              </a:lnTo>
                              <a:lnTo>
                                <a:pt x="79375" y="201083"/>
                              </a:lnTo>
                              <a:lnTo>
                                <a:pt x="79375" y="198437"/>
                              </a:lnTo>
                              <a:lnTo>
                                <a:pt x="76729" y="190499"/>
                              </a:lnTo>
                              <a:lnTo>
                                <a:pt x="71437" y="190499"/>
                              </a:lnTo>
                              <a:lnTo>
                                <a:pt x="66145" y="187853"/>
                              </a:lnTo>
                              <a:lnTo>
                                <a:pt x="66145" y="185208"/>
                              </a:lnTo>
                              <a:lnTo>
                                <a:pt x="63500" y="185208"/>
                              </a:lnTo>
                              <a:lnTo>
                                <a:pt x="60854" y="185208"/>
                              </a:lnTo>
                              <a:close/>
                              <a:moveTo>
                                <a:pt x="111125" y="177270"/>
                              </a:moveTo>
                              <a:lnTo>
                                <a:pt x="116416" y="177270"/>
                              </a:lnTo>
                              <a:lnTo>
                                <a:pt x="119062" y="179916"/>
                              </a:lnTo>
                              <a:lnTo>
                                <a:pt x="119062" y="182562"/>
                              </a:lnTo>
                              <a:lnTo>
                                <a:pt x="121708" y="182562"/>
                              </a:lnTo>
                              <a:lnTo>
                                <a:pt x="124354" y="185207"/>
                              </a:lnTo>
                              <a:lnTo>
                                <a:pt x="127000" y="187853"/>
                              </a:lnTo>
                              <a:lnTo>
                                <a:pt x="124354" y="187853"/>
                              </a:lnTo>
                              <a:lnTo>
                                <a:pt x="121708" y="193145"/>
                              </a:lnTo>
                              <a:lnTo>
                                <a:pt x="119062" y="193145"/>
                              </a:lnTo>
                              <a:lnTo>
                                <a:pt x="113770" y="193145"/>
                              </a:lnTo>
                              <a:lnTo>
                                <a:pt x="108479" y="187853"/>
                              </a:lnTo>
                              <a:lnTo>
                                <a:pt x="105833" y="187853"/>
                              </a:lnTo>
                              <a:lnTo>
                                <a:pt x="108479" y="185207"/>
                              </a:lnTo>
                              <a:lnTo>
                                <a:pt x="111125" y="179916"/>
                              </a:lnTo>
                              <a:close/>
                              <a:moveTo>
                                <a:pt x="87312" y="0"/>
                              </a:moveTo>
                              <a:lnTo>
                                <a:pt x="89958" y="0"/>
                              </a:lnTo>
                              <a:lnTo>
                                <a:pt x="92604" y="2646"/>
                              </a:lnTo>
                              <a:lnTo>
                                <a:pt x="95250" y="5292"/>
                              </a:lnTo>
                              <a:lnTo>
                                <a:pt x="95250" y="10583"/>
                              </a:lnTo>
                              <a:lnTo>
                                <a:pt x="95250" y="13229"/>
                              </a:lnTo>
                              <a:lnTo>
                                <a:pt x="92604" y="13229"/>
                              </a:lnTo>
                              <a:lnTo>
                                <a:pt x="89958" y="15875"/>
                              </a:lnTo>
                              <a:lnTo>
                                <a:pt x="92604" y="21167"/>
                              </a:lnTo>
                              <a:lnTo>
                                <a:pt x="95250" y="23812"/>
                              </a:lnTo>
                              <a:lnTo>
                                <a:pt x="92604" y="29104"/>
                              </a:lnTo>
                              <a:lnTo>
                                <a:pt x="92604" y="42333"/>
                              </a:lnTo>
                              <a:lnTo>
                                <a:pt x="95250" y="47625"/>
                              </a:lnTo>
                              <a:lnTo>
                                <a:pt x="97896" y="50271"/>
                              </a:lnTo>
                              <a:lnTo>
                                <a:pt x="103187" y="50271"/>
                              </a:lnTo>
                              <a:lnTo>
                                <a:pt x="103187" y="52916"/>
                              </a:lnTo>
                              <a:lnTo>
                                <a:pt x="105833" y="55562"/>
                              </a:lnTo>
                              <a:lnTo>
                                <a:pt x="105833" y="58208"/>
                              </a:lnTo>
                              <a:lnTo>
                                <a:pt x="108479" y="58208"/>
                              </a:lnTo>
                              <a:lnTo>
                                <a:pt x="111125" y="58208"/>
                              </a:lnTo>
                              <a:lnTo>
                                <a:pt x="111125" y="63500"/>
                              </a:lnTo>
                              <a:lnTo>
                                <a:pt x="111125" y="68791"/>
                              </a:lnTo>
                              <a:lnTo>
                                <a:pt x="111125" y="74083"/>
                              </a:lnTo>
                              <a:lnTo>
                                <a:pt x="108479" y="76729"/>
                              </a:lnTo>
                              <a:lnTo>
                                <a:pt x="108479" y="79375"/>
                              </a:lnTo>
                              <a:lnTo>
                                <a:pt x="108479" y="82021"/>
                              </a:lnTo>
                              <a:lnTo>
                                <a:pt x="108479" y="84666"/>
                              </a:lnTo>
                              <a:lnTo>
                                <a:pt x="103187" y="87312"/>
                              </a:lnTo>
                              <a:lnTo>
                                <a:pt x="100541" y="87312"/>
                              </a:lnTo>
                              <a:lnTo>
                                <a:pt x="103187" y="84666"/>
                              </a:lnTo>
                              <a:lnTo>
                                <a:pt x="97896" y="87312"/>
                              </a:lnTo>
                              <a:lnTo>
                                <a:pt x="92604" y="89958"/>
                              </a:lnTo>
                              <a:lnTo>
                                <a:pt x="89958" y="89958"/>
                              </a:lnTo>
                              <a:lnTo>
                                <a:pt x="84666" y="89958"/>
                              </a:lnTo>
                              <a:lnTo>
                                <a:pt x="82021" y="92604"/>
                              </a:lnTo>
                              <a:lnTo>
                                <a:pt x="82021" y="95250"/>
                              </a:lnTo>
                              <a:lnTo>
                                <a:pt x="84666" y="97896"/>
                              </a:lnTo>
                              <a:lnTo>
                                <a:pt x="87312" y="97896"/>
                              </a:lnTo>
                              <a:lnTo>
                                <a:pt x="87312" y="100541"/>
                              </a:lnTo>
                              <a:lnTo>
                                <a:pt x="87312" y="105833"/>
                              </a:lnTo>
                              <a:lnTo>
                                <a:pt x="87312" y="108479"/>
                              </a:lnTo>
                              <a:lnTo>
                                <a:pt x="87312" y="111125"/>
                              </a:lnTo>
                              <a:lnTo>
                                <a:pt x="89958" y="113771"/>
                              </a:lnTo>
                              <a:lnTo>
                                <a:pt x="92604" y="113771"/>
                              </a:lnTo>
                              <a:lnTo>
                                <a:pt x="92604" y="119062"/>
                              </a:lnTo>
                              <a:lnTo>
                                <a:pt x="95250" y="124354"/>
                              </a:lnTo>
                              <a:lnTo>
                                <a:pt x="97896" y="129646"/>
                              </a:lnTo>
                              <a:lnTo>
                                <a:pt x="100541" y="134937"/>
                              </a:lnTo>
                              <a:lnTo>
                                <a:pt x="100541" y="137583"/>
                              </a:lnTo>
                              <a:lnTo>
                                <a:pt x="95250" y="134937"/>
                              </a:lnTo>
                              <a:lnTo>
                                <a:pt x="95250" y="140229"/>
                              </a:lnTo>
                              <a:lnTo>
                                <a:pt x="97896" y="145521"/>
                              </a:lnTo>
                              <a:lnTo>
                                <a:pt x="100541" y="148166"/>
                              </a:lnTo>
                              <a:lnTo>
                                <a:pt x="103187" y="150812"/>
                              </a:lnTo>
                              <a:lnTo>
                                <a:pt x="105833" y="153458"/>
                              </a:lnTo>
                              <a:lnTo>
                                <a:pt x="108479" y="158750"/>
                              </a:lnTo>
                              <a:lnTo>
                                <a:pt x="116417" y="158750"/>
                              </a:lnTo>
                              <a:lnTo>
                                <a:pt x="116417" y="156104"/>
                              </a:lnTo>
                              <a:lnTo>
                                <a:pt x="121708" y="158750"/>
                              </a:lnTo>
                              <a:lnTo>
                                <a:pt x="119062" y="156104"/>
                              </a:lnTo>
                              <a:lnTo>
                                <a:pt x="116417" y="153458"/>
                              </a:lnTo>
                              <a:lnTo>
                                <a:pt x="119062" y="150812"/>
                              </a:lnTo>
                              <a:lnTo>
                                <a:pt x="121708" y="153458"/>
                              </a:lnTo>
                              <a:lnTo>
                                <a:pt x="121708" y="150812"/>
                              </a:lnTo>
                              <a:lnTo>
                                <a:pt x="121708" y="148166"/>
                              </a:lnTo>
                              <a:lnTo>
                                <a:pt x="124354" y="148166"/>
                              </a:lnTo>
                              <a:lnTo>
                                <a:pt x="129646" y="148166"/>
                              </a:lnTo>
                              <a:lnTo>
                                <a:pt x="132292" y="150812"/>
                              </a:lnTo>
                              <a:lnTo>
                                <a:pt x="134938" y="153458"/>
                              </a:lnTo>
                              <a:lnTo>
                                <a:pt x="134938" y="156104"/>
                              </a:lnTo>
                              <a:lnTo>
                                <a:pt x="134938" y="158750"/>
                              </a:lnTo>
                              <a:lnTo>
                                <a:pt x="142875" y="158750"/>
                              </a:lnTo>
                              <a:lnTo>
                                <a:pt x="145521" y="158750"/>
                              </a:lnTo>
                              <a:lnTo>
                                <a:pt x="145521" y="156104"/>
                              </a:lnTo>
                              <a:lnTo>
                                <a:pt x="142875" y="153458"/>
                              </a:lnTo>
                              <a:lnTo>
                                <a:pt x="140230" y="150812"/>
                              </a:lnTo>
                              <a:lnTo>
                                <a:pt x="142875" y="150812"/>
                              </a:lnTo>
                              <a:lnTo>
                                <a:pt x="145521" y="150812"/>
                              </a:lnTo>
                              <a:lnTo>
                                <a:pt x="145521" y="148166"/>
                              </a:lnTo>
                              <a:lnTo>
                                <a:pt x="148167" y="148166"/>
                              </a:lnTo>
                              <a:lnTo>
                                <a:pt x="148167" y="150812"/>
                              </a:lnTo>
                              <a:lnTo>
                                <a:pt x="150813" y="150812"/>
                              </a:lnTo>
                              <a:lnTo>
                                <a:pt x="150813" y="153458"/>
                              </a:lnTo>
                              <a:lnTo>
                                <a:pt x="150813" y="156104"/>
                              </a:lnTo>
                              <a:lnTo>
                                <a:pt x="153459" y="156104"/>
                              </a:lnTo>
                              <a:lnTo>
                                <a:pt x="156105" y="158750"/>
                              </a:lnTo>
                              <a:lnTo>
                                <a:pt x="161396" y="161396"/>
                              </a:lnTo>
                              <a:lnTo>
                                <a:pt x="164042" y="161396"/>
                              </a:lnTo>
                              <a:lnTo>
                                <a:pt x="164042" y="164041"/>
                              </a:lnTo>
                              <a:lnTo>
                                <a:pt x="161396" y="166687"/>
                              </a:lnTo>
                              <a:lnTo>
                                <a:pt x="158751" y="166687"/>
                              </a:lnTo>
                              <a:lnTo>
                                <a:pt x="156105" y="166687"/>
                              </a:lnTo>
                              <a:lnTo>
                                <a:pt x="153459" y="166687"/>
                              </a:lnTo>
                              <a:lnTo>
                                <a:pt x="150813" y="166687"/>
                              </a:lnTo>
                              <a:lnTo>
                                <a:pt x="150813" y="171979"/>
                              </a:lnTo>
                              <a:lnTo>
                                <a:pt x="156105" y="171979"/>
                              </a:lnTo>
                              <a:lnTo>
                                <a:pt x="161396" y="174625"/>
                              </a:lnTo>
                              <a:lnTo>
                                <a:pt x="164042" y="177271"/>
                              </a:lnTo>
                              <a:lnTo>
                                <a:pt x="166688" y="179916"/>
                              </a:lnTo>
                              <a:lnTo>
                                <a:pt x="169334" y="179916"/>
                              </a:lnTo>
                              <a:lnTo>
                                <a:pt x="169334" y="182562"/>
                              </a:lnTo>
                              <a:lnTo>
                                <a:pt x="169334" y="185208"/>
                              </a:lnTo>
                              <a:lnTo>
                                <a:pt x="174626" y="185208"/>
                              </a:lnTo>
                              <a:lnTo>
                                <a:pt x="177271" y="182562"/>
                              </a:lnTo>
                              <a:lnTo>
                                <a:pt x="179917" y="182562"/>
                              </a:lnTo>
                              <a:lnTo>
                                <a:pt x="179917" y="185208"/>
                              </a:lnTo>
                              <a:lnTo>
                                <a:pt x="179917" y="187854"/>
                              </a:lnTo>
                              <a:lnTo>
                                <a:pt x="179917" y="193146"/>
                              </a:lnTo>
                              <a:lnTo>
                                <a:pt x="179917" y="201083"/>
                              </a:lnTo>
                              <a:lnTo>
                                <a:pt x="177271" y="203729"/>
                              </a:lnTo>
                              <a:lnTo>
                                <a:pt x="174626" y="203729"/>
                              </a:lnTo>
                              <a:lnTo>
                                <a:pt x="169334" y="203729"/>
                              </a:lnTo>
                              <a:lnTo>
                                <a:pt x="166688" y="201083"/>
                              </a:lnTo>
                              <a:lnTo>
                                <a:pt x="164042" y="198437"/>
                              </a:lnTo>
                              <a:lnTo>
                                <a:pt x="161396" y="195791"/>
                              </a:lnTo>
                              <a:lnTo>
                                <a:pt x="161396" y="193146"/>
                              </a:lnTo>
                              <a:lnTo>
                                <a:pt x="156105" y="187854"/>
                              </a:lnTo>
                              <a:lnTo>
                                <a:pt x="153459" y="187854"/>
                              </a:lnTo>
                              <a:lnTo>
                                <a:pt x="153459" y="190500"/>
                              </a:lnTo>
                              <a:lnTo>
                                <a:pt x="150813" y="187854"/>
                              </a:lnTo>
                              <a:lnTo>
                                <a:pt x="150813" y="185208"/>
                              </a:lnTo>
                              <a:lnTo>
                                <a:pt x="148167" y="179916"/>
                              </a:lnTo>
                              <a:lnTo>
                                <a:pt x="145521" y="177271"/>
                              </a:lnTo>
                              <a:lnTo>
                                <a:pt x="140230" y="174625"/>
                              </a:lnTo>
                              <a:lnTo>
                                <a:pt x="137584" y="174625"/>
                              </a:lnTo>
                              <a:lnTo>
                                <a:pt x="137584" y="171979"/>
                              </a:lnTo>
                              <a:lnTo>
                                <a:pt x="129646" y="166687"/>
                              </a:lnTo>
                              <a:lnTo>
                                <a:pt x="127000" y="164041"/>
                              </a:lnTo>
                              <a:lnTo>
                                <a:pt x="124354" y="161396"/>
                              </a:lnTo>
                              <a:lnTo>
                                <a:pt x="124354" y="164041"/>
                              </a:lnTo>
                              <a:lnTo>
                                <a:pt x="127000" y="166687"/>
                              </a:lnTo>
                              <a:lnTo>
                                <a:pt x="129646" y="169333"/>
                              </a:lnTo>
                              <a:lnTo>
                                <a:pt x="129646" y="171979"/>
                              </a:lnTo>
                              <a:lnTo>
                                <a:pt x="127000" y="171979"/>
                              </a:lnTo>
                              <a:lnTo>
                                <a:pt x="129646" y="174625"/>
                              </a:lnTo>
                              <a:lnTo>
                                <a:pt x="132292" y="177271"/>
                              </a:lnTo>
                              <a:lnTo>
                                <a:pt x="134938" y="179916"/>
                              </a:lnTo>
                              <a:lnTo>
                                <a:pt x="132292" y="179916"/>
                              </a:lnTo>
                              <a:lnTo>
                                <a:pt x="127000" y="179916"/>
                              </a:lnTo>
                              <a:lnTo>
                                <a:pt x="124354" y="177271"/>
                              </a:lnTo>
                              <a:lnTo>
                                <a:pt x="121708" y="171979"/>
                              </a:lnTo>
                              <a:lnTo>
                                <a:pt x="119062" y="169333"/>
                              </a:lnTo>
                              <a:lnTo>
                                <a:pt x="113771" y="169333"/>
                              </a:lnTo>
                              <a:lnTo>
                                <a:pt x="111125" y="166687"/>
                              </a:lnTo>
                              <a:lnTo>
                                <a:pt x="105833" y="164041"/>
                              </a:lnTo>
                              <a:lnTo>
                                <a:pt x="105833" y="161396"/>
                              </a:lnTo>
                              <a:lnTo>
                                <a:pt x="103187" y="161396"/>
                              </a:lnTo>
                              <a:lnTo>
                                <a:pt x="100541" y="164041"/>
                              </a:lnTo>
                              <a:lnTo>
                                <a:pt x="100541" y="166687"/>
                              </a:lnTo>
                              <a:lnTo>
                                <a:pt x="100541" y="169333"/>
                              </a:lnTo>
                              <a:lnTo>
                                <a:pt x="97896" y="171979"/>
                              </a:lnTo>
                              <a:lnTo>
                                <a:pt x="95250" y="174625"/>
                              </a:lnTo>
                              <a:lnTo>
                                <a:pt x="89958" y="174625"/>
                              </a:lnTo>
                              <a:lnTo>
                                <a:pt x="87312" y="171979"/>
                              </a:lnTo>
                              <a:lnTo>
                                <a:pt x="87312" y="169333"/>
                              </a:lnTo>
                              <a:lnTo>
                                <a:pt x="87312" y="166687"/>
                              </a:lnTo>
                              <a:lnTo>
                                <a:pt x="84666" y="166687"/>
                              </a:lnTo>
                              <a:lnTo>
                                <a:pt x="82021" y="166687"/>
                              </a:lnTo>
                              <a:lnTo>
                                <a:pt x="82021" y="164041"/>
                              </a:lnTo>
                              <a:lnTo>
                                <a:pt x="84666" y="161396"/>
                              </a:lnTo>
                              <a:lnTo>
                                <a:pt x="82021" y="158750"/>
                              </a:lnTo>
                              <a:lnTo>
                                <a:pt x="79375" y="156104"/>
                              </a:lnTo>
                              <a:lnTo>
                                <a:pt x="76729" y="158750"/>
                              </a:lnTo>
                              <a:lnTo>
                                <a:pt x="76729" y="161396"/>
                              </a:lnTo>
                              <a:lnTo>
                                <a:pt x="74083" y="164041"/>
                              </a:lnTo>
                              <a:lnTo>
                                <a:pt x="74083" y="158750"/>
                              </a:lnTo>
                              <a:lnTo>
                                <a:pt x="71437" y="153458"/>
                              </a:lnTo>
                              <a:lnTo>
                                <a:pt x="71437" y="150812"/>
                              </a:lnTo>
                              <a:lnTo>
                                <a:pt x="76729" y="145521"/>
                              </a:lnTo>
                              <a:lnTo>
                                <a:pt x="82021" y="142875"/>
                              </a:lnTo>
                              <a:lnTo>
                                <a:pt x="79375" y="140229"/>
                              </a:lnTo>
                              <a:lnTo>
                                <a:pt x="76729" y="132291"/>
                              </a:lnTo>
                              <a:lnTo>
                                <a:pt x="74083" y="132291"/>
                              </a:lnTo>
                              <a:lnTo>
                                <a:pt x="71437" y="132291"/>
                              </a:lnTo>
                              <a:lnTo>
                                <a:pt x="71437" y="134937"/>
                              </a:lnTo>
                              <a:lnTo>
                                <a:pt x="68791" y="132291"/>
                              </a:lnTo>
                              <a:lnTo>
                                <a:pt x="66146" y="132291"/>
                              </a:lnTo>
                              <a:lnTo>
                                <a:pt x="66146" y="134937"/>
                              </a:lnTo>
                              <a:lnTo>
                                <a:pt x="68791" y="140229"/>
                              </a:lnTo>
                              <a:lnTo>
                                <a:pt x="71437" y="140229"/>
                              </a:lnTo>
                              <a:lnTo>
                                <a:pt x="68791" y="142875"/>
                              </a:lnTo>
                              <a:lnTo>
                                <a:pt x="66146" y="142875"/>
                              </a:lnTo>
                              <a:lnTo>
                                <a:pt x="63500" y="142875"/>
                              </a:lnTo>
                              <a:lnTo>
                                <a:pt x="60854" y="137583"/>
                              </a:lnTo>
                              <a:lnTo>
                                <a:pt x="55562" y="134937"/>
                              </a:lnTo>
                              <a:lnTo>
                                <a:pt x="55562" y="132291"/>
                              </a:lnTo>
                              <a:lnTo>
                                <a:pt x="55562" y="129646"/>
                              </a:lnTo>
                              <a:lnTo>
                                <a:pt x="55562" y="127000"/>
                              </a:lnTo>
                              <a:lnTo>
                                <a:pt x="52916" y="127000"/>
                              </a:lnTo>
                              <a:lnTo>
                                <a:pt x="50270" y="127000"/>
                              </a:lnTo>
                              <a:lnTo>
                                <a:pt x="50270" y="129646"/>
                              </a:lnTo>
                              <a:lnTo>
                                <a:pt x="47625" y="127000"/>
                              </a:lnTo>
                              <a:lnTo>
                                <a:pt x="42333" y="124354"/>
                              </a:lnTo>
                              <a:lnTo>
                                <a:pt x="39687" y="119062"/>
                              </a:lnTo>
                              <a:lnTo>
                                <a:pt x="39687" y="113771"/>
                              </a:lnTo>
                              <a:lnTo>
                                <a:pt x="39687" y="108479"/>
                              </a:lnTo>
                              <a:lnTo>
                                <a:pt x="39687" y="105833"/>
                              </a:lnTo>
                              <a:lnTo>
                                <a:pt x="39687" y="103187"/>
                              </a:lnTo>
                              <a:lnTo>
                                <a:pt x="39687" y="100541"/>
                              </a:lnTo>
                              <a:lnTo>
                                <a:pt x="39687" y="97896"/>
                              </a:lnTo>
                              <a:lnTo>
                                <a:pt x="34395" y="92604"/>
                              </a:lnTo>
                              <a:lnTo>
                                <a:pt x="34395" y="87312"/>
                              </a:lnTo>
                              <a:lnTo>
                                <a:pt x="34395" y="84666"/>
                              </a:lnTo>
                              <a:lnTo>
                                <a:pt x="31750" y="84666"/>
                              </a:lnTo>
                              <a:lnTo>
                                <a:pt x="29104" y="84666"/>
                              </a:lnTo>
                              <a:lnTo>
                                <a:pt x="29104" y="82021"/>
                              </a:lnTo>
                              <a:lnTo>
                                <a:pt x="29104" y="76729"/>
                              </a:lnTo>
                              <a:lnTo>
                                <a:pt x="29104" y="74083"/>
                              </a:lnTo>
                              <a:lnTo>
                                <a:pt x="31750" y="74083"/>
                              </a:lnTo>
                              <a:lnTo>
                                <a:pt x="34395" y="71437"/>
                              </a:lnTo>
                              <a:lnTo>
                                <a:pt x="37041" y="71437"/>
                              </a:lnTo>
                              <a:lnTo>
                                <a:pt x="37041" y="76729"/>
                              </a:lnTo>
                              <a:lnTo>
                                <a:pt x="39687" y="76729"/>
                              </a:lnTo>
                              <a:lnTo>
                                <a:pt x="42333" y="76729"/>
                              </a:lnTo>
                              <a:lnTo>
                                <a:pt x="42333" y="79375"/>
                              </a:lnTo>
                              <a:lnTo>
                                <a:pt x="42333" y="82021"/>
                              </a:lnTo>
                              <a:lnTo>
                                <a:pt x="44979" y="84666"/>
                              </a:lnTo>
                              <a:lnTo>
                                <a:pt x="50270" y="84666"/>
                              </a:lnTo>
                              <a:lnTo>
                                <a:pt x="52916" y="84666"/>
                              </a:lnTo>
                              <a:lnTo>
                                <a:pt x="55562" y="82021"/>
                              </a:lnTo>
                              <a:lnTo>
                                <a:pt x="58208" y="76729"/>
                              </a:lnTo>
                              <a:lnTo>
                                <a:pt x="52916" y="74083"/>
                              </a:lnTo>
                              <a:lnTo>
                                <a:pt x="50270" y="74083"/>
                              </a:lnTo>
                              <a:lnTo>
                                <a:pt x="50270" y="71437"/>
                              </a:lnTo>
                              <a:lnTo>
                                <a:pt x="47625" y="68791"/>
                              </a:lnTo>
                              <a:lnTo>
                                <a:pt x="47625" y="66146"/>
                              </a:lnTo>
                              <a:lnTo>
                                <a:pt x="47625" y="63500"/>
                              </a:lnTo>
                              <a:lnTo>
                                <a:pt x="50270" y="60854"/>
                              </a:lnTo>
                              <a:lnTo>
                                <a:pt x="50270" y="58208"/>
                              </a:lnTo>
                              <a:lnTo>
                                <a:pt x="50270" y="55562"/>
                              </a:lnTo>
                              <a:lnTo>
                                <a:pt x="47625" y="52916"/>
                              </a:lnTo>
                              <a:lnTo>
                                <a:pt x="44979" y="50271"/>
                              </a:lnTo>
                              <a:lnTo>
                                <a:pt x="44979" y="47625"/>
                              </a:lnTo>
                              <a:lnTo>
                                <a:pt x="44979" y="44979"/>
                              </a:lnTo>
                              <a:lnTo>
                                <a:pt x="42333" y="42333"/>
                              </a:lnTo>
                              <a:lnTo>
                                <a:pt x="42333" y="39687"/>
                              </a:lnTo>
                              <a:lnTo>
                                <a:pt x="42333" y="37042"/>
                              </a:lnTo>
                              <a:lnTo>
                                <a:pt x="39687" y="37042"/>
                              </a:lnTo>
                              <a:lnTo>
                                <a:pt x="39687" y="34396"/>
                              </a:lnTo>
                              <a:lnTo>
                                <a:pt x="39687" y="31750"/>
                              </a:lnTo>
                              <a:lnTo>
                                <a:pt x="42333" y="29104"/>
                              </a:lnTo>
                              <a:lnTo>
                                <a:pt x="39687" y="26458"/>
                              </a:lnTo>
                              <a:lnTo>
                                <a:pt x="42333" y="23812"/>
                              </a:lnTo>
                              <a:lnTo>
                                <a:pt x="42333" y="21167"/>
                              </a:lnTo>
                              <a:lnTo>
                                <a:pt x="42333" y="18521"/>
                              </a:lnTo>
                              <a:lnTo>
                                <a:pt x="44979" y="15875"/>
                              </a:lnTo>
                              <a:lnTo>
                                <a:pt x="42333" y="13229"/>
                              </a:lnTo>
                              <a:lnTo>
                                <a:pt x="44979" y="10583"/>
                              </a:lnTo>
                              <a:lnTo>
                                <a:pt x="47625" y="7937"/>
                              </a:lnTo>
                              <a:lnTo>
                                <a:pt x="44979" y="7937"/>
                              </a:lnTo>
                              <a:lnTo>
                                <a:pt x="42333" y="5292"/>
                              </a:lnTo>
                              <a:lnTo>
                                <a:pt x="44979" y="5292"/>
                              </a:lnTo>
                              <a:lnTo>
                                <a:pt x="47625" y="2646"/>
                              </a:lnTo>
                              <a:lnTo>
                                <a:pt x="50270" y="5292"/>
                              </a:lnTo>
                              <a:lnTo>
                                <a:pt x="52916" y="2646"/>
                              </a:lnTo>
                              <a:lnTo>
                                <a:pt x="55562" y="5292"/>
                              </a:lnTo>
                              <a:lnTo>
                                <a:pt x="60854" y="5292"/>
                              </a:lnTo>
                              <a:lnTo>
                                <a:pt x="63500" y="2646"/>
                              </a:lnTo>
                              <a:lnTo>
                                <a:pt x="74083" y="5292"/>
                              </a:lnTo>
                              <a:lnTo>
                                <a:pt x="79375" y="7937"/>
                              </a:lnTo>
                              <a:lnTo>
                                <a:pt x="84666" y="7937"/>
                              </a:lnTo>
                              <a:lnTo>
                                <a:pt x="87312" y="5292"/>
                              </a:lnTo>
                              <a:lnTo>
                                <a:pt x="87312" y="2646"/>
                              </a:lnTo>
                              <a:close/>
                            </a:path>
                          </a:pathLst>
                        </a:custGeom>
                        <a:solidFill>
                          <a:schemeClr val="tx2"/>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
                  <p:nvSpPr>
                    <p:cNvPr id="557" name="Freeform 242"/>
                    <p:cNvSpPr>
                      <a:spLocks/>
                    </p:cNvSpPr>
                    <p:nvPr/>
                  </p:nvSpPr>
                  <p:spPr bwMode="auto">
                    <a:xfrm>
                      <a:off x="6537661" y="2122353"/>
                      <a:ext cx="91129" cy="63732"/>
                    </a:xfrm>
                    <a:custGeom>
                      <a:avLst/>
                      <a:gdLst/>
                      <a:ahLst/>
                      <a:cxnLst>
                        <a:cxn ang="0">
                          <a:pos x="0" y="28"/>
                        </a:cxn>
                        <a:cxn ang="0">
                          <a:pos x="2" y="28"/>
                        </a:cxn>
                        <a:cxn ang="0">
                          <a:pos x="6" y="30"/>
                        </a:cxn>
                        <a:cxn ang="0">
                          <a:pos x="8" y="36"/>
                        </a:cxn>
                        <a:cxn ang="0">
                          <a:pos x="10" y="36"/>
                        </a:cxn>
                        <a:cxn ang="0">
                          <a:pos x="20" y="30"/>
                        </a:cxn>
                        <a:cxn ang="0">
                          <a:pos x="24" y="30"/>
                        </a:cxn>
                        <a:cxn ang="0">
                          <a:pos x="24" y="32"/>
                        </a:cxn>
                        <a:cxn ang="0">
                          <a:pos x="22" y="32"/>
                        </a:cxn>
                        <a:cxn ang="0">
                          <a:pos x="12" y="40"/>
                        </a:cxn>
                        <a:cxn ang="0">
                          <a:pos x="10" y="42"/>
                        </a:cxn>
                        <a:cxn ang="0">
                          <a:pos x="18" y="40"/>
                        </a:cxn>
                        <a:cxn ang="0">
                          <a:pos x="30" y="32"/>
                        </a:cxn>
                        <a:cxn ang="0">
                          <a:pos x="32" y="30"/>
                        </a:cxn>
                        <a:cxn ang="0">
                          <a:pos x="34" y="28"/>
                        </a:cxn>
                        <a:cxn ang="0">
                          <a:pos x="34" y="26"/>
                        </a:cxn>
                        <a:cxn ang="0">
                          <a:pos x="38" y="24"/>
                        </a:cxn>
                        <a:cxn ang="0">
                          <a:pos x="42" y="20"/>
                        </a:cxn>
                        <a:cxn ang="0">
                          <a:pos x="44" y="22"/>
                        </a:cxn>
                        <a:cxn ang="0">
                          <a:pos x="48" y="24"/>
                        </a:cxn>
                        <a:cxn ang="0">
                          <a:pos x="50" y="22"/>
                        </a:cxn>
                        <a:cxn ang="0">
                          <a:pos x="56" y="22"/>
                        </a:cxn>
                        <a:cxn ang="0">
                          <a:pos x="60" y="18"/>
                        </a:cxn>
                        <a:cxn ang="0">
                          <a:pos x="60" y="18"/>
                        </a:cxn>
                        <a:cxn ang="0">
                          <a:pos x="52" y="14"/>
                        </a:cxn>
                        <a:cxn ang="0">
                          <a:pos x="42" y="8"/>
                        </a:cxn>
                        <a:cxn ang="0">
                          <a:pos x="36" y="2"/>
                        </a:cxn>
                        <a:cxn ang="0">
                          <a:pos x="18" y="0"/>
                        </a:cxn>
                        <a:cxn ang="0">
                          <a:pos x="16" y="0"/>
                        </a:cxn>
                        <a:cxn ang="0">
                          <a:pos x="8" y="4"/>
                        </a:cxn>
                        <a:cxn ang="0">
                          <a:pos x="4" y="4"/>
                        </a:cxn>
                        <a:cxn ang="0">
                          <a:pos x="2" y="8"/>
                        </a:cxn>
                        <a:cxn ang="0">
                          <a:pos x="6" y="10"/>
                        </a:cxn>
                        <a:cxn ang="0">
                          <a:pos x="6" y="12"/>
                        </a:cxn>
                        <a:cxn ang="0">
                          <a:pos x="4" y="16"/>
                        </a:cxn>
                        <a:cxn ang="0">
                          <a:pos x="0" y="18"/>
                        </a:cxn>
                        <a:cxn ang="0">
                          <a:pos x="2" y="22"/>
                        </a:cxn>
                        <a:cxn ang="0">
                          <a:pos x="0" y="28"/>
                        </a:cxn>
                      </a:cxnLst>
                      <a:rect l="0" t="0" r="r" b="b"/>
                      <a:pathLst>
                        <a:path w="60" h="42">
                          <a:moveTo>
                            <a:pt x="0" y="28"/>
                          </a:moveTo>
                          <a:lnTo>
                            <a:pt x="0" y="28"/>
                          </a:lnTo>
                          <a:lnTo>
                            <a:pt x="0" y="28"/>
                          </a:lnTo>
                          <a:lnTo>
                            <a:pt x="2" y="28"/>
                          </a:lnTo>
                          <a:lnTo>
                            <a:pt x="6" y="30"/>
                          </a:lnTo>
                          <a:lnTo>
                            <a:pt x="6" y="30"/>
                          </a:lnTo>
                          <a:lnTo>
                            <a:pt x="6" y="34"/>
                          </a:lnTo>
                          <a:lnTo>
                            <a:pt x="8" y="36"/>
                          </a:lnTo>
                          <a:lnTo>
                            <a:pt x="10" y="36"/>
                          </a:lnTo>
                          <a:lnTo>
                            <a:pt x="10" y="36"/>
                          </a:lnTo>
                          <a:lnTo>
                            <a:pt x="14" y="34"/>
                          </a:lnTo>
                          <a:lnTo>
                            <a:pt x="20" y="30"/>
                          </a:lnTo>
                          <a:lnTo>
                            <a:pt x="20" y="30"/>
                          </a:lnTo>
                          <a:lnTo>
                            <a:pt x="24" y="30"/>
                          </a:lnTo>
                          <a:lnTo>
                            <a:pt x="24" y="30"/>
                          </a:lnTo>
                          <a:lnTo>
                            <a:pt x="24" y="32"/>
                          </a:lnTo>
                          <a:lnTo>
                            <a:pt x="22" y="32"/>
                          </a:lnTo>
                          <a:lnTo>
                            <a:pt x="22" y="32"/>
                          </a:lnTo>
                          <a:lnTo>
                            <a:pt x="16" y="34"/>
                          </a:lnTo>
                          <a:lnTo>
                            <a:pt x="12" y="40"/>
                          </a:lnTo>
                          <a:lnTo>
                            <a:pt x="12" y="40"/>
                          </a:lnTo>
                          <a:lnTo>
                            <a:pt x="10" y="42"/>
                          </a:lnTo>
                          <a:lnTo>
                            <a:pt x="12" y="42"/>
                          </a:lnTo>
                          <a:lnTo>
                            <a:pt x="18" y="40"/>
                          </a:lnTo>
                          <a:lnTo>
                            <a:pt x="18" y="40"/>
                          </a:lnTo>
                          <a:lnTo>
                            <a:pt x="30" y="32"/>
                          </a:lnTo>
                          <a:lnTo>
                            <a:pt x="30" y="32"/>
                          </a:lnTo>
                          <a:lnTo>
                            <a:pt x="32" y="30"/>
                          </a:lnTo>
                          <a:lnTo>
                            <a:pt x="32" y="28"/>
                          </a:lnTo>
                          <a:lnTo>
                            <a:pt x="34" y="28"/>
                          </a:lnTo>
                          <a:lnTo>
                            <a:pt x="34" y="26"/>
                          </a:lnTo>
                          <a:lnTo>
                            <a:pt x="34" y="26"/>
                          </a:lnTo>
                          <a:lnTo>
                            <a:pt x="36" y="26"/>
                          </a:lnTo>
                          <a:lnTo>
                            <a:pt x="38" y="24"/>
                          </a:lnTo>
                          <a:lnTo>
                            <a:pt x="38" y="22"/>
                          </a:lnTo>
                          <a:lnTo>
                            <a:pt x="42" y="20"/>
                          </a:lnTo>
                          <a:lnTo>
                            <a:pt x="42" y="20"/>
                          </a:lnTo>
                          <a:lnTo>
                            <a:pt x="44" y="22"/>
                          </a:lnTo>
                          <a:lnTo>
                            <a:pt x="46" y="22"/>
                          </a:lnTo>
                          <a:lnTo>
                            <a:pt x="48" y="24"/>
                          </a:lnTo>
                          <a:lnTo>
                            <a:pt x="50" y="22"/>
                          </a:lnTo>
                          <a:lnTo>
                            <a:pt x="50" y="22"/>
                          </a:lnTo>
                          <a:lnTo>
                            <a:pt x="52" y="22"/>
                          </a:lnTo>
                          <a:lnTo>
                            <a:pt x="56" y="22"/>
                          </a:lnTo>
                          <a:lnTo>
                            <a:pt x="58" y="22"/>
                          </a:lnTo>
                          <a:lnTo>
                            <a:pt x="60" y="18"/>
                          </a:lnTo>
                          <a:lnTo>
                            <a:pt x="60" y="18"/>
                          </a:lnTo>
                          <a:lnTo>
                            <a:pt x="60" y="18"/>
                          </a:lnTo>
                          <a:lnTo>
                            <a:pt x="58" y="18"/>
                          </a:lnTo>
                          <a:lnTo>
                            <a:pt x="52" y="14"/>
                          </a:lnTo>
                          <a:lnTo>
                            <a:pt x="52" y="14"/>
                          </a:lnTo>
                          <a:lnTo>
                            <a:pt x="42" y="8"/>
                          </a:lnTo>
                          <a:lnTo>
                            <a:pt x="36" y="2"/>
                          </a:lnTo>
                          <a:lnTo>
                            <a:pt x="36" y="2"/>
                          </a:lnTo>
                          <a:lnTo>
                            <a:pt x="26" y="2"/>
                          </a:lnTo>
                          <a:lnTo>
                            <a:pt x="18" y="0"/>
                          </a:lnTo>
                          <a:lnTo>
                            <a:pt x="18" y="0"/>
                          </a:lnTo>
                          <a:lnTo>
                            <a:pt x="16" y="0"/>
                          </a:lnTo>
                          <a:lnTo>
                            <a:pt x="12" y="0"/>
                          </a:lnTo>
                          <a:lnTo>
                            <a:pt x="8" y="4"/>
                          </a:lnTo>
                          <a:lnTo>
                            <a:pt x="8" y="4"/>
                          </a:lnTo>
                          <a:lnTo>
                            <a:pt x="4" y="4"/>
                          </a:lnTo>
                          <a:lnTo>
                            <a:pt x="2" y="8"/>
                          </a:lnTo>
                          <a:lnTo>
                            <a:pt x="2" y="8"/>
                          </a:lnTo>
                          <a:lnTo>
                            <a:pt x="6" y="10"/>
                          </a:lnTo>
                          <a:lnTo>
                            <a:pt x="6" y="10"/>
                          </a:lnTo>
                          <a:lnTo>
                            <a:pt x="6" y="12"/>
                          </a:lnTo>
                          <a:lnTo>
                            <a:pt x="6" y="12"/>
                          </a:lnTo>
                          <a:lnTo>
                            <a:pt x="4" y="14"/>
                          </a:lnTo>
                          <a:lnTo>
                            <a:pt x="4" y="16"/>
                          </a:lnTo>
                          <a:lnTo>
                            <a:pt x="2" y="16"/>
                          </a:lnTo>
                          <a:lnTo>
                            <a:pt x="0" y="18"/>
                          </a:lnTo>
                          <a:lnTo>
                            <a:pt x="0" y="18"/>
                          </a:lnTo>
                          <a:lnTo>
                            <a:pt x="2" y="22"/>
                          </a:lnTo>
                          <a:lnTo>
                            <a:pt x="2" y="24"/>
                          </a:lnTo>
                          <a:lnTo>
                            <a:pt x="0" y="28"/>
                          </a:lnTo>
                          <a:lnTo>
                            <a:pt x="0" y="28"/>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
              <p:nvSpPr>
                <p:cNvPr id="474" name="India"/>
                <p:cNvSpPr>
                  <a:spLocks/>
                </p:cNvSpPr>
                <p:nvPr/>
              </p:nvSpPr>
              <p:spPr bwMode="auto">
                <a:xfrm>
                  <a:off x="7898945" y="2319617"/>
                  <a:ext cx="893067" cy="1056122"/>
                </a:xfrm>
                <a:custGeom>
                  <a:avLst/>
                  <a:gdLst/>
                  <a:ahLst/>
                  <a:cxnLst>
                    <a:cxn ang="0">
                      <a:pos x="388" y="234"/>
                    </a:cxn>
                    <a:cxn ang="0">
                      <a:pos x="350" y="234"/>
                    </a:cxn>
                    <a:cxn ang="0">
                      <a:pos x="300" y="212"/>
                    </a:cxn>
                    <a:cxn ang="0">
                      <a:pos x="276" y="206"/>
                    </a:cxn>
                    <a:cxn ang="0">
                      <a:pos x="230" y="174"/>
                    </a:cxn>
                    <a:cxn ang="0">
                      <a:pos x="240" y="142"/>
                    </a:cxn>
                    <a:cxn ang="0">
                      <a:pos x="182" y="104"/>
                    </a:cxn>
                    <a:cxn ang="0">
                      <a:pos x="182" y="70"/>
                    </a:cxn>
                    <a:cxn ang="0">
                      <a:pos x="128" y="4"/>
                    </a:cxn>
                    <a:cxn ang="0">
                      <a:pos x="128" y="28"/>
                    </a:cxn>
                    <a:cxn ang="0">
                      <a:pos x="66" y="40"/>
                    </a:cxn>
                    <a:cxn ang="0">
                      <a:pos x="82" y="54"/>
                    </a:cxn>
                    <a:cxn ang="0">
                      <a:pos x="104" y="66"/>
                    </a:cxn>
                    <a:cxn ang="0">
                      <a:pos x="102" y="98"/>
                    </a:cxn>
                    <a:cxn ang="0">
                      <a:pos x="88" y="150"/>
                    </a:cxn>
                    <a:cxn ang="0">
                      <a:pos x="44" y="192"/>
                    </a:cxn>
                    <a:cxn ang="0">
                      <a:pos x="28" y="218"/>
                    </a:cxn>
                    <a:cxn ang="0">
                      <a:pos x="68" y="270"/>
                    </a:cxn>
                    <a:cxn ang="0">
                      <a:pos x="54" y="276"/>
                    </a:cxn>
                    <a:cxn ang="0">
                      <a:pos x="12" y="282"/>
                    </a:cxn>
                    <a:cxn ang="0">
                      <a:pos x="18" y="306"/>
                    </a:cxn>
                    <a:cxn ang="0">
                      <a:pos x="44" y="324"/>
                    </a:cxn>
                    <a:cxn ang="0">
                      <a:pos x="20" y="334"/>
                    </a:cxn>
                    <a:cxn ang="0">
                      <a:pos x="58" y="376"/>
                    </a:cxn>
                    <a:cxn ang="0">
                      <a:pos x="88" y="354"/>
                    </a:cxn>
                    <a:cxn ang="0">
                      <a:pos x="94" y="354"/>
                    </a:cxn>
                    <a:cxn ang="0">
                      <a:pos x="110" y="386"/>
                    </a:cxn>
                    <a:cxn ang="0">
                      <a:pos x="114" y="410"/>
                    </a:cxn>
                    <a:cxn ang="0">
                      <a:pos x="142" y="508"/>
                    </a:cxn>
                    <a:cxn ang="0">
                      <a:pos x="168" y="572"/>
                    </a:cxn>
                    <a:cxn ang="0">
                      <a:pos x="210" y="660"/>
                    </a:cxn>
                    <a:cxn ang="0">
                      <a:pos x="252" y="690"/>
                    </a:cxn>
                    <a:cxn ang="0">
                      <a:pos x="264" y="660"/>
                    </a:cxn>
                    <a:cxn ang="0">
                      <a:pos x="284" y="638"/>
                    </a:cxn>
                    <a:cxn ang="0">
                      <a:pos x="288" y="582"/>
                    </a:cxn>
                    <a:cxn ang="0">
                      <a:pos x="286" y="532"/>
                    </a:cxn>
                    <a:cxn ang="0">
                      <a:pos x="300" y="490"/>
                    </a:cxn>
                    <a:cxn ang="0">
                      <a:pos x="328" y="464"/>
                    </a:cxn>
                    <a:cxn ang="0">
                      <a:pos x="352" y="432"/>
                    </a:cxn>
                    <a:cxn ang="0">
                      <a:pos x="382" y="390"/>
                    </a:cxn>
                    <a:cxn ang="0">
                      <a:pos x="398" y="354"/>
                    </a:cxn>
                    <a:cxn ang="0">
                      <a:pos x="420" y="332"/>
                    </a:cxn>
                    <a:cxn ang="0">
                      <a:pos x="432" y="338"/>
                    </a:cxn>
                    <a:cxn ang="0">
                      <a:pos x="430" y="308"/>
                    </a:cxn>
                    <a:cxn ang="0">
                      <a:pos x="408" y="268"/>
                    </a:cxn>
                    <a:cxn ang="0">
                      <a:pos x="390" y="238"/>
                    </a:cxn>
                    <a:cxn ang="0">
                      <a:pos x="418" y="228"/>
                    </a:cxn>
                    <a:cxn ang="0">
                      <a:pos x="436" y="240"/>
                    </a:cxn>
                    <a:cxn ang="0">
                      <a:pos x="502" y="266"/>
                    </a:cxn>
                    <a:cxn ang="0">
                      <a:pos x="470" y="296"/>
                    </a:cxn>
                    <a:cxn ang="0">
                      <a:pos x="492" y="300"/>
                    </a:cxn>
                    <a:cxn ang="0">
                      <a:pos x="528" y="332"/>
                    </a:cxn>
                    <a:cxn ang="0">
                      <a:pos x="540" y="290"/>
                    </a:cxn>
                    <a:cxn ang="0">
                      <a:pos x="540" y="236"/>
                    </a:cxn>
                    <a:cxn ang="0">
                      <a:pos x="582" y="190"/>
                    </a:cxn>
                    <a:cxn ang="0">
                      <a:pos x="558" y="172"/>
                    </a:cxn>
                    <a:cxn ang="0">
                      <a:pos x="538" y="160"/>
                    </a:cxn>
                    <a:cxn ang="0">
                      <a:pos x="462" y="184"/>
                    </a:cxn>
                    <a:cxn ang="0">
                      <a:pos x="470" y="206"/>
                    </a:cxn>
                    <a:cxn ang="0">
                      <a:pos x="412" y="200"/>
                    </a:cxn>
                  </a:cxnLst>
                  <a:rect l="0" t="0" r="r" b="b"/>
                  <a:pathLst>
                    <a:path w="588" h="696">
                      <a:moveTo>
                        <a:pt x="398" y="192"/>
                      </a:moveTo>
                      <a:lnTo>
                        <a:pt x="398" y="192"/>
                      </a:lnTo>
                      <a:lnTo>
                        <a:pt x="400" y="196"/>
                      </a:lnTo>
                      <a:lnTo>
                        <a:pt x="400" y="200"/>
                      </a:lnTo>
                      <a:lnTo>
                        <a:pt x="394" y="206"/>
                      </a:lnTo>
                      <a:lnTo>
                        <a:pt x="388" y="212"/>
                      </a:lnTo>
                      <a:lnTo>
                        <a:pt x="386" y="216"/>
                      </a:lnTo>
                      <a:lnTo>
                        <a:pt x="388" y="218"/>
                      </a:lnTo>
                      <a:lnTo>
                        <a:pt x="388" y="218"/>
                      </a:lnTo>
                      <a:lnTo>
                        <a:pt x="390" y="224"/>
                      </a:lnTo>
                      <a:lnTo>
                        <a:pt x="390" y="230"/>
                      </a:lnTo>
                      <a:lnTo>
                        <a:pt x="388" y="234"/>
                      </a:lnTo>
                      <a:lnTo>
                        <a:pt x="386" y="238"/>
                      </a:lnTo>
                      <a:lnTo>
                        <a:pt x="386" y="238"/>
                      </a:lnTo>
                      <a:lnTo>
                        <a:pt x="378" y="238"/>
                      </a:lnTo>
                      <a:lnTo>
                        <a:pt x="374" y="238"/>
                      </a:lnTo>
                      <a:lnTo>
                        <a:pt x="372" y="238"/>
                      </a:lnTo>
                      <a:lnTo>
                        <a:pt x="368" y="238"/>
                      </a:lnTo>
                      <a:lnTo>
                        <a:pt x="368" y="238"/>
                      </a:lnTo>
                      <a:lnTo>
                        <a:pt x="362" y="238"/>
                      </a:lnTo>
                      <a:lnTo>
                        <a:pt x="360" y="236"/>
                      </a:lnTo>
                      <a:lnTo>
                        <a:pt x="358" y="234"/>
                      </a:lnTo>
                      <a:lnTo>
                        <a:pt x="350" y="234"/>
                      </a:lnTo>
                      <a:lnTo>
                        <a:pt x="350" y="234"/>
                      </a:lnTo>
                      <a:lnTo>
                        <a:pt x="344" y="234"/>
                      </a:lnTo>
                      <a:lnTo>
                        <a:pt x="340" y="230"/>
                      </a:lnTo>
                      <a:lnTo>
                        <a:pt x="338" y="228"/>
                      </a:lnTo>
                      <a:lnTo>
                        <a:pt x="334" y="228"/>
                      </a:lnTo>
                      <a:lnTo>
                        <a:pt x="334" y="228"/>
                      </a:lnTo>
                      <a:lnTo>
                        <a:pt x="332" y="228"/>
                      </a:lnTo>
                      <a:lnTo>
                        <a:pt x="332" y="226"/>
                      </a:lnTo>
                      <a:lnTo>
                        <a:pt x="330" y="222"/>
                      </a:lnTo>
                      <a:lnTo>
                        <a:pt x="324" y="218"/>
                      </a:lnTo>
                      <a:lnTo>
                        <a:pt x="324" y="218"/>
                      </a:lnTo>
                      <a:lnTo>
                        <a:pt x="306" y="212"/>
                      </a:lnTo>
                      <a:lnTo>
                        <a:pt x="300" y="212"/>
                      </a:lnTo>
                      <a:lnTo>
                        <a:pt x="298" y="212"/>
                      </a:lnTo>
                      <a:lnTo>
                        <a:pt x="296" y="214"/>
                      </a:lnTo>
                      <a:lnTo>
                        <a:pt x="296" y="214"/>
                      </a:lnTo>
                      <a:lnTo>
                        <a:pt x="296" y="214"/>
                      </a:lnTo>
                      <a:lnTo>
                        <a:pt x="292" y="214"/>
                      </a:lnTo>
                      <a:lnTo>
                        <a:pt x="280" y="212"/>
                      </a:lnTo>
                      <a:lnTo>
                        <a:pt x="280" y="212"/>
                      </a:lnTo>
                      <a:lnTo>
                        <a:pt x="276" y="212"/>
                      </a:lnTo>
                      <a:lnTo>
                        <a:pt x="276" y="210"/>
                      </a:lnTo>
                      <a:lnTo>
                        <a:pt x="278" y="208"/>
                      </a:lnTo>
                      <a:lnTo>
                        <a:pt x="276" y="206"/>
                      </a:lnTo>
                      <a:lnTo>
                        <a:pt x="276" y="206"/>
                      </a:lnTo>
                      <a:lnTo>
                        <a:pt x="262" y="202"/>
                      </a:lnTo>
                      <a:lnTo>
                        <a:pt x="254" y="198"/>
                      </a:lnTo>
                      <a:lnTo>
                        <a:pt x="246" y="192"/>
                      </a:lnTo>
                      <a:lnTo>
                        <a:pt x="246" y="192"/>
                      </a:lnTo>
                      <a:lnTo>
                        <a:pt x="242" y="188"/>
                      </a:lnTo>
                      <a:lnTo>
                        <a:pt x="238" y="188"/>
                      </a:lnTo>
                      <a:lnTo>
                        <a:pt x="232" y="188"/>
                      </a:lnTo>
                      <a:lnTo>
                        <a:pt x="226" y="184"/>
                      </a:lnTo>
                      <a:lnTo>
                        <a:pt x="226" y="184"/>
                      </a:lnTo>
                      <a:lnTo>
                        <a:pt x="222" y="182"/>
                      </a:lnTo>
                      <a:lnTo>
                        <a:pt x="224" y="178"/>
                      </a:lnTo>
                      <a:lnTo>
                        <a:pt x="230" y="174"/>
                      </a:lnTo>
                      <a:lnTo>
                        <a:pt x="236" y="168"/>
                      </a:lnTo>
                      <a:lnTo>
                        <a:pt x="236" y="168"/>
                      </a:lnTo>
                      <a:lnTo>
                        <a:pt x="240" y="162"/>
                      </a:lnTo>
                      <a:lnTo>
                        <a:pt x="240" y="160"/>
                      </a:lnTo>
                      <a:lnTo>
                        <a:pt x="238" y="158"/>
                      </a:lnTo>
                      <a:lnTo>
                        <a:pt x="240" y="156"/>
                      </a:lnTo>
                      <a:lnTo>
                        <a:pt x="240" y="156"/>
                      </a:lnTo>
                      <a:lnTo>
                        <a:pt x="244" y="148"/>
                      </a:lnTo>
                      <a:lnTo>
                        <a:pt x="246" y="146"/>
                      </a:lnTo>
                      <a:lnTo>
                        <a:pt x="246" y="146"/>
                      </a:lnTo>
                      <a:lnTo>
                        <a:pt x="240" y="142"/>
                      </a:lnTo>
                      <a:lnTo>
                        <a:pt x="240" y="142"/>
                      </a:lnTo>
                      <a:lnTo>
                        <a:pt x="234" y="134"/>
                      </a:lnTo>
                      <a:lnTo>
                        <a:pt x="226" y="132"/>
                      </a:lnTo>
                      <a:lnTo>
                        <a:pt x="220" y="130"/>
                      </a:lnTo>
                      <a:lnTo>
                        <a:pt x="214" y="126"/>
                      </a:lnTo>
                      <a:lnTo>
                        <a:pt x="214" y="126"/>
                      </a:lnTo>
                      <a:lnTo>
                        <a:pt x="208" y="122"/>
                      </a:lnTo>
                      <a:lnTo>
                        <a:pt x="202" y="122"/>
                      </a:lnTo>
                      <a:lnTo>
                        <a:pt x="194" y="118"/>
                      </a:lnTo>
                      <a:lnTo>
                        <a:pt x="190" y="116"/>
                      </a:lnTo>
                      <a:lnTo>
                        <a:pt x="186" y="112"/>
                      </a:lnTo>
                      <a:lnTo>
                        <a:pt x="186" y="112"/>
                      </a:lnTo>
                      <a:lnTo>
                        <a:pt x="182" y="104"/>
                      </a:lnTo>
                      <a:lnTo>
                        <a:pt x="182" y="98"/>
                      </a:lnTo>
                      <a:lnTo>
                        <a:pt x="182" y="94"/>
                      </a:lnTo>
                      <a:lnTo>
                        <a:pt x="176" y="88"/>
                      </a:lnTo>
                      <a:lnTo>
                        <a:pt x="176" y="88"/>
                      </a:lnTo>
                      <a:lnTo>
                        <a:pt x="174" y="84"/>
                      </a:lnTo>
                      <a:lnTo>
                        <a:pt x="174" y="84"/>
                      </a:lnTo>
                      <a:lnTo>
                        <a:pt x="178" y="84"/>
                      </a:lnTo>
                      <a:lnTo>
                        <a:pt x="182" y="84"/>
                      </a:lnTo>
                      <a:lnTo>
                        <a:pt x="184" y="82"/>
                      </a:lnTo>
                      <a:lnTo>
                        <a:pt x="184" y="78"/>
                      </a:lnTo>
                      <a:lnTo>
                        <a:pt x="182" y="70"/>
                      </a:lnTo>
                      <a:lnTo>
                        <a:pt x="182" y="70"/>
                      </a:lnTo>
                      <a:lnTo>
                        <a:pt x="178" y="64"/>
                      </a:lnTo>
                      <a:lnTo>
                        <a:pt x="174" y="58"/>
                      </a:lnTo>
                      <a:lnTo>
                        <a:pt x="166" y="50"/>
                      </a:lnTo>
                      <a:lnTo>
                        <a:pt x="164" y="48"/>
                      </a:lnTo>
                      <a:lnTo>
                        <a:pt x="164" y="46"/>
                      </a:lnTo>
                      <a:lnTo>
                        <a:pt x="170" y="38"/>
                      </a:lnTo>
                      <a:lnTo>
                        <a:pt x="170" y="38"/>
                      </a:lnTo>
                      <a:lnTo>
                        <a:pt x="158" y="22"/>
                      </a:lnTo>
                      <a:lnTo>
                        <a:pt x="150" y="12"/>
                      </a:lnTo>
                      <a:lnTo>
                        <a:pt x="142" y="6"/>
                      </a:lnTo>
                      <a:lnTo>
                        <a:pt x="136" y="4"/>
                      </a:lnTo>
                      <a:lnTo>
                        <a:pt x="128" y="4"/>
                      </a:lnTo>
                      <a:lnTo>
                        <a:pt x="124" y="2"/>
                      </a:lnTo>
                      <a:lnTo>
                        <a:pt x="120" y="0"/>
                      </a:lnTo>
                      <a:lnTo>
                        <a:pt x="120" y="0"/>
                      </a:lnTo>
                      <a:lnTo>
                        <a:pt x="122" y="4"/>
                      </a:lnTo>
                      <a:lnTo>
                        <a:pt x="126" y="6"/>
                      </a:lnTo>
                      <a:lnTo>
                        <a:pt x="130" y="8"/>
                      </a:lnTo>
                      <a:lnTo>
                        <a:pt x="134" y="16"/>
                      </a:lnTo>
                      <a:lnTo>
                        <a:pt x="134" y="16"/>
                      </a:lnTo>
                      <a:lnTo>
                        <a:pt x="138" y="22"/>
                      </a:lnTo>
                      <a:lnTo>
                        <a:pt x="138" y="26"/>
                      </a:lnTo>
                      <a:lnTo>
                        <a:pt x="134" y="28"/>
                      </a:lnTo>
                      <a:lnTo>
                        <a:pt x="128" y="28"/>
                      </a:lnTo>
                      <a:lnTo>
                        <a:pt x="128" y="28"/>
                      </a:lnTo>
                      <a:lnTo>
                        <a:pt x="116" y="30"/>
                      </a:lnTo>
                      <a:lnTo>
                        <a:pt x="108" y="32"/>
                      </a:lnTo>
                      <a:lnTo>
                        <a:pt x="100" y="34"/>
                      </a:lnTo>
                      <a:lnTo>
                        <a:pt x="80" y="32"/>
                      </a:lnTo>
                      <a:lnTo>
                        <a:pt x="80" y="32"/>
                      </a:lnTo>
                      <a:lnTo>
                        <a:pt x="70" y="30"/>
                      </a:lnTo>
                      <a:lnTo>
                        <a:pt x="64" y="30"/>
                      </a:lnTo>
                      <a:lnTo>
                        <a:pt x="62" y="32"/>
                      </a:lnTo>
                      <a:lnTo>
                        <a:pt x="60" y="32"/>
                      </a:lnTo>
                      <a:lnTo>
                        <a:pt x="62" y="36"/>
                      </a:lnTo>
                      <a:lnTo>
                        <a:pt x="66" y="40"/>
                      </a:lnTo>
                      <a:lnTo>
                        <a:pt x="66" y="40"/>
                      </a:lnTo>
                      <a:lnTo>
                        <a:pt x="62" y="40"/>
                      </a:lnTo>
                      <a:lnTo>
                        <a:pt x="62" y="42"/>
                      </a:lnTo>
                      <a:lnTo>
                        <a:pt x="64" y="44"/>
                      </a:lnTo>
                      <a:lnTo>
                        <a:pt x="68" y="48"/>
                      </a:lnTo>
                      <a:lnTo>
                        <a:pt x="70" y="50"/>
                      </a:lnTo>
                      <a:lnTo>
                        <a:pt x="70" y="54"/>
                      </a:lnTo>
                      <a:lnTo>
                        <a:pt x="70" y="54"/>
                      </a:lnTo>
                      <a:lnTo>
                        <a:pt x="70" y="56"/>
                      </a:lnTo>
                      <a:lnTo>
                        <a:pt x="72" y="58"/>
                      </a:lnTo>
                      <a:lnTo>
                        <a:pt x="76" y="56"/>
                      </a:lnTo>
                      <a:lnTo>
                        <a:pt x="82" y="54"/>
                      </a:lnTo>
                      <a:lnTo>
                        <a:pt x="84" y="54"/>
                      </a:lnTo>
                      <a:lnTo>
                        <a:pt x="86" y="54"/>
                      </a:lnTo>
                      <a:lnTo>
                        <a:pt x="86" y="54"/>
                      </a:lnTo>
                      <a:lnTo>
                        <a:pt x="88" y="58"/>
                      </a:lnTo>
                      <a:lnTo>
                        <a:pt x="88" y="60"/>
                      </a:lnTo>
                      <a:lnTo>
                        <a:pt x="88" y="64"/>
                      </a:lnTo>
                      <a:lnTo>
                        <a:pt x="88" y="66"/>
                      </a:lnTo>
                      <a:lnTo>
                        <a:pt x="90" y="68"/>
                      </a:lnTo>
                      <a:lnTo>
                        <a:pt x="98" y="66"/>
                      </a:lnTo>
                      <a:lnTo>
                        <a:pt x="98" y="66"/>
                      </a:lnTo>
                      <a:lnTo>
                        <a:pt x="102" y="66"/>
                      </a:lnTo>
                      <a:lnTo>
                        <a:pt x="104" y="66"/>
                      </a:lnTo>
                      <a:lnTo>
                        <a:pt x="102" y="70"/>
                      </a:lnTo>
                      <a:lnTo>
                        <a:pt x="102" y="76"/>
                      </a:lnTo>
                      <a:lnTo>
                        <a:pt x="102" y="78"/>
                      </a:lnTo>
                      <a:lnTo>
                        <a:pt x="104" y="78"/>
                      </a:lnTo>
                      <a:lnTo>
                        <a:pt x="104" y="78"/>
                      </a:lnTo>
                      <a:lnTo>
                        <a:pt x="108" y="80"/>
                      </a:lnTo>
                      <a:lnTo>
                        <a:pt x="106" y="82"/>
                      </a:lnTo>
                      <a:lnTo>
                        <a:pt x="102" y="86"/>
                      </a:lnTo>
                      <a:lnTo>
                        <a:pt x="98" y="88"/>
                      </a:lnTo>
                      <a:lnTo>
                        <a:pt x="98" y="92"/>
                      </a:lnTo>
                      <a:lnTo>
                        <a:pt x="98" y="96"/>
                      </a:lnTo>
                      <a:lnTo>
                        <a:pt x="102" y="98"/>
                      </a:lnTo>
                      <a:lnTo>
                        <a:pt x="102" y="98"/>
                      </a:lnTo>
                      <a:lnTo>
                        <a:pt x="108" y="106"/>
                      </a:lnTo>
                      <a:lnTo>
                        <a:pt x="108" y="106"/>
                      </a:lnTo>
                      <a:lnTo>
                        <a:pt x="106" y="108"/>
                      </a:lnTo>
                      <a:lnTo>
                        <a:pt x="102" y="110"/>
                      </a:lnTo>
                      <a:lnTo>
                        <a:pt x="100" y="114"/>
                      </a:lnTo>
                      <a:lnTo>
                        <a:pt x="96" y="120"/>
                      </a:lnTo>
                      <a:lnTo>
                        <a:pt x="96" y="128"/>
                      </a:lnTo>
                      <a:lnTo>
                        <a:pt x="96" y="128"/>
                      </a:lnTo>
                      <a:lnTo>
                        <a:pt x="94" y="138"/>
                      </a:lnTo>
                      <a:lnTo>
                        <a:pt x="92" y="146"/>
                      </a:lnTo>
                      <a:lnTo>
                        <a:pt x="88" y="150"/>
                      </a:lnTo>
                      <a:lnTo>
                        <a:pt x="84" y="152"/>
                      </a:lnTo>
                      <a:lnTo>
                        <a:pt x="78" y="156"/>
                      </a:lnTo>
                      <a:lnTo>
                        <a:pt x="76" y="158"/>
                      </a:lnTo>
                      <a:lnTo>
                        <a:pt x="76" y="162"/>
                      </a:lnTo>
                      <a:lnTo>
                        <a:pt x="76" y="162"/>
                      </a:lnTo>
                      <a:lnTo>
                        <a:pt x="74" y="166"/>
                      </a:lnTo>
                      <a:lnTo>
                        <a:pt x="70" y="174"/>
                      </a:lnTo>
                      <a:lnTo>
                        <a:pt x="64" y="182"/>
                      </a:lnTo>
                      <a:lnTo>
                        <a:pt x="52" y="190"/>
                      </a:lnTo>
                      <a:lnTo>
                        <a:pt x="52" y="190"/>
                      </a:lnTo>
                      <a:lnTo>
                        <a:pt x="46" y="192"/>
                      </a:lnTo>
                      <a:lnTo>
                        <a:pt x="44" y="192"/>
                      </a:lnTo>
                      <a:lnTo>
                        <a:pt x="42" y="190"/>
                      </a:lnTo>
                      <a:lnTo>
                        <a:pt x="40" y="188"/>
                      </a:lnTo>
                      <a:lnTo>
                        <a:pt x="40" y="186"/>
                      </a:lnTo>
                      <a:lnTo>
                        <a:pt x="34" y="190"/>
                      </a:lnTo>
                      <a:lnTo>
                        <a:pt x="34" y="190"/>
                      </a:lnTo>
                      <a:lnTo>
                        <a:pt x="20" y="204"/>
                      </a:lnTo>
                      <a:lnTo>
                        <a:pt x="18" y="210"/>
                      </a:lnTo>
                      <a:lnTo>
                        <a:pt x="18" y="212"/>
                      </a:lnTo>
                      <a:lnTo>
                        <a:pt x="18" y="214"/>
                      </a:lnTo>
                      <a:lnTo>
                        <a:pt x="18" y="214"/>
                      </a:lnTo>
                      <a:lnTo>
                        <a:pt x="24" y="216"/>
                      </a:lnTo>
                      <a:lnTo>
                        <a:pt x="28" y="218"/>
                      </a:lnTo>
                      <a:lnTo>
                        <a:pt x="30" y="222"/>
                      </a:lnTo>
                      <a:lnTo>
                        <a:pt x="30" y="228"/>
                      </a:lnTo>
                      <a:lnTo>
                        <a:pt x="30" y="228"/>
                      </a:lnTo>
                      <a:lnTo>
                        <a:pt x="30" y="232"/>
                      </a:lnTo>
                      <a:lnTo>
                        <a:pt x="32" y="236"/>
                      </a:lnTo>
                      <a:lnTo>
                        <a:pt x="36" y="240"/>
                      </a:lnTo>
                      <a:lnTo>
                        <a:pt x="46" y="246"/>
                      </a:lnTo>
                      <a:lnTo>
                        <a:pt x="58" y="256"/>
                      </a:lnTo>
                      <a:lnTo>
                        <a:pt x="58" y="256"/>
                      </a:lnTo>
                      <a:lnTo>
                        <a:pt x="64" y="262"/>
                      </a:lnTo>
                      <a:lnTo>
                        <a:pt x="68" y="266"/>
                      </a:lnTo>
                      <a:lnTo>
                        <a:pt x="68" y="270"/>
                      </a:lnTo>
                      <a:lnTo>
                        <a:pt x="66" y="270"/>
                      </a:lnTo>
                      <a:lnTo>
                        <a:pt x="62" y="272"/>
                      </a:lnTo>
                      <a:lnTo>
                        <a:pt x="62" y="272"/>
                      </a:lnTo>
                      <a:lnTo>
                        <a:pt x="64" y="274"/>
                      </a:lnTo>
                      <a:lnTo>
                        <a:pt x="64" y="274"/>
                      </a:lnTo>
                      <a:lnTo>
                        <a:pt x="70" y="278"/>
                      </a:lnTo>
                      <a:lnTo>
                        <a:pt x="62" y="280"/>
                      </a:lnTo>
                      <a:lnTo>
                        <a:pt x="62" y="280"/>
                      </a:lnTo>
                      <a:lnTo>
                        <a:pt x="56" y="282"/>
                      </a:lnTo>
                      <a:lnTo>
                        <a:pt x="54" y="280"/>
                      </a:lnTo>
                      <a:lnTo>
                        <a:pt x="54" y="278"/>
                      </a:lnTo>
                      <a:lnTo>
                        <a:pt x="54" y="276"/>
                      </a:lnTo>
                      <a:lnTo>
                        <a:pt x="48" y="278"/>
                      </a:lnTo>
                      <a:lnTo>
                        <a:pt x="48" y="278"/>
                      </a:lnTo>
                      <a:lnTo>
                        <a:pt x="40" y="280"/>
                      </a:lnTo>
                      <a:lnTo>
                        <a:pt x="34" y="280"/>
                      </a:lnTo>
                      <a:lnTo>
                        <a:pt x="28" y="280"/>
                      </a:lnTo>
                      <a:lnTo>
                        <a:pt x="24" y="282"/>
                      </a:lnTo>
                      <a:lnTo>
                        <a:pt x="24" y="282"/>
                      </a:lnTo>
                      <a:lnTo>
                        <a:pt x="20" y="282"/>
                      </a:lnTo>
                      <a:lnTo>
                        <a:pt x="18" y="282"/>
                      </a:lnTo>
                      <a:lnTo>
                        <a:pt x="16" y="280"/>
                      </a:lnTo>
                      <a:lnTo>
                        <a:pt x="12" y="282"/>
                      </a:lnTo>
                      <a:lnTo>
                        <a:pt x="12" y="282"/>
                      </a:lnTo>
                      <a:lnTo>
                        <a:pt x="8" y="286"/>
                      </a:lnTo>
                      <a:lnTo>
                        <a:pt x="6" y="286"/>
                      </a:lnTo>
                      <a:lnTo>
                        <a:pt x="4" y="286"/>
                      </a:lnTo>
                      <a:lnTo>
                        <a:pt x="0" y="292"/>
                      </a:lnTo>
                      <a:lnTo>
                        <a:pt x="0" y="292"/>
                      </a:lnTo>
                      <a:lnTo>
                        <a:pt x="6" y="296"/>
                      </a:lnTo>
                      <a:lnTo>
                        <a:pt x="10" y="298"/>
                      </a:lnTo>
                      <a:lnTo>
                        <a:pt x="14" y="300"/>
                      </a:lnTo>
                      <a:lnTo>
                        <a:pt x="22" y="300"/>
                      </a:lnTo>
                      <a:lnTo>
                        <a:pt x="22" y="300"/>
                      </a:lnTo>
                      <a:lnTo>
                        <a:pt x="18" y="302"/>
                      </a:lnTo>
                      <a:lnTo>
                        <a:pt x="18" y="306"/>
                      </a:lnTo>
                      <a:lnTo>
                        <a:pt x="20" y="310"/>
                      </a:lnTo>
                      <a:lnTo>
                        <a:pt x="20" y="310"/>
                      </a:lnTo>
                      <a:lnTo>
                        <a:pt x="22" y="316"/>
                      </a:lnTo>
                      <a:lnTo>
                        <a:pt x="22" y="322"/>
                      </a:lnTo>
                      <a:lnTo>
                        <a:pt x="24" y="326"/>
                      </a:lnTo>
                      <a:lnTo>
                        <a:pt x="26" y="326"/>
                      </a:lnTo>
                      <a:lnTo>
                        <a:pt x="30" y="324"/>
                      </a:lnTo>
                      <a:lnTo>
                        <a:pt x="30" y="324"/>
                      </a:lnTo>
                      <a:lnTo>
                        <a:pt x="32" y="324"/>
                      </a:lnTo>
                      <a:lnTo>
                        <a:pt x="36" y="324"/>
                      </a:lnTo>
                      <a:lnTo>
                        <a:pt x="40" y="324"/>
                      </a:lnTo>
                      <a:lnTo>
                        <a:pt x="44" y="324"/>
                      </a:lnTo>
                      <a:lnTo>
                        <a:pt x="44" y="324"/>
                      </a:lnTo>
                      <a:lnTo>
                        <a:pt x="44" y="330"/>
                      </a:lnTo>
                      <a:lnTo>
                        <a:pt x="42" y="332"/>
                      </a:lnTo>
                      <a:lnTo>
                        <a:pt x="40" y="334"/>
                      </a:lnTo>
                      <a:lnTo>
                        <a:pt x="40" y="334"/>
                      </a:lnTo>
                      <a:lnTo>
                        <a:pt x="34" y="336"/>
                      </a:lnTo>
                      <a:lnTo>
                        <a:pt x="30" y="336"/>
                      </a:lnTo>
                      <a:lnTo>
                        <a:pt x="26" y="334"/>
                      </a:lnTo>
                      <a:lnTo>
                        <a:pt x="24" y="334"/>
                      </a:lnTo>
                      <a:lnTo>
                        <a:pt x="24" y="334"/>
                      </a:lnTo>
                      <a:lnTo>
                        <a:pt x="22" y="336"/>
                      </a:lnTo>
                      <a:lnTo>
                        <a:pt x="20" y="334"/>
                      </a:lnTo>
                      <a:lnTo>
                        <a:pt x="18" y="334"/>
                      </a:lnTo>
                      <a:lnTo>
                        <a:pt x="18" y="334"/>
                      </a:lnTo>
                      <a:lnTo>
                        <a:pt x="18" y="334"/>
                      </a:lnTo>
                      <a:lnTo>
                        <a:pt x="16" y="336"/>
                      </a:lnTo>
                      <a:lnTo>
                        <a:pt x="16" y="338"/>
                      </a:lnTo>
                      <a:lnTo>
                        <a:pt x="18" y="342"/>
                      </a:lnTo>
                      <a:lnTo>
                        <a:pt x="24" y="344"/>
                      </a:lnTo>
                      <a:lnTo>
                        <a:pt x="24" y="344"/>
                      </a:lnTo>
                      <a:lnTo>
                        <a:pt x="32" y="352"/>
                      </a:lnTo>
                      <a:lnTo>
                        <a:pt x="40" y="362"/>
                      </a:lnTo>
                      <a:lnTo>
                        <a:pt x="52" y="374"/>
                      </a:lnTo>
                      <a:lnTo>
                        <a:pt x="58" y="376"/>
                      </a:lnTo>
                      <a:lnTo>
                        <a:pt x="64" y="378"/>
                      </a:lnTo>
                      <a:lnTo>
                        <a:pt x="64" y="378"/>
                      </a:lnTo>
                      <a:lnTo>
                        <a:pt x="68" y="378"/>
                      </a:lnTo>
                      <a:lnTo>
                        <a:pt x="70" y="376"/>
                      </a:lnTo>
                      <a:lnTo>
                        <a:pt x="72" y="374"/>
                      </a:lnTo>
                      <a:lnTo>
                        <a:pt x="80" y="370"/>
                      </a:lnTo>
                      <a:lnTo>
                        <a:pt x="80" y="370"/>
                      </a:lnTo>
                      <a:lnTo>
                        <a:pt x="84" y="368"/>
                      </a:lnTo>
                      <a:lnTo>
                        <a:pt x="88" y="364"/>
                      </a:lnTo>
                      <a:lnTo>
                        <a:pt x="90" y="360"/>
                      </a:lnTo>
                      <a:lnTo>
                        <a:pt x="88" y="354"/>
                      </a:lnTo>
                      <a:lnTo>
                        <a:pt x="88" y="354"/>
                      </a:lnTo>
                      <a:lnTo>
                        <a:pt x="86" y="348"/>
                      </a:lnTo>
                      <a:lnTo>
                        <a:pt x="88" y="344"/>
                      </a:lnTo>
                      <a:lnTo>
                        <a:pt x="92" y="336"/>
                      </a:lnTo>
                      <a:lnTo>
                        <a:pt x="92" y="336"/>
                      </a:lnTo>
                      <a:lnTo>
                        <a:pt x="92" y="342"/>
                      </a:lnTo>
                      <a:lnTo>
                        <a:pt x="94" y="344"/>
                      </a:lnTo>
                      <a:lnTo>
                        <a:pt x="98" y="344"/>
                      </a:lnTo>
                      <a:lnTo>
                        <a:pt x="106" y="342"/>
                      </a:lnTo>
                      <a:lnTo>
                        <a:pt x="106" y="342"/>
                      </a:lnTo>
                      <a:lnTo>
                        <a:pt x="96" y="346"/>
                      </a:lnTo>
                      <a:lnTo>
                        <a:pt x="94" y="350"/>
                      </a:lnTo>
                      <a:lnTo>
                        <a:pt x="94" y="354"/>
                      </a:lnTo>
                      <a:lnTo>
                        <a:pt x="94" y="354"/>
                      </a:lnTo>
                      <a:lnTo>
                        <a:pt x="96" y="356"/>
                      </a:lnTo>
                      <a:lnTo>
                        <a:pt x="98" y="358"/>
                      </a:lnTo>
                      <a:lnTo>
                        <a:pt x="100" y="358"/>
                      </a:lnTo>
                      <a:lnTo>
                        <a:pt x="100" y="358"/>
                      </a:lnTo>
                      <a:lnTo>
                        <a:pt x="98" y="362"/>
                      </a:lnTo>
                      <a:lnTo>
                        <a:pt x="100" y="366"/>
                      </a:lnTo>
                      <a:lnTo>
                        <a:pt x="106" y="366"/>
                      </a:lnTo>
                      <a:lnTo>
                        <a:pt x="106" y="366"/>
                      </a:lnTo>
                      <a:lnTo>
                        <a:pt x="102" y="370"/>
                      </a:lnTo>
                      <a:lnTo>
                        <a:pt x="102" y="372"/>
                      </a:lnTo>
                      <a:lnTo>
                        <a:pt x="110" y="386"/>
                      </a:lnTo>
                      <a:lnTo>
                        <a:pt x="110" y="386"/>
                      </a:lnTo>
                      <a:lnTo>
                        <a:pt x="106" y="390"/>
                      </a:lnTo>
                      <a:lnTo>
                        <a:pt x="106" y="396"/>
                      </a:lnTo>
                      <a:lnTo>
                        <a:pt x="106" y="400"/>
                      </a:lnTo>
                      <a:lnTo>
                        <a:pt x="106" y="404"/>
                      </a:lnTo>
                      <a:lnTo>
                        <a:pt x="106" y="404"/>
                      </a:lnTo>
                      <a:lnTo>
                        <a:pt x="108" y="408"/>
                      </a:lnTo>
                      <a:lnTo>
                        <a:pt x="108" y="412"/>
                      </a:lnTo>
                      <a:lnTo>
                        <a:pt x="110" y="414"/>
                      </a:lnTo>
                      <a:lnTo>
                        <a:pt x="112" y="412"/>
                      </a:lnTo>
                      <a:lnTo>
                        <a:pt x="112" y="412"/>
                      </a:lnTo>
                      <a:lnTo>
                        <a:pt x="114" y="410"/>
                      </a:lnTo>
                      <a:lnTo>
                        <a:pt x="112" y="414"/>
                      </a:lnTo>
                      <a:lnTo>
                        <a:pt x="110" y="420"/>
                      </a:lnTo>
                      <a:lnTo>
                        <a:pt x="110" y="424"/>
                      </a:lnTo>
                      <a:lnTo>
                        <a:pt x="112" y="430"/>
                      </a:lnTo>
                      <a:lnTo>
                        <a:pt x="112" y="430"/>
                      </a:lnTo>
                      <a:lnTo>
                        <a:pt x="116" y="446"/>
                      </a:lnTo>
                      <a:lnTo>
                        <a:pt x="122" y="466"/>
                      </a:lnTo>
                      <a:lnTo>
                        <a:pt x="128" y="488"/>
                      </a:lnTo>
                      <a:lnTo>
                        <a:pt x="132" y="496"/>
                      </a:lnTo>
                      <a:lnTo>
                        <a:pt x="138" y="502"/>
                      </a:lnTo>
                      <a:lnTo>
                        <a:pt x="138" y="502"/>
                      </a:lnTo>
                      <a:lnTo>
                        <a:pt x="142" y="508"/>
                      </a:lnTo>
                      <a:lnTo>
                        <a:pt x="146" y="514"/>
                      </a:lnTo>
                      <a:lnTo>
                        <a:pt x="152" y="528"/>
                      </a:lnTo>
                      <a:lnTo>
                        <a:pt x="156" y="542"/>
                      </a:lnTo>
                      <a:lnTo>
                        <a:pt x="160" y="548"/>
                      </a:lnTo>
                      <a:lnTo>
                        <a:pt x="164" y="554"/>
                      </a:lnTo>
                      <a:lnTo>
                        <a:pt x="164" y="554"/>
                      </a:lnTo>
                      <a:lnTo>
                        <a:pt x="164" y="554"/>
                      </a:lnTo>
                      <a:lnTo>
                        <a:pt x="162" y="554"/>
                      </a:lnTo>
                      <a:lnTo>
                        <a:pt x="162" y="554"/>
                      </a:lnTo>
                      <a:lnTo>
                        <a:pt x="162" y="558"/>
                      </a:lnTo>
                      <a:lnTo>
                        <a:pt x="168" y="572"/>
                      </a:lnTo>
                      <a:lnTo>
                        <a:pt x="168" y="572"/>
                      </a:lnTo>
                      <a:lnTo>
                        <a:pt x="176" y="588"/>
                      </a:lnTo>
                      <a:lnTo>
                        <a:pt x="186" y="602"/>
                      </a:lnTo>
                      <a:lnTo>
                        <a:pt x="194" y="618"/>
                      </a:lnTo>
                      <a:lnTo>
                        <a:pt x="198" y="628"/>
                      </a:lnTo>
                      <a:lnTo>
                        <a:pt x="198" y="636"/>
                      </a:lnTo>
                      <a:lnTo>
                        <a:pt x="198" y="636"/>
                      </a:lnTo>
                      <a:lnTo>
                        <a:pt x="200" y="638"/>
                      </a:lnTo>
                      <a:lnTo>
                        <a:pt x="202" y="640"/>
                      </a:lnTo>
                      <a:lnTo>
                        <a:pt x="206" y="644"/>
                      </a:lnTo>
                      <a:lnTo>
                        <a:pt x="208" y="654"/>
                      </a:lnTo>
                      <a:lnTo>
                        <a:pt x="208" y="654"/>
                      </a:lnTo>
                      <a:lnTo>
                        <a:pt x="210" y="660"/>
                      </a:lnTo>
                      <a:lnTo>
                        <a:pt x="212" y="664"/>
                      </a:lnTo>
                      <a:lnTo>
                        <a:pt x="214" y="668"/>
                      </a:lnTo>
                      <a:lnTo>
                        <a:pt x="218" y="674"/>
                      </a:lnTo>
                      <a:lnTo>
                        <a:pt x="218" y="674"/>
                      </a:lnTo>
                      <a:lnTo>
                        <a:pt x="222" y="682"/>
                      </a:lnTo>
                      <a:lnTo>
                        <a:pt x="226" y="686"/>
                      </a:lnTo>
                      <a:lnTo>
                        <a:pt x="236" y="692"/>
                      </a:lnTo>
                      <a:lnTo>
                        <a:pt x="236" y="692"/>
                      </a:lnTo>
                      <a:lnTo>
                        <a:pt x="242" y="696"/>
                      </a:lnTo>
                      <a:lnTo>
                        <a:pt x="246" y="694"/>
                      </a:lnTo>
                      <a:lnTo>
                        <a:pt x="248" y="692"/>
                      </a:lnTo>
                      <a:lnTo>
                        <a:pt x="252" y="690"/>
                      </a:lnTo>
                      <a:lnTo>
                        <a:pt x="252" y="690"/>
                      </a:lnTo>
                      <a:lnTo>
                        <a:pt x="258" y="688"/>
                      </a:lnTo>
                      <a:lnTo>
                        <a:pt x="260" y="686"/>
                      </a:lnTo>
                      <a:lnTo>
                        <a:pt x="260" y="680"/>
                      </a:lnTo>
                      <a:lnTo>
                        <a:pt x="260" y="676"/>
                      </a:lnTo>
                      <a:lnTo>
                        <a:pt x="262" y="674"/>
                      </a:lnTo>
                      <a:lnTo>
                        <a:pt x="268" y="670"/>
                      </a:lnTo>
                      <a:lnTo>
                        <a:pt x="274" y="666"/>
                      </a:lnTo>
                      <a:lnTo>
                        <a:pt x="274" y="666"/>
                      </a:lnTo>
                      <a:lnTo>
                        <a:pt x="272" y="664"/>
                      </a:lnTo>
                      <a:lnTo>
                        <a:pt x="266" y="662"/>
                      </a:lnTo>
                      <a:lnTo>
                        <a:pt x="264" y="660"/>
                      </a:lnTo>
                      <a:lnTo>
                        <a:pt x="264" y="660"/>
                      </a:lnTo>
                      <a:lnTo>
                        <a:pt x="264" y="656"/>
                      </a:lnTo>
                      <a:lnTo>
                        <a:pt x="266" y="654"/>
                      </a:lnTo>
                      <a:lnTo>
                        <a:pt x="266" y="654"/>
                      </a:lnTo>
                      <a:lnTo>
                        <a:pt x="270" y="650"/>
                      </a:lnTo>
                      <a:lnTo>
                        <a:pt x="270" y="646"/>
                      </a:lnTo>
                      <a:lnTo>
                        <a:pt x="270" y="640"/>
                      </a:lnTo>
                      <a:lnTo>
                        <a:pt x="272" y="638"/>
                      </a:lnTo>
                      <a:lnTo>
                        <a:pt x="278" y="638"/>
                      </a:lnTo>
                      <a:lnTo>
                        <a:pt x="278" y="638"/>
                      </a:lnTo>
                      <a:lnTo>
                        <a:pt x="284" y="640"/>
                      </a:lnTo>
                      <a:lnTo>
                        <a:pt x="284" y="638"/>
                      </a:lnTo>
                      <a:lnTo>
                        <a:pt x="284" y="636"/>
                      </a:lnTo>
                      <a:lnTo>
                        <a:pt x="282" y="630"/>
                      </a:lnTo>
                      <a:lnTo>
                        <a:pt x="282" y="622"/>
                      </a:lnTo>
                      <a:lnTo>
                        <a:pt x="282" y="622"/>
                      </a:lnTo>
                      <a:lnTo>
                        <a:pt x="284" y="616"/>
                      </a:lnTo>
                      <a:lnTo>
                        <a:pt x="282" y="610"/>
                      </a:lnTo>
                      <a:lnTo>
                        <a:pt x="280" y="604"/>
                      </a:lnTo>
                      <a:lnTo>
                        <a:pt x="280" y="598"/>
                      </a:lnTo>
                      <a:lnTo>
                        <a:pt x="280" y="598"/>
                      </a:lnTo>
                      <a:lnTo>
                        <a:pt x="282" y="592"/>
                      </a:lnTo>
                      <a:lnTo>
                        <a:pt x="286" y="588"/>
                      </a:lnTo>
                      <a:lnTo>
                        <a:pt x="288" y="582"/>
                      </a:lnTo>
                      <a:lnTo>
                        <a:pt x="290" y="572"/>
                      </a:lnTo>
                      <a:lnTo>
                        <a:pt x="290" y="572"/>
                      </a:lnTo>
                      <a:lnTo>
                        <a:pt x="292" y="562"/>
                      </a:lnTo>
                      <a:lnTo>
                        <a:pt x="292" y="558"/>
                      </a:lnTo>
                      <a:lnTo>
                        <a:pt x="292" y="554"/>
                      </a:lnTo>
                      <a:lnTo>
                        <a:pt x="286" y="550"/>
                      </a:lnTo>
                      <a:lnTo>
                        <a:pt x="286" y="550"/>
                      </a:lnTo>
                      <a:lnTo>
                        <a:pt x="280" y="548"/>
                      </a:lnTo>
                      <a:lnTo>
                        <a:pt x="284" y="544"/>
                      </a:lnTo>
                      <a:lnTo>
                        <a:pt x="286" y="542"/>
                      </a:lnTo>
                      <a:lnTo>
                        <a:pt x="286" y="538"/>
                      </a:lnTo>
                      <a:lnTo>
                        <a:pt x="286" y="532"/>
                      </a:lnTo>
                      <a:lnTo>
                        <a:pt x="284" y="524"/>
                      </a:lnTo>
                      <a:lnTo>
                        <a:pt x="284" y="524"/>
                      </a:lnTo>
                      <a:lnTo>
                        <a:pt x="280" y="514"/>
                      </a:lnTo>
                      <a:lnTo>
                        <a:pt x="280" y="506"/>
                      </a:lnTo>
                      <a:lnTo>
                        <a:pt x="280" y="500"/>
                      </a:lnTo>
                      <a:lnTo>
                        <a:pt x="282" y="496"/>
                      </a:lnTo>
                      <a:lnTo>
                        <a:pt x="286" y="494"/>
                      </a:lnTo>
                      <a:lnTo>
                        <a:pt x="290" y="492"/>
                      </a:lnTo>
                      <a:lnTo>
                        <a:pt x="294" y="494"/>
                      </a:lnTo>
                      <a:lnTo>
                        <a:pt x="294" y="494"/>
                      </a:lnTo>
                      <a:lnTo>
                        <a:pt x="298" y="494"/>
                      </a:lnTo>
                      <a:lnTo>
                        <a:pt x="300" y="490"/>
                      </a:lnTo>
                      <a:lnTo>
                        <a:pt x="300" y="488"/>
                      </a:lnTo>
                      <a:lnTo>
                        <a:pt x="304" y="484"/>
                      </a:lnTo>
                      <a:lnTo>
                        <a:pt x="304" y="484"/>
                      </a:lnTo>
                      <a:lnTo>
                        <a:pt x="306" y="482"/>
                      </a:lnTo>
                      <a:lnTo>
                        <a:pt x="306" y="480"/>
                      </a:lnTo>
                      <a:lnTo>
                        <a:pt x="308" y="478"/>
                      </a:lnTo>
                      <a:lnTo>
                        <a:pt x="314" y="476"/>
                      </a:lnTo>
                      <a:lnTo>
                        <a:pt x="314" y="476"/>
                      </a:lnTo>
                      <a:lnTo>
                        <a:pt x="320" y="474"/>
                      </a:lnTo>
                      <a:lnTo>
                        <a:pt x="324" y="472"/>
                      </a:lnTo>
                      <a:lnTo>
                        <a:pt x="328" y="464"/>
                      </a:lnTo>
                      <a:lnTo>
                        <a:pt x="328" y="464"/>
                      </a:lnTo>
                      <a:lnTo>
                        <a:pt x="330" y="462"/>
                      </a:lnTo>
                      <a:lnTo>
                        <a:pt x="328" y="462"/>
                      </a:lnTo>
                      <a:lnTo>
                        <a:pt x="326" y="460"/>
                      </a:lnTo>
                      <a:lnTo>
                        <a:pt x="324" y="460"/>
                      </a:lnTo>
                      <a:lnTo>
                        <a:pt x="326" y="458"/>
                      </a:lnTo>
                      <a:lnTo>
                        <a:pt x="332" y="454"/>
                      </a:lnTo>
                      <a:lnTo>
                        <a:pt x="332" y="454"/>
                      </a:lnTo>
                      <a:lnTo>
                        <a:pt x="340" y="450"/>
                      </a:lnTo>
                      <a:lnTo>
                        <a:pt x="344" y="442"/>
                      </a:lnTo>
                      <a:lnTo>
                        <a:pt x="348" y="436"/>
                      </a:lnTo>
                      <a:lnTo>
                        <a:pt x="352" y="432"/>
                      </a:lnTo>
                      <a:lnTo>
                        <a:pt x="352" y="432"/>
                      </a:lnTo>
                      <a:lnTo>
                        <a:pt x="358" y="426"/>
                      </a:lnTo>
                      <a:lnTo>
                        <a:pt x="362" y="420"/>
                      </a:lnTo>
                      <a:lnTo>
                        <a:pt x="364" y="412"/>
                      </a:lnTo>
                      <a:lnTo>
                        <a:pt x="366" y="408"/>
                      </a:lnTo>
                      <a:lnTo>
                        <a:pt x="368" y="402"/>
                      </a:lnTo>
                      <a:lnTo>
                        <a:pt x="372" y="398"/>
                      </a:lnTo>
                      <a:lnTo>
                        <a:pt x="380" y="394"/>
                      </a:lnTo>
                      <a:lnTo>
                        <a:pt x="380" y="394"/>
                      </a:lnTo>
                      <a:lnTo>
                        <a:pt x="376" y="392"/>
                      </a:lnTo>
                      <a:lnTo>
                        <a:pt x="378" y="390"/>
                      </a:lnTo>
                      <a:lnTo>
                        <a:pt x="380" y="390"/>
                      </a:lnTo>
                      <a:lnTo>
                        <a:pt x="382" y="390"/>
                      </a:lnTo>
                      <a:lnTo>
                        <a:pt x="382" y="392"/>
                      </a:lnTo>
                      <a:lnTo>
                        <a:pt x="382" y="392"/>
                      </a:lnTo>
                      <a:lnTo>
                        <a:pt x="388" y="390"/>
                      </a:lnTo>
                      <a:lnTo>
                        <a:pt x="392" y="388"/>
                      </a:lnTo>
                      <a:lnTo>
                        <a:pt x="398" y="382"/>
                      </a:lnTo>
                      <a:lnTo>
                        <a:pt x="400" y="374"/>
                      </a:lnTo>
                      <a:lnTo>
                        <a:pt x="402" y="370"/>
                      </a:lnTo>
                      <a:lnTo>
                        <a:pt x="402" y="370"/>
                      </a:lnTo>
                      <a:lnTo>
                        <a:pt x="404" y="366"/>
                      </a:lnTo>
                      <a:lnTo>
                        <a:pt x="404" y="364"/>
                      </a:lnTo>
                      <a:lnTo>
                        <a:pt x="400" y="358"/>
                      </a:lnTo>
                      <a:lnTo>
                        <a:pt x="398" y="354"/>
                      </a:lnTo>
                      <a:lnTo>
                        <a:pt x="398" y="352"/>
                      </a:lnTo>
                      <a:lnTo>
                        <a:pt x="400" y="350"/>
                      </a:lnTo>
                      <a:lnTo>
                        <a:pt x="400" y="350"/>
                      </a:lnTo>
                      <a:lnTo>
                        <a:pt x="410" y="346"/>
                      </a:lnTo>
                      <a:lnTo>
                        <a:pt x="414" y="342"/>
                      </a:lnTo>
                      <a:lnTo>
                        <a:pt x="414" y="340"/>
                      </a:lnTo>
                      <a:lnTo>
                        <a:pt x="414" y="340"/>
                      </a:lnTo>
                      <a:lnTo>
                        <a:pt x="418" y="340"/>
                      </a:lnTo>
                      <a:lnTo>
                        <a:pt x="418" y="340"/>
                      </a:lnTo>
                      <a:lnTo>
                        <a:pt x="420" y="338"/>
                      </a:lnTo>
                      <a:lnTo>
                        <a:pt x="420" y="334"/>
                      </a:lnTo>
                      <a:lnTo>
                        <a:pt x="420" y="332"/>
                      </a:lnTo>
                      <a:lnTo>
                        <a:pt x="420" y="334"/>
                      </a:lnTo>
                      <a:lnTo>
                        <a:pt x="420" y="334"/>
                      </a:lnTo>
                      <a:lnTo>
                        <a:pt x="422" y="338"/>
                      </a:lnTo>
                      <a:lnTo>
                        <a:pt x="422" y="342"/>
                      </a:lnTo>
                      <a:lnTo>
                        <a:pt x="422" y="344"/>
                      </a:lnTo>
                      <a:lnTo>
                        <a:pt x="424" y="346"/>
                      </a:lnTo>
                      <a:lnTo>
                        <a:pt x="424" y="346"/>
                      </a:lnTo>
                      <a:lnTo>
                        <a:pt x="428" y="344"/>
                      </a:lnTo>
                      <a:lnTo>
                        <a:pt x="430" y="342"/>
                      </a:lnTo>
                      <a:lnTo>
                        <a:pt x="430" y="340"/>
                      </a:lnTo>
                      <a:lnTo>
                        <a:pt x="432" y="338"/>
                      </a:lnTo>
                      <a:lnTo>
                        <a:pt x="432" y="338"/>
                      </a:lnTo>
                      <a:lnTo>
                        <a:pt x="434" y="338"/>
                      </a:lnTo>
                      <a:lnTo>
                        <a:pt x="434" y="340"/>
                      </a:lnTo>
                      <a:lnTo>
                        <a:pt x="434" y="342"/>
                      </a:lnTo>
                      <a:lnTo>
                        <a:pt x="436" y="342"/>
                      </a:lnTo>
                      <a:lnTo>
                        <a:pt x="436" y="342"/>
                      </a:lnTo>
                      <a:lnTo>
                        <a:pt x="436" y="332"/>
                      </a:lnTo>
                      <a:lnTo>
                        <a:pt x="436" y="324"/>
                      </a:lnTo>
                      <a:lnTo>
                        <a:pt x="434" y="320"/>
                      </a:lnTo>
                      <a:lnTo>
                        <a:pt x="430" y="316"/>
                      </a:lnTo>
                      <a:lnTo>
                        <a:pt x="428" y="312"/>
                      </a:lnTo>
                      <a:lnTo>
                        <a:pt x="428" y="310"/>
                      </a:lnTo>
                      <a:lnTo>
                        <a:pt x="430" y="308"/>
                      </a:lnTo>
                      <a:lnTo>
                        <a:pt x="430" y="308"/>
                      </a:lnTo>
                      <a:lnTo>
                        <a:pt x="430" y="304"/>
                      </a:lnTo>
                      <a:lnTo>
                        <a:pt x="430" y="304"/>
                      </a:lnTo>
                      <a:lnTo>
                        <a:pt x="428" y="302"/>
                      </a:lnTo>
                      <a:lnTo>
                        <a:pt x="428" y="294"/>
                      </a:lnTo>
                      <a:lnTo>
                        <a:pt x="428" y="294"/>
                      </a:lnTo>
                      <a:lnTo>
                        <a:pt x="428" y="290"/>
                      </a:lnTo>
                      <a:lnTo>
                        <a:pt x="426" y="288"/>
                      </a:lnTo>
                      <a:lnTo>
                        <a:pt x="418" y="282"/>
                      </a:lnTo>
                      <a:lnTo>
                        <a:pt x="410" y="278"/>
                      </a:lnTo>
                      <a:lnTo>
                        <a:pt x="408" y="274"/>
                      </a:lnTo>
                      <a:lnTo>
                        <a:pt x="408" y="268"/>
                      </a:lnTo>
                      <a:lnTo>
                        <a:pt x="408" y="268"/>
                      </a:lnTo>
                      <a:lnTo>
                        <a:pt x="410" y="262"/>
                      </a:lnTo>
                      <a:lnTo>
                        <a:pt x="414" y="260"/>
                      </a:lnTo>
                      <a:lnTo>
                        <a:pt x="416" y="258"/>
                      </a:lnTo>
                      <a:lnTo>
                        <a:pt x="418" y="256"/>
                      </a:lnTo>
                      <a:lnTo>
                        <a:pt x="418" y="256"/>
                      </a:lnTo>
                      <a:lnTo>
                        <a:pt x="418" y="254"/>
                      </a:lnTo>
                      <a:lnTo>
                        <a:pt x="414" y="250"/>
                      </a:lnTo>
                      <a:lnTo>
                        <a:pt x="404" y="246"/>
                      </a:lnTo>
                      <a:lnTo>
                        <a:pt x="394" y="240"/>
                      </a:lnTo>
                      <a:lnTo>
                        <a:pt x="390" y="238"/>
                      </a:lnTo>
                      <a:lnTo>
                        <a:pt x="390" y="238"/>
                      </a:lnTo>
                      <a:lnTo>
                        <a:pt x="392" y="236"/>
                      </a:lnTo>
                      <a:lnTo>
                        <a:pt x="398" y="234"/>
                      </a:lnTo>
                      <a:lnTo>
                        <a:pt x="402" y="232"/>
                      </a:lnTo>
                      <a:lnTo>
                        <a:pt x="404" y="228"/>
                      </a:lnTo>
                      <a:lnTo>
                        <a:pt x="404" y="228"/>
                      </a:lnTo>
                      <a:lnTo>
                        <a:pt x="404" y="216"/>
                      </a:lnTo>
                      <a:lnTo>
                        <a:pt x="406" y="214"/>
                      </a:lnTo>
                      <a:lnTo>
                        <a:pt x="408" y="214"/>
                      </a:lnTo>
                      <a:lnTo>
                        <a:pt x="408" y="214"/>
                      </a:lnTo>
                      <a:lnTo>
                        <a:pt x="414" y="228"/>
                      </a:lnTo>
                      <a:lnTo>
                        <a:pt x="416" y="230"/>
                      </a:lnTo>
                      <a:lnTo>
                        <a:pt x="418" y="228"/>
                      </a:lnTo>
                      <a:lnTo>
                        <a:pt x="418" y="224"/>
                      </a:lnTo>
                      <a:lnTo>
                        <a:pt x="420" y="224"/>
                      </a:lnTo>
                      <a:lnTo>
                        <a:pt x="422" y="226"/>
                      </a:lnTo>
                      <a:lnTo>
                        <a:pt x="422" y="226"/>
                      </a:lnTo>
                      <a:lnTo>
                        <a:pt x="424" y="230"/>
                      </a:lnTo>
                      <a:lnTo>
                        <a:pt x="424" y="234"/>
                      </a:lnTo>
                      <a:lnTo>
                        <a:pt x="424" y="236"/>
                      </a:lnTo>
                      <a:lnTo>
                        <a:pt x="426" y="234"/>
                      </a:lnTo>
                      <a:lnTo>
                        <a:pt x="426" y="234"/>
                      </a:lnTo>
                      <a:lnTo>
                        <a:pt x="430" y="232"/>
                      </a:lnTo>
                      <a:lnTo>
                        <a:pt x="432" y="232"/>
                      </a:lnTo>
                      <a:lnTo>
                        <a:pt x="436" y="240"/>
                      </a:lnTo>
                      <a:lnTo>
                        <a:pt x="440" y="250"/>
                      </a:lnTo>
                      <a:lnTo>
                        <a:pt x="446" y="256"/>
                      </a:lnTo>
                      <a:lnTo>
                        <a:pt x="452" y="258"/>
                      </a:lnTo>
                      <a:lnTo>
                        <a:pt x="452" y="258"/>
                      </a:lnTo>
                      <a:lnTo>
                        <a:pt x="458" y="262"/>
                      </a:lnTo>
                      <a:lnTo>
                        <a:pt x="466" y="262"/>
                      </a:lnTo>
                      <a:lnTo>
                        <a:pt x="482" y="260"/>
                      </a:lnTo>
                      <a:lnTo>
                        <a:pt x="494" y="260"/>
                      </a:lnTo>
                      <a:lnTo>
                        <a:pt x="498" y="260"/>
                      </a:lnTo>
                      <a:lnTo>
                        <a:pt x="502" y="264"/>
                      </a:lnTo>
                      <a:lnTo>
                        <a:pt x="502" y="264"/>
                      </a:lnTo>
                      <a:lnTo>
                        <a:pt x="502" y="266"/>
                      </a:lnTo>
                      <a:lnTo>
                        <a:pt x="500" y="270"/>
                      </a:lnTo>
                      <a:lnTo>
                        <a:pt x="496" y="274"/>
                      </a:lnTo>
                      <a:lnTo>
                        <a:pt x="496" y="278"/>
                      </a:lnTo>
                      <a:lnTo>
                        <a:pt x="496" y="278"/>
                      </a:lnTo>
                      <a:lnTo>
                        <a:pt x="498" y="282"/>
                      </a:lnTo>
                      <a:lnTo>
                        <a:pt x="494" y="282"/>
                      </a:lnTo>
                      <a:lnTo>
                        <a:pt x="486" y="284"/>
                      </a:lnTo>
                      <a:lnTo>
                        <a:pt x="480" y="284"/>
                      </a:lnTo>
                      <a:lnTo>
                        <a:pt x="476" y="286"/>
                      </a:lnTo>
                      <a:lnTo>
                        <a:pt x="472" y="290"/>
                      </a:lnTo>
                      <a:lnTo>
                        <a:pt x="470" y="296"/>
                      </a:lnTo>
                      <a:lnTo>
                        <a:pt x="470" y="296"/>
                      </a:lnTo>
                      <a:lnTo>
                        <a:pt x="472" y="300"/>
                      </a:lnTo>
                      <a:lnTo>
                        <a:pt x="474" y="302"/>
                      </a:lnTo>
                      <a:lnTo>
                        <a:pt x="478" y="302"/>
                      </a:lnTo>
                      <a:lnTo>
                        <a:pt x="480" y="304"/>
                      </a:lnTo>
                      <a:lnTo>
                        <a:pt x="480" y="304"/>
                      </a:lnTo>
                      <a:lnTo>
                        <a:pt x="482" y="306"/>
                      </a:lnTo>
                      <a:lnTo>
                        <a:pt x="484" y="304"/>
                      </a:lnTo>
                      <a:lnTo>
                        <a:pt x="484" y="302"/>
                      </a:lnTo>
                      <a:lnTo>
                        <a:pt x="488" y="302"/>
                      </a:lnTo>
                      <a:lnTo>
                        <a:pt x="488" y="302"/>
                      </a:lnTo>
                      <a:lnTo>
                        <a:pt x="490" y="302"/>
                      </a:lnTo>
                      <a:lnTo>
                        <a:pt x="492" y="300"/>
                      </a:lnTo>
                      <a:lnTo>
                        <a:pt x="494" y="300"/>
                      </a:lnTo>
                      <a:lnTo>
                        <a:pt x="498" y="302"/>
                      </a:lnTo>
                      <a:lnTo>
                        <a:pt x="498" y="302"/>
                      </a:lnTo>
                      <a:lnTo>
                        <a:pt x="502" y="312"/>
                      </a:lnTo>
                      <a:lnTo>
                        <a:pt x="506" y="326"/>
                      </a:lnTo>
                      <a:lnTo>
                        <a:pt x="510" y="338"/>
                      </a:lnTo>
                      <a:lnTo>
                        <a:pt x="514" y="342"/>
                      </a:lnTo>
                      <a:lnTo>
                        <a:pt x="516" y="344"/>
                      </a:lnTo>
                      <a:lnTo>
                        <a:pt x="516" y="344"/>
                      </a:lnTo>
                      <a:lnTo>
                        <a:pt x="522" y="344"/>
                      </a:lnTo>
                      <a:lnTo>
                        <a:pt x="526" y="340"/>
                      </a:lnTo>
                      <a:lnTo>
                        <a:pt x="528" y="332"/>
                      </a:lnTo>
                      <a:lnTo>
                        <a:pt x="526" y="318"/>
                      </a:lnTo>
                      <a:lnTo>
                        <a:pt x="526" y="318"/>
                      </a:lnTo>
                      <a:lnTo>
                        <a:pt x="528" y="314"/>
                      </a:lnTo>
                      <a:lnTo>
                        <a:pt x="528" y="310"/>
                      </a:lnTo>
                      <a:lnTo>
                        <a:pt x="532" y="310"/>
                      </a:lnTo>
                      <a:lnTo>
                        <a:pt x="534" y="312"/>
                      </a:lnTo>
                      <a:lnTo>
                        <a:pt x="538" y="312"/>
                      </a:lnTo>
                      <a:lnTo>
                        <a:pt x="540" y="312"/>
                      </a:lnTo>
                      <a:lnTo>
                        <a:pt x="540" y="308"/>
                      </a:lnTo>
                      <a:lnTo>
                        <a:pt x="540" y="302"/>
                      </a:lnTo>
                      <a:lnTo>
                        <a:pt x="540" y="302"/>
                      </a:lnTo>
                      <a:lnTo>
                        <a:pt x="540" y="290"/>
                      </a:lnTo>
                      <a:lnTo>
                        <a:pt x="542" y="282"/>
                      </a:lnTo>
                      <a:lnTo>
                        <a:pt x="540" y="274"/>
                      </a:lnTo>
                      <a:lnTo>
                        <a:pt x="538" y="268"/>
                      </a:lnTo>
                      <a:lnTo>
                        <a:pt x="534" y="262"/>
                      </a:lnTo>
                      <a:lnTo>
                        <a:pt x="534" y="262"/>
                      </a:lnTo>
                      <a:lnTo>
                        <a:pt x="532" y="256"/>
                      </a:lnTo>
                      <a:lnTo>
                        <a:pt x="534" y="252"/>
                      </a:lnTo>
                      <a:lnTo>
                        <a:pt x="538" y="248"/>
                      </a:lnTo>
                      <a:lnTo>
                        <a:pt x="538" y="242"/>
                      </a:lnTo>
                      <a:lnTo>
                        <a:pt x="538" y="242"/>
                      </a:lnTo>
                      <a:lnTo>
                        <a:pt x="538" y="238"/>
                      </a:lnTo>
                      <a:lnTo>
                        <a:pt x="540" y="236"/>
                      </a:lnTo>
                      <a:lnTo>
                        <a:pt x="548" y="228"/>
                      </a:lnTo>
                      <a:lnTo>
                        <a:pt x="558" y="218"/>
                      </a:lnTo>
                      <a:lnTo>
                        <a:pt x="568" y="204"/>
                      </a:lnTo>
                      <a:lnTo>
                        <a:pt x="568" y="204"/>
                      </a:lnTo>
                      <a:lnTo>
                        <a:pt x="572" y="202"/>
                      </a:lnTo>
                      <a:lnTo>
                        <a:pt x="576" y="200"/>
                      </a:lnTo>
                      <a:lnTo>
                        <a:pt x="584" y="200"/>
                      </a:lnTo>
                      <a:lnTo>
                        <a:pt x="588" y="200"/>
                      </a:lnTo>
                      <a:lnTo>
                        <a:pt x="588" y="198"/>
                      </a:lnTo>
                      <a:lnTo>
                        <a:pt x="584" y="194"/>
                      </a:lnTo>
                      <a:lnTo>
                        <a:pt x="584" y="194"/>
                      </a:lnTo>
                      <a:lnTo>
                        <a:pt x="582" y="190"/>
                      </a:lnTo>
                      <a:lnTo>
                        <a:pt x="582" y="188"/>
                      </a:lnTo>
                      <a:lnTo>
                        <a:pt x="586" y="186"/>
                      </a:lnTo>
                      <a:lnTo>
                        <a:pt x="588" y="184"/>
                      </a:lnTo>
                      <a:lnTo>
                        <a:pt x="586" y="180"/>
                      </a:lnTo>
                      <a:lnTo>
                        <a:pt x="584" y="176"/>
                      </a:lnTo>
                      <a:lnTo>
                        <a:pt x="574" y="170"/>
                      </a:lnTo>
                      <a:lnTo>
                        <a:pt x="574" y="170"/>
                      </a:lnTo>
                      <a:lnTo>
                        <a:pt x="570" y="172"/>
                      </a:lnTo>
                      <a:lnTo>
                        <a:pt x="568" y="174"/>
                      </a:lnTo>
                      <a:lnTo>
                        <a:pt x="564" y="172"/>
                      </a:lnTo>
                      <a:lnTo>
                        <a:pt x="564" y="172"/>
                      </a:lnTo>
                      <a:lnTo>
                        <a:pt x="558" y="172"/>
                      </a:lnTo>
                      <a:lnTo>
                        <a:pt x="554" y="172"/>
                      </a:lnTo>
                      <a:lnTo>
                        <a:pt x="554" y="172"/>
                      </a:lnTo>
                      <a:lnTo>
                        <a:pt x="554" y="170"/>
                      </a:lnTo>
                      <a:lnTo>
                        <a:pt x="558" y="164"/>
                      </a:lnTo>
                      <a:lnTo>
                        <a:pt x="558" y="164"/>
                      </a:lnTo>
                      <a:lnTo>
                        <a:pt x="552" y="164"/>
                      </a:lnTo>
                      <a:lnTo>
                        <a:pt x="550" y="164"/>
                      </a:lnTo>
                      <a:lnTo>
                        <a:pt x="552" y="160"/>
                      </a:lnTo>
                      <a:lnTo>
                        <a:pt x="552" y="158"/>
                      </a:lnTo>
                      <a:lnTo>
                        <a:pt x="550" y="156"/>
                      </a:lnTo>
                      <a:lnTo>
                        <a:pt x="538" y="160"/>
                      </a:lnTo>
                      <a:lnTo>
                        <a:pt x="538" y="160"/>
                      </a:lnTo>
                      <a:lnTo>
                        <a:pt x="528" y="162"/>
                      </a:lnTo>
                      <a:lnTo>
                        <a:pt x="520" y="162"/>
                      </a:lnTo>
                      <a:lnTo>
                        <a:pt x="516" y="160"/>
                      </a:lnTo>
                      <a:lnTo>
                        <a:pt x="508" y="160"/>
                      </a:lnTo>
                      <a:lnTo>
                        <a:pt x="508" y="160"/>
                      </a:lnTo>
                      <a:lnTo>
                        <a:pt x="504" y="164"/>
                      </a:lnTo>
                      <a:lnTo>
                        <a:pt x="502" y="166"/>
                      </a:lnTo>
                      <a:lnTo>
                        <a:pt x="498" y="170"/>
                      </a:lnTo>
                      <a:lnTo>
                        <a:pt x="488" y="174"/>
                      </a:lnTo>
                      <a:lnTo>
                        <a:pt x="488" y="174"/>
                      </a:lnTo>
                      <a:lnTo>
                        <a:pt x="472" y="182"/>
                      </a:lnTo>
                      <a:lnTo>
                        <a:pt x="462" y="184"/>
                      </a:lnTo>
                      <a:lnTo>
                        <a:pt x="462" y="184"/>
                      </a:lnTo>
                      <a:lnTo>
                        <a:pt x="464" y="188"/>
                      </a:lnTo>
                      <a:lnTo>
                        <a:pt x="466" y="190"/>
                      </a:lnTo>
                      <a:lnTo>
                        <a:pt x="476" y="190"/>
                      </a:lnTo>
                      <a:lnTo>
                        <a:pt x="476" y="190"/>
                      </a:lnTo>
                      <a:lnTo>
                        <a:pt x="478" y="192"/>
                      </a:lnTo>
                      <a:lnTo>
                        <a:pt x="480" y="196"/>
                      </a:lnTo>
                      <a:lnTo>
                        <a:pt x="480" y="206"/>
                      </a:lnTo>
                      <a:lnTo>
                        <a:pt x="480" y="206"/>
                      </a:lnTo>
                      <a:lnTo>
                        <a:pt x="480" y="206"/>
                      </a:lnTo>
                      <a:lnTo>
                        <a:pt x="478" y="208"/>
                      </a:lnTo>
                      <a:lnTo>
                        <a:pt x="470" y="206"/>
                      </a:lnTo>
                      <a:lnTo>
                        <a:pt x="462" y="206"/>
                      </a:lnTo>
                      <a:lnTo>
                        <a:pt x="454" y="208"/>
                      </a:lnTo>
                      <a:lnTo>
                        <a:pt x="454" y="208"/>
                      </a:lnTo>
                      <a:lnTo>
                        <a:pt x="450" y="210"/>
                      </a:lnTo>
                      <a:lnTo>
                        <a:pt x="444" y="210"/>
                      </a:lnTo>
                      <a:lnTo>
                        <a:pt x="440" y="208"/>
                      </a:lnTo>
                      <a:lnTo>
                        <a:pt x="436" y="204"/>
                      </a:lnTo>
                      <a:lnTo>
                        <a:pt x="436" y="204"/>
                      </a:lnTo>
                      <a:lnTo>
                        <a:pt x="432" y="202"/>
                      </a:lnTo>
                      <a:lnTo>
                        <a:pt x="424" y="202"/>
                      </a:lnTo>
                      <a:lnTo>
                        <a:pt x="418" y="202"/>
                      </a:lnTo>
                      <a:lnTo>
                        <a:pt x="412" y="200"/>
                      </a:lnTo>
                      <a:lnTo>
                        <a:pt x="412" y="200"/>
                      </a:lnTo>
                      <a:lnTo>
                        <a:pt x="410" y="182"/>
                      </a:lnTo>
                      <a:lnTo>
                        <a:pt x="410" y="180"/>
                      </a:lnTo>
                      <a:lnTo>
                        <a:pt x="406" y="182"/>
                      </a:lnTo>
                      <a:lnTo>
                        <a:pt x="406" y="182"/>
                      </a:lnTo>
                      <a:lnTo>
                        <a:pt x="402" y="182"/>
                      </a:lnTo>
                      <a:lnTo>
                        <a:pt x="400" y="184"/>
                      </a:lnTo>
                      <a:lnTo>
                        <a:pt x="398" y="186"/>
                      </a:lnTo>
                      <a:lnTo>
                        <a:pt x="398" y="192"/>
                      </a:lnTo>
                      <a:lnTo>
                        <a:pt x="398" y="192"/>
                      </a:lnTo>
                      <a:close/>
                    </a:path>
                  </a:pathLst>
                </a:custGeom>
                <a:solidFill>
                  <a:schemeClr val="accent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500" name="Peru"/>
              <p:cNvSpPr>
                <a:spLocks/>
              </p:cNvSpPr>
              <p:nvPr/>
            </p:nvSpPr>
            <p:spPr bwMode="auto">
              <a:xfrm>
                <a:off x="3168847" y="3709309"/>
                <a:ext cx="437420" cy="694977"/>
              </a:xfrm>
              <a:custGeom>
                <a:avLst/>
                <a:gdLst/>
                <a:ahLst/>
                <a:cxnLst>
                  <a:cxn ang="0">
                    <a:pos x="6" y="96"/>
                  </a:cxn>
                  <a:cxn ang="0">
                    <a:pos x="6" y="104"/>
                  </a:cxn>
                  <a:cxn ang="0">
                    <a:pos x="4" y="114"/>
                  </a:cxn>
                  <a:cxn ang="0">
                    <a:pos x="6" y="122"/>
                  </a:cxn>
                  <a:cxn ang="0">
                    <a:pos x="14" y="140"/>
                  </a:cxn>
                  <a:cxn ang="0">
                    <a:pos x="30" y="170"/>
                  </a:cxn>
                  <a:cxn ang="0">
                    <a:pos x="46" y="188"/>
                  </a:cxn>
                  <a:cxn ang="0">
                    <a:pos x="60" y="204"/>
                  </a:cxn>
                  <a:cxn ang="0">
                    <a:pos x="76" y="234"/>
                  </a:cxn>
                  <a:cxn ang="0">
                    <a:pos x="96" y="286"/>
                  </a:cxn>
                  <a:cxn ang="0">
                    <a:pos x="108" y="310"/>
                  </a:cxn>
                  <a:cxn ang="0">
                    <a:pos x="110" y="322"/>
                  </a:cxn>
                  <a:cxn ang="0">
                    <a:pos x="124" y="350"/>
                  </a:cxn>
                  <a:cxn ang="0">
                    <a:pos x="118" y="350"/>
                  </a:cxn>
                  <a:cxn ang="0">
                    <a:pos x="138" y="372"/>
                  </a:cxn>
                  <a:cxn ang="0">
                    <a:pos x="162" y="392"/>
                  </a:cxn>
                  <a:cxn ang="0">
                    <a:pos x="196" y="410"/>
                  </a:cxn>
                  <a:cxn ang="0">
                    <a:pos x="244" y="440"/>
                  </a:cxn>
                  <a:cxn ang="0">
                    <a:pos x="272" y="454"/>
                  </a:cxn>
                  <a:cxn ang="0">
                    <a:pos x="276" y="446"/>
                  </a:cxn>
                  <a:cxn ang="0">
                    <a:pos x="278" y="430"/>
                  </a:cxn>
                  <a:cxn ang="0">
                    <a:pos x="286" y="412"/>
                  </a:cxn>
                  <a:cxn ang="0">
                    <a:pos x="282" y="390"/>
                  </a:cxn>
                  <a:cxn ang="0">
                    <a:pos x="284" y="380"/>
                  </a:cxn>
                  <a:cxn ang="0">
                    <a:pos x="280" y="362"/>
                  </a:cxn>
                  <a:cxn ang="0">
                    <a:pos x="276" y="334"/>
                  </a:cxn>
                  <a:cxn ang="0">
                    <a:pos x="282" y="316"/>
                  </a:cxn>
                  <a:cxn ang="0">
                    <a:pos x="250" y="280"/>
                  </a:cxn>
                  <a:cxn ang="0">
                    <a:pos x="238" y="264"/>
                  </a:cxn>
                  <a:cxn ang="0">
                    <a:pos x="238" y="244"/>
                  </a:cxn>
                  <a:cxn ang="0">
                    <a:pos x="234" y="238"/>
                  </a:cxn>
                  <a:cxn ang="0">
                    <a:pos x="202" y="250"/>
                  </a:cxn>
                  <a:cxn ang="0">
                    <a:pos x="192" y="240"/>
                  </a:cxn>
                  <a:cxn ang="0">
                    <a:pos x="188" y="232"/>
                  </a:cxn>
                  <a:cxn ang="0">
                    <a:pos x="176" y="212"/>
                  </a:cxn>
                  <a:cxn ang="0">
                    <a:pos x="166" y="188"/>
                  </a:cxn>
                  <a:cxn ang="0">
                    <a:pos x="166" y="178"/>
                  </a:cxn>
                  <a:cxn ang="0">
                    <a:pos x="180" y="158"/>
                  </a:cxn>
                  <a:cxn ang="0">
                    <a:pos x="188" y="136"/>
                  </a:cxn>
                  <a:cxn ang="0">
                    <a:pos x="204" y="120"/>
                  </a:cxn>
                  <a:cxn ang="0">
                    <a:pos x="226" y="104"/>
                  </a:cxn>
                  <a:cxn ang="0">
                    <a:pos x="238" y="98"/>
                  </a:cxn>
                  <a:cxn ang="0">
                    <a:pos x="232" y="74"/>
                  </a:cxn>
                  <a:cxn ang="0">
                    <a:pos x="234" y="58"/>
                  </a:cxn>
                  <a:cxn ang="0">
                    <a:pos x="218" y="60"/>
                  </a:cxn>
                  <a:cxn ang="0">
                    <a:pos x="196" y="58"/>
                  </a:cxn>
                  <a:cxn ang="0">
                    <a:pos x="174" y="58"/>
                  </a:cxn>
                  <a:cxn ang="0">
                    <a:pos x="162" y="34"/>
                  </a:cxn>
                  <a:cxn ang="0">
                    <a:pos x="150" y="24"/>
                  </a:cxn>
                  <a:cxn ang="0">
                    <a:pos x="138" y="2"/>
                  </a:cxn>
                  <a:cxn ang="0">
                    <a:pos x="128" y="24"/>
                  </a:cxn>
                  <a:cxn ang="0">
                    <a:pos x="98" y="60"/>
                  </a:cxn>
                  <a:cxn ang="0">
                    <a:pos x="70" y="76"/>
                  </a:cxn>
                  <a:cxn ang="0">
                    <a:pos x="60" y="92"/>
                  </a:cxn>
                  <a:cxn ang="0">
                    <a:pos x="46" y="106"/>
                  </a:cxn>
                  <a:cxn ang="0">
                    <a:pos x="28" y="98"/>
                  </a:cxn>
                  <a:cxn ang="0">
                    <a:pos x="18" y="86"/>
                  </a:cxn>
                </a:cxnLst>
                <a:rect l="0" t="0" r="r" b="b"/>
                <a:pathLst>
                  <a:path w="288" h="458">
                    <a:moveTo>
                      <a:pt x="18" y="86"/>
                    </a:moveTo>
                    <a:lnTo>
                      <a:pt x="18" y="86"/>
                    </a:lnTo>
                    <a:lnTo>
                      <a:pt x="14" y="88"/>
                    </a:lnTo>
                    <a:lnTo>
                      <a:pt x="10" y="92"/>
                    </a:lnTo>
                    <a:lnTo>
                      <a:pt x="6" y="96"/>
                    </a:lnTo>
                    <a:lnTo>
                      <a:pt x="4" y="98"/>
                    </a:lnTo>
                    <a:lnTo>
                      <a:pt x="6" y="100"/>
                    </a:lnTo>
                    <a:lnTo>
                      <a:pt x="6" y="100"/>
                    </a:lnTo>
                    <a:lnTo>
                      <a:pt x="6" y="102"/>
                    </a:lnTo>
                    <a:lnTo>
                      <a:pt x="6" y="104"/>
                    </a:lnTo>
                    <a:lnTo>
                      <a:pt x="4" y="106"/>
                    </a:lnTo>
                    <a:lnTo>
                      <a:pt x="6" y="112"/>
                    </a:lnTo>
                    <a:lnTo>
                      <a:pt x="6" y="112"/>
                    </a:lnTo>
                    <a:lnTo>
                      <a:pt x="6" y="112"/>
                    </a:lnTo>
                    <a:lnTo>
                      <a:pt x="4" y="114"/>
                    </a:lnTo>
                    <a:lnTo>
                      <a:pt x="2" y="114"/>
                    </a:lnTo>
                    <a:lnTo>
                      <a:pt x="0" y="114"/>
                    </a:lnTo>
                    <a:lnTo>
                      <a:pt x="0" y="116"/>
                    </a:lnTo>
                    <a:lnTo>
                      <a:pt x="6" y="122"/>
                    </a:lnTo>
                    <a:lnTo>
                      <a:pt x="6" y="122"/>
                    </a:lnTo>
                    <a:lnTo>
                      <a:pt x="12" y="128"/>
                    </a:lnTo>
                    <a:lnTo>
                      <a:pt x="12" y="132"/>
                    </a:lnTo>
                    <a:lnTo>
                      <a:pt x="12" y="136"/>
                    </a:lnTo>
                    <a:lnTo>
                      <a:pt x="14" y="140"/>
                    </a:lnTo>
                    <a:lnTo>
                      <a:pt x="14" y="140"/>
                    </a:lnTo>
                    <a:lnTo>
                      <a:pt x="14" y="146"/>
                    </a:lnTo>
                    <a:lnTo>
                      <a:pt x="14" y="152"/>
                    </a:lnTo>
                    <a:lnTo>
                      <a:pt x="20" y="160"/>
                    </a:lnTo>
                    <a:lnTo>
                      <a:pt x="20" y="160"/>
                    </a:lnTo>
                    <a:lnTo>
                      <a:pt x="30" y="170"/>
                    </a:lnTo>
                    <a:lnTo>
                      <a:pt x="36" y="174"/>
                    </a:lnTo>
                    <a:lnTo>
                      <a:pt x="40" y="178"/>
                    </a:lnTo>
                    <a:lnTo>
                      <a:pt x="42" y="182"/>
                    </a:lnTo>
                    <a:lnTo>
                      <a:pt x="42" y="182"/>
                    </a:lnTo>
                    <a:lnTo>
                      <a:pt x="46" y="188"/>
                    </a:lnTo>
                    <a:lnTo>
                      <a:pt x="50" y="192"/>
                    </a:lnTo>
                    <a:lnTo>
                      <a:pt x="54" y="196"/>
                    </a:lnTo>
                    <a:lnTo>
                      <a:pt x="58" y="202"/>
                    </a:lnTo>
                    <a:lnTo>
                      <a:pt x="58" y="202"/>
                    </a:lnTo>
                    <a:lnTo>
                      <a:pt x="60" y="204"/>
                    </a:lnTo>
                    <a:lnTo>
                      <a:pt x="62" y="206"/>
                    </a:lnTo>
                    <a:lnTo>
                      <a:pt x="66" y="210"/>
                    </a:lnTo>
                    <a:lnTo>
                      <a:pt x="70" y="220"/>
                    </a:lnTo>
                    <a:lnTo>
                      <a:pt x="70" y="220"/>
                    </a:lnTo>
                    <a:lnTo>
                      <a:pt x="76" y="234"/>
                    </a:lnTo>
                    <a:lnTo>
                      <a:pt x="82" y="248"/>
                    </a:lnTo>
                    <a:lnTo>
                      <a:pt x="88" y="262"/>
                    </a:lnTo>
                    <a:lnTo>
                      <a:pt x="92" y="274"/>
                    </a:lnTo>
                    <a:lnTo>
                      <a:pt x="92" y="274"/>
                    </a:lnTo>
                    <a:lnTo>
                      <a:pt x="96" y="286"/>
                    </a:lnTo>
                    <a:lnTo>
                      <a:pt x="100" y="290"/>
                    </a:lnTo>
                    <a:lnTo>
                      <a:pt x="104" y="296"/>
                    </a:lnTo>
                    <a:lnTo>
                      <a:pt x="106" y="304"/>
                    </a:lnTo>
                    <a:lnTo>
                      <a:pt x="106" y="304"/>
                    </a:lnTo>
                    <a:lnTo>
                      <a:pt x="108" y="310"/>
                    </a:lnTo>
                    <a:lnTo>
                      <a:pt x="110" y="314"/>
                    </a:lnTo>
                    <a:lnTo>
                      <a:pt x="112" y="316"/>
                    </a:lnTo>
                    <a:lnTo>
                      <a:pt x="112" y="320"/>
                    </a:lnTo>
                    <a:lnTo>
                      <a:pt x="112" y="320"/>
                    </a:lnTo>
                    <a:lnTo>
                      <a:pt x="110" y="322"/>
                    </a:lnTo>
                    <a:lnTo>
                      <a:pt x="112" y="326"/>
                    </a:lnTo>
                    <a:lnTo>
                      <a:pt x="116" y="336"/>
                    </a:lnTo>
                    <a:lnTo>
                      <a:pt x="122" y="344"/>
                    </a:lnTo>
                    <a:lnTo>
                      <a:pt x="124" y="350"/>
                    </a:lnTo>
                    <a:lnTo>
                      <a:pt x="124" y="350"/>
                    </a:lnTo>
                    <a:lnTo>
                      <a:pt x="122" y="350"/>
                    </a:lnTo>
                    <a:lnTo>
                      <a:pt x="120" y="348"/>
                    </a:lnTo>
                    <a:lnTo>
                      <a:pt x="118" y="348"/>
                    </a:lnTo>
                    <a:lnTo>
                      <a:pt x="118" y="350"/>
                    </a:lnTo>
                    <a:lnTo>
                      <a:pt x="118" y="350"/>
                    </a:lnTo>
                    <a:lnTo>
                      <a:pt x="122" y="356"/>
                    </a:lnTo>
                    <a:lnTo>
                      <a:pt x="128" y="360"/>
                    </a:lnTo>
                    <a:lnTo>
                      <a:pt x="134" y="364"/>
                    </a:lnTo>
                    <a:lnTo>
                      <a:pt x="138" y="372"/>
                    </a:lnTo>
                    <a:lnTo>
                      <a:pt x="138" y="372"/>
                    </a:lnTo>
                    <a:lnTo>
                      <a:pt x="144" y="376"/>
                    </a:lnTo>
                    <a:lnTo>
                      <a:pt x="150" y="380"/>
                    </a:lnTo>
                    <a:lnTo>
                      <a:pt x="156" y="386"/>
                    </a:lnTo>
                    <a:lnTo>
                      <a:pt x="162" y="392"/>
                    </a:lnTo>
                    <a:lnTo>
                      <a:pt x="162" y="392"/>
                    </a:lnTo>
                    <a:lnTo>
                      <a:pt x="170" y="398"/>
                    </a:lnTo>
                    <a:lnTo>
                      <a:pt x="178" y="400"/>
                    </a:lnTo>
                    <a:lnTo>
                      <a:pt x="186" y="404"/>
                    </a:lnTo>
                    <a:lnTo>
                      <a:pt x="196" y="410"/>
                    </a:lnTo>
                    <a:lnTo>
                      <a:pt x="196" y="410"/>
                    </a:lnTo>
                    <a:lnTo>
                      <a:pt x="220" y="422"/>
                    </a:lnTo>
                    <a:lnTo>
                      <a:pt x="236" y="430"/>
                    </a:lnTo>
                    <a:lnTo>
                      <a:pt x="242" y="436"/>
                    </a:lnTo>
                    <a:lnTo>
                      <a:pt x="244" y="440"/>
                    </a:lnTo>
                    <a:lnTo>
                      <a:pt x="244" y="440"/>
                    </a:lnTo>
                    <a:lnTo>
                      <a:pt x="248" y="444"/>
                    </a:lnTo>
                    <a:lnTo>
                      <a:pt x="252" y="448"/>
                    </a:lnTo>
                    <a:lnTo>
                      <a:pt x="262" y="458"/>
                    </a:lnTo>
                    <a:lnTo>
                      <a:pt x="262" y="458"/>
                    </a:lnTo>
                    <a:lnTo>
                      <a:pt x="272" y="454"/>
                    </a:lnTo>
                    <a:lnTo>
                      <a:pt x="274" y="452"/>
                    </a:lnTo>
                    <a:lnTo>
                      <a:pt x="272" y="450"/>
                    </a:lnTo>
                    <a:lnTo>
                      <a:pt x="272" y="448"/>
                    </a:lnTo>
                    <a:lnTo>
                      <a:pt x="272" y="446"/>
                    </a:lnTo>
                    <a:lnTo>
                      <a:pt x="276" y="446"/>
                    </a:lnTo>
                    <a:lnTo>
                      <a:pt x="276" y="446"/>
                    </a:lnTo>
                    <a:lnTo>
                      <a:pt x="278" y="438"/>
                    </a:lnTo>
                    <a:lnTo>
                      <a:pt x="278" y="436"/>
                    </a:lnTo>
                    <a:lnTo>
                      <a:pt x="276" y="434"/>
                    </a:lnTo>
                    <a:lnTo>
                      <a:pt x="278" y="430"/>
                    </a:lnTo>
                    <a:lnTo>
                      <a:pt x="278" y="430"/>
                    </a:lnTo>
                    <a:lnTo>
                      <a:pt x="282" y="424"/>
                    </a:lnTo>
                    <a:lnTo>
                      <a:pt x="282" y="422"/>
                    </a:lnTo>
                    <a:lnTo>
                      <a:pt x="282" y="418"/>
                    </a:lnTo>
                    <a:lnTo>
                      <a:pt x="286" y="412"/>
                    </a:lnTo>
                    <a:lnTo>
                      <a:pt x="286" y="412"/>
                    </a:lnTo>
                    <a:lnTo>
                      <a:pt x="288" y="406"/>
                    </a:lnTo>
                    <a:lnTo>
                      <a:pt x="288" y="402"/>
                    </a:lnTo>
                    <a:lnTo>
                      <a:pt x="286" y="396"/>
                    </a:lnTo>
                    <a:lnTo>
                      <a:pt x="282" y="390"/>
                    </a:lnTo>
                    <a:lnTo>
                      <a:pt x="282" y="388"/>
                    </a:lnTo>
                    <a:lnTo>
                      <a:pt x="284" y="384"/>
                    </a:lnTo>
                    <a:lnTo>
                      <a:pt x="284" y="384"/>
                    </a:lnTo>
                    <a:lnTo>
                      <a:pt x="284" y="382"/>
                    </a:lnTo>
                    <a:lnTo>
                      <a:pt x="284" y="380"/>
                    </a:lnTo>
                    <a:lnTo>
                      <a:pt x="280" y="376"/>
                    </a:lnTo>
                    <a:lnTo>
                      <a:pt x="278" y="374"/>
                    </a:lnTo>
                    <a:lnTo>
                      <a:pt x="276" y="372"/>
                    </a:lnTo>
                    <a:lnTo>
                      <a:pt x="276" y="368"/>
                    </a:lnTo>
                    <a:lnTo>
                      <a:pt x="280" y="362"/>
                    </a:lnTo>
                    <a:lnTo>
                      <a:pt x="280" y="362"/>
                    </a:lnTo>
                    <a:lnTo>
                      <a:pt x="280" y="358"/>
                    </a:lnTo>
                    <a:lnTo>
                      <a:pt x="280" y="354"/>
                    </a:lnTo>
                    <a:lnTo>
                      <a:pt x="278" y="344"/>
                    </a:lnTo>
                    <a:lnTo>
                      <a:pt x="276" y="334"/>
                    </a:lnTo>
                    <a:lnTo>
                      <a:pt x="276" y="328"/>
                    </a:lnTo>
                    <a:lnTo>
                      <a:pt x="278" y="324"/>
                    </a:lnTo>
                    <a:lnTo>
                      <a:pt x="278" y="324"/>
                    </a:lnTo>
                    <a:lnTo>
                      <a:pt x="280" y="318"/>
                    </a:lnTo>
                    <a:lnTo>
                      <a:pt x="282" y="316"/>
                    </a:lnTo>
                    <a:lnTo>
                      <a:pt x="278" y="306"/>
                    </a:lnTo>
                    <a:lnTo>
                      <a:pt x="268" y="296"/>
                    </a:lnTo>
                    <a:lnTo>
                      <a:pt x="256" y="278"/>
                    </a:lnTo>
                    <a:lnTo>
                      <a:pt x="256" y="278"/>
                    </a:lnTo>
                    <a:lnTo>
                      <a:pt x="250" y="280"/>
                    </a:lnTo>
                    <a:lnTo>
                      <a:pt x="246" y="282"/>
                    </a:lnTo>
                    <a:lnTo>
                      <a:pt x="244" y="280"/>
                    </a:lnTo>
                    <a:lnTo>
                      <a:pt x="242" y="280"/>
                    </a:lnTo>
                    <a:lnTo>
                      <a:pt x="240" y="272"/>
                    </a:lnTo>
                    <a:lnTo>
                      <a:pt x="238" y="264"/>
                    </a:lnTo>
                    <a:lnTo>
                      <a:pt x="238" y="264"/>
                    </a:lnTo>
                    <a:lnTo>
                      <a:pt x="236" y="252"/>
                    </a:lnTo>
                    <a:lnTo>
                      <a:pt x="236" y="248"/>
                    </a:lnTo>
                    <a:lnTo>
                      <a:pt x="238" y="244"/>
                    </a:lnTo>
                    <a:lnTo>
                      <a:pt x="238" y="244"/>
                    </a:lnTo>
                    <a:lnTo>
                      <a:pt x="240" y="240"/>
                    </a:lnTo>
                    <a:lnTo>
                      <a:pt x="238" y="238"/>
                    </a:lnTo>
                    <a:lnTo>
                      <a:pt x="236" y="236"/>
                    </a:lnTo>
                    <a:lnTo>
                      <a:pt x="234" y="238"/>
                    </a:lnTo>
                    <a:lnTo>
                      <a:pt x="234" y="238"/>
                    </a:lnTo>
                    <a:lnTo>
                      <a:pt x="222" y="248"/>
                    </a:lnTo>
                    <a:lnTo>
                      <a:pt x="218" y="250"/>
                    </a:lnTo>
                    <a:lnTo>
                      <a:pt x="208" y="250"/>
                    </a:lnTo>
                    <a:lnTo>
                      <a:pt x="208" y="250"/>
                    </a:lnTo>
                    <a:lnTo>
                      <a:pt x="202" y="250"/>
                    </a:lnTo>
                    <a:lnTo>
                      <a:pt x="198" y="248"/>
                    </a:lnTo>
                    <a:lnTo>
                      <a:pt x="196" y="248"/>
                    </a:lnTo>
                    <a:lnTo>
                      <a:pt x="194" y="246"/>
                    </a:lnTo>
                    <a:lnTo>
                      <a:pt x="194" y="242"/>
                    </a:lnTo>
                    <a:lnTo>
                      <a:pt x="192" y="240"/>
                    </a:lnTo>
                    <a:lnTo>
                      <a:pt x="190" y="240"/>
                    </a:lnTo>
                    <a:lnTo>
                      <a:pt x="190" y="240"/>
                    </a:lnTo>
                    <a:lnTo>
                      <a:pt x="184" y="240"/>
                    </a:lnTo>
                    <a:lnTo>
                      <a:pt x="186" y="236"/>
                    </a:lnTo>
                    <a:lnTo>
                      <a:pt x="188" y="232"/>
                    </a:lnTo>
                    <a:lnTo>
                      <a:pt x="186" y="230"/>
                    </a:lnTo>
                    <a:lnTo>
                      <a:pt x="184" y="226"/>
                    </a:lnTo>
                    <a:lnTo>
                      <a:pt x="184" y="226"/>
                    </a:lnTo>
                    <a:lnTo>
                      <a:pt x="180" y="220"/>
                    </a:lnTo>
                    <a:lnTo>
                      <a:pt x="176" y="212"/>
                    </a:lnTo>
                    <a:lnTo>
                      <a:pt x="174" y="204"/>
                    </a:lnTo>
                    <a:lnTo>
                      <a:pt x="170" y="198"/>
                    </a:lnTo>
                    <a:lnTo>
                      <a:pt x="170" y="198"/>
                    </a:lnTo>
                    <a:lnTo>
                      <a:pt x="166" y="190"/>
                    </a:lnTo>
                    <a:lnTo>
                      <a:pt x="166" y="188"/>
                    </a:lnTo>
                    <a:lnTo>
                      <a:pt x="168" y="186"/>
                    </a:lnTo>
                    <a:lnTo>
                      <a:pt x="168" y="186"/>
                    </a:lnTo>
                    <a:lnTo>
                      <a:pt x="168" y="186"/>
                    </a:lnTo>
                    <a:lnTo>
                      <a:pt x="166" y="182"/>
                    </a:lnTo>
                    <a:lnTo>
                      <a:pt x="166" y="178"/>
                    </a:lnTo>
                    <a:lnTo>
                      <a:pt x="168" y="174"/>
                    </a:lnTo>
                    <a:lnTo>
                      <a:pt x="170" y="172"/>
                    </a:lnTo>
                    <a:lnTo>
                      <a:pt x="176" y="166"/>
                    </a:lnTo>
                    <a:lnTo>
                      <a:pt x="178" y="164"/>
                    </a:lnTo>
                    <a:lnTo>
                      <a:pt x="180" y="158"/>
                    </a:lnTo>
                    <a:lnTo>
                      <a:pt x="180" y="158"/>
                    </a:lnTo>
                    <a:lnTo>
                      <a:pt x="182" y="150"/>
                    </a:lnTo>
                    <a:lnTo>
                      <a:pt x="184" y="144"/>
                    </a:lnTo>
                    <a:lnTo>
                      <a:pt x="186" y="140"/>
                    </a:lnTo>
                    <a:lnTo>
                      <a:pt x="188" y="136"/>
                    </a:lnTo>
                    <a:lnTo>
                      <a:pt x="188" y="136"/>
                    </a:lnTo>
                    <a:lnTo>
                      <a:pt x="190" y="132"/>
                    </a:lnTo>
                    <a:lnTo>
                      <a:pt x="194" y="128"/>
                    </a:lnTo>
                    <a:lnTo>
                      <a:pt x="198" y="124"/>
                    </a:lnTo>
                    <a:lnTo>
                      <a:pt x="204" y="120"/>
                    </a:lnTo>
                    <a:lnTo>
                      <a:pt x="204" y="120"/>
                    </a:lnTo>
                    <a:lnTo>
                      <a:pt x="212" y="112"/>
                    </a:lnTo>
                    <a:lnTo>
                      <a:pt x="218" y="108"/>
                    </a:lnTo>
                    <a:lnTo>
                      <a:pt x="224" y="108"/>
                    </a:lnTo>
                    <a:lnTo>
                      <a:pt x="226" y="104"/>
                    </a:lnTo>
                    <a:lnTo>
                      <a:pt x="226" y="104"/>
                    </a:lnTo>
                    <a:lnTo>
                      <a:pt x="230" y="102"/>
                    </a:lnTo>
                    <a:lnTo>
                      <a:pt x="232" y="102"/>
                    </a:lnTo>
                    <a:lnTo>
                      <a:pt x="234" y="102"/>
                    </a:lnTo>
                    <a:lnTo>
                      <a:pt x="238" y="98"/>
                    </a:lnTo>
                    <a:lnTo>
                      <a:pt x="238" y="98"/>
                    </a:lnTo>
                    <a:lnTo>
                      <a:pt x="228" y="92"/>
                    </a:lnTo>
                    <a:lnTo>
                      <a:pt x="226" y="88"/>
                    </a:lnTo>
                    <a:lnTo>
                      <a:pt x="228" y="84"/>
                    </a:lnTo>
                    <a:lnTo>
                      <a:pt x="232" y="74"/>
                    </a:lnTo>
                    <a:lnTo>
                      <a:pt x="232" y="74"/>
                    </a:lnTo>
                    <a:lnTo>
                      <a:pt x="236" y="70"/>
                    </a:lnTo>
                    <a:lnTo>
                      <a:pt x="236" y="64"/>
                    </a:lnTo>
                    <a:lnTo>
                      <a:pt x="236" y="60"/>
                    </a:lnTo>
                    <a:lnTo>
                      <a:pt x="234" y="58"/>
                    </a:lnTo>
                    <a:lnTo>
                      <a:pt x="230" y="56"/>
                    </a:lnTo>
                    <a:lnTo>
                      <a:pt x="228" y="56"/>
                    </a:lnTo>
                    <a:lnTo>
                      <a:pt x="222" y="58"/>
                    </a:lnTo>
                    <a:lnTo>
                      <a:pt x="222" y="58"/>
                    </a:lnTo>
                    <a:lnTo>
                      <a:pt x="218" y="60"/>
                    </a:lnTo>
                    <a:lnTo>
                      <a:pt x="216" y="58"/>
                    </a:lnTo>
                    <a:lnTo>
                      <a:pt x="210" y="56"/>
                    </a:lnTo>
                    <a:lnTo>
                      <a:pt x="204" y="54"/>
                    </a:lnTo>
                    <a:lnTo>
                      <a:pt x="202" y="56"/>
                    </a:lnTo>
                    <a:lnTo>
                      <a:pt x="196" y="58"/>
                    </a:lnTo>
                    <a:lnTo>
                      <a:pt x="196" y="58"/>
                    </a:lnTo>
                    <a:lnTo>
                      <a:pt x="188" y="60"/>
                    </a:lnTo>
                    <a:lnTo>
                      <a:pt x="184" y="60"/>
                    </a:lnTo>
                    <a:lnTo>
                      <a:pt x="178" y="58"/>
                    </a:lnTo>
                    <a:lnTo>
                      <a:pt x="174" y="58"/>
                    </a:lnTo>
                    <a:lnTo>
                      <a:pt x="174" y="58"/>
                    </a:lnTo>
                    <a:lnTo>
                      <a:pt x="170" y="46"/>
                    </a:lnTo>
                    <a:lnTo>
                      <a:pt x="168" y="40"/>
                    </a:lnTo>
                    <a:lnTo>
                      <a:pt x="164" y="38"/>
                    </a:lnTo>
                    <a:lnTo>
                      <a:pt x="162" y="34"/>
                    </a:lnTo>
                    <a:lnTo>
                      <a:pt x="162" y="34"/>
                    </a:lnTo>
                    <a:lnTo>
                      <a:pt x="160" y="30"/>
                    </a:lnTo>
                    <a:lnTo>
                      <a:pt x="160" y="28"/>
                    </a:lnTo>
                    <a:lnTo>
                      <a:pt x="154" y="26"/>
                    </a:lnTo>
                    <a:lnTo>
                      <a:pt x="150" y="24"/>
                    </a:lnTo>
                    <a:lnTo>
                      <a:pt x="148" y="20"/>
                    </a:lnTo>
                    <a:lnTo>
                      <a:pt x="146" y="16"/>
                    </a:lnTo>
                    <a:lnTo>
                      <a:pt x="146" y="16"/>
                    </a:lnTo>
                    <a:lnTo>
                      <a:pt x="144" y="8"/>
                    </a:lnTo>
                    <a:lnTo>
                      <a:pt x="138" y="2"/>
                    </a:lnTo>
                    <a:lnTo>
                      <a:pt x="132" y="0"/>
                    </a:lnTo>
                    <a:lnTo>
                      <a:pt x="126" y="0"/>
                    </a:lnTo>
                    <a:lnTo>
                      <a:pt x="126" y="0"/>
                    </a:lnTo>
                    <a:lnTo>
                      <a:pt x="128" y="16"/>
                    </a:lnTo>
                    <a:lnTo>
                      <a:pt x="128" y="24"/>
                    </a:lnTo>
                    <a:lnTo>
                      <a:pt x="122" y="32"/>
                    </a:lnTo>
                    <a:lnTo>
                      <a:pt x="122" y="32"/>
                    </a:lnTo>
                    <a:lnTo>
                      <a:pt x="114" y="42"/>
                    </a:lnTo>
                    <a:lnTo>
                      <a:pt x="108" y="52"/>
                    </a:lnTo>
                    <a:lnTo>
                      <a:pt x="98" y="60"/>
                    </a:lnTo>
                    <a:lnTo>
                      <a:pt x="84" y="68"/>
                    </a:lnTo>
                    <a:lnTo>
                      <a:pt x="84" y="68"/>
                    </a:lnTo>
                    <a:lnTo>
                      <a:pt x="74" y="72"/>
                    </a:lnTo>
                    <a:lnTo>
                      <a:pt x="72" y="74"/>
                    </a:lnTo>
                    <a:lnTo>
                      <a:pt x="70" y="76"/>
                    </a:lnTo>
                    <a:lnTo>
                      <a:pt x="66" y="80"/>
                    </a:lnTo>
                    <a:lnTo>
                      <a:pt x="66" y="80"/>
                    </a:lnTo>
                    <a:lnTo>
                      <a:pt x="60" y="84"/>
                    </a:lnTo>
                    <a:lnTo>
                      <a:pt x="60" y="88"/>
                    </a:lnTo>
                    <a:lnTo>
                      <a:pt x="60" y="92"/>
                    </a:lnTo>
                    <a:lnTo>
                      <a:pt x="58" y="96"/>
                    </a:lnTo>
                    <a:lnTo>
                      <a:pt x="54" y="100"/>
                    </a:lnTo>
                    <a:lnTo>
                      <a:pt x="54" y="100"/>
                    </a:lnTo>
                    <a:lnTo>
                      <a:pt x="50" y="104"/>
                    </a:lnTo>
                    <a:lnTo>
                      <a:pt x="46" y="106"/>
                    </a:lnTo>
                    <a:lnTo>
                      <a:pt x="42" y="104"/>
                    </a:lnTo>
                    <a:lnTo>
                      <a:pt x="38" y="102"/>
                    </a:lnTo>
                    <a:lnTo>
                      <a:pt x="32" y="98"/>
                    </a:lnTo>
                    <a:lnTo>
                      <a:pt x="30" y="98"/>
                    </a:lnTo>
                    <a:lnTo>
                      <a:pt x="28" y="98"/>
                    </a:lnTo>
                    <a:lnTo>
                      <a:pt x="28" y="98"/>
                    </a:lnTo>
                    <a:lnTo>
                      <a:pt x="20" y="100"/>
                    </a:lnTo>
                    <a:lnTo>
                      <a:pt x="18" y="98"/>
                    </a:lnTo>
                    <a:lnTo>
                      <a:pt x="16" y="94"/>
                    </a:lnTo>
                    <a:lnTo>
                      <a:pt x="18" y="86"/>
                    </a:lnTo>
                    <a:lnTo>
                      <a:pt x="18" y="86"/>
                    </a:lnTo>
                    <a:close/>
                  </a:path>
                </a:pathLst>
              </a:custGeom>
              <a:solidFill>
                <a:schemeClr val="accent1"/>
              </a:solid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1" name="Argentina"/>
              <p:cNvSpPr>
                <a:spLocks/>
              </p:cNvSpPr>
              <p:nvPr/>
            </p:nvSpPr>
            <p:spPr bwMode="auto">
              <a:xfrm>
                <a:off x="3659427" y="4540272"/>
                <a:ext cx="476910" cy="1007565"/>
              </a:xfrm>
              <a:custGeom>
                <a:avLst/>
                <a:gdLst/>
                <a:ahLst/>
                <a:cxnLst>
                  <a:cxn ang="0">
                    <a:pos x="174" y="652"/>
                  </a:cxn>
                  <a:cxn ang="0">
                    <a:pos x="164" y="640"/>
                  </a:cxn>
                  <a:cxn ang="0">
                    <a:pos x="178" y="622"/>
                  </a:cxn>
                  <a:cxn ang="0">
                    <a:pos x="190" y="600"/>
                  </a:cxn>
                  <a:cxn ang="0">
                    <a:pos x="200" y="570"/>
                  </a:cxn>
                  <a:cxn ang="0">
                    <a:pos x="162" y="548"/>
                  </a:cxn>
                  <a:cxn ang="0">
                    <a:pos x="190" y="520"/>
                  </a:cxn>
                  <a:cxn ang="0">
                    <a:pos x="192" y="500"/>
                  </a:cxn>
                  <a:cxn ang="0">
                    <a:pos x="200" y="478"/>
                  </a:cxn>
                  <a:cxn ang="0">
                    <a:pos x="202" y="472"/>
                  </a:cxn>
                  <a:cxn ang="0">
                    <a:pos x="202" y="460"/>
                  </a:cxn>
                  <a:cxn ang="0">
                    <a:pos x="184" y="464"/>
                  </a:cxn>
                  <a:cxn ang="0">
                    <a:pos x="170" y="436"/>
                  </a:cxn>
                  <a:cxn ang="0">
                    <a:pos x="192" y="438"/>
                  </a:cxn>
                  <a:cxn ang="0">
                    <a:pos x="218" y="414"/>
                  </a:cxn>
                  <a:cxn ang="0">
                    <a:pos x="220" y="396"/>
                  </a:cxn>
                  <a:cxn ang="0">
                    <a:pos x="226" y="388"/>
                  </a:cxn>
                  <a:cxn ang="0">
                    <a:pos x="296" y="372"/>
                  </a:cxn>
                  <a:cxn ang="0">
                    <a:pos x="310" y="330"/>
                  </a:cxn>
                  <a:cxn ang="0">
                    <a:pos x="288" y="302"/>
                  </a:cxn>
                  <a:cxn ang="0">
                    <a:pos x="254" y="276"/>
                  </a:cxn>
                  <a:cxn ang="0">
                    <a:pos x="250" y="218"/>
                  </a:cxn>
                  <a:cxn ang="0">
                    <a:pos x="260" y="180"/>
                  </a:cxn>
                  <a:cxn ang="0">
                    <a:pos x="284" y="146"/>
                  </a:cxn>
                  <a:cxn ang="0">
                    <a:pos x="296" y="130"/>
                  </a:cxn>
                  <a:cxn ang="0">
                    <a:pos x="310" y="98"/>
                  </a:cxn>
                  <a:cxn ang="0">
                    <a:pos x="292" y="104"/>
                  </a:cxn>
                  <a:cxn ang="0">
                    <a:pos x="268" y="124"/>
                  </a:cxn>
                  <a:cxn ang="0">
                    <a:pos x="240" y="126"/>
                  </a:cxn>
                  <a:cxn ang="0">
                    <a:pos x="222" y="100"/>
                  </a:cxn>
                  <a:cxn ang="0">
                    <a:pos x="210" y="72"/>
                  </a:cxn>
                  <a:cxn ang="0">
                    <a:pos x="162" y="50"/>
                  </a:cxn>
                  <a:cxn ang="0">
                    <a:pos x="124" y="10"/>
                  </a:cxn>
                  <a:cxn ang="0">
                    <a:pos x="86" y="6"/>
                  </a:cxn>
                  <a:cxn ang="0">
                    <a:pos x="80" y="16"/>
                  </a:cxn>
                  <a:cxn ang="0">
                    <a:pos x="48" y="0"/>
                  </a:cxn>
                  <a:cxn ang="0">
                    <a:pos x="30" y="20"/>
                  </a:cxn>
                  <a:cxn ang="0">
                    <a:pos x="18" y="58"/>
                  </a:cxn>
                  <a:cxn ang="0">
                    <a:pos x="6" y="88"/>
                  </a:cxn>
                  <a:cxn ang="0">
                    <a:pos x="18" y="124"/>
                  </a:cxn>
                  <a:cxn ang="0">
                    <a:pos x="6" y="156"/>
                  </a:cxn>
                  <a:cxn ang="0">
                    <a:pos x="4" y="196"/>
                  </a:cxn>
                  <a:cxn ang="0">
                    <a:pos x="10" y="236"/>
                  </a:cxn>
                  <a:cxn ang="0">
                    <a:pos x="22" y="268"/>
                  </a:cxn>
                  <a:cxn ang="0">
                    <a:pos x="30" y="288"/>
                  </a:cxn>
                  <a:cxn ang="0">
                    <a:pos x="24" y="330"/>
                  </a:cxn>
                  <a:cxn ang="0">
                    <a:pos x="38" y="380"/>
                  </a:cxn>
                  <a:cxn ang="0">
                    <a:pos x="30" y="400"/>
                  </a:cxn>
                  <a:cxn ang="0">
                    <a:pos x="40" y="440"/>
                  </a:cxn>
                  <a:cxn ang="0">
                    <a:pos x="42" y="462"/>
                  </a:cxn>
                  <a:cxn ang="0">
                    <a:pos x="54" y="478"/>
                  </a:cxn>
                  <a:cxn ang="0">
                    <a:pos x="62" y="490"/>
                  </a:cxn>
                  <a:cxn ang="0">
                    <a:pos x="70" y="514"/>
                  </a:cxn>
                  <a:cxn ang="0">
                    <a:pos x="64" y="530"/>
                  </a:cxn>
                  <a:cxn ang="0">
                    <a:pos x="78" y="570"/>
                  </a:cxn>
                  <a:cxn ang="0">
                    <a:pos x="78" y="590"/>
                  </a:cxn>
                  <a:cxn ang="0">
                    <a:pos x="82" y="620"/>
                  </a:cxn>
                  <a:cxn ang="0">
                    <a:pos x="106" y="634"/>
                  </a:cxn>
                  <a:cxn ang="0">
                    <a:pos x="120" y="654"/>
                  </a:cxn>
                </a:cxnLst>
                <a:rect l="0" t="0" r="r" b="b"/>
                <a:pathLst>
                  <a:path w="314" h="664">
                    <a:moveTo>
                      <a:pt x="184" y="664"/>
                    </a:moveTo>
                    <a:lnTo>
                      <a:pt x="184" y="664"/>
                    </a:lnTo>
                    <a:lnTo>
                      <a:pt x="182" y="662"/>
                    </a:lnTo>
                    <a:lnTo>
                      <a:pt x="182" y="662"/>
                    </a:lnTo>
                    <a:lnTo>
                      <a:pt x="182" y="660"/>
                    </a:lnTo>
                    <a:lnTo>
                      <a:pt x="180" y="658"/>
                    </a:lnTo>
                    <a:lnTo>
                      <a:pt x="180" y="658"/>
                    </a:lnTo>
                    <a:lnTo>
                      <a:pt x="176" y="656"/>
                    </a:lnTo>
                    <a:lnTo>
                      <a:pt x="176" y="654"/>
                    </a:lnTo>
                    <a:lnTo>
                      <a:pt x="174" y="652"/>
                    </a:lnTo>
                    <a:lnTo>
                      <a:pt x="170" y="650"/>
                    </a:lnTo>
                    <a:lnTo>
                      <a:pt x="170" y="650"/>
                    </a:lnTo>
                    <a:lnTo>
                      <a:pt x="168" y="648"/>
                    </a:lnTo>
                    <a:lnTo>
                      <a:pt x="168" y="648"/>
                    </a:lnTo>
                    <a:lnTo>
                      <a:pt x="170" y="648"/>
                    </a:lnTo>
                    <a:lnTo>
                      <a:pt x="168" y="646"/>
                    </a:lnTo>
                    <a:lnTo>
                      <a:pt x="168" y="646"/>
                    </a:lnTo>
                    <a:lnTo>
                      <a:pt x="166" y="644"/>
                    </a:lnTo>
                    <a:lnTo>
                      <a:pt x="166" y="642"/>
                    </a:lnTo>
                    <a:lnTo>
                      <a:pt x="164" y="640"/>
                    </a:lnTo>
                    <a:lnTo>
                      <a:pt x="162" y="640"/>
                    </a:lnTo>
                    <a:lnTo>
                      <a:pt x="162" y="640"/>
                    </a:lnTo>
                    <a:lnTo>
                      <a:pt x="162" y="638"/>
                    </a:lnTo>
                    <a:lnTo>
                      <a:pt x="162" y="634"/>
                    </a:lnTo>
                    <a:lnTo>
                      <a:pt x="162" y="632"/>
                    </a:lnTo>
                    <a:lnTo>
                      <a:pt x="162" y="632"/>
                    </a:lnTo>
                    <a:lnTo>
                      <a:pt x="166" y="626"/>
                    </a:lnTo>
                    <a:lnTo>
                      <a:pt x="172" y="626"/>
                    </a:lnTo>
                    <a:lnTo>
                      <a:pt x="176" y="626"/>
                    </a:lnTo>
                    <a:lnTo>
                      <a:pt x="178" y="622"/>
                    </a:lnTo>
                    <a:lnTo>
                      <a:pt x="178" y="622"/>
                    </a:lnTo>
                    <a:lnTo>
                      <a:pt x="184" y="614"/>
                    </a:lnTo>
                    <a:lnTo>
                      <a:pt x="186" y="612"/>
                    </a:lnTo>
                    <a:lnTo>
                      <a:pt x="186" y="608"/>
                    </a:lnTo>
                    <a:lnTo>
                      <a:pt x="186" y="608"/>
                    </a:lnTo>
                    <a:lnTo>
                      <a:pt x="186" y="604"/>
                    </a:lnTo>
                    <a:lnTo>
                      <a:pt x="188" y="602"/>
                    </a:lnTo>
                    <a:lnTo>
                      <a:pt x="190" y="602"/>
                    </a:lnTo>
                    <a:lnTo>
                      <a:pt x="190" y="600"/>
                    </a:lnTo>
                    <a:lnTo>
                      <a:pt x="190" y="600"/>
                    </a:lnTo>
                    <a:lnTo>
                      <a:pt x="190" y="598"/>
                    </a:lnTo>
                    <a:lnTo>
                      <a:pt x="192" y="596"/>
                    </a:lnTo>
                    <a:lnTo>
                      <a:pt x="196" y="594"/>
                    </a:lnTo>
                    <a:lnTo>
                      <a:pt x="202" y="584"/>
                    </a:lnTo>
                    <a:lnTo>
                      <a:pt x="202" y="584"/>
                    </a:lnTo>
                    <a:lnTo>
                      <a:pt x="200" y="580"/>
                    </a:lnTo>
                    <a:lnTo>
                      <a:pt x="202" y="578"/>
                    </a:lnTo>
                    <a:lnTo>
                      <a:pt x="202" y="576"/>
                    </a:lnTo>
                    <a:lnTo>
                      <a:pt x="200" y="570"/>
                    </a:lnTo>
                    <a:lnTo>
                      <a:pt x="200" y="570"/>
                    </a:lnTo>
                    <a:lnTo>
                      <a:pt x="196" y="566"/>
                    </a:lnTo>
                    <a:lnTo>
                      <a:pt x="194" y="564"/>
                    </a:lnTo>
                    <a:lnTo>
                      <a:pt x="188" y="564"/>
                    </a:lnTo>
                    <a:lnTo>
                      <a:pt x="182" y="564"/>
                    </a:lnTo>
                    <a:lnTo>
                      <a:pt x="180" y="562"/>
                    </a:lnTo>
                    <a:lnTo>
                      <a:pt x="174" y="558"/>
                    </a:lnTo>
                    <a:lnTo>
                      <a:pt x="174" y="558"/>
                    </a:lnTo>
                    <a:lnTo>
                      <a:pt x="170" y="554"/>
                    </a:lnTo>
                    <a:lnTo>
                      <a:pt x="166" y="552"/>
                    </a:lnTo>
                    <a:lnTo>
                      <a:pt x="162" y="548"/>
                    </a:lnTo>
                    <a:lnTo>
                      <a:pt x="162" y="540"/>
                    </a:lnTo>
                    <a:lnTo>
                      <a:pt x="162" y="540"/>
                    </a:lnTo>
                    <a:lnTo>
                      <a:pt x="166" y="532"/>
                    </a:lnTo>
                    <a:lnTo>
                      <a:pt x="168" y="530"/>
                    </a:lnTo>
                    <a:lnTo>
                      <a:pt x="172" y="528"/>
                    </a:lnTo>
                    <a:lnTo>
                      <a:pt x="176" y="526"/>
                    </a:lnTo>
                    <a:lnTo>
                      <a:pt x="176" y="526"/>
                    </a:lnTo>
                    <a:lnTo>
                      <a:pt x="180" y="522"/>
                    </a:lnTo>
                    <a:lnTo>
                      <a:pt x="186" y="522"/>
                    </a:lnTo>
                    <a:lnTo>
                      <a:pt x="190" y="520"/>
                    </a:lnTo>
                    <a:lnTo>
                      <a:pt x="190" y="518"/>
                    </a:lnTo>
                    <a:lnTo>
                      <a:pt x="190" y="516"/>
                    </a:lnTo>
                    <a:lnTo>
                      <a:pt x="190" y="516"/>
                    </a:lnTo>
                    <a:lnTo>
                      <a:pt x="188" y="514"/>
                    </a:lnTo>
                    <a:lnTo>
                      <a:pt x="188" y="512"/>
                    </a:lnTo>
                    <a:lnTo>
                      <a:pt x="192" y="508"/>
                    </a:lnTo>
                    <a:lnTo>
                      <a:pt x="194" y="506"/>
                    </a:lnTo>
                    <a:lnTo>
                      <a:pt x="194" y="504"/>
                    </a:lnTo>
                    <a:lnTo>
                      <a:pt x="192" y="500"/>
                    </a:lnTo>
                    <a:lnTo>
                      <a:pt x="192" y="500"/>
                    </a:lnTo>
                    <a:lnTo>
                      <a:pt x="190" y="496"/>
                    </a:lnTo>
                    <a:lnTo>
                      <a:pt x="192" y="494"/>
                    </a:lnTo>
                    <a:lnTo>
                      <a:pt x="192" y="492"/>
                    </a:lnTo>
                    <a:lnTo>
                      <a:pt x="192" y="486"/>
                    </a:lnTo>
                    <a:lnTo>
                      <a:pt x="192" y="486"/>
                    </a:lnTo>
                    <a:lnTo>
                      <a:pt x="192" y="482"/>
                    </a:lnTo>
                    <a:lnTo>
                      <a:pt x="196" y="480"/>
                    </a:lnTo>
                    <a:lnTo>
                      <a:pt x="200" y="480"/>
                    </a:lnTo>
                    <a:lnTo>
                      <a:pt x="200" y="478"/>
                    </a:lnTo>
                    <a:lnTo>
                      <a:pt x="200" y="478"/>
                    </a:lnTo>
                    <a:lnTo>
                      <a:pt x="198" y="476"/>
                    </a:lnTo>
                    <a:lnTo>
                      <a:pt x="192" y="476"/>
                    </a:lnTo>
                    <a:lnTo>
                      <a:pt x="188" y="474"/>
                    </a:lnTo>
                    <a:lnTo>
                      <a:pt x="186" y="474"/>
                    </a:lnTo>
                    <a:lnTo>
                      <a:pt x="186" y="474"/>
                    </a:lnTo>
                    <a:lnTo>
                      <a:pt x="188" y="472"/>
                    </a:lnTo>
                    <a:lnTo>
                      <a:pt x="192" y="470"/>
                    </a:lnTo>
                    <a:lnTo>
                      <a:pt x="198" y="470"/>
                    </a:lnTo>
                    <a:lnTo>
                      <a:pt x="202" y="472"/>
                    </a:lnTo>
                    <a:lnTo>
                      <a:pt x="202" y="472"/>
                    </a:lnTo>
                    <a:lnTo>
                      <a:pt x="204" y="474"/>
                    </a:lnTo>
                    <a:lnTo>
                      <a:pt x="206" y="474"/>
                    </a:lnTo>
                    <a:lnTo>
                      <a:pt x="208" y="472"/>
                    </a:lnTo>
                    <a:lnTo>
                      <a:pt x="208" y="470"/>
                    </a:lnTo>
                    <a:lnTo>
                      <a:pt x="208" y="470"/>
                    </a:lnTo>
                    <a:lnTo>
                      <a:pt x="208" y="466"/>
                    </a:lnTo>
                    <a:lnTo>
                      <a:pt x="210" y="462"/>
                    </a:lnTo>
                    <a:lnTo>
                      <a:pt x="208" y="460"/>
                    </a:lnTo>
                    <a:lnTo>
                      <a:pt x="202" y="460"/>
                    </a:lnTo>
                    <a:lnTo>
                      <a:pt x="202" y="460"/>
                    </a:lnTo>
                    <a:lnTo>
                      <a:pt x="198" y="462"/>
                    </a:lnTo>
                    <a:lnTo>
                      <a:pt x="200" y="462"/>
                    </a:lnTo>
                    <a:lnTo>
                      <a:pt x="202" y="464"/>
                    </a:lnTo>
                    <a:lnTo>
                      <a:pt x="198" y="466"/>
                    </a:lnTo>
                    <a:lnTo>
                      <a:pt x="198" y="466"/>
                    </a:lnTo>
                    <a:lnTo>
                      <a:pt x="194" y="468"/>
                    </a:lnTo>
                    <a:lnTo>
                      <a:pt x="192" y="466"/>
                    </a:lnTo>
                    <a:lnTo>
                      <a:pt x="190" y="464"/>
                    </a:lnTo>
                    <a:lnTo>
                      <a:pt x="190" y="464"/>
                    </a:lnTo>
                    <a:lnTo>
                      <a:pt x="184" y="464"/>
                    </a:lnTo>
                    <a:lnTo>
                      <a:pt x="182" y="462"/>
                    </a:lnTo>
                    <a:lnTo>
                      <a:pt x="180" y="460"/>
                    </a:lnTo>
                    <a:lnTo>
                      <a:pt x="182" y="456"/>
                    </a:lnTo>
                    <a:lnTo>
                      <a:pt x="182" y="454"/>
                    </a:lnTo>
                    <a:lnTo>
                      <a:pt x="182" y="448"/>
                    </a:lnTo>
                    <a:lnTo>
                      <a:pt x="178" y="444"/>
                    </a:lnTo>
                    <a:lnTo>
                      <a:pt x="172" y="440"/>
                    </a:lnTo>
                    <a:lnTo>
                      <a:pt x="172" y="440"/>
                    </a:lnTo>
                    <a:lnTo>
                      <a:pt x="170" y="438"/>
                    </a:lnTo>
                    <a:lnTo>
                      <a:pt x="170" y="436"/>
                    </a:lnTo>
                    <a:lnTo>
                      <a:pt x="172" y="432"/>
                    </a:lnTo>
                    <a:lnTo>
                      <a:pt x="178" y="432"/>
                    </a:lnTo>
                    <a:lnTo>
                      <a:pt x="178" y="432"/>
                    </a:lnTo>
                    <a:lnTo>
                      <a:pt x="178" y="434"/>
                    </a:lnTo>
                    <a:lnTo>
                      <a:pt x="178" y="434"/>
                    </a:lnTo>
                    <a:lnTo>
                      <a:pt x="178" y="436"/>
                    </a:lnTo>
                    <a:lnTo>
                      <a:pt x="180" y="436"/>
                    </a:lnTo>
                    <a:lnTo>
                      <a:pt x="186" y="436"/>
                    </a:lnTo>
                    <a:lnTo>
                      <a:pt x="192" y="438"/>
                    </a:lnTo>
                    <a:lnTo>
                      <a:pt x="192" y="438"/>
                    </a:lnTo>
                    <a:lnTo>
                      <a:pt x="198" y="440"/>
                    </a:lnTo>
                    <a:lnTo>
                      <a:pt x="204" y="440"/>
                    </a:lnTo>
                    <a:lnTo>
                      <a:pt x="214" y="436"/>
                    </a:lnTo>
                    <a:lnTo>
                      <a:pt x="222" y="430"/>
                    </a:lnTo>
                    <a:lnTo>
                      <a:pt x="224" y="428"/>
                    </a:lnTo>
                    <a:lnTo>
                      <a:pt x="222" y="426"/>
                    </a:lnTo>
                    <a:lnTo>
                      <a:pt x="222" y="426"/>
                    </a:lnTo>
                    <a:lnTo>
                      <a:pt x="220" y="424"/>
                    </a:lnTo>
                    <a:lnTo>
                      <a:pt x="218" y="418"/>
                    </a:lnTo>
                    <a:lnTo>
                      <a:pt x="218" y="414"/>
                    </a:lnTo>
                    <a:lnTo>
                      <a:pt x="220" y="410"/>
                    </a:lnTo>
                    <a:lnTo>
                      <a:pt x="220" y="410"/>
                    </a:lnTo>
                    <a:lnTo>
                      <a:pt x="224" y="410"/>
                    </a:lnTo>
                    <a:lnTo>
                      <a:pt x="226" y="406"/>
                    </a:lnTo>
                    <a:lnTo>
                      <a:pt x="226" y="404"/>
                    </a:lnTo>
                    <a:lnTo>
                      <a:pt x="222" y="402"/>
                    </a:lnTo>
                    <a:lnTo>
                      <a:pt x="222" y="402"/>
                    </a:lnTo>
                    <a:lnTo>
                      <a:pt x="220" y="400"/>
                    </a:lnTo>
                    <a:lnTo>
                      <a:pt x="220" y="398"/>
                    </a:lnTo>
                    <a:lnTo>
                      <a:pt x="220" y="396"/>
                    </a:lnTo>
                    <a:lnTo>
                      <a:pt x="216" y="394"/>
                    </a:lnTo>
                    <a:lnTo>
                      <a:pt x="216" y="394"/>
                    </a:lnTo>
                    <a:lnTo>
                      <a:pt x="214" y="392"/>
                    </a:lnTo>
                    <a:lnTo>
                      <a:pt x="214" y="388"/>
                    </a:lnTo>
                    <a:lnTo>
                      <a:pt x="218" y="384"/>
                    </a:lnTo>
                    <a:lnTo>
                      <a:pt x="218" y="384"/>
                    </a:lnTo>
                    <a:lnTo>
                      <a:pt x="220" y="384"/>
                    </a:lnTo>
                    <a:lnTo>
                      <a:pt x="220" y="386"/>
                    </a:lnTo>
                    <a:lnTo>
                      <a:pt x="222" y="388"/>
                    </a:lnTo>
                    <a:lnTo>
                      <a:pt x="226" y="388"/>
                    </a:lnTo>
                    <a:lnTo>
                      <a:pt x="226" y="388"/>
                    </a:lnTo>
                    <a:lnTo>
                      <a:pt x="230" y="388"/>
                    </a:lnTo>
                    <a:lnTo>
                      <a:pt x="240" y="390"/>
                    </a:lnTo>
                    <a:lnTo>
                      <a:pt x="254" y="388"/>
                    </a:lnTo>
                    <a:lnTo>
                      <a:pt x="264" y="386"/>
                    </a:lnTo>
                    <a:lnTo>
                      <a:pt x="274" y="382"/>
                    </a:lnTo>
                    <a:lnTo>
                      <a:pt x="274" y="382"/>
                    </a:lnTo>
                    <a:lnTo>
                      <a:pt x="284" y="378"/>
                    </a:lnTo>
                    <a:lnTo>
                      <a:pt x="292" y="376"/>
                    </a:lnTo>
                    <a:lnTo>
                      <a:pt x="296" y="372"/>
                    </a:lnTo>
                    <a:lnTo>
                      <a:pt x="300" y="368"/>
                    </a:lnTo>
                    <a:lnTo>
                      <a:pt x="304" y="364"/>
                    </a:lnTo>
                    <a:lnTo>
                      <a:pt x="308" y="354"/>
                    </a:lnTo>
                    <a:lnTo>
                      <a:pt x="308" y="354"/>
                    </a:lnTo>
                    <a:lnTo>
                      <a:pt x="310" y="350"/>
                    </a:lnTo>
                    <a:lnTo>
                      <a:pt x="312" y="346"/>
                    </a:lnTo>
                    <a:lnTo>
                      <a:pt x="314" y="342"/>
                    </a:lnTo>
                    <a:lnTo>
                      <a:pt x="312" y="332"/>
                    </a:lnTo>
                    <a:lnTo>
                      <a:pt x="312" y="332"/>
                    </a:lnTo>
                    <a:lnTo>
                      <a:pt x="310" y="330"/>
                    </a:lnTo>
                    <a:lnTo>
                      <a:pt x="308" y="330"/>
                    </a:lnTo>
                    <a:lnTo>
                      <a:pt x="302" y="330"/>
                    </a:lnTo>
                    <a:lnTo>
                      <a:pt x="300" y="328"/>
                    </a:lnTo>
                    <a:lnTo>
                      <a:pt x="298" y="326"/>
                    </a:lnTo>
                    <a:lnTo>
                      <a:pt x="296" y="322"/>
                    </a:lnTo>
                    <a:lnTo>
                      <a:pt x="296" y="314"/>
                    </a:lnTo>
                    <a:lnTo>
                      <a:pt x="296" y="314"/>
                    </a:lnTo>
                    <a:lnTo>
                      <a:pt x="296" y="310"/>
                    </a:lnTo>
                    <a:lnTo>
                      <a:pt x="294" y="306"/>
                    </a:lnTo>
                    <a:lnTo>
                      <a:pt x="288" y="302"/>
                    </a:lnTo>
                    <a:lnTo>
                      <a:pt x="280" y="296"/>
                    </a:lnTo>
                    <a:lnTo>
                      <a:pt x="272" y="292"/>
                    </a:lnTo>
                    <a:lnTo>
                      <a:pt x="258" y="288"/>
                    </a:lnTo>
                    <a:lnTo>
                      <a:pt x="254" y="286"/>
                    </a:lnTo>
                    <a:lnTo>
                      <a:pt x="256" y="284"/>
                    </a:lnTo>
                    <a:lnTo>
                      <a:pt x="256" y="284"/>
                    </a:lnTo>
                    <a:lnTo>
                      <a:pt x="258" y="282"/>
                    </a:lnTo>
                    <a:lnTo>
                      <a:pt x="258" y="282"/>
                    </a:lnTo>
                    <a:lnTo>
                      <a:pt x="256" y="278"/>
                    </a:lnTo>
                    <a:lnTo>
                      <a:pt x="254" y="276"/>
                    </a:lnTo>
                    <a:lnTo>
                      <a:pt x="252" y="272"/>
                    </a:lnTo>
                    <a:lnTo>
                      <a:pt x="252" y="266"/>
                    </a:lnTo>
                    <a:lnTo>
                      <a:pt x="254" y="258"/>
                    </a:lnTo>
                    <a:lnTo>
                      <a:pt x="254" y="258"/>
                    </a:lnTo>
                    <a:lnTo>
                      <a:pt x="254" y="254"/>
                    </a:lnTo>
                    <a:lnTo>
                      <a:pt x="254" y="250"/>
                    </a:lnTo>
                    <a:lnTo>
                      <a:pt x="252" y="242"/>
                    </a:lnTo>
                    <a:lnTo>
                      <a:pt x="248" y="230"/>
                    </a:lnTo>
                    <a:lnTo>
                      <a:pt x="248" y="224"/>
                    </a:lnTo>
                    <a:lnTo>
                      <a:pt x="250" y="218"/>
                    </a:lnTo>
                    <a:lnTo>
                      <a:pt x="250" y="218"/>
                    </a:lnTo>
                    <a:lnTo>
                      <a:pt x="250" y="208"/>
                    </a:lnTo>
                    <a:lnTo>
                      <a:pt x="250" y="204"/>
                    </a:lnTo>
                    <a:lnTo>
                      <a:pt x="250" y="198"/>
                    </a:lnTo>
                    <a:lnTo>
                      <a:pt x="252" y="188"/>
                    </a:lnTo>
                    <a:lnTo>
                      <a:pt x="252" y="188"/>
                    </a:lnTo>
                    <a:lnTo>
                      <a:pt x="254" y="186"/>
                    </a:lnTo>
                    <a:lnTo>
                      <a:pt x="258" y="182"/>
                    </a:lnTo>
                    <a:lnTo>
                      <a:pt x="258" y="182"/>
                    </a:lnTo>
                    <a:lnTo>
                      <a:pt x="260" y="180"/>
                    </a:lnTo>
                    <a:lnTo>
                      <a:pt x="262" y="178"/>
                    </a:lnTo>
                    <a:lnTo>
                      <a:pt x="264" y="172"/>
                    </a:lnTo>
                    <a:lnTo>
                      <a:pt x="272" y="158"/>
                    </a:lnTo>
                    <a:lnTo>
                      <a:pt x="272" y="158"/>
                    </a:lnTo>
                    <a:lnTo>
                      <a:pt x="278" y="152"/>
                    </a:lnTo>
                    <a:lnTo>
                      <a:pt x="280" y="152"/>
                    </a:lnTo>
                    <a:lnTo>
                      <a:pt x="282" y="152"/>
                    </a:lnTo>
                    <a:lnTo>
                      <a:pt x="284" y="150"/>
                    </a:lnTo>
                    <a:lnTo>
                      <a:pt x="284" y="150"/>
                    </a:lnTo>
                    <a:lnTo>
                      <a:pt x="284" y="146"/>
                    </a:lnTo>
                    <a:lnTo>
                      <a:pt x="282" y="146"/>
                    </a:lnTo>
                    <a:lnTo>
                      <a:pt x="282" y="144"/>
                    </a:lnTo>
                    <a:lnTo>
                      <a:pt x="282" y="142"/>
                    </a:lnTo>
                    <a:lnTo>
                      <a:pt x="282" y="142"/>
                    </a:lnTo>
                    <a:lnTo>
                      <a:pt x="284" y="140"/>
                    </a:lnTo>
                    <a:lnTo>
                      <a:pt x="286" y="140"/>
                    </a:lnTo>
                    <a:lnTo>
                      <a:pt x="290" y="138"/>
                    </a:lnTo>
                    <a:lnTo>
                      <a:pt x="292" y="136"/>
                    </a:lnTo>
                    <a:lnTo>
                      <a:pt x="292" y="136"/>
                    </a:lnTo>
                    <a:lnTo>
                      <a:pt x="296" y="130"/>
                    </a:lnTo>
                    <a:lnTo>
                      <a:pt x="300" y="130"/>
                    </a:lnTo>
                    <a:lnTo>
                      <a:pt x="304" y="128"/>
                    </a:lnTo>
                    <a:lnTo>
                      <a:pt x="308" y="122"/>
                    </a:lnTo>
                    <a:lnTo>
                      <a:pt x="308" y="122"/>
                    </a:lnTo>
                    <a:lnTo>
                      <a:pt x="314" y="112"/>
                    </a:lnTo>
                    <a:lnTo>
                      <a:pt x="312" y="108"/>
                    </a:lnTo>
                    <a:lnTo>
                      <a:pt x="310" y="106"/>
                    </a:lnTo>
                    <a:lnTo>
                      <a:pt x="310" y="104"/>
                    </a:lnTo>
                    <a:lnTo>
                      <a:pt x="310" y="104"/>
                    </a:lnTo>
                    <a:lnTo>
                      <a:pt x="310" y="98"/>
                    </a:lnTo>
                    <a:lnTo>
                      <a:pt x="308" y="92"/>
                    </a:lnTo>
                    <a:lnTo>
                      <a:pt x="306" y="90"/>
                    </a:lnTo>
                    <a:lnTo>
                      <a:pt x="304" y="88"/>
                    </a:lnTo>
                    <a:lnTo>
                      <a:pt x="300" y="88"/>
                    </a:lnTo>
                    <a:lnTo>
                      <a:pt x="294" y="90"/>
                    </a:lnTo>
                    <a:lnTo>
                      <a:pt x="294" y="90"/>
                    </a:lnTo>
                    <a:lnTo>
                      <a:pt x="294" y="96"/>
                    </a:lnTo>
                    <a:lnTo>
                      <a:pt x="292" y="100"/>
                    </a:lnTo>
                    <a:lnTo>
                      <a:pt x="292" y="100"/>
                    </a:lnTo>
                    <a:lnTo>
                      <a:pt x="292" y="104"/>
                    </a:lnTo>
                    <a:lnTo>
                      <a:pt x="290" y="106"/>
                    </a:lnTo>
                    <a:lnTo>
                      <a:pt x="288" y="108"/>
                    </a:lnTo>
                    <a:lnTo>
                      <a:pt x="286" y="110"/>
                    </a:lnTo>
                    <a:lnTo>
                      <a:pt x="286" y="110"/>
                    </a:lnTo>
                    <a:lnTo>
                      <a:pt x="284" y="116"/>
                    </a:lnTo>
                    <a:lnTo>
                      <a:pt x="280" y="120"/>
                    </a:lnTo>
                    <a:lnTo>
                      <a:pt x="280" y="120"/>
                    </a:lnTo>
                    <a:lnTo>
                      <a:pt x="276" y="126"/>
                    </a:lnTo>
                    <a:lnTo>
                      <a:pt x="272" y="126"/>
                    </a:lnTo>
                    <a:lnTo>
                      <a:pt x="268" y="124"/>
                    </a:lnTo>
                    <a:lnTo>
                      <a:pt x="264" y="126"/>
                    </a:lnTo>
                    <a:lnTo>
                      <a:pt x="264" y="126"/>
                    </a:lnTo>
                    <a:lnTo>
                      <a:pt x="260" y="128"/>
                    </a:lnTo>
                    <a:lnTo>
                      <a:pt x="258" y="128"/>
                    </a:lnTo>
                    <a:lnTo>
                      <a:pt x="256" y="128"/>
                    </a:lnTo>
                    <a:lnTo>
                      <a:pt x="252" y="130"/>
                    </a:lnTo>
                    <a:lnTo>
                      <a:pt x="252" y="130"/>
                    </a:lnTo>
                    <a:lnTo>
                      <a:pt x="250" y="130"/>
                    </a:lnTo>
                    <a:lnTo>
                      <a:pt x="248" y="128"/>
                    </a:lnTo>
                    <a:lnTo>
                      <a:pt x="240" y="126"/>
                    </a:lnTo>
                    <a:lnTo>
                      <a:pt x="230" y="122"/>
                    </a:lnTo>
                    <a:lnTo>
                      <a:pt x="226" y="120"/>
                    </a:lnTo>
                    <a:lnTo>
                      <a:pt x="218" y="122"/>
                    </a:lnTo>
                    <a:lnTo>
                      <a:pt x="218" y="122"/>
                    </a:lnTo>
                    <a:lnTo>
                      <a:pt x="214" y="120"/>
                    </a:lnTo>
                    <a:lnTo>
                      <a:pt x="214" y="118"/>
                    </a:lnTo>
                    <a:lnTo>
                      <a:pt x="218" y="108"/>
                    </a:lnTo>
                    <a:lnTo>
                      <a:pt x="218" y="108"/>
                    </a:lnTo>
                    <a:lnTo>
                      <a:pt x="222" y="104"/>
                    </a:lnTo>
                    <a:lnTo>
                      <a:pt x="222" y="100"/>
                    </a:lnTo>
                    <a:lnTo>
                      <a:pt x="222" y="96"/>
                    </a:lnTo>
                    <a:lnTo>
                      <a:pt x="226" y="92"/>
                    </a:lnTo>
                    <a:lnTo>
                      <a:pt x="226" y="92"/>
                    </a:lnTo>
                    <a:lnTo>
                      <a:pt x="226" y="88"/>
                    </a:lnTo>
                    <a:lnTo>
                      <a:pt x="226" y="86"/>
                    </a:lnTo>
                    <a:lnTo>
                      <a:pt x="222" y="84"/>
                    </a:lnTo>
                    <a:lnTo>
                      <a:pt x="218" y="80"/>
                    </a:lnTo>
                    <a:lnTo>
                      <a:pt x="218" y="80"/>
                    </a:lnTo>
                    <a:lnTo>
                      <a:pt x="214" y="74"/>
                    </a:lnTo>
                    <a:lnTo>
                      <a:pt x="210" y="72"/>
                    </a:lnTo>
                    <a:lnTo>
                      <a:pt x="198" y="64"/>
                    </a:lnTo>
                    <a:lnTo>
                      <a:pt x="198" y="64"/>
                    </a:lnTo>
                    <a:lnTo>
                      <a:pt x="192" y="60"/>
                    </a:lnTo>
                    <a:lnTo>
                      <a:pt x="188" y="60"/>
                    </a:lnTo>
                    <a:lnTo>
                      <a:pt x="186" y="60"/>
                    </a:lnTo>
                    <a:lnTo>
                      <a:pt x="180" y="56"/>
                    </a:lnTo>
                    <a:lnTo>
                      <a:pt x="180" y="56"/>
                    </a:lnTo>
                    <a:lnTo>
                      <a:pt x="170" y="52"/>
                    </a:lnTo>
                    <a:lnTo>
                      <a:pt x="164" y="50"/>
                    </a:lnTo>
                    <a:lnTo>
                      <a:pt x="162" y="50"/>
                    </a:lnTo>
                    <a:lnTo>
                      <a:pt x="158" y="46"/>
                    </a:lnTo>
                    <a:lnTo>
                      <a:pt x="158" y="46"/>
                    </a:lnTo>
                    <a:lnTo>
                      <a:pt x="144" y="34"/>
                    </a:lnTo>
                    <a:lnTo>
                      <a:pt x="132" y="24"/>
                    </a:lnTo>
                    <a:lnTo>
                      <a:pt x="132" y="24"/>
                    </a:lnTo>
                    <a:lnTo>
                      <a:pt x="128" y="22"/>
                    </a:lnTo>
                    <a:lnTo>
                      <a:pt x="126" y="20"/>
                    </a:lnTo>
                    <a:lnTo>
                      <a:pt x="126" y="18"/>
                    </a:lnTo>
                    <a:lnTo>
                      <a:pt x="126" y="12"/>
                    </a:lnTo>
                    <a:lnTo>
                      <a:pt x="124" y="10"/>
                    </a:lnTo>
                    <a:lnTo>
                      <a:pt x="120" y="8"/>
                    </a:lnTo>
                    <a:lnTo>
                      <a:pt x="120" y="8"/>
                    </a:lnTo>
                    <a:lnTo>
                      <a:pt x="116" y="8"/>
                    </a:lnTo>
                    <a:lnTo>
                      <a:pt x="114" y="8"/>
                    </a:lnTo>
                    <a:lnTo>
                      <a:pt x="110" y="6"/>
                    </a:lnTo>
                    <a:lnTo>
                      <a:pt x="102" y="8"/>
                    </a:lnTo>
                    <a:lnTo>
                      <a:pt x="102" y="8"/>
                    </a:lnTo>
                    <a:lnTo>
                      <a:pt x="96" y="8"/>
                    </a:lnTo>
                    <a:lnTo>
                      <a:pt x="90" y="6"/>
                    </a:lnTo>
                    <a:lnTo>
                      <a:pt x="86" y="6"/>
                    </a:lnTo>
                    <a:lnTo>
                      <a:pt x="84" y="8"/>
                    </a:lnTo>
                    <a:lnTo>
                      <a:pt x="84" y="8"/>
                    </a:lnTo>
                    <a:lnTo>
                      <a:pt x="82" y="14"/>
                    </a:lnTo>
                    <a:lnTo>
                      <a:pt x="84" y="18"/>
                    </a:lnTo>
                    <a:lnTo>
                      <a:pt x="84" y="20"/>
                    </a:lnTo>
                    <a:lnTo>
                      <a:pt x="82" y="24"/>
                    </a:lnTo>
                    <a:lnTo>
                      <a:pt x="82" y="24"/>
                    </a:lnTo>
                    <a:lnTo>
                      <a:pt x="82" y="24"/>
                    </a:lnTo>
                    <a:lnTo>
                      <a:pt x="82" y="22"/>
                    </a:lnTo>
                    <a:lnTo>
                      <a:pt x="80" y="16"/>
                    </a:lnTo>
                    <a:lnTo>
                      <a:pt x="76" y="10"/>
                    </a:lnTo>
                    <a:lnTo>
                      <a:pt x="72" y="8"/>
                    </a:lnTo>
                    <a:lnTo>
                      <a:pt x="68" y="6"/>
                    </a:lnTo>
                    <a:lnTo>
                      <a:pt x="68" y="6"/>
                    </a:lnTo>
                    <a:lnTo>
                      <a:pt x="58" y="6"/>
                    </a:lnTo>
                    <a:lnTo>
                      <a:pt x="52" y="6"/>
                    </a:lnTo>
                    <a:lnTo>
                      <a:pt x="52" y="6"/>
                    </a:lnTo>
                    <a:lnTo>
                      <a:pt x="50" y="6"/>
                    </a:lnTo>
                    <a:lnTo>
                      <a:pt x="50" y="4"/>
                    </a:lnTo>
                    <a:lnTo>
                      <a:pt x="48" y="0"/>
                    </a:lnTo>
                    <a:lnTo>
                      <a:pt x="42" y="0"/>
                    </a:lnTo>
                    <a:lnTo>
                      <a:pt x="42" y="0"/>
                    </a:lnTo>
                    <a:lnTo>
                      <a:pt x="42" y="2"/>
                    </a:lnTo>
                    <a:lnTo>
                      <a:pt x="40" y="4"/>
                    </a:lnTo>
                    <a:lnTo>
                      <a:pt x="34" y="10"/>
                    </a:lnTo>
                    <a:lnTo>
                      <a:pt x="30" y="14"/>
                    </a:lnTo>
                    <a:lnTo>
                      <a:pt x="28" y="16"/>
                    </a:lnTo>
                    <a:lnTo>
                      <a:pt x="28" y="18"/>
                    </a:lnTo>
                    <a:lnTo>
                      <a:pt x="28" y="18"/>
                    </a:lnTo>
                    <a:lnTo>
                      <a:pt x="30" y="20"/>
                    </a:lnTo>
                    <a:lnTo>
                      <a:pt x="28" y="20"/>
                    </a:lnTo>
                    <a:lnTo>
                      <a:pt x="24" y="24"/>
                    </a:lnTo>
                    <a:lnTo>
                      <a:pt x="24" y="24"/>
                    </a:lnTo>
                    <a:lnTo>
                      <a:pt x="28" y="26"/>
                    </a:lnTo>
                    <a:lnTo>
                      <a:pt x="28" y="28"/>
                    </a:lnTo>
                    <a:lnTo>
                      <a:pt x="30" y="30"/>
                    </a:lnTo>
                    <a:lnTo>
                      <a:pt x="30" y="30"/>
                    </a:lnTo>
                    <a:lnTo>
                      <a:pt x="26" y="48"/>
                    </a:lnTo>
                    <a:lnTo>
                      <a:pt x="24" y="52"/>
                    </a:lnTo>
                    <a:lnTo>
                      <a:pt x="18" y="58"/>
                    </a:lnTo>
                    <a:lnTo>
                      <a:pt x="18" y="58"/>
                    </a:lnTo>
                    <a:lnTo>
                      <a:pt x="8" y="64"/>
                    </a:lnTo>
                    <a:lnTo>
                      <a:pt x="8" y="66"/>
                    </a:lnTo>
                    <a:lnTo>
                      <a:pt x="8" y="68"/>
                    </a:lnTo>
                    <a:lnTo>
                      <a:pt x="12" y="70"/>
                    </a:lnTo>
                    <a:lnTo>
                      <a:pt x="12" y="72"/>
                    </a:lnTo>
                    <a:lnTo>
                      <a:pt x="10" y="76"/>
                    </a:lnTo>
                    <a:lnTo>
                      <a:pt x="10" y="76"/>
                    </a:lnTo>
                    <a:lnTo>
                      <a:pt x="6" y="84"/>
                    </a:lnTo>
                    <a:lnTo>
                      <a:pt x="6" y="88"/>
                    </a:lnTo>
                    <a:lnTo>
                      <a:pt x="8" y="92"/>
                    </a:lnTo>
                    <a:lnTo>
                      <a:pt x="12" y="96"/>
                    </a:lnTo>
                    <a:lnTo>
                      <a:pt x="16" y="102"/>
                    </a:lnTo>
                    <a:lnTo>
                      <a:pt x="16" y="104"/>
                    </a:lnTo>
                    <a:lnTo>
                      <a:pt x="14" y="108"/>
                    </a:lnTo>
                    <a:lnTo>
                      <a:pt x="14" y="108"/>
                    </a:lnTo>
                    <a:lnTo>
                      <a:pt x="18" y="112"/>
                    </a:lnTo>
                    <a:lnTo>
                      <a:pt x="20" y="114"/>
                    </a:lnTo>
                    <a:lnTo>
                      <a:pt x="20" y="118"/>
                    </a:lnTo>
                    <a:lnTo>
                      <a:pt x="18" y="124"/>
                    </a:lnTo>
                    <a:lnTo>
                      <a:pt x="18" y="124"/>
                    </a:lnTo>
                    <a:lnTo>
                      <a:pt x="14" y="130"/>
                    </a:lnTo>
                    <a:lnTo>
                      <a:pt x="14" y="134"/>
                    </a:lnTo>
                    <a:lnTo>
                      <a:pt x="12" y="138"/>
                    </a:lnTo>
                    <a:lnTo>
                      <a:pt x="10" y="142"/>
                    </a:lnTo>
                    <a:lnTo>
                      <a:pt x="10" y="142"/>
                    </a:lnTo>
                    <a:lnTo>
                      <a:pt x="6" y="146"/>
                    </a:lnTo>
                    <a:lnTo>
                      <a:pt x="8" y="148"/>
                    </a:lnTo>
                    <a:lnTo>
                      <a:pt x="8" y="152"/>
                    </a:lnTo>
                    <a:lnTo>
                      <a:pt x="6" y="156"/>
                    </a:lnTo>
                    <a:lnTo>
                      <a:pt x="6" y="156"/>
                    </a:lnTo>
                    <a:lnTo>
                      <a:pt x="2" y="160"/>
                    </a:lnTo>
                    <a:lnTo>
                      <a:pt x="2" y="164"/>
                    </a:lnTo>
                    <a:lnTo>
                      <a:pt x="2" y="170"/>
                    </a:lnTo>
                    <a:lnTo>
                      <a:pt x="4" y="176"/>
                    </a:lnTo>
                    <a:lnTo>
                      <a:pt x="4" y="182"/>
                    </a:lnTo>
                    <a:lnTo>
                      <a:pt x="4" y="182"/>
                    </a:lnTo>
                    <a:lnTo>
                      <a:pt x="2" y="188"/>
                    </a:lnTo>
                    <a:lnTo>
                      <a:pt x="2" y="192"/>
                    </a:lnTo>
                    <a:lnTo>
                      <a:pt x="4" y="196"/>
                    </a:lnTo>
                    <a:lnTo>
                      <a:pt x="2" y="204"/>
                    </a:lnTo>
                    <a:lnTo>
                      <a:pt x="2" y="204"/>
                    </a:lnTo>
                    <a:lnTo>
                      <a:pt x="0" y="210"/>
                    </a:lnTo>
                    <a:lnTo>
                      <a:pt x="0" y="216"/>
                    </a:lnTo>
                    <a:lnTo>
                      <a:pt x="0" y="226"/>
                    </a:lnTo>
                    <a:lnTo>
                      <a:pt x="2" y="232"/>
                    </a:lnTo>
                    <a:lnTo>
                      <a:pt x="6" y="234"/>
                    </a:lnTo>
                    <a:lnTo>
                      <a:pt x="6" y="234"/>
                    </a:lnTo>
                    <a:lnTo>
                      <a:pt x="8" y="234"/>
                    </a:lnTo>
                    <a:lnTo>
                      <a:pt x="10" y="236"/>
                    </a:lnTo>
                    <a:lnTo>
                      <a:pt x="12" y="240"/>
                    </a:lnTo>
                    <a:lnTo>
                      <a:pt x="10" y="244"/>
                    </a:lnTo>
                    <a:lnTo>
                      <a:pt x="10" y="244"/>
                    </a:lnTo>
                    <a:lnTo>
                      <a:pt x="8" y="246"/>
                    </a:lnTo>
                    <a:lnTo>
                      <a:pt x="10" y="250"/>
                    </a:lnTo>
                    <a:lnTo>
                      <a:pt x="14" y="254"/>
                    </a:lnTo>
                    <a:lnTo>
                      <a:pt x="20" y="260"/>
                    </a:lnTo>
                    <a:lnTo>
                      <a:pt x="22" y="264"/>
                    </a:lnTo>
                    <a:lnTo>
                      <a:pt x="22" y="268"/>
                    </a:lnTo>
                    <a:lnTo>
                      <a:pt x="22" y="268"/>
                    </a:lnTo>
                    <a:lnTo>
                      <a:pt x="22" y="276"/>
                    </a:lnTo>
                    <a:lnTo>
                      <a:pt x="24" y="276"/>
                    </a:lnTo>
                    <a:lnTo>
                      <a:pt x="26" y="274"/>
                    </a:lnTo>
                    <a:lnTo>
                      <a:pt x="26" y="274"/>
                    </a:lnTo>
                    <a:lnTo>
                      <a:pt x="30" y="274"/>
                    </a:lnTo>
                    <a:lnTo>
                      <a:pt x="32" y="274"/>
                    </a:lnTo>
                    <a:lnTo>
                      <a:pt x="32" y="276"/>
                    </a:lnTo>
                    <a:lnTo>
                      <a:pt x="32" y="282"/>
                    </a:lnTo>
                    <a:lnTo>
                      <a:pt x="32" y="282"/>
                    </a:lnTo>
                    <a:lnTo>
                      <a:pt x="30" y="288"/>
                    </a:lnTo>
                    <a:lnTo>
                      <a:pt x="32" y="292"/>
                    </a:lnTo>
                    <a:lnTo>
                      <a:pt x="34" y="296"/>
                    </a:lnTo>
                    <a:lnTo>
                      <a:pt x="30" y="302"/>
                    </a:lnTo>
                    <a:lnTo>
                      <a:pt x="30" y="302"/>
                    </a:lnTo>
                    <a:lnTo>
                      <a:pt x="34" y="306"/>
                    </a:lnTo>
                    <a:lnTo>
                      <a:pt x="36" y="310"/>
                    </a:lnTo>
                    <a:lnTo>
                      <a:pt x="34" y="316"/>
                    </a:lnTo>
                    <a:lnTo>
                      <a:pt x="28" y="322"/>
                    </a:lnTo>
                    <a:lnTo>
                      <a:pt x="28" y="322"/>
                    </a:lnTo>
                    <a:lnTo>
                      <a:pt x="24" y="330"/>
                    </a:lnTo>
                    <a:lnTo>
                      <a:pt x="22" y="336"/>
                    </a:lnTo>
                    <a:lnTo>
                      <a:pt x="24" y="342"/>
                    </a:lnTo>
                    <a:lnTo>
                      <a:pt x="24" y="352"/>
                    </a:lnTo>
                    <a:lnTo>
                      <a:pt x="24" y="352"/>
                    </a:lnTo>
                    <a:lnTo>
                      <a:pt x="26" y="356"/>
                    </a:lnTo>
                    <a:lnTo>
                      <a:pt x="28" y="360"/>
                    </a:lnTo>
                    <a:lnTo>
                      <a:pt x="32" y="366"/>
                    </a:lnTo>
                    <a:lnTo>
                      <a:pt x="38" y="372"/>
                    </a:lnTo>
                    <a:lnTo>
                      <a:pt x="38" y="376"/>
                    </a:lnTo>
                    <a:lnTo>
                      <a:pt x="38" y="380"/>
                    </a:lnTo>
                    <a:lnTo>
                      <a:pt x="38" y="380"/>
                    </a:lnTo>
                    <a:lnTo>
                      <a:pt x="36" y="382"/>
                    </a:lnTo>
                    <a:lnTo>
                      <a:pt x="32" y="384"/>
                    </a:lnTo>
                    <a:lnTo>
                      <a:pt x="32" y="384"/>
                    </a:lnTo>
                    <a:lnTo>
                      <a:pt x="34" y="390"/>
                    </a:lnTo>
                    <a:lnTo>
                      <a:pt x="34" y="390"/>
                    </a:lnTo>
                    <a:lnTo>
                      <a:pt x="36" y="394"/>
                    </a:lnTo>
                    <a:lnTo>
                      <a:pt x="34" y="396"/>
                    </a:lnTo>
                    <a:lnTo>
                      <a:pt x="30" y="400"/>
                    </a:lnTo>
                    <a:lnTo>
                      <a:pt x="30" y="400"/>
                    </a:lnTo>
                    <a:lnTo>
                      <a:pt x="32" y="404"/>
                    </a:lnTo>
                    <a:lnTo>
                      <a:pt x="32" y="404"/>
                    </a:lnTo>
                    <a:lnTo>
                      <a:pt x="32" y="406"/>
                    </a:lnTo>
                    <a:lnTo>
                      <a:pt x="30" y="408"/>
                    </a:lnTo>
                    <a:lnTo>
                      <a:pt x="30" y="410"/>
                    </a:lnTo>
                    <a:lnTo>
                      <a:pt x="32" y="414"/>
                    </a:lnTo>
                    <a:lnTo>
                      <a:pt x="32" y="414"/>
                    </a:lnTo>
                    <a:lnTo>
                      <a:pt x="32" y="422"/>
                    </a:lnTo>
                    <a:lnTo>
                      <a:pt x="34" y="430"/>
                    </a:lnTo>
                    <a:lnTo>
                      <a:pt x="40" y="440"/>
                    </a:lnTo>
                    <a:lnTo>
                      <a:pt x="44" y="446"/>
                    </a:lnTo>
                    <a:lnTo>
                      <a:pt x="44" y="448"/>
                    </a:lnTo>
                    <a:lnTo>
                      <a:pt x="42" y="450"/>
                    </a:lnTo>
                    <a:lnTo>
                      <a:pt x="42" y="450"/>
                    </a:lnTo>
                    <a:lnTo>
                      <a:pt x="38" y="452"/>
                    </a:lnTo>
                    <a:lnTo>
                      <a:pt x="40" y="454"/>
                    </a:lnTo>
                    <a:lnTo>
                      <a:pt x="42" y="456"/>
                    </a:lnTo>
                    <a:lnTo>
                      <a:pt x="42" y="460"/>
                    </a:lnTo>
                    <a:lnTo>
                      <a:pt x="42" y="460"/>
                    </a:lnTo>
                    <a:lnTo>
                      <a:pt x="42" y="462"/>
                    </a:lnTo>
                    <a:lnTo>
                      <a:pt x="42" y="464"/>
                    </a:lnTo>
                    <a:lnTo>
                      <a:pt x="46" y="466"/>
                    </a:lnTo>
                    <a:lnTo>
                      <a:pt x="48" y="466"/>
                    </a:lnTo>
                    <a:lnTo>
                      <a:pt x="48" y="470"/>
                    </a:lnTo>
                    <a:lnTo>
                      <a:pt x="48" y="470"/>
                    </a:lnTo>
                    <a:lnTo>
                      <a:pt x="46" y="470"/>
                    </a:lnTo>
                    <a:lnTo>
                      <a:pt x="48" y="472"/>
                    </a:lnTo>
                    <a:lnTo>
                      <a:pt x="50" y="474"/>
                    </a:lnTo>
                    <a:lnTo>
                      <a:pt x="54" y="476"/>
                    </a:lnTo>
                    <a:lnTo>
                      <a:pt x="54" y="478"/>
                    </a:lnTo>
                    <a:lnTo>
                      <a:pt x="52" y="482"/>
                    </a:lnTo>
                    <a:lnTo>
                      <a:pt x="52" y="482"/>
                    </a:lnTo>
                    <a:lnTo>
                      <a:pt x="50" y="486"/>
                    </a:lnTo>
                    <a:lnTo>
                      <a:pt x="50" y="488"/>
                    </a:lnTo>
                    <a:lnTo>
                      <a:pt x="52" y="490"/>
                    </a:lnTo>
                    <a:lnTo>
                      <a:pt x="54" y="488"/>
                    </a:lnTo>
                    <a:lnTo>
                      <a:pt x="54" y="488"/>
                    </a:lnTo>
                    <a:lnTo>
                      <a:pt x="58" y="486"/>
                    </a:lnTo>
                    <a:lnTo>
                      <a:pt x="60" y="486"/>
                    </a:lnTo>
                    <a:lnTo>
                      <a:pt x="62" y="490"/>
                    </a:lnTo>
                    <a:lnTo>
                      <a:pt x="60" y="494"/>
                    </a:lnTo>
                    <a:lnTo>
                      <a:pt x="60" y="494"/>
                    </a:lnTo>
                    <a:lnTo>
                      <a:pt x="58" y="498"/>
                    </a:lnTo>
                    <a:lnTo>
                      <a:pt x="54" y="498"/>
                    </a:lnTo>
                    <a:lnTo>
                      <a:pt x="54" y="500"/>
                    </a:lnTo>
                    <a:lnTo>
                      <a:pt x="54" y="504"/>
                    </a:lnTo>
                    <a:lnTo>
                      <a:pt x="54" y="504"/>
                    </a:lnTo>
                    <a:lnTo>
                      <a:pt x="60" y="508"/>
                    </a:lnTo>
                    <a:lnTo>
                      <a:pt x="66" y="512"/>
                    </a:lnTo>
                    <a:lnTo>
                      <a:pt x="70" y="514"/>
                    </a:lnTo>
                    <a:lnTo>
                      <a:pt x="70" y="516"/>
                    </a:lnTo>
                    <a:lnTo>
                      <a:pt x="68" y="518"/>
                    </a:lnTo>
                    <a:lnTo>
                      <a:pt x="68" y="518"/>
                    </a:lnTo>
                    <a:lnTo>
                      <a:pt x="66" y="520"/>
                    </a:lnTo>
                    <a:lnTo>
                      <a:pt x="66" y="522"/>
                    </a:lnTo>
                    <a:lnTo>
                      <a:pt x="66" y="524"/>
                    </a:lnTo>
                    <a:lnTo>
                      <a:pt x="64" y="528"/>
                    </a:lnTo>
                    <a:lnTo>
                      <a:pt x="64" y="528"/>
                    </a:lnTo>
                    <a:lnTo>
                      <a:pt x="64" y="528"/>
                    </a:lnTo>
                    <a:lnTo>
                      <a:pt x="64" y="530"/>
                    </a:lnTo>
                    <a:lnTo>
                      <a:pt x="68" y="532"/>
                    </a:lnTo>
                    <a:lnTo>
                      <a:pt x="74" y="536"/>
                    </a:lnTo>
                    <a:lnTo>
                      <a:pt x="74" y="540"/>
                    </a:lnTo>
                    <a:lnTo>
                      <a:pt x="74" y="544"/>
                    </a:lnTo>
                    <a:lnTo>
                      <a:pt x="74" y="544"/>
                    </a:lnTo>
                    <a:lnTo>
                      <a:pt x="72" y="550"/>
                    </a:lnTo>
                    <a:lnTo>
                      <a:pt x="72" y="556"/>
                    </a:lnTo>
                    <a:lnTo>
                      <a:pt x="76" y="562"/>
                    </a:lnTo>
                    <a:lnTo>
                      <a:pt x="78" y="568"/>
                    </a:lnTo>
                    <a:lnTo>
                      <a:pt x="78" y="570"/>
                    </a:lnTo>
                    <a:lnTo>
                      <a:pt x="78" y="572"/>
                    </a:lnTo>
                    <a:lnTo>
                      <a:pt x="78" y="572"/>
                    </a:lnTo>
                    <a:lnTo>
                      <a:pt x="74" y="576"/>
                    </a:lnTo>
                    <a:lnTo>
                      <a:pt x="76" y="576"/>
                    </a:lnTo>
                    <a:lnTo>
                      <a:pt x="76" y="578"/>
                    </a:lnTo>
                    <a:lnTo>
                      <a:pt x="74" y="582"/>
                    </a:lnTo>
                    <a:lnTo>
                      <a:pt x="74" y="582"/>
                    </a:lnTo>
                    <a:lnTo>
                      <a:pt x="74" y="584"/>
                    </a:lnTo>
                    <a:lnTo>
                      <a:pt x="74" y="588"/>
                    </a:lnTo>
                    <a:lnTo>
                      <a:pt x="78" y="590"/>
                    </a:lnTo>
                    <a:lnTo>
                      <a:pt x="82" y="594"/>
                    </a:lnTo>
                    <a:lnTo>
                      <a:pt x="82" y="596"/>
                    </a:lnTo>
                    <a:lnTo>
                      <a:pt x="80" y="598"/>
                    </a:lnTo>
                    <a:lnTo>
                      <a:pt x="80" y="598"/>
                    </a:lnTo>
                    <a:lnTo>
                      <a:pt x="80" y="604"/>
                    </a:lnTo>
                    <a:lnTo>
                      <a:pt x="82" y="608"/>
                    </a:lnTo>
                    <a:lnTo>
                      <a:pt x="84" y="610"/>
                    </a:lnTo>
                    <a:lnTo>
                      <a:pt x="84" y="614"/>
                    </a:lnTo>
                    <a:lnTo>
                      <a:pt x="84" y="614"/>
                    </a:lnTo>
                    <a:lnTo>
                      <a:pt x="82" y="620"/>
                    </a:lnTo>
                    <a:lnTo>
                      <a:pt x="82" y="626"/>
                    </a:lnTo>
                    <a:lnTo>
                      <a:pt x="86" y="634"/>
                    </a:lnTo>
                    <a:lnTo>
                      <a:pt x="88" y="638"/>
                    </a:lnTo>
                    <a:lnTo>
                      <a:pt x="88" y="638"/>
                    </a:lnTo>
                    <a:lnTo>
                      <a:pt x="90" y="636"/>
                    </a:lnTo>
                    <a:lnTo>
                      <a:pt x="94" y="634"/>
                    </a:lnTo>
                    <a:lnTo>
                      <a:pt x="98" y="630"/>
                    </a:lnTo>
                    <a:lnTo>
                      <a:pt x="102" y="630"/>
                    </a:lnTo>
                    <a:lnTo>
                      <a:pt x="102" y="630"/>
                    </a:lnTo>
                    <a:lnTo>
                      <a:pt x="106" y="634"/>
                    </a:lnTo>
                    <a:lnTo>
                      <a:pt x="106" y="638"/>
                    </a:lnTo>
                    <a:lnTo>
                      <a:pt x="104" y="640"/>
                    </a:lnTo>
                    <a:lnTo>
                      <a:pt x="106" y="644"/>
                    </a:lnTo>
                    <a:lnTo>
                      <a:pt x="106" y="644"/>
                    </a:lnTo>
                    <a:lnTo>
                      <a:pt x="108" y="648"/>
                    </a:lnTo>
                    <a:lnTo>
                      <a:pt x="108" y="650"/>
                    </a:lnTo>
                    <a:lnTo>
                      <a:pt x="110" y="652"/>
                    </a:lnTo>
                    <a:lnTo>
                      <a:pt x="116" y="652"/>
                    </a:lnTo>
                    <a:lnTo>
                      <a:pt x="116" y="652"/>
                    </a:lnTo>
                    <a:lnTo>
                      <a:pt x="120" y="654"/>
                    </a:lnTo>
                    <a:lnTo>
                      <a:pt x="124" y="656"/>
                    </a:lnTo>
                    <a:lnTo>
                      <a:pt x="124" y="658"/>
                    </a:lnTo>
                    <a:lnTo>
                      <a:pt x="158" y="658"/>
                    </a:lnTo>
                    <a:lnTo>
                      <a:pt x="158" y="658"/>
                    </a:lnTo>
                    <a:lnTo>
                      <a:pt x="162" y="660"/>
                    </a:lnTo>
                    <a:lnTo>
                      <a:pt x="166" y="658"/>
                    </a:lnTo>
                    <a:lnTo>
                      <a:pt x="172" y="660"/>
                    </a:lnTo>
                    <a:lnTo>
                      <a:pt x="184" y="664"/>
                    </a:lnTo>
                    <a:lnTo>
                      <a:pt x="184" y="664"/>
                    </a:lnTo>
                    <a:close/>
                  </a:path>
                </a:pathLst>
              </a:custGeom>
              <a:solidFill>
                <a:schemeClr val="accent1"/>
              </a:solid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504" name="Freeform 67"/>
            <p:cNvSpPr>
              <a:spLocks/>
            </p:cNvSpPr>
            <p:nvPr/>
          </p:nvSpPr>
          <p:spPr bwMode="auto">
            <a:xfrm>
              <a:off x="9186605" y="2905322"/>
              <a:ext cx="82017" cy="72836"/>
            </a:xfrm>
            <a:custGeom>
              <a:avLst/>
              <a:gdLst/>
              <a:ahLst/>
              <a:cxnLst>
                <a:cxn ang="0">
                  <a:pos x="14" y="8"/>
                </a:cxn>
                <a:cxn ang="0">
                  <a:pos x="22" y="6"/>
                </a:cxn>
                <a:cxn ang="0">
                  <a:pos x="24" y="4"/>
                </a:cxn>
                <a:cxn ang="0">
                  <a:pos x="28" y="2"/>
                </a:cxn>
                <a:cxn ang="0">
                  <a:pos x="38" y="2"/>
                </a:cxn>
                <a:cxn ang="0">
                  <a:pos x="44" y="0"/>
                </a:cxn>
                <a:cxn ang="0">
                  <a:pos x="46" y="2"/>
                </a:cxn>
                <a:cxn ang="0">
                  <a:pos x="48" y="2"/>
                </a:cxn>
                <a:cxn ang="0">
                  <a:pos x="50" y="2"/>
                </a:cxn>
                <a:cxn ang="0">
                  <a:pos x="54" y="8"/>
                </a:cxn>
                <a:cxn ang="0">
                  <a:pos x="52" y="12"/>
                </a:cxn>
                <a:cxn ang="0">
                  <a:pos x="50" y="14"/>
                </a:cxn>
                <a:cxn ang="0">
                  <a:pos x="46" y="20"/>
                </a:cxn>
                <a:cxn ang="0">
                  <a:pos x="46" y="22"/>
                </a:cxn>
                <a:cxn ang="0">
                  <a:pos x="46" y="30"/>
                </a:cxn>
                <a:cxn ang="0">
                  <a:pos x="42" y="34"/>
                </a:cxn>
                <a:cxn ang="0">
                  <a:pos x="40" y="40"/>
                </a:cxn>
                <a:cxn ang="0">
                  <a:pos x="34" y="44"/>
                </a:cxn>
                <a:cxn ang="0">
                  <a:pos x="28" y="44"/>
                </a:cxn>
                <a:cxn ang="0">
                  <a:pos x="24" y="46"/>
                </a:cxn>
                <a:cxn ang="0">
                  <a:pos x="22" y="48"/>
                </a:cxn>
                <a:cxn ang="0">
                  <a:pos x="18" y="46"/>
                </a:cxn>
                <a:cxn ang="0">
                  <a:pos x="12" y="42"/>
                </a:cxn>
                <a:cxn ang="0">
                  <a:pos x="6" y="36"/>
                </a:cxn>
                <a:cxn ang="0">
                  <a:pos x="2" y="30"/>
                </a:cxn>
                <a:cxn ang="0">
                  <a:pos x="2" y="26"/>
                </a:cxn>
                <a:cxn ang="0">
                  <a:pos x="0" y="22"/>
                </a:cxn>
                <a:cxn ang="0">
                  <a:pos x="2" y="18"/>
                </a:cxn>
                <a:cxn ang="0">
                  <a:pos x="12" y="10"/>
                </a:cxn>
                <a:cxn ang="0">
                  <a:pos x="14" y="10"/>
                </a:cxn>
                <a:cxn ang="0">
                  <a:pos x="12" y="8"/>
                </a:cxn>
                <a:cxn ang="0">
                  <a:pos x="14" y="8"/>
                </a:cxn>
              </a:cxnLst>
              <a:rect l="0" t="0" r="r" b="b"/>
              <a:pathLst>
                <a:path w="54" h="48">
                  <a:moveTo>
                    <a:pt x="14" y="8"/>
                  </a:moveTo>
                  <a:lnTo>
                    <a:pt x="14" y="8"/>
                  </a:lnTo>
                  <a:lnTo>
                    <a:pt x="18" y="6"/>
                  </a:lnTo>
                  <a:lnTo>
                    <a:pt x="22" y="6"/>
                  </a:lnTo>
                  <a:lnTo>
                    <a:pt x="22" y="6"/>
                  </a:lnTo>
                  <a:lnTo>
                    <a:pt x="24" y="4"/>
                  </a:lnTo>
                  <a:lnTo>
                    <a:pt x="28" y="2"/>
                  </a:lnTo>
                  <a:lnTo>
                    <a:pt x="28" y="2"/>
                  </a:lnTo>
                  <a:lnTo>
                    <a:pt x="38" y="2"/>
                  </a:lnTo>
                  <a:lnTo>
                    <a:pt x="38" y="2"/>
                  </a:lnTo>
                  <a:lnTo>
                    <a:pt x="42" y="0"/>
                  </a:lnTo>
                  <a:lnTo>
                    <a:pt x="44" y="0"/>
                  </a:lnTo>
                  <a:lnTo>
                    <a:pt x="46" y="2"/>
                  </a:lnTo>
                  <a:lnTo>
                    <a:pt x="46" y="2"/>
                  </a:lnTo>
                  <a:lnTo>
                    <a:pt x="46" y="2"/>
                  </a:lnTo>
                  <a:lnTo>
                    <a:pt x="48" y="2"/>
                  </a:lnTo>
                  <a:lnTo>
                    <a:pt x="50" y="0"/>
                  </a:lnTo>
                  <a:lnTo>
                    <a:pt x="50" y="2"/>
                  </a:lnTo>
                  <a:lnTo>
                    <a:pt x="50" y="2"/>
                  </a:lnTo>
                  <a:lnTo>
                    <a:pt x="54" y="8"/>
                  </a:lnTo>
                  <a:lnTo>
                    <a:pt x="54" y="10"/>
                  </a:lnTo>
                  <a:lnTo>
                    <a:pt x="52" y="12"/>
                  </a:lnTo>
                  <a:lnTo>
                    <a:pt x="52" y="12"/>
                  </a:lnTo>
                  <a:lnTo>
                    <a:pt x="50" y="14"/>
                  </a:lnTo>
                  <a:lnTo>
                    <a:pt x="48" y="16"/>
                  </a:lnTo>
                  <a:lnTo>
                    <a:pt x="46" y="20"/>
                  </a:lnTo>
                  <a:lnTo>
                    <a:pt x="46" y="20"/>
                  </a:lnTo>
                  <a:lnTo>
                    <a:pt x="46" y="22"/>
                  </a:lnTo>
                  <a:lnTo>
                    <a:pt x="46" y="24"/>
                  </a:lnTo>
                  <a:lnTo>
                    <a:pt x="46" y="30"/>
                  </a:lnTo>
                  <a:lnTo>
                    <a:pt x="46" y="30"/>
                  </a:lnTo>
                  <a:lnTo>
                    <a:pt x="42" y="34"/>
                  </a:lnTo>
                  <a:lnTo>
                    <a:pt x="40" y="40"/>
                  </a:lnTo>
                  <a:lnTo>
                    <a:pt x="40" y="40"/>
                  </a:lnTo>
                  <a:lnTo>
                    <a:pt x="36" y="42"/>
                  </a:lnTo>
                  <a:lnTo>
                    <a:pt x="34" y="44"/>
                  </a:lnTo>
                  <a:lnTo>
                    <a:pt x="28" y="44"/>
                  </a:lnTo>
                  <a:lnTo>
                    <a:pt x="28" y="44"/>
                  </a:lnTo>
                  <a:lnTo>
                    <a:pt x="26" y="44"/>
                  </a:lnTo>
                  <a:lnTo>
                    <a:pt x="24" y="46"/>
                  </a:lnTo>
                  <a:lnTo>
                    <a:pt x="24" y="46"/>
                  </a:lnTo>
                  <a:lnTo>
                    <a:pt x="22" y="48"/>
                  </a:lnTo>
                  <a:lnTo>
                    <a:pt x="18" y="46"/>
                  </a:lnTo>
                  <a:lnTo>
                    <a:pt x="18" y="46"/>
                  </a:lnTo>
                  <a:lnTo>
                    <a:pt x="16" y="44"/>
                  </a:lnTo>
                  <a:lnTo>
                    <a:pt x="12" y="42"/>
                  </a:lnTo>
                  <a:lnTo>
                    <a:pt x="12" y="42"/>
                  </a:lnTo>
                  <a:lnTo>
                    <a:pt x="6" y="36"/>
                  </a:lnTo>
                  <a:lnTo>
                    <a:pt x="2" y="34"/>
                  </a:lnTo>
                  <a:lnTo>
                    <a:pt x="2" y="30"/>
                  </a:lnTo>
                  <a:lnTo>
                    <a:pt x="2" y="30"/>
                  </a:lnTo>
                  <a:lnTo>
                    <a:pt x="2" y="26"/>
                  </a:lnTo>
                  <a:lnTo>
                    <a:pt x="2" y="24"/>
                  </a:lnTo>
                  <a:lnTo>
                    <a:pt x="0" y="22"/>
                  </a:lnTo>
                  <a:lnTo>
                    <a:pt x="2" y="18"/>
                  </a:lnTo>
                  <a:lnTo>
                    <a:pt x="2" y="18"/>
                  </a:lnTo>
                  <a:lnTo>
                    <a:pt x="8" y="12"/>
                  </a:lnTo>
                  <a:lnTo>
                    <a:pt x="12" y="10"/>
                  </a:lnTo>
                  <a:lnTo>
                    <a:pt x="12" y="10"/>
                  </a:lnTo>
                  <a:lnTo>
                    <a:pt x="14" y="10"/>
                  </a:lnTo>
                  <a:lnTo>
                    <a:pt x="14" y="10"/>
                  </a:lnTo>
                  <a:lnTo>
                    <a:pt x="12" y="8"/>
                  </a:lnTo>
                  <a:lnTo>
                    <a:pt x="14" y="8"/>
                  </a:lnTo>
                  <a:lnTo>
                    <a:pt x="14" y="8"/>
                  </a:lnTo>
                  <a:close/>
                </a:path>
              </a:pathLst>
            </a:custGeom>
            <a:solidFill>
              <a:schemeClr val="accent1"/>
            </a:solid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graphicFrame>
        <p:nvGraphicFramePr>
          <p:cNvPr id="55" name="Table 54"/>
          <p:cNvGraphicFramePr>
            <a:graphicFrameLocks noGrp="1"/>
          </p:cNvGraphicFramePr>
          <p:nvPr>
            <p:extLst>
              <p:ext uri="{D42A27DB-BD31-4B8C-83A1-F6EECF244321}">
                <p14:modId xmlns:p14="http://schemas.microsoft.com/office/powerpoint/2010/main" val="2547832552"/>
              </p:ext>
            </p:extLst>
          </p:nvPr>
        </p:nvGraphicFramePr>
        <p:xfrm>
          <a:off x="208467" y="2769372"/>
          <a:ext cx="1194094" cy="1577355"/>
        </p:xfrm>
        <a:graphic>
          <a:graphicData uri="http://schemas.openxmlformats.org/drawingml/2006/table">
            <a:tbl>
              <a:tblPr firstRow="1" bandRow="1">
                <a:tableStyleId>{5C22544A-7EE6-4342-B048-85BDC9FD1C3A}</a:tableStyleId>
              </a:tblPr>
              <a:tblGrid>
                <a:gridCol w="597047"/>
                <a:gridCol w="597047"/>
              </a:tblGrid>
              <a:tr h="528197">
                <a:tc>
                  <a:txBody>
                    <a:bodyPr/>
                    <a:lstStyle/>
                    <a:p>
                      <a:endParaRPr lang="en-US" sz="1100" dirty="0"/>
                    </a:p>
                  </a:txBody>
                  <a:tcPr marL="68598" marR="68598" marT="34290" marB="34290">
                    <a:noFill/>
                  </a:tcPr>
                </a:tc>
                <a:tc>
                  <a:txBody>
                    <a:bodyPr/>
                    <a:lstStyle/>
                    <a:p>
                      <a:pPr algn="ctr"/>
                      <a:r>
                        <a:rPr lang="en-US" sz="1100" b="1" dirty="0" smtClean="0"/>
                        <a:t>180+</a:t>
                      </a:r>
                      <a:endParaRPr lang="en-US" sz="1100" b="1" dirty="0"/>
                    </a:p>
                  </a:txBody>
                  <a:tcPr marL="68598" marR="68598" marT="34290" marB="34290" anchor="ctr">
                    <a:noFill/>
                  </a:tcPr>
                </a:tc>
              </a:tr>
              <a:tr h="520961">
                <a:tc>
                  <a:txBody>
                    <a:bodyPr/>
                    <a:lstStyle/>
                    <a:p>
                      <a:endParaRPr lang="en-US" sz="1100"/>
                    </a:p>
                  </a:txBody>
                  <a:tcPr marL="68598" marR="68598" marT="34290" marB="34290">
                    <a:noFill/>
                  </a:tcPr>
                </a:tc>
                <a:tc>
                  <a:txBody>
                    <a:bodyPr/>
                    <a:lstStyle/>
                    <a:p>
                      <a:pPr algn="ctr"/>
                      <a:r>
                        <a:rPr lang="en-US" sz="1100" b="1" dirty="0" smtClean="0">
                          <a:solidFill>
                            <a:schemeClr val="tx1"/>
                          </a:solidFill>
                        </a:rPr>
                        <a:t>123</a:t>
                      </a:r>
                      <a:endParaRPr lang="en-US" sz="1100" b="1" dirty="0">
                        <a:solidFill>
                          <a:schemeClr val="tx1"/>
                        </a:solidFill>
                      </a:endParaRPr>
                    </a:p>
                  </a:txBody>
                  <a:tcPr marL="68598" marR="68598" marT="34290" marB="34290" anchor="ctr">
                    <a:noFill/>
                  </a:tcPr>
                </a:tc>
              </a:tr>
              <a:tr h="528197">
                <a:tc>
                  <a:txBody>
                    <a:bodyPr/>
                    <a:lstStyle/>
                    <a:p>
                      <a:endParaRPr lang="en-US" sz="1100"/>
                    </a:p>
                  </a:txBody>
                  <a:tcPr marL="68598" marR="68598" marT="34290" marB="34290">
                    <a:noFill/>
                  </a:tcPr>
                </a:tc>
                <a:tc>
                  <a:txBody>
                    <a:bodyPr/>
                    <a:lstStyle/>
                    <a:p>
                      <a:pPr algn="ctr"/>
                      <a:r>
                        <a:rPr lang="en-US" sz="1100" b="1" dirty="0" smtClean="0">
                          <a:solidFill>
                            <a:schemeClr val="tx1"/>
                          </a:solidFill>
                        </a:rPr>
                        <a:t>31</a:t>
                      </a:r>
                      <a:endParaRPr lang="en-US" sz="1100" b="1" dirty="0">
                        <a:solidFill>
                          <a:schemeClr val="tx1"/>
                        </a:solidFill>
                      </a:endParaRPr>
                    </a:p>
                  </a:txBody>
                  <a:tcPr marL="68598" marR="68598" marT="34290" marB="34290" anchor="ctr">
                    <a:noFill/>
                  </a:tcPr>
                </a:tc>
              </a:tr>
            </a:tbl>
          </a:graphicData>
        </a:graphic>
      </p:graphicFrame>
      <p:pic>
        <p:nvPicPr>
          <p:cNvPr id="447" name="Picture 4" descr="http://files.softicons.com/download/system-icons/android-friends-icons-by-rich-d/png/512/Android.png"/>
          <p:cNvPicPr>
            <a:picLocks noChangeAspect="1" noChangeArrowheads="1"/>
          </p:cNvPicPr>
          <p:nvPr/>
        </p:nvPicPr>
        <p:blipFill>
          <a:blip r:embed="rId3" cstate="print">
            <a:biLevel thresh="50000"/>
            <a:extLst>
              <a:ext uri="{28A0092B-C50C-407E-A947-70E740481C1C}">
                <a14:useLocalDpi xmlns:a14="http://schemas.microsoft.com/office/drawing/2010/main" val="0"/>
              </a:ext>
            </a:extLst>
          </a:blip>
          <a:srcRect/>
          <a:stretch>
            <a:fillRect/>
          </a:stretch>
        </p:blipFill>
        <p:spPr bwMode="auto">
          <a:xfrm>
            <a:off x="321254" y="3902367"/>
            <a:ext cx="344163" cy="343984"/>
          </a:xfrm>
          <a:prstGeom prst="rect">
            <a:avLst/>
          </a:prstGeom>
          <a:noFill/>
          <a:extLst>
            <a:ext uri="{909E8E84-426E-40DD-AFC4-6F175D3DCCD1}">
              <a14:hiddenFill xmlns:a14="http://schemas.microsoft.com/office/drawing/2010/main">
                <a:solidFill>
                  <a:srgbClr val="FFFFFF"/>
                </a:solidFill>
              </a14:hiddenFill>
            </a:ext>
          </a:extLst>
        </p:spPr>
      </p:pic>
      <p:pic>
        <p:nvPicPr>
          <p:cNvPr id="448" name="Picture 5" descr="C:\Users\bzamora\Desktop\ap.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05782" y="3335516"/>
            <a:ext cx="379376" cy="425088"/>
          </a:xfrm>
          <a:prstGeom prst="rect">
            <a:avLst/>
          </a:prstGeom>
          <a:noFill/>
          <a:extLst>
            <a:ext uri="{909E8E84-426E-40DD-AFC4-6F175D3DCCD1}">
              <a14:hiddenFill xmlns:a14="http://schemas.microsoft.com/office/drawing/2010/main">
                <a:solidFill>
                  <a:srgbClr val="FFFFFF"/>
                </a:solidFill>
              </a14:hiddenFill>
            </a:ext>
          </a:extLst>
        </p:spPr>
      </p:pic>
      <p:pic>
        <p:nvPicPr>
          <p:cNvPr id="449" name="Picture 4" descr="C:\Users\bzamora\Desktop\wpflagwhit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4484" y="2743100"/>
            <a:ext cx="542227" cy="556592"/>
          </a:xfrm>
          <a:prstGeom prst="rect">
            <a:avLst/>
          </a:prstGeom>
          <a:noFill/>
          <a:extLst>
            <a:ext uri="{909E8E84-426E-40DD-AFC4-6F175D3DCCD1}">
              <a14:hiddenFill xmlns:a14="http://schemas.microsoft.com/office/drawing/2010/main">
                <a:solidFill>
                  <a:srgbClr val="FFFFFF"/>
                </a:solidFill>
              </a14:hiddenFill>
            </a:ext>
          </a:extLst>
        </p:spPr>
      </p:pic>
      <p:sp>
        <p:nvSpPr>
          <p:cNvPr id="450"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452"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6"/>
              </a:rPr>
              <a:t>www.rapidbbs.cn</a:t>
            </a:r>
            <a:endParaRPr lang="zh-CN" altLang="en-US" sz="1200" b="0">
              <a:latin typeface="Arial" charset="0"/>
              <a:ea typeface="ＭＳ Ｐゴシック" pitchFamily="34" charset="-128"/>
            </a:endParaRPr>
          </a:p>
        </p:txBody>
      </p:sp>
      <p:pic>
        <p:nvPicPr>
          <p:cNvPr id="457" name="Picture 2">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40779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0"/>
                                        </p:tgtEl>
                                        <p:attrNameLst>
                                          <p:attrName>style.visibility</p:attrName>
                                        </p:attrNameLst>
                                      </p:cBhvr>
                                      <p:to>
                                        <p:strVal val="visible"/>
                                      </p:to>
                                    </p:set>
                                    <p:animEffect transition="in" filter="fade">
                                      <p:cBhvr>
                                        <p:cTn id="7" dur="500"/>
                                        <p:tgtEl>
                                          <p:spTgt spid="2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14"/>
                                        </p:tgtEl>
                                        <p:attrNameLst>
                                          <p:attrName>style.visibility</p:attrName>
                                        </p:attrNameLst>
                                      </p:cBhvr>
                                      <p:to>
                                        <p:strVal val="visible"/>
                                      </p:to>
                                    </p:set>
                                    <p:animEffect transition="in" filter="fade">
                                      <p:cBhvr>
                                        <p:cTn id="12" dur="500"/>
                                        <p:tgtEl>
                                          <p:spTgt spid="21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49"/>
                                        </p:tgtEl>
                                        <p:attrNameLst>
                                          <p:attrName>style.visibility</p:attrName>
                                        </p:attrNameLst>
                                      </p:cBhvr>
                                      <p:to>
                                        <p:strVal val="visible"/>
                                      </p:to>
                                    </p:set>
                                    <p:animEffect transition="in" filter="fade">
                                      <p:cBhvr>
                                        <p:cTn id="17" dur="500"/>
                                        <p:tgtEl>
                                          <p:spTgt spid="104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5"/>
                                        </p:tgtEl>
                                        <p:attrNameLst>
                                          <p:attrName>style.visibility</p:attrName>
                                        </p:attrNameLst>
                                      </p:cBhvr>
                                      <p:to>
                                        <p:strVal val="visible"/>
                                      </p:to>
                                    </p:set>
                                    <p:animEffect transition="in" filter="fade">
                                      <p:cBhvr>
                                        <p:cTn id="22" dur="500"/>
                                        <p:tgtEl>
                                          <p:spTgt spid="55"/>
                                        </p:tgtEl>
                                      </p:cBhvr>
                                    </p:animEffect>
                                  </p:childTnLst>
                                </p:cTn>
                              </p:par>
                              <p:par>
                                <p:cTn id="23" presetID="10" presetClass="entr" presetSubtype="0" fill="hold" nodeType="withEffect">
                                  <p:stCondLst>
                                    <p:cond delay="0"/>
                                  </p:stCondLst>
                                  <p:childTnLst>
                                    <p:set>
                                      <p:cBhvr>
                                        <p:cTn id="24" dur="1" fill="hold">
                                          <p:stCondLst>
                                            <p:cond delay="0"/>
                                          </p:stCondLst>
                                        </p:cTn>
                                        <p:tgtEl>
                                          <p:spTgt spid="447"/>
                                        </p:tgtEl>
                                        <p:attrNameLst>
                                          <p:attrName>style.visibility</p:attrName>
                                        </p:attrNameLst>
                                      </p:cBhvr>
                                      <p:to>
                                        <p:strVal val="visible"/>
                                      </p:to>
                                    </p:set>
                                    <p:animEffect transition="in" filter="fade">
                                      <p:cBhvr>
                                        <p:cTn id="25" dur="500"/>
                                        <p:tgtEl>
                                          <p:spTgt spid="447"/>
                                        </p:tgtEl>
                                      </p:cBhvr>
                                    </p:animEffect>
                                  </p:childTnLst>
                                </p:cTn>
                              </p:par>
                              <p:par>
                                <p:cTn id="26" presetID="10" presetClass="entr" presetSubtype="0" fill="hold" nodeType="withEffect">
                                  <p:stCondLst>
                                    <p:cond delay="0"/>
                                  </p:stCondLst>
                                  <p:childTnLst>
                                    <p:set>
                                      <p:cBhvr>
                                        <p:cTn id="27" dur="1" fill="hold">
                                          <p:stCondLst>
                                            <p:cond delay="0"/>
                                          </p:stCondLst>
                                        </p:cTn>
                                        <p:tgtEl>
                                          <p:spTgt spid="448"/>
                                        </p:tgtEl>
                                        <p:attrNameLst>
                                          <p:attrName>style.visibility</p:attrName>
                                        </p:attrNameLst>
                                      </p:cBhvr>
                                      <p:to>
                                        <p:strVal val="visible"/>
                                      </p:to>
                                    </p:set>
                                    <p:animEffect transition="in" filter="fade">
                                      <p:cBhvr>
                                        <p:cTn id="28" dur="500"/>
                                        <p:tgtEl>
                                          <p:spTgt spid="448"/>
                                        </p:tgtEl>
                                      </p:cBhvr>
                                    </p:animEffect>
                                  </p:childTnLst>
                                </p:cTn>
                              </p:par>
                              <p:par>
                                <p:cTn id="29" presetID="10" presetClass="entr" presetSubtype="0" fill="hold" nodeType="withEffect">
                                  <p:stCondLst>
                                    <p:cond delay="0"/>
                                  </p:stCondLst>
                                  <p:childTnLst>
                                    <p:set>
                                      <p:cBhvr>
                                        <p:cTn id="30" dur="1" fill="hold">
                                          <p:stCondLst>
                                            <p:cond delay="0"/>
                                          </p:stCondLst>
                                        </p:cTn>
                                        <p:tgtEl>
                                          <p:spTgt spid="449"/>
                                        </p:tgtEl>
                                        <p:attrNameLst>
                                          <p:attrName>style.visibility</p:attrName>
                                        </p:attrNameLst>
                                      </p:cBhvr>
                                      <p:to>
                                        <p:strVal val="visible"/>
                                      </p:to>
                                    </p:set>
                                    <p:animEffect transition="in" filter="fade">
                                      <p:cBhvr>
                                        <p:cTn id="31" dur="500"/>
                                        <p:tgtEl>
                                          <p:spTgt spid="4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82" name="Grey Map"/>
          <p:cNvGrpSpPr/>
          <p:nvPr/>
        </p:nvGrpSpPr>
        <p:grpSpPr>
          <a:xfrm>
            <a:off x="1116368" y="879239"/>
            <a:ext cx="7185135" cy="3336799"/>
            <a:chOff x="400809" y="1427427"/>
            <a:chExt cx="8342313" cy="3878792"/>
          </a:xfrm>
          <a:solidFill>
            <a:schemeClr val="tx1">
              <a:alpha val="99000"/>
            </a:schemeClr>
          </a:solidFill>
        </p:grpSpPr>
        <p:sp>
          <p:nvSpPr>
            <p:cNvPr id="783" name="Freeform 8"/>
            <p:cNvSpPr>
              <a:spLocks/>
            </p:cNvSpPr>
            <p:nvPr/>
          </p:nvSpPr>
          <p:spPr bwMode="auto">
            <a:xfrm>
              <a:off x="2533351" y="5245365"/>
              <a:ext cx="103188" cy="52917"/>
            </a:xfrm>
            <a:custGeom>
              <a:avLst/>
              <a:gdLst/>
              <a:ahLst/>
              <a:cxnLst>
                <a:cxn ang="0">
                  <a:pos x="0" y="0"/>
                </a:cxn>
                <a:cxn ang="0">
                  <a:pos x="10" y="4"/>
                </a:cxn>
                <a:cxn ang="0">
                  <a:pos x="12" y="6"/>
                </a:cxn>
                <a:cxn ang="0">
                  <a:pos x="8" y="6"/>
                </a:cxn>
                <a:cxn ang="0">
                  <a:pos x="10" y="8"/>
                </a:cxn>
                <a:cxn ang="0">
                  <a:pos x="14" y="8"/>
                </a:cxn>
                <a:cxn ang="0">
                  <a:pos x="16" y="10"/>
                </a:cxn>
                <a:cxn ang="0">
                  <a:pos x="20" y="14"/>
                </a:cxn>
                <a:cxn ang="0">
                  <a:pos x="26" y="16"/>
                </a:cxn>
                <a:cxn ang="0">
                  <a:pos x="32" y="20"/>
                </a:cxn>
                <a:cxn ang="0">
                  <a:pos x="38" y="22"/>
                </a:cxn>
                <a:cxn ang="0">
                  <a:pos x="42" y="24"/>
                </a:cxn>
                <a:cxn ang="0">
                  <a:pos x="50" y="26"/>
                </a:cxn>
                <a:cxn ang="0">
                  <a:pos x="52" y="26"/>
                </a:cxn>
                <a:cxn ang="0">
                  <a:pos x="58" y="30"/>
                </a:cxn>
                <a:cxn ang="0">
                  <a:pos x="64" y="32"/>
                </a:cxn>
                <a:cxn ang="0">
                  <a:pos x="68" y="34"/>
                </a:cxn>
                <a:cxn ang="0">
                  <a:pos x="74" y="34"/>
                </a:cxn>
                <a:cxn ang="0">
                  <a:pos x="78" y="34"/>
                </a:cxn>
                <a:cxn ang="0">
                  <a:pos x="78" y="36"/>
                </a:cxn>
                <a:cxn ang="0">
                  <a:pos x="76" y="38"/>
                </a:cxn>
                <a:cxn ang="0">
                  <a:pos x="72" y="38"/>
                </a:cxn>
                <a:cxn ang="0">
                  <a:pos x="66" y="40"/>
                </a:cxn>
                <a:cxn ang="0">
                  <a:pos x="64" y="40"/>
                </a:cxn>
                <a:cxn ang="0">
                  <a:pos x="60" y="40"/>
                </a:cxn>
                <a:cxn ang="0">
                  <a:pos x="56" y="40"/>
                </a:cxn>
                <a:cxn ang="0">
                  <a:pos x="46" y="38"/>
                </a:cxn>
                <a:cxn ang="0">
                  <a:pos x="38" y="40"/>
                </a:cxn>
                <a:cxn ang="0">
                  <a:pos x="32" y="38"/>
                </a:cxn>
                <a:cxn ang="0">
                  <a:pos x="24" y="36"/>
                </a:cxn>
                <a:cxn ang="0">
                  <a:pos x="24" y="38"/>
                </a:cxn>
                <a:cxn ang="0">
                  <a:pos x="20" y="38"/>
                </a:cxn>
              </a:cxnLst>
              <a:rect l="0" t="0" r="r" b="b"/>
              <a:pathLst>
                <a:path w="78" h="40">
                  <a:moveTo>
                    <a:pt x="20" y="38"/>
                  </a:moveTo>
                  <a:lnTo>
                    <a:pt x="0" y="0"/>
                  </a:lnTo>
                  <a:lnTo>
                    <a:pt x="0" y="0"/>
                  </a:lnTo>
                  <a:lnTo>
                    <a:pt x="10" y="4"/>
                  </a:lnTo>
                  <a:lnTo>
                    <a:pt x="10" y="4"/>
                  </a:lnTo>
                  <a:lnTo>
                    <a:pt x="12" y="6"/>
                  </a:lnTo>
                  <a:lnTo>
                    <a:pt x="8" y="6"/>
                  </a:lnTo>
                  <a:lnTo>
                    <a:pt x="8" y="6"/>
                  </a:lnTo>
                  <a:lnTo>
                    <a:pt x="6" y="8"/>
                  </a:lnTo>
                  <a:lnTo>
                    <a:pt x="10" y="8"/>
                  </a:lnTo>
                  <a:lnTo>
                    <a:pt x="10" y="8"/>
                  </a:lnTo>
                  <a:lnTo>
                    <a:pt x="14" y="8"/>
                  </a:lnTo>
                  <a:lnTo>
                    <a:pt x="14" y="8"/>
                  </a:lnTo>
                  <a:lnTo>
                    <a:pt x="16" y="10"/>
                  </a:lnTo>
                  <a:lnTo>
                    <a:pt x="16" y="10"/>
                  </a:lnTo>
                  <a:lnTo>
                    <a:pt x="20" y="14"/>
                  </a:lnTo>
                  <a:lnTo>
                    <a:pt x="26" y="16"/>
                  </a:lnTo>
                  <a:lnTo>
                    <a:pt x="26" y="16"/>
                  </a:lnTo>
                  <a:lnTo>
                    <a:pt x="28" y="18"/>
                  </a:lnTo>
                  <a:lnTo>
                    <a:pt x="32" y="20"/>
                  </a:lnTo>
                  <a:lnTo>
                    <a:pt x="32" y="20"/>
                  </a:lnTo>
                  <a:lnTo>
                    <a:pt x="38" y="22"/>
                  </a:lnTo>
                  <a:lnTo>
                    <a:pt x="42" y="24"/>
                  </a:lnTo>
                  <a:lnTo>
                    <a:pt x="42" y="24"/>
                  </a:lnTo>
                  <a:lnTo>
                    <a:pt x="46" y="26"/>
                  </a:lnTo>
                  <a:lnTo>
                    <a:pt x="50" y="26"/>
                  </a:lnTo>
                  <a:lnTo>
                    <a:pt x="50" y="26"/>
                  </a:lnTo>
                  <a:lnTo>
                    <a:pt x="52" y="26"/>
                  </a:lnTo>
                  <a:lnTo>
                    <a:pt x="52" y="26"/>
                  </a:lnTo>
                  <a:lnTo>
                    <a:pt x="58" y="30"/>
                  </a:lnTo>
                  <a:lnTo>
                    <a:pt x="58" y="30"/>
                  </a:lnTo>
                  <a:lnTo>
                    <a:pt x="64" y="32"/>
                  </a:lnTo>
                  <a:lnTo>
                    <a:pt x="68" y="34"/>
                  </a:lnTo>
                  <a:lnTo>
                    <a:pt x="68" y="34"/>
                  </a:lnTo>
                  <a:lnTo>
                    <a:pt x="72" y="34"/>
                  </a:lnTo>
                  <a:lnTo>
                    <a:pt x="74" y="34"/>
                  </a:lnTo>
                  <a:lnTo>
                    <a:pt x="74" y="34"/>
                  </a:lnTo>
                  <a:lnTo>
                    <a:pt x="78" y="34"/>
                  </a:lnTo>
                  <a:lnTo>
                    <a:pt x="78" y="34"/>
                  </a:lnTo>
                  <a:lnTo>
                    <a:pt x="78" y="36"/>
                  </a:lnTo>
                  <a:lnTo>
                    <a:pt x="78" y="36"/>
                  </a:lnTo>
                  <a:lnTo>
                    <a:pt x="76" y="38"/>
                  </a:lnTo>
                  <a:lnTo>
                    <a:pt x="72" y="38"/>
                  </a:lnTo>
                  <a:lnTo>
                    <a:pt x="72" y="38"/>
                  </a:lnTo>
                  <a:lnTo>
                    <a:pt x="70" y="40"/>
                  </a:lnTo>
                  <a:lnTo>
                    <a:pt x="66" y="40"/>
                  </a:lnTo>
                  <a:lnTo>
                    <a:pt x="66" y="40"/>
                  </a:lnTo>
                  <a:lnTo>
                    <a:pt x="64" y="40"/>
                  </a:lnTo>
                  <a:lnTo>
                    <a:pt x="62" y="40"/>
                  </a:lnTo>
                  <a:lnTo>
                    <a:pt x="60" y="40"/>
                  </a:lnTo>
                  <a:lnTo>
                    <a:pt x="56" y="40"/>
                  </a:lnTo>
                  <a:lnTo>
                    <a:pt x="56" y="40"/>
                  </a:lnTo>
                  <a:lnTo>
                    <a:pt x="50" y="38"/>
                  </a:lnTo>
                  <a:lnTo>
                    <a:pt x="46" y="38"/>
                  </a:lnTo>
                  <a:lnTo>
                    <a:pt x="46" y="38"/>
                  </a:lnTo>
                  <a:lnTo>
                    <a:pt x="38" y="40"/>
                  </a:lnTo>
                  <a:lnTo>
                    <a:pt x="32" y="38"/>
                  </a:lnTo>
                  <a:lnTo>
                    <a:pt x="32" y="38"/>
                  </a:lnTo>
                  <a:lnTo>
                    <a:pt x="28" y="36"/>
                  </a:lnTo>
                  <a:lnTo>
                    <a:pt x="24" y="36"/>
                  </a:lnTo>
                  <a:lnTo>
                    <a:pt x="24" y="38"/>
                  </a:lnTo>
                  <a:lnTo>
                    <a:pt x="24" y="38"/>
                  </a:lnTo>
                  <a:lnTo>
                    <a:pt x="20" y="38"/>
                  </a:lnTo>
                  <a:lnTo>
                    <a:pt x="20" y="3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4" name="Panama"/>
            <p:cNvSpPr>
              <a:spLocks/>
            </p:cNvSpPr>
            <p:nvPr/>
          </p:nvSpPr>
          <p:spPr bwMode="auto">
            <a:xfrm>
              <a:off x="1826913" y="3295385"/>
              <a:ext cx="161396" cy="82021"/>
            </a:xfrm>
            <a:custGeom>
              <a:avLst/>
              <a:gdLst/>
              <a:ahLst/>
              <a:cxnLst>
                <a:cxn ang="0">
                  <a:pos x="116" y="20"/>
                </a:cxn>
                <a:cxn ang="0">
                  <a:pos x="110" y="16"/>
                </a:cxn>
                <a:cxn ang="0">
                  <a:pos x="110" y="14"/>
                </a:cxn>
                <a:cxn ang="0">
                  <a:pos x="94" y="4"/>
                </a:cxn>
                <a:cxn ang="0">
                  <a:pos x="84" y="2"/>
                </a:cxn>
                <a:cxn ang="0">
                  <a:pos x="74" y="8"/>
                </a:cxn>
                <a:cxn ang="0">
                  <a:pos x="72" y="12"/>
                </a:cxn>
                <a:cxn ang="0">
                  <a:pos x="74" y="18"/>
                </a:cxn>
                <a:cxn ang="0">
                  <a:pos x="66" y="20"/>
                </a:cxn>
                <a:cxn ang="0">
                  <a:pos x="70" y="12"/>
                </a:cxn>
                <a:cxn ang="0">
                  <a:pos x="66" y="12"/>
                </a:cxn>
                <a:cxn ang="0">
                  <a:pos x="60" y="16"/>
                </a:cxn>
                <a:cxn ang="0">
                  <a:pos x="50" y="18"/>
                </a:cxn>
                <a:cxn ang="0">
                  <a:pos x="32" y="20"/>
                </a:cxn>
                <a:cxn ang="0">
                  <a:pos x="26" y="14"/>
                </a:cxn>
                <a:cxn ang="0">
                  <a:pos x="22" y="14"/>
                </a:cxn>
                <a:cxn ang="0">
                  <a:pos x="20" y="16"/>
                </a:cxn>
                <a:cxn ang="0">
                  <a:pos x="16" y="12"/>
                </a:cxn>
                <a:cxn ang="0">
                  <a:pos x="18" y="10"/>
                </a:cxn>
                <a:cxn ang="0">
                  <a:pos x="18" y="6"/>
                </a:cxn>
                <a:cxn ang="0">
                  <a:pos x="12" y="0"/>
                </a:cxn>
                <a:cxn ang="0">
                  <a:pos x="4" y="4"/>
                </a:cxn>
                <a:cxn ang="0">
                  <a:pos x="6" y="12"/>
                </a:cxn>
                <a:cxn ang="0">
                  <a:pos x="6" y="18"/>
                </a:cxn>
                <a:cxn ang="0">
                  <a:pos x="4" y="28"/>
                </a:cxn>
                <a:cxn ang="0">
                  <a:pos x="0" y="32"/>
                </a:cxn>
                <a:cxn ang="0">
                  <a:pos x="2" y="40"/>
                </a:cxn>
                <a:cxn ang="0">
                  <a:pos x="4" y="36"/>
                </a:cxn>
                <a:cxn ang="0">
                  <a:pos x="6" y="36"/>
                </a:cxn>
                <a:cxn ang="0">
                  <a:pos x="12" y="36"/>
                </a:cxn>
                <a:cxn ang="0">
                  <a:pos x="14" y="36"/>
                </a:cxn>
                <a:cxn ang="0">
                  <a:pos x="24" y="40"/>
                </a:cxn>
                <a:cxn ang="0">
                  <a:pos x="30" y="46"/>
                </a:cxn>
                <a:cxn ang="0">
                  <a:pos x="34" y="52"/>
                </a:cxn>
                <a:cxn ang="0">
                  <a:pos x="38" y="54"/>
                </a:cxn>
                <a:cxn ang="0">
                  <a:pos x="40" y="50"/>
                </a:cxn>
                <a:cxn ang="0">
                  <a:pos x="42" y="50"/>
                </a:cxn>
                <a:cxn ang="0">
                  <a:pos x="44" y="58"/>
                </a:cxn>
                <a:cxn ang="0">
                  <a:pos x="56" y="62"/>
                </a:cxn>
                <a:cxn ang="0">
                  <a:pos x="62" y="54"/>
                </a:cxn>
                <a:cxn ang="0">
                  <a:pos x="58" y="48"/>
                </a:cxn>
                <a:cxn ang="0">
                  <a:pos x="56" y="46"/>
                </a:cxn>
                <a:cxn ang="0">
                  <a:pos x="58" y="40"/>
                </a:cxn>
                <a:cxn ang="0">
                  <a:pos x="70" y="28"/>
                </a:cxn>
                <a:cxn ang="0">
                  <a:pos x="70" y="26"/>
                </a:cxn>
                <a:cxn ang="0">
                  <a:pos x="80" y="24"/>
                </a:cxn>
                <a:cxn ang="0">
                  <a:pos x="94" y="30"/>
                </a:cxn>
                <a:cxn ang="0">
                  <a:pos x="100" y="30"/>
                </a:cxn>
                <a:cxn ang="0">
                  <a:pos x="100" y="38"/>
                </a:cxn>
                <a:cxn ang="0">
                  <a:pos x="112" y="28"/>
                </a:cxn>
                <a:cxn ang="0">
                  <a:pos x="110" y="38"/>
                </a:cxn>
                <a:cxn ang="0">
                  <a:pos x="104" y="40"/>
                </a:cxn>
                <a:cxn ang="0">
                  <a:pos x="100" y="48"/>
                </a:cxn>
                <a:cxn ang="0">
                  <a:pos x="102" y="54"/>
                </a:cxn>
                <a:cxn ang="0">
                  <a:pos x="104" y="60"/>
                </a:cxn>
                <a:cxn ang="0">
                  <a:pos x="106" y="58"/>
                </a:cxn>
                <a:cxn ang="0">
                  <a:pos x="108" y="52"/>
                </a:cxn>
                <a:cxn ang="0">
                  <a:pos x="118" y="50"/>
                </a:cxn>
                <a:cxn ang="0">
                  <a:pos x="120" y="44"/>
                </a:cxn>
                <a:cxn ang="0">
                  <a:pos x="120" y="40"/>
                </a:cxn>
                <a:cxn ang="0">
                  <a:pos x="118" y="36"/>
                </a:cxn>
                <a:cxn ang="0">
                  <a:pos x="118" y="32"/>
                </a:cxn>
                <a:cxn ang="0">
                  <a:pos x="120" y="24"/>
                </a:cxn>
              </a:cxnLst>
              <a:rect l="0" t="0" r="r" b="b"/>
              <a:pathLst>
                <a:path w="122" h="62">
                  <a:moveTo>
                    <a:pt x="120" y="24"/>
                  </a:moveTo>
                  <a:lnTo>
                    <a:pt x="120" y="24"/>
                  </a:lnTo>
                  <a:lnTo>
                    <a:pt x="116" y="20"/>
                  </a:lnTo>
                  <a:lnTo>
                    <a:pt x="114" y="20"/>
                  </a:lnTo>
                  <a:lnTo>
                    <a:pt x="112" y="18"/>
                  </a:lnTo>
                  <a:lnTo>
                    <a:pt x="110" y="16"/>
                  </a:lnTo>
                  <a:lnTo>
                    <a:pt x="110" y="16"/>
                  </a:lnTo>
                  <a:lnTo>
                    <a:pt x="108" y="14"/>
                  </a:lnTo>
                  <a:lnTo>
                    <a:pt x="110" y="14"/>
                  </a:lnTo>
                  <a:lnTo>
                    <a:pt x="104" y="10"/>
                  </a:lnTo>
                  <a:lnTo>
                    <a:pt x="104" y="10"/>
                  </a:lnTo>
                  <a:lnTo>
                    <a:pt x="94" y="4"/>
                  </a:lnTo>
                  <a:lnTo>
                    <a:pt x="90" y="4"/>
                  </a:lnTo>
                  <a:lnTo>
                    <a:pt x="90" y="4"/>
                  </a:lnTo>
                  <a:lnTo>
                    <a:pt x="84" y="2"/>
                  </a:lnTo>
                  <a:lnTo>
                    <a:pt x="78" y="4"/>
                  </a:lnTo>
                  <a:lnTo>
                    <a:pt x="78" y="4"/>
                  </a:lnTo>
                  <a:lnTo>
                    <a:pt x="74" y="8"/>
                  </a:lnTo>
                  <a:lnTo>
                    <a:pt x="72" y="10"/>
                  </a:lnTo>
                  <a:lnTo>
                    <a:pt x="72" y="12"/>
                  </a:lnTo>
                  <a:lnTo>
                    <a:pt x="72" y="12"/>
                  </a:lnTo>
                  <a:lnTo>
                    <a:pt x="78" y="16"/>
                  </a:lnTo>
                  <a:lnTo>
                    <a:pt x="78" y="16"/>
                  </a:lnTo>
                  <a:lnTo>
                    <a:pt x="74" y="18"/>
                  </a:lnTo>
                  <a:lnTo>
                    <a:pt x="74" y="18"/>
                  </a:lnTo>
                  <a:lnTo>
                    <a:pt x="68" y="20"/>
                  </a:lnTo>
                  <a:lnTo>
                    <a:pt x="66" y="20"/>
                  </a:lnTo>
                  <a:lnTo>
                    <a:pt x="68" y="16"/>
                  </a:lnTo>
                  <a:lnTo>
                    <a:pt x="68" y="16"/>
                  </a:lnTo>
                  <a:lnTo>
                    <a:pt x="70" y="12"/>
                  </a:lnTo>
                  <a:lnTo>
                    <a:pt x="70" y="10"/>
                  </a:lnTo>
                  <a:lnTo>
                    <a:pt x="68" y="10"/>
                  </a:lnTo>
                  <a:lnTo>
                    <a:pt x="66" y="12"/>
                  </a:lnTo>
                  <a:lnTo>
                    <a:pt x="66" y="12"/>
                  </a:lnTo>
                  <a:lnTo>
                    <a:pt x="64" y="14"/>
                  </a:lnTo>
                  <a:lnTo>
                    <a:pt x="60" y="16"/>
                  </a:lnTo>
                  <a:lnTo>
                    <a:pt x="54" y="16"/>
                  </a:lnTo>
                  <a:lnTo>
                    <a:pt x="50" y="18"/>
                  </a:lnTo>
                  <a:lnTo>
                    <a:pt x="50" y="18"/>
                  </a:lnTo>
                  <a:lnTo>
                    <a:pt x="46" y="20"/>
                  </a:lnTo>
                  <a:lnTo>
                    <a:pt x="40" y="20"/>
                  </a:lnTo>
                  <a:lnTo>
                    <a:pt x="32" y="20"/>
                  </a:lnTo>
                  <a:lnTo>
                    <a:pt x="30" y="18"/>
                  </a:lnTo>
                  <a:lnTo>
                    <a:pt x="30" y="18"/>
                  </a:lnTo>
                  <a:lnTo>
                    <a:pt x="26" y="14"/>
                  </a:lnTo>
                  <a:lnTo>
                    <a:pt x="22" y="10"/>
                  </a:lnTo>
                  <a:lnTo>
                    <a:pt x="22" y="10"/>
                  </a:lnTo>
                  <a:lnTo>
                    <a:pt x="22" y="14"/>
                  </a:lnTo>
                  <a:lnTo>
                    <a:pt x="22" y="16"/>
                  </a:lnTo>
                  <a:lnTo>
                    <a:pt x="22" y="16"/>
                  </a:lnTo>
                  <a:lnTo>
                    <a:pt x="20" y="16"/>
                  </a:lnTo>
                  <a:lnTo>
                    <a:pt x="20" y="16"/>
                  </a:lnTo>
                  <a:lnTo>
                    <a:pt x="16" y="14"/>
                  </a:lnTo>
                  <a:lnTo>
                    <a:pt x="16" y="12"/>
                  </a:lnTo>
                  <a:lnTo>
                    <a:pt x="18" y="10"/>
                  </a:lnTo>
                  <a:lnTo>
                    <a:pt x="18" y="10"/>
                  </a:lnTo>
                  <a:lnTo>
                    <a:pt x="18" y="10"/>
                  </a:lnTo>
                  <a:lnTo>
                    <a:pt x="16" y="8"/>
                  </a:lnTo>
                  <a:lnTo>
                    <a:pt x="18" y="6"/>
                  </a:lnTo>
                  <a:lnTo>
                    <a:pt x="18" y="6"/>
                  </a:lnTo>
                  <a:lnTo>
                    <a:pt x="18" y="6"/>
                  </a:lnTo>
                  <a:lnTo>
                    <a:pt x="16" y="4"/>
                  </a:lnTo>
                  <a:lnTo>
                    <a:pt x="12" y="0"/>
                  </a:lnTo>
                  <a:lnTo>
                    <a:pt x="12" y="0"/>
                  </a:lnTo>
                  <a:lnTo>
                    <a:pt x="8" y="2"/>
                  </a:lnTo>
                  <a:lnTo>
                    <a:pt x="4" y="4"/>
                  </a:lnTo>
                  <a:lnTo>
                    <a:pt x="4" y="6"/>
                  </a:lnTo>
                  <a:lnTo>
                    <a:pt x="4" y="8"/>
                  </a:lnTo>
                  <a:lnTo>
                    <a:pt x="6" y="12"/>
                  </a:lnTo>
                  <a:lnTo>
                    <a:pt x="8" y="16"/>
                  </a:lnTo>
                  <a:lnTo>
                    <a:pt x="6" y="18"/>
                  </a:lnTo>
                  <a:lnTo>
                    <a:pt x="6" y="18"/>
                  </a:lnTo>
                  <a:lnTo>
                    <a:pt x="4" y="22"/>
                  </a:lnTo>
                  <a:lnTo>
                    <a:pt x="4" y="26"/>
                  </a:lnTo>
                  <a:lnTo>
                    <a:pt x="4" y="28"/>
                  </a:lnTo>
                  <a:lnTo>
                    <a:pt x="2" y="30"/>
                  </a:lnTo>
                  <a:lnTo>
                    <a:pt x="2" y="30"/>
                  </a:lnTo>
                  <a:lnTo>
                    <a:pt x="0" y="32"/>
                  </a:lnTo>
                  <a:lnTo>
                    <a:pt x="2" y="34"/>
                  </a:lnTo>
                  <a:lnTo>
                    <a:pt x="2" y="36"/>
                  </a:lnTo>
                  <a:lnTo>
                    <a:pt x="2" y="40"/>
                  </a:lnTo>
                  <a:lnTo>
                    <a:pt x="2" y="40"/>
                  </a:lnTo>
                  <a:lnTo>
                    <a:pt x="4" y="40"/>
                  </a:lnTo>
                  <a:lnTo>
                    <a:pt x="4" y="36"/>
                  </a:lnTo>
                  <a:lnTo>
                    <a:pt x="4" y="36"/>
                  </a:lnTo>
                  <a:lnTo>
                    <a:pt x="6" y="36"/>
                  </a:lnTo>
                  <a:lnTo>
                    <a:pt x="6" y="36"/>
                  </a:lnTo>
                  <a:lnTo>
                    <a:pt x="8" y="36"/>
                  </a:lnTo>
                  <a:lnTo>
                    <a:pt x="12" y="36"/>
                  </a:lnTo>
                  <a:lnTo>
                    <a:pt x="12" y="36"/>
                  </a:lnTo>
                  <a:lnTo>
                    <a:pt x="12" y="34"/>
                  </a:lnTo>
                  <a:lnTo>
                    <a:pt x="12" y="34"/>
                  </a:lnTo>
                  <a:lnTo>
                    <a:pt x="14" y="36"/>
                  </a:lnTo>
                  <a:lnTo>
                    <a:pt x="18" y="38"/>
                  </a:lnTo>
                  <a:lnTo>
                    <a:pt x="18" y="38"/>
                  </a:lnTo>
                  <a:lnTo>
                    <a:pt x="24" y="40"/>
                  </a:lnTo>
                  <a:lnTo>
                    <a:pt x="26" y="42"/>
                  </a:lnTo>
                  <a:lnTo>
                    <a:pt x="28" y="44"/>
                  </a:lnTo>
                  <a:lnTo>
                    <a:pt x="30" y="46"/>
                  </a:lnTo>
                  <a:lnTo>
                    <a:pt x="30" y="46"/>
                  </a:lnTo>
                  <a:lnTo>
                    <a:pt x="32" y="50"/>
                  </a:lnTo>
                  <a:lnTo>
                    <a:pt x="34" y="52"/>
                  </a:lnTo>
                  <a:lnTo>
                    <a:pt x="34" y="54"/>
                  </a:lnTo>
                  <a:lnTo>
                    <a:pt x="38" y="54"/>
                  </a:lnTo>
                  <a:lnTo>
                    <a:pt x="38" y="54"/>
                  </a:lnTo>
                  <a:lnTo>
                    <a:pt x="40" y="54"/>
                  </a:lnTo>
                  <a:lnTo>
                    <a:pt x="40" y="52"/>
                  </a:lnTo>
                  <a:lnTo>
                    <a:pt x="40" y="50"/>
                  </a:lnTo>
                  <a:lnTo>
                    <a:pt x="44" y="48"/>
                  </a:lnTo>
                  <a:lnTo>
                    <a:pt x="44" y="48"/>
                  </a:lnTo>
                  <a:lnTo>
                    <a:pt x="42" y="50"/>
                  </a:lnTo>
                  <a:lnTo>
                    <a:pt x="42" y="52"/>
                  </a:lnTo>
                  <a:lnTo>
                    <a:pt x="44" y="58"/>
                  </a:lnTo>
                  <a:lnTo>
                    <a:pt x="44" y="58"/>
                  </a:lnTo>
                  <a:lnTo>
                    <a:pt x="48" y="62"/>
                  </a:lnTo>
                  <a:lnTo>
                    <a:pt x="52" y="62"/>
                  </a:lnTo>
                  <a:lnTo>
                    <a:pt x="56" y="62"/>
                  </a:lnTo>
                  <a:lnTo>
                    <a:pt x="60" y="58"/>
                  </a:lnTo>
                  <a:lnTo>
                    <a:pt x="60" y="58"/>
                  </a:lnTo>
                  <a:lnTo>
                    <a:pt x="62" y="54"/>
                  </a:lnTo>
                  <a:lnTo>
                    <a:pt x="60" y="52"/>
                  </a:lnTo>
                  <a:lnTo>
                    <a:pt x="58" y="50"/>
                  </a:lnTo>
                  <a:lnTo>
                    <a:pt x="58" y="48"/>
                  </a:lnTo>
                  <a:lnTo>
                    <a:pt x="58" y="48"/>
                  </a:lnTo>
                  <a:lnTo>
                    <a:pt x="58" y="46"/>
                  </a:lnTo>
                  <a:lnTo>
                    <a:pt x="56" y="46"/>
                  </a:lnTo>
                  <a:lnTo>
                    <a:pt x="56" y="44"/>
                  </a:lnTo>
                  <a:lnTo>
                    <a:pt x="58" y="40"/>
                  </a:lnTo>
                  <a:lnTo>
                    <a:pt x="58" y="40"/>
                  </a:lnTo>
                  <a:lnTo>
                    <a:pt x="64" y="34"/>
                  </a:lnTo>
                  <a:lnTo>
                    <a:pt x="68" y="30"/>
                  </a:lnTo>
                  <a:lnTo>
                    <a:pt x="70" y="28"/>
                  </a:lnTo>
                  <a:lnTo>
                    <a:pt x="70" y="26"/>
                  </a:lnTo>
                  <a:lnTo>
                    <a:pt x="70" y="26"/>
                  </a:lnTo>
                  <a:lnTo>
                    <a:pt x="70" y="26"/>
                  </a:lnTo>
                  <a:lnTo>
                    <a:pt x="72" y="24"/>
                  </a:lnTo>
                  <a:lnTo>
                    <a:pt x="80" y="24"/>
                  </a:lnTo>
                  <a:lnTo>
                    <a:pt x="80" y="24"/>
                  </a:lnTo>
                  <a:lnTo>
                    <a:pt x="88" y="24"/>
                  </a:lnTo>
                  <a:lnTo>
                    <a:pt x="92" y="26"/>
                  </a:lnTo>
                  <a:lnTo>
                    <a:pt x="94" y="30"/>
                  </a:lnTo>
                  <a:lnTo>
                    <a:pt x="96" y="30"/>
                  </a:lnTo>
                  <a:lnTo>
                    <a:pt x="96" y="30"/>
                  </a:lnTo>
                  <a:lnTo>
                    <a:pt x="100" y="30"/>
                  </a:lnTo>
                  <a:lnTo>
                    <a:pt x="100" y="32"/>
                  </a:lnTo>
                  <a:lnTo>
                    <a:pt x="100" y="38"/>
                  </a:lnTo>
                  <a:lnTo>
                    <a:pt x="100" y="38"/>
                  </a:lnTo>
                  <a:lnTo>
                    <a:pt x="108" y="34"/>
                  </a:lnTo>
                  <a:lnTo>
                    <a:pt x="112" y="28"/>
                  </a:lnTo>
                  <a:lnTo>
                    <a:pt x="112" y="28"/>
                  </a:lnTo>
                  <a:lnTo>
                    <a:pt x="112" y="36"/>
                  </a:lnTo>
                  <a:lnTo>
                    <a:pt x="112" y="38"/>
                  </a:lnTo>
                  <a:lnTo>
                    <a:pt x="110" y="38"/>
                  </a:lnTo>
                  <a:lnTo>
                    <a:pt x="110" y="38"/>
                  </a:lnTo>
                  <a:lnTo>
                    <a:pt x="106" y="38"/>
                  </a:lnTo>
                  <a:lnTo>
                    <a:pt x="104" y="40"/>
                  </a:lnTo>
                  <a:lnTo>
                    <a:pt x="104" y="40"/>
                  </a:lnTo>
                  <a:lnTo>
                    <a:pt x="102" y="44"/>
                  </a:lnTo>
                  <a:lnTo>
                    <a:pt x="100" y="48"/>
                  </a:lnTo>
                  <a:lnTo>
                    <a:pt x="102" y="52"/>
                  </a:lnTo>
                  <a:lnTo>
                    <a:pt x="102" y="54"/>
                  </a:lnTo>
                  <a:lnTo>
                    <a:pt x="102" y="54"/>
                  </a:lnTo>
                  <a:lnTo>
                    <a:pt x="100" y="58"/>
                  </a:lnTo>
                  <a:lnTo>
                    <a:pt x="102" y="58"/>
                  </a:lnTo>
                  <a:lnTo>
                    <a:pt x="104" y="60"/>
                  </a:lnTo>
                  <a:lnTo>
                    <a:pt x="104" y="62"/>
                  </a:lnTo>
                  <a:lnTo>
                    <a:pt x="104" y="62"/>
                  </a:lnTo>
                  <a:lnTo>
                    <a:pt x="106" y="58"/>
                  </a:lnTo>
                  <a:lnTo>
                    <a:pt x="108" y="54"/>
                  </a:lnTo>
                  <a:lnTo>
                    <a:pt x="108" y="54"/>
                  </a:lnTo>
                  <a:lnTo>
                    <a:pt x="108" y="52"/>
                  </a:lnTo>
                  <a:lnTo>
                    <a:pt x="110" y="52"/>
                  </a:lnTo>
                  <a:lnTo>
                    <a:pt x="112" y="52"/>
                  </a:lnTo>
                  <a:lnTo>
                    <a:pt x="118" y="50"/>
                  </a:lnTo>
                  <a:lnTo>
                    <a:pt x="118" y="50"/>
                  </a:lnTo>
                  <a:lnTo>
                    <a:pt x="120" y="46"/>
                  </a:lnTo>
                  <a:lnTo>
                    <a:pt x="120" y="44"/>
                  </a:lnTo>
                  <a:lnTo>
                    <a:pt x="118" y="44"/>
                  </a:lnTo>
                  <a:lnTo>
                    <a:pt x="120" y="40"/>
                  </a:lnTo>
                  <a:lnTo>
                    <a:pt x="120" y="40"/>
                  </a:lnTo>
                  <a:lnTo>
                    <a:pt x="122" y="38"/>
                  </a:lnTo>
                  <a:lnTo>
                    <a:pt x="120" y="38"/>
                  </a:lnTo>
                  <a:lnTo>
                    <a:pt x="118" y="36"/>
                  </a:lnTo>
                  <a:lnTo>
                    <a:pt x="118" y="34"/>
                  </a:lnTo>
                  <a:lnTo>
                    <a:pt x="118" y="34"/>
                  </a:lnTo>
                  <a:lnTo>
                    <a:pt x="118" y="32"/>
                  </a:lnTo>
                  <a:lnTo>
                    <a:pt x="118" y="30"/>
                  </a:lnTo>
                  <a:lnTo>
                    <a:pt x="118" y="28"/>
                  </a:lnTo>
                  <a:lnTo>
                    <a:pt x="120" y="24"/>
                  </a:lnTo>
                  <a:lnTo>
                    <a:pt x="120" y="24"/>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5" name="Uruguay"/>
            <p:cNvSpPr>
              <a:spLocks/>
            </p:cNvSpPr>
            <p:nvPr/>
          </p:nvSpPr>
          <p:spPr bwMode="auto">
            <a:xfrm>
              <a:off x="2618017" y="4597136"/>
              <a:ext cx="140229" cy="150813"/>
            </a:xfrm>
            <a:custGeom>
              <a:avLst/>
              <a:gdLst/>
              <a:ahLst/>
              <a:cxnLst>
                <a:cxn ang="0">
                  <a:pos x="6" y="78"/>
                </a:cxn>
                <a:cxn ang="0">
                  <a:pos x="10" y="96"/>
                </a:cxn>
                <a:cxn ang="0">
                  <a:pos x="20" y="102"/>
                </a:cxn>
                <a:cxn ang="0">
                  <a:pos x="36" y="104"/>
                </a:cxn>
                <a:cxn ang="0">
                  <a:pos x="38" y="106"/>
                </a:cxn>
                <a:cxn ang="0">
                  <a:pos x="48" y="108"/>
                </a:cxn>
                <a:cxn ang="0">
                  <a:pos x="58" y="110"/>
                </a:cxn>
                <a:cxn ang="0">
                  <a:pos x="62" y="112"/>
                </a:cxn>
                <a:cxn ang="0">
                  <a:pos x="82" y="114"/>
                </a:cxn>
                <a:cxn ang="0">
                  <a:pos x="94" y="108"/>
                </a:cxn>
                <a:cxn ang="0">
                  <a:pos x="106" y="98"/>
                </a:cxn>
                <a:cxn ang="0">
                  <a:pos x="102" y="90"/>
                </a:cxn>
                <a:cxn ang="0">
                  <a:pos x="104" y="82"/>
                </a:cxn>
                <a:cxn ang="0">
                  <a:pos x="106" y="72"/>
                </a:cxn>
                <a:cxn ang="0">
                  <a:pos x="98" y="64"/>
                </a:cxn>
                <a:cxn ang="0">
                  <a:pos x="92" y="58"/>
                </a:cxn>
                <a:cxn ang="0">
                  <a:pos x="88" y="56"/>
                </a:cxn>
                <a:cxn ang="0">
                  <a:pos x="82" y="50"/>
                </a:cxn>
                <a:cxn ang="0">
                  <a:pos x="66" y="38"/>
                </a:cxn>
                <a:cxn ang="0">
                  <a:pos x="56" y="34"/>
                </a:cxn>
                <a:cxn ang="0">
                  <a:pos x="52" y="30"/>
                </a:cxn>
                <a:cxn ang="0">
                  <a:pos x="46" y="32"/>
                </a:cxn>
                <a:cxn ang="0">
                  <a:pos x="44" y="32"/>
                </a:cxn>
                <a:cxn ang="0">
                  <a:pos x="42" y="26"/>
                </a:cxn>
                <a:cxn ang="0">
                  <a:pos x="40" y="14"/>
                </a:cxn>
                <a:cxn ang="0">
                  <a:pos x="34" y="6"/>
                </a:cxn>
                <a:cxn ang="0">
                  <a:pos x="30" y="0"/>
                </a:cxn>
                <a:cxn ang="0">
                  <a:pos x="22" y="2"/>
                </a:cxn>
                <a:cxn ang="0">
                  <a:pos x="12" y="8"/>
                </a:cxn>
                <a:cxn ang="0">
                  <a:pos x="4" y="8"/>
                </a:cxn>
                <a:cxn ang="0">
                  <a:pos x="2" y="24"/>
                </a:cxn>
                <a:cxn ang="0">
                  <a:pos x="2" y="38"/>
                </a:cxn>
                <a:cxn ang="0">
                  <a:pos x="0" y="44"/>
                </a:cxn>
                <a:cxn ang="0">
                  <a:pos x="4" y="62"/>
                </a:cxn>
                <a:cxn ang="0">
                  <a:pos x="6" y="74"/>
                </a:cxn>
                <a:cxn ang="0">
                  <a:pos x="6" y="78"/>
                </a:cxn>
              </a:cxnLst>
              <a:rect l="0" t="0" r="r" b="b"/>
              <a:pathLst>
                <a:path w="106" h="114">
                  <a:moveTo>
                    <a:pt x="6" y="78"/>
                  </a:moveTo>
                  <a:lnTo>
                    <a:pt x="6" y="78"/>
                  </a:lnTo>
                  <a:lnTo>
                    <a:pt x="8" y="88"/>
                  </a:lnTo>
                  <a:lnTo>
                    <a:pt x="10" y="96"/>
                  </a:lnTo>
                  <a:lnTo>
                    <a:pt x="16" y="100"/>
                  </a:lnTo>
                  <a:lnTo>
                    <a:pt x="20" y="102"/>
                  </a:lnTo>
                  <a:lnTo>
                    <a:pt x="30" y="104"/>
                  </a:lnTo>
                  <a:lnTo>
                    <a:pt x="36" y="104"/>
                  </a:lnTo>
                  <a:lnTo>
                    <a:pt x="38" y="106"/>
                  </a:lnTo>
                  <a:lnTo>
                    <a:pt x="38" y="106"/>
                  </a:lnTo>
                  <a:lnTo>
                    <a:pt x="42" y="108"/>
                  </a:lnTo>
                  <a:lnTo>
                    <a:pt x="48" y="108"/>
                  </a:lnTo>
                  <a:lnTo>
                    <a:pt x="52" y="108"/>
                  </a:lnTo>
                  <a:lnTo>
                    <a:pt x="58" y="110"/>
                  </a:lnTo>
                  <a:lnTo>
                    <a:pt x="58" y="110"/>
                  </a:lnTo>
                  <a:lnTo>
                    <a:pt x="62" y="112"/>
                  </a:lnTo>
                  <a:lnTo>
                    <a:pt x="68" y="114"/>
                  </a:lnTo>
                  <a:lnTo>
                    <a:pt x="82" y="114"/>
                  </a:lnTo>
                  <a:lnTo>
                    <a:pt x="88" y="112"/>
                  </a:lnTo>
                  <a:lnTo>
                    <a:pt x="94" y="108"/>
                  </a:lnTo>
                  <a:lnTo>
                    <a:pt x="100" y="102"/>
                  </a:lnTo>
                  <a:lnTo>
                    <a:pt x="106" y="98"/>
                  </a:lnTo>
                  <a:lnTo>
                    <a:pt x="106" y="98"/>
                  </a:lnTo>
                  <a:lnTo>
                    <a:pt x="102" y="90"/>
                  </a:lnTo>
                  <a:lnTo>
                    <a:pt x="104" y="82"/>
                  </a:lnTo>
                  <a:lnTo>
                    <a:pt x="104" y="82"/>
                  </a:lnTo>
                  <a:lnTo>
                    <a:pt x="106" y="74"/>
                  </a:lnTo>
                  <a:lnTo>
                    <a:pt x="106" y="72"/>
                  </a:lnTo>
                  <a:lnTo>
                    <a:pt x="102" y="70"/>
                  </a:lnTo>
                  <a:lnTo>
                    <a:pt x="98" y="64"/>
                  </a:lnTo>
                  <a:lnTo>
                    <a:pt x="98" y="64"/>
                  </a:lnTo>
                  <a:lnTo>
                    <a:pt x="92" y="58"/>
                  </a:lnTo>
                  <a:lnTo>
                    <a:pt x="90" y="56"/>
                  </a:lnTo>
                  <a:lnTo>
                    <a:pt x="88" y="56"/>
                  </a:lnTo>
                  <a:lnTo>
                    <a:pt x="82" y="50"/>
                  </a:lnTo>
                  <a:lnTo>
                    <a:pt x="82" y="50"/>
                  </a:lnTo>
                  <a:lnTo>
                    <a:pt x="74" y="42"/>
                  </a:lnTo>
                  <a:lnTo>
                    <a:pt x="66" y="38"/>
                  </a:lnTo>
                  <a:lnTo>
                    <a:pt x="60" y="38"/>
                  </a:lnTo>
                  <a:lnTo>
                    <a:pt x="56" y="34"/>
                  </a:lnTo>
                  <a:lnTo>
                    <a:pt x="56" y="34"/>
                  </a:lnTo>
                  <a:lnTo>
                    <a:pt x="52" y="30"/>
                  </a:lnTo>
                  <a:lnTo>
                    <a:pt x="50" y="32"/>
                  </a:lnTo>
                  <a:lnTo>
                    <a:pt x="46" y="32"/>
                  </a:lnTo>
                  <a:lnTo>
                    <a:pt x="46" y="32"/>
                  </a:lnTo>
                  <a:lnTo>
                    <a:pt x="44" y="32"/>
                  </a:lnTo>
                  <a:lnTo>
                    <a:pt x="44" y="30"/>
                  </a:lnTo>
                  <a:lnTo>
                    <a:pt x="42" y="26"/>
                  </a:lnTo>
                  <a:lnTo>
                    <a:pt x="42" y="20"/>
                  </a:lnTo>
                  <a:lnTo>
                    <a:pt x="40" y="14"/>
                  </a:lnTo>
                  <a:lnTo>
                    <a:pt x="40" y="14"/>
                  </a:lnTo>
                  <a:lnTo>
                    <a:pt x="34" y="6"/>
                  </a:lnTo>
                  <a:lnTo>
                    <a:pt x="32" y="2"/>
                  </a:lnTo>
                  <a:lnTo>
                    <a:pt x="30" y="0"/>
                  </a:lnTo>
                  <a:lnTo>
                    <a:pt x="30" y="0"/>
                  </a:lnTo>
                  <a:lnTo>
                    <a:pt x="22" y="2"/>
                  </a:lnTo>
                  <a:lnTo>
                    <a:pt x="16" y="4"/>
                  </a:lnTo>
                  <a:lnTo>
                    <a:pt x="12" y="8"/>
                  </a:lnTo>
                  <a:lnTo>
                    <a:pt x="4" y="8"/>
                  </a:lnTo>
                  <a:lnTo>
                    <a:pt x="4" y="8"/>
                  </a:lnTo>
                  <a:lnTo>
                    <a:pt x="2" y="18"/>
                  </a:lnTo>
                  <a:lnTo>
                    <a:pt x="2" y="24"/>
                  </a:lnTo>
                  <a:lnTo>
                    <a:pt x="2" y="28"/>
                  </a:lnTo>
                  <a:lnTo>
                    <a:pt x="2" y="38"/>
                  </a:lnTo>
                  <a:lnTo>
                    <a:pt x="2" y="38"/>
                  </a:lnTo>
                  <a:lnTo>
                    <a:pt x="0" y="44"/>
                  </a:lnTo>
                  <a:lnTo>
                    <a:pt x="0" y="50"/>
                  </a:lnTo>
                  <a:lnTo>
                    <a:pt x="4" y="62"/>
                  </a:lnTo>
                  <a:lnTo>
                    <a:pt x="6" y="70"/>
                  </a:lnTo>
                  <a:lnTo>
                    <a:pt x="6" y="74"/>
                  </a:lnTo>
                  <a:lnTo>
                    <a:pt x="6" y="78"/>
                  </a:lnTo>
                  <a:lnTo>
                    <a:pt x="6" y="7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6" name="Paraguay"/>
            <p:cNvSpPr>
              <a:spLocks/>
            </p:cNvSpPr>
            <p:nvPr/>
          </p:nvSpPr>
          <p:spPr bwMode="auto">
            <a:xfrm>
              <a:off x="2440747" y="4250531"/>
              <a:ext cx="240771" cy="280458"/>
            </a:xfrm>
            <a:custGeom>
              <a:avLst/>
              <a:gdLst/>
              <a:ahLst/>
              <a:cxnLst>
                <a:cxn ang="0">
                  <a:pos x="4" y="82"/>
                </a:cxn>
                <a:cxn ang="0">
                  <a:pos x="4" y="58"/>
                </a:cxn>
                <a:cxn ang="0">
                  <a:pos x="0" y="36"/>
                </a:cxn>
                <a:cxn ang="0">
                  <a:pos x="6" y="24"/>
                </a:cxn>
                <a:cxn ang="0">
                  <a:pos x="12" y="8"/>
                </a:cxn>
                <a:cxn ang="0">
                  <a:pos x="46" y="0"/>
                </a:cxn>
                <a:cxn ang="0">
                  <a:pos x="70" y="2"/>
                </a:cxn>
                <a:cxn ang="0">
                  <a:pos x="84" y="10"/>
                </a:cxn>
                <a:cxn ang="0">
                  <a:pos x="94" y="20"/>
                </a:cxn>
                <a:cxn ang="0">
                  <a:pos x="100" y="34"/>
                </a:cxn>
                <a:cxn ang="0">
                  <a:pos x="108" y="48"/>
                </a:cxn>
                <a:cxn ang="0">
                  <a:pos x="106" y="62"/>
                </a:cxn>
                <a:cxn ang="0">
                  <a:pos x="106" y="84"/>
                </a:cxn>
                <a:cxn ang="0">
                  <a:pos x="120" y="88"/>
                </a:cxn>
                <a:cxn ang="0">
                  <a:pos x="134" y="90"/>
                </a:cxn>
                <a:cxn ang="0">
                  <a:pos x="148" y="94"/>
                </a:cxn>
                <a:cxn ang="0">
                  <a:pos x="154" y="98"/>
                </a:cxn>
                <a:cxn ang="0">
                  <a:pos x="154" y="114"/>
                </a:cxn>
                <a:cxn ang="0">
                  <a:pos x="156" y="126"/>
                </a:cxn>
                <a:cxn ang="0">
                  <a:pos x="164" y="128"/>
                </a:cxn>
                <a:cxn ang="0">
                  <a:pos x="178" y="130"/>
                </a:cxn>
                <a:cxn ang="0">
                  <a:pos x="180" y="144"/>
                </a:cxn>
                <a:cxn ang="0">
                  <a:pos x="180" y="172"/>
                </a:cxn>
                <a:cxn ang="0">
                  <a:pos x="178" y="182"/>
                </a:cxn>
                <a:cxn ang="0">
                  <a:pos x="176" y="188"/>
                </a:cxn>
                <a:cxn ang="0">
                  <a:pos x="172" y="192"/>
                </a:cxn>
                <a:cxn ang="0">
                  <a:pos x="166" y="202"/>
                </a:cxn>
                <a:cxn ang="0">
                  <a:pos x="154" y="206"/>
                </a:cxn>
                <a:cxn ang="0">
                  <a:pos x="146" y="210"/>
                </a:cxn>
                <a:cxn ang="0">
                  <a:pos x="138" y="212"/>
                </a:cxn>
                <a:cxn ang="0">
                  <a:pos x="134" y="210"/>
                </a:cxn>
                <a:cxn ang="0">
                  <a:pos x="112" y="202"/>
                </a:cxn>
                <a:cxn ang="0">
                  <a:pos x="100" y="202"/>
                </a:cxn>
                <a:cxn ang="0">
                  <a:pos x="104" y="190"/>
                </a:cxn>
                <a:cxn ang="0">
                  <a:pos x="108" y="178"/>
                </a:cxn>
                <a:cxn ang="0">
                  <a:pos x="112" y="170"/>
                </a:cxn>
                <a:cxn ang="0">
                  <a:pos x="104" y="162"/>
                </a:cxn>
                <a:cxn ang="0">
                  <a:pos x="96" y="154"/>
                </a:cxn>
                <a:cxn ang="0">
                  <a:pos x="78" y="142"/>
                </a:cxn>
                <a:cxn ang="0">
                  <a:pos x="66" y="138"/>
                </a:cxn>
                <a:cxn ang="0">
                  <a:pos x="50" y="132"/>
                </a:cxn>
                <a:cxn ang="0">
                  <a:pos x="44" y="128"/>
                </a:cxn>
                <a:cxn ang="0">
                  <a:pos x="18" y="106"/>
                </a:cxn>
                <a:cxn ang="0">
                  <a:pos x="12" y="100"/>
                </a:cxn>
                <a:cxn ang="0">
                  <a:pos x="6" y="90"/>
                </a:cxn>
              </a:cxnLst>
              <a:rect l="0" t="0" r="r" b="b"/>
              <a:pathLst>
                <a:path w="182" h="212">
                  <a:moveTo>
                    <a:pt x="6" y="90"/>
                  </a:moveTo>
                  <a:lnTo>
                    <a:pt x="6" y="90"/>
                  </a:lnTo>
                  <a:lnTo>
                    <a:pt x="4" y="82"/>
                  </a:lnTo>
                  <a:lnTo>
                    <a:pt x="4" y="68"/>
                  </a:lnTo>
                  <a:lnTo>
                    <a:pt x="4" y="68"/>
                  </a:lnTo>
                  <a:lnTo>
                    <a:pt x="4" y="58"/>
                  </a:lnTo>
                  <a:lnTo>
                    <a:pt x="2" y="48"/>
                  </a:lnTo>
                  <a:lnTo>
                    <a:pt x="0" y="40"/>
                  </a:lnTo>
                  <a:lnTo>
                    <a:pt x="0" y="36"/>
                  </a:lnTo>
                  <a:lnTo>
                    <a:pt x="2" y="32"/>
                  </a:lnTo>
                  <a:lnTo>
                    <a:pt x="2" y="32"/>
                  </a:lnTo>
                  <a:lnTo>
                    <a:pt x="6" y="24"/>
                  </a:lnTo>
                  <a:lnTo>
                    <a:pt x="8" y="16"/>
                  </a:lnTo>
                  <a:lnTo>
                    <a:pt x="10" y="10"/>
                  </a:lnTo>
                  <a:lnTo>
                    <a:pt x="12" y="8"/>
                  </a:lnTo>
                  <a:lnTo>
                    <a:pt x="16" y="6"/>
                  </a:lnTo>
                  <a:lnTo>
                    <a:pt x="16" y="6"/>
                  </a:lnTo>
                  <a:lnTo>
                    <a:pt x="46" y="0"/>
                  </a:lnTo>
                  <a:lnTo>
                    <a:pt x="58" y="0"/>
                  </a:lnTo>
                  <a:lnTo>
                    <a:pt x="70" y="2"/>
                  </a:lnTo>
                  <a:lnTo>
                    <a:pt x="70" y="2"/>
                  </a:lnTo>
                  <a:lnTo>
                    <a:pt x="80" y="6"/>
                  </a:lnTo>
                  <a:lnTo>
                    <a:pt x="82" y="8"/>
                  </a:lnTo>
                  <a:lnTo>
                    <a:pt x="84" y="10"/>
                  </a:lnTo>
                  <a:lnTo>
                    <a:pt x="92" y="14"/>
                  </a:lnTo>
                  <a:lnTo>
                    <a:pt x="92" y="14"/>
                  </a:lnTo>
                  <a:lnTo>
                    <a:pt x="94" y="20"/>
                  </a:lnTo>
                  <a:lnTo>
                    <a:pt x="94" y="24"/>
                  </a:lnTo>
                  <a:lnTo>
                    <a:pt x="94" y="26"/>
                  </a:lnTo>
                  <a:lnTo>
                    <a:pt x="100" y="34"/>
                  </a:lnTo>
                  <a:lnTo>
                    <a:pt x="100" y="34"/>
                  </a:lnTo>
                  <a:lnTo>
                    <a:pt x="106" y="42"/>
                  </a:lnTo>
                  <a:lnTo>
                    <a:pt x="108" y="48"/>
                  </a:lnTo>
                  <a:lnTo>
                    <a:pt x="108" y="52"/>
                  </a:lnTo>
                  <a:lnTo>
                    <a:pt x="106" y="62"/>
                  </a:lnTo>
                  <a:lnTo>
                    <a:pt x="106" y="62"/>
                  </a:lnTo>
                  <a:lnTo>
                    <a:pt x="100" y="80"/>
                  </a:lnTo>
                  <a:lnTo>
                    <a:pt x="100" y="84"/>
                  </a:lnTo>
                  <a:lnTo>
                    <a:pt x="106" y="84"/>
                  </a:lnTo>
                  <a:lnTo>
                    <a:pt x="106" y="84"/>
                  </a:lnTo>
                  <a:lnTo>
                    <a:pt x="114" y="86"/>
                  </a:lnTo>
                  <a:lnTo>
                    <a:pt x="120" y="88"/>
                  </a:lnTo>
                  <a:lnTo>
                    <a:pt x="126" y="90"/>
                  </a:lnTo>
                  <a:lnTo>
                    <a:pt x="134" y="90"/>
                  </a:lnTo>
                  <a:lnTo>
                    <a:pt x="134" y="90"/>
                  </a:lnTo>
                  <a:lnTo>
                    <a:pt x="138" y="90"/>
                  </a:lnTo>
                  <a:lnTo>
                    <a:pt x="142" y="90"/>
                  </a:lnTo>
                  <a:lnTo>
                    <a:pt x="148" y="94"/>
                  </a:lnTo>
                  <a:lnTo>
                    <a:pt x="148" y="94"/>
                  </a:lnTo>
                  <a:lnTo>
                    <a:pt x="152" y="96"/>
                  </a:lnTo>
                  <a:lnTo>
                    <a:pt x="154" y="98"/>
                  </a:lnTo>
                  <a:lnTo>
                    <a:pt x="154" y="102"/>
                  </a:lnTo>
                  <a:lnTo>
                    <a:pt x="152" y="108"/>
                  </a:lnTo>
                  <a:lnTo>
                    <a:pt x="154" y="114"/>
                  </a:lnTo>
                  <a:lnTo>
                    <a:pt x="154" y="114"/>
                  </a:lnTo>
                  <a:lnTo>
                    <a:pt x="156" y="122"/>
                  </a:lnTo>
                  <a:lnTo>
                    <a:pt x="156" y="126"/>
                  </a:lnTo>
                  <a:lnTo>
                    <a:pt x="158" y="128"/>
                  </a:lnTo>
                  <a:lnTo>
                    <a:pt x="164" y="128"/>
                  </a:lnTo>
                  <a:lnTo>
                    <a:pt x="164" y="128"/>
                  </a:lnTo>
                  <a:lnTo>
                    <a:pt x="170" y="126"/>
                  </a:lnTo>
                  <a:lnTo>
                    <a:pt x="176" y="128"/>
                  </a:lnTo>
                  <a:lnTo>
                    <a:pt x="178" y="130"/>
                  </a:lnTo>
                  <a:lnTo>
                    <a:pt x="178" y="138"/>
                  </a:lnTo>
                  <a:lnTo>
                    <a:pt x="178" y="138"/>
                  </a:lnTo>
                  <a:lnTo>
                    <a:pt x="180" y="144"/>
                  </a:lnTo>
                  <a:lnTo>
                    <a:pt x="182" y="148"/>
                  </a:lnTo>
                  <a:lnTo>
                    <a:pt x="182" y="156"/>
                  </a:lnTo>
                  <a:lnTo>
                    <a:pt x="180" y="172"/>
                  </a:lnTo>
                  <a:lnTo>
                    <a:pt x="180" y="172"/>
                  </a:lnTo>
                  <a:lnTo>
                    <a:pt x="180" y="178"/>
                  </a:lnTo>
                  <a:lnTo>
                    <a:pt x="178" y="182"/>
                  </a:lnTo>
                  <a:lnTo>
                    <a:pt x="178" y="182"/>
                  </a:lnTo>
                  <a:lnTo>
                    <a:pt x="178" y="186"/>
                  </a:lnTo>
                  <a:lnTo>
                    <a:pt x="176" y="188"/>
                  </a:lnTo>
                  <a:lnTo>
                    <a:pt x="174" y="190"/>
                  </a:lnTo>
                  <a:lnTo>
                    <a:pt x="172" y="192"/>
                  </a:lnTo>
                  <a:lnTo>
                    <a:pt x="172" y="192"/>
                  </a:lnTo>
                  <a:lnTo>
                    <a:pt x="170" y="198"/>
                  </a:lnTo>
                  <a:lnTo>
                    <a:pt x="166" y="202"/>
                  </a:lnTo>
                  <a:lnTo>
                    <a:pt x="166" y="202"/>
                  </a:lnTo>
                  <a:lnTo>
                    <a:pt x="162" y="208"/>
                  </a:lnTo>
                  <a:lnTo>
                    <a:pt x="158" y="208"/>
                  </a:lnTo>
                  <a:lnTo>
                    <a:pt x="154" y="206"/>
                  </a:lnTo>
                  <a:lnTo>
                    <a:pt x="150" y="208"/>
                  </a:lnTo>
                  <a:lnTo>
                    <a:pt x="150" y="208"/>
                  </a:lnTo>
                  <a:lnTo>
                    <a:pt x="146" y="210"/>
                  </a:lnTo>
                  <a:lnTo>
                    <a:pt x="144" y="210"/>
                  </a:lnTo>
                  <a:lnTo>
                    <a:pt x="142" y="210"/>
                  </a:lnTo>
                  <a:lnTo>
                    <a:pt x="138" y="212"/>
                  </a:lnTo>
                  <a:lnTo>
                    <a:pt x="138" y="212"/>
                  </a:lnTo>
                  <a:lnTo>
                    <a:pt x="136" y="212"/>
                  </a:lnTo>
                  <a:lnTo>
                    <a:pt x="134" y="210"/>
                  </a:lnTo>
                  <a:lnTo>
                    <a:pt x="126" y="208"/>
                  </a:lnTo>
                  <a:lnTo>
                    <a:pt x="116" y="204"/>
                  </a:lnTo>
                  <a:lnTo>
                    <a:pt x="112" y="202"/>
                  </a:lnTo>
                  <a:lnTo>
                    <a:pt x="104" y="204"/>
                  </a:lnTo>
                  <a:lnTo>
                    <a:pt x="104" y="204"/>
                  </a:lnTo>
                  <a:lnTo>
                    <a:pt x="100" y="202"/>
                  </a:lnTo>
                  <a:lnTo>
                    <a:pt x="100" y="200"/>
                  </a:lnTo>
                  <a:lnTo>
                    <a:pt x="104" y="190"/>
                  </a:lnTo>
                  <a:lnTo>
                    <a:pt x="104" y="190"/>
                  </a:lnTo>
                  <a:lnTo>
                    <a:pt x="108" y="186"/>
                  </a:lnTo>
                  <a:lnTo>
                    <a:pt x="108" y="182"/>
                  </a:lnTo>
                  <a:lnTo>
                    <a:pt x="108" y="178"/>
                  </a:lnTo>
                  <a:lnTo>
                    <a:pt x="112" y="174"/>
                  </a:lnTo>
                  <a:lnTo>
                    <a:pt x="112" y="174"/>
                  </a:lnTo>
                  <a:lnTo>
                    <a:pt x="112" y="170"/>
                  </a:lnTo>
                  <a:lnTo>
                    <a:pt x="112" y="168"/>
                  </a:lnTo>
                  <a:lnTo>
                    <a:pt x="108" y="166"/>
                  </a:lnTo>
                  <a:lnTo>
                    <a:pt x="104" y="162"/>
                  </a:lnTo>
                  <a:lnTo>
                    <a:pt x="104" y="162"/>
                  </a:lnTo>
                  <a:lnTo>
                    <a:pt x="100" y="156"/>
                  </a:lnTo>
                  <a:lnTo>
                    <a:pt x="96" y="154"/>
                  </a:lnTo>
                  <a:lnTo>
                    <a:pt x="84" y="146"/>
                  </a:lnTo>
                  <a:lnTo>
                    <a:pt x="84" y="146"/>
                  </a:lnTo>
                  <a:lnTo>
                    <a:pt x="78" y="142"/>
                  </a:lnTo>
                  <a:lnTo>
                    <a:pt x="74" y="142"/>
                  </a:lnTo>
                  <a:lnTo>
                    <a:pt x="72" y="142"/>
                  </a:lnTo>
                  <a:lnTo>
                    <a:pt x="66" y="138"/>
                  </a:lnTo>
                  <a:lnTo>
                    <a:pt x="66" y="138"/>
                  </a:lnTo>
                  <a:lnTo>
                    <a:pt x="56" y="134"/>
                  </a:lnTo>
                  <a:lnTo>
                    <a:pt x="50" y="132"/>
                  </a:lnTo>
                  <a:lnTo>
                    <a:pt x="48" y="132"/>
                  </a:lnTo>
                  <a:lnTo>
                    <a:pt x="44" y="128"/>
                  </a:lnTo>
                  <a:lnTo>
                    <a:pt x="44" y="128"/>
                  </a:lnTo>
                  <a:lnTo>
                    <a:pt x="30" y="116"/>
                  </a:lnTo>
                  <a:lnTo>
                    <a:pt x="18" y="106"/>
                  </a:lnTo>
                  <a:lnTo>
                    <a:pt x="18" y="106"/>
                  </a:lnTo>
                  <a:lnTo>
                    <a:pt x="14" y="104"/>
                  </a:lnTo>
                  <a:lnTo>
                    <a:pt x="12" y="102"/>
                  </a:lnTo>
                  <a:lnTo>
                    <a:pt x="12" y="100"/>
                  </a:lnTo>
                  <a:lnTo>
                    <a:pt x="12" y="94"/>
                  </a:lnTo>
                  <a:lnTo>
                    <a:pt x="10" y="92"/>
                  </a:lnTo>
                  <a:lnTo>
                    <a:pt x="6" y="90"/>
                  </a:lnTo>
                  <a:lnTo>
                    <a:pt x="6" y="9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7" name="Bolivia"/>
            <p:cNvSpPr>
              <a:spLocks/>
            </p:cNvSpPr>
            <p:nvPr/>
          </p:nvSpPr>
          <p:spPr bwMode="auto">
            <a:xfrm>
              <a:off x="2202622" y="3964781"/>
              <a:ext cx="365125" cy="428625"/>
            </a:xfrm>
            <a:custGeom>
              <a:avLst/>
              <a:gdLst/>
              <a:ahLst/>
              <a:cxnLst>
                <a:cxn ang="0">
                  <a:pos x="14" y="30"/>
                </a:cxn>
                <a:cxn ang="0">
                  <a:pos x="28" y="30"/>
                </a:cxn>
                <a:cxn ang="0">
                  <a:pos x="42" y="22"/>
                </a:cxn>
                <a:cxn ang="0">
                  <a:pos x="52" y="14"/>
                </a:cxn>
                <a:cxn ang="0">
                  <a:pos x="76" y="0"/>
                </a:cxn>
                <a:cxn ang="0">
                  <a:pos x="92" y="4"/>
                </a:cxn>
                <a:cxn ang="0">
                  <a:pos x="102" y="50"/>
                </a:cxn>
                <a:cxn ang="0">
                  <a:pos x="112" y="62"/>
                </a:cxn>
                <a:cxn ang="0">
                  <a:pos x="130" y="64"/>
                </a:cxn>
                <a:cxn ang="0">
                  <a:pos x="148" y="74"/>
                </a:cxn>
                <a:cxn ang="0">
                  <a:pos x="158" y="80"/>
                </a:cxn>
                <a:cxn ang="0">
                  <a:pos x="178" y="92"/>
                </a:cxn>
                <a:cxn ang="0">
                  <a:pos x="194" y="102"/>
                </a:cxn>
                <a:cxn ang="0">
                  <a:pos x="206" y="124"/>
                </a:cxn>
                <a:cxn ang="0">
                  <a:pos x="206" y="134"/>
                </a:cxn>
                <a:cxn ang="0">
                  <a:pos x="208" y="140"/>
                </a:cxn>
                <a:cxn ang="0">
                  <a:pos x="252" y="158"/>
                </a:cxn>
                <a:cxn ang="0">
                  <a:pos x="248" y="170"/>
                </a:cxn>
                <a:cxn ang="0">
                  <a:pos x="254" y="176"/>
                </a:cxn>
                <a:cxn ang="0">
                  <a:pos x="272" y="188"/>
                </a:cxn>
                <a:cxn ang="0">
                  <a:pos x="276" y="198"/>
                </a:cxn>
                <a:cxn ang="0">
                  <a:pos x="274" y="208"/>
                </a:cxn>
                <a:cxn ang="0">
                  <a:pos x="272" y="222"/>
                </a:cxn>
                <a:cxn ang="0">
                  <a:pos x="272" y="230"/>
                </a:cxn>
                <a:cxn ang="0">
                  <a:pos x="250" y="218"/>
                </a:cxn>
                <a:cxn ang="0">
                  <a:pos x="196" y="222"/>
                </a:cxn>
                <a:cxn ang="0">
                  <a:pos x="188" y="232"/>
                </a:cxn>
                <a:cxn ang="0">
                  <a:pos x="180" y="252"/>
                </a:cxn>
                <a:cxn ang="0">
                  <a:pos x="184" y="284"/>
                </a:cxn>
                <a:cxn ang="0">
                  <a:pos x="186" y="306"/>
                </a:cxn>
                <a:cxn ang="0">
                  <a:pos x="168" y="306"/>
                </a:cxn>
                <a:cxn ang="0">
                  <a:pos x="152" y="304"/>
                </a:cxn>
                <a:cxn ang="0">
                  <a:pos x="150" y="316"/>
                </a:cxn>
                <a:cxn ang="0">
                  <a:pos x="148" y="322"/>
                </a:cxn>
                <a:cxn ang="0">
                  <a:pos x="138" y="306"/>
                </a:cxn>
                <a:cxn ang="0">
                  <a:pos x="118" y="304"/>
                </a:cxn>
                <a:cxn ang="0">
                  <a:pos x="114" y="298"/>
                </a:cxn>
                <a:cxn ang="0">
                  <a:pos x="106" y="302"/>
                </a:cxn>
                <a:cxn ang="0">
                  <a:pos x="94" y="316"/>
                </a:cxn>
                <a:cxn ang="0">
                  <a:pos x="90" y="322"/>
                </a:cxn>
                <a:cxn ang="0">
                  <a:pos x="74" y="318"/>
                </a:cxn>
                <a:cxn ang="0">
                  <a:pos x="58" y="272"/>
                </a:cxn>
                <a:cxn ang="0">
                  <a:pos x="52" y="244"/>
                </a:cxn>
                <a:cxn ang="0">
                  <a:pos x="36" y="214"/>
                </a:cxn>
                <a:cxn ang="0">
                  <a:pos x="22" y="190"/>
                </a:cxn>
                <a:cxn ang="0">
                  <a:pos x="22" y="182"/>
                </a:cxn>
                <a:cxn ang="0">
                  <a:pos x="30" y="164"/>
                </a:cxn>
                <a:cxn ang="0">
                  <a:pos x="30" y="148"/>
                </a:cxn>
                <a:cxn ang="0">
                  <a:pos x="28" y="136"/>
                </a:cxn>
                <a:cxn ang="0">
                  <a:pos x="22" y="126"/>
                </a:cxn>
                <a:cxn ang="0">
                  <a:pos x="24" y="114"/>
                </a:cxn>
                <a:cxn ang="0">
                  <a:pos x="20" y="86"/>
                </a:cxn>
                <a:cxn ang="0">
                  <a:pos x="24" y="70"/>
                </a:cxn>
                <a:cxn ang="0">
                  <a:pos x="0" y="30"/>
                </a:cxn>
              </a:cxnLst>
              <a:rect l="0" t="0" r="r" b="b"/>
              <a:pathLst>
                <a:path w="276" h="324">
                  <a:moveTo>
                    <a:pt x="0" y="30"/>
                  </a:moveTo>
                  <a:lnTo>
                    <a:pt x="0" y="30"/>
                  </a:lnTo>
                  <a:lnTo>
                    <a:pt x="8" y="30"/>
                  </a:lnTo>
                  <a:lnTo>
                    <a:pt x="14" y="30"/>
                  </a:lnTo>
                  <a:lnTo>
                    <a:pt x="20" y="34"/>
                  </a:lnTo>
                  <a:lnTo>
                    <a:pt x="24" y="34"/>
                  </a:lnTo>
                  <a:lnTo>
                    <a:pt x="28" y="30"/>
                  </a:lnTo>
                  <a:lnTo>
                    <a:pt x="28" y="30"/>
                  </a:lnTo>
                  <a:lnTo>
                    <a:pt x="34" y="28"/>
                  </a:lnTo>
                  <a:lnTo>
                    <a:pt x="38" y="28"/>
                  </a:lnTo>
                  <a:lnTo>
                    <a:pt x="40" y="26"/>
                  </a:lnTo>
                  <a:lnTo>
                    <a:pt x="42" y="22"/>
                  </a:lnTo>
                  <a:lnTo>
                    <a:pt x="42" y="22"/>
                  </a:lnTo>
                  <a:lnTo>
                    <a:pt x="42" y="18"/>
                  </a:lnTo>
                  <a:lnTo>
                    <a:pt x="46" y="16"/>
                  </a:lnTo>
                  <a:lnTo>
                    <a:pt x="52" y="14"/>
                  </a:lnTo>
                  <a:lnTo>
                    <a:pt x="58" y="8"/>
                  </a:lnTo>
                  <a:lnTo>
                    <a:pt x="58" y="8"/>
                  </a:lnTo>
                  <a:lnTo>
                    <a:pt x="64" y="4"/>
                  </a:lnTo>
                  <a:lnTo>
                    <a:pt x="76" y="0"/>
                  </a:lnTo>
                  <a:lnTo>
                    <a:pt x="86" y="0"/>
                  </a:lnTo>
                  <a:lnTo>
                    <a:pt x="90" y="0"/>
                  </a:lnTo>
                  <a:lnTo>
                    <a:pt x="92" y="4"/>
                  </a:lnTo>
                  <a:lnTo>
                    <a:pt x="92" y="4"/>
                  </a:lnTo>
                  <a:lnTo>
                    <a:pt x="92" y="30"/>
                  </a:lnTo>
                  <a:lnTo>
                    <a:pt x="96" y="44"/>
                  </a:lnTo>
                  <a:lnTo>
                    <a:pt x="98" y="48"/>
                  </a:lnTo>
                  <a:lnTo>
                    <a:pt x="102" y="50"/>
                  </a:lnTo>
                  <a:lnTo>
                    <a:pt x="102" y="50"/>
                  </a:lnTo>
                  <a:lnTo>
                    <a:pt x="106" y="54"/>
                  </a:lnTo>
                  <a:lnTo>
                    <a:pt x="108" y="58"/>
                  </a:lnTo>
                  <a:lnTo>
                    <a:pt x="112" y="62"/>
                  </a:lnTo>
                  <a:lnTo>
                    <a:pt x="116" y="64"/>
                  </a:lnTo>
                  <a:lnTo>
                    <a:pt x="124" y="64"/>
                  </a:lnTo>
                  <a:lnTo>
                    <a:pt x="124" y="64"/>
                  </a:lnTo>
                  <a:lnTo>
                    <a:pt x="130" y="64"/>
                  </a:lnTo>
                  <a:lnTo>
                    <a:pt x="134" y="64"/>
                  </a:lnTo>
                  <a:lnTo>
                    <a:pt x="140" y="68"/>
                  </a:lnTo>
                  <a:lnTo>
                    <a:pt x="144" y="72"/>
                  </a:lnTo>
                  <a:lnTo>
                    <a:pt x="148" y="74"/>
                  </a:lnTo>
                  <a:lnTo>
                    <a:pt x="150" y="74"/>
                  </a:lnTo>
                  <a:lnTo>
                    <a:pt x="150" y="74"/>
                  </a:lnTo>
                  <a:lnTo>
                    <a:pt x="156" y="76"/>
                  </a:lnTo>
                  <a:lnTo>
                    <a:pt x="158" y="80"/>
                  </a:lnTo>
                  <a:lnTo>
                    <a:pt x="160" y="84"/>
                  </a:lnTo>
                  <a:lnTo>
                    <a:pt x="170" y="88"/>
                  </a:lnTo>
                  <a:lnTo>
                    <a:pt x="170" y="88"/>
                  </a:lnTo>
                  <a:lnTo>
                    <a:pt x="178" y="92"/>
                  </a:lnTo>
                  <a:lnTo>
                    <a:pt x="180" y="94"/>
                  </a:lnTo>
                  <a:lnTo>
                    <a:pt x="182" y="98"/>
                  </a:lnTo>
                  <a:lnTo>
                    <a:pt x="194" y="102"/>
                  </a:lnTo>
                  <a:lnTo>
                    <a:pt x="194" y="102"/>
                  </a:lnTo>
                  <a:lnTo>
                    <a:pt x="204" y="108"/>
                  </a:lnTo>
                  <a:lnTo>
                    <a:pt x="206" y="112"/>
                  </a:lnTo>
                  <a:lnTo>
                    <a:pt x="206" y="116"/>
                  </a:lnTo>
                  <a:lnTo>
                    <a:pt x="206" y="124"/>
                  </a:lnTo>
                  <a:lnTo>
                    <a:pt x="206" y="124"/>
                  </a:lnTo>
                  <a:lnTo>
                    <a:pt x="208" y="128"/>
                  </a:lnTo>
                  <a:lnTo>
                    <a:pt x="208" y="132"/>
                  </a:lnTo>
                  <a:lnTo>
                    <a:pt x="206" y="134"/>
                  </a:lnTo>
                  <a:lnTo>
                    <a:pt x="208" y="138"/>
                  </a:lnTo>
                  <a:lnTo>
                    <a:pt x="208" y="138"/>
                  </a:lnTo>
                  <a:lnTo>
                    <a:pt x="208" y="140"/>
                  </a:lnTo>
                  <a:lnTo>
                    <a:pt x="208" y="140"/>
                  </a:lnTo>
                  <a:lnTo>
                    <a:pt x="206" y="140"/>
                  </a:lnTo>
                  <a:lnTo>
                    <a:pt x="208" y="144"/>
                  </a:lnTo>
                  <a:lnTo>
                    <a:pt x="218" y="158"/>
                  </a:lnTo>
                  <a:lnTo>
                    <a:pt x="252" y="158"/>
                  </a:lnTo>
                  <a:lnTo>
                    <a:pt x="252" y="158"/>
                  </a:lnTo>
                  <a:lnTo>
                    <a:pt x="252" y="162"/>
                  </a:lnTo>
                  <a:lnTo>
                    <a:pt x="252" y="166"/>
                  </a:lnTo>
                  <a:lnTo>
                    <a:pt x="248" y="170"/>
                  </a:lnTo>
                  <a:lnTo>
                    <a:pt x="248" y="172"/>
                  </a:lnTo>
                  <a:lnTo>
                    <a:pt x="248" y="174"/>
                  </a:lnTo>
                  <a:lnTo>
                    <a:pt x="254" y="176"/>
                  </a:lnTo>
                  <a:lnTo>
                    <a:pt x="254" y="176"/>
                  </a:lnTo>
                  <a:lnTo>
                    <a:pt x="262" y="178"/>
                  </a:lnTo>
                  <a:lnTo>
                    <a:pt x="266" y="180"/>
                  </a:lnTo>
                  <a:lnTo>
                    <a:pt x="268" y="184"/>
                  </a:lnTo>
                  <a:lnTo>
                    <a:pt x="272" y="188"/>
                  </a:lnTo>
                  <a:lnTo>
                    <a:pt x="272" y="188"/>
                  </a:lnTo>
                  <a:lnTo>
                    <a:pt x="274" y="190"/>
                  </a:lnTo>
                  <a:lnTo>
                    <a:pt x="276" y="192"/>
                  </a:lnTo>
                  <a:lnTo>
                    <a:pt x="276" y="198"/>
                  </a:lnTo>
                  <a:lnTo>
                    <a:pt x="272" y="202"/>
                  </a:lnTo>
                  <a:lnTo>
                    <a:pt x="272" y="206"/>
                  </a:lnTo>
                  <a:lnTo>
                    <a:pt x="274" y="208"/>
                  </a:lnTo>
                  <a:lnTo>
                    <a:pt x="274" y="208"/>
                  </a:lnTo>
                  <a:lnTo>
                    <a:pt x="274" y="212"/>
                  </a:lnTo>
                  <a:lnTo>
                    <a:pt x="272" y="216"/>
                  </a:lnTo>
                  <a:lnTo>
                    <a:pt x="272" y="220"/>
                  </a:lnTo>
                  <a:lnTo>
                    <a:pt x="272" y="222"/>
                  </a:lnTo>
                  <a:lnTo>
                    <a:pt x="272" y="222"/>
                  </a:lnTo>
                  <a:lnTo>
                    <a:pt x="276" y="228"/>
                  </a:lnTo>
                  <a:lnTo>
                    <a:pt x="272" y="230"/>
                  </a:lnTo>
                  <a:lnTo>
                    <a:pt x="272" y="230"/>
                  </a:lnTo>
                  <a:lnTo>
                    <a:pt x="264" y="226"/>
                  </a:lnTo>
                  <a:lnTo>
                    <a:pt x="262" y="224"/>
                  </a:lnTo>
                  <a:lnTo>
                    <a:pt x="260" y="222"/>
                  </a:lnTo>
                  <a:lnTo>
                    <a:pt x="250" y="218"/>
                  </a:lnTo>
                  <a:lnTo>
                    <a:pt x="250" y="218"/>
                  </a:lnTo>
                  <a:lnTo>
                    <a:pt x="238" y="216"/>
                  </a:lnTo>
                  <a:lnTo>
                    <a:pt x="226" y="216"/>
                  </a:lnTo>
                  <a:lnTo>
                    <a:pt x="196" y="222"/>
                  </a:lnTo>
                  <a:lnTo>
                    <a:pt x="196" y="222"/>
                  </a:lnTo>
                  <a:lnTo>
                    <a:pt x="192" y="224"/>
                  </a:lnTo>
                  <a:lnTo>
                    <a:pt x="190" y="226"/>
                  </a:lnTo>
                  <a:lnTo>
                    <a:pt x="188" y="232"/>
                  </a:lnTo>
                  <a:lnTo>
                    <a:pt x="186" y="240"/>
                  </a:lnTo>
                  <a:lnTo>
                    <a:pt x="182" y="248"/>
                  </a:lnTo>
                  <a:lnTo>
                    <a:pt x="182" y="248"/>
                  </a:lnTo>
                  <a:lnTo>
                    <a:pt x="180" y="252"/>
                  </a:lnTo>
                  <a:lnTo>
                    <a:pt x="180" y="256"/>
                  </a:lnTo>
                  <a:lnTo>
                    <a:pt x="182" y="264"/>
                  </a:lnTo>
                  <a:lnTo>
                    <a:pt x="184" y="274"/>
                  </a:lnTo>
                  <a:lnTo>
                    <a:pt x="184" y="284"/>
                  </a:lnTo>
                  <a:lnTo>
                    <a:pt x="184" y="284"/>
                  </a:lnTo>
                  <a:lnTo>
                    <a:pt x="184" y="298"/>
                  </a:lnTo>
                  <a:lnTo>
                    <a:pt x="186" y="306"/>
                  </a:lnTo>
                  <a:lnTo>
                    <a:pt x="186" y="306"/>
                  </a:lnTo>
                  <a:lnTo>
                    <a:pt x="182" y="306"/>
                  </a:lnTo>
                  <a:lnTo>
                    <a:pt x="180" y="306"/>
                  </a:lnTo>
                  <a:lnTo>
                    <a:pt x="176" y="304"/>
                  </a:lnTo>
                  <a:lnTo>
                    <a:pt x="168" y="306"/>
                  </a:lnTo>
                  <a:lnTo>
                    <a:pt x="168" y="306"/>
                  </a:lnTo>
                  <a:lnTo>
                    <a:pt x="162" y="306"/>
                  </a:lnTo>
                  <a:lnTo>
                    <a:pt x="156" y="304"/>
                  </a:lnTo>
                  <a:lnTo>
                    <a:pt x="152" y="304"/>
                  </a:lnTo>
                  <a:lnTo>
                    <a:pt x="150" y="306"/>
                  </a:lnTo>
                  <a:lnTo>
                    <a:pt x="150" y="306"/>
                  </a:lnTo>
                  <a:lnTo>
                    <a:pt x="148" y="312"/>
                  </a:lnTo>
                  <a:lnTo>
                    <a:pt x="150" y="316"/>
                  </a:lnTo>
                  <a:lnTo>
                    <a:pt x="150" y="318"/>
                  </a:lnTo>
                  <a:lnTo>
                    <a:pt x="148" y="322"/>
                  </a:lnTo>
                  <a:lnTo>
                    <a:pt x="148" y="322"/>
                  </a:lnTo>
                  <a:lnTo>
                    <a:pt x="148" y="322"/>
                  </a:lnTo>
                  <a:lnTo>
                    <a:pt x="148" y="320"/>
                  </a:lnTo>
                  <a:lnTo>
                    <a:pt x="146" y="314"/>
                  </a:lnTo>
                  <a:lnTo>
                    <a:pt x="142" y="308"/>
                  </a:lnTo>
                  <a:lnTo>
                    <a:pt x="138" y="306"/>
                  </a:lnTo>
                  <a:lnTo>
                    <a:pt x="134" y="304"/>
                  </a:lnTo>
                  <a:lnTo>
                    <a:pt x="134" y="304"/>
                  </a:lnTo>
                  <a:lnTo>
                    <a:pt x="124" y="304"/>
                  </a:lnTo>
                  <a:lnTo>
                    <a:pt x="118" y="304"/>
                  </a:lnTo>
                  <a:lnTo>
                    <a:pt x="118" y="304"/>
                  </a:lnTo>
                  <a:lnTo>
                    <a:pt x="116" y="304"/>
                  </a:lnTo>
                  <a:lnTo>
                    <a:pt x="116" y="302"/>
                  </a:lnTo>
                  <a:lnTo>
                    <a:pt x="114" y="298"/>
                  </a:lnTo>
                  <a:lnTo>
                    <a:pt x="108" y="298"/>
                  </a:lnTo>
                  <a:lnTo>
                    <a:pt x="108" y="298"/>
                  </a:lnTo>
                  <a:lnTo>
                    <a:pt x="108" y="300"/>
                  </a:lnTo>
                  <a:lnTo>
                    <a:pt x="106" y="302"/>
                  </a:lnTo>
                  <a:lnTo>
                    <a:pt x="100" y="308"/>
                  </a:lnTo>
                  <a:lnTo>
                    <a:pt x="96" y="312"/>
                  </a:lnTo>
                  <a:lnTo>
                    <a:pt x="94" y="314"/>
                  </a:lnTo>
                  <a:lnTo>
                    <a:pt x="94" y="316"/>
                  </a:lnTo>
                  <a:lnTo>
                    <a:pt x="94" y="316"/>
                  </a:lnTo>
                  <a:lnTo>
                    <a:pt x="96" y="318"/>
                  </a:lnTo>
                  <a:lnTo>
                    <a:pt x="94" y="318"/>
                  </a:lnTo>
                  <a:lnTo>
                    <a:pt x="90" y="322"/>
                  </a:lnTo>
                  <a:lnTo>
                    <a:pt x="90" y="322"/>
                  </a:lnTo>
                  <a:lnTo>
                    <a:pt x="80" y="324"/>
                  </a:lnTo>
                  <a:lnTo>
                    <a:pt x="76" y="322"/>
                  </a:lnTo>
                  <a:lnTo>
                    <a:pt x="74" y="318"/>
                  </a:lnTo>
                  <a:lnTo>
                    <a:pt x="72" y="312"/>
                  </a:lnTo>
                  <a:lnTo>
                    <a:pt x="70" y="296"/>
                  </a:lnTo>
                  <a:lnTo>
                    <a:pt x="66" y="284"/>
                  </a:lnTo>
                  <a:lnTo>
                    <a:pt x="58" y="272"/>
                  </a:lnTo>
                  <a:lnTo>
                    <a:pt x="58" y="272"/>
                  </a:lnTo>
                  <a:lnTo>
                    <a:pt x="54" y="262"/>
                  </a:lnTo>
                  <a:lnTo>
                    <a:pt x="52" y="252"/>
                  </a:lnTo>
                  <a:lnTo>
                    <a:pt x="52" y="244"/>
                  </a:lnTo>
                  <a:lnTo>
                    <a:pt x="48" y="236"/>
                  </a:lnTo>
                  <a:lnTo>
                    <a:pt x="48" y="236"/>
                  </a:lnTo>
                  <a:lnTo>
                    <a:pt x="40" y="222"/>
                  </a:lnTo>
                  <a:lnTo>
                    <a:pt x="36" y="214"/>
                  </a:lnTo>
                  <a:lnTo>
                    <a:pt x="30" y="208"/>
                  </a:lnTo>
                  <a:lnTo>
                    <a:pt x="20" y="198"/>
                  </a:lnTo>
                  <a:lnTo>
                    <a:pt x="20" y="198"/>
                  </a:lnTo>
                  <a:lnTo>
                    <a:pt x="22" y="190"/>
                  </a:lnTo>
                  <a:lnTo>
                    <a:pt x="22" y="188"/>
                  </a:lnTo>
                  <a:lnTo>
                    <a:pt x="20" y="186"/>
                  </a:lnTo>
                  <a:lnTo>
                    <a:pt x="22" y="182"/>
                  </a:lnTo>
                  <a:lnTo>
                    <a:pt x="22" y="182"/>
                  </a:lnTo>
                  <a:lnTo>
                    <a:pt x="26" y="176"/>
                  </a:lnTo>
                  <a:lnTo>
                    <a:pt x="26" y="174"/>
                  </a:lnTo>
                  <a:lnTo>
                    <a:pt x="26" y="170"/>
                  </a:lnTo>
                  <a:lnTo>
                    <a:pt x="30" y="164"/>
                  </a:lnTo>
                  <a:lnTo>
                    <a:pt x="30" y="164"/>
                  </a:lnTo>
                  <a:lnTo>
                    <a:pt x="32" y="158"/>
                  </a:lnTo>
                  <a:lnTo>
                    <a:pt x="32" y="154"/>
                  </a:lnTo>
                  <a:lnTo>
                    <a:pt x="30" y="148"/>
                  </a:lnTo>
                  <a:lnTo>
                    <a:pt x="26" y="142"/>
                  </a:lnTo>
                  <a:lnTo>
                    <a:pt x="26" y="140"/>
                  </a:lnTo>
                  <a:lnTo>
                    <a:pt x="28" y="136"/>
                  </a:lnTo>
                  <a:lnTo>
                    <a:pt x="28" y="136"/>
                  </a:lnTo>
                  <a:lnTo>
                    <a:pt x="28" y="134"/>
                  </a:lnTo>
                  <a:lnTo>
                    <a:pt x="28" y="132"/>
                  </a:lnTo>
                  <a:lnTo>
                    <a:pt x="24" y="128"/>
                  </a:lnTo>
                  <a:lnTo>
                    <a:pt x="22" y="126"/>
                  </a:lnTo>
                  <a:lnTo>
                    <a:pt x="20" y="124"/>
                  </a:lnTo>
                  <a:lnTo>
                    <a:pt x="20" y="120"/>
                  </a:lnTo>
                  <a:lnTo>
                    <a:pt x="24" y="114"/>
                  </a:lnTo>
                  <a:lnTo>
                    <a:pt x="24" y="114"/>
                  </a:lnTo>
                  <a:lnTo>
                    <a:pt x="24" y="110"/>
                  </a:lnTo>
                  <a:lnTo>
                    <a:pt x="24" y="106"/>
                  </a:lnTo>
                  <a:lnTo>
                    <a:pt x="22" y="96"/>
                  </a:lnTo>
                  <a:lnTo>
                    <a:pt x="20" y="86"/>
                  </a:lnTo>
                  <a:lnTo>
                    <a:pt x="20" y="80"/>
                  </a:lnTo>
                  <a:lnTo>
                    <a:pt x="22" y="76"/>
                  </a:lnTo>
                  <a:lnTo>
                    <a:pt x="22" y="76"/>
                  </a:lnTo>
                  <a:lnTo>
                    <a:pt x="24" y="70"/>
                  </a:lnTo>
                  <a:lnTo>
                    <a:pt x="26" y="68"/>
                  </a:lnTo>
                  <a:lnTo>
                    <a:pt x="22" y="58"/>
                  </a:lnTo>
                  <a:lnTo>
                    <a:pt x="12" y="48"/>
                  </a:lnTo>
                  <a:lnTo>
                    <a:pt x="0" y="30"/>
                  </a:lnTo>
                  <a:lnTo>
                    <a:pt x="0" y="3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8" name="Freeform 18"/>
            <p:cNvSpPr>
              <a:spLocks/>
            </p:cNvSpPr>
            <p:nvPr/>
          </p:nvSpPr>
          <p:spPr bwMode="auto">
            <a:xfrm>
              <a:off x="1882476" y="3589073"/>
              <a:ext cx="150813" cy="187854"/>
            </a:xfrm>
            <a:custGeom>
              <a:avLst/>
              <a:gdLst/>
              <a:ahLst/>
              <a:cxnLst>
                <a:cxn ang="0">
                  <a:pos x="36" y="0"/>
                </a:cxn>
                <a:cxn ang="0">
                  <a:pos x="30" y="4"/>
                </a:cxn>
                <a:cxn ang="0">
                  <a:pos x="22" y="8"/>
                </a:cxn>
                <a:cxn ang="0">
                  <a:pos x="20" y="10"/>
                </a:cxn>
                <a:cxn ang="0">
                  <a:pos x="14" y="12"/>
                </a:cxn>
                <a:cxn ang="0">
                  <a:pos x="12" y="14"/>
                </a:cxn>
                <a:cxn ang="0">
                  <a:pos x="14" y="18"/>
                </a:cxn>
                <a:cxn ang="0">
                  <a:pos x="14" y="24"/>
                </a:cxn>
                <a:cxn ang="0">
                  <a:pos x="12" y="28"/>
                </a:cxn>
                <a:cxn ang="0">
                  <a:pos x="12" y="32"/>
                </a:cxn>
                <a:cxn ang="0">
                  <a:pos x="10" y="40"/>
                </a:cxn>
                <a:cxn ang="0">
                  <a:pos x="0" y="64"/>
                </a:cxn>
                <a:cxn ang="0">
                  <a:pos x="2" y="66"/>
                </a:cxn>
                <a:cxn ang="0">
                  <a:pos x="4" y="66"/>
                </a:cxn>
                <a:cxn ang="0">
                  <a:pos x="2" y="70"/>
                </a:cxn>
                <a:cxn ang="0">
                  <a:pos x="4" y="70"/>
                </a:cxn>
                <a:cxn ang="0">
                  <a:pos x="2" y="72"/>
                </a:cxn>
                <a:cxn ang="0">
                  <a:pos x="0" y="78"/>
                </a:cxn>
                <a:cxn ang="0">
                  <a:pos x="0" y="80"/>
                </a:cxn>
                <a:cxn ang="0">
                  <a:pos x="2" y="84"/>
                </a:cxn>
                <a:cxn ang="0">
                  <a:pos x="2" y="86"/>
                </a:cxn>
                <a:cxn ang="0">
                  <a:pos x="4" y="88"/>
                </a:cxn>
                <a:cxn ang="0">
                  <a:pos x="4" y="92"/>
                </a:cxn>
                <a:cxn ang="0">
                  <a:pos x="2" y="92"/>
                </a:cxn>
                <a:cxn ang="0">
                  <a:pos x="4" y="94"/>
                </a:cxn>
                <a:cxn ang="0">
                  <a:pos x="6" y="96"/>
                </a:cxn>
                <a:cxn ang="0">
                  <a:pos x="10" y="100"/>
                </a:cxn>
                <a:cxn ang="0">
                  <a:pos x="12" y="94"/>
                </a:cxn>
                <a:cxn ang="0">
                  <a:pos x="12" y="92"/>
                </a:cxn>
                <a:cxn ang="0">
                  <a:pos x="16" y="90"/>
                </a:cxn>
                <a:cxn ang="0">
                  <a:pos x="18" y="92"/>
                </a:cxn>
                <a:cxn ang="0">
                  <a:pos x="20" y="96"/>
                </a:cxn>
                <a:cxn ang="0">
                  <a:pos x="18" y="104"/>
                </a:cxn>
                <a:cxn ang="0">
                  <a:pos x="10" y="118"/>
                </a:cxn>
                <a:cxn ang="0">
                  <a:pos x="4" y="122"/>
                </a:cxn>
                <a:cxn ang="0">
                  <a:pos x="2" y="130"/>
                </a:cxn>
                <a:cxn ang="0">
                  <a:pos x="6" y="136"/>
                </a:cxn>
                <a:cxn ang="0">
                  <a:pos x="14" y="134"/>
                </a:cxn>
                <a:cxn ang="0">
                  <a:pos x="18" y="134"/>
                </a:cxn>
                <a:cxn ang="0">
                  <a:pos x="28" y="140"/>
                </a:cxn>
                <a:cxn ang="0">
                  <a:pos x="36" y="140"/>
                </a:cxn>
                <a:cxn ang="0">
                  <a:pos x="40" y="136"/>
                </a:cxn>
                <a:cxn ang="0">
                  <a:pos x="46" y="128"/>
                </a:cxn>
                <a:cxn ang="0">
                  <a:pos x="46" y="120"/>
                </a:cxn>
                <a:cxn ang="0">
                  <a:pos x="52" y="116"/>
                </a:cxn>
                <a:cxn ang="0">
                  <a:pos x="58" y="110"/>
                </a:cxn>
                <a:cxn ang="0">
                  <a:pos x="70" y="104"/>
                </a:cxn>
                <a:cxn ang="0">
                  <a:pos x="84" y="96"/>
                </a:cxn>
                <a:cxn ang="0">
                  <a:pos x="100" y="78"/>
                </a:cxn>
                <a:cxn ang="0">
                  <a:pos x="108" y="68"/>
                </a:cxn>
                <a:cxn ang="0">
                  <a:pos x="114" y="52"/>
                </a:cxn>
                <a:cxn ang="0">
                  <a:pos x="112" y="36"/>
                </a:cxn>
                <a:cxn ang="0">
                  <a:pos x="88" y="24"/>
                </a:cxn>
                <a:cxn ang="0">
                  <a:pos x="88" y="26"/>
                </a:cxn>
                <a:cxn ang="0">
                  <a:pos x="86" y="26"/>
                </a:cxn>
                <a:cxn ang="0">
                  <a:pos x="78" y="26"/>
                </a:cxn>
                <a:cxn ang="0">
                  <a:pos x="64" y="18"/>
                </a:cxn>
                <a:cxn ang="0">
                  <a:pos x="60" y="12"/>
                </a:cxn>
                <a:cxn ang="0">
                  <a:pos x="36" y="0"/>
                </a:cxn>
              </a:cxnLst>
              <a:rect l="0" t="0" r="r" b="b"/>
              <a:pathLst>
                <a:path w="114" h="142">
                  <a:moveTo>
                    <a:pt x="36" y="0"/>
                  </a:moveTo>
                  <a:lnTo>
                    <a:pt x="36" y="0"/>
                  </a:lnTo>
                  <a:lnTo>
                    <a:pt x="32" y="2"/>
                  </a:lnTo>
                  <a:lnTo>
                    <a:pt x="30" y="4"/>
                  </a:lnTo>
                  <a:lnTo>
                    <a:pt x="26" y="6"/>
                  </a:lnTo>
                  <a:lnTo>
                    <a:pt x="22" y="8"/>
                  </a:lnTo>
                  <a:lnTo>
                    <a:pt x="22" y="8"/>
                  </a:lnTo>
                  <a:lnTo>
                    <a:pt x="20" y="10"/>
                  </a:lnTo>
                  <a:lnTo>
                    <a:pt x="16" y="10"/>
                  </a:lnTo>
                  <a:lnTo>
                    <a:pt x="14" y="12"/>
                  </a:lnTo>
                  <a:lnTo>
                    <a:pt x="12" y="14"/>
                  </a:lnTo>
                  <a:lnTo>
                    <a:pt x="12" y="14"/>
                  </a:lnTo>
                  <a:lnTo>
                    <a:pt x="12" y="16"/>
                  </a:lnTo>
                  <a:lnTo>
                    <a:pt x="14" y="18"/>
                  </a:lnTo>
                  <a:lnTo>
                    <a:pt x="16" y="18"/>
                  </a:lnTo>
                  <a:lnTo>
                    <a:pt x="14" y="24"/>
                  </a:lnTo>
                  <a:lnTo>
                    <a:pt x="14" y="24"/>
                  </a:lnTo>
                  <a:lnTo>
                    <a:pt x="12" y="28"/>
                  </a:lnTo>
                  <a:lnTo>
                    <a:pt x="12" y="30"/>
                  </a:lnTo>
                  <a:lnTo>
                    <a:pt x="12" y="32"/>
                  </a:lnTo>
                  <a:lnTo>
                    <a:pt x="10" y="40"/>
                  </a:lnTo>
                  <a:lnTo>
                    <a:pt x="10" y="40"/>
                  </a:lnTo>
                  <a:lnTo>
                    <a:pt x="0" y="58"/>
                  </a:lnTo>
                  <a:lnTo>
                    <a:pt x="0" y="64"/>
                  </a:lnTo>
                  <a:lnTo>
                    <a:pt x="0" y="64"/>
                  </a:lnTo>
                  <a:lnTo>
                    <a:pt x="2" y="66"/>
                  </a:lnTo>
                  <a:lnTo>
                    <a:pt x="2" y="66"/>
                  </a:lnTo>
                  <a:lnTo>
                    <a:pt x="4" y="66"/>
                  </a:lnTo>
                  <a:lnTo>
                    <a:pt x="2" y="68"/>
                  </a:lnTo>
                  <a:lnTo>
                    <a:pt x="2" y="70"/>
                  </a:lnTo>
                  <a:lnTo>
                    <a:pt x="4" y="70"/>
                  </a:lnTo>
                  <a:lnTo>
                    <a:pt x="4" y="70"/>
                  </a:lnTo>
                  <a:lnTo>
                    <a:pt x="2" y="72"/>
                  </a:lnTo>
                  <a:lnTo>
                    <a:pt x="2" y="72"/>
                  </a:lnTo>
                  <a:lnTo>
                    <a:pt x="2" y="74"/>
                  </a:lnTo>
                  <a:lnTo>
                    <a:pt x="0" y="78"/>
                  </a:lnTo>
                  <a:lnTo>
                    <a:pt x="0" y="78"/>
                  </a:lnTo>
                  <a:lnTo>
                    <a:pt x="0" y="80"/>
                  </a:lnTo>
                  <a:lnTo>
                    <a:pt x="0" y="82"/>
                  </a:lnTo>
                  <a:lnTo>
                    <a:pt x="2" y="84"/>
                  </a:lnTo>
                  <a:lnTo>
                    <a:pt x="2" y="86"/>
                  </a:lnTo>
                  <a:lnTo>
                    <a:pt x="2" y="86"/>
                  </a:lnTo>
                  <a:lnTo>
                    <a:pt x="2" y="88"/>
                  </a:lnTo>
                  <a:lnTo>
                    <a:pt x="4" y="88"/>
                  </a:lnTo>
                  <a:lnTo>
                    <a:pt x="6" y="90"/>
                  </a:lnTo>
                  <a:lnTo>
                    <a:pt x="4" y="92"/>
                  </a:lnTo>
                  <a:lnTo>
                    <a:pt x="4" y="92"/>
                  </a:lnTo>
                  <a:lnTo>
                    <a:pt x="2" y="92"/>
                  </a:lnTo>
                  <a:lnTo>
                    <a:pt x="2" y="94"/>
                  </a:lnTo>
                  <a:lnTo>
                    <a:pt x="4" y="94"/>
                  </a:lnTo>
                  <a:lnTo>
                    <a:pt x="6" y="96"/>
                  </a:lnTo>
                  <a:lnTo>
                    <a:pt x="6" y="96"/>
                  </a:lnTo>
                  <a:lnTo>
                    <a:pt x="8" y="100"/>
                  </a:lnTo>
                  <a:lnTo>
                    <a:pt x="10" y="100"/>
                  </a:lnTo>
                  <a:lnTo>
                    <a:pt x="12" y="98"/>
                  </a:lnTo>
                  <a:lnTo>
                    <a:pt x="12" y="94"/>
                  </a:lnTo>
                  <a:lnTo>
                    <a:pt x="12" y="94"/>
                  </a:lnTo>
                  <a:lnTo>
                    <a:pt x="12" y="92"/>
                  </a:lnTo>
                  <a:lnTo>
                    <a:pt x="14" y="90"/>
                  </a:lnTo>
                  <a:lnTo>
                    <a:pt x="16" y="90"/>
                  </a:lnTo>
                  <a:lnTo>
                    <a:pt x="18" y="92"/>
                  </a:lnTo>
                  <a:lnTo>
                    <a:pt x="18" y="92"/>
                  </a:lnTo>
                  <a:lnTo>
                    <a:pt x="18" y="94"/>
                  </a:lnTo>
                  <a:lnTo>
                    <a:pt x="20" y="96"/>
                  </a:lnTo>
                  <a:lnTo>
                    <a:pt x="22" y="98"/>
                  </a:lnTo>
                  <a:lnTo>
                    <a:pt x="18" y="104"/>
                  </a:lnTo>
                  <a:lnTo>
                    <a:pt x="18" y="104"/>
                  </a:lnTo>
                  <a:lnTo>
                    <a:pt x="10" y="118"/>
                  </a:lnTo>
                  <a:lnTo>
                    <a:pt x="8" y="122"/>
                  </a:lnTo>
                  <a:lnTo>
                    <a:pt x="4" y="122"/>
                  </a:lnTo>
                  <a:lnTo>
                    <a:pt x="4" y="122"/>
                  </a:lnTo>
                  <a:lnTo>
                    <a:pt x="2" y="130"/>
                  </a:lnTo>
                  <a:lnTo>
                    <a:pt x="4" y="134"/>
                  </a:lnTo>
                  <a:lnTo>
                    <a:pt x="6" y="136"/>
                  </a:lnTo>
                  <a:lnTo>
                    <a:pt x="14" y="134"/>
                  </a:lnTo>
                  <a:lnTo>
                    <a:pt x="14" y="134"/>
                  </a:lnTo>
                  <a:lnTo>
                    <a:pt x="16" y="134"/>
                  </a:lnTo>
                  <a:lnTo>
                    <a:pt x="18" y="134"/>
                  </a:lnTo>
                  <a:lnTo>
                    <a:pt x="24" y="138"/>
                  </a:lnTo>
                  <a:lnTo>
                    <a:pt x="28" y="140"/>
                  </a:lnTo>
                  <a:lnTo>
                    <a:pt x="32" y="142"/>
                  </a:lnTo>
                  <a:lnTo>
                    <a:pt x="36" y="140"/>
                  </a:lnTo>
                  <a:lnTo>
                    <a:pt x="40" y="136"/>
                  </a:lnTo>
                  <a:lnTo>
                    <a:pt x="40" y="136"/>
                  </a:lnTo>
                  <a:lnTo>
                    <a:pt x="44" y="132"/>
                  </a:lnTo>
                  <a:lnTo>
                    <a:pt x="46" y="128"/>
                  </a:lnTo>
                  <a:lnTo>
                    <a:pt x="46" y="124"/>
                  </a:lnTo>
                  <a:lnTo>
                    <a:pt x="46" y="120"/>
                  </a:lnTo>
                  <a:lnTo>
                    <a:pt x="52" y="116"/>
                  </a:lnTo>
                  <a:lnTo>
                    <a:pt x="52" y="116"/>
                  </a:lnTo>
                  <a:lnTo>
                    <a:pt x="56" y="112"/>
                  </a:lnTo>
                  <a:lnTo>
                    <a:pt x="58" y="110"/>
                  </a:lnTo>
                  <a:lnTo>
                    <a:pt x="60" y="108"/>
                  </a:lnTo>
                  <a:lnTo>
                    <a:pt x="70" y="104"/>
                  </a:lnTo>
                  <a:lnTo>
                    <a:pt x="70" y="104"/>
                  </a:lnTo>
                  <a:lnTo>
                    <a:pt x="84" y="96"/>
                  </a:lnTo>
                  <a:lnTo>
                    <a:pt x="94" y="88"/>
                  </a:lnTo>
                  <a:lnTo>
                    <a:pt x="100" y="78"/>
                  </a:lnTo>
                  <a:lnTo>
                    <a:pt x="108" y="68"/>
                  </a:lnTo>
                  <a:lnTo>
                    <a:pt x="108" y="68"/>
                  </a:lnTo>
                  <a:lnTo>
                    <a:pt x="114" y="60"/>
                  </a:lnTo>
                  <a:lnTo>
                    <a:pt x="114" y="52"/>
                  </a:lnTo>
                  <a:lnTo>
                    <a:pt x="112" y="36"/>
                  </a:lnTo>
                  <a:lnTo>
                    <a:pt x="112" y="36"/>
                  </a:lnTo>
                  <a:lnTo>
                    <a:pt x="94" y="26"/>
                  </a:lnTo>
                  <a:lnTo>
                    <a:pt x="88" y="24"/>
                  </a:lnTo>
                  <a:lnTo>
                    <a:pt x="86" y="24"/>
                  </a:lnTo>
                  <a:lnTo>
                    <a:pt x="88" y="26"/>
                  </a:lnTo>
                  <a:lnTo>
                    <a:pt x="88" y="26"/>
                  </a:lnTo>
                  <a:lnTo>
                    <a:pt x="86" y="26"/>
                  </a:lnTo>
                  <a:lnTo>
                    <a:pt x="86" y="28"/>
                  </a:lnTo>
                  <a:lnTo>
                    <a:pt x="78" y="26"/>
                  </a:lnTo>
                  <a:lnTo>
                    <a:pt x="70" y="22"/>
                  </a:lnTo>
                  <a:lnTo>
                    <a:pt x="64" y="18"/>
                  </a:lnTo>
                  <a:lnTo>
                    <a:pt x="64" y="18"/>
                  </a:lnTo>
                  <a:lnTo>
                    <a:pt x="60" y="12"/>
                  </a:lnTo>
                  <a:lnTo>
                    <a:pt x="54" y="8"/>
                  </a:lnTo>
                  <a:lnTo>
                    <a:pt x="36" y="0"/>
                  </a:lnTo>
                  <a:lnTo>
                    <a:pt x="36" y="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0" name="Freeform 20"/>
            <p:cNvSpPr>
              <a:spLocks/>
            </p:cNvSpPr>
            <p:nvPr/>
          </p:nvSpPr>
          <p:spPr bwMode="auto">
            <a:xfrm>
              <a:off x="2517476" y="3417094"/>
              <a:ext cx="121708" cy="145521"/>
            </a:xfrm>
            <a:custGeom>
              <a:avLst/>
              <a:gdLst/>
              <a:ahLst/>
              <a:cxnLst>
                <a:cxn ang="0">
                  <a:pos x="72" y="100"/>
                </a:cxn>
                <a:cxn ang="0">
                  <a:pos x="80" y="90"/>
                </a:cxn>
                <a:cxn ang="0">
                  <a:pos x="82" y="82"/>
                </a:cxn>
                <a:cxn ang="0">
                  <a:pos x="82" y="78"/>
                </a:cxn>
                <a:cxn ang="0">
                  <a:pos x="86" y="70"/>
                </a:cxn>
                <a:cxn ang="0">
                  <a:pos x="84" y="66"/>
                </a:cxn>
                <a:cxn ang="0">
                  <a:pos x="80" y="52"/>
                </a:cxn>
                <a:cxn ang="0">
                  <a:pos x="76" y="48"/>
                </a:cxn>
                <a:cxn ang="0">
                  <a:pos x="78" y="42"/>
                </a:cxn>
                <a:cxn ang="0">
                  <a:pos x="76" y="38"/>
                </a:cxn>
                <a:cxn ang="0">
                  <a:pos x="78" y="24"/>
                </a:cxn>
                <a:cxn ang="0">
                  <a:pos x="92" y="8"/>
                </a:cxn>
                <a:cxn ang="0">
                  <a:pos x="90" y="4"/>
                </a:cxn>
                <a:cxn ang="0">
                  <a:pos x="80" y="2"/>
                </a:cxn>
                <a:cxn ang="0">
                  <a:pos x="76" y="2"/>
                </a:cxn>
                <a:cxn ang="0">
                  <a:pos x="70" y="2"/>
                </a:cxn>
                <a:cxn ang="0">
                  <a:pos x="62" y="4"/>
                </a:cxn>
                <a:cxn ang="0">
                  <a:pos x="60" y="4"/>
                </a:cxn>
                <a:cxn ang="0">
                  <a:pos x="56" y="4"/>
                </a:cxn>
                <a:cxn ang="0">
                  <a:pos x="50" y="4"/>
                </a:cxn>
                <a:cxn ang="0">
                  <a:pos x="44" y="4"/>
                </a:cxn>
                <a:cxn ang="0">
                  <a:pos x="30" y="0"/>
                </a:cxn>
                <a:cxn ang="0">
                  <a:pos x="24" y="4"/>
                </a:cxn>
                <a:cxn ang="0">
                  <a:pos x="16" y="14"/>
                </a:cxn>
                <a:cxn ang="0">
                  <a:pos x="12" y="20"/>
                </a:cxn>
                <a:cxn ang="0">
                  <a:pos x="12" y="26"/>
                </a:cxn>
                <a:cxn ang="0">
                  <a:pos x="8" y="28"/>
                </a:cxn>
                <a:cxn ang="0">
                  <a:pos x="2" y="32"/>
                </a:cxn>
                <a:cxn ang="0">
                  <a:pos x="2" y="42"/>
                </a:cxn>
                <a:cxn ang="0">
                  <a:pos x="0" y="50"/>
                </a:cxn>
                <a:cxn ang="0">
                  <a:pos x="4" y="60"/>
                </a:cxn>
                <a:cxn ang="0">
                  <a:pos x="4" y="66"/>
                </a:cxn>
                <a:cxn ang="0">
                  <a:pos x="6" y="68"/>
                </a:cxn>
                <a:cxn ang="0">
                  <a:pos x="12" y="72"/>
                </a:cxn>
                <a:cxn ang="0">
                  <a:pos x="16" y="80"/>
                </a:cxn>
                <a:cxn ang="0">
                  <a:pos x="20" y="86"/>
                </a:cxn>
                <a:cxn ang="0">
                  <a:pos x="24" y="96"/>
                </a:cxn>
                <a:cxn ang="0">
                  <a:pos x="28" y="106"/>
                </a:cxn>
                <a:cxn ang="0">
                  <a:pos x="32" y="108"/>
                </a:cxn>
                <a:cxn ang="0">
                  <a:pos x="50" y="108"/>
                </a:cxn>
                <a:cxn ang="0">
                  <a:pos x="46" y="104"/>
                </a:cxn>
                <a:cxn ang="0">
                  <a:pos x="48" y="100"/>
                </a:cxn>
                <a:cxn ang="0">
                  <a:pos x="50" y="102"/>
                </a:cxn>
                <a:cxn ang="0">
                  <a:pos x="56" y="102"/>
                </a:cxn>
                <a:cxn ang="0">
                  <a:pos x="58" y="102"/>
                </a:cxn>
                <a:cxn ang="0">
                  <a:pos x="60" y="98"/>
                </a:cxn>
                <a:cxn ang="0">
                  <a:pos x="64" y="96"/>
                </a:cxn>
                <a:cxn ang="0">
                  <a:pos x="68" y="98"/>
                </a:cxn>
                <a:cxn ang="0">
                  <a:pos x="72" y="100"/>
                </a:cxn>
              </a:cxnLst>
              <a:rect l="0" t="0" r="r" b="b"/>
              <a:pathLst>
                <a:path w="92" h="110">
                  <a:moveTo>
                    <a:pt x="72" y="100"/>
                  </a:moveTo>
                  <a:lnTo>
                    <a:pt x="72" y="100"/>
                  </a:lnTo>
                  <a:lnTo>
                    <a:pt x="76" y="94"/>
                  </a:lnTo>
                  <a:lnTo>
                    <a:pt x="80" y="90"/>
                  </a:lnTo>
                  <a:lnTo>
                    <a:pt x="82" y="86"/>
                  </a:lnTo>
                  <a:lnTo>
                    <a:pt x="82" y="82"/>
                  </a:lnTo>
                  <a:lnTo>
                    <a:pt x="82" y="82"/>
                  </a:lnTo>
                  <a:lnTo>
                    <a:pt x="82" y="78"/>
                  </a:lnTo>
                  <a:lnTo>
                    <a:pt x="84" y="74"/>
                  </a:lnTo>
                  <a:lnTo>
                    <a:pt x="86" y="70"/>
                  </a:lnTo>
                  <a:lnTo>
                    <a:pt x="84" y="66"/>
                  </a:lnTo>
                  <a:lnTo>
                    <a:pt x="84" y="66"/>
                  </a:lnTo>
                  <a:lnTo>
                    <a:pt x="82" y="58"/>
                  </a:lnTo>
                  <a:lnTo>
                    <a:pt x="80" y="52"/>
                  </a:lnTo>
                  <a:lnTo>
                    <a:pt x="80" y="52"/>
                  </a:lnTo>
                  <a:lnTo>
                    <a:pt x="76" y="48"/>
                  </a:lnTo>
                  <a:lnTo>
                    <a:pt x="78" y="44"/>
                  </a:lnTo>
                  <a:lnTo>
                    <a:pt x="78" y="42"/>
                  </a:lnTo>
                  <a:lnTo>
                    <a:pt x="76" y="38"/>
                  </a:lnTo>
                  <a:lnTo>
                    <a:pt x="76" y="38"/>
                  </a:lnTo>
                  <a:lnTo>
                    <a:pt x="76" y="32"/>
                  </a:lnTo>
                  <a:lnTo>
                    <a:pt x="78" y="24"/>
                  </a:lnTo>
                  <a:lnTo>
                    <a:pt x="84" y="16"/>
                  </a:lnTo>
                  <a:lnTo>
                    <a:pt x="92" y="8"/>
                  </a:lnTo>
                  <a:lnTo>
                    <a:pt x="92" y="8"/>
                  </a:lnTo>
                  <a:lnTo>
                    <a:pt x="90" y="4"/>
                  </a:lnTo>
                  <a:lnTo>
                    <a:pt x="86" y="2"/>
                  </a:lnTo>
                  <a:lnTo>
                    <a:pt x="80" y="2"/>
                  </a:lnTo>
                  <a:lnTo>
                    <a:pt x="76" y="2"/>
                  </a:lnTo>
                  <a:lnTo>
                    <a:pt x="76" y="2"/>
                  </a:lnTo>
                  <a:lnTo>
                    <a:pt x="74" y="2"/>
                  </a:lnTo>
                  <a:lnTo>
                    <a:pt x="70" y="2"/>
                  </a:lnTo>
                  <a:lnTo>
                    <a:pt x="66" y="2"/>
                  </a:lnTo>
                  <a:lnTo>
                    <a:pt x="62" y="4"/>
                  </a:lnTo>
                  <a:lnTo>
                    <a:pt x="62" y="4"/>
                  </a:lnTo>
                  <a:lnTo>
                    <a:pt x="60" y="4"/>
                  </a:lnTo>
                  <a:lnTo>
                    <a:pt x="58" y="4"/>
                  </a:lnTo>
                  <a:lnTo>
                    <a:pt x="56" y="4"/>
                  </a:lnTo>
                  <a:lnTo>
                    <a:pt x="50" y="4"/>
                  </a:lnTo>
                  <a:lnTo>
                    <a:pt x="50" y="4"/>
                  </a:lnTo>
                  <a:lnTo>
                    <a:pt x="48" y="6"/>
                  </a:lnTo>
                  <a:lnTo>
                    <a:pt x="44" y="4"/>
                  </a:lnTo>
                  <a:lnTo>
                    <a:pt x="38" y="2"/>
                  </a:lnTo>
                  <a:lnTo>
                    <a:pt x="30" y="0"/>
                  </a:lnTo>
                  <a:lnTo>
                    <a:pt x="26" y="0"/>
                  </a:lnTo>
                  <a:lnTo>
                    <a:pt x="24" y="4"/>
                  </a:lnTo>
                  <a:lnTo>
                    <a:pt x="24" y="4"/>
                  </a:lnTo>
                  <a:lnTo>
                    <a:pt x="16" y="14"/>
                  </a:lnTo>
                  <a:lnTo>
                    <a:pt x="16" y="14"/>
                  </a:lnTo>
                  <a:lnTo>
                    <a:pt x="12" y="20"/>
                  </a:lnTo>
                  <a:lnTo>
                    <a:pt x="12" y="24"/>
                  </a:lnTo>
                  <a:lnTo>
                    <a:pt x="12" y="26"/>
                  </a:lnTo>
                  <a:lnTo>
                    <a:pt x="8" y="28"/>
                  </a:lnTo>
                  <a:lnTo>
                    <a:pt x="8" y="28"/>
                  </a:lnTo>
                  <a:lnTo>
                    <a:pt x="4" y="30"/>
                  </a:lnTo>
                  <a:lnTo>
                    <a:pt x="2" y="32"/>
                  </a:lnTo>
                  <a:lnTo>
                    <a:pt x="4" y="34"/>
                  </a:lnTo>
                  <a:lnTo>
                    <a:pt x="2" y="42"/>
                  </a:lnTo>
                  <a:lnTo>
                    <a:pt x="2" y="42"/>
                  </a:lnTo>
                  <a:lnTo>
                    <a:pt x="0" y="50"/>
                  </a:lnTo>
                  <a:lnTo>
                    <a:pt x="2" y="56"/>
                  </a:lnTo>
                  <a:lnTo>
                    <a:pt x="4" y="60"/>
                  </a:lnTo>
                  <a:lnTo>
                    <a:pt x="4" y="66"/>
                  </a:lnTo>
                  <a:lnTo>
                    <a:pt x="4" y="66"/>
                  </a:lnTo>
                  <a:lnTo>
                    <a:pt x="6" y="68"/>
                  </a:lnTo>
                  <a:lnTo>
                    <a:pt x="6" y="68"/>
                  </a:lnTo>
                  <a:lnTo>
                    <a:pt x="10" y="68"/>
                  </a:lnTo>
                  <a:lnTo>
                    <a:pt x="12" y="72"/>
                  </a:lnTo>
                  <a:lnTo>
                    <a:pt x="12" y="72"/>
                  </a:lnTo>
                  <a:lnTo>
                    <a:pt x="16" y="80"/>
                  </a:lnTo>
                  <a:lnTo>
                    <a:pt x="20" y="86"/>
                  </a:lnTo>
                  <a:lnTo>
                    <a:pt x="20" y="86"/>
                  </a:lnTo>
                  <a:lnTo>
                    <a:pt x="22" y="90"/>
                  </a:lnTo>
                  <a:lnTo>
                    <a:pt x="24" y="96"/>
                  </a:lnTo>
                  <a:lnTo>
                    <a:pt x="26" y="104"/>
                  </a:lnTo>
                  <a:lnTo>
                    <a:pt x="28" y="106"/>
                  </a:lnTo>
                  <a:lnTo>
                    <a:pt x="32" y="108"/>
                  </a:lnTo>
                  <a:lnTo>
                    <a:pt x="32" y="108"/>
                  </a:lnTo>
                  <a:lnTo>
                    <a:pt x="46" y="110"/>
                  </a:lnTo>
                  <a:lnTo>
                    <a:pt x="50" y="108"/>
                  </a:lnTo>
                  <a:lnTo>
                    <a:pt x="50" y="106"/>
                  </a:lnTo>
                  <a:lnTo>
                    <a:pt x="46" y="104"/>
                  </a:lnTo>
                  <a:lnTo>
                    <a:pt x="44" y="102"/>
                  </a:lnTo>
                  <a:lnTo>
                    <a:pt x="48" y="100"/>
                  </a:lnTo>
                  <a:lnTo>
                    <a:pt x="48" y="100"/>
                  </a:lnTo>
                  <a:lnTo>
                    <a:pt x="50" y="102"/>
                  </a:lnTo>
                  <a:lnTo>
                    <a:pt x="52" y="102"/>
                  </a:lnTo>
                  <a:lnTo>
                    <a:pt x="56" y="102"/>
                  </a:lnTo>
                  <a:lnTo>
                    <a:pt x="56" y="102"/>
                  </a:lnTo>
                  <a:lnTo>
                    <a:pt x="58" y="102"/>
                  </a:lnTo>
                  <a:lnTo>
                    <a:pt x="60" y="100"/>
                  </a:lnTo>
                  <a:lnTo>
                    <a:pt x="60" y="98"/>
                  </a:lnTo>
                  <a:lnTo>
                    <a:pt x="64" y="96"/>
                  </a:lnTo>
                  <a:lnTo>
                    <a:pt x="64" y="96"/>
                  </a:lnTo>
                  <a:lnTo>
                    <a:pt x="66" y="98"/>
                  </a:lnTo>
                  <a:lnTo>
                    <a:pt x="68" y="98"/>
                  </a:lnTo>
                  <a:lnTo>
                    <a:pt x="68" y="100"/>
                  </a:lnTo>
                  <a:lnTo>
                    <a:pt x="72" y="100"/>
                  </a:lnTo>
                  <a:lnTo>
                    <a:pt x="72" y="10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1" name="Freeform 21"/>
            <p:cNvSpPr>
              <a:spLocks/>
            </p:cNvSpPr>
            <p:nvPr/>
          </p:nvSpPr>
          <p:spPr bwMode="auto">
            <a:xfrm>
              <a:off x="2430163" y="3337719"/>
              <a:ext cx="129646" cy="246063"/>
            </a:xfrm>
            <a:custGeom>
              <a:avLst/>
              <a:gdLst/>
              <a:ahLst/>
              <a:cxnLst>
                <a:cxn ang="0">
                  <a:pos x="36" y="0"/>
                </a:cxn>
                <a:cxn ang="0">
                  <a:pos x="56" y="12"/>
                </a:cxn>
                <a:cxn ang="0">
                  <a:pos x="66" y="30"/>
                </a:cxn>
                <a:cxn ang="0">
                  <a:pos x="66" y="36"/>
                </a:cxn>
                <a:cxn ang="0">
                  <a:pos x="76" y="40"/>
                </a:cxn>
                <a:cxn ang="0">
                  <a:pos x="82" y="52"/>
                </a:cxn>
                <a:cxn ang="0">
                  <a:pos x="88" y="54"/>
                </a:cxn>
                <a:cxn ang="0">
                  <a:pos x="82" y="74"/>
                </a:cxn>
                <a:cxn ang="0">
                  <a:pos x="78" y="84"/>
                </a:cxn>
                <a:cxn ang="0">
                  <a:pos x="74" y="88"/>
                </a:cxn>
                <a:cxn ang="0">
                  <a:pos x="70" y="94"/>
                </a:cxn>
                <a:cxn ang="0">
                  <a:pos x="66" y="110"/>
                </a:cxn>
                <a:cxn ang="0">
                  <a:pos x="70" y="126"/>
                </a:cxn>
                <a:cxn ang="0">
                  <a:pos x="72" y="128"/>
                </a:cxn>
                <a:cxn ang="0">
                  <a:pos x="78" y="132"/>
                </a:cxn>
                <a:cxn ang="0">
                  <a:pos x="86" y="146"/>
                </a:cxn>
                <a:cxn ang="0">
                  <a:pos x="92" y="164"/>
                </a:cxn>
                <a:cxn ang="0">
                  <a:pos x="98" y="168"/>
                </a:cxn>
                <a:cxn ang="0">
                  <a:pos x="86" y="166"/>
                </a:cxn>
                <a:cxn ang="0">
                  <a:pos x="84" y="166"/>
                </a:cxn>
                <a:cxn ang="0">
                  <a:pos x="72" y="174"/>
                </a:cxn>
                <a:cxn ang="0">
                  <a:pos x="60" y="180"/>
                </a:cxn>
                <a:cxn ang="0">
                  <a:pos x="56" y="182"/>
                </a:cxn>
                <a:cxn ang="0">
                  <a:pos x="52" y="186"/>
                </a:cxn>
                <a:cxn ang="0">
                  <a:pos x="42" y="180"/>
                </a:cxn>
                <a:cxn ang="0">
                  <a:pos x="40" y="172"/>
                </a:cxn>
                <a:cxn ang="0">
                  <a:pos x="34" y="160"/>
                </a:cxn>
                <a:cxn ang="0">
                  <a:pos x="30" y="152"/>
                </a:cxn>
                <a:cxn ang="0">
                  <a:pos x="30" y="146"/>
                </a:cxn>
                <a:cxn ang="0">
                  <a:pos x="28" y="138"/>
                </a:cxn>
                <a:cxn ang="0">
                  <a:pos x="30" y="132"/>
                </a:cxn>
                <a:cxn ang="0">
                  <a:pos x="32" y="120"/>
                </a:cxn>
                <a:cxn ang="0">
                  <a:pos x="38" y="110"/>
                </a:cxn>
                <a:cxn ang="0">
                  <a:pos x="34" y="104"/>
                </a:cxn>
                <a:cxn ang="0">
                  <a:pos x="32" y="98"/>
                </a:cxn>
                <a:cxn ang="0">
                  <a:pos x="24" y="96"/>
                </a:cxn>
                <a:cxn ang="0">
                  <a:pos x="26" y="86"/>
                </a:cxn>
                <a:cxn ang="0">
                  <a:pos x="14" y="84"/>
                </a:cxn>
                <a:cxn ang="0">
                  <a:pos x="2" y="64"/>
                </a:cxn>
                <a:cxn ang="0">
                  <a:pos x="2" y="56"/>
                </a:cxn>
                <a:cxn ang="0">
                  <a:pos x="6" y="46"/>
                </a:cxn>
                <a:cxn ang="0">
                  <a:pos x="6" y="40"/>
                </a:cxn>
                <a:cxn ang="0">
                  <a:pos x="20" y="32"/>
                </a:cxn>
                <a:cxn ang="0">
                  <a:pos x="14" y="26"/>
                </a:cxn>
                <a:cxn ang="0">
                  <a:pos x="10" y="26"/>
                </a:cxn>
                <a:cxn ang="0">
                  <a:pos x="12" y="20"/>
                </a:cxn>
                <a:cxn ang="0">
                  <a:pos x="14" y="14"/>
                </a:cxn>
                <a:cxn ang="0">
                  <a:pos x="18" y="10"/>
                </a:cxn>
                <a:cxn ang="0">
                  <a:pos x="30" y="8"/>
                </a:cxn>
                <a:cxn ang="0">
                  <a:pos x="30" y="2"/>
                </a:cxn>
              </a:cxnLst>
              <a:rect l="0" t="0" r="r" b="b"/>
              <a:pathLst>
                <a:path w="98" h="186">
                  <a:moveTo>
                    <a:pt x="30" y="2"/>
                  </a:moveTo>
                  <a:lnTo>
                    <a:pt x="30" y="2"/>
                  </a:lnTo>
                  <a:lnTo>
                    <a:pt x="36" y="0"/>
                  </a:lnTo>
                  <a:lnTo>
                    <a:pt x="40" y="0"/>
                  </a:lnTo>
                  <a:lnTo>
                    <a:pt x="56" y="12"/>
                  </a:lnTo>
                  <a:lnTo>
                    <a:pt x="56" y="12"/>
                  </a:lnTo>
                  <a:lnTo>
                    <a:pt x="64" y="20"/>
                  </a:lnTo>
                  <a:lnTo>
                    <a:pt x="66" y="24"/>
                  </a:lnTo>
                  <a:lnTo>
                    <a:pt x="66" y="30"/>
                  </a:lnTo>
                  <a:lnTo>
                    <a:pt x="62" y="38"/>
                  </a:lnTo>
                  <a:lnTo>
                    <a:pt x="62" y="38"/>
                  </a:lnTo>
                  <a:lnTo>
                    <a:pt x="66" y="36"/>
                  </a:lnTo>
                  <a:lnTo>
                    <a:pt x="70" y="36"/>
                  </a:lnTo>
                  <a:lnTo>
                    <a:pt x="76" y="40"/>
                  </a:lnTo>
                  <a:lnTo>
                    <a:pt x="76" y="40"/>
                  </a:lnTo>
                  <a:lnTo>
                    <a:pt x="80" y="46"/>
                  </a:lnTo>
                  <a:lnTo>
                    <a:pt x="82" y="48"/>
                  </a:lnTo>
                  <a:lnTo>
                    <a:pt x="82" y="52"/>
                  </a:lnTo>
                  <a:lnTo>
                    <a:pt x="86" y="52"/>
                  </a:lnTo>
                  <a:lnTo>
                    <a:pt x="86" y="52"/>
                  </a:lnTo>
                  <a:lnTo>
                    <a:pt x="88" y="54"/>
                  </a:lnTo>
                  <a:lnTo>
                    <a:pt x="88" y="56"/>
                  </a:lnTo>
                  <a:lnTo>
                    <a:pt x="86" y="64"/>
                  </a:lnTo>
                  <a:lnTo>
                    <a:pt x="82" y="74"/>
                  </a:lnTo>
                  <a:lnTo>
                    <a:pt x="82" y="74"/>
                  </a:lnTo>
                  <a:lnTo>
                    <a:pt x="78" y="80"/>
                  </a:lnTo>
                  <a:lnTo>
                    <a:pt x="78" y="84"/>
                  </a:lnTo>
                  <a:lnTo>
                    <a:pt x="78" y="86"/>
                  </a:lnTo>
                  <a:lnTo>
                    <a:pt x="74" y="88"/>
                  </a:lnTo>
                  <a:lnTo>
                    <a:pt x="74" y="88"/>
                  </a:lnTo>
                  <a:lnTo>
                    <a:pt x="70" y="90"/>
                  </a:lnTo>
                  <a:lnTo>
                    <a:pt x="68" y="92"/>
                  </a:lnTo>
                  <a:lnTo>
                    <a:pt x="70" y="94"/>
                  </a:lnTo>
                  <a:lnTo>
                    <a:pt x="68" y="102"/>
                  </a:lnTo>
                  <a:lnTo>
                    <a:pt x="68" y="102"/>
                  </a:lnTo>
                  <a:lnTo>
                    <a:pt x="66" y="110"/>
                  </a:lnTo>
                  <a:lnTo>
                    <a:pt x="68" y="116"/>
                  </a:lnTo>
                  <a:lnTo>
                    <a:pt x="70" y="120"/>
                  </a:lnTo>
                  <a:lnTo>
                    <a:pt x="70" y="126"/>
                  </a:lnTo>
                  <a:lnTo>
                    <a:pt x="70" y="126"/>
                  </a:lnTo>
                  <a:lnTo>
                    <a:pt x="72" y="128"/>
                  </a:lnTo>
                  <a:lnTo>
                    <a:pt x="72" y="128"/>
                  </a:lnTo>
                  <a:lnTo>
                    <a:pt x="76" y="128"/>
                  </a:lnTo>
                  <a:lnTo>
                    <a:pt x="78" y="132"/>
                  </a:lnTo>
                  <a:lnTo>
                    <a:pt x="78" y="132"/>
                  </a:lnTo>
                  <a:lnTo>
                    <a:pt x="82" y="140"/>
                  </a:lnTo>
                  <a:lnTo>
                    <a:pt x="86" y="146"/>
                  </a:lnTo>
                  <a:lnTo>
                    <a:pt x="86" y="146"/>
                  </a:lnTo>
                  <a:lnTo>
                    <a:pt x="88" y="150"/>
                  </a:lnTo>
                  <a:lnTo>
                    <a:pt x="90" y="156"/>
                  </a:lnTo>
                  <a:lnTo>
                    <a:pt x="92" y="164"/>
                  </a:lnTo>
                  <a:lnTo>
                    <a:pt x="94" y="166"/>
                  </a:lnTo>
                  <a:lnTo>
                    <a:pt x="98" y="168"/>
                  </a:lnTo>
                  <a:lnTo>
                    <a:pt x="98" y="168"/>
                  </a:lnTo>
                  <a:lnTo>
                    <a:pt x="90" y="170"/>
                  </a:lnTo>
                  <a:lnTo>
                    <a:pt x="88" y="168"/>
                  </a:lnTo>
                  <a:lnTo>
                    <a:pt x="86" y="166"/>
                  </a:lnTo>
                  <a:lnTo>
                    <a:pt x="86" y="166"/>
                  </a:lnTo>
                  <a:lnTo>
                    <a:pt x="86" y="166"/>
                  </a:lnTo>
                  <a:lnTo>
                    <a:pt x="84" y="166"/>
                  </a:lnTo>
                  <a:lnTo>
                    <a:pt x="82" y="168"/>
                  </a:lnTo>
                  <a:lnTo>
                    <a:pt x="80" y="170"/>
                  </a:lnTo>
                  <a:lnTo>
                    <a:pt x="72" y="174"/>
                  </a:lnTo>
                  <a:lnTo>
                    <a:pt x="72" y="174"/>
                  </a:lnTo>
                  <a:lnTo>
                    <a:pt x="64" y="176"/>
                  </a:lnTo>
                  <a:lnTo>
                    <a:pt x="60" y="180"/>
                  </a:lnTo>
                  <a:lnTo>
                    <a:pt x="60" y="184"/>
                  </a:lnTo>
                  <a:lnTo>
                    <a:pt x="60" y="184"/>
                  </a:lnTo>
                  <a:lnTo>
                    <a:pt x="56" y="182"/>
                  </a:lnTo>
                  <a:lnTo>
                    <a:pt x="54" y="184"/>
                  </a:lnTo>
                  <a:lnTo>
                    <a:pt x="52" y="186"/>
                  </a:lnTo>
                  <a:lnTo>
                    <a:pt x="52" y="186"/>
                  </a:lnTo>
                  <a:lnTo>
                    <a:pt x="48" y="184"/>
                  </a:lnTo>
                  <a:lnTo>
                    <a:pt x="46" y="182"/>
                  </a:lnTo>
                  <a:lnTo>
                    <a:pt x="42" y="180"/>
                  </a:lnTo>
                  <a:lnTo>
                    <a:pt x="40" y="174"/>
                  </a:lnTo>
                  <a:lnTo>
                    <a:pt x="40" y="174"/>
                  </a:lnTo>
                  <a:lnTo>
                    <a:pt x="40" y="172"/>
                  </a:lnTo>
                  <a:lnTo>
                    <a:pt x="38" y="170"/>
                  </a:lnTo>
                  <a:lnTo>
                    <a:pt x="36" y="168"/>
                  </a:lnTo>
                  <a:lnTo>
                    <a:pt x="34" y="160"/>
                  </a:lnTo>
                  <a:lnTo>
                    <a:pt x="34" y="160"/>
                  </a:lnTo>
                  <a:lnTo>
                    <a:pt x="32" y="154"/>
                  </a:lnTo>
                  <a:lnTo>
                    <a:pt x="30" y="152"/>
                  </a:lnTo>
                  <a:lnTo>
                    <a:pt x="28" y="150"/>
                  </a:lnTo>
                  <a:lnTo>
                    <a:pt x="30" y="146"/>
                  </a:lnTo>
                  <a:lnTo>
                    <a:pt x="30" y="146"/>
                  </a:lnTo>
                  <a:lnTo>
                    <a:pt x="32" y="144"/>
                  </a:lnTo>
                  <a:lnTo>
                    <a:pt x="30" y="140"/>
                  </a:lnTo>
                  <a:lnTo>
                    <a:pt x="28" y="138"/>
                  </a:lnTo>
                  <a:lnTo>
                    <a:pt x="28" y="134"/>
                  </a:lnTo>
                  <a:lnTo>
                    <a:pt x="28" y="134"/>
                  </a:lnTo>
                  <a:lnTo>
                    <a:pt x="30" y="132"/>
                  </a:lnTo>
                  <a:lnTo>
                    <a:pt x="28" y="130"/>
                  </a:lnTo>
                  <a:lnTo>
                    <a:pt x="28" y="126"/>
                  </a:lnTo>
                  <a:lnTo>
                    <a:pt x="32" y="120"/>
                  </a:lnTo>
                  <a:lnTo>
                    <a:pt x="32" y="120"/>
                  </a:lnTo>
                  <a:lnTo>
                    <a:pt x="38" y="112"/>
                  </a:lnTo>
                  <a:lnTo>
                    <a:pt x="38" y="110"/>
                  </a:lnTo>
                  <a:lnTo>
                    <a:pt x="38" y="110"/>
                  </a:lnTo>
                  <a:lnTo>
                    <a:pt x="34" y="108"/>
                  </a:lnTo>
                  <a:lnTo>
                    <a:pt x="34" y="104"/>
                  </a:lnTo>
                  <a:lnTo>
                    <a:pt x="32" y="100"/>
                  </a:lnTo>
                  <a:lnTo>
                    <a:pt x="32" y="100"/>
                  </a:lnTo>
                  <a:lnTo>
                    <a:pt x="32" y="98"/>
                  </a:lnTo>
                  <a:lnTo>
                    <a:pt x="32" y="96"/>
                  </a:lnTo>
                  <a:lnTo>
                    <a:pt x="28" y="96"/>
                  </a:lnTo>
                  <a:lnTo>
                    <a:pt x="24" y="96"/>
                  </a:lnTo>
                  <a:lnTo>
                    <a:pt x="26" y="92"/>
                  </a:lnTo>
                  <a:lnTo>
                    <a:pt x="26" y="92"/>
                  </a:lnTo>
                  <a:lnTo>
                    <a:pt x="26" y="86"/>
                  </a:lnTo>
                  <a:lnTo>
                    <a:pt x="24" y="86"/>
                  </a:lnTo>
                  <a:lnTo>
                    <a:pt x="20" y="86"/>
                  </a:lnTo>
                  <a:lnTo>
                    <a:pt x="14" y="84"/>
                  </a:lnTo>
                  <a:lnTo>
                    <a:pt x="14" y="84"/>
                  </a:lnTo>
                  <a:lnTo>
                    <a:pt x="4" y="70"/>
                  </a:lnTo>
                  <a:lnTo>
                    <a:pt x="2" y="64"/>
                  </a:lnTo>
                  <a:lnTo>
                    <a:pt x="0" y="60"/>
                  </a:lnTo>
                  <a:lnTo>
                    <a:pt x="0" y="60"/>
                  </a:lnTo>
                  <a:lnTo>
                    <a:pt x="2" y="56"/>
                  </a:lnTo>
                  <a:lnTo>
                    <a:pt x="4" y="52"/>
                  </a:lnTo>
                  <a:lnTo>
                    <a:pt x="8" y="50"/>
                  </a:lnTo>
                  <a:lnTo>
                    <a:pt x="6" y="46"/>
                  </a:lnTo>
                  <a:lnTo>
                    <a:pt x="6" y="46"/>
                  </a:lnTo>
                  <a:lnTo>
                    <a:pt x="6" y="42"/>
                  </a:lnTo>
                  <a:lnTo>
                    <a:pt x="6" y="40"/>
                  </a:lnTo>
                  <a:lnTo>
                    <a:pt x="16" y="34"/>
                  </a:lnTo>
                  <a:lnTo>
                    <a:pt x="16" y="34"/>
                  </a:lnTo>
                  <a:lnTo>
                    <a:pt x="20" y="32"/>
                  </a:lnTo>
                  <a:lnTo>
                    <a:pt x="20" y="28"/>
                  </a:lnTo>
                  <a:lnTo>
                    <a:pt x="18" y="26"/>
                  </a:lnTo>
                  <a:lnTo>
                    <a:pt x="14" y="26"/>
                  </a:lnTo>
                  <a:lnTo>
                    <a:pt x="14" y="26"/>
                  </a:lnTo>
                  <a:lnTo>
                    <a:pt x="10" y="28"/>
                  </a:lnTo>
                  <a:lnTo>
                    <a:pt x="10" y="26"/>
                  </a:lnTo>
                  <a:lnTo>
                    <a:pt x="12" y="24"/>
                  </a:lnTo>
                  <a:lnTo>
                    <a:pt x="12" y="20"/>
                  </a:lnTo>
                  <a:lnTo>
                    <a:pt x="12" y="20"/>
                  </a:lnTo>
                  <a:lnTo>
                    <a:pt x="12" y="18"/>
                  </a:lnTo>
                  <a:lnTo>
                    <a:pt x="12" y="16"/>
                  </a:lnTo>
                  <a:lnTo>
                    <a:pt x="14" y="14"/>
                  </a:lnTo>
                  <a:lnTo>
                    <a:pt x="16" y="12"/>
                  </a:lnTo>
                  <a:lnTo>
                    <a:pt x="16" y="12"/>
                  </a:lnTo>
                  <a:lnTo>
                    <a:pt x="18" y="10"/>
                  </a:lnTo>
                  <a:lnTo>
                    <a:pt x="20" y="8"/>
                  </a:lnTo>
                  <a:lnTo>
                    <a:pt x="26" y="8"/>
                  </a:lnTo>
                  <a:lnTo>
                    <a:pt x="30" y="8"/>
                  </a:lnTo>
                  <a:lnTo>
                    <a:pt x="30" y="6"/>
                  </a:lnTo>
                  <a:lnTo>
                    <a:pt x="30" y="2"/>
                  </a:lnTo>
                  <a:lnTo>
                    <a:pt x="30" y="2"/>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2" name="Freeform 24"/>
            <p:cNvSpPr>
              <a:spLocks/>
            </p:cNvSpPr>
            <p:nvPr/>
          </p:nvSpPr>
          <p:spPr bwMode="auto">
            <a:xfrm>
              <a:off x="2477788" y="5237427"/>
              <a:ext cx="82021" cy="68792"/>
            </a:xfrm>
            <a:custGeom>
              <a:avLst/>
              <a:gdLst/>
              <a:ahLst/>
              <a:cxnLst>
                <a:cxn ang="0">
                  <a:pos x="52" y="44"/>
                </a:cxn>
                <a:cxn ang="0">
                  <a:pos x="40" y="40"/>
                </a:cxn>
                <a:cxn ang="0">
                  <a:pos x="34" y="40"/>
                </a:cxn>
                <a:cxn ang="0">
                  <a:pos x="30" y="42"/>
                </a:cxn>
                <a:cxn ang="0">
                  <a:pos x="30" y="46"/>
                </a:cxn>
                <a:cxn ang="0">
                  <a:pos x="34" y="48"/>
                </a:cxn>
                <a:cxn ang="0">
                  <a:pos x="38" y="52"/>
                </a:cxn>
                <a:cxn ang="0">
                  <a:pos x="32" y="50"/>
                </a:cxn>
                <a:cxn ang="0">
                  <a:pos x="22" y="48"/>
                </a:cxn>
                <a:cxn ang="0">
                  <a:pos x="24" y="44"/>
                </a:cxn>
                <a:cxn ang="0">
                  <a:pos x="26" y="44"/>
                </a:cxn>
                <a:cxn ang="0">
                  <a:pos x="18" y="42"/>
                </a:cxn>
                <a:cxn ang="0">
                  <a:pos x="16" y="38"/>
                </a:cxn>
                <a:cxn ang="0">
                  <a:pos x="10" y="40"/>
                </a:cxn>
                <a:cxn ang="0">
                  <a:pos x="8" y="40"/>
                </a:cxn>
                <a:cxn ang="0">
                  <a:pos x="4" y="42"/>
                </a:cxn>
                <a:cxn ang="0">
                  <a:pos x="0" y="38"/>
                </a:cxn>
                <a:cxn ang="0">
                  <a:pos x="6" y="34"/>
                </a:cxn>
                <a:cxn ang="0">
                  <a:pos x="14" y="34"/>
                </a:cxn>
                <a:cxn ang="0">
                  <a:pos x="20" y="36"/>
                </a:cxn>
                <a:cxn ang="0">
                  <a:pos x="22" y="36"/>
                </a:cxn>
                <a:cxn ang="0">
                  <a:pos x="16" y="28"/>
                </a:cxn>
                <a:cxn ang="0">
                  <a:pos x="14" y="26"/>
                </a:cxn>
                <a:cxn ang="0">
                  <a:pos x="16" y="24"/>
                </a:cxn>
                <a:cxn ang="0">
                  <a:pos x="14" y="20"/>
                </a:cxn>
                <a:cxn ang="0">
                  <a:pos x="20" y="24"/>
                </a:cxn>
                <a:cxn ang="0">
                  <a:pos x="20" y="28"/>
                </a:cxn>
                <a:cxn ang="0">
                  <a:pos x="24" y="32"/>
                </a:cxn>
                <a:cxn ang="0">
                  <a:pos x="26" y="32"/>
                </a:cxn>
                <a:cxn ang="0">
                  <a:pos x="30" y="36"/>
                </a:cxn>
                <a:cxn ang="0">
                  <a:pos x="30" y="32"/>
                </a:cxn>
                <a:cxn ang="0">
                  <a:pos x="34" y="32"/>
                </a:cxn>
                <a:cxn ang="0">
                  <a:pos x="38" y="30"/>
                </a:cxn>
                <a:cxn ang="0">
                  <a:pos x="42" y="32"/>
                </a:cxn>
                <a:cxn ang="0">
                  <a:pos x="46" y="32"/>
                </a:cxn>
                <a:cxn ang="0">
                  <a:pos x="50" y="32"/>
                </a:cxn>
                <a:cxn ang="0">
                  <a:pos x="30" y="26"/>
                </a:cxn>
                <a:cxn ang="0">
                  <a:pos x="26" y="20"/>
                </a:cxn>
                <a:cxn ang="0">
                  <a:pos x="36" y="16"/>
                </a:cxn>
                <a:cxn ang="0">
                  <a:pos x="24" y="16"/>
                </a:cxn>
                <a:cxn ang="0">
                  <a:pos x="18" y="14"/>
                </a:cxn>
                <a:cxn ang="0">
                  <a:pos x="18" y="10"/>
                </a:cxn>
                <a:cxn ang="0">
                  <a:pos x="16" y="6"/>
                </a:cxn>
                <a:cxn ang="0">
                  <a:pos x="24" y="8"/>
                </a:cxn>
                <a:cxn ang="0">
                  <a:pos x="26" y="2"/>
                </a:cxn>
                <a:cxn ang="0">
                  <a:pos x="32" y="2"/>
                </a:cxn>
                <a:cxn ang="0">
                  <a:pos x="38" y="6"/>
                </a:cxn>
                <a:cxn ang="0">
                  <a:pos x="62" y="44"/>
                </a:cxn>
              </a:cxnLst>
              <a:rect l="0" t="0" r="r" b="b"/>
              <a:pathLst>
                <a:path w="62" h="52">
                  <a:moveTo>
                    <a:pt x="62" y="44"/>
                  </a:moveTo>
                  <a:lnTo>
                    <a:pt x="62" y="44"/>
                  </a:lnTo>
                  <a:lnTo>
                    <a:pt x="56" y="46"/>
                  </a:lnTo>
                  <a:lnTo>
                    <a:pt x="52" y="44"/>
                  </a:lnTo>
                  <a:lnTo>
                    <a:pt x="52" y="44"/>
                  </a:lnTo>
                  <a:lnTo>
                    <a:pt x="46" y="40"/>
                  </a:lnTo>
                  <a:lnTo>
                    <a:pt x="42" y="40"/>
                  </a:lnTo>
                  <a:lnTo>
                    <a:pt x="40" y="40"/>
                  </a:lnTo>
                  <a:lnTo>
                    <a:pt x="40" y="40"/>
                  </a:lnTo>
                  <a:lnTo>
                    <a:pt x="38" y="42"/>
                  </a:lnTo>
                  <a:lnTo>
                    <a:pt x="34" y="40"/>
                  </a:lnTo>
                  <a:lnTo>
                    <a:pt x="34" y="40"/>
                  </a:lnTo>
                  <a:lnTo>
                    <a:pt x="28" y="40"/>
                  </a:lnTo>
                  <a:lnTo>
                    <a:pt x="26" y="42"/>
                  </a:lnTo>
                  <a:lnTo>
                    <a:pt x="26" y="42"/>
                  </a:lnTo>
                  <a:lnTo>
                    <a:pt x="30" y="42"/>
                  </a:lnTo>
                  <a:lnTo>
                    <a:pt x="32" y="42"/>
                  </a:lnTo>
                  <a:lnTo>
                    <a:pt x="32" y="44"/>
                  </a:lnTo>
                  <a:lnTo>
                    <a:pt x="32" y="44"/>
                  </a:lnTo>
                  <a:lnTo>
                    <a:pt x="30" y="46"/>
                  </a:lnTo>
                  <a:lnTo>
                    <a:pt x="30" y="46"/>
                  </a:lnTo>
                  <a:lnTo>
                    <a:pt x="30" y="46"/>
                  </a:lnTo>
                  <a:lnTo>
                    <a:pt x="30" y="48"/>
                  </a:lnTo>
                  <a:lnTo>
                    <a:pt x="34" y="48"/>
                  </a:lnTo>
                  <a:lnTo>
                    <a:pt x="36" y="50"/>
                  </a:lnTo>
                  <a:lnTo>
                    <a:pt x="38" y="52"/>
                  </a:lnTo>
                  <a:lnTo>
                    <a:pt x="38" y="52"/>
                  </a:lnTo>
                  <a:lnTo>
                    <a:pt x="38" y="52"/>
                  </a:lnTo>
                  <a:lnTo>
                    <a:pt x="36" y="52"/>
                  </a:lnTo>
                  <a:lnTo>
                    <a:pt x="34" y="50"/>
                  </a:lnTo>
                  <a:lnTo>
                    <a:pt x="32" y="50"/>
                  </a:lnTo>
                  <a:lnTo>
                    <a:pt x="32" y="50"/>
                  </a:lnTo>
                  <a:lnTo>
                    <a:pt x="30" y="52"/>
                  </a:lnTo>
                  <a:lnTo>
                    <a:pt x="24" y="50"/>
                  </a:lnTo>
                  <a:lnTo>
                    <a:pt x="24" y="50"/>
                  </a:lnTo>
                  <a:lnTo>
                    <a:pt x="22" y="48"/>
                  </a:lnTo>
                  <a:lnTo>
                    <a:pt x="22" y="46"/>
                  </a:lnTo>
                  <a:lnTo>
                    <a:pt x="22" y="46"/>
                  </a:lnTo>
                  <a:lnTo>
                    <a:pt x="24" y="44"/>
                  </a:lnTo>
                  <a:lnTo>
                    <a:pt x="24" y="44"/>
                  </a:lnTo>
                  <a:lnTo>
                    <a:pt x="24" y="46"/>
                  </a:lnTo>
                  <a:lnTo>
                    <a:pt x="26" y="46"/>
                  </a:lnTo>
                  <a:lnTo>
                    <a:pt x="26" y="46"/>
                  </a:lnTo>
                  <a:lnTo>
                    <a:pt x="26" y="44"/>
                  </a:lnTo>
                  <a:lnTo>
                    <a:pt x="24" y="42"/>
                  </a:lnTo>
                  <a:lnTo>
                    <a:pt x="20" y="40"/>
                  </a:lnTo>
                  <a:lnTo>
                    <a:pt x="20" y="40"/>
                  </a:lnTo>
                  <a:lnTo>
                    <a:pt x="18" y="42"/>
                  </a:lnTo>
                  <a:lnTo>
                    <a:pt x="16" y="42"/>
                  </a:lnTo>
                  <a:lnTo>
                    <a:pt x="16" y="40"/>
                  </a:lnTo>
                  <a:lnTo>
                    <a:pt x="16" y="40"/>
                  </a:lnTo>
                  <a:lnTo>
                    <a:pt x="16" y="38"/>
                  </a:lnTo>
                  <a:lnTo>
                    <a:pt x="14" y="38"/>
                  </a:lnTo>
                  <a:lnTo>
                    <a:pt x="12" y="40"/>
                  </a:lnTo>
                  <a:lnTo>
                    <a:pt x="12" y="40"/>
                  </a:lnTo>
                  <a:lnTo>
                    <a:pt x="10" y="40"/>
                  </a:lnTo>
                  <a:lnTo>
                    <a:pt x="10" y="40"/>
                  </a:lnTo>
                  <a:lnTo>
                    <a:pt x="8" y="36"/>
                  </a:lnTo>
                  <a:lnTo>
                    <a:pt x="8" y="36"/>
                  </a:lnTo>
                  <a:lnTo>
                    <a:pt x="8" y="40"/>
                  </a:lnTo>
                  <a:lnTo>
                    <a:pt x="8" y="42"/>
                  </a:lnTo>
                  <a:lnTo>
                    <a:pt x="6" y="42"/>
                  </a:lnTo>
                  <a:lnTo>
                    <a:pt x="6" y="42"/>
                  </a:lnTo>
                  <a:lnTo>
                    <a:pt x="4" y="42"/>
                  </a:lnTo>
                  <a:lnTo>
                    <a:pt x="2" y="40"/>
                  </a:lnTo>
                  <a:lnTo>
                    <a:pt x="2" y="40"/>
                  </a:lnTo>
                  <a:lnTo>
                    <a:pt x="0" y="40"/>
                  </a:lnTo>
                  <a:lnTo>
                    <a:pt x="0" y="38"/>
                  </a:lnTo>
                  <a:lnTo>
                    <a:pt x="0" y="38"/>
                  </a:lnTo>
                  <a:lnTo>
                    <a:pt x="4" y="36"/>
                  </a:lnTo>
                  <a:lnTo>
                    <a:pt x="6" y="34"/>
                  </a:lnTo>
                  <a:lnTo>
                    <a:pt x="6" y="34"/>
                  </a:lnTo>
                  <a:lnTo>
                    <a:pt x="8" y="34"/>
                  </a:lnTo>
                  <a:lnTo>
                    <a:pt x="10" y="34"/>
                  </a:lnTo>
                  <a:lnTo>
                    <a:pt x="10" y="34"/>
                  </a:lnTo>
                  <a:lnTo>
                    <a:pt x="14" y="34"/>
                  </a:lnTo>
                  <a:lnTo>
                    <a:pt x="18" y="34"/>
                  </a:lnTo>
                  <a:lnTo>
                    <a:pt x="18" y="34"/>
                  </a:lnTo>
                  <a:lnTo>
                    <a:pt x="18" y="36"/>
                  </a:lnTo>
                  <a:lnTo>
                    <a:pt x="20" y="36"/>
                  </a:lnTo>
                  <a:lnTo>
                    <a:pt x="20" y="36"/>
                  </a:lnTo>
                  <a:lnTo>
                    <a:pt x="20" y="36"/>
                  </a:lnTo>
                  <a:lnTo>
                    <a:pt x="22" y="36"/>
                  </a:lnTo>
                  <a:lnTo>
                    <a:pt x="22" y="36"/>
                  </a:lnTo>
                  <a:lnTo>
                    <a:pt x="22" y="34"/>
                  </a:lnTo>
                  <a:lnTo>
                    <a:pt x="22" y="34"/>
                  </a:lnTo>
                  <a:lnTo>
                    <a:pt x="18" y="30"/>
                  </a:lnTo>
                  <a:lnTo>
                    <a:pt x="16" y="28"/>
                  </a:lnTo>
                  <a:lnTo>
                    <a:pt x="16" y="28"/>
                  </a:lnTo>
                  <a:lnTo>
                    <a:pt x="16" y="28"/>
                  </a:lnTo>
                  <a:lnTo>
                    <a:pt x="16" y="28"/>
                  </a:lnTo>
                  <a:lnTo>
                    <a:pt x="14" y="26"/>
                  </a:lnTo>
                  <a:lnTo>
                    <a:pt x="14" y="24"/>
                  </a:lnTo>
                  <a:lnTo>
                    <a:pt x="16" y="24"/>
                  </a:lnTo>
                  <a:lnTo>
                    <a:pt x="16" y="24"/>
                  </a:lnTo>
                  <a:lnTo>
                    <a:pt x="16" y="24"/>
                  </a:lnTo>
                  <a:lnTo>
                    <a:pt x="16" y="22"/>
                  </a:lnTo>
                  <a:lnTo>
                    <a:pt x="14" y="20"/>
                  </a:lnTo>
                  <a:lnTo>
                    <a:pt x="14" y="20"/>
                  </a:lnTo>
                  <a:lnTo>
                    <a:pt x="14" y="20"/>
                  </a:lnTo>
                  <a:lnTo>
                    <a:pt x="16" y="18"/>
                  </a:lnTo>
                  <a:lnTo>
                    <a:pt x="18" y="22"/>
                  </a:lnTo>
                  <a:lnTo>
                    <a:pt x="18" y="22"/>
                  </a:lnTo>
                  <a:lnTo>
                    <a:pt x="20" y="24"/>
                  </a:lnTo>
                  <a:lnTo>
                    <a:pt x="20" y="26"/>
                  </a:lnTo>
                  <a:lnTo>
                    <a:pt x="20" y="26"/>
                  </a:lnTo>
                  <a:lnTo>
                    <a:pt x="20" y="28"/>
                  </a:lnTo>
                  <a:lnTo>
                    <a:pt x="20" y="28"/>
                  </a:lnTo>
                  <a:lnTo>
                    <a:pt x="22" y="30"/>
                  </a:lnTo>
                  <a:lnTo>
                    <a:pt x="22" y="30"/>
                  </a:lnTo>
                  <a:lnTo>
                    <a:pt x="24" y="32"/>
                  </a:lnTo>
                  <a:lnTo>
                    <a:pt x="24" y="32"/>
                  </a:lnTo>
                  <a:lnTo>
                    <a:pt x="26" y="32"/>
                  </a:lnTo>
                  <a:lnTo>
                    <a:pt x="26" y="32"/>
                  </a:lnTo>
                  <a:lnTo>
                    <a:pt x="26" y="32"/>
                  </a:lnTo>
                  <a:lnTo>
                    <a:pt x="26" y="32"/>
                  </a:lnTo>
                  <a:lnTo>
                    <a:pt x="28" y="34"/>
                  </a:lnTo>
                  <a:lnTo>
                    <a:pt x="28" y="36"/>
                  </a:lnTo>
                  <a:lnTo>
                    <a:pt x="30" y="36"/>
                  </a:lnTo>
                  <a:lnTo>
                    <a:pt x="30" y="36"/>
                  </a:lnTo>
                  <a:lnTo>
                    <a:pt x="30" y="36"/>
                  </a:lnTo>
                  <a:lnTo>
                    <a:pt x="30" y="36"/>
                  </a:lnTo>
                  <a:lnTo>
                    <a:pt x="30" y="34"/>
                  </a:lnTo>
                  <a:lnTo>
                    <a:pt x="30" y="32"/>
                  </a:lnTo>
                  <a:lnTo>
                    <a:pt x="30" y="32"/>
                  </a:lnTo>
                  <a:lnTo>
                    <a:pt x="32" y="30"/>
                  </a:lnTo>
                  <a:lnTo>
                    <a:pt x="34" y="30"/>
                  </a:lnTo>
                  <a:lnTo>
                    <a:pt x="34" y="32"/>
                  </a:lnTo>
                  <a:lnTo>
                    <a:pt x="34" y="32"/>
                  </a:lnTo>
                  <a:lnTo>
                    <a:pt x="36" y="32"/>
                  </a:lnTo>
                  <a:lnTo>
                    <a:pt x="36" y="32"/>
                  </a:lnTo>
                  <a:lnTo>
                    <a:pt x="38" y="30"/>
                  </a:lnTo>
                  <a:lnTo>
                    <a:pt x="40" y="30"/>
                  </a:lnTo>
                  <a:lnTo>
                    <a:pt x="40" y="30"/>
                  </a:lnTo>
                  <a:lnTo>
                    <a:pt x="42" y="32"/>
                  </a:lnTo>
                  <a:lnTo>
                    <a:pt x="42" y="32"/>
                  </a:lnTo>
                  <a:lnTo>
                    <a:pt x="44" y="30"/>
                  </a:lnTo>
                  <a:lnTo>
                    <a:pt x="44" y="30"/>
                  </a:lnTo>
                  <a:lnTo>
                    <a:pt x="46" y="32"/>
                  </a:lnTo>
                  <a:lnTo>
                    <a:pt x="46" y="32"/>
                  </a:lnTo>
                  <a:lnTo>
                    <a:pt x="46" y="36"/>
                  </a:lnTo>
                  <a:lnTo>
                    <a:pt x="46" y="36"/>
                  </a:lnTo>
                  <a:lnTo>
                    <a:pt x="48" y="32"/>
                  </a:lnTo>
                  <a:lnTo>
                    <a:pt x="50" y="32"/>
                  </a:lnTo>
                  <a:lnTo>
                    <a:pt x="50" y="32"/>
                  </a:lnTo>
                  <a:lnTo>
                    <a:pt x="40" y="28"/>
                  </a:lnTo>
                  <a:lnTo>
                    <a:pt x="30" y="26"/>
                  </a:lnTo>
                  <a:lnTo>
                    <a:pt x="30" y="26"/>
                  </a:lnTo>
                  <a:lnTo>
                    <a:pt x="26" y="26"/>
                  </a:lnTo>
                  <a:lnTo>
                    <a:pt x="26" y="24"/>
                  </a:lnTo>
                  <a:lnTo>
                    <a:pt x="24" y="22"/>
                  </a:lnTo>
                  <a:lnTo>
                    <a:pt x="26" y="20"/>
                  </a:lnTo>
                  <a:lnTo>
                    <a:pt x="26" y="20"/>
                  </a:lnTo>
                  <a:lnTo>
                    <a:pt x="30" y="18"/>
                  </a:lnTo>
                  <a:lnTo>
                    <a:pt x="32" y="18"/>
                  </a:lnTo>
                  <a:lnTo>
                    <a:pt x="36" y="16"/>
                  </a:lnTo>
                  <a:lnTo>
                    <a:pt x="36" y="16"/>
                  </a:lnTo>
                  <a:lnTo>
                    <a:pt x="34" y="16"/>
                  </a:lnTo>
                  <a:lnTo>
                    <a:pt x="32" y="16"/>
                  </a:lnTo>
                  <a:lnTo>
                    <a:pt x="24" y="16"/>
                  </a:lnTo>
                  <a:lnTo>
                    <a:pt x="24" y="16"/>
                  </a:lnTo>
                  <a:lnTo>
                    <a:pt x="20" y="16"/>
                  </a:lnTo>
                  <a:lnTo>
                    <a:pt x="18" y="14"/>
                  </a:lnTo>
                  <a:lnTo>
                    <a:pt x="18" y="14"/>
                  </a:lnTo>
                  <a:lnTo>
                    <a:pt x="18" y="12"/>
                  </a:lnTo>
                  <a:lnTo>
                    <a:pt x="18" y="12"/>
                  </a:lnTo>
                  <a:lnTo>
                    <a:pt x="18" y="10"/>
                  </a:lnTo>
                  <a:lnTo>
                    <a:pt x="18" y="10"/>
                  </a:lnTo>
                  <a:lnTo>
                    <a:pt x="20" y="10"/>
                  </a:lnTo>
                  <a:lnTo>
                    <a:pt x="18" y="8"/>
                  </a:lnTo>
                  <a:lnTo>
                    <a:pt x="18" y="8"/>
                  </a:lnTo>
                  <a:lnTo>
                    <a:pt x="16" y="6"/>
                  </a:lnTo>
                  <a:lnTo>
                    <a:pt x="18" y="6"/>
                  </a:lnTo>
                  <a:lnTo>
                    <a:pt x="18" y="6"/>
                  </a:lnTo>
                  <a:lnTo>
                    <a:pt x="22" y="6"/>
                  </a:lnTo>
                  <a:lnTo>
                    <a:pt x="24" y="8"/>
                  </a:lnTo>
                  <a:lnTo>
                    <a:pt x="24" y="6"/>
                  </a:lnTo>
                  <a:lnTo>
                    <a:pt x="24" y="6"/>
                  </a:lnTo>
                  <a:lnTo>
                    <a:pt x="26" y="6"/>
                  </a:lnTo>
                  <a:lnTo>
                    <a:pt x="26" y="2"/>
                  </a:lnTo>
                  <a:lnTo>
                    <a:pt x="26" y="2"/>
                  </a:lnTo>
                  <a:lnTo>
                    <a:pt x="28" y="0"/>
                  </a:lnTo>
                  <a:lnTo>
                    <a:pt x="30" y="0"/>
                  </a:lnTo>
                  <a:lnTo>
                    <a:pt x="32" y="2"/>
                  </a:lnTo>
                  <a:lnTo>
                    <a:pt x="32" y="2"/>
                  </a:lnTo>
                  <a:lnTo>
                    <a:pt x="34" y="6"/>
                  </a:lnTo>
                  <a:lnTo>
                    <a:pt x="36" y="6"/>
                  </a:lnTo>
                  <a:lnTo>
                    <a:pt x="38" y="6"/>
                  </a:lnTo>
                  <a:lnTo>
                    <a:pt x="38" y="6"/>
                  </a:lnTo>
                  <a:lnTo>
                    <a:pt x="40" y="4"/>
                  </a:lnTo>
                  <a:lnTo>
                    <a:pt x="42" y="6"/>
                  </a:lnTo>
                  <a:lnTo>
                    <a:pt x="62" y="44"/>
                  </a:lnTo>
                  <a:lnTo>
                    <a:pt x="62" y="44"/>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3" name="Haiti"/>
            <p:cNvSpPr>
              <a:spLocks/>
            </p:cNvSpPr>
            <p:nvPr/>
          </p:nvSpPr>
          <p:spPr bwMode="auto">
            <a:xfrm>
              <a:off x="2102080" y="2946135"/>
              <a:ext cx="76729" cy="58208"/>
            </a:xfrm>
            <a:custGeom>
              <a:avLst/>
              <a:gdLst/>
              <a:ahLst/>
              <a:cxnLst>
                <a:cxn ang="0">
                  <a:pos x="52" y="44"/>
                </a:cxn>
                <a:cxn ang="0">
                  <a:pos x="46" y="42"/>
                </a:cxn>
                <a:cxn ang="0">
                  <a:pos x="30" y="42"/>
                </a:cxn>
                <a:cxn ang="0">
                  <a:pos x="24" y="42"/>
                </a:cxn>
                <a:cxn ang="0">
                  <a:pos x="20" y="40"/>
                </a:cxn>
                <a:cxn ang="0">
                  <a:pos x="12" y="42"/>
                </a:cxn>
                <a:cxn ang="0">
                  <a:pos x="10" y="44"/>
                </a:cxn>
                <a:cxn ang="0">
                  <a:pos x="8" y="42"/>
                </a:cxn>
                <a:cxn ang="0">
                  <a:pos x="0" y="40"/>
                </a:cxn>
                <a:cxn ang="0">
                  <a:pos x="0" y="38"/>
                </a:cxn>
                <a:cxn ang="0">
                  <a:pos x="0" y="36"/>
                </a:cxn>
                <a:cxn ang="0">
                  <a:pos x="0" y="34"/>
                </a:cxn>
                <a:cxn ang="0">
                  <a:pos x="2" y="32"/>
                </a:cxn>
                <a:cxn ang="0">
                  <a:pos x="8" y="32"/>
                </a:cxn>
                <a:cxn ang="0">
                  <a:pos x="16" y="32"/>
                </a:cxn>
                <a:cxn ang="0">
                  <a:pos x="18" y="32"/>
                </a:cxn>
                <a:cxn ang="0">
                  <a:pos x="24" y="32"/>
                </a:cxn>
                <a:cxn ang="0">
                  <a:pos x="32" y="30"/>
                </a:cxn>
                <a:cxn ang="0">
                  <a:pos x="38" y="30"/>
                </a:cxn>
                <a:cxn ang="0">
                  <a:pos x="42" y="30"/>
                </a:cxn>
                <a:cxn ang="0">
                  <a:pos x="34" y="26"/>
                </a:cxn>
                <a:cxn ang="0">
                  <a:pos x="34" y="22"/>
                </a:cxn>
                <a:cxn ang="0">
                  <a:pos x="32" y="20"/>
                </a:cxn>
                <a:cxn ang="0">
                  <a:pos x="30" y="18"/>
                </a:cxn>
                <a:cxn ang="0">
                  <a:pos x="32" y="14"/>
                </a:cxn>
                <a:cxn ang="0">
                  <a:pos x="30" y="12"/>
                </a:cxn>
                <a:cxn ang="0">
                  <a:pos x="32" y="10"/>
                </a:cxn>
                <a:cxn ang="0">
                  <a:pos x="30" y="8"/>
                </a:cxn>
                <a:cxn ang="0">
                  <a:pos x="26" y="6"/>
                </a:cxn>
                <a:cxn ang="0">
                  <a:pos x="22" y="0"/>
                </a:cxn>
                <a:cxn ang="0">
                  <a:pos x="26" y="0"/>
                </a:cxn>
                <a:cxn ang="0">
                  <a:pos x="32" y="0"/>
                </a:cxn>
                <a:cxn ang="0">
                  <a:pos x="38" y="0"/>
                </a:cxn>
                <a:cxn ang="0">
                  <a:pos x="46" y="2"/>
                </a:cxn>
                <a:cxn ang="0">
                  <a:pos x="46" y="2"/>
                </a:cxn>
                <a:cxn ang="0">
                  <a:pos x="50" y="2"/>
                </a:cxn>
                <a:cxn ang="0">
                  <a:pos x="56" y="2"/>
                </a:cxn>
                <a:cxn ang="0">
                  <a:pos x="58" y="6"/>
                </a:cxn>
                <a:cxn ang="0">
                  <a:pos x="56" y="10"/>
                </a:cxn>
                <a:cxn ang="0">
                  <a:pos x="56" y="14"/>
                </a:cxn>
                <a:cxn ang="0">
                  <a:pos x="56" y="18"/>
                </a:cxn>
                <a:cxn ang="0">
                  <a:pos x="54" y="20"/>
                </a:cxn>
                <a:cxn ang="0">
                  <a:pos x="56" y="26"/>
                </a:cxn>
                <a:cxn ang="0">
                  <a:pos x="52" y="34"/>
                </a:cxn>
                <a:cxn ang="0">
                  <a:pos x="48" y="34"/>
                </a:cxn>
                <a:cxn ang="0">
                  <a:pos x="52" y="40"/>
                </a:cxn>
                <a:cxn ang="0">
                  <a:pos x="52" y="44"/>
                </a:cxn>
              </a:cxnLst>
              <a:rect l="0" t="0" r="r" b="b"/>
              <a:pathLst>
                <a:path w="58" h="44">
                  <a:moveTo>
                    <a:pt x="52" y="44"/>
                  </a:moveTo>
                  <a:lnTo>
                    <a:pt x="52" y="44"/>
                  </a:lnTo>
                  <a:lnTo>
                    <a:pt x="46" y="42"/>
                  </a:lnTo>
                  <a:lnTo>
                    <a:pt x="46" y="42"/>
                  </a:lnTo>
                  <a:lnTo>
                    <a:pt x="38" y="42"/>
                  </a:lnTo>
                  <a:lnTo>
                    <a:pt x="30" y="42"/>
                  </a:lnTo>
                  <a:lnTo>
                    <a:pt x="30" y="42"/>
                  </a:lnTo>
                  <a:lnTo>
                    <a:pt x="24" y="42"/>
                  </a:lnTo>
                  <a:lnTo>
                    <a:pt x="20" y="40"/>
                  </a:lnTo>
                  <a:lnTo>
                    <a:pt x="20" y="40"/>
                  </a:lnTo>
                  <a:lnTo>
                    <a:pt x="14" y="40"/>
                  </a:lnTo>
                  <a:lnTo>
                    <a:pt x="12" y="42"/>
                  </a:lnTo>
                  <a:lnTo>
                    <a:pt x="12" y="42"/>
                  </a:lnTo>
                  <a:lnTo>
                    <a:pt x="10" y="44"/>
                  </a:lnTo>
                  <a:lnTo>
                    <a:pt x="8" y="42"/>
                  </a:lnTo>
                  <a:lnTo>
                    <a:pt x="8" y="42"/>
                  </a:lnTo>
                  <a:lnTo>
                    <a:pt x="6" y="40"/>
                  </a:lnTo>
                  <a:lnTo>
                    <a:pt x="0" y="40"/>
                  </a:lnTo>
                  <a:lnTo>
                    <a:pt x="0" y="40"/>
                  </a:lnTo>
                  <a:lnTo>
                    <a:pt x="0" y="38"/>
                  </a:lnTo>
                  <a:lnTo>
                    <a:pt x="0" y="38"/>
                  </a:lnTo>
                  <a:lnTo>
                    <a:pt x="0" y="36"/>
                  </a:lnTo>
                  <a:lnTo>
                    <a:pt x="0" y="34"/>
                  </a:lnTo>
                  <a:lnTo>
                    <a:pt x="0" y="34"/>
                  </a:lnTo>
                  <a:lnTo>
                    <a:pt x="0" y="32"/>
                  </a:lnTo>
                  <a:lnTo>
                    <a:pt x="2" y="32"/>
                  </a:lnTo>
                  <a:lnTo>
                    <a:pt x="8" y="32"/>
                  </a:lnTo>
                  <a:lnTo>
                    <a:pt x="8" y="32"/>
                  </a:lnTo>
                  <a:lnTo>
                    <a:pt x="12" y="32"/>
                  </a:lnTo>
                  <a:lnTo>
                    <a:pt x="16" y="32"/>
                  </a:lnTo>
                  <a:lnTo>
                    <a:pt x="16" y="32"/>
                  </a:lnTo>
                  <a:lnTo>
                    <a:pt x="18" y="32"/>
                  </a:lnTo>
                  <a:lnTo>
                    <a:pt x="24" y="32"/>
                  </a:lnTo>
                  <a:lnTo>
                    <a:pt x="24" y="32"/>
                  </a:lnTo>
                  <a:lnTo>
                    <a:pt x="28" y="32"/>
                  </a:lnTo>
                  <a:lnTo>
                    <a:pt x="32" y="30"/>
                  </a:lnTo>
                  <a:lnTo>
                    <a:pt x="32" y="30"/>
                  </a:lnTo>
                  <a:lnTo>
                    <a:pt x="38" y="30"/>
                  </a:lnTo>
                  <a:lnTo>
                    <a:pt x="42" y="30"/>
                  </a:lnTo>
                  <a:lnTo>
                    <a:pt x="42" y="30"/>
                  </a:lnTo>
                  <a:lnTo>
                    <a:pt x="34" y="26"/>
                  </a:lnTo>
                  <a:lnTo>
                    <a:pt x="34" y="26"/>
                  </a:lnTo>
                  <a:lnTo>
                    <a:pt x="34" y="24"/>
                  </a:lnTo>
                  <a:lnTo>
                    <a:pt x="34" y="22"/>
                  </a:lnTo>
                  <a:lnTo>
                    <a:pt x="34" y="22"/>
                  </a:lnTo>
                  <a:lnTo>
                    <a:pt x="32" y="20"/>
                  </a:lnTo>
                  <a:lnTo>
                    <a:pt x="32" y="20"/>
                  </a:lnTo>
                  <a:lnTo>
                    <a:pt x="30" y="18"/>
                  </a:lnTo>
                  <a:lnTo>
                    <a:pt x="30" y="16"/>
                  </a:lnTo>
                  <a:lnTo>
                    <a:pt x="32" y="14"/>
                  </a:lnTo>
                  <a:lnTo>
                    <a:pt x="32" y="14"/>
                  </a:lnTo>
                  <a:lnTo>
                    <a:pt x="30" y="12"/>
                  </a:lnTo>
                  <a:lnTo>
                    <a:pt x="32" y="10"/>
                  </a:lnTo>
                  <a:lnTo>
                    <a:pt x="32" y="10"/>
                  </a:lnTo>
                  <a:lnTo>
                    <a:pt x="32" y="8"/>
                  </a:lnTo>
                  <a:lnTo>
                    <a:pt x="30" y="8"/>
                  </a:lnTo>
                  <a:lnTo>
                    <a:pt x="26" y="6"/>
                  </a:lnTo>
                  <a:lnTo>
                    <a:pt x="26" y="6"/>
                  </a:lnTo>
                  <a:lnTo>
                    <a:pt x="22" y="4"/>
                  </a:lnTo>
                  <a:lnTo>
                    <a:pt x="22" y="0"/>
                  </a:lnTo>
                  <a:lnTo>
                    <a:pt x="22" y="0"/>
                  </a:lnTo>
                  <a:lnTo>
                    <a:pt x="26" y="0"/>
                  </a:lnTo>
                  <a:lnTo>
                    <a:pt x="32" y="0"/>
                  </a:lnTo>
                  <a:lnTo>
                    <a:pt x="32" y="0"/>
                  </a:lnTo>
                  <a:lnTo>
                    <a:pt x="36" y="0"/>
                  </a:lnTo>
                  <a:lnTo>
                    <a:pt x="38" y="0"/>
                  </a:lnTo>
                  <a:lnTo>
                    <a:pt x="38" y="0"/>
                  </a:lnTo>
                  <a:lnTo>
                    <a:pt x="46" y="2"/>
                  </a:lnTo>
                  <a:lnTo>
                    <a:pt x="46" y="2"/>
                  </a:lnTo>
                  <a:lnTo>
                    <a:pt x="46" y="2"/>
                  </a:lnTo>
                  <a:lnTo>
                    <a:pt x="50" y="2"/>
                  </a:lnTo>
                  <a:lnTo>
                    <a:pt x="50" y="2"/>
                  </a:lnTo>
                  <a:lnTo>
                    <a:pt x="52" y="0"/>
                  </a:lnTo>
                  <a:lnTo>
                    <a:pt x="56" y="2"/>
                  </a:lnTo>
                  <a:lnTo>
                    <a:pt x="56" y="2"/>
                  </a:lnTo>
                  <a:lnTo>
                    <a:pt x="58" y="6"/>
                  </a:lnTo>
                  <a:lnTo>
                    <a:pt x="56" y="10"/>
                  </a:lnTo>
                  <a:lnTo>
                    <a:pt x="56" y="10"/>
                  </a:lnTo>
                  <a:lnTo>
                    <a:pt x="56" y="12"/>
                  </a:lnTo>
                  <a:lnTo>
                    <a:pt x="56" y="14"/>
                  </a:lnTo>
                  <a:lnTo>
                    <a:pt x="58" y="16"/>
                  </a:lnTo>
                  <a:lnTo>
                    <a:pt x="56" y="18"/>
                  </a:lnTo>
                  <a:lnTo>
                    <a:pt x="56" y="18"/>
                  </a:lnTo>
                  <a:lnTo>
                    <a:pt x="54" y="20"/>
                  </a:lnTo>
                  <a:lnTo>
                    <a:pt x="54" y="22"/>
                  </a:lnTo>
                  <a:lnTo>
                    <a:pt x="56" y="26"/>
                  </a:lnTo>
                  <a:lnTo>
                    <a:pt x="56" y="30"/>
                  </a:lnTo>
                  <a:lnTo>
                    <a:pt x="52" y="34"/>
                  </a:lnTo>
                  <a:lnTo>
                    <a:pt x="52" y="34"/>
                  </a:lnTo>
                  <a:lnTo>
                    <a:pt x="48" y="34"/>
                  </a:lnTo>
                  <a:lnTo>
                    <a:pt x="50" y="36"/>
                  </a:lnTo>
                  <a:lnTo>
                    <a:pt x="52" y="40"/>
                  </a:lnTo>
                  <a:lnTo>
                    <a:pt x="52" y="44"/>
                  </a:lnTo>
                  <a:lnTo>
                    <a:pt x="52" y="44"/>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4" name="Honduras"/>
            <p:cNvSpPr>
              <a:spLocks/>
            </p:cNvSpPr>
            <p:nvPr/>
          </p:nvSpPr>
          <p:spPr bwMode="auto">
            <a:xfrm>
              <a:off x="1662872" y="3081073"/>
              <a:ext cx="179917" cy="100542"/>
            </a:xfrm>
            <a:custGeom>
              <a:avLst/>
              <a:gdLst/>
              <a:ahLst/>
              <a:cxnLst>
                <a:cxn ang="0">
                  <a:pos x="32" y="66"/>
                </a:cxn>
                <a:cxn ang="0">
                  <a:pos x="32" y="62"/>
                </a:cxn>
                <a:cxn ang="0">
                  <a:pos x="30" y="58"/>
                </a:cxn>
                <a:cxn ang="0">
                  <a:pos x="22" y="56"/>
                </a:cxn>
                <a:cxn ang="0">
                  <a:pos x="14" y="48"/>
                </a:cxn>
                <a:cxn ang="0">
                  <a:pos x="8" y="48"/>
                </a:cxn>
                <a:cxn ang="0">
                  <a:pos x="0" y="44"/>
                </a:cxn>
                <a:cxn ang="0">
                  <a:pos x="8" y="36"/>
                </a:cxn>
                <a:cxn ang="0">
                  <a:pos x="8" y="32"/>
                </a:cxn>
                <a:cxn ang="0">
                  <a:pos x="10" y="26"/>
                </a:cxn>
                <a:cxn ang="0">
                  <a:pos x="26" y="12"/>
                </a:cxn>
                <a:cxn ang="0">
                  <a:pos x="32" y="6"/>
                </a:cxn>
                <a:cxn ang="0">
                  <a:pos x="40" y="4"/>
                </a:cxn>
                <a:cxn ang="0">
                  <a:pos x="44" y="0"/>
                </a:cxn>
                <a:cxn ang="0">
                  <a:pos x="54" y="4"/>
                </a:cxn>
                <a:cxn ang="0">
                  <a:pos x="82" y="0"/>
                </a:cxn>
                <a:cxn ang="0">
                  <a:pos x="92" y="0"/>
                </a:cxn>
                <a:cxn ang="0">
                  <a:pos x="96" y="0"/>
                </a:cxn>
                <a:cxn ang="0">
                  <a:pos x="102" y="0"/>
                </a:cxn>
                <a:cxn ang="0">
                  <a:pos x="112" y="4"/>
                </a:cxn>
                <a:cxn ang="0">
                  <a:pos x="110" y="8"/>
                </a:cxn>
                <a:cxn ang="0">
                  <a:pos x="112" y="10"/>
                </a:cxn>
                <a:cxn ang="0">
                  <a:pos x="122" y="14"/>
                </a:cxn>
                <a:cxn ang="0">
                  <a:pos x="124" y="10"/>
                </a:cxn>
                <a:cxn ang="0">
                  <a:pos x="134" y="18"/>
                </a:cxn>
                <a:cxn ang="0">
                  <a:pos x="136" y="22"/>
                </a:cxn>
                <a:cxn ang="0">
                  <a:pos x="124" y="28"/>
                </a:cxn>
                <a:cxn ang="0">
                  <a:pos x="110" y="32"/>
                </a:cxn>
                <a:cxn ang="0">
                  <a:pos x="104" y="30"/>
                </a:cxn>
                <a:cxn ang="0">
                  <a:pos x="100" y="32"/>
                </a:cxn>
                <a:cxn ang="0">
                  <a:pos x="94" y="34"/>
                </a:cxn>
                <a:cxn ang="0">
                  <a:pos x="94" y="42"/>
                </a:cxn>
                <a:cxn ang="0">
                  <a:pos x="82" y="48"/>
                </a:cxn>
                <a:cxn ang="0">
                  <a:pos x="72" y="52"/>
                </a:cxn>
                <a:cxn ang="0">
                  <a:pos x="66" y="54"/>
                </a:cxn>
                <a:cxn ang="0">
                  <a:pos x="64" y="60"/>
                </a:cxn>
                <a:cxn ang="0">
                  <a:pos x="60" y="62"/>
                </a:cxn>
                <a:cxn ang="0">
                  <a:pos x="54" y="62"/>
                </a:cxn>
                <a:cxn ang="0">
                  <a:pos x="54" y="66"/>
                </a:cxn>
                <a:cxn ang="0">
                  <a:pos x="44" y="76"/>
                </a:cxn>
                <a:cxn ang="0">
                  <a:pos x="42" y="72"/>
                </a:cxn>
                <a:cxn ang="0">
                  <a:pos x="38" y="66"/>
                </a:cxn>
              </a:cxnLst>
              <a:rect l="0" t="0" r="r" b="b"/>
              <a:pathLst>
                <a:path w="136" h="76">
                  <a:moveTo>
                    <a:pt x="34" y="68"/>
                  </a:moveTo>
                  <a:lnTo>
                    <a:pt x="34" y="68"/>
                  </a:lnTo>
                  <a:lnTo>
                    <a:pt x="32" y="66"/>
                  </a:lnTo>
                  <a:lnTo>
                    <a:pt x="32" y="64"/>
                  </a:lnTo>
                  <a:lnTo>
                    <a:pt x="32" y="62"/>
                  </a:lnTo>
                  <a:lnTo>
                    <a:pt x="32" y="62"/>
                  </a:lnTo>
                  <a:lnTo>
                    <a:pt x="32" y="62"/>
                  </a:lnTo>
                  <a:lnTo>
                    <a:pt x="30" y="60"/>
                  </a:lnTo>
                  <a:lnTo>
                    <a:pt x="30" y="58"/>
                  </a:lnTo>
                  <a:lnTo>
                    <a:pt x="28" y="56"/>
                  </a:lnTo>
                  <a:lnTo>
                    <a:pt x="22" y="56"/>
                  </a:lnTo>
                  <a:lnTo>
                    <a:pt x="22" y="56"/>
                  </a:lnTo>
                  <a:lnTo>
                    <a:pt x="18" y="54"/>
                  </a:lnTo>
                  <a:lnTo>
                    <a:pt x="16" y="50"/>
                  </a:lnTo>
                  <a:lnTo>
                    <a:pt x="14" y="48"/>
                  </a:lnTo>
                  <a:lnTo>
                    <a:pt x="10" y="46"/>
                  </a:lnTo>
                  <a:lnTo>
                    <a:pt x="10" y="46"/>
                  </a:lnTo>
                  <a:lnTo>
                    <a:pt x="8" y="48"/>
                  </a:lnTo>
                  <a:lnTo>
                    <a:pt x="6" y="46"/>
                  </a:lnTo>
                  <a:lnTo>
                    <a:pt x="6" y="44"/>
                  </a:lnTo>
                  <a:lnTo>
                    <a:pt x="0" y="44"/>
                  </a:lnTo>
                  <a:lnTo>
                    <a:pt x="0" y="44"/>
                  </a:lnTo>
                  <a:lnTo>
                    <a:pt x="2" y="40"/>
                  </a:lnTo>
                  <a:lnTo>
                    <a:pt x="8" y="36"/>
                  </a:lnTo>
                  <a:lnTo>
                    <a:pt x="8" y="36"/>
                  </a:lnTo>
                  <a:lnTo>
                    <a:pt x="10" y="32"/>
                  </a:lnTo>
                  <a:lnTo>
                    <a:pt x="8" y="32"/>
                  </a:lnTo>
                  <a:lnTo>
                    <a:pt x="6" y="30"/>
                  </a:lnTo>
                  <a:lnTo>
                    <a:pt x="10" y="26"/>
                  </a:lnTo>
                  <a:lnTo>
                    <a:pt x="10" y="26"/>
                  </a:lnTo>
                  <a:lnTo>
                    <a:pt x="16" y="20"/>
                  </a:lnTo>
                  <a:lnTo>
                    <a:pt x="22" y="16"/>
                  </a:lnTo>
                  <a:lnTo>
                    <a:pt x="26" y="12"/>
                  </a:lnTo>
                  <a:lnTo>
                    <a:pt x="30" y="4"/>
                  </a:lnTo>
                  <a:lnTo>
                    <a:pt x="30" y="4"/>
                  </a:lnTo>
                  <a:lnTo>
                    <a:pt x="32" y="6"/>
                  </a:lnTo>
                  <a:lnTo>
                    <a:pt x="34" y="6"/>
                  </a:lnTo>
                  <a:lnTo>
                    <a:pt x="36" y="4"/>
                  </a:lnTo>
                  <a:lnTo>
                    <a:pt x="40" y="4"/>
                  </a:lnTo>
                  <a:lnTo>
                    <a:pt x="40" y="4"/>
                  </a:lnTo>
                  <a:lnTo>
                    <a:pt x="40" y="0"/>
                  </a:lnTo>
                  <a:lnTo>
                    <a:pt x="44" y="0"/>
                  </a:lnTo>
                  <a:lnTo>
                    <a:pt x="50" y="2"/>
                  </a:lnTo>
                  <a:lnTo>
                    <a:pt x="50" y="2"/>
                  </a:lnTo>
                  <a:lnTo>
                    <a:pt x="54" y="4"/>
                  </a:lnTo>
                  <a:lnTo>
                    <a:pt x="60" y="4"/>
                  </a:lnTo>
                  <a:lnTo>
                    <a:pt x="70" y="2"/>
                  </a:lnTo>
                  <a:lnTo>
                    <a:pt x="82" y="0"/>
                  </a:lnTo>
                  <a:lnTo>
                    <a:pt x="88" y="0"/>
                  </a:lnTo>
                  <a:lnTo>
                    <a:pt x="92" y="0"/>
                  </a:lnTo>
                  <a:lnTo>
                    <a:pt x="92" y="0"/>
                  </a:lnTo>
                  <a:lnTo>
                    <a:pt x="96" y="2"/>
                  </a:lnTo>
                  <a:lnTo>
                    <a:pt x="96" y="2"/>
                  </a:lnTo>
                  <a:lnTo>
                    <a:pt x="96" y="0"/>
                  </a:lnTo>
                  <a:lnTo>
                    <a:pt x="96" y="0"/>
                  </a:lnTo>
                  <a:lnTo>
                    <a:pt x="96" y="0"/>
                  </a:lnTo>
                  <a:lnTo>
                    <a:pt x="102" y="0"/>
                  </a:lnTo>
                  <a:lnTo>
                    <a:pt x="104" y="2"/>
                  </a:lnTo>
                  <a:lnTo>
                    <a:pt x="112" y="4"/>
                  </a:lnTo>
                  <a:lnTo>
                    <a:pt x="112" y="4"/>
                  </a:lnTo>
                  <a:lnTo>
                    <a:pt x="118" y="6"/>
                  </a:lnTo>
                  <a:lnTo>
                    <a:pt x="114" y="6"/>
                  </a:lnTo>
                  <a:lnTo>
                    <a:pt x="110" y="8"/>
                  </a:lnTo>
                  <a:lnTo>
                    <a:pt x="110" y="8"/>
                  </a:lnTo>
                  <a:lnTo>
                    <a:pt x="108" y="8"/>
                  </a:lnTo>
                  <a:lnTo>
                    <a:pt x="112" y="10"/>
                  </a:lnTo>
                  <a:lnTo>
                    <a:pt x="116" y="12"/>
                  </a:lnTo>
                  <a:lnTo>
                    <a:pt x="116" y="12"/>
                  </a:lnTo>
                  <a:lnTo>
                    <a:pt x="122" y="14"/>
                  </a:lnTo>
                  <a:lnTo>
                    <a:pt x="120" y="12"/>
                  </a:lnTo>
                  <a:lnTo>
                    <a:pt x="120" y="8"/>
                  </a:lnTo>
                  <a:lnTo>
                    <a:pt x="124" y="10"/>
                  </a:lnTo>
                  <a:lnTo>
                    <a:pt x="124" y="10"/>
                  </a:lnTo>
                  <a:lnTo>
                    <a:pt x="130" y="14"/>
                  </a:lnTo>
                  <a:lnTo>
                    <a:pt x="134" y="18"/>
                  </a:lnTo>
                  <a:lnTo>
                    <a:pt x="134" y="20"/>
                  </a:lnTo>
                  <a:lnTo>
                    <a:pt x="136" y="22"/>
                  </a:lnTo>
                  <a:lnTo>
                    <a:pt x="136" y="22"/>
                  </a:lnTo>
                  <a:lnTo>
                    <a:pt x="130" y="24"/>
                  </a:lnTo>
                  <a:lnTo>
                    <a:pt x="124" y="28"/>
                  </a:lnTo>
                  <a:lnTo>
                    <a:pt x="124" y="28"/>
                  </a:lnTo>
                  <a:lnTo>
                    <a:pt x="120" y="30"/>
                  </a:lnTo>
                  <a:lnTo>
                    <a:pt x="116" y="32"/>
                  </a:lnTo>
                  <a:lnTo>
                    <a:pt x="110" y="32"/>
                  </a:lnTo>
                  <a:lnTo>
                    <a:pt x="110" y="32"/>
                  </a:lnTo>
                  <a:lnTo>
                    <a:pt x="106" y="32"/>
                  </a:lnTo>
                  <a:lnTo>
                    <a:pt x="104" y="30"/>
                  </a:lnTo>
                  <a:lnTo>
                    <a:pt x="100" y="30"/>
                  </a:lnTo>
                  <a:lnTo>
                    <a:pt x="100" y="32"/>
                  </a:lnTo>
                  <a:lnTo>
                    <a:pt x="100" y="32"/>
                  </a:lnTo>
                  <a:lnTo>
                    <a:pt x="98" y="34"/>
                  </a:lnTo>
                  <a:lnTo>
                    <a:pt x="96" y="34"/>
                  </a:lnTo>
                  <a:lnTo>
                    <a:pt x="94" y="34"/>
                  </a:lnTo>
                  <a:lnTo>
                    <a:pt x="94" y="38"/>
                  </a:lnTo>
                  <a:lnTo>
                    <a:pt x="94" y="38"/>
                  </a:lnTo>
                  <a:lnTo>
                    <a:pt x="94" y="42"/>
                  </a:lnTo>
                  <a:lnTo>
                    <a:pt x="92" y="42"/>
                  </a:lnTo>
                  <a:lnTo>
                    <a:pt x="86" y="42"/>
                  </a:lnTo>
                  <a:lnTo>
                    <a:pt x="82" y="48"/>
                  </a:lnTo>
                  <a:lnTo>
                    <a:pt x="82" y="48"/>
                  </a:lnTo>
                  <a:lnTo>
                    <a:pt x="76" y="52"/>
                  </a:lnTo>
                  <a:lnTo>
                    <a:pt x="72" y="52"/>
                  </a:lnTo>
                  <a:lnTo>
                    <a:pt x="70" y="52"/>
                  </a:lnTo>
                  <a:lnTo>
                    <a:pt x="66" y="54"/>
                  </a:lnTo>
                  <a:lnTo>
                    <a:pt x="66" y="54"/>
                  </a:lnTo>
                  <a:lnTo>
                    <a:pt x="64" y="56"/>
                  </a:lnTo>
                  <a:lnTo>
                    <a:pt x="64" y="58"/>
                  </a:lnTo>
                  <a:lnTo>
                    <a:pt x="64" y="60"/>
                  </a:lnTo>
                  <a:lnTo>
                    <a:pt x="62" y="62"/>
                  </a:lnTo>
                  <a:lnTo>
                    <a:pt x="62" y="62"/>
                  </a:lnTo>
                  <a:lnTo>
                    <a:pt x="60" y="62"/>
                  </a:lnTo>
                  <a:lnTo>
                    <a:pt x="58" y="62"/>
                  </a:lnTo>
                  <a:lnTo>
                    <a:pt x="56" y="60"/>
                  </a:lnTo>
                  <a:lnTo>
                    <a:pt x="54" y="62"/>
                  </a:lnTo>
                  <a:lnTo>
                    <a:pt x="54" y="62"/>
                  </a:lnTo>
                  <a:lnTo>
                    <a:pt x="52" y="64"/>
                  </a:lnTo>
                  <a:lnTo>
                    <a:pt x="54" y="66"/>
                  </a:lnTo>
                  <a:lnTo>
                    <a:pt x="52" y="70"/>
                  </a:lnTo>
                  <a:lnTo>
                    <a:pt x="44" y="76"/>
                  </a:lnTo>
                  <a:lnTo>
                    <a:pt x="44" y="76"/>
                  </a:lnTo>
                  <a:lnTo>
                    <a:pt x="44" y="74"/>
                  </a:lnTo>
                  <a:lnTo>
                    <a:pt x="42" y="72"/>
                  </a:lnTo>
                  <a:lnTo>
                    <a:pt x="42" y="72"/>
                  </a:lnTo>
                  <a:lnTo>
                    <a:pt x="40" y="70"/>
                  </a:lnTo>
                  <a:lnTo>
                    <a:pt x="40" y="68"/>
                  </a:lnTo>
                  <a:lnTo>
                    <a:pt x="38" y="66"/>
                  </a:lnTo>
                  <a:lnTo>
                    <a:pt x="34" y="68"/>
                  </a:lnTo>
                  <a:lnTo>
                    <a:pt x="34" y="6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5" name="Freeform 27"/>
            <p:cNvSpPr>
              <a:spLocks/>
            </p:cNvSpPr>
            <p:nvPr/>
          </p:nvSpPr>
          <p:spPr bwMode="auto">
            <a:xfrm>
              <a:off x="1639059" y="3139281"/>
              <a:ext cx="68792" cy="37042"/>
            </a:xfrm>
            <a:custGeom>
              <a:avLst/>
              <a:gdLst/>
              <a:ahLst/>
              <a:cxnLst>
                <a:cxn ang="0">
                  <a:pos x="18" y="0"/>
                </a:cxn>
                <a:cxn ang="0">
                  <a:pos x="18" y="0"/>
                </a:cxn>
                <a:cxn ang="0">
                  <a:pos x="24" y="0"/>
                </a:cxn>
                <a:cxn ang="0">
                  <a:pos x="24" y="2"/>
                </a:cxn>
                <a:cxn ang="0">
                  <a:pos x="26" y="4"/>
                </a:cxn>
                <a:cxn ang="0">
                  <a:pos x="28" y="2"/>
                </a:cxn>
                <a:cxn ang="0">
                  <a:pos x="28" y="2"/>
                </a:cxn>
                <a:cxn ang="0">
                  <a:pos x="32" y="4"/>
                </a:cxn>
                <a:cxn ang="0">
                  <a:pos x="34" y="6"/>
                </a:cxn>
                <a:cxn ang="0">
                  <a:pos x="36" y="10"/>
                </a:cxn>
                <a:cxn ang="0">
                  <a:pos x="40" y="12"/>
                </a:cxn>
                <a:cxn ang="0">
                  <a:pos x="40" y="12"/>
                </a:cxn>
                <a:cxn ang="0">
                  <a:pos x="46" y="12"/>
                </a:cxn>
                <a:cxn ang="0">
                  <a:pos x="48" y="14"/>
                </a:cxn>
                <a:cxn ang="0">
                  <a:pos x="48" y="16"/>
                </a:cxn>
                <a:cxn ang="0">
                  <a:pos x="50" y="18"/>
                </a:cxn>
                <a:cxn ang="0">
                  <a:pos x="50" y="18"/>
                </a:cxn>
                <a:cxn ang="0">
                  <a:pos x="50" y="18"/>
                </a:cxn>
                <a:cxn ang="0">
                  <a:pos x="50" y="20"/>
                </a:cxn>
                <a:cxn ang="0">
                  <a:pos x="50" y="22"/>
                </a:cxn>
                <a:cxn ang="0">
                  <a:pos x="52" y="24"/>
                </a:cxn>
                <a:cxn ang="0">
                  <a:pos x="52" y="24"/>
                </a:cxn>
                <a:cxn ang="0">
                  <a:pos x="38" y="28"/>
                </a:cxn>
                <a:cxn ang="0">
                  <a:pos x="30" y="26"/>
                </a:cxn>
                <a:cxn ang="0">
                  <a:pos x="24" y="24"/>
                </a:cxn>
                <a:cxn ang="0">
                  <a:pos x="16" y="22"/>
                </a:cxn>
                <a:cxn ang="0">
                  <a:pos x="16" y="22"/>
                </a:cxn>
                <a:cxn ang="0">
                  <a:pos x="6" y="18"/>
                </a:cxn>
                <a:cxn ang="0">
                  <a:pos x="0" y="16"/>
                </a:cxn>
                <a:cxn ang="0">
                  <a:pos x="0" y="16"/>
                </a:cxn>
                <a:cxn ang="0">
                  <a:pos x="4" y="10"/>
                </a:cxn>
                <a:cxn ang="0">
                  <a:pos x="6" y="8"/>
                </a:cxn>
                <a:cxn ang="0">
                  <a:pos x="10" y="8"/>
                </a:cxn>
                <a:cxn ang="0">
                  <a:pos x="12" y="4"/>
                </a:cxn>
                <a:cxn ang="0">
                  <a:pos x="12" y="4"/>
                </a:cxn>
                <a:cxn ang="0">
                  <a:pos x="14" y="0"/>
                </a:cxn>
                <a:cxn ang="0">
                  <a:pos x="18" y="0"/>
                </a:cxn>
                <a:cxn ang="0">
                  <a:pos x="18" y="0"/>
                </a:cxn>
              </a:cxnLst>
              <a:rect l="0" t="0" r="r" b="b"/>
              <a:pathLst>
                <a:path w="52" h="28">
                  <a:moveTo>
                    <a:pt x="18" y="0"/>
                  </a:moveTo>
                  <a:lnTo>
                    <a:pt x="18" y="0"/>
                  </a:lnTo>
                  <a:lnTo>
                    <a:pt x="24" y="0"/>
                  </a:lnTo>
                  <a:lnTo>
                    <a:pt x="24" y="2"/>
                  </a:lnTo>
                  <a:lnTo>
                    <a:pt x="26" y="4"/>
                  </a:lnTo>
                  <a:lnTo>
                    <a:pt x="28" y="2"/>
                  </a:lnTo>
                  <a:lnTo>
                    <a:pt x="28" y="2"/>
                  </a:lnTo>
                  <a:lnTo>
                    <a:pt x="32" y="4"/>
                  </a:lnTo>
                  <a:lnTo>
                    <a:pt x="34" y="6"/>
                  </a:lnTo>
                  <a:lnTo>
                    <a:pt x="36" y="10"/>
                  </a:lnTo>
                  <a:lnTo>
                    <a:pt x="40" y="12"/>
                  </a:lnTo>
                  <a:lnTo>
                    <a:pt x="40" y="12"/>
                  </a:lnTo>
                  <a:lnTo>
                    <a:pt x="46" y="12"/>
                  </a:lnTo>
                  <a:lnTo>
                    <a:pt x="48" y="14"/>
                  </a:lnTo>
                  <a:lnTo>
                    <a:pt x="48" y="16"/>
                  </a:lnTo>
                  <a:lnTo>
                    <a:pt x="50" y="18"/>
                  </a:lnTo>
                  <a:lnTo>
                    <a:pt x="50" y="18"/>
                  </a:lnTo>
                  <a:lnTo>
                    <a:pt x="50" y="18"/>
                  </a:lnTo>
                  <a:lnTo>
                    <a:pt x="50" y="20"/>
                  </a:lnTo>
                  <a:lnTo>
                    <a:pt x="50" y="22"/>
                  </a:lnTo>
                  <a:lnTo>
                    <a:pt x="52" y="24"/>
                  </a:lnTo>
                  <a:lnTo>
                    <a:pt x="52" y="24"/>
                  </a:lnTo>
                  <a:lnTo>
                    <a:pt x="38" y="28"/>
                  </a:lnTo>
                  <a:lnTo>
                    <a:pt x="30" y="26"/>
                  </a:lnTo>
                  <a:lnTo>
                    <a:pt x="24" y="24"/>
                  </a:lnTo>
                  <a:lnTo>
                    <a:pt x="16" y="22"/>
                  </a:lnTo>
                  <a:lnTo>
                    <a:pt x="16" y="22"/>
                  </a:lnTo>
                  <a:lnTo>
                    <a:pt x="6" y="18"/>
                  </a:lnTo>
                  <a:lnTo>
                    <a:pt x="0" y="16"/>
                  </a:lnTo>
                  <a:lnTo>
                    <a:pt x="0" y="16"/>
                  </a:lnTo>
                  <a:lnTo>
                    <a:pt x="4" y="10"/>
                  </a:lnTo>
                  <a:lnTo>
                    <a:pt x="6" y="8"/>
                  </a:lnTo>
                  <a:lnTo>
                    <a:pt x="10" y="8"/>
                  </a:lnTo>
                  <a:lnTo>
                    <a:pt x="12" y="4"/>
                  </a:lnTo>
                  <a:lnTo>
                    <a:pt x="12" y="4"/>
                  </a:lnTo>
                  <a:lnTo>
                    <a:pt x="14" y="0"/>
                  </a:lnTo>
                  <a:lnTo>
                    <a:pt x="18" y="0"/>
                  </a:lnTo>
                  <a:lnTo>
                    <a:pt x="18" y="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6" name="Nicaragua"/>
            <p:cNvSpPr>
              <a:spLocks/>
            </p:cNvSpPr>
            <p:nvPr/>
          </p:nvSpPr>
          <p:spPr bwMode="auto">
            <a:xfrm>
              <a:off x="1713142" y="3110177"/>
              <a:ext cx="129646" cy="150813"/>
            </a:xfrm>
            <a:custGeom>
              <a:avLst/>
              <a:gdLst/>
              <a:ahLst/>
              <a:cxnLst>
                <a:cxn ang="0">
                  <a:pos x="6" y="54"/>
                </a:cxn>
                <a:cxn ang="0">
                  <a:pos x="16" y="44"/>
                </a:cxn>
                <a:cxn ang="0">
                  <a:pos x="16" y="40"/>
                </a:cxn>
                <a:cxn ang="0">
                  <a:pos x="18" y="38"/>
                </a:cxn>
                <a:cxn ang="0">
                  <a:pos x="22" y="40"/>
                </a:cxn>
                <a:cxn ang="0">
                  <a:pos x="24" y="40"/>
                </a:cxn>
                <a:cxn ang="0">
                  <a:pos x="26" y="36"/>
                </a:cxn>
                <a:cxn ang="0">
                  <a:pos x="28" y="32"/>
                </a:cxn>
                <a:cxn ang="0">
                  <a:pos x="32" y="30"/>
                </a:cxn>
                <a:cxn ang="0">
                  <a:pos x="38" y="30"/>
                </a:cxn>
                <a:cxn ang="0">
                  <a:pos x="44" y="26"/>
                </a:cxn>
                <a:cxn ang="0">
                  <a:pos x="54" y="20"/>
                </a:cxn>
                <a:cxn ang="0">
                  <a:pos x="56" y="16"/>
                </a:cxn>
                <a:cxn ang="0">
                  <a:pos x="56" y="12"/>
                </a:cxn>
                <a:cxn ang="0">
                  <a:pos x="60" y="12"/>
                </a:cxn>
                <a:cxn ang="0">
                  <a:pos x="62" y="10"/>
                </a:cxn>
                <a:cxn ang="0">
                  <a:pos x="66" y="8"/>
                </a:cxn>
                <a:cxn ang="0">
                  <a:pos x="72" y="10"/>
                </a:cxn>
                <a:cxn ang="0">
                  <a:pos x="78" y="10"/>
                </a:cxn>
                <a:cxn ang="0">
                  <a:pos x="86" y="6"/>
                </a:cxn>
                <a:cxn ang="0">
                  <a:pos x="92" y="2"/>
                </a:cxn>
                <a:cxn ang="0">
                  <a:pos x="98" y="0"/>
                </a:cxn>
                <a:cxn ang="0">
                  <a:pos x="98" y="2"/>
                </a:cxn>
                <a:cxn ang="0">
                  <a:pos x="94" y="6"/>
                </a:cxn>
                <a:cxn ang="0">
                  <a:pos x="96" y="10"/>
                </a:cxn>
                <a:cxn ang="0">
                  <a:pos x="96" y="10"/>
                </a:cxn>
                <a:cxn ang="0">
                  <a:pos x="96" y="18"/>
                </a:cxn>
                <a:cxn ang="0">
                  <a:pos x="90" y="28"/>
                </a:cxn>
                <a:cxn ang="0">
                  <a:pos x="92" y="28"/>
                </a:cxn>
                <a:cxn ang="0">
                  <a:pos x="88" y="42"/>
                </a:cxn>
                <a:cxn ang="0">
                  <a:pos x="86" y="52"/>
                </a:cxn>
                <a:cxn ang="0">
                  <a:pos x="86" y="58"/>
                </a:cxn>
                <a:cxn ang="0">
                  <a:pos x="84" y="64"/>
                </a:cxn>
                <a:cxn ang="0">
                  <a:pos x="82" y="64"/>
                </a:cxn>
                <a:cxn ang="0">
                  <a:pos x="84" y="68"/>
                </a:cxn>
                <a:cxn ang="0">
                  <a:pos x="84" y="72"/>
                </a:cxn>
                <a:cxn ang="0">
                  <a:pos x="84" y="74"/>
                </a:cxn>
                <a:cxn ang="0">
                  <a:pos x="82" y="74"/>
                </a:cxn>
                <a:cxn ang="0">
                  <a:pos x="82" y="78"/>
                </a:cxn>
                <a:cxn ang="0">
                  <a:pos x="84" y="80"/>
                </a:cxn>
                <a:cxn ang="0">
                  <a:pos x="84" y="84"/>
                </a:cxn>
                <a:cxn ang="0">
                  <a:pos x="82" y="90"/>
                </a:cxn>
                <a:cxn ang="0">
                  <a:pos x="80" y="92"/>
                </a:cxn>
                <a:cxn ang="0">
                  <a:pos x="78" y="100"/>
                </a:cxn>
                <a:cxn ang="0">
                  <a:pos x="82" y="112"/>
                </a:cxn>
                <a:cxn ang="0">
                  <a:pos x="74" y="114"/>
                </a:cxn>
                <a:cxn ang="0">
                  <a:pos x="68" y="114"/>
                </a:cxn>
                <a:cxn ang="0">
                  <a:pos x="64" y="114"/>
                </a:cxn>
                <a:cxn ang="0">
                  <a:pos x="54" y="108"/>
                </a:cxn>
                <a:cxn ang="0">
                  <a:pos x="48" y="110"/>
                </a:cxn>
                <a:cxn ang="0">
                  <a:pos x="40" y="108"/>
                </a:cxn>
                <a:cxn ang="0">
                  <a:pos x="32" y="110"/>
                </a:cxn>
                <a:cxn ang="0">
                  <a:pos x="28" y="106"/>
                </a:cxn>
                <a:cxn ang="0">
                  <a:pos x="28" y="100"/>
                </a:cxn>
                <a:cxn ang="0">
                  <a:pos x="22" y="94"/>
                </a:cxn>
                <a:cxn ang="0">
                  <a:pos x="14" y="86"/>
                </a:cxn>
                <a:cxn ang="0">
                  <a:pos x="8" y="68"/>
                </a:cxn>
                <a:cxn ang="0">
                  <a:pos x="2" y="60"/>
                </a:cxn>
                <a:cxn ang="0">
                  <a:pos x="0" y="52"/>
                </a:cxn>
                <a:cxn ang="0">
                  <a:pos x="6" y="54"/>
                </a:cxn>
              </a:cxnLst>
              <a:rect l="0" t="0" r="r" b="b"/>
              <a:pathLst>
                <a:path w="98" h="114">
                  <a:moveTo>
                    <a:pt x="6" y="54"/>
                  </a:moveTo>
                  <a:lnTo>
                    <a:pt x="6" y="54"/>
                  </a:lnTo>
                  <a:lnTo>
                    <a:pt x="14" y="48"/>
                  </a:lnTo>
                  <a:lnTo>
                    <a:pt x="16" y="44"/>
                  </a:lnTo>
                  <a:lnTo>
                    <a:pt x="14" y="42"/>
                  </a:lnTo>
                  <a:lnTo>
                    <a:pt x="16" y="40"/>
                  </a:lnTo>
                  <a:lnTo>
                    <a:pt x="16" y="40"/>
                  </a:lnTo>
                  <a:lnTo>
                    <a:pt x="18" y="38"/>
                  </a:lnTo>
                  <a:lnTo>
                    <a:pt x="20" y="40"/>
                  </a:lnTo>
                  <a:lnTo>
                    <a:pt x="22" y="40"/>
                  </a:lnTo>
                  <a:lnTo>
                    <a:pt x="24" y="40"/>
                  </a:lnTo>
                  <a:lnTo>
                    <a:pt x="24" y="40"/>
                  </a:lnTo>
                  <a:lnTo>
                    <a:pt x="26" y="38"/>
                  </a:lnTo>
                  <a:lnTo>
                    <a:pt x="26" y="36"/>
                  </a:lnTo>
                  <a:lnTo>
                    <a:pt x="26" y="34"/>
                  </a:lnTo>
                  <a:lnTo>
                    <a:pt x="28" y="32"/>
                  </a:lnTo>
                  <a:lnTo>
                    <a:pt x="28" y="32"/>
                  </a:lnTo>
                  <a:lnTo>
                    <a:pt x="32" y="30"/>
                  </a:lnTo>
                  <a:lnTo>
                    <a:pt x="34" y="30"/>
                  </a:lnTo>
                  <a:lnTo>
                    <a:pt x="38" y="30"/>
                  </a:lnTo>
                  <a:lnTo>
                    <a:pt x="44" y="26"/>
                  </a:lnTo>
                  <a:lnTo>
                    <a:pt x="44" y="26"/>
                  </a:lnTo>
                  <a:lnTo>
                    <a:pt x="48" y="20"/>
                  </a:lnTo>
                  <a:lnTo>
                    <a:pt x="54" y="20"/>
                  </a:lnTo>
                  <a:lnTo>
                    <a:pt x="56" y="20"/>
                  </a:lnTo>
                  <a:lnTo>
                    <a:pt x="56" y="16"/>
                  </a:lnTo>
                  <a:lnTo>
                    <a:pt x="56" y="16"/>
                  </a:lnTo>
                  <a:lnTo>
                    <a:pt x="56" y="12"/>
                  </a:lnTo>
                  <a:lnTo>
                    <a:pt x="58" y="12"/>
                  </a:lnTo>
                  <a:lnTo>
                    <a:pt x="60" y="12"/>
                  </a:lnTo>
                  <a:lnTo>
                    <a:pt x="62" y="10"/>
                  </a:lnTo>
                  <a:lnTo>
                    <a:pt x="62" y="10"/>
                  </a:lnTo>
                  <a:lnTo>
                    <a:pt x="62" y="8"/>
                  </a:lnTo>
                  <a:lnTo>
                    <a:pt x="66" y="8"/>
                  </a:lnTo>
                  <a:lnTo>
                    <a:pt x="68" y="10"/>
                  </a:lnTo>
                  <a:lnTo>
                    <a:pt x="72" y="10"/>
                  </a:lnTo>
                  <a:lnTo>
                    <a:pt x="72" y="10"/>
                  </a:lnTo>
                  <a:lnTo>
                    <a:pt x="78" y="10"/>
                  </a:lnTo>
                  <a:lnTo>
                    <a:pt x="82" y="8"/>
                  </a:lnTo>
                  <a:lnTo>
                    <a:pt x="86" y="6"/>
                  </a:lnTo>
                  <a:lnTo>
                    <a:pt x="86" y="6"/>
                  </a:lnTo>
                  <a:lnTo>
                    <a:pt x="92" y="2"/>
                  </a:lnTo>
                  <a:lnTo>
                    <a:pt x="98" y="0"/>
                  </a:lnTo>
                  <a:lnTo>
                    <a:pt x="98" y="0"/>
                  </a:lnTo>
                  <a:lnTo>
                    <a:pt x="98" y="0"/>
                  </a:lnTo>
                  <a:lnTo>
                    <a:pt x="98" y="2"/>
                  </a:lnTo>
                  <a:lnTo>
                    <a:pt x="96" y="4"/>
                  </a:lnTo>
                  <a:lnTo>
                    <a:pt x="94" y="6"/>
                  </a:lnTo>
                  <a:lnTo>
                    <a:pt x="94" y="8"/>
                  </a:lnTo>
                  <a:lnTo>
                    <a:pt x="96" y="10"/>
                  </a:lnTo>
                  <a:lnTo>
                    <a:pt x="96" y="10"/>
                  </a:lnTo>
                  <a:lnTo>
                    <a:pt x="96" y="10"/>
                  </a:lnTo>
                  <a:lnTo>
                    <a:pt x="98" y="12"/>
                  </a:lnTo>
                  <a:lnTo>
                    <a:pt x="96" y="18"/>
                  </a:lnTo>
                  <a:lnTo>
                    <a:pt x="94" y="24"/>
                  </a:lnTo>
                  <a:lnTo>
                    <a:pt x="90" y="28"/>
                  </a:lnTo>
                  <a:lnTo>
                    <a:pt x="90" y="28"/>
                  </a:lnTo>
                  <a:lnTo>
                    <a:pt x="92" y="28"/>
                  </a:lnTo>
                  <a:lnTo>
                    <a:pt x="92" y="32"/>
                  </a:lnTo>
                  <a:lnTo>
                    <a:pt x="88" y="42"/>
                  </a:lnTo>
                  <a:lnTo>
                    <a:pt x="88" y="42"/>
                  </a:lnTo>
                  <a:lnTo>
                    <a:pt x="86" y="52"/>
                  </a:lnTo>
                  <a:lnTo>
                    <a:pt x="86" y="58"/>
                  </a:lnTo>
                  <a:lnTo>
                    <a:pt x="86" y="58"/>
                  </a:lnTo>
                  <a:lnTo>
                    <a:pt x="86" y="60"/>
                  </a:lnTo>
                  <a:lnTo>
                    <a:pt x="84" y="64"/>
                  </a:lnTo>
                  <a:lnTo>
                    <a:pt x="82" y="64"/>
                  </a:lnTo>
                  <a:lnTo>
                    <a:pt x="82" y="64"/>
                  </a:lnTo>
                  <a:lnTo>
                    <a:pt x="84" y="64"/>
                  </a:lnTo>
                  <a:lnTo>
                    <a:pt x="84" y="68"/>
                  </a:lnTo>
                  <a:lnTo>
                    <a:pt x="84" y="68"/>
                  </a:lnTo>
                  <a:lnTo>
                    <a:pt x="84" y="72"/>
                  </a:lnTo>
                  <a:lnTo>
                    <a:pt x="84" y="74"/>
                  </a:lnTo>
                  <a:lnTo>
                    <a:pt x="84" y="74"/>
                  </a:lnTo>
                  <a:lnTo>
                    <a:pt x="84" y="74"/>
                  </a:lnTo>
                  <a:lnTo>
                    <a:pt x="82" y="74"/>
                  </a:lnTo>
                  <a:lnTo>
                    <a:pt x="80" y="76"/>
                  </a:lnTo>
                  <a:lnTo>
                    <a:pt x="82" y="78"/>
                  </a:lnTo>
                  <a:lnTo>
                    <a:pt x="84" y="80"/>
                  </a:lnTo>
                  <a:lnTo>
                    <a:pt x="84" y="80"/>
                  </a:lnTo>
                  <a:lnTo>
                    <a:pt x="84" y="82"/>
                  </a:lnTo>
                  <a:lnTo>
                    <a:pt x="84" y="84"/>
                  </a:lnTo>
                  <a:lnTo>
                    <a:pt x="84" y="88"/>
                  </a:lnTo>
                  <a:lnTo>
                    <a:pt x="82" y="90"/>
                  </a:lnTo>
                  <a:lnTo>
                    <a:pt x="82" y="90"/>
                  </a:lnTo>
                  <a:lnTo>
                    <a:pt x="80" y="92"/>
                  </a:lnTo>
                  <a:lnTo>
                    <a:pt x="78" y="94"/>
                  </a:lnTo>
                  <a:lnTo>
                    <a:pt x="78" y="100"/>
                  </a:lnTo>
                  <a:lnTo>
                    <a:pt x="82" y="112"/>
                  </a:lnTo>
                  <a:lnTo>
                    <a:pt x="82" y="112"/>
                  </a:lnTo>
                  <a:lnTo>
                    <a:pt x="76" y="114"/>
                  </a:lnTo>
                  <a:lnTo>
                    <a:pt x="74" y="114"/>
                  </a:lnTo>
                  <a:lnTo>
                    <a:pt x="72" y="112"/>
                  </a:lnTo>
                  <a:lnTo>
                    <a:pt x="68" y="114"/>
                  </a:lnTo>
                  <a:lnTo>
                    <a:pt x="68" y="114"/>
                  </a:lnTo>
                  <a:lnTo>
                    <a:pt x="64" y="114"/>
                  </a:lnTo>
                  <a:lnTo>
                    <a:pt x="60" y="110"/>
                  </a:lnTo>
                  <a:lnTo>
                    <a:pt x="54" y="108"/>
                  </a:lnTo>
                  <a:lnTo>
                    <a:pt x="48" y="110"/>
                  </a:lnTo>
                  <a:lnTo>
                    <a:pt x="48" y="110"/>
                  </a:lnTo>
                  <a:lnTo>
                    <a:pt x="44" y="110"/>
                  </a:lnTo>
                  <a:lnTo>
                    <a:pt x="40" y="108"/>
                  </a:lnTo>
                  <a:lnTo>
                    <a:pt x="36" y="108"/>
                  </a:lnTo>
                  <a:lnTo>
                    <a:pt x="32" y="110"/>
                  </a:lnTo>
                  <a:lnTo>
                    <a:pt x="32" y="110"/>
                  </a:lnTo>
                  <a:lnTo>
                    <a:pt x="28" y="106"/>
                  </a:lnTo>
                  <a:lnTo>
                    <a:pt x="28" y="102"/>
                  </a:lnTo>
                  <a:lnTo>
                    <a:pt x="28" y="100"/>
                  </a:lnTo>
                  <a:lnTo>
                    <a:pt x="22" y="94"/>
                  </a:lnTo>
                  <a:lnTo>
                    <a:pt x="22" y="94"/>
                  </a:lnTo>
                  <a:lnTo>
                    <a:pt x="18" y="90"/>
                  </a:lnTo>
                  <a:lnTo>
                    <a:pt x="14" y="86"/>
                  </a:lnTo>
                  <a:lnTo>
                    <a:pt x="10" y="78"/>
                  </a:lnTo>
                  <a:lnTo>
                    <a:pt x="8" y="68"/>
                  </a:lnTo>
                  <a:lnTo>
                    <a:pt x="2" y="60"/>
                  </a:lnTo>
                  <a:lnTo>
                    <a:pt x="2" y="60"/>
                  </a:lnTo>
                  <a:lnTo>
                    <a:pt x="0" y="54"/>
                  </a:lnTo>
                  <a:lnTo>
                    <a:pt x="0" y="52"/>
                  </a:lnTo>
                  <a:lnTo>
                    <a:pt x="4" y="52"/>
                  </a:lnTo>
                  <a:lnTo>
                    <a:pt x="6" y="54"/>
                  </a:lnTo>
                  <a:lnTo>
                    <a:pt x="6" y="54"/>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7" name="Guatemala"/>
            <p:cNvSpPr>
              <a:spLocks/>
            </p:cNvSpPr>
            <p:nvPr/>
          </p:nvSpPr>
          <p:spPr bwMode="auto">
            <a:xfrm>
              <a:off x="1591434" y="3022865"/>
              <a:ext cx="111125" cy="137583"/>
            </a:xfrm>
            <a:custGeom>
              <a:avLst/>
              <a:gdLst/>
              <a:ahLst/>
              <a:cxnLst>
                <a:cxn ang="0">
                  <a:pos x="36" y="104"/>
                </a:cxn>
                <a:cxn ang="0">
                  <a:pos x="42" y="96"/>
                </a:cxn>
                <a:cxn ang="0">
                  <a:pos x="48" y="92"/>
                </a:cxn>
                <a:cxn ang="0">
                  <a:pos x="50" y="88"/>
                </a:cxn>
                <a:cxn ang="0">
                  <a:pos x="54" y="88"/>
                </a:cxn>
                <a:cxn ang="0">
                  <a:pos x="62" y="80"/>
                </a:cxn>
                <a:cxn ang="0">
                  <a:pos x="64" y="76"/>
                </a:cxn>
                <a:cxn ang="0">
                  <a:pos x="60" y="74"/>
                </a:cxn>
                <a:cxn ang="0">
                  <a:pos x="64" y="70"/>
                </a:cxn>
                <a:cxn ang="0">
                  <a:pos x="76" y="60"/>
                </a:cxn>
                <a:cxn ang="0">
                  <a:pos x="84" y="48"/>
                </a:cxn>
                <a:cxn ang="0">
                  <a:pos x="80" y="46"/>
                </a:cxn>
                <a:cxn ang="0">
                  <a:pos x="76" y="46"/>
                </a:cxn>
                <a:cxn ang="0">
                  <a:pos x="66" y="44"/>
                </a:cxn>
                <a:cxn ang="0">
                  <a:pos x="38" y="0"/>
                </a:cxn>
                <a:cxn ang="0">
                  <a:pos x="36" y="4"/>
                </a:cxn>
                <a:cxn ang="0">
                  <a:pos x="40" y="10"/>
                </a:cxn>
                <a:cxn ang="0">
                  <a:pos x="42" y="14"/>
                </a:cxn>
                <a:cxn ang="0">
                  <a:pos x="36" y="18"/>
                </a:cxn>
                <a:cxn ang="0">
                  <a:pos x="30" y="24"/>
                </a:cxn>
                <a:cxn ang="0">
                  <a:pos x="32" y="26"/>
                </a:cxn>
                <a:cxn ang="0">
                  <a:pos x="40" y="30"/>
                </a:cxn>
                <a:cxn ang="0">
                  <a:pos x="40" y="32"/>
                </a:cxn>
                <a:cxn ang="0">
                  <a:pos x="42" y="38"/>
                </a:cxn>
                <a:cxn ang="0">
                  <a:pos x="44" y="44"/>
                </a:cxn>
                <a:cxn ang="0">
                  <a:pos x="28" y="42"/>
                </a:cxn>
                <a:cxn ang="0">
                  <a:pos x="16" y="46"/>
                </a:cxn>
                <a:cxn ang="0">
                  <a:pos x="6" y="56"/>
                </a:cxn>
                <a:cxn ang="0">
                  <a:pos x="0" y="80"/>
                </a:cxn>
                <a:cxn ang="0">
                  <a:pos x="8" y="92"/>
                </a:cxn>
                <a:cxn ang="0">
                  <a:pos x="24" y="102"/>
                </a:cxn>
                <a:cxn ang="0">
                  <a:pos x="36" y="104"/>
                </a:cxn>
              </a:cxnLst>
              <a:rect l="0" t="0" r="r" b="b"/>
              <a:pathLst>
                <a:path w="84" h="104">
                  <a:moveTo>
                    <a:pt x="36" y="104"/>
                  </a:moveTo>
                  <a:lnTo>
                    <a:pt x="36" y="104"/>
                  </a:lnTo>
                  <a:lnTo>
                    <a:pt x="40" y="98"/>
                  </a:lnTo>
                  <a:lnTo>
                    <a:pt x="42" y="96"/>
                  </a:lnTo>
                  <a:lnTo>
                    <a:pt x="46" y="96"/>
                  </a:lnTo>
                  <a:lnTo>
                    <a:pt x="48" y="92"/>
                  </a:lnTo>
                  <a:lnTo>
                    <a:pt x="48" y="92"/>
                  </a:lnTo>
                  <a:lnTo>
                    <a:pt x="50" y="88"/>
                  </a:lnTo>
                  <a:lnTo>
                    <a:pt x="54" y="88"/>
                  </a:lnTo>
                  <a:lnTo>
                    <a:pt x="54" y="88"/>
                  </a:lnTo>
                  <a:lnTo>
                    <a:pt x="56" y="84"/>
                  </a:lnTo>
                  <a:lnTo>
                    <a:pt x="62" y="80"/>
                  </a:lnTo>
                  <a:lnTo>
                    <a:pt x="62" y="80"/>
                  </a:lnTo>
                  <a:lnTo>
                    <a:pt x="64" y="76"/>
                  </a:lnTo>
                  <a:lnTo>
                    <a:pt x="62" y="76"/>
                  </a:lnTo>
                  <a:lnTo>
                    <a:pt x="60" y="74"/>
                  </a:lnTo>
                  <a:lnTo>
                    <a:pt x="64" y="70"/>
                  </a:lnTo>
                  <a:lnTo>
                    <a:pt x="64" y="70"/>
                  </a:lnTo>
                  <a:lnTo>
                    <a:pt x="70" y="64"/>
                  </a:lnTo>
                  <a:lnTo>
                    <a:pt x="76" y="60"/>
                  </a:lnTo>
                  <a:lnTo>
                    <a:pt x="80" y="56"/>
                  </a:lnTo>
                  <a:lnTo>
                    <a:pt x="84" y="48"/>
                  </a:lnTo>
                  <a:lnTo>
                    <a:pt x="84" y="48"/>
                  </a:lnTo>
                  <a:lnTo>
                    <a:pt x="80" y="46"/>
                  </a:lnTo>
                  <a:lnTo>
                    <a:pt x="78" y="46"/>
                  </a:lnTo>
                  <a:lnTo>
                    <a:pt x="76" y="46"/>
                  </a:lnTo>
                  <a:lnTo>
                    <a:pt x="76" y="44"/>
                  </a:lnTo>
                  <a:lnTo>
                    <a:pt x="66" y="44"/>
                  </a:lnTo>
                  <a:lnTo>
                    <a:pt x="72" y="0"/>
                  </a:lnTo>
                  <a:lnTo>
                    <a:pt x="38" y="0"/>
                  </a:lnTo>
                  <a:lnTo>
                    <a:pt x="38" y="0"/>
                  </a:lnTo>
                  <a:lnTo>
                    <a:pt x="36" y="4"/>
                  </a:lnTo>
                  <a:lnTo>
                    <a:pt x="38" y="8"/>
                  </a:lnTo>
                  <a:lnTo>
                    <a:pt x="40" y="10"/>
                  </a:lnTo>
                  <a:lnTo>
                    <a:pt x="42" y="14"/>
                  </a:lnTo>
                  <a:lnTo>
                    <a:pt x="42" y="14"/>
                  </a:lnTo>
                  <a:lnTo>
                    <a:pt x="40" y="18"/>
                  </a:lnTo>
                  <a:lnTo>
                    <a:pt x="36" y="18"/>
                  </a:lnTo>
                  <a:lnTo>
                    <a:pt x="32" y="20"/>
                  </a:lnTo>
                  <a:lnTo>
                    <a:pt x="30" y="24"/>
                  </a:lnTo>
                  <a:lnTo>
                    <a:pt x="30" y="24"/>
                  </a:lnTo>
                  <a:lnTo>
                    <a:pt x="32" y="26"/>
                  </a:lnTo>
                  <a:lnTo>
                    <a:pt x="36" y="28"/>
                  </a:lnTo>
                  <a:lnTo>
                    <a:pt x="40" y="30"/>
                  </a:lnTo>
                  <a:lnTo>
                    <a:pt x="40" y="32"/>
                  </a:lnTo>
                  <a:lnTo>
                    <a:pt x="40" y="32"/>
                  </a:lnTo>
                  <a:lnTo>
                    <a:pt x="40" y="36"/>
                  </a:lnTo>
                  <a:lnTo>
                    <a:pt x="42" y="38"/>
                  </a:lnTo>
                  <a:lnTo>
                    <a:pt x="44" y="40"/>
                  </a:lnTo>
                  <a:lnTo>
                    <a:pt x="44" y="44"/>
                  </a:lnTo>
                  <a:lnTo>
                    <a:pt x="44" y="44"/>
                  </a:lnTo>
                  <a:lnTo>
                    <a:pt x="28" y="42"/>
                  </a:lnTo>
                  <a:lnTo>
                    <a:pt x="22" y="44"/>
                  </a:lnTo>
                  <a:lnTo>
                    <a:pt x="16" y="46"/>
                  </a:lnTo>
                  <a:lnTo>
                    <a:pt x="12" y="50"/>
                  </a:lnTo>
                  <a:lnTo>
                    <a:pt x="6" y="56"/>
                  </a:lnTo>
                  <a:lnTo>
                    <a:pt x="4" y="66"/>
                  </a:lnTo>
                  <a:lnTo>
                    <a:pt x="0" y="80"/>
                  </a:lnTo>
                  <a:lnTo>
                    <a:pt x="0" y="80"/>
                  </a:lnTo>
                  <a:lnTo>
                    <a:pt x="8" y="92"/>
                  </a:lnTo>
                  <a:lnTo>
                    <a:pt x="16" y="98"/>
                  </a:lnTo>
                  <a:lnTo>
                    <a:pt x="24" y="102"/>
                  </a:lnTo>
                  <a:lnTo>
                    <a:pt x="36" y="104"/>
                  </a:lnTo>
                  <a:lnTo>
                    <a:pt x="36" y="104"/>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8" name="Freeform 30"/>
            <p:cNvSpPr>
              <a:spLocks/>
            </p:cNvSpPr>
            <p:nvPr/>
          </p:nvSpPr>
          <p:spPr bwMode="auto">
            <a:xfrm>
              <a:off x="2165580" y="2943490"/>
              <a:ext cx="105833" cy="74083"/>
            </a:xfrm>
            <a:custGeom>
              <a:avLst/>
              <a:gdLst/>
              <a:ahLst/>
              <a:cxnLst>
                <a:cxn ang="0">
                  <a:pos x="4" y="46"/>
                </a:cxn>
                <a:cxn ang="0">
                  <a:pos x="4" y="48"/>
                </a:cxn>
                <a:cxn ang="0">
                  <a:pos x="2" y="54"/>
                </a:cxn>
                <a:cxn ang="0">
                  <a:pos x="4" y="54"/>
                </a:cxn>
                <a:cxn ang="0">
                  <a:pos x="10" y="54"/>
                </a:cxn>
                <a:cxn ang="0">
                  <a:pos x="10" y="54"/>
                </a:cxn>
                <a:cxn ang="0">
                  <a:pos x="12" y="56"/>
                </a:cxn>
                <a:cxn ang="0">
                  <a:pos x="16" y="52"/>
                </a:cxn>
                <a:cxn ang="0">
                  <a:pos x="22" y="48"/>
                </a:cxn>
                <a:cxn ang="0">
                  <a:pos x="26" y="46"/>
                </a:cxn>
                <a:cxn ang="0">
                  <a:pos x="24" y="42"/>
                </a:cxn>
                <a:cxn ang="0">
                  <a:pos x="24" y="42"/>
                </a:cxn>
                <a:cxn ang="0">
                  <a:pos x="28" y="42"/>
                </a:cxn>
                <a:cxn ang="0">
                  <a:pos x="30" y="40"/>
                </a:cxn>
                <a:cxn ang="0">
                  <a:pos x="32" y="40"/>
                </a:cxn>
                <a:cxn ang="0">
                  <a:pos x="34" y="42"/>
                </a:cxn>
                <a:cxn ang="0">
                  <a:pos x="38" y="42"/>
                </a:cxn>
                <a:cxn ang="0">
                  <a:pos x="40" y="40"/>
                </a:cxn>
                <a:cxn ang="0">
                  <a:pos x="42" y="38"/>
                </a:cxn>
                <a:cxn ang="0">
                  <a:pos x="48" y="40"/>
                </a:cxn>
                <a:cxn ang="0">
                  <a:pos x="52" y="38"/>
                </a:cxn>
                <a:cxn ang="0">
                  <a:pos x="56" y="36"/>
                </a:cxn>
                <a:cxn ang="0">
                  <a:pos x="66" y="44"/>
                </a:cxn>
                <a:cxn ang="0">
                  <a:pos x="68" y="46"/>
                </a:cxn>
                <a:cxn ang="0">
                  <a:pos x="70" y="42"/>
                </a:cxn>
                <a:cxn ang="0">
                  <a:pos x="72" y="40"/>
                </a:cxn>
                <a:cxn ang="0">
                  <a:pos x="74" y="40"/>
                </a:cxn>
                <a:cxn ang="0">
                  <a:pos x="80" y="36"/>
                </a:cxn>
                <a:cxn ang="0">
                  <a:pos x="78" y="32"/>
                </a:cxn>
                <a:cxn ang="0">
                  <a:pos x="68" y="24"/>
                </a:cxn>
                <a:cxn ang="0">
                  <a:pos x="60" y="20"/>
                </a:cxn>
                <a:cxn ang="0">
                  <a:pos x="52" y="20"/>
                </a:cxn>
                <a:cxn ang="0">
                  <a:pos x="46" y="18"/>
                </a:cxn>
                <a:cxn ang="0">
                  <a:pos x="52" y="16"/>
                </a:cxn>
                <a:cxn ang="0">
                  <a:pos x="56" y="16"/>
                </a:cxn>
                <a:cxn ang="0">
                  <a:pos x="60" y="14"/>
                </a:cxn>
                <a:cxn ang="0">
                  <a:pos x="58" y="14"/>
                </a:cxn>
                <a:cxn ang="0">
                  <a:pos x="48" y="12"/>
                </a:cxn>
                <a:cxn ang="0">
                  <a:pos x="48" y="10"/>
                </a:cxn>
                <a:cxn ang="0">
                  <a:pos x="46" y="6"/>
                </a:cxn>
                <a:cxn ang="0">
                  <a:pos x="42" y="6"/>
                </a:cxn>
                <a:cxn ang="0">
                  <a:pos x="38" y="6"/>
                </a:cxn>
                <a:cxn ang="0">
                  <a:pos x="32" y="4"/>
                </a:cxn>
                <a:cxn ang="0">
                  <a:pos x="28" y="2"/>
                </a:cxn>
                <a:cxn ang="0">
                  <a:pos x="24" y="0"/>
                </a:cxn>
                <a:cxn ang="0">
                  <a:pos x="20" y="2"/>
                </a:cxn>
                <a:cxn ang="0">
                  <a:pos x="14" y="0"/>
                </a:cxn>
                <a:cxn ang="0">
                  <a:pos x="12" y="2"/>
                </a:cxn>
                <a:cxn ang="0">
                  <a:pos x="8" y="4"/>
                </a:cxn>
                <a:cxn ang="0">
                  <a:pos x="8" y="12"/>
                </a:cxn>
                <a:cxn ang="0">
                  <a:pos x="8" y="14"/>
                </a:cxn>
                <a:cxn ang="0">
                  <a:pos x="10" y="18"/>
                </a:cxn>
                <a:cxn ang="0">
                  <a:pos x="8" y="20"/>
                </a:cxn>
                <a:cxn ang="0">
                  <a:pos x="6" y="24"/>
                </a:cxn>
                <a:cxn ang="0">
                  <a:pos x="8" y="32"/>
                </a:cxn>
                <a:cxn ang="0">
                  <a:pos x="4" y="36"/>
                </a:cxn>
                <a:cxn ang="0">
                  <a:pos x="2" y="38"/>
                </a:cxn>
                <a:cxn ang="0">
                  <a:pos x="4" y="46"/>
                </a:cxn>
              </a:cxnLst>
              <a:rect l="0" t="0" r="r" b="b"/>
              <a:pathLst>
                <a:path w="80" h="56">
                  <a:moveTo>
                    <a:pt x="4" y="46"/>
                  </a:moveTo>
                  <a:lnTo>
                    <a:pt x="4" y="46"/>
                  </a:lnTo>
                  <a:lnTo>
                    <a:pt x="4" y="48"/>
                  </a:lnTo>
                  <a:lnTo>
                    <a:pt x="4" y="48"/>
                  </a:lnTo>
                  <a:lnTo>
                    <a:pt x="4" y="52"/>
                  </a:lnTo>
                  <a:lnTo>
                    <a:pt x="2" y="54"/>
                  </a:lnTo>
                  <a:lnTo>
                    <a:pt x="4" y="54"/>
                  </a:lnTo>
                  <a:lnTo>
                    <a:pt x="4" y="54"/>
                  </a:lnTo>
                  <a:lnTo>
                    <a:pt x="8" y="54"/>
                  </a:lnTo>
                  <a:lnTo>
                    <a:pt x="10" y="54"/>
                  </a:lnTo>
                  <a:lnTo>
                    <a:pt x="10" y="54"/>
                  </a:lnTo>
                  <a:lnTo>
                    <a:pt x="10" y="54"/>
                  </a:lnTo>
                  <a:lnTo>
                    <a:pt x="10" y="56"/>
                  </a:lnTo>
                  <a:lnTo>
                    <a:pt x="12" y="56"/>
                  </a:lnTo>
                  <a:lnTo>
                    <a:pt x="16" y="52"/>
                  </a:lnTo>
                  <a:lnTo>
                    <a:pt x="16" y="52"/>
                  </a:lnTo>
                  <a:lnTo>
                    <a:pt x="18" y="50"/>
                  </a:lnTo>
                  <a:lnTo>
                    <a:pt x="22" y="48"/>
                  </a:lnTo>
                  <a:lnTo>
                    <a:pt x="22" y="48"/>
                  </a:lnTo>
                  <a:lnTo>
                    <a:pt x="26" y="46"/>
                  </a:lnTo>
                  <a:lnTo>
                    <a:pt x="26" y="44"/>
                  </a:lnTo>
                  <a:lnTo>
                    <a:pt x="24" y="42"/>
                  </a:lnTo>
                  <a:lnTo>
                    <a:pt x="24" y="42"/>
                  </a:lnTo>
                  <a:lnTo>
                    <a:pt x="24" y="42"/>
                  </a:lnTo>
                  <a:lnTo>
                    <a:pt x="26" y="42"/>
                  </a:lnTo>
                  <a:lnTo>
                    <a:pt x="28" y="42"/>
                  </a:lnTo>
                  <a:lnTo>
                    <a:pt x="30" y="40"/>
                  </a:lnTo>
                  <a:lnTo>
                    <a:pt x="30" y="40"/>
                  </a:lnTo>
                  <a:lnTo>
                    <a:pt x="30" y="40"/>
                  </a:lnTo>
                  <a:lnTo>
                    <a:pt x="32" y="40"/>
                  </a:lnTo>
                  <a:lnTo>
                    <a:pt x="32" y="42"/>
                  </a:lnTo>
                  <a:lnTo>
                    <a:pt x="34" y="42"/>
                  </a:lnTo>
                  <a:lnTo>
                    <a:pt x="34" y="42"/>
                  </a:lnTo>
                  <a:lnTo>
                    <a:pt x="38" y="42"/>
                  </a:lnTo>
                  <a:lnTo>
                    <a:pt x="40" y="42"/>
                  </a:lnTo>
                  <a:lnTo>
                    <a:pt x="40" y="40"/>
                  </a:lnTo>
                  <a:lnTo>
                    <a:pt x="40" y="40"/>
                  </a:lnTo>
                  <a:lnTo>
                    <a:pt x="42" y="38"/>
                  </a:lnTo>
                  <a:lnTo>
                    <a:pt x="44" y="38"/>
                  </a:lnTo>
                  <a:lnTo>
                    <a:pt x="48" y="40"/>
                  </a:lnTo>
                  <a:lnTo>
                    <a:pt x="48" y="40"/>
                  </a:lnTo>
                  <a:lnTo>
                    <a:pt x="52" y="38"/>
                  </a:lnTo>
                  <a:lnTo>
                    <a:pt x="56" y="36"/>
                  </a:lnTo>
                  <a:lnTo>
                    <a:pt x="56" y="36"/>
                  </a:lnTo>
                  <a:lnTo>
                    <a:pt x="62" y="40"/>
                  </a:lnTo>
                  <a:lnTo>
                    <a:pt x="66" y="44"/>
                  </a:lnTo>
                  <a:lnTo>
                    <a:pt x="66" y="44"/>
                  </a:lnTo>
                  <a:lnTo>
                    <a:pt x="68" y="46"/>
                  </a:lnTo>
                  <a:lnTo>
                    <a:pt x="68" y="44"/>
                  </a:lnTo>
                  <a:lnTo>
                    <a:pt x="70" y="42"/>
                  </a:lnTo>
                  <a:lnTo>
                    <a:pt x="70" y="42"/>
                  </a:lnTo>
                  <a:lnTo>
                    <a:pt x="72" y="40"/>
                  </a:lnTo>
                  <a:lnTo>
                    <a:pt x="74" y="40"/>
                  </a:lnTo>
                  <a:lnTo>
                    <a:pt x="74" y="40"/>
                  </a:lnTo>
                  <a:lnTo>
                    <a:pt x="78" y="40"/>
                  </a:lnTo>
                  <a:lnTo>
                    <a:pt x="80" y="36"/>
                  </a:lnTo>
                  <a:lnTo>
                    <a:pt x="80" y="34"/>
                  </a:lnTo>
                  <a:lnTo>
                    <a:pt x="78" y="32"/>
                  </a:lnTo>
                  <a:lnTo>
                    <a:pt x="78" y="32"/>
                  </a:lnTo>
                  <a:lnTo>
                    <a:pt x="68" y="24"/>
                  </a:lnTo>
                  <a:lnTo>
                    <a:pt x="68" y="24"/>
                  </a:lnTo>
                  <a:lnTo>
                    <a:pt x="60" y="20"/>
                  </a:lnTo>
                  <a:lnTo>
                    <a:pt x="52" y="20"/>
                  </a:lnTo>
                  <a:lnTo>
                    <a:pt x="52" y="20"/>
                  </a:lnTo>
                  <a:lnTo>
                    <a:pt x="50" y="18"/>
                  </a:lnTo>
                  <a:lnTo>
                    <a:pt x="46" y="18"/>
                  </a:lnTo>
                  <a:lnTo>
                    <a:pt x="46" y="18"/>
                  </a:lnTo>
                  <a:lnTo>
                    <a:pt x="52" y="16"/>
                  </a:lnTo>
                  <a:lnTo>
                    <a:pt x="56" y="16"/>
                  </a:lnTo>
                  <a:lnTo>
                    <a:pt x="56" y="16"/>
                  </a:lnTo>
                  <a:lnTo>
                    <a:pt x="58" y="16"/>
                  </a:lnTo>
                  <a:lnTo>
                    <a:pt x="60" y="14"/>
                  </a:lnTo>
                  <a:lnTo>
                    <a:pt x="58" y="14"/>
                  </a:lnTo>
                  <a:lnTo>
                    <a:pt x="58" y="14"/>
                  </a:lnTo>
                  <a:lnTo>
                    <a:pt x="52" y="12"/>
                  </a:lnTo>
                  <a:lnTo>
                    <a:pt x="48" y="12"/>
                  </a:lnTo>
                  <a:lnTo>
                    <a:pt x="48" y="12"/>
                  </a:lnTo>
                  <a:lnTo>
                    <a:pt x="48" y="10"/>
                  </a:lnTo>
                  <a:lnTo>
                    <a:pt x="48" y="8"/>
                  </a:lnTo>
                  <a:lnTo>
                    <a:pt x="46" y="6"/>
                  </a:lnTo>
                  <a:lnTo>
                    <a:pt x="46" y="6"/>
                  </a:lnTo>
                  <a:lnTo>
                    <a:pt x="42" y="6"/>
                  </a:lnTo>
                  <a:lnTo>
                    <a:pt x="38" y="6"/>
                  </a:lnTo>
                  <a:lnTo>
                    <a:pt x="38" y="6"/>
                  </a:lnTo>
                  <a:lnTo>
                    <a:pt x="34" y="4"/>
                  </a:lnTo>
                  <a:lnTo>
                    <a:pt x="32" y="4"/>
                  </a:lnTo>
                  <a:lnTo>
                    <a:pt x="32" y="4"/>
                  </a:lnTo>
                  <a:lnTo>
                    <a:pt x="28" y="2"/>
                  </a:lnTo>
                  <a:lnTo>
                    <a:pt x="26" y="0"/>
                  </a:lnTo>
                  <a:lnTo>
                    <a:pt x="24" y="0"/>
                  </a:lnTo>
                  <a:lnTo>
                    <a:pt x="24" y="0"/>
                  </a:lnTo>
                  <a:lnTo>
                    <a:pt x="20" y="2"/>
                  </a:lnTo>
                  <a:lnTo>
                    <a:pt x="18" y="0"/>
                  </a:lnTo>
                  <a:lnTo>
                    <a:pt x="14" y="0"/>
                  </a:lnTo>
                  <a:lnTo>
                    <a:pt x="12" y="2"/>
                  </a:lnTo>
                  <a:lnTo>
                    <a:pt x="12" y="2"/>
                  </a:lnTo>
                  <a:lnTo>
                    <a:pt x="8" y="4"/>
                  </a:lnTo>
                  <a:lnTo>
                    <a:pt x="8" y="4"/>
                  </a:lnTo>
                  <a:lnTo>
                    <a:pt x="10" y="8"/>
                  </a:lnTo>
                  <a:lnTo>
                    <a:pt x="8" y="12"/>
                  </a:lnTo>
                  <a:lnTo>
                    <a:pt x="8" y="12"/>
                  </a:lnTo>
                  <a:lnTo>
                    <a:pt x="8" y="14"/>
                  </a:lnTo>
                  <a:lnTo>
                    <a:pt x="8" y="16"/>
                  </a:lnTo>
                  <a:lnTo>
                    <a:pt x="10" y="18"/>
                  </a:lnTo>
                  <a:lnTo>
                    <a:pt x="8" y="20"/>
                  </a:lnTo>
                  <a:lnTo>
                    <a:pt x="8" y="20"/>
                  </a:lnTo>
                  <a:lnTo>
                    <a:pt x="6" y="22"/>
                  </a:lnTo>
                  <a:lnTo>
                    <a:pt x="6" y="24"/>
                  </a:lnTo>
                  <a:lnTo>
                    <a:pt x="8" y="28"/>
                  </a:lnTo>
                  <a:lnTo>
                    <a:pt x="8" y="32"/>
                  </a:lnTo>
                  <a:lnTo>
                    <a:pt x="4" y="36"/>
                  </a:lnTo>
                  <a:lnTo>
                    <a:pt x="4" y="36"/>
                  </a:lnTo>
                  <a:lnTo>
                    <a:pt x="0" y="36"/>
                  </a:lnTo>
                  <a:lnTo>
                    <a:pt x="2" y="38"/>
                  </a:lnTo>
                  <a:lnTo>
                    <a:pt x="4" y="42"/>
                  </a:lnTo>
                  <a:lnTo>
                    <a:pt x="4" y="46"/>
                  </a:lnTo>
                  <a:lnTo>
                    <a:pt x="4" y="46"/>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9" name="Freeform 34"/>
            <p:cNvSpPr>
              <a:spLocks/>
            </p:cNvSpPr>
            <p:nvPr/>
          </p:nvSpPr>
          <p:spPr bwMode="auto">
            <a:xfrm>
              <a:off x="1832205" y="2837656"/>
              <a:ext cx="291042" cy="113771"/>
            </a:xfrm>
            <a:custGeom>
              <a:avLst/>
              <a:gdLst/>
              <a:ahLst/>
              <a:cxnLst>
                <a:cxn ang="0">
                  <a:pos x="6" y="34"/>
                </a:cxn>
                <a:cxn ang="0">
                  <a:pos x="10" y="34"/>
                </a:cxn>
                <a:cxn ang="0">
                  <a:pos x="20" y="32"/>
                </a:cxn>
                <a:cxn ang="0">
                  <a:pos x="22" y="28"/>
                </a:cxn>
                <a:cxn ang="0">
                  <a:pos x="32" y="24"/>
                </a:cxn>
                <a:cxn ang="0">
                  <a:pos x="42" y="20"/>
                </a:cxn>
                <a:cxn ang="0">
                  <a:pos x="46" y="16"/>
                </a:cxn>
                <a:cxn ang="0">
                  <a:pos x="74" y="20"/>
                </a:cxn>
                <a:cxn ang="0">
                  <a:pos x="66" y="22"/>
                </a:cxn>
                <a:cxn ang="0">
                  <a:pos x="62" y="26"/>
                </a:cxn>
                <a:cxn ang="0">
                  <a:pos x="80" y="28"/>
                </a:cxn>
                <a:cxn ang="0">
                  <a:pos x="92" y="30"/>
                </a:cxn>
                <a:cxn ang="0">
                  <a:pos x="96" y="32"/>
                </a:cxn>
                <a:cxn ang="0">
                  <a:pos x="106" y="38"/>
                </a:cxn>
                <a:cxn ang="0">
                  <a:pos x="126" y="44"/>
                </a:cxn>
                <a:cxn ang="0">
                  <a:pos x="130" y="46"/>
                </a:cxn>
                <a:cxn ang="0">
                  <a:pos x="132" y="56"/>
                </a:cxn>
                <a:cxn ang="0">
                  <a:pos x="140" y="64"/>
                </a:cxn>
                <a:cxn ang="0">
                  <a:pos x="150" y="66"/>
                </a:cxn>
                <a:cxn ang="0">
                  <a:pos x="154" y="68"/>
                </a:cxn>
                <a:cxn ang="0">
                  <a:pos x="156" y="74"/>
                </a:cxn>
                <a:cxn ang="0">
                  <a:pos x="144" y="82"/>
                </a:cxn>
                <a:cxn ang="0">
                  <a:pos x="158" y="84"/>
                </a:cxn>
                <a:cxn ang="0">
                  <a:pos x="174" y="82"/>
                </a:cxn>
                <a:cxn ang="0">
                  <a:pos x="188" y="82"/>
                </a:cxn>
                <a:cxn ang="0">
                  <a:pos x="198" y="82"/>
                </a:cxn>
                <a:cxn ang="0">
                  <a:pos x="218" y="76"/>
                </a:cxn>
                <a:cxn ang="0">
                  <a:pos x="218" y="72"/>
                </a:cxn>
                <a:cxn ang="0">
                  <a:pos x="210" y="66"/>
                </a:cxn>
                <a:cxn ang="0">
                  <a:pos x="200" y="64"/>
                </a:cxn>
                <a:cxn ang="0">
                  <a:pos x="196" y="64"/>
                </a:cxn>
                <a:cxn ang="0">
                  <a:pos x="186" y="62"/>
                </a:cxn>
                <a:cxn ang="0">
                  <a:pos x="190" y="56"/>
                </a:cxn>
                <a:cxn ang="0">
                  <a:pos x="192" y="52"/>
                </a:cxn>
                <a:cxn ang="0">
                  <a:pos x="182" y="50"/>
                </a:cxn>
                <a:cxn ang="0">
                  <a:pos x="168" y="46"/>
                </a:cxn>
                <a:cxn ang="0">
                  <a:pos x="154" y="38"/>
                </a:cxn>
                <a:cxn ang="0">
                  <a:pos x="148" y="38"/>
                </a:cxn>
                <a:cxn ang="0">
                  <a:pos x="144" y="32"/>
                </a:cxn>
                <a:cxn ang="0">
                  <a:pos x="142" y="32"/>
                </a:cxn>
                <a:cxn ang="0">
                  <a:pos x="128" y="26"/>
                </a:cxn>
                <a:cxn ang="0">
                  <a:pos x="116" y="18"/>
                </a:cxn>
                <a:cxn ang="0">
                  <a:pos x="102" y="8"/>
                </a:cxn>
                <a:cxn ang="0">
                  <a:pos x="88" y="6"/>
                </a:cxn>
                <a:cxn ang="0">
                  <a:pos x="82" y="4"/>
                </a:cxn>
                <a:cxn ang="0">
                  <a:pos x="58" y="2"/>
                </a:cxn>
                <a:cxn ang="0">
                  <a:pos x="44" y="2"/>
                </a:cxn>
                <a:cxn ang="0">
                  <a:pos x="26" y="8"/>
                </a:cxn>
                <a:cxn ang="0">
                  <a:pos x="16" y="14"/>
                </a:cxn>
                <a:cxn ang="0">
                  <a:pos x="14" y="26"/>
                </a:cxn>
                <a:cxn ang="0">
                  <a:pos x="8" y="30"/>
                </a:cxn>
              </a:cxnLst>
              <a:rect l="0" t="0" r="r" b="b"/>
              <a:pathLst>
                <a:path w="220" h="86">
                  <a:moveTo>
                    <a:pt x="0" y="32"/>
                  </a:moveTo>
                  <a:lnTo>
                    <a:pt x="0" y="32"/>
                  </a:lnTo>
                  <a:lnTo>
                    <a:pt x="2" y="36"/>
                  </a:lnTo>
                  <a:lnTo>
                    <a:pt x="6" y="34"/>
                  </a:lnTo>
                  <a:lnTo>
                    <a:pt x="6" y="34"/>
                  </a:lnTo>
                  <a:lnTo>
                    <a:pt x="10" y="32"/>
                  </a:lnTo>
                  <a:lnTo>
                    <a:pt x="12" y="32"/>
                  </a:lnTo>
                  <a:lnTo>
                    <a:pt x="12" y="32"/>
                  </a:lnTo>
                  <a:lnTo>
                    <a:pt x="12" y="32"/>
                  </a:lnTo>
                  <a:lnTo>
                    <a:pt x="10" y="34"/>
                  </a:lnTo>
                  <a:lnTo>
                    <a:pt x="12" y="34"/>
                  </a:lnTo>
                  <a:lnTo>
                    <a:pt x="14" y="34"/>
                  </a:lnTo>
                  <a:lnTo>
                    <a:pt x="14" y="34"/>
                  </a:lnTo>
                  <a:lnTo>
                    <a:pt x="16" y="32"/>
                  </a:lnTo>
                  <a:lnTo>
                    <a:pt x="20" y="32"/>
                  </a:lnTo>
                  <a:lnTo>
                    <a:pt x="20" y="32"/>
                  </a:lnTo>
                  <a:lnTo>
                    <a:pt x="22" y="30"/>
                  </a:lnTo>
                  <a:lnTo>
                    <a:pt x="24" y="30"/>
                  </a:lnTo>
                  <a:lnTo>
                    <a:pt x="22" y="28"/>
                  </a:lnTo>
                  <a:lnTo>
                    <a:pt x="22" y="28"/>
                  </a:lnTo>
                  <a:lnTo>
                    <a:pt x="22" y="28"/>
                  </a:lnTo>
                  <a:lnTo>
                    <a:pt x="22" y="26"/>
                  </a:lnTo>
                  <a:lnTo>
                    <a:pt x="26" y="24"/>
                  </a:lnTo>
                  <a:lnTo>
                    <a:pt x="26" y="24"/>
                  </a:lnTo>
                  <a:lnTo>
                    <a:pt x="32" y="24"/>
                  </a:lnTo>
                  <a:lnTo>
                    <a:pt x="36" y="24"/>
                  </a:lnTo>
                  <a:lnTo>
                    <a:pt x="36" y="24"/>
                  </a:lnTo>
                  <a:lnTo>
                    <a:pt x="40" y="22"/>
                  </a:lnTo>
                  <a:lnTo>
                    <a:pt x="42" y="20"/>
                  </a:lnTo>
                  <a:lnTo>
                    <a:pt x="42" y="20"/>
                  </a:lnTo>
                  <a:lnTo>
                    <a:pt x="44" y="18"/>
                  </a:lnTo>
                  <a:lnTo>
                    <a:pt x="44" y="18"/>
                  </a:lnTo>
                  <a:lnTo>
                    <a:pt x="44" y="16"/>
                  </a:lnTo>
                  <a:lnTo>
                    <a:pt x="46" y="16"/>
                  </a:lnTo>
                  <a:lnTo>
                    <a:pt x="46" y="16"/>
                  </a:lnTo>
                  <a:lnTo>
                    <a:pt x="60" y="16"/>
                  </a:lnTo>
                  <a:lnTo>
                    <a:pt x="70" y="18"/>
                  </a:lnTo>
                  <a:lnTo>
                    <a:pt x="70" y="18"/>
                  </a:lnTo>
                  <a:lnTo>
                    <a:pt x="74" y="20"/>
                  </a:lnTo>
                  <a:lnTo>
                    <a:pt x="74" y="20"/>
                  </a:lnTo>
                  <a:lnTo>
                    <a:pt x="72" y="20"/>
                  </a:lnTo>
                  <a:lnTo>
                    <a:pt x="72" y="20"/>
                  </a:lnTo>
                  <a:lnTo>
                    <a:pt x="68" y="22"/>
                  </a:lnTo>
                  <a:lnTo>
                    <a:pt x="66" y="22"/>
                  </a:lnTo>
                  <a:lnTo>
                    <a:pt x="66" y="22"/>
                  </a:lnTo>
                  <a:lnTo>
                    <a:pt x="60" y="22"/>
                  </a:lnTo>
                  <a:lnTo>
                    <a:pt x="58" y="22"/>
                  </a:lnTo>
                  <a:lnTo>
                    <a:pt x="58" y="22"/>
                  </a:lnTo>
                  <a:lnTo>
                    <a:pt x="58" y="24"/>
                  </a:lnTo>
                  <a:lnTo>
                    <a:pt x="62" y="26"/>
                  </a:lnTo>
                  <a:lnTo>
                    <a:pt x="62" y="26"/>
                  </a:lnTo>
                  <a:lnTo>
                    <a:pt x="66" y="28"/>
                  </a:lnTo>
                  <a:lnTo>
                    <a:pt x="72" y="28"/>
                  </a:lnTo>
                  <a:lnTo>
                    <a:pt x="72" y="28"/>
                  </a:lnTo>
                  <a:lnTo>
                    <a:pt x="80" y="28"/>
                  </a:lnTo>
                  <a:lnTo>
                    <a:pt x="84" y="30"/>
                  </a:lnTo>
                  <a:lnTo>
                    <a:pt x="88" y="28"/>
                  </a:lnTo>
                  <a:lnTo>
                    <a:pt x="88" y="28"/>
                  </a:lnTo>
                  <a:lnTo>
                    <a:pt x="90" y="28"/>
                  </a:lnTo>
                  <a:lnTo>
                    <a:pt x="92" y="30"/>
                  </a:lnTo>
                  <a:lnTo>
                    <a:pt x="94" y="28"/>
                  </a:lnTo>
                  <a:lnTo>
                    <a:pt x="94" y="28"/>
                  </a:lnTo>
                  <a:lnTo>
                    <a:pt x="96" y="28"/>
                  </a:lnTo>
                  <a:lnTo>
                    <a:pt x="94" y="30"/>
                  </a:lnTo>
                  <a:lnTo>
                    <a:pt x="96" y="32"/>
                  </a:lnTo>
                  <a:lnTo>
                    <a:pt x="98" y="32"/>
                  </a:lnTo>
                  <a:lnTo>
                    <a:pt x="98" y="32"/>
                  </a:lnTo>
                  <a:lnTo>
                    <a:pt x="100" y="34"/>
                  </a:lnTo>
                  <a:lnTo>
                    <a:pt x="106" y="38"/>
                  </a:lnTo>
                  <a:lnTo>
                    <a:pt x="106" y="38"/>
                  </a:lnTo>
                  <a:lnTo>
                    <a:pt x="112" y="40"/>
                  </a:lnTo>
                  <a:lnTo>
                    <a:pt x="118" y="42"/>
                  </a:lnTo>
                  <a:lnTo>
                    <a:pt x="118" y="42"/>
                  </a:lnTo>
                  <a:lnTo>
                    <a:pt x="124" y="44"/>
                  </a:lnTo>
                  <a:lnTo>
                    <a:pt x="126" y="44"/>
                  </a:lnTo>
                  <a:lnTo>
                    <a:pt x="126" y="44"/>
                  </a:lnTo>
                  <a:lnTo>
                    <a:pt x="128" y="42"/>
                  </a:lnTo>
                  <a:lnTo>
                    <a:pt x="128" y="44"/>
                  </a:lnTo>
                  <a:lnTo>
                    <a:pt x="128" y="44"/>
                  </a:lnTo>
                  <a:lnTo>
                    <a:pt x="130" y="46"/>
                  </a:lnTo>
                  <a:lnTo>
                    <a:pt x="130" y="46"/>
                  </a:lnTo>
                  <a:lnTo>
                    <a:pt x="130" y="48"/>
                  </a:lnTo>
                  <a:lnTo>
                    <a:pt x="130" y="48"/>
                  </a:lnTo>
                  <a:lnTo>
                    <a:pt x="132" y="52"/>
                  </a:lnTo>
                  <a:lnTo>
                    <a:pt x="132" y="56"/>
                  </a:lnTo>
                  <a:lnTo>
                    <a:pt x="132" y="56"/>
                  </a:lnTo>
                  <a:lnTo>
                    <a:pt x="132" y="58"/>
                  </a:lnTo>
                  <a:lnTo>
                    <a:pt x="136" y="62"/>
                  </a:lnTo>
                  <a:lnTo>
                    <a:pt x="136" y="62"/>
                  </a:lnTo>
                  <a:lnTo>
                    <a:pt x="140" y="64"/>
                  </a:lnTo>
                  <a:lnTo>
                    <a:pt x="144" y="64"/>
                  </a:lnTo>
                  <a:lnTo>
                    <a:pt x="144" y="64"/>
                  </a:lnTo>
                  <a:lnTo>
                    <a:pt x="146" y="66"/>
                  </a:lnTo>
                  <a:lnTo>
                    <a:pt x="150" y="66"/>
                  </a:lnTo>
                  <a:lnTo>
                    <a:pt x="150" y="66"/>
                  </a:lnTo>
                  <a:lnTo>
                    <a:pt x="154" y="64"/>
                  </a:lnTo>
                  <a:lnTo>
                    <a:pt x="156" y="64"/>
                  </a:lnTo>
                  <a:lnTo>
                    <a:pt x="154" y="66"/>
                  </a:lnTo>
                  <a:lnTo>
                    <a:pt x="154" y="66"/>
                  </a:lnTo>
                  <a:lnTo>
                    <a:pt x="154" y="68"/>
                  </a:lnTo>
                  <a:lnTo>
                    <a:pt x="158" y="70"/>
                  </a:lnTo>
                  <a:lnTo>
                    <a:pt x="158" y="70"/>
                  </a:lnTo>
                  <a:lnTo>
                    <a:pt x="160" y="72"/>
                  </a:lnTo>
                  <a:lnTo>
                    <a:pt x="156" y="74"/>
                  </a:lnTo>
                  <a:lnTo>
                    <a:pt x="156" y="74"/>
                  </a:lnTo>
                  <a:lnTo>
                    <a:pt x="150" y="78"/>
                  </a:lnTo>
                  <a:lnTo>
                    <a:pt x="150" y="78"/>
                  </a:lnTo>
                  <a:lnTo>
                    <a:pt x="146" y="80"/>
                  </a:lnTo>
                  <a:lnTo>
                    <a:pt x="144" y="82"/>
                  </a:lnTo>
                  <a:lnTo>
                    <a:pt x="144" y="82"/>
                  </a:lnTo>
                  <a:lnTo>
                    <a:pt x="142" y="84"/>
                  </a:lnTo>
                  <a:lnTo>
                    <a:pt x="148" y="86"/>
                  </a:lnTo>
                  <a:lnTo>
                    <a:pt x="148" y="86"/>
                  </a:lnTo>
                  <a:lnTo>
                    <a:pt x="154" y="84"/>
                  </a:lnTo>
                  <a:lnTo>
                    <a:pt x="158" y="84"/>
                  </a:lnTo>
                  <a:lnTo>
                    <a:pt x="158" y="84"/>
                  </a:lnTo>
                  <a:lnTo>
                    <a:pt x="162" y="84"/>
                  </a:lnTo>
                  <a:lnTo>
                    <a:pt x="168" y="82"/>
                  </a:lnTo>
                  <a:lnTo>
                    <a:pt x="168" y="82"/>
                  </a:lnTo>
                  <a:lnTo>
                    <a:pt x="174" y="82"/>
                  </a:lnTo>
                  <a:lnTo>
                    <a:pt x="176" y="82"/>
                  </a:lnTo>
                  <a:lnTo>
                    <a:pt x="178" y="82"/>
                  </a:lnTo>
                  <a:lnTo>
                    <a:pt x="182" y="82"/>
                  </a:lnTo>
                  <a:lnTo>
                    <a:pt x="182" y="82"/>
                  </a:lnTo>
                  <a:lnTo>
                    <a:pt x="188" y="82"/>
                  </a:lnTo>
                  <a:lnTo>
                    <a:pt x="194" y="82"/>
                  </a:lnTo>
                  <a:lnTo>
                    <a:pt x="194" y="82"/>
                  </a:lnTo>
                  <a:lnTo>
                    <a:pt x="194" y="82"/>
                  </a:lnTo>
                  <a:lnTo>
                    <a:pt x="198" y="82"/>
                  </a:lnTo>
                  <a:lnTo>
                    <a:pt x="198" y="82"/>
                  </a:lnTo>
                  <a:lnTo>
                    <a:pt x="202" y="80"/>
                  </a:lnTo>
                  <a:lnTo>
                    <a:pt x="208" y="78"/>
                  </a:lnTo>
                  <a:lnTo>
                    <a:pt x="208" y="78"/>
                  </a:lnTo>
                  <a:lnTo>
                    <a:pt x="214" y="78"/>
                  </a:lnTo>
                  <a:lnTo>
                    <a:pt x="218" y="76"/>
                  </a:lnTo>
                  <a:lnTo>
                    <a:pt x="218" y="76"/>
                  </a:lnTo>
                  <a:lnTo>
                    <a:pt x="220" y="74"/>
                  </a:lnTo>
                  <a:lnTo>
                    <a:pt x="218" y="72"/>
                  </a:lnTo>
                  <a:lnTo>
                    <a:pt x="218" y="72"/>
                  </a:lnTo>
                  <a:lnTo>
                    <a:pt x="218" y="72"/>
                  </a:lnTo>
                  <a:lnTo>
                    <a:pt x="216" y="72"/>
                  </a:lnTo>
                  <a:lnTo>
                    <a:pt x="214" y="70"/>
                  </a:lnTo>
                  <a:lnTo>
                    <a:pt x="212" y="70"/>
                  </a:lnTo>
                  <a:lnTo>
                    <a:pt x="212" y="70"/>
                  </a:lnTo>
                  <a:lnTo>
                    <a:pt x="210" y="66"/>
                  </a:lnTo>
                  <a:lnTo>
                    <a:pt x="208" y="66"/>
                  </a:lnTo>
                  <a:lnTo>
                    <a:pt x="208" y="66"/>
                  </a:lnTo>
                  <a:lnTo>
                    <a:pt x="204" y="66"/>
                  </a:lnTo>
                  <a:lnTo>
                    <a:pt x="200" y="64"/>
                  </a:lnTo>
                  <a:lnTo>
                    <a:pt x="200" y="64"/>
                  </a:lnTo>
                  <a:lnTo>
                    <a:pt x="200" y="64"/>
                  </a:lnTo>
                  <a:lnTo>
                    <a:pt x="198" y="64"/>
                  </a:lnTo>
                  <a:lnTo>
                    <a:pt x="196" y="64"/>
                  </a:lnTo>
                  <a:lnTo>
                    <a:pt x="196" y="64"/>
                  </a:lnTo>
                  <a:lnTo>
                    <a:pt x="196" y="64"/>
                  </a:lnTo>
                  <a:lnTo>
                    <a:pt x="192" y="64"/>
                  </a:lnTo>
                  <a:lnTo>
                    <a:pt x="190" y="64"/>
                  </a:lnTo>
                  <a:lnTo>
                    <a:pt x="190" y="64"/>
                  </a:lnTo>
                  <a:lnTo>
                    <a:pt x="188" y="62"/>
                  </a:lnTo>
                  <a:lnTo>
                    <a:pt x="186" y="62"/>
                  </a:lnTo>
                  <a:lnTo>
                    <a:pt x="186" y="62"/>
                  </a:lnTo>
                  <a:lnTo>
                    <a:pt x="186" y="62"/>
                  </a:lnTo>
                  <a:lnTo>
                    <a:pt x="192" y="60"/>
                  </a:lnTo>
                  <a:lnTo>
                    <a:pt x="192" y="58"/>
                  </a:lnTo>
                  <a:lnTo>
                    <a:pt x="190" y="56"/>
                  </a:lnTo>
                  <a:lnTo>
                    <a:pt x="190" y="56"/>
                  </a:lnTo>
                  <a:lnTo>
                    <a:pt x="190" y="56"/>
                  </a:lnTo>
                  <a:lnTo>
                    <a:pt x="192" y="54"/>
                  </a:lnTo>
                  <a:lnTo>
                    <a:pt x="192" y="52"/>
                  </a:lnTo>
                  <a:lnTo>
                    <a:pt x="192" y="52"/>
                  </a:lnTo>
                  <a:lnTo>
                    <a:pt x="192" y="52"/>
                  </a:lnTo>
                  <a:lnTo>
                    <a:pt x="188" y="52"/>
                  </a:lnTo>
                  <a:lnTo>
                    <a:pt x="184" y="50"/>
                  </a:lnTo>
                  <a:lnTo>
                    <a:pt x="184" y="50"/>
                  </a:lnTo>
                  <a:lnTo>
                    <a:pt x="182" y="50"/>
                  </a:lnTo>
                  <a:lnTo>
                    <a:pt x="180" y="50"/>
                  </a:lnTo>
                  <a:lnTo>
                    <a:pt x="178" y="50"/>
                  </a:lnTo>
                  <a:lnTo>
                    <a:pt x="178" y="50"/>
                  </a:lnTo>
                  <a:lnTo>
                    <a:pt x="172" y="48"/>
                  </a:lnTo>
                  <a:lnTo>
                    <a:pt x="168" y="46"/>
                  </a:lnTo>
                  <a:lnTo>
                    <a:pt x="168" y="46"/>
                  </a:lnTo>
                  <a:lnTo>
                    <a:pt x="166" y="44"/>
                  </a:lnTo>
                  <a:lnTo>
                    <a:pt x="160" y="42"/>
                  </a:lnTo>
                  <a:lnTo>
                    <a:pt x="154" y="38"/>
                  </a:lnTo>
                  <a:lnTo>
                    <a:pt x="154" y="38"/>
                  </a:lnTo>
                  <a:lnTo>
                    <a:pt x="152" y="38"/>
                  </a:lnTo>
                  <a:lnTo>
                    <a:pt x="152" y="38"/>
                  </a:lnTo>
                  <a:lnTo>
                    <a:pt x="150" y="38"/>
                  </a:lnTo>
                  <a:lnTo>
                    <a:pt x="150" y="38"/>
                  </a:lnTo>
                  <a:lnTo>
                    <a:pt x="148" y="38"/>
                  </a:lnTo>
                  <a:lnTo>
                    <a:pt x="150" y="38"/>
                  </a:lnTo>
                  <a:lnTo>
                    <a:pt x="150" y="36"/>
                  </a:lnTo>
                  <a:lnTo>
                    <a:pt x="150" y="36"/>
                  </a:lnTo>
                  <a:lnTo>
                    <a:pt x="150" y="36"/>
                  </a:lnTo>
                  <a:lnTo>
                    <a:pt x="144" y="32"/>
                  </a:lnTo>
                  <a:lnTo>
                    <a:pt x="144" y="32"/>
                  </a:lnTo>
                  <a:lnTo>
                    <a:pt x="144" y="30"/>
                  </a:lnTo>
                  <a:lnTo>
                    <a:pt x="142" y="32"/>
                  </a:lnTo>
                  <a:lnTo>
                    <a:pt x="142" y="32"/>
                  </a:lnTo>
                  <a:lnTo>
                    <a:pt x="142" y="32"/>
                  </a:lnTo>
                  <a:lnTo>
                    <a:pt x="142" y="32"/>
                  </a:lnTo>
                  <a:lnTo>
                    <a:pt x="138" y="32"/>
                  </a:lnTo>
                  <a:lnTo>
                    <a:pt x="134" y="30"/>
                  </a:lnTo>
                  <a:lnTo>
                    <a:pt x="134" y="30"/>
                  </a:lnTo>
                  <a:lnTo>
                    <a:pt x="128" y="26"/>
                  </a:lnTo>
                  <a:lnTo>
                    <a:pt x="124" y="22"/>
                  </a:lnTo>
                  <a:lnTo>
                    <a:pt x="124" y="22"/>
                  </a:lnTo>
                  <a:lnTo>
                    <a:pt x="120" y="20"/>
                  </a:lnTo>
                  <a:lnTo>
                    <a:pt x="116" y="18"/>
                  </a:lnTo>
                  <a:lnTo>
                    <a:pt x="116" y="18"/>
                  </a:lnTo>
                  <a:lnTo>
                    <a:pt x="110" y="16"/>
                  </a:lnTo>
                  <a:lnTo>
                    <a:pt x="108" y="12"/>
                  </a:lnTo>
                  <a:lnTo>
                    <a:pt x="108" y="12"/>
                  </a:lnTo>
                  <a:lnTo>
                    <a:pt x="106" y="10"/>
                  </a:lnTo>
                  <a:lnTo>
                    <a:pt x="102" y="8"/>
                  </a:lnTo>
                  <a:lnTo>
                    <a:pt x="102" y="8"/>
                  </a:lnTo>
                  <a:lnTo>
                    <a:pt x="98" y="6"/>
                  </a:lnTo>
                  <a:lnTo>
                    <a:pt x="92" y="6"/>
                  </a:lnTo>
                  <a:lnTo>
                    <a:pt x="92" y="6"/>
                  </a:lnTo>
                  <a:lnTo>
                    <a:pt x="88" y="6"/>
                  </a:lnTo>
                  <a:lnTo>
                    <a:pt x="86" y="6"/>
                  </a:lnTo>
                  <a:lnTo>
                    <a:pt x="86" y="6"/>
                  </a:lnTo>
                  <a:lnTo>
                    <a:pt x="86" y="6"/>
                  </a:lnTo>
                  <a:lnTo>
                    <a:pt x="84" y="4"/>
                  </a:lnTo>
                  <a:lnTo>
                    <a:pt x="82" y="4"/>
                  </a:lnTo>
                  <a:lnTo>
                    <a:pt x="76" y="2"/>
                  </a:lnTo>
                  <a:lnTo>
                    <a:pt x="76" y="2"/>
                  </a:lnTo>
                  <a:lnTo>
                    <a:pt x="64" y="0"/>
                  </a:lnTo>
                  <a:lnTo>
                    <a:pt x="60" y="0"/>
                  </a:lnTo>
                  <a:lnTo>
                    <a:pt x="58" y="2"/>
                  </a:lnTo>
                  <a:lnTo>
                    <a:pt x="58" y="2"/>
                  </a:lnTo>
                  <a:lnTo>
                    <a:pt x="56" y="2"/>
                  </a:lnTo>
                  <a:lnTo>
                    <a:pt x="56" y="2"/>
                  </a:lnTo>
                  <a:lnTo>
                    <a:pt x="52" y="2"/>
                  </a:lnTo>
                  <a:lnTo>
                    <a:pt x="44" y="2"/>
                  </a:lnTo>
                  <a:lnTo>
                    <a:pt x="44" y="2"/>
                  </a:lnTo>
                  <a:lnTo>
                    <a:pt x="36" y="6"/>
                  </a:lnTo>
                  <a:lnTo>
                    <a:pt x="36" y="6"/>
                  </a:lnTo>
                  <a:lnTo>
                    <a:pt x="36" y="6"/>
                  </a:lnTo>
                  <a:lnTo>
                    <a:pt x="26" y="8"/>
                  </a:lnTo>
                  <a:lnTo>
                    <a:pt x="22" y="10"/>
                  </a:lnTo>
                  <a:lnTo>
                    <a:pt x="20" y="12"/>
                  </a:lnTo>
                  <a:lnTo>
                    <a:pt x="20" y="12"/>
                  </a:lnTo>
                  <a:lnTo>
                    <a:pt x="18" y="12"/>
                  </a:lnTo>
                  <a:lnTo>
                    <a:pt x="16" y="14"/>
                  </a:lnTo>
                  <a:lnTo>
                    <a:pt x="16" y="14"/>
                  </a:lnTo>
                  <a:lnTo>
                    <a:pt x="12" y="18"/>
                  </a:lnTo>
                  <a:lnTo>
                    <a:pt x="10" y="22"/>
                  </a:lnTo>
                  <a:lnTo>
                    <a:pt x="10" y="22"/>
                  </a:lnTo>
                  <a:lnTo>
                    <a:pt x="14" y="26"/>
                  </a:lnTo>
                  <a:lnTo>
                    <a:pt x="14" y="26"/>
                  </a:lnTo>
                  <a:lnTo>
                    <a:pt x="14" y="26"/>
                  </a:lnTo>
                  <a:lnTo>
                    <a:pt x="14" y="26"/>
                  </a:lnTo>
                  <a:lnTo>
                    <a:pt x="12" y="28"/>
                  </a:lnTo>
                  <a:lnTo>
                    <a:pt x="8" y="30"/>
                  </a:lnTo>
                  <a:lnTo>
                    <a:pt x="8" y="30"/>
                  </a:lnTo>
                  <a:lnTo>
                    <a:pt x="4" y="32"/>
                  </a:lnTo>
                  <a:lnTo>
                    <a:pt x="0" y="32"/>
                  </a:lnTo>
                  <a:lnTo>
                    <a:pt x="0" y="32"/>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0" name="Jamaica"/>
            <p:cNvSpPr>
              <a:spLocks/>
            </p:cNvSpPr>
            <p:nvPr/>
          </p:nvSpPr>
          <p:spPr bwMode="auto">
            <a:xfrm>
              <a:off x="1985663" y="2991115"/>
              <a:ext cx="66146" cy="29104"/>
            </a:xfrm>
            <a:custGeom>
              <a:avLst/>
              <a:gdLst/>
              <a:ahLst/>
              <a:cxnLst>
                <a:cxn ang="0">
                  <a:pos x="24" y="22"/>
                </a:cxn>
                <a:cxn ang="0">
                  <a:pos x="24" y="22"/>
                </a:cxn>
                <a:cxn ang="0">
                  <a:pos x="22" y="18"/>
                </a:cxn>
                <a:cxn ang="0">
                  <a:pos x="18" y="16"/>
                </a:cxn>
                <a:cxn ang="0">
                  <a:pos x="18" y="16"/>
                </a:cxn>
                <a:cxn ang="0">
                  <a:pos x="16" y="16"/>
                </a:cxn>
                <a:cxn ang="0">
                  <a:pos x="14" y="14"/>
                </a:cxn>
                <a:cxn ang="0">
                  <a:pos x="12" y="10"/>
                </a:cxn>
                <a:cxn ang="0">
                  <a:pos x="12" y="10"/>
                </a:cxn>
                <a:cxn ang="0">
                  <a:pos x="10" y="8"/>
                </a:cxn>
                <a:cxn ang="0">
                  <a:pos x="6" y="6"/>
                </a:cxn>
                <a:cxn ang="0">
                  <a:pos x="6" y="6"/>
                </a:cxn>
                <a:cxn ang="0">
                  <a:pos x="2" y="4"/>
                </a:cxn>
                <a:cxn ang="0">
                  <a:pos x="0" y="4"/>
                </a:cxn>
                <a:cxn ang="0">
                  <a:pos x="2" y="2"/>
                </a:cxn>
                <a:cxn ang="0">
                  <a:pos x="2" y="2"/>
                </a:cxn>
                <a:cxn ang="0">
                  <a:pos x="10" y="0"/>
                </a:cxn>
                <a:cxn ang="0">
                  <a:pos x="14" y="0"/>
                </a:cxn>
                <a:cxn ang="0">
                  <a:pos x="14" y="0"/>
                </a:cxn>
                <a:cxn ang="0">
                  <a:pos x="16" y="0"/>
                </a:cxn>
                <a:cxn ang="0">
                  <a:pos x="22" y="0"/>
                </a:cxn>
                <a:cxn ang="0">
                  <a:pos x="22" y="0"/>
                </a:cxn>
                <a:cxn ang="0">
                  <a:pos x="34" y="2"/>
                </a:cxn>
                <a:cxn ang="0">
                  <a:pos x="34" y="2"/>
                </a:cxn>
                <a:cxn ang="0">
                  <a:pos x="38" y="6"/>
                </a:cxn>
                <a:cxn ang="0">
                  <a:pos x="40" y="8"/>
                </a:cxn>
                <a:cxn ang="0">
                  <a:pos x="44" y="10"/>
                </a:cxn>
                <a:cxn ang="0">
                  <a:pos x="44" y="10"/>
                </a:cxn>
                <a:cxn ang="0">
                  <a:pos x="48" y="12"/>
                </a:cxn>
                <a:cxn ang="0">
                  <a:pos x="50" y="14"/>
                </a:cxn>
                <a:cxn ang="0">
                  <a:pos x="50" y="14"/>
                </a:cxn>
                <a:cxn ang="0">
                  <a:pos x="48" y="16"/>
                </a:cxn>
                <a:cxn ang="0">
                  <a:pos x="44" y="16"/>
                </a:cxn>
                <a:cxn ang="0">
                  <a:pos x="44" y="16"/>
                </a:cxn>
                <a:cxn ang="0">
                  <a:pos x="40" y="18"/>
                </a:cxn>
                <a:cxn ang="0">
                  <a:pos x="34" y="18"/>
                </a:cxn>
                <a:cxn ang="0">
                  <a:pos x="34" y="18"/>
                </a:cxn>
                <a:cxn ang="0">
                  <a:pos x="32" y="16"/>
                </a:cxn>
                <a:cxn ang="0">
                  <a:pos x="32" y="18"/>
                </a:cxn>
                <a:cxn ang="0">
                  <a:pos x="32" y="18"/>
                </a:cxn>
                <a:cxn ang="0">
                  <a:pos x="30" y="20"/>
                </a:cxn>
                <a:cxn ang="0">
                  <a:pos x="28" y="18"/>
                </a:cxn>
                <a:cxn ang="0">
                  <a:pos x="28" y="18"/>
                </a:cxn>
                <a:cxn ang="0">
                  <a:pos x="26" y="18"/>
                </a:cxn>
                <a:cxn ang="0">
                  <a:pos x="26" y="20"/>
                </a:cxn>
                <a:cxn ang="0">
                  <a:pos x="26" y="20"/>
                </a:cxn>
                <a:cxn ang="0">
                  <a:pos x="26" y="22"/>
                </a:cxn>
                <a:cxn ang="0">
                  <a:pos x="24" y="22"/>
                </a:cxn>
                <a:cxn ang="0">
                  <a:pos x="24" y="22"/>
                </a:cxn>
              </a:cxnLst>
              <a:rect l="0" t="0" r="r" b="b"/>
              <a:pathLst>
                <a:path w="50" h="22">
                  <a:moveTo>
                    <a:pt x="24" y="22"/>
                  </a:moveTo>
                  <a:lnTo>
                    <a:pt x="24" y="22"/>
                  </a:lnTo>
                  <a:lnTo>
                    <a:pt x="22" y="18"/>
                  </a:lnTo>
                  <a:lnTo>
                    <a:pt x="18" y="16"/>
                  </a:lnTo>
                  <a:lnTo>
                    <a:pt x="18" y="16"/>
                  </a:lnTo>
                  <a:lnTo>
                    <a:pt x="16" y="16"/>
                  </a:lnTo>
                  <a:lnTo>
                    <a:pt x="14" y="14"/>
                  </a:lnTo>
                  <a:lnTo>
                    <a:pt x="12" y="10"/>
                  </a:lnTo>
                  <a:lnTo>
                    <a:pt x="12" y="10"/>
                  </a:lnTo>
                  <a:lnTo>
                    <a:pt x="10" y="8"/>
                  </a:lnTo>
                  <a:lnTo>
                    <a:pt x="6" y="6"/>
                  </a:lnTo>
                  <a:lnTo>
                    <a:pt x="6" y="6"/>
                  </a:lnTo>
                  <a:lnTo>
                    <a:pt x="2" y="4"/>
                  </a:lnTo>
                  <a:lnTo>
                    <a:pt x="0" y="4"/>
                  </a:lnTo>
                  <a:lnTo>
                    <a:pt x="2" y="2"/>
                  </a:lnTo>
                  <a:lnTo>
                    <a:pt x="2" y="2"/>
                  </a:lnTo>
                  <a:lnTo>
                    <a:pt x="10" y="0"/>
                  </a:lnTo>
                  <a:lnTo>
                    <a:pt x="14" y="0"/>
                  </a:lnTo>
                  <a:lnTo>
                    <a:pt x="14" y="0"/>
                  </a:lnTo>
                  <a:lnTo>
                    <a:pt x="16" y="0"/>
                  </a:lnTo>
                  <a:lnTo>
                    <a:pt x="22" y="0"/>
                  </a:lnTo>
                  <a:lnTo>
                    <a:pt x="22" y="0"/>
                  </a:lnTo>
                  <a:lnTo>
                    <a:pt x="34" y="2"/>
                  </a:lnTo>
                  <a:lnTo>
                    <a:pt x="34" y="2"/>
                  </a:lnTo>
                  <a:lnTo>
                    <a:pt x="38" y="6"/>
                  </a:lnTo>
                  <a:lnTo>
                    <a:pt x="40" y="8"/>
                  </a:lnTo>
                  <a:lnTo>
                    <a:pt x="44" y="10"/>
                  </a:lnTo>
                  <a:lnTo>
                    <a:pt x="44" y="10"/>
                  </a:lnTo>
                  <a:lnTo>
                    <a:pt x="48" y="12"/>
                  </a:lnTo>
                  <a:lnTo>
                    <a:pt x="50" y="14"/>
                  </a:lnTo>
                  <a:lnTo>
                    <a:pt x="50" y="14"/>
                  </a:lnTo>
                  <a:lnTo>
                    <a:pt x="48" y="16"/>
                  </a:lnTo>
                  <a:lnTo>
                    <a:pt x="44" y="16"/>
                  </a:lnTo>
                  <a:lnTo>
                    <a:pt x="44" y="16"/>
                  </a:lnTo>
                  <a:lnTo>
                    <a:pt x="40" y="18"/>
                  </a:lnTo>
                  <a:lnTo>
                    <a:pt x="34" y="18"/>
                  </a:lnTo>
                  <a:lnTo>
                    <a:pt x="34" y="18"/>
                  </a:lnTo>
                  <a:lnTo>
                    <a:pt x="32" y="16"/>
                  </a:lnTo>
                  <a:lnTo>
                    <a:pt x="32" y="18"/>
                  </a:lnTo>
                  <a:lnTo>
                    <a:pt x="32" y="18"/>
                  </a:lnTo>
                  <a:lnTo>
                    <a:pt x="30" y="20"/>
                  </a:lnTo>
                  <a:lnTo>
                    <a:pt x="28" y="18"/>
                  </a:lnTo>
                  <a:lnTo>
                    <a:pt x="28" y="18"/>
                  </a:lnTo>
                  <a:lnTo>
                    <a:pt x="26" y="18"/>
                  </a:lnTo>
                  <a:lnTo>
                    <a:pt x="26" y="20"/>
                  </a:lnTo>
                  <a:lnTo>
                    <a:pt x="26" y="20"/>
                  </a:lnTo>
                  <a:lnTo>
                    <a:pt x="26" y="22"/>
                  </a:lnTo>
                  <a:lnTo>
                    <a:pt x="24" y="22"/>
                  </a:lnTo>
                  <a:lnTo>
                    <a:pt x="24" y="22"/>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1" name="Freeform 36"/>
            <p:cNvSpPr>
              <a:spLocks/>
            </p:cNvSpPr>
            <p:nvPr/>
          </p:nvSpPr>
          <p:spPr bwMode="auto">
            <a:xfrm>
              <a:off x="2297872" y="2996406"/>
              <a:ext cx="44979" cy="13229"/>
            </a:xfrm>
            <a:custGeom>
              <a:avLst/>
              <a:gdLst/>
              <a:ahLst/>
              <a:cxnLst>
                <a:cxn ang="0">
                  <a:pos x="4" y="0"/>
                </a:cxn>
                <a:cxn ang="0">
                  <a:pos x="4" y="0"/>
                </a:cxn>
                <a:cxn ang="0">
                  <a:pos x="2" y="0"/>
                </a:cxn>
                <a:cxn ang="0">
                  <a:pos x="2" y="0"/>
                </a:cxn>
                <a:cxn ang="0">
                  <a:pos x="2" y="2"/>
                </a:cxn>
                <a:cxn ang="0">
                  <a:pos x="0" y="2"/>
                </a:cxn>
                <a:cxn ang="0">
                  <a:pos x="0" y="2"/>
                </a:cxn>
                <a:cxn ang="0">
                  <a:pos x="0" y="2"/>
                </a:cxn>
                <a:cxn ang="0">
                  <a:pos x="0" y="4"/>
                </a:cxn>
                <a:cxn ang="0">
                  <a:pos x="2" y="4"/>
                </a:cxn>
                <a:cxn ang="0">
                  <a:pos x="2" y="4"/>
                </a:cxn>
                <a:cxn ang="0">
                  <a:pos x="0" y="8"/>
                </a:cxn>
                <a:cxn ang="0">
                  <a:pos x="0" y="10"/>
                </a:cxn>
                <a:cxn ang="0">
                  <a:pos x="0" y="10"/>
                </a:cxn>
                <a:cxn ang="0">
                  <a:pos x="0" y="10"/>
                </a:cxn>
                <a:cxn ang="0">
                  <a:pos x="4" y="10"/>
                </a:cxn>
                <a:cxn ang="0">
                  <a:pos x="8" y="10"/>
                </a:cxn>
                <a:cxn ang="0">
                  <a:pos x="8" y="10"/>
                </a:cxn>
                <a:cxn ang="0">
                  <a:pos x="12" y="10"/>
                </a:cxn>
                <a:cxn ang="0">
                  <a:pos x="18" y="10"/>
                </a:cxn>
                <a:cxn ang="0">
                  <a:pos x="18" y="10"/>
                </a:cxn>
                <a:cxn ang="0">
                  <a:pos x="22" y="10"/>
                </a:cxn>
                <a:cxn ang="0">
                  <a:pos x="26" y="10"/>
                </a:cxn>
                <a:cxn ang="0">
                  <a:pos x="26" y="10"/>
                </a:cxn>
                <a:cxn ang="0">
                  <a:pos x="28" y="8"/>
                </a:cxn>
                <a:cxn ang="0">
                  <a:pos x="28" y="6"/>
                </a:cxn>
                <a:cxn ang="0">
                  <a:pos x="30" y="6"/>
                </a:cxn>
                <a:cxn ang="0">
                  <a:pos x="30" y="6"/>
                </a:cxn>
                <a:cxn ang="0">
                  <a:pos x="34" y="4"/>
                </a:cxn>
                <a:cxn ang="0">
                  <a:pos x="34" y="4"/>
                </a:cxn>
                <a:cxn ang="0">
                  <a:pos x="30" y="0"/>
                </a:cxn>
                <a:cxn ang="0">
                  <a:pos x="30" y="0"/>
                </a:cxn>
                <a:cxn ang="0">
                  <a:pos x="22" y="0"/>
                </a:cxn>
                <a:cxn ang="0">
                  <a:pos x="22" y="0"/>
                </a:cxn>
                <a:cxn ang="0">
                  <a:pos x="16" y="0"/>
                </a:cxn>
                <a:cxn ang="0">
                  <a:pos x="4" y="0"/>
                </a:cxn>
                <a:cxn ang="0">
                  <a:pos x="4" y="0"/>
                </a:cxn>
              </a:cxnLst>
              <a:rect l="0" t="0" r="r" b="b"/>
              <a:pathLst>
                <a:path w="34" h="10">
                  <a:moveTo>
                    <a:pt x="4" y="0"/>
                  </a:moveTo>
                  <a:lnTo>
                    <a:pt x="4" y="0"/>
                  </a:lnTo>
                  <a:lnTo>
                    <a:pt x="2" y="0"/>
                  </a:lnTo>
                  <a:lnTo>
                    <a:pt x="2" y="0"/>
                  </a:lnTo>
                  <a:lnTo>
                    <a:pt x="2" y="2"/>
                  </a:lnTo>
                  <a:lnTo>
                    <a:pt x="0" y="2"/>
                  </a:lnTo>
                  <a:lnTo>
                    <a:pt x="0" y="2"/>
                  </a:lnTo>
                  <a:lnTo>
                    <a:pt x="0" y="2"/>
                  </a:lnTo>
                  <a:lnTo>
                    <a:pt x="0" y="4"/>
                  </a:lnTo>
                  <a:lnTo>
                    <a:pt x="2" y="4"/>
                  </a:lnTo>
                  <a:lnTo>
                    <a:pt x="2" y="4"/>
                  </a:lnTo>
                  <a:lnTo>
                    <a:pt x="0" y="8"/>
                  </a:lnTo>
                  <a:lnTo>
                    <a:pt x="0" y="10"/>
                  </a:lnTo>
                  <a:lnTo>
                    <a:pt x="0" y="10"/>
                  </a:lnTo>
                  <a:lnTo>
                    <a:pt x="0" y="10"/>
                  </a:lnTo>
                  <a:lnTo>
                    <a:pt x="4" y="10"/>
                  </a:lnTo>
                  <a:lnTo>
                    <a:pt x="8" y="10"/>
                  </a:lnTo>
                  <a:lnTo>
                    <a:pt x="8" y="10"/>
                  </a:lnTo>
                  <a:lnTo>
                    <a:pt x="12" y="10"/>
                  </a:lnTo>
                  <a:lnTo>
                    <a:pt x="18" y="10"/>
                  </a:lnTo>
                  <a:lnTo>
                    <a:pt x="18" y="10"/>
                  </a:lnTo>
                  <a:lnTo>
                    <a:pt x="22" y="10"/>
                  </a:lnTo>
                  <a:lnTo>
                    <a:pt x="26" y="10"/>
                  </a:lnTo>
                  <a:lnTo>
                    <a:pt x="26" y="10"/>
                  </a:lnTo>
                  <a:lnTo>
                    <a:pt x="28" y="8"/>
                  </a:lnTo>
                  <a:lnTo>
                    <a:pt x="28" y="6"/>
                  </a:lnTo>
                  <a:lnTo>
                    <a:pt x="30" y="6"/>
                  </a:lnTo>
                  <a:lnTo>
                    <a:pt x="30" y="6"/>
                  </a:lnTo>
                  <a:lnTo>
                    <a:pt x="34" y="4"/>
                  </a:lnTo>
                  <a:lnTo>
                    <a:pt x="34" y="4"/>
                  </a:lnTo>
                  <a:lnTo>
                    <a:pt x="30" y="0"/>
                  </a:lnTo>
                  <a:lnTo>
                    <a:pt x="30" y="0"/>
                  </a:lnTo>
                  <a:lnTo>
                    <a:pt x="22" y="0"/>
                  </a:lnTo>
                  <a:lnTo>
                    <a:pt x="22" y="0"/>
                  </a:lnTo>
                  <a:lnTo>
                    <a:pt x="16" y="0"/>
                  </a:lnTo>
                  <a:lnTo>
                    <a:pt x="4" y="0"/>
                  </a:lnTo>
                  <a:lnTo>
                    <a:pt x="4" y="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2" name="belize"/>
            <p:cNvSpPr>
              <a:spLocks/>
            </p:cNvSpPr>
            <p:nvPr/>
          </p:nvSpPr>
          <p:spPr bwMode="auto">
            <a:xfrm>
              <a:off x="1678747" y="3004344"/>
              <a:ext cx="44979" cy="76729"/>
            </a:xfrm>
            <a:custGeom>
              <a:avLst/>
              <a:gdLst/>
              <a:ahLst/>
              <a:cxnLst>
                <a:cxn ang="0">
                  <a:pos x="6" y="14"/>
                </a:cxn>
                <a:cxn ang="0">
                  <a:pos x="6" y="14"/>
                </a:cxn>
                <a:cxn ang="0">
                  <a:pos x="10" y="10"/>
                </a:cxn>
                <a:cxn ang="0">
                  <a:pos x="12" y="10"/>
                </a:cxn>
                <a:cxn ang="0">
                  <a:pos x="14" y="12"/>
                </a:cxn>
                <a:cxn ang="0">
                  <a:pos x="16" y="12"/>
                </a:cxn>
                <a:cxn ang="0">
                  <a:pos x="18" y="12"/>
                </a:cxn>
                <a:cxn ang="0">
                  <a:pos x="22" y="8"/>
                </a:cxn>
                <a:cxn ang="0">
                  <a:pos x="30" y="0"/>
                </a:cxn>
                <a:cxn ang="0">
                  <a:pos x="30" y="0"/>
                </a:cxn>
                <a:cxn ang="0">
                  <a:pos x="34" y="0"/>
                </a:cxn>
                <a:cxn ang="0">
                  <a:pos x="34" y="2"/>
                </a:cxn>
                <a:cxn ang="0">
                  <a:pos x="34" y="8"/>
                </a:cxn>
                <a:cxn ang="0">
                  <a:pos x="30" y="16"/>
                </a:cxn>
                <a:cxn ang="0">
                  <a:pos x="30" y="24"/>
                </a:cxn>
                <a:cxn ang="0">
                  <a:pos x="30" y="24"/>
                </a:cxn>
                <a:cxn ang="0">
                  <a:pos x="28" y="30"/>
                </a:cxn>
                <a:cxn ang="0">
                  <a:pos x="26" y="34"/>
                </a:cxn>
                <a:cxn ang="0">
                  <a:pos x="18" y="46"/>
                </a:cxn>
                <a:cxn ang="0">
                  <a:pos x="18" y="46"/>
                </a:cxn>
                <a:cxn ang="0">
                  <a:pos x="16" y="50"/>
                </a:cxn>
                <a:cxn ang="0">
                  <a:pos x="12" y="52"/>
                </a:cxn>
                <a:cxn ang="0">
                  <a:pos x="10" y="54"/>
                </a:cxn>
                <a:cxn ang="0">
                  <a:pos x="10" y="58"/>
                </a:cxn>
                <a:cxn ang="0">
                  <a:pos x="0" y="58"/>
                </a:cxn>
                <a:cxn ang="0">
                  <a:pos x="6" y="14"/>
                </a:cxn>
                <a:cxn ang="0">
                  <a:pos x="6" y="14"/>
                </a:cxn>
              </a:cxnLst>
              <a:rect l="0" t="0" r="r" b="b"/>
              <a:pathLst>
                <a:path w="34" h="58">
                  <a:moveTo>
                    <a:pt x="6" y="14"/>
                  </a:moveTo>
                  <a:lnTo>
                    <a:pt x="6" y="14"/>
                  </a:lnTo>
                  <a:lnTo>
                    <a:pt x="10" y="10"/>
                  </a:lnTo>
                  <a:lnTo>
                    <a:pt x="12" y="10"/>
                  </a:lnTo>
                  <a:lnTo>
                    <a:pt x="14" y="12"/>
                  </a:lnTo>
                  <a:lnTo>
                    <a:pt x="16" y="12"/>
                  </a:lnTo>
                  <a:lnTo>
                    <a:pt x="18" y="12"/>
                  </a:lnTo>
                  <a:lnTo>
                    <a:pt x="22" y="8"/>
                  </a:lnTo>
                  <a:lnTo>
                    <a:pt x="30" y="0"/>
                  </a:lnTo>
                  <a:lnTo>
                    <a:pt x="30" y="0"/>
                  </a:lnTo>
                  <a:lnTo>
                    <a:pt x="34" y="0"/>
                  </a:lnTo>
                  <a:lnTo>
                    <a:pt x="34" y="2"/>
                  </a:lnTo>
                  <a:lnTo>
                    <a:pt x="34" y="8"/>
                  </a:lnTo>
                  <a:lnTo>
                    <a:pt x="30" y="16"/>
                  </a:lnTo>
                  <a:lnTo>
                    <a:pt x="30" y="24"/>
                  </a:lnTo>
                  <a:lnTo>
                    <a:pt x="30" y="24"/>
                  </a:lnTo>
                  <a:lnTo>
                    <a:pt x="28" y="30"/>
                  </a:lnTo>
                  <a:lnTo>
                    <a:pt x="26" y="34"/>
                  </a:lnTo>
                  <a:lnTo>
                    <a:pt x="18" y="46"/>
                  </a:lnTo>
                  <a:lnTo>
                    <a:pt x="18" y="46"/>
                  </a:lnTo>
                  <a:lnTo>
                    <a:pt x="16" y="50"/>
                  </a:lnTo>
                  <a:lnTo>
                    <a:pt x="12" y="52"/>
                  </a:lnTo>
                  <a:lnTo>
                    <a:pt x="10" y="54"/>
                  </a:lnTo>
                  <a:lnTo>
                    <a:pt x="10" y="58"/>
                  </a:lnTo>
                  <a:lnTo>
                    <a:pt x="0" y="58"/>
                  </a:lnTo>
                  <a:lnTo>
                    <a:pt x="6" y="14"/>
                  </a:lnTo>
                  <a:lnTo>
                    <a:pt x="6" y="14"/>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3" name="Freeform 39"/>
            <p:cNvSpPr>
              <a:spLocks/>
            </p:cNvSpPr>
            <p:nvPr/>
          </p:nvSpPr>
          <p:spPr bwMode="auto">
            <a:xfrm>
              <a:off x="4739976" y="2850885"/>
              <a:ext cx="460375" cy="637646"/>
            </a:xfrm>
            <a:custGeom>
              <a:avLst/>
              <a:gdLst/>
              <a:ahLst/>
              <a:cxnLst>
                <a:cxn ang="0">
                  <a:pos x="306" y="14"/>
                </a:cxn>
                <a:cxn ang="0">
                  <a:pos x="310" y="24"/>
                </a:cxn>
                <a:cxn ang="0">
                  <a:pos x="320" y="48"/>
                </a:cxn>
                <a:cxn ang="0">
                  <a:pos x="318" y="66"/>
                </a:cxn>
                <a:cxn ang="0">
                  <a:pos x="326" y="98"/>
                </a:cxn>
                <a:cxn ang="0">
                  <a:pos x="336" y="102"/>
                </a:cxn>
                <a:cxn ang="0">
                  <a:pos x="340" y="104"/>
                </a:cxn>
                <a:cxn ang="0">
                  <a:pos x="348" y="114"/>
                </a:cxn>
                <a:cxn ang="0">
                  <a:pos x="326" y="134"/>
                </a:cxn>
                <a:cxn ang="0">
                  <a:pos x="318" y="158"/>
                </a:cxn>
                <a:cxn ang="0">
                  <a:pos x="306" y="230"/>
                </a:cxn>
                <a:cxn ang="0">
                  <a:pos x="288" y="266"/>
                </a:cxn>
                <a:cxn ang="0">
                  <a:pos x="284" y="286"/>
                </a:cxn>
                <a:cxn ang="0">
                  <a:pos x="274" y="312"/>
                </a:cxn>
                <a:cxn ang="0">
                  <a:pos x="272" y="346"/>
                </a:cxn>
                <a:cxn ang="0">
                  <a:pos x="256" y="360"/>
                </a:cxn>
                <a:cxn ang="0">
                  <a:pos x="272" y="394"/>
                </a:cxn>
                <a:cxn ang="0">
                  <a:pos x="286" y="416"/>
                </a:cxn>
                <a:cxn ang="0">
                  <a:pos x="294" y="428"/>
                </a:cxn>
                <a:cxn ang="0">
                  <a:pos x="312" y="448"/>
                </a:cxn>
                <a:cxn ang="0">
                  <a:pos x="304" y="462"/>
                </a:cxn>
                <a:cxn ang="0">
                  <a:pos x="290" y="460"/>
                </a:cxn>
                <a:cxn ang="0">
                  <a:pos x="268" y="472"/>
                </a:cxn>
                <a:cxn ang="0">
                  <a:pos x="236" y="482"/>
                </a:cxn>
                <a:cxn ang="0">
                  <a:pos x="210" y="482"/>
                </a:cxn>
                <a:cxn ang="0">
                  <a:pos x="180" y="464"/>
                </a:cxn>
                <a:cxn ang="0">
                  <a:pos x="164" y="464"/>
                </a:cxn>
                <a:cxn ang="0">
                  <a:pos x="148" y="464"/>
                </a:cxn>
                <a:cxn ang="0">
                  <a:pos x="136" y="454"/>
                </a:cxn>
                <a:cxn ang="0">
                  <a:pos x="126" y="438"/>
                </a:cxn>
                <a:cxn ang="0">
                  <a:pos x="120" y="428"/>
                </a:cxn>
                <a:cxn ang="0">
                  <a:pos x="110" y="414"/>
                </a:cxn>
                <a:cxn ang="0">
                  <a:pos x="106" y="406"/>
                </a:cxn>
                <a:cxn ang="0">
                  <a:pos x="100" y="398"/>
                </a:cxn>
                <a:cxn ang="0">
                  <a:pos x="86" y="384"/>
                </a:cxn>
                <a:cxn ang="0">
                  <a:pos x="84" y="374"/>
                </a:cxn>
                <a:cxn ang="0">
                  <a:pos x="70" y="364"/>
                </a:cxn>
                <a:cxn ang="0">
                  <a:pos x="58" y="358"/>
                </a:cxn>
                <a:cxn ang="0">
                  <a:pos x="56" y="348"/>
                </a:cxn>
                <a:cxn ang="0">
                  <a:pos x="44" y="342"/>
                </a:cxn>
                <a:cxn ang="0">
                  <a:pos x="46" y="326"/>
                </a:cxn>
                <a:cxn ang="0">
                  <a:pos x="42" y="316"/>
                </a:cxn>
                <a:cxn ang="0">
                  <a:pos x="36" y="306"/>
                </a:cxn>
                <a:cxn ang="0">
                  <a:pos x="32" y="288"/>
                </a:cxn>
                <a:cxn ang="0">
                  <a:pos x="24" y="282"/>
                </a:cxn>
                <a:cxn ang="0">
                  <a:pos x="20" y="262"/>
                </a:cxn>
                <a:cxn ang="0">
                  <a:pos x="20" y="252"/>
                </a:cxn>
                <a:cxn ang="0">
                  <a:pos x="8" y="248"/>
                </a:cxn>
                <a:cxn ang="0">
                  <a:pos x="0" y="248"/>
                </a:cxn>
                <a:cxn ang="0">
                  <a:pos x="8" y="226"/>
                </a:cxn>
                <a:cxn ang="0">
                  <a:pos x="8" y="218"/>
                </a:cxn>
                <a:cxn ang="0">
                  <a:pos x="14" y="210"/>
                </a:cxn>
                <a:cxn ang="0">
                  <a:pos x="12" y="196"/>
                </a:cxn>
                <a:cxn ang="0">
                  <a:pos x="26" y="170"/>
                </a:cxn>
                <a:cxn ang="0">
                  <a:pos x="36" y="170"/>
                </a:cxn>
                <a:cxn ang="0">
                  <a:pos x="54" y="14"/>
                </a:cxn>
                <a:cxn ang="0">
                  <a:pos x="268" y="16"/>
                </a:cxn>
                <a:cxn ang="0">
                  <a:pos x="272" y="14"/>
                </a:cxn>
                <a:cxn ang="0">
                  <a:pos x="280" y="6"/>
                </a:cxn>
                <a:cxn ang="0">
                  <a:pos x="288" y="4"/>
                </a:cxn>
              </a:cxnLst>
              <a:rect l="0" t="0" r="r" b="b"/>
              <a:pathLst>
                <a:path w="348" h="482">
                  <a:moveTo>
                    <a:pt x="290" y="0"/>
                  </a:moveTo>
                  <a:lnTo>
                    <a:pt x="290" y="0"/>
                  </a:lnTo>
                  <a:lnTo>
                    <a:pt x="300" y="10"/>
                  </a:lnTo>
                  <a:lnTo>
                    <a:pt x="306" y="14"/>
                  </a:lnTo>
                  <a:lnTo>
                    <a:pt x="308" y="16"/>
                  </a:lnTo>
                  <a:lnTo>
                    <a:pt x="308" y="20"/>
                  </a:lnTo>
                  <a:lnTo>
                    <a:pt x="308" y="20"/>
                  </a:lnTo>
                  <a:lnTo>
                    <a:pt x="310" y="24"/>
                  </a:lnTo>
                  <a:lnTo>
                    <a:pt x="310" y="30"/>
                  </a:lnTo>
                  <a:lnTo>
                    <a:pt x="316" y="38"/>
                  </a:lnTo>
                  <a:lnTo>
                    <a:pt x="320" y="46"/>
                  </a:lnTo>
                  <a:lnTo>
                    <a:pt x="320" y="48"/>
                  </a:lnTo>
                  <a:lnTo>
                    <a:pt x="320" y="50"/>
                  </a:lnTo>
                  <a:lnTo>
                    <a:pt x="320" y="50"/>
                  </a:lnTo>
                  <a:lnTo>
                    <a:pt x="318" y="56"/>
                  </a:lnTo>
                  <a:lnTo>
                    <a:pt x="318" y="66"/>
                  </a:lnTo>
                  <a:lnTo>
                    <a:pt x="320" y="82"/>
                  </a:lnTo>
                  <a:lnTo>
                    <a:pt x="320" y="82"/>
                  </a:lnTo>
                  <a:lnTo>
                    <a:pt x="324" y="94"/>
                  </a:lnTo>
                  <a:lnTo>
                    <a:pt x="326" y="98"/>
                  </a:lnTo>
                  <a:lnTo>
                    <a:pt x="330" y="98"/>
                  </a:lnTo>
                  <a:lnTo>
                    <a:pt x="330" y="98"/>
                  </a:lnTo>
                  <a:lnTo>
                    <a:pt x="334" y="98"/>
                  </a:lnTo>
                  <a:lnTo>
                    <a:pt x="336" y="102"/>
                  </a:lnTo>
                  <a:lnTo>
                    <a:pt x="338" y="104"/>
                  </a:lnTo>
                  <a:lnTo>
                    <a:pt x="340" y="106"/>
                  </a:lnTo>
                  <a:lnTo>
                    <a:pt x="340" y="104"/>
                  </a:lnTo>
                  <a:lnTo>
                    <a:pt x="340" y="104"/>
                  </a:lnTo>
                  <a:lnTo>
                    <a:pt x="342" y="104"/>
                  </a:lnTo>
                  <a:lnTo>
                    <a:pt x="344" y="104"/>
                  </a:lnTo>
                  <a:lnTo>
                    <a:pt x="348" y="114"/>
                  </a:lnTo>
                  <a:lnTo>
                    <a:pt x="348" y="114"/>
                  </a:lnTo>
                  <a:lnTo>
                    <a:pt x="344" y="120"/>
                  </a:lnTo>
                  <a:lnTo>
                    <a:pt x="338" y="126"/>
                  </a:lnTo>
                  <a:lnTo>
                    <a:pt x="330" y="132"/>
                  </a:lnTo>
                  <a:lnTo>
                    <a:pt x="326" y="134"/>
                  </a:lnTo>
                  <a:lnTo>
                    <a:pt x="322" y="140"/>
                  </a:lnTo>
                  <a:lnTo>
                    <a:pt x="320" y="146"/>
                  </a:lnTo>
                  <a:lnTo>
                    <a:pt x="318" y="158"/>
                  </a:lnTo>
                  <a:lnTo>
                    <a:pt x="318" y="158"/>
                  </a:lnTo>
                  <a:lnTo>
                    <a:pt x="312" y="194"/>
                  </a:lnTo>
                  <a:lnTo>
                    <a:pt x="308" y="220"/>
                  </a:lnTo>
                  <a:lnTo>
                    <a:pt x="308" y="220"/>
                  </a:lnTo>
                  <a:lnTo>
                    <a:pt x="306" y="230"/>
                  </a:lnTo>
                  <a:lnTo>
                    <a:pt x="304" y="240"/>
                  </a:lnTo>
                  <a:lnTo>
                    <a:pt x="296" y="252"/>
                  </a:lnTo>
                  <a:lnTo>
                    <a:pt x="290" y="260"/>
                  </a:lnTo>
                  <a:lnTo>
                    <a:pt x="288" y="266"/>
                  </a:lnTo>
                  <a:lnTo>
                    <a:pt x="286" y="274"/>
                  </a:lnTo>
                  <a:lnTo>
                    <a:pt x="286" y="274"/>
                  </a:lnTo>
                  <a:lnTo>
                    <a:pt x="286" y="282"/>
                  </a:lnTo>
                  <a:lnTo>
                    <a:pt x="284" y="286"/>
                  </a:lnTo>
                  <a:lnTo>
                    <a:pt x="280" y="292"/>
                  </a:lnTo>
                  <a:lnTo>
                    <a:pt x="278" y="296"/>
                  </a:lnTo>
                  <a:lnTo>
                    <a:pt x="276" y="302"/>
                  </a:lnTo>
                  <a:lnTo>
                    <a:pt x="274" y="312"/>
                  </a:lnTo>
                  <a:lnTo>
                    <a:pt x="274" y="326"/>
                  </a:lnTo>
                  <a:lnTo>
                    <a:pt x="274" y="326"/>
                  </a:lnTo>
                  <a:lnTo>
                    <a:pt x="274" y="338"/>
                  </a:lnTo>
                  <a:lnTo>
                    <a:pt x="272" y="346"/>
                  </a:lnTo>
                  <a:lnTo>
                    <a:pt x="270" y="352"/>
                  </a:lnTo>
                  <a:lnTo>
                    <a:pt x="266" y="356"/>
                  </a:lnTo>
                  <a:lnTo>
                    <a:pt x="260" y="360"/>
                  </a:lnTo>
                  <a:lnTo>
                    <a:pt x="256" y="360"/>
                  </a:lnTo>
                  <a:lnTo>
                    <a:pt x="250" y="374"/>
                  </a:lnTo>
                  <a:lnTo>
                    <a:pt x="250" y="374"/>
                  </a:lnTo>
                  <a:lnTo>
                    <a:pt x="262" y="384"/>
                  </a:lnTo>
                  <a:lnTo>
                    <a:pt x="272" y="394"/>
                  </a:lnTo>
                  <a:lnTo>
                    <a:pt x="278" y="400"/>
                  </a:lnTo>
                  <a:lnTo>
                    <a:pt x="280" y="406"/>
                  </a:lnTo>
                  <a:lnTo>
                    <a:pt x="280" y="406"/>
                  </a:lnTo>
                  <a:lnTo>
                    <a:pt x="286" y="416"/>
                  </a:lnTo>
                  <a:lnTo>
                    <a:pt x="288" y="418"/>
                  </a:lnTo>
                  <a:lnTo>
                    <a:pt x="290" y="422"/>
                  </a:lnTo>
                  <a:lnTo>
                    <a:pt x="294" y="428"/>
                  </a:lnTo>
                  <a:lnTo>
                    <a:pt x="294" y="428"/>
                  </a:lnTo>
                  <a:lnTo>
                    <a:pt x="298" y="434"/>
                  </a:lnTo>
                  <a:lnTo>
                    <a:pt x="300" y="438"/>
                  </a:lnTo>
                  <a:lnTo>
                    <a:pt x="306" y="442"/>
                  </a:lnTo>
                  <a:lnTo>
                    <a:pt x="312" y="448"/>
                  </a:lnTo>
                  <a:lnTo>
                    <a:pt x="312" y="452"/>
                  </a:lnTo>
                  <a:lnTo>
                    <a:pt x="310" y="456"/>
                  </a:lnTo>
                  <a:lnTo>
                    <a:pt x="310" y="456"/>
                  </a:lnTo>
                  <a:lnTo>
                    <a:pt x="304" y="462"/>
                  </a:lnTo>
                  <a:lnTo>
                    <a:pt x="300" y="464"/>
                  </a:lnTo>
                  <a:lnTo>
                    <a:pt x="296" y="462"/>
                  </a:lnTo>
                  <a:lnTo>
                    <a:pt x="294" y="460"/>
                  </a:lnTo>
                  <a:lnTo>
                    <a:pt x="290" y="460"/>
                  </a:lnTo>
                  <a:lnTo>
                    <a:pt x="286" y="460"/>
                  </a:lnTo>
                  <a:lnTo>
                    <a:pt x="278" y="464"/>
                  </a:lnTo>
                  <a:lnTo>
                    <a:pt x="268" y="472"/>
                  </a:lnTo>
                  <a:lnTo>
                    <a:pt x="268" y="472"/>
                  </a:lnTo>
                  <a:lnTo>
                    <a:pt x="258" y="478"/>
                  </a:lnTo>
                  <a:lnTo>
                    <a:pt x="250" y="482"/>
                  </a:lnTo>
                  <a:lnTo>
                    <a:pt x="244" y="482"/>
                  </a:lnTo>
                  <a:lnTo>
                    <a:pt x="236" y="482"/>
                  </a:lnTo>
                  <a:lnTo>
                    <a:pt x="224" y="480"/>
                  </a:lnTo>
                  <a:lnTo>
                    <a:pt x="218" y="480"/>
                  </a:lnTo>
                  <a:lnTo>
                    <a:pt x="210" y="482"/>
                  </a:lnTo>
                  <a:lnTo>
                    <a:pt x="210" y="482"/>
                  </a:lnTo>
                  <a:lnTo>
                    <a:pt x="204" y="482"/>
                  </a:lnTo>
                  <a:lnTo>
                    <a:pt x="198" y="478"/>
                  </a:lnTo>
                  <a:lnTo>
                    <a:pt x="180" y="464"/>
                  </a:lnTo>
                  <a:lnTo>
                    <a:pt x="180" y="464"/>
                  </a:lnTo>
                  <a:lnTo>
                    <a:pt x="174" y="460"/>
                  </a:lnTo>
                  <a:lnTo>
                    <a:pt x="170" y="462"/>
                  </a:lnTo>
                  <a:lnTo>
                    <a:pt x="168" y="464"/>
                  </a:lnTo>
                  <a:lnTo>
                    <a:pt x="164" y="464"/>
                  </a:lnTo>
                  <a:lnTo>
                    <a:pt x="164" y="464"/>
                  </a:lnTo>
                  <a:lnTo>
                    <a:pt x="156" y="464"/>
                  </a:lnTo>
                  <a:lnTo>
                    <a:pt x="152" y="464"/>
                  </a:lnTo>
                  <a:lnTo>
                    <a:pt x="148" y="464"/>
                  </a:lnTo>
                  <a:lnTo>
                    <a:pt x="144" y="460"/>
                  </a:lnTo>
                  <a:lnTo>
                    <a:pt x="144" y="460"/>
                  </a:lnTo>
                  <a:lnTo>
                    <a:pt x="140" y="456"/>
                  </a:lnTo>
                  <a:lnTo>
                    <a:pt x="136" y="454"/>
                  </a:lnTo>
                  <a:lnTo>
                    <a:pt x="134" y="452"/>
                  </a:lnTo>
                  <a:lnTo>
                    <a:pt x="130" y="446"/>
                  </a:lnTo>
                  <a:lnTo>
                    <a:pt x="130" y="446"/>
                  </a:lnTo>
                  <a:lnTo>
                    <a:pt x="126" y="438"/>
                  </a:lnTo>
                  <a:lnTo>
                    <a:pt x="124" y="436"/>
                  </a:lnTo>
                  <a:lnTo>
                    <a:pt x="120" y="434"/>
                  </a:lnTo>
                  <a:lnTo>
                    <a:pt x="120" y="428"/>
                  </a:lnTo>
                  <a:lnTo>
                    <a:pt x="120" y="428"/>
                  </a:lnTo>
                  <a:lnTo>
                    <a:pt x="118" y="424"/>
                  </a:lnTo>
                  <a:lnTo>
                    <a:pt x="116" y="418"/>
                  </a:lnTo>
                  <a:lnTo>
                    <a:pt x="112" y="416"/>
                  </a:lnTo>
                  <a:lnTo>
                    <a:pt x="110" y="414"/>
                  </a:lnTo>
                  <a:lnTo>
                    <a:pt x="110" y="414"/>
                  </a:lnTo>
                  <a:lnTo>
                    <a:pt x="108" y="412"/>
                  </a:lnTo>
                  <a:lnTo>
                    <a:pt x="108" y="412"/>
                  </a:lnTo>
                  <a:lnTo>
                    <a:pt x="106" y="406"/>
                  </a:lnTo>
                  <a:lnTo>
                    <a:pt x="104" y="400"/>
                  </a:lnTo>
                  <a:lnTo>
                    <a:pt x="102" y="398"/>
                  </a:lnTo>
                  <a:lnTo>
                    <a:pt x="100" y="398"/>
                  </a:lnTo>
                  <a:lnTo>
                    <a:pt x="100" y="398"/>
                  </a:lnTo>
                  <a:lnTo>
                    <a:pt x="96" y="396"/>
                  </a:lnTo>
                  <a:lnTo>
                    <a:pt x="94" y="394"/>
                  </a:lnTo>
                  <a:lnTo>
                    <a:pt x="92" y="390"/>
                  </a:lnTo>
                  <a:lnTo>
                    <a:pt x="86" y="384"/>
                  </a:lnTo>
                  <a:lnTo>
                    <a:pt x="86" y="384"/>
                  </a:lnTo>
                  <a:lnTo>
                    <a:pt x="82" y="380"/>
                  </a:lnTo>
                  <a:lnTo>
                    <a:pt x="84" y="376"/>
                  </a:lnTo>
                  <a:lnTo>
                    <a:pt x="84" y="374"/>
                  </a:lnTo>
                  <a:lnTo>
                    <a:pt x="76" y="370"/>
                  </a:lnTo>
                  <a:lnTo>
                    <a:pt x="76" y="370"/>
                  </a:lnTo>
                  <a:lnTo>
                    <a:pt x="70" y="366"/>
                  </a:lnTo>
                  <a:lnTo>
                    <a:pt x="70" y="364"/>
                  </a:lnTo>
                  <a:lnTo>
                    <a:pt x="70" y="362"/>
                  </a:lnTo>
                  <a:lnTo>
                    <a:pt x="62" y="360"/>
                  </a:lnTo>
                  <a:lnTo>
                    <a:pt x="62" y="360"/>
                  </a:lnTo>
                  <a:lnTo>
                    <a:pt x="58" y="358"/>
                  </a:lnTo>
                  <a:lnTo>
                    <a:pt x="56" y="356"/>
                  </a:lnTo>
                  <a:lnTo>
                    <a:pt x="56" y="352"/>
                  </a:lnTo>
                  <a:lnTo>
                    <a:pt x="56" y="350"/>
                  </a:lnTo>
                  <a:lnTo>
                    <a:pt x="56" y="348"/>
                  </a:lnTo>
                  <a:lnTo>
                    <a:pt x="54" y="346"/>
                  </a:lnTo>
                  <a:lnTo>
                    <a:pt x="48" y="344"/>
                  </a:lnTo>
                  <a:lnTo>
                    <a:pt x="48" y="344"/>
                  </a:lnTo>
                  <a:lnTo>
                    <a:pt x="44" y="342"/>
                  </a:lnTo>
                  <a:lnTo>
                    <a:pt x="42" y="338"/>
                  </a:lnTo>
                  <a:lnTo>
                    <a:pt x="42" y="336"/>
                  </a:lnTo>
                  <a:lnTo>
                    <a:pt x="44" y="334"/>
                  </a:lnTo>
                  <a:lnTo>
                    <a:pt x="46" y="326"/>
                  </a:lnTo>
                  <a:lnTo>
                    <a:pt x="46" y="324"/>
                  </a:lnTo>
                  <a:lnTo>
                    <a:pt x="44" y="320"/>
                  </a:lnTo>
                  <a:lnTo>
                    <a:pt x="44" y="320"/>
                  </a:lnTo>
                  <a:lnTo>
                    <a:pt x="42" y="316"/>
                  </a:lnTo>
                  <a:lnTo>
                    <a:pt x="42" y="314"/>
                  </a:lnTo>
                  <a:lnTo>
                    <a:pt x="40" y="310"/>
                  </a:lnTo>
                  <a:lnTo>
                    <a:pt x="36" y="306"/>
                  </a:lnTo>
                  <a:lnTo>
                    <a:pt x="36" y="306"/>
                  </a:lnTo>
                  <a:lnTo>
                    <a:pt x="32" y="298"/>
                  </a:lnTo>
                  <a:lnTo>
                    <a:pt x="32" y="294"/>
                  </a:lnTo>
                  <a:lnTo>
                    <a:pt x="32" y="294"/>
                  </a:lnTo>
                  <a:lnTo>
                    <a:pt x="32" y="288"/>
                  </a:lnTo>
                  <a:lnTo>
                    <a:pt x="30" y="286"/>
                  </a:lnTo>
                  <a:lnTo>
                    <a:pt x="28" y="284"/>
                  </a:lnTo>
                  <a:lnTo>
                    <a:pt x="28" y="284"/>
                  </a:lnTo>
                  <a:lnTo>
                    <a:pt x="24" y="282"/>
                  </a:lnTo>
                  <a:lnTo>
                    <a:pt x="24" y="276"/>
                  </a:lnTo>
                  <a:lnTo>
                    <a:pt x="22" y="270"/>
                  </a:lnTo>
                  <a:lnTo>
                    <a:pt x="20" y="262"/>
                  </a:lnTo>
                  <a:lnTo>
                    <a:pt x="20" y="262"/>
                  </a:lnTo>
                  <a:lnTo>
                    <a:pt x="18" y="256"/>
                  </a:lnTo>
                  <a:lnTo>
                    <a:pt x="18" y="254"/>
                  </a:lnTo>
                  <a:lnTo>
                    <a:pt x="20" y="254"/>
                  </a:lnTo>
                  <a:lnTo>
                    <a:pt x="20" y="252"/>
                  </a:lnTo>
                  <a:lnTo>
                    <a:pt x="20" y="252"/>
                  </a:lnTo>
                  <a:lnTo>
                    <a:pt x="16" y="248"/>
                  </a:lnTo>
                  <a:lnTo>
                    <a:pt x="14" y="248"/>
                  </a:lnTo>
                  <a:lnTo>
                    <a:pt x="8" y="248"/>
                  </a:lnTo>
                  <a:lnTo>
                    <a:pt x="4" y="250"/>
                  </a:lnTo>
                  <a:lnTo>
                    <a:pt x="2" y="250"/>
                  </a:lnTo>
                  <a:lnTo>
                    <a:pt x="0" y="248"/>
                  </a:lnTo>
                  <a:lnTo>
                    <a:pt x="0" y="248"/>
                  </a:lnTo>
                  <a:lnTo>
                    <a:pt x="0" y="242"/>
                  </a:lnTo>
                  <a:lnTo>
                    <a:pt x="0" y="236"/>
                  </a:lnTo>
                  <a:lnTo>
                    <a:pt x="2" y="230"/>
                  </a:lnTo>
                  <a:lnTo>
                    <a:pt x="8" y="226"/>
                  </a:lnTo>
                  <a:lnTo>
                    <a:pt x="8" y="224"/>
                  </a:lnTo>
                  <a:lnTo>
                    <a:pt x="8" y="222"/>
                  </a:lnTo>
                  <a:lnTo>
                    <a:pt x="8" y="222"/>
                  </a:lnTo>
                  <a:lnTo>
                    <a:pt x="8" y="218"/>
                  </a:lnTo>
                  <a:lnTo>
                    <a:pt x="12" y="214"/>
                  </a:lnTo>
                  <a:lnTo>
                    <a:pt x="14" y="212"/>
                  </a:lnTo>
                  <a:lnTo>
                    <a:pt x="14" y="210"/>
                  </a:lnTo>
                  <a:lnTo>
                    <a:pt x="14" y="210"/>
                  </a:lnTo>
                  <a:lnTo>
                    <a:pt x="10" y="206"/>
                  </a:lnTo>
                  <a:lnTo>
                    <a:pt x="10" y="204"/>
                  </a:lnTo>
                  <a:lnTo>
                    <a:pt x="12" y="202"/>
                  </a:lnTo>
                  <a:lnTo>
                    <a:pt x="12" y="196"/>
                  </a:lnTo>
                  <a:lnTo>
                    <a:pt x="12" y="196"/>
                  </a:lnTo>
                  <a:lnTo>
                    <a:pt x="14" y="188"/>
                  </a:lnTo>
                  <a:lnTo>
                    <a:pt x="16" y="182"/>
                  </a:lnTo>
                  <a:lnTo>
                    <a:pt x="26" y="170"/>
                  </a:lnTo>
                  <a:lnTo>
                    <a:pt x="26" y="170"/>
                  </a:lnTo>
                  <a:lnTo>
                    <a:pt x="30" y="166"/>
                  </a:lnTo>
                  <a:lnTo>
                    <a:pt x="34" y="168"/>
                  </a:lnTo>
                  <a:lnTo>
                    <a:pt x="36" y="170"/>
                  </a:lnTo>
                  <a:lnTo>
                    <a:pt x="44" y="168"/>
                  </a:lnTo>
                  <a:lnTo>
                    <a:pt x="40" y="70"/>
                  </a:lnTo>
                  <a:lnTo>
                    <a:pt x="56" y="70"/>
                  </a:lnTo>
                  <a:lnTo>
                    <a:pt x="54" y="14"/>
                  </a:lnTo>
                  <a:lnTo>
                    <a:pt x="256" y="14"/>
                  </a:lnTo>
                  <a:lnTo>
                    <a:pt x="256" y="14"/>
                  </a:lnTo>
                  <a:lnTo>
                    <a:pt x="262" y="16"/>
                  </a:lnTo>
                  <a:lnTo>
                    <a:pt x="268" y="16"/>
                  </a:lnTo>
                  <a:lnTo>
                    <a:pt x="272" y="16"/>
                  </a:lnTo>
                  <a:lnTo>
                    <a:pt x="272" y="14"/>
                  </a:lnTo>
                  <a:lnTo>
                    <a:pt x="272" y="14"/>
                  </a:lnTo>
                  <a:lnTo>
                    <a:pt x="272" y="14"/>
                  </a:lnTo>
                  <a:lnTo>
                    <a:pt x="270" y="12"/>
                  </a:lnTo>
                  <a:lnTo>
                    <a:pt x="272" y="10"/>
                  </a:lnTo>
                  <a:lnTo>
                    <a:pt x="276" y="10"/>
                  </a:lnTo>
                  <a:lnTo>
                    <a:pt x="280" y="6"/>
                  </a:lnTo>
                  <a:lnTo>
                    <a:pt x="280" y="6"/>
                  </a:lnTo>
                  <a:lnTo>
                    <a:pt x="282" y="4"/>
                  </a:lnTo>
                  <a:lnTo>
                    <a:pt x="284" y="2"/>
                  </a:lnTo>
                  <a:lnTo>
                    <a:pt x="288" y="4"/>
                  </a:lnTo>
                  <a:lnTo>
                    <a:pt x="290" y="0"/>
                  </a:lnTo>
                  <a:lnTo>
                    <a:pt x="290" y="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4" name="Freeform 40"/>
            <p:cNvSpPr>
              <a:spLocks/>
            </p:cNvSpPr>
            <p:nvPr/>
          </p:nvSpPr>
          <p:spPr bwMode="auto">
            <a:xfrm>
              <a:off x="4959580" y="3697552"/>
              <a:ext cx="55563" cy="79375"/>
            </a:xfrm>
            <a:custGeom>
              <a:avLst/>
              <a:gdLst/>
              <a:ahLst/>
              <a:cxnLst>
                <a:cxn ang="0">
                  <a:pos x="14" y="42"/>
                </a:cxn>
                <a:cxn ang="0">
                  <a:pos x="14" y="42"/>
                </a:cxn>
                <a:cxn ang="0">
                  <a:pos x="16" y="56"/>
                </a:cxn>
                <a:cxn ang="0">
                  <a:pos x="20" y="60"/>
                </a:cxn>
                <a:cxn ang="0">
                  <a:pos x="20" y="60"/>
                </a:cxn>
                <a:cxn ang="0">
                  <a:pos x="28" y="50"/>
                </a:cxn>
                <a:cxn ang="0">
                  <a:pos x="34" y="42"/>
                </a:cxn>
                <a:cxn ang="0">
                  <a:pos x="36" y="36"/>
                </a:cxn>
                <a:cxn ang="0">
                  <a:pos x="38" y="30"/>
                </a:cxn>
                <a:cxn ang="0">
                  <a:pos x="38" y="30"/>
                </a:cxn>
                <a:cxn ang="0">
                  <a:pos x="38" y="26"/>
                </a:cxn>
                <a:cxn ang="0">
                  <a:pos x="40" y="24"/>
                </a:cxn>
                <a:cxn ang="0">
                  <a:pos x="42" y="20"/>
                </a:cxn>
                <a:cxn ang="0">
                  <a:pos x="42" y="14"/>
                </a:cxn>
                <a:cxn ang="0">
                  <a:pos x="42" y="14"/>
                </a:cxn>
                <a:cxn ang="0">
                  <a:pos x="40" y="14"/>
                </a:cxn>
                <a:cxn ang="0">
                  <a:pos x="38" y="12"/>
                </a:cxn>
                <a:cxn ang="0">
                  <a:pos x="32" y="12"/>
                </a:cxn>
                <a:cxn ang="0">
                  <a:pos x="30" y="10"/>
                </a:cxn>
                <a:cxn ang="0">
                  <a:pos x="28" y="8"/>
                </a:cxn>
                <a:cxn ang="0">
                  <a:pos x="28" y="6"/>
                </a:cxn>
                <a:cxn ang="0">
                  <a:pos x="32" y="2"/>
                </a:cxn>
                <a:cxn ang="0">
                  <a:pos x="32" y="2"/>
                </a:cxn>
                <a:cxn ang="0">
                  <a:pos x="26" y="0"/>
                </a:cxn>
                <a:cxn ang="0">
                  <a:pos x="22" y="0"/>
                </a:cxn>
                <a:cxn ang="0">
                  <a:pos x="16" y="0"/>
                </a:cxn>
                <a:cxn ang="0">
                  <a:pos x="16" y="2"/>
                </a:cxn>
                <a:cxn ang="0">
                  <a:pos x="16" y="6"/>
                </a:cxn>
                <a:cxn ang="0">
                  <a:pos x="16" y="6"/>
                </a:cxn>
                <a:cxn ang="0">
                  <a:pos x="16" y="12"/>
                </a:cxn>
                <a:cxn ang="0">
                  <a:pos x="14" y="12"/>
                </a:cxn>
                <a:cxn ang="0">
                  <a:pos x="8" y="10"/>
                </a:cxn>
                <a:cxn ang="0">
                  <a:pos x="4" y="10"/>
                </a:cxn>
                <a:cxn ang="0">
                  <a:pos x="0" y="10"/>
                </a:cxn>
                <a:cxn ang="0">
                  <a:pos x="0" y="10"/>
                </a:cxn>
                <a:cxn ang="0">
                  <a:pos x="6" y="34"/>
                </a:cxn>
                <a:cxn ang="0">
                  <a:pos x="8" y="38"/>
                </a:cxn>
                <a:cxn ang="0">
                  <a:pos x="10" y="40"/>
                </a:cxn>
                <a:cxn ang="0">
                  <a:pos x="12" y="40"/>
                </a:cxn>
                <a:cxn ang="0">
                  <a:pos x="12" y="40"/>
                </a:cxn>
                <a:cxn ang="0">
                  <a:pos x="14" y="42"/>
                </a:cxn>
                <a:cxn ang="0">
                  <a:pos x="14" y="42"/>
                </a:cxn>
              </a:cxnLst>
              <a:rect l="0" t="0" r="r" b="b"/>
              <a:pathLst>
                <a:path w="42" h="60">
                  <a:moveTo>
                    <a:pt x="14" y="42"/>
                  </a:moveTo>
                  <a:lnTo>
                    <a:pt x="14" y="42"/>
                  </a:lnTo>
                  <a:lnTo>
                    <a:pt x="16" y="56"/>
                  </a:lnTo>
                  <a:lnTo>
                    <a:pt x="20" y="60"/>
                  </a:lnTo>
                  <a:lnTo>
                    <a:pt x="20" y="60"/>
                  </a:lnTo>
                  <a:lnTo>
                    <a:pt x="28" y="50"/>
                  </a:lnTo>
                  <a:lnTo>
                    <a:pt x="34" y="42"/>
                  </a:lnTo>
                  <a:lnTo>
                    <a:pt x="36" y="36"/>
                  </a:lnTo>
                  <a:lnTo>
                    <a:pt x="38" y="30"/>
                  </a:lnTo>
                  <a:lnTo>
                    <a:pt x="38" y="30"/>
                  </a:lnTo>
                  <a:lnTo>
                    <a:pt x="38" y="26"/>
                  </a:lnTo>
                  <a:lnTo>
                    <a:pt x="40" y="24"/>
                  </a:lnTo>
                  <a:lnTo>
                    <a:pt x="42" y="20"/>
                  </a:lnTo>
                  <a:lnTo>
                    <a:pt x="42" y="14"/>
                  </a:lnTo>
                  <a:lnTo>
                    <a:pt x="42" y="14"/>
                  </a:lnTo>
                  <a:lnTo>
                    <a:pt x="40" y="14"/>
                  </a:lnTo>
                  <a:lnTo>
                    <a:pt x="38" y="12"/>
                  </a:lnTo>
                  <a:lnTo>
                    <a:pt x="32" y="12"/>
                  </a:lnTo>
                  <a:lnTo>
                    <a:pt x="30" y="10"/>
                  </a:lnTo>
                  <a:lnTo>
                    <a:pt x="28" y="8"/>
                  </a:lnTo>
                  <a:lnTo>
                    <a:pt x="28" y="6"/>
                  </a:lnTo>
                  <a:lnTo>
                    <a:pt x="32" y="2"/>
                  </a:lnTo>
                  <a:lnTo>
                    <a:pt x="32" y="2"/>
                  </a:lnTo>
                  <a:lnTo>
                    <a:pt x="26" y="0"/>
                  </a:lnTo>
                  <a:lnTo>
                    <a:pt x="22" y="0"/>
                  </a:lnTo>
                  <a:lnTo>
                    <a:pt x="16" y="0"/>
                  </a:lnTo>
                  <a:lnTo>
                    <a:pt x="16" y="2"/>
                  </a:lnTo>
                  <a:lnTo>
                    <a:pt x="16" y="6"/>
                  </a:lnTo>
                  <a:lnTo>
                    <a:pt x="16" y="6"/>
                  </a:lnTo>
                  <a:lnTo>
                    <a:pt x="16" y="12"/>
                  </a:lnTo>
                  <a:lnTo>
                    <a:pt x="14" y="12"/>
                  </a:lnTo>
                  <a:lnTo>
                    <a:pt x="8" y="10"/>
                  </a:lnTo>
                  <a:lnTo>
                    <a:pt x="4" y="10"/>
                  </a:lnTo>
                  <a:lnTo>
                    <a:pt x="0" y="10"/>
                  </a:lnTo>
                  <a:lnTo>
                    <a:pt x="0" y="10"/>
                  </a:lnTo>
                  <a:lnTo>
                    <a:pt x="6" y="34"/>
                  </a:lnTo>
                  <a:lnTo>
                    <a:pt x="8" y="38"/>
                  </a:lnTo>
                  <a:lnTo>
                    <a:pt x="10" y="40"/>
                  </a:lnTo>
                  <a:lnTo>
                    <a:pt x="12" y="40"/>
                  </a:lnTo>
                  <a:lnTo>
                    <a:pt x="12" y="40"/>
                  </a:lnTo>
                  <a:lnTo>
                    <a:pt x="14" y="42"/>
                  </a:lnTo>
                  <a:lnTo>
                    <a:pt x="14" y="42"/>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5" name="Freeform 41"/>
            <p:cNvSpPr>
              <a:spLocks/>
            </p:cNvSpPr>
            <p:nvPr/>
          </p:nvSpPr>
          <p:spPr bwMode="auto">
            <a:xfrm>
              <a:off x="4978101" y="3475302"/>
              <a:ext cx="150813" cy="177271"/>
            </a:xfrm>
            <a:custGeom>
              <a:avLst/>
              <a:gdLst/>
              <a:ahLst/>
              <a:cxnLst>
                <a:cxn ang="0">
                  <a:pos x="92" y="104"/>
                </a:cxn>
                <a:cxn ang="0">
                  <a:pos x="88" y="104"/>
                </a:cxn>
                <a:cxn ang="0">
                  <a:pos x="86" y="104"/>
                </a:cxn>
                <a:cxn ang="0">
                  <a:pos x="84" y="100"/>
                </a:cxn>
                <a:cxn ang="0">
                  <a:pos x="80" y="104"/>
                </a:cxn>
                <a:cxn ang="0">
                  <a:pos x="74" y="104"/>
                </a:cxn>
                <a:cxn ang="0">
                  <a:pos x="70" y="106"/>
                </a:cxn>
                <a:cxn ang="0">
                  <a:pos x="64" y="106"/>
                </a:cxn>
                <a:cxn ang="0">
                  <a:pos x="62" y="110"/>
                </a:cxn>
                <a:cxn ang="0">
                  <a:pos x="62" y="112"/>
                </a:cxn>
                <a:cxn ang="0">
                  <a:pos x="58" y="114"/>
                </a:cxn>
                <a:cxn ang="0">
                  <a:pos x="58" y="116"/>
                </a:cxn>
                <a:cxn ang="0">
                  <a:pos x="52" y="124"/>
                </a:cxn>
                <a:cxn ang="0">
                  <a:pos x="52" y="128"/>
                </a:cxn>
                <a:cxn ang="0">
                  <a:pos x="44" y="132"/>
                </a:cxn>
                <a:cxn ang="0">
                  <a:pos x="34" y="128"/>
                </a:cxn>
                <a:cxn ang="0">
                  <a:pos x="24" y="130"/>
                </a:cxn>
                <a:cxn ang="0">
                  <a:pos x="14" y="134"/>
                </a:cxn>
                <a:cxn ang="0">
                  <a:pos x="10" y="132"/>
                </a:cxn>
                <a:cxn ang="0">
                  <a:pos x="4" y="134"/>
                </a:cxn>
                <a:cxn ang="0">
                  <a:pos x="2" y="116"/>
                </a:cxn>
                <a:cxn ang="0">
                  <a:pos x="8" y="100"/>
                </a:cxn>
                <a:cxn ang="0">
                  <a:pos x="10" y="92"/>
                </a:cxn>
                <a:cxn ang="0">
                  <a:pos x="24" y="78"/>
                </a:cxn>
                <a:cxn ang="0">
                  <a:pos x="32" y="62"/>
                </a:cxn>
                <a:cxn ang="0">
                  <a:pos x="38" y="50"/>
                </a:cxn>
                <a:cxn ang="0">
                  <a:pos x="42" y="48"/>
                </a:cxn>
                <a:cxn ang="0">
                  <a:pos x="40" y="46"/>
                </a:cxn>
                <a:cxn ang="0">
                  <a:pos x="32" y="44"/>
                </a:cxn>
                <a:cxn ang="0">
                  <a:pos x="28" y="42"/>
                </a:cxn>
                <a:cxn ang="0">
                  <a:pos x="26" y="32"/>
                </a:cxn>
                <a:cxn ang="0">
                  <a:pos x="26" y="24"/>
                </a:cxn>
                <a:cxn ang="0">
                  <a:pos x="24" y="20"/>
                </a:cxn>
                <a:cxn ang="0">
                  <a:pos x="30" y="10"/>
                </a:cxn>
                <a:cxn ang="0">
                  <a:pos x="44" y="8"/>
                </a:cxn>
                <a:cxn ang="0">
                  <a:pos x="64" y="10"/>
                </a:cxn>
                <a:cxn ang="0">
                  <a:pos x="78" y="6"/>
                </a:cxn>
                <a:cxn ang="0">
                  <a:pos x="88" y="0"/>
                </a:cxn>
                <a:cxn ang="0">
                  <a:pos x="96" y="14"/>
                </a:cxn>
                <a:cxn ang="0">
                  <a:pos x="100" y="26"/>
                </a:cxn>
                <a:cxn ang="0">
                  <a:pos x="106" y="28"/>
                </a:cxn>
                <a:cxn ang="0">
                  <a:pos x="108" y="30"/>
                </a:cxn>
                <a:cxn ang="0">
                  <a:pos x="108" y="34"/>
                </a:cxn>
                <a:cxn ang="0">
                  <a:pos x="108" y="40"/>
                </a:cxn>
                <a:cxn ang="0">
                  <a:pos x="114" y="54"/>
                </a:cxn>
                <a:cxn ang="0">
                  <a:pos x="114" y="62"/>
                </a:cxn>
                <a:cxn ang="0">
                  <a:pos x="110" y="72"/>
                </a:cxn>
                <a:cxn ang="0">
                  <a:pos x="112" y="82"/>
                </a:cxn>
                <a:cxn ang="0">
                  <a:pos x="108" y="84"/>
                </a:cxn>
                <a:cxn ang="0">
                  <a:pos x="102" y="88"/>
                </a:cxn>
                <a:cxn ang="0">
                  <a:pos x="92" y="104"/>
                </a:cxn>
              </a:cxnLst>
              <a:rect l="0" t="0" r="r" b="b"/>
              <a:pathLst>
                <a:path w="114" h="134">
                  <a:moveTo>
                    <a:pt x="92" y="104"/>
                  </a:moveTo>
                  <a:lnTo>
                    <a:pt x="92" y="104"/>
                  </a:lnTo>
                  <a:lnTo>
                    <a:pt x="90" y="102"/>
                  </a:lnTo>
                  <a:lnTo>
                    <a:pt x="88" y="104"/>
                  </a:lnTo>
                  <a:lnTo>
                    <a:pt x="88" y="104"/>
                  </a:lnTo>
                  <a:lnTo>
                    <a:pt x="86" y="104"/>
                  </a:lnTo>
                  <a:lnTo>
                    <a:pt x="86" y="104"/>
                  </a:lnTo>
                  <a:lnTo>
                    <a:pt x="84" y="100"/>
                  </a:lnTo>
                  <a:lnTo>
                    <a:pt x="80" y="104"/>
                  </a:lnTo>
                  <a:lnTo>
                    <a:pt x="80" y="104"/>
                  </a:lnTo>
                  <a:lnTo>
                    <a:pt x="76" y="104"/>
                  </a:lnTo>
                  <a:lnTo>
                    <a:pt x="74" y="104"/>
                  </a:lnTo>
                  <a:lnTo>
                    <a:pt x="72" y="104"/>
                  </a:lnTo>
                  <a:lnTo>
                    <a:pt x="70" y="106"/>
                  </a:lnTo>
                  <a:lnTo>
                    <a:pt x="70" y="106"/>
                  </a:lnTo>
                  <a:lnTo>
                    <a:pt x="64" y="106"/>
                  </a:lnTo>
                  <a:lnTo>
                    <a:pt x="62" y="106"/>
                  </a:lnTo>
                  <a:lnTo>
                    <a:pt x="62" y="110"/>
                  </a:lnTo>
                  <a:lnTo>
                    <a:pt x="62" y="110"/>
                  </a:lnTo>
                  <a:lnTo>
                    <a:pt x="62" y="112"/>
                  </a:lnTo>
                  <a:lnTo>
                    <a:pt x="60" y="112"/>
                  </a:lnTo>
                  <a:lnTo>
                    <a:pt x="58" y="114"/>
                  </a:lnTo>
                  <a:lnTo>
                    <a:pt x="58" y="116"/>
                  </a:lnTo>
                  <a:lnTo>
                    <a:pt x="58" y="116"/>
                  </a:lnTo>
                  <a:lnTo>
                    <a:pt x="54" y="122"/>
                  </a:lnTo>
                  <a:lnTo>
                    <a:pt x="52" y="124"/>
                  </a:lnTo>
                  <a:lnTo>
                    <a:pt x="52" y="128"/>
                  </a:lnTo>
                  <a:lnTo>
                    <a:pt x="52" y="128"/>
                  </a:lnTo>
                  <a:lnTo>
                    <a:pt x="48" y="130"/>
                  </a:lnTo>
                  <a:lnTo>
                    <a:pt x="44" y="132"/>
                  </a:lnTo>
                  <a:lnTo>
                    <a:pt x="34" y="128"/>
                  </a:lnTo>
                  <a:lnTo>
                    <a:pt x="34" y="128"/>
                  </a:lnTo>
                  <a:lnTo>
                    <a:pt x="30" y="128"/>
                  </a:lnTo>
                  <a:lnTo>
                    <a:pt x="24" y="130"/>
                  </a:lnTo>
                  <a:lnTo>
                    <a:pt x="24" y="130"/>
                  </a:lnTo>
                  <a:lnTo>
                    <a:pt x="14" y="134"/>
                  </a:lnTo>
                  <a:lnTo>
                    <a:pt x="12" y="132"/>
                  </a:lnTo>
                  <a:lnTo>
                    <a:pt x="10" y="132"/>
                  </a:lnTo>
                  <a:lnTo>
                    <a:pt x="4" y="134"/>
                  </a:lnTo>
                  <a:lnTo>
                    <a:pt x="4" y="134"/>
                  </a:lnTo>
                  <a:lnTo>
                    <a:pt x="0" y="122"/>
                  </a:lnTo>
                  <a:lnTo>
                    <a:pt x="2" y="116"/>
                  </a:lnTo>
                  <a:lnTo>
                    <a:pt x="4" y="110"/>
                  </a:lnTo>
                  <a:lnTo>
                    <a:pt x="8" y="100"/>
                  </a:lnTo>
                  <a:lnTo>
                    <a:pt x="8" y="100"/>
                  </a:lnTo>
                  <a:lnTo>
                    <a:pt x="10" y="92"/>
                  </a:lnTo>
                  <a:lnTo>
                    <a:pt x="16" y="86"/>
                  </a:lnTo>
                  <a:lnTo>
                    <a:pt x="24" y="78"/>
                  </a:lnTo>
                  <a:lnTo>
                    <a:pt x="32" y="62"/>
                  </a:lnTo>
                  <a:lnTo>
                    <a:pt x="32" y="62"/>
                  </a:lnTo>
                  <a:lnTo>
                    <a:pt x="36" y="54"/>
                  </a:lnTo>
                  <a:lnTo>
                    <a:pt x="38" y="50"/>
                  </a:lnTo>
                  <a:lnTo>
                    <a:pt x="40" y="50"/>
                  </a:lnTo>
                  <a:lnTo>
                    <a:pt x="42" y="48"/>
                  </a:lnTo>
                  <a:lnTo>
                    <a:pt x="42" y="48"/>
                  </a:lnTo>
                  <a:lnTo>
                    <a:pt x="40" y="46"/>
                  </a:lnTo>
                  <a:lnTo>
                    <a:pt x="38" y="46"/>
                  </a:lnTo>
                  <a:lnTo>
                    <a:pt x="32" y="44"/>
                  </a:lnTo>
                  <a:lnTo>
                    <a:pt x="30" y="44"/>
                  </a:lnTo>
                  <a:lnTo>
                    <a:pt x="28" y="42"/>
                  </a:lnTo>
                  <a:lnTo>
                    <a:pt x="26" y="38"/>
                  </a:lnTo>
                  <a:lnTo>
                    <a:pt x="26" y="32"/>
                  </a:lnTo>
                  <a:lnTo>
                    <a:pt x="26" y="32"/>
                  </a:lnTo>
                  <a:lnTo>
                    <a:pt x="26" y="24"/>
                  </a:lnTo>
                  <a:lnTo>
                    <a:pt x="24" y="22"/>
                  </a:lnTo>
                  <a:lnTo>
                    <a:pt x="24" y="20"/>
                  </a:lnTo>
                  <a:lnTo>
                    <a:pt x="30" y="10"/>
                  </a:lnTo>
                  <a:lnTo>
                    <a:pt x="30" y="10"/>
                  </a:lnTo>
                  <a:lnTo>
                    <a:pt x="38" y="8"/>
                  </a:lnTo>
                  <a:lnTo>
                    <a:pt x="44" y="8"/>
                  </a:lnTo>
                  <a:lnTo>
                    <a:pt x="56" y="10"/>
                  </a:lnTo>
                  <a:lnTo>
                    <a:pt x="64" y="10"/>
                  </a:lnTo>
                  <a:lnTo>
                    <a:pt x="70" y="10"/>
                  </a:lnTo>
                  <a:lnTo>
                    <a:pt x="78" y="6"/>
                  </a:lnTo>
                  <a:lnTo>
                    <a:pt x="88" y="0"/>
                  </a:lnTo>
                  <a:lnTo>
                    <a:pt x="88" y="0"/>
                  </a:lnTo>
                  <a:lnTo>
                    <a:pt x="94" y="8"/>
                  </a:lnTo>
                  <a:lnTo>
                    <a:pt x="96" y="14"/>
                  </a:lnTo>
                  <a:lnTo>
                    <a:pt x="96" y="18"/>
                  </a:lnTo>
                  <a:lnTo>
                    <a:pt x="100" y="26"/>
                  </a:lnTo>
                  <a:lnTo>
                    <a:pt x="100" y="26"/>
                  </a:lnTo>
                  <a:lnTo>
                    <a:pt x="106" y="28"/>
                  </a:lnTo>
                  <a:lnTo>
                    <a:pt x="108" y="28"/>
                  </a:lnTo>
                  <a:lnTo>
                    <a:pt x="108" y="30"/>
                  </a:lnTo>
                  <a:lnTo>
                    <a:pt x="108" y="34"/>
                  </a:lnTo>
                  <a:lnTo>
                    <a:pt x="108" y="34"/>
                  </a:lnTo>
                  <a:lnTo>
                    <a:pt x="108" y="36"/>
                  </a:lnTo>
                  <a:lnTo>
                    <a:pt x="108" y="40"/>
                  </a:lnTo>
                  <a:lnTo>
                    <a:pt x="112" y="46"/>
                  </a:lnTo>
                  <a:lnTo>
                    <a:pt x="114" y="54"/>
                  </a:lnTo>
                  <a:lnTo>
                    <a:pt x="114" y="58"/>
                  </a:lnTo>
                  <a:lnTo>
                    <a:pt x="114" y="62"/>
                  </a:lnTo>
                  <a:lnTo>
                    <a:pt x="114" y="62"/>
                  </a:lnTo>
                  <a:lnTo>
                    <a:pt x="110" y="72"/>
                  </a:lnTo>
                  <a:lnTo>
                    <a:pt x="112" y="78"/>
                  </a:lnTo>
                  <a:lnTo>
                    <a:pt x="112" y="82"/>
                  </a:lnTo>
                  <a:lnTo>
                    <a:pt x="108" y="84"/>
                  </a:lnTo>
                  <a:lnTo>
                    <a:pt x="108" y="84"/>
                  </a:lnTo>
                  <a:lnTo>
                    <a:pt x="104" y="86"/>
                  </a:lnTo>
                  <a:lnTo>
                    <a:pt x="102" y="88"/>
                  </a:lnTo>
                  <a:lnTo>
                    <a:pt x="92" y="104"/>
                  </a:lnTo>
                  <a:lnTo>
                    <a:pt x="92" y="104"/>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6" name="Freeform 42"/>
            <p:cNvSpPr>
              <a:spLocks/>
            </p:cNvSpPr>
            <p:nvPr/>
          </p:nvSpPr>
          <p:spPr bwMode="auto">
            <a:xfrm>
              <a:off x="4467455" y="3766344"/>
              <a:ext cx="37042" cy="55563"/>
            </a:xfrm>
            <a:custGeom>
              <a:avLst/>
              <a:gdLst/>
              <a:ahLst/>
              <a:cxnLst>
                <a:cxn ang="0">
                  <a:pos x="0" y="6"/>
                </a:cxn>
                <a:cxn ang="0">
                  <a:pos x="0" y="6"/>
                </a:cxn>
                <a:cxn ang="0">
                  <a:pos x="2" y="12"/>
                </a:cxn>
                <a:cxn ang="0">
                  <a:pos x="4" y="12"/>
                </a:cxn>
                <a:cxn ang="0">
                  <a:pos x="6" y="12"/>
                </a:cxn>
                <a:cxn ang="0">
                  <a:pos x="6" y="12"/>
                </a:cxn>
                <a:cxn ang="0">
                  <a:pos x="10" y="12"/>
                </a:cxn>
                <a:cxn ang="0">
                  <a:pos x="10" y="14"/>
                </a:cxn>
                <a:cxn ang="0">
                  <a:pos x="10" y="14"/>
                </a:cxn>
                <a:cxn ang="0">
                  <a:pos x="6" y="16"/>
                </a:cxn>
                <a:cxn ang="0">
                  <a:pos x="6" y="16"/>
                </a:cxn>
                <a:cxn ang="0">
                  <a:pos x="4" y="14"/>
                </a:cxn>
                <a:cxn ang="0">
                  <a:pos x="2" y="16"/>
                </a:cxn>
                <a:cxn ang="0">
                  <a:pos x="4" y="18"/>
                </a:cxn>
                <a:cxn ang="0">
                  <a:pos x="8" y="24"/>
                </a:cxn>
                <a:cxn ang="0">
                  <a:pos x="8" y="26"/>
                </a:cxn>
                <a:cxn ang="0">
                  <a:pos x="8" y="26"/>
                </a:cxn>
                <a:cxn ang="0">
                  <a:pos x="8" y="28"/>
                </a:cxn>
                <a:cxn ang="0">
                  <a:pos x="10" y="32"/>
                </a:cxn>
                <a:cxn ang="0">
                  <a:pos x="10" y="34"/>
                </a:cxn>
                <a:cxn ang="0">
                  <a:pos x="10" y="36"/>
                </a:cxn>
                <a:cxn ang="0">
                  <a:pos x="10" y="36"/>
                </a:cxn>
                <a:cxn ang="0">
                  <a:pos x="8" y="36"/>
                </a:cxn>
                <a:cxn ang="0">
                  <a:pos x="8" y="38"/>
                </a:cxn>
                <a:cxn ang="0">
                  <a:pos x="12" y="42"/>
                </a:cxn>
                <a:cxn ang="0">
                  <a:pos x="12" y="42"/>
                </a:cxn>
                <a:cxn ang="0">
                  <a:pos x="18" y="40"/>
                </a:cxn>
                <a:cxn ang="0">
                  <a:pos x="22" y="38"/>
                </a:cxn>
                <a:cxn ang="0">
                  <a:pos x="18" y="24"/>
                </a:cxn>
                <a:cxn ang="0">
                  <a:pos x="18" y="24"/>
                </a:cxn>
                <a:cxn ang="0">
                  <a:pos x="18" y="14"/>
                </a:cxn>
                <a:cxn ang="0">
                  <a:pos x="22" y="8"/>
                </a:cxn>
                <a:cxn ang="0">
                  <a:pos x="24" y="6"/>
                </a:cxn>
                <a:cxn ang="0">
                  <a:pos x="28" y="2"/>
                </a:cxn>
                <a:cxn ang="0">
                  <a:pos x="28" y="2"/>
                </a:cxn>
                <a:cxn ang="0">
                  <a:pos x="24" y="0"/>
                </a:cxn>
                <a:cxn ang="0">
                  <a:pos x="20" y="0"/>
                </a:cxn>
                <a:cxn ang="0">
                  <a:pos x="18" y="2"/>
                </a:cxn>
                <a:cxn ang="0">
                  <a:pos x="18" y="2"/>
                </a:cxn>
                <a:cxn ang="0">
                  <a:pos x="16" y="4"/>
                </a:cxn>
                <a:cxn ang="0">
                  <a:pos x="14" y="4"/>
                </a:cxn>
                <a:cxn ang="0">
                  <a:pos x="12" y="4"/>
                </a:cxn>
                <a:cxn ang="0">
                  <a:pos x="10" y="8"/>
                </a:cxn>
                <a:cxn ang="0">
                  <a:pos x="10" y="8"/>
                </a:cxn>
                <a:cxn ang="0">
                  <a:pos x="8" y="10"/>
                </a:cxn>
                <a:cxn ang="0">
                  <a:pos x="8" y="8"/>
                </a:cxn>
                <a:cxn ang="0">
                  <a:pos x="6" y="6"/>
                </a:cxn>
                <a:cxn ang="0">
                  <a:pos x="0" y="6"/>
                </a:cxn>
                <a:cxn ang="0">
                  <a:pos x="0" y="6"/>
                </a:cxn>
              </a:cxnLst>
              <a:rect l="0" t="0" r="r" b="b"/>
              <a:pathLst>
                <a:path w="28" h="42">
                  <a:moveTo>
                    <a:pt x="0" y="6"/>
                  </a:moveTo>
                  <a:lnTo>
                    <a:pt x="0" y="6"/>
                  </a:lnTo>
                  <a:lnTo>
                    <a:pt x="2" y="12"/>
                  </a:lnTo>
                  <a:lnTo>
                    <a:pt x="4" y="12"/>
                  </a:lnTo>
                  <a:lnTo>
                    <a:pt x="6" y="12"/>
                  </a:lnTo>
                  <a:lnTo>
                    <a:pt x="6" y="12"/>
                  </a:lnTo>
                  <a:lnTo>
                    <a:pt x="10" y="12"/>
                  </a:lnTo>
                  <a:lnTo>
                    <a:pt x="10" y="14"/>
                  </a:lnTo>
                  <a:lnTo>
                    <a:pt x="10" y="14"/>
                  </a:lnTo>
                  <a:lnTo>
                    <a:pt x="6" y="16"/>
                  </a:lnTo>
                  <a:lnTo>
                    <a:pt x="6" y="16"/>
                  </a:lnTo>
                  <a:lnTo>
                    <a:pt x="4" y="14"/>
                  </a:lnTo>
                  <a:lnTo>
                    <a:pt x="2" y="16"/>
                  </a:lnTo>
                  <a:lnTo>
                    <a:pt x="4" y="18"/>
                  </a:lnTo>
                  <a:lnTo>
                    <a:pt x="8" y="24"/>
                  </a:lnTo>
                  <a:lnTo>
                    <a:pt x="8" y="26"/>
                  </a:lnTo>
                  <a:lnTo>
                    <a:pt x="8" y="26"/>
                  </a:lnTo>
                  <a:lnTo>
                    <a:pt x="8" y="28"/>
                  </a:lnTo>
                  <a:lnTo>
                    <a:pt x="10" y="32"/>
                  </a:lnTo>
                  <a:lnTo>
                    <a:pt x="10" y="34"/>
                  </a:lnTo>
                  <a:lnTo>
                    <a:pt x="10" y="36"/>
                  </a:lnTo>
                  <a:lnTo>
                    <a:pt x="10" y="36"/>
                  </a:lnTo>
                  <a:lnTo>
                    <a:pt x="8" y="36"/>
                  </a:lnTo>
                  <a:lnTo>
                    <a:pt x="8" y="38"/>
                  </a:lnTo>
                  <a:lnTo>
                    <a:pt x="12" y="42"/>
                  </a:lnTo>
                  <a:lnTo>
                    <a:pt x="12" y="42"/>
                  </a:lnTo>
                  <a:lnTo>
                    <a:pt x="18" y="40"/>
                  </a:lnTo>
                  <a:lnTo>
                    <a:pt x="22" y="38"/>
                  </a:lnTo>
                  <a:lnTo>
                    <a:pt x="18" y="24"/>
                  </a:lnTo>
                  <a:lnTo>
                    <a:pt x="18" y="24"/>
                  </a:lnTo>
                  <a:lnTo>
                    <a:pt x="18" y="14"/>
                  </a:lnTo>
                  <a:lnTo>
                    <a:pt x="22" y="8"/>
                  </a:lnTo>
                  <a:lnTo>
                    <a:pt x="24" y="6"/>
                  </a:lnTo>
                  <a:lnTo>
                    <a:pt x="28" y="2"/>
                  </a:lnTo>
                  <a:lnTo>
                    <a:pt x="28" y="2"/>
                  </a:lnTo>
                  <a:lnTo>
                    <a:pt x="24" y="0"/>
                  </a:lnTo>
                  <a:lnTo>
                    <a:pt x="20" y="0"/>
                  </a:lnTo>
                  <a:lnTo>
                    <a:pt x="18" y="2"/>
                  </a:lnTo>
                  <a:lnTo>
                    <a:pt x="18" y="2"/>
                  </a:lnTo>
                  <a:lnTo>
                    <a:pt x="16" y="4"/>
                  </a:lnTo>
                  <a:lnTo>
                    <a:pt x="14" y="4"/>
                  </a:lnTo>
                  <a:lnTo>
                    <a:pt x="12" y="4"/>
                  </a:lnTo>
                  <a:lnTo>
                    <a:pt x="10" y="8"/>
                  </a:lnTo>
                  <a:lnTo>
                    <a:pt x="10" y="8"/>
                  </a:lnTo>
                  <a:lnTo>
                    <a:pt x="8" y="10"/>
                  </a:lnTo>
                  <a:lnTo>
                    <a:pt x="8" y="8"/>
                  </a:lnTo>
                  <a:lnTo>
                    <a:pt x="6" y="6"/>
                  </a:lnTo>
                  <a:lnTo>
                    <a:pt x="0" y="6"/>
                  </a:lnTo>
                  <a:lnTo>
                    <a:pt x="0" y="6"/>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7" name="Freeform 43"/>
            <p:cNvSpPr>
              <a:spLocks/>
            </p:cNvSpPr>
            <p:nvPr/>
          </p:nvSpPr>
          <p:spPr bwMode="auto">
            <a:xfrm>
              <a:off x="4398663" y="3544094"/>
              <a:ext cx="60854" cy="39688"/>
            </a:xfrm>
            <a:custGeom>
              <a:avLst/>
              <a:gdLst/>
              <a:ahLst/>
              <a:cxnLst>
                <a:cxn ang="0">
                  <a:pos x="12" y="2"/>
                </a:cxn>
                <a:cxn ang="0">
                  <a:pos x="12" y="2"/>
                </a:cxn>
                <a:cxn ang="0">
                  <a:pos x="10" y="4"/>
                </a:cxn>
                <a:cxn ang="0">
                  <a:pos x="8" y="8"/>
                </a:cxn>
                <a:cxn ang="0">
                  <a:pos x="8" y="10"/>
                </a:cxn>
                <a:cxn ang="0">
                  <a:pos x="8" y="10"/>
                </a:cxn>
                <a:cxn ang="0">
                  <a:pos x="8" y="14"/>
                </a:cxn>
                <a:cxn ang="0">
                  <a:pos x="4" y="18"/>
                </a:cxn>
                <a:cxn ang="0">
                  <a:pos x="2" y="22"/>
                </a:cxn>
                <a:cxn ang="0">
                  <a:pos x="0" y="26"/>
                </a:cxn>
                <a:cxn ang="0">
                  <a:pos x="0" y="26"/>
                </a:cxn>
                <a:cxn ang="0">
                  <a:pos x="2" y="28"/>
                </a:cxn>
                <a:cxn ang="0">
                  <a:pos x="6" y="28"/>
                </a:cxn>
                <a:cxn ang="0">
                  <a:pos x="10" y="28"/>
                </a:cxn>
                <a:cxn ang="0">
                  <a:pos x="16" y="30"/>
                </a:cxn>
                <a:cxn ang="0">
                  <a:pos x="44" y="30"/>
                </a:cxn>
                <a:cxn ang="0">
                  <a:pos x="46" y="16"/>
                </a:cxn>
                <a:cxn ang="0">
                  <a:pos x="42" y="16"/>
                </a:cxn>
                <a:cxn ang="0">
                  <a:pos x="44" y="14"/>
                </a:cxn>
                <a:cxn ang="0">
                  <a:pos x="46" y="2"/>
                </a:cxn>
                <a:cxn ang="0">
                  <a:pos x="46" y="2"/>
                </a:cxn>
                <a:cxn ang="0">
                  <a:pos x="38" y="2"/>
                </a:cxn>
                <a:cxn ang="0">
                  <a:pos x="38" y="2"/>
                </a:cxn>
                <a:cxn ang="0">
                  <a:pos x="32" y="2"/>
                </a:cxn>
                <a:cxn ang="0">
                  <a:pos x="28" y="0"/>
                </a:cxn>
                <a:cxn ang="0">
                  <a:pos x="22" y="0"/>
                </a:cxn>
                <a:cxn ang="0">
                  <a:pos x="12" y="2"/>
                </a:cxn>
                <a:cxn ang="0">
                  <a:pos x="12" y="2"/>
                </a:cxn>
              </a:cxnLst>
              <a:rect l="0" t="0" r="r" b="b"/>
              <a:pathLst>
                <a:path w="46" h="30">
                  <a:moveTo>
                    <a:pt x="12" y="2"/>
                  </a:moveTo>
                  <a:lnTo>
                    <a:pt x="12" y="2"/>
                  </a:lnTo>
                  <a:lnTo>
                    <a:pt x="10" y="4"/>
                  </a:lnTo>
                  <a:lnTo>
                    <a:pt x="8" y="8"/>
                  </a:lnTo>
                  <a:lnTo>
                    <a:pt x="8" y="10"/>
                  </a:lnTo>
                  <a:lnTo>
                    <a:pt x="8" y="10"/>
                  </a:lnTo>
                  <a:lnTo>
                    <a:pt x="8" y="14"/>
                  </a:lnTo>
                  <a:lnTo>
                    <a:pt x="4" y="18"/>
                  </a:lnTo>
                  <a:lnTo>
                    <a:pt x="2" y="22"/>
                  </a:lnTo>
                  <a:lnTo>
                    <a:pt x="0" y="26"/>
                  </a:lnTo>
                  <a:lnTo>
                    <a:pt x="0" y="26"/>
                  </a:lnTo>
                  <a:lnTo>
                    <a:pt x="2" y="28"/>
                  </a:lnTo>
                  <a:lnTo>
                    <a:pt x="6" y="28"/>
                  </a:lnTo>
                  <a:lnTo>
                    <a:pt x="10" y="28"/>
                  </a:lnTo>
                  <a:lnTo>
                    <a:pt x="16" y="30"/>
                  </a:lnTo>
                  <a:lnTo>
                    <a:pt x="44" y="30"/>
                  </a:lnTo>
                  <a:lnTo>
                    <a:pt x="46" y="16"/>
                  </a:lnTo>
                  <a:lnTo>
                    <a:pt x="42" y="16"/>
                  </a:lnTo>
                  <a:lnTo>
                    <a:pt x="44" y="14"/>
                  </a:lnTo>
                  <a:lnTo>
                    <a:pt x="46" y="2"/>
                  </a:lnTo>
                  <a:lnTo>
                    <a:pt x="46" y="2"/>
                  </a:lnTo>
                  <a:lnTo>
                    <a:pt x="38" y="2"/>
                  </a:lnTo>
                  <a:lnTo>
                    <a:pt x="38" y="2"/>
                  </a:lnTo>
                  <a:lnTo>
                    <a:pt x="32" y="2"/>
                  </a:lnTo>
                  <a:lnTo>
                    <a:pt x="28" y="0"/>
                  </a:lnTo>
                  <a:lnTo>
                    <a:pt x="22" y="0"/>
                  </a:lnTo>
                  <a:lnTo>
                    <a:pt x="12" y="2"/>
                  </a:lnTo>
                  <a:lnTo>
                    <a:pt x="12" y="2"/>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8" name="Freeform 44"/>
            <p:cNvSpPr>
              <a:spLocks/>
            </p:cNvSpPr>
            <p:nvPr/>
          </p:nvSpPr>
          <p:spPr bwMode="auto">
            <a:xfrm>
              <a:off x="4382788" y="3538802"/>
              <a:ext cx="171979" cy="209021"/>
            </a:xfrm>
            <a:custGeom>
              <a:avLst/>
              <a:gdLst/>
              <a:ahLst/>
              <a:cxnLst>
                <a:cxn ang="0">
                  <a:pos x="24" y="36"/>
                </a:cxn>
                <a:cxn ang="0">
                  <a:pos x="22" y="46"/>
                </a:cxn>
                <a:cxn ang="0">
                  <a:pos x="14" y="46"/>
                </a:cxn>
                <a:cxn ang="0">
                  <a:pos x="24" y="56"/>
                </a:cxn>
                <a:cxn ang="0">
                  <a:pos x="26" y="58"/>
                </a:cxn>
                <a:cxn ang="0">
                  <a:pos x="20" y="56"/>
                </a:cxn>
                <a:cxn ang="0">
                  <a:pos x="14" y="52"/>
                </a:cxn>
                <a:cxn ang="0">
                  <a:pos x="12" y="60"/>
                </a:cxn>
                <a:cxn ang="0">
                  <a:pos x="10" y="68"/>
                </a:cxn>
                <a:cxn ang="0">
                  <a:pos x="6" y="78"/>
                </a:cxn>
                <a:cxn ang="0">
                  <a:pos x="0" y="76"/>
                </a:cxn>
                <a:cxn ang="0">
                  <a:pos x="10" y="100"/>
                </a:cxn>
                <a:cxn ang="0">
                  <a:pos x="12" y="102"/>
                </a:cxn>
                <a:cxn ang="0">
                  <a:pos x="10" y="106"/>
                </a:cxn>
                <a:cxn ang="0">
                  <a:pos x="16" y="116"/>
                </a:cxn>
                <a:cxn ang="0">
                  <a:pos x="16" y="118"/>
                </a:cxn>
                <a:cxn ang="0">
                  <a:pos x="28" y="132"/>
                </a:cxn>
                <a:cxn ang="0">
                  <a:pos x="32" y="138"/>
                </a:cxn>
                <a:cxn ang="0">
                  <a:pos x="44" y="150"/>
                </a:cxn>
                <a:cxn ang="0">
                  <a:pos x="44" y="154"/>
                </a:cxn>
                <a:cxn ang="0">
                  <a:pos x="48" y="158"/>
                </a:cxn>
                <a:cxn ang="0">
                  <a:pos x="56" y="150"/>
                </a:cxn>
                <a:cxn ang="0">
                  <a:pos x="62" y="156"/>
                </a:cxn>
                <a:cxn ang="0">
                  <a:pos x="64" y="154"/>
                </a:cxn>
                <a:cxn ang="0">
                  <a:pos x="62" y="138"/>
                </a:cxn>
                <a:cxn ang="0">
                  <a:pos x="58" y="124"/>
                </a:cxn>
                <a:cxn ang="0">
                  <a:pos x="64" y="124"/>
                </a:cxn>
                <a:cxn ang="0">
                  <a:pos x="70" y="124"/>
                </a:cxn>
                <a:cxn ang="0">
                  <a:pos x="72" y="124"/>
                </a:cxn>
                <a:cxn ang="0">
                  <a:pos x="74" y="112"/>
                </a:cxn>
                <a:cxn ang="0">
                  <a:pos x="78" y="110"/>
                </a:cxn>
                <a:cxn ang="0">
                  <a:pos x="86" y="120"/>
                </a:cxn>
                <a:cxn ang="0">
                  <a:pos x="88" y="122"/>
                </a:cxn>
                <a:cxn ang="0">
                  <a:pos x="98" y="120"/>
                </a:cxn>
                <a:cxn ang="0">
                  <a:pos x="104" y="118"/>
                </a:cxn>
                <a:cxn ang="0">
                  <a:pos x="114" y="126"/>
                </a:cxn>
                <a:cxn ang="0">
                  <a:pos x="120" y="114"/>
                </a:cxn>
                <a:cxn ang="0">
                  <a:pos x="126" y="106"/>
                </a:cxn>
                <a:cxn ang="0">
                  <a:pos x="128" y="100"/>
                </a:cxn>
                <a:cxn ang="0">
                  <a:pos x="128" y="92"/>
                </a:cxn>
                <a:cxn ang="0">
                  <a:pos x="126" y="82"/>
                </a:cxn>
                <a:cxn ang="0">
                  <a:pos x="126" y="76"/>
                </a:cxn>
                <a:cxn ang="0">
                  <a:pos x="124" y="72"/>
                </a:cxn>
                <a:cxn ang="0">
                  <a:pos x="120" y="64"/>
                </a:cxn>
                <a:cxn ang="0">
                  <a:pos x="124" y="60"/>
                </a:cxn>
                <a:cxn ang="0">
                  <a:pos x="122" y="54"/>
                </a:cxn>
                <a:cxn ang="0">
                  <a:pos x="126" y="46"/>
                </a:cxn>
                <a:cxn ang="0">
                  <a:pos x="130" y="36"/>
                </a:cxn>
                <a:cxn ang="0">
                  <a:pos x="130" y="28"/>
                </a:cxn>
                <a:cxn ang="0">
                  <a:pos x="126" y="24"/>
                </a:cxn>
                <a:cxn ang="0">
                  <a:pos x="108" y="24"/>
                </a:cxn>
                <a:cxn ang="0">
                  <a:pos x="104" y="16"/>
                </a:cxn>
                <a:cxn ang="0">
                  <a:pos x="104" y="4"/>
                </a:cxn>
                <a:cxn ang="0">
                  <a:pos x="84" y="2"/>
                </a:cxn>
                <a:cxn ang="0">
                  <a:pos x="50" y="6"/>
                </a:cxn>
                <a:cxn ang="0">
                  <a:pos x="56" y="18"/>
                </a:cxn>
                <a:cxn ang="0">
                  <a:pos x="56" y="34"/>
                </a:cxn>
              </a:cxnLst>
              <a:rect l="0" t="0" r="r" b="b"/>
              <a:pathLst>
                <a:path w="130" h="158">
                  <a:moveTo>
                    <a:pt x="28" y="34"/>
                  </a:moveTo>
                  <a:lnTo>
                    <a:pt x="28" y="34"/>
                  </a:lnTo>
                  <a:lnTo>
                    <a:pt x="24" y="36"/>
                  </a:lnTo>
                  <a:lnTo>
                    <a:pt x="22" y="38"/>
                  </a:lnTo>
                  <a:lnTo>
                    <a:pt x="22" y="42"/>
                  </a:lnTo>
                  <a:lnTo>
                    <a:pt x="22" y="46"/>
                  </a:lnTo>
                  <a:lnTo>
                    <a:pt x="16" y="46"/>
                  </a:lnTo>
                  <a:lnTo>
                    <a:pt x="16" y="46"/>
                  </a:lnTo>
                  <a:lnTo>
                    <a:pt x="14" y="46"/>
                  </a:lnTo>
                  <a:lnTo>
                    <a:pt x="14" y="48"/>
                  </a:lnTo>
                  <a:lnTo>
                    <a:pt x="16" y="50"/>
                  </a:lnTo>
                  <a:lnTo>
                    <a:pt x="24" y="56"/>
                  </a:lnTo>
                  <a:lnTo>
                    <a:pt x="24" y="56"/>
                  </a:lnTo>
                  <a:lnTo>
                    <a:pt x="26" y="56"/>
                  </a:lnTo>
                  <a:lnTo>
                    <a:pt x="26" y="58"/>
                  </a:lnTo>
                  <a:lnTo>
                    <a:pt x="26" y="60"/>
                  </a:lnTo>
                  <a:lnTo>
                    <a:pt x="26" y="60"/>
                  </a:lnTo>
                  <a:lnTo>
                    <a:pt x="20" y="56"/>
                  </a:lnTo>
                  <a:lnTo>
                    <a:pt x="16" y="54"/>
                  </a:lnTo>
                  <a:lnTo>
                    <a:pt x="16" y="52"/>
                  </a:lnTo>
                  <a:lnTo>
                    <a:pt x="14" y="52"/>
                  </a:lnTo>
                  <a:lnTo>
                    <a:pt x="14" y="52"/>
                  </a:lnTo>
                  <a:lnTo>
                    <a:pt x="12" y="54"/>
                  </a:lnTo>
                  <a:lnTo>
                    <a:pt x="12" y="60"/>
                  </a:lnTo>
                  <a:lnTo>
                    <a:pt x="12" y="64"/>
                  </a:lnTo>
                  <a:lnTo>
                    <a:pt x="10" y="68"/>
                  </a:lnTo>
                  <a:lnTo>
                    <a:pt x="10" y="68"/>
                  </a:lnTo>
                  <a:lnTo>
                    <a:pt x="8" y="72"/>
                  </a:lnTo>
                  <a:lnTo>
                    <a:pt x="8" y="76"/>
                  </a:lnTo>
                  <a:lnTo>
                    <a:pt x="6" y="78"/>
                  </a:lnTo>
                  <a:lnTo>
                    <a:pt x="0" y="76"/>
                  </a:lnTo>
                  <a:lnTo>
                    <a:pt x="0" y="76"/>
                  </a:lnTo>
                  <a:lnTo>
                    <a:pt x="0" y="76"/>
                  </a:lnTo>
                  <a:lnTo>
                    <a:pt x="0" y="78"/>
                  </a:lnTo>
                  <a:lnTo>
                    <a:pt x="2" y="86"/>
                  </a:lnTo>
                  <a:lnTo>
                    <a:pt x="10" y="100"/>
                  </a:lnTo>
                  <a:lnTo>
                    <a:pt x="10" y="100"/>
                  </a:lnTo>
                  <a:lnTo>
                    <a:pt x="12" y="100"/>
                  </a:lnTo>
                  <a:lnTo>
                    <a:pt x="12" y="102"/>
                  </a:lnTo>
                  <a:lnTo>
                    <a:pt x="10" y="104"/>
                  </a:lnTo>
                  <a:lnTo>
                    <a:pt x="10" y="104"/>
                  </a:lnTo>
                  <a:lnTo>
                    <a:pt x="10" y="106"/>
                  </a:lnTo>
                  <a:lnTo>
                    <a:pt x="10" y="110"/>
                  </a:lnTo>
                  <a:lnTo>
                    <a:pt x="16" y="116"/>
                  </a:lnTo>
                  <a:lnTo>
                    <a:pt x="16" y="116"/>
                  </a:lnTo>
                  <a:lnTo>
                    <a:pt x="18" y="118"/>
                  </a:lnTo>
                  <a:lnTo>
                    <a:pt x="18" y="120"/>
                  </a:lnTo>
                  <a:lnTo>
                    <a:pt x="16" y="118"/>
                  </a:lnTo>
                  <a:lnTo>
                    <a:pt x="16" y="118"/>
                  </a:lnTo>
                  <a:lnTo>
                    <a:pt x="22" y="128"/>
                  </a:lnTo>
                  <a:lnTo>
                    <a:pt x="28" y="132"/>
                  </a:lnTo>
                  <a:lnTo>
                    <a:pt x="32" y="136"/>
                  </a:lnTo>
                  <a:lnTo>
                    <a:pt x="32" y="138"/>
                  </a:lnTo>
                  <a:lnTo>
                    <a:pt x="32" y="138"/>
                  </a:lnTo>
                  <a:lnTo>
                    <a:pt x="36" y="142"/>
                  </a:lnTo>
                  <a:lnTo>
                    <a:pt x="40" y="146"/>
                  </a:lnTo>
                  <a:lnTo>
                    <a:pt x="44" y="150"/>
                  </a:lnTo>
                  <a:lnTo>
                    <a:pt x="46" y="152"/>
                  </a:lnTo>
                  <a:lnTo>
                    <a:pt x="46" y="152"/>
                  </a:lnTo>
                  <a:lnTo>
                    <a:pt x="44" y="154"/>
                  </a:lnTo>
                  <a:lnTo>
                    <a:pt x="46" y="156"/>
                  </a:lnTo>
                  <a:lnTo>
                    <a:pt x="48" y="158"/>
                  </a:lnTo>
                  <a:lnTo>
                    <a:pt x="48" y="158"/>
                  </a:lnTo>
                  <a:lnTo>
                    <a:pt x="48" y="158"/>
                  </a:lnTo>
                  <a:lnTo>
                    <a:pt x="54" y="152"/>
                  </a:lnTo>
                  <a:lnTo>
                    <a:pt x="56" y="150"/>
                  </a:lnTo>
                  <a:lnTo>
                    <a:pt x="60" y="150"/>
                  </a:lnTo>
                  <a:lnTo>
                    <a:pt x="60" y="152"/>
                  </a:lnTo>
                  <a:lnTo>
                    <a:pt x="62" y="156"/>
                  </a:lnTo>
                  <a:lnTo>
                    <a:pt x="62" y="156"/>
                  </a:lnTo>
                  <a:lnTo>
                    <a:pt x="64" y="154"/>
                  </a:lnTo>
                  <a:lnTo>
                    <a:pt x="64" y="154"/>
                  </a:lnTo>
                  <a:lnTo>
                    <a:pt x="66" y="150"/>
                  </a:lnTo>
                  <a:lnTo>
                    <a:pt x="66" y="144"/>
                  </a:lnTo>
                  <a:lnTo>
                    <a:pt x="62" y="138"/>
                  </a:lnTo>
                  <a:lnTo>
                    <a:pt x="60" y="130"/>
                  </a:lnTo>
                  <a:lnTo>
                    <a:pt x="58" y="124"/>
                  </a:lnTo>
                  <a:lnTo>
                    <a:pt x="58" y="124"/>
                  </a:lnTo>
                  <a:lnTo>
                    <a:pt x="60" y="126"/>
                  </a:lnTo>
                  <a:lnTo>
                    <a:pt x="62" y="126"/>
                  </a:lnTo>
                  <a:lnTo>
                    <a:pt x="64" y="124"/>
                  </a:lnTo>
                  <a:lnTo>
                    <a:pt x="64" y="124"/>
                  </a:lnTo>
                  <a:lnTo>
                    <a:pt x="68" y="122"/>
                  </a:lnTo>
                  <a:lnTo>
                    <a:pt x="70" y="124"/>
                  </a:lnTo>
                  <a:lnTo>
                    <a:pt x="70" y="124"/>
                  </a:lnTo>
                  <a:lnTo>
                    <a:pt x="72" y="124"/>
                  </a:lnTo>
                  <a:lnTo>
                    <a:pt x="72" y="124"/>
                  </a:lnTo>
                  <a:lnTo>
                    <a:pt x="76" y="122"/>
                  </a:lnTo>
                  <a:lnTo>
                    <a:pt x="76" y="118"/>
                  </a:lnTo>
                  <a:lnTo>
                    <a:pt x="74" y="112"/>
                  </a:lnTo>
                  <a:lnTo>
                    <a:pt x="78" y="110"/>
                  </a:lnTo>
                  <a:lnTo>
                    <a:pt x="78" y="110"/>
                  </a:lnTo>
                  <a:lnTo>
                    <a:pt x="78" y="110"/>
                  </a:lnTo>
                  <a:lnTo>
                    <a:pt x="80" y="112"/>
                  </a:lnTo>
                  <a:lnTo>
                    <a:pt x="82" y="116"/>
                  </a:lnTo>
                  <a:lnTo>
                    <a:pt x="86" y="120"/>
                  </a:lnTo>
                  <a:lnTo>
                    <a:pt x="86" y="122"/>
                  </a:lnTo>
                  <a:lnTo>
                    <a:pt x="88" y="122"/>
                  </a:lnTo>
                  <a:lnTo>
                    <a:pt x="88" y="122"/>
                  </a:lnTo>
                  <a:lnTo>
                    <a:pt x="90" y="120"/>
                  </a:lnTo>
                  <a:lnTo>
                    <a:pt x="94" y="120"/>
                  </a:lnTo>
                  <a:lnTo>
                    <a:pt x="98" y="120"/>
                  </a:lnTo>
                  <a:lnTo>
                    <a:pt x="100" y="120"/>
                  </a:lnTo>
                  <a:lnTo>
                    <a:pt x="100" y="120"/>
                  </a:lnTo>
                  <a:lnTo>
                    <a:pt x="104" y="118"/>
                  </a:lnTo>
                  <a:lnTo>
                    <a:pt x="106" y="120"/>
                  </a:lnTo>
                  <a:lnTo>
                    <a:pt x="114" y="126"/>
                  </a:lnTo>
                  <a:lnTo>
                    <a:pt x="114" y="126"/>
                  </a:lnTo>
                  <a:lnTo>
                    <a:pt x="116" y="126"/>
                  </a:lnTo>
                  <a:lnTo>
                    <a:pt x="118" y="124"/>
                  </a:lnTo>
                  <a:lnTo>
                    <a:pt x="120" y="114"/>
                  </a:lnTo>
                  <a:lnTo>
                    <a:pt x="120" y="114"/>
                  </a:lnTo>
                  <a:lnTo>
                    <a:pt x="122" y="108"/>
                  </a:lnTo>
                  <a:lnTo>
                    <a:pt x="126" y="106"/>
                  </a:lnTo>
                  <a:lnTo>
                    <a:pt x="128" y="104"/>
                  </a:lnTo>
                  <a:lnTo>
                    <a:pt x="128" y="100"/>
                  </a:lnTo>
                  <a:lnTo>
                    <a:pt x="128" y="100"/>
                  </a:lnTo>
                  <a:lnTo>
                    <a:pt x="126" y="96"/>
                  </a:lnTo>
                  <a:lnTo>
                    <a:pt x="128" y="94"/>
                  </a:lnTo>
                  <a:lnTo>
                    <a:pt x="128" y="92"/>
                  </a:lnTo>
                  <a:lnTo>
                    <a:pt x="126" y="88"/>
                  </a:lnTo>
                  <a:lnTo>
                    <a:pt x="126" y="88"/>
                  </a:lnTo>
                  <a:lnTo>
                    <a:pt x="126" y="82"/>
                  </a:lnTo>
                  <a:lnTo>
                    <a:pt x="128" y="80"/>
                  </a:lnTo>
                  <a:lnTo>
                    <a:pt x="128" y="78"/>
                  </a:lnTo>
                  <a:lnTo>
                    <a:pt x="126" y="76"/>
                  </a:lnTo>
                  <a:lnTo>
                    <a:pt x="126" y="76"/>
                  </a:lnTo>
                  <a:lnTo>
                    <a:pt x="124" y="74"/>
                  </a:lnTo>
                  <a:lnTo>
                    <a:pt x="124" y="72"/>
                  </a:lnTo>
                  <a:lnTo>
                    <a:pt x="122" y="70"/>
                  </a:lnTo>
                  <a:lnTo>
                    <a:pt x="120" y="64"/>
                  </a:lnTo>
                  <a:lnTo>
                    <a:pt x="120" y="64"/>
                  </a:lnTo>
                  <a:lnTo>
                    <a:pt x="116" y="58"/>
                  </a:lnTo>
                  <a:lnTo>
                    <a:pt x="120" y="60"/>
                  </a:lnTo>
                  <a:lnTo>
                    <a:pt x="124" y="60"/>
                  </a:lnTo>
                  <a:lnTo>
                    <a:pt x="124" y="58"/>
                  </a:lnTo>
                  <a:lnTo>
                    <a:pt x="122" y="54"/>
                  </a:lnTo>
                  <a:lnTo>
                    <a:pt x="122" y="54"/>
                  </a:lnTo>
                  <a:lnTo>
                    <a:pt x="122" y="50"/>
                  </a:lnTo>
                  <a:lnTo>
                    <a:pt x="122" y="48"/>
                  </a:lnTo>
                  <a:lnTo>
                    <a:pt x="126" y="46"/>
                  </a:lnTo>
                  <a:lnTo>
                    <a:pt x="130" y="44"/>
                  </a:lnTo>
                  <a:lnTo>
                    <a:pt x="130" y="40"/>
                  </a:lnTo>
                  <a:lnTo>
                    <a:pt x="130" y="36"/>
                  </a:lnTo>
                  <a:lnTo>
                    <a:pt x="130" y="36"/>
                  </a:lnTo>
                  <a:lnTo>
                    <a:pt x="130" y="32"/>
                  </a:lnTo>
                  <a:lnTo>
                    <a:pt x="130" y="28"/>
                  </a:lnTo>
                  <a:lnTo>
                    <a:pt x="130" y="26"/>
                  </a:lnTo>
                  <a:lnTo>
                    <a:pt x="126" y="24"/>
                  </a:lnTo>
                  <a:lnTo>
                    <a:pt x="126" y="24"/>
                  </a:lnTo>
                  <a:lnTo>
                    <a:pt x="116" y="24"/>
                  </a:lnTo>
                  <a:lnTo>
                    <a:pt x="108" y="24"/>
                  </a:lnTo>
                  <a:lnTo>
                    <a:pt x="108" y="24"/>
                  </a:lnTo>
                  <a:lnTo>
                    <a:pt x="106" y="24"/>
                  </a:lnTo>
                  <a:lnTo>
                    <a:pt x="104" y="22"/>
                  </a:lnTo>
                  <a:lnTo>
                    <a:pt x="104" y="16"/>
                  </a:lnTo>
                  <a:lnTo>
                    <a:pt x="110" y="6"/>
                  </a:lnTo>
                  <a:lnTo>
                    <a:pt x="110" y="6"/>
                  </a:lnTo>
                  <a:lnTo>
                    <a:pt x="104" y="4"/>
                  </a:lnTo>
                  <a:lnTo>
                    <a:pt x="96" y="4"/>
                  </a:lnTo>
                  <a:lnTo>
                    <a:pt x="96" y="4"/>
                  </a:lnTo>
                  <a:lnTo>
                    <a:pt x="84" y="2"/>
                  </a:lnTo>
                  <a:lnTo>
                    <a:pt x="76" y="0"/>
                  </a:lnTo>
                  <a:lnTo>
                    <a:pt x="68" y="0"/>
                  </a:lnTo>
                  <a:lnTo>
                    <a:pt x="50" y="6"/>
                  </a:lnTo>
                  <a:lnTo>
                    <a:pt x="50" y="6"/>
                  </a:lnTo>
                  <a:lnTo>
                    <a:pt x="58" y="6"/>
                  </a:lnTo>
                  <a:lnTo>
                    <a:pt x="56" y="18"/>
                  </a:lnTo>
                  <a:lnTo>
                    <a:pt x="54" y="20"/>
                  </a:lnTo>
                  <a:lnTo>
                    <a:pt x="58" y="20"/>
                  </a:lnTo>
                  <a:lnTo>
                    <a:pt x="56" y="34"/>
                  </a:lnTo>
                  <a:lnTo>
                    <a:pt x="28" y="34"/>
                  </a:lnTo>
                  <a:lnTo>
                    <a:pt x="28" y="34"/>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9" name="Freeform 45"/>
            <p:cNvSpPr>
              <a:spLocks/>
            </p:cNvSpPr>
            <p:nvPr/>
          </p:nvSpPr>
          <p:spPr bwMode="auto">
            <a:xfrm>
              <a:off x="4377497" y="3186906"/>
              <a:ext cx="216958" cy="367771"/>
            </a:xfrm>
            <a:custGeom>
              <a:avLst/>
              <a:gdLst/>
              <a:ahLst/>
              <a:cxnLst>
                <a:cxn ang="0">
                  <a:pos x="2" y="196"/>
                </a:cxn>
                <a:cxn ang="0">
                  <a:pos x="8" y="184"/>
                </a:cxn>
                <a:cxn ang="0">
                  <a:pos x="22" y="160"/>
                </a:cxn>
                <a:cxn ang="0">
                  <a:pos x="34" y="150"/>
                </a:cxn>
                <a:cxn ang="0">
                  <a:pos x="46" y="154"/>
                </a:cxn>
                <a:cxn ang="0">
                  <a:pos x="52" y="158"/>
                </a:cxn>
                <a:cxn ang="0">
                  <a:pos x="60" y="158"/>
                </a:cxn>
                <a:cxn ang="0">
                  <a:pos x="66" y="150"/>
                </a:cxn>
                <a:cxn ang="0">
                  <a:pos x="74" y="134"/>
                </a:cxn>
                <a:cxn ang="0">
                  <a:pos x="76" y="120"/>
                </a:cxn>
                <a:cxn ang="0">
                  <a:pos x="86" y="110"/>
                </a:cxn>
                <a:cxn ang="0">
                  <a:pos x="90" y="98"/>
                </a:cxn>
                <a:cxn ang="0">
                  <a:pos x="96" y="90"/>
                </a:cxn>
                <a:cxn ang="0">
                  <a:pos x="94" y="84"/>
                </a:cxn>
                <a:cxn ang="0">
                  <a:pos x="100" y="78"/>
                </a:cxn>
                <a:cxn ang="0">
                  <a:pos x="100" y="64"/>
                </a:cxn>
                <a:cxn ang="0">
                  <a:pos x="116" y="30"/>
                </a:cxn>
                <a:cxn ang="0">
                  <a:pos x="126" y="12"/>
                </a:cxn>
                <a:cxn ang="0">
                  <a:pos x="122" y="2"/>
                </a:cxn>
                <a:cxn ang="0">
                  <a:pos x="130" y="0"/>
                </a:cxn>
                <a:cxn ang="0">
                  <a:pos x="134" y="30"/>
                </a:cxn>
                <a:cxn ang="0">
                  <a:pos x="152" y="66"/>
                </a:cxn>
                <a:cxn ang="0">
                  <a:pos x="138" y="66"/>
                </a:cxn>
                <a:cxn ang="0">
                  <a:pos x="128" y="68"/>
                </a:cxn>
                <a:cxn ang="0">
                  <a:pos x="118" y="72"/>
                </a:cxn>
                <a:cxn ang="0">
                  <a:pos x="126" y="90"/>
                </a:cxn>
                <a:cxn ang="0">
                  <a:pos x="148" y="122"/>
                </a:cxn>
                <a:cxn ang="0">
                  <a:pos x="142" y="142"/>
                </a:cxn>
                <a:cxn ang="0">
                  <a:pos x="128" y="184"/>
                </a:cxn>
                <a:cxn ang="0">
                  <a:pos x="128" y="204"/>
                </a:cxn>
                <a:cxn ang="0">
                  <a:pos x="146" y="228"/>
                </a:cxn>
                <a:cxn ang="0">
                  <a:pos x="164" y="244"/>
                </a:cxn>
                <a:cxn ang="0">
                  <a:pos x="162" y="260"/>
                </a:cxn>
                <a:cxn ang="0">
                  <a:pos x="162" y="278"/>
                </a:cxn>
                <a:cxn ang="0">
                  <a:pos x="144" y="274"/>
                </a:cxn>
                <a:cxn ang="0">
                  <a:pos x="128" y="272"/>
                </a:cxn>
                <a:cxn ang="0">
                  <a:pos x="108" y="270"/>
                </a:cxn>
                <a:cxn ang="0">
                  <a:pos x="80" y="266"/>
                </a:cxn>
                <a:cxn ang="0">
                  <a:pos x="48" y="272"/>
                </a:cxn>
                <a:cxn ang="0">
                  <a:pos x="28" y="272"/>
                </a:cxn>
                <a:cxn ang="0">
                  <a:pos x="28" y="250"/>
                </a:cxn>
                <a:cxn ang="0">
                  <a:pos x="26" y="236"/>
                </a:cxn>
                <a:cxn ang="0">
                  <a:pos x="20" y="230"/>
                </a:cxn>
                <a:cxn ang="0">
                  <a:pos x="28" y="228"/>
                </a:cxn>
                <a:cxn ang="0">
                  <a:pos x="26" y="224"/>
                </a:cxn>
                <a:cxn ang="0">
                  <a:pos x="22" y="222"/>
                </a:cxn>
                <a:cxn ang="0">
                  <a:pos x="16" y="224"/>
                </a:cxn>
                <a:cxn ang="0">
                  <a:pos x="8" y="212"/>
                </a:cxn>
                <a:cxn ang="0">
                  <a:pos x="4" y="212"/>
                </a:cxn>
              </a:cxnLst>
              <a:rect l="0" t="0" r="r" b="b"/>
              <a:pathLst>
                <a:path w="164" h="278">
                  <a:moveTo>
                    <a:pt x="4" y="212"/>
                  </a:moveTo>
                  <a:lnTo>
                    <a:pt x="4" y="212"/>
                  </a:lnTo>
                  <a:lnTo>
                    <a:pt x="0" y="200"/>
                  </a:lnTo>
                  <a:lnTo>
                    <a:pt x="2" y="196"/>
                  </a:lnTo>
                  <a:lnTo>
                    <a:pt x="6" y="192"/>
                  </a:lnTo>
                  <a:lnTo>
                    <a:pt x="6" y="192"/>
                  </a:lnTo>
                  <a:lnTo>
                    <a:pt x="10" y="188"/>
                  </a:lnTo>
                  <a:lnTo>
                    <a:pt x="8" y="184"/>
                  </a:lnTo>
                  <a:lnTo>
                    <a:pt x="10" y="178"/>
                  </a:lnTo>
                  <a:lnTo>
                    <a:pt x="18" y="168"/>
                  </a:lnTo>
                  <a:lnTo>
                    <a:pt x="18" y="168"/>
                  </a:lnTo>
                  <a:lnTo>
                    <a:pt x="22" y="160"/>
                  </a:lnTo>
                  <a:lnTo>
                    <a:pt x="24" y="156"/>
                  </a:lnTo>
                  <a:lnTo>
                    <a:pt x="28" y="152"/>
                  </a:lnTo>
                  <a:lnTo>
                    <a:pt x="34" y="150"/>
                  </a:lnTo>
                  <a:lnTo>
                    <a:pt x="34" y="150"/>
                  </a:lnTo>
                  <a:lnTo>
                    <a:pt x="40" y="150"/>
                  </a:lnTo>
                  <a:lnTo>
                    <a:pt x="42" y="152"/>
                  </a:lnTo>
                  <a:lnTo>
                    <a:pt x="44" y="154"/>
                  </a:lnTo>
                  <a:lnTo>
                    <a:pt x="46" y="154"/>
                  </a:lnTo>
                  <a:lnTo>
                    <a:pt x="46" y="154"/>
                  </a:lnTo>
                  <a:lnTo>
                    <a:pt x="50" y="154"/>
                  </a:lnTo>
                  <a:lnTo>
                    <a:pt x="50" y="156"/>
                  </a:lnTo>
                  <a:lnTo>
                    <a:pt x="52" y="158"/>
                  </a:lnTo>
                  <a:lnTo>
                    <a:pt x="56" y="160"/>
                  </a:lnTo>
                  <a:lnTo>
                    <a:pt x="56" y="160"/>
                  </a:lnTo>
                  <a:lnTo>
                    <a:pt x="58" y="160"/>
                  </a:lnTo>
                  <a:lnTo>
                    <a:pt x="60" y="158"/>
                  </a:lnTo>
                  <a:lnTo>
                    <a:pt x="60" y="154"/>
                  </a:lnTo>
                  <a:lnTo>
                    <a:pt x="64" y="152"/>
                  </a:lnTo>
                  <a:lnTo>
                    <a:pt x="64" y="152"/>
                  </a:lnTo>
                  <a:lnTo>
                    <a:pt x="66" y="150"/>
                  </a:lnTo>
                  <a:lnTo>
                    <a:pt x="66" y="148"/>
                  </a:lnTo>
                  <a:lnTo>
                    <a:pt x="68" y="144"/>
                  </a:lnTo>
                  <a:lnTo>
                    <a:pt x="74" y="134"/>
                  </a:lnTo>
                  <a:lnTo>
                    <a:pt x="74" y="134"/>
                  </a:lnTo>
                  <a:lnTo>
                    <a:pt x="80" y="128"/>
                  </a:lnTo>
                  <a:lnTo>
                    <a:pt x="80" y="124"/>
                  </a:lnTo>
                  <a:lnTo>
                    <a:pt x="78" y="124"/>
                  </a:lnTo>
                  <a:lnTo>
                    <a:pt x="76" y="120"/>
                  </a:lnTo>
                  <a:lnTo>
                    <a:pt x="76" y="120"/>
                  </a:lnTo>
                  <a:lnTo>
                    <a:pt x="80" y="116"/>
                  </a:lnTo>
                  <a:lnTo>
                    <a:pt x="82" y="112"/>
                  </a:lnTo>
                  <a:lnTo>
                    <a:pt x="86" y="110"/>
                  </a:lnTo>
                  <a:lnTo>
                    <a:pt x="88" y="106"/>
                  </a:lnTo>
                  <a:lnTo>
                    <a:pt x="88" y="106"/>
                  </a:lnTo>
                  <a:lnTo>
                    <a:pt x="88" y="100"/>
                  </a:lnTo>
                  <a:lnTo>
                    <a:pt x="90" y="98"/>
                  </a:lnTo>
                  <a:lnTo>
                    <a:pt x="92" y="98"/>
                  </a:lnTo>
                  <a:lnTo>
                    <a:pt x="96" y="94"/>
                  </a:lnTo>
                  <a:lnTo>
                    <a:pt x="96" y="94"/>
                  </a:lnTo>
                  <a:lnTo>
                    <a:pt x="96" y="90"/>
                  </a:lnTo>
                  <a:lnTo>
                    <a:pt x="94" y="88"/>
                  </a:lnTo>
                  <a:lnTo>
                    <a:pt x="94" y="86"/>
                  </a:lnTo>
                  <a:lnTo>
                    <a:pt x="94" y="84"/>
                  </a:lnTo>
                  <a:lnTo>
                    <a:pt x="94" y="84"/>
                  </a:lnTo>
                  <a:lnTo>
                    <a:pt x="96" y="80"/>
                  </a:lnTo>
                  <a:lnTo>
                    <a:pt x="98" y="80"/>
                  </a:lnTo>
                  <a:lnTo>
                    <a:pt x="98" y="80"/>
                  </a:lnTo>
                  <a:lnTo>
                    <a:pt x="100" y="78"/>
                  </a:lnTo>
                  <a:lnTo>
                    <a:pt x="100" y="78"/>
                  </a:lnTo>
                  <a:lnTo>
                    <a:pt x="100" y="74"/>
                  </a:lnTo>
                  <a:lnTo>
                    <a:pt x="100" y="72"/>
                  </a:lnTo>
                  <a:lnTo>
                    <a:pt x="100" y="64"/>
                  </a:lnTo>
                  <a:lnTo>
                    <a:pt x="110" y="42"/>
                  </a:lnTo>
                  <a:lnTo>
                    <a:pt x="110" y="42"/>
                  </a:lnTo>
                  <a:lnTo>
                    <a:pt x="114" y="32"/>
                  </a:lnTo>
                  <a:lnTo>
                    <a:pt x="116" y="30"/>
                  </a:lnTo>
                  <a:lnTo>
                    <a:pt x="120" y="28"/>
                  </a:lnTo>
                  <a:lnTo>
                    <a:pt x="124" y="20"/>
                  </a:lnTo>
                  <a:lnTo>
                    <a:pt x="124" y="20"/>
                  </a:lnTo>
                  <a:lnTo>
                    <a:pt x="126" y="12"/>
                  </a:lnTo>
                  <a:lnTo>
                    <a:pt x="124" y="10"/>
                  </a:lnTo>
                  <a:lnTo>
                    <a:pt x="124" y="10"/>
                  </a:lnTo>
                  <a:lnTo>
                    <a:pt x="122" y="8"/>
                  </a:lnTo>
                  <a:lnTo>
                    <a:pt x="122" y="2"/>
                  </a:lnTo>
                  <a:lnTo>
                    <a:pt x="122" y="2"/>
                  </a:lnTo>
                  <a:lnTo>
                    <a:pt x="126" y="2"/>
                  </a:lnTo>
                  <a:lnTo>
                    <a:pt x="130" y="0"/>
                  </a:lnTo>
                  <a:lnTo>
                    <a:pt x="130" y="0"/>
                  </a:lnTo>
                  <a:lnTo>
                    <a:pt x="130" y="12"/>
                  </a:lnTo>
                  <a:lnTo>
                    <a:pt x="132" y="16"/>
                  </a:lnTo>
                  <a:lnTo>
                    <a:pt x="134" y="18"/>
                  </a:lnTo>
                  <a:lnTo>
                    <a:pt x="134" y="30"/>
                  </a:lnTo>
                  <a:lnTo>
                    <a:pt x="134" y="30"/>
                  </a:lnTo>
                  <a:lnTo>
                    <a:pt x="134" y="40"/>
                  </a:lnTo>
                  <a:lnTo>
                    <a:pt x="136" y="50"/>
                  </a:lnTo>
                  <a:lnTo>
                    <a:pt x="152" y="66"/>
                  </a:lnTo>
                  <a:lnTo>
                    <a:pt x="152" y="66"/>
                  </a:lnTo>
                  <a:lnTo>
                    <a:pt x="148" y="68"/>
                  </a:lnTo>
                  <a:lnTo>
                    <a:pt x="146" y="68"/>
                  </a:lnTo>
                  <a:lnTo>
                    <a:pt x="138" y="66"/>
                  </a:lnTo>
                  <a:lnTo>
                    <a:pt x="138" y="66"/>
                  </a:lnTo>
                  <a:lnTo>
                    <a:pt x="140" y="68"/>
                  </a:lnTo>
                  <a:lnTo>
                    <a:pt x="138" y="70"/>
                  </a:lnTo>
                  <a:lnTo>
                    <a:pt x="128" y="68"/>
                  </a:lnTo>
                  <a:lnTo>
                    <a:pt x="128" y="68"/>
                  </a:lnTo>
                  <a:lnTo>
                    <a:pt x="122" y="68"/>
                  </a:lnTo>
                  <a:lnTo>
                    <a:pt x="118" y="70"/>
                  </a:lnTo>
                  <a:lnTo>
                    <a:pt x="118" y="72"/>
                  </a:lnTo>
                  <a:lnTo>
                    <a:pt x="120" y="78"/>
                  </a:lnTo>
                  <a:lnTo>
                    <a:pt x="120" y="78"/>
                  </a:lnTo>
                  <a:lnTo>
                    <a:pt x="124" y="86"/>
                  </a:lnTo>
                  <a:lnTo>
                    <a:pt x="126" y="90"/>
                  </a:lnTo>
                  <a:lnTo>
                    <a:pt x="130" y="92"/>
                  </a:lnTo>
                  <a:lnTo>
                    <a:pt x="136" y="102"/>
                  </a:lnTo>
                  <a:lnTo>
                    <a:pt x="136" y="102"/>
                  </a:lnTo>
                  <a:lnTo>
                    <a:pt x="148" y="122"/>
                  </a:lnTo>
                  <a:lnTo>
                    <a:pt x="150" y="128"/>
                  </a:lnTo>
                  <a:lnTo>
                    <a:pt x="148" y="134"/>
                  </a:lnTo>
                  <a:lnTo>
                    <a:pt x="148" y="134"/>
                  </a:lnTo>
                  <a:lnTo>
                    <a:pt x="142" y="142"/>
                  </a:lnTo>
                  <a:lnTo>
                    <a:pt x="138" y="150"/>
                  </a:lnTo>
                  <a:lnTo>
                    <a:pt x="134" y="170"/>
                  </a:lnTo>
                  <a:lnTo>
                    <a:pt x="134" y="170"/>
                  </a:lnTo>
                  <a:lnTo>
                    <a:pt x="128" y="184"/>
                  </a:lnTo>
                  <a:lnTo>
                    <a:pt x="124" y="190"/>
                  </a:lnTo>
                  <a:lnTo>
                    <a:pt x="124" y="194"/>
                  </a:lnTo>
                  <a:lnTo>
                    <a:pt x="128" y="204"/>
                  </a:lnTo>
                  <a:lnTo>
                    <a:pt x="128" y="204"/>
                  </a:lnTo>
                  <a:lnTo>
                    <a:pt x="132" y="214"/>
                  </a:lnTo>
                  <a:lnTo>
                    <a:pt x="136" y="216"/>
                  </a:lnTo>
                  <a:lnTo>
                    <a:pt x="140" y="220"/>
                  </a:lnTo>
                  <a:lnTo>
                    <a:pt x="146" y="228"/>
                  </a:lnTo>
                  <a:lnTo>
                    <a:pt x="146" y="228"/>
                  </a:lnTo>
                  <a:lnTo>
                    <a:pt x="154" y="238"/>
                  </a:lnTo>
                  <a:lnTo>
                    <a:pt x="160" y="242"/>
                  </a:lnTo>
                  <a:lnTo>
                    <a:pt x="164" y="244"/>
                  </a:lnTo>
                  <a:lnTo>
                    <a:pt x="162" y="250"/>
                  </a:lnTo>
                  <a:lnTo>
                    <a:pt x="162" y="250"/>
                  </a:lnTo>
                  <a:lnTo>
                    <a:pt x="162" y="254"/>
                  </a:lnTo>
                  <a:lnTo>
                    <a:pt x="162" y="260"/>
                  </a:lnTo>
                  <a:lnTo>
                    <a:pt x="162" y="260"/>
                  </a:lnTo>
                  <a:lnTo>
                    <a:pt x="164" y="274"/>
                  </a:lnTo>
                  <a:lnTo>
                    <a:pt x="164" y="276"/>
                  </a:lnTo>
                  <a:lnTo>
                    <a:pt x="162" y="278"/>
                  </a:lnTo>
                  <a:lnTo>
                    <a:pt x="158" y="276"/>
                  </a:lnTo>
                  <a:lnTo>
                    <a:pt x="152" y="274"/>
                  </a:lnTo>
                  <a:lnTo>
                    <a:pt x="152" y="274"/>
                  </a:lnTo>
                  <a:lnTo>
                    <a:pt x="144" y="274"/>
                  </a:lnTo>
                  <a:lnTo>
                    <a:pt x="138" y="274"/>
                  </a:lnTo>
                  <a:lnTo>
                    <a:pt x="138" y="274"/>
                  </a:lnTo>
                  <a:lnTo>
                    <a:pt x="132" y="274"/>
                  </a:lnTo>
                  <a:lnTo>
                    <a:pt x="128" y="272"/>
                  </a:lnTo>
                  <a:lnTo>
                    <a:pt x="122" y="272"/>
                  </a:lnTo>
                  <a:lnTo>
                    <a:pt x="114" y="272"/>
                  </a:lnTo>
                  <a:lnTo>
                    <a:pt x="114" y="272"/>
                  </a:lnTo>
                  <a:lnTo>
                    <a:pt x="108" y="270"/>
                  </a:lnTo>
                  <a:lnTo>
                    <a:pt x="100" y="270"/>
                  </a:lnTo>
                  <a:lnTo>
                    <a:pt x="100" y="270"/>
                  </a:lnTo>
                  <a:lnTo>
                    <a:pt x="88" y="268"/>
                  </a:lnTo>
                  <a:lnTo>
                    <a:pt x="80" y="266"/>
                  </a:lnTo>
                  <a:lnTo>
                    <a:pt x="72" y="266"/>
                  </a:lnTo>
                  <a:lnTo>
                    <a:pt x="54" y="272"/>
                  </a:lnTo>
                  <a:lnTo>
                    <a:pt x="54" y="272"/>
                  </a:lnTo>
                  <a:lnTo>
                    <a:pt x="48" y="272"/>
                  </a:lnTo>
                  <a:lnTo>
                    <a:pt x="44" y="270"/>
                  </a:lnTo>
                  <a:lnTo>
                    <a:pt x="38" y="270"/>
                  </a:lnTo>
                  <a:lnTo>
                    <a:pt x="28" y="272"/>
                  </a:lnTo>
                  <a:lnTo>
                    <a:pt x="28" y="272"/>
                  </a:lnTo>
                  <a:lnTo>
                    <a:pt x="28" y="258"/>
                  </a:lnTo>
                  <a:lnTo>
                    <a:pt x="28" y="254"/>
                  </a:lnTo>
                  <a:lnTo>
                    <a:pt x="28" y="250"/>
                  </a:lnTo>
                  <a:lnTo>
                    <a:pt x="28" y="250"/>
                  </a:lnTo>
                  <a:lnTo>
                    <a:pt x="30" y="244"/>
                  </a:lnTo>
                  <a:lnTo>
                    <a:pt x="28" y="240"/>
                  </a:lnTo>
                  <a:lnTo>
                    <a:pt x="26" y="238"/>
                  </a:lnTo>
                  <a:lnTo>
                    <a:pt x="26" y="236"/>
                  </a:lnTo>
                  <a:lnTo>
                    <a:pt x="26" y="236"/>
                  </a:lnTo>
                  <a:lnTo>
                    <a:pt x="26" y="234"/>
                  </a:lnTo>
                  <a:lnTo>
                    <a:pt x="22" y="232"/>
                  </a:lnTo>
                  <a:lnTo>
                    <a:pt x="20" y="230"/>
                  </a:lnTo>
                  <a:lnTo>
                    <a:pt x="24" y="230"/>
                  </a:lnTo>
                  <a:lnTo>
                    <a:pt x="24" y="230"/>
                  </a:lnTo>
                  <a:lnTo>
                    <a:pt x="28" y="230"/>
                  </a:lnTo>
                  <a:lnTo>
                    <a:pt x="28" y="228"/>
                  </a:lnTo>
                  <a:lnTo>
                    <a:pt x="26" y="226"/>
                  </a:lnTo>
                  <a:lnTo>
                    <a:pt x="26" y="226"/>
                  </a:lnTo>
                  <a:lnTo>
                    <a:pt x="26" y="224"/>
                  </a:lnTo>
                  <a:lnTo>
                    <a:pt x="26" y="224"/>
                  </a:lnTo>
                  <a:lnTo>
                    <a:pt x="28" y="222"/>
                  </a:lnTo>
                  <a:lnTo>
                    <a:pt x="26" y="224"/>
                  </a:lnTo>
                  <a:lnTo>
                    <a:pt x="24" y="224"/>
                  </a:lnTo>
                  <a:lnTo>
                    <a:pt x="22" y="222"/>
                  </a:lnTo>
                  <a:lnTo>
                    <a:pt x="22" y="222"/>
                  </a:lnTo>
                  <a:lnTo>
                    <a:pt x="22" y="224"/>
                  </a:lnTo>
                  <a:lnTo>
                    <a:pt x="20" y="226"/>
                  </a:lnTo>
                  <a:lnTo>
                    <a:pt x="16" y="224"/>
                  </a:lnTo>
                  <a:lnTo>
                    <a:pt x="16" y="224"/>
                  </a:lnTo>
                  <a:lnTo>
                    <a:pt x="10" y="218"/>
                  </a:lnTo>
                  <a:lnTo>
                    <a:pt x="8" y="214"/>
                  </a:lnTo>
                  <a:lnTo>
                    <a:pt x="8" y="212"/>
                  </a:lnTo>
                  <a:lnTo>
                    <a:pt x="6" y="214"/>
                  </a:lnTo>
                  <a:lnTo>
                    <a:pt x="6" y="214"/>
                  </a:lnTo>
                  <a:lnTo>
                    <a:pt x="6" y="214"/>
                  </a:lnTo>
                  <a:lnTo>
                    <a:pt x="4" y="212"/>
                  </a:lnTo>
                  <a:lnTo>
                    <a:pt x="4" y="212"/>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0" name="Freeform 46"/>
            <p:cNvSpPr>
              <a:spLocks/>
            </p:cNvSpPr>
            <p:nvPr/>
          </p:nvSpPr>
          <p:spPr bwMode="auto">
            <a:xfrm>
              <a:off x="4446288" y="3488531"/>
              <a:ext cx="219604" cy="296333"/>
            </a:xfrm>
            <a:custGeom>
              <a:avLst/>
              <a:gdLst/>
              <a:ahLst/>
              <a:cxnLst>
                <a:cxn ang="0">
                  <a:pos x="70" y="44"/>
                </a:cxn>
                <a:cxn ang="0">
                  <a:pos x="86" y="46"/>
                </a:cxn>
                <a:cxn ang="0">
                  <a:pos x="100" y="46"/>
                </a:cxn>
                <a:cxn ang="0">
                  <a:pos x="110" y="50"/>
                </a:cxn>
                <a:cxn ang="0">
                  <a:pos x="110" y="32"/>
                </a:cxn>
                <a:cxn ang="0">
                  <a:pos x="120" y="20"/>
                </a:cxn>
                <a:cxn ang="0">
                  <a:pos x="126" y="0"/>
                </a:cxn>
                <a:cxn ang="0">
                  <a:pos x="148" y="0"/>
                </a:cxn>
                <a:cxn ang="0">
                  <a:pos x="164" y="16"/>
                </a:cxn>
                <a:cxn ang="0">
                  <a:pos x="160" y="34"/>
                </a:cxn>
                <a:cxn ang="0">
                  <a:pos x="158" y="42"/>
                </a:cxn>
                <a:cxn ang="0">
                  <a:pos x="154" y="70"/>
                </a:cxn>
                <a:cxn ang="0">
                  <a:pos x="152" y="98"/>
                </a:cxn>
                <a:cxn ang="0">
                  <a:pos x="138" y="124"/>
                </a:cxn>
                <a:cxn ang="0">
                  <a:pos x="126" y="134"/>
                </a:cxn>
                <a:cxn ang="0">
                  <a:pos x="120" y="160"/>
                </a:cxn>
                <a:cxn ang="0">
                  <a:pos x="112" y="188"/>
                </a:cxn>
                <a:cxn ang="0">
                  <a:pos x="100" y="200"/>
                </a:cxn>
                <a:cxn ang="0">
                  <a:pos x="86" y="216"/>
                </a:cxn>
                <a:cxn ang="0">
                  <a:pos x="80" y="224"/>
                </a:cxn>
                <a:cxn ang="0">
                  <a:pos x="74" y="214"/>
                </a:cxn>
                <a:cxn ang="0">
                  <a:pos x="66" y="214"/>
                </a:cxn>
                <a:cxn ang="0">
                  <a:pos x="60" y="216"/>
                </a:cxn>
                <a:cxn ang="0">
                  <a:pos x="52" y="218"/>
                </a:cxn>
                <a:cxn ang="0">
                  <a:pos x="40" y="210"/>
                </a:cxn>
                <a:cxn ang="0">
                  <a:pos x="34" y="212"/>
                </a:cxn>
                <a:cxn ang="0">
                  <a:pos x="28" y="214"/>
                </a:cxn>
                <a:cxn ang="0">
                  <a:pos x="24" y="220"/>
                </a:cxn>
                <a:cxn ang="0">
                  <a:pos x="16" y="216"/>
                </a:cxn>
                <a:cxn ang="0">
                  <a:pos x="2" y="200"/>
                </a:cxn>
                <a:cxn ang="0">
                  <a:pos x="0" y="196"/>
                </a:cxn>
                <a:cxn ang="0">
                  <a:pos x="12" y="188"/>
                </a:cxn>
                <a:cxn ang="0">
                  <a:pos x="14" y="194"/>
                </a:cxn>
                <a:cxn ang="0">
                  <a:pos x="18" y="188"/>
                </a:cxn>
                <a:cxn ang="0">
                  <a:pos x="12" y="168"/>
                </a:cxn>
                <a:cxn ang="0">
                  <a:pos x="12" y="164"/>
                </a:cxn>
                <a:cxn ang="0">
                  <a:pos x="16" y="162"/>
                </a:cxn>
                <a:cxn ang="0">
                  <a:pos x="22" y="162"/>
                </a:cxn>
                <a:cxn ang="0">
                  <a:pos x="28" y="160"/>
                </a:cxn>
                <a:cxn ang="0">
                  <a:pos x="30" y="148"/>
                </a:cxn>
                <a:cxn ang="0">
                  <a:pos x="32" y="150"/>
                </a:cxn>
                <a:cxn ang="0">
                  <a:pos x="38" y="160"/>
                </a:cxn>
                <a:cxn ang="0">
                  <a:pos x="42" y="158"/>
                </a:cxn>
                <a:cxn ang="0">
                  <a:pos x="52" y="158"/>
                </a:cxn>
                <a:cxn ang="0">
                  <a:pos x="58" y="158"/>
                </a:cxn>
                <a:cxn ang="0">
                  <a:pos x="68" y="164"/>
                </a:cxn>
                <a:cxn ang="0">
                  <a:pos x="72" y="152"/>
                </a:cxn>
                <a:cxn ang="0">
                  <a:pos x="80" y="142"/>
                </a:cxn>
                <a:cxn ang="0">
                  <a:pos x="78" y="134"/>
                </a:cxn>
                <a:cxn ang="0">
                  <a:pos x="78" y="126"/>
                </a:cxn>
                <a:cxn ang="0">
                  <a:pos x="80" y="118"/>
                </a:cxn>
                <a:cxn ang="0">
                  <a:pos x="78" y="114"/>
                </a:cxn>
                <a:cxn ang="0">
                  <a:pos x="74" y="108"/>
                </a:cxn>
                <a:cxn ang="0">
                  <a:pos x="68" y="96"/>
                </a:cxn>
                <a:cxn ang="0">
                  <a:pos x="76" y="96"/>
                </a:cxn>
                <a:cxn ang="0">
                  <a:pos x="74" y="88"/>
                </a:cxn>
                <a:cxn ang="0">
                  <a:pos x="82" y="82"/>
                </a:cxn>
                <a:cxn ang="0">
                  <a:pos x="82" y="74"/>
                </a:cxn>
                <a:cxn ang="0">
                  <a:pos x="82" y="64"/>
                </a:cxn>
                <a:cxn ang="0">
                  <a:pos x="68" y="62"/>
                </a:cxn>
                <a:cxn ang="0">
                  <a:pos x="58" y="62"/>
                </a:cxn>
                <a:cxn ang="0">
                  <a:pos x="62" y="44"/>
                </a:cxn>
              </a:cxnLst>
              <a:rect l="0" t="0" r="r" b="b"/>
              <a:pathLst>
                <a:path w="166" h="224">
                  <a:moveTo>
                    <a:pt x="62" y="44"/>
                  </a:moveTo>
                  <a:lnTo>
                    <a:pt x="62" y="44"/>
                  </a:lnTo>
                  <a:lnTo>
                    <a:pt x="70" y="44"/>
                  </a:lnTo>
                  <a:lnTo>
                    <a:pt x="76" y="44"/>
                  </a:lnTo>
                  <a:lnTo>
                    <a:pt x="80" y="46"/>
                  </a:lnTo>
                  <a:lnTo>
                    <a:pt x="86" y="46"/>
                  </a:lnTo>
                  <a:lnTo>
                    <a:pt x="86" y="46"/>
                  </a:lnTo>
                  <a:lnTo>
                    <a:pt x="92" y="46"/>
                  </a:lnTo>
                  <a:lnTo>
                    <a:pt x="100" y="46"/>
                  </a:lnTo>
                  <a:lnTo>
                    <a:pt x="100" y="46"/>
                  </a:lnTo>
                  <a:lnTo>
                    <a:pt x="106" y="48"/>
                  </a:lnTo>
                  <a:lnTo>
                    <a:pt x="110" y="50"/>
                  </a:lnTo>
                  <a:lnTo>
                    <a:pt x="112" y="48"/>
                  </a:lnTo>
                  <a:lnTo>
                    <a:pt x="112" y="46"/>
                  </a:lnTo>
                  <a:lnTo>
                    <a:pt x="110" y="32"/>
                  </a:lnTo>
                  <a:lnTo>
                    <a:pt x="110" y="32"/>
                  </a:lnTo>
                  <a:lnTo>
                    <a:pt x="116" y="26"/>
                  </a:lnTo>
                  <a:lnTo>
                    <a:pt x="120" y="20"/>
                  </a:lnTo>
                  <a:lnTo>
                    <a:pt x="122" y="10"/>
                  </a:lnTo>
                  <a:lnTo>
                    <a:pt x="124" y="2"/>
                  </a:lnTo>
                  <a:lnTo>
                    <a:pt x="126" y="0"/>
                  </a:lnTo>
                  <a:lnTo>
                    <a:pt x="128" y="0"/>
                  </a:lnTo>
                  <a:lnTo>
                    <a:pt x="128" y="0"/>
                  </a:lnTo>
                  <a:lnTo>
                    <a:pt x="148" y="0"/>
                  </a:lnTo>
                  <a:lnTo>
                    <a:pt x="166" y="0"/>
                  </a:lnTo>
                  <a:lnTo>
                    <a:pt x="166" y="0"/>
                  </a:lnTo>
                  <a:lnTo>
                    <a:pt x="164" y="16"/>
                  </a:lnTo>
                  <a:lnTo>
                    <a:pt x="160" y="24"/>
                  </a:lnTo>
                  <a:lnTo>
                    <a:pt x="158" y="28"/>
                  </a:lnTo>
                  <a:lnTo>
                    <a:pt x="160" y="34"/>
                  </a:lnTo>
                  <a:lnTo>
                    <a:pt x="160" y="34"/>
                  </a:lnTo>
                  <a:lnTo>
                    <a:pt x="160" y="38"/>
                  </a:lnTo>
                  <a:lnTo>
                    <a:pt x="158" y="42"/>
                  </a:lnTo>
                  <a:lnTo>
                    <a:pt x="156" y="50"/>
                  </a:lnTo>
                  <a:lnTo>
                    <a:pt x="154" y="70"/>
                  </a:lnTo>
                  <a:lnTo>
                    <a:pt x="154" y="70"/>
                  </a:lnTo>
                  <a:lnTo>
                    <a:pt x="152" y="84"/>
                  </a:lnTo>
                  <a:lnTo>
                    <a:pt x="154" y="92"/>
                  </a:lnTo>
                  <a:lnTo>
                    <a:pt x="152" y="98"/>
                  </a:lnTo>
                  <a:lnTo>
                    <a:pt x="148" y="108"/>
                  </a:lnTo>
                  <a:lnTo>
                    <a:pt x="148" y="108"/>
                  </a:lnTo>
                  <a:lnTo>
                    <a:pt x="138" y="124"/>
                  </a:lnTo>
                  <a:lnTo>
                    <a:pt x="134" y="128"/>
                  </a:lnTo>
                  <a:lnTo>
                    <a:pt x="130" y="130"/>
                  </a:lnTo>
                  <a:lnTo>
                    <a:pt x="126" y="134"/>
                  </a:lnTo>
                  <a:lnTo>
                    <a:pt x="126" y="134"/>
                  </a:lnTo>
                  <a:lnTo>
                    <a:pt x="122" y="146"/>
                  </a:lnTo>
                  <a:lnTo>
                    <a:pt x="120" y="160"/>
                  </a:lnTo>
                  <a:lnTo>
                    <a:pt x="118" y="174"/>
                  </a:lnTo>
                  <a:lnTo>
                    <a:pt x="112" y="188"/>
                  </a:lnTo>
                  <a:lnTo>
                    <a:pt x="112" y="188"/>
                  </a:lnTo>
                  <a:lnTo>
                    <a:pt x="108" y="194"/>
                  </a:lnTo>
                  <a:lnTo>
                    <a:pt x="106" y="198"/>
                  </a:lnTo>
                  <a:lnTo>
                    <a:pt x="100" y="200"/>
                  </a:lnTo>
                  <a:lnTo>
                    <a:pt x="94" y="204"/>
                  </a:lnTo>
                  <a:lnTo>
                    <a:pt x="90" y="208"/>
                  </a:lnTo>
                  <a:lnTo>
                    <a:pt x="86" y="216"/>
                  </a:lnTo>
                  <a:lnTo>
                    <a:pt x="86" y="216"/>
                  </a:lnTo>
                  <a:lnTo>
                    <a:pt x="80" y="224"/>
                  </a:lnTo>
                  <a:lnTo>
                    <a:pt x="80" y="224"/>
                  </a:lnTo>
                  <a:lnTo>
                    <a:pt x="78" y="222"/>
                  </a:lnTo>
                  <a:lnTo>
                    <a:pt x="76" y="216"/>
                  </a:lnTo>
                  <a:lnTo>
                    <a:pt x="74" y="214"/>
                  </a:lnTo>
                  <a:lnTo>
                    <a:pt x="70" y="214"/>
                  </a:lnTo>
                  <a:lnTo>
                    <a:pt x="70" y="214"/>
                  </a:lnTo>
                  <a:lnTo>
                    <a:pt x="66" y="214"/>
                  </a:lnTo>
                  <a:lnTo>
                    <a:pt x="66" y="212"/>
                  </a:lnTo>
                  <a:lnTo>
                    <a:pt x="64" y="212"/>
                  </a:lnTo>
                  <a:lnTo>
                    <a:pt x="60" y="216"/>
                  </a:lnTo>
                  <a:lnTo>
                    <a:pt x="60" y="216"/>
                  </a:lnTo>
                  <a:lnTo>
                    <a:pt x="56" y="218"/>
                  </a:lnTo>
                  <a:lnTo>
                    <a:pt x="52" y="218"/>
                  </a:lnTo>
                  <a:lnTo>
                    <a:pt x="44" y="212"/>
                  </a:lnTo>
                  <a:lnTo>
                    <a:pt x="44" y="212"/>
                  </a:lnTo>
                  <a:lnTo>
                    <a:pt x="40" y="210"/>
                  </a:lnTo>
                  <a:lnTo>
                    <a:pt x="36" y="210"/>
                  </a:lnTo>
                  <a:lnTo>
                    <a:pt x="34" y="212"/>
                  </a:lnTo>
                  <a:lnTo>
                    <a:pt x="34" y="212"/>
                  </a:lnTo>
                  <a:lnTo>
                    <a:pt x="32" y="214"/>
                  </a:lnTo>
                  <a:lnTo>
                    <a:pt x="30" y="214"/>
                  </a:lnTo>
                  <a:lnTo>
                    <a:pt x="28" y="214"/>
                  </a:lnTo>
                  <a:lnTo>
                    <a:pt x="26" y="218"/>
                  </a:lnTo>
                  <a:lnTo>
                    <a:pt x="26" y="218"/>
                  </a:lnTo>
                  <a:lnTo>
                    <a:pt x="24" y="220"/>
                  </a:lnTo>
                  <a:lnTo>
                    <a:pt x="24" y="218"/>
                  </a:lnTo>
                  <a:lnTo>
                    <a:pt x="22" y="216"/>
                  </a:lnTo>
                  <a:lnTo>
                    <a:pt x="16" y="216"/>
                  </a:lnTo>
                  <a:lnTo>
                    <a:pt x="16" y="216"/>
                  </a:lnTo>
                  <a:lnTo>
                    <a:pt x="8" y="206"/>
                  </a:lnTo>
                  <a:lnTo>
                    <a:pt x="2" y="200"/>
                  </a:lnTo>
                  <a:lnTo>
                    <a:pt x="0" y="198"/>
                  </a:lnTo>
                  <a:lnTo>
                    <a:pt x="0" y="196"/>
                  </a:lnTo>
                  <a:lnTo>
                    <a:pt x="0" y="196"/>
                  </a:lnTo>
                  <a:lnTo>
                    <a:pt x="6" y="190"/>
                  </a:lnTo>
                  <a:lnTo>
                    <a:pt x="8" y="188"/>
                  </a:lnTo>
                  <a:lnTo>
                    <a:pt x="12" y="188"/>
                  </a:lnTo>
                  <a:lnTo>
                    <a:pt x="12" y="190"/>
                  </a:lnTo>
                  <a:lnTo>
                    <a:pt x="14" y="194"/>
                  </a:lnTo>
                  <a:lnTo>
                    <a:pt x="14" y="194"/>
                  </a:lnTo>
                  <a:lnTo>
                    <a:pt x="16" y="192"/>
                  </a:lnTo>
                  <a:lnTo>
                    <a:pt x="16" y="192"/>
                  </a:lnTo>
                  <a:lnTo>
                    <a:pt x="18" y="188"/>
                  </a:lnTo>
                  <a:lnTo>
                    <a:pt x="18" y="182"/>
                  </a:lnTo>
                  <a:lnTo>
                    <a:pt x="14" y="176"/>
                  </a:lnTo>
                  <a:lnTo>
                    <a:pt x="12" y="168"/>
                  </a:lnTo>
                  <a:lnTo>
                    <a:pt x="10" y="162"/>
                  </a:lnTo>
                  <a:lnTo>
                    <a:pt x="10" y="162"/>
                  </a:lnTo>
                  <a:lnTo>
                    <a:pt x="12" y="164"/>
                  </a:lnTo>
                  <a:lnTo>
                    <a:pt x="14" y="164"/>
                  </a:lnTo>
                  <a:lnTo>
                    <a:pt x="16" y="162"/>
                  </a:lnTo>
                  <a:lnTo>
                    <a:pt x="16" y="162"/>
                  </a:lnTo>
                  <a:lnTo>
                    <a:pt x="20" y="160"/>
                  </a:lnTo>
                  <a:lnTo>
                    <a:pt x="22" y="162"/>
                  </a:lnTo>
                  <a:lnTo>
                    <a:pt x="22" y="162"/>
                  </a:lnTo>
                  <a:lnTo>
                    <a:pt x="24" y="162"/>
                  </a:lnTo>
                  <a:lnTo>
                    <a:pt x="24" y="162"/>
                  </a:lnTo>
                  <a:lnTo>
                    <a:pt x="28" y="160"/>
                  </a:lnTo>
                  <a:lnTo>
                    <a:pt x="28" y="156"/>
                  </a:lnTo>
                  <a:lnTo>
                    <a:pt x="26" y="150"/>
                  </a:lnTo>
                  <a:lnTo>
                    <a:pt x="30" y="148"/>
                  </a:lnTo>
                  <a:lnTo>
                    <a:pt x="30" y="148"/>
                  </a:lnTo>
                  <a:lnTo>
                    <a:pt x="30" y="148"/>
                  </a:lnTo>
                  <a:lnTo>
                    <a:pt x="32" y="150"/>
                  </a:lnTo>
                  <a:lnTo>
                    <a:pt x="34" y="154"/>
                  </a:lnTo>
                  <a:lnTo>
                    <a:pt x="38" y="158"/>
                  </a:lnTo>
                  <a:lnTo>
                    <a:pt x="38" y="160"/>
                  </a:lnTo>
                  <a:lnTo>
                    <a:pt x="40" y="160"/>
                  </a:lnTo>
                  <a:lnTo>
                    <a:pt x="40" y="160"/>
                  </a:lnTo>
                  <a:lnTo>
                    <a:pt x="42" y="158"/>
                  </a:lnTo>
                  <a:lnTo>
                    <a:pt x="46" y="158"/>
                  </a:lnTo>
                  <a:lnTo>
                    <a:pt x="50" y="158"/>
                  </a:lnTo>
                  <a:lnTo>
                    <a:pt x="52" y="158"/>
                  </a:lnTo>
                  <a:lnTo>
                    <a:pt x="52" y="158"/>
                  </a:lnTo>
                  <a:lnTo>
                    <a:pt x="56" y="156"/>
                  </a:lnTo>
                  <a:lnTo>
                    <a:pt x="58" y="158"/>
                  </a:lnTo>
                  <a:lnTo>
                    <a:pt x="66" y="164"/>
                  </a:lnTo>
                  <a:lnTo>
                    <a:pt x="66" y="164"/>
                  </a:lnTo>
                  <a:lnTo>
                    <a:pt x="68" y="164"/>
                  </a:lnTo>
                  <a:lnTo>
                    <a:pt x="70" y="162"/>
                  </a:lnTo>
                  <a:lnTo>
                    <a:pt x="72" y="152"/>
                  </a:lnTo>
                  <a:lnTo>
                    <a:pt x="72" y="152"/>
                  </a:lnTo>
                  <a:lnTo>
                    <a:pt x="74" y="146"/>
                  </a:lnTo>
                  <a:lnTo>
                    <a:pt x="78" y="144"/>
                  </a:lnTo>
                  <a:lnTo>
                    <a:pt x="80" y="142"/>
                  </a:lnTo>
                  <a:lnTo>
                    <a:pt x="80" y="138"/>
                  </a:lnTo>
                  <a:lnTo>
                    <a:pt x="80" y="138"/>
                  </a:lnTo>
                  <a:lnTo>
                    <a:pt x="78" y="134"/>
                  </a:lnTo>
                  <a:lnTo>
                    <a:pt x="80" y="132"/>
                  </a:lnTo>
                  <a:lnTo>
                    <a:pt x="80" y="130"/>
                  </a:lnTo>
                  <a:lnTo>
                    <a:pt x="78" y="126"/>
                  </a:lnTo>
                  <a:lnTo>
                    <a:pt x="78" y="126"/>
                  </a:lnTo>
                  <a:lnTo>
                    <a:pt x="78" y="120"/>
                  </a:lnTo>
                  <a:lnTo>
                    <a:pt x="80" y="118"/>
                  </a:lnTo>
                  <a:lnTo>
                    <a:pt x="80" y="116"/>
                  </a:lnTo>
                  <a:lnTo>
                    <a:pt x="78" y="114"/>
                  </a:lnTo>
                  <a:lnTo>
                    <a:pt x="78" y="114"/>
                  </a:lnTo>
                  <a:lnTo>
                    <a:pt x="76" y="112"/>
                  </a:lnTo>
                  <a:lnTo>
                    <a:pt x="76" y="110"/>
                  </a:lnTo>
                  <a:lnTo>
                    <a:pt x="74" y="108"/>
                  </a:lnTo>
                  <a:lnTo>
                    <a:pt x="72" y="102"/>
                  </a:lnTo>
                  <a:lnTo>
                    <a:pt x="72" y="102"/>
                  </a:lnTo>
                  <a:lnTo>
                    <a:pt x="68" y="96"/>
                  </a:lnTo>
                  <a:lnTo>
                    <a:pt x="72" y="98"/>
                  </a:lnTo>
                  <a:lnTo>
                    <a:pt x="76" y="98"/>
                  </a:lnTo>
                  <a:lnTo>
                    <a:pt x="76" y="96"/>
                  </a:lnTo>
                  <a:lnTo>
                    <a:pt x="74" y="92"/>
                  </a:lnTo>
                  <a:lnTo>
                    <a:pt x="74" y="92"/>
                  </a:lnTo>
                  <a:lnTo>
                    <a:pt x="74" y="88"/>
                  </a:lnTo>
                  <a:lnTo>
                    <a:pt x="74" y="86"/>
                  </a:lnTo>
                  <a:lnTo>
                    <a:pt x="78" y="84"/>
                  </a:lnTo>
                  <a:lnTo>
                    <a:pt x="82" y="82"/>
                  </a:lnTo>
                  <a:lnTo>
                    <a:pt x="82" y="78"/>
                  </a:lnTo>
                  <a:lnTo>
                    <a:pt x="82" y="74"/>
                  </a:lnTo>
                  <a:lnTo>
                    <a:pt x="82" y="74"/>
                  </a:lnTo>
                  <a:lnTo>
                    <a:pt x="82" y="70"/>
                  </a:lnTo>
                  <a:lnTo>
                    <a:pt x="82" y="66"/>
                  </a:lnTo>
                  <a:lnTo>
                    <a:pt x="82" y="64"/>
                  </a:lnTo>
                  <a:lnTo>
                    <a:pt x="78" y="62"/>
                  </a:lnTo>
                  <a:lnTo>
                    <a:pt x="78" y="62"/>
                  </a:lnTo>
                  <a:lnTo>
                    <a:pt x="68" y="62"/>
                  </a:lnTo>
                  <a:lnTo>
                    <a:pt x="60" y="62"/>
                  </a:lnTo>
                  <a:lnTo>
                    <a:pt x="60" y="62"/>
                  </a:lnTo>
                  <a:lnTo>
                    <a:pt x="58" y="62"/>
                  </a:lnTo>
                  <a:lnTo>
                    <a:pt x="56" y="60"/>
                  </a:lnTo>
                  <a:lnTo>
                    <a:pt x="56" y="54"/>
                  </a:lnTo>
                  <a:lnTo>
                    <a:pt x="62" y="44"/>
                  </a:lnTo>
                  <a:lnTo>
                    <a:pt x="62" y="44"/>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1" name="Freeform 47"/>
            <p:cNvSpPr>
              <a:spLocks/>
            </p:cNvSpPr>
            <p:nvPr/>
          </p:nvSpPr>
          <p:spPr bwMode="auto">
            <a:xfrm>
              <a:off x="5049538" y="3948906"/>
              <a:ext cx="92604" cy="251354"/>
            </a:xfrm>
            <a:custGeom>
              <a:avLst/>
              <a:gdLst/>
              <a:ahLst/>
              <a:cxnLst>
                <a:cxn ang="0">
                  <a:pos x="6" y="116"/>
                </a:cxn>
                <a:cxn ang="0">
                  <a:pos x="0" y="114"/>
                </a:cxn>
                <a:cxn ang="0">
                  <a:pos x="0" y="110"/>
                </a:cxn>
                <a:cxn ang="0">
                  <a:pos x="4" y="98"/>
                </a:cxn>
                <a:cxn ang="0">
                  <a:pos x="16" y="84"/>
                </a:cxn>
                <a:cxn ang="0">
                  <a:pos x="22" y="78"/>
                </a:cxn>
                <a:cxn ang="0">
                  <a:pos x="20" y="76"/>
                </a:cxn>
                <a:cxn ang="0">
                  <a:pos x="16" y="56"/>
                </a:cxn>
                <a:cxn ang="0">
                  <a:pos x="20" y="38"/>
                </a:cxn>
                <a:cxn ang="0">
                  <a:pos x="26" y="32"/>
                </a:cxn>
                <a:cxn ang="0">
                  <a:pos x="22" y="20"/>
                </a:cxn>
                <a:cxn ang="0">
                  <a:pos x="24" y="14"/>
                </a:cxn>
                <a:cxn ang="0">
                  <a:pos x="18" y="2"/>
                </a:cxn>
                <a:cxn ang="0">
                  <a:pos x="36" y="6"/>
                </a:cxn>
                <a:cxn ang="0">
                  <a:pos x="36" y="12"/>
                </a:cxn>
                <a:cxn ang="0">
                  <a:pos x="40" y="26"/>
                </a:cxn>
                <a:cxn ang="0">
                  <a:pos x="40" y="44"/>
                </a:cxn>
                <a:cxn ang="0">
                  <a:pos x="44" y="50"/>
                </a:cxn>
                <a:cxn ang="0">
                  <a:pos x="36" y="66"/>
                </a:cxn>
                <a:cxn ang="0">
                  <a:pos x="36" y="72"/>
                </a:cxn>
                <a:cxn ang="0">
                  <a:pos x="38" y="84"/>
                </a:cxn>
                <a:cxn ang="0">
                  <a:pos x="38" y="92"/>
                </a:cxn>
                <a:cxn ang="0">
                  <a:pos x="36" y="106"/>
                </a:cxn>
                <a:cxn ang="0">
                  <a:pos x="42" y="110"/>
                </a:cxn>
                <a:cxn ang="0">
                  <a:pos x="44" y="120"/>
                </a:cxn>
                <a:cxn ang="0">
                  <a:pos x="52" y="120"/>
                </a:cxn>
                <a:cxn ang="0">
                  <a:pos x="54" y="120"/>
                </a:cxn>
                <a:cxn ang="0">
                  <a:pos x="58" y="114"/>
                </a:cxn>
                <a:cxn ang="0">
                  <a:pos x="70" y="126"/>
                </a:cxn>
                <a:cxn ang="0">
                  <a:pos x="68" y="140"/>
                </a:cxn>
                <a:cxn ang="0">
                  <a:pos x="68" y="154"/>
                </a:cxn>
                <a:cxn ang="0">
                  <a:pos x="62" y="164"/>
                </a:cxn>
                <a:cxn ang="0">
                  <a:pos x="58" y="172"/>
                </a:cxn>
                <a:cxn ang="0">
                  <a:pos x="58" y="188"/>
                </a:cxn>
                <a:cxn ang="0">
                  <a:pos x="54" y="190"/>
                </a:cxn>
                <a:cxn ang="0">
                  <a:pos x="46" y="180"/>
                </a:cxn>
                <a:cxn ang="0">
                  <a:pos x="40" y="176"/>
                </a:cxn>
                <a:cxn ang="0">
                  <a:pos x="34" y="152"/>
                </a:cxn>
                <a:cxn ang="0">
                  <a:pos x="38" y="148"/>
                </a:cxn>
                <a:cxn ang="0">
                  <a:pos x="36" y="128"/>
                </a:cxn>
                <a:cxn ang="0">
                  <a:pos x="30" y="130"/>
                </a:cxn>
                <a:cxn ang="0">
                  <a:pos x="22" y="132"/>
                </a:cxn>
                <a:cxn ang="0">
                  <a:pos x="14" y="122"/>
                </a:cxn>
              </a:cxnLst>
              <a:rect l="0" t="0" r="r" b="b"/>
              <a:pathLst>
                <a:path w="70" h="190">
                  <a:moveTo>
                    <a:pt x="10" y="116"/>
                  </a:moveTo>
                  <a:lnTo>
                    <a:pt x="10" y="116"/>
                  </a:lnTo>
                  <a:lnTo>
                    <a:pt x="6" y="116"/>
                  </a:lnTo>
                  <a:lnTo>
                    <a:pt x="4" y="116"/>
                  </a:lnTo>
                  <a:lnTo>
                    <a:pt x="2" y="116"/>
                  </a:lnTo>
                  <a:lnTo>
                    <a:pt x="0" y="114"/>
                  </a:lnTo>
                  <a:lnTo>
                    <a:pt x="0" y="114"/>
                  </a:lnTo>
                  <a:lnTo>
                    <a:pt x="0" y="112"/>
                  </a:lnTo>
                  <a:lnTo>
                    <a:pt x="0" y="110"/>
                  </a:lnTo>
                  <a:lnTo>
                    <a:pt x="2" y="106"/>
                  </a:lnTo>
                  <a:lnTo>
                    <a:pt x="4" y="98"/>
                  </a:lnTo>
                  <a:lnTo>
                    <a:pt x="4" y="98"/>
                  </a:lnTo>
                  <a:lnTo>
                    <a:pt x="6" y="92"/>
                  </a:lnTo>
                  <a:lnTo>
                    <a:pt x="8" y="88"/>
                  </a:lnTo>
                  <a:lnTo>
                    <a:pt x="16" y="84"/>
                  </a:lnTo>
                  <a:lnTo>
                    <a:pt x="16" y="84"/>
                  </a:lnTo>
                  <a:lnTo>
                    <a:pt x="20" y="80"/>
                  </a:lnTo>
                  <a:lnTo>
                    <a:pt x="22" y="78"/>
                  </a:lnTo>
                  <a:lnTo>
                    <a:pt x="22" y="76"/>
                  </a:lnTo>
                  <a:lnTo>
                    <a:pt x="20" y="76"/>
                  </a:lnTo>
                  <a:lnTo>
                    <a:pt x="20" y="76"/>
                  </a:lnTo>
                  <a:lnTo>
                    <a:pt x="18" y="76"/>
                  </a:lnTo>
                  <a:lnTo>
                    <a:pt x="18" y="72"/>
                  </a:lnTo>
                  <a:lnTo>
                    <a:pt x="16" y="56"/>
                  </a:lnTo>
                  <a:lnTo>
                    <a:pt x="16" y="56"/>
                  </a:lnTo>
                  <a:lnTo>
                    <a:pt x="18" y="42"/>
                  </a:lnTo>
                  <a:lnTo>
                    <a:pt x="20" y="38"/>
                  </a:lnTo>
                  <a:lnTo>
                    <a:pt x="24" y="36"/>
                  </a:lnTo>
                  <a:lnTo>
                    <a:pt x="24" y="36"/>
                  </a:lnTo>
                  <a:lnTo>
                    <a:pt x="26" y="32"/>
                  </a:lnTo>
                  <a:lnTo>
                    <a:pt x="24" y="30"/>
                  </a:lnTo>
                  <a:lnTo>
                    <a:pt x="22" y="26"/>
                  </a:lnTo>
                  <a:lnTo>
                    <a:pt x="22" y="20"/>
                  </a:lnTo>
                  <a:lnTo>
                    <a:pt x="22" y="20"/>
                  </a:lnTo>
                  <a:lnTo>
                    <a:pt x="24" y="16"/>
                  </a:lnTo>
                  <a:lnTo>
                    <a:pt x="24" y="14"/>
                  </a:lnTo>
                  <a:lnTo>
                    <a:pt x="20" y="10"/>
                  </a:lnTo>
                  <a:lnTo>
                    <a:pt x="18" y="6"/>
                  </a:lnTo>
                  <a:lnTo>
                    <a:pt x="18" y="2"/>
                  </a:lnTo>
                  <a:lnTo>
                    <a:pt x="20" y="0"/>
                  </a:lnTo>
                  <a:lnTo>
                    <a:pt x="20" y="0"/>
                  </a:lnTo>
                  <a:lnTo>
                    <a:pt x="36" y="6"/>
                  </a:lnTo>
                  <a:lnTo>
                    <a:pt x="36" y="6"/>
                  </a:lnTo>
                  <a:lnTo>
                    <a:pt x="36" y="8"/>
                  </a:lnTo>
                  <a:lnTo>
                    <a:pt x="36" y="12"/>
                  </a:lnTo>
                  <a:lnTo>
                    <a:pt x="40" y="20"/>
                  </a:lnTo>
                  <a:lnTo>
                    <a:pt x="40" y="20"/>
                  </a:lnTo>
                  <a:lnTo>
                    <a:pt x="40" y="26"/>
                  </a:lnTo>
                  <a:lnTo>
                    <a:pt x="40" y="32"/>
                  </a:lnTo>
                  <a:lnTo>
                    <a:pt x="38" y="40"/>
                  </a:lnTo>
                  <a:lnTo>
                    <a:pt x="40" y="44"/>
                  </a:lnTo>
                  <a:lnTo>
                    <a:pt x="42" y="46"/>
                  </a:lnTo>
                  <a:lnTo>
                    <a:pt x="42" y="46"/>
                  </a:lnTo>
                  <a:lnTo>
                    <a:pt x="44" y="50"/>
                  </a:lnTo>
                  <a:lnTo>
                    <a:pt x="44" y="52"/>
                  </a:lnTo>
                  <a:lnTo>
                    <a:pt x="40" y="60"/>
                  </a:lnTo>
                  <a:lnTo>
                    <a:pt x="36" y="66"/>
                  </a:lnTo>
                  <a:lnTo>
                    <a:pt x="34" y="70"/>
                  </a:lnTo>
                  <a:lnTo>
                    <a:pt x="36" y="72"/>
                  </a:lnTo>
                  <a:lnTo>
                    <a:pt x="36" y="72"/>
                  </a:lnTo>
                  <a:lnTo>
                    <a:pt x="40" y="76"/>
                  </a:lnTo>
                  <a:lnTo>
                    <a:pt x="40" y="80"/>
                  </a:lnTo>
                  <a:lnTo>
                    <a:pt x="38" y="84"/>
                  </a:lnTo>
                  <a:lnTo>
                    <a:pt x="38" y="88"/>
                  </a:lnTo>
                  <a:lnTo>
                    <a:pt x="38" y="88"/>
                  </a:lnTo>
                  <a:lnTo>
                    <a:pt x="38" y="92"/>
                  </a:lnTo>
                  <a:lnTo>
                    <a:pt x="36" y="98"/>
                  </a:lnTo>
                  <a:lnTo>
                    <a:pt x="36" y="102"/>
                  </a:lnTo>
                  <a:lnTo>
                    <a:pt x="36" y="106"/>
                  </a:lnTo>
                  <a:lnTo>
                    <a:pt x="38" y="108"/>
                  </a:lnTo>
                  <a:lnTo>
                    <a:pt x="38" y="108"/>
                  </a:lnTo>
                  <a:lnTo>
                    <a:pt x="42" y="110"/>
                  </a:lnTo>
                  <a:lnTo>
                    <a:pt x="40" y="112"/>
                  </a:lnTo>
                  <a:lnTo>
                    <a:pt x="40" y="114"/>
                  </a:lnTo>
                  <a:lnTo>
                    <a:pt x="44" y="120"/>
                  </a:lnTo>
                  <a:lnTo>
                    <a:pt x="44" y="120"/>
                  </a:lnTo>
                  <a:lnTo>
                    <a:pt x="50" y="122"/>
                  </a:lnTo>
                  <a:lnTo>
                    <a:pt x="52" y="120"/>
                  </a:lnTo>
                  <a:lnTo>
                    <a:pt x="54" y="120"/>
                  </a:lnTo>
                  <a:lnTo>
                    <a:pt x="54" y="120"/>
                  </a:lnTo>
                  <a:lnTo>
                    <a:pt x="54" y="120"/>
                  </a:lnTo>
                  <a:lnTo>
                    <a:pt x="58" y="126"/>
                  </a:lnTo>
                  <a:lnTo>
                    <a:pt x="58" y="122"/>
                  </a:lnTo>
                  <a:lnTo>
                    <a:pt x="58" y="114"/>
                  </a:lnTo>
                  <a:lnTo>
                    <a:pt x="58" y="114"/>
                  </a:lnTo>
                  <a:lnTo>
                    <a:pt x="66" y="122"/>
                  </a:lnTo>
                  <a:lnTo>
                    <a:pt x="70" y="126"/>
                  </a:lnTo>
                  <a:lnTo>
                    <a:pt x="70" y="132"/>
                  </a:lnTo>
                  <a:lnTo>
                    <a:pt x="68" y="140"/>
                  </a:lnTo>
                  <a:lnTo>
                    <a:pt x="68" y="140"/>
                  </a:lnTo>
                  <a:lnTo>
                    <a:pt x="66" y="144"/>
                  </a:lnTo>
                  <a:lnTo>
                    <a:pt x="66" y="148"/>
                  </a:lnTo>
                  <a:lnTo>
                    <a:pt x="68" y="154"/>
                  </a:lnTo>
                  <a:lnTo>
                    <a:pt x="68" y="158"/>
                  </a:lnTo>
                  <a:lnTo>
                    <a:pt x="66" y="162"/>
                  </a:lnTo>
                  <a:lnTo>
                    <a:pt x="62" y="164"/>
                  </a:lnTo>
                  <a:lnTo>
                    <a:pt x="62" y="164"/>
                  </a:lnTo>
                  <a:lnTo>
                    <a:pt x="60" y="168"/>
                  </a:lnTo>
                  <a:lnTo>
                    <a:pt x="58" y="172"/>
                  </a:lnTo>
                  <a:lnTo>
                    <a:pt x="56" y="180"/>
                  </a:lnTo>
                  <a:lnTo>
                    <a:pt x="58" y="186"/>
                  </a:lnTo>
                  <a:lnTo>
                    <a:pt x="58" y="188"/>
                  </a:lnTo>
                  <a:lnTo>
                    <a:pt x="56" y="190"/>
                  </a:lnTo>
                  <a:lnTo>
                    <a:pt x="56" y="190"/>
                  </a:lnTo>
                  <a:lnTo>
                    <a:pt x="54" y="190"/>
                  </a:lnTo>
                  <a:lnTo>
                    <a:pt x="52" y="188"/>
                  </a:lnTo>
                  <a:lnTo>
                    <a:pt x="50" y="184"/>
                  </a:lnTo>
                  <a:lnTo>
                    <a:pt x="46" y="180"/>
                  </a:lnTo>
                  <a:lnTo>
                    <a:pt x="46" y="180"/>
                  </a:lnTo>
                  <a:lnTo>
                    <a:pt x="42" y="180"/>
                  </a:lnTo>
                  <a:lnTo>
                    <a:pt x="40" y="176"/>
                  </a:lnTo>
                  <a:lnTo>
                    <a:pt x="34" y="164"/>
                  </a:lnTo>
                  <a:lnTo>
                    <a:pt x="32" y="154"/>
                  </a:lnTo>
                  <a:lnTo>
                    <a:pt x="34" y="152"/>
                  </a:lnTo>
                  <a:lnTo>
                    <a:pt x="36" y="150"/>
                  </a:lnTo>
                  <a:lnTo>
                    <a:pt x="36" y="150"/>
                  </a:lnTo>
                  <a:lnTo>
                    <a:pt x="38" y="148"/>
                  </a:lnTo>
                  <a:lnTo>
                    <a:pt x="38" y="140"/>
                  </a:lnTo>
                  <a:lnTo>
                    <a:pt x="38" y="132"/>
                  </a:lnTo>
                  <a:lnTo>
                    <a:pt x="36" y="128"/>
                  </a:lnTo>
                  <a:lnTo>
                    <a:pt x="36" y="128"/>
                  </a:lnTo>
                  <a:lnTo>
                    <a:pt x="34" y="128"/>
                  </a:lnTo>
                  <a:lnTo>
                    <a:pt x="30" y="130"/>
                  </a:lnTo>
                  <a:lnTo>
                    <a:pt x="26" y="132"/>
                  </a:lnTo>
                  <a:lnTo>
                    <a:pt x="22" y="132"/>
                  </a:lnTo>
                  <a:lnTo>
                    <a:pt x="22" y="132"/>
                  </a:lnTo>
                  <a:lnTo>
                    <a:pt x="20" y="130"/>
                  </a:lnTo>
                  <a:lnTo>
                    <a:pt x="18" y="126"/>
                  </a:lnTo>
                  <a:lnTo>
                    <a:pt x="14" y="122"/>
                  </a:lnTo>
                  <a:lnTo>
                    <a:pt x="10" y="116"/>
                  </a:lnTo>
                  <a:lnTo>
                    <a:pt x="10" y="116"/>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2" name="Freeform 48"/>
            <p:cNvSpPr>
              <a:spLocks/>
            </p:cNvSpPr>
            <p:nvPr/>
          </p:nvSpPr>
          <p:spPr bwMode="auto">
            <a:xfrm>
              <a:off x="4832580" y="4152636"/>
              <a:ext cx="222250" cy="227542"/>
            </a:xfrm>
            <a:custGeom>
              <a:avLst/>
              <a:gdLst/>
              <a:ahLst/>
              <a:cxnLst>
                <a:cxn ang="0">
                  <a:pos x="84" y="168"/>
                </a:cxn>
                <a:cxn ang="0">
                  <a:pos x="94" y="166"/>
                </a:cxn>
                <a:cxn ang="0">
                  <a:pos x="108" y="170"/>
                </a:cxn>
                <a:cxn ang="0">
                  <a:pos x="114" y="170"/>
                </a:cxn>
                <a:cxn ang="0">
                  <a:pos x="126" y="172"/>
                </a:cxn>
                <a:cxn ang="0">
                  <a:pos x="128" y="172"/>
                </a:cxn>
                <a:cxn ang="0">
                  <a:pos x="142" y="146"/>
                </a:cxn>
                <a:cxn ang="0">
                  <a:pos x="142" y="142"/>
                </a:cxn>
                <a:cxn ang="0">
                  <a:pos x="142" y="138"/>
                </a:cxn>
                <a:cxn ang="0">
                  <a:pos x="142" y="134"/>
                </a:cxn>
                <a:cxn ang="0">
                  <a:pos x="146" y="134"/>
                </a:cxn>
                <a:cxn ang="0">
                  <a:pos x="150" y="126"/>
                </a:cxn>
                <a:cxn ang="0">
                  <a:pos x="160" y="116"/>
                </a:cxn>
                <a:cxn ang="0">
                  <a:pos x="160" y="110"/>
                </a:cxn>
                <a:cxn ang="0">
                  <a:pos x="158" y="106"/>
                </a:cxn>
                <a:cxn ang="0">
                  <a:pos x="158" y="102"/>
                </a:cxn>
                <a:cxn ang="0">
                  <a:pos x="152" y="96"/>
                </a:cxn>
                <a:cxn ang="0">
                  <a:pos x="162" y="80"/>
                </a:cxn>
                <a:cxn ang="0">
                  <a:pos x="164" y="74"/>
                </a:cxn>
                <a:cxn ang="0">
                  <a:pos x="168" y="70"/>
                </a:cxn>
                <a:cxn ang="0">
                  <a:pos x="164" y="58"/>
                </a:cxn>
                <a:cxn ang="0">
                  <a:pos x="164" y="52"/>
                </a:cxn>
                <a:cxn ang="0">
                  <a:pos x="166" y="40"/>
                </a:cxn>
                <a:cxn ang="0">
                  <a:pos x="164" y="32"/>
                </a:cxn>
                <a:cxn ang="0">
                  <a:pos x="158" y="24"/>
                </a:cxn>
                <a:cxn ang="0">
                  <a:pos x="150" y="24"/>
                </a:cxn>
                <a:cxn ang="0">
                  <a:pos x="136" y="18"/>
                </a:cxn>
                <a:cxn ang="0">
                  <a:pos x="122" y="12"/>
                </a:cxn>
                <a:cxn ang="0">
                  <a:pos x="116" y="12"/>
                </a:cxn>
                <a:cxn ang="0">
                  <a:pos x="110" y="0"/>
                </a:cxn>
                <a:cxn ang="0">
                  <a:pos x="96" y="4"/>
                </a:cxn>
                <a:cxn ang="0">
                  <a:pos x="94" y="4"/>
                </a:cxn>
                <a:cxn ang="0">
                  <a:pos x="94" y="6"/>
                </a:cxn>
                <a:cxn ang="0">
                  <a:pos x="86" y="10"/>
                </a:cxn>
                <a:cxn ang="0">
                  <a:pos x="72" y="20"/>
                </a:cxn>
                <a:cxn ang="0">
                  <a:pos x="64" y="34"/>
                </a:cxn>
                <a:cxn ang="0">
                  <a:pos x="54" y="50"/>
                </a:cxn>
                <a:cxn ang="0">
                  <a:pos x="50" y="52"/>
                </a:cxn>
                <a:cxn ang="0">
                  <a:pos x="40" y="54"/>
                </a:cxn>
                <a:cxn ang="0">
                  <a:pos x="34" y="54"/>
                </a:cxn>
                <a:cxn ang="0">
                  <a:pos x="26" y="54"/>
                </a:cxn>
                <a:cxn ang="0">
                  <a:pos x="0" y="54"/>
                </a:cxn>
                <a:cxn ang="0">
                  <a:pos x="4" y="66"/>
                </a:cxn>
                <a:cxn ang="0">
                  <a:pos x="10" y="72"/>
                </a:cxn>
                <a:cxn ang="0">
                  <a:pos x="12" y="82"/>
                </a:cxn>
                <a:cxn ang="0">
                  <a:pos x="18" y="98"/>
                </a:cxn>
                <a:cxn ang="0">
                  <a:pos x="32" y="112"/>
                </a:cxn>
                <a:cxn ang="0">
                  <a:pos x="42" y="126"/>
                </a:cxn>
                <a:cxn ang="0">
                  <a:pos x="46" y="130"/>
                </a:cxn>
                <a:cxn ang="0">
                  <a:pos x="46" y="134"/>
                </a:cxn>
                <a:cxn ang="0">
                  <a:pos x="52" y="148"/>
                </a:cxn>
                <a:cxn ang="0">
                  <a:pos x="60" y="156"/>
                </a:cxn>
                <a:cxn ang="0">
                  <a:pos x="66" y="158"/>
                </a:cxn>
                <a:cxn ang="0">
                  <a:pos x="84" y="164"/>
                </a:cxn>
                <a:cxn ang="0">
                  <a:pos x="84" y="168"/>
                </a:cxn>
              </a:cxnLst>
              <a:rect l="0" t="0" r="r" b="b"/>
              <a:pathLst>
                <a:path w="168" h="172">
                  <a:moveTo>
                    <a:pt x="84" y="168"/>
                  </a:moveTo>
                  <a:lnTo>
                    <a:pt x="84" y="168"/>
                  </a:lnTo>
                  <a:lnTo>
                    <a:pt x="88" y="166"/>
                  </a:lnTo>
                  <a:lnTo>
                    <a:pt x="94" y="166"/>
                  </a:lnTo>
                  <a:lnTo>
                    <a:pt x="100" y="168"/>
                  </a:lnTo>
                  <a:lnTo>
                    <a:pt x="108" y="170"/>
                  </a:lnTo>
                  <a:lnTo>
                    <a:pt x="114" y="170"/>
                  </a:lnTo>
                  <a:lnTo>
                    <a:pt x="114" y="170"/>
                  </a:lnTo>
                  <a:lnTo>
                    <a:pt x="122" y="170"/>
                  </a:lnTo>
                  <a:lnTo>
                    <a:pt x="126" y="172"/>
                  </a:lnTo>
                  <a:lnTo>
                    <a:pt x="128" y="172"/>
                  </a:lnTo>
                  <a:lnTo>
                    <a:pt x="128" y="172"/>
                  </a:lnTo>
                  <a:lnTo>
                    <a:pt x="142" y="146"/>
                  </a:lnTo>
                  <a:lnTo>
                    <a:pt x="142" y="146"/>
                  </a:lnTo>
                  <a:lnTo>
                    <a:pt x="142" y="144"/>
                  </a:lnTo>
                  <a:lnTo>
                    <a:pt x="142" y="142"/>
                  </a:lnTo>
                  <a:lnTo>
                    <a:pt x="142" y="142"/>
                  </a:lnTo>
                  <a:lnTo>
                    <a:pt x="142" y="138"/>
                  </a:lnTo>
                  <a:lnTo>
                    <a:pt x="142" y="138"/>
                  </a:lnTo>
                  <a:lnTo>
                    <a:pt x="142" y="134"/>
                  </a:lnTo>
                  <a:lnTo>
                    <a:pt x="144" y="134"/>
                  </a:lnTo>
                  <a:lnTo>
                    <a:pt x="146" y="134"/>
                  </a:lnTo>
                  <a:lnTo>
                    <a:pt x="150" y="126"/>
                  </a:lnTo>
                  <a:lnTo>
                    <a:pt x="150" y="126"/>
                  </a:lnTo>
                  <a:lnTo>
                    <a:pt x="156" y="118"/>
                  </a:lnTo>
                  <a:lnTo>
                    <a:pt x="160" y="116"/>
                  </a:lnTo>
                  <a:lnTo>
                    <a:pt x="162" y="116"/>
                  </a:lnTo>
                  <a:lnTo>
                    <a:pt x="160" y="110"/>
                  </a:lnTo>
                  <a:lnTo>
                    <a:pt x="160" y="110"/>
                  </a:lnTo>
                  <a:lnTo>
                    <a:pt x="158" y="106"/>
                  </a:lnTo>
                  <a:lnTo>
                    <a:pt x="160" y="104"/>
                  </a:lnTo>
                  <a:lnTo>
                    <a:pt x="158" y="102"/>
                  </a:lnTo>
                  <a:lnTo>
                    <a:pt x="152" y="96"/>
                  </a:lnTo>
                  <a:lnTo>
                    <a:pt x="152" y="96"/>
                  </a:lnTo>
                  <a:lnTo>
                    <a:pt x="160" y="86"/>
                  </a:lnTo>
                  <a:lnTo>
                    <a:pt x="162" y="80"/>
                  </a:lnTo>
                  <a:lnTo>
                    <a:pt x="162" y="76"/>
                  </a:lnTo>
                  <a:lnTo>
                    <a:pt x="164" y="74"/>
                  </a:lnTo>
                  <a:lnTo>
                    <a:pt x="164" y="74"/>
                  </a:lnTo>
                  <a:lnTo>
                    <a:pt x="168" y="70"/>
                  </a:lnTo>
                  <a:lnTo>
                    <a:pt x="166" y="64"/>
                  </a:lnTo>
                  <a:lnTo>
                    <a:pt x="164" y="58"/>
                  </a:lnTo>
                  <a:lnTo>
                    <a:pt x="164" y="52"/>
                  </a:lnTo>
                  <a:lnTo>
                    <a:pt x="164" y="52"/>
                  </a:lnTo>
                  <a:lnTo>
                    <a:pt x="164" y="44"/>
                  </a:lnTo>
                  <a:lnTo>
                    <a:pt x="166" y="40"/>
                  </a:lnTo>
                  <a:lnTo>
                    <a:pt x="168" y="38"/>
                  </a:lnTo>
                  <a:lnTo>
                    <a:pt x="164" y="32"/>
                  </a:lnTo>
                  <a:lnTo>
                    <a:pt x="164" y="32"/>
                  </a:lnTo>
                  <a:lnTo>
                    <a:pt x="158" y="24"/>
                  </a:lnTo>
                  <a:lnTo>
                    <a:pt x="150" y="24"/>
                  </a:lnTo>
                  <a:lnTo>
                    <a:pt x="150" y="24"/>
                  </a:lnTo>
                  <a:lnTo>
                    <a:pt x="142" y="20"/>
                  </a:lnTo>
                  <a:lnTo>
                    <a:pt x="136" y="18"/>
                  </a:lnTo>
                  <a:lnTo>
                    <a:pt x="132" y="14"/>
                  </a:lnTo>
                  <a:lnTo>
                    <a:pt x="122" y="12"/>
                  </a:lnTo>
                  <a:lnTo>
                    <a:pt x="122" y="12"/>
                  </a:lnTo>
                  <a:lnTo>
                    <a:pt x="116" y="12"/>
                  </a:lnTo>
                  <a:lnTo>
                    <a:pt x="114" y="10"/>
                  </a:lnTo>
                  <a:lnTo>
                    <a:pt x="110" y="0"/>
                  </a:lnTo>
                  <a:lnTo>
                    <a:pt x="110" y="0"/>
                  </a:lnTo>
                  <a:lnTo>
                    <a:pt x="96" y="4"/>
                  </a:lnTo>
                  <a:lnTo>
                    <a:pt x="94" y="4"/>
                  </a:lnTo>
                  <a:lnTo>
                    <a:pt x="94" y="4"/>
                  </a:lnTo>
                  <a:lnTo>
                    <a:pt x="96" y="4"/>
                  </a:lnTo>
                  <a:lnTo>
                    <a:pt x="94" y="6"/>
                  </a:lnTo>
                  <a:lnTo>
                    <a:pt x="86" y="10"/>
                  </a:lnTo>
                  <a:lnTo>
                    <a:pt x="86" y="10"/>
                  </a:lnTo>
                  <a:lnTo>
                    <a:pt x="78" y="14"/>
                  </a:lnTo>
                  <a:lnTo>
                    <a:pt x="72" y="20"/>
                  </a:lnTo>
                  <a:lnTo>
                    <a:pt x="66" y="26"/>
                  </a:lnTo>
                  <a:lnTo>
                    <a:pt x="64" y="34"/>
                  </a:lnTo>
                  <a:lnTo>
                    <a:pt x="58" y="46"/>
                  </a:lnTo>
                  <a:lnTo>
                    <a:pt x="54" y="50"/>
                  </a:lnTo>
                  <a:lnTo>
                    <a:pt x="50" y="52"/>
                  </a:lnTo>
                  <a:lnTo>
                    <a:pt x="50" y="52"/>
                  </a:lnTo>
                  <a:lnTo>
                    <a:pt x="44" y="52"/>
                  </a:lnTo>
                  <a:lnTo>
                    <a:pt x="40" y="54"/>
                  </a:lnTo>
                  <a:lnTo>
                    <a:pt x="38" y="56"/>
                  </a:lnTo>
                  <a:lnTo>
                    <a:pt x="34" y="54"/>
                  </a:lnTo>
                  <a:lnTo>
                    <a:pt x="34" y="54"/>
                  </a:lnTo>
                  <a:lnTo>
                    <a:pt x="26" y="54"/>
                  </a:lnTo>
                  <a:lnTo>
                    <a:pt x="16" y="54"/>
                  </a:lnTo>
                  <a:lnTo>
                    <a:pt x="0" y="54"/>
                  </a:lnTo>
                  <a:lnTo>
                    <a:pt x="0" y="54"/>
                  </a:lnTo>
                  <a:lnTo>
                    <a:pt x="4" y="66"/>
                  </a:lnTo>
                  <a:lnTo>
                    <a:pt x="8" y="70"/>
                  </a:lnTo>
                  <a:lnTo>
                    <a:pt x="10" y="72"/>
                  </a:lnTo>
                  <a:lnTo>
                    <a:pt x="12" y="82"/>
                  </a:lnTo>
                  <a:lnTo>
                    <a:pt x="12" y="82"/>
                  </a:lnTo>
                  <a:lnTo>
                    <a:pt x="14" y="92"/>
                  </a:lnTo>
                  <a:lnTo>
                    <a:pt x="18" y="98"/>
                  </a:lnTo>
                  <a:lnTo>
                    <a:pt x="32" y="112"/>
                  </a:lnTo>
                  <a:lnTo>
                    <a:pt x="32" y="112"/>
                  </a:lnTo>
                  <a:lnTo>
                    <a:pt x="38" y="120"/>
                  </a:lnTo>
                  <a:lnTo>
                    <a:pt x="42" y="126"/>
                  </a:lnTo>
                  <a:lnTo>
                    <a:pt x="44" y="128"/>
                  </a:lnTo>
                  <a:lnTo>
                    <a:pt x="46" y="130"/>
                  </a:lnTo>
                  <a:lnTo>
                    <a:pt x="46" y="130"/>
                  </a:lnTo>
                  <a:lnTo>
                    <a:pt x="46" y="134"/>
                  </a:lnTo>
                  <a:lnTo>
                    <a:pt x="50" y="144"/>
                  </a:lnTo>
                  <a:lnTo>
                    <a:pt x="52" y="148"/>
                  </a:lnTo>
                  <a:lnTo>
                    <a:pt x="54" y="152"/>
                  </a:lnTo>
                  <a:lnTo>
                    <a:pt x="60" y="156"/>
                  </a:lnTo>
                  <a:lnTo>
                    <a:pt x="66" y="158"/>
                  </a:lnTo>
                  <a:lnTo>
                    <a:pt x="66" y="158"/>
                  </a:lnTo>
                  <a:lnTo>
                    <a:pt x="78" y="162"/>
                  </a:lnTo>
                  <a:lnTo>
                    <a:pt x="84" y="164"/>
                  </a:lnTo>
                  <a:lnTo>
                    <a:pt x="84" y="166"/>
                  </a:lnTo>
                  <a:lnTo>
                    <a:pt x="84" y="168"/>
                  </a:lnTo>
                  <a:lnTo>
                    <a:pt x="84" y="16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3" name="Freeform 49"/>
            <p:cNvSpPr>
              <a:spLocks/>
            </p:cNvSpPr>
            <p:nvPr/>
          </p:nvSpPr>
          <p:spPr bwMode="auto">
            <a:xfrm>
              <a:off x="4676476" y="4224073"/>
              <a:ext cx="267229" cy="296333"/>
            </a:xfrm>
            <a:custGeom>
              <a:avLst/>
              <a:gdLst/>
              <a:ahLst/>
              <a:cxnLst>
                <a:cxn ang="0">
                  <a:pos x="0" y="180"/>
                </a:cxn>
                <a:cxn ang="0">
                  <a:pos x="24" y="106"/>
                </a:cxn>
                <a:cxn ang="0">
                  <a:pos x="28" y="22"/>
                </a:cxn>
                <a:cxn ang="0">
                  <a:pos x="68" y="10"/>
                </a:cxn>
                <a:cxn ang="0">
                  <a:pos x="78" y="10"/>
                </a:cxn>
                <a:cxn ang="0">
                  <a:pos x="88" y="18"/>
                </a:cxn>
                <a:cxn ang="0">
                  <a:pos x="94" y="16"/>
                </a:cxn>
                <a:cxn ang="0">
                  <a:pos x="102" y="8"/>
                </a:cxn>
                <a:cxn ang="0">
                  <a:pos x="112" y="6"/>
                </a:cxn>
                <a:cxn ang="0">
                  <a:pos x="118" y="0"/>
                </a:cxn>
                <a:cxn ang="0">
                  <a:pos x="126" y="16"/>
                </a:cxn>
                <a:cxn ang="0">
                  <a:pos x="130" y="28"/>
                </a:cxn>
                <a:cxn ang="0">
                  <a:pos x="132" y="38"/>
                </a:cxn>
                <a:cxn ang="0">
                  <a:pos x="150" y="58"/>
                </a:cxn>
                <a:cxn ang="0">
                  <a:pos x="156" y="66"/>
                </a:cxn>
                <a:cxn ang="0">
                  <a:pos x="162" y="74"/>
                </a:cxn>
                <a:cxn ang="0">
                  <a:pos x="164" y="76"/>
                </a:cxn>
                <a:cxn ang="0">
                  <a:pos x="168" y="90"/>
                </a:cxn>
                <a:cxn ang="0">
                  <a:pos x="172" y="98"/>
                </a:cxn>
                <a:cxn ang="0">
                  <a:pos x="184" y="104"/>
                </a:cxn>
                <a:cxn ang="0">
                  <a:pos x="196" y="108"/>
                </a:cxn>
                <a:cxn ang="0">
                  <a:pos x="202" y="112"/>
                </a:cxn>
                <a:cxn ang="0">
                  <a:pos x="202" y="114"/>
                </a:cxn>
                <a:cxn ang="0">
                  <a:pos x="196" y="118"/>
                </a:cxn>
                <a:cxn ang="0">
                  <a:pos x="188" y="120"/>
                </a:cxn>
                <a:cxn ang="0">
                  <a:pos x="182" y="122"/>
                </a:cxn>
                <a:cxn ang="0">
                  <a:pos x="176" y="130"/>
                </a:cxn>
                <a:cxn ang="0">
                  <a:pos x="166" y="136"/>
                </a:cxn>
                <a:cxn ang="0">
                  <a:pos x="158" y="144"/>
                </a:cxn>
                <a:cxn ang="0">
                  <a:pos x="150" y="158"/>
                </a:cxn>
                <a:cxn ang="0">
                  <a:pos x="138" y="168"/>
                </a:cxn>
                <a:cxn ang="0">
                  <a:pos x="126" y="190"/>
                </a:cxn>
                <a:cxn ang="0">
                  <a:pos x="118" y="192"/>
                </a:cxn>
                <a:cxn ang="0">
                  <a:pos x="104" y="198"/>
                </a:cxn>
                <a:cxn ang="0">
                  <a:pos x="94" y="196"/>
                </a:cxn>
                <a:cxn ang="0">
                  <a:pos x="88" y="194"/>
                </a:cxn>
                <a:cxn ang="0">
                  <a:pos x="88" y="190"/>
                </a:cxn>
                <a:cxn ang="0">
                  <a:pos x="84" y="190"/>
                </a:cxn>
                <a:cxn ang="0">
                  <a:pos x="66" y="194"/>
                </a:cxn>
                <a:cxn ang="0">
                  <a:pos x="60" y="202"/>
                </a:cxn>
                <a:cxn ang="0">
                  <a:pos x="62" y="204"/>
                </a:cxn>
                <a:cxn ang="0">
                  <a:pos x="62" y="206"/>
                </a:cxn>
                <a:cxn ang="0">
                  <a:pos x="54" y="212"/>
                </a:cxn>
                <a:cxn ang="0">
                  <a:pos x="50" y="218"/>
                </a:cxn>
                <a:cxn ang="0">
                  <a:pos x="48" y="220"/>
                </a:cxn>
                <a:cxn ang="0">
                  <a:pos x="42" y="222"/>
                </a:cxn>
                <a:cxn ang="0">
                  <a:pos x="42" y="224"/>
                </a:cxn>
                <a:cxn ang="0">
                  <a:pos x="34" y="224"/>
                </a:cxn>
                <a:cxn ang="0">
                  <a:pos x="28" y="224"/>
                </a:cxn>
                <a:cxn ang="0">
                  <a:pos x="22" y="222"/>
                </a:cxn>
                <a:cxn ang="0">
                  <a:pos x="26" y="212"/>
                </a:cxn>
                <a:cxn ang="0">
                  <a:pos x="24" y="198"/>
                </a:cxn>
                <a:cxn ang="0">
                  <a:pos x="16" y="188"/>
                </a:cxn>
                <a:cxn ang="0">
                  <a:pos x="0" y="180"/>
                </a:cxn>
              </a:cxnLst>
              <a:rect l="0" t="0" r="r" b="b"/>
              <a:pathLst>
                <a:path w="202" h="224">
                  <a:moveTo>
                    <a:pt x="0" y="180"/>
                  </a:moveTo>
                  <a:lnTo>
                    <a:pt x="0" y="180"/>
                  </a:lnTo>
                  <a:lnTo>
                    <a:pt x="4" y="106"/>
                  </a:lnTo>
                  <a:lnTo>
                    <a:pt x="24" y="106"/>
                  </a:lnTo>
                  <a:lnTo>
                    <a:pt x="28" y="22"/>
                  </a:lnTo>
                  <a:lnTo>
                    <a:pt x="28" y="22"/>
                  </a:lnTo>
                  <a:lnTo>
                    <a:pt x="68" y="10"/>
                  </a:lnTo>
                  <a:lnTo>
                    <a:pt x="68" y="10"/>
                  </a:lnTo>
                  <a:lnTo>
                    <a:pt x="72" y="10"/>
                  </a:lnTo>
                  <a:lnTo>
                    <a:pt x="78" y="10"/>
                  </a:lnTo>
                  <a:lnTo>
                    <a:pt x="84" y="14"/>
                  </a:lnTo>
                  <a:lnTo>
                    <a:pt x="88" y="18"/>
                  </a:lnTo>
                  <a:lnTo>
                    <a:pt x="92" y="18"/>
                  </a:lnTo>
                  <a:lnTo>
                    <a:pt x="94" y="16"/>
                  </a:lnTo>
                  <a:lnTo>
                    <a:pt x="94" y="16"/>
                  </a:lnTo>
                  <a:lnTo>
                    <a:pt x="102" y="8"/>
                  </a:lnTo>
                  <a:lnTo>
                    <a:pt x="108" y="6"/>
                  </a:lnTo>
                  <a:lnTo>
                    <a:pt x="112" y="6"/>
                  </a:lnTo>
                  <a:lnTo>
                    <a:pt x="118" y="0"/>
                  </a:lnTo>
                  <a:lnTo>
                    <a:pt x="118" y="0"/>
                  </a:lnTo>
                  <a:lnTo>
                    <a:pt x="122" y="12"/>
                  </a:lnTo>
                  <a:lnTo>
                    <a:pt x="126" y="16"/>
                  </a:lnTo>
                  <a:lnTo>
                    <a:pt x="128" y="18"/>
                  </a:lnTo>
                  <a:lnTo>
                    <a:pt x="130" y="28"/>
                  </a:lnTo>
                  <a:lnTo>
                    <a:pt x="130" y="28"/>
                  </a:lnTo>
                  <a:lnTo>
                    <a:pt x="132" y="38"/>
                  </a:lnTo>
                  <a:lnTo>
                    <a:pt x="136" y="44"/>
                  </a:lnTo>
                  <a:lnTo>
                    <a:pt x="150" y="58"/>
                  </a:lnTo>
                  <a:lnTo>
                    <a:pt x="150" y="58"/>
                  </a:lnTo>
                  <a:lnTo>
                    <a:pt x="156" y="66"/>
                  </a:lnTo>
                  <a:lnTo>
                    <a:pt x="160" y="72"/>
                  </a:lnTo>
                  <a:lnTo>
                    <a:pt x="162" y="74"/>
                  </a:lnTo>
                  <a:lnTo>
                    <a:pt x="164" y="76"/>
                  </a:lnTo>
                  <a:lnTo>
                    <a:pt x="164" y="76"/>
                  </a:lnTo>
                  <a:lnTo>
                    <a:pt x="164" y="80"/>
                  </a:lnTo>
                  <a:lnTo>
                    <a:pt x="168" y="90"/>
                  </a:lnTo>
                  <a:lnTo>
                    <a:pt x="170" y="94"/>
                  </a:lnTo>
                  <a:lnTo>
                    <a:pt x="172" y="98"/>
                  </a:lnTo>
                  <a:lnTo>
                    <a:pt x="178" y="102"/>
                  </a:lnTo>
                  <a:lnTo>
                    <a:pt x="184" y="104"/>
                  </a:lnTo>
                  <a:lnTo>
                    <a:pt x="184" y="104"/>
                  </a:lnTo>
                  <a:lnTo>
                    <a:pt x="196" y="108"/>
                  </a:lnTo>
                  <a:lnTo>
                    <a:pt x="202" y="110"/>
                  </a:lnTo>
                  <a:lnTo>
                    <a:pt x="202" y="112"/>
                  </a:lnTo>
                  <a:lnTo>
                    <a:pt x="202" y="114"/>
                  </a:lnTo>
                  <a:lnTo>
                    <a:pt x="202" y="114"/>
                  </a:lnTo>
                  <a:lnTo>
                    <a:pt x="198" y="116"/>
                  </a:lnTo>
                  <a:lnTo>
                    <a:pt x="196" y="118"/>
                  </a:lnTo>
                  <a:lnTo>
                    <a:pt x="194" y="120"/>
                  </a:lnTo>
                  <a:lnTo>
                    <a:pt x="188" y="120"/>
                  </a:lnTo>
                  <a:lnTo>
                    <a:pt x="188" y="120"/>
                  </a:lnTo>
                  <a:lnTo>
                    <a:pt x="182" y="122"/>
                  </a:lnTo>
                  <a:lnTo>
                    <a:pt x="180" y="126"/>
                  </a:lnTo>
                  <a:lnTo>
                    <a:pt x="176" y="130"/>
                  </a:lnTo>
                  <a:lnTo>
                    <a:pt x="166" y="136"/>
                  </a:lnTo>
                  <a:lnTo>
                    <a:pt x="166" y="136"/>
                  </a:lnTo>
                  <a:lnTo>
                    <a:pt x="162" y="138"/>
                  </a:lnTo>
                  <a:lnTo>
                    <a:pt x="158" y="144"/>
                  </a:lnTo>
                  <a:lnTo>
                    <a:pt x="150" y="158"/>
                  </a:lnTo>
                  <a:lnTo>
                    <a:pt x="150" y="158"/>
                  </a:lnTo>
                  <a:lnTo>
                    <a:pt x="144" y="164"/>
                  </a:lnTo>
                  <a:lnTo>
                    <a:pt x="138" y="168"/>
                  </a:lnTo>
                  <a:lnTo>
                    <a:pt x="132" y="174"/>
                  </a:lnTo>
                  <a:lnTo>
                    <a:pt x="126" y="190"/>
                  </a:lnTo>
                  <a:lnTo>
                    <a:pt x="126" y="190"/>
                  </a:lnTo>
                  <a:lnTo>
                    <a:pt x="118" y="192"/>
                  </a:lnTo>
                  <a:lnTo>
                    <a:pt x="112" y="194"/>
                  </a:lnTo>
                  <a:lnTo>
                    <a:pt x="104" y="198"/>
                  </a:lnTo>
                  <a:lnTo>
                    <a:pt x="100" y="198"/>
                  </a:lnTo>
                  <a:lnTo>
                    <a:pt x="94" y="196"/>
                  </a:lnTo>
                  <a:lnTo>
                    <a:pt x="94" y="196"/>
                  </a:lnTo>
                  <a:lnTo>
                    <a:pt x="88" y="194"/>
                  </a:lnTo>
                  <a:lnTo>
                    <a:pt x="88" y="192"/>
                  </a:lnTo>
                  <a:lnTo>
                    <a:pt x="88" y="190"/>
                  </a:lnTo>
                  <a:lnTo>
                    <a:pt x="84" y="190"/>
                  </a:lnTo>
                  <a:lnTo>
                    <a:pt x="84" y="190"/>
                  </a:lnTo>
                  <a:lnTo>
                    <a:pt x="74" y="190"/>
                  </a:lnTo>
                  <a:lnTo>
                    <a:pt x="66" y="194"/>
                  </a:lnTo>
                  <a:lnTo>
                    <a:pt x="62" y="198"/>
                  </a:lnTo>
                  <a:lnTo>
                    <a:pt x="60" y="202"/>
                  </a:lnTo>
                  <a:lnTo>
                    <a:pt x="62" y="204"/>
                  </a:lnTo>
                  <a:lnTo>
                    <a:pt x="62" y="204"/>
                  </a:lnTo>
                  <a:lnTo>
                    <a:pt x="62" y="206"/>
                  </a:lnTo>
                  <a:lnTo>
                    <a:pt x="62" y="206"/>
                  </a:lnTo>
                  <a:lnTo>
                    <a:pt x="58" y="208"/>
                  </a:lnTo>
                  <a:lnTo>
                    <a:pt x="54" y="212"/>
                  </a:lnTo>
                  <a:lnTo>
                    <a:pt x="50" y="218"/>
                  </a:lnTo>
                  <a:lnTo>
                    <a:pt x="50" y="218"/>
                  </a:lnTo>
                  <a:lnTo>
                    <a:pt x="48" y="220"/>
                  </a:lnTo>
                  <a:lnTo>
                    <a:pt x="48" y="220"/>
                  </a:lnTo>
                  <a:lnTo>
                    <a:pt x="46" y="218"/>
                  </a:lnTo>
                  <a:lnTo>
                    <a:pt x="42" y="222"/>
                  </a:lnTo>
                  <a:lnTo>
                    <a:pt x="42" y="222"/>
                  </a:lnTo>
                  <a:lnTo>
                    <a:pt x="42" y="224"/>
                  </a:lnTo>
                  <a:lnTo>
                    <a:pt x="38" y="224"/>
                  </a:lnTo>
                  <a:lnTo>
                    <a:pt x="34" y="224"/>
                  </a:lnTo>
                  <a:lnTo>
                    <a:pt x="28" y="224"/>
                  </a:lnTo>
                  <a:lnTo>
                    <a:pt x="28" y="224"/>
                  </a:lnTo>
                  <a:lnTo>
                    <a:pt x="22" y="224"/>
                  </a:lnTo>
                  <a:lnTo>
                    <a:pt x="22" y="222"/>
                  </a:lnTo>
                  <a:lnTo>
                    <a:pt x="26" y="212"/>
                  </a:lnTo>
                  <a:lnTo>
                    <a:pt x="26" y="212"/>
                  </a:lnTo>
                  <a:lnTo>
                    <a:pt x="26" y="206"/>
                  </a:lnTo>
                  <a:lnTo>
                    <a:pt x="24" y="198"/>
                  </a:lnTo>
                  <a:lnTo>
                    <a:pt x="20" y="192"/>
                  </a:lnTo>
                  <a:lnTo>
                    <a:pt x="16" y="188"/>
                  </a:lnTo>
                  <a:lnTo>
                    <a:pt x="10" y="184"/>
                  </a:lnTo>
                  <a:lnTo>
                    <a:pt x="0" y="180"/>
                  </a:lnTo>
                  <a:lnTo>
                    <a:pt x="0" y="18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4" name="Freeform 50"/>
            <p:cNvSpPr>
              <a:spLocks/>
            </p:cNvSpPr>
            <p:nvPr/>
          </p:nvSpPr>
          <p:spPr bwMode="auto">
            <a:xfrm>
              <a:off x="4464809" y="4200261"/>
              <a:ext cx="367771" cy="381000"/>
            </a:xfrm>
            <a:custGeom>
              <a:avLst/>
              <a:gdLst/>
              <a:ahLst/>
              <a:cxnLst>
                <a:cxn ang="0">
                  <a:pos x="0" y="10"/>
                </a:cxn>
                <a:cxn ang="0">
                  <a:pos x="4" y="30"/>
                </a:cxn>
                <a:cxn ang="0">
                  <a:pos x="18" y="60"/>
                </a:cxn>
                <a:cxn ang="0">
                  <a:pos x="20" y="72"/>
                </a:cxn>
                <a:cxn ang="0">
                  <a:pos x="22" y="82"/>
                </a:cxn>
                <a:cxn ang="0">
                  <a:pos x="38" y="118"/>
                </a:cxn>
                <a:cxn ang="0">
                  <a:pos x="54" y="146"/>
                </a:cxn>
                <a:cxn ang="0">
                  <a:pos x="56" y="150"/>
                </a:cxn>
                <a:cxn ang="0">
                  <a:pos x="54" y="162"/>
                </a:cxn>
                <a:cxn ang="0">
                  <a:pos x="54" y="172"/>
                </a:cxn>
                <a:cxn ang="0">
                  <a:pos x="54" y="180"/>
                </a:cxn>
                <a:cxn ang="0">
                  <a:pos x="60" y="214"/>
                </a:cxn>
                <a:cxn ang="0">
                  <a:pos x="68" y="244"/>
                </a:cxn>
                <a:cxn ang="0">
                  <a:pos x="68" y="248"/>
                </a:cxn>
                <a:cxn ang="0">
                  <a:pos x="70" y="262"/>
                </a:cxn>
                <a:cxn ang="0">
                  <a:pos x="80" y="282"/>
                </a:cxn>
                <a:cxn ang="0">
                  <a:pos x="92" y="274"/>
                </a:cxn>
                <a:cxn ang="0">
                  <a:pos x="104" y="270"/>
                </a:cxn>
                <a:cxn ang="0">
                  <a:pos x="108" y="272"/>
                </a:cxn>
                <a:cxn ang="0">
                  <a:pos x="110" y="280"/>
                </a:cxn>
                <a:cxn ang="0">
                  <a:pos x="118" y="288"/>
                </a:cxn>
                <a:cxn ang="0">
                  <a:pos x="122" y="288"/>
                </a:cxn>
                <a:cxn ang="0">
                  <a:pos x="136" y="286"/>
                </a:cxn>
                <a:cxn ang="0">
                  <a:pos x="144" y="282"/>
                </a:cxn>
                <a:cxn ang="0">
                  <a:pos x="152" y="276"/>
                </a:cxn>
                <a:cxn ang="0">
                  <a:pos x="160" y="198"/>
                </a:cxn>
                <a:cxn ang="0">
                  <a:pos x="164" y="124"/>
                </a:cxn>
                <a:cxn ang="0">
                  <a:pos x="188" y="40"/>
                </a:cxn>
                <a:cxn ang="0">
                  <a:pos x="228" y="28"/>
                </a:cxn>
                <a:cxn ang="0">
                  <a:pos x="232" y="28"/>
                </a:cxn>
                <a:cxn ang="0">
                  <a:pos x="244" y="32"/>
                </a:cxn>
                <a:cxn ang="0">
                  <a:pos x="252" y="36"/>
                </a:cxn>
                <a:cxn ang="0">
                  <a:pos x="254" y="34"/>
                </a:cxn>
                <a:cxn ang="0">
                  <a:pos x="268" y="24"/>
                </a:cxn>
                <a:cxn ang="0">
                  <a:pos x="278" y="18"/>
                </a:cxn>
                <a:cxn ang="0">
                  <a:pos x="274" y="16"/>
                </a:cxn>
                <a:cxn ang="0">
                  <a:pos x="268" y="10"/>
                </a:cxn>
                <a:cxn ang="0">
                  <a:pos x="260" y="12"/>
                </a:cxn>
                <a:cxn ang="0">
                  <a:pos x="244" y="12"/>
                </a:cxn>
                <a:cxn ang="0">
                  <a:pos x="234" y="12"/>
                </a:cxn>
                <a:cxn ang="0">
                  <a:pos x="204" y="22"/>
                </a:cxn>
                <a:cxn ang="0">
                  <a:pos x="184" y="22"/>
                </a:cxn>
                <a:cxn ang="0">
                  <a:pos x="176" y="20"/>
                </a:cxn>
                <a:cxn ang="0">
                  <a:pos x="160" y="22"/>
                </a:cxn>
                <a:cxn ang="0">
                  <a:pos x="160" y="20"/>
                </a:cxn>
                <a:cxn ang="0">
                  <a:pos x="134" y="10"/>
                </a:cxn>
                <a:cxn ang="0">
                  <a:pos x="134" y="8"/>
                </a:cxn>
                <a:cxn ang="0">
                  <a:pos x="60" y="8"/>
                </a:cxn>
                <a:cxn ang="0">
                  <a:pos x="48" y="6"/>
                </a:cxn>
                <a:cxn ang="0">
                  <a:pos x="32" y="2"/>
                </a:cxn>
                <a:cxn ang="0">
                  <a:pos x="24" y="2"/>
                </a:cxn>
                <a:cxn ang="0">
                  <a:pos x="18" y="6"/>
                </a:cxn>
                <a:cxn ang="0">
                  <a:pos x="12" y="6"/>
                </a:cxn>
                <a:cxn ang="0">
                  <a:pos x="0" y="10"/>
                </a:cxn>
              </a:cxnLst>
              <a:rect l="0" t="0" r="r" b="b"/>
              <a:pathLst>
                <a:path w="278" h="288">
                  <a:moveTo>
                    <a:pt x="0" y="10"/>
                  </a:moveTo>
                  <a:lnTo>
                    <a:pt x="0" y="10"/>
                  </a:lnTo>
                  <a:lnTo>
                    <a:pt x="2" y="20"/>
                  </a:lnTo>
                  <a:lnTo>
                    <a:pt x="4" y="30"/>
                  </a:lnTo>
                  <a:lnTo>
                    <a:pt x="10" y="46"/>
                  </a:lnTo>
                  <a:lnTo>
                    <a:pt x="18" y="60"/>
                  </a:lnTo>
                  <a:lnTo>
                    <a:pt x="20" y="66"/>
                  </a:lnTo>
                  <a:lnTo>
                    <a:pt x="20" y="72"/>
                  </a:lnTo>
                  <a:lnTo>
                    <a:pt x="20" y="72"/>
                  </a:lnTo>
                  <a:lnTo>
                    <a:pt x="22" y="82"/>
                  </a:lnTo>
                  <a:lnTo>
                    <a:pt x="26" y="92"/>
                  </a:lnTo>
                  <a:lnTo>
                    <a:pt x="38" y="118"/>
                  </a:lnTo>
                  <a:lnTo>
                    <a:pt x="52" y="138"/>
                  </a:lnTo>
                  <a:lnTo>
                    <a:pt x="54" y="146"/>
                  </a:lnTo>
                  <a:lnTo>
                    <a:pt x="56" y="150"/>
                  </a:lnTo>
                  <a:lnTo>
                    <a:pt x="56" y="150"/>
                  </a:lnTo>
                  <a:lnTo>
                    <a:pt x="54" y="158"/>
                  </a:lnTo>
                  <a:lnTo>
                    <a:pt x="54" y="162"/>
                  </a:lnTo>
                  <a:lnTo>
                    <a:pt x="56" y="164"/>
                  </a:lnTo>
                  <a:lnTo>
                    <a:pt x="54" y="172"/>
                  </a:lnTo>
                  <a:lnTo>
                    <a:pt x="54" y="172"/>
                  </a:lnTo>
                  <a:lnTo>
                    <a:pt x="54" y="180"/>
                  </a:lnTo>
                  <a:lnTo>
                    <a:pt x="56" y="190"/>
                  </a:lnTo>
                  <a:lnTo>
                    <a:pt x="60" y="214"/>
                  </a:lnTo>
                  <a:lnTo>
                    <a:pt x="66" y="236"/>
                  </a:lnTo>
                  <a:lnTo>
                    <a:pt x="68" y="244"/>
                  </a:lnTo>
                  <a:lnTo>
                    <a:pt x="68" y="248"/>
                  </a:lnTo>
                  <a:lnTo>
                    <a:pt x="68" y="248"/>
                  </a:lnTo>
                  <a:lnTo>
                    <a:pt x="68" y="254"/>
                  </a:lnTo>
                  <a:lnTo>
                    <a:pt x="70" y="262"/>
                  </a:lnTo>
                  <a:lnTo>
                    <a:pt x="74" y="272"/>
                  </a:lnTo>
                  <a:lnTo>
                    <a:pt x="80" y="282"/>
                  </a:lnTo>
                  <a:lnTo>
                    <a:pt x="80" y="282"/>
                  </a:lnTo>
                  <a:lnTo>
                    <a:pt x="92" y="274"/>
                  </a:lnTo>
                  <a:lnTo>
                    <a:pt x="98" y="272"/>
                  </a:lnTo>
                  <a:lnTo>
                    <a:pt x="104" y="270"/>
                  </a:lnTo>
                  <a:lnTo>
                    <a:pt x="104" y="270"/>
                  </a:lnTo>
                  <a:lnTo>
                    <a:pt x="108" y="272"/>
                  </a:lnTo>
                  <a:lnTo>
                    <a:pt x="108" y="274"/>
                  </a:lnTo>
                  <a:lnTo>
                    <a:pt x="110" y="280"/>
                  </a:lnTo>
                  <a:lnTo>
                    <a:pt x="114" y="286"/>
                  </a:lnTo>
                  <a:lnTo>
                    <a:pt x="118" y="288"/>
                  </a:lnTo>
                  <a:lnTo>
                    <a:pt x="122" y="288"/>
                  </a:lnTo>
                  <a:lnTo>
                    <a:pt x="122" y="288"/>
                  </a:lnTo>
                  <a:lnTo>
                    <a:pt x="130" y="288"/>
                  </a:lnTo>
                  <a:lnTo>
                    <a:pt x="136" y="286"/>
                  </a:lnTo>
                  <a:lnTo>
                    <a:pt x="140" y="284"/>
                  </a:lnTo>
                  <a:lnTo>
                    <a:pt x="144" y="282"/>
                  </a:lnTo>
                  <a:lnTo>
                    <a:pt x="148" y="278"/>
                  </a:lnTo>
                  <a:lnTo>
                    <a:pt x="152" y="276"/>
                  </a:lnTo>
                  <a:lnTo>
                    <a:pt x="156" y="276"/>
                  </a:lnTo>
                  <a:lnTo>
                    <a:pt x="160" y="198"/>
                  </a:lnTo>
                  <a:lnTo>
                    <a:pt x="160" y="198"/>
                  </a:lnTo>
                  <a:lnTo>
                    <a:pt x="164" y="124"/>
                  </a:lnTo>
                  <a:lnTo>
                    <a:pt x="184" y="124"/>
                  </a:lnTo>
                  <a:lnTo>
                    <a:pt x="188" y="40"/>
                  </a:lnTo>
                  <a:lnTo>
                    <a:pt x="188" y="40"/>
                  </a:lnTo>
                  <a:lnTo>
                    <a:pt x="228" y="28"/>
                  </a:lnTo>
                  <a:lnTo>
                    <a:pt x="228" y="28"/>
                  </a:lnTo>
                  <a:lnTo>
                    <a:pt x="232" y="28"/>
                  </a:lnTo>
                  <a:lnTo>
                    <a:pt x="238" y="28"/>
                  </a:lnTo>
                  <a:lnTo>
                    <a:pt x="244" y="32"/>
                  </a:lnTo>
                  <a:lnTo>
                    <a:pt x="248" y="36"/>
                  </a:lnTo>
                  <a:lnTo>
                    <a:pt x="252" y="36"/>
                  </a:lnTo>
                  <a:lnTo>
                    <a:pt x="254" y="34"/>
                  </a:lnTo>
                  <a:lnTo>
                    <a:pt x="254" y="34"/>
                  </a:lnTo>
                  <a:lnTo>
                    <a:pt x="262" y="26"/>
                  </a:lnTo>
                  <a:lnTo>
                    <a:pt x="268" y="24"/>
                  </a:lnTo>
                  <a:lnTo>
                    <a:pt x="272" y="24"/>
                  </a:lnTo>
                  <a:lnTo>
                    <a:pt x="278" y="18"/>
                  </a:lnTo>
                  <a:lnTo>
                    <a:pt x="278" y="18"/>
                  </a:lnTo>
                  <a:lnTo>
                    <a:pt x="274" y="16"/>
                  </a:lnTo>
                  <a:lnTo>
                    <a:pt x="272" y="12"/>
                  </a:lnTo>
                  <a:lnTo>
                    <a:pt x="268" y="10"/>
                  </a:lnTo>
                  <a:lnTo>
                    <a:pt x="260" y="12"/>
                  </a:lnTo>
                  <a:lnTo>
                    <a:pt x="260" y="12"/>
                  </a:lnTo>
                  <a:lnTo>
                    <a:pt x="250" y="12"/>
                  </a:lnTo>
                  <a:lnTo>
                    <a:pt x="244" y="12"/>
                  </a:lnTo>
                  <a:lnTo>
                    <a:pt x="240" y="12"/>
                  </a:lnTo>
                  <a:lnTo>
                    <a:pt x="234" y="12"/>
                  </a:lnTo>
                  <a:lnTo>
                    <a:pt x="234" y="12"/>
                  </a:lnTo>
                  <a:lnTo>
                    <a:pt x="204" y="22"/>
                  </a:lnTo>
                  <a:lnTo>
                    <a:pt x="190" y="24"/>
                  </a:lnTo>
                  <a:lnTo>
                    <a:pt x="184" y="22"/>
                  </a:lnTo>
                  <a:lnTo>
                    <a:pt x="176" y="20"/>
                  </a:lnTo>
                  <a:lnTo>
                    <a:pt x="176" y="20"/>
                  </a:lnTo>
                  <a:lnTo>
                    <a:pt x="162" y="22"/>
                  </a:lnTo>
                  <a:lnTo>
                    <a:pt x="160" y="22"/>
                  </a:lnTo>
                  <a:lnTo>
                    <a:pt x="160" y="20"/>
                  </a:lnTo>
                  <a:lnTo>
                    <a:pt x="160" y="20"/>
                  </a:lnTo>
                  <a:lnTo>
                    <a:pt x="142" y="14"/>
                  </a:lnTo>
                  <a:lnTo>
                    <a:pt x="134" y="10"/>
                  </a:lnTo>
                  <a:lnTo>
                    <a:pt x="134" y="8"/>
                  </a:lnTo>
                  <a:lnTo>
                    <a:pt x="134" y="8"/>
                  </a:lnTo>
                  <a:lnTo>
                    <a:pt x="134" y="8"/>
                  </a:lnTo>
                  <a:lnTo>
                    <a:pt x="60" y="8"/>
                  </a:lnTo>
                  <a:lnTo>
                    <a:pt x="60" y="8"/>
                  </a:lnTo>
                  <a:lnTo>
                    <a:pt x="48" y="6"/>
                  </a:lnTo>
                  <a:lnTo>
                    <a:pt x="40" y="6"/>
                  </a:lnTo>
                  <a:lnTo>
                    <a:pt x="32" y="2"/>
                  </a:lnTo>
                  <a:lnTo>
                    <a:pt x="30" y="0"/>
                  </a:lnTo>
                  <a:lnTo>
                    <a:pt x="24" y="2"/>
                  </a:lnTo>
                  <a:lnTo>
                    <a:pt x="24" y="2"/>
                  </a:lnTo>
                  <a:lnTo>
                    <a:pt x="18" y="6"/>
                  </a:lnTo>
                  <a:lnTo>
                    <a:pt x="16" y="4"/>
                  </a:lnTo>
                  <a:lnTo>
                    <a:pt x="12" y="6"/>
                  </a:lnTo>
                  <a:lnTo>
                    <a:pt x="0" y="10"/>
                  </a:lnTo>
                  <a:lnTo>
                    <a:pt x="0" y="1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5" name="Freeform 51"/>
            <p:cNvSpPr>
              <a:spLocks/>
            </p:cNvSpPr>
            <p:nvPr/>
          </p:nvSpPr>
          <p:spPr bwMode="auto">
            <a:xfrm>
              <a:off x="4753205" y="3901281"/>
              <a:ext cx="330729" cy="325438"/>
            </a:xfrm>
            <a:custGeom>
              <a:avLst/>
              <a:gdLst/>
              <a:ahLst/>
              <a:cxnLst>
                <a:cxn ang="0">
                  <a:pos x="168" y="186"/>
                </a:cxn>
                <a:cxn ang="0">
                  <a:pos x="166" y="178"/>
                </a:cxn>
                <a:cxn ang="0">
                  <a:pos x="202" y="166"/>
                </a:cxn>
                <a:cxn ang="0">
                  <a:pos x="234" y="152"/>
                </a:cxn>
                <a:cxn ang="0">
                  <a:pos x="228" y="152"/>
                </a:cxn>
                <a:cxn ang="0">
                  <a:pos x="224" y="150"/>
                </a:cxn>
                <a:cxn ang="0">
                  <a:pos x="226" y="142"/>
                </a:cxn>
                <a:cxn ang="0">
                  <a:pos x="230" y="128"/>
                </a:cxn>
                <a:cxn ang="0">
                  <a:pos x="240" y="120"/>
                </a:cxn>
                <a:cxn ang="0">
                  <a:pos x="246" y="112"/>
                </a:cxn>
                <a:cxn ang="0">
                  <a:pos x="242" y="112"/>
                </a:cxn>
                <a:cxn ang="0">
                  <a:pos x="240" y="92"/>
                </a:cxn>
                <a:cxn ang="0">
                  <a:pos x="248" y="72"/>
                </a:cxn>
                <a:cxn ang="0">
                  <a:pos x="248" y="66"/>
                </a:cxn>
                <a:cxn ang="0">
                  <a:pos x="246" y="56"/>
                </a:cxn>
                <a:cxn ang="0">
                  <a:pos x="244" y="46"/>
                </a:cxn>
                <a:cxn ang="0">
                  <a:pos x="244" y="36"/>
                </a:cxn>
                <a:cxn ang="0">
                  <a:pos x="218" y="24"/>
                </a:cxn>
                <a:cxn ang="0">
                  <a:pos x="200" y="14"/>
                </a:cxn>
                <a:cxn ang="0">
                  <a:pos x="190" y="12"/>
                </a:cxn>
                <a:cxn ang="0">
                  <a:pos x="184" y="4"/>
                </a:cxn>
                <a:cxn ang="0">
                  <a:pos x="154" y="10"/>
                </a:cxn>
                <a:cxn ang="0">
                  <a:pos x="156" y="20"/>
                </a:cxn>
                <a:cxn ang="0">
                  <a:pos x="148" y="30"/>
                </a:cxn>
                <a:cxn ang="0">
                  <a:pos x="154" y="40"/>
                </a:cxn>
                <a:cxn ang="0">
                  <a:pos x="152" y="48"/>
                </a:cxn>
                <a:cxn ang="0">
                  <a:pos x="146" y="60"/>
                </a:cxn>
                <a:cxn ang="0">
                  <a:pos x="142" y="68"/>
                </a:cxn>
                <a:cxn ang="0">
                  <a:pos x="144" y="86"/>
                </a:cxn>
                <a:cxn ang="0">
                  <a:pos x="142" y="92"/>
                </a:cxn>
                <a:cxn ang="0">
                  <a:pos x="158" y="104"/>
                </a:cxn>
                <a:cxn ang="0">
                  <a:pos x="164" y="102"/>
                </a:cxn>
                <a:cxn ang="0">
                  <a:pos x="160" y="126"/>
                </a:cxn>
                <a:cxn ang="0">
                  <a:pos x="156" y="122"/>
                </a:cxn>
                <a:cxn ang="0">
                  <a:pos x="144" y="118"/>
                </a:cxn>
                <a:cxn ang="0">
                  <a:pos x="130" y="104"/>
                </a:cxn>
                <a:cxn ang="0">
                  <a:pos x="114" y="96"/>
                </a:cxn>
                <a:cxn ang="0">
                  <a:pos x="104" y="94"/>
                </a:cxn>
                <a:cxn ang="0">
                  <a:pos x="92" y="94"/>
                </a:cxn>
                <a:cxn ang="0">
                  <a:pos x="80" y="92"/>
                </a:cxn>
                <a:cxn ang="0">
                  <a:pos x="72" y="86"/>
                </a:cxn>
                <a:cxn ang="0">
                  <a:pos x="72" y="78"/>
                </a:cxn>
                <a:cxn ang="0">
                  <a:pos x="60" y="78"/>
                </a:cxn>
                <a:cxn ang="0">
                  <a:pos x="50" y="74"/>
                </a:cxn>
                <a:cxn ang="0">
                  <a:pos x="46" y="80"/>
                </a:cxn>
                <a:cxn ang="0">
                  <a:pos x="48" y="100"/>
                </a:cxn>
                <a:cxn ang="0">
                  <a:pos x="48" y="120"/>
                </a:cxn>
                <a:cxn ang="0">
                  <a:pos x="0" y="124"/>
                </a:cxn>
                <a:cxn ang="0">
                  <a:pos x="0" y="220"/>
                </a:cxn>
                <a:cxn ang="0">
                  <a:pos x="4" y="228"/>
                </a:cxn>
                <a:cxn ang="0">
                  <a:pos x="16" y="238"/>
                </a:cxn>
                <a:cxn ang="0">
                  <a:pos x="26" y="238"/>
                </a:cxn>
                <a:cxn ang="0">
                  <a:pos x="42" y="238"/>
                </a:cxn>
                <a:cxn ang="0">
                  <a:pos x="56" y="242"/>
                </a:cxn>
                <a:cxn ang="0">
                  <a:pos x="76" y="244"/>
                </a:cxn>
                <a:cxn ang="0">
                  <a:pos x="94" y="244"/>
                </a:cxn>
                <a:cxn ang="0">
                  <a:pos x="104" y="242"/>
                </a:cxn>
                <a:cxn ang="0">
                  <a:pos x="114" y="240"/>
                </a:cxn>
                <a:cxn ang="0">
                  <a:pos x="126" y="216"/>
                </a:cxn>
                <a:cxn ang="0">
                  <a:pos x="146" y="200"/>
                </a:cxn>
                <a:cxn ang="0">
                  <a:pos x="156" y="194"/>
                </a:cxn>
                <a:cxn ang="0">
                  <a:pos x="156" y="194"/>
                </a:cxn>
              </a:cxnLst>
              <a:rect l="0" t="0" r="r" b="b"/>
              <a:pathLst>
                <a:path w="250" h="246">
                  <a:moveTo>
                    <a:pt x="170" y="190"/>
                  </a:moveTo>
                  <a:lnTo>
                    <a:pt x="170" y="190"/>
                  </a:lnTo>
                  <a:lnTo>
                    <a:pt x="168" y="186"/>
                  </a:lnTo>
                  <a:lnTo>
                    <a:pt x="168" y="182"/>
                  </a:lnTo>
                  <a:lnTo>
                    <a:pt x="168" y="182"/>
                  </a:lnTo>
                  <a:lnTo>
                    <a:pt x="166" y="178"/>
                  </a:lnTo>
                  <a:lnTo>
                    <a:pt x="166" y="178"/>
                  </a:lnTo>
                  <a:lnTo>
                    <a:pt x="182" y="172"/>
                  </a:lnTo>
                  <a:lnTo>
                    <a:pt x="202" y="166"/>
                  </a:lnTo>
                  <a:lnTo>
                    <a:pt x="202" y="166"/>
                  </a:lnTo>
                  <a:lnTo>
                    <a:pt x="218" y="160"/>
                  </a:lnTo>
                  <a:lnTo>
                    <a:pt x="234" y="152"/>
                  </a:lnTo>
                  <a:lnTo>
                    <a:pt x="234" y="152"/>
                  </a:lnTo>
                  <a:lnTo>
                    <a:pt x="230" y="152"/>
                  </a:lnTo>
                  <a:lnTo>
                    <a:pt x="228" y="152"/>
                  </a:lnTo>
                  <a:lnTo>
                    <a:pt x="226" y="152"/>
                  </a:lnTo>
                  <a:lnTo>
                    <a:pt x="224" y="150"/>
                  </a:lnTo>
                  <a:lnTo>
                    <a:pt x="224" y="150"/>
                  </a:lnTo>
                  <a:lnTo>
                    <a:pt x="224" y="148"/>
                  </a:lnTo>
                  <a:lnTo>
                    <a:pt x="224" y="146"/>
                  </a:lnTo>
                  <a:lnTo>
                    <a:pt x="226" y="142"/>
                  </a:lnTo>
                  <a:lnTo>
                    <a:pt x="228" y="134"/>
                  </a:lnTo>
                  <a:lnTo>
                    <a:pt x="228" y="134"/>
                  </a:lnTo>
                  <a:lnTo>
                    <a:pt x="230" y="128"/>
                  </a:lnTo>
                  <a:lnTo>
                    <a:pt x="232" y="124"/>
                  </a:lnTo>
                  <a:lnTo>
                    <a:pt x="240" y="120"/>
                  </a:lnTo>
                  <a:lnTo>
                    <a:pt x="240" y="120"/>
                  </a:lnTo>
                  <a:lnTo>
                    <a:pt x="244" y="116"/>
                  </a:lnTo>
                  <a:lnTo>
                    <a:pt x="246" y="114"/>
                  </a:lnTo>
                  <a:lnTo>
                    <a:pt x="246" y="112"/>
                  </a:lnTo>
                  <a:lnTo>
                    <a:pt x="244" y="112"/>
                  </a:lnTo>
                  <a:lnTo>
                    <a:pt x="244" y="112"/>
                  </a:lnTo>
                  <a:lnTo>
                    <a:pt x="242" y="112"/>
                  </a:lnTo>
                  <a:lnTo>
                    <a:pt x="242" y="108"/>
                  </a:lnTo>
                  <a:lnTo>
                    <a:pt x="240" y="92"/>
                  </a:lnTo>
                  <a:lnTo>
                    <a:pt x="240" y="92"/>
                  </a:lnTo>
                  <a:lnTo>
                    <a:pt x="242" y="78"/>
                  </a:lnTo>
                  <a:lnTo>
                    <a:pt x="244" y="74"/>
                  </a:lnTo>
                  <a:lnTo>
                    <a:pt x="248" y="72"/>
                  </a:lnTo>
                  <a:lnTo>
                    <a:pt x="248" y="72"/>
                  </a:lnTo>
                  <a:lnTo>
                    <a:pt x="250" y="68"/>
                  </a:lnTo>
                  <a:lnTo>
                    <a:pt x="248" y="66"/>
                  </a:lnTo>
                  <a:lnTo>
                    <a:pt x="246" y="62"/>
                  </a:lnTo>
                  <a:lnTo>
                    <a:pt x="246" y="56"/>
                  </a:lnTo>
                  <a:lnTo>
                    <a:pt x="246" y="56"/>
                  </a:lnTo>
                  <a:lnTo>
                    <a:pt x="248" y="52"/>
                  </a:lnTo>
                  <a:lnTo>
                    <a:pt x="248" y="50"/>
                  </a:lnTo>
                  <a:lnTo>
                    <a:pt x="244" y="46"/>
                  </a:lnTo>
                  <a:lnTo>
                    <a:pt x="242" y="42"/>
                  </a:lnTo>
                  <a:lnTo>
                    <a:pt x="242" y="38"/>
                  </a:lnTo>
                  <a:lnTo>
                    <a:pt x="244" y="36"/>
                  </a:lnTo>
                  <a:lnTo>
                    <a:pt x="244" y="36"/>
                  </a:lnTo>
                  <a:lnTo>
                    <a:pt x="226" y="30"/>
                  </a:lnTo>
                  <a:lnTo>
                    <a:pt x="218" y="24"/>
                  </a:lnTo>
                  <a:lnTo>
                    <a:pt x="210" y="18"/>
                  </a:lnTo>
                  <a:lnTo>
                    <a:pt x="200" y="14"/>
                  </a:lnTo>
                  <a:lnTo>
                    <a:pt x="200" y="14"/>
                  </a:lnTo>
                  <a:lnTo>
                    <a:pt x="194" y="14"/>
                  </a:lnTo>
                  <a:lnTo>
                    <a:pt x="192" y="14"/>
                  </a:lnTo>
                  <a:lnTo>
                    <a:pt x="190" y="12"/>
                  </a:lnTo>
                  <a:lnTo>
                    <a:pt x="190" y="12"/>
                  </a:lnTo>
                  <a:lnTo>
                    <a:pt x="186" y="4"/>
                  </a:lnTo>
                  <a:lnTo>
                    <a:pt x="184" y="4"/>
                  </a:lnTo>
                  <a:lnTo>
                    <a:pt x="184" y="4"/>
                  </a:lnTo>
                  <a:lnTo>
                    <a:pt x="184" y="0"/>
                  </a:lnTo>
                  <a:lnTo>
                    <a:pt x="154" y="10"/>
                  </a:lnTo>
                  <a:lnTo>
                    <a:pt x="154" y="10"/>
                  </a:lnTo>
                  <a:lnTo>
                    <a:pt x="156" y="14"/>
                  </a:lnTo>
                  <a:lnTo>
                    <a:pt x="156" y="20"/>
                  </a:lnTo>
                  <a:lnTo>
                    <a:pt x="154" y="26"/>
                  </a:lnTo>
                  <a:lnTo>
                    <a:pt x="148" y="30"/>
                  </a:lnTo>
                  <a:lnTo>
                    <a:pt x="148" y="30"/>
                  </a:lnTo>
                  <a:lnTo>
                    <a:pt x="150" y="36"/>
                  </a:lnTo>
                  <a:lnTo>
                    <a:pt x="152" y="38"/>
                  </a:lnTo>
                  <a:lnTo>
                    <a:pt x="154" y="40"/>
                  </a:lnTo>
                  <a:lnTo>
                    <a:pt x="154" y="44"/>
                  </a:lnTo>
                  <a:lnTo>
                    <a:pt x="154" y="44"/>
                  </a:lnTo>
                  <a:lnTo>
                    <a:pt x="152" y="48"/>
                  </a:lnTo>
                  <a:lnTo>
                    <a:pt x="152" y="52"/>
                  </a:lnTo>
                  <a:lnTo>
                    <a:pt x="150" y="56"/>
                  </a:lnTo>
                  <a:lnTo>
                    <a:pt x="146" y="60"/>
                  </a:lnTo>
                  <a:lnTo>
                    <a:pt x="146" y="60"/>
                  </a:lnTo>
                  <a:lnTo>
                    <a:pt x="144" y="64"/>
                  </a:lnTo>
                  <a:lnTo>
                    <a:pt x="142" y="68"/>
                  </a:lnTo>
                  <a:lnTo>
                    <a:pt x="142" y="76"/>
                  </a:lnTo>
                  <a:lnTo>
                    <a:pt x="142" y="82"/>
                  </a:lnTo>
                  <a:lnTo>
                    <a:pt x="144" y="86"/>
                  </a:lnTo>
                  <a:lnTo>
                    <a:pt x="144" y="86"/>
                  </a:lnTo>
                  <a:lnTo>
                    <a:pt x="142" y="88"/>
                  </a:lnTo>
                  <a:lnTo>
                    <a:pt x="142" y="92"/>
                  </a:lnTo>
                  <a:lnTo>
                    <a:pt x="152" y="100"/>
                  </a:lnTo>
                  <a:lnTo>
                    <a:pt x="152" y="100"/>
                  </a:lnTo>
                  <a:lnTo>
                    <a:pt x="158" y="104"/>
                  </a:lnTo>
                  <a:lnTo>
                    <a:pt x="160" y="104"/>
                  </a:lnTo>
                  <a:lnTo>
                    <a:pt x="160" y="102"/>
                  </a:lnTo>
                  <a:lnTo>
                    <a:pt x="164" y="102"/>
                  </a:lnTo>
                  <a:lnTo>
                    <a:pt x="164" y="128"/>
                  </a:lnTo>
                  <a:lnTo>
                    <a:pt x="164" y="128"/>
                  </a:lnTo>
                  <a:lnTo>
                    <a:pt x="160" y="126"/>
                  </a:lnTo>
                  <a:lnTo>
                    <a:pt x="158" y="126"/>
                  </a:lnTo>
                  <a:lnTo>
                    <a:pt x="156" y="122"/>
                  </a:lnTo>
                  <a:lnTo>
                    <a:pt x="156" y="122"/>
                  </a:lnTo>
                  <a:lnTo>
                    <a:pt x="154" y="120"/>
                  </a:lnTo>
                  <a:lnTo>
                    <a:pt x="150" y="120"/>
                  </a:lnTo>
                  <a:lnTo>
                    <a:pt x="144" y="118"/>
                  </a:lnTo>
                  <a:lnTo>
                    <a:pt x="138" y="112"/>
                  </a:lnTo>
                  <a:lnTo>
                    <a:pt x="138" y="112"/>
                  </a:lnTo>
                  <a:lnTo>
                    <a:pt x="130" y="104"/>
                  </a:lnTo>
                  <a:lnTo>
                    <a:pt x="124" y="102"/>
                  </a:lnTo>
                  <a:lnTo>
                    <a:pt x="118" y="100"/>
                  </a:lnTo>
                  <a:lnTo>
                    <a:pt x="114" y="96"/>
                  </a:lnTo>
                  <a:lnTo>
                    <a:pt x="114" y="96"/>
                  </a:lnTo>
                  <a:lnTo>
                    <a:pt x="108" y="92"/>
                  </a:lnTo>
                  <a:lnTo>
                    <a:pt x="104" y="94"/>
                  </a:lnTo>
                  <a:lnTo>
                    <a:pt x="100" y="94"/>
                  </a:lnTo>
                  <a:lnTo>
                    <a:pt x="92" y="94"/>
                  </a:lnTo>
                  <a:lnTo>
                    <a:pt x="92" y="94"/>
                  </a:lnTo>
                  <a:lnTo>
                    <a:pt x="84" y="92"/>
                  </a:lnTo>
                  <a:lnTo>
                    <a:pt x="82" y="92"/>
                  </a:lnTo>
                  <a:lnTo>
                    <a:pt x="80" y="92"/>
                  </a:lnTo>
                  <a:lnTo>
                    <a:pt x="76" y="90"/>
                  </a:lnTo>
                  <a:lnTo>
                    <a:pt x="76" y="90"/>
                  </a:lnTo>
                  <a:lnTo>
                    <a:pt x="72" y="86"/>
                  </a:lnTo>
                  <a:lnTo>
                    <a:pt x="72" y="82"/>
                  </a:lnTo>
                  <a:lnTo>
                    <a:pt x="72" y="78"/>
                  </a:lnTo>
                  <a:lnTo>
                    <a:pt x="72" y="78"/>
                  </a:lnTo>
                  <a:lnTo>
                    <a:pt x="70" y="76"/>
                  </a:lnTo>
                  <a:lnTo>
                    <a:pt x="60" y="78"/>
                  </a:lnTo>
                  <a:lnTo>
                    <a:pt x="60" y="78"/>
                  </a:lnTo>
                  <a:lnTo>
                    <a:pt x="54" y="78"/>
                  </a:lnTo>
                  <a:lnTo>
                    <a:pt x="52" y="76"/>
                  </a:lnTo>
                  <a:lnTo>
                    <a:pt x="50" y="74"/>
                  </a:lnTo>
                  <a:lnTo>
                    <a:pt x="48" y="72"/>
                  </a:lnTo>
                  <a:lnTo>
                    <a:pt x="48" y="72"/>
                  </a:lnTo>
                  <a:lnTo>
                    <a:pt x="46" y="80"/>
                  </a:lnTo>
                  <a:lnTo>
                    <a:pt x="46" y="86"/>
                  </a:lnTo>
                  <a:lnTo>
                    <a:pt x="46" y="90"/>
                  </a:lnTo>
                  <a:lnTo>
                    <a:pt x="48" y="100"/>
                  </a:lnTo>
                  <a:lnTo>
                    <a:pt x="48" y="100"/>
                  </a:lnTo>
                  <a:lnTo>
                    <a:pt x="46" y="116"/>
                  </a:lnTo>
                  <a:lnTo>
                    <a:pt x="48" y="120"/>
                  </a:lnTo>
                  <a:lnTo>
                    <a:pt x="50" y="124"/>
                  </a:lnTo>
                  <a:lnTo>
                    <a:pt x="0" y="124"/>
                  </a:lnTo>
                  <a:lnTo>
                    <a:pt x="0" y="124"/>
                  </a:lnTo>
                  <a:lnTo>
                    <a:pt x="0" y="218"/>
                  </a:lnTo>
                  <a:lnTo>
                    <a:pt x="0" y="218"/>
                  </a:lnTo>
                  <a:lnTo>
                    <a:pt x="0" y="220"/>
                  </a:lnTo>
                  <a:lnTo>
                    <a:pt x="4" y="226"/>
                  </a:lnTo>
                  <a:lnTo>
                    <a:pt x="4" y="226"/>
                  </a:lnTo>
                  <a:lnTo>
                    <a:pt x="4" y="228"/>
                  </a:lnTo>
                  <a:lnTo>
                    <a:pt x="6" y="228"/>
                  </a:lnTo>
                  <a:lnTo>
                    <a:pt x="10" y="230"/>
                  </a:lnTo>
                  <a:lnTo>
                    <a:pt x="16" y="238"/>
                  </a:lnTo>
                  <a:lnTo>
                    <a:pt x="16" y="238"/>
                  </a:lnTo>
                  <a:lnTo>
                    <a:pt x="22" y="238"/>
                  </a:lnTo>
                  <a:lnTo>
                    <a:pt x="26" y="238"/>
                  </a:lnTo>
                  <a:lnTo>
                    <a:pt x="32" y="238"/>
                  </a:lnTo>
                  <a:lnTo>
                    <a:pt x="42" y="238"/>
                  </a:lnTo>
                  <a:lnTo>
                    <a:pt x="42" y="238"/>
                  </a:lnTo>
                  <a:lnTo>
                    <a:pt x="50" y="236"/>
                  </a:lnTo>
                  <a:lnTo>
                    <a:pt x="54" y="238"/>
                  </a:lnTo>
                  <a:lnTo>
                    <a:pt x="56" y="242"/>
                  </a:lnTo>
                  <a:lnTo>
                    <a:pt x="60" y="244"/>
                  </a:lnTo>
                  <a:lnTo>
                    <a:pt x="60" y="244"/>
                  </a:lnTo>
                  <a:lnTo>
                    <a:pt x="76" y="244"/>
                  </a:lnTo>
                  <a:lnTo>
                    <a:pt x="86" y="244"/>
                  </a:lnTo>
                  <a:lnTo>
                    <a:pt x="94" y="244"/>
                  </a:lnTo>
                  <a:lnTo>
                    <a:pt x="94" y="244"/>
                  </a:lnTo>
                  <a:lnTo>
                    <a:pt x="98" y="246"/>
                  </a:lnTo>
                  <a:lnTo>
                    <a:pt x="100" y="244"/>
                  </a:lnTo>
                  <a:lnTo>
                    <a:pt x="104" y="242"/>
                  </a:lnTo>
                  <a:lnTo>
                    <a:pt x="110" y="242"/>
                  </a:lnTo>
                  <a:lnTo>
                    <a:pt x="110" y="242"/>
                  </a:lnTo>
                  <a:lnTo>
                    <a:pt x="114" y="240"/>
                  </a:lnTo>
                  <a:lnTo>
                    <a:pt x="118" y="236"/>
                  </a:lnTo>
                  <a:lnTo>
                    <a:pt x="124" y="224"/>
                  </a:lnTo>
                  <a:lnTo>
                    <a:pt x="126" y="216"/>
                  </a:lnTo>
                  <a:lnTo>
                    <a:pt x="132" y="210"/>
                  </a:lnTo>
                  <a:lnTo>
                    <a:pt x="138" y="204"/>
                  </a:lnTo>
                  <a:lnTo>
                    <a:pt x="146" y="200"/>
                  </a:lnTo>
                  <a:lnTo>
                    <a:pt x="146" y="200"/>
                  </a:lnTo>
                  <a:lnTo>
                    <a:pt x="154" y="196"/>
                  </a:lnTo>
                  <a:lnTo>
                    <a:pt x="156" y="194"/>
                  </a:lnTo>
                  <a:lnTo>
                    <a:pt x="154" y="194"/>
                  </a:lnTo>
                  <a:lnTo>
                    <a:pt x="154" y="194"/>
                  </a:lnTo>
                  <a:lnTo>
                    <a:pt x="156" y="194"/>
                  </a:lnTo>
                  <a:lnTo>
                    <a:pt x="170" y="190"/>
                  </a:lnTo>
                  <a:lnTo>
                    <a:pt x="170" y="19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6" name="Freeform 52"/>
            <p:cNvSpPr>
              <a:spLocks/>
            </p:cNvSpPr>
            <p:nvPr/>
          </p:nvSpPr>
          <p:spPr bwMode="auto">
            <a:xfrm>
              <a:off x="4464809" y="3819261"/>
              <a:ext cx="354542" cy="412750"/>
            </a:xfrm>
            <a:custGeom>
              <a:avLst/>
              <a:gdLst/>
              <a:ahLst/>
              <a:cxnLst>
                <a:cxn ang="0">
                  <a:pos x="252" y="136"/>
                </a:cxn>
                <a:cxn ang="0">
                  <a:pos x="224" y="142"/>
                </a:cxn>
                <a:cxn ang="0">
                  <a:pos x="222" y="114"/>
                </a:cxn>
                <a:cxn ang="0">
                  <a:pos x="216" y="106"/>
                </a:cxn>
                <a:cxn ang="0">
                  <a:pos x="216" y="86"/>
                </a:cxn>
                <a:cxn ang="0">
                  <a:pos x="212" y="56"/>
                </a:cxn>
                <a:cxn ang="0">
                  <a:pos x="216" y="42"/>
                </a:cxn>
                <a:cxn ang="0">
                  <a:pos x="202" y="36"/>
                </a:cxn>
                <a:cxn ang="0">
                  <a:pos x="196" y="34"/>
                </a:cxn>
                <a:cxn ang="0">
                  <a:pos x="192" y="30"/>
                </a:cxn>
                <a:cxn ang="0">
                  <a:pos x="182" y="32"/>
                </a:cxn>
                <a:cxn ang="0">
                  <a:pos x="168" y="36"/>
                </a:cxn>
                <a:cxn ang="0">
                  <a:pos x="166" y="44"/>
                </a:cxn>
                <a:cxn ang="0">
                  <a:pos x="162" y="54"/>
                </a:cxn>
                <a:cxn ang="0">
                  <a:pos x="154" y="54"/>
                </a:cxn>
                <a:cxn ang="0">
                  <a:pos x="142" y="56"/>
                </a:cxn>
                <a:cxn ang="0">
                  <a:pos x="130" y="58"/>
                </a:cxn>
                <a:cxn ang="0">
                  <a:pos x="122" y="42"/>
                </a:cxn>
                <a:cxn ang="0">
                  <a:pos x="116" y="34"/>
                </a:cxn>
                <a:cxn ang="0">
                  <a:pos x="110" y="14"/>
                </a:cxn>
                <a:cxn ang="0">
                  <a:pos x="104" y="2"/>
                </a:cxn>
                <a:cxn ang="0">
                  <a:pos x="90" y="0"/>
                </a:cxn>
                <a:cxn ang="0">
                  <a:pos x="78" y="0"/>
                </a:cxn>
                <a:cxn ang="0">
                  <a:pos x="36" y="2"/>
                </a:cxn>
                <a:cxn ang="0">
                  <a:pos x="28" y="6"/>
                </a:cxn>
                <a:cxn ang="0">
                  <a:pos x="16" y="12"/>
                </a:cxn>
                <a:cxn ang="0">
                  <a:pos x="24" y="22"/>
                </a:cxn>
                <a:cxn ang="0">
                  <a:pos x="30" y="40"/>
                </a:cxn>
                <a:cxn ang="0">
                  <a:pos x="36" y="68"/>
                </a:cxn>
                <a:cxn ang="0">
                  <a:pos x="34" y="82"/>
                </a:cxn>
                <a:cxn ang="0">
                  <a:pos x="36" y="92"/>
                </a:cxn>
                <a:cxn ang="0">
                  <a:pos x="36" y="102"/>
                </a:cxn>
                <a:cxn ang="0">
                  <a:pos x="46" y="136"/>
                </a:cxn>
                <a:cxn ang="0">
                  <a:pos x="42" y="156"/>
                </a:cxn>
                <a:cxn ang="0">
                  <a:pos x="30" y="168"/>
                </a:cxn>
                <a:cxn ang="0">
                  <a:pos x="22" y="178"/>
                </a:cxn>
                <a:cxn ang="0">
                  <a:pos x="14" y="192"/>
                </a:cxn>
                <a:cxn ang="0">
                  <a:pos x="8" y="236"/>
                </a:cxn>
                <a:cxn ang="0">
                  <a:pos x="4" y="264"/>
                </a:cxn>
                <a:cxn ang="0">
                  <a:pos x="0" y="268"/>
                </a:cxn>
                <a:cxn ang="0">
                  <a:pos x="0" y="298"/>
                </a:cxn>
                <a:cxn ang="0">
                  <a:pos x="18" y="294"/>
                </a:cxn>
                <a:cxn ang="0">
                  <a:pos x="30" y="288"/>
                </a:cxn>
                <a:cxn ang="0">
                  <a:pos x="48" y="294"/>
                </a:cxn>
                <a:cxn ang="0">
                  <a:pos x="134" y="296"/>
                </a:cxn>
                <a:cxn ang="0">
                  <a:pos x="134" y="298"/>
                </a:cxn>
                <a:cxn ang="0">
                  <a:pos x="160" y="308"/>
                </a:cxn>
                <a:cxn ang="0">
                  <a:pos x="176" y="308"/>
                </a:cxn>
                <a:cxn ang="0">
                  <a:pos x="190" y="312"/>
                </a:cxn>
                <a:cxn ang="0">
                  <a:pos x="234" y="300"/>
                </a:cxn>
                <a:cxn ang="0">
                  <a:pos x="222" y="290"/>
                </a:cxn>
                <a:cxn ang="0">
                  <a:pos x="218" y="282"/>
                </a:cxn>
                <a:cxn ang="0">
                  <a:pos x="218" y="186"/>
                </a:cxn>
                <a:cxn ang="0">
                  <a:pos x="266" y="182"/>
                </a:cxn>
                <a:cxn ang="0">
                  <a:pos x="266" y="162"/>
                </a:cxn>
                <a:cxn ang="0">
                  <a:pos x="264" y="142"/>
                </a:cxn>
              </a:cxnLst>
              <a:rect l="0" t="0" r="r" b="b"/>
              <a:pathLst>
                <a:path w="268" h="312">
                  <a:moveTo>
                    <a:pt x="266" y="134"/>
                  </a:moveTo>
                  <a:lnTo>
                    <a:pt x="266" y="134"/>
                  </a:lnTo>
                  <a:lnTo>
                    <a:pt x="252" y="136"/>
                  </a:lnTo>
                  <a:lnTo>
                    <a:pt x="250" y="134"/>
                  </a:lnTo>
                  <a:lnTo>
                    <a:pt x="224" y="142"/>
                  </a:lnTo>
                  <a:lnTo>
                    <a:pt x="224" y="142"/>
                  </a:lnTo>
                  <a:lnTo>
                    <a:pt x="224" y="128"/>
                  </a:lnTo>
                  <a:lnTo>
                    <a:pt x="224" y="120"/>
                  </a:lnTo>
                  <a:lnTo>
                    <a:pt x="222" y="114"/>
                  </a:lnTo>
                  <a:lnTo>
                    <a:pt x="220" y="112"/>
                  </a:lnTo>
                  <a:lnTo>
                    <a:pt x="218" y="110"/>
                  </a:lnTo>
                  <a:lnTo>
                    <a:pt x="216" y="106"/>
                  </a:lnTo>
                  <a:lnTo>
                    <a:pt x="216" y="98"/>
                  </a:lnTo>
                  <a:lnTo>
                    <a:pt x="216" y="86"/>
                  </a:lnTo>
                  <a:lnTo>
                    <a:pt x="216" y="86"/>
                  </a:lnTo>
                  <a:lnTo>
                    <a:pt x="214" y="74"/>
                  </a:lnTo>
                  <a:lnTo>
                    <a:pt x="214" y="64"/>
                  </a:lnTo>
                  <a:lnTo>
                    <a:pt x="212" y="56"/>
                  </a:lnTo>
                  <a:lnTo>
                    <a:pt x="214" y="48"/>
                  </a:lnTo>
                  <a:lnTo>
                    <a:pt x="214" y="48"/>
                  </a:lnTo>
                  <a:lnTo>
                    <a:pt x="216" y="42"/>
                  </a:lnTo>
                  <a:lnTo>
                    <a:pt x="214" y="38"/>
                  </a:lnTo>
                  <a:lnTo>
                    <a:pt x="210" y="36"/>
                  </a:lnTo>
                  <a:lnTo>
                    <a:pt x="202" y="36"/>
                  </a:lnTo>
                  <a:lnTo>
                    <a:pt x="202" y="36"/>
                  </a:lnTo>
                  <a:lnTo>
                    <a:pt x="196" y="36"/>
                  </a:lnTo>
                  <a:lnTo>
                    <a:pt x="196" y="34"/>
                  </a:lnTo>
                  <a:lnTo>
                    <a:pt x="196" y="32"/>
                  </a:lnTo>
                  <a:lnTo>
                    <a:pt x="192" y="30"/>
                  </a:lnTo>
                  <a:lnTo>
                    <a:pt x="192" y="30"/>
                  </a:lnTo>
                  <a:lnTo>
                    <a:pt x="186" y="30"/>
                  </a:lnTo>
                  <a:lnTo>
                    <a:pt x="184" y="32"/>
                  </a:lnTo>
                  <a:lnTo>
                    <a:pt x="182" y="32"/>
                  </a:lnTo>
                  <a:lnTo>
                    <a:pt x="174" y="34"/>
                  </a:lnTo>
                  <a:lnTo>
                    <a:pt x="174" y="34"/>
                  </a:lnTo>
                  <a:lnTo>
                    <a:pt x="168" y="36"/>
                  </a:lnTo>
                  <a:lnTo>
                    <a:pt x="166" y="38"/>
                  </a:lnTo>
                  <a:lnTo>
                    <a:pt x="166" y="42"/>
                  </a:lnTo>
                  <a:lnTo>
                    <a:pt x="166" y="44"/>
                  </a:lnTo>
                  <a:lnTo>
                    <a:pt x="166" y="44"/>
                  </a:lnTo>
                  <a:lnTo>
                    <a:pt x="164" y="48"/>
                  </a:lnTo>
                  <a:lnTo>
                    <a:pt x="162" y="54"/>
                  </a:lnTo>
                  <a:lnTo>
                    <a:pt x="160" y="56"/>
                  </a:lnTo>
                  <a:lnTo>
                    <a:pt x="154" y="54"/>
                  </a:lnTo>
                  <a:lnTo>
                    <a:pt x="154" y="54"/>
                  </a:lnTo>
                  <a:lnTo>
                    <a:pt x="150" y="52"/>
                  </a:lnTo>
                  <a:lnTo>
                    <a:pt x="146" y="54"/>
                  </a:lnTo>
                  <a:lnTo>
                    <a:pt x="142" y="56"/>
                  </a:lnTo>
                  <a:lnTo>
                    <a:pt x="134" y="58"/>
                  </a:lnTo>
                  <a:lnTo>
                    <a:pt x="134" y="58"/>
                  </a:lnTo>
                  <a:lnTo>
                    <a:pt x="130" y="58"/>
                  </a:lnTo>
                  <a:lnTo>
                    <a:pt x="126" y="56"/>
                  </a:lnTo>
                  <a:lnTo>
                    <a:pt x="124" y="50"/>
                  </a:lnTo>
                  <a:lnTo>
                    <a:pt x="122" y="42"/>
                  </a:lnTo>
                  <a:lnTo>
                    <a:pt x="120" y="38"/>
                  </a:lnTo>
                  <a:lnTo>
                    <a:pt x="116" y="34"/>
                  </a:lnTo>
                  <a:lnTo>
                    <a:pt x="116" y="34"/>
                  </a:lnTo>
                  <a:lnTo>
                    <a:pt x="112" y="30"/>
                  </a:lnTo>
                  <a:lnTo>
                    <a:pt x="112" y="24"/>
                  </a:lnTo>
                  <a:lnTo>
                    <a:pt x="110" y="14"/>
                  </a:lnTo>
                  <a:lnTo>
                    <a:pt x="110" y="6"/>
                  </a:lnTo>
                  <a:lnTo>
                    <a:pt x="108" y="2"/>
                  </a:lnTo>
                  <a:lnTo>
                    <a:pt x="104" y="2"/>
                  </a:lnTo>
                  <a:lnTo>
                    <a:pt x="104" y="2"/>
                  </a:lnTo>
                  <a:lnTo>
                    <a:pt x="96" y="2"/>
                  </a:lnTo>
                  <a:lnTo>
                    <a:pt x="90" y="0"/>
                  </a:lnTo>
                  <a:lnTo>
                    <a:pt x="86" y="0"/>
                  </a:lnTo>
                  <a:lnTo>
                    <a:pt x="78" y="0"/>
                  </a:lnTo>
                  <a:lnTo>
                    <a:pt x="78" y="0"/>
                  </a:lnTo>
                  <a:lnTo>
                    <a:pt x="52" y="0"/>
                  </a:lnTo>
                  <a:lnTo>
                    <a:pt x="44" y="0"/>
                  </a:lnTo>
                  <a:lnTo>
                    <a:pt x="36" y="2"/>
                  </a:lnTo>
                  <a:lnTo>
                    <a:pt x="36" y="2"/>
                  </a:lnTo>
                  <a:lnTo>
                    <a:pt x="32" y="4"/>
                  </a:lnTo>
                  <a:lnTo>
                    <a:pt x="28" y="6"/>
                  </a:lnTo>
                  <a:lnTo>
                    <a:pt x="18" y="10"/>
                  </a:lnTo>
                  <a:lnTo>
                    <a:pt x="18" y="10"/>
                  </a:lnTo>
                  <a:lnTo>
                    <a:pt x="16" y="12"/>
                  </a:lnTo>
                  <a:lnTo>
                    <a:pt x="16" y="12"/>
                  </a:lnTo>
                  <a:lnTo>
                    <a:pt x="18" y="16"/>
                  </a:lnTo>
                  <a:lnTo>
                    <a:pt x="24" y="22"/>
                  </a:lnTo>
                  <a:lnTo>
                    <a:pt x="26" y="30"/>
                  </a:lnTo>
                  <a:lnTo>
                    <a:pt x="26" y="30"/>
                  </a:lnTo>
                  <a:lnTo>
                    <a:pt x="30" y="40"/>
                  </a:lnTo>
                  <a:lnTo>
                    <a:pt x="34" y="52"/>
                  </a:lnTo>
                  <a:lnTo>
                    <a:pt x="36" y="62"/>
                  </a:lnTo>
                  <a:lnTo>
                    <a:pt x="36" y="68"/>
                  </a:lnTo>
                  <a:lnTo>
                    <a:pt x="36" y="72"/>
                  </a:lnTo>
                  <a:lnTo>
                    <a:pt x="36" y="72"/>
                  </a:lnTo>
                  <a:lnTo>
                    <a:pt x="34" y="82"/>
                  </a:lnTo>
                  <a:lnTo>
                    <a:pt x="34" y="86"/>
                  </a:lnTo>
                  <a:lnTo>
                    <a:pt x="36" y="88"/>
                  </a:lnTo>
                  <a:lnTo>
                    <a:pt x="36" y="92"/>
                  </a:lnTo>
                  <a:lnTo>
                    <a:pt x="36" y="92"/>
                  </a:lnTo>
                  <a:lnTo>
                    <a:pt x="34" y="98"/>
                  </a:lnTo>
                  <a:lnTo>
                    <a:pt x="36" y="102"/>
                  </a:lnTo>
                  <a:lnTo>
                    <a:pt x="42" y="114"/>
                  </a:lnTo>
                  <a:lnTo>
                    <a:pt x="46" y="128"/>
                  </a:lnTo>
                  <a:lnTo>
                    <a:pt x="46" y="136"/>
                  </a:lnTo>
                  <a:lnTo>
                    <a:pt x="46" y="144"/>
                  </a:lnTo>
                  <a:lnTo>
                    <a:pt x="46" y="144"/>
                  </a:lnTo>
                  <a:lnTo>
                    <a:pt x="42" y="156"/>
                  </a:lnTo>
                  <a:lnTo>
                    <a:pt x="38" y="160"/>
                  </a:lnTo>
                  <a:lnTo>
                    <a:pt x="34" y="162"/>
                  </a:lnTo>
                  <a:lnTo>
                    <a:pt x="30" y="168"/>
                  </a:lnTo>
                  <a:lnTo>
                    <a:pt x="30" y="168"/>
                  </a:lnTo>
                  <a:lnTo>
                    <a:pt x="26" y="176"/>
                  </a:lnTo>
                  <a:lnTo>
                    <a:pt x="22" y="178"/>
                  </a:lnTo>
                  <a:lnTo>
                    <a:pt x="20" y="180"/>
                  </a:lnTo>
                  <a:lnTo>
                    <a:pt x="14" y="192"/>
                  </a:lnTo>
                  <a:lnTo>
                    <a:pt x="14" y="192"/>
                  </a:lnTo>
                  <a:lnTo>
                    <a:pt x="10" y="202"/>
                  </a:lnTo>
                  <a:lnTo>
                    <a:pt x="8" y="214"/>
                  </a:lnTo>
                  <a:lnTo>
                    <a:pt x="8" y="236"/>
                  </a:lnTo>
                  <a:lnTo>
                    <a:pt x="8" y="254"/>
                  </a:lnTo>
                  <a:lnTo>
                    <a:pt x="6" y="260"/>
                  </a:lnTo>
                  <a:lnTo>
                    <a:pt x="4" y="264"/>
                  </a:lnTo>
                  <a:lnTo>
                    <a:pt x="4" y="264"/>
                  </a:lnTo>
                  <a:lnTo>
                    <a:pt x="0" y="266"/>
                  </a:lnTo>
                  <a:lnTo>
                    <a:pt x="0" y="268"/>
                  </a:lnTo>
                  <a:lnTo>
                    <a:pt x="0" y="276"/>
                  </a:lnTo>
                  <a:lnTo>
                    <a:pt x="0" y="298"/>
                  </a:lnTo>
                  <a:lnTo>
                    <a:pt x="0" y="298"/>
                  </a:lnTo>
                  <a:lnTo>
                    <a:pt x="12" y="294"/>
                  </a:lnTo>
                  <a:lnTo>
                    <a:pt x="16" y="292"/>
                  </a:lnTo>
                  <a:lnTo>
                    <a:pt x="18" y="294"/>
                  </a:lnTo>
                  <a:lnTo>
                    <a:pt x="24" y="290"/>
                  </a:lnTo>
                  <a:lnTo>
                    <a:pt x="24" y="290"/>
                  </a:lnTo>
                  <a:lnTo>
                    <a:pt x="30" y="288"/>
                  </a:lnTo>
                  <a:lnTo>
                    <a:pt x="32" y="290"/>
                  </a:lnTo>
                  <a:lnTo>
                    <a:pt x="40" y="294"/>
                  </a:lnTo>
                  <a:lnTo>
                    <a:pt x="48" y="294"/>
                  </a:lnTo>
                  <a:lnTo>
                    <a:pt x="60" y="296"/>
                  </a:lnTo>
                  <a:lnTo>
                    <a:pt x="60" y="296"/>
                  </a:lnTo>
                  <a:lnTo>
                    <a:pt x="134" y="296"/>
                  </a:lnTo>
                  <a:lnTo>
                    <a:pt x="134" y="296"/>
                  </a:lnTo>
                  <a:lnTo>
                    <a:pt x="134" y="296"/>
                  </a:lnTo>
                  <a:lnTo>
                    <a:pt x="134" y="298"/>
                  </a:lnTo>
                  <a:lnTo>
                    <a:pt x="142" y="302"/>
                  </a:lnTo>
                  <a:lnTo>
                    <a:pt x="160" y="308"/>
                  </a:lnTo>
                  <a:lnTo>
                    <a:pt x="160" y="308"/>
                  </a:lnTo>
                  <a:lnTo>
                    <a:pt x="160" y="310"/>
                  </a:lnTo>
                  <a:lnTo>
                    <a:pt x="162" y="310"/>
                  </a:lnTo>
                  <a:lnTo>
                    <a:pt x="176" y="308"/>
                  </a:lnTo>
                  <a:lnTo>
                    <a:pt x="176" y="308"/>
                  </a:lnTo>
                  <a:lnTo>
                    <a:pt x="184" y="310"/>
                  </a:lnTo>
                  <a:lnTo>
                    <a:pt x="190" y="312"/>
                  </a:lnTo>
                  <a:lnTo>
                    <a:pt x="204" y="310"/>
                  </a:lnTo>
                  <a:lnTo>
                    <a:pt x="234" y="300"/>
                  </a:lnTo>
                  <a:lnTo>
                    <a:pt x="234" y="300"/>
                  </a:lnTo>
                  <a:lnTo>
                    <a:pt x="228" y="292"/>
                  </a:lnTo>
                  <a:lnTo>
                    <a:pt x="224" y="290"/>
                  </a:lnTo>
                  <a:lnTo>
                    <a:pt x="222" y="290"/>
                  </a:lnTo>
                  <a:lnTo>
                    <a:pt x="222" y="288"/>
                  </a:lnTo>
                  <a:lnTo>
                    <a:pt x="222" y="288"/>
                  </a:lnTo>
                  <a:lnTo>
                    <a:pt x="218" y="282"/>
                  </a:lnTo>
                  <a:lnTo>
                    <a:pt x="218" y="280"/>
                  </a:lnTo>
                  <a:lnTo>
                    <a:pt x="218" y="280"/>
                  </a:lnTo>
                  <a:lnTo>
                    <a:pt x="218" y="186"/>
                  </a:lnTo>
                  <a:lnTo>
                    <a:pt x="268" y="186"/>
                  </a:lnTo>
                  <a:lnTo>
                    <a:pt x="268" y="186"/>
                  </a:lnTo>
                  <a:lnTo>
                    <a:pt x="266" y="182"/>
                  </a:lnTo>
                  <a:lnTo>
                    <a:pt x="264" y="178"/>
                  </a:lnTo>
                  <a:lnTo>
                    <a:pt x="266" y="162"/>
                  </a:lnTo>
                  <a:lnTo>
                    <a:pt x="266" y="162"/>
                  </a:lnTo>
                  <a:lnTo>
                    <a:pt x="264" y="152"/>
                  </a:lnTo>
                  <a:lnTo>
                    <a:pt x="264" y="148"/>
                  </a:lnTo>
                  <a:lnTo>
                    <a:pt x="264" y="142"/>
                  </a:lnTo>
                  <a:lnTo>
                    <a:pt x="266" y="134"/>
                  </a:lnTo>
                  <a:lnTo>
                    <a:pt x="266" y="134"/>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7" name="Freeform 53"/>
            <p:cNvSpPr>
              <a:spLocks/>
            </p:cNvSpPr>
            <p:nvPr/>
          </p:nvSpPr>
          <p:spPr bwMode="auto">
            <a:xfrm>
              <a:off x="4483330" y="3432969"/>
              <a:ext cx="550333" cy="637646"/>
            </a:xfrm>
            <a:custGeom>
              <a:avLst/>
              <a:gdLst/>
              <a:ahLst/>
              <a:cxnLst>
                <a:cxn ang="0">
                  <a:pos x="154" y="6"/>
                </a:cxn>
                <a:cxn ang="0">
                  <a:pos x="184" y="14"/>
                </a:cxn>
                <a:cxn ang="0">
                  <a:pos x="206" y="18"/>
                </a:cxn>
                <a:cxn ang="0">
                  <a:pos x="236" y="16"/>
                </a:cxn>
                <a:cxn ang="0">
                  <a:pos x="268" y="4"/>
                </a:cxn>
                <a:cxn ang="0">
                  <a:pos x="278" y="2"/>
                </a:cxn>
                <a:cxn ang="0">
                  <a:pos x="334" y="16"/>
                </a:cxn>
                <a:cxn ang="0">
                  <a:pos x="358" y="24"/>
                </a:cxn>
                <a:cxn ang="0">
                  <a:pos x="374" y="24"/>
                </a:cxn>
                <a:cxn ang="0">
                  <a:pos x="398" y="54"/>
                </a:cxn>
                <a:cxn ang="0">
                  <a:pos x="404" y="76"/>
                </a:cxn>
                <a:cxn ang="0">
                  <a:pos x="414" y="82"/>
                </a:cxn>
                <a:cxn ang="0">
                  <a:pos x="390" y="118"/>
                </a:cxn>
                <a:cxn ang="0">
                  <a:pos x="374" y="154"/>
                </a:cxn>
                <a:cxn ang="0">
                  <a:pos x="372" y="186"/>
                </a:cxn>
                <a:cxn ang="0">
                  <a:pos x="360" y="198"/>
                </a:cxn>
                <a:cxn ang="0">
                  <a:pos x="370" y="240"/>
                </a:cxn>
                <a:cxn ang="0">
                  <a:pos x="368" y="270"/>
                </a:cxn>
                <a:cxn ang="0">
                  <a:pos x="368" y="306"/>
                </a:cxn>
                <a:cxn ang="0">
                  <a:pos x="388" y="354"/>
                </a:cxn>
                <a:cxn ang="0">
                  <a:pos x="352" y="384"/>
                </a:cxn>
                <a:cxn ang="0">
                  <a:pos x="358" y="398"/>
                </a:cxn>
                <a:cxn ang="0">
                  <a:pos x="348" y="418"/>
                </a:cxn>
                <a:cxn ang="0">
                  <a:pos x="346" y="442"/>
                </a:cxn>
                <a:cxn ang="0">
                  <a:pos x="364" y="456"/>
                </a:cxn>
                <a:cxn ang="0">
                  <a:pos x="360" y="476"/>
                </a:cxn>
                <a:cxn ang="0">
                  <a:pos x="342" y="466"/>
                </a:cxn>
                <a:cxn ang="0">
                  <a:pos x="312" y="446"/>
                </a:cxn>
                <a:cxn ang="0">
                  <a:pos x="286" y="446"/>
                </a:cxn>
                <a:cxn ang="0">
                  <a:pos x="276" y="432"/>
                </a:cxn>
                <a:cxn ang="0">
                  <a:pos x="256" y="430"/>
                </a:cxn>
                <a:cxn ang="0">
                  <a:pos x="210" y="434"/>
                </a:cxn>
                <a:cxn ang="0">
                  <a:pos x="204" y="402"/>
                </a:cxn>
                <a:cxn ang="0">
                  <a:pos x="200" y="356"/>
                </a:cxn>
                <a:cxn ang="0">
                  <a:pos x="196" y="328"/>
                </a:cxn>
                <a:cxn ang="0">
                  <a:pos x="178" y="322"/>
                </a:cxn>
                <a:cxn ang="0">
                  <a:pos x="160" y="326"/>
                </a:cxn>
                <a:cxn ang="0">
                  <a:pos x="150" y="340"/>
                </a:cxn>
                <a:cxn ang="0">
                  <a:pos x="132" y="346"/>
                </a:cxn>
                <a:cxn ang="0">
                  <a:pos x="110" y="342"/>
                </a:cxn>
                <a:cxn ang="0">
                  <a:pos x="98" y="316"/>
                </a:cxn>
                <a:cxn ang="0">
                  <a:pos x="82" y="294"/>
                </a:cxn>
                <a:cxn ang="0">
                  <a:pos x="30" y="292"/>
                </a:cxn>
                <a:cxn ang="0">
                  <a:pos x="10" y="298"/>
                </a:cxn>
                <a:cxn ang="0">
                  <a:pos x="6" y="292"/>
                </a:cxn>
                <a:cxn ang="0">
                  <a:pos x="12" y="258"/>
                </a:cxn>
                <a:cxn ang="0">
                  <a:pos x="32" y="258"/>
                </a:cxn>
                <a:cxn ang="0">
                  <a:pos x="46" y="256"/>
                </a:cxn>
                <a:cxn ang="0">
                  <a:pos x="58" y="258"/>
                </a:cxn>
                <a:cxn ang="0">
                  <a:pos x="84" y="230"/>
                </a:cxn>
                <a:cxn ang="0">
                  <a:pos x="98" y="176"/>
                </a:cxn>
                <a:cxn ang="0">
                  <a:pos x="124" y="140"/>
                </a:cxn>
                <a:cxn ang="0">
                  <a:pos x="130" y="84"/>
                </a:cxn>
                <a:cxn ang="0">
                  <a:pos x="136" y="58"/>
                </a:cxn>
              </a:cxnLst>
              <a:rect l="0" t="0" r="r" b="b"/>
              <a:pathLst>
                <a:path w="416" h="482">
                  <a:moveTo>
                    <a:pt x="138" y="42"/>
                  </a:moveTo>
                  <a:lnTo>
                    <a:pt x="138" y="42"/>
                  </a:lnTo>
                  <a:lnTo>
                    <a:pt x="142" y="22"/>
                  </a:lnTo>
                  <a:lnTo>
                    <a:pt x="146" y="12"/>
                  </a:lnTo>
                  <a:lnTo>
                    <a:pt x="150" y="8"/>
                  </a:lnTo>
                  <a:lnTo>
                    <a:pt x="154" y="6"/>
                  </a:lnTo>
                  <a:lnTo>
                    <a:pt x="162" y="4"/>
                  </a:lnTo>
                  <a:lnTo>
                    <a:pt x="162" y="4"/>
                  </a:lnTo>
                  <a:lnTo>
                    <a:pt x="168" y="4"/>
                  </a:lnTo>
                  <a:lnTo>
                    <a:pt x="172" y="6"/>
                  </a:lnTo>
                  <a:lnTo>
                    <a:pt x="178" y="10"/>
                  </a:lnTo>
                  <a:lnTo>
                    <a:pt x="184" y="14"/>
                  </a:lnTo>
                  <a:lnTo>
                    <a:pt x="186" y="16"/>
                  </a:lnTo>
                  <a:lnTo>
                    <a:pt x="190" y="14"/>
                  </a:lnTo>
                  <a:lnTo>
                    <a:pt x="190" y="14"/>
                  </a:lnTo>
                  <a:lnTo>
                    <a:pt x="194" y="14"/>
                  </a:lnTo>
                  <a:lnTo>
                    <a:pt x="198" y="16"/>
                  </a:lnTo>
                  <a:lnTo>
                    <a:pt x="206" y="18"/>
                  </a:lnTo>
                  <a:lnTo>
                    <a:pt x="216" y="22"/>
                  </a:lnTo>
                  <a:lnTo>
                    <a:pt x="222" y="24"/>
                  </a:lnTo>
                  <a:lnTo>
                    <a:pt x="230" y="22"/>
                  </a:lnTo>
                  <a:lnTo>
                    <a:pt x="230" y="22"/>
                  </a:lnTo>
                  <a:lnTo>
                    <a:pt x="232" y="20"/>
                  </a:lnTo>
                  <a:lnTo>
                    <a:pt x="236" y="16"/>
                  </a:lnTo>
                  <a:lnTo>
                    <a:pt x="240" y="12"/>
                  </a:lnTo>
                  <a:lnTo>
                    <a:pt x="250" y="10"/>
                  </a:lnTo>
                  <a:lnTo>
                    <a:pt x="250" y="10"/>
                  </a:lnTo>
                  <a:lnTo>
                    <a:pt x="264" y="8"/>
                  </a:lnTo>
                  <a:lnTo>
                    <a:pt x="266" y="6"/>
                  </a:lnTo>
                  <a:lnTo>
                    <a:pt x="268" y="4"/>
                  </a:lnTo>
                  <a:lnTo>
                    <a:pt x="268" y="2"/>
                  </a:lnTo>
                  <a:lnTo>
                    <a:pt x="268" y="0"/>
                  </a:lnTo>
                  <a:lnTo>
                    <a:pt x="272" y="0"/>
                  </a:lnTo>
                  <a:lnTo>
                    <a:pt x="272" y="0"/>
                  </a:lnTo>
                  <a:lnTo>
                    <a:pt x="274" y="0"/>
                  </a:lnTo>
                  <a:lnTo>
                    <a:pt x="278" y="2"/>
                  </a:lnTo>
                  <a:lnTo>
                    <a:pt x="290" y="4"/>
                  </a:lnTo>
                  <a:lnTo>
                    <a:pt x="324" y="6"/>
                  </a:lnTo>
                  <a:lnTo>
                    <a:pt x="324" y="6"/>
                  </a:lnTo>
                  <a:lnTo>
                    <a:pt x="328" y="12"/>
                  </a:lnTo>
                  <a:lnTo>
                    <a:pt x="330" y="14"/>
                  </a:lnTo>
                  <a:lnTo>
                    <a:pt x="334" y="16"/>
                  </a:lnTo>
                  <a:lnTo>
                    <a:pt x="338" y="20"/>
                  </a:lnTo>
                  <a:lnTo>
                    <a:pt x="338" y="20"/>
                  </a:lnTo>
                  <a:lnTo>
                    <a:pt x="342" y="24"/>
                  </a:lnTo>
                  <a:lnTo>
                    <a:pt x="346" y="24"/>
                  </a:lnTo>
                  <a:lnTo>
                    <a:pt x="350" y="24"/>
                  </a:lnTo>
                  <a:lnTo>
                    <a:pt x="358" y="24"/>
                  </a:lnTo>
                  <a:lnTo>
                    <a:pt x="358" y="24"/>
                  </a:lnTo>
                  <a:lnTo>
                    <a:pt x="362" y="24"/>
                  </a:lnTo>
                  <a:lnTo>
                    <a:pt x="364" y="22"/>
                  </a:lnTo>
                  <a:lnTo>
                    <a:pt x="368" y="20"/>
                  </a:lnTo>
                  <a:lnTo>
                    <a:pt x="374" y="24"/>
                  </a:lnTo>
                  <a:lnTo>
                    <a:pt x="374" y="24"/>
                  </a:lnTo>
                  <a:lnTo>
                    <a:pt x="392" y="38"/>
                  </a:lnTo>
                  <a:lnTo>
                    <a:pt x="398" y="42"/>
                  </a:lnTo>
                  <a:lnTo>
                    <a:pt x="404" y="42"/>
                  </a:lnTo>
                  <a:lnTo>
                    <a:pt x="404" y="42"/>
                  </a:lnTo>
                  <a:lnTo>
                    <a:pt x="398" y="52"/>
                  </a:lnTo>
                  <a:lnTo>
                    <a:pt x="398" y="54"/>
                  </a:lnTo>
                  <a:lnTo>
                    <a:pt x="400" y="56"/>
                  </a:lnTo>
                  <a:lnTo>
                    <a:pt x="400" y="64"/>
                  </a:lnTo>
                  <a:lnTo>
                    <a:pt x="400" y="64"/>
                  </a:lnTo>
                  <a:lnTo>
                    <a:pt x="400" y="70"/>
                  </a:lnTo>
                  <a:lnTo>
                    <a:pt x="402" y="74"/>
                  </a:lnTo>
                  <a:lnTo>
                    <a:pt x="404" y="76"/>
                  </a:lnTo>
                  <a:lnTo>
                    <a:pt x="406" y="76"/>
                  </a:lnTo>
                  <a:lnTo>
                    <a:pt x="412" y="78"/>
                  </a:lnTo>
                  <a:lnTo>
                    <a:pt x="414" y="78"/>
                  </a:lnTo>
                  <a:lnTo>
                    <a:pt x="416" y="80"/>
                  </a:lnTo>
                  <a:lnTo>
                    <a:pt x="416" y="80"/>
                  </a:lnTo>
                  <a:lnTo>
                    <a:pt x="414" y="82"/>
                  </a:lnTo>
                  <a:lnTo>
                    <a:pt x="412" y="82"/>
                  </a:lnTo>
                  <a:lnTo>
                    <a:pt x="410" y="86"/>
                  </a:lnTo>
                  <a:lnTo>
                    <a:pt x="406" y="94"/>
                  </a:lnTo>
                  <a:lnTo>
                    <a:pt x="406" y="94"/>
                  </a:lnTo>
                  <a:lnTo>
                    <a:pt x="398" y="110"/>
                  </a:lnTo>
                  <a:lnTo>
                    <a:pt x="390" y="118"/>
                  </a:lnTo>
                  <a:lnTo>
                    <a:pt x="384" y="124"/>
                  </a:lnTo>
                  <a:lnTo>
                    <a:pt x="382" y="132"/>
                  </a:lnTo>
                  <a:lnTo>
                    <a:pt x="382" y="132"/>
                  </a:lnTo>
                  <a:lnTo>
                    <a:pt x="378" y="142"/>
                  </a:lnTo>
                  <a:lnTo>
                    <a:pt x="376" y="148"/>
                  </a:lnTo>
                  <a:lnTo>
                    <a:pt x="374" y="154"/>
                  </a:lnTo>
                  <a:lnTo>
                    <a:pt x="378" y="166"/>
                  </a:lnTo>
                  <a:lnTo>
                    <a:pt x="378" y="166"/>
                  </a:lnTo>
                  <a:lnTo>
                    <a:pt x="374" y="170"/>
                  </a:lnTo>
                  <a:lnTo>
                    <a:pt x="372" y="174"/>
                  </a:lnTo>
                  <a:lnTo>
                    <a:pt x="372" y="182"/>
                  </a:lnTo>
                  <a:lnTo>
                    <a:pt x="372" y="186"/>
                  </a:lnTo>
                  <a:lnTo>
                    <a:pt x="372" y="188"/>
                  </a:lnTo>
                  <a:lnTo>
                    <a:pt x="370" y="192"/>
                  </a:lnTo>
                  <a:lnTo>
                    <a:pt x="364" y="196"/>
                  </a:lnTo>
                  <a:lnTo>
                    <a:pt x="364" y="196"/>
                  </a:lnTo>
                  <a:lnTo>
                    <a:pt x="362" y="196"/>
                  </a:lnTo>
                  <a:lnTo>
                    <a:pt x="360" y="198"/>
                  </a:lnTo>
                  <a:lnTo>
                    <a:pt x="358" y="202"/>
                  </a:lnTo>
                  <a:lnTo>
                    <a:pt x="360" y="210"/>
                  </a:lnTo>
                  <a:lnTo>
                    <a:pt x="360" y="210"/>
                  </a:lnTo>
                  <a:lnTo>
                    <a:pt x="366" y="234"/>
                  </a:lnTo>
                  <a:lnTo>
                    <a:pt x="368" y="238"/>
                  </a:lnTo>
                  <a:lnTo>
                    <a:pt x="370" y="240"/>
                  </a:lnTo>
                  <a:lnTo>
                    <a:pt x="372" y="240"/>
                  </a:lnTo>
                  <a:lnTo>
                    <a:pt x="372" y="240"/>
                  </a:lnTo>
                  <a:lnTo>
                    <a:pt x="374" y="242"/>
                  </a:lnTo>
                  <a:lnTo>
                    <a:pt x="374" y="242"/>
                  </a:lnTo>
                  <a:lnTo>
                    <a:pt x="370" y="258"/>
                  </a:lnTo>
                  <a:lnTo>
                    <a:pt x="368" y="270"/>
                  </a:lnTo>
                  <a:lnTo>
                    <a:pt x="368" y="280"/>
                  </a:lnTo>
                  <a:lnTo>
                    <a:pt x="368" y="288"/>
                  </a:lnTo>
                  <a:lnTo>
                    <a:pt x="370" y="298"/>
                  </a:lnTo>
                  <a:lnTo>
                    <a:pt x="370" y="302"/>
                  </a:lnTo>
                  <a:lnTo>
                    <a:pt x="368" y="306"/>
                  </a:lnTo>
                  <a:lnTo>
                    <a:pt x="368" y="306"/>
                  </a:lnTo>
                  <a:lnTo>
                    <a:pt x="366" y="310"/>
                  </a:lnTo>
                  <a:lnTo>
                    <a:pt x="368" y="314"/>
                  </a:lnTo>
                  <a:lnTo>
                    <a:pt x="374" y="326"/>
                  </a:lnTo>
                  <a:lnTo>
                    <a:pt x="384" y="340"/>
                  </a:lnTo>
                  <a:lnTo>
                    <a:pt x="386" y="346"/>
                  </a:lnTo>
                  <a:lnTo>
                    <a:pt x="388" y="354"/>
                  </a:lnTo>
                  <a:lnTo>
                    <a:pt x="358" y="364"/>
                  </a:lnTo>
                  <a:lnTo>
                    <a:pt x="358" y="364"/>
                  </a:lnTo>
                  <a:lnTo>
                    <a:pt x="360" y="368"/>
                  </a:lnTo>
                  <a:lnTo>
                    <a:pt x="360" y="374"/>
                  </a:lnTo>
                  <a:lnTo>
                    <a:pt x="358" y="380"/>
                  </a:lnTo>
                  <a:lnTo>
                    <a:pt x="352" y="384"/>
                  </a:lnTo>
                  <a:lnTo>
                    <a:pt x="352" y="384"/>
                  </a:lnTo>
                  <a:lnTo>
                    <a:pt x="354" y="390"/>
                  </a:lnTo>
                  <a:lnTo>
                    <a:pt x="356" y="392"/>
                  </a:lnTo>
                  <a:lnTo>
                    <a:pt x="358" y="394"/>
                  </a:lnTo>
                  <a:lnTo>
                    <a:pt x="358" y="398"/>
                  </a:lnTo>
                  <a:lnTo>
                    <a:pt x="358" y="398"/>
                  </a:lnTo>
                  <a:lnTo>
                    <a:pt x="356" y="402"/>
                  </a:lnTo>
                  <a:lnTo>
                    <a:pt x="356" y="406"/>
                  </a:lnTo>
                  <a:lnTo>
                    <a:pt x="354" y="410"/>
                  </a:lnTo>
                  <a:lnTo>
                    <a:pt x="350" y="414"/>
                  </a:lnTo>
                  <a:lnTo>
                    <a:pt x="350" y="414"/>
                  </a:lnTo>
                  <a:lnTo>
                    <a:pt x="348" y="418"/>
                  </a:lnTo>
                  <a:lnTo>
                    <a:pt x="346" y="422"/>
                  </a:lnTo>
                  <a:lnTo>
                    <a:pt x="346" y="430"/>
                  </a:lnTo>
                  <a:lnTo>
                    <a:pt x="346" y="436"/>
                  </a:lnTo>
                  <a:lnTo>
                    <a:pt x="348" y="440"/>
                  </a:lnTo>
                  <a:lnTo>
                    <a:pt x="348" y="440"/>
                  </a:lnTo>
                  <a:lnTo>
                    <a:pt x="346" y="442"/>
                  </a:lnTo>
                  <a:lnTo>
                    <a:pt x="346" y="446"/>
                  </a:lnTo>
                  <a:lnTo>
                    <a:pt x="356" y="454"/>
                  </a:lnTo>
                  <a:lnTo>
                    <a:pt x="356" y="454"/>
                  </a:lnTo>
                  <a:lnTo>
                    <a:pt x="362" y="458"/>
                  </a:lnTo>
                  <a:lnTo>
                    <a:pt x="364" y="458"/>
                  </a:lnTo>
                  <a:lnTo>
                    <a:pt x="364" y="456"/>
                  </a:lnTo>
                  <a:lnTo>
                    <a:pt x="368" y="456"/>
                  </a:lnTo>
                  <a:lnTo>
                    <a:pt x="368" y="482"/>
                  </a:lnTo>
                  <a:lnTo>
                    <a:pt x="368" y="482"/>
                  </a:lnTo>
                  <a:lnTo>
                    <a:pt x="364" y="480"/>
                  </a:lnTo>
                  <a:lnTo>
                    <a:pt x="362" y="480"/>
                  </a:lnTo>
                  <a:lnTo>
                    <a:pt x="360" y="476"/>
                  </a:lnTo>
                  <a:lnTo>
                    <a:pt x="360" y="476"/>
                  </a:lnTo>
                  <a:lnTo>
                    <a:pt x="358" y="474"/>
                  </a:lnTo>
                  <a:lnTo>
                    <a:pt x="354" y="474"/>
                  </a:lnTo>
                  <a:lnTo>
                    <a:pt x="348" y="472"/>
                  </a:lnTo>
                  <a:lnTo>
                    <a:pt x="342" y="466"/>
                  </a:lnTo>
                  <a:lnTo>
                    <a:pt x="342" y="466"/>
                  </a:lnTo>
                  <a:lnTo>
                    <a:pt x="334" y="458"/>
                  </a:lnTo>
                  <a:lnTo>
                    <a:pt x="328" y="456"/>
                  </a:lnTo>
                  <a:lnTo>
                    <a:pt x="322" y="454"/>
                  </a:lnTo>
                  <a:lnTo>
                    <a:pt x="318" y="450"/>
                  </a:lnTo>
                  <a:lnTo>
                    <a:pt x="318" y="450"/>
                  </a:lnTo>
                  <a:lnTo>
                    <a:pt x="312" y="446"/>
                  </a:lnTo>
                  <a:lnTo>
                    <a:pt x="308" y="448"/>
                  </a:lnTo>
                  <a:lnTo>
                    <a:pt x="304" y="448"/>
                  </a:lnTo>
                  <a:lnTo>
                    <a:pt x="296" y="448"/>
                  </a:lnTo>
                  <a:lnTo>
                    <a:pt x="296" y="448"/>
                  </a:lnTo>
                  <a:lnTo>
                    <a:pt x="288" y="446"/>
                  </a:lnTo>
                  <a:lnTo>
                    <a:pt x="286" y="446"/>
                  </a:lnTo>
                  <a:lnTo>
                    <a:pt x="284" y="446"/>
                  </a:lnTo>
                  <a:lnTo>
                    <a:pt x="280" y="444"/>
                  </a:lnTo>
                  <a:lnTo>
                    <a:pt x="280" y="444"/>
                  </a:lnTo>
                  <a:lnTo>
                    <a:pt x="276" y="440"/>
                  </a:lnTo>
                  <a:lnTo>
                    <a:pt x="276" y="436"/>
                  </a:lnTo>
                  <a:lnTo>
                    <a:pt x="276" y="432"/>
                  </a:lnTo>
                  <a:lnTo>
                    <a:pt x="276" y="432"/>
                  </a:lnTo>
                  <a:lnTo>
                    <a:pt x="274" y="430"/>
                  </a:lnTo>
                  <a:lnTo>
                    <a:pt x="264" y="432"/>
                  </a:lnTo>
                  <a:lnTo>
                    <a:pt x="264" y="432"/>
                  </a:lnTo>
                  <a:lnTo>
                    <a:pt x="258" y="432"/>
                  </a:lnTo>
                  <a:lnTo>
                    <a:pt x="256" y="430"/>
                  </a:lnTo>
                  <a:lnTo>
                    <a:pt x="254" y="428"/>
                  </a:lnTo>
                  <a:lnTo>
                    <a:pt x="252" y="426"/>
                  </a:lnTo>
                  <a:lnTo>
                    <a:pt x="252" y="426"/>
                  </a:lnTo>
                  <a:lnTo>
                    <a:pt x="238" y="428"/>
                  </a:lnTo>
                  <a:lnTo>
                    <a:pt x="236" y="426"/>
                  </a:lnTo>
                  <a:lnTo>
                    <a:pt x="210" y="434"/>
                  </a:lnTo>
                  <a:lnTo>
                    <a:pt x="210" y="434"/>
                  </a:lnTo>
                  <a:lnTo>
                    <a:pt x="210" y="420"/>
                  </a:lnTo>
                  <a:lnTo>
                    <a:pt x="210" y="412"/>
                  </a:lnTo>
                  <a:lnTo>
                    <a:pt x="208" y="406"/>
                  </a:lnTo>
                  <a:lnTo>
                    <a:pt x="206" y="404"/>
                  </a:lnTo>
                  <a:lnTo>
                    <a:pt x="204" y="402"/>
                  </a:lnTo>
                  <a:lnTo>
                    <a:pt x="202" y="398"/>
                  </a:lnTo>
                  <a:lnTo>
                    <a:pt x="202" y="390"/>
                  </a:lnTo>
                  <a:lnTo>
                    <a:pt x="202" y="378"/>
                  </a:lnTo>
                  <a:lnTo>
                    <a:pt x="202" y="378"/>
                  </a:lnTo>
                  <a:lnTo>
                    <a:pt x="200" y="366"/>
                  </a:lnTo>
                  <a:lnTo>
                    <a:pt x="200" y="356"/>
                  </a:lnTo>
                  <a:lnTo>
                    <a:pt x="198" y="348"/>
                  </a:lnTo>
                  <a:lnTo>
                    <a:pt x="200" y="340"/>
                  </a:lnTo>
                  <a:lnTo>
                    <a:pt x="200" y="340"/>
                  </a:lnTo>
                  <a:lnTo>
                    <a:pt x="202" y="334"/>
                  </a:lnTo>
                  <a:lnTo>
                    <a:pt x="200" y="330"/>
                  </a:lnTo>
                  <a:lnTo>
                    <a:pt x="196" y="328"/>
                  </a:lnTo>
                  <a:lnTo>
                    <a:pt x="188" y="328"/>
                  </a:lnTo>
                  <a:lnTo>
                    <a:pt x="188" y="328"/>
                  </a:lnTo>
                  <a:lnTo>
                    <a:pt x="182" y="328"/>
                  </a:lnTo>
                  <a:lnTo>
                    <a:pt x="182" y="326"/>
                  </a:lnTo>
                  <a:lnTo>
                    <a:pt x="182" y="324"/>
                  </a:lnTo>
                  <a:lnTo>
                    <a:pt x="178" y="322"/>
                  </a:lnTo>
                  <a:lnTo>
                    <a:pt x="178" y="322"/>
                  </a:lnTo>
                  <a:lnTo>
                    <a:pt x="172" y="322"/>
                  </a:lnTo>
                  <a:lnTo>
                    <a:pt x="170" y="324"/>
                  </a:lnTo>
                  <a:lnTo>
                    <a:pt x="168" y="324"/>
                  </a:lnTo>
                  <a:lnTo>
                    <a:pt x="160" y="326"/>
                  </a:lnTo>
                  <a:lnTo>
                    <a:pt x="160" y="326"/>
                  </a:lnTo>
                  <a:lnTo>
                    <a:pt x="154" y="328"/>
                  </a:lnTo>
                  <a:lnTo>
                    <a:pt x="152" y="330"/>
                  </a:lnTo>
                  <a:lnTo>
                    <a:pt x="152" y="334"/>
                  </a:lnTo>
                  <a:lnTo>
                    <a:pt x="152" y="336"/>
                  </a:lnTo>
                  <a:lnTo>
                    <a:pt x="152" y="336"/>
                  </a:lnTo>
                  <a:lnTo>
                    <a:pt x="150" y="340"/>
                  </a:lnTo>
                  <a:lnTo>
                    <a:pt x="148" y="346"/>
                  </a:lnTo>
                  <a:lnTo>
                    <a:pt x="146" y="348"/>
                  </a:lnTo>
                  <a:lnTo>
                    <a:pt x="140" y="346"/>
                  </a:lnTo>
                  <a:lnTo>
                    <a:pt x="140" y="346"/>
                  </a:lnTo>
                  <a:lnTo>
                    <a:pt x="136" y="344"/>
                  </a:lnTo>
                  <a:lnTo>
                    <a:pt x="132" y="346"/>
                  </a:lnTo>
                  <a:lnTo>
                    <a:pt x="128" y="348"/>
                  </a:lnTo>
                  <a:lnTo>
                    <a:pt x="120" y="350"/>
                  </a:lnTo>
                  <a:lnTo>
                    <a:pt x="120" y="350"/>
                  </a:lnTo>
                  <a:lnTo>
                    <a:pt x="116" y="350"/>
                  </a:lnTo>
                  <a:lnTo>
                    <a:pt x="112" y="348"/>
                  </a:lnTo>
                  <a:lnTo>
                    <a:pt x="110" y="342"/>
                  </a:lnTo>
                  <a:lnTo>
                    <a:pt x="108" y="334"/>
                  </a:lnTo>
                  <a:lnTo>
                    <a:pt x="106" y="330"/>
                  </a:lnTo>
                  <a:lnTo>
                    <a:pt x="102" y="326"/>
                  </a:lnTo>
                  <a:lnTo>
                    <a:pt x="102" y="326"/>
                  </a:lnTo>
                  <a:lnTo>
                    <a:pt x="98" y="322"/>
                  </a:lnTo>
                  <a:lnTo>
                    <a:pt x="98" y="316"/>
                  </a:lnTo>
                  <a:lnTo>
                    <a:pt x="96" y="306"/>
                  </a:lnTo>
                  <a:lnTo>
                    <a:pt x="96" y="298"/>
                  </a:lnTo>
                  <a:lnTo>
                    <a:pt x="94" y="294"/>
                  </a:lnTo>
                  <a:lnTo>
                    <a:pt x="90" y="294"/>
                  </a:lnTo>
                  <a:lnTo>
                    <a:pt x="90" y="294"/>
                  </a:lnTo>
                  <a:lnTo>
                    <a:pt x="82" y="294"/>
                  </a:lnTo>
                  <a:lnTo>
                    <a:pt x="76" y="292"/>
                  </a:lnTo>
                  <a:lnTo>
                    <a:pt x="72" y="292"/>
                  </a:lnTo>
                  <a:lnTo>
                    <a:pt x="64" y="292"/>
                  </a:lnTo>
                  <a:lnTo>
                    <a:pt x="64" y="292"/>
                  </a:lnTo>
                  <a:lnTo>
                    <a:pt x="38" y="292"/>
                  </a:lnTo>
                  <a:lnTo>
                    <a:pt x="30" y="292"/>
                  </a:lnTo>
                  <a:lnTo>
                    <a:pt x="22" y="294"/>
                  </a:lnTo>
                  <a:lnTo>
                    <a:pt x="22" y="294"/>
                  </a:lnTo>
                  <a:lnTo>
                    <a:pt x="18" y="296"/>
                  </a:lnTo>
                  <a:lnTo>
                    <a:pt x="14" y="296"/>
                  </a:lnTo>
                  <a:lnTo>
                    <a:pt x="12" y="296"/>
                  </a:lnTo>
                  <a:lnTo>
                    <a:pt x="10" y="298"/>
                  </a:lnTo>
                  <a:lnTo>
                    <a:pt x="10" y="298"/>
                  </a:lnTo>
                  <a:lnTo>
                    <a:pt x="6" y="298"/>
                  </a:lnTo>
                  <a:lnTo>
                    <a:pt x="2" y="298"/>
                  </a:lnTo>
                  <a:lnTo>
                    <a:pt x="0" y="294"/>
                  </a:lnTo>
                  <a:lnTo>
                    <a:pt x="0" y="294"/>
                  </a:lnTo>
                  <a:lnTo>
                    <a:pt x="6" y="292"/>
                  </a:lnTo>
                  <a:lnTo>
                    <a:pt x="10" y="290"/>
                  </a:lnTo>
                  <a:lnTo>
                    <a:pt x="6" y="276"/>
                  </a:lnTo>
                  <a:lnTo>
                    <a:pt x="6" y="276"/>
                  </a:lnTo>
                  <a:lnTo>
                    <a:pt x="6" y="266"/>
                  </a:lnTo>
                  <a:lnTo>
                    <a:pt x="10" y="260"/>
                  </a:lnTo>
                  <a:lnTo>
                    <a:pt x="12" y="258"/>
                  </a:lnTo>
                  <a:lnTo>
                    <a:pt x="16" y="254"/>
                  </a:lnTo>
                  <a:lnTo>
                    <a:pt x="16" y="254"/>
                  </a:lnTo>
                  <a:lnTo>
                    <a:pt x="24" y="260"/>
                  </a:lnTo>
                  <a:lnTo>
                    <a:pt x="28" y="260"/>
                  </a:lnTo>
                  <a:lnTo>
                    <a:pt x="32" y="258"/>
                  </a:lnTo>
                  <a:lnTo>
                    <a:pt x="32" y="258"/>
                  </a:lnTo>
                  <a:lnTo>
                    <a:pt x="36" y="254"/>
                  </a:lnTo>
                  <a:lnTo>
                    <a:pt x="38" y="254"/>
                  </a:lnTo>
                  <a:lnTo>
                    <a:pt x="38" y="256"/>
                  </a:lnTo>
                  <a:lnTo>
                    <a:pt x="42" y="256"/>
                  </a:lnTo>
                  <a:lnTo>
                    <a:pt x="42" y="256"/>
                  </a:lnTo>
                  <a:lnTo>
                    <a:pt x="46" y="256"/>
                  </a:lnTo>
                  <a:lnTo>
                    <a:pt x="48" y="258"/>
                  </a:lnTo>
                  <a:lnTo>
                    <a:pt x="50" y="264"/>
                  </a:lnTo>
                  <a:lnTo>
                    <a:pt x="52" y="266"/>
                  </a:lnTo>
                  <a:lnTo>
                    <a:pt x="52" y="266"/>
                  </a:lnTo>
                  <a:lnTo>
                    <a:pt x="58" y="258"/>
                  </a:lnTo>
                  <a:lnTo>
                    <a:pt x="58" y="258"/>
                  </a:lnTo>
                  <a:lnTo>
                    <a:pt x="62" y="250"/>
                  </a:lnTo>
                  <a:lnTo>
                    <a:pt x="66" y="246"/>
                  </a:lnTo>
                  <a:lnTo>
                    <a:pt x="72" y="242"/>
                  </a:lnTo>
                  <a:lnTo>
                    <a:pt x="78" y="240"/>
                  </a:lnTo>
                  <a:lnTo>
                    <a:pt x="80" y="236"/>
                  </a:lnTo>
                  <a:lnTo>
                    <a:pt x="84" y="230"/>
                  </a:lnTo>
                  <a:lnTo>
                    <a:pt x="84" y="230"/>
                  </a:lnTo>
                  <a:lnTo>
                    <a:pt x="90" y="216"/>
                  </a:lnTo>
                  <a:lnTo>
                    <a:pt x="92" y="202"/>
                  </a:lnTo>
                  <a:lnTo>
                    <a:pt x="94" y="188"/>
                  </a:lnTo>
                  <a:lnTo>
                    <a:pt x="98" y="176"/>
                  </a:lnTo>
                  <a:lnTo>
                    <a:pt x="98" y="176"/>
                  </a:lnTo>
                  <a:lnTo>
                    <a:pt x="102" y="172"/>
                  </a:lnTo>
                  <a:lnTo>
                    <a:pt x="106" y="170"/>
                  </a:lnTo>
                  <a:lnTo>
                    <a:pt x="110" y="166"/>
                  </a:lnTo>
                  <a:lnTo>
                    <a:pt x="120" y="150"/>
                  </a:lnTo>
                  <a:lnTo>
                    <a:pt x="120" y="150"/>
                  </a:lnTo>
                  <a:lnTo>
                    <a:pt x="124" y="140"/>
                  </a:lnTo>
                  <a:lnTo>
                    <a:pt x="126" y="134"/>
                  </a:lnTo>
                  <a:lnTo>
                    <a:pt x="124" y="126"/>
                  </a:lnTo>
                  <a:lnTo>
                    <a:pt x="126" y="112"/>
                  </a:lnTo>
                  <a:lnTo>
                    <a:pt x="126" y="112"/>
                  </a:lnTo>
                  <a:lnTo>
                    <a:pt x="128" y="92"/>
                  </a:lnTo>
                  <a:lnTo>
                    <a:pt x="130" y="84"/>
                  </a:lnTo>
                  <a:lnTo>
                    <a:pt x="132" y="80"/>
                  </a:lnTo>
                  <a:lnTo>
                    <a:pt x="132" y="76"/>
                  </a:lnTo>
                  <a:lnTo>
                    <a:pt x="132" y="76"/>
                  </a:lnTo>
                  <a:lnTo>
                    <a:pt x="130" y="70"/>
                  </a:lnTo>
                  <a:lnTo>
                    <a:pt x="132" y="66"/>
                  </a:lnTo>
                  <a:lnTo>
                    <a:pt x="136" y="58"/>
                  </a:lnTo>
                  <a:lnTo>
                    <a:pt x="138" y="42"/>
                  </a:lnTo>
                  <a:lnTo>
                    <a:pt x="138" y="42"/>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8" name="Freeform 55"/>
            <p:cNvSpPr>
              <a:spLocks/>
            </p:cNvSpPr>
            <p:nvPr/>
          </p:nvSpPr>
          <p:spPr bwMode="auto">
            <a:xfrm>
              <a:off x="4972809" y="3983302"/>
              <a:ext cx="306917" cy="534458"/>
            </a:xfrm>
            <a:custGeom>
              <a:avLst/>
              <a:gdLst/>
              <a:ahLst/>
              <a:cxnLst>
                <a:cxn ang="0">
                  <a:pos x="36" y="274"/>
                </a:cxn>
                <a:cxn ang="0">
                  <a:pos x="36" y="266"/>
                </a:cxn>
                <a:cxn ang="0">
                  <a:pos x="40" y="262"/>
                </a:cxn>
                <a:cxn ang="0">
                  <a:pos x="54" y="244"/>
                </a:cxn>
                <a:cxn ang="0">
                  <a:pos x="52" y="234"/>
                </a:cxn>
                <a:cxn ang="0">
                  <a:pos x="46" y="224"/>
                </a:cxn>
                <a:cxn ang="0">
                  <a:pos x="58" y="202"/>
                </a:cxn>
                <a:cxn ang="0">
                  <a:pos x="58" y="186"/>
                </a:cxn>
                <a:cxn ang="0">
                  <a:pos x="60" y="168"/>
                </a:cxn>
                <a:cxn ang="0">
                  <a:pos x="52" y="152"/>
                </a:cxn>
                <a:cxn ang="0">
                  <a:pos x="30" y="146"/>
                </a:cxn>
                <a:cxn ang="0">
                  <a:pos x="10" y="140"/>
                </a:cxn>
                <a:cxn ang="0">
                  <a:pos x="2" y="124"/>
                </a:cxn>
                <a:cxn ang="0">
                  <a:pos x="0" y="116"/>
                </a:cxn>
                <a:cxn ang="0">
                  <a:pos x="52" y="98"/>
                </a:cxn>
                <a:cxn ang="0">
                  <a:pos x="76" y="100"/>
                </a:cxn>
                <a:cxn ang="0">
                  <a:pos x="84" y="106"/>
                </a:cxn>
                <a:cxn ang="0">
                  <a:pos x="94" y="102"/>
                </a:cxn>
                <a:cxn ang="0">
                  <a:pos x="94" y="124"/>
                </a:cxn>
                <a:cxn ang="0">
                  <a:pos x="92" y="138"/>
                </a:cxn>
                <a:cxn ang="0">
                  <a:pos x="104" y="154"/>
                </a:cxn>
                <a:cxn ang="0">
                  <a:pos x="114" y="164"/>
                </a:cxn>
                <a:cxn ang="0">
                  <a:pos x="114" y="154"/>
                </a:cxn>
                <a:cxn ang="0">
                  <a:pos x="120" y="138"/>
                </a:cxn>
                <a:cxn ang="0">
                  <a:pos x="124" y="122"/>
                </a:cxn>
                <a:cxn ang="0">
                  <a:pos x="128" y="106"/>
                </a:cxn>
                <a:cxn ang="0">
                  <a:pos x="116" y="88"/>
                </a:cxn>
                <a:cxn ang="0">
                  <a:pos x="108" y="78"/>
                </a:cxn>
                <a:cxn ang="0">
                  <a:pos x="112" y="52"/>
                </a:cxn>
                <a:cxn ang="0">
                  <a:pos x="110" y="38"/>
                </a:cxn>
                <a:cxn ang="0">
                  <a:pos x="122" y="26"/>
                </a:cxn>
                <a:cxn ang="0">
                  <a:pos x="138" y="26"/>
                </a:cxn>
                <a:cxn ang="0">
                  <a:pos x="154" y="28"/>
                </a:cxn>
                <a:cxn ang="0">
                  <a:pos x="164" y="26"/>
                </a:cxn>
                <a:cxn ang="0">
                  <a:pos x="180" y="20"/>
                </a:cxn>
                <a:cxn ang="0">
                  <a:pos x="184" y="14"/>
                </a:cxn>
                <a:cxn ang="0">
                  <a:pos x="202" y="14"/>
                </a:cxn>
                <a:cxn ang="0">
                  <a:pos x="228" y="0"/>
                </a:cxn>
                <a:cxn ang="0">
                  <a:pos x="230" y="20"/>
                </a:cxn>
                <a:cxn ang="0">
                  <a:pos x="228" y="36"/>
                </a:cxn>
                <a:cxn ang="0">
                  <a:pos x="228" y="62"/>
                </a:cxn>
                <a:cxn ang="0">
                  <a:pos x="228" y="94"/>
                </a:cxn>
                <a:cxn ang="0">
                  <a:pos x="224" y="132"/>
                </a:cxn>
                <a:cxn ang="0">
                  <a:pos x="214" y="142"/>
                </a:cxn>
                <a:cxn ang="0">
                  <a:pos x="194" y="166"/>
                </a:cxn>
                <a:cxn ang="0">
                  <a:pos x="174" y="174"/>
                </a:cxn>
                <a:cxn ang="0">
                  <a:pos x="158" y="184"/>
                </a:cxn>
                <a:cxn ang="0">
                  <a:pos x="130" y="204"/>
                </a:cxn>
                <a:cxn ang="0">
                  <a:pos x="108" y="226"/>
                </a:cxn>
                <a:cxn ang="0">
                  <a:pos x="88" y="252"/>
                </a:cxn>
                <a:cxn ang="0">
                  <a:pos x="92" y="262"/>
                </a:cxn>
                <a:cxn ang="0">
                  <a:pos x="100" y="288"/>
                </a:cxn>
                <a:cxn ang="0">
                  <a:pos x="102" y="312"/>
                </a:cxn>
                <a:cxn ang="0">
                  <a:pos x="98" y="324"/>
                </a:cxn>
                <a:cxn ang="0">
                  <a:pos x="92" y="344"/>
                </a:cxn>
                <a:cxn ang="0">
                  <a:pos x="68" y="370"/>
                </a:cxn>
                <a:cxn ang="0">
                  <a:pos x="36" y="386"/>
                </a:cxn>
                <a:cxn ang="0">
                  <a:pos x="38" y="404"/>
                </a:cxn>
                <a:cxn ang="0">
                  <a:pos x="24" y="390"/>
                </a:cxn>
                <a:cxn ang="0">
                  <a:pos x="22" y="368"/>
                </a:cxn>
                <a:cxn ang="0">
                  <a:pos x="28" y="338"/>
                </a:cxn>
                <a:cxn ang="0">
                  <a:pos x="22" y="300"/>
                </a:cxn>
              </a:cxnLst>
              <a:rect l="0" t="0" r="r" b="b"/>
              <a:pathLst>
                <a:path w="232" h="404">
                  <a:moveTo>
                    <a:pt x="22" y="300"/>
                  </a:moveTo>
                  <a:lnTo>
                    <a:pt x="22" y="300"/>
                  </a:lnTo>
                  <a:lnTo>
                    <a:pt x="36" y="274"/>
                  </a:lnTo>
                  <a:lnTo>
                    <a:pt x="36" y="274"/>
                  </a:lnTo>
                  <a:lnTo>
                    <a:pt x="36" y="272"/>
                  </a:lnTo>
                  <a:lnTo>
                    <a:pt x="36" y="270"/>
                  </a:lnTo>
                  <a:lnTo>
                    <a:pt x="36" y="270"/>
                  </a:lnTo>
                  <a:lnTo>
                    <a:pt x="36" y="266"/>
                  </a:lnTo>
                  <a:lnTo>
                    <a:pt x="36" y="266"/>
                  </a:lnTo>
                  <a:lnTo>
                    <a:pt x="36" y="262"/>
                  </a:lnTo>
                  <a:lnTo>
                    <a:pt x="38" y="262"/>
                  </a:lnTo>
                  <a:lnTo>
                    <a:pt x="40" y="262"/>
                  </a:lnTo>
                  <a:lnTo>
                    <a:pt x="44" y="254"/>
                  </a:lnTo>
                  <a:lnTo>
                    <a:pt x="44" y="254"/>
                  </a:lnTo>
                  <a:lnTo>
                    <a:pt x="50" y="246"/>
                  </a:lnTo>
                  <a:lnTo>
                    <a:pt x="54" y="244"/>
                  </a:lnTo>
                  <a:lnTo>
                    <a:pt x="56" y="244"/>
                  </a:lnTo>
                  <a:lnTo>
                    <a:pt x="54" y="238"/>
                  </a:lnTo>
                  <a:lnTo>
                    <a:pt x="54" y="238"/>
                  </a:lnTo>
                  <a:lnTo>
                    <a:pt x="52" y="234"/>
                  </a:lnTo>
                  <a:lnTo>
                    <a:pt x="54" y="232"/>
                  </a:lnTo>
                  <a:lnTo>
                    <a:pt x="52" y="230"/>
                  </a:lnTo>
                  <a:lnTo>
                    <a:pt x="46" y="224"/>
                  </a:lnTo>
                  <a:lnTo>
                    <a:pt x="46" y="224"/>
                  </a:lnTo>
                  <a:lnTo>
                    <a:pt x="54" y="214"/>
                  </a:lnTo>
                  <a:lnTo>
                    <a:pt x="56" y="208"/>
                  </a:lnTo>
                  <a:lnTo>
                    <a:pt x="56" y="204"/>
                  </a:lnTo>
                  <a:lnTo>
                    <a:pt x="58" y="202"/>
                  </a:lnTo>
                  <a:lnTo>
                    <a:pt x="58" y="202"/>
                  </a:lnTo>
                  <a:lnTo>
                    <a:pt x="62" y="198"/>
                  </a:lnTo>
                  <a:lnTo>
                    <a:pt x="60" y="192"/>
                  </a:lnTo>
                  <a:lnTo>
                    <a:pt x="58" y="186"/>
                  </a:lnTo>
                  <a:lnTo>
                    <a:pt x="58" y="180"/>
                  </a:lnTo>
                  <a:lnTo>
                    <a:pt x="58" y="180"/>
                  </a:lnTo>
                  <a:lnTo>
                    <a:pt x="58" y="172"/>
                  </a:lnTo>
                  <a:lnTo>
                    <a:pt x="60" y="168"/>
                  </a:lnTo>
                  <a:lnTo>
                    <a:pt x="62" y="166"/>
                  </a:lnTo>
                  <a:lnTo>
                    <a:pt x="58" y="160"/>
                  </a:lnTo>
                  <a:lnTo>
                    <a:pt x="58" y="160"/>
                  </a:lnTo>
                  <a:lnTo>
                    <a:pt x="52" y="152"/>
                  </a:lnTo>
                  <a:lnTo>
                    <a:pt x="44" y="152"/>
                  </a:lnTo>
                  <a:lnTo>
                    <a:pt x="44" y="152"/>
                  </a:lnTo>
                  <a:lnTo>
                    <a:pt x="36" y="148"/>
                  </a:lnTo>
                  <a:lnTo>
                    <a:pt x="30" y="146"/>
                  </a:lnTo>
                  <a:lnTo>
                    <a:pt x="26" y="142"/>
                  </a:lnTo>
                  <a:lnTo>
                    <a:pt x="16" y="140"/>
                  </a:lnTo>
                  <a:lnTo>
                    <a:pt x="16" y="140"/>
                  </a:lnTo>
                  <a:lnTo>
                    <a:pt x="10" y="140"/>
                  </a:lnTo>
                  <a:lnTo>
                    <a:pt x="8" y="138"/>
                  </a:lnTo>
                  <a:lnTo>
                    <a:pt x="4" y="128"/>
                  </a:lnTo>
                  <a:lnTo>
                    <a:pt x="4" y="128"/>
                  </a:lnTo>
                  <a:lnTo>
                    <a:pt x="2" y="124"/>
                  </a:lnTo>
                  <a:lnTo>
                    <a:pt x="2" y="120"/>
                  </a:lnTo>
                  <a:lnTo>
                    <a:pt x="2" y="120"/>
                  </a:lnTo>
                  <a:lnTo>
                    <a:pt x="0" y="116"/>
                  </a:lnTo>
                  <a:lnTo>
                    <a:pt x="0" y="116"/>
                  </a:lnTo>
                  <a:lnTo>
                    <a:pt x="16" y="110"/>
                  </a:lnTo>
                  <a:lnTo>
                    <a:pt x="36" y="104"/>
                  </a:lnTo>
                  <a:lnTo>
                    <a:pt x="36" y="104"/>
                  </a:lnTo>
                  <a:lnTo>
                    <a:pt x="52" y="98"/>
                  </a:lnTo>
                  <a:lnTo>
                    <a:pt x="68" y="90"/>
                  </a:lnTo>
                  <a:lnTo>
                    <a:pt x="68" y="90"/>
                  </a:lnTo>
                  <a:lnTo>
                    <a:pt x="72" y="96"/>
                  </a:lnTo>
                  <a:lnTo>
                    <a:pt x="76" y="100"/>
                  </a:lnTo>
                  <a:lnTo>
                    <a:pt x="78" y="104"/>
                  </a:lnTo>
                  <a:lnTo>
                    <a:pt x="80" y="106"/>
                  </a:lnTo>
                  <a:lnTo>
                    <a:pt x="80" y="106"/>
                  </a:lnTo>
                  <a:lnTo>
                    <a:pt x="84" y="106"/>
                  </a:lnTo>
                  <a:lnTo>
                    <a:pt x="88" y="104"/>
                  </a:lnTo>
                  <a:lnTo>
                    <a:pt x="92" y="102"/>
                  </a:lnTo>
                  <a:lnTo>
                    <a:pt x="94" y="102"/>
                  </a:lnTo>
                  <a:lnTo>
                    <a:pt x="94" y="102"/>
                  </a:lnTo>
                  <a:lnTo>
                    <a:pt x="96" y="106"/>
                  </a:lnTo>
                  <a:lnTo>
                    <a:pt x="96" y="114"/>
                  </a:lnTo>
                  <a:lnTo>
                    <a:pt x="96" y="122"/>
                  </a:lnTo>
                  <a:lnTo>
                    <a:pt x="94" y="124"/>
                  </a:lnTo>
                  <a:lnTo>
                    <a:pt x="94" y="124"/>
                  </a:lnTo>
                  <a:lnTo>
                    <a:pt x="92" y="126"/>
                  </a:lnTo>
                  <a:lnTo>
                    <a:pt x="90" y="128"/>
                  </a:lnTo>
                  <a:lnTo>
                    <a:pt x="92" y="138"/>
                  </a:lnTo>
                  <a:lnTo>
                    <a:pt x="98" y="150"/>
                  </a:lnTo>
                  <a:lnTo>
                    <a:pt x="100" y="154"/>
                  </a:lnTo>
                  <a:lnTo>
                    <a:pt x="104" y="154"/>
                  </a:lnTo>
                  <a:lnTo>
                    <a:pt x="104" y="154"/>
                  </a:lnTo>
                  <a:lnTo>
                    <a:pt x="108" y="158"/>
                  </a:lnTo>
                  <a:lnTo>
                    <a:pt x="110" y="162"/>
                  </a:lnTo>
                  <a:lnTo>
                    <a:pt x="112" y="164"/>
                  </a:lnTo>
                  <a:lnTo>
                    <a:pt x="114" y="164"/>
                  </a:lnTo>
                  <a:lnTo>
                    <a:pt x="114" y="164"/>
                  </a:lnTo>
                  <a:lnTo>
                    <a:pt x="116" y="162"/>
                  </a:lnTo>
                  <a:lnTo>
                    <a:pt x="116" y="160"/>
                  </a:lnTo>
                  <a:lnTo>
                    <a:pt x="114" y="154"/>
                  </a:lnTo>
                  <a:lnTo>
                    <a:pt x="116" y="146"/>
                  </a:lnTo>
                  <a:lnTo>
                    <a:pt x="118" y="142"/>
                  </a:lnTo>
                  <a:lnTo>
                    <a:pt x="120" y="138"/>
                  </a:lnTo>
                  <a:lnTo>
                    <a:pt x="120" y="138"/>
                  </a:lnTo>
                  <a:lnTo>
                    <a:pt x="124" y="136"/>
                  </a:lnTo>
                  <a:lnTo>
                    <a:pt x="126" y="132"/>
                  </a:lnTo>
                  <a:lnTo>
                    <a:pt x="126" y="128"/>
                  </a:lnTo>
                  <a:lnTo>
                    <a:pt x="124" y="122"/>
                  </a:lnTo>
                  <a:lnTo>
                    <a:pt x="124" y="118"/>
                  </a:lnTo>
                  <a:lnTo>
                    <a:pt x="126" y="114"/>
                  </a:lnTo>
                  <a:lnTo>
                    <a:pt x="126" y="114"/>
                  </a:lnTo>
                  <a:lnTo>
                    <a:pt x="128" y="106"/>
                  </a:lnTo>
                  <a:lnTo>
                    <a:pt x="128" y="100"/>
                  </a:lnTo>
                  <a:lnTo>
                    <a:pt x="124" y="96"/>
                  </a:lnTo>
                  <a:lnTo>
                    <a:pt x="116" y="88"/>
                  </a:lnTo>
                  <a:lnTo>
                    <a:pt x="116" y="88"/>
                  </a:lnTo>
                  <a:lnTo>
                    <a:pt x="114" y="84"/>
                  </a:lnTo>
                  <a:lnTo>
                    <a:pt x="112" y="80"/>
                  </a:lnTo>
                  <a:lnTo>
                    <a:pt x="112" y="80"/>
                  </a:lnTo>
                  <a:lnTo>
                    <a:pt x="108" y="78"/>
                  </a:lnTo>
                  <a:lnTo>
                    <a:pt x="108" y="74"/>
                  </a:lnTo>
                  <a:lnTo>
                    <a:pt x="110" y="66"/>
                  </a:lnTo>
                  <a:lnTo>
                    <a:pt x="112" y="56"/>
                  </a:lnTo>
                  <a:lnTo>
                    <a:pt x="112" y="52"/>
                  </a:lnTo>
                  <a:lnTo>
                    <a:pt x="110" y="46"/>
                  </a:lnTo>
                  <a:lnTo>
                    <a:pt x="110" y="46"/>
                  </a:lnTo>
                  <a:lnTo>
                    <a:pt x="108" y="42"/>
                  </a:lnTo>
                  <a:lnTo>
                    <a:pt x="110" y="38"/>
                  </a:lnTo>
                  <a:lnTo>
                    <a:pt x="112" y="34"/>
                  </a:lnTo>
                  <a:lnTo>
                    <a:pt x="112" y="28"/>
                  </a:lnTo>
                  <a:lnTo>
                    <a:pt x="112" y="28"/>
                  </a:lnTo>
                  <a:lnTo>
                    <a:pt x="122" y="26"/>
                  </a:lnTo>
                  <a:lnTo>
                    <a:pt x="126" y="22"/>
                  </a:lnTo>
                  <a:lnTo>
                    <a:pt x="130" y="22"/>
                  </a:lnTo>
                  <a:lnTo>
                    <a:pt x="138" y="26"/>
                  </a:lnTo>
                  <a:lnTo>
                    <a:pt x="138" y="26"/>
                  </a:lnTo>
                  <a:lnTo>
                    <a:pt x="144" y="28"/>
                  </a:lnTo>
                  <a:lnTo>
                    <a:pt x="148" y="30"/>
                  </a:lnTo>
                  <a:lnTo>
                    <a:pt x="152" y="30"/>
                  </a:lnTo>
                  <a:lnTo>
                    <a:pt x="154" y="28"/>
                  </a:lnTo>
                  <a:lnTo>
                    <a:pt x="156" y="24"/>
                  </a:lnTo>
                  <a:lnTo>
                    <a:pt x="160" y="24"/>
                  </a:lnTo>
                  <a:lnTo>
                    <a:pt x="164" y="26"/>
                  </a:lnTo>
                  <a:lnTo>
                    <a:pt x="164" y="26"/>
                  </a:lnTo>
                  <a:lnTo>
                    <a:pt x="168" y="26"/>
                  </a:lnTo>
                  <a:lnTo>
                    <a:pt x="174" y="24"/>
                  </a:lnTo>
                  <a:lnTo>
                    <a:pt x="178" y="22"/>
                  </a:lnTo>
                  <a:lnTo>
                    <a:pt x="180" y="20"/>
                  </a:lnTo>
                  <a:lnTo>
                    <a:pt x="180" y="20"/>
                  </a:lnTo>
                  <a:lnTo>
                    <a:pt x="178" y="18"/>
                  </a:lnTo>
                  <a:lnTo>
                    <a:pt x="178" y="16"/>
                  </a:lnTo>
                  <a:lnTo>
                    <a:pt x="184" y="14"/>
                  </a:lnTo>
                  <a:lnTo>
                    <a:pt x="190" y="14"/>
                  </a:lnTo>
                  <a:lnTo>
                    <a:pt x="196" y="14"/>
                  </a:lnTo>
                  <a:lnTo>
                    <a:pt x="196" y="14"/>
                  </a:lnTo>
                  <a:lnTo>
                    <a:pt x="202" y="14"/>
                  </a:lnTo>
                  <a:lnTo>
                    <a:pt x="212" y="12"/>
                  </a:lnTo>
                  <a:lnTo>
                    <a:pt x="222" y="8"/>
                  </a:lnTo>
                  <a:lnTo>
                    <a:pt x="226" y="4"/>
                  </a:lnTo>
                  <a:lnTo>
                    <a:pt x="228" y="0"/>
                  </a:lnTo>
                  <a:lnTo>
                    <a:pt x="228" y="0"/>
                  </a:lnTo>
                  <a:lnTo>
                    <a:pt x="230" y="6"/>
                  </a:lnTo>
                  <a:lnTo>
                    <a:pt x="230" y="14"/>
                  </a:lnTo>
                  <a:lnTo>
                    <a:pt x="230" y="20"/>
                  </a:lnTo>
                  <a:lnTo>
                    <a:pt x="230" y="26"/>
                  </a:lnTo>
                  <a:lnTo>
                    <a:pt x="230" y="26"/>
                  </a:lnTo>
                  <a:lnTo>
                    <a:pt x="230" y="32"/>
                  </a:lnTo>
                  <a:lnTo>
                    <a:pt x="228" y="36"/>
                  </a:lnTo>
                  <a:lnTo>
                    <a:pt x="226" y="42"/>
                  </a:lnTo>
                  <a:lnTo>
                    <a:pt x="228" y="52"/>
                  </a:lnTo>
                  <a:lnTo>
                    <a:pt x="228" y="52"/>
                  </a:lnTo>
                  <a:lnTo>
                    <a:pt x="228" y="62"/>
                  </a:lnTo>
                  <a:lnTo>
                    <a:pt x="226" y="70"/>
                  </a:lnTo>
                  <a:lnTo>
                    <a:pt x="224" y="80"/>
                  </a:lnTo>
                  <a:lnTo>
                    <a:pt x="228" y="94"/>
                  </a:lnTo>
                  <a:lnTo>
                    <a:pt x="228" y="94"/>
                  </a:lnTo>
                  <a:lnTo>
                    <a:pt x="232" y="106"/>
                  </a:lnTo>
                  <a:lnTo>
                    <a:pt x="232" y="114"/>
                  </a:lnTo>
                  <a:lnTo>
                    <a:pt x="230" y="120"/>
                  </a:lnTo>
                  <a:lnTo>
                    <a:pt x="224" y="132"/>
                  </a:lnTo>
                  <a:lnTo>
                    <a:pt x="224" y="132"/>
                  </a:lnTo>
                  <a:lnTo>
                    <a:pt x="220" y="140"/>
                  </a:lnTo>
                  <a:lnTo>
                    <a:pt x="216" y="140"/>
                  </a:lnTo>
                  <a:lnTo>
                    <a:pt x="214" y="142"/>
                  </a:lnTo>
                  <a:lnTo>
                    <a:pt x="210" y="148"/>
                  </a:lnTo>
                  <a:lnTo>
                    <a:pt x="210" y="148"/>
                  </a:lnTo>
                  <a:lnTo>
                    <a:pt x="204" y="158"/>
                  </a:lnTo>
                  <a:lnTo>
                    <a:pt x="194" y="166"/>
                  </a:lnTo>
                  <a:lnTo>
                    <a:pt x="184" y="172"/>
                  </a:lnTo>
                  <a:lnTo>
                    <a:pt x="180" y="174"/>
                  </a:lnTo>
                  <a:lnTo>
                    <a:pt x="174" y="174"/>
                  </a:lnTo>
                  <a:lnTo>
                    <a:pt x="174" y="174"/>
                  </a:lnTo>
                  <a:lnTo>
                    <a:pt x="172" y="176"/>
                  </a:lnTo>
                  <a:lnTo>
                    <a:pt x="172" y="178"/>
                  </a:lnTo>
                  <a:lnTo>
                    <a:pt x="168" y="182"/>
                  </a:lnTo>
                  <a:lnTo>
                    <a:pt x="158" y="184"/>
                  </a:lnTo>
                  <a:lnTo>
                    <a:pt x="158" y="184"/>
                  </a:lnTo>
                  <a:lnTo>
                    <a:pt x="152" y="186"/>
                  </a:lnTo>
                  <a:lnTo>
                    <a:pt x="144" y="192"/>
                  </a:lnTo>
                  <a:lnTo>
                    <a:pt x="130" y="204"/>
                  </a:lnTo>
                  <a:lnTo>
                    <a:pt x="118" y="218"/>
                  </a:lnTo>
                  <a:lnTo>
                    <a:pt x="112" y="222"/>
                  </a:lnTo>
                  <a:lnTo>
                    <a:pt x="108" y="226"/>
                  </a:lnTo>
                  <a:lnTo>
                    <a:pt x="108" y="226"/>
                  </a:lnTo>
                  <a:lnTo>
                    <a:pt x="102" y="230"/>
                  </a:lnTo>
                  <a:lnTo>
                    <a:pt x="96" y="234"/>
                  </a:lnTo>
                  <a:lnTo>
                    <a:pt x="90" y="246"/>
                  </a:lnTo>
                  <a:lnTo>
                    <a:pt x="88" y="252"/>
                  </a:lnTo>
                  <a:lnTo>
                    <a:pt x="88" y="256"/>
                  </a:lnTo>
                  <a:lnTo>
                    <a:pt x="88" y="260"/>
                  </a:lnTo>
                  <a:lnTo>
                    <a:pt x="92" y="262"/>
                  </a:lnTo>
                  <a:lnTo>
                    <a:pt x="92" y="262"/>
                  </a:lnTo>
                  <a:lnTo>
                    <a:pt x="94" y="266"/>
                  </a:lnTo>
                  <a:lnTo>
                    <a:pt x="96" y="270"/>
                  </a:lnTo>
                  <a:lnTo>
                    <a:pt x="96" y="278"/>
                  </a:lnTo>
                  <a:lnTo>
                    <a:pt x="100" y="288"/>
                  </a:lnTo>
                  <a:lnTo>
                    <a:pt x="100" y="288"/>
                  </a:lnTo>
                  <a:lnTo>
                    <a:pt x="100" y="298"/>
                  </a:lnTo>
                  <a:lnTo>
                    <a:pt x="100" y="304"/>
                  </a:lnTo>
                  <a:lnTo>
                    <a:pt x="102" y="312"/>
                  </a:lnTo>
                  <a:lnTo>
                    <a:pt x="102" y="312"/>
                  </a:lnTo>
                  <a:lnTo>
                    <a:pt x="102" y="316"/>
                  </a:lnTo>
                  <a:lnTo>
                    <a:pt x="102" y="320"/>
                  </a:lnTo>
                  <a:lnTo>
                    <a:pt x="98" y="324"/>
                  </a:lnTo>
                  <a:lnTo>
                    <a:pt x="96" y="330"/>
                  </a:lnTo>
                  <a:lnTo>
                    <a:pt x="94" y="338"/>
                  </a:lnTo>
                  <a:lnTo>
                    <a:pt x="94" y="338"/>
                  </a:lnTo>
                  <a:lnTo>
                    <a:pt x="92" y="344"/>
                  </a:lnTo>
                  <a:lnTo>
                    <a:pt x="88" y="354"/>
                  </a:lnTo>
                  <a:lnTo>
                    <a:pt x="82" y="358"/>
                  </a:lnTo>
                  <a:lnTo>
                    <a:pt x="76" y="364"/>
                  </a:lnTo>
                  <a:lnTo>
                    <a:pt x="68" y="370"/>
                  </a:lnTo>
                  <a:lnTo>
                    <a:pt x="58" y="374"/>
                  </a:lnTo>
                  <a:lnTo>
                    <a:pt x="58" y="374"/>
                  </a:lnTo>
                  <a:lnTo>
                    <a:pt x="40" y="382"/>
                  </a:lnTo>
                  <a:lnTo>
                    <a:pt x="36" y="386"/>
                  </a:lnTo>
                  <a:lnTo>
                    <a:pt x="36" y="388"/>
                  </a:lnTo>
                  <a:lnTo>
                    <a:pt x="38" y="394"/>
                  </a:lnTo>
                  <a:lnTo>
                    <a:pt x="38" y="398"/>
                  </a:lnTo>
                  <a:lnTo>
                    <a:pt x="38" y="404"/>
                  </a:lnTo>
                  <a:lnTo>
                    <a:pt x="26" y="404"/>
                  </a:lnTo>
                  <a:lnTo>
                    <a:pt x="26" y="404"/>
                  </a:lnTo>
                  <a:lnTo>
                    <a:pt x="24" y="396"/>
                  </a:lnTo>
                  <a:lnTo>
                    <a:pt x="24" y="390"/>
                  </a:lnTo>
                  <a:lnTo>
                    <a:pt x="22" y="386"/>
                  </a:lnTo>
                  <a:lnTo>
                    <a:pt x="18" y="382"/>
                  </a:lnTo>
                  <a:lnTo>
                    <a:pt x="18" y="382"/>
                  </a:lnTo>
                  <a:lnTo>
                    <a:pt x="22" y="368"/>
                  </a:lnTo>
                  <a:lnTo>
                    <a:pt x="26" y="360"/>
                  </a:lnTo>
                  <a:lnTo>
                    <a:pt x="28" y="352"/>
                  </a:lnTo>
                  <a:lnTo>
                    <a:pt x="28" y="338"/>
                  </a:lnTo>
                  <a:lnTo>
                    <a:pt x="28" y="338"/>
                  </a:lnTo>
                  <a:lnTo>
                    <a:pt x="26" y="324"/>
                  </a:lnTo>
                  <a:lnTo>
                    <a:pt x="28" y="316"/>
                  </a:lnTo>
                  <a:lnTo>
                    <a:pt x="28" y="312"/>
                  </a:lnTo>
                  <a:lnTo>
                    <a:pt x="22" y="300"/>
                  </a:lnTo>
                  <a:lnTo>
                    <a:pt x="22" y="30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9" name="Freeform 56"/>
            <p:cNvSpPr>
              <a:spLocks/>
            </p:cNvSpPr>
            <p:nvPr/>
          </p:nvSpPr>
          <p:spPr bwMode="auto">
            <a:xfrm>
              <a:off x="5070705" y="3126052"/>
              <a:ext cx="420688" cy="367771"/>
            </a:xfrm>
            <a:custGeom>
              <a:avLst/>
              <a:gdLst/>
              <a:ahLst/>
              <a:cxnLst>
                <a:cxn ang="0">
                  <a:pos x="60" y="248"/>
                </a:cxn>
                <a:cxn ang="0">
                  <a:pos x="62" y="240"/>
                </a:cxn>
                <a:cxn ang="0">
                  <a:pos x="50" y="230"/>
                </a:cxn>
                <a:cxn ang="0">
                  <a:pos x="44" y="220"/>
                </a:cxn>
                <a:cxn ang="0">
                  <a:pos x="40" y="214"/>
                </a:cxn>
                <a:cxn ang="0">
                  <a:pos x="36" y="208"/>
                </a:cxn>
                <a:cxn ang="0">
                  <a:pos x="30" y="198"/>
                </a:cxn>
                <a:cxn ang="0">
                  <a:pos x="22" y="186"/>
                </a:cxn>
                <a:cxn ang="0">
                  <a:pos x="0" y="166"/>
                </a:cxn>
                <a:cxn ang="0">
                  <a:pos x="6" y="152"/>
                </a:cxn>
                <a:cxn ang="0">
                  <a:pos x="16" y="148"/>
                </a:cxn>
                <a:cxn ang="0">
                  <a:pos x="22" y="138"/>
                </a:cxn>
                <a:cxn ang="0">
                  <a:pos x="24" y="118"/>
                </a:cxn>
                <a:cxn ang="0">
                  <a:pos x="24" y="104"/>
                </a:cxn>
                <a:cxn ang="0">
                  <a:pos x="28" y="88"/>
                </a:cxn>
                <a:cxn ang="0">
                  <a:pos x="34" y="78"/>
                </a:cxn>
                <a:cxn ang="0">
                  <a:pos x="36" y="66"/>
                </a:cxn>
                <a:cxn ang="0">
                  <a:pos x="38" y="58"/>
                </a:cxn>
                <a:cxn ang="0">
                  <a:pos x="46" y="44"/>
                </a:cxn>
                <a:cxn ang="0">
                  <a:pos x="56" y="22"/>
                </a:cxn>
                <a:cxn ang="0">
                  <a:pos x="58" y="12"/>
                </a:cxn>
                <a:cxn ang="0">
                  <a:pos x="76" y="8"/>
                </a:cxn>
                <a:cxn ang="0">
                  <a:pos x="80" y="12"/>
                </a:cxn>
                <a:cxn ang="0">
                  <a:pos x="82" y="14"/>
                </a:cxn>
                <a:cxn ang="0">
                  <a:pos x="86" y="12"/>
                </a:cxn>
                <a:cxn ang="0">
                  <a:pos x="88" y="6"/>
                </a:cxn>
                <a:cxn ang="0">
                  <a:pos x="90" y="2"/>
                </a:cxn>
                <a:cxn ang="0">
                  <a:pos x="92" y="0"/>
                </a:cxn>
                <a:cxn ang="0">
                  <a:pos x="96" y="2"/>
                </a:cxn>
                <a:cxn ang="0">
                  <a:pos x="102" y="8"/>
                </a:cxn>
                <a:cxn ang="0">
                  <a:pos x="112" y="10"/>
                </a:cxn>
                <a:cxn ang="0">
                  <a:pos x="118" y="10"/>
                </a:cxn>
                <a:cxn ang="0">
                  <a:pos x="128" y="8"/>
                </a:cxn>
                <a:cxn ang="0">
                  <a:pos x="140" y="8"/>
                </a:cxn>
                <a:cxn ang="0">
                  <a:pos x="150" y="8"/>
                </a:cxn>
                <a:cxn ang="0">
                  <a:pos x="166" y="16"/>
                </a:cxn>
                <a:cxn ang="0">
                  <a:pos x="186" y="36"/>
                </a:cxn>
                <a:cxn ang="0">
                  <a:pos x="196" y="52"/>
                </a:cxn>
                <a:cxn ang="0">
                  <a:pos x="188" y="54"/>
                </a:cxn>
                <a:cxn ang="0">
                  <a:pos x="186" y="60"/>
                </a:cxn>
                <a:cxn ang="0">
                  <a:pos x="182" y="82"/>
                </a:cxn>
                <a:cxn ang="0">
                  <a:pos x="184" y="84"/>
                </a:cxn>
                <a:cxn ang="0">
                  <a:pos x="188" y="88"/>
                </a:cxn>
                <a:cxn ang="0">
                  <a:pos x="196" y="86"/>
                </a:cxn>
                <a:cxn ang="0">
                  <a:pos x="204" y="88"/>
                </a:cxn>
                <a:cxn ang="0">
                  <a:pos x="210" y="114"/>
                </a:cxn>
                <a:cxn ang="0">
                  <a:pos x="286" y="158"/>
                </a:cxn>
                <a:cxn ang="0">
                  <a:pos x="318" y="166"/>
                </a:cxn>
                <a:cxn ang="0">
                  <a:pos x="248" y="240"/>
                </a:cxn>
                <a:cxn ang="0">
                  <a:pos x="244" y="242"/>
                </a:cxn>
                <a:cxn ang="0">
                  <a:pos x="236" y="242"/>
                </a:cxn>
                <a:cxn ang="0">
                  <a:pos x="216" y="248"/>
                </a:cxn>
                <a:cxn ang="0">
                  <a:pos x="188" y="270"/>
                </a:cxn>
                <a:cxn ang="0">
                  <a:pos x="172" y="266"/>
                </a:cxn>
                <a:cxn ang="0">
                  <a:pos x="158" y="266"/>
                </a:cxn>
                <a:cxn ang="0">
                  <a:pos x="154" y="268"/>
                </a:cxn>
                <a:cxn ang="0">
                  <a:pos x="152" y="274"/>
                </a:cxn>
                <a:cxn ang="0">
                  <a:pos x="148" y="276"/>
                </a:cxn>
                <a:cxn ang="0">
                  <a:pos x="128" y="278"/>
                </a:cxn>
                <a:cxn ang="0">
                  <a:pos x="106" y="274"/>
                </a:cxn>
                <a:cxn ang="0">
                  <a:pos x="94" y="264"/>
                </a:cxn>
                <a:cxn ang="0">
                  <a:pos x="84" y="254"/>
                </a:cxn>
                <a:cxn ang="0">
                  <a:pos x="60" y="248"/>
                </a:cxn>
              </a:cxnLst>
              <a:rect l="0" t="0" r="r" b="b"/>
              <a:pathLst>
                <a:path w="318" h="278">
                  <a:moveTo>
                    <a:pt x="60" y="248"/>
                  </a:moveTo>
                  <a:lnTo>
                    <a:pt x="60" y="248"/>
                  </a:lnTo>
                  <a:lnTo>
                    <a:pt x="62" y="244"/>
                  </a:lnTo>
                  <a:lnTo>
                    <a:pt x="62" y="240"/>
                  </a:lnTo>
                  <a:lnTo>
                    <a:pt x="56" y="234"/>
                  </a:lnTo>
                  <a:lnTo>
                    <a:pt x="50" y="230"/>
                  </a:lnTo>
                  <a:lnTo>
                    <a:pt x="48" y="226"/>
                  </a:lnTo>
                  <a:lnTo>
                    <a:pt x="44" y="220"/>
                  </a:lnTo>
                  <a:lnTo>
                    <a:pt x="44" y="220"/>
                  </a:lnTo>
                  <a:lnTo>
                    <a:pt x="40" y="214"/>
                  </a:lnTo>
                  <a:lnTo>
                    <a:pt x="38" y="210"/>
                  </a:lnTo>
                  <a:lnTo>
                    <a:pt x="36" y="208"/>
                  </a:lnTo>
                  <a:lnTo>
                    <a:pt x="30" y="198"/>
                  </a:lnTo>
                  <a:lnTo>
                    <a:pt x="30" y="198"/>
                  </a:lnTo>
                  <a:lnTo>
                    <a:pt x="28" y="192"/>
                  </a:lnTo>
                  <a:lnTo>
                    <a:pt x="22" y="186"/>
                  </a:lnTo>
                  <a:lnTo>
                    <a:pt x="12" y="176"/>
                  </a:lnTo>
                  <a:lnTo>
                    <a:pt x="0" y="166"/>
                  </a:lnTo>
                  <a:lnTo>
                    <a:pt x="6" y="152"/>
                  </a:lnTo>
                  <a:lnTo>
                    <a:pt x="6" y="152"/>
                  </a:lnTo>
                  <a:lnTo>
                    <a:pt x="10" y="152"/>
                  </a:lnTo>
                  <a:lnTo>
                    <a:pt x="16" y="148"/>
                  </a:lnTo>
                  <a:lnTo>
                    <a:pt x="20" y="144"/>
                  </a:lnTo>
                  <a:lnTo>
                    <a:pt x="22" y="138"/>
                  </a:lnTo>
                  <a:lnTo>
                    <a:pt x="24" y="130"/>
                  </a:lnTo>
                  <a:lnTo>
                    <a:pt x="24" y="118"/>
                  </a:lnTo>
                  <a:lnTo>
                    <a:pt x="24" y="118"/>
                  </a:lnTo>
                  <a:lnTo>
                    <a:pt x="24" y="104"/>
                  </a:lnTo>
                  <a:lnTo>
                    <a:pt x="26" y="94"/>
                  </a:lnTo>
                  <a:lnTo>
                    <a:pt x="28" y="88"/>
                  </a:lnTo>
                  <a:lnTo>
                    <a:pt x="30" y="84"/>
                  </a:lnTo>
                  <a:lnTo>
                    <a:pt x="34" y="78"/>
                  </a:lnTo>
                  <a:lnTo>
                    <a:pt x="36" y="74"/>
                  </a:lnTo>
                  <a:lnTo>
                    <a:pt x="36" y="66"/>
                  </a:lnTo>
                  <a:lnTo>
                    <a:pt x="36" y="66"/>
                  </a:lnTo>
                  <a:lnTo>
                    <a:pt x="38" y="58"/>
                  </a:lnTo>
                  <a:lnTo>
                    <a:pt x="40" y="52"/>
                  </a:lnTo>
                  <a:lnTo>
                    <a:pt x="46" y="44"/>
                  </a:lnTo>
                  <a:lnTo>
                    <a:pt x="54" y="32"/>
                  </a:lnTo>
                  <a:lnTo>
                    <a:pt x="56" y="22"/>
                  </a:lnTo>
                  <a:lnTo>
                    <a:pt x="58" y="12"/>
                  </a:lnTo>
                  <a:lnTo>
                    <a:pt x="58" y="12"/>
                  </a:lnTo>
                  <a:lnTo>
                    <a:pt x="72" y="8"/>
                  </a:lnTo>
                  <a:lnTo>
                    <a:pt x="76" y="8"/>
                  </a:lnTo>
                  <a:lnTo>
                    <a:pt x="78" y="10"/>
                  </a:lnTo>
                  <a:lnTo>
                    <a:pt x="80" y="12"/>
                  </a:lnTo>
                  <a:lnTo>
                    <a:pt x="80" y="14"/>
                  </a:lnTo>
                  <a:lnTo>
                    <a:pt x="82" y="14"/>
                  </a:lnTo>
                  <a:lnTo>
                    <a:pt x="82" y="14"/>
                  </a:lnTo>
                  <a:lnTo>
                    <a:pt x="86" y="12"/>
                  </a:lnTo>
                  <a:lnTo>
                    <a:pt x="86" y="12"/>
                  </a:lnTo>
                  <a:lnTo>
                    <a:pt x="88" y="6"/>
                  </a:lnTo>
                  <a:lnTo>
                    <a:pt x="90" y="2"/>
                  </a:lnTo>
                  <a:lnTo>
                    <a:pt x="90" y="2"/>
                  </a:lnTo>
                  <a:lnTo>
                    <a:pt x="92" y="0"/>
                  </a:lnTo>
                  <a:lnTo>
                    <a:pt x="92" y="0"/>
                  </a:lnTo>
                  <a:lnTo>
                    <a:pt x="96" y="0"/>
                  </a:lnTo>
                  <a:lnTo>
                    <a:pt x="96" y="2"/>
                  </a:lnTo>
                  <a:lnTo>
                    <a:pt x="100" y="6"/>
                  </a:lnTo>
                  <a:lnTo>
                    <a:pt x="102" y="8"/>
                  </a:lnTo>
                  <a:lnTo>
                    <a:pt x="106" y="10"/>
                  </a:lnTo>
                  <a:lnTo>
                    <a:pt x="112" y="10"/>
                  </a:lnTo>
                  <a:lnTo>
                    <a:pt x="118" y="10"/>
                  </a:lnTo>
                  <a:lnTo>
                    <a:pt x="118" y="10"/>
                  </a:lnTo>
                  <a:lnTo>
                    <a:pt x="124" y="8"/>
                  </a:lnTo>
                  <a:lnTo>
                    <a:pt x="128" y="8"/>
                  </a:lnTo>
                  <a:lnTo>
                    <a:pt x="132" y="8"/>
                  </a:lnTo>
                  <a:lnTo>
                    <a:pt x="140" y="8"/>
                  </a:lnTo>
                  <a:lnTo>
                    <a:pt x="140" y="8"/>
                  </a:lnTo>
                  <a:lnTo>
                    <a:pt x="150" y="8"/>
                  </a:lnTo>
                  <a:lnTo>
                    <a:pt x="158" y="10"/>
                  </a:lnTo>
                  <a:lnTo>
                    <a:pt x="166" y="16"/>
                  </a:lnTo>
                  <a:lnTo>
                    <a:pt x="172" y="22"/>
                  </a:lnTo>
                  <a:lnTo>
                    <a:pt x="186" y="36"/>
                  </a:lnTo>
                  <a:lnTo>
                    <a:pt x="196" y="52"/>
                  </a:lnTo>
                  <a:lnTo>
                    <a:pt x="196" y="52"/>
                  </a:lnTo>
                  <a:lnTo>
                    <a:pt x="192" y="52"/>
                  </a:lnTo>
                  <a:lnTo>
                    <a:pt x="188" y="54"/>
                  </a:lnTo>
                  <a:lnTo>
                    <a:pt x="186" y="60"/>
                  </a:lnTo>
                  <a:lnTo>
                    <a:pt x="186" y="60"/>
                  </a:lnTo>
                  <a:lnTo>
                    <a:pt x="182" y="74"/>
                  </a:lnTo>
                  <a:lnTo>
                    <a:pt x="182" y="82"/>
                  </a:lnTo>
                  <a:lnTo>
                    <a:pt x="184" y="84"/>
                  </a:lnTo>
                  <a:lnTo>
                    <a:pt x="184" y="84"/>
                  </a:lnTo>
                  <a:lnTo>
                    <a:pt x="186" y="88"/>
                  </a:lnTo>
                  <a:lnTo>
                    <a:pt x="188" y="88"/>
                  </a:lnTo>
                  <a:lnTo>
                    <a:pt x="192" y="86"/>
                  </a:lnTo>
                  <a:lnTo>
                    <a:pt x="196" y="86"/>
                  </a:lnTo>
                  <a:lnTo>
                    <a:pt x="200" y="86"/>
                  </a:lnTo>
                  <a:lnTo>
                    <a:pt x="204" y="88"/>
                  </a:lnTo>
                  <a:lnTo>
                    <a:pt x="196" y="94"/>
                  </a:lnTo>
                  <a:lnTo>
                    <a:pt x="210" y="114"/>
                  </a:lnTo>
                  <a:lnTo>
                    <a:pt x="216" y="128"/>
                  </a:lnTo>
                  <a:lnTo>
                    <a:pt x="286" y="158"/>
                  </a:lnTo>
                  <a:lnTo>
                    <a:pt x="318" y="166"/>
                  </a:lnTo>
                  <a:lnTo>
                    <a:pt x="318" y="166"/>
                  </a:lnTo>
                  <a:lnTo>
                    <a:pt x="260" y="230"/>
                  </a:lnTo>
                  <a:lnTo>
                    <a:pt x="248" y="240"/>
                  </a:lnTo>
                  <a:lnTo>
                    <a:pt x="246" y="242"/>
                  </a:lnTo>
                  <a:lnTo>
                    <a:pt x="244" y="242"/>
                  </a:lnTo>
                  <a:lnTo>
                    <a:pt x="244" y="242"/>
                  </a:lnTo>
                  <a:lnTo>
                    <a:pt x="236" y="242"/>
                  </a:lnTo>
                  <a:lnTo>
                    <a:pt x="230" y="242"/>
                  </a:lnTo>
                  <a:lnTo>
                    <a:pt x="216" y="248"/>
                  </a:lnTo>
                  <a:lnTo>
                    <a:pt x="188" y="270"/>
                  </a:lnTo>
                  <a:lnTo>
                    <a:pt x="188" y="270"/>
                  </a:lnTo>
                  <a:lnTo>
                    <a:pt x="176" y="268"/>
                  </a:lnTo>
                  <a:lnTo>
                    <a:pt x="172" y="266"/>
                  </a:lnTo>
                  <a:lnTo>
                    <a:pt x="168" y="264"/>
                  </a:lnTo>
                  <a:lnTo>
                    <a:pt x="158" y="266"/>
                  </a:lnTo>
                  <a:lnTo>
                    <a:pt x="158" y="266"/>
                  </a:lnTo>
                  <a:lnTo>
                    <a:pt x="154" y="268"/>
                  </a:lnTo>
                  <a:lnTo>
                    <a:pt x="152" y="270"/>
                  </a:lnTo>
                  <a:lnTo>
                    <a:pt x="152" y="274"/>
                  </a:lnTo>
                  <a:lnTo>
                    <a:pt x="152" y="276"/>
                  </a:lnTo>
                  <a:lnTo>
                    <a:pt x="148" y="276"/>
                  </a:lnTo>
                  <a:lnTo>
                    <a:pt x="128" y="278"/>
                  </a:lnTo>
                  <a:lnTo>
                    <a:pt x="128" y="278"/>
                  </a:lnTo>
                  <a:lnTo>
                    <a:pt x="114" y="276"/>
                  </a:lnTo>
                  <a:lnTo>
                    <a:pt x="106" y="274"/>
                  </a:lnTo>
                  <a:lnTo>
                    <a:pt x="100" y="270"/>
                  </a:lnTo>
                  <a:lnTo>
                    <a:pt x="94" y="264"/>
                  </a:lnTo>
                  <a:lnTo>
                    <a:pt x="90" y="260"/>
                  </a:lnTo>
                  <a:lnTo>
                    <a:pt x="84" y="254"/>
                  </a:lnTo>
                  <a:lnTo>
                    <a:pt x="74" y="252"/>
                  </a:lnTo>
                  <a:lnTo>
                    <a:pt x="60" y="248"/>
                  </a:lnTo>
                  <a:lnTo>
                    <a:pt x="60" y="24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0" name="Freeform 57"/>
            <p:cNvSpPr>
              <a:spLocks/>
            </p:cNvSpPr>
            <p:nvPr/>
          </p:nvSpPr>
          <p:spPr bwMode="auto">
            <a:xfrm>
              <a:off x="5292955" y="3218656"/>
              <a:ext cx="283104" cy="457729"/>
            </a:xfrm>
            <a:custGeom>
              <a:avLst/>
              <a:gdLst/>
              <a:ahLst/>
              <a:cxnLst>
                <a:cxn ang="0">
                  <a:pos x="24" y="346"/>
                </a:cxn>
                <a:cxn ang="0">
                  <a:pos x="36" y="324"/>
                </a:cxn>
                <a:cxn ang="0">
                  <a:pos x="44" y="312"/>
                </a:cxn>
                <a:cxn ang="0">
                  <a:pos x="62" y="294"/>
                </a:cxn>
                <a:cxn ang="0">
                  <a:pos x="72" y="282"/>
                </a:cxn>
                <a:cxn ang="0">
                  <a:pos x="90" y="264"/>
                </a:cxn>
                <a:cxn ang="0">
                  <a:pos x="112" y="242"/>
                </a:cxn>
                <a:cxn ang="0">
                  <a:pos x="138" y="214"/>
                </a:cxn>
                <a:cxn ang="0">
                  <a:pos x="150" y="188"/>
                </a:cxn>
                <a:cxn ang="0">
                  <a:pos x="152" y="184"/>
                </a:cxn>
                <a:cxn ang="0">
                  <a:pos x="166" y="170"/>
                </a:cxn>
                <a:cxn ang="0">
                  <a:pos x="174" y="158"/>
                </a:cxn>
                <a:cxn ang="0">
                  <a:pos x="178" y="140"/>
                </a:cxn>
                <a:cxn ang="0">
                  <a:pos x="178" y="132"/>
                </a:cxn>
                <a:cxn ang="0">
                  <a:pos x="188" y="108"/>
                </a:cxn>
                <a:cxn ang="0">
                  <a:pos x="198" y="88"/>
                </a:cxn>
                <a:cxn ang="0">
                  <a:pos x="198" y="82"/>
                </a:cxn>
                <a:cxn ang="0">
                  <a:pos x="200" y="78"/>
                </a:cxn>
                <a:cxn ang="0">
                  <a:pos x="208" y="62"/>
                </a:cxn>
                <a:cxn ang="0">
                  <a:pos x="210" y="52"/>
                </a:cxn>
                <a:cxn ang="0">
                  <a:pos x="210" y="50"/>
                </a:cxn>
                <a:cxn ang="0">
                  <a:pos x="210" y="48"/>
                </a:cxn>
                <a:cxn ang="0">
                  <a:pos x="210" y="32"/>
                </a:cxn>
                <a:cxn ang="0">
                  <a:pos x="210" y="28"/>
                </a:cxn>
                <a:cxn ang="0">
                  <a:pos x="212" y="28"/>
                </a:cxn>
                <a:cxn ang="0">
                  <a:pos x="212" y="24"/>
                </a:cxn>
                <a:cxn ang="0">
                  <a:pos x="208" y="12"/>
                </a:cxn>
                <a:cxn ang="0">
                  <a:pos x="210" y="6"/>
                </a:cxn>
                <a:cxn ang="0">
                  <a:pos x="206" y="0"/>
                </a:cxn>
                <a:cxn ang="0">
                  <a:pos x="194" y="0"/>
                </a:cxn>
                <a:cxn ang="0">
                  <a:pos x="182" y="10"/>
                </a:cxn>
                <a:cxn ang="0">
                  <a:pos x="162" y="16"/>
                </a:cxn>
                <a:cxn ang="0">
                  <a:pos x="156" y="16"/>
                </a:cxn>
                <a:cxn ang="0">
                  <a:pos x="150" y="20"/>
                </a:cxn>
                <a:cxn ang="0">
                  <a:pos x="142" y="20"/>
                </a:cxn>
                <a:cxn ang="0">
                  <a:pos x="128" y="24"/>
                </a:cxn>
                <a:cxn ang="0">
                  <a:pos x="110" y="28"/>
                </a:cxn>
                <a:cxn ang="0">
                  <a:pos x="100" y="26"/>
                </a:cxn>
                <a:cxn ang="0">
                  <a:pos x="82" y="34"/>
                </a:cxn>
                <a:cxn ang="0">
                  <a:pos x="78" y="36"/>
                </a:cxn>
                <a:cxn ang="0">
                  <a:pos x="60" y="26"/>
                </a:cxn>
                <a:cxn ang="0">
                  <a:pos x="44" y="10"/>
                </a:cxn>
                <a:cxn ang="0">
                  <a:pos x="28" y="24"/>
                </a:cxn>
                <a:cxn ang="0">
                  <a:pos x="48" y="58"/>
                </a:cxn>
                <a:cxn ang="0">
                  <a:pos x="150" y="96"/>
                </a:cxn>
                <a:cxn ang="0">
                  <a:pos x="92" y="160"/>
                </a:cxn>
                <a:cxn ang="0">
                  <a:pos x="78" y="172"/>
                </a:cxn>
                <a:cxn ang="0">
                  <a:pos x="76" y="172"/>
                </a:cxn>
                <a:cxn ang="0">
                  <a:pos x="62" y="172"/>
                </a:cxn>
                <a:cxn ang="0">
                  <a:pos x="20" y="200"/>
                </a:cxn>
                <a:cxn ang="0">
                  <a:pos x="18" y="206"/>
                </a:cxn>
                <a:cxn ang="0">
                  <a:pos x="8" y="218"/>
                </a:cxn>
                <a:cxn ang="0">
                  <a:pos x="2" y="226"/>
                </a:cxn>
                <a:cxn ang="0">
                  <a:pos x="0" y="232"/>
                </a:cxn>
                <a:cxn ang="0">
                  <a:pos x="0" y="318"/>
                </a:cxn>
                <a:cxn ang="0">
                  <a:pos x="4" y="326"/>
                </a:cxn>
                <a:cxn ang="0">
                  <a:pos x="24" y="346"/>
                </a:cxn>
              </a:cxnLst>
              <a:rect l="0" t="0" r="r" b="b"/>
              <a:pathLst>
                <a:path w="214" h="346">
                  <a:moveTo>
                    <a:pt x="24" y="346"/>
                  </a:moveTo>
                  <a:lnTo>
                    <a:pt x="24" y="346"/>
                  </a:lnTo>
                  <a:lnTo>
                    <a:pt x="28" y="340"/>
                  </a:lnTo>
                  <a:lnTo>
                    <a:pt x="36" y="324"/>
                  </a:lnTo>
                  <a:lnTo>
                    <a:pt x="36" y="324"/>
                  </a:lnTo>
                  <a:lnTo>
                    <a:pt x="44" y="312"/>
                  </a:lnTo>
                  <a:lnTo>
                    <a:pt x="52" y="304"/>
                  </a:lnTo>
                  <a:lnTo>
                    <a:pt x="62" y="294"/>
                  </a:lnTo>
                  <a:lnTo>
                    <a:pt x="72" y="282"/>
                  </a:lnTo>
                  <a:lnTo>
                    <a:pt x="72" y="282"/>
                  </a:lnTo>
                  <a:lnTo>
                    <a:pt x="80" y="270"/>
                  </a:lnTo>
                  <a:lnTo>
                    <a:pt x="90" y="264"/>
                  </a:lnTo>
                  <a:lnTo>
                    <a:pt x="100" y="256"/>
                  </a:lnTo>
                  <a:lnTo>
                    <a:pt x="112" y="242"/>
                  </a:lnTo>
                  <a:lnTo>
                    <a:pt x="112" y="242"/>
                  </a:lnTo>
                  <a:lnTo>
                    <a:pt x="138" y="214"/>
                  </a:lnTo>
                  <a:lnTo>
                    <a:pt x="146" y="200"/>
                  </a:lnTo>
                  <a:lnTo>
                    <a:pt x="150" y="188"/>
                  </a:lnTo>
                  <a:lnTo>
                    <a:pt x="150" y="188"/>
                  </a:lnTo>
                  <a:lnTo>
                    <a:pt x="152" y="184"/>
                  </a:lnTo>
                  <a:lnTo>
                    <a:pt x="156" y="180"/>
                  </a:lnTo>
                  <a:lnTo>
                    <a:pt x="166" y="170"/>
                  </a:lnTo>
                  <a:lnTo>
                    <a:pt x="170" y="164"/>
                  </a:lnTo>
                  <a:lnTo>
                    <a:pt x="174" y="158"/>
                  </a:lnTo>
                  <a:lnTo>
                    <a:pt x="176" y="150"/>
                  </a:lnTo>
                  <a:lnTo>
                    <a:pt x="178" y="140"/>
                  </a:lnTo>
                  <a:lnTo>
                    <a:pt x="178" y="140"/>
                  </a:lnTo>
                  <a:lnTo>
                    <a:pt x="178" y="132"/>
                  </a:lnTo>
                  <a:lnTo>
                    <a:pt x="182" y="124"/>
                  </a:lnTo>
                  <a:lnTo>
                    <a:pt x="188" y="108"/>
                  </a:lnTo>
                  <a:lnTo>
                    <a:pt x="196" y="94"/>
                  </a:lnTo>
                  <a:lnTo>
                    <a:pt x="198" y="88"/>
                  </a:lnTo>
                  <a:lnTo>
                    <a:pt x="198" y="82"/>
                  </a:lnTo>
                  <a:lnTo>
                    <a:pt x="198" y="82"/>
                  </a:lnTo>
                  <a:lnTo>
                    <a:pt x="198" y="80"/>
                  </a:lnTo>
                  <a:lnTo>
                    <a:pt x="200" y="78"/>
                  </a:lnTo>
                  <a:lnTo>
                    <a:pt x="202" y="74"/>
                  </a:lnTo>
                  <a:lnTo>
                    <a:pt x="208" y="62"/>
                  </a:lnTo>
                  <a:lnTo>
                    <a:pt x="208" y="62"/>
                  </a:lnTo>
                  <a:lnTo>
                    <a:pt x="210" y="52"/>
                  </a:lnTo>
                  <a:lnTo>
                    <a:pt x="210" y="50"/>
                  </a:lnTo>
                  <a:lnTo>
                    <a:pt x="210" y="50"/>
                  </a:lnTo>
                  <a:lnTo>
                    <a:pt x="210" y="48"/>
                  </a:lnTo>
                  <a:lnTo>
                    <a:pt x="210" y="48"/>
                  </a:lnTo>
                  <a:lnTo>
                    <a:pt x="212" y="40"/>
                  </a:lnTo>
                  <a:lnTo>
                    <a:pt x="210" y="32"/>
                  </a:lnTo>
                  <a:lnTo>
                    <a:pt x="210" y="28"/>
                  </a:lnTo>
                  <a:lnTo>
                    <a:pt x="210" y="28"/>
                  </a:lnTo>
                  <a:lnTo>
                    <a:pt x="212" y="28"/>
                  </a:lnTo>
                  <a:lnTo>
                    <a:pt x="212" y="28"/>
                  </a:lnTo>
                  <a:lnTo>
                    <a:pt x="214" y="28"/>
                  </a:lnTo>
                  <a:lnTo>
                    <a:pt x="212" y="24"/>
                  </a:lnTo>
                  <a:lnTo>
                    <a:pt x="208" y="18"/>
                  </a:lnTo>
                  <a:lnTo>
                    <a:pt x="208" y="12"/>
                  </a:lnTo>
                  <a:lnTo>
                    <a:pt x="210" y="6"/>
                  </a:lnTo>
                  <a:lnTo>
                    <a:pt x="210" y="6"/>
                  </a:lnTo>
                  <a:lnTo>
                    <a:pt x="208" y="2"/>
                  </a:lnTo>
                  <a:lnTo>
                    <a:pt x="206" y="0"/>
                  </a:lnTo>
                  <a:lnTo>
                    <a:pt x="200" y="0"/>
                  </a:lnTo>
                  <a:lnTo>
                    <a:pt x="194" y="0"/>
                  </a:lnTo>
                  <a:lnTo>
                    <a:pt x="194" y="0"/>
                  </a:lnTo>
                  <a:lnTo>
                    <a:pt x="182" y="10"/>
                  </a:lnTo>
                  <a:lnTo>
                    <a:pt x="172" y="14"/>
                  </a:lnTo>
                  <a:lnTo>
                    <a:pt x="162" y="16"/>
                  </a:lnTo>
                  <a:lnTo>
                    <a:pt x="162" y="16"/>
                  </a:lnTo>
                  <a:lnTo>
                    <a:pt x="156" y="16"/>
                  </a:lnTo>
                  <a:lnTo>
                    <a:pt x="154" y="18"/>
                  </a:lnTo>
                  <a:lnTo>
                    <a:pt x="150" y="20"/>
                  </a:lnTo>
                  <a:lnTo>
                    <a:pt x="142" y="20"/>
                  </a:lnTo>
                  <a:lnTo>
                    <a:pt x="142" y="20"/>
                  </a:lnTo>
                  <a:lnTo>
                    <a:pt x="132" y="20"/>
                  </a:lnTo>
                  <a:lnTo>
                    <a:pt x="128" y="24"/>
                  </a:lnTo>
                  <a:lnTo>
                    <a:pt x="120" y="26"/>
                  </a:lnTo>
                  <a:lnTo>
                    <a:pt x="110" y="28"/>
                  </a:lnTo>
                  <a:lnTo>
                    <a:pt x="110" y="28"/>
                  </a:lnTo>
                  <a:lnTo>
                    <a:pt x="100" y="26"/>
                  </a:lnTo>
                  <a:lnTo>
                    <a:pt x="96" y="28"/>
                  </a:lnTo>
                  <a:lnTo>
                    <a:pt x="82" y="34"/>
                  </a:lnTo>
                  <a:lnTo>
                    <a:pt x="82" y="34"/>
                  </a:lnTo>
                  <a:lnTo>
                    <a:pt x="78" y="36"/>
                  </a:lnTo>
                  <a:lnTo>
                    <a:pt x="72" y="34"/>
                  </a:lnTo>
                  <a:lnTo>
                    <a:pt x="60" y="26"/>
                  </a:lnTo>
                  <a:lnTo>
                    <a:pt x="50" y="18"/>
                  </a:lnTo>
                  <a:lnTo>
                    <a:pt x="44" y="10"/>
                  </a:lnTo>
                  <a:lnTo>
                    <a:pt x="36" y="18"/>
                  </a:lnTo>
                  <a:lnTo>
                    <a:pt x="28" y="24"/>
                  </a:lnTo>
                  <a:lnTo>
                    <a:pt x="42" y="44"/>
                  </a:lnTo>
                  <a:lnTo>
                    <a:pt x="48" y="58"/>
                  </a:lnTo>
                  <a:lnTo>
                    <a:pt x="118" y="88"/>
                  </a:lnTo>
                  <a:lnTo>
                    <a:pt x="150" y="96"/>
                  </a:lnTo>
                  <a:lnTo>
                    <a:pt x="150" y="96"/>
                  </a:lnTo>
                  <a:lnTo>
                    <a:pt x="92" y="160"/>
                  </a:lnTo>
                  <a:lnTo>
                    <a:pt x="80" y="170"/>
                  </a:lnTo>
                  <a:lnTo>
                    <a:pt x="78" y="172"/>
                  </a:lnTo>
                  <a:lnTo>
                    <a:pt x="76" y="172"/>
                  </a:lnTo>
                  <a:lnTo>
                    <a:pt x="76" y="172"/>
                  </a:lnTo>
                  <a:lnTo>
                    <a:pt x="68" y="172"/>
                  </a:lnTo>
                  <a:lnTo>
                    <a:pt x="62" y="172"/>
                  </a:lnTo>
                  <a:lnTo>
                    <a:pt x="48" y="178"/>
                  </a:lnTo>
                  <a:lnTo>
                    <a:pt x="20" y="200"/>
                  </a:lnTo>
                  <a:lnTo>
                    <a:pt x="20" y="200"/>
                  </a:lnTo>
                  <a:lnTo>
                    <a:pt x="18" y="206"/>
                  </a:lnTo>
                  <a:lnTo>
                    <a:pt x="14" y="212"/>
                  </a:lnTo>
                  <a:lnTo>
                    <a:pt x="8" y="218"/>
                  </a:lnTo>
                  <a:lnTo>
                    <a:pt x="4" y="222"/>
                  </a:lnTo>
                  <a:lnTo>
                    <a:pt x="2" y="226"/>
                  </a:lnTo>
                  <a:lnTo>
                    <a:pt x="0" y="232"/>
                  </a:lnTo>
                  <a:lnTo>
                    <a:pt x="0" y="232"/>
                  </a:lnTo>
                  <a:lnTo>
                    <a:pt x="0" y="318"/>
                  </a:lnTo>
                  <a:lnTo>
                    <a:pt x="0" y="318"/>
                  </a:lnTo>
                  <a:lnTo>
                    <a:pt x="2" y="322"/>
                  </a:lnTo>
                  <a:lnTo>
                    <a:pt x="4" y="326"/>
                  </a:lnTo>
                  <a:lnTo>
                    <a:pt x="24" y="346"/>
                  </a:lnTo>
                  <a:lnTo>
                    <a:pt x="24" y="346"/>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1" name="Freeform 58"/>
            <p:cNvSpPr>
              <a:spLocks/>
            </p:cNvSpPr>
            <p:nvPr/>
          </p:nvSpPr>
          <p:spPr bwMode="auto">
            <a:xfrm>
              <a:off x="5094518" y="3454136"/>
              <a:ext cx="230188" cy="333375"/>
            </a:xfrm>
            <a:custGeom>
              <a:avLst/>
              <a:gdLst/>
              <a:ahLst/>
              <a:cxnLst>
                <a:cxn ang="0">
                  <a:pos x="126" y="252"/>
                </a:cxn>
                <a:cxn ang="0">
                  <a:pos x="132" y="242"/>
                </a:cxn>
                <a:cxn ang="0">
                  <a:pos x="134" y="236"/>
                </a:cxn>
                <a:cxn ang="0">
                  <a:pos x="138" y="228"/>
                </a:cxn>
                <a:cxn ang="0">
                  <a:pos x="140" y="222"/>
                </a:cxn>
                <a:cxn ang="0">
                  <a:pos x="142" y="210"/>
                </a:cxn>
                <a:cxn ang="0">
                  <a:pos x="142" y="200"/>
                </a:cxn>
                <a:cxn ang="0">
                  <a:pos x="144" y="194"/>
                </a:cxn>
                <a:cxn ang="0">
                  <a:pos x="148" y="186"/>
                </a:cxn>
                <a:cxn ang="0">
                  <a:pos x="160" y="178"/>
                </a:cxn>
                <a:cxn ang="0">
                  <a:pos x="174" y="168"/>
                </a:cxn>
                <a:cxn ang="0">
                  <a:pos x="152" y="144"/>
                </a:cxn>
                <a:cxn ang="0">
                  <a:pos x="150" y="140"/>
                </a:cxn>
                <a:cxn ang="0">
                  <a:pos x="150" y="54"/>
                </a:cxn>
                <a:cxn ang="0">
                  <a:pos x="154" y="44"/>
                </a:cxn>
                <a:cxn ang="0">
                  <a:pos x="164" y="34"/>
                </a:cxn>
                <a:cxn ang="0">
                  <a:pos x="170" y="22"/>
                </a:cxn>
                <a:cxn ang="0">
                  <a:pos x="158" y="20"/>
                </a:cxn>
                <a:cxn ang="0">
                  <a:pos x="150" y="16"/>
                </a:cxn>
                <a:cxn ang="0">
                  <a:pos x="140" y="18"/>
                </a:cxn>
                <a:cxn ang="0">
                  <a:pos x="134" y="22"/>
                </a:cxn>
                <a:cxn ang="0">
                  <a:pos x="134" y="28"/>
                </a:cxn>
                <a:cxn ang="0">
                  <a:pos x="110" y="30"/>
                </a:cxn>
                <a:cxn ang="0">
                  <a:pos x="96" y="28"/>
                </a:cxn>
                <a:cxn ang="0">
                  <a:pos x="82" y="22"/>
                </a:cxn>
                <a:cxn ang="0">
                  <a:pos x="72" y="12"/>
                </a:cxn>
                <a:cxn ang="0">
                  <a:pos x="56" y="4"/>
                </a:cxn>
                <a:cxn ang="0">
                  <a:pos x="42" y="0"/>
                </a:cxn>
                <a:cxn ang="0">
                  <a:pos x="32" y="8"/>
                </a:cxn>
                <a:cxn ang="0">
                  <a:pos x="26" y="4"/>
                </a:cxn>
                <a:cxn ang="0">
                  <a:pos x="18" y="4"/>
                </a:cxn>
                <a:cxn ang="0">
                  <a:pos x="0" y="16"/>
                </a:cxn>
                <a:cxn ang="0">
                  <a:pos x="6" y="24"/>
                </a:cxn>
                <a:cxn ang="0">
                  <a:pos x="8" y="34"/>
                </a:cxn>
                <a:cxn ang="0">
                  <a:pos x="12" y="42"/>
                </a:cxn>
                <a:cxn ang="0">
                  <a:pos x="20" y="44"/>
                </a:cxn>
                <a:cxn ang="0">
                  <a:pos x="20" y="50"/>
                </a:cxn>
                <a:cxn ang="0">
                  <a:pos x="20" y="52"/>
                </a:cxn>
                <a:cxn ang="0">
                  <a:pos x="24" y="62"/>
                </a:cxn>
                <a:cxn ang="0">
                  <a:pos x="26" y="74"/>
                </a:cxn>
                <a:cxn ang="0">
                  <a:pos x="26" y="78"/>
                </a:cxn>
                <a:cxn ang="0">
                  <a:pos x="24" y="94"/>
                </a:cxn>
                <a:cxn ang="0">
                  <a:pos x="20" y="100"/>
                </a:cxn>
                <a:cxn ang="0">
                  <a:pos x="16" y="102"/>
                </a:cxn>
                <a:cxn ang="0">
                  <a:pos x="4" y="120"/>
                </a:cxn>
                <a:cxn ang="0">
                  <a:pos x="8" y="122"/>
                </a:cxn>
                <a:cxn ang="0">
                  <a:pos x="6" y="128"/>
                </a:cxn>
                <a:cxn ang="0">
                  <a:pos x="4" y="132"/>
                </a:cxn>
                <a:cxn ang="0">
                  <a:pos x="8" y="134"/>
                </a:cxn>
                <a:cxn ang="0">
                  <a:pos x="10" y="132"/>
                </a:cxn>
                <a:cxn ang="0">
                  <a:pos x="16" y="130"/>
                </a:cxn>
                <a:cxn ang="0">
                  <a:pos x="20" y="132"/>
                </a:cxn>
                <a:cxn ang="0">
                  <a:pos x="20" y="134"/>
                </a:cxn>
                <a:cxn ang="0">
                  <a:pos x="14" y="136"/>
                </a:cxn>
                <a:cxn ang="0">
                  <a:pos x="10" y="142"/>
                </a:cxn>
                <a:cxn ang="0">
                  <a:pos x="12" y="146"/>
                </a:cxn>
                <a:cxn ang="0">
                  <a:pos x="12" y="150"/>
                </a:cxn>
                <a:cxn ang="0">
                  <a:pos x="80" y="196"/>
                </a:cxn>
                <a:cxn ang="0">
                  <a:pos x="84" y="198"/>
                </a:cxn>
                <a:cxn ang="0">
                  <a:pos x="86" y="210"/>
                </a:cxn>
                <a:cxn ang="0">
                  <a:pos x="88" y="220"/>
                </a:cxn>
                <a:cxn ang="0">
                  <a:pos x="92" y="224"/>
                </a:cxn>
                <a:cxn ang="0">
                  <a:pos x="126" y="252"/>
                </a:cxn>
              </a:cxnLst>
              <a:rect l="0" t="0" r="r" b="b"/>
              <a:pathLst>
                <a:path w="174" h="252">
                  <a:moveTo>
                    <a:pt x="126" y="252"/>
                  </a:moveTo>
                  <a:lnTo>
                    <a:pt x="126" y="252"/>
                  </a:lnTo>
                  <a:lnTo>
                    <a:pt x="130" y="250"/>
                  </a:lnTo>
                  <a:lnTo>
                    <a:pt x="132" y="242"/>
                  </a:lnTo>
                  <a:lnTo>
                    <a:pt x="132" y="242"/>
                  </a:lnTo>
                  <a:lnTo>
                    <a:pt x="134" y="236"/>
                  </a:lnTo>
                  <a:lnTo>
                    <a:pt x="136" y="232"/>
                  </a:lnTo>
                  <a:lnTo>
                    <a:pt x="138" y="228"/>
                  </a:lnTo>
                  <a:lnTo>
                    <a:pt x="140" y="222"/>
                  </a:lnTo>
                  <a:lnTo>
                    <a:pt x="140" y="222"/>
                  </a:lnTo>
                  <a:lnTo>
                    <a:pt x="140" y="214"/>
                  </a:lnTo>
                  <a:lnTo>
                    <a:pt x="142" y="210"/>
                  </a:lnTo>
                  <a:lnTo>
                    <a:pt x="142" y="208"/>
                  </a:lnTo>
                  <a:lnTo>
                    <a:pt x="142" y="200"/>
                  </a:lnTo>
                  <a:lnTo>
                    <a:pt x="142" y="200"/>
                  </a:lnTo>
                  <a:lnTo>
                    <a:pt x="144" y="194"/>
                  </a:lnTo>
                  <a:lnTo>
                    <a:pt x="144" y="190"/>
                  </a:lnTo>
                  <a:lnTo>
                    <a:pt x="148" y="186"/>
                  </a:lnTo>
                  <a:lnTo>
                    <a:pt x="150" y="184"/>
                  </a:lnTo>
                  <a:lnTo>
                    <a:pt x="160" y="178"/>
                  </a:lnTo>
                  <a:lnTo>
                    <a:pt x="174" y="168"/>
                  </a:lnTo>
                  <a:lnTo>
                    <a:pt x="174" y="168"/>
                  </a:lnTo>
                  <a:lnTo>
                    <a:pt x="154" y="148"/>
                  </a:lnTo>
                  <a:lnTo>
                    <a:pt x="152" y="144"/>
                  </a:lnTo>
                  <a:lnTo>
                    <a:pt x="150" y="140"/>
                  </a:lnTo>
                  <a:lnTo>
                    <a:pt x="150" y="140"/>
                  </a:lnTo>
                  <a:lnTo>
                    <a:pt x="150" y="54"/>
                  </a:lnTo>
                  <a:lnTo>
                    <a:pt x="150" y="54"/>
                  </a:lnTo>
                  <a:lnTo>
                    <a:pt x="152" y="48"/>
                  </a:lnTo>
                  <a:lnTo>
                    <a:pt x="154" y="44"/>
                  </a:lnTo>
                  <a:lnTo>
                    <a:pt x="158" y="40"/>
                  </a:lnTo>
                  <a:lnTo>
                    <a:pt x="164" y="34"/>
                  </a:lnTo>
                  <a:lnTo>
                    <a:pt x="168" y="28"/>
                  </a:lnTo>
                  <a:lnTo>
                    <a:pt x="170" y="22"/>
                  </a:lnTo>
                  <a:lnTo>
                    <a:pt x="170" y="22"/>
                  </a:lnTo>
                  <a:lnTo>
                    <a:pt x="158" y="20"/>
                  </a:lnTo>
                  <a:lnTo>
                    <a:pt x="154" y="18"/>
                  </a:lnTo>
                  <a:lnTo>
                    <a:pt x="150" y="16"/>
                  </a:lnTo>
                  <a:lnTo>
                    <a:pt x="140" y="18"/>
                  </a:lnTo>
                  <a:lnTo>
                    <a:pt x="140" y="18"/>
                  </a:lnTo>
                  <a:lnTo>
                    <a:pt x="136" y="20"/>
                  </a:lnTo>
                  <a:lnTo>
                    <a:pt x="134" y="22"/>
                  </a:lnTo>
                  <a:lnTo>
                    <a:pt x="134" y="26"/>
                  </a:lnTo>
                  <a:lnTo>
                    <a:pt x="134" y="28"/>
                  </a:lnTo>
                  <a:lnTo>
                    <a:pt x="130" y="28"/>
                  </a:lnTo>
                  <a:lnTo>
                    <a:pt x="110" y="30"/>
                  </a:lnTo>
                  <a:lnTo>
                    <a:pt x="110" y="30"/>
                  </a:lnTo>
                  <a:lnTo>
                    <a:pt x="96" y="28"/>
                  </a:lnTo>
                  <a:lnTo>
                    <a:pt x="88" y="26"/>
                  </a:lnTo>
                  <a:lnTo>
                    <a:pt x="82" y="22"/>
                  </a:lnTo>
                  <a:lnTo>
                    <a:pt x="76" y="16"/>
                  </a:lnTo>
                  <a:lnTo>
                    <a:pt x="72" y="12"/>
                  </a:lnTo>
                  <a:lnTo>
                    <a:pt x="66" y="6"/>
                  </a:lnTo>
                  <a:lnTo>
                    <a:pt x="56" y="4"/>
                  </a:lnTo>
                  <a:lnTo>
                    <a:pt x="42" y="0"/>
                  </a:lnTo>
                  <a:lnTo>
                    <a:pt x="42" y="0"/>
                  </a:lnTo>
                  <a:lnTo>
                    <a:pt x="36" y="6"/>
                  </a:lnTo>
                  <a:lnTo>
                    <a:pt x="32" y="8"/>
                  </a:lnTo>
                  <a:lnTo>
                    <a:pt x="28" y="6"/>
                  </a:lnTo>
                  <a:lnTo>
                    <a:pt x="26" y="4"/>
                  </a:lnTo>
                  <a:lnTo>
                    <a:pt x="22" y="4"/>
                  </a:lnTo>
                  <a:lnTo>
                    <a:pt x="18" y="4"/>
                  </a:lnTo>
                  <a:lnTo>
                    <a:pt x="10" y="8"/>
                  </a:lnTo>
                  <a:lnTo>
                    <a:pt x="0" y="16"/>
                  </a:lnTo>
                  <a:lnTo>
                    <a:pt x="0" y="16"/>
                  </a:lnTo>
                  <a:lnTo>
                    <a:pt x="6" y="24"/>
                  </a:lnTo>
                  <a:lnTo>
                    <a:pt x="8" y="30"/>
                  </a:lnTo>
                  <a:lnTo>
                    <a:pt x="8" y="34"/>
                  </a:lnTo>
                  <a:lnTo>
                    <a:pt x="12" y="42"/>
                  </a:lnTo>
                  <a:lnTo>
                    <a:pt x="12" y="42"/>
                  </a:lnTo>
                  <a:lnTo>
                    <a:pt x="18" y="44"/>
                  </a:lnTo>
                  <a:lnTo>
                    <a:pt x="20" y="44"/>
                  </a:lnTo>
                  <a:lnTo>
                    <a:pt x="20" y="46"/>
                  </a:lnTo>
                  <a:lnTo>
                    <a:pt x="20" y="50"/>
                  </a:lnTo>
                  <a:lnTo>
                    <a:pt x="20" y="50"/>
                  </a:lnTo>
                  <a:lnTo>
                    <a:pt x="20" y="52"/>
                  </a:lnTo>
                  <a:lnTo>
                    <a:pt x="20" y="56"/>
                  </a:lnTo>
                  <a:lnTo>
                    <a:pt x="24" y="62"/>
                  </a:lnTo>
                  <a:lnTo>
                    <a:pt x="26" y="70"/>
                  </a:lnTo>
                  <a:lnTo>
                    <a:pt x="26" y="74"/>
                  </a:lnTo>
                  <a:lnTo>
                    <a:pt x="26" y="78"/>
                  </a:lnTo>
                  <a:lnTo>
                    <a:pt x="26" y="78"/>
                  </a:lnTo>
                  <a:lnTo>
                    <a:pt x="22" y="88"/>
                  </a:lnTo>
                  <a:lnTo>
                    <a:pt x="24" y="94"/>
                  </a:lnTo>
                  <a:lnTo>
                    <a:pt x="24" y="98"/>
                  </a:lnTo>
                  <a:lnTo>
                    <a:pt x="20" y="100"/>
                  </a:lnTo>
                  <a:lnTo>
                    <a:pt x="20" y="100"/>
                  </a:lnTo>
                  <a:lnTo>
                    <a:pt x="16" y="102"/>
                  </a:lnTo>
                  <a:lnTo>
                    <a:pt x="14" y="104"/>
                  </a:lnTo>
                  <a:lnTo>
                    <a:pt x="4" y="120"/>
                  </a:lnTo>
                  <a:lnTo>
                    <a:pt x="4" y="120"/>
                  </a:lnTo>
                  <a:lnTo>
                    <a:pt x="8" y="122"/>
                  </a:lnTo>
                  <a:lnTo>
                    <a:pt x="8" y="124"/>
                  </a:lnTo>
                  <a:lnTo>
                    <a:pt x="6" y="128"/>
                  </a:lnTo>
                  <a:lnTo>
                    <a:pt x="6" y="128"/>
                  </a:lnTo>
                  <a:lnTo>
                    <a:pt x="4" y="132"/>
                  </a:lnTo>
                  <a:lnTo>
                    <a:pt x="6" y="134"/>
                  </a:lnTo>
                  <a:lnTo>
                    <a:pt x="8" y="134"/>
                  </a:lnTo>
                  <a:lnTo>
                    <a:pt x="10" y="132"/>
                  </a:lnTo>
                  <a:lnTo>
                    <a:pt x="10" y="132"/>
                  </a:lnTo>
                  <a:lnTo>
                    <a:pt x="12" y="130"/>
                  </a:lnTo>
                  <a:lnTo>
                    <a:pt x="16" y="130"/>
                  </a:lnTo>
                  <a:lnTo>
                    <a:pt x="18" y="130"/>
                  </a:lnTo>
                  <a:lnTo>
                    <a:pt x="20" y="132"/>
                  </a:lnTo>
                  <a:lnTo>
                    <a:pt x="20" y="132"/>
                  </a:lnTo>
                  <a:lnTo>
                    <a:pt x="20" y="134"/>
                  </a:lnTo>
                  <a:lnTo>
                    <a:pt x="18" y="134"/>
                  </a:lnTo>
                  <a:lnTo>
                    <a:pt x="14" y="136"/>
                  </a:lnTo>
                  <a:lnTo>
                    <a:pt x="10" y="142"/>
                  </a:lnTo>
                  <a:lnTo>
                    <a:pt x="10" y="142"/>
                  </a:lnTo>
                  <a:lnTo>
                    <a:pt x="10" y="144"/>
                  </a:lnTo>
                  <a:lnTo>
                    <a:pt x="12" y="146"/>
                  </a:lnTo>
                  <a:lnTo>
                    <a:pt x="12" y="146"/>
                  </a:lnTo>
                  <a:lnTo>
                    <a:pt x="12" y="150"/>
                  </a:lnTo>
                  <a:lnTo>
                    <a:pt x="12" y="150"/>
                  </a:lnTo>
                  <a:lnTo>
                    <a:pt x="80" y="196"/>
                  </a:lnTo>
                  <a:lnTo>
                    <a:pt x="80" y="196"/>
                  </a:lnTo>
                  <a:lnTo>
                    <a:pt x="84" y="198"/>
                  </a:lnTo>
                  <a:lnTo>
                    <a:pt x="86" y="202"/>
                  </a:lnTo>
                  <a:lnTo>
                    <a:pt x="86" y="210"/>
                  </a:lnTo>
                  <a:lnTo>
                    <a:pt x="86" y="216"/>
                  </a:lnTo>
                  <a:lnTo>
                    <a:pt x="88" y="220"/>
                  </a:lnTo>
                  <a:lnTo>
                    <a:pt x="92" y="224"/>
                  </a:lnTo>
                  <a:lnTo>
                    <a:pt x="92" y="224"/>
                  </a:lnTo>
                  <a:lnTo>
                    <a:pt x="110" y="238"/>
                  </a:lnTo>
                  <a:lnTo>
                    <a:pt x="126" y="252"/>
                  </a:lnTo>
                  <a:lnTo>
                    <a:pt x="126" y="252"/>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2" name="Freeform 59"/>
            <p:cNvSpPr>
              <a:spLocks/>
            </p:cNvSpPr>
            <p:nvPr/>
          </p:nvSpPr>
          <p:spPr bwMode="auto">
            <a:xfrm>
              <a:off x="4983393" y="3644636"/>
              <a:ext cx="291042" cy="378354"/>
            </a:xfrm>
            <a:custGeom>
              <a:avLst/>
              <a:gdLst/>
              <a:ahLst/>
              <a:cxnLst>
                <a:cxn ang="0">
                  <a:pos x="50" y="20"/>
                </a:cxn>
                <a:cxn ang="0">
                  <a:pos x="42" y="42"/>
                </a:cxn>
                <a:cxn ang="0">
                  <a:pos x="42" y="48"/>
                </a:cxn>
                <a:cxn ang="0">
                  <a:pos x="48" y="54"/>
                </a:cxn>
                <a:cxn ang="0">
                  <a:pos x="56" y="50"/>
                </a:cxn>
                <a:cxn ang="0">
                  <a:pos x="70" y="52"/>
                </a:cxn>
                <a:cxn ang="0">
                  <a:pos x="82" y="44"/>
                </a:cxn>
                <a:cxn ang="0">
                  <a:pos x="84" y="38"/>
                </a:cxn>
                <a:cxn ang="0">
                  <a:pos x="82" y="30"/>
                </a:cxn>
                <a:cxn ang="0">
                  <a:pos x="84" y="24"/>
                </a:cxn>
                <a:cxn ang="0">
                  <a:pos x="96" y="10"/>
                </a:cxn>
                <a:cxn ang="0">
                  <a:pos x="164" y="52"/>
                </a:cxn>
                <a:cxn ang="0">
                  <a:pos x="170" y="72"/>
                </a:cxn>
                <a:cxn ang="0">
                  <a:pos x="194" y="94"/>
                </a:cxn>
                <a:cxn ang="0">
                  <a:pos x="206" y="120"/>
                </a:cxn>
                <a:cxn ang="0">
                  <a:pos x="194" y="148"/>
                </a:cxn>
                <a:cxn ang="0">
                  <a:pos x="204" y="166"/>
                </a:cxn>
                <a:cxn ang="0">
                  <a:pos x="208" y="180"/>
                </a:cxn>
                <a:cxn ang="0">
                  <a:pos x="202" y="198"/>
                </a:cxn>
                <a:cxn ang="0">
                  <a:pos x="202" y="214"/>
                </a:cxn>
                <a:cxn ang="0">
                  <a:pos x="210" y="236"/>
                </a:cxn>
                <a:cxn ang="0">
                  <a:pos x="220" y="256"/>
                </a:cxn>
                <a:cxn ang="0">
                  <a:pos x="194" y="270"/>
                </a:cxn>
                <a:cxn ang="0">
                  <a:pos x="176" y="270"/>
                </a:cxn>
                <a:cxn ang="0">
                  <a:pos x="172" y="276"/>
                </a:cxn>
                <a:cxn ang="0">
                  <a:pos x="156" y="282"/>
                </a:cxn>
                <a:cxn ang="0">
                  <a:pos x="146" y="284"/>
                </a:cxn>
                <a:cxn ang="0">
                  <a:pos x="130" y="282"/>
                </a:cxn>
                <a:cxn ang="0">
                  <a:pos x="114" y="282"/>
                </a:cxn>
                <a:cxn ang="0">
                  <a:pos x="102" y="278"/>
                </a:cxn>
                <a:cxn ang="0">
                  <a:pos x="102" y="258"/>
                </a:cxn>
                <a:cxn ang="0">
                  <a:pos x="98" y="248"/>
                </a:cxn>
                <a:cxn ang="0">
                  <a:pos x="88" y="234"/>
                </a:cxn>
                <a:cxn ang="0">
                  <a:pos x="70" y="230"/>
                </a:cxn>
                <a:cxn ang="0">
                  <a:pos x="26" y="208"/>
                </a:cxn>
                <a:cxn ang="0">
                  <a:pos x="22" y="190"/>
                </a:cxn>
                <a:cxn ang="0">
                  <a:pos x="18" y="176"/>
                </a:cxn>
                <a:cxn ang="0">
                  <a:pos x="6" y="156"/>
                </a:cxn>
                <a:cxn ang="0">
                  <a:pos x="10" y="148"/>
                </a:cxn>
                <a:cxn ang="0">
                  <a:pos x="4" y="132"/>
                </a:cxn>
                <a:cxn ang="0">
                  <a:pos x="2" y="100"/>
                </a:cxn>
                <a:cxn ang="0">
                  <a:pos x="18" y="76"/>
                </a:cxn>
                <a:cxn ang="0">
                  <a:pos x="22" y="64"/>
                </a:cxn>
                <a:cxn ang="0">
                  <a:pos x="22" y="54"/>
                </a:cxn>
                <a:cxn ang="0">
                  <a:pos x="10" y="48"/>
                </a:cxn>
                <a:cxn ang="0">
                  <a:pos x="22" y="44"/>
                </a:cxn>
                <a:cxn ang="0">
                  <a:pos x="30" y="32"/>
                </a:cxn>
                <a:cxn ang="0">
                  <a:pos x="28" y="8"/>
                </a:cxn>
                <a:cxn ang="0">
                  <a:pos x="40" y="4"/>
                </a:cxn>
              </a:cxnLst>
              <a:rect l="0" t="0" r="r" b="b"/>
              <a:pathLst>
                <a:path w="220" h="286">
                  <a:moveTo>
                    <a:pt x="48" y="0"/>
                  </a:moveTo>
                  <a:lnTo>
                    <a:pt x="48" y="0"/>
                  </a:lnTo>
                  <a:lnTo>
                    <a:pt x="50" y="10"/>
                  </a:lnTo>
                  <a:lnTo>
                    <a:pt x="50" y="20"/>
                  </a:lnTo>
                  <a:lnTo>
                    <a:pt x="46" y="30"/>
                  </a:lnTo>
                  <a:lnTo>
                    <a:pt x="44" y="38"/>
                  </a:lnTo>
                  <a:lnTo>
                    <a:pt x="44" y="38"/>
                  </a:lnTo>
                  <a:lnTo>
                    <a:pt x="42" y="42"/>
                  </a:lnTo>
                  <a:lnTo>
                    <a:pt x="42" y="44"/>
                  </a:lnTo>
                  <a:lnTo>
                    <a:pt x="44" y="44"/>
                  </a:lnTo>
                  <a:lnTo>
                    <a:pt x="42" y="48"/>
                  </a:lnTo>
                  <a:lnTo>
                    <a:pt x="42" y="48"/>
                  </a:lnTo>
                  <a:lnTo>
                    <a:pt x="42" y="50"/>
                  </a:lnTo>
                  <a:lnTo>
                    <a:pt x="44" y="50"/>
                  </a:lnTo>
                  <a:lnTo>
                    <a:pt x="46" y="52"/>
                  </a:lnTo>
                  <a:lnTo>
                    <a:pt x="48" y="54"/>
                  </a:lnTo>
                  <a:lnTo>
                    <a:pt x="48" y="54"/>
                  </a:lnTo>
                  <a:lnTo>
                    <a:pt x="50" y="50"/>
                  </a:lnTo>
                  <a:lnTo>
                    <a:pt x="56" y="50"/>
                  </a:lnTo>
                  <a:lnTo>
                    <a:pt x="56" y="50"/>
                  </a:lnTo>
                  <a:lnTo>
                    <a:pt x="60" y="50"/>
                  </a:lnTo>
                  <a:lnTo>
                    <a:pt x="62" y="52"/>
                  </a:lnTo>
                  <a:lnTo>
                    <a:pt x="64" y="54"/>
                  </a:lnTo>
                  <a:lnTo>
                    <a:pt x="70" y="52"/>
                  </a:lnTo>
                  <a:lnTo>
                    <a:pt x="70" y="52"/>
                  </a:lnTo>
                  <a:lnTo>
                    <a:pt x="80" y="48"/>
                  </a:lnTo>
                  <a:lnTo>
                    <a:pt x="82" y="48"/>
                  </a:lnTo>
                  <a:lnTo>
                    <a:pt x="82" y="44"/>
                  </a:lnTo>
                  <a:lnTo>
                    <a:pt x="82" y="44"/>
                  </a:lnTo>
                  <a:lnTo>
                    <a:pt x="82" y="40"/>
                  </a:lnTo>
                  <a:lnTo>
                    <a:pt x="84" y="38"/>
                  </a:lnTo>
                  <a:lnTo>
                    <a:pt x="84" y="38"/>
                  </a:lnTo>
                  <a:lnTo>
                    <a:pt x="82" y="36"/>
                  </a:lnTo>
                  <a:lnTo>
                    <a:pt x="82" y="36"/>
                  </a:lnTo>
                  <a:lnTo>
                    <a:pt x="80" y="34"/>
                  </a:lnTo>
                  <a:lnTo>
                    <a:pt x="82" y="30"/>
                  </a:lnTo>
                  <a:lnTo>
                    <a:pt x="84" y="28"/>
                  </a:lnTo>
                  <a:lnTo>
                    <a:pt x="84" y="26"/>
                  </a:lnTo>
                  <a:lnTo>
                    <a:pt x="84" y="26"/>
                  </a:lnTo>
                  <a:lnTo>
                    <a:pt x="84" y="24"/>
                  </a:lnTo>
                  <a:lnTo>
                    <a:pt x="86" y="22"/>
                  </a:lnTo>
                  <a:lnTo>
                    <a:pt x="90" y="18"/>
                  </a:lnTo>
                  <a:lnTo>
                    <a:pt x="94" y="14"/>
                  </a:lnTo>
                  <a:lnTo>
                    <a:pt x="96" y="10"/>
                  </a:lnTo>
                  <a:lnTo>
                    <a:pt x="96" y="6"/>
                  </a:lnTo>
                  <a:lnTo>
                    <a:pt x="96" y="6"/>
                  </a:lnTo>
                  <a:lnTo>
                    <a:pt x="164" y="52"/>
                  </a:lnTo>
                  <a:lnTo>
                    <a:pt x="164" y="52"/>
                  </a:lnTo>
                  <a:lnTo>
                    <a:pt x="168" y="54"/>
                  </a:lnTo>
                  <a:lnTo>
                    <a:pt x="170" y="58"/>
                  </a:lnTo>
                  <a:lnTo>
                    <a:pt x="170" y="66"/>
                  </a:lnTo>
                  <a:lnTo>
                    <a:pt x="170" y="72"/>
                  </a:lnTo>
                  <a:lnTo>
                    <a:pt x="172" y="76"/>
                  </a:lnTo>
                  <a:lnTo>
                    <a:pt x="176" y="80"/>
                  </a:lnTo>
                  <a:lnTo>
                    <a:pt x="176" y="80"/>
                  </a:lnTo>
                  <a:lnTo>
                    <a:pt x="194" y="94"/>
                  </a:lnTo>
                  <a:lnTo>
                    <a:pt x="210" y="108"/>
                  </a:lnTo>
                  <a:lnTo>
                    <a:pt x="210" y="108"/>
                  </a:lnTo>
                  <a:lnTo>
                    <a:pt x="206" y="114"/>
                  </a:lnTo>
                  <a:lnTo>
                    <a:pt x="206" y="120"/>
                  </a:lnTo>
                  <a:lnTo>
                    <a:pt x="204" y="128"/>
                  </a:lnTo>
                  <a:lnTo>
                    <a:pt x="196" y="140"/>
                  </a:lnTo>
                  <a:lnTo>
                    <a:pt x="196" y="140"/>
                  </a:lnTo>
                  <a:lnTo>
                    <a:pt x="194" y="148"/>
                  </a:lnTo>
                  <a:lnTo>
                    <a:pt x="194" y="154"/>
                  </a:lnTo>
                  <a:lnTo>
                    <a:pt x="196" y="158"/>
                  </a:lnTo>
                  <a:lnTo>
                    <a:pt x="200" y="162"/>
                  </a:lnTo>
                  <a:lnTo>
                    <a:pt x="204" y="166"/>
                  </a:lnTo>
                  <a:lnTo>
                    <a:pt x="208" y="170"/>
                  </a:lnTo>
                  <a:lnTo>
                    <a:pt x="210" y="174"/>
                  </a:lnTo>
                  <a:lnTo>
                    <a:pt x="208" y="180"/>
                  </a:lnTo>
                  <a:lnTo>
                    <a:pt x="208" y="180"/>
                  </a:lnTo>
                  <a:lnTo>
                    <a:pt x="206" y="186"/>
                  </a:lnTo>
                  <a:lnTo>
                    <a:pt x="206" y="188"/>
                  </a:lnTo>
                  <a:lnTo>
                    <a:pt x="206" y="190"/>
                  </a:lnTo>
                  <a:lnTo>
                    <a:pt x="202" y="198"/>
                  </a:lnTo>
                  <a:lnTo>
                    <a:pt x="202" y="198"/>
                  </a:lnTo>
                  <a:lnTo>
                    <a:pt x="200" y="202"/>
                  </a:lnTo>
                  <a:lnTo>
                    <a:pt x="200" y="206"/>
                  </a:lnTo>
                  <a:lnTo>
                    <a:pt x="202" y="214"/>
                  </a:lnTo>
                  <a:lnTo>
                    <a:pt x="208" y="222"/>
                  </a:lnTo>
                  <a:lnTo>
                    <a:pt x="210" y="228"/>
                  </a:lnTo>
                  <a:lnTo>
                    <a:pt x="210" y="236"/>
                  </a:lnTo>
                  <a:lnTo>
                    <a:pt x="210" y="236"/>
                  </a:lnTo>
                  <a:lnTo>
                    <a:pt x="210" y="242"/>
                  </a:lnTo>
                  <a:lnTo>
                    <a:pt x="212" y="246"/>
                  </a:lnTo>
                  <a:lnTo>
                    <a:pt x="220" y="256"/>
                  </a:lnTo>
                  <a:lnTo>
                    <a:pt x="220" y="256"/>
                  </a:lnTo>
                  <a:lnTo>
                    <a:pt x="218" y="260"/>
                  </a:lnTo>
                  <a:lnTo>
                    <a:pt x="214" y="264"/>
                  </a:lnTo>
                  <a:lnTo>
                    <a:pt x="204" y="268"/>
                  </a:lnTo>
                  <a:lnTo>
                    <a:pt x="194" y="270"/>
                  </a:lnTo>
                  <a:lnTo>
                    <a:pt x="188" y="270"/>
                  </a:lnTo>
                  <a:lnTo>
                    <a:pt x="188" y="270"/>
                  </a:lnTo>
                  <a:lnTo>
                    <a:pt x="182" y="270"/>
                  </a:lnTo>
                  <a:lnTo>
                    <a:pt x="176" y="270"/>
                  </a:lnTo>
                  <a:lnTo>
                    <a:pt x="170" y="272"/>
                  </a:lnTo>
                  <a:lnTo>
                    <a:pt x="170" y="274"/>
                  </a:lnTo>
                  <a:lnTo>
                    <a:pt x="172" y="276"/>
                  </a:lnTo>
                  <a:lnTo>
                    <a:pt x="172" y="276"/>
                  </a:lnTo>
                  <a:lnTo>
                    <a:pt x="170" y="278"/>
                  </a:lnTo>
                  <a:lnTo>
                    <a:pt x="166" y="280"/>
                  </a:lnTo>
                  <a:lnTo>
                    <a:pt x="160" y="282"/>
                  </a:lnTo>
                  <a:lnTo>
                    <a:pt x="156" y="282"/>
                  </a:lnTo>
                  <a:lnTo>
                    <a:pt x="156" y="282"/>
                  </a:lnTo>
                  <a:lnTo>
                    <a:pt x="152" y="280"/>
                  </a:lnTo>
                  <a:lnTo>
                    <a:pt x="148" y="280"/>
                  </a:lnTo>
                  <a:lnTo>
                    <a:pt x="146" y="284"/>
                  </a:lnTo>
                  <a:lnTo>
                    <a:pt x="144" y="286"/>
                  </a:lnTo>
                  <a:lnTo>
                    <a:pt x="140" y="286"/>
                  </a:lnTo>
                  <a:lnTo>
                    <a:pt x="136" y="284"/>
                  </a:lnTo>
                  <a:lnTo>
                    <a:pt x="130" y="282"/>
                  </a:lnTo>
                  <a:lnTo>
                    <a:pt x="130" y="282"/>
                  </a:lnTo>
                  <a:lnTo>
                    <a:pt x="122" y="278"/>
                  </a:lnTo>
                  <a:lnTo>
                    <a:pt x="118" y="278"/>
                  </a:lnTo>
                  <a:lnTo>
                    <a:pt x="114" y="282"/>
                  </a:lnTo>
                  <a:lnTo>
                    <a:pt x="104" y="284"/>
                  </a:lnTo>
                  <a:lnTo>
                    <a:pt x="104" y="284"/>
                  </a:lnTo>
                  <a:lnTo>
                    <a:pt x="104" y="278"/>
                  </a:lnTo>
                  <a:lnTo>
                    <a:pt x="102" y="278"/>
                  </a:lnTo>
                  <a:lnTo>
                    <a:pt x="100" y="274"/>
                  </a:lnTo>
                  <a:lnTo>
                    <a:pt x="100" y="266"/>
                  </a:lnTo>
                  <a:lnTo>
                    <a:pt x="100" y="266"/>
                  </a:lnTo>
                  <a:lnTo>
                    <a:pt x="102" y="258"/>
                  </a:lnTo>
                  <a:lnTo>
                    <a:pt x="100" y="256"/>
                  </a:lnTo>
                  <a:lnTo>
                    <a:pt x="98" y="254"/>
                  </a:lnTo>
                  <a:lnTo>
                    <a:pt x="98" y="248"/>
                  </a:lnTo>
                  <a:lnTo>
                    <a:pt x="98" y="248"/>
                  </a:lnTo>
                  <a:lnTo>
                    <a:pt x="96" y="240"/>
                  </a:lnTo>
                  <a:lnTo>
                    <a:pt x="92" y="236"/>
                  </a:lnTo>
                  <a:lnTo>
                    <a:pt x="90" y="234"/>
                  </a:lnTo>
                  <a:lnTo>
                    <a:pt x="88" y="234"/>
                  </a:lnTo>
                  <a:lnTo>
                    <a:pt x="86" y="236"/>
                  </a:lnTo>
                  <a:lnTo>
                    <a:pt x="86" y="236"/>
                  </a:lnTo>
                  <a:lnTo>
                    <a:pt x="70" y="230"/>
                  </a:lnTo>
                  <a:lnTo>
                    <a:pt x="70" y="230"/>
                  </a:lnTo>
                  <a:lnTo>
                    <a:pt x="52" y="224"/>
                  </a:lnTo>
                  <a:lnTo>
                    <a:pt x="44" y="218"/>
                  </a:lnTo>
                  <a:lnTo>
                    <a:pt x="36" y="212"/>
                  </a:lnTo>
                  <a:lnTo>
                    <a:pt x="26" y="208"/>
                  </a:lnTo>
                  <a:lnTo>
                    <a:pt x="26" y="208"/>
                  </a:lnTo>
                  <a:lnTo>
                    <a:pt x="26" y="204"/>
                  </a:lnTo>
                  <a:lnTo>
                    <a:pt x="26" y="198"/>
                  </a:lnTo>
                  <a:lnTo>
                    <a:pt x="22" y="190"/>
                  </a:lnTo>
                  <a:lnTo>
                    <a:pt x="18" y="182"/>
                  </a:lnTo>
                  <a:lnTo>
                    <a:pt x="18" y="178"/>
                  </a:lnTo>
                  <a:lnTo>
                    <a:pt x="18" y="176"/>
                  </a:lnTo>
                  <a:lnTo>
                    <a:pt x="18" y="176"/>
                  </a:lnTo>
                  <a:lnTo>
                    <a:pt x="18" y="172"/>
                  </a:lnTo>
                  <a:lnTo>
                    <a:pt x="18" y="170"/>
                  </a:lnTo>
                  <a:lnTo>
                    <a:pt x="10" y="162"/>
                  </a:lnTo>
                  <a:lnTo>
                    <a:pt x="6" y="156"/>
                  </a:lnTo>
                  <a:lnTo>
                    <a:pt x="6" y="154"/>
                  </a:lnTo>
                  <a:lnTo>
                    <a:pt x="8" y="150"/>
                  </a:lnTo>
                  <a:lnTo>
                    <a:pt x="8" y="150"/>
                  </a:lnTo>
                  <a:lnTo>
                    <a:pt x="10" y="148"/>
                  </a:lnTo>
                  <a:lnTo>
                    <a:pt x="8" y="144"/>
                  </a:lnTo>
                  <a:lnTo>
                    <a:pt x="6" y="138"/>
                  </a:lnTo>
                  <a:lnTo>
                    <a:pt x="4" y="132"/>
                  </a:lnTo>
                  <a:lnTo>
                    <a:pt x="4" y="132"/>
                  </a:lnTo>
                  <a:lnTo>
                    <a:pt x="4" y="124"/>
                  </a:lnTo>
                  <a:lnTo>
                    <a:pt x="2" y="116"/>
                  </a:lnTo>
                  <a:lnTo>
                    <a:pt x="0" y="110"/>
                  </a:lnTo>
                  <a:lnTo>
                    <a:pt x="2" y="100"/>
                  </a:lnTo>
                  <a:lnTo>
                    <a:pt x="2" y="100"/>
                  </a:lnTo>
                  <a:lnTo>
                    <a:pt x="10" y="90"/>
                  </a:lnTo>
                  <a:lnTo>
                    <a:pt x="16" y="82"/>
                  </a:lnTo>
                  <a:lnTo>
                    <a:pt x="18" y="76"/>
                  </a:lnTo>
                  <a:lnTo>
                    <a:pt x="20" y="70"/>
                  </a:lnTo>
                  <a:lnTo>
                    <a:pt x="20" y="70"/>
                  </a:lnTo>
                  <a:lnTo>
                    <a:pt x="20" y="66"/>
                  </a:lnTo>
                  <a:lnTo>
                    <a:pt x="22" y="64"/>
                  </a:lnTo>
                  <a:lnTo>
                    <a:pt x="24" y="60"/>
                  </a:lnTo>
                  <a:lnTo>
                    <a:pt x="24" y="54"/>
                  </a:lnTo>
                  <a:lnTo>
                    <a:pt x="24" y="54"/>
                  </a:lnTo>
                  <a:lnTo>
                    <a:pt x="22" y="54"/>
                  </a:lnTo>
                  <a:lnTo>
                    <a:pt x="20" y="52"/>
                  </a:lnTo>
                  <a:lnTo>
                    <a:pt x="14" y="52"/>
                  </a:lnTo>
                  <a:lnTo>
                    <a:pt x="12" y="50"/>
                  </a:lnTo>
                  <a:lnTo>
                    <a:pt x="10" y="48"/>
                  </a:lnTo>
                  <a:lnTo>
                    <a:pt x="10" y="46"/>
                  </a:lnTo>
                  <a:lnTo>
                    <a:pt x="14" y="42"/>
                  </a:lnTo>
                  <a:lnTo>
                    <a:pt x="14" y="42"/>
                  </a:lnTo>
                  <a:lnTo>
                    <a:pt x="22" y="44"/>
                  </a:lnTo>
                  <a:lnTo>
                    <a:pt x="26" y="42"/>
                  </a:lnTo>
                  <a:lnTo>
                    <a:pt x="28" y="38"/>
                  </a:lnTo>
                  <a:lnTo>
                    <a:pt x="30" y="32"/>
                  </a:lnTo>
                  <a:lnTo>
                    <a:pt x="30" y="32"/>
                  </a:lnTo>
                  <a:lnTo>
                    <a:pt x="32" y="26"/>
                  </a:lnTo>
                  <a:lnTo>
                    <a:pt x="32" y="22"/>
                  </a:lnTo>
                  <a:lnTo>
                    <a:pt x="28" y="16"/>
                  </a:lnTo>
                  <a:lnTo>
                    <a:pt x="28" y="8"/>
                  </a:lnTo>
                  <a:lnTo>
                    <a:pt x="28" y="4"/>
                  </a:lnTo>
                  <a:lnTo>
                    <a:pt x="30" y="0"/>
                  </a:lnTo>
                  <a:lnTo>
                    <a:pt x="30" y="0"/>
                  </a:lnTo>
                  <a:lnTo>
                    <a:pt x="40" y="4"/>
                  </a:lnTo>
                  <a:lnTo>
                    <a:pt x="44" y="2"/>
                  </a:lnTo>
                  <a:lnTo>
                    <a:pt x="48" y="0"/>
                  </a:lnTo>
                  <a:lnTo>
                    <a:pt x="48" y="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3" name="Freeform 60"/>
            <p:cNvSpPr>
              <a:spLocks/>
            </p:cNvSpPr>
            <p:nvPr/>
          </p:nvSpPr>
          <p:spPr bwMode="auto">
            <a:xfrm>
              <a:off x="4147309" y="2792677"/>
              <a:ext cx="431271" cy="423333"/>
            </a:xfrm>
            <a:custGeom>
              <a:avLst/>
              <a:gdLst/>
              <a:ahLst/>
              <a:cxnLst>
                <a:cxn ang="0">
                  <a:pos x="4" y="248"/>
                </a:cxn>
                <a:cxn ang="0">
                  <a:pos x="8" y="246"/>
                </a:cxn>
                <a:cxn ang="0">
                  <a:pos x="18" y="242"/>
                </a:cxn>
                <a:cxn ang="0">
                  <a:pos x="28" y="234"/>
                </a:cxn>
                <a:cxn ang="0">
                  <a:pos x="48" y="232"/>
                </a:cxn>
                <a:cxn ang="0">
                  <a:pos x="56" y="228"/>
                </a:cxn>
                <a:cxn ang="0">
                  <a:pos x="76" y="220"/>
                </a:cxn>
                <a:cxn ang="0">
                  <a:pos x="78" y="216"/>
                </a:cxn>
                <a:cxn ang="0">
                  <a:pos x="82" y="198"/>
                </a:cxn>
                <a:cxn ang="0">
                  <a:pos x="82" y="192"/>
                </a:cxn>
                <a:cxn ang="0">
                  <a:pos x="84" y="188"/>
                </a:cxn>
                <a:cxn ang="0">
                  <a:pos x="106" y="130"/>
                </a:cxn>
                <a:cxn ang="0">
                  <a:pos x="112" y="128"/>
                </a:cxn>
                <a:cxn ang="0">
                  <a:pos x="130" y="110"/>
                </a:cxn>
                <a:cxn ang="0">
                  <a:pos x="148" y="94"/>
                </a:cxn>
                <a:cxn ang="0">
                  <a:pos x="236" y="0"/>
                </a:cxn>
                <a:cxn ang="0">
                  <a:pos x="302" y="14"/>
                </a:cxn>
                <a:cxn ang="0">
                  <a:pos x="306" y="50"/>
                </a:cxn>
                <a:cxn ang="0">
                  <a:pos x="306" y="66"/>
                </a:cxn>
                <a:cxn ang="0">
                  <a:pos x="310" y="82"/>
                </a:cxn>
                <a:cxn ang="0">
                  <a:pos x="314" y="90"/>
                </a:cxn>
                <a:cxn ang="0">
                  <a:pos x="326" y="98"/>
                </a:cxn>
                <a:cxn ang="0">
                  <a:pos x="324" y="106"/>
                </a:cxn>
                <a:cxn ang="0">
                  <a:pos x="316" y="120"/>
                </a:cxn>
                <a:cxn ang="0">
                  <a:pos x="316" y="180"/>
                </a:cxn>
                <a:cxn ang="0">
                  <a:pos x="300" y="222"/>
                </a:cxn>
                <a:cxn ang="0">
                  <a:pos x="290" y="234"/>
                </a:cxn>
                <a:cxn ang="0">
                  <a:pos x="286" y="240"/>
                </a:cxn>
                <a:cxn ang="0">
                  <a:pos x="282" y="252"/>
                </a:cxn>
                <a:cxn ang="0">
                  <a:pos x="278" y="256"/>
                </a:cxn>
                <a:cxn ang="0">
                  <a:pos x="274" y="270"/>
                </a:cxn>
                <a:cxn ang="0">
                  <a:pos x="264" y="272"/>
                </a:cxn>
                <a:cxn ang="0">
                  <a:pos x="264" y="278"/>
                </a:cxn>
                <a:cxn ang="0">
                  <a:pos x="254" y="278"/>
                </a:cxn>
                <a:cxn ang="0">
                  <a:pos x="212" y="280"/>
                </a:cxn>
                <a:cxn ang="0">
                  <a:pos x="206" y="284"/>
                </a:cxn>
                <a:cxn ang="0">
                  <a:pos x="190" y="290"/>
                </a:cxn>
                <a:cxn ang="0">
                  <a:pos x="164" y="284"/>
                </a:cxn>
                <a:cxn ang="0">
                  <a:pos x="154" y="278"/>
                </a:cxn>
                <a:cxn ang="0">
                  <a:pos x="150" y="282"/>
                </a:cxn>
                <a:cxn ang="0">
                  <a:pos x="144" y="280"/>
                </a:cxn>
                <a:cxn ang="0">
                  <a:pos x="136" y="278"/>
                </a:cxn>
                <a:cxn ang="0">
                  <a:pos x="130" y="270"/>
                </a:cxn>
                <a:cxn ang="0">
                  <a:pos x="124" y="268"/>
                </a:cxn>
                <a:cxn ang="0">
                  <a:pos x="114" y="268"/>
                </a:cxn>
                <a:cxn ang="0">
                  <a:pos x="106" y="268"/>
                </a:cxn>
                <a:cxn ang="0">
                  <a:pos x="102" y="266"/>
                </a:cxn>
                <a:cxn ang="0">
                  <a:pos x="90" y="270"/>
                </a:cxn>
                <a:cxn ang="0">
                  <a:pos x="80" y="286"/>
                </a:cxn>
                <a:cxn ang="0">
                  <a:pos x="72" y="296"/>
                </a:cxn>
                <a:cxn ang="0">
                  <a:pos x="72" y="314"/>
                </a:cxn>
                <a:cxn ang="0">
                  <a:pos x="62" y="312"/>
                </a:cxn>
                <a:cxn ang="0">
                  <a:pos x="44" y="316"/>
                </a:cxn>
                <a:cxn ang="0">
                  <a:pos x="40" y="306"/>
                </a:cxn>
                <a:cxn ang="0">
                  <a:pos x="40" y="304"/>
                </a:cxn>
                <a:cxn ang="0">
                  <a:pos x="34" y="302"/>
                </a:cxn>
                <a:cxn ang="0">
                  <a:pos x="18" y="294"/>
                </a:cxn>
                <a:cxn ang="0">
                  <a:pos x="12" y="284"/>
                </a:cxn>
                <a:cxn ang="0">
                  <a:pos x="16" y="278"/>
                </a:cxn>
                <a:cxn ang="0">
                  <a:pos x="8" y="276"/>
                </a:cxn>
                <a:cxn ang="0">
                  <a:pos x="0" y="258"/>
                </a:cxn>
              </a:cxnLst>
              <a:rect l="0" t="0" r="r" b="b"/>
              <a:pathLst>
                <a:path w="326" h="320">
                  <a:moveTo>
                    <a:pt x="0" y="248"/>
                  </a:moveTo>
                  <a:lnTo>
                    <a:pt x="0" y="248"/>
                  </a:lnTo>
                  <a:lnTo>
                    <a:pt x="4" y="248"/>
                  </a:lnTo>
                  <a:lnTo>
                    <a:pt x="6" y="248"/>
                  </a:lnTo>
                  <a:lnTo>
                    <a:pt x="8" y="246"/>
                  </a:lnTo>
                  <a:lnTo>
                    <a:pt x="8" y="246"/>
                  </a:lnTo>
                  <a:lnTo>
                    <a:pt x="10" y="244"/>
                  </a:lnTo>
                  <a:lnTo>
                    <a:pt x="14" y="244"/>
                  </a:lnTo>
                  <a:lnTo>
                    <a:pt x="18" y="242"/>
                  </a:lnTo>
                  <a:lnTo>
                    <a:pt x="24" y="238"/>
                  </a:lnTo>
                  <a:lnTo>
                    <a:pt x="24" y="238"/>
                  </a:lnTo>
                  <a:lnTo>
                    <a:pt x="28" y="234"/>
                  </a:lnTo>
                  <a:lnTo>
                    <a:pt x="30" y="232"/>
                  </a:lnTo>
                  <a:lnTo>
                    <a:pt x="38" y="232"/>
                  </a:lnTo>
                  <a:lnTo>
                    <a:pt x="48" y="232"/>
                  </a:lnTo>
                  <a:lnTo>
                    <a:pt x="52" y="232"/>
                  </a:lnTo>
                  <a:lnTo>
                    <a:pt x="56" y="228"/>
                  </a:lnTo>
                  <a:lnTo>
                    <a:pt x="56" y="228"/>
                  </a:lnTo>
                  <a:lnTo>
                    <a:pt x="62" y="226"/>
                  </a:lnTo>
                  <a:lnTo>
                    <a:pt x="70" y="222"/>
                  </a:lnTo>
                  <a:lnTo>
                    <a:pt x="76" y="220"/>
                  </a:lnTo>
                  <a:lnTo>
                    <a:pt x="76" y="218"/>
                  </a:lnTo>
                  <a:lnTo>
                    <a:pt x="78" y="216"/>
                  </a:lnTo>
                  <a:lnTo>
                    <a:pt x="78" y="216"/>
                  </a:lnTo>
                  <a:lnTo>
                    <a:pt x="80" y="210"/>
                  </a:lnTo>
                  <a:lnTo>
                    <a:pt x="80" y="206"/>
                  </a:lnTo>
                  <a:lnTo>
                    <a:pt x="82" y="198"/>
                  </a:lnTo>
                  <a:lnTo>
                    <a:pt x="82" y="198"/>
                  </a:lnTo>
                  <a:lnTo>
                    <a:pt x="82" y="194"/>
                  </a:lnTo>
                  <a:lnTo>
                    <a:pt x="82" y="192"/>
                  </a:lnTo>
                  <a:lnTo>
                    <a:pt x="84" y="192"/>
                  </a:lnTo>
                  <a:lnTo>
                    <a:pt x="84" y="188"/>
                  </a:lnTo>
                  <a:lnTo>
                    <a:pt x="84" y="188"/>
                  </a:lnTo>
                  <a:lnTo>
                    <a:pt x="84" y="138"/>
                  </a:lnTo>
                  <a:lnTo>
                    <a:pt x="84" y="138"/>
                  </a:lnTo>
                  <a:lnTo>
                    <a:pt x="106" y="130"/>
                  </a:lnTo>
                  <a:lnTo>
                    <a:pt x="106" y="130"/>
                  </a:lnTo>
                  <a:lnTo>
                    <a:pt x="110" y="130"/>
                  </a:lnTo>
                  <a:lnTo>
                    <a:pt x="112" y="128"/>
                  </a:lnTo>
                  <a:lnTo>
                    <a:pt x="122" y="118"/>
                  </a:lnTo>
                  <a:lnTo>
                    <a:pt x="122" y="118"/>
                  </a:lnTo>
                  <a:lnTo>
                    <a:pt x="130" y="110"/>
                  </a:lnTo>
                  <a:lnTo>
                    <a:pt x="134" y="106"/>
                  </a:lnTo>
                  <a:lnTo>
                    <a:pt x="140" y="102"/>
                  </a:lnTo>
                  <a:lnTo>
                    <a:pt x="148" y="94"/>
                  </a:lnTo>
                  <a:lnTo>
                    <a:pt x="148" y="94"/>
                  </a:lnTo>
                  <a:lnTo>
                    <a:pt x="200" y="38"/>
                  </a:lnTo>
                  <a:lnTo>
                    <a:pt x="236" y="0"/>
                  </a:lnTo>
                  <a:lnTo>
                    <a:pt x="280" y="8"/>
                  </a:lnTo>
                  <a:lnTo>
                    <a:pt x="288" y="18"/>
                  </a:lnTo>
                  <a:lnTo>
                    <a:pt x="302" y="14"/>
                  </a:lnTo>
                  <a:lnTo>
                    <a:pt x="302" y="14"/>
                  </a:lnTo>
                  <a:lnTo>
                    <a:pt x="306" y="36"/>
                  </a:lnTo>
                  <a:lnTo>
                    <a:pt x="306" y="50"/>
                  </a:lnTo>
                  <a:lnTo>
                    <a:pt x="306" y="64"/>
                  </a:lnTo>
                  <a:lnTo>
                    <a:pt x="306" y="64"/>
                  </a:lnTo>
                  <a:lnTo>
                    <a:pt x="306" y="66"/>
                  </a:lnTo>
                  <a:lnTo>
                    <a:pt x="308" y="70"/>
                  </a:lnTo>
                  <a:lnTo>
                    <a:pt x="310" y="74"/>
                  </a:lnTo>
                  <a:lnTo>
                    <a:pt x="310" y="82"/>
                  </a:lnTo>
                  <a:lnTo>
                    <a:pt x="310" y="82"/>
                  </a:lnTo>
                  <a:lnTo>
                    <a:pt x="312" y="88"/>
                  </a:lnTo>
                  <a:lnTo>
                    <a:pt x="314" y="90"/>
                  </a:lnTo>
                  <a:lnTo>
                    <a:pt x="318" y="94"/>
                  </a:lnTo>
                  <a:lnTo>
                    <a:pt x="324" y="98"/>
                  </a:lnTo>
                  <a:lnTo>
                    <a:pt x="326" y="98"/>
                  </a:lnTo>
                  <a:lnTo>
                    <a:pt x="326" y="102"/>
                  </a:lnTo>
                  <a:lnTo>
                    <a:pt x="326" y="102"/>
                  </a:lnTo>
                  <a:lnTo>
                    <a:pt x="324" y="106"/>
                  </a:lnTo>
                  <a:lnTo>
                    <a:pt x="322" y="108"/>
                  </a:lnTo>
                  <a:lnTo>
                    <a:pt x="318" y="114"/>
                  </a:lnTo>
                  <a:lnTo>
                    <a:pt x="316" y="120"/>
                  </a:lnTo>
                  <a:lnTo>
                    <a:pt x="316" y="120"/>
                  </a:lnTo>
                  <a:lnTo>
                    <a:pt x="316" y="180"/>
                  </a:lnTo>
                  <a:lnTo>
                    <a:pt x="316" y="180"/>
                  </a:lnTo>
                  <a:lnTo>
                    <a:pt x="314" y="190"/>
                  </a:lnTo>
                  <a:lnTo>
                    <a:pt x="312" y="200"/>
                  </a:lnTo>
                  <a:lnTo>
                    <a:pt x="300" y="222"/>
                  </a:lnTo>
                  <a:lnTo>
                    <a:pt x="300" y="222"/>
                  </a:lnTo>
                  <a:lnTo>
                    <a:pt x="294" y="230"/>
                  </a:lnTo>
                  <a:lnTo>
                    <a:pt x="290" y="234"/>
                  </a:lnTo>
                  <a:lnTo>
                    <a:pt x="286" y="236"/>
                  </a:lnTo>
                  <a:lnTo>
                    <a:pt x="286" y="240"/>
                  </a:lnTo>
                  <a:lnTo>
                    <a:pt x="286" y="240"/>
                  </a:lnTo>
                  <a:lnTo>
                    <a:pt x="286" y="246"/>
                  </a:lnTo>
                  <a:lnTo>
                    <a:pt x="284" y="248"/>
                  </a:lnTo>
                  <a:lnTo>
                    <a:pt x="282" y="252"/>
                  </a:lnTo>
                  <a:lnTo>
                    <a:pt x="282" y="256"/>
                  </a:lnTo>
                  <a:lnTo>
                    <a:pt x="282" y="256"/>
                  </a:lnTo>
                  <a:lnTo>
                    <a:pt x="278" y="256"/>
                  </a:lnTo>
                  <a:lnTo>
                    <a:pt x="276" y="258"/>
                  </a:lnTo>
                  <a:lnTo>
                    <a:pt x="274" y="262"/>
                  </a:lnTo>
                  <a:lnTo>
                    <a:pt x="274" y="270"/>
                  </a:lnTo>
                  <a:lnTo>
                    <a:pt x="274" y="270"/>
                  </a:lnTo>
                  <a:lnTo>
                    <a:pt x="266" y="270"/>
                  </a:lnTo>
                  <a:lnTo>
                    <a:pt x="264" y="272"/>
                  </a:lnTo>
                  <a:lnTo>
                    <a:pt x="262" y="274"/>
                  </a:lnTo>
                  <a:lnTo>
                    <a:pt x="262" y="278"/>
                  </a:lnTo>
                  <a:lnTo>
                    <a:pt x="264" y="278"/>
                  </a:lnTo>
                  <a:lnTo>
                    <a:pt x="262" y="280"/>
                  </a:lnTo>
                  <a:lnTo>
                    <a:pt x="254" y="278"/>
                  </a:lnTo>
                  <a:lnTo>
                    <a:pt x="254" y="278"/>
                  </a:lnTo>
                  <a:lnTo>
                    <a:pt x="238" y="276"/>
                  </a:lnTo>
                  <a:lnTo>
                    <a:pt x="224" y="276"/>
                  </a:lnTo>
                  <a:lnTo>
                    <a:pt x="212" y="280"/>
                  </a:lnTo>
                  <a:lnTo>
                    <a:pt x="208" y="282"/>
                  </a:lnTo>
                  <a:lnTo>
                    <a:pt x="206" y="284"/>
                  </a:lnTo>
                  <a:lnTo>
                    <a:pt x="206" y="284"/>
                  </a:lnTo>
                  <a:lnTo>
                    <a:pt x="202" y="288"/>
                  </a:lnTo>
                  <a:lnTo>
                    <a:pt x="196" y="290"/>
                  </a:lnTo>
                  <a:lnTo>
                    <a:pt x="190" y="290"/>
                  </a:lnTo>
                  <a:lnTo>
                    <a:pt x="182" y="290"/>
                  </a:lnTo>
                  <a:lnTo>
                    <a:pt x="170" y="286"/>
                  </a:lnTo>
                  <a:lnTo>
                    <a:pt x="164" y="284"/>
                  </a:lnTo>
                  <a:lnTo>
                    <a:pt x="164" y="284"/>
                  </a:lnTo>
                  <a:lnTo>
                    <a:pt x="156" y="278"/>
                  </a:lnTo>
                  <a:lnTo>
                    <a:pt x="154" y="278"/>
                  </a:lnTo>
                  <a:lnTo>
                    <a:pt x="154" y="278"/>
                  </a:lnTo>
                  <a:lnTo>
                    <a:pt x="152" y="282"/>
                  </a:lnTo>
                  <a:lnTo>
                    <a:pt x="150" y="282"/>
                  </a:lnTo>
                  <a:lnTo>
                    <a:pt x="148" y="282"/>
                  </a:lnTo>
                  <a:lnTo>
                    <a:pt x="148" y="282"/>
                  </a:lnTo>
                  <a:lnTo>
                    <a:pt x="144" y="280"/>
                  </a:lnTo>
                  <a:lnTo>
                    <a:pt x="142" y="282"/>
                  </a:lnTo>
                  <a:lnTo>
                    <a:pt x="138" y="282"/>
                  </a:lnTo>
                  <a:lnTo>
                    <a:pt x="136" y="278"/>
                  </a:lnTo>
                  <a:lnTo>
                    <a:pt x="136" y="278"/>
                  </a:lnTo>
                  <a:lnTo>
                    <a:pt x="132" y="272"/>
                  </a:lnTo>
                  <a:lnTo>
                    <a:pt x="130" y="270"/>
                  </a:lnTo>
                  <a:lnTo>
                    <a:pt x="128" y="272"/>
                  </a:lnTo>
                  <a:lnTo>
                    <a:pt x="124" y="268"/>
                  </a:lnTo>
                  <a:lnTo>
                    <a:pt x="124" y="268"/>
                  </a:lnTo>
                  <a:lnTo>
                    <a:pt x="120" y="268"/>
                  </a:lnTo>
                  <a:lnTo>
                    <a:pt x="118" y="268"/>
                  </a:lnTo>
                  <a:lnTo>
                    <a:pt x="114" y="268"/>
                  </a:lnTo>
                  <a:lnTo>
                    <a:pt x="110" y="270"/>
                  </a:lnTo>
                  <a:lnTo>
                    <a:pt x="108" y="270"/>
                  </a:lnTo>
                  <a:lnTo>
                    <a:pt x="106" y="268"/>
                  </a:lnTo>
                  <a:lnTo>
                    <a:pt x="106" y="268"/>
                  </a:lnTo>
                  <a:lnTo>
                    <a:pt x="106" y="266"/>
                  </a:lnTo>
                  <a:lnTo>
                    <a:pt x="102" y="266"/>
                  </a:lnTo>
                  <a:lnTo>
                    <a:pt x="98" y="266"/>
                  </a:lnTo>
                  <a:lnTo>
                    <a:pt x="90" y="270"/>
                  </a:lnTo>
                  <a:lnTo>
                    <a:pt x="90" y="270"/>
                  </a:lnTo>
                  <a:lnTo>
                    <a:pt x="84" y="276"/>
                  </a:lnTo>
                  <a:lnTo>
                    <a:pt x="82" y="282"/>
                  </a:lnTo>
                  <a:lnTo>
                    <a:pt x="80" y="286"/>
                  </a:lnTo>
                  <a:lnTo>
                    <a:pt x="76" y="292"/>
                  </a:lnTo>
                  <a:lnTo>
                    <a:pt x="76" y="292"/>
                  </a:lnTo>
                  <a:lnTo>
                    <a:pt x="72" y="296"/>
                  </a:lnTo>
                  <a:lnTo>
                    <a:pt x="72" y="300"/>
                  </a:lnTo>
                  <a:lnTo>
                    <a:pt x="72" y="306"/>
                  </a:lnTo>
                  <a:lnTo>
                    <a:pt x="72" y="314"/>
                  </a:lnTo>
                  <a:lnTo>
                    <a:pt x="72" y="320"/>
                  </a:lnTo>
                  <a:lnTo>
                    <a:pt x="72" y="320"/>
                  </a:lnTo>
                  <a:lnTo>
                    <a:pt x="62" y="312"/>
                  </a:lnTo>
                  <a:lnTo>
                    <a:pt x="56" y="310"/>
                  </a:lnTo>
                  <a:lnTo>
                    <a:pt x="52" y="312"/>
                  </a:lnTo>
                  <a:lnTo>
                    <a:pt x="44" y="316"/>
                  </a:lnTo>
                  <a:lnTo>
                    <a:pt x="44" y="316"/>
                  </a:lnTo>
                  <a:lnTo>
                    <a:pt x="38" y="308"/>
                  </a:lnTo>
                  <a:lnTo>
                    <a:pt x="40" y="306"/>
                  </a:lnTo>
                  <a:lnTo>
                    <a:pt x="40" y="306"/>
                  </a:lnTo>
                  <a:lnTo>
                    <a:pt x="42" y="306"/>
                  </a:lnTo>
                  <a:lnTo>
                    <a:pt x="40" y="304"/>
                  </a:lnTo>
                  <a:lnTo>
                    <a:pt x="40" y="304"/>
                  </a:lnTo>
                  <a:lnTo>
                    <a:pt x="36" y="302"/>
                  </a:lnTo>
                  <a:lnTo>
                    <a:pt x="34" y="302"/>
                  </a:lnTo>
                  <a:lnTo>
                    <a:pt x="28" y="300"/>
                  </a:lnTo>
                  <a:lnTo>
                    <a:pt x="18" y="294"/>
                  </a:lnTo>
                  <a:lnTo>
                    <a:pt x="18" y="294"/>
                  </a:lnTo>
                  <a:lnTo>
                    <a:pt x="10" y="288"/>
                  </a:lnTo>
                  <a:lnTo>
                    <a:pt x="10" y="286"/>
                  </a:lnTo>
                  <a:lnTo>
                    <a:pt x="12" y="284"/>
                  </a:lnTo>
                  <a:lnTo>
                    <a:pt x="12" y="284"/>
                  </a:lnTo>
                  <a:lnTo>
                    <a:pt x="16" y="280"/>
                  </a:lnTo>
                  <a:lnTo>
                    <a:pt x="16" y="278"/>
                  </a:lnTo>
                  <a:lnTo>
                    <a:pt x="12" y="278"/>
                  </a:lnTo>
                  <a:lnTo>
                    <a:pt x="12" y="278"/>
                  </a:lnTo>
                  <a:lnTo>
                    <a:pt x="8" y="276"/>
                  </a:lnTo>
                  <a:lnTo>
                    <a:pt x="6" y="274"/>
                  </a:lnTo>
                  <a:lnTo>
                    <a:pt x="2" y="266"/>
                  </a:lnTo>
                  <a:lnTo>
                    <a:pt x="0" y="258"/>
                  </a:lnTo>
                  <a:lnTo>
                    <a:pt x="0" y="248"/>
                  </a:lnTo>
                  <a:lnTo>
                    <a:pt x="0" y="24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4" name="Freeform 61"/>
            <p:cNvSpPr>
              <a:spLocks/>
            </p:cNvSpPr>
            <p:nvPr/>
          </p:nvSpPr>
          <p:spPr bwMode="auto">
            <a:xfrm>
              <a:off x="3681643" y="2686844"/>
              <a:ext cx="224896" cy="214313"/>
            </a:xfrm>
            <a:custGeom>
              <a:avLst/>
              <a:gdLst/>
              <a:ahLst/>
              <a:cxnLst>
                <a:cxn ang="0">
                  <a:pos x="4" y="162"/>
                </a:cxn>
                <a:cxn ang="0">
                  <a:pos x="4" y="162"/>
                </a:cxn>
                <a:cxn ang="0">
                  <a:pos x="6" y="160"/>
                </a:cxn>
                <a:cxn ang="0">
                  <a:pos x="4" y="160"/>
                </a:cxn>
                <a:cxn ang="0">
                  <a:pos x="2" y="162"/>
                </a:cxn>
                <a:cxn ang="0">
                  <a:pos x="0" y="162"/>
                </a:cxn>
                <a:cxn ang="0">
                  <a:pos x="0" y="162"/>
                </a:cxn>
                <a:cxn ang="0">
                  <a:pos x="2" y="154"/>
                </a:cxn>
                <a:cxn ang="0">
                  <a:pos x="2" y="154"/>
                </a:cxn>
                <a:cxn ang="0">
                  <a:pos x="6" y="144"/>
                </a:cxn>
                <a:cxn ang="0">
                  <a:pos x="12" y="136"/>
                </a:cxn>
                <a:cxn ang="0">
                  <a:pos x="16" y="128"/>
                </a:cxn>
                <a:cxn ang="0">
                  <a:pos x="20" y="112"/>
                </a:cxn>
                <a:cxn ang="0">
                  <a:pos x="20" y="112"/>
                </a:cxn>
                <a:cxn ang="0">
                  <a:pos x="22" y="104"/>
                </a:cxn>
                <a:cxn ang="0">
                  <a:pos x="26" y="96"/>
                </a:cxn>
                <a:cxn ang="0">
                  <a:pos x="34" y="84"/>
                </a:cxn>
                <a:cxn ang="0">
                  <a:pos x="44" y="72"/>
                </a:cxn>
                <a:cxn ang="0">
                  <a:pos x="48" y="64"/>
                </a:cxn>
                <a:cxn ang="0">
                  <a:pos x="52" y="54"/>
                </a:cxn>
                <a:cxn ang="0">
                  <a:pos x="52" y="54"/>
                </a:cxn>
                <a:cxn ang="0">
                  <a:pos x="56" y="44"/>
                </a:cxn>
                <a:cxn ang="0">
                  <a:pos x="60" y="38"/>
                </a:cxn>
                <a:cxn ang="0">
                  <a:pos x="64" y="34"/>
                </a:cxn>
                <a:cxn ang="0">
                  <a:pos x="66" y="34"/>
                </a:cxn>
                <a:cxn ang="0">
                  <a:pos x="70" y="34"/>
                </a:cxn>
                <a:cxn ang="0">
                  <a:pos x="72" y="32"/>
                </a:cxn>
                <a:cxn ang="0">
                  <a:pos x="74" y="28"/>
                </a:cxn>
                <a:cxn ang="0">
                  <a:pos x="78" y="20"/>
                </a:cxn>
                <a:cxn ang="0">
                  <a:pos x="78" y="20"/>
                </a:cxn>
                <a:cxn ang="0">
                  <a:pos x="82" y="8"/>
                </a:cxn>
                <a:cxn ang="0">
                  <a:pos x="88" y="0"/>
                </a:cxn>
                <a:cxn ang="0">
                  <a:pos x="170" y="0"/>
                </a:cxn>
                <a:cxn ang="0">
                  <a:pos x="170" y="12"/>
                </a:cxn>
                <a:cxn ang="0">
                  <a:pos x="170" y="46"/>
                </a:cxn>
                <a:cxn ang="0">
                  <a:pos x="102" y="46"/>
                </a:cxn>
                <a:cxn ang="0">
                  <a:pos x="102" y="46"/>
                </a:cxn>
                <a:cxn ang="0">
                  <a:pos x="100" y="104"/>
                </a:cxn>
                <a:cxn ang="0">
                  <a:pos x="100" y="104"/>
                </a:cxn>
                <a:cxn ang="0">
                  <a:pos x="98" y="108"/>
                </a:cxn>
                <a:cxn ang="0">
                  <a:pos x="96" y="110"/>
                </a:cxn>
                <a:cxn ang="0">
                  <a:pos x="90" y="110"/>
                </a:cxn>
                <a:cxn ang="0">
                  <a:pos x="86" y="112"/>
                </a:cxn>
                <a:cxn ang="0">
                  <a:pos x="82" y="114"/>
                </a:cxn>
                <a:cxn ang="0">
                  <a:pos x="80" y="120"/>
                </a:cxn>
                <a:cxn ang="0">
                  <a:pos x="80" y="128"/>
                </a:cxn>
                <a:cxn ang="0">
                  <a:pos x="80" y="128"/>
                </a:cxn>
                <a:cxn ang="0">
                  <a:pos x="80" y="156"/>
                </a:cxn>
                <a:cxn ang="0">
                  <a:pos x="80" y="156"/>
                </a:cxn>
                <a:cxn ang="0">
                  <a:pos x="18" y="156"/>
                </a:cxn>
                <a:cxn ang="0">
                  <a:pos x="18" y="156"/>
                </a:cxn>
                <a:cxn ang="0">
                  <a:pos x="12" y="156"/>
                </a:cxn>
                <a:cxn ang="0">
                  <a:pos x="8" y="156"/>
                </a:cxn>
                <a:cxn ang="0">
                  <a:pos x="4" y="162"/>
                </a:cxn>
                <a:cxn ang="0">
                  <a:pos x="4" y="162"/>
                </a:cxn>
              </a:cxnLst>
              <a:rect l="0" t="0" r="r" b="b"/>
              <a:pathLst>
                <a:path w="170" h="162">
                  <a:moveTo>
                    <a:pt x="4" y="162"/>
                  </a:moveTo>
                  <a:lnTo>
                    <a:pt x="4" y="162"/>
                  </a:lnTo>
                  <a:lnTo>
                    <a:pt x="6" y="160"/>
                  </a:lnTo>
                  <a:lnTo>
                    <a:pt x="4" y="160"/>
                  </a:lnTo>
                  <a:lnTo>
                    <a:pt x="2" y="162"/>
                  </a:lnTo>
                  <a:lnTo>
                    <a:pt x="0" y="162"/>
                  </a:lnTo>
                  <a:lnTo>
                    <a:pt x="0" y="162"/>
                  </a:lnTo>
                  <a:lnTo>
                    <a:pt x="2" y="154"/>
                  </a:lnTo>
                  <a:lnTo>
                    <a:pt x="2" y="154"/>
                  </a:lnTo>
                  <a:lnTo>
                    <a:pt x="6" y="144"/>
                  </a:lnTo>
                  <a:lnTo>
                    <a:pt x="12" y="136"/>
                  </a:lnTo>
                  <a:lnTo>
                    <a:pt x="16" y="128"/>
                  </a:lnTo>
                  <a:lnTo>
                    <a:pt x="20" y="112"/>
                  </a:lnTo>
                  <a:lnTo>
                    <a:pt x="20" y="112"/>
                  </a:lnTo>
                  <a:lnTo>
                    <a:pt x="22" y="104"/>
                  </a:lnTo>
                  <a:lnTo>
                    <a:pt x="26" y="96"/>
                  </a:lnTo>
                  <a:lnTo>
                    <a:pt x="34" y="84"/>
                  </a:lnTo>
                  <a:lnTo>
                    <a:pt x="44" y="72"/>
                  </a:lnTo>
                  <a:lnTo>
                    <a:pt x="48" y="64"/>
                  </a:lnTo>
                  <a:lnTo>
                    <a:pt x="52" y="54"/>
                  </a:lnTo>
                  <a:lnTo>
                    <a:pt x="52" y="54"/>
                  </a:lnTo>
                  <a:lnTo>
                    <a:pt x="56" y="44"/>
                  </a:lnTo>
                  <a:lnTo>
                    <a:pt x="60" y="38"/>
                  </a:lnTo>
                  <a:lnTo>
                    <a:pt x="64" y="34"/>
                  </a:lnTo>
                  <a:lnTo>
                    <a:pt x="66" y="34"/>
                  </a:lnTo>
                  <a:lnTo>
                    <a:pt x="70" y="34"/>
                  </a:lnTo>
                  <a:lnTo>
                    <a:pt x="72" y="32"/>
                  </a:lnTo>
                  <a:lnTo>
                    <a:pt x="74" y="28"/>
                  </a:lnTo>
                  <a:lnTo>
                    <a:pt x="78" y="20"/>
                  </a:lnTo>
                  <a:lnTo>
                    <a:pt x="78" y="20"/>
                  </a:lnTo>
                  <a:lnTo>
                    <a:pt x="82" y="8"/>
                  </a:lnTo>
                  <a:lnTo>
                    <a:pt x="88" y="0"/>
                  </a:lnTo>
                  <a:lnTo>
                    <a:pt x="170" y="0"/>
                  </a:lnTo>
                  <a:lnTo>
                    <a:pt x="170" y="12"/>
                  </a:lnTo>
                  <a:lnTo>
                    <a:pt x="170" y="46"/>
                  </a:lnTo>
                  <a:lnTo>
                    <a:pt x="102" y="46"/>
                  </a:lnTo>
                  <a:lnTo>
                    <a:pt x="102" y="46"/>
                  </a:lnTo>
                  <a:lnTo>
                    <a:pt x="100" y="104"/>
                  </a:lnTo>
                  <a:lnTo>
                    <a:pt x="100" y="104"/>
                  </a:lnTo>
                  <a:lnTo>
                    <a:pt x="98" y="108"/>
                  </a:lnTo>
                  <a:lnTo>
                    <a:pt x="96" y="110"/>
                  </a:lnTo>
                  <a:lnTo>
                    <a:pt x="90" y="110"/>
                  </a:lnTo>
                  <a:lnTo>
                    <a:pt x="86" y="112"/>
                  </a:lnTo>
                  <a:lnTo>
                    <a:pt x="82" y="114"/>
                  </a:lnTo>
                  <a:lnTo>
                    <a:pt x="80" y="120"/>
                  </a:lnTo>
                  <a:lnTo>
                    <a:pt x="80" y="128"/>
                  </a:lnTo>
                  <a:lnTo>
                    <a:pt x="80" y="128"/>
                  </a:lnTo>
                  <a:lnTo>
                    <a:pt x="80" y="156"/>
                  </a:lnTo>
                  <a:lnTo>
                    <a:pt x="80" y="156"/>
                  </a:lnTo>
                  <a:lnTo>
                    <a:pt x="18" y="156"/>
                  </a:lnTo>
                  <a:lnTo>
                    <a:pt x="18" y="156"/>
                  </a:lnTo>
                  <a:lnTo>
                    <a:pt x="12" y="156"/>
                  </a:lnTo>
                  <a:lnTo>
                    <a:pt x="8" y="156"/>
                  </a:lnTo>
                  <a:lnTo>
                    <a:pt x="4" y="162"/>
                  </a:lnTo>
                  <a:lnTo>
                    <a:pt x="4" y="162"/>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5" name="Yemen"/>
            <p:cNvSpPr>
              <a:spLocks/>
            </p:cNvSpPr>
            <p:nvPr/>
          </p:nvSpPr>
          <p:spPr bwMode="auto">
            <a:xfrm>
              <a:off x="5329997" y="2988469"/>
              <a:ext cx="293688" cy="201083"/>
            </a:xfrm>
            <a:custGeom>
              <a:avLst/>
              <a:gdLst/>
              <a:ahLst/>
              <a:cxnLst>
                <a:cxn ang="0">
                  <a:pos x="0" y="62"/>
                </a:cxn>
                <a:cxn ang="0">
                  <a:pos x="6" y="94"/>
                </a:cxn>
                <a:cxn ang="0">
                  <a:pos x="8" y="100"/>
                </a:cxn>
                <a:cxn ang="0">
                  <a:pos x="10" y="110"/>
                </a:cxn>
                <a:cxn ang="0">
                  <a:pos x="16" y="124"/>
                </a:cxn>
                <a:cxn ang="0">
                  <a:pos x="16" y="130"/>
                </a:cxn>
                <a:cxn ang="0">
                  <a:pos x="16" y="138"/>
                </a:cxn>
                <a:cxn ang="0">
                  <a:pos x="20" y="146"/>
                </a:cxn>
                <a:cxn ang="0">
                  <a:pos x="36" y="152"/>
                </a:cxn>
                <a:cxn ang="0">
                  <a:pos x="50" y="148"/>
                </a:cxn>
                <a:cxn ang="0">
                  <a:pos x="52" y="146"/>
                </a:cxn>
                <a:cxn ang="0">
                  <a:pos x="56" y="144"/>
                </a:cxn>
                <a:cxn ang="0">
                  <a:pos x="66" y="138"/>
                </a:cxn>
                <a:cxn ang="0">
                  <a:pos x="70" y="136"/>
                </a:cxn>
                <a:cxn ang="0">
                  <a:pos x="84" y="132"/>
                </a:cxn>
                <a:cxn ang="0">
                  <a:pos x="98" y="128"/>
                </a:cxn>
                <a:cxn ang="0">
                  <a:pos x="102" y="124"/>
                </a:cxn>
                <a:cxn ang="0">
                  <a:pos x="110" y="120"/>
                </a:cxn>
                <a:cxn ang="0">
                  <a:pos x="130" y="116"/>
                </a:cxn>
                <a:cxn ang="0">
                  <a:pos x="138" y="108"/>
                </a:cxn>
                <a:cxn ang="0">
                  <a:pos x="142" y="104"/>
                </a:cxn>
                <a:cxn ang="0">
                  <a:pos x="162" y="94"/>
                </a:cxn>
                <a:cxn ang="0">
                  <a:pos x="184" y="86"/>
                </a:cxn>
                <a:cxn ang="0">
                  <a:pos x="190" y="82"/>
                </a:cxn>
                <a:cxn ang="0">
                  <a:pos x="204" y="78"/>
                </a:cxn>
                <a:cxn ang="0">
                  <a:pos x="204" y="74"/>
                </a:cxn>
                <a:cxn ang="0">
                  <a:pos x="202" y="70"/>
                </a:cxn>
                <a:cxn ang="0">
                  <a:pos x="202" y="64"/>
                </a:cxn>
                <a:cxn ang="0">
                  <a:pos x="214" y="56"/>
                </a:cxn>
                <a:cxn ang="0">
                  <a:pos x="222" y="52"/>
                </a:cxn>
                <a:cxn ang="0">
                  <a:pos x="212" y="48"/>
                </a:cxn>
                <a:cxn ang="0">
                  <a:pos x="214" y="42"/>
                </a:cxn>
                <a:cxn ang="0">
                  <a:pos x="214" y="36"/>
                </a:cxn>
                <a:cxn ang="0">
                  <a:pos x="210" y="34"/>
                </a:cxn>
                <a:cxn ang="0">
                  <a:pos x="192" y="26"/>
                </a:cxn>
                <a:cxn ang="0">
                  <a:pos x="184" y="18"/>
                </a:cxn>
                <a:cxn ang="0">
                  <a:pos x="182" y="0"/>
                </a:cxn>
                <a:cxn ang="0">
                  <a:pos x="134" y="20"/>
                </a:cxn>
                <a:cxn ang="0">
                  <a:pos x="114" y="44"/>
                </a:cxn>
                <a:cxn ang="0">
                  <a:pos x="78" y="80"/>
                </a:cxn>
                <a:cxn ang="0">
                  <a:pos x="80" y="70"/>
                </a:cxn>
                <a:cxn ang="0">
                  <a:pos x="76" y="62"/>
                </a:cxn>
                <a:cxn ang="0">
                  <a:pos x="70" y="60"/>
                </a:cxn>
                <a:cxn ang="0">
                  <a:pos x="60" y="54"/>
                </a:cxn>
                <a:cxn ang="0">
                  <a:pos x="34" y="46"/>
                </a:cxn>
                <a:cxn ang="0">
                  <a:pos x="22" y="44"/>
                </a:cxn>
                <a:cxn ang="0">
                  <a:pos x="18" y="46"/>
                </a:cxn>
                <a:cxn ang="0">
                  <a:pos x="14" y="50"/>
                </a:cxn>
                <a:cxn ang="0">
                  <a:pos x="12" y="52"/>
                </a:cxn>
                <a:cxn ang="0">
                  <a:pos x="12" y="56"/>
                </a:cxn>
                <a:cxn ang="0">
                  <a:pos x="10" y="60"/>
                </a:cxn>
                <a:cxn ang="0">
                  <a:pos x="0" y="62"/>
                </a:cxn>
              </a:cxnLst>
              <a:rect l="0" t="0" r="r" b="b"/>
              <a:pathLst>
                <a:path w="222" h="152">
                  <a:moveTo>
                    <a:pt x="0" y="62"/>
                  </a:moveTo>
                  <a:lnTo>
                    <a:pt x="0" y="62"/>
                  </a:lnTo>
                  <a:lnTo>
                    <a:pt x="4" y="84"/>
                  </a:lnTo>
                  <a:lnTo>
                    <a:pt x="6" y="94"/>
                  </a:lnTo>
                  <a:lnTo>
                    <a:pt x="8" y="98"/>
                  </a:lnTo>
                  <a:lnTo>
                    <a:pt x="8" y="100"/>
                  </a:lnTo>
                  <a:lnTo>
                    <a:pt x="8" y="100"/>
                  </a:lnTo>
                  <a:lnTo>
                    <a:pt x="10" y="110"/>
                  </a:lnTo>
                  <a:lnTo>
                    <a:pt x="14" y="118"/>
                  </a:lnTo>
                  <a:lnTo>
                    <a:pt x="16" y="124"/>
                  </a:lnTo>
                  <a:lnTo>
                    <a:pt x="16" y="130"/>
                  </a:lnTo>
                  <a:lnTo>
                    <a:pt x="16" y="130"/>
                  </a:lnTo>
                  <a:lnTo>
                    <a:pt x="14" y="134"/>
                  </a:lnTo>
                  <a:lnTo>
                    <a:pt x="16" y="138"/>
                  </a:lnTo>
                  <a:lnTo>
                    <a:pt x="20" y="146"/>
                  </a:lnTo>
                  <a:lnTo>
                    <a:pt x="20" y="146"/>
                  </a:lnTo>
                  <a:lnTo>
                    <a:pt x="26" y="150"/>
                  </a:lnTo>
                  <a:lnTo>
                    <a:pt x="36" y="152"/>
                  </a:lnTo>
                  <a:lnTo>
                    <a:pt x="46" y="150"/>
                  </a:lnTo>
                  <a:lnTo>
                    <a:pt x="50" y="148"/>
                  </a:lnTo>
                  <a:lnTo>
                    <a:pt x="52" y="146"/>
                  </a:lnTo>
                  <a:lnTo>
                    <a:pt x="52" y="146"/>
                  </a:lnTo>
                  <a:lnTo>
                    <a:pt x="54" y="144"/>
                  </a:lnTo>
                  <a:lnTo>
                    <a:pt x="56" y="144"/>
                  </a:lnTo>
                  <a:lnTo>
                    <a:pt x="60" y="144"/>
                  </a:lnTo>
                  <a:lnTo>
                    <a:pt x="66" y="138"/>
                  </a:lnTo>
                  <a:lnTo>
                    <a:pt x="66" y="138"/>
                  </a:lnTo>
                  <a:lnTo>
                    <a:pt x="70" y="136"/>
                  </a:lnTo>
                  <a:lnTo>
                    <a:pt x="74" y="134"/>
                  </a:lnTo>
                  <a:lnTo>
                    <a:pt x="84" y="132"/>
                  </a:lnTo>
                  <a:lnTo>
                    <a:pt x="94" y="132"/>
                  </a:lnTo>
                  <a:lnTo>
                    <a:pt x="98" y="128"/>
                  </a:lnTo>
                  <a:lnTo>
                    <a:pt x="102" y="124"/>
                  </a:lnTo>
                  <a:lnTo>
                    <a:pt x="102" y="124"/>
                  </a:lnTo>
                  <a:lnTo>
                    <a:pt x="106" y="122"/>
                  </a:lnTo>
                  <a:lnTo>
                    <a:pt x="110" y="120"/>
                  </a:lnTo>
                  <a:lnTo>
                    <a:pt x="120" y="118"/>
                  </a:lnTo>
                  <a:lnTo>
                    <a:pt x="130" y="116"/>
                  </a:lnTo>
                  <a:lnTo>
                    <a:pt x="134" y="112"/>
                  </a:lnTo>
                  <a:lnTo>
                    <a:pt x="138" y="108"/>
                  </a:lnTo>
                  <a:lnTo>
                    <a:pt x="138" y="108"/>
                  </a:lnTo>
                  <a:lnTo>
                    <a:pt x="142" y="104"/>
                  </a:lnTo>
                  <a:lnTo>
                    <a:pt x="148" y="100"/>
                  </a:lnTo>
                  <a:lnTo>
                    <a:pt x="162" y="94"/>
                  </a:lnTo>
                  <a:lnTo>
                    <a:pt x="176" y="90"/>
                  </a:lnTo>
                  <a:lnTo>
                    <a:pt x="184" y="86"/>
                  </a:lnTo>
                  <a:lnTo>
                    <a:pt x="184" y="86"/>
                  </a:lnTo>
                  <a:lnTo>
                    <a:pt x="190" y="82"/>
                  </a:lnTo>
                  <a:lnTo>
                    <a:pt x="198" y="80"/>
                  </a:lnTo>
                  <a:lnTo>
                    <a:pt x="204" y="78"/>
                  </a:lnTo>
                  <a:lnTo>
                    <a:pt x="206" y="76"/>
                  </a:lnTo>
                  <a:lnTo>
                    <a:pt x="204" y="74"/>
                  </a:lnTo>
                  <a:lnTo>
                    <a:pt x="204" y="74"/>
                  </a:lnTo>
                  <a:lnTo>
                    <a:pt x="202" y="70"/>
                  </a:lnTo>
                  <a:lnTo>
                    <a:pt x="202" y="68"/>
                  </a:lnTo>
                  <a:lnTo>
                    <a:pt x="202" y="64"/>
                  </a:lnTo>
                  <a:lnTo>
                    <a:pt x="206" y="62"/>
                  </a:lnTo>
                  <a:lnTo>
                    <a:pt x="214" y="56"/>
                  </a:lnTo>
                  <a:lnTo>
                    <a:pt x="222" y="52"/>
                  </a:lnTo>
                  <a:lnTo>
                    <a:pt x="222" y="52"/>
                  </a:lnTo>
                  <a:lnTo>
                    <a:pt x="216" y="50"/>
                  </a:lnTo>
                  <a:lnTo>
                    <a:pt x="212" y="48"/>
                  </a:lnTo>
                  <a:lnTo>
                    <a:pt x="212" y="44"/>
                  </a:lnTo>
                  <a:lnTo>
                    <a:pt x="214" y="42"/>
                  </a:lnTo>
                  <a:lnTo>
                    <a:pt x="216" y="38"/>
                  </a:lnTo>
                  <a:lnTo>
                    <a:pt x="214" y="36"/>
                  </a:lnTo>
                  <a:lnTo>
                    <a:pt x="210" y="34"/>
                  </a:lnTo>
                  <a:lnTo>
                    <a:pt x="210" y="34"/>
                  </a:lnTo>
                  <a:lnTo>
                    <a:pt x="200" y="30"/>
                  </a:lnTo>
                  <a:lnTo>
                    <a:pt x="192" y="26"/>
                  </a:lnTo>
                  <a:lnTo>
                    <a:pt x="186" y="22"/>
                  </a:lnTo>
                  <a:lnTo>
                    <a:pt x="184" y="18"/>
                  </a:lnTo>
                  <a:lnTo>
                    <a:pt x="182" y="10"/>
                  </a:lnTo>
                  <a:lnTo>
                    <a:pt x="182" y="0"/>
                  </a:lnTo>
                  <a:lnTo>
                    <a:pt x="182" y="0"/>
                  </a:lnTo>
                  <a:lnTo>
                    <a:pt x="134" y="20"/>
                  </a:lnTo>
                  <a:lnTo>
                    <a:pt x="134" y="20"/>
                  </a:lnTo>
                  <a:lnTo>
                    <a:pt x="114" y="44"/>
                  </a:lnTo>
                  <a:lnTo>
                    <a:pt x="94" y="64"/>
                  </a:lnTo>
                  <a:lnTo>
                    <a:pt x="78" y="80"/>
                  </a:lnTo>
                  <a:lnTo>
                    <a:pt x="78" y="80"/>
                  </a:lnTo>
                  <a:lnTo>
                    <a:pt x="80" y="70"/>
                  </a:lnTo>
                  <a:lnTo>
                    <a:pt x="78" y="64"/>
                  </a:lnTo>
                  <a:lnTo>
                    <a:pt x="76" y="62"/>
                  </a:lnTo>
                  <a:lnTo>
                    <a:pt x="70" y="60"/>
                  </a:lnTo>
                  <a:lnTo>
                    <a:pt x="70" y="60"/>
                  </a:lnTo>
                  <a:lnTo>
                    <a:pt x="66" y="56"/>
                  </a:lnTo>
                  <a:lnTo>
                    <a:pt x="60" y="54"/>
                  </a:lnTo>
                  <a:lnTo>
                    <a:pt x="52" y="50"/>
                  </a:lnTo>
                  <a:lnTo>
                    <a:pt x="34" y="46"/>
                  </a:lnTo>
                  <a:lnTo>
                    <a:pt x="34" y="46"/>
                  </a:lnTo>
                  <a:lnTo>
                    <a:pt x="22" y="44"/>
                  </a:lnTo>
                  <a:lnTo>
                    <a:pt x="18" y="44"/>
                  </a:lnTo>
                  <a:lnTo>
                    <a:pt x="18" y="46"/>
                  </a:lnTo>
                  <a:lnTo>
                    <a:pt x="18" y="48"/>
                  </a:lnTo>
                  <a:lnTo>
                    <a:pt x="14" y="50"/>
                  </a:lnTo>
                  <a:lnTo>
                    <a:pt x="14" y="50"/>
                  </a:lnTo>
                  <a:lnTo>
                    <a:pt x="12" y="52"/>
                  </a:lnTo>
                  <a:lnTo>
                    <a:pt x="12" y="54"/>
                  </a:lnTo>
                  <a:lnTo>
                    <a:pt x="12" y="56"/>
                  </a:lnTo>
                  <a:lnTo>
                    <a:pt x="12" y="58"/>
                  </a:lnTo>
                  <a:lnTo>
                    <a:pt x="10" y="60"/>
                  </a:lnTo>
                  <a:lnTo>
                    <a:pt x="0" y="62"/>
                  </a:lnTo>
                  <a:lnTo>
                    <a:pt x="0" y="62"/>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6" name="Freeform 64"/>
            <p:cNvSpPr>
              <a:spLocks/>
            </p:cNvSpPr>
            <p:nvPr/>
          </p:nvSpPr>
          <p:spPr bwMode="auto">
            <a:xfrm>
              <a:off x="6258684" y="1969823"/>
              <a:ext cx="777875" cy="280458"/>
            </a:xfrm>
            <a:custGeom>
              <a:avLst/>
              <a:gdLst/>
              <a:ahLst/>
              <a:cxnLst>
                <a:cxn ang="0">
                  <a:pos x="4" y="60"/>
                </a:cxn>
                <a:cxn ang="0">
                  <a:pos x="18" y="50"/>
                </a:cxn>
                <a:cxn ang="0">
                  <a:pos x="24" y="48"/>
                </a:cxn>
                <a:cxn ang="0">
                  <a:pos x="32" y="44"/>
                </a:cxn>
                <a:cxn ang="0">
                  <a:pos x="46" y="40"/>
                </a:cxn>
                <a:cxn ang="0">
                  <a:pos x="58" y="34"/>
                </a:cxn>
                <a:cxn ang="0">
                  <a:pos x="74" y="30"/>
                </a:cxn>
                <a:cxn ang="0">
                  <a:pos x="86" y="34"/>
                </a:cxn>
                <a:cxn ang="0">
                  <a:pos x="102" y="46"/>
                </a:cxn>
                <a:cxn ang="0">
                  <a:pos x="116" y="48"/>
                </a:cxn>
                <a:cxn ang="0">
                  <a:pos x="148" y="52"/>
                </a:cxn>
                <a:cxn ang="0">
                  <a:pos x="164" y="50"/>
                </a:cxn>
                <a:cxn ang="0">
                  <a:pos x="162" y="36"/>
                </a:cxn>
                <a:cxn ang="0">
                  <a:pos x="152" y="26"/>
                </a:cxn>
                <a:cxn ang="0">
                  <a:pos x="152" y="6"/>
                </a:cxn>
                <a:cxn ang="0">
                  <a:pos x="176" y="6"/>
                </a:cxn>
                <a:cxn ang="0">
                  <a:pos x="218" y="32"/>
                </a:cxn>
                <a:cxn ang="0">
                  <a:pos x="250" y="46"/>
                </a:cxn>
                <a:cxn ang="0">
                  <a:pos x="294" y="44"/>
                </a:cxn>
                <a:cxn ang="0">
                  <a:pos x="320" y="56"/>
                </a:cxn>
                <a:cxn ang="0">
                  <a:pos x="364" y="56"/>
                </a:cxn>
                <a:cxn ang="0">
                  <a:pos x="428" y="46"/>
                </a:cxn>
                <a:cxn ang="0">
                  <a:pos x="462" y="54"/>
                </a:cxn>
                <a:cxn ang="0">
                  <a:pos x="462" y="72"/>
                </a:cxn>
                <a:cxn ang="0">
                  <a:pos x="450" y="86"/>
                </a:cxn>
                <a:cxn ang="0">
                  <a:pos x="490" y="84"/>
                </a:cxn>
                <a:cxn ang="0">
                  <a:pos x="516" y="86"/>
                </a:cxn>
                <a:cxn ang="0">
                  <a:pos x="542" y="72"/>
                </a:cxn>
                <a:cxn ang="0">
                  <a:pos x="582" y="92"/>
                </a:cxn>
                <a:cxn ang="0">
                  <a:pos x="584" y="108"/>
                </a:cxn>
                <a:cxn ang="0">
                  <a:pos x="568" y="112"/>
                </a:cxn>
                <a:cxn ang="0">
                  <a:pos x="548" y="116"/>
                </a:cxn>
                <a:cxn ang="0">
                  <a:pos x="526" y="134"/>
                </a:cxn>
                <a:cxn ang="0">
                  <a:pos x="514" y="146"/>
                </a:cxn>
                <a:cxn ang="0">
                  <a:pos x="492" y="144"/>
                </a:cxn>
                <a:cxn ang="0">
                  <a:pos x="496" y="158"/>
                </a:cxn>
                <a:cxn ang="0">
                  <a:pos x="512" y="170"/>
                </a:cxn>
                <a:cxn ang="0">
                  <a:pos x="496" y="186"/>
                </a:cxn>
                <a:cxn ang="0">
                  <a:pos x="486" y="196"/>
                </a:cxn>
                <a:cxn ang="0">
                  <a:pos x="450" y="200"/>
                </a:cxn>
                <a:cxn ang="0">
                  <a:pos x="402" y="212"/>
                </a:cxn>
                <a:cxn ang="0">
                  <a:pos x="338" y="198"/>
                </a:cxn>
                <a:cxn ang="0">
                  <a:pos x="310" y="190"/>
                </a:cxn>
                <a:cxn ang="0">
                  <a:pos x="276" y="192"/>
                </a:cxn>
                <a:cxn ang="0">
                  <a:pos x="242" y="190"/>
                </a:cxn>
                <a:cxn ang="0">
                  <a:pos x="218" y="198"/>
                </a:cxn>
                <a:cxn ang="0">
                  <a:pos x="210" y="176"/>
                </a:cxn>
                <a:cxn ang="0">
                  <a:pos x="202" y="164"/>
                </a:cxn>
                <a:cxn ang="0">
                  <a:pos x="198" y="156"/>
                </a:cxn>
                <a:cxn ang="0">
                  <a:pos x="172" y="158"/>
                </a:cxn>
                <a:cxn ang="0">
                  <a:pos x="102" y="150"/>
                </a:cxn>
                <a:cxn ang="0">
                  <a:pos x="96" y="144"/>
                </a:cxn>
                <a:cxn ang="0">
                  <a:pos x="92" y="128"/>
                </a:cxn>
                <a:cxn ang="0">
                  <a:pos x="78" y="114"/>
                </a:cxn>
                <a:cxn ang="0">
                  <a:pos x="64" y="94"/>
                </a:cxn>
                <a:cxn ang="0">
                  <a:pos x="48" y="84"/>
                </a:cxn>
                <a:cxn ang="0">
                  <a:pos x="32" y="86"/>
                </a:cxn>
                <a:cxn ang="0">
                  <a:pos x="8" y="76"/>
                </a:cxn>
              </a:cxnLst>
              <a:rect l="0" t="0" r="r" b="b"/>
              <a:pathLst>
                <a:path w="588" h="212">
                  <a:moveTo>
                    <a:pt x="0" y="68"/>
                  </a:moveTo>
                  <a:lnTo>
                    <a:pt x="0" y="68"/>
                  </a:lnTo>
                  <a:lnTo>
                    <a:pt x="2" y="66"/>
                  </a:lnTo>
                  <a:lnTo>
                    <a:pt x="2" y="62"/>
                  </a:lnTo>
                  <a:lnTo>
                    <a:pt x="4" y="60"/>
                  </a:lnTo>
                  <a:lnTo>
                    <a:pt x="8" y="58"/>
                  </a:lnTo>
                  <a:lnTo>
                    <a:pt x="8" y="58"/>
                  </a:lnTo>
                  <a:lnTo>
                    <a:pt x="12" y="56"/>
                  </a:lnTo>
                  <a:lnTo>
                    <a:pt x="16" y="52"/>
                  </a:lnTo>
                  <a:lnTo>
                    <a:pt x="18" y="50"/>
                  </a:lnTo>
                  <a:lnTo>
                    <a:pt x="22" y="52"/>
                  </a:lnTo>
                  <a:lnTo>
                    <a:pt x="22" y="52"/>
                  </a:lnTo>
                  <a:lnTo>
                    <a:pt x="24" y="52"/>
                  </a:lnTo>
                  <a:lnTo>
                    <a:pt x="24" y="52"/>
                  </a:lnTo>
                  <a:lnTo>
                    <a:pt x="24" y="48"/>
                  </a:lnTo>
                  <a:lnTo>
                    <a:pt x="26" y="44"/>
                  </a:lnTo>
                  <a:lnTo>
                    <a:pt x="26" y="44"/>
                  </a:lnTo>
                  <a:lnTo>
                    <a:pt x="28" y="44"/>
                  </a:lnTo>
                  <a:lnTo>
                    <a:pt x="28" y="44"/>
                  </a:lnTo>
                  <a:lnTo>
                    <a:pt x="32" y="44"/>
                  </a:lnTo>
                  <a:lnTo>
                    <a:pt x="36" y="42"/>
                  </a:lnTo>
                  <a:lnTo>
                    <a:pt x="40" y="40"/>
                  </a:lnTo>
                  <a:lnTo>
                    <a:pt x="44" y="40"/>
                  </a:lnTo>
                  <a:lnTo>
                    <a:pt x="44" y="40"/>
                  </a:lnTo>
                  <a:lnTo>
                    <a:pt x="46" y="40"/>
                  </a:lnTo>
                  <a:lnTo>
                    <a:pt x="50" y="36"/>
                  </a:lnTo>
                  <a:lnTo>
                    <a:pt x="54" y="34"/>
                  </a:lnTo>
                  <a:lnTo>
                    <a:pt x="56" y="32"/>
                  </a:lnTo>
                  <a:lnTo>
                    <a:pt x="58" y="34"/>
                  </a:lnTo>
                  <a:lnTo>
                    <a:pt x="58" y="34"/>
                  </a:lnTo>
                  <a:lnTo>
                    <a:pt x="60" y="34"/>
                  </a:lnTo>
                  <a:lnTo>
                    <a:pt x="62" y="34"/>
                  </a:lnTo>
                  <a:lnTo>
                    <a:pt x="66" y="32"/>
                  </a:lnTo>
                  <a:lnTo>
                    <a:pt x="70" y="30"/>
                  </a:lnTo>
                  <a:lnTo>
                    <a:pt x="74" y="30"/>
                  </a:lnTo>
                  <a:lnTo>
                    <a:pt x="76" y="30"/>
                  </a:lnTo>
                  <a:lnTo>
                    <a:pt x="76" y="30"/>
                  </a:lnTo>
                  <a:lnTo>
                    <a:pt x="78" y="34"/>
                  </a:lnTo>
                  <a:lnTo>
                    <a:pt x="80" y="34"/>
                  </a:lnTo>
                  <a:lnTo>
                    <a:pt x="86" y="34"/>
                  </a:lnTo>
                  <a:lnTo>
                    <a:pt x="90" y="34"/>
                  </a:lnTo>
                  <a:lnTo>
                    <a:pt x="94" y="36"/>
                  </a:lnTo>
                  <a:lnTo>
                    <a:pt x="96" y="40"/>
                  </a:lnTo>
                  <a:lnTo>
                    <a:pt x="96" y="40"/>
                  </a:lnTo>
                  <a:lnTo>
                    <a:pt x="102" y="46"/>
                  </a:lnTo>
                  <a:lnTo>
                    <a:pt x="104" y="46"/>
                  </a:lnTo>
                  <a:lnTo>
                    <a:pt x="108" y="46"/>
                  </a:lnTo>
                  <a:lnTo>
                    <a:pt x="112" y="46"/>
                  </a:lnTo>
                  <a:lnTo>
                    <a:pt x="112" y="46"/>
                  </a:lnTo>
                  <a:lnTo>
                    <a:pt x="116" y="48"/>
                  </a:lnTo>
                  <a:lnTo>
                    <a:pt x="120" y="50"/>
                  </a:lnTo>
                  <a:lnTo>
                    <a:pt x="126" y="50"/>
                  </a:lnTo>
                  <a:lnTo>
                    <a:pt x="136" y="52"/>
                  </a:lnTo>
                  <a:lnTo>
                    <a:pt x="136" y="52"/>
                  </a:lnTo>
                  <a:lnTo>
                    <a:pt x="148" y="52"/>
                  </a:lnTo>
                  <a:lnTo>
                    <a:pt x="154" y="50"/>
                  </a:lnTo>
                  <a:lnTo>
                    <a:pt x="158" y="50"/>
                  </a:lnTo>
                  <a:lnTo>
                    <a:pt x="160" y="50"/>
                  </a:lnTo>
                  <a:lnTo>
                    <a:pt x="160" y="50"/>
                  </a:lnTo>
                  <a:lnTo>
                    <a:pt x="164" y="50"/>
                  </a:lnTo>
                  <a:lnTo>
                    <a:pt x="166" y="46"/>
                  </a:lnTo>
                  <a:lnTo>
                    <a:pt x="168" y="44"/>
                  </a:lnTo>
                  <a:lnTo>
                    <a:pt x="168" y="42"/>
                  </a:lnTo>
                  <a:lnTo>
                    <a:pt x="166" y="40"/>
                  </a:lnTo>
                  <a:lnTo>
                    <a:pt x="162" y="36"/>
                  </a:lnTo>
                  <a:lnTo>
                    <a:pt x="162" y="36"/>
                  </a:lnTo>
                  <a:lnTo>
                    <a:pt x="150" y="30"/>
                  </a:lnTo>
                  <a:lnTo>
                    <a:pt x="148" y="28"/>
                  </a:lnTo>
                  <a:lnTo>
                    <a:pt x="148" y="28"/>
                  </a:lnTo>
                  <a:lnTo>
                    <a:pt x="152" y="26"/>
                  </a:lnTo>
                  <a:lnTo>
                    <a:pt x="156" y="20"/>
                  </a:lnTo>
                  <a:lnTo>
                    <a:pt x="156" y="20"/>
                  </a:lnTo>
                  <a:lnTo>
                    <a:pt x="156" y="14"/>
                  </a:lnTo>
                  <a:lnTo>
                    <a:pt x="154" y="10"/>
                  </a:lnTo>
                  <a:lnTo>
                    <a:pt x="152" y="6"/>
                  </a:lnTo>
                  <a:lnTo>
                    <a:pt x="152" y="2"/>
                  </a:lnTo>
                  <a:lnTo>
                    <a:pt x="154" y="0"/>
                  </a:lnTo>
                  <a:lnTo>
                    <a:pt x="154" y="0"/>
                  </a:lnTo>
                  <a:lnTo>
                    <a:pt x="166" y="4"/>
                  </a:lnTo>
                  <a:lnTo>
                    <a:pt x="176" y="6"/>
                  </a:lnTo>
                  <a:lnTo>
                    <a:pt x="192" y="10"/>
                  </a:lnTo>
                  <a:lnTo>
                    <a:pt x="192" y="10"/>
                  </a:lnTo>
                  <a:lnTo>
                    <a:pt x="202" y="14"/>
                  </a:lnTo>
                  <a:lnTo>
                    <a:pt x="208" y="18"/>
                  </a:lnTo>
                  <a:lnTo>
                    <a:pt x="218" y="32"/>
                  </a:lnTo>
                  <a:lnTo>
                    <a:pt x="222" y="38"/>
                  </a:lnTo>
                  <a:lnTo>
                    <a:pt x="228" y="44"/>
                  </a:lnTo>
                  <a:lnTo>
                    <a:pt x="238" y="46"/>
                  </a:lnTo>
                  <a:lnTo>
                    <a:pt x="250" y="46"/>
                  </a:lnTo>
                  <a:lnTo>
                    <a:pt x="250" y="46"/>
                  </a:lnTo>
                  <a:lnTo>
                    <a:pt x="274" y="42"/>
                  </a:lnTo>
                  <a:lnTo>
                    <a:pt x="282" y="44"/>
                  </a:lnTo>
                  <a:lnTo>
                    <a:pt x="286" y="44"/>
                  </a:lnTo>
                  <a:lnTo>
                    <a:pt x="294" y="44"/>
                  </a:lnTo>
                  <a:lnTo>
                    <a:pt x="294" y="44"/>
                  </a:lnTo>
                  <a:lnTo>
                    <a:pt x="306" y="44"/>
                  </a:lnTo>
                  <a:lnTo>
                    <a:pt x="312" y="46"/>
                  </a:lnTo>
                  <a:lnTo>
                    <a:pt x="314" y="50"/>
                  </a:lnTo>
                  <a:lnTo>
                    <a:pt x="318" y="52"/>
                  </a:lnTo>
                  <a:lnTo>
                    <a:pt x="320" y="56"/>
                  </a:lnTo>
                  <a:lnTo>
                    <a:pt x="326" y="58"/>
                  </a:lnTo>
                  <a:lnTo>
                    <a:pt x="334" y="58"/>
                  </a:lnTo>
                  <a:lnTo>
                    <a:pt x="346" y="56"/>
                  </a:lnTo>
                  <a:lnTo>
                    <a:pt x="346" y="56"/>
                  </a:lnTo>
                  <a:lnTo>
                    <a:pt x="364" y="56"/>
                  </a:lnTo>
                  <a:lnTo>
                    <a:pt x="380" y="56"/>
                  </a:lnTo>
                  <a:lnTo>
                    <a:pt x="394" y="56"/>
                  </a:lnTo>
                  <a:lnTo>
                    <a:pt x="412" y="52"/>
                  </a:lnTo>
                  <a:lnTo>
                    <a:pt x="412" y="52"/>
                  </a:lnTo>
                  <a:lnTo>
                    <a:pt x="428" y="46"/>
                  </a:lnTo>
                  <a:lnTo>
                    <a:pt x="440" y="44"/>
                  </a:lnTo>
                  <a:lnTo>
                    <a:pt x="454" y="44"/>
                  </a:lnTo>
                  <a:lnTo>
                    <a:pt x="472" y="48"/>
                  </a:lnTo>
                  <a:lnTo>
                    <a:pt x="472" y="48"/>
                  </a:lnTo>
                  <a:lnTo>
                    <a:pt x="462" y="54"/>
                  </a:lnTo>
                  <a:lnTo>
                    <a:pt x="458" y="58"/>
                  </a:lnTo>
                  <a:lnTo>
                    <a:pt x="458" y="62"/>
                  </a:lnTo>
                  <a:lnTo>
                    <a:pt x="460" y="64"/>
                  </a:lnTo>
                  <a:lnTo>
                    <a:pt x="462" y="70"/>
                  </a:lnTo>
                  <a:lnTo>
                    <a:pt x="462" y="72"/>
                  </a:lnTo>
                  <a:lnTo>
                    <a:pt x="456" y="76"/>
                  </a:lnTo>
                  <a:lnTo>
                    <a:pt x="456" y="76"/>
                  </a:lnTo>
                  <a:lnTo>
                    <a:pt x="450" y="80"/>
                  </a:lnTo>
                  <a:lnTo>
                    <a:pt x="450" y="84"/>
                  </a:lnTo>
                  <a:lnTo>
                    <a:pt x="450" y="86"/>
                  </a:lnTo>
                  <a:lnTo>
                    <a:pt x="452" y="88"/>
                  </a:lnTo>
                  <a:lnTo>
                    <a:pt x="458" y="88"/>
                  </a:lnTo>
                  <a:lnTo>
                    <a:pt x="474" y="86"/>
                  </a:lnTo>
                  <a:lnTo>
                    <a:pt x="474" y="86"/>
                  </a:lnTo>
                  <a:lnTo>
                    <a:pt x="490" y="84"/>
                  </a:lnTo>
                  <a:lnTo>
                    <a:pt x="500" y="84"/>
                  </a:lnTo>
                  <a:lnTo>
                    <a:pt x="506" y="84"/>
                  </a:lnTo>
                  <a:lnTo>
                    <a:pt x="510" y="86"/>
                  </a:lnTo>
                  <a:lnTo>
                    <a:pt x="514" y="88"/>
                  </a:lnTo>
                  <a:lnTo>
                    <a:pt x="516" y="86"/>
                  </a:lnTo>
                  <a:lnTo>
                    <a:pt x="528" y="80"/>
                  </a:lnTo>
                  <a:lnTo>
                    <a:pt x="528" y="80"/>
                  </a:lnTo>
                  <a:lnTo>
                    <a:pt x="532" y="76"/>
                  </a:lnTo>
                  <a:lnTo>
                    <a:pt x="538" y="72"/>
                  </a:lnTo>
                  <a:lnTo>
                    <a:pt x="542" y="72"/>
                  </a:lnTo>
                  <a:lnTo>
                    <a:pt x="546" y="74"/>
                  </a:lnTo>
                  <a:lnTo>
                    <a:pt x="560" y="78"/>
                  </a:lnTo>
                  <a:lnTo>
                    <a:pt x="578" y="90"/>
                  </a:lnTo>
                  <a:lnTo>
                    <a:pt x="578" y="90"/>
                  </a:lnTo>
                  <a:lnTo>
                    <a:pt x="582" y="92"/>
                  </a:lnTo>
                  <a:lnTo>
                    <a:pt x="586" y="96"/>
                  </a:lnTo>
                  <a:lnTo>
                    <a:pt x="588" y="100"/>
                  </a:lnTo>
                  <a:lnTo>
                    <a:pt x="588" y="104"/>
                  </a:lnTo>
                  <a:lnTo>
                    <a:pt x="586" y="106"/>
                  </a:lnTo>
                  <a:lnTo>
                    <a:pt x="584" y="108"/>
                  </a:lnTo>
                  <a:lnTo>
                    <a:pt x="580" y="110"/>
                  </a:lnTo>
                  <a:lnTo>
                    <a:pt x="576" y="110"/>
                  </a:lnTo>
                  <a:lnTo>
                    <a:pt x="576" y="110"/>
                  </a:lnTo>
                  <a:lnTo>
                    <a:pt x="570" y="110"/>
                  </a:lnTo>
                  <a:lnTo>
                    <a:pt x="568" y="112"/>
                  </a:lnTo>
                  <a:lnTo>
                    <a:pt x="566" y="114"/>
                  </a:lnTo>
                  <a:lnTo>
                    <a:pt x="560" y="114"/>
                  </a:lnTo>
                  <a:lnTo>
                    <a:pt x="560" y="114"/>
                  </a:lnTo>
                  <a:lnTo>
                    <a:pt x="552" y="114"/>
                  </a:lnTo>
                  <a:lnTo>
                    <a:pt x="548" y="116"/>
                  </a:lnTo>
                  <a:lnTo>
                    <a:pt x="542" y="124"/>
                  </a:lnTo>
                  <a:lnTo>
                    <a:pt x="542" y="124"/>
                  </a:lnTo>
                  <a:lnTo>
                    <a:pt x="536" y="130"/>
                  </a:lnTo>
                  <a:lnTo>
                    <a:pt x="532" y="132"/>
                  </a:lnTo>
                  <a:lnTo>
                    <a:pt x="526" y="134"/>
                  </a:lnTo>
                  <a:lnTo>
                    <a:pt x="520" y="134"/>
                  </a:lnTo>
                  <a:lnTo>
                    <a:pt x="518" y="136"/>
                  </a:lnTo>
                  <a:lnTo>
                    <a:pt x="516" y="140"/>
                  </a:lnTo>
                  <a:lnTo>
                    <a:pt x="516" y="140"/>
                  </a:lnTo>
                  <a:lnTo>
                    <a:pt x="514" y="146"/>
                  </a:lnTo>
                  <a:lnTo>
                    <a:pt x="510" y="148"/>
                  </a:lnTo>
                  <a:lnTo>
                    <a:pt x="506" y="148"/>
                  </a:lnTo>
                  <a:lnTo>
                    <a:pt x="502" y="148"/>
                  </a:lnTo>
                  <a:lnTo>
                    <a:pt x="496" y="144"/>
                  </a:lnTo>
                  <a:lnTo>
                    <a:pt x="492" y="144"/>
                  </a:lnTo>
                  <a:lnTo>
                    <a:pt x="490" y="148"/>
                  </a:lnTo>
                  <a:lnTo>
                    <a:pt x="490" y="148"/>
                  </a:lnTo>
                  <a:lnTo>
                    <a:pt x="490" y="152"/>
                  </a:lnTo>
                  <a:lnTo>
                    <a:pt x="492" y="156"/>
                  </a:lnTo>
                  <a:lnTo>
                    <a:pt x="496" y="158"/>
                  </a:lnTo>
                  <a:lnTo>
                    <a:pt x="504" y="160"/>
                  </a:lnTo>
                  <a:lnTo>
                    <a:pt x="504" y="160"/>
                  </a:lnTo>
                  <a:lnTo>
                    <a:pt x="508" y="162"/>
                  </a:lnTo>
                  <a:lnTo>
                    <a:pt x="512" y="164"/>
                  </a:lnTo>
                  <a:lnTo>
                    <a:pt x="512" y="170"/>
                  </a:lnTo>
                  <a:lnTo>
                    <a:pt x="512" y="174"/>
                  </a:lnTo>
                  <a:lnTo>
                    <a:pt x="508" y="178"/>
                  </a:lnTo>
                  <a:lnTo>
                    <a:pt x="506" y="182"/>
                  </a:lnTo>
                  <a:lnTo>
                    <a:pt x="502" y="186"/>
                  </a:lnTo>
                  <a:lnTo>
                    <a:pt x="496" y="186"/>
                  </a:lnTo>
                  <a:lnTo>
                    <a:pt x="496" y="186"/>
                  </a:lnTo>
                  <a:lnTo>
                    <a:pt x="494" y="186"/>
                  </a:lnTo>
                  <a:lnTo>
                    <a:pt x="492" y="188"/>
                  </a:lnTo>
                  <a:lnTo>
                    <a:pt x="488" y="194"/>
                  </a:lnTo>
                  <a:lnTo>
                    <a:pt x="486" y="196"/>
                  </a:lnTo>
                  <a:lnTo>
                    <a:pt x="482" y="198"/>
                  </a:lnTo>
                  <a:lnTo>
                    <a:pt x="476" y="200"/>
                  </a:lnTo>
                  <a:lnTo>
                    <a:pt x="468" y="200"/>
                  </a:lnTo>
                  <a:lnTo>
                    <a:pt x="468" y="200"/>
                  </a:lnTo>
                  <a:lnTo>
                    <a:pt x="450" y="200"/>
                  </a:lnTo>
                  <a:lnTo>
                    <a:pt x="438" y="202"/>
                  </a:lnTo>
                  <a:lnTo>
                    <a:pt x="428" y="204"/>
                  </a:lnTo>
                  <a:lnTo>
                    <a:pt x="420" y="208"/>
                  </a:lnTo>
                  <a:lnTo>
                    <a:pt x="412" y="210"/>
                  </a:lnTo>
                  <a:lnTo>
                    <a:pt x="402" y="212"/>
                  </a:lnTo>
                  <a:lnTo>
                    <a:pt x="390" y="212"/>
                  </a:lnTo>
                  <a:lnTo>
                    <a:pt x="372" y="210"/>
                  </a:lnTo>
                  <a:lnTo>
                    <a:pt x="372" y="210"/>
                  </a:lnTo>
                  <a:lnTo>
                    <a:pt x="344" y="202"/>
                  </a:lnTo>
                  <a:lnTo>
                    <a:pt x="338" y="198"/>
                  </a:lnTo>
                  <a:lnTo>
                    <a:pt x="334" y="196"/>
                  </a:lnTo>
                  <a:lnTo>
                    <a:pt x="330" y="194"/>
                  </a:lnTo>
                  <a:lnTo>
                    <a:pt x="320" y="192"/>
                  </a:lnTo>
                  <a:lnTo>
                    <a:pt x="320" y="192"/>
                  </a:lnTo>
                  <a:lnTo>
                    <a:pt x="310" y="190"/>
                  </a:lnTo>
                  <a:lnTo>
                    <a:pt x="302" y="188"/>
                  </a:lnTo>
                  <a:lnTo>
                    <a:pt x="294" y="188"/>
                  </a:lnTo>
                  <a:lnTo>
                    <a:pt x="286" y="190"/>
                  </a:lnTo>
                  <a:lnTo>
                    <a:pt x="286" y="190"/>
                  </a:lnTo>
                  <a:lnTo>
                    <a:pt x="276" y="192"/>
                  </a:lnTo>
                  <a:lnTo>
                    <a:pt x="266" y="190"/>
                  </a:lnTo>
                  <a:lnTo>
                    <a:pt x="258" y="190"/>
                  </a:lnTo>
                  <a:lnTo>
                    <a:pt x="248" y="190"/>
                  </a:lnTo>
                  <a:lnTo>
                    <a:pt x="248" y="190"/>
                  </a:lnTo>
                  <a:lnTo>
                    <a:pt x="242" y="190"/>
                  </a:lnTo>
                  <a:lnTo>
                    <a:pt x="236" y="190"/>
                  </a:lnTo>
                  <a:lnTo>
                    <a:pt x="230" y="190"/>
                  </a:lnTo>
                  <a:lnTo>
                    <a:pt x="222" y="196"/>
                  </a:lnTo>
                  <a:lnTo>
                    <a:pt x="222" y="196"/>
                  </a:lnTo>
                  <a:lnTo>
                    <a:pt x="218" y="198"/>
                  </a:lnTo>
                  <a:lnTo>
                    <a:pt x="216" y="198"/>
                  </a:lnTo>
                  <a:lnTo>
                    <a:pt x="216" y="192"/>
                  </a:lnTo>
                  <a:lnTo>
                    <a:pt x="216" y="184"/>
                  </a:lnTo>
                  <a:lnTo>
                    <a:pt x="214" y="180"/>
                  </a:lnTo>
                  <a:lnTo>
                    <a:pt x="210" y="176"/>
                  </a:lnTo>
                  <a:lnTo>
                    <a:pt x="210" y="176"/>
                  </a:lnTo>
                  <a:lnTo>
                    <a:pt x="206" y="172"/>
                  </a:lnTo>
                  <a:lnTo>
                    <a:pt x="204" y="168"/>
                  </a:lnTo>
                  <a:lnTo>
                    <a:pt x="204" y="164"/>
                  </a:lnTo>
                  <a:lnTo>
                    <a:pt x="202" y="164"/>
                  </a:lnTo>
                  <a:lnTo>
                    <a:pt x="202" y="164"/>
                  </a:lnTo>
                  <a:lnTo>
                    <a:pt x="200" y="164"/>
                  </a:lnTo>
                  <a:lnTo>
                    <a:pt x="198" y="162"/>
                  </a:lnTo>
                  <a:lnTo>
                    <a:pt x="198" y="158"/>
                  </a:lnTo>
                  <a:lnTo>
                    <a:pt x="198" y="156"/>
                  </a:lnTo>
                  <a:lnTo>
                    <a:pt x="194" y="158"/>
                  </a:lnTo>
                  <a:lnTo>
                    <a:pt x="194" y="158"/>
                  </a:lnTo>
                  <a:lnTo>
                    <a:pt x="192" y="160"/>
                  </a:lnTo>
                  <a:lnTo>
                    <a:pt x="186" y="160"/>
                  </a:lnTo>
                  <a:lnTo>
                    <a:pt x="172" y="158"/>
                  </a:lnTo>
                  <a:lnTo>
                    <a:pt x="152" y="150"/>
                  </a:lnTo>
                  <a:lnTo>
                    <a:pt x="152" y="150"/>
                  </a:lnTo>
                  <a:lnTo>
                    <a:pt x="142" y="146"/>
                  </a:lnTo>
                  <a:lnTo>
                    <a:pt x="132" y="146"/>
                  </a:lnTo>
                  <a:lnTo>
                    <a:pt x="102" y="150"/>
                  </a:lnTo>
                  <a:lnTo>
                    <a:pt x="102" y="150"/>
                  </a:lnTo>
                  <a:lnTo>
                    <a:pt x="92" y="150"/>
                  </a:lnTo>
                  <a:lnTo>
                    <a:pt x="90" y="150"/>
                  </a:lnTo>
                  <a:lnTo>
                    <a:pt x="92" y="148"/>
                  </a:lnTo>
                  <a:lnTo>
                    <a:pt x="96" y="144"/>
                  </a:lnTo>
                  <a:lnTo>
                    <a:pt x="96" y="140"/>
                  </a:lnTo>
                  <a:lnTo>
                    <a:pt x="94" y="136"/>
                  </a:lnTo>
                  <a:lnTo>
                    <a:pt x="94" y="136"/>
                  </a:lnTo>
                  <a:lnTo>
                    <a:pt x="90" y="132"/>
                  </a:lnTo>
                  <a:lnTo>
                    <a:pt x="92" y="128"/>
                  </a:lnTo>
                  <a:lnTo>
                    <a:pt x="92" y="126"/>
                  </a:lnTo>
                  <a:lnTo>
                    <a:pt x="88" y="122"/>
                  </a:lnTo>
                  <a:lnTo>
                    <a:pt x="88" y="122"/>
                  </a:lnTo>
                  <a:lnTo>
                    <a:pt x="82" y="118"/>
                  </a:lnTo>
                  <a:lnTo>
                    <a:pt x="78" y="114"/>
                  </a:lnTo>
                  <a:lnTo>
                    <a:pt x="74" y="106"/>
                  </a:lnTo>
                  <a:lnTo>
                    <a:pt x="72" y="98"/>
                  </a:lnTo>
                  <a:lnTo>
                    <a:pt x="68" y="96"/>
                  </a:lnTo>
                  <a:lnTo>
                    <a:pt x="64" y="94"/>
                  </a:lnTo>
                  <a:lnTo>
                    <a:pt x="64" y="94"/>
                  </a:lnTo>
                  <a:lnTo>
                    <a:pt x="56" y="90"/>
                  </a:lnTo>
                  <a:lnTo>
                    <a:pt x="54" y="88"/>
                  </a:lnTo>
                  <a:lnTo>
                    <a:pt x="54" y="88"/>
                  </a:lnTo>
                  <a:lnTo>
                    <a:pt x="50" y="86"/>
                  </a:lnTo>
                  <a:lnTo>
                    <a:pt x="48" y="84"/>
                  </a:lnTo>
                  <a:lnTo>
                    <a:pt x="44" y="88"/>
                  </a:lnTo>
                  <a:lnTo>
                    <a:pt x="42" y="90"/>
                  </a:lnTo>
                  <a:lnTo>
                    <a:pt x="38" y="90"/>
                  </a:lnTo>
                  <a:lnTo>
                    <a:pt x="36" y="90"/>
                  </a:lnTo>
                  <a:lnTo>
                    <a:pt x="32" y="86"/>
                  </a:lnTo>
                  <a:lnTo>
                    <a:pt x="32" y="86"/>
                  </a:lnTo>
                  <a:lnTo>
                    <a:pt x="26" y="82"/>
                  </a:lnTo>
                  <a:lnTo>
                    <a:pt x="22" y="80"/>
                  </a:lnTo>
                  <a:lnTo>
                    <a:pt x="14" y="78"/>
                  </a:lnTo>
                  <a:lnTo>
                    <a:pt x="8" y="76"/>
                  </a:lnTo>
                  <a:lnTo>
                    <a:pt x="4" y="74"/>
                  </a:lnTo>
                  <a:lnTo>
                    <a:pt x="2" y="70"/>
                  </a:lnTo>
                  <a:lnTo>
                    <a:pt x="0" y="68"/>
                  </a:lnTo>
                  <a:lnTo>
                    <a:pt x="0" y="6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7" name="Freeform 66"/>
            <p:cNvSpPr>
              <a:spLocks/>
            </p:cNvSpPr>
            <p:nvPr/>
          </p:nvSpPr>
          <p:spPr bwMode="auto">
            <a:xfrm>
              <a:off x="7412268" y="1916906"/>
              <a:ext cx="232833" cy="235479"/>
            </a:xfrm>
            <a:custGeom>
              <a:avLst/>
              <a:gdLst/>
              <a:ahLst/>
              <a:cxnLst>
                <a:cxn ang="0">
                  <a:pos x="16" y="14"/>
                </a:cxn>
                <a:cxn ang="0">
                  <a:pos x="0" y="2"/>
                </a:cxn>
                <a:cxn ang="0">
                  <a:pos x="10" y="0"/>
                </a:cxn>
                <a:cxn ang="0">
                  <a:pos x="20" y="4"/>
                </a:cxn>
                <a:cxn ang="0">
                  <a:pos x="26" y="12"/>
                </a:cxn>
                <a:cxn ang="0">
                  <a:pos x="40" y="18"/>
                </a:cxn>
                <a:cxn ang="0">
                  <a:pos x="40" y="20"/>
                </a:cxn>
                <a:cxn ang="0">
                  <a:pos x="42" y="24"/>
                </a:cxn>
                <a:cxn ang="0">
                  <a:pos x="52" y="34"/>
                </a:cxn>
                <a:cxn ang="0">
                  <a:pos x="66" y="46"/>
                </a:cxn>
                <a:cxn ang="0">
                  <a:pos x="88" y="62"/>
                </a:cxn>
                <a:cxn ang="0">
                  <a:pos x="98" y="68"/>
                </a:cxn>
                <a:cxn ang="0">
                  <a:pos x="114" y="82"/>
                </a:cxn>
                <a:cxn ang="0">
                  <a:pos x="138" y="100"/>
                </a:cxn>
                <a:cxn ang="0">
                  <a:pos x="142" y="104"/>
                </a:cxn>
                <a:cxn ang="0">
                  <a:pos x="128" y="98"/>
                </a:cxn>
                <a:cxn ang="0">
                  <a:pos x="118" y="100"/>
                </a:cxn>
                <a:cxn ang="0">
                  <a:pos x="120" y="106"/>
                </a:cxn>
                <a:cxn ang="0">
                  <a:pos x="128" y="124"/>
                </a:cxn>
                <a:cxn ang="0">
                  <a:pos x="142" y="134"/>
                </a:cxn>
                <a:cxn ang="0">
                  <a:pos x="152" y="140"/>
                </a:cxn>
                <a:cxn ang="0">
                  <a:pos x="160" y="144"/>
                </a:cxn>
                <a:cxn ang="0">
                  <a:pos x="170" y="150"/>
                </a:cxn>
                <a:cxn ang="0">
                  <a:pos x="176" y="164"/>
                </a:cxn>
                <a:cxn ang="0">
                  <a:pos x="170" y="158"/>
                </a:cxn>
                <a:cxn ang="0">
                  <a:pos x="162" y="156"/>
                </a:cxn>
                <a:cxn ang="0">
                  <a:pos x="150" y="154"/>
                </a:cxn>
                <a:cxn ang="0">
                  <a:pos x="156" y="178"/>
                </a:cxn>
                <a:cxn ang="0">
                  <a:pos x="150" y="174"/>
                </a:cxn>
                <a:cxn ang="0">
                  <a:pos x="138" y="162"/>
                </a:cxn>
                <a:cxn ang="0">
                  <a:pos x="140" y="154"/>
                </a:cxn>
                <a:cxn ang="0">
                  <a:pos x="136" y="146"/>
                </a:cxn>
                <a:cxn ang="0">
                  <a:pos x="126" y="134"/>
                </a:cxn>
                <a:cxn ang="0">
                  <a:pos x="116" y="120"/>
                </a:cxn>
                <a:cxn ang="0">
                  <a:pos x="104" y="112"/>
                </a:cxn>
                <a:cxn ang="0">
                  <a:pos x="96" y="96"/>
                </a:cxn>
                <a:cxn ang="0">
                  <a:pos x="68" y="68"/>
                </a:cxn>
                <a:cxn ang="0">
                  <a:pos x="54" y="58"/>
                </a:cxn>
                <a:cxn ang="0">
                  <a:pos x="44" y="46"/>
                </a:cxn>
                <a:cxn ang="0">
                  <a:pos x="24" y="38"/>
                </a:cxn>
                <a:cxn ang="0">
                  <a:pos x="14" y="26"/>
                </a:cxn>
                <a:cxn ang="0">
                  <a:pos x="10" y="18"/>
                </a:cxn>
                <a:cxn ang="0">
                  <a:pos x="16" y="18"/>
                </a:cxn>
                <a:cxn ang="0">
                  <a:pos x="18" y="18"/>
                </a:cxn>
              </a:cxnLst>
              <a:rect l="0" t="0" r="r" b="b"/>
              <a:pathLst>
                <a:path w="176" h="178">
                  <a:moveTo>
                    <a:pt x="18" y="18"/>
                  </a:moveTo>
                  <a:lnTo>
                    <a:pt x="18" y="18"/>
                  </a:lnTo>
                  <a:lnTo>
                    <a:pt x="16" y="14"/>
                  </a:lnTo>
                  <a:lnTo>
                    <a:pt x="14" y="12"/>
                  </a:lnTo>
                  <a:lnTo>
                    <a:pt x="6" y="6"/>
                  </a:lnTo>
                  <a:lnTo>
                    <a:pt x="0" y="2"/>
                  </a:lnTo>
                  <a:lnTo>
                    <a:pt x="0" y="0"/>
                  </a:lnTo>
                  <a:lnTo>
                    <a:pt x="0" y="0"/>
                  </a:lnTo>
                  <a:lnTo>
                    <a:pt x="10" y="0"/>
                  </a:lnTo>
                  <a:lnTo>
                    <a:pt x="14" y="0"/>
                  </a:lnTo>
                  <a:lnTo>
                    <a:pt x="20" y="4"/>
                  </a:lnTo>
                  <a:lnTo>
                    <a:pt x="20" y="4"/>
                  </a:lnTo>
                  <a:lnTo>
                    <a:pt x="22" y="10"/>
                  </a:lnTo>
                  <a:lnTo>
                    <a:pt x="24" y="12"/>
                  </a:lnTo>
                  <a:lnTo>
                    <a:pt x="26" y="12"/>
                  </a:lnTo>
                  <a:lnTo>
                    <a:pt x="26" y="12"/>
                  </a:lnTo>
                  <a:lnTo>
                    <a:pt x="32" y="14"/>
                  </a:lnTo>
                  <a:lnTo>
                    <a:pt x="40" y="18"/>
                  </a:lnTo>
                  <a:lnTo>
                    <a:pt x="40" y="18"/>
                  </a:lnTo>
                  <a:lnTo>
                    <a:pt x="42" y="20"/>
                  </a:lnTo>
                  <a:lnTo>
                    <a:pt x="40" y="20"/>
                  </a:lnTo>
                  <a:lnTo>
                    <a:pt x="38" y="22"/>
                  </a:lnTo>
                  <a:lnTo>
                    <a:pt x="42" y="24"/>
                  </a:lnTo>
                  <a:lnTo>
                    <a:pt x="42" y="24"/>
                  </a:lnTo>
                  <a:lnTo>
                    <a:pt x="50" y="28"/>
                  </a:lnTo>
                  <a:lnTo>
                    <a:pt x="52" y="34"/>
                  </a:lnTo>
                  <a:lnTo>
                    <a:pt x="52" y="34"/>
                  </a:lnTo>
                  <a:lnTo>
                    <a:pt x="56" y="38"/>
                  </a:lnTo>
                  <a:lnTo>
                    <a:pt x="66" y="46"/>
                  </a:lnTo>
                  <a:lnTo>
                    <a:pt x="66" y="46"/>
                  </a:lnTo>
                  <a:lnTo>
                    <a:pt x="80" y="54"/>
                  </a:lnTo>
                  <a:lnTo>
                    <a:pt x="84" y="58"/>
                  </a:lnTo>
                  <a:lnTo>
                    <a:pt x="88" y="62"/>
                  </a:lnTo>
                  <a:lnTo>
                    <a:pt x="88" y="62"/>
                  </a:lnTo>
                  <a:lnTo>
                    <a:pt x="92" y="66"/>
                  </a:lnTo>
                  <a:lnTo>
                    <a:pt x="98" y="68"/>
                  </a:lnTo>
                  <a:lnTo>
                    <a:pt x="104" y="74"/>
                  </a:lnTo>
                  <a:lnTo>
                    <a:pt x="114" y="82"/>
                  </a:lnTo>
                  <a:lnTo>
                    <a:pt x="114" y="82"/>
                  </a:lnTo>
                  <a:lnTo>
                    <a:pt x="122" y="90"/>
                  </a:lnTo>
                  <a:lnTo>
                    <a:pt x="132" y="96"/>
                  </a:lnTo>
                  <a:lnTo>
                    <a:pt x="138" y="100"/>
                  </a:lnTo>
                  <a:lnTo>
                    <a:pt x="142" y="102"/>
                  </a:lnTo>
                  <a:lnTo>
                    <a:pt x="142" y="102"/>
                  </a:lnTo>
                  <a:lnTo>
                    <a:pt x="142" y="104"/>
                  </a:lnTo>
                  <a:lnTo>
                    <a:pt x="142" y="104"/>
                  </a:lnTo>
                  <a:lnTo>
                    <a:pt x="138" y="102"/>
                  </a:lnTo>
                  <a:lnTo>
                    <a:pt x="128" y="98"/>
                  </a:lnTo>
                  <a:lnTo>
                    <a:pt x="128" y="98"/>
                  </a:lnTo>
                  <a:lnTo>
                    <a:pt x="118" y="98"/>
                  </a:lnTo>
                  <a:lnTo>
                    <a:pt x="118" y="100"/>
                  </a:lnTo>
                  <a:lnTo>
                    <a:pt x="116" y="100"/>
                  </a:lnTo>
                  <a:lnTo>
                    <a:pt x="120" y="106"/>
                  </a:lnTo>
                  <a:lnTo>
                    <a:pt x="120" y="106"/>
                  </a:lnTo>
                  <a:lnTo>
                    <a:pt x="124" y="110"/>
                  </a:lnTo>
                  <a:lnTo>
                    <a:pt x="126" y="116"/>
                  </a:lnTo>
                  <a:lnTo>
                    <a:pt x="128" y="124"/>
                  </a:lnTo>
                  <a:lnTo>
                    <a:pt x="138" y="132"/>
                  </a:lnTo>
                  <a:lnTo>
                    <a:pt x="138" y="132"/>
                  </a:lnTo>
                  <a:lnTo>
                    <a:pt x="142" y="134"/>
                  </a:lnTo>
                  <a:lnTo>
                    <a:pt x="144" y="136"/>
                  </a:lnTo>
                  <a:lnTo>
                    <a:pt x="148" y="138"/>
                  </a:lnTo>
                  <a:lnTo>
                    <a:pt x="152" y="140"/>
                  </a:lnTo>
                  <a:lnTo>
                    <a:pt x="152" y="140"/>
                  </a:lnTo>
                  <a:lnTo>
                    <a:pt x="156" y="144"/>
                  </a:lnTo>
                  <a:lnTo>
                    <a:pt x="160" y="144"/>
                  </a:lnTo>
                  <a:lnTo>
                    <a:pt x="164" y="146"/>
                  </a:lnTo>
                  <a:lnTo>
                    <a:pt x="170" y="150"/>
                  </a:lnTo>
                  <a:lnTo>
                    <a:pt x="170" y="150"/>
                  </a:lnTo>
                  <a:lnTo>
                    <a:pt x="174" y="156"/>
                  </a:lnTo>
                  <a:lnTo>
                    <a:pt x="176" y="162"/>
                  </a:lnTo>
                  <a:lnTo>
                    <a:pt x="176" y="164"/>
                  </a:lnTo>
                  <a:lnTo>
                    <a:pt x="174" y="164"/>
                  </a:lnTo>
                  <a:lnTo>
                    <a:pt x="174" y="164"/>
                  </a:lnTo>
                  <a:lnTo>
                    <a:pt x="170" y="158"/>
                  </a:lnTo>
                  <a:lnTo>
                    <a:pt x="166" y="156"/>
                  </a:lnTo>
                  <a:lnTo>
                    <a:pt x="162" y="156"/>
                  </a:lnTo>
                  <a:lnTo>
                    <a:pt x="162" y="156"/>
                  </a:lnTo>
                  <a:lnTo>
                    <a:pt x="156" y="156"/>
                  </a:lnTo>
                  <a:lnTo>
                    <a:pt x="152" y="154"/>
                  </a:lnTo>
                  <a:lnTo>
                    <a:pt x="150" y="154"/>
                  </a:lnTo>
                  <a:lnTo>
                    <a:pt x="152" y="156"/>
                  </a:lnTo>
                  <a:lnTo>
                    <a:pt x="152" y="156"/>
                  </a:lnTo>
                  <a:lnTo>
                    <a:pt x="156" y="178"/>
                  </a:lnTo>
                  <a:lnTo>
                    <a:pt x="156" y="178"/>
                  </a:lnTo>
                  <a:lnTo>
                    <a:pt x="154" y="178"/>
                  </a:lnTo>
                  <a:lnTo>
                    <a:pt x="150" y="174"/>
                  </a:lnTo>
                  <a:lnTo>
                    <a:pt x="150" y="174"/>
                  </a:lnTo>
                  <a:lnTo>
                    <a:pt x="140" y="166"/>
                  </a:lnTo>
                  <a:lnTo>
                    <a:pt x="138" y="162"/>
                  </a:lnTo>
                  <a:lnTo>
                    <a:pt x="138" y="160"/>
                  </a:lnTo>
                  <a:lnTo>
                    <a:pt x="140" y="156"/>
                  </a:lnTo>
                  <a:lnTo>
                    <a:pt x="140" y="154"/>
                  </a:lnTo>
                  <a:lnTo>
                    <a:pt x="140" y="150"/>
                  </a:lnTo>
                  <a:lnTo>
                    <a:pt x="140" y="150"/>
                  </a:lnTo>
                  <a:lnTo>
                    <a:pt x="136" y="146"/>
                  </a:lnTo>
                  <a:lnTo>
                    <a:pt x="132" y="142"/>
                  </a:lnTo>
                  <a:lnTo>
                    <a:pt x="128" y="140"/>
                  </a:lnTo>
                  <a:lnTo>
                    <a:pt x="126" y="134"/>
                  </a:lnTo>
                  <a:lnTo>
                    <a:pt x="126" y="134"/>
                  </a:lnTo>
                  <a:lnTo>
                    <a:pt x="120" y="122"/>
                  </a:lnTo>
                  <a:lnTo>
                    <a:pt x="116" y="120"/>
                  </a:lnTo>
                  <a:lnTo>
                    <a:pt x="112" y="116"/>
                  </a:lnTo>
                  <a:lnTo>
                    <a:pt x="112" y="116"/>
                  </a:lnTo>
                  <a:lnTo>
                    <a:pt x="104" y="112"/>
                  </a:lnTo>
                  <a:lnTo>
                    <a:pt x="100" y="108"/>
                  </a:lnTo>
                  <a:lnTo>
                    <a:pt x="96" y="96"/>
                  </a:lnTo>
                  <a:lnTo>
                    <a:pt x="96" y="96"/>
                  </a:lnTo>
                  <a:lnTo>
                    <a:pt x="88" y="86"/>
                  </a:lnTo>
                  <a:lnTo>
                    <a:pt x="80" y="76"/>
                  </a:lnTo>
                  <a:lnTo>
                    <a:pt x="68" y="68"/>
                  </a:lnTo>
                  <a:lnTo>
                    <a:pt x="58" y="62"/>
                  </a:lnTo>
                  <a:lnTo>
                    <a:pt x="58" y="62"/>
                  </a:lnTo>
                  <a:lnTo>
                    <a:pt x="54" y="58"/>
                  </a:lnTo>
                  <a:lnTo>
                    <a:pt x="54" y="54"/>
                  </a:lnTo>
                  <a:lnTo>
                    <a:pt x="52" y="52"/>
                  </a:lnTo>
                  <a:lnTo>
                    <a:pt x="44" y="46"/>
                  </a:lnTo>
                  <a:lnTo>
                    <a:pt x="44" y="46"/>
                  </a:lnTo>
                  <a:lnTo>
                    <a:pt x="28" y="40"/>
                  </a:lnTo>
                  <a:lnTo>
                    <a:pt x="24" y="38"/>
                  </a:lnTo>
                  <a:lnTo>
                    <a:pt x="22" y="34"/>
                  </a:lnTo>
                  <a:lnTo>
                    <a:pt x="22" y="34"/>
                  </a:lnTo>
                  <a:lnTo>
                    <a:pt x="14" y="26"/>
                  </a:lnTo>
                  <a:lnTo>
                    <a:pt x="10" y="20"/>
                  </a:lnTo>
                  <a:lnTo>
                    <a:pt x="10" y="20"/>
                  </a:lnTo>
                  <a:lnTo>
                    <a:pt x="10" y="18"/>
                  </a:lnTo>
                  <a:lnTo>
                    <a:pt x="10" y="18"/>
                  </a:lnTo>
                  <a:lnTo>
                    <a:pt x="12" y="16"/>
                  </a:lnTo>
                  <a:lnTo>
                    <a:pt x="16" y="18"/>
                  </a:lnTo>
                  <a:lnTo>
                    <a:pt x="18" y="18"/>
                  </a:lnTo>
                  <a:lnTo>
                    <a:pt x="18" y="18"/>
                  </a:lnTo>
                  <a:lnTo>
                    <a:pt x="18" y="1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8" name="Freeform 67"/>
            <p:cNvSpPr>
              <a:spLocks/>
            </p:cNvSpPr>
            <p:nvPr/>
          </p:nvSpPr>
          <p:spPr bwMode="auto">
            <a:xfrm>
              <a:off x="7105351" y="2938198"/>
              <a:ext cx="71438" cy="63500"/>
            </a:xfrm>
            <a:custGeom>
              <a:avLst/>
              <a:gdLst/>
              <a:ahLst/>
              <a:cxnLst>
                <a:cxn ang="0">
                  <a:pos x="14" y="8"/>
                </a:cxn>
                <a:cxn ang="0">
                  <a:pos x="22" y="6"/>
                </a:cxn>
                <a:cxn ang="0">
                  <a:pos x="24" y="4"/>
                </a:cxn>
                <a:cxn ang="0">
                  <a:pos x="28" y="2"/>
                </a:cxn>
                <a:cxn ang="0">
                  <a:pos x="38" y="2"/>
                </a:cxn>
                <a:cxn ang="0">
                  <a:pos x="44" y="0"/>
                </a:cxn>
                <a:cxn ang="0">
                  <a:pos x="46" y="2"/>
                </a:cxn>
                <a:cxn ang="0">
                  <a:pos x="48" y="2"/>
                </a:cxn>
                <a:cxn ang="0">
                  <a:pos x="50" y="2"/>
                </a:cxn>
                <a:cxn ang="0">
                  <a:pos x="54" y="8"/>
                </a:cxn>
                <a:cxn ang="0">
                  <a:pos x="52" y="12"/>
                </a:cxn>
                <a:cxn ang="0">
                  <a:pos x="50" y="14"/>
                </a:cxn>
                <a:cxn ang="0">
                  <a:pos x="46" y="20"/>
                </a:cxn>
                <a:cxn ang="0">
                  <a:pos x="46" y="22"/>
                </a:cxn>
                <a:cxn ang="0">
                  <a:pos x="46" y="30"/>
                </a:cxn>
                <a:cxn ang="0">
                  <a:pos x="42" y="34"/>
                </a:cxn>
                <a:cxn ang="0">
                  <a:pos x="40" y="40"/>
                </a:cxn>
                <a:cxn ang="0">
                  <a:pos x="34" y="44"/>
                </a:cxn>
                <a:cxn ang="0">
                  <a:pos x="28" y="44"/>
                </a:cxn>
                <a:cxn ang="0">
                  <a:pos x="24" y="46"/>
                </a:cxn>
                <a:cxn ang="0">
                  <a:pos x="22" y="48"/>
                </a:cxn>
                <a:cxn ang="0">
                  <a:pos x="18" y="46"/>
                </a:cxn>
                <a:cxn ang="0">
                  <a:pos x="12" y="42"/>
                </a:cxn>
                <a:cxn ang="0">
                  <a:pos x="6" y="36"/>
                </a:cxn>
                <a:cxn ang="0">
                  <a:pos x="2" y="30"/>
                </a:cxn>
                <a:cxn ang="0">
                  <a:pos x="2" y="26"/>
                </a:cxn>
                <a:cxn ang="0">
                  <a:pos x="0" y="22"/>
                </a:cxn>
                <a:cxn ang="0">
                  <a:pos x="2" y="18"/>
                </a:cxn>
                <a:cxn ang="0">
                  <a:pos x="12" y="10"/>
                </a:cxn>
                <a:cxn ang="0">
                  <a:pos x="14" y="10"/>
                </a:cxn>
                <a:cxn ang="0">
                  <a:pos x="12" y="8"/>
                </a:cxn>
                <a:cxn ang="0">
                  <a:pos x="14" y="8"/>
                </a:cxn>
              </a:cxnLst>
              <a:rect l="0" t="0" r="r" b="b"/>
              <a:pathLst>
                <a:path w="54" h="48">
                  <a:moveTo>
                    <a:pt x="14" y="8"/>
                  </a:moveTo>
                  <a:lnTo>
                    <a:pt x="14" y="8"/>
                  </a:lnTo>
                  <a:lnTo>
                    <a:pt x="18" y="6"/>
                  </a:lnTo>
                  <a:lnTo>
                    <a:pt x="22" y="6"/>
                  </a:lnTo>
                  <a:lnTo>
                    <a:pt x="22" y="6"/>
                  </a:lnTo>
                  <a:lnTo>
                    <a:pt x="24" y="4"/>
                  </a:lnTo>
                  <a:lnTo>
                    <a:pt x="28" y="2"/>
                  </a:lnTo>
                  <a:lnTo>
                    <a:pt x="28" y="2"/>
                  </a:lnTo>
                  <a:lnTo>
                    <a:pt x="38" y="2"/>
                  </a:lnTo>
                  <a:lnTo>
                    <a:pt x="38" y="2"/>
                  </a:lnTo>
                  <a:lnTo>
                    <a:pt x="42" y="0"/>
                  </a:lnTo>
                  <a:lnTo>
                    <a:pt x="44" y="0"/>
                  </a:lnTo>
                  <a:lnTo>
                    <a:pt x="46" y="2"/>
                  </a:lnTo>
                  <a:lnTo>
                    <a:pt x="46" y="2"/>
                  </a:lnTo>
                  <a:lnTo>
                    <a:pt x="46" y="2"/>
                  </a:lnTo>
                  <a:lnTo>
                    <a:pt x="48" y="2"/>
                  </a:lnTo>
                  <a:lnTo>
                    <a:pt x="50" y="0"/>
                  </a:lnTo>
                  <a:lnTo>
                    <a:pt x="50" y="2"/>
                  </a:lnTo>
                  <a:lnTo>
                    <a:pt x="50" y="2"/>
                  </a:lnTo>
                  <a:lnTo>
                    <a:pt x="54" y="8"/>
                  </a:lnTo>
                  <a:lnTo>
                    <a:pt x="54" y="10"/>
                  </a:lnTo>
                  <a:lnTo>
                    <a:pt x="52" y="12"/>
                  </a:lnTo>
                  <a:lnTo>
                    <a:pt x="52" y="12"/>
                  </a:lnTo>
                  <a:lnTo>
                    <a:pt x="50" y="14"/>
                  </a:lnTo>
                  <a:lnTo>
                    <a:pt x="48" y="16"/>
                  </a:lnTo>
                  <a:lnTo>
                    <a:pt x="46" y="20"/>
                  </a:lnTo>
                  <a:lnTo>
                    <a:pt x="46" y="20"/>
                  </a:lnTo>
                  <a:lnTo>
                    <a:pt x="46" y="22"/>
                  </a:lnTo>
                  <a:lnTo>
                    <a:pt x="46" y="24"/>
                  </a:lnTo>
                  <a:lnTo>
                    <a:pt x="46" y="30"/>
                  </a:lnTo>
                  <a:lnTo>
                    <a:pt x="46" y="30"/>
                  </a:lnTo>
                  <a:lnTo>
                    <a:pt x="42" y="34"/>
                  </a:lnTo>
                  <a:lnTo>
                    <a:pt x="40" y="40"/>
                  </a:lnTo>
                  <a:lnTo>
                    <a:pt x="40" y="40"/>
                  </a:lnTo>
                  <a:lnTo>
                    <a:pt x="36" y="42"/>
                  </a:lnTo>
                  <a:lnTo>
                    <a:pt x="34" y="44"/>
                  </a:lnTo>
                  <a:lnTo>
                    <a:pt x="28" y="44"/>
                  </a:lnTo>
                  <a:lnTo>
                    <a:pt x="28" y="44"/>
                  </a:lnTo>
                  <a:lnTo>
                    <a:pt x="26" y="44"/>
                  </a:lnTo>
                  <a:lnTo>
                    <a:pt x="24" y="46"/>
                  </a:lnTo>
                  <a:lnTo>
                    <a:pt x="24" y="46"/>
                  </a:lnTo>
                  <a:lnTo>
                    <a:pt x="22" y="48"/>
                  </a:lnTo>
                  <a:lnTo>
                    <a:pt x="18" y="46"/>
                  </a:lnTo>
                  <a:lnTo>
                    <a:pt x="18" y="46"/>
                  </a:lnTo>
                  <a:lnTo>
                    <a:pt x="16" y="44"/>
                  </a:lnTo>
                  <a:lnTo>
                    <a:pt x="12" y="42"/>
                  </a:lnTo>
                  <a:lnTo>
                    <a:pt x="12" y="42"/>
                  </a:lnTo>
                  <a:lnTo>
                    <a:pt x="6" y="36"/>
                  </a:lnTo>
                  <a:lnTo>
                    <a:pt x="2" y="34"/>
                  </a:lnTo>
                  <a:lnTo>
                    <a:pt x="2" y="30"/>
                  </a:lnTo>
                  <a:lnTo>
                    <a:pt x="2" y="30"/>
                  </a:lnTo>
                  <a:lnTo>
                    <a:pt x="2" y="26"/>
                  </a:lnTo>
                  <a:lnTo>
                    <a:pt x="2" y="24"/>
                  </a:lnTo>
                  <a:lnTo>
                    <a:pt x="0" y="22"/>
                  </a:lnTo>
                  <a:lnTo>
                    <a:pt x="2" y="18"/>
                  </a:lnTo>
                  <a:lnTo>
                    <a:pt x="2" y="18"/>
                  </a:lnTo>
                  <a:lnTo>
                    <a:pt x="8" y="12"/>
                  </a:lnTo>
                  <a:lnTo>
                    <a:pt x="12" y="10"/>
                  </a:lnTo>
                  <a:lnTo>
                    <a:pt x="12" y="10"/>
                  </a:lnTo>
                  <a:lnTo>
                    <a:pt x="14" y="10"/>
                  </a:lnTo>
                  <a:lnTo>
                    <a:pt x="14" y="10"/>
                  </a:lnTo>
                  <a:lnTo>
                    <a:pt x="12" y="8"/>
                  </a:lnTo>
                  <a:lnTo>
                    <a:pt x="14" y="8"/>
                  </a:lnTo>
                  <a:lnTo>
                    <a:pt x="14" y="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9" name="Freeform 104"/>
            <p:cNvSpPr>
              <a:spLocks/>
            </p:cNvSpPr>
            <p:nvPr/>
          </p:nvSpPr>
          <p:spPr bwMode="auto">
            <a:xfrm>
              <a:off x="2395767" y="1541198"/>
              <a:ext cx="505354" cy="211667"/>
            </a:xfrm>
            <a:custGeom>
              <a:avLst/>
              <a:gdLst/>
              <a:ahLst/>
              <a:cxnLst>
                <a:cxn ang="0">
                  <a:pos x="88" y="136"/>
                </a:cxn>
                <a:cxn ang="0">
                  <a:pos x="102" y="130"/>
                </a:cxn>
                <a:cxn ang="0">
                  <a:pos x="128" y="132"/>
                </a:cxn>
                <a:cxn ang="0">
                  <a:pos x="134" y="130"/>
                </a:cxn>
                <a:cxn ang="0">
                  <a:pos x="172" y="144"/>
                </a:cxn>
                <a:cxn ang="0">
                  <a:pos x="198" y="154"/>
                </a:cxn>
                <a:cxn ang="0">
                  <a:pos x="224" y="158"/>
                </a:cxn>
                <a:cxn ang="0">
                  <a:pos x="256" y="154"/>
                </a:cxn>
                <a:cxn ang="0">
                  <a:pos x="240" y="142"/>
                </a:cxn>
                <a:cxn ang="0">
                  <a:pos x="254" y="134"/>
                </a:cxn>
                <a:cxn ang="0">
                  <a:pos x="280" y="136"/>
                </a:cxn>
                <a:cxn ang="0">
                  <a:pos x="274" y="120"/>
                </a:cxn>
                <a:cxn ang="0">
                  <a:pos x="254" y="108"/>
                </a:cxn>
                <a:cxn ang="0">
                  <a:pos x="260" y="94"/>
                </a:cxn>
                <a:cxn ang="0">
                  <a:pos x="282" y="102"/>
                </a:cxn>
                <a:cxn ang="0">
                  <a:pos x="294" y="104"/>
                </a:cxn>
                <a:cxn ang="0">
                  <a:pos x="308" y="116"/>
                </a:cxn>
                <a:cxn ang="0">
                  <a:pos x="318" y="106"/>
                </a:cxn>
                <a:cxn ang="0">
                  <a:pos x="332" y="102"/>
                </a:cxn>
                <a:cxn ang="0">
                  <a:pos x="344" y="92"/>
                </a:cxn>
                <a:cxn ang="0">
                  <a:pos x="374" y="88"/>
                </a:cxn>
                <a:cxn ang="0">
                  <a:pos x="372" y="74"/>
                </a:cxn>
                <a:cxn ang="0">
                  <a:pos x="348" y="74"/>
                </a:cxn>
                <a:cxn ang="0">
                  <a:pos x="334" y="66"/>
                </a:cxn>
                <a:cxn ang="0">
                  <a:pos x="326" y="60"/>
                </a:cxn>
                <a:cxn ang="0">
                  <a:pos x="310" y="54"/>
                </a:cxn>
                <a:cxn ang="0">
                  <a:pos x="306" y="38"/>
                </a:cxn>
                <a:cxn ang="0">
                  <a:pos x="294" y="32"/>
                </a:cxn>
                <a:cxn ang="0">
                  <a:pos x="278" y="24"/>
                </a:cxn>
                <a:cxn ang="0">
                  <a:pos x="238" y="12"/>
                </a:cxn>
                <a:cxn ang="0">
                  <a:pos x="210" y="24"/>
                </a:cxn>
                <a:cxn ang="0">
                  <a:pos x="196" y="12"/>
                </a:cxn>
                <a:cxn ang="0">
                  <a:pos x="166" y="24"/>
                </a:cxn>
                <a:cxn ang="0">
                  <a:pos x="168" y="6"/>
                </a:cxn>
                <a:cxn ang="0">
                  <a:pos x="110" y="6"/>
                </a:cxn>
                <a:cxn ang="0">
                  <a:pos x="80" y="20"/>
                </a:cxn>
                <a:cxn ang="0">
                  <a:pos x="62" y="32"/>
                </a:cxn>
                <a:cxn ang="0">
                  <a:pos x="86" y="4"/>
                </a:cxn>
                <a:cxn ang="0">
                  <a:pos x="20" y="18"/>
                </a:cxn>
                <a:cxn ang="0">
                  <a:pos x="2" y="32"/>
                </a:cxn>
                <a:cxn ang="0">
                  <a:pos x="50" y="40"/>
                </a:cxn>
                <a:cxn ang="0">
                  <a:pos x="82" y="40"/>
                </a:cxn>
                <a:cxn ang="0">
                  <a:pos x="96" y="48"/>
                </a:cxn>
                <a:cxn ang="0">
                  <a:pos x="116" y="50"/>
                </a:cxn>
                <a:cxn ang="0">
                  <a:pos x="124" y="44"/>
                </a:cxn>
                <a:cxn ang="0">
                  <a:pos x="148" y="38"/>
                </a:cxn>
                <a:cxn ang="0">
                  <a:pos x="168" y="46"/>
                </a:cxn>
                <a:cxn ang="0">
                  <a:pos x="178" y="56"/>
                </a:cxn>
                <a:cxn ang="0">
                  <a:pos x="198" y="58"/>
                </a:cxn>
                <a:cxn ang="0">
                  <a:pos x="212" y="76"/>
                </a:cxn>
                <a:cxn ang="0">
                  <a:pos x="202" y="92"/>
                </a:cxn>
                <a:cxn ang="0">
                  <a:pos x="230" y="94"/>
                </a:cxn>
                <a:cxn ang="0">
                  <a:pos x="192" y="108"/>
                </a:cxn>
                <a:cxn ang="0">
                  <a:pos x="172" y="90"/>
                </a:cxn>
                <a:cxn ang="0">
                  <a:pos x="172" y="106"/>
                </a:cxn>
                <a:cxn ang="0">
                  <a:pos x="140" y="108"/>
                </a:cxn>
                <a:cxn ang="0">
                  <a:pos x="110" y="108"/>
                </a:cxn>
                <a:cxn ang="0">
                  <a:pos x="84" y="114"/>
                </a:cxn>
              </a:cxnLst>
              <a:rect l="0" t="0" r="r" b="b"/>
              <a:pathLst>
                <a:path w="382" h="160">
                  <a:moveTo>
                    <a:pt x="78" y="124"/>
                  </a:moveTo>
                  <a:lnTo>
                    <a:pt x="78" y="124"/>
                  </a:lnTo>
                  <a:lnTo>
                    <a:pt x="78" y="128"/>
                  </a:lnTo>
                  <a:lnTo>
                    <a:pt x="78" y="128"/>
                  </a:lnTo>
                  <a:lnTo>
                    <a:pt x="80" y="130"/>
                  </a:lnTo>
                  <a:lnTo>
                    <a:pt x="80" y="132"/>
                  </a:lnTo>
                  <a:lnTo>
                    <a:pt x="80" y="132"/>
                  </a:lnTo>
                  <a:lnTo>
                    <a:pt x="78" y="134"/>
                  </a:lnTo>
                  <a:lnTo>
                    <a:pt x="80" y="134"/>
                  </a:lnTo>
                  <a:lnTo>
                    <a:pt x="88" y="136"/>
                  </a:lnTo>
                  <a:lnTo>
                    <a:pt x="88" y="136"/>
                  </a:lnTo>
                  <a:lnTo>
                    <a:pt x="94" y="136"/>
                  </a:lnTo>
                  <a:lnTo>
                    <a:pt x="98" y="136"/>
                  </a:lnTo>
                  <a:lnTo>
                    <a:pt x="96" y="134"/>
                  </a:lnTo>
                  <a:lnTo>
                    <a:pt x="96" y="134"/>
                  </a:lnTo>
                  <a:lnTo>
                    <a:pt x="96" y="132"/>
                  </a:lnTo>
                  <a:lnTo>
                    <a:pt x="100" y="132"/>
                  </a:lnTo>
                  <a:lnTo>
                    <a:pt x="102" y="132"/>
                  </a:lnTo>
                  <a:lnTo>
                    <a:pt x="102" y="132"/>
                  </a:lnTo>
                  <a:lnTo>
                    <a:pt x="102" y="132"/>
                  </a:lnTo>
                  <a:lnTo>
                    <a:pt x="100" y="130"/>
                  </a:lnTo>
                  <a:lnTo>
                    <a:pt x="102" y="130"/>
                  </a:lnTo>
                  <a:lnTo>
                    <a:pt x="106" y="132"/>
                  </a:lnTo>
                  <a:lnTo>
                    <a:pt x="110" y="132"/>
                  </a:lnTo>
                  <a:lnTo>
                    <a:pt x="110" y="130"/>
                  </a:lnTo>
                  <a:lnTo>
                    <a:pt x="110" y="130"/>
                  </a:lnTo>
                  <a:lnTo>
                    <a:pt x="110" y="130"/>
                  </a:lnTo>
                  <a:lnTo>
                    <a:pt x="108" y="128"/>
                  </a:lnTo>
                  <a:lnTo>
                    <a:pt x="110" y="128"/>
                  </a:lnTo>
                  <a:lnTo>
                    <a:pt x="118" y="132"/>
                  </a:lnTo>
                  <a:lnTo>
                    <a:pt x="126" y="134"/>
                  </a:lnTo>
                  <a:lnTo>
                    <a:pt x="128" y="134"/>
                  </a:lnTo>
                  <a:lnTo>
                    <a:pt x="128" y="132"/>
                  </a:lnTo>
                  <a:lnTo>
                    <a:pt x="128" y="132"/>
                  </a:lnTo>
                  <a:lnTo>
                    <a:pt x="122" y="124"/>
                  </a:lnTo>
                  <a:lnTo>
                    <a:pt x="120" y="122"/>
                  </a:lnTo>
                  <a:lnTo>
                    <a:pt x="122" y="122"/>
                  </a:lnTo>
                  <a:lnTo>
                    <a:pt x="122" y="122"/>
                  </a:lnTo>
                  <a:lnTo>
                    <a:pt x="128" y="128"/>
                  </a:lnTo>
                  <a:lnTo>
                    <a:pt x="132" y="128"/>
                  </a:lnTo>
                  <a:lnTo>
                    <a:pt x="136" y="128"/>
                  </a:lnTo>
                  <a:lnTo>
                    <a:pt x="136" y="128"/>
                  </a:lnTo>
                  <a:lnTo>
                    <a:pt x="138" y="128"/>
                  </a:lnTo>
                  <a:lnTo>
                    <a:pt x="134" y="130"/>
                  </a:lnTo>
                  <a:lnTo>
                    <a:pt x="132" y="134"/>
                  </a:lnTo>
                  <a:lnTo>
                    <a:pt x="132" y="134"/>
                  </a:lnTo>
                  <a:lnTo>
                    <a:pt x="136" y="136"/>
                  </a:lnTo>
                  <a:lnTo>
                    <a:pt x="136" y="136"/>
                  </a:lnTo>
                  <a:lnTo>
                    <a:pt x="148" y="138"/>
                  </a:lnTo>
                  <a:lnTo>
                    <a:pt x="154" y="140"/>
                  </a:lnTo>
                  <a:lnTo>
                    <a:pt x="158" y="142"/>
                  </a:lnTo>
                  <a:lnTo>
                    <a:pt x="158" y="142"/>
                  </a:lnTo>
                  <a:lnTo>
                    <a:pt x="166" y="146"/>
                  </a:lnTo>
                  <a:lnTo>
                    <a:pt x="168" y="146"/>
                  </a:lnTo>
                  <a:lnTo>
                    <a:pt x="172" y="144"/>
                  </a:lnTo>
                  <a:lnTo>
                    <a:pt x="172" y="144"/>
                  </a:lnTo>
                  <a:lnTo>
                    <a:pt x="172" y="144"/>
                  </a:lnTo>
                  <a:lnTo>
                    <a:pt x="172" y="146"/>
                  </a:lnTo>
                  <a:lnTo>
                    <a:pt x="174" y="150"/>
                  </a:lnTo>
                  <a:lnTo>
                    <a:pt x="178" y="152"/>
                  </a:lnTo>
                  <a:lnTo>
                    <a:pt x="178" y="152"/>
                  </a:lnTo>
                  <a:lnTo>
                    <a:pt x="184" y="152"/>
                  </a:lnTo>
                  <a:lnTo>
                    <a:pt x="190" y="154"/>
                  </a:lnTo>
                  <a:lnTo>
                    <a:pt x="196" y="156"/>
                  </a:lnTo>
                  <a:lnTo>
                    <a:pt x="198" y="154"/>
                  </a:lnTo>
                  <a:lnTo>
                    <a:pt x="198" y="154"/>
                  </a:lnTo>
                  <a:lnTo>
                    <a:pt x="200" y="148"/>
                  </a:lnTo>
                  <a:lnTo>
                    <a:pt x="200" y="148"/>
                  </a:lnTo>
                  <a:lnTo>
                    <a:pt x="202" y="150"/>
                  </a:lnTo>
                  <a:lnTo>
                    <a:pt x="204" y="152"/>
                  </a:lnTo>
                  <a:lnTo>
                    <a:pt x="204" y="152"/>
                  </a:lnTo>
                  <a:lnTo>
                    <a:pt x="210" y="150"/>
                  </a:lnTo>
                  <a:lnTo>
                    <a:pt x="212" y="150"/>
                  </a:lnTo>
                  <a:lnTo>
                    <a:pt x="212" y="152"/>
                  </a:lnTo>
                  <a:lnTo>
                    <a:pt x="212" y="152"/>
                  </a:lnTo>
                  <a:lnTo>
                    <a:pt x="218" y="154"/>
                  </a:lnTo>
                  <a:lnTo>
                    <a:pt x="224" y="158"/>
                  </a:lnTo>
                  <a:lnTo>
                    <a:pt x="234" y="160"/>
                  </a:lnTo>
                  <a:lnTo>
                    <a:pt x="240" y="158"/>
                  </a:lnTo>
                  <a:lnTo>
                    <a:pt x="240" y="158"/>
                  </a:lnTo>
                  <a:lnTo>
                    <a:pt x="244" y="158"/>
                  </a:lnTo>
                  <a:lnTo>
                    <a:pt x="248" y="158"/>
                  </a:lnTo>
                  <a:lnTo>
                    <a:pt x="252" y="160"/>
                  </a:lnTo>
                  <a:lnTo>
                    <a:pt x="258" y="160"/>
                  </a:lnTo>
                  <a:lnTo>
                    <a:pt x="258" y="160"/>
                  </a:lnTo>
                  <a:lnTo>
                    <a:pt x="258" y="158"/>
                  </a:lnTo>
                  <a:lnTo>
                    <a:pt x="258" y="156"/>
                  </a:lnTo>
                  <a:lnTo>
                    <a:pt x="256" y="154"/>
                  </a:lnTo>
                  <a:lnTo>
                    <a:pt x="256" y="152"/>
                  </a:lnTo>
                  <a:lnTo>
                    <a:pt x="256" y="152"/>
                  </a:lnTo>
                  <a:lnTo>
                    <a:pt x="258" y="152"/>
                  </a:lnTo>
                  <a:lnTo>
                    <a:pt x="260" y="150"/>
                  </a:lnTo>
                  <a:lnTo>
                    <a:pt x="252" y="148"/>
                  </a:lnTo>
                  <a:lnTo>
                    <a:pt x="252" y="148"/>
                  </a:lnTo>
                  <a:lnTo>
                    <a:pt x="248" y="148"/>
                  </a:lnTo>
                  <a:lnTo>
                    <a:pt x="246" y="146"/>
                  </a:lnTo>
                  <a:lnTo>
                    <a:pt x="246" y="142"/>
                  </a:lnTo>
                  <a:lnTo>
                    <a:pt x="240" y="142"/>
                  </a:lnTo>
                  <a:lnTo>
                    <a:pt x="240" y="142"/>
                  </a:lnTo>
                  <a:lnTo>
                    <a:pt x="238" y="140"/>
                  </a:lnTo>
                  <a:lnTo>
                    <a:pt x="238" y="138"/>
                  </a:lnTo>
                  <a:lnTo>
                    <a:pt x="234" y="136"/>
                  </a:lnTo>
                  <a:lnTo>
                    <a:pt x="226" y="132"/>
                  </a:lnTo>
                  <a:lnTo>
                    <a:pt x="226" y="132"/>
                  </a:lnTo>
                  <a:lnTo>
                    <a:pt x="244" y="136"/>
                  </a:lnTo>
                  <a:lnTo>
                    <a:pt x="248" y="136"/>
                  </a:lnTo>
                  <a:lnTo>
                    <a:pt x="252" y="134"/>
                  </a:lnTo>
                  <a:lnTo>
                    <a:pt x="252" y="134"/>
                  </a:lnTo>
                  <a:lnTo>
                    <a:pt x="252" y="134"/>
                  </a:lnTo>
                  <a:lnTo>
                    <a:pt x="254" y="134"/>
                  </a:lnTo>
                  <a:lnTo>
                    <a:pt x="258" y="136"/>
                  </a:lnTo>
                  <a:lnTo>
                    <a:pt x="262" y="140"/>
                  </a:lnTo>
                  <a:lnTo>
                    <a:pt x="264" y="140"/>
                  </a:lnTo>
                  <a:lnTo>
                    <a:pt x="264" y="138"/>
                  </a:lnTo>
                  <a:lnTo>
                    <a:pt x="264" y="138"/>
                  </a:lnTo>
                  <a:lnTo>
                    <a:pt x="268" y="138"/>
                  </a:lnTo>
                  <a:lnTo>
                    <a:pt x="270" y="138"/>
                  </a:lnTo>
                  <a:lnTo>
                    <a:pt x="274" y="140"/>
                  </a:lnTo>
                  <a:lnTo>
                    <a:pt x="276" y="138"/>
                  </a:lnTo>
                  <a:lnTo>
                    <a:pt x="276" y="138"/>
                  </a:lnTo>
                  <a:lnTo>
                    <a:pt x="280" y="136"/>
                  </a:lnTo>
                  <a:lnTo>
                    <a:pt x="276" y="134"/>
                  </a:lnTo>
                  <a:lnTo>
                    <a:pt x="276" y="134"/>
                  </a:lnTo>
                  <a:lnTo>
                    <a:pt x="276" y="132"/>
                  </a:lnTo>
                  <a:lnTo>
                    <a:pt x="278" y="130"/>
                  </a:lnTo>
                  <a:lnTo>
                    <a:pt x="278" y="128"/>
                  </a:lnTo>
                  <a:lnTo>
                    <a:pt x="276" y="126"/>
                  </a:lnTo>
                  <a:lnTo>
                    <a:pt x="276" y="126"/>
                  </a:lnTo>
                  <a:lnTo>
                    <a:pt x="274" y="124"/>
                  </a:lnTo>
                  <a:lnTo>
                    <a:pt x="276" y="122"/>
                  </a:lnTo>
                  <a:lnTo>
                    <a:pt x="278" y="122"/>
                  </a:lnTo>
                  <a:lnTo>
                    <a:pt x="274" y="120"/>
                  </a:lnTo>
                  <a:lnTo>
                    <a:pt x="274" y="120"/>
                  </a:lnTo>
                  <a:lnTo>
                    <a:pt x="268" y="118"/>
                  </a:lnTo>
                  <a:lnTo>
                    <a:pt x="266" y="114"/>
                  </a:lnTo>
                  <a:lnTo>
                    <a:pt x="264" y="112"/>
                  </a:lnTo>
                  <a:lnTo>
                    <a:pt x="260" y="112"/>
                  </a:lnTo>
                  <a:lnTo>
                    <a:pt x="260" y="112"/>
                  </a:lnTo>
                  <a:lnTo>
                    <a:pt x="254" y="112"/>
                  </a:lnTo>
                  <a:lnTo>
                    <a:pt x="252" y="112"/>
                  </a:lnTo>
                  <a:lnTo>
                    <a:pt x="252" y="110"/>
                  </a:lnTo>
                  <a:lnTo>
                    <a:pt x="254" y="108"/>
                  </a:lnTo>
                  <a:lnTo>
                    <a:pt x="254" y="108"/>
                  </a:lnTo>
                  <a:lnTo>
                    <a:pt x="254" y="108"/>
                  </a:lnTo>
                  <a:lnTo>
                    <a:pt x="254" y="106"/>
                  </a:lnTo>
                  <a:lnTo>
                    <a:pt x="254" y="104"/>
                  </a:lnTo>
                  <a:lnTo>
                    <a:pt x="252" y="100"/>
                  </a:lnTo>
                  <a:lnTo>
                    <a:pt x="256" y="102"/>
                  </a:lnTo>
                  <a:lnTo>
                    <a:pt x="256" y="102"/>
                  </a:lnTo>
                  <a:lnTo>
                    <a:pt x="260" y="102"/>
                  </a:lnTo>
                  <a:lnTo>
                    <a:pt x="262" y="102"/>
                  </a:lnTo>
                  <a:lnTo>
                    <a:pt x="262" y="100"/>
                  </a:lnTo>
                  <a:lnTo>
                    <a:pt x="262" y="98"/>
                  </a:lnTo>
                  <a:lnTo>
                    <a:pt x="260" y="94"/>
                  </a:lnTo>
                  <a:lnTo>
                    <a:pt x="260" y="94"/>
                  </a:lnTo>
                  <a:lnTo>
                    <a:pt x="260" y="94"/>
                  </a:lnTo>
                  <a:lnTo>
                    <a:pt x="260" y="94"/>
                  </a:lnTo>
                  <a:lnTo>
                    <a:pt x="266" y="98"/>
                  </a:lnTo>
                  <a:lnTo>
                    <a:pt x="270" y="98"/>
                  </a:lnTo>
                  <a:lnTo>
                    <a:pt x="270" y="98"/>
                  </a:lnTo>
                  <a:lnTo>
                    <a:pt x="278" y="96"/>
                  </a:lnTo>
                  <a:lnTo>
                    <a:pt x="280" y="98"/>
                  </a:lnTo>
                  <a:lnTo>
                    <a:pt x="282" y="100"/>
                  </a:lnTo>
                  <a:lnTo>
                    <a:pt x="282" y="100"/>
                  </a:lnTo>
                  <a:lnTo>
                    <a:pt x="282" y="102"/>
                  </a:lnTo>
                  <a:lnTo>
                    <a:pt x="284" y="102"/>
                  </a:lnTo>
                  <a:lnTo>
                    <a:pt x="286" y="102"/>
                  </a:lnTo>
                  <a:lnTo>
                    <a:pt x="288" y="102"/>
                  </a:lnTo>
                  <a:lnTo>
                    <a:pt x="288" y="102"/>
                  </a:lnTo>
                  <a:lnTo>
                    <a:pt x="288" y="102"/>
                  </a:lnTo>
                  <a:lnTo>
                    <a:pt x="290" y="102"/>
                  </a:lnTo>
                  <a:lnTo>
                    <a:pt x="296" y="96"/>
                  </a:lnTo>
                  <a:lnTo>
                    <a:pt x="296" y="96"/>
                  </a:lnTo>
                  <a:lnTo>
                    <a:pt x="296" y="96"/>
                  </a:lnTo>
                  <a:lnTo>
                    <a:pt x="296" y="100"/>
                  </a:lnTo>
                  <a:lnTo>
                    <a:pt x="294" y="104"/>
                  </a:lnTo>
                  <a:lnTo>
                    <a:pt x="296" y="106"/>
                  </a:lnTo>
                  <a:lnTo>
                    <a:pt x="298" y="106"/>
                  </a:lnTo>
                  <a:lnTo>
                    <a:pt x="298" y="106"/>
                  </a:lnTo>
                  <a:lnTo>
                    <a:pt x="300" y="108"/>
                  </a:lnTo>
                  <a:lnTo>
                    <a:pt x="302" y="110"/>
                  </a:lnTo>
                  <a:lnTo>
                    <a:pt x="302" y="110"/>
                  </a:lnTo>
                  <a:lnTo>
                    <a:pt x="304" y="110"/>
                  </a:lnTo>
                  <a:lnTo>
                    <a:pt x="304" y="110"/>
                  </a:lnTo>
                  <a:lnTo>
                    <a:pt x="306" y="110"/>
                  </a:lnTo>
                  <a:lnTo>
                    <a:pt x="306" y="114"/>
                  </a:lnTo>
                  <a:lnTo>
                    <a:pt x="308" y="116"/>
                  </a:lnTo>
                  <a:lnTo>
                    <a:pt x="312" y="118"/>
                  </a:lnTo>
                  <a:lnTo>
                    <a:pt x="312" y="118"/>
                  </a:lnTo>
                  <a:lnTo>
                    <a:pt x="316" y="116"/>
                  </a:lnTo>
                  <a:lnTo>
                    <a:pt x="316" y="114"/>
                  </a:lnTo>
                  <a:lnTo>
                    <a:pt x="314" y="108"/>
                  </a:lnTo>
                  <a:lnTo>
                    <a:pt x="314" y="108"/>
                  </a:lnTo>
                  <a:lnTo>
                    <a:pt x="312" y="108"/>
                  </a:lnTo>
                  <a:lnTo>
                    <a:pt x="314" y="108"/>
                  </a:lnTo>
                  <a:lnTo>
                    <a:pt x="316" y="108"/>
                  </a:lnTo>
                  <a:lnTo>
                    <a:pt x="320" y="108"/>
                  </a:lnTo>
                  <a:lnTo>
                    <a:pt x="318" y="106"/>
                  </a:lnTo>
                  <a:lnTo>
                    <a:pt x="318" y="106"/>
                  </a:lnTo>
                  <a:lnTo>
                    <a:pt x="318" y="104"/>
                  </a:lnTo>
                  <a:lnTo>
                    <a:pt x="320" y="106"/>
                  </a:lnTo>
                  <a:lnTo>
                    <a:pt x="324" y="106"/>
                  </a:lnTo>
                  <a:lnTo>
                    <a:pt x="324" y="106"/>
                  </a:lnTo>
                  <a:lnTo>
                    <a:pt x="322" y="102"/>
                  </a:lnTo>
                  <a:lnTo>
                    <a:pt x="322" y="102"/>
                  </a:lnTo>
                  <a:lnTo>
                    <a:pt x="322" y="100"/>
                  </a:lnTo>
                  <a:lnTo>
                    <a:pt x="322" y="98"/>
                  </a:lnTo>
                  <a:lnTo>
                    <a:pt x="328" y="100"/>
                  </a:lnTo>
                  <a:lnTo>
                    <a:pt x="332" y="102"/>
                  </a:lnTo>
                  <a:lnTo>
                    <a:pt x="334" y="102"/>
                  </a:lnTo>
                  <a:lnTo>
                    <a:pt x="334" y="100"/>
                  </a:lnTo>
                  <a:lnTo>
                    <a:pt x="334" y="100"/>
                  </a:lnTo>
                  <a:lnTo>
                    <a:pt x="334" y="98"/>
                  </a:lnTo>
                  <a:lnTo>
                    <a:pt x="336" y="96"/>
                  </a:lnTo>
                  <a:lnTo>
                    <a:pt x="340" y="96"/>
                  </a:lnTo>
                  <a:lnTo>
                    <a:pt x="344" y="96"/>
                  </a:lnTo>
                  <a:lnTo>
                    <a:pt x="346" y="96"/>
                  </a:lnTo>
                  <a:lnTo>
                    <a:pt x="344" y="94"/>
                  </a:lnTo>
                  <a:lnTo>
                    <a:pt x="344" y="94"/>
                  </a:lnTo>
                  <a:lnTo>
                    <a:pt x="344" y="92"/>
                  </a:lnTo>
                  <a:lnTo>
                    <a:pt x="346" y="90"/>
                  </a:lnTo>
                  <a:lnTo>
                    <a:pt x="352" y="92"/>
                  </a:lnTo>
                  <a:lnTo>
                    <a:pt x="356" y="92"/>
                  </a:lnTo>
                  <a:lnTo>
                    <a:pt x="358" y="92"/>
                  </a:lnTo>
                  <a:lnTo>
                    <a:pt x="358" y="90"/>
                  </a:lnTo>
                  <a:lnTo>
                    <a:pt x="358" y="90"/>
                  </a:lnTo>
                  <a:lnTo>
                    <a:pt x="358" y="88"/>
                  </a:lnTo>
                  <a:lnTo>
                    <a:pt x="360" y="88"/>
                  </a:lnTo>
                  <a:lnTo>
                    <a:pt x="366" y="88"/>
                  </a:lnTo>
                  <a:lnTo>
                    <a:pt x="372" y="90"/>
                  </a:lnTo>
                  <a:lnTo>
                    <a:pt x="374" y="88"/>
                  </a:lnTo>
                  <a:lnTo>
                    <a:pt x="374" y="88"/>
                  </a:lnTo>
                  <a:lnTo>
                    <a:pt x="374" y="88"/>
                  </a:lnTo>
                  <a:lnTo>
                    <a:pt x="372" y="84"/>
                  </a:lnTo>
                  <a:lnTo>
                    <a:pt x="374" y="84"/>
                  </a:lnTo>
                  <a:lnTo>
                    <a:pt x="378" y="82"/>
                  </a:lnTo>
                  <a:lnTo>
                    <a:pt x="382" y="82"/>
                  </a:lnTo>
                  <a:lnTo>
                    <a:pt x="380" y="82"/>
                  </a:lnTo>
                  <a:lnTo>
                    <a:pt x="380" y="82"/>
                  </a:lnTo>
                  <a:lnTo>
                    <a:pt x="374" y="78"/>
                  </a:lnTo>
                  <a:lnTo>
                    <a:pt x="372" y="76"/>
                  </a:lnTo>
                  <a:lnTo>
                    <a:pt x="372" y="74"/>
                  </a:lnTo>
                  <a:lnTo>
                    <a:pt x="368" y="76"/>
                  </a:lnTo>
                  <a:lnTo>
                    <a:pt x="368" y="76"/>
                  </a:lnTo>
                  <a:lnTo>
                    <a:pt x="358" y="80"/>
                  </a:lnTo>
                  <a:lnTo>
                    <a:pt x="358" y="80"/>
                  </a:lnTo>
                  <a:lnTo>
                    <a:pt x="358" y="78"/>
                  </a:lnTo>
                  <a:lnTo>
                    <a:pt x="358" y="78"/>
                  </a:lnTo>
                  <a:lnTo>
                    <a:pt x="356" y="74"/>
                  </a:lnTo>
                  <a:lnTo>
                    <a:pt x="354" y="74"/>
                  </a:lnTo>
                  <a:lnTo>
                    <a:pt x="352" y="74"/>
                  </a:lnTo>
                  <a:lnTo>
                    <a:pt x="352" y="74"/>
                  </a:lnTo>
                  <a:lnTo>
                    <a:pt x="348" y="74"/>
                  </a:lnTo>
                  <a:lnTo>
                    <a:pt x="348" y="72"/>
                  </a:lnTo>
                  <a:lnTo>
                    <a:pt x="346" y="70"/>
                  </a:lnTo>
                  <a:lnTo>
                    <a:pt x="344" y="72"/>
                  </a:lnTo>
                  <a:lnTo>
                    <a:pt x="344" y="72"/>
                  </a:lnTo>
                  <a:lnTo>
                    <a:pt x="340" y="72"/>
                  </a:lnTo>
                  <a:lnTo>
                    <a:pt x="338" y="70"/>
                  </a:lnTo>
                  <a:lnTo>
                    <a:pt x="338" y="68"/>
                  </a:lnTo>
                  <a:lnTo>
                    <a:pt x="336" y="68"/>
                  </a:lnTo>
                  <a:lnTo>
                    <a:pt x="336" y="68"/>
                  </a:lnTo>
                  <a:lnTo>
                    <a:pt x="334" y="68"/>
                  </a:lnTo>
                  <a:lnTo>
                    <a:pt x="334" y="66"/>
                  </a:lnTo>
                  <a:lnTo>
                    <a:pt x="334" y="64"/>
                  </a:lnTo>
                  <a:lnTo>
                    <a:pt x="328" y="64"/>
                  </a:lnTo>
                  <a:lnTo>
                    <a:pt x="328" y="64"/>
                  </a:lnTo>
                  <a:lnTo>
                    <a:pt x="322" y="66"/>
                  </a:lnTo>
                  <a:lnTo>
                    <a:pt x="320" y="64"/>
                  </a:lnTo>
                  <a:lnTo>
                    <a:pt x="318" y="64"/>
                  </a:lnTo>
                  <a:lnTo>
                    <a:pt x="312" y="64"/>
                  </a:lnTo>
                  <a:lnTo>
                    <a:pt x="312" y="64"/>
                  </a:lnTo>
                  <a:lnTo>
                    <a:pt x="318" y="62"/>
                  </a:lnTo>
                  <a:lnTo>
                    <a:pt x="322" y="62"/>
                  </a:lnTo>
                  <a:lnTo>
                    <a:pt x="326" y="60"/>
                  </a:lnTo>
                  <a:lnTo>
                    <a:pt x="326" y="58"/>
                  </a:lnTo>
                  <a:lnTo>
                    <a:pt x="326" y="58"/>
                  </a:lnTo>
                  <a:lnTo>
                    <a:pt x="326" y="58"/>
                  </a:lnTo>
                  <a:lnTo>
                    <a:pt x="320" y="56"/>
                  </a:lnTo>
                  <a:lnTo>
                    <a:pt x="312" y="56"/>
                  </a:lnTo>
                  <a:lnTo>
                    <a:pt x="304" y="58"/>
                  </a:lnTo>
                  <a:lnTo>
                    <a:pt x="298" y="58"/>
                  </a:lnTo>
                  <a:lnTo>
                    <a:pt x="298" y="58"/>
                  </a:lnTo>
                  <a:lnTo>
                    <a:pt x="298" y="56"/>
                  </a:lnTo>
                  <a:lnTo>
                    <a:pt x="300" y="56"/>
                  </a:lnTo>
                  <a:lnTo>
                    <a:pt x="310" y="54"/>
                  </a:lnTo>
                  <a:lnTo>
                    <a:pt x="320" y="52"/>
                  </a:lnTo>
                  <a:lnTo>
                    <a:pt x="322" y="50"/>
                  </a:lnTo>
                  <a:lnTo>
                    <a:pt x="322" y="48"/>
                  </a:lnTo>
                  <a:lnTo>
                    <a:pt x="322" y="48"/>
                  </a:lnTo>
                  <a:lnTo>
                    <a:pt x="320" y="46"/>
                  </a:lnTo>
                  <a:lnTo>
                    <a:pt x="320" y="44"/>
                  </a:lnTo>
                  <a:lnTo>
                    <a:pt x="318" y="42"/>
                  </a:lnTo>
                  <a:lnTo>
                    <a:pt x="316" y="40"/>
                  </a:lnTo>
                  <a:lnTo>
                    <a:pt x="316" y="40"/>
                  </a:lnTo>
                  <a:lnTo>
                    <a:pt x="310" y="38"/>
                  </a:lnTo>
                  <a:lnTo>
                    <a:pt x="306" y="38"/>
                  </a:lnTo>
                  <a:lnTo>
                    <a:pt x="296" y="42"/>
                  </a:lnTo>
                  <a:lnTo>
                    <a:pt x="296" y="42"/>
                  </a:lnTo>
                  <a:lnTo>
                    <a:pt x="288" y="46"/>
                  </a:lnTo>
                  <a:lnTo>
                    <a:pt x="294" y="42"/>
                  </a:lnTo>
                  <a:lnTo>
                    <a:pt x="294" y="42"/>
                  </a:lnTo>
                  <a:lnTo>
                    <a:pt x="304" y="36"/>
                  </a:lnTo>
                  <a:lnTo>
                    <a:pt x="306" y="34"/>
                  </a:lnTo>
                  <a:lnTo>
                    <a:pt x="306" y="34"/>
                  </a:lnTo>
                  <a:lnTo>
                    <a:pt x="306" y="34"/>
                  </a:lnTo>
                  <a:lnTo>
                    <a:pt x="298" y="32"/>
                  </a:lnTo>
                  <a:lnTo>
                    <a:pt x="294" y="32"/>
                  </a:lnTo>
                  <a:lnTo>
                    <a:pt x="290" y="34"/>
                  </a:lnTo>
                  <a:lnTo>
                    <a:pt x="290" y="34"/>
                  </a:lnTo>
                  <a:lnTo>
                    <a:pt x="288" y="34"/>
                  </a:lnTo>
                  <a:lnTo>
                    <a:pt x="286" y="34"/>
                  </a:lnTo>
                  <a:lnTo>
                    <a:pt x="286" y="30"/>
                  </a:lnTo>
                  <a:lnTo>
                    <a:pt x="286" y="26"/>
                  </a:lnTo>
                  <a:lnTo>
                    <a:pt x="286" y="24"/>
                  </a:lnTo>
                  <a:lnTo>
                    <a:pt x="284" y="26"/>
                  </a:lnTo>
                  <a:lnTo>
                    <a:pt x="284" y="26"/>
                  </a:lnTo>
                  <a:lnTo>
                    <a:pt x="280" y="26"/>
                  </a:lnTo>
                  <a:lnTo>
                    <a:pt x="278" y="24"/>
                  </a:lnTo>
                  <a:lnTo>
                    <a:pt x="274" y="22"/>
                  </a:lnTo>
                  <a:lnTo>
                    <a:pt x="264" y="22"/>
                  </a:lnTo>
                  <a:lnTo>
                    <a:pt x="264" y="22"/>
                  </a:lnTo>
                  <a:lnTo>
                    <a:pt x="260" y="22"/>
                  </a:lnTo>
                  <a:lnTo>
                    <a:pt x="256" y="22"/>
                  </a:lnTo>
                  <a:lnTo>
                    <a:pt x="252" y="20"/>
                  </a:lnTo>
                  <a:lnTo>
                    <a:pt x="248" y="20"/>
                  </a:lnTo>
                  <a:lnTo>
                    <a:pt x="248" y="20"/>
                  </a:lnTo>
                  <a:lnTo>
                    <a:pt x="244" y="18"/>
                  </a:lnTo>
                  <a:lnTo>
                    <a:pt x="242" y="14"/>
                  </a:lnTo>
                  <a:lnTo>
                    <a:pt x="238" y="12"/>
                  </a:lnTo>
                  <a:lnTo>
                    <a:pt x="230" y="10"/>
                  </a:lnTo>
                  <a:lnTo>
                    <a:pt x="230" y="10"/>
                  </a:lnTo>
                  <a:lnTo>
                    <a:pt x="212" y="12"/>
                  </a:lnTo>
                  <a:lnTo>
                    <a:pt x="208" y="12"/>
                  </a:lnTo>
                  <a:lnTo>
                    <a:pt x="208" y="14"/>
                  </a:lnTo>
                  <a:lnTo>
                    <a:pt x="212" y="18"/>
                  </a:lnTo>
                  <a:lnTo>
                    <a:pt x="212" y="18"/>
                  </a:lnTo>
                  <a:lnTo>
                    <a:pt x="216" y="20"/>
                  </a:lnTo>
                  <a:lnTo>
                    <a:pt x="212" y="20"/>
                  </a:lnTo>
                  <a:lnTo>
                    <a:pt x="210" y="22"/>
                  </a:lnTo>
                  <a:lnTo>
                    <a:pt x="210" y="24"/>
                  </a:lnTo>
                  <a:lnTo>
                    <a:pt x="214" y="26"/>
                  </a:lnTo>
                  <a:lnTo>
                    <a:pt x="214" y="26"/>
                  </a:lnTo>
                  <a:lnTo>
                    <a:pt x="212" y="26"/>
                  </a:lnTo>
                  <a:lnTo>
                    <a:pt x="206" y="20"/>
                  </a:lnTo>
                  <a:lnTo>
                    <a:pt x="202" y="20"/>
                  </a:lnTo>
                  <a:lnTo>
                    <a:pt x="202" y="20"/>
                  </a:lnTo>
                  <a:lnTo>
                    <a:pt x="202" y="20"/>
                  </a:lnTo>
                  <a:lnTo>
                    <a:pt x="200" y="20"/>
                  </a:lnTo>
                  <a:lnTo>
                    <a:pt x="200" y="20"/>
                  </a:lnTo>
                  <a:lnTo>
                    <a:pt x="198" y="14"/>
                  </a:lnTo>
                  <a:lnTo>
                    <a:pt x="196" y="12"/>
                  </a:lnTo>
                  <a:lnTo>
                    <a:pt x="194" y="12"/>
                  </a:lnTo>
                  <a:lnTo>
                    <a:pt x="190" y="14"/>
                  </a:lnTo>
                  <a:lnTo>
                    <a:pt x="190" y="14"/>
                  </a:lnTo>
                  <a:lnTo>
                    <a:pt x="186" y="18"/>
                  </a:lnTo>
                  <a:lnTo>
                    <a:pt x="184" y="16"/>
                  </a:lnTo>
                  <a:lnTo>
                    <a:pt x="182" y="14"/>
                  </a:lnTo>
                  <a:lnTo>
                    <a:pt x="178" y="16"/>
                  </a:lnTo>
                  <a:lnTo>
                    <a:pt x="178" y="16"/>
                  </a:lnTo>
                  <a:lnTo>
                    <a:pt x="174" y="22"/>
                  </a:lnTo>
                  <a:lnTo>
                    <a:pt x="168" y="24"/>
                  </a:lnTo>
                  <a:lnTo>
                    <a:pt x="166" y="24"/>
                  </a:lnTo>
                  <a:lnTo>
                    <a:pt x="166" y="22"/>
                  </a:lnTo>
                  <a:lnTo>
                    <a:pt x="166" y="22"/>
                  </a:lnTo>
                  <a:lnTo>
                    <a:pt x="172" y="14"/>
                  </a:lnTo>
                  <a:lnTo>
                    <a:pt x="172" y="12"/>
                  </a:lnTo>
                  <a:lnTo>
                    <a:pt x="168" y="12"/>
                  </a:lnTo>
                  <a:lnTo>
                    <a:pt x="168" y="12"/>
                  </a:lnTo>
                  <a:lnTo>
                    <a:pt x="166" y="12"/>
                  </a:lnTo>
                  <a:lnTo>
                    <a:pt x="166" y="10"/>
                  </a:lnTo>
                  <a:lnTo>
                    <a:pt x="168" y="8"/>
                  </a:lnTo>
                  <a:lnTo>
                    <a:pt x="168" y="6"/>
                  </a:lnTo>
                  <a:lnTo>
                    <a:pt x="168" y="6"/>
                  </a:lnTo>
                  <a:lnTo>
                    <a:pt x="166" y="4"/>
                  </a:lnTo>
                  <a:lnTo>
                    <a:pt x="164" y="2"/>
                  </a:lnTo>
                  <a:lnTo>
                    <a:pt x="164" y="0"/>
                  </a:lnTo>
                  <a:lnTo>
                    <a:pt x="162" y="0"/>
                  </a:lnTo>
                  <a:lnTo>
                    <a:pt x="162" y="0"/>
                  </a:lnTo>
                  <a:lnTo>
                    <a:pt x="148" y="0"/>
                  </a:lnTo>
                  <a:lnTo>
                    <a:pt x="138" y="2"/>
                  </a:lnTo>
                  <a:lnTo>
                    <a:pt x="130" y="2"/>
                  </a:lnTo>
                  <a:lnTo>
                    <a:pt x="130" y="2"/>
                  </a:lnTo>
                  <a:lnTo>
                    <a:pt x="118" y="4"/>
                  </a:lnTo>
                  <a:lnTo>
                    <a:pt x="110" y="6"/>
                  </a:lnTo>
                  <a:lnTo>
                    <a:pt x="110" y="6"/>
                  </a:lnTo>
                  <a:lnTo>
                    <a:pt x="104" y="8"/>
                  </a:lnTo>
                  <a:lnTo>
                    <a:pt x="96" y="10"/>
                  </a:lnTo>
                  <a:lnTo>
                    <a:pt x="92" y="10"/>
                  </a:lnTo>
                  <a:lnTo>
                    <a:pt x="96" y="12"/>
                  </a:lnTo>
                  <a:lnTo>
                    <a:pt x="96" y="12"/>
                  </a:lnTo>
                  <a:lnTo>
                    <a:pt x="94" y="12"/>
                  </a:lnTo>
                  <a:lnTo>
                    <a:pt x="86" y="14"/>
                  </a:lnTo>
                  <a:lnTo>
                    <a:pt x="82" y="16"/>
                  </a:lnTo>
                  <a:lnTo>
                    <a:pt x="80" y="18"/>
                  </a:lnTo>
                  <a:lnTo>
                    <a:pt x="80" y="20"/>
                  </a:lnTo>
                  <a:lnTo>
                    <a:pt x="86" y="22"/>
                  </a:lnTo>
                  <a:lnTo>
                    <a:pt x="86" y="22"/>
                  </a:lnTo>
                  <a:lnTo>
                    <a:pt x="88" y="24"/>
                  </a:lnTo>
                  <a:lnTo>
                    <a:pt x="88" y="24"/>
                  </a:lnTo>
                  <a:lnTo>
                    <a:pt x="78" y="24"/>
                  </a:lnTo>
                  <a:lnTo>
                    <a:pt x="74" y="26"/>
                  </a:lnTo>
                  <a:lnTo>
                    <a:pt x="68" y="28"/>
                  </a:lnTo>
                  <a:lnTo>
                    <a:pt x="66" y="30"/>
                  </a:lnTo>
                  <a:lnTo>
                    <a:pt x="66" y="34"/>
                  </a:lnTo>
                  <a:lnTo>
                    <a:pt x="66" y="34"/>
                  </a:lnTo>
                  <a:lnTo>
                    <a:pt x="62" y="32"/>
                  </a:lnTo>
                  <a:lnTo>
                    <a:pt x="62" y="28"/>
                  </a:lnTo>
                  <a:lnTo>
                    <a:pt x="62" y="24"/>
                  </a:lnTo>
                  <a:lnTo>
                    <a:pt x="68" y="20"/>
                  </a:lnTo>
                  <a:lnTo>
                    <a:pt x="68" y="20"/>
                  </a:lnTo>
                  <a:lnTo>
                    <a:pt x="72" y="18"/>
                  </a:lnTo>
                  <a:lnTo>
                    <a:pt x="74" y="16"/>
                  </a:lnTo>
                  <a:lnTo>
                    <a:pt x="76" y="12"/>
                  </a:lnTo>
                  <a:lnTo>
                    <a:pt x="80" y="10"/>
                  </a:lnTo>
                  <a:lnTo>
                    <a:pt x="80" y="10"/>
                  </a:lnTo>
                  <a:lnTo>
                    <a:pt x="84" y="8"/>
                  </a:lnTo>
                  <a:lnTo>
                    <a:pt x="86" y="4"/>
                  </a:lnTo>
                  <a:lnTo>
                    <a:pt x="84" y="2"/>
                  </a:lnTo>
                  <a:lnTo>
                    <a:pt x="76" y="2"/>
                  </a:lnTo>
                  <a:lnTo>
                    <a:pt x="76" y="2"/>
                  </a:lnTo>
                  <a:lnTo>
                    <a:pt x="58" y="2"/>
                  </a:lnTo>
                  <a:lnTo>
                    <a:pt x="44" y="4"/>
                  </a:lnTo>
                  <a:lnTo>
                    <a:pt x="44" y="4"/>
                  </a:lnTo>
                  <a:lnTo>
                    <a:pt x="38" y="6"/>
                  </a:lnTo>
                  <a:lnTo>
                    <a:pt x="30" y="10"/>
                  </a:lnTo>
                  <a:lnTo>
                    <a:pt x="30" y="10"/>
                  </a:lnTo>
                  <a:lnTo>
                    <a:pt x="24" y="16"/>
                  </a:lnTo>
                  <a:lnTo>
                    <a:pt x="20" y="18"/>
                  </a:lnTo>
                  <a:lnTo>
                    <a:pt x="12" y="22"/>
                  </a:lnTo>
                  <a:lnTo>
                    <a:pt x="12" y="22"/>
                  </a:lnTo>
                  <a:lnTo>
                    <a:pt x="8" y="22"/>
                  </a:lnTo>
                  <a:lnTo>
                    <a:pt x="6" y="24"/>
                  </a:lnTo>
                  <a:lnTo>
                    <a:pt x="6" y="26"/>
                  </a:lnTo>
                  <a:lnTo>
                    <a:pt x="8" y="28"/>
                  </a:lnTo>
                  <a:lnTo>
                    <a:pt x="10" y="30"/>
                  </a:lnTo>
                  <a:lnTo>
                    <a:pt x="10" y="30"/>
                  </a:lnTo>
                  <a:lnTo>
                    <a:pt x="8" y="32"/>
                  </a:lnTo>
                  <a:lnTo>
                    <a:pt x="8" y="32"/>
                  </a:lnTo>
                  <a:lnTo>
                    <a:pt x="2" y="32"/>
                  </a:lnTo>
                  <a:lnTo>
                    <a:pt x="0" y="34"/>
                  </a:lnTo>
                  <a:lnTo>
                    <a:pt x="2" y="38"/>
                  </a:lnTo>
                  <a:lnTo>
                    <a:pt x="4" y="40"/>
                  </a:lnTo>
                  <a:lnTo>
                    <a:pt x="14" y="44"/>
                  </a:lnTo>
                  <a:lnTo>
                    <a:pt x="20" y="46"/>
                  </a:lnTo>
                  <a:lnTo>
                    <a:pt x="26" y="46"/>
                  </a:lnTo>
                  <a:lnTo>
                    <a:pt x="26" y="46"/>
                  </a:lnTo>
                  <a:lnTo>
                    <a:pt x="38" y="44"/>
                  </a:lnTo>
                  <a:lnTo>
                    <a:pt x="44" y="42"/>
                  </a:lnTo>
                  <a:lnTo>
                    <a:pt x="44" y="42"/>
                  </a:lnTo>
                  <a:lnTo>
                    <a:pt x="50" y="40"/>
                  </a:lnTo>
                  <a:lnTo>
                    <a:pt x="52" y="42"/>
                  </a:lnTo>
                  <a:lnTo>
                    <a:pt x="54" y="42"/>
                  </a:lnTo>
                  <a:lnTo>
                    <a:pt x="58" y="44"/>
                  </a:lnTo>
                  <a:lnTo>
                    <a:pt x="58" y="44"/>
                  </a:lnTo>
                  <a:lnTo>
                    <a:pt x="66" y="44"/>
                  </a:lnTo>
                  <a:lnTo>
                    <a:pt x="70" y="46"/>
                  </a:lnTo>
                  <a:lnTo>
                    <a:pt x="74" y="44"/>
                  </a:lnTo>
                  <a:lnTo>
                    <a:pt x="74" y="44"/>
                  </a:lnTo>
                  <a:lnTo>
                    <a:pt x="78" y="40"/>
                  </a:lnTo>
                  <a:lnTo>
                    <a:pt x="82" y="40"/>
                  </a:lnTo>
                  <a:lnTo>
                    <a:pt x="82" y="40"/>
                  </a:lnTo>
                  <a:lnTo>
                    <a:pt x="78" y="44"/>
                  </a:lnTo>
                  <a:lnTo>
                    <a:pt x="78" y="44"/>
                  </a:lnTo>
                  <a:lnTo>
                    <a:pt x="82" y="46"/>
                  </a:lnTo>
                  <a:lnTo>
                    <a:pt x="82" y="46"/>
                  </a:lnTo>
                  <a:lnTo>
                    <a:pt x="86" y="46"/>
                  </a:lnTo>
                  <a:lnTo>
                    <a:pt x="86" y="46"/>
                  </a:lnTo>
                  <a:lnTo>
                    <a:pt x="88" y="46"/>
                  </a:lnTo>
                  <a:lnTo>
                    <a:pt x="90" y="46"/>
                  </a:lnTo>
                  <a:lnTo>
                    <a:pt x="90" y="46"/>
                  </a:lnTo>
                  <a:lnTo>
                    <a:pt x="94" y="46"/>
                  </a:lnTo>
                  <a:lnTo>
                    <a:pt x="96" y="48"/>
                  </a:lnTo>
                  <a:lnTo>
                    <a:pt x="100" y="50"/>
                  </a:lnTo>
                  <a:lnTo>
                    <a:pt x="102" y="50"/>
                  </a:lnTo>
                  <a:lnTo>
                    <a:pt x="102" y="50"/>
                  </a:lnTo>
                  <a:lnTo>
                    <a:pt x="104" y="48"/>
                  </a:lnTo>
                  <a:lnTo>
                    <a:pt x="104" y="44"/>
                  </a:lnTo>
                  <a:lnTo>
                    <a:pt x="104" y="42"/>
                  </a:lnTo>
                  <a:lnTo>
                    <a:pt x="106" y="44"/>
                  </a:lnTo>
                  <a:lnTo>
                    <a:pt x="106" y="44"/>
                  </a:lnTo>
                  <a:lnTo>
                    <a:pt x="110" y="46"/>
                  </a:lnTo>
                  <a:lnTo>
                    <a:pt x="112" y="50"/>
                  </a:lnTo>
                  <a:lnTo>
                    <a:pt x="116" y="50"/>
                  </a:lnTo>
                  <a:lnTo>
                    <a:pt x="120" y="50"/>
                  </a:lnTo>
                  <a:lnTo>
                    <a:pt x="120" y="50"/>
                  </a:lnTo>
                  <a:lnTo>
                    <a:pt x="122" y="50"/>
                  </a:lnTo>
                  <a:lnTo>
                    <a:pt x="122" y="48"/>
                  </a:lnTo>
                  <a:lnTo>
                    <a:pt x="118" y="46"/>
                  </a:lnTo>
                  <a:lnTo>
                    <a:pt x="114" y="44"/>
                  </a:lnTo>
                  <a:lnTo>
                    <a:pt x="114" y="42"/>
                  </a:lnTo>
                  <a:lnTo>
                    <a:pt x="114" y="42"/>
                  </a:lnTo>
                  <a:lnTo>
                    <a:pt x="114" y="42"/>
                  </a:lnTo>
                  <a:lnTo>
                    <a:pt x="120" y="42"/>
                  </a:lnTo>
                  <a:lnTo>
                    <a:pt x="124" y="44"/>
                  </a:lnTo>
                  <a:lnTo>
                    <a:pt x="128" y="46"/>
                  </a:lnTo>
                  <a:lnTo>
                    <a:pt x="132" y="46"/>
                  </a:lnTo>
                  <a:lnTo>
                    <a:pt x="132" y="46"/>
                  </a:lnTo>
                  <a:lnTo>
                    <a:pt x="136" y="44"/>
                  </a:lnTo>
                  <a:lnTo>
                    <a:pt x="138" y="40"/>
                  </a:lnTo>
                  <a:lnTo>
                    <a:pt x="138" y="38"/>
                  </a:lnTo>
                  <a:lnTo>
                    <a:pt x="132" y="34"/>
                  </a:lnTo>
                  <a:lnTo>
                    <a:pt x="132" y="34"/>
                  </a:lnTo>
                  <a:lnTo>
                    <a:pt x="144" y="40"/>
                  </a:lnTo>
                  <a:lnTo>
                    <a:pt x="146" y="40"/>
                  </a:lnTo>
                  <a:lnTo>
                    <a:pt x="148" y="38"/>
                  </a:lnTo>
                  <a:lnTo>
                    <a:pt x="148" y="38"/>
                  </a:lnTo>
                  <a:lnTo>
                    <a:pt x="148" y="36"/>
                  </a:lnTo>
                  <a:lnTo>
                    <a:pt x="148" y="38"/>
                  </a:lnTo>
                  <a:lnTo>
                    <a:pt x="150" y="40"/>
                  </a:lnTo>
                  <a:lnTo>
                    <a:pt x="154" y="40"/>
                  </a:lnTo>
                  <a:lnTo>
                    <a:pt x="154" y="40"/>
                  </a:lnTo>
                  <a:lnTo>
                    <a:pt x="160" y="42"/>
                  </a:lnTo>
                  <a:lnTo>
                    <a:pt x="162" y="44"/>
                  </a:lnTo>
                  <a:lnTo>
                    <a:pt x="164" y="46"/>
                  </a:lnTo>
                  <a:lnTo>
                    <a:pt x="168" y="46"/>
                  </a:lnTo>
                  <a:lnTo>
                    <a:pt x="168" y="46"/>
                  </a:lnTo>
                  <a:lnTo>
                    <a:pt x="172" y="46"/>
                  </a:lnTo>
                  <a:lnTo>
                    <a:pt x="172" y="48"/>
                  </a:lnTo>
                  <a:lnTo>
                    <a:pt x="172" y="50"/>
                  </a:lnTo>
                  <a:lnTo>
                    <a:pt x="176" y="50"/>
                  </a:lnTo>
                  <a:lnTo>
                    <a:pt x="176" y="50"/>
                  </a:lnTo>
                  <a:lnTo>
                    <a:pt x="180" y="50"/>
                  </a:lnTo>
                  <a:lnTo>
                    <a:pt x="184" y="52"/>
                  </a:lnTo>
                  <a:lnTo>
                    <a:pt x="186" y="54"/>
                  </a:lnTo>
                  <a:lnTo>
                    <a:pt x="182" y="54"/>
                  </a:lnTo>
                  <a:lnTo>
                    <a:pt x="182" y="54"/>
                  </a:lnTo>
                  <a:lnTo>
                    <a:pt x="178" y="56"/>
                  </a:lnTo>
                  <a:lnTo>
                    <a:pt x="174" y="58"/>
                  </a:lnTo>
                  <a:lnTo>
                    <a:pt x="174" y="60"/>
                  </a:lnTo>
                  <a:lnTo>
                    <a:pt x="178" y="62"/>
                  </a:lnTo>
                  <a:lnTo>
                    <a:pt x="178" y="62"/>
                  </a:lnTo>
                  <a:lnTo>
                    <a:pt x="184" y="62"/>
                  </a:lnTo>
                  <a:lnTo>
                    <a:pt x="184" y="60"/>
                  </a:lnTo>
                  <a:lnTo>
                    <a:pt x="186" y="58"/>
                  </a:lnTo>
                  <a:lnTo>
                    <a:pt x="188" y="56"/>
                  </a:lnTo>
                  <a:lnTo>
                    <a:pt x="188" y="56"/>
                  </a:lnTo>
                  <a:lnTo>
                    <a:pt x="196" y="58"/>
                  </a:lnTo>
                  <a:lnTo>
                    <a:pt x="198" y="58"/>
                  </a:lnTo>
                  <a:lnTo>
                    <a:pt x="200" y="60"/>
                  </a:lnTo>
                  <a:lnTo>
                    <a:pt x="200" y="60"/>
                  </a:lnTo>
                  <a:lnTo>
                    <a:pt x="204" y="60"/>
                  </a:lnTo>
                  <a:lnTo>
                    <a:pt x="206" y="62"/>
                  </a:lnTo>
                  <a:lnTo>
                    <a:pt x="210" y="62"/>
                  </a:lnTo>
                  <a:lnTo>
                    <a:pt x="210" y="64"/>
                  </a:lnTo>
                  <a:lnTo>
                    <a:pt x="210" y="64"/>
                  </a:lnTo>
                  <a:lnTo>
                    <a:pt x="212" y="68"/>
                  </a:lnTo>
                  <a:lnTo>
                    <a:pt x="214" y="72"/>
                  </a:lnTo>
                  <a:lnTo>
                    <a:pt x="214" y="74"/>
                  </a:lnTo>
                  <a:lnTo>
                    <a:pt x="212" y="76"/>
                  </a:lnTo>
                  <a:lnTo>
                    <a:pt x="212" y="76"/>
                  </a:lnTo>
                  <a:lnTo>
                    <a:pt x="202" y="78"/>
                  </a:lnTo>
                  <a:lnTo>
                    <a:pt x="194" y="82"/>
                  </a:lnTo>
                  <a:lnTo>
                    <a:pt x="194" y="82"/>
                  </a:lnTo>
                  <a:lnTo>
                    <a:pt x="182" y="86"/>
                  </a:lnTo>
                  <a:lnTo>
                    <a:pt x="178" y="88"/>
                  </a:lnTo>
                  <a:lnTo>
                    <a:pt x="182" y="88"/>
                  </a:lnTo>
                  <a:lnTo>
                    <a:pt x="182" y="88"/>
                  </a:lnTo>
                  <a:lnTo>
                    <a:pt x="192" y="92"/>
                  </a:lnTo>
                  <a:lnTo>
                    <a:pt x="198" y="94"/>
                  </a:lnTo>
                  <a:lnTo>
                    <a:pt x="202" y="92"/>
                  </a:lnTo>
                  <a:lnTo>
                    <a:pt x="202" y="92"/>
                  </a:lnTo>
                  <a:lnTo>
                    <a:pt x="212" y="86"/>
                  </a:lnTo>
                  <a:lnTo>
                    <a:pt x="214" y="84"/>
                  </a:lnTo>
                  <a:lnTo>
                    <a:pt x="216" y="86"/>
                  </a:lnTo>
                  <a:lnTo>
                    <a:pt x="216" y="86"/>
                  </a:lnTo>
                  <a:lnTo>
                    <a:pt x="216" y="90"/>
                  </a:lnTo>
                  <a:lnTo>
                    <a:pt x="216" y="92"/>
                  </a:lnTo>
                  <a:lnTo>
                    <a:pt x="220" y="94"/>
                  </a:lnTo>
                  <a:lnTo>
                    <a:pt x="226" y="94"/>
                  </a:lnTo>
                  <a:lnTo>
                    <a:pt x="226" y="94"/>
                  </a:lnTo>
                  <a:lnTo>
                    <a:pt x="230" y="94"/>
                  </a:lnTo>
                  <a:lnTo>
                    <a:pt x="230" y="96"/>
                  </a:lnTo>
                  <a:lnTo>
                    <a:pt x="220" y="98"/>
                  </a:lnTo>
                  <a:lnTo>
                    <a:pt x="220" y="98"/>
                  </a:lnTo>
                  <a:lnTo>
                    <a:pt x="214" y="100"/>
                  </a:lnTo>
                  <a:lnTo>
                    <a:pt x="212" y="100"/>
                  </a:lnTo>
                  <a:lnTo>
                    <a:pt x="208" y="100"/>
                  </a:lnTo>
                  <a:lnTo>
                    <a:pt x="202" y="104"/>
                  </a:lnTo>
                  <a:lnTo>
                    <a:pt x="202" y="104"/>
                  </a:lnTo>
                  <a:lnTo>
                    <a:pt x="194" y="110"/>
                  </a:lnTo>
                  <a:lnTo>
                    <a:pt x="192" y="110"/>
                  </a:lnTo>
                  <a:lnTo>
                    <a:pt x="192" y="108"/>
                  </a:lnTo>
                  <a:lnTo>
                    <a:pt x="192" y="108"/>
                  </a:lnTo>
                  <a:lnTo>
                    <a:pt x="192" y="104"/>
                  </a:lnTo>
                  <a:lnTo>
                    <a:pt x="196" y="100"/>
                  </a:lnTo>
                  <a:lnTo>
                    <a:pt x="196" y="100"/>
                  </a:lnTo>
                  <a:lnTo>
                    <a:pt x="198" y="98"/>
                  </a:lnTo>
                  <a:lnTo>
                    <a:pt x="198" y="96"/>
                  </a:lnTo>
                  <a:lnTo>
                    <a:pt x="192" y="94"/>
                  </a:lnTo>
                  <a:lnTo>
                    <a:pt x="192" y="94"/>
                  </a:lnTo>
                  <a:lnTo>
                    <a:pt x="182" y="92"/>
                  </a:lnTo>
                  <a:lnTo>
                    <a:pt x="176" y="90"/>
                  </a:lnTo>
                  <a:lnTo>
                    <a:pt x="172" y="90"/>
                  </a:lnTo>
                  <a:lnTo>
                    <a:pt x="172" y="90"/>
                  </a:lnTo>
                  <a:lnTo>
                    <a:pt x="164" y="92"/>
                  </a:lnTo>
                  <a:lnTo>
                    <a:pt x="160" y="94"/>
                  </a:lnTo>
                  <a:lnTo>
                    <a:pt x="158" y="96"/>
                  </a:lnTo>
                  <a:lnTo>
                    <a:pt x="158" y="96"/>
                  </a:lnTo>
                  <a:lnTo>
                    <a:pt x="158" y="98"/>
                  </a:lnTo>
                  <a:lnTo>
                    <a:pt x="160" y="98"/>
                  </a:lnTo>
                  <a:lnTo>
                    <a:pt x="164" y="100"/>
                  </a:lnTo>
                  <a:lnTo>
                    <a:pt x="170" y="104"/>
                  </a:lnTo>
                  <a:lnTo>
                    <a:pt x="172" y="106"/>
                  </a:lnTo>
                  <a:lnTo>
                    <a:pt x="172" y="106"/>
                  </a:lnTo>
                  <a:lnTo>
                    <a:pt x="158" y="102"/>
                  </a:lnTo>
                  <a:lnTo>
                    <a:pt x="154" y="102"/>
                  </a:lnTo>
                  <a:lnTo>
                    <a:pt x="154" y="104"/>
                  </a:lnTo>
                  <a:lnTo>
                    <a:pt x="154" y="104"/>
                  </a:lnTo>
                  <a:lnTo>
                    <a:pt x="154" y="104"/>
                  </a:lnTo>
                  <a:lnTo>
                    <a:pt x="154" y="106"/>
                  </a:lnTo>
                  <a:lnTo>
                    <a:pt x="152" y="106"/>
                  </a:lnTo>
                  <a:lnTo>
                    <a:pt x="146" y="106"/>
                  </a:lnTo>
                  <a:lnTo>
                    <a:pt x="140" y="106"/>
                  </a:lnTo>
                  <a:lnTo>
                    <a:pt x="140" y="106"/>
                  </a:lnTo>
                  <a:lnTo>
                    <a:pt x="140" y="108"/>
                  </a:lnTo>
                  <a:lnTo>
                    <a:pt x="140" y="108"/>
                  </a:lnTo>
                  <a:lnTo>
                    <a:pt x="142" y="108"/>
                  </a:lnTo>
                  <a:lnTo>
                    <a:pt x="140" y="108"/>
                  </a:lnTo>
                  <a:lnTo>
                    <a:pt x="132" y="108"/>
                  </a:lnTo>
                  <a:lnTo>
                    <a:pt x="124" y="108"/>
                  </a:lnTo>
                  <a:lnTo>
                    <a:pt x="122" y="108"/>
                  </a:lnTo>
                  <a:lnTo>
                    <a:pt x="124" y="108"/>
                  </a:lnTo>
                  <a:lnTo>
                    <a:pt x="124" y="108"/>
                  </a:lnTo>
                  <a:lnTo>
                    <a:pt x="124" y="110"/>
                  </a:lnTo>
                  <a:lnTo>
                    <a:pt x="122" y="110"/>
                  </a:lnTo>
                  <a:lnTo>
                    <a:pt x="110" y="108"/>
                  </a:lnTo>
                  <a:lnTo>
                    <a:pt x="98" y="106"/>
                  </a:lnTo>
                  <a:lnTo>
                    <a:pt x="96" y="108"/>
                  </a:lnTo>
                  <a:lnTo>
                    <a:pt x="98" y="110"/>
                  </a:lnTo>
                  <a:lnTo>
                    <a:pt x="98" y="110"/>
                  </a:lnTo>
                  <a:lnTo>
                    <a:pt x="102" y="112"/>
                  </a:lnTo>
                  <a:lnTo>
                    <a:pt x="100" y="112"/>
                  </a:lnTo>
                  <a:lnTo>
                    <a:pt x="92" y="112"/>
                  </a:lnTo>
                  <a:lnTo>
                    <a:pt x="82" y="112"/>
                  </a:lnTo>
                  <a:lnTo>
                    <a:pt x="80" y="112"/>
                  </a:lnTo>
                  <a:lnTo>
                    <a:pt x="84" y="114"/>
                  </a:lnTo>
                  <a:lnTo>
                    <a:pt x="84" y="114"/>
                  </a:lnTo>
                  <a:lnTo>
                    <a:pt x="88" y="116"/>
                  </a:lnTo>
                  <a:lnTo>
                    <a:pt x="86" y="116"/>
                  </a:lnTo>
                  <a:lnTo>
                    <a:pt x="82" y="118"/>
                  </a:lnTo>
                  <a:lnTo>
                    <a:pt x="80" y="120"/>
                  </a:lnTo>
                  <a:lnTo>
                    <a:pt x="78" y="124"/>
                  </a:lnTo>
                  <a:lnTo>
                    <a:pt x="78" y="124"/>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0" name="Freeform 105"/>
            <p:cNvSpPr>
              <a:spLocks/>
            </p:cNvSpPr>
            <p:nvPr/>
          </p:nvSpPr>
          <p:spPr bwMode="auto">
            <a:xfrm>
              <a:off x="1834851" y="1546490"/>
              <a:ext cx="317500" cy="76729"/>
            </a:xfrm>
            <a:custGeom>
              <a:avLst/>
              <a:gdLst/>
              <a:ahLst/>
              <a:cxnLst>
                <a:cxn ang="0">
                  <a:pos x="2" y="46"/>
                </a:cxn>
                <a:cxn ang="0">
                  <a:pos x="24" y="48"/>
                </a:cxn>
                <a:cxn ang="0">
                  <a:pos x="24" y="54"/>
                </a:cxn>
                <a:cxn ang="0">
                  <a:pos x="32" y="58"/>
                </a:cxn>
                <a:cxn ang="0">
                  <a:pos x="66" y="56"/>
                </a:cxn>
                <a:cxn ang="0">
                  <a:pos x="84" y="56"/>
                </a:cxn>
                <a:cxn ang="0">
                  <a:pos x="102" y="52"/>
                </a:cxn>
                <a:cxn ang="0">
                  <a:pos x="112" y="50"/>
                </a:cxn>
                <a:cxn ang="0">
                  <a:pos x="136" y="46"/>
                </a:cxn>
                <a:cxn ang="0">
                  <a:pos x="140" y="38"/>
                </a:cxn>
                <a:cxn ang="0">
                  <a:pos x="146" y="46"/>
                </a:cxn>
                <a:cxn ang="0">
                  <a:pos x="160" y="48"/>
                </a:cxn>
                <a:cxn ang="0">
                  <a:pos x="180" y="52"/>
                </a:cxn>
                <a:cxn ang="0">
                  <a:pos x="196" y="58"/>
                </a:cxn>
                <a:cxn ang="0">
                  <a:pos x="214" y="56"/>
                </a:cxn>
                <a:cxn ang="0">
                  <a:pos x="218" y="52"/>
                </a:cxn>
                <a:cxn ang="0">
                  <a:pos x="196" y="46"/>
                </a:cxn>
                <a:cxn ang="0">
                  <a:pos x="214" y="44"/>
                </a:cxn>
                <a:cxn ang="0">
                  <a:pos x="214" y="38"/>
                </a:cxn>
                <a:cxn ang="0">
                  <a:pos x="232" y="40"/>
                </a:cxn>
                <a:cxn ang="0">
                  <a:pos x="236" y="32"/>
                </a:cxn>
                <a:cxn ang="0">
                  <a:pos x="218" y="24"/>
                </a:cxn>
                <a:cxn ang="0">
                  <a:pos x="218" y="14"/>
                </a:cxn>
                <a:cxn ang="0">
                  <a:pos x="216" y="10"/>
                </a:cxn>
                <a:cxn ang="0">
                  <a:pos x="202" y="0"/>
                </a:cxn>
                <a:cxn ang="0">
                  <a:pos x="196" y="0"/>
                </a:cxn>
                <a:cxn ang="0">
                  <a:pos x="192" y="6"/>
                </a:cxn>
                <a:cxn ang="0">
                  <a:pos x="190" y="10"/>
                </a:cxn>
                <a:cxn ang="0">
                  <a:pos x="188" y="14"/>
                </a:cxn>
                <a:cxn ang="0">
                  <a:pos x="186" y="18"/>
                </a:cxn>
                <a:cxn ang="0">
                  <a:pos x="174" y="18"/>
                </a:cxn>
                <a:cxn ang="0">
                  <a:pos x="172" y="18"/>
                </a:cxn>
                <a:cxn ang="0">
                  <a:pos x="184" y="6"/>
                </a:cxn>
                <a:cxn ang="0">
                  <a:pos x="164" y="2"/>
                </a:cxn>
                <a:cxn ang="0">
                  <a:pos x="168" y="6"/>
                </a:cxn>
                <a:cxn ang="0">
                  <a:pos x="158" y="8"/>
                </a:cxn>
                <a:cxn ang="0">
                  <a:pos x="154" y="8"/>
                </a:cxn>
                <a:cxn ang="0">
                  <a:pos x="148" y="10"/>
                </a:cxn>
                <a:cxn ang="0">
                  <a:pos x="140" y="8"/>
                </a:cxn>
                <a:cxn ang="0">
                  <a:pos x="140" y="2"/>
                </a:cxn>
                <a:cxn ang="0">
                  <a:pos x="122" y="2"/>
                </a:cxn>
                <a:cxn ang="0">
                  <a:pos x="114" y="4"/>
                </a:cxn>
                <a:cxn ang="0">
                  <a:pos x="102" y="0"/>
                </a:cxn>
                <a:cxn ang="0">
                  <a:pos x="58" y="6"/>
                </a:cxn>
                <a:cxn ang="0">
                  <a:pos x="56" y="12"/>
                </a:cxn>
                <a:cxn ang="0">
                  <a:pos x="26" y="18"/>
                </a:cxn>
                <a:cxn ang="0">
                  <a:pos x="34" y="20"/>
                </a:cxn>
                <a:cxn ang="0">
                  <a:pos x="50" y="20"/>
                </a:cxn>
                <a:cxn ang="0">
                  <a:pos x="20" y="24"/>
                </a:cxn>
                <a:cxn ang="0">
                  <a:pos x="20" y="30"/>
                </a:cxn>
                <a:cxn ang="0">
                  <a:pos x="30" y="34"/>
                </a:cxn>
                <a:cxn ang="0">
                  <a:pos x="56" y="32"/>
                </a:cxn>
                <a:cxn ang="0">
                  <a:pos x="62" y="36"/>
                </a:cxn>
                <a:cxn ang="0">
                  <a:pos x="42" y="38"/>
                </a:cxn>
                <a:cxn ang="0">
                  <a:pos x="4" y="42"/>
                </a:cxn>
              </a:cxnLst>
              <a:rect l="0" t="0" r="r" b="b"/>
              <a:pathLst>
                <a:path w="240" h="58">
                  <a:moveTo>
                    <a:pt x="4" y="42"/>
                  </a:moveTo>
                  <a:lnTo>
                    <a:pt x="4" y="42"/>
                  </a:lnTo>
                  <a:lnTo>
                    <a:pt x="0" y="44"/>
                  </a:lnTo>
                  <a:lnTo>
                    <a:pt x="2" y="46"/>
                  </a:lnTo>
                  <a:lnTo>
                    <a:pt x="14" y="46"/>
                  </a:lnTo>
                  <a:lnTo>
                    <a:pt x="14" y="46"/>
                  </a:lnTo>
                  <a:lnTo>
                    <a:pt x="20" y="48"/>
                  </a:lnTo>
                  <a:lnTo>
                    <a:pt x="24" y="48"/>
                  </a:lnTo>
                  <a:lnTo>
                    <a:pt x="26" y="50"/>
                  </a:lnTo>
                  <a:lnTo>
                    <a:pt x="24" y="52"/>
                  </a:lnTo>
                  <a:lnTo>
                    <a:pt x="24" y="52"/>
                  </a:lnTo>
                  <a:lnTo>
                    <a:pt x="24" y="54"/>
                  </a:lnTo>
                  <a:lnTo>
                    <a:pt x="24" y="54"/>
                  </a:lnTo>
                  <a:lnTo>
                    <a:pt x="26" y="56"/>
                  </a:lnTo>
                  <a:lnTo>
                    <a:pt x="32" y="58"/>
                  </a:lnTo>
                  <a:lnTo>
                    <a:pt x="32" y="58"/>
                  </a:lnTo>
                  <a:lnTo>
                    <a:pt x="44" y="58"/>
                  </a:lnTo>
                  <a:lnTo>
                    <a:pt x="56" y="56"/>
                  </a:lnTo>
                  <a:lnTo>
                    <a:pt x="56" y="56"/>
                  </a:lnTo>
                  <a:lnTo>
                    <a:pt x="66" y="56"/>
                  </a:lnTo>
                  <a:lnTo>
                    <a:pt x="74" y="56"/>
                  </a:lnTo>
                  <a:lnTo>
                    <a:pt x="74" y="56"/>
                  </a:lnTo>
                  <a:lnTo>
                    <a:pt x="80" y="56"/>
                  </a:lnTo>
                  <a:lnTo>
                    <a:pt x="84" y="56"/>
                  </a:lnTo>
                  <a:lnTo>
                    <a:pt x="90" y="56"/>
                  </a:lnTo>
                  <a:lnTo>
                    <a:pt x="96" y="54"/>
                  </a:lnTo>
                  <a:lnTo>
                    <a:pt x="96" y="54"/>
                  </a:lnTo>
                  <a:lnTo>
                    <a:pt x="102" y="52"/>
                  </a:lnTo>
                  <a:lnTo>
                    <a:pt x="104" y="52"/>
                  </a:lnTo>
                  <a:lnTo>
                    <a:pt x="108" y="52"/>
                  </a:lnTo>
                  <a:lnTo>
                    <a:pt x="112" y="50"/>
                  </a:lnTo>
                  <a:lnTo>
                    <a:pt x="112" y="50"/>
                  </a:lnTo>
                  <a:lnTo>
                    <a:pt x="116" y="50"/>
                  </a:lnTo>
                  <a:lnTo>
                    <a:pt x="120" y="50"/>
                  </a:lnTo>
                  <a:lnTo>
                    <a:pt x="126" y="48"/>
                  </a:lnTo>
                  <a:lnTo>
                    <a:pt x="136" y="46"/>
                  </a:lnTo>
                  <a:lnTo>
                    <a:pt x="136" y="46"/>
                  </a:lnTo>
                  <a:lnTo>
                    <a:pt x="138" y="44"/>
                  </a:lnTo>
                  <a:lnTo>
                    <a:pt x="140" y="42"/>
                  </a:lnTo>
                  <a:lnTo>
                    <a:pt x="140" y="38"/>
                  </a:lnTo>
                  <a:lnTo>
                    <a:pt x="140" y="38"/>
                  </a:lnTo>
                  <a:lnTo>
                    <a:pt x="140" y="42"/>
                  </a:lnTo>
                  <a:lnTo>
                    <a:pt x="142" y="44"/>
                  </a:lnTo>
                  <a:lnTo>
                    <a:pt x="146" y="46"/>
                  </a:lnTo>
                  <a:lnTo>
                    <a:pt x="146" y="46"/>
                  </a:lnTo>
                  <a:lnTo>
                    <a:pt x="156" y="46"/>
                  </a:lnTo>
                  <a:lnTo>
                    <a:pt x="158" y="46"/>
                  </a:lnTo>
                  <a:lnTo>
                    <a:pt x="160" y="48"/>
                  </a:lnTo>
                  <a:lnTo>
                    <a:pt x="160" y="48"/>
                  </a:lnTo>
                  <a:lnTo>
                    <a:pt x="160" y="50"/>
                  </a:lnTo>
                  <a:lnTo>
                    <a:pt x="164" y="52"/>
                  </a:lnTo>
                  <a:lnTo>
                    <a:pt x="180" y="52"/>
                  </a:lnTo>
                  <a:lnTo>
                    <a:pt x="180" y="52"/>
                  </a:lnTo>
                  <a:lnTo>
                    <a:pt x="188" y="54"/>
                  </a:lnTo>
                  <a:lnTo>
                    <a:pt x="192" y="56"/>
                  </a:lnTo>
                  <a:lnTo>
                    <a:pt x="196" y="58"/>
                  </a:lnTo>
                  <a:lnTo>
                    <a:pt x="202" y="58"/>
                  </a:lnTo>
                  <a:lnTo>
                    <a:pt x="202" y="58"/>
                  </a:lnTo>
                  <a:lnTo>
                    <a:pt x="210" y="58"/>
                  </a:lnTo>
                  <a:lnTo>
                    <a:pt x="214" y="56"/>
                  </a:lnTo>
                  <a:lnTo>
                    <a:pt x="220" y="54"/>
                  </a:lnTo>
                  <a:lnTo>
                    <a:pt x="220" y="54"/>
                  </a:lnTo>
                  <a:lnTo>
                    <a:pt x="220" y="52"/>
                  </a:lnTo>
                  <a:lnTo>
                    <a:pt x="218" y="52"/>
                  </a:lnTo>
                  <a:lnTo>
                    <a:pt x="212" y="50"/>
                  </a:lnTo>
                  <a:lnTo>
                    <a:pt x="212" y="50"/>
                  </a:lnTo>
                  <a:lnTo>
                    <a:pt x="198" y="48"/>
                  </a:lnTo>
                  <a:lnTo>
                    <a:pt x="196" y="46"/>
                  </a:lnTo>
                  <a:lnTo>
                    <a:pt x="200" y="46"/>
                  </a:lnTo>
                  <a:lnTo>
                    <a:pt x="200" y="46"/>
                  </a:lnTo>
                  <a:lnTo>
                    <a:pt x="212" y="46"/>
                  </a:lnTo>
                  <a:lnTo>
                    <a:pt x="214" y="44"/>
                  </a:lnTo>
                  <a:lnTo>
                    <a:pt x="212" y="40"/>
                  </a:lnTo>
                  <a:lnTo>
                    <a:pt x="212" y="40"/>
                  </a:lnTo>
                  <a:lnTo>
                    <a:pt x="212" y="38"/>
                  </a:lnTo>
                  <a:lnTo>
                    <a:pt x="214" y="38"/>
                  </a:lnTo>
                  <a:lnTo>
                    <a:pt x="218" y="40"/>
                  </a:lnTo>
                  <a:lnTo>
                    <a:pt x="224" y="42"/>
                  </a:lnTo>
                  <a:lnTo>
                    <a:pt x="224" y="42"/>
                  </a:lnTo>
                  <a:lnTo>
                    <a:pt x="232" y="40"/>
                  </a:lnTo>
                  <a:lnTo>
                    <a:pt x="238" y="38"/>
                  </a:lnTo>
                  <a:lnTo>
                    <a:pt x="240" y="36"/>
                  </a:lnTo>
                  <a:lnTo>
                    <a:pt x="236" y="32"/>
                  </a:lnTo>
                  <a:lnTo>
                    <a:pt x="236" y="32"/>
                  </a:lnTo>
                  <a:lnTo>
                    <a:pt x="228" y="30"/>
                  </a:lnTo>
                  <a:lnTo>
                    <a:pt x="224" y="28"/>
                  </a:lnTo>
                  <a:lnTo>
                    <a:pt x="218" y="24"/>
                  </a:lnTo>
                  <a:lnTo>
                    <a:pt x="218" y="24"/>
                  </a:lnTo>
                  <a:lnTo>
                    <a:pt x="216" y="22"/>
                  </a:lnTo>
                  <a:lnTo>
                    <a:pt x="216" y="22"/>
                  </a:lnTo>
                  <a:lnTo>
                    <a:pt x="216" y="18"/>
                  </a:lnTo>
                  <a:lnTo>
                    <a:pt x="218" y="14"/>
                  </a:lnTo>
                  <a:lnTo>
                    <a:pt x="218" y="14"/>
                  </a:lnTo>
                  <a:lnTo>
                    <a:pt x="218" y="14"/>
                  </a:lnTo>
                  <a:lnTo>
                    <a:pt x="216" y="12"/>
                  </a:lnTo>
                  <a:lnTo>
                    <a:pt x="216" y="10"/>
                  </a:lnTo>
                  <a:lnTo>
                    <a:pt x="216" y="6"/>
                  </a:lnTo>
                  <a:lnTo>
                    <a:pt x="212" y="2"/>
                  </a:lnTo>
                  <a:lnTo>
                    <a:pt x="212" y="2"/>
                  </a:lnTo>
                  <a:lnTo>
                    <a:pt x="202" y="0"/>
                  </a:lnTo>
                  <a:lnTo>
                    <a:pt x="198" y="0"/>
                  </a:lnTo>
                  <a:lnTo>
                    <a:pt x="196" y="0"/>
                  </a:lnTo>
                  <a:lnTo>
                    <a:pt x="196" y="0"/>
                  </a:lnTo>
                  <a:lnTo>
                    <a:pt x="196" y="0"/>
                  </a:lnTo>
                  <a:lnTo>
                    <a:pt x="196" y="2"/>
                  </a:lnTo>
                  <a:lnTo>
                    <a:pt x="194" y="4"/>
                  </a:lnTo>
                  <a:lnTo>
                    <a:pt x="192" y="4"/>
                  </a:lnTo>
                  <a:lnTo>
                    <a:pt x="192" y="6"/>
                  </a:lnTo>
                  <a:lnTo>
                    <a:pt x="192" y="6"/>
                  </a:lnTo>
                  <a:lnTo>
                    <a:pt x="192" y="8"/>
                  </a:lnTo>
                  <a:lnTo>
                    <a:pt x="192" y="8"/>
                  </a:lnTo>
                  <a:lnTo>
                    <a:pt x="190" y="10"/>
                  </a:lnTo>
                  <a:lnTo>
                    <a:pt x="190" y="12"/>
                  </a:lnTo>
                  <a:lnTo>
                    <a:pt x="190" y="12"/>
                  </a:lnTo>
                  <a:lnTo>
                    <a:pt x="190" y="14"/>
                  </a:lnTo>
                  <a:lnTo>
                    <a:pt x="188" y="14"/>
                  </a:lnTo>
                  <a:lnTo>
                    <a:pt x="186" y="14"/>
                  </a:lnTo>
                  <a:lnTo>
                    <a:pt x="186" y="16"/>
                  </a:lnTo>
                  <a:lnTo>
                    <a:pt x="186" y="16"/>
                  </a:lnTo>
                  <a:lnTo>
                    <a:pt x="186" y="18"/>
                  </a:lnTo>
                  <a:lnTo>
                    <a:pt x="184" y="18"/>
                  </a:lnTo>
                  <a:lnTo>
                    <a:pt x="180" y="18"/>
                  </a:lnTo>
                  <a:lnTo>
                    <a:pt x="176" y="18"/>
                  </a:lnTo>
                  <a:lnTo>
                    <a:pt x="174" y="18"/>
                  </a:lnTo>
                  <a:lnTo>
                    <a:pt x="174" y="18"/>
                  </a:lnTo>
                  <a:lnTo>
                    <a:pt x="174" y="18"/>
                  </a:lnTo>
                  <a:lnTo>
                    <a:pt x="174" y="20"/>
                  </a:lnTo>
                  <a:lnTo>
                    <a:pt x="172" y="18"/>
                  </a:lnTo>
                  <a:lnTo>
                    <a:pt x="174" y="14"/>
                  </a:lnTo>
                  <a:lnTo>
                    <a:pt x="178" y="10"/>
                  </a:lnTo>
                  <a:lnTo>
                    <a:pt x="178" y="10"/>
                  </a:lnTo>
                  <a:lnTo>
                    <a:pt x="184" y="6"/>
                  </a:lnTo>
                  <a:lnTo>
                    <a:pt x="184" y="4"/>
                  </a:lnTo>
                  <a:lnTo>
                    <a:pt x="176" y="2"/>
                  </a:lnTo>
                  <a:lnTo>
                    <a:pt x="176" y="2"/>
                  </a:lnTo>
                  <a:lnTo>
                    <a:pt x="164" y="2"/>
                  </a:lnTo>
                  <a:lnTo>
                    <a:pt x="162" y="4"/>
                  </a:lnTo>
                  <a:lnTo>
                    <a:pt x="166" y="4"/>
                  </a:lnTo>
                  <a:lnTo>
                    <a:pt x="166" y="4"/>
                  </a:lnTo>
                  <a:lnTo>
                    <a:pt x="168" y="6"/>
                  </a:lnTo>
                  <a:lnTo>
                    <a:pt x="164" y="6"/>
                  </a:lnTo>
                  <a:lnTo>
                    <a:pt x="158" y="6"/>
                  </a:lnTo>
                  <a:lnTo>
                    <a:pt x="158" y="6"/>
                  </a:lnTo>
                  <a:lnTo>
                    <a:pt x="158" y="8"/>
                  </a:lnTo>
                  <a:lnTo>
                    <a:pt x="158" y="8"/>
                  </a:lnTo>
                  <a:lnTo>
                    <a:pt x="160" y="10"/>
                  </a:lnTo>
                  <a:lnTo>
                    <a:pt x="158" y="10"/>
                  </a:lnTo>
                  <a:lnTo>
                    <a:pt x="154" y="8"/>
                  </a:lnTo>
                  <a:lnTo>
                    <a:pt x="150" y="10"/>
                  </a:lnTo>
                  <a:lnTo>
                    <a:pt x="150" y="10"/>
                  </a:lnTo>
                  <a:lnTo>
                    <a:pt x="150" y="10"/>
                  </a:lnTo>
                  <a:lnTo>
                    <a:pt x="148" y="10"/>
                  </a:lnTo>
                  <a:lnTo>
                    <a:pt x="146" y="8"/>
                  </a:lnTo>
                  <a:lnTo>
                    <a:pt x="142" y="8"/>
                  </a:lnTo>
                  <a:lnTo>
                    <a:pt x="142" y="8"/>
                  </a:lnTo>
                  <a:lnTo>
                    <a:pt x="140" y="8"/>
                  </a:lnTo>
                  <a:lnTo>
                    <a:pt x="142" y="6"/>
                  </a:lnTo>
                  <a:lnTo>
                    <a:pt x="144" y="4"/>
                  </a:lnTo>
                  <a:lnTo>
                    <a:pt x="144" y="2"/>
                  </a:lnTo>
                  <a:lnTo>
                    <a:pt x="140" y="2"/>
                  </a:lnTo>
                  <a:lnTo>
                    <a:pt x="140" y="2"/>
                  </a:lnTo>
                  <a:lnTo>
                    <a:pt x="130" y="2"/>
                  </a:lnTo>
                  <a:lnTo>
                    <a:pt x="122" y="2"/>
                  </a:lnTo>
                  <a:lnTo>
                    <a:pt x="122" y="2"/>
                  </a:lnTo>
                  <a:lnTo>
                    <a:pt x="114" y="4"/>
                  </a:lnTo>
                  <a:lnTo>
                    <a:pt x="112" y="4"/>
                  </a:lnTo>
                  <a:lnTo>
                    <a:pt x="114" y="4"/>
                  </a:lnTo>
                  <a:lnTo>
                    <a:pt x="114" y="4"/>
                  </a:lnTo>
                  <a:lnTo>
                    <a:pt x="116" y="2"/>
                  </a:lnTo>
                  <a:lnTo>
                    <a:pt x="114" y="2"/>
                  </a:lnTo>
                  <a:lnTo>
                    <a:pt x="110" y="0"/>
                  </a:lnTo>
                  <a:lnTo>
                    <a:pt x="102" y="0"/>
                  </a:lnTo>
                  <a:lnTo>
                    <a:pt x="92" y="2"/>
                  </a:lnTo>
                  <a:lnTo>
                    <a:pt x="92" y="2"/>
                  </a:lnTo>
                  <a:lnTo>
                    <a:pt x="74" y="4"/>
                  </a:lnTo>
                  <a:lnTo>
                    <a:pt x="58" y="6"/>
                  </a:lnTo>
                  <a:lnTo>
                    <a:pt x="58" y="6"/>
                  </a:lnTo>
                  <a:lnTo>
                    <a:pt x="56" y="8"/>
                  </a:lnTo>
                  <a:lnTo>
                    <a:pt x="56" y="10"/>
                  </a:lnTo>
                  <a:lnTo>
                    <a:pt x="56" y="12"/>
                  </a:lnTo>
                  <a:lnTo>
                    <a:pt x="52" y="12"/>
                  </a:lnTo>
                  <a:lnTo>
                    <a:pt x="52" y="12"/>
                  </a:lnTo>
                  <a:lnTo>
                    <a:pt x="32" y="16"/>
                  </a:lnTo>
                  <a:lnTo>
                    <a:pt x="26" y="18"/>
                  </a:lnTo>
                  <a:lnTo>
                    <a:pt x="26" y="18"/>
                  </a:lnTo>
                  <a:lnTo>
                    <a:pt x="26" y="20"/>
                  </a:lnTo>
                  <a:lnTo>
                    <a:pt x="26" y="20"/>
                  </a:lnTo>
                  <a:lnTo>
                    <a:pt x="34" y="20"/>
                  </a:lnTo>
                  <a:lnTo>
                    <a:pt x="44" y="20"/>
                  </a:lnTo>
                  <a:lnTo>
                    <a:pt x="52" y="20"/>
                  </a:lnTo>
                  <a:lnTo>
                    <a:pt x="52" y="20"/>
                  </a:lnTo>
                  <a:lnTo>
                    <a:pt x="50" y="20"/>
                  </a:lnTo>
                  <a:lnTo>
                    <a:pt x="50" y="20"/>
                  </a:lnTo>
                  <a:lnTo>
                    <a:pt x="40" y="22"/>
                  </a:lnTo>
                  <a:lnTo>
                    <a:pt x="28" y="22"/>
                  </a:lnTo>
                  <a:lnTo>
                    <a:pt x="20" y="24"/>
                  </a:lnTo>
                  <a:lnTo>
                    <a:pt x="18" y="24"/>
                  </a:lnTo>
                  <a:lnTo>
                    <a:pt x="18" y="26"/>
                  </a:lnTo>
                  <a:lnTo>
                    <a:pt x="18" y="26"/>
                  </a:lnTo>
                  <a:lnTo>
                    <a:pt x="20" y="30"/>
                  </a:lnTo>
                  <a:lnTo>
                    <a:pt x="22" y="32"/>
                  </a:lnTo>
                  <a:lnTo>
                    <a:pt x="24" y="34"/>
                  </a:lnTo>
                  <a:lnTo>
                    <a:pt x="30" y="34"/>
                  </a:lnTo>
                  <a:lnTo>
                    <a:pt x="30" y="34"/>
                  </a:lnTo>
                  <a:lnTo>
                    <a:pt x="44" y="32"/>
                  </a:lnTo>
                  <a:lnTo>
                    <a:pt x="50" y="30"/>
                  </a:lnTo>
                  <a:lnTo>
                    <a:pt x="56" y="32"/>
                  </a:lnTo>
                  <a:lnTo>
                    <a:pt x="56" y="32"/>
                  </a:lnTo>
                  <a:lnTo>
                    <a:pt x="66" y="36"/>
                  </a:lnTo>
                  <a:lnTo>
                    <a:pt x="66" y="38"/>
                  </a:lnTo>
                  <a:lnTo>
                    <a:pt x="62" y="36"/>
                  </a:lnTo>
                  <a:lnTo>
                    <a:pt x="62" y="36"/>
                  </a:lnTo>
                  <a:lnTo>
                    <a:pt x="56" y="36"/>
                  </a:lnTo>
                  <a:lnTo>
                    <a:pt x="52" y="36"/>
                  </a:lnTo>
                  <a:lnTo>
                    <a:pt x="42" y="38"/>
                  </a:lnTo>
                  <a:lnTo>
                    <a:pt x="42" y="38"/>
                  </a:lnTo>
                  <a:lnTo>
                    <a:pt x="26" y="38"/>
                  </a:lnTo>
                  <a:lnTo>
                    <a:pt x="14" y="38"/>
                  </a:lnTo>
                  <a:lnTo>
                    <a:pt x="4" y="42"/>
                  </a:lnTo>
                  <a:lnTo>
                    <a:pt x="4" y="42"/>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1" name="Freeform 106"/>
            <p:cNvSpPr>
              <a:spLocks/>
            </p:cNvSpPr>
            <p:nvPr/>
          </p:nvSpPr>
          <p:spPr bwMode="auto">
            <a:xfrm>
              <a:off x="2583622" y="2120635"/>
              <a:ext cx="47625" cy="23813"/>
            </a:xfrm>
            <a:custGeom>
              <a:avLst/>
              <a:gdLst/>
              <a:ahLst/>
              <a:cxnLst>
                <a:cxn ang="0">
                  <a:pos x="0" y="8"/>
                </a:cxn>
                <a:cxn ang="0">
                  <a:pos x="0" y="8"/>
                </a:cxn>
                <a:cxn ang="0">
                  <a:pos x="0" y="0"/>
                </a:cxn>
                <a:cxn ang="0">
                  <a:pos x="2" y="0"/>
                </a:cxn>
                <a:cxn ang="0">
                  <a:pos x="4" y="2"/>
                </a:cxn>
                <a:cxn ang="0">
                  <a:pos x="4" y="2"/>
                </a:cxn>
                <a:cxn ang="0">
                  <a:pos x="6" y="4"/>
                </a:cxn>
                <a:cxn ang="0">
                  <a:pos x="10" y="4"/>
                </a:cxn>
                <a:cxn ang="0">
                  <a:pos x="12" y="6"/>
                </a:cxn>
                <a:cxn ang="0">
                  <a:pos x="12" y="8"/>
                </a:cxn>
                <a:cxn ang="0">
                  <a:pos x="12" y="8"/>
                </a:cxn>
                <a:cxn ang="0">
                  <a:pos x="12" y="8"/>
                </a:cxn>
                <a:cxn ang="0">
                  <a:pos x="14" y="8"/>
                </a:cxn>
                <a:cxn ang="0">
                  <a:pos x="18" y="8"/>
                </a:cxn>
                <a:cxn ang="0">
                  <a:pos x="18" y="8"/>
                </a:cxn>
                <a:cxn ang="0">
                  <a:pos x="22" y="10"/>
                </a:cxn>
                <a:cxn ang="0">
                  <a:pos x="28" y="10"/>
                </a:cxn>
                <a:cxn ang="0">
                  <a:pos x="28" y="10"/>
                </a:cxn>
                <a:cxn ang="0">
                  <a:pos x="36" y="8"/>
                </a:cxn>
                <a:cxn ang="0">
                  <a:pos x="36" y="8"/>
                </a:cxn>
                <a:cxn ang="0">
                  <a:pos x="36" y="10"/>
                </a:cxn>
                <a:cxn ang="0">
                  <a:pos x="36" y="10"/>
                </a:cxn>
                <a:cxn ang="0">
                  <a:pos x="32" y="12"/>
                </a:cxn>
                <a:cxn ang="0">
                  <a:pos x="30" y="14"/>
                </a:cxn>
                <a:cxn ang="0">
                  <a:pos x="30" y="14"/>
                </a:cxn>
                <a:cxn ang="0">
                  <a:pos x="28" y="14"/>
                </a:cxn>
                <a:cxn ang="0">
                  <a:pos x="30" y="14"/>
                </a:cxn>
                <a:cxn ang="0">
                  <a:pos x="32" y="16"/>
                </a:cxn>
                <a:cxn ang="0">
                  <a:pos x="30" y="18"/>
                </a:cxn>
                <a:cxn ang="0">
                  <a:pos x="30" y="18"/>
                </a:cxn>
                <a:cxn ang="0">
                  <a:pos x="26" y="18"/>
                </a:cxn>
                <a:cxn ang="0">
                  <a:pos x="26" y="18"/>
                </a:cxn>
                <a:cxn ang="0">
                  <a:pos x="24" y="16"/>
                </a:cxn>
                <a:cxn ang="0">
                  <a:pos x="24" y="16"/>
                </a:cxn>
                <a:cxn ang="0">
                  <a:pos x="24" y="16"/>
                </a:cxn>
                <a:cxn ang="0">
                  <a:pos x="20" y="14"/>
                </a:cxn>
                <a:cxn ang="0">
                  <a:pos x="18" y="14"/>
                </a:cxn>
                <a:cxn ang="0">
                  <a:pos x="18" y="14"/>
                </a:cxn>
                <a:cxn ang="0">
                  <a:pos x="18" y="14"/>
                </a:cxn>
                <a:cxn ang="0">
                  <a:pos x="18" y="16"/>
                </a:cxn>
                <a:cxn ang="0">
                  <a:pos x="16" y="16"/>
                </a:cxn>
                <a:cxn ang="0">
                  <a:pos x="16" y="16"/>
                </a:cxn>
                <a:cxn ang="0">
                  <a:pos x="10" y="14"/>
                </a:cxn>
                <a:cxn ang="0">
                  <a:pos x="10" y="14"/>
                </a:cxn>
                <a:cxn ang="0">
                  <a:pos x="10" y="14"/>
                </a:cxn>
                <a:cxn ang="0">
                  <a:pos x="10" y="14"/>
                </a:cxn>
                <a:cxn ang="0">
                  <a:pos x="10" y="12"/>
                </a:cxn>
                <a:cxn ang="0">
                  <a:pos x="8" y="12"/>
                </a:cxn>
                <a:cxn ang="0">
                  <a:pos x="8" y="12"/>
                </a:cxn>
                <a:cxn ang="0">
                  <a:pos x="4" y="12"/>
                </a:cxn>
                <a:cxn ang="0">
                  <a:pos x="4" y="10"/>
                </a:cxn>
                <a:cxn ang="0">
                  <a:pos x="4" y="10"/>
                </a:cxn>
                <a:cxn ang="0">
                  <a:pos x="4" y="8"/>
                </a:cxn>
                <a:cxn ang="0">
                  <a:pos x="4" y="8"/>
                </a:cxn>
                <a:cxn ang="0">
                  <a:pos x="4" y="8"/>
                </a:cxn>
                <a:cxn ang="0">
                  <a:pos x="2" y="10"/>
                </a:cxn>
                <a:cxn ang="0">
                  <a:pos x="0" y="8"/>
                </a:cxn>
                <a:cxn ang="0">
                  <a:pos x="0" y="8"/>
                </a:cxn>
              </a:cxnLst>
              <a:rect l="0" t="0" r="r" b="b"/>
              <a:pathLst>
                <a:path w="36" h="18">
                  <a:moveTo>
                    <a:pt x="0" y="8"/>
                  </a:moveTo>
                  <a:lnTo>
                    <a:pt x="0" y="8"/>
                  </a:lnTo>
                  <a:lnTo>
                    <a:pt x="0" y="0"/>
                  </a:lnTo>
                  <a:lnTo>
                    <a:pt x="2" y="0"/>
                  </a:lnTo>
                  <a:lnTo>
                    <a:pt x="4" y="2"/>
                  </a:lnTo>
                  <a:lnTo>
                    <a:pt x="4" y="2"/>
                  </a:lnTo>
                  <a:lnTo>
                    <a:pt x="6" y="4"/>
                  </a:lnTo>
                  <a:lnTo>
                    <a:pt x="10" y="4"/>
                  </a:lnTo>
                  <a:lnTo>
                    <a:pt x="12" y="6"/>
                  </a:lnTo>
                  <a:lnTo>
                    <a:pt x="12" y="8"/>
                  </a:lnTo>
                  <a:lnTo>
                    <a:pt x="12" y="8"/>
                  </a:lnTo>
                  <a:lnTo>
                    <a:pt x="12" y="8"/>
                  </a:lnTo>
                  <a:lnTo>
                    <a:pt x="14" y="8"/>
                  </a:lnTo>
                  <a:lnTo>
                    <a:pt x="18" y="8"/>
                  </a:lnTo>
                  <a:lnTo>
                    <a:pt x="18" y="8"/>
                  </a:lnTo>
                  <a:lnTo>
                    <a:pt x="22" y="10"/>
                  </a:lnTo>
                  <a:lnTo>
                    <a:pt x="28" y="10"/>
                  </a:lnTo>
                  <a:lnTo>
                    <a:pt x="28" y="10"/>
                  </a:lnTo>
                  <a:lnTo>
                    <a:pt x="36" y="8"/>
                  </a:lnTo>
                  <a:lnTo>
                    <a:pt x="36" y="8"/>
                  </a:lnTo>
                  <a:lnTo>
                    <a:pt x="36" y="10"/>
                  </a:lnTo>
                  <a:lnTo>
                    <a:pt x="36" y="10"/>
                  </a:lnTo>
                  <a:lnTo>
                    <a:pt x="32" y="12"/>
                  </a:lnTo>
                  <a:lnTo>
                    <a:pt x="30" y="14"/>
                  </a:lnTo>
                  <a:lnTo>
                    <a:pt x="30" y="14"/>
                  </a:lnTo>
                  <a:lnTo>
                    <a:pt x="28" y="14"/>
                  </a:lnTo>
                  <a:lnTo>
                    <a:pt x="30" y="14"/>
                  </a:lnTo>
                  <a:lnTo>
                    <a:pt x="32" y="16"/>
                  </a:lnTo>
                  <a:lnTo>
                    <a:pt x="30" y="18"/>
                  </a:lnTo>
                  <a:lnTo>
                    <a:pt x="30" y="18"/>
                  </a:lnTo>
                  <a:lnTo>
                    <a:pt x="26" y="18"/>
                  </a:lnTo>
                  <a:lnTo>
                    <a:pt x="26" y="18"/>
                  </a:lnTo>
                  <a:lnTo>
                    <a:pt x="24" y="16"/>
                  </a:lnTo>
                  <a:lnTo>
                    <a:pt x="24" y="16"/>
                  </a:lnTo>
                  <a:lnTo>
                    <a:pt x="24" y="16"/>
                  </a:lnTo>
                  <a:lnTo>
                    <a:pt x="20" y="14"/>
                  </a:lnTo>
                  <a:lnTo>
                    <a:pt x="18" y="14"/>
                  </a:lnTo>
                  <a:lnTo>
                    <a:pt x="18" y="14"/>
                  </a:lnTo>
                  <a:lnTo>
                    <a:pt x="18" y="14"/>
                  </a:lnTo>
                  <a:lnTo>
                    <a:pt x="18" y="16"/>
                  </a:lnTo>
                  <a:lnTo>
                    <a:pt x="16" y="16"/>
                  </a:lnTo>
                  <a:lnTo>
                    <a:pt x="16" y="16"/>
                  </a:lnTo>
                  <a:lnTo>
                    <a:pt x="10" y="14"/>
                  </a:lnTo>
                  <a:lnTo>
                    <a:pt x="10" y="14"/>
                  </a:lnTo>
                  <a:lnTo>
                    <a:pt x="10" y="14"/>
                  </a:lnTo>
                  <a:lnTo>
                    <a:pt x="10" y="14"/>
                  </a:lnTo>
                  <a:lnTo>
                    <a:pt x="10" y="12"/>
                  </a:lnTo>
                  <a:lnTo>
                    <a:pt x="8" y="12"/>
                  </a:lnTo>
                  <a:lnTo>
                    <a:pt x="8" y="12"/>
                  </a:lnTo>
                  <a:lnTo>
                    <a:pt x="4" y="12"/>
                  </a:lnTo>
                  <a:lnTo>
                    <a:pt x="4" y="10"/>
                  </a:lnTo>
                  <a:lnTo>
                    <a:pt x="4" y="10"/>
                  </a:lnTo>
                  <a:lnTo>
                    <a:pt x="4" y="8"/>
                  </a:lnTo>
                  <a:lnTo>
                    <a:pt x="4" y="8"/>
                  </a:lnTo>
                  <a:lnTo>
                    <a:pt x="4" y="8"/>
                  </a:lnTo>
                  <a:lnTo>
                    <a:pt x="2" y="10"/>
                  </a:lnTo>
                  <a:lnTo>
                    <a:pt x="0" y="8"/>
                  </a:lnTo>
                  <a:lnTo>
                    <a:pt x="0" y="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2" name="Freeform 107"/>
            <p:cNvSpPr>
              <a:spLocks/>
            </p:cNvSpPr>
            <p:nvPr/>
          </p:nvSpPr>
          <p:spPr bwMode="auto">
            <a:xfrm>
              <a:off x="2647122" y="2125927"/>
              <a:ext cx="37042" cy="29104"/>
            </a:xfrm>
            <a:custGeom>
              <a:avLst/>
              <a:gdLst/>
              <a:ahLst/>
              <a:cxnLst>
                <a:cxn ang="0">
                  <a:pos x="0" y="20"/>
                </a:cxn>
                <a:cxn ang="0">
                  <a:pos x="0" y="20"/>
                </a:cxn>
                <a:cxn ang="0">
                  <a:pos x="0" y="14"/>
                </a:cxn>
                <a:cxn ang="0">
                  <a:pos x="4" y="12"/>
                </a:cxn>
                <a:cxn ang="0">
                  <a:pos x="4" y="12"/>
                </a:cxn>
                <a:cxn ang="0">
                  <a:pos x="12" y="6"/>
                </a:cxn>
                <a:cxn ang="0">
                  <a:pos x="18" y="0"/>
                </a:cxn>
                <a:cxn ang="0">
                  <a:pos x="18" y="0"/>
                </a:cxn>
                <a:cxn ang="0">
                  <a:pos x="20" y="0"/>
                </a:cxn>
                <a:cxn ang="0">
                  <a:pos x="20" y="2"/>
                </a:cxn>
                <a:cxn ang="0">
                  <a:pos x="20" y="4"/>
                </a:cxn>
                <a:cxn ang="0">
                  <a:pos x="20" y="4"/>
                </a:cxn>
                <a:cxn ang="0">
                  <a:pos x="22" y="6"/>
                </a:cxn>
                <a:cxn ang="0">
                  <a:pos x="20" y="8"/>
                </a:cxn>
                <a:cxn ang="0">
                  <a:pos x="18" y="10"/>
                </a:cxn>
                <a:cxn ang="0">
                  <a:pos x="18" y="10"/>
                </a:cxn>
                <a:cxn ang="0">
                  <a:pos x="24" y="10"/>
                </a:cxn>
                <a:cxn ang="0">
                  <a:pos x="26" y="10"/>
                </a:cxn>
                <a:cxn ang="0">
                  <a:pos x="26" y="12"/>
                </a:cxn>
                <a:cxn ang="0">
                  <a:pos x="26" y="12"/>
                </a:cxn>
                <a:cxn ang="0">
                  <a:pos x="26" y="12"/>
                </a:cxn>
                <a:cxn ang="0">
                  <a:pos x="26" y="14"/>
                </a:cxn>
                <a:cxn ang="0">
                  <a:pos x="28" y="16"/>
                </a:cxn>
                <a:cxn ang="0">
                  <a:pos x="26" y="16"/>
                </a:cxn>
                <a:cxn ang="0">
                  <a:pos x="26" y="16"/>
                </a:cxn>
                <a:cxn ang="0">
                  <a:pos x="20" y="18"/>
                </a:cxn>
                <a:cxn ang="0">
                  <a:pos x="16" y="20"/>
                </a:cxn>
                <a:cxn ang="0">
                  <a:pos x="16" y="20"/>
                </a:cxn>
                <a:cxn ang="0">
                  <a:pos x="12" y="20"/>
                </a:cxn>
                <a:cxn ang="0">
                  <a:pos x="8" y="22"/>
                </a:cxn>
                <a:cxn ang="0">
                  <a:pos x="8" y="22"/>
                </a:cxn>
                <a:cxn ang="0">
                  <a:pos x="4" y="22"/>
                </a:cxn>
                <a:cxn ang="0">
                  <a:pos x="2" y="22"/>
                </a:cxn>
                <a:cxn ang="0">
                  <a:pos x="0" y="20"/>
                </a:cxn>
                <a:cxn ang="0">
                  <a:pos x="0" y="20"/>
                </a:cxn>
              </a:cxnLst>
              <a:rect l="0" t="0" r="r" b="b"/>
              <a:pathLst>
                <a:path w="28" h="22">
                  <a:moveTo>
                    <a:pt x="0" y="20"/>
                  </a:moveTo>
                  <a:lnTo>
                    <a:pt x="0" y="20"/>
                  </a:lnTo>
                  <a:lnTo>
                    <a:pt x="0" y="14"/>
                  </a:lnTo>
                  <a:lnTo>
                    <a:pt x="4" y="12"/>
                  </a:lnTo>
                  <a:lnTo>
                    <a:pt x="4" y="12"/>
                  </a:lnTo>
                  <a:lnTo>
                    <a:pt x="12" y="6"/>
                  </a:lnTo>
                  <a:lnTo>
                    <a:pt x="18" y="0"/>
                  </a:lnTo>
                  <a:lnTo>
                    <a:pt x="18" y="0"/>
                  </a:lnTo>
                  <a:lnTo>
                    <a:pt x="20" y="0"/>
                  </a:lnTo>
                  <a:lnTo>
                    <a:pt x="20" y="2"/>
                  </a:lnTo>
                  <a:lnTo>
                    <a:pt x="20" y="4"/>
                  </a:lnTo>
                  <a:lnTo>
                    <a:pt x="20" y="4"/>
                  </a:lnTo>
                  <a:lnTo>
                    <a:pt x="22" y="6"/>
                  </a:lnTo>
                  <a:lnTo>
                    <a:pt x="20" y="8"/>
                  </a:lnTo>
                  <a:lnTo>
                    <a:pt x="18" y="10"/>
                  </a:lnTo>
                  <a:lnTo>
                    <a:pt x="18" y="10"/>
                  </a:lnTo>
                  <a:lnTo>
                    <a:pt x="24" y="10"/>
                  </a:lnTo>
                  <a:lnTo>
                    <a:pt x="26" y="10"/>
                  </a:lnTo>
                  <a:lnTo>
                    <a:pt x="26" y="12"/>
                  </a:lnTo>
                  <a:lnTo>
                    <a:pt x="26" y="12"/>
                  </a:lnTo>
                  <a:lnTo>
                    <a:pt x="26" y="12"/>
                  </a:lnTo>
                  <a:lnTo>
                    <a:pt x="26" y="14"/>
                  </a:lnTo>
                  <a:lnTo>
                    <a:pt x="28" y="16"/>
                  </a:lnTo>
                  <a:lnTo>
                    <a:pt x="26" y="16"/>
                  </a:lnTo>
                  <a:lnTo>
                    <a:pt x="26" y="16"/>
                  </a:lnTo>
                  <a:lnTo>
                    <a:pt x="20" y="18"/>
                  </a:lnTo>
                  <a:lnTo>
                    <a:pt x="16" y="20"/>
                  </a:lnTo>
                  <a:lnTo>
                    <a:pt x="16" y="20"/>
                  </a:lnTo>
                  <a:lnTo>
                    <a:pt x="12" y="20"/>
                  </a:lnTo>
                  <a:lnTo>
                    <a:pt x="8" y="22"/>
                  </a:lnTo>
                  <a:lnTo>
                    <a:pt x="8" y="22"/>
                  </a:lnTo>
                  <a:lnTo>
                    <a:pt x="4" y="22"/>
                  </a:lnTo>
                  <a:lnTo>
                    <a:pt x="2" y="22"/>
                  </a:lnTo>
                  <a:lnTo>
                    <a:pt x="0" y="20"/>
                  </a:lnTo>
                  <a:lnTo>
                    <a:pt x="0" y="2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3" name="Freeform 108"/>
            <p:cNvSpPr>
              <a:spLocks/>
            </p:cNvSpPr>
            <p:nvPr/>
          </p:nvSpPr>
          <p:spPr bwMode="auto">
            <a:xfrm>
              <a:off x="2710622" y="1996281"/>
              <a:ext cx="158750" cy="124354"/>
            </a:xfrm>
            <a:custGeom>
              <a:avLst/>
              <a:gdLst/>
              <a:ahLst/>
              <a:cxnLst>
                <a:cxn ang="0">
                  <a:pos x="70" y="12"/>
                </a:cxn>
                <a:cxn ang="0">
                  <a:pos x="70" y="10"/>
                </a:cxn>
                <a:cxn ang="0">
                  <a:pos x="82" y="2"/>
                </a:cxn>
                <a:cxn ang="0">
                  <a:pos x="90" y="0"/>
                </a:cxn>
                <a:cxn ang="0">
                  <a:pos x="92" y="2"/>
                </a:cxn>
                <a:cxn ang="0">
                  <a:pos x="96" y="4"/>
                </a:cxn>
                <a:cxn ang="0">
                  <a:pos x="90" y="8"/>
                </a:cxn>
                <a:cxn ang="0">
                  <a:pos x="94" y="8"/>
                </a:cxn>
                <a:cxn ang="0">
                  <a:pos x="92" y="14"/>
                </a:cxn>
                <a:cxn ang="0">
                  <a:pos x="84" y="20"/>
                </a:cxn>
                <a:cxn ang="0">
                  <a:pos x="80" y="22"/>
                </a:cxn>
                <a:cxn ang="0">
                  <a:pos x="76" y="24"/>
                </a:cxn>
                <a:cxn ang="0">
                  <a:pos x="68" y="30"/>
                </a:cxn>
                <a:cxn ang="0">
                  <a:pos x="72" y="30"/>
                </a:cxn>
                <a:cxn ang="0">
                  <a:pos x="80" y="28"/>
                </a:cxn>
                <a:cxn ang="0">
                  <a:pos x="82" y="30"/>
                </a:cxn>
                <a:cxn ang="0">
                  <a:pos x="88" y="30"/>
                </a:cxn>
                <a:cxn ang="0">
                  <a:pos x="74" y="36"/>
                </a:cxn>
                <a:cxn ang="0">
                  <a:pos x="82" y="36"/>
                </a:cxn>
                <a:cxn ang="0">
                  <a:pos x="86" y="38"/>
                </a:cxn>
                <a:cxn ang="0">
                  <a:pos x="88" y="42"/>
                </a:cxn>
                <a:cxn ang="0">
                  <a:pos x="90" y="46"/>
                </a:cxn>
                <a:cxn ang="0">
                  <a:pos x="100" y="44"/>
                </a:cxn>
                <a:cxn ang="0">
                  <a:pos x="114" y="44"/>
                </a:cxn>
                <a:cxn ang="0">
                  <a:pos x="116" y="50"/>
                </a:cxn>
                <a:cxn ang="0">
                  <a:pos x="110" y="52"/>
                </a:cxn>
                <a:cxn ang="0">
                  <a:pos x="104" y="56"/>
                </a:cxn>
                <a:cxn ang="0">
                  <a:pos x="114" y="56"/>
                </a:cxn>
                <a:cxn ang="0">
                  <a:pos x="120" y="58"/>
                </a:cxn>
                <a:cxn ang="0">
                  <a:pos x="116" y="62"/>
                </a:cxn>
                <a:cxn ang="0">
                  <a:pos x="110" y="66"/>
                </a:cxn>
                <a:cxn ang="0">
                  <a:pos x="114" y="68"/>
                </a:cxn>
                <a:cxn ang="0">
                  <a:pos x="104" y="72"/>
                </a:cxn>
                <a:cxn ang="0">
                  <a:pos x="98" y="76"/>
                </a:cxn>
                <a:cxn ang="0">
                  <a:pos x="90" y="80"/>
                </a:cxn>
                <a:cxn ang="0">
                  <a:pos x="84" y="86"/>
                </a:cxn>
                <a:cxn ang="0">
                  <a:pos x="78" y="90"/>
                </a:cxn>
                <a:cxn ang="0">
                  <a:pos x="64" y="92"/>
                </a:cxn>
                <a:cxn ang="0">
                  <a:pos x="62" y="90"/>
                </a:cxn>
                <a:cxn ang="0">
                  <a:pos x="72" y="84"/>
                </a:cxn>
                <a:cxn ang="0">
                  <a:pos x="80" y="78"/>
                </a:cxn>
                <a:cxn ang="0">
                  <a:pos x="74" y="78"/>
                </a:cxn>
                <a:cxn ang="0">
                  <a:pos x="68" y="78"/>
                </a:cxn>
                <a:cxn ang="0">
                  <a:pos x="64" y="76"/>
                </a:cxn>
                <a:cxn ang="0">
                  <a:pos x="58" y="78"/>
                </a:cxn>
                <a:cxn ang="0">
                  <a:pos x="54" y="76"/>
                </a:cxn>
                <a:cxn ang="0">
                  <a:pos x="50" y="76"/>
                </a:cxn>
                <a:cxn ang="0">
                  <a:pos x="40" y="80"/>
                </a:cxn>
                <a:cxn ang="0">
                  <a:pos x="26" y="80"/>
                </a:cxn>
                <a:cxn ang="0">
                  <a:pos x="22" y="78"/>
                </a:cxn>
                <a:cxn ang="0">
                  <a:pos x="8" y="80"/>
                </a:cxn>
                <a:cxn ang="0">
                  <a:pos x="2" y="78"/>
                </a:cxn>
                <a:cxn ang="0">
                  <a:pos x="0" y="74"/>
                </a:cxn>
                <a:cxn ang="0">
                  <a:pos x="12" y="66"/>
                </a:cxn>
                <a:cxn ang="0">
                  <a:pos x="18" y="64"/>
                </a:cxn>
                <a:cxn ang="0">
                  <a:pos x="8" y="64"/>
                </a:cxn>
                <a:cxn ang="0">
                  <a:pos x="16" y="62"/>
                </a:cxn>
                <a:cxn ang="0">
                  <a:pos x="28" y="54"/>
                </a:cxn>
                <a:cxn ang="0">
                  <a:pos x="32" y="50"/>
                </a:cxn>
                <a:cxn ang="0">
                  <a:pos x="36" y="46"/>
                </a:cxn>
                <a:cxn ang="0">
                  <a:pos x="46" y="38"/>
                </a:cxn>
                <a:cxn ang="0">
                  <a:pos x="62" y="16"/>
                </a:cxn>
              </a:cxnLst>
              <a:rect l="0" t="0" r="r" b="b"/>
              <a:pathLst>
                <a:path w="120" h="94">
                  <a:moveTo>
                    <a:pt x="62" y="16"/>
                  </a:moveTo>
                  <a:lnTo>
                    <a:pt x="62" y="16"/>
                  </a:lnTo>
                  <a:lnTo>
                    <a:pt x="68" y="14"/>
                  </a:lnTo>
                  <a:lnTo>
                    <a:pt x="70" y="12"/>
                  </a:lnTo>
                  <a:lnTo>
                    <a:pt x="70" y="10"/>
                  </a:lnTo>
                  <a:lnTo>
                    <a:pt x="70" y="10"/>
                  </a:lnTo>
                  <a:lnTo>
                    <a:pt x="70" y="10"/>
                  </a:lnTo>
                  <a:lnTo>
                    <a:pt x="70" y="10"/>
                  </a:lnTo>
                  <a:lnTo>
                    <a:pt x="74" y="8"/>
                  </a:lnTo>
                  <a:lnTo>
                    <a:pt x="74" y="8"/>
                  </a:lnTo>
                  <a:lnTo>
                    <a:pt x="78" y="4"/>
                  </a:lnTo>
                  <a:lnTo>
                    <a:pt x="82" y="2"/>
                  </a:lnTo>
                  <a:lnTo>
                    <a:pt x="82" y="2"/>
                  </a:lnTo>
                  <a:lnTo>
                    <a:pt x="86" y="0"/>
                  </a:lnTo>
                  <a:lnTo>
                    <a:pt x="90" y="0"/>
                  </a:lnTo>
                  <a:lnTo>
                    <a:pt x="90" y="0"/>
                  </a:lnTo>
                  <a:lnTo>
                    <a:pt x="92" y="0"/>
                  </a:lnTo>
                  <a:lnTo>
                    <a:pt x="90" y="2"/>
                  </a:lnTo>
                  <a:lnTo>
                    <a:pt x="90" y="2"/>
                  </a:lnTo>
                  <a:lnTo>
                    <a:pt x="92" y="2"/>
                  </a:lnTo>
                  <a:lnTo>
                    <a:pt x="92" y="2"/>
                  </a:lnTo>
                  <a:lnTo>
                    <a:pt x="96" y="2"/>
                  </a:lnTo>
                  <a:lnTo>
                    <a:pt x="96" y="4"/>
                  </a:lnTo>
                  <a:lnTo>
                    <a:pt x="96" y="4"/>
                  </a:lnTo>
                  <a:lnTo>
                    <a:pt x="94" y="6"/>
                  </a:lnTo>
                  <a:lnTo>
                    <a:pt x="92" y="6"/>
                  </a:lnTo>
                  <a:lnTo>
                    <a:pt x="92" y="6"/>
                  </a:lnTo>
                  <a:lnTo>
                    <a:pt x="90" y="8"/>
                  </a:lnTo>
                  <a:lnTo>
                    <a:pt x="90" y="8"/>
                  </a:lnTo>
                  <a:lnTo>
                    <a:pt x="90" y="8"/>
                  </a:lnTo>
                  <a:lnTo>
                    <a:pt x="90" y="8"/>
                  </a:lnTo>
                  <a:lnTo>
                    <a:pt x="94" y="8"/>
                  </a:lnTo>
                  <a:lnTo>
                    <a:pt x="94" y="10"/>
                  </a:lnTo>
                  <a:lnTo>
                    <a:pt x="94" y="12"/>
                  </a:lnTo>
                  <a:lnTo>
                    <a:pt x="94" y="12"/>
                  </a:lnTo>
                  <a:lnTo>
                    <a:pt x="92" y="14"/>
                  </a:lnTo>
                  <a:lnTo>
                    <a:pt x="90" y="16"/>
                  </a:lnTo>
                  <a:lnTo>
                    <a:pt x="90" y="16"/>
                  </a:lnTo>
                  <a:lnTo>
                    <a:pt x="86" y="18"/>
                  </a:lnTo>
                  <a:lnTo>
                    <a:pt x="84" y="20"/>
                  </a:lnTo>
                  <a:lnTo>
                    <a:pt x="84" y="20"/>
                  </a:lnTo>
                  <a:lnTo>
                    <a:pt x="84" y="20"/>
                  </a:lnTo>
                  <a:lnTo>
                    <a:pt x="82" y="20"/>
                  </a:lnTo>
                  <a:lnTo>
                    <a:pt x="80" y="22"/>
                  </a:lnTo>
                  <a:lnTo>
                    <a:pt x="80" y="24"/>
                  </a:lnTo>
                  <a:lnTo>
                    <a:pt x="78" y="24"/>
                  </a:lnTo>
                  <a:lnTo>
                    <a:pt x="78" y="24"/>
                  </a:lnTo>
                  <a:lnTo>
                    <a:pt x="76" y="24"/>
                  </a:lnTo>
                  <a:lnTo>
                    <a:pt x="76" y="24"/>
                  </a:lnTo>
                  <a:lnTo>
                    <a:pt x="74" y="26"/>
                  </a:lnTo>
                  <a:lnTo>
                    <a:pt x="74" y="26"/>
                  </a:lnTo>
                  <a:lnTo>
                    <a:pt x="68" y="30"/>
                  </a:lnTo>
                  <a:lnTo>
                    <a:pt x="66" y="34"/>
                  </a:lnTo>
                  <a:lnTo>
                    <a:pt x="66" y="36"/>
                  </a:lnTo>
                  <a:lnTo>
                    <a:pt x="66" y="36"/>
                  </a:lnTo>
                  <a:lnTo>
                    <a:pt x="72" y="30"/>
                  </a:lnTo>
                  <a:lnTo>
                    <a:pt x="78" y="28"/>
                  </a:lnTo>
                  <a:lnTo>
                    <a:pt x="78" y="28"/>
                  </a:lnTo>
                  <a:lnTo>
                    <a:pt x="80" y="28"/>
                  </a:lnTo>
                  <a:lnTo>
                    <a:pt x="80" y="28"/>
                  </a:lnTo>
                  <a:lnTo>
                    <a:pt x="80" y="30"/>
                  </a:lnTo>
                  <a:lnTo>
                    <a:pt x="80" y="30"/>
                  </a:lnTo>
                  <a:lnTo>
                    <a:pt x="80" y="30"/>
                  </a:lnTo>
                  <a:lnTo>
                    <a:pt x="82" y="30"/>
                  </a:lnTo>
                  <a:lnTo>
                    <a:pt x="86" y="30"/>
                  </a:lnTo>
                  <a:lnTo>
                    <a:pt x="86" y="30"/>
                  </a:lnTo>
                  <a:lnTo>
                    <a:pt x="88" y="30"/>
                  </a:lnTo>
                  <a:lnTo>
                    <a:pt x="88" y="30"/>
                  </a:lnTo>
                  <a:lnTo>
                    <a:pt x="88" y="30"/>
                  </a:lnTo>
                  <a:lnTo>
                    <a:pt x="86" y="32"/>
                  </a:lnTo>
                  <a:lnTo>
                    <a:pt x="82" y="34"/>
                  </a:lnTo>
                  <a:lnTo>
                    <a:pt x="74" y="36"/>
                  </a:lnTo>
                  <a:lnTo>
                    <a:pt x="74" y="36"/>
                  </a:lnTo>
                  <a:lnTo>
                    <a:pt x="82" y="36"/>
                  </a:lnTo>
                  <a:lnTo>
                    <a:pt x="82" y="36"/>
                  </a:lnTo>
                  <a:lnTo>
                    <a:pt x="82" y="36"/>
                  </a:lnTo>
                  <a:lnTo>
                    <a:pt x="82" y="36"/>
                  </a:lnTo>
                  <a:lnTo>
                    <a:pt x="82" y="38"/>
                  </a:lnTo>
                  <a:lnTo>
                    <a:pt x="84" y="38"/>
                  </a:lnTo>
                  <a:lnTo>
                    <a:pt x="86" y="38"/>
                  </a:lnTo>
                  <a:lnTo>
                    <a:pt x="86" y="40"/>
                  </a:lnTo>
                  <a:lnTo>
                    <a:pt x="86" y="40"/>
                  </a:lnTo>
                  <a:lnTo>
                    <a:pt x="86" y="42"/>
                  </a:lnTo>
                  <a:lnTo>
                    <a:pt x="88" y="42"/>
                  </a:lnTo>
                  <a:lnTo>
                    <a:pt x="90" y="42"/>
                  </a:lnTo>
                  <a:lnTo>
                    <a:pt x="90" y="44"/>
                  </a:lnTo>
                  <a:lnTo>
                    <a:pt x="90" y="44"/>
                  </a:lnTo>
                  <a:lnTo>
                    <a:pt x="90" y="46"/>
                  </a:lnTo>
                  <a:lnTo>
                    <a:pt x="92" y="46"/>
                  </a:lnTo>
                  <a:lnTo>
                    <a:pt x="98" y="44"/>
                  </a:lnTo>
                  <a:lnTo>
                    <a:pt x="98" y="44"/>
                  </a:lnTo>
                  <a:lnTo>
                    <a:pt x="100" y="44"/>
                  </a:lnTo>
                  <a:lnTo>
                    <a:pt x="104" y="44"/>
                  </a:lnTo>
                  <a:lnTo>
                    <a:pt x="104" y="44"/>
                  </a:lnTo>
                  <a:lnTo>
                    <a:pt x="110" y="44"/>
                  </a:lnTo>
                  <a:lnTo>
                    <a:pt x="114" y="44"/>
                  </a:lnTo>
                  <a:lnTo>
                    <a:pt x="116" y="46"/>
                  </a:lnTo>
                  <a:lnTo>
                    <a:pt x="116" y="46"/>
                  </a:lnTo>
                  <a:lnTo>
                    <a:pt x="116" y="48"/>
                  </a:lnTo>
                  <a:lnTo>
                    <a:pt x="116" y="50"/>
                  </a:lnTo>
                  <a:lnTo>
                    <a:pt x="114" y="50"/>
                  </a:lnTo>
                  <a:lnTo>
                    <a:pt x="114" y="50"/>
                  </a:lnTo>
                  <a:lnTo>
                    <a:pt x="112" y="52"/>
                  </a:lnTo>
                  <a:lnTo>
                    <a:pt x="110" y="52"/>
                  </a:lnTo>
                  <a:lnTo>
                    <a:pt x="110" y="52"/>
                  </a:lnTo>
                  <a:lnTo>
                    <a:pt x="108" y="54"/>
                  </a:lnTo>
                  <a:lnTo>
                    <a:pt x="104" y="56"/>
                  </a:lnTo>
                  <a:lnTo>
                    <a:pt x="104" y="56"/>
                  </a:lnTo>
                  <a:lnTo>
                    <a:pt x="106" y="56"/>
                  </a:lnTo>
                  <a:lnTo>
                    <a:pt x="110" y="56"/>
                  </a:lnTo>
                  <a:lnTo>
                    <a:pt x="110" y="56"/>
                  </a:lnTo>
                  <a:lnTo>
                    <a:pt x="114" y="56"/>
                  </a:lnTo>
                  <a:lnTo>
                    <a:pt x="118" y="56"/>
                  </a:lnTo>
                  <a:lnTo>
                    <a:pt x="118" y="56"/>
                  </a:lnTo>
                  <a:lnTo>
                    <a:pt x="120" y="56"/>
                  </a:lnTo>
                  <a:lnTo>
                    <a:pt x="120" y="58"/>
                  </a:lnTo>
                  <a:lnTo>
                    <a:pt x="120" y="58"/>
                  </a:lnTo>
                  <a:lnTo>
                    <a:pt x="118" y="60"/>
                  </a:lnTo>
                  <a:lnTo>
                    <a:pt x="116" y="62"/>
                  </a:lnTo>
                  <a:lnTo>
                    <a:pt x="116" y="62"/>
                  </a:lnTo>
                  <a:lnTo>
                    <a:pt x="112" y="64"/>
                  </a:lnTo>
                  <a:lnTo>
                    <a:pt x="108" y="64"/>
                  </a:lnTo>
                  <a:lnTo>
                    <a:pt x="108" y="64"/>
                  </a:lnTo>
                  <a:lnTo>
                    <a:pt x="110" y="66"/>
                  </a:lnTo>
                  <a:lnTo>
                    <a:pt x="114" y="66"/>
                  </a:lnTo>
                  <a:lnTo>
                    <a:pt x="114" y="68"/>
                  </a:lnTo>
                  <a:lnTo>
                    <a:pt x="114" y="68"/>
                  </a:lnTo>
                  <a:lnTo>
                    <a:pt x="114" y="68"/>
                  </a:lnTo>
                  <a:lnTo>
                    <a:pt x="108" y="72"/>
                  </a:lnTo>
                  <a:lnTo>
                    <a:pt x="106" y="72"/>
                  </a:lnTo>
                  <a:lnTo>
                    <a:pt x="104" y="72"/>
                  </a:lnTo>
                  <a:lnTo>
                    <a:pt x="104" y="72"/>
                  </a:lnTo>
                  <a:lnTo>
                    <a:pt x="104" y="70"/>
                  </a:lnTo>
                  <a:lnTo>
                    <a:pt x="100" y="74"/>
                  </a:lnTo>
                  <a:lnTo>
                    <a:pt x="100" y="74"/>
                  </a:lnTo>
                  <a:lnTo>
                    <a:pt x="98" y="76"/>
                  </a:lnTo>
                  <a:lnTo>
                    <a:pt x="94" y="78"/>
                  </a:lnTo>
                  <a:lnTo>
                    <a:pt x="94" y="78"/>
                  </a:lnTo>
                  <a:lnTo>
                    <a:pt x="90" y="80"/>
                  </a:lnTo>
                  <a:lnTo>
                    <a:pt x="90" y="80"/>
                  </a:lnTo>
                  <a:lnTo>
                    <a:pt x="88" y="82"/>
                  </a:lnTo>
                  <a:lnTo>
                    <a:pt x="88" y="82"/>
                  </a:lnTo>
                  <a:lnTo>
                    <a:pt x="84" y="84"/>
                  </a:lnTo>
                  <a:lnTo>
                    <a:pt x="84" y="86"/>
                  </a:lnTo>
                  <a:lnTo>
                    <a:pt x="84" y="86"/>
                  </a:lnTo>
                  <a:lnTo>
                    <a:pt x="80" y="88"/>
                  </a:lnTo>
                  <a:lnTo>
                    <a:pt x="78" y="90"/>
                  </a:lnTo>
                  <a:lnTo>
                    <a:pt x="78" y="90"/>
                  </a:lnTo>
                  <a:lnTo>
                    <a:pt x="68" y="94"/>
                  </a:lnTo>
                  <a:lnTo>
                    <a:pt x="68" y="94"/>
                  </a:lnTo>
                  <a:lnTo>
                    <a:pt x="66" y="92"/>
                  </a:lnTo>
                  <a:lnTo>
                    <a:pt x="64" y="92"/>
                  </a:lnTo>
                  <a:lnTo>
                    <a:pt x="64" y="92"/>
                  </a:lnTo>
                  <a:lnTo>
                    <a:pt x="62" y="92"/>
                  </a:lnTo>
                  <a:lnTo>
                    <a:pt x="62" y="90"/>
                  </a:lnTo>
                  <a:lnTo>
                    <a:pt x="62" y="90"/>
                  </a:lnTo>
                  <a:lnTo>
                    <a:pt x="64" y="88"/>
                  </a:lnTo>
                  <a:lnTo>
                    <a:pt x="64" y="88"/>
                  </a:lnTo>
                  <a:lnTo>
                    <a:pt x="70" y="86"/>
                  </a:lnTo>
                  <a:lnTo>
                    <a:pt x="72" y="84"/>
                  </a:lnTo>
                  <a:lnTo>
                    <a:pt x="72" y="84"/>
                  </a:lnTo>
                  <a:lnTo>
                    <a:pt x="76" y="80"/>
                  </a:lnTo>
                  <a:lnTo>
                    <a:pt x="80" y="78"/>
                  </a:lnTo>
                  <a:lnTo>
                    <a:pt x="80" y="78"/>
                  </a:lnTo>
                  <a:lnTo>
                    <a:pt x="80" y="78"/>
                  </a:lnTo>
                  <a:lnTo>
                    <a:pt x="80" y="78"/>
                  </a:lnTo>
                  <a:lnTo>
                    <a:pt x="74" y="78"/>
                  </a:lnTo>
                  <a:lnTo>
                    <a:pt x="74" y="78"/>
                  </a:lnTo>
                  <a:lnTo>
                    <a:pt x="70" y="78"/>
                  </a:lnTo>
                  <a:lnTo>
                    <a:pt x="68" y="78"/>
                  </a:lnTo>
                  <a:lnTo>
                    <a:pt x="68" y="78"/>
                  </a:lnTo>
                  <a:lnTo>
                    <a:pt x="68" y="78"/>
                  </a:lnTo>
                  <a:lnTo>
                    <a:pt x="64" y="78"/>
                  </a:lnTo>
                  <a:lnTo>
                    <a:pt x="64" y="78"/>
                  </a:lnTo>
                  <a:lnTo>
                    <a:pt x="64" y="78"/>
                  </a:lnTo>
                  <a:lnTo>
                    <a:pt x="64" y="76"/>
                  </a:lnTo>
                  <a:lnTo>
                    <a:pt x="64" y="76"/>
                  </a:lnTo>
                  <a:lnTo>
                    <a:pt x="62" y="76"/>
                  </a:lnTo>
                  <a:lnTo>
                    <a:pt x="62" y="76"/>
                  </a:lnTo>
                  <a:lnTo>
                    <a:pt x="58" y="78"/>
                  </a:lnTo>
                  <a:lnTo>
                    <a:pt x="56" y="78"/>
                  </a:lnTo>
                  <a:lnTo>
                    <a:pt x="56" y="78"/>
                  </a:lnTo>
                  <a:lnTo>
                    <a:pt x="56" y="78"/>
                  </a:lnTo>
                  <a:lnTo>
                    <a:pt x="54" y="76"/>
                  </a:lnTo>
                  <a:lnTo>
                    <a:pt x="52" y="76"/>
                  </a:lnTo>
                  <a:lnTo>
                    <a:pt x="50" y="78"/>
                  </a:lnTo>
                  <a:lnTo>
                    <a:pt x="50" y="76"/>
                  </a:lnTo>
                  <a:lnTo>
                    <a:pt x="50" y="76"/>
                  </a:lnTo>
                  <a:lnTo>
                    <a:pt x="48" y="76"/>
                  </a:lnTo>
                  <a:lnTo>
                    <a:pt x="46" y="78"/>
                  </a:lnTo>
                  <a:lnTo>
                    <a:pt x="42" y="80"/>
                  </a:lnTo>
                  <a:lnTo>
                    <a:pt x="40" y="80"/>
                  </a:lnTo>
                  <a:lnTo>
                    <a:pt x="40" y="80"/>
                  </a:lnTo>
                  <a:lnTo>
                    <a:pt x="36" y="80"/>
                  </a:lnTo>
                  <a:lnTo>
                    <a:pt x="32" y="80"/>
                  </a:lnTo>
                  <a:lnTo>
                    <a:pt x="26" y="80"/>
                  </a:lnTo>
                  <a:lnTo>
                    <a:pt x="26" y="80"/>
                  </a:lnTo>
                  <a:lnTo>
                    <a:pt x="22" y="80"/>
                  </a:lnTo>
                  <a:lnTo>
                    <a:pt x="22" y="78"/>
                  </a:lnTo>
                  <a:lnTo>
                    <a:pt x="22" y="78"/>
                  </a:lnTo>
                  <a:lnTo>
                    <a:pt x="22" y="80"/>
                  </a:lnTo>
                  <a:lnTo>
                    <a:pt x="16" y="80"/>
                  </a:lnTo>
                  <a:lnTo>
                    <a:pt x="16" y="80"/>
                  </a:lnTo>
                  <a:lnTo>
                    <a:pt x="8" y="80"/>
                  </a:lnTo>
                  <a:lnTo>
                    <a:pt x="4" y="82"/>
                  </a:lnTo>
                  <a:lnTo>
                    <a:pt x="4" y="82"/>
                  </a:lnTo>
                  <a:lnTo>
                    <a:pt x="2" y="82"/>
                  </a:lnTo>
                  <a:lnTo>
                    <a:pt x="2" y="78"/>
                  </a:lnTo>
                  <a:lnTo>
                    <a:pt x="2" y="78"/>
                  </a:lnTo>
                  <a:lnTo>
                    <a:pt x="2" y="76"/>
                  </a:lnTo>
                  <a:lnTo>
                    <a:pt x="0" y="74"/>
                  </a:lnTo>
                  <a:lnTo>
                    <a:pt x="0" y="74"/>
                  </a:lnTo>
                  <a:lnTo>
                    <a:pt x="2" y="72"/>
                  </a:lnTo>
                  <a:lnTo>
                    <a:pt x="2" y="72"/>
                  </a:lnTo>
                  <a:lnTo>
                    <a:pt x="8" y="68"/>
                  </a:lnTo>
                  <a:lnTo>
                    <a:pt x="12" y="66"/>
                  </a:lnTo>
                  <a:lnTo>
                    <a:pt x="12" y="66"/>
                  </a:lnTo>
                  <a:lnTo>
                    <a:pt x="18" y="64"/>
                  </a:lnTo>
                  <a:lnTo>
                    <a:pt x="18" y="64"/>
                  </a:lnTo>
                  <a:lnTo>
                    <a:pt x="18" y="64"/>
                  </a:lnTo>
                  <a:lnTo>
                    <a:pt x="18" y="64"/>
                  </a:lnTo>
                  <a:lnTo>
                    <a:pt x="10" y="66"/>
                  </a:lnTo>
                  <a:lnTo>
                    <a:pt x="8" y="66"/>
                  </a:lnTo>
                  <a:lnTo>
                    <a:pt x="8" y="64"/>
                  </a:lnTo>
                  <a:lnTo>
                    <a:pt x="8" y="64"/>
                  </a:lnTo>
                  <a:lnTo>
                    <a:pt x="12" y="64"/>
                  </a:lnTo>
                  <a:lnTo>
                    <a:pt x="16" y="62"/>
                  </a:lnTo>
                  <a:lnTo>
                    <a:pt x="16" y="62"/>
                  </a:lnTo>
                  <a:lnTo>
                    <a:pt x="20" y="60"/>
                  </a:lnTo>
                  <a:lnTo>
                    <a:pt x="22" y="56"/>
                  </a:lnTo>
                  <a:lnTo>
                    <a:pt x="22" y="56"/>
                  </a:lnTo>
                  <a:lnTo>
                    <a:pt x="28" y="54"/>
                  </a:lnTo>
                  <a:lnTo>
                    <a:pt x="34" y="54"/>
                  </a:lnTo>
                  <a:lnTo>
                    <a:pt x="34" y="54"/>
                  </a:lnTo>
                  <a:lnTo>
                    <a:pt x="34" y="52"/>
                  </a:lnTo>
                  <a:lnTo>
                    <a:pt x="32" y="50"/>
                  </a:lnTo>
                  <a:lnTo>
                    <a:pt x="32" y="50"/>
                  </a:lnTo>
                  <a:lnTo>
                    <a:pt x="32" y="48"/>
                  </a:lnTo>
                  <a:lnTo>
                    <a:pt x="36" y="46"/>
                  </a:lnTo>
                  <a:lnTo>
                    <a:pt x="36" y="46"/>
                  </a:lnTo>
                  <a:lnTo>
                    <a:pt x="40" y="42"/>
                  </a:lnTo>
                  <a:lnTo>
                    <a:pt x="42" y="40"/>
                  </a:lnTo>
                  <a:lnTo>
                    <a:pt x="42" y="40"/>
                  </a:lnTo>
                  <a:lnTo>
                    <a:pt x="46" y="38"/>
                  </a:lnTo>
                  <a:lnTo>
                    <a:pt x="46" y="36"/>
                  </a:lnTo>
                  <a:lnTo>
                    <a:pt x="50" y="32"/>
                  </a:lnTo>
                  <a:lnTo>
                    <a:pt x="50" y="32"/>
                  </a:lnTo>
                  <a:lnTo>
                    <a:pt x="62" y="16"/>
                  </a:lnTo>
                  <a:lnTo>
                    <a:pt x="62" y="16"/>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4" name="Freeform 109"/>
            <p:cNvSpPr>
              <a:spLocks/>
            </p:cNvSpPr>
            <p:nvPr/>
          </p:nvSpPr>
          <p:spPr bwMode="auto">
            <a:xfrm>
              <a:off x="2834976" y="2091531"/>
              <a:ext cx="31750" cy="34396"/>
            </a:xfrm>
            <a:custGeom>
              <a:avLst/>
              <a:gdLst/>
              <a:ahLst/>
              <a:cxnLst>
                <a:cxn ang="0">
                  <a:pos x="4" y="8"/>
                </a:cxn>
                <a:cxn ang="0">
                  <a:pos x="4" y="8"/>
                </a:cxn>
                <a:cxn ang="0">
                  <a:pos x="8" y="6"/>
                </a:cxn>
                <a:cxn ang="0">
                  <a:pos x="10" y="6"/>
                </a:cxn>
                <a:cxn ang="0">
                  <a:pos x="10" y="6"/>
                </a:cxn>
                <a:cxn ang="0">
                  <a:pos x="20" y="0"/>
                </a:cxn>
                <a:cxn ang="0">
                  <a:pos x="20" y="0"/>
                </a:cxn>
                <a:cxn ang="0">
                  <a:pos x="24" y="0"/>
                </a:cxn>
                <a:cxn ang="0">
                  <a:pos x="24" y="0"/>
                </a:cxn>
                <a:cxn ang="0">
                  <a:pos x="22" y="2"/>
                </a:cxn>
                <a:cxn ang="0">
                  <a:pos x="22" y="2"/>
                </a:cxn>
                <a:cxn ang="0">
                  <a:pos x="18" y="6"/>
                </a:cxn>
                <a:cxn ang="0">
                  <a:pos x="16" y="6"/>
                </a:cxn>
                <a:cxn ang="0">
                  <a:pos x="18" y="6"/>
                </a:cxn>
                <a:cxn ang="0">
                  <a:pos x="18" y="6"/>
                </a:cxn>
                <a:cxn ang="0">
                  <a:pos x="22" y="4"/>
                </a:cxn>
                <a:cxn ang="0">
                  <a:pos x="24" y="4"/>
                </a:cxn>
                <a:cxn ang="0">
                  <a:pos x="24" y="4"/>
                </a:cxn>
                <a:cxn ang="0">
                  <a:pos x="24" y="4"/>
                </a:cxn>
                <a:cxn ang="0">
                  <a:pos x="24" y="10"/>
                </a:cxn>
                <a:cxn ang="0">
                  <a:pos x="22" y="14"/>
                </a:cxn>
                <a:cxn ang="0">
                  <a:pos x="22" y="14"/>
                </a:cxn>
                <a:cxn ang="0">
                  <a:pos x="20" y="18"/>
                </a:cxn>
                <a:cxn ang="0">
                  <a:pos x="20" y="22"/>
                </a:cxn>
                <a:cxn ang="0">
                  <a:pos x="20" y="22"/>
                </a:cxn>
                <a:cxn ang="0">
                  <a:pos x="20" y="24"/>
                </a:cxn>
                <a:cxn ang="0">
                  <a:pos x="18" y="26"/>
                </a:cxn>
                <a:cxn ang="0">
                  <a:pos x="14" y="26"/>
                </a:cxn>
                <a:cxn ang="0">
                  <a:pos x="14" y="26"/>
                </a:cxn>
                <a:cxn ang="0">
                  <a:pos x="12" y="26"/>
                </a:cxn>
                <a:cxn ang="0">
                  <a:pos x="10" y="26"/>
                </a:cxn>
                <a:cxn ang="0">
                  <a:pos x="8" y="26"/>
                </a:cxn>
                <a:cxn ang="0">
                  <a:pos x="8" y="26"/>
                </a:cxn>
                <a:cxn ang="0">
                  <a:pos x="8" y="20"/>
                </a:cxn>
                <a:cxn ang="0">
                  <a:pos x="10" y="16"/>
                </a:cxn>
                <a:cxn ang="0">
                  <a:pos x="10" y="16"/>
                </a:cxn>
                <a:cxn ang="0">
                  <a:pos x="10" y="16"/>
                </a:cxn>
                <a:cxn ang="0">
                  <a:pos x="8" y="16"/>
                </a:cxn>
                <a:cxn ang="0">
                  <a:pos x="6" y="22"/>
                </a:cxn>
                <a:cxn ang="0">
                  <a:pos x="6" y="22"/>
                </a:cxn>
                <a:cxn ang="0">
                  <a:pos x="2" y="26"/>
                </a:cxn>
                <a:cxn ang="0">
                  <a:pos x="0" y="26"/>
                </a:cxn>
                <a:cxn ang="0">
                  <a:pos x="0" y="24"/>
                </a:cxn>
                <a:cxn ang="0">
                  <a:pos x="0" y="24"/>
                </a:cxn>
                <a:cxn ang="0">
                  <a:pos x="0" y="18"/>
                </a:cxn>
                <a:cxn ang="0">
                  <a:pos x="0" y="14"/>
                </a:cxn>
                <a:cxn ang="0">
                  <a:pos x="2" y="12"/>
                </a:cxn>
                <a:cxn ang="0">
                  <a:pos x="2" y="12"/>
                </a:cxn>
                <a:cxn ang="0">
                  <a:pos x="2" y="10"/>
                </a:cxn>
                <a:cxn ang="0">
                  <a:pos x="4" y="8"/>
                </a:cxn>
                <a:cxn ang="0">
                  <a:pos x="4" y="8"/>
                </a:cxn>
              </a:cxnLst>
              <a:rect l="0" t="0" r="r" b="b"/>
              <a:pathLst>
                <a:path w="24" h="26">
                  <a:moveTo>
                    <a:pt x="4" y="8"/>
                  </a:moveTo>
                  <a:lnTo>
                    <a:pt x="4" y="8"/>
                  </a:lnTo>
                  <a:lnTo>
                    <a:pt x="8" y="6"/>
                  </a:lnTo>
                  <a:lnTo>
                    <a:pt x="10" y="6"/>
                  </a:lnTo>
                  <a:lnTo>
                    <a:pt x="10" y="6"/>
                  </a:lnTo>
                  <a:lnTo>
                    <a:pt x="20" y="0"/>
                  </a:lnTo>
                  <a:lnTo>
                    <a:pt x="20" y="0"/>
                  </a:lnTo>
                  <a:lnTo>
                    <a:pt x="24" y="0"/>
                  </a:lnTo>
                  <a:lnTo>
                    <a:pt x="24" y="0"/>
                  </a:lnTo>
                  <a:lnTo>
                    <a:pt x="22" y="2"/>
                  </a:lnTo>
                  <a:lnTo>
                    <a:pt x="22" y="2"/>
                  </a:lnTo>
                  <a:lnTo>
                    <a:pt x="18" y="6"/>
                  </a:lnTo>
                  <a:lnTo>
                    <a:pt x="16" y="6"/>
                  </a:lnTo>
                  <a:lnTo>
                    <a:pt x="18" y="6"/>
                  </a:lnTo>
                  <a:lnTo>
                    <a:pt x="18" y="6"/>
                  </a:lnTo>
                  <a:lnTo>
                    <a:pt x="22" y="4"/>
                  </a:lnTo>
                  <a:lnTo>
                    <a:pt x="24" y="4"/>
                  </a:lnTo>
                  <a:lnTo>
                    <a:pt x="24" y="4"/>
                  </a:lnTo>
                  <a:lnTo>
                    <a:pt x="24" y="4"/>
                  </a:lnTo>
                  <a:lnTo>
                    <a:pt x="24" y="10"/>
                  </a:lnTo>
                  <a:lnTo>
                    <a:pt x="22" y="14"/>
                  </a:lnTo>
                  <a:lnTo>
                    <a:pt x="22" y="14"/>
                  </a:lnTo>
                  <a:lnTo>
                    <a:pt x="20" y="18"/>
                  </a:lnTo>
                  <a:lnTo>
                    <a:pt x="20" y="22"/>
                  </a:lnTo>
                  <a:lnTo>
                    <a:pt x="20" y="22"/>
                  </a:lnTo>
                  <a:lnTo>
                    <a:pt x="20" y="24"/>
                  </a:lnTo>
                  <a:lnTo>
                    <a:pt x="18" y="26"/>
                  </a:lnTo>
                  <a:lnTo>
                    <a:pt x="14" y="26"/>
                  </a:lnTo>
                  <a:lnTo>
                    <a:pt x="14" y="26"/>
                  </a:lnTo>
                  <a:lnTo>
                    <a:pt x="12" y="26"/>
                  </a:lnTo>
                  <a:lnTo>
                    <a:pt x="10" y="26"/>
                  </a:lnTo>
                  <a:lnTo>
                    <a:pt x="8" y="26"/>
                  </a:lnTo>
                  <a:lnTo>
                    <a:pt x="8" y="26"/>
                  </a:lnTo>
                  <a:lnTo>
                    <a:pt x="8" y="20"/>
                  </a:lnTo>
                  <a:lnTo>
                    <a:pt x="10" y="16"/>
                  </a:lnTo>
                  <a:lnTo>
                    <a:pt x="10" y="16"/>
                  </a:lnTo>
                  <a:lnTo>
                    <a:pt x="10" y="16"/>
                  </a:lnTo>
                  <a:lnTo>
                    <a:pt x="8" y="16"/>
                  </a:lnTo>
                  <a:lnTo>
                    <a:pt x="6" y="22"/>
                  </a:lnTo>
                  <a:lnTo>
                    <a:pt x="6" y="22"/>
                  </a:lnTo>
                  <a:lnTo>
                    <a:pt x="2" y="26"/>
                  </a:lnTo>
                  <a:lnTo>
                    <a:pt x="0" y="26"/>
                  </a:lnTo>
                  <a:lnTo>
                    <a:pt x="0" y="24"/>
                  </a:lnTo>
                  <a:lnTo>
                    <a:pt x="0" y="24"/>
                  </a:lnTo>
                  <a:lnTo>
                    <a:pt x="0" y="18"/>
                  </a:lnTo>
                  <a:lnTo>
                    <a:pt x="0" y="14"/>
                  </a:lnTo>
                  <a:lnTo>
                    <a:pt x="2" y="12"/>
                  </a:lnTo>
                  <a:lnTo>
                    <a:pt x="2" y="12"/>
                  </a:lnTo>
                  <a:lnTo>
                    <a:pt x="2" y="10"/>
                  </a:lnTo>
                  <a:lnTo>
                    <a:pt x="4" y="8"/>
                  </a:lnTo>
                  <a:lnTo>
                    <a:pt x="4" y="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5" name="Freeform 110"/>
            <p:cNvSpPr>
              <a:spLocks/>
            </p:cNvSpPr>
            <p:nvPr/>
          </p:nvSpPr>
          <p:spPr bwMode="auto">
            <a:xfrm>
              <a:off x="2287288" y="1681427"/>
              <a:ext cx="142875" cy="58208"/>
            </a:xfrm>
            <a:custGeom>
              <a:avLst/>
              <a:gdLst/>
              <a:ahLst/>
              <a:cxnLst>
                <a:cxn ang="0">
                  <a:pos x="26" y="26"/>
                </a:cxn>
                <a:cxn ang="0">
                  <a:pos x="28" y="18"/>
                </a:cxn>
                <a:cxn ang="0">
                  <a:pos x="40" y="12"/>
                </a:cxn>
                <a:cxn ang="0">
                  <a:pos x="58" y="2"/>
                </a:cxn>
                <a:cxn ang="0">
                  <a:pos x="62" y="0"/>
                </a:cxn>
                <a:cxn ang="0">
                  <a:pos x="64" y="2"/>
                </a:cxn>
                <a:cxn ang="0">
                  <a:pos x="64" y="4"/>
                </a:cxn>
                <a:cxn ang="0">
                  <a:pos x="62" y="10"/>
                </a:cxn>
                <a:cxn ang="0">
                  <a:pos x="64" y="10"/>
                </a:cxn>
                <a:cxn ang="0">
                  <a:pos x="68" y="8"/>
                </a:cxn>
                <a:cxn ang="0">
                  <a:pos x="74" y="6"/>
                </a:cxn>
                <a:cxn ang="0">
                  <a:pos x="76" y="8"/>
                </a:cxn>
                <a:cxn ang="0">
                  <a:pos x="84" y="12"/>
                </a:cxn>
                <a:cxn ang="0">
                  <a:pos x="90" y="16"/>
                </a:cxn>
                <a:cxn ang="0">
                  <a:pos x="90" y="20"/>
                </a:cxn>
                <a:cxn ang="0">
                  <a:pos x="96" y="24"/>
                </a:cxn>
                <a:cxn ang="0">
                  <a:pos x="104" y="26"/>
                </a:cxn>
                <a:cxn ang="0">
                  <a:pos x="104" y="30"/>
                </a:cxn>
                <a:cxn ang="0">
                  <a:pos x="102" y="30"/>
                </a:cxn>
                <a:cxn ang="0">
                  <a:pos x="106" y="32"/>
                </a:cxn>
                <a:cxn ang="0">
                  <a:pos x="106" y="34"/>
                </a:cxn>
                <a:cxn ang="0">
                  <a:pos x="102" y="38"/>
                </a:cxn>
                <a:cxn ang="0">
                  <a:pos x="94" y="34"/>
                </a:cxn>
                <a:cxn ang="0">
                  <a:pos x="84" y="34"/>
                </a:cxn>
                <a:cxn ang="0">
                  <a:pos x="84" y="32"/>
                </a:cxn>
                <a:cxn ang="0">
                  <a:pos x="88" y="28"/>
                </a:cxn>
                <a:cxn ang="0">
                  <a:pos x="76" y="28"/>
                </a:cxn>
                <a:cxn ang="0">
                  <a:pos x="78" y="26"/>
                </a:cxn>
                <a:cxn ang="0">
                  <a:pos x="78" y="24"/>
                </a:cxn>
                <a:cxn ang="0">
                  <a:pos x="74" y="26"/>
                </a:cxn>
                <a:cxn ang="0">
                  <a:pos x="66" y="26"/>
                </a:cxn>
                <a:cxn ang="0">
                  <a:pos x="60" y="28"/>
                </a:cxn>
                <a:cxn ang="0">
                  <a:pos x="58" y="32"/>
                </a:cxn>
                <a:cxn ang="0">
                  <a:pos x="46" y="34"/>
                </a:cxn>
                <a:cxn ang="0">
                  <a:pos x="42" y="34"/>
                </a:cxn>
                <a:cxn ang="0">
                  <a:pos x="36" y="40"/>
                </a:cxn>
                <a:cxn ang="0">
                  <a:pos x="34" y="42"/>
                </a:cxn>
                <a:cxn ang="0">
                  <a:pos x="16" y="44"/>
                </a:cxn>
                <a:cxn ang="0">
                  <a:pos x="14" y="44"/>
                </a:cxn>
                <a:cxn ang="0">
                  <a:pos x="18" y="40"/>
                </a:cxn>
                <a:cxn ang="0">
                  <a:pos x="20" y="38"/>
                </a:cxn>
                <a:cxn ang="0">
                  <a:pos x="16" y="36"/>
                </a:cxn>
                <a:cxn ang="0">
                  <a:pos x="4" y="36"/>
                </a:cxn>
                <a:cxn ang="0">
                  <a:pos x="0" y="36"/>
                </a:cxn>
                <a:cxn ang="0">
                  <a:pos x="6" y="32"/>
                </a:cxn>
                <a:cxn ang="0">
                  <a:pos x="26" y="26"/>
                </a:cxn>
              </a:cxnLst>
              <a:rect l="0" t="0" r="r" b="b"/>
              <a:pathLst>
                <a:path w="108" h="44">
                  <a:moveTo>
                    <a:pt x="26" y="26"/>
                  </a:moveTo>
                  <a:lnTo>
                    <a:pt x="26" y="26"/>
                  </a:lnTo>
                  <a:lnTo>
                    <a:pt x="26" y="22"/>
                  </a:lnTo>
                  <a:lnTo>
                    <a:pt x="28" y="18"/>
                  </a:lnTo>
                  <a:lnTo>
                    <a:pt x="40" y="12"/>
                  </a:lnTo>
                  <a:lnTo>
                    <a:pt x="40" y="12"/>
                  </a:lnTo>
                  <a:lnTo>
                    <a:pt x="48" y="6"/>
                  </a:lnTo>
                  <a:lnTo>
                    <a:pt x="58" y="2"/>
                  </a:lnTo>
                  <a:lnTo>
                    <a:pt x="58" y="2"/>
                  </a:lnTo>
                  <a:lnTo>
                    <a:pt x="62" y="0"/>
                  </a:lnTo>
                  <a:lnTo>
                    <a:pt x="64" y="2"/>
                  </a:lnTo>
                  <a:lnTo>
                    <a:pt x="64" y="2"/>
                  </a:lnTo>
                  <a:lnTo>
                    <a:pt x="64" y="4"/>
                  </a:lnTo>
                  <a:lnTo>
                    <a:pt x="64" y="4"/>
                  </a:lnTo>
                  <a:lnTo>
                    <a:pt x="62" y="6"/>
                  </a:lnTo>
                  <a:lnTo>
                    <a:pt x="62" y="10"/>
                  </a:lnTo>
                  <a:lnTo>
                    <a:pt x="62" y="10"/>
                  </a:lnTo>
                  <a:lnTo>
                    <a:pt x="64" y="10"/>
                  </a:lnTo>
                  <a:lnTo>
                    <a:pt x="64" y="10"/>
                  </a:lnTo>
                  <a:lnTo>
                    <a:pt x="68" y="8"/>
                  </a:lnTo>
                  <a:lnTo>
                    <a:pt x="72" y="6"/>
                  </a:lnTo>
                  <a:lnTo>
                    <a:pt x="74" y="6"/>
                  </a:lnTo>
                  <a:lnTo>
                    <a:pt x="76" y="8"/>
                  </a:lnTo>
                  <a:lnTo>
                    <a:pt x="76" y="8"/>
                  </a:lnTo>
                  <a:lnTo>
                    <a:pt x="78" y="10"/>
                  </a:lnTo>
                  <a:lnTo>
                    <a:pt x="84" y="12"/>
                  </a:lnTo>
                  <a:lnTo>
                    <a:pt x="88" y="14"/>
                  </a:lnTo>
                  <a:lnTo>
                    <a:pt x="90" y="16"/>
                  </a:lnTo>
                  <a:lnTo>
                    <a:pt x="90" y="16"/>
                  </a:lnTo>
                  <a:lnTo>
                    <a:pt x="90" y="20"/>
                  </a:lnTo>
                  <a:lnTo>
                    <a:pt x="90" y="22"/>
                  </a:lnTo>
                  <a:lnTo>
                    <a:pt x="96" y="24"/>
                  </a:lnTo>
                  <a:lnTo>
                    <a:pt x="96" y="24"/>
                  </a:lnTo>
                  <a:lnTo>
                    <a:pt x="104" y="26"/>
                  </a:lnTo>
                  <a:lnTo>
                    <a:pt x="104" y="28"/>
                  </a:lnTo>
                  <a:lnTo>
                    <a:pt x="104" y="30"/>
                  </a:lnTo>
                  <a:lnTo>
                    <a:pt x="104" y="30"/>
                  </a:lnTo>
                  <a:lnTo>
                    <a:pt x="102" y="30"/>
                  </a:lnTo>
                  <a:lnTo>
                    <a:pt x="104" y="30"/>
                  </a:lnTo>
                  <a:lnTo>
                    <a:pt x="106" y="32"/>
                  </a:lnTo>
                  <a:lnTo>
                    <a:pt x="108" y="32"/>
                  </a:lnTo>
                  <a:lnTo>
                    <a:pt x="106" y="34"/>
                  </a:lnTo>
                  <a:lnTo>
                    <a:pt x="106" y="34"/>
                  </a:lnTo>
                  <a:lnTo>
                    <a:pt x="102" y="38"/>
                  </a:lnTo>
                  <a:lnTo>
                    <a:pt x="100" y="38"/>
                  </a:lnTo>
                  <a:lnTo>
                    <a:pt x="94" y="34"/>
                  </a:lnTo>
                  <a:lnTo>
                    <a:pt x="94" y="34"/>
                  </a:lnTo>
                  <a:lnTo>
                    <a:pt x="84" y="34"/>
                  </a:lnTo>
                  <a:lnTo>
                    <a:pt x="82" y="34"/>
                  </a:lnTo>
                  <a:lnTo>
                    <a:pt x="84" y="32"/>
                  </a:lnTo>
                  <a:lnTo>
                    <a:pt x="84" y="32"/>
                  </a:lnTo>
                  <a:lnTo>
                    <a:pt x="88" y="28"/>
                  </a:lnTo>
                  <a:lnTo>
                    <a:pt x="84" y="28"/>
                  </a:lnTo>
                  <a:lnTo>
                    <a:pt x="76" y="28"/>
                  </a:lnTo>
                  <a:lnTo>
                    <a:pt x="76" y="28"/>
                  </a:lnTo>
                  <a:lnTo>
                    <a:pt x="78" y="26"/>
                  </a:lnTo>
                  <a:lnTo>
                    <a:pt x="78" y="26"/>
                  </a:lnTo>
                  <a:lnTo>
                    <a:pt x="78" y="24"/>
                  </a:lnTo>
                  <a:lnTo>
                    <a:pt x="74" y="26"/>
                  </a:lnTo>
                  <a:lnTo>
                    <a:pt x="74" y="26"/>
                  </a:lnTo>
                  <a:lnTo>
                    <a:pt x="68" y="26"/>
                  </a:lnTo>
                  <a:lnTo>
                    <a:pt x="66" y="26"/>
                  </a:lnTo>
                  <a:lnTo>
                    <a:pt x="62" y="26"/>
                  </a:lnTo>
                  <a:lnTo>
                    <a:pt x="60" y="28"/>
                  </a:lnTo>
                  <a:lnTo>
                    <a:pt x="60" y="28"/>
                  </a:lnTo>
                  <a:lnTo>
                    <a:pt x="58" y="32"/>
                  </a:lnTo>
                  <a:lnTo>
                    <a:pt x="54" y="32"/>
                  </a:lnTo>
                  <a:lnTo>
                    <a:pt x="46" y="34"/>
                  </a:lnTo>
                  <a:lnTo>
                    <a:pt x="46" y="34"/>
                  </a:lnTo>
                  <a:lnTo>
                    <a:pt x="42" y="34"/>
                  </a:lnTo>
                  <a:lnTo>
                    <a:pt x="40" y="36"/>
                  </a:lnTo>
                  <a:lnTo>
                    <a:pt x="36" y="40"/>
                  </a:lnTo>
                  <a:lnTo>
                    <a:pt x="34" y="42"/>
                  </a:lnTo>
                  <a:lnTo>
                    <a:pt x="34" y="42"/>
                  </a:lnTo>
                  <a:lnTo>
                    <a:pt x="24" y="44"/>
                  </a:lnTo>
                  <a:lnTo>
                    <a:pt x="16" y="44"/>
                  </a:lnTo>
                  <a:lnTo>
                    <a:pt x="16" y="44"/>
                  </a:lnTo>
                  <a:lnTo>
                    <a:pt x="14" y="44"/>
                  </a:lnTo>
                  <a:lnTo>
                    <a:pt x="14" y="42"/>
                  </a:lnTo>
                  <a:lnTo>
                    <a:pt x="18" y="40"/>
                  </a:lnTo>
                  <a:lnTo>
                    <a:pt x="18" y="40"/>
                  </a:lnTo>
                  <a:lnTo>
                    <a:pt x="20" y="38"/>
                  </a:lnTo>
                  <a:lnTo>
                    <a:pt x="20" y="36"/>
                  </a:lnTo>
                  <a:lnTo>
                    <a:pt x="16" y="36"/>
                  </a:lnTo>
                  <a:lnTo>
                    <a:pt x="16" y="36"/>
                  </a:lnTo>
                  <a:lnTo>
                    <a:pt x="4" y="36"/>
                  </a:lnTo>
                  <a:lnTo>
                    <a:pt x="2" y="36"/>
                  </a:lnTo>
                  <a:lnTo>
                    <a:pt x="0" y="36"/>
                  </a:lnTo>
                  <a:lnTo>
                    <a:pt x="0" y="36"/>
                  </a:lnTo>
                  <a:lnTo>
                    <a:pt x="6" y="32"/>
                  </a:lnTo>
                  <a:lnTo>
                    <a:pt x="26" y="26"/>
                  </a:lnTo>
                  <a:lnTo>
                    <a:pt x="26" y="26"/>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6" name="Freeform 111"/>
            <p:cNvSpPr>
              <a:spLocks/>
            </p:cNvSpPr>
            <p:nvPr/>
          </p:nvSpPr>
          <p:spPr bwMode="auto">
            <a:xfrm>
              <a:off x="2620663" y="1535906"/>
              <a:ext cx="58208" cy="21167"/>
            </a:xfrm>
            <a:custGeom>
              <a:avLst/>
              <a:gdLst/>
              <a:ahLst/>
              <a:cxnLst>
                <a:cxn ang="0">
                  <a:pos x="8" y="16"/>
                </a:cxn>
                <a:cxn ang="0">
                  <a:pos x="8" y="16"/>
                </a:cxn>
                <a:cxn ang="0">
                  <a:pos x="4" y="14"/>
                </a:cxn>
                <a:cxn ang="0">
                  <a:pos x="4" y="12"/>
                </a:cxn>
                <a:cxn ang="0">
                  <a:pos x="2" y="8"/>
                </a:cxn>
                <a:cxn ang="0">
                  <a:pos x="2" y="8"/>
                </a:cxn>
                <a:cxn ang="0">
                  <a:pos x="0" y="6"/>
                </a:cxn>
                <a:cxn ang="0">
                  <a:pos x="0" y="4"/>
                </a:cxn>
                <a:cxn ang="0">
                  <a:pos x="2" y="2"/>
                </a:cxn>
                <a:cxn ang="0">
                  <a:pos x="8" y="2"/>
                </a:cxn>
                <a:cxn ang="0">
                  <a:pos x="8" y="2"/>
                </a:cxn>
                <a:cxn ang="0">
                  <a:pos x="18" y="0"/>
                </a:cxn>
                <a:cxn ang="0">
                  <a:pos x="22" y="0"/>
                </a:cxn>
                <a:cxn ang="0">
                  <a:pos x="28" y="2"/>
                </a:cxn>
                <a:cxn ang="0">
                  <a:pos x="28" y="2"/>
                </a:cxn>
                <a:cxn ang="0">
                  <a:pos x="40" y="6"/>
                </a:cxn>
                <a:cxn ang="0">
                  <a:pos x="44" y="8"/>
                </a:cxn>
                <a:cxn ang="0">
                  <a:pos x="42" y="10"/>
                </a:cxn>
                <a:cxn ang="0">
                  <a:pos x="42" y="10"/>
                </a:cxn>
                <a:cxn ang="0">
                  <a:pos x="34" y="10"/>
                </a:cxn>
                <a:cxn ang="0">
                  <a:pos x="24" y="12"/>
                </a:cxn>
                <a:cxn ang="0">
                  <a:pos x="24" y="12"/>
                </a:cxn>
                <a:cxn ang="0">
                  <a:pos x="16" y="16"/>
                </a:cxn>
                <a:cxn ang="0">
                  <a:pos x="12" y="16"/>
                </a:cxn>
                <a:cxn ang="0">
                  <a:pos x="8" y="16"/>
                </a:cxn>
                <a:cxn ang="0">
                  <a:pos x="8" y="16"/>
                </a:cxn>
              </a:cxnLst>
              <a:rect l="0" t="0" r="r" b="b"/>
              <a:pathLst>
                <a:path w="44" h="16">
                  <a:moveTo>
                    <a:pt x="8" y="16"/>
                  </a:moveTo>
                  <a:lnTo>
                    <a:pt x="8" y="16"/>
                  </a:lnTo>
                  <a:lnTo>
                    <a:pt x="4" y="14"/>
                  </a:lnTo>
                  <a:lnTo>
                    <a:pt x="4" y="12"/>
                  </a:lnTo>
                  <a:lnTo>
                    <a:pt x="2" y="8"/>
                  </a:lnTo>
                  <a:lnTo>
                    <a:pt x="2" y="8"/>
                  </a:lnTo>
                  <a:lnTo>
                    <a:pt x="0" y="6"/>
                  </a:lnTo>
                  <a:lnTo>
                    <a:pt x="0" y="4"/>
                  </a:lnTo>
                  <a:lnTo>
                    <a:pt x="2" y="2"/>
                  </a:lnTo>
                  <a:lnTo>
                    <a:pt x="8" y="2"/>
                  </a:lnTo>
                  <a:lnTo>
                    <a:pt x="8" y="2"/>
                  </a:lnTo>
                  <a:lnTo>
                    <a:pt x="18" y="0"/>
                  </a:lnTo>
                  <a:lnTo>
                    <a:pt x="22" y="0"/>
                  </a:lnTo>
                  <a:lnTo>
                    <a:pt x="28" y="2"/>
                  </a:lnTo>
                  <a:lnTo>
                    <a:pt x="28" y="2"/>
                  </a:lnTo>
                  <a:lnTo>
                    <a:pt x="40" y="6"/>
                  </a:lnTo>
                  <a:lnTo>
                    <a:pt x="44" y="8"/>
                  </a:lnTo>
                  <a:lnTo>
                    <a:pt x="42" y="10"/>
                  </a:lnTo>
                  <a:lnTo>
                    <a:pt x="42" y="10"/>
                  </a:lnTo>
                  <a:lnTo>
                    <a:pt x="34" y="10"/>
                  </a:lnTo>
                  <a:lnTo>
                    <a:pt x="24" y="12"/>
                  </a:lnTo>
                  <a:lnTo>
                    <a:pt x="24" y="12"/>
                  </a:lnTo>
                  <a:lnTo>
                    <a:pt x="16" y="16"/>
                  </a:lnTo>
                  <a:lnTo>
                    <a:pt x="12" y="16"/>
                  </a:lnTo>
                  <a:lnTo>
                    <a:pt x="8" y="16"/>
                  </a:lnTo>
                  <a:lnTo>
                    <a:pt x="8" y="16"/>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7" name="Freeform 112"/>
            <p:cNvSpPr>
              <a:spLocks/>
            </p:cNvSpPr>
            <p:nvPr/>
          </p:nvSpPr>
          <p:spPr bwMode="auto">
            <a:xfrm>
              <a:off x="2199976" y="1533260"/>
              <a:ext cx="119063" cy="39688"/>
            </a:xfrm>
            <a:custGeom>
              <a:avLst/>
              <a:gdLst/>
              <a:ahLst/>
              <a:cxnLst>
                <a:cxn ang="0">
                  <a:pos x="54" y="26"/>
                </a:cxn>
                <a:cxn ang="0">
                  <a:pos x="56" y="28"/>
                </a:cxn>
                <a:cxn ang="0">
                  <a:pos x="64" y="26"/>
                </a:cxn>
                <a:cxn ang="0">
                  <a:pos x="72" y="22"/>
                </a:cxn>
                <a:cxn ang="0">
                  <a:pos x="76" y="18"/>
                </a:cxn>
                <a:cxn ang="0">
                  <a:pos x="72" y="16"/>
                </a:cxn>
                <a:cxn ang="0">
                  <a:pos x="72" y="14"/>
                </a:cxn>
                <a:cxn ang="0">
                  <a:pos x="84" y="12"/>
                </a:cxn>
                <a:cxn ang="0">
                  <a:pos x="88" y="10"/>
                </a:cxn>
                <a:cxn ang="0">
                  <a:pos x="90" y="6"/>
                </a:cxn>
                <a:cxn ang="0">
                  <a:pos x="82" y="6"/>
                </a:cxn>
                <a:cxn ang="0">
                  <a:pos x="80" y="6"/>
                </a:cxn>
                <a:cxn ang="0">
                  <a:pos x="88" y="4"/>
                </a:cxn>
                <a:cxn ang="0">
                  <a:pos x="88" y="2"/>
                </a:cxn>
                <a:cxn ang="0">
                  <a:pos x="78" y="2"/>
                </a:cxn>
                <a:cxn ang="0">
                  <a:pos x="66" y="2"/>
                </a:cxn>
                <a:cxn ang="0">
                  <a:pos x="52" y="2"/>
                </a:cxn>
                <a:cxn ang="0">
                  <a:pos x="44" y="2"/>
                </a:cxn>
                <a:cxn ang="0">
                  <a:pos x="38" y="2"/>
                </a:cxn>
                <a:cxn ang="0">
                  <a:pos x="28" y="4"/>
                </a:cxn>
                <a:cxn ang="0">
                  <a:pos x="28" y="6"/>
                </a:cxn>
                <a:cxn ang="0">
                  <a:pos x="40" y="12"/>
                </a:cxn>
                <a:cxn ang="0">
                  <a:pos x="40" y="14"/>
                </a:cxn>
                <a:cxn ang="0">
                  <a:pos x="30" y="12"/>
                </a:cxn>
                <a:cxn ang="0">
                  <a:pos x="14" y="10"/>
                </a:cxn>
                <a:cxn ang="0">
                  <a:pos x="0" y="12"/>
                </a:cxn>
                <a:cxn ang="0">
                  <a:pos x="0" y="14"/>
                </a:cxn>
                <a:cxn ang="0">
                  <a:pos x="6" y="22"/>
                </a:cxn>
                <a:cxn ang="0">
                  <a:pos x="10" y="22"/>
                </a:cxn>
                <a:cxn ang="0">
                  <a:pos x="24" y="26"/>
                </a:cxn>
                <a:cxn ang="0">
                  <a:pos x="28" y="28"/>
                </a:cxn>
                <a:cxn ang="0">
                  <a:pos x="36" y="28"/>
                </a:cxn>
                <a:cxn ang="0">
                  <a:pos x="44" y="30"/>
                </a:cxn>
                <a:cxn ang="0">
                  <a:pos x="54" y="26"/>
                </a:cxn>
              </a:cxnLst>
              <a:rect l="0" t="0" r="r" b="b"/>
              <a:pathLst>
                <a:path w="90" h="30">
                  <a:moveTo>
                    <a:pt x="54" y="26"/>
                  </a:moveTo>
                  <a:lnTo>
                    <a:pt x="54" y="26"/>
                  </a:lnTo>
                  <a:lnTo>
                    <a:pt x="54" y="28"/>
                  </a:lnTo>
                  <a:lnTo>
                    <a:pt x="56" y="28"/>
                  </a:lnTo>
                  <a:lnTo>
                    <a:pt x="60" y="28"/>
                  </a:lnTo>
                  <a:lnTo>
                    <a:pt x="64" y="26"/>
                  </a:lnTo>
                  <a:lnTo>
                    <a:pt x="64" y="26"/>
                  </a:lnTo>
                  <a:lnTo>
                    <a:pt x="72" y="22"/>
                  </a:lnTo>
                  <a:lnTo>
                    <a:pt x="72" y="22"/>
                  </a:lnTo>
                  <a:lnTo>
                    <a:pt x="76" y="18"/>
                  </a:lnTo>
                  <a:lnTo>
                    <a:pt x="76" y="16"/>
                  </a:lnTo>
                  <a:lnTo>
                    <a:pt x="72" y="16"/>
                  </a:lnTo>
                  <a:lnTo>
                    <a:pt x="72" y="14"/>
                  </a:lnTo>
                  <a:lnTo>
                    <a:pt x="72" y="14"/>
                  </a:lnTo>
                  <a:lnTo>
                    <a:pt x="78" y="14"/>
                  </a:lnTo>
                  <a:lnTo>
                    <a:pt x="84" y="12"/>
                  </a:lnTo>
                  <a:lnTo>
                    <a:pt x="88" y="10"/>
                  </a:lnTo>
                  <a:lnTo>
                    <a:pt x="88" y="10"/>
                  </a:lnTo>
                  <a:lnTo>
                    <a:pt x="90" y="8"/>
                  </a:lnTo>
                  <a:lnTo>
                    <a:pt x="90" y="6"/>
                  </a:lnTo>
                  <a:lnTo>
                    <a:pt x="86" y="6"/>
                  </a:lnTo>
                  <a:lnTo>
                    <a:pt x="82" y="6"/>
                  </a:lnTo>
                  <a:lnTo>
                    <a:pt x="80" y="6"/>
                  </a:lnTo>
                  <a:lnTo>
                    <a:pt x="80" y="6"/>
                  </a:lnTo>
                  <a:lnTo>
                    <a:pt x="86" y="4"/>
                  </a:lnTo>
                  <a:lnTo>
                    <a:pt x="88" y="4"/>
                  </a:lnTo>
                  <a:lnTo>
                    <a:pt x="88" y="2"/>
                  </a:lnTo>
                  <a:lnTo>
                    <a:pt x="88" y="2"/>
                  </a:lnTo>
                  <a:lnTo>
                    <a:pt x="84" y="0"/>
                  </a:lnTo>
                  <a:lnTo>
                    <a:pt x="78" y="2"/>
                  </a:lnTo>
                  <a:lnTo>
                    <a:pt x="66" y="2"/>
                  </a:lnTo>
                  <a:lnTo>
                    <a:pt x="66" y="2"/>
                  </a:lnTo>
                  <a:lnTo>
                    <a:pt x="60" y="2"/>
                  </a:lnTo>
                  <a:lnTo>
                    <a:pt x="52" y="2"/>
                  </a:lnTo>
                  <a:lnTo>
                    <a:pt x="52" y="2"/>
                  </a:lnTo>
                  <a:lnTo>
                    <a:pt x="44" y="2"/>
                  </a:lnTo>
                  <a:lnTo>
                    <a:pt x="38" y="2"/>
                  </a:lnTo>
                  <a:lnTo>
                    <a:pt x="38" y="2"/>
                  </a:lnTo>
                  <a:lnTo>
                    <a:pt x="30" y="4"/>
                  </a:lnTo>
                  <a:lnTo>
                    <a:pt x="28" y="4"/>
                  </a:lnTo>
                  <a:lnTo>
                    <a:pt x="28" y="6"/>
                  </a:lnTo>
                  <a:lnTo>
                    <a:pt x="28" y="6"/>
                  </a:lnTo>
                  <a:lnTo>
                    <a:pt x="36" y="8"/>
                  </a:lnTo>
                  <a:lnTo>
                    <a:pt x="40" y="12"/>
                  </a:lnTo>
                  <a:lnTo>
                    <a:pt x="40" y="12"/>
                  </a:lnTo>
                  <a:lnTo>
                    <a:pt x="40" y="14"/>
                  </a:lnTo>
                  <a:lnTo>
                    <a:pt x="40" y="14"/>
                  </a:lnTo>
                  <a:lnTo>
                    <a:pt x="30" y="12"/>
                  </a:lnTo>
                  <a:lnTo>
                    <a:pt x="30" y="12"/>
                  </a:lnTo>
                  <a:lnTo>
                    <a:pt x="14" y="10"/>
                  </a:lnTo>
                  <a:lnTo>
                    <a:pt x="6" y="10"/>
                  </a:lnTo>
                  <a:lnTo>
                    <a:pt x="0" y="12"/>
                  </a:lnTo>
                  <a:lnTo>
                    <a:pt x="0" y="12"/>
                  </a:lnTo>
                  <a:lnTo>
                    <a:pt x="0" y="14"/>
                  </a:lnTo>
                  <a:lnTo>
                    <a:pt x="2" y="18"/>
                  </a:lnTo>
                  <a:lnTo>
                    <a:pt x="6" y="22"/>
                  </a:lnTo>
                  <a:lnTo>
                    <a:pt x="10" y="22"/>
                  </a:lnTo>
                  <a:lnTo>
                    <a:pt x="10" y="22"/>
                  </a:lnTo>
                  <a:lnTo>
                    <a:pt x="18" y="24"/>
                  </a:lnTo>
                  <a:lnTo>
                    <a:pt x="24" y="26"/>
                  </a:lnTo>
                  <a:lnTo>
                    <a:pt x="24" y="26"/>
                  </a:lnTo>
                  <a:lnTo>
                    <a:pt x="28" y="28"/>
                  </a:lnTo>
                  <a:lnTo>
                    <a:pt x="32" y="28"/>
                  </a:lnTo>
                  <a:lnTo>
                    <a:pt x="36" y="28"/>
                  </a:lnTo>
                  <a:lnTo>
                    <a:pt x="36" y="28"/>
                  </a:lnTo>
                  <a:lnTo>
                    <a:pt x="44" y="30"/>
                  </a:lnTo>
                  <a:lnTo>
                    <a:pt x="48" y="30"/>
                  </a:lnTo>
                  <a:lnTo>
                    <a:pt x="54" y="26"/>
                  </a:lnTo>
                  <a:lnTo>
                    <a:pt x="54" y="26"/>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8" name="Freeform 113"/>
            <p:cNvSpPr>
              <a:spLocks/>
            </p:cNvSpPr>
            <p:nvPr/>
          </p:nvSpPr>
          <p:spPr bwMode="auto">
            <a:xfrm>
              <a:off x="2329622" y="1535906"/>
              <a:ext cx="89958" cy="29104"/>
            </a:xfrm>
            <a:custGeom>
              <a:avLst/>
              <a:gdLst/>
              <a:ahLst/>
              <a:cxnLst>
                <a:cxn ang="0">
                  <a:pos x="2" y="18"/>
                </a:cxn>
                <a:cxn ang="0">
                  <a:pos x="2" y="18"/>
                </a:cxn>
                <a:cxn ang="0">
                  <a:pos x="6" y="22"/>
                </a:cxn>
                <a:cxn ang="0">
                  <a:pos x="10" y="22"/>
                </a:cxn>
                <a:cxn ang="0">
                  <a:pos x="12" y="22"/>
                </a:cxn>
                <a:cxn ang="0">
                  <a:pos x="12" y="22"/>
                </a:cxn>
                <a:cxn ang="0">
                  <a:pos x="16" y="20"/>
                </a:cxn>
                <a:cxn ang="0">
                  <a:pos x="18" y="18"/>
                </a:cxn>
                <a:cxn ang="0">
                  <a:pos x="18" y="16"/>
                </a:cxn>
                <a:cxn ang="0">
                  <a:pos x="18" y="16"/>
                </a:cxn>
                <a:cxn ang="0">
                  <a:pos x="12" y="14"/>
                </a:cxn>
                <a:cxn ang="0">
                  <a:pos x="12" y="12"/>
                </a:cxn>
                <a:cxn ang="0">
                  <a:pos x="18" y="14"/>
                </a:cxn>
                <a:cxn ang="0">
                  <a:pos x="18" y="14"/>
                </a:cxn>
                <a:cxn ang="0">
                  <a:pos x="36" y="16"/>
                </a:cxn>
                <a:cxn ang="0">
                  <a:pos x="40" y="16"/>
                </a:cxn>
                <a:cxn ang="0">
                  <a:pos x="44" y="16"/>
                </a:cxn>
                <a:cxn ang="0">
                  <a:pos x="44" y="16"/>
                </a:cxn>
                <a:cxn ang="0">
                  <a:pos x="48" y="12"/>
                </a:cxn>
                <a:cxn ang="0">
                  <a:pos x="54" y="8"/>
                </a:cxn>
                <a:cxn ang="0">
                  <a:pos x="66" y="4"/>
                </a:cxn>
                <a:cxn ang="0">
                  <a:pos x="66" y="4"/>
                </a:cxn>
                <a:cxn ang="0">
                  <a:pos x="68" y="4"/>
                </a:cxn>
                <a:cxn ang="0">
                  <a:pos x="66" y="2"/>
                </a:cxn>
                <a:cxn ang="0">
                  <a:pos x="52" y="2"/>
                </a:cxn>
                <a:cxn ang="0">
                  <a:pos x="52" y="2"/>
                </a:cxn>
                <a:cxn ang="0">
                  <a:pos x="36" y="0"/>
                </a:cxn>
                <a:cxn ang="0">
                  <a:pos x="28" y="0"/>
                </a:cxn>
                <a:cxn ang="0">
                  <a:pos x="22" y="0"/>
                </a:cxn>
                <a:cxn ang="0">
                  <a:pos x="22" y="0"/>
                </a:cxn>
                <a:cxn ang="0">
                  <a:pos x="12" y="4"/>
                </a:cxn>
                <a:cxn ang="0">
                  <a:pos x="8" y="6"/>
                </a:cxn>
                <a:cxn ang="0">
                  <a:pos x="6" y="10"/>
                </a:cxn>
                <a:cxn ang="0">
                  <a:pos x="6" y="10"/>
                </a:cxn>
                <a:cxn ang="0">
                  <a:pos x="6" y="12"/>
                </a:cxn>
                <a:cxn ang="0">
                  <a:pos x="2" y="14"/>
                </a:cxn>
                <a:cxn ang="0">
                  <a:pos x="0" y="16"/>
                </a:cxn>
                <a:cxn ang="0">
                  <a:pos x="2" y="18"/>
                </a:cxn>
                <a:cxn ang="0">
                  <a:pos x="2" y="18"/>
                </a:cxn>
              </a:cxnLst>
              <a:rect l="0" t="0" r="r" b="b"/>
              <a:pathLst>
                <a:path w="68" h="22">
                  <a:moveTo>
                    <a:pt x="2" y="18"/>
                  </a:moveTo>
                  <a:lnTo>
                    <a:pt x="2" y="18"/>
                  </a:lnTo>
                  <a:lnTo>
                    <a:pt x="6" y="22"/>
                  </a:lnTo>
                  <a:lnTo>
                    <a:pt x="10" y="22"/>
                  </a:lnTo>
                  <a:lnTo>
                    <a:pt x="12" y="22"/>
                  </a:lnTo>
                  <a:lnTo>
                    <a:pt x="12" y="22"/>
                  </a:lnTo>
                  <a:lnTo>
                    <a:pt x="16" y="20"/>
                  </a:lnTo>
                  <a:lnTo>
                    <a:pt x="18" y="18"/>
                  </a:lnTo>
                  <a:lnTo>
                    <a:pt x="18" y="16"/>
                  </a:lnTo>
                  <a:lnTo>
                    <a:pt x="18" y="16"/>
                  </a:lnTo>
                  <a:lnTo>
                    <a:pt x="12" y="14"/>
                  </a:lnTo>
                  <a:lnTo>
                    <a:pt x="12" y="12"/>
                  </a:lnTo>
                  <a:lnTo>
                    <a:pt x="18" y="14"/>
                  </a:lnTo>
                  <a:lnTo>
                    <a:pt x="18" y="14"/>
                  </a:lnTo>
                  <a:lnTo>
                    <a:pt x="36" y="16"/>
                  </a:lnTo>
                  <a:lnTo>
                    <a:pt x="40" y="16"/>
                  </a:lnTo>
                  <a:lnTo>
                    <a:pt x="44" y="16"/>
                  </a:lnTo>
                  <a:lnTo>
                    <a:pt x="44" y="16"/>
                  </a:lnTo>
                  <a:lnTo>
                    <a:pt x="48" y="12"/>
                  </a:lnTo>
                  <a:lnTo>
                    <a:pt x="54" y="8"/>
                  </a:lnTo>
                  <a:lnTo>
                    <a:pt x="66" y="4"/>
                  </a:lnTo>
                  <a:lnTo>
                    <a:pt x="66" y="4"/>
                  </a:lnTo>
                  <a:lnTo>
                    <a:pt x="68" y="4"/>
                  </a:lnTo>
                  <a:lnTo>
                    <a:pt x="66" y="2"/>
                  </a:lnTo>
                  <a:lnTo>
                    <a:pt x="52" y="2"/>
                  </a:lnTo>
                  <a:lnTo>
                    <a:pt x="52" y="2"/>
                  </a:lnTo>
                  <a:lnTo>
                    <a:pt x="36" y="0"/>
                  </a:lnTo>
                  <a:lnTo>
                    <a:pt x="28" y="0"/>
                  </a:lnTo>
                  <a:lnTo>
                    <a:pt x="22" y="0"/>
                  </a:lnTo>
                  <a:lnTo>
                    <a:pt x="22" y="0"/>
                  </a:lnTo>
                  <a:lnTo>
                    <a:pt x="12" y="4"/>
                  </a:lnTo>
                  <a:lnTo>
                    <a:pt x="8" y="6"/>
                  </a:lnTo>
                  <a:lnTo>
                    <a:pt x="6" y="10"/>
                  </a:lnTo>
                  <a:lnTo>
                    <a:pt x="6" y="10"/>
                  </a:lnTo>
                  <a:lnTo>
                    <a:pt x="6" y="12"/>
                  </a:lnTo>
                  <a:lnTo>
                    <a:pt x="2" y="14"/>
                  </a:lnTo>
                  <a:lnTo>
                    <a:pt x="0" y="16"/>
                  </a:lnTo>
                  <a:lnTo>
                    <a:pt x="2" y="18"/>
                  </a:lnTo>
                  <a:lnTo>
                    <a:pt x="2" y="1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9" name="Freeform 114"/>
            <p:cNvSpPr>
              <a:spLocks/>
            </p:cNvSpPr>
            <p:nvPr/>
          </p:nvSpPr>
          <p:spPr bwMode="auto">
            <a:xfrm>
              <a:off x="2406351" y="1498865"/>
              <a:ext cx="261938" cy="39688"/>
            </a:xfrm>
            <a:custGeom>
              <a:avLst/>
              <a:gdLst/>
              <a:ahLst/>
              <a:cxnLst>
                <a:cxn ang="0">
                  <a:pos x="34" y="30"/>
                </a:cxn>
                <a:cxn ang="0">
                  <a:pos x="48" y="26"/>
                </a:cxn>
                <a:cxn ang="0">
                  <a:pos x="54" y="26"/>
                </a:cxn>
                <a:cxn ang="0">
                  <a:pos x="58" y="30"/>
                </a:cxn>
                <a:cxn ang="0">
                  <a:pos x="66" y="30"/>
                </a:cxn>
                <a:cxn ang="0">
                  <a:pos x="78" y="28"/>
                </a:cxn>
                <a:cxn ang="0">
                  <a:pos x="88" y="24"/>
                </a:cxn>
                <a:cxn ang="0">
                  <a:pos x="90" y="24"/>
                </a:cxn>
                <a:cxn ang="0">
                  <a:pos x="88" y="26"/>
                </a:cxn>
                <a:cxn ang="0">
                  <a:pos x="90" y="30"/>
                </a:cxn>
                <a:cxn ang="0">
                  <a:pos x="100" y="30"/>
                </a:cxn>
                <a:cxn ang="0">
                  <a:pos x="108" y="26"/>
                </a:cxn>
                <a:cxn ang="0">
                  <a:pos x="112" y="26"/>
                </a:cxn>
                <a:cxn ang="0">
                  <a:pos x="138" y="26"/>
                </a:cxn>
                <a:cxn ang="0">
                  <a:pos x="144" y="26"/>
                </a:cxn>
                <a:cxn ang="0">
                  <a:pos x="152" y="28"/>
                </a:cxn>
                <a:cxn ang="0">
                  <a:pos x="156" y="28"/>
                </a:cxn>
                <a:cxn ang="0">
                  <a:pos x="158" y="26"/>
                </a:cxn>
                <a:cxn ang="0">
                  <a:pos x="156" y="20"/>
                </a:cxn>
                <a:cxn ang="0">
                  <a:pos x="160" y="22"/>
                </a:cxn>
                <a:cxn ang="0">
                  <a:pos x="178" y="26"/>
                </a:cxn>
                <a:cxn ang="0">
                  <a:pos x="194" y="24"/>
                </a:cxn>
                <a:cxn ang="0">
                  <a:pos x="194" y="22"/>
                </a:cxn>
                <a:cxn ang="0">
                  <a:pos x="188" y="18"/>
                </a:cxn>
                <a:cxn ang="0">
                  <a:pos x="180" y="12"/>
                </a:cxn>
                <a:cxn ang="0">
                  <a:pos x="174" y="10"/>
                </a:cxn>
                <a:cxn ang="0">
                  <a:pos x="164" y="12"/>
                </a:cxn>
                <a:cxn ang="0">
                  <a:pos x="160" y="12"/>
                </a:cxn>
                <a:cxn ang="0">
                  <a:pos x="156" y="12"/>
                </a:cxn>
                <a:cxn ang="0">
                  <a:pos x="142" y="14"/>
                </a:cxn>
                <a:cxn ang="0">
                  <a:pos x="136" y="14"/>
                </a:cxn>
                <a:cxn ang="0">
                  <a:pos x="124" y="14"/>
                </a:cxn>
                <a:cxn ang="0">
                  <a:pos x="112" y="14"/>
                </a:cxn>
                <a:cxn ang="0">
                  <a:pos x="104" y="12"/>
                </a:cxn>
                <a:cxn ang="0">
                  <a:pos x="88" y="14"/>
                </a:cxn>
                <a:cxn ang="0">
                  <a:pos x="82" y="14"/>
                </a:cxn>
                <a:cxn ang="0">
                  <a:pos x="72" y="16"/>
                </a:cxn>
                <a:cxn ang="0">
                  <a:pos x="62" y="16"/>
                </a:cxn>
                <a:cxn ang="0">
                  <a:pos x="60" y="14"/>
                </a:cxn>
                <a:cxn ang="0">
                  <a:pos x="52" y="16"/>
                </a:cxn>
                <a:cxn ang="0">
                  <a:pos x="50" y="14"/>
                </a:cxn>
                <a:cxn ang="0">
                  <a:pos x="42" y="12"/>
                </a:cxn>
                <a:cxn ang="0">
                  <a:pos x="40" y="10"/>
                </a:cxn>
                <a:cxn ang="0">
                  <a:pos x="46" y="10"/>
                </a:cxn>
                <a:cxn ang="0">
                  <a:pos x="52" y="4"/>
                </a:cxn>
                <a:cxn ang="0">
                  <a:pos x="46" y="2"/>
                </a:cxn>
                <a:cxn ang="0">
                  <a:pos x="36" y="0"/>
                </a:cxn>
                <a:cxn ang="0">
                  <a:pos x="28" y="0"/>
                </a:cxn>
                <a:cxn ang="0">
                  <a:pos x="14" y="0"/>
                </a:cxn>
                <a:cxn ang="0">
                  <a:pos x="2" y="2"/>
                </a:cxn>
                <a:cxn ang="0">
                  <a:pos x="0" y="4"/>
                </a:cxn>
                <a:cxn ang="0">
                  <a:pos x="6" y="8"/>
                </a:cxn>
                <a:cxn ang="0">
                  <a:pos x="6" y="12"/>
                </a:cxn>
                <a:cxn ang="0">
                  <a:pos x="6" y="12"/>
                </a:cxn>
                <a:cxn ang="0">
                  <a:pos x="12" y="14"/>
                </a:cxn>
                <a:cxn ang="0">
                  <a:pos x="24" y="12"/>
                </a:cxn>
                <a:cxn ang="0">
                  <a:pos x="28" y="14"/>
                </a:cxn>
                <a:cxn ang="0">
                  <a:pos x="28" y="18"/>
                </a:cxn>
                <a:cxn ang="0">
                  <a:pos x="24" y="20"/>
                </a:cxn>
                <a:cxn ang="0">
                  <a:pos x="20" y="26"/>
                </a:cxn>
                <a:cxn ang="0">
                  <a:pos x="34" y="30"/>
                </a:cxn>
              </a:cxnLst>
              <a:rect l="0" t="0" r="r" b="b"/>
              <a:pathLst>
                <a:path w="198" h="30">
                  <a:moveTo>
                    <a:pt x="34" y="30"/>
                  </a:moveTo>
                  <a:lnTo>
                    <a:pt x="34" y="30"/>
                  </a:lnTo>
                  <a:lnTo>
                    <a:pt x="42" y="28"/>
                  </a:lnTo>
                  <a:lnTo>
                    <a:pt x="48" y="26"/>
                  </a:lnTo>
                  <a:lnTo>
                    <a:pt x="52" y="26"/>
                  </a:lnTo>
                  <a:lnTo>
                    <a:pt x="54" y="26"/>
                  </a:lnTo>
                  <a:lnTo>
                    <a:pt x="54" y="26"/>
                  </a:lnTo>
                  <a:lnTo>
                    <a:pt x="58" y="30"/>
                  </a:lnTo>
                  <a:lnTo>
                    <a:pt x="66" y="30"/>
                  </a:lnTo>
                  <a:lnTo>
                    <a:pt x="66" y="30"/>
                  </a:lnTo>
                  <a:lnTo>
                    <a:pt x="74" y="30"/>
                  </a:lnTo>
                  <a:lnTo>
                    <a:pt x="78" y="28"/>
                  </a:lnTo>
                  <a:lnTo>
                    <a:pt x="84" y="26"/>
                  </a:lnTo>
                  <a:lnTo>
                    <a:pt x="88" y="24"/>
                  </a:lnTo>
                  <a:lnTo>
                    <a:pt x="88" y="24"/>
                  </a:lnTo>
                  <a:lnTo>
                    <a:pt x="90" y="24"/>
                  </a:lnTo>
                  <a:lnTo>
                    <a:pt x="90" y="24"/>
                  </a:lnTo>
                  <a:lnTo>
                    <a:pt x="88" y="26"/>
                  </a:lnTo>
                  <a:lnTo>
                    <a:pt x="86" y="28"/>
                  </a:lnTo>
                  <a:lnTo>
                    <a:pt x="90" y="30"/>
                  </a:lnTo>
                  <a:lnTo>
                    <a:pt x="90" y="30"/>
                  </a:lnTo>
                  <a:lnTo>
                    <a:pt x="100" y="30"/>
                  </a:lnTo>
                  <a:lnTo>
                    <a:pt x="106" y="28"/>
                  </a:lnTo>
                  <a:lnTo>
                    <a:pt x="108" y="26"/>
                  </a:lnTo>
                  <a:lnTo>
                    <a:pt x="112" y="26"/>
                  </a:lnTo>
                  <a:lnTo>
                    <a:pt x="112" y="26"/>
                  </a:lnTo>
                  <a:lnTo>
                    <a:pt x="126" y="28"/>
                  </a:lnTo>
                  <a:lnTo>
                    <a:pt x="138" y="26"/>
                  </a:lnTo>
                  <a:lnTo>
                    <a:pt x="138" y="26"/>
                  </a:lnTo>
                  <a:lnTo>
                    <a:pt x="144" y="26"/>
                  </a:lnTo>
                  <a:lnTo>
                    <a:pt x="148" y="26"/>
                  </a:lnTo>
                  <a:lnTo>
                    <a:pt x="152" y="28"/>
                  </a:lnTo>
                  <a:lnTo>
                    <a:pt x="156" y="28"/>
                  </a:lnTo>
                  <a:lnTo>
                    <a:pt x="156" y="28"/>
                  </a:lnTo>
                  <a:lnTo>
                    <a:pt x="158" y="26"/>
                  </a:lnTo>
                  <a:lnTo>
                    <a:pt x="158" y="26"/>
                  </a:lnTo>
                  <a:lnTo>
                    <a:pt x="158" y="22"/>
                  </a:lnTo>
                  <a:lnTo>
                    <a:pt x="156" y="20"/>
                  </a:lnTo>
                  <a:lnTo>
                    <a:pt x="160" y="22"/>
                  </a:lnTo>
                  <a:lnTo>
                    <a:pt x="160" y="22"/>
                  </a:lnTo>
                  <a:lnTo>
                    <a:pt x="170" y="26"/>
                  </a:lnTo>
                  <a:lnTo>
                    <a:pt x="178" y="26"/>
                  </a:lnTo>
                  <a:lnTo>
                    <a:pt x="178" y="26"/>
                  </a:lnTo>
                  <a:lnTo>
                    <a:pt x="194" y="24"/>
                  </a:lnTo>
                  <a:lnTo>
                    <a:pt x="198" y="24"/>
                  </a:lnTo>
                  <a:lnTo>
                    <a:pt x="194" y="22"/>
                  </a:lnTo>
                  <a:lnTo>
                    <a:pt x="194" y="22"/>
                  </a:lnTo>
                  <a:lnTo>
                    <a:pt x="188" y="18"/>
                  </a:lnTo>
                  <a:lnTo>
                    <a:pt x="184" y="14"/>
                  </a:lnTo>
                  <a:lnTo>
                    <a:pt x="180" y="12"/>
                  </a:lnTo>
                  <a:lnTo>
                    <a:pt x="174" y="10"/>
                  </a:lnTo>
                  <a:lnTo>
                    <a:pt x="174" y="10"/>
                  </a:lnTo>
                  <a:lnTo>
                    <a:pt x="168" y="10"/>
                  </a:lnTo>
                  <a:lnTo>
                    <a:pt x="164" y="12"/>
                  </a:lnTo>
                  <a:lnTo>
                    <a:pt x="164" y="12"/>
                  </a:lnTo>
                  <a:lnTo>
                    <a:pt x="160" y="12"/>
                  </a:lnTo>
                  <a:lnTo>
                    <a:pt x="160" y="12"/>
                  </a:lnTo>
                  <a:lnTo>
                    <a:pt x="156" y="12"/>
                  </a:lnTo>
                  <a:lnTo>
                    <a:pt x="150" y="14"/>
                  </a:lnTo>
                  <a:lnTo>
                    <a:pt x="142" y="14"/>
                  </a:lnTo>
                  <a:lnTo>
                    <a:pt x="136" y="14"/>
                  </a:lnTo>
                  <a:lnTo>
                    <a:pt x="136" y="14"/>
                  </a:lnTo>
                  <a:lnTo>
                    <a:pt x="130" y="14"/>
                  </a:lnTo>
                  <a:lnTo>
                    <a:pt x="124" y="14"/>
                  </a:lnTo>
                  <a:lnTo>
                    <a:pt x="118" y="14"/>
                  </a:lnTo>
                  <a:lnTo>
                    <a:pt x="112" y="14"/>
                  </a:lnTo>
                  <a:lnTo>
                    <a:pt x="112" y="14"/>
                  </a:lnTo>
                  <a:lnTo>
                    <a:pt x="104" y="12"/>
                  </a:lnTo>
                  <a:lnTo>
                    <a:pt x="96" y="14"/>
                  </a:lnTo>
                  <a:lnTo>
                    <a:pt x="88" y="14"/>
                  </a:lnTo>
                  <a:lnTo>
                    <a:pt x="82" y="14"/>
                  </a:lnTo>
                  <a:lnTo>
                    <a:pt x="82" y="14"/>
                  </a:lnTo>
                  <a:lnTo>
                    <a:pt x="78" y="14"/>
                  </a:lnTo>
                  <a:lnTo>
                    <a:pt x="72" y="16"/>
                  </a:lnTo>
                  <a:lnTo>
                    <a:pt x="66" y="16"/>
                  </a:lnTo>
                  <a:lnTo>
                    <a:pt x="62" y="16"/>
                  </a:lnTo>
                  <a:lnTo>
                    <a:pt x="62" y="16"/>
                  </a:lnTo>
                  <a:lnTo>
                    <a:pt x="60" y="14"/>
                  </a:lnTo>
                  <a:lnTo>
                    <a:pt x="56" y="14"/>
                  </a:lnTo>
                  <a:lnTo>
                    <a:pt x="52" y="16"/>
                  </a:lnTo>
                  <a:lnTo>
                    <a:pt x="50" y="14"/>
                  </a:lnTo>
                  <a:lnTo>
                    <a:pt x="50" y="14"/>
                  </a:lnTo>
                  <a:lnTo>
                    <a:pt x="46" y="12"/>
                  </a:lnTo>
                  <a:lnTo>
                    <a:pt x="42" y="12"/>
                  </a:lnTo>
                  <a:lnTo>
                    <a:pt x="38" y="12"/>
                  </a:lnTo>
                  <a:lnTo>
                    <a:pt x="40" y="10"/>
                  </a:lnTo>
                  <a:lnTo>
                    <a:pt x="40" y="10"/>
                  </a:lnTo>
                  <a:lnTo>
                    <a:pt x="46" y="10"/>
                  </a:lnTo>
                  <a:lnTo>
                    <a:pt x="50" y="6"/>
                  </a:lnTo>
                  <a:lnTo>
                    <a:pt x="52" y="4"/>
                  </a:lnTo>
                  <a:lnTo>
                    <a:pt x="46" y="2"/>
                  </a:lnTo>
                  <a:lnTo>
                    <a:pt x="46" y="2"/>
                  </a:lnTo>
                  <a:lnTo>
                    <a:pt x="40" y="2"/>
                  </a:lnTo>
                  <a:lnTo>
                    <a:pt x="36" y="0"/>
                  </a:lnTo>
                  <a:lnTo>
                    <a:pt x="34" y="0"/>
                  </a:lnTo>
                  <a:lnTo>
                    <a:pt x="28" y="0"/>
                  </a:lnTo>
                  <a:lnTo>
                    <a:pt x="28" y="0"/>
                  </a:lnTo>
                  <a:lnTo>
                    <a:pt x="14" y="0"/>
                  </a:lnTo>
                  <a:lnTo>
                    <a:pt x="2" y="2"/>
                  </a:lnTo>
                  <a:lnTo>
                    <a:pt x="2" y="2"/>
                  </a:lnTo>
                  <a:lnTo>
                    <a:pt x="0" y="2"/>
                  </a:lnTo>
                  <a:lnTo>
                    <a:pt x="0" y="4"/>
                  </a:lnTo>
                  <a:lnTo>
                    <a:pt x="4" y="6"/>
                  </a:lnTo>
                  <a:lnTo>
                    <a:pt x="6" y="8"/>
                  </a:lnTo>
                  <a:lnTo>
                    <a:pt x="8" y="10"/>
                  </a:lnTo>
                  <a:lnTo>
                    <a:pt x="6" y="12"/>
                  </a:lnTo>
                  <a:lnTo>
                    <a:pt x="6" y="12"/>
                  </a:lnTo>
                  <a:lnTo>
                    <a:pt x="6" y="12"/>
                  </a:lnTo>
                  <a:lnTo>
                    <a:pt x="8" y="14"/>
                  </a:lnTo>
                  <a:lnTo>
                    <a:pt x="12" y="14"/>
                  </a:lnTo>
                  <a:lnTo>
                    <a:pt x="18" y="14"/>
                  </a:lnTo>
                  <a:lnTo>
                    <a:pt x="24" y="12"/>
                  </a:lnTo>
                  <a:lnTo>
                    <a:pt x="24" y="12"/>
                  </a:lnTo>
                  <a:lnTo>
                    <a:pt x="28" y="14"/>
                  </a:lnTo>
                  <a:lnTo>
                    <a:pt x="28" y="16"/>
                  </a:lnTo>
                  <a:lnTo>
                    <a:pt x="28" y="18"/>
                  </a:lnTo>
                  <a:lnTo>
                    <a:pt x="24" y="20"/>
                  </a:lnTo>
                  <a:lnTo>
                    <a:pt x="24" y="20"/>
                  </a:lnTo>
                  <a:lnTo>
                    <a:pt x="20" y="22"/>
                  </a:lnTo>
                  <a:lnTo>
                    <a:pt x="20" y="26"/>
                  </a:lnTo>
                  <a:lnTo>
                    <a:pt x="24" y="30"/>
                  </a:lnTo>
                  <a:lnTo>
                    <a:pt x="34" y="30"/>
                  </a:lnTo>
                  <a:lnTo>
                    <a:pt x="34" y="3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0" name="Freeform 115"/>
            <p:cNvSpPr>
              <a:spLocks/>
            </p:cNvSpPr>
            <p:nvPr/>
          </p:nvSpPr>
          <p:spPr bwMode="auto">
            <a:xfrm>
              <a:off x="1755476" y="1535906"/>
              <a:ext cx="185208" cy="52917"/>
            </a:xfrm>
            <a:custGeom>
              <a:avLst/>
              <a:gdLst/>
              <a:ahLst/>
              <a:cxnLst>
                <a:cxn ang="0">
                  <a:pos x="48" y="28"/>
                </a:cxn>
                <a:cxn ang="0">
                  <a:pos x="48" y="28"/>
                </a:cxn>
                <a:cxn ang="0">
                  <a:pos x="54" y="24"/>
                </a:cxn>
                <a:cxn ang="0">
                  <a:pos x="58" y="24"/>
                </a:cxn>
                <a:cxn ang="0">
                  <a:pos x="62" y="22"/>
                </a:cxn>
                <a:cxn ang="0">
                  <a:pos x="70" y="20"/>
                </a:cxn>
                <a:cxn ang="0">
                  <a:pos x="70" y="20"/>
                </a:cxn>
                <a:cxn ang="0">
                  <a:pos x="78" y="18"/>
                </a:cxn>
                <a:cxn ang="0">
                  <a:pos x="84" y="18"/>
                </a:cxn>
                <a:cxn ang="0">
                  <a:pos x="92" y="18"/>
                </a:cxn>
                <a:cxn ang="0">
                  <a:pos x="104" y="14"/>
                </a:cxn>
                <a:cxn ang="0">
                  <a:pos x="104" y="14"/>
                </a:cxn>
                <a:cxn ang="0">
                  <a:pos x="114" y="12"/>
                </a:cxn>
                <a:cxn ang="0">
                  <a:pos x="120" y="12"/>
                </a:cxn>
                <a:cxn ang="0">
                  <a:pos x="132" y="10"/>
                </a:cxn>
                <a:cxn ang="0">
                  <a:pos x="132" y="10"/>
                </a:cxn>
                <a:cxn ang="0">
                  <a:pos x="138" y="8"/>
                </a:cxn>
                <a:cxn ang="0">
                  <a:pos x="140" y="6"/>
                </a:cxn>
                <a:cxn ang="0">
                  <a:pos x="138" y="2"/>
                </a:cxn>
                <a:cxn ang="0">
                  <a:pos x="134" y="0"/>
                </a:cxn>
                <a:cxn ang="0">
                  <a:pos x="134" y="0"/>
                </a:cxn>
                <a:cxn ang="0">
                  <a:pos x="124" y="2"/>
                </a:cxn>
                <a:cxn ang="0">
                  <a:pos x="114" y="4"/>
                </a:cxn>
                <a:cxn ang="0">
                  <a:pos x="114" y="4"/>
                </a:cxn>
                <a:cxn ang="0">
                  <a:pos x="98" y="0"/>
                </a:cxn>
                <a:cxn ang="0">
                  <a:pos x="86" y="0"/>
                </a:cxn>
                <a:cxn ang="0">
                  <a:pos x="76" y="0"/>
                </a:cxn>
                <a:cxn ang="0">
                  <a:pos x="76" y="0"/>
                </a:cxn>
                <a:cxn ang="0">
                  <a:pos x="48" y="2"/>
                </a:cxn>
                <a:cxn ang="0">
                  <a:pos x="48" y="2"/>
                </a:cxn>
                <a:cxn ang="0">
                  <a:pos x="44" y="2"/>
                </a:cxn>
                <a:cxn ang="0">
                  <a:pos x="46" y="4"/>
                </a:cxn>
                <a:cxn ang="0">
                  <a:pos x="44" y="6"/>
                </a:cxn>
                <a:cxn ang="0">
                  <a:pos x="38" y="10"/>
                </a:cxn>
                <a:cxn ang="0">
                  <a:pos x="38" y="10"/>
                </a:cxn>
                <a:cxn ang="0">
                  <a:pos x="30" y="14"/>
                </a:cxn>
                <a:cxn ang="0">
                  <a:pos x="28" y="16"/>
                </a:cxn>
                <a:cxn ang="0">
                  <a:pos x="30" y="16"/>
                </a:cxn>
                <a:cxn ang="0">
                  <a:pos x="30" y="16"/>
                </a:cxn>
                <a:cxn ang="0">
                  <a:pos x="30" y="18"/>
                </a:cxn>
                <a:cxn ang="0">
                  <a:pos x="28" y="18"/>
                </a:cxn>
                <a:cxn ang="0">
                  <a:pos x="18" y="22"/>
                </a:cxn>
                <a:cxn ang="0">
                  <a:pos x="18" y="22"/>
                </a:cxn>
                <a:cxn ang="0">
                  <a:pos x="10" y="26"/>
                </a:cxn>
                <a:cxn ang="0">
                  <a:pos x="4" y="26"/>
                </a:cxn>
                <a:cxn ang="0">
                  <a:pos x="0" y="26"/>
                </a:cxn>
                <a:cxn ang="0">
                  <a:pos x="2" y="30"/>
                </a:cxn>
                <a:cxn ang="0">
                  <a:pos x="2" y="30"/>
                </a:cxn>
                <a:cxn ang="0">
                  <a:pos x="4" y="34"/>
                </a:cxn>
                <a:cxn ang="0">
                  <a:pos x="4" y="38"/>
                </a:cxn>
                <a:cxn ang="0">
                  <a:pos x="4" y="40"/>
                </a:cxn>
                <a:cxn ang="0">
                  <a:pos x="8" y="40"/>
                </a:cxn>
                <a:cxn ang="0">
                  <a:pos x="8" y="40"/>
                </a:cxn>
                <a:cxn ang="0">
                  <a:pos x="16" y="40"/>
                </a:cxn>
                <a:cxn ang="0">
                  <a:pos x="26" y="38"/>
                </a:cxn>
                <a:cxn ang="0">
                  <a:pos x="26" y="38"/>
                </a:cxn>
                <a:cxn ang="0">
                  <a:pos x="34" y="40"/>
                </a:cxn>
                <a:cxn ang="0">
                  <a:pos x="38" y="38"/>
                </a:cxn>
                <a:cxn ang="0">
                  <a:pos x="40" y="36"/>
                </a:cxn>
                <a:cxn ang="0">
                  <a:pos x="40" y="36"/>
                </a:cxn>
                <a:cxn ang="0">
                  <a:pos x="42" y="32"/>
                </a:cxn>
                <a:cxn ang="0">
                  <a:pos x="48" y="28"/>
                </a:cxn>
                <a:cxn ang="0">
                  <a:pos x="48" y="28"/>
                </a:cxn>
              </a:cxnLst>
              <a:rect l="0" t="0" r="r" b="b"/>
              <a:pathLst>
                <a:path w="140" h="40">
                  <a:moveTo>
                    <a:pt x="48" y="28"/>
                  </a:moveTo>
                  <a:lnTo>
                    <a:pt x="48" y="28"/>
                  </a:lnTo>
                  <a:lnTo>
                    <a:pt x="54" y="24"/>
                  </a:lnTo>
                  <a:lnTo>
                    <a:pt x="58" y="24"/>
                  </a:lnTo>
                  <a:lnTo>
                    <a:pt x="62" y="22"/>
                  </a:lnTo>
                  <a:lnTo>
                    <a:pt x="70" y="20"/>
                  </a:lnTo>
                  <a:lnTo>
                    <a:pt x="70" y="20"/>
                  </a:lnTo>
                  <a:lnTo>
                    <a:pt x="78" y="18"/>
                  </a:lnTo>
                  <a:lnTo>
                    <a:pt x="84" y="18"/>
                  </a:lnTo>
                  <a:lnTo>
                    <a:pt x="92" y="18"/>
                  </a:lnTo>
                  <a:lnTo>
                    <a:pt x="104" y="14"/>
                  </a:lnTo>
                  <a:lnTo>
                    <a:pt x="104" y="14"/>
                  </a:lnTo>
                  <a:lnTo>
                    <a:pt x="114" y="12"/>
                  </a:lnTo>
                  <a:lnTo>
                    <a:pt x="120" y="12"/>
                  </a:lnTo>
                  <a:lnTo>
                    <a:pt x="132" y="10"/>
                  </a:lnTo>
                  <a:lnTo>
                    <a:pt x="132" y="10"/>
                  </a:lnTo>
                  <a:lnTo>
                    <a:pt x="138" y="8"/>
                  </a:lnTo>
                  <a:lnTo>
                    <a:pt x="140" y="6"/>
                  </a:lnTo>
                  <a:lnTo>
                    <a:pt x="138" y="2"/>
                  </a:lnTo>
                  <a:lnTo>
                    <a:pt x="134" y="0"/>
                  </a:lnTo>
                  <a:lnTo>
                    <a:pt x="134" y="0"/>
                  </a:lnTo>
                  <a:lnTo>
                    <a:pt x="124" y="2"/>
                  </a:lnTo>
                  <a:lnTo>
                    <a:pt x="114" y="4"/>
                  </a:lnTo>
                  <a:lnTo>
                    <a:pt x="114" y="4"/>
                  </a:lnTo>
                  <a:lnTo>
                    <a:pt x="98" y="0"/>
                  </a:lnTo>
                  <a:lnTo>
                    <a:pt x="86" y="0"/>
                  </a:lnTo>
                  <a:lnTo>
                    <a:pt x="76" y="0"/>
                  </a:lnTo>
                  <a:lnTo>
                    <a:pt x="76" y="0"/>
                  </a:lnTo>
                  <a:lnTo>
                    <a:pt x="48" y="2"/>
                  </a:lnTo>
                  <a:lnTo>
                    <a:pt x="48" y="2"/>
                  </a:lnTo>
                  <a:lnTo>
                    <a:pt x="44" y="2"/>
                  </a:lnTo>
                  <a:lnTo>
                    <a:pt x="46" y="4"/>
                  </a:lnTo>
                  <a:lnTo>
                    <a:pt x="44" y="6"/>
                  </a:lnTo>
                  <a:lnTo>
                    <a:pt x="38" y="10"/>
                  </a:lnTo>
                  <a:lnTo>
                    <a:pt x="38" y="10"/>
                  </a:lnTo>
                  <a:lnTo>
                    <a:pt x="30" y="14"/>
                  </a:lnTo>
                  <a:lnTo>
                    <a:pt x="28" y="16"/>
                  </a:lnTo>
                  <a:lnTo>
                    <a:pt x="30" y="16"/>
                  </a:lnTo>
                  <a:lnTo>
                    <a:pt x="30" y="16"/>
                  </a:lnTo>
                  <a:lnTo>
                    <a:pt x="30" y="18"/>
                  </a:lnTo>
                  <a:lnTo>
                    <a:pt x="28" y="18"/>
                  </a:lnTo>
                  <a:lnTo>
                    <a:pt x="18" y="22"/>
                  </a:lnTo>
                  <a:lnTo>
                    <a:pt x="18" y="22"/>
                  </a:lnTo>
                  <a:lnTo>
                    <a:pt x="10" y="26"/>
                  </a:lnTo>
                  <a:lnTo>
                    <a:pt x="4" y="26"/>
                  </a:lnTo>
                  <a:lnTo>
                    <a:pt x="0" y="26"/>
                  </a:lnTo>
                  <a:lnTo>
                    <a:pt x="2" y="30"/>
                  </a:lnTo>
                  <a:lnTo>
                    <a:pt x="2" y="30"/>
                  </a:lnTo>
                  <a:lnTo>
                    <a:pt x="4" y="34"/>
                  </a:lnTo>
                  <a:lnTo>
                    <a:pt x="4" y="38"/>
                  </a:lnTo>
                  <a:lnTo>
                    <a:pt x="4" y="40"/>
                  </a:lnTo>
                  <a:lnTo>
                    <a:pt x="8" y="40"/>
                  </a:lnTo>
                  <a:lnTo>
                    <a:pt x="8" y="40"/>
                  </a:lnTo>
                  <a:lnTo>
                    <a:pt x="16" y="40"/>
                  </a:lnTo>
                  <a:lnTo>
                    <a:pt x="26" y="38"/>
                  </a:lnTo>
                  <a:lnTo>
                    <a:pt x="26" y="38"/>
                  </a:lnTo>
                  <a:lnTo>
                    <a:pt x="34" y="40"/>
                  </a:lnTo>
                  <a:lnTo>
                    <a:pt x="38" y="38"/>
                  </a:lnTo>
                  <a:lnTo>
                    <a:pt x="40" y="36"/>
                  </a:lnTo>
                  <a:lnTo>
                    <a:pt x="40" y="36"/>
                  </a:lnTo>
                  <a:lnTo>
                    <a:pt x="42" y="32"/>
                  </a:lnTo>
                  <a:lnTo>
                    <a:pt x="48" y="28"/>
                  </a:lnTo>
                  <a:lnTo>
                    <a:pt x="48" y="2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1" name="Freeform 116"/>
            <p:cNvSpPr>
              <a:spLocks/>
            </p:cNvSpPr>
            <p:nvPr/>
          </p:nvSpPr>
          <p:spPr bwMode="auto">
            <a:xfrm>
              <a:off x="1932747" y="1488281"/>
              <a:ext cx="105833" cy="26458"/>
            </a:xfrm>
            <a:custGeom>
              <a:avLst/>
              <a:gdLst/>
              <a:ahLst/>
              <a:cxnLst>
                <a:cxn ang="0">
                  <a:pos x="4" y="12"/>
                </a:cxn>
                <a:cxn ang="0">
                  <a:pos x="4" y="12"/>
                </a:cxn>
                <a:cxn ang="0">
                  <a:pos x="12" y="10"/>
                </a:cxn>
                <a:cxn ang="0">
                  <a:pos x="18" y="8"/>
                </a:cxn>
                <a:cxn ang="0">
                  <a:pos x="22" y="8"/>
                </a:cxn>
                <a:cxn ang="0">
                  <a:pos x="30" y="6"/>
                </a:cxn>
                <a:cxn ang="0">
                  <a:pos x="30" y="6"/>
                </a:cxn>
                <a:cxn ang="0">
                  <a:pos x="54" y="0"/>
                </a:cxn>
                <a:cxn ang="0">
                  <a:pos x="66" y="0"/>
                </a:cxn>
                <a:cxn ang="0">
                  <a:pos x="70" y="0"/>
                </a:cxn>
                <a:cxn ang="0">
                  <a:pos x="72" y="2"/>
                </a:cxn>
                <a:cxn ang="0">
                  <a:pos x="72" y="2"/>
                </a:cxn>
                <a:cxn ang="0">
                  <a:pos x="72" y="4"/>
                </a:cxn>
                <a:cxn ang="0">
                  <a:pos x="74" y="2"/>
                </a:cxn>
                <a:cxn ang="0">
                  <a:pos x="74" y="0"/>
                </a:cxn>
                <a:cxn ang="0">
                  <a:pos x="78" y="2"/>
                </a:cxn>
                <a:cxn ang="0">
                  <a:pos x="78" y="2"/>
                </a:cxn>
                <a:cxn ang="0">
                  <a:pos x="80" y="4"/>
                </a:cxn>
                <a:cxn ang="0">
                  <a:pos x="78" y="6"/>
                </a:cxn>
                <a:cxn ang="0">
                  <a:pos x="66" y="10"/>
                </a:cxn>
                <a:cxn ang="0">
                  <a:pos x="66" y="10"/>
                </a:cxn>
                <a:cxn ang="0">
                  <a:pos x="60" y="12"/>
                </a:cxn>
                <a:cxn ang="0">
                  <a:pos x="54" y="14"/>
                </a:cxn>
                <a:cxn ang="0">
                  <a:pos x="50" y="12"/>
                </a:cxn>
                <a:cxn ang="0">
                  <a:pos x="52" y="10"/>
                </a:cxn>
                <a:cxn ang="0">
                  <a:pos x="52" y="10"/>
                </a:cxn>
                <a:cxn ang="0">
                  <a:pos x="56" y="8"/>
                </a:cxn>
                <a:cxn ang="0">
                  <a:pos x="56" y="8"/>
                </a:cxn>
                <a:cxn ang="0">
                  <a:pos x="46" y="10"/>
                </a:cxn>
                <a:cxn ang="0">
                  <a:pos x="46" y="10"/>
                </a:cxn>
                <a:cxn ang="0">
                  <a:pos x="42" y="12"/>
                </a:cxn>
                <a:cxn ang="0">
                  <a:pos x="40" y="14"/>
                </a:cxn>
                <a:cxn ang="0">
                  <a:pos x="40" y="14"/>
                </a:cxn>
                <a:cxn ang="0">
                  <a:pos x="36" y="16"/>
                </a:cxn>
                <a:cxn ang="0">
                  <a:pos x="36" y="16"/>
                </a:cxn>
                <a:cxn ang="0">
                  <a:pos x="22" y="20"/>
                </a:cxn>
                <a:cxn ang="0">
                  <a:pos x="18" y="20"/>
                </a:cxn>
                <a:cxn ang="0">
                  <a:pos x="18" y="20"/>
                </a:cxn>
                <a:cxn ang="0">
                  <a:pos x="16" y="18"/>
                </a:cxn>
                <a:cxn ang="0">
                  <a:pos x="16" y="18"/>
                </a:cxn>
                <a:cxn ang="0">
                  <a:pos x="12" y="16"/>
                </a:cxn>
                <a:cxn ang="0">
                  <a:pos x="4" y="16"/>
                </a:cxn>
                <a:cxn ang="0">
                  <a:pos x="0" y="14"/>
                </a:cxn>
                <a:cxn ang="0">
                  <a:pos x="0" y="14"/>
                </a:cxn>
                <a:cxn ang="0">
                  <a:pos x="4" y="12"/>
                </a:cxn>
                <a:cxn ang="0">
                  <a:pos x="4" y="12"/>
                </a:cxn>
              </a:cxnLst>
              <a:rect l="0" t="0" r="r" b="b"/>
              <a:pathLst>
                <a:path w="80" h="20">
                  <a:moveTo>
                    <a:pt x="4" y="12"/>
                  </a:moveTo>
                  <a:lnTo>
                    <a:pt x="4" y="12"/>
                  </a:lnTo>
                  <a:lnTo>
                    <a:pt x="12" y="10"/>
                  </a:lnTo>
                  <a:lnTo>
                    <a:pt x="18" y="8"/>
                  </a:lnTo>
                  <a:lnTo>
                    <a:pt x="22" y="8"/>
                  </a:lnTo>
                  <a:lnTo>
                    <a:pt x="30" y="6"/>
                  </a:lnTo>
                  <a:lnTo>
                    <a:pt x="30" y="6"/>
                  </a:lnTo>
                  <a:lnTo>
                    <a:pt x="54" y="0"/>
                  </a:lnTo>
                  <a:lnTo>
                    <a:pt x="66" y="0"/>
                  </a:lnTo>
                  <a:lnTo>
                    <a:pt x="70" y="0"/>
                  </a:lnTo>
                  <a:lnTo>
                    <a:pt x="72" y="2"/>
                  </a:lnTo>
                  <a:lnTo>
                    <a:pt x="72" y="2"/>
                  </a:lnTo>
                  <a:lnTo>
                    <a:pt x="72" y="4"/>
                  </a:lnTo>
                  <a:lnTo>
                    <a:pt x="74" y="2"/>
                  </a:lnTo>
                  <a:lnTo>
                    <a:pt x="74" y="0"/>
                  </a:lnTo>
                  <a:lnTo>
                    <a:pt x="78" y="2"/>
                  </a:lnTo>
                  <a:lnTo>
                    <a:pt x="78" y="2"/>
                  </a:lnTo>
                  <a:lnTo>
                    <a:pt x="80" y="4"/>
                  </a:lnTo>
                  <a:lnTo>
                    <a:pt x="78" y="6"/>
                  </a:lnTo>
                  <a:lnTo>
                    <a:pt x="66" y="10"/>
                  </a:lnTo>
                  <a:lnTo>
                    <a:pt x="66" y="10"/>
                  </a:lnTo>
                  <a:lnTo>
                    <a:pt x="60" y="12"/>
                  </a:lnTo>
                  <a:lnTo>
                    <a:pt x="54" y="14"/>
                  </a:lnTo>
                  <a:lnTo>
                    <a:pt x="50" y="12"/>
                  </a:lnTo>
                  <a:lnTo>
                    <a:pt x="52" y="10"/>
                  </a:lnTo>
                  <a:lnTo>
                    <a:pt x="52" y="10"/>
                  </a:lnTo>
                  <a:lnTo>
                    <a:pt x="56" y="8"/>
                  </a:lnTo>
                  <a:lnTo>
                    <a:pt x="56" y="8"/>
                  </a:lnTo>
                  <a:lnTo>
                    <a:pt x="46" y="10"/>
                  </a:lnTo>
                  <a:lnTo>
                    <a:pt x="46" y="10"/>
                  </a:lnTo>
                  <a:lnTo>
                    <a:pt x="42" y="12"/>
                  </a:lnTo>
                  <a:lnTo>
                    <a:pt x="40" y="14"/>
                  </a:lnTo>
                  <a:lnTo>
                    <a:pt x="40" y="14"/>
                  </a:lnTo>
                  <a:lnTo>
                    <a:pt x="36" y="16"/>
                  </a:lnTo>
                  <a:lnTo>
                    <a:pt x="36" y="16"/>
                  </a:lnTo>
                  <a:lnTo>
                    <a:pt x="22" y="20"/>
                  </a:lnTo>
                  <a:lnTo>
                    <a:pt x="18" y="20"/>
                  </a:lnTo>
                  <a:lnTo>
                    <a:pt x="18" y="20"/>
                  </a:lnTo>
                  <a:lnTo>
                    <a:pt x="16" y="18"/>
                  </a:lnTo>
                  <a:lnTo>
                    <a:pt x="16" y="18"/>
                  </a:lnTo>
                  <a:lnTo>
                    <a:pt x="12" y="16"/>
                  </a:lnTo>
                  <a:lnTo>
                    <a:pt x="4" y="16"/>
                  </a:lnTo>
                  <a:lnTo>
                    <a:pt x="0" y="14"/>
                  </a:lnTo>
                  <a:lnTo>
                    <a:pt x="0" y="14"/>
                  </a:lnTo>
                  <a:lnTo>
                    <a:pt x="4" y="12"/>
                  </a:lnTo>
                  <a:lnTo>
                    <a:pt x="4" y="12"/>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2" name="Freeform 117"/>
            <p:cNvSpPr>
              <a:spLocks/>
            </p:cNvSpPr>
            <p:nvPr/>
          </p:nvSpPr>
          <p:spPr bwMode="auto">
            <a:xfrm>
              <a:off x="2001538" y="1498865"/>
              <a:ext cx="182563" cy="42333"/>
            </a:xfrm>
            <a:custGeom>
              <a:avLst/>
              <a:gdLst/>
              <a:ahLst/>
              <a:cxnLst>
                <a:cxn ang="0">
                  <a:pos x="18" y="6"/>
                </a:cxn>
                <a:cxn ang="0">
                  <a:pos x="30" y="2"/>
                </a:cxn>
                <a:cxn ang="0">
                  <a:pos x="30" y="4"/>
                </a:cxn>
                <a:cxn ang="0">
                  <a:pos x="36" y="4"/>
                </a:cxn>
                <a:cxn ang="0">
                  <a:pos x="44" y="6"/>
                </a:cxn>
                <a:cxn ang="0">
                  <a:pos x="48" y="12"/>
                </a:cxn>
                <a:cxn ang="0">
                  <a:pos x="58" y="18"/>
                </a:cxn>
                <a:cxn ang="0">
                  <a:pos x="64" y="18"/>
                </a:cxn>
                <a:cxn ang="0">
                  <a:pos x="76" y="18"/>
                </a:cxn>
                <a:cxn ang="0">
                  <a:pos x="78" y="16"/>
                </a:cxn>
                <a:cxn ang="0">
                  <a:pos x="80" y="14"/>
                </a:cxn>
                <a:cxn ang="0">
                  <a:pos x="84" y="12"/>
                </a:cxn>
                <a:cxn ang="0">
                  <a:pos x="84" y="6"/>
                </a:cxn>
                <a:cxn ang="0">
                  <a:pos x="90" y="6"/>
                </a:cxn>
                <a:cxn ang="0">
                  <a:pos x="122" y="0"/>
                </a:cxn>
                <a:cxn ang="0">
                  <a:pos x="120" y="4"/>
                </a:cxn>
                <a:cxn ang="0">
                  <a:pos x="116" y="8"/>
                </a:cxn>
                <a:cxn ang="0">
                  <a:pos x="118" y="12"/>
                </a:cxn>
                <a:cxn ang="0">
                  <a:pos x="116" y="14"/>
                </a:cxn>
                <a:cxn ang="0">
                  <a:pos x="118" y="12"/>
                </a:cxn>
                <a:cxn ang="0">
                  <a:pos x="128" y="12"/>
                </a:cxn>
                <a:cxn ang="0">
                  <a:pos x="138" y="16"/>
                </a:cxn>
                <a:cxn ang="0">
                  <a:pos x="136" y="18"/>
                </a:cxn>
                <a:cxn ang="0">
                  <a:pos x="126" y="20"/>
                </a:cxn>
                <a:cxn ang="0">
                  <a:pos x="110" y="28"/>
                </a:cxn>
                <a:cxn ang="0">
                  <a:pos x="104" y="28"/>
                </a:cxn>
                <a:cxn ang="0">
                  <a:pos x="88" y="28"/>
                </a:cxn>
                <a:cxn ang="0">
                  <a:pos x="78" y="26"/>
                </a:cxn>
                <a:cxn ang="0">
                  <a:pos x="58" y="30"/>
                </a:cxn>
                <a:cxn ang="0">
                  <a:pos x="32" y="32"/>
                </a:cxn>
                <a:cxn ang="0">
                  <a:pos x="22" y="30"/>
                </a:cxn>
                <a:cxn ang="0">
                  <a:pos x="16" y="26"/>
                </a:cxn>
                <a:cxn ang="0">
                  <a:pos x="20" y="26"/>
                </a:cxn>
                <a:cxn ang="0">
                  <a:pos x="44" y="24"/>
                </a:cxn>
                <a:cxn ang="0">
                  <a:pos x="44" y="22"/>
                </a:cxn>
                <a:cxn ang="0">
                  <a:pos x="38" y="22"/>
                </a:cxn>
                <a:cxn ang="0">
                  <a:pos x="32" y="20"/>
                </a:cxn>
                <a:cxn ang="0">
                  <a:pos x="32" y="18"/>
                </a:cxn>
                <a:cxn ang="0">
                  <a:pos x="32" y="16"/>
                </a:cxn>
                <a:cxn ang="0">
                  <a:pos x="30" y="16"/>
                </a:cxn>
                <a:cxn ang="0">
                  <a:pos x="22" y="20"/>
                </a:cxn>
                <a:cxn ang="0">
                  <a:pos x="18" y="22"/>
                </a:cxn>
                <a:cxn ang="0">
                  <a:pos x="8" y="20"/>
                </a:cxn>
                <a:cxn ang="0">
                  <a:pos x="2" y="16"/>
                </a:cxn>
                <a:cxn ang="0">
                  <a:pos x="4" y="12"/>
                </a:cxn>
                <a:cxn ang="0">
                  <a:pos x="18" y="6"/>
                </a:cxn>
              </a:cxnLst>
              <a:rect l="0" t="0" r="r" b="b"/>
              <a:pathLst>
                <a:path w="138" h="32">
                  <a:moveTo>
                    <a:pt x="18" y="6"/>
                  </a:moveTo>
                  <a:lnTo>
                    <a:pt x="18" y="6"/>
                  </a:lnTo>
                  <a:lnTo>
                    <a:pt x="28" y="2"/>
                  </a:lnTo>
                  <a:lnTo>
                    <a:pt x="30" y="2"/>
                  </a:lnTo>
                  <a:lnTo>
                    <a:pt x="30" y="4"/>
                  </a:lnTo>
                  <a:lnTo>
                    <a:pt x="30" y="4"/>
                  </a:lnTo>
                  <a:lnTo>
                    <a:pt x="32" y="6"/>
                  </a:lnTo>
                  <a:lnTo>
                    <a:pt x="36" y="4"/>
                  </a:lnTo>
                  <a:lnTo>
                    <a:pt x="40" y="4"/>
                  </a:lnTo>
                  <a:lnTo>
                    <a:pt x="44" y="6"/>
                  </a:lnTo>
                  <a:lnTo>
                    <a:pt x="44" y="6"/>
                  </a:lnTo>
                  <a:lnTo>
                    <a:pt x="48" y="12"/>
                  </a:lnTo>
                  <a:lnTo>
                    <a:pt x="52" y="16"/>
                  </a:lnTo>
                  <a:lnTo>
                    <a:pt x="58" y="18"/>
                  </a:lnTo>
                  <a:lnTo>
                    <a:pt x="64" y="18"/>
                  </a:lnTo>
                  <a:lnTo>
                    <a:pt x="64" y="18"/>
                  </a:lnTo>
                  <a:lnTo>
                    <a:pt x="76" y="18"/>
                  </a:lnTo>
                  <a:lnTo>
                    <a:pt x="76" y="18"/>
                  </a:lnTo>
                  <a:lnTo>
                    <a:pt x="78" y="18"/>
                  </a:lnTo>
                  <a:lnTo>
                    <a:pt x="78" y="16"/>
                  </a:lnTo>
                  <a:lnTo>
                    <a:pt x="78" y="14"/>
                  </a:lnTo>
                  <a:lnTo>
                    <a:pt x="80" y="14"/>
                  </a:lnTo>
                  <a:lnTo>
                    <a:pt x="80" y="14"/>
                  </a:lnTo>
                  <a:lnTo>
                    <a:pt x="84" y="12"/>
                  </a:lnTo>
                  <a:lnTo>
                    <a:pt x="84" y="8"/>
                  </a:lnTo>
                  <a:lnTo>
                    <a:pt x="84" y="6"/>
                  </a:lnTo>
                  <a:lnTo>
                    <a:pt x="90" y="6"/>
                  </a:lnTo>
                  <a:lnTo>
                    <a:pt x="90" y="6"/>
                  </a:lnTo>
                  <a:lnTo>
                    <a:pt x="114" y="2"/>
                  </a:lnTo>
                  <a:lnTo>
                    <a:pt x="122" y="0"/>
                  </a:lnTo>
                  <a:lnTo>
                    <a:pt x="122" y="2"/>
                  </a:lnTo>
                  <a:lnTo>
                    <a:pt x="120" y="4"/>
                  </a:lnTo>
                  <a:lnTo>
                    <a:pt x="120" y="4"/>
                  </a:lnTo>
                  <a:lnTo>
                    <a:pt x="116" y="8"/>
                  </a:lnTo>
                  <a:lnTo>
                    <a:pt x="116" y="10"/>
                  </a:lnTo>
                  <a:lnTo>
                    <a:pt x="118" y="12"/>
                  </a:lnTo>
                  <a:lnTo>
                    <a:pt x="116" y="14"/>
                  </a:lnTo>
                  <a:lnTo>
                    <a:pt x="116" y="14"/>
                  </a:lnTo>
                  <a:lnTo>
                    <a:pt x="116" y="14"/>
                  </a:lnTo>
                  <a:lnTo>
                    <a:pt x="118" y="12"/>
                  </a:lnTo>
                  <a:lnTo>
                    <a:pt x="124" y="12"/>
                  </a:lnTo>
                  <a:lnTo>
                    <a:pt x="128" y="12"/>
                  </a:lnTo>
                  <a:lnTo>
                    <a:pt x="128" y="12"/>
                  </a:lnTo>
                  <a:lnTo>
                    <a:pt x="138" y="16"/>
                  </a:lnTo>
                  <a:lnTo>
                    <a:pt x="138" y="18"/>
                  </a:lnTo>
                  <a:lnTo>
                    <a:pt x="136" y="18"/>
                  </a:lnTo>
                  <a:lnTo>
                    <a:pt x="126" y="20"/>
                  </a:lnTo>
                  <a:lnTo>
                    <a:pt x="126" y="20"/>
                  </a:lnTo>
                  <a:lnTo>
                    <a:pt x="116" y="26"/>
                  </a:lnTo>
                  <a:lnTo>
                    <a:pt x="110" y="28"/>
                  </a:lnTo>
                  <a:lnTo>
                    <a:pt x="104" y="28"/>
                  </a:lnTo>
                  <a:lnTo>
                    <a:pt x="104" y="28"/>
                  </a:lnTo>
                  <a:lnTo>
                    <a:pt x="94" y="28"/>
                  </a:lnTo>
                  <a:lnTo>
                    <a:pt x="88" y="28"/>
                  </a:lnTo>
                  <a:lnTo>
                    <a:pt x="84" y="26"/>
                  </a:lnTo>
                  <a:lnTo>
                    <a:pt x="78" y="26"/>
                  </a:lnTo>
                  <a:lnTo>
                    <a:pt x="78" y="26"/>
                  </a:lnTo>
                  <a:lnTo>
                    <a:pt x="58" y="30"/>
                  </a:lnTo>
                  <a:lnTo>
                    <a:pt x="44" y="30"/>
                  </a:lnTo>
                  <a:lnTo>
                    <a:pt x="32" y="32"/>
                  </a:lnTo>
                  <a:lnTo>
                    <a:pt x="32" y="32"/>
                  </a:lnTo>
                  <a:lnTo>
                    <a:pt x="22" y="30"/>
                  </a:lnTo>
                  <a:lnTo>
                    <a:pt x="16" y="28"/>
                  </a:lnTo>
                  <a:lnTo>
                    <a:pt x="16" y="26"/>
                  </a:lnTo>
                  <a:lnTo>
                    <a:pt x="20" y="26"/>
                  </a:lnTo>
                  <a:lnTo>
                    <a:pt x="20" y="26"/>
                  </a:lnTo>
                  <a:lnTo>
                    <a:pt x="36" y="24"/>
                  </a:lnTo>
                  <a:lnTo>
                    <a:pt x="44" y="24"/>
                  </a:lnTo>
                  <a:lnTo>
                    <a:pt x="44" y="24"/>
                  </a:lnTo>
                  <a:lnTo>
                    <a:pt x="44" y="22"/>
                  </a:lnTo>
                  <a:lnTo>
                    <a:pt x="44" y="22"/>
                  </a:lnTo>
                  <a:lnTo>
                    <a:pt x="38" y="22"/>
                  </a:lnTo>
                  <a:lnTo>
                    <a:pt x="32" y="20"/>
                  </a:lnTo>
                  <a:lnTo>
                    <a:pt x="32" y="20"/>
                  </a:lnTo>
                  <a:lnTo>
                    <a:pt x="32" y="20"/>
                  </a:lnTo>
                  <a:lnTo>
                    <a:pt x="32" y="18"/>
                  </a:lnTo>
                  <a:lnTo>
                    <a:pt x="34" y="16"/>
                  </a:lnTo>
                  <a:lnTo>
                    <a:pt x="32" y="16"/>
                  </a:lnTo>
                  <a:lnTo>
                    <a:pt x="32" y="16"/>
                  </a:lnTo>
                  <a:lnTo>
                    <a:pt x="30" y="16"/>
                  </a:lnTo>
                  <a:lnTo>
                    <a:pt x="26" y="18"/>
                  </a:lnTo>
                  <a:lnTo>
                    <a:pt x="22" y="20"/>
                  </a:lnTo>
                  <a:lnTo>
                    <a:pt x="18" y="22"/>
                  </a:lnTo>
                  <a:lnTo>
                    <a:pt x="18" y="22"/>
                  </a:lnTo>
                  <a:lnTo>
                    <a:pt x="10" y="20"/>
                  </a:lnTo>
                  <a:lnTo>
                    <a:pt x="8" y="20"/>
                  </a:lnTo>
                  <a:lnTo>
                    <a:pt x="2" y="16"/>
                  </a:lnTo>
                  <a:lnTo>
                    <a:pt x="2" y="16"/>
                  </a:lnTo>
                  <a:lnTo>
                    <a:pt x="0" y="14"/>
                  </a:lnTo>
                  <a:lnTo>
                    <a:pt x="4" y="12"/>
                  </a:lnTo>
                  <a:lnTo>
                    <a:pt x="18" y="6"/>
                  </a:lnTo>
                  <a:lnTo>
                    <a:pt x="18" y="6"/>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3" name="Freeform 118"/>
            <p:cNvSpPr>
              <a:spLocks/>
            </p:cNvSpPr>
            <p:nvPr/>
          </p:nvSpPr>
          <p:spPr bwMode="auto">
            <a:xfrm>
              <a:off x="2509538" y="1427427"/>
              <a:ext cx="555625" cy="82021"/>
            </a:xfrm>
            <a:custGeom>
              <a:avLst/>
              <a:gdLst/>
              <a:ahLst/>
              <a:cxnLst>
                <a:cxn ang="0">
                  <a:pos x="278" y="6"/>
                </a:cxn>
                <a:cxn ang="0">
                  <a:pos x="260" y="4"/>
                </a:cxn>
                <a:cxn ang="0">
                  <a:pos x="220" y="6"/>
                </a:cxn>
                <a:cxn ang="0">
                  <a:pos x="198" y="6"/>
                </a:cxn>
                <a:cxn ang="0">
                  <a:pos x="170" y="8"/>
                </a:cxn>
                <a:cxn ang="0">
                  <a:pos x="154" y="6"/>
                </a:cxn>
                <a:cxn ang="0">
                  <a:pos x="134" y="6"/>
                </a:cxn>
                <a:cxn ang="0">
                  <a:pos x="118" y="10"/>
                </a:cxn>
                <a:cxn ang="0">
                  <a:pos x="100" y="16"/>
                </a:cxn>
                <a:cxn ang="0">
                  <a:pos x="126" y="14"/>
                </a:cxn>
                <a:cxn ang="0">
                  <a:pos x="142" y="12"/>
                </a:cxn>
                <a:cxn ang="0">
                  <a:pos x="150" y="12"/>
                </a:cxn>
                <a:cxn ang="0">
                  <a:pos x="168" y="14"/>
                </a:cxn>
                <a:cxn ang="0">
                  <a:pos x="184" y="14"/>
                </a:cxn>
                <a:cxn ang="0">
                  <a:pos x="156" y="16"/>
                </a:cxn>
                <a:cxn ang="0">
                  <a:pos x="138" y="20"/>
                </a:cxn>
                <a:cxn ang="0">
                  <a:pos x="134" y="30"/>
                </a:cxn>
                <a:cxn ang="0">
                  <a:pos x="130" y="30"/>
                </a:cxn>
                <a:cxn ang="0">
                  <a:pos x="124" y="26"/>
                </a:cxn>
                <a:cxn ang="0">
                  <a:pos x="104" y="26"/>
                </a:cxn>
                <a:cxn ang="0">
                  <a:pos x="96" y="30"/>
                </a:cxn>
                <a:cxn ang="0">
                  <a:pos x="68" y="34"/>
                </a:cxn>
                <a:cxn ang="0">
                  <a:pos x="62" y="40"/>
                </a:cxn>
                <a:cxn ang="0">
                  <a:pos x="88" y="38"/>
                </a:cxn>
                <a:cxn ang="0">
                  <a:pos x="68" y="42"/>
                </a:cxn>
                <a:cxn ang="0">
                  <a:pos x="84" y="46"/>
                </a:cxn>
                <a:cxn ang="0">
                  <a:pos x="74" y="46"/>
                </a:cxn>
                <a:cxn ang="0">
                  <a:pos x="36" y="44"/>
                </a:cxn>
                <a:cxn ang="0">
                  <a:pos x="30" y="48"/>
                </a:cxn>
                <a:cxn ang="0">
                  <a:pos x="4" y="52"/>
                </a:cxn>
                <a:cxn ang="0">
                  <a:pos x="8" y="58"/>
                </a:cxn>
                <a:cxn ang="0">
                  <a:pos x="28" y="56"/>
                </a:cxn>
                <a:cxn ang="0">
                  <a:pos x="56" y="62"/>
                </a:cxn>
                <a:cxn ang="0">
                  <a:pos x="72" y="58"/>
                </a:cxn>
                <a:cxn ang="0">
                  <a:pos x="92" y="58"/>
                </a:cxn>
                <a:cxn ang="0">
                  <a:pos x="106" y="58"/>
                </a:cxn>
                <a:cxn ang="0">
                  <a:pos x="122" y="62"/>
                </a:cxn>
                <a:cxn ang="0">
                  <a:pos x="142" y="56"/>
                </a:cxn>
                <a:cxn ang="0">
                  <a:pos x="160" y="54"/>
                </a:cxn>
                <a:cxn ang="0">
                  <a:pos x="152" y="46"/>
                </a:cxn>
                <a:cxn ang="0">
                  <a:pos x="176" y="46"/>
                </a:cxn>
                <a:cxn ang="0">
                  <a:pos x="178" y="40"/>
                </a:cxn>
                <a:cxn ang="0">
                  <a:pos x="194" y="40"/>
                </a:cxn>
                <a:cxn ang="0">
                  <a:pos x="224" y="44"/>
                </a:cxn>
                <a:cxn ang="0">
                  <a:pos x="236" y="38"/>
                </a:cxn>
                <a:cxn ang="0">
                  <a:pos x="256" y="40"/>
                </a:cxn>
                <a:cxn ang="0">
                  <a:pos x="278" y="36"/>
                </a:cxn>
                <a:cxn ang="0">
                  <a:pos x="308" y="36"/>
                </a:cxn>
                <a:cxn ang="0">
                  <a:pos x="358" y="24"/>
                </a:cxn>
                <a:cxn ang="0">
                  <a:pos x="398" y="16"/>
                </a:cxn>
                <a:cxn ang="0">
                  <a:pos x="420" y="8"/>
                </a:cxn>
                <a:cxn ang="0">
                  <a:pos x="386" y="4"/>
                </a:cxn>
                <a:cxn ang="0">
                  <a:pos x="358" y="0"/>
                </a:cxn>
                <a:cxn ang="0">
                  <a:pos x="306" y="6"/>
                </a:cxn>
              </a:cxnLst>
              <a:rect l="0" t="0" r="r" b="b"/>
              <a:pathLst>
                <a:path w="420" h="62">
                  <a:moveTo>
                    <a:pt x="306" y="6"/>
                  </a:moveTo>
                  <a:lnTo>
                    <a:pt x="306" y="6"/>
                  </a:lnTo>
                  <a:lnTo>
                    <a:pt x="292" y="4"/>
                  </a:lnTo>
                  <a:lnTo>
                    <a:pt x="278" y="6"/>
                  </a:lnTo>
                  <a:lnTo>
                    <a:pt x="278" y="6"/>
                  </a:lnTo>
                  <a:lnTo>
                    <a:pt x="272" y="6"/>
                  </a:lnTo>
                  <a:lnTo>
                    <a:pt x="266" y="6"/>
                  </a:lnTo>
                  <a:lnTo>
                    <a:pt x="260" y="4"/>
                  </a:lnTo>
                  <a:lnTo>
                    <a:pt x="254" y="4"/>
                  </a:lnTo>
                  <a:lnTo>
                    <a:pt x="254" y="4"/>
                  </a:lnTo>
                  <a:lnTo>
                    <a:pt x="238" y="4"/>
                  </a:lnTo>
                  <a:lnTo>
                    <a:pt x="220" y="6"/>
                  </a:lnTo>
                  <a:lnTo>
                    <a:pt x="220" y="6"/>
                  </a:lnTo>
                  <a:lnTo>
                    <a:pt x="212" y="6"/>
                  </a:lnTo>
                  <a:lnTo>
                    <a:pt x="204" y="6"/>
                  </a:lnTo>
                  <a:lnTo>
                    <a:pt x="198" y="6"/>
                  </a:lnTo>
                  <a:lnTo>
                    <a:pt x="192" y="6"/>
                  </a:lnTo>
                  <a:lnTo>
                    <a:pt x="192" y="6"/>
                  </a:lnTo>
                  <a:lnTo>
                    <a:pt x="180" y="6"/>
                  </a:lnTo>
                  <a:lnTo>
                    <a:pt x="170" y="8"/>
                  </a:lnTo>
                  <a:lnTo>
                    <a:pt x="170" y="8"/>
                  </a:lnTo>
                  <a:lnTo>
                    <a:pt x="164" y="8"/>
                  </a:lnTo>
                  <a:lnTo>
                    <a:pt x="160" y="6"/>
                  </a:lnTo>
                  <a:lnTo>
                    <a:pt x="154" y="6"/>
                  </a:lnTo>
                  <a:lnTo>
                    <a:pt x="150" y="6"/>
                  </a:lnTo>
                  <a:lnTo>
                    <a:pt x="150" y="6"/>
                  </a:lnTo>
                  <a:lnTo>
                    <a:pt x="140" y="6"/>
                  </a:lnTo>
                  <a:lnTo>
                    <a:pt x="134" y="6"/>
                  </a:lnTo>
                  <a:lnTo>
                    <a:pt x="132" y="8"/>
                  </a:lnTo>
                  <a:lnTo>
                    <a:pt x="132" y="8"/>
                  </a:lnTo>
                  <a:lnTo>
                    <a:pt x="126" y="8"/>
                  </a:lnTo>
                  <a:lnTo>
                    <a:pt x="118" y="10"/>
                  </a:lnTo>
                  <a:lnTo>
                    <a:pt x="108" y="12"/>
                  </a:lnTo>
                  <a:lnTo>
                    <a:pt x="102" y="14"/>
                  </a:lnTo>
                  <a:lnTo>
                    <a:pt x="102" y="14"/>
                  </a:lnTo>
                  <a:lnTo>
                    <a:pt x="100" y="16"/>
                  </a:lnTo>
                  <a:lnTo>
                    <a:pt x="102" y="16"/>
                  </a:lnTo>
                  <a:lnTo>
                    <a:pt x="110" y="16"/>
                  </a:lnTo>
                  <a:lnTo>
                    <a:pt x="118" y="14"/>
                  </a:lnTo>
                  <a:lnTo>
                    <a:pt x="126" y="14"/>
                  </a:lnTo>
                  <a:lnTo>
                    <a:pt x="126" y="14"/>
                  </a:lnTo>
                  <a:lnTo>
                    <a:pt x="130" y="16"/>
                  </a:lnTo>
                  <a:lnTo>
                    <a:pt x="134" y="14"/>
                  </a:lnTo>
                  <a:lnTo>
                    <a:pt x="142" y="12"/>
                  </a:lnTo>
                  <a:lnTo>
                    <a:pt x="142" y="12"/>
                  </a:lnTo>
                  <a:lnTo>
                    <a:pt x="148" y="14"/>
                  </a:lnTo>
                  <a:lnTo>
                    <a:pt x="148" y="14"/>
                  </a:lnTo>
                  <a:lnTo>
                    <a:pt x="150" y="12"/>
                  </a:lnTo>
                  <a:lnTo>
                    <a:pt x="150" y="12"/>
                  </a:lnTo>
                  <a:lnTo>
                    <a:pt x="158" y="12"/>
                  </a:lnTo>
                  <a:lnTo>
                    <a:pt x="168" y="14"/>
                  </a:lnTo>
                  <a:lnTo>
                    <a:pt x="168" y="14"/>
                  </a:lnTo>
                  <a:lnTo>
                    <a:pt x="180" y="14"/>
                  </a:lnTo>
                  <a:lnTo>
                    <a:pt x="184" y="14"/>
                  </a:lnTo>
                  <a:lnTo>
                    <a:pt x="184" y="14"/>
                  </a:lnTo>
                  <a:lnTo>
                    <a:pt x="184" y="14"/>
                  </a:lnTo>
                  <a:lnTo>
                    <a:pt x="174" y="16"/>
                  </a:lnTo>
                  <a:lnTo>
                    <a:pt x="162" y="16"/>
                  </a:lnTo>
                  <a:lnTo>
                    <a:pt x="162" y="16"/>
                  </a:lnTo>
                  <a:lnTo>
                    <a:pt x="156" y="16"/>
                  </a:lnTo>
                  <a:lnTo>
                    <a:pt x="150" y="18"/>
                  </a:lnTo>
                  <a:lnTo>
                    <a:pt x="146" y="20"/>
                  </a:lnTo>
                  <a:lnTo>
                    <a:pt x="138" y="20"/>
                  </a:lnTo>
                  <a:lnTo>
                    <a:pt x="138" y="20"/>
                  </a:lnTo>
                  <a:lnTo>
                    <a:pt x="136" y="20"/>
                  </a:lnTo>
                  <a:lnTo>
                    <a:pt x="134" y="22"/>
                  </a:lnTo>
                  <a:lnTo>
                    <a:pt x="134" y="26"/>
                  </a:lnTo>
                  <a:lnTo>
                    <a:pt x="134" y="30"/>
                  </a:lnTo>
                  <a:lnTo>
                    <a:pt x="134" y="32"/>
                  </a:lnTo>
                  <a:lnTo>
                    <a:pt x="134" y="30"/>
                  </a:lnTo>
                  <a:lnTo>
                    <a:pt x="134" y="30"/>
                  </a:lnTo>
                  <a:lnTo>
                    <a:pt x="130" y="30"/>
                  </a:lnTo>
                  <a:lnTo>
                    <a:pt x="126" y="30"/>
                  </a:lnTo>
                  <a:lnTo>
                    <a:pt x="124" y="28"/>
                  </a:lnTo>
                  <a:lnTo>
                    <a:pt x="124" y="26"/>
                  </a:lnTo>
                  <a:lnTo>
                    <a:pt x="124" y="26"/>
                  </a:lnTo>
                  <a:lnTo>
                    <a:pt x="124" y="26"/>
                  </a:lnTo>
                  <a:lnTo>
                    <a:pt x="122" y="26"/>
                  </a:lnTo>
                  <a:lnTo>
                    <a:pt x="116" y="26"/>
                  </a:lnTo>
                  <a:lnTo>
                    <a:pt x="104" y="26"/>
                  </a:lnTo>
                  <a:lnTo>
                    <a:pt x="104" y="26"/>
                  </a:lnTo>
                  <a:lnTo>
                    <a:pt x="94" y="28"/>
                  </a:lnTo>
                  <a:lnTo>
                    <a:pt x="96" y="30"/>
                  </a:lnTo>
                  <a:lnTo>
                    <a:pt x="96" y="30"/>
                  </a:lnTo>
                  <a:lnTo>
                    <a:pt x="94" y="32"/>
                  </a:lnTo>
                  <a:lnTo>
                    <a:pt x="76" y="32"/>
                  </a:lnTo>
                  <a:lnTo>
                    <a:pt x="76" y="32"/>
                  </a:lnTo>
                  <a:lnTo>
                    <a:pt x="68" y="34"/>
                  </a:lnTo>
                  <a:lnTo>
                    <a:pt x="62" y="36"/>
                  </a:lnTo>
                  <a:lnTo>
                    <a:pt x="60" y="38"/>
                  </a:lnTo>
                  <a:lnTo>
                    <a:pt x="62" y="40"/>
                  </a:lnTo>
                  <a:lnTo>
                    <a:pt x="62" y="40"/>
                  </a:lnTo>
                  <a:lnTo>
                    <a:pt x="68" y="40"/>
                  </a:lnTo>
                  <a:lnTo>
                    <a:pt x="74" y="40"/>
                  </a:lnTo>
                  <a:lnTo>
                    <a:pt x="88" y="38"/>
                  </a:lnTo>
                  <a:lnTo>
                    <a:pt x="88" y="38"/>
                  </a:lnTo>
                  <a:lnTo>
                    <a:pt x="90" y="40"/>
                  </a:lnTo>
                  <a:lnTo>
                    <a:pt x="86" y="40"/>
                  </a:lnTo>
                  <a:lnTo>
                    <a:pt x="68" y="42"/>
                  </a:lnTo>
                  <a:lnTo>
                    <a:pt x="68" y="42"/>
                  </a:lnTo>
                  <a:lnTo>
                    <a:pt x="68" y="42"/>
                  </a:lnTo>
                  <a:lnTo>
                    <a:pt x="68" y="42"/>
                  </a:lnTo>
                  <a:lnTo>
                    <a:pt x="76" y="44"/>
                  </a:lnTo>
                  <a:lnTo>
                    <a:pt x="84" y="46"/>
                  </a:lnTo>
                  <a:lnTo>
                    <a:pt x="84" y="46"/>
                  </a:lnTo>
                  <a:lnTo>
                    <a:pt x="84" y="46"/>
                  </a:lnTo>
                  <a:lnTo>
                    <a:pt x="84" y="46"/>
                  </a:lnTo>
                  <a:lnTo>
                    <a:pt x="74" y="46"/>
                  </a:lnTo>
                  <a:lnTo>
                    <a:pt x="62" y="44"/>
                  </a:lnTo>
                  <a:lnTo>
                    <a:pt x="62" y="44"/>
                  </a:lnTo>
                  <a:lnTo>
                    <a:pt x="48" y="42"/>
                  </a:lnTo>
                  <a:lnTo>
                    <a:pt x="36" y="44"/>
                  </a:lnTo>
                  <a:lnTo>
                    <a:pt x="36" y="44"/>
                  </a:lnTo>
                  <a:lnTo>
                    <a:pt x="32" y="44"/>
                  </a:lnTo>
                  <a:lnTo>
                    <a:pt x="30" y="46"/>
                  </a:lnTo>
                  <a:lnTo>
                    <a:pt x="30" y="48"/>
                  </a:lnTo>
                  <a:lnTo>
                    <a:pt x="28" y="48"/>
                  </a:lnTo>
                  <a:lnTo>
                    <a:pt x="28" y="48"/>
                  </a:lnTo>
                  <a:lnTo>
                    <a:pt x="18" y="50"/>
                  </a:lnTo>
                  <a:lnTo>
                    <a:pt x="4" y="52"/>
                  </a:lnTo>
                  <a:lnTo>
                    <a:pt x="4" y="52"/>
                  </a:lnTo>
                  <a:lnTo>
                    <a:pt x="0" y="54"/>
                  </a:lnTo>
                  <a:lnTo>
                    <a:pt x="0" y="56"/>
                  </a:lnTo>
                  <a:lnTo>
                    <a:pt x="8" y="58"/>
                  </a:lnTo>
                  <a:lnTo>
                    <a:pt x="8" y="58"/>
                  </a:lnTo>
                  <a:lnTo>
                    <a:pt x="18" y="58"/>
                  </a:lnTo>
                  <a:lnTo>
                    <a:pt x="22" y="58"/>
                  </a:lnTo>
                  <a:lnTo>
                    <a:pt x="28" y="56"/>
                  </a:lnTo>
                  <a:lnTo>
                    <a:pt x="34" y="58"/>
                  </a:lnTo>
                  <a:lnTo>
                    <a:pt x="34" y="58"/>
                  </a:lnTo>
                  <a:lnTo>
                    <a:pt x="50" y="62"/>
                  </a:lnTo>
                  <a:lnTo>
                    <a:pt x="56" y="62"/>
                  </a:lnTo>
                  <a:lnTo>
                    <a:pt x="62" y="62"/>
                  </a:lnTo>
                  <a:lnTo>
                    <a:pt x="62" y="62"/>
                  </a:lnTo>
                  <a:lnTo>
                    <a:pt x="68" y="60"/>
                  </a:lnTo>
                  <a:lnTo>
                    <a:pt x="72" y="58"/>
                  </a:lnTo>
                  <a:lnTo>
                    <a:pt x="76" y="56"/>
                  </a:lnTo>
                  <a:lnTo>
                    <a:pt x="80" y="56"/>
                  </a:lnTo>
                  <a:lnTo>
                    <a:pt x="80" y="56"/>
                  </a:lnTo>
                  <a:lnTo>
                    <a:pt x="92" y="58"/>
                  </a:lnTo>
                  <a:lnTo>
                    <a:pt x="98" y="60"/>
                  </a:lnTo>
                  <a:lnTo>
                    <a:pt x="102" y="60"/>
                  </a:lnTo>
                  <a:lnTo>
                    <a:pt x="102" y="60"/>
                  </a:lnTo>
                  <a:lnTo>
                    <a:pt x="106" y="58"/>
                  </a:lnTo>
                  <a:lnTo>
                    <a:pt x="112" y="60"/>
                  </a:lnTo>
                  <a:lnTo>
                    <a:pt x="116" y="62"/>
                  </a:lnTo>
                  <a:lnTo>
                    <a:pt x="122" y="62"/>
                  </a:lnTo>
                  <a:lnTo>
                    <a:pt x="122" y="62"/>
                  </a:lnTo>
                  <a:lnTo>
                    <a:pt x="128" y="60"/>
                  </a:lnTo>
                  <a:lnTo>
                    <a:pt x="132" y="58"/>
                  </a:lnTo>
                  <a:lnTo>
                    <a:pt x="136" y="56"/>
                  </a:lnTo>
                  <a:lnTo>
                    <a:pt x="142" y="56"/>
                  </a:lnTo>
                  <a:lnTo>
                    <a:pt x="142" y="56"/>
                  </a:lnTo>
                  <a:lnTo>
                    <a:pt x="154" y="56"/>
                  </a:lnTo>
                  <a:lnTo>
                    <a:pt x="160" y="56"/>
                  </a:lnTo>
                  <a:lnTo>
                    <a:pt x="160" y="54"/>
                  </a:lnTo>
                  <a:lnTo>
                    <a:pt x="158" y="52"/>
                  </a:lnTo>
                  <a:lnTo>
                    <a:pt x="158" y="52"/>
                  </a:lnTo>
                  <a:lnTo>
                    <a:pt x="150" y="46"/>
                  </a:lnTo>
                  <a:lnTo>
                    <a:pt x="152" y="46"/>
                  </a:lnTo>
                  <a:lnTo>
                    <a:pt x="158" y="46"/>
                  </a:lnTo>
                  <a:lnTo>
                    <a:pt x="158" y="46"/>
                  </a:lnTo>
                  <a:lnTo>
                    <a:pt x="172" y="48"/>
                  </a:lnTo>
                  <a:lnTo>
                    <a:pt x="176" y="46"/>
                  </a:lnTo>
                  <a:lnTo>
                    <a:pt x="174" y="42"/>
                  </a:lnTo>
                  <a:lnTo>
                    <a:pt x="174" y="42"/>
                  </a:lnTo>
                  <a:lnTo>
                    <a:pt x="172" y="38"/>
                  </a:lnTo>
                  <a:lnTo>
                    <a:pt x="178" y="40"/>
                  </a:lnTo>
                  <a:lnTo>
                    <a:pt x="178" y="40"/>
                  </a:lnTo>
                  <a:lnTo>
                    <a:pt x="186" y="42"/>
                  </a:lnTo>
                  <a:lnTo>
                    <a:pt x="190" y="40"/>
                  </a:lnTo>
                  <a:lnTo>
                    <a:pt x="194" y="40"/>
                  </a:lnTo>
                  <a:lnTo>
                    <a:pt x="198" y="40"/>
                  </a:lnTo>
                  <a:lnTo>
                    <a:pt x="198" y="40"/>
                  </a:lnTo>
                  <a:lnTo>
                    <a:pt x="214" y="42"/>
                  </a:lnTo>
                  <a:lnTo>
                    <a:pt x="224" y="44"/>
                  </a:lnTo>
                  <a:lnTo>
                    <a:pt x="228" y="42"/>
                  </a:lnTo>
                  <a:lnTo>
                    <a:pt x="230" y="40"/>
                  </a:lnTo>
                  <a:lnTo>
                    <a:pt x="230" y="40"/>
                  </a:lnTo>
                  <a:lnTo>
                    <a:pt x="236" y="38"/>
                  </a:lnTo>
                  <a:lnTo>
                    <a:pt x="240" y="36"/>
                  </a:lnTo>
                  <a:lnTo>
                    <a:pt x="248" y="38"/>
                  </a:lnTo>
                  <a:lnTo>
                    <a:pt x="248" y="38"/>
                  </a:lnTo>
                  <a:lnTo>
                    <a:pt x="256" y="40"/>
                  </a:lnTo>
                  <a:lnTo>
                    <a:pt x="262" y="40"/>
                  </a:lnTo>
                  <a:lnTo>
                    <a:pt x="268" y="38"/>
                  </a:lnTo>
                  <a:lnTo>
                    <a:pt x="268" y="38"/>
                  </a:lnTo>
                  <a:lnTo>
                    <a:pt x="278" y="36"/>
                  </a:lnTo>
                  <a:lnTo>
                    <a:pt x="284" y="38"/>
                  </a:lnTo>
                  <a:lnTo>
                    <a:pt x="294" y="38"/>
                  </a:lnTo>
                  <a:lnTo>
                    <a:pt x="308" y="36"/>
                  </a:lnTo>
                  <a:lnTo>
                    <a:pt x="308" y="36"/>
                  </a:lnTo>
                  <a:lnTo>
                    <a:pt x="324" y="32"/>
                  </a:lnTo>
                  <a:lnTo>
                    <a:pt x="336" y="30"/>
                  </a:lnTo>
                  <a:lnTo>
                    <a:pt x="346" y="28"/>
                  </a:lnTo>
                  <a:lnTo>
                    <a:pt x="358" y="24"/>
                  </a:lnTo>
                  <a:lnTo>
                    <a:pt x="358" y="24"/>
                  </a:lnTo>
                  <a:lnTo>
                    <a:pt x="370" y="20"/>
                  </a:lnTo>
                  <a:lnTo>
                    <a:pt x="380" y="18"/>
                  </a:lnTo>
                  <a:lnTo>
                    <a:pt x="398" y="16"/>
                  </a:lnTo>
                  <a:lnTo>
                    <a:pt x="398" y="16"/>
                  </a:lnTo>
                  <a:lnTo>
                    <a:pt x="408" y="14"/>
                  </a:lnTo>
                  <a:lnTo>
                    <a:pt x="418" y="10"/>
                  </a:lnTo>
                  <a:lnTo>
                    <a:pt x="420" y="8"/>
                  </a:lnTo>
                  <a:lnTo>
                    <a:pt x="418" y="6"/>
                  </a:lnTo>
                  <a:lnTo>
                    <a:pt x="404" y="6"/>
                  </a:lnTo>
                  <a:lnTo>
                    <a:pt x="404" y="6"/>
                  </a:lnTo>
                  <a:lnTo>
                    <a:pt x="386" y="4"/>
                  </a:lnTo>
                  <a:lnTo>
                    <a:pt x="378" y="2"/>
                  </a:lnTo>
                  <a:lnTo>
                    <a:pt x="372" y="0"/>
                  </a:lnTo>
                  <a:lnTo>
                    <a:pt x="358" y="0"/>
                  </a:lnTo>
                  <a:lnTo>
                    <a:pt x="358" y="0"/>
                  </a:lnTo>
                  <a:lnTo>
                    <a:pt x="344" y="2"/>
                  </a:lnTo>
                  <a:lnTo>
                    <a:pt x="330" y="6"/>
                  </a:lnTo>
                  <a:lnTo>
                    <a:pt x="320" y="6"/>
                  </a:lnTo>
                  <a:lnTo>
                    <a:pt x="306" y="6"/>
                  </a:lnTo>
                  <a:lnTo>
                    <a:pt x="306" y="6"/>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4" name="Freeform 119"/>
            <p:cNvSpPr>
              <a:spLocks/>
            </p:cNvSpPr>
            <p:nvPr/>
          </p:nvSpPr>
          <p:spPr bwMode="auto">
            <a:xfrm>
              <a:off x="2364017" y="1514740"/>
              <a:ext cx="50271" cy="18521"/>
            </a:xfrm>
            <a:custGeom>
              <a:avLst/>
              <a:gdLst/>
              <a:ahLst/>
              <a:cxnLst>
                <a:cxn ang="0">
                  <a:pos x="32" y="2"/>
                </a:cxn>
                <a:cxn ang="0">
                  <a:pos x="32" y="2"/>
                </a:cxn>
                <a:cxn ang="0">
                  <a:pos x="38" y="4"/>
                </a:cxn>
                <a:cxn ang="0">
                  <a:pos x="38" y="6"/>
                </a:cxn>
                <a:cxn ang="0">
                  <a:pos x="38" y="8"/>
                </a:cxn>
                <a:cxn ang="0">
                  <a:pos x="36" y="10"/>
                </a:cxn>
                <a:cxn ang="0">
                  <a:pos x="36" y="10"/>
                </a:cxn>
                <a:cxn ang="0">
                  <a:pos x="26" y="12"/>
                </a:cxn>
                <a:cxn ang="0">
                  <a:pos x="14" y="14"/>
                </a:cxn>
                <a:cxn ang="0">
                  <a:pos x="14" y="14"/>
                </a:cxn>
                <a:cxn ang="0">
                  <a:pos x="6" y="12"/>
                </a:cxn>
                <a:cxn ang="0">
                  <a:pos x="0" y="12"/>
                </a:cxn>
                <a:cxn ang="0">
                  <a:pos x="0" y="10"/>
                </a:cxn>
                <a:cxn ang="0">
                  <a:pos x="4" y="8"/>
                </a:cxn>
                <a:cxn ang="0">
                  <a:pos x="4" y="8"/>
                </a:cxn>
                <a:cxn ang="0">
                  <a:pos x="22" y="8"/>
                </a:cxn>
                <a:cxn ang="0">
                  <a:pos x="26" y="6"/>
                </a:cxn>
                <a:cxn ang="0">
                  <a:pos x="24" y="6"/>
                </a:cxn>
                <a:cxn ang="0">
                  <a:pos x="24" y="6"/>
                </a:cxn>
                <a:cxn ang="0">
                  <a:pos x="14" y="6"/>
                </a:cxn>
                <a:cxn ang="0">
                  <a:pos x="12" y="6"/>
                </a:cxn>
                <a:cxn ang="0">
                  <a:pos x="12" y="6"/>
                </a:cxn>
                <a:cxn ang="0">
                  <a:pos x="12" y="6"/>
                </a:cxn>
                <a:cxn ang="0">
                  <a:pos x="18" y="2"/>
                </a:cxn>
                <a:cxn ang="0">
                  <a:pos x="24" y="0"/>
                </a:cxn>
                <a:cxn ang="0">
                  <a:pos x="32" y="2"/>
                </a:cxn>
                <a:cxn ang="0">
                  <a:pos x="32" y="2"/>
                </a:cxn>
              </a:cxnLst>
              <a:rect l="0" t="0" r="r" b="b"/>
              <a:pathLst>
                <a:path w="38" h="14">
                  <a:moveTo>
                    <a:pt x="32" y="2"/>
                  </a:moveTo>
                  <a:lnTo>
                    <a:pt x="32" y="2"/>
                  </a:lnTo>
                  <a:lnTo>
                    <a:pt x="38" y="4"/>
                  </a:lnTo>
                  <a:lnTo>
                    <a:pt x="38" y="6"/>
                  </a:lnTo>
                  <a:lnTo>
                    <a:pt x="38" y="8"/>
                  </a:lnTo>
                  <a:lnTo>
                    <a:pt x="36" y="10"/>
                  </a:lnTo>
                  <a:lnTo>
                    <a:pt x="36" y="10"/>
                  </a:lnTo>
                  <a:lnTo>
                    <a:pt x="26" y="12"/>
                  </a:lnTo>
                  <a:lnTo>
                    <a:pt x="14" y="14"/>
                  </a:lnTo>
                  <a:lnTo>
                    <a:pt x="14" y="14"/>
                  </a:lnTo>
                  <a:lnTo>
                    <a:pt x="6" y="12"/>
                  </a:lnTo>
                  <a:lnTo>
                    <a:pt x="0" y="12"/>
                  </a:lnTo>
                  <a:lnTo>
                    <a:pt x="0" y="10"/>
                  </a:lnTo>
                  <a:lnTo>
                    <a:pt x="4" y="8"/>
                  </a:lnTo>
                  <a:lnTo>
                    <a:pt x="4" y="8"/>
                  </a:lnTo>
                  <a:lnTo>
                    <a:pt x="22" y="8"/>
                  </a:lnTo>
                  <a:lnTo>
                    <a:pt x="26" y="6"/>
                  </a:lnTo>
                  <a:lnTo>
                    <a:pt x="24" y="6"/>
                  </a:lnTo>
                  <a:lnTo>
                    <a:pt x="24" y="6"/>
                  </a:lnTo>
                  <a:lnTo>
                    <a:pt x="14" y="6"/>
                  </a:lnTo>
                  <a:lnTo>
                    <a:pt x="12" y="6"/>
                  </a:lnTo>
                  <a:lnTo>
                    <a:pt x="12" y="6"/>
                  </a:lnTo>
                  <a:lnTo>
                    <a:pt x="12" y="6"/>
                  </a:lnTo>
                  <a:lnTo>
                    <a:pt x="18" y="2"/>
                  </a:lnTo>
                  <a:lnTo>
                    <a:pt x="24" y="0"/>
                  </a:lnTo>
                  <a:lnTo>
                    <a:pt x="32" y="2"/>
                  </a:lnTo>
                  <a:lnTo>
                    <a:pt x="32" y="2"/>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5" name="Freeform 120"/>
            <p:cNvSpPr>
              <a:spLocks/>
            </p:cNvSpPr>
            <p:nvPr/>
          </p:nvSpPr>
          <p:spPr bwMode="auto">
            <a:xfrm>
              <a:off x="2242309" y="1482990"/>
              <a:ext cx="145521" cy="39688"/>
            </a:xfrm>
            <a:custGeom>
              <a:avLst/>
              <a:gdLst/>
              <a:ahLst/>
              <a:cxnLst>
                <a:cxn ang="0">
                  <a:pos x="78" y="28"/>
                </a:cxn>
                <a:cxn ang="0">
                  <a:pos x="66" y="28"/>
                </a:cxn>
                <a:cxn ang="0">
                  <a:pos x="60" y="26"/>
                </a:cxn>
                <a:cxn ang="0">
                  <a:pos x="54" y="28"/>
                </a:cxn>
                <a:cxn ang="0">
                  <a:pos x="46" y="30"/>
                </a:cxn>
                <a:cxn ang="0">
                  <a:pos x="44" y="26"/>
                </a:cxn>
                <a:cxn ang="0">
                  <a:pos x="40" y="22"/>
                </a:cxn>
                <a:cxn ang="0">
                  <a:pos x="26" y="26"/>
                </a:cxn>
                <a:cxn ang="0">
                  <a:pos x="18" y="22"/>
                </a:cxn>
                <a:cxn ang="0">
                  <a:pos x="16" y="18"/>
                </a:cxn>
                <a:cxn ang="0">
                  <a:pos x="20" y="16"/>
                </a:cxn>
                <a:cxn ang="0">
                  <a:pos x="18" y="14"/>
                </a:cxn>
                <a:cxn ang="0">
                  <a:pos x="4" y="10"/>
                </a:cxn>
                <a:cxn ang="0">
                  <a:pos x="6" y="8"/>
                </a:cxn>
                <a:cxn ang="0">
                  <a:pos x="22" y="8"/>
                </a:cxn>
                <a:cxn ang="0">
                  <a:pos x="32" y="8"/>
                </a:cxn>
                <a:cxn ang="0">
                  <a:pos x="38" y="14"/>
                </a:cxn>
                <a:cxn ang="0">
                  <a:pos x="38" y="16"/>
                </a:cxn>
                <a:cxn ang="0">
                  <a:pos x="38" y="8"/>
                </a:cxn>
                <a:cxn ang="0">
                  <a:pos x="44" y="2"/>
                </a:cxn>
                <a:cxn ang="0">
                  <a:pos x="62" y="0"/>
                </a:cxn>
                <a:cxn ang="0">
                  <a:pos x="66" y="0"/>
                </a:cxn>
                <a:cxn ang="0">
                  <a:pos x="66" y="2"/>
                </a:cxn>
                <a:cxn ang="0">
                  <a:pos x="60" y="16"/>
                </a:cxn>
                <a:cxn ang="0">
                  <a:pos x="62" y="14"/>
                </a:cxn>
                <a:cxn ang="0">
                  <a:pos x="74" y="6"/>
                </a:cxn>
                <a:cxn ang="0">
                  <a:pos x="80" y="4"/>
                </a:cxn>
                <a:cxn ang="0">
                  <a:pos x="110" y="6"/>
                </a:cxn>
                <a:cxn ang="0">
                  <a:pos x="110" y="8"/>
                </a:cxn>
                <a:cxn ang="0">
                  <a:pos x="102" y="12"/>
                </a:cxn>
                <a:cxn ang="0">
                  <a:pos x="90" y="14"/>
                </a:cxn>
                <a:cxn ang="0">
                  <a:pos x="88" y="16"/>
                </a:cxn>
                <a:cxn ang="0">
                  <a:pos x="78" y="28"/>
                </a:cxn>
              </a:cxnLst>
              <a:rect l="0" t="0" r="r" b="b"/>
              <a:pathLst>
                <a:path w="110" h="30">
                  <a:moveTo>
                    <a:pt x="78" y="28"/>
                  </a:moveTo>
                  <a:lnTo>
                    <a:pt x="78" y="28"/>
                  </a:lnTo>
                  <a:lnTo>
                    <a:pt x="70" y="30"/>
                  </a:lnTo>
                  <a:lnTo>
                    <a:pt x="66" y="28"/>
                  </a:lnTo>
                  <a:lnTo>
                    <a:pt x="64" y="26"/>
                  </a:lnTo>
                  <a:lnTo>
                    <a:pt x="60" y="26"/>
                  </a:lnTo>
                  <a:lnTo>
                    <a:pt x="60" y="26"/>
                  </a:lnTo>
                  <a:lnTo>
                    <a:pt x="54" y="28"/>
                  </a:lnTo>
                  <a:lnTo>
                    <a:pt x="48" y="30"/>
                  </a:lnTo>
                  <a:lnTo>
                    <a:pt x="46" y="30"/>
                  </a:lnTo>
                  <a:lnTo>
                    <a:pt x="44" y="26"/>
                  </a:lnTo>
                  <a:lnTo>
                    <a:pt x="44" y="26"/>
                  </a:lnTo>
                  <a:lnTo>
                    <a:pt x="42" y="24"/>
                  </a:lnTo>
                  <a:lnTo>
                    <a:pt x="40" y="22"/>
                  </a:lnTo>
                  <a:lnTo>
                    <a:pt x="34" y="24"/>
                  </a:lnTo>
                  <a:lnTo>
                    <a:pt x="26" y="26"/>
                  </a:lnTo>
                  <a:lnTo>
                    <a:pt x="22" y="24"/>
                  </a:lnTo>
                  <a:lnTo>
                    <a:pt x="18" y="22"/>
                  </a:lnTo>
                  <a:lnTo>
                    <a:pt x="18" y="22"/>
                  </a:lnTo>
                  <a:lnTo>
                    <a:pt x="16" y="18"/>
                  </a:lnTo>
                  <a:lnTo>
                    <a:pt x="18" y="16"/>
                  </a:lnTo>
                  <a:lnTo>
                    <a:pt x="20" y="16"/>
                  </a:lnTo>
                  <a:lnTo>
                    <a:pt x="18" y="14"/>
                  </a:lnTo>
                  <a:lnTo>
                    <a:pt x="18" y="14"/>
                  </a:lnTo>
                  <a:lnTo>
                    <a:pt x="12" y="12"/>
                  </a:lnTo>
                  <a:lnTo>
                    <a:pt x="4" y="10"/>
                  </a:lnTo>
                  <a:lnTo>
                    <a:pt x="0" y="8"/>
                  </a:lnTo>
                  <a:lnTo>
                    <a:pt x="6" y="8"/>
                  </a:lnTo>
                  <a:lnTo>
                    <a:pt x="6" y="8"/>
                  </a:lnTo>
                  <a:lnTo>
                    <a:pt x="22" y="8"/>
                  </a:lnTo>
                  <a:lnTo>
                    <a:pt x="32" y="8"/>
                  </a:lnTo>
                  <a:lnTo>
                    <a:pt x="32" y="8"/>
                  </a:lnTo>
                  <a:lnTo>
                    <a:pt x="36" y="10"/>
                  </a:lnTo>
                  <a:lnTo>
                    <a:pt x="38" y="14"/>
                  </a:lnTo>
                  <a:lnTo>
                    <a:pt x="38" y="16"/>
                  </a:lnTo>
                  <a:lnTo>
                    <a:pt x="38" y="16"/>
                  </a:lnTo>
                  <a:lnTo>
                    <a:pt x="38" y="16"/>
                  </a:lnTo>
                  <a:lnTo>
                    <a:pt x="38" y="8"/>
                  </a:lnTo>
                  <a:lnTo>
                    <a:pt x="40" y="4"/>
                  </a:lnTo>
                  <a:lnTo>
                    <a:pt x="44" y="2"/>
                  </a:lnTo>
                  <a:lnTo>
                    <a:pt x="44" y="2"/>
                  </a:lnTo>
                  <a:lnTo>
                    <a:pt x="62" y="0"/>
                  </a:lnTo>
                  <a:lnTo>
                    <a:pt x="66" y="0"/>
                  </a:lnTo>
                  <a:lnTo>
                    <a:pt x="66" y="0"/>
                  </a:lnTo>
                  <a:lnTo>
                    <a:pt x="66" y="2"/>
                  </a:lnTo>
                  <a:lnTo>
                    <a:pt x="66" y="2"/>
                  </a:lnTo>
                  <a:lnTo>
                    <a:pt x="60" y="12"/>
                  </a:lnTo>
                  <a:lnTo>
                    <a:pt x="60" y="16"/>
                  </a:lnTo>
                  <a:lnTo>
                    <a:pt x="62" y="14"/>
                  </a:lnTo>
                  <a:lnTo>
                    <a:pt x="62" y="14"/>
                  </a:lnTo>
                  <a:lnTo>
                    <a:pt x="68" y="8"/>
                  </a:lnTo>
                  <a:lnTo>
                    <a:pt x="74" y="6"/>
                  </a:lnTo>
                  <a:lnTo>
                    <a:pt x="80" y="4"/>
                  </a:lnTo>
                  <a:lnTo>
                    <a:pt x="80" y="4"/>
                  </a:lnTo>
                  <a:lnTo>
                    <a:pt x="102" y="4"/>
                  </a:lnTo>
                  <a:lnTo>
                    <a:pt x="110" y="6"/>
                  </a:lnTo>
                  <a:lnTo>
                    <a:pt x="110" y="6"/>
                  </a:lnTo>
                  <a:lnTo>
                    <a:pt x="110" y="8"/>
                  </a:lnTo>
                  <a:lnTo>
                    <a:pt x="110" y="8"/>
                  </a:lnTo>
                  <a:lnTo>
                    <a:pt x="102" y="12"/>
                  </a:lnTo>
                  <a:lnTo>
                    <a:pt x="96" y="12"/>
                  </a:lnTo>
                  <a:lnTo>
                    <a:pt x="90" y="14"/>
                  </a:lnTo>
                  <a:lnTo>
                    <a:pt x="88" y="16"/>
                  </a:lnTo>
                  <a:lnTo>
                    <a:pt x="88" y="16"/>
                  </a:lnTo>
                  <a:lnTo>
                    <a:pt x="82" y="24"/>
                  </a:lnTo>
                  <a:lnTo>
                    <a:pt x="78" y="28"/>
                  </a:lnTo>
                  <a:lnTo>
                    <a:pt x="78" y="2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6" name="Freeform 121"/>
            <p:cNvSpPr>
              <a:spLocks/>
            </p:cNvSpPr>
            <p:nvPr/>
          </p:nvSpPr>
          <p:spPr bwMode="auto">
            <a:xfrm>
              <a:off x="2395767" y="1469760"/>
              <a:ext cx="44979" cy="15875"/>
            </a:xfrm>
            <a:custGeom>
              <a:avLst/>
              <a:gdLst/>
              <a:ahLst/>
              <a:cxnLst>
                <a:cxn ang="0">
                  <a:pos x="4" y="10"/>
                </a:cxn>
                <a:cxn ang="0">
                  <a:pos x="4" y="10"/>
                </a:cxn>
                <a:cxn ang="0">
                  <a:pos x="12" y="4"/>
                </a:cxn>
                <a:cxn ang="0">
                  <a:pos x="22" y="0"/>
                </a:cxn>
                <a:cxn ang="0">
                  <a:pos x="30" y="0"/>
                </a:cxn>
                <a:cxn ang="0">
                  <a:pos x="32" y="0"/>
                </a:cxn>
                <a:cxn ang="0">
                  <a:pos x="32" y="0"/>
                </a:cxn>
                <a:cxn ang="0">
                  <a:pos x="32" y="0"/>
                </a:cxn>
                <a:cxn ang="0">
                  <a:pos x="32" y="2"/>
                </a:cxn>
                <a:cxn ang="0">
                  <a:pos x="34" y="6"/>
                </a:cxn>
                <a:cxn ang="0">
                  <a:pos x="34" y="8"/>
                </a:cxn>
                <a:cxn ang="0">
                  <a:pos x="34" y="8"/>
                </a:cxn>
                <a:cxn ang="0">
                  <a:pos x="34" y="8"/>
                </a:cxn>
                <a:cxn ang="0">
                  <a:pos x="30" y="10"/>
                </a:cxn>
                <a:cxn ang="0">
                  <a:pos x="26" y="8"/>
                </a:cxn>
                <a:cxn ang="0">
                  <a:pos x="22" y="8"/>
                </a:cxn>
                <a:cxn ang="0">
                  <a:pos x="16" y="10"/>
                </a:cxn>
                <a:cxn ang="0">
                  <a:pos x="16" y="10"/>
                </a:cxn>
                <a:cxn ang="0">
                  <a:pos x="2" y="12"/>
                </a:cxn>
                <a:cxn ang="0">
                  <a:pos x="0" y="12"/>
                </a:cxn>
                <a:cxn ang="0">
                  <a:pos x="4" y="10"/>
                </a:cxn>
                <a:cxn ang="0">
                  <a:pos x="4" y="10"/>
                </a:cxn>
              </a:cxnLst>
              <a:rect l="0" t="0" r="r" b="b"/>
              <a:pathLst>
                <a:path w="34" h="12">
                  <a:moveTo>
                    <a:pt x="4" y="10"/>
                  </a:moveTo>
                  <a:lnTo>
                    <a:pt x="4" y="10"/>
                  </a:lnTo>
                  <a:lnTo>
                    <a:pt x="12" y="4"/>
                  </a:lnTo>
                  <a:lnTo>
                    <a:pt x="22" y="0"/>
                  </a:lnTo>
                  <a:lnTo>
                    <a:pt x="30" y="0"/>
                  </a:lnTo>
                  <a:lnTo>
                    <a:pt x="32" y="0"/>
                  </a:lnTo>
                  <a:lnTo>
                    <a:pt x="32" y="0"/>
                  </a:lnTo>
                  <a:lnTo>
                    <a:pt x="32" y="0"/>
                  </a:lnTo>
                  <a:lnTo>
                    <a:pt x="32" y="2"/>
                  </a:lnTo>
                  <a:lnTo>
                    <a:pt x="34" y="6"/>
                  </a:lnTo>
                  <a:lnTo>
                    <a:pt x="34" y="8"/>
                  </a:lnTo>
                  <a:lnTo>
                    <a:pt x="34" y="8"/>
                  </a:lnTo>
                  <a:lnTo>
                    <a:pt x="34" y="8"/>
                  </a:lnTo>
                  <a:lnTo>
                    <a:pt x="30" y="10"/>
                  </a:lnTo>
                  <a:lnTo>
                    <a:pt x="26" y="8"/>
                  </a:lnTo>
                  <a:lnTo>
                    <a:pt x="22" y="8"/>
                  </a:lnTo>
                  <a:lnTo>
                    <a:pt x="16" y="10"/>
                  </a:lnTo>
                  <a:lnTo>
                    <a:pt x="16" y="10"/>
                  </a:lnTo>
                  <a:lnTo>
                    <a:pt x="2" y="12"/>
                  </a:lnTo>
                  <a:lnTo>
                    <a:pt x="0" y="12"/>
                  </a:lnTo>
                  <a:lnTo>
                    <a:pt x="4" y="10"/>
                  </a:lnTo>
                  <a:lnTo>
                    <a:pt x="4" y="1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7" name="Freeform 122"/>
            <p:cNvSpPr>
              <a:spLocks/>
            </p:cNvSpPr>
            <p:nvPr/>
          </p:nvSpPr>
          <p:spPr bwMode="auto">
            <a:xfrm>
              <a:off x="2139122" y="1477698"/>
              <a:ext cx="82021" cy="15875"/>
            </a:xfrm>
            <a:custGeom>
              <a:avLst/>
              <a:gdLst/>
              <a:ahLst/>
              <a:cxnLst>
                <a:cxn ang="0">
                  <a:pos x="2" y="12"/>
                </a:cxn>
                <a:cxn ang="0">
                  <a:pos x="2" y="12"/>
                </a:cxn>
                <a:cxn ang="0">
                  <a:pos x="12" y="12"/>
                </a:cxn>
                <a:cxn ang="0">
                  <a:pos x="20" y="10"/>
                </a:cxn>
                <a:cxn ang="0">
                  <a:pos x="36" y="8"/>
                </a:cxn>
                <a:cxn ang="0">
                  <a:pos x="36" y="8"/>
                </a:cxn>
                <a:cxn ang="0">
                  <a:pos x="56" y="4"/>
                </a:cxn>
                <a:cxn ang="0">
                  <a:pos x="62" y="2"/>
                </a:cxn>
                <a:cxn ang="0">
                  <a:pos x="58" y="2"/>
                </a:cxn>
                <a:cxn ang="0">
                  <a:pos x="58" y="2"/>
                </a:cxn>
                <a:cxn ang="0">
                  <a:pos x="46" y="2"/>
                </a:cxn>
                <a:cxn ang="0">
                  <a:pos x="36" y="0"/>
                </a:cxn>
                <a:cxn ang="0">
                  <a:pos x="36" y="0"/>
                </a:cxn>
                <a:cxn ang="0">
                  <a:pos x="24" y="2"/>
                </a:cxn>
                <a:cxn ang="0">
                  <a:pos x="22" y="4"/>
                </a:cxn>
                <a:cxn ang="0">
                  <a:pos x="24" y="4"/>
                </a:cxn>
                <a:cxn ang="0">
                  <a:pos x="24" y="4"/>
                </a:cxn>
                <a:cxn ang="0">
                  <a:pos x="24" y="6"/>
                </a:cxn>
                <a:cxn ang="0">
                  <a:pos x="22" y="6"/>
                </a:cxn>
                <a:cxn ang="0">
                  <a:pos x="12" y="8"/>
                </a:cxn>
                <a:cxn ang="0">
                  <a:pos x="2" y="10"/>
                </a:cxn>
                <a:cxn ang="0">
                  <a:pos x="0" y="10"/>
                </a:cxn>
                <a:cxn ang="0">
                  <a:pos x="2" y="12"/>
                </a:cxn>
                <a:cxn ang="0">
                  <a:pos x="2" y="12"/>
                </a:cxn>
              </a:cxnLst>
              <a:rect l="0" t="0" r="r" b="b"/>
              <a:pathLst>
                <a:path w="62" h="12">
                  <a:moveTo>
                    <a:pt x="2" y="12"/>
                  </a:moveTo>
                  <a:lnTo>
                    <a:pt x="2" y="12"/>
                  </a:lnTo>
                  <a:lnTo>
                    <a:pt x="12" y="12"/>
                  </a:lnTo>
                  <a:lnTo>
                    <a:pt x="20" y="10"/>
                  </a:lnTo>
                  <a:lnTo>
                    <a:pt x="36" y="8"/>
                  </a:lnTo>
                  <a:lnTo>
                    <a:pt x="36" y="8"/>
                  </a:lnTo>
                  <a:lnTo>
                    <a:pt x="56" y="4"/>
                  </a:lnTo>
                  <a:lnTo>
                    <a:pt x="62" y="2"/>
                  </a:lnTo>
                  <a:lnTo>
                    <a:pt x="58" y="2"/>
                  </a:lnTo>
                  <a:lnTo>
                    <a:pt x="58" y="2"/>
                  </a:lnTo>
                  <a:lnTo>
                    <a:pt x="46" y="2"/>
                  </a:lnTo>
                  <a:lnTo>
                    <a:pt x="36" y="0"/>
                  </a:lnTo>
                  <a:lnTo>
                    <a:pt x="36" y="0"/>
                  </a:lnTo>
                  <a:lnTo>
                    <a:pt x="24" y="2"/>
                  </a:lnTo>
                  <a:lnTo>
                    <a:pt x="22" y="4"/>
                  </a:lnTo>
                  <a:lnTo>
                    <a:pt x="24" y="4"/>
                  </a:lnTo>
                  <a:lnTo>
                    <a:pt x="24" y="4"/>
                  </a:lnTo>
                  <a:lnTo>
                    <a:pt x="24" y="6"/>
                  </a:lnTo>
                  <a:lnTo>
                    <a:pt x="22" y="6"/>
                  </a:lnTo>
                  <a:lnTo>
                    <a:pt x="12" y="8"/>
                  </a:lnTo>
                  <a:lnTo>
                    <a:pt x="2" y="10"/>
                  </a:lnTo>
                  <a:lnTo>
                    <a:pt x="0" y="10"/>
                  </a:lnTo>
                  <a:lnTo>
                    <a:pt x="2" y="12"/>
                  </a:lnTo>
                  <a:lnTo>
                    <a:pt x="2" y="12"/>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8" name="Freeform 123"/>
            <p:cNvSpPr>
              <a:spLocks/>
            </p:cNvSpPr>
            <p:nvPr/>
          </p:nvSpPr>
          <p:spPr bwMode="auto">
            <a:xfrm>
              <a:off x="2361372" y="1459177"/>
              <a:ext cx="55563" cy="23813"/>
            </a:xfrm>
            <a:custGeom>
              <a:avLst/>
              <a:gdLst/>
              <a:ahLst/>
              <a:cxnLst>
                <a:cxn ang="0">
                  <a:pos x="4" y="18"/>
                </a:cxn>
                <a:cxn ang="0">
                  <a:pos x="4" y="18"/>
                </a:cxn>
                <a:cxn ang="0">
                  <a:pos x="12" y="18"/>
                </a:cxn>
                <a:cxn ang="0">
                  <a:pos x="18" y="16"/>
                </a:cxn>
                <a:cxn ang="0">
                  <a:pos x="26" y="12"/>
                </a:cxn>
                <a:cxn ang="0">
                  <a:pos x="26" y="12"/>
                </a:cxn>
                <a:cxn ang="0">
                  <a:pos x="36" y="10"/>
                </a:cxn>
                <a:cxn ang="0">
                  <a:pos x="40" y="8"/>
                </a:cxn>
                <a:cxn ang="0">
                  <a:pos x="42" y="6"/>
                </a:cxn>
                <a:cxn ang="0">
                  <a:pos x="42" y="6"/>
                </a:cxn>
                <a:cxn ang="0">
                  <a:pos x="42" y="4"/>
                </a:cxn>
                <a:cxn ang="0">
                  <a:pos x="42" y="0"/>
                </a:cxn>
                <a:cxn ang="0">
                  <a:pos x="40" y="0"/>
                </a:cxn>
                <a:cxn ang="0">
                  <a:pos x="32" y="2"/>
                </a:cxn>
                <a:cxn ang="0">
                  <a:pos x="32" y="2"/>
                </a:cxn>
                <a:cxn ang="0">
                  <a:pos x="8" y="6"/>
                </a:cxn>
                <a:cxn ang="0">
                  <a:pos x="0" y="8"/>
                </a:cxn>
                <a:cxn ang="0">
                  <a:pos x="0" y="10"/>
                </a:cxn>
                <a:cxn ang="0">
                  <a:pos x="0" y="10"/>
                </a:cxn>
                <a:cxn ang="0">
                  <a:pos x="0" y="10"/>
                </a:cxn>
                <a:cxn ang="0">
                  <a:pos x="4" y="12"/>
                </a:cxn>
                <a:cxn ang="0">
                  <a:pos x="8" y="12"/>
                </a:cxn>
                <a:cxn ang="0">
                  <a:pos x="10" y="12"/>
                </a:cxn>
                <a:cxn ang="0">
                  <a:pos x="8" y="12"/>
                </a:cxn>
                <a:cxn ang="0">
                  <a:pos x="8" y="12"/>
                </a:cxn>
                <a:cxn ang="0">
                  <a:pos x="0" y="16"/>
                </a:cxn>
                <a:cxn ang="0">
                  <a:pos x="0" y="18"/>
                </a:cxn>
                <a:cxn ang="0">
                  <a:pos x="4" y="18"/>
                </a:cxn>
                <a:cxn ang="0">
                  <a:pos x="4" y="18"/>
                </a:cxn>
              </a:cxnLst>
              <a:rect l="0" t="0" r="r" b="b"/>
              <a:pathLst>
                <a:path w="42" h="18">
                  <a:moveTo>
                    <a:pt x="4" y="18"/>
                  </a:moveTo>
                  <a:lnTo>
                    <a:pt x="4" y="18"/>
                  </a:lnTo>
                  <a:lnTo>
                    <a:pt x="12" y="18"/>
                  </a:lnTo>
                  <a:lnTo>
                    <a:pt x="18" y="16"/>
                  </a:lnTo>
                  <a:lnTo>
                    <a:pt x="26" y="12"/>
                  </a:lnTo>
                  <a:lnTo>
                    <a:pt x="26" y="12"/>
                  </a:lnTo>
                  <a:lnTo>
                    <a:pt x="36" y="10"/>
                  </a:lnTo>
                  <a:lnTo>
                    <a:pt x="40" y="8"/>
                  </a:lnTo>
                  <a:lnTo>
                    <a:pt x="42" y="6"/>
                  </a:lnTo>
                  <a:lnTo>
                    <a:pt x="42" y="6"/>
                  </a:lnTo>
                  <a:lnTo>
                    <a:pt x="42" y="4"/>
                  </a:lnTo>
                  <a:lnTo>
                    <a:pt x="42" y="0"/>
                  </a:lnTo>
                  <a:lnTo>
                    <a:pt x="40" y="0"/>
                  </a:lnTo>
                  <a:lnTo>
                    <a:pt x="32" y="2"/>
                  </a:lnTo>
                  <a:lnTo>
                    <a:pt x="32" y="2"/>
                  </a:lnTo>
                  <a:lnTo>
                    <a:pt x="8" y="6"/>
                  </a:lnTo>
                  <a:lnTo>
                    <a:pt x="0" y="8"/>
                  </a:lnTo>
                  <a:lnTo>
                    <a:pt x="0" y="10"/>
                  </a:lnTo>
                  <a:lnTo>
                    <a:pt x="0" y="10"/>
                  </a:lnTo>
                  <a:lnTo>
                    <a:pt x="0" y="10"/>
                  </a:lnTo>
                  <a:lnTo>
                    <a:pt x="4" y="12"/>
                  </a:lnTo>
                  <a:lnTo>
                    <a:pt x="8" y="12"/>
                  </a:lnTo>
                  <a:lnTo>
                    <a:pt x="10" y="12"/>
                  </a:lnTo>
                  <a:lnTo>
                    <a:pt x="8" y="12"/>
                  </a:lnTo>
                  <a:lnTo>
                    <a:pt x="8" y="12"/>
                  </a:lnTo>
                  <a:lnTo>
                    <a:pt x="0" y="16"/>
                  </a:lnTo>
                  <a:lnTo>
                    <a:pt x="0" y="18"/>
                  </a:lnTo>
                  <a:lnTo>
                    <a:pt x="4" y="18"/>
                  </a:lnTo>
                  <a:lnTo>
                    <a:pt x="4" y="1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9" name="Freeform 124"/>
            <p:cNvSpPr>
              <a:spLocks/>
            </p:cNvSpPr>
            <p:nvPr/>
          </p:nvSpPr>
          <p:spPr bwMode="auto">
            <a:xfrm>
              <a:off x="2485726" y="1440656"/>
              <a:ext cx="142875" cy="47625"/>
            </a:xfrm>
            <a:custGeom>
              <a:avLst/>
              <a:gdLst/>
              <a:ahLst/>
              <a:cxnLst>
                <a:cxn ang="0">
                  <a:pos x="10" y="36"/>
                </a:cxn>
                <a:cxn ang="0">
                  <a:pos x="10" y="36"/>
                </a:cxn>
                <a:cxn ang="0">
                  <a:pos x="0" y="32"/>
                </a:cxn>
                <a:cxn ang="0">
                  <a:pos x="0" y="32"/>
                </a:cxn>
                <a:cxn ang="0">
                  <a:pos x="4" y="30"/>
                </a:cxn>
                <a:cxn ang="0">
                  <a:pos x="4" y="30"/>
                </a:cxn>
                <a:cxn ang="0">
                  <a:pos x="6" y="28"/>
                </a:cxn>
                <a:cxn ang="0">
                  <a:pos x="8" y="28"/>
                </a:cxn>
                <a:cxn ang="0">
                  <a:pos x="14" y="26"/>
                </a:cxn>
                <a:cxn ang="0">
                  <a:pos x="14" y="26"/>
                </a:cxn>
                <a:cxn ang="0">
                  <a:pos x="18" y="26"/>
                </a:cxn>
                <a:cxn ang="0">
                  <a:pos x="20" y="24"/>
                </a:cxn>
                <a:cxn ang="0">
                  <a:pos x="18" y="22"/>
                </a:cxn>
                <a:cxn ang="0">
                  <a:pos x="18" y="18"/>
                </a:cxn>
                <a:cxn ang="0">
                  <a:pos x="18" y="16"/>
                </a:cxn>
                <a:cxn ang="0">
                  <a:pos x="22" y="14"/>
                </a:cxn>
                <a:cxn ang="0">
                  <a:pos x="22" y="14"/>
                </a:cxn>
                <a:cxn ang="0">
                  <a:pos x="30" y="12"/>
                </a:cxn>
                <a:cxn ang="0">
                  <a:pos x="38" y="12"/>
                </a:cxn>
                <a:cxn ang="0">
                  <a:pos x="44" y="12"/>
                </a:cxn>
                <a:cxn ang="0">
                  <a:pos x="50" y="10"/>
                </a:cxn>
                <a:cxn ang="0">
                  <a:pos x="50" y="10"/>
                </a:cxn>
                <a:cxn ang="0">
                  <a:pos x="58" y="6"/>
                </a:cxn>
                <a:cxn ang="0">
                  <a:pos x="70" y="4"/>
                </a:cxn>
                <a:cxn ang="0">
                  <a:pos x="70" y="4"/>
                </a:cxn>
                <a:cxn ang="0">
                  <a:pos x="84" y="0"/>
                </a:cxn>
                <a:cxn ang="0">
                  <a:pos x="86" y="2"/>
                </a:cxn>
                <a:cxn ang="0">
                  <a:pos x="84" y="6"/>
                </a:cxn>
                <a:cxn ang="0">
                  <a:pos x="84" y="6"/>
                </a:cxn>
                <a:cxn ang="0">
                  <a:pos x="82" y="8"/>
                </a:cxn>
                <a:cxn ang="0">
                  <a:pos x="84" y="8"/>
                </a:cxn>
                <a:cxn ang="0">
                  <a:pos x="92" y="6"/>
                </a:cxn>
                <a:cxn ang="0">
                  <a:pos x="104" y="6"/>
                </a:cxn>
                <a:cxn ang="0">
                  <a:pos x="106" y="6"/>
                </a:cxn>
                <a:cxn ang="0">
                  <a:pos x="108" y="10"/>
                </a:cxn>
                <a:cxn ang="0">
                  <a:pos x="108" y="10"/>
                </a:cxn>
                <a:cxn ang="0">
                  <a:pos x="104" y="14"/>
                </a:cxn>
                <a:cxn ang="0">
                  <a:pos x="100" y="16"/>
                </a:cxn>
                <a:cxn ang="0">
                  <a:pos x="98" y="16"/>
                </a:cxn>
                <a:cxn ang="0">
                  <a:pos x="100" y="16"/>
                </a:cxn>
                <a:cxn ang="0">
                  <a:pos x="100" y="16"/>
                </a:cxn>
                <a:cxn ang="0">
                  <a:pos x="102" y="18"/>
                </a:cxn>
                <a:cxn ang="0">
                  <a:pos x="100" y="18"/>
                </a:cxn>
                <a:cxn ang="0">
                  <a:pos x="88" y="20"/>
                </a:cxn>
                <a:cxn ang="0">
                  <a:pos x="88" y="20"/>
                </a:cxn>
                <a:cxn ang="0">
                  <a:pos x="74" y="24"/>
                </a:cxn>
                <a:cxn ang="0">
                  <a:pos x="66" y="28"/>
                </a:cxn>
                <a:cxn ang="0">
                  <a:pos x="60" y="28"/>
                </a:cxn>
                <a:cxn ang="0">
                  <a:pos x="60" y="28"/>
                </a:cxn>
                <a:cxn ang="0">
                  <a:pos x="42" y="26"/>
                </a:cxn>
                <a:cxn ang="0">
                  <a:pos x="36" y="26"/>
                </a:cxn>
                <a:cxn ang="0">
                  <a:pos x="36" y="28"/>
                </a:cxn>
                <a:cxn ang="0">
                  <a:pos x="36" y="28"/>
                </a:cxn>
                <a:cxn ang="0">
                  <a:pos x="36" y="28"/>
                </a:cxn>
                <a:cxn ang="0">
                  <a:pos x="36" y="30"/>
                </a:cxn>
                <a:cxn ang="0">
                  <a:pos x="34" y="32"/>
                </a:cxn>
                <a:cxn ang="0">
                  <a:pos x="26" y="34"/>
                </a:cxn>
                <a:cxn ang="0">
                  <a:pos x="26" y="34"/>
                </a:cxn>
                <a:cxn ang="0">
                  <a:pos x="20" y="32"/>
                </a:cxn>
                <a:cxn ang="0">
                  <a:pos x="18" y="34"/>
                </a:cxn>
                <a:cxn ang="0">
                  <a:pos x="16" y="36"/>
                </a:cxn>
                <a:cxn ang="0">
                  <a:pos x="10" y="36"/>
                </a:cxn>
                <a:cxn ang="0">
                  <a:pos x="10" y="36"/>
                </a:cxn>
              </a:cxnLst>
              <a:rect l="0" t="0" r="r" b="b"/>
              <a:pathLst>
                <a:path w="108" h="36">
                  <a:moveTo>
                    <a:pt x="10" y="36"/>
                  </a:moveTo>
                  <a:lnTo>
                    <a:pt x="10" y="36"/>
                  </a:lnTo>
                  <a:lnTo>
                    <a:pt x="0" y="32"/>
                  </a:lnTo>
                  <a:lnTo>
                    <a:pt x="0" y="32"/>
                  </a:lnTo>
                  <a:lnTo>
                    <a:pt x="4" y="30"/>
                  </a:lnTo>
                  <a:lnTo>
                    <a:pt x="4" y="30"/>
                  </a:lnTo>
                  <a:lnTo>
                    <a:pt x="6" y="28"/>
                  </a:lnTo>
                  <a:lnTo>
                    <a:pt x="8" y="28"/>
                  </a:lnTo>
                  <a:lnTo>
                    <a:pt x="14" y="26"/>
                  </a:lnTo>
                  <a:lnTo>
                    <a:pt x="14" y="26"/>
                  </a:lnTo>
                  <a:lnTo>
                    <a:pt x="18" y="26"/>
                  </a:lnTo>
                  <a:lnTo>
                    <a:pt x="20" y="24"/>
                  </a:lnTo>
                  <a:lnTo>
                    <a:pt x="18" y="22"/>
                  </a:lnTo>
                  <a:lnTo>
                    <a:pt x="18" y="18"/>
                  </a:lnTo>
                  <a:lnTo>
                    <a:pt x="18" y="16"/>
                  </a:lnTo>
                  <a:lnTo>
                    <a:pt x="22" y="14"/>
                  </a:lnTo>
                  <a:lnTo>
                    <a:pt x="22" y="14"/>
                  </a:lnTo>
                  <a:lnTo>
                    <a:pt x="30" y="12"/>
                  </a:lnTo>
                  <a:lnTo>
                    <a:pt x="38" y="12"/>
                  </a:lnTo>
                  <a:lnTo>
                    <a:pt x="44" y="12"/>
                  </a:lnTo>
                  <a:lnTo>
                    <a:pt x="50" y="10"/>
                  </a:lnTo>
                  <a:lnTo>
                    <a:pt x="50" y="10"/>
                  </a:lnTo>
                  <a:lnTo>
                    <a:pt x="58" y="6"/>
                  </a:lnTo>
                  <a:lnTo>
                    <a:pt x="70" y="4"/>
                  </a:lnTo>
                  <a:lnTo>
                    <a:pt x="70" y="4"/>
                  </a:lnTo>
                  <a:lnTo>
                    <a:pt x="84" y="0"/>
                  </a:lnTo>
                  <a:lnTo>
                    <a:pt x="86" y="2"/>
                  </a:lnTo>
                  <a:lnTo>
                    <a:pt x="84" y="6"/>
                  </a:lnTo>
                  <a:lnTo>
                    <a:pt x="84" y="6"/>
                  </a:lnTo>
                  <a:lnTo>
                    <a:pt x="82" y="8"/>
                  </a:lnTo>
                  <a:lnTo>
                    <a:pt x="84" y="8"/>
                  </a:lnTo>
                  <a:lnTo>
                    <a:pt x="92" y="6"/>
                  </a:lnTo>
                  <a:lnTo>
                    <a:pt x="104" y="6"/>
                  </a:lnTo>
                  <a:lnTo>
                    <a:pt x="106" y="6"/>
                  </a:lnTo>
                  <a:lnTo>
                    <a:pt x="108" y="10"/>
                  </a:lnTo>
                  <a:lnTo>
                    <a:pt x="108" y="10"/>
                  </a:lnTo>
                  <a:lnTo>
                    <a:pt x="104" y="14"/>
                  </a:lnTo>
                  <a:lnTo>
                    <a:pt x="100" y="16"/>
                  </a:lnTo>
                  <a:lnTo>
                    <a:pt x="98" y="16"/>
                  </a:lnTo>
                  <a:lnTo>
                    <a:pt x="100" y="16"/>
                  </a:lnTo>
                  <a:lnTo>
                    <a:pt x="100" y="16"/>
                  </a:lnTo>
                  <a:lnTo>
                    <a:pt x="102" y="18"/>
                  </a:lnTo>
                  <a:lnTo>
                    <a:pt x="100" y="18"/>
                  </a:lnTo>
                  <a:lnTo>
                    <a:pt x="88" y="20"/>
                  </a:lnTo>
                  <a:lnTo>
                    <a:pt x="88" y="20"/>
                  </a:lnTo>
                  <a:lnTo>
                    <a:pt x="74" y="24"/>
                  </a:lnTo>
                  <a:lnTo>
                    <a:pt x="66" y="28"/>
                  </a:lnTo>
                  <a:lnTo>
                    <a:pt x="60" y="28"/>
                  </a:lnTo>
                  <a:lnTo>
                    <a:pt x="60" y="28"/>
                  </a:lnTo>
                  <a:lnTo>
                    <a:pt x="42" y="26"/>
                  </a:lnTo>
                  <a:lnTo>
                    <a:pt x="36" y="26"/>
                  </a:lnTo>
                  <a:lnTo>
                    <a:pt x="36" y="28"/>
                  </a:lnTo>
                  <a:lnTo>
                    <a:pt x="36" y="28"/>
                  </a:lnTo>
                  <a:lnTo>
                    <a:pt x="36" y="28"/>
                  </a:lnTo>
                  <a:lnTo>
                    <a:pt x="36" y="30"/>
                  </a:lnTo>
                  <a:lnTo>
                    <a:pt x="34" y="32"/>
                  </a:lnTo>
                  <a:lnTo>
                    <a:pt x="26" y="34"/>
                  </a:lnTo>
                  <a:lnTo>
                    <a:pt x="26" y="34"/>
                  </a:lnTo>
                  <a:lnTo>
                    <a:pt x="20" y="32"/>
                  </a:lnTo>
                  <a:lnTo>
                    <a:pt x="18" y="34"/>
                  </a:lnTo>
                  <a:lnTo>
                    <a:pt x="16" y="36"/>
                  </a:lnTo>
                  <a:lnTo>
                    <a:pt x="10" y="36"/>
                  </a:lnTo>
                  <a:lnTo>
                    <a:pt x="10" y="36"/>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0" name="Freeform 125"/>
            <p:cNvSpPr>
              <a:spLocks/>
            </p:cNvSpPr>
            <p:nvPr/>
          </p:nvSpPr>
          <p:spPr bwMode="auto">
            <a:xfrm>
              <a:off x="2903767" y="1443302"/>
              <a:ext cx="928688" cy="362479"/>
            </a:xfrm>
            <a:custGeom>
              <a:avLst/>
              <a:gdLst/>
              <a:ahLst/>
              <a:cxnLst>
                <a:cxn ang="0">
                  <a:pos x="214" y="6"/>
                </a:cxn>
                <a:cxn ang="0">
                  <a:pos x="292" y="10"/>
                </a:cxn>
                <a:cxn ang="0">
                  <a:pos x="354" y="4"/>
                </a:cxn>
                <a:cxn ang="0">
                  <a:pos x="406" y="8"/>
                </a:cxn>
                <a:cxn ang="0">
                  <a:pos x="474" y="4"/>
                </a:cxn>
                <a:cxn ang="0">
                  <a:pos x="540" y="8"/>
                </a:cxn>
                <a:cxn ang="0">
                  <a:pos x="606" y="10"/>
                </a:cxn>
                <a:cxn ang="0">
                  <a:pos x="640" y="8"/>
                </a:cxn>
                <a:cxn ang="0">
                  <a:pos x="648" y="18"/>
                </a:cxn>
                <a:cxn ang="0">
                  <a:pos x="658" y="12"/>
                </a:cxn>
                <a:cxn ang="0">
                  <a:pos x="692" y="18"/>
                </a:cxn>
                <a:cxn ang="0">
                  <a:pos x="674" y="32"/>
                </a:cxn>
                <a:cxn ang="0">
                  <a:pos x="684" y="40"/>
                </a:cxn>
                <a:cxn ang="0">
                  <a:pos x="650" y="54"/>
                </a:cxn>
                <a:cxn ang="0">
                  <a:pos x="650" y="76"/>
                </a:cxn>
                <a:cxn ang="0">
                  <a:pos x="608" y="80"/>
                </a:cxn>
                <a:cxn ang="0">
                  <a:pos x="568" y="88"/>
                </a:cxn>
                <a:cxn ang="0">
                  <a:pos x="592" y="98"/>
                </a:cxn>
                <a:cxn ang="0">
                  <a:pos x="616" y="106"/>
                </a:cxn>
                <a:cxn ang="0">
                  <a:pos x="576" y="106"/>
                </a:cxn>
                <a:cxn ang="0">
                  <a:pos x="550" y="104"/>
                </a:cxn>
                <a:cxn ang="0">
                  <a:pos x="536" y="122"/>
                </a:cxn>
                <a:cxn ang="0">
                  <a:pos x="582" y="120"/>
                </a:cxn>
                <a:cxn ang="0">
                  <a:pos x="578" y="130"/>
                </a:cxn>
                <a:cxn ang="0">
                  <a:pos x="542" y="138"/>
                </a:cxn>
                <a:cxn ang="0">
                  <a:pos x="500" y="148"/>
                </a:cxn>
                <a:cxn ang="0">
                  <a:pos x="454" y="152"/>
                </a:cxn>
                <a:cxn ang="0">
                  <a:pos x="432" y="150"/>
                </a:cxn>
                <a:cxn ang="0">
                  <a:pos x="398" y="170"/>
                </a:cxn>
                <a:cxn ang="0">
                  <a:pos x="360" y="176"/>
                </a:cxn>
                <a:cxn ang="0">
                  <a:pos x="324" y="182"/>
                </a:cxn>
                <a:cxn ang="0">
                  <a:pos x="290" y="198"/>
                </a:cxn>
                <a:cxn ang="0">
                  <a:pos x="280" y="214"/>
                </a:cxn>
                <a:cxn ang="0">
                  <a:pos x="260" y="226"/>
                </a:cxn>
                <a:cxn ang="0">
                  <a:pos x="244" y="248"/>
                </a:cxn>
                <a:cxn ang="0">
                  <a:pos x="224" y="262"/>
                </a:cxn>
                <a:cxn ang="0">
                  <a:pos x="196" y="270"/>
                </a:cxn>
                <a:cxn ang="0">
                  <a:pos x="174" y="260"/>
                </a:cxn>
                <a:cxn ang="0">
                  <a:pos x="140" y="248"/>
                </a:cxn>
                <a:cxn ang="0">
                  <a:pos x="122" y="226"/>
                </a:cxn>
                <a:cxn ang="0">
                  <a:pos x="134" y="200"/>
                </a:cxn>
                <a:cxn ang="0">
                  <a:pos x="108" y="186"/>
                </a:cxn>
                <a:cxn ang="0">
                  <a:pos x="108" y="168"/>
                </a:cxn>
                <a:cxn ang="0">
                  <a:pos x="122" y="154"/>
                </a:cxn>
                <a:cxn ang="0">
                  <a:pos x="152" y="146"/>
                </a:cxn>
                <a:cxn ang="0">
                  <a:pos x="166" y="136"/>
                </a:cxn>
                <a:cxn ang="0">
                  <a:pos x="166" y="124"/>
                </a:cxn>
                <a:cxn ang="0">
                  <a:pos x="152" y="114"/>
                </a:cxn>
                <a:cxn ang="0">
                  <a:pos x="176" y="110"/>
                </a:cxn>
                <a:cxn ang="0">
                  <a:pos x="160" y="106"/>
                </a:cxn>
                <a:cxn ang="0">
                  <a:pos x="128" y="106"/>
                </a:cxn>
                <a:cxn ang="0">
                  <a:pos x="146" y="86"/>
                </a:cxn>
                <a:cxn ang="0">
                  <a:pos x="142" y="72"/>
                </a:cxn>
                <a:cxn ang="0">
                  <a:pos x="108" y="60"/>
                </a:cxn>
                <a:cxn ang="0">
                  <a:pos x="44" y="56"/>
                </a:cxn>
                <a:cxn ang="0">
                  <a:pos x="30" y="48"/>
                </a:cxn>
                <a:cxn ang="0">
                  <a:pos x="28" y="42"/>
                </a:cxn>
                <a:cxn ang="0">
                  <a:pos x="42" y="30"/>
                </a:cxn>
                <a:cxn ang="0">
                  <a:pos x="84" y="16"/>
                </a:cxn>
                <a:cxn ang="0">
                  <a:pos x="166" y="12"/>
                </a:cxn>
              </a:cxnLst>
              <a:rect l="0" t="0" r="r" b="b"/>
              <a:pathLst>
                <a:path w="702" h="274">
                  <a:moveTo>
                    <a:pt x="166" y="12"/>
                  </a:moveTo>
                  <a:lnTo>
                    <a:pt x="166" y="12"/>
                  </a:lnTo>
                  <a:lnTo>
                    <a:pt x="172" y="10"/>
                  </a:lnTo>
                  <a:lnTo>
                    <a:pt x="178" y="10"/>
                  </a:lnTo>
                  <a:lnTo>
                    <a:pt x="182" y="10"/>
                  </a:lnTo>
                  <a:lnTo>
                    <a:pt x="188" y="10"/>
                  </a:lnTo>
                  <a:lnTo>
                    <a:pt x="188" y="10"/>
                  </a:lnTo>
                  <a:lnTo>
                    <a:pt x="194" y="8"/>
                  </a:lnTo>
                  <a:lnTo>
                    <a:pt x="200" y="8"/>
                  </a:lnTo>
                  <a:lnTo>
                    <a:pt x="206" y="8"/>
                  </a:lnTo>
                  <a:lnTo>
                    <a:pt x="214" y="6"/>
                  </a:lnTo>
                  <a:lnTo>
                    <a:pt x="214" y="6"/>
                  </a:lnTo>
                  <a:lnTo>
                    <a:pt x="224" y="6"/>
                  </a:lnTo>
                  <a:lnTo>
                    <a:pt x="230" y="8"/>
                  </a:lnTo>
                  <a:lnTo>
                    <a:pt x="236" y="10"/>
                  </a:lnTo>
                  <a:lnTo>
                    <a:pt x="242" y="8"/>
                  </a:lnTo>
                  <a:lnTo>
                    <a:pt x="242" y="8"/>
                  </a:lnTo>
                  <a:lnTo>
                    <a:pt x="250" y="8"/>
                  </a:lnTo>
                  <a:lnTo>
                    <a:pt x="254" y="8"/>
                  </a:lnTo>
                  <a:lnTo>
                    <a:pt x="260" y="10"/>
                  </a:lnTo>
                  <a:lnTo>
                    <a:pt x="268" y="10"/>
                  </a:lnTo>
                  <a:lnTo>
                    <a:pt x="268" y="10"/>
                  </a:lnTo>
                  <a:lnTo>
                    <a:pt x="280" y="8"/>
                  </a:lnTo>
                  <a:lnTo>
                    <a:pt x="292" y="10"/>
                  </a:lnTo>
                  <a:lnTo>
                    <a:pt x="300" y="10"/>
                  </a:lnTo>
                  <a:lnTo>
                    <a:pt x="302" y="10"/>
                  </a:lnTo>
                  <a:lnTo>
                    <a:pt x="302" y="8"/>
                  </a:lnTo>
                  <a:lnTo>
                    <a:pt x="302" y="8"/>
                  </a:lnTo>
                  <a:lnTo>
                    <a:pt x="302" y="6"/>
                  </a:lnTo>
                  <a:lnTo>
                    <a:pt x="306" y="4"/>
                  </a:lnTo>
                  <a:lnTo>
                    <a:pt x="314" y="4"/>
                  </a:lnTo>
                  <a:lnTo>
                    <a:pt x="322" y="6"/>
                  </a:lnTo>
                  <a:lnTo>
                    <a:pt x="322" y="6"/>
                  </a:lnTo>
                  <a:lnTo>
                    <a:pt x="332" y="8"/>
                  </a:lnTo>
                  <a:lnTo>
                    <a:pt x="340" y="8"/>
                  </a:lnTo>
                  <a:lnTo>
                    <a:pt x="354" y="4"/>
                  </a:lnTo>
                  <a:lnTo>
                    <a:pt x="354" y="4"/>
                  </a:lnTo>
                  <a:lnTo>
                    <a:pt x="362" y="4"/>
                  </a:lnTo>
                  <a:lnTo>
                    <a:pt x="368" y="6"/>
                  </a:lnTo>
                  <a:lnTo>
                    <a:pt x="372" y="8"/>
                  </a:lnTo>
                  <a:lnTo>
                    <a:pt x="380" y="6"/>
                  </a:lnTo>
                  <a:lnTo>
                    <a:pt x="380" y="6"/>
                  </a:lnTo>
                  <a:lnTo>
                    <a:pt x="386" y="6"/>
                  </a:lnTo>
                  <a:lnTo>
                    <a:pt x="390" y="8"/>
                  </a:lnTo>
                  <a:lnTo>
                    <a:pt x="394" y="10"/>
                  </a:lnTo>
                  <a:lnTo>
                    <a:pt x="400" y="8"/>
                  </a:lnTo>
                  <a:lnTo>
                    <a:pt x="400" y="8"/>
                  </a:lnTo>
                  <a:lnTo>
                    <a:pt x="406" y="8"/>
                  </a:lnTo>
                  <a:lnTo>
                    <a:pt x="408" y="8"/>
                  </a:lnTo>
                  <a:lnTo>
                    <a:pt x="412" y="8"/>
                  </a:lnTo>
                  <a:lnTo>
                    <a:pt x="424" y="6"/>
                  </a:lnTo>
                  <a:lnTo>
                    <a:pt x="424" y="6"/>
                  </a:lnTo>
                  <a:lnTo>
                    <a:pt x="450" y="2"/>
                  </a:lnTo>
                  <a:lnTo>
                    <a:pt x="456" y="4"/>
                  </a:lnTo>
                  <a:lnTo>
                    <a:pt x="458" y="4"/>
                  </a:lnTo>
                  <a:lnTo>
                    <a:pt x="456" y="6"/>
                  </a:lnTo>
                  <a:lnTo>
                    <a:pt x="456" y="6"/>
                  </a:lnTo>
                  <a:lnTo>
                    <a:pt x="452" y="10"/>
                  </a:lnTo>
                  <a:lnTo>
                    <a:pt x="454" y="10"/>
                  </a:lnTo>
                  <a:lnTo>
                    <a:pt x="474" y="4"/>
                  </a:lnTo>
                  <a:lnTo>
                    <a:pt x="474" y="4"/>
                  </a:lnTo>
                  <a:lnTo>
                    <a:pt x="482" y="2"/>
                  </a:lnTo>
                  <a:lnTo>
                    <a:pt x="486" y="0"/>
                  </a:lnTo>
                  <a:lnTo>
                    <a:pt x="494" y="2"/>
                  </a:lnTo>
                  <a:lnTo>
                    <a:pt x="500" y="6"/>
                  </a:lnTo>
                  <a:lnTo>
                    <a:pt x="504" y="6"/>
                  </a:lnTo>
                  <a:lnTo>
                    <a:pt x="508" y="6"/>
                  </a:lnTo>
                  <a:lnTo>
                    <a:pt x="508" y="6"/>
                  </a:lnTo>
                  <a:lnTo>
                    <a:pt x="518" y="4"/>
                  </a:lnTo>
                  <a:lnTo>
                    <a:pt x="524" y="6"/>
                  </a:lnTo>
                  <a:lnTo>
                    <a:pt x="530" y="8"/>
                  </a:lnTo>
                  <a:lnTo>
                    <a:pt x="540" y="8"/>
                  </a:lnTo>
                  <a:lnTo>
                    <a:pt x="540" y="8"/>
                  </a:lnTo>
                  <a:lnTo>
                    <a:pt x="550" y="8"/>
                  </a:lnTo>
                  <a:lnTo>
                    <a:pt x="556" y="10"/>
                  </a:lnTo>
                  <a:lnTo>
                    <a:pt x="560" y="12"/>
                  </a:lnTo>
                  <a:lnTo>
                    <a:pt x="568" y="10"/>
                  </a:lnTo>
                  <a:lnTo>
                    <a:pt x="568" y="10"/>
                  </a:lnTo>
                  <a:lnTo>
                    <a:pt x="576" y="8"/>
                  </a:lnTo>
                  <a:lnTo>
                    <a:pt x="584" y="8"/>
                  </a:lnTo>
                  <a:lnTo>
                    <a:pt x="592" y="10"/>
                  </a:lnTo>
                  <a:lnTo>
                    <a:pt x="600" y="10"/>
                  </a:lnTo>
                  <a:lnTo>
                    <a:pt x="600" y="10"/>
                  </a:lnTo>
                  <a:lnTo>
                    <a:pt x="606" y="10"/>
                  </a:lnTo>
                  <a:lnTo>
                    <a:pt x="612" y="10"/>
                  </a:lnTo>
                  <a:lnTo>
                    <a:pt x="618" y="14"/>
                  </a:lnTo>
                  <a:lnTo>
                    <a:pt x="618" y="14"/>
                  </a:lnTo>
                  <a:lnTo>
                    <a:pt x="618" y="14"/>
                  </a:lnTo>
                  <a:lnTo>
                    <a:pt x="620" y="12"/>
                  </a:lnTo>
                  <a:lnTo>
                    <a:pt x="622" y="10"/>
                  </a:lnTo>
                  <a:lnTo>
                    <a:pt x="624" y="8"/>
                  </a:lnTo>
                  <a:lnTo>
                    <a:pt x="624" y="8"/>
                  </a:lnTo>
                  <a:lnTo>
                    <a:pt x="630" y="8"/>
                  </a:lnTo>
                  <a:lnTo>
                    <a:pt x="636" y="8"/>
                  </a:lnTo>
                  <a:lnTo>
                    <a:pt x="640" y="8"/>
                  </a:lnTo>
                  <a:lnTo>
                    <a:pt x="640" y="8"/>
                  </a:lnTo>
                  <a:lnTo>
                    <a:pt x="646" y="12"/>
                  </a:lnTo>
                  <a:lnTo>
                    <a:pt x="646" y="12"/>
                  </a:lnTo>
                  <a:lnTo>
                    <a:pt x="640" y="14"/>
                  </a:lnTo>
                  <a:lnTo>
                    <a:pt x="640" y="14"/>
                  </a:lnTo>
                  <a:lnTo>
                    <a:pt x="634" y="16"/>
                  </a:lnTo>
                  <a:lnTo>
                    <a:pt x="630" y="18"/>
                  </a:lnTo>
                  <a:lnTo>
                    <a:pt x="630" y="22"/>
                  </a:lnTo>
                  <a:lnTo>
                    <a:pt x="630" y="22"/>
                  </a:lnTo>
                  <a:lnTo>
                    <a:pt x="634" y="18"/>
                  </a:lnTo>
                  <a:lnTo>
                    <a:pt x="640" y="18"/>
                  </a:lnTo>
                  <a:lnTo>
                    <a:pt x="648" y="18"/>
                  </a:lnTo>
                  <a:lnTo>
                    <a:pt x="648" y="18"/>
                  </a:lnTo>
                  <a:lnTo>
                    <a:pt x="650" y="20"/>
                  </a:lnTo>
                  <a:lnTo>
                    <a:pt x="650" y="22"/>
                  </a:lnTo>
                  <a:lnTo>
                    <a:pt x="638" y="32"/>
                  </a:lnTo>
                  <a:lnTo>
                    <a:pt x="638" y="32"/>
                  </a:lnTo>
                  <a:lnTo>
                    <a:pt x="636" y="34"/>
                  </a:lnTo>
                  <a:lnTo>
                    <a:pt x="638" y="34"/>
                  </a:lnTo>
                  <a:lnTo>
                    <a:pt x="652" y="26"/>
                  </a:lnTo>
                  <a:lnTo>
                    <a:pt x="652" y="26"/>
                  </a:lnTo>
                  <a:lnTo>
                    <a:pt x="654" y="22"/>
                  </a:lnTo>
                  <a:lnTo>
                    <a:pt x="654" y="20"/>
                  </a:lnTo>
                  <a:lnTo>
                    <a:pt x="654" y="16"/>
                  </a:lnTo>
                  <a:lnTo>
                    <a:pt x="658" y="12"/>
                  </a:lnTo>
                  <a:lnTo>
                    <a:pt x="658" y="12"/>
                  </a:lnTo>
                  <a:lnTo>
                    <a:pt x="664" y="8"/>
                  </a:lnTo>
                  <a:lnTo>
                    <a:pt x="672" y="8"/>
                  </a:lnTo>
                  <a:lnTo>
                    <a:pt x="680" y="8"/>
                  </a:lnTo>
                  <a:lnTo>
                    <a:pt x="688" y="8"/>
                  </a:lnTo>
                  <a:lnTo>
                    <a:pt x="688" y="8"/>
                  </a:lnTo>
                  <a:lnTo>
                    <a:pt x="700" y="8"/>
                  </a:lnTo>
                  <a:lnTo>
                    <a:pt x="702" y="10"/>
                  </a:lnTo>
                  <a:lnTo>
                    <a:pt x="702" y="10"/>
                  </a:lnTo>
                  <a:lnTo>
                    <a:pt x="696" y="14"/>
                  </a:lnTo>
                  <a:lnTo>
                    <a:pt x="696" y="14"/>
                  </a:lnTo>
                  <a:lnTo>
                    <a:pt x="692" y="18"/>
                  </a:lnTo>
                  <a:lnTo>
                    <a:pt x="692" y="20"/>
                  </a:lnTo>
                  <a:lnTo>
                    <a:pt x="694" y="20"/>
                  </a:lnTo>
                  <a:lnTo>
                    <a:pt x="690" y="22"/>
                  </a:lnTo>
                  <a:lnTo>
                    <a:pt x="690" y="22"/>
                  </a:lnTo>
                  <a:lnTo>
                    <a:pt x="688" y="24"/>
                  </a:lnTo>
                  <a:lnTo>
                    <a:pt x="690" y="26"/>
                  </a:lnTo>
                  <a:lnTo>
                    <a:pt x="690" y="28"/>
                  </a:lnTo>
                  <a:lnTo>
                    <a:pt x="686" y="32"/>
                  </a:lnTo>
                  <a:lnTo>
                    <a:pt x="686" y="32"/>
                  </a:lnTo>
                  <a:lnTo>
                    <a:pt x="680" y="34"/>
                  </a:lnTo>
                  <a:lnTo>
                    <a:pt x="678" y="34"/>
                  </a:lnTo>
                  <a:lnTo>
                    <a:pt x="674" y="32"/>
                  </a:lnTo>
                  <a:lnTo>
                    <a:pt x="668" y="34"/>
                  </a:lnTo>
                  <a:lnTo>
                    <a:pt x="668" y="34"/>
                  </a:lnTo>
                  <a:lnTo>
                    <a:pt x="662" y="38"/>
                  </a:lnTo>
                  <a:lnTo>
                    <a:pt x="660" y="40"/>
                  </a:lnTo>
                  <a:lnTo>
                    <a:pt x="660" y="42"/>
                  </a:lnTo>
                  <a:lnTo>
                    <a:pt x="664" y="40"/>
                  </a:lnTo>
                  <a:lnTo>
                    <a:pt x="664" y="40"/>
                  </a:lnTo>
                  <a:lnTo>
                    <a:pt x="668" y="38"/>
                  </a:lnTo>
                  <a:lnTo>
                    <a:pt x="672" y="40"/>
                  </a:lnTo>
                  <a:lnTo>
                    <a:pt x="676" y="40"/>
                  </a:lnTo>
                  <a:lnTo>
                    <a:pt x="684" y="40"/>
                  </a:lnTo>
                  <a:lnTo>
                    <a:pt x="684" y="40"/>
                  </a:lnTo>
                  <a:lnTo>
                    <a:pt x="690" y="42"/>
                  </a:lnTo>
                  <a:lnTo>
                    <a:pt x="688" y="42"/>
                  </a:lnTo>
                  <a:lnTo>
                    <a:pt x="670" y="48"/>
                  </a:lnTo>
                  <a:lnTo>
                    <a:pt x="670" y="48"/>
                  </a:lnTo>
                  <a:lnTo>
                    <a:pt x="664" y="50"/>
                  </a:lnTo>
                  <a:lnTo>
                    <a:pt x="660" y="48"/>
                  </a:lnTo>
                  <a:lnTo>
                    <a:pt x="658" y="46"/>
                  </a:lnTo>
                  <a:lnTo>
                    <a:pt x="654" y="46"/>
                  </a:lnTo>
                  <a:lnTo>
                    <a:pt x="654" y="46"/>
                  </a:lnTo>
                  <a:lnTo>
                    <a:pt x="648" y="48"/>
                  </a:lnTo>
                  <a:lnTo>
                    <a:pt x="648" y="52"/>
                  </a:lnTo>
                  <a:lnTo>
                    <a:pt x="650" y="54"/>
                  </a:lnTo>
                  <a:lnTo>
                    <a:pt x="656" y="58"/>
                  </a:lnTo>
                  <a:lnTo>
                    <a:pt x="656" y="58"/>
                  </a:lnTo>
                  <a:lnTo>
                    <a:pt x="658" y="58"/>
                  </a:lnTo>
                  <a:lnTo>
                    <a:pt x="658" y="60"/>
                  </a:lnTo>
                  <a:lnTo>
                    <a:pt x="654" y="62"/>
                  </a:lnTo>
                  <a:lnTo>
                    <a:pt x="648" y="64"/>
                  </a:lnTo>
                  <a:lnTo>
                    <a:pt x="648" y="66"/>
                  </a:lnTo>
                  <a:lnTo>
                    <a:pt x="650" y="68"/>
                  </a:lnTo>
                  <a:lnTo>
                    <a:pt x="650" y="68"/>
                  </a:lnTo>
                  <a:lnTo>
                    <a:pt x="656" y="72"/>
                  </a:lnTo>
                  <a:lnTo>
                    <a:pt x="650" y="76"/>
                  </a:lnTo>
                  <a:lnTo>
                    <a:pt x="650" y="76"/>
                  </a:lnTo>
                  <a:lnTo>
                    <a:pt x="646" y="76"/>
                  </a:lnTo>
                  <a:lnTo>
                    <a:pt x="640" y="76"/>
                  </a:lnTo>
                  <a:lnTo>
                    <a:pt x="638" y="74"/>
                  </a:lnTo>
                  <a:lnTo>
                    <a:pt x="640" y="76"/>
                  </a:lnTo>
                  <a:lnTo>
                    <a:pt x="640" y="76"/>
                  </a:lnTo>
                  <a:lnTo>
                    <a:pt x="640" y="78"/>
                  </a:lnTo>
                  <a:lnTo>
                    <a:pt x="640" y="80"/>
                  </a:lnTo>
                  <a:lnTo>
                    <a:pt x="632" y="82"/>
                  </a:lnTo>
                  <a:lnTo>
                    <a:pt x="624" y="82"/>
                  </a:lnTo>
                  <a:lnTo>
                    <a:pt x="614" y="82"/>
                  </a:lnTo>
                  <a:lnTo>
                    <a:pt x="614" y="82"/>
                  </a:lnTo>
                  <a:lnTo>
                    <a:pt x="608" y="80"/>
                  </a:lnTo>
                  <a:lnTo>
                    <a:pt x="604" y="82"/>
                  </a:lnTo>
                  <a:lnTo>
                    <a:pt x="598" y="82"/>
                  </a:lnTo>
                  <a:lnTo>
                    <a:pt x="590" y="82"/>
                  </a:lnTo>
                  <a:lnTo>
                    <a:pt x="590" y="82"/>
                  </a:lnTo>
                  <a:lnTo>
                    <a:pt x="584" y="80"/>
                  </a:lnTo>
                  <a:lnTo>
                    <a:pt x="580" y="80"/>
                  </a:lnTo>
                  <a:lnTo>
                    <a:pt x="570" y="82"/>
                  </a:lnTo>
                  <a:lnTo>
                    <a:pt x="570" y="82"/>
                  </a:lnTo>
                  <a:lnTo>
                    <a:pt x="564" y="84"/>
                  </a:lnTo>
                  <a:lnTo>
                    <a:pt x="562" y="86"/>
                  </a:lnTo>
                  <a:lnTo>
                    <a:pt x="564" y="88"/>
                  </a:lnTo>
                  <a:lnTo>
                    <a:pt x="568" y="88"/>
                  </a:lnTo>
                  <a:lnTo>
                    <a:pt x="568" y="88"/>
                  </a:lnTo>
                  <a:lnTo>
                    <a:pt x="574" y="88"/>
                  </a:lnTo>
                  <a:lnTo>
                    <a:pt x="574" y="92"/>
                  </a:lnTo>
                  <a:lnTo>
                    <a:pt x="574" y="94"/>
                  </a:lnTo>
                  <a:lnTo>
                    <a:pt x="578" y="94"/>
                  </a:lnTo>
                  <a:lnTo>
                    <a:pt x="578" y="94"/>
                  </a:lnTo>
                  <a:lnTo>
                    <a:pt x="580" y="94"/>
                  </a:lnTo>
                  <a:lnTo>
                    <a:pt x="582" y="94"/>
                  </a:lnTo>
                  <a:lnTo>
                    <a:pt x="584" y="96"/>
                  </a:lnTo>
                  <a:lnTo>
                    <a:pt x="588" y="96"/>
                  </a:lnTo>
                  <a:lnTo>
                    <a:pt x="588" y="96"/>
                  </a:lnTo>
                  <a:lnTo>
                    <a:pt x="592" y="98"/>
                  </a:lnTo>
                  <a:lnTo>
                    <a:pt x="598" y="94"/>
                  </a:lnTo>
                  <a:lnTo>
                    <a:pt x="598" y="94"/>
                  </a:lnTo>
                  <a:lnTo>
                    <a:pt x="602" y="92"/>
                  </a:lnTo>
                  <a:lnTo>
                    <a:pt x="604" y="94"/>
                  </a:lnTo>
                  <a:lnTo>
                    <a:pt x="606" y="98"/>
                  </a:lnTo>
                  <a:lnTo>
                    <a:pt x="608" y="96"/>
                  </a:lnTo>
                  <a:lnTo>
                    <a:pt x="608" y="96"/>
                  </a:lnTo>
                  <a:lnTo>
                    <a:pt x="612" y="96"/>
                  </a:lnTo>
                  <a:lnTo>
                    <a:pt x="614" y="98"/>
                  </a:lnTo>
                  <a:lnTo>
                    <a:pt x="616" y="100"/>
                  </a:lnTo>
                  <a:lnTo>
                    <a:pt x="616" y="106"/>
                  </a:lnTo>
                  <a:lnTo>
                    <a:pt x="616" y="106"/>
                  </a:lnTo>
                  <a:lnTo>
                    <a:pt x="614" y="110"/>
                  </a:lnTo>
                  <a:lnTo>
                    <a:pt x="612" y="112"/>
                  </a:lnTo>
                  <a:lnTo>
                    <a:pt x="608" y="112"/>
                  </a:lnTo>
                  <a:lnTo>
                    <a:pt x="606" y="114"/>
                  </a:lnTo>
                  <a:lnTo>
                    <a:pt x="606" y="114"/>
                  </a:lnTo>
                  <a:lnTo>
                    <a:pt x="604" y="116"/>
                  </a:lnTo>
                  <a:lnTo>
                    <a:pt x="602" y="116"/>
                  </a:lnTo>
                  <a:lnTo>
                    <a:pt x="594" y="116"/>
                  </a:lnTo>
                  <a:lnTo>
                    <a:pt x="586" y="112"/>
                  </a:lnTo>
                  <a:lnTo>
                    <a:pt x="582" y="108"/>
                  </a:lnTo>
                  <a:lnTo>
                    <a:pt x="582" y="108"/>
                  </a:lnTo>
                  <a:lnTo>
                    <a:pt x="576" y="106"/>
                  </a:lnTo>
                  <a:lnTo>
                    <a:pt x="570" y="104"/>
                  </a:lnTo>
                  <a:lnTo>
                    <a:pt x="558" y="102"/>
                  </a:lnTo>
                  <a:lnTo>
                    <a:pt x="558" y="102"/>
                  </a:lnTo>
                  <a:lnTo>
                    <a:pt x="546" y="100"/>
                  </a:lnTo>
                  <a:lnTo>
                    <a:pt x="540" y="98"/>
                  </a:lnTo>
                  <a:lnTo>
                    <a:pt x="532" y="98"/>
                  </a:lnTo>
                  <a:lnTo>
                    <a:pt x="532" y="98"/>
                  </a:lnTo>
                  <a:lnTo>
                    <a:pt x="528" y="100"/>
                  </a:lnTo>
                  <a:lnTo>
                    <a:pt x="532" y="100"/>
                  </a:lnTo>
                  <a:lnTo>
                    <a:pt x="542" y="102"/>
                  </a:lnTo>
                  <a:lnTo>
                    <a:pt x="550" y="104"/>
                  </a:lnTo>
                  <a:lnTo>
                    <a:pt x="550" y="104"/>
                  </a:lnTo>
                  <a:lnTo>
                    <a:pt x="552" y="106"/>
                  </a:lnTo>
                  <a:lnTo>
                    <a:pt x="550" y="108"/>
                  </a:lnTo>
                  <a:lnTo>
                    <a:pt x="544" y="108"/>
                  </a:lnTo>
                  <a:lnTo>
                    <a:pt x="536" y="110"/>
                  </a:lnTo>
                  <a:lnTo>
                    <a:pt x="536" y="110"/>
                  </a:lnTo>
                  <a:lnTo>
                    <a:pt x="526" y="116"/>
                  </a:lnTo>
                  <a:lnTo>
                    <a:pt x="524" y="118"/>
                  </a:lnTo>
                  <a:lnTo>
                    <a:pt x="526" y="118"/>
                  </a:lnTo>
                  <a:lnTo>
                    <a:pt x="532" y="118"/>
                  </a:lnTo>
                  <a:lnTo>
                    <a:pt x="532" y="118"/>
                  </a:lnTo>
                  <a:lnTo>
                    <a:pt x="538" y="120"/>
                  </a:lnTo>
                  <a:lnTo>
                    <a:pt x="536" y="122"/>
                  </a:lnTo>
                  <a:lnTo>
                    <a:pt x="532" y="124"/>
                  </a:lnTo>
                  <a:lnTo>
                    <a:pt x="532" y="124"/>
                  </a:lnTo>
                  <a:lnTo>
                    <a:pt x="534" y="124"/>
                  </a:lnTo>
                  <a:lnTo>
                    <a:pt x="534" y="124"/>
                  </a:lnTo>
                  <a:lnTo>
                    <a:pt x="544" y="120"/>
                  </a:lnTo>
                  <a:lnTo>
                    <a:pt x="552" y="116"/>
                  </a:lnTo>
                  <a:lnTo>
                    <a:pt x="552" y="116"/>
                  </a:lnTo>
                  <a:lnTo>
                    <a:pt x="556" y="116"/>
                  </a:lnTo>
                  <a:lnTo>
                    <a:pt x="564" y="118"/>
                  </a:lnTo>
                  <a:lnTo>
                    <a:pt x="572" y="120"/>
                  </a:lnTo>
                  <a:lnTo>
                    <a:pt x="582" y="120"/>
                  </a:lnTo>
                  <a:lnTo>
                    <a:pt x="582" y="120"/>
                  </a:lnTo>
                  <a:lnTo>
                    <a:pt x="592" y="120"/>
                  </a:lnTo>
                  <a:lnTo>
                    <a:pt x="594" y="122"/>
                  </a:lnTo>
                  <a:lnTo>
                    <a:pt x="594" y="122"/>
                  </a:lnTo>
                  <a:lnTo>
                    <a:pt x="594" y="122"/>
                  </a:lnTo>
                  <a:lnTo>
                    <a:pt x="592" y="124"/>
                  </a:lnTo>
                  <a:lnTo>
                    <a:pt x="586" y="124"/>
                  </a:lnTo>
                  <a:lnTo>
                    <a:pt x="580" y="126"/>
                  </a:lnTo>
                  <a:lnTo>
                    <a:pt x="578" y="128"/>
                  </a:lnTo>
                  <a:lnTo>
                    <a:pt x="580" y="128"/>
                  </a:lnTo>
                  <a:lnTo>
                    <a:pt x="580" y="128"/>
                  </a:lnTo>
                  <a:lnTo>
                    <a:pt x="580" y="130"/>
                  </a:lnTo>
                  <a:lnTo>
                    <a:pt x="578" y="130"/>
                  </a:lnTo>
                  <a:lnTo>
                    <a:pt x="570" y="132"/>
                  </a:lnTo>
                  <a:lnTo>
                    <a:pt x="564" y="132"/>
                  </a:lnTo>
                  <a:lnTo>
                    <a:pt x="562" y="132"/>
                  </a:lnTo>
                  <a:lnTo>
                    <a:pt x="562" y="134"/>
                  </a:lnTo>
                  <a:lnTo>
                    <a:pt x="562" y="134"/>
                  </a:lnTo>
                  <a:lnTo>
                    <a:pt x="562" y="136"/>
                  </a:lnTo>
                  <a:lnTo>
                    <a:pt x="560" y="136"/>
                  </a:lnTo>
                  <a:lnTo>
                    <a:pt x="552" y="136"/>
                  </a:lnTo>
                  <a:lnTo>
                    <a:pt x="544" y="136"/>
                  </a:lnTo>
                  <a:lnTo>
                    <a:pt x="542" y="136"/>
                  </a:lnTo>
                  <a:lnTo>
                    <a:pt x="542" y="138"/>
                  </a:lnTo>
                  <a:lnTo>
                    <a:pt x="542" y="138"/>
                  </a:lnTo>
                  <a:lnTo>
                    <a:pt x="544" y="140"/>
                  </a:lnTo>
                  <a:lnTo>
                    <a:pt x="542" y="140"/>
                  </a:lnTo>
                  <a:lnTo>
                    <a:pt x="534" y="140"/>
                  </a:lnTo>
                  <a:lnTo>
                    <a:pt x="526" y="142"/>
                  </a:lnTo>
                  <a:lnTo>
                    <a:pt x="524" y="142"/>
                  </a:lnTo>
                  <a:lnTo>
                    <a:pt x="524" y="144"/>
                  </a:lnTo>
                  <a:lnTo>
                    <a:pt x="524" y="144"/>
                  </a:lnTo>
                  <a:lnTo>
                    <a:pt x="524" y="146"/>
                  </a:lnTo>
                  <a:lnTo>
                    <a:pt x="522" y="146"/>
                  </a:lnTo>
                  <a:lnTo>
                    <a:pt x="516" y="146"/>
                  </a:lnTo>
                  <a:lnTo>
                    <a:pt x="508" y="146"/>
                  </a:lnTo>
                  <a:lnTo>
                    <a:pt x="500" y="148"/>
                  </a:lnTo>
                  <a:lnTo>
                    <a:pt x="500" y="148"/>
                  </a:lnTo>
                  <a:lnTo>
                    <a:pt x="494" y="148"/>
                  </a:lnTo>
                  <a:lnTo>
                    <a:pt x="490" y="148"/>
                  </a:lnTo>
                  <a:lnTo>
                    <a:pt x="486" y="148"/>
                  </a:lnTo>
                  <a:lnTo>
                    <a:pt x="482" y="150"/>
                  </a:lnTo>
                  <a:lnTo>
                    <a:pt x="482" y="150"/>
                  </a:lnTo>
                  <a:lnTo>
                    <a:pt x="476" y="152"/>
                  </a:lnTo>
                  <a:lnTo>
                    <a:pt x="472" y="150"/>
                  </a:lnTo>
                  <a:lnTo>
                    <a:pt x="466" y="150"/>
                  </a:lnTo>
                  <a:lnTo>
                    <a:pt x="460" y="152"/>
                  </a:lnTo>
                  <a:lnTo>
                    <a:pt x="460" y="152"/>
                  </a:lnTo>
                  <a:lnTo>
                    <a:pt x="454" y="152"/>
                  </a:lnTo>
                  <a:lnTo>
                    <a:pt x="450" y="150"/>
                  </a:lnTo>
                  <a:lnTo>
                    <a:pt x="448" y="146"/>
                  </a:lnTo>
                  <a:lnTo>
                    <a:pt x="444" y="144"/>
                  </a:lnTo>
                  <a:lnTo>
                    <a:pt x="444" y="144"/>
                  </a:lnTo>
                  <a:lnTo>
                    <a:pt x="442" y="144"/>
                  </a:lnTo>
                  <a:lnTo>
                    <a:pt x="442" y="144"/>
                  </a:lnTo>
                  <a:lnTo>
                    <a:pt x="442" y="148"/>
                  </a:lnTo>
                  <a:lnTo>
                    <a:pt x="442" y="150"/>
                  </a:lnTo>
                  <a:lnTo>
                    <a:pt x="440" y="150"/>
                  </a:lnTo>
                  <a:lnTo>
                    <a:pt x="436" y="150"/>
                  </a:lnTo>
                  <a:lnTo>
                    <a:pt x="436" y="150"/>
                  </a:lnTo>
                  <a:lnTo>
                    <a:pt x="432" y="150"/>
                  </a:lnTo>
                  <a:lnTo>
                    <a:pt x="430" y="152"/>
                  </a:lnTo>
                  <a:lnTo>
                    <a:pt x="426" y="156"/>
                  </a:lnTo>
                  <a:lnTo>
                    <a:pt x="422" y="162"/>
                  </a:lnTo>
                  <a:lnTo>
                    <a:pt x="420" y="164"/>
                  </a:lnTo>
                  <a:lnTo>
                    <a:pt x="418" y="162"/>
                  </a:lnTo>
                  <a:lnTo>
                    <a:pt x="418" y="162"/>
                  </a:lnTo>
                  <a:lnTo>
                    <a:pt x="414" y="162"/>
                  </a:lnTo>
                  <a:lnTo>
                    <a:pt x="412" y="162"/>
                  </a:lnTo>
                  <a:lnTo>
                    <a:pt x="408" y="166"/>
                  </a:lnTo>
                  <a:lnTo>
                    <a:pt x="402" y="170"/>
                  </a:lnTo>
                  <a:lnTo>
                    <a:pt x="398" y="170"/>
                  </a:lnTo>
                  <a:lnTo>
                    <a:pt x="398" y="170"/>
                  </a:lnTo>
                  <a:lnTo>
                    <a:pt x="390" y="170"/>
                  </a:lnTo>
                  <a:lnTo>
                    <a:pt x="384" y="170"/>
                  </a:lnTo>
                  <a:lnTo>
                    <a:pt x="380" y="172"/>
                  </a:lnTo>
                  <a:lnTo>
                    <a:pt x="378" y="174"/>
                  </a:lnTo>
                  <a:lnTo>
                    <a:pt x="380" y="176"/>
                  </a:lnTo>
                  <a:lnTo>
                    <a:pt x="380" y="176"/>
                  </a:lnTo>
                  <a:lnTo>
                    <a:pt x="380" y="178"/>
                  </a:lnTo>
                  <a:lnTo>
                    <a:pt x="378" y="178"/>
                  </a:lnTo>
                  <a:lnTo>
                    <a:pt x="372" y="180"/>
                  </a:lnTo>
                  <a:lnTo>
                    <a:pt x="362" y="180"/>
                  </a:lnTo>
                  <a:lnTo>
                    <a:pt x="362" y="180"/>
                  </a:lnTo>
                  <a:lnTo>
                    <a:pt x="360" y="176"/>
                  </a:lnTo>
                  <a:lnTo>
                    <a:pt x="360" y="176"/>
                  </a:lnTo>
                  <a:lnTo>
                    <a:pt x="356" y="172"/>
                  </a:lnTo>
                  <a:lnTo>
                    <a:pt x="350" y="172"/>
                  </a:lnTo>
                  <a:lnTo>
                    <a:pt x="344" y="174"/>
                  </a:lnTo>
                  <a:lnTo>
                    <a:pt x="344" y="176"/>
                  </a:lnTo>
                  <a:lnTo>
                    <a:pt x="344" y="178"/>
                  </a:lnTo>
                  <a:lnTo>
                    <a:pt x="344" y="178"/>
                  </a:lnTo>
                  <a:lnTo>
                    <a:pt x="344" y="180"/>
                  </a:lnTo>
                  <a:lnTo>
                    <a:pt x="344" y="182"/>
                  </a:lnTo>
                  <a:lnTo>
                    <a:pt x="338" y="182"/>
                  </a:lnTo>
                  <a:lnTo>
                    <a:pt x="324" y="182"/>
                  </a:lnTo>
                  <a:lnTo>
                    <a:pt x="324" y="182"/>
                  </a:lnTo>
                  <a:lnTo>
                    <a:pt x="318" y="182"/>
                  </a:lnTo>
                  <a:lnTo>
                    <a:pt x="312" y="184"/>
                  </a:lnTo>
                  <a:lnTo>
                    <a:pt x="310" y="188"/>
                  </a:lnTo>
                  <a:lnTo>
                    <a:pt x="314" y="190"/>
                  </a:lnTo>
                  <a:lnTo>
                    <a:pt x="314" y="190"/>
                  </a:lnTo>
                  <a:lnTo>
                    <a:pt x="314" y="192"/>
                  </a:lnTo>
                  <a:lnTo>
                    <a:pt x="312" y="194"/>
                  </a:lnTo>
                  <a:lnTo>
                    <a:pt x="296" y="192"/>
                  </a:lnTo>
                  <a:lnTo>
                    <a:pt x="296" y="192"/>
                  </a:lnTo>
                  <a:lnTo>
                    <a:pt x="290" y="192"/>
                  </a:lnTo>
                  <a:lnTo>
                    <a:pt x="288" y="194"/>
                  </a:lnTo>
                  <a:lnTo>
                    <a:pt x="290" y="198"/>
                  </a:lnTo>
                  <a:lnTo>
                    <a:pt x="296" y="202"/>
                  </a:lnTo>
                  <a:lnTo>
                    <a:pt x="296" y="202"/>
                  </a:lnTo>
                  <a:lnTo>
                    <a:pt x="298" y="204"/>
                  </a:lnTo>
                  <a:lnTo>
                    <a:pt x="296" y="204"/>
                  </a:lnTo>
                  <a:lnTo>
                    <a:pt x="292" y="206"/>
                  </a:lnTo>
                  <a:lnTo>
                    <a:pt x="286" y="208"/>
                  </a:lnTo>
                  <a:lnTo>
                    <a:pt x="284" y="208"/>
                  </a:lnTo>
                  <a:lnTo>
                    <a:pt x="284" y="210"/>
                  </a:lnTo>
                  <a:lnTo>
                    <a:pt x="284" y="210"/>
                  </a:lnTo>
                  <a:lnTo>
                    <a:pt x="286" y="210"/>
                  </a:lnTo>
                  <a:lnTo>
                    <a:pt x="284" y="212"/>
                  </a:lnTo>
                  <a:lnTo>
                    <a:pt x="280" y="214"/>
                  </a:lnTo>
                  <a:lnTo>
                    <a:pt x="274" y="216"/>
                  </a:lnTo>
                  <a:lnTo>
                    <a:pt x="274" y="218"/>
                  </a:lnTo>
                  <a:lnTo>
                    <a:pt x="274" y="218"/>
                  </a:lnTo>
                  <a:lnTo>
                    <a:pt x="274" y="218"/>
                  </a:lnTo>
                  <a:lnTo>
                    <a:pt x="274" y="218"/>
                  </a:lnTo>
                  <a:lnTo>
                    <a:pt x="272" y="220"/>
                  </a:lnTo>
                  <a:lnTo>
                    <a:pt x="266" y="220"/>
                  </a:lnTo>
                  <a:lnTo>
                    <a:pt x="260" y="222"/>
                  </a:lnTo>
                  <a:lnTo>
                    <a:pt x="260" y="224"/>
                  </a:lnTo>
                  <a:lnTo>
                    <a:pt x="260" y="224"/>
                  </a:lnTo>
                  <a:lnTo>
                    <a:pt x="260" y="224"/>
                  </a:lnTo>
                  <a:lnTo>
                    <a:pt x="260" y="226"/>
                  </a:lnTo>
                  <a:lnTo>
                    <a:pt x="258" y="226"/>
                  </a:lnTo>
                  <a:lnTo>
                    <a:pt x="252" y="228"/>
                  </a:lnTo>
                  <a:lnTo>
                    <a:pt x="248" y="230"/>
                  </a:lnTo>
                  <a:lnTo>
                    <a:pt x="246" y="232"/>
                  </a:lnTo>
                  <a:lnTo>
                    <a:pt x="250" y="236"/>
                  </a:lnTo>
                  <a:lnTo>
                    <a:pt x="250" y="236"/>
                  </a:lnTo>
                  <a:lnTo>
                    <a:pt x="252" y="238"/>
                  </a:lnTo>
                  <a:lnTo>
                    <a:pt x="252" y="240"/>
                  </a:lnTo>
                  <a:lnTo>
                    <a:pt x="248" y="242"/>
                  </a:lnTo>
                  <a:lnTo>
                    <a:pt x="244" y="246"/>
                  </a:lnTo>
                  <a:lnTo>
                    <a:pt x="242" y="246"/>
                  </a:lnTo>
                  <a:lnTo>
                    <a:pt x="244" y="248"/>
                  </a:lnTo>
                  <a:lnTo>
                    <a:pt x="244" y="248"/>
                  </a:lnTo>
                  <a:lnTo>
                    <a:pt x="246" y="250"/>
                  </a:lnTo>
                  <a:lnTo>
                    <a:pt x="244" y="250"/>
                  </a:lnTo>
                  <a:lnTo>
                    <a:pt x="238" y="252"/>
                  </a:lnTo>
                  <a:lnTo>
                    <a:pt x="234" y="254"/>
                  </a:lnTo>
                  <a:lnTo>
                    <a:pt x="232" y="256"/>
                  </a:lnTo>
                  <a:lnTo>
                    <a:pt x="234" y="256"/>
                  </a:lnTo>
                  <a:lnTo>
                    <a:pt x="234" y="256"/>
                  </a:lnTo>
                  <a:lnTo>
                    <a:pt x="236" y="258"/>
                  </a:lnTo>
                  <a:lnTo>
                    <a:pt x="236" y="258"/>
                  </a:lnTo>
                  <a:lnTo>
                    <a:pt x="230" y="260"/>
                  </a:lnTo>
                  <a:lnTo>
                    <a:pt x="224" y="262"/>
                  </a:lnTo>
                  <a:lnTo>
                    <a:pt x="222" y="264"/>
                  </a:lnTo>
                  <a:lnTo>
                    <a:pt x="222" y="268"/>
                  </a:lnTo>
                  <a:lnTo>
                    <a:pt x="222" y="268"/>
                  </a:lnTo>
                  <a:lnTo>
                    <a:pt x="222" y="274"/>
                  </a:lnTo>
                  <a:lnTo>
                    <a:pt x="220" y="274"/>
                  </a:lnTo>
                  <a:lnTo>
                    <a:pt x="214" y="274"/>
                  </a:lnTo>
                  <a:lnTo>
                    <a:pt x="204" y="274"/>
                  </a:lnTo>
                  <a:lnTo>
                    <a:pt x="204" y="274"/>
                  </a:lnTo>
                  <a:lnTo>
                    <a:pt x="198" y="274"/>
                  </a:lnTo>
                  <a:lnTo>
                    <a:pt x="198" y="274"/>
                  </a:lnTo>
                  <a:lnTo>
                    <a:pt x="198" y="270"/>
                  </a:lnTo>
                  <a:lnTo>
                    <a:pt x="196" y="270"/>
                  </a:lnTo>
                  <a:lnTo>
                    <a:pt x="196" y="270"/>
                  </a:lnTo>
                  <a:lnTo>
                    <a:pt x="194" y="268"/>
                  </a:lnTo>
                  <a:lnTo>
                    <a:pt x="194" y="266"/>
                  </a:lnTo>
                  <a:lnTo>
                    <a:pt x="192" y="264"/>
                  </a:lnTo>
                  <a:lnTo>
                    <a:pt x="188" y="262"/>
                  </a:lnTo>
                  <a:lnTo>
                    <a:pt x="188" y="262"/>
                  </a:lnTo>
                  <a:lnTo>
                    <a:pt x="182" y="260"/>
                  </a:lnTo>
                  <a:lnTo>
                    <a:pt x="182" y="258"/>
                  </a:lnTo>
                  <a:lnTo>
                    <a:pt x="184" y="256"/>
                  </a:lnTo>
                  <a:lnTo>
                    <a:pt x="182" y="256"/>
                  </a:lnTo>
                  <a:lnTo>
                    <a:pt x="182" y="256"/>
                  </a:lnTo>
                  <a:lnTo>
                    <a:pt x="174" y="260"/>
                  </a:lnTo>
                  <a:lnTo>
                    <a:pt x="166" y="262"/>
                  </a:lnTo>
                  <a:lnTo>
                    <a:pt x="166" y="262"/>
                  </a:lnTo>
                  <a:lnTo>
                    <a:pt x="164" y="262"/>
                  </a:lnTo>
                  <a:lnTo>
                    <a:pt x="162" y="262"/>
                  </a:lnTo>
                  <a:lnTo>
                    <a:pt x="160" y="260"/>
                  </a:lnTo>
                  <a:lnTo>
                    <a:pt x="154" y="258"/>
                  </a:lnTo>
                  <a:lnTo>
                    <a:pt x="154" y="258"/>
                  </a:lnTo>
                  <a:lnTo>
                    <a:pt x="148" y="256"/>
                  </a:lnTo>
                  <a:lnTo>
                    <a:pt x="148" y="254"/>
                  </a:lnTo>
                  <a:lnTo>
                    <a:pt x="146" y="250"/>
                  </a:lnTo>
                  <a:lnTo>
                    <a:pt x="140" y="248"/>
                  </a:lnTo>
                  <a:lnTo>
                    <a:pt x="140" y="248"/>
                  </a:lnTo>
                  <a:lnTo>
                    <a:pt x="138" y="246"/>
                  </a:lnTo>
                  <a:lnTo>
                    <a:pt x="136" y="246"/>
                  </a:lnTo>
                  <a:lnTo>
                    <a:pt x="136" y="242"/>
                  </a:lnTo>
                  <a:lnTo>
                    <a:pt x="136" y="238"/>
                  </a:lnTo>
                  <a:lnTo>
                    <a:pt x="136" y="236"/>
                  </a:lnTo>
                  <a:lnTo>
                    <a:pt x="132" y="236"/>
                  </a:lnTo>
                  <a:lnTo>
                    <a:pt x="132" y="236"/>
                  </a:lnTo>
                  <a:lnTo>
                    <a:pt x="128" y="234"/>
                  </a:lnTo>
                  <a:lnTo>
                    <a:pt x="128" y="232"/>
                  </a:lnTo>
                  <a:lnTo>
                    <a:pt x="126" y="230"/>
                  </a:lnTo>
                  <a:lnTo>
                    <a:pt x="122" y="226"/>
                  </a:lnTo>
                  <a:lnTo>
                    <a:pt x="122" y="226"/>
                  </a:lnTo>
                  <a:lnTo>
                    <a:pt x="118" y="224"/>
                  </a:lnTo>
                  <a:lnTo>
                    <a:pt x="116" y="222"/>
                  </a:lnTo>
                  <a:lnTo>
                    <a:pt x="116" y="212"/>
                  </a:lnTo>
                  <a:lnTo>
                    <a:pt x="116" y="212"/>
                  </a:lnTo>
                  <a:lnTo>
                    <a:pt x="116" y="210"/>
                  </a:lnTo>
                  <a:lnTo>
                    <a:pt x="120" y="208"/>
                  </a:lnTo>
                  <a:lnTo>
                    <a:pt x="122" y="208"/>
                  </a:lnTo>
                  <a:lnTo>
                    <a:pt x="124" y="206"/>
                  </a:lnTo>
                  <a:lnTo>
                    <a:pt x="124" y="206"/>
                  </a:lnTo>
                  <a:lnTo>
                    <a:pt x="124" y="204"/>
                  </a:lnTo>
                  <a:lnTo>
                    <a:pt x="126" y="202"/>
                  </a:lnTo>
                  <a:lnTo>
                    <a:pt x="134" y="200"/>
                  </a:lnTo>
                  <a:lnTo>
                    <a:pt x="134" y="200"/>
                  </a:lnTo>
                  <a:lnTo>
                    <a:pt x="130" y="198"/>
                  </a:lnTo>
                  <a:lnTo>
                    <a:pt x="126" y="200"/>
                  </a:lnTo>
                  <a:lnTo>
                    <a:pt x="114" y="204"/>
                  </a:lnTo>
                  <a:lnTo>
                    <a:pt x="114" y="204"/>
                  </a:lnTo>
                  <a:lnTo>
                    <a:pt x="112" y="206"/>
                  </a:lnTo>
                  <a:lnTo>
                    <a:pt x="112" y="204"/>
                  </a:lnTo>
                  <a:lnTo>
                    <a:pt x="110" y="200"/>
                  </a:lnTo>
                  <a:lnTo>
                    <a:pt x="110" y="192"/>
                  </a:lnTo>
                  <a:lnTo>
                    <a:pt x="110" y="190"/>
                  </a:lnTo>
                  <a:lnTo>
                    <a:pt x="108" y="186"/>
                  </a:lnTo>
                  <a:lnTo>
                    <a:pt x="108" y="186"/>
                  </a:lnTo>
                  <a:lnTo>
                    <a:pt x="104" y="182"/>
                  </a:lnTo>
                  <a:lnTo>
                    <a:pt x="104" y="180"/>
                  </a:lnTo>
                  <a:lnTo>
                    <a:pt x="106" y="178"/>
                  </a:lnTo>
                  <a:lnTo>
                    <a:pt x="112" y="178"/>
                  </a:lnTo>
                  <a:lnTo>
                    <a:pt x="112" y="178"/>
                  </a:lnTo>
                  <a:lnTo>
                    <a:pt x="116" y="178"/>
                  </a:lnTo>
                  <a:lnTo>
                    <a:pt x="118" y="178"/>
                  </a:lnTo>
                  <a:lnTo>
                    <a:pt x="116" y="174"/>
                  </a:lnTo>
                  <a:lnTo>
                    <a:pt x="112" y="172"/>
                  </a:lnTo>
                  <a:lnTo>
                    <a:pt x="112" y="172"/>
                  </a:lnTo>
                  <a:lnTo>
                    <a:pt x="108" y="168"/>
                  </a:lnTo>
                  <a:lnTo>
                    <a:pt x="108" y="168"/>
                  </a:lnTo>
                  <a:lnTo>
                    <a:pt x="112" y="166"/>
                  </a:lnTo>
                  <a:lnTo>
                    <a:pt x="114" y="164"/>
                  </a:lnTo>
                  <a:lnTo>
                    <a:pt x="114" y="164"/>
                  </a:lnTo>
                  <a:lnTo>
                    <a:pt x="112" y="162"/>
                  </a:lnTo>
                  <a:lnTo>
                    <a:pt x="112" y="162"/>
                  </a:lnTo>
                  <a:lnTo>
                    <a:pt x="112" y="160"/>
                  </a:lnTo>
                  <a:lnTo>
                    <a:pt x="112" y="158"/>
                  </a:lnTo>
                  <a:lnTo>
                    <a:pt x="118" y="156"/>
                  </a:lnTo>
                  <a:lnTo>
                    <a:pt x="122" y="156"/>
                  </a:lnTo>
                  <a:lnTo>
                    <a:pt x="124" y="154"/>
                  </a:lnTo>
                  <a:lnTo>
                    <a:pt x="122" y="154"/>
                  </a:lnTo>
                  <a:lnTo>
                    <a:pt x="122" y="154"/>
                  </a:lnTo>
                  <a:lnTo>
                    <a:pt x="120" y="152"/>
                  </a:lnTo>
                  <a:lnTo>
                    <a:pt x="122" y="150"/>
                  </a:lnTo>
                  <a:lnTo>
                    <a:pt x="136" y="146"/>
                  </a:lnTo>
                  <a:lnTo>
                    <a:pt x="136" y="146"/>
                  </a:lnTo>
                  <a:lnTo>
                    <a:pt x="142" y="146"/>
                  </a:lnTo>
                  <a:lnTo>
                    <a:pt x="146" y="148"/>
                  </a:lnTo>
                  <a:lnTo>
                    <a:pt x="150" y="150"/>
                  </a:lnTo>
                  <a:lnTo>
                    <a:pt x="156" y="150"/>
                  </a:lnTo>
                  <a:lnTo>
                    <a:pt x="156" y="150"/>
                  </a:lnTo>
                  <a:lnTo>
                    <a:pt x="158" y="148"/>
                  </a:lnTo>
                  <a:lnTo>
                    <a:pt x="156" y="148"/>
                  </a:lnTo>
                  <a:lnTo>
                    <a:pt x="152" y="146"/>
                  </a:lnTo>
                  <a:lnTo>
                    <a:pt x="146" y="144"/>
                  </a:lnTo>
                  <a:lnTo>
                    <a:pt x="146" y="144"/>
                  </a:lnTo>
                  <a:lnTo>
                    <a:pt x="146" y="142"/>
                  </a:lnTo>
                  <a:lnTo>
                    <a:pt x="146" y="142"/>
                  </a:lnTo>
                  <a:lnTo>
                    <a:pt x="152" y="140"/>
                  </a:lnTo>
                  <a:lnTo>
                    <a:pt x="160" y="140"/>
                  </a:lnTo>
                  <a:lnTo>
                    <a:pt x="166" y="140"/>
                  </a:lnTo>
                  <a:lnTo>
                    <a:pt x="166" y="140"/>
                  </a:lnTo>
                  <a:lnTo>
                    <a:pt x="166" y="138"/>
                  </a:lnTo>
                  <a:lnTo>
                    <a:pt x="166" y="138"/>
                  </a:lnTo>
                  <a:lnTo>
                    <a:pt x="166" y="138"/>
                  </a:lnTo>
                  <a:lnTo>
                    <a:pt x="166" y="136"/>
                  </a:lnTo>
                  <a:lnTo>
                    <a:pt x="170" y="136"/>
                  </a:lnTo>
                  <a:lnTo>
                    <a:pt x="174" y="134"/>
                  </a:lnTo>
                  <a:lnTo>
                    <a:pt x="174" y="134"/>
                  </a:lnTo>
                  <a:lnTo>
                    <a:pt x="174" y="132"/>
                  </a:lnTo>
                  <a:lnTo>
                    <a:pt x="174" y="132"/>
                  </a:lnTo>
                  <a:lnTo>
                    <a:pt x="172" y="130"/>
                  </a:lnTo>
                  <a:lnTo>
                    <a:pt x="174" y="128"/>
                  </a:lnTo>
                  <a:lnTo>
                    <a:pt x="176" y="126"/>
                  </a:lnTo>
                  <a:lnTo>
                    <a:pt x="174" y="124"/>
                  </a:lnTo>
                  <a:lnTo>
                    <a:pt x="174" y="124"/>
                  </a:lnTo>
                  <a:lnTo>
                    <a:pt x="172" y="122"/>
                  </a:lnTo>
                  <a:lnTo>
                    <a:pt x="166" y="124"/>
                  </a:lnTo>
                  <a:lnTo>
                    <a:pt x="158" y="126"/>
                  </a:lnTo>
                  <a:lnTo>
                    <a:pt x="158" y="126"/>
                  </a:lnTo>
                  <a:lnTo>
                    <a:pt x="150" y="124"/>
                  </a:lnTo>
                  <a:lnTo>
                    <a:pt x="142" y="120"/>
                  </a:lnTo>
                  <a:lnTo>
                    <a:pt x="142" y="120"/>
                  </a:lnTo>
                  <a:lnTo>
                    <a:pt x="136" y="118"/>
                  </a:lnTo>
                  <a:lnTo>
                    <a:pt x="136" y="116"/>
                  </a:lnTo>
                  <a:lnTo>
                    <a:pt x="140" y="114"/>
                  </a:lnTo>
                  <a:lnTo>
                    <a:pt x="140" y="114"/>
                  </a:lnTo>
                  <a:lnTo>
                    <a:pt x="146" y="114"/>
                  </a:lnTo>
                  <a:lnTo>
                    <a:pt x="148" y="114"/>
                  </a:lnTo>
                  <a:lnTo>
                    <a:pt x="152" y="114"/>
                  </a:lnTo>
                  <a:lnTo>
                    <a:pt x="154" y="114"/>
                  </a:lnTo>
                  <a:lnTo>
                    <a:pt x="154" y="114"/>
                  </a:lnTo>
                  <a:lnTo>
                    <a:pt x="160" y="114"/>
                  </a:lnTo>
                  <a:lnTo>
                    <a:pt x="168" y="114"/>
                  </a:lnTo>
                  <a:lnTo>
                    <a:pt x="174" y="116"/>
                  </a:lnTo>
                  <a:lnTo>
                    <a:pt x="180" y="114"/>
                  </a:lnTo>
                  <a:lnTo>
                    <a:pt x="180" y="114"/>
                  </a:lnTo>
                  <a:lnTo>
                    <a:pt x="182" y="114"/>
                  </a:lnTo>
                  <a:lnTo>
                    <a:pt x="180" y="112"/>
                  </a:lnTo>
                  <a:lnTo>
                    <a:pt x="176" y="112"/>
                  </a:lnTo>
                  <a:lnTo>
                    <a:pt x="176" y="112"/>
                  </a:lnTo>
                  <a:lnTo>
                    <a:pt x="176" y="110"/>
                  </a:lnTo>
                  <a:lnTo>
                    <a:pt x="176" y="110"/>
                  </a:lnTo>
                  <a:lnTo>
                    <a:pt x="178" y="110"/>
                  </a:lnTo>
                  <a:lnTo>
                    <a:pt x="176" y="110"/>
                  </a:lnTo>
                  <a:lnTo>
                    <a:pt x="170" y="110"/>
                  </a:lnTo>
                  <a:lnTo>
                    <a:pt x="166" y="110"/>
                  </a:lnTo>
                  <a:lnTo>
                    <a:pt x="166" y="110"/>
                  </a:lnTo>
                  <a:lnTo>
                    <a:pt x="168" y="108"/>
                  </a:lnTo>
                  <a:lnTo>
                    <a:pt x="168" y="108"/>
                  </a:lnTo>
                  <a:lnTo>
                    <a:pt x="170" y="104"/>
                  </a:lnTo>
                  <a:lnTo>
                    <a:pt x="170" y="104"/>
                  </a:lnTo>
                  <a:lnTo>
                    <a:pt x="160" y="106"/>
                  </a:lnTo>
                  <a:lnTo>
                    <a:pt x="160" y="106"/>
                  </a:lnTo>
                  <a:lnTo>
                    <a:pt x="156" y="108"/>
                  </a:lnTo>
                  <a:lnTo>
                    <a:pt x="152" y="108"/>
                  </a:lnTo>
                  <a:lnTo>
                    <a:pt x="148" y="106"/>
                  </a:lnTo>
                  <a:lnTo>
                    <a:pt x="150" y="104"/>
                  </a:lnTo>
                  <a:lnTo>
                    <a:pt x="150" y="104"/>
                  </a:lnTo>
                  <a:lnTo>
                    <a:pt x="152" y="104"/>
                  </a:lnTo>
                  <a:lnTo>
                    <a:pt x="150" y="104"/>
                  </a:lnTo>
                  <a:lnTo>
                    <a:pt x="146" y="106"/>
                  </a:lnTo>
                  <a:lnTo>
                    <a:pt x="140" y="108"/>
                  </a:lnTo>
                  <a:lnTo>
                    <a:pt x="140" y="108"/>
                  </a:lnTo>
                  <a:lnTo>
                    <a:pt x="130" y="108"/>
                  </a:lnTo>
                  <a:lnTo>
                    <a:pt x="128" y="106"/>
                  </a:lnTo>
                  <a:lnTo>
                    <a:pt x="128" y="104"/>
                  </a:lnTo>
                  <a:lnTo>
                    <a:pt x="128" y="104"/>
                  </a:lnTo>
                  <a:lnTo>
                    <a:pt x="128" y="100"/>
                  </a:lnTo>
                  <a:lnTo>
                    <a:pt x="134" y="98"/>
                  </a:lnTo>
                  <a:lnTo>
                    <a:pt x="134" y="98"/>
                  </a:lnTo>
                  <a:lnTo>
                    <a:pt x="138" y="96"/>
                  </a:lnTo>
                  <a:lnTo>
                    <a:pt x="140" y="94"/>
                  </a:lnTo>
                  <a:lnTo>
                    <a:pt x="142" y="92"/>
                  </a:lnTo>
                  <a:lnTo>
                    <a:pt x="144" y="90"/>
                  </a:lnTo>
                  <a:lnTo>
                    <a:pt x="144" y="90"/>
                  </a:lnTo>
                  <a:lnTo>
                    <a:pt x="148" y="88"/>
                  </a:lnTo>
                  <a:lnTo>
                    <a:pt x="146" y="86"/>
                  </a:lnTo>
                  <a:lnTo>
                    <a:pt x="146" y="84"/>
                  </a:lnTo>
                  <a:lnTo>
                    <a:pt x="148" y="82"/>
                  </a:lnTo>
                  <a:lnTo>
                    <a:pt x="148" y="82"/>
                  </a:lnTo>
                  <a:lnTo>
                    <a:pt x="148" y="80"/>
                  </a:lnTo>
                  <a:lnTo>
                    <a:pt x="148" y="80"/>
                  </a:lnTo>
                  <a:lnTo>
                    <a:pt x="144" y="78"/>
                  </a:lnTo>
                  <a:lnTo>
                    <a:pt x="140" y="78"/>
                  </a:lnTo>
                  <a:lnTo>
                    <a:pt x="140" y="76"/>
                  </a:lnTo>
                  <a:lnTo>
                    <a:pt x="140" y="74"/>
                  </a:lnTo>
                  <a:lnTo>
                    <a:pt x="140" y="74"/>
                  </a:lnTo>
                  <a:lnTo>
                    <a:pt x="142" y="74"/>
                  </a:lnTo>
                  <a:lnTo>
                    <a:pt x="142" y="72"/>
                  </a:lnTo>
                  <a:lnTo>
                    <a:pt x="136" y="72"/>
                  </a:lnTo>
                  <a:lnTo>
                    <a:pt x="132" y="70"/>
                  </a:lnTo>
                  <a:lnTo>
                    <a:pt x="132" y="68"/>
                  </a:lnTo>
                  <a:lnTo>
                    <a:pt x="134" y="68"/>
                  </a:lnTo>
                  <a:lnTo>
                    <a:pt x="134" y="68"/>
                  </a:lnTo>
                  <a:lnTo>
                    <a:pt x="136" y="66"/>
                  </a:lnTo>
                  <a:lnTo>
                    <a:pt x="134" y="62"/>
                  </a:lnTo>
                  <a:lnTo>
                    <a:pt x="130" y="62"/>
                  </a:lnTo>
                  <a:lnTo>
                    <a:pt x="122" y="60"/>
                  </a:lnTo>
                  <a:lnTo>
                    <a:pt x="122" y="60"/>
                  </a:lnTo>
                  <a:lnTo>
                    <a:pt x="116" y="60"/>
                  </a:lnTo>
                  <a:lnTo>
                    <a:pt x="108" y="60"/>
                  </a:lnTo>
                  <a:lnTo>
                    <a:pt x="108" y="60"/>
                  </a:lnTo>
                  <a:lnTo>
                    <a:pt x="100" y="60"/>
                  </a:lnTo>
                  <a:lnTo>
                    <a:pt x="94" y="58"/>
                  </a:lnTo>
                  <a:lnTo>
                    <a:pt x="84" y="56"/>
                  </a:lnTo>
                  <a:lnTo>
                    <a:pt x="74" y="56"/>
                  </a:lnTo>
                  <a:lnTo>
                    <a:pt x="74" y="56"/>
                  </a:lnTo>
                  <a:lnTo>
                    <a:pt x="68" y="56"/>
                  </a:lnTo>
                  <a:lnTo>
                    <a:pt x="64" y="54"/>
                  </a:lnTo>
                  <a:lnTo>
                    <a:pt x="60" y="54"/>
                  </a:lnTo>
                  <a:lnTo>
                    <a:pt x="54" y="54"/>
                  </a:lnTo>
                  <a:lnTo>
                    <a:pt x="54" y="54"/>
                  </a:lnTo>
                  <a:lnTo>
                    <a:pt x="44" y="56"/>
                  </a:lnTo>
                  <a:lnTo>
                    <a:pt x="36" y="56"/>
                  </a:lnTo>
                  <a:lnTo>
                    <a:pt x="36" y="56"/>
                  </a:lnTo>
                  <a:lnTo>
                    <a:pt x="30" y="58"/>
                  </a:lnTo>
                  <a:lnTo>
                    <a:pt x="28" y="62"/>
                  </a:lnTo>
                  <a:lnTo>
                    <a:pt x="24" y="62"/>
                  </a:lnTo>
                  <a:lnTo>
                    <a:pt x="18" y="60"/>
                  </a:lnTo>
                  <a:lnTo>
                    <a:pt x="18" y="60"/>
                  </a:lnTo>
                  <a:lnTo>
                    <a:pt x="8" y="56"/>
                  </a:lnTo>
                  <a:lnTo>
                    <a:pt x="12" y="56"/>
                  </a:lnTo>
                  <a:lnTo>
                    <a:pt x="20" y="52"/>
                  </a:lnTo>
                  <a:lnTo>
                    <a:pt x="20" y="52"/>
                  </a:lnTo>
                  <a:lnTo>
                    <a:pt x="30" y="48"/>
                  </a:lnTo>
                  <a:lnTo>
                    <a:pt x="46" y="46"/>
                  </a:lnTo>
                  <a:lnTo>
                    <a:pt x="46" y="46"/>
                  </a:lnTo>
                  <a:lnTo>
                    <a:pt x="66" y="44"/>
                  </a:lnTo>
                  <a:lnTo>
                    <a:pt x="56" y="44"/>
                  </a:lnTo>
                  <a:lnTo>
                    <a:pt x="56" y="44"/>
                  </a:lnTo>
                  <a:lnTo>
                    <a:pt x="48" y="42"/>
                  </a:lnTo>
                  <a:lnTo>
                    <a:pt x="48" y="42"/>
                  </a:lnTo>
                  <a:lnTo>
                    <a:pt x="50" y="40"/>
                  </a:lnTo>
                  <a:lnTo>
                    <a:pt x="50" y="40"/>
                  </a:lnTo>
                  <a:lnTo>
                    <a:pt x="48" y="40"/>
                  </a:lnTo>
                  <a:lnTo>
                    <a:pt x="48" y="40"/>
                  </a:lnTo>
                  <a:lnTo>
                    <a:pt x="28" y="42"/>
                  </a:lnTo>
                  <a:lnTo>
                    <a:pt x="20" y="42"/>
                  </a:lnTo>
                  <a:lnTo>
                    <a:pt x="14" y="40"/>
                  </a:lnTo>
                  <a:lnTo>
                    <a:pt x="14" y="40"/>
                  </a:lnTo>
                  <a:lnTo>
                    <a:pt x="8" y="38"/>
                  </a:lnTo>
                  <a:lnTo>
                    <a:pt x="2" y="38"/>
                  </a:lnTo>
                  <a:lnTo>
                    <a:pt x="0" y="38"/>
                  </a:lnTo>
                  <a:lnTo>
                    <a:pt x="0" y="36"/>
                  </a:lnTo>
                  <a:lnTo>
                    <a:pt x="8" y="34"/>
                  </a:lnTo>
                  <a:lnTo>
                    <a:pt x="8" y="34"/>
                  </a:lnTo>
                  <a:lnTo>
                    <a:pt x="18" y="30"/>
                  </a:lnTo>
                  <a:lnTo>
                    <a:pt x="26" y="30"/>
                  </a:lnTo>
                  <a:lnTo>
                    <a:pt x="42" y="30"/>
                  </a:lnTo>
                  <a:lnTo>
                    <a:pt x="42" y="30"/>
                  </a:lnTo>
                  <a:lnTo>
                    <a:pt x="54" y="30"/>
                  </a:lnTo>
                  <a:lnTo>
                    <a:pt x="62" y="30"/>
                  </a:lnTo>
                  <a:lnTo>
                    <a:pt x="62" y="30"/>
                  </a:lnTo>
                  <a:lnTo>
                    <a:pt x="66" y="28"/>
                  </a:lnTo>
                  <a:lnTo>
                    <a:pt x="68" y="26"/>
                  </a:lnTo>
                  <a:lnTo>
                    <a:pt x="70" y="24"/>
                  </a:lnTo>
                  <a:lnTo>
                    <a:pt x="78" y="22"/>
                  </a:lnTo>
                  <a:lnTo>
                    <a:pt x="78" y="22"/>
                  </a:lnTo>
                  <a:lnTo>
                    <a:pt x="84" y="20"/>
                  </a:lnTo>
                  <a:lnTo>
                    <a:pt x="84" y="18"/>
                  </a:lnTo>
                  <a:lnTo>
                    <a:pt x="84" y="16"/>
                  </a:lnTo>
                  <a:lnTo>
                    <a:pt x="84" y="16"/>
                  </a:lnTo>
                  <a:lnTo>
                    <a:pt x="94" y="14"/>
                  </a:lnTo>
                  <a:lnTo>
                    <a:pt x="94" y="14"/>
                  </a:lnTo>
                  <a:lnTo>
                    <a:pt x="108" y="14"/>
                  </a:lnTo>
                  <a:lnTo>
                    <a:pt x="118" y="14"/>
                  </a:lnTo>
                  <a:lnTo>
                    <a:pt x="126" y="14"/>
                  </a:lnTo>
                  <a:lnTo>
                    <a:pt x="136" y="14"/>
                  </a:lnTo>
                  <a:lnTo>
                    <a:pt x="136" y="14"/>
                  </a:lnTo>
                  <a:lnTo>
                    <a:pt x="146" y="12"/>
                  </a:lnTo>
                  <a:lnTo>
                    <a:pt x="152" y="14"/>
                  </a:lnTo>
                  <a:lnTo>
                    <a:pt x="158" y="14"/>
                  </a:lnTo>
                  <a:lnTo>
                    <a:pt x="166" y="12"/>
                  </a:lnTo>
                  <a:lnTo>
                    <a:pt x="166" y="12"/>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1" name="Freeform 127"/>
            <p:cNvSpPr>
              <a:spLocks/>
            </p:cNvSpPr>
            <p:nvPr/>
          </p:nvSpPr>
          <p:spPr bwMode="auto">
            <a:xfrm>
              <a:off x="3057226" y="1604698"/>
              <a:ext cx="47625" cy="18521"/>
            </a:xfrm>
            <a:custGeom>
              <a:avLst/>
              <a:gdLst/>
              <a:ahLst/>
              <a:cxnLst>
                <a:cxn ang="0">
                  <a:pos x="24" y="2"/>
                </a:cxn>
                <a:cxn ang="0">
                  <a:pos x="24" y="2"/>
                </a:cxn>
                <a:cxn ang="0">
                  <a:pos x="16" y="2"/>
                </a:cxn>
                <a:cxn ang="0">
                  <a:pos x="16" y="2"/>
                </a:cxn>
                <a:cxn ang="0">
                  <a:pos x="6" y="0"/>
                </a:cxn>
                <a:cxn ang="0">
                  <a:pos x="6" y="0"/>
                </a:cxn>
                <a:cxn ang="0">
                  <a:pos x="2" y="2"/>
                </a:cxn>
                <a:cxn ang="0">
                  <a:pos x="2" y="2"/>
                </a:cxn>
                <a:cxn ang="0">
                  <a:pos x="2" y="2"/>
                </a:cxn>
                <a:cxn ang="0">
                  <a:pos x="0" y="6"/>
                </a:cxn>
                <a:cxn ang="0">
                  <a:pos x="4" y="8"/>
                </a:cxn>
                <a:cxn ang="0">
                  <a:pos x="4" y="8"/>
                </a:cxn>
                <a:cxn ang="0">
                  <a:pos x="6" y="8"/>
                </a:cxn>
                <a:cxn ang="0">
                  <a:pos x="10" y="10"/>
                </a:cxn>
                <a:cxn ang="0">
                  <a:pos x="10" y="10"/>
                </a:cxn>
                <a:cxn ang="0">
                  <a:pos x="14" y="12"/>
                </a:cxn>
                <a:cxn ang="0">
                  <a:pos x="18" y="12"/>
                </a:cxn>
                <a:cxn ang="0">
                  <a:pos x="18" y="12"/>
                </a:cxn>
                <a:cxn ang="0">
                  <a:pos x="24" y="14"/>
                </a:cxn>
                <a:cxn ang="0">
                  <a:pos x="32" y="12"/>
                </a:cxn>
                <a:cxn ang="0">
                  <a:pos x="32" y="12"/>
                </a:cxn>
                <a:cxn ang="0">
                  <a:pos x="34" y="12"/>
                </a:cxn>
                <a:cxn ang="0">
                  <a:pos x="36" y="10"/>
                </a:cxn>
                <a:cxn ang="0">
                  <a:pos x="36" y="8"/>
                </a:cxn>
                <a:cxn ang="0">
                  <a:pos x="34" y="6"/>
                </a:cxn>
                <a:cxn ang="0">
                  <a:pos x="34" y="6"/>
                </a:cxn>
                <a:cxn ang="0">
                  <a:pos x="28" y="4"/>
                </a:cxn>
                <a:cxn ang="0">
                  <a:pos x="24" y="2"/>
                </a:cxn>
                <a:cxn ang="0">
                  <a:pos x="24" y="2"/>
                </a:cxn>
              </a:cxnLst>
              <a:rect l="0" t="0" r="r" b="b"/>
              <a:pathLst>
                <a:path w="36" h="14">
                  <a:moveTo>
                    <a:pt x="24" y="2"/>
                  </a:moveTo>
                  <a:lnTo>
                    <a:pt x="24" y="2"/>
                  </a:lnTo>
                  <a:lnTo>
                    <a:pt x="16" y="2"/>
                  </a:lnTo>
                  <a:lnTo>
                    <a:pt x="16" y="2"/>
                  </a:lnTo>
                  <a:lnTo>
                    <a:pt x="6" y="0"/>
                  </a:lnTo>
                  <a:lnTo>
                    <a:pt x="6" y="0"/>
                  </a:lnTo>
                  <a:lnTo>
                    <a:pt x="2" y="2"/>
                  </a:lnTo>
                  <a:lnTo>
                    <a:pt x="2" y="2"/>
                  </a:lnTo>
                  <a:lnTo>
                    <a:pt x="2" y="2"/>
                  </a:lnTo>
                  <a:lnTo>
                    <a:pt x="0" y="6"/>
                  </a:lnTo>
                  <a:lnTo>
                    <a:pt x="4" y="8"/>
                  </a:lnTo>
                  <a:lnTo>
                    <a:pt x="4" y="8"/>
                  </a:lnTo>
                  <a:lnTo>
                    <a:pt x="6" y="8"/>
                  </a:lnTo>
                  <a:lnTo>
                    <a:pt x="10" y="10"/>
                  </a:lnTo>
                  <a:lnTo>
                    <a:pt x="10" y="10"/>
                  </a:lnTo>
                  <a:lnTo>
                    <a:pt x="14" y="12"/>
                  </a:lnTo>
                  <a:lnTo>
                    <a:pt x="18" y="12"/>
                  </a:lnTo>
                  <a:lnTo>
                    <a:pt x="18" y="12"/>
                  </a:lnTo>
                  <a:lnTo>
                    <a:pt x="24" y="14"/>
                  </a:lnTo>
                  <a:lnTo>
                    <a:pt x="32" y="12"/>
                  </a:lnTo>
                  <a:lnTo>
                    <a:pt x="32" y="12"/>
                  </a:lnTo>
                  <a:lnTo>
                    <a:pt x="34" y="12"/>
                  </a:lnTo>
                  <a:lnTo>
                    <a:pt x="36" y="10"/>
                  </a:lnTo>
                  <a:lnTo>
                    <a:pt x="36" y="8"/>
                  </a:lnTo>
                  <a:lnTo>
                    <a:pt x="34" y="6"/>
                  </a:lnTo>
                  <a:lnTo>
                    <a:pt x="34" y="6"/>
                  </a:lnTo>
                  <a:lnTo>
                    <a:pt x="28" y="4"/>
                  </a:lnTo>
                  <a:lnTo>
                    <a:pt x="24" y="2"/>
                  </a:lnTo>
                  <a:lnTo>
                    <a:pt x="24" y="2"/>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2" name="Freeform 129"/>
            <p:cNvSpPr>
              <a:spLocks/>
            </p:cNvSpPr>
            <p:nvPr/>
          </p:nvSpPr>
          <p:spPr bwMode="auto">
            <a:xfrm>
              <a:off x="5144788" y="1538552"/>
              <a:ext cx="140229" cy="58208"/>
            </a:xfrm>
            <a:custGeom>
              <a:avLst/>
              <a:gdLst/>
              <a:ahLst/>
              <a:cxnLst>
                <a:cxn ang="0">
                  <a:pos x="102" y="34"/>
                </a:cxn>
                <a:cxn ang="0">
                  <a:pos x="74" y="30"/>
                </a:cxn>
                <a:cxn ang="0">
                  <a:pos x="68" y="28"/>
                </a:cxn>
                <a:cxn ang="0">
                  <a:pos x="52" y="18"/>
                </a:cxn>
                <a:cxn ang="0">
                  <a:pos x="52" y="16"/>
                </a:cxn>
                <a:cxn ang="0">
                  <a:pos x="54" y="10"/>
                </a:cxn>
                <a:cxn ang="0">
                  <a:pos x="54" y="10"/>
                </a:cxn>
                <a:cxn ang="0">
                  <a:pos x="56" y="6"/>
                </a:cxn>
                <a:cxn ang="0">
                  <a:pos x="60" y="4"/>
                </a:cxn>
                <a:cxn ang="0">
                  <a:pos x="58" y="4"/>
                </a:cxn>
                <a:cxn ang="0">
                  <a:pos x="36" y="0"/>
                </a:cxn>
                <a:cxn ang="0">
                  <a:pos x="32" y="2"/>
                </a:cxn>
                <a:cxn ang="0">
                  <a:pos x="26" y="2"/>
                </a:cxn>
                <a:cxn ang="0">
                  <a:pos x="20" y="4"/>
                </a:cxn>
                <a:cxn ang="0">
                  <a:pos x="18" y="6"/>
                </a:cxn>
                <a:cxn ang="0">
                  <a:pos x="18" y="8"/>
                </a:cxn>
                <a:cxn ang="0">
                  <a:pos x="12" y="12"/>
                </a:cxn>
                <a:cxn ang="0">
                  <a:pos x="10" y="18"/>
                </a:cxn>
                <a:cxn ang="0">
                  <a:pos x="6" y="18"/>
                </a:cxn>
                <a:cxn ang="0">
                  <a:pos x="2" y="20"/>
                </a:cxn>
                <a:cxn ang="0">
                  <a:pos x="0" y="26"/>
                </a:cxn>
                <a:cxn ang="0">
                  <a:pos x="2" y="28"/>
                </a:cxn>
                <a:cxn ang="0">
                  <a:pos x="6" y="28"/>
                </a:cxn>
                <a:cxn ang="0">
                  <a:pos x="12" y="26"/>
                </a:cxn>
                <a:cxn ang="0">
                  <a:pos x="14" y="28"/>
                </a:cxn>
                <a:cxn ang="0">
                  <a:pos x="18" y="28"/>
                </a:cxn>
                <a:cxn ang="0">
                  <a:pos x="20" y="30"/>
                </a:cxn>
                <a:cxn ang="0">
                  <a:pos x="22" y="32"/>
                </a:cxn>
                <a:cxn ang="0">
                  <a:pos x="26" y="30"/>
                </a:cxn>
                <a:cxn ang="0">
                  <a:pos x="28" y="32"/>
                </a:cxn>
                <a:cxn ang="0">
                  <a:pos x="30" y="34"/>
                </a:cxn>
                <a:cxn ang="0">
                  <a:pos x="34" y="36"/>
                </a:cxn>
                <a:cxn ang="0">
                  <a:pos x="34" y="38"/>
                </a:cxn>
                <a:cxn ang="0">
                  <a:pos x="32" y="38"/>
                </a:cxn>
                <a:cxn ang="0">
                  <a:pos x="32" y="38"/>
                </a:cxn>
                <a:cxn ang="0">
                  <a:pos x="30" y="42"/>
                </a:cxn>
                <a:cxn ang="0">
                  <a:pos x="32" y="44"/>
                </a:cxn>
                <a:cxn ang="0">
                  <a:pos x="40" y="42"/>
                </a:cxn>
                <a:cxn ang="0">
                  <a:pos x="46" y="44"/>
                </a:cxn>
                <a:cxn ang="0">
                  <a:pos x="52" y="44"/>
                </a:cxn>
                <a:cxn ang="0">
                  <a:pos x="56" y="42"/>
                </a:cxn>
                <a:cxn ang="0">
                  <a:pos x="56" y="42"/>
                </a:cxn>
                <a:cxn ang="0">
                  <a:pos x="62" y="42"/>
                </a:cxn>
                <a:cxn ang="0">
                  <a:pos x="68" y="42"/>
                </a:cxn>
                <a:cxn ang="0">
                  <a:pos x="68" y="42"/>
                </a:cxn>
                <a:cxn ang="0">
                  <a:pos x="72" y="38"/>
                </a:cxn>
                <a:cxn ang="0">
                  <a:pos x="80" y="40"/>
                </a:cxn>
                <a:cxn ang="0">
                  <a:pos x="88" y="42"/>
                </a:cxn>
                <a:cxn ang="0">
                  <a:pos x="88" y="40"/>
                </a:cxn>
                <a:cxn ang="0">
                  <a:pos x="86" y="38"/>
                </a:cxn>
                <a:cxn ang="0">
                  <a:pos x="92" y="38"/>
                </a:cxn>
                <a:cxn ang="0">
                  <a:pos x="96" y="38"/>
                </a:cxn>
                <a:cxn ang="0">
                  <a:pos x="106" y="36"/>
                </a:cxn>
                <a:cxn ang="0">
                  <a:pos x="102" y="34"/>
                </a:cxn>
              </a:cxnLst>
              <a:rect l="0" t="0" r="r" b="b"/>
              <a:pathLst>
                <a:path w="106" h="44">
                  <a:moveTo>
                    <a:pt x="102" y="34"/>
                  </a:moveTo>
                  <a:lnTo>
                    <a:pt x="102" y="34"/>
                  </a:lnTo>
                  <a:lnTo>
                    <a:pt x="82" y="32"/>
                  </a:lnTo>
                  <a:lnTo>
                    <a:pt x="74" y="30"/>
                  </a:lnTo>
                  <a:lnTo>
                    <a:pt x="68" y="28"/>
                  </a:lnTo>
                  <a:lnTo>
                    <a:pt x="68" y="28"/>
                  </a:lnTo>
                  <a:lnTo>
                    <a:pt x="56" y="22"/>
                  </a:lnTo>
                  <a:lnTo>
                    <a:pt x="52" y="18"/>
                  </a:lnTo>
                  <a:lnTo>
                    <a:pt x="52" y="16"/>
                  </a:lnTo>
                  <a:lnTo>
                    <a:pt x="52" y="16"/>
                  </a:lnTo>
                  <a:lnTo>
                    <a:pt x="54" y="12"/>
                  </a:lnTo>
                  <a:lnTo>
                    <a:pt x="54" y="10"/>
                  </a:lnTo>
                  <a:lnTo>
                    <a:pt x="54" y="10"/>
                  </a:lnTo>
                  <a:lnTo>
                    <a:pt x="54" y="10"/>
                  </a:lnTo>
                  <a:lnTo>
                    <a:pt x="54" y="8"/>
                  </a:lnTo>
                  <a:lnTo>
                    <a:pt x="56" y="6"/>
                  </a:lnTo>
                  <a:lnTo>
                    <a:pt x="60" y="4"/>
                  </a:lnTo>
                  <a:lnTo>
                    <a:pt x="60" y="4"/>
                  </a:lnTo>
                  <a:lnTo>
                    <a:pt x="58" y="4"/>
                  </a:lnTo>
                  <a:lnTo>
                    <a:pt x="58" y="4"/>
                  </a:lnTo>
                  <a:lnTo>
                    <a:pt x="48" y="2"/>
                  </a:lnTo>
                  <a:lnTo>
                    <a:pt x="36" y="0"/>
                  </a:lnTo>
                  <a:lnTo>
                    <a:pt x="36" y="0"/>
                  </a:lnTo>
                  <a:lnTo>
                    <a:pt x="32" y="2"/>
                  </a:lnTo>
                  <a:lnTo>
                    <a:pt x="26" y="2"/>
                  </a:lnTo>
                  <a:lnTo>
                    <a:pt x="26" y="2"/>
                  </a:lnTo>
                  <a:lnTo>
                    <a:pt x="22" y="2"/>
                  </a:lnTo>
                  <a:lnTo>
                    <a:pt x="20" y="4"/>
                  </a:lnTo>
                  <a:lnTo>
                    <a:pt x="18" y="4"/>
                  </a:lnTo>
                  <a:lnTo>
                    <a:pt x="18" y="6"/>
                  </a:lnTo>
                  <a:lnTo>
                    <a:pt x="18" y="6"/>
                  </a:lnTo>
                  <a:lnTo>
                    <a:pt x="18" y="8"/>
                  </a:lnTo>
                  <a:lnTo>
                    <a:pt x="18" y="8"/>
                  </a:lnTo>
                  <a:lnTo>
                    <a:pt x="12" y="12"/>
                  </a:lnTo>
                  <a:lnTo>
                    <a:pt x="12" y="12"/>
                  </a:lnTo>
                  <a:lnTo>
                    <a:pt x="10" y="18"/>
                  </a:lnTo>
                  <a:lnTo>
                    <a:pt x="8" y="18"/>
                  </a:lnTo>
                  <a:lnTo>
                    <a:pt x="6" y="18"/>
                  </a:lnTo>
                  <a:lnTo>
                    <a:pt x="6" y="18"/>
                  </a:lnTo>
                  <a:lnTo>
                    <a:pt x="2" y="20"/>
                  </a:lnTo>
                  <a:lnTo>
                    <a:pt x="0" y="22"/>
                  </a:lnTo>
                  <a:lnTo>
                    <a:pt x="0" y="26"/>
                  </a:lnTo>
                  <a:lnTo>
                    <a:pt x="0" y="28"/>
                  </a:lnTo>
                  <a:lnTo>
                    <a:pt x="2" y="28"/>
                  </a:lnTo>
                  <a:lnTo>
                    <a:pt x="2" y="28"/>
                  </a:lnTo>
                  <a:lnTo>
                    <a:pt x="6" y="28"/>
                  </a:lnTo>
                  <a:lnTo>
                    <a:pt x="10" y="26"/>
                  </a:lnTo>
                  <a:lnTo>
                    <a:pt x="12" y="26"/>
                  </a:lnTo>
                  <a:lnTo>
                    <a:pt x="14" y="28"/>
                  </a:lnTo>
                  <a:lnTo>
                    <a:pt x="14" y="28"/>
                  </a:lnTo>
                  <a:lnTo>
                    <a:pt x="16" y="30"/>
                  </a:lnTo>
                  <a:lnTo>
                    <a:pt x="18" y="28"/>
                  </a:lnTo>
                  <a:lnTo>
                    <a:pt x="20" y="28"/>
                  </a:lnTo>
                  <a:lnTo>
                    <a:pt x="20" y="30"/>
                  </a:lnTo>
                  <a:lnTo>
                    <a:pt x="20" y="30"/>
                  </a:lnTo>
                  <a:lnTo>
                    <a:pt x="22" y="32"/>
                  </a:lnTo>
                  <a:lnTo>
                    <a:pt x="24" y="30"/>
                  </a:lnTo>
                  <a:lnTo>
                    <a:pt x="26" y="30"/>
                  </a:lnTo>
                  <a:lnTo>
                    <a:pt x="28" y="32"/>
                  </a:lnTo>
                  <a:lnTo>
                    <a:pt x="28" y="32"/>
                  </a:lnTo>
                  <a:lnTo>
                    <a:pt x="28" y="34"/>
                  </a:lnTo>
                  <a:lnTo>
                    <a:pt x="30" y="34"/>
                  </a:lnTo>
                  <a:lnTo>
                    <a:pt x="34" y="34"/>
                  </a:lnTo>
                  <a:lnTo>
                    <a:pt x="34" y="36"/>
                  </a:lnTo>
                  <a:lnTo>
                    <a:pt x="34" y="36"/>
                  </a:lnTo>
                  <a:lnTo>
                    <a:pt x="34" y="38"/>
                  </a:lnTo>
                  <a:lnTo>
                    <a:pt x="32" y="38"/>
                  </a:lnTo>
                  <a:lnTo>
                    <a:pt x="32" y="38"/>
                  </a:lnTo>
                  <a:lnTo>
                    <a:pt x="32" y="38"/>
                  </a:lnTo>
                  <a:lnTo>
                    <a:pt x="32" y="38"/>
                  </a:lnTo>
                  <a:lnTo>
                    <a:pt x="30" y="40"/>
                  </a:lnTo>
                  <a:lnTo>
                    <a:pt x="30" y="42"/>
                  </a:lnTo>
                  <a:lnTo>
                    <a:pt x="30" y="42"/>
                  </a:lnTo>
                  <a:lnTo>
                    <a:pt x="32" y="44"/>
                  </a:lnTo>
                  <a:lnTo>
                    <a:pt x="32" y="44"/>
                  </a:lnTo>
                  <a:lnTo>
                    <a:pt x="40" y="42"/>
                  </a:lnTo>
                  <a:lnTo>
                    <a:pt x="44" y="42"/>
                  </a:lnTo>
                  <a:lnTo>
                    <a:pt x="46" y="44"/>
                  </a:lnTo>
                  <a:lnTo>
                    <a:pt x="46" y="44"/>
                  </a:lnTo>
                  <a:lnTo>
                    <a:pt x="52" y="44"/>
                  </a:lnTo>
                  <a:lnTo>
                    <a:pt x="56" y="44"/>
                  </a:lnTo>
                  <a:lnTo>
                    <a:pt x="56" y="42"/>
                  </a:lnTo>
                  <a:lnTo>
                    <a:pt x="56" y="42"/>
                  </a:lnTo>
                  <a:lnTo>
                    <a:pt x="56" y="42"/>
                  </a:lnTo>
                  <a:lnTo>
                    <a:pt x="56" y="42"/>
                  </a:lnTo>
                  <a:lnTo>
                    <a:pt x="62" y="42"/>
                  </a:lnTo>
                  <a:lnTo>
                    <a:pt x="66" y="42"/>
                  </a:lnTo>
                  <a:lnTo>
                    <a:pt x="68" y="42"/>
                  </a:lnTo>
                  <a:lnTo>
                    <a:pt x="68" y="42"/>
                  </a:lnTo>
                  <a:lnTo>
                    <a:pt x="68" y="42"/>
                  </a:lnTo>
                  <a:lnTo>
                    <a:pt x="68" y="40"/>
                  </a:lnTo>
                  <a:lnTo>
                    <a:pt x="72" y="38"/>
                  </a:lnTo>
                  <a:lnTo>
                    <a:pt x="76" y="38"/>
                  </a:lnTo>
                  <a:lnTo>
                    <a:pt x="80" y="40"/>
                  </a:lnTo>
                  <a:lnTo>
                    <a:pt x="80" y="40"/>
                  </a:lnTo>
                  <a:lnTo>
                    <a:pt x="88" y="42"/>
                  </a:lnTo>
                  <a:lnTo>
                    <a:pt x="88" y="42"/>
                  </a:lnTo>
                  <a:lnTo>
                    <a:pt x="88" y="40"/>
                  </a:lnTo>
                  <a:lnTo>
                    <a:pt x="88" y="40"/>
                  </a:lnTo>
                  <a:lnTo>
                    <a:pt x="86" y="38"/>
                  </a:lnTo>
                  <a:lnTo>
                    <a:pt x="88" y="38"/>
                  </a:lnTo>
                  <a:lnTo>
                    <a:pt x="92" y="38"/>
                  </a:lnTo>
                  <a:lnTo>
                    <a:pt x="92" y="38"/>
                  </a:lnTo>
                  <a:lnTo>
                    <a:pt x="96" y="38"/>
                  </a:lnTo>
                  <a:lnTo>
                    <a:pt x="102" y="38"/>
                  </a:lnTo>
                  <a:lnTo>
                    <a:pt x="106" y="36"/>
                  </a:lnTo>
                  <a:lnTo>
                    <a:pt x="102" y="34"/>
                  </a:lnTo>
                  <a:lnTo>
                    <a:pt x="102" y="34"/>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3" name="Freeform 130"/>
            <p:cNvSpPr>
              <a:spLocks/>
            </p:cNvSpPr>
            <p:nvPr/>
          </p:nvSpPr>
          <p:spPr bwMode="auto">
            <a:xfrm>
              <a:off x="5176538" y="1488281"/>
              <a:ext cx="209021" cy="50271"/>
            </a:xfrm>
            <a:custGeom>
              <a:avLst/>
              <a:gdLst/>
              <a:ahLst/>
              <a:cxnLst>
                <a:cxn ang="0">
                  <a:pos x="4" y="38"/>
                </a:cxn>
                <a:cxn ang="0">
                  <a:pos x="22" y="38"/>
                </a:cxn>
                <a:cxn ang="0">
                  <a:pos x="30" y="38"/>
                </a:cxn>
                <a:cxn ang="0">
                  <a:pos x="36" y="38"/>
                </a:cxn>
                <a:cxn ang="0">
                  <a:pos x="38" y="32"/>
                </a:cxn>
                <a:cxn ang="0">
                  <a:pos x="44" y="32"/>
                </a:cxn>
                <a:cxn ang="0">
                  <a:pos x="52" y="32"/>
                </a:cxn>
                <a:cxn ang="0">
                  <a:pos x="50" y="30"/>
                </a:cxn>
                <a:cxn ang="0">
                  <a:pos x="58" y="30"/>
                </a:cxn>
                <a:cxn ang="0">
                  <a:pos x="64" y="30"/>
                </a:cxn>
                <a:cxn ang="0">
                  <a:pos x="64" y="28"/>
                </a:cxn>
                <a:cxn ang="0">
                  <a:pos x="64" y="28"/>
                </a:cxn>
                <a:cxn ang="0">
                  <a:pos x="74" y="28"/>
                </a:cxn>
                <a:cxn ang="0">
                  <a:pos x="74" y="26"/>
                </a:cxn>
                <a:cxn ang="0">
                  <a:pos x="74" y="24"/>
                </a:cxn>
                <a:cxn ang="0">
                  <a:pos x="82" y="24"/>
                </a:cxn>
                <a:cxn ang="0">
                  <a:pos x="88" y="24"/>
                </a:cxn>
                <a:cxn ang="0">
                  <a:pos x="88" y="22"/>
                </a:cxn>
                <a:cxn ang="0">
                  <a:pos x="88" y="20"/>
                </a:cxn>
                <a:cxn ang="0">
                  <a:pos x="100" y="20"/>
                </a:cxn>
                <a:cxn ang="0">
                  <a:pos x="104" y="20"/>
                </a:cxn>
                <a:cxn ang="0">
                  <a:pos x="110" y="18"/>
                </a:cxn>
                <a:cxn ang="0">
                  <a:pos x="116" y="18"/>
                </a:cxn>
                <a:cxn ang="0">
                  <a:pos x="114" y="18"/>
                </a:cxn>
                <a:cxn ang="0">
                  <a:pos x="116" y="16"/>
                </a:cxn>
                <a:cxn ang="0">
                  <a:pos x="130" y="16"/>
                </a:cxn>
                <a:cxn ang="0">
                  <a:pos x="132" y="16"/>
                </a:cxn>
                <a:cxn ang="0">
                  <a:pos x="134" y="14"/>
                </a:cxn>
                <a:cxn ang="0">
                  <a:pos x="140" y="14"/>
                </a:cxn>
                <a:cxn ang="0">
                  <a:pos x="148" y="14"/>
                </a:cxn>
                <a:cxn ang="0">
                  <a:pos x="148" y="14"/>
                </a:cxn>
                <a:cxn ang="0">
                  <a:pos x="150" y="12"/>
                </a:cxn>
                <a:cxn ang="0">
                  <a:pos x="158" y="10"/>
                </a:cxn>
                <a:cxn ang="0">
                  <a:pos x="158" y="6"/>
                </a:cxn>
                <a:cxn ang="0">
                  <a:pos x="154" y="2"/>
                </a:cxn>
                <a:cxn ang="0">
                  <a:pos x="140" y="4"/>
                </a:cxn>
                <a:cxn ang="0">
                  <a:pos x="130" y="6"/>
                </a:cxn>
                <a:cxn ang="0">
                  <a:pos x="116" y="8"/>
                </a:cxn>
                <a:cxn ang="0">
                  <a:pos x="90" y="6"/>
                </a:cxn>
                <a:cxn ang="0">
                  <a:pos x="90" y="8"/>
                </a:cxn>
                <a:cxn ang="0">
                  <a:pos x="90" y="8"/>
                </a:cxn>
                <a:cxn ang="0">
                  <a:pos x="82" y="10"/>
                </a:cxn>
                <a:cxn ang="0">
                  <a:pos x="74" y="10"/>
                </a:cxn>
                <a:cxn ang="0">
                  <a:pos x="74" y="10"/>
                </a:cxn>
                <a:cxn ang="0">
                  <a:pos x="58" y="10"/>
                </a:cxn>
                <a:cxn ang="0">
                  <a:pos x="58" y="10"/>
                </a:cxn>
                <a:cxn ang="0">
                  <a:pos x="58" y="12"/>
                </a:cxn>
                <a:cxn ang="0">
                  <a:pos x="48" y="14"/>
                </a:cxn>
                <a:cxn ang="0">
                  <a:pos x="36" y="18"/>
                </a:cxn>
                <a:cxn ang="0">
                  <a:pos x="38" y="18"/>
                </a:cxn>
                <a:cxn ang="0">
                  <a:pos x="18" y="20"/>
                </a:cxn>
                <a:cxn ang="0">
                  <a:pos x="16" y="22"/>
                </a:cxn>
                <a:cxn ang="0">
                  <a:pos x="16" y="22"/>
                </a:cxn>
                <a:cxn ang="0">
                  <a:pos x="8" y="26"/>
                </a:cxn>
                <a:cxn ang="0">
                  <a:pos x="2" y="28"/>
                </a:cxn>
                <a:cxn ang="0">
                  <a:pos x="2" y="30"/>
                </a:cxn>
                <a:cxn ang="0">
                  <a:pos x="0" y="36"/>
                </a:cxn>
                <a:cxn ang="0">
                  <a:pos x="4" y="38"/>
                </a:cxn>
              </a:cxnLst>
              <a:rect l="0" t="0" r="r" b="b"/>
              <a:pathLst>
                <a:path w="158" h="38">
                  <a:moveTo>
                    <a:pt x="4" y="38"/>
                  </a:moveTo>
                  <a:lnTo>
                    <a:pt x="4" y="38"/>
                  </a:lnTo>
                  <a:lnTo>
                    <a:pt x="14" y="36"/>
                  </a:lnTo>
                  <a:lnTo>
                    <a:pt x="22" y="38"/>
                  </a:lnTo>
                  <a:lnTo>
                    <a:pt x="22" y="38"/>
                  </a:lnTo>
                  <a:lnTo>
                    <a:pt x="30" y="38"/>
                  </a:lnTo>
                  <a:lnTo>
                    <a:pt x="36" y="38"/>
                  </a:lnTo>
                  <a:lnTo>
                    <a:pt x="36" y="38"/>
                  </a:lnTo>
                  <a:lnTo>
                    <a:pt x="40" y="34"/>
                  </a:lnTo>
                  <a:lnTo>
                    <a:pt x="38" y="32"/>
                  </a:lnTo>
                  <a:lnTo>
                    <a:pt x="38" y="32"/>
                  </a:lnTo>
                  <a:lnTo>
                    <a:pt x="44" y="32"/>
                  </a:lnTo>
                  <a:lnTo>
                    <a:pt x="50" y="32"/>
                  </a:lnTo>
                  <a:lnTo>
                    <a:pt x="52" y="32"/>
                  </a:lnTo>
                  <a:lnTo>
                    <a:pt x="52" y="32"/>
                  </a:lnTo>
                  <a:lnTo>
                    <a:pt x="50" y="30"/>
                  </a:lnTo>
                  <a:lnTo>
                    <a:pt x="52" y="30"/>
                  </a:lnTo>
                  <a:lnTo>
                    <a:pt x="58" y="30"/>
                  </a:lnTo>
                  <a:lnTo>
                    <a:pt x="62" y="30"/>
                  </a:lnTo>
                  <a:lnTo>
                    <a:pt x="64" y="30"/>
                  </a:lnTo>
                  <a:lnTo>
                    <a:pt x="64" y="28"/>
                  </a:lnTo>
                  <a:lnTo>
                    <a:pt x="64" y="28"/>
                  </a:lnTo>
                  <a:lnTo>
                    <a:pt x="64" y="28"/>
                  </a:lnTo>
                  <a:lnTo>
                    <a:pt x="64" y="28"/>
                  </a:lnTo>
                  <a:lnTo>
                    <a:pt x="70" y="28"/>
                  </a:lnTo>
                  <a:lnTo>
                    <a:pt x="74" y="28"/>
                  </a:lnTo>
                  <a:lnTo>
                    <a:pt x="76" y="28"/>
                  </a:lnTo>
                  <a:lnTo>
                    <a:pt x="74" y="26"/>
                  </a:lnTo>
                  <a:lnTo>
                    <a:pt x="74" y="26"/>
                  </a:lnTo>
                  <a:lnTo>
                    <a:pt x="74" y="24"/>
                  </a:lnTo>
                  <a:lnTo>
                    <a:pt x="76" y="24"/>
                  </a:lnTo>
                  <a:lnTo>
                    <a:pt x="82" y="24"/>
                  </a:lnTo>
                  <a:lnTo>
                    <a:pt x="86" y="24"/>
                  </a:lnTo>
                  <a:lnTo>
                    <a:pt x="88" y="24"/>
                  </a:lnTo>
                  <a:lnTo>
                    <a:pt x="88" y="22"/>
                  </a:lnTo>
                  <a:lnTo>
                    <a:pt x="88" y="22"/>
                  </a:lnTo>
                  <a:lnTo>
                    <a:pt x="86" y="20"/>
                  </a:lnTo>
                  <a:lnTo>
                    <a:pt x="88" y="20"/>
                  </a:lnTo>
                  <a:lnTo>
                    <a:pt x="94" y="20"/>
                  </a:lnTo>
                  <a:lnTo>
                    <a:pt x="100" y="20"/>
                  </a:lnTo>
                  <a:lnTo>
                    <a:pt x="104" y="20"/>
                  </a:lnTo>
                  <a:lnTo>
                    <a:pt x="104" y="20"/>
                  </a:lnTo>
                  <a:lnTo>
                    <a:pt x="106" y="18"/>
                  </a:lnTo>
                  <a:lnTo>
                    <a:pt x="110" y="18"/>
                  </a:lnTo>
                  <a:lnTo>
                    <a:pt x="114" y="18"/>
                  </a:lnTo>
                  <a:lnTo>
                    <a:pt x="116" y="18"/>
                  </a:lnTo>
                  <a:lnTo>
                    <a:pt x="114" y="18"/>
                  </a:lnTo>
                  <a:lnTo>
                    <a:pt x="114" y="18"/>
                  </a:lnTo>
                  <a:lnTo>
                    <a:pt x="116" y="16"/>
                  </a:lnTo>
                  <a:lnTo>
                    <a:pt x="116" y="16"/>
                  </a:lnTo>
                  <a:lnTo>
                    <a:pt x="124" y="16"/>
                  </a:lnTo>
                  <a:lnTo>
                    <a:pt x="130" y="16"/>
                  </a:lnTo>
                  <a:lnTo>
                    <a:pt x="132" y="16"/>
                  </a:lnTo>
                  <a:lnTo>
                    <a:pt x="132" y="16"/>
                  </a:lnTo>
                  <a:lnTo>
                    <a:pt x="132" y="16"/>
                  </a:lnTo>
                  <a:lnTo>
                    <a:pt x="134" y="14"/>
                  </a:lnTo>
                  <a:lnTo>
                    <a:pt x="134" y="14"/>
                  </a:lnTo>
                  <a:lnTo>
                    <a:pt x="140" y="14"/>
                  </a:lnTo>
                  <a:lnTo>
                    <a:pt x="146" y="16"/>
                  </a:lnTo>
                  <a:lnTo>
                    <a:pt x="148" y="14"/>
                  </a:lnTo>
                  <a:lnTo>
                    <a:pt x="148" y="14"/>
                  </a:lnTo>
                  <a:lnTo>
                    <a:pt x="148" y="14"/>
                  </a:lnTo>
                  <a:lnTo>
                    <a:pt x="148" y="12"/>
                  </a:lnTo>
                  <a:lnTo>
                    <a:pt x="150" y="12"/>
                  </a:lnTo>
                  <a:lnTo>
                    <a:pt x="154" y="12"/>
                  </a:lnTo>
                  <a:lnTo>
                    <a:pt x="158" y="10"/>
                  </a:lnTo>
                  <a:lnTo>
                    <a:pt x="158" y="8"/>
                  </a:lnTo>
                  <a:lnTo>
                    <a:pt x="158" y="6"/>
                  </a:lnTo>
                  <a:lnTo>
                    <a:pt x="158" y="6"/>
                  </a:lnTo>
                  <a:lnTo>
                    <a:pt x="154" y="2"/>
                  </a:lnTo>
                  <a:lnTo>
                    <a:pt x="148" y="0"/>
                  </a:lnTo>
                  <a:lnTo>
                    <a:pt x="140" y="4"/>
                  </a:lnTo>
                  <a:lnTo>
                    <a:pt x="140" y="4"/>
                  </a:lnTo>
                  <a:lnTo>
                    <a:pt x="130" y="6"/>
                  </a:lnTo>
                  <a:lnTo>
                    <a:pt x="116" y="8"/>
                  </a:lnTo>
                  <a:lnTo>
                    <a:pt x="116" y="8"/>
                  </a:lnTo>
                  <a:lnTo>
                    <a:pt x="98" y="8"/>
                  </a:lnTo>
                  <a:lnTo>
                    <a:pt x="90" y="6"/>
                  </a:lnTo>
                  <a:lnTo>
                    <a:pt x="88" y="8"/>
                  </a:lnTo>
                  <a:lnTo>
                    <a:pt x="90" y="8"/>
                  </a:lnTo>
                  <a:lnTo>
                    <a:pt x="90" y="8"/>
                  </a:lnTo>
                  <a:lnTo>
                    <a:pt x="90" y="8"/>
                  </a:lnTo>
                  <a:lnTo>
                    <a:pt x="88" y="10"/>
                  </a:lnTo>
                  <a:lnTo>
                    <a:pt x="82" y="10"/>
                  </a:lnTo>
                  <a:lnTo>
                    <a:pt x="74" y="10"/>
                  </a:lnTo>
                  <a:lnTo>
                    <a:pt x="74" y="10"/>
                  </a:lnTo>
                  <a:lnTo>
                    <a:pt x="74" y="10"/>
                  </a:lnTo>
                  <a:lnTo>
                    <a:pt x="74" y="10"/>
                  </a:lnTo>
                  <a:lnTo>
                    <a:pt x="64" y="10"/>
                  </a:lnTo>
                  <a:lnTo>
                    <a:pt x="58" y="10"/>
                  </a:lnTo>
                  <a:lnTo>
                    <a:pt x="56" y="10"/>
                  </a:lnTo>
                  <a:lnTo>
                    <a:pt x="58" y="10"/>
                  </a:lnTo>
                  <a:lnTo>
                    <a:pt x="58" y="10"/>
                  </a:lnTo>
                  <a:lnTo>
                    <a:pt x="58" y="12"/>
                  </a:lnTo>
                  <a:lnTo>
                    <a:pt x="56" y="12"/>
                  </a:lnTo>
                  <a:lnTo>
                    <a:pt x="48" y="14"/>
                  </a:lnTo>
                  <a:lnTo>
                    <a:pt x="38" y="16"/>
                  </a:lnTo>
                  <a:lnTo>
                    <a:pt x="36" y="18"/>
                  </a:lnTo>
                  <a:lnTo>
                    <a:pt x="38" y="18"/>
                  </a:lnTo>
                  <a:lnTo>
                    <a:pt x="38" y="18"/>
                  </a:lnTo>
                  <a:lnTo>
                    <a:pt x="28" y="18"/>
                  </a:lnTo>
                  <a:lnTo>
                    <a:pt x="18" y="20"/>
                  </a:lnTo>
                  <a:lnTo>
                    <a:pt x="16" y="20"/>
                  </a:lnTo>
                  <a:lnTo>
                    <a:pt x="16" y="22"/>
                  </a:lnTo>
                  <a:lnTo>
                    <a:pt x="16" y="22"/>
                  </a:lnTo>
                  <a:lnTo>
                    <a:pt x="16" y="22"/>
                  </a:lnTo>
                  <a:lnTo>
                    <a:pt x="14" y="24"/>
                  </a:lnTo>
                  <a:lnTo>
                    <a:pt x="8" y="26"/>
                  </a:lnTo>
                  <a:lnTo>
                    <a:pt x="4" y="28"/>
                  </a:lnTo>
                  <a:lnTo>
                    <a:pt x="2" y="28"/>
                  </a:lnTo>
                  <a:lnTo>
                    <a:pt x="2" y="30"/>
                  </a:lnTo>
                  <a:lnTo>
                    <a:pt x="2" y="30"/>
                  </a:lnTo>
                  <a:lnTo>
                    <a:pt x="2" y="32"/>
                  </a:lnTo>
                  <a:lnTo>
                    <a:pt x="0" y="36"/>
                  </a:lnTo>
                  <a:lnTo>
                    <a:pt x="0" y="38"/>
                  </a:lnTo>
                  <a:lnTo>
                    <a:pt x="4" y="38"/>
                  </a:lnTo>
                  <a:lnTo>
                    <a:pt x="4" y="3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4" name="Freeform 132"/>
            <p:cNvSpPr>
              <a:spLocks/>
            </p:cNvSpPr>
            <p:nvPr/>
          </p:nvSpPr>
          <p:spPr bwMode="auto">
            <a:xfrm>
              <a:off x="8280101" y="3761052"/>
              <a:ext cx="119063" cy="68792"/>
            </a:xfrm>
            <a:custGeom>
              <a:avLst/>
              <a:gdLst/>
              <a:ahLst/>
              <a:cxnLst>
                <a:cxn ang="0">
                  <a:pos x="10" y="42"/>
                </a:cxn>
                <a:cxn ang="0">
                  <a:pos x="0" y="34"/>
                </a:cxn>
                <a:cxn ang="0">
                  <a:pos x="2" y="30"/>
                </a:cxn>
                <a:cxn ang="0">
                  <a:pos x="10" y="28"/>
                </a:cxn>
                <a:cxn ang="0">
                  <a:pos x="18" y="28"/>
                </a:cxn>
                <a:cxn ang="0">
                  <a:pos x="22" y="26"/>
                </a:cxn>
                <a:cxn ang="0">
                  <a:pos x="24" y="28"/>
                </a:cxn>
                <a:cxn ang="0">
                  <a:pos x="26" y="26"/>
                </a:cxn>
                <a:cxn ang="0">
                  <a:pos x="30" y="22"/>
                </a:cxn>
                <a:cxn ang="0">
                  <a:pos x="32" y="20"/>
                </a:cxn>
                <a:cxn ang="0">
                  <a:pos x="34" y="20"/>
                </a:cxn>
                <a:cxn ang="0">
                  <a:pos x="34" y="24"/>
                </a:cxn>
                <a:cxn ang="0">
                  <a:pos x="36" y="26"/>
                </a:cxn>
                <a:cxn ang="0">
                  <a:pos x="42" y="24"/>
                </a:cxn>
                <a:cxn ang="0">
                  <a:pos x="48" y="26"/>
                </a:cxn>
                <a:cxn ang="0">
                  <a:pos x="54" y="22"/>
                </a:cxn>
                <a:cxn ang="0">
                  <a:pos x="64" y="18"/>
                </a:cxn>
                <a:cxn ang="0">
                  <a:pos x="66" y="16"/>
                </a:cxn>
                <a:cxn ang="0">
                  <a:pos x="66" y="14"/>
                </a:cxn>
                <a:cxn ang="0">
                  <a:pos x="72" y="12"/>
                </a:cxn>
                <a:cxn ang="0">
                  <a:pos x="70" y="8"/>
                </a:cxn>
                <a:cxn ang="0">
                  <a:pos x="66" y="0"/>
                </a:cxn>
                <a:cxn ang="0">
                  <a:pos x="70" y="0"/>
                </a:cxn>
                <a:cxn ang="0">
                  <a:pos x="76" y="2"/>
                </a:cxn>
                <a:cxn ang="0">
                  <a:pos x="80" y="2"/>
                </a:cxn>
                <a:cxn ang="0">
                  <a:pos x="82" y="0"/>
                </a:cxn>
                <a:cxn ang="0">
                  <a:pos x="86" y="2"/>
                </a:cxn>
                <a:cxn ang="0">
                  <a:pos x="86" y="4"/>
                </a:cxn>
                <a:cxn ang="0">
                  <a:pos x="88" y="6"/>
                </a:cxn>
                <a:cxn ang="0">
                  <a:pos x="90" y="12"/>
                </a:cxn>
                <a:cxn ang="0">
                  <a:pos x="88" y="16"/>
                </a:cxn>
                <a:cxn ang="0">
                  <a:pos x="84" y="20"/>
                </a:cxn>
                <a:cxn ang="0">
                  <a:pos x="86" y="26"/>
                </a:cxn>
                <a:cxn ang="0">
                  <a:pos x="80" y="32"/>
                </a:cxn>
                <a:cxn ang="0">
                  <a:pos x="80" y="32"/>
                </a:cxn>
                <a:cxn ang="0">
                  <a:pos x="76" y="28"/>
                </a:cxn>
                <a:cxn ang="0">
                  <a:pos x="74" y="30"/>
                </a:cxn>
                <a:cxn ang="0">
                  <a:pos x="76" y="32"/>
                </a:cxn>
                <a:cxn ang="0">
                  <a:pos x="74" y="36"/>
                </a:cxn>
                <a:cxn ang="0">
                  <a:pos x="66" y="44"/>
                </a:cxn>
                <a:cxn ang="0">
                  <a:pos x="58" y="46"/>
                </a:cxn>
                <a:cxn ang="0">
                  <a:pos x="54" y="48"/>
                </a:cxn>
                <a:cxn ang="0">
                  <a:pos x="46" y="52"/>
                </a:cxn>
                <a:cxn ang="0">
                  <a:pos x="38" y="52"/>
                </a:cxn>
                <a:cxn ang="0">
                  <a:pos x="34" y="52"/>
                </a:cxn>
                <a:cxn ang="0">
                  <a:pos x="26" y="48"/>
                </a:cxn>
                <a:cxn ang="0">
                  <a:pos x="22" y="50"/>
                </a:cxn>
                <a:cxn ang="0">
                  <a:pos x="16" y="50"/>
                </a:cxn>
                <a:cxn ang="0">
                  <a:pos x="10" y="42"/>
                </a:cxn>
              </a:cxnLst>
              <a:rect l="0" t="0" r="r" b="b"/>
              <a:pathLst>
                <a:path w="90" h="52">
                  <a:moveTo>
                    <a:pt x="10" y="42"/>
                  </a:moveTo>
                  <a:lnTo>
                    <a:pt x="10" y="42"/>
                  </a:lnTo>
                  <a:lnTo>
                    <a:pt x="2" y="36"/>
                  </a:lnTo>
                  <a:lnTo>
                    <a:pt x="0" y="34"/>
                  </a:lnTo>
                  <a:lnTo>
                    <a:pt x="2" y="30"/>
                  </a:lnTo>
                  <a:lnTo>
                    <a:pt x="2" y="30"/>
                  </a:lnTo>
                  <a:lnTo>
                    <a:pt x="6" y="28"/>
                  </a:lnTo>
                  <a:lnTo>
                    <a:pt x="10" y="28"/>
                  </a:lnTo>
                  <a:lnTo>
                    <a:pt x="14" y="30"/>
                  </a:lnTo>
                  <a:lnTo>
                    <a:pt x="18" y="28"/>
                  </a:lnTo>
                  <a:lnTo>
                    <a:pt x="18" y="28"/>
                  </a:lnTo>
                  <a:lnTo>
                    <a:pt x="22" y="26"/>
                  </a:lnTo>
                  <a:lnTo>
                    <a:pt x="22" y="28"/>
                  </a:lnTo>
                  <a:lnTo>
                    <a:pt x="24" y="28"/>
                  </a:lnTo>
                  <a:lnTo>
                    <a:pt x="26" y="26"/>
                  </a:lnTo>
                  <a:lnTo>
                    <a:pt x="26" y="26"/>
                  </a:lnTo>
                  <a:lnTo>
                    <a:pt x="30" y="24"/>
                  </a:lnTo>
                  <a:lnTo>
                    <a:pt x="30" y="22"/>
                  </a:lnTo>
                  <a:lnTo>
                    <a:pt x="28" y="22"/>
                  </a:lnTo>
                  <a:lnTo>
                    <a:pt x="32" y="20"/>
                  </a:lnTo>
                  <a:lnTo>
                    <a:pt x="32" y="20"/>
                  </a:lnTo>
                  <a:lnTo>
                    <a:pt x="34" y="20"/>
                  </a:lnTo>
                  <a:lnTo>
                    <a:pt x="34" y="20"/>
                  </a:lnTo>
                  <a:lnTo>
                    <a:pt x="34" y="24"/>
                  </a:lnTo>
                  <a:lnTo>
                    <a:pt x="34" y="28"/>
                  </a:lnTo>
                  <a:lnTo>
                    <a:pt x="36" y="26"/>
                  </a:lnTo>
                  <a:lnTo>
                    <a:pt x="36" y="26"/>
                  </a:lnTo>
                  <a:lnTo>
                    <a:pt x="42" y="24"/>
                  </a:lnTo>
                  <a:lnTo>
                    <a:pt x="44" y="24"/>
                  </a:lnTo>
                  <a:lnTo>
                    <a:pt x="48" y="26"/>
                  </a:lnTo>
                  <a:lnTo>
                    <a:pt x="54" y="22"/>
                  </a:lnTo>
                  <a:lnTo>
                    <a:pt x="54" y="22"/>
                  </a:lnTo>
                  <a:lnTo>
                    <a:pt x="60" y="20"/>
                  </a:lnTo>
                  <a:lnTo>
                    <a:pt x="64" y="18"/>
                  </a:lnTo>
                  <a:lnTo>
                    <a:pt x="66" y="18"/>
                  </a:lnTo>
                  <a:lnTo>
                    <a:pt x="66" y="16"/>
                  </a:lnTo>
                  <a:lnTo>
                    <a:pt x="66" y="16"/>
                  </a:lnTo>
                  <a:lnTo>
                    <a:pt x="66" y="14"/>
                  </a:lnTo>
                  <a:lnTo>
                    <a:pt x="70" y="14"/>
                  </a:lnTo>
                  <a:lnTo>
                    <a:pt x="72" y="12"/>
                  </a:lnTo>
                  <a:lnTo>
                    <a:pt x="70" y="8"/>
                  </a:lnTo>
                  <a:lnTo>
                    <a:pt x="70" y="8"/>
                  </a:lnTo>
                  <a:lnTo>
                    <a:pt x="68" y="2"/>
                  </a:lnTo>
                  <a:lnTo>
                    <a:pt x="66" y="0"/>
                  </a:lnTo>
                  <a:lnTo>
                    <a:pt x="70" y="0"/>
                  </a:lnTo>
                  <a:lnTo>
                    <a:pt x="70" y="0"/>
                  </a:lnTo>
                  <a:lnTo>
                    <a:pt x="74" y="0"/>
                  </a:lnTo>
                  <a:lnTo>
                    <a:pt x="76" y="2"/>
                  </a:lnTo>
                  <a:lnTo>
                    <a:pt x="78" y="2"/>
                  </a:lnTo>
                  <a:lnTo>
                    <a:pt x="80" y="2"/>
                  </a:lnTo>
                  <a:lnTo>
                    <a:pt x="80" y="2"/>
                  </a:lnTo>
                  <a:lnTo>
                    <a:pt x="82" y="0"/>
                  </a:lnTo>
                  <a:lnTo>
                    <a:pt x="84" y="2"/>
                  </a:lnTo>
                  <a:lnTo>
                    <a:pt x="86" y="2"/>
                  </a:lnTo>
                  <a:lnTo>
                    <a:pt x="86" y="4"/>
                  </a:lnTo>
                  <a:lnTo>
                    <a:pt x="86" y="4"/>
                  </a:lnTo>
                  <a:lnTo>
                    <a:pt x="88" y="4"/>
                  </a:lnTo>
                  <a:lnTo>
                    <a:pt x="88" y="6"/>
                  </a:lnTo>
                  <a:lnTo>
                    <a:pt x="90" y="12"/>
                  </a:lnTo>
                  <a:lnTo>
                    <a:pt x="90" y="12"/>
                  </a:lnTo>
                  <a:lnTo>
                    <a:pt x="90" y="16"/>
                  </a:lnTo>
                  <a:lnTo>
                    <a:pt x="88" y="16"/>
                  </a:lnTo>
                  <a:lnTo>
                    <a:pt x="84" y="16"/>
                  </a:lnTo>
                  <a:lnTo>
                    <a:pt x="84" y="20"/>
                  </a:lnTo>
                  <a:lnTo>
                    <a:pt x="84" y="20"/>
                  </a:lnTo>
                  <a:lnTo>
                    <a:pt x="86" y="26"/>
                  </a:lnTo>
                  <a:lnTo>
                    <a:pt x="84" y="28"/>
                  </a:lnTo>
                  <a:lnTo>
                    <a:pt x="80" y="32"/>
                  </a:lnTo>
                  <a:lnTo>
                    <a:pt x="80" y="32"/>
                  </a:lnTo>
                  <a:lnTo>
                    <a:pt x="80" y="32"/>
                  </a:lnTo>
                  <a:lnTo>
                    <a:pt x="78" y="30"/>
                  </a:lnTo>
                  <a:lnTo>
                    <a:pt x="76" y="28"/>
                  </a:lnTo>
                  <a:lnTo>
                    <a:pt x="74" y="30"/>
                  </a:lnTo>
                  <a:lnTo>
                    <a:pt x="74" y="30"/>
                  </a:lnTo>
                  <a:lnTo>
                    <a:pt x="72" y="32"/>
                  </a:lnTo>
                  <a:lnTo>
                    <a:pt x="76" y="32"/>
                  </a:lnTo>
                  <a:lnTo>
                    <a:pt x="78" y="32"/>
                  </a:lnTo>
                  <a:lnTo>
                    <a:pt x="74" y="36"/>
                  </a:lnTo>
                  <a:lnTo>
                    <a:pt x="74" y="36"/>
                  </a:lnTo>
                  <a:lnTo>
                    <a:pt x="66" y="44"/>
                  </a:lnTo>
                  <a:lnTo>
                    <a:pt x="60" y="46"/>
                  </a:lnTo>
                  <a:lnTo>
                    <a:pt x="58" y="46"/>
                  </a:lnTo>
                  <a:lnTo>
                    <a:pt x="54" y="48"/>
                  </a:lnTo>
                  <a:lnTo>
                    <a:pt x="54" y="48"/>
                  </a:lnTo>
                  <a:lnTo>
                    <a:pt x="48" y="52"/>
                  </a:lnTo>
                  <a:lnTo>
                    <a:pt x="46" y="52"/>
                  </a:lnTo>
                  <a:lnTo>
                    <a:pt x="44" y="50"/>
                  </a:lnTo>
                  <a:lnTo>
                    <a:pt x="38" y="52"/>
                  </a:lnTo>
                  <a:lnTo>
                    <a:pt x="38" y="52"/>
                  </a:lnTo>
                  <a:lnTo>
                    <a:pt x="34" y="52"/>
                  </a:lnTo>
                  <a:lnTo>
                    <a:pt x="30" y="50"/>
                  </a:lnTo>
                  <a:lnTo>
                    <a:pt x="26" y="48"/>
                  </a:lnTo>
                  <a:lnTo>
                    <a:pt x="22" y="50"/>
                  </a:lnTo>
                  <a:lnTo>
                    <a:pt x="22" y="50"/>
                  </a:lnTo>
                  <a:lnTo>
                    <a:pt x="18" y="52"/>
                  </a:lnTo>
                  <a:lnTo>
                    <a:pt x="16" y="50"/>
                  </a:lnTo>
                  <a:lnTo>
                    <a:pt x="14" y="46"/>
                  </a:lnTo>
                  <a:lnTo>
                    <a:pt x="10" y="42"/>
                  </a:lnTo>
                  <a:lnTo>
                    <a:pt x="10" y="42"/>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5" name="Freeform 133"/>
            <p:cNvSpPr>
              <a:spLocks/>
            </p:cNvSpPr>
            <p:nvPr/>
          </p:nvSpPr>
          <p:spPr bwMode="auto">
            <a:xfrm>
              <a:off x="8370059" y="3716073"/>
              <a:ext cx="55563" cy="60854"/>
            </a:xfrm>
            <a:custGeom>
              <a:avLst/>
              <a:gdLst/>
              <a:ahLst/>
              <a:cxnLst>
                <a:cxn ang="0">
                  <a:pos x="34" y="46"/>
                </a:cxn>
                <a:cxn ang="0">
                  <a:pos x="34" y="46"/>
                </a:cxn>
                <a:cxn ang="0">
                  <a:pos x="32" y="46"/>
                </a:cxn>
                <a:cxn ang="0">
                  <a:pos x="30" y="44"/>
                </a:cxn>
                <a:cxn ang="0">
                  <a:pos x="30" y="38"/>
                </a:cxn>
                <a:cxn ang="0">
                  <a:pos x="30" y="30"/>
                </a:cxn>
                <a:cxn ang="0">
                  <a:pos x="28" y="28"/>
                </a:cxn>
                <a:cxn ang="0">
                  <a:pos x="26" y="24"/>
                </a:cxn>
                <a:cxn ang="0">
                  <a:pos x="26" y="24"/>
                </a:cxn>
                <a:cxn ang="0">
                  <a:pos x="12" y="10"/>
                </a:cxn>
                <a:cxn ang="0">
                  <a:pos x="4" y="4"/>
                </a:cxn>
                <a:cxn ang="0">
                  <a:pos x="4" y="4"/>
                </a:cxn>
                <a:cxn ang="0">
                  <a:pos x="0" y="2"/>
                </a:cxn>
                <a:cxn ang="0">
                  <a:pos x="0" y="0"/>
                </a:cxn>
                <a:cxn ang="0">
                  <a:pos x="2" y="0"/>
                </a:cxn>
                <a:cxn ang="0">
                  <a:pos x="2" y="0"/>
                </a:cxn>
                <a:cxn ang="0">
                  <a:pos x="6" y="0"/>
                </a:cxn>
                <a:cxn ang="0">
                  <a:pos x="10" y="4"/>
                </a:cxn>
                <a:cxn ang="0">
                  <a:pos x="20" y="14"/>
                </a:cxn>
                <a:cxn ang="0">
                  <a:pos x="20" y="14"/>
                </a:cxn>
                <a:cxn ang="0">
                  <a:pos x="32" y="26"/>
                </a:cxn>
                <a:cxn ang="0">
                  <a:pos x="34" y="28"/>
                </a:cxn>
                <a:cxn ang="0">
                  <a:pos x="36" y="30"/>
                </a:cxn>
                <a:cxn ang="0">
                  <a:pos x="36" y="30"/>
                </a:cxn>
                <a:cxn ang="0">
                  <a:pos x="36" y="30"/>
                </a:cxn>
                <a:cxn ang="0">
                  <a:pos x="40" y="32"/>
                </a:cxn>
                <a:cxn ang="0">
                  <a:pos x="42" y="34"/>
                </a:cxn>
                <a:cxn ang="0">
                  <a:pos x="40" y="36"/>
                </a:cxn>
                <a:cxn ang="0">
                  <a:pos x="40" y="36"/>
                </a:cxn>
                <a:cxn ang="0">
                  <a:pos x="38" y="40"/>
                </a:cxn>
                <a:cxn ang="0">
                  <a:pos x="36" y="44"/>
                </a:cxn>
                <a:cxn ang="0">
                  <a:pos x="36" y="46"/>
                </a:cxn>
                <a:cxn ang="0">
                  <a:pos x="34" y="46"/>
                </a:cxn>
                <a:cxn ang="0">
                  <a:pos x="34" y="46"/>
                </a:cxn>
              </a:cxnLst>
              <a:rect l="0" t="0" r="r" b="b"/>
              <a:pathLst>
                <a:path w="42" h="46">
                  <a:moveTo>
                    <a:pt x="34" y="46"/>
                  </a:moveTo>
                  <a:lnTo>
                    <a:pt x="34" y="46"/>
                  </a:lnTo>
                  <a:lnTo>
                    <a:pt x="32" y="46"/>
                  </a:lnTo>
                  <a:lnTo>
                    <a:pt x="30" y="44"/>
                  </a:lnTo>
                  <a:lnTo>
                    <a:pt x="30" y="38"/>
                  </a:lnTo>
                  <a:lnTo>
                    <a:pt x="30" y="30"/>
                  </a:lnTo>
                  <a:lnTo>
                    <a:pt x="28" y="28"/>
                  </a:lnTo>
                  <a:lnTo>
                    <a:pt x="26" y="24"/>
                  </a:lnTo>
                  <a:lnTo>
                    <a:pt x="26" y="24"/>
                  </a:lnTo>
                  <a:lnTo>
                    <a:pt x="12" y="10"/>
                  </a:lnTo>
                  <a:lnTo>
                    <a:pt x="4" y="4"/>
                  </a:lnTo>
                  <a:lnTo>
                    <a:pt x="4" y="4"/>
                  </a:lnTo>
                  <a:lnTo>
                    <a:pt x="0" y="2"/>
                  </a:lnTo>
                  <a:lnTo>
                    <a:pt x="0" y="0"/>
                  </a:lnTo>
                  <a:lnTo>
                    <a:pt x="2" y="0"/>
                  </a:lnTo>
                  <a:lnTo>
                    <a:pt x="2" y="0"/>
                  </a:lnTo>
                  <a:lnTo>
                    <a:pt x="6" y="0"/>
                  </a:lnTo>
                  <a:lnTo>
                    <a:pt x="10" y="4"/>
                  </a:lnTo>
                  <a:lnTo>
                    <a:pt x="20" y="14"/>
                  </a:lnTo>
                  <a:lnTo>
                    <a:pt x="20" y="14"/>
                  </a:lnTo>
                  <a:lnTo>
                    <a:pt x="32" y="26"/>
                  </a:lnTo>
                  <a:lnTo>
                    <a:pt x="34" y="28"/>
                  </a:lnTo>
                  <a:lnTo>
                    <a:pt x="36" y="30"/>
                  </a:lnTo>
                  <a:lnTo>
                    <a:pt x="36" y="30"/>
                  </a:lnTo>
                  <a:lnTo>
                    <a:pt x="36" y="30"/>
                  </a:lnTo>
                  <a:lnTo>
                    <a:pt x="40" y="32"/>
                  </a:lnTo>
                  <a:lnTo>
                    <a:pt x="42" y="34"/>
                  </a:lnTo>
                  <a:lnTo>
                    <a:pt x="40" y="36"/>
                  </a:lnTo>
                  <a:lnTo>
                    <a:pt x="40" y="36"/>
                  </a:lnTo>
                  <a:lnTo>
                    <a:pt x="38" y="40"/>
                  </a:lnTo>
                  <a:lnTo>
                    <a:pt x="36" y="44"/>
                  </a:lnTo>
                  <a:lnTo>
                    <a:pt x="36" y="46"/>
                  </a:lnTo>
                  <a:lnTo>
                    <a:pt x="34" y="46"/>
                  </a:lnTo>
                  <a:lnTo>
                    <a:pt x="34" y="46"/>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6" name="Freeform 141"/>
            <p:cNvSpPr>
              <a:spLocks/>
            </p:cNvSpPr>
            <p:nvPr/>
          </p:nvSpPr>
          <p:spPr bwMode="auto">
            <a:xfrm>
              <a:off x="5306184" y="4009761"/>
              <a:ext cx="222250" cy="428625"/>
            </a:xfrm>
            <a:custGeom>
              <a:avLst/>
              <a:gdLst/>
              <a:ahLst/>
              <a:cxnLst>
                <a:cxn ang="0">
                  <a:pos x="146" y="2"/>
                </a:cxn>
                <a:cxn ang="0">
                  <a:pos x="150" y="4"/>
                </a:cxn>
                <a:cxn ang="0">
                  <a:pos x="154" y="10"/>
                </a:cxn>
                <a:cxn ang="0">
                  <a:pos x="162" y="46"/>
                </a:cxn>
                <a:cxn ang="0">
                  <a:pos x="166" y="86"/>
                </a:cxn>
                <a:cxn ang="0">
                  <a:pos x="158" y="86"/>
                </a:cxn>
                <a:cxn ang="0">
                  <a:pos x="152" y="84"/>
                </a:cxn>
                <a:cxn ang="0">
                  <a:pos x="152" y="100"/>
                </a:cxn>
                <a:cxn ang="0">
                  <a:pos x="154" y="112"/>
                </a:cxn>
                <a:cxn ang="0">
                  <a:pos x="146" y="126"/>
                </a:cxn>
                <a:cxn ang="0">
                  <a:pos x="136" y="164"/>
                </a:cxn>
                <a:cxn ang="0">
                  <a:pos x="122" y="192"/>
                </a:cxn>
                <a:cxn ang="0">
                  <a:pos x="110" y="232"/>
                </a:cxn>
                <a:cxn ang="0">
                  <a:pos x="94" y="282"/>
                </a:cxn>
                <a:cxn ang="0">
                  <a:pos x="84" y="300"/>
                </a:cxn>
                <a:cxn ang="0">
                  <a:pos x="60" y="318"/>
                </a:cxn>
                <a:cxn ang="0">
                  <a:pos x="44" y="324"/>
                </a:cxn>
                <a:cxn ang="0">
                  <a:pos x="20" y="316"/>
                </a:cxn>
                <a:cxn ang="0">
                  <a:pos x="8" y="294"/>
                </a:cxn>
                <a:cxn ang="0">
                  <a:pos x="6" y="278"/>
                </a:cxn>
                <a:cxn ang="0">
                  <a:pos x="0" y="258"/>
                </a:cxn>
                <a:cxn ang="0">
                  <a:pos x="2" y="242"/>
                </a:cxn>
                <a:cxn ang="0">
                  <a:pos x="14" y="220"/>
                </a:cxn>
                <a:cxn ang="0">
                  <a:pos x="22" y="210"/>
                </a:cxn>
                <a:cxn ang="0">
                  <a:pos x="28" y="196"/>
                </a:cxn>
                <a:cxn ang="0">
                  <a:pos x="30" y="182"/>
                </a:cxn>
                <a:cxn ang="0">
                  <a:pos x="30" y="158"/>
                </a:cxn>
                <a:cxn ang="0">
                  <a:pos x="30" y="132"/>
                </a:cxn>
                <a:cxn ang="0">
                  <a:pos x="40" y="110"/>
                </a:cxn>
                <a:cxn ang="0">
                  <a:pos x="46" y="100"/>
                </a:cxn>
                <a:cxn ang="0">
                  <a:pos x="54" y="96"/>
                </a:cxn>
                <a:cxn ang="0">
                  <a:pos x="60" y="90"/>
                </a:cxn>
                <a:cxn ang="0">
                  <a:pos x="82" y="92"/>
                </a:cxn>
                <a:cxn ang="0">
                  <a:pos x="86" y="82"/>
                </a:cxn>
                <a:cxn ang="0">
                  <a:pos x="94" y="72"/>
                </a:cxn>
                <a:cxn ang="0">
                  <a:pos x="98" y="74"/>
                </a:cxn>
                <a:cxn ang="0">
                  <a:pos x="104" y="68"/>
                </a:cxn>
                <a:cxn ang="0">
                  <a:pos x="110" y="54"/>
                </a:cxn>
                <a:cxn ang="0">
                  <a:pos x="114" y="52"/>
                </a:cxn>
                <a:cxn ang="0">
                  <a:pos x="112" y="42"/>
                </a:cxn>
                <a:cxn ang="0">
                  <a:pos x="114" y="38"/>
                </a:cxn>
                <a:cxn ang="0">
                  <a:pos x="120" y="40"/>
                </a:cxn>
                <a:cxn ang="0">
                  <a:pos x="124" y="38"/>
                </a:cxn>
                <a:cxn ang="0">
                  <a:pos x="136" y="20"/>
                </a:cxn>
                <a:cxn ang="0">
                  <a:pos x="134" y="12"/>
                </a:cxn>
                <a:cxn ang="0">
                  <a:pos x="140" y="6"/>
                </a:cxn>
              </a:cxnLst>
              <a:rect l="0" t="0" r="r" b="b"/>
              <a:pathLst>
                <a:path w="168" h="324">
                  <a:moveTo>
                    <a:pt x="140" y="6"/>
                  </a:moveTo>
                  <a:lnTo>
                    <a:pt x="140" y="6"/>
                  </a:lnTo>
                  <a:lnTo>
                    <a:pt x="146" y="2"/>
                  </a:lnTo>
                  <a:lnTo>
                    <a:pt x="148" y="0"/>
                  </a:lnTo>
                  <a:lnTo>
                    <a:pt x="150" y="2"/>
                  </a:lnTo>
                  <a:lnTo>
                    <a:pt x="150" y="4"/>
                  </a:lnTo>
                  <a:lnTo>
                    <a:pt x="150" y="8"/>
                  </a:lnTo>
                  <a:lnTo>
                    <a:pt x="152" y="10"/>
                  </a:lnTo>
                  <a:lnTo>
                    <a:pt x="154" y="10"/>
                  </a:lnTo>
                  <a:lnTo>
                    <a:pt x="154" y="10"/>
                  </a:lnTo>
                  <a:lnTo>
                    <a:pt x="158" y="20"/>
                  </a:lnTo>
                  <a:lnTo>
                    <a:pt x="162" y="46"/>
                  </a:lnTo>
                  <a:lnTo>
                    <a:pt x="166" y="72"/>
                  </a:lnTo>
                  <a:lnTo>
                    <a:pt x="168" y="82"/>
                  </a:lnTo>
                  <a:lnTo>
                    <a:pt x="166" y="86"/>
                  </a:lnTo>
                  <a:lnTo>
                    <a:pt x="166" y="86"/>
                  </a:lnTo>
                  <a:lnTo>
                    <a:pt x="162" y="88"/>
                  </a:lnTo>
                  <a:lnTo>
                    <a:pt x="158" y="86"/>
                  </a:lnTo>
                  <a:lnTo>
                    <a:pt x="156" y="84"/>
                  </a:lnTo>
                  <a:lnTo>
                    <a:pt x="152" y="84"/>
                  </a:lnTo>
                  <a:lnTo>
                    <a:pt x="152" y="84"/>
                  </a:lnTo>
                  <a:lnTo>
                    <a:pt x="152" y="88"/>
                  </a:lnTo>
                  <a:lnTo>
                    <a:pt x="150" y="92"/>
                  </a:lnTo>
                  <a:lnTo>
                    <a:pt x="152" y="100"/>
                  </a:lnTo>
                  <a:lnTo>
                    <a:pt x="156" y="106"/>
                  </a:lnTo>
                  <a:lnTo>
                    <a:pt x="156" y="110"/>
                  </a:lnTo>
                  <a:lnTo>
                    <a:pt x="154" y="112"/>
                  </a:lnTo>
                  <a:lnTo>
                    <a:pt x="154" y="112"/>
                  </a:lnTo>
                  <a:lnTo>
                    <a:pt x="150" y="120"/>
                  </a:lnTo>
                  <a:lnTo>
                    <a:pt x="146" y="126"/>
                  </a:lnTo>
                  <a:lnTo>
                    <a:pt x="142" y="140"/>
                  </a:lnTo>
                  <a:lnTo>
                    <a:pt x="140" y="154"/>
                  </a:lnTo>
                  <a:lnTo>
                    <a:pt x="136" y="164"/>
                  </a:lnTo>
                  <a:lnTo>
                    <a:pt x="132" y="172"/>
                  </a:lnTo>
                  <a:lnTo>
                    <a:pt x="132" y="172"/>
                  </a:lnTo>
                  <a:lnTo>
                    <a:pt x="122" y="192"/>
                  </a:lnTo>
                  <a:lnTo>
                    <a:pt x="116" y="208"/>
                  </a:lnTo>
                  <a:lnTo>
                    <a:pt x="112" y="220"/>
                  </a:lnTo>
                  <a:lnTo>
                    <a:pt x="110" y="232"/>
                  </a:lnTo>
                  <a:lnTo>
                    <a:pt x="106" y="254"/>
                  </a:lnTo>
                  <a:lnTo>
                    <a:pt x="102" y="266"/>
                  </a:lnTo>
                  <a:lnTo>
                    <a:pt x="94" y="282"/>
                  </a:lnTo>
                  <a:lnTo>
                    <a:pt x="94" y="282"/>
                  </a:lnTo>
                  <a:lnTo>
                    <a:pt x="90" y="294"/>
                  </a:lnTo>
                  <a:lnTo>
                    <a:pt x="84" y="300"/>
                  </a:lnTo>
                  <a:lnTo>
                    <a:pt x="74" y="310"/>
                  </a:lnTo>
                  <a:lnTo>
                    <a:pt x="64" y="316"/>
                  </a:lnTo>
                  <a:lnTo>
                    <a:pt x="60" y="318"/>
                  </a:lnTo>
                  <a:lnTo>
                    <a:pt x="60" y="318"/>
                  </a:lnTo>
                  <a:lnTo>
                    <a:pt x="52" y="322"/>
                  </a:lnTo>
                  <a:lnTo>
                    <a:pt x="44" y="324"/>
                  </a:lnTo>
                  <a:lnTo>
                    <a:pt x="36" y="324"/>
                  </a:lnTo>
                  <a:lnTo>
                    <a:pt x="28" y="322"/>
                  </a:lnTo>
                  <a:lnTo>
                    <a:pt x="20" y="316"/>
                  </a:lnTo>
                  <a:lnTo>
                    <a:pt x="14" y="310"/>
                  </a:lnTo>
                  <a:lnTo>
                    <a:pt x="10" y="302"/>
                  </a:lnTo>
                  <a:lnTo>
                    <a:pt x="8" y="294"/>
                  </a:lnTo>
                  <a:lnTo>
                    <a:pt x="8" y="294"/>
                  </a:lnTo>
                  <a:lnTo>
                    <a:pt x="8" y="286"/>
                  </a:lnTo>
                  <a:lnTo>
                    <a:pt x="6" y="278"/>
                  </a:lnTo>
                  <a:lnTo>
                    <a:pt x="2" y="268"/>
                  </a:lnTo>
                  <a:lnTo>
                    <a:pt x="0" y="264"/>
                  </a:lnTo>
                  <a:lnTo>
                    <a:pt x="0" y="258"/>
                  </a:lnTo>
                  <a:lnTo>
                    <a:pt x="0" y="250"/>
                  </a:lnTo>
                  <a:lnTo>
                    <a:pt x="2" y="242"/>
                  </a:lnTo>
                  <a:lnTo>
                    <a:pt x="2" y="242"/>
                  </a:lnTo>
                  <a:lnTo>
                    <a:pt x="4" y="232"/>
                  </a:lnTo>
                  <a:lnTo>
                    <a:pt x="8" y="226"/>
                  </a:lnTo>
                  <a:lnTo>
                    <a:pt x="14" y="220"/>
                  </a:lnTo>
                  <a:lnTo>
                    <a:pt x="18" y="218"/>
                  </a:lnTo>
                  <a:lnTo>
                    <a:pt x="20" y="214"/>
                  </a:lnTo>
                  <a:lnTo>
                    <a:pt x="22" y="210"/>
                  </a:lnTo>
                  <a:lnTo>
                    <a:pt x="22" y="210"/>
                  </a:lnTo>
                  <a:lnTo>
                    <a:pt x="26" y="200"/>
                  </a:lnTo>
                  <a:lnTo>
                    <a:pt x="28" y="196"/>
                  </a:lnTo>
                  <a:lnTo>
                    <a:pt x="30" y="190"/>
                  </a:lnTo>
                  <a:lnTo>
                    <a:pt x="30" y="182"/>
                  </a:lnTo>
                  <a:lnTo>
                    <a:pt x="30" y="182"/>
                  </a:lnTo>
                  <a:lnTo>
                    <a:pt x="28" y="172"/>
                  </a:lnTo>
                  <a:lnTo>
                    <a:pt x="28" y="164"/>
                  </a:lnTo>
                  <a:lnTo>
                    <a:pt x="30" y="158"/>
                  </a:lnTo>
                  <a:lnTo>
                    <a:pt x="28" y="144"/>
                  </a:lnTo>
                  <a:lnTo>
                    <a:pt x="28" y="144"/>
                  </a:lnTo>
                  <a:lnTo>
                    <a:pt x="30" y="132"/>
                  </a:lnTo>
                  <a:lnTo>
                    <a:pt x="32" y="126"/>
                  </a:lnTo>
                  <a:lnTo>
                    <a:pt x="36" y="118"/>
                  </a:lnTo>
                  <a:lnTo>
                    <a:pt x="40" y="110"/>
                  </a:lnTo>
                  <a:lnTo>
                    <a:pt x="40" y="110"/>
                  </a:lnTo>
                  <a:lnTo>
                    <a:pt x="42" y="102"/>
                  </a:lnTo>
                  <a:lnTo>
                    <a:pt x="46" y="100"/>
                  </a:lnTo>
                  <a:lnTo>
                    <a:pt x="50" y="100"/>
                  </a:lnTo>
                  <a:lnTo>
                    <a:pt x="52" y="100"/>
                  </a:lnTo>
                  <a:lnTo>
                    <a:pt x="54" y="96"/>
                  </a:lnTo>
                  <a:lnTo>
                    <a:pt x="54" y="96"/>
                  </a:lnTo>
                  <a:lnTo>
                    <a:pt x="56" y="92"/>
                  </a:lnTo>
                  <a:lnTo>
                    <a:pt x="60" y="90"/>
                  </a:lnTo>
                  <a:lnTo>
                    <a:pt x="70" y="92"/>
                  </a:lnTo>
                  <a:lnTo>
                    <a:pt x="80" y="92"/>
                  </a:lnTo>
                  <a:lnTo>
                    <a:pt x="82" y="92"/>
                  </a:lnTo>
                  <a:lnTo>
                    <a:pt x="84" y="88"/>
                  </a:lnTo>
                  <a:lnTo>
                    <a:pt x="84" y="88"/>
                  </a:lnTo>
                  <a:lnTo>
                    <a:pt x="86" y="82"/>
                  </a:lnTo>
                  <a:lnTo>
                    <a:pt x="88" y="78"/>
                  </a:lnTo>
                  <a:lnTo>
                    <a:pt x="94" y="72"/>
                  </a:lnTo>
                  <a:lnTo>
                    <a:pt x="94" y="72"/>
                  </a:lnTo>
                  <a:lnTo>
                    <a:pt x="96" y="70"/>
                  </a:lnTo>
                  <a:lnTo>
                    <a:pt x="96" y="74"/>
                  </a:lnTo>
                  <a:lnTo>
                    <a:pt x="98" y="74"/>
                  </a:lnTo>
                  <a:lnTo>
                    <a:pt x="98" y="74"/>
                  </a:lnTo>
                  <a:lnTo>
                    <a:pt x="104" y="68"/>
                  </a:lnTo>
                  <a:lnTo>
                    <a:pt x="104" y="68"/>
                  </a:lnTo>
                  <a:lnTo>
                    <a:pt x="110" y="60"/>
                  </a:lnTo>
                  <a:lnTo>
                    <a:pt x="110" y="54"/>
                  </a:lnTo>
                  <a:lnTo>
                    <a:pt x="110" y="54"/>
                  </a:lnTo>
                  <a:lnTo>
                    <a:pt x="114" y="52"/>
                  </a:lnTo>
                  <a:lnTo>
                    <a:pt x="114" y="52"/>
                  </a:lnTo>
                  <a:lnTo>
                    <a:pt x="114" y="52"/>
                  </a:lnTo>
                  <a:lnTo>
                    <a:pt x="116" y="50"/>
                  </a:lnTo>
                  <a:lnTo>
                    <a:pt x="114" y="46"/>
                  </a:lnTo>
                  <a:lnTo>
                    <a:pt x="112" y="42"/>
                  </a:lnTo>
                  <a:lnTo>
                    <a:pt x="112" y="40"/>
                  </a:lnTo>
                  <a:lnTo>
                    <a:pt x="114" y="38"/>
                  </a:lnTo>
                  <a:lnTo>
                    <a:pt x="114" y="38"/>
                  </a:lnTo>
                  <a:lnTo>
                    <a:pt x="116" y="36"/>
                  </a:lnTo>
                  <a:lnTo>
                    <a:pt x="118" y="36"/>
                  </a:lnTo>
                  <a:lnTo>
                    <a:pt x="120" y="40"/>
                  </a:lnTo>
                  <a:lnTo>
                    <a:pt x="122" y="40"/>
                  </a:lnTo>
                  <a:lnTo>
                    <a:pt x="124" y="38"/>
                  </a:lnTo>
                  <a:lnTo>
                    <a:pt x="124" y="38"/>
                  </a:lnTo>
                  <a:lnTo>
                    <a:pt x="128" y="30"/>
                  </a:lnTo>
                  <a:lnTo>
                    <a:pt x="132" y="26"/>
                  </a:lnTo>
                  <a:lnTo>
                    <a:pt x="136" y="20"/>
                  </a:lnTo>
                  <a:lnTo>
                    <a:pt x="136" y="18"/>
                  </a:lnTo>
                  <a:lnTo>
                    <a:pt x="136" y="18"/>
                  </a:lnTo>
                  <a:lnTo>
                    <a:pt x="134" y="12"/>
                  </a:lnTo>
                  <a:lnTo>
                    <a:pt x="136" y="10"/>
                  </a:lnTo>
                  <a:lnTo>
                    <a:pt x="140" y="6"/>
                  </a:lnTo>
                  <a:lnTo>
                    <a:pt x="140" y="6"/>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7" name="Freeform 143"/>
            <p:cNvSpPr>
              <a:spLocks/>
            </p:cNvSpPr>
            <p:nvPr/>
          </p:nvSpPr>
          <p:spPr bwMode="auto">
            <a:xfrm>
              <a:off x="6364518" y="3279510"/>
              <a:ext cx="68792" cy="124354"/>
            </a:xfrm>
            <a:custGeom>
              <a:avLst/>
              <a:gdLst/>
              <a:ahLst/>
              <a:cxnLst>
                <a:cxn ang="0">
                  <a:pos x="2" y="2"/>
                </a:cxn>
                <a:cxn ang="0">
                  <a:pos x="12" y="2"/>
                </a:cxn>
                <a:cxn ang="0">
                  <a:pos x="14" y="2"/>
                </a:cxn>
                <a:cxn ang="0">
                  <a:pos x="16" y="6"/>
                </a:cxn>
                <a:cxn ang="0">
                  <a:pos x="28" y="18"/>
                </a:cxn>
                <a:cxn ang="0">
                  <a:pos x="38" y="34"/>
                </a:cxn>
                <a:cxn ang="0">
                  <a:pos x="46" y="46"/>
                </a:cxn>
                <a:cxn ang="0">
                  <a:pos x="48" y="48"/>
                </a:cxn>
                <a:cxn ang="0">
                  <a:pos x="52" y="66"/>
                </a:cxn>
                <a:cxn ang="0">
                  <a:pos x="48" y="82"/>
                </a:cxn>
                <a:cxn ang="0">
                  <a:pos x="44" y="84"/>
                </a:cxn>
                <a:cxn ang="0">
                  <a:pos x="28" y="94"/>
                </a:cxn>
                <a:cxn ang="0">
                  <a:pos x="22" y="94"/>
                </a:cxn>
                <a:cxn ang="0">
                  <a:pos x="8" y="86"/>
                </a:cxn>
                <a:cxn ang="0">
                  <a:pos x="2" y="76"/>
                </a:cxn>
                <a:cxn ang="0">
                  <a:pos x="2" y="74"/>
                </a:cxn>
                <a:cxn ang="0">
                  <a:pos x="0" y="60"/>
                </a:cxn>
                <a:cxn ang="0">
                  <a:pos x="0" y="46"/>
                </a:cxn>
                <a:cxn ang="0">
                  <a:pos x="0" y="46"/>
                </a:cxn>
                <a:cxn ang="0">
                  <a:pos x="4" y="50"/>
                </a:cxn>
                <a:cxn ang="0">
                  <a:pos x="2" y="46"/>
                </a:cxn>
                <a:cxn ang="0">
                  <a:pos x="4" y="40"/>
                </a:cxn>
                <a:cxn ang="0">
                  <a:pos x="4" y="36"/>
                </a:cxn>
                <a:cxn ang="0">
                  <a:pos x="2" y="30"/>
                </a:cxn>
                <a:cxn ang="0">
                  <a:pos x="4" y="28"/>
                </a:cxn>
                <a:cxn ang="0">
                  <a:pos x="6" y="22"/>
                </a:cxn>
                <a:cxn ang="0">
                  <a:pos x="6" y="18"/>
                </a:cxn>
                <a:cxn ang="0">
                  <a:pos x="8" y="16"/>
                </a:cxn>
                <a:cxn ang="0">
                  <a:pos x="6" y="12"/>
                </a:cxn>
                <a:cxn ang="0">
                  <a:pos x="6" y="10"/>
                </a:cxn>
                <a:cxn ang="0">
                  <a:pos x="8" y="6"/>
                </a:cxn>
                <a:cxn ang="0">
                  <a:pos x="10" y="6"/>
                </a:cxn>
                <a:cxn ang="0">
                  <a:pos x="8" y="4"/>
                </a:cxn>
                <a:cxn ang="0">
                  <a:pos x="4" y="6"/>
                </a:cxn>
                <a:cxn ang="0">
                  <a:pos x="0" y="6"/>
                </a:cxn>
                <a:cxn ang="0">
                  <a:pos x="0" y="4"/>
                </a:cxn>
                <a:cxn ang="0">
                  <a:pos x="2" y="2"/>
                </a:cxn>
              </a:cxnLst>
              <a:rect l="0" t="0" r="r" b="b"/>
              <a:pathLst>
                <a:path w="52" h="94">
                  <a:moveTo>
                    <a:pt x="2" y="2"/>
                  </a:moveTo>
                  <a:lnTo>
                    <a:pt x="2" y="2"/>
                  </a:lnTo>
                  <a:lnTo>
                    <a:pt x="10" y="0"/>
                  </a:lnTo>
                  <a:lnTo>
                    <a:pt x="12" y="2"/>
                  </a:lnTo>
                  <a:lnTo>
                    <a:pt x="14" y="2"/>
                  </a:lnTo>
                  <a:lnTo>
                    <a:pt x="14" y="2"/>
                  </a:lnTo>
                  <a:lnTo>
                    <a:pt x="14" y="4"/>
                  </a:lnTo>
                  <a:lnTo>
                    <a:pt x="16" y="6"/>
                  </a:lnTo>
                  <a:lnTo>
                    <a:pt x="20" y="8"/>
                  </a:lnTo>
                  <a:lnTo>
                    <a:pt x="28" y="18"/>
                  </a:lnTo>
                  <a:lnTo>
                    <a:pt x="28" y="18"/>
                  </a:lnTo>
                  <a:lnTo>
                    <a:pt x="38" y="34"/>
                  </a:lnTo>
                  <a:lnTo>
                    <a:pt x="42" y="40"/>
                  </a:lnTo>
                  <a:lnTo>
                    <a:pt x="46" y="46"/>
                  </a:lnTo>
                  <a:lnTo>
                    <a:pt x="46" y="46"/>
                  </a:lnTo>
                  <a:lnTo>
                    <a:pt x="48" y="48"/>
                  </a:lnTo>
                  <a:lnTo>
                    <a:pt x="50" y="54"/>
                  </a:lnTo>
                  <a:lnTo>
                    <a:pt x="52" y="66"/>
                  </a:lnTo>
                  <a:lnTo>
                    <a:pt x="50" y="78"/>
                  </a:lnTo>
                  <a:lnTo>
                    <a:pt x="48" y="82"/>
                  </a:lnTo>
                  <a:lnTo>
                    <a:pt x="44" y="84"/>
                  </a:lnTo>
                  <a:lnTo>
                    <a:pt x="44" y="84"/>
                  </a:lnTo>
                  <a:lnTo>
                    <a:pt x="32" y="90"/>
                  </a:lnTo>
                  <a:lnTo>
                    <a:pt x="28" y="94"/>
                  </a:lnTo>
                  <a:lnTo>
                    <a:pt x="22" y="94"/>
                  </a:lnTo>
                  <a:lnTo>
                    <a:pt x="22" y="94"/>
                  </a:lnTo>
                  <a:lnTo>
                    <a:pt x="16" y="92"/>
                  </a:lnTo>
                  <a:lnTo>
                    <a:pt x="8" y="86"/>
                  </a:lnTo>
                  <a:lnTo>
                    <a:pt x="4" y="78"/>
                  </a:lnTo>
                  <a:lnTo>
                    <a:pt x="2" y="76"/>
                  </a:lnTo>
                  <a:lnTo>
                    <a:pt x="2" y="74"/>
                  </a:lnTo>
                  <a:lnTo>
                    <a:pt x="2" y="74"/>
                  </a:lnTo>
                  <a:lnTo>
                    <a:pt x="2" y="68"/>
                  </a:lnTo>
                  <a:lnTo>
                    <a:pt x="0" y="60"/>
                  </a:lnTo>
                  <a:lnTo>
                    <a:pt x="0" y="50"/>
                  </a:lnTo>
                  <a:lnTo>
                    <a:pt x="0" y="46"/>
                  </a:lnTo>
                  <a:lnTo>
                    <a:pt x="0" y="46"/>
                  </a:lnTo>
                  <a:lnTo>
                    <a:pt x="0" y="46"/>
                  </a:lnTo>
                  <a:lnTo>
                    <a:pt x="2" y="48"/>
                  </a:lnTo>
                  <a:lnTo>
                    <a:pt x="4" y="50"/>
                  </a:lnTo>
                  <a:lnTo>
                    <a:pt x="4" y="50"/>
                  </a:lnTo>
                  <a:lnTo>
                    <a:pt x="2" y="46"/>
                  </a:lnTo>
                  <a:lnTo>
                    <a:pt x="2" y="42"/>
                  </a:lnTo>
                  <a:lnTo>
                    <a:pt x="4" y="40"/>
                  </a:lnTo>
                  <a:lnTo>
                    <a:pt x="4" y="40"/>
                  </a:lnTo>
                  <a:lnTo>
                    <a:pt x="4" y="36"/>
                  </a:lnTo>
                  <a:lnTo>
                    <a:pt x="4" y="34"/>
                  </a:lnTo>
                  <a:lnTo>
                    <a:pt x="2" y="30"/>
                  </a:lnTo>
                  <a:lnTo>
                    <a:pt x="4" y="28"/>
                  </a:lnTo>
                  <a:lnTo>
                    <a:pt x="4" y="28"/>
                  </a:lnTo>
                  <a:lnTo>
                    <a:pt x="6" y="26"/>
                  </a:lnTo>
                  <a:lnTo>
                    <a:pt x="6" y="22"/>
                  </a:lnTo>
                  <a:lnTo>
                    <a:pt x="6" y="20"/>
                  </a:lnTo>
                  <a:lnTo>
                    <a:pt x="6" y="18"/>
                  </a:lnTo>
                  <a:lnTo>
                    <a:pt x="6" y="18"/>
                  </a:lnTo>
                  <a:lnTo>
                    <a:pt x="8" y="16"/>
                  </a:lnTo>
                  <a:lnTo>
                    <a:pt x="8" y="14"/>
                  </a:lnTo>
                  <a:lnTo>
                    <a:pt x="6" y="12"/>
                  </a:lnTo>
                  <a:lnTo>
                    <a:pt x="6" y="10"/>
                  </a:lnTo>
                  <a:lnTo>
                    <a:pt x="6" y="10"/>
                  </a:lnTo>
                  <a:lnTo>
                    <a:pt x="8" y="8"/>
                  </a:lnTo>
                  <a:lnTo>
                    <a:pt x="8" y="6"/>
                  </a:lnTo>
                  <a:lnTo>
                    <a:pt x="10" y="6"/>
                  </a:lnTo>
                  <a:lnTo>
                    <a:pt x="10" y="6"/>
                  </a:lnTo>
                  <a:lnTo>
                    <a:pt x="12" y="6"/>
                  </a:lnTo>
                  <a:lnTo>
                    <a:pt x="8" y="4"/>
                  </a:lnTo>
                  <a:lnTo>
                    <a:pt x="8" y="4"/>
                  </a:lnTo>
                  <a:lnTo>
                    <a:pt x="4" y="6"/>
                  </a:lnTo>
                  <a:lnTo>
                    <a:pt x="0" y="6"/>
                  </a:lnTo>
                  <a:lnTo>
                    <a:pt x="0" y="6"/>
                  </a:lnTo>
                  <a:lnTo>
                    <a:pt x="0" y="6"/>
                  </a:lnTo>
                  <a:lnTo>
                    <a:pt x="0" y="4"/>
                  </a:lnTo>
                  <a:lnTo>
                    <a:pt x="2" y="2"/>
                  </a:lnTo>
                  <a:lnTo>
                    <a:pt x="2" y="2"/>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8" name="Freeform 149"/>
            <p:cNvSpPr>
              <a:spLocks/>
            </p:cNvSpPr>
            <p:nvPr/>
          </p:nvSpPr>
          <p:spPr bwMode="auto">
            <a:xfrm>
              <a:off x="3798059" y="2435490"/>
              <a:ext cx="322792" cy="251354"/>
            </a:xfrm>
            <a:custGeom>
              <a:avLst/>
              <a:gdLst/>
              <a:ahLst/>
              <a:cxnLst>
                <a:cxn ang="0">
                  <a:pos x="4" y="184"/>
                </a:cxn>
                <a:cxn ang="0">
                  <a:pos x="22" y="178"/>
                </a:cxn>
                <a:cxn ang="0">
                  <a:pos x="40" y="170"/>
                </a:cxn>
                <a:cxn ang="0">
                  <a:pos x="48" y="162"/>
                </a:cxn>
                <a:cxn ang="0">
                  <a:pos x="72" y="140"/>
                </a:cxn>
                <a:cxn ang="0">
                  <a:pos x="76" y="130"/>
                </a:cxn>
                <a:cxn ang="0">
                  <a:pos x="66" y="120"/>
                </a:cxn>
                <a:cxn ang="0">
                  <a:pos x="66" y="110"/>
                </a:cxn>
                <a:cxn ang="0">
                  <a:pos x="84" y="84"/>
                </a:cxn>
                <a:cxn ang="0">
                  <a:pos x="92" y="66"/>
                </a:cxn>
                <a:cxn ang="0">
                  <a:pos x="112" y="56"/>
                </a:cxn>
                <a:cxn ang="0">
                  <a:pos x="136" y="28"/>
                </a:cxn>
                <a:cxn ang="0">
                  <a:pos x="146" y="14"/>
                </a:cxn>
                <a:cxn ang="0">
                  <a:pos x="154" y="6"/>
                </a:cxn>
                <a:cxn ang="0">
                  <a:pos x="164" y="2"/>
                </a:cxn>
                <a:cxn ang="0">
                  <a:pos x="166" y="6"/>
                </a:cxn>
                <a:cxn ang="0">
                  <a:pos x="174" y="8"/>
                </a:cxn>
                <a:cxn ang="0">
                  <a:pos x="188" y="14"/>
                </a:cxn>
                <a:cxn ang="0">
                  <a:pos x="196" y="14"/>
                </a:cxn>
                <a:cxn ang="0">
                  <a:pos x="208" y="10"/>
                </a:cxn>
                <a:cxn ang="0">
                  <a:pos x="208" y="12"/>
                </a:cxn>
                <a:cxn ang="0">
                  <a:pos x="214" y="16"/>
                </a:cxn>
                <a:cxn ang="0">
                  <a:pos x="220" y="18"/>
                </a:cxn>
                <a:cxn ang="0">
                  <a:pos x="224" y="38"/>
                </a:cxn>
                <a:cxn ang="0">
                  <a:pos x="222" y="54"/>
                </a:cxn>
                <a:cxn ang="0">
                  <a:pos x="228" y="64"/>
                </a:cxn>
                <a:cxn ang="0">
                  <a:pos x="242" y="72"/>
                </a:cxn>
                <a:cxn ang="0">
                  <a:pos x="240" y="80"/>
                </a:cxn>
                <a:cxn ang="0">
                  <a:pos x="242" y="86"/>
                </a:cxn>
                <a:cxn ang="0">
                  <a:pos x="224" y="86"/>
                </a:cxn>
                <a:cxn ang="0">
                  <a:pos x="202" y="90"/>
                </a:cxn>
                <a:cxn ang="0">
                  <a:pos x="188" y="96"/>
                </a:cxn>
                <a:cxn ang="0">
                  <a:pos x="188" y="108"/>
                </a:cxn>
                <a:cxn ang="0">
                  <a:pos x="190" y="110"/>
                </a:cxn>
                <a:cxn ang="0">
                  <a:pos x="158" y="126"/>
                </a:cxn>
                <a:cxn ang="0">
                  <a:pos x="142" y="142"/>
                </a:cxn>
                <a:cxn ang="0">
                  <a:pos x="126" y="146"/>
                </a:cxn>
                <a:cxn ang="0">
                  <a:pos x="122" y="142"/>
                </a:cxn>
                <a:cxn ang="0">
                  <a:pos x="110" y="156"/>
                </a:cxn>
                <a:cxn ang="0">
                  <a:pos x="104" y="152"/>
                </a:cxn>
                <a:cxn ang="0">
                  <a:pos x="96" y="156"/>
                </a:cxn>
                <a:cxn ang="0">
                  <a:pos x="92" y="162"/>
                </a:cxn>
                <a:cxn ang="0">
                  <a:pos x="82" y="174"/>
                </a:cxn>
                <a:cxn ang="0">
                  <a:pos x="0" y="190"/>
                </a:cxn>
              </a:cxnLst>
              <a:rect l="0" t="0" r="r" b="b"/>
              <a:pathLst>
                <a:path w="244" h="190">
                  <a:moveTo>
                    <a:pt x="0" y="190"/>
                  </a:moveTo>
                  <a:lnTo>
                    <a:pt x="0" y="190"/>
                  </a:lnTo>
                  <a:lnTo>
                    <a:pt x="4" y="184"/>
                  </a:lnTo>
                  <a:lnTo>
                    <a:pt x="10" y="180"/>
                  </a:lnTo>
                  <a:lnTo>
                    <a:pt x="16" y="180"/>
                  </a:lnTo>
                  <a:lnTo>
                    <a:pt x="22" y="178"/>
                  </a:lnTo>
                  <a:lnTo>
                    <a:pt x="32" y="176"/>
                  </a:lnTo>
                  <a:lnTo>
                    <a:pt x="36" y="174"/>
                  </a:lnTo>
                  <a:lnTo>
                    <a:pt x="40" y="170"/>
                  </a:lnTo>
                  <a:lnTo>
                    <a:pt x="40" y="170"/>
                  </a:lnTo>
                  <a:lnTo>
                    <a:pt x="42" y="166"/>
                  </a:lnTo>
                  <a:lnTo>
                    <a:pt x="48" y="162"/>
                  </a:lnTo>
                  <a:lnTo>
                    <a:pt x="58" y="154"/>
                  </a:lnTo>
                  <a:lnTo>
                    <a:pt x="68" y="146"/>
                  </a:lnTo>
                  <a:lnTo>
                    <a:pt x="72" y="140"/>
                  </a:lnTo>
                  <a:lnTo>
                    <a:pt x="76" y="134"/>
                  </a:lnTo>
                  <a:lnTo>
                    <a:pt x="76" y="134"/>
                  </a:lnTo>
                  <a:lnTo>
                    <a:pt x="76" y="130"/>
                  </a:lnTo>
                  <a:lnTo>
                    <a:pt x="74" y="128"/>
                  </a:lnTo>
                  <a:lnTo>
                    <a:pt x="70" y="124"/>
                  </a:lnTo>
                  <a:lnTo>
                    <a:pt x="66" y="120"/>
                  </a:lnTo>
                  <a:lnTo>
                    <a:pt x="66" y="116"/>
                  </a:lnTo>
                  <a:lnTo>
                    <a:pt x="66" y="110"/>
                  </a:lnTo>
                  <a:lnTo>
                    <a:pt x="66" y="110"/>
                  </a:lnTo>
                  <a:lnTo>
                    <a:pt x="74" y="96"/>
                  </a:lnTo>
                  <a:lnTo>
                    <a:pt x="80" y="90"/>
                  </a:lnTo>
                  <a:lnTo>
                    <a:pt x="84" y="84"/>
                  </a:lnTo>
                  <a:lnTo>
                    <a:pt x="88" y="70"/>
                  </a:lnTo>
                  <a:lnTo>
                    <a:pt x="88" y="70"/>
                  </a:lnTo>
                  <a:lnTo>
                    <a:pt x="92" y="66"/>
                  </a:lnTo>
                  <a:lnTo>
                    <a:pt x="94" y="62"/>
                  </a:lnTo>
                  <a:lnTo>
                    <a:pt x="106" y="58"/>
                  </a:lnTo>
                  <a:lnTo>
                    <a:pt x="112" y="56"/>
                  </a:lnTo>
                  <a:lnTo>
                    <a:pt x="120" y="50"/>
                  </a:lnTo>
                  <a:lnTo>
                    <a:pt x="128" y="42"/>
                  </a:lnTo>
                  <a:lnTo>
                    <a:pt x="136" y="28"/>
                  </a:lnTo>
                  <a:lnTo>
                    <a:pt x="136" y="28"/>
                  </a:lnTo>
                  <a:lnTo>
                    <a:pt x="142" y="18"/>
                  </a:lnTo>
                  <a:lnTo>
                    <a:pt x="146" y="14"/>
                  </a:lnTo>
                  <a:lnTo>
                    <a:pt x="150" y="10"/>
                  </a:lnTo>
                  <a:lnTo>
                    <a:pt x="154" y="6"/>
                  </a:lnTo>
                  <a:lnTo>
                    <a:pt x="154" y="6"/>
                  </a:lnTo>
                  <a:lnTo>
                    <a:pt x="158" y="0"/>
                  </a:lnTo>
                  <a:lnTo>
                    <a:pt x="162" y="0"/>
                  </a:lnTo>
                  <a:lnTo>
                    <a:pt x="164" y="2"/>
                  </a:lnTo>
                  <a:lnTo>
                    <a:pt x="164" y="4"/>
                  </a:lnTo>
                  <a:lnTo>
                    <a:pt x="164" y="4"/>
                  </a:lnTo>
                  <a:lnTo>
                    <a:pt x="166" y="6"/>
                  </a:lnTo>
                  <a:lnTo>
                    <a:pt x="170" y="8"/>
                  </a:lnTo>
                  <a:lnTo>
                    <a:pt x="174" y="8"/>
                  </a:lnTo>
                  <a:lnTo>
                    <a:pt x="174" y="8"/>
                  </a:lnTo>
                  <a:lnTo>
                    <a:pt x="178" y="10"/>
                  </a:lnTo>
                  <a:lnTo>
                    <a:pt x="182" y="12"/>
                  </a:lnTo>
                  <a:lnTo>
                    <a:pt x="188" y="14"/>
                  </a:lnTo>
                  <a:lnTo>
                    <a:pt x="194" y="14"/>
                  </a:lnTo>
                  <a:lnTo>
                    <a:pt x="194" y="14"/>
                  </a:lnTo>
                  <a:lnTo>
                    <a:pt x="196" y="14"/>
                  </a:lnTo>
                  <a:lnTo>
                    <a:pt x="198" y="16"/>
                  </a:lnTo>
                  <a:lnTo>
                    <a:pt x="202" y="16"/>
                  </a:lnTo>
                  <a:lnTo>
                    <a:pt x="208" y="10"/>
                  </a:lnTo>
                  <a:lnTo>
                    <a:pt x="208" y="10"/>
                  </a:lnTo>
                  <a:lnTo>
                    <a:pt x="208" y="8"/>
                  </a:lnTo>
                  <a:lnTo>
                    <a:pt x="208" y="12"/>
                  </a:lnTo>
                  <a:lnTo>
                    <a:pt x="208" y="14"/>
                  </a:lnTo>
                  <a:lnTo>
                    <a:pt x="210" y="16"/>
                  </a:lnTo>
                  <a:lnTo>
                    <a:pt x="214" y="16"/>
                  </a:lnTo>
                  <a:lnTo>
                    <a:pt x="214" y="16"/>
                  </a:lnTo>
                  <a:lnTo>
                    <a:pt x="220" y="18"/>
                  </a:lnTo>
                  <a:lnTo>
                    <a:pt x="220" y="18"/>
                  </a:lnTo>
                  <a:lnTo>
                    <a:pt x="222" y="22"/>
                  </a:lnTo>
                  <a:lnTo>
                    <a:pt x="222" y="26"/>
                  </a:lnTo>
                  <a:lnTo>
                    <a:pt x="224" y="38"/>
                  </a:lnTo>
                  <a:lnTo>
                    <a:pt x="224" y="38"/>
                  </a:lnTo>
                  <a:lnTo>
                    <a:pt x="222" y="46"/>
                  </a:lnTo>
                  <a:lnTo>
                    <a:pt x="222" y="54"/>
                  </a:lnTo>
                  <a:lnTo>
                    <a:pt x="222" y="58"/>
                  </a:lnTo>
                  <a:lnTo>
                    <a:pt x="224" y="62"/>
                  </a:lnTo>
                  <a:lnTo>
                    <a:pt x="228" y="64"/>
                  </a:lnTo>
                  <a:lnTo>
                    <a:pt x="234" y="68"/>
                  </a:lnTo>
                  <a:lnTo>
                    <a:pt x="234" y="68"/>
                  </a:lnTo>
                  <a:lnTo>
                    <a:pt x="242" y="72"/>
                  </a:lnTo>
                  <a:lnTo>
                    <a:pt x="244" y="76"/>
                  </a:lnTo>
                  <a:lnTo>
                    <a:pt x="242" y="78"/>
                  </a:lnTo>
                  <a:lnTo>
                    <a:pt x="240" y="80"/>
                  </a:lnTo>
                  <a:lnTo>
                    <a:pt x="240" y="80"/>
                  </a:lnTo>
                  <a:lnTo>
                    <a:pt x="240" y="84"/>
                  </a:lnTo>
                  <a:lnTo>
                    <a:pt x="242" y="86"/>
                  </a:lnTo>
                  <a:lnTo>
                    <a:pt x="238" y="88"/>
                  </a:lnTo>
                  <a:lnTo>
                    <a:pt x="224" y="86"/>
                  </a:lnTo>
                  <a:lnTo>
                    <a:pt x="224" y="86"/>
                  </a:lnTo>
                  <a:lnTo>
                    <a:pt x="214" y="86"/>
                  </a:lnTo>
                  <a:lnTo>
                    <a:pt x="206" y="88"/>
                  </a:lnTo>
                  <a:lnTo>
                    <a:pt x="202" y="90"/>
                  </a:lnTo>
                  <a:lnTo>
                    <a:pt x="194" y="92"/>
                  </a:lnTo>
                  <a:lnTo>
                    <a:pt x="194" y="92"/>
                  </a:lnTo>
                  <a:lnTo>
                    <a:pt x="188" y="96"/>
                  </a:lnTo>
                  <a:lnTo>
                    <a:pt x="184" y="100"/>
                  </a:lnTo>
                  <a:lnTo>
                    <a:pt x="184" y="104"/>
                  </a:lnTo>
                  <a:lnTo>
                    <a:pt x="188" y="108"/>
                  </a:lnTo>
                  <a:lnTo>
                    <a:pt x="188" y="108"/>
                  </a:lnTo>
                  <a:lnTo>
                    <a:pt x="192" y="108"/>
                  </a:lnTo>
                  <a:lnTo>
                    <a:pt x="190" y="110"/>
                  </a:lnTo>
                  <a:lnTo>
                    <a:pt x="174" y="118"/>
                  </a:lnTo>
                  <a:lnTo>
                    <a:pt x="174" y="118"/>
                  </a:lnTo>
                  <a:lnTo>
                    <a:pt x="158" y="126"/>
                  </a:lnTo>
                  <a:lnTo>
                    <a:pt x="150" y="134"/>
                  </a:lnTo>
                  <a:lnTo>
                    <a:pt x="150" y="134"/>
                  </a:lnTo>
                  <a:lnTo>
                    <a:pt x="142" y="142"/>
                  </a:lnTo>
                  <a:lnTo>
                    <a:pt x="134" y="146"/>
                  </a:lnTo>
                  <a:lnTo>
                    <a:pt x="134" y="146"/>
                  </a:lnTo>
                  <a:lnTo>
                    <a:pt x="126" y="146"/>
                  </a:lnTo>
                  <a:lnTo>
                    <a:pt x="124" y="144"/>
                  </a:lnTo>
                  <a:lnTo>
                    <a:pt x="124" y="144"/>
                  </a:lnTo>
                  <a:lnTo>
                    <a:pt x="122" y="142"/>
                  </a:lnTo>
                  <a:lnTo>
                    <a:pt x="118" y="144"/>
                  </a:lnTo>
                  <a:lnTo>
                    <a:pt x="114" y="150"/>
                  </a:lnTo>
                  <a:lnTo>
                    <a:pt x="110" y="156"/>
                  </a:lnTo>
                  <a:lnTo>
                    <a:pt x="108" y="156"/>
                  </a:lnTo>
                  <a:lnTo>
                    <a:pt x="104" y="152"/>
                  </a:lnTo>
                  <a:lnTo>
                    <a:pt x="104" y="152"/>
                  </a:lnTo>
                  <a:lnTo>
                    <a:pt x="102" y="152"/>
                  </a:lnTo>
                  <a:lnTo>
                    <a:pt x="100" y="152"/>
                  </a:lnTo>
                  <a:lnTo>
                    <a:pt x="96" y="156"/>
                  </a:lnTo>
                  <a:lnTo>
                    <a:pt x="94" y="158"/>
                  </a:lnTo>
                  <a:lnTo>
                    <a:pt x="94" y="158"/>
                  </a:lnTo>
                  <a:lnTo>
                    <a:pt x="92" y="162"/>
                  </a:lnTo>
                  <a:lnTo>
                    <a:pt x="88" y="166"/>
                  </a:lnTo>
                  <a:lnTo>
                    <a:pt x="84" y="168"/>
                  </a:lnTo>
                  <a:lnTo>
                    <a:pt x="82" y="174"/>
                  </a:lnTo>
                  <a:lnTo>
                    <a:pt x="82" y="190"/>
                  </a:lnTo>
                  <a:lnTo>
                    <a:pt x="0" y="190"/>
                  </a:lnTo>
                  <a:lnTo>
                    <a:pt x="0" y="19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9" name="Freeform 150"/>
            <p:cNvSpPr>
              <a:spLocks/>
            </p:cNvSpPr>
            <p:nvPr/>
          </p:nvSpPr>
          <p:spPr bwMode="auto">
            <a:xfrm>
              <a:off x="3906538" y="2393156"/>
              <a:ext cx="552979" cy="592667"/>
            </a:xfrm>
            <a:custGeom>
              <a:avLst/>
              <a:gdLst/>
              <a:ahLst/>
              <a:cxnLst>
                <a:cxn ang="0">
                  <a:pos x="292" y="432"/>
                </a:cxn>
                <a:cxn ang="0">
                  <a:pos x="316" y="408"/>
                </a:cxn>
                <a:cxn ang="0">
                  <a:pos x="418" y="302"/>
                </a:cxn>
                <a:cxn ang="0">
                  <a:pos x="394" y="286"/>
                </a:cxn>
                <a:cxn ang="0">
                  <a:pos x="378" y="278"/>
                </a:cxn>
                <a:cxn ang="0">
                  <a:pos x="374" y="268"/>
                </a:cxn>
                <a:cxn ang="0">
                  <a:pos x="360" y="256"/>
                </a:cxn>
                <a:cxn ang="0">
                  <a:pos x="372" y="244"/>
                </a:cxn>
                <a:cxn ang="0">
                  <a:pos x="372" y="232"/>
                </a:cxn>
                <a:cxn ang="0">
                  <a:pos x="374" y="224"/>
                </a:cxn>
                <a:cxn ang="0">
                  <a:pos x="362" y="192"/>
                </a:cxn>
                <a:cxn ang="0">
                  <a:pos x="354" y="168"/>
                </a:cxn>
                <a:cxn ang="0">
                  <a:pos x="348" y="128"/>
                </a:cxn>
                <a:cxn ang="0">
                  <a:pos x="336" y="116"/>
                </a:cxn>
                <a:cxn ang="0">
                  <a:pos x="324" y="94"/>
                </a:cxn>
                <a:cxn ang="0">
                  <a:pos x="320" y="70"/>
                </a:cxn>
                <a:cxn ang="0">
                  <a:pos x="330" y="60"/>
                </a:cxn>
                <a:cxn ang="0">
                  <a:pos x="334" y="48"/>
                </a:cxn>
                <a:cxn ang="0">
                  <a:pos x="332" y="34"/>
                </a:cxn>
                <a:cxn ang="0">
                  <a:pos x="330" y="18"/>
                </a:cxn>
                <a:cxn ang="0">
                  <a:pos x="338" y="6"/>
                </a:cxn>
                <a:cxn ang="0">
                  <a:pos x="326" y="2"/>
                </a:cxn>
                <a:cxn ang="0">
                  <a:pos x="314" y="4"/>
                </a:cxn>
                <a:cxn ang="0">
                  <a:pos x="306" y="6"/>
                </a:cxn>
                <a:cxn ang="0">
                  <a:pos x="290" y="10"/>
                </a:cxn>
                <a:cxn ang="0">
                  <a:pos x="276" y="6"/>
                </a:cxn>
                <a:cxn ang="0">
                  <a:pos x="256" y="8"/>
                </a:cxn>
                <a:cxn ang="0">
                  <a:pos x="242" y="12"/>
                </a:cxn>
                <a:cxn ang="0">
                  <a:pos x="214" y="16"/>
                </a:cxn>
                <a:cxn ang="0">
                  <a:pos x="192" y="28"/>
                </a:cxn>
                <a:cxn ang="0">
                  <a:pos x="176" y="38"/>
                </a:cxn>
                <a:cxn ang="0">
                  <a:pos x="166" y="34"/>
                </a:cxn>
                <a:cxn ang="0">
                  <a:pos x="152" y="44"/>
                </a:cxn>
                <a:cxn ang="0">
                  <a:pos x="142" y="48"/>
                </a:cxn>
                <a:cxn ang="0">
                  <a:pos x="140" y="58"/>
                </a:cxn>
                <a:cxn ang="0">
                  <a:pos x="140" y="90"/>
                </a:cxn>
                <a:cxn ang="0">
                  <a:pos x="160" y="104"/>
                </a:cxn>
                <a:cxn ang="0">
                  <a:pos x="158" y="116"/>
                </a:cxn>
                <a:cxn ang="0">
                  <a:pos x="132" y="118"/>
                </a:cxn>
                <a:cxn ang="0">
                  <a:pos x="106" y="128"/>
                </a:cxn>
                <a:cxn ang="0">
                  <a:pos x="110" y="140"/>
                </a:cxn>
                <a:cxn ang="0">
                  <a:pos x="68" y="166"/>
                </a:cxn>
                <a:cxn ang="0">
                  <a:pos x="44" y="178"/>
                </a:cxn>
                <a:cxn ang="0">
                  <a:pos x="32" y="182"/>
                </a:cxn>
                <a:cxn ang="0">
                  <a:pos x="20" y="184"/>
                </a:cxn>
                <a:cxn ang="0">
                  <a:pos x="10" y="194"/>
                </a:cxn>
                <a:cxn ang="0">
                  <a:pos x="0" y="234"/>
                </a:cxn>
                <a:cxn ang="0">
                  <a:pos x="224" y="408"/>
                </a:cxn>
                <a:cxn ang="0">
                  <a:pos x="232" y="412"/>
                </a:cxn>
                <a:cxn ang="0">
                  <a:pos x="236" y="416"/>
                </a:cxn>
                <a:cxn ang="0">
                  <a:pos x="244" y="424"/>
                </a:cxn>
                <a:cxn ang="0">
                  <a:pos x="246" y="436"/>
                </a:cxn>
                <a:cxn ang="0">
                  <a:pos x="248" y="446"/>
                </a:cxn>
              </a:cxnLst>
              <a:rect l="0" t="0" r="r" b="b"/>
              <a:pathLst>
                <a:path w="418" h="448">
                  <a:moveTo>
                    <a:pt x="266" y="440"/>
                  </a:moveTo>
                  <a:lnTo>
                    <a:pt x="266" y="440"/>
                  </a:lnTo>
                  <a:lnTo>
                    <a:pt x="288" y="432"/>
                  </a:lnTo>
                  <a:lnTo>
                    <a:pt x="288" y="432"/>
                  </a:lnTo>
                  <a:lnTo>
                    <a:pt x="292" y="432"/>
                  </a:lnTo>
                  <a:lnTo>
                    <a:pt x="294" y="430"/>
                  </a:lnTo>
                  <a:lnTo>
                    <a:pt x="304" y="420"/>
                  </a:lnTo>
                  <a:lnTo>
                    <a:pt x="304" y="420"/>
                  </a:lnTo>
                  <a:lnTo>
                    <a:pt x="312" y="412"/>
                  </a:lnTo>
                  <a:lnTo>
                    <a:pt x="316" y="408"/>
                  </a:lnTo>
                  <a:lnTo>
                    <a:pt x="322" y="404"/>
                  </a:lnTo>
                  <a:lnTo>
                    <a:pt x="330" y="396"/>
                  </a:lnTo>
                  <a:lnTo>
                    <a:pt x="330" y="396"/>
                  </a:lnTo>
                  <a:lnTo>
                    <a:pt x="382" y="340"/>
                  </a:lnTo>
                  <a:lnTo>
                    <a:pt x="418" y="302"/>
                  </a:lnTo>
                  <a:lnTo>
                    <a:pt x="418" y="302"/>
                  </a:lnTo>
                  <a:lnTo>
                    <a:pt x="414" y="300"/>
                  </a:lnTo>
                  <a:lnTo>
                    <a:pt x="400" y="290"/>
                  </a:lnTo>
                  <a:lnTo>
                    <a:pt x="400" y="290"/>
                  </a:lnTo>
                  <a:lnTo>
                    <a:pt x="394" y="286"/>
                  </a:lnTo>
                  <a:lnTo>
                    <a:pt x="390" y="286"/>
                  </a:lnTo>
                  <a:lnTo>
                    <a:pt x="386" y="286"/>
                  </a:lnTo>
                  <a:lnTo>
                    <a:pt x="382" y="282"/>
                  </a:lnTo>
                  <a:lnTo>
                    <a:pt x="382" y="282"/>
                  </a:lnTo>
                  <a:lnTo>
                    <a:pt x="378" y="278"/>
                  </a:lnTo>
                  <a:lnTo>
                    <a:pt x="376" y="276"/>
                  </a:lnTo>
                  <a:lnTo>
                    <a:pt x="374" y="276"/>
                  </a:lnTo>
                  <a:lnTo>
                    <a:pt x="374" y="272"/>
                  </a:lnTo>
                  <a:lnTo>
                    <a:pt x="374" y="272"/>
                  </a:lnTo>
                  <a:lnTo>
                    <a:pt x="374" y="268"/>
                  </a:lnTo>
                  <a:lnTo>
                    <a:pt x="372" y="266"/>
                  </a:lnTo>
                  <a:lnTo>
                    <a:pt x="368" y="264"/>
                  </a:lnTo>
                  <a:lnTo>
                    <a:pt x="360" y="258"/>
                  </a:lnTo>
                  <a:lnTo>
                    <a:pt x="360" y="258"/>
                  </a:lnTo>
                  <a:lnTo>
                    <a:pt x="360" y="256"/>
                  </a:lnTo>
                  <a:lnTo>
                    <a:pt x="360" y="254"/>
                  </a:lnTo>
                  <a:lnTo>
                    <a:pt x="362" y="252"/>
                  </a:lnTo>
                  <a:lnTo>
                    <a:pt x="368" y="250"/>
                  </a:lnTo>
                  <a:lnTo>
                    <a:pt x="370" y="248"/>
                  </a:lnTo>
                  <a:lnTo>
                    <a:pt x="372" y="244"/>
                  </a:lnTo>
                  <a:lnTo>
                    <a:pt x="372" y="244"/>
                  </a:lnTo>
                  <a:lnTo>
                    <a:pt x="374" y="240"/>
                  </a:lnTo>
                  <a:lnTo>
                    <a:pt x="376" y="238"/>
                  </a:lnTo>
                  <a:lnTo>
                    <a:pt x="376" y="236"/>
                  </a:lnTo>
                  <a:lnTo>
                    <a:pt x="372" y="232"/>
                  </a:lnTo>
                  <a:lnTo>
                    <a:pt x="372" y="232"/>
                  </a:lnTo>
                  <a:lnTo>
                    <a:pt x="370" y="228"/>
                  </a:lnTo>
                  <a:lnTo>
                    <a:pt x="372" y="226"/>
                  </a:lnTo>
                  <a:lnTo>
                    <a:pt x="372" y="226"/>
                  </a:lnTo>
                  <a:lnTo>
                    <a:pt x="374" y="224"/>
                  </a:lnTo>
                  <a:lnTo>
                    <a:pt x="376" y="220"/>
                  </a:lnTo>
                  <a:lnTo>
                    <a:pt x="374" y="214"/>
                  </a:lnTo>
                  <a:lnTo>
                    <a:pt x="368" y="202"/>
                  </a:lnTo>
                  <a:lnTo>
                    <a:pt x="368" y="202"/>
                  </a:lnTo>
                  <a:lnTo>
                    <a:pt x="362" y="192"/>
                  </a:lnTo>
                  <a:lnTo>
                    <a:pt x="360" y="184"/>
                  </a:lnTo>
                  <a:lnTo>
                    <a:pt x="360" y="178"/>
                  </a:lnTo>
                  <a:lnTo>
                    <a:pt x="358" y="172"/>
                  </a:lnTo>
                  <a:lnTo>
                    <a:pt x="358" y="172"/>
                  </a:lnTo>
                  <a:lnTo>
                    <a:pt x="354" y="168"/>
                  </a:lnTo>
                  <a:lnTo>
                    <a:pt x="354" y="166"/>
                  </a:lnTo>
                  <a:lnTo>
                    <a:pt x="356" y="166"/>
                  </a:lnTo>
                  <a:lnTo>
                    <a:pt x="356" y="166"/>
                  </a:lnTo>
                  <a:lnTo>
                    <a:pt x="350" y="138"/>
                  </a:lnTo>
                  <a:lnTo>
                    <a:pt x="348" y="128"/>
                  </a:lnTo>
                  <a:lnTo>
                    <a:pt x="346" y="124"/>
                  </a:lnTo>
                  <a:lnTo>
                    <a:pt x="342" y="122"/>
                  </a:lnTo>
                  <a:lnTo>
                    <a:pt x="342" y="122"/>
                  </a:lnTo>
                  <a:lnTo>
                    <a:pt x="338" y="120"/>
                  </a:lnTo>
                  <a:lnTo>
                    <a:pt x="336" y="116"/>
                  </a:lnTo>
                  <a:lnTo>
                    <a:pt x="332" y="108"/>
                  </a:lnTo>
                  <a:lnTo>
                    <a:pt x="330" y="102"/>
                  </a:lnTo>
                  <a:lnTo>
                    <a:pt x="328" y="98"/>
                  </a:lnTo>
                  <a:lnTo>
                    <a:pt x="324" y="94"/>
                  </a:lnTo>
                  <a:lnTo>
                    <a:pt x="324" y="94"/>
                  </a:lnTo>
                  <a:lnTo>
                    <a:pt x="320" y="92"/>
                  </a:lnTo>
                  <a:lnTo>
                    <a:pt x="318" y="88"/>
                  </a:lnTo>
                  <a:lnTo>
                    <a:pt x="316" y="80"/>
                  </a:lnTo>
                  <a:lnTo>
                    <a:pt x="316" y="74"/>
                  </a:lnTo>
                  <a:lnTo>
                    <a:pt x="320" y="70"/>
                  </a:lnTo>
                  <a:lnTo>
                    <a:pt x="320" y="70"/>
                  </a:lnTo>
                  <a:lnTo>
                    <a:pt x="324" y="68"/>
                  </a:lnTo>
                  <a:lnTo>
                    <a:pt x="326" y="66"/>
                  </a:lnTo>
                  <a:lnTo>
                    <a:pt x="326" y="62"/>
                  </a:lnTo>
                  <a:lnTo>
                    <a:pt x="330" y="60"/>
                  </a:lnTo>
                  <a:lnTo>
                    <a:pt x="330" y="60"/>
                  </a:lnTo>
                  <a:lnTo>
                    <a:pt x="334" y="58"/>
                  </a:lnTo>
                  <a:lnTo>
                    <a:pt x="334" y="56"/>
                  </a:lnTo>
                  <a:lnTo>
                    <a:pt x="334" y="52"/>
                  </a:lnTo>
                  <a:lnTo>
                    <a:pt x="334" y="48"/>
                  </a:lnTo>
                  <a:lnTo>
                    <a:pt x="334" y="48"/>
                  </a:lnTo>
                  <a:lnTo>
                    <a:pt x="336" y="46"/>
                  </a:lnTo>
                  <a:lnTo>
                    <a:pt x="334" y="44"/>
                  </a:lnTo>
                  <a:lnTo>
                    <a:pt x="334" y="40"/>
                  </a:lnTo>
                  <a:lnTo>
                    <a:pt x="332" y="34"/>
                  </a:lnTo>
                  <a:lnTo>
                    <a:pt x="332" y="34"/>
                  </a:lnTo>
                  <a:lnTo>
                    <a:pt x="332" y="22"/>
                  </a:lnTo>
                  <a:lnTo>
                    <a:pt x="332" y="20"/>
                  </a:lnTo>
                  <a:lnTo>
                    <a:pt x="330" y="18"/>
                  </a:lnTo>
                  <a:lnTo>
                    <a:pt x="330" y="18"/>
                  </a:lnTo>
                  <a:lnTo>
                    <a:pt x="328" y="18"/>
                  </a:lnTo>
                  <a:lnTo>
                    <a:pt x="330" y="16"/>
                  </a:lnTo>
                  <a:lnTo>
                    <a:pt x="334" y="12"/>
                  </a:lnTo>
                  <a:lnTo>
                    <a:pt x="338" y="6"/>
                  </a:lnTo>
                  <a:lnTo>
                    <a:pt x="338" y="6"/>
                  </a:lnTo>
                  <a:lnTo>
                    <a:pt x="330" y="4"/>
                  </a:lnTo>
                  <a:lnTo>
                    <a:pt x="328" y="4"/>
                  </a:lnTo>
                  <a:lnTo>
                    <a:pt x="328" y="4"/>
                  </a:lnTo>
                  <a:lnTo>
                    <a:pt x="326" y="2"/>
                  </a:lnTo>
                  <a:lnTo>
                    <a:pt x="326" y="2"/>
                  </a:lnTo>
                  <a:lnTo>
                    <a:pt x="318" y="0"/>
                  </a:lnTo>
                  <a:lnTo>
                    <a:pt x="320" y="2"/>
                  </a:lnTo>
                  <a:lnTo>
                    <a:pt x="318" y="4"/>
                  </a:lnTo>
                  <a:lnTo>
                    <a:pt x="318" y="4"/>
                  </a:lnTo>
                  <a:lnTo>
                    <a:pt x="314" y="4"/>
                  </a:lnTo>
                  <a:lnTo>
                    <a:pt x="312" y="2"/>
                  </a:lnTo>
                  <a:lnTo>
                    <a:pt x="310" y="0"/>
                  </a:lnTo>
                  <a:lnTo>
                    <a:pt x="308" y="4"/>
                  </a:lnTo>
                  <a:lnTo>
                    <a:pt x="308" y="4"/>
                  </a:lnTo>
                  <a:lnTo>
                    <a:pt x="306" y="6"/>
                  </a:lnTo>
                  <a:lnTo>
                    <a:pt x="302" y="6"/>
                  </a:lnTo>
                  <a:lnTo>
                    <a:pt x="298" y="6"/>
                  </a:lnTo>
                  <a:lnTo>
                    <a:pt x="294" y="8"/>
                  </a:lnTo>
                  <a:lnTo>
                    <a:pt x="294" y="8"/>
                  </a:lnTo>
                  <a:lnTo>
                    <a:pt x="290" y="10"/>
                  </a:lnTo>
                  <a:lnTo>
                    <a:pt x="290" y="8"/>
                  </a:lnTo>
                  <a:lnTo>
                    <a:pt x="288" y="6"/>
                  </a:lnTo>
                  <a:lnTo>
                    <a:pt x="284" y="6"/>
                  </a:lnTo>
                  <a:lnTo>
                    <a:pt x="284" y="6"/>
                  </a:lnTo>
                  <a:lnTo>
                    <a:pt x="276" y="6"/>
                  </a:lnTo>
                  <a:lnTo>
                    <a:pt x="272" y="6"/>
                  </a:lnTo>
                  <a:lnTo>
                    <a:pt x="266" y="6"/>
                  </a:lnTo>
                  <a:lnTo>
                    <a:pt x="262" y="6"/>
                  </a:lnTo>
                  <a:lnTo>
                    <a:pt x="262" y="6"/>
                  </a:lnTo>
                  <a:lnTo>
                    <a:pt x="256" y="8"/>
                  </a:lnTo>
                  <a:lnTo>
                    <a:pt x="250" y="12"/>
                  </a:lnTo>
                  <a:lnTo>
                    <a:pt x="250" y="12"/>
                  </a:lnTo>
                  <a:lnTo>
                    <a:pt x="248" y="14"/>
                  </a:lnTo>
                  <a:lnTo>
                    <a:pt x="246" y="12"/>
                  </a:lnTo>
                  <a:lnTo>
                    <a:pt x="242" y="12"/>
                  </a:lnTo>
                  <a:lnTo>
                    <a:pt x="230" y="12"/>
                  </a:lnTo>
                  <a:lnTo>
                    <a:pt x="230" y="12"/>
                  </a:lnTo>
                  <a:lnTo>
                    <a:pt x="220" y="12"/>
                  </a:lnTo>
                  <a:lnTo>
                    <a:pt x="216" y="14"/>
                  </a:lnTo>
                  <a:lnTo>
                    <a:pt x="214" y="16"/>
                  </a:lnTo>
                  <a:lnTo>
                    <a:pt x="210" y="16"/>
                  </a:lnTo>
                  <a:lnTo>
                    <a:pt x="210" y="16"/>
                  </a:lnTo>
                  <a:lnTo>
                    <a:pt x="204" y="18"/>
                  </a:lnTo>
                  <a:lnTo>
                    <a:pt x="198" y="22"/>
                  </a:lnTo>
                  <a:lnTo>
                    <a:pt x="192" y="28"/>
                  </a:lnTo>
                  <a:lnTo>
                    <a:pt x="186" y="30"/>
                  </a:lnTo>
                  <a:lnTo>
                    <a:pt x="186" y="30"/>
                  </a:lnTo>
                  <a:lnTo>
                    <a:pt x="184" y="32"/>
                  </a:lnTo>
                  <a:lnTo>
                    <a:pt x="180" y="36"/>
                  </a:lnTo>
                  <a:lnTo>
                    <a:pt x="176" y="38"/>
                  </a:lnTo>
                  <a:lnTo>
                    <a:pt x="174" y="38"/>
                  </a:lnTo>
                  <a:lnTo>
                    <a:pt x="170" y="34"/>
                  </a:lnTo>
                  <a:lnTo>
                    <a:pt x="170" y="34"/>
                  </a:lnTo>
                  <a:lnTo>
                    <a:pt x="166" y="32"/>
                  </a:lnTo>
                  <a:lnTo>
                    <a:pt x="166" y="34"/>
                  </a:lnTo>
                  <a:lnTo>
                    <a:pt x="164" y="38"/>
                  </a:lnTo>
                  <a:lnTo>
                    <a:pt x="160" y="38"/>
                  </a:lnTo>
                  <a:lnTo>
                    <a:pt x="160" y="38"/>
                  </a:lnTo>
                  <a:lnTo>
                    <a:pt x="154" y="40"/>
                  </a:lnTo>
                  <a:lnTo>
                    <a:pt x="152" y="44"/>
                  </a:lnTo>
                  <a:lnTo>
                    <a:pt x="152" y="46"/>
                  </a:lnTo>
                  <a:lnTo>
                    <a:pt x="148" y="48"/>
                  </a:lnTo>
                  <a:lnTo>
                    <a:pt x="148" y="48"/>
                  </a:lnTo>
                  <a:lnTo>
                    <a:pt x="144" y="48"/>
                  </a:lnTo>
                  <a:lnTo>
                    <a:pt x="142" y="48"/>
                  </a:lnTo>
                  <a:lnTo>
                    <a:pt x="142" y="50"/>
                  </a:lnTo>
                  <a:lnTo>
                    <a:pt x="138" y="50"/>
                  </a:lnTo>
                  <a:lnTo>
                    <a:pt x="138" y="50"/>
                  </a:lnTo>
                  <a:lnTo>
                    <a:pt x="140" y="54"/>
                  </a:lnTo>
                  <a:lnTo>
                    <a:pt x="140" y="58"/>
                  </a:lnTo>
                  <a:lnTo>
                    <a:pt x="142" y="70"/>
                  </a:lnTo>
                  <a:lnTo>
                    <a:pt x="142" y="70"/>
                  </a:lnTo>
                  <a:lnTo>
                    <a:pt x="140" y="78"/>
                  </a:lnTo>
                  <a:lnTo>
                    <a:pt x="140" y="86"/>
                  </a:lnTo>
                  <a:lnTo>
                    <a:pt x="140" y="90"/>
                  </a:lnTo>
                  <a:lnTo>
                    <a:pt x="142" y="94"/>
                  </a:lnTo>
                  <a:lnTo>
                    <a:pt x="146" y="96"/>
                  </a:lnTo>
                  <a:lnTo>
                    <a:pt x="152" y="100"/>
                  </a:lnTo>
                  <a:lnTo>
                    <a:pt x="152" y="100"/>
                  </a:lnTo>
                  <a:lnTo>
                    <a:pt x="160" y="104"/>
                  </a:lnTo>
                  <a:lnTo>
                    <a:pt x="162" y="108"/>
                  </a:lnTo>
                  <a:lnTo>
                    <a:pt x="160" y="110"/>
                  </a:lnTo>
                  <a:lnTo>
                    <a:pt x="158" y="112"/>
                  </a:lnTo>
                  <a:lnTo>
                    <a:pt x="158" y="112"/>
                  </a:lnTo>
                  <a:lnTo>
                    <a:pt x="158" y="116"/>
                  </a:lnTo>
                  <a:lnTo>
                    <a:pt x="160" y="118"/>
                  </a:lnTo>
                  <a:lnTo>
                    <a:pt x="156" y="120"/>
                  </a:lnTo>
                  <a:lnTo>
                    <a:pt x="142" y="118"/>
                  </a:lnTo>
                  <a:lnTo>
                    <a:pt x="142" y="118"/>
                  </a:lnTo>
                  <a:lnTo>
                    <a:pt x="132" y="118"/>
                  </a:lnTo>
                  <a:lnTo>
                    <a:pt x="124" y="120"/>
                  </a:lnTo>
                  <a:lnTo>
                    <a:pt x="120" y="122"/>
                  </a:lnTo>
                  <a:lnTo>
                    <a:pt x="112" y="124"/>
                  </a:lnTo>
                  <a:lnTo>
                    <a:pt x="112" y="124"/>
                  </a:lnTo>
                  <a:lnTo>
                    <a:pt x="106" y="128"/>
                  </a:lnTo>
                  <a:lnTo>
                    <a:pt x="102" y="132"/>
                  </a:lnTo>
                  <a:lnTo>
                    <a:pt x="102" y="136"/>
                  </a:lnTo>
                  <a:lnTo>
                    <a:pt x="106" y="140"/>
                  </a:lnTo>
                  <a:lnTo>
                    <a:pt x="106" y="140"/>
                  </a:lnTo>
                  <a:lnTo>
                    <a:pt x="110" y="140"/>
                  </a:lnTo>
                  <a:lnTo>
                    <a:pt x="108" y="142"/>
                  </a:lnTo>
                  <a:lnTo>
                    <a:pt x="92" y="150"/>
                  </a:lnTo>
                  <a:lnTo>
                    <a:pt x="92" y="150"/>
                  </a:lnTo>
                  <a:lnTo>
                    <a:pt x="76" y="158"/>
                  </a:lnTo>
                  <a:lnTo>
                    <a:pt x="68" y="166"/>
                  </a:lnTo>
                  <a:lnTo>
                    <a:pt x="68" y="166"/>
                  </a:lnTo>
                  <a:lnTo>
                    <a:pt x="60" y="174"/>
                  </a:lnTo>
                  <a:lnTo>
                    <a:pt x="52" y="178"/>
                  </a:lnTo>
                  <a:lnTo>
                    <a:pt x="52" y="178"/>
                  </a:lnTo>
                  <a:lnTo>
                    <a:pt x="44" y="178"/>
                  </a:lnTo>
                  <a:lnTo>
                    <a:pt x="42" y="176"/>
                  </a:lnTo>
                  <a:lnTo>
                    <a:pt x="42" y="176"/>
                  </a:lnTo>
                  <a:lnTo>
                    <a:pt x="40" y="174"/>
                  </a:lnTo>
                  <a:lnTo>
                    <a:pt x="36" y="176"/>
                  </a:lnTo>
                  <a:lnTo>
                    <a:pt x="32" y="182"/>
                  </a:lnTo>
                  <a:lnTo>
                    <a:pt x="28" y="188"/>
                  </a:lnTo>
                  <a:lnTo>
                    <a:pt x="26" y="188"/>
                  </a:lnTo>
                  <a:lnTo>
                    <a:pt x="22" y="184"/>
                  </a:lnTo>
                  <a:lnTo>
                    <a:pt x="22" y="184"/>
                  </a:lnTo>
                  <a:lnTo>
                    <a:pt x="20" y="184"/>
                  </a:lnTo>
                  <a:lnTo>
                    <a:pt x="18" y="184"/>
                  </a:lnTo>
                  <a:lnTo>
                    <a:pt x="14" y="188"/>
                  </a:lnTo>
                  <a:lnTo>
                    <a:pt x="12" y="190"/>
                  </a:lnTo>
                  <a:lnTo>
                    <a:pt x="12" y="190"/>
                  </a:lnTo>
                  <a:lnTo>
                    <a:pt x="10" y="194"/>
                  </a:lnTo>
                  <a:lnTo>
                    <a:pt x="6" y="198"/>
                  </a:lnTo>
                  <a:lnTo>
                    <a:pt x="2" y="200"/>
                  </a:lnTo>
                  <a:lnTo>
                    <a:pt x="0" y="206"/>
                  </a:lnTo>
                  <a:lnTo>
                    <a:pt x="0" y="222"/>
                  </a:lnTo>
                  <a:lnTo>
                    <a:pt x="0" y="234"/>
                  </a:lnTo>
                  <a:lnTo>
                    <a:pt x="78" y="296"/>
                  </a:lnTo>
                  <a:lnTo>
                    <a:pt x="78" y="296"/>
                  </a:lnTo>
                  <a:lnTo>
                    <a:pt x="220" y="404"/>
                  </a:lnTo>
                  <a:lnTo>
                    <a:pt x="220" y="404"/>
                  </a:lnTo>
                  <a:lnTo>
                    <a:pt x="224" y="408"/>
                  </a:lnTo>
                  <a:lnTo>
                    <a:pt x="228" y="408"/>
                  </a:lnTo>
                  <a:lnTo>
                    <a:pt x="230" y="408"/>
                  </a:lnTo>
                  <a:lnTo>
                    <a:pt x="232" y="410"/>
                  </a:lnTo>
                  <a:lnTo>
                    <a:pt x="232" y="410"/>
                  </a:lnTo>
                  <a:lnTo>
                    <a:pt x="232" y="412"/>
                  </a:lnTo>
                  <a:lnTo>
                    <a:pt x="232" y="412"/>
                  </a:lnTo>
                  <a:lnTo>
                    <a:pt x="230" y="414"/>
                  </a:lnTo>
                  <a:lnTo>
                    <a:pt x="232" y="416"/>
                  </a:lnTo>
                  <a:lnTo>
                    <a:pt x="232" y="416"/>
                  </a:lnTo>
                  <a:lnTo>
                    <a:pt x="236" y="416"/>
                  </a:lnTo>
                  <a:lnTo>
                    <a:pt x="238" y="418"/>
                  </a:lnTo>
                  <a:lnTo>
                    <a:pt x="240" y="418"/>
                  </a:lnTo>
                  <a:lnTo>
                    <a:pt x="242" y="420"/>
                  </a:lnTo>
                  <a:lnTo>
                    <a:pt x="242" y="420"/>
                  </a:lnTo>
                  <a:lnTo>
                    <a:pt x="244" y="424"/>
                  </a:lnTo>
                  <a:lnTo>
                    <a:pt x="246" y="424"/>
                  </a:lnTo>
                  <a:lnTo>
                    <a:pt x="248" y="426"/>
                  </a:lnTo>
                  <a:lnTo>
                    <a:pt x="248" y="426"/>
                  </a:lnTo>
                  <a:lnTo>
                    <a:pt x="250" y="430"/>
                  </a:lnTo>
                  <a:lnTo>
                    <a:pt x="246" y="436"/>
                  </a:lnTo>
                  <a:lnTo>
                    <a:pt x="244" y="440"/>
                  </a:lnTo>
                  <a:lnTo>
                    <a:pt x="242" y="446"/>
                  </a:lnTo>
                  <a:lnTo>
                    <a:pt x="242" y="446"/>
                  </a:lnTo>
                  <a:lnTo>
                    <a:pt x="244" y="448"/>
                  </a:lnTo>
                  <a:lnTo>
                    <a:pt x="248" y="446"/>
                  </a:lnTo>
                  <a:lnTo>
                    <a:pt x="266" y="440"/>
                  </a:lnTo>
                  <a:lnTo>
                    <a:pt x="266" y="44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0" name="Freeform 151"/>
            <p:cNvSpPr>
              <a:spLocks/>
            </p:cNvSpPr>
            <p:nvPr/>
          </p:nvSpPr>
          <p:spPr bwMode="auto">
            <a:xfrm>
              <a:off x="4324580" y="2387865"/>
              <a:ext cx="111125" cy="224896"/>
            </a:xfrm>
            <a:custGeom>
              <a:avLst/>
              <a:gdLst/>
              <a:ahLst/>
              <a:cxnLst>
                <a:cxn ang="0">
                  <a:pos x="34" y="142"/>
                </a:cxn>
                <a:cxn ang="0">
                  <a:pos x="26" y="126"/>
                </a:cxn>
                <a:cxn ang="0">
                  <a:pos x="20" y="120"/>
                </a:cxn>
                <a:cxn ang="0">
                  <a:pos x="12" y="102"/>
                </a:cxn>
                <a:cxn ang="0">
                  <a:pos x="4" y="96"/>
                </a:cxn>
                <a:cxn ang="0">
                  <a:pos x="0" y="78"/>
                </a:cxn>
                <a:cxn ang="0">
                  <a:pos x="8" y="72"/>
                </a:cxn>
                <a:cxn ang="0">
                  <a:pos x="14" y="64"/>
                </a:cxn>
                <a:cxn ang="0">
                  <a:pos x="18" y="60"/>
                </a:cxn>
                <a:cxn ang="0">
                  <a:pos x="18" y="52"/>
                </a:cxn>
                <a:cxn ang="0">
                  <a:pos x="18" y="44"/>
                </a:cxn>
                <a:cxn ang="0">
                  <a:pos x="16" y="26"/>
                </a:cxn>
                <a:cxn ang="0">
                  <a:pos x="14" y="22"/>
                </a:cxn>
                <a:cxn ang="0">
                  <a:pos x="18" y="16"/>
                </a:cxn>
                <a:cxn ang="0">
                  <a:pos x="34" y="4"/>
                </a:cxn>
                <a:cxn ang="0">
                  <a:pos x="48" y="0"/>
                </a:cxn>
                <a:cxn ang="0">
                  <a:pos x="54" y="4"/>
                </a:cxn>
                <a:cxn ang="0">
                  <a:pos x="56" y="4"/>
                </a:cxn>
                <a:cxn ang="0">
                  <a:pos x="54" y="10"/>
                </a:cxn>
                <a:cxn ang="0">
                  <a:pos x="54" y="14"/>
                </a:cxn>
                <a:cxn ang="0">
                  <a:pos x="60" y="12"/>
                </a:cxn>
                <a:cxn ang="0">
                  <a:pos x="70" y="12"/>
                </a:cxn>
                <a:cxn ang="0">
                  <a:pos x="70" y="14"/>
                </a:cxn>
                <a:cxn ang="0">
                  <a:pos x="70" y="18"/>
                </a:cxn>
                <a:cxn ang="0">
                  <a:pos x="66" y="24"/>
                </a:cxn>
                <a:cxn ang="0">
                  <a:pos x="68" y="36"/>
                </a:cxn>
                <a:cxn ang="0">
                  <a:pos x="76" y="46"/>
                </a:cxn>
                <a:cxn ang="0">
                  <a:pos x="78" y="52"/>
                </a:cxn>
                <a:cxn ang="0">
                  <a:pos x="74" y="64"/>
                </a:cxn>
                <a:cxn ang="0">
                  <a:pos x="58" y="72"/>
                </a:cxn>
                <a:cxn ang="0">
                  <a:pos x="54" y="80"/>
                </a:cxn>
                <a:cxn ang="0">
                  <a:pos x="64" y="88"/>
                </a:cxn>
                <a:cxn ang="0">
                  <a:pos x="70" y="86"/>
                </a:cxn>
                <a:cxn ang="0">
                  <a:pos x="72" y="86"/>
                </a:cxn>
                <a:cxn ang="0">
                  <a:pos x="70" y="90"/>
                </a:cxn>
                <a:cxn ang="0">
                  <a:pos x="76" y="94"/>
                </a:cxn>
                <a:cxn ang="0">
                  <a:pos x="80" y="110"/>
                </a:cxn>
                <a:cxn ang="0">
                  <a:pos x="84" y="112"/>
                </a:cxn>
                <a:cxn ang="0">
                  <a:pos x="78" y="118"/>
                </a:cxn>
                <a:cxn ang="0">
                  <a:pos x="64" y="128"/>
                </a:cxn>
                <a:cxn ang="0">
                  <a:pos x="58" y="136"/>
                </a:cxn>
                <a:cxn ang="0">
                  <a:pos x="58" y="146"/>
                </a:cxn>
                <a:cxn ang="0">
                  <a:pos x="58" y="158"/>
                </a:cxn>
                <a:cxn ang="0">
                  <a:pos x="40" y="170"/>
                </a:cxn>
              </a:cxnLst>
              <a:rect l="0" t="0" r="r" b="b"/>
              <a:pathLst>
                <a:path w="84" h="170">
                  <a:moveTo>
                    <a:pt x="40" y="170"/>
                  </a:moveTo>
                  <a:lnTo>
                    <a:pt x="40" y="170"/>
                  </a:lnTo>
                  <a:lnTo>
                    <a:pt x="34" y="142"/>
                  </a:lnTo>
                  <a:lnTo>
                    <a:pt x="32" y="132"/>
                  </a:lnTo>
                  <a:lnTo>
                    <a:pt x="30" y="128"/>
                  </a:lnTo>
                  <a:lnTo>
                    <a:pt x="26" y="126"/>
                  </a:lnTo>
                  <a:lnTo>
                    <a:pt x="26" y="126"/>
                  </a:lnTo>
                  <a:lnTo>
                    <a:pt x="22" y="124"/>
                  </a:lnTo>
                  <a:lnTo>
                    <a:pt x="20" y="120"/>
                  </a:lnTo>
                  <a:lnTo>
                    <a:pt x="16" y="112"/>
                  </a:lnTo>
                  <a:lnTo>
                    <a:pt x="14" y="106"/>
                  </a:lnTo>
                  <a:lnTo>
                    <a:pt x="12" y="102"/>
                  </a:lnTo>
                  <a:lnTo>
                    <a:pt x="8" y="98"/>
                  </a:lnTo>
                  <a:lnTo>
                    <a:pt x="8" y="98"/>
                  </a:lnTo>
                  <a:lnTo>
                    <a:pt x="4" y="96"/>
                  </a:lnTo>
                  <a:lnTo>
                    <a:pt x="2" y="92"/>
                  </a:lnTo>
                  <a:lnTo>
                    <a:pt x="0" y="84"/>
                  </a:lnTo>
                  <a:lnTo>
                    <a:pt x="0" y="78"/>
                  </a:lnTo>
                  <a:lnTo>
                    <a:pt x="4" y="74"/>
                  </a:lnTo>
                  <a:lnTo>
                    <a:pt x="4" y="74"/>
                  </a:lnTo>
                  <a:lnTo>
                    <a:pt x="8" y="72"/>
                  </a:lnTo>
                  <a:lnTo>
                    <a:pt x="10" y="70"/>
                  </a:lnTo>
                  <a:lnTo>
                    <a:pt x="10" y="66"/>
                  </a:lnTo>
                  <a:lnTo>
                    <a:pt x="14" y="64"/>
                  </a:lnTo>
                  <a:lnTo>
                    <a:pt x="14" y="64"/>
                  </a:lnTo>
                  <a:lnTo>
                    <a:pt x="18" y="62"/>
                  </a:lnTo>
                  <a:lnTo>
                    <a:pt x="18" y="60"/>
                  </a:lnTo>
                  <a:lnTo>
                    <a:pt x="18" y="56"/>
                  </a:lnTo>
                  <a:lnTo>
                    <a:pt x="18" y="52"/>
                  </a:lnTo>
                  <a:lnTo>
                    <a:pt x="18" y="52"/>
                  </a:lnTo>
                  <a:lnTo>
                    <a:pt x="20" y="50"/>
                  </a:lnTo>
                  <a:lnTo>
                    <a:pt x="18" y="48"/>
                  </a:lnTo>
                  <a:lnTo>
                    <a:pt x="18" y="44"/>
                  </a:lnTo>
                  <a:lnTo>
                    <a:pt x="16" y="38"/>
                  </a:lnTo>
                  <a:lnTo>
                    <a:pt x="16" y="38"/>
                  </a:lnTo>
                  <a:lnTo>
                    <a:pt x="16" y="26"/>
                  </a:lnTo>
                  <a:lnTo>
                    <a:pt x="16" y="24"/>
                  </a:lnTo>
                  <a:lnTo>
                    <a:pt x="14" y="22"/>
                  </a:lnTo>
                  <a:lnTo>
                    <a:pt x="14" y="22"/>
                  </a:lnTo>
                  <a:lnTo>
                    <a:pt x="12" y="22"/>
                  </a:lnTo>
                  <a:lnTo>
                    <a:pt x="14" y="20"/>
                  </a:lnTo>
                  <a:lnTo>
                    <a:pt x="18" y="16"/>
                  </a:lnTo>
                  <a:lnTo>
                    <a:pt x="22" y="10"/>
                  </a:lnTo>
                  <a:lnTo>
                    <a:pt x="22" y="10"/>
                  </a:lnTo>
                  <a:lnTo>
                    <a:pt x="34" y="4"/>
                  </a:lnTo>
                  <a:lnTo>
                    <a:pt x="42" y="2"/>
                  </a:lnTo>
                  <a:lnTo>
                    <a:pt x="42" y="2"/>
                  </a:lnTo>
                  <a:lnTo>
                    <a:pt x="48" y="0"/>
                  </a:lnTo>
                  <a:lnTo>
                    <a:pt x="50" y="0"/>
                  </a:lnTo>
                  <a:lnTo>
                    <a:pt x="52" y="2"/>
                  </a:lnTo>
                  <a:lnTo>
                    <a:pt x="54" y="4"/>
                  </a:lnTo>
                  <a:lnTo>
                    <a:pt x="54" y="4"/>
                  </a:lnTo>
                  <a:lnTo>
                    <a:pt x="56" y="4"/>
                  </a:lnTo>
                  <a:lnTo>
                    <a:pt x="56" y="4"/>
                  </a:lnTo>
                  <a:lnTo>
                    <a:pt x="54" y="6"/>
                  </a:lnTo>
                  <a:lnTo>
                    <a:pt x="52" y="8"/>
                  </a:lnTo>
                  <a:lnTo>
                    <a:pt x="54" y="10"/>
                  </a:lnTo>
                  <a:lnTo>
                    <a:pt x="54" y="10"/>
                  </a:lnTo>
                  <a:lnTo>
                    <a:pt x="54" y="12"/>
                  </a:lnTo>
                  <a:lnTo>
                    <a:pt x="54" y="14"/>
                  </a:lnTo>
                  <a:lnTo>
                    <a:pt x="54" y="14"/>
                  </a:lnTo>
                  <a:lnTo>
                    <a:pt x="60" y="12"/>
                  </a:lnTo>
                  <a:lnTo>
                    <a:pt x="60" y="12"/>
                  </a:lnTo>
                  <a:lnTo>
                    <a:pt x="68" y="10"/>
                  </a:lnTo>
                  <a:lnTo>
                    <a:pt x="70" y="10"/>
                  </a:lnTo>
                  <a:lnTo>
                    <a:pt x="70" y="12"/>
                  </a:lnTo>
                  <a:lnTo>
                    <a:pt x="70" y="12"/>
                  </a:lnTo>
                  <a:lnTo>
                    <a:pt x="70" y="14"/>
                  </a:lnTo>
                  <a:lnTo>
                    <a:pt x="70" y="14"/>
                  </a:lnTo>
                  <a:lnTo>
                    <a:pt x="70" y="16"/>
                  </a:lnTo>
                  <a:lnTo>
                    <a:pt x="70" y="18"/>
                  </a:lnTo>
                  <a:lnTo>
                    <a:pt x="70" y="18"/>
                  </a:lnTo>
                  <a:lnTo>
                    <a:pt x="68" y="22"/>
                  </a:lnTo>
                  <a:lnTo>
                    <a:pt x="66" y="22"/>
                  </a:lnTo>
                  <a:lnTo>
                    <a:pt x="66" y="24"/>
                  </a:lnTo>
                  <a:lnTo>
                    <a:pt x="66" y="30"/>
                  </a:lnTo>
                  <a:lnTo>
                    <a:pt x="66" y="30"/>
                  </a:lnTo>
                  <a:lnTo>
                    <a:pt x="68" y="36"/>
                  </a:lnTo>
                  <a:lnTo>
                    <a:pt x="72" y="40"/>
                  </a:lnTo>
                  <a:lnTo>
                    <a:pt x="74" y="42"/>
                  </a:lnTo>
                  <a:lnTo>
                    <a:pt x="76" y="46"/>
                  </a:lnTo>
                  <a:lnTo>
                    <a:pt x="76" y="46"/>
                  </a:lnTo>
                  <a:lnTo>
                    <a:pt x="76" y="50"/>
                  </a:lnTo>
                  <a:lnTo>
                    <a:pt x="78" y="52"/>
                  </a:lnTo>
                  <a:lnTo>
                    <a:pt x="78" y="56"/>
                  </a:lnTo>
                  <a:lnTo>
                    <a:pt x="74" y="64"/>
                  </a:lnTo>
                  <a:lnTo>
                    <a:pt x="74" y="64"/>
                  </a:lnTo>
                  <a:lnTo>
                    <a:pt x="68" y="70"/>
                  </a:lnTo>
                  <a:lnTo>
                    <a:pt x="62" y="72"/>
                  </a:lnTo>
                  <a:lnTo>
                    <a:pt x="58" y="72"/>
                  </a:lnTo>
                  <a:lnTo>
                    <a:pt x="54" y="76"/>
                  </a:lnTo>
                  <a:lnTo>
                    <a:pt x="54" y="76"/>
                  </a:lnTo>
                  <a:lnTo>
                    <a:pt x="54" y="80"/>
                  </a:lnTo>
                  <a:lnTo>
                    <a:pt x="54" y="82"/>
                  </a:lnTo>
                  <a:lnTo>
                    <a:pt x="58" y="88"/>
                  </a:lnTo>
                  <a:lnTo>
                    <a:pt x="64" y="88"/>
                  </a:lnTo>
                  <a:lnTo>
                    <a:pt x="68" y="88"/>
                  </a:lnTo>
                  <a:lnTo>
                    <a:pt x="68" y="88"/>
                  </a:lnTo>
                  <a:lnTo>
                    <a:pt x="70" y="86"/>
                  </a:lnTo>
                  <a:lnTo>
                    <a:pt x="68" y="84"/>
                  </a:lnTo>
                  <a:lnTo>
                    <a:pt x="72" y="86"/>
                  </a:lnTo>
                  <a:lnTo>
                    <a:pt x="72" y="86"/>
                  </a:lnTo>
                  <a:lnTo>
                    <a:pt x="74" y="88"/>
                  </a:lnTo>
                  <a:lnTo>
                    <a:pt x="72" y="90"/>
                  </a:lnTo>
                  <a:lnTo>
                    <a:pt x="70" y="90"/>
                  </a:lnTo>
                  <a:lnTo>
                    <a:pt x="72" y="92"/>
                  </a:lnTo>
                  <a:lnTo>
                    <a:pt x="72" y="92"/>
                  </a:lnTo>
                  <a:lnTo>
                    <a:pt x="76" y="94"/>
                  </a:lnTo>
                  <a:lnTo>
                    <a:pt x="78" y="96"/>
                  </a:lnTo>
                  <a:lnTo>
                    <a:pt x="82" y="98"/>
                  </a:lnTo>
                  <a:lnTo>
                    <a:pt x="80" y="110"/>
                  </a:lnTo>
                  <a:lnTo>
                    <a:pt x="80" y="110"/>
                  </a:lnTo>
                  <a:lnTo>
                    <a:pt x="82" y="110"/>
                  </a:lnTo>
                  <a:lnTo>
                    <a:pt x="84" y="112"/>
                  </a:lnTo>
                  <a:lnTo>
                    <a:pt x="82" y="116"/>
                  </a:lnTo>
                  <a:lnTo>
                    <a:pt x="78" y="118"/>
                  </a:lnTo>
                  <a:lnTo>
                    <a:pt x="78" y="118"/>
                  </a:lnTo>
                  <a:lnTo>
                    <a:pt x="70" y="122"/>
                  </a:lnTo>
                  <a:lnTo>
                    <a:pt x="66" y="124"/>
                  </a:lnTo>
                  <a:lnTo>
                    <a:pt x="64" y="128"/>
                  </a:lnTo>
                  <a:lnTo>
                    <a:pt x="64" y="128"/>
                  </a:lnTo>
                  <a:lnTo>
                    <a:pt x="62" y="132"/>
                  </a:lnTo>
                  <a:lnTo>
                    <a:pt x="58" y="136"/>
                  </a:lnTo>
                  <a:lnTo>
                    <a:pt x="56" y="140"/>
                  </a:lnTo>
                  <a:lnTo>
                    <a:pt x="58" y="146"/>
                  </a:lnTo>
                  <a:lnTo>
                    <a:pt x="58" y="146"/>
                  </a:lnTo>
                  <a:lnTo>
                    <a:pt x="60" y="150"/>
                  </a:lnTo>
                  <a:lnTo>
                    <a:pt x="60" y="154"/>
                  </a:lnTo>
                  <a:lnTo>
                    <a:pt x="58" y="158"/>
                  </a:lnTo>
                  <a:lnTo>
                    <a:pt x="54" y="162"/>
                  </a:lnTo>
                  <a:lnTo>
                    <a:pt x="46" y="166"/>
                  </a:lnTo>
                  <a:lnTo>
                    <a:pt x="40" y="170"/>
                  </a:lnTo>
                  <a:lnTo>
                    <a:pt x="40" y="17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1" name="Freeform 152"/>
            <p:cNvSpPr>
              <a:spLocks/>
            </p:cNvSpPr>
            <p:nvPr/>
          </p:nvSpPr>
          <p:spPr bwMode="auto">
            <a:xfrm>
              <a:off x="4956934" y="3644636"/>
              <a:ext cx="68792" cy="68792"/>
            </a:xfrm>
            <a:custGeom>
              <a:avLst/>
              <a:gdLst/>
              <a:ahLst/>
              <a:cxnLst>
                <a:cxn ang="0">
                  <a:pos x="20" y="6"/>
                </a:cxn>
                <a:cxn ang="0">
                  <a:pos x="20" y="6"/>
                </a:cxn>
                <a:cxn ang="0">
                  <a:pos x="26" y="4"/>
                </a:cxn>
                <a:cxn ang="0">
                  <a:pos x="28" y="4"/>
                </a:cxn>
                <a:cxn ang="0">
                  <a:pos x="30" y="6"/>
                </a:cxn>
                <a:cxn ang="0">
                  <a:pos x="40" y="2"/>
                </a:cxn>
                <a:cxn ang="0">
                  <a:pos x="40" y="2"/>
                </a:cxn>
                <a:cxn ang="0">
                  <a:pos x="46" y="0"/>
                </a:cxn>
                <a:cxn ang="0">
                  <a:pos x="50" y="0"/>
                </a:cxn>
                <a:cxn ang="0">
                  <a:pos x="50" y="0"/>
                </a:cxn>
                <a:cxn ang="0">
                  <a:pos x="48" y="4"/>
                </a:cxn>
                <a:cxn ang="0">
                  <a:pos x="48" y="8"/>
                </a:cxn>
                <a:cxn ang="0">
                  <a:pos x="48" y="16"/>
                </a:cxn>
                <a:cxn ang="0">
                  <a:pos x="52" y="22"/>
                </a:cxn>
                <a:cxn ang="0">
                  <a:pos x="52" y="26"/>
                </a:cxn>
                <a:cxn ang="0">
                  <a:pos x="50" y="32"/>
                </a:cxn>
                <a:cxn ang="0">
                  <a:pos x="50" y="32"/>
                </a:cxn>
                <a:cxn ang="0">
                  <a:pos x="48" y="38"/>
                </a:cxn>
                <a:cxn ang="0">
                  <a:pos x="46" y="42"/>
                </a:cxn>
                <a:cxn ang="0">
                  <a:pos x="42" y="44"/>
                </a:cxn>
                <a:cxn ang="0">
                  <a:pos x="34" y="42"/>
                </a:cxn>
                <a:cxn ang="0">
                  <a:pos x="34" y="42"/>
                </a:cxn>
                <a:cxn ang="0">
                  <a:pos x="28" y="40"/>
                </a:cxn>
                <a:cxn ang="0">
                  <a:pos x="24" y="40"/>
                </a:cxn>
                <a:cxn ang="0">
                  <a:pos x="18" y="40"/>
                </a:cxn>
                <a:cxn ang="0">
                  <a:pos x="18" y="42"/>
                </a:cxn>
                <a:cxn ang="0">
                  <a:pos x="18" y="46"/>
                </a:cxn>
                <a:cxn ang="0">
                  <a:pos x="18" y="46"/>
                </a:cxn>
                <a:cxn ang="0">
                  <a:pos x="18" y="52"/>
                </a:cxn>
                <a:cxn ang="0">
                  <a:pos x="16" y="52"/>
                </a:cxn>
                <a:cxn ang="0">
                  <a:pos x="10" y="50"/>
                </a:cxn>
                <a:cxn ang="0">
                  <a:pos x="6" y="50"/>
                </a:cxn>
                <a:cxn ang="0">
                  <a:pos x="2" y="50"/>
                </a:cxn>
                <a:cxn ang="0">
                  <a:pos x="2" y="50"/>
                </a:cxn>
                <a:cxn ang="0">
                  <a:pos x="0" y="42"/>
                </a:cxn>
                <a:cxn ang="0">
                  <a:pos x="2" y="38"/>
                </a:cxn>
                <a:cxn ang="0">
                  <a:pos x="4" y="36"/>
                </a:cxn>
                <a:cxn ang="0">
                  <a:pos x="6" y="36"/>
                </a:cxn>
                <a:cxn ang="0">
                  <a:pos x="6" y="36"/>
                </a:cxn>
                <a:cxn ang="0">
                  <a:pos x="12" y="32"/>
                </a:cxn>
                <a:cxn ang="0">
                  <a:pos x="14" y="28"/>
                </a:cxn>
                <a:cxn ang="0">
                  <a:pos x="14" y="26"/>
                </a:cxn>
                <a:cxn ang="0">
                  <a:pos x="14" y="22"/>
                </a:cxn>
                <a:cxn ang="0">
                  <a:pos x="14" y="14"/>
                </a:cxn>
                <a:cxn ang="0">
                  <a:pos x="16" y="10"/>
                </a:cxn>
                <a:cxn ang="0">
                  <a:pos x="20" y="6"/>
                </a:cxn>
                <a:cxn ang="0">
                  <a:pos x="20" y="6"/>
                </a:cxn>
              </a:cxnLst>
              <a:rect l="0" t="0" r="r" b="b"/>
              <a:pathLst>
                <a:path w="52" h="52">
                  <a:moveTo>
                    <a:pt x="20" y="6"/>
                  </a:moveTo>
                  <a:lnTo>
                    <a:pt x="20" y="6"/>
                  </a:lnTo>
                  <a:lnTo>
                    <a:pt x="26" y="4"/>
                  </a:lnTo>
                  <a:lnTo>
                    <a:pt x="28" y="4"/>
                  </a:lnTo>
                  <a:lnTo>
                    <a:pt x="30" y="6"/>
                  </a:lnTo>
                  <a:lnTo>
                    <a:pt x="40" y="2"/>
                  </a:lnTo>
                  <a:lnTo>
                    <a:pt x="40" y="2"/>
                  </a:lnTo>
                  <a:lnTo>
                    <a:pt x="46" y="0"/>
                  </a:lnTo>
                  <a:lnTo>
                    <a:pt x="50" y="0"/>
                  </a:lnTo>
                  <a:lnTo>
                    <a:pt x="50" y="0"/>
                  </a:lnTo>
                  <a:lnTo>
                    <a:pt x="48" y="4"/>
                  </a:lnTo>
                  <a:lnTo>
                    <a:pt x="48" y="8"/>
                  </a:lnTo>
                  <a:lnTo>
                    <a:pt x="48" y="16"/>
                  </a:lnTo>
                  <a:lnTo>
                    <a:pt x="52" y="22"/>
                  </a:lnTo>
                  <a:lnTo>
                    <a:pt x="52" y="26"/>
                  </a:lnTo>
                  <a:lnTo>
                    <a:pt x="50" y="32"/>
                  </a:lnTo>
                  <a:lnTo>
                    <a:pt x="50" y="32"/>
                  </a:lnTo>
                  <a:lnTo>
                    <a:pt x="48" y="38"/>
                  </a:lnTo>
                  <a:lnTo>
                    <a:pt x="46" y="42"/>
                  </a:lnTo>
                  <a:lnTo>
                    <a:pt x="42" y="44"/>
                  </a:lnTo>
                  <a:lnTo>
                    <a:pt x="34" y="42"/>
                  </a:lnTo>
                  <a:lnTo>
                    <a:pt x="34" y="42"/>
                  </a:lnTo>
                  <a:lnTo>
                    <a:pt x="28" y="40"/>
                  </a:lnTo>
                  <a:lnTo>
                    <a:pt x="24" y="40"/>
                  </a:lnTo>
                  <a:lnTo>
                    <a:pt x="18" y="40"/>
                  </a:lnTo>
                  <a:lnTo>
                    <a:pt x="18" y="42"/>
                  </a:lnTo>
                  <a:lnTo>
                    <a:pt x="18" y="46"/>
                  </a:lnTo>
                  <a:lnTo>
                    <a:pt x="18" y="46"/>
                  </a:lnTo>
                  <a:lnTo>
                    <a:pt x="18" y="52"/>
                  </a:lnTo>
                  <a:lnTo>
                    <a:pt x="16" y="52"/>
                  </a:lnTo>
                  <a:lnTo>
                    <a:pt x="10" y="50"/>
                  </a:lnTo>
                  <a:lnTo>
                    <a:pt x="6" y="50"/>
                  </a:lnTo>
                  <a:lnTo>
                    <a:pt x="2" y="50"/>
                  </a:lnTo>
                  <a:lnTo>
                    <a:pt x="2" y="50"/>
                  </a:lnTo>
                  <a:lnTo>
                    <a:pt x="0" y="42"/>
                  </a:lnTo>
                  <a:lnTo>
                    <a:pt x="2" y="38"/>
                  </a:lnTo>
                  <a:lnTo>
                    <a:pt x="4" y="36"/>
                  </a:lnTo>
                  <a:lnTo>
                    <a:pt x="6" y="36"/>
                  </a:lnTo>
                  <a:lnTo>
                    <a:pt x="6" y="36"/>
                  </a:lnTo>
                  <a:lnTo>
                    <a:pt x="12" y="32"/>
                  </a:lnTo>
                  <a:lnTo>
                    <a:pt x="14" y="28"/>
                  </a:lnTo>
                  <a:lnTo>
                    <a:pt x="14" y="26"/>
                  </a:lnTo>
                  <a:lnTo>
                    <a:pt x="14" y="22"/>
                  </a:lnTo>
                  <a:lnTo>
                    <a:pt x="14" y="14"/>
                  </a:lnTo>
                  <a:lnTo>
                    <a:pt x="16" y="10"/>
                  </a:lnTo>
                  <a:lnTo>
                    <a:pt x="20" y="6"/>
                  </a:lnTo>
                  <a:lnTo>
                    <a:pt x="20" y="6"/>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2" name="Freeform 154"/>
            <p:cNvSpPr>
              <a:spLocks/>
            </p:cNvSpPr>
            <p:nvPr/>
          </p:nvSpPr>
          <p:spPr bwMode="auto">
            <a:xfrm>
              <a:off x="7319664" y="3425031"/>
              <a:ext cx="39688" cy="37042"/>
            </a:xfrm>
            <a:custGeom>
              <a:avLst/>
              <a:gdLst/>
              <a:ahLst/>
              <a:cxnLst>
                <a:cxn ang="0">
                  <a:pos x="0" y="12"/>
                </a:cxn>
                <a:cxn ang="0">
                  <a:pos x="0" y="12"/>
                </a:cxn>
                <a:cxn ang="0">
                  <a:pos x="4" y="10"/>
                </a:cxn>
                <a:cxn ang="0">
                  <a:pos x="6" y="8"/>
                </a:cxn>
                <a:cxn ang="0">
                  <a:pos x="10" y="6"/>
                </a:cxn>
                <a:cxn ang="0">
                  <a:pos x="18" y="2"/>
                </a:cxn>
                <a:cxn ang="0">
                  <a:pos x="18" y="2"/>
                </a:cxn>
                <a:cxn ang="0">
                  <a:pos x="24" y="0"/>
                </a:cxn>
                <a:cxn ang="0">
                  <a:pos x="28" y="0"/>
                </a:cxn>
                <a:cxn ang="0">
                  <a:pos x="28" y="0"/>
                </a:cxn>
                <a:cxn ang="0">
                  <a:pos x="28" y="4"/>
                </a:cxn>
                <a:cxn ang="0">
                  <a:pos x="30" y="10"/>
                </a:cxn>
                <a:cxn ang="0">
                  <a:pos x="30" y="10"/>
                </a:cxn>
                <a:cxn ang="0">
                  <a:pos x="30" y="12"/>
                </a:cxn>
                <a:cxn ang="0">
                  <a:pos x="30" y="14"/>
                </a:cxn>
                <a:cxn ang="0">
                  <a:pos x="28" y="16"/>
                </a:cxn>
                <a:cxn ang="0">
                  <a:pos x="28" y="16"/>
                </a:cxn>
                <a:cxn ang="0">
                  <a:pos x="26" y="16"/>
                </a:cxn>
                <a:cxn ang="0">
                  <a:pos x="26" y="16"/>
                </a:cxn>
                <a:cxn ang="0">
                  <a:pos x="24" y="12"/>
                </a:cxn>
                <a:cxn ang="0">
                  <a:pos x="24" y="6"/>
                </a:cxn>
                <a:cxn ang="0">
                  <a:pos x="22" y="6"/>
                </a:cxn>
                <a:cxn ang="0">
                  <a:pos x="20" y="6"/>
                </a:cxn>
                <a:cxn ang="0">
                  <a:pos x="20" y="6"/>
                </a:cxn>
                <a:cxn ang="0">
                  <a:pos x="18" y="8"/>
                </a:cxn>
                <a:cxn ang="0">
                  <a:pos x="18" y="10"/>
                </a:cxn>
                <a:cxn ang="0">
                  <a:pos x="18" y="14"/>
                </a:cxn>
                <a:cxn ang="0">
                  <a:pos x="20" y="20"/>
                </a:cxn>
                <a:cxn ang="0">
                  <a:pos x="18" y="26"/>
                </a:cxn>
                <a:cxn ang="0">
                  <a:pos x="18" y="26"/>
                </a:cxn>
                <a:cxn ang="0">
                  <a:pos x="16" y="28"/>
                </a:cxn>
                <a:cxn ang="0">
                  <a:pos x="12" y="26"/>
                </a:cxn>
                <a:cxn ang="0">
                  <a:pos x="8" y="20"/>
                </a:cxn>
                <a:cxn ang="0">
                  <a:pos x="8" y="20"/>
                </a:cxn>
                <a:cxn ang="0">
                  <a:pos x="6" y="18"/>
                </a:cxn>
                <a:cxn ang="0">
                  <a:pos x="6" y="18"/>
                </a:cxn>
                <a:cxn ang="0">
                  <a:pos x="6" y="20"/>
                </a:cxn>
                <a:cxn ang="0">
                  <a:pos x="4" y="18"/>
                </a:cxn>
                <a:cxn ang="0">
                  <a:pos x="4" y="18"/>
                </a:cxn>
                <a:cxn ang="0">
                  <a:pos x="4" y="16"/>
                </a:cxn>
                <a:cxn ang="0">
                  <a:pos x="2" y="14"/>
                </a:cxn>
                <a:cxn ang="0">
                  <a:pos x="0" y="12"/>
                </a:cxn>
                <a:cxn ang="0">
                  <a:pos x="0" y="12"/>
                </a:cxn>
              </a:cxnLst>
              <a:rect l="0" t="0" r="r" b="b"/>
              <a:pathLst>
                <a:path w="30" h="28">
                  <a:moveTo>
                    <a:pt x="0" y="12"/>
                  </a:moveTo>
                  <a:lnTo>
                    <a:pt x="0" y="12"/>
                  </a:lnTo>
                  <a:lnTo>
                    <a:pt x="4" y="10"/>
                  </a:lnTo>
                  <a:lnTo>
                    <a:pt x="6" y="8"/>
                  </a:lnTo>
                  <a:lnTo>
                    <a:pt x="10" y="6"/>
                  </a:lnTo>
                  <a:lnTo>
                    <a:pt x="18" y="2"/>
                  </a:lnTo>
                  <a:lnTo>
                    <a:pt x="18" y="2"/>
                  </a:lnTo>
                  <a:lnTo>
                    <a:pt x="24" y="0"/>
                  </a:lnTo>
                  <a:lnTo>
                    <a:pt x="28" y="0"/>
                  </a:lnTo>
                  <a:lnTo>
                    <a:pt x="28" y="0"/>
                  </a:lnTo>
                  <a:lnTo>
                    <a:pt x="28" y="4"/>
                  </a:lnTo>
                  <a:lnTo>
                    <a:pt x="30" y="10"/>
                  </a:lnTo>
                  <a:lnTo>
                    <a:pt x="30" y="10"/>
                  </a:lnTo>
                  <a:lnTo>
                    <a:pt x="30" y="12"/>
                  </a:lnTo>
                  <a:lnTo>
                    <a:pt x="30" y="14"/>
                  </a:lnTo>
                  <a:lnTo>
                    <a:pt x="28" y="16"/>
                  </a:lnTo>
                  <a:lnTo>
                    <a:pt x="28" y="16"/>
                  </a:lnTo>
                  <a:lnTo>
                    <a:pt x="26" y="16"/>
                  </a:lnTo>
                  <a:lnTo>
                    <a:pt x="26" y="16"/>
                  </a:lnTo>
                  <a:lnTo>
                    <a:pt x="24" y="12"/>
                  </a:lnTo>
                  <a:lnTo>
                    <a:pt x="24" y="6"/>
                  </a:lnTo>
                  <a:lnTo>
                    <a:pt x="22" y="6"/>
                  </a:lnTo>
                  <a:lnTo>
                    <a:pt x="20" y="6"/>
                  </a:lnTo>
                  <a:lnTo>
                    <a:pt x="20" y="6"/>
                  </a:lnTo>
                  <a:lnTo>
                    <a:pt x="18" y="8"/>
                  </a:lnTo>
                  <a:lnTo>
                    <a:pt x="18" y="10"/>
                  </a:lnTo>
                  <a:lnTo>
                    <a:pt x="18" y="14"/>
                  </a:lnTo>
                  <a:lnTo>
                    <a:pt x="20" y="20"/>
                  </a:lnTo>
                  <a:lnTo>
                    <a:pt x="18" y="26"/>
                  </a:lnTo>
                  <a:lnTo>
                    <a:pt x="18" y="26"/>
                  </a:lnTo>
                  <a:lnTo>
                    <a:pt x="16" y="28"/>
                  </a:lnTo>
                  <a:lnTo>
                    <a:pt x="12" y="26"/>
                  </a:lnTo>
                  <a:lnTo>
                    <a:pt x="8" y="20"/>
                  </a:lnTo>
                  <a:lnTo>
                    <a:pt x="8" y="20"/>
                  </a:lnTo>
                  <a:lnTo>
                    <a:pt x="6" y="18"/>
                  </a:lnTo>
                  <a:lnTo>
                    <a:pt x="6" y="18"/>
                  </a:lnTo>
                  <a:lnTo>
                    <a:pt x="6" y="20"/>
                  </a:lnTo>
                  <a:lnTo>
                    <a:pt x="4" y="18"/>
                  </a:lnTo>
                  <a:lnTo>
                    <a:pt x="4" y="18"/>
                  </a:lnTo>
                  <a:lnTo>
                    <a:pt x="4" y="16"/>
                  </a:lnTo>
                  <a:lnTo>
                    <a:pt x="2" y="14"/>
                  </a:lnTo>
                  <a:lnTo>
                    <a:pt x="0" y="12"/>
                  </a:lnTo>
                  <a:lnTo>
                    <a:pt x="0" y="12"/>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3" name="Freeform 155"/>
            <p:cNvSpPr>
              <a:spLocks/>
            </p:cNvSpPr>
            <p:nvPr/>
          </p:nvSpPr>
          <p:spPr bwMode="auto">
            <a:xfrm>
              <a:off x="3906538" y="3258344"/>
              <a:ext cx="171979" cy="211667"/>
            </a:xfrm>
            <a:custGeom>
              <a:avLst/>
              <a:gdLst/>
              <a:ahLst/>
              <a:cxnLst>
                <a:cxn ang="0">
                  <a:pos x="112" y="140"/>
                </a:cxn>
                <a:cxn ang="0">
                  <a:pos x="104" y="136"/>
                </a:cxn>
                <a:cxn ang="0">
                  <a:pos x="94" y="136"/>
                </a:cxn>
                <a:cxn ang="0">
                  <a:pos x="98" y="138"/>
                </a:cxn>
                <a:cxn ang="0">
                  <a:pos x="108" y="140"/>
                </a:cxn>
                <a:cxn ang="0">
                  <a:pos x="86" y="142"/>
                </a:cxn>
                <a:cxn ang="0">
                  <a:pos x="60" y="146"/>
                </a:cxn>
                <a:cxn ang="0">
                  <a:pos x="52" y="144"/>
                </a:cxn>
                <a:cxn ang="0">
                  <a:pos x="48" y="148"/>
                </a:cxn>
                <a:cxn ang="0">
                  <a:pos x="24" y="160"/>
                </a:cxn>
                <a:cxn ang="0">
                  <a:pos x="16" y="160"/>
                </a:cxn>
                <a:cxn ang="0">
                  <a:pos x="16" y="156"/>
                </a:cxn>
                <a:cxn ang="0">
                  <a:pos x="18" y="138"/>
                </a:cxn>
                <a:cxn ang="0">
                  <a:pos x="24" y="134"/>
                </a:cxn>
                <a:cxn ang="0">
                  <a:pos x="22" y="126"/>
                </a:cxn>
                <a:cxn ang="0">
                  <a:pos x="16" y="120"/>
                </a:cxn>
                <a:cxn ang="0">
                  <a:pos x="8" y="114"/>
                </a:cxn>
                <a:cxn ang="0">
                  <a:pos x="4" y="114"/>
                </a:cxn>
                <a:cxn ang="0">
                  <a:pos x="0" y="106"/>
                </a:cxn>
                <a:cxn ang="0">
                  <a:pos x="2" y="96"/>
                </a:cxn>
                <a:cxn ang="0">
                  <a:pos x="2" y="88"/>
                </a:cxn>
                <a:cxn ang="0">
                  <a:pos x="4" y="80"/>
                </a:cxn>
                <a:cxn ang="0">
                  <a:pos x="8" y="72"/>
                </a:cxn>
                <a:cxn ang="0">
                  <a:pos x="8" y="68"/>
                </a:cxn>
                <a:cxn ang="0">
                  <a:pos x="4" y="64"/>
                </a:cxn>
                <a:cxn ang="0">
                  <a:pos x="10" y="58"/>
                </a:cxn>
                <a:cxn ang="0">
                  <a:pos x="16" y="56"/>
                </a:cxn>
                <a:cxn ang="0">
                  <a:pos x="16" y="50"/>
                </a:cxn>
                <a:cxn ang="0">
                  <a:pos x="16" y="44"/>
                </a:cxn>
                <a:cxn ang="0">
                  <a:pos x="16" y="34"/>
                </a:cxn>
                <a:cxn ang="0">
                  <a:pos x="14" y="30"/>
                </a:cxn>
                <a:cxn ang="0">
                  <a:pos x="10" y="28"/>
                </a:cxn>
                <a:cxn ang="0">
                  <a:pos x="6" y="26"/>
                </a:cxn>
                <a:cxn ang="0">
                  <a:pos x="6" y="20"/>
                </a:cxn>
                <a:cxn ang="0">
                  <a:pos x="14" y="10"/>
                </a:cxn>
                <a:cxn ang="0">
                  <a:pos x="20" y="4"/>
                </a:cxn>
                <a:cxn ang="0">
                  <a:pos x="28" y="10"/>
                </a:cxn>
                <a:cxn ang="0">
                  <a:pos x="34" y="6"/>
                </a:cxn>
                <a:cxn ang="0">
                  <a:pos x="42" y="2"/>
                </a:cxn>
                <a:cxn ang="0">
                  <a:pos x="50" y="6"/>
                </a:cxn>
                <a:cxn ang="0">
                  <a:pos x="56" y="2"/>
                </a:cxn>
                <a:cxn ang="0">
                  <a:pos x="66" y="6"/>
                </a:cxn>
                <a:cxn ang="0">
                  <a:pos x="74" y="18"/>
                </a:cxn>
                <a:cxn ang="0">
                  <a:pos x="84" y="22"/>
                </a:cxn>
                <a:cxn ang="0">
                  <a:pos x="100" y="20"/>
                </a:cxn>
                <a:cxn ang="0">
                  <a:pos x="110" y="20"/>
                </a:cxn>
                <a:cxn ang="0">
                  <a:pos x="114" y="20"/>
                </a:cxn>
                <a:cxn ang="0">
                  <a:pos x="122" y="26"/>
                </a:cxn>
                <a:cxn ang="0">
                  <a:pos x="126" y="34"/>
                </a:cxn>
                <a:cxn ang="0">
                  <a:pos x="128" y="46"/>
                </a:cxn>
                <a:cxn ang="0">
                  <a:pos x="124" y="72"/>
                </a:cxn>
                <a:cxn ang="0">
                  <a:pos x="120" y="86"/>
                </a:cxn>
                <a:cxn ang="0">
                  <a:pos x="118" y="98"/>
                </a:cxn>
                <a:cxn ang="0">
                  <a:pos x="116" y="116"/>
                </a:cxn>
                <a:cxn ang="0">
                  <a:pos x="120" y="128"/>
                </a:cxn>
                <a:cxn ang="0">
                  <a:pos x="124" y="134"/>
                </a:cxn>
                <a:cxn ang="0">
                  <a:pos x="122" y="138"/>
                </a:cxn>
              </a:cxnLst>
              <a:rect l="0" t="0" r="r" b="b"/>
              <a:pathLst>
                <a:path w="130" h="160">
                  <a:moveTo>
                    <a:pt x="120" y="140"/>
                  </a:moveTo>
                  <a:lnTo>
                    <a:pt x="120" y="140"/>
                  </a:lnTo>
                  <a:lnTo>
                    <a:pt x="112" y="140"/>
                  </a:lnTo>
                  <a:lnTo>
                    <a:pt x="110" y="138"/>
                  </a:lnTo>
                  <a:lnTo>
                    <a:pt x="108" y="136"/>
                  </a:lnTo>
                  <a:lnTo>
                    <a:pt x="104" y="136"/>
                  </a:lnTo>
                  <a:lnTo>
                    <a:pt x="104" y="136"/>
                  </a:lnTo>
                  <a:lnTo>
                    <a:pt x="98" y="136"/>
                  </a:lnTo>
                  <a:lnTo>
                    <a:pt x="94" y="136"/>
                  </a:lnTo>
                  <a:lnTo>
                    <a:pt x="94" y="136"/>
                  </a:lnTo>
                  <a:lnTo>
                    <a:pt x="94" y="136"/>
                  </a:lnTo>
                  <a:lnTo>
                    <a:pt x="98" y="138"/>
                  </a:lnTo>
                  <a:lnTo>
                    <a:pt x="102" y="138"/>
                  </a:lnTo>
                  <a:lnTo>
                    <a:pt x="104" y="138"/>
                  </a:lnTo>
                  <a:lnTo>
                    <a:pt x="108" y="140"/>
                  </a:lnTo>
                  <a:lnTo>
                    <a:pt x="108" y="140"/>
                  </a:lnTo>
                  <a:lnTo>
                    <a:pt x="100" y="140"/>
                  </a:lnTo>
                  <a:lnTo>
                    <a:pt x="86" y="142"/>
                  </a:lnTo>
                  <a:lnTo>
                    <a:pt x="86" y="142"/>
                  </a:lnTo>
                  <a:lnTo>
                    <a:pt x="70" y="144"/>
                  </a:lnTo>
                  <a:lnTo>
                    <a:pt x="60" y="146"/>
                  </a:lnTo>
                  <a:lnTo>
                    <a:pt x="56" y="148"/>
                  </a:lnTo>
                  <a:lnTo>
                    <a:pt x="54" y="146"/>
                  </a:lnTo>
                  <a:lnTo>
                    <a:pt x="52" y="144"/>
                  </a:lnTo>
                  <a:lnTo>
                    <a:pt x="48" y="140"/>
                  </a:lnTo>
                  <a:lnTo>
                    <a:pt x="48" y="140"/>
                  </a:lnTo>
                  <a:lnTo>
                    <a:pt x="48" y="148"/>
                  </a:lnTo>
                  <a:lnTo>
                    <a:pt x="42" y="152"/>
                  </a:lnTo>
                  <a:lnTo>
                    <a:pt x="34" y="156"/>
                  </a:lnTo>
                  <a:lnTo>
                    <a:pt x="24" y="160"/>
                  </a:lnTo>
                  <a:lnTo>
                    <a:pt x="24" y="160"/>
                  </a:lnTo>
                  <a:lnTo>
                    <a:pt x="18" y="160"/>
                  </a:lnTo>
                  <a:lnTo>
                    <a:pt x="16" y="160"/>
                  </a:lnTo>
                  <a:lnTo>
                    <a:pt x="14" y="158"/>
                  </a:lnTo>
                  <a:lnTo>
                    <a:pt x="16" y="156"/>
                  </a:lnTo>
                  <a:lnTo>
                    <a:pt x="16" y="156"/>
                  </a:lnTo>
                  <a:lnTo>
                    <a:pt x="16" y="148"/>
                  </a:lnTo>
                  <a:lnTo>
                    <a:pt x="16" y="142"/>
                  </a:lnTo>
                  <a:lnTo>
                    <a:pt x="18" y="138"/>
                  </a:lnTo>
                  <a:lnTo>
                    <a:pt x="20" y="138"/>
                  </a:lnTo>
                  <a:lnTo>
                    <a:pt x="24" y="136"/>
                  </a:lnTo>
                  <a:lnTo>
                    <a:pt x="24" y="134"/>
                  </a:lnTo>
                  <a:lnTo>
                    <a:pt x="22" y="130"/>
                  </a:lnTo>
                  <a:lnTo>
                    <a:pt x="22" y="130"/>
                  </a:lnTo>
                  <a:lnTo>
                    <a:pt x="22" y="126"/>
                  </a:lnTo>
                  <a:lnTo>
                    <a:pt x="22" y="122"/>
                  </a:lnTo>
                  <a:lnTo>
                    <a:pt x="22" y="122"/>
                  </a:lnTo>
                  <a:lnTo>
                    <a:pt x="16" y="120"/>
                  </a:lnTo>
                  <a:lnTo>
                    <a:pt x="16" y="120"/>
                  </a:lnTo>
                  <a:lnTo>
                    <a:pt x="10" y="116"/>
                  </a:lnTo>
                  <a:lnTo>
                    <a:pt x="8" y="114"/>
                  </a:lnTo>
                  <a:lnTo>
                    <a:pt x="8" y="114"/>
                  </a:lnTo>
                  <a:lnTo>
                    <a:pt x="4" y="114"/>
                  </a:lnTo>
                  <a:lnTo>
                    <a:pt x="4" y="114"/>
                  </a:lnTo>
                  <a:lnTo>
                    <a:pt x="2" y="112"/>
                  </a:lnTo>
                  <a:lnTo>
                    <a:pt x="0" y="112"/>
                  </a:lnTo>
                  <a:lnTo>
                    <a:pt x="0" y="106"/>
                  </a:lnTo>
                  <a:lnTo>
                    <a:pt x="2" y="100"/>
                  </a:lnTo>
                  <a:lnTo>
                    <a:pt x="2" y="96"/>
                  </a:lnTo>
                  <a:lnTo>
                    <a:pt x="2" y="96"/>
                  </a:lnTo>
                  <a:lnTo>
                    <a:pt x="2" y="94"/>
                  </a:lnTo>
                  <a:lnTo>
                    <a:pt x="2" y="90"/>
                  </a:lnTo>
                  <a:lnTo>
                    <a:pt x="2" y="88"/>
                  </a:lnTo>
                  <a:lnTo>
                    <a:pt x="0" y="82"/>
                  </a:lnTo>
                  <a:lnTo>
                    <a:pt x="0" y="82"/>
                  </a:lnTo>
                  <a:lnTo>
                    <a:pt x="4" y="80"/>
                  </a:lnTo>
                  <a:lnTo>
                    <a:pt x="4" y="78"/>
                  </a:lnTo>
                  <a:lnTo>
                    <a:pt x="4" y="76"/>
                  </a:lnTo>
                  <a:lnTo>
                    <a:pt x="8" y="72"/>
                  </a:lnTo>
                  <a:lnTo>
                    <a:pt x="8" y="72"/>
                  </a:lnTo>
                  <a:lnTo>
                    <a:pt x="10" y="70"/>
                  </a:lnTo>
                  <a:lnTo>
                    <a:pt x="8" y="68"/>
                  </a:lnTo>
                  <a:lnTo>
                    <a:pt x="6" y="68"/>
                  </a:lnTo>
                  <a:lnTo>
                    <a:pt x="4" y="64"/>
                  </a:lnTo>
                  <a:lnTo>
                    <a:pt x="4" y="64"/>
                  </a:lnTo>
                  <a:lnTo>
                    <a:pt x="4" y="62"/>
                  </a:lnTo>
                  <a:lnTo>
                    <a:pt x="6" y="60"/>
                  </a:lnTo>
                  <a:lnTo>
                    <a:pt x="10" y="58"/>
                  </a:lnTo>
                  <a:lnTo>
                    <a:pt x="16" y="60"/>
                  </a:lnTo>
                  <a:lnTo>
                    <a:pt x="16" y="58"/>
                  </a:lnTo>
                  <a:lnTo>
                    <a:pt x="16" y="56"/>
                  </a:lnTo>
                  <a:lnTo>
                    <a:pt x="16" y="56"/>
                  </a:lnTo>
                  <a:lnTo>
                    <a:pt x="14" y="52"/>
                  </a:lnTo>
                  <a:lnTo>
                    <a:pt x="16" y="50"/>
                  </a:lnTo>
                  <a:lnTo>
                    <a:pt x="16" y="46"/>
                  </a:lnTo>
                  <a:lnTo>
                    <a:pt x="16" y="44"/>
                  </a:lnTo>
                  <a:lnTo>
                    <a:pt x="16" y="44"/>
                  </a:lnTo>
                  <a:lnTo>
                    <a:pt x="14" y="40"/>
                  </a:lnTo>
                  <a:lnTo>
                    <a:pt x="16" y="36"/>
                  </a:lnTo>
                  <a:lnTo>
                    <a:pt x="16" y="34"/>
                  </a:lnTo>
                  <a:lnTo>
                    <a:pt x="16" y="32"/>
                  </a:lnTo>
                  <a:lnTo>
                    <a:pt x="16" y="32"/>
                  </a:lnTo>
                  <a:lnTo>
                    <a:pt x="14" y="30"/>
                  </a:lnTo>
                  <a:lnTo>
                    <a:pt x="12" y="30"/>
                  </a:lnTo>
                  <a:lnTo>
                    <a:pt x="12" y="32"/>
                  </a:lnTo>
                  <a:lnTo>
                    <a:pt x="10" y="28"/>
                  </a:lnTo>
                  <a:lnTo>
                    <a:pt x="10" y="28"/>
                  </a:lnTo>
                  <a:lnTo>
                    <a:pt x="8" y="26"/>
                  </a:lnTo>
                  <a:lnTo>
                    <a:pt x="6" y="26"/>
                  </a:lnTo>
                  <a:lnTo>
                    <a:pt x="6" y="26"/>
                  </a:lnTo>
                  <a:lnTo>
                    <a:pt x="6" y="20"/>
                  </a:lnTo>
                  <a:lnTo>
                    <a:pt x="6" y="20"/>
                  </a:lnTo>
                  <a:lnTo>
                    <a:pt x="10" y="14"/>
                  </a:lnTo>
                  <a:lnTo>
                    <a:pt x="12" y="10"/>
                  </a:lnTo>
                  <a:lnTo>
                    <a:pt x="14" y="10"/>
                  </a:lnTo>
                  <a:lnTo>
                    <a:pt x="14" y="10"/>
                  </a:lnTo>
                  <a:lnTo>
                    <a:pt x="18" y="6"/>
                  </a:lnTo>
                  <a:lnTo>
                    <a:pt x="20" y="4"/>
                  </a:lnTo>
                  <a:lnTo>
                    <a:pt x="24" y="6"/>
                  </a:lnTo>
                  <a:lnTo>
                    <a:pt x="24" y="6"/>
                  </a:lnTo>
                  <a:lnTo>
                    <a:pt x="28" y="10"/>
                  </a:lnTo>
                  <a:lnTo>
                    <a:pt x="30" y="8"/>
                  </a:lnTo>
                  <a:lnTo>
                    <a:pt x="34" y="6"/>
                  </a:lnTo>
                  <a:lnTo>
                    <a:pt x="34" y="6"/>
                  </a:lnTo>
                  <a:lnTo>
                    <a:pt x="36" y="2"/>
                  </a:lnTo>
                  <a:lnTo>
                    <a:pt x="40" y="0"/>
                  </a:lnTo>
                  <a:lnTo>
                    <a:pt x="42" y="2"/>
                  </a:lnTo>
                  <a:lnTo>
                    <a:pt x="44" y="2"/>
                  </a:lnTo>
                  <a:lnTo>
                    <a:pt x="48" y="6"/>
                  </a:lnTo>
                  <a:lnTo>
                    <a:pt x="50" y="6"/>
                  </a:lnTo>
                  <a:lnTo>
                    <a:pt x="52" y="4"/>
                  </a:lnTo>
                  <a:lnTo>
                    <a:pt x="52" y="4"/>
                  </a:lnTo>
                  <a:lnTo>
                    <a:pt x="56" y="2"/>
                  </a:lnTo>
                  <a:lnTo>
                    <a:pt x="60" y="4"/>
                  </a:lnTo>
                  <a:lnTo>
                    <a:pt x="66" y="6"/>
                  </a:lnTo>
                  <a:lnTo>
                    <a:pt x="66" y="6"/>
                  </a:lnTo>
                  <a:lnTo>
                    <a:pt x="72" y="10"/>
                  </a:lnTo>
                  <a:lnTo>
                    <a:pt x="74" y="14"/>
                  </a:lnTo>
                  <a:lnTo>
                    <a:pt x="74" y="18"/>
                  </a:lnTo>
                  <a:lnTo>
                    <a:pt x="78" y="22"/>
                  </a:lnTo>
                  <a:lnTo>
                    <a:pt x="78" y="22"/>
                  </a:lnTo>
                  <a:lnTo>
                    <a:pt x="84" y="22"/>
                  </a:lnTo>
                  <a:lnTo>
                    <a:pt x="96" y="20"/>
                  </a:lnTo>
                  <a:lnTo>
                    <a:pt x="96" y="20"/>
                  </a:lnTo>
                  <a:lnTo>
                    <a:pt x="100" y="20"/>
                  </a:lnTo>
                  <a:lnTo>
                    <a:pt x="104" y="20"/>
                  </a:lnTo>
                  <a:lnTo>
                    <a:pt x="108" y="22"/>
                  </a:lnTo>
                  <a:lnTo>
                    <a:pt x="110" y="20"/>
                  </a:lnTo>
                  <a:lnTo>
                    <a:pt x="110" y="20"/>
                  </a:lnTo>
                  <a:lnTo>
                    <a:pt x="112" y="20"/>
                  </a:lnTo>
                  <a:lnTo>
                    <a:pt x="114" y="20"/>
                  </a:lnTo>
                  <a:lnTo>
                    <a:pt x="118" y="24"/>
                  </a:lnTo>
                  <a:lnTo>
                    <a:pt x="122" y="26"/>
                  </a:lnTo>
                  <a:lnTo>
                    <a:pt x="122" y="26"/>
                  </a:lnTo>
                  <a:lnTo>
                    <a:pt x="126" y="30"/>
                  </a:lnTo>
                  <a:lnTo>
                    <a:pt x="126" y="32"/>
                  </a:lnTo>
                  <a:lnTo>
                    <a:pt x="126" y="34"/>
                  </a:lnTo>
                  <a:lnTo>
                    <a:pt x="126" y="40"/>
                  </a:lnTo>
                  <a:lnTo>
                    <a:pt x="126" y="40"/>
                  </a:lnTo>
                  <a:lnTo>
                    <a:pt x="128" y="46"/>
                  </a:lnTo>
                  <a:lnTo>
                    <a:pt x="130" y="54"/>
                  </a:lnTo>
                  <a:lnTo>
                    <a:pt x="128" y="62"/>
                  </a:lnTo>
                  <a:lnTo>
                    <a:pt x="124" y="72"/>
                  </a:lnTo>
                  <a:lnTo>
                    <a:pt x="124" y="72"/>
                  </a:lnTo>
                  <a:lnTo>
                    <a:pt x="122" y="80"/>
                  </a:lnTo>
                  <a:lnTo>
                    <a:pt x="120" y="86"/>
                  </a:lnTo>
                  <a:lnTo>
                    <a:pt x="120" y="90"/>
                  </a:lnTo>
                  <a:lnTo>
                    <a:pt x="118" y="98"/>
                  </a:lnTo>
                  <a:lnTo>
                    <a:pt x="118" y="98"/>
                  </a:lnTo>
                  <a:lnTo>
                    <a:pt x="114" y="104"/>
                  </a:lnTo>
                  <a:lnTo>
                    <a:pt x="114" y="110"/>
                  </a:lnTo>
                  <a:lnTo>
                    <a:pt x="116" y="116"/>
                  </a:lnTo>
                  <a:lnTo>
                    <a:pt x="118" y="122"/>
                  </a:lnTo>
                  <a:lnTo>
                    <a:pt x="118" y="122"/>
                  </a:lnTo>
                  <a:lnTo>
                    <a:pt x="120" y="128"/>
                  </a:lnTo>
                  <a:lnTo>
                    <a:pt x="122" y="130"/>
                  </a:lnTo>
                  <a:lnTo>
                    <a:pt x="124" y="130"/>
                  </a:lnTo>
                  <a:lnTo>
                    <a:pt x="124" y="134"/>
                  </a:lnTo>
                  <a:lnTo>
                    <a:pt x="124" y="134"/>
                  </a:lnTo>
                  <a:lnTo>
                    <a:pt x="124" y="136"/>
                  </a:lnTo>
                  <a:lnTo>
                    <a:pt x="122" y="138"/>
                  </a:lnTo>
                  <a:lnTo>
                    <a:pt x="120" y="140"/>
                  </a:lnTo>
                  <a:lnTo>
                    <a:pt x="120" y="14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4" name="Freeform 156"/>
            <p:cNvSpPr>
              <a:spLocks/>
            </p:cNvSpPr>
            <p:nvPr/>
          </p:nvSpPr>
          <p:spPr bwMode="auto">
            <a:xfrm>
              <a:off x="4967518" y="4483365"/>
              <a:ext cx="39688" cy="52917"/>
            </a:xfrm>
            <a:custGeom>
              <a:avLst/>
              <a:gdLst/>
              <a:ahLst/>
              <a:cxnLst>
                <a:cxn ang="0">
                  <a:pos x="30" y="26"/>
                </a:cxn>
                <a:cxn ang="0">
                  <a:pos x="30" y="26"/>
                </a:cxn>
                <a:cxn ang="0">
                  <a:pos x="28" y="28"/>
                </a:cxn>
                <a:cxn ang="0">
                  <a:pos x="30" y="32"/>
                </a:cxn>
                <a:cxn ang="0">
                  <a:pos x="30" y="36"/>
                </a:cxn>
                <a:cxn ang="0">
                  <a:pos x="28" y="38"/>
                </a:cxn>
                <a:cxn ang="0">
                  <a:pos x="28" y="38"/>
                </a:cxn>
                <a:cxn ang="0">
                  <a:pos x="24" y="40"/>
                </a:cxn>
                <a:cxn ang="0">
                  <a:pos x="20" y="40"/>
                </a:cxn>
                <a:cxn ang="0">
                  <a:pos x="16" y="38"/>
                </a:cxn>
                <a:cxn ang="0">
                  <a:pos x="8" y="34"/>
                </a:cxn>
                <a:cxn ang="0">
                  <a:pos x="8" y="34"/>
                </a:cxn>
                <a:cxn ang="0">
                  <a:pos x="0" y="28"/>
                </a:cxn>
                <a:cxn ang="0">
                  <a:pos x="0" y="24"/>
                </a:cxn>
                <a:cxn ang="0">
                  <a:pos x="0" y="18"/>
                </a:cxn>
                <a:cxn ang="0">
                  <a:pos x="4" y="10"/>
                </a:cxn>
                <a:cxn ang="0">
                  <a:pos x="4" y="10"/>
                </a:cxn>
                <a:cxn ang="0">
                  <a:pos x="8" y="4"/>
                </a:cxn>
                <a:cxn ang="0">
                  <a:pos x="10" y="0"/>
                </a:cxn>
                <a:cxn ang="0">
                  <a:pos x="14" y="0"/>
                </a:cxn>
                <a:cxn ang="0">
                  <a:pos x="22" y="4"/>
                </a:cxn>
                <a:cxn ang="0">
                  <a:pos x="22" y="4"/>
                </a:cxn>
                <a:cxn ang="0">
                  <a:pos x="26" y="8"/>
                </a:cxn>
                <a:cxn ang="0">
                  <a:pos x="28" y="12"/>
                </a:cxn>
                <a:cxn ang="0">
                  <a:pos x="28" y="18"/>
                </a:cxn>
                <a:cxn ang="0">
                  <a:pos x="30" y="26"/>
                </a:cxn>
                <a:cxn ang="0">
                  <a:pos x="30" y="26"/>
                </a:cxn>
              </a:cxnLst>
              <a:rect l="0" t="0" r="r" b="b"/>
              <a:pathLst>
                <a:path w="30" h="40">
                  <a:moveTo>
                    <a:pt x="30" y="26"/>
                  </a:moveTo>
                  <a:lnTo>
                    <a:pt x="30" y="26"/>
                  </a:lnTo>
                  <a:lnTo>
                    <a:pt x="28" y="28"/>
                  </a:lnTo>
                  <a:lnTo>
                    <a:pt x="30" y="32"/>
                  </a:lnTo>
                  <a:lnTo>
                    <a:pt x="30" y="36"/>
                  </a:lnTo>
                  <a:lnTo>
                    <a:pt x="28" y="38"/>
                  </a:lnTo>
                  <a:lnTo>
                    <a:pt x="28" y="38"/>
                  </a:lnTo>
                  <a:lnTo>
                    <a:pt x="24" y="40"/>
                  </a:lnTo>
                  <a:lnTo>
                    <a:pt x="20" y="40"/>
                  </a:lnTo>
                  <a:lnTo>
                    <a:pt x="16" y="38"/>
                  </a:lnTo>
                  <a:lnTo>
                    <a:pt x="8" y="34"/>
                  </a:lnTo>
                  <a:lnTo>
                    <a:pt x="8" y="34"/>
                  </a:lnTo>
                  <a:lnTo>
                    <a:pt x="0" y="28"/>
                  </a:lnTo>
                  <a:lnTo>
                    <a:pt x="0" y="24"/>
                  </a:lnTo>
                  <a:lnTo>
                    <a:pt x="0" y="18"/>
                  </a:lnTo>
                  <a:lnTo>
                    <a:pt x="4" y="10"/>
                  </a:lnTo>
                  <a:lnTo>
                    <a:pt x="4" y="10"/>
                  </a:lnTo>
                  <a:lnTo>
                    <a:pt x="8" y="4"/>
                  </a:lnTo>
                  <a:lnTo>
                    <a:pt x="10" y="0"/>
                  </a:lnTo>
                  <a:lnTo>
                    <a:pt x="14" y="0"/>
                  </a:lnTo>
                  <a:lnTo>
                    <a:pt x="22" y="4"/>
                  </a:lnTo>
                  <a:lnTo>
                    <a:pt x="22" y="4"/>
                  </a:lnTo>
                  <a:lnTo>
                    <a:pt x="26" y="8"/>
                  </a:lnTo>
                  <a:lnTo>
                    <a:pt x="28" y="12"/>
                  </a:lnTo>
                  <a:lnTo>
                    <a:pt x="28" y="18"/>
                  </a:lnTo>
                  <a:lnTo>
                    <a:pt x="30" y="26"/>
                  </a:lnTo>
                  <a:lnTo>
                    <a:pt x="30" y="26"/>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5" name="Freeform 158"/>
            <p:cNvSpPr>
              <a:spLocks/>
            </p:cNvSpPr>
            <p:nvPr/>
          </p:nvSpPr>
          <p:spPr bwMode="auto">
            <a:xfrm>
              <a:off x="3686934" y="2702719"/>
              <a:ext cx="322792" cy="412750"/>
            </a:xfrm>
            <a:custGeom>
              <a:avLst/>
              <a:gdLst/>
              <a:ahLst/>
              <a:cxnLst>
                <a:cxn ang="0">
                  <a:pos x="0" y="162"/>
                </a:cxn>
                <a:cxn ang="0">
                  <a:pos x="4" y="164"/>
                </a:cxn>
                <a:cxn ang="0">
                  <a:pos x="10" y="178"/>
                </a:cxn>
                <a:cxn ang="0">
                  <a:pos x="8" y="188"/>
                </a:cxn>
                <a:cxn ang="0">
                  <a:pos x="6" y="196"/>
                </a:cxn>
                <a:cxn ang="0">
                  <a:pos x="10" y="196"/>
                </a:cxn>
                <a:cxn ang="0">
                  <a:pos x="6" y="202"/>
                </a:cxn>
                <a:cxn ang="0">
                  <a:pos x="14" y="216"/>
                </a:cxn>
                <a:cxn ang="0">
                  <a:pos x="14" y="242"/>
                </a:cxn>
                <a:cxn ang="0">
                  <a:pos x="8" y="264"/>
                </a:cxn>
                <a:cxn ang="0">
                  <a:pos x="8" y="274"/>
                </a:cxn>
                <a:cxn ang="0">
                  <a:pos x="16" y="270"/>
                </a:cxn>
                <a:cxn ang="0">
                  <a:pos x="22" y="272"/>
                </a:cxn>
                <a:cxn ang="0">
                  <a:pos x="28" y="272"/>
                </a:cxn>
                <a:cxn ang="0">
                  <a:pos x="36" y="272"/>
                </a:cxn>
                <a:cxn ang="0">
                  <a:pos x="40" y="268"/>
                </a:cxn>
                <a:cxn ang="0">
                  <a:pos x="42" y="268"/>
                </a:cxn>
                <a:cxn ang="0">
                  <a:pos x="48" y="270"/>
                </a:cxn>
                <a:cxn ang="0">
                  <a:pos x="58" y="276"/>
                </a:cxn>
                <a:cxn ang="0">
                  <a:pos x="66" y="282"/>
                </a:cxn>
                <a:cxn ang="0">
                  <a:pos x="70" y="284"/>
                </a:cxn>
                <a:cxn ang="0">
                  <a:pos x="72" y="290"/>
                </a:cxn>
                <a:cxn ang="0">
                  <a:pos x="76" y="298"/>
                </a:cxn>
                <a:cxn ang="0">
                  <a:pos x="80" y="304"/>
                </a:cxn>
                <a:cxn ang="0">
                  <a:pos x="88" y="312"/>
                </a:cxn>
                <a:cxn ang="0">
                  <a:pos x="96" y="304"/>
                </a:cxn>
                <a:cxn ang="0">
                  <a:pos x="102" y="296"/>
                </a:cxn>
                <a:cxn ang="0">
                  <a:pos x="106" y="292"/>
                </a:cxn>
                <a:cxn ang="0">
                  <a:pos x="112" y="292"/>
                </a:cxn>
                <a:cxn ang="0">
                  <a:pos x="122" y="302"/>
                </a:cxn>
                <a:cxn ang="0">
                  <a:pos x="132" y="300"/>
                </a:cxn>
                <a:cxn ang="0">
                  <a:pos x="146" y="300"/>
                </a:cxn>
                <a:cxn ang="0">
                  <a:pos x="152" y="294"/>
                </a:cxn>
                <a:cxn ang="0">
                  <a:pos x="154" y="298"/>
                </a:cxn>
                <a:cxn ang="0">
                  <a:pos x="156" y="300"/>
                </a:cxn>
                <a:cxn ang="0">
                  <a:pos x="234" y="274"/>
                </a:cxn>
                <a:cxn ang="0">
                  <a:pos x="222" y="258"/>
                </a:cxn>
                <a:cxn ang="0">
                  <a:pos x="244" y="62"/>
                </a:cxn>
                <a:cxn ang="0">
                  <a:pos x="98" y="34"/>
                </a:cxn>
                <a:cxn ang="0">
                  <a:pos x="96" y="92"/>
                </a:cxn>
                <a:cxn ang="0">
                  <a:pos x="86" y="98"/>
                </a:cxn>
                <a:cxn ang="0">
                  <a:pos x="76" y="108"/>
                </a:cxn>
                <a:cxn ang="0">
                  <a:pos x="76" y="144"/>
                </a:cxn>
                <a:cxn ang="0">
                  <a:pos x="14" y="144"/>
                </a:cxn>
                <a:cxn ang="0">
                  <a:pos x="0" y="150"/>
                </a:cxn>
              </a:cxnLst>
              <a:rect l="0" t="0" r="r" b="b"/>
              <a:pathLst>
                <a:path w="244" h="312">
                  <a:moveTo>
                    <a:pt x="0" y="150"/>
                  </a:moveTo>
                  <a:lnTo>
                    <a:pt x="0" y="150"/>
                  </a:lnTo>
                  <a:lnTo>
                    <a:pt x="0" y="162"/>
                  </a:lnTo>
                  <a:lnTo>
                    <a:pt x="0" y="164"/>
                  </a:lnTo>
                  <a:lnTo>
                    <a:pt x="4" y="164"/>
                  </a:lnTo>
                  <a:lnTo>
                    <a:pt x="4" y="164"/>
                  </a:lnTo>
                  <a:lnTo>
                    <a:pt x="6" y="166"/>
                  </a:lnTo>
                  <a:lnTo>
                    <a:pt x="8" y="170"/>
                  </a:lnTo>
                  <a:lnTo>
                    <a:pt x="10" y="178"/>
                  </a:lnTo>
                  <a:lnTo>
                    <a:pt x="10" y="178"/>
                  </a:lnTo>
                  <a:lnTo>
                    <a:pt x="10" y="182"/>
                  </a:lnTo>
                  <a:lnTo>
                    <a:pt x="8" y="188"/>
                  </a:lnTo>
                  <a:lnTo>
                    <a:pt x="8" y="188"/>
                  </a:lnTo>
                  <a:lnTo>
                    <a:pt x="6" y="196"/>
                  </a:lnTo>
                  <a:lnTo>
                    <a:pt x="6" y="196"/>
                  </a:lnTo>
                  <a:lnTo>
                    <a:pt x="10" y="196"/>
                  </a:lnTo>
                  <a:lnTo>
                    <a:pt x="10" y="196"/>
                  </a:lnTo>
                  <a:lnTo>
                    <a:pt x="10" y="196"/>
                  </a:lnTo>
                  <a:lnTo>
                    <a:pt x="10" y="198"/>
                  </a:lnTo>
                  <a:lnTo>
                    <a:pt x="6" y="200"/>
                  </a:lnTo>
                  <a:lnTo>
                    <a:pt x="6" y="202"/>
                  </a:lnTo>
                  <a:lnTo>
                    <a:pt x="6" y="202"/>
                  </a:lnTo>
                  <a:lnTo>
                    <a:pt x="10" y="210"/>
                  </a:lnTo>
                  <a:lnTo>
                    <a:pt x="14" y="216"/>
                  </a:lnTo>
                  <a:lnTo>
                    <a:pt x="16" y="226"/>
                  </a:lnTo>
                  <a:lnTo>
                    <a:pt x="14" y="242"/>
                  </a:lnTo>
                  <a:lnTo>
                    <a:pt x="14" y="242"/>
                  </a:lnTo>
                  <a:lnTo>
                    <a:pt x="12" y="252"/>
                  </a:lnTo>
                  <a:lnTo>
                    <a:pt x="10" y="258"/>
                  </a:lnTo>
                  <a:lnTo>
                    <a:pt x="8" y="264"/>
                  </a:lnTo>
                  <a:lnTo>
                    <a:pt x="6" y="268"/>
                  </a:lnTo>
                  <a:lnTo>
                    <a:pt x="8" y="274"/>
                  </a:lnTo>
                  <a:lnTo>
                    <a:pt x="8" y="274"/>
                  </a:lnTo>
                  <a:lnTo>
                    <a:pt x="12" y="270"/>
                  </a:lnTo>
                  <a:lnTo>
                    <a:pt x="14" y="268"/>
                  </a:lnTo>
                  <a:lnTo>
                    <a:pt x="16" y="270"/>
                  </a:lnTo>
                  <a:lnTo>
                    <a:pt x="16" y="270"/>
                  </a:lnTo>
                  <a:lnTo>
                    <a:pt x="20" y="272"/>
                  </a:lnTo>
                  <a:lnTo>
                    <a:pt x="22" y="272"/>
                  </a:lnTo>
                  <a:lnTo>
                    <a:pt x="26" y="272"/>
                  </a:lnTo>
                  <a:lnTo>
                    <a:pt x="26" y="272"/>
                  </a:lnTo>
                  <a:lnTo>
                    <a:pt x="28" y="272"/>
                  </a:lnTo>
                  <a:lnTo>
                    <a:pt x="32" y="272"/>
                  </a:lnTo>
                  <a:lnTo>
                    <a:pt x="32" y="272"/>
                  </a:lnTo>
                  <a:lnTo>
                    <a:pt x="36" y="272"/>
                  </a:lnTo>
                  <a:lnTo>
                    <a:pt x="36" y="270"/>
                  </a:lnTo>
                  <a:lnTo>
                    <a:pt x="38" y="268"/>
                  </a:lnTo>
                  <a:lnTo>
                    <a:pt x="40" y="268"/>
                  </a:lnTo>
                  <a:lnTo>
                    <a:pt x="40" y="268"/>
                  </a:lnTo>
                  <a:lnTo>
                    <a:pt x="42" y="268"/>
                  </a:lnTo>
                  <a:lnTo>
                    <a:pt x="42" y="268"/>
                  </a:lnTo>
                  <a:lnTo>
                    <a:pt x="44" y="270"/>
                  </a:lnTo>
                  <a:lnTo>
                    <a:pt x="48" y="270"/>
                  </a:lnTo>
                  <a:lnTo>
                    <a:pt x="48" y="270"/>
                  </a:lnTo>
                  <a:lnTo>
                    <a:pt x="52" y="272"/>
                  </a:lnTo>
                  <a:lnTo>
                    <a:pt x="56" y="272"/>
                  </a:lnTo>
                  <a:lnTo>
                    <a:pt x="58" y="276"/>
                  </a:lnTo>
                  <a:lnTo>
                    <a:pt x="62" y="280"/>
                  </a:lnTo>
                  <a:lnTo>
                    <a:pt x="64" y="282"/>
                  </a:lnTo>
                  <a:lnTo>
                    <a:pt x="66" y="282"/>
                  </a:lnTo>
                  <a:lnTo>
                    <a:pt x="66" y="282"/>
                  </a:lnTo>
                  <a:lnTo>
                    <a:pt x="70" y="282"/>
                  </a:lnTo>
                  <a:lnTo>
                    <a:pt x="70" y="284"/>
                  </a:lnTo>
                  <a:lnTo>
                    <a:pt x="70" y="288"/>
                  </a:lnTo>
                  <a:lnTo>
                    <a:pt x="72" y="290"/>
                  </a:lnTo>
                  <a:lnTo>
                    <a:pt x="72" y="290"/>
                  </a:lnTo>
                  <a:lnTo>
                    <a:pt x="76" y="292"/>
                  </a:lnTo>
                  <a:lnTo>
                    <a:pt x="76" y="294"/>
                  </a:lnTo>
                  <a:lnTo>
                    <a:pt x="76" y="298"/>
                  </a:lnTo>
                  <a:lnTo>
                    <a:pt x="78" y="300"/>
                  </a:lnTo>
                  <a:lnTo>
                    <a:pt x="78" y="300"/>
                  </a:lnTo>
                  <a:lnTo>
                    <a:pt x="80" y="304"/>
                  </a:lnTo>
                  <a:lnTo>
                    <a:pt x="80" y="306"/>
                  </a:lnTo>
                  <a:lnTo>
                    <a:pt x="82" y="308"/>
                  </a:lnTo>
                  <a:lnTo>
                    <a:pt x="88" y="312"/>
                  </a:lnTo>
                  <a:lnTo>
                    <a:pt x="88" y="312"/>
                  </a:lnTo>
                  <a:lnTo>
                    <a:pt x="92" y="308"/>
                  </a:lnTo>
                  <a:lnTo>
                    <a:pt x="96" y="304"/>
                  </a:lnTo>
                  <a:lnTo>
                    <a:pt x="98" y="298"/>
                  </a:lnTo>
                  <a:lnTo>
                    <a:pt x="102" y="296"/>
                  </a:lnTo>
                  <a:lnTo>
                    <a:pt x="102" y="296"/>
                  </a:lnTo>
                  <a:lnTo>
                    <a:pt x="104" y="294"/>
                  </a:lnTo>
                  <a:lnTo>
                    <a:pt x="104" y="294"/>
                  </a:lnTo>
                  <a:lnTo>
                    <a:pt x="106" y="292"/>
                  </a:lnTo>
                  <a:lnTo>
                    <a:pt x="108" y="292"/>
                  </a:lnTo>
                  <a:lnTo>
                    <a:pt x="108" y="292"/>
                  </a:lnTo>
                  <a:lnTo>
                    <a:pt x="112" y="292"/>
                  </a:lnTo>
                  <a:lnTo>
                    <a:pt x="114" y="296"/>
                  </a:lnTo>
                  <a:lnTo>
                    <a:pt x="116" y="300"/>
                  </a:lnTo>
                  <a:lnTo>
                    <a:pt x="122" y="302"/>
                  </a:lnTo>
                  <a:lnTo>
                    <a:pt x="122" y="302"/>
                  </a:lnTo>
                  <a:lnTo>
                    <a:pt x="126" y="300"/>
                  </a:lnTo>
                  <a:lnTo>
                    <a:pt x="132" y="300"/>
                  </a:lnTo>
                  <a:lnTo>
                    <a:pt x="142" y="300"/>
                  </a:lnTo>
                  <a:lnTo>
                    <a:pt x="142" y="300"/>
                  </a:lnTo>
                  <a:lnTo>
                    <a:pt x="146" y="300"/>
                  </a:lnTo>
                  <a:lnTo>
                    <a:pt x="146" y="298"/>
                  </a:lnTo>
                  <a:lnTo>
                    <a:pt x="148" y="296"/>
                  </a:lnTo>
                  <a:lnTo>
                    <a:pt x="152" y="294"/>
                  </a:lnTo>
                  <a:lnTo>
                    <a:pt x="152" y="294"/>
                  </a:lnTo>
                  <a:lnTo>
                    <a:pt x="154" y="296"/>
                  </a:lnTo>
                  <a:lnTo>
                    <a:pt x="154" y="298"/>
                  </a:lnTo>
                  <a:lnTo>
                    <a:pt x="154" y="298"/>
                  </a:lnTo>
                  <a:lnTo>
                    <a:pt x="156" y="300"/>
                  </a:lnTo>
                  <a:lnTo>
                    <a:pt x="156" y="300"/>
                  </a:lnTo>
                  <a:lnTo>
                    <a:pt x="224" y="300"/>
                  </a:lnTo>
                  <a:lnTo>
                    <a:pt x="234" y="274"/>
                  </a:lnTo>
                  <a:lnTo>
                    <a:pt x="234" y="274"/>
                  </a:lnTo>
                  <a:lnTo>
                    <a:pt x="226" y="268"/>
                  </a:lnTo>
                  <a:lnTo>
                    <a:pt x="222" y="264"/>
                  </a:lnTo>
                  <a:lnTo>
                    <a:pt x="222" y="258"/>
                  </a:lnTo>
                  <a:lnTo>
                    <a:pt x="222" y="258"/>
                  </a:lnTo>
                  <a:lnTo>
                    <a:pt x="218" y="62"/>
                  </a:lnTo>
                  <a:lnTo>
                    <a:pt x="244" y="62"/>
                  </a:lnTo>
                  <a:lnTo>
                    <a:pt x="166" y="0"/>
                  </a:lnTo>
                  <a:lnTo>
                    <a:pt x="166" y="34"/>
                  </a:lnTo>
                  <a:lnTo>
                    <a:pt x="98" y="34"/>
                  </a:lnTo>
                  <a:lnTo>
                    <a:pt x="98" y="34"/>
                  </a:lnTo>
                  <a:lnTo>
                    <a:pt x="96" y="92"/>
                  </a:lnTo>
                  <a:lnTo>
                    <a:pt x="96" y="92"/>
                  </a:lnTo>
                  <a:lnTo>
                    <a:pt x="94" y="96"/>
                  </a:lnTo>
                  <a:lnTo>
                    <a:pt x="92" y="98"/>
                  </a:lnTo>
                  <a:lnTo>
                    <a:pt x="86" y="98"/>
                  </a:lnTo>
                  <a:lnTo>
                    <a:pt x="82" y="100"/>
                  </a:lnTo>
                  <a:lnTo>
                    <a:pt x="78" y="102"/>
                  </a:lnTo>
                  <a:lnTo>
                    <a:pt x="76" y="108"/>
                  </a:lnTo>
                  <a:lnTo>
                    <a:pt x="76" y="116"/>
                  </a:lnTo>
                  <a:lnTo>
                    <a:pt x="76" y="116"/>
                  </a:lnTo>
                  <a:lnTo>
                    <a:pt x="76" y="144"/>
                  </a:lnTo>
                  <a:lnTo>
                    <a:pt x="76" y="144"/>
                  </a:lnTo>
                  <a:lnTo>
                    <a:pt x="14" y="144"/>
                  </a:lnTo>
                  <a:lnTo>
                    <a:pt x="14" y="144"/>
                  </a:lnTo>
                  <a:lnTo>
                    <a:pt x="8" y="144"/>
                  </a:lnTo>
                  <a:lnTo>
                    <a:pt x="4" y="144"/>
                  </a:lnTo>
                  <a:lnTo>
                    <a:pt x="0" y="150"/>
                  </a:lnTo>
                  <a:lnTo>
                    <a:pt x="0" y="15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6" name="Freeform 159"/>
            <p:cNvSpPr>
              <a:spLocks/>
            </p:cNvSpPr>
            <p:nvPr/>
          </p:nvSpPr>
          <p:spPr bwMode="auto">
            <a:xfrm>
              <a:off x="3993851" y="3115469"/>
              <a:ext cx="211667" cy="177271"/>
            </a:xfrm>
            <a:custGeom>
              <a:avLst/>
              <a:gdLst/>
              <a:ahLst/>
              <a:cxnLst>
                <a:cxn ang="0">
                  <a:pos x="116" y="14"/>
                </a:cxn>
                <a:cxn ang="0">
                  <a:pos x="124" y="32"/>
                </a:cxn>
                <a:cxn ang="0">
                  <a:pos x="132" y="34"/>
                </a:cxn>
                <a:cxn ang="0">
                  <a:pos x="128" y="40"/>
                </a:cxn>
                <a:cxn ang="0">
                  <a:pos x="134" y="50"/>
                </a:cxn>
                <a:cxn ang="0">
                  <a:pos x="150" y="58"/>
                </a:cxn>
                <a:cxn ang="0">
                  <a:pos x="156" y="60"/>
                </a:cxn>
                <a:cxn ang="0">
                  <a:pos x="156" y="62"/>
                </a:cxn>
                <a:cxn ang="0">
                  <a:pos x="160" y="72"/>
                </a:cxn>
                <a:cxn ang="0">
                  <a:pos x="144" y="78"/>
                </a:cxn>
                <a:cxn ang="0">
                  <a:pos x="140" y="86"/>
                </a:cxn>
                <a:cxn ang="0">
                  <a:pos x="134" y="90"/>
                </a:cxn>
                <a:cxn ang="0">
                  <a:pos x="132" y="96"/>
                </a:cxn>
                <a:cxn ang="0">
                  <a:pos x="128" y="96"/>
                </a:cxn>
                <a:cxn ang="0">
                  <a:pos x="120" y="96"/>
                </a:cxn>
                <a:cxn ang="0">
                  <a:pos x="106" y="94"/>
                </a:cxn>
                <a:cxn ang="0">
                  <a:pos x="100" y="96"/>
                </a:cxn>
                <a:cxn ang="0">
                  <a:pos x="84" y="98"/>
                </a:cxn>
                <a:cxn ang="0">
                  <a:pos x="54" y="100"/>
                </a:cxn>
                <a:cxn ang="0">
                  <a:pos x="52" y="110"/>
                </a:cxn>
                <a:cxn ang="0">
                  <a:pos x="54" y="116"/>
                </a:cxn>
                <a:cxn ang="0">
                  <a:pos x="56" y="122"/>
                </a:cxn>
                <a:cxn ang="0">
                  <a:pos x="56" y="134"/>
                </a:cxn>
                <a:cxn ang="0">
                  <a:pos x="48" y="128"/>
                </a:cxn>
                <a:cxn ang="0">
                  <a:pos x="44" y="128"/>
                </a:cxn>
                <a:cxn ang="0">
                  <a:pos x="34" y="128"/>
                </a:cxn>
                <a:cxn ang="0">
                  <a:pos x="18" y="130"/>
                </a:cxn>
                <a:cxn ang="0">
                  <a:pos x="8" y="126"/>
                </a:cxn>
                <a:cxn ang="0">
                  <a:pos x="0" y="114"/>
                </a:cxn>
                <a:cxn ang="0">
                  <a:pos x="6" y="92"/>
                </a:cxn>
                <a:cxn ang="0">
                  <a:pos x="10" y="86"/>
                </a:cxn>
                <a:cxn ang="0">
                  <a:pos x="6" y="82"/>
                </a:cxn>
                <a:cxn ang="0">
                  <a:pos x="12" y="76"/>
                </a:cxn>
                <a:cxn ang="0">
                  <a:pos x="32" y="58"/>
                </a:cxn>
                <a:cxn ang="0">
                  <a:pos x="30" y="54"/>
                </a:cxn>
                <a:cxn ang="0">
                  <a:pos x="38" y="48"/>
                </a:cxn>
                <a:cxn ang="0">
                  <a:pos x="38" y="44"/>
                </a:cxn>
                <a:cxn ang="0">
                  <a:pos x="46" y="30"/>
                </a:cxn>
                <a:cxn ang="0">
                  <a:pos x="52" y="30"/>
                </a:cxn>
                <a:cxn ang="0">
                  <a:pos x="70" y="24"/>
                </a:cxn>
                <a:cxn ang="0">
                  <a:pos x="70" y="22"/>
                </a:cxn>
                <a:cxn ang="0">
                  <a:pos x="74" y="18"/>
                </a:cxn>
                <a:cxn ang="0">
                  <a:pos x="86" y="6"/>
                </a:cxn>
                <a:cxn ang="0">
                  <a:pos x="98" y="2"/>
                </a:cxn>
                <a:cxn ang="0">
                  <a:pos x="102" y="0"/>
                </a:cxn>
              </a:cxnLst>
              <a:rect l="0" t="0" r="r" b="b"/>
              <a:pathLst>
                <a:path w="160" h="134">
                  <a:moveTo>
                    <a:pt x="116" y="4"/>
                  </a:moveTo>
                  <a:lnTo>
                    <a:pt x="116" y="4"/>
                  </a:lnTo>
                  <a:lnTo>
                    <a:pt x="116" y="14"/>
                  </a:lnTo>
                  <a:lnTo>
                    <a:pt x="118" y="22"/>
                  </a:lnTo>
                  <a:lnTo>
                    <a:pt x="122" y="30"/>
                  </a:lnTo>
                  <a:lnTo>
                    <a:pt x="124" y="32"/>
                  </a:lnTo>
                  <a:lnTo>
                    <a:pt x="128" y="34"/>
                  </a:lnTo>
                  <a:lnTo>
                    <a:pt x="128" y="34"/>
                  </a:lnTo>
                  <a:lnTo>
                    <a:pt x="132" y="34"/>
                  </a:lnTo>
                  <a:lnTo>
                    <a:pt x="132" y="36"/>
                  </a:lnTo>
                  <a:lnTo>
                    <a:pt x="128" y="40"/>
                  </a:lnTo>
                  <a:lnTo>
                    <a:pt x="128" y="40"/>
                  </a:lnTo>
                  <a:lnTo>
                    <a:pt x="126" y="42"/>
                  </a:lnTo>
                  <a:lnTo>
                    <a:pt x="126" y="44"/>
                  </a:lnTo>
                  <a:lnTo>
                    <a:pt x="134" y="50"/>
                  </a:lnTo>
                  <a:lnTo>
                    <a:pt x="134" y="50"/>
                  </a:lnTo>
                  <a:lnTo>
                    <a:pt x="144" y="56"/>
                  </a:lnTo>
                  <a:lnTo>
                    <a:pt x="150" y="58"/>
                  </a:lnTo>
                  <a:lnTo>
                    <a:pt x="152" y="58"/>
                  </a:lnTo>
                  <a:lnTo>
                    <a:pt x="156" y="60"/>
                  </a:lnTo>
                  <a:lnTo>
                    <a:pt x="156" y="60"/>
                  </a:lnTo>
                  <a:lnTo>
                    <a:pt x="158" y="62"/>
                  </a:lnTo>
                  <a:lnTo>
                    <a:pt x="156" y="62"/>
                  </a:lnTo>
                  <a:lnTo>
                    <a:pt x="156" y="62"/>
                  </a:lnTo>
                  <a:lnTo>
                    <a:pt x="154" y="64"/>
                  </a:lnTo>
                  <a:lnTo>
                    <a:pt x="160" y="72"/>
                  </a:lnTo>
                  <a:lnTo>
                    <a:pt x="160" y="72"/>
                  </a:lnTo>
                  <a:lnTo>
                    <a:pt x="154" y="76"/>
                  </a:lnTo>
                  <a:lnTo>
                    <a:pt x="150" y="76"/>
                  </a:lnTo>
                  <a:lnTo>
                    <a:pt x="144" y="78"/>
                  </a:lnTo>
                  <a:lnTo>
                    <a:pt x="142" y="82"/>
                  </a:lnTo>
                  <a:lnTo>
                    <a:pt x="142" y="82"/>
                  </a:lnTo>
                  <a:lnTo>
                    <a:pt x="140" y="86"/>
                  </a:lnTo>
                  <a:lnTo>
                    <a:pt x="136" y="88"/>
                  </a:lnTo>
                  <a:lnTo>
                    <a:pt x="136" y="90"/>
                  </a:lnTo>
                  <a:lnTo>
                    <a:pt x="134" y="90"/>
                  </a:lnTo>
                  <a:lnTo>
                    <a:pt x="134" y="90"/>
                  </a:lnTo>
                  <a:lnTo>
                    <a:pt x="134" y="98"/>
                  </a:lnTo>
                  <a:lnTo>
                    <a:pt x="132" y="96"/>
                  </a:lnTo>
                  <a:lnTo>
                    <a:pt x="132" y="96"/>
                  </a:lnTo>
                  <a:lnTo>
                    <a:pt x="128" y="96"/>
                  </a:lnTo>
                  <a:lnTo>
                    <a:pt x="128" y="96"/>
                  </a:lnTo>
                  <a:lnTo>
                    <a:pt x="126" y="98"/>
                  </a:lnTo>
                  <a:lnTo>
                    <a:pt x="124" y="98"/>
                  </a:lnTo>
                  <a:lnTo>
                    <a:pt x="120" y="96"/>
                  </a:lnTo>
                  <a:lnTo>
                    <a:pt x="110" y="96"/>
                  </a:lnTo>
                  <a:lnTo>
                    <a:pt x="110" y="96"/>
                  </a:lnTo>
                  <a:lnTo>
                    <a:pt x="106" y="94"/>
                  </a:lnTo>
                  <a:lnTo>
                    <a:pt x="104" y="94"/>
                  </a:lnTo>
                  <a:lnTo>
                    <a:pt x="102" y="94"/>
                  </a:lnTo>
                  <a:lnTo>
                    <a:pt x="100" y="96"/>
                  </a:lnTo>
                  <a:lnTo>
                    <a:pt x="100" y="96"/>
                  </a:lnTo>
                  <a:lnTo>
                    <a:pt x="94" y="98"/>
                  </a:lnTo>
                  <a:lnTo>
                    <a:pt x="84" y="98"/>
                  </a:lnTo>
                  <a:lnTo>
                    <a:pt x="58" y="98"/>
                  </a:lnTo>
                  <a:lnTo>
                    <a:pt x="58" y="98"/>
                  </a:lnTo>
                  <a:lnTo>
                    <a:pt x="54" y="100"/>
                  </a:lnTo>
                  <a:lnTo>
                    <a:pt x="52" y="104"/>
                  </a:lnTo>
                  <a:lnTo>
                    <a:pt x="52" y="108"/>
                  </a:lnTo>
                  <a:lnTo>
                    <a:pt x="52" y="110"/>
                  </a:lnTo>
                  <a:lnTo>
                    <a:pt x="52" y="110"/>
                  </a:lnTo>
                  <a:lnTo>
                    <a:pt x="54" y="114"/>
                  </a:lnTo>
                  <a:lnTo>
                    <a:pt x="54" y="116"/>
                  </a:lnTo>
                  <a:lnTo>
                    <a:pt x="54" y="118"/>
                  </a:lnTo>
                  <a:lnTo>
                    <a:pt x="56" y="122"/>
                  </a:lnTo>
                  <a:lnTo>
                    <a:pt x="56" y="122"/>
                  </a:lnTo>
                  <a:lnTo>
                    <a:pt x="60" y="130"/>
                  </a:lnTo>
                  <a:lnTo>
                    <a:pt x="60" y="132"/>
                  </a:lnTo>
                  <a:lnTo>
                    <a:pt x="56" y="134"/>
                  </a:lnTo>
                  <a:lnTo>
                    <a:pt x="56" y="134"/>
                  </a:lnTo>
                  <a:lnTo>
                    <a:pt x="52" y="132"/>
                  </a:lnTo>
                  <a:lnTo>
                    <a:pt x="48" y="128"/>
                  </a:lnTo>
                  <a:lnTo>
                    <a:pt x="46" y="128"/>
                  </a:lnTo>
                  <a:lnTo>
                    <a:pt x="44" y="128"/>
                  </a:lnTo>
                  <a:lnTo>
                    <a:pt x="44" y="128"/>
                  </a:lnTo>
                  <a:lnTo>
                    <a:pt x="42" y="130"/>
                  </a:lnTo>
                  <a:lnTo>
                    <a:pt x="38" y="128"/>
                  </a:lnTo>
                  <a:lnTo>
                    <a:pt x="34" y="128"/>
                  </a:lnTo>
                  <a:lnTo>
                    <a:pt x="30" y="128"/>
                  </a:lnTo>
                  <a:lnTo>
                    <a:pt x="30" y="128"/>
                  </a:lnTo>
                  <a:lnTo>
                    <a:pt x="18" y="130"/>
                  </a:lnTo>
                  <a:lnTo>
                    <a:pt x="12" y="130"/>
                  </a:lnTo>
                  <a:lnTo>
                    <a:pt x="12" y="130"/>
                  </a:lnTo>
                  <a:lnTo>
                    <a:pt x="8" y="126"/>
                  </a:lnTo>
                  <a:lnTo>
                    <a:pt x="8" y="122"/>
                  </a:lnTo>
                  <a:lnTo>
                    <a:pt x="6" y="118"/>
                  </a:lnTo>
                  <a:lnTo>
                    <a:pt x="0" y="114"/>
                  </a:lnTo>
                  <a:lnTo>
                    <a:pt x="0" y="114"/>
                  </a:lnTo>
                  <a:lnTo>
                    <a:pt x="4" y="98"/>
                  </a:lnTo>
                  <a:lnTo>
                    <a:pt x="6" y="92"/>
                  </a:lnTo>
                  <a:lnTo>
                    <a:pt x="10" y="90"/>
                  </a:lnTo>
                  <a:lnTo>
                    <a:pt x="10" y="86"/>
                  </a:lnTo>
                  <a:lnTo>
                    <a:pt x="10" y="86"/>
                  </a:lnTo>
                  <a:lnTo>
                    <a:pt x="8" y="82"/>
                  </a:lnTo>
                  <a:lnTo>
                    <a:pt x="6" y="82"/>
                  </a:lnTo>
                  <a:lnTo>
                    <a:pt x="6" y="82"/>
                  </a:lnTo>
                  <a:lnTo>
                    <a:pt x="6" y="80"/>
                  </a:lnTo>
                  <a:lnTo>
                    <a:pt x="12" y="76"/>
                  </a:lnTo>
                  <a:lnTo>
                    <a:pt x="12" y="76"/>
                  </a:lnTo>
                  <a:lnTo>
                    <a:pt x="28" y="66"/>
                  </a:lnTo>
                  <a:lnTo>
                    <a:pt x="32" y="60"/>
                  </a:lnTo>
                  <a:lnTo>
                    <a:pt x="32" y="58"/>
                  </a:lnTo>
                  <a:lnTo>
                    <a:pt x="32" y="56"/>
                  </a:lnTo>
                  <a:lnTo>
                    <a:pt x="32" y="56"/>
                  </a:lnTo>
                  <a:lnTo>
                    <a:pt x="30" y="54"/>
                  </a:lnTo>
                  <a:lnTo>
                    <a:pt x="30" y="52"/>
                  </a:lnTo>
                  <a:lnTo>
                    <a:pt x="34" y="52"/>
                  </a:lnTo>
                  <a:lnTo>
                    <a:pt x="38" y="48"/>
                  </a:lnTo>
                  <a:lnTo>
                    <a:pt x="38" y="46"/>
                  </a:lnTo>
                  <a:lnTo>
                    <a:pt x="38" y="44"/>
                  </a:lnTo>
                  <a:lnTo>
                    <a:pt x="38" y="44"/>
                  </a:lnTo>
                  <a:lnTo>
                    <a:pt x="38" y="40"/>
                  </a:lnTo>
                  <a:lnTo>
                    <a:pt x="40" y="34"/>
                  </a:lnTo>
                  <a:lnTo>
                    <a:pt x="46" y="30"/>
                  </a:lnTo>
                  <a:lnTo>
                    <a:pt x="50" y="30"/>
                  </a:lnTo>
                  <a:lnTo>
                    <a:pt x="52" y="30"/>
                  </a:lnTo>
                  <a:lnTo>
                    <a:pt x="52" y="30"/>
                  </a:lnTo>
                  <a:lnTo>
                    <a:pt x="60" y="30"/>
                  </a:lnTo>
                  <a:lnTo>
                    <a:pt x="68" y="28"/>
                  </a:lnTo>
                  <a:lnTo>
                    <a:pt x="70" y="24"/>
                  </a:lnTo>
                  <a:lnTo>
                    <a:pt x="72" y="24"/>
                  </a:lnTo>
                  <a:lnTo>
                    <a:pt x="70" y="22"/>
                  </a:lnTo>
                  <a:lnTo>
                    <a:pt x="70" y="22"/>
                  </a:lnTo>
                  <a:lnTo>
                    <a:pt x="66" y="20"/>
                  </a:lnTo>
                  <a:lnTo>
                    <a:pt x="70" y="20"/>
                  </a:lnTo>
                  <a:lnTo>
                    <a:pt x="74" y="18"/>
                  </a:lnTo>
                  <a:lnTo>
                    <a:pt x="80" y="14"/>
                  </a:lnTo>
                  <a:lnTo>
                    <a:pt x="80" y="14"/>
                  </a:lnTo>
                  <a:lnTo>
                    <a:pt x="86" y="6"/>
                  </a:lnTo>
                  <a:lnTo>
                    <a:pt x="90" y="6"/>
                  </a:lnTo>
                  <a:lnTo>
                    <a:pt x="94" y="6"/>
                  </a:lnTo>
                  <a:lnTo>
                    <a:pt x="98" y="2"/>
                  </a:lnTo>
                  <a:lnTo>
                    <a:pt x="98" y="2"/>
                  </a:lnTo>
                  <a:lnTo>
                    <a:pt x="100" y="0"/>
                  </a:lnTo>
                  <a:lnTo>
                    <a:pt x="102" y="0"/>
                  </a:lnTo>
                  <a:lnTo>
                    <a:pt x="116" y="4"/>
                  </a:lnTo>
                  <a:lnTo>
                    <a:pt x="116" y="4"/>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7" name="Freeform 160"/>
            <p:cNvSpPr>
              <a:spLocks/>
            </p:cNvSpPr>
            <p:nvPr/>
          </p:nvSpPr>
          <p:spPr bwMode="auto">
            <a:xfrm>
              <a:off x="3803351" y="2784740"/>
              <a:ext cx="455083" cy="486833"/>
            </a:xfrm>
            <a:custGeom>
              <a:avLst/>
              <a:gdLst/>
              <a:ahLst/>
              <a:cxnLst>
                <a:cxn ang="0">
                  <a:pos x="150" y="342"/>
                </a:cxn>
                <a:cxn ang="0">
                  <a:pos x="152" y="332"/>
                </a:cxn>
                <a:cxn ang="0">
                  <a:pos x="156" y="326"/>
                </a:cxn>
                <a:cxn ang="0">
                  <a:pos x="176" y="308"/>
                </a:cxn>
                <a:cxn ang="0">
                  <a:pos x="174" y="302"/>
                </a:cxn>
                <a:cxn ang="0">
                  <a:pos x="182" y="294"/>
                </a:cxn>
                <a:cxn ang="0">
                  <a:pos x="190" y="280"/>
                </a:cxn>
                <a:cxn ang="0">
                  <a:pos x="204" y="280"/>
                </a:cxn>
                <a:cxn ang="0">
                  <a:pos x="214" y="272"/>
                </a:cxn>
                <a:cxn ang="0">
                  <a:pos x="218" y="268"/>
                </a:cxn>
                <a:cxn ang="0">
                  <a:pos x="234" y="256"/>
                </a:cxn>
                <a:cxn ang="0">
                  <a:pos x="244" y="250"/>
                </a:cxn>
                <a:cxn ang="0">
                  <a:pos x="264" y="254"/>
                </a:cxn>
                <a:cxn ang="0">
                  <a:pos x="270" y="250"/>
                </a:cxn>
                <a:cxn ang="0">
                  <a:pos x="284" y="244"/>
                </a:cxn>
                <a:cxn ang="0">
                  <a:pos x="308" y="238"/>
                </a:cxn>
                <a:cxn ang="0">
                  <a:pos x="322" y="232"/>
                </a:cxn>
                <a:cxn ang="0">
                  <a:pos x="338" y="222"/>
                </a:cxn>
                <a:cxn ang="0">
                  <a:pos x="342" y="204"/>
                </a:cxn>
                <a:cxn ang="0">
                  <a:pos x="344" y="198"/>
                </a:cxn>
                <a:cxn ang="0">
                  <a:pos x="344" y="144"/>
                </a:cxn>
                <a:cxn ang="0">
                  <a:pos x="320" y="150"/>
                </a:cxn>
                <a:cxn ang="0">
                  <a:pos x="326" y="130"/>
                </a:cxn>
                <a:cxn ang="0">
                  <a:pos x="320" y="124"/>
                </a:cxn>
                <a:cxn ang="0">
                  <a:pos x="314" y="120"/>
                </a:cxn>
                <a:cxn ang="0">
                  <a:pos x="310" y="116"/>
                </a:cxn>
                <a:cxn ang="0">
                  <a:pos x="308" y="112"/>
                </a:cxn>
                <a:cxn ang="0">
                  <a:pos x="298" y="108"/>
                </a:cxn>
                <a:cxn ang="0">
                  <a:pos x="134" y="196"/>
                </a:cxn>
                <a:cxn ang="0">
                  <a:pos x="146" y="212"/>
                </a:cxn>
                <a:cxn ang="0">
                  <a:pos x="68" y="238"/>
                </a:cxn>
                <a:cxn ang="0">
                  <a:pos x="64" y="232"/>
                </a:cxn>
                <a:cxn ang="0">
                  <a:pos x="58" y="238"/>
                </a:cxn>
                <a:cxn ang="0">
                  <a:pos x="38" y="238"/>
                </a:cxn>
                <a:cxn ang="0">
                  <a:pos x="26" y="234"/>
                </a:cxn>
                <a:cxn ang="0">
                  <a:pos x="18" y="230"/>
                </a:cxn>
                <a:cxn ang="0">
                  <a:pos x="14" y="234"/>
                </a:cxn>
                <a:cxn ang="0">
                  <a:pos x="0" y="250"/>
                </a:cxn>
                <a:cxn ang="0">
                  <a:pos x="4" y="260"/>
                </a:cxn>
                <a:cxn ang="0">
                  <a:pos x="4" y="280"/>
                </a:cxn>
                <a:cxn ang="0">
                  <a:pos x="10" y="282"/>
                </a:cxn>
                <a:cxn ang="0">
                  <a:pos x="14" y="314"/>
                </a:cxn>
                <a:cxn ang="0">
                  <a:pos x="20" y="318"/>
                </a:cxn>
                <a:cxn ang="0">
                  <a:pos x="26" y="320"/>
                </a:cxn>
                <a:cxn ang="0">
                  <a:pos x="34" y="318"/>
                </a:cxn>
                <a:cxn ang="0">
                  <a:pos x="42" y="320"/>
                </a:cxn>
                <a:cxn ang="0">
                  <a:pos x="54" y="318"/>
                </a:cxn>
                <a:cxn ang="0">
                  <a:pos x="58" y="312"/>
                </a:cxn>
                <a:cxn ang="0">
                  <a:pos x="66" y="318"/>
                </a:cxn>
                <a:cxn ang="0">
                  <a:pos x="72" y="328"/>
                </a:cxn>
                <a:cxn ang="0">
                  <a:pos x="74" y="334"/>
                </a:cxn>
                <a:cxn ang="0">
                  <a:pos x="72" y="348"/>
                </a:cxn>
                <a:cxn ang="0">
                  <a:pos x="82" y="358"/>
                </a:cxn>
                <a:cxn ang="0">
                  <a:pos x="90" y="366"/>
                </a:cxn>
                <a:cxn ang="0">
                  <a:pos x="98" y="362"/>
                </a:cxn>
                <a:cxn ang="0">
                  <a:pos x="108" y="366"/>
                </a:cxn>
                <a:cxn ang="0">
                  <a:pos x="118" y="358"/>
                </a:cxn>
                <a:cxn ang="0">
                  <a:pos x="128" y="364"/>
                </a:cxn>
                <a:cxn ang="0">
                  <a:pos x="138" y="362"/>
                </a:cxn>
              </a:cxnLst>
              <a:rect l="0" t="0" r="r" b="b"/>
              <a:pathLst>
                <a:path w="344" h="368">
                  <a:moveTo>
                    <a:pt x="144" y="364"/>
                  </a:moveTo>
                  <a:lnTo>
                    <a:pt x="144" y="364"/>
                  </a:lnTo>
                  <a:lnTo>
                    <a:pt x="148" y="348"/>
                  </a:lnTo>
                  <a:lnTo>
                    <a:pt x="150" y="342"/>
                  </a:lnTo>
                  <a:lnTo>
                    <a:pt x="154" y="340"/>
                  </a:lnTo>
                  <a:lnTo>
                    <a:pt x="154" y="336"/>
                  </a:lnTo>
                  <a:lnTo>
                    <a:pt x="154" y="336"/>
                  </a:lnTo>
                  <a:lnTo>
                    <a:pt x="152" y="332"/>
                  </a:lnTo>
                  <a:lnTo>
                    <a:pt x="150" y="332"/>
                  </a:lnTo>
                  <a:lnTo>
                    <a:pt x="150" y="332"/>
                  </a:lnTo>
                  <a:lnTo>
                    <a:pt x="150" y="330"/>
                  </a:lnTo>
                  <a:lnTo>
                    <a:pt x="156" y="326"/>
                  </a:lnTo>
                  <a:lnTo>
                    <a:pt x="156" y="326"/>
                  </a:lnTo>
                  <a:lnTo>
                    <a:pt x="172" y="316"/>
                  </a:lnTo>
                  <a:lnTo>
                    <a:pt x="176" y="310"/>
                  </a:lnTo>
                  <a:lnTo>
                    <a:pt x="176" y="308"/>
                  </a:lnTo>
                  <a:lnTo>
                    <a:pt x="176" y="306"/>
                  </a:lnTo>
                  <a:lnTo>
                    <a:pt x="176" y="306"/>
                  </a:lnTo>
                  <a:lnTo>
                    <a:pt x="174" y="304"/>
                  </a:lnTo>
                  <a:lnTo>
                    <a:pt x="174" y="302"/>
                  </a:lnTo>
                  <a:lnTo>
                    <a:pt x="178" y="302"/>
                  </a:lnTo>
                  <a:lnTo>
                    <a:pt x="182" y="298"/>
                  </a:lnTo>
                  <a:lnTo>
                    <a:pt x="182" y="296"/>
                  </a:lnTo>
                  <a:lnTo>
                    <a:pt x="182" y="294"/>
                  </a:lnTo>
                  <a:lnTo>
                    <a:pt x="182" y="294"/>
                  </a:lnTo>
                  <a:lnTo>
                    <a:pt x="182" y="290"/>
                  </a:lnTo>
                  <a:lnTo>
                    <a:pt x="184" y="284"/>
                  </a:lnTo>
                  <a:lnTo>
                    <a:pt x="190" y="280"/>
                  </a:lnTo>
                  <a:lnTo>
                    <a:pt x="194" y="280"/>
                  </a:lnTo>
                  <a:lnTo>
                    <a:pt x="196" y="280"/>
                  </a:lnTo>
                  <a:lnTo>
                    <a:pt x="196" y="280"/>
                  </a:lnTo>
                  <a:lnTo>
                    <a:pt x="204" y="280"/>
                  </a:lnTo>
                  <a:lnTo>
                    <a:pt x="212" y="278"/>
                  </a:lnTo>
                  <a:lnTo>
                    <a:pt x="214" y="274"/>
                  </a:lnTo>
                  <a:lnTo>
                    <a:pt x="216" y="274"/>
                  </a:lnTo>
                  <a:lnTo>
                    <a:pt x="214" y="272"/>
                  </a:lnTo>
                  <a:lnTo>
                    <a:pt x="214" y="272"/>
                  </a:lnTo>
                  <a:lnTo>
                    <a:pt x="210" y="270"/>
                  </a:lnTo>
                  <a:lnTo>
                    <a:pt x="214" y="270"/>
                  </a:lnTo>
                  <a:lnTo>
                    <a:pt x="218" y="268"/>
                  </a:lnTo>
                  <a:lnTo>
                    <a:pt x="224" y="264"/>
                  </a:lnTo>
                  <a:lnTo>
                    <a:pt x="224" y="264"/>
                  </a:lnTo>
                  <a:lnTo>
                    <a:pt x="230" y="256"/>
                  </a:lnTo>
                  <a:lnTo>
                    <a:pt x="234" y="256"/>
                  </a:lnTo>
                  <a:lnTo>
                    <a:pt x="238" y="256"/>
                  </a:lnTo>
                  <a:lnTo>
                    <a:pt x="242" y="252"/>
                  </a:lnTo>
                  <a:lnTo>
                    <a:pt x="242" y="252"/>
                  </a:lnTo>
                  <a:lnTo>
                    <a:pt x="244" y="250"/>
                  </a:lnTo>
                  <a:lnTo>
                    <a:pt x="246" y="250"/>
                  </a:lnTo>
                  <a:lnTo>
                    <a:pt x="260" y="254"/>
                  </a:lnTo>
                  <a:lnTo>
                    <a:pt x="260" y="254"/>
                  </a:lnTo>
                  <a:lnTo>
                    <a:pt x="264" y="254"/>
                  </a:lnTo>
                  <a:lnTo>
                    <a:pt x="266" y="254"/>
                  </a:lnTo>
                  <a:lnTo>
                    <a:pt x="268" y="252"/>
                  </a:lnTo>
                  <a:lnTo>
                    <a:pt x="268" y="252"/>
                  </a:lnTo>
                  <a:lnTo>
                    <a:pt x="270" y="250"/>
                  </a:lnTo>
                  <a:lnTo>
                    <a:pt x="274" y="250"/>
                  </a:lnTo>
                  <a:lnTo>
                    <a:pt x="278" y="248"/>
                  </a:lnTo>
                  <a:lnTo>
                    <a:pt x="284" y="244"/>
                  </a:lnTo>
                  <a:lnTo>
                    <a:pt x="284" y="244"/>
                  </a:lnTo>
                  <a:lnTo>
                    <a:pt x="288" y="240"/>
                  </a:lnTo>
                  <a:lnTo>
                    <a:pt x="290" y="238"/>
                  </a:lnTo>
                  <a:lnTo>
                    <a:pt x="298" y="238"/>
                  </a:lnTo>
                  <a:lnTo>
                    <a:pt x="308" y="238"/>
                  </a:lnTo>
                  <a:lnTo>
                    <a:pt x="312" y="238"/>
                  </a:lnTo>
                  <a:lnTo>
                    <a:pt x="316" y="234"/>
                  </a:lnTo>
                  <a:lnTo>
                    <a:pt x="316" y="234"/>
                  </a:lnTo>
                  <a:lnTo>
                    <a:pt x="322" y="232"/>
                  </a:lnTo>
                  <a:lnTo>
                    <a:pt x="330" y="228"/>
                  </a:lnTo>
                  <a:lnTo>
                    <a:pt x="336" y="226"/>
                  </a:lnTo>
                  <a:lnTo>
                    <a:pt x="336" y="224"/>
                  </a:lnTo>
                  <a:lnTo>
                    <a:pt x="338" y="222"/>
                  </a:lnTo>
                  <a:lnTo>
                    <a:pt x="338" y="222"/>
                  </a:lnTo>
                  <a:lnTo>
                    <a:pt x="340" y="216"/>
                  </a:lnTo>
                  <a:lnTo>
                    <a:pt x="340" y="212"/>
                  </a:lnTo>
                  <a:lnTo>
                    <a:pt x="342" y="204"/>
                  </a:lnTo>
                  <a:lnTo>
                    <a:pt x="342" y="204"/>
                  </a:lnTo>
                  <a:lnTo>
                    <a:pt x="342" y="200"/>
                  </a:lnTo>
                  <a:lnTo>
                    <a:pt x="342" y="198"/>
                  </a:lnTo>
                  <a:lnTo>
                    <a:pt x="344" y="198"/>
                  </a:lnTo>
                  <a:lnTo>
                    <a:pt x="344" y="194"/>
                  </a:lnTo>
                  <a:lnTo>
                    <a:pt x="344" y="194"/>
                  </a:lnTo>
                  <a:lnTo>
                    <a:pt x="344" y="144"/>
                  </a:lnTo>
                  <a:lnTo>
                    <a:pt x="344" y="144"/>
                  </a:lnTo>
                  <a:lnTo>
                    <a:pt x="326" y="150"/>
                  </a:lnTo>
                  <a:lnTo>
                    <a:pt x="322" y="152"/>
                  </a:lnTo>
                  <a:lnTo>
                    <a:pt x="320" y="150"/>
                  </a:lnTo>
                  <a:lnTo>
                    <a:pt x="320" y="150"/>
                  </a:lnTo>
                  <a:lnTo>
                    <a:pt x="322" y="144"/>
                  </a:lnTo>
                  <a:lnTo>
                    <a:pt x="324" y="140"/>
                  </a:lnTo>
                  <a:lnTo>
                    <a:pt x="328" y="134"/>
                  </a:lnTo>
                  <a:lnTo>
                    <a:pt x="326" y="130"/>
                  </a:lnTo>
                  <a:lnTo>
                    <a:pt x="326" y="130"/>
                  </a:lnTo>
                  <a:lnTo>
                    <a:pt x="324" y="128"/>
                  </a:lnTo>
                  <a:lnTo>
                    <a:pt x="322" y="128"/>
                  </a:lnTo>
                  <a:lnTo>
                    <a:pt x="320" y="124"/>
                  </a:lnTo>
                  <a:lnTo>
                    <a:pt x="320" y="124"/>
                  </a:lnTo>
                  <a:lnTo>
                    <a:pt x="318" y="122"/>
                  </a:lnTo>
                  <a:lnTo>
                    <a:pt x="316" y="122"/>
                  </a:lnTo>
                  <a:lnTo>
                    <a:pt x="314" y="120"/>
                  </a:lnTo>
                  <a:lnTo>
                    <a:pt x="310" y="120"/>
                  </a:lnTo>
                  <a:lnTo>
                    <a:pt x="310" y="120"/>
                  </a:lnTo>
                  <a:lnTo>
                    <a:pt x="308" y="118"/>
                  </a:lnTo>
                  <a:lnTo>
                    <a:pt x="310" y="116"/>
                  </a:lnTo>
                  <a:lnTo>
                    <a:pt x="310" y="116"/>
                  </a:lnTo>
                  <a:lnTo>
                    <a:pt x="310" y="114"/>
                  </a:lnTo>
                  <a:lnTo>
                    <a:pt x="310" y="114"/>
                  </a:lnTo>
                  <a:lnTo>
                    <a:pt x="308" y="112"/>
                  </a:lnTo>
                  <a:lnTo>
                    <a:pt x="306" y="112"/>
                  </a:lnTo>
                  <a:lnTo>
                    <a:pt x="302" y="112"/>
                  </a:lnTo>
                  <a:lnTo>
                    <a:pt x="298" y="108"/>
                  </a:lnTo>
                  <a:lnTo>
                    <a:pt x="298" y="108"/>
                  </a:lnTo>
                  <a:lnTo>
                    <a:pt x="156" y="0"/>
                  </a:lnTo>
                  <a:lnTo>
                    <a:pt x="130" y="0"/>
                  </a:lnTo>
                  <a:lnTo>
                    <a:pt x="130" y="0"/>
                  </a:lnTo>
                  <a:lnTo>
                    <a:pt x="134" y="196"/>
                  </a:lnTo>
                  <a:lnTo>
                    <a:pt x="134" y="196"/>
                  </a:lnTo>
                  <a:lnTo>
                    <a:pt x="134" y="202"/>
                  </a:lnTo>
                  <a:lnTo>
                    <a:pt x="138" y="206"/>
                  </a:lnTo>
                  <a:lnTo>
                    <a:pt x="146" y="212"/>
                  </a:lnTo>
                  <a:lnTo>
                    <a:pt x="136" y="238"/>
                  </a:lnTo>
                  <a:lnTo>
                    <a:pt x="136" y="238"/>
                  </a:lnTo>
                  <a:lnTo>
                    <a:pt x="68" y="238"/>
                  </a:lnTo>
                  <a:lnTo>
                    <a:pt x="68" y="238"/>
                  </a:lnTo>
                  <a:lnTo>
                    <a:pt x="66" y="236"/>
                  </a:lnTo>
                  <a:lnTo>
                    <a:pt x="66" y="236"/>
                  </a:lnTo>
                  <a:lnTo>
                    <a:pt x="66" y="234"/>
                  </a:lnTo>
                  <a:lnTo>
                    <a:pt x="64" y="232"/>
                  </a:lnTo>
                  <a:lnTo>
                    <a:pt x="64" y="232"/>
                  </a:lnTo>
                  <a:lnTo>
                    <a:pt x="60" y="234"/>
                  </a:lnTo>
                  <a:lnTo>
                    <a:pt x="58" y="236"/>
                  </a:lnTo>
                  <a:lnTo>
                    <a:pt x="58" y="238"/>
                  </a:lnTo>
                  <a:lnTo>
                    <a:pt x="54" y="238"/>
                  </a:lnTo>
                  <a:lnTo>
                    <a:pt x="54" y="238"/>
                  </a:lnTo>
                  <a:lnTo>
                    <a:pt x="44" y="238"/>
                  </a:lnTo>
                  <a:lnTo>
                    <a:pt x="38" y="238"/>
                  </a:lnTo>
                  <a:lnTo>
                    <a:pt x="34" y="240"/>
                  </a:lnTo>
                  <a:lnTo>
                    <a:pt x="34" y="240"/>
                  </a:lnTo>
                  <a:lnTo>
                    <a:pt x="28" y="238"/>
                  </a:lnTo>
                  <a:lnTo>
                    <a:pt x="26" y="234"/>
                  </a:lnTo>
                  <a:lnTo>
                    <a:pt x="24" y="230"/>
                  </a:lnTo>
                  <a:lnTo>
                    <a:pt x="20" y="230"/>
                  </a:lnTo>
                  <a:lnTo>
                    <a:pt x="20" y="230"/>
                  </a:lnTo>
                  <a:lnTo>
                    <a:pt x="18" y="230"/>
                  </a:lnTo>
                  <a:lnTo>
                    <a:pt x="16" y="232"/>
                  </a:lnTo>
                  <a:lnTo>
                    <a:pt x="16" y="232"/>
                  </a:lnTo>
                  <a:lnTo>
                    <a:pt x="14" y="234"/>
                  </a:lnTo>
                  <a:lnTo>
                    <a:pt x="14" y="234"/>
                  </a:lnTo>
                  <a:lnTo>
                    <a:pt x="10" y="236"/>
                  </a:lnTo>
                  <a:lnTo>
                    <a:pt x="8" y="242"/>
                  </a:lnTo>
                  <a:lnTo>
                    <a:pt x="4" y="246"/>
                  </a:lnTo>
                  <a:lnTo>
                    <a:pt x="0" y="250"/>
                  </a:lnTo>
                  <a:lnTo>
                    <a:pt x="0" y="250"/>
                  </a:lnTo>
                  <a:lnTo>
                    <a:pt x="0" y="256"/>
                  </a:lnTo>
                  <a:lnTo>
                    <a:pt x="2" y="258"/>
                  </a:lnTo>
                  <a:lnTo>
                    <a:pt x="4" y="260"/>
                  </a:lnTo>
                  <a:lnTo>
                    <a:pt x="2" y="268"/>
                  </a:lnTo>
                  <a:lnTo>
                    <a:pt x="2" y="268"/>
                  </a:lnTo>
                  <a:lnTo>
                    <a:pt x="2" y="274"/>
                  </a:lnTo>
                  <a:lnTo>
                    <a:pt x="4" y="280"/>
                  </a:lnTo>
                  <a:lnTo>
                    <a:pt x="6" y="284"/>
                  </a:lnTo>
                  <a:lnTo>
                    <a:pt x="8" y="284"/>
                  </a:lnTo>
                  <a:lnTo>
                    <a:pt x="10" y="282"/>
                  </a:lnTo>
                  <a:lnTo>
                    <a:pt x="10" y="282"/>
                  </a:lnTo>
                  <a:lnTo>
                    <a:pt x="14" y="290"/>
                  </a:lnTo>
                  <a:lnTo>
                    <a:pt x="16" y="298"/>
                  </a:lnTo>
                  <a:lnTo>
                    <a:pt x="16" y="308"/>
                  </a:lnTo>
                  <a:lnTo>
                    <a:pt x="14" y="314"/>
                  </a:lnTo>
                  <a:lnTo>
                    <a:pt x="14" y="314"/>
                  </a:lnTo>
                  <a:lnTo>
                    <a:pt x="14" y="316"/>
                  </a:lnTo>
                  <a:lnTo>
                    <a:pt x="16" y="318"/>
                  </a:lnTo>
                  <a:lnTo>
                    <a:pt x="20" y="318"/>
                  </a:lnTo>
                  <a:lnTo>
                    <a:pt x="22" y="316"/>
                  </a:lnTo>
                  <a:lnTo>
                    <a:pt x="22" y="316"/>
                  </a:lnTo>
                  <a:lnTo>
                    <a:pt x="24" y="320"/>
                  </a:lnTo>
                  <a:lnTo>
                    <a:pt x="26" y="320"/>
                  </a:lnTo>
                  <a:lnTo>
                    <a:pt x="28" y="318"/>
                  </a:lnTo>
                  <a:lnTo>
                    <a:pt x="30" y="318"/>
                  </a:lnTo>
                  <a:lnTo>
                    <a:pt x="30" y="318"/>
                  </a:lnTo>
                  <a:lnTo>
                    <a:pt x="34" y="318"/>
                  </a:lnTo>
                  <a:lnTo>
                    <a:pt x="36" y="320"/>
                  </a:lnTo>
                  <a:lnTo>
                    <a:pt x="38" y="322"/>
                  </a:lnTo>
                  <a:lnTo>
                    <a:pt x="42" y="320"/>
                  </a:lnTo>
                  <a:lnTo>
                    <a:pt x="42" y="320"/>
                  </a:lnTo>
                  <a:lnTo>
                    <a:pt x="44" y="318"/>
                  </a:lnTo>
                  <a:lnTo>
                    <a:pt x="46" y="320"/>
                  </a:lnTo>
                  <a:lnTo>
                    <a:pt x="48" y="320"/>
                  </a:lnTo>
                  <a:lnTo>
                    <a:pt x="54" y="318"/>
                  </a:lnTo>
                  <a:lnTo>
                    <a:pt x="54" y="318"/>
                  </a:lnTo>
                  <a:lnTo>
                    <a:pt x="54" y="316"/>
                  </a:lnTo>
                  <a:lnTo>
                    <a:pt x="56" y="314"/>
                  </a:lnTo>
                  <a:lnTo>
                    <a:pt x="58" y="312"/>
                  </a:lnTo>
                  <a:lnTo>
                    <a:pt x="62" y="314"/>
                  </a:lnTo>
                  <a:lnTo>
                    <a:pt x="62" y="314"/>
                  </a:lnTo>
                  <a:lnTo>
                    <a:pt x="66" y="316"/>
                  </a:lnTo>
                  <a:lnTo>
                    <a:pt x="66" y="318"/>
                  </a:lnTo>
                  <a:lnTo>
                    <a:pt x="66" y="320"/>
                  </a:lnTo>
                  <a:lnTo>
                    <a:pt x="70" y="324"/>
                  </a:lnTo>
                  <a:lnTo>
                    <a:pt x="70" y="324"/>
                  </a:lnTo>
                  <a:lnTo>
                    <a:pt x="72" y="328"/>
                  </a:lnTo>
                  <a:lnTo>
                    <a:pt x="72" y="330"/>
                  </a:lnTo>
                  <a:lnTo>
                    <a:pt x="72" y="332"/>
                  </a:lnTo>
                  <a:lnTo>
                    <a:pt x="74" y="334"/>
                  </a:lnTo>
                  <a:lnTo>
                    <a:pt x="74" y="334"/>
                  </a:lnTo>
                  <a:lnTo>
                    <a:pt x="78" y="336"/>
                  </a:lnTo>
                  <a:lnTo>
                    <a:pt x="78" y="338"/>
                  </a:lnTo>
                  <a:lnTo>
                    <a:pt x="72" y="348"/>
                  </a:lnTo>
                  <a:lnTo>
                    <a:pt x="72" y="348"/>
                  </a:lnTo>
                  <a:lnTo>
                    <a:pt x="76" y="346"/>
                  </a:lnTo>
                  <a:lnTo>
                    <a:pt x="80" y="348"/>
                  </a:lnTo>
                  <a:lnTo>
                    <a:pt x="80" y="352"/>
                  </a:lnTo>
                  <a:lnTo>
                    <a:pt x="82" y="358"/>
                  </a:lnTo>
                  <a:lnTo>
                    <a:pt x="82" y="358"/>
                  </a:lnTo>
                  <a:lnTo>
                    <a:pt x="84" y="362"/>
                  </a:lnTo>
                  <a:lnTo>
                    <a:pt x="88" y="364"/>
                  </a:lnTo>
                  <a:lnTo>
                    <a:pt x="90" y="366"/>
                  </a:lnTo>
                  <a:lnTo>
                    <a:pt x="92" y="368"/>
                  </a:lnTo>
                  <a:lnTo>
                    <a:pt x="92" y="368"/>
                  </a:lnTo>
                  <a:lnTo>
                    <a:pt x="96" y="364"/>
                  </a:lnTo>
                  <a:lnTo>
                    <a:pt x="98" y="362"/>
                  </a:lnTo>
                  <a:lnTo>
                    <a:pt x="102" y="364"/>
                  </a:lnTo>
                  <a:lnTo>
                    <a:pt x="102" y="364"/>
                  </a:lnTo>
                  <a:lnTo>
                    <a:pt x="106" y="368"/>
                  </a:lnTo>
                  <a:lnTo>
                    <a:pt x="108" y="366"/>
                  </a:lnTo>
                  <a:lnTo>
                    <a:pt x="112" y="364"/>
                  </a:lnTo>
                  <a:lnTo>
                    <a:pt x="112" y="364"/>
                  </a:lnTo>
                  <a:lnTo>
                    <a:pt x="114" y="360"/>
                  </a:lnTo>
                  <a:lnTo>
                    <a:pt x="118" y="358"/>
                  </a:lnTo>
                  <a:lnTo>
                    <a:pt x="120" y="360"/>
                  </a:lnTo>
                  <a:lnTo>
                    <a:pt x="122" y="360"/>
                  </a:lnTo>
                  <a:lnTo>
                    <a:pt x="126" y="364"/>
                  </a:lnTo>
                  <a:lnTo>
                    <a:pt x="128" y="364"/>
                  </a:lnTo>
                  <a:lnTo>
                    <a:pt x="130" y="362"/>
                  </a:lnTo>
                  <a:lnTo>
                    <a:pt x="130" y="362"/>
                  </a:lnTo>
                  <a:lnTo>
                    <a:pt x="134" y="360"/>
                  </a:lnTo>
                  <a:lnTo>
                    <a:pt x="138" y="362"/>
                  </a:lnTo>
                  <a:lnTo>
                    <a:pt x="144" y="364"/>
                  </a:lnTo>
                  <a:lnTo>
                    <a:pt x="144" y="364"/>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8" name="Freeform 161"/>
            <p:cNvSpPr>
              <a:spLocks/>
            </p:cNvSpPr>
            <p:nvPr/>
          </p:nvSpPr>
          <p:spPr bwMode="auto">
            <a:xfrm>
              <a:off x="4224038" y="3144573"/>
              <a:ext cx="320146" cy="330729"/>
            </a:xfrm>
            <a:custGeom>
              <a:avLst/>
              <a:gdLst/>
              <a:ahLst/>
              <a:cxnLst>
                <a:cxn ang="0">
                  <a:pos x="228" y="20"/>
                </a:cxn>
                <a:cxn ang="0">
                  <a:pos x="230" y="30"/>
                </a:cxn>
                <a:cxn ang="0">
                  <a:pos x="240" y="42"/>
                </a:cxn>
                <a:cxn ang="0">
                  <a:pos x="236" y="60"/>
                </a:cxn>
                <a:cxn ang="0">
                  <a:pos x="216" y="96"/>
                </a:cxn>
                <a:cxn ang="0">
                  <a:pos x="214" y="112"/>
                </a:cxn>
                <a:cxn ang="0">
                  <a:pos x="210" y="118"/>
                </a:cxn>
                <a:cxn ang="0">
                  <a:pos x="208" y="130"/>
                </a:cxn>
                <a:cxn ang="0">
                  <a:pos x="202" y="142"/>
                </a:cxn>
                <a:cxn ang="0">
                  <a:pos x="194" y="156"/>
                </a:cxn>
                <a:cxn ang="0">
                  <a:pos x="184" y="176"/>
                </a:cxn>
                <a:cxn ang="0">
                  <a:pos x="176" y="186"/>
                </a:cxn>
                <a:cxn ang="0">
                  <a:pos x="168" y="190"/>
                </a:cxn>
                <a:cxn ang="0">
                  <a:pos x="160" y="186"/>
                </a:cxn>
                <a:cxn ang="0">
                  <a:pos x="144" y="184"/>
                </a:cxn>
                <a:cxn ang="0">
                  <a:pos x="126" y="210"/>
                </a:cxn>
                <a:cxn ang="0">
                  <a:pos x="118" y="228"/>
                </a:cxn>
                <a:cxn ang="0">
                  <a:pos x="110" y="240"/>
                </a:cxn>
                <a:cxn ang="0">
                  <a:pos x="102" y="244"/>
                </a:cxn>
                <a:cxn ang="0">
                  <a:pos x="94" y="242"/>
                </a:cxn>
                <a:cxn ang="0">
                  <a:pos x="88" y="248"/>
                </a:cxn>
                <a:cxn ang="0">
                  <a:pos x="82" y="250"/>
                </a:cxn>
                <a:cxn ang="0">
                  <a:pos x="76" y="250"/>
                </a:cxn>
                <a:cxn ang="0">
                  <a:pos x="56" y="238"/>
                </a:cxn>
                <a:cxn ang="0">
                  <a:pos x="52" y="232"/>
                </a:cxn>
                <a:cxn ang="0">
                  <a:pos x="56" y="226"/>
                </a:cxn>
                <a:cxn ang="0">
                  <a:pos x="52" y="228"/>
                </a:cxn>
                <a:cxn ang="0">
                  <a:pos x="50" y="222"/>
                </a:cxn>
                <a:cxn ang="0">
                  <a:pos x="54" y="218"/>
                </a:cxn>
                <a:cxn ang="0">
                  <a:pos x="50" y="214"/>
                </a:cxn>
                <a:cxn ang="0">
                  <a:pos x="28" y="204"/>
                </a:cxn>
                <a:cxn ang="0">
                  <a:pos x="12" y="200"/>
                </a:cxn>
                <a:cxn ang="0">
                  <a:pos x="2" y="188"/>
                </a:cxn>
                <a:cxn ang="0">
                  <a:pos x="2" y="162"/>
                </a:cxn>
                <a:cxn ang="0">
                  <a:pos x="4" y="126"/>
                </a:cxn>
                <a:cxn ang="0">
                  <a:pos x="6" y="116"/>
                </a:cxn>
                <a:cxn ang="0">
                  <a:pos x="16" y="104"/>
                </a:cxn>
                <a:cxn ang="0">
                  <a:pos x="14" y="96"/>
                </a:cxn>
                <a:cxn ang="0">
                  <a:pos x="20" y="84"/>
                </a:cxn>
                <a:cxn ang="0">
                  <a:pos x="16" y="66"/>
                </a:cxn>
                <a:cxn ang="0">
                  <a:pos x="14" y="54"/>
                </a:cxn>
                <a:cxn ang="0">
                  <a:pos x="18" y="26"/>
                </a:cxn>
                <a:cxn ang="0">
                  <a:pos x="32" y="4"/>
                </a:cxn>
                <a:cxn ang="0">
                  <a:pos x="48" y="2"/>
                </a:cxn>
                <a:cxn ang="0">
                  <a:pos x="60" y="2"/>
                </a:cxn>
                <a:cxn ang="0">
                  <a:pos x="72" y="4"/>
                </a:cxn>
                <a:cxn ang="0">
                  <a:pos x="84" y="16"/>
                </a:cxn>
                <a:cxn ang="0">
                  <a:pos x="94" y="16"/>
                </a:cxn>
                <a:cxn ang="0">
                  <a:pos x="106" y="18"/>
                </a:cxn>
                <a:cxn ang="0">
                  <a:pos x="144" y="22"/>
                </a:cxn>
                <a:cxn ang="0">
                  <a:pos x="166" y="10"/>
                </a:cxn>
                <a:cxn ang="0">
                  <a:pos x="206" y="12"/>
                </a:cxn>
                <a:cxn ang="0">
                  <a:pos x="216" y="4"/>
                </a:cxn>
              </a:cxnLst>
              <a:rect l="0" t="0" r="r" b="b"/>
              <a:pathLst>
                <a:path w="242" h="250">
                  <a:moveTo>
                    <a:pt x="216" y="4"/>
                  </a:moveTo>
                  <a:lnTo>
                    <a:pt x="216" y="4"/>
                  </a:lnTo>
                  <a:lnTo>
                    <a:pt x="218" y="10"/>
                  </a:lnTo>
                  <a:lnTo>
                    <a:pt x="222" y="16"/>
                  </a:lnTo>
                  <a:lnTo>
                    <a:pt x="228" y="20"/>
                  </a:lnTo>
                  <a:lnTo>
                    <a:pt x="232" y="22"/>
                  </a:lnTo>
                  <a:lnTo>
                    <a:pt x="230" y="24"/>
                  </a:lnTo>
                  <a:lnTo>
                    <a:pt x="230" y="24"/>
                  </a:lnTo>
                  <a:lnTo>
                    <a:pt x="230" y="26"/>
                  </a:lnTo>
                  <a:lnTo>
                    <a:pt x="230" y="30"/>
                  </a:lnTo>
                  <a:lnTo>
                    <a:pt x="232" y="34"/>
                  </a:lnTo>
                  <a:lnTo>
                    <a:pt x="238" y="34"/>
                  </a:lnTo>
                  <a:lnTo>
                    <a:pt x="238" y="34"/>
                  </a:lnTo>
                  <a:lnTo>
                    <a:pt x="238" y="40"/>
                  </a:lnTo>
                  <a:lnTo>
                    <a:pt x="240" y="42"/>
                  </a:lnTo>
                  <a:lnTo>
                    <a:pt x="240" y="42"/>
                  </a:lnTo>
                  <a:lnTo>
                    <a:pt x="242" y="44"/>
                  </a:lnTo>
                  <a:lnTo>
                    <a:pt x="240" y="52"/>
                  </a:lnTo>
                  <a:lnTo>
                    <a:pt x="240" y="52"/>
                  </a:lnTo>
                  <a:lnTo>
                    <a:pt x="236" y="60"/>
                  </a:lnTo>
                  <a:lnTo>
                    <a:pt x="232" y="62"/>
                  </a:lnTo>
                  <a:lnTo>
                    <a:pt x="230" y="64"/>
                  </a:lnTo>
                  <a:lnTo>
                    <a:pt x="226" y="74"/>
                  </a:lnTo>
                  <a:lnTo>
                    <a:pt x="226" y="74"/>
                  </a:lnTo>
                  <a:lnTo>
                    <a:pt x="216" y="96"/>
                  </a:lnTo>
                  <a:lnTo>
                    <a:pt x="216" y="104"/>
                  </a:lnTo>
                  <a:lnTo>
                    <a:pt x="216" y="106"/>
                  </a:lnTo>
                  <a:lnTo>
                    <a:pt x="216" y="110"/>
                  </a:lnTo>
                  <a:lnTo>
                    <a:pt x="216" y="110"/>
                  </a:lnTo>
                  <a:lnTo>
                    <a:pt x="214" y="112"/>
                  </a:lnTo>
                  <a:lnTo>
                    <a:pt x="214" y="112"/>
                  </a:lnTo>
                  <a:lnTo>
                    <a:pt x="212" y="112"/>
                  </a:lnTo>
                  <a:lnTo>
                    <a:pt x="210" y="116"/>
                  </a:lnTo>
                  <a:lnTo>
                    <a:pt x="210" y="116"/>
                  </a:lnTo>
                  <a:lnTo>
                    <a:pt x="210" y="118"/>
                  </a:lnTo>
                  <a:lnTo>
                    <a:pt x="210" y="120"/>
                  </a:lnTo>
                  <a:lnTo>
                    <a:pt x="212" y="122"/>
                  </a:lnTo>
                  <a:lnTo>
                    <a:pt x="212" y="126"/>
                  </a:lnTo>
                  <a:lnTo>
                    <a:pt x="212" y="126"/>
                  </a:lnTo>
                  <a:lnTo>
                    <a:pt x="208" y="130"/>
                  </a:lnTo>
                  <a:lnTo>
                    <a:pt x="206" y="130"/>
                  </a:lnTo>
                  <a:lnTo>
                    <a:pt x="204" y="132"/>
                  </a:lnTo>
                  <a:lnTo>
                    <a:pt x="204" y="138"/>
                  </a:lnTo>
                  <a:lnTo>
                    <a:pt x="204" y="138"/>
                  </a:lnTo>
                  <a:lnTo>
                    <a:pt x="202" y="142"/>
                  </a:lnTo>
                  <a:lnTo>
                    <a:pt x="198" y="144"/>
                  </a:lnTo>
                  <a:lnTo>
                    <a:pt x="196" y="148"/>
                  </a:lnTo>
                  <a:lnTo>
                    <a:pt x="192" y="152"/>
                  </a:lnTo>
                  <a:lnTo>
                    <a:pt x="192" y="152"/>
                  </a:lnTo>
                  <a:lnTo>
                    <a:pt x="194" y="156"/>
                  </a:lnTo>
                  <a:lnTo>
                    <a:pt x="196" y="156"/>
                  </a:lnTo>
                  <a:lnTo>
                    <a:pt x="196" y="160"/>
                  </a:lnTo>
                  <a:lnTo>
                    <a:pt x="190" y="166"/>
                  </a:lnTo>
                  <a:lnTo>
                    <a:pt x="190" y="166"/>
                  </a:lnTo>
                  <a:lnTo>
                    <a:pt x="184" y="176"/>
                  </a:lnTo>
                  <a:lnTo>
                    <a:pt x="182" y="180"/>
                  </a:lnTo>
                  <a:lnTo>
                    <a:pt x="182" y="182"/>
                  </a:lnTo>
                  <a:lnTo>
                    <a:pt x="180" y="184"/>
                  </a:lnTo>
                  <a:lnTo>
                    <a:pt x="180" y="184"/>
                  </a:lnTo>
                  <a:lnTo>
                    <a:pt x="176" y="186"/>
                  </a:lnTo>
                  <a:lnTo>
                    <a:pt x="176" y="190"/>
                  </a:lnTo>
                  <a:lnTo>
                    <a:pt x="174" y="192"/>
                  </a:lnTo>
                  <a:lnTo>
                    <a:pt x="172" y="192"/>
                  </a:lnTo>
                  <a:lnTo>
                    <a:pt x="172" y="192"/>
                  </a:lnTo>
                  <a:lnTo>
                    <a:pt x="168" y="190"/>
                  </a:lnTo>
                  <a:lnTo>
                    <a:pt x="166" y="188"/>
                  </a:lnTo>
                  <a:lnTo>
                    <a:pt x="166" y="186"/>
                  </a:lnTo>
                  <a:lnTo>
                    <a:pt x="162" y="186"/>
                  </a:lnTo>
                  <a:lnTo>
                    <a:pt x="162" y="186"/>
                  </a:lnTo>
                  <a:lnTo>
                    <a:pt x="160" y="186"/>
                  </a:lnTo>
                  <a:lnTo>
                    <a:pt x="158" y="184"/>
                  </a:lnTo>
                  <a:lnTo>
                    <a:pt x="156" y="182"/>
                  </a:lnTo>
                  <a:lnTo>
                    <a:pt x="150" y="182"/>
                  </a:lnTo>
                  <a:lnTo>
                    <a:pt x="150" y="182"/>
                  </a:lnTo>
                  <a:lnTo>
                    <a:pt x="144" y="184"/>
                  </a:lnTo>
                  <a:lnTo>
                    <a:pt x="140" y="188"/>
                  </a:lnTo>
                  <a:lnTo>
                    <a:pt x="138" y="192"/>
                  </a:lnTo>
                  <a:lnTo>
                    <a:pt x="134" y="200"/>
                  </a:lnTo>
                  <a:lnTo>
                    <a:pt x="134" y="200"/>
                  </a:lnTo>
                  <a:lnTo>
                    <a:pt x="126" y="210"/>
                  </a:lnTo>
                  <a:lnTo>
                    <a:pt x="124" y="216"/>
                  </a:lnTo>
                  <a:lnTo>
                    <a:pt x="126" y="220"/>
                  </a:lnTo>
                  <a:lnTo>
                    <a:pt x="122" y="224"/>
                  </a:lnTo>
                  <a:lnTo>
                    <a:pt x="122" y="224"/>
                  </a:lnTo>
                  <a:lnTo>
                    <a:pt x="118" y="228"/>
                  </a:lnTo>
                  <a:lnTo>
                    <a:pt x="116" y="232"/>
                  </a:lnTo>
                  <a:lnTo>
                    <a:pt x="120" y="244"/>
                  </a:lnTo>
                  <a:lnTo>
                    <a:pt x="120" y="244"/>
                  </a:lnTo>
                  <a:lnTo>
                    <a:pt x="114" y="242"/>
                  </a:lnTo>
                  <a:lnTo>
                    <a:pt x="110" y="240"/>
                  </a:lnTo>
                  <a:lnTo>
                    <a:pt x="110" y="240"/>
                  </a:lnTo>
                  <a:lnTo>
                    <a:pt x="112" y="242"/>
                  </a:lnTo>
                  <a:lnTo>
                    <a:pt x="110" y="244"/>
                  </a:lnTo>
                  <a:lnTo>
                    <a:pt x="106" y="246"/>
                  </a:lnTo>
                  <a:lnTo>
                    <a:pt x="102" y="244"/>
                  </a:lnTo>
                  <a:lnTo>
                    <a:pt x="102" y="244"/>
                  </a:lnTo>
                  <a:lnTo>
                    <a:pt x="102" y="246"/>
                  </a:lnTo>
                  <a:lnTo>
                    <a:pt x="100" y="246"/>
                  </a:lnTo>
                  <a:lnTo>
                    <a:pt x="98" y="246"/>
                  </a:lnTo>
                  <a:lnTo>
                    <a:pt x="94" y="242"/>
                  </a:lnTo>
                  <a:lnTo>
                    <a:pt x="94" y="242"/>
                  </a:lnTo>
                  <a:lnTo>
                    <a:pt x="90" y="244"/>
                  </a:lnTo>
                  <a:lnTo>
                    <a:pt x="90" y="246"/>
                  </a:lnTo>
                  <a:lnTo>
                    <a:pt x="90" y="246"/>
                  </a:lnTo>
                  <a:lnTo>
                    <a:pt x="88" y="248"/>
                  </a:lnTo>
                  <a:lnTo>
                    <a:pt x="88" y="248"/>
                  </a:lnTo>
                  <a:lnTo>
                    <a:pt x="86" y="248"/>
                  </a:lnTo>
                  <a:lnTo>
                    <a:pt x="86" y="248"/>
                  </a:lnTo>
                  <a:lnTo>
                    <a:pt x="82" y="250"/>
                  </a:lnTo>
                  <a:lnTo>
                    <a:pt x="82" y="250"/>
                  </a:lnTo>
                  <a:lnTo>
                    <a:pt x="80" y="250"/>
                  </a:lnTo>
                  <a:lnTo>
                    <a:pt x="80" y="250"/>
                  </a:lnTo>
                  <a:lnTo>
                    <a:pt x="78" y="250"/>
                  </a:lnTo>
                  <a:lnTo>
                    <a:pt x="76" y="250"/>
                  </a:lnTo>
                  <a:lnTo>
                    <a:pt x="76" y="250"/>
                  </a:lnTo>
                  <a:lnTo>
                    <a:pt x="70" y="248"/>
                  </a:lnTo>
                  <a:lnTo>
                    <a:pt x="58" y="242"/>
                  </a:lnTo>
                  <a:lnTo>
                    <a:pt x="58" y="242"/>
                  </a:lnTo>
                  <a:lnTo>
                    <a:pt x="56" y="240"/>
                  </a:lnTo>
                  <a:lnTo>
                    <a:pt x="56" y="238"/>
                  </a:lnTo>
                  <a:lnTo>
                    <a:pt x="56" y="238"/>
                  </a:lnTo>
                  <a:lnTo>
                    <a:pt x="54" y="236"/>
                  </a:lnTo>
                  <a:lnTo>
                    <a:pt x="54" y="236"/>
                  </a:lnTo>
                  <a:lnTo>
                    <a:pt x="52" y="234"/>
                  </a:lnTo>
                  <a:lnTo>
                    <a:pt x="52" y="232"/>
                  </a:lnTo>
                  <a:lnTo>
                    <a:pt x="54" y="230"/>
                  </a:lnTo>
                  <a:lnTo>
                    <a:pt x="54" y="230"/>
                  </a:lnTo>
                  <a:lnTo>
                    <a:pt x="56" y="228"/>
                  </a:lnTo>
                  <a:lnTo>
                    <a:pt x="56" y="228"/>
                  </a:lnTo>
                  <a:lnTo>
                    <a:pt x="56" y="226"/>
                  </a:lnTo>
                  <a:lnTo>
                    <a:pt x="60" y="224"/>
                  </a:lnTo>
                  <a:lnTo>
                    <a:pt x="60" y="224"/>
                  </a:lnTo>
                  <a:lnTo>
                    <a:pt x="56" y="224"/>
                  </a:lnTo>
                  <a:lnTo>
                    <a:pt x="56" y="224"/>
                  </a:lnTo>
                  <a:lnTo>
                    <a:pt x="52" y="228"/>
                  </a:lnTo>
                  <a:lnTo>
                    <a:pt x="52" y="228"/>
                  </a:lnTo>
                  <a:lnTo>
                    <a:pt x="52" y="228"/>
                  </a:lnTo>
                  <a:lnTo>
                    <a:pt x="52" y="226"/>
                  </a:lnTo>
                  <a:lnTo>
                    <a:pt x="52" y="224"/>
                  </a:lnTo>
                  <a:lnTo>
                    <a:pt x="50" y="222"/>
                  </a:lnTo>
                  <a:lnTo>
                    <a:pt x="50" y="222"/>
                  </a:lnTo>
                  <a:lnTo>
                    <a:pt x="50" y="222"/>
                  </a:lnTo>
                  <a:lnTo>
                    <a:pt x="50" y="220"/>
                  </a:lnTo>
                  <a:lnTo>
                    <a:pt x="54" y="218"/>
                  </a:lnTo>
                  <a:lnTo>
                    <a:pt x="54" y="218"/>
                  </a:lnTo>
                  <a:lnTo>
                    <a:pt x="50" y="220"/>
                  </a:lnTo>
                  <a:lnTo>
                    <a:pt x="48" y="218"/>
                  </a:lnTo>
                  <a:lnTo>
                    <a:pt x="50" y="216"/>
                  </a:lnTo>
                  <a:lnTo>
                    <a:pt x="50" y="216"/>
                  </a:lnTo>
                  <a:lnTo>
                    <a:pt x="50" y="214"/>
                  </a:lnTo>
                  <a:lnTo>
                    <a:pt x="48" y="212"/>
                  </a:lnTo>
                  <a:lnTo>
                    <a:pt x="44" y="208"/>
                  </a:lnTo>
                  <a:lnTo>
                    <a:pt x="36" y="204"/>
                  </a:lnTo>
                  <a:lnTo>
                    <a:pt x="28" y="204"/>
                  </a:lnTo>
                  <a:lnTo>
                    <a:pt x="28" y="204"/>
                  </a:lnTo>
                  <a:lnTo>
                    <a:pt x="18" y="202"/>
                  </a:lnTo>
                  <a:lnTo>
                    <a:pt x="16" y="202"/>
                  </a:lnTo>
                  <a:lnTo>
                    <a:pt x="20" y="200"/>
                  </a:lnTo>
                  <a:lnTo>
                    <a:pt x="20" y="200"/>
                  </a:lnTo>
                  <a:lnTo>
                    <a:pt x="12" y="200"/>
                  </a:lnTo>
                  <a:lnTo>
                    <a:pt x="12" y="200"/>
                  </a:lnTo>
                  <a:lnTo>
                    <a:pt x="10" y="202"/>
                  </a:lnTo>
                  <a:lnTo>
                    <a:pt x="2" y="202"/>
                  </a:lnTo>
                  <a:lnTo>
                    <a:pt x="2" y="202"/>
                  </a:lnTo>
                  <a:lnTo>
                    <a:pt x="2" y="188"/>
                  </a:lnTo>
                  <a:lnTo>
                    <a:pt x="2" y="176"/>
                  </a:lnTo>
                  <a:lnTo>
                    <a:pt x="2" y="168"/>
                  </a:lnTo>
                  <a:lnTo>
                    <a:pt x="0" y="164"/>
                  </a:lnTo>
                  <a:lnTo>
                    <a:pt x="0" y="164"/>
                  </a:lnTo>
                  <a:lnTo>
                    <a:pt x="2" y="162"/>
                  </a:lnTo>
                  <a:lnTo>
                    <a:pt x="2" y="154"/>
                  </a:lnTo>
                  <a:lnTo>
                    <a:pt x="0" y="132"/>
                  </a:lnTo>
                  <a:lnTo>
                    <a:pt x="0" y="132"/>
                  </a:lnTo>
                  <a:lnTo>
                    <a:pt x="4" y="130"/>
                  </a:lnTo>
                  <a:lnTo>
                    <a:pt x="4" y="126"/>
                  </a:lnTo>
                  <a:lnTo>
                    <a:pt x="2" y="124"/>
                  </a:lnTo>
                  <a:lnTo>
                    <a:pt x="4" y="122"/>
                  </a:lnTo>
                  <a:lnTo>
                    <a:pt x="4" y="122"/>
                  </a:lnTo>
                  <a:lnTo>
                    <a:pt x="6" y="118"/>
                  </a:lnTo>
                  <a:lnTo>
                    <a:pt x="6" y="116"/>
                  </a:lnTo>
                  <a:lnTo>
                    <a:pt x="8" y="114"/>
                  </a:lnTo>
                  <a:lnTo>
                    <a:pt x="10" y="112"/>
                  </a:lnTo>
                  <a:lnTo>
                    <a:pt x="10" y="112"/>
                  </a:lnTo>
                  <a:lnTo>
                    <a:pt x="14" y="108"/>
                  </a:lnTo>
                  <a:lnTo>
                    <a:pt x="16" y="104"/>
                  </a:lnTo>
                  <a:lnTo>
                    <a:pt x="16" y="100"/>
                  </a:lnTo>
                  <a:lnTo>
                    <a:pt x="14" y="98"/>
                  </a:lnTo>
                  <a:lnTo>
                    <a:pt x="14" y="98"/>
                  </a:lnTo>
                  <a:lnTo>
                    <a:pt x="14" y="96"/>
                  </a:lnTo>
                  <a:lnTo>
                    <a:pt x="14" y="96"/>
                  </a:lnTo>
                  <a:lnTo>
                    <a:pt x="16" y="94"/>
                  </a:lnTo>
                  <a:lnTo>
                    <a:pt x="16" y="94"/>
                  </a:lnTo>
                  <a:lnTo>
                    <a:pt x="18" y="92"/>
                  </a:lnTo>
                  <a:lnTo>
                    <a:pt x="20" y="88"/>
                  </a:lnTo>
                  <a:lnTo>
                    <a:pt x="20" y="84"/>
                  </a:lnTo>
                  <a:lnTo>
                    <a:pt x="18" y="78"/>
                  </a:lnTo>
                  <a:lnTo>
                    <a:pt x="18" y="78"/>
                  </a:lnTo>
                  <a:lnTo>
                    <a:pt x="16" y="74"/>
                  </a:lnTo>
                  <a:lnTo>
                    <a:pt x="16" y="70"/>
                  </a:lnTo>
                  <a:lnTo>
                    <a:pt x="16" y="66"/>
                  </a:lnTo>
                  <a:lnTo>
                    <a:pt x="14" y="64"/>
                  </a:lnTo>
                  <a:lnTo>
                    <a:pt x="14" y="64"/>
                  </a:lnTo>
                  <a:lnTo>
                    <a:pt x="12" y="62"/>
                  </a:lnTo>
                  <a:lnTo>
                    <a:pt x="14" y="54"/>
                  </a:lnTo>
                  <a:lnTo>
                    <a:pt x="14" y="54"/>
                  </a:lnTo>
                  <a:lnTo>
                    <a:pt x="14" y="48"/>
                  </a:lnTo>
                  <a:lnTo>
                    <a:pt x="14" y="40"/>
                  </a:lnTo>
                  <a:lnTo>
                    <a:pt x="14" y="34"/>
                  </a:lnTo>
                  <a:lnTo>
                    <a:pt x="14" y="30"/>
                  </a:lnTo>
                  <a:lnTo>
                    <a:pt x="18" y="26"/>
                  </a:lnTo>
                  <a:lnTo>
                    <a:pt x="18" y="26"/>
                  </a:lnTo>
                  <a:lnTo>
                    <a:pt x="22" y="20"/>
                  </a:lnTo>
                  <a:lnTo>
                    <a:pt x="24" y="16"/>
                  </a:lnTo>
                  <a:lnTo>
                    <a:pt x="26" y="10"/>
                  </a:lnTo>
                  <a:lnTo>
                    <a:pt x="32" y="4"/>
                  </a:lnTo>
                  <a:lnTo>
                    <a:pt x="32" y="4"/>
                  </a:lnTo>
                  <a:lnTo>
                    <a:pt x="40" y="0"/>
                  </a:lnTo>
                  <a:lnTo>
                    <a:pt x="44" y="0"/>
                  </a:lnTo>
                  <a:lnTo>
                    <a:pt x="48" y="0"/>
                  </a:lnTo>
                  <a:lnTo>
                    <a:pt x="48" y="2"/>
                  </a:lnTo>
                  <a:lnTo>
                    <a:pt x="48" y="2"/>
                  </a:lnTo>
                  <a:lnTo>
                    <a:pt x="50" y="4"/>
                  </a:lnTo>
                  <a:lnTo>
                    <a:pt x="52" y="4"/>
                  </a:lnTo>
                  <a:lnTo>
                    <a:pt x="56" y="2"/>
                  </a:lnTo>
                  <a:lnTo>
                    <a:pt x="60" y="2"/>
                  </a:lnTo>
                  <a:lnTo>
                    <a:pt x="62" y="2"/>
                  </a:lnTo>
                  <a:lnTo>
                    <a:pt x="66" y="2"/>
                  </a:lnTo>
                  <a:lnTo>
                    <a:pt x="66" y="2"/>
                  </a:lnTo>
                  <a:lnTo>
                    <a:pt x="70" y="6"/>
                  </a:lnTo>
                  <a:lnTo>
                    <a:pt x="72" y="4"/>
                  </a:lnTo>
                  <a:lnTo>
                    <a:pt x="74" y="6"/>
                  </a:lnTo>
                  <a:lnTo>
                    <a:pt x="78" y="12"/>
                  </a:lnTo>
                  <a:lnTo>
                    <a:pt x="78" y="12"/>
                  </a:lnTo>
                  <a:lnTo>
                    <a:pt x="80" y="16"/>
                  </a:lnTo>
                  <a:lnTo>
                    <a:pt x="84" y="16"/>
                  </a:lnTo>
                  <a:lnTo>
                    <a:pt x="86" y="14"/>
                  </a:lnTo>
                  <a:lnTo>
                    <a:pt x="90" y="16"/>
                  </a:lnTo>
                  <a:lnTo>
                    <a:pt x="90" y="16"/>
                  </a:lnTo>
                  <a:lnTo>
                    <a:pt x="92" y="16"/>
                  </a:lnTo>
                  <a:lnTo>
                    <a:pt x="94" y="16"/>
                  </a:lnTo>
                  <a:lnTo>
                    <a:pt x="96" y="12"/>
                  </a:lnTo>
                  <a:lnTo>
                    <a:pt x="96" y="12"/>
                  </a:lnTo>
                  <a:lnTo>
                    <a:pt x="98" y="12"/>
                  </a:lnTo>
                  <a:lnTo>
                    <a:pt x="106" y="18"/>
                  </a:lnTo>
                  <a:lnTo>
                    <a:pt x="106" y="18"/>
                  </a:lnTo>
                  <a:lnTo>
                    <a:pt x="112" y="20"/>
                  </a:lnTo>
                  <a:lnTo>
                    <a:pt x="124" y="24"/>
                  </a:lnTo>
                  <a:lnTo>
                    <a:pt x="132" y="24"/>
                  </a:lnTo>
                  <a:lnTo>
                    <a:pt x="138" y="24"/>
                  </a:lnTo>
                  <a:lnTo>
                    <a:pt x="144" y="22"/>
                  </a:lnTo>
                  <a:lnTo>
                    <a:pt x="148" y="18"/>
                  </a:lnTo>
                  <a:lnTo>
                    <a:pt x="148" y="18"/>
                  </a:lnTo>
                  <a:lnTo>
                    <a:pt x="150" y="16"/>
                  </a:lnTo>
                  <a:lnTo>
                    <a:pt x="154" y="14"/>
                  </a:lnTo>
                  <a:lnTo>
                    <a:pt x="166" y="10"/>
                  </a:lnTo>
                  <a:lnTo>
                    <a:pt x="180" y="10"/>
                  </a:lnTo>
                  <a:lnTo>
                    <a:pt x="196" y="12"/>
                  </a:lnTo>
                  <a:lnTo>
                    <a:pt x="196" y="12"/>
                  </a:lnTo>
                  <a:lnTo>
                    <a:pt x="204" y="14"/>
                  </a:lnTo>
                  <a:lnTo>
                    <a:pt x="206" y="12"/>
                  </a:lnTo>
                  <a:lnTo>
                    <a:pt x="204" y="12"/>
                  </a:lnTo>
                  <a:lnTo>
                    <a:pt x="204" y="8"/>
                  </a:lnTo>
                  <a:lnTo>
                    <a:pt x="206" y="6"/>
                  </a:lnTo>
                  <a:lnTo>
                    <a:pt x="208" y="4"/>
                  </a:lnTo>
                  <a:lnTo>
                    <a:pt x="216" y="4"/>
                  </a:lnTo>
                  <a:lnTo>
                    <a:pt x="216" y="4"/>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9" name="Freeform 162"/>
            <p:cNvSpPr>
              <a:spLocks/>
            </p:cNvSpPr>
            <p:nvPr/>
          </p:nvSpPr>
          <p:spPr bwMode="auto">
            <a:xfrm>
              <a:off x="4520372" y="2792677"/>
              <a:ext cx="277813" cy="571500"/>
            </a:xfrm>
            <a:custGeom>
              <a:avLst/>
              <a:gdLst/>
              <a:ahLst/>
              <a:cxnLst>
                <a:cxn ang="0">
                  <a:pos x="196" y="330"/>
                </a:cxn>
                <a:cxn ang="0">
                  <a:pos x="190" y="320"/>
                </a:cxn>
                <a:cxn ang="0">
                  <a:pos x="184" y="300"/>
                </a:cxn>
                <a:cxn ang="0">
                  <a:pos x="186" y="296"/>
                </a:cxn>
                <a:cxn ang="0">
                  <a:pos x="170" y="294"/>
                </a:cxn>
                <a:cxn ang="0">
                  <a:pos x="166" y="286"/>
                </a:cxn>
                <a:cxn ang="0">
                  <a:pos x="174" y="268"/>
                </a:cxn>
                <a:cxn ang="0">
                  <a:pos x="178" y="258"/>
                </a:cxn>
                <a:cxn ang="0">
                  <a:pos x="176" y="250"/>
                </a:cxn>
                <a:cxn ang="0">
                  <a:pos x="178" y="240"/>
                </a:cxn>
                <a:cxn ang="0">
                  <a:pos x="192" y="214"/>
                </a:cxn>
                <a:cxn ang="0">
                  <a:pos x="210" y="212"/>
                </a:cxn>
                <a:cxn ang="0">
                  <a:pos x="66" y="6"/>
                </a:cxn>
                <a:cxn ang="0">
                  <a:pos x="44" y="2"/>
                </a:cxn>
                <a:cxn ang="0">
                  <a:pos x="24" y="50"/>
                </a:cxn>
                <a:cxn ang="0">
                  <a:pos x="26" y="70"/>
                </a:cxn>
                <a:cxn ang="0">
                  <a:pos x="30" y="88"/>
                </a:cxn>
                <a:cxn ang="0">
                  <a:pos x="44" y="98"/>
                </a:cxn>
                <a:cxn ang="0">
                  <a:pos x="40" y="108"/>
                </a:cxn>
                <a:cxn ang="0">
                  <a:pos x="34" y="180"/>
                </a:cxn>
                <a:cxn ang="0">
                  <a:pos x="18" y="222"/>
                </a:cxn>
                <a:cxn ang="0">
                  <a:pos x="4" y="236"/>
                </a:cxn>
                <a:cxn ang="0">
                  <a:pos x="2" y="248"/>
                </a:cxn>
                <a:cxn ang="0">
                  <a:pos x="4" y="260"/>
                </a:cxn>
                <a:cxn ang="0">
                  <a:pos x="12" y="264"/>
                </a:cxn>
                <a:cxn ang="0">
                  <a:pos x="14" y="274"/>
                </a:cxn>
                <a:cxn ang="0">
                  <a:pos x="28" y="280"/>
                </a:cxn>
                <a:cxn ang="0">
                  <a:pos x="34" y="288"/>
                </a:cxn>
                <a:cxn ang="0">
                  <a:pos x="42" y="294"/>
                </a:cxn>
                <a:cxn ang="0">
                  <a:pos x="22" y="298"/>
                </a:cxn>
                <a:cxn ang="0">
                  <a:pos x="26" y="316"/>
                </a:cxn>
                <a:cxn ang="0">
                  <a:pos x="28" y="348"/>
                </a:cxn>
                <a:cxn ang="0">
                  <a:pos x="38" y="366"/>
                </a:cxn>
                <a:cxn ang="0">
                  <a:pos x="30" y="368"/>
                </a:cxn>
                <a:cxn ang="0">
                  <a:pos x="10" y="368"/>
                </a:cxn>
                <a:cxn ang="0">
                  <a:pos x="16" y="384"/>
                </a:cxn>
                <a:cxn ang="0">
                  <a:pos x="28" y="400"/>
                </a:cxn>
                <a:cxn ang="0">
                  <a:pos x="40" y="432"/>
                </a:cxn>
                <a:cxn ang="0">
                  <a:pos x="58" y="428"/>
                </a:cxn>
                <a:cxn ang="0">
                  <a:pos x="96" y="414"/>
                </a:cxn>
                <a:cxn ang="0">
                  <a:pos x="112" y="408"/>
                </a:cxn>
                <a:cxn ang="0">
                  <a:pos x="114" y="400"/>
                </a:cxn>
                <a:cxn ang="0">
                  <a:pos x="112" y="390"/>
                </a:cxn>
                <a:cxn ang="0">
                  <a:pos x="124" y="388"/>
                </a:cxn>
                <a:cxn ang="0">
                  <a:pos x="152" y="378"/>
                </a:cxn>
                <a:cxn ang="0">
                  <a:pos x="162" y="368"/>
                </a:cxn>
                <a:cxn ang="0">
                  <a:pos x="170" y="360"/>
                </a:cxn>
                <a:cxn ang="0">
                  <a:pos x="174" y="346"/>
                </a:cxn>
                <a:cxn ang="0">
                  <a:pos x="192" y="338"/>
                </a:cxn>
              </a:cxnLst>
              <a:rect l="0" t="0" r="r" b="b"/>
              <a:pathLst>
                <a:path w="210" h="432">
                  <a:moveTo>
                    <a:pt x="198" y="338"/>
                  </a:moveTo>
                  <a:lnTo>
                    <a:pt x="198" y="338"/>
                  </a:lnTo>
                  <a:lnTo>
                    <a:pt x="198" y="332"/>
                  </a:lnTo>
                  <a:lnTo>
                    <a:pt x="196" y="330"/>
                  </a:lnTo>
                  <a:lnTo>
                    <a:pt x="194" y="328"/>
                  </a:lnTo>
                  <a:lnTo>
                    <a:pt x="194" y="328"/>
                  </a:lnTo>
                  <a:lnTo>
                    <a:pt x="190" y="326"/>
                  </a:lnTo>
                  <a:lnTo>
                    <a:pt x="190" y="320"/>
                  </a:lnTo>
                  <a:lnTo>
                    <a:pt x="188" y="314"/>
                  </a:lnTo>
                  <a:lnTo>
                    <a:pt x="186" y="306"/>
                  </a:lnTo>
                  <a:lnTo>
                    <a:pt x="186" y="306"/>
                  </a:lnTo>
                  <a:lnTo>
                    <a:pt x="184" y="300"/>
                  </a:lnTo>
                  <a:lnTo>
                    <a:pt x="184" y="298"/>
                  </a:lnTo>
                  <a:lnTo>
                    <a:pt x="186" y="298"/>
                  </a:lnTo>
                  <a:lnTo>
                    <a:pt x="186" y="296"/>
                  </a:lnTo>
                  <a:lnTo>
                    <a:pt x="186" y="296"/>
                  </a:lnTo>
                  <a:lnTo>
                    <a:pt x="182" y="292"/>
                  </a:lnTo>
                  <a:lnTo>
                    <a:pt x="180" y="292"/>
                  </a:lnTo>
                  <a:lnTo>
                    <a:pt x="174" y="292"/>
                  </a:lnTo>
                  <a:lnTo>
                    <a:pt x="170" y="294"/>
                  </a:lnTo>
                  <a:lnTo>
                    <a:pt x="168" y="294"/>
                  </a:lnTo>
                  <a:lnTo>
                    <a:pt x="166" y="292"/>
                  </a:lnTo>
                  <a:lnTo>
                    <a:pt x="166" y="292"/>
                  </a:lnTo>
                  <a:lnTo>
                    <a:pt x="166" y="286"/>
                  </a:lnTo>
                  <a:lnTo>
                    <a:pt x="166" y="280"/>
                  </a:lnTo>
                  <a:lnTo>
                    <a:pt x="168" y="274"/>
                  </a:lnTo>
                  <a:lnTo>
                    <a:pt x="174" y="270"/>
                  </a:lnTo>
                  <a:lnTo>
                    <a:pt x="174" y="268"/>
                  </a:lnTo>
                  <a:lnTo>
                    <a:pt x="174" y="266"/>
                  </a:lnTo>
                  <a:lnTo>
                    <a:pt x="174" y="266"/>
                  </a:lnTo>
                  <a:lnTo>
                    <a:pt x="174" y="262"/>
                  </a:lnTo>
                  <a:lnTo>
                    <a:pt x="178" y="258"/>
                  </a:lnTo>
                  <a:lnTo>
                    <a:pt x="180" y="256"/>
                  </a:lnTo>
                  <a:lnTo>
                    <a:pt x="180" y="254"/>
                  </a:lnTo>
                  <a:lnTo>
                    <a:pt x="180" y="254"/>
                  </a:lnTo>
                  <a:lnTo>
                    <a:pt x="176" y="250"/>
                  </a:lnTo>
                  <a:lnTo>
                    <a:pt x="176" y="248"/>
                  </a:lnTo>
                  <a:lnTo>
                    <a:pt x="178" y="246"/>
                  </a:lnTo>
                  <a:lnTo>
                    <a:pt x="178" y="240"/>
                  </a:lnTo>
                  <a:lnTo>
                    <a:pt x="178" y="240"/>
                  </a:lnTo>
                  <a:lnTo>
                    <a:pt x="180" y="232"/>
                  </a:lnTo>
                  <a:lnTo>
                    <a:pt x="182" y="226"/>
                  </a:lnTo>
                  <a:lnTo>
                    <a:pt x="192" y="214"/>
                  </a:lnTo>
                  <a:lnTo>
                    <a:pt x="192" y="214"/>
                  </a:lnTo>
                  <a:lnTo>
                    <a:pt x="196" y="210"/>
                  </a:lnTo>
                  <a:lnTo>
                    <a:pt x="200" y="212"/>
                  </a:lnTo>
                  <a:lnTo>
                    <a:pt x="202" y="214"/>
                  </a:lnTo>
                  <a:lnTo>
                    <a:pt x="210" y="212"/>
                  </a:lnTo>
                  <a:lnTo>
                    <a:pt x="206" y="114"/>
                  </a:lnTo>
                  <a:lnTo>
                    <a:pt x="206" y="114"/>
                  </a:lnTo>
                  <a:lnTo>
                    <a:pt x="66" y="6"/>
                  </a:lnTo>
                  <a:lnTo>
                    <a:pt x="66" y="6"/>
                  </a:lnTo>
                  <a:lnTo>
                    <a:pt x="56" y="0"/>
                  </a:lnTo>
                  <a:lnTo>
                    <a:pt x="50" y="0"/>
                  </a:lnTo>
                  <a:lnTo>
                    <a:pt x="44" y="2"/>
                  </a:lnTo>
                  <a:lnTo>
                    <a:pt x="44" y="2"/>
                  </a:lnTo>
                  <a:lnTo>
                    <a:pt x="20" y="14"/>
                  </a:lnTo>
                  <a:lnTo>
                    <a:pt x="20" y="14"/>
                  </a:lnTo>
                  <a:lnTo>
                    <a:pt x="24" y="36"/>
                  </a:lnTo>
                  <a:lnTo>
                    <a:pt x="24" y="50"/>
                  </a:lnTo>
                  <a:lnTo>
                    <a:pt x="24" y="64"/>
                  </a:lnTo>
                  <a:lnTo>
                    <a:pt x="24" y="64"/>
                  </a:lnTo>
                  <a:lnTo>
                    <a:pt x="24" y="66"/>
                  </a:lnTo>
                  <a:lnTo>
                    <a:pt x="26" y="70"/>
                  </a:lnTo>
                  <a:lnTo>
                    <a:pt x="28" y="74"/>
                  </a:lnTo>
                  <a:lnTo>
                    <a:pt x="28" y="82"/>
                  </a:lnTo>
                  <a:lnTo>
                    <a:pt x="28" y="82"/>
                  </a:lnTo>
                  <a:lnTo>
                    <a:pt x="30" y="88"/>
                  </a:lnTo>
                  <a:lnTo>
                    <a:pt x="32" y="90"/>
                  </a:lnTo>
                  <a:lnTo>
                    <a:pt x="36" y="94"/>
                  </a:lnTo>
                  <a:lnTo>
                    <a:pt x="42" y="98"/>
                  </a:lnTo>
                  <a:lnTo>
                    <a:pt x="44" y="98"/>
                  </a:lnTo>
                  <a:lnTo>
                    <a:pt x="44" y="102"/>
                  </a:lnTo>
                  <a:lnTo>
                    <a:pt x="44" y="102"/>
                  </a:lnTo>
                  <a:lnTo>
                    <a:pt x="42" y="106"/>
                  </a:lnTo>
                  <a:lnTo>
                    <a:pt x="40" y="108"/>
                  </a:lnTo>
                  <a:lnTo>
                    <a:pt x="36" y="114"/>
                  </a:lnTo>
                  <a:lnTo>
                    <a:pt x="34" y="120"/>
                  </a:lnTo>
                  <a:lnTo>
                    <a:pt x="34" y="120"/>
                  </a:lnTo>
                  <a:lnTo>
                    <a:pt x="34" y="180"/>
                  </a:lnTo>
                  <a:lnTo>
                    <a:pt x="34" y="180"/>
                  </a:lnTo>
                  <a:lnTo>
                    <a:pt x="32" y="190"/>
                  </a:lnTo>
                  <a:lnTo>
                    <a:pt x="30" y="200"/>
                  </a:lnTo>
                  <a:lnTo>
                    <a:pt x="18" y="222"/>
                  </a:lnTo>
                  <a:lnTo>
                    <a:pt x="18" y="222"/>
                  </a:lnTo>
                  <a:lnTo>
                    <a:pt x="12" y="230"/>
                  </a:lnTo>
                  <a:lnTo>
                    <a:pt x="8" y="234"/>
                  </a:lnTo>
                  <a:lnTo>
                    <a:pt x="4" y="236"/>
                  </a:lnTo>
                  <a:lnTo>
                    <a:pt x="4" y="240"/>
                  </a:lnTo>
                  <a:lnTo>
                    <a:pt x="4" y="240"/>
                  </a:lnTo>
                  <a:lnTo>
                    <a:pt x="4" y="246"/>
                  </a:lnTo>
                  <a:lnTo>
                    <a:pt x="2" y="248"/>
                  </a:lnTo>
                  <a:lnTo>
                    <a:pt x="0" y="252"/>
                  </a:lnTo>
                  <a:lnTo>
                    <a:pt x="0" y="256"/>
                  </a:lnTo>
                  <a:lnTo>
                    <a:pt x="0" y="256"/>
                  </a:lnTo>
                  <a:lnTo>
                    <a:pt x="4" y="260"/>
                  </a:lnTo>
                  <a:lnTo>
                    <a:pt x="6" y="262"/>
                  </a:lnTo>
                  <a:lnTo>
                    <a:pt x="8" y="262"/>
                  </a:lnTo>
                  <a:lnTo>
                    <a:pt x="12" y="264"/>
                  </a:lnTo>
                  <a:lnTo>
                    <a:pt x="12" y="264"/>
                  </a:lnTo>
                  <a:lnTo>
                    <a:pt x="16" y="264"/>
                  </a:lnTo>
                  <a:lnTo>
                    <a:pt x="16" y="266"/>
                  </a:lnTo>
                  <a:lnTo>
                    <a:pt x="16" y="270"/>
                  </a:lnTo>
                  <a:lnTo>
                    <a:pt x="14" y="274"/>
                  </a:lnTo>
                  <a:lnTo>
                    <a:pt x="16" y="276"/>
                  </a:lnTo>
                  <a:lnTo>
                    <a:pt x="20" y="278"/>
                  </a:lnTo>
                  <a:lnTo>
                    <a:pt x="20" y="278"/>
                  </a:lnTo>
                  <a:lnTo>
                    <a:pt x="28" y="280"/>
                  </a:lnTo>
                  <a:lnTo>
                    <a:pt x="34" y="282"/>
                  </a:lnTo>
                  <a:lnTo>
                    <a:pt x="34" y="284"/>
                  </a:lnTo>
                  <a:lnTo>
                    <a:pt x="34" y="286"/>
                  </a:lnTo>
                  <a:lnTo>
                    <a:pt x="34" y="288"/>
                  </a:lnTo>
                  <a:lnTo>
                    <a:pt x="34" y="290"/>
                  </a:lnTo>
                  <a:lnTo>
                    <a:pt x="36" y="292"/>
                  </a:lnTo>
                  <a:lnTo>
                    <a:pt x="42" y="294"/>
                  </a:lnTo>
                  <a:lnTo>
                    <a:pt x="42" y="294"/>
                  </a:lnTo>
                  <a:lnTo>
                    <a:pt x="38" y="296"/>
                  </a:lnTo>
                  <a:lnTo>
                    <a:pt x="34" y="294"/>
                  </a:lnTo>
                  <a:lnTo>
                    <a:pt x="30" y="294"/>
                  </a:lnTo>
                  <a:lnTo>
                    <a:pt x="22" y="298"/>
                  </a:lnTo>
                  <a:lnTo>
                    <a:pt x="22" y="298"/>
                  </a:lnTo>
                  <a:lnTo>
                    <a:pt x="22" y="310"/>
                  </a:lnTo>
                  <a:lnTo>
                    <a:pt x="24" y="314"/>
                  </a:lnTo>
                  <a:lnTo>
                    <a:pt x="26" y="316"/>
                  </a:lnTo>
                  <a:lnTo>
                    <a:pt x="26" y="328"/>
                  </a:lnTo>
                  <a:lnTo>
                    <a:pt x="26" y="328"/>
                  </a:lnTo>
                  <a:lnTo>
                    <a:pt x="26" y="338"/>
                  </a:lnTo>
                  <a:lnTo>
                    <a:pt x="28" y="348"/>
                  </a:lnTo>
                  <a:lnTo>
                    <a:pt x="44" y="364"/>
                  </a:lnTo>
                  <a:lnTo>
                    <a:pt x="44" y="364"/>
                  </a:lnTo>
                  <a:lnTo>
                    <a:pt x="40" y="366"/>
                  </a:lnTo>
                  <a:lnTo>
                    <a:pt x="38" y="366"/>
                  </a:lnTo>
                  <a:lnTo>
                    <a:pt x="30" y="364"/>
                  </a:lnTo>
                  <a:lnTo>
                    <a:pt x="30" y="364"/>
                  </a:lnTo>
                  <a:lnTo>
                    <a:pt x="32" y="366"/>
                  </a:lnTo>
                  <a:lnTo>
                    <a:pt x="30" y="368"/>
                  </a:lnTo>
                  <a:lnTo>
                    <a:pt x="20" y="366"/>
                  </a:lnTo>
                  <a:lnTo>
                    <a:pt x="20" y="366"/>
                  </a:lnTo>
                  <a:lnTo>
                    <a:pt x="14" y="366"/>
                  </a:lnTo>
                  <a:lnTo>
                    <a:pt x="10" y="368"/>
                  </a:lnTo>
                  <a:lnTo>
                    <a:pt x="10" y="370"/>
                  </a:lnTo>
                  <a:lnTo>
                    <a:pt x="12" y="376"/>
                  </a:lnTo>
                  <a:lnTo>
                    <a:pt x="12" y="376"/>
                  </a:lnTo>
                  <a:lnTo>
                    <a:pt x="16" y="384"/>
                  </a:lnTo>
                  <a:lnTo>
                    <a:pt x="18" y="388"/>
                  </a:lnTo>
                  <a:lnTo>
                    <a:pt x="22" y="390"/>
                  </a:lnTo>
                  <a:lnTo>
                    <a:pt x="28" y="400"/>
                  </a:lnTo>
                  <a:lnTo>
                    <a:pt x="28" y="400"/>
                  </a:lnTo>
                  <a:lnTo>
                    <a:pt x="40" y="420"/>
                  </a:lnTo>
                  <a:lnTo>
                    <a:pt x="42" y="426"/>
                  </a:lnTo>
                  <a:lnTo>
                    <a:pt x="40" y="432"/>
                  </a:lnTo>
                  <a:lnTo>
                    <a:pt x="40" y="432"/>
                  </a:lnTo>
                  <a:lnTo>
                    <a:pt x="50" y="430"/>
                  </a:lnTo>
                  <a:lnTo>
                    <a:pt x="52" y="430"/>
                  </a:lnTo>
                  <a:lnTo>
                    <a:pt x="54" y="430"/>
                  </a:lnTo>
                  <a:lnTo>
                    <a:pt x="58" y="428"/>
                  </a:lnTo>
                  <a:lnTo>
                    <a:pt x="58" y="428"/>
                  </a:lnTo>
                  <a:lnTo>
                    <a:pt x="70" y="422"/>
                  </a:lnTo>
                  <a:lnTo>
                    <a:pt x="84" y="418"/>
                  </a:lnTo>
                  <a:lnTo>
                    <a:pt x="96" y="414"/>
                  </a:lnTo>
                  <a:lnTo>
                    <a:pt x="104" y="412"/>
                  </a:lnTo>
                  <a:lnTo>
                    <a:pt x="104" y="412"/>
                  </a:lnTo>
                  <a:lnTo>
                    <a:pt x="108" y="408"/>
                  </a:lnTo>
                  <a:lnTo>
                    <a:pt x="112" y="408"/>
                  </a:lnTo>
                  <a:lnTo>
                    <a:pt x="114" y="406"/>
                  </a:lnTo>
                  <a:lnTo>
                    <a:pt x="114" y="402"/>
                  </a:lnTo>
                  <a:lnTo>
                    <a:pt x="114" y="402"/>
                  </a:lnTo>
                  <a:lnTo>
                    <a:pt x="114" y="400"/>
                  </a:lnTo>
                  <a:lnTo>
                    <a:pt x="114" y="398"/>
                  </a:lnTo>
                  <a:lnTo>
                    <a:pt x="110" y="396"/>
                  </a:lnTo>
                  <a:lnTo>
                    <a:pt x="108" y="394"/>
                  </a:lnTo>
                  <a:lnTo>
                    <a:pt x="112" y="390"/>
                  </a:lnTo>
                  <a:lnTo>
                    <a:pt x="112" y="390"/>
                  </a:lnTo>
                  <a:lnTo>
                    <a:pt x="118" y="388"/>
                  </a:lnTo>
                  <a:lnTo>
                    <a:pt x="120" y="388"/>
                  </a:lnTo>
                  <a:lnTo>
                    <a:pt x="124" y="388"/>
                  </a:lnTo>
                  <a:lnTo>
                    <a:pt x="130" y="386"/>
                  </a:lnTo>
                  <a:lnTo>
                    <a:pt x="130" y="386"/>
                  </a:lnTo>
                  <a:lnTo>
                    <a:pt x="146" y="380"/>
                  </a:lnTo>
                  <a:lnTo>
                    <a:pt x="152" y="378"/>
                  </a:lnTo>
                  <a:lnTo>
                    <a:pt x="156" y="376"/>
                  </a:lnTo>
                  <a:lnTo>
                    <a:pt x="156" y="376"/>
                  </a:lnTo>
                  <a:lnTo>
                    <a:pt x="160" y="372"/>
                  </a:lnTo>
                  <a:lnTo>
                    <a:pt x="162" y="368"/>
                  </a:lnTo>
                  <a:lnTo>
                    <a:pt x="164" y="364"/>
                  </a:lnTo>
                  <a:lnTo>
                    <a:pt x="168" y="362"/>
                  </a:lnTo>
                  <a:lnTo>
                    <a:pt x="168" y="362"/>
                  </a:lnTo>
                  <a:lnTo>
                    <a:pt x="170" y="360"/>
                  </a:lnTo>
                  <a:lnTo>
                    <a:pt x="172" y="358"/>
                  </a:lnTo>
                  <a:lnTo>
                    <a:pt x="172" y="354"/>
                  </a:lnTo>
                  <a:lnTo>
                    <a:pt x="172" y="348"/>
                  </a:lnTo>
                  <a:lnTo>
                    <a:pt x="174" y="346"/>
                  </a:lnTo>
                  <a:lnTo>
                    <a:pt x="178" y="344"/>
                  </a:lnTo>
                  <a:lnTo>
                    <a:pt x="178" y="344"/>
                  </a:lnTo>
                  <a:lnTo>
                    <a:pt x="188" y="340"/>
                  </a:lnTo>
                  <a:lnTo>
                    <a:pt x="192" y="338"/>
                  </a:lnTo>
                  <a:lnTo>
                    <a:pt x="194" y="336"/>
                  </a:lnTo>
                  <a:lnTo>
                    <a:pt x="198" y="338"/>
                  </a:lnTo>
                  <a:lnTo>
                    <a:pt x="198" y="33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0" name="Freeform 163"/>
            <p:cNvSpPr>
              <a:spLocks/>
            </p:cNvSpPr>
            <p:nvPr/>
          </p:nvSpPr>
          <p:spPr bwMode="auto">
            <a:xfrm>
              <a:off x="4541538" y="3237177"/>
              <a:ext cx="370417" cy="293688"/>
            </a:xfrm>
            <a:custGeom>
              <a:avLst/>
              <a:gdLst/>
              <a:ahLst/>
              <a:cxnLst>
                <a:cxn ang="0">
                  <a:pos x="276" y="146"/>
                </a:cxn>
                <a:cxn ang="0">
                  <a:pos x="270" y="136"/>
                </a:cxn>
                <a:cxn ang="0">
                  <a:pos x="266" y="126"/>
                </a:cxn>
                <a:cxn ang="0">
                  <a:pos x="260" y="122"/>
                </a:cxn>
                <a:cxn ang="0">
                  <a:pos x="256" y="114"/>
                </a:cxn>
                <a:cxn ang="0">
                  <a:pos x="250" y="106"/>
                </a:cxn>
                <a:cxn ang="0">
                  <a:pos x="244" y="102"/>
                </a:cxn>
                <a:cxn ang="0">
                  <a:pos x="236" y="92"/>
                </a:cxn>
                <a:cxn ang="0">
                  <a:pos x="234" y="82"/>
                </a:cxn>
                <a:cxn ang="0">
                  <a:pos x="220" y="74"/>
                </a:cxn>
                <a:cxn ang="0">
                  <a:pos x="212" y="68"/>
                </a:cxn>
                <a:cxn ang="0">
                  <a:pos x="206" y="64"/>
                </a:cxn>
                <a:cxn ang="0">
                  <a:pos x="206" y="56"/>
                </a:cxn>
                <a:cxn ang="0">
                  <a:pos x="198" y="52"/>
                </a:cxn>
                <a:cxn ang="0">
                  <a:pos x="192" y="44"/>
                </a:cxn>
                <a:cxn ang="0">
                  <a:pos x="196" y="32"/>
                </a:cxn>
                <a:cxn ang="0">
                  <a:pos x="192" y="24"/>
                </a:cxn>
                <a:cxn ang="0">
                  <a:pos x="186" y="14"/>
                </a:cxn>
                <a:cxn ang="0">
                  <a:pos x="182" y="2"/>
                </a:cxn>
                <a:cxn ang="0">
                  <a:pos x="176" y="2"/>
                </a:cxn>
                <a:cxn ang="0">
                  <a:pos x="162" y="8"/>
                </a:cxn>
                <a:cxn ang="0">
                  <a:pos x="156" y="18"/>
                </a:cxn>
                <a:cxn ang="0">
                  <a:pos x="152" y="26"/>
                </a:cxn>
                <a:cxn ang="0">
                  <a:pos x="146" y="32"/>
                </a:cxn>
                <a:cxn ang="0">
                  <a:pos x="140" y="40"/>
                </a:cxn>
                <a:cxn ang="0">
                  <a:pos x="114" y="50"/>
                </a:cxn>
                <a:cxn ang="0">
                  <a:pos x="104" y="52"/>
                </a:cxn>
                <a:cxn ang="0">
                  <a:pos x="96" y="54"/>
                </a:cxn>
                <a:cxn ang="0">
                  <a:pos x="98" y="62"/>
                </a:cxn>
                <a:cxn ang="0">
                  <a:pos x="98" y="66"/>
                </a:cxn>
                <a:cxn ang="0">
                  <a:pos x="92" y="72"/>
                </a:cxn>
                <a:cxn ang="0">
                  <a:pos x="80" y="78"/>
                </a:cxn>
                <a:cxn ang="0">
                  <a:pos x="42" y="92"/>
                </a:cxn>
                <a:cxn ang="0">
                  <a:pos x="36" y="94"/>
                </a:cxn>
                <a:cxn ang="0">
                  <a:pos x="24" y="96"/>
                </a:cxn>
                <a:cxn ang="0">
                  <a:pos x="10" y="132"/>
                </a:cxn>
                <a:cxn ang="0">
                  <a:pos x="0" y="152"/>
                </a:cxn>
                <a:cxn ang="0">
                  <a:pos x="4" y="166"/>
                </a:cxn>
                <a:cxn ang="0">
                  <a:pos x="16" y="182"/>
                </a:cxn>
                <a:cxn ang="0">
                  <a:pos x="30" y="200"/>
                </a:cxn>
                <a:cxn ang="0">
                  <a:pos x="38" y="212"/>
                </a:cxn>
                <a:cxn ang="0">
                  <a:pos x="38" y="222"/>
                </a:cxn>
                <a:cxn ang="0">
                  <a:pos x="48" y="210"/>
                </a:cxn>
                <a:cxn ang="0">
                  <a:pos x="54" y="190"/>
                </a:cxn>
                <a:cxn ang="0">
                  <a:pos x="76" y="190"/>
                </a:cxn>
                <a:cxn ang="0">
                  <a:pos x="98" y="170"/>
                </a:cxn>
                <a:cxn ang="0">
                  <a:pos x="110" y="154"/>
                </a:cxn>
                <a:cxn ang="0">
                  <a:pos x="124" y="152"/>
                </a:cxn>
                <a:cxn ang="0">
                  <a:pos x="140" y="162"/>
                </a:cxn>
                <a:cxn ang="0">
                  <a:pos x="146" y="162"/>
                </a:cxn>
                <a:cxn ang="0">
                  <a:pos x="162" y="166"/>
                </a:cxn>
                <a:cxn ang="0">
                  <a:pos x="186" y="170"/>
                </a:cxn>
                <a:cxn ang="0">
                  <a:pos x="192" y="164"/>
                </a:cxn>
                <a:cxn ang="0">
                  <a:pos x="206" y="158"/>
                </a:cxn>
                <a:cxn ang="0">
                  <a:pos x="224" y="152"/>
                </a:cxn>
                <a:cxn ang="0">
                  <a:pos x="228" y="148"/>
                </a:cxn>
                <a:cxn ang="0">
                  <a:pos x="234" y="150"/>
                </a:cxn>
                <a:cxn ang="0">
                  <a:pos x="280" y="154"/>
                </a:cxn>
              </a:cxnLst>
              <a:rect l="0" t="0" r="r" b="b"/>
              <a:pathLst>
                <a:path w="280" h="222">
                  <a:moveTo>
                    <a:pt x="280" y="154"/>
                  </a:moveTo>
                  <a:lnTo>
                    <a:pt x="280" y="154"/>
                  </a:lnTo>
                  <a:lnTo>
                    <a:pt x="276" y="146"/>
                  </a:lnTo>
                  <a:lnTo>
                    <a:pt x="274" y="144"/>
                  </a:lnTo>
                  <a:lnTo>
                    <a:pt x="270" y="142"/>
                  </a:lnTo>
                  <a:lnTo>
                    <a:pt x="270" y="136"/>
                  </a:lnTo>
                  <a:lnTo>
                    <a:pt x="270" y="136"/>
                  </a:lnTo>
                  <a:lnTo>
                    <a:pt x="268" y="132"/>
                  </a:lnTo>
                  <a:lnTo>
                    <a:pt x="266" y="126"/>
                  </a:lnTo>
                  <a:lnTo>
                    <a:pt x="262" y="124"/>
                  </a:lnTo>
                  <a:lnTo>
                    <a:pt x="260" y="122"/>
                  </a:lnTo>
                  <a:lnTo>
                    <a:pt x="260" y="122"/>
                  </a:lnTo>
                  <a:lnTo>
                    <a:pt x="258" y="120"/>
                  </a:lnTo>
                  <a:lnTo>
                    <a:pt x="258" y="120"/>
                  </a:lnTo>
                  <a:lnTo>
                    <a:pt x="256" y="114"/>
                  </a:lnTo>
                  <a:lnTo>
                    <a:pt x="254" y="108"/>
                  </a:lnTo>
                  <a:lnTo>
                    <a:pt x="252" y="106"/>
                  </a:lnTo>
                  <a:lnTo>
                    <a:pt x="250" y="106"/>
                  </a:lnTo>
                  <a:lnTo>
                    <a:pt x="250" y="106"/>
                  </a:lnTo>
                  <a:lnTo>
                    <a:pt x="246" y="104"/>
                  </a:lnTo>
                  <a:lnTo>
                    <a:pt x="244" y="102"/>
                  </a:lnTo>
                  <a:lnTo>
                    <a:pt x="242" y="98"/>
                  </a:lnTo>
                  <a:lnTo>
                    <a:pt x="236" y="92"/>
                  </a:lnTo>
                  <a:lnTo>
                    <a:pt x="236" y="92"/>
                  </a:lnTo>
                  <a:lnTo>
                    <a:pt x="232" y="88"/>
                  </a:lnTo>
                  <a:lnTo>
                    <a:pt x="234" y="84"/>
                  </a:lnTo>
                  <a:lnTo>
                    <a:pt x="234" y="82"/>
                  </a:lnTo>
                  <a:lnTo>
                    <a:pt x="226" y="78"/>
                  </a:lnTo>
                  <a:lnTo>
                    <a:pt x="226" y="78"/>
                  </a:lnTo>
                  <a:lnTo>
                    <a:pt x="220" y="74"/>
                  </a:lnTo>
                  <a:lnTo>
                    <a:pt x="220" y="72"/>
                  </a:lnTo>
                  <a:lnTo>
                    <a:pt x="220" y="70"/>
                  </a:lnTo>
                  <a:lnTo>
                    <a:pt x="212" y="68"/>
                  </a:lnTo>
                  <a:lnTo>
                    <a:pt x="212" y="68"/>
                  </a:lnTo>
                  <a:lnTo>
                    <a:pt x="208" y="66"/>
                  </a:lnTo>
                  <a:lnTo>
                    <a:pt x="206" y="64"/>
                  </a:lnTo>
                  <a:lnTo>
                    <a:pt x="206" y="60"/>
                  </a:lnTo>
                  <a:lnTo>
                    <a:pt x="206" y="58"/>
                  </a:lnTo>
                  <a:lnTo>
                    <a:pt x="206" y="56"/>
                  </a:lnTo>
                  <a:lnTo>
                    <a:pt x="204" y="54"/>
                  </a:lnTo>
                  <a:lnTo>
                    <a:pt x="198" y="52"/>
                  </a:lnTo>
                  <a:lnTo>
                    <a:pt x="198" y="52"/>
                  </a:lnTo>
                  <a:lnTo>
                    <a:pt x="194" y="50"/>
                  </a:lnTo>
                  <a:lnTo>
                    <a:pt x="192" y="46"/>
                  </a:lnTo>
                  <a:lnTo>
                    <a:pt x="192" y="44"/>
                  </a:lnTo>
                  <a:lnTo>
                    <a:pt x="194" y="42"/>
                  </a:lnTo>
                  <a:lnTo>
                    <a:pt x="196" y="34"/>
                  </a:lnTo>
                  <a:lnTo>
                    <a:pt x="196" y="32"/>
                  </a:lnTo>
                  <a:lnTo>
                    <a:pt x="194" y="28"/>
                  </a:lnTo>
                  <a:lnTo>
                    <a:pt x="194" y="28"/>
                  </a:lnTo>
                  <a:lnTo>
                    <a:pt x="192" y="24"/>
                  </a:lnTo>
                  <a:lnTo>
                    <a:pt x="192" y="22"/>
                  </a:lnTo>
                  <a:lnTo>
                    <a:pt x="190" y="18"/>
                  </a:lnTo>
                  <a:lnTo>
                    <a:pt x="186" y="14"/>
                  </a:lnTo>
                  <a:lnTo>
                    <a:pt x="186" y="14"/>
                  </a:lnTo>
                  <a:lnTo>
                    <a:pt x="182" y="6"/>
                  </a:lnTo>
                  <a:lnTo>
                    <a:pt x="182" y="2"/>
                  </a:lnTo>
                  <a:lnTo>
                    <a:pt x="182" y="2"/>
                  </a:lnTo>
                  <a:lnTo>
                    <a:pt x="178" y="0"/>
                  </a:lnTo>
                  <a:lnTo>
                    <a:pt x="176" y="2"/>
                  </a:lnTo>
                  <a:lnTo>
                    <a:pt x="172" y="4"/>
                  </a:lnTo>
                  <a:lnTo>
                    <a:pt x="162" y="8"/>
                  </a:lnTo>
                  <a:lnTo>
                    <a:pt x="162" y="8"/>
                  </a:lnTo>
                  <a:lnTo>
                    <a:pt x="158" y="10"/>
                  </a:lnTo>
                  <a:lnTo>
                    <a:pt x="156" y="12"/>
                  </a:lnTo>
                  <a:lnTo>
                    <a:pt x="156" y="18"/>
                  </a:lnTo>
                  <a:lnTo>
                    <a:pt x="156" y="22"/>
                  </a:lnTo>
                  <a:lnTo>
                    <a:pt x="154" y="24"/>
                  </a:lnTo>
                  <a:lnTo>
                    <a:pt x="152" y="26"/>
                  </a:lnTo>
                  <a:lnTo>
                    <a:pt x="152" y="26"/>
                  </a:lnTo>
                  <a:lnTo>
                    <a:pt x="148" y="28"/>
                  </a:lnTo>
                  <a:lnTo>
                    <a:pt x="146" y="32"/>
                  </a:lnTo>
                  <a:lnTo>
                    <a:pt x="144" y="36"/>
                  </a:lnTo>
                  <a:lnTo>
                    <a:pt x="140" y="40"/>
                  </a:lnTo>
                  <a:lnTo>
                    <a:pt x="140" y="40"/>
                  </a:lnTo>
                  <a:lnTo>
                    <a:pt x="136" y="42"/>
                  </a:lnTo>
                  <a:lnTo>
                    <a:pt x="130" y="44"/>
                  </a:lnTo>
                  <a:lnTo>
                    <a:pt x="114" y="50"/>
                  </a:lnTo>
                  <a:lnTo>
                    <a:pt x="114" y="50"/>
                  </a:lnTo>
                  <a:lnTo>
                    <a:pt x="108" y="52"/>
                  </a:lnTo>
                  <a:lnTo>
                    <a:pt x="104" y="52"/>
                  </a:lnTo>
                  <a:lnTo>
                    <a:pt x="102" y="52"/>
                  </a:lnTo>
                  <a:lnTo>
                    <a:pt x="96" y="54"/>
                  </a:lnTo>
                  <a:lnTo>
                    <a:pt x="96" y="54"/>
                  </a:lnTo>
                  <a:lnTo>
                    <a:pt x="92" y="58"/>
                  </a:lnTo>
                  <a:lnTo>
                    <a:pt x="94" y="60"/>
                  </a:lnTo>
                  <a:lnTo>
                    <a:pt x="98" y="62"/>
                  </a:lnTo>
                  <a:lnTo>
                    <a:pt x="98" y="64"/>
                  </a:lnTo>
                  <a:lnTo>
                    <a:pt x="98" y="66"/>
                  </a:lnTo>
                  <a:lnTo>
                    <a:pt x="98" y="66"/>
                  </a:lnTo>
                  <a:lnTo>
                    <a:pt x="98" y="70"/>
                  </a:lnTo>
                  <a:lnTo>
                    <a:pt x="96" y="72"/>
                  </a:lnTo>
                  <a:lnTo>
                    <a:pt x="92" y="72"/>
                  </a:lnTo>
                  <a:lnTo>
                    <a:pt x="88" y="76"/>
                  </a:lnTo>
                  <a:lnTo>
                    <a:pt x="88" y="76"/>
                  </a:lnTo>
                  <a:lnTo>
                    <a:pt x="80" y="78"/>
                  </a:lnTo>
                  <a:lnTo>
                    <a:pt x="68" y="82"/>
                  </a:lnTo>
                  <a:lnTo>
                    <a:pt x="54" y="86"/>
                  </a:lnTo>
                  <a:lnTo>
                    <a:pt x="42" y="92"/>
                  </a:lnTo>
                  <a:lnTo>
                    <a:pt x="42" y="92"/>
                  </a:lnTo>
                  <a:lnTo>
                    <a:pt x="38" y="94"/>
                  </a:lnTo>
                  <a:lnTo>
                    <a:pt x="36" y="94"/>
                  </a:lnTo>
                  <a:lnTo>
                    <a:pt x="34" y="94"/>
                  </a:lnTo>
                  <a:lnTo>
                    <a:pt x="24" y="96"/>
                  </a:lnTo>
                  <a:lnTo>
                    <a:pt x="24" y="96"/>
                  </a:lnTo>
                  <a:lnTo>
                    <a:pt x="18" y="104"/>
                  </a:lnTo>
                  <a:lnTo>
                    <a:pt x="14" y="112"/>
                  </a:lnTo>
                  <a:lnTo>
                    <a:pt x="10" y="132"/>
                  </a:lnTo>
                  <a:lnTo>
                    <a:pt x="10" y="132"/>
                  </a:lnTo>
                  <a:lnTo>
                    <a:pt x="4" y="146"/>
                  </a:lnTo>
                  <a:lnTo>
                    <a:pt x="0" y="152"/>
                  </a:lnTo>
                  <a:lnTo>
                    <a:pt x="0" y="156"/>
                  </a:lnTo>
                  <a:lnTo>
                    <a:pt x="4" y="166"/>
                  </a:lnTo>
                  <a:lnTo>
                    <a:pt x="4" y="166"/>
                  </a:lnTo>
                  <a:lnTo>
                    <a:pt x="8" y="176"/>
                  </a:lnTo>
                  <a:lnTo>
                    <a:pt x="12" y="178"/>
                  </a:lnTo>
                  <a:lnTo>
                    <a:pt x="16" y="182"/>
                  </a:lnTo>
                  <a:lnTo>
                    <a:pt x="22" y="190"/>
                  </a:lnTo>
                  <a:lnTo>
                    <a:pt x="22" y="190"/>
                  </a:lnTo>
                  <a:lnTo>
                    <a:pt x="30" y="200"/>
                  </a:lnTo>
                  <a:lnTo>
                    <a:pt x="36" y="204"/>
                  </a:lnTo>
                  <a:lnTo>
                    <a:pt x="40" y="206"/>
                  </a:lnTo>
                  <a:lnTo>
                    <a:pt x="38" y="212"/>
                  </a:lnTo>
                  <a:lnTo>
                    <a:pt x="38" y="212"/>
                  </a:lnTo>
                  <a:lnTo>
                    <a:pt x="38" y="216"/>
                  </a:lnTo>
                  <a:lnTo>
                    <a:pt x="38" y="222"/>
                  </a:lnTo>
                  <a:lnTo>
                    <a:pt x="38" y="222"/>
                  </a:lnTo>
                  <a:lnTo>
                    <a:pt x="44" y="216"/>
                  </a:lnTo>
                  <a:lnTo>
                    <a:pt x="48" y="210"/>
                  </a:lnTo>
                  <a:lnTo>
                    <a:pt x="50" y="200"/>
                  </a:lnTo>
                  <a:lnTo>
                    <a:pt x="52" y="192"/>
                  </a:lnTo>
                  <a:lnTo>
                    <a:pt x="54" y="190"/>
                  </a:lnTo>
                  <a:lnTo>
                    <a:pt x="56" y="190"/>
                  </a:lnTo>
                  <a:lnTo>
                    <a:pt x="56" y="190"/>
                  </a:lnTo>
                  <a:lnTo>
                    <a:pt x="76" y="190"/>
                  </a:lnTo>
                  <a:lnTo>
                    <a:pt x="94" y="190"/>
                  </a:lnTo>
                  <a:lnTo>
                    <a:pt x="94" y="190"/>
                  </a:lnTo>
                  <a:lnTo>
                    <a:pt x="98" y="170"/>
                  </a:lnTo>
                  <a:lnTo>
                    <a:pt x="102" y="160"/>
                  </a:lnTo>
                  <a:lnTo>
                    <a:pt x="106" y="156"/>
                  </a:lnTo>
                  <a:lnTo>
                    <a:pt x="110" y="154"/>
                  </a:lnTo>
                  <a:lnTo>
                    <a:pt x="118" y="152"/>
                  </a:lnTo>
                  <a:lnTo>
                    <a:pt x="118" y="152"/>
                  </a:lnTo>
                  <a:lnTo>
                    <a:pt x="124" y="152"/>
                  </a:lnTo>
                  <a:lnTo>
                    <a:pt x="128" y="154"/>
                  </a:lnTo>
                  <a:lnTo>
                    <a:pt x="134" y="158"/>
                  </a:lnTo>
                  <a:lnTo>
                    <a:pt x="140" y="162"/>
                  </a:lnTo>
                  <a:lnTo>
                    <a:pt x="142" y="164"/>
                  </a:lnTo>
                  <a:lnTo>
                    <a:pt x="146" y="162"/>
                  </a:lnTo>
                  <a:lnTo>
                    <a:pt x="146" y="162"/>
                  </a:lnTo>
                  <a:lnTo>
                    <a:pt x="150" y="162"/>
                  </a:lnTo>
                  <a:lnTo>
                    <a:pt x="154" y="164"/>
                  </a:lnTo>
                  <a:lnTo>
                    <a:pt x="162" y="166"/>
                  </a:lnTo>
                  <a:lnTo>
                    <a:pt x="172" y="170"/>
                  </a:lnTo>
                  <a:lnTo>
                    <a:pt x="178" y="172"/>
                  </a:lnTo>
                  <a:lnTo>
                    <a:pt x="186" y="170"/>
                  </a:lnTo>
                  <a:lnTo>
                    <a:pt x="186" y="170"/>
                  </a:lnTo>
                  <a:lnTo>
                    <a:pt x="188" y="168"/>
                  </a:lnTo>
                  <a:lnTo>
                    <a:pt x="192" y="164"/>
                  </a:lnTo>
                  <a:lnTo>
                    <a:pt x="196" y="160"/>
                  </a:lnTo>
                  <a:lnTo>
                    <a:pt x="206" y="158"/>
                  </a:lnTo>
                  <a:lnTo>
                    <a:pt x="206" y="158"/>
                  </a:lnTo>
                  <a:lnTo>
                    <a:pt x="220" y="156"/>
                  </a:lnTo>
                  <a:lnTo>
                    <a:pt x="222" y="154"/>
                  </a:lnTo>
                  <a:lnTo>
                    <a:pt x="224" y="152"/>
                  </a:lnTo>
                  <a:lnTo>
                    <a:pt x="224" y="150"/>
                  </a:lnTo>
                  <a:lnTo>
                    <a:pt x="224" y="148"/>
                  </a:lnTo>
                  <a:lnTo>
                    <a:pt x="228" y="148"/>
                  </a:lnTo>
                  <a:lnTo>
                    <a:pt x="228" y="148"/>
                  </a:lnTo>
                  <a:lnTo>
                    <a:pt x="230" y="148"/>
                  </a:lnTo>
                  <a:lnTo>
                    <a:pt x="234" y="150"/>
                  </a:lnTo>
                  <a:lnTo>
                    <a:pt x="246" y="152"/>
                  </a:lnTo>
                  <a:lnTo>
                    <a:pt x="280" y="154"/>
                  </a:lnTo>
                  <a:lnTo>
                    <a:pt x="280" y="154"/>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1" name="Freeform 164"/>
            <p:cNvSpPr>
              <a:spLocks/>
            </p:cNvSpPr>
            <p:nvPr/>
          </p:nvSpPr>
          <p:spPr bwMode="auto">
            <a:xfrm>
              <a:off x="4374851" y="2517510"/>
              <a:ext cx="439208" cy="425979"/>
            </a:xfrm>
            <a:custGeom>
              <a:avLst/>
              <a:gdLst/>
              <a:ahLst/>
              <a:cxnLst>
                <a:cxn ang="0">
                  <a:pos x="318" y="32"/>
                </a:cxn>
                <a:cxn ang="0">
                  <a:pos x="312" y="28"/>
                </a:cxn>
                <a:cxn ang="0">
                  <a:pos x="304" y="28"/>
                </a:cxn>
                <a:cxn ang="0">
                  <a:pos x="296" y="24"/>
                </a:cxn>
                <a:cxn ang="0">
                  <a:pos x="292" y="20"/>
                </a:cxn>
                <a:cxn ang="0">
                  <a:pos x="282" y="14"/>
                </a:cxn>
                <a:cxn ang="0">
                  <a:pos x="266" y="12"/>
                </a:cxn>
                <a:cxn ang="0">
                  <a:pos x="264" y="14"/>
                </a:cxn>
                <a:cxn ang="0">
                  <a:pos x="262" y="10"/>
                </a:cxn>
                <a:cxn ang="0">
                  <a:pos x="244" y="10"/>
                </a:cxn>
                <a:cxn ang="0">
                  <a:pos x="228" y="20"/>
                </a:cxn>
                <a:cxn ang="0">
                  <a:pos x="220" y="36"/>
                </a:cxn>
                <a:cxn ang="0">
                  <a:pos x="226" y="38"/>
                </a:cxn>
                <a:cxn ang="0">
                  <a:pos x="220" y="60"/>
                </a:cxn>
                <a:cxn ang="0">
                  <a:pos x="210" y="64"/>
                </a:cxn>
                <a:cxn ang="0">
                  <a:pos x="196" y="60"/>
                </a:cxn>
                <a:cxn ang="0">
                  <a:pos x="174" y="48"/>
                </a:cxn>
                <a:cxn ang="0">
                  <a:pos x="152" y="42"/>
                </a:cxn>
                <a:cxn ang="0">
                  <a:pos x="138" y="42"/>
                </a:cxn>
                <a:cxn ang="0">
                  <a:pos x="130" y="36"/>
                </a:cxn>
                <a:cxn ang="0">
                  <a:pos x="126" y="20"/>
                </a:cxn>
                <a:cxn ang="0">
                  <a:pos x="116" y="18"/>
                </a:cxn>
                <a:cxn ang="0">
                  <a:pos x="110" y="14"/>
                </a:cxn>
                <a:cxn ang="0">
                  <a:pos x="96" y="12"/>
                </a:cxn>
                <a:cxn ang="0">
                  <a:pos x="88" y="10"/>
                </a:cxn>
                <a:cxn ang="0">
                  <a:pos x="76" y="8"/>
                </a:cxn>
                <a:cxn ang="0">
                  <a:pos x="62" y="8"/>
                </a:cxn>
                <a:cxn ang="0">
                  <a:pos x="44" y="0"/>
                </a:cxn>
                <a:cxn ang="0">
                  <a:pos x="44" y="12"/>
                </a:cxn>
                <a:cxn ang="0">
                  <a:pos x="40" y="20"/>
                </a:cxn>
                <a:cxn ang="0">
                  <a:pos x="28" y="26"/>
                </a:cxn>
                <a:cxn ang="0">
                  <a:pos x="24" y="34"/>
                </a:cxn>
                <a:cxn ang="0">
                  <a:pos x="20" y="48"/>
                </a:cxn>
                <a:cxn ang="0">
                  <a:pos x="22" y="56"/>
                </a:cxn>
                <a:cxn ang="0">
                  <a:pos x="8" y="68"/>
                </a:cxn>
                <a:cxn ang="0">
                  <a:pos x="0" y="72"/>
                </a:cxn>
                <a:cxn ang="0">
                  <a:pos x="4" y="78"/>
                </a:cxn>
                <a:cxn ang="0">
                  <a:pos x="8" y="98"/>
                </a:cxn>
                <a:cxn ang="0">
                  <a:pos x="20" y="120"/>
                </a:cxn>
                <a:cxn ang="0">
                  <a:pos x="18" y="132"/>
                </a:cxn>
                <a:cxn ang="0">
                  <a:pos x="18" y="138"/>
                </a:cxn>
                <a:cxn ang="0">
                  <a:pos x="22" y="144"/>
                </a:cxn>
                <a:cxn ang="0">
                  <a:pos x="18" y="150"/>
                </a:cxn>
                <a:cxn ang="0">
                  <a:pos x="8" y="158"/>
                </a:cxn>
                <a:cxn ang="0">
                  <a:pos x="6" y="164"/>
                </a:cxn>
                <a:cxn ang="0">
                  <a:pos x="18" y="172"/>
                </a:cxn>
                <a:cxn ang="0">
                  <a:pos x="20" y="178"/>
                </a:cxn>
                <a:cxn ang="0">
                  <a:pos x="24" y="184"/>
                </a:cxn>
                <a:cxn ang="0">
                  <a:pos x="32" y="192"/>
                </a:cxn>
                <a:cxn ang="0">
                  <a:pos x="46" y="196"/>
                </a:cxn>
                <a:cxn ang="0">
                  <a:pos x="64" y="208"/>
                </a:cxn>
                <a:cxn ang="0">
                  <a:pos x="130" y="222"/>
                </a:cxn>
                <a:cxn ang="0">
                  <a:pos x="154" y="210"/>
                </a:cxn>
                <a:cxn ang="0">
                  <a:pos x="176" y="214"/>
                </a:cxn>
                <a:cxn ang="0">
                  <a:pos x="332" y="322"/>
                </a:cxn>
                <a:cxn ang="0">
                  <a:pos x="318" y="96"/>
                </a:cxn>
                <a:cxn ang="0">
                  <a:pos x="320" y="82"/>
                </a:cxn>
                <a:cxn ang="0">
                  <a:pos x="318" y="76"/>
                </a:cxn>
                <a:cxn ang="0">
                  <a:pos x="320" y="66"/>
                </a:cxn>
                <a:cxn ang="0">
                  <a:pos x="318" y="58"/>
                </a:cxn>
                <a:cxn ang="0">
                  <a:pos x="320" y="32"/>
                </a:cxn>
              </a:cxnLst>
              <a:rect l="0" t="0" r="r" b="b"/>
              <a:pathLst>
                <a:path w="332" h="322">
                  <a:moveTo>
                    <a:pt x="320" y="32"/>
                  </a:moveTo>
                  <a:lnTo>
                    <a:pt x="320" y="32"/>
                  </a:lnTo>
                  <a:lnTo>
                    <a:pt x="318" y="32"/>
                  </a:lnTo>
                  <a:lnTo>
                    <a:pt x="318" y="30"/>
                  </a:lnTo>
                  <a:lnTo>
                    <a:pt x="316" y="28"/>
                  </a:lnTo>
                  <a:lnTo>
                    <a:pt x="312" y="28"/>
                  </a:lnTo>
                  <a:lnTo>
                    <a:pt x="312" y="28"/>
                  </a:lnTo>
                  <a:lnTo>
                    <a:pt x="306" y="28"/>
                  </a:lnTo>
                  <a:lnTo>
                    <a:pt x="304" y="28"/>
                  </a:lnTo>
                  <a:lnTo>
                    <a:pt x="304" y="24"/>
                  </a:lnTo>
                  <a:lnTo>
                    <a:pt x="296" y="24"/>
                  </a:lnTo>
                  <a:lnTo>
                    <a:pt x="296" y="24"/>
                  </a:lnTo>
                  <a:lnTo>
                    <a:pt x="290" y="24"/>
                  </a:lnTo>
                  <a:lnTo>
                    <a:pt x="290" y="22"/>
                  </a:lnTo>
                  <a:lnTo>
                    <a:pt x="292" y="20"/>
                  </a:lnTo>
                  <a:lnTo>
                    <a:pt x="290" y="18"/>
                  </a:lnTo>
                  <a:lnTo>
                    <a:pt x="288" y="18"/>
                  </a:lnTo>
                  <a:lnTo>
                    <a:pt x="282" y="14"/>
                  </a:lnTo>
                  <a:lnTo>
                    <a:pt x="282" y="14"/>
                  </a:lnTo>
                  <a:lnTo>
                    <a:pt x="270" y="12"/>
                  </a:lnTo>
                  <a:lnTo>
                    <a:pt x="266" y="12"/>
                  </a:lnTo>
                  <a:lnTo>
                    <a:pt x="266" y="14"/>
                  </a:lnTo>
                  <a:lnTo>
                    <a:pt x="264" y="14"/>
                  </a:lnTo>
                  <a:lnTo>
                    <a:pt x="264" y="14"/>
                  </a:lnTo>
                  <a:lnTo>
                    <a:pt x="260" y="12"/>
                  </a:lnTo>
                  <a:lnTo>
                    <a:pt x="262" y="12"/>
                  </a:lnTo>
                  <a:lnTo>
                    <a:pt x="262" y="10"/>
                  </a:lnTo>
                  <a:lnTo>
                    <a:pt x="254" y="10"/>
                  </a:lnTo>
                  <a:lnTo>
                    <a:pt x="254" y="10"/>
                  </a:lnTo>
                  <a:lnTo>
                    <a:pt x="244" y="10"/>
                  </a:lnTo>
                  <a:lnTo>
                    <a:pt x="238" y="12"/>
                  </a:lnTo>
                  <a:lnTo>
                    <a:pt x="228" y="20"/>
                  </a:lnTo>
                  <a:lnTo>
                    <a:pt x="228" y="20"/>
                  </a:lnTo>
                  <a:lnTo>
                    <a:pt x="222" y="26"/>
                  </a:lnTo>
                  <a:lnTo>
                    <a:pt x="220" y="30"/>
                  </a:lnTo>
                  <a:lnTo>
                    <a:pt x="220" y="36"/>
                  </a:lnTo>
                  <a:lnTo>
                    <a:pt x="222" y="38"/>
                  </a:lnTo>
                  <a:lnTo>
                    <a:pt x="222" y="38"/>
                  </a:lnTo>
                  <a:lnTo>
                    <a:pt x="226" y="38"/>
                  </a:lnTo>
                  <a:lnTo>
                    <a:pt x="226" y="42"/>
                  </a:lnTo>
                  <a:lnTo>
                    <a:pt x="226" y="52"/>
                  </a:lnTo>
                  <a:lnTo>
                    <a:pt x="220" y="60"/>
                  </a:lnTo>
                  <a:lnTo>
                    <a:pt x="216" y="64"/>
                  </a:lnTo>
                  <a:lnTo>
                    <a:pt x="210" y="64"/>
                  </a:lnTo>
                  <a:lnTo>
                    <a:pt x="210" y="64"/>
                  </a:lnTo>
                  <a:lnTo>
                    <a:pt x="204" y="66"/>
                  </a:lnTo>
                  <a:lnTo>
                    <a:pt x="200" y="64"/>
                  </a:lnTo>
                  <a:lnTo>
                    <a:pt x="196" y="60"/>
                  </a:lnTo>
                  <a:lnTo>
                    <a:pt x="186" y="54"/>
                  </a:lnTo>
                  <a:lnTo>
                    <a:pt x="186" y="54"/>
                  </a:lnTo>
                  <a:lnTo>
                    <a:pt x="174" y="48"/>
                  </a:lnTo>
                  <a:lnTo>
                    <a:pt x="166" y="46"/>
                  </a:lnTo>
                  <a:lnTo>
                    <a:pt x="158" y="44"/>
                  </a:lnTo>
                  <a:lnTo>
                    <a:pt x="152" y="42"/>
                  </a:lnTo>
                  <a:lnTo>
                    <a:pt x="152" y="42"/>
                  </a:lnTo>
                  <a:lnTo>
                    <a:pt x="146" y="42"/>
                  </a:lnTo>
                  <a:lnTo>
                    <a:pt x="138" y="42"/>
                  </a:lnTo>
                  <a:lnTo>
                    <a:pt x="136" y="42"/>
                  </a:lnTo>
                  <a:lnTo>
                    <a:pt x="132" y="40"/>
                  </a:lnTo>
                  <a:lnTo>
                    <a:pt x="130" y="36"/>
                  </a:lnTo>
                  <a:lnTo>
                    <a:pt x="128" y="28"/>
                  </a:lnTo>
                  <a:lnTo>
                    <a:pt x="128" y="28"/>
                  </a:lnTo>
                  <a:lnTo>
                    <a:pt x="126" y="20"/>
                  </a:lnTo>
                  <a:lnTo>
                    <a:pt x="124" y="20"/>
                  </a:lnTo>
                  <a:lnTo>
                    <a:pt x="118" y="20"/>
                  </a:lnTo>
                  <a:lnTo>
                    <a:pt x="116" y="18"/>
                  </a:lnTo>
                  <a:lnTo>
                    <a:pt x="112" y="16"/>
                  </a:lnTo>
                  <a:lnTo>
                    <a:pt x="112" y="16"/>
                  </a:lnTo>
                  <a:lnTo>
                    <a:pt x="110" y="14"/>
                  </a:lnTo>
                  <a:lnTo>
                    <a:pt x="106" y="12"/>
                  </a:lnTo>
                  <a:lnTo>
                    <a:pt x="100" y="12"/>
                  </a:lnTo>
                  <a:lnTo>
                    <a:pt x="96" y="12"/>
                  </a:lnTo>
                  <a:lnTo>
                    <a:pt x="92" y="12"/>
                  </a:lnTo>
                  <a:lnTo>
                    <a:pt x="88" y="10"/>
                  </a:lnTo>
                  <a:lnTo>
                    <a:pt x="88" y="10"/>
                  </a:lnTo>
                  <a:lnTo>
                    <a:pt x="86" y="8"/>
                  </a:lnTo>
                  <a:lnTo>
                    <a:pt x="82" y="6"/>
                  </a:lnTo>
                  <a:lnTo>
                    <a:pt x="76" y="8"/>
                  </a:lnTo>
                  <a:lnTo>
                    <a:pt x="70" y="10"/>
                  </a:lnTo>
                  <a:lnTo>
                    <a:pt x="66" y="10"/>
                  </a:lnTo>
                  <a:lnTo>
                    <a:pt x="62" y="8"/>
                  </a:lnTo>
                  <a:lnTo>
                    <a:pt x="62" y="8"/>
                  </a:lnTo>
                  <a:lnTo>
                    <a:pt x="50" y="4"/>
                  </a:lnTo>
                  <a:lnTo>
                    <a:pt x="44" y="0"/>
                  </a:lnTo>
                  <a:lnTo>
                    <a:pt x="42" y="12"/>
                  </a:lnTo>
                  <a:lnTo>
                    <a:pt x="42" y="12"/>
                  </a:lnTo>
                  <a:lnTo>
                    <a:pt x="44" y="12"/>
                  </a:lnTo>
                  <a:lnTo>
                    <a:pt x="46" y="14"/>
                  </a:lnTo>
                  <a:lnTo>
                    <a:pt x="44" y="18"/>
                  </a:lnTo>
                  <a:lnTo>
                    <a:pt x="40" y="20"/>
                  </a:lnTo>
                  <a:lnTo>
                    <a:pt x="40" y="20"/>
                  </a:lnTo>
                  <a:lnTo>
                    <a:pt x="32" y="24"/>
                  </a:lnTo>
                  <a:lnTo>
                    <a:pt x="28" y="26"/>
                  </a:lnTo>
                  <a:lnTo>
                    <a:pt x="26" y="30"/>
                  </a:lnTo>
                  <a:lnTo>
                    <a:pt x="26" y="30"/>
                  </a:lnTo>
                  <a:lnTo>
                    <a:pt x="24" y="34"/>
                  </a:lnTo>
                  <a:lnTo>
                    <a:pt x="20" y="38"/>
                  </a:lnTo>
                  <a:lnTo>
                    <a:pt x="18" y="42"/>
                  </a:lnTo>
                  <a:lnTo>
                    <a:pt x="20" y="48"/>
                  </a:lnTo>
                  <a:lnTo>
                    <a:pt x="20" y="48"/>
                  </a:lnTo>
                  <a:lnTo>
                    <a:pt x="22" y="52"/>
                  </a:lnTo>
                  <a:lnTo>
                    <a:pt x="22" y="56"/>
                  </a:lnTo>
                  <a:lnTo>
                    <a:pt x="20" y="60"/>
                  </a:lnTo>
                  <a:lnTo>
                    <a:pt x="16" y="64"/>
                  </a:lnTo>
                  <a:lnTo>
                    <a:pt x="8" y="68"/>
                  </a:lnTo>
                  <a:lnTo>
                    <a:pt x="2" y="72"/>
                  </a:lnTo>
                  <a:lnTo>
                    <a:pt x="2" y="72"/>
                  </a:lnTo>
                  <a:lnTo>
                    <a:pt x="0" y="72"/>
                  </a:lnTo>
                  <a:lnTo>
                    <a:pt x="0" y="74"/>
                  </a:lnTo>
                  <a:lnTo>
                    <a:pt x="4" y="78"/>
                  </a:lnTo>
                  <a:lnTo>
                    <a:pt x="4" y="78"/>
                  </a:lnTo>
                  <a:lnTo>
                    <a:pt x="6" y="84"/>
                  </a:lnTo>
                  <a:lnTo>
                    <a:pt x="6" y="90"/>
                  </a:lnTo>
                  <a:lnTo>
                    <a:pt x="8" y="98"/>
                  </a:lnTo>
                  <a:lnTo>
                    <a:pt x="14" y="108"/>
                  </a:lnTo>
                  <a:lnTo>
                    <a:pt x="14" y="108"/>
                  </a:lnTo>
                  <a:lnTo>
                    <a:pt x="20" y="120"/>
                  </a:lnTo>
                  <a:lnTo>
                    <a:pt x="22" y="126"/>
                  </a:lnTo>
                  <a:lnTo>
                    <a:pt x="20" y="130"/>
                  </a:lnTo>
                  <a:lnTo>
                    <a:pt x="18" y="132"/>
                  </a:lnTo>
                  <a:lnTo>
                    <a:pt x="18" y="132"/>
                  </a:lnTo>
                  <a:lnTo>
                    <a:pt x="16" y="134"/>
                  </a:lnTo>
                  <a:lnTo>
                    <a:pt x="18" y="138"/>
                  </a:lnTo>
                  <a:lnTo>
                    <a:pt x="18" y="138"/>
                  </a:lnTo>
                  <a:lnTo>
                    <a:pt x="22" y="142"/>
                  </a:lnTo>
                  <a:lnTo>
                    <a:pt x="22" y="144"/>
                  </a:lnTo>
                  <a:lnTo>
                    <a:pt x="20" y="146"/>
                  </a:lnTo>
                  <a:lnTo>
                    <a:pt x="18" y="150"/>
                  </a:lnTo>
                  <a:lnTo>
                    <a:pt x="18" y="150"/>
                  </a:lnTo>
                  <a:lnTo>
                    <a:pt x="16" y="154"/>
                  </a:lnTo>
                  <a:lnTo>
                    <a:pt x="14" y="156"/>
                  </a:lnTo>
                  <a:lnTo>
                    <a:pt x="8" y="158"/>
                  </a:lnTo>
                  <a:lnTo>
                    <a:pt x="6" y="160"/>
                  </a:lnTo>
                  <a:lnTo>
                    <a:pt x="6" y="162"/>
                  </a:lnTo>
                  <a:lnTo>
                    <a:pt x="6" y="164"/>
                  </a:lnTo>
                  <a:lnTo>
                    <a:pt x="6" y="164"/>
                  </a:lnTo>
                  <a:lnTo>
                    <a:pt x="14" y="170"/>
                  </a:lnTo>
                  <a:lnTo>
                    <a:pt x="18" y="172"/>
                  </a:lnTo>
                  <a:lnTo>
                    <a:pt x="20" y="174"/>
                  </a:lnTo>
                  <a:lnTo>
                    <a:pt x="20" y="178"/>
                  </a:lnTo>
                  <a:lnTo>
                    <a:pt x="20" y="178"/>
                  </a:lnTo>
                  <a:lnTo>
                    <a:pt x="20" y="182"/>
                  </a:lnTo>
                  <a:lnTo>
                    <a:pt x="22" y="182"/>
                  </a:lnTo>
                  <a:lnTo>
                    <a:pt x="24" y="184"/>
                  </a:lnTo>
                  <a:lnTo>
                    <a:pt x="28" y="188"/>
                  </a:lnTo>
                  <a:lnTo>
                    <a:pt x="28" y="188"/>
                  </a:lnTo>
                  <a:lnTo>
                    <a:pt x="32" y="192"/>
                  </a:lnTo>
                  <a:lnTo>
                    <a:pt x="36" y="192"/>
                  </a:lnTo>
                  <a:lnTo>
                    <a:pt x="40" y="192"/>
                  </a:lnTo>
                  <a:lnTo>
                    <a:pt x="46" y="196"/>
                  </a:lnTo>
                  <a:lnTo>
                    <a:pt x="46" y="196"/>
                  </a:lnTo>
                  <a:lnTo>
                    <a:pt x="60" y="206"/>
                  </a:lnTo>
                  <a:lnTo>
                    <a:pt x="64" y="208"/>
                  </a:lnTo>
                  <a:lnTo>
                    <a:pt x="108" y="216"/>
                  </a:lnTo>
                  <a:lnTo>
                    <a:pt x="116" y="226"/>
                  </a:lnTo>
                  <a:lnTo>
                    <a:pt x="130" y="222"/>
                  </a:lnTo>
                  <a:lnTo>
                    <a:pt x="130" y="222"/>
                  </a:lnTo>
                  <a:lnTo>
                    <a:pt x="154" y="210"/>
                  </a:lnTo>
                  <a:lnTo>
                    <a:pt x="154" y="210"/>
                  </a:lnTo>
                  <a:lnTo>
                    <a:pt x="160" y="208"/>
                  </a:lnTo>
                  <a:lnTo>
                    <a:pt x="166" y="208"/>
                  </a:lnTo>
                  <a:lnTo>
                    <a:pt x="176" y="214"/>
                  </a:lnTo>
                  <a:lnTo>
                    <a:pt x="176" y="214"/>
                  </a:lnTo>
                  <a:lnTo>
                    <a:pt x="316" y="322"/>
                  </a:lnTo>
                  <a:lnTo>
                    <a:pt x="332" y="322"/>
                  </a:lnTo>
                  <a:lnTo>
                    <a:pt x="330" y="266"/>
                  </a:lnTo>
                  <a:lnTo>
                    <a:pt x="330" y="266"/>
                  </a:lnTo>
                  <a:lnTo>
                    <a:pt x="318" y="96"/>
                  </a:lnTo>
                  <a:lnTo>
                    <a:pt x="318" y="96"/>
                  </a:lnTo>
                  <a:lnTo>
                    <a:pt x="320" y="86"/>
                  </a:lnTo>
                  <a:lnTo>
                    <a:pt x="320" y="82"/>
                  </a:lnTo>
                  <a:lnTo>
                    <a:pt x="322" y="80"/>
                  </a:lnTo>
                  <a:lnTo>
                    <a:pt x="318" y="76"/>
                  </a:lnTo>
                  <a:lnTo>
                    <a:pt x="318" y="76"/>
                  </a:lnTo>
                  <a:lnTo>
                    <a:pt x="316" y="74"/>
                  </a:lnTo>
                  <a:lnTo>
                    <a:pt x="316" y="72"/>
                  </a:lnTo>
                  <a:lnTo>
                    <a:pt x="320" y="66"/>
                  </a:lnTo>
                  <a:lnTo>
                    <a:pt x="322" y="62"/>
                  </a:lnTo>
                  <a:lnTo>
                    <a:pt x="322" y="60"/>
                  </a:lnTo>
                  <a:lnTo>
                    <a:pt x="318" y="58"/>
                  </a:lnTo>
                  <a:lnTo>
                    <a:pt x="318" y="58"/>
                  </a:lnTo>
                  <a:lnTo>
                    <a:pt x="318" y="42"/>
                  </a:lnTo>
                  <a:lnTo>
                    <a:pt x="320" y="32"/>
                  </a:lnTo>
                  <a:lnTo>
                    <a:pt x="320" y="32"/>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2" name="Freeform 166"/>
            <p:cNvSpPr>
              <a:spLocks noEditPoints="1"/>
            </p:cNvSpPr>
            <p:nvPr/>
          </p:nvSpPr>
          <p:spPr bwMode="auto">
            <a:xfrm>
              <a:off x="4792893" y="2559844"/>
              <a:ext cx="330729" cy="312208"/>
            </a:xfrm>
            <a:custGeom>
              <a:avLst/>
              <a:gdLst/>
              <a:ahLst/>
              <a:cxnLst>
                <a:cxn ang="0">
                  <a:pos x="14" y="234"/>
                </a:cxn>
                <a:cxn ang="0">
                  <a:pos x="216" y="234"/>
                </a:cxn>
                <a:cxn ang="0">
                  <a:pos x="228" y="236"/>
                </a:cxn>
                <a:cxn ang="0">
                  <a:pos x="232" y="234"/>
                </a:cxn>
                <a:cxn ang="0">
                  <a:pos x="232" y="230"/>
                </a:cxn>
                <a:cxn ang="0">
                  <a:pos x="240" y="226"/>
                </a:cxn>
                <a:cxn ang="0">
                  <a:pos x="248" y="224"/>
                </a:cxn>
                <a:cxn ang="0">
                  <a:pos x="246" y="216"/>
                </a:cxn>
                <a:cxn ang="0">
                  <a:pos x="242" y="204"/>
                </a:cxn>
                <a:cxn ang="0">
                  <a:pos x="238" y="196"/>
                </a:cxn>
                <a:cxn ang="0">
                  <a:pos x="244" y="194"/>
                </a:cxn>
                <a:cxn ang="0">
                  <a:pos x="242" y="190"/>
                </a:cxn>
                <a:cxn ang="0">
                  <a:pos x="222" y="164"/>
                </a:cxn>
                <a:cxn ang="0">
                  <a:pos x="212" y="150"/>
                </a:cxn>
                <a:cxn ang="0">
                  <a:pos x="194" y="122"/>
                </a:cxn>
                <a:cxn ang="0">
                  <a:pos x="192" y="114"/>
                </a:cxn>
                <a:cxn ang="0">
                  <a:pos x="194" y="112"/>
                </a:cxn>
                <a:cxn ang="0">
                  <a:pos x="184" y="100"/>
                </a:cxn>
                <a:cxn ang="0">
                  <a:pos x="182" y="92"/>
                </a:cxn>
                <a:cxn ang="0">
                  <a:pos x="166" y="70"/>
                </a:cxn>
                <a:cxn ang="0">
                  <a:pos x="164" y="62"/>
                </a:cxn>
                <a:cxn ang="0">
                  <a:pos x="160" y="50"/>
                </a:cxn>
                <a:cxn ang="0">
                  <a:pos x="156" y="34"/>
                </a:cxn>
                <a:cxn ang="0">
                  <a:pos x="158" y="38"/>
                </a:cxn>
                <a:cxn ang="0">
                  <a:pos x="164" y="48"/>
                </a:cxn>
                <a:cxn ang="0">
                  <a:pos x="174" y="60"/>
                </a:cxn>
                <a:cxn ang="0">
                  <a:pos x="182" y="72"/>
                </a:cxn>
                <a:cxn ang="0">
                  <a:pos x="196" y="92"/>
                </a:cxn>
                <a:cxn ang="0">
                  <a:pos x="206" y="98"/>
                </a:cxn>
                <a:cxn ang="0">
                  <a:pos x="212" y="88"/>
                </a:cxn>
                <a:cxn ang="0">
                  <a:pos x="210" y="74"/>
                </a:cxn>
                <a:cxn ang="0">
                  <a:pos x="212" y="62"/>
                </a:cxn>
                <a:cxn ang="0">
                  <a:pos x="214" y="50"/>
                </a:cxn>
                <a:cxn ang="0">
                  <a:pos x="194" y="18"/>
                </a:cxn>
                <a:cxn ang="0">
                  <a:pos x="198" y="10"/>
                </a:cxn>
                <a:cxn ang="0">
                  <a:pos x="192" y="10"/>
                </a:cxn>
                <a:cxn ang="0">
                  <a:pos x="178" y="16"/>
                </a:cxn>
                <a:cxn ang="0">
                  <a:pos x="164" y="14"/>
                </a:cxn>
                <a:cxn ang="0">
                  <a:pos x="138" y="8"/>
                </a:cxn>
                <a:cxn ang="0">
                  <a:pos x="126" y="8"/>
                </a:cxn>
                <a:cxn ang="0">
                  <a:pos x="112" y="8"/>
                </a:cxn>
                <a:cxn ang="0">
                  <a:pos x="104" y="12"/>
                </a:cxn>
                <a:cxn ang="0">
                  <a:pos x="100" y="16"/>
                </a:cxn>
                <a:cxn ang="0">
                  <a:pos x="90" y="22"/>
                </a:cxn>
                <a:cxn ang="0">
                  <a:pos x="82" y="18"/>
                </a:cxn>
                <a:cxn ang="0">
                  <a:pos x="72" y="16"/>
                </a:cxn>
                <a:cxn ang="0">
                  <a:pos x="68" y="14"/>
                </a:cxn>
                <a:cxn ang="0">
                  <a:pos x="62" y="14"/>
                </a:cxn>
                <a:cxn ang="0">
                  <a:pos x="44" y="6"/>
                </a:cxn>
                <a:cxn ang="0">
                  <a:pos x="22" y="4"/>
                </a:cxn>
                <a:cxn ang="0">
                  <a:pos x="10" y="6"/>
                </a:cxn>
                <a:cxn ang="0">
                  <a:pos x="2" y="10"/>
                </a:cxn>
                <a:cxn ang="0">
                  <a:pos x="6" y="28"/>
                </a:cxn>
                <a:cxn ang="0">
                  <a:pos x="0" y="40"/>
                </a:cxn>
                <a:cxn ang="0">
                  <a:pos x="2" y="44"/>
                </a:cxn>
                <a:cxn ang="0">
                  <a:pos x="4" y="54"/>
                </a:cxn>
                <a:cxn ang="0">
                  <a:pos x="14" y="234"/>
                </a:cxn>
              </a:cxnLst>
              <a:rect l="0" t="0" r="r" b="b"/>
              <a:pathLst>
                <a:path w="250" h="236">
                  <a:moveTo>
                    <a:pt x="14" y="234"/>
                  </a:moveTo>
                  <a:lnTo>
                    <a:pt x="216" y="234"/>
                  </a:lnTo>
                  <a:lnTo>
                    <a:pt x="14" y="234"/>
                  </a:lnTo>
                  <a:lnTo>
                    <a:pt x="14" y="234"/>
                  </a:lnTo>
                  <a:close/>
                  <a:moveTo>
                    <a:pt x="14" y="234"/>
                  </a:moveTo>
                  <a:lnTo>
                    <a:pt x="216" y="234"/>
                  </a:lnTo>
                  <a:lnTo>
                    <a:pt x="216" y="234"/>
                  </a:lnTo>
                  <a:lnTo>
                    <a:pt x="222" y="236"/>
                  </a:lnTo>
                  <a:lnTo>
                    <a:pt x="228" y="236"/>
                  </a:lnTo>
                  <a:lnTo>
                    <a:pt x="232" y="236"/>
                  </a:lnTo>
                  <a:lnTo>
                    <a:pt x="232" y="234"/>
                  </a:lnTo>
                  <a:lnTo>
                    <a:pt x="232" y="234"/>
                  </a:lnTo>
                  <a:lnTo>
                    <a:pt x="232" y="234"/>
                  </a:lnTo>
                  <a:lnTo>
                    <a:pt x="230" y="232"/>
                  </a:lnTo>
                  <a:lnTo>
                    <a:pt x="232" y="230"/>
                  </a:lnTo>
                  <a:lnTo>
                    <a:pt x="236" y="230"/>
                  </a:lnTo>
                  <a:lnTo>
                    <a:pt x="240" y="226"/>
                  </a:lnTo>
                  <a:lnTo>
                    <a:pt x="240" y="226"/>
                  </a:lnTo>
                  <a:lnTo>
                    <a:pt x="242" y="224"/>
                  </a:lnTo>
                  <a:lnTo>
                    <a:pt x="244" y="222"/>
                  </a:lnTo>
                  <a:lnTo>
                    <a:pt x="248" y="224"/>
                  </a:lnTo>
                  <a:lnTo>
                    <a:pt x="250" y="220"/>
                  </a:lnTo>
                  <a:lnTo>
                    <a:pt x="250" y="220"/>
                  </a:lnTo>
                  <a:lnTo>
                    <a:pt x="246" y="216"/>
                  </a:lnTo>
                  <a:lnTo>
                    <a:pt x="246" y="214"/>
                  </a:lnTo>
                  <a:lnTo>
                    <a:pt x="246" y="212"/>
                  </a:lnTo>
                  <a:lnTo>
                    <a:pt x="242" y="204"/>
                  </a:lnTo>
                  <a:lnTo>
                    <a:pt x="242" y="204"/>
                  </a:lnTo>
                  <a:lnTo>
                    <a:pt x="238" y="200"/>
                  </a:lnTo>
                  <a:lnTo>
                    <a:pt x="238" y="196"/>
                  </a:lnTo>
                  <a:lnTo>
                    <a:pt x="238" y="196"/>
                  </a:lnTo>
                  <a:lnTo>
                    <a:pt x="240" y="196"/>
                  </a:lnTo>
                  <a:lnTo>
                    <a:pt x="244" y="194"/>
                  </a:lnTo>
                  <a:lnTo>
                    <a:pt x="244" y="194"/>
                  </a:lnTo>
                  <a:lnTo>
                    <a:pt x="242" y="190"/>
                  </a:lnTo>
                  <a:lnTo>
                    <a:pt x="242" y="190"/>
                  </a:lnTo>
                  <a:lnTo>
                    <a:pt x="230" y="178"/>
                  </a:lnTo>
                  <a:lnTo>
                    <a:pt x="224" y="172"/>
                  </a:lnTo>
                  <a:lnTo>
                    <a:pt x="222" y="164"/>
                  </a:lnTo>
                  <a:lnTo>
                    <a:pt x="222" y="164"/>
                  </a:lnTo>
                  <a:lnTo>
                    <a:pt x="218" y="156"/>
                  </a:lnTo>
                  <a:lnTo>
                    <a:pt x="212" y="150"/>
                  </a:lnTo>
                  <a:lnTo>
                    <a:pt x="204" y="140"/>
                  </a:lnTo>
                  <a:lnTo>
                    <a:pt x="194" y="122"/>
                  </a:lnTo>
                  <a:lnTo>
                    <a:pt x="194" y="122"/>
                  </a:lnTo>
                  <a:lnTo>
                    <a:pt x="192" y="116"/>
                  </a:lnTo>
                  <a:lnTo>
                    <a:pt x="192" y="114"/>
                  </a:lnTo>
                  <a:lnTo>
                    <a:pt x="192" y="114"/>
                  </a:lnTo>
                  <a:lnTo>
                    <a:pt x="194" y="112"/>
                  </a:lnTo>
                  <a:lnTo>
                    <a:pt x="194" y="112"/>
                  </a:lnTo>
                  <a:lnTo>
                    <a:pt x="194" y="112"/>
                  </a:lnTo>
                  <a:lnTo>
                    <a:pt x="190" y="106"/>
                  </a:lnTo>
                  <a:lnTo>
                    <a:pt x="190" y="106"/>
                  </a:lnTo>
                  <a:lnTo>
                    <a:pt x="184" y="100"/>
                  </a:lnTo>
                  <a:lnTo>
                    <a:pt x="184" y="98"/>
                  </a:lnTo>
                  <a:lnTo>
                    <a:pt x="186" y="98"/>
                  </a:lnTo>
                  <a:lnTo>
                    <a:pt x="182" y="92"/>
                  </a:lnTo>
                  <a:lnTo>
                    <a:pt x="182" y="92"/>
                  </a:lnTo>
                  <a:lnTo>
                    <a:pt x="172" y="80"/>
                  </a:lnTo>
                  <a:lnTo>
                    <a:pt x="166" y="70"/>
                  </a:lnTo>
                  <a:lnTo>
                    <a:pt x="166" y="70"/>
                  </a:lnTo>
                  <a:lnTo>
                    <a:pt x="164" y="66"/>
                  </a:lnTo>
                  <a:lnTo>
                    <a:pt x="164" y="62"/>
                  </a:lnTo>
                  <a:lnTo>
                    <a:pt x="164" y="58"/>
                  </a:lnTo>
                  <a:lnTo>
                    <a:pt x="160" y="50"/>
                  </a:lnTo>
                  <a:lnTo>
                    <a:pt x="160" y="50"/>
                  </a:lnTo>
                  <a:lnTo>
                    <a:pt x="156" y="44"/>
                  </a:lnTo>
                  <a:lnTo>
                    <a:pt x="156" y="40"/>
                  </a:lnTo>
                  <a:lnTo>
                    <a:pt x="156" y="34"/>
                  </a:lnTo>
                  <a:lnTo>
                    <a:pt x="152" y="26"/>
                  </a:lnTo>
                  <a:lnTo>
                    <a:pt x="152" y="26"/>
                  </a:lnTo>
                  <a:lnTo>
                    <a:pt x="158" y="38"/>
                  </a:lnTo>
                  <a:lnTo>
                    <a:pt x="160" y="44"/>
                  </a:lnTo>
                  <a:lnTo>
                    <a:pt x="164" y="48"/>
                  </a:lnTo>
                  <a:lnTo>
                    <a:pt x="164" y="48"/>
                  </a:lnTo>
                  <a:lnTo>
                    <a:pt x="168" y="52"/>
                  </a:lnTo>
                  <a:lnTo>
                    <a:pt x="170" y="56"/>
                  </a:lnTo>
                  <a:lnTo>
                    <a:pt x="174" y="60"/>
                  </a:lnTo>
                  <a:lnTo>
                    <a:pt x="178" y="66"/>
                  </a:lnTo>
                  <a:lnTo>
                    <a:pt x="178" y="66"/>
                  </a:lnTo>
                  <a:lnTo>
                    <a:pt x="182" y="72"/>
                  </a:lnTo>
                  <a:lnTo>
                    <a:pt x="186" y="78"/>
                  </a:lnTo>
                  <a:lnTo>
                    <a:pt x="190" y="84"/>
                  </a:lnTo>
                  <a:lnTo>
                    <a:pt x="196" y="92"/>
                  </a:lnTo>
                  <a:lnTo>
                    <a:pt x="196" y="92"/>
                  </a:lnTo>
                  <a:lnTo>
                    <a:pt x="204" y="100"/>
                  </a:lnTo>
                  <a:lnTo>
                    <a:pt x="206" y="98"/>
                  </a:lnTo>
                  <a:lnTo>
                    <a:pt x="210" y="94"/>
                  </a:lnTo>
                  <a:lnTo>
                    <a:pt x="210" y="94"/>
                  </a:lnTo>
                  <a:lnTo>
                    <a:pt x="212" y="88"/>
                  </a:lnTo>
                  <a:lnTo>
                    <a:pt x="212" y="84"/>
                  </a:lnTo>
                  <a:lnTo>
                    <a:pt x="210" y="80"/>
                  </a:lnTo>
                  <a:lnTo>
                    <a:pt x="210" y="74"/>
                  </a:lnTo>
                  <a:lnTo>
                    <a:pt x="210" y="74"/>
                  </a:lnTo>
                  <a:lnTo>
                    <a:pt x="212" y="66"/>
                  </a:lnTo>
                  <a:lnTo>
                    <a:pt x="212" y="62"/>
                  </a:lnTo>
                  <a:lnTo>
                    <a:pt x="212" y="56"/>
                  </a:lnTo>
                  <a:lnTo>
                    <a:pt x="214" y="50"/>
                  </a:lnTo>
                  <a:lnTo>
                    <a:pt x="214" y="50"/>
                  </a:lnTo>
                  <a:lnTo>
                    <a:pt x="196" y="20"/>
                  </a:lnTo>
                  <a:lnTo>
                    <a:pt x="196" y="20"/>
                  </a:lnTo>
                  <a:lnTo>
                    <a:pt x="194" y="18"/>
                  </a:lnTo>
                  <a:lnTo>
                    <a:pt x="194" y="14"/>
                  </a:lnTo>
                  <a:lnTo>
                    <a:pt x="196" y="12"/>
                  </a:lnTo>
                  <a:lnTo>
                    <a:pt x="198" y="10"/>
                  </a:lnTo>
                  <a:lnTo>
                    <a:pt x="196" y="6"/>
                  </a:lnTo>
                  <a:lnTo>
                    <a:pt x="196" y="6"/>
                  </a:lnTo>
                  <a:lnTo>
                    <a:pt x="192" y="10"/>
                  </a:lnTo>
                  <a:lnTo>
                    <a:pt x="186" y="14"/>
                  </a:lnTo>
                  <a:lnTo>
                    <a:pt x="182" y="16"/>
                  </a:lnTo>
                  <a:lnTo>
                    <a:pt x="178" y="16"/>
                  </a:lnTo>
                  <a:lnTo>
                    <a:pt x="170" y="14"/>
                  </a:lnTo>
                  <a:lnTo>
                    <a:pt x="164" y="14"/>
                  </a:lnTo>
                  <a:lnTo>
                    <a:pt x="164" y="14"/>
                  </a:lnTo>
                  <a:lnTo>
                    <a:pt x="150" y="12"/>
                  </a:lnTo>
                  <a:lnTo>
                    <a:pt x="138" y="8"/>
                  </a:lnTo>
                  <a:lnTo>
                    <a:pt x="138" y="8"/>
                  </a:lnTo>
                  <a:lnTo>
                    <a:pt x="132" y="6"/>
                  </a:lnTo>
                  <a:lnTo>
                    <a:pt x="130" y="8"/>
                  </a:lnTo>
                  <a:lnTo>
                    <a:pt x="126" y="8"/>
                  </a:lnTo>
                  <a:lnTo>
                    <a:pt x="122" y="6"/>
                  </a:lnTo>
                  <a:lnTo>
                    <a:pt x="122" y="6"/>
                  </a:lnTo>
                  <a:lnTo>
                    <a:pt x="112" y="8"/>
                  </a:lnTo>
                  <a:lnTo>
                    <a:pt x="106" y="10"/>
                  </a:lnTo>
                  <a:lnTo>
                    <a:pt x="104" y="12"/>
                  </a:lnTo>
                  <a:lnTo>
                    <a:pt x="104" y="12"/>
                  </a:lnTo>
                  <a:lnTo>
                    <a:pt x="104" y="12"/>
                  </a:lnTo>
                  <a:lnTo>
                    <a:pt x="104" y="14"/>
                  </a:lnTo>
                  <a:lnTo>
                    <a:pt x="100" y="16"/>
                  </a:lnTo>
                  <a:lnTo>
                    <a:pt x="96" y="18"/>
                  </a:lnTo>
                  <a:lnTo>
                    <a:pt x="90" y="22"/>
                  </a:lnTo>
                  <a:lnTo>
                    <a:pt x="90" y="22"/>
                  </a:lnTo>
                  <a:lnTo>
                    <a:pt x="86" y="24"/>
                  </a:lnTo>
                  <a:lnTo>
                    <a:pt x="84" y="22"/>
                  </a:lnTo>
                  <a:lnTo>
                    <a:pt x="82" y="18"/>
                  </a:lnTo>
                  <a:lnTo>
                    <a:pt x="78" y="16"/>
                  </a:lnTo>
                  <a:lnTo>
                    <a:pt x="78" y="16"/>
                  </a:lnTo>
                  <a:lnTo>
                    <a:pt x="72" y="16"/>
                  </a:lnTo>
                  <a:lnTo>
                    <a:pt x="72" y="12"/>
                  </a:lnTo>
                  <a:lnTo>
                    <a:pt x="72" y="12"/>
                  </a:lnTo>
                  <a:lnTo>
                    <a:pt x="68" y="14"/>
                  </a:lnTo>
                  <a:lnTo>
                    <a:pt x="68" y="14"/>
                  </a:lnTo>
                  <a:lnTo>
                    <a:pt x="66" y="14"/>
                  </a:lnTo>
                  <a:lnTo>
                    <a:pt x="62" y="14"/>
                  </a:lnTo>
                  <a:lnTo>
                    <a:pt x="52" y="8"/>
                  </a:lnTo>
                  <a:lnTo>
                    <a:pt x="52" y="8"/>
                  </a:lnTo>
                  <a:lnTo>
                    <a:pt x="44" y="6"/>
                  </a:lnTo>
                  <a:lnTo>
                    <a:pt x="34" y="4"/>
                  </a:lnTo>
                  <a:lnTo>
                    <a:pt x="26" y="4"/>
                  </a:lnTo>
                  <a:lnTo>
                    <a:pt x="22" y="4"/>
                  </a:lnTo>
                  <a:lnTo>
                    <a:pt x="22" y="4"/>
                  </a:lnTo>
                  <a:lnTo>
                    <a:pt x="16" y="6"/>
                  </a:lnTo>
                  <a:lnTo>
                    <a:pt x="10" y="6"/>
                  </a:lnTo>
                  <a:lnTo>
                    <a:pt x="4" y="0"/>
                  </a:lnTo>
                  <a:lnTo>
                    <a:pt x="4" y="0"/>
                  </a:lnTo>
                  <a:lnTo>
                    <a:pt x="2" y="10"/>
                  </a:lnTo>
                  <a:lnTo>
                    <a:pt x="2" y="26"/>
                  </a:lnTo>
                  <a:lnTo>
                    <a:pt x="2" y="26"/>
                  </a:lnTo>
                  <a:lnTo>
                    <a:pt x="6" y="28"/>
                  </a:lnTo>
                  <a:lnTo>
                    <a:pt x="6" y="30"/>
                  </a:lnTo>
                  <a:lnTo>
                    <a:pt x="4" y="34"/>
                  </a:lnTo>
                  <a:lnTo>
                    <a:pt x="0" y="40"/>
                  </a:lnTo>
                  <a:lnTo>
                    <a:pt x="0" y="42"/>
                  </a:lnTo>
                  <a:lnTo>
                    <a:pt x="2" y="44"/>
                  </a:lnTo>
                  <a:lnTo>
                    <a:pt x="2" y="44"/>
                  </a:lnTo>
                  <a:lnTo>
                    <a:pt x="6" y="48"/>
                  </a:lnTo>
                  <a:lnTo>
                    <a:pt x="4" y="50"/>
                  </a:lnTo>
                  <a:lnTo>
                    <a:pt x="4" y="54"/>
                  </a:lnTo>
                  <a:lnTo>
                    <a:pt x="2" y="64"/>
                  </a:lnTo>
                  <a:lnTo>
                    <a:pt x="2" y="64"/>
                  </a:lnTo>
                  <a:lnTo>
                    <a:pt x="14" y="234"/>
                  </a:lnTo>
                  <a:lnTo>
                    <a:pt x="14" y="234"/>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3" name="Freeform 167"/>
            <p:cNvSpPr>
              <a:spLocks/>
            </p:cNvSpPr>
            <p:nvPr/>
          </p:nvSpPr>
          <p:spPr bwMode="auto">
            <a:xfrm>
              <a:off x="5147434" y="3001698"/>
              <a:ext cx="211667" cy="240771"/>
            </a:xfrm>
            <a:custGeom>
              <a:avLst/>
              <a:gdLst/>
              <a:ahLst/>
              <a:cxnLst>
                <a:cxn ang="0">
                  <a:pos x="154" y="174"/>
                </a:cxn>
                <a:cxn ang="0">
                  <a:pos x="150" y="172"/>
                </a:cxn>
                <a:cxn ang="0">
                  <a:pos x="142" y="174"/>
                </a:cxn>
                <a:cxn ang="0">
                  <a:pos x="138" y="174"/>
                </a:cxn>
                <a:cxn ang="0">
                  <a:pos x="146" y="170"/>
                </a:cxn>
                <a:cxn ang="0">
                  <a:pos x="154" y="168"/>
                </a:cxn>
                <a:cxn ang="0">
                  <a:pos x="160" y="160"/>
                </a:cxn>
                <a:cxn ang="0">
                  <a:pos x="160" y="156"/>
                </a:cxn>
                <a:cxn ang="0">
                  <a:pos x="156" y="146"/>
                </a:cxn>
                <a:cxn ang="0">
                  <a:pos x="144" y="134"/>
                </a:cxn>
                <a:cxn ang="0">
                  <a:pos x="144" y="132"/>
                </a:cxn>
                <a:cxn ang="0">
                  <a:pos x="140" y="132"/>
                </a:cxn>
                <a:cxn ang="0">
                  <a:pos x="138" y="128"/>
                </a:cxn>
                <a:cxn ang="0">
                  <a:pos x="130" y="116"/>
                </a:cxn>
                <a:cxn ang="0">
                  <a:pos x="122" y="108"/>
                </a:cxn>
                <a:cxn ang="0">
                  <a:pos x="110" y="92"/>
                </a:cxn>
                <a:cxn ang="0">
                  <a:pos x="104" y="88"/>
                </a:cxn>
                <a:cxn ang="0">
                  <a:pos x="100" y="88"/>
                </a:cxn>
                <a:cxn ang="0">
                  <a:pos x="94" y="84"/>
                </a:cxn>
                <a:cxn ang="0">
                  <a:pos x="90" y="82"/>
                </a:cxn>
                <a:cxn ang="0">
                  <a:pos x="84" y="78"/>
                </a:cxn>
                <a:cxn ang="0">
                  <a:pos x="78" y="70"/>
                </a:cxn>
                <a:cxn ang="0">
                  <a:pos x="76" y="72"/>
                </a:cxn>
                <a:cxn ang="0">
                  <a:pos x="74" y="72"/>
                </a:cxn>
                <a:cxn ang="0">
                  <a:pos x="68" y="64"/>
                </a:cxn>
                <a:cxn ang="0">
                  <a:pos x="64" y="50"/>
                </a:cxn>
                <a:cxn ang="0">
                  <a:pos x="56" y="24"/>
                </a:cxn>
                <a:cxn ang="0">
                  <a:pos x="40" y="0"/>
                </a:cxn>
                <a:cxn ang="0">
                  <a:pos x="30" y="12"/>
                </a:cxn>
                <a:cxn ang="0">
                  <a:pos x="18" y="20"/>
                </a:cxn>
                <a:cxn ang="0">
                  <a:pos x="12" y="32"/>
                </a:cxn>
                <a:cxn ang="0">
                  <a:pos x="10" y="44"/>
                </a:cxn>
                <a:cxn ang="0">
                  <a:pos x="0" y="106"/>
                </a:cxn>
                <a:cxn ang="0">
                  <a:pos x="14" y="102"/>
                </a:cxn>
                <a:cxn ang="0">
                  <a:pos x="20" y="104"/>
                </a:cxn>
                <a:cxn ang="0">
                  <a:pos x="22" y="108"/>
                </a:cxn>
                <a:cxn ang="0">
                  <a:pos x="24" y="108"/>
                </a:cxn>
                <a:cxn ang="0">
                  <a:pos x="28" y="106"/>
                </a:cxn>
                <a:cxn ang="0">
                  <a:pos x="32" y="96"/>
                </a:cxn>
                <a:cxn ang="0">
                  <a:pos x="34" y="94"/>
                </a:cxn>
                <a:cxn ang="0">
                  <a:pos x="38" y="94"/>
                </a:cxn>
                <a:cxn ang="0">
                  <a:pos x="42" y="100"/>
                </a:cxn>
                <a:cxn ang="0">
                  <a:pos x="48" y="104"/>
                </a:cxn>
                <a:cxn ang="0">
                  <a:pos x="60" y="104"/>
                </a:cxn>
                <a:cxn ang="0">
                  <a:pos x="66" y="102"/>
                </a:cxn>
                <a:cxn ang="0">
                  <a:pos x="74" y="102"/>
                </a:cxn>
                <a:cxn ang="0">
                  <a:pos x="82" y="102"/>
                </a:cxn>
                <a:cxn ang="0">
                  <a:pos x="100" y="104"/>
                </a:cxn>
                <a:cxn ang="0">
                  <a:pos x="114" y="116"/>
                </a:cxn>
                <a:cxn ang="0">
                  <a:pos x="138" y="146"/>
                </a:cxn>
                <a:cxn ang="0">
                  <a:pos x="134" y="146"/>
                </a:cxn>
                <a:cxn ang="0">
                  <a:pos x="128" y="154"/>
                </a:cxn>
                <a:cxn ang="0">
                  <a:pos x="124" y="168"/>
                </a:cxn>
                <a:cxn ang="0">
                  <a:pos x="126" y="178"/>
                </a:cxn>
                <a:cxn ang="0">
                  <a:pos x="128" y="182"/>
                </a:cxn>
                <a:cxn ang="0">
                  <a:pos x="134" y="182"/>
                </a:cxn>
                <a:cxn ang="0">
                  <a:pos x="142" y="180"/>
                </a:cxn>
                <a:cxn ang="0">
                  <a:pos x="154" y="174"/>
                </a:cxn>
              </a:cxnLst>
              <a:rect l="0" t="0" r="r" b="b"/>
              <a:pathLst>
                <a:path w="160" h="182">
                  <a:moveTo>
                    <a:pt x="154" y="174"/>
                  </a:moveTo>
                  <a:lnTo>
                    <a:pt x="154" y="174"/>
                  </a:lnTo>
                  <a:lnTo>
                    <a:pt x="152" y="172"/>
                  </a:lnTo>
                  <a:lnTo>
                    <a:pt x="150" y="172"/>
                  </a:lnTo>
                  <a:lnTo>
                    <a:pt x="142" y="174"/>
                  </a:lnTo>
                  <a:lnTo>
                    <a:pt x="142" y="174"/>
                  </a:lnTo>
                  <a:lnTo>
                    <a:pt x="138" y="174"/>
                  </a:lnTo>
                  <a:lnTo>
                    <a:pt x="138" y="174"/>
                  </a:lnTo>
                  <a:lnTo>
                    <a:pt x="146" y="170"/>
                  </a:lnTo>
                  <a:lnTo>
                    <a:pt x="146" y="170"/>
                  </a:lnTo>
                  <a:lnTo>
                    <a:pt x="150" y="170"/>
                  </a:lnTo>
                  <a:lnTo>
                    <a:pt x="154" y="168"/>
                  </a:lnTo>
                  <a:lnTo>
                    <a:pt x="158" y="166"/>
                  </a:lnTo>
                  <a:lnTo>
                    <a:pt x="160" y="160"/>
                  </a:lnTo>
                  <a:lnTo>
                    <a:pt x="160" y="160"/>
                  </a:lnTo>
                  <a:lnTo>
                    <a:pt x="160" y="156"/>
                  </a:lnTo>
                  <a:lnTo>
                    <a:pt x="160" y="152"/>
                  </a:lnTo>
                  <a:lnTo>
                    <a:pt x="156" y="146"/>
                  </a:lnTo>
                  <a:lnTo>
                    <a:pt x="150" y="142"/>
                  </a:lnTo>
                  <a:lnTo>
                    <a:pt x="144" y="134"/>
                  </a:lnTo>
                  <a:lnTo>
                    <a:pt x="144" y="134"/>
                  </a:lnTo>
                  <a:lnTo>
                    <a:pt x="144" y="132"/>
                  </a:lnTo>
                  <a:lnTo>
                    <a:pt x="140" y="132"/>
                  </a:lnTo>
                  <a:lnTo>
                    <a:pt x="140" y="132"/>
                  </a:lnTo>
                  <a:lnTo>
                    <a:pt x="138" y="130"/>
                  </a:lnTo>
                  <a:lnTo>
                    <a:pt x="138" y="128"/>
                  </a:lnTo>
                  <a:lnTo>
                    <a:pt x="136" y="122"/>
                  </a:lnTo>
                  <a:lnTo>
                    <a:pt x="130" y="116"/>
                  </a:lnTo>
                  <a:lnTo>
                    <a:pt x="130" y="116"/>
                  </a:lnTo>
                  <a:lnTo>
                    <a:pt x="122" y="108"/>
                  </a:lnTo>
                  <a:lnTo>
                    <a:pt x="116" y="100"/>
                  </a:lnTo>
                  <a:lnTo>
                    <a:pt x="110" y="92"/>
                  </a:lnTo>
                  <a:lnTo>
                    <a:pt x="106" y="90"/>
                  </a:lnTo>
                  <a:lnTo>
                    <a:pt x="104" y="88"/>
                  </a:lnTo>
                  <a:lnTo>
                    <a:pt x="104" y="88"/>
                  </a:lnTo>
                  <a:lnTo>
                    <a:pt x="100" y="88"/>
                  </a:lnTo>
                  <a:lnTo>
                    <a:pt x="98" y="86"/>
                  </a:lnTo>
                  <a:lnTo>
                    <a:pt x="94" y="84"/>
                  </a:lnTo>
                  <a:lnTo>
                    <a:pt x="90" y="82"/>
                  </a:lnTo>
                  <a:lnTo>
                    <a:pt x="90" y="82"/>
                  </a:lnTo>
                  <a:lnTo>
                    <a:pt x="86" y="80"/>
                  </a:lnTo>
                  <a:lnTo>
                    <a:pt x="84" y="78"/>
                  </a:lnTo>
                  <a:lnTo>
                    <a:pt x="80" y="74"/>
                  </a:lnTo>
                  <a:lnTo>
                    <a:pt x="78" y="70"/>
                  </a:lnTo>
                  <a:lnTo>
                    <a:pt x="78" y="70"/>
                  </a:lnTo>
                  <a:lnTo>
                    <a:pt x="76" y="72"/>
                  </a:lnTo>
                  <a:lnTo>
                    <a:pt x="76" y="72"/>
                  </a:lnTo>
                  <a:lnTo>
                    <a:pt x="74" y="72"/>
                  </a:lnTo>
                  <a:lnTo>
                    <a:pt x="72" y="72"/>
                  </a:lnTo>
                  <a:lnTo>
                    <a:pt x="68" y="64"/>
                  </a:lnTo>
                  <a:lnTo>
                    <a:pt x="64" y="50"/>
                  </a:lnTo>
                  <a:lnTo>
                    <a:pt x="64" y="50"/>
                  </a:lnTo>
                  <a:lnTo>
                    <a:pt x="60" y="34"/>
                  </a:lnTo>
                  <a:lnTo>
                    <a:pt x="56" y="24"/>
                  </a:lnTo>
                  <a:lnTo>
                    <a:pt x="40" y="0"/>
                  </a:lnTo>
                  <a:lnTo>
                    <a:pt x="40" y="0"/>
                  </a:lnTo>
                  <a:lnTo>
                    <a:pt x="36" y="6"/>
                  </a:lnTo>
                  <a:lnTo>
                    <a:pt x="30" y="12"/>
                  </a:lnTo>
                  <a:lnTo>
                    <a:pt x="22" y="18"/>
                  </a:lnTo>
                  <a:lnTo>
                    <a:pt x="18" y="20"/>
                  </a:lnTo>
                  <a:lnTo>
                    <a:pt x="14" y="26"/>
                  </a:lnTo>
                  <a:lnTo>
                    <a:pt x="12" y="32"/>
                  </a:lnTo>
                  <a:lnTo>
                    <a:pt x="10" y="44"/>
                  </a:lnTo>
                  <a:lnTo>
                    <a:pt x="10" y="44"/>
                  </a:lnTo>
                  <a:lnTo>
                    <a:pt x="4" y="80"/>
                  </a:lnTo>
                  <a:lnTo>
                    <a:pt x="0" y="106"/>
                  </a:lnTo>
                  <a:lnTo>
                    <a:pt x="0" y="106"/>
                  </a:lnTo>
                  <a:lnTo>
                    <a:pt x="14" y="102"/>
                  </a:lnTo>
                  <a:lnTo>
                    <a:pt x="18" y="102"/>
                  </a:lnTo>
                  <a:lnTo>
                    <a:pt x="20" y="104"/>
                  </a:lnTo>
                  <a:lnTo>
                    <a:pt x="22" y="106"/>
                  </a:lnTo>
                  <a:lnTo>
                    <a:pt x="22" y="108"/>
                  </a:lnTo>
                  <a:lnTo>
                    <a:pt x="24" y="108"/>
                  </a:lnTo>
                  <a:lnTo>
                    <a:pt x="24" y="108"/>
                  </a:lnTo>
                  <a:lnTo>
                    <a:pt x="28" y="106"/>
                  </a:lnTo>
                  <a:lnTo>
                    <a:pt x="28" y="106"/>
                  </a:lnTo>
                  <a:lnTo>
                    <a:pt x="30" y="100"/>
                  </a:lnTo>
                  <a:lnTo>
                    <a:pt x="32" y="96"/>
                  </a:lnTo>
                  <a:lnTo>
                    <a:pt x="32" y="96"/>
                  </a:lnTo>
                  <a:lnTo>
                    <a:pt x="34" y="94"/>
                  </a:lnTo>
                  <a:lnTo>
                    <a:pt x="34" y="94"/>
                  </a:lnTo>
                  <a:lnTo>
                    <a:pt x="38" y="94"/>
                  </a:lnTo>
                  <a:lnTo>
                    <a:pt x="38" y="96"/>
                  </a:lnTo>
                  <a:lnTo>
                    <a:pt x="42" y="100"/>
                  </a:lnTo>
                  <a:lnTo>
                    <a:pt x="44" y="102"/>
                  </a:lnTo>
                  <a:lnTo>
                    <a:pt x="48" y="104"/>
                  </a:lnTo>
                  <a:lnTo>
                    <a:pt x="54" y="104"/>
                  </a:lnTo>
                  <a:lnTo>
                    <a:pt x="60" y="104"/>
                  </a:lnTo>
                  <a:lnTo>
                    <a:pt x="60" y="104"/>
                  </a:lnTo>
                  <a:lnTo>
                    <a:pt x="66" y="102"/>
                  </a:lnTo>
                  <a:lnTo>
                    <a:pt x="70" y="102"/>
                  </a:lnTo>
                  <a:lnTo>
                    <a:pt x="74" y="102"/>
                  </a:lnTo>
                  <a:lnTo>
                    <a:pt x="82" y="102"/>
                  </a:lnTo>
                  <a:lnTo>
                    <a:pt x="82" y="102"/>
                  </a:lnTo>
                  <a:lnTo>
                    <a:pt x="92" y="102"/>
                  </a:lnTo>
                  <a:lnTo>
                    <a:pt x="100" y="104"/>
                  </a:lnTo>
                  <a:lnTo>
                    <a:pt x="108" y="110"/>
                  </a:lnTo>
                  <a:lnTo>
                    <a:pt x="114" y="116"/>
                  </a:lnTo>
                  <a:lnTo>
                    <a:pt x="128" y="130"/>
                  </a:lnTo>
                  <a:lnTo>
                    <a:pt x="138" y="146"/>
                  </a:lnTo>
                  <a:lnTo>
                    <a:pt x="138" y="146"/>
                  </a:lnTo>
                  <a:lnTo>
                    <a:pt x="134" y="146"/>
                  </a:lnTo>
                  <a:lnTo>
                    <a:pt x="130" y="148"/>
                  </a:lnTo>
                  <a:lnTo>
                    <a:pt x="128" y="154"/>
                  </a:lnTo>
                  <a:lnTo>
                    <a:pt x="128" y="154"/>
                  </a:lnTo>
                  <a:lnTo>
                    <a:pt x="124" y="168"/>
                  </a:lnTo>
                  <a:lnTo>
                    <a:pt x="124" y="176"/>
                  </a:lnTo>
                  <a:lnTo>
                    <a:pt x="126" y="178"/>
                  </a:lnTo>
                  <a:lnTo>
                    <a:pt x="126" y="178"/>
                  </a:lnTo>
                  <a:lnTo>
                    <a:pt x="128" y="182"/>
                  </a:lnTo>
                  <a:lnTo>
                    <a:pt x="130" y="182"/>
                  </a:lnTo>
                  <a:lnTo>
                    <a:pt x="134" y="182"/>
                  </a:lnTo>
                  <a:lnTo>
                    <a:pt x="138" y="180"/>
                  </a:lnTo>
                  <a:lnTo>
                    <a:pt x="142" y="180"/>
                  </a:lnTo>
                  <a:lnTo>
                    <a:pt x="146" y="182"/>
                  </a:lnTo>
                  <a:lnTo>
                    <a:pt x="154" y="174"/>
                  </a:lnTo>
                  <a:lnTo>
                    <a:pt x="154" y="174"/>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4" name="Freeform 168"/>
            <p:cNvSpPr>
              <a:spLocks/>
            </p:cNvSpPr>
            <p:nvPr/>
          </p:nvSpPr>
          <p:spPr bwMode="auto">
            <a:xfrm>
              <a:off x="5480809" y="2247635"/>
              <a:ext cx="357188" cy="201083"/>
            </a:xfrm>
            <a:custGeom>
              <a:avLst/>
              <a:gdLst/>
              <a:ahLst/>
              <a:cxnLst>
                <a:cxn ang="0">
                  <a:pos x="48" y="24"/>
                </a:cxn>
                <a:cxn ang="0">
                  <a:pos x="34" y="10"/>
                </a:cxn>
                <a:cxn ang="0">
                  <a:pos x="8" y="8"/>
                </a:cxn>
                <a:cxn ang="0">
                  <a:pos x="6" y="28"/>
                </a:cxn>
                <a:cxn ang="0">
                  <a:pos x="10" y="22"/>
                </a:cxn>
                <a:cxn ang="0">
                  <a:pos x="8" y="16"/>
                </a:cxn>
                <a:cxn ang="0">
                  <a:pos x="22" y="12"/>
                </a:cxn>
                <a:cxn ang="0">
                  <a:pos x="32" y="20"/>
                </a:cxn>
                <a:cxn ang="0">
                  <a:pos x="36" y="26"/>
                </a:cxn>
                <a:cxn ang="0">
                  <a:pos x="28" y="32"/>
                </a:cxn>
                <a:cxn ang="0">
                  <a:pos x="22" y="34"/>
                </a:cxn>
                <a:cxn ang="0">
                  <a:pos x="12" y="34"/>
                </a:cxn>
                <a:cxn ang="0">
                  <a:pos x="8" y="38"/>
                </a:cxn>
                <a:cxn ang="0">
                  <a:pos x="14" y="50"/>
                </a:cxn>
                <a:cxn ang="0">
                  <a:pos x="22" y="50"/>
                </a:cxn>
                <a:cxn ang="0">
                  <a:pos x="24" y="54"/>
                </a:cxn>
                <a:cxn ang="0">
                  <a:pos x="14" y="54"/>
                </a:cxn>
                <a:cxn ang="0">
                  <a:pos x="14" y="60"/>
                </a:cxn>
                <a:cxn ang="0">
                  <a:pos x="24" y="62"/>
                </a:cxn>
                <a:cxn ang="0">
                  <a:pos x="32" y="66"/>
                </a:cxn>
                <a:cxn ang="0">
                  <a:pos x="44" y="74"/>
                </a:cxn>
                <a:cxn ang="0">
                  <a:pos x="46" y="98"/>
                </a:cxn>
                <a:cxn ang="0">
                  <a:pos x="56" y="100"/>
                </a:cxn>
                <a:cxn ang="0">
                  <a:pos x="66" y="82"/>
                </a:cxn>
                <a:cxn ang="0">
                  <a:pos x="82" y="80"/>
                </a:cxn>
                <a:cxn ang="0">
                  <a:pos x="96" y="78"/>
                </a:cxn>
                <a:cxn ang="0">
                  <a:pos x="106" y="86"/>
                </a:cxn>
                <a:cxn ang="0">
                  <a:pos x="146" y="98"/>
                </a:cxn>
                <a:cxn ang="0">
                  <a:pos x="164" y="108"/>
                </a:cxn>
                <a:cxn ang="0">
                  <a:pos x="182" y="114"/>
                </a:cxn>
                <a:cxn ang="0">
                  <a:pos x="186" y="124"/>
                </a:cxn>
                <a:cxn ang="0">
                  <a:pos x="198" y="140"/>
                </a:cxn>
                <a:cxn ang="0">
                  <a:pos x="212" y="142"/>
                </a:cxn>
                <a:cxn ang="0">
                  <a:pos x="222" y="152"/>
                </a:cxn>
                <a:cxn ang="0">
                  <a:pos x="230" y="140"/>
                </a:cxn>
                <a:cxn ang="0">
                  <a:pos x="236" y="132"/>
                </a:cxn>
                <a:cxn ang="0">
                  <a:pos x="252" y="120"/>
                </a:cxn>
                <a:cxn ang="0">
                  <a:pos x="256" y="102"/>
                </a:cxn>
                <a:cxn ang="0">
                  <a:pos x="270" y="96"/>
                </a:cxn>
                <a:cxn ang="0">
                  <a:pos x="268" y="80"/>
                </a:cxn>
                <a:cxn ang="0">
                  <a:pos x="258" y="76"/>
                </a:cxn>
                <a:cxn ang="0">
                  <a:pos x="236" y="74"/>
                </a:cxn>
                <a:cxn ang="0">
                  <a:pos x="208" y="60"/>
                </a:cxn>
                <a:cxn ang="0">
                  <a:pos x="158" y="22"/>
                </a:cxn>
                <a:cxn ang="0">
                  <a:pos x="140" y="24"/>
                </a:cxn>
                <a:cxn ang="0">
                  <a:pos x="128" y="18"/>
                </a:cxn>
                <a:cxn ang="0">
                  <a:pos x="126" y="10"/>
                </a:cxn>
                <a:cxn ang="0">
                  <a:pos x="104" y="0"/>
                </a:cxn>
                <a:cxn ang="0">
                  <a:pos x="96" y="4"/>
                </a:cxn>
                <a:cxn ang="0">
                  <a:pos x="88" y="8"/>
                </a:cxn>
                <a:cxn ang="0">
                  <a:pos x="78" y="16"/>
                </a:cxn>
                <a:cxn ang="0">
                  <a:pos x="76" y="28"/>
                </a:cxn>
              </a:cxnLst>
              <a:rect l="0" t="0" r="r" b="b"/>
              <a:pathLst>
                <a:path w="270" h="152">
                  <a:moveTo>
                    <a:pt x="70" y="28"/>
                  </a:moveTo>
                  <a:lnTo>
                    <a:pt x="70" y="28"/>
                  </a:lnTo>
                  <a:lnTo>
                    <a:pt x="54" y="28"/>
                  </a:lnTo>
                  <a:lnTo>
                    <a:pt x="48" y="24"/>
                  </a:lnTo>
                  <a:lnTo>
                    <a:pt x="42" y="18"/>
                  </a:lnTo>
                  <a:lnTo>
                    <a:pt x="42" y="18"/>
                  </a:lnTo>
                  <a:lnTo>
                    <a:pt x="40" y="14"/>
                  </a:lnTo>
                  <a:lnTo>
                    <a:pt x="34" y="10"/>
                  </a:lnTo>
                  <a:lnTo>
                    <a:pt x="28" y="6"/>
                  </a:lnTo>
                  <a:lnTo>
                    <a:pt x="22" y="6"/>
                  </a:lnTo>
                  <a:lnTo>
                    <a:pt x="16" y="6"/>
                  </a:lnTo>
                  <a:lnTo>
                    <a:pt x="8" y="8"/>
                  </a:lnTo>
                  <a:lnTo>
                    <a:pt x="4" y="14"/>
                  </a:lnTo>
                  <a:lnTo>
                    <a:pt x="0" y="22"/>
                  </a:lnTo>
                  <a:lnTo>
                    <a:pt x="0" y="22"/>
                  </a:lnTo>
                  <a:lnTo>
                    <a:pt x="6" y="28"/>
                  </a:lnTo>
                  <a:lnTo>
                    <a:pt x="8" y="30"/>
                  </a:lnTo>
                  <a:lnTo>
                    <a:pt x="8" y="30"/>
                  </a:lnTo>
                  <a:lnTo>
                    <a:pt x="10" y="26"/>
                  </a:lnTo>
                  <a:lnTo>
                    <a:pt x="10" y="22"/>
                  </a:lnTo>
                  <a:lnTo>
                    <a:pt x="10" y="20"/>
                  </a:lnTo>
                  <a:lnTo>
                    <a:pt x="10" y="20"/>
                  </a:lnTo>
                  <a:lnTo>
                    <a:pt x="8" y="18"/>
                  </a:lnTo>
                  <a:lnTo>
                    <a:pt x="8" y="16"/>
                  </a:lnTo>
                  <a:lnTo>
                    <a:pt x="12" y="12"/>
                  </a:lnTo>
                  <a:lnTo>
                    <a:pt x="12" y="12"/>
                  </a:lnTo>
                  <a:lnTo>
                    <a:pt x="20" y="12"/>
                  </a:lnTo>
                  <a:lnTo>
                    <a:pt x="22" y="12"/>
                  </a:lnTo>
                  <a:lnTo>
                    <a:pt x="24" y="14"/>
                  </a:lnTo>
                  <a:lnTo>
                    <a:pt x="24" y="14"/>
                  </a:lnTo>
                  <a:lnTo>
                    <a:pt x="26" y="18"/>
                  </a:lnTo>
                  <a:lnTo>
                    <a:pt x="32" y="20"/>
                  </a:lnTo>
                  <a:lnTo>
                    <a:pt x="36" y="22"/>
                  </a:lnTo>
                  <a:lnTo>
                    <a:pt x="38" y="24"/>
                  </a:lnTo>
                  <a:lnTo>
                    <a:pt x="36" y="26"/>
                  </a:lnTo>
                  <a:lnTo>
                    <a:pt x="36" y="26"/>
                  </a:lnTo>
                  <a:lnTo>
                    <a:pt x="34" y="28"/>
                  </a:lnTo>
                  <a:lnTo>
                    <a:pt x="34" y="30"/>
                  </a:lnTo>
                  <a:lnTo>
                    <a:pt x="32" y="32"/>
                  </a:lnTo>
                  <a:lnTo>
                    <a:pt x="28" y="32"/>
                  </a:lnTo>
                  <a:lnTo>
                    <a:pt x="28" y="32"/>
                  </a:lnTo>
                  <a:lnTo>
                    <a:pt x="24" y="32"/>
                  </a:lnTo>
                  <a:lnTo>
                    <a:pt x="24" y="32"/>
                  </a:lnTo>
                  <a:lnTo>
                    <a:pt x="22" y="34"/>
                  </a:lnTo>
                  <a:lnTo>
                    <a:pt x="20" y="34"/>
                  </a:lnTo>
                  <a:lnTo>
                    <a:pt x="20" y="34"/>
                  </a:lnTo>
                  <a:lnTo>
                    <a:pt x="16" y="36"/>
                  </a:lnTo>
                  <a:lnTo>
                    <a:pt x="12" y="34"/>
                  </a:lnTo>
                  <a:lnTo>
                    <a:pt x="8" y="30"/>
                  </a:lnTo>
                  <a:lnTo>
                    <a:pt x="8" y="30"/>
                  </a:lnTo>
                  <a:lnTo>
                    <a:pt x="8" y="34"/>
                  </a:lnTo>
                  <a:lnTo>
                    <a:pt x="8" y="38"/>
                  </a:lnTo>
                  <a:lnTo>
                    <a:pt x="10" y="48"/>
                  </a:lnTo>
                  <a:lnTo>
                    <a:pt x="10" y="48"/>
                  </a:lnTo>
                  <a:lnTo>
                    <a:pt x="12" y="48"/>
                  </a:lnTo>
                  <a:lnTo>
                    <a:pt x="14" y="50"/>
                  </a:lnTo>
                  <a:lnTo>
                    <a:pt x="18" y="48"/>
                  </a:lnTo>
                  <a:lnTo>
                    <a:pt x="22" y="48"/>
                  </a:lnTo>
                  <a:lnTo>
                    <a:pt x="22" y="48"/>
                  </a:lnTo>
                  <a:lnTo>
                    <a:pt x="22" y="50"/>
                  </a:lnTo>
                  <a:lnTo>
                    <a:pt x="22" y="50"/>
                  </a:lnTo>
                  <a:lnTo>
                    <a:pt x="22" y="52"/>
                  </a:lnTo>
                  <a:lnTo>
                    <a:pt x="24" y="54"/>
                  </a:lnTo>
                  <a:lnTo>
                    <a:pt x="24" y="54"/>
                  </a:lnTo>
                  <a:lnTo>
                    <a:pt x="22" y="56"/>
                  </a:lnTo>
                  <a:lnTo>
                    <a:pt x="22" y="56"/>
                  </a:lnTo>
                  <a:lnTo>
                    <a:pt x="16" y="56"/>
                  </a:lnTo>
                  <a:lnTo>
                    <a:pt x="14" y="54"/>
                  </a:lnTo>
                  <a:lnTo>
                    <a:pt x="12" y="54"/>
                  </a:lnTo>
                  <a:lnTo>
                    <a:pt x="12" y="54"/>
                  </a:lnTo>
                  <a:lnTo>
                    <a:pt x="14" y="60"/>
                  </a:lnTo>
                  <a:lnTo>
                    <a:pt x="14" y="60"/>
                  </a:lnTo>
                  <a:lnTo>
                    <a:pt x="18" y="66"/>
                  </a:lnTo>
                  <a:lnTo>
                    <a:pt x="20" y="66"/>
                  </a:lnTo>
                  <a:lnTo>
                    <a:pt x="20" y="64"/>
                  </a:lnTo>
                  <a:lnTo>
                    <a:pt x="24" y="62"/>
                  </a:lnTo>
                  <a:lnTo>
                    <a:pt x="24" y="62"/>
                  </a:lnTo>
                  <a:lnTo>
                    <a:pt x="26" y="62"/>
                  </a:lnTo>
                  <a:lnTo>
                    <a:pt x="30" y="64"/>
                  </a:lnTo>
                  <a:lnTo>
                    <a:pt x="32" y="66"/>
                  </a:lnTo>
                  <a:lnTo>
                    <a:pt x="38" y="70"/>
                  </a:lnTo>
                  <a:lnTo>
                    <a:pt x="38" y="70"/>
                  </a:lnTo>
                  <a:lnTo>
                    <a:pt x="42" y="72"/>
                  </a:lnTo>
                  <a:lnTo>
                    <a:pt x="44" y="74"/>
                  </a:lnTo>
                  <a:lnTo>
                    <a:pt x="44" y="80"/>
                  </a:lnTo>
                  <a:lnTo>
                    <a:pt x="44" y="88"/>
                  </a:lnTo>
                  <a:lnTo>
                    <a:pt x="46" y="98"/>
                  </a:lnTo>
                  <a:lnTo>
                    <a:pt x="46" y="98"/>
                  </a:lnTo>
                  <a:lnTo>
                    <a:pt x="46" y="102"/>
                  </a:lnTo>
                  <a:lnTo>
                    <a:pt x="50" y="102"/>
                  </a:lnTo>
                  <a:lnTo>
                    <a:pt x="56" y="100"/>
                  </a:lnTo>
                  <a:lnTo>
                    <a:pt x="56" y="100"/>
                  </a:lnTo>
                  <a:lnTo>
                    <a:pt x="58" y="96"/>
                  </a:lnTo>
                  <a:lnTo>
                    <a:pt x="60" y="92"/>
                  </a:lnTo>
                  <a:lnTo>
                    <a:pt x="60" y="86"/>
                  </a:lnTo>
                  <a:lnTo>
                    <a:pt x="66" y="82"/>
                  </a:lnTo>
                  <a:lnTo>
                    <a:pt x="66" y="82"/>
                  </a:lnTo>
                  <a:lnTo>
                    <a:pt x="72" y="80"/>
                  </a:lnTo>
                  <a:lnTo>
                    <a:pt x="78" y="80"/>
                  </a:lnTo>
                  <a:lnTo>
                    <a:pt x="82" y="80"/>
                  </a:lnTo>
                  <a:lnTo>
                    <a:pt x="86" y="80"/>
                  </a:lnTo>
                  <a:lnTo>
                    <a:pt x="86" y="80"/>
                  </a:lnTo>
                  <a:lnTo>
                    <a:pt x="90" y="78"/>
                  </a:lnTo>
                  <a:lnTo>
                    <a:pt x="96" y="78"/>
                  </a:lnTo>
                  <a:lnTo>
                    <a:pt x="100" y="80"/>
                  </a:lnTo>
                  <a:lnTo>
                    <a:pt x="104" y="84"/>
                  </a:lnTo>
                  <a:lnTo>
                    <a:pt x="104" y="84"/>
                  </a:lnTo>
                  <a:lnTo>
                    <a:pt x="106" y="86"/>
                  </a:lnTo>
                  <a:lnTo>
                    <a:pt x="110" y="88"/>
                  </a:lnTo>
                  <a:lnTo>
                    <a:pt x="124" y="92"/>
                  </a:lnTo>
                  <a:lnTo>
                    <a:pt x="140" y="96"/>
                  </a:lnTo>
                  <a:lnTo>
                    <a:pt x="146" y="98"/>
                  </a:lnTo>
                  <a:lnTo>
                    <a:pt x="152" y="102"/>
                  </a:lnTo>
                  <a:lnTo>
                    <a:pt x="152" y="102"/>
                  </a:lnTo>
                  <a:lnTo>
                    <a:pt x="160" y="108"/>
                  </a:lnTo>
                  <a:lnTo>
                    <a:pt x="164" y="108"/>
                  </a:lnTo>
                  <a:lnTo>
                    <a:pt x="170" y="108"/>
                  </a:lnTo>
                  <a:lnTo>
                    <a:pt x="176" y="110"/>
                  </a:lnTo>
                  <a:lnTo>
                    <a:pt x="176" y="110"/>
                  </a:lnTo>
                  <a:lnTo>
                    <a:pt x="182" y="114"/>
                  </a:lnTo>
                  <a:lnTo>
                    <a:pt x="184" y="118"/>
                  </a:lnTo>
                  <a:lnTo>
                    <a:pt x="184" y="120"/>
                  </a:lnTo>
                  <a:lnTo>
                    <a:pt x="186" y="124"/>
                  </a:lnTo>
                  <a:lnTo>
                    <a:pt x="186" y="124"/>
                  </a:lnTo>
                  <a:lnTo>
                    <a:pt x="190" y="128"/>
                  </a:lnTo>
                  <a:lnTo>
                    <a:pt x="194" y="136"/>
                  </a:lnTo>
                  <a:lnTo>
                    <a:pt x="194" y="136"/>
                  </a:lnTo>
                  <a:lnTo>
                    <a:pt x="198" y="140"/>
                  </a:lnTo>
                  <a:lnTo>
                    <a:pt x="202" y="142"/>
                  </a:lnTo>
                  <a:lnTo>
                    <a:pt x="206" y="142"/>
                  </a:lnTo>
                  <a:lnTo>
                    <a:pt x="206" y="142"/>
                  </a:lnTo>
                  <a:lnTo>
                    <a:pt x="212" y="142"/>
                  </a:lnTo>
                  <a:lnTo>
                    <a:pt x="214" y="144"/>
                  </a:lnTo>
                  <a:lnTo>
                    <a:pt x="218" y="148"/>
                  </a:lnTo>
                  <a:lnTo>
                    <a:pt x="222" y="152"/>
                  </a:lnTo>
                  <a:lnTo>
                    <a:pt x="222" y="152"/>
                  </a:lnTo>
                  <a:lnTo>
                    <a:pt x="222" y="150"/>
                  </a:lnTo>
                  <a:lnTo>
                    <a:pt x="228" y="144"/>
                  </a:lnTo>
                  <a:lnTo>
                    <a:pt x="228" y="144"/>
                  </a:lnTo>
                  <a:lnTo>
                    <a:pt x="230" y="140"/>
                  </a:lnTo>
                  <a:lnTo>
                    <a:pt x="230" y="138"/>
                  </a:lnTo>
                  <a:lnTo>
                    <a:pt x="230" y="134"/>
                  </a:lnTo>
                  <a:lnTo>
                    <a:pt x="236" y="132"/>
                  </a:lnTo>
                  <a:lnTo>
                    <a:pt x="236" y="132"/>
                  </a:lnTo>
                  <a:lnTo>
                    <a:pt x="248" y="126"/>
                  </a:lnTo>
                  <a:lnTo>
                    <a:pt x="252" y="124"/>
                  </a:lnTo>
                  <a:lnTo>
                    <a:pt x="252" y="120"/>
                  </a:lnTo>
                  <a:lnTo>
                    <a:pt x="252" y="120"/>
                  </a:lnTo>
                  <a:lnTo>
                    <a:pt x="252" y="110"/>
                  </a:lnTo>
                  <a:lnTo>
                    <a:pt x="254" y="106"/>
                  </a:lnTo>
                  <a:lnTo>
                    <a:pt x="256" y="102"/>
                  </a:lnTo>
                  <a:lnTo>
                    <a:pt x="256" y="102"/>
                  </a:lnTo>
                  <a:lnTo>
                    <a:pt x="260" y="102"/>
                  </a:lnTo>
                  <a:lnTo>
                    <a:pt x="262" y="100"/>
                  </a:lnTo>
                  <a:lnTo>
                    <a:pt x="264" y="98"/>
                  </a:lnTo>
                  <a:lnTo>
                    <a:pt x="270" y="96"/>
                  </a:lnTo>
                  <a:lnTo>
                    <a:pt x="270" y="96"/>
                  </a:lnTo>
                  <a:lnTo>
                    <a:pt x="268" y="90"/>
                  </a:lnTo>
                  <a:lnTo>
                    <a:pt x="268" y="84"/>
                  </a:lnTo>
                  <a:lnTo>
                    <a:pt x="268" y="80"/>
                  </a:lnTo>
                  <a:lnTo>
                    <a:pt x="264" y="78"/>
                  </a:lnTo>
                  <a:lnTo>
                    <a:pt x="264" y="78"/>
                  </a:lnTo>
                  <a:lnTo>
                    <a:pt x="260" y="78"/>
                  </a:lnTo>
                  <a:lnTo>
                    <a:pt x="258" y="76"/>
                  </a:lnTo>
                  <a:lnTo>
                    <a:pt x="252" y="76"/>
                  </a:lnTo>
                  <a:lnTo>
                    <a:pt x="244" y="74"/>
                  </a:lnTo>
                  <a:lnTo>
                    <a:pt x="244" y="74"/>
                  </a:lnTo>
                  <a:lnTo>
                    <a:pt x="236" y="74"/>
                  </a:lnTo>
                  <a:lnTo>
                    <a:pt x="230" y="70"/>
                  </a:lnTo>
                  <a:lnTo>
                    <a:pt x="224" y="66"/>
                  </a:lnTo>
                  <a:lnTo>
                    <a:pt x="208" y="60"/>
                  </a:lnTo>
                  <a:lnTo>
                    <a:pt x="208" y="60"/>
                  </a:lnTo>
                  <a:lnTo>
                    <a:pt x="188" y="52"/>
                  </a:lnTo>
                  <a:lnTo>
                    <a:pt x="176" y="44"/>
                  </a:lnTo>
                  <a:lnTo>
                    <a:pt x="168" y="36"/>
                  </a:lnTo>
                  <a:lnTo>
                    <a:pt x="158" y="22"/>
                  </a:lnTo>
                  <a:lnTo>
                    <a:pt x="158" y="22"/>
                  </a:lnTo>
                  <a:lnTo>
                    <a:pt x="154" y="20"/>
                  </a:lnTo>
                  <a:lnTo>
                    <a:pt x="152" y="20"/>
                  </a:lnTo>
                  <a:lnTo>
                    <a:pt x="140" y="24"/>
                  </a:lnTo>
                  <a:lnTo>
                    <a:pt x="140" y="24"/>
                  </a:lnTo>
                  <a:lnTo>
                    <a:pt x="134" y="24"/>
                  </a:lnTo>
                  <a:lnTo>
                    <a:pt x="130" y="22"/>
                  </a:lnTo>
                  <a:lnTo>
                    <a:pt x="128" y="18"/>
                  </a:lnTo>
                  <a:lnTo>
                    <a:pt x="128" y="14"/>
                  </a:lnTo>
                  <a:lnTo>
                    <a:pt x="128" y="14"/>
                  </a:lnTo>
                  <a:lnTo>
                    <a:pt x="128" y="12"/>
                  </a:lnTo>
                  <a:lnTo>
                    <a:pt x="126" y="10"/>
                  </a:lnTo>
                  <a:lnTo>
                    <a:pt x="120" y="6"/>
                  </a:lnTo>
                  <a:lnTo>
                    <a:pt x="112" y="2"/>
                  </a:lnTo>
                  <a:lnTo>
                    <a:pt x="104" y="0"/>
                  </a:lnTo>
                  <a:lnTo>
                    <a:pt x="104" y="0"/>
                  </a:lnTo>
                  <a:lnTo>
                    <a:pt x="100" y="0"/>
                  </a:lnTo>
                  <a:lnTo>
                    <a:pt x="102" y="2"/>
                  </a:lnTo>
                  <a:lnTo>
                    <a:pt x="102" y="4"/>
                  </a:lnTo>
                  <a:lnTo>
                    <a:pt x="96" y="4"/>
                  </a:lnTo>
                  <a:lnTo>
                    <a:pt x="96" y="4"/>
                  </a:lnTo>
                  <a:lnTo>
                    <a:pt x="92" y="4"/>
                  </a:lnTo>
                  <a:lnTo>
                    <a:pt x="90" y="6"/>
                  </a:lnTo>
                  <a:lnTo>
                    <a:pt x="88" y="8"/>
                  </a:lnTo>
                  <a:lnTo>
                    <a:pt x="84" y="10"/>
                  </a:lnTo>
                  <a:lnTo>
                    <a:pt x="84" y="10"/>
                  </a:lnTo>
                  <a:lnTo>
                    <a:pt x="80" y="14"/>
                  </a:lnTo>
                  <a:lnTo>
                    <a:pt x="78" y="16"/>
                  </a:lnTo>
                  <a:lnTo>
                    <a:pt x="80" y="22"/>
                  </a:lnTo>
                  <a:lnTo>
                    <a:pt x="80" y="26"/>
                  </a:lnTo>
                  <a:lnTo>
                    <a:pt x="80" y="26"/>
                  </a:lnTo>
                  <a:lnTo>
                    <a:pt x="76" y="28"/>
                  </a:lnTo>
                  <a:lnTo>
                    <a:pt x="70" y="28"/>
                  </a:lnTo>
                  <a:lnTo>
                    <a:pt x="70" y="2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5" name="Freeform 169"/>
            <p:cNvSpPr>
              <a:spLocks/>
            </p:cNvSpPr>
            <p:nvPr/>
          </p:nvSpPr>
          <p:spPr bwMode="auto">
            <a:xfrm>
              <a:off x="5898851" y="2226469"/>
              <a:ext cx="254000" cy="108479"/>
            </a:xfrm>
            <a:custGeom>
              <a:avLst/>
              <a:gdLst/>
              <a:ahLst/>
              <a:cxnLst>
                <a:cxn ang="0">
                  <a:pos x="30" y="68"/>
                </a:cxn>
                <a:cxn ang="0">
                  <a:pos x="20" y="70"/>
                </a:cxn>
                <a:cxn ang="0">
                  <a:pos x="8" y="70"/>
                </a:cxn>
                <a:cxn ang="0">
                  <a:pos x="0" y="76"/>
                </a:cxn>
                <a:cxn ang="0">
                  <a:pos x="10" y="78"/>
                </a:cxn>
                <a:cxn ang="0">
                  <a:pos x="22" y="78"/>
                </a:cxn>
                <a:cxn ang="0">
                  <a:pos x="36" y="78"/>
                </a:cxn>
                <a:cxn ang="0">
                  <a:pos x="46" y="80"/>
                </a:cxn>
                <a:cxn ang="0">
                  <a:pos x="90" y="76"/>
                </a:cxn>
                <a:cxn ang="0">
                  <a:pos x="94" y="52"/>
                </a:cxn>
                <a:cxn ang="0">
                  <a:pos x="106" y="46"/>
                </a:cxn>
                <a:cxn ang="0">
                  <a:pos x="112" y="44"/>
                </a:cxn>
                <a:cxn ang="0">
                  <a:pos x="122" y="46"/>
                </a:cxn>
                <a:cxn ang="0">
                  <a:pos x="132" y="48"/>
                </a:cxn>
                <a:cxn ang="0">
                  <a:pos x="138" y="38"/>
                </a:cxn>
                <a:cxn ang="0">
                  <a:pos x="150" y="34"/>
                </a:cxn>
                <a:cxn ang="0">
                  <a:pos x="158" y="34"/>
                </a:cxn>
                <a:cxn ang="0">
                  <a:pos x="172" y="26"/>
                </a:cxn>
                <a:cxn ang="0">
                  <a:pos x="176" y="22"/>
                </a:cxn>
                <a:cxn ang="0">
                  <a:pos x="186" y="16"/>
                </a:cxn>
                <a:cxn ang="0">
                  <a:pos x="192" y="12"/>
                </a:cxn>
                <a:cxn ang="0">
                  <a:pos x="186" y="14"/>
                </a:cxn>
                <a:cxn ang="0">
                  <a:pos x="178" y="10"/>
                </a:cxn>
                <a:cxn ang="0">
                  <a:pos x="166" y="8"/>
                </a:cxn>
                <a:cxn ang="0">
                  <a:pos x="162" y="6"/>
                </a:cxn>
                <a:cxn ang="0">
                  <a:pos x="104" y="6"/>
                </a:cxn>
                <a:cxn ang="0">
                  <a:pos x="82" y="0"/>
                </a:cxn>
                <a:cxn ang="0">
                  <a:pos x="72" y="6"/>
                </a:cxn>
                <a:cxn ang="0">
                  <a:pos x="70" y="10"/>
                </a:cxn>
                <a:cxn ang="0">
                  <a:pos x="52" y="6"/>
                </a:cxn>
                <a:cxn ang="0">
                  <a:pos x="40" y="8"/>
                </a:cxn>
                <a:cxn ang="0">
                  <a:pos x="26" y="16"/>
                </a:cxn>
                <a:cxn ang="0">
                  <a:pos x="32" y="18"/>
                </a:cxn>
                <a:cxn ang="0">
                  <a:pos x="24" y="32"/>
                </a:cxn>
                <a:cxn ang="0">
                  <a:pos x="14" y="48"/>
                </a:cxn>
                <a:cxn ang="0">
                  <a:pos x="20" y="44"/>
                </a:cxn>
                <a:cxn ang="0">
                  <a:pos x="32" y="44"/>
                </a:cxn>
                <a:cxn ang="0">
                  <a:pos x="42" y="44"/>
                </a:cxn>
                <a:cxn ang="0">
                  <a:pos x="50" y="38"/>
                </a:cxn>
                <a:cxn ang="0">
                  <a:pos x="56" y="42"/>
                </a:cxn>
                <a:cxn ang="0">
                  <a:pos x="68" y="50"/>
                </a:cxn>
                <a:cxn ang="0">
                  <a:pos x="78" y="52"/>
                </a:cxn>
                <a:cxn ang="0">
                  <a:pos x="78" y="54"/>
                </a:cxn>
                <a:cxn ang="0">
                  <a:pos x="50" y="64"/>
                </a:cxn>
                <a:cxn ang="0">
                  <a:pos x="40" y="64"/>
                </a:cxn>
                <a:cxn ang="0">
                  <a:pos x="30" y="64"/>
                </a:cxn>
              </a:cxnLst>
              <a:rect l="0" t="0" r="r" b="b"/>
              <a:pathLst>
                <a:path w="192" h="82">
                  <a:moveTo>
                    <a:pt x="30" y="64"/>
                  </a:moveTo>
                  <a:lnTo>
                    <a:pt x="30" y="64"/>
                  </a:lnTo>
                  <a:lnTo>
                    <a:pt x="30" y="68"/>
                  </a:lnTo>
                  <a:lnTo>
                    <a:pt x="28" y="72"/>
                  </a:lnTo>
                  <a:lnTo>
                    <a:pt x="24" y="72"/>
                  </a:lnTo>
                  <a:lnTo>
                    <a:pt x="20" y="70"/>
                  </a:lnTo>
                  <a:lnTo>
                    <a:pt x="20" y="70"/>
                  </a:lnTo>
                  <a:lnTo>
                    <a:pt x="14" y="70"/>
                  </a:lnTo>
                  <a:lnTo>
                    <a:pt x="8" y="70"/>
                  </a:lnTo>
                  <a:lnTo>
                    <a:pt x="2" y="72"/>
                  </a:lnTo>
                  <a:lnTo>
                    <a:pt x="0" y="76"/>
                  </a:lnTo>
                  <a:lnTo>
                    <a:pt x="0" y="76"/>
                  </a:lnTo>
                  <a:lnTo>
                    <a:pt x="0" y="78"/>
                  </a:lnTo>
                  <a:lnTo>
                    <a:pt x="2" y="78"/>
                  </a:lnTo>
                  <a:lnTo>
                    <a:pt x="10" y="78"/>
                  </a:lnTo>
                  <a:lnTo>
                    <a:pt x="18" y="78"/>
                  </a:lnTo>
                  <a:lnTo>
                    <a:pt x="22" y="78"/>
                  </a:lnTo>
                  <a:lnTo>
                    <a:pt x="22" y="78"/>
                  </a:lnTo>
                  <a:lnTo>
                    <a:pt x="26" y="80"/>
                  </a:lnTo>
                  <a:lnTo>
                    <a:pt x="32" y="78"/>
                  </a:lnTo>
                  <a:lnTo>
                    <a:pt x="36" y="78"/>
                  </a:lnTo>
                  <a:lnTo>
                    <a:pt x="40" y="78"/>
                  </a:lnTo>
                  <a:lnTo>
                    <a:pt x="40" y="78"/>
                  </a:lnTo>
                  <a:lnTo>
                    <a:pt x="46" y="80"/>
                  </a:lnTo>
                  <a:lnTo>
                    <a:pt x="58" y="82"/>
                  </a:lnTo>
                  <a:lnTo>
                    <a:pt x="74" y="80"/>
                  </a:lnTo>
                  <a:lnTo>
                    <a:pt x="90" y="76"/>
                  </a:lnTo>
                  <a:lnTo>
                    <a:pt x="90" y="76"/>
                  </a:lnTo>
                  <a:lnTo>
                    <a:pt x="92" y="62"/>
                  </a:lnTo>
                  <a:lnTo>
                    <a:pt x="94" y="52"/>
                  </a:lnTo>
                  <a:lnTo>
                    <a:pt x="100" y="46"/>
                  </a:lnTo>
                  <a:lnTo>
                    <a:pt x="104" y="46"/>
                  </a:lnTo>
                  <a:lnTo>
                    <a:pt x="106" y="46"/>
                  </a:lnTo>
                  <a:lnTo>
                    <a:pt x="106" y="46"/>
                  </a:lnTo>
                  <a:lnTo>
                    <a:pt x="112" y="48"/>
                  </a:lnTo>
                  <a:lnTo>
                    <a:pt x="112" y="44"/>
                  </a:lnTo>
                  <a:lnTo>
                    <a:pt x="112" y="44"/>
                  </a:lnTo>
                  <a:lnTo>
                    <a:pt x="114" y="44"/>
                  </a:lnTo>
                  <a:lnTo>
                    <a:pt x="122" y="46"/>
                  </a:lnTo>
                  <a:lnTo>
                    <a:pt x="122" y="46"/>
                  </a:lnTo>
                  <a:lnTo>
                    <a:pt x="130" y="48"/>
                  </a:lnTo>
                  <a:lnTo>
                    <a:pt x="132" y="48"/>
                  </a:lnTo>
                  <a:lnTo>
                    <a:pt x="132" y="46"/>
                  </a:lnTo>
                  <a:lnTo>
                    <a:pt x="134" y="40"/>
                  </a:lnTo>
                  <a:lnTo>
                    <a:pt x="138" y="38"/>
                  </a:lnTo>
                  <a:lnTo>
                    <a:pt x="142" y="36"/>
                  </a:lnTo>
                  <a:lnTo>
                    <a:pt x="142" y="36"/>
                  </a:lnTo>
                  <a:lnTo>
                    <a:pt x="150" y="34"/>
                  </a:lnTo>
                  <a:lnTo>
                    <a:pt x="152" y="36"/>
                  </a:lnTo>
                  <a:lnTo>
                    <a:pt x="154" y="36"/>
                  </a:lnTo>
                  <a:lnTo>
                    <a:pt x="158" y="34"/>
                  </a:lnTo>
                  <a:lnTo>
                    <a:pt x="158" y="34"/>
                  </a:lnTo>
                  <a:lnTo>
                    <a:pt x="166" y="28"/>
                  </a:lnTo>
                  <a:lnTo>
                    <a:pt x="172" y="26"/>
                  </a:lnTo>
                  <a:lnTo>
                    <a:pt x="174" y="24"/>
                  </a:lnTo>
                  <a:lnTo>
                    <a:pt x="176" y="22"/>
                  </a:lnTo>
                  <a:lnTo>
                    <a:pt x="176" y="22"/>
                  </a:lnTo>
                  <a:lnTo>
                    <a:pt x="176" y="18"/>
                  </a:lnTo>
                  <a:lnTo>
                    <a:pt x="180" y="18"/>
                  </a:lnTo>
                  <a:lnTo>
                    <a:pt x="186" y="16"/>
                  </a:lnTo>
                  <a:lnTo>
                    <a:pt x="190" y="16"/>
                  </a:lnTo>
                  <a:lnTo>
                    <a:pt x="192" y="14"/>
                  </a:lnTo>
                  <a:lnTo>
                    <a:pt x="192" y="12"/>
                  </a:lnTo>
                  <a:lnTo>
                    <a:pt x="192" y="12"/>
                  </a:lnTo>
                  <a:lnTo>
                    <a:pt x="188" y="16"/>
                  </a:lnTo>
                  <a:lnTo>
                    <a:pt x="186" y="14"/>
                  </a:lnTo>
                  <a:lnTo>
                    <a:pt x="184" y="10"/>
                  </a:lnTo>
                  <a:lnTo>
                    <a:pt x="182" y="10"/>
                  </a:lnTo>
                  <a:lnTo>
                    <a:pt x="178" y="10"/>
                  </a:lnTo>
                  <a:lnTo>
                    <a:pt x="178" y="10"/>
                  </a:lnTo>
                  <a:lnTo>
                    <a:pt x="170" y="10"/>
                  </a:lnTo>
                  <a:lnTo>
                    <a:pt x="166" y="8"/>
                  </a:lnTo>
                  <a:lnTo>
                    <a:pt x="166" y="6"/>
                  </a:lnTo>
                  <a:lnTo>
                    <a:pt x="162" y="6"/>
                  </a:lnTo>
                  <a:lnTo>
                    <a:pt x="162" y="6"/>
                  </a:lnTo>
                  <a:lnTo>
                    <a:pt x="152" y="6"/>
                  </a:lnTo>
                  <a:lnTo>
                    <a:pt x="136" y="6"/>
                  </a:lnTo>
                  <a:lnTo>
                    <a:pt x="104" y="6"/>
                  </a:lnTo>
                  <a:lnTo>
                    <a:pt x="104" y="6"/>
                  </a:lnTo>
                  <a:lnTo>
                    <a:pt x="92" y="4"/>
                  </a:lnTo>
                  <a:lnTo>
                    <a:pt x="82" y="0"/>
                  </a:lnTo>
                  <a:lnTo>
                    <a:pt x="74" y="0"/>
                  </a:lnTo>
                  <a:lnTo>
                    <a:pt x="72" y="2"/>
                  </a:lnTo>
                  <a:lnTo>
                    <a:pt x="72" y="6"/>
                  </a:lnTo>
                  <a:lnTo>
                    <a:pt x="72" y="6"/>
                  </a:lnTo>
                  <a:lnTo>
                    <a:pt x="70" y="10"/>
                  </a:lnTo>
                  <a:lnTo>
                    <a:pt x="70" y="10"/>
                  </a:lnTo>
                  <a:lnTo>
                    <a:pt x="64" y="10"/>
                  </a:lnTo>
                  <a:lnTo>
                    <a:pt x="56" y="8"/>
                  </a:lnTo>
                  <a:lnTo>
                    <a:pt x="52" y="6"/>
                  </a:lnTo>
                  <a:lnTo>
                    <a:pt x="48" y="8"/>
                  </a:lnTo>
                  <a:lnTo>
                    <a:pt x="48" y="8"/>
                  </a:lnTo>
                  <a:lnTo>
                    <a:pt x="40" y="8"/>
                  </a:lnTo>
                  <a:lnTo>
                    <a:pt x="38" y="8"/>
                  </a:lnTo>
                  <a:lnTo>
                    <a:pt x="34" y="8"/>
                  </a:lnTo>
                  <a:lnTo>
                    <a:pt x="26" y="16"/>
                  </a:lnTo>
                  <a:lnTo>
                    <a:pt x="26" y="16"/>
                  </a:lnTo>
                  <a:lnTo>
                    <a:pt x="30" y="16"/>
                  </a:lnTo>
                  <a:lnTo>
                    <a:pt x="32" y="18"/>
                  </a:lnTo>
                  <a:lnTo>
                    <a:pt x="30" y="24"/>
                  </a:lnTo>
                  <a:lnTo>
                    <a:pt x="24" y="32"/>
                  </a:lnTo>
                  <a:lnTo>
                    <a:pt x="24" y="32"/>
                  </a:lnTo>
                  <a:lnTo>
                    <a:pt x="16" y="42"/>
                  </a:lnTo>
                  <a:lnTo>
                    <a:pt x="14" y="46"/>
                  </a:lnTo>
                  <a:lnTo>
                    <a:pt x="14" y="48"/>
                  </a:lnTo>
                  <a:lnTo>
                    <a:pt x="16" y="48"/>
                  </a:lnTo>
                  <a:lnTo>
                    <a:pt x="20" y="44"/>
                  </a:lnTo>
                  <a:lnTo>
                    <a:pt x="20" y="44"/>
                  </a:lnTo>
                  <a:lnTo>
                    <a:pt x="24" y="42"/>
                  </a:lnTo>
                  <a:lnTo>
                    <a:pt x="28" y="42"/>
                  </a:lnTo>
                  <a:lnTo>
                    <a:pt x="32" y="44"/>
                  </a:lnTo>
                  <a:lnTo>
                    <a:pt x="36" y="46"/>
                  </a:lnTo>
                  <a:lnTo>
                    <a:pt x="40" y="46"/>
                  </a:lnTo>
                  <a:lnTo>
                    <a:pt x="42" y="44"/>
                  </a:lnTo>
                  <a:lnTo>
                    <a:pt x="42" y="44"/>
                  </a:lnTo>
                  <a:lnTo>
                    <a:pt x="48" y="38"/>
                  </a:lnTo>
                  <a:lnTo>
                    <a:pt x="50" y="38"/>
                  </a:lnTo>
                  <a:lnTo>
                    <a:pt x="54" y="38"/>
                  </a:lnTo>
                  <a:lnTo>
                    <a:pt x="56" y="42"/>
                  </a:lnTo>
                  <a:lnTo>
                    <a:pt x="56" y="42"/>
                  </a:lnTo>
                  <a:lnTo>
                    <a:pt x="58" y="46"/>
                  </a:lnTo>
                  <a:lnTo>
                    <a:pt x="62" y="46"/>
                  </a:lnTo>
                  <a:lnTo>
                    <a:pt x="68" y="50"/>
                  </a:lnTo>
                  <a:lnTo>
                    <a:pt x="68" y="50"/>
                  </a:lnTo>
                  <a:lnTo>
                    <a:pt x="72" y="50"/>
                  </a:lnTo>
                  <a:lnTo>
                    <a:pt x="78" y="52"/>
                  </a:lnTo>
                  <a:lnTo>
                    <a:pt x="82" y="52"/>
                  </a:lnTo>
                  <a:lnTo>
                    <a:pt x="78" y="54"/>
                  </a:lnTo>
                  <a:lnTo>
                    <a:pt x="78" y="54"/>
                  </a:lnTo>
                  <a:lnTo>
                    <a:pt x="62" y="62"/>
                  </a:lnTo>
                  <a:lnTo>
                    <a:pt x="56" y="64"/>
                  </a:lnTo>
                  <a:lnTo>
                    <a:pt x="50" y="64"/>
                  </a:lnTo>
                  <a:lnTo>
                    <a:pt x="50" y="64"/>
                  </a:lnTo>
                  <a:lnTo>
                    <a:pt x="44" y="62"/>
                  </a:lnTo>
                  <a:lnTo>
                    <a:pt x="40" y="64"/>
                  </a:lnTo>
                  <a:lnTo>
                    <a:pt x="36" y="64"/>
                  </a:lnTo>
                  <a:lnTo>
                    <a:pt x="30" y="64"/>
                  </a:lnTo>
                  <a:lnTo>
                    <a:pt x="30" y="64"/>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6" name="Freeform 171"/>
            <p:cNvSpPr>
              <a:spLocks/>
            </p:cNvSpPr>
            <p:nvPr/>
          </p:nvSpPr>
          <p:spPr bwMode="auto">
            <a:xfrm>
              <a:off x="5729518" y="2350823"/>
              <a:ext cx="328083" cy="275167"/>
            </a:xfrm>
            <a:custGeom>
              <a:avLst/>
              <a:gdLst/>
              <a:ahLst/>
              <a:cxnLst>
                <a:cxn ang="0">
                  <a:pos x="74" y="22"/>
                </a:cxn>
                <a:cxn ang="0">
                  <a:pos x="66" y="28"/>
                </a:cxn>
                <a:cxn ang="0">
                  <a:pos x="64" y="46"/>
                </a:cxn>
                <a:cxn ang="0">
                  <a:pos x="42" y="56"/>
                </a:cxn>
                <a:cxn ang="0">
                  <a:pos x="40" y="66"/>
                </a:cxn>
                <a:cxn ang="0">
                  <a:pos x="30" y="70"/>
                </a:cxn>
                <a:cxn ang="0">
                  <a:pos x="18" y="64"/>
                </a:cxn>
                <a:cxn ang="0">
                  <a:pos x="6" y="58"/>
                </a:cxn>
                <a:cxn ang="0">
                  <a:pos x="6" y="70"/>
                </a:cxn>
                <a:cxn ang="0">
                  <a:pos x="10" y="80"/>
                </a:cxn>
                <a:cxn ang="0">
                  <a:pos x="0" y="96"/>
                </a:cxn>
                <a:cxn ang="0">
                  <a:pos x="6" y="108"/>
                </a:cxn>
                <a:cxn ang="0">
                  <a:pos x="10" y="126"/>
                </a:cxn>
                <a:cxn ang="0">
                  <a:pos x="12" y="150"/>
                </a:cxn>
                <a:cxn ang="0">
                  <a:pos x="24" y="154"/>
                </a:cxn>
                <a:cxn ang="0">
                  <a:pos x="40" y="164"/>
                </a:cxn>
                <a:cxn ang="0">
                  <a:pos x="36" y="192"/>
                </a:cxn>
                <a:cxn ang="0">
                  <a:pos x="60" y="206"/>
                </a:cxn>
                <a:cxn ang="0">
                  <a:pos x="88" y="208"/>
                </a:cxn>
                <a:cxn ang="0">
                  <a:pos x="140" y="192"/>
                </a:cxn>
                <a:cxn ang="0">
                  <a:pos x="136" y="186"/>
                </a:cxn>
                <a:cxn ang="0">
                  <a:pos x="134" y="180"/>
                </a:cxn>
                <a:cxn ang="0">
                  <a:pos x="144" y="164"/>
                </a:cxn>
                <a:cxn ang="0">
                  <a:pos x="156" y="166"/>
                </a:cxn>
                <a:cxn ang="0">
                  <a:pos x="160" y="158"/>
                </a:cxn>
                <a:cxn ang="0">
                  <a:pos x="170" y="152"/>
                </a:cxn>
                <a:cxn ang="0">
                  <a:pos x="176" y="142"/>
                </a:cxn>
                <a:cxn ang="0">
                  <a:pos x="170" y="126"/>
                </a:cxn>
                <a:cxn ang="0">
                  <a:pos x="182" y="118"/>
                </a:cxn>
                <a:cxn ang="0">
                  <a:pos x="184" y="110"/>
                </a:cxn>
                <a:cxn ang="0">
                  <a:pos x="174" y="102"/>
                </a:cxn>
                <a:cxn ang="0">
                  <a:pos x="186" y="100"/>
                </a:cxn>
                <a:cxn ang="0">
                  <a:pos x="218" y="100"/>
                </a:cxn>
                <a:cxn ang="0">
                  <a:pos x="214" y="94"/>
                </a:cxn>
                <a:cxn ang="0">
                  <a:pos x="210" y="78"/>
                </a:cxn>
                <a:cxn ang="0">
                  <a:pos x="206" y="66"/>
                </a:cxn>
                <a:cxn ang="0">
                  <a:pos x="204" y="48"/>
                </a:cxn>
                <a:cxn ang="0">
                  <a:pos x="218" y="42"/>
                </a:cxn>
                <a:cxn ang="0">
                  <a:pos x="224" y="34"/>
                </a:cxn>
                <a:cxn ang="0">
                  <a:pos x="242" y="26"/>
                </a:cxn>
                <a:cxn ang="0">
                  <a:pos x="248" y="20"/>
                </a:cxn>
                <a:cxn ang="0">
                  <a:pos x="230" y="24"/>
                </a:cxn>
                <a:cxn ang="0">
                  <a:pos x="226" y="22"/>
                </a:cxn>
                <a:cxn ang="0">
                  <a:pos x="224" y="20"/>
                </a:cxn>
                <a:cxn ang="0">
                  <a:pos x="212" y="28"/>
                </a:cxn>
                <a:cxn ang="0">
                  <a:pos x="198" y="30"/>
                </a:cxn>
                <a:cxn ang="0">
                  <a:pos x="186" y="12"/>
                </a:cxn>
                <a:cxn ang="0">
                  <a:pos x="180" y="10"/>
                </a:cxn>
                <a:cxn ang="0">
                  <a:pos x="180" y="0"/>
                </a:cxn>
                <a:cxn ang="0">
                  <a:pos x="166" y="6"/>
                </a:cxn>
                <a:cxn ang="0">
                  <a:pos x="164" y="12"/>
                </a:cxn>
                <a:cxn ang="0">
                  <a:pos x="156" y="14"/>
                </a:cxn>
                <a:cxn ang="0">
                  <a:pos x="156" y="20"/>
                </a:cxn>
                <a:cxn ang="0">
                  <a:pos x="144" y="22"/>
                </a:cxn>
                <a:cxn ang="0">
                  <a:pos x="128" y="24"/>
                </a:cxn>
                <a:cxn ang="0">
                  <a:pos x="118" y="18"/>
                </a:cxn>
                <a:cxn ang="0">
                  <a:pos x="104" y="20"/>
                </a:cxn>
                <a:cxn ang="0">
                  <a:pos x="92" y="20"/>
                </a:cxn>
              </a:cxnLst>
              <a:rect l="0" t="0" r="r" b="b"/>
              <a:pathLst>
                <a:path w="248" h="208">
                  <a:moveTo>
                    <a:pt x="82" y="18"/>
                  </a:moveTo>
                  <a:lnTo>
                    <a:pt x="82" y="18"/>
                  </a:lnTo>
                  <a:lnTo>
                    <a:pt x="76" y="20"/>
                  </a:lnTo>
                  <a:lnTo>
                    <a:pt x="74" y="22"/>
                  </a:lnTo>
                  <a:lnTo>
                    <a:pt x="72" y="24"/>
                  </a:lnTo>
                  <a:lnTo>
                    <a:pt x="68" y="24"/>
                  </a:lnTo>
                  <a:lnTo>
                    <a:pt x="68" y="24"/>
                  </a:lnTo>
                  <a:lnTo>
                    <a:pt x="66" y="28"/>
                  </a:lnTo>
                  <a:lnTo>
                    <a:pt x="64" y="32"/>
                  </a:lnTo>
                  <a:lnTo>
                    <a:pt x="64" y="42"/>
                  </a:lnTo>
                  <a:lnTo>
                    <a:pt x="64" y="42"/>
                  </a:lnTo>
                  <a:lnTo>
                    <a:pt x="64" y="46"/>
                  </a:lnTo>
                  <a:lnTo>
                    <a:pt x="60" y="48"/>
                  </a:lnTo>
                  <a:lnTo>
                    <a:pt x="48" y="54"/>
                  </a:lnTo>
                  <a:lnTo>
                    <a:pt x="48" y="54"/>
                  </a:lnTo>
                  <a:lnTo>
                    <a:pt x="42" y="56"/>
                  </a:lnTo>
                  <a:lnTo>
                    <a:pt x="42" y="60"/>
                  </a:lnTo>
                  <a:lnTo>
                    <a:pt x="42" y="62"/>
                  </a:lnTo>
                  <a:lnTo>
                    <a:pt x="40" y="66"/>
                  </a:lnTo>
                  <a:lnTo>
                    <a:pt x="40" y="66"/>
                  </a:lnTo>
                  <a:lnTo>
                    <a:pt x="34" y="72"/>
                  </a:lnTo>
                  <a:lnTo>
                    <a:pt x="34" y="74"/>
                  </a:lnTo>
                  <a:lnTo>
                    <a:pt x="34" y="74"/>
                  </a:lnTo>
                  <a:lnTo>
                    <a:pt x="30" y="70"/>
                  </a:lnTo>
                  <a:lnTo>
                    <a:pt x="26" y="66"/>
                  </a:lnTo>
                  <a:lnTo>
                    <a:pt x="24" y="64"/>
                  </a:lnTo>
                  <a:lnTo>
                    <a:pt x="18" y="64"/>
                  </a:lnTo>
                  <a:lnTo>
                    <a:pt x="18" y="64"/>
                  </a:lnTo>
                  <a:lnTo>
                    <a:pt x="14" y="64"/>
                  </a:lnTo>
                  <a:lnTo>
                    <a:pt x="10" y="62"/>
                  </a:lnTo>
                  <a:lnTo>
                    <a:pt x="6" y="58"/>
                  </a:lnTo>
                  <a:lnTo>
                    <a:pt x="6" y="58"/>
                  </a:lnTo>
                  <a:lnTo>
                    <a:pt x="6" y="62"/>
                  </a:lnTo>
                  <a:lnTo>
                    <a:pt x="6" y="62"/>
                  </a:lnTo>
                  <a:lnTo>
                    <a:pt x="8" y="66"/>
                  </a:lnTo>
                  <a:lnTo>
                    <a:pt x="6" y="70"/>
                  </a:lnTo>
                  <a:lnTo>
                    <a:pt x="6" y="70"/>
                  </a:lnTo>
                  <a:lnTo>
                    <a:pt x="6" y="74"/>
                  </a:lnTo>
                  <a:lnTo>
                    <a:pt x="8" y="78"/>
                  </a:lnTo>
                  <a:lnTo>
                    <a:pt x="10" y="80"/>
                  </a:lnTo>
                  <a:lnTo>
                    <a:pt x="8" y="86"/>
                  </a:lnTo>
                  <a:lnTo>
                    <a:pt x="8" y="86"/>
                  </a:lnTo>
                  <a:lnTo>
                    <a:pt x="4" y="92"/>
                  </a:lnTo>
                  <a:lnTo>
                    <a:pt x="0" y="96"/>
                  </a:lnTo>
                  <a:lnTo>
                    <a:pt x="0" y="98"/>
                  </a:lnTo>
                  <a:lnTo>
                    <a:pt x="2" y="102"/>
                  </a:lnTo>
                  <a:lnTo>
                    <a:pt x="2" y="102"/>
                  </a:lnTo>
                  <a:lnTo>
                    <a:pt x="6" y="108"/>
                  </a:lnTo>
                  <a:lnTo>
                    <a:pt x="6" y="114"/>
                  </a:lnTo>
                  <a:lnTo>
                    <a:pt x="6" y="118"/>
                  </a:lnTo>
                  <a:lnTo>
                    <a:pt x="10" y="126"/>
                  </a:lnTo>
                  <a:lnTo>
                    <a:pt x="10" y="126"/>
                  </a:lnTo>
                  <a:lnTo>
                    <a:pt x="12" y="130"/>
                  </a:lnTo>
                  <a:lnTo>
                    <a:pt x="12" y="136"/>
                  </a:lnTo>
                  <a:lnTo>
                    <a:pt x="12" y="146"/>
                  </a:lnTo>
                  <a:lnTo>
                    <a:pt x="12" y="150"/>
                  </a:lnTo>
                  <a:lnTo>
                    <a:pt x="14" y="152"/>
                  </a:lnTo>
                  <a:lnTo>
                    <a:pt x="16" y="154"/>
                  </a:lnTo>
                  <a:lnTo>
                    <a:pt x="24" y="154"/>
                  </a:lnTo>
                  <a:lnTo>
                    <a:pt x="24" y="154"/>
                  </a:lnTo>
                  <a:lnTo>
                    <a:pt x="32" y="154"/>
                  </a:lnTo>
                  <a:lnTo>
                    <a:pt x="36" y="156"/>
                  </a:lnTo>
                  <a:lnTo>
                    <a:pt x="38" y="158"/>
                  </a:lnTo>
                  <a:lnTo>
                    <a:pt x="40" y="164"/>
                  </a:lnTo>
                  <a:lnTo>
                    <a:pt x="36" y="176"/>
                  </a:lnTo>
                  <a:lnTo>
                    <a:pt x="30" y="190"/>
                  </a:lnTo>
                  <a:lnTo>
                    <a:pt x="30" y="190"/>
                  </a:lnTo>
                  <a:lnTo>
                    <a:pt x="36" y="192"/>
                  </a:lnTo>
                  <a:lnTo>
                    <a:pt x="44" y="198"/>
                  </a:lnTo>
                  <a:lnTo>
                    <a:pt x="44" y="198"/>
                  </a:lnTo>
                  <a:lnTo>
                    <a:pt x="52" y="202"/>
                  </a:lnTo>
                  <a:lnTo>
                    <a:pt x="60" y="206"/>
                  </a:lnTo>
                  <a:lnTo>
                    <a:pt x="70" y="206"/>
                  </a:lnTo>
                  <a:lnTo>
                    <a:pt x="80" y="206"/>
                  </a:lnTo>
                  <a:lnTo>
                    <a:pt x="80" y="206"/>
                  </a:lnTo>
                  <a:lnTo>
                    <a:pt x="88" y="208"/>
                  </a:lnTo>
                  <a:lnTo>
                    <a:pt x="100" y="206"/>
                  </a:lnTo>
                  <a:lnTo>
                    <a:pt x="124" y="200"/>
                  </a:lnTo>
                  <a:lnTo>
                    <a:pt x="124" y="200"/>
                  </a:lnTo>
                  <a:lnTo>
                    <a:pt x="140" y="192"/>
                  </a:lnTo>
                  <a:lnTo>
                    <a:pt x="142" y="190"/>
                  </a:lnTo>
                  <a:lnTo>
                    <a:pt x="138" y="188"/>
                  </a:lnTo>
                  <a:lnTo>
                    <a:pt x="138" y="188"/>
                  </a:lnTo>
                  <a:lnTo>
                    <a:pt x="136" y="186"/>
                  </a:lnTo>
                  <a:lnTo>
                    <a:pt x="136" y="186"/>
                  </a:lnTo>
                  <a:lnTo>
                    <a:pt x="136" y="184"/>
                  </a:lnTo>
                  <a:lnTo>
                    <a:pt x="134" y="180"/>
                  </a:lnTo>
                  <a:lnTo>
                    <a:pt x="134" y="180"/>
                  </a:lnTo>
                  <a:lnTo>
                    <a:pt x="134" y="178"/>
                  </a:lnTo>
                  <a:lnTo>
                    <a:pt x="134" y="174"/>
                  </a:lnTo>
                  <a:lnTo>
                    <a:pt x="138" y="168"/>
                  </a:lnTo>
                  <a:lnTo>
                    <a:pt x="144" y="164"/>
                  </a:lnTo>
                  <a:lnTo>
                    <a:pt x="148" y="164"/>
                  </a:lnTo>
                  <a:lnTo>
                    <a:pt x="152" y="164"/>
                  </a:lnTo>
                  <a:lnTo>
                    <a:pt x="152" y="164"/>
                  </a:lnTo>
                  <a:lnTo>
                    <a:pt x="156" y="166"/>
                  </a:lnTo>
                  <a:lnTo>
                    <a:pt x="158" y="164"/>
                  </a:lnTo>
                  <a:lnTo>
                    <a:pt x="162" y="162"/>
                  </a:lnTo>
                  <a:lnTo>
                    <a:pt x="160" y="158"/>
                  </a:lnTo>
                  <a:lnTo>
                    <a:pt x="160" y="158"/>
                  </a:lnTo>
                  <a:lnTo>
                    <a:pt x="160" y="154"/>
                  </a:lnTo>
                  <a:lnTo>
                    <a:pt x="162" y="154"/>
                  </a:lnTo>
                  <a:lnTo>
                    <a:pt x="166" y="154"/>
                  </a:lnTo>
                  <a:lnTo>
                    <a:pt x="170" y="152"/>
                  </a:lnTo>
                  <a:lnTo>
                    <a:pt x="174" y="148"/>
                  </a:lnTo>
                  <a:lnTo>
                    <a:pt x="174" y="148"/>
                  </a:lnTo>
                  <a:lnTo>
                    <a:pt x="176" y="144"/>
                  </a:lnTo>
                  <a:lnTo>
                    <a:pt x="176" y="142"/>
                  </a:lnTo>
                  <a:lnTo>
                    <a:pt x="172" y="138"/>
                  </a:lnTo>
                  <a:lnTo>
                    <a:pt x="170" y="132"/>
                  </a:lnTo>
                  <a:lnTo>
                    <a:pt x="168" y="130"/>
                  </a:lnTo>
                  <a:lnTo>
                    <a:pt x="170" y="126"/>
                  </a:lnTo>
                  <a:lnTo>
                    <a:pt x="170" y="126"/>
                  </a:lnTo>
                  <a:lnTo>
                    <a:pt x="172" y="120"/>
                  </a:lnTo>
                  <a:lnTo>
                    <a:pt x="178" y="120"/>
                  </a:lnTo>
                  <a:lnTo>
                    <a:pt x="182" y="118"/>
                  </a:lnTo>
                  <a:lnTo>
                    <a:pt x="184" y="114"/>
                  </a:lnTo>
                  <a:lnTo>
                    <a:pt x="184" y="114"/>
                  </a:lnTo>
                  <a:lnTo>
                    <a:pt x="184" y="112"/>
                  </a:lnTo>
                  <a:lnTo>
                    <a:pt x="184" y="110"/>
                  </a:lnTo>
                  <a:lnTo>
                    <a:pt x="180" y="108"/>
                  </a:lnTo>
                  <a:lnTo>
                    <a:pt x="174" y="104"/>
                  </a:lnTo>
                  <a:lnTo>
                    <a:pt x="174" y="102"/>
                  </a:lnTo>
                  <a:lnTo>
                    <a:pt x="174" y="102"/>
                  </a:lnTo>
                  <a:lnTo>
                    <a:pt x="174" y="102"/>
                  </a:lnTo>
                  <a:lnTo>
                    <a:pt x="176" y="100"/>
                  </a:lnTo>
                  <a:lnTo>
                    <a:pt x="178" y="100"/>
                  </a:lnTo>
                  <a:lnTo>
                    <a:pt x="186" y="100"/>
                  </a:lnTo>
                  <a:lnTo>
                    <a:pt x="208" y="102"/>
                  </a:lnTo>
                  <a:lnTo>
                    <a:pt x="208" y="102"/>
                  </a:lnTo>
                  <a:lnTo>
                    <a:pt x="216" y="102"/>
                  </a:lnTo>
                  <a:lnTo>
                    <a:pt x="218" y="100"/>
                  </a:lnTo>
                  <a:lnTo>
                    <a:pt x="218" y="100"/>
                  </a:lnTo>
                  <a:lnTo>
                    <a:pt x="216" y="96"/>
                  </a:lnTo>
                  <a:lnTo>
                    <a:pt x="214" y="94"/>
                  </a:lnTo>
                  <a:lnTo>
                    <a:pt x="214" y="94"/>
                  </a:lnTo>
                  <a:lnTo>
                    <a:pt x="210" y="90"/>
                  </a:lnTo>
                  <a:lnTo>
                    <a:pt x="208" y="86"/>
                  </a:lnTo>
                  <a:lnTo>
                    <a:pt x="208" y="82"/>
                  </a:lnTo>
                  <a:lnTo>
                    <a:pt x="210" y="78"/>
                  </a:lnTo>
                  <a:lnTo>
                    <a:pt x="212" y="72"/>
                  </a:lnTo>
                  <a:lnTo>
                    <a:pt x="210" y="70"/>
                  </a:lnTo>
                  <a:lnTo>
                    <a:pt x="206" y="66"/>
                  </a:lnTo>
                  <a:lnTo>
                    <a:pt x="206" y="66"/>
                  </a:lnTo>
                  <a:lnTo>
                    <a:pt x="200" y="60"/>
                  </a:lnTo>
                  <a:lnTo>
                    <a:pt x="198" y="56"/>
                  </a:lnTo>
                  <a:lnTo>
                    <a:pt x="200" y="54"/>
                  </a:lnTo>
                  <a:lnTo>
                    <a:pt x="204" y="48"/>
                  </a:lnTo>
                  <a:lnTo>
                    <a:pt x="204" y="48"/>
                  </a:lnTo>
                  <a:lnTo>
                    <a:pt x="208" y="44"/>
                  </a:lnTo>
                  <a:lnTo>
                    <a:pt x="214" y="44"/>
                  </a:lnTo>
                  <a:lnTo>
                    <a:pt x="218" y="42"/>
                  </a:lnTo>
                  <a:lnTo>
                    <a:pt x="220" y="38"/>
                  </a:lnTo>
                  <a:lnTo>
                    <a:pt x="220" y="38"/>
                  </a:lnTo>
                  <a:lnTo>
                    <a:pt x="220" y="36"/>
                  </a:lnTo>
                  <a:lnTo>
                    <a:pt x="224" y="34"/>
                  </a:lnTo>
                  <a:lnTo>
                    <a:pt x="232" y="32"/>
                  </a:lnTo>
                  <a:lnTo>
                    <a:pt x="244" y="30"/>
                  </a:lnTo>
                  <a:lnTo>
                    <a:pt x="244" y="30"/>
                  </a:lnTo>
                  <a:lnTo>
                    <a:pt x="242" y="26"/>
                  </a:lnTo>
                  <a:lnTo>
                    <a:pt x="242" y="26"/>
                  </a:lnTo>
                  <a:lnTo>
                    <a:pt x="240" y="24"/>
                  </a:lnTo>
                  <a:lnTo>
                    <a:pt x="240" y="22"/>
                  </a:lnTo>
                  <a:lnTo>
                    <a:pt x="248" y="20"/>
                  </a:lnTo>
                  <a:lnTo>
                    <a:pt x="248" y="20"/>
                  </a:lnTo>
                  <a:lnTo>
                    <a:pt x="238" y="20"/>
                  </a:lnTo>
                  <a:lnTo>
                    <a:pt x="234" y="22"/>
                  </a:lnTo>
                  <a:lnTo>
                    <a:pt x="230" y="24"/>
                  </a:lnTo>
                  <a:lnTo>
                    <a:pt x="228" y="24"/>
                  </a:lnTo>
                  <a:lnTo>
                    <a:pt x="228" y="24"/>
                  </a:lnTo>
                  <a:lnTo>
                    <a:pt x="226" y="24"/>
                  </a:lnTo>
                  <a:lnTo>
                    <a:pt x="226" y="22"/>
                  </a:lnTo>
                  <a:lnTo>
                    <a:pt x="228" y="20"/>
                  </a:lnTo>
                  <a:lnTo>
                    <a:pt x="226" y="20"/>
                  </a:lnTo>
                  <a:lnTo>
                    <a:pt x="226" y="20"/>
                  </a:lnTo>
                  <a:lnTo>
                    <a:pt x="224" y="20"/>
                  </a:lnTo>
                  <a:lnTo>
                    <a:pt x="222" y="22"/>
                  </a:lnTo>
                  <a:lnTo>
                    <a:pt x="218" y="24"/>
                  </a:lnTo>
                  <a:lnTo>
                    <a:pt x="212" y="28"/>
                  </a:lnTo>
                  <a:lnTo>
                    <a:pt x="212" y="28"/>
                  </a:lnTo>
                  <a:lnTo>
                    <a:pt x="204" y="34"/>
                  </a:lnTo>
                  <a:lnTo>
                    <a:pt x="202" y="34"/>
                  </a:lnTo>
                  <a:lnTo>
                    <a:pt x="198" y="30"/>
                  </a:lnTo>
                  <a:lnTo>
                    <a:pt x="198" y="30"/>
                  </a:lnTo>
                  <a:lnTo>
                    <a:pt x="192" y="22"/>
                  </a:lnTo>
                  <a:lnTo>
                    <a:pt x="188" y="16"/>
                  </a:lnTo>
                  <a:lnTo>
                    <a:pt x="186" y="12"/>
                  </a:lnTo>
                  <a:lnTo>
                    <a:pt x="186" y="12"/>
                  </a:lnTo>
                  <a:lnTo>
                    <a:pt x="186" y="10"/>
                  </a:lnTo>
                  <a:lnTo>
                    <a:pt x="186" y="10"/>
                  </a:lnTo>
                  <a:lnTo>
                    <a:pt x="182" y="10"/>
                  </a:lnTo>
                  <a:lnTo>
                    <a:pt x="180" y="10"/>
                  </a:lnTo>
                  <a:lnTo>
                    <a:pt x="182" y="6"/>
                  </a:lnTo>
                  <a:lnTo>
                    <a:pt x="182" y="6"/>
                  </a:lnTo>
                  <a:lnTo>
                    <a:pt x="182" y="2"/>
                  </a:lnTo>
                  <a:lnTo>
                    <a:pt x="180" y="0"/>
                  </a:lnTo>
                  <a:lnTo>
                    <a:pt x="174" y="0"/>
                  </a:lnTo>
                  <a:lnTo>
                    <a:pt x="168" y="2"/>
                  </a:lnTo>
                  <a:lnTo>
                    <a:pt x="168" y="2"/>
                  </a:lnTo>
                  <a:lnTo>
                    <a:pt x="166" y="6"/>
                  </a:lnTo>
                  <a:lnTo>
                    <a:pt x="164" y="8"/>
                  </a:lnTo>
                  <a:lnTo>
                    <a:pt x="166" y="10"/>
                  </a:lnTo>
                  <a:lnTo>
                    <a:pt x="164" y="12"/>
                  </a:lnTo>
                  <a:lnTo>
                    <a:pt x="164" y="12"/>
                  </a:lnTo>
                  <a:lnTo>
                    <a:pt x="162" y="12"/>
                  </a:lnTo>
                  <a:lnTo>
                    <a:pt x="160" y="12"/>
                  </a:lnTo>
                  <a:lnTo>
                    <a:pt x="160" y="12"/>
                  </a:lnTo>
                  <a:lnTo>
                    <a:pt x="156" y="14"/>
                  </a:lnTo>
                  <a:lnTo>
                    <a:pt x="156" y="14"/>
                  </a:lnTo>
                  <a:lnTo>
                    <a:pt x="154" y="16"/>
                  </a:lnTo>
                  <a:lnTo>
                    <a:pt x="154" y="18"/>
                  </a:lnTo>
                  <a:lnTo>
                    <a:pt x="156" y="20"/>
                  </a:lnTo>
                  <a:lnTo>
                    <a:pt x="154" y="22"/>
                  </a:lnTo>
                  <a:lnTo>
                    <a:pt x="154" y="22"/>
                  </a:lnTo>
                  <a:lnTo>
                    <a:pt x="150" y="24"/>
                  </a:lnTo>
                  <a:lnTo>
                    <a:pt x="144" y="22"/>
                  </a:lnTo>
                  <a:lnTo>
                    <a:pt x="140" y="22"/>
                  </a:lnTo>
                  <a:lnTo>
                    <a:pt x="134" y="24"/>
                  </a:lnTo>
                  <a:lnTo>
                    <a:pt x="134" y="24"/>
                  </a:lnTo>
                  <a:lnTo>
                    <a:pt x="128" y="24"/>
                  </a:lnTo>
                  <a:lnTo>
                    <a:pt x="126" y="22"/>
                  </a:lnTo>
                  <a:lnTo>
                    <a:pt x="124" y="18"/>
                  </a:lnTo>
                  <a:lnTo>
                    <a:pt x="122" y="18"/>
                  </a:lnTo>
                  <a:lnTo>
                    <a:pt x="118" y="18"/>
                  </a:lnTo>
                  <a:lnTo>
                    <a:pt x="118" y="18"/>
                  </a:lnTo>
                  <a:lnTo>
                    <a:pt x="110" y="20"/>
                  </a:lnTo>
                  <a:lnTo>
                    <a:pt x="108" y="20"/>
                  </a:lnTo>
                  <a:lnTo>
                    <a:pt x="104" y="20"/>
                  </a:lnTo>
                  <a:lnTo>
                    <a:pt x="104" y="20"/>
                  </a:lnTo>
                  <a:lnTo>
                    <a:pt x="102" y="18"/>
                  </a:lnTo>
                  <a:lnTo>
                    <a:pt x="98" y="20"/>
                  </a:lnTo>
                  <a:lnTo>
                    <a:pt x="92" y="20"/>
                  </a:lnTo>
                  <a:lnTo>
                    <a:pt x="82" y="18"/>
                  </a:lnTo>
                  <a:lnTo>
                    <a:pt x="82" y="1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7" name="Freeform 172"/>
            <p:cNvSpPr>
              <a:spLocks/>
            </p:cNvSpPr>
            <p:nvPr/>
          </p:nvSpPr>
          <p:spPr bwMode="auto">
            <a:xfrm>
              <a:off x="5544309" y="2155031"/>
              <a:ext cx="463021" cy="222250"/>
            </a:xfrm>
            <a:custGeom>
              <a:avLst/>
              <a:gdLst/>
              <a:ahLst/>
              <a:cxnLst>
                <a:cxn ang="0">
                  <a:pos x="32" y="96"/>
                </a:cxn>
                <a:cxn ang="0">
                  <a:pos x="32" y="84"/>
                </a:cxn>
                <a:cxn ang="0">
                  <a:pos x="42" y="76"/>
                </a:cxn>
                <a:cxn ang="0">
                  <a:pos x="54" y="74"/>
                </a:cxn>
                <a:cxn ang="0">
                  <a:pos x="56" y="70"/>
                </a:cxn>
                <a:cxn ang="0">
                  <a:pos x="80" y="82"/>
                </a:cxn>
                <a:cxn ang="0">
                  <a:pos x="82" y="92"/>
                </a:cxn>
                <a:cxn ang="0">
                  <a:pos x="104" y="90"/>
                </a:cxn>
                <a:cxn ang="0">
                  <a:pos x="120" y="106"/>
                </a:cxn>
                <a:cxn ang="0">
                  <a:pos x="160" y="130"/>
                </a:cxn>
                <a:cxn ang="0">
                  <a:pos x="196" y="144"/>
                </a:cxn>
                <a:cxn ang="0">
                  <a:pos x="212" y="148"/>
                </a:cxn>
                <a:cxn ang="0">
                  <a:pos x="220" y="154"/>
                </a:cxn>
                <a:cxn ang="0">
                  <a:pos x="232" y="168"/>
                </a:cxn>
                <a:cxn ang="0">
                  <a:pos x="244" y="168"/>
                </a:cxn>
                <a:cxn ang="0">
                  <a:pos x="258" y="166"/>
                </a:cxn>
                <a:cxn ang="0">
                  <a:pos x="262" y="148"/>
                </a:cxn>
                <a:cxn ang="0">
                  <a:pos x="258" y="144"/>
                </a:cxn>
                <a:cxn ang="0">
                  <a:pos x="250" y="142"/>
                </a:cxn>
                <a:cxn ang="0">
                  <a:pos x="242" y="132"/>
                </a:cxn>
                <a:cxn ang="0">
                  <a:pos x="260" y="128"/>
                </a:cxn>
                <a:cxn ang="0">
                  <a:pos x="256" y="122"/>
                </a:cxn>
                <a:cxn ang="0">
                  <a:pos x="270" y="112"/>
                </a:cxn>
                <a:cxn ang="0">
                  <a:pos x="282" y="112"/>
                </a:cxn>
                <a:cxn ang="0">
                  <a:pos x="292" y="108"/>
                </a:cxn>
                <a:cxn ang="0">
                  <a:pos x="292" y="114"/>
                </a:cxn>
                <a:cxn ang="0">
                  <a:pos x="304" y="118"/>
                </a:cxn>
                <a:cxn ang="0">
                  <a:pos x="318" y="118"/>
                </a:cxn>
                <a:cxn ang="0">
                  <a:pos x="346" y="108"/>
                </a:cxn>
                <a:cxn ang="0">
                  <a:pos x="336" y="104"/>
                </a:cxn>
                <a:cxn ang="0">
                  <a:pos x="324" y="96"/>
                </a:cxn>
                <a:cxn ang="0">
                  <a:pos x="316" y="92"/>
                </a:cxn>
                <a:cxn ang="0">
                  <a:pos x="304" y="100"/>
                </a:cxn>
                <a:cxn ang="0">
                  <a:pos x="288" y="98"/>
                </a:cxn>
                <a:cxn ang="0">
                  <a:pos x="282" y="100"/>
                </a:cxn>
                <a:cxn ang="0">
                  <a:pos x="298" y="78"/>
                </a:cxn>
                <a:cxn ang="0">
                  <a:pos x="294" y="70"/>
                </a:cxn>
                <a:cxn ang="0">
                  <a:pos x="280" y="86"/>
                </a:cxn>
                <a:cxn ang="0">
                  <a:pos x="264" y="102"/>
                </a:cxn>
                <a:cxn ang="0">
                  <a:pos x="262" y="114"/>
                </a:cxn>
                <a:cxn ang="0">
                  <a:pos x="252" y="114"/>
                </a:cxn>
                <a:cxn ang="0">
                  <a:pos x="252" y="108"/>
                </a:cxn>
                <a:cxn ang="0">
                  <a:pos x="218" y="106"/>
                </a:cxn>
                <a:cxn ang="0">
                  <a:pos x="194" y="76"/>
                </a:cxn>
                <a:cxn ang="0">
                  <a:pos x="190" y="64"/>
                </a:cxn>
                <a:cxn ang="0">
                  <a:pos x="166" y="44"/>
                </a:cxn>
                <a:cxn ang="0">
                  <a:pos x="156" y="42"/>
                </a:cxn>
                <a:cxn ang="0">
                  <a:pos x="150" y="48"/>
                </a:cxn>
                <a:cxn ang="0">
                  <a:pos x="98" y="44"/>
                </a:cxn>
                <a:cxn ang="0">
                  <a:pos x="94" y="26"/>
                </a:cxn>
                <a:cxn ang="0">
                  <a:pos x="88" y="34"/>
                </a:cxn>
                <a:cxn ang="0">
                  <a:pos x="78" y="40"/>
                </a:cxn>
                <a:cxn ang="0">
                  <a:pos x="58" y="46"/>
                </a:cxn>
                <a:cxn ang="0">
                  <a:pos x="46" y="44"/>
                </a:cxn>
                <a:cxn ang="0">
                  <a:pos x="34" y="38"/>
                </a:cxn>
                <a:cxn ang="0">
                  <a:pos x="28" y="28"/>
                </a:cxn>
                <a:cxn ang="0">
                  <a:pos x="32" y="14"/>
                </a:cxn>
                <a:cxn ang="0">
                  <a:pos x="30" y="0"/>
                </a:cxn>
                <a:cxn ang="0">
                  <a:pos x="8" y="10"/>
                </a:cxn>
                <a:cxn ang="0">
                  <a:pos x="0" y="22"/>
                </a:cxn>
              </a:cxnLst>
              <a:rect l="0" t="0" r="r" b="b"/>
              <a:pathLst>
                <a:path w="350" h="168">
                  <a:moveTo>
                    <a:pt x="22" y="98"/>
                  </a:moveTo>
                  <a:lnTo>
                    <a:pt x="22" y="98"/>
                  </a:lnTo>
                  <a:lnTo>
                    <a:pt x="28" y="98"/>
                  </a:lnTo>
                  <a:lnTo>
                    <a:pt x="32" y="96"/>
                  </a:lnTo>
                  <a:lnTo>
                    <a:pt x="32" y="96"/>
                  </a:lnTo>
                  <a:lnTo>
                    <a:pt x="32" y="92"/>
                  </a:lnTo>
                  <a:lnTo>
                    <a:pt x="30" y="86"/>
                  </a:lnTo>
                  <a:lnTo>
                    <a:pt x="32" y="84"/>
                  </a:lnTo>
                  <a:lnTo>
                    <a:pt x="36" y="80"/>
                  </a:lnTo>
                  <a:lnTo>
                    <a:pt x="36" y="80"/>
                  </a:lnTo>
                  <a:lnTo>
                    <a:pt x="40" y="78"/>
                  </a:lnTo>
                  <a:lnTo>
                    <a:pt x="42" y="76"/>
                  </a:lnTo>
                  <a:lnTo>
                    <a:pt x="44" y="74"/>
                  </a:lnTo>
                  <a:lnTo>
                    <a:pt x="48" y="74"/>
                  </a:lnTo>
                  <a:lnTo>
                    <a:pt x="48" y="74"/>
                  </a:lnTo>
                  <a:lnTo>
                    <a:pt x="54" y="74"/>
                  </a:lnTo>
                  <a:lnTo>
                    <a:pt x="54" y="72"/>
                  </a:lnTo>
                  <a:lnTo>
                    <a:pt x="52" y="70"/>
                  </a:lnTo>
                  <a:lnTo>
                    <a:pt x="56" y="70"/>
                  </a:lnTo>
                  <a:lnTo>
                    <a:pt x="56" y="70"/>
                  </a:lnTo>
                  <a:lnTo>
                    <a:pt x="64" y="72"/>
                  </a:lnTo>
                  <a:lnTo>
                    <a:pt x="72" y="76"/>
                  </a:lnTo>
                  <a:lnTo>
                    <a:pt x="78" y="80"/>
                  </a:lnTo>
                  <a:lnTo>
                    <a:pt x="80" y="82"/>
                  </a:lnTo>
                  <a:lnTo>
                    <a:pt x="80" y="84"/>
                  </a:lnTo>
                  <a:lnTo>
                    <a:pt x="80" y="84"/>
                  </a:lnTo>
                  <a:lnTo>
                    <a:pt x="80" y="88"/>
                  </a:lnTo>
                  <a:lnTo>
                    <a:pt x="82" y="92"/>
                  </a:lnTo>
                  <a:lnTo>
                    <a:pt x="86" y="94"/>
                  </a:lnTo>
                  <a:lnTo>
                    <a:pt x="92" y="94"/>
                  </a:lnTo>
                  <a:lnTo>
                    <a:pt x="92" y="94"/>
                  </a:lnTo>
                  <a:lnTo>
                    <a:pt x="104" y="90"/>
                  </a:lnTo>
                  <a:lnTo>
                    <a:pt x="106" y="90"/>
                  </a:lnTo>
                  <a:lnTo>
                    <a:pt x="110" y="92"/>
                  </a:lnTo>
                  <a:lnTo>
                    <a:pt x="110" y="92"/>
                  </a:lnTo>
                  <a:lnTo>
                    <a:pt x="120" y="106"/>
                  </a:lnTo>
                  <a:lnTo>
                    <a:pt x="128" y="114"/>
                  </a:lnTo>
                  <a:lnTo>
                    <a:pt x="140" y="122"/>
                  </a:lnTo>
                  <a:lnTo>
                    <a:pt x="160" y="130"/>
                  </a:lnTo>
                  <a:lnTo>
                    <a:pt x="160" y="130"/>
                  </a:lnTo>
                  <a:lnTo>
                    <a:pt x="176" y="136"/>
                  </a:lnTo>
                  <a:lnTo>
                    <a:pt x="182" y="140"/>
                  </a:lnTo>
                  <a:lnTo>
                    <a:pt x="188" y="144"/>
                  </a:lnTo>
                  <a:lnTo>
                    <a:pt x="196" y="144"/>
                  </a:lnTo>
                  <a:lnTo>
                    <a:pt x="196" y="144"/>
                  </a:lnTo>
                  <a:lnTo>
                    <a:pt x="204" y="146"/>
                  </a:lnTo>
                  <a:lnTo>
                    <a:pt x="210" y="146"/>
                  </a:lnTo>
                  <a:lnTo>
                    <a:pt x="212" y="148"/>
                  </a:lnTo>
                  <a:lnTo>
                    <a:pt x="216" y="148"/>
                  </a:lnTo>
                  <a:lnTo>
                    <a:pt x="216" y="148"/>
                  </a:lnTo>
                  <a:lnTo>
                    <a:pt x="220" y="150"/>
                  </a:lnTo>
                  <a:lnTo>
                    <a:pt x="220" y="154"/>
                  </a:lnTo>
                  <a:lnTo>
                    <a:pt x="220" y="160"/>
                  </a:lnTo>
                  <a:lnTo>
                    <a:pt x="222" y="166"/>
                  </a:lnTo>
                  <a:lnTo>
                    <a:pt x="222" y="166"/>
                  </a:lnTo>
                  <a:lnTo>
                    <a:pt x="232" y="168"/>
                  </a:lnTo>
                  <a:lnTo>
                    <a:pt x="238" y="168"/>
                  </a:lnTo>
                  <a:lnTo>
                    <a:pt x="242" y="166"/>
                  </a:lnTo>
                  <a:lnTo>
                    <a:pt x="244" y="168"/>
                  </a:lnTo>
                  <a:lnTo>
                    <a:pt x="244" y="168"/>
                  </a:lnTo>
                  <a:lnTo>
                    <a:pt x="248" y="168"/>
                  </a:lnTo>
                  <a:lnTo>
                    <a:pt x="250" y="168"/>
                  </a:lnTo>
                  <a:lnTo>
                    <a:pt x="258" y="166"/>
                  </a:lnTo>
                  <a:lnTo>
                    <a:pt x="258" y="166"/>
                  </a:lnTo>
                  <a:lnTo>
                    <a:pt x="258" y="158"/>
                  </a:lnTo>
                  <a:lnTo>
                    <a:pt x="262" y="152"/>
                  </a:lnTo>
                  <a:lnTo>
                    <a:pt x="264" y="148"/>
                  </a:lnTo>
                  <a:lnTo>
                    <a:pt x="262" y="148"/>
                  </a:lnTo>
                  <a:lnTo>
                    <a:pt x="260" y="146"/>
                  </a:lnTo>
                  <a:lnTo>
                    <a:pt x="260" y="146"/>
                  </a:lnTo>
                  <a:lnTo>
                    <a:pt x="256" y="146"/>
                  </a:lnTo>
                  <a:lnTo>
                    <a:pt x="258" y="144"/>
                  </a:lnTo>
                  <a:lnTo>
                    <a:pt x="258" y="144"/>
                  </a:lnTo>
                  <a:lnTo>
                    <a:pt x="256" y="142"/>
                  </a:lnTo>
                  <a:lnTo>
                    <a:pt x="250" y="142"/>
                  </a:lnTo>
                  <a:lnTo>
                    <a:pt x="250" y="142"/>
                  </a:lnTo>
                  <a:lnTo>
                    <a:pt x="244" y="140"/>
                  </a:lnTo>
                  <a:lnTo>
                    <a:pt x="240" y="136"/>
                  </a:lnTo>
                  <a:lnTo>
                    <a:pt x="240" y="134"/>
                  </a:lnTo>
                  <a:lnTo>
                    <a:pt x="242" y="132"/>
                  </a:lnTo>
                  <a:lnTo>
                    <a:pt x="246" y="130"/>
                  </a:lnTo>
                  <a:lnTo>
                    <a:pt x="250" y="130"/>
                  </a:lnTo>
                  <a:lnTo>
                    <a:pt x="250" y="130"/>
                  </a:lnTo>
                  <a:lnTo>
                    <a:pt x="260" y="128"/>
                  </a:lnTo>
                  <a:lnTo>
                    <a:pt x="264" y="126"/>
                  </a:lnTo>
                  <a:lnTo>
                    <a:pt x="264" y="124"/>
                  </a:lnTo>
                  <a:lnTo>
                    <a:pt x="264" y="122"/>
                  </a:lnTo>
                  <a:lnTo>
                    <a:pt x="256" y="122"/>
                  </a:lnTo>
                  <a:lnTo>
                    <a:pt x="256" y="122"/>
                  </a:lnTo>
                  <a:lnTo>
                    <a:pt x="264" y="120"/>
                  </a:lnTo>
                  <a:lnTo>
                    <a:pt x="268" y="116"/>
                  </a:lnTo>
                  <a:lnTo>
                    <a:pt x="270" y="112"/>
                  </a:lnTo>
                  <a:lnTo>
                    <a:pt x="270" y="112"/>
                  </a:lnTo>
                  <a:lnTo>
                    <a:pt x="272" y="114"/>
                  </a:lnTo>
                  <a:lnTo>
                    <a:pt x="276" y="114"/>
                  </a:lnTo>
                  <a:lnTo>
                    <a:pt x="282" y="112"/>
                  </a:lnTo>
                  <a:lnTo>
                    <a:pt x="288" y="108"/>
                  </a:lnTo>
                  <a:lnTo>
                    <a:pt x="290" y="108"/>
                  </a:lnTo>
                  <a:lnTo>
                    <a:pt x="292" y="108"/>
                  </a:lnTo>
                  <a:lnTo>
                    <a:pt x="292" y="108"/>
                  </a:lnTo>
                  <a:lnTo>
                    <a:pt x="296" y="112"/>
                  </a:lnTo>
                  <a:lnTo>
                    <a:pt x="296" y="112"/>
                  </a:lnTo>
                  <a:lnTo>
                    <a:pt x="292" y="114"/>
                  </a:lnTo>
                  <a:lnTo>
                    <a:pt x="292" y="114"/>
                  </a:lnTo>
                  <a:lnTo>
                    <a:pt x="292" y="116"/>
                  </a:lnTo>
                  <a:lnTo>
                    <a:pt x="298" y="118"/>
                  </a:lnTo>
                  <a:lnTo>
                    <a:pt x="298" y="118"/>
                  </a:lnTo>
                  <a:lnTo>
                    <a:pt x="304" y="118"/>
                  </a:lnTo>
                  <a:lnTo>
                    <a:pt x="308" y="118"/>
                  </a:lnTo>
                  <a:lnTo>
                    <a:pt x="312" y="116"/>
                  </a:lnTo>
                  <a:lnTo>
                    <a:pt x="318" y="118"/>
                  </a:lnTo>
                  <a:lnTo>
                    <a:pt x="318" y="118"/>
                  </a:lnTo>
                  <a:lnTo>
                    <a:pt x="324" y="118"/>
                  </a:lnTo>
                  <a:lnTo>
                    <a:pt x="330" y="116"/>
                  </a:lnTo>
                  <a:lnTo>
                    <a:pt x="346" y="108"/>
                  </a:lnTo>
                  <a:lnTo>
                    <a:pt x="346" y="108"/>
                  </a:lnTo>
                  <a:lnTo>
                    <a:pt x="350" y="106"/>
                  </a:lnTo>
                  <a:lnTo>
                    <a:pt x="346" y="106"/>
                  </a:lnTo>
                  <a:lnTo>
                    <a:pt x="340" y="104"/>
                  </a:lnTo>
                  <a:lnTo>
                    <a:pt x="336" y="104"/>
                  </a:lnTo>
                  <a:lnTo>
                    <a:pt x="336" y="104"/>
                  </a:lnTo>
                  <a:lnTo>
                    <a:pt x="330" y="100"/>
                  </a:lnTo>
                  <a:lnTo>
                    <a:pt x="326" y="100"/>
                  </a:lnTo>
                  <a:lnTo>
                    <a:pt x="324" y="96"/>
                  </a:lnTo>
                  <a:lnTo>
                    <a:pt x="324" y="96"/>
                  </a:lnTo>
                  <a:lnTo>
                    <a:pt x="322" y="92"/>
                  </a:lnTo>
                  <a:lnTo>
                    <a:pt x="318" y="92"/>
                  </a:lnTo>
                  <a:lnTo>
                    <a:pt x="316" y="92"/>
                  </a:lnTo>
                  <a:lnTo>
                    <a:pt x="310" y="98"/>
                  </a:lnTo>
                  <a:lnTo>
                    <a:pt x="310" y="98"/>
                  </a:lnTo>
                  <a:lnTo>
                    <a:pt x="308" y="100"/>
                  </a:lnTo>
                  <a:lnTo>
                    <a:pt x="304" y="100"/>
                  </a:lnTo>
                  <a:lnTo>
                    <a:pt x="300" y="98"/>
                  </a:lnTo>
                  <a:lnTo>
                    <a:pt x="296" y="96"/>
                  </a:lnTo>
                  <a:lnTo>
                    <a:pt x="292" y="96"/>
                  </a:lnTo>
                  <a:lnTo>
                    <a:pt x="288" y="98"/>
                  </a:lnTo>
                  <a:lnTo>
                    <a:pt x="288" y="98"/>
                  </a:lnTo>
                  <a:lnTo>
                    <a:pt x="284" y="102"/>
                  </a:lnTo>
                  <a:lnTo>
                    <a:pt x="282" y="102"/>
                  </a:lnTo>
                  <a:lnTo>
                    <a:pt x="282" y="100"/>
                  </a:lnTo>
                  <a:lnTo>
                    <a:pt x="284" y="96"/>
                  </a:lnTo>
                  <a:lnTo>
                    <a:pt x="292" y="86"/>
                  </a:lnTo>
                  <a:lnTo>
                    <a:pt x="292" y="86"/>
                  </a:lnTo>
                  <a:lnTo>
                    <a:pt x="298" y="78"/>
                  </a:lnTo>
                  <a:lnTo>
                    <a:pt x="300" y="72"/>
                  </a:lnTo>
                  <a:lnTo>
                    <a:pt x="298" y="70"/>
                  </a:lnTo>
                  <a:lnTo>
                    <a:pt x="294" y="70"/>
                  </a:lnTo>
                  <a:lnTo>
                    <a:pt x="294" y="70"/>
                  </a:lnTo>
                  <a:lnTo>
                    <a:pt x="288" y="74"/>
                  </a:lnTo>
                  <a:lnTo>
                    <a:pt x="288" y="74"/>
                  </a:lnTo>
                  <a:lnTo>
                    <a:pt x="282" y="80"/>
                  </a:lnTo>
                  <a:lnTo>
                    <a:pt x="280" y="86"/>
                  </a:lnTo>
                  <a:lnTo>
                    <a:pt x="276" y="92"/>
                  </a:lnTo>
                  <a:lnTo>
                    <a:pt x="270" y="98"/>
                  </a:lnTo>
                  <a:lnTo>
                    <a:pt x="270" y="98"/>
                  </a:lnTo>
                  <a:lnTo>
                    <a:pt x="264" y="102"/>
                  </a:lnTo>
                  <a:lnTo>
                    <a:pt x="262" y="106"/>
                  </a:lnTo>
                  <a:lnTo>
                    <a:pt x="262" y="110"/>
                  </a:lnTo>
                  <a:lnTo>
                    <a:pt x="262" y="112"/>
                  </a:lnTo>
                  <a:lnTo>
                    <a:pt x="262" y="114"/>
                  </a:lnTo>
                  <a:lnTo>
                    <a:pt x="258" y="114"/>
                  </a:lnTo>
                  <a:lnTo>
                    <a:pt x="258" y="114"/>
                  </a:lnTo>
                  <a:lnTo>
                    <a:pt x="254" y="114"/>
                  </a:lnTo>
                  <a:lnTo>
                    <a:pt x="252" y="114"/>
                  </a:lnTo>
                  <a:lnTo>
                    <a:pt x="254" y="110"/>
                  </a:lnTo>
                  <a:lnTo>
                    <a:pt x="256" y="108"/>
                  </a:lnTo>
                  <a:lnTo>
                    <a:pt x="252" y="108"/>
                  </a:lnTo>
                  <a:lnTo>
                    <a:pt x="252" y="108"/>
                  </a:lnTo>
                  <a:lnTo>
                    <a:pt x="234" y="110"/>
                  </a:lnTo>
                  <a:lnTo>
                    <a:pt x="226" y="110"/>
                  </a:lnTo>
                  <a:lnTo>
                    <a:pt x="222" y="108"/>
                  </a:lnTo>
                  <a:lnTo>
                    <a:pt x="218" y="106"/>
                  </a:lnTo>
                  <a:lnTo>
                    <a:pt x="216" y="102"/>
                  </a:lnTo>
                  <a:lnTo>
                    <a:pt x="214" y="90"/>
                  </a:lnTo>
                  <a:lnTo>
                    <a:pt x="204" y="92"/>
                  </a:lnTo>
                  <a:lnTo>
                    <a:pt x="194" y="76"/>
                  </a:lnTo>
                  <a:lnTo>
                    <a:pt x="202" y="76"/>
                  </a:lnTo>
                  <a:lnTo>
                    <a:pt x="198" y="58"/>
                  </a:lnTo>
                  <a:lnTo>
                    <a:pt x="190" y="64"/>
                  </a:lnTo>
                  <a:lnTo>
                    <a:pt x="190" y="64"/>
                  </a:lnTo>
                  <a:lnTo>
                    <a:pt x="178" y="50"/>
                  </a:lnTo>
                  <a:lnTo>
                    <a:pt x="174" y="46"/>
                  </a:lnTo>
                  <a:lnTo>
                    <a:pt x="170" y="44"/>
                  </a:lnTo>
                  <a:lnTo>
                    <a:pt x="166" y="44"/>
                  </a:lnTo>
                  <a:lnTo>
                    <a:pt x="160" y="42"/>
                  </a:lnTo>
                  <a:lnTo>
                    <a:pt x="160" y="42"/>
                  </a:lnTo>
                  <a:lnTo>
                    <a:pt x="156" y="38"/>
                  </a:lnTo>
                  <a:lnTo>
                    <a:pt x="156" y="42"/>
                  </a:lnTo>
                  <a:lnTo>
                    <a:pt x="154" y="46"/>
                  </a:lnTo>
                  <a:lnTo>
                    <a:pt x="152" y="48"/>
                  </a:lnTo>
                  <a:lnTo>
                    <a:pt x="150" y="48"/>
                  </a:lnTo>
                  <a:lnTo>
                    <a:pt x="150" y="48"/>
                  </a:lnTo>
                  <a:lnTo>
                    <a:pt x="104" y="46"/>
                  </a:lnTo>
                  <a:lnTo>
                    <a:pt x="104" y="46"/>
                  </a:lnTo>
                  <a:lnTo>
                    <a:pt x="102" y="46"/>
                  </a:lnTo>
                  <a:lnTo>
                    <a:pt x="98" y="44"/>
                  </a:lnTo>
                  <a:lnTo>
                    <a:pt x="94" y="36"/>
                  </a:lnTo>
                  <a:lnTo>
                    <a:pt x="92" y="30"/>
                  </a:lnTo>
                  <a:lnTo>
                    <a:pt x="92" y="26"/>
                  </a:lnTo>
                  <a:lnTo>
                    <a:pt x="94" y="26"/>
                  </a:lnTo>
                  <a:lnTo>
                    <a:pt x="94" y="26"/>
                  </a:lnTo>
                  <a:lnTo>
                    <a:pt x="90" y="30"/>
                  </a:lnTo>
                  <a:lnTo>
                    <a:pt x="90" y="32"/>
                  </a:lnTo>
                  <a:lnTo>
                    <a:pt x="88" y="34"/>
                  </a:lnTo>
                  <a:lnTo>
                    <a:pt x="86" y="36"/>
                  </a:lnTo>
                  <a:lnTo>
                    <a:pt x="86" y="36"/>
                  </a:lnTo>
                  <a:lnTo>
                    <a:pt x="82" y="38"/>
                  </a:lnTo>
                  <a:lnTo>
                    <a:pt x="78" y="40"/>
                  </a:lnTo>
                  <a:lnTo>
                    <a:pt x="76" y="44"/>
                  </a:lnTo>
                  <a:lnTo>
                    <a:pt x="66" y="46"/>
                  </a:lnTo>
                  <a:lnTo>
                    <a:pt x="66" y="46"/>
                  </a:lnTo>
                  <a:lnTo>
                    <a:pt x="58" y="46"/>
                  </a:lnTo>
                  <a:lnTo>
                    <a:pt x="54" y="46"/>
                  </a:lnTo>
                  <a:lnTo>
                    <a:pt x="52" y="44"/>
                  </a:lnTo>
                  <a:lnTo>
                    <a:pt x="46" y="44"/>
                  </a:lnTo>
                  <a:lnTo>
                    <a:pt x="46" y="44"/>
                  </a:lnTo>
                  <a:lnTo>
                    <a:pt x="40" y="44"/>
                  </a:lnTo>
                  <a:lnTo>
                    <a:pt x="38" y="42"/>
                  </a:lnTo>
                  <a:lnTo>
                    <a:pt x="38" y="40"/>
                  </a:lnTo>
                  <a:lnTo>
                    <a:pt x="34" y="38"/>
                  </a:lnTo>
                  <a:lnTo>
                    <a:pt x="34" y="38"/>
                  </a:lnTo>
                  <a:lnTo>
                    <a:pt x="32" y="36"/>
                  </a:lnTo>
                  <a:lnTo>
                    <a:pt x="30" y="34"/>
                  </a:lnTo>
                  <a:lnTo>
                    <a:pt x="28" y="28"/>
                  </a:lnTo>
                  <a:lnTo>
                    <a:pt x="28" y="22"/>
                  </a:lnTo>
                  <a:lnTo>
                    <a:pt x="30" y="16"/>
                  </a:lnTo>
                  <a:lnTo>
                    <a:pt x="30" y="16"/>
                  </a:lnTo>
                  <a:lnTo>
                    <a:pt x="32" y="14"/>
                  </a:lnTo>
                  <a:lnTo>
                    <a:pt x="32" y="12"/>
                  </a:lnTo>
                  <a:lnTo>
                    <a:pt x="30" y="8"/>
                  </a:lnTo>
                  <a:lnTo>
                    <a:pt x="30" y="0"/>
                  </a:lnTo>
                  <a:lnTo>
                    <a:pt x="30" y="0"/>
                  </a:lnTo>
                  <a:lnTo>
                    <a:pt x="30" y="2"/>
                  </a:lnTo>
                  <a:lnTo>
                    <a:pt x="26" y="4"/>
                  </a:lnTo>
                  <a:lnTo>
                    <a:pt x="14" y="6"/>
                  </a:lnTo>
                  <a:lnTo>
                    <a:pt x="8" y="10"/>
                  </a:lnTo>
                  <a:lnTo>
                    <a:pt x="2" y="12"/>
                  </a:lnTo>
                  <a:lnTo>
                    <a:pt x="0" y="16"/>
                  </a:lnTo>
                  <a:lnTo>
                    <a:pt x="0" y="22"/>
                  </a:lnTo>
                  <a:lnTo>
                    <a:pt x="0" y="22"/>
                  </a:lnTo>
                  <a:lnTo>
                    <a:pt x="22" y="98"/>
                  </a:lnTo>
                  <a:lnTo>
                    <a:pt x="22" y="9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8" name="Freeform 173"/>
            <p:cNvSpPr>
              <a:spLocks/>
            </p:cNvSpPr>
            <p:nvPr/>
          </p:nvSpPr>
          <p:spPr bwMode="auto">
            <a:xfrm>
              <a:off x="5769205" y="2387865"/>
              <a:ext cx="396875" cy="425979"/>
            </a:xfrm>
            <a:custGeom>
              <a:avLst/>
              <a:gdLst/>
              <a:ahLst/>
              <a:cxnLst>
                <a:cxn ang="0">
                  <a:pos x="152" y="314"/>
                </a:cxn>
                <a:cxn ang="0">
                  <a:pos x="146" y="304"/>
                </a:cxn>
                <a:cxn ang="0">
                  <a:pos x="132" y="292"/>
                </a:cxn>
                <a:cxn ang="0">
                  <a:pos x="124" y="286"/>
                </a:cxn>
                <a:cxn ang="0">
                  <a:pos x="116" y="286"/>
                </a:cxn>
                <a:cxn ang="0">
                  <a:pos x="96" y="290"/>
                </a:cxn>
                <a:cxn ang="0">
                  <a:pos x="80" y="286"/>
                </a:cxn>
                <a:cxn ang="0">
                  <a:pos x="64" y="284"/>
                </a:cxn>
                <a:cxn ang="0">
                  <a:pos x="44" y="282"/>
                </a:cxn>
                <a:cxn ang="0">
                  <a:pos x="34" y="282"/>
                </a:cxn>
                <a:cxn ang="0">
                  <a:pos x="32" y="262"/>
                </a:cxn>
                <a:cxn ang="0">
                  <a:pos x="42" y="244"/>
                </a:cxn>
                <a:cxn ang="0">
                  <a:pos x="52" y="242"/>
                </a:cxn>
                <a:cxn ang="0">
                  <a:pos x="56" y="230"/>
                </a:cxn>
                <a:cxn ang="0">
                  <a:pos x="44" y="212"/>
                </a:cxn>
                <a:cxn ang="0">
                  <a:pos x="22" y="198"/>
                </a:cxn>
                <a:cxn ang="0">
                  <a:pos x="14" y="170"/>
                </a:cxn>
                <a:cxn ang="0">
                  <a:pos x="50" y="178"/>
                </a:cxn>
                <a:cxn ang="0">
                  <a:pos x="112" y="162"/>
                </a:cxn>
                <a:cxn ang="0">
                  <a:pos x="104" y="152"/>
                </a:cxn>
                <a:cxn ang="0">
                  <a:pos x="118" y="136"/>
                </a:cxn>
                <a:cxn ang="0">
                  <a:pos x="130" y="130"/>
                </a:cxn>
                <a:cxn ang="0">
                  <a:pos x="144" y="120"/>
                </a:cxn>
                <a:cxn ang="0">
                  <a:pos x="138" y="102"/>
                </a:cxn>
                <a:cxn ang="0">
                  <a:pos x="154" y="86"/>
                </a:cxn>
                <a:cxn ang="0">
                  <a:pos x="144" y="74"/>
                </a:cxn>
                <a:cxn ang="0">
                  <a:pos x="178" y="74"/>
                </a:cxn>
                <a:cxn ang="0">
                  <a:pos x="184" y="66"/>
                </a:cxn>
                <a:cxn ang="0">
                  <a:pos x="182" y="44"/>
                </a:cxn>
                <a:cxn ang="0">
                  <a:pos x="170" y="26"/>
                </a:cxn>
                <a:cxn ang="0">
                  <a:pos x="190" y="10"/>
                </a:cxn>
                <a:cxn ang="0">
                  <a:pos x="214" y="2"/>
                </a:cxn>
                <a:cxn ang="0">
                  <a:pos x="256" y="16"/>
                </a:cxn>
                <a:cxn ang="0">
                  <a:pos x="258" y="30"/>
                </a:cxn>
                <a:cxn ang="0">
                  <a:pos x="284" y="34"/>
                </a:cxn>
                <a:cxn ang="0">
                  <a:pos x="300" y="56"/>
                </a:cxn>
                <a:cxn ang="0">
                  <a:pos x="262" y="64"/>
                </a:cxn>
                <a:cxn ang="0">
                  <a:pos x="222" y="62"/>
                </a:cxn>
                <a:cxn ang="0">
                  <a:pos x="226" y="74"/>
                </a:cxn>
                <a:cxn ang="0">
                  <a:pos x="234" y="88"/>
                </a:cxn>
                <a:cxn ang="0">
                  <a:pos x="250" y="88"/>
                </a:cxn>
                <a:cxn ang="0">
                  <a:pos x="260" y="96"/>
                </a:cxn>
                <a:cxn ang="0">
                  <a:pos x="266" y="108"/>
                </a:cxn>
                <a:cxn ang="0">
                  <a:pos x="260" y="122"/>
                </a:cxn>
                <a:cxn ang="0">
                  <a:pos x="268" y="138"/>
                </a:cxn>
                <a:cxn ang="0">
                  <a:pos x="256" y="168"/>
                </a:cxn>
                <a:cxn ang="0">
                  <a:pos x="238" y="192"/>
                </a:cxn>
                <a:cxn ang="0">
                  <a:pos x="214" y="220"/>
                </a:cxn>
                <a:cxn ang="0">
                  <a:pos x="196" y="220"/>
                </a:cxn>
                <a:cxn ang="0">
                  <a:pos x="180" y="244"/>
                </a:cxn>
                <a:cxn ang="0">
                  <a:pos x="192" y="262"/>
                </a:cxn>
                <a:cxn ang="0">
                  <a:pos x="226" y="292"/>
                </a:cxn>
                <a:cxn ang="0">
                  <a:pos x="226" y="304"/>
                </a:cxn>
                <a:cxn ang="0">
                  <a:pos x="216" y="310"/>
                </a:cxn>
                <a:cxn ang="0">
                  <a:pos x="196" y="310"/>
                </a:cxn>
                <a:cxn ang="0">
                  <a:pos x="178" y="310"/>
                </a:cxn>
                <a:cxn ang="0">
                  <a:pos x="162" y="322"/>
                </a:cxn>
              </a:cxnLst>
              <a:rect l="0" t="0" r="r" b="b"/>
              <a:pathLst>
                <a:path w="300" h="322">
                  <a:moveTo>
                    <a:pt x="162" y="322"/>
                  </a:moveTo>
                  <a:lnTo>
                    <a:pt x="162" y="322"/>
                  </a:lnTo>
                  <a:lnTo>
                    <a:pt x="152" y="320"/>
                  </a:lnTo>
                  <a:lnTo>
                    <a:pt x="150" y="318"/>
                  </a:lnTo>
                  <a:lnTo>
                    <a:pt x="150" y="318"/>
                  </a:lnTo>
                  <a:lnTo>
                    <a:pt x="152" y="314"/>
                  </a:lnTo>
                  <a:lnTo>
                    <a:pt x="152" y="312"/>
                  </a:lnTo>
                  <a:lnTo>
                    <a:pt x="150" y="310"/>
                  </a:lnTo>
                  <a:lnTo>
                    <a:pt x="150" y="310"/>
                  </a:lnTo>
                  <a:lnTo>
                    <a:pt x="150" y="308"/>
                  </a:lnTo>
                  <a:lnTo>
                    <a:pt x="148" y="306"/>
                  </a:lnTo>
                  <a:lnTo>
                    <a:pt x="146" y="304"/>
                  </a:lnTo>
                  <a:lnTo>
                    <a:pt x="138" y="302"/>
                  </a:lnTo>
                  <a:lnTo>
                    <a:pt x="138" y="302"/>
                  </a:lnTo>
                  <a:lnTo>
                    <a:pt x="132" y="302"/>
                  </a:lnTo>
                  <a:lnTo>
                    <a:pt x="132" y="300"/>
                  </a:lnTo>
                  <a:lnTo>
                    <a:pt x="132" y="296"/>
                  </a:lnTo>
                  <a:lnTo>
                    <a:pt x="132" y="292"/>
                  </a:lnTo>
                  <a:lnTo>
                    <a:pt x="132" y="292"/>
                  </a:lnTo>
                  <a:lnTo>
                    <a:pt x="130" y="288"/>
                  </a:lnTo>
                  <a:lnTo>
                    <a:pt x="126" y="286"/>
                  </a:lnTo>
                  <a:lnTo>
                    <a:pt x="122" y="286"/>
                  </a:lnTo>
                  <a:lnTo>
                    <a:pt x="122" y="286"/>
                  </a:lnTo>
                  <a:lnTo>
                    <a:pt x="124" y="286"/>
                  </a:lnTo>
                  <a:lnTo>
                    <a:pt x="126" y="288"/>
                  </a:lnTo>
                  <a:lnTo>
                    <a:pt x="126" y="288"/>
                  </a:lnTo>
                  <a:lnTo>
                    <a:pt x="126" y="288"/>
                  </a:lnTo>
                  <a:lnTo>
                    <a:pt x="124" y="290"/>
                  </a:lnTo>
                  <a:lnTo>
                    <a:pt x="120" y="288"/>
                  </a:lnTo>
                  <a:lnTo>
                    <a:pt x="116" y="286"/>
                  </a:lnTo>
                  <a:lnTo>
                    <a:pt x="114" y="288"/>
                  </a:lnTo>
                  <a:lnTo>
                    <a:pt x="114" y="288"/>
                  </a:lnTo>
                  <a:lnTo>
                    <a:pt x="104" y="288"/>
                  </a:lnTo>
                  <a:lnTo>
                    <a:pt x="98" y="288"/>
                  </a:lnTo>
                  <a:lnTo>
                    <a:pt x="98" y="288"/>
                  </a:lnTo>
                  <a:lnTo>
                    <a:pt x="96" y="290"/>
                  </a:lnTo>
                  <a:lnTo>
                    <a:pt x="90" y="290"/>
                  </a:lnTo>
                  <a:lnTo>
                    <a:pt x="86" y="288"/>
                  </a:lnTo>
                  <a:lnTo>
                    <a:pt x="84" y="284"/>
                  </a:lnTo>
                  <a:lnTo>
                    <a:pt x="84" y="284"/>
                  </a:lnTo>
                  <a:lnTo>
                    <a:pt x="82" y="286"/>
                  </a:lnTo>
                  <a:lnTo>
                    <a:pt x="80" y="286"/>
                  </a:lnTo>
                  <a:lnTo>
                    <a:pt x="76" y="284"/>
                  </a:lnTo>
                  <a:lnTo>
                    <a:pt x="76" y="284"/>
                  </a:lnTo>
                  <a:lnTo>
                    <a:pt x="74" y="282"/>
                  </a:lnTo>
                  <a:lnTo>
                    <a:pt x="72" y="284"/>
                  </a:lnTo>
                  <a:lnTo>
                    <a:pt x="70" y="286"/>
                  </a:lnTo>
                  <a:lnTo>
                    <a:pt x="64" y="284"/>
                  </a:lnTo>
                  <a:lnTo>
                    <a:pt x="64" y="284"/>
                  </a:lnTo>
                  <a:lnTo>
                    <a:pt x="60" y="282"/>
                  </a:lnTo>
                  <a:lnTo>
                    <a:pt x="56" y="284"/>
                  </a:lnTo>
                  <a:lnTo>
                    <a:pt x="52" y="284"/>
                  </a:lnTo>
                  <a:lnTo>
                    <a:pt x="44" y="282"/>
                  </a:lnTo>
                  <a:lnTo>
                    <a:pt x="44" y="282"/>
                  </a:lnTo>
                  <a:lnTo>
                    <a:pt x="38" y="282"/>
                  </a:lnTo>
                  <a:lnTo>
                    <a:pt x="38" y="284"/>
                  </a:lnTo>
                  <a:lnTo>
                    <a:pt x="36" y="286"/>
                  </a:lnTo>
                  <a:lnTo>
                    <a:pt x="32" y="284"/>
                  </a:lnTo>
                  <a:lnTo>
                    <a:pt x="32" y="284"/>
                  </a:lnTo>
                  <a:lnTo>
                    <a:pt x="34" y="282"/>
                  </a:lnTo>
                  <a:lnTo>
                    <a:pt x="34" y="278"/>
                  </a:lnTo>
                  <a:lnTo>
                    <a:pt x="34" y="272"/>
                  </a:lnTo>
                  <a:lnTo>
                    <a:pt x="32" y="266"/>
                  </a:lnTo>
                  <a:lnTo>
                    <a:pt x="32" y="266"/>
                  </a:lnTo>
                  <a:lnTo>
                    <a:pt x="32" y="264"/>
                  </a:lnTo>
                  <a:lnTo>
                    <a:pt x="32" y="262"/>
                  </a:lnTo>
                  <a:lnTo>
                    <a:pt x="36" y="256"/>
                  </a:lnTo>
                  <a:lnTo>
                    <a:pt x="40" y="252"/>
                  </a:lnTo>
                  <a:lnTo>
                    <a:pt x="42" y="250"/>
                  </a:lnTo>
                  <a:lnTo>
                    <a:pt x="42" y="248"/>
                  </a:lnTo>
                  <a:lnTo>
                    <a:pt x="42" y="248"/>
                  </a:lnTo>
                  <a:lnTo>
                    <a:pt x="42" y="244"/>
                  </a:lnTo>
                  <a:lnTo>
                    <a:pt x="42" y="242"/>
                  </a:lnTo>
                  <a:lnTo>
                    <a:pt x="46" y="242"/>
                  </a:lnTo>
                  <a:lnTo>
                    <a:pt x="50" y="244"/>
                  </a:lnTo>
                  <a:lnTo>
                    <a:pt x="50" y="242"/>
                  </a:lnTo>
                  <a:lnTo>
                    <a:pt x="50" y="242"/>
                  </a:lnTo>
                  <a:lnTo>
                    <a:pt x="52" y="242"/>
                  </a:lnTo>
                  <a:lnTo>
                    <a:pt x="54" y="240"/>
                  </a:lnTo>
                  <a:lnTo>
                    <a:pt x="56" y="238"/>
                  </a:lnTo>
                  <a:lnTo>
                    <a:pt x="56" y="236"/>
                  </a:lnTo>
                  <a:lnTo>
                    <a:pt x="56" y="236"/>
                  </a:lnTo>
                  <a:lnTo>
                    <a:pt x="56" y="234"/>
                  </a:lnTo>
                  <a:lnTo>
                    <a:pt x="56" y="230"/>
                  </a:lnTo>
                  <a:lnTo>
                    <a:pt x="56" y="226"/>
                  </a:lnTo>
                  <a:lnTo>
                    <a:pt x="54" y="226"/>
                  </a:lnTo>
                  <a:lnTo>
                    <a:pt x="54" y="226"/>
                  </a:lnTo>
                  <a:lnTo>
                    <a:pt x="50" y="226"/>
                  </a:lnTo>
                  <a:lnTo>
                    <a:pt x="48" y="226"/>
                  </a:lnTo>
                  <a:lnTo>
                    <a:pt x="44" y="212"/>
                  </a:lnTo>
                  <a:lnTo>
                    <a:pt x="44" y="212"/>
                  </a:lnTo>
                  <a:lnTo>
                    <a:pt x="38" y="200"/>
                  </a:lnTo>
                  <a:lnTo>
                    <a:pt x="36" y="200"/>
                  </a:lnTo>
                  <a:lnTo>
                    <a:pt x="30" y="200"/>
                  </a:lnTo>
                  <a:lnTo>
                    <a:pt x="30" y="200"/>
                  </a:lnTo>
                  <a:lnTo>
                    <a:pt x="22" y="198"/>
                  </a:lnTo>
                  <a:lnTo>
                    <a:pt x="20" y="194"/>
                  </a:lnTo>
                  <a:lnTo>
                    <a:pt x="14" y="182"/>
                  </a:lnTo>
                  <a:lnTo>
                    <a:pt x="0" y="162"/>
                  </a:lnTo>
                  <a:lnTo>
                    <a:pt x="0" y="162"/>
                  </a:lnTo>
                  <a:lnTo>
                    <a:pt x="6" y="164"/>
                  </a:lnTo>
                  <a:lnTo>
                    <a:pt x="14" y="170"/>
                  </a:lnTo>
                  <a:lnTo>
                    <a:pt x="14" y="170"/>
                  </a:lnTo>
                  <a:lnTo>
                    <a:pt x="22" y="174"/>
                  </a:lnTo>
                  <a:lnTo>
                    <a:pt x="30" y="178"/>
                  </a:lnTo>
                  <a:lnTo>
                    <a:pt x="40" y="178"/>
                  </a:lnTo>
                  <a:lnTo>
                    <a:pt x="50" y="178"/>
                  </a:lnTo>
                  <a:lnTo>
                    <a:pt x="50" y="178"/>
                  </a:lnTo>
                  <a:lnTo>
                    <a:pt x="58" y="180"/>
                  </a:lnTo>
                  <a:lnTo>
                    <a:pt x="70" y="178"/>
                  </a:lnTo>
                  <a:lnTo>
                    <a:pt x="94" y="172"/>
                  </a:lnTo>
                  <a:lnTo>
                    <a:pt x="94" y="172"/>
                  </a:lnTo>
                  <a:lnTo>
                    <a:pt x="110" y="164"/>
                  </a:lnTo>
                  <a:lnTo>
                    <a:pt x="112" y="162"/>
                  </a:lnTo>
                  <a:lnTo>
                    <a:pt x="108" y="160"/>
                  </a:lnTo>
                  <a:lnTo>
                    <a:pt x="108" y="160"/>
                  </a:lnTo>
                  <a:lnTo>
                    <a:pt x="106" y="158"/>
                  </a:lnTo>
                  <a:lnTo>
                    <a:pt x="106" y="158"/>
                  </a:lnTo>
                  <a:lnTo>
                    <a:pt x="106" y="156"/>
                  </a:lnTo>
                  <a:lnTo>
                    <a:pt x="104" y="152"/>
                  </a:lnTo>
                  <a:lnTo>
                    <a:pt x="104" y="152"/>
                  </a:lnTo>
                  <a:lnTo>
                    <a:pt x="104" y="150"/>
                  </a:lnTo>
                  <a:lnTo>
                    <a:pt x="104" y="146"/>
                  </a:lnTo>
                  <a:lnTo>
                    <a:pt x="108" y="140"/>
                  </a:lnTo>
                  <a:lnTo>
                    <a:pt x="114" y="136"/>
                  </a:lnTo>
                  <a:lnTo>
                    <a:pt x="118" y="136"/>
                  </a:lnTo>
                  <a:lnTo>
                    <a:pt x="122" y="136"/>
                  </a:lnTo>
                  <a:lnTo>
                    <a:pt x="122" y="136"/>
                  </a:lnTo>
                  <a:lnTo>
                    <a:pt x="126" y="138"/>
                  </a:lnTo>
                  <a:lnTo>
                    <a:pt x="128" y="136"/>
                  </a:lnTo>
                  <a:lnTo>
                    <a:pt x="132" y="134"/>
                  </a:lnTo>
                  <a:lnTo>
                    <a:pt x="130" y="130"/>
                  </a:lnTo>
                  <a:lnTo>
                    <a:pt x="130" y="130"/>
                  </a:lnTo>
                  <a:lnTo>
                    <a:pt x="130" y="126"/>
                  </a:lnTo>
                  <a:lnTo>
                    <a:pt x="132" y="126"/>
                  </a:lnTo>
                  <a:lnTo>
                    <a:pt x="136" y="126"/>
                  </a:lnTo>
                  <a:lnTo>
                    <a:pt x="140" y="124"/>
                  </a:lnTo>
                  <a:lnTo>
                    <a:pt x="144" y="120"/>
                  </a:lnTo>
                  <a:lnTo>
                    <a:pt x="144" y="120"/>
                  </a:lnTo>
                  <a:lnTo>
                    <a:pt x="146" y="116"/>
                  </a:lnTo>
                  <a:lnTo>
                    <a:pt x="146" y="114"/>
                  </a:lnTo>
                  <a:lnTo>
                    <a:pt x="142" y="110"/>
                  </a:lnTo>
                  <a:lnTo>
                    <a:pt x="140" y="104"/>
                  </a:lnTo>
                  <a:lnTo>
                    <a:pt x="138" y="102"/>
                  </a:lnTo>
                  <a:lnTo>
                    <a:pt x="140" y="98"/>
                  </a:lnTo>
                  <a:lnTo>
                    <a:pt x="140" y="98"/>
                  </a:lnTo>
                  <a:lnTo>
                    <a:pt x="142" y="92"/>
                  </a:lnTo>
                  <a:lnTo>
                    <a:pt x="148" y="92"/>
                  </a:lnTo>
                  <a:lnTo>
                    <a:pt x="152" y="90"/>
                  </a:lnTo>
                  <a:lnTo>
                    <a:pt x="154" y="86"/>
                  </a:lnTo>
                  <a:lnTo>
                    <a:pt x="154" y="86"/>
                  </a:lnTo>
                  <a:lnTo>
                    <a:pt x="154" y="84"/>
                  </a:lnTo>
                  <a:lnTo>
                    <a:pt x="154" y="82"/>
                  </a:lnTo>
                  <a:lnTo>
                    <a:pt x="150" y="80"/>
                  </a:lnTo>
                  <a:lnTo>
                    <a:pt x="144" y="76"/>
                  </a:lnTo>
                  <a:lnTo>
                    <a:pt x="144" y="74"/>
                  </a:lnTo>
                  <a:lnTo>
                    <a:pt x="144" y="74"/>
                  </a:lnTo>
                  <a:lnTo>
                    <a:pt x="144" y="74"/>
                  </a:lnTo>
                  <a:lnTo>
                    <a:pt x="146" y="72"/>
                  </a:lnTo>
                  <a:lnTo>
                    <a:pt x="148" y="72"/>
                  </a:lnTo>
                  <a:lnTo>
                    <a:pt x="156" y="72"/>
                  </a:lnTo>
                  <a:lnTo>
                    <a:pt x="178" y="74"/>
                  </a:lnTo>
                  <a:lnTo>
                    <a:pt x="178" y="74"/>
                  </a:lnTo>
                  <a:lnTo>
                    <a:pt x="186" y="74"/>
                  </a:lnTo>
                  <a:lnTo>
                    <a:pt x="188" y="72"/>
                  </a:lnTo>
                  <a:lnTo>
                    <a:pt x="188" y="72"/>
                  </a:lnTo>
                  <a:lnTo>
                    <a:pt x="186" y="68"/>
                  </a:lnTo>
                  <a:lnTo>
                    <a:pt x="184" y="66"/>
                  </a:lnTo>
                  <a:lnTo>
                    <a:pt x="184" y="66"/>
                  </a:lnTo>
                  <a:lnTo>
                    <a:pt x="180" y="62"/>
                  </a:lnTo>
                  <a:lnTo>
                    <a:pt x="178" y="58"/>
                  </a:lnTo>
                  <a:lnTo>
                    <a:pt x="178" y="54"/>
                  </a:lnTo>
                  <a:lnTo>
                    <a:pt x="180" y="50"/>
                  </a:lnTo>
                  <a:lnTo>
                    <a:pt x="182" y="44"/>
                  </a:lnTo>
                  <a:lnTo>
                    <a:pt x="180" y="42"/>
                  </a:lnTo>
                  <a:lnTo>
                    <a:pt x="176" y="38"/>
                  </a:lnTo>
                  <a:lnTo>
                    <a:pt x="176" y="38"/>
                  </a:lnTo>
                  <a:lnTo>
                    <a:pt x="170" y="32"/>
                  </a:lnTo>
                  <a:lnTo>
                    <a:pt x="168" y="28"/>
                  </a:lnTo>
                  <a:lnTo>
                    <a:pt x="170" y="26"/>
                  </a:lnTo>
                  <a:lnTo>
                    <a:pt x="174" y="20"/>
                  </a:lnTo>
                  <a:lnTo>
                    <a:pt x="174" y="20"/>
                  </a:lnTo>
                  <a:lnTo>
                    <a:pt x="178" y="16"/>
                  </a:lnTo>
                  <a:lnTo>
                    <a:pt x="184" y="16"/>
                  </a:lnTo>
                  <a:lnTo>
                    <a:pt x="188" y="14"/>
                  </a:lnTo>
                  <a:lnTo>
                    <a:pt x="190" y="10"/>
                  </a:lnTo>
                  <a:lnTo>
                    <a:pt x="190" y="10"/>
                  </a:lnTo>
                  <a:lnTo>
                    <a:pt x="190" y="8"/>
                  </a:lnTo>
                  <a:lnTo>
                    <a:pt x="194" y="6"/>
                  </a:lnTo>
                  <a:lnTo>
                    <a:pt x="202" y="4"/>
                  </a:lnTo>
                  <a:lnTo>
                    <a:pt x="214" y="2"/>
                  </a:lnTo>
                  <a:lnTo>
                    <a:pt x="214" y="2"/>
                  </a:lnTo>
                  <a:lnTo>
                    <a:pt x="218" y="2"/>
                  </a:lnTo>
                  <a:lnTo>
                    <a:pt x="220" y="0"/>
                  </a:lnTo>
                  <a:lnTo>
                    <a:pt x="226" y="2"/>
                  </a:lnTo>
                  <a:lnTo>
                    <a:pt x="240" y="8"/>
                  </a:lnTo>
                  <a:lnTo>
                    <a:pt x="240" y="8"/>
                  </a:lnTo>
                  <a:lnTo>
                    <a:pt x="256" y="16"/>
                  </a:lnTo>
                  <a:lnTo>
                    <a:pt x="256" y="18"/>
                  </a:lnTo>
                  <a:lnTo>
                    <a:pt x="256" y="20"/>
                  </a:lnTo>
                  <a:lnTo>
                    <a:pt x="256" y="20"/>
                  </a:lnTo>
                  <a:lnTo>
                    <a:pt x="254" y="26"/>
                  </a:lnTo>
                  <a:lnTo>
                    <a:pt x="256" y="30"/>
                  </a:lnTo>
                  <a:lnTo>
                    <a:pt x="258" y="30"/>
                  </a:lnTo>
                  <a:lnTo>
                    <a:pt x="264" y="30"/>
                  </a:lnTo>
                  <a:lnTo>
                    <a:pt x="274" y="30"/>
                  </a:lnTo>
                  <a:lnTo>
                    <a:pt x="278" y="30"/>
                  </a:lnTo>
                  <a:lnTo>
                    <a:pt x="282" y="30"/>
                  </a:lnTo>
                  <a:lnTo>
                    <a:pt x="282" y="30"/>
                  </a:lnTo>
                  <a:lnTo>
                    <a:pt x="284" y="34"/>
                  </a:lnTo>
                  <a:lnTo>
                    <a:pt x="288" y="36"/>
                  </a:lnTo>
                  <a:lnTo>
                    <a:pt x="292" y="38"/>
                  </a:lnTo>
                  <a:lnTo>
                    <a:pt x="296" y="46"/>
                  </a:lnTo>
                  <a:lnTo>
                    <a:pt x="296" y="46"/>
                  </a:lnTo>
                  <a:lnTo>
                    <a:pt x="300" y="52"/>
                  </a:lnTo>
                  <a:lnTo>
                    <a:pt x="300" y="56"/>
                  </a:lnTo>
                  <a:lnTo>
                    <a:pt x="296" y="58"/>
                  </a:lnTo>
                  <a:lnTo>
                    <a:pt x="290" y="58"/>
                  </a:lnTo>
                  <a:lnTo>
                    <a:pt x="290" y="58"/>
                  </a:lnTo>
                  <a:lnTo>
                    <a:pt x="278" y="60"/>
                  </a:lnTo>
                  <a:lnTo>
                    <a:pt x="270" y="62"/>
                  </a:lnTo>
                  <a:lnTo>
                    <a:pt x="262" y="64"/>
                  </a:lnTo>
                  <a:lnTo>
                    <a:pt x="242" y="62"/>
                  </a:lnTo>
                  <a:lnTo>
                    <a:pt x="242" y="62"/>
                  </a:lnTo>
                  <a:lnTo>
                    <a:pt x="232" y="60"/>
                  </a:lnTo>
                  <a:lnTo>
                    <a:pt x="226" y="60"/>
                  </a:lnTo>
                  <a:lnTo>
                    <a:pt x="224" y="62"/>
                  </a:lnTo>
                  <a:lnTo>
                    <a:pt x="222" y="62"/>
                  </a:lnTo>
                  <a:lnTo>
                    <a:pt x="224" y="66"/>
                  </a:lnTo>
                  <a:lnTo>
                    <a:pt x="228" y="70"/>
                  </a:lnTo>
                  <a:lnTo>
                    <a:pt x="228" y="70"/>
                  </a:lnTo>
                  <a:lnTo>
                    <a:pt x="224" y="70"/>
                  </a:lnTo>
                  <a:lnTo>
                    <a:pt x="224" y="72"/>
                  </a:lnTo>
                  <a:lnTo>
                    <a:pt x="226" y="74"/>
                  </a:lnTo>
                  <a:lnTo>
                    <a:pt x="230" y="78"/>
                  </a:lnTo>
                  <a:lnTo>
                    <a:pt x="232" y="80"/>
                  </a:lnTo>
                  <a:lnTo>
                    <a:pt x="232" y="84"/>
                  </a:lnTo>
                  <a:lnTo>
                    <a:pt x="232" y="84"/>
                  </a:lnTo>
                  <a:lnTo>
                    <a:pt x="232" y="86"/>
                  </a:lnTo>
                  <a:lnTo>
                    <a:pt x="234" y="88"/>
                  </a:lnTo>
                  <a:lnTo>
                    <a:pt x="238" y="86"/>
                  </a:lnTo>
                  <a:lnTo>
                    <a:pt x="244" y="84"/>
                  </a:lnTo>
                  <a:lnTo>
                    <a:pt x="246" y="84"/>
                  </a:lnTo>
                  <a:lnTo>
                    <a:pt x="248" y="84"/>
                  </a:lnTo>
                  <a:lnTo>
                    <a:pt x="248" y="84"/>
                  </a:lnTo>
                  <a:lnTo>
                    <a:pt x="250" y="88"/>
                  </a:lnTo>
                  <a:lnTo>
                    <a:pt x="250" y="90"/>
                  </a:lnTo>
                  <a:lnTo>
                    <a:pt x="250" y="94"/>
                  </a:lnTo>
                  <a:lnTo>
                    <a:pt x="250" y="96"/>
                  </a:lnTo>
                  <a:lnTo>
                    <a:pt x="252" y="98"/>
                  </a:lnTo>
                  <a:lnTo>
                    <a:pt x="260" y="96"/>
                  </a:lnTo>
                  <a:lnTo>
                    <a:pt x="260" y="96"/>
                  </a:lnTo>
                  <a:lnTo>
                    <a:pt x="264" y="96"/>
                  </a:lnTo>
                  <a:lnTo>
                    <a:pt x="266" y="96"/>
                  </a:lnTo>
                  <a:lnTo>
                    <a:pt x="264" y="100"/>
                  </a:lnTo>
                  <a:lnTo>
                    <a:pt x="264" y="106"/>
                  </a:lnTo>
                  <a:lnTo>
                    <a:pt x="264" y="108"/>
                  </a:lnTo>
                  <a:lnTo>
                    <a:pt x="266" y="108"/>
                  </a:lnTo>
                  <a:lnTo>
                    <a:pt x="266" y="108"/>
                  </a:lnTo>
                  <a:lnTo>
                    <a:pt x="270" y="110"/>
                  </a:lnTo>
                  <a:lnTo>
                    <a:pt x="268" y="112"/>
                  </a:lnTo>
                  <a:lnTo>
                    <a:pt x="264" y="116"/>
                  </a:lnTo>
                  <a:lnTo>
                    <a:pt x="260" y="118"/>
                  </a:lnTo>
                  <a:lnTo>
                    <a:pt x="260" y="122"/>
                  </a:lnTo>
                  <a:lnTo>
                    <a:pt x="260" y="126"/>
                  </a:lnTo>
                  <a:lnTo>
                    <a:pt x="264" y="128"/>
                  </a:lnTo>
                  <a:lnTo>
                    <a:pt x="264" y="128"/>
                  </a:lnTo>
                  <a:lnTo>
                    <a:pt x="270" y="136"/>
                  </a:lnTo>
                  <a:lnTo>
                    <a:pt x="270" y="136"/>
                  </a:lnTo>
                  <a:lnTo>
                    <a:pt x="268" y="138"/>
                  </a:lnTo>
                  <a:lnTo>
                    <a:pt x="264" y="140"/>
                  </a:lnTo>
                  <a:lnTo>
                    <a:pt x="262" y="144"/>
                  </a:lnTo>
                  <a:lnTo>
                    <a:pt x="258" y="150"/>
                  </a:lnTo>
                  <a:lnTo>
                    <a:pt x="258" y="158"/>
                  </a:lnTo>
                  <a:lnTo>
                    <a:pt x="258" y="158"/>
                  </a:lnTo>
                  <a:lnTo>
                    <a:pt x="256" y="168"/>
                  </a:lnTo>
                  <a:lnTo>
                    <a:pt x="254" y="176"/>
                  </a:lnTo>
                  <a:lnTo>
                    <a:pt x="250" y="180"/>
                  </a:lnTo>
                  <a:lnTo>
                    <a:pt x="246" y="182"/>
                  </a:lnTo>
                  <a:lnTo>
                    <a:pt x="240" y="186"/>
                  </a:lnTo>
                  <a:lnTo>
                    <a:pt x="238" y="188"/>
                  </a:lnTo>
                  <a:lnTo>
                    <a:pt x="238" y="192"/>
                  </a:lnTo>
                  <a:lnTo>
                    <a:pt x="238" y="192"/>
                  </a:lnTo>
                  <a:lnTo>
                    <a:pt x="236" y="196"/>
                  </a:lnTo>
                  <a:lnTo>
                    <a:pt x="232" y="204"/>
                  </a:lnTo>
                  <a:lnTo>
                    <a:pt x="226" y="212"/>
                  </a:lnTo>
                  <a:lnTo>
                    <a:pt x="214" y="220"/>
                  </a:lnTo>
                  <a:lnTo>
                    <a:pt x="214" y="220"/>
                  </a:lnTo>
                  <a:lnTo>
                    <a:pt x="208" y="222"/>
                  </a:lnTo>
                  <a:lnTo>
                    <a:pt x="206" y="222"/>
                  </a:lnTo>
                  <a:lnTo>
                    <a:pt x="204" y="220"/>
                  </a:lnTo>
                  <a:lnTo>
                    <a:pt x="202" y="218"/>
                  </a:lnTo>
                  <a:lnTo>
                    <a:pt x="202" y="216"/>
                  </a:lnTo>
                  <a:lnTo>
                    <a:pt x="196" y="220"/>
                  </a:lnTo>
                  <a:lnTo>
                    <a:pt x="196" y="220"/>
                  </a:lnTo>
                  <a:lnTo>
                    <a:pt x="182" y="234"/>
                  </a:lnTo>
                  <a:lnTo>
                    <a:pt x="180" y="240"/>
                  </a:lnTo>
                  <a:lnTo>
                    <a:pt x="180" y="242"/>
                  </a:lnTo>
                  <a:lnTo>
                    <a:pt x="180" y="244"/>
                  </a:lnTo>
                  <a:lnTo>
                    <a:pt x="180" y="244"/>
                  </a:lnTo>
                  <a:lnTo>
                    <a:pt x="186" y="246"/>
                  </a:lnTo>
                  <a:lnTo>
                    <a:pt x="190" y="248"/>
                  </a:lnTo>
                  <a:lnTo>
                    <a:pt x="192" y="252"/>
                  </a:lnTo>
                  <a:lnTo>
                    <a:pt x="192" y="258"/>
                  </a:lnTo>
                  <a:lnTo>
                    <a:pt x="192" y="258"/>
                  </a:lnTo>
                  <a:lnTo>
                    <a:pt x="192" y="262"/>
                  </a:lnTo>
                  <a:lnTo>
                    <a:pt x="194" y="266"/>
                  </a:lnTo>
                  <a:lnTo>
                    <a:pt x="198" y="270"/>
                  </a:lnTo>
                  <a:lnTo>
                    <a:pt x="208" y="276"/>
                  </a:lnTo>
                  <a:lnTo>
                    <a:pt x="220" y="286"/>
                  </a:lnTo>
                  <a:lnTo>
                    <a:pt x="220" y="286"/>
                  </a:lnTo>
                  <a:lnTo>
                    <a:pt x="226" y="292"/>
                  </a:lnTo>
                  <a:lnTo>
                    <a:pt x="230" y="296"/>
                  </a:lnTo>
                  <a:lnTo>
                    <a:pt x="230" y="300"/>
                  </a:lnTo>
                  <a:lnTo>
                    <a:pt x="228" y="300"/>
                  </a:lnTo>
                  <a:lnTo>
                    <a:pt x="224" y="302"/>
                  </a:lnTo>
                  <a:lnTo>
                    <a:pt x="224" y="302"/>
                  </a:lnTo>
                  <a:lnTo>
                    <a:pt x="226" y="304"/>
                  </a:lnTo>
                  <a:lnTo>
                    <a:pt x="226" y="304"/>
                  </a:lnTo>
                  <a:lnTo>
                    <a:pt x="232" y="308"/>
                  </a:lnTo>
                  <a:lnTo>
                    <a:pt x="224" y="310"/>
                  </a:lnTo>
                  <a:lnTo>
                    <a:pt x="224" y="310"/>
                  </a:lnTo>
                  <a:lnTo>
                    <a:pt x="218" y="312"/>
                  </a:lnTo>
                  <a:lnTo>
                    <a:pt x="216" y="310"/>
                  </a:lnTo>
                  <a:lnTo>
                    <a:pt x="216" y="308"/>
                  </a:lnTo>
                  <a:lnTo>
                    <a:pt x="216" y="306"/>
                  </a:lnTo>
                  <a:lnTo>
                    <a:pt x="210" y="308"/>
                  </a:lnTo>
                  <a:lnTo>
                    <a:pt x="210" y="308"/>
                  </a:lnTo>
                  <a:lnTo>
                    <a:pt x="202" y="310"/>
                  </a:lnTo>
                  <a:lnTo>
                    <a:pt x="196" y="310"/>
                  </a:lnTo>
                  <a:lnTo>
                    <a:pt x="190" y="310"/>
                  </a:lnTo>
                  <a:lnTo>
                    <a:pt x="186" y="312"/>
                  </a:lnTo>
                  <a:lnTo>
                    <a:pt x="186" y="312"/>
                  </a:lnTo>
                  <a:lnTo>
                    <a:pt x="182" y="312"/>
                  </a:lnTo>
                  <a:lnTo>
                    <a:pt x="180" y="312"/>
                  </a:lnTo>
                  <a:lnTo>
                    <a:pt x="178" y="310"/>
                  </a:lnTo>
                  <a:lnTo>
                    <a:pt x="174" y="312"/>
                  </a:lnTo>
                  <a:lnTo>
                    <a:pt x="174" y="312"/>
                  </a:lnTo>
                  <a:lnTo>
                    <a:pt x="170" y="316"/>
                  </a:lnTo>
                  <a:lnTo>
                    <a:pt x="168" y="316"/>
                  </a:lnTo>
                  <a:lnTo>
                    <a:pt x="166" y="316"/>
                  </a:lnTo>
                  <a:lnTo>
                    <a:pt x="162" y="322"/>
                  </a:lnTo>
                  <a:lnTo>
                    <a:pt x="162" y="322"/>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9" name="Oman"/>
            <p:cNvSpPr>
              <a:spLocks/>
            </p:cNvSpPr>
            <p:nvPr/>
          </p:nvSpPr>
          <p:spPr bwMode="auto">
            <a:xfrm>
              <a:off x="5570768" y="2784740"/>
              <a:ext cx="206375" cy="272521"/>
            </a:xfrm>
            <a:custGeom>
              <a:avLst/>
              <a:gdLst/>
              <a:ahLst/>
              <a:cxnLst>
                <a:cxn ang="0">
                  <a:pos x="40" y="206"/>
                </a:cxn>
                <a:cxn ang="0">
                  <a:pos x="54" y="200"/>
                </a:cxn>
                <a:cxn ang="0">
                  <a:pos x="58" y="198"/>
                </a:cxn>
                <a:cxn ang="0">
                  <a:pos x="72" y="194"/>
                </a:cxn>
                <a:cxn ang="0">
                  <a:pos x="80" y="190"/>
                </a:cxn>
                <a:cxn ang="0">
                  <a:pos x="84" y="182"/>
                </a:cxn>
                <a:cxn ang="0">
                  <a:pos x="84" y="176"/>
                </a:cxn>
                <a:cxn ang="0">
                  <a:pos x="90" y="174"/>
                </a:cxn>
                <a:cxn ang="0">
                  <a:pos x="102" y="172"/>
                </a:cxn>
                <a:cxn ang="0">
                  <a:pos x="108" y="166"/>
                </a:cxn>
                <a:cxn ang="0">
                  <a:pos x="108" y="162"/>
                </a:cxn>
                <a:cxn ang="0">
                  <a:pos x="110" y="150"/>
                </a:cxn>
                <a:cxn ang="0">
                  <a:pos x="120" y="144"/>
                </a:cxn>
                <a:cxn ang="0">
                  <a:pos x="126" y="144"/>
                </a:cxn>
                <a:cxn ang="0">
                  <a:pos x="134" y="146"/>
                </a:cxn>
                <a:cxn ang="0">
                  <a:pos x="128" y="132"/>
                </a:cxn>
                <a:cxn ang="0">
                  <a:pos x="128" y="126"/>
                </a:cxn>
                <a:cxn ang="0">
                  <a:pos x="130" y="108"/>
                </a:cxn>
                <a:cxn ang="0">
                  <a:pos x="136" y="100"/>
                </a:cxn>
                <a:cxn ang="0">
                  <a:pos x="136" y="100"/>
                </a:cxn>
                <a:cxn ang="0">
                  <a:pos x="142" y="98"/>
                </a:cxn>
                <a:cxn ang="0">
                  <a:pos x="150" y="74"/>
                </a:cxn>
                <a:cxn ang="0">
                  <a:pos x="154" y="66"/>
                </a:cxn>
                <a:cxn ang="0">
                  <a:pos x="156" y="62"/>
                </a:cxn>
                <a:cxn ang="0">
                  <a:pos x="152" y="60"/>
                </a:cxn>
                <a:cxn ang="0">
                  <a:pos x="150" y="58"/>
                </a:cxn>
                <a:cxn ang="0">
                  <a:pos x="144" y="52"/>
                </a:cxn>
                <a:cxn ang="0">
                  <a:pos x="142" y="46"/>
                </a:cxn>
                <a:cxn ang="0">
                  <a:pos x="140" y="40"/>
                </a:cxn>
                <a:cxn ang="0">
                  <a:pos x="136" y="36"/>
                </a:cxn>
                <a:cxn ang="0">
                  <a:pos x="132" y="34"/>
                </a:cxn>
                <a:cxn ang="0">
                  <a:pos x="128" y="34"/>
                </a:cxn>
                <a:cxn ang="0">
                  <a:pos x="122" y="30"/>
                </a:cxn>
                <a:cxn ang="0">
                  <a:pos x="106" y="22"/>
                </a:cxn>
                <a:cxn ang="0">
                  <a:pos x="96" y="14"/>
                </a:cxn>
                <a:cxn ang="0">
                  <a:pos x="96" y="12"/>
                </a:cxn>
                <a:cxn ang="0">
                  <a:pos x="86" y="6"/>
                </a:cxn>
                <a:cxn ang="0">
                  <a:pos x="82" y="0"/>
                </a:cxn>
                <a:cxn ang="0">
                  <a:pos x="78" y="2"/>
                </a:cxn>
                <a:cxn ang="0">
                  <a:pos x="70" y="4"/>
                </a:cxn>
                <a:cxn ang="0">
                  <a:pos x="68" y="12"/>
                </a:cxn>
                <a:cxn ang="0">
                  <a:pos x="68" y="20"/>
                </a:cxn>
                <a:cxn ang="0">
                  <a:pos x="74" y="26"/>
                </a:cxn>
                <a:cxn ang="0">
                  <a:pos x="74" y="28"/>
                </a:cxn>
                <a:cxn ang="0">
                  <a:pos x="68" y="32"/>
                </a:cxn>
                <a:cxn ang="0">
                  <a:pos x="60" y="36"/>
                </a:cxn>
                <a:cxn ang="0">
                  <a:pos x="60" y="36"/>
                </a:cxn>
                <a:cxn ang="0">
                  <a:pos x="64" y="42"/>
                </a:cxn>
                <a:cxn ang="0">
                  <a:pos x="64" y="46"/>
                </a:cxn>
                <a:cxn ang="0">
                  <a:pos x="58" y="54"/>
                </a:cxn>
                <a:cxn ang="0">
                  <a:pos x="56" y="64"/>
                </a:cxn>
                <a:cxn ang="0">
                  <a:pos x="70" y="76"/>
                </a:cxn>
                <a:cxn ang="0">
                  <a:pos x="0" y="154"/>
                </a:cxn>
                <a:cxn ang="0">
                  <a:pos x="0" y="164"/>
                </a:cxn>
                <a:cxn ang="0">
                  <a:pos x="4" y="176"/>
                </a:cxn>
                <a:cxn ang="0">
                  <a:pos x="18" y="184"/>
                </a:cxn>
                <a:cxn ang="0">
                  <a:pos x="28" y="188"/>
                </a:cxn>
                <a:cxn ang="0">
                  <a:pos x="34" y="192"/>
                </a:cxn>
                <a:cxn ang="0">
                  <a:pos x="30" y="198"/>
                </a:cxn>
                <a:cxn ang="0">
                  <a:pos x="34" y="204"/>
                </a:cxn>
                <a:cxn ang="0">
                  <a:pos x="40" y="206"/>
                </a:cxn>
              </a:cxnLst>
              <a:rect l="0" t="0" r="r" b="b"/>
              <a:pathLst>
                <a:path w="156" h="206">
                  <a:moveTo>
                    <a:pt x="40" y="206"/>
                  </a:moveTo>
                  <a:lnTo>
                    <a:pt x="40" y="206"/>
                  </a:lnTo>
                  <a:lnTo>
                    <a:pt x="46" y="204"/>
                  </a:lnTo>
                  <a:lnTo>
                    <a:pt x="54" y="200"/>
                  </a:lnTo>
                  <a:lnTo>
                    <a:pt x="54" y="200"/>
                  </a:lnTo>
                  <a:lnTo>
                    <a:pt x="58" y="198"/>
                  </a:lnTo>
                  <a:lnTo>
                    <a:pt x="66" y="196"/>
                  </a:lnTo>
                  <a:lnTo>
                    <a:pt x="72" y="194"/>
                  </a:lnTo>
                  <a:lnTo>
                    <a:pt x="80" y="190"/>
                  </a:lnTo>
                  <a:lnTo>
                    <a:pt x="80" y="190"/>
                  </a:lnTo>
                  <a:lnTo>
                    <a:pt x="84" y="184"/>
                  </a:lnTo>
                  <a:lnTo>
                    <a:pt x="84" y="182"/>
                  </a:lnTo>
                  <a:lnTo>
                    <a:pt x="84" y="180"/>
                  </a:lnTo>
                  <a:lnTo>
                    <a:pt x="84" y="176"/>
                  </a:lnTo>
                  <a:lnTo>
                    <a:pt x="84" y="176"/>
                  </a:lnTo>
                  <a:lnTo>
                    <a:pt x="90" y="174"/>
                  </a:lnTo>
                  <a:lnTo>
                    <a:pt x="98" y="172"/>
                  </a:lnTo>
                  <a:lnTo>
                    <a:pt x="102" y="172"/>
                  </a:lnTo>
                  <a:lnTo>
                    <a:pt x="106" y="170"/>
                  </a:lnTo>
                  <a:lnTo>
                    <a:pt x="108" y="166"/>
                  </a:lnTo>
                  <a:lnTo>
                    <a:pt x="108" y="162"/>
                  </a:lnTo>
                  <a:lnTo>
                    <a:pt x="108" y="162"/>
                  </a:lnTo>
                  <a:lnTo>
                    <a:pt x="108" y="156"/>
                  </a:lnTo>
                  <a:lnTo>
                    <a:pt x="110" y="150"/>
                  </a:lnTo>
                  <a:lnTo>
                    <a:pt x="116" y="144"/>
                  </a:lnTo>
                  <a:lnTo>
                    <a:pt x="120" y="144"/>
                  </a:lnTo>
                  <a:lnTo>
                    <a:pt x="126" y="144"/>
                  </a:lnTo>
                  <a:lnTo>
                    <a:pt x="126" y="144"/>
                  </a:lnTo>
                  <a:lnTo>
                    <a:pt x="132" y="146"/>
                  </a:lnTo>
                  <a:lnTo>
                    <a:pt x="134" y="146"/>
                  </a:lnTo>
                  <a:lnTo>
                    <a:pt x="134" y="144"/>
                  </a:lnTo>
                  <a:lnTo>
                    <a:pt x="128" y="132"/>
                  </a:lnTo>
                  <a:lnTo>
                    <a:pt x="128" y="132"/>
                  </a:lnTo>
                  <a:lnTo>
                    <a:pt x="128" y="126"/>
                  </a:lnTo>
                  <a:lnTo>
                    <a:pt x="126" y="120"/>
                  </a:lnTo>
                  <a:lnTo>
                    <a:pt x="130" y="108"/>
                  </a:lnTo>
                  <a:lnTo>
                    <a:pt x="134" y="100"/>
                  </a:lnTo>
                  <a:lnTo>
                    <a:pt x="136" y="100"/>
                  </a:lnTo>
                  <a:lnTo>
                    <a:pt x="136" y="100"/>
                  </a:lnTo>
                  <a:lnTo>
                    <a:pt x="136" y="100"/>
                  </a:lnTo>
                  <a:lnTo>
                    <a:pt x="140" y="102"/>
                  </a:lnTo>
                  <a:lnTo>
                    <a:pt x="142" y="98"/>
                  </a:lnTo>
                  <a:lnTo>
                    <a:pt x="146" y="88"/>
                  </a:lnTo>
                  <a:lnTo>
                    <a:pt x="150" y="74"/>
                  </a:lnTo>
                  <a:lnTo>
                    <a:pt x="154" y="66"/>
                  </a:lnTo>
                  <a:lnTo>
                    <a:pt x="154" y="66"/>
                  </a:lnTo>
                  <a:lnTo>
                    <a:pt x="156" y="64"/>
                  </a:lnTo>
                  <a:lnTo>
                    <a:pt x="156" y="62"/>
                  </a:lnTo>
                  <a:lnTo>
                    <a:pt x="154" y="60"/>
                  </a:lnTo>
                  <a:lnTo>
                    <a:pt x="152" y="60"/>
                  </a:lnTo>
                  <a:lnTo>
                    <a:pt x="152" y="60"/>
                  </a:lnTo>
                  <a:lnTo>
                    <a:pt x="150" y="58"/>
                  </a:lnTo>
                  <a:lnTo>
                    <a:pt x="146" y="56"/>
                  </a:lnTo>
                  <a:lnTo>
                    <a:pt x="144" y="52"/>
                  </a:lnTo>
                  <a:lnTo>
                    <a:pt x="142" y="46"/>
                  </a:lnTo>
                  <a:lnTo>
                    <a:pt x="142" y="46"/>
                  </a:lnTo>
                  <a:lnTo>
                    <a:pt x="140" y="40"/>
                  </a:lnTo>
                  <a:lnTo>
                    <a:pt x="140" y="40"/>
                  </a:lnTo>
                  <a:lnTo>
                    <a:pt x="138" y="40"/>
                  </a:lnTo>
                  <a:lnTo>
                    <a:pt x="136" y="36"/>
                  </a:lnTo>
                  <a:lnTo>
                    <a:pt x="136" y="36"/>
                  </a:lnTo>
                  <a:lnTo>
                    <a:pt x="132" y="34"/>
                  </a:lnTo>
                  <a:lnTo>
                    <a:pt x="130" y="34"/>
                  </a:lnTo>
                  <a:lnTo>
                    <a:pt x="128" y="34"/>
                  </a:lnTo>
                  <a:lnTo>
                    <a:pt x="122" y="30"/>
                  </a:lnTo>
                  <a:lnTo>
                    <a:pt x="122" y="30"/>
                  </a:lnTo>
                  <a:lnTo>
                    <a:pt x="114" y="26"/>
                  </a:lnTo>
                  <a:lnTo>
                    <a:pt x="106" y="22"/>
                  </a:lnTo>
                  <a:lnTo>
                    <a:pt x="100" y="18"/>
                  </a:lnTo>
                  <a:lnTo>
                    <a:pt x="96" y="14"/>
                  </a:lnTo>
                  <a:lnTo>
                    <a:pt x="96" y="14"/>
                  </a:lnTo>
                  <a:lnTo>
                    <a:pt x="96" y="12"/>
                  </a:lnTo>
                  <a:lnTo>
                    <a:pt x="92" y="8"/>
                  </a:lnTo>
                  <a:lnTo>
                    <a:pt x="86" y="6"/>
                  </a:lnTo>
                  <a:lnTo>
                    <a:pt x="82" y="0"/>
                  </a:lnTo>
                  <a:lnTo>
                    <a:pt x="82" y="0"/>
                  </a:lnTo>
                  <a:lnTo>
                    <a:pt x="80" y="2"/>
                  </a:lnTo>
                  <a:lnTo>
                    <a:pt x="78" y="2"/>
                  </a:lnTo>
                  <a:lnTo>
                    <a:pt x="74" y="2"/>
                  </a:lnTo>
                  <a:lnTo>
                    <a:pt x="70" y="4"/>
                  </a:lnTo>
                  <a:lnTo>
                    <a:pt x="68" y="8"/>
                  </a:lnTo>
                  <a:lnTo>
                    <a:pt x="68" y="12"/>
                  </a:lnTo>
                  <a:lnTo>
                    <a:pt x="68" y="12"/>
                  </a:lnTo>
                  <a:lnTo>
                    <a:pt x="68" y="20"/>
                  </a:lnTo>
                  <a:lnTo>
                    <a:pt x="72" y="24"/>
                  </a:lnTo>
                  <a:lnTo>
                    <a:pt x="74" y="26"/>
                  </a:lnTo>
                  <a:lnTo>
                    <a:pt x="74" y="28"/>
                  </a:lnTo>
                  <a:lnTo>
                    <a:pt x="74" y="28"/>
                  </a:lnTo>
                  <a:lnTo>
                    <a:pt x="70" y="32"/>
                  </a:lnTo>
                  <a:lnTo>
                    <a:pt x="68" y="32"/>
                  </a:lnTo>
                  <a:lnTo>
                    <a:pt x="64" y="32"/>
                  </a:lnTo>
                  <a:lnTo>
                    <a:pt x="60" y="36"/>
                  </a:lnTo>
                  <a:lnTo>
                    <a:pt x="60" y="36"/>
                  </a:lnTo>
                  <a:lnTo>
                    <a:pt x="60" y="36"/>
                  </a:lnTo>
                  <a:lnTo>
                    <a:pt x="62" y="38"/>
                  </a:lnTo>
                  <a:lnTo>
                    <a:pt x="64" y="42"/>
                  </a:lnTo>
                  <a:lnTo>
                    <a:pt x="64" y="46"/>
                  </a:lnTo>
                  <a:lnTo>
                    <a:pt x="64" y="46"/>
                  </a:lnTo>
                  <a:lnTo>
                    <a:pt x="60" y="52"/>
                  </a:lnTo>
                  <a:lnTo>
                    <a:pt x="58" y="54"/>
                  </a:lnTo>
                  <a:lnTo>
                    <a:pt x="56" y="56"/>
                  </a:lnTo>
                  <a:lnTo>
                    <a:pt x="56" y="64"/>
                  </a:lnTo>
                  <a:lnTo>
                    <a:pt x="56" y="64"/>
                  </a:lnTo>
                  <a:lnTo>
                    <a:pt x="70" y="76"/>
                  </a:lnTo>
                  <a:lnTo>
                    <a:pt x="60" y="126"/>
                  </a:lnTo>
                  <a:lnTo>
                    <a:pt x="0" y="154"/>
                  </a:lnTo>
                  <a:lnTo>
                    <a:pt x="0" y="154"/>
                  </a:lnTo>
                  <a:lnTo>
                    <a:pt x="0" y="164"/>
                  </a:lnTo>
                  <a:lnTo>
                    <a:pt x="2" y="172"/>
                  </a:lnTo>
                  <a:lnTo>
                    <a:pt x="4" y="176"/>
                  </a:lnTo>
                  <a:lnTo>
                    <a:pt x="10" y="180"/>
                  </a:lnTo>
                  <a:lnTo>
                    <a:pt x="18" y="184"/>
                  </a:lnTo>
                  <a:lnTo>
                    <a:pt x="28" y="188"/>
                  </a:lnTo>
                  <a:lnTo>
                    <a:pt x="28" y="188"/>
                  </a:lnTo>
                  <a:lnTo>
                    <a:pt x="32" y="190"/>
                  </a:lnTo>
                  <a:lnTo>
                    <a:pt x="34" y="192"/>
                  </a:lnTo>
                  <a:lnTo>
                    <a:pt x="32" y="196"/>
                  </a:lnTo>
                  <a:lnTo>
                    <a:pt x="30" y="198"/>
                  </a:lnTo>
                  <a:lnTo>
                    <a:pt x="30" y="202"/>
                  </a:lnTo>
                  <a:lnTo>
                    <a:pt x="34" y="204"/>
                  </a:lnTo>
                  <a:lnTo>
                    <a:pt x="40" y="206"/>
                  </a:lnTo>
                  <a:lnTo>
                    <a:pt x="40" y="206"/>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0" name="Freeform 175"/>
            <p:cNvSpPr>
              <a:spLocks/>
            </p:cNvSpPr>
            <p:nvPr/>
          </p:nvSpPr>
          <p:spPr bwMode="auto">
            <a:xfrm>
              <a:off x="6528559" y="2663031"/>
              <a:ext cx="89958" cy="42333"/>
            </a:xfrm>
            <a:custGeom>
              <a:avLst/>
              <a:gdLst/>
              <a:ahLst/>
              <a:cxnLst>
                <a:cxn ang="0">
                  <a:pos x="0" y="22"/>
                </a:cxn>
                <a:cxn ang="0">
                  <a:pos x="0" y="22"/>
                </a:cxn>
                <a:cxn ang="0">
                  <a:pos x="4" y="10"/>
                </a:cxn>
                <a:cxn ang="0">
                  <a:pos x="8" y="4"/>
                </a:cxn>
                <a:cxn ang="0">
                  <a:pos x="14" y="0"/>
                </a:cxn>
                <a:cxn ang="0">
                  <a:pos x="22" y="0"/>
                </a:cxn>
                <a:cxn ang="0">
                  <a:pos x="22" y="0"/>
                </a:cxn>
                <a:cxn ang="0">
                  <a:pos x="32" y="0"/>
                </a:cxn>
                <a:cxn ang="0">
                  <a:pos x="38" y="2"/>
                </a:cxn>
                <a:cxn ang="0">
                  <a:pos x="42" y="4"/>
                </a:cxn>
                <a:cxn ang="0">
                  <a:pos x="46" y="6"/>
                </a:cxn>
                <a:cxn ang="0">
                  <a:pos x="46" y="6"/>
                </a:cxn>
                <a:cxn ang="0">
                  <a:pos x="48" y="8"/>
                </a:cxn>
                <a:cxn ang="0">
                  <a:pos x="50" y="6"/>
                </a:cxn>
                <a:cxn ang="0">
                  <a:pos x="50" y="6"/>
                </a:cxn>
                <a:cxn ang="0">
                  <a:pos x="52" y="10"/>
                </a:cxn>
                <a:cxn ang="0">
                  <a:pos x="54" y="12"/>
                </a:cxn>
                <a:cxn ang="0">
                  <a:pos x="64" y="12"/>
                </a:cxn>
                <a:cxn ang="0">
                  <a:pos x="64" y="12"/>
                </a:cxn>
                <a:cxn ang="0">
                  <a:pos x="66" y="14"/>
                </a:cxn>
                <a:cxn ang="0">
                  <a:pos x="68" y="18"/>
                </a:cxn>
                <a:cxn ang="0">
                  <a:pos x="68" y="28"/>
                </a:cxn>
                <a:cxn ang="0">
                  <a:pos x="68" y="28"/>
                </a:cxn>
                <a:cxn ang="0">
                  <a:pos x="68" y="28"/>
                </a:cxn>
                <a:cxn ang="0">
                  <a:pos x="66" y="30"/>
                </a:cxn>
                <a:cxn ang="0">
                  <a:pos x="58" y="28"/>
                </a:cxn>
                <a:cxn ang="0">
                  <a:pos x="50" y="28"/>
                </a:cxn>
                <a:cxn ang="0">
                  <a:pos x="42" y="30"/>
                </a:cxn>
                <a:cxn ang="0">
                  <a:pos x="42" y="30"/>
                </a:cxn>
                <a:cxn ang="0">
                  <a:pos x="38" y="32"/>
                </a:cxn>
                <a:cxn ang="0">
                  <a:pos x="32" y="32"/>
                </a:cxn>
                <a:cxn ang="0">
                  <a:pos x="28" y="30"/>
                </a:cxn>
                <a:cxn ang="0">
                  <a:pos x="24" y="26"/>
                </a:cxn>
                <a:cxn ang="0">
                  <a:pos x="24" y="26"/>
                </a:cxn>
                <a:cxn ang="0">
                  <a:pos x="20" y="24"/>
                </a:cxn>
                <a:cxn ang="0">
                  <a:pos x="12" y="24"/>
                </a:cxn>
                <a:cxn ang="0">
                  <a:pos x="6" y="24"/>
                </a:cxn>
                <a:cxn ang="0">
                  <a:pos x="0" y="22"/>
                </a:cxn>
                <a:cxn ang="0">
                  <a:pos x="0" y="22"/>
                </a:cxn>
              </a:cxnLst>
              <a:rect l="0" t="0" r="r" b="b"/>
              <a:pathLst>
                <a:path w="68" h="32">
                  <a:moveTo>
                    <a:pt x="0" y="22"/>
                  </a:moveTo>
                  <a:lnTo>
                    <a:pt x="0" y="22"/>
                  </a:lnTo>
                  <a:lnTo>
                    <a:pt x="4" y="10"/>
                  </a:lnTo>
                  <a:lnTo>
                    <a:pt x="8" y="4"/>
                  </a:lnTo>
                  <a:lnTo>
                    <a:pt x="14" y="0"/>
                  </a:lnTo>
                  <a:lnTo>
                    <a:pt x="22" y="0"/>
                  </a:lnTo>
                  <a:lnTo>
                    <a:pt x="22" y="0"/>
                  </a:lnTo>
                  <a:lnTo>
                    <a:pt x="32" y="0"/>
                  </a:lnTo>
                  <a:lnTo>
                    <a:pt x="38" y="2"/>
                  </a:lnTo>
                  <a:lnTo>
                    <a:pt x="42" y="4"/>
                  </a:lnTo>
                  <a:lnTo>
                    <a:pt x="46" y="6"/>
                  </a:lnTo>
                  <a:lnTo>
                    <a:pt x="46" y="6"/>
                  </a:lnTo>
                  <a:lnTo>
                    <a:pt x="48" y="8"/>
                  </a:lnTo>
                  <a:lnTo>
                    <a:pt x="50" y="6"/>
                  </a:lnTo>
                  <a:lnTo>
                    <a:pt x="50" y="6"/>
                  </a:lnTo>
                  <a:lnTo>
                    <a:pt x="52" y="10"/>
                  </a:lnTo>
                  <a:lnTo>
                    <a:pt x="54" y="12"/>
                  </a:lnTo>
                  <a:lnTo>
                    <a:pt x="64" y="12"/>
                  </a:lnTo>
                  <a:lnTo>
                    <a:pt x="64" y="12"/>
                  </a:lnTo>
                  <a:lnTo>
                    <a:pt x="66" y="14"/>
                  </a:lnTo>
                  <a:lnTo>
                    <a:pt x="68" y="18"/>
                  </a:lnTo>
                  <a:lnTo>
                    <a:pt x="68" y="28"/>
                  </a:lnTo>
                  <a:lnTo>
                    <a:pt x="68" y="28"/>
                  </a:lnTo>
                  <a:lnTo>
                    <a:pt x="68" y="28"/>
                  </a:lnTo>
                  <a:lnTo>
                    <a:pt x="66" y="30"/>
                  </a:lnTo>
                  <a:lnTo>
                    <a:pt x="58" y="28"/>
                  </a:lnTo>
                  <a:lnTo>
                    <a:pt x="50" y="28"/>
                  </a:lnTo>
                  <a:lnTo>
                    <a:pt x="42" y="30"/>
                  </a:lnTo>
                  <a:lnTo>
                    <a:pt x="42" y="30"/>
                  </a:lnTo>
                  <a:lnTo>
                    <a:pt x="38" y="32"/>
                  </a:lnTo>
                  <a:lnTo>
                    <a:pt x="32" y="32"/>
                  </a:lnTo>
                  <a:lnTo>
                    <a:pt x="28" y="30"/>
                  </a:lnTo>
                  <a:lnTo>
                    <a:pt x="24" y="26"/>
                  </a:lnTo>
                  <a:lnTo>
                    <a:pt x="24" y="26"/>
                  </a:lnTo>
                  <a:lnTo>
                    <a:pt x="20" y="24"/>
                  </a:lnTo>
                  <a:lnTo>
                    <a:pt x="12" y="24"/>
                  </a:lnTo>
                  <a:lnTo>
                    <a:pt x="6" y="24"/>
                  </a:lnTo>
                  <a:lnTo>
                    <a:pt x="0" y="22"/>
                  </a:lnTo>
                  <a:lnTo>
                    <a:pt x="0" y="22"/>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1" name="Freeform 176"/>
            <p:cNvSpPr>
              <a:spLocks/>
            </p:cNvSpPr>
            <p:nvPr/>
          </p:nvSpPr>
          <p:spPr bwMode="auto">
            <a:xfrm>
              <a:off x="6277205" y="2620698"/>
              <a:ext cx="235479" cy="121708"/>
            </a:xfrm>
            <a:custGeom>
              <a:avLst/>
              <a:gdLst/>
              <a:ahLst/>
              <a:cxnLst>
                <a:cxn ang="0">
                  <a:pos x="24" y="0"/>
                </a:cxn>
                <a:cxn ang="0">
                  <a:pos x="36" y="2"/>
                </a:cxn>
                <a:cxn ang="0">
                  <a:pos x="48" y="6"/>
                </a:cxn>
                <a:cxn ang="0">
                  <a:pos x="52" y="8"/>
                </a:cxn>
                <a:cxn ang="0">
                  <a:pos x="58" y="6"/>
                </a:cxn>
                <a:cxn ang="0">
                  <a:pos x="70" y="8"/>
                </a:cxn>
                <a:cxn ang="0">
                  <a:pos x="76" y="12"/>
                </a:cxn>
                <a:cxn ang="0">
                  <a:pos x="100" y="26"/>
                </a:cxn>
                <a:cxn ang="0">
                  <a:pos x="110" y="30"/>
                </a:cxn>
                <a:cxn ang="0">
                  <a:pos x="112" y="34"/>
                </a:cxn>
                <a:cxn ang="0">
                  <a:pos x="118" y="34"/>
                </a:cxn>
                <a:cxn ang="0">
                  <a:pos x="126" y="36"/>
                </a:cxn>
                <a:cxn ang="0">
                  <a:pos x="128" y="42"/>
                </a:cxn>
                <a:cxn ang="0">
                  <a:pos x="132" y="42"/>
                </a:cxn>
                <a:cxn ang="0">
                  <a:pos x="156" y="40"/>
                </a:cxn>
                <a:cxn ang="0">
                  <a:pos x="176" y="46"/>
                </a:cxn>
                <a:cxn ang="0">
                  <a:pos x="178" y="50"/>
                </a:cxn>
                <a:cxn ang="0">
                  <a:pos x="172" y="60"/>
                </a:cxn>
                <a:cxn ang="0">
                  <a:pos x="164" y="70"/>
                </a:cxn>
                <a:cxn ang="0">
                  <a:pos x="166" y="72"/>
                </a:cxn>
                <a:cxn ang="0">
                  <a:pos x="168" y="84"/>
                </a:cxn>
                <a:cxn ang="0">
                  <a:pos x="164" y="92"/>
                </a:cxn>
                <a:cxn ang="0">
                  <a:pos x="156" y="92"/>
                </a:cxn>
                <a:cxn ang="0">
                  <a:pos x="150" y="92"/>
                </a:cxn>
                <a:cxn ang="0">
                  <a:pos x="146" y="92"/>
                </a:cxn>
                <a:cxn ang="0">
                  <a:pos x="138" y="90"/>
                </a:cxn>
                <a:cxn ang="0">
                  <a:pos x="128" y="88"/>
                </a:cxn>
                <a:cxn ang="0">
                  <a:pos x="122" y="88"/>
                </a:cxn>
                <a:cxn ang="0">
                  <a:pos x="116" y="82"/>
                </a:cxn>
                <a:cxn ang="0">
                  <a:pos x="112" y="82"/>
                </a:cxn>
                <a:cxn ang="0">
                  <a:pos x="110" y="80"/>
                </a:cxn>
                <a:cxn ang="0">
                  <a:pos x="102" y="72"/>
                </a:cxn>
                <a:cxn ang="0">
                  <a:pos x="84" y="66"/>
                </a:cxn>
                <a:cxn ang="0">
                  <a:pos x="76" y="66"/>
                </a:cxn>
                <a:cxn ang="0">
                  <a:pos x="74" y="68"/>
                </a:cxn>
                <a:cxn ang="0">
                  <a:pos x="70" y="68"/>
                </a:cxn>
                <a:cxn ang="0">
                  <a:pos x="58" y="66"/>
                </a:cxn>
                <a:cxn ang="0">
                  <a:pos x="54" y="64"/>
                </a:cxn>
                <a:cxn ang="0">
                  <a:pos x="54" y="60"/>
                </a:cxn>
                <a:cxn ang="0">
                  <a:pos x="40" y="56"/>
                </a:cxn>
                <a:cxn ang="0">
                  <a:pos x="24" y="46"/>
                </a:cxn>
                <a:cxn ang="0">
                  <a:pos x="20" y="42"/>
                </a:cxn>
                <a:cxn ang="0">
                  <a:pos x="10" y="42"/>
                </a:cxn>
                <a:cxn ang="0">
                  <a:pos x="4" y="38"/>
                </a:cxn>
                <a:cxn ang="0">
                  <a:pos x="2" y="32"/>
                </a:cxn>
                <a:cxn ang="0">
                  <a:pos x="14" y="22"/>
                </a:cxn>
                <a:cxn ang="0">
                  <a:pos x="18" y="16"/>
                </a:cxn>
                <a:cxn ang="0">
                  <a:pos x="16" y="12"/>
                </a:cxn>
                <a:cxn ang="0">
                  <a:pos x="18" y="10"/>
                </a:cxn>
                <a:cxn ang="0">
                  <a:pos x="24" y="0"/>
                </a:cxn>
              </a:cxnLst>
              <a:rect l="0" t="0" r="r" b="b"/>
              <a:pathLst>
                <a:path w="178" h="92">
                  <a:moveTo>
                    <a:pt x="24" y="0"/>
                  </a:moveTo>
                  <a:lnTo>
                    <a:pt x="24" y="0"/>
                  </a:lnTo>
                  <a:lnTo>
                    <a:pt x="30" y="2"/>
                  </a:lnTo>
                  <a:lnTo>
                    <a:pt x="36" y="2"/>
                  </a:lnTo>
                  <a:lnTo>
                    <a:pt x="42" y="2"/>
                  </a:lnTo>
                  <a:lnTo>
                    <a:pt x="48" y="6"/>
                  </a:lnTo>
                  <a:lnTo>
                    <a:pt x="48" y="6"/>
                  </a:lnTo>
                  <a:lnTo>
                    <a:pt x="52" y="8"/>
                  </a:lnTo>
                  <a:lnTo>
                    <a:pt x="54" y="8"/>
                  </a:lnTo>
                  <a:lnTo>
                    <a:pt x="58" y="6"/>
                  </a:lnTo>
                  <a:lnTo>
                    <a:pt x="64" y="6"/>
                  </a:lnTo>
                  <a:lnTo>
                    <a:pt x="70" y="8"/>
                  </a:lnTo>
                  <a:lnTo>
                    <a:pt x="76" y="12"/>
                  </a:lnTo>
                  <a:lnTo>
                    <a:pt x="76" y="12"/>
                  </a:lnTo>
                  <a:lnTo>
                    <a:pt x="92" y="22"/>
                  </a:lnTo>
                  <a:lnTo>
                    <a:pt x="100" y="26"/>
                  </a:lnTo>
                  <a:lnTo>
                    <a:pt x="106" y="26"/>
                  </a:lnTo>
                  <a:lnTo>
                    <a:pt x="110" y="30"/>
                  </a:lnTo>
                  <a:lnTo>
                    <a:pt x="110" y="30"/>
                  </a:lnTo>
                  <a:lnTo>
                    <a:pt x="112" y="34"/>
                  </a:lnTo>
                  <a:lnTo>
                    <a:pt x="114" y="36"/>
                  </a:lnTo>
                  <a:lnTo>
                    <a:pt x="118" y="34"/>
                  </a:lnTo>
                  <a:lnTo>
                    <a:pt x="124" y="34"/>
                  </a:lnTo>
                  <a:lnTo>
                    <a:pt x="126" y="36"/>
                  </a:lnTo>
                  <a:lnTo>
                    <a:pt x="128" y="42"/>
                  </a:lnTo>
                  <a:lnTo>
                    <a:pt x="128" y="42"/>
                  </a:lnTo>
                  <a:lnTo>
                    <a:pt x="130" y="42"/>
                  </a:lnTo>
                  <a:lnTo>
                    <a:pt x="132" y="42"/>
                  </a:lnTo>
                  <a:lnTo>
                    <a:pt x="140" y="40"/>
                  </a:lnTo>
                  <a:lnTo>
                    <a:pt x="156" y="40"/>
                  </a:lnTo>
                  <a:lnTo>
                    <a:pt x="164" y="42"/>
                  </a:lnTo>
                  <a:lnTo>
                    <a:pt x="176" y="46"/>
                  </a:lnTo>
                  <a:lnTo>
                    <a:pt x="176" y="46"/>
                  </a:lnTo>
                  <a:lnTo>
                    <a:pt x="178" y="50"/>
                  </a:lnTo>
                  <a:lnTo>
                    <a:pt x="178" y="54"/>
                  </a:lnTo>
                  <a:lnTo>
                    <a:pt x="172" y="60"/>
                  </a:lnTo>
                  <a:lnTo>
                    <a:pt x="166" y="66"/>
                  </a:lnTo>
                  <a:lnTo>
                    <a:pt x="164" y="70"/>
                  </a:lnTo>
                  <a:lnTo>
                    <a:pt x="166" y="72"/>
                  </a:lnTo>
                  <a:lnTo>
                    <a:pt x="166" y="72"/>
                  </a:lnTo>
                  <a:lnTo>
                    <a:pt x="168" y="78"/>
                  </a:lnTo>
                  <a:lnTo>
                    <a:pt x="168" y="84"/>
                  </a:lnTo>
                  <a:lnTo>
                    <a:pt x="166" y="88"/>
                  </a:lnTo>
                  <a:lnTo>
                    <a:pt x="164" y="92"/>
                  </a:lnTo>
                  <a:lnTo>
                    <a:pt x="164" y="92"/>
                  </a:lnTo>
                  <a:lnTo>
                    <a:pt x="156" y="92"/>
                  </a:lnTo>
                  <a:lnTo>
                    <a:pt x="152" y="92"/>
                  </a:lnTo>
                  <a:lnTo>
                    <a:pt x="150" y="92"/>
                  </a:lnTo>
                  <a:lnTo>
                    <a:pt x="146" y="92"/>
                  </a:lnTo>
                  <a:lnTo>
                    <a:pt x="146" y="92"/>
                  </a:lnTo>
                  <a:lnTo>
                    <a:pt x="140" y="92"/>
                  </a:lnTo>
                  <a:lnTo>
                    <a:pt x="138" y="90"/>
                  </a:lnTo>
                  <a:lnTo>
                    <a:pt x="136" y="88"/>
                  </a:lnTo>
                  <a:lnTo>
                    <a:pt x="128" y="88"/>
                  </a:lnTo>
                  <a:lnTo>
                    <a:pt x="128" y="88"/>
                  </a:lnTo>
                  <a:lnTo>
                    <a:pt x="122" y="88"/>
                  </a:lnTo>
                  <a:lnTo>
                    <a:pt x="118" y="84"/>
                  </a:lnTo>
                  <a:lnTo>
                    <a:pt x="116" y="82"/>
                  </a:lnTo>
                  <a:lnTo>
                    <a:pt x="112" y="82"/>
                  </a:lnTo>
                  <a:lnTo>
                    <a:pt x="112" y="82"/>
                  </a:lnTo>
                  <a:lnTo>
                    <a:pt x="110" y="82"/>
                  </a:lnTo>
                  <a:lnTo>
                    <a:pt x="110" y="80"/>
                  </a:lnTo>
                  <a:lnTo>
                    <a:pt x="108" y="76"/>
                  </a:lnTo>
                  <a:lnTo>
                    <a:pt x="102" y="72"/>
                  </a:lnTo>
                  <a:lnTo>
                    <a:pt x="102" y="72"/>
                  </a:lnTo>
                  <a:lnTo>
                    <a:pt x="84" y="66"/>
                  </a:lnTo>
                  <a:lnTo>
                    <a:pt x="78" y="66"/>
                  </a:lnTo>
                  <a:lnTo>
                    <a:pt x="76" y="66"/>
                  </a:lnTo>
                  <a:lnTo>
                    <a:pt x="74" y="68"/>
                  </a:lnTo>
                  <a:lnTo>
                    <a:pt x="74" y="68"/>
                  </a:lnTo>
                  <a:lnTo>
                    <a:pt x="74" y="68"/>
                  </a:lnTo>
                  <a:lnTo>
                    <a:pt x="70" y="68"/>
                  </a:lnTo>
                  <a:lnTo>
                    <a:pt x="58" y="66"/>
                  </a:lnTo>
                  <a:lnTo>
                    <a:pt x="58" y="66"/>
                  </a:lnTo>
                  <a:lnTo>
                    <a:pt x="54" y="66"/>
                  </a:lnTo>
                  <a:lnTo>
                    <a:pt x="54" y="64"/>
                  </a:lnTo>
                  <a:lnTo>
                    <a:pt x="56" y="62"/>
                  </a:lnTo>
                  <a:lnTo>
                    <a:pt x="54" y="60"/>
                  </a:lnTo>
                  <a:lnTo>
                    <a:pt x="54" y="60"/>
                  </a:lnTo>
                  <a:lnTo>
                    <a:pt x="40" y="56"/>
                  </a:lnTo>
                  <a:lnTo>
                    <a:pt x="32" y="52"/>
                  </a:lnTo>
                  <a:lnTo>
                    <a:pt x="24" y="46"/>
                  </a:lnTo>
                  <a:lnTo>
                    <a:pt x="24" y="46"/>
                  </a:lnTo>
                  <a:lnTo>
                    <a:pt x="20" y="42"/>
                  </a:lnTo>
                  <a:lnTo>
                    <a:pt x="16" y="42"/>
                  </a:lnTo>
                  <a:lnTo>
                    <a:pt x="10" y="42"/>
                  </a:lnTo>
                  <a:lnTo>
                    <a:pt x="4" y="38"/>
                  </a:lnTo>
                  <a:lnTo>
                    <a:pt x="4" y="38"/>
                  </a:lnTo>
                  <a:lnTo>
                    <a:pt x="0" y="36"/>
                  </a:lnTo>
                  <a:lnTo>
                    <a:pt x="2" y="32"/>
                  </a:lnTo>
                  <a:lnTo>
                    <a:pt x="8" y="28"/>
                  </a:lnTo>
                  <a:lnTo>
                    <a:pt x="14" y="22"/>
                  </a:lnTo>
                  <a:lnTo>
                    <a:pt x="14" y="22"/>
                  </a:lnTo>
                  <a:lnTo>
                    <a:pt x="18" y="16"/>
                  </a:lnTo>
                  <a:lnTo>
                    <a:pt x="18" y="14"/>
                  </a:lnTo>
                  <a:lnTo>
                    <a:pt x="16" y="12"/>
                  </a:lnTo>
                  <a:lnTo>
                    <a:pt x="18" y="10"/>
                  </a:lnTo>
                  <a:lnTo>
                    <a:pt x="18" y="10"/>
                  </a:lnTo>
                  <a:lnTo>
                    <a:pt x="22" y="2"/>
                  </a:lnTo>
                  <a:lnTo>
                    <a:pt x="24" y="0"/>
                  </a:lnTo>
                  <a:lnTo>
                    <a:pt x="24" y="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2" name="Freeform 177"/>
            <p:cNvSpPr>
              <a:spLocks/>
            </p:cNvSpPr>
            <p:nvPr/>
          </p:nvSpPr>
          <p:spPr bwMode="auto">
            <a:xfrm>
              <a:off x="6499455" y="2710656"/>
              <a:ext cx="166688" cy="209021"/>
            </a:xfrm>
            <a:custGeom>
              <a:avLst/>
              <a:gdLst/>
              <a:ahLst/>
              <a:cxnLst>
                <a:cxn ang="0">
                  <a:pos x="118" y="150"/>
                </a:cxn>
                <a:cxn ang="0">
                  <a:pos x="122" y="144"/>
                </a:cxn>
                <a:cxn ang="0">
                  <a:pos x="122" y="130"/>
                </a:cxn>
                <a:cxn ang="0">
                  <a:pos x="124" y="128"/>
                </a:cxn>
                <a:cxn ang="0">
                  <a:pos x="112" y="98"/>
                </a:cxn>
                <a:cxn ang="0">
                  <a:pos x="104" y="86"/>
                </a:cxn>
                <a:cxn ang="0">
                  <a:pos x="98" y="88"/>
                </a:cxn>
                <a:cxn ang="0">
                  <a:pos x="94" y="90"/>
                </a:cxn>
                <a:cxn ang="0">
                  <a:pos x="90" y="90"/>
                </a:cxn>
                <a:cxn ang="0">
                  <a:pos x="82" y="86"/>
                </a:cxn>
                <a:cxn ang="0">
                  <a:pos x="82" y="76"/>
                </a:cxn>
                <a:cxn ang="0">
                  <a:pos x="96" y="70"/>
                </a:cxn>
                <a:cxn ang="0">
                  <a:pos x="106" y="64"/>
                </a:cxn>
                <a:cxn ang="0">
                  <a:pos x="110" y="56"/>
                </a:cxn>
                <a:cxn ang="0">
                  <a:pos x="112" y="50"/>
                </a:cxn>
                <a:cxn ang="0">
                  <a:pos x="92" y="46"/>
                </a:cxn>
                <a:cxn ang="0">
                  <a:pos x="62" y="44"/>
                </a:cxn>
                <a:cxn ang="0">
                  <a:pos x="50" y="36"/>
                </a:cxn>
                <a:cxn ang="0">
                  <a:pos x="40" y="18"/>
                </a:cxn>
                <a:cxn ang="0">
                  <a:pos x="34" y="22"/>
                </a:cxn>
                <a:cxn ang="0">
                  <a:pos x="32" y="12"/>
                </a:cxn>
                <a:cxn ang="0">
                  <a:pos x="28" y="10"/>
                </a:cxn>
                <a:cxn ang="0">
                  <a:pos x="24" y="14"/>
                </a:cxn>
                <a:cxn ang="0">
                  <a:pos x="16" y="0"/>
                </a:cxn>
                <a:cxn ang="0">
                  <a:pos x="14" y="14"/>
                </a:cxn>
                <a:cxn ang="0">
                  <a:pos x="2" y="22"/>
                </a:cxn>
                <a:cxn ang="0">
                  <a:pos x="4" y="26"/>
                </a:cxn>
                <a:cxn ang="0">
                  <a:pos x="28" y="40"/>
                </a:cxn>
                <a:cxn ang="0">
                  <a:pos x="26" y="44"/>
                </a:cxn>
                <a:cxn ang="0">
                  <a:pos x="18" y="54"/>
                </a:cxn>
                <a:cxn ang="0">
                  <a:pos x="20" y="64"/>
                </a:cxn>
                <a:cxn ang="0">
                  <a:pos x="38" y="76"/>
                </a:cxn>
                <a:cxn ang="0">
                  <a:pos x="38" y="88"/>
                </a:cxn>
                <a:cxn ang="0">
                  <a:pos x="40" y="94"/>
                </a:cxn>
                <a:cxn ang="0">
                  <a:pos x="38" y="98"/>
                </a:cxn>
                <a:cxn ang="0">
                  <a:pos x="46" y="110"/>
                </a:cxn>
                <a:cxn ang="0">
                  <a:pos x="46" y="128"/>
                </a:cxn>
                <a:cxn ang="0">
                  <a:pos x="50" y="130"/>
                </a:cxn>
                <a:cxn ang="0">
                  <a:pos x="54" y="128"/>
                </a:cxn>
                <a:cxn ang="0">
                  <a:pos x="58" y="130"/>
                </a:cxn>
                <a:cxn ang="0">
                  <a:pos x="62" y="126"/>
                </a:cxn>
                <a:cxn ang="0">
                  <a:pos x="64" y="126"/>
                </a:cxn>
                <a:cxn ang="0">
                  <a:pos x="64" y="120"/>
                </a:cxn>
                <a:cxn ang="0">
                  <a:pos x="72" y="126"/>
                </a:cxn>
                <a:cxn ang="0">
                  <a:pos x="76" y="120"/>
                </a:cxn>
                <a:cxn ang="0">
                  <a:pos x="78" y="116"/>
                </a:cxn>
                <a:cxn ang="0">
                  <a:pos x="76" y="112"/>
                </a:cxn>
                <a:cxn ang="0">
                  <a:pos x="78" y="108"/>
                </a:cxn>
                <a:cxn ang="0">
                  <a:pos x="74" y="104"/>
                </a:cxn>
                <a:cxn ang="0">
                  <a:pos x="74" y="102"/>
                </a:cxn>
                <a:cxn ang="0">
                  <a:pos x="76" y="96"/>
                </a:cxn>
                <a:cxn ang="0">
                  <a:pos x="86" y="108"/>
                </a:cxn>
                <a:cxn ang="0">
                  <a:pos x="88" y="108"/>
                </a:cxn>
                <a:cxn ang="0">
                  <a:pos x="98" y="128"/>
                </a:cxn>
                <a:cxn ang="0">
                  <a:pos x="106" y="144"/>
                </a:cxn>
                <a:cxn ang="0">
                  <a:pos x="116" y="158"/>
                </a:cxn>
              </a:cxnLst>
              <a:rect l="0" t="0" r="r" b="b"/>
              <a:pathLst>
                <a:path w="126" h="158">
                  <a:moveTo>
                    <a:pt x="116" y="158"/>
                  </a:moveTo>
                  <a:lnTo>
                    <a:pt x="116" y="158"/>
                  </a:lnTo>
                  <a:lnTo>
                    <a:pt x="118" y="150"/>
                  </a:lnTo>
                  <a:lnTo>
                    <a:pt x="120" y="148"/>
                  </a:lnTo>
                  <a:lnTo>
                    <a:pt x="122" y="148"/>
                  </a:lnTo>
                  <a:lnTo>
                    <a:pt x="122" y="144"/>
                  </a:lnTo>
                  <a:lnTo>
                    <a:pt x="122" y="144"/>
                  </a:lnTo>
                  <a:lnTo>
                    <a:pt x="120" y="134"/>
                  </a:lnTo>
                  <a:lnTo>
                    <a:pt x="122" y="130"/>
                  </a:lnTo>
                  <a:lnTo>
                    <a:pt x="126" y="130"/>
                  </a:lnTo>
                  <a:lnTo>
                    <a:pt x="126" y="130"/>
                  </a:lnTo>
                  <a:lnTo>
                    <a:pt x="124" y="128"/>
                  </a:lnTo>
                  <a:lnTo>
                    <a:pt x="120" y="124"/>
                  </a:lnTo>
                  <a:lnTo>
                    <a:pt x="116" y="112"/>
                  </a:lnTo>
                  <a:lnTo>
                    <a:pt x="112" y="98"/>
                  </a:lnTo>
                  <a:lnTo>
                    <a:pt x="108" y="88"/>
                  </a:lnTo>
                  <a:lnTo>
                    <a:pt x="108" y="88"/>
                  </a:lnTo>
                  <a:lnTo>
                    <a:pt x="104" y="86"/>
                  </a:lnTo>
                  <a:lnTo>
                    <a:pt x="102" y="86"/>
                  </a:lnTo>
                  <a:lnTo>
                    <a:pt x="100" y="88"/>
                  </a:lnTo>
                  <a:lnTo>
                    <a:pt x="98" y="88"/>
                  </a:lnTo>
                  <a:lnTo>
                    <a:pt x="98" y="88"/>
                  </a:lnTo>
                  <a:lnTo>
                    <a:pt x="94" y="88"/>
                  </a:lnTo>
                  <a:lnTo>
                    <a:pt x="94" y="90"/>
                  </a:lnTo>
                  <a:lnTo>
                    <a:pt x="92" y="92"/>
                  </a:lnTo>
                  <a:lnTo>
                    <a:pt x="90" y="90"/>
                  </a:lnTo>
                  <a:lnTo>
                    <a:pt x="90" y="90"/>
                  </a:lnTo>
                  <a:lnTo>
                    <a:pt x="88" y="88"/>
                  </a:lnTo>
                  <a:lnTo>
                    <a:pt x="84" y="88"/>
                  </a:lnTo>
                  <a:lnTo>
                    <a:pt x="82" y="86"/>
                  </a:lnTo>
                  <a:lnTo>
                    <a:pt x="80" y="82"/>
                  </a:lnTo>
                  <a:lnTo>
                    <a:pt x="80" y="82"/>
                  </a:lnTo>
                  <a:lnTo>
                    <a:pt x="82" y="76"/>
                  </a:lnTo>
                  <a:lnTo>
                    <a:pt x="86" y="72"/>
                  </a:lnTo>
                  <a:lnTo>
                    <a:pt x="90" y="70"/>
                  </a:lnTo>
                  <a:lnTo>
                    <a:pt x="96" y="70"/>
                  </a:lnTo>
                  <a:lnTo>
                    <a:pt x="104" y="68"/>
                  </a:lnTo>
                  <a:lnTo>
                    <a:pt x="108" y="68"/>
                  </a:lnTo>
                  <a:lnTo>
                    <a:pt x="106" y="64"/>
                  </a:lnTo>
                  <a:lnTo>
                    <a:pt x="106" y="64"/>
                  </a:lnTo>
                  <a:lnTo>
                    <a:pt x="106" y="60"/>
                  </a:lnTo>
                  <a:lnTo>
                    <a:pt x="110" y="56"/>
                  </a:lnTo>
                  <a:lnTo>
                    <a:pt x="112" y="52"/>
                  </a:lnTo>
                  <a:lnTo>
                    <a:pt x="112" y="50"/>
                  </a:lnTo>
                  <a:lnTo>
                    <a:pt x="112" y="50"/>
                  </a:lnTo>
                  <a:lnTo>
                    <a:pt x="108" y="46"/>
                  </a:lnTo>
                  <a:lnTo>
                    <a:pt x="104" y="46"/>
                  </a:lnTo>
                  <a:lnTo>
                    <a:pt x="92" y="46"/>
                  </a:lnTo>
                  <a:lnTo>
                    <a:pt x="76" y="48"/>
                  </a:lnTo>
                  <a:lnTo>
                    <a:pt x="68" y="48"/>
                  </a:lnTo>
                  <a:lnTo>
                    <a:pt x="62" y="44"/>
                  </a:lnTo>
                  <a:lnTo>
                    <a:pt x="62" y="44"/>
                  </a:lnTo>
                  <a:lnTo>
                    <a:pt x="56" y="42"/>
                  </a:lnTo>
                  <a:lnTo>
                    <a:pt x="50" y="36"/>
                  </a:lnTo>
                  <a:lnTo>
                    <a:pt x="46" y="26"/>
                  </a:lnTo>
                  <a:lnTo>
                    <a:pt x="42" y="18"/>
                  </a:lnTo>
                  <a:lnTo>
                    <a:pt x="40" y="18"/>
                  </a:lnTo>
                  <a:lnTo>
                    <a:pt x="36" y="20"/>
                  </a:lnTo>
                  <a:lnTo>
                    <a:pt x="36" y="20"/>
                  </a:lnTo>
                  <a:lnTo>
                    <a:pt x="34" y="22"/>
                  </a:lnTo>
                  <a:lnTo>
                    <a:pt x="34" y="20"/>
                  </a:lnTo>
                  <a:lnTo>
                    <a:pt x="34" y="16"/>
                  </a:lnTo>
                  <a:lnTo>
                    <a:pt x="32" y="12"/>
                  </a:lnTo>
                  <a:lnTo>
                    <a:pt x="32" y="12"/>
                  </a:lnTo>
                  <a:lnTo>
                    <a:pt x="30" y="10"/>
                  </a:lnTo>
                  <a:lnTo>
                    <a:pt x="28" y="10"/>
                  </a:lnTo>
                  <a:lnTo>
                    <a:pt x="28" y="14"/>
                  </a:lnTo>
                  <a:lnTo>
                    <a:pt x="26" y="16"/>
                  </a:lnTo>
                  <a:lnTo>
                    <a:pt x="24" y="14"/>
                  </a:lnTo>
                  <a:lnTo>
                    <a:pt x="18" y="0"/>
                  </a:lnTo>
                  <a:lnTo>
                    <a:pt x="18" y="0"/>
                  </a:lnTo>
                  <a:lnTo>
                    <a:pt x="16" y="0"/>
                  </a:lnTo>
                  <a:lnTo>
                    <a:pt x="14" y="2"/>
                  </a:lnTo>
                  <a:lnTo>
                    <a:pt x="14" y="14"/>
                  </a:lnTo>
                  <a:lnTo>
                    <a:pt x="14" y="14"/>
                  </a:lnTo>
                  <a:lnTo>
                    <a:pt x="12" y="18"/>
                  </a:lnTo>
                  <a:lnTo>
                    <a:pt x="8" y="20"/>
                  </a:lnTo>
                  <a:lnTo>
                    <a:pt x="2" y="22"/>
                  </a:lnTo>
                  <a:lnTo>
                    <a:pt x="0" y="24"/>
                  </a:lnTo>
                  <a:lnTo>
                    <a:pt x="0" y="24"/>
                  </a:lnTo>
                  <a:lnTo>
                    <a:pt x="4" y="26"/>
                  </a:lnTo>
                  <a:lnTo>
                    <a:pt x="14" y="32"/>
                  </a:lnTo>
                  <a:lnTo>
                    <a:pt x="24" y="36"/>
                  </a:lnTo>
                  <a:lnTo>
                    <a:pt x="28" y="40"/>
                  </a:lnTo>
                  <a:lnTo>
                    <a:pt x="28" y="42"/>
                  </a:lnTo>
                  <a:lnTo>
                    <a:pt x="28" y="42"/>
                  </a:lnTo>
                  <a:lnTo>
                    <a:pt x="26" y="44"/>
                  </a:lnTo>
                  <a:lnTo>
                    <a:pt x="24" y="46"/>
                  </a:lnTo>
                  <a:lnTo>
                    <a:pt x="20" y="48"/>
                  </a:lnTo>
                  <a:lnTo>
                    <a:pt x="18" y="54"/>
                  </a:lnTo>
                  <a:lnTo>
                    <a:pt x="18" y="54"/>
                  </a:lnTo>
                  <a:lnTo>
                    <a:pt x="18" y="60"/>
                  </a:lnTo>
                  <a:lnTo>
                    <a:pt x="20" y="64"/>
                  </a:lnTo>
                  <a:lnTo>
                    <a:pt x="28" y="68"/>
                  </a:lnTo>
                  <a:lnTo>
                    <a:pt x="36" y="74"/>
                  </a:lnTo>
                  <a:lnTo>
                    <a:pt x="38" y="76"/>
                  </a:lnTo>
                  <a:lnTo>
                    <a:pt x="38" y="80"/>
                  </a:lnTo>
                  <a:lnTo>
                    <a:pt x="38" y="80"/>
                  </a:lnTo>
                  <a:lnTo>
                    <a:pt x="38" y="88"/>
                  </a:lnTo>
                  <a:lnTo>
                    <a:pt x="40" y="90"/>
                  </a:lnTo>
                  <a:lnTo>
                    <a:pt x="40" y="90"/>
                  </a:lnTo>
                  <a:lnTo>
                    <a:pt x="40" y="94"/>
                  </a:lnTo>
                  <a:lnTo>
                    <a:pt x="40" y="94"/>
                  </a:lnTo>
                  <a:lnTo>
                    <a:pt x="38" y="96"/>
                  </a:lnTo>
                  <a:lnTo>
                    <a:pt x="38" y="98"/>
                  </a:lnTo>
                  <a:lnTo>
                    <a:pt x="40" y="102"/>
                  </a:lnTo>
                  <a:lnTo>
                    <a:pt x="44" y="106"/>
                  </a:lnTo>
                  <a:lnTo>
                    <a:pt x="46" y="110"/>
                  </a:lnTo>
                  <a:lnTo>
                    <a:pt x="46" y="118"/>
                  </a:lnTo>
                  <a:lnTo>
                    <a:pt x="46" y="128"/>
                  </a:lnTo>
                  <a:lnTo>
                    <a:pt x="46" y="128"/>
                  </a:lnTo>
                  <a:lnTo>
                    <a:pt x="48" y="128"/>
                  </a:lnTo>
                  <a:lnTo>
                    <a:pt x="50" y="130"/>
                  </a:lnTo>
                  <a:lnTo>
                    <a:pt x="50" y="130"/>
                  </a:lnTo>
                  <a:lnTo>
                    <a:pt x="50" y="130"/>
                  </a:lnTo>
                  <a:lnTo>
                    <a:pt x="52" y="128"/>
                  </a:lnTo>
                  <a:lnTo>
                    <a:pt x="54" y="128"/>
                  </a:lnTo>
                  <a:lnTo>
                    <a:pt x="56" y="128"/>
                  </a:lnTo>
                  <a:lnTo>
                    <a:pt x="56" y="128"/>
                  </a:lnTo>
                  <a:lnTo>
                    <a:pt x="58" y="130"/>
                  </a:lnTo>
                  <a:lnTo>
                    <a:pt x="58" y="128"/>
                  </a:lnTo>
                  <a:lnTo>
                    <a:pt x="60" y="126"/>
                  </a:lnTo>
                  <a:lnTo>
                    <a:pt x="62" y="126"/>
                  </a:lnTo>
                  <a:lnTo>
                    <a:pt x="62" y="126"/>
                  </a:lnTo>
                  <a:lnTo>
                    <a:pt x="64" y="128"/>
                  </a:lnTo>
                  <a:lnTo>
                    <a:pt x="64" y="126"/>
                  </a:lnTo>
                  <a:lnTo>
                    <a:pt x="62" y="122"/>
                  </a:lnTo>
                  <a:lnTo>
                    <a:pt x="62" y="122"/>
                  </a:lnTo>
                  <a:lnTo>
                    <a:pt x="64" y="120"/>
                  </a:lnTo>
                  <a:lnTo>
                    <a:pt x="68" y="124"/>
                  </a:lnTo>
                  <a:lnTo>
                    <a:pt x="68" y="124"/>
                  </a:lnTo>
                  <a:lnTo>
                    <a:pt x="72" y="126"/>
                  </a:lnTo>
                  <a:lnTo>
                    <a:pt x="72" y="124"/>
                  </a:lnTo>
                  <a:lnTo>
                    <a:pt x="74" y="122"/>
                  </a:lnTo>
                  <a:lnTo>
                    <a:pt x="76" y="120"/>
                  </a:lnTo>
                  <a:lnTo>
                    <a:pt x="76" y="120"/>
                  </a:lnTo>
                  <a:lnTo>
                    <a:pt x="78" y="118"/>
                  </a:lnTo>
                  <a:lnTo>
                    <a:pt x="78" y="116"/>
                  </a:lnTo>
                  <a:lnTo>
                    <a:pt x="78" y="112"/>
                  </a:lnTo>
                  <a:lnTo>
                    <a:pt x="76" y="112"/>
                  </a:lnTo>
                  <a:lnTo>
                    <a:pt x="76" y="112"/>
                  </a:lnTo>
                  <a:lnTo>
                    <a:pt x="76" y="110"/>
                  </a:lnTo>
                  <a:lnTo>
                    <a:pt x="78" y="108"/>
                  </a:lnTo>
                  <a:lnTo>
                    <a:pt x="78" y="108"/>
                  </a:lnTo>
                  <a:lnTo>
                    <a:pt x="76" y="106"/>
                  </a:lnTo>
                  <a:lnTo>
                    <a:pt x="76" y="106"/>
                  </a:lnTo>
                  <a:lnTo>
                    <a:pt x="74" y="104"/>
                  </a:lnTo>
                  <a:lnTo>
                    <a:pt x="70" y="102"/>
                  </a:lnTo>
                  <a:lnTo>
                    <a:pt x="70" y="102"/>
                  </a:lnTo>
                  <a:lnTo>
                    <a:pt x="74" y="102"/>
                  </a:lnTo>
                  <a:lnTo>
                    <a:pt x="76" y="102"/>
                  </a:lnTo>
                  <a:lnTo>
                    <a:pt x="76" y="96"/>
                  </a:lnTo>
                  <a:lnTo>
                    <a:pt x="76" y="96"/>
                  </a:lnTo>
                  <a:lnTo>
                    <a:pt x="78" y="104"/>
                  </a:lnTo>
                  <a:lnTo>
                    <a:pt x="82" y="106"/>
                  </a:lnTo>
                  <a:lnTo>
                    <a:pt x="86" y="108"/>
                  </a:lnTo>
                  <a:lnTo>
                    <a:pt x="90" y="108"/>
                  </a:lnTo>
                  <a:lnTo>
                    <a:pt x="90" y="108"/>
                  </a:lnTo>
                  <a:lnTo>
                    <a:pt x="88" y="108"/>
                  </a:lnTo>
                  <a:lnTo>
                    <a:pt x="88" y="110"/>
                  </a:lnTo>
                  <a:lnTo>
                    <a:pt x="92" y="118"/>
                  </a:lnTo>
                  <a:lnTo>
                    <a:pt x="98" y="128"/>
                  </a:lnTo>
                  <a:lnTo>
                    <a:pt x="104" y="138"/>
                  </a:lnTo>
                  <a:lnTo>
                    <a:pt x="104" y="138"/>
                  </a:lnTo>
                  <a:lnTo>
                    <a:pt x="106" y="144"/>
                  </a:lnTo>
                  <a:lnTo>
                    <a:pt x="110" y="150"/>
                  </a:lnTo>
                  <a:lnTo>
                    <a:pt x="116" y="158"/>
                  </a:lnTo>
                  <a:lnTo>
                    <a:pt x="116" y="15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3" name="Freeform 179"/>
            <p:cNvSpPr>
              <a:spLocks/>
            </p:cNvSpPr>
            <p:nvPr/>
          </p:nvSpPr>
          <p:spPr bwMode="auto">
            <a:xfrm>
              <a:off x="7290559" y="2223823"/>
              <a:ext cx="121708" cy="150813"/>
            </a:xfrm>
            <a:custGeom>
              <a:avLst/>
              <a:gdLst/>
              <a:ahLst/>
              <a:cxnLst>
                <a:cxn ang="0">
                  <a:pos x="92" y="92"/>
                </a:cxn>
                <a:cxn ang="0">
                  <a:pos x="90" y="96"/>
                </a:cxn>
                <a:cxn ang="0">
                  <a:pos x="82" y="98"/>
                </a:cxn>
                <a:cxn ang="0">
                  <a:pos x="74" y="100"/>
                </a:cxn>
                <a:cxn ang="0">
                  <a:pos x="62" y="114"/>
                </a:cxn>
                <a:cxn ang="0">
                  <a:pos x="58" y="112"/>
                </a:cxn>
                <a:cxn ang="0">
                  <a:pos x="56" y="110"/>
                </a:cxn>
                <a:cxn ang="0">
                  <a:pos x="42" y="110"/>
                </a:cxn>
                <a:cxn ang="0">
                  <a:pos x="30" y="108"/>
                </a:cxn>
                <a:cxn ang="0">
                  <a:pos x="32" y="106"/>
                </a:cxn>
                <a:cxn ang="0">
                  <a:pos x="30" y="102"/>
                </a:cxn>
                <a:cxn ang="0">
                  <a:pos x="16" y="100"/>
                </a:cxn>
                <a:cxn ang="0">
                  <a:pos x="18" y="98"/>
                </a:cxn>
                <a:cxn ang="0">
                  <a:pos x="12" y="98"/>
                </a:cxn>
                <a:cxn ang="0">
                  <a:pos x="14" y="94"/>
                </a:cxn>
                <a:cxn ang="0">
                  <a:pos x="20" y="86"/>
                </a:cxn>
                <a:cxn ang="0">
                  <a:pos x="18" y="84"/>
                </a:cxn>
                <a:cxn ang="0">
                  <a:pos x="12" y="82"/>
                </a:cxn>
                <a:cxn ang="0">
                  <a:pos x="10" y="80"/>
                </a:cxn>
                <a:cxn ang="0">
                  <a:pos x="14" y="74"/>
                </a:cxn>
                <a:cxn ang="0">
                  <a:pos x="14" y="72"/>
                </a:cxn>
                <a:cxn ang="0">
                  <a:pos x="4" y="70"/>
                </a:cxn>
                <a:cxn ang="0">
                  <a:pos x="0" y="68"/>
                </a:cxn>
                <a:cxn ang="0">
                  <a:pos x="0" y="66"/>
                </a:cxn>
                <a:cxn ang="0">
                  <a:pos x="2" y="64"/>
                </a:cxn>
                <a:cxn ang="0">
                  <a:pos x="14" y="54"/>
                </a:cxn>
                <a:cxn ang="0">
                  <a:pos x="18" y="44"/>
                </a:cxn>
                <a:cxn ang="0">
                  <a:pos x="22" y="38"/>
                </a:cxn>
                <a:cxn ang="0">
                  <a:pos x="30" y="30"/>
                </a:cxn>
                <a:cxn ang="0">
                  <a:pos x="46" y="28"/>
                </a:cxn>
                <a:cxn ang="0">
                  <a:pos x="54" y="30"/>
                </a:cxn>
                <a:cxn ang="0">
                  <a:pos x="62" y="26"/>
                </a:cxn>
                <a:cxn ang="0">
                  <a:pos x="58" y="22"/>
                </a:cxn>
                <a:cxn ang="0">
                  <a:pos x="56" y="20"/>
                </a:cxn>
                <a:cxn ang="0">
                  <a:pos x="70" y="16"/>
                </a:cxn>
                <a:cxn ang="0">
                  <a:pos x="70" y="12"/>
                </a:cxn>
                <a:cxn ang="0">
                  <a:pos x="68" y="8"/>
                </a:cxn>
                <a:cxn ang="0">
                  <a:pos x="74" y="4"/>
                </a:cxn>
                <a:cxn ang="0">
                  <a:pos x="74" y="0"/>
                </a:cxn>
                <a:cxn ang="0">
                  <a:pos x="76" y="0"/>
                </a:cxn>
                <a:cxn ang="0">
                  <a:pos x="88" y="10"/>
                </a:cxn>
                <a:cxn ang="0">
                  <a:pos x="92" y="6"/>
                </a:cxn>
                <a:cxn ang="0">
                  <a:pos x="90" y="12"/>
                </a:cxn>
                <a:cxn ang="0">
                  <a:pos x="86" y="22"/>
                </a:cxn>
                <a:cxn ang="0">
                  <a:pos x="86" y="26"/>
                </a:cxn>
                <a:cxn ang="0">
                  <a:pos x="86" y="34"/>
                </a:cxn>
                <a:cxn ang="0">
                  <a:pos x="82" y="36"/>
                </a:cxn>
                <a:cxn ang="0">
                  <a:pos x="82" y="38"/>
                </a:cxn>
                <a:cxn ang="0">
                  <a:pos x="88" y="38"/>
                </a:cxn>
                <a:cxn ang="0">
                  <a:pos x="90" y="44"/>
                </a:cxn>
                <a:cxn ang="0">
                  <a:pos x="88" y="48"/>
                </a:cxn>
                <a:cxn ang="0">
                  <a:pos x="88" y="60"/>
                </a:cxn>
                <a:cxn ang="0">
                  <a:pos x="88" y="66"/>
                </a:cxn>
                <a:cxn ang="0">
                  <a:pos x="86" y="66"/>
                </a:cxn>
                <a:cxn ang="0">
                  <a:pos x="74" y="66"/>
                </a:cxn>
                <a:cxn ang="0">
                  <a:pos x="70" y="72"/>
                </a:cxn>
                <a:cxn ang="0">
                  <a:pos x="68" y="78"/>
                </a:cxn>
                <a:cxn ang="0">
                  <a:pos x="72" y="78"/>
                </a:cxn>
                <a:cxn ang="0">
                  <a:pos x="76" y="78"/>
                </a:cxn>
                <a:cxn ang="0">
                  <a:pos x="86" y="86"/>
                </a:cxn>
                <a:cxn ang="0">
                  <a:pos x="90" y="88"/>
                </a:cxn>
                <a:cxn ang="0">
                  <a:pos x="92" y="92"/>
                </a:cxn>
              </a:cxnLst>
              <a:rect l="0" t="0" r="r" b="b"/>
              <a:pathLst>
                <a:path w="92" h="114">
                  <a:moveTo>
                    <a:pt x="92" y="92"/>
                  </a:moveTo>
                  <a:lnTo>
                    <a:pt x="92" y="92"/>
                  </a:lnTo>
                  <a:lnTo>
                    <a:pt x="90" y="94"/>
                  </a:lnTo>
                  <a:lnTo>
                    <a:pt x="90" y="96"/>
                  </a:lnTo>
                  <a:lnTo>
                    <a:pt x="88" y="98"/>
                  </a:lnTo>
                  <a:lnTo>
                    <a:pt x="82" y="98"/>
                  </a:lnTo>
                  <a:lnTo>
                    <a:pt x="82" y="98"/>
                  </a:lnTo>
                  <a:lnTo>
                    <a:pt x="74" y="100"/>
                  </a:lnTo>
                  <a:lnTo>
                    <a:pt x="70" y="104"/>
                  </a:lnTo>
                  <a:lnTo>
                    <a:pt x="62" y="114"/>
                  </a:lnTo>
                  <a:lnTo>
                    <a:pt x="62" y="114"/>
                  </a:lnTo>
                  <a:lnTo>
                    <a:pt x="58" y="112"/>
                  </a:lnTo>
                  <a:lnTo>
                    <a:pt x="56" y="110"/>
                  </a:lnTo>
                  <a:lnTo>
                    <a:pt x="56" y="110"/>
                  </a:lnTo>
                  <a:lnTo>
                    <a:pt x="42" y="110"/>
                  </a:lnTo>
                  <a:lnTo>
                    <a:pt x="42" y="110"/>
                  </a:lnTo>
                  <a:lnTo>
                    <a:pt x="34" y="108"/>
                  </a:lnTo>
                  <a:lnTo>
                    <a:pt x="30" y="108"/>
                  </a:lnTo>
                  <a:lnTo>
                    <a:pt x="32" y="106"/>
                  </a:lnTo>
                  <a:lnTo>
                    <a:pt x="32" y="106"/>
                  </a:lnTo>
                  <a:lnTo>
                    <a:pt x="32" y="104"/>
                  </a:lnTo>
                  <a:lnTo>
                    <a:pt x="30" y="102"/>
                  </a:lnTo>
                  <a:lnTo>
                    <a:pt x="24" y="102"/>
                  </a:lnTo>
                  <a:lnTo>
                    <a:pt x="16" y="100"/>
                  </a:lnTo>
                  <a:lnTo>
                    <a:pt x="16" y="100"/>
                  </a:lnTo>
                  <a:lnTo>
                    <a:pt x="18" y="98"/>
                  </a:lnTo>
                  <a:lnTo>
                    <a:pt x="18" y="98"/>
                  </a:lnTo>
                  <a:lnTo>
                    <a:pt x="12" y="98"/>
                  </a:lnTo>
                  <a:lnTo>
                    <a:pt x="12" y="96"/>
                  </a:lnTo>
                  <a:lnTo>
                    <a:pt x="14" y="94"/>
                  </a:lnTo>
                  <a:lnTo>
                    <a:pt x="14" y="94"/>
                  </a:lnTo>
                  <a:lnTo>
                    <a:pt x="20" y="86"/>
                  </a:lnTo>
                  <a:lnTo>
                    <a:pt x="20" y="84"/>
                  </a:lnTo>
                  <a:lnTo>
                    <a:pt x="18" y="84"/>
                  </a:lnTo>
                  <a:lnTo>
                    <a:pt x="14" y="82"/>
                  </a:lnTo>
                  <a:lnTo>
                    <a:pt x="12" y="82"/>
                  </a:lnTo>
                  <a:lnTo>
                    <a:pt x="10" y="80"/>
                  </a:lnTo>
                  <a:lnTo>
                    <a:pt x="10" y="80"/>
                  </a:lnTo>
                  <a:lnTo>
                    <a:pt x="12" y="76"/>
                  </a:lnTo>
                  <a:lnTo>
                    <a:pt x="14" y="74"/>
                  </a:lnTo>
                  <a:lnTo>
                    <a:pt x="16" y="74"/>
                  </a:lnTo>
                  <a:lnTo>
                    <a:pt x="14" y="72"/>
                  </a:lnTo>
                  <a:lnTo>
                    <a:pt x="14" y="72"/>
                  </a:lnTo>
                  <a:lnTo>
                    <a:pt x="4" y="70"/>
                  </a:lnTo>
                  <a:lnTo>
                    <a:pt x="0" y="68"/>
                  </a:lnTo>
                  <a:lnTo>
                    <a:pt x="0" y="68"/>
                  </a:lnTo>
                  <a:lnTo>
                    <a:pt x="0" y="66"/>
                  </a:lnTo>
                  <a:lnTo>
                    <a:pt x="0" y="66"/>
                  </a:lnTo>
                  <a:lnTo>
                    <a:pt x="2" y="64"/>
                  </a:lnTo>
                  <a:lnTo>
                    <a:pt x="2" y="64"/>
                  </a:lnTo>
                  <a:lnTo>
                    <a:pt x="10" y="58"/>
                  </a:lnTo>
                  <a:lnTo>
                    <a:pt x="14" y="54"/>
                  </a:lnTo>
                  <a:lnTo>
                    <a:pt x="16" y="50"/>
                  </a:lnTo>
                  <a:lnTo>
                    <a:pt x="18" y="44"/>
                  </a:lnTo>
                  <a:lnTo>
                    <a:pt x="18" y="44"/>
                  </a:lnTo>
                  <a:lnTo>
                    <a:pt x="22" y="38"/>
                  </a:lnTo>
                  <a:lnTo>
                    <a:pt x="26" y="32"/>
                  </a:lnTo>
                  <a:lnTo>
                    <a:pt x="30" y="30"/>
                  </a:lnTo>
                  <a:lnTo>
                    <a:pt x="34" y="28"/>
                  </a:lnTo>
                  <a:lnTo>
                    <a:pt x="46" y="28"/>
                  </a:lnTo>
                  <a:lnTo>
                    <a:pt x="46" y="28"/>
                  </a:lnTo>
                  <a:lnTo>
                    <a:pt x="54" y="30"/>
                  </a:lnTo>
                  <a:lnTo>
                    <a:pt x="60" y="28"/>
                  </a:lnTo>
                  <a:lnTo>
                    <a:pt x="62" y="26"/>
                  </a:lnTo>
                  <a:lnTo>
                    <a:pt x="58" y="22"/>
                  </a:lnTo>
                  <a:lnTo>
                    <a:pt x="58" y="22"/>
                  </a:lnTo>
                  <a:lnTo>
                    <a:pt x="56" y="20"/>
                  </a:lnTo>
                  <a:lnTo>
                    <a:pt x="56" y="20"/>
                  </a:lnTo>
                  <a:lnTo>
                    <a:pt x="62" y="18"/>
                  </a:lnTo>
                  <a:lnTo>
                    <a:pt x="70" y="16"/>
                  </a:lnTo>
                  <a:lnTo>
                    <a:pt x="70" y="14"/>
                  </a:lnTo>
                  <a:lnTo>
                    <a:pt x="70" y="12"/>
                  </a:lnTo>
                  <a:lnTo>
                    <a:pt x="70" y="12"/>
                  </a:lnTo>
                  <a:lnTo>
                    <a:pt x="68" y="8"/>
                  </a:lnTo>
                  <a:lnTo>
                    <a:pt x="70" y="6"/>
                  </a:lnTo>
                  <a:lnTo>
                    <a:pt x="74" y="4"/>
                  </a:lnTo>
                  <a:lnTo>
                    <a:pt x="74" y="0"/>
                  </a:lnTo>
                  <a:lnTo>
                    <a:pt x="74" y="0"/>
                  </a:lnTo>
                  <a:lnTo>
                    <a:pt x="74" y="0"/>
                  </a:lnTo>
                  <a:lnTo>
                    <a:pt x="76" y="0"/>
                  </a:lnTo>
                  <a:lnTo>
                    <a:pt x="82" y="6"/>
                  </a:lnTo>
                  <a:lnTo>
                    <a:pt x="88" y="10"/>
                  </a:lnTo>
                  <a:lnTo>
                    <a:pt x="90" y="8"/>
                  </a:lnTo>
                  <a:lnTo>
                    <a:pt x="92" y="6"/>
                  </a:lnTo>
                  <a:lnTo>
                    <a:pt x="92" y="6"/>
                  </a:lnTo>
                  <a:lnTo>
                    <a:pt x="90" y="12"/>
                  </a:lnTo>
                  <a:lnTo>
                    <a:pt x="88" y="16"/>
                  </a:lnTo>
                  <a:lnTo>
                    <a:pt x="86" y="22"/>
                  </a:lnTo>
                  <a:lnTo>
                    <a:pt x="86" y="26"/>
                  </a:lnTo>
                  <a:lnTo>
                    <a:pt x="86" y="26"/>
                  </a:lnTo>
                  <a:lnTo>
                    <a:pt x="86" y="30"/>
                  </a:lnTo>
                  <a:lnTo>
                    <a:pt x="86" y="34"/>
                  </a:lnTo>
                  <a:lnTo>
                    <a:pt x="82" y="36"/>
                  </a:lnTo>
                  <a:lnTo>
                    <a:pt x="82" y="36"/>
                  </a:lnTo>
                  <a:lnTo>
                    <a:pt x="82" y="36"/>
                  </a:lnTo>
                  <a:lnTo>
                    <a:pt x="82" y="38"/>
                  </a:lnTo>
                  <a:lnTo>
                    <a:pt x="86" y="38"/>
                  </a:lnTo>
                  <a:lnTo>
                    <a:pt x="88" y="38"/>
                  </a:lnTo>
                  <a:lnTo>
                    <a:pt x="90" y="40"/>
                  </a:lnTo>
                  <a:lnTo>
                    <a:pt x="90" y="44"/>
                  </a:lnTo>
                  <a:lnTo>
                    <a:pt x="88" y="48"/>
                  </a:lnTo>
                  <a:lnTo>
                    <a:pt x="88" y="48"/>
                  </a:lnTo>
                  <a:lnTo>
                    <a:pt x="88" y="54"/>
                  </a:lnTo>
                  <a:lnTo>
                    <a:pt x="88" y="60"/>
                  </a:lnTo>
                  <a:lnTo>
                    <a:pt x="90" y="64"/>
                  </a:lnTo>
                  <a:lnTo>
                    <a:pt x="88" y="66"/>
                  </a:lnTo>
                  <a:lnTo>
                    <a:pt x="86" y="66"/>
                  </a:lnTo>
                  <a:lnTo>
                    <a:pt x="86" y="66"/>
                  </a:lnTo>
                  <a:lnTo>
                    <a:pt x="78" y="66"/>
                  </a:lnTo>
                  <a:lnTo>
                    <a:pt x="74" y="66"/>
                  </a:lnTo>
                  <a:lnTo>
                    <a:pt x="72" y="68"/>
                  </a:lnTo>
                  <a:lnTo>
                    <a:pt x="70" y="72"/>
                  </a:lnTo>
                  <a:lnTo>
                    <a:pt x="70" y="72"/>
                  </a:lnTo>
                  <a:lnTo>
                    <a:pt x="68" y="78"/>
                  </a:lnTo>
                  <a:lnTo>
                    <a:pt x="68" y="78"/>
                  </a:lnTo>
                  <a:lnTo>
                    <a:pt x="72" y="78"/>
                  </a:lnTo>
                  <a:lnTo>
                    <a:pt x="72" y="78"/>
                  </a:lnTo>
                  <a:lnTo>
                    <a:pt x="76" y="78"/>
                  </a:lnTo>
                  <a:lnTo>
                    <a:pt x="78" y="80"/>
                  </a:lnTo>
                  <a:lnTo>
                    <a:pt x="86" y="86"/>
                  </a:lnTo>
                  <a:lnTo>
                    <a:pt x="86" y="86"/>
                  </a:lnTo>
                  <a:lnTo>
                    <a:pt x="90" y="88"/>
                  </a:lnTo>
                  <a:lnTo>
                    <a:pt x="92" y="88"/>
                  </a:lnTo>
                  <a:lnTo>
                    <a:pt x="92" y="92"/>
                  </a:lnTo>
                  <a:lnTo>
                    <a:pt x="92" y="92"/>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4" name="Freeform 183"/>
            <p:cNvSpPr>
              <a:spLocks/>
            </p:cNvSpPr>
            <p:nvPr/>
          </p:nvSpPr>
          <p:spPr bwMode="auto">
            <a:xfrm>
              <a:off x="6877809" y="2866760"/>
              <a:ext cx="261938" cy="280458"/>
            </a:xfrm>
            <a:custGeom>
              <a:avLst/>
              <a:gdLst/>
              <a:ahLst/>
              <a:cxnLst>
                <a:cxn ang="0">
                  <a:pos x="8" y="2"/>
                </a:cxn>
                <a:cxn ang="0">
                  <a:pos x="4" y="6"/>
                </a:cxn>
                <a:cxn ang="0">
                  <a:pos x="12" y="20"/>
                </a:cxn>
                <a:cxn ang="0">
                  <a:pos x="18" y="30"/>
                </a:cxn>
                <a:cxn ang="0">
                  <a:pos x="14" y="36"/>
                </a:cxn>
                <a:cxn ang="0">
                  <a:pos x="6" y="30"/>
                </a:cxn>
                <a:cxn ang="0">
                  <a:pos x="0" y="42"/>
                </a:cxn>
                <a:cxn ang="0">
                  <a:pos x="0" y="52"/>
                </a:cxn>
                <a:cxn ang="0">
                  <a:pos x="4" y="56"/>
                </a:cxn>
                <a:cxn ang="0">
                  <a:pos x="6" y="60"/>
                </a:cxn>
                <a:cxn ang="0">
                  <a:pos x="18" y="64"/>
                </a:cxn>
                <a:cxn ang="0">
                  <a:pos x="28" y="66"/>
                </a:cxn>
                <a:cxn ang="0">
                  <a:pos x="22" y="84"/>
                </a:cxn>
                <a:cxn ang="0">
                  <a:pos x="20" y="110"/>
                </a:cxn>
                <a:cxn ang="0">
                  <a:pos x="24" y="110"/>
                </a:cxn>
                <a:cxn ang="0">
                  <a:pos x="38" y="102"/>
                </a:cxn>
                <a:cxn ang="0">
                  <a:pos x="46" y="106"/>
                </a:cxn>
                <a:cxn ang="0">
                  <a:pos x="60" y="110"/>
                </a:cxn>
                <a:cxn ang="0">
                  <a:pos x="76" y="106"/>
                </a:cxn>
                <a:cxn ang="0">
                  <a:pos x="86" y="114"/>
                </a:cxn>
                <a:cxn ang="0">
                  <a:pos x="108" y="132"/>
                </a:cxn>
                <a:cxn ang="0">
                  <a:pos x="108" y="142"/>
                </a:cxn>
                <a:cxn ang="0">
                  <a:pos x="122" y="162"/>
                </a:cxn>
                <a:cxn ang="0">
                  <a:pos x="130" y="162"/>
                </a:cxn>
                <a:cxn ang="0">
                  <a:pos x="138" y="170"/>
                </a:cxn>
                <a:cxn ang="0">
                  <a:pos x="140" y="178"/>
                </a:cxn>
                <a:cxn ang="0">
                  <a:pos x="142" y="188"/>
                </a:cxn>
                <a:cxn ang="0">
                  <a:pos x="140" y="196"/>
                </a:cxn>
                <a:cxn ang="0">
                  <a:pos x="136" y="202"/>
                </a:cxn>
                <a:cxn ang="0">
                  <a:pos x="156" y="210"/>
                </a:cxn>
                <a:cxn ang="0">
                  <a:pos x="160" y="210"/>
                </a:cxn>
                <a:cxn ang="0">
                  <a:pos x="158" y="196"/>
                </a:cxn>
                <a:cxn ang="0">
                  <a:pos x="162" y="190"/>
                </a:cxn>
                <a:cxn ang="0">
                  <a:pos x="176" y="198"/>
                </a:cxn>
                <a:cxn ang="0">
                  <a:pos x="198" y="212"/>
                </a:cxn>
                <a:cxn ang="0">
                  <a:pos x="192" y="194"/>
                </a:cxn>
                <a:cxn ang="0">
                  <a:pos x="182" y="176"/>
                </a:cxn>
                <a:cxn ang="0">
                  <a:pos x="180" y="162"/>
                </a:cxn>
                <a:cxn ang="0">
                  <a:pos x="160" y="154"/>
                </a:cxn>
                <a:cxn ang="0">
                  <a:pos x="146" y="148"/>
                </a:cxn>
                <a:cxn ang="0">
                  <a:pos x="140" y="130"/>
                </a:cxn>
                <a:cxn ang="0">
                  <a:pos x="132" y="122"/>
                </a:cxn>
                <a:cxn ang="0">
                  <a:pos x="118" y="108"/>
                </a:cxn>
                <a:cxn ang="0">
                  <a:pos x="114" y="96"/>
                </a:cxn>
                <a:cxn ang="0">
                  <a:pos x="110" y="92"/>
                </a:cxn>
                <a:cxn ang="0">
                  <a:pos x="90" y="82"/>
                </a:cxn>
                <a:cxn ang="0">
                  <a:pos x="80" y="74"/>
                </a:cxn>
                <a:cxn ang="0">
                  <a:pos x="94" y="68"/>
                </a:cxn>
                <a:cxn ang="0">
                  <a:pos x="102" y="68"/>
                </a:cxn>
                <a:cxn ang="0">
                  <a:pos x="106" y="58"/>
                </a:cxn>
                <a:cxn ang="0">
                  <a:pos x="98" y="46"/>
                </a:cxn>
                <a:cxn ang="0">
                  <a:pos x="68" y="42"/>
                </a:cxn>
                <a:cxn ang="0">
                  <a:pos x="50" y="38"/>
                </a:cxn>
                <a:cxn ang="0">
                  <a:pos x="44" y="30"/>
                </a:cxn>
                <a:cxn ang="0">
                  <a:pos x="44" y="24"/>
                </a:cxn>
                <a:cxn ang="0">
                  <a:pos x="22" y="6"/>
                </a:cxn>
              </a:cxnLst>
              <a:rect l="0" t="0" r="r" b="b"/>
              <a:pathLst>
                <a:path w="198" h="212">
                  <a:moveTo>
                    <a:pt x="18" y="0"/>
                  </a:moveTo>
                  <a:lnTo>
                    <a:pt x="18" y="0"/>
                  </a:lnTo>
                  <a:lnTo>
                    <a:pt x="8" y="2"/>
                  </a:lnTo>
                  <a:lnTo>
                    <a:pt x="6" y="4"/>
                  </a:lnTo>
                  <a:lnTo>
                    <a:pt x="4" y="6"/>
                  </a:lnTo>
                  <a:lnTo>
                    <a:pt x="4" y="6"/>
                  </a:lnTo>
                  <a:lnTo>
                    <a:pt x="6" y="10"/>
                  </a:lnTo>
                  <a:lnTo>
                    <a:pt x="8" y="14"/>
                  </a:lnTo>
                  <a:lnTo>
                    <a:pt x="12" y="20"/>
                  </a:lnTo>
                  <a:lnTo>
                    <a:pt x="16" y="26"/>
                  </a:lnTo>
                  <a:lnTo>
                    <a:pt x="16" y="26"/>
                  </a:lnTo>
                  <a:lnTo>
                    <a:pt x="18" y="30"/>
                  </a:lnTo>
                  <a:lnTo>
                    <a:pt x="16" y="32"/>
                  </a:lnTo>
                  <a:lnTo>
                    <a:pt x="16" y="34"/>
                  </a:lnTo>
                  <a:lnTo>
                    <a:pt x="14" y="36"/>
                  </a:lnTo>
                  <a:lnTo>
                    <a:pt x="8" y="34"/>
                  </a:lnTo>
                  <a:lnTo>
                    <a:pt x="6" y="30"/>
                  </a:lnTo>
                  <a:lnTo>
                    <a:pt x="6" y="30"/>
                  </a:lnTo>
                  <a:lnTo>
                    <a:pt x="2" y="34"/>
                  </a:lnTo>
                  <a:lnTo>
                    <a:pt x="0" y="38"/>
                  </a:lnTo>
                  <a:lnTo>
                    <a:pt x="0" y="42"/>
                  </a:lnTo>
                  <a:lnTo>
                    <a:pt x="2" y="48"/>
                  </a:lnTo>
                  <a:lnTo>
                    <a:pt x="2" y="50"/>
                  </a:lnTo>
                  <a:lnTo>
                    <a:pt x="0" y="52"/>
                  </a:lnTo>
                  <a:lnTo>
                    <a:pt x="0" y="52"/>
                  </a:lnTo>
                  <a:lnTo>
                    <a:pt x="2" y="56"/>
                  </a:lnTo>
                  <a:lnTo>
                    <a:pt x="4" y="56"/>
                  </a:lnTo>
                  <a:lnTo>
                    <a:pt x="4" y="56"/>
                  </a:lnTo>
                  <a:lnTo>
                    <a:pt x="6" y="60"/>
                  </a:lnTo>
                  <a:lnTo>
                    <a:pt x="6" y="60"/>
                  </a:lnTo>
                  <a:lnTo>
                    <a:pt x="8" y="64"/>
                  </a:lnTo>
                  <a:lnTo>
                    <a:pt x="10" y="66"/>
                  </a:lnTo>
                  <a:lnTo>
                    <a:pt x="18" y="64"/>
                  </a:lnTo>
                  <a:lnTo>
                    <a:pt x="24" y="64"/>
                  </a:lnTo>
                  <a:lnTo>
                    <a:pt x="26" y="64"/>
                  </a:lnTo>
                  <a:lnTo>
                    <a:pt x="28" y="66"/>
                  </a:lnTo>
                  <a:lnTo>
                    <a:pt x="28" y="66"/>
                  </a:lnTo>
                  <a:lnTo>
                    <a:pt x="28" y="72"/>
                  </a:lnTo>
                  <a:lnTo>
                    <a:pt x="22" y="84"/>
                  </a:lnTo>
                  <a:lnTo>
                    <a:pt x="20" y="98"/>
                  </a:lnTo>
                  <a:lnTo>
                    <a:pt x="20" y="104"/>
                  </a:lnTo>
                  <a:lnTo>
                    <a:pt x="20" y="110"/>
                  </a:lnTo>
                  <a:lnTo>
                    <a:pt x="20" y="110"/>
                  </a:lnTo>
                  <a:lnTo>
                    <a:pt x="22" y="112"/>
                  </a:lnTo>
                  <a:lnTo>
                    <a:pt x="24" y="110"/>
                  </a:lnTo>
                  <a:lnTo>
                    <a:pt x="30" y="106"/>
                  </a:lnTo>
                  <a:lnTo>
                    <a:pt x="34" y="104"/>
                  </a:lnTo>
                  <a:lnTo>
                    <a:pt x="38" y="102"/>
                  </a:lnTo>
                  <a:lnTo>
                    <a:pt x="42" y="102"/>
                  </a:lnTo>
                  <a:lnTo>
                    <a:pt x="46" y="106"/>
                  </a:lnTo>
                  <a:lnTo>
                    <a:pt x="46" y="106"/>
                  </a:lnTo>
                  <a:lnTo>
                    <a:pt x="52" y="110"/>
                  </a:lnTo>
                  <a:lnTo>
                    <a:pt x="56" y="112"/>
                  </a:lnTo>
                  <a:lnTo>
                    <a:pt x="60" y="110"/>
                  </a:lnTo>
                  <a:lnTo>
                    <a:pt x="64" y="108"/>
                  </a:lnTo>
                  <a:lnTo>
                    <a:pt x="70" y="108"/>
                  </a:lnTo>
                  <a:lnTo>
                    <a:pt x="76" y="106"/>
                  </a:lnTo>
                  <a:lnTo>
                    <a:pt x="80" y="108"/>
                  </a:lnTo>
                  <a:lnTo>
                    <a:pt x="86" y="114"/>
                  </a:lnTo>
                  <a:lnTo>
                    <a:pt x="86" y="114"/>
                  </a:lnTo>
                  <a:lnTo>
                    <a:pt x="98" y="124"/>
                  </a:lnTo>
                  <a:lnTo>
                    <a:pt x="104" y="128"/>
                  </a:lnTo>
                  <a:lnTo>
                    <a:pt x="108" y="132"/>
                  </a:lnTo>
                  <a:lnTo>
                    <a:pt x="108" y="138"/>
                  </a:lnTo>
                  <a:lnTo>
                    <a:pt x="108" y="138"/>
                  </a:lnTo>
                  <a:lnTo>
                    <a:pt x="108" y="142"/>
                  </a:lnTo>
                  <a:lnTo>
                    <a:pt x="108" y="146"/>
                  </a:lnTo>
                  <a:lnTo>
                    <a:pt x="114" y="156"/>
                  </a:lnTo>
                  <a:lnTo>
                    <a:pt x="122" y="162"/>
                  </a:lnTo>
                  <a:lnTo>
                    <a:pt x="126" y="162"/>
                  </a:lnTo>
                  <a:lnTo>
                    <a:pt x="130" y="162"/>
                  </a:lnTo>
                  <a:lnTo>
                    <a:pt x="130" y="162"/>
                  </a:lnTo>
                  <a:lnTo>
                    <a:pt x="132" y="166"/>
                  </a:lnTo>
                  <a:lnTo>
                    <a:pt x="136" y="168"/>
                  </a:lnTo>
                  <a:lnTo>
                    <a:pt x="138" y="170"/>
                  </a:lnTo>
                  <a:lnTo>
                    <a:pt x="138" y="174"/>
                  </a:lnTo>
                  <a:lnTo>
                    <a:pt x="138" y="174"/>
                  </a:lnTo>
                  <a:lnTo>
                    <a:pt x="140" y="178"/>
                  </a:lnTo>
                  <a:lnTo>
                    <a:pt x="142" y="182"/>
                  </a:lnTo>
                  <a:lnTo>
                    <a:pt x="144" y="184"/>
                  </a:lnTo>
                  <a:lnTo>
                    <a:pt x="142" y="188"/>
                  </a:lnTo>
                  <a:lnTo>
                    <a:pt x="142" y="188"/>
                  </a:lnTo>
                  <a:lnTo>
                    <a:pt x="140" y="192"/>
                  </a:lnTo>
                  <a:lnTo>
                    <a:pt x="140" y="196"/>
                  </a:lnTo>
                  <a:lnTo>
                    <a:pt x="138" y="198"/>
                  </a:lnTo>
                  <a:lnTo>
                    <a:pt x="136" y="202"/>
                  </a:lnTo>
                  <a:lnTo>
                    <a:pt x="136" y="202"/>
                  </a:lnTo>
                  <a:lnTo>
                    <a:pt x="150" y="204"/>
                  </a:lnTo>
                  <a:lnTo>
                    <a:pt x="154" y="206"/>
                  </a:lnTo>
                  <a:lnTo>
                    <a:pt x="156" y="210"/>
                  </a:lnTo>
                  <a:lnTo>
                    <a:pt x="158" y="212"/>
                  </a:lnTo>
                  <a:lnTo>
                    <a:pt x="158" y="212"/>
                  </a:lnTo>
                  <a:lnTo>
                    <a:pt x="160" y="210"/>
                  </a:lnTo>
                  <a:lnTo>
                    <a:pt x="160" y="208"/>
                  </a:lnTo>
                  <a:lnTo>
                    <a:pt x="160" y="202"/>
                  </a:lnTo>
                  <a:lnTo>
                    <a:pt x="158" y="196"/>
                  </a:lnTo>
                  <a:lnTo>
                    <a:pt x="160" y="192"/>
                  </a:lnTo>
                  <a:lnTo>
                    <a:pt x="162" y="190"/>
                  </a:lnTo>
                  <a:lnTo>
                    <a:pt x="162" y="190"/>
                  </a:lnTo>
                  <a:lnTo>
                    <a:pt x="164" y="190"/>
                  </a:lnTo>
                  <a:lnTo>
                    <a:pt x="168" y="192"/>
                  </a:lnTo>
                  <a:lnTo>
                    <a:pt x="176" y="198"/>
                  </a:lnTo>
                  <a:lnTo>
                    <a:pt x="186" y="206"/>
                  </a:lnTo>
                  <a:lnTo>
                    <a:pt x="192" y="210"/>
                  </a:lnTo>
                  <a:lnTo>
                    <a:pt x="198" y="212"/>
                  </a:lnTo>
                  <a:lnTo>
                    <a:pt x="198" y="212"/>
                  </a:lnTo>
                  <a:lnTo>
                    <a:pt x="196" y="204"/>
                  </a:lnTo>
                  <a:lnTo>
                    <a:pt x="192" y="194"/>
                  </a:lnTo>
                  <a:lnTo>
                    <a:pt x="184" y="180"/>
                  </a:lnTo>
                  <a:lnTo>
                    <a:pt x="184" y="180"/>
                  </a:lnTo>
                  <a:lnTo>
                    <a:pt x="182" y="176"/>
                  </a:lnTo>
                  <a:lnTo>
                    <a:pt x="182" y="174"/>
                  </a:lnTo>
                  <a:lnTo>
                    <a:pt x="182" y="166"/>
                  </a:lnTo>
                  <a:lnTo>
                    <a:pt x="180" y="162"/>
                  </a:lnTo>
                  <a:lnTo>
                    <a:pt x="176" y="160"/>
                  </a:lnTo>
                  <a:lnTo>
                    <a:pt x="170" y="156"/>
                  </a:lnTo>
                  <a:lnTo>
                    <a:pt x="160" y="154"/>
                  </a:lnTo>
                  <a:lnTo>
                    <a:pt x="160" y="154"/>
                  </a:lnTo>
                  <a:lnTo>
                    <a:pt x="152" y="150"/>
                  </a:lnTo>
                  <a:lnTo>
                    <a:pt x="146" y="148"/>
                  </a:lnTo>
                  <a:lnTo>
                    <a:pt x="144" y="142"/>
                  </a:lnTo>
                  <a:lnTo>
                    <a:pt x="142" y="138"/>
                  </a:lnTo>
                  <a:lnTo>
                    <a:pt x="140" y="130"/>
                  </a:lnTo>
                  <a:lnTo>
                    <a:pt x="138" y="126"/>
                  </a:lnTo>
                  <a:lnTo>
                    <a:pt x="132" y="122"/>
                  </a:lnTo>
                  <a:lnTo>
                    <a:pt x="132" y="122"/>
                  </a:lnTo>
                  <a:lnTo>
                    <a:pt x="126" y="120"/>
                  </a:lnTo>
                  <a:lnTo>
                    <a:pt x="122" y="116"/>
                  </a:lnTo>
                  <a:lnTo>
                    <a:pt x="118" y="108"/>
                  </a:lnTo>
                  <a:lnTo>
                    <a:pt x="116" y="100"/>
                  </a:lnTo>
                  <a:lnTo>
                    <a:pt x="116" y="98"/>
                  </a:lnTo>
                  <a:lnTo>
                    <a:pt x="114" y="96"/>
                  </a:lnTo>
                  <a:lnTo>
                    <a:pt x="114" y="96"/>
                  </a:lnTo>
                  <a:lnTo>
                    <a:pt x="112" y="94"/>
                  </a:lnTo>
                  <a:lnTo>
                    <a:pt x="110" y="92"/>
                  </a:lnTo>
                  <a:lnTo>
                    <a:pt x="106" y="88"/>
                  </a:lnTo>
                  <a:lnTo>
                    <a:pt x="90" y="82"/>
                  </a:lnTo>
                  <a:lnTo>
                    <a:pt x="90" y="82"/>
                  </a:lnTo>
                  <a:lnTo>
                    <a:pt x="84" y="80"/>
                  </a:lnTo>
                  <a:lnTo>
                    <a:pt x="80" y="76"/>
                  </a:lnTo>
                  <a:lnTo>
                    <a:pt x="80" y="74"/>
                  </a:lnTo>
                  <a:lnTo>
                    <a:pt x="82" y="72"/>
                  </a:lnTo>
                  <a:lnTo>
                    <a:pt x="88" y="68"/>
                  </a:lnTo>
                  <a:lnTo>
                    <a:pt x="94" y="68"/>
                  </a:lnTo>
                  <a:lnTo>
                    <a:pt x="94" y="68"/>
                  </a:lnTo>
                  <a:lnTo>
                    <a:pt x="98" y="68"/>
                  </a:lnTo>
                  <a:lnTo>
                    <a:pt x="102" y="68"/>
                  </a:lnTo>
                  <a:lnTo>
                    <a:pt x="104" y="64"/>
                  </a:lnTo>
                  <a:lnTo>
                    <a:pt x="106" y="58"/>
                  </a:lnTo>
                  <a:lnTo>
                    <a:pt x="106" y="58"/>
                  </a:lnTo>
                  <a:lnTo>
                    <a:pt x="104" y="54"/>
                  </a:lnTo>
                  <a:lnTo>
                    <a:pt x="98" y="46"/>
                  </a:lnTo>
                  <a:lnTo>
                    <a:pt x="98" y="46"/>
                  </a:lnTo>
                  <a:lnTo>
                    <a:pt x="94" y="44"/>
                  </a:lnTo>
                  <a:lnTo>
                    <a:pt x="88" y="42"/>
                  </a:lnTo>
                  <a:lnTo>
                    <a:pt x="68" y="42"/>
                  </a:lnTo>
                  <a:lnTo>
                    <a:pt x="68" y="42"/>
                  </a:lnTo>
                  <a:lnTo>
                    <a:pt x="58" y="40"/>
                  </a:lnTo>
                  <a:lnTo>
                    <a:pt x="50" y="38"/>
                  </a:lnTo>
                  <a:lnTo>
                    <a:pt x="46" y="34"/>
                  </a:lnTo>
                  <a:lnTo>
                    <a:pt x="44" y="32"/>
                  </a:lnTo>
                  <a:lnTo>
                    <a:pt x="44" y="30"/>
                  </a:lnTo>
                  <a:lnTo>
                    <a:pt x="44" y="30"/>
                  </a:lnTo>
                  <a:lnTo>
                    <a:pt x="44" y="26"/>
                  </a:lnTo>
                  <a:lnTo>
                    <a:pt x="44" y="24"/>
                  </a:lnTo>
                  <a:lnTo>
                    <a:pt x="36" y="20"/>
                  </a:lnTo>
                  <a:lnTo>
                    <a:pt x="26" y="12"/>
                  </a:lnTo>
                  <a:lnTo>
                    <a:pt x="22" y="6"/>
                  </a:lnTo>
                  <a:lnTo>
                    <a:pt x="18" y="0"/>
                  </a:lnTo>
                  <a:lnTo>
                    <a:pt x="18" y="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5" name="Freeform 184"/>
            <p:cNvSpPr>
              <a:spLocks/>
            </p:cNvSpPr>
            <p:nvPr/>
          </p:nvSpPr>
          <p:spPr bwMode="auto">
            <a:xfrm>
              <a:off x="6652914" y="2652448"/>
              <a:ext cx="248708" cy="632354"/>
            </a:xfrm>
            <a:custGeom>
              <a:avLst/>
              <a:gdLst/>
              <a:ahLst/>
              <a:cxnLst>
                <a:cxn ang="0">
                  <a:pos x="150" y="220"/>
                </a:cxn>
                <a:cxn ang="0">
                  <a:pos x="132" y="226"/>
                </a:cxn>
                <a:cxn ang="0">
                  <a:pos x="132" y="248"/>
                </a:cxn>
                <a:cxn ang="0">
                  <a:pos x="120" y="256"/>
                </a:cxn>
                <a:cxn ang="0">
                  <a:pos x="126" y="268"/>
                </a:cxn>
                <a:cxn ang="0">
                  <a:pos x="142" y="288"/>
                </a:cxn>
                <a:cxn ang="0">
                  <a:pos x="170" y="312"/>
                </a:cxn>
                <a:cxn ang="0">
                  <a:pos x="158" y="318"/>
                </a:cxn>
                <a:cxn ang="0">
                  <a:pos x="158" y="336"/>
                </a:cxn>
                <a:cxn ang="0">
                  <a:pos x="154" y="352"/>
                </a:cxn>
                <a:cxn ang="0">
                  <a:pos x="178" y="378"/>
                </a:cxn>
                <a:cxn ang="0">
                  <a:pos x="188" y="428"/>
                </a:cxn>
                <a:cxn ang="0">
                  <a:pos x="176" y="462"/>
                </a:cxn>
                <a:cxn ang="0">
                  <a:pos x="174" y="478"/>
                </a:cxn>
                <a:cxn ang="0">
                  <a:pos x="174" y="440"/>
                </a:cxn>
                <a:cxn ang="0">
                  <a:pos x="170" y="420"/>
                </a:cxn>
                <a:cxn ang="0">
                  <a:pos x="158" y="378"/>
                </a:cxn>
                <a:cxn ang="0">
                  <a:pos x="148" y="352"/>
                </a:cxn>
                <a:cxn ang="0">
                  <a:pos x="134" y="314"/>
                </a:cxn>
                <a:cxn ang="0">
                  <a:pos x="116" y="290"/>
                </a:cxn>
                <a:cxn ang="0">
                  <a:pos x="114" y="320"/>
                </a:cxn>
                <a:cxn ang="0">
                  <a:pos x="100" y="332"/>
                </a:cxn>
                <a:cxn ang="0">
                  <a:pos x="84" y="330"/>
                </a:cxn>
                <a:cxn ang="0">
                  <a:pos x="68" y="330"/>
                </a:cxn>
                <a:cxn ang="0">
                  <a:pos x="62" y="314"/>
                </a:cxn>
                <a:cxn ang="0">
                  <a:pos x="60" y="266"/>
                </a:cxn>
                <a:cxn ang="0">
                  <a:pos x="24" y="220"/>
                </a:cxn>
                <a:cxn ang="0">
                  <a:pos x="12" y="214"/>
                </a:cxn>
                <a:cxn ang="0">
                  <a:pos x="4" y="192"/>
                </a:cxn>
                <a:cxn ang="0">
                  <a:pos x="10" y="174"/>
                </a:cxn>
                <a:cxn ang="0">
                  <a:pos x="20" y="148"/>
                </a:cxn>
                <a:cxn ang="0">
                  <a:pos x="34" y="142"/>
                </a:cxn>
                <a:cxn ang="0">
                  <a:pos x="34" y="104"/>
                </a:cxn>
                <a:cxn ang="0">
                  <a:pos x="32" y="78"/>
                </a:cxn>
                <a:cxn ang="0">
                  <a:pos x="52" y="48"/>
                </a:cxn>
                <a:cxn ang="0">
                  <a:pos x="82" y="30"/>
                </a:cxn>
                <a:cxn ang="0">
                  <a:pos x="80" y="16"/>
                </a:cxn>
                <a:cxn ang="0">
                  <a:pos x="72" y="0"/>
                </a:cxn>
                <a:cxn ang="0">
                  <a:pos x="102" y="20"/>
                </a:cxn>
                <a:cxn ang="0">
                  <a:pos x="112" y="28"/>
                </a:cxn>
                <a:cxn ang="0">
                  <a:pos x="124" y="68"/>
                </a:cxn>
                <a:cxn ang="0">
                  <a:pos x="106" y="80"/>
                </a:cxn>
                <a:cxn ang="0">
                  <a:pos x="102" y="98"/>
                </a:cxn>
                <a:cxn ang="0">
                  <a:pos x="102" y="112"/>
                </a:cxn>
                <a:cxn ang="0">
                  <a:pos x="96" y="124"/>
                </a:cxn>
                <a:cxn ang="0">
                  <a:pos x="108" y="126"/>
                </a:cxn>
                <a:cxn ang="0">
                  <a:pos x="116" y="136"/>
                </a:cxn>
                <a:cxn ang="0">
                  <a:pos x="122" y="146"/>
                </a:cxn>
                <a:cxn ang="0">
                  <a:pos x="132" y="150"/>
                </a:cxn>
                <a:cxn ang="0">
                  <a:pos x="122" y="170"/>
                </a:cxn>
                <a:cxn ang="0">
                  <a:pos x="150" y="182"/>
                </a:cxn>
                <a:cxn ang="0">
                  <a:pos x="176" y="192"/>
                </a:cxn>
                <a:cxn ang="0">
                  <a:pos x="172" y="212"/>
                </a:cxn>
              </a:cxnLst>
              <a:rect l="0" t="0" r="r" b="b"/>
              <a:pathLst>
                <a:path w="188" h="478">
                  <a:moveTo>
                    <a:pt x="170" y="214"/>
                  </a:moveTo>
                  <a:lnTo>
                    <a:pt x="170" y="214"/>
                  </a:lnTo>
                  <a:lnTo>
                    <a:pt x="154" y="216"/>
                  </a:lnTo>
                  <a:lnTo>
                    <a:pt x="152" y="216"/>
                  </a:lnTo>
                  <a:lnTo>
                    <a:pt x="150" y="220"/>
                  </a:lnTo>
                  <a:lnTo>
                    <a:pt x="150" y="220"/>
                  </a:lnTo>
                  <a:lnTo>
                    <a:pt x="150" y="222"/>
                  </a:lnTo>
                  <a:lnTo>
                    <a:pt x="148" y="222"/>
                  </a:lnTo>
                  <a:lnTo>
                    <a:pt x="144" y="222"/>
                  </a:lnTo>
                  <a:lnTo>
                    <a:pt x="138" y="222"/>
                  </a:lnTo>
                  <a:lnTo>
                    <a:pt x="134" y="224"/>
                  </a:lnTo>
                  <a:lnTo>
                    <a:pt x="132" y="226"/>
                  </a:lnTo>
                  <a:lnTo>
                    <a:pt x="132" y="226"/>
                  </a:lnTo>
                  <a:lnTo>
                    <a:pt x="130" y="230"/>
                  </a:lnTo>
                  <a:lnTo>
                    <a:pt x="128" y="234"/>
                  </a:lnTo>
                  <a:lnTo>
                    <a:pt x="130" y="240"/>
                  </a:lnTo>
                  <a:lnTo>
                    <a:pt x="132" y="244"/>
                  </a:lnTo>
                  <a:lnTo>
                    <a:pt x="132" y="248"/>
                  </a:lnTo>
                  <a:lnTo>
                    <a:pt x="130" y="250"/>
                  </a:lnTo>
                  <a:lnTo>
                    <a:pt x="130" y="250"/>
                  </a:lnTo>
                  <a:lnTo>
                    <a:pt x="128" y="254"/>
                  </a:lnTo>
                  <a:lnTo>
                    <a:pt x="124" y="254"/>
                  </a:lnTo>
                  <a:lnTo>
                    <a:pt x="122" y="254"/>
                  </a:lnTo>
                  <a:lnTo>
                    <a:pt x="120" y="256"/>
                  </a:lnTo>
                  <a:lnTo>
                    <a:pt x="120" y="256"/>
                  </a:lnTo>
                  <a:lnTo>
                    <a:pt x="120" y="260"/>
                  </a:lnTo>
                  <a:lnTo>
                    <a:pt x="122" y="262"/>
                  </a:lnTo>
                  <a:lnTo>
                    <a:pt x="124" y="266"/>
                  </a:lnTo>
                  <a:lnTo>
                    <a:pt x="126" y="268"/>
                  </a:lnTo>
                  <a:lnTo>
                    <a:pt x="126" y="268"/>
                  </a:lnTo>
                  <a:lnTo>
                    <a:pt x="124" y="270"/>
                  </a:lnTo>
                  <a:lnTo>
                    <a:pt x="124" y="272"/>
                  </a:lnTo>
                  <a:lnTo>
                    <a:pt x="130" y="276"/>
                  </a:lnTo>
                  <a:lnTo>
                    <a:pt x="136" y="282"/>
                  </a:lnTo>
                  <a:lnTo>
                    <a:pt x="142" y="288"/>
                  </a:lnTo>
                  <a:lnTo>
                    <a:pt x="142" y="288"/>
                  </a:lnTo>
                  <a:lnTo>
                    <a:pt x="150" y="296"/>
                  </a:lnTo>
                  <a:lnTo>
                    <a:pt x="158" y="302"/>
                  </a:lnTo>
                  <a:lnTo>
                    <a:pt x="166" y="306"/>
                  </a:lnTo>
                  <a:lnTo>
                    <a:pt x="170" y="310"/>
                  </a:lnTo>
                  <a:lnTo>
                    <a:pt x="170" y="310"/>
                  </a:lnTo>
                  <a:lnTo>
                    <a:pt x="170" y="312"/>
                  </a:lnTo>
                  <a:lnTo>
                    <a:pt x="168" y="312"/>
                  </a:lnTo>
                  <a:lnTo>
                    <a:pt x="164" y="312"/>
                  </a:lnTo>
                  <a:lnTo>
                    <a:pt x="160" y="314"/>
                  </a:lnTo>
                  <a:lnTo>
                    <a:pt x="160" y="316"/>
                  </a:lnTo>
                  <a:lnTo>
                    <a:pt x="158" y="318"/>
                  </a:lnTo>
                  <a:lnTo>
                    <a:pt x="158" y="318"/>
                  </a:lnTo>
                  <a:lnTo>
                    <a:pt x="158" y="322"/>
                  </a:lnTo>
                  <a:lnTo>
                    <a:pt x="160" y="324"/>
                  </a:lnTo>
                  <a:lnTo>
                    <a:pt x="160" y="326"/>
                  </a:lnTo>
                  <a:lnTo>
                    <a:pt x="158" y="332"/>
                  </a:lnTo>
                  <a:lnTo>
                    <a:pt x="158" y="332"/>
                  </a:lnTo>
                  <a:lnTo>
                    <a:pt x="158" y="336"/>
                  </a:lnTo>
                  <a:lnTo>
                    <a:pt x="158" y="340"/>
                  </a:lnTo>
                  <a:lnTo>
                    <a:pt x="160" y="344"/>
                  </a:lnTo>
                  <a:lnTo>
                    <a:pt x="158" y="346"/>
                  </a:lnTo>
                  <a:lnTo>
                    <a:pt x="158" y="346"/>
                  </a:lnTo>
                  <a:lnTo>
                    <a:pt x="156" y="348"/>
                  </a:lnTo>
                  <a:lnTo>
                    <a:pt x="154" y="352"/>
                  </a:lnTo>
                  <a:lnTo>
                    <a:pt x="156" y="356"/>
                  </a:lnTo>
                  <a:lnTo>
                    <a:pt x="162" y="364"/>
                  </a:lnTo>
                  <a:lnTo>
                    <a:pt x="172" y="372"/>
                  </a:lnTo>
                  <a:lnTo>
                    <a:pt x="172" y="372"/>
                  </a:lnTo>
                  <a:lnTo>
                    <a:pt x="176" y="374"/>
                  </a:lnTo>
                  <a:lnTo>
                    <a:pt x="178" y="378"/>
                  </a:lnTo>
                  <a:lnTo>
                    <a:pt x="178" y="386"/>
                  </a:lnTo>
                  <a:lnTo>
                    <a:pt x="178" y="398"/>
                  </a:lnTo>
                  <a:lnTo>
                    <a:pt x="180" y="406"/>
                  </a:lnTo>
                  <a:lnTo>
                    <a:pt x="184" y="418"/>
                  </a:lnTo>
                  <a:lnTo>
                    <a:pt x="184" y="418"/>
                  </a:lnTo>
                  <a:lnTo>
                    <a:pt x="188" y="428"/>
                  </a:lnTo>
                  <a:lnTo>
                    <a:pt x="188" y="434"/>
                  </a:lnTo>
                  <a:lnTo>
                    <a:pt x="186" y="440"/>
                  </a:lnTo>
                  <a:lnTo>
                    <a:pt x="184" y="446"/>
                  </a:lnTo>
                  <a:lnTo>
                    <a:pt x="178" y="454"/>
                  </a:lnTo>
                  <a:lnTo>
                    <a:pt x="176" y="458"/>
                  </a:lnTo>
                  <a:lnTo>
                    <a:pt x="176" y="462"/>
                  </a:lnTo>
                  <a:lnTo>
                    <a:pt x="176" y="462"/>
                  </a:lnTo>
                  <a:lnTo>
                    <a:pt x="176" y="470"/>
                  </a:lnTo>
                  <a:lnTo>
                    <a:pt x="176" y="472"/>
                  </a:lnTo>
                  <a:lnTo>
                    <a:pt x="174" y="474"/>
                  </a:lnTo>
                  <a:lnTo>
                    <a:pt x="174" y="478"/>
                  </a:lnTo>
                  <a:lnTo>
                    <a:pt x="174" y="478"/>
                  </a:lnTo>
                  <a:lnTo>
                    <a:pt x="168" y="468"/>
                  </a:lnTo>
                  <a:lnTo>
                    <a:pt x="168" y="460"/>
                  </a:lnTo>
                  <a:lnTo>
                    <a:pt x="168" y="452"/>
                  </a:lnTo>
                  <a:lnTo>
                    <a:pt x="170" y="448"/>
                  </a:lnTo>
                  <a:lnTo>
                    <a:pt x="174" y="444"/>
                  </a:lnTo>
                  <a:lnTo>
                    <a:pt x="174" y="440"/>
                  </a:lnTo>
                  <a:lnTo>
                    <a:pt x="174" y="434"/>
                  </a:lnTo>
                  <a:lnTo>
                    <a:pt x="170" y="430"/>
                  </a:lnTo>
                  <a:lnTo>
                    <a:pt x="170" y="430"/>
                  </a:lnTo>
                  <a:lnTo>
                    <a:pt x="166" y="426"/>
                  </a:lnTo>
                  <a:lnTo>
                    <a:pt x="168" y="424"/>
                  </a:lnTo>
                  <a:lnTo>
                    <a:pt x="170" y="420"/>
                  </a:lnTo>
                  <a:lnTo>
                    <a:pt x="170" y="416"/>
                  </a:lnTo>
                  <a:lnTo>
                    <a:pt x="170" y="410"/>
                  </a:lnTo>
                  <a:lnTo>
                    <a:pt x="170" y="410"/>
                  </a:lnTo>
                  <a:lnTo>
                    <a:pt x="162" y="386"/>
                  </a:lnTo>
                  <a:lnTo>
                    <a:pt x="160" y="378"/>
                  </a:lnTo>
                  <a:lnTo>
                    <a:pt x="158" y="378"/>
                  </a:lnTo>
                  <a:lnTo>
                    <a:pt x="156" y="378"/>
                  </a:lnTo>
                  <a:lnTo>
                    <a:pt x="156" y="378"/>
                  </a:lnTo>
                  <a:lnTo>
                    <a:pt x="156" y="378"/>
                  </a:lnTo>
                  <a:lnTo>
                    <a:pt x="154" y="376"/>
                  </a:lnTo>
                  <a:lnTo>
                    <a:pt x="152" y="368"/>
                  </a:lnTo>
                  <a:lnTo>
                    <a:pt x="148" y="352"/>
                  </a:lnTo>
                  <a:lnTo>
                    <a:pt x="148" y="352"/>
                  </a:lnTo>
                  <a:lnTo>
                    <a:pt x="142" y="334"/>
                  </a:lnTo>
                  <a:lnTo>
                    <a:pt x="138" y="322"/>
                  </a:lnTo>
                  <a:lnTo>
                    <a:pt x="138" y="322"/>
                  </a:lnTo>
                  <a:lnTo>
                    <a:pt x="136" y="318"/>
                  </a:lnTo>
                  <a:lnTo>
                    <a:pt x="134" y="314"/>
                  </a:lnTo>
                  <a:lnTo>
                    <a:pt x="132" y="312"/>
                  </a:lnTo>
                  <a:lnTo>
                    <a:pt x="132" y="306"/>
                  </a:lnTo>
                  <a:lnTo>
                    <a:pt x="132" y="306"/>
                  </a:lnTo>
                  <a:lnTo>
                    <a:pt x="128" y="308"/>
                  </a:lnTo>
                  <a:lnTo>
                    <a:pt x="126" y="306"/>
                  </a:lnTo>
                  <a:lnTo>
                    <a:pt x="116" y="290"/>
                  </a:lnTo>
                  <a:lnTo>
                    <a:pt x="116" y="290"/>
                  </a:lnTo>
                  <a:lnTo>
                    <a:pt x="120" y="310"/>
                  </a:lnTo>
                  <a:lnTo>
                    <a:pt x="120" y="316"/>
                  </a:lnTo>
                  <a:lnTo>
                    <a:pt x="118" y="318"/>
                  </a:lnTo>
                  <a:lnTo>
                    <a:pt x="114" y="320"/>
                  </a:lnTo>
                  <a:lnTo>
                    <a:pt x="114" y="320"/>
                  </a:lnTo>
                  <a:lnTo>
                    <a:pt x="110" y="324"/>
                  </a:lnTo>
                  <a:lnTo>
                    <a:pt x="106" y="330"/>
                  </a:lnTo>
                  <a:lnTo>
                    <a:pt x="104" y="332"/>
                  </a:lnTo>
                  <a:lnTo>
                    <a:pt x="102" y="332"/>
                  </a:lnTo>
                  <a:lnTo>
                    <a:pt x="100" y="332"/>
                  </a:lnTo>
                  <a:lnTo>
                    <a:pt x="100" y="332"/>
                  </a:lnTo>
                  <a:lnTo>
                    <a:pt x="98" y="330"/>
                  </a:lnTo>
                  <a:lnTo>
                    <a:pt x="94" y="332"/>
                  </a:lnTo>
                  <a:lnTo>
                    <a:pt x="92" y="334"/>
                  </a:lnTo>
                  <a:lnTo>
                    <a:pt x="88" y="332"/>
                  </a:lnTo>
                  <a:lnTo>
                    <a:pt x="88" y="332"/>
                  </a:lnTo>
                  <a:lnTo>
                    <a:pt x="84" y="330"/>
                  </a:lnTo>
                  <a:lnTo>
                    <a:pt x="80" y="332"/>
                  </a:lnTo>
                  <a:lnTo>
                    <a:pt x="76" y="334"/>
                  </a:lnTo>
                  <a:lnTo>
                    <a:pt x="72" y="330"/>
                  </a:lnTo>
                  <a:lnTo>
                    <a:pt x="72" y="330"/>
                  </a:lnTo>
                  <a:lnTo>
                    <a:pt x="70" y="328"/>
                  </a:lnTo>
                  <a:lnTo>
                    <a:pt x="68" y="330"/>
                  </a:lnTo>
                  <a:lnTo>
                    <a:pt x="66" y="330"/>
                  </a:lnTo>
                  <a:lnTo>
                    <a:pt x="62" y="330"/>
                  </a:lnTo>
                  <a:lnTo>
                    <a:pt x="62" y="330"/>
                  </a:lnTo>
                  <a:lnTo>
                    <a:pt x="60" y="328"/>
                  </a:lnTo>
                  <a:lnTo>
                    <a:pt x="60" y="324"/>
                  </a:lnTo>
                  <a:lnTo>
                    <a:pt x="62" y="314"/>
                  </a:lnTo>
                  <a:lnTo>
                    <a:pt x="64" y="308"/>
                  </a:lnTo>
                  <a:lnTo>
                    <a:pt x="66" y="300"/>
                  </a:lnTo>
                  <a:lnTo>
                    <a:pt x="66" y="288"/>
                  </a:lnTo>
                  <a:lnTo>
                    <a:pt x="64" y="276"/>
                  </a:lnTo>
                  <a:lnTo>
                    <a:pt x="64" y="276"/>
                  </a:lnTo>
                  <a:lnTo>
                    <a:pt x="60" y="266"/>
                  </a:lnTo>
                  <a:lnTo>
                    <a:pt x="56" y="258"/>
                  </a:lnTo>
                  <a:lnTo>
                    <a:pt x="48" y="248"/>
                  </a:lnTo>
                  <a:lnTo>
                    <a:pt x="34" y="230"/>
                  </a:lnTo>
                  <a:lnTo>
                    <a:pt x="34" y="230"/>
                  </a:lnTo>
                  <a:lnTo>
                    <a:pt x="26" y="220"/>
                  </a:lnTo>
                  <a:lnTo>
                    <a:pt x="24" y="220"/>
                  </a:lnTo>
                  <a:lnTo>
                    <a:pt x="24" y="220"/>
                  </a:lnTo>
                  <a:lnTo>
                    <a:pt x="22" y="222"/>
                  </a:lnTo>
                  <a:lnTo>
                    <a:pt x="16" y="216"/>
                  </a:lnTo>
                  <a:lnTo>
                    <a:pt x="16" y="216"/>
                  </a:lnTo>
                  <a:lnTo>
                    <a:pt x="12" y="212"/>
                  </a:lnTo>
                  <a:lnTo>
                    <a:pt x="12" y="214"/>
                  </a:lnTo>
                  <a:lnTo>
                    <a:pt x="10" y="214"/>
                  </a:lnTo>
                  <a:lnTo>
                    <a:pt x="8" y="214"/>
                  </a:lnTo>
                  <a:lnTo>
                    <a:pt x="0" y="202"/>
                  </a:lnTo>
                  <a:lnTo>
                    <a:pt x="0" y="202"/>
                  </a:lnTo>
                  <a:lnTo>
                    <a:pt x="2" y="194"/>
                  </a:lnTo>
                  <a:lnTo>
                    <a:pt x="4" y="192"/>
                  </a:lnTo>
                  <a:lnTo>
                    <a:pt x="6" y="192"/>
                  </a:lnTo>
                  <a:lnTo>
                    <a:pt x="6" y="188"/>
                  </a:lnTo>
                  <a:lnTo>
                    <a:pt x="6" y="188"/>
                  </a:lnTo>
                  <a:lnTo>
                    <a:pt x="4" y="178"/>
                  </a:lnTo>
                  <a:lnTo>
                    <a:pt x="6" y="174"/>
                  </a:lnTo>
                  <a:lnTo>
                    <a:pt x="10" y="174"/>
                  </a:lnTo>
                  <a:lnTo>
                    <a:pt x="10" y="174"/>
                  </a:lnTo>
                  <a:lnTo>
                    <a:pt x="16" y="174"/>
                  </a:lnTo>
                  <a:lnTo>
                    <a:pt x="20" y="170"/>
                  </a:lnTo>
                  <a:lnTo>
                    <a:pt x="22" y="162"/>
                  </a:lnTo>
                  <a:lnTo>
                    <a:pt x="20" y="148"/>
                  </a:lnTo>
                  <a:lnTo>
                    <a:pt x="20" y="148"/>
                  </a:lnTo>
                  <a:lnTo>
                    <a:pt x="22" y="144"/>
                  </a:lnTo>
                  <a:lnTo>
                    <a:pt x="22" y="140"/>
                  </a:lnTo>
                  <a:lnTo>
                    <a:pt x="26" y="140"/>
                  </a:lnTo>
                  <a:lnTo>
                    <a:pt x="28" y="142"/>
                  </a:lnTo>
                  <a:lnTo>
                    <a:pt x="32" y="142"/>
                  </a:lnTo>
                  <a:lnTo>
                    <a:pt x="34" y="142"/>
                  </a:lnTo>
                  <a:lnTo>
                    <a:pt x="34" y="138"/>
                  </a:lnTo>
                  <a:lnTo>
                    <a:pt x="34" y="132"/>
                  </a:lnTo>
                  <a:lnTo>
                    <a:pt x="34" y="132"/>
                  </a:lnTo>
                  <a:lnTo>
                    <a:pt x="34" y="120"/>
                  </a:lnTo>
                  <a:lnTo>
                    <a:pt x="36" y="112"/>
                  </a:lnTo>
                  <a:lnTo>
                    <a:pt x="34" y="104"/>
                  </a:lnTo>
                  <a:lnTo>
                    <a:pt x="32" y="98"/>
                  </a:lnTo>
                  <a:lnTo>
                    <a:pt x="28" y="92"/>
                  </a:lnTo>
                  <a:lnTo>
                    <a:pt x="28" y="92"/>
                  </a:lnTo>
                  <a:lnTo>
                    <a:pt x="26" y="86"/>
                  </a:lnTo>
                  <a:lnTo>
                    <a:pt x="28" y="82"/>
                  </a:lnTo>
                  <a:lnTo>
                    <a:pt x="32" y="78"/>
                  </a:lnTo>
                  <a:lnTo>
                    <a:pt x="32" y="72"/>
                  </a:lnTo>
                  <a:lnTo>
                    <a:pt x="32" y="72"/>
                  </a:lnTo>
                  <a:lnTo>
                    <a:pt x="32" y="68"/>
                  </a:lnTo>
                  <a:lnTo>
                    <a:pt x="34" y="66"/>
                  </a:lnTo>
                  <a:lnTo>
                    <a:pt x="42" y="58"/>
                  </a:lnTo>
                  <a:lnTo>
                    <a:pt x="52" y="48"/>
                  </a:lnTo>
                  <a:lnTo>
                    <a:pt x="62" y="34"/>
                  </a:lnTo>
                  <a:lnTo>
                    <a:pt x="62" y="34"/>
                  </a:lnTo>
                  <a:lnTo>
                    <a:pt x="66" y="32"/>
                  </a:lnTo>
                  <a:lnTo>
                    <a:pt x="70" y="30"/>
                  </a:lnTo>
                  <a:lnTo>
                    <a:pt x="78" y="30"/>
                  </a:lnTo>
                  <a:lnTo>
                    <a:pt x="82" y="30"/>
                  </a:lnTo>
                  <a:lnTo>
                    <a:pt x="82" y="28"/>
                  </a:lnTo>
                  <a:lnTo>
                    <a:pt x="78" y="24"/>
                  </a:lnTo>
                  <a:lnTo>
                    <a:pt x="78" y="24"/>
                  </a:lnTo>
                  <a:lnTo>
                    <a:pt x="76" y="20"/>
                  </a:lnTo>
                  <a:lnTo>
                    <a:pt x="76" y="18"/>
                  </a:lnTo>
                  <a:lnTo>
                    <a:pt x="80" y="16"/>
                  </a:lnTo>
                  <a:lnTo>
                    <a:pt x="82" y="14"/>
                  </a:lnTo>
                  <a:lnTo>
                    <a:pt x="80" y="10"/>
                  </a:lnTo>
                  <a:lnTo>
                    <a:pt x="78" y="6"/>
                  </a:lnTo>
                  <a:lnTo>
                    <a:pt x="68" y="0"/>
                  </a:lnTo>
                  <a:lnTo>
                    <a:pt x="68" y="0"/>
                  </a:lnTo>
                  <a:lnTo>
                    <a:pt x="72" y="0"/>
                  </a:lnTo>
                  <a:lnTo>
                    <a:pt x="76" y="0"/>
                  </a:lnTo>
                  <a:lnTo>
                    <a:pt x="82" y="2"/>
                  </a:lnTo>
                  <a:lnTo>
                    <a:pt x="90" y="8"/>
                  </a:lnTo>
                  <a:lnTo>
                    <a:pt x="90" y="8"/>
                  </a:lnTo>
                  <a:lnTo>
                    <a:pt x="100" y="16"/>
                  </a:lnTo>
                  <a:lnTo>
                    <a:pt x="102" y="20"/>
                  </a:lnTo>
                  <a:lnTo>
                    <a:pt x="102" y="22"/>
                  </a:lnTo>
                  <a:lnTo>
                    <a:pt x="106" y="20"/>
                  </a:lnTo>
                  <a:lnTo>
                    <a:pt x="106" y="20"/>
                  </a:lnTo>
                  <a:lnTo>
                    <a:pt x="108" y="18"/>
                  </a:lnTo>
                  <a:lnTo>
                    <a:pt x="110" y="20"/>
                  </a:lnTo>
                  <a:lnTo>
                    <a:pt x="112" y="28"/>
                  </a:lnTo>
                  <a:lnTo>
                    <a:pt x="114" y="42"/>
                  </a:lnTo>
                  <a:lnTo>
                    <a:pt x="116" y="50"/>
                  </a:lnTo>
                  <a:lnTo>
                    <a:pt x="120" y="58"/>
                  </a:lnTo>
                  <a:lnTo>
                    <a:pt x="120" y="58"/>
                  </a:lnTo>
                  <a:lnTo>
                    <a:pt x="124" y="66"/>
                  </a:lnTo>
                  <a:lnTo>
                    <a:pt x="124" y="68"/>
                  </a:lnTo>
                  <a:lnTo>
                    <a:pt x="122" y="68"/>
                  </a:lnTo>
                  <a:lnTo>
                    <a:pt x="118" y="66"/>
                  </a:lnTo>
                  <a:lnTo>
                    <a:pt x="116" y="66"/>
                  </a:lnTo>
                  <a:lnTo>
                    <a:pt x="116" y="66"/>
                  </a:lnTo>
                  <a:lnTo>
                    <a:pt x="110" y="76"/>
                  </a:lnTo>
                  <a:lnTo>
                    <a:pt x="106" y="80"/>
                  </a:lnTo>
                  <a:lnTo>
                    <a:pt x="102" y="86"/>
                  </a:lnTo>
                  <a:lnTo>
                    <a:pt x="102" y="88"/>
                  </a:lnTo>
                  <a:lnTo>
                    <a:pt x="104" y="92"/>
                  </a:lnTo>
                  <a:lnTo>
                    <a:pt x="104" y="92"/>
                  </a:lnTo>
                  <a:lnTo>
                    <a:pt x="104" y="96"/>
                  </a:lnTo>
                  <a:lnTo>
                    <a:pt x="102" y="98"/>
                  </a:lnTo>
                  <a:lnTo>
                    <a:pt x="100" y="98"/>
                  </a:lnTo>
                  <a:lnTo>
                    <a:pt x="98" y="100"/>
                  </a:lnTo>
                  <a:lnTo>
                    <a:pt x="98" y="100"/>
                  </a:lnTo>
                  <a:lnTo>
                    <a:pt x="96" y="106"/>
                  </a:lnTo>
                  <a:lnTo>
                    <a:pt x="98" y="108"/>
                  </a:lnTo>
                  <a:lnTo>
                    <a:pt x="102" y="112"/>
                  </a:lnTo>
                  <a:lnTo>
                    <a:pt x="106" y="114"/>
                  </a:lnTo>
                  <a:lnTo>
                    <a:pt x="108" y="118"/>
                  </a:lnTo>
                  <a:lnTo>
                    <a:pt x="108" y="118"/>
                  </a:lnTo>
                  <a:lnTo>
                    <a:pt x="106" y="120"/>
                  </a:lnTo>
                  <a:lnTo>
                    <a:pt x="100" y="122"/>
                  </a:lnTo>
                  <a:lnTo>
                    <a:pt x="96" y="124"/>
                  </a:lnTo>
                  <a:lnTo>
                    <a:pt x="94" y="124"/>
                  </a:lnTo>
                  <a:lnTo>
                    <a:pt x="94" y="126"/>
                  </a:lnTo>
                  <a:lnTo>
                    <a:pt x="94" y="126"/>
                  </a:lnTo>
                  <a:lnTo>
                    <a:pt x="94" y="130"/>
                  </a:lnTo>
                  <a:lnTo>
                    <a:pt x="96" y="130"/>
                  </a:lnTo>
                  <a:lnTo>
                    <a:pt x="108" y="126"/>
                  </a:lnTo>
                  <a:lnTo>
                    <a:pt x="108" y="126"/>
                  </a:lnTo>
                  <a:lnTo>
                    <a:pt x="118" y="124"/>
                  </a:lnTo>
                  <a:lnTo>
                    <a:pt x="120" y="126"/>
                  </a:lnTo>
                  <a:lnTo>
                    <a:pt x="118" y="130"/>
                  </a:lnTo>
                  <a:lnTo>
                    <a:pt x="118" y="130"/>
                  </a:lnTo>
                  <a:lnTo>
                    <a:pt x="116" y="136"/>
                  </a:lnTo>
                  <a:lnTo>
                    <a:pt x="116" y="138"/>
                  </a:lnTo>
                  <a:lnTo>
                    <a:pt x="120" y="140"/>
                  </a:lnTo>
                  <a:lnTo>
                    <a:pt x="120" y="142"/>
                  </a:lnTo>
                  <a:lnTo>
                    <a:pt x="120" y="142"/>
                  </a:lnTo>
                  <a:lnTo>
                    <a:pt x="120" y="144"/>
                  </a:lnTo>
                  <a:lnTo>
                    <a:pt x="122" y="146"/>
                  </a:lnTo>
                  <a:lnTo>
                    <a:pt x="126" y="148"/>
                  </a:lnTo>
                  <a:lnTo>
                    <a:pt x="130" y="146"/>
                  </a:lnTo>
                  <a:lnTo>
                    <a:pt x="130" y="146"/>
                  </a:lnTo>
                  <a:lnTo>
                    <a:pt x="132" y="148"/>
                  </a:lnTo>
                  <a:lnTo>
                    <a:pt x="132" y="148"/>
                  </a:lnTo>
                  <a:lnTo>
                    <a:pt x="132" y="150"/>
                  </a:lnTo>
                  <a:lnTo>
                    <a:pt x="136" y="150"/>
                  </a:lnTo>
                  <a:lnTo>
                    <a:pt x="140" y="150"/>
                  </a:lnTo>
                  <a:lnTo>
                    <a:pt x="140" y="152"/>
                  </a:lnTo>
                  <a:lnTo>
                    <a:pt x="140" y="152"/>
                  </a:lnTo>
                  <a:lnTo>
                    <a:pt x="122" y="170"/>
                  </a:lnTo>
                  <a:lnTo>
                    <a:pt x="122" y="170"/>
                  </a:lnTo>
                  <a:lnTo>
                    <a:pt x="122" y="174"/>
                  </a:lnTo>
                  <a:lnTo>
                    <a:pt x="124" y="176"/>
                  </a:lnTo>
                  <a:lnTo>
                    <a:pt x="134" y="176"/>
                  </a:lnTo>
                  <a:lnTo>
                    <a:pt x="148" y="176"/>
                  </a:lnTo>
                  <a:lnTo>
                    <a:pt x="148" y="176"/>
                  </a:lnTo>
                  <a:lnTo>
                    <a:pt x="150" y="182"/>
                  </a:lnTo>
                  <a:lnTo>
                    <a:pt x="154" y="186"/>
                  </a:lnTo>
                  <a:lnTo>
                    <a:pt x="158" y="188"/>
                  </a:lnTo>
                  <a:lnTo>
                    <a:pt x="162" y="188"/>
                  </a:lnTo>
                  <a:lnTo>
                    <a:pt x="170" y="190"/>
                  </a:lnTo>
                  <a:lnTo>
                    <a:pt x="174" y="192"/>
                  </a:lnTo>
                  <a:lnTo>
                    <a:pt x="176" y="192"/>
                  </a:lnTo>
                  <a:lnTo>
                    <a:pt x="176" y="192"/>
                  </a:lnTo>
                  <a:lnTo>
                    <a:pt x="172" y="196"/>
                  </a:lnTo>
                  <a:lnTo>
                    <a:pt x="170" y="200"/>
                  </a:lnTo>
                  <a:lnTo>
                    <a:pt x="170" y="204"/>
                  </a:lnTo>
                  <a:lnTo>
                    <a:pt x="172" y="210"/>
                  </a:lnTo>
                  <a:lnTo>
                    <a:pt x="172" y="212"/>
                  </a:lnTo>
                  <a:lnTo>
                    <a:pt x="170" y="214"/>
                  </a:lnTo>
                  <a:lnTo>
                    <a:pt x="170" y="214"/>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6" name="Freeform 186"/>
            <p:cNvSpPr>
              <a:spLocks/>
            </p:cNvSpPr>
            <p:nvPr/>
          </p:nvSpPr>
          <p:spPr bwMode="auto">
            <a:xfrm>
              <a:off x="3771601" y="3282156"/>
              <a:ext cx="79375" cy="100542"/>
            </a:xfrm>
            <a:custGeom>
              <a:avLst/>
              <a:gdLst/>
              <a:ahLst/>
              <a:cxnLst>
                <a:cxn ang="0">
                  <a:pos x="38" y="76"/>
                </a:cxn>
                <a:cxn ang="0">
                  <a:pos x="38" y="70"/>
                </a:cxn>
                <a:cxn ang="0">
                  <a:pos x="52" y="58"/>
                </a:cxn>
                <a:cxn ang="0">
                  <a:pos x="60" y="46"/>
                </a:cxn>
                <a:cxn ang="0">
                  <a:pos x="60" y="42"/>
                </a:cxn>
                <a:cxn ang="0">
                  <a:pos x="58" y="36"/>
                </a:cxn>
                <a:cxn ang="0">
                  <a:pos x="58" y="30"/>
                </a:cxn>
                <a:cxn ang="0">
                  <a:pos x="58" y="26"/>
                </a:cxn>
                <a:cxn ang="0">
                  <a:pos x="58" y="24"/>
                </a:cxn>
                <a:cxn ang="0">
                  <a:pos x="52" y="20"/>
                </a:cxn>
                <a:cxn ang="0">
                  <a:pos x="50" y="18"/>
                </a:cxn>
                <a:cxn ang="0">
                  <a:pos x="50" y="14"/>
                </a:cxn>
                <a:cxn ang="0">
                  <a:pos x="50" y="8"/>
                </a:cxn>
                <a:cxn ang="0">
                  <a:pos x="46" y="8"/>
                </a:cxn>
                <a:cxn ang="0">
                  <a:pos x="42" y="4"/>
                </a:cxn>
                <a:cxn ang="0">
                  <a:pos x="36" y="2"/>
                </a:cxn>
                <a:cxn ang="0">
                  <a:pos x="30" y="0"/>
                </a:cxn>
                <a:cxn ang="0">
                  <a:pos x="22" y="4"/>
                </a:cxn>
                <a:cxn ang="0">
                  <a:pos x="18" y="6"/>
                </a:cxn>
                <a:cxn ang="0">
                  <a:pos x="12" y="10"/>
                </a:cxn>
                <a:cxn ang="0">
                  <a:pos x="8" y="18"/>
                </a:cxn>
                <a:cxn ang="0">
                  <a:pos x="6" y="20"/>
                </a:cxn>
                <a:cxn ang="0">
                  <a:pos x="4" y="24"/>
                </a:cxn>
                <a:cxn ang="0">
                  <a:pos x="0" y="26"/>
                </a:cxn>
                <a:cxn ang="0">
                  <a:pos x="2" y="30"/>
                </a:cxn>
                <a:cxn ang="0">
                  <a:pos x="2" y="32"/>
                </a:cxn>
                <a:cxn ang="0">
                  <a:pos x="0" y="34"/>
                </a:cxn>
                <a:cxn ang="0">
                  <a:pos x="4" y="36"/>
                </a:cxn>
                <a:cxn ang="0">
                  <a:pos x="4" y="36"/>
                </a:cxn>
                <a:cxn ang="0">
                  <a:pos x="4" y="38"/>
                </a:cxn>
                <a:cxn ang="0">
                  <a:pos x="2" y="40"/>
                </a:cxn>
                <a:cxn ang="0">
                  <a:pos x="0" y="40"/>
                </a:cxn>
                <a:cxn ang="0">
                  <a:pos x="6" y="46"/>
                </a:cxn>
                <a:cxn ang="0">
                  <a:pos x="8" y="50"/>
                </a:cxn>
                <a:cxn ang="0">
                  <a:pos x="10" y="52"/>
                </a:cxn>
                <a:cxn ang="0">
                  <a:pos x="8" y="54"/>
                </a:cxn>
                <a:cxn ang="0">
                  <a:pos x="12" y="58"/>
                </a:cxn>
                <a:cxn ang="0">
                  <a:pos x="16" y="60"/>
                </a:cxn>
                <a:cxn ang="0">
                  <a:pos x="20" y="58"/>
                </a:cxn>
                <a:cxn ang="0">
                  <a:pos x="20" y="60"/>
                </a:cxn>
                <a:cxn ang="0">
                  <a:pos x="22" y="62"/>
                </a:cxn>
                <a:cxn ang="0">
                  <a:pos x="22" y="62"/>
                </a:cxn>
                <a:cxn ang="0">
                  <a:pos x="22" y="64"/>
                </a:cxn>
                <a:cxn ang="0">
                  <a:pos x="22" y="66"/>
                </a:cxn>
                <a:cxn ang="0">
                  <a:pos x="18" y="66"/>
                </a:cxn>
                <a:cxn ang="0">
                  <a:pos x="18" y="66"/>
                </a:cxn>
                <a:cxn ang="0">
                  <a:pos x="32" y="74"/>
                </a:cxn>
                <a:cxn ang="0">
                  <a:pos x="38" y="76"/>
                </a:cxn>
              </a:cxnLst>
              <a:rect l="0" t="0" r="r" b="b"/>
              <a:pathLst>
                <a:path w="60" h="76">
                  <a:moveTo>
                    <a:pt x="38" y="76"/>
                  </a:moveTo>
                  <a:lnTo>
                    <a:pt x="38" y="76"/>
                  </a:lnTo>
                  <a:lnTo>
                    <a:pt x="36" y="72"/>
                  </a:lnTo>
                  <a:lnTo>
                    <a:pt x="38" y="70"/>
                  </a:lnTo>
                  <a:lnTo>
                    <a:pt x="52" y="58"/>
                  </a:lnTo>
                  <a:lnTo>
                    <a:pt x="52" y="58"/>
                  </a:lnTo>
                  <a:lnTo>
                    <a:pt x="58" y="50"/>
                  </a:lnTo>
                  <a:lnTo>
                    <a:pt x="60" y="46"/>
                  </a:lnTo>
                  <a:lnTo>
                    <a:pt x="60" y="44"/>
                  </a:lnTo>
                  <a:lnTo>
                    <a:pt x="60" y="42"/>
                  </a:lnTo>
                  <a:lnTo>
                    <a:pt x="60" y="42"/>
                  </a:lnTo>
                  <a:lnTo>
                    <a:pt x="58" y="36"/>
                  </a:lnTo>
                  <a:lnTo>
                    <a:pt x="58" y="32"/>
                  </a:lnTo>
                  <a:lnTo>
                    <a:pt x="58" y="30"/>
                  </a:lnTo>
                  <a:lnTo>
                    <a:pt x="58" y="26"/>
                  </a:lnTo>
                  <a:lnTo>
                    <a:pt x="58" y="26"/>
                  </a:lnTo>
                  <a:lnTo>
                    <a:pt x="56" y="24"/>
                  </a:lnTo>
                  <a:lnTo>
                    <a:pt x="58" y="24"/>
                  </a:lnTo>
                  <a:lnTo>
                    <a:pt x="56" y="22"/>
                  </a:lnTo>
                  <a:lnTo>
                    <a:pt x="52" y="20"/>
                  </a:lnTo>
                  <a:lnTo>
                    <a:pt x="52" y="20"/>
                  </a:lnTo>
                  <a:lnTo>
                    <a:pt x="50" y="18"/>
                  </a:lnTo>
                  <a:lnTo>
                    <a:pt x="48" y="18"/>
                  </a:lnTo>
                  <a:lnTo>
                    <a:pt x="50" y="14"/>
                  </a:lnTo>
                  <a:lnTo>
                    <a:pt x="50" y="10"/>
                  </a:lnTo>
                  <a:lnTo>
                    <a:pt x="50" y="8"/>
                  </a:lnTo>
                  <a:lnTo>
                    <a:pt x="46" y="8"/>
                  </a:lnTo>
                  <a:lnTo>
                    <a:pt x="46" y="8"/>
                  </a:lnTo>
                  <a:lnTo>
                    <a:pt x="44" y="6"/>
                  </a:lnTo>
                  <a:lnTo>
                    <a:pt x="42" y="4"/>
                  </a:lnTo>
                  <a:lnTo>
                    <a:pt x="40" y="2"/>
                  </a:lnTo>
                  <a:lnTo>
                    <a:pt x="36" y="2"/>
                  </a:lnTo>
                  <a:lnTo>
                    <a:pt x="36" y="2"/>
                  </a:lnTo>
                  <a:lnTo>
                    <a:pt x="30" y="0"/>
                  </a:lnTo>
                  <a:lnTo>
                    <a:pt x="26" y="2"/>
                  </a:lnTo>
                  <a:lnTo>
                    <a:pt x="22" y="4"/>
                  </a:lnTo>
                  <a:lnTo>
                    <a:pt x="18" y="6"/>
                  </a:lnTo>
                  <a:lnTo>
                    <a:pt x="18" y="6"/>
                  </a:lnTo>
                  <a:lnTo>
                    <a:pt x="14" y="6"/>
                  </a:lnTo>
                  <a:lnTo>
                    <a:pt x="12" y="10"/>
                  </a:lnTo>
                  <a:lnTo>
                    <a:pt x="10" y="14"/>
                  </a:lnTo>
                  <a:lnTo>
                    <a:pt x="8" y="18"/>
                  </a:lnTo>
                  <a:lnTo>
                    <a:pt x="8" y="18"/>
                  </a:lnTo>
                  <a:lnTo>
                    <a:pt x="6" y="20"/>
                  </a:lnTo>
                  <a:lnTo>
                    <a:pt x="4" y="22"/>
                  </a:lnTo>
                  <a:lnTo>
                    <a:pt x="4" y="24"/>
                  </a:lnTo>
                  <a:lnTo>
                    <a:pt x="0" y="26"/>
                  </a:lnTo>
                  <a:lnTo>
                    <a:pt x="0" y="26"/>
                  </a:lnTo>
                  <a:lnTo>
                    <a:pt x="0" y="28"/>
                  </a:lnTo>
                  <a:lnTo>
                    <a:pt x="2" y="30"/>
                  </a:lnTo>
                  <a:lnTo>
                    <a:pt x="2" y="30"/>
                  </a:lnTo>
                  <a:lnTo>
                    <a:pt x="2" y="32"/>
                  </a:lnTo>
                  <a:lnTo>
                    <a:pt x="2" y="32"/>
                  </a:lnTo>
                  <a:lnTo>
                    <a:pt x="0" y="34"/>
                  </a:lnTo>
                  <a:lnTo>
                    <a:pt x="2" y="34"/>
                  </a:lnTo>
                  <a:lnTo>
                    <a:pt x="4" y="36"/>
                  </a:lnTo>
                  <a:lnTo>
                    <a:pt x="4" y="36"/>
                  </a:lnTo>
                  <a:lnTo>
                    <a:pt x="4" y="36"/>
                  </a:lnTo>
                  <a:lnTo>
                    <a:pt x="4" y="38"/>
                  </a:lnTo>
                  <a:lnTo>
                    <a:pt x="4" y="38"/>
                  </a:lnTo>
                  <a:lnTo>
                    <a:pt x="4" y="40"/>
                  </a:lnTo>
                  <a:lnTo>
                    <a:pt x="2" y="40"/>
                  </a:lnTo>
                  <a:lnTo>
                    <a:pt x="2" y="40"/>
                  </a:lnTo>
                  <a:lnTo>
                    <a:pt x="0" y="40"/>
                  </a:lnTo>
                  <a:lnTo>
                    <a:pt x="0" y="42"/>
                  </a:lnTo>
                  <a:lnTo>
                    <a:pt x="6" y="46"/>
                  </a:lnTo>
                  <a:lnTo>
                    <a:pt x="6" y="46"/>
                  </a:lnTo>
                  <a:lnTo>
                    <a:pt x="8" y="50"/>
                  </a:lnTo>
                  <a:lnTo>
                    <a:pt x="10" y="52"/>
                  </a:lnTo>
                  <a:lnTo>
                    <a:pt x="10" y="52"/>
                  </a:lnTo>
                  <a:lnTo>
                    <a:pt x="10" y="52"/>
                  </a:lnTo>
                  <a:lnTo>
                    <a:pt x="8" y="54"/>
                  </a:lnTo>
                  <a:lnTo>
                    <a:pt x="6" y="54"/>
                  </a:lnTo>
                  <a:lnTo>
                    <a:pt x="12" y="58"/>
                  </a:lnTo>
                  <a:lnTo>
                    <a:pt x="12" y="58"/>
                  </a:lnTo>
                  <a:lnTo>
                    <a:pt x="16" y="60"/>
                  </a:lnTo>
                  <a:lnTo>
                    <a:pt x="18" y="60"/>
                  </a:lnTo>
                  <a:lnTo>
                    <a:pt x="20" y="58"/>
                  </a:lnTo>
                  <a:lnTo>
                    <a:pt x="20" y="60"/>
                  </a:lnTo>
                  <a:lnTo>
                    <a:pt x="20" y="60"/>
                  </a:lnTo>
                  <a:lnTo>
                    <a:pt x="20" y="62"/>
                  </a:lnTo>
                  <a:lnTo>
                    <a:pt x="22" y="62"/>
                  </a:lnTo>
                  <a:lnTo>
                    <a:pt x="24" y="62"/>
                  </a:lnTo>
                  <a:lnTo>
                    <a:pt x="22" y="62"/>
                  </a:lnTo>
                  <a:lnTo>
                    <a:pt x="22" y="62"/>
                  </a:lnTo>
                  <a:lnTo>
                    <a:pt x="22" y="64"/>
                  </a:lnTo>
                  <a:lnTo>
                    <a:pt x="24" y="66"/>
                  </a:lnTo>
                  <a:lnTo>
                    <a:pt x="22" y="66"/>
                  </a:lnTo>
                  <a:lnTo>
                    <a:pt x="18" y="66"/>
                  </a:lnTo>
                  <a:lnTo>
                    <a:pt x="18" y="66"/>
                  </a:lnTo>
                  <a:lnTo>
                    <a:pt x="18" y="66"/>
                  </a:lnTo>
                  <a:lnTo>
                    <a:pt x="18" y="66"/>
                  </a:lnTo>
                  <a:lnTo>
                    <a:pt x="24" y="70"/>
                  </a:lnTo>
                  <a:lnTo>
                    <a:pt x="32" y="74"/>
                  </a:lnTo>
                  <a:lnTo>
                    <a:pt x="38" y="76"/>
                  </a:lnTo>
                  <a:lnTo>
                    <a:pt x="38" y="76"/>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7" name="Freeform 187"/>
            <p:cNvSpPr>
              <a:spLocks/>
            </p:cNvSpPr>
            <p:nvPr/>
          </p:nvSpPr>
          <p:spPr bwMode="auto">
            <a:xfrm>
              <a:off x="3819226" y="3332427"/>
              <a:ext cx="119063" cy="132292"/>
            </a:xfrm>
            <a:custGeom>
              <a:avLst/>
              <a:gdLst/>
              <a:ahLst/>
              <a:cxnLst>
                <a:cxn ang="0">
                  <a:pos x="82" y="100"/>
                </a:cxn>
                <a:cxn ang="0">
                  <a:pos x="82" y="86"/>
                </a:cxn>
                <a:cxn ang="0">
                  <a:pos x="86" y="82"/>
                </a:cxn>
                <a:cxn ang="0">
                  <a:pos x="90" y="78"/>
                </a:cxn>
                <a:cxn ang="0">
                  <a:pos x="88" y="74"/>
                </a:cxn>
                <a:cxn ang="0">
                  <a:pos x="88" y="66"/>
                </a:cxn>
                <a:cxn ang="0">
                  <a:pos x="82" y="64"/>
                </a:cxn>
                <a:cxn ang="0">
                  <a:pos x="76" y="60"/>
                </a:cxn>
                <a:cxn ang="0">
                  <a:pos x="74" y="58"/>
                </a:cxn>
                <a:cxn ang="0">
                  <a:pos x="70" y="58"/>
                </a:cxn>
                <a:cxn ang="0">
                  <a:pos x="66" y="56"/>
                </a:cxn>
                <a:cxn ang="0">
                  <a:pos x="68" y="44"/>
                </a:cxn>
                <a:cxn ang="0">
                  <a:pos x="68" y="40"/>
                </a:cxn>
                <a:cxn ang="0">
                  <a:pos x="68" y="34"/>
                </a:cxn>
                <a:cxn ang="0">
                  <a:pos x="66" y="26"/>
                </a:cxn>
                <a:cxn ang="0">
                  <a:pos x="64" y="24"/>
                </a:cxn>
                <a:cxn ang="0">
                  <a:pos x="60" y="26"/>
                </a:cxn>
                <a:cxn ang="0">
                  <a:pos x="58" y="30"/>
                </a:cxn>
                <a:cxn ang="0">
                  <a:pos x="50" y="30"/>
                </a:cxn>
                <a:cxn ang="0">
                  <a:pos x="48" y="28"/>
                </a:cxn>
                <a:cxn ang="0">
                  <a:pos x="50" y="22"/>
                </a:cxn>
                <a:cxn ang="0">
                  <a:pos x="46" y="12"/>
                </a:cxn>
                <a:cxn ang="0">
                  <a:pos x="38" y="0"/>
                </a:cxn>
                <a:cxn ang="0">
                  <a:pos x="24" y="4"/>
                </a:cxn>
                <a:cxn ang="0">
                  <a:pos x="24" y="6"/>
                </a:cxn>
                <a:cxn ang="0">
                  <a:pos x="22" y="12"/>
                </a:cxn>
                <a:cxn ang="0">
                  <a:pos x="16" y="20"/>
                </a:cxn>
                <a:cxn ang="0">
                  <a:pos x="0" y="34"/>
                </a:cxn>
                <a:cxn ang="0">
                  <a:pos x="2" y="38"/>
                </a:cxn>
                <a:cxn ang="0">
                  <a:pos x="8" y="42"/>
                </a:cxn>
                <a:cxn ang="0">
                  <a:pos x="4" y="44"/>
                </a:cxn>
                <a:cxn ang="0">
                  <a:pos x="8" y="46"/>
                </a:cxn>
                <a:cxn ang="0">
                  <a:pos x="16" y="52"/>
                </a:cxn>
                <a:cxn ang="0">
                  <a:pos x="22" y="56"/>
                </a:cxn>
                <a:cxn ang="0">
                  <a:pos x="22" y="58"/>
                </a:cxn>
                <a:cxn ang="0">
                  <a:pos x="26" y="64"/>
                </a:cxn>
                <a:cxn ang="0">
                  <a:pos x="34" y="70"/>
                </a:cxn>
                <a:cxn ang="0">
                  <a:pos x="44" y="78"/>
                </a:cxn>
                <a:cxn ang="0">
                  <a:pos x="50" y="84"/>
                </a:cxn>
                <a:cxn ang="0">
                  <a:pos x="54" y="86"/>
                </a:cxn>
                <a:cxn ang="0">
                  <a:pos x="54" y="88"/>
                </a:cxn>
                <a:cxn ang="0">
                  <a:pos x="58" y="90"/>
                </a:cxn>
                <a:cxn ang="0">
                  <a:pos x="72" y="98"/>
                </a:cxn>
                <a:cxn ang="0">
                  <a:pos x="82" y="100"/>
                </a:cxn>
              </a:cxnLst>
              <a:rect l="0" t="0" r="r" b="b"/>
              <a:pathLst>
                <a:path w="90" h="100">
                  <a:moveTo>
                    <a:pt x="82" y="100"/>
                  </a:moveTo>
                  <a:lnTo>
                    <a:pt x="82" y="100"/>
                  </a:lnTo>
                  <a:lnTo>
                    <a:pt x="82" y="92"/>
                  </a:lnTo>
                  <a:lnTo>
                    <a:pt x="82" y="86"/>
                  </a:lnTo>
                  <a:lnTo>
                    <a:pt x="84" y="82"/>
                  </a:lnTo>
                  <a:lnTo>
                    <a:pt x="86" y="82"/>
                  </a:lnTo>
                  <a:lnTo>
                    <a:pt x="90" y="80"/>
                  </a:lnTo>
                  <a:lnTo>
                    <a:pt x="90" y="78"/>
                  </a:lnTo>
                  <a:lnTo>
                    <a:pt x="88" y="74"/>
                  </a:lnTo>
                  <a:lnTo>
                    <a:pt x="88" y="74"/>
                  </a:lnTo>
                  <a:lnTo>
                    <a:pt x="88" y="70"/>
                  </a:lnTo>
                  <a:lnTo>
                    <a:pt x="88" y="66"/>
                  </a:lnTo>
                  <a:lnTo>
                    <a:pt x="88" y="66"/>
                  </a:lnTo>
                  <a:lnTo>
                    <a:pt x="82" y="64"/>
                  </a:lnTo>
                  <a:lnTo>
                    <a:pt x="82" y="64"/>
                  </a:lnTo>
                  <a:lnTo>
                    <a:pt x="76" y="60"/>
                  </a:lnTo>
                  <a:lnTo>
                    <a:pt x="74" y="58"/>
                  </a:lnTo>
                  <a:lnTo>
                    <a:pt x="74" y="58"/>
                  </a:lnTo>
                  <a:lnTo>
                    <a:pt x="70" y="58"/>
                  </a:lnTo>
                  <a:lnTo>
                    <a:pt x="70" y="58"/>
                  </a:lnTo>
                  <a:lnTo>
                    <a:pt x="68" y="56"/>
                  </a:lnTo>
                  <a:lnTo>
                    <a:pt x="66" y="56"/>
                  </a:lnTo>
                  <a:lnTo>
                    <a:pt x="66" y="50"/>
                  </a:lnTo>
                  <a:lnTo>
                    <a:pt x="68" y="44"/>
                  </a:lnTo>
                  <a:lnTo>
                    <a:pt x="68" y="40"/>
                  </a:lnTo>
                  <a:lnTo>
                    <a:pt x="68" y="40"/>
                  </a:lnTo>
                  <a:lnTo>
                    <a:pt x="68" y="38"/>
                  </a:lnTo>
                  <a:lnTo>
                    <a:pt x="68" y="34"/>
                  </a:lnTo>
                  <a:lnTo>
                    <a:pt x="68" y="32"/>
                  </a:lnTo>
                  <a:lnTo>
                    <a:pt x="66" y="26"/>
                  </a:lnTo>
                  <a:lnTo>
                    <a:pt x="66" y="26"/>
                  </a:lnTo>
                  <a:lnTo>
                    <a:pt x="64" y="24"/>
                  </a:lnTo>
                  <a:lnTo>
                    <a:pt x="62" y="22"/>
                  </a:lnTo>
                  <a:lnTo>
                    <a:pt x="60" y="26"/>
                  </a:lnTo>
                  <a:lnTo>
                    <a:pt x="60" y="26"/>
                  </a:lnTo>
                  <a:lnTo>
                    <a:pt x="58" y="30"/>
                  </a:lnTo>
                  <a:lnTo>
                    <a:pt x="54" y="30"/>
                  </a:lnTo>
                  <a:lnTo>
                    <a:pt x="50" y="30"/>
                  </a:lnTo>
                  <a:lnTo>
                    <a:pt x="50" y="30"/>
                  </a:lnTo>
                  <a:lnTo>
                    <a:pt x="48" y="28"/>
                  </a:lnTo>
                  <a:lnTo>
                    <a:pt x="48" y="26"/>
                  </a:lnTo>
                  <a:lnTo>
                    <a:pt x="50" y="22"/>
                  </a:lnTo>
                  <a:lnTo>
                    <a:pt x="46" y="12"/>
                  </a:lnTo>
                  <a:lnTo>
                    <a:pt x="46" y="12"/>
                  </a:lnTo>
                  <a:lnTo>
                    <a:pt x="42" y="4"/>
                  </a:lnTo>
                  <a:lnTo>
                    <a:pt x="38" y="0"/>
                  </a:lnTo>
                  <a:lnTo>
                    <a:pt x="32" y="0"/>
                  </a:lnTo>
                  <a:lnTo>
                    <a:pt x="24" y="4"/>
                  </a:lnTo>
                  <a:lnTo>
                    <a:pt x="24" y="4"/>
                  </a:lnTo>
                  <a:lnTo>
                    <a:pt x="24" y="6"/>
                  </a:lnTo>
                  <a:lnTo>
                    <a:pt x="24" y="8"/>
                  </a:lnTo>
                  <a:lnTo>
                    <a:pt x="22" y="12"/>
                  </a:lnTo>
                  <a:lnTo>
                    <a:pt x="16" y="20"/>
                  </a:lnTo>
                  <a:lnTo>
                    <a:pt x="16" y="20"/>
                  </a:lnTo>
                  <a:lnTo>
                    <a:pt x="2" y="32"/>
                  </a:lnTo>
                  <a:lnTo>
                    <a:pt x="0" y="34"/>
                  </a:lnTo>
                  <a:lnTo>
                    <a:pt x="2" y="38"/>
                  </a:lnTo>
                  <a:lnTo>
                    <a:pt x="2" y="38"/>
                  </a:lnTo>
                  <a:lnTo>
                    <a:pt x="8" y="42"/>
                  </a:lnTo>
                  <a:lnTo>
                    <a:pt x="8" y="42"/>
                  </a:lnTo>
                  <a:lnTo>
                    <a:pt x="6" y="44"/>
                  </a:lnTo>
                  <a:lnTo>
                    <a:pt x="4" y="44"/>
                  </a:lnTo>
                  <a:lnTo>
                    <a:pt x="8" y="46"/>
                  </a:lnTo>
                  <a:lnTo>
                    <a:pt x="8" y="46"/>
                  </a:lnTo>
                  <a:lnTo>
                    <a:pt x="12" y="50"/>
                  </a:lnTo>
                  <a:lnTo>
                    <a:pt x="16" y="52"/>
                  </a:lnTo>
                  <a:lnTo>
                    <a:pt x="18" y="54"/>
                  </a:lnTo>
                  <a:lnTo>
                    <a:pt x="22" y="56"/>
                  </a:lnTo>
                  <a:lnTo>
                    <a:pt x="22" y="56"/>
                  </a:lnTo>
                  <a:lnTo>
                    <a:pt x="22" y="58"/>
                  </a:lnTo>
                  <a:lnTo>
                    <a:pt x="22" y="60"/>
                  </a:lnTo>
                  <a:lnTo>
                    <a:pt x="26" y="64"/>
                  </a:lnTo>
                  <a:lnTo>
                    <a:pt x="34" y="70"/>
                  </a:lnTo>
                  <a:lnTo>
                    <a:pt x="34" y="70"/>
                  </a:lnTo>
                  <a:lnTo>
                    <a:pt x="42" y="74"/>
                  </a:lnTo>
                  <a:lnTo>
                    <a:pt x="44" y="78"/>
                  </a:lnTo>
                  <a:lnTo>
                    <a:pt x="46" y="82"/>
                  </a:lnTo>
                  <a:lnTo>
                    <a:pt x="50" y="84"/>
                  </a:lnTo>
                  <a:lnTo>
                    <a:pt x="50" y="84"/>
                  </a:lnTo>
                  <a:lnTo>
                    <a:pt x="54" y="86"/>
                  </a:lnTo>
                  <a:lnTo>
                    <a:pt x="54" y="86"/>
                  </a:lnTo>
                  <a:lnTo>
                    <a:pt x="54" y="88"/>
                  </a:lnTo>
                  <a:lnTo>
                    <a:pt x="58" y="90"/>
                  </a:lnTo>
                  <a:lnTo>
                    <a:pt x="58" y="90"/>
                  </a:lnTo>
                  <a:lnTo>
                    <a:pt x="68" y="94"/>
                  </a:lnTo>
                  <a:lnTo>
                    <a:pt x="72" y="98"/>
                  </a:lnTo>
                  <a:lnTo>
                    <a:pt x="74" y="100"/>
                  </a:lnTo>
                  <a:lnTo>
                    <a:pt x="82" y="100"/>
                  </a:lnTo>
                  <a:lnTo>
                    <a:pt x="82" y="10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8" name="Freeform 188"/>
            <p:cNvSpPr>
              <a:spLocks/>
            </p:cNvSpPr>
            <p:nvPr/>
          </p:nvSpPr>
          <p:spPr bwMode="auto">
            <a:xfrm>
              <a:off x="3684288" y="3155156"/>
              <a:ext cx="82021" cy="23813"/>
            </a:xfrm>
            <a:custGeom>
              <a:avLst/>
              <a:gdLst/>
              <a:ahLst/>
              <a:cxnLst>
                <a:cxn ang="0">
                  <a:pos x="2" y="18"/>
                </a:cxn>
                <a:cxn ang="0">
                  <a:pos x="2" y="18"/>
                </a:cxn>
                <a:cxn ang="0">
                  <a:pos x="12" y="16"/>
                </a:cxn>
                <a:cxn ang="0">
                  <a:pos x="16" y="14"/>
                </a:cxn>
                <a:cxn ang="0">
                  <a:pos x="16" y="14"/>
                </a:cxn>
                <a:cxn ang="0">
                  <a:pos x="20" y="12"/>
                </a:cxn>
                <a:cxn ang="0">
                  <a:pos x="28" y="10"/>
                </a:cxn>
                <a:cxn ang="0">
                  <a:pos x="28" y="10"/>
                </a:cxn>
                <a:cxn ang="0">
                  <a:pos x="32" y="10"/>
                </a:cxn>
                <a:cxn ang="0">
                  <a:pos x="38" y="10"/>
                </a:cxn>
                <a:cxn ang="0">
                  <a:pos x="44" y="10"/>
                </a:cxn>
                <a:cxn ang="0">
                  <a:pos x="54" y="10"/>
                </a:cxn>
                <a:cxn ang="0">
                  <a:pos x="54" y="10"/>
                </a:cxn>
                <a:cxn ang="0">
                  <a:pos x="62" y="6"/>
                </a:cxn>
                <a:cxn ang="0">
                  <a:pos x="62" y="6"/>
                </a:cxn>
                <a:cxn ang="0">
                  <a:pos x="56" y="6"/>
                </a:cxn>
                <a:cxn ang="0">
                  <a:pos x="56" y="6"/>
                </a:cxn>
                <a:cxn ang="0">
                  <a:pos x="48" y="4"/>
                </a:cxn>
                <a:cxn ang="0">
                  <a:pos x="38" y="2"/>
                </a:cxn>
                <a:cxn ang="0">
                  <a:pos x="30" y="0"/>
                </a:cxn>
                <a:cxn ang="0">
                  <a:pos x="24" y="0"/>
                </a:cxn>
                <a:cxn ang="0">
                  <a:pos x="24" y="0"/>
                </a:cxn>
                <a:cxn ang="0">
                  <a:pos x="20" y="0"/>
                </a:cxn>
                <a:cxn ang="0">
                  <a:pos x="20" y="2"/>
                </a:cxn>
                <a:cxn ang="0">
                  <a:pos x="16" y="2"/>
                </a:cxn>
                <a:cxn ang="0">
                  <a:pos x="0" y="4"/>
                </a:cxn>
                <a:cxn ang="0">
                  <a:pos x="0" y="4"/>
                </a:cxn>
                <a:cxn ang="0">
                  <a:pos x="2" y="10"/>
                </a:cxn>
                <a:cxn ang="0">
                  <a:pos x="4" y="12"/>
                </a:cxn>
                <a:cxn ang="0">
                  <a:pos x="4" y="14"/>
                </a:cxn>
                <a:cxn ang="0">
                  <a:pos x="8" y="12"/>
                </a:cxn>
                <a:cxn ang="0">
                  <a:pos x="8" y="12"/>
                </a:cxn>
                <a:cxn ang="0">
                  <a:pos x="10" y="12"/>
                </a:cxn>
                <a:cxn ang="0">
                  <a:pos x="10" y="10"/>
                </a:cxn>
                <a:cxn ang="0">
                  <a:pos x="14" y="8"/>
                </a:cxn>
                <a:cxn ang="0">
                  <a:pos x="26" y="6"/>
                </a:cxn>
                <a:cxn ang="0">
                  <a:pos x="26" y="6"/>
                </a:cxn>
                <a:cxn ang="0">
                  <a:pos x="14" y="8"/>
                </a:cxn>
                <a:cxn ang="0">
                  <a:pos x="12" y="10"/>
                </a:cxn>
                <a:cxn ang="0">
                  <a:pos x="12" y="12"/>
                </a:cxn>
                <a:cxn ang="0">
                  <a:pos x="10" y="14"/>
                </a:cxn>
                <a:cxn ang="0">
                  <a:pos x="10" y="14"/>
                </a:cxn>
                <a:cxn ang="0">
                  <a:pos x="4" y="14"/>
                </a:cxn>
                <a:cxn ang="0">
                  <a:pos x="2" y="14"/>
                </a:cxn>
                <a:cxn ang="0">
                  <a:pos x="2" y="14"/>
                </a:cxn>
                <a:cxn ang="0">
                  <a:pos x="2" y="18"/>
                </a:cxn>
                <a:cxn ang="0">
                  <a:pos x="2" y="18"/>
                </a:cxn>
              </a:cxnLst>
              <a:rect l="0" t="0" r="r" b="b"/>
              <a:pathLst>
                <a:path w="62" h="18">
                  <a:moveTo>
                    <a:pt x="2" y="18"/>
                  </a:moveTo>
                  <a:lnTo>
                    <a:pt x="2" y="18"/>
                  </a:lnTo>
                  <a:lnTo>
                    <a:pt x="12" y="16"/>
                  </a:lnTo>
                  <a:lnTo>
                    <a:pt x="16" y="14"/>
                  </a:lnTo>
                  <a:lnTo>
                    <a:pt x="16" y="14"/>
                  </a:lnTo>
                  <a:lnTo>
                    <a:pt x="20" y="12"/>
                  </a:lnTo>
                  <a:lnTo>
                    <a:pt x="28" y="10"/>
                  </a:lnTo>
                  <a:lnTo>
                    <a:pt x="28" y="10"/>
                  </a:lnTo>
                  <a:lnTo>
                    <a:pt x="32" y="10"/>
                  </a:lnTo>
                  <a:lnTo>
                    <a:pt x="38" y="10"/>
                  </a:lnTo>
                  <a:lnTo>
                    <a:pt x="44" y="10"/>
                  </a:lnTo>
                  <a:lnTo>
                    <a:pt x="54" y="10"/>
                  </a:lnTo>
                  <a:lnTo>
                    <a:pt x="54" y="10"/>
                  </a:lnTo>
                  <a:lnTo>
                    <a:pt x="62" y="6"/>
                  </a:lnTo>
                  <a:lnTo>
                    <a:pt x="62" y="6"/>
                  </a:lnTo>
                  <a:lnTo>
                    <a:pt x="56" y="6"/>
                  </a:lnTo>
                  <a:lnTo>
                    <a:pt x="56" y="6"/>
                  </a:lnTo>
                  <a:lnTo>
                    <a:pt x="48" y="4"/>
                  </a:lnTo>
                  <a:lnTo>
                    <a:pt x="38" y="2"/>
                  </a:lnTo>
                  <a:lnTo>
                    <a:pt x="30" y="0"/>
                  </a:lnTo>
                  <a:lnTo>
                    <a:pt x="24" y="0"/>
                  </a:lnTo>
                  <a:lnTo>
                    <a:pt x="24" y="0"/>
                  </a:lnTo>
                  <a:lnTo>
                    <a:pt x="20" y="0"/>
                  </a:lnTo>
                  <a:lnTo>
                    <a:pt x="20" y="2"/>
                  </a:lnTo>
                  <a:lnTo>
                    <a:pt x="16" y="2"/>
                  </a:lnTo>
                  <a:lnTo>
                    <a:pt x="0" y="4"/>
                  </a:lnTo>
                  <a:lnTo>
                    <a:pt x="0" y="4"/>
                  </a:lnTo>
                  <a:lnTo>
                    <a:pt x="2" y="10"/>
                  </a:lnTo>
                  <a:lnTo>
                    <a:pt x="4" y="12"/>
                  </a:lnTo>
                  <a:lnTo>
                    <a:pt x="4" y="14"/>
                  </a:lnTo>
                  <a:lnTo>
                    <a:pt x="8" y="12"/>
                  </a:lnTo>
                  <a:lnTo>
                    <a:pt x="8" y="12"/>
                  </a:lnTo>
                  <a:lnTo>
                    <a:pt x="10" y="12"/>
                  </a:lnTo>
                  <a:lnTo>
                    <a:pt x="10" y="10"/>
                  </a:lnTo>
                  <a:lnTo>
                    <a:pt x="14" y="8"/>
                  </a:lnTo>
                  <a:lnTo>
                    <a:pt x="26" y="6"/>
                  </a:lnTo>
                  <a:lnTo>
                    <a:pt x="26" y="6"/>
                  </a:lnTo>
                  <a:lnTo>
                    <a:pt x="14" y="8"/>
                  </a:lnTo>
                  <a:lnTo>
                    <a:pt x="12" y="10"/>
                  </a:lnTo>
                  <a:lnTo>
                    <a:pt x="12" y="12"/>
                  </a:lnTo>
                  <a:lnTo>
                    <a:pt x="10" y="14"/>
                  </a:lnTo>
                  <a:lnTo>
                    <a:pt x="10" y="14"/>
                  </a:lnTo>
                  <a:lnTo>
                    <a:pt x="4" y="14"/>
                  </a:lnTo>
                  <a:lnTo>
                    <a:pt x="2" y="14"/>
                  </a:lnTo>
                  <a:lnTo>
                    <a:pt x="2" y="14"/>
                  </a:lnTo>
                  <a:lnTo>
                    <a:pt x="2" y="18"/>
                  </a:lnTo>
                  <a:lnTo>
                    <a:pt x="2" y="1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9" name="Freeform 189"/>
            <p:cNvSpPr>
              <a:spLocks/>
            </p:cNvSpPr>
            <p:nvPr/>
          </p:nvSpPr>
          <p:spPr bwMode="auto">
            <a:xfrm>
              <a:off x="3655184" y="3057260"/>
              <a:ext cx="169333" cy="148167"/>
            </a:xfrm>
            <a:custGeom>
              <a:avLst/>
              <a:gdLst/>
              <a:ahLst/>
              <a:cxnLst>
                <a:cxn ang="0">
                  <a:pos x="106" y="40"/>
                </a:cxn>
                <a:cxn ang="0">
                  <a:pos x="102" y="32"/>
                </a:cxn>
                <a:cxn ang="0">
                  <a:pos x="100" y="26"/>
                </a:cxn>
                <a:cxn ang="0">
                  <a:pos x="96" y="22"/>
                </a:cxn>
                <a:cxn ang="0">
                  <a:pos x="94" y="14"/>
                </a:cxn>
                <a:cxn ang="0">
                  <a:pos x="88" y="14"/>
                </a:cxn>
                <a:cxn ang="0">
                  <a:pos x="80" y="4"/>
                </a:cxn>
                <a:cxn ang="0">
                  <a:pos x="72" y="2"/>
                </a:cxn>
                <a:cxn ang="0">
                  <a:pos x="66" y="0"/>
                </a:cxn>
                <a:cxn ang="0">
                  <a:pos x="62" y="0"/>
                </a:cxn>
                <a:cxn ang="0">
                  <a:pos x="56" y="4"/>
                </a:cxn>
                <a:cxn ang="0">
                  <a:pos x="50" y="4"/>
                </a:cxn>
                <a:cxn ang="0">
                  <a:pos x="44" y="4"/>
                </a:cxn>
                <a:cxn ang="0">
                  <a:pos x="38" y="2"/>
                </a:cxn>
                <a:cxn ang="0">
                  <a:pos x="32" y="6"/>
                </a:cxn>
                <a:cxn ang="0">
                  <a:pos x="20" y="30"/>
                </a:cxn>
                <a:cxn ang="0">
                  <a:pos x="6" y="46"/>
                </a:cxn>
                <a:cxn ang="0">
                  <a:pos x="4" y="54"/>
                </a:cxn>
                <a:cxn ang="0">
                  <a:pos x="8" y="56"/>
                </a:cxn>
                <a:cxn ang="0">
                  <a:pos x="10" y="60"/>
                </a:cxn>
                <a:cxn ang="0">
                  <a:pos x="12" y="62"/>
                </a:cxn>
                <a:cxn ang="0">
                  <a:pos x="18" y="66"/>
                </a:cxn>
                <a:cxn ang="0">
                  <a:pos x="26" y="66"/>
                </a:cxn>
                <a:cxn ang="0">
                  <a:pos x="18" y="68"/>
                </a:cxn>
                <a:cxn ang="0">
                  <a:pos x="22" y="74"/>
                </a:cxn>
                <a:cxn ang="0">
                  <a:pos x="22" y="78"/>
                </a:cxn>
                <a:cxn ang="0">
                  <a:pos x="42" y="76"/>
                </a:cxn>
                <a:cxn ang="0">
                  <a:pos x="46" y="74"/>
                </a:cxn>
                <a:cxn ang="0">
                  <a:pos x="70" y="78"/>
                </a:cxn>
                <a:cxn ang="0">
                  <a:pos x="84" y="80"/>
                </a:cxn>
                <a:cxn ang="0">
                  <a:pos x="76" y="84"/>
                </a:cxn>
                <a:cxn ang="0">
                  <a:pos x="54" y="84"/>
                </a:cxn>
                <a:cxn ang="0">
                  <a:pos x="42" y="86"/>
                </a:cxn>
                <a:cxn ang="0">
                  <a:pos x="34" y="90"/>
                </a:cxn>
                <a:cxn ang="0">
                  <a:pos x="22" y="100"/>
                </a:cxn>
                <a:cxn ang="0">
                  <a:pos x="24" y="102"/>
                </a:cxn>
                <a:cxn ang="0">
                  <a:pos x="32" y="100"/>
                </a:cxn>
                <a:cxn ang="0">
                  <a:pos x="38" y="98"/>
                </a:cxn>
                <a:cxn ang="0">
                  <a:pos x="44" y="98"/>
                </a:cxn>
                <a:cxn ang="0">
                  <a:pos x="52" y="98"/>
                </a:cxn>
                <a:cxn ang="0">
                  <a:pos x="58" y="100"/>
                </a:cxn>
                <a:cxn ang="0">
                  <a:pos x="52" y="102"/>
                </a:cxn>
                <a:cxn ang="0">
                  <a:pos x="48" y="100"/>
                </a:cxn>
                <a:cxn ang="0">
                  <a:pos x="44" y="100"/>
                </a:cxn>
                <a:cxn ang="0">
                  <a:pos x="34" y="102"/>
                </a:cxn>
                <a:cxn ang="0">
                  <a:pos x="28" y="102"/>
                </a:cxn>
                <a:cxn ang="0">
                  <a:pos x="26" y="104"/>
                </a:cxn>
                <a:cxn ang="0">
                  <a:pos x="24" y="112"/>
                </a:cxn>
                <a:cxn ang="0">
                  <a:pos x="28" y="108"/>
                </a:cxn>
                <a:cxn ang="0">
                  <a:pos x="38" y="106"/>
                </a:cxn>
                <a:cxn ang="0">
                  <a:pos x="62" y="102"/>
                </a:cxn>
                <a:cxn ang="0">
                  <a:pos x="78" y="104"/>
                </a:cxn>
                <a:cxn ang="0">
                  <a:pos x="92" y="106"/>
                </a:cxn>
                <a:cxn ang="0">
                  <a:pos x="102" y="106"/>
                </a:cxn>
                <a:cxn ang="0">
                  <a:pos x="126" y="108"/>
                </a:cxn>
                <a:cxn ang="0">
                  <a:pos x="128" y="92"/>
                </a:cxn>
                <a:cxn ang="0">
                  <a:pos x="122" y="76"/>
                </a:cxn>
                <a:cxn ang="0">
                  <a:pos x="116" y="74"/>
                </a:cxn>
                <a:cxn ang="0">
                  <a:pos x="114" y="62"/>
                </a:cxn>
                <a:cxn ang="0">
                  <a:pos x="112" y="50"/>
                </a:cxn>
              </a:cxnLst>
              <a:rect l="0" t="0" r="r" b="b"/>
              <a:pathLst>
                <a:path w="128" h="112">
                  <a:moveTo>
                    <a:pt x="112" y="44"/>
                  </a:moveTo>
                  <a:lnTo>
                    <a:pt x="112" y="44"/>
                  </a:lnTo>
                  <a:lnTo>
                    <a:pt x="106" y="40"/>
                  </a:lnTo>
                  <a:lnTo>
                    <a:pt x="104" y="38"/>
                  </a:lnTo>
                  <a:lnTo>
                    <a:pt x="104" y="36"/>
                  </a:lnTo>
                  <a:lnTo>
                    <a:pt x="102" y="32"/>
                  </a:lnTo>
                  <a:lnTo>
                    <a:pt x="102" y="32"/>
                  </a:lnTo>
                  <a:lnTo>
                    <a:pt x="100" y="30"/>
                  </a:lnTo>
                  <a:lnTo>
                    <a:pt x="100" y="26"/>
                  </a:lnTo>
                  <a:lnTo>
                    <a:pt x="100" y="24"/>
                  </a:lnTo>
                  <a:lnTo>
                    <a:pt x="96" y="22"/>
                  </a:lnTo>
                  <a:lnTo>
                    <a:pt x="96" y="22"/>
                  </a:lnTo>
                  <a:lnTo>
                    <a:pt x="94" y="20"/>
                  </a:lnTo>
                  <a:lnTo>
                    <a:pt x="94" y="16"/>
                  </a:lnTo>
                  <a:lnTo>
                    <a:pt x="94" y="14"/>
                  </a:lnTo>
                  <a:lnTo>
                    <a:pt x="90" y="14"/>
                  </a:lnTo>
                  <a:lnTo>
                    <a:pt x="90" y="14"/>
                  </a:lnTo>
                  <a:lnTo>
                    <a:pt x="88" y="14"/>
                  </a:lnTo>
                  <a:lnTo>
                    <a:pt x="86" y="12"/>
                  </a:lnTo>
                  <a:lnTo>
                    <a:pt x="82" y="8"/>
                  </a:lnTo>
                  <a:lnTo>
                    <a:pt x="80" y="4"/>
                  </a:lnTo>
                  <a:lnTo>
                    <a:pt x="76" y="4"/>
                  </a:lnTo>
                  <a:lnTo>
                    <a:pt x="72" y="2"/>
                  </a:lnTo>
                  <a:lnTo>
                    <a:pt x="72" y="2"/>
                  </a:lnTo>
                  <a:lnTo>
                    <a:pt x="68" y="2"/>
                  </a:lnTo>
                  <a:lnTo>
                    <a:pt x="66" y="0"/>
                  </a:lnTo>
                  <a:lnTo>
                    <a:pt x="66" y="0"/>
                  </a:lnTo>
                  <a:lnTo>
                    <a:pt x="64" y="0"/>
                  </a:lnTo>
                  <a:lnTo>
                    <a:pt x="64" y="0"/>
                  </a:lnTo>
                  <a:lnTo>
                    <a:pt x="62" y="0"/>
                  </a:lnTo>
                  <a:lnTo>
                    <a:pt x="60" y="2"/>
                  </a:lnTo>
                  <a:lnTo>
                    <a:pt x="60" y="4"/>
                  </a:lnTo>
                  <a:lnTo>
                    <a:pt x="56" y="4"/>
                  </a:lnTo>
                  <a:lnTo>
                    <a:pt x="56" y="4"/>
                  </a:lnTo>
                  <a:lnTo>
                    <a:pt x="52" y="4"/>
                  </a:lnTo>
                  <a:lnTo>
                    <a:pt x="50" y="4"/>
                  </a:lnTo>
                  <a:lnTo>
                    <a:pt x="50" y="4"/>
                  </a:lnTo>
                  <a:lnTo>
                    <a:pt x="46" y="4"/>
                  </a:lnTo>
                  <a:lnTo>
                    <a:pt x="44" y="4"/>
                  </a:lnTo>
                  <a:lnTo>
                    <a:pt x="40" y="2"/>
                  </a:lnTo>
                  <a:lnTo>
                    <a:pt x="40" y="2"/>
                  </a:lnTo>
                  <a:lnTo>
                    <a:pt x="38" y="2"/>
                  </a:lnTo>
                  <a:lnTo>
                    <a:pt x="36" y="2"/>
                  </a:lnTo>
                  <a:lnTo>
                    <a:pt x="32" y="6"/>
                  </a:lnTo>
                  <a:lnTo>
                    <a:pt x="32" y="6"/>
                  </a:lnTo>
                  <a:lnTo>
                    <a:pt x="28" y="16"/>
                  </a:lnTo>
                  <a:lnTo>
                    <a:pt x="20" y="30"/>
                  </a:lnTo>
                  <a:lnTo>
                    <a:pt x="20" y="30"/>
                  </a:lnTo>
                  <a:lnTo>
                    <a:pt x="12" y="42"/>
                  </a:lnTo>
                  <a:lnTo>
                    <a:pt x="6" y="46"/>
                  </a:lnTo>
                  <a:lnTo>
                    <a:pt x="6" y="46"/>
                  </a:lnTo>
                  <a:lnTo>
                    <a:pt x="0" y="52"/>
                  </a:lnTo>
                  <a:lnTo>
                    <a:pt x="0" y="52"/>
                  </a:lnTo>
                  <a:lnTo>
                    <a:pt x="4" y="54"/>
                  </a:lnTo>
                  <a:lnTo>
                    <a:pt x="4" y="54"/>
                  </a:lnTo>
                  <a:lnTo>
                    <a:pt x="8" y="56"/>
                  </a:lnTo>
                  <a:lnTo>
                    <a:pt x="8" y="56"/>
                  </a:lnTo>
                  <a:lnTo>
                    <a:pt x="6" y="58"/>
                  </a:lnTo>
                  <a:lnTo>
                    <a:pt x="10" y="60"/>
                  </a:lnTo>
                  <a:lnTo>
                    <a:pt x="10" y="60"/>
                  </a:lnTo>
                  <a:lnTo>
                    <a:pt x="14" y="62"/>
                  </a:lnTo>
                  <a:lnTo>
                    <a:pt x="14" y="62"/>
                  </a:lnTo>
                  <a:lnTo>
                    <a:pt x="12" y="62"/>
                  </a:lnTo>
                  <a:lnTo>
                    <a:pt x="14" y="66"/>
                  </a:lnTo>
                  <a:lnTo>
                    <a:pt x="14" y="66"/>
                  </a:lnTo>
                  <a:lnTo>
                    <a:pt x="18" y="66"/>
                  </a:lnTo>
                  <a:lnTo>
                    <a:pt x="20" y="66"/>
                  </a:lnTo>
                  <a:lnTo>
                    <a:pt x="22" y="64"/>
                  </a:lnTo>
                  <a:lnTo>
                    <a:pt x="26" y="66"/>
                  </a:lnTo>
                  <a:lnTo>
                    <a:pt x="26" y="66"/>
                  </a:lnTo>
                  <a:lnTo>
                    <a:pt x="20" y="66"/>
                  </a:lnTo>
                  <a:lnTo>
                    <a:pt x="18" y="68"/>
                  </a:lnTo>
                  <a:lnTo>
                    <a:pt x="20" y="70"/>
                  </a:lnTo>
                  <a:lnTo>
                    <a:pt x="20" y="70"/>
                  </a:lnTo>
                  <a:lnTo>
                    <a:pt x="22" y="74"/>
                  </a:lnTo>
                  <a:lnTo>
                    <a:pt x="22" y="74"/>
                  </a:lnTo>
                  <a:lnTo>
                    <a:pt x="20" y="76"/>
                  </a:lnTo>
                  <a:lnTo>
                    <a:pt x="22" y="78"/>
                  </a:lnTo>
                  <a:lnTo>
                    <a:pt x="22" y="78"/>
                  </a:lnTo>
                  <a:lnTo>
                    <a:pt x="38" y="76"/>
                  </a:lnTo>
                  <a:lnTo>
                    <a:pt x="42" y="76"/>
                  </a:lnTo>
                  <a:lnTo>
                    <a:pt x="42" y="74"/>
                  </a:lnTo>
                  <a:lnTo>
                    <a:pt x="46" y="74"/>
                  </a:lnTo>
                  <a:lnTo>
                    <a:pt x="46" y="74"/>
                  </a:lnTo>
                  <a:lnTo>
                    <a:pt x="52" y="74"/>
                  </a:lnTo>
                  <a:lnTo>
                    <a:pt x="60" y="76"/>
                  </a:lnTo>
                  <a:lnTo>
                    <a:pt x="70" y="78"/>
                  </a:lnTo>
                  <a:lnTo>
                    <a:pt x="78" y="80"/>
                  </a:lnTo>
                  <a:lnTo>
                    <a:pt x="78" y="80"/>
                  </a:lnTo>
                  <a:lnTo>
                    <a:pt x="84" y="80"/>
                  </a:lnTo>
                  <a:lnTo>
                    <a:pt x="84" y="80"/>
                  </a:lnTo>
                  <a:lnTo>
                    <a:pt x="76" y="84"/>
                  </a:lnTo>
                  <a:lnTo>
                    <a:pt x="76" y="84"/>
                  </a:lnTo>
                  <a:lnTo>
                    <a:pt x="66" y="84"/>
                  </a:lnTo>
                  <a:lnTo>
                    <a:pt x="60" y="84"/>
                  </a:lnTo>
                  <a:lnTo>
                    <a:pt x="54" y="84"/>
                  </a:lnTo>
                  <a:lnTo>
                    <a:pt x="50" y="84"/>
                  </a:lnTo>
                  <a:lnTo>
                    <a:pt x="50" y="84"/>
                  </a:lnTo>
                  <a:lnTo>
                    <a:pt x="42" y="86"/>
                  </a:lnTo>
                  <a:lnTo>
                    <a:pt x="38" y="88"/>
                  </a:lnTo>
                  <a:lnTo>
                    <a:pt x="38" y="88"/>
                  </a:lnTo>
                  <a:lnTo>
                    <a:pt x="34" y="90"/>
                  </a:lnTo>
                  <a:lnTo>
                    <a:pt x="24" y="92"/>
                  </a:lnTo>
                  <a:lnTo>
                    <a:pt x="24" y="92"/>
                  </a:lnTo>
                  <a:lnTo>
                    <a:pt x="22" y="100"/>
                  </a:lnTo>
                  <a:lnTo>
                    <a:pt x="22" y="102"/>
                  </a:lnTo>
                  <a:lnTo>
                    <a:pt x="24" y="102"/>
                  </a:lnTo>
                  <a:lnTo>
                    <a:pt x="24" y="102"/>
                  </a:lnTo>
                  <a:lnTo>
                    <a:pt x="28" y="100"/>
                  </a:lnTo>
                  <a:lnTo>
                    <a:pt x="30" y="98"/>
                  </a:lnTo>
                  <a:lnTo>
                    <a:pt x="32" y="100"/>
                  </a:lnTo>
                  <a:lnTo>
                    <a:pt x="34" y="100"/>
                  </a:lnTo>
                  <a:lnTo>
                    <a:pt x="34" y="100"/>
                  </a:lnTo>
                  <a:lnTo>
                    <a:pt x="38" y="98"/>
                  </a:lnTo>
                  <a:lnTo>
                    <a:pt x="40" y="98"/>
                  </a:lnTo>
                  <a:lnTo>
                    <a:pt x="42" y="98"/>
                  </a:lnTo>
                  <a:lnTo>
                    <a:pt x="44" y="98"/>
                  </a:lnTo>
                  <a:lnTo>
                    <a:pt x="44" y="98"/>
                  </a:lnTo>
                  <a:lnTo>
                    <a:pt x="48" y="98"/>
                  </a:lnTo>
                  <a:lnTo>
                    <a:pt x="52" y="98"/>
                  </a:lnTo>
                  <a:lnTo>
                    <a:pt x="54" y="100"/>
                  </a:lnTo>
                  <a:lnTo>
                    <a:pt x="58" y="100"/>
                  </a:lnTo>
                  <a:lnTo>
                    <a:pt x="58" y="100"/>
                  </a:lnTo>
                  <a:lnTo>
                    <a:pt x="56" y="100"/>
                  </a:lnTo>
                  <a:lnTo>
                    <a:pt x="54" y="102"/>
                  </a:lnTo>
                  <a:lnTo>
                    <a:pt x="52" y="102"/>
                  </a:lnTo>
                  <a:lnTo>
                    <a:pt x="52" y="102"/>
                  </a:lnTo>
                  <a:lnTo>
                    <a:pt x="48" y="100"/>
                  </a:lnTo>
                  <a:lnTo>
                    <a:pt x="48" y="100"/>
                  </a:lnTo>
                  <a:lnTo>
                    <a:pt x="46" y="100"/>
                  </a:lnTo>
                  <a:lnTo>
                    <a:pt x="44" y="100"/>
                  </a:lnTo>
                  <a:lnTo>
                    <a:pt x="44" y="100"/>
                  </a:lnTo>
                  <a:lnTo>
                    <a:pt x="38" y="100"/>
                  </a:lnTo>
                  <a:lnTo>
                    <a:pt x="36" y="102"/>
                  </a:lnTo>
                  <a:lnTo>
                    <a:pt x="34" y="102"/>
                  </a:lnTo>
                  <a:lnTo>
                    <a:pt x="34" y="102"/>
                  </a:lnTo>
                  <a:lnTo>
                    <a:pt x="28" y="102"/>
                  </a:lnTo>
                  <a:lnTo>
                    <a:pt x="28" y="102"/>
                  </a:lnTo>
                  <a:lnTo>
                    <a:pt x="28" y="104"/>
                  </a:lnTo>
                  <a:lnTo>
                    <a:pt x="26" y="104"/>
                  </a:lnTo>
                  <a:lnTo>
                    <a:pt x="26" y="104"/>
                  </a:lnTo>
                  <a:lnTo>
                    <a:pt x="22" y="106"/>
                  </a:lnTo>
                  <a:lnTo>
                    <a:pt x="22" y="108"/>
                  </a:lnTo>
                  <a:lnTo>
                    <a:pt x="24" y="112"/>
                  </a:lnTo>
                  <a:lnTo>
                    <a:pt x="24" y="112"/>
                  </a:lnTo>
                  <a:lnTo>
                    <a:pt x="28" y="110"/>
                  </a:lnTo>
                  <a:lnTo>
                    <a:pt x="28" y="108"/>
                  </a:lnTo>
                  <a:lnTo>
                    <a:pt x="30" y="106"/>
                  </a:lnTo>
                  <a:lnTo>
                    <a:pt x="38" y="106"/>
                  </a:lnTo>
                  <a:lnTo>
                    <a:pt x="38" y="106"/>
                  </a:lnTo>
                  <a:lnTo>
                    <a:pt x="50" y="104"/>
                  </a:lnTo>
                  <a:lnTo>
                    <a:pt x="56" y="102"/>
                  </a:lnTo>
                  <a:lnTo>
                    <a:pt x="62" y="102"/>
                  </a:lnTo>
                  <a:lnTo>
                    <a:pt x="62" y="102"/>
                  </a:lnTo>
                  <a:lnTo>
                    <a:pt x="78" y="104"/>
                  </a:lnTo>
                  <a:lnTo>
                    <a:pt x="78" y="104"/>
                  </a:lnTo>
                  <a:lnTo>
                    <a:pt x="84" y="104"/>
                  </a:lnTo>
                  <a:lnTo>
                    <a:pt x="88" y="106"/>
                  </a:lnTo>
                  <a:lnTo>
                    <a:pt x="92" y="106"/>
                  </a:lnTo>
                  <a:lnTo>
                    <a:pt x="96" y="106"/>
                  </a:lnTo>
                  <a:lnTo>
                    <a:pt x="96" y="106"/>
                  </a:lnTo>
                  <a:lnTo>
                    <a:pt x="102" y="106"/>
                  </a:lnTo>
                  <a:lnTo>
                    <a:pt x="108" y="108"/>
                  </a:lnTo>
                  <a:lnTo>
                    <a:pt x="114" y="108"/>
                  </a:lnTo>
                  <a:lnTo>
                    <a:pt x="126" y="108"/>
                  </a:lnTo>
                  <a:lnTo>
                    <a:pt x="126" y="108"/>
                  </a:lnTo>
                  <a:lnTo>
                    <a:pt x="128" y="102"/>
                  </a:lnTo>
                  <a:lnTo>
                    <a:pt x="128" y="92"/>
                  </a:lnTo>
                  <a:lnTo>
                    <a:pt x="126" y="84"/>
                  </a:lnTo>
                  <a:lnTo>
                    <a:pt x="122" y="76"/>
                  </a:lnTo>
                  <a:lnTo>
                    <a:pt x="122" y="76"/>
                  </a:lnTo>
                  <a:lnTo>
                    <a:pt x="120" y="78"/>
                  </a:lnTo>
                  <a:lnTo>
                    <a:pt x="118" y="78"/>
                  </a:lnTo>
                  <a:lnTo>
                    <a:pt x="116" y="74"/>
                  </a:lnTo>
                  <a:lnTo>
                    <a:pt x="114" y="68"/>
                  </a:lnTo>
                  <a:lnTo>
                    <a:pt x="114" y="62"/>
                  </a:lnTo>
                  <a:lnTo>
                    <a:pt x="114" y="62"/>
                  </a:lnTo>
                  <a:lnTo>
                    <a:pt x="116" y="54"/>
                  </a:lnTo>
                  <a:lnTo>
                    <a:pt x="114" y="52"/>
                  </a:lnTo>
                  <a:lnTo>
                    <a:pt x="112" y="50"/>
                  </a:lnTo>
                  <a:lnTo>
                    <a:pt x="112" y="44"/>
                  </a:lnTo>
                  <a:lnTo>
                    <a:pt x="112" y="44"/>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0" name="Freeform 190"/>
            <p:cNvSpPr>
              <a:spLocks/>
            </p:cNvSpPr>
            <p:nvPr/>
          </p:nvSpPr>
          <p:spPr bwMode="auto">
            <a:xfrm>
              <a:off x="3686934" y="3192198"/>
              <a:ext cx="71438" cy="50271"/>
            </a:xfrm>
            <a:custGeom>
              <a:avLst/>
              <a:gdLst/>
              <a:ahLst/>
              <a:cxnLst>
                <a:cxn ang="0">
                  <a:pos x="28" y="38"/>
                </a:cxn>
                <a:cxn ang="0">
                  <a:pos x="34" y="32"/>
                </a:cxn>
                <a:cxn ang="0">
                  <a:pos x="38" y="28"/>
                </a:cxn>
                <a:cxn ang="0">
                  <a:pos x="44" y="26"/>
                </a:cxn>
                <a:cxn ang="0">
                  <a:pos x="48" y="26"/>
                </a:cxn>
                <a:cxn ang="0">
                  <a:pos x="54" y="18"/>
                </a:cxn>
                <a:cxn ang="0">
                  <a:pos x="52" y="14"/>
                </a:cxn>
                <a:cxn ang="0">
                  <a:pos x="52" y="10"/>
                </a:cxn>
                <a:cxn ang="0">
                  <a:pos x="54" y="2"/>
                </a:cxn>
                <a:cxn ang="0">
                  <a:pos x="38" y="0"/>
                </a:cxn>
                <a:cxn ang="0">
                  <a:pos x="32" y="0"/>
                </a:cxn>
                <a:cxn ang="0">
                  <a:pos x="14" y="4"/>
                </a:cxn>
                <a:cxn ang="0">
                  <a:pos x="6" y="4"/>
                </a:cxn>
                <a:cxn ang="0">
                  <a:pos x="4" y="8"/>
                </a:cxn>
                <a:cxn ang="0">
                  <a:pos x="0" y="10"/>
                </a:cxn>
                <a:cxn ang="0">
                  <a:pos x="8" y="10"/>
                </a:cxn>
                <a:cxn ang="0">
                  <a:pos x="2" y="14"/>
                </a:cxn>
                <a:cxn ang="0">
                  <a:pos x="6" y="16"/>
                </a:cxn>
                <a:cxn ang="0">
                  <a:pos x="10" y="18"/>
                </a:cxn>
                <a:cxn ang="0">
                  <a:pos x="12" y="16"/>
                </a:cxn>
                <a:cxn ang="0">
                  <a:pos x="14" y="16"/>
                </a:cxn>
                <a:cxn ang="0">
                  <a:pos x="14" y="18"/>
                </a:cxn>
                <a:cxn ang="0">
                  <a:pos x="12" y="20"/>
                </a:cxn>
                <a:cxn ang="0">
                  <a:pos x="16" y="20"/>
                </a:cxn>
                <a:cxn ang="0">
                  <a:pos x="26" y="16"/>
                </a:cxn>
                <a:cxn ang="0">
                  <a:pos x="30" y="18"/>
                </a:cxn>
                <a:cxn ang="0">
                  <a:pos x="26" y="18"/>
                </a:cxn>
                <a:cxn ang="0">
                  <a:pos x="14" y="22"/>
                </a:cxn>
                <a:cxn ang="0">
                  <a:pos x="16" y="24"/>
                </a:cxn>
                <a:cxn ang="0">
                  <a:pos x="18" y="26"/>
                </a:cxn>
                <a:cxn ang="0">
                  <a:pos x="20" y="26"/>
                </a:cxn>
                <a:cxn ang="0">
                  <a:pos x="22" y="24"/>
                </a:cxn>
                <a:cxn ang="0">
                  <a:pos x="28" y="20"/>
                </a:cxn>
                <a:cxn ang="0">
                  <a:pos x="26" y="24"/>
                </a:cxn>
                <a:cxn ang="0">
                  <a:pos x="28" y="28"/>
                </a:cxn>
                <a:cxn ang="0">
                  <a:pos x="26" y="26"/>
                </a:cxn>
                <a:cxn ang="0">
                  <a:pos x="22" y="28"/>
                </a:cxn>
                <a:cxn ang="0">
                  <a:pos x="22" y="32"/>
                </a:cxn>
                <a:cxn ang="0">
                  <a:pos x="24" y="34"/>
                </a:cxn>
                <a:cxn ang="0">
                  <a:pos x="28" y="38"/>
                </a:cxn>
              </a:cxnLst>
              <a:rect l="0" t="0" r="r" b="b"/>
              <a:pathLst>
                <a:path w="54" h="38">
                  <a:moveTo>
                    <a:pt x="28" y="38"/>
                  </a:moveTo>
                  <a:lnTo>
                    <a:pt x="28" y="38"/>
                  </a:lnTo>
                  <a:lnTo>
                    <a:pt x="30" y="34"/>
                  </a:lnTo>
                  <a:lnTo>
                    <a:pt x="34" y="32"/>
                  </a:lnTo>
                  <a:lnTo>
                    <a:pt x="34" y="32"/>
                  </a:lnTo>
                  <a:lnTo>
                    <a:pt x="38" y="28"/>
                  </a:lnTo>
                  <a:lnTo>
                    <a:pt x="42" y="26"/>
                  </a:lnTo>
                  <a:lnTo>
                    <a:pt x="44" y="26"/>
                  </a:lnTo>
                  <a:lnTo>
                    <a:pt x="44" y="26"/>
                  </a:lnTo>
                  <a:lnTo>
                    <a:pt x="48" y="26"/>
                  </a:lnTo>
                  <a:lnTo>
                    <a:pt x="52" y="22"/>
                  </a:lnTo>
                  <a:lnTo>
                    <a:pt x="54" y="18"/>
                  </a:lnTo>
                  <a:lnTo>
                    <a:pt x="52" y="14"/>
                  </a:lnTo>
                  <a:lnTo>
                    <a:pt x="52" y="14"/>
                  </a:lnTo>
                  <a:lnTo>
                    <a:pt x="50" y="12"/>
                  </a:lnTo>
                  <a:lnTo>
                    <a:pt x="52" y="10"/>
                  </a:lnTo>
                  <a:lnTo>
                    <a:pt x="54" y="8"/>
                  </a:lnTo>
                  <a:lnTo>
                    <a:pt x="54" y="2"/>
                  </a:lnTo>
                  <a:lnTo>
                    <a:pt x="54" y="2"/>
                  </a:lnTo>
                  <a:lnTo>
                    <a:pt x="38" y="0"/>
                  </a:lnTo>
                  <a:lnTo>
                    <a:pt x="38" y="0"/>
                  </a:lnTo>
                  <a:lnTo>
                    <a:pt x="32" y="0"/>
                  </a:lnTo>
                  <a:lnTo>
                    <a:pt x="26" y="2"/>
                  </a:lnTo>
                  <a:lnTo>
                    <a:pt x="14" y="4"/>
                  </a:lnTo>
                  <a:lnTo>
                    <a:pt x="14" y="4"/>
                  </a:lnTo>
                  <a:lnTo>
                    <a:pt x="6" y="4"/>
                  </a:lnTo>
                  <a:lnTo>
                    <a:pt x="4" y="6"/>
                  </a:lnTo>
                  <a:lnTo>
                    <a:pt x="4" y="8"/>
                  </a:lnTo>
                  <a:lnTo>
                    <a:pt x="0" y="10"/>
                  </a:lnTo>
                  <a:lnTo>
                    <a:pt x="0" y="10"/>
                  </a:lnTo>
                  <a:lnTo>
                    <a:pt x="2" y="12"/>
                  </a:lnTo>
                  <a:lnTo>
                    <a:pt x="8" y="10"/>
                  </a:lnTo>
                  <a:lnTo>
                    <a:pt x="8" y="10"/>
                  </a:lnTo>
                  <a:lnTo>
                    <a:pt x="2" y="14"/>
                  </a:lnTo>
                  <a:lnTo>
                    <a:pt x="4" y="14"/>
                  </a:lnTo>
                  <a:lnTo>
                    <a:pt x="6" y="16"/>
                  </a:lnTo>
                  <a:lnTo>
                    <a:pt x="6" y="16"/>
                  </a:lnTo>
                  <a:lnTo>
                    <a:pt x="10" y="18"/>
                  </a:lnTo>
                  <a:lnTo>
                    <a:pt x="12" y="16"/>
                  </a:lnTo>
                  <a:lnTo>
                    <a:pt x="12" y="16"/>
                  </a:lnTo>
                  <a:lnTo>
                    <a:pt x="14" y="16"/>
                  </a:lnTo>
                  <a:lnTo>
                    <a:pt x="14" y="16"/>
                  </a:lnTo>
                  <a:lnTo>
                    <a:pt x="14" y="16"/>
                  </a:lnTo>
                  <a:lnTo>
                    <a:pt x="14" y="18"/>
                  </a:lnTo>
                  <a:lnTo>
                    <a:pt x="12" y="18"/>
                  </a:lnTo>
                  <a:lnTo>
                    <a:pt x="12" y="20"/>
                  </a:lnTo>
                  <a:lnTo>
                    <a:pt x="12" y="20"/>
                  </a:lnTo>
                  <a:lnTo>
                    <a:pt x="16" y="20"/>
                  </a:lnTo>
                  <a:lnTo>
                    <a:pt x="20" y="18"/>
                  </a:lnTo>
                  <a:lnTo>
                    <a:pt x="26" y="16"/>
                  </a:lnTo>
                  <a:lnTo>
                    <a:pt x="30" y="18"/>
                  </a:lnTo>
                  <a:lnTo>
                    <a:pt x="30" y="18"/>
                  </a:lnTo>
                  <a:lnTo>
                    <a:pt x="30" y="18"/>
                  </a:lnTo>
                  <a:lnTo>
                    <a:pt x="26" y="18"/>
                  </a:lnTo>
                  <a:lnTo>
                    <a:pt x="22" y="20"/>
                  </a:lnTo>
                  <a:lnTo>
                    <a:pt x="14" y="22"/>
                  </a:lnTo>
                  <a:lnTo>
                    <a:pt x="14" y="22"/>
                  </a:lnTo>
                  <a:lnTo>
                    <a:pt x="16" y="24"/>
                  </a:lnTo>
                  <a:lnTo>
                    <a:pt x="16" y="26"/>
                  </a:lnTo>
                  <a:lnTo>
                    <a:pt x="18" y="26"/>
                  </a:lnTo>
                  <a:lnTo>
                    <a:pt x="20" y="26"/>
                  </a:lnTo>
                  <a:lnTo>
                    <a:pt x="20" y="26"/>
                  </a:lnTo>
                  <a:lnTo>
                    <a:pt x="20" y="26"/>
                  </a:lnTo>
                  <a:lnTo>
                    <a:pt x="22" y="24"/>
                  </a:lnTo>
                  <a:lnTo>
                    <a:pt x="24" y="22"/>
                  </a:lnTo>
                  <a:lnTo>
                    <a:pt x="28" y="20"/>
                  </a:lnTo>
                  <a:lnTo>
                    <a:pt x="28" y="20"/>
                  </a:lnTo>
                  <a:lnTo>
                    <a:pt x="26" y="24"/>
                  </a:lnTo>
                  <a:lnTo>
                    <a:pt x="26" y="26"/>
                  </a:lnTo>
                  <a:lnTo>
                    <a:pt x="28" y="28"/>
                  </a:lnTo>
                  <a:lnTo>
                    <a:pt x="26" y="26"/>
                  </a:lnTo>
                  <a:lnTo>
                    <a:pt x="26" y="26"/>
                  </a:lnTo>
                  <a:lnTo>
                    <a:pt x="24" y="26"/>
                  </a:lnTo>
                  <a:lnTo>
                    <a:pt x="22" y="28"/>
                  </a:lnTo>
                  <a:lnTo>
                    <a:pt x="22" y="32"/>
                  </a:lnTo>
                  <a:lnTo>
                    <a:pt x="22" y="32"/>
                  </a:lnTo>
                  <a:lnTo>
                    <a:pt x="24" y="32"/>
                  </a:lnTo>
                  <a:lnTo>
                    <a:pt x="24" y="34"/>
                  </a:lnTo>
                  <a:lnTo>
                    <a:pt x="24" y="36"/>
                  </a:lnTo>
                  <a:lnTo>
                    <a:pt x="28" y="38"/>
                  </a:lnTo>
                  <a:lnTo>
                    <a:pt x="28" y="3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1" name="Freeform 191"/>
            <p:cNvSpPr>
              <a:spLocks/>
            </p:cNvSpPr>
            <p:nvPr/>
          </p:nvSpPr>
          <p:spPr bwMode="auto">
            <a:xfrm>
              <a:off x="3723976" y="3194844"/>
              <a:ext cx="203729" cy="177271"/>
            </a:xfrm>
            <a:custGeom>
              <a:avLst/>
              <a:gdLst/>
              <a:ahLst/>
              <a:cxnLst>
                <a:cxn ang="0">
                  <a:pos x="134" y="126"/>
                </a:cxn>
                <a:cxn ang="0">
                  <a:pos x="126" y="134"/>
                </a:cxn>
                <a:cxn ang="0">
                  <a:pos x="120" y="130"/>
                </a:cxn>
                <a:cxn ang="0">
                  <a:pos x="114" y="108"/>
                </a:cxn>
                <a:cxn ang="0">
                  <a:pos x="96" y="108"/>
                </a:cxn>
                <a:cxn ang="0">
                  <a:pos x="94" y="92"/>
                </a:cxn>
                <a:cxn ang="0">
                  <a:pos x="92" y="88"/>
                </a:cxn>
                <a:cxn ang="0">
                  <a:pos x="84" y="84"/>
                </a:cxn>
                <a:cxn ang="0">
                  <a:pos x="82" y="74"/>
                </a:cxn>
                <a:cxn ang="0">
                  <a:pos x="76" y="68"/>
                </a:cxn>
                <a:cxn ang="0">
                  <a:pos x="62" y="68"/>
                </a:cxn>
                <a:cxn ang="0">
                  <a:pos x="50" y="72"/>
                </a:cxn>
                <a:cxn ang="0">
                  <a:pos x="44" y="84"/>
                </a:cxn>
                <a:cxn ang="0">
                  <a:pos x="36" y="92"/>
                </a:cxn>
                <a:cxn ang="0">
                  <a:pos x="38" y="88"/>
                </a:cxn>
                <a:cxn ang="0">
                  <a:pos x="28" y="78"/>
                </a:cxn>
                <a:cxn ang="0">
                  <a:pos x="26" y="70"/>
                </a:cxn>
                <a:cxn ang="0">
                  <a:pos x="16" y="58"/>
                </a:cxn>
                <a:cxn ang="0">
                  <a:pos x="10" y="52"/>
                </a:cxn>
                <a:cxn ang="0">
                  <a:pos x="2" y="44"/>
                </a:cxn>
                <a:cxn ang="0">
                  <a:pos x="2" y="32"/>
                </a:cxn>
                <a:cxn ang="0">
                  <a:pos x="14" y="24"/>
                </a:cxn>
                <a:cxn ang="0">
                  <a:pos x="24" y="20"/>
                </a:cxn>
                <a:cxn ang="0">
                  <a:pos x="22" y="10"/>
                </a:cxn>
                <a:cxn ang="0">
                  <a:pos x="26" y="0"/>
                </a:cxn>
                <a:cxn ang="0">
                  <a:pos x="44" y="2"/>
                </a:cxn>
                <a:cxn ang="0">
                  <a:pos x="62" y="4"/>
                </a:cxn>
                <a:cxn ang="0">
                  <a:pos x="76" y="8"/>
                </a:cxn>
                <a:cxn ang="0">
                  <a:pos x="84" y="10"/>
                </a:cxn>
                <a:cxn ang="0">
                  <a:pos x="90" y="8"/>
                </a:cxn>
                <a:cxn ang="0">
                  <a:pos x="102" y="10"/>
                </a:cxn>
                <a:cxn ang="0">
                  <a:pos x="108" y="10"/>
                </a:cxn>
                <a:cxn ang="0">
                  <a:pos x="116" y="4"/>
                </a:cxn>
                <a:cxn ang="0">
                  <a:pos x="126" y="6"/>
                </a:cxn>
                <a:cxn ang="0">
                  <a:pos x="130" y="14"/>
                </a:cxn>
                <a:cxn ang="0">
                  <a:pos x="134" y="24"/>
                </a:cxn>
                <a:cxn ang="0">
                  <a:pos x="132" y="38"/>
                </a:cxn>
                <a:cxn ang="0">
                  <a:pos x="140" y="42"/>
                </a:cxn>
                <a:cxn ang="0">
                  <a:pos x="148" y="54"/>
                </a:cxn>
                <a:cxn ang="0">
                  <a:pos x="150" y="58"/>
                </a:cxn>
                <a:cxn ang="0">
                  <a:pos x="144" y="74"/>
                </a:cxn>
                <a:cxn ang="0">
                  <a:pos x="148" y="76"/>
                </a:cxn>
                <a:cxn ang="0">
                  <a:pos x="154" y="80"/>
                </a:cxn>
                <a:cxn ang="0">
                  <a:pos x="152" y="88"/>
                </a:cxn>
                <a:cxn ang="0">
                  <a:pos x="154" y="98"/>
                </a:cxn>
                <a:cxn ang="0">
                  <a:pos x="154" y="106"/>
                </a:cxn>
                <a:cxn ang="0">
                  <a:pos x="142" y="110"/>
                </a:cxn>
                <a:cxn ang="0">
                  <a:pos x="146" y="116"/>
                </a:cxn>
                <a:cxn ang="0">
                  <a:pos x="142" y="124"/>
                </a:cxn>
                <a:cxn ang="0">
                  <a:pos x="138" y="130"/>
                </a:cxn>
              </a:cxnLst>
              <a:rect l="0" t="0" r="r" b="b"/>
              <a:pathLst>
                <a:path w="154" h="134">
                  <a:moveTo>
                    <a:pt x="138" y="130"/>
                  </a:moveTo>
                  <a:lnTo>
                    <a:pt x="138" y="130"/>
                  </a:lnTo>
                  <a:lnTo>
                    <a:pt x="136" y="128"/>
                  </a:lnTo>
                  <a:lnTo>
                    <a:pt x="134" y="126"/>
                  </a:lnTo>
                  <a:lnTo>
                    <a:pt x="132" y="130"/>
                  </a:lnTo>
                  <a:lnTo>
                    <a:pt x="132" y="130"/>
                  </a:lnTo>
                  <a:lnTo>
                    <a:pt x="130" y="134"/>
                  </a:lnTo>
                  <a:lnTo>
                    <a:pt x="126" y="134"/>
                  </a:lnTo>
                  <a:lnTo>
                    <a:pt x="122" y="134"/>
                  </a:lnTo>
                  <a:lnTo>
                    <a:pt x="122" y="134"/>
                  </a:lnTo>
                  <a:lnTo>
                    <a:pt x="120" y="132"/>
                  </a:lnTo>
                  <a:lnTo>
                    <a:pt x="120" y="130"/>
                  </a:lnTo>
                  <a:lnTo>
                    <a:pt x="122" y="126"/>
                  </a:lnTo>
                  <a:lnTo>
                    <a:pt x="118" y="116"/>
                  </a:lnTo>
                  <a:lnTo>
                    <a:pt x="118" y="116"/>
                  </a:lnTo>
                  <a:lnTo>
                    <a:pt x="114" y="108"/>
                  </a:lnTo>
                  <a:lnTo>
                    <a:pt x="110" y="104"/>
                  </a:lnTo>
                  <a:lnTo>
                    <a:pt x="104" y="104"/>
                  </a:lnTo>
                  <a:lnTo>
                    <a:pt x="96" y="108"/>
                  </a:lnTo>
                  <a:lnTo>
                    <a:pt x="96" y="108"/>
                  </a:lnTo>
                  <a:lnTo>
                    <a:pt x="94" y="102"/>
                  </a:lnTo>
                  <a:lnTo>
                    <a:pt x="94" y="98"/>
                  </a:lnTo>
                  <a:lnTo>
                    <a:pt x="94" y="96"/>
                  </a:lnTo>
                  <a:lnTo>
                    <a:pt x="94" y="92"/>
                  </a:lnTo>
                  <a:lnTo>
                    <a:pt x="94" y="92"/>
                  </a:lnTo>
                  <a:lnTo>
                    <a:pt x="92" y="90"/>
                  </a:lnTo>
                  <a:lnTo>
                    <a:pt x="94" y="90"/>
                  </a:lnTo>
                  <a:lnTo>
                    <a:pt x="92" y="88"/>
                  </a:lnTo>
                  <a:lnTo>
                    <a:pt x="88" y="86"/>
                  </a:lnTo>
                  <a:lnTo>
                    <a:pt x="88" y="86"/>
                  </a:lnTo>
                  <a:lnTo>
                    <a:pt x="86" y="84"/>
                  </a:lnTo>
                  <a:lnTo>
                    <a:pt x="84" y="84"/>
                  </a:lnTo>
                  <a:lnTo>
                    <a:pt x="86" y="80"/>
                  </a:lnTo>
                  <a:lnTo>
                    <a:pt x="86" y="76"/>
                  </a:lnTo>
                  <a:lnTo>
                    <a:pt x="86" y="74"/>
                  </a:lnTo>
                  <a:lnTo>
                    <a:pt x="82" y="74"/>
                  </a:lnTo>
                  <a:lnTo>
                    <a:pt x="82" y="74"/>
                  </a:lnTo>
                  <a:lnTo>
                    <a:pt x="80" y="72"/>
                  </a:lnTo>
                  <a:lnTo>
                    <a:pt x="78" y="70"/>
                  </a:lnTo>
                  <a:lnTo>
                    <a:pt x="76" y="68"/>
                  </a:lnTo>
                  <a:lnTo>
                    <a:pt x="72" y="68"/>
                  </a:lnTo>
                  <a:lnTo>
                    <a:pt x="72" y="68"/>
                  </a:lnTo>
                  <a:lnTo>
                    <a:pt x="66" y="66"/>
                  </a:lnTo>
                  <a:lnTo>
                    <a:pt x="62" y="68"/>
                  </a:lnTo>
                  <a:lnTo>
                    <a:pt x="58" y="70"/>
                  </a:lnTo>
                  <a:lnTo>
                    <a:pt x="54" y="72"/>
                  </a:lnTo>
                  <a:lnTo>
                    <a:pt x="54" y="72"/>
                  </a:lnTo>
                  <a:lnTo>
                    <a:pt x="50" y="72"/>
                  </a:lnTo>
                  <a:lnTo>
                    <a:pt x="48" y="76"/>
                  </a:lnTo>
                  <a:lnTo>
                    <a:pt x="46" y="80"/>
                  </a:lnTo>
                  <a:lnTo>
                    <a:pt x="44" y="84"/>
                  </a:lnTo>
                  <a:lnTo>
                    <a:pt x="44" y="84"/>
                  </a:lnTo>
                  <a:lnTo>
                    <a:pt x="42" y="86"/>
                  </a:lnTo>
                  <a:lnTo>
                    <a:pt x="40" y="88"/>
                  </a:lnTo>
                  <a:lnTo>
                    <a:pt x="40" y="90"/>
                  </a:lnTo>
                  <a:lnTo>
                    <a:pt x="36" y="92"/>
                  </a:lnTo>
                  <a:lnTo>
                    <a:pt x="36" y="92"/>
                  </a:lnTo>
                  <a:lnTo>
                    <a:pt x="34" y="92"/>
                  </a:lnTo>
                  <a:lnTo>
                    <a:pt x="34" y="90"/>
                  </a:lnTo>
                  <a:lnTo>
                    <a:pt x="38" y="88"/>
                  </a:lnTo>
                  <a:lnTo>
                    <a:pt x="38" y="86"/>
                  </a:lnTo>
                  <a:lnTo>
                    <a:pt x="38" y="86"/>
                  </a:lnTo>
                  <a:lnTo>
                    <a:pt x="34" y="84"/>
                  </a:lnTo>
                  <a:lnTo>
                    <a:pt x="28" y="78"/>
                  </a:lnTo>
                  <a:lnTo>
                    <a:pt x="24" y="74"/>
                  </a:lnTo>
                  <a:lnTo>
                    <a:pt x="24" y="72"/>
                  </a:lnTo>
                  <a:lnTo>
                    <a:pt x="26" y="70"/>
                  </a:lnTo>
                  <a:lnTo>
                    <a:pt x="26" y="70"/>
                  </a:lnTo>
                  <a:lnTo>
                    <a:pt x="20" y="70"/>
                  </a:lnTo>
                  <a:lnTo>
                    <a:pt x="16" y="66"/>
                  </a:lnTo>
                  <a:lnTo>
                    <a:pt x="16" y="62"/>
                  </a:lnTo>
                  <a:lnTo>
                    <a:pt x="16" y="58"/>
                  </a:lnTo>
                  <a:lnTo>
                    <a:pt x="16" y="58"/>
                  </a:lnTo>
                  <a:lnTo>
                    <a:pt x="16" y="56"/>
                  </a:lnTo>
                  <a:lnTo>
                    <a:pt x="12" y="54"/>
                  </a:lnTo>
                  <a:lnTo>
                    <a:pt x="10" y="52"/>
                  </a:lnTo>
                  <a:lnTo>
                    <a:pt x="10" y="48"/>
                  </a:lnTo>
                  <a:lnTo>
                    <a:pt x="10" y="48"/>
                  </a:lnTo>
                  <a:lnTo>
                    <a:pt x="6" y="48"/>
                  </a:lnTo>
                  <a:lnTo>
                    <a:pt x="2" y="44"/>
                  </a:lnTo>
                  <a:lnTo>
                    <a:pt x="0" y="40"/>
                  </a:lnTo>
                  <a:lnTo>
                    <a:pt x="0" y="36"/>
                  </a:lnTo>
                  <a:lnTo>
                    <a:pt x="0" y="36"/>
                  </a:lnTo>
                  <a:lnTo>
                    <a:pt x="2" y="32"/>
                  </a:lnTo>
                  <a:lnTo>
                    <a:pt x="6" y="30"/>
                  </a:lnTo>
                  <a:lnTo>
                    <a:pt x="6" y="30"/>
                  </a:lnTo>
                  <a:lnTo>
                    <a:pt x="10" y="26"/>
                  </a:lnTo>
                  <a:lnTo>
                    <a:pt x="14" y="24"/>
                  </a:lnTo>
                  <a:lnTo>
                    <a:pt x="16" y="24"/>
                  </a:lnTo>
                  <a:lnTo>
                    <a:pt x="16" y="24"/>
                  </a:lnTo>
                  <a:lnTo>
                    <a:pt x="20" y="24"/>
                  </a:lnTo>
                  <a:lnTo>
                    <a:pt x="24" y="20"/>
                  </a:lnTo>
                  <a:lnTo>
                    <a:pt x="26" y="16"/>
                  </a:lnTo>
                  <a:lnTo>
                    <a:pt x="24" y="12"/>
                  </a:lnTo>
                  <a:lnTo>
                    <a:pt x="24" y="12"/>
                  </a:lnTo>
                  <a:lnTo>
                    <a:pt x="22" y="10"/>
                  </a:lnTo>
                  <a:lnTo>
                    <a:pt x="24" y="8"/>
                  </a:lnTo>
                  <a:lnTo>
                    <a:pt x="26" y="6"/>
                  </a:lnTo>
                  <a:lnTo>
                    <a:pt x="26" y="0"/>
                  </a:lnTo>
                  <a:lnTo>
                    <a:pt x="26" y="0"/>
                  </a:lnTo>
                  <a:lnTo>
                    <a:pt x="32" y="0"/>
                  </a:lnTo>
                  <a:lnTo>
                    <a:pt x="36" y="2"/>
                  </a:lnTo>
                  <a:lnTo>
                    <a:pt x="40" y="2"/>
                  </a:lnTo>
                  <a:lnTo>
                    <a:pt x="44" y="2"/>
                  </a:lnTo>
                  <a:lnTo>
                    <a:pt x="44" y="2"/>
                  </a:lnTo>
                  <a:lnTo>
                    <a:pt x="50" y="2"/>
                  </a:lnTo>
                  <a:lnTo>
                    <a:pt x="56" y="4"/>
                  </a:lnTo>
                  <a:lnTo>
                    <a:pt x="62" y="4"/>
                  </a:lnTo>
                  <a:lnTo>
                    <a:pt x="74" y="4"/>
                  </a:lnTo>
                  <a:lnTo>
                    <a:pt x="74" y="4"/>
                  </a:lnTo>
                  <a:lnTo>
                    <a:pt x="74" y="6"/>
                  </a:lnTo>
                  <a:lnTo>
                    <a:pt x="76" y="8"/>
                  </a:lnTo>
                  <a:lnTo>
                    <a:pt x="80" y="8"/>
                  </a:lnTo>
                  <a:lnTo>
                    <a:pt x="82" y="6"/>
                  </a:lnTo>
                  <a:lnTo>
                    <a:pt x="82" y="6"/>
                  </a:lnTo>
                  <a:lnTo>
                    <a:pt x="84" y="10"/>
                  </a:lnTo>
                  <a:lnTo>
                    <a:pt x="86" y="10"/>
                  </a:lnTo>
                  <a:lnTo>
                    <a:pt x="88" y="8"/>
                  </a:lnTo>
                  <a:lnTo>
                    <a:pt x="90" y="8"/>
                  </a:lnTo>
                  <a:lnTo>
                    <a:pt x="90" y="8"/>
                  </a:lnTo>
                  <a:lnTo>
                    <a:pt x="94" y="8"/>
                  </a:lnTo>
                  <a:lnTo>
                    <a:pt x="96" y="10"/>
                  </a:lnTo>
                  <a:lnTo>
                    <a:pt x="98" y="12"/>
                  </a:lnTo>
                  <a:lnTo>
                    <a:pt x="102" y="10"/>
                  </a:lnTo>
                  <a:lnTo>
                    <a:pt x="102" y="10"/>
                  </a:lnTo>
                  <a:lnTo>
                    <a:pt x="104" y="8"/>
                  </a:lnTo>
                  <a:lnTo>
                    <a:pt x="106" y="10"/>
                  </a:lnTo>
                  <a:lnTo>
                    <a:pt x="108" y="10"/>
                  </a:lnTo>
                  <a:lnTo>
                    <a:pt x="114" y="8"/>
                  </a:lnTo>
                  <a:lnTo>
                    <a:pt x="114" y="8"/>
                  </a:lnTo>
                  <a:lnTo>
                    <a:pt x="114" y="6"/>
                  </a:lnTo>
                  <a:lnTo>
                    <a:pt x="116" y="4"/>
                  </a:lnTo>
                  <a:lnTo>
                    <a:pt x="118" y="2"/>
                  </a:lnTo>
                  <a:lnTo>
                    <a:pt x="122" y="4"/>
                  </a:lnTo>
                  <a:lnTo>
                    <a:pt x="122" y="4"/>
                  </a:lnTo>
                  <a:lnTo>
                    <a:pt x="126" y="6"/>
                  </a:lnTo>
                  <a:lnTo>
                    <a:pt x="126" y="8"/>
                  </a:lnTo>
                  <a:lnTo>
                    <a:pt x="126" y="10"/>
                  </a:lnTo>
                  <a:lnTo>
                    <a:pt x="130" y="14"/>
                  </a:lnTo>
                  <a:lnTo>
                    <a:pt x="130" y="14"/>
                  </a:lnTo>
                  <a:lnTo>
                    <a:pt x="132" y="18"/>
                  </a:lnTo>
                  <a:lnTo>
                    <a:pt x="132" y="20"/>
                  </a:lnTo>
                  <a:lnTo>
                    <a:pt x="132" y="22"/>
                  </a:lnTo>
                  <a:lnTo>
                    <a:pt x="134" y="24"/>
                  </a:lnTo>
                  <a:lnTo>
                    <a:pt x="134" y="24"/>
                  </a:lnTo>
                  <a:lnTo>
                    <a:pt x="138" y="26"/>
                  </a:lnTo>
                  <a:lnTo>
                    <a:pt x="138" y="28"/>
                  </a:lnTo>
                  <a:lnTo>
                    <a:pt x="132" y="38"/>
                  </a:lnTo>
                  <a:lnTo>
                    <a:pt x="132" y="38"/>
                  </a:lnTo>
                  <a:lnTo>
                    <a:pt x="136" y="36"/>
                  </a:lnTo>
                  <a:lnTo>
                    <a:pt x="140" y="38"/>
                  </a:lnTo>
                  <a:lnTo>
                    <a:pt x="140" y="42"/>
                  </a:lnTo>
                  <a:lnTo>
                    <a:pt x="142" y="48"/>
                  </a:lnTo>
                  <a:lnTo>
                    <a:pt x="142" y="48"/>
                  </a:lnTo>
                  <a:lnTo>
                    <a:pt x="144" y="52"/>
                  </a:lnTo>
                  <a:lnTo>
                    <a:pt x="148" y="54"/>
                  </a:lnTo>
                  <a:lnTo>
                    <a:pt x="150" y="56"/>
                  </a:lnTo>
                  <a:lnTo>
                    <a:pt x="152" y="58"/>
                  </a:lnTo>
                  <a:lnTo>
                    <a:pt x="152" y="58"/>
                  </a:lnTo>
                  <a:lnTo>
                    <a:pt x="150" y="58"/>
                  </a:lnTo>
                  <a:lnTo>
                    <a:pt x="148" y="62"/>
                  </a:lnTo>
                  <a:lnTo>
                    <a:pt x="144" y="68"/>
                  </a:lnTo>
                  <a:lnTo>
                    <a:pt x="144" y="68"/>
                  </a:lnTo>
                  <a:lnTo>
                    <a:pt x="144" y="74"/>
                  </a:lnTo>
                  <a:lnTo>
                    <a:pt x="144" y="74"/>
                  </a:lnTo>
                  <a:lnTo>
                    <a:pt x="146" y="74"/>
                  </a:lnTo>
                  <a:lnTo>
                    <a:pt x="148" y="76"/>
                  </a:lnTo>
                  <a:lnTo>
                    <a:pt x="148" y="76"/>
                  </a:lnTo>
                  <a:lnTo>
                    <a:pt x="150" y="80"/>
                  </a:lnTo>
                  <a:lnTo>
                    <a:pt x="150" y="78"/>
                  </a:lnTo>
                  <a:lnTo>
                    <a:pt x="152" y="78"/>
                  </a:lnTo>
                  <a:lnTo>
                    <a:pt x="154" y="80"/>
                  </a:lnTo>
                  <a:lnTo>
                    <a:pt x="154" y="80"/>
                  </a:lnTo>
                  <a:lnTo>
                    <a:pt x="154" y="82"/>
                  </a:lnTo>
                  <a:lnTo>
                    <a:pt x="154" y="84"/>
                  </a:lnTo>
                  <a:lnTo>
                    <a:pt x="152" y="88"/>
                  </a:lnTo>
                  <a:lnTo>
                    <a:pt x="154" y="92"/>
                  </a:lnTo>
                  <a:lnTo>
                    <a:pt x="154" y="92"/>
                  </a:lnTo>
                  <a:lnTo>
                    <a:pt x="154" y="94"/>
                  </a:lnTo>
                  <a:lnTo>
                    <a:pt x="154" y="98"/>
                  </a:lnTo>
                  <a:lnTo>
                    <a:pt x="152" y="100"/>
                  </a:lnTo>
                  <a:lnTo>
                    <a:pt x="154" y="104"/>
                  </a:lnTo>
                  <a:lnTo>
                    <a:pt x="154" y="104"/>
                  </a:lnTo>
                  <a:lnTo>
                    <a:pt x="154" y="106"/>
                  </a:lnTo>
                  <a:lnTo>
                    <a:pt x="154" y="108"/>
                  </a:lnTo>
                  <a:lnTo>
                    <a:pt x="148" y="106"/>
                  </a:lnTo>
                  <a:lnTo>
                    <a:pt x="144" y="108"/>
                  </a:lnTo>
                  <a:lnTo>
                    <a:pt x="142" y="110"/>
                  </a:lnTo>
                  <a:lnTo>
                    <a:pt x="142" y="112"/>
                  </a:lnTo>
                  <a:lnTo>
                    <a:pt x="142" y="112"/>
                  </a:lnTo>
                  <a:lnTo>
                    <a:pt x="144" y="116"/>
                  </a:lnTo>
                  <a:lnTo>
                    <a:pt x="146" y="116"/>
                  </a:lnTo>
                  <a:lnTo>
                    <a:pt x="148" y="118"/>
                  </a:lnTo>
                  <a:lnTo>
                    <a:pt x="146" y="120"/>
                  </a:lnTo>
                  <a:lnTo>
                    <a:pt x="146" y="120"/>
                  </a:lnTo>
                  <a:lnTo>
                    <a:pt x="142" y="124"/>
                  </a:lnTo>
                  <a:lnTo>
                    <a:pt x="142" y="126"/>
                  </a:lnTo>
                  <a:lnTo>
                    <a:pt x="142" y="128"/>
                  </a:lnTo>
                  <a:lnTo>
                    <a:pt x="138" y="130"/>
                  </a:lnTo>
                  <a:lnTo>
                    <a:pt x="138" y="13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2" name="Freeform 192"/>
            <p:cNvSpPr>
              <a:spLocks/>
            </p:cNvSpPr>
            <p:nvPr/>
          </p:nvSpPr>
          <p:spPr bwMode="auto">
            <a:xfrm>
              <a:off x="4136726" y="3242469"/>
              <a:ext cx="66146" cy="179917"/>
            </a:xfrm>
            <a:custGeom>
              <a:avLst/>
              <a:gdLst/>
              <a:ahLst/>
              <a:cxnLst>
                <a:cxn ang="0">
                  <a:pos x="20" y="0"/>
                </a:cxn>
                <a:cxn ang="0">
                  <a:pos x="16" y="2"/>
                </a:cxn>
                <a:cxn ang="0">
                  <a:pos x="2" y="0"/>
                </a:cxn>
                <a:cxn ang="0">
                  <a:pos x="0" y="8"/>
                </a:cxn>
                <a:cxn ang="0">
                  <a:pos x="2" y="14"/>
                </a:cxn>
                <a:cxn ang="0">
                  <a:pos x="2" y="18"/>
                </a:cxn>
                <a:cxn ang="0">
                  <a:pos x="2" y="20"/>
                </a:cxn>
                <a:cxn ang="0">
                  <a:pos x="8" y="20"/>
                </a:cxn>
                <a:cxn ang="0">
                  <a:pos x="8" y="24"/>
                </a:cxn>
                <a:cxn ang="0">
                  <a:pos x="8" y="30"/>
                </a:cxn>
                <a:cxn ang="0">
                  <a:pos x="12" y="36"/>
                </a:cxn>
                <a:cxn ang="0">
                  <a:pos x="12" y="44"/>
                </a:cxn>
                <a:cxn ang="0">
                  <a:pos x="12" y="48"/>
                </a:cxn>
                <a:cxn ang="0">
                  <a:pos x="14" y="54"/>
                </a:cxn>
                <a:cxn ang="0">
                  <a:pos x="18" y="58"/>
                </a:cxn>
                <a:cxn ang="0">
                  <a:pos x="20" y="58"/>
                </a:cxn>
                <a:cxn ang="0">
                  <a:pos x="20" y="68"/>
                </a:cxn>
                <a:cxn ang="0">
                  <a:pos x="20" y="74"/>
                </a:cxn>
                <a:cxn ang="0">
                  <a:pos x="20" y="76"/>
                </a:cxn>
                <a:cxn ang="0">
                  <a:pos x="18" y="78"/>
                </a:cxn>
                <a:cxn ang="0">
                  <a:pos x="20" y="84"/>
                </a:cxn>
                <a:cxn ang="0">
                  <a:pos x="20" y="86"/>
                </a:cxn>
                <a:cxn ang="0">
                  <a:pos x="18" y="94"/>
                </a:cxn>
                <a:cxn ang="0">
                  <a:pos x="16" y="108"/>
                </a:cxn>
                <a:cxn ang="0">
                  <a:pos x="16" y="114"/>
                </a:cxn>
                <a:cxn ang="0">
                  <a:pos x="22" y="120"/>
                </a:cxn>
                <a:cxn ang="0">
                  <a:pos x="24" y="124"/>
                </a:cxn>
                <a:cxn ang="0">
                  <a:pos x="28" y="128"/>
                </a:cxn>
                <a:cxn ang="0">
                  <a:pos x="32" y="136"/>
                </a:cxn>
                <a:cxn ang="0">
                  <a:pos x="42" y="134"/>
                </a:cxn>
                <a:cxn ang="0">
                  <a:pos x="50" y="130"/>
                </a:cxn>
                <a:cxn ang="0">
                  <a:pos x="48" y="124"/>
                </a:cxn>
                <a:cxn ang="0">
                  <a:pos x="42" y="118"/>
                </a:cxn>
                <a:cxn ang="0">
                  <a:pos x="40" y="112"/>
                </a:cxn>
                <a:cxn ang="0">
                  <a:pos x="42" y="108"/>
                </a:cxn>
                <a:cxn ang="0">
                  <a:pos x="44" y="104"/>
                </a:cxn>
                <a:cxn ang="0">
                  <a:pos x="42" y="62"/>
                </a:cxn>
                <a:cxn ang="0">
                  <a:pos x="42" y="56"/>
                </a:cxn>
                <a:cxn ang="0">
                  <a:pos x="38" y="54"/>
                </a:cxn>
                <a:cxn ang="0">
                  <a:pos x="34" y="48"/>
                </a:cxn>
                <a:cxn ang="0">
                  <a:pos x="34" y="34"/>
                </a:cxn>
                <a:cxn ang="0">
                  <a:pos x="30" y="28"/>
                </a:cxn>
                <a:cxn ang="0">
                  <a:pos x="22" y="24"/>
                </a:cxn>
                <a:cxn ang="0">
                  <a:pos x="18" y="12"/>
                </a:cxn>
                <a:cxn ang="0">
                  <a:pos x="20" y="0"/>
                </a:cxn>
              </a:cxnLst>
              <a:rect l="0" t="0" r="r" b="b"/>
              <a:pathLst>
                <a:path w="50" h="136">
                  <a:moveTo>
                    <a:pt x="20" y="0"/>
                  </a:moveTo>
                  <a:lnTo>
                    <a:pt x="20" y="0"/>
                  </a:lnTo>
                  <a:lnTo>
                    <a:pt x="18" y="2"/>
                  </a:lnTo>
                  <a:lnTo>
                    <a:pt x="16" y="2"/>
                  </a:lnTo>
                  <a:lnTo>
                    <a:pt x="12" y="0"/>
                  </a:lnTo>
                  <a:lnTo>
                    <a:pt x="2" y="0"/>
                  </a:lnTo>
                  <a:lnTo>
                    <a:pt x="2" y="0"/>
                  </a:lnTo>
                  <a:lnTo>
                    <a:pt x="0" y="8"/>
                  </a:lnTo>
                  <a:lnTo>
                    <a:pt x="0" y="12"/>
                  </a:lnTo>
                  <a:lnTo>
                    <a:pt x="2" y="14"/>
                  </a:lnTo>
                  <a:lnTo>
                    <a:pt x="2" y="18"/>
                  </a:lnTo>
                  <a:lnTo>
                    <a:pt x="2" y="18"/>
                  </a:lnTo>
                  <a:lnTo>
                    <a:pt x="2" y="20"/>
                  </a:lnTo>
                  <a:lnTo>
                    <a:pt x="2" y="20"/>
                  </a:lnTo>
                  <a:lnTo>
                    <a:pt x="6" y="20"/>
                  </a:lnTo>
                  <a:lnTo>
                    <a:pt x="8" y="20"/>
                  </a:lnTo>
                  <a:lnTo>
                    <a:pt x="8" y="24"/>
                  </a:lnTo>
                  <a:lnTo>
                    <a:pt x="8" y="24"/>
                  </a:lnTo>
                  <a:lnTo>
                    <a:pt x="8" y="28"/>
                  </a:lnTo>
                  <a:lnTo>
                    <a:pt x="8" y="30"/>
                  </a:lnTo>
                  <a:lnTo>
                    <a:pt x="10" y="32"/>
                  </a:lnTo>
                  <a:lnTo>
                    <a:pt x="12" y="36"/>
                  </a:lnTo>
                  <a:lnTo>
                    <a:pt x="12" y="36"/>
                  </a:lnTo>
                  <a:lnTo>
                    <a:pt x="12" y="44"/>
                  </a:lnTo>
                  <a:lnTo>
                    <a:pt x="12" y="46"/>
                  </a:lnTo>
                  <a:lnTo>
                    <a:pt x="12" y="48"/>
                  </a:lnTo>
                  <a:lnTo>
                    <a:pt x="12" y="48"/>
                  </a:lnTo>
                  <a:lnTo>
                    <a:pt x="14" y="54"/>
                  </a:lnTo>
                  <a:lnTo>
                    <a:pt x="16" y="58"/>
                  </a:lnTo>
                  <a:lnTo>
                    <a:pt x="18" y="58"/>
                  </a:lnTo>
                  <a:lnTo>
                    <a:pt x="18" y="58"/>
                  </a:lnTo>
                  <a:lnTo>
                    <a:pt x="20" y="58"/>
                  </a:lnTo>
                  <a:lnTo>
                    <a:pt x="20" y="60"/>
                  </a:lnTo>
                  <a:lnTo>
                    <a:pt x="20" y="68"/>
                  </a:lnTo>
                  <a:lnTo>
                    <a:pt x="20" y="68"/>
                  </a:lnTo>
                  <a:lnTo>
                    <a:pt x="20" y="74"/>
                  </a:lnTo>
                  <a:lnTo>
                    <a:pt x="20" y="76"/>
                  </a:lnTo>
                  <a:lnTo>
                    <a:pt x="20" y="76"/>
                  </a:lnTo>
                  <a:lnTo>
                    <a:pt x="20" y="76"/>
                  </a:lnTo>
                  <a:lnTo>
                    <a:pt x="18" y="78"/>
                  </a:lnTo>
                  <a:lnTo>
                    <a:pt x="20" y="82"/>
                  </a:lnTo>
                  <a:lnTo>
                    <a:pt x="20" y="84"/>
                  </a:lnTo>
                  <a:lnTo>
                    <a:pt x="20" y="86"/>
                  </a:lnTo>
                  <a:lnTo>
                    <a:pt x="20" y="86"/>
                  </a:lnTo>
                  <a:lnTo>
                    <a:pt x="18" y="90"/>
                  </a:lnTo>
                  <a:lnTo>
                    <a:pt x="18" y="94"/>
                  </a:lnTo>
                  <a:lnTo>
                    <a:pt x="18" y="100"/>
                  </a:lnTo>
                  <a:lnTo>
                    <a:pt x="16" y="108"/>
                  </a:lnTo>
                  <a:lnTo>
                    <a:pt x="16" y="108"/>
                  </a:lnTo>
                  <a:lnTo>
                    <a:pt x="16" y="114"/>
                  </a:lnTo>
                  <a:lnTo>
                    <a:pt x="18" y="116"/>
                  </a:lnTo>
                  <a:lnTo>
                    <a:pt x="22" y="120"/>
                  </a:lnTo>
                  <a:lnTo>
                    <a:pt x="24" y="124"/>
                  </a:lnTo>
                  <a:lnTo>
                    <a:pt x="24" y="124"/>
                  </a:lnTo>
                  <a:lnTo>
                    <a:pt x="26" y="128"/>
                  </a:lnTo>
                  <a:lnTo>
                    <a:pt x="28" y="128"/>
                  </a:lnTo>
                  <a:lnTo>
                    <a:pt x="30" y="130"/>
                  </a:lnTo>
                  <a:lnTo>
                    <a:pt x="32" y="136"/>
                  </a:lnTo>
                  <a:lnTo>
                    <a:pt x="32" y="136"/>
                  </a:lnTo>
                  <a:lnTo>
                    <a:pt x="42" y="134"/>
                  </a:lnTo>
                  <a:lnTo>
                    <a:pt x="46" y="134"/>
                  </a:lnTo>
                  <a:lnTo>
                    <a:pt x="50" y="130"/>
                  </a:lnTo>
                  <a:lnTo>
                    <a:pt x="50" y="130"/>
                  </a:lnTo>
                  <a:lnTo>
                    <a:pt x="48" y="124"/>
                  </a:lnTo>
                  <a:lnTo>
                    <a:pt x="44" y="122"/>
                  </a:lnTo>
                  <a:lnTo>
                    <a:pt x="42" y="118"/>
                  </a:lnTo>
                  <a:lnTo>
                    <a:pt x="40" y="112"/>
                  </a:lnTo>
                  <a:lnTo>
                    <a:pt x="40" y="112"/>
                  </a:lnTo>
                  <a:lnTo>
                    <a:pt x="42" y="108"/>
                  </a:lnTo>
                  <a:lnTo>
                    <a:pt x="42" y="108"/>
                  </a:lnTo>
                  <a:lnTo>
                    <a:pt x="44" y="106"/>
                  </a:lnTo>
                  <a:lnTo>
                    <a:pt x="44" y="104"/>
                  </a:lnTo>
                  <a:lnTo>
                    <a:pt x="44" y="104"/>
                  </a:lnTo>
                  <a:lnTo>
                    <a:pt x="42" y="62"/>
                  </a:lnTo>
                  <a:lnTo>
                    <a:pt x="42" y="62"/>
                  </a:lnTo>
                  <a:lnTo>
                    <a:pt x="42" y="56"/>
                  </a:lnTo>
                  <a:lnTo>
                    <a:pt x="38" y="54"/>
                  </a:lnTo>
                  <a:lnTo>
                    <a:pt x="38" y="54"/>
                  </a:lnTo>
                  <a:lnTo>
                    <a:pt x="36" y="50"/>
                  </a:lnTo>
                  <a:lnTo>
                    <a:pt x="34" y="48"/>
                  </a:lnTo>
                  <a:lnTo>
                    <a:pt x="34" y="40"/>
                  </a:lnTo>
                  <a:lnTo>
                    <a:pt x="34" y="34"/>
                  </a:lnTo>
                  <a:lnTo>
                    <a:pt x="32" y="30"/>
                  </a:lnTo>
                  <a:lnTo>
                    <a:pt x="30" y="28"/>
                  </a:lnTo>
                  <a:lnTo>
                    <a:pt x="30" y="28"/>
                  </a:lnTo>
                  <a:lnTo>
                    <a:pt x="22" y="24"/>
                  </a:lnTo>
                  <a:lnTo>
                    <a:pt x="20" y="20"/>
                  </a:lnTo>
                  <a:lnTo>
                    <a:pt x="18" y="12"/>
                  </a:lnTo>
                  <a:lnTo>
                    <a:pt x="20" y="0"/>
                  </a:lnTo>
                  <a:lnTo>
                    <a:pt x="20" y="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3" name="Freeform 193"/>
            <p:cNvSpPr>
              <a:spLocks/>
            </p:cNvSpPr>
            <p:nvPr/>
          </p:nvSpPr>
          <p:spPr bwMode="auto">
            <a:xfrm>
              <a:off x="4057351" y="3239823"/>
              <a:ext cx="121708" cy="214313"/>
            </a:xfrm>
            <a:custGeom>
              <a:avLst/>
              <a:gdLst/>
              <a:ahLst/>
              <a:cxnLst>
                <a:cxn ang="0">
                  <a:pos x="12" y="38"/>
                </a:cxn>
                <a:cxn ang="0">
                  <a:pos x="8" y="28"/>
                </a:cxn>
                <a:cxn ang="0">
                  <a:pos x="6" y="20"/>
                </a:cxn>
                <a:cxn ang="0">
                  <a:pos x="4" y="14"/>
                </a:cxn>
                <a:cxn ang="0">
                  <a:pos x="10" y="4"/>
                </a:cxn>
                <a:cxn ang="0">
                  <a:pos x="46" y="4"/>
                </a:cxn>
                <a:cxn ang="0">
                  <a:pos x="54" y="0"/>
                </a:cxn>
                <a:cxn ang="0">
                  <a:pos x="62" y="2"/>
                </a:cxn>
                <a:cxn ang="0">
                  <a:pos x="60" y="14"/>
                </a:cxn>
                <a:cxn ang="0">
                  <a:pos x="62" y="20"/>
                </a:cxn>
                <a:cxn ang="0">
                  <a:pos x="66" y="22"/>
                </a:cxn>
                <a:cxn ang="0">
                  <a:pos x="68" y="26"/>
                </a:cxn>
                <a:cxn ang="0">
                  <a:pos x="70" y="34"/>
                </a:cxn>
                <a:cxn ang="0">
                  <a:pos x="72" y="46"/>
                </a:cxn>
                <a:cxn ang="0">
                  <a:pos x="72" y="50"/>
                </a:cxn>
                <a:cxn ang="0">
                  <a:pos x="78" y="60"/>
                </a:cxn>
                <a:cxn ang="0">
                  <a:pos x="80" y="62"/>
                </a:cxn>
                <a:cxn ang="0">
                  <a:pos x="80" y="76"/>
                </a:cxn>
                <a:cxn ang="0">
                  <a:pos x="80" y="78"/>
                </a:cxn>
                <a:cxn ang="0">
                  <a:pos x="80" y="86"/>
                </a:cxn>
                <a:cxn ang="0">
                  <a:pos x="78" y="92"/>
                </a:cxn>
                <a:cxn ang="0">
                  <a:pos x="76" y="110"/>
                </a:cxn>
                <a:cxn ang="0">
                  <a:pos x="78" y="118"/>
                </a:cxn>
                <a:cxn ang="0">
                  <a:pos x="84" y="126"/>
                </a:cxn>
                <a:cxn ang="0">
                  <a:pos x="90" y="132"/>
                </a:cxn>
                <a:cxn ang="0">
                  <a:pos x="88" y="146"/>
                </a:cxn>
                <a:cxn ang="0">
                  <a:pos x="82" y="144"/>
                </a:cxn>
                <a:cxn ang="0">
                  <a:pos x="80" y="146"/>
                </a:cxn>
                <a:cxn ang="0">
                  <a:pos x="74" y="150"/>
                </a:cxn>
                <a:cxn ang="0">
                  <a:pos x="52" y="158"/>
                </a:cxn>
                <a:cxn ang="0">
                  <a:pos x="40" y="162"/>
                </a:cxn>
                <a:cxn ang="0">
                  <a:pos x="32" y="162"/>
                </a:cxn>
                <a:cxn ang="0">
                  <a:pos x="20" y="156"/>
                </a:cxn>
                <a:cxn ang="0">
                  <a:pos x="6" y="154"/>
                </a:cxn>
                <a:cxn ang="0">
                  <a:pos x="10" y="150"/>
                </a:cxn>
                <a:cxn ang="0">
                  <a:pos x="10" y="144"/>
                </a:cxn>
                <a:cxn ang="0">
                  <a:pos x="4" y="136"/>
                </a:cxn>
                <a:cxn ang="0">
                  <a:pos x="0" y="124"/>
                </a:cxn>
                <a:cxn ang="0">
                  <a:pos x="4" y="112"/>
                </a:cxn>
                <a:cxn ang="0">
                  <a:pos x="8" y="94"/>
                </a:cxn>
                <a:cxn ang="0">
                  <a:pos x="14" y="76"/>
                </a:cxn>
                <a:cxn ang="0">
                  <a:pos x="12" y="54"/>
                </a:cxn>
                <a:cxn ang="0">
                  <a:pos x="12" y="46"/>
                </a:cxn>
                <a:cxn ang="0">
                  <a:pos x="8" y="40"/>
                </a:cxn>
              </a:cxnLst>
              <a:rect l="0" t="0" r="r" b="b"/>
              <a:pathLst>
                <a:path w="92" h="162">
                  <a:moveTo>
                    <a:pt x="8" y="40"/>
                  </a:moveTo>
                  <a:lnTo>
                    <a:pt x="8" y="40"/>
                  </a:lnTo>
                  <a:lnTo>
                    <a:pt x="12" y="38"/>
                  </a:lnTo>
                  <a:lnTo>
                    <a:pt x="12" y="36"/>
                  </a:lnTo>
                  <a:lnTo>
                    <a:pt x="8" y="28"/>
                  </a:lnTo>
                  <a:lnTo>
                    <a:pt x="8" y="28"/>
                  </a:lnTo>
                  <a:lnTo>
                    <a:pt x="6" y="24"/>
                  </a:lnTo>
                  <a:lnTo>
                    <a:pt x="6" y="22"/>
                  </a:lnTo>
                  <a:lnTo>
                    <a:pt x="6" y="20"/>
                  </a:lnTo>
                  <a:lnTo>
                    <a:pt x="4" y="16"/>
                  </a:lnTo>
                  <a:lnTo>
                    <a:pt x="4" y="16"/>
                  </a:lnTo>
                  <a:lnTo>
                    <a:pt x="4" y="14"/>
                  </a:lnTo>
                  <a:lnTo>
                    <a:pt x="4" y="10"/>
                  </a:lnTo>
                  <a:lnTo>
                    <a:pt x="6" y="6"/>
                  </a:lnTo>
                  <a:lnTo>
                    <a:pt x="10" y="4"/>
                  </a:lnTo>
                  <a:lnTo>
                    <a:pt x="10" y="4"/>
                  </a:lnTo>
                  <a:lnTo>
                    <a:pt x="36" y="4"/>
                  </a:lnTo>
                  <a:lnTo>
                    <a:pt x="46" y="4"/>
                  </a:lnTo>
                  <a:lnTo>
                    <a:pt x="52" y="2"/>
                  </a:lnTo>
                  <a:lnTo>
                    <a:pt x="52" y="2"/>
                  </a:lnTo>
                  <a:lnTo>
                    <a:pt x="54" y="0"/>
                  </a:lnTo>
                  <a:lnTo>
                    <a:pt x="56" y="0"/>
                  </a:lnTo>
                  <a:lnTo>
                    <a:pt x="58" y="0"/>
                  </a:lnTo>
                  <a:lnTo>
                    <a:pt x="62" y="2"/>
                  </a:lnTo>
                  <a:lnTo>
                    <a:pt x="62" y="2"/>
                  </a:lnTo>
                  <a:lnTo>
                    <a:pt x="60" y="10"/>
                  </a:lnTo>
                  <a:lnTo>
                    <a:pt x="60" y="14"/>
                  </a:lnTo>
                  <a:lnTo>
                    <a:pt x="62" y="16"/>
                  </a:lnTo>
                  <a:lnTo>
                    <a:pt x="62" y="20"/>
                  </a:lnTo>
                  <a:lnTo>
                    <a:pt x="62" y="20"/>
                  </a:lnTo>
                  <a:lnTo>
                    <a:pt x="62" y="22"/>
                  </a:lnTo>
                  <a:lnTo>
                    <a:pt x="62" y="22"/>
                  </a:lnTo>
                  <a:lnTo>
                    <a:pt x="66" y="22"/>
                  </a:lnTo>
                  <a:lnTo>
                    <a:pt x="68" y="22"/>
                  </a:lnTo>
                  <a:lnTo>
                    <a:pt x="68" y="26"/>
                  </a:lnTo>
                  <a:lnTo>
                    <a:pt x="68" y="26"/>
                  </a:lnTo>
                  <a:lnTo>
                    <a:pt x="68" y="30"/>
                  </a:lnTo>
                  <a:lnTo>
                    <a:pt x="68" y="32"/>
                  </a:lnTo>
                  <a:lnTo>
                    <a:pt x="70" y="34"/>
                  </a:lnTo>
                  <a:lnTo>
                    <a:pt x="72" y="38"/>
                  </a:lnTo>
                  <a:lnTo>
                    <a:pt x="72" y="38"/>
                  </a:lnTo>
                  <a:lnTo>
                    <a:pt x="72" y="46"/>
                  </a:lnTo>
                  <a:lnTo>
                    <a:pt x="72" y="48"/>
                  </a:lnTo>
                  <a:lnTo>
                    <a:pt x="72" y="50"/>
                  </a:lnTo>
                  <a:lnTo>
                    <a:pt x="72" y="50"/>
                  </a:lnTo>
                  <a:lnTo>
                    <a:pt x="74" y="56"/>
                  </a:lnTo>
                  <a:lnTo>
                    <a:pt x="76" y="60"/>
                  </a:lnTo>
                  <a:lnTo>
                    <a:pt x="78" y="60"/>
                  </a:lnTo>
                  <a:lnTo>
                    <a:pt x="78" y="60"/>
                  </a:lnTo>
                  <a:lnTo>
                    <a:pt x="80" y="60"/>
                  </a:lnTo>
                  <a:lnTo>
                    <a:pt x="80" y="62"/>
                  </a:lnTo>
                  <a:lnTo>
                    <a:pt x="80" y="70"/>
                  </a:lnTo>
                  <a:lnTo>
                    <a:pt x="80" y="70"/>
                  </a:lnTo>
                  <a:lnTo>
                    <a:pt x="80" y="76"/>
                  </a:lnTo>
                  <a:lnTo>
                    <a:pt x="80" y="78"/>
                  </a:lnTo>
                  <a:lnTo>
                    <a:pt x="80" y="78"/>
                  </a:lnTo>
                  <a:lnTo>
                    <a:pt x="80" y="78"/>
                  </a:lnTo>
                  <a:lnTo>
                    <a:pt x="78" y="80"/>
                  </a:lnTo>
                  <a:lnTo>
                    <a:pt x="80" y="84"/>
                  </a:lnTo>
                  <a:lnTo>
                    <a:pt x="80" y="86"/>
                  </a:lnTo>
                  <a:lnTo>
                    <a:pt x="80" y="88"/>
                  </a:lnTo>
                  <a:lnTo>
                    <a:pt x="80" y="88"/>
                  </a:lnTo>
                  <a:lnTo>
                    <a:pt x="78" y="92"/>
                  </a:lnTo>
                  <a:lnTo>
                    <a:pt x="78" y="96"/>
                  </a:lnTo>
                  <a:lnTo>
                    <a:pt x="78" y="102"/>
                  </a:lnTo>
                  <a:lnTo>
                    <a:pt x="76" y="110"/>
                  </a:lnTo>
                  <a:lnTo>
                    <a:pt x="76" y="110"/>
                  </a:lnTo>
                  <a:lnTo>
                    <a:pt x="76" y="116"/>
                  </a:lnTo>
                  <a:lnTo>
                    <a:pt x="78" y="118"/>
                  </a:lnTo>
                  <a:lnTo>
                    <a:pt x="82" y="122"/>
                  </a:lnTo>
                  <a:lnTo>
                    <a:pt x="84" y="126"/>
                  </a:lnTo>
                  <a:lnTo>
                    <a:pt x="84" y="126"/>
                  </a:lnTo>
                  <a:lnTo>
                    <a:pt x="86" y="130"/>
                  </a:lnTo>
                  <a:lnTo>
                    <a:pt x="88" y="130"/>
                  </a:lnTo>
                  <a:lnTo>
                    <a:pt x="90" y="132"/>
                  </a:lnTo>
                  <a:lnTo>
                    <a:pt x="92" y="138"/>
                  </a:lnTo>
                  <a:lnTo>
                    <a:pt x="92" y="138"/>
                  </a:lnTo>
                  <a:lnTo>
                    <a:pt x="88" y="146"/>
                  </a:lnTo>
                  <a:lnTo>
                    <a:pt x="86" y="146"/>
                  </a:lnTo>
                  <a:lnTo>
                    <a:pt x="84" y="146"/>
                  </a:lnTo>
                  <a:lnTo>
                    <a:pt x="82" y="144"/>
                  </a:lnTo>
                  <a:lnTo>
                    <a:pt x="78" y="144"/>
                  </a:lnTo>
                  <a:lnTo>
                    <a:pt x="78" y="144"/>
                  </a:lnTo>
                  <a:lnTo>
                    <a:pt x="80" y="146"/>
                  </a:lnTo>
                  <a:lnTo>
                    <a:pt x="80" y="146"/>
                  </a:lnTo>
                  <a:lnTo>
                    <a:pt x="74" y="150"/>
                  </a:lnTo>
                  <a:lnTo>
                    <a:pt x="74" y="150"/>
                  </a:lnTo>
                  <a:lnTo>
                    <a:pt x="66" y="156"/>
                  </a:lnTo>
                  <a:lnTo>
                    <a:pt x="52" y="158"/>
                  </a:lnTo>
                  <a:lnTo>
                    <a:pt x="52" y="158"/>
                  </a:lnTo>
                  <a:lnTo>
                    <a:pt x="44" y="160"/>
                  </a:lnTo>
                  <a:lnTo>
                    <a:pt x="42" y="160"/>
                  </a:lnTo>
                  <a:lnTo>
                    <a:pt x="40" y="162"/>
                  </a:lnTo>
                  <a:lnTo>
                    <a:pt x="36" y="162"/>
                  </a:lnTo>
                  <a:lnTo>
                    <a:pt x="36" y="162"/>
                  </a:lnTo>
                  <a:lnTo>
                    <a:pt x="32" y="162"/>
                  </a:lnTo>
                  <a:lnTo>
                    <a:pt x="30" y="160"/>
                  </a:lnTo>
                  <a:lnTo>
                    <a:pt x="28" y="158"/>
                  </a:lnTo>
                  <a:lnTo>
                    <a:pt x="20" y="156"/>
                  </a:lnTo>
                  <a:lnTo>
                    <a:pt x="20" y="156"/>
                  </a:lnTo>
                  <a:lnTo>
                    <a:pt x="10" y="156"/>
                  </a:lnTo>
                  <a:lnTo>
                    <a:pt x="6" y="154"/>
                  </a:lnTo>
                  <a:lnTo>
                    <a:pt x="6" y="154"/>
                  </a:lnTo>
                  <a:lnTo>
                    <a:pt x="8" y="152"/>
                  </a:lnTo>
                  <a:lnTo>
                    <a:pt x="10" y="150"/>
                  </a:lnTo>
                  <a:lnTo>
                    <a:pt x="10" y="148"/>
                  </a:lnTo>
                  <a:lnTo>
                    <a:pt x="10" y="148"/>
                  </a:lnTo>
                  <a:lnTo>
                    <a:pt x="10" y="144"/>
                  </a:lnTo>
                  <a:lnTo>
                    <a:pt x="8" y="144"/>
                  </a:lnTo>
                  <a:lnTo>
                    <a:pt x="6" y="142"/>
                  </a:lnTo>
                  <a:lnTo>
                    <a:pt x="4" y="136"/>
                  </a:lnTo>
                  <a:lnTo>
                    <a:pt x="4" y="136"/>
                  </a:lnTo>
                  <a:lnTo>
                    <a:pt x="2" y="130"/>
                  </a:lnTo>
                  <a:lnTo>
                    <a:pt x="0" y="124"/>
                  </a:lnTo>
                  <a:lnTo>
                    <a:pt x="0" y="118"/>
                  </a:lnTo>
                  <a:lnTo>
                    <a:pt x="4" y="112"/>
                  </a:lnTo>
                  <a:lnTo>
                    <a:pt x="4" y="112"/>
                  </a:lnTo>
                  <a:lnTo>
                    <a:pt x="6" y="104"/>
                  </a:lnTo>
                  <a:lnTo>
                    <a:pt x="6" y="100"/>
                  </a:lnTo>
                  <a:lnTo>
                    <a:pt x="8" y="94"/>
                  </a:lnTo>
                  <a:lnTo>
                    <a:pt x="10" y="86"/>
                  </a:lnTo>
                  <a:lnTo>
                    <a:pt x="10" y="86"/>
                  </a:lnTo>
                  <a:lnTo>
                    <a:pt x="14" y="76"/>
                  </a:lnTo>
                  <a:lnTo>
                    <a:pt x="16" y="68"/>
                  </a:lnTo>
                  <a:lnTo>
                    <a:pt x="14" y="60"/>
                  </a:lnTo>
                  <a:lnTo>
                    <a:pt x="12" y="54"/>
                  </a:lnTo>
                  <a:lnTo>
                    <a:pt x="12" y="54"/>
                  </a:lnTo>
                  <a:lnTo>
                    <a:pt x="12" y="48"/>
                  </a:lnTo>
                  <a:lnTo>
                    <a:pt x="12" y="46"/>
                  </a:lnTo>
                  <a:lnTo>
                    <a:pt x="12" y="44"/>
                  </a:lnTo>
                  <a:lnTo>
                    <a:pt x="8" y="40"/>
                  </a:lnTo>
                  <a:lnTo>
                    <a:pt x="8" y="4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4" name="Freeform 195"/>
            <p:cNvSpPr>
              <a:spLocks/>
            </p:cNvSpPr>
            <p:nvPr/>
          </p:nvSpPr>
          <p:spPr bwMode="auto">
            <a:xfrm>
              <a:off x="8055205" y="3700198"/>
              <a:ext cx="267229" cy="267229"/>
            </a:xfrm>
            <a:custGeom>
              <a:avLst/>
              <a:gdLst/>
              <a:ahLst/>
              <a:cxnLst>
                <a:cxn ang="0">
                  <a:pos x="10" y="168"/>
                </a:cxn>
                <a:cxn ang="0">
                  <a:pos x="22" y="162"/>
                </a:cxn>
                <a:cxn ang="0">
                  <a:pos x="38" y="164"/>
                </a:cxn>
                <a:cxn ang="0">
                  <a:pos x="50" y="154"/>
                </a:cxn>
                <a:cxn ang="0">
                  <a:pos x="24" y="150"/>
                </a:cxn>
                <a:cxn ang="0">
                  <a:pos x="16" y="140"/>
                </a:cxn>
                <a:cxn ang="0">
                  <a:pos x="26" y="146"/>
                </a:cxn>
                <a:cxn ang="0">
                  <a:pos x="40" y="148"/>
                </a:cxn>
                <a:cxn ang="0">
                  <a:pos x="42" y="142"/>
                </a:cxn>
                <a:cxn ang="0">
                  <a:pos x="56" y="142"/>
                </a:cxn>
                <a:cxn ang="0">
                  <a:pos x="48" y="130"/>
                </a:cxn>
                <a:cxn ang="0">
                  <a:pos x="54" y="134"/>
                </a:cxn>
                <a:cxn ang="0">
                  <a:pos x="52" y="128"/>
                </a:cxn>
                <a:cxn ang="0">
                  <a:pos x="66" y="126"/>
                </a:cxn>
                <a:cxn ang="0">
                  <a:pos x="74" y="126"/>
                </a:cxn>
                <a:cxn ang="0">
                  <a:pos x="82" y="128"/>
                </a:cxn>
                <a:cxn ang="0">
                  <a:pos x="102" y="140"/>
                </a:cxn>
                <a:cxn ang="0">
                  <a:pos x="110" y="156"/>
                </a:cxn>
                <a:cxn ang="0">
                  <a:pos x="114" y="160"/>
                </a:cxn>
                <a:cxn ang="0">
                  <a:pos x="116" y="162"/>
                </a:cxn>
                <a:cxn ang="0">
                  <a:pos x="124" y="172"/>
                </a:cxn>
                <a:cxn ang="0">
                  <a:pos x="128" y="176"/>
                </a:cxn>
                <a:cxn ang="0">
                  <a:pos x="138" y="188"/>
                </a:cxn>
                <a:cxn ang="0">
                  <a:pos x="164" y="192"/>
                </a:cxn>
                <a:cxn ang="0">
                  <a:pos x="184" y="198"/>
                </a:cxn>
                <a:cxn ang="0">
                  <a:pos x="194" y="198"/>
                </a:cxn>
                <a:cxn ang="0">
                  <a:pos x="198" y="196"/>
                </a:cxn>
                <a:cxn ang="0">
                  <a:pos x="194" y="192"/>
                </a:cxn>
                <a:cxn ang="0">
                  <a:pos x="180" y="184"/>
                </a:cxn>
                <a:cxn ang="0">
                  <a:pos x="186" y="178"/>
                </a:cxn>
                <a:cxn ang="0">
                  <a:pos x="172" y="170"/>
                </a:cxn>
                <a:cxn ang="0">
                  <a:pos x="170" y="160"/>
                </a:cxn>
                <a:cxn ang="0">
                  <a:pos x="162" y="156"/>
                </a:cxn>
                <a:cxn ang="0">
                  <a:pos x="160" y="150"/>
                </a:cxn>
                <a:cxn ang="0">
                  <a:pos x="156" y="138"/>
                </a:cxn>
                <a:cxn ang="0">
                  <a:pos x="150" y="134"/>
                </a:cxn>
                <a:cxn ang="0">
                  <a:pos x="146" y="122"/>
                </a:cxn>
                <a:cxn ang="0">
                  <a:pos x="142" y="116"/>
                </a:cxn>
                <a:cxn ang="0">
                  <a:pos x="136" y="110"/>
                </a:cxn>
                <a:cxn ang="0">
                  <a:pos x="136" y="98"/>
                </a:cxn>
                <a:cxn ang="0">
                  <a:pos x="144" y="96"/>
                </a:cxn>
                <a:cxn ang="0">
                  <a:pos x="152" y="96"/>
                </a:cxn>
                <a:cxn ang="0">
                  <a:pos x="148" y="84"/>
                </a:cxn>
                <a:cxn ang="0">
                  <a:pos x="118" y="70"/>
                </a:cxn>
                <a:cxn ang="0">
                  <a:pos x="114" y="66"/>
                </a:cxn>
                <a:cxn ang="0">
                  <a:pos x="106" y="64"/>
                </a:cxn>
                <a:cxn ang="0">
                  <a:pos x="106" y="58"/>
                </a:cxn>
                <a:cxn ang="0">
                  <a:pos x="104" y="48"/>
                </a:cxn>
                <a:cxn ang="0">
                  <a:pos x="94" y="40"/>
                </a:cxn>
                <a:cxn ang="0">
                  <a:pos x="90" y="36"/>
                </a:cxn>
                <a:cxn ang="0">
                  <a:pos x="72" y="28"/>
                </a:cxn>
                <a:cxn ang="0">
                  <a:pos x="50" y="16"/>
                </a:cxn>
                <a:cxn ang="0">
                  <a:pos x="16" y="0"/>
                </a:cxn>
                <a:cxn ang="0">
                  <a:pos x="0" y="164"/>
                </a:cxn>
              </a:cxnLst>
              <a:rect l="0" t="0" r="r" b="b"/>
              <a:pathLst>
                <a:path w="202" h="202">
                  <a:moveTo>
                    <a:pt x="0" y="164"/>
                  </a:moveTo>
                  <a:lnTo>
                    <a:pt x="0" y="164"/>
                  </a:lnTo>
                  <a:lnTo>
                    <a:pt x="4" y="164"/>
                  </a:lnTo>
                  <a:lnTo>
                    <a:pt x="8" y="166"/>
                  </a:lnTo>
                  <a:lnTo>
                    <a:pt x="10" y="168"/>
                  </a:lnTo>
                  <a:lnTo>
                    <a:pt x="16" y="168"/>
                  </a:lnTo>
                  <a:lnTo>
                    <a:pt x="16" y="168"/>
                  </a:lnTo>
                  <a:lnTo>
                    <a:pt x="20" y="166"/>
                  </a:lnTo>
                  <a:lnTo>
                    <a:pt x="20" y="164"/>
                  </a:lnTo>
                  <a:lnTo>
                    <a:pt x="22" y="162"/>
                  </a:lnTo>
                  <a:lnTo>
                    <a:pt x="26" y="166"/>
                  </a:lnTo>
                  <a:lnTo>
                    <a:pt x="26" y="166"/>
                  </a:lnTo>
                  <a:lnTo>
                    <a:pt x="32" y="168"/>
                  </a:lnTo>
                  <a:lnTo>
                    <a:pt x="36" y="166"/>
                  </a:lnTo>
                  <a:lnTo>
                    <a:pt x="38" y="164"/>
                  </a:lnTo>
                  <a:lnTo>
                    <a:pt x="44" y="162"/>
                  </a:lnTo>
                  <a:lnTo>
                    <a:pt x="44" y="162"/>
                  </a:lnTo>
                  <a:lnTo>
                    <a:pt x="48" y="160"/>
                  </a:lnTo>
                  <a:lnTo>
                    <a:pt x="50" y="156"/>
                  </a:lnTo>
                  <a:lnTo>
                    <a:pt x="50" y="154"/>
                  </a:lnTo>
                  <a:lnTo>
                    <a:pt x="48" y="152"/>
                  </a:lnTo>
                  <a:lnTo>
                    <a:pt x="40" y="152"/>
                  </a:lnTo>
                  <a:lnTo>
                    <a:pt x="40" y="152"/>
                  </a:lnTo>
                  <a:lnTo>
                    <a:pt x="28" y="152"/>
                  </a:lnTo>
                  <a:lnTo>
                    <a:pt x="24" y="150"/>
                  </a:lnTo>
                  <a:lnTo>
                    <a:pt x="22" y="146"/>
                  </a:lnTo>
                  <a:lnTo>
                    <a:pt x="22" y="146"/>
                  </a:lnTo>
                  <a:lnTo>
                    <a:pt x="20" y="144"/>
                  </a:lnTo>
                  <a:lnTo>
                    <a:pt x="18" y="142"/>
                  </a:lnTo>
                  <a:lnTo>
                    <a:pt x="16" y="140"/>
                  </a:lnTo>
                  <a:lnTo>
                    <a:pt x="14" y="138"/>
                  </a:lnTo>
                  <a:lnTo>
                    <a:pt x="14" y="138"/>
                  </a:lnTo>
                  <a:lnTo>
                    <a:pt x="22" y="142"/>
                  </a:lnTo>
                  <a:lnTo>
                    <a:pt x="24" y="142"/>
                  </a:lnTo>
                  <a:lnTo>
                    <a:pt x="26" y="146"/>
                  </a:lnTo>
                  <a:lnTo>
                    <a:pt x="26" y="146"/>
                  </a:lnTo>
                  <a:lnTo>
                    <a:pt x="28" y="148"/>
                  </a:lnTo>
                  <a:lnTo>
                    <a:pt x="32" y="148"/>
                  </a:lnTo>
                  <a:lnTo>
                    <a:pt x="40" y="148"/>
                  </a:lnTo>
                  <a:lnTo>
                    <a:pt x="40" y="148"/>
                  </a:lnTo>
                  <a:lnTo>
                    <a:pt x="50" y="150"/>
                  </a:lnTo>
                  <a:lnTo>
                    <a:pt x="48" y="148"/>
                  </a:lnTo>
                  <a:lnTo>
                    <a:pt x="48" y="148"/>
                  </a:lnTo>
                  <a:lnTo>
                    <a:pt x="42" y="144"/>
                  </a:lnTo>
                  <a:lnTo>
                    <a:pt x="42" y="142"/>
                  </a:lnTo>
                  <a:lnTo>
                    <a:pt x="44" y="144"/>
                  </a:lnTo>
                  <a:lnTo>
                    <a:pt x="44" y="144"/>
                  </a:lnTo>
                  <a:lnTo>
                    <a:pt x="50" y="144"/>
                  </a:lnTo>
                  <a:lnTo>
                    <a:pt x="54" y="144"/>
                  </a:lnTo>
                  <a:lnTo>
                    <a:pt x="56" y="142"/>
                  </a:lnTo>
                  <a:lnTo>
                    <a:pt x="52" y="138"/>
                  </a:lnTo>
                  <a:lnTo>
                    <a:pt x="52" y="138"/>
                  </a:lnTo>
                  <a:lnTo>
                    <a:pt x="50" y="134"/>
                  </a:lnTo>
                  <a:lnTo>
                    <a:pt x="48" y="132"/>
                  </a:lnTo>
                  <a:lnTo>
                    <a:pt x="48" y="130"/>
                  </a:lnTo>
                  <a:lnTo>
                    <a:pt x="44" y="130"/>
                  </a:lnTo>
                  <a:lnTo>
                    <a:pt x="44" y="130"/>
                  </a:lnTo>
                  <a:lnTo>
                    <a:pt x="50" y="130"/>
                  </a:lnTo>
                  <a:lnTo>
                    <a:pt x="52" y="132"/>
                  </a:lnTo>
                  <a:lnTo>
                    <a:pt x="54" y="134"/>
                  </a:lnTo>
                  <a:lnTo>
                    <a:pt x="58" y="136"/>
                  </a:lnTo>
                  <a:lnTo>
                    <a:pt x="58" y="136"/>
                  </a:lnTo>
                  <a:lnTo>
                    <a:pt x="60" y="134"/>
                  </a:lnTo>
                  <a:lnTo>
                    <a:pt x="58" y="132"/>
                  </a:lnTo>
                  <a:lnTo>
                    <a:pt x="52" y="128"/>
                  </a:lnTo>
                  <a:lnTo>
                    <a:pt x="52" y="128"/>
                  </a:lnTo>
                  <a:lnTo>
                    <a:pt x="60" y="130"/>
                  </a:lnTo>
                  <a:lnTo>
                    <a:pt x="60" y="126"/>
                  </a:lnTo>
                  <a:lnTo>
                    <a:pt x="60" y="126"/>
                  </a:lnTo>
                  <a:lnTo>
                    <a:pt x="66" y="126"/>
                  </a:lnTo>
                  <a:lnTo>
                    <a:pt x="68" y="124"/>
                  </a:lnTo>
                  <a:lnTo>
                    <a:pt x="68" y="124"/>
                  </a:lnTo>
                  <a:lnTo>
                    <a:pt x="72" y="128"/>
                  </a:lnTo>
                  <a:lnTo>
                    <a:pt x="74" y="126"/>
                  </a:lnTo>
                  <a:lnTo>
                    <a:pt x="74" y="126"/>
                  </a:lnTo>
                  <a:lnTo>
                    <a:pt x="78" y="124"/>
                  </a:lnTo>
                  <a:lnTo>
                    <a:pt x="78" y="124"/>
                  </a:lnTo>
                  <a:lnTo>
                    <a:pt x="80" y="126"/>
                  </a:lnTo>
                  <a:lnTo>
                    <a:pt x="82" y="128"/>
                  </a:lnTo>
                  <a:lnTo>
                    <a:pt x="82" y="128"/>
                  </a:lnTo>
                  <a:lnTo>
                    <a:pt x="88" y="134"/>
                  </a:lnTo>
                  <a:lnTo>
                    <a:pt x="90" y="134"/>
                  </a:lnTo>
                  <a:lnTo>
                    <a:pt x="96" y="136"/>
                  </a:lnTo>
                  <a:lnTo>
                    <a:pt x="96" y="136"/>
                  </a:lnTo>
                  <a:lnTo>
                    <a:pt x="102" y="140"/>
                  </a:lnTo>
                  <a:lnTo>
                    <a:pt x="108" y="146"/>
                  </a:lnTo>
                  <a:lnTo>
                    <a:pt x="110" y="152"/>
                  </a:lnTo>
                  <a:lnTo>
                    <a:pt x="110" y="154"/>
                  </a:lnTo>
                  <a:lnTo>
                    <a:pt x="110" y="156"/>
                  </a:lnTo>
                  <a:lnTo>
                    <a:pt x="110" y="156"/>
                  </a:lnTo>
                  <a:lnTo>
                    <a:pt x="108" y="158"/>
                  </a:lnTo>
                  <a:lnTo>
                    <a:pt x="110" y="160"/>
                  </a:lnTo>
                  <a:lnTo>
                    <a:pt x="112" y="162"/>
                  </a:lnTo>
                  <a:lnTo>
                    <a:pt x="114" y="160"/>
                  </a:lnTo>
                  <a:lnTo>
                    <a:pt x="114" y="160"/>
                  </a:lnTo>
                  <a:lnTo>
                    <a:pt x="116" y="160"/>
                  </a:lnTo>
                  <a:lnTo>
                    <a:pt x="118" y="160"/>
                  </a:lnTo>
                  <a:lnTo>
                    <a:pt x="118" y="160"/>
                  </a:lnTo>
                  <a:lnTo>
                    <a:pt x="116" y="162"/>
                  </a:lnTo>
                  <a:lnTo>
                    <a:pt x="116" y="162"/>
                  </a:lnTo>
                  <a:lnTo>
                    <a:pt x="116" y="164"/>
                  </a:lnTo>
                  <a:lnTo>
                    <a:pt x="116" y="168"/>
                  </a:lnTo>
                  <a:lnTo>
                    <a:pt x="118" y="172"/>
                  </a:lnTo>
                  <a:lnTo>
                    <a:pt x="124" y="172"/>
                  </a:lnTo>
                  <a:lnTo>
                    <a:pt x="124" y="172"/>
                  </a:lnTo>
                  <a:lnTo>
                    <a:pt x="126" y="170"/>
                  </a:lnTo>
                  <a:lnTo>
                    <a:pt x="126" y="170"/>
                  </a:lnTo>
                  <a:lnTo>
                    <a:pt x="126" y="172"/>
                  </a:lnTo>
                  <a:lnTo>
                    <a:pt x="128" y="176"/>
                  </a:lnTo>
                  <a:lnTo>
                    <a:pt x="128" y="176"/>
                  </a:lnTo>
                  <a:lnTo>
                    <a:pt x="130" y="182"/>
                  </a:lnTo>
                  <a:lnTo>
                    <a:pt x="130" y="186"/>
                  </a:lnTo>
                  <a:lnTo>
                    <a:pt x="132" y="186"/>
                  </a:lnTo>
                  <a:lnTo>
                    <a:pt x="138" y="188"/>
                  </a:lnTo>
                  <a:lnTo>
                    <a:pt x="138" y="188"/>
                  </a:lnTo>
                  <a:lnTo>
                    <a:pt x="150" y="190"/>
                  </a:lnTo>
                  <a:lnTo>
                    <a:pt x="156" y="190"/>
                  </a:lnTo>
                  <a:lnTo>
                    <a:pt x="160" y="190"/>
                  </a:lnTo>
                  <a:lnTo>
                    <a:pt x="164" y="192"/>
                  </a:lnTo>
                  <a:lnTo>
                    <a:pt x="164" y="192"/>
                  </a:lnTo>
                  <a:lnTo>
                    <a:pt x="168" y="194"/>
                  </a:lnTo>
                  <a:lnTo>
                    <a:pt x="172" y="196"/>
                  </a:lnTo>
                  <a:lnTo>
                    <a:pt x="186" y="196"/>
                  </a:lnTo>
                  <a:lnTo>
                    <a:pt x="186" y="196"/>
                  </a:lnTo>
                  <a:lnTo>
                    <a:pt x="184" y="198"/>
                  </a:lnTo>
                  <a:lnTo>
                    <a:pt x="186" y="200"/>
                  </a:lnTo>
                  <a:lnTo>
                    <a:pt x="196" y="202"/>
                  </a:lnTo>
                  <a:lnTo>
                    <a:pt x="196" y="202"/>
                  </a:lnTo>
                  <a:lnTo>
                    <a:pt x="196" y="200"/>
                  </a:lnTo>
                  <a:lnTo>
                    <a:pt x="194" y="198"/>
                  </a:lnTo>
                  <a:lnTo>
                    <a:pt x="192" y="198"/>
                  </a:lnTo>
                  <a:lnTo>
                    <a:pt x="192" y="196"/>
                  </a:lnTo>
                  <a:lnTo>
                    <a:pt x="192" y="196"/>
                  </a:lnTo>
                  <a:lnTo>
                    <a:pt x="192" y="196"/>
                  </a:lnTo>
                  <a:lnTo>
                    <a:pt x="198" y="196"/>
                  </a:lnTo>
                  <a:lnTo>
                    <a:pt x="202" y="194"/>
                  </a:lnTo>
                  <a:lnTo>
                    <a:pt x="202" y="194"/>
                  </a:lnTo>
                  <a:lnTo>
                    <a:pt x="202" y="194"/>
                  </a:lnTo>
                  <a:lnTo>
                    <a:pt x="198" y="194"/>
                  </a:lnTo>
                  <a:lnTo>
                    <a:pt x="194" y="192"/>
                  </a:lnTo>
                  <a:lnTo>
                    <a:pt x="190" y="190"/>
                  </a:lnTo>
                  <a:lnTo>
                    <a:pt x="190" y="190"/>
                  </a:lnTo>
                  <a:lnTo>
                    <a:pt x="186" y="188"/>
                  </a:lnTo>
                  <a:lnTo>
                    <a:pt x="182" y="186"/>
                  </a:lnTo>
                  <a:lnTo>
                    <a:pt x="180" y="184"/>
                  </a:lnTo>
                  <a:lnTo>
                    <a:pt x="184" y="182"/>
                  </a:lnTo>
                  <a:lnTo>
                    <a:pt x="184" y="182"/>
                  </a:lnTo>
                  <a:lnTo>
                    <a:pt x="188" y="182"/>
                  </a:lnTo>
                  <a:lnTo>
                    <a:pt x="188" y="180"/>
                  </a:lnTo>
                  <a:lnTo>
                    <a:pt x="186" y="178"/>
                  </a:lnTo>
                  <a:lnTo>
                    <a:pt x="180" y="176"/>
                  </a:lnTo>
                  <a:lnTo>
                    <a:pt x="180" y="176"/>
                  </a:lnTo>
                  <a:lnTo>
                    <a:pt x="176" y="176"/>
                  </a:lnTo>
                  <a:lnTo>
                    <a:pt x="172" y="174"/>
                  </a:lnTo>
                  <a:lnTo>
                    <a:pt x="172" y="170"/>
                  </a:lnTo>
                  <a:lnTo>
                    <a:pt x="174" y="166"/>
                  </a:lnTo>
                  <a:lnTo>
                    <a:pt x="174" y="166"/>
                  </a:lnTo>
                  <a:lnTo>
                    <a:pt x="174" y="164"/>
                  </a:lnTo>
                  <a:lnTo>
                    <a:pt x="174" y="162"/>
                  </a:lnTo>
                  <a:lnTo>
                    <a:pt x="170" y="160"/>
                  </a:lnTo>
                  <a:lnTo>
                    <a:pt x="166" y="162"/>
                  </a:lnTo>
                  <a:lnTo>
                    <a:pt x="166" y="162"/>
                  </a:lnTo>
                  <a:lnTo>
                    <a:pt x="164" y="162"/>
                  </a:lnTo>
                  <a:lnTo>
                    <a:pt x="164" y="158"/>
                  </a:lnTo>
                  <a:lnTo>
                    <a:pt x="162" y="156"/>
                  </a:lnTo>
                  <a:lnTo>
                    <a:pt x="160" y="154"/>
                  </a:lnTo>
                  <a:lnTo>
                    <a:pt x="160" y="154"/>
                  </a:lnTo>
                  <a:lnTo>
                    <a:pt x="158" y="152"/>
                  </a:lnTo>
                  <a:lnTo>
                    <a:pt x="158" y="152"/>
                  </a:lnTo>
                  <a:lnTo>
                    <a:pt x="160" y="150"/>
                  </a:lnTo>
                  <a:lnTo>
                    <a:pt x="158" y="148"/>
                  </a:lnTo>
                  <a:lnTo>
                    <a:pt x="158" y="148"/>
                  </a:lnTo>
                  <a:lnTo>
                    <a:pt x="158" y="144"/>
                  </a:lnTo>
                  <a:lnTo>
                    <a:pt x="158" y="140"/>
                  </a:lnTo>
                  <a:lnTo>
                    <a:pt x="156" y="138"/>
                  </a:lnTo>
                  <a:lnTo>
                    <a:pt x="154" y="138"/>
                  </a:lnTo>
                  <a:lnTo>
                    <a:pt x="154" y="138"/>
                  </a:lnTo>
                  <a:lnTo>
                    <a:pt x="152" y="136"/>
                  </a:lnTo>
                  <a:lnTo>
                    <a:pt x="150" y="134"/>
                  </a:lnTo>
                  <a:lnTo>
                    <a:pt x="150" y="134"/>
                  </a:lnTo>
                  <a:lnTo>
                    <a:pt x="148" y="132"/>
                  </a:lnTo>
                  <a:lnTo>
                    <a:pt x="148" y="132"/>
                  </a:lnTo>
                  <a:lnTo>
                    <a:pt x="146" y="128"/>
                  </a:lnTo>
                  <a:lnTo>
                    <a:pt x="146" y="124"/>
                  </a:lnTo>
                  <a:lnTo>
                    <a:pt x="146" y="122"/>
                  </a:lnTo>
                  <a:lnTo>
                    <a:pt x="144" y="120"/>
                  </a:lnTo>
                  <a:lnTo>
                    <a:pt x="144" y="120"/>
                  </a:lnTo>
                  <a:lnTo>
                    <a:pt x="144" y="122"/>
                  </a:lnTo>
                  <a:lnTo>
                    <a:pt x="142" y="120"/>
                  </a:lnTo>
                  <a:lnTo>
                    <a:pt x="142" y="116"/>
                  </a:lnTo>
                  <a:lnTo>
                    <a:pt x="142" y="112"/>
                  </a:lnTo>
                  <a:lnTo>
                    <a:pt x="140" y="110"/>
                  </a:lnTo>
                  <a:lnTo>
                    <a:pt x="138" y="110"/>
                  </a:lnTo>
                  <a:lnTo>
                    <a:pt x="138" y="110"/>
                  </a:lnTo>
                  <a:lnTo>
                    <a:pt x="136" y="110"/>
                  </a:lnTo>
                  <a:lnTo>
                    <a:pt x="136" y="106"/>
                  </a:lnTo>
                  <a:lnTo>
                    <a:pt x="136" y="102"/>
                  </a:lnTo>
                  <a:lnTo>
                    <a:pt x="136" y="98"/>
                  </a:lnTo>
                  <a:lnTo>
                    <a:pt x="136" y="98"/>
                  </a:lnTo>
                  <a:lnTo>
                    <a:pt x="136" y="98"/>
                  </a:lnTo>
                  <a:lnTo>
                    <a:pt x="136" y="98"/>
                  </a:lnTo>
                  <a:lnTo>
                    <a:pt x="140" y="98"/>
                  </a:lnTo>
                  <a:lnTo>
                    <a:pt x="144" y="98"/>
                  </a:lnTo>
                  <a:lnTo>
                    <a:pt x="144" y="98"/>
                  </a:lnTo>
                  <a:lnTo>
                    <a:pt x="144" y="96"/>
                  </a:lnTo>
                  <a:lnTo>
                    <a:pt x="144" y="96"/>
                  </a:lnTo>
                  <a:lnTo>
                    <a:pt x="144" y="96"/>
                  </a:lnTo>
                  <a:lnTo>
                    <a:pt x="146" y="96"/>
                  </a:lnTo>
                  <a:lnTo>
                    <a:pt x="148" y="98"/>
                  </a:lnTo>
                  <a:lnTo>
                    <a:pt x="152" y="96"/>
                  </a:lnTo>
                  <a:lnTo>
                    <a:pt x="152" y="94"/>
                  </a:lnTo>
                  <a:lnTo>
                    <a:pt x="152" y="90"/>
                  </a:lnTo>
                  <a:lnTo>
                    <a:pt x="152" y="90"/>
                  </a:lnTo>
                  <a:lnTo>
                    <a:pt x="150" y="86"/>
                  </a:lnTo>
                  <a:lnTo>
                    <a:pt x="148" y="84"/>
                  </a:lnTo>
                  <a:lnTo>
                    <a:pt x="138" y="80"/>
                  </a:lnTo>
                  <a:lnTo>
                    <a:pt x="130" y="76"/>
                  </a:lnTo>
                  <a:lnTo>
                    <a:pt x="122" y="72"/>
                  </a:lnTo>
                  <a:lnTo>
                    <a:pt x="122" y="72"/>
                  </a:lnTo>
                  <a:lnTo>
                    <a:pt x="118" y="70"/>
                  </a:lnTo>
                  <a:lnTo>
                    <a:pt x="116" y="70"/>
                  </a:lnTo>
                  <a:lnTo>
                    <a:pt x="114" y="70"/>
                  </a:lnTo>
                  <a:lnTo>
                    <a:pt x="114" y="68"/>
                  </a:lnTo>
                  <a:lnTo>
                    <a:pt x="114" y="68"/>
                  </a:lnTo>
                  <a:lnTo>
                    <a:pt x="114" y="66"/>
                  </a:lnTo>
                  <a:lnTo>
                    <a:pt x="112" y="66"/>
                  </a:lnTo>
                  <a:lnTo>
                    <a:pt x="110" y="66"/>
                  </a:lnTo>
                  <a:lnTo>
                    <a:pt x="108" y="66"/>
                  </a:lnTo>
                  <a:lnTo>
                    <a:pt x="108" y="66"/>
                  </a:lnTo>
                  <a:lnTo>
                    <a:pt x="106" y="64"/>
                  </a:lnTo>
                  <a:lnTo>
                    <a:pt x="104" y="64"/>
                  </a:lnTo>
                  <a:lnTo>
                    <a:pt x="102" y="64"/>
                  </a:lnTo>
                  <a:lnTo>
                    <a:pt x="104" y="60"/>
                  </a:lnTo>
                  <a:lnTo>
                    <a:pt x="104" y="60"/>
                  </a:lnTo>
                  <a:lnTo>
                    <a:pt x="106" y="58"/>
                  </a:lnTo>
                  <a:lnTo>
                    <a:pt x="106" y="56"/>
                  </a:lnTo>
                  <a:lnTo>
                    <a:pt x="106" y="54"/>
                  </a:lnTo>
                  <a:lnTo>
                    <a:pt x="104" y="50"/>
                  </a:lnTo>
                  <a:lnTo>
                    <a:pt x="104" y="50"/>
                  </a:lnTo>
                  <a:lnTo>
                    <a:pt x="104" y="48"/>
                  </a:lnTo>
                  <a:lnTo>
                    <a:pt x="102" y="48"/>
                  </a:lnTo>
                  <a:lnTo>
                    <a:pt x="100" y="46"/>
                  </a:lnTo>
                  <a:lnTo>
                    <a:pt x="96" y="44"/>
                  </a:lnTo>
                  <a:lnTo>
                    <a:pt x="96" y="44"/>
                  </a:lnTo>
                  <a:lnTo>
                    <a:pt x="94" y="40"/>
                  </a:lnTo>
                  <a:lnTo>
                    <a:pt x="92" y="40"/>
                  </a:lnTo>
                  <a:lnTo>
                    <a:pt x="92" y="40"/>
                  </a:lnTo>
                  <a:lnTo>
                    <a:pt x="90" y="38"/>
                  </a:lnTo>
                  <a:lnTo>
                    <a:pt x="90" y="38"/>
                  </a:lnTo>
                  <a:lnTo>
                    <a:pt x="90" y="36"/>
                  </a:lnTo>
                  <a:lnTo>
                    <a:pt x="88" y="34"/>
                  </a:lnTo>
                  <a:lnTo>
                    <a:pt x="84" y="34"/>
                  </a:lnTo>
                  <a:lnTo>
                    <a:pt x="78" y="32"/>
                  </a:lnTo>
                  <a:lnTo>
                    <a:pt x="76" y="32"/>
                  </a:lnTo>
                  <a:lnTo>
                    <a:pt x="72" y="28"/>
                  </a:lnTo>
                  <a:lnTo>
                    <a:pt x="72" y="28"/>
                  </a:lnTo>
                  <a:lnTo>
                    <a:pt x="68" y="22"/>
                  </a:lnTo>
                  <a:lnTo>
                    <a:pt x="64" y="20"/>
                  </a:lnTo>
                  <a:lnTo>
                    <a:pt x="56" y="16"/>
                  </a:lnTo>
                  <a:lnTo>
                    <a:pt x="50" y="16"/>
                  </a:lnTo>
                  <a:lnTo>
                    <a:pt x="46" y="14"/>
                  </a:lnTo>
                  <a:lnTo>
                    <a:pt x="46" y="14"/>
                  </a:lnTo>
                  <a:lnTo>
                    <a:pt x="40" y="10"/>
                  </a:lnTo>
                  <a:lnTo>
                    <a:pt x="32" y="6"/>
                  </a:lnTo>
                  <a:lnTo>
                    <a:pt x="16" y="0"/>
                  </a:lnTo>
                  <a:lnTo>
                    <a:pt x="16" y="0"/>
                  </a:lnTo>
                  <a:lnTo>
                    <a:pt x="12" y="52"/>
                  </a:lnTo>
                  <a:lnTo>
                    <a:pt x="8" y="98"/>
                  </a:lnTo>
                  <a:lnTo>
                    <a:pt x="0" y="164"/>
                  </a:lnTo>
                  <a:lnTo>
                    <a:pt x="0" y="164"/>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5" name="Freeform 199"/>
            <p:cNvSpPr>
              <a:spLocks/>
            </p:cNvSpPr>
            <p:nvPr/>
          </p:nvSpPr>
          <p:spPr bwMode="auto">
            <a:xfrm>
              <a:off x="4160538" y="3202781"/>
              <a:ext cx="89958" cy="211667"/>
            </a:xfrm>
            <a:custGeom>
              <a:avLst/>
              <a:gdLst/>
              <a:ahLst/>
              <a:cxnLst>
                <a:cxn ang="0">
                  <a:pos x="50" y="158"/>
                </a:cxn>
                <a:cxn ang="0">
                  <a:pos x="50" y="132"/>
                </a:cxn>
                <a:cxn ang="0">
                  <a:pos x="48" y="120"/>
                </a:cxn>
                <a:cxn ang="0">
                  <a:pos x="50" y="118"/>
                </a:cxn>
                <a:cxn ang="0">
                  <a:pos x="48" y="88"/>
                </a:cxn>
                <a:cxn ang="0">
                  <a:pos x="52" y="86"/>
                </a:cxn>
                <a:cxn ang="0">
                  <a:pos x="50" y="80"/>
                </a:cxn>
                <a:cxn ang="0">
                  <a:pos x="52" y="78"/>
                </a:cxn>
                <a:cxn ang="0">
                  <a:pos x="54" y="72"/>
                </a:cxn>
                <a:cxn ang="0">
                  <a:pos x="58" y="68"/>
                </a:cxn>
                <a:cxn ang="0">
                  <a:pos x="62" y="64"/>
                </a:cxn>
                <a:cxn ang="0">
                  <a:pos x="64" y="56"/>
                </a:cxn>
                <a:cxn ang="0">
                  <a:pos x="62" y="54"/>
                </a:cxn>
                <a:cxn ang="0">
                  <a:pos x="62" y="52"/>
                </a:cxn>
                <a:cxn ang="0">
                  <a:pos x="64" y="50"/>
                </a:cxn>
                <a:cxn ang="0">
                  <a:pos x="68" y="44"/>
                </a:cxn>
                <a:cxn ang="0">
                  <a:pos x="66" y="34"/>
                </a:cxn>
                <a:cxn ang="0">
                  <a:pos x="64" y="30"/>
                </a:cxn>
                <a:cxn ang="0">
                  <a:pos x="64" y="22"/>
                </a:cxn>
                <a:cxn ang="0">
                  <a:pos x="62" y="20"/>
                </a:cxn>
                <a:cxn ang="0">
                  <a:pos x="62" y="10"/>
                </a:cxn>
                <a:cxn ang="0">
                  <a:pos x="52" y="2"/>
                </a:cxn>
                <a:cxn ang="0">
                  <a:pos x="42" y="2"/>
                </a:cxn>
                <a:cxn ang="0">
                  <a:pos x="34" y="6"/>
                </a:cxn>
                <a:cxn ang="0">
                  <a:pos x="24" y="10"/>
                </a:cxn>
                <a:cxn ang="0">
                  <a:pos x="16" y="16"/>
                </a:cxn>
                <a:cxn ang="0">
                  <a:pos x="14" y="20"/>
                </a:cxn>
                <a:cxn ang="0">
                  <a:pos x="10" y="24"/>
                </a:cxn>
                <a:cxn ang="0">
                  <a:pos x="8" y="24"/>
                </a:cxn>
                <a:cxn ang="0">
                  <a:pos x="6" y="30"/>
                </a:cxn>
                <a:cxn ang="0">
                  <a:pos x="2" y="30"/>
                </a:cxn>
                <a:cxn ang="0">
                  <a:pos x="0" y="42"/>
                </a:cxn>
                <a:cxn ang="0">
                  <a:pos x="4" y="54"/>
                </a:cxn>
                <a:cxn ang="0">
                  <a:pos x="12" y="58"/>
                </a:cxn>
                <a:cxn ang="0">
                  <a:pos x="16" y="64"/>
                </a:cxn>
                <a:cxn ang="0">
                  <a:pos x="16" y="78"/>
                </a:cxn>
                <a:cxn ang="0">
                  <a:pos x="20" y="84"/>
                </a:cxn>
                <a:cxn ang="0">
                  <a:pos x="24" y="86"/>
                </a:cxn>
                <a:cxn ang="0">
                  <a:pos x="24" y="92"/>
                </a:cxn>
                <a:cxn ang="0">
                  <a:pos x="26" y="134"/>
                </a:cxn>
                <a:cxn ang="0">
                  <a:pos x="24" y="138"/>
                </a:cxn>
                <a:cxn ang="0">
                  <a:pos x="22" y="142"/>
                </a:cxn>
                <a:cxn ang="0">
                  <a:pos x="24" y="148"/>
                </a:cxn>
                <a:cxn ang="0">
                  <a:pos x="30" y="154"/>
                </a:cxn>
                <a:cxn ang="0">
                  <a:pos x="32" y="160"/>
                </a:cxn>
                <a:cxn ang="0">
                  <a:pos x="40" y="160"/>
                </a:cxn>
                <a:cxn ang="0">
                  <a:pos x="40" y="158"/>
                </a:cxn>
                <a:cxn ang="0">
                  <a:pos x="40" y="156"/>
                </a:cxn>
                <a:cxn ang="0">
                  <a:pos x="44" y="158"/>
                </a:cxn>
                <a:cxn ang="0">
                  <a:pos x="44" y="158"/>
                </a:cxn>
                <a:cxn ang="0">
                  <a:pos x="50" y="158"/>
                </a:cxn>
              </a:cxnLst>
              <a:rect l="0" t="0" r="r" b="b"/>
              <a:pathLst>
                <a:path w="68" h="160">
                  <a:moveTo>
                    <a:pt x="50" y="158"/>
                  </a:moveTo>
                  <a:lnTo>
                    <a:pt x="50" y="158"/>
                  </a:lnTo>
                  <a:lnTo>
                    <a:pt x="50" y="144"/>
                  </a:lnTo>
                  <a:lnTo>
                    <a:pt x="50" y="132"/>
                  </a:lnTo>
                  <a:lnTo>
                    <a:pt x="50" y="124"/>
                  </a:lnTo>
                  <a:lnTo>
                    <a:pt x="48" y="120"/>
                  </a:lnTo>
                  <a:lnTo>
                    <a:pt x="48" y="120"/>
                  </a:lnTo>
                  <a:lnTo>
                    <a:pt x="50" y="118"/>
                  </a:lnTo>
                  <a:lnTo>
                    <a:pt x="50" y="110"/>
                  </a:lnTo>
                  <a:lnTo>
                    <a:pt x="48" y="88"/>
                  </a:lnTo>
                  <a:lnTo>
                    <a:pt x="48" y="88"/>
                  </a:lnTo>
                  <a:lnTo>
                    <a:pt x="52" y="86"/>
                  </a:lnTo>
                  <a:lnTo>
                    <a:pt x="52" y="82"/>
                  </a:lnTo>
                  <a:lnTo>
                    <a:pt x="50" y="80"/>
                  </a:lnTo>
                  <a:lnTo>
                    <a:pt x="52" y="78"/>
                  </a:lnTo>
                  <a:lnTo>
                    <a:pt x="52" y="78"/>
                  </a:lnTo>
                  <a:lnTo>
                    <a:pt x="54" y="74"/>
                  </a:lnTo>
                  <a:lnTo>
                    <a:pt x="54" y="72"/>
                  </a:lnTo>
                  <a:lnTo>
                    <a:pt x="56" y="70"/>
                  </a:lnTo>
                  <a:lnTo>
                    <a:pt x="58" y="68"/>
                  </a:lnTo>
                  <a:lnTo>
                    <a:pt x="58" y="68"/>
                  </a:lnTo>
                  <a:lnTo>
                    <a:pt x="62" y="64"/>
                  </a:lnTo>
                  <a:lnTo>
                    <a:pt x="64" y="60"/>
                  </a:lnTo>
                  <a:lnTo>
                    <a:pt x="64" y="56"/>
                  </a:lnTo>
                  <a:lnTo>
                    <a:pt x="62" y="54"/>
                  </a:lnTo>
                  <a:lnTo>
                    <a:pt x="62" y="54"/>
                  </a:lnTo>
                  <a:lnTo>
                    <a:pt x="62" y="52"/>
                  </a:lnTo>
                  <a:lnTo>
                    <a:pt x="62" y="52"/>
                  </a:lnTo>
                  <a:lnTo>
                    <a:pt x="64" y="50"/>
                  </a:lnTo>
                  <a:lnTo>
                    <a:pt x="64" y="50"/>
                  </a:lnTo>
                  <a:lnTo>
                    <a:pt x="66" y="48"/>
                  </a:lnTo>
                  <a:lnTo>
                    <a:pt x="68" y="44"/>
                  </a:lnTo>
                  <a:lnTo>
                    <a:pt x="68" y="40"/>
                  </a:lnTo>
                  <a:lnTo>
                    <a:pt x="66" y="34"/>
                  </a:lnTo>
                  <a:lnTo>
                    <a:pt x="66" y="34"/>
                  </a:lnTo>
                  <a:lnTo>
                    <a:pt x="64" y="30"/>
                  </a:lnTo>
                  <a:lnTo>
                    <a:pt x="64" y="26"/>
                  </a:lnTo>
                  <a:lnTo>
                    <a:pt x="64" y="22"/>
                  </a:lnTo>
                  <a:lnTo>
                    <a:pt x="62" y="20"/>
                  </a:lnTo>
                  <a:lnTo>
                    <a:pt x="62" y="20"/>
                  </a:lnTo>
                  <a:lnTo>
                    <a:pt x="60" y="18"/>
                  </a:lnTo>
                  <a:lnTo>
                    <a:pt x="62" y="10"/>
                  </a:lnTo>
                  <a:lnTo>
                    <a:pt x="62" y="10"/>
                  </a:lnTo>
                  <a:lnTo>
                    <a:pt x="52" y="2"/>
                  </a:lnTo>
                  <a:lnTo>
                    <a:pt x="46" y="0"/>
                  </a:lnTo>
                  <a:lnTo>
                    <a:pt x="42" y="2"/>
                  </a:lnTo>
                  <a:lnTo>
                    <a:pt x="34" y="6"/>
                  </a:lnTo>
                  <a:lnTo>
                    <a:pt x="34" y="6"/>
                  </a:lnTo>
                  <a:lnTo>
                    <a:pt x="28" y="10"/>
                  </a:lnTo>
                  <a:lnTo>
                    <a:pt x="24" y="10"/>
                  </a:lnTo>
                  <a:lnTo>
                    <a:pt x="18" y="12"/>
                  </a:lnTo>
                  <a:lnTo>
                    <a:pt x="16" y="16"/>
                  </a:lnTo>
                  <a:lnTo>
                    <a:pt x="16" y="16"/>
                  </a:lnTo>
                  <a:lnTo>
                    <a:pt x="14" y="20"/>
                  </a:lnTo>
                  <a:lnTo>
                    <a:pt x="10" y="22"/>
                  </a:lnTo>
                  <a:lnTo>
                    <a:pt x="10" y="24"/>
                  </a:lnTo>
                  <a:lnTo>
                    <a:pt x="8" y="24"/>
                  </a:lnTo>
                  <a:lnTo>
                    <a:pt x="8" y="24"/>
                  </a:lnTo>
                  <a:lnTo>
                    <a:pt x="8" y="32"/>
                  </a:lnTo>
                  <a:lnTo>
                    <a:pt x="6" y="30"/>
                  </a:lnTo>
                  <a:lnTo>
                    <a:pt x="6" y="30"/>
                  </a:lnTo>
                  <a:lnTo>
                    <a:pt x="2" y="30"/>
                  </a:lnTo>
                  <a:lnTo>
                    <a:pt x="2" y="30"/>
                  </a:lnTo>
                  <a:lnTo>
                    <a:pt x="0" y="42"/>
                  </a:lnTo>
                  <a:lnTo>
                    <a:pt x="2" y="50"/>
                  </a:lnTo>
                  <a:lnTo>
                    <a:pt x="4" y="54"/>
                  </a:lnTo>
                  <a:lnTo>
                    <a:pt x="12" y="58"/>
                  </a:lnTo>
                  <a:lnTo>
                    <a:pt x="12" y="58"/>
                  </a:lnTo>
                  <a:lnTo>
                    <a:pt x="14" y="60"/>
                  </a:lnTo>
                  <a:lnTo>
                    <a:pt x="16" y="64"/>
                  </a:lnTo>
                  <a:lnTo>
                    <a:pt x="16" y="70"/>
                  </a:lnTo>
                  <a:lnTo>
                    <a:pt x="16" y="78"/>
                  </a:lnTo>
                  <a:lnTo>
                    <a:pt x="18" y="80"/>
                  </a:lnTo>
                  <a:lnTo>
                    <a:pt x="20" y="84"/>
                  </a:lnTo>
                  <a:lnTo>
                    <a:pt x="20" y="84"/>
                  </a:lnTo>
                  <a:lnTo>
                    <a:pt x="24" y="86"/>
                  </a:lnTo>
                  <a:lnTo>
                    <a:pt x="24" y="92"/>
                  </a:lnTo>
                  <a:lnTo>
                    <a:pt x="24" y="92"/>
                  </a:lnTo>
                  <a:lnTo>
                    <a:pt x="26" y="134"/>
                  </a:lnTo>
                  <a:lnTo>
                    <a:pt x="26" y="134"/>
                  </a:lnTo>
                  <a:lnTo>
                    <a:pt x="26" y="136"/>
                  </a:lnTo>
                  <a:lnTo>
                    <a:pt x="24" y="138"/>
                  </a:lnTo>
                  <a:lnTo>
                    <a:pt x="24" y="138"/>
                  </a:lnTo>
                  <a:lnTo>
                    <a:pt x="22" y="142"/>
                  </a:lnTo>
                  <a:lnTo>
                    <a:pt x="22" y="142"/>
                  </a:lnTo>
                  <a:lnTo>
                    <a:pt x="24" y="148"/>
                  </a:lnTo>
                  <a:lnTo>
                    <a:pt x="26" y="152"/>
                  </a:lnTo>
                  <a:lnTo>
                    <a:pt x="30" y="154"/>
                  </a:lnTo>
                  <a:lnTo>
                    <a:pt x="32" y="160"/>
                  </a:lnTo>
                  <a:lnTo>
                    <a:pt x="32" y="160"/>
                  </a:lnTo>
                  <a:lnTo>
                    <a:pt x="38" y="160"/>
                  </a:lnTo>
                  <a:lnTo>
                    <a:pt x="40" y="160"/>
                  </a:lnTo>
                  <a:lnTo>
                    <a:pt x="40" y="158"/>
                  </a:lnTo>
                  <a:lnTo>
                    <a:pt x="40" y="158"/>
                  </a:lnTo>
                  <a:lnTo>
                    <a:pt x="38" y="158"/>
                  </a:lnTo>
                  <a:lnTo>
                    <a:pt x="40" y="156"/>
                  </a:lnTo>
                  <a:lnTo>
                    <a:pt x="44" y="158"/>
                  </a:lnTo>
                  <a:lnTo>
                    <a:pt x="44" y="158"/>
                  </a:lnTo>
                  <a:lnTo>
                    <a:pt x="44" y="158"/>
                  </a:lnTo>
                  <a:lnTo>
                    <a:pt x="44" y="158"/>
                  </a:lnTo>
                  <a:lnTo>
                    <a:pt x="50" y="158"/>
                  </a:lnTo>
                  <a:lnTo>
                    <a:pt x="50" y="15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6" name="Freeform 200"/>
            <p:cNvSpPr>
              <a:spLocks/>
            </p:cNvSpPr>
            <p:nvPr/>
          </p:nvSpPr>
          <p:spPr bwMode="auto">
            <a:xfrm>
              <a:off x="5274434" y="2316427"/>
              <a:ext cx="568854" cy="447146"/>
            </a:xfrm>
            <a:custGeom>
              <a:avLst/>
              <a:gdLst/>
              <a:ahLst/>
              <a:cxnLst>
                <a:cxn ang="0">
                  <a:pos x="378" y="334"/>
                </a:cxn>
                <a:cxn ang="0">
                  <a:pos x="364" y="332"/>
                </a:cxn>
                <a:cxn ang="0">
                  <a:pos x="328" y="330"/>
                </a:cxn>
                <a:cxn ang="0">
                  <a:pos x="312" y="314"/>
                </a:cxn>
                <a:cxn ang="0">
                  <a:pos x="292" y="294"/>
                </a:cxn>
                <a:cxn ang="0">
                  <a:pos x="266" y="302"/>
                </a:cxn>
                <a:cxn ang="0">
                  <a:pos x="238" y="304"/>
                </a:cxn>
                <a:cxn ang="0">
                  <a:pos x="216" y="290"/>
                </a:cxn>
                <a:cxn ang="0">
                  <a:pos x="206" y="278"/>
                </a:cxn>
                <a:cxn ang="0">
                  <a:pos x="196" y="272"/>
                </a:cxn>
                <a:cxn ang="0">
                  <a:pos x="186" y="256"/>
                </a:cxn>
                <a:cxn ang="0">
                  <a:pos x="170" y="242"/>
                </a:cxn>
                <a:cxn ang="0">
                  <a:pos x="150" y="224"/>
                </a:cxn>
                <a:cxn ang="0">
                  <a:pos x="134" y="214"/>
                </a:cxn>
                <a:cxn ang="0">
                  <a:pos x="130" y="224"/>
                </a:cxn>
                <a:cxn ang="0">
                  <a:pos x="116" y="210"/>
                </a:cxn>
                <a:cxn ang="0">
                  <a:pos x="108" y="188"/>
                </a:cxn>
                <a:cxn ang="0">
                  <a:pos x="84" y="160"/>
                </a:cxn>
                <a:cxn ang="0">
                  <a:pos x="60" y="146"/>
                </a:cxn>
                <a:cxn ang="0">
                  <a:pos x="50" y="130"/>
                </a:cxn>
                <a:cxn ang="0">
                  <a:pos x="50" y="120"/>
                </a:cxn>
                <a:cxn ang="0">
                  <a:pos x="56" y="96"/>
                </a:cxn>
                <a:cxn ang="0">
                  <a:pos x="60" y="84"/>
                </a:cxn>
                <a:cxn ang="0">
                  <a:pos x="40" y="74"/>
                </a:cxn>
                <a:cxn ang="0">
                  <a:pos x="36" y="70"/>
                </a:cxn>
                <a:cxn ang="0">
                  <a:pos x="26" y="56"/>
                </a:cxn>
                <a:cxn ang="0">
                  <a:pos x="20" y="46"/>
                </a:cxn>
                <a:cxn ang="0">
                  <a:pos x="8" y="28"/>
                </a:cxn>
                <a:cxn ang="0">
                  <a:pos x="0" y="8"/>
                </a:cxn>
                <a:cxn ang="0">
                  <a:pos x="10" y="0"/>
                </a:cxn>
                <a:cxn ang="0">
                  <a:pos x="24" y="12"/>
                </a:cxn>
                <a:cxn ang="0">
                  <a:pos x="56" y="12"/>
                </a:cxn>
                <a:cxn ang="0">
                  <a:pos x="76" y="10"/>
                </a:cxn>
                <a:cxn ang="0">
                  <a:pos x="76" y="24"/>
                </a:cxn>
                <a:cxn ang="0">
                  <a:pos x="98" y="36"/>
                </a:cxn>
                <a:cxn ang="0">
                  <a:pos x="118" y="52"/>
                </a:cxn>
                <a:cxn ang="0">
                  <a:pos x="158" y="70"/>
                </a:cxn>
                <a:cxn ang="0">
                  <a:pos x="186" y="66"/>
                </a:cxn>
                <a:cxn ang="0">
                  <a:pos x="200" y="62"/>
                </a:cxn>
                <a:cxn ang="0">
                  <a:pos x="206" y="62"/>
                </a:cxn>
                <a:cxn ang="0">
                  <a:pos x="212" y="48"/>
                </a:cxn>
                <a:cxn ang="0">
                  <a:pos x="222" y="30"/>
                </a:cxn>
                <a:cxn ang="0">
                  <a:pos x="246" y="26"/>
                </a:cxn>
                <a:cxn ang="0">
                  <a:pos x="266" y="36"/>
                </a:cxn>
                <a:cxn ang="0">
                  <a:pos x="316" y="56"/>
                </a:cxn>
                <a:cxn ang="0">
                  <a:pos x="340" y="66"/>
                </a:cxn>
                <a:cxn ang="0">
                  <a:pos x="350" y="84"/>
                </a:cxn>
                <a:cxn ang="0">
                  <a:pos x="350" y="100"/>
                </a:cxn>
                <a:cxn ang="0">
                  <a:pos x="344" y="122"/>
                </a:cxn>
                <a:cxn ang="0">
                  <a:pos x="350" y="144"/>
                </a:cxn>
                <a:cxn ang="0">
                  <a:pos x="356" y="176"/>
                </a:cxn>
                <a:cxn ang="0">
                  <a:pos x="380" y="182"/>
                </a:cxn>
                <a:cxn ang="0">
                  <a:pos x="388" y="236"/>
                </a:cxn>
                <a:cxn ang="0">
                  <a:pos x="412" y="254"/>
                </a:cxn>
                <a:cxn ang="0">
                  <a:pos x="428" y="280"/>
                </a:cxn>
                <a:cxn ang="0">
                  <a:pos x="430" y="292"/>
                </a:cxn>
                <a:cxn ang="0">
                  <a:pos x="420" y="296"/>
                </a:cxn>
                <a:cxn ang="0">
                  <a:pos x="414" y="306"/>
                </a:cxn>
                <a:cxn ang="0">
                  <a:pos x="408" y="326"/>
                </a:cxn>
              </a:cxnLst>
              <a:rect l="0" t="0" r="r" b="b"/>
              <a:pathLst>
                <a:path w="430" h="338">
                  <a:moveTo>
                    <a:pt x="402" y="338"/>
                  </a:moveTo>
                  <a:lnTo>
                    <a:pt x="402" y="338"/>
                  </a:lnTo>
                  <a:lnTo>
                    <a:pt x="392" y="338"/>
                  </a:lnTo>
                  <a:lnTo>
                    <a:pt x="386" y="336"/>
                  </a:lnTo>
                  <a:lnTo>
                    <a:pt x="380" y="334"/>
                  </a:lnTo>
                  <a:lnTo>
                    <a:pt x="378" y="334"/>
                  </a:lnTo>
                  <a:lnTo>
                    <a:pt x="376" y="334"/>
                  </a:lnTo>
                  <a:lnTo>
                    <a:pt x="376" y="334"/>
                  </a:lnTo>
                  <a:lnTo>
                    <a:pt x="376" y="336"/>
                  </a:lnTo>
                  <a:lnTo>
                    <a:pt x="374" y="336"/>
                  </a:lnTo>
                  <a:lnTo>
                    <a:pt x="370" y="334"/>
                  </a:lnTo>
                  <a:lnTo>
                    <a:pt x="364" y="332"/>
                  </a:lnTo>
                  <a:lnTo>
                    <a:pt x="352" y="332"/>
                  </a:lnTo>
                  <a:lnTo>
                    <a:pt x="352" y="332"/>
                  </a:lnTo>
                  <a:lnTo>
                    <a:pt x="344" y="334"/>
                  </a:lnTo>
                  <a:lnTo>
                    <a:pt x="338" y="332"/>
                  </a:lnTo>
                  <a:lnTo>
                    <a:pt x="332" y="330"/>
                  </a:lnTo>
                  <a:lnTo>
                    <a:pt x="328" y="330"/>
                  </a:lnTo>
                  <a:lnTo>
                    <a:pt x="328" y="330"/>
                  </a:lnTo>
                  <a:lnTo>
                    <a:pt x="322" y="328"/>
                  </a:lnTo>
                  <a:lnTo>
                    <a:pt x="320" y="324"/>
                  </a:lnTo>
                  <a:lnTo>
                    <a:pt x="316" y="320"/>
                  </a:lnTo>
                  <a:lnTo>
                    <a:pt x="312" y="314"/>
                  </a:lnTo>
                  <a:lnTo>
                    <a:pt x="312" y="314"/>
                  </a:lnTo>
                  <a:lnTo>
                    <a:pt x="310" y="308"/>
                  </a:lnTo>
                  <a:lnTo>
                    <a:pt x="308" y="302"/>
                  </a:lnTo>
                  <a:lnTo>
                    <a:pt x="306" y="298"/>
                  </a:lnTo>
                  <a:lnTo>
                    <a:pt x="298" y="294"/>
                  </a:lnTo>
                  <a:lnTo>
                    <a:pt x="298" y="294"/>
                  </a:lnTo>
                  <a:lnTo>
                    <a:pt x="292" y="294"/>
                  </a:lnTo>
                  <a:lnTo>
                    <a:pt x="288" y="294"/>
                  </a:lnTo>
                  <a:lnTo>
                    <a:pt x="282" y="296"/>
                  </a:lnTo>
                  <a:lnTo>
                    <a:pt x="276" y="300"/>
                  </a:lnTo>
                  <a:lnTo>
                    <a:pt x="272" y="302"/>
                  </a:lnTo>
                  <a:lnTo>
                    <a:pt x="272" y="302"/>
                  </a:lnTo>
                  <a:lnTo>
                    <a:pt x="266" y="302"/>
                  </a:lnTo>
                  <a:lnTo>
                    <a:pt x="260" y="304"/>
                  </a:lnTo>
                  <a:lnTo>
                    <a:pt x="254" y="306"/>
                  </a:lnTo>
                  <a:lnTo>
                    <a:pt x="248" y="304"/>
                  </a:lnTo>
                  <a:lnTo>
                    <a:pt x="248" y="304"/>
                  </a:lnTo>
                  <a:lnTo>
                    <a:pt x="242" y="302"/>
                  </a:lnTo>
                  <a:lnTo>
                    <a:pt x="238" y="304"/>
                  </a:lnTo>
                  <a:lnTo>
                    <a:pt x="232" y="302"/>
                  </a:lnTo>
                  <a:lnTo>
                    <a:pt x="228" y="298"/>
                  </a:lnTo>
                  <a:lnTo>
                    <a:pt x="228" y="298"/>
                  </a:lnTo>
                  <a:lnTo>
                    <a:pt x="222" y="292"/>
                  </a:lnTo>
                  <a:lnTo>
                    <a:pt x="220" y="290"/>
                  </a:lnTo>
                  <a:lnTo>
                    <a:pt x="216" y="290"/>
                  </a:lnTo>
                  <a:lnTo>
                    <a:pt x="214" y="284"/>
                  </a:lnTo>
                  <a:lnTo>
                    <a:pt x="214" y="284"/>
                  </a:lnTo>
                  <a:lnTo>
                    <a:pt x="212" y="282"/>
                  </a:lnTo>
                  <a:lnTo>
                    <a:pt x="210" y="282"/>
                  </a:lnTo>
                  <a:lnTo>
                    <a:pt x="208" y="282"/>
                  </a:lnTo>
                  <a:lnTo>
                    <a:pt x="206" y="278"/>
                  </a:lnTo>
                  <a:lnTo>
                    <a:pt x="206" y="278"/>
                  </a:lnTo>
                  <a:lnTo>
                    <a:pt x="204" y="276"/>
                  </a:lnTo>
                  <a:lnTo>
                    <a:pt x="202" y="276"/>
                  </a:lnTo>
                  <a:lnTo>
                    <a:pt x="200" y="274"/>
                  </a:lnTo>
                  <a:lnTo>
                    <a:pt x="196" y="272"/>
                  </a:lnTo>
                  <a:lnTo>
                    <a:pt x="196" y="272"/>
                  </a:lnTo>
                  <a:lnTo>
                    <a:pt x="192" y="270"/>
                  </a:lnTo>
                  <a:lnTo>
                    <a:pt x="190" y="270"/>
                  </a:lnTo>
                  <a:lnTo>
                    <a:pt x="188" y="268"/>
                  </a:lnTo>
                  <a:lnTo>
                    <a:pt x="188" y="264"/>
                  </a:lnTo>
                  <a:lnTo>
                    <a:pt x="188" y="264"/>
                  </a:lnTo>
                  <a:lnTo>
                    <a:pt x="186" y="256"/>
                  </a:lnTo>
                  <a:lnTo>
                    <a:pt x="180" y="252"/>
                  </a:lnTo>
                  <a:lnTo>
                    <a:pt x="178" y="248"/>
                  </a:lnTo>
                  <a:lnTo>
                    <a:pt x="176" y="244"/>
                  </a:lnTo>
                  <a:lnTo>
                    <a:pt x="176" y="244"/>
                  </a:lnTo>
                  <a:lnTo>
                    <a:pt x="174" y="242"/>
                  </a:lnTo>
                  <a:lnTo>
                    <a:pt x="170" y="242"/>
                  </a:lnTo>
                  <a:lnTo>
                    <a:pt x="166" y="240"/>
                  </a:lnTo>
                  <a:lnTo>
                    <a:pt x="160" y="232"/>
                  </a:lnTo>
                  <a:lnTo>
                    <a:pt x="160" y="232"/>
                  </a:lnTo>
                  <a:lnTo>
                    <a:pt x="154" y="224"/>
                  </a:lnTo>
                  <a:lnTo>
                    <a:pt x="152" y="222"/>
                  </a:lnTo>
                  <a:lnTo>
                    <a:pt x="150" y="224"/>
                  </a:lnTo>
                  <a:lnTo>
                    <a:pt x="146" y="224"/>
                  </a:lnTo>
                  <a:lnTo>
                    <a:pt x="144" y="224"/>
                  </a:lnTo>
                  <a:lnTo>
                    <a:pt x="142" y="224"/>
                  </a:lnTo>
                  <a:lnTo>
                    <a:pt x="142" y="224"/>
                  </a:lnTo>
                  <a:lnTo>
                    <a:pt x="136" y="218"/>
                  </a:lnTo>
                  <a:lnTo>
                    <a:pt x="134" y="214"/>
                  </a:lnTo>
                  <a:lnTo>
                    <a:pt x="134" y="214"/>
                  </a:lnTo>
                  <a:lnTo>
                    <a:pt x="134" y="218"/>
                  </a:lnTo>
                  <a:lnTo>
                    <a:pt x="134" y="220"/>
                  </a:lnTo>
                  <a:lnTo>
                    <a:pt x="132" y="220"/>
                  </a:lnTo>
                  <a:lnTo>
                    <a:pt x="130" y="224"/>
                  </a:lnTo>
                  <a:lnTo>
                    <a:pt x="130" y="224"/>
                  </a:lnTo>
                  <a:lnTo>
                    <a:pt x="126" y="218"/>
                  </a:lnTo>
                  <a:lnTo>
                    <a:pt x="124" y="214"/>
                  </a:lnTo>
                  <a:lnTo>
                    <a:pt x="124" y="212"/>
                  </a:lnTo>
                  <a:lnTo>
                    <a:pt x="120" y="210"/>
                  </a:lnTo>
                  <a:lnTo>
                    <a:pt x="120" y="210"/>
                  </a:lnTo>
                  <a:lnTo>
                    <a:pt x="116" y="210"/>
                  </a:lnTo>
                  <a:lnTo>
                    <a:pt x="114" y="206"/>
                  </a:lnTo>
                  <a:lnTo>
                    <a:pt x="112" y="202"/>
                  </a:lnTo>
                  <a:lnTo>
                    <a:pt x="110" y="198"/>
                  </a:lnTo>
                  <a:lnTo>
                    <a:pt x="110" y="198"/>
                  </a:lnTo>
                  <a:lnTo>
                    <a:pt x="110" y="194"/>
                  </a:lnTo>
                  <a:lnTo>
                    <a:pt x="108" y="188"/>
                  </a:lnTo>
                  <a:lnTo>
                    <a:pt x="100" y="172"/>
                  </a:lnTo>
                  <a:lnTo>
                    <a:pt x="100" y="172"/>
                  </a:lnTo>
                  <a:lnTo>
                    <a:pt x="94" y="168"/>
                  </a:lnTo>
                  <a:lnTo>
                    <a:pt x="92" y="166"/>
                  </a:lnTo>
                  <a:lnTo>
                    <a:pt x="90" y="164"/>
                  </a:lnTo>
                  <a:lnTo>
                    <a:pt x="84" y="160"/>
                  </a:lnTo>
                  <a:lnTo>
                    <a:pt x="84" y="160"/>
                  </a:lnTo>
                  <a:lnTo>
                    <a:pt x="76" y="154"/>
                  </a:lnTo>
                  <a:lnTo>
                    <a:pt x="68" y="152"/>
                  </a:lnTo>
                  <a:lnTo>
                    <a:pt x="62" y="150"/>
                  </a:lnTo>
                  <a:lnTo>
                    <a:pt x="60" y="148"/>
                  </a:lnTo>
                  <a:lnTo>
                    <a:pt x="60" y="146"/>
                  </a:lnTo>
                  <a:lnTo>
                    <a:pt x="60" y="146"/>
                  </a:lnTo>
                  <a:lnTo>
                    <a:pt x="60" y="142"/>
                  </a:lnTo>
                  <a:lnTo>
                    <a:pt x="60" y="138"/>
                  </a:lnTo>
                  <a:lnTo>
                    <a:pt x="54" y="134"/>
                  </a:lnTo>
                  <a:lnTo>
                    <a:pt x="50" y="132"/>
                  </a:lnTo>
                  <a:lnTo>
                    <a:pt x="50" y="130"/>
                  </a:lnTo>
                  <a:lnTo>
                    <a:pt x="52" y="128"/>
                  </a:lnTo>
                  <a:lnTo>
                    <a:pt x="52" y="128"/>
                  </a:lnTo>
                  <a:lnTo>
                    <a:pt x="54" y="126"/>
                  </a:lnTo>
                  <a:lnTo>
                    <a:pt x="52" y="126"/>
                  </a:lnTo>
                  <a:lnTo>
                    <a:pt x="50" y="124"/>
                  </a:lnTo>
                  <a:lnTo>
                    <a:pt x="50" y="120"/>
                  </a:lnTo>
                  <a:lnTo>
                    <a:pt x="50" y="120"/>
                  </a:lnTo>
                  <a:lnTo>
                    <a:pt x="56" y="108"/>
                  </a:lnTo>
                  <a:lnTo>
                    <a:pt x="58" y="102"/>
                  </a:lnTo>
                  <a:lnTo>
                    <a:pt x="56" y="100"/>
                  </a:lnTo>
                  <a:lnTo>
                    <a:pt x="56" y="100"/>
                  </a:lnTo>
                  <a:lnTo>
                    <a:pt x="56" y="96"/>
                  </a:lnTo>
                  <a:lnTo>
                    <a:pt x="58" y="94"/>
                  </a:lnTo>
                  <a:lnTo>
                    <a:pt x="58" y="92"/>
                  </a:lnTo>
                  <a:lnTo>
                    <a:pt x="60" y="88"/>
                  </a:lnTo>
                  <a:lnTo>
                    <a:pt x="60" y="88"/>
                  </a:lnTo>
                  <a:lnTo>
                    <a:pt x="60" y="84"/>
                  </a:lnTo>
                  <a:lnTo>
                    <a:pt x="60" y="84"/>
                  </a:lnTo>
                  <a:lnTo>
                    <a:pt x="52" y="86"/>
                  </a:lnTo>
                  <a:lnTo>
                    <a:pt x="52" y="86"/>
                  </a:lnTo>
                  <a:lnTo>
                    <a:pt x="46" y="84"/>
                  </a:lnTo>
                  <a:lnTo>
                    <a:pt x="44" y="80"/>
                  </a:lnTo>
                  <a:lnTo>
                    <a:pt x="42" y="78"/>
                  </a:lnTo>
                  <a:lnTo>
                    <a:pt x="40" y="74"/>
                  </a:lnTo>
                  <a:lnTo>
                    <a:pt x="40" y="74"/>
                  </a:lnTo>
                  <a:lnTo>
                    <a:pt x="38" y="74"/>
                  </a:lnTo>
                  <a:lnTo>
                    <a:pt x="40" y="72"/>
                  </a:lnTo>
                  <a:lnTo>
                    <a:pt x="40" y="72"/>
                  </a:lnTo>
                  <a:lnTo>
                    <a:pt x="36" y="70"/>
                  </a:lnTo>
                  <a:lnTo>
                    <a:pt x="36" y="70"/>
                  </a:lnTo>
                  <a:lnTo>
                    <a:pt x="34" y="66"/>
                  </a:lnTo>
                  <a:lnTo>
                    <a:pt x="32" y="62"/>
                  </a:lnTo>
                  <a:lnTo>
                    <a:pt x="28" y="60"/>
                  </a:lnTo>
                  <a:lnTo>
                    <a:pt x="28" y="60"/>
                  </a:lnTo>
                  <a:lnTo>
                    <a:pt x="28" y="58"/>
                  </a:lnTo>
                  <a:lnTo>
                    <a:pt x="26" y="56"/>
                  </a:lnTo>
                  <a:lnTo>
                    <a:pt x="26" y="56"/>
                  </a:lnTo>
                  <a:lnTo>
                    <a:pt x="24" y="54"/>
                  </a:lnTo>
                  <a:lnTo>
                    <a:pt x="22" y="50"/>
                  </a:lnTo>
                  <a:lnTo>
                    <a:pt x="22" y="46"/>
                  </a:lnTo>
                  <a:lnTo>
                    <a:pt x="20" y="46"/>
                  </a:lnTo>
                  <a:lnTo>
                    <a:pt x="20" y="46"/>
                  </a:lnTo>
                  <a:lnTo>
                    <a:pt x="16" y="46"/>
                  </a:lnTo>
                  <a:lnTo>
                    <a:pt x="12" y="42"/>
                  </a:lnTo>
                  <a:lnTo>
                    <a:pt x="8" y="36"/>
                  </a:lnTo>
                  <a:lnTo>
                    <a:pt x="8" y="32"/>
                  </a:lnTo>
                  <a:lnTo>
                    <a:pt x="8" y="32"/>
                  </a:lnTo>
                  <a:lnTo>
                    <a:pt x="8" y="28"/>
                  </a:lnTo>
                  <a:lnTo>
                    <a:pt x="6" y="26"/>
                  </a:lnTo>
                  <a:lnTo>
                    <a:pt x="4" y="24"/>
                  </a:lnTo>
                  <a:lnTo>
                    <a:pt x="2" y="20"/>
                  </a:lnTo>
                  <a:lnTo>
                    <a:pt x="2" y="20"/>
                  </a:lnTo>
                  <a:lnTo>
                    <a:pt x="0" y="10"/>
                  </a:lnTo>
                  <a:lnTo>
                    <a:pt x="0" y="8"/>
                  </a:lnTo>
                  <a:lnTo>
                    <a:pt x="4" y="8"/>
                  </a:lnTo>
                  <a:lnTo>
                    <a:pt x="4" y="8"/>
                  </a:lnTo>
                  <a:lnTo>
                    <a:pt x="8" y="8"/>
                  </a:lnTo>
                  <a:lnTo>
                    <a:pt x="8" y="6"/>
                  </a:lnTo>
                  <a:lnTo>
                    <a:pt x="8" y="4"/>
                  </a:lnTo>
                  <a:lnTo>
                    <a:pt x="10" y="0"/>
                  </a:lnTo>
                  <a:lnTo>
                    <a:pt x="10" y="0"/>
                  </a:lnTo>
                  <a:lnTo>
                    <a:pt x="16" y="4"/>
                  </a:lnTo>
                  <a:lnTo>
                    <a:pt x="20" y="6"/>
                  </a:lnTo>
                  <a:lnTo>
                    <a:pt x="22" y="8"/>
                  </a:lnTo>
                  <a:lnTo>
                    <a:pt x="22" y="8"/>
                  </a:lnTo>
                  <a:lnTo>
                    <a:pt x="24" y="12"/>
                  </a:lnTo>
                  <a:lnTo>
                    <a:pt x="26" y="16"/>
                  </a:lnTo>
                  <a:lnTo>
                    <a:pt x="34" y="18"/>
                  </a:lnTo>
                  <a:lnTo>
                    <a:pt x="42" y="18"/>
                  </a:lnTo>
                  <a:lnTo>
                    <a:pt x="46" y="18"/>
                  </a:lnTo>
                  <a:lnTo>
                    <a:pt x="46" y="18"/>
                  </a:lnTo>
                  <a:lnTo>
                    <a:pt x="56" y="12"/>
                  </a:lnTo>
                  <a:lnTo>
                    <a:pt x="56" y="12"/>
                  </a:lnTo>
                  <a:lnTo>
                    <a:pt x="66" y="4"/>
                  </a:lnTo>
                  <a:lnTo>
                    <a:pt x="68" y="4"/>
                  </a:lnTo>
                  <a:lnTo>
                    <a:pt x="70" y="6"/>
                  </a:lnTo>
                  <a:lnTo>
                    <a:pt x="70" y="6"/>
                  </a:lnTo>
                  <a:lnTo>
                    <a:pt x="76" y="10"/>
                  </a:lnTo>
                  <a:lnTo>
                    <a:pt x="76" y="12"/>
                  </a:lnTo>
                  <a:lnTo>
                    <a:pt x="74" y="14"/>
                  </a:lnTo>
                  <a:lnTo>
                    <a:pt x="74" y="14"/>
                  </a:lnTo>
                  <a:lnTo>
                    <a:pt x="78" y="16"/>
                  </a:lnTo>
                  <a:lnTo>
                    <a:pt x="78" y="20"/>
                  </a:lnTo>
                  <a:lnTo>
                    <a:pt x="76" y="24"/>
                  </a:lnTo>
                  <a:lnTo>
                    <a:pt x="72" y="26"/>
                  </a:lnTo>
                  <a:lnTo>
                    <a:pt x="72" y="26"/>
                  </a:lnTo>
                  <a:lnTo>
                    <a:pt x="82" y="32"/>
                  </a:lnTo>
                  <a:lnTo>
                    <a:pt x="88" y="36"/>
                  </a:lnTo>
                  <a:lnTo>
                    <a:pt x="92" y="38"/>
                  </a:lnTo>
                  <a:lnTo>
                    <a:pt x="98" y="36"/>
                  </a:lnTo>
                  <a:lnTo>
                    <a:pt x="98" y="36"/>
                  </a:lnTo>
                  <a:lnTo>
                    <a:pt x="100" y="44"/>
                  </a:lnTo>
                  <a:lnTo>
                    <a:pt x="104" y="50"/>
                  </a:lnTo>
                  <a:lnTo>
                    <a:pt x="108" y="52"/>
                  </a:lnTo>
                  <a:lnTo>
                    <a:pt x="118" y="52"/>
                  </a:lnTo>
                  <a:lnTo>
                    <a:pt x="118" y="52"/>
                  </a:lnTo>
                  <a:lnTo>
                    <a:pt x="124" y="52"/>
                  </a:lnTo>
                  <a:lnTo>
                    <a:pt x="128" y="54"/>
                  </a:lnTo>
                  <a:lnTo>
                    <a:pt x="134" y="60"/>
                  </a:lnTo>
                  <a:lnTo>
                    <a:pt x="142" y="66"/>
                  </a:lnTo>
                  <a:lnTo>
                    <a:pt x="142" y="66"/>
                  </a:lnTo>
                  <a:lnTo>
                    <a:pt x="158" y="70"/>
                  </a:lnTo>
                  <a:lnTo>
                    <a:pt x="166" y="68"/>
                  </a:lnTo>
                  <a:lnTo>
                    <a:pt x="170" y="66"/>
                  </a:lnTo>
                  <a:lnTo>
                    <a:pt x="176" y="66"/>
                  </a:lnTo>
                  <a:lnTo>
                    <a:pt x="176" y="66"/>
                  </a:lnTo>
                  <a:lnTo>
                    <a:pt x="182" y="66"/>
                  </a:lnTo>
                  <a:lnTo>
                    <a:pt x="186" y="66"/>
                  </a:lnTo>
                  <a:lnTo>
                    <a:pt x="190" y="62"/>
                  </a:lnTo>
                  <a:lnTo>
                    <a:pt x="194" y="62"/>
                  </a:lnTo>
                  <a:lnTo>
                    <a:pt x="194" y="62"/>
                  </a:lnTo>
                  <a:lnTo>
                    <a:pt x="200" y="62"/>
                  </a:lnTo>
                  <a:lnTo>
                    <a:pt x="202" y="62"/>
                  </a:lnTo>
                  <a:lnTo>
                    <a:pt x="200" y="62"/>
                  </a:lnTo>
                  <a:lnTo>
                    <a:pt x="200" y="62"/>
                  </a:lnTo>
                  <a:lnTo>
                    <a:pt x="194" y="66"/>
                  </a:lnTo>
                  <a:lnTo>
                    <a:pt x="194" y="66"/>
                  </a:lnTo>
                  <a:lnTo>
                    <a:pt x="200" y="66"/>
                  </a:lnTo>
                  <a:lnTo>
                    <a:pt x="200" y="66"/>
                  </a:lnTo>
                  <a:lnTo>
                    <a:pt x="206" y="62"/>
                  </a:lnTo>
                  <a:lnTo>
                    <a:pt x="206" y="58"/>
                  </a:lnTo>
                  <a:lnTo>
                    <a:pt x="202" y="46"/>
                  </a:lnTo>
                  <a:lnTo>
                    <a:pt x="202" y="46"/>
                  </a:lnTo>
                  <a:lnTo>
                    <a:pt x="202" y="50"/>
                  </a:lnTo>
                  <a:lnTo>
                    <a:pt x="206" y="50"/>
                  </a:lnTo>
                  <a:lnTo>
                    <a:pt x="212" y="48"/>
                  </a:lnTo>
                  <a:lnTo>
                    <a:pt x="212" y="48"/>
                  </a:lnTo>
                  <a:lnTo>
                    <a:pt x="214" y="44"/>
                  </a:lnTo>
                  <a:lnTo>
                    <a:pt x="216" y="40"/>
                  </a:lnTo>
                  <a:lnTo>
                    <a:pt x="216" y="34"/>
                  </a:lnTo>
                  <a:lnTo>
                    <a:pt x="222" y="30"/>
                  </a:lnTo>
                  <a:lnTo>
                    <a:pt x="222" y="30"/>
                  </a:lnTo>
                  <a:lnTo>
                    <a:pt x="228" y="28"/>
                  </a:lnTo>
                  <a:lnTo>
                    <a:pt x="234" y="28"/>
                  </a:lnTo>
                  <a:lnTo>
                    <a:pt x="238" y="28"/>
                  </a:lnTo>
                  <a:lnTo>
                    <a:pt x="242" y="28"/>
                  </a:lnTo>
                  <a:lnTo>
                    <a:pt x="242" y="28"/>
                  </a:lnTo>
                  <a:lnTo>
                    <a:pt x="246" y="26"/>
                  </a:lnTo>
                  <a:lnTo>
                    <a:pt x="252" y="26"/>
                  </a:lnTo>
                  <a:lnTo>
                    <a:pt x="256" y="28"/>
                  </a:lnTo>
                  <a:lnTo>
                    <a:pt x="260" y="32"/>
                  </a:lnTo>
                  <a:lnTo>
                    <a:pt x="260" y="32"/>
                  </a:lnTo>
                  <a:lnTo>
                    <a:pt x="262" y="34"/>
                  </a:lnTo>
                  <a:lnTo>
                    <a:pt x="266" y="36"/>
                  </a:lnTo>
                  <a:lnTo>
                    <a:pt x="280" y="40"/>
                  </a:lnTo>
                  <a:lnTo>
                    <a:pt x="296" y="44"/>
                  </a:lnTo>
                  <a:lnTo>
                    <a:pt x="302" y="46"/>
                  </a:lnTo>
                  <a:lnTo>
                    <a:pt x="308" y="50"/>
                  </a:lnTo>
                  <a:lnTo>
                    <a:pt x="308" y="50"/>
                  </a:lnTo>
                  <a:lnTo>
                    <a:pt x="316" y="56"/>
                  </a:lnTo>
                  <a:lnTo>
                    <a:pt x="320" y="56"/>
                  </a:lnTo>
                  <a:lnTo>
                    <a:pt x="326" y="56"/>
                  </a:lnTo>
                  <a:lnTo>
                    <a:pt x="332" y="58"/>
                  </a:lnTo>
                  <a:lnTo>
                    <a:pt x="332" y="58"/>
                  </a:lnTo>
                  <a:lnTo>
                    <a:pt x="338" y="62"/>
                  </a:lnTo>
                  <a:lnTo>
                    <a:pt x="340" y="66"/>
                  </a:lnTo>
                  <a:lnTo>
                    <a:pt x="340" y="68"/>
                  </a:lnTo>
                  <a:lnTo>
                    <a:pt x="342" y="72"/>
                  </a:lnTo>
                  <a:lnTo>
                    <a:pt x="342" y="72"/>
                  </a:lnTo>
                  <a:lnTo>
                    <a:pt x="346" y="76"/>
                  </a:lnTo>
                  <a:lnTo>
                    <a:pt x="350" y="84"/>
                  </a:lnTo>
                  <a:lnTo>
                    <a:pt x="350" y="84"/>
                  </a:lnTo>
                  <a:lnTo>
                    <a:pt x="350" y="88"/>
                  </a:lnTo>
                  <a:lnTo>
                    <a:pt x="350" y="88"/>
                  </a:lnTo>
                  <a:lnTo>
                    <a:pt x="352" y="92"/>
                  </a:lnTo>
                  <a:lnTo>
                    <a:pt x="350" y="96"/>
                  </a:lnTo>
                  <a:lnTo>
                    <a:pt x="350" y="96"/>
                  </a:lnTo>
                  <a:lnTo>
                    <a:pt x="350" y="100"/>
                  </a:lnTo>
                  <a:lnTo>
                    <a:pt x="352" y="104"/>
                  </a:lnTo>
                  <a:lnTo>
                    <a:pt x="354" y="106"/>
                  </a:lnTo>
                  <a:lnTo>
                    <a:pt x="352" y="112"/>
                  </a:lnTo>
                  <a:lnTo>
                    <a:pt x="352" y="112"/>
                  </a:lnTo>
                  <a:lnTo>
                    <a:pt x="348" y="118"/>
                  </a:lnTo>
                  <a:lnTo>
                    <a:pt x="344" y="122"/>
                  </a:lnTo>
                  <a:lnTo>
                    <a:pt x="344" y="124"/>
                  </a:lnTo>
                  <a:lnTo>
                    <a:pt x="346" y="128"/>
                  </a:lnTo>
                  <a:lnTo>
                    <a:pt x="346" y="128"/>
                  </a:lnTo>
                  <a:lnTo>
                    <a:pt x="350" y="134"/>
                  </a:lnTo>
                  <a:lnTo>
                    <a:pt x="350" y="140"/>
                  </a:lnTo>
                  <a:lnTo>
                    <a:pt x="350" y="144"/>
                  </a:lnTo>
                  <a:lnTo>
                    <a:pt x="354" y="152"/>
                  </a:lnTo>
                  <a:lnTo>
                    <a:pt x="354" y="152"/>
                  </a:lnTo>
                  <a:lnTo>
                    <a:pt x="356" y="156"/>
                  </a:lnTo>
                  <a:lnTo>
                    <a:pt x="356" y="162"/>
                  </a:lnTo>
                  <a:lnTo>
                    <a:pt x="356" y="172"/>
                  </a:lnTo>
                  <a:lnTo>
                    <a:pt x="356" y="176"/>
                  </a:lnTo>
                  <a:lnTo>
                    <a:pt x="358" y="178"/>
                  </a:lnTo>
                  <a:lnTo>
                    <a:pt x="360" y="180"/>
                  </a:lnTo>
                  <a:lnTo>
                    <a:pt x="368" y="180"/>
                  </a:lnTo>
                  <a:lnTo>
                    <a:pt x="368" y="180"/>
                  </a:lnTo>
                  <a:lnTo>
                    <a:pt x="376" y="180"/>
                  </a:lnTo>
                  <a:lnTo>
                    <a:pt x="380" y="182"/>
                  </a:lnTo>
                  <a:lnTo>
                    <a:pt x="382" y="184"/>
                  </a:lnTo>
                  <a:lnTo>
                    <a:pt x="384" y="190"/>
                  </a:lnTo>
                  <a:lnTo>
                    <a:pt x="380" y="202"/>
                  </a:lnTo>
                  <a:lnTo>
                    <a:pt x="374" y="216"/>
                  </a:lnTo>
                  <a:lnTo>
                    <a:pt x="374" y="216"/>
                  </a:lnTo>
                  <a:lnTo>
                    <a:pt x="388" y="236"/>
                  </a:lnTo>
                  <a:lnTo>
                    <a:pt x="394" y="248"/>
                  </a:lnTo>
                  <a:lnTo>
                    <a:pt x="396" y="252"/>
                  </a:lnTo>
                  <a:lnTo>
                    <a:pt x="404" y="254"/>
                  </a:lnTo>
                  <a:lnTo>
                    <a:pt x="404" y="254"/>
                  </a:lnTo>
                  <a:lnTo>
                    <a:pt x="410" y="254"/>
                  </a:lnTo>
                  <a:lnTo>
                    <a:pt x="412" y="254"/>
                  </a:lnTo>
                  <a:lnTo>
                    <a:pt x="418" y="266"/>
                  </a:lnTo>
                  <a:lnTo>
                    <a:pt x="418" y="266"/>
                  </a:lnTo>
                  <a:lnTo>
                    <a:pt x="422" y="280"/>
                  </a:lnTo>
                  <a:lnTo>
                    <a:pt x="424" y="280"/>
                  </a:lnTo>
                  <a:lnTo>
                    <a:pt x="428" y="280"/>
                  </a:lnTo>
                  <a:lnTo>
                    <a:pt x="428" y="280"/>
                  </a:lnTo>
                  <a:lnTo>
                    <a:pt x="430" y="280"/>
                  </a:lnTo>
                  <a:lnTo>
                    <a:pt x="430" y="284"/>
                  </a:lnTo>
                  <a:lnTo>
                    <a:pt x="430" y="288"/>
                  </a:lnTo>
                  <a:lnTo>
                    <a:pt x="430" y="290"/>
                  </a:lnTo>
                  <a:lnTo>
                    <a:pt x="430" y="290"/>
                  </a:lnTo>
                  <a:lnTo>
                    <a:pt x="430" y="292"/>
                  </a:lnTo>
                  <a:lnTo>
                    <a:pt x="428" y="294"/>
                  </a:lnTo>
                  <a:lnTo>
                    <a:pt x="426" y="296"/>
                  </a:lnTo>
                  <a:lnTo>
                    <a:pt x="424" y="296"/>
                  </a:lnTo>
                  <a:lnTo>
                    <a:pt x="424" y="296"/>
                  </a:lnTo>
                  <a:lnTo>
                    <a:pt x="424" y="298"/>
                  </a:lnTo>
                  <a:lnTo>
                    <a:pt x="420" y="296"/>
                  </a:lnTo>
                  <a:lnTo>
                    <a:pt x="416" y="296"/>
                  </a:lnTo>
                  <a:lnTo>
                    <a:pt x="416" y="298"/>
                  </a:lnTo>
                  <a:lnTo>
                    <a:pt x="416" y="302"/>
                  </a:lnTo>
                  <a:lnTo>
                    <a:pt x="416" y="302"/>
                  </a:lnTo>
                  <a:lnTo>
                    <a:pt x="416" y="304"/>
                  </a:lnTo>
                  <a:lnTo>
                    <a:pt x="414" y="306"/>
                  </a:lnTo>
                  <a:lnTo>
                    <a:pt x="410" y="310"/>
                  </a:lnTo>
                  <a:lnTo>
                    <a:pt x="406" y="316"/>
                  </a:lnTo>
                  <a:lnTo>
                    <a:pt x="406" y="318"/>
                  </a:lnTo>
                  <a:lnTo>
                    <a:pt x="406" y="320"/>
                  </a:lnTo>
                  <a:lnTo>
                    <a:pt x="406" y="320"/>
                  </a:lnTo>
                  <a:lnTo>
                    <a:pt x="408" y="326"/>
                  </a:lnTo>
                  <a:lnTo>
                    <a:pt x="408" y="332"/>
                  </a:lnTo>
                  <a:lnTo>
                    <a:pt x="408" y="336"/>
                  </a:lnTo>
                  <a:lnTo>
                    <a:pt x="406" y="338"/>
                  </a:lnTo>
                  <a:lnTo>
                    <a:pt x="402" y="338"/>
                  </a:lnTo>
                  <a:lnTo>
                    <a:pt x="402" y="33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7" name="Freeform 201"/>
            <p:cNvSpPr>
              <a:spLocks/>
            </p:cNvSpPr>
            <p:nvPr/>
          </p:nvSpPr>
          <p:spPr bwMode="auto">
            <a:xfrm>
              <a:off x="5303538" y="2327010"/>
              <a:ext cx="31750" cy="13229"/>
            </a:xfrm>
            <a:custGeom>
              <a:avLst/>
              <a:gdLst/>
              <a:ahLst/>
              <a:cxnLst>
                <a:cxn ang="0">
                  <a:pos x="0" y="0"/>
                </a:cxn>
                <a:cxn ang="0">
                  <a:pos x="0" y="0"/>
                </a:cxn>
                <a:cxn ang="0">
                  <a:pos x="2" y="4"/>
                </a:cxn>
                <a:cxn ang="0">
                  <a:pos x="4" y="8"/>
                </a:cxn>
                <a:cxn ang="0">
                  <a:pos x="12" y="10"/>
                </a:cxn>
                <a:cxn ang="0">
                  <a:pos x="20" y="10"/>
                </a:cxn>
                <a:cxn ang="0">
                  <a:pos x="24" y="10"/>
                </a:cxn>
                <a:cxn ang="0">
                  <a:pos x="24" y="10"/>
                </a:cxn>
                <a:cxn ang="0">
                  <a:pos x="18" y="4"/>
                </a:cxn>
                <a:cxn ang="0">
                  <a:pos x="12" y="2"/>
                </a:cxn>
                <a:cxn ang="0">
                  <a:pos x="6" y="0"/>
                </a:cxn>
                <a:cxn ang="0">
                  <a:pos x="0" y="0"/>
                </a:cxn>
                <a:cxn ang="0">
                  <a:pos x="0" y="0"/>
                </a:cxn>
              </a:cxnLst>
              <a:rect l="0" t="0" r="r" b="b"/>
              <a:pathLst>
                <a:path w="24" h="10">
                  <a:moveTo>
                    <a:pt x="0" y="0"/>
                  </a:moveTo>
                  <a:lnTo>
                    <a:pt x="0" y="0"/>
                  </a:lnTo>
                  <a:lnTo>
                    <a:pt x="2" y="4"/>
                  </a:lnTo>
                  <a:lnTo>
                    <a:pt x="4" y="8"/>
                  </a:lnTo>
                  <a:lnTo>
                    <a:pt x="12" y="10"/>
                  </a:lnTo>
                  <a:lnTo>
                    <a:pt x="20" y="10"/>
                  </a:lnTo>
                  <a:lnTo>
                    <a:pt x="24" y="10"/>
                  </a:lnTo>
                  <a:lnTo>
                    <a:pt x="24" y="10"/>
                  </a:lnTo>
                  <a:lnTo>
                    <a:pt x="18" y="4"/>
                  </a:lnTo>
                  <a:lnTo>
                    <a:pt x="12" y="2"/>
                  </a:lnTo>
                  <a:lnTo>
                    <a:pt x="6" y="0"/>
                  </a:lnTo>
                  <a:lnTo>
                    <a:pt x="0" y="0"/>
                  </a:lnTo>
                  <a:lnTo>
                    <a:pt x="0" y="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8" name="Freeform 202"/>
            <p:cNvSpPr>
              <a:spLocks/>
            </p:cNvSpPr>
            <p:nvPr/>
          </p:nvSpPr>
          <p:spPr bwMode="auto">
            <a:xfrm>
              <a:off x="5250622" y="2276740"/>
              <a:ext cx="97896" cy="63500"/>
            </a:xfrm>
            <a:custGeom>
              <a:avLst/>
              <a:gdLst/>
              <a:ahLst/>
              <a:cxnLst>
                <a:cxn ang="0">
                  <a:pos x="28" y="0"/>
                </a:cxn>
                <a:cxn ang="0">
                  <a:pos x="28" y="0"/>
                </a:cxn>
                <a:cxn ang="0">
                  <a:pos x="34" y="2"/>
                </a:cxn>
                <a:cxn ang="0">
                  <a:pos x="40" y="6"/>
                </a:cxn>
                <a:cxn ang="0">
                  <a:pos x="40" y="6"/>
                </a:cxn>
                <a:cxn ang="0">
                  <a:pos x="44" y="8"/>
                </a:cxn>
                <a:cxn ang="0">
                  <a:pos x="44" y="12"/>
                </a:cxn>
                <a:cxn ang="0">
                  <a:pos x="44" y="12"/>
                </a:cxn>
                <a:cxn ang="0">
                  <a:pos x="46" y="18"/>
                </a:cxn>
                <a:cxn ang="0">
                  <a:pos x="48" y="18"/>
                </a:cxn>
                <a:cxn ang="0">
                  <a:pos x="50" y="20"/>
                </a:cxn>
                <a:cxn ang="0">
                  <a:pos x="52" y="24"/>
                </a:cxn>
                <a:cxn ang="0">
                  <a:pos x="52" y="24"/>
                </a:cxn>
                <a:cxn ang="0">
                  <a:pos x="52" y="30"/>
                </a:cxn>
                <a:cxn ang="0">
                  <a:pos x="56" y="32"/>
                </a:cxn>
                <a:cxn ang="0">
                  <a:pos x="62" y="36"/>
                </a:cxn>
                <a:cxn ang="0">
                  <a:pos x="70" y="38"/>
                </a:cxn>
                <a:cxn ang="0">
                  <a:pos x="72" y="40"/>
                </a:cxn>
                <a:cxn ang="0">
                  <a:pos x="74" y="42"/>
                </a:cxn>
                <a:cxn ang="0">
                  <a:pos x="74" y="42"/>
                </a:cxn>
                <a:cxn ang="0">
                  <a:pos x="64" y="48"/>
                </a:cxn>
                <a:cxn ang="0">
                  <a:pos x="64" y="48"/>
                </a:cxn>
                <a:cxn ang="0">
                  <a:pos x="58" y="42"/>
                </a:cxn>
                <a:cxn ang="0">
                  <a:pos x="52" y="40"/>
                </a:cxn>
                <a:cxn ang="0">
                  <a:pos x="46" y="38"/>
                </a:cxn>
                <a:cxn ang="0">
                  <a:pos x="40" y="38"/>
                </a:cxn>
                <a:cxn ang="0">
                  <a:pos x="40" y="38"/>
                </a:cxn>
                <a:cxn ang="0">
                  <a:pos x="38" y="36"/>
                </a:cxn>
                <a:cxn ang="0">
                  <a:pos x="34" y="34"/>
                </a:cxn>
                <a:cxn ang="0">
                  <a:pos x="28" y="30"/>
                </a:cxn>
                <a:cxn ang="0">
                  <a:pos x="28" y="30"/>
                </a:cxn>
                <a:cxn ang="0">
                  <a:pos x="24" y="26"/>
                </a:cxn>
                <a:cxn ang="0">
                  <a:pos x="22" y="24"/>
                </a:cxn>
                <a:cxn ang="0">
                  <a:pos x="20" y="22"/>
                </a:cxn>
                <a:cxn ang="0">
                  <a:pos x="12" y="20"/>
                </a:cxn>
                <a:cxn ang="0">
                  <a:pos x="12" y="20"/>
                </a:cxn>
                <a:cxn ang="0">
                  <a:pos x="6" y="18"/>
                </a:cxn>
                <a:cxn ang="0">
                  <a:pos x="4" y="18"/>
                </a:cxn>
                <a:cxn ang="0">
                  <a:pos x="4" y="16"/>
                </a:cxn>
                <a:cxn ang="0">
                  <a:pos x="4" y="12"/>
                </a:cxn>
                <a:cxn ang="0">
                  <a:pos x="4" y="8"/>
                </a:cxn>
                <a:cxn ang="0">
                  <a:pos x="4" y="6"/>
                </a:cxn>
                <a:cxn ang="0">
                  <a:pos x="0" y="2"/>
                </a:cxn>
                <a:cxn ang="0">
                  <a:pos x="0" y="2"/>
                </a:cxn>
                <a:cxn ang="0">
                  <a:pos x="18" y="2"/>
                </a:cxn>
                <a:cxn ang="0">
                  <a:pos x="28" y="0"/>
                </a:cxn>
                <a:cxn ang="0">
                  <a:pos x="28" y="0"/>
                </a:cxn>
              </a:cxnLst>
              <a:rect l="0" t="0" r="r" b="b"/>
              <a:pathLst>
                <a:path w="74" h="48">
                  <a:moveTo>
                    <a:pt x="28" y="0"/>
                  </a:moveTo>
                  <a:lnTo>
                    <a:pt x="28" y="0"/>
                  </a:lnTo>
                  <a:lnTo>
                    <a:pt x="34" y="2"/>
                  </a:lnTo>
                  <a:lnTo>
                    <a:pt x="40" y="6"/>
                  </a:lnTo>
                  <a:lnTo>
                    <a:pt x="40" y="6"/>
                  </a:lnTo>
                  <a:lnTo>
                    <a:pt x="44" y="8"/>
                  </a:lnTo>
                  <a:lnTo>
                    <a:pt x="44" y="12"/>
                  </a:lnTo>
                  <a:lnTo>
                    <a:pt x="44" y="12"/>
                  </a:lnTo>
                  <a:lnTo>
                    <a:pt x="46" y="18"/>
                  </a:lnTo>
                  <a:lnTo>
                    <a:pt x="48" y="18"/>
                  </a:lnTo>
                  <a:lnTo>
                    <a:pt x="50" y="20"/>
                  </a:lnTo>
                  <a:lnTo>
                    <a:pt x="52" y="24"/>
                  </a:lnTo>
                  <a:lnTo>
                    <a:pt x="52" y="24"/>
                  </a:lnTo>
                  <a:lnTo>
                    <a:pt x="52" y="30"/>
                  </a:lnTo>
                  <a:lnTo>
                    <a:pt x="56" y="32"/>
                  </a:lnTo>
                  <a:lnTo>
                    <a:pt x="62" y="36"/>
                  </a:lnTo>
                  <a:lnTo>
                    <a:pt x="70" y="38"/>
                  </a:lnTo>
                  <a:lnTo>
                    <a:pt x="72" y="40"/>
                  </a:lnTo>
                  <a:lnTo>
                    <a:pt x="74" y="42"/>
                  </a:lnTo>
                  <a:lnTo>
                    <a:pt x="74" y="42"/>
                  </a:lnTo>
                  <a:lnTo>
                    <a:pt x="64" y="48"/>
                  </a:lnTo>
                  <a:lnTo>
                    <a:pt x="64" y="48"/>
                  </a:lnTo>
                  <a:lnTo>
                    <a:pt x="58" y="42"/>
                  </a:lnTo>
                  <a:lnTo>
                    <a:pt x="52" y="40"/>
                  </a:lnTo>
                  <a:lnTo>
                    <a:pt x="46" y="38"/>
                  </a:lnTo>
                  <a:lnTo>
                    <a:pt x="40" y="38"/>
                  </a:lnTo>
                  <a:lnTo>
                    <a:pt x="40" y="38"/>
                  </a:lnTo>
                  <a:lnTo>
                    <a:pt x="38" y="36"/>
                  </a:lnTo>
                  <a:lnTo>
                    <a:pt x="34" y="34"/>
                  </a:lnTo>
                  <a:lnTo>
                    <a:pt x="28" y="30"/>
                  </a:lnTo>
                  <a:lnTo>
                    <a:pt x="28" y="30"/>
                  </a:lnTo>
                  <a:lnTo>
                    <a:pt x="24" y="26"/>
                  </a:lnTo>
                  <a:lnTo>
                    <a:pt x="22" y="24"/>
                  </a:lnTo>
                  <a:lnTo>
                    <a:pt x="20" y="22"/>
                  </a:lnTo>
                  <a:lnTo>
                    <a:pt x="12" y="20"/>
                  </a:lnTo>
                  <a:lnTo>
                    <a:pt x="12" y="20"/>
                  </a:lnTo>
                  <a:lnTo>
                    <a:pt x="6" y="18"/>
                  </a:lnTo>
                  <a:lnTo>
                    <a:pt x="4" y="18"/>
                  </a:lnTo>
                  <a:lnTo>
                    <a:pt x="4" y="16"/>
                  </a:lnTo>
                  <a:lnTo>
                    <a:pt x="4" y="12"/>
                  </a:lnTo>
                  <a:lnTo>
                    <a:pt x="4" y="8"/>
                  </a:lnTo>
                  <a:lnTo>
                    <a:pt x="4" y="6"/>
                  </a:lnTo>
                  <a:lnTo>
                    <a:pt x="0" y="2"/>
                  </a:lnTo>
                  <a:lnTo>
                    <a:pt x="0" y="2"/>
                  </a:lnTo>
                  <a:lnTo>
                    <a:pt x="18" y="2"/>
                  </a:lnTo>
                  <a:lnTo>
                    <a:pt x="28" y="0"/>
                  </a:lnTo>
                  <a:lnTo>
                    <a:pt x="28" y="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9" name="Freeform 203"/>
            <p:cNvSpPr>
              <a:spLocks/>
            </p:cNvSpPr>
            <p:nvPr/>
          </p:nvSpPr>
          <p:spPr bwMode="auto">
            <a:xfrm>
              <a:off x="5385559" y="2607469"/>
              <a:ext cx="50271" cy="37042"/>
            </a:xfrm>
            <a:custGeom>
              <a:avLst/>
              <a:gdLst/>
              <a:ahLst/>
              <a:cxnLst>
                <a:cxn ang="0">
                  <a:pos x="0" y="18"/>
                </a:cxn>
                <a:cxn ang="0">
                  <a:pos x="0" y="18"/>
                </a:cxn>
                <a:cxn ang="0">
                  <a:pos x="6" y="16"/>
                </a:cxn>
                <a:cxn ang="0">
                  <a:pos x="10" y="12"/>
                </a:cxn>
                <a:cxn ang="0">
                  <a:pos x="14" y="4"/>
                </a:cxn>
                <a:cxn ang="0">
                  <a:pos x="16" y="2"/>
                </a:cxn>
                <a:cxn ang="0">
                  <a:pos x="20" y="0"/>
                </a:cxn>
                <a:cxn ang="0">
                  <a:pos x="24" y="2"/>
                </a:cxn>
                <a:cxn ang="0">
                  <a:pos x="30" y="4"/>
                </a:cxn>
                <a:cxn ang="0">
                  <a:pos x="30" y="4"/>
                </a:cxn>
                <a:cxn ang="0">
                  <a:pos x="36" y="6"/>
                </a:cxn>
                <a:cxn ang="0">
                  <a:pos x="38" y="8"/>
                </a:cxn>
                <a:cxn ang="0">
                  <a:pos x="36" y="12"/>
                </a:cxn>
                <a:cxn ang="0">
                  <a:pos x="38" y="12"/>
                </a:cxn>
                <a:cxn ang="0">
                  <a:pos x="38" y="12"/>
                </a:cxn>
                <a:cxn ang="0">
                  <a:pos x="38" y="14"/>
                </a:cxn>
                <a:cxn ang="0">
                  <a:pos x="38" y="14"/>
                </a:cxn>
                <a:cxn ang="0">
                  <a:pos x="34" y="16"/>
                </a:cxn>
                <a:cxn ang="0">
                  <a:pos x="30" y="20"/>
                </a:cxn>
                <a:cxn ang="0">
                  <a:pos x="28" y="24"/>
                </a:cxn>
                <a:cxn ang="0">
                  <a:pos x="30" y="28"/>
                </a:cxn>
                <a:cxn ang="0">
                  <a:pos x="30" y="28"/>
                </a:cxn>
                <a:cxn ang="0">
                  <a:pos x="22" y="28"/>
                </a:cxn>
                <a:cxn ang="0">
                  <a:pos x="18" y="28"/>
                </a:cxn>
                <a:cxn ang="0">
                  <a:pos x="16" y="26"/>
                </a:cxn>
                <a:cxn ang="0">
                  <a:pos x="16" y="24"/>
                </a:cxn>
                <a:cxn ang="0">
                  <a:pos x="14" y="22"/>
                </a:cxn>
                <a:cxn ang="0">
                  <a:pos x="12" y="20"/>
                </a:cxn>
                <a:cxn ang="0">
                  <a:pos x="8" y="18"/>
                </a:cxn>
                <a:cxn ang="0">
                  <a:pos x="0" y="18"/>
                </a:cxn>
                <a:cxn ang="0">
                  <a:pos x="0" y="18"/>
                </a:cxn>
              </a:cxnLst>
              <a:rect l="0" t="0" r="r" b="b"/>
              <a:pathLst>
                <a:path w="38" h="28">
                  <a:moveTo>
                    <a:pt x="0" y="18"/>
                  </a:moveTo>
                  <a:lnTo>
                    <a:pt x="0" y="18"/>
                  </a:lnTo>
                  <a:lnTo>
                    <a:pt x="6" y="16"/>
                  </a:lnTo>
                  <a:lnTo>
                    <a:pt x="10" y="12"/>
                  </a:lnTo>
                  <a:lnTo>
                    <a:pt x="14" y="4"/>
                  </a:lnTo>
                  <a:lnTo>
                    <a:pt x="16" y="2"/>
                  </a:lnTo>
                  <a:lnTo>
                    <a:pt x="20" y="0"/>
                  </a:lnTo>
                  <a:lnTo>
                    <a:pt x="24" y="2"/>
                  </a:lnTo>
                  <a:lnTo>
                    <a:pt x="30" y="4"/>
                  </a:lnTo>
                  <a:lnTo>
                    <a:pt x="30" y="4"/>
                  </a:lnTo>
                  <a:lnTo>
                    <a:pt x="36" y="6"/>
                  </a:lnTo>
                  <a:lnTo>
                    <a:pt x="38" y="8"/>
                  </a:lnTo>
                  <a:lnTo>
                    <a:pt x="36" y="12"/>
                  </a:lnTo>
                  <a:lnTo>
                    <a:pt x="38" y="12"/>
                  </a:lnTo>
                  <a:lnTo>
                    <a:pt x="38" y="12"/>
                  </a:lnTo>
                  <a:lnTo>
                    <a:pt x="38" y="14"/>
                  </a:lnTo>
                  <a:lnTo>
                    <a:pt x="38" y="14"/>
                  </a:lnTo>
                  <a:lnTo>
                    <a:pt x="34" y="16"/>
                  </a:lnTo>
                  <a:lnTo>
                    <a:pt x="30" y="20"/>
                  </a:lnTo>
                  <a:lnTo>
                    <a:pt x="28" y="24"/>
                  </a:lnTo>
                  <a:lnTo>
                    <a:pt x="30" y="28"/>
                  </a:lnTo>
                  <a:lnTo>
                    <a:pt x="30" y="28"/>
                  </a:lnTo>
                  <a:lnTo>
                    <a:pt x="22" y="28"/>
                  </a:lnTo>
                  <a:lnTo>
                    <a:pt x="18" y="28"/>
                  </a:lnTo>
                  <a:lnTo>
                    <a:pt x="16" y="26"/>
                  </a:lnTo>
                  <a:lnTo>
                    <a:pt x="16" y="24"/>
                  </a:lnTo>
                  <a:lnTo>
                    <a:pt x="14" y="22"/>
                  </a:lnTo>
                  <a:lnTo>
                    <a:pt x="12" y="20"/>
                  </a:lnTo>
                  <a:lnTo>
                    <a:pt x="8" y="18"/>
                  </a:lnTo>
                  <a:lnTo>
                    <a:pt x="0" y="18"/>
                  </a:lnTo>
                  <a:lnTo>
                    <a:pt x="0" y="1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0" name="Freeform 204"/>
            <p:cNvSpPr>
              <a:spLocks/>
            </p:cNvSpPr>
            <p:nvPr/>
          </p:nvSpPr>
          <p:spPr bwMode="auto">
            <a:xfrm>
              <a:off x="5287663" y="2258219"/>
              <a:ext cx="134938" cy="108479"/>
            </a:xfrm>
            <a:custGeom>
              <a:avLst/>
              <a:gdLst/>
              <a:ahLst/>
              <a:cxnLst>
                <a:cxn ang="0">
                  <a:pos x="46" y="56"/>
                </a:cxn>
                <a:cxn ang="0">
                  <a:pos x="58" y="48"/>
                </a:cxn>
                <a:cxn ang="0">
                  <a:pos x="60" y="50"/>
                </a:cxn>
                <a:cxn ang="0">
                  <a:pos x="66" y="56"/>
                </a:cxn>
                <a:cxn ang="0">
                  <a:pos x="64" y="58"/>
                </a:cxn>
                <a:cxn ang="0">
                  <a:pos x="68" y="64"/>
                </a:cxn>
                <a:cxn ang="0">
                  <a:pos x="62" y="70"/>
                </a:cxn>
                <a:cxn ang="0">
                  <a:pos x="72" y="76"/>
                </a:cxn>
                <a:cxn ang="0">
                  <a:pos x="82" y="82"/>
                </a:cxn>
                <a:cxn ang="0">
                  <a:pos x="88" y="80"/>
                </a:cxn>
                <a:cxn ang="0">
                  <a:pos x="82" y="66"/>
                </a:cxn>
                <a:cxn ang="0">
                  <a:pos x="84" y="60"/>
                </a:cxn>
                <a:cxn ang="0">
                  <a:pos x="86" y="64"/>
                </a:cxn>
                <a:cxn ang="0">
                  <a:pos x="90" y="66"/>
                </a:cxn>
                <a:cxn ang="0">
                  <a:pos x="90" y="64"/>
                </a:cxn>
                <a:cxn ang="0">
                  <a:pos x="88" y="58"/>
                </a:cxn>
                <a:cxn ang="0">
                  <a:pos x="90" y="54"/>
                </a:cxn>
                <a:cxn ang="0">
                  <a:pos x="90" y="48"/>
                </a:cxn>
                <a:cxn ang="0">
                  <a:pos x="92" y="40"/>
                </a:cxn>
                <a:cxn ang="0">
                  <a:pos x="94" y="40"/>
                </a:cxn>
                <a:cxn ang="0">
                  <a:pos x="102" y="40"/>
                </a:cxn>
                <a:cxn ang="0">
                  <a:pos x="102" y="38"/>
                </a:cxn>
                <a:cxn ang="0">
                  <a:pos x="96" y="30"/>
                </a:cxn>
                <a:cxn ang="0">
                  <a:pos x="94" y="30"/>
                </a:cxn>
                <a:cxn ang="0">
                  <a:pos x="90" y="30"/>
                </a:cxn>
                <a:cxn ang="0">
                  <a:pos x="80" y="24"/>
                </a:cxn>
                <a:cxn ang="0">
                  <a:pos x="70" y="12"/>
                </a:cxn>
                <a:cxn ang="0">
                  <a:pos x="58" y="0"/>
                </a:cxn>
                <a:cxn ang="0">
                  <a:pos x="52" y="4"/>
                </a:cxn>
                <a:cxn ang="0">
                  <a:pos x="36" y="8"/>
                </a:cxn>
                <a:cxn ang="0">
                  <a:pos x="22" y="2"/>
                </a:cxn>
                <a:cxn ang="0">
                  <a:pos x="26" y="14"/>
                </a:cxn>
                <a:cxn ang="0">
                  <a:pos x="26" y="16"/>
                </a:cxn>
                <a:cxn ang="0">
                  <a:pos x="16" y="14"/>
                </a:cxn>
                <a:cxn ang="0">
                  <a:pos x="0" y="14"/>
                </a:cxn>
                <a:cxn ang="0">
                  <a:pos x="6" y="16"/>
                </a:cxn>
                <a:cxn ang="0">
                  <a:pos x="12" y="20"/>
                </a:cxn>
                <a:cxn ang="0">
                  <a:pos x="16" y="26"/>
                </a:cxn>
                <a:cxn ang="0">
                  <a:pos x="18" y="32"/>
                </a:cxn>
                <a:cxn ang="0">
                  <a:pos x="22" y="34"/>
                </a:cxn>
                <a:cxn ang="0">
                  <a:pos x="24" y="38"/>
                </a:cxn>
                <a:cxn ang="0">
                  <a:pos x="28" y="46"/>
                </a:cxn>
                <a:cxn ang="0">
                  <a:pos x="42" y="52"/>
                </a:cxn>
                <a:cxn ang="0">
                  <a:pos x="46" y="56"/>
                </a:cxn>
              </a:cxnLst>
              <a:rect l="0" t="0" r="r" b="b"/>
              <a:pathLst>
                <a:path w="102" h="82">
                  <a:moveTo>
                    <a:pt x="46" y="56"/>
                  </a:moveTo>
                  <a:lnTo>
                    <a:pt x="46" y="56"/>
                  </a:lnTo>
                  <a:lnTo>
                    <a:pt x="56" y="48"/>
                  </a:lnTo>
                  <a:lnTo>
                    <a:pt x="58" y="48"/>
                  </a:lnTo>
                  <a:lnTo>
                    <a:pt x="60" y="50"/>
                  </a:lnTo>
                  <a:lnTo>
                    <a:pt x="60" y="50"/>
                  </a:lnTo>
                  <a:lnTo>
                    <a:pt x="66" y="54"/>
                  </a:lnTo>
                  <a:lnTo>
                    <a:pt x="66" y="56"/>
                  </a:lnTo>
                  <a:lnTo>
                    <a:pt x="64" y="58"/>
                  </a:lnTo>
                  <a:lnTo>
                    <a:pt x="64" y="58"/>
                  </a:lnTo>
                  <a:lnTo>
                    <a:pt x="68" y="60"/>
                  </a:lnTo>
                  <a:lnTo>
                    <a:pt x="68" y="64"/>
                  </a:lnTo>
                  <a:lnTo>
                    <a:pt x="66" y="68"/>
                  </a:lnTo>
                  <a:lnTo>
                    <a:pt x="62" y="70"/>
                  </a:lnTo>
                  <a:lnTo>
                    <a:pt x="62" y="70"/>
                  </a:lnTo>
                  <a:lnTo>
                    <a:pt x="72" y="76"/>
                  </a:lnTo>
                  <a:lnTo>
                    <a:pt x="78" y="80"/>
                  </a:lnTo>
                  <a:lnTo>
                    <a:pt x="82" y="82"/>
                  </a:lnTo>
                  <a:lnTo>
                    <a:pt x="88" y="80"/>
                  </a:lnTo>
                  <a:lnTo>
                    <a:pt x="88" y="80"/>
                  </a:lnTo>
                  <a:lnTo>
                    <a:pt x="84" y="70"/>
                  </a:lnTo>
                  <a:lnTo>
                    <a:pt x="82" y="66"/>
                  </a:lnTo>
                  <a:lnTo>
                    <a:pt x="82" y="62"/>
                  </a:lnTo>
                  <a:lnTo>
                    <a:pt x="84" y="60"/>
                  </a:lnTo>
                  <a:lnTo>
                    <a:pt x="84" y="60"/>
                  </a:lnTo>
                  <a:lnTo>
                    <a:pt x="86" y="64"/>
                  </a:lnTo>
                  <a:lnTo>
                    <a:pt x="88" y="66"/>
                  </a:lnTo>
                  <a:lnTo>
                    <a:pt x="90" y="66"/>
                  </a:lnTo>
                  <a:lnTo>
                    <a:pt x="90" y="66"/>
                  </a:lnTo>
                  <a:lnTo>
                    <a:pt x="90" y="64"/>
                  </a:lnTo>
                  <a:lnTo>
                    <a:pt x="88" y="60"/>
                  </a:lnTo>
                  <a:lnTo>
                    <a:pt x="88" y="58"/>
                  </a:lnTo>
                  <a:lnTo>
                    <a:pt x="90" y="54"/>
                  </a:lnTo>
                  <a:lnTo>
                    <a:pt x="90" y="54"/>
                  </a:lnTo>
                  <a:lnTo>
                    <a:pt x="90" y="50"/>
                  </a:lnTo>
                  <a:lnTo>
                    <a:pt x="90" y="48"/>
                  </a:lnTo>
                  <a:lnTo>
                    <a:pt x="90" y="44"/>
                  </a:lnTo>
                  <a:lnTo>
                    <a:pt x="92" y="40"/>
                  </a:lnTo>
                  <a:lnTo>
                    <a:pt x="92" y="40"/>
                  </a:lnTo>
                  <a:lnTo>
                    <a:pt x="94" y="40"/>
                  </a:lnTo>
                  <a:lnTo>
                    <a:pt x="98" y="40"/>
                  </a:lnTo>
                  <a:lnTo>
                    <a:pt x="102" y="40"/>
                  </a:lnTo>
                  <a:lnTo>
                    <a:pt x="102" y="40"/>
                  </a:lnTo>
                  <a:lnTo>
                    <a:pt x="102" y="38"/>
                  </a:lnTo>
                  <a:lnTo>
                    <a:pt x="100" y="34"/>
                  </a:lnTo>
                  <a:lnTo>
                    <a:pt x="96" y="30"/>
                  </a:lnTo>
                  <a:lnTo>
                    <a:pt x="94" y="30"/>
                  </a:lnTo>
                  <a:lnTo>
                    <a:pt x="94" y="30"/>
                  </a:lnTo>
                  <a:lnTo>
                    <a:pt x="92" y="32"/>
                  </a:lnTo>
                  <a:lnTo>
                    <a:pt x="90" y="30"/>
                  </a:lnTo>
                  <a:lnTo>
                    <a:pt x="80" y="24"/>
                  </a:lnTo>
                  <a:lnTo>
                    <a:pt x="80" y="24"/>
                  </a:lnTo>
                  <a:lnTo>
                    <a:pt x="76" y="18"/>
                  </a:lnTo>
                  <a:lnTo>
                    <a:pt x="70" y="12"/>
                  </a:lnTo>
                  <a:lnTo>
                    <a:pt x="66" y="6"/>
                  </a:lnTo>
                  <a:lnTo>
                    <a:pt x="58" y="0"/>
                  </a:lnTo>
                  <a:lnTo>
                    <a:pt x="58" y="0"/>
                  </a:lnTo>
                  <a:lnTo>
                    <a:pt x="52" y="4"/>
                  </a:lnTo>
                  <a:lnTo>
                    <a:pt x="44" y="8"/>
                  </a:lnTo>
                  <a:lnTo>
                    <a:pt x="36" y="8"/>
                  </a:lnTo>
                  <a:lnTo>
                    <a:pt x="22" y="2"/>
                  </a:lnTo>
                  <a:lnTo>
                    <a:pt x="22" y="2"/>
                  </a:lnTo>
                  <a:lnTo>
                    <a:pt x="24" y="10"/>
                  </a:lnTo>
                  <a:lnTo>
                    <a:pt x="26" y="14"/>
                  </a:lnTo>
                  <a:lnTo>
                    <a:pt x="26" y="16"/>
                  </a:lnTo>
                  <a:lnTo>
                    <a:pt x="26" y="16"/>
                  </a:lnTo>
                  <a:lnTo>
                    <a:pt x="20" y="16"/>
                  </a:lnTo>
                  <a:lnTo>
                    <a:pt x="16" y="14"/>
                  </a:lnTo>
                  <a:lnTo>
                    <a:pt x="10" y="14"/>
                  </a:lnTo>
                  <a:lnTo>
                    <a:pt x="0" y="14"/>
                  </a:lnTo>
                  <a:lnTo>
                    <a:pt x="0" y="14"/>
                  </a:lnTo>
                  <a:lnTo>
                    <a:pt x="6" y="16"/>
                  </a:lnTo>
                  <a:lnTo>
                    <a:pt x="12" y="20"/>
                  </a:lnTo>
                  <a:lnTo>
                    <a:pt x="12" y="20"/>
                  </a:lnTo>
                  <a:lnTo>
                    <a:pt x="16" y="22"/>
                  </a:lnTo>
                  <a:lnTo>
                    <a:pt x="16" y="26"/>
                  </a:lnTo>
                  <a:lnTo>
                    <a:pt x="16" y="26"/>
                  </a:lnTo>
                  <a:lnTo>
                    <a:pt x="18" y="32"/>
                  </a:lnTo>
                  <a:lnTo>
                    <a:pt x="20" y="32"/>
                  </a:lnTo>
                  <a:lnTo>
                    <a:pt x="22" y="34"/>
                  </a:lnTo>
                  <a:lnTo>
                    <a:pt x="24" y="38"/>
                  </a:lnTo>
                  <a:lnTo>
                    <a:pt x="24" y="38"/>
                  </a:lnTo>
                  <a:lnTo>
                    <a:pt x="24" y="44"/>
                  </a:lnTo>
                  <a:lnTo>
                    <a:pt x="28" y="46"/>
                  </a:lnTo>
                  <a:lnTo>
                    <a:pt x="34" y="50"/>
                  </a:lnTo>
                  <a:lnTo>
                    <a:pt x="42" y="52"/>
                  </a:lnTo>
                  <a:lnTo>
                    <a:pt x="44" y="54"/>
                  </a:lnTo>
                  <a:lnTo>
                    <a:pt x="46" y="56"/>
                  </a:lnTo>
                  <a:lnTo>
                    <a:pt x="46" y="56"/>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1" name="Freeform 215"/>
            <p:cNvSpPr>
              <a:spLocks/>
            </p:cNvSpPr>
            <p:nvPr/>
          </p:nvSpPr>
          <p:spPr bwMode="auto">
            <a:xfrm>
              <a:off x="4351038" y="2282031"/>
              <a:ext cx="31750" cy="63500"/>
            </a:xfrm>
            <a:custGeom>
              <a:avLst/>
              <a:gdLst/>
              <a:ahLst/>
              <a:cxnLst>
                <a:cxn ang="0">
                  <a:pos x="14" y="0"/>
                </a:cxn>
                <a:cxn ang="0">
                  <a:pos x="18" y="2"/>
                </a:cxn>
                <a:cxn ang="0">
                  <a:pos x="20" y="4"/>
                </a:cxn>
                <a:cxn ang="0">
                  <a:pos x="22" y="8"/>
                </a:cxn>
                <a:cxn ang="0">
                  <a:pos x="24" y="14"/>
                </a:cxn>
                <a:cxn ang="0">
                  <a:pos x="24" y="18"/>
                </a:cxn>
                <a:cxn ang="0">
                  <a:pos x="22" y="20"/>
                </a:cxn>
                <a:cxn ang="0">
                  <a:pos x="22" y="22"/>
                </a:cxn>
                <a:cxn ang="0">
                  <a:pos x="22" y="28"/>
                </a:cxn>
                <a:cxn ang="0">
                  <a:pos x="22" y="32"/>
                </a:cxn>
                <a:cxn ang="0">
                  <a:pos x="22" y="34"/>
                </a:cxn>
                <a:cxn ang="0">
                  <a:pos x="22" y="40"/>
                </a:cxn>
                <a:cxn ang="0">
                  <a:pos x="22" y="44"/>
                </a:cxn>
                <a:cxn ang="0">
                  <a:pos x="20" y="42"/>
                </a:cxn>
                <a:cxn ang="0">
                  <a:pos x="14" y="40"/>
                </a:cxn>
                <a:cxn ang="0">
                  <a:pos x="16" y="44"/>
                </a:cxn>
                <a:cxn ang="0">
                  <a:pos x="14" y="46"/>
                </a:cxn>
                <a:cxn ang="0">
                  <a:pos x="10" y="46"/>
                </a:cxn>
                <a:cxn ang="0">
                  <a:pos x="8" y="46"/>
                </a:cxn>
                <a:cxn ang="0">
                  <a:pos x="8" y="46"/>
                </a:cxn>
                <a:cxn ang="0">
                  <a:pos x="4" y="42"/>
                </a:cxn>
                <a:cxn ang="0">
                  <a:pos x="4" y="40"/>
                </a:cxn>
                <a:cxn ang="0">
                  <a:pos x="4" y="28"/>
                </a:cxn>
                <a:cxn ang="0">
                  <a:pos x="4" y="28"/>
                </a:cxn>
                <a:cxn ang="0">
                  <a:pos x="4" y="26"/>
                </a:cxn>
                <a:cxn ang="0">
                  <a:pos x="4" y="22"/>
                </a:cxn>
                <a:cxn ang="0">
                  <a:pos x="6" y="20"/>
                </a:cxn>
                <a:cxn ang="0">
                  <a:pos x="4" y="14"/>
                </a:cxn>
                <a:cxn ang="0">
                  <a:pos x="0" y="12"/>
                </a:cxn>
                <a:cxn ang="0">
                  <a:pos x="0" y="8"/>
                </a:cxn>
                <a:cxn ang="0">
                  <a:pos x="0" y="4"/>
                </a:cxn>
                <a:cxn ang="0">
                  <a:pos x="2" y="4"/>
                </a:cxn>
                <a:cxn ang="0">
                  <a:pos x="8" y="4"/>
                </a:cxn>
                <a:cxn ang="0">
                  <a:pos x="10" y="2"/>
                </a:cxn>
                <a:cxn ang="0">
                  <a:pos x="14" y="0"/>
                </a:cxn>
              </a:cxnLst>
              <a:rect l="0" t="0" r="r" b="b"/>
              <a:pathLst>
                <a:path w="24" h="48">
                  <a:moveTo>
                    <a:pt x="14" y="0"/>
                  </a:moveTo>
                  <a:lnTo>
                    <a:pt x="14" y="0"/>
                  </a:lnTo>
                  <a:lnTo>
                    <a:pt x="16" y="0"/>
                  </a:lnTo>
                  <a:lnTo>
                    <a:pt x="18" y="2"/>
                  </a:lnTo>
                  <a:lnTo>
                    <a:pt x="18" y="2"/>
                  </a:lnTo>
                  <a:lnTo>
                    <a:pt x="20" y="4"/>
                  </a:lnTo>
                  <a:lnTo>
                    <a:pt x="22" y="8"/>
                  </a:lnTo>
                  <a:lnTo>
                    <a:pt x="22" y="8"/>
                  </a:lnTo>
                  <a:lnTo>
                    <a:pt x="22" y="10"/>
                  </a:lnTo>
                  <a:lnTo>
                    <a:pt x="24" y="14"/>
                  </a:lnTo>
                  <a:lnTo>
                    <a:pt x="24" y="14"/>
                  </a:lnTo>
                  <a:lnTo>
                    <a:pt x="24" y="18"/>
                  </a:lnTo>
                  <a:lnTo>
                    <a:pt x="24" y="18"/>
                  </a:lnTo>
                  <a:lnTo>
                    <a:pt x="22" y="20"/>
                  </a:lnTo>
                  <a:lnTo>
                    <a:pt x="22" y="22"/>
                  </a:lnTo>
                  <a:lnTo>
                    <a:pt x="22" y="22"/>
                  </a:lnTo>
                  <a:lnTo>
                    <a:pt x="24" y="24"/>
                  </a:lnTo>
                  <a:lnTo>
                    <a:pt x="22" y="28"/>
                  </a:lnTo>
                  <a:lnTo>
                    <a:pt x="22" y="28"/>
                  </a:lnTo>
                  <a:lnTo>
                    <a:pt x="22" y="32"/>
                  </a:lnTo>
                  <a:lnTo>
                    <a:pt x="22" y="34"/>
                  </a:lnTo>
                  <a:lnTo>
                    <a:pt x="22" y="34"/>
                  </a:lnTo>
                  <a:lnTo>
                    <a:pt x="22" y="36"/>
                  </a:lnTo>
                  <a:lnTo>
                    <a:pt x="22" y="40"/>
                  </a:lnTo>
                  <a:lnTo>
                    <a:pt x="22" y="42"/>
                  </a:lnTo>
                  <a:lnTo>
                    <a:pt x="22" y="44"/>
                  </a:lnTo>
                  <a:lnTo>
                    <a:pt x="22" y="44"/>
                  </a:lnTo>
                  <a:lnTo>
                    <a:pt x="20" y="42"/>
                  </a:lnTo>
                  <a:lnTo>
                    <a:pt x="18" y="42"/>
                  </a:lnTo>
                  <a:lnTo>
                    <a:pt x="14" y="40"/>
                  </a:lnTo>
                  <a:lnTo>
                    <a:pt x="14" y="40"/>
                  </a:lnTo>
                  <a:lnTo>
                    <a:pt x="16" y="44"/>
                  </a:lnTo>
                  <a:lnTo>
                    <a:pt x="16" y="46"/>
                  </a:lnTo>
                  <a:lnTo>
                    <a:pt x="14" y="46"/>
                  </a:lnTo>
                  <a:lnTo>
                    <a:pt x="14" y="46"/>
                  </a:lnTo>
                  <a:lnTo>
                    <a:pt x="10" y="46"/>
                  </a:lnTo>
                  <a:lnTo>
                    <a:pt x="8" y="48"/>
                  </a:lnTo>
                  <a:lnTo>
                    <a:pt x="8" y="46"/>
                  </a:lnTo>
                  <a:lnTo>
                    <a:pt x="8" y="46"/>
                  </a:lnTo>
                  <a:lnTo>
                    <a:pt x="8" y="46"/>
                  </a:lnTo>
                  <a:lnTo>
                    <a:pt x="6" y="44"/>
                  </a:lnTo>
                  <a:lnTo>
                    <a:pt x="4" y="42"/>
                  </a:lnTo>
                  <a:lnTo>
                    <a:pt x="4" y="40"/>
                  </a:lnTo>
                  <a:lnTo>
                    <a:pt x="4" y="40"/>
                  </a:lnTo>
                  <a:lnTo>
                    <a:pt x="4" y="32"/>
                  </a:lnTo>
                  <a:lnTo>
                    <a:pt x="4" y="28"/>
                  </a:lnTo>
                  <a:lnTo>
                    <a:pt x="4" y="28"/>
                  </a:lnTo>
                  <a:lnTo>
                    <a:pt x="4" y="28"/>
                  </a:lnTo>
                  <a:lnTo>
                    <a:pt x="6" y="26"/>
                  </a:lnTo>
                  <a:lnTo>
                    <a:pt x="4" y="26"/>
                  </a:lnTo>
                  <a:lnTo>
                    <a:pt x="4" y="24"/>
                  </a:lnTo>
                  <a:lnTo>
                    <a:pt x="4" y="22"/>
                  </a:lnTo>
                  <a:lnTo>
                    <a:pt x="4" y="22"/>
                  </a:lnTo>
                  <a:lnTo>
                    <a:pt x="6" y="20"/>
                  </a:lnTo>
                  <a:lnTo>
                    <a:pt x="6" y="16"/>
                  </a:lnTo>
                  <a:lnTo>
                    <a:pt x="4" y="14"/>
                  </a:lnTo>
                  <a:lnTo>
                    <a:pt x="4" y="14"/>
                  </a:lnTo>
                  <a:lnTo>
                    <a:pt x="0" y="12"/>
                  </a:lnTo>
                  <a:lnTo>
                    <a:pt x="0" y="8"/>
                  </a:lnTo>
                  <a:lnTo>
                    <a:pt x="0" y="8"/>
                  </a:lnTo>
                  <a:lnTo>
                    <a:pt x="0" y="4"/>
                  </a:lnTo>
                  <a:lnTo>
                    <a:pt x="0" y="4"/>
                  </a:lnTo>
                  <a:lnTo>
                    <a:pt x="2" y="4"/>
                  </a:lnTo>
                  <a:lnTo>
                    <a:pt x="2" y="4"/>
                  </a:lnTo>
                  <a:lnTo>
                    <a:pt x="6" y="6"/>
                  </a:lnTo>
                  <a:lnTo>
                    <a:pt x="8" y="4"/>
                  </a:lnTo>
                  <a:lnTo>
                    <a:pt x="8" y="4"/>
                  </a:lnTo>
                  <a:lnTo>
                    <a:pt x="10" y="2"/>
                  </a:lnTo>
                  <a:lnTo>
                    <a:pt x="14" y="0"/>
                  </a:lnTo>
                  <a:lnTo>
                    <a:pt x="14" y="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2" name="Freeform 220"/>
            <p:cNvSpPr>
              <a:spLocks/>
            </p:cNvSpPr>
            <p:nvPr/>
          </p:nvSpPr>
          <p:spPr bwMode="auto">
            <a:xfrm>
              <a:off x="4626205" y="2244990"/>
              <a:ext cx="47625" cy="82021"/>
            </a:xfrm>
            <a:custGeom>
              <a:avLst/>
              <a:gdLst/>
              <a:ahLst/>
              <a:cxnLst>
                <a:cxn ang="0">
                  <a:pos x="26" y="62"/>
                </a:cxn>
                <a:cxn ang="0">
                  <a:pos x="18" y="56"/>
                </a:cxn>
                <a:cxn ang="0">
                  <a:pos x="18" y="54"/>
                </a:cxn>
                <a:cxn ang="0">
                  <a:pos x="14" y="52"/>
                </a:cxn>
                <a:cxn ang="0">
                  <a:pos x="10" y="50"/>
                </a:cxn>
                <a:cxn ang="0">
                  <a:pos x="8" y="44"/>
                </a:cxn>
                <a:cxn ang="0">
                  <a:pos x="6" y="42"/>
                </a:cxn>
                <a:cxn ang="0">
                  <a:pos x="8" y="42"/>
                </a:cxn>
                <a:cxn ang="0">
                  <a:pos x="12" y="44"/>
                </a:cxn>
                <a:cxn ang="0">
                  <a:pos x="12" y="42"/>
                </a:cxn>
                <a:cxn ang="0">
                  <a:pos x="8" y="38"/>
                </a:cxn>
                <a:cxn ang="0">
                  <a:pos x="6" y="36"/>
                </a:cxn>
                <a:cxn ang="0">
                  <a:pos x="6" y="30"/>
                </a:cxn>
                <a:cxn ang="0">
                  <a:pos x="6" y="30"/>
                </a:cxn>
                <a:cxn ang="0">
                  <a:pos x="8" y="26"/>
                </a:cxn>
                <a:cxn ang="0">
                  <a:pos x="8" y="26"/>
                </a:cxn>
                <a:cxn ang="0">
                  <a:pos x="6" y="24"/>
                </a:cxn>
                <a:cxn ang="0">
                  <a:pos x="6" y="20"/>
                </a:cxn>
                <a:cxn ang="0">
                  <a:pos x="4" y="14"/>
                </a:cxn>
                <a:cxn ang="0">
                  <a:pos x="2" y="12"/>
                </a:cxn>
                <a:cxn ang="0">
                  <a:pos x="6" y="10"/>
                </a:cxn>
                <a:cxn ang="0">
                  <a:pos x="4" y="10"/>
                </a:cxn>
                <a:cxn ang="0">
                  <a:pos x="0" y="8"/>
                </a:cxn>
                <a:cxn ang="0">
                  <a:pos x="2" y="6"/>
                </a:cxn>
                <a:cxn ang="0">
                  <a:pos x="0" y="4"/>
                </a:cxn>
                <a:cxn ang="0">
                  <a:pos x="0" y="2"/>
                </a:cxn>
                <a:cxn ang="0">
                  <a:pos x="6" y="0"/>
                </a:cxn>
                <a:cxn ang="0">
                  <a:pos x="12" y="0"/>
                </a:cxn>
                <a:cxn ang="0">
                  <a:pos x="18" y="4"/>
                </a:cxn>
                <a:cxn ang="0">
                  <a:pos x="20" y="10"/>
                </a:cxn>
                <a:cxn ang="0">
                  <a:pos x="22" y="16"/>
                </a:cxn>
                <a:cxn ang="0">
                  <a:pos x="24" y="18"/>
                </a:cxn>
                <a:cxn ang="0">
                  <a:pos x="26" y="22"/>
                </a:cxn>
                <a:cxn ang="0">
                  <a:pos x="32" y="26"/>
                </a:cxn>
                <a:cxn ang="0">
                  <a:pos x="36" y="36"/>
                </a:cxn>
                <a:cxn ang="0">
                  <a:pos x="36" y="40"/>
                </a:cxn>
                <a:cxn ang="0">
                  <a:pos x="32" y="50"/>
                </a:cxn>
                <a:cxn ang="0">
                  <a:pos x="30" y="56"/>
                </a:cxn>
                <a:cxn ang="0">
                  <a:pos x="26" y="58"/>
                </a:cxn>
                <a:cxn ang="0">
                  <a:pos x="26" y="60"/>
                </a:cxn>
                <a:cxn ang="0">
                  <a:pos x="26" y="62"/>
                </a:cxn>
              </a:cxnLst>
              <a:rect l="0" t="0" r="r" b="b"/>
              <a:pathLst>
                <a:path w="36" h="62">
                  <a:moveTo>
                    <a:pt x="26" y="62"/>
                  </a:moveTo>
                  <a:lnTo>
                    <a:pt x="26" y="62"/>
                  </a:lnTo>
                  <a:lnTo>
                    <a:pt x="22" y="60"/>
                  </a:lnTo>
                  <a:lnTo>
                    <a:pt x="18" y="56"/>
                  </a:lnTo>
                  <a:lnTo>
                    <a:pt x="18" y="54"/>
                  </a:lnTo>
                  <a:lnTo>
                    <a:pt x="18" y="54"/>
                  </a:lnTo>
                  <a:lnTo>
                    <a:pt x="16" y="52"/>
                  </a:lnTo>
                  <a:lnTo>
                    <a:pt x="14" y="52"/>
                  </a:lnTo>
                  <a:lnTo>
                    <a:pt x="12" y="52"/>
                  </a:lnTo>
                  <a:lnTo>
                    <a:pt x="10" y="50"/>
                  </a:lnTo>
                  <a:lnTo>
                    <a:pt x="10" y="50"/>
                  </a:lnTo>
                  <a:lnTo>
                    <a:pt x="8" y="44"/>
                  </a:lnTo>
                  <a:lnTo>
                    <a:pt x="6" y="42"/>
                  </a:lnTo>
                  <a:lnTo>
                    <a:pt x="6" y="42"/>
                  </a:lnTo>
                  <a:lnTo>
                    <a:pt x="6" y="40"/>
                  </a:lnTo>
                  <a:lnTo>
                    <a:pt x="8" y="42"/>
                  </a:lnTo>
                  <a:lnTo>
                    <a:pt x="8" y="42"/>
                  </a:lnTo>
                  <a:lnTo>
                    <a:pt x="12" y="44"/>
                  </a:lnTo>
                  <a:lnTo>
                    <a:pt x="12" y="44"/>
                  </a:lnTo>
                  <a:lnTo>
                    <a:pt x="12" y="42"/>
                  </a:lnTo>
                  <a:lnTo>
                    <a:pt x="12" y="42"/>
                  </a:lnTo>
                  <a:lnTo>
                    <a:pt x="8" y="38"/>
                  </a:lnTo>
                  <a:lnTo>
                    <a:pt x="6" y="36"/>
                  </a:lnTo>
                  <a:lnTo>
                    <a:pt x="6" y="36"/>
                  </a:lnTo>
                  <a:lnTo>
                    <a:pt x="6" y="32"/>
                  </a:lnTo>
                  <a:lnTo>
                    <a:pt x="6" y="30"/>
                  </a:lnTo>
                  <a:lnTo>
                    <a:pt x="6" y="30"/>
                  </a:lnTo>
                  <a:lnTo>
                    <a:pt x="6" y="30"/>
                  </a:lnTo>
                  <a:lnTo>
                    <a:pt x="8" y="26"/>
                  </a:lnTo>
                  <a:lnTo>
                    <a:pt x="8" y="26"/>
                  </a:lnTo>
                  <a:lnTo>
                    <a:pt x="8" y="26"/>
                  </a:lnTo>
                  <a:lnTo>
                    <a:pt x="8" y="26"/>
                  </a:lnTo>
                  <a:lnTo>
                    <a:pt x="6" y="26"/>
                  </a:lnTo>
                  <a:lnTo>
                    <a:pt x="6" y="24"/>
                  </a:lnTo>
                  <a:lnTo>
                    <a:pt x="6" y="20"/>
                  </a:lnTo>
                  <a:lnTo>
                    <a:pt x="6" y="20"/>
                  </a:lnTo>
                  <a:lnTo>
                    <a:pt x="6" y="16"/>
                  </a:lnTo>
                  <a:lnTo>
                    <a:pt x="4" y="14"/>
                  </a:lnTo>
                  <a:lnTo>
                    <a:pt x="2" y="12"/>
                  </a:lnTo>
                  <a:lnTo>
                    <a:pt x="2" y="12"/>
                  </a:lnTo>
                  <a:lnTo>
                    <a:pt x="2" y="12"/>
                  </a:lnTo>
                  <a:lnTo>
                    <a:pt x="6" y="10"/>
                  </a:lnTo>
                  <a:lnTo>
                    <a:pt x="6" y="10"/>
                  </a:lnTo>
                  <a:lnTo>
                    <a:pt x="4" y="10"/>
                  </a:lnTo>
                  <a:lnTo>
                    <a:pt x="4" y="10"/>
                  </a:lnTo>
                  <a:lnTo>
                    <a:pt x="0" y="8"/>
                  </a:lnTo>
                  <a:lnTo>
                    <a:pt x="0" y="8"/>
                  </a:lnTo>
                  <a:lnTo>
                    <a:pt x="2" y="6"/>
                  </a:lnTo>
                  <a:lnTo>
                    <a:pt x="2" y="6"/>
                  </a:lnTo>
                  <a:lnTo>
                    <a:pt x="0" y="4"/>
                  </a:lnTo>
                  <a:lnTo>
                    <a:pt x="0" y="4"/>
                  </a:lnTo>
                  <a:lnTo>
                    <a:pt x="0" y="2"/>
                  </a:lnTo>
                  <a:lnTo>
                    <a:pt x="0" y="2"/>
                  </a:lnTo>
                  <a:lnTo>
                    <a:pt x="6" y="0"/>
                  </a:lnTo>
                  <a:lnTo>
                    <a:pt x="6" y="0"/>
                  </a:lnTo>
                  <a:lnTo>
                    <a:pt x="12" y="0"/>
                  </a:lnTo>
                  <a:lnTo>
                    <a:pt x="16" y="2"/>
                  </a:lnTo>
                  <a:lnTo>
                    <a:pt x="18" y="4"/>
                  </a:lnTo>
                  <a:lnTo>
                    <a:pt x="18" y="4"/>
                  </a:lnTo>
                  <a:lnTo>
                    <a:pt x="20" y="10"/>
                  </a:lnTo>
                  <a:lnTo>
                    <a:pt x="22" y="16"/>
                  </a:lnTo>
                  <a:lnTo>
                    <a:pt x="22" y="16"/>
                  </a:lnTo>
                  <a:lnTo>
                    <a:pt x="22" y="18"/>
                  </a:lnTo>
                  <a:lnTo>
                    <a:pt x="24" y="18"/>
                  </a:lnTo>
                  <a:lnTo>
                    <a:pt x="24" y="20"/>
                  </a:lnTo>
                  <a:lnTo>
                    <a:pt x="26" y="22"/>
                  </a:lnTo>
                  <a:lnTo>
                    <a:pt x="26" y="22"/>
                  </a:lnTo>
                  <a:lnTo>
                    <a:pt x="32" y="26"/>
                  </a:lnTo>
                  <a:lnTo>
                    <a:pt x="34" y="30"/>
                  </a:lnTo>
                  <a:lnTo>
                    <a:pt x="36" y="36"/>
                  </a:lnTo>
                  <a:lnTo>
                    <a:pt x="36" y="36"/>
                  </a:lnTo>
                  <a:lnTo>
                    <a:pt x="36" y="40"/>
                  </a:lnTo>
                  <a:lnTo>
                    <a:pt x="34" y="44"/>
                  </a:lnTo>
                  <a:lnTo>
                    <a:pt x="32" y="50"/>
                  </a:lnTo>
                  <a:lnTo>
                    <a:pt x="32" y="50"/>
                  </a:lnTo>
                  <a:lnTo>
                    <a:pt x="30" y="56"/>
                  </a:lnTo>
                  <a:lnTo>
                    <a:pt x="26" y="58"/>
                  </a:lnTo>
                  <a:lnTo>
                    <a:pt x="26" y="58"/>
                  </a:lnTo>
                  <a:lnTo>
                    <a:pt x="26" y="58"/>
                  </a:lnTo>
                  <a:lnTo>
                    <a:pt x="26" y="60"/>
                  </a:lnTo>
                  <a:lnTo>
                    <a:pt x="26" y="60"/>
                  </a:lnTo>
                  <a:lnTo>
                    <a:pt x="26" y="62"/>
                  </a:lnTo>
                  <a:lnTo>
                    <a:pt x="26" y="62"/>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3" name="Freeform 225"/>
            <p:cNvSpPr>
              <a:spLocks/>
            </p:cNvSpPr>
            <p:nvPr/>
          </p:nvSpPr>
          <p:spPr bwMode="auto">
            <a:xfrm>
              <a:off x="4597101" y="1914260"/>
              <a:ext cx="66146" cy="21167"/>
            </a:xfrm>
            <a:custGeom>
              <a:avLst/>
              <a:gdLst/>
              <a:ahLst/>
              <a:cxnLst>
                <a:cxn ang="0">
                  <a:pos x="2" y="14"/>
                </a:cxn>
                <a:cxn ang="0">
                  <a:pos x="2" y="14"/>
                </a:cxn>
                <a:cxn ang="0">
                  <a:pos x="4" y="12"/>
                </a:cxn>
                <a:cxn ang="0">
                  <a:pos x="8" y="12"/>
                </a:cxn>
                <a:cxn ang="0">
                  <a:pos x="8" y="12"/>
                </a:cxn>
                <a:cxn ang="0">
                  <a:pos x="8" y="10"/>
                </a:cxn>
                <a:cxn ang="0">
                  <a:pos x="6" y="10"/>
                </a:cxn>
                <a:cxn ang="0">
                  <a:pos x="2" y="10"/>
                </a:cxn>
                <a:cxn ang="0">
                  <a:pos x="2" y="10"/>
                </a:cxn>
                <a:cxn ang="0">
                  <a:pos x="2" y="10"/>
                </a:cxn>
                <a:cxn ang="0">
                  <a:pos x="0" y="8"/>
                </a:cxn>
                <a:cxn ang="0">
                  <a:pos x="0" y="8"/>
                </a:cxn>
                <a:cxn ang="0">
                  <a:pos x="0" y="8"/>
                </a:cxn>
                <a:cxn ang="0">
                  <a:pos x="4" y="8"/>
                </a:cxn>
                <a:cxn ang="0">
                  <a:pos x="4" y="8"/>
                </a:cxn>
                <a:cxn ang="0">
                  <a:pos x="8" y="8"/>
                </a:cxn>
                <a:cxn ang="0">
                  <a:pos x="10" y="6"/>
                </a:cxn>
                <a:cxn ang="0">
                  <a:pos x="10" y="6"/>
                </a:cxn>
                <a:cxn ang="0">
                  <a:pos x="14" y="4"/>
                </a:cxn>
                <a:cxn ang="0">
                  <a:pos x="18" y="2"/>
                </a:cxn>
                <a:cxn ang="0">
                  <a:pos x="18" y="2"/>
                </a:cxn>
                <a:cxn ang="0">
                  <a:pos x="20" y="0"/>
                </a:cxn>
                <a:cxn ang="0">
                  <a:pos x="20" y="0"/>
                </a:cxn>
                <a:cxn ang="0">
                  <a:pos x="20" y="4"/>
                </a:cxn>
                <a:cxn ang="0">
                  <a:pos x="20" y="6"/>
                </a:cxn>
                <a:cxn ang="0">
                  <a:pos x="24" y="2"/>
                </a:cxn>
                <a:cxn ang="0">
                  <a:pos x="24" y="2"/>
                </a:cxn>
                <a:cxn ang="0">
                  <a:pos x="28" y="4"/>
                </a:cxn>
                <a:cxn ang="0">
                  <a:pos x="30" y="4"/>
                </a:cxn>
                <a:cxn ang="0">
                  <a:pos x="30" y="4"/>
                </a:cxn>
                <a:cxn ang="0">
                  <a:pos x="38" y="4"/>
                </a:cxn>
                <a:cxn ang="0">
                  <a:pos x="44" y="2"/>
                </a:cxn>
                <a:cxn ang="0">
                  <a:pos x="48" y="4"/>
                </a:cxn>
                <a:cxn ang="0">
                  <a:pos x="48" y="4"/>
                </a:cxn>
                <a:cxn ang="0">
                  <a:pos x="50" y="6"/>
                </a:cxn>
                <a:cxn ang="0">
                  <a:pos x="50" y="8"/>
                </a:cxn>
                <a:cxn ang="0">
                  <a:pos x="48" y="12"/>
                </a:cxn>
                <a:cxn ang="0">
                  <a:pos x="48" y="12"/>
                </a:cxn>
                <a:cxn ang="0">
                  <a:pos x="46" y="14"/>
                </a:cxn>
                <a:cxn ang="0">
                  <a:pos x="42" y="14"/>
                </a:cxn>
                <a:cxn ang="0">
                  <a:pos x="38" y="12"/>
                </a:cxn>
                <a:cxn ang="0">
                  <a:pos x="32" y="14"/>
                </a:cxn>
                <a:cxn ang="0">
                  <a:pos x="32" y="14"/>
                </a:cxn>
                <a:cxn ang="0">
                  <a:pos x="28" y="16"/>
                </a:cxn>
                <a:cxn ang="0">
                  <a:pos x="22" y="16"/>
                </a:cxn>
                <a:cxn ang="0">
                  <a:pos x="16" y="14"/>
                </a:cxn>
                <a:cxn ang="0">
                  <a:pos x="2" y="14"/>
                </a:cxn>
                <a:cxn ang="0">
                  <a:pos x="2" y="14"/>
                </a:cxn>
              </a:cxnLst>
              <a:rect l="0" t="0" r="r" b="b"/>
              <a:pathLst>
                <a:path w="50" h="16">
                  <a:moveTo>
                    <a:pt x="2" y="14"/>
                  </a:moveTo>
                  <a:lnTo>
                    <a:pt x="2" y="14"/>
                  </a:lnTo>
                  <a:lnTo>
                    <a:pt x="4" y="12"/>
                  </a:lnTo>
                  <a:lnTo>
                    <a:pt x="8" y="12"/>
                  </a:lnTo>
                  <a:lnTo>
                    <a:pt x="8" y="12"/>
                  </a:lnTo>
                  <a:lnTo>
                    <a:pt x="8" y="10"/>
                  </a:lnTo>
                  <a:lnTo>
                    <a:pt x="6" y="10"/>
                  </a:lnTo>
                  <a:lnTo>
                    <a:pt x="2" y="10"/>
                  </a:lnTo>
                  <a:lnTo>
                    <a:pt x="2" y="10"/>
                  </a:lnTo>
                  <a:lnTo>
                    <a:pt x="2" y="10"/>
                  </a:lnTo>
                  <a:lnTo>
                    <a:pt x="0" y="8"/>
                  </a:lnTo>
                  <a:lnTo>
                    <a:pt x="0" y="8"/>
                  </a:lnTo>
                  <a:lnTo>
                    <a:pt x="0" y="8"/>
                  </a:lnTo>
                  <a:lnTo>
                    <a:pt x="4" y="8"/>
                  </a:lnTo>
                  <a:lnTo>
                    <a:pt x="4" y="8"/>
                  </a:lnTo>
                  <a:lnTo>
                    <a:pt x="8" y="8"/>
                  </a:lnTo>
                  <a:lnTo>
                    <a:pt x="10" y="6"/>
                  </a:lnTo>
                  <a:lnTo>
                    <a:pt x="10" y="6"/>
                  </a:lnTo>
                  <a:lnTo>
                    <a:pt x="14" y="4"/>
                  </a:lnTo>
                  <a:lnTo>
                    <a:pt x="18" y="2"/>
                  </a:lnTo>
                  <a:lnTo>
                    <a:pt x="18" y="2"/>
                  </a:lnTo>
                  <a:lnTo>
                    <a:pt x="20" y="0"/>
                  </a:lnTo>
                  <a:lnTo>
                    <a:pt x="20" y="0"/>
                  </a:lnTo>
                  <a:lnTo>
                    <a:pt x="20" y="4"/>
                  </a:lnTo>
                  <a:lnTo>
                    <a:pt x="20" y="6"/>
                  </a:lnTo>
                  <a:lnTo>
                    <a:pt x="24" y="2"/>
                  </a:lnTo>
                  <a:lnTo>
                    <a:pt x="24" y="2"/>
                  </a:lnTo>
                  <a:lnTo>
                    <a:pt x="28" y="4"/>
                  </a:lnTo>
                  <a:lnTo>
                    <a:pt x="30" y="4"/>
                  </a:lnTo>
                  <a:lnTo>
                    <a:pt x="30" y="4"/>
                  </a:lnTo>
                  <a:lnTo>
                    <a:pt x="38" y="4"/>
                  </a:lnTo>
                  <a:lnTo>
                    <a:pt x="44" y="2"/>
                  </a:lnTo>
                  <a:lnTo>
                    <a:pt x="48" y="4"/>
                  </a:lnTo>
                  <a:lnTo>
                    <a:pt x="48" y="4"/>
                  </a:lnTo>
                  <a:lnTo>
                    <a:pt x="50" y="6"/>
                  </a:lnTo>
                  <a:lnTo>
                    <a:pt x="50" y="8"/>
                  </a:lnTo>
                  <a:lnTo>
                    <a:pt x="48" y="12"/>
                  </a:lnTo>
                  <a:lnTo>
                    <a:pt x="48" y="12"/>
                  </a:lnTo>
                  <a:lnTo>
                    <a:pt x="46" y="14"/>
                  </a:lnTo>
                  <a:lnTo>
                    <a:pt x="42" y="14"/>
                  </a:lnTo>
                  <a:lnTo>
                    <a:pt x="38" y="12"/>
                  </a:lnTo>
                  <a:lnTo>
                    <a:pt x="32" y="14"/>
                  </a:lnTo>
                  <a:lnTo>
                    <a:pt x="32" y="14"/>
                  </a:lnTo>
                  <a:lnTo>
                    <a:pt x="28" y="16"/>
                  </a:lnTo>
                  <a:lnTo>
                    <a:pt x="22" y="16"/>
                  </a:lnTo>
                  <a:lnTo>
                    <a:pt x="16" y="14"/>
                  </a:lnTo>
                  <a:lnTo>
                    <a:pt x="2" y="14"/>
                  </a:lnTo>
                  <a:lnTo>
                    <a:pt x="2" y="14"/>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4" name="Freeform 233"/>
            <p:cNvSpPr>
              <a:spLocks/>
            </p:cNvSpPr>
            <p:nvPr/>
          </p:nvSpPr>
          <p:spPr bwMode="auto">
            <a:xfrm>
              <a:off x="4681768" y="1871927"/>
              <a:ext cx="232833" cy="129646"/>
            </a:xfrm>
            <a:custGeom>
              <a:avLst/>
              <a:gdLst/>
              <a:ahLst/>
              <a:cxnLst>
                <a:cxn ang="0">
                  <a:pos x="144" y="58"/>
                </a:cxn>
                <a:cxn ang="0">
                  <a:pos x="146" y="50"/>
                </a:cxn>
                <a:cxn ang="0">
                  <a:pos x="152" y="52"/>
                </a:cxn>
                <a:cxn ang="0">
                  <a:pos x="168" y="52"/>
                </a:cxn>
                <a:cxn ang="0">
                  <a:pos x="176" y="46"/>
                </a:cxn>
                <a:cxn ang="0">
                  <a:pos x="172" y="42"/>
                </a:cxn>
                <a:cxn ang="0">
                  <a:pos x="162" y="36"/>
                </a:cxn>
                <a:cxn ang="0">
                  <a:pos x="154" y="36"/>
                </a:cxn>
                <a:cxn ang="0">
                  <a:pos x="152" y="34"/>
                </a:cxn>
                <a:cxn ang="0">
                  <a:pos x="148" y="30"/>
                </a:cxn>
                <a:cxn ang="0">
                  <a:pos x="140" y="30"/>
                </a:cxn>
                <a:cxn ang="0">
                  <a:pos x="124" y="22"/>
                </a:cxn>
                <a:cxn ang="0">
                  <a:pos x="120" y="16"/>
                </a:cxn>
                <a:cxn ang="0">
                  <a:pos x="116" y="10"/>
                </a:cxn>
                <a:cxn ang="0">
                  <a:pos x="114" y="4"/>
                </a:cxn>
                <a:cxn ang="0">
                  <a:pos x="106" y="0"/>
                </a:cxn>
                <a:cxn ang="0">
                  <a:pos x="96" y="6"/>
                </a:cxn>
                <a:cxn ang="0">
                  <a:pos x="90" y="6"/>
                </a:cxn>
                <a:cxn ang="0">
                  <a:pos x="88" y="4"/>
                </a:cxn>
                <a:cxn ang="0">
                  <a:pos x="68" y="2"/>
                </a:cxn>
                <a:cxn ang="0">
                  <a:pos x="66" y="6"/>
                </a:cxn>
                <a:cxn ang="0">
                  <a:pos x="68" y="14"/>
                </a:cxn>
                <a:cxn ang="0">
                  <a:pos x="58" y="16"/>
                </a:cxn>
                <a:cxn ang="0">
                  <a:pos x="52" y="22"/>
                </a:cxn>
                <a:cxn ang="0">
                  <a:pos x="50" y="28"/>
                </a:cxn>
                <a:cxn ang="0">
                  <a:pos x="52" y="32"/>
                </a:cxn>
                <a:cxn ang="0">
                  <a:pos x="42" y="34"/>
                </a:cxn>
                <a:cxn ang="0">
                  <a:pos x="36" y="38"/>
                </a:cxn>
                <a:cxn ang="0">
                  <a:pos x="30" y="44"/>
                </a:cxn>
                <a:cxn ang="0">
                  <a:pos x="30" y="50"/>
                </a:cxn>
                <a:cxn ang="0">
                  <a:pos x="32" y="54"/>
                </a:cxn>
                <a:cxn ang="0">
                  <a:pos x="26" y="54"/>
                </a:cxn>
                <a:cxn ang="0">
                  <a:pos x="16" y="56"/>
                </a:cxn>
                <a:cxn ang="0">
                  <a:pos x="0" y="52"/>
                </a:cxn>
                <a:cxn ang="0">
                  <a:pos x="4" y="62"/>
                </a:cxn>
                <a:cxn ang="0">
                  <a:pos x="10" y="68"/>
                </a:cxn>
                <a:cxn ang="0">
                  <a:pos x="4" y="76"/>
                </a:cxn>
                <a:cxn ang="0">
                  <a:pos x="4" y="86"/>
                </a:cxn>
                <a:cxn ang="0">
                  <a:pos x="12" y="92"/>
                </a:cxn>
                <a:cxn ang="0">
                  <a:pos x="26" y="90"/>
                </a:cxn>
                <a:cxn ang="0">
                  <a:pos x="44" y="88"/>
                </a:cxn>
                <a:cxn ang="0">
                  <a:pos x="76" y="98"/>
                </a:cxn>
                <a:cxn ang="0">
                  <a:pos x="92" y="92"/>
                </a:cxn>
                <a:cxn ang="0">
                  <a:pos x="96" y="96"/>
                </a:cxn>
                <a:cxn ang="0">
                  <a:pos x="106" y="94"/>
                </a:cxn>
                <a:cxn ang="0">
                  <a:pos x="112" y="92"/>
                </a:cxn>
                <a:cxn ang="0">
                  <a:pos x="118" y="88"/>
                </a:cxn>
                <a:cxn ang="0">
                  <a:pos x="126" y="90"/>
                </a:cxn>
                <a:cxn ang="0">
                  <a:pos x="142" y="92"/>
                </a:cxn>
                <a:cxn ang="0">
                  <a:pos x="144" y="88"/>
                </a:cxn>
                <a:cxn ang="0">
                  <a:pos x="140" y="72"/>
                </a:cxn>
                <a:cxn ang="0">
                  <a:pos x="154" y="70"/>
                </a:cxn>
              </a:cxnLst>
              <a:rect l="0" t="0" r="r" b="b"/>
              <a:pathLst>
                <a:path w="176" h="98">
                  <a:moveTo>
                    <a:pt x="154" y="70"/>
                  </a:moveTo>
                  <a:lnTo>
                    <a:pt x="154" y="70"/>
                  </a:lnTo>
                  <a:lnTo>
                    <a:pt x="144" y="58"/>
                  </a:lnTo>
                  <a:lnTo>
                    <a:pt x="144" y="54"/>
                  </a:lnTo>
                  <a:lnTo>
                    <a:pt x="144" y="52"/>
                  </a:lnTo>
                  <a:lnTo>
                    <a:pt x="146" y="50"/>
                  </a:lnTo>
                  <a:lnTo>
                    <a:pt x="148" y="50"/>
                  </a:lnTo>
                  <a:lnTo>
                    <a:pt x="152" y="52"/>
                  </a:lnTo>
                  <a:lnTo>
                    <a:pt x="152" y="52"/>
                  </a:lnTo>
                  <a:lnTo>
                    <a:pt x="156" y="54"/>
                  </a:lnTo>
                  <a:lnTo>
                    <a:pt x="160" y="54"/>
                  </a:lnTo>
                  <a:lnTo>
                    <a:pt x="168" y="52"/>
                  </a:lnTo>
                  <a:lnTo>
                    <a:pt x="168" y="52"/>
                  </a:lnTo>
                  <a:lnTo>
                    <a:pt x="174" y="50"/>
                  </a:lnTo>
                  <a:lnTo>
                    <a:pt x="176" y="46"/>
                  </a:lnTo>
                  <a:lnTo>
                    <a:pt x="174" y="44"/>
                  </a:lnTo>
                  <a:lnTo>
                    <a:pt x="172" y="42"/>
                  </a:lnTo>
                  <a:lnTo>
                    <a:pt x="172" y="42"/>
                  </a:lnTo>
                  <a:lnTo>
                    <a:pt x="168" y="40"/>
                  </a:lnTo>
                  <a:lnTo>
                    <a:pt x="166" y="40"/>
                  </a:lnTo>
                  <a:lnTo>
                    <a:pt x="162" y="36"/>
                  </a:lnTo>
                  <a:lnTo>
                    <a:pt x="162" y="36"/>
                  </a:lnTo>
                  <a:lnTo>
                    <a:pt x="158" y="36"/>
                  </a:lnTo>
                  <a:lnTo>
                    <a:pt x="154" y="36"/>
                  </a:lnTo>
                  <a:lnTo>
                    <a:pt x="154" y="36"/>
                  </a:lnTo>
                  <a:lnTo>
                    <a:pt x="150" y="34"/>
                  </a:lnTo>
                  <a:lnTo>
                    <a:pt x="152" y="34"/>
                  </a:lnTo>
                  <a:lnTo>
                    <a:pt x="152" y="32"/>
                  </a:lnTo>
                  <a:lnTo>
                    <a:pt x="148" y="30"/>
                  </a:lnTo>
                  <a:lnTo>
                    <a:pt x="148" y="30"/>
                  </a:lnTo>
                  <a:lnTo>
                    <a:pt x="144" y="30"/>
                  </a:lnTo>
                  <a:lnTo>
                    <a:pt x="140" y="30"/>
                  </a:lnTo>
                  <a:lnTo>
                    <a:pt x="140" y="30"/>
                  </a:lnTo>
                  <a:lnTo>
                    <a:pt x="126" y="24"/>
                  </a:lnTo>
                  <a:lnTo>
                    <a:pt x="124" y="22"/>
                  </a:lnTo>
                  <a:lnTo>
                    <a:pt x="124" y="22"/>
                  </a:lnTo>
                  <a:lnTo>
                    <a:pt x="124" y="22"/>
                  </a:lnTo>
                  <a:lnTo>
                    <a:pt x="124" y="18"/>
                  </a:lnTo>
                  <a:lnTo>
                    <a:pt x="120" y="16"/>
                  </a:lnTo>
                  <a:lnTo>
                    <a:pt x="120" y="16"/>
                  </a:lnTo>
                  <a:lnTo>
                    <a:pt x="116" y="12"/>
                  </a:lnTo>
                  <a:lnTo>
                    <a:pt x="116" y="10"/>
                  </a:lnTo>
                  <a:lnTo>
                    <a:pt x="118" y="8"/>
                  </a:lnTo>
                  <a:lnTo>
                    <a:pt x="118" y="6"/>
                  </a:lnTo>
                  <a:lnTo>
                    <a:pt x="114" y="4"/>
                  </a:lnTo>
                  <a:lnTo>
                    <a:pt x="114" y="4"/>
                  </a:lnTo>
                  <a:lnTo>
                    <a:pt x="110" y="2"/>
                  </a:lnTo>
                  <a:lnTo>
                    <a:pt x="106" y="0"/>
                  </a:lnTo>
                  <a:lnTo>
                    <a:pt x="104" y="0"/>
                  </a:lnTo>
                  <a:lnTo>
                    <a:pt x="104" y="0"/>
                  </a:lnTo>
                  <a:lnTo>
                    <a:pt x="96" y="6"/>
                  </a:lnTo>
                  <a:lnTo>
                    <a:pt x="92" y="8"/>
                  </a:lnTo>
                  <a:lnTo>
                    <a:pt x="92" y="8"/>
                  </a:lnTo>
                  <a:lnTo>
                    <a:pt x="90" y="6"/>
                  </a:lnTo>
                  <a:lnTo>
                    <a:pt x="90" y="6"/>
                  </a:lnTo>
                  <a:lnTo>
                    <a:pt x="90" y="6"/>
                  </a:lnTo>
                  <a:lnTo>
                    <a:pt x="88" y="4"/>
                  </a:lnTo>
                  <a:lnTo>
                    <a:pt x="80" y="4"/>
                  </a:lnTo>
                  <a:lnTo>
                    <a:pt x="72" y="4"/>
                  </a:lnTo>
                  <a:lnTo>
                    <a:pt x="68" y="2"/>
                  </a:lnTo>
                  <a:lnTo>
                    <a:pt x="68" y="2"/>
                  </a:lnTo>
                  <a:lnTo>
                    <a:pt x="66" y="4"/>
                  </a:lnTo>
                  <a:lnTo>
                    <a:pt x="66" y="6"/>
                  </a:lnTo>
                  <a:lnTo>
                    <a:pt x="68" y="10"/>
                  </a:lnTo>
                  <a:lnTo>
                    <a:pt x="70" y="14"/>
                  </a:lnTo>
                  <a:lnTo>
                    <a:pt x="68" y="14"/>
                  </a:lnTo>
                  <a:lnTo>
                    <a:pt x="64" y="14"/>
                  </a:lnTo>
                  <a:lnTo>
                    <a:pt x="64" y="14"/>
                  </a:lnTo>
                  <a:lnTo>
                    <a:pt x="58" y="16"/>
                  </a:lnTo>
                  <a:lnTo>
                    <a:pt x="56" y="18"/>
                  </a:lnTo>
                  <a:lnTo>
                    <a:pt x="56" y="20"/>
                  </a:lnTo>
                  <a:lnTo>
                    <a:pt x="52" y="22"/>
                  </a:lnTo>
                  <a:lnTo>
                    <a:pt x="52" y="22"/>
                  </a:lnTo>
                  <a:lnTo>
                    <a:pt x="50" y="26"/>
                  </a:lnTo>
                  <a:lnTo>
                    <a:pt x="50" y="28"/>
                  </a:lnTo>
                  <a:lnTo>
                    <a:pt x="52" y="28"/>
                  </a:lnTo>
                  <a:lnTo>
                    <a:pt x="52" y="32"/>
                  </a:lnTo>
                  <a:lnTo>
                    <a:pt x="52" y="32"/>
                  </a:lnTo>
                  <a:lnTo>
                    <a:pt x="50" y="34"/>
                  </a:lnTo>
                  <a:lnTo>
                    <a:pt x="46" y="34"/>
                  </a:lnTo>
                  <a:lnTo>
                    <a:pt x="42" y="34"/>
                  </a:lnTo>
                  <a:lnTo>
                    <a:pt x="40" y="36"/>
                  </a:lnTo>
                  <a:lnTo>
                    <a:pt x="40" y="36"/>
                  </a:lnTo>
                  <a:lnTo>
                    <a:pt x="36" y="38"/>
                  </a:lnTo>
                  <a:lnTo>
                    <a:pt x="34" y="38"/>
                  </a:lnTo>
                  <a:lnTo>
                    <a:pt x="32" y="40"/>
                  </a:lnTo>
                  <a:lnTo>
                    <a:pt x="30" y="44"/>
                  </a:lnTo>
                  <a:lnTo>
                    <a:pt x="30" y="44"/>
                  </a:lnTo>
                  <a:lnTo>
                    <a:pt x="30" y="48"/>
                  </a:lnTo>
                  <a:lnTo>
                    <a:pt x="30" y="50"/>
                  </a:lnTo>
                  <a:lnTo>
                    <a:pt x="32" y="52"/>
                  </a:lnTo>
                  <a:lnTo>
                    <a:pt x="32" y="54"/>
                  </a:lnTo>
                  <a:lnTo>
                    <a:pt x="32" y="54"/>
                  </a:lnTo>
                  <a:lnTo>
                    <a:pt x="30" y="54"/>
                  </a:lnTo>
                  <a:lnTo>
                    <a:pt x="28" y="54"/>
                  </a:lnTo>
                  <a:lnTo>
                    <a:pt x="26" y="54"/>
                  </a:lnTo>
                  <a:lnTo>
                    <a:pt x="22" y="54"/>
                  </a:lnTo>
                  <a:lnTo>
                    <a:pt x="22" y="54"/>
                  </a:lnTo>
                  <a:lnTo>
                    <a:pt x="16" y="56"/>
                  </a:lnTo>
                  <a:lnTo>
                    <a:pt x="12" y="56"/>
                  </a:lnTo>
                  <a:lnTo>
                    <a:pt x="8" y="54"/>
                  </a:lnTo>
                  <a:lnTo>
                    <a:pt x="0" y="52"/>
                  </a:lnTo>
                  <a:lnTo>
                    <a:pt x="0" y="52"/>
                  </a:lnTo>
                  <a:lnTo>
                    <a:pt x="2" y="56"/>
                  </a:lnTo>
                  <a:lnTo>
                    <a:pt x="4" y="62"/>
                  </a:lnTo>
                  <a:lnTo>
                    <a:pt x="4" y="62"/>
                  </a:lnTo>
                  <a:lnTo>
                    <a:pt x="8" y="64"/>
                  </a:lnTo>
                  <a:lnTo>
                    <a:pt x="10" y="68"/>
                  </a:lnTo>
                  <a:lnTo>
                    <a:pt x="10" y="72"/>
                  </a:lnTo>
                  <a:lnTo>
                    <a:pt x="4" y="76"/>
                  </a:lnTo>
                  <a:lnTo>
                    <a:pt x="4" y="76"/>
                  </a:lnTo>
                  <a:lnTo>
                    <a:pt x="0" y="78"/>
                  </a:lnTo>
                  <a:lnTo>
                    <a:pt x="0" y="82"/>
                  </a:lnTo>
                  <a:lnTo>
                    <a:pt x="4" y="86"/>
                  </a:lnTo>
                  <a:lnTo>
                    <a:pt x="6" y="96"/>
                  </a:lnTo>
                  <a:lnTo>
                    <a:pt x="6" y="96"/>
                  </a:lnTo>
                  <a:lnTo>
                    <a:pt x="12" y="92"/>
                  </a:lnTo>
                  <a:lnTo>
                    <a:pt x="14" y="92"/>
                  </a:lnTo>
                  <a:lnTo>
                    <a:pt x="16" y="94"/>
                  </a:lnTo>
                  <a:lnTo>
                    <a:pt x="26" y="90"/>
                  </a:lnTo>
                  <a:lnTo>
                    <a:pt x="26" y="90"/>
                  </a:lnTo>
                  <a:lnTo>
                    <a:pt x="36" y="88"/>
                  </a:lnTo>
                  <a:lnTo>
                    <a:pt x="44" y="88"/>
                  </a:lnTo>
                  <a:lnTo>
                    <a:pt x="58" y="92"/>
                  </a:lnTo>
                  <a:lnTo>
                    <a:pt x="70" y="96"/>
                  </a:lnTo>
                  <a:lnTo>
                    <a:pt x="76" y="98"/>
                  </a:lnTo>
                  <a:lnTo>
                    <a:pt x="84" y="96"/>
                  </a:lnTo>
                  <a:lnTo>
                    <a:pt x="84" y="96"/>
                  </a:lnTo>
                  <a:lnTo>
                    <a:pt x="92" y="92"/>
                  </a:lnTo>
                  <a:lnTo>
                    <a:pt x="94" y="94"/>
                  </a:lnTo>
                  <a:lnTo>
                    <a:pt x="94" y="94"/>
                  </a:lnTo>
                  <a:lnTo>
                    <a:pt x="96" y="96"/>
                  </a:lnTo>
                  <a:lnTo>
                    <a:pt x="100" y="96"/>
                  </a:lnTo>
                  <a:lnTo>
                    <a:pt x="100" y="96"/>
                  </a:lnTo>
                  <a:lnTo>
                    <a:pt x="106" y="94"/>
                  </a:lnTo>
                  <a:lnTo>
                    <a:pt x="106" y="94"/>
                  </a:lnTo>
                  <a:lnTo>
                    <a:pt x="108" y="96"/>
                  </a:lnTo>
                  <a:lnTo>
                    <a:pt x="112" y="92"/>
                  </a:lnTo>
                  <a:lnTo>
                    <a:pt x="112" y="92"/>
                  </a:lnTo>
                  <a:lnTo>
                    <a:pt x="116" y="88"/>
                  </a:lnTo>
                  <a:lnTo>
                    <a:pt x="118" y="88"/>
                  </a:lnTo>
                  <a:lnTo>
                    <a:pt x="120" y="90"/>
                  </a:lnTo>
                  <a:lnTo>
                    <a:pt x="126" y="90"/>
                  </a:lnTo>
                  <a:lnTo>
                    <a:pt x="126" y="90"/>
                  </a:lnTo>
                  <a:lnTo>
                    <a:pt x="132" y="90"/>
                  </a:lnTo>
                  <a:lnTo>
                    <a:pt x="138" y="92"/>
                  </a:lnTo>
                  <a:lnTo>
                    <a:pt x="142" y="92"/>
                  </a:lnTo>
                  <a:lnTo>
                    <a:pt x="144" y="90"/>
                  </a:lnTo>
                  <a:lnTo>
                    <a:pt x="144" y="88"/>
                  </a:lnTo>
                  <a:lnTo>
                    <a:pt x="144" y="88"/>
                  </a:lnTo>
                  <a:lnTo>
                    <a:pt x="142" y="82"/>
                  </a:lnTo>
                  <a:lnTo>
                    <a:pt x="140" y="76"/>
                  </a:lnTo>
                  <a:lnTo>
                    <a:pt x="140" y="72"/>
                  </a:lnTo>
                  <a:lnTo>
                    <a:pt x="142" y="70"/>
                  </a:lnTo>
                  <a:lnTo>
                    <a:pt x="146" y="70"/>
                  </a:lnTo>
                  <a:lnTo>
                    <a:pt x="154" y="70"/>
                  </a:lnTo>
                  <a:lnTo>
                    <a:pt x="154" y="7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5" name="Freeform 237"/>
            <p:cNvSpPr>
              <a:spLocks/>
            </p:cNvSpPr>
            <p:nvPr/>
          </p:nvSpPr>
          <p:spPr bwMode="auto">
            <a:xfrm>
              <a:off x="5118330" y="2200010"/>
              <a:ext cx="203729" cy="79375"/>
            </a:xfrm>
            <a:custGeom>
              <a:avLst/>
              <a:gdLst/>
              <a:ahLst/>
              <a:cxnLst>
                <a:cxn ang="0">
                  <a:pos x="0" y="2"/>
                </a:cxn>
                <a:cxn ang="0">
                  <a:pos x="10" y="6"/>
                </a:cxn>
                <a:cxn ang="0">
                  <a:pos x="28" y="16"/>
                </a:cxn>
                <a:cxn ang="0">
                  <a:pos x="36" y="20"/>
                </a:cxn>
                <a:cxn ang="0">
                  <a:pos x="44" y="22"/>
                </a:cxn>
                <a:cxn ang="0">
                  <a:pos x="46" y="26"/>
                </a:cxn>
                <a:cxn ang="0">
                  <a:pos x="50" y="30"/>
                </a:cxn>
                <a:cxn ang="0">
                  <a:pos x="54" y="38"/>
                </a:cxn>
                <a:cxn ang="0">
                  <a:pos x="54" y="48"/>
                </a:cxn>
                <a:cxn ang="0">
                  <a:pos x="62" y="48"/>
                </a:cxn>
                <a:cxn ang="0">
                  <a:pos x="78" y="52"/>
                </a:cxn>
                <a:cxn ang="0">
                  <a:pos x="88" y="50"/>
                </a:cxn>
                <a:cxn ang="0">
                  <a:pos x="92" y="50"/>
                </a:cxn>
                <a:cxn ang="0">
                  <a:pos x="90" y="56"/>
                </a:cxn>
                <a:cxn ang="0">
                  <a:pos x="94" y="60"/>
                </a:cxn>
                <a:cxn ang="0">
                  <a:pos x="100" y="60"/>
                </a:cxn>
                <a:cxn ang="0">
                  <a:pos x="128" y="58"/>
                </a:cxn>
                <a:cxn ang="0">
                  <a:pos x="138" y="58"/>
                </a:cxn>
                <a:cxn ang="0">
                  <a:pos x="148" y="60"/>
                </a:cxn>
                <a:cxn ang="0">
                  <a:pos x="154" y="60"/>
                </a:cxn>
                <a:cxn ang="0">
                  <a:pos x="152" y="54"/>
                </a:cxn>
                <a:cxn ang="0">
                  <a:pos x="150" y="46"/>
                </a:cxn>
                <a:cxn ang="0">
                  <a:pos x="128" y="32"/>
                </a:cxn>
                <a:cxn ang="0">
                  <a:pos x="116" y="24"/>
                </a:cxn>
                <a:cxn ang="0">
                  <a:pos x="108" y="22"/>
                </a:cxn>
                <a:cxn ang="0">
                  <a:pos x="94" y="24"/>
                </a:cxn>
                <a:cxn ang="0">
                  <a:pos x="78" y="18"/>
                </a:cxn>
                <a:cxn ang="0">
                  <a:pos x="72" y="14"/>
                </a:cxn>
                <a:cxn ang="0">
                  <a:pos x="54" y="10"/>
                </a:cxn>
                <a:cxn ang="0">
                  <a:pos x="24" y="4"/>
                </a:cxn>
                <a:cxn ang="0">
                  <a:pos x="14" y="0"/>
                </a:cxn>
                <a:cxn ang="0">
                  <a:pos x="2" y="2"/>
                </a:cxn>
                <a:cxn ang="0">
                  <a:pos x="0" y="2"/>
                </a:cxn>
              </a:cxnLst>
              <a:rect l="0" t="0" r="r" b="b"/>
              <a:pathLst>
                <a:path w="154" h="60">
                  <a:moveTo>
                    <a:pt x="0" y="2"/>
                  </a:moveTo>
                  <a:lnTo>
                    <a:pt x="0" y="2"/>
                  </a:lnTo>
                  <a:lnTo>
                    <a:pt x="6" y="6"/>
                  </a:lnTo>
                  <a:lnTo>
                    <a:pt x="10" y="6"/>
                  </a:lnTo>
                  <a:lnTo>
                    <a:pt x="16" y="8"/>
                  </a:lnTo>
                  <a:lnTo>
                    <a:pt x="28" y="16"/>
                  </a:lnTo>
                  <a:lnTo>
                    <a:pt x="28" y="16"/>
                  </a:lnTo>
                  <a:lnTo>
                    <a:pt x="36" y="20"/>
                  </a:lnTo>
                  <a:lnTo>
                    <a:pt x="40" y="20"/>
                  </a:lnTo>
                  <a:lnTo>
                    <a:pt x="44" y="22"/>
                  </a:lnTo>
                  <a:lnTo>
                    <a:pt x="46" y="26"/>
                  </a:lnTo>
                  <a:lnTo>
                    <a:pt x="46" y="26"/>
                  </a:lnTo>
                  <a:lnTo>
                    <a:pt x="48" y="28"/>
                  </a:lnTo>
                  <a:lnTo>
                    <a:pt x="50" y="30"/>
                  </a:lnTo>
                  <a:lnTo>
                    <a:pt x="52" y="32"/>
                  </a:lnTo>
                  <a:lnTo>
                    <a:pt x="54" y="38"/>
                  </a:lnTo>
                  <a:lnTo>
                    <a:pt x="54" y="38"/>
                  </a:lnTo>
                  <a:lnTo>
                    <a:pt x="54" y="48"/>
                  </a:lnTo>
                  <a:lnTo>
                    <a:pt x="54" y="48"/>
                  </a:lnTo>
                  <a:lnTo>
                    <a:pt x="62" y="48"/>
                  </a:lnTo>
                  <a:lnTo>
                    <a:pt x="68" y="50"/>
                  </a:lnTo>
                  <a:lnTo>
                    <a:pt x="78" y="52"/>
                  </a:lnTo>
                  <a:lnTo>
                    <a:pt x="88" y="50"/>
                  </a:lnTo>
                  <a:lnTo>
                    <a:pt x="88" y="50"/>
                  </a:lnTo>
                  <a:lnTo>
                    <a:pt x="92" y="48"/>
                  </a:lnTo>
                  <a:lnTo>
                    <a:pt x="92" y="50"/>
                  </a:lnTo>
                  <a:lnTo>
                    <a:pt x="92" y="52"/>
                  </a:lnTo>
                  <a:lnTo>
                    <a:pt x="90" y="56"/>
                  </a:lnTo>
                  <a:lnTo>
                    <a:pt x="92" y="58"/>
                  </a:lnTo>
                  <a:lnTo>
                    <a:pt x="94" y="60"/>
                  </a:lnTo>
                  <a:lnTo>
                    <a:pt x="100" y="60"/>
                  </a:lnTo>
                  <a:lnTo>
                    <a:pt x="100" y="60"/>
                  </a:lnTo>
                  <a:lnTo>
                    <a:pt x="118" y="60"/>
                  </a:lnTo>
                  <a:lnTo>
                    <a:pt x="128" y="58"/>
                  </a:lnTo>
                  <a:lnTo>
                    <a:pt x="128" y="58"/>
                  </a:lnTo>
                  <a:lnTo>
                    <a:pt x="138" y="58"/>
                  </a:lnTo>
                  <a:lnTo>
                    <a:pt x="144" y="58"/>
                  </a:lnTo>
                  <a:lnTo>
                    <a:pt x="148" y="60"/>
                  </a:lnTo>
                  <a:lnTo>
                    <a:pt x="154" y="60"/>
                  </a:lnTo>
                  <a:lnTo>
                    <a:pt x="154" y="60"/>
                  </a:lnTo>
                  <a:lnTo>
                    <a:pt x="154" y="58"/>
                  </a:lnTo>
                  <a:lnTo>
                    <a:pt x="152" y="54"/>
                  </a:lnTo>
                  <a:lnTo>
                    <a:pt x="150" y="46"/>
                  </a:lnTo>
                  <a:lnTo>
                    <a:pt x="150" y="46"/>
                  </a:lnTo>
                  <a:lnTo>
                    <a:pt x="134" y="38"/>
                  </a:lnTo>
                  <a:lnTo>
                    <a:pt x="128" y="32"/>
                  </a:lnTo>
                  <a:lnTo>
                    <a:pt x="124" y="28"/>
                  </a:lnTo>
                  <a:lnTo>
                    <a:pt x="116" y="24"/>
                  </a:lnTo>
                  <a:lnTo>
                    <a:pt x="116" y="24"/>
                  </a:lnTo>
                  <a:lnTo>
                    <a:pt x="108" y="22"/>
                  </a:lnTo>
                  <a:lnTo>
                    <a:pt x="102" y="22"/>
                  </a:lnTo>
                  <a:lnTo>
                    <a:pt x="94" y="24"/>
                  </a:lnTo>
                  <a:lnTo>
                    <a:pt x="88" y="24"/>
                  </a:lnTo>
                  <a:lnTo>
                    <a:pt x="78" y="18"/>
                  </a:lnTo>
                  <a:lnTo>
                    <a:pt x="78" y="18"/>
                  </a:lnTo>
                  <a:lnTo>
                    <a:pt x="72" y="14"/>
                  </a:lnTo>
                  <a:lnTo>
                    <a:pt x="66" y="12"/>
                  </a:lnTo>
                  <a:lnTo>
                    <a:pt x="54" y="10"/>
                  </a:lnTo>
                  <a:lnTo>
                    <a:pt x="40" y="8"/>
                  </a:lnTo>
                  <a:lnTo>
                    <a:pt x="24" y="4"/>
                  </a:lnTo>
                  <a:lnTo>
                    <a:pt x="24" y="4"/>
                  </a:lnTo>
                  <a:lnTo>
                    <a:pt x="14" y="0"/>
                  </a:lnTo>
                  <a:lnTo>
                    <a:pt x="6" y="0"/>
                  </a:lnTo>
                  <a:lnTo>
                    <a:pt x="2" y="2"/>
                  </a:lnTo>
                  <a:lnTo>
                    <a:pt x="0" y="2"/>
                  </a:lnTo>
                  <a:lnTo>
                    <a:pt x="0" y="2"/>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6" name="Freeform 239"/>
            <p:cNvSpPr>
              <a:spLocks/>
            </p:cNvSpPr>
            <p:nvPr/>
          </p:nvSpPr>
          <p:spPr bwMode="auto">
            <a:xfrm>
              <a:off x="4798184" y="2075656"/>
              <a:ext cx="79375" cy="84667"/>
            </a:xfrm>
            <a:custGeom>
              <a:avLst/>
              <a:gdLst/>
              <a:ahLst/>
              <a:cxnLst>
                <a:cxn ang="0">
                  <a:pos x="30" y="64"/>
                </a:cxn>
                <a:cxn ang="0">
                  <a:pos x="32" y="64"/>
                </a:cxn>
                <a:cxn ang="0">
                  <a:pos x="34" y="64"/>
                </a:cxn>
                <a:cxn ang="0">
                  <a:pos x="38" y="58"/>
                </a:cxn>
                <a:cxn ang="0">
                  <a:pos x="40" y="50"/>
                </a:cxn>
                <a:cxn ang="0">
                  <a:pos x="44" y="52"/>
                </a:cxn>
                <a:cxn ang="0">
                  <a:pos x="48" y="52"/>
                </a:cxn>
                <a:cxn ang="0">
                  <a:pos x="48" y="52"/>
                </a:cxn>
                <a:cxn ang="0">
                  <a:pos x="52" y="54"/>
                </a:cxn>
                <a:cxn ang="0">
                  <a:pos x="54" y="54"/>
                </a:cxn>
                <a:cxn ang="0">
                  <a:pos x="60" y="52"/>
                </a:cxn>
                <a:cxn ang="0">
                  <a:pos x="58" y="52"/>
                </a:cxn>
                <a:cxn ang="0">
                  <a:pos x="56" y="46"/>
                </a:cxn>
                <a:cxn ang="0">
                  <a:pos x="52" y="38"/>
                </a:cxn>
                <a:cxn ang="0">
                  <a:pos x="52" y="36"/>
                </a:cxn>
                <a:cxn ang="0">
                  <a:pos x="50" y="32"/>
                </a:cxn>
                <a:cxn ang="0">
                  <a:pos x="48" y="28"/>
                </a:cxn>
                <a:cxn ang="0">
                  <a:pos x="46" y="20"/>
                </a:cxn>
                <a:cxn ang="0">
                  <a:pos x="46" y="16"/>
                </a:cxn>
                <a:cxn ang="0">
                  <a:pos x="44" y="14"/>
                </a:cxn>
                <a:cxn ang="0">
                  <a:pos x="44" y="12"/>
                </a:cxn>
                <a:cxn ang="0">
                  <a:pos x="42" y="12"/>
                </a:cxn>
                <a:cxn ang="0">
                  <a:pos x="38" y="10"/>
                </a:cxn>
                <a:cxn ang="0">
                  <a:pos x="34" y="8"/>
                </a:cxn>
                <a:cxn ang="0">
                  <a:pos x="32" y="8"/>
                </a:cxn>
                <a:cxn ang="0">
                  <a:pos x="30" y="6"/>
                </a:cxn>
                <a:cxn ang="0">
                  <a:pos x="28" y="6"/>
                </a:cxn>
                <a:cxn ang="0">
                  <a:pos x="20" y="2"/>
                </a:cxn>
                <a:cxn ang="0">
                  <a:pos x="10" y="4"/>
                </a:cxn>
                <a:cxn ang="0">
                  <a:pos x="4" y="6"/>
                </a:cxn>
                <a:cxn ang="0">
                  <a:pos x="0" y="6"/>
                </a:cxn>
                <a:cxn ang="0">
                  <a:pos x="6" y="16"/>
                </a:cxn>
                <a:cxn ang="0">
                  <a:pos x="8" y="18"/>
                </a:cxn>
                <a:cxn ang="0">
                  <a:pos x="10" y="24"/>
                </a:cxn>
                <a:cxn ang="0">
                  <a:pos x="14" y="26"/>
                </a:cxn>
                <a:cxn ang="0">
                  <a:pos x="16" y="28"/>
                </a:cxn>
                <a:cxn ang="0">
                  <a:pos x="16" y="30"/>
                </a:cxn>
                <a:cxn ang="0">
                  <a:pos x="20" y="34"/>
                </a:cxn>
                <a:cxn ang="0">
                  <a:pos x="20" y="36"/>
                </a:cxn>
                <a:cxn ang="0">
                  <a:pos x="20" y="40"/>
                </a:cxn>
                <a:cxn ang="0">
                  <a:pos x="20" y="42"/>
                </a:cxn>
                <a:cxn ang="0">
                  <a:pos x="20" y="44"/>
                </a:cxn>
                <a:cxn ang="0">
                  <a:pos x="22" y="50"/>
                </a:cxn>
                <a:cxn ang="0">
                  <a:pos x="22" y="50"/>
                </a:cxn>
                <a:cxn ang="0">
                  <a:pos x="26" y="52"/>
                </a:cxn>
                <a:cxn ang="0">
                  <a:pos x="26" y="54"/>
                </a:cxn>
                <a:cxn ang="0">
                  <a:pos x="28" y="58"/>
                </a:cxn>
                <a:cxn ang="0">
                  <a:pos x="28" y="60"/>
                </a:cxn>
                <a:cxn ang="0">
                  <a:pos x="30" y="64"/>
                </a:cxn>
              </a:cxnLst>
              <a:rect l="0" t="0" r="r" b="b"/>
              <a:pathLst>
                <a:path w="60" h="64">
                  <a:moveTo>
                    <a:pt x="30" y="64"/>
                  </a:moveTo>
                  <a:lnTo>
                    <a:pt x="30" y="64"/>
                  </a:lnTo>
                  <a:lnTo>
                    <a:pt x="32" y="64"/>
                  </a:lnTo>
                  <a:lnTo>
                    <a:pt x="32" y="64"/>
                  </a:lnTo>
                  <a:lnTo>
                    <a:pt x="34" y="64"/>
                  </a:lnTo>
                  <a:lnTo>
                    <a:pt x="34" y="64"/>
                  </a:lnTo>
                  <a:lnTo>
                    <a:pt x="38" y="62"/>
                  </a:lnTo>
                  <a:lnTo>
                    <a:pt x="38" y="58"/>
                  </a:lnTo>
                  <a:lnTo>
                    <a:pt x="40" y="50"/>
                  </a:lnTo>
                  <a:lnTo>
                    <a:pt x="40" y="50"/>
                  </a:lnTo>
                  <a:lnTo>
                    <a:pt x="42" y="50"/>
                  </a:lnTo>
                  <a:lnTo>
                    <a:pt x="44" y="52"/>
                  </a:lnTo>
                  <a:lnTo>
                    <a:pt x="46" y="52"/>
                  </a:lnTo>
                  <a:lnTo>
                    <a:pt x="48" y="52"/>
                  </a:lnTo>
                  <a:lnTo>
                    <a:pt x="48" y="52"/>
                  </a:lnTo>
                  <a:lnTo>
                    <a:pt x="48" y="52"/>
                  </a:lnTo>
                  <a:lnTo>
                    <a:pt x="50" y="54"/>
                  </a:lnTo>
                  <a:lnTo>
                    <a:pt x="52" y="54"/>
                  </a:lnTo>
                  <a:lnTo>
                    <a:pt x="54" y="54"/>
                  </a:lnTo>
                  <a:lnTo>
                    <a:pt x="54" y="54"/>
                  </a:lnTo>
                  <a:lnTo>
                    <a:pt x="58" y="52"/>
                  </a:lnTo>
                  <a:lnTo>
                    <a:pt x="60" y="52"/>
                  </a:lnTo>
                  <a:lnTo>
                    <a:pt x="58" y="52"/>
                  </a:lnTo>
                  <a:lnTo>
                    <a:pt x="58" y="52"/>
                  </a:lnTo>
                  <a:lnTo>
                    <a:pt x="56" y="48"/>
                  </a:lnTo>
                  <a:lnTo>
                    <a:pt x="56" y="46"/>
                  </a:lnTo>
                  <a:lnTo>
                    <a:pt x="54" y="42"/>
                  </a:lnTo>
                  <a:lnTo>
                    <a:pt x="52" y="38"/>
                  </a:lnTo>
                  <a:lnTo>
                    <a:pt x="52" y="38"/>
                  </a:lnTo>
                  <a:lnTo>
                    <a:pt x="52" y="36"/>
                  </a:lnTo>
                  <a:lnTo>
                    <a:pt x="52" y="34"/>
                  </a:lnTo>
                  <a:lnTo>
                    <a:pt x="50" y="32"/>
                  </a:lnTo>
                  <a:lnTo>
                    <a:pt x="48" y="28"/>
                  </a:lnTo>
                  <a:lnTo>
                    <a:pt x="48" y="28"/>
                  </a:lnTo>
                  <a:lnTo>
                    <a:pt x="46" y="22"/>
                  </a:lnTo>
                  <a:lnTo>
                    <a:pt x="46" y="20"/>
                  </a:lnTo>
                  <a:lnTo>
                    <a:pt x="46" y="18"/>
                  </a:lnTo>
                  <a:lnTo>
                    <a:pt x="46" y="16"/>
                  </a:lnTo>
                  <a:lnTo>
                    <a:pt x="46" y="16"/>
                  </a:lnTo>
                  <a:lnTo>
                    <a:pt x="44" y="14"/>
                  </a:lnTo>
                  <a:lnTo>
                    <a:pt x="46" y="14"/>
                  </a:lnTo>
                  <a:lnTo>
                    <a:pt x="44" y="12"/>
                  </a:lnTo>
                  <a:lnTo>
                    <a:pt x="42" y="12"/>
                  </a:lnTo>
                  <a:lnTo>
                    <a:pt x="42" y="12"/>
                  </a:lnTo>
                  <a:lnTo>
                    <a:pt x="40" y="10"/>
                  </a:lnTo>
                  <a:lnTo>
                    <a:pt x="38" y="10"/>
                  </a:lnTo>
                  <a:lnTo>
                    <a:pt x="36" y="8"/>
                  </a:lnTo>
                  <a:lnTo>
                    <a:pt x="34" y="8"/>
                  </a:lnTo>
                  <a:lnTo>
                    <a:pt x="34" y="8"/>
                  </a:lnTo>
                  <a:lnTo>
                    <a:pt x="32" y="8"/>
                  </a:lnTo>
                  <a:lnTo>
                    <a:pt x="30" y="6"/>
                  </a:lnTo>
                  <a:lnTo>
                    <a:pt x="30" y="6"/>
                  </a:lnTo>
                  <a:lnTo>
                    <a:pt x="28" y="6"/>
                  </a:lnTo>
                  <a:lnTo>
                    <a:pt x="28" y="6"/>
                  </a:lnTo>
                  <a:lnTo>
                    <a:pt x="24" y="4"/>
                  </a:lnTo>
                  <a:lnTo>
                    <a:pt x="20" y="2"/>
                  </a:lnTo>
                  <a:lnTo>
                    <a:pt x="16" y="0"/>
                  </a:lnTo>
                  <a:lnTo>
                    <a:pt x="10" y="4"/>
                  </a:lnTo>
                  <a:lnTo>
                    <a:pt x="10" y="4"/>
                  </a:lnTo>
                  <a:lnTo>
                    <a:pt x="4" y="6"/>
                  </a:lnTo>
                  <a:lnTo>
                    <a:pt x="0" y="6"/>
                  </a:lnTo>
                  <a:lnTo>
                    <a:pt x="0" y="6"/>
                  </a:lnTo>
                  <a:lnTo>
                    <a:pt x="4" y="12"/>
                  </a:lnTo>
                  <a:lnTo>
                    <a:pt x="6" y="16"/>
                  </a:lnTo>
                  <a:lnTo>
                    <a:pt x="6" y="16"/>
                  </a:lnTo>
                  <a:lnTo>
                    <a:pt x="8" y="18"/>
                  </a:lnTo>
                  <a:lnTo>
                    <a:pt x="10" y="24"/>
                  </a:lnTo>
                  <a:lnTo>
                    <a:pt x="10" y="24"/>
                  </a:lnTo>
                  <a:lnTo>
                    <a:pt x="12" y="26"/>
                  </a:lnTo>
                  <a:lnTo>
                    <a:pt x="14" y="26"/>
                  </a:lnTo>
                  <a:lnTo>
                    <a:pt x="16" y="28"/>
                  </a:lnTo>
                  <a:lnTo>
                    <a:pt x="16" y="28"/>
                  </a:lnTo>
                  <a:lnTo>
                    <a:pt x="16" y="28"/>
                  </a:lnTo>
                  <a:lnTo>
                    <a:pt x="16" y="30"/>
                  </a:lnTo>
                  <a:lnTo>
                    <a:pt x="18" y="32"/>
                  </a:lnTo>
                  <a:lnTo>
                    <a:pt x="20" y="34"/>
                  </a:lnTo>
                  <a:lnTo>
                    <a:pt x="20" y="36"/>
                  </a:lnTo>
                  <a:lnTo>
                    <a:pt x="20" y="36"/>
                  </a:lnTo>
                  <a:lnTo>
                    <a:pt x="20" y="38"/>
                  </a:lnTo>
                  <a:lnTo>
                    <a:pt x="20" y="40"/>
                  </a:lnTo>
                  <a:lnTo>
                    <a:pt x="20" y="42"/>
                  </a:lnTo>
                  <a:lnTo>
                    <a:pt x="20" y="42"/>
                  </a:lnTo>
                  <a:lnTo>
                    <a:pt x="20" y="42"/>
                  </a:lnTo>
                  <a:lnTo>
                    <a:pt x="20" y="44"/>
                  </a:lnTo>
                  <a:lnTo>
                    <a:pt x="22" y="46"/>
                  </a:lnTo>
                  <a:lnTo>
                    <a:pt x="22" y="50"/>
                  </a:lnTo>
                  <a:lnTo>
                    <a:pt x="22" y="50"/>
                  </a:lnTo>
                  <a:lnTo>
                    <a:pt x="22" y="50"/>
                  </a:lnTo>
                  <a:lnTo>
                    <a:pt x="24" y="52"/>
                  </a:lnTo>
                  <a:lnTo>
                    <a:pt x="26" y="52"/>
                  </a:lnTo>
                  <a:lnTo>
                    <a:pt x="26" y="54"/>
                  </a:lnTo>
                  <a:lnTo>
                    <a:pt x="26" y="54"/>
                  </a:lnTo>
                  <a:lnTo>
                    <a:pt x="28" y="56"/>
                  </a:lnTo>
                  <a:lnTo>
                    <a:pt x="28" y="58"/>
                  </a:lnTo>
                  <a:lnTo>
                    <a:pt x="28" y="58"/>
                  </a:lnTo>
                  <a:lnTo>
                    <a:pt x="28" y="60"/>
                  </a:lnTo>
                  <a:lnTo>
                    <a:pt x="30" y="64"/>
                  </a:lnTo>
                  <a:lnTo>
                    <a:pt x="30" y="64"/>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7" name="Freeform 241"/>
            <p:cNvSpPr>
              <a:spLocks/>
            </p:cNvSpPr>
            <p:nvPr/>
          </p:nvSpPr>
          <p:spPr bwMode="auto">
            <a:xfrm>
              <a:off x="5065413" y="2475177"/>
              <a:ext cx="47625" cy="44979"/>
            </a:xfrm>
            <a:custGeom>
              <a:avLst/>
              <a:gdLst/>
              <a:ahLst/>
              <a:cxnLst>
                <a:cxn ang="0">
                  <a:pos x="14" y="4"/>
                </a:cxn>
                <a:cxn ang="0">
                  <a:pos x="14" y="4"/>
                </a:cxn>
                <a:cxn ang="0">
                  <a:pos x="12" y="8"/>
                </a:cxn>
                <a:cxn ang="0">
                  <a:pos x="10" y="10"/>
                </a:cxn>
                <a:cxn ang="0">
                  <a:pos x="8" y="12"/>
                </a:cxn>
                <a:cxn ang="0">
                  <a:pos x="6" y="16"/>
                </a:cxn>
                <a:cxn ang="0">
                  <a:pos x="6" y="16"/>
                </a:cxn>
                <a:cxn ang="0">
                  <a:pos x="4" y="22"/>
                </a:cxn>
                <a:cxn ang="0">
                  <a:pos x="2" y="24"/>
                </a:cxn>
                <a:cxn ang="0">
                  <a:pos x="0" y="28"/>
                </a:cxn>
                <a:cxn ang="0">
                  <a:pos x="0" y="34"/>
                </a:cxn>
                <a:cxn ang="0">
                  <a:pos x="18" y="34"/>
                </a:cxn>
                <a:cxn ang="0">
                  <a:pos x="18" y="34"/>
                </a:cxn>
                <a:cxn ang="0">
                  <a:pos x="22" y="30"/>
                </a:cxn>
                <a:cxn ang="0">
                  <a:pos x="22" y="28"/>
                </a:cxn>
                <a:cxn ang="0">
                  <a:pos x="20" y="26"/>
                </a:cxn>
                <a:cxn ang="0">
                  <a:pos x="22" y="24"/>
                </a:cxn>
                <a:cxn ang="0">
                  <a:pos x="22" y="24"/>
                </a:cxn>
                <a:cxn ang="0">
                  <a:pos x="26" y="22"/>
                </a:cxn>
                <a:cxn ang="0">
                  <a:pos x="28" y="22"/>
                </a:cxn>
                <a:cxn ang="0">
                  <a:pos x="30" y="22"/>
                </a:cxn>
                <a:cxn ang="0">
                  <a:pos x="32" y="22"/>
                </a:cxn>
                <a:cxn ang="0">
                  <a:pos x="32" y="22"/>
                </a:cxn>
                <a:cxn ang="0">
                  <a:pos x="34" y="20"/>
                </a:cxn>
                <a:cxn ang="0">
                  <a:pos x="32" y="18"/>
                </a:cxn>
                <a:cxn ang="0">
                  <a:pos x="32" y="16"/>
                </a:cxn>
                <a:cxn ang="0">
                  <a:pos x="34" y="14"/>
                </a:cxn>
                <a:cxn ang="0">
                  <a:pos x="34" y="14"/>
                </a:cxn>
                <a:cxn ang="0">
                  <a:pos x="36" y="12"/>
                </a:cxn>
                <a:cxn ang="0">
                  <a:pos x="36" y="10"/>
                </a:cxn>
                <a:cxn ang="0">
                  <a:pos x="34" y="6"/>
                </a:cxn>
                <a:cxn ang="0">
                  <a:pos x="30" y="2"/>
                </a:cxn>
                <a:cxn ang="0">
                  <a:pos x="26" y="0"/>
                </a:cxn>
                <a:cxn ang="0">
                  <a:pos x="26" y="0"/>
                </a:cxn>
                <a:cxn ang="0">
                  <a:pos x="20" y="0"/>
                </a:cxn>
                <a:cxn ang="0">
                  <a:pos x="14" y="4"/>
                </a:cxn>
                <a:cxn ang="0">
                  <a:pos x="14" y="4"/>
                </a:cxn>
              </a:cxnLst>
              <a:rect l="0" t="0" r="r" b="b"/>
              <a:pathLst>
                <a:path w="36" h="34">
                  <a:moveTo>
                    <a:pt x="14" y="4"/>
                  </a:moveTo>
                  <a:lnTo>
                    <a:pt x="14" y="4"/>
                  </a:lnTo>
                  <a:lnTo>
                    <a:pt x="12" y="8"/>
                  </a:lnTo>
                  <a:lnTo>
                    <a:pt x="10" y="10"/>
                  </a:lnTo>
                  <a:lnTo>
                    <a:pt x="8" y="12"/>
                  </a:lnTo>
                  <a:lnTo>
                    <a:pt x="6" y="16"/>
                  </a:lnTo>
                  <a:lnTo>
                    <a:pt x="6" y="16"/>
                  </a:lnTo>
                  <a:lnTo>
                    <a:pt x="4" y="22"/>
                  </a:lnTo>
                  <a:lnTo>
                    <a:pt x="2" y="24"/>
                  </a:lnTo>
                  <a:lnTo>
                    <a:pt x="0" y="28"/>
                  </a:lnTo>
                  <a:lnTo>
                    <a:pt x="0" y="34"/>
                  </a:lnTo>
                  <a:lnTo>
                    <a:pt x="18" y="34"/>
                  </a:lnTo>
                  <a:lnTo>
                    <a:pt x="18" y="34"/>
                  </a:lnTo>
                  <a:lnTo>
                    <a:pt x="22" y="30"/>
                  </a:lnTo>
                  <a:lnTo>
                    <a:pt x="22" y="28"/>
                  </a:lnTo>
                  <a:lnTo>
                    <a:pt x="20" y="26"/>
                  </a:lnTo>
                  <a:lnTo>
                    <a:pt x="22" y="24"/>
                  </a:lnTo>
                  <a:lnTo>
                    <a:pt x="22" y="24"/>
                  </a:lnTo>
                  <a:lnTo>
                    <a:pt x="26" y="22"/>
                  </a:lnTo>
                  <a:lnTo>
                    <a:pt x="28" y="22"/>
                  </a:lnTo>
                  <a:lnTo>
                    <a:pt x="30" y="22"/>
                  </a:lnTo>
                  <a:lnTo>
                    <a:pt x="32" y="22"/>
                  </a:lnTo>
                  <a:lnTo>
                    <a:pt x="32" y="22"/>
                  </a:lnTo>
                  <a:lnTo>
                    <a:pt x="34" y="20"/>
                  </a:lnTo>
                  <a:lnTo>
                    <a:pt x="32" y="18"/>
                  </a:lnTo>
                  <a:lnTo>
                    <a:pt x="32" y="16"/>
                  </a:lnTo>
                  <a:lnTo>
                    <a:pt x="34" y="14"/>
                  </a:lnTo>
                  <a:lnTo>
                    <a:pt x="34" y="14"/>
                  </a:lnTo>
                  <a:lnTo>
                    <a:pt x="36" y="12"/>
                  </a:lnTo>
                  <a:lnTo>
                    <a:pt x="36" y="10"/>
                  </a:lnTo>
                  <a:lnTo>
                    <a:pt x="34" y="6"/>
                  </a:lnTo>
                  <a:lnTo>
                    <a:pt x="30" y="2"/>
                  </a:lnTo>
                  <a:lnTo>
                    <a:pt x="26" y="0"/>
                  </a:lnTo>
                  <a:lnTo>
                    <a:pt x="26" y="0"/>
                  </a:lnTo>
                  <a:lnTo>
                    <a:pt x="20" y="0"/>
                  </a:lnTo>
                  <a:lnTo>
                    <a:pt x="14" y="4"/>
                  </a:lnTo>
                  <a:lnTo>
                    <a:pt x="14" y="4"/>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8" name="Freeform 242"/>
            <p:cNvSpPr>
              <a:spLocks/>
            </p:cNvSpPr>
            <p:nvPr/>
          </p:nvSpPr>
          <p:spPr bwMode="auto">
            <a:xfrm>
              <a:off x="4800830" y="2255573"/>
              <a:ext cx="79375" cy="55563"/>
            </a:xfrm>
            <a:custGeom>
              <a:avLst/>
              <a:gdLst/>
              <a:ahLst/>
              <a:cxnLst>
                <a:cxn ang="0">
                  <a:pos x="0" y="28"/>
                </a:cxn>
                <a:cxn ang="0">
                  <a:pos x="2" y="28"/>
                </a:cxn>
                <a:cxn ang="0">
                  <a:pos x="6" y="30"/>
                </a:cxn>
                <a:cxn ang="0">
                  <a:pos x="8" y="36"/>
                </a:cxn>
                <a:cxn ang="0">
                  <a:pos x="10" y="36"/>
                </a:cxn>
                <a:cxn ang="0">
                  <a:pos x="20" y="30"/>
                </a:cxn>
                <a:cxn ang="0">
                  <a:pos x="24" y="30"/>
                </a:cxn>
                <a:cxn ang="0">
                  <a:pos x="24" y="32"/>
                </a:cxn>
                <a:cxn ang="0">
                  <a:pos x="22" y="32"/>
                </a:cxn>
                <a:cxn ang="0">
                  <a:pos x="12" y="40"/>
                </a:cxn>
                <a:cxn ang="0">
                  <a:pos x="10" y="42"/>
                </a:cxn>
                <a:cxn ang="0">
                  <a:pos x="18" y="40"/>
                </a:cxn>
                <a:cxn ang="0">
                  <a:pos x="30" y="32"/>
                </a:cxn>
                <a:cxn ang="0">
                  <a:pos x="32" y="30"/>
                </a:cxn>
                <a:cxn ang="0">
                  <a:pos x="34" y="28"/>
                </a:cxn>
                <a:cxn ang="0">
                  <a:pos x="34" y="26"/>
                </a:cxn>
                <a:cxn ang="0">
                  <a:pos x="38" y="24"/>
                </a:cxn>
                <a:cxn ang="0">
                  <a:pos x="42" y="20"/>
                </a:cxn>
                <a:cxn ang="0">
                  <a:pos x="44" y="22"/>
                </a:cxn>
                <a:cxn ang="0">
                  <a:pos x="48" y="24"/>
                </a:cxn>
                <a:cxn ang="0">
                  <a:pos x="50" y="22"/>
                </a:cxn>
                <a:cxn ang="0">
                  <a:pos x="56" y="22"/>
                </a:cxn>
                <a:cxn ang="0">
                  <a:pos x="60" y="18"/>
                </a:cxn>
                <a:cxn ang="0">
                  <a:pos x="60" y="18"/>
                </a:cxn>
                <a:cxn ang="0">
                  <a:pos x="52" y="14"/>
                </a:cxn>
                <a:cxn ang="0">
                  <a:pos x="42" y="8"/>
                </a:cxn>
                <a:cxn ang="0">
                  <a:pos x="36" y="2"/>
                </a:cxn>
                <a:cxn ang="0">
                  <a:pos x="18" y="0"/>
                </a:cxn>
                <a:cxn ang="0">
                  <a:pos x="16" y="0"/>
                </a:cxn>
                <a:cxn ang="0">
                  <a:pos x="8" y="4"/>
                </a:cxn>
                <a:cxn ang="0">
                  <a:pos x="4" y="4"/>
                </a:cxn>
                <a:cxn ang="0">
                  <a:pos x="2" y="8"/>
                </a:cxn>
                <a:cxn ang="0">
                  <a:pos x="6" y="10"/>
                </a:cxn>
                <a:cxn ang="0">
                  <a:pos x="6" y="12"/>
                </a:cxn>
                <a:cxn ang="0">
                  <a:pos x="4" y="16"/>
                </a:cxn>
                <a:cxn ang="0">
                  <a:pos x="0" y="18"/>
                </a:cxn>
                <a:cxn ang="0">
                  <a:pos x="2" y="22"/>
                </a:cxn>
                <a:cxn ang="0">
                  <a:pos x="0" y="28"/>
                </a:cxn>
              </a:cxnLst>
              <a:rect l="0" t="0" r="r" b="b"/>
              <a:pathLst>
                <a:path w="60" h="42">
                  <a:moveTo>
                    <a:pt x="0" y="28"/>
                  </a:moveTo>
                  <a:lnTo>
                    <a:pt x="0" y="28"/>
                  </a:lnTo>
                  <a:lnTo>
                    <a:pt x="0" y="28"/>
                  </a:lnTo>
                  <a:lnTo>
                    <a:pt x="2" y="28"/>
                  </a:lnTo>
                  <a:lnTo>
                    <a:pt x="6" y="30"/>
                  </a:lnTo>
                  <a:lnTo>
                    <a:pt x="6" y="30"/>
                  </a:lnTo>
                  <a:lnTo>
                    <a:pt x="6" y="34"/>
                  </a:lnTo>
                  <a:lnTo>
                    <a:pt x="8" y="36"/>
                  </a:lnTo>
                  <a:lnTo>
                    <a:pt x="10" y="36"/>
                  </a:lnTo>
                  <a:lnTo>
                    <a:pt x="10" y="36"/>
                  </a:lnTo>
                  <a:lnTo>
                    <a:pt x="14" y="34"/>
                  </a:lnTo>
                  <a:lnTo>
                    <a:pt x="20" y="30"/>
                  </a:lnTo>
                  <a:lnTo>
                    <a:pt x="20" y="30"/>
                  </a:lnTo>
                  <a:lnTo>
                    <a:pt x="24" y="30"/>
                  </a:lnTo>
                  <a:lnTo>
                    <a:pt x="24" y="30"/>
                  </a:lnTo>
                  <a:lnTo>
                    <a:pt x="24" y="32"/>
                  </a:lnTo>
                  <a:lnTo>
                    <a:pt x="22" y="32"/>
                  </a:lnTo>
                  <a:lnTo>
                    <a:pt x="22" y="32"/>
                  </a:lnTo>
                  <a:lnTo>
                    <a:pt x="16" y="34"/>
                  </a:lnTo>
                  <a:lnTo>
                    <a:pt x="12" y="40"/>
                  </a:lnTo>
                  <a:lnTo>
                    <a:pt x="12" y="40"/>
                  </a:lnTo>
                  <a:lnTo>
                    <a:pt x="10" y="42"/>
                  </a:lnTo>
                  <a:lnTo>
                    <a:pt x="12" y="42"/>
                  </a:lnTo>
                  <a:lnTo>
                    <a:pt x="18" y="40"/>
                  </a:lnTo>
                  <a:lnTo>
                    <a:pt x="18" y="40"/>
                  </a:lnTo>
                  <a:lnTo>
                    <a:pt x="30" y="32"/>
                  </a:lnTo>
                  <a:lnTo>
                    <a:pt x="30" y="32"/>
                  </a:lnTo>
                  <a:lnTo>
                    <a:pt x="32" y="30"/>
                  </a:lnTo>
                  <a:lnTo>
                    <a:pt x="32" y="28"/>
                  </a:lnTo>
                  <a:lnTo>
                    <a:pt x="34" y="28"/>
                  </a:lnTo>
                  <a:lnTo>
                    <a:pt x="34" y="26"/>
                  </a:lnTo>
                  <a:lnTo>
                    <a:pt x="34" y="26"/>
                  </a:lnTo>
                  <a:lnTo>
                    <a:pt x="36" y="26"/>
                  </a:lnTo>
                  <a:lnTo>
                    <a:pt x="38" y="24"/>
                  </a:lnTo>
                  <a:lnTo>
                    <a:pt x="38" y="22"/>
                  </a:lnTo>
                  <a:lnTo>
                    <a:pt x="42" y="20"/>
                  </a:lnTo>
                  <a:lnTo>
                    <a:pt x="42" y="20"/>
                  </a:lnTo>
                  <a:lnTo>
                    <a:pt x="44" y="22"/>
                  </a:lnTo>
                  <a:lnTo>
                    <a:pt x="46" y="22"/>
                  </a:lnTo>
                  <a:lnTo>
                    <a:pt x="48" y="24"/>
                  </a:lnTo>
                  <a:lnTo>
                    <a:pt x="50" y="22"/>
                  </a:lnTo>
                  <a:lnTo>
                    <a:pt x="50" y="22"/>
                  </a:lnTo>
                  <a:lnTo>
                    <a:pt x="52" y="22"/>
                  </a:lnTo>
                  <a:lnTo>
                    <a:pt x="56" y="22"/>
                  </a:lnTo>
                  <a:lnTo>
                    <a:pt x="58" y="22"/>
                  </a:lnTo>
                  <a:lnTo>
                    <a:pt x="60" y="18"/>
                  </a:lnTo>
                  <a:lnTo>
                    <a:pt x="60" y="18"/>
                  </a:lnTo>
                  <a:lnTo>
                    <a:pt x="60" y="18"/>
                  </a:lnTo>
                  <a:lnTo>
                    <a:pt x="58" y="18"/>
                  </a:lnTo>
                  <a:lnTo>
                    <a:pt x="52" y="14"/>
                  </a:lnTo>
                  <a:lnTo>
                    <a:pt x="52" y="14"/>
                  </a:lnTo>
                  <a:lnTo>
                    <a:pt x="42" y="8"/>
                  </a:lnTo>
                  <a:lnTo>
                    <a:pt x="36" y="2"/>
                  </a:lnTo>
                  <a:lnTo>
                    <a:pt x="36" y="2"/>
                  </a:lnTo>
                  <a:lnTo>
                    <a:pt x="26" y="2"/>
                  </a:lnTo>
                  <a:lnTo>
                    <a:pt x="18" y="0"/>
                  </a:lnTo>
                  <a:lnTo>
                    <a:pt x="18" y="0"/>
                  </a:lnTo>
                  <a:lnTo>
                    <a:pt x="16" y="0"/>
                  </a:lnTo>
                  <a:lnTo>
                    <a:pt x="12" y="0"/>
                  </a:lnTo>
                  <a:lnTo>
                    <a:pt x="8" y="4"/>
                  </a:lnTo>
                  <a:lnTo>
                    <a:pt x="8" y="4"/>
                  </a:lnTo>
                  <a:lnTo>
                    <a:pt x="4" y="4"/>
                  </a:lnTo>
                  <a:lnTo>
                    <a:pt x="2" y="8"/>
                  </a:lnTo>
                  <a:lnTo>
                    <a:pt x="2" y="8"/>
                  </a:lnTo>
                  <a:lnTo>
                    <a:pt x="6" y="10"/>
                  </a:lnTo>
                  <a:lnTo>
                    <a:pt x="6" y="10"/>
                  </a:lnTo>
                  <a:lnTo>
                    <a:pt x="6" y="12"/>
                  </a:lnTo>
                  <a:lnTo>
                    <a:pt x="6" y="12"/>
                  </a:lnTo>
                  <a:lnTo>
                    <a:pt x="4" y="14"/>
                  </a:lnTo>
                  <a:lnTo>
                    <a:pt x="4" y="16"/>
                  </a:lnTo>
                  <a:lnTo>
                    <a:pt x="2" y="16"/>
                  </a:lnTo>
                  <a:lnTo>
                    <a:pt x="0" y="18"/>
                  </a:lnTo>
                  <a:lnTo>
                    <a:pt x="0" y="18"/>
                  </a:lnTo>
                  <a:lnTo>
                    <a:pt x="2" y="22"/>
                  </a:lnTo>
                  <a:lnTo>
                    <a:pt x="2" y="24"/>
                  </a:lnTo>
                  <a:lnTo>
                    <a:pt x="0" y="28"/>
                  </a:lnTo>
                  <a:lnTo>
                    <a:pt x="0" y="2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9" name="Freeform 243"/>
            <p:cNvSpPr>
              <a:spLocks/>
            </p:cNvSpPr>
            <p:nvPr/>
          </p:nvSpPr>
          <p:spPr bwMode="auto">
            <a:xfrm>
              <a:off x="5070705" y="2387865"/>
              <a:ext cx="169333" cy="148167"/>
            </a:xfrm>
            <a:custGeom>
              <a:avLst/>
              <a:gdLst/>
              <a:ahLst/>
              <a:cxnLst>
                <a:cxn ang="0">
                  <a:pos x="2" y="32"/>
                </a:cxn>
                <a:cxn ang="0">
                  <a:pos x="0" y="36"/>
                </a:cxn>
                <a:cxn ang="0">
                  <a:pos x="4" y="42"/>
                </a:cxn>
                <a:cxn ang="0">
                  <a:pos x="8" y="46"/>
                </a:cxn>
                <a:cxn ang="0">
                  <a:pos x="6" y="52"/>
                </a:cxn>
                <a:cxn ang="0">
                  <a:pos x="6" y="62"/>
                </a:cxn>
                <a:cxn ang="0">
                  <a:pos x="10" y="70"/>
                </a:cxn>
                <a:cxn ang="0">
                  <a:pos x="22" y="66"/>
                </a:cxn>
                <a:cxn ang="0">
                  <a:pos x="26" y="68"/>
                </a:cxn>
                <a:cxn ang="0">
                  <a:pos x="32" y="76"/>
                </a:cxn>
                <a:cxn ang="0">
                  <a:pos x="30" y="80"/>
                </a:cxn>
                <a:cxn ang="0">
                  <a:pos x="28" y="82"/>
                </a:cxn>
                <a:cxn ang="0">
                  <a:pos x="30" y="86"/>
                </a:cxn>
                <a:cxn ang="0">
                  <a:pos x="28" y="88"/>
                </a:cxn>
                <a:cxn ang="0">
                  <a:pos x="24" y="88"/>
                </a:cxn>
                <a:cxn ang="0">
                  <a:pos x="18" y="90"/>
                </a:cxn>
                <a:cxn ang="0">
                  <a:pos x="16" y="92"/>
                </a:cxn>
                <a:cxn ang="0">
                  <a:pos x="18" y="96"/>
                </a:cxn>
                <a:cxn ang="0">
                  <a:pos x="12" y="106"/>
                </a:cxn>
                <a:cxn ang="0">
                  <a:pos x="26" y="112"/>
                </a:cxn>
                <a:cxn ang="0">
                  <a:pos x="34" y="110"/>
                </a:cxn>
                <a:cxn ang="0">
                  <a:pos x="66" y="90"/>
                </a:cxn>
                <a:cxn ang="0">
                  <a:pos x="110" y="62"/>
                </a:cxn>
                <a:cxn ang="0">
                  <a:pos x="116" y="58"/>
                </a:cxn>
                <a:cxn ang="0">
                  <a:pos x="114" y="50"/>
                </a:cxn>
                <a:cxn ang="0">
                  <a:pos x="114" y="40"/>
                </a:cxn>
                <a:cxn ang="0">
                  <a:pos x="114" y="30"/>
                </a:cxn>
                <a:cxn ang="0">
                  <a:pos x="112" y="20"/>
                </a:cxn>
                <a:cxn ang="0">
                  <a:pos x="116" y="14"/>
                </a:cxn>
                <a:cxn ang="0">
                  <a:pos x="128" y="4"/>
                </a:cxn>
                <a:cxn ang="0">
                  <a:pos x="124" y="0"/>
                </a:cxn>
                <a:cxn ang="0">
                  <a:pos x="116" y="2"/>
                </a:cxn>
                <a:cxn ang="0">
                  <a:pos x="106" y="4"/>
                </a:cxn>
                <a:cxn ang="0">
                  <a:pos x="86" y="6"/>
                </a:cxn>
                <a:cxn ang="0">
                  <a:pos x="66" y="14"/>
                </a:cxn>
                <a:cxn ang="0">
                  <a:pos x="50" y="14"/>
                </a:cxn>
                <a:cxn ang="0">
                  <a:pos x="42" y="12"/>
                </a:cxn>
                <a:cxn ang="0">
                  <a:pos x="26" y="16"/>
                </a:cxn>
                <a:cxn ang="0">
                  <a:pos x="14" y="14"/>
                </a:cxn>
                <a:cxn ang="0">
                  <a:pos x="14" y="24"/>
                </a:cxn>
                <a:cxn ang="0">
                  <a:pos x="16" y="30"/>
                </a:cxn>
                <a:cxn ang="0">
                  <a:pos x="2" y="32"/>
                </a:cxn>
              </a:cxnLst>
              <a:rect l="0" t="0" r="r" b="b"/>
              <a:pathLst>
                <a:path w="128" h="112">
                  <a:moveTo>
                    <a:pt x="2" y="32"/>
                  </a:moveTo>
                  <a:lnTo>
                    <a:pt x="2" y="32"/>
                  </a:lnTo>
                  <a:lnTo>
                    <a:pt x="2" y="36"/>
                  </a:lnTo>
                  <a:lnTo>
                    <a:pt x="0" y="36"/>
                  </a:lnTo>
                  <a:lnTo>
                    <a:pt x="0" y="38"/>
                  </a:lnTo>
                  <a:lnTo>
                    <a:pt x="4" y="42"/>
                  </a:lnTo>
                  <a:lnTo>
                    <a:pt x="4" y="42"/>
                  </a:lnTo>
                  <a:lnTo>
                    <a:pt x="8" y="46"/>
                  </a:lnTo>
                  <a:lnTo>
                    <a:pt x="6" y="48"/>
                  </a:lnTo>
                  <a:lnTo>
                    <a:pt x="6" y="52"/>
                  </a:lnTo>
                  <a:lnTo>
                    <a:pt x="6" y="56"/>
                  </a:lnTo>
                  <a:lnTo>
                    <a:pt x="6" y="62"/>
                  </a:lnTo>
                  <a:lnTo>
                    <a:pt x="10" y="70"/>
                  </a:lnTo>
                  <a:lnTo>
                    <a:pt x="10" y="70"/>
                  </a:lnTo>
                  <a:lnTo>
                    <a:pt x="16" y="66"/>
                  </a:lnTo>
                  <a:lnTo>
                    <a:pt x="22" y="66"/>
                  </a:lnTo>
                  <a:lnTo>
                    <a:pt x="22" y="66"/>
                  </a:lnTo>
                  <a:lnTo>
                    <a:pt x="26" y="68"/>
                  </a:lnTo>
                  <a:lnTo>
                    <a:pt x="30" y="72"/>
                  </a:lnTo>
                  <a:lnTo>
                    <a:pt x="32" y="76"/>
                  </a:lnTo>
                  <a:lnTo>
                    <a:pt x="32" y="78"/>
                  </a:lnTo>
                  <a:lnTo>
                    <a:pt x="30" y="80"/>
                  </a:lnTo>
                  <a:lnTo>
                    <a:pt x="30" y="80"/>
                  </a:lnTo>
                  <a:lnTo>
                    <a:pt x="28" y="82"/>
                  </a:lnTo>
                  <a:lnTo>
                    <a:pt x="28" y="84"/>
                  </a:lnTo>
                  <a:lnTo>
                    <a:pt x="30" y="86"/>
                  </a:lnTo>
                  <a:lnTo>
                    <a:pt x="28" y="88"/>
                  </a:lnTo>
                  <a:lnTo>
                    <a:pt x="28" y="88"/>
                  </a:lnTo>
                  <a:lnTo>
                    <a:pt x="26" y="88"/>
                  </a:lnTo>
                  <a:lnTo>
                    <a:pt x="24" y="88"/>
                  </a:lnTo>
                  <a:lnTo>
                    <a:pt x="22" y="88"/>
                  </a:lnTo>
                  <a:lnTo>
                    <a:pt x="18" y="90"/>
                  </a:lnTo>
                  <a:lnTo>
                    <a:pt x="18" y="90"/>
                  </a:lnTo>
                  <a:lnTo>
                    <a:pt x="16" y="92"/>
                  </a:lnTo>
                  <a:lnTo>
                    <a:pt x="18" y="94"/>
                  </a:lnTo>
                  <a:lnTo>
                    <a:pt x="18" y="96"/>
                  </a:lnTo>
                  <a:lnTo>
                    <a:pt x="14" y="100"/>
                  </a:lnTo>
                  <a:lnTo>
                    <a:pt x="12" y="106"/>
                  </a:lnTo>
                  <a:lnTo>
                    <a:pt x="12" y="106"/>
                  </a:lnTo>
                  <a:lnTo>
                    <a:pt x="26" y="112"/>
                  </a:lnTo>
                  <a:lnTo>
                    <a:pt x="30" y="112"/>
                  </a:lnTo>
                  <a:lnTo>
                    <a:pt x="34" y="110"/>
                  </a:lnTo>
                  <a:lnTo>
                    <a:pt x="34" y="110"/>
                  </a:lnTo>
                  <a:lnTo>
                    <a:pt x="66" y="90"/>
                  </a:lnTo>
                  <a:lnTo>
                    <a:pt x="66" y="90"/>
                  </a:lnTo>
                  <a:lnTo>
                    <a:pt x="110" y="62"/>
                  </a:lnTo>
                  <a:lnTo>
                    <a:pt x="110" y="62"/>
                  </a:lnTo>
                  <a:lnTo>
                    <a:pt x="116" y="58"/>
                  </a:lnTo>
                  <a:lnTo>
                    <a:pt x="116" y="56"/>
                  </a:lnTo>
                  <a:lnTo>
                    <a:pt x="114" y="50"/>
                  </a:lnTo>
                  <a:lnTo>
                    <a:pt x="114" y="40"/>
                  </a:lnTo>
                  <a:lnTo>
                    <a:pt x="114" y="40"/>
                  </a:lnTo>
                  <a:lnTo>
                    <a:pt x="116" y="34"/>
                  </a:lnTo>
                  <a:lnTo>
                    <a:pt x="114" y="30"/>
                  </a:lnTo>
                  <a:lnTo>
                    <a:pt x="112" y="24"/>
                  </a:lnTo>
                  <a:lnTo>
                    <a:pt x="112" y="20"/>
                  </a:lnTo>
                  <a:lnTo>
                    <a:pt x="116" y="14"/>
                  </a:lnTo>
                  <a:lnTo>
                    <a:pt x="116" y="14"/>
                  </a:lnTo>
                  <a:lnTo>
                    <a:pt x="122" y="10"/>
                  </a:lnTo>
                  <a:lnTo>
                    <a:pt x="128" y="4"/>
                  </a:lnTo>
                  <a:lnTo>
                    <a:pt x="128" y="4"/>
                  </a:lnTo>
                  <a:lnTo>
                    <a:pt x="124" y="0"/>
                  </a:lnTo>
                  <a:lnTo>
                    <a:pt x="120" y="0"/>
                  </a:lnTo>
                  <a:lnTo>
                    <a:pt x="116" y="2"/>
                  </a:lnTo>
                  <a:lnTo>
                    <a:pt x="106" y="4"/>
                  </a:lnTo>
                  <a:lnTo>
                    <a:pt x="106" y="4"/>
                  </a:lnTo>
                  <a:lnTo>
                    <a:pt x="96" y="4"/>
                  </a:lnTo>
                  <a:lnTo>
                    <a:pt x="86" y="6"/>
                  </a:lnTo>
                  <a:lnTo>
                    <a:pt x="72" y="12"/>
                  </a:lnTo>
                  <a:lnTo>
                    <a:pt x="66" y="14"/>
                  </a:lnTo>
                  <a:lnTo>
                    <a:pt x="58" y="14"/>
                  </a:lnTo>
                  <a:lnTo>
                    <a:pt x="50" y="14"/>
                  </a:lnTo>
                  <a:lnTo>
                    <a:pt x="42" y="12"/>
                  </a:lnTo>
                  <a:lnTo>
                    <a:pt x="42" y="12"/>
                  </a:lnTo>
                  <a:lnTo>
                    <a:pt x="34" y="16"/>
                  </a:lnTo>
                  <a:lnTo>
                    <a:pt x="26" y="16"/>
                  </a:lnTo>
                  <a:lnTo>
                    <a:pt x="20" y="16"/>
                  </a:lnTo>
                  <a:lnTo>
                    <a:pt x="14" y="14"/>
                  </a:lnTo>
                  <a:lnTo>
                    <a:pt x="14" y="14"/>
                  </a:lnTo>
                  <a:lnTo>
                    <a:pt x="14" y="24"/>
                  </a:lnTo>
                  <a:lnTo>
                    <a:pt x="16" y="30"/>
                  </a:lnTo>
                  <a:lnTo>
                    <a:pt x="16" y="30"/>
                  </a:lnTo>
                  <a:lnTo>
                    <a:pt x="10" y="34"/>
                  </a:lnTo>
                  <a:lnTo>
                    <a:pt x="2" y="32"/>
                  </a:lnTo>
                  <a:lnTo>
                    <a:pt x="2" y="32"/>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0" name="Jordan"/>
            <p:cNvSpPr>
              <a:spLocks/>
            </p:cNvSpPr>
            <p:nvPr/>
          </p:nvSpPr>
          <p:spPr bwMode="auto">
            <a:xfrm>
              <a:off x="5065413" y="2506927"/>
              <a:ext cx="108479" cy="137583"/>
            </a:xfrm>
            <a:custGeom>
              <a:avLst/>
              <a:gdLst/>
              <a:ahLst/>
              <a:cxnLst>
                <a:cxn ang="0">
                  <a:pos x="70" y="0"/>
                </a:cxn>
                <a:cxn ang="0">
                  <a:pos x="80" y="26"/>
                </a:cxn>
                <a:cxn ang="0">
                  <a:pos x="82" y="32"/>
                </a:cxn>
                <a:cxn ang="0">
                  <a:pos x="72" y="38"/>
                </a:cxn>
                <a:cxn ang="0">
                  <a:pos x="66" y="70"/>
                </a:cxn>
                <a:cxn ang="0">
                  <a:pos x="58" y="74"/>
                </a:cxn>
                <a:cxn ang="0">
                  <a:pos x="52" y="82"/>
                </a:cxn>
                <a:cxn ang="0">
                  <a:pos x="46" y="84"/>
                </a:cxn>
                <a:cxn ang="0">
                  <a:pos x="38" y="88"/>
                </a:cxn>
                <a:cxn ang="0">
                  <a:pos x="32" y="100"/>
                </a:cxn>
                <a:cxn ang="0">
                  <a:pos x="28" y="104"/>
                </a:cxn>
                <a:cxn ang="0">
                  <a:pos x="26" y="104"/>
                </a:cxn>
                <a:cxn ang="0">
                  <a:pos x="18" y="96"/>
                </a:cxn>
                <a:cxn ang="0">
                  <a:pos x="10" y="90"/>
                </a:cxn>
                <a:cxn ang="0">
                  <a:pos x="8" y="90"/>
                </a:cxn>
                <a:cxn ang="0">
                  <a:pos x="12" y="56"/>
                </a:cxn>
                <a:cxn ang="0">
                  <a:pos x="12" y="50"/>
                </a:cxn>
                <a:cxn ang="0">
                  <a:pos x="8" y="48"/>
                </a:cxn>
                <a:cxn ang="0">
                  <a:pos x="2" y="50"/>
                </a:cxn>
                <a:cxn ang="0">
                  <a:pos x="0" y="50"/>
                </a:cxn>
                <a:cxn ang="0">
                  <a:pos x="4" y="44"/>
                </a:cxn>
                <a:cxn ang="0">
                  <a:pos x="4" y="38"/>
                </a:cxn>
                <a:cxn ang="0">
                  <a:pos x="2" y="36"/>
                </a:cxn>
                <a:cxn ang="0">
                  <a:pos x="0" y="28"/>
                </a:cxn>
                <a:cxn ang="0">
                  <a:pos x="2" y="20"/>
                </a:cxn>
                <a:cxn ang="0">
                  <a:pos x="4" y="18"/>
                </a:cxn>
                <a:cxn ang="0">
                  <a:pos x="8" y="20"/>
                </a:cxn>
                <a:cxn ang="0">
                  <a:pos x="10" y="22"/>
                </a:cxn>
                <a:cxn ang="0">
                  <a:pos x="12" y="20"/>
                </a:cxn>
                <a:cxn ang="0">
                  <a:pos x="12" y="16"/>
                </a:cxn>
                <a:cxn ang="0">
                  <a:pos x="16" y="16"/>
                </a:cxn>
                <a:cxn ang="0">
                  <a:pos x="34" y="22"/>
                </a:cxn>
                <a:cxn ang="0">
                  <a:pos x="38" y="20"/>
                </a:cxn>
                <a:cxn ang="0">
                  <a:pos x="70" y="0"/>
                </a:cxn>
              </a:cxnLst>
              <a:rect l="0" t="0" r="r" b="b"/>
              <a:pathLst>
                <a:path w="82" h="104">
                  <a:moveTo>
                    <a:pt x="70" y="0"/>
                  </a:moveTo>
                  <a:lnTo>
                    <a:pt x="70" y="0"/>
                  </a:lnTo>
                  <a:lnTo>
                    <a:pt x="78" y="18"/>
                  </a:lnTo>
                  <a:lnTo>
                    <a:pt x="80" y="26"/>
                  </a:lnTo>
                  <a:lnTo>
                    <a:pt x="82" y="32"/>
                  </a:lnTo>
                  <a:lnTo>
                    <a:pt x="82" y="32"/>
                  </a:lnTo>
                  <a:lnTo>
                    <a:pt x="78" y="36"/>
                  </a:lnTo>
                  <a:lnTo>
                    <a:pt x="72" y="38"/>
                  </a:lnTo>
                  <a:lnTo>
                    <a:pt x="42" y="42"/>
                  </a:lnTo>
                  <a:lnTo>
                    <a:pt x="66" y="70"/>
                  </a:lnTo>
                  <a:lnTo>
                    <a:pt x="66" y="70"/>
                  </a:lnTo>
                  <a:lnTo>
                    <a:pt x="58" y="74"/>
                  </a:lnTo>
                  <a:lnTo>
                    <a:pt x="56" y="80"/>
                  </a:lnTo>
                  <a:lnTo>
                    <a:pt x="52" y="82"/>
                  </a:lnTo>
                  <a:lnTo>
                    <a:pt x="46" y="84"/>
                  </a:lnTo>
                  <a:lnTo>
                    <a:pt x="46" y="84"/>
                  </a:lnTo>
                  <a:lnTo>
                    <a:pt x="42" y="86"/>
                  </a:lnTo>
                  <a:lnTo>
                    <a:pt x="38" y="88"/>
                  </a:lnTo>
                  <a:lnTo>
                    <a:pt x="34" y="94"/>
                  </a:lnTo>
                  <a:lnTo>
                    <a:pt x="32" y="100"/>
                  </a:lnTo>
                  <a:lnTo>
                    <a:pt x="30" y="102"/>
                  </a:lnTo>
                  <a:lnTo>
                    <a:pt x="28" y="104"/>
                  </a:lnTo>
                  <a:lnTo>
                    <a:pt x="28" y="104"/>
                  </a:lnTo>
                  <a:lnTo>
                    <a:pt x="26" y="104"/>
                  </a:lnTo>
                  <a:lnTo>
                    <a:pt x="24" y="102"/>
                  </a:lnTo>
                  <a:lnTo>
                    <a:pt x="18" y="96"/>
                  </a:lnTo>
                  <a:lnTo>
                    <a:pt x="14" y="92"/>
                  </a:lnTo>
                  <a:lnTo>
                    <a:pt x="10" y="90"/>
                  </a:lnTo>
                  <a:lnTo>
                    <a:pt x="8" y="90"/>
                  </a:lnTo>
                  <a:lnTo>
                    <a:pt x="8" y="90"/>
                  </a:lnTo>
                  <a:lnTo>
                    <a:pt x="10" y="74"/>
                  </a:lnTo>
                  <a:lnTo>
                    <a:pt x="12" y="56"/>
                  </a:lnTo>
                  <a:lnTo>
                    <a:pt x="12" y="56"/>
                  </a:lnTo>
                  <a:lnTo>
                    <a:pt x="12" y="50"/>
                  </a:lnTo>
                  <a:lnTo>
                    <a:pt x="10" y="48"/>
                  </a:lnTo>
                  <a:lnTo>
                    <a:pt x="8" y="48"/>
                  </a:lnTo>
                  <a:lnTo>
                    <a:pt x="4" y="50"/>
                  </a:lnTo>
                  <a:lnTo>
                    <a:pt x="2" y="50"/>
                  </a:lnTo>
                  <a:lnTo>
                    <a:pt x="0" y="50"/>
                  </a:lnTo>
                  <a:lnTo>
                    <a:pt x="0" y="50"/>
                  </a:lnTo>
                  <a:lnTo>
                    <a:pt x="0" y="46"/>
                  </a:lnTo>
                  <a:lnTo>
                    <a:pt x="4" y="44"/>
                  </a:lnTo>
                  <a:lnTo>
                    <a:pt x="6" y="40"/>
                  </a:lnTo>
                  <a:lnTo>
                    <a:pt x="4" y="38"/>
                  </a:lnTo>
                  <a:lnTo>
                    <a:pt x="2" y="36"/>
                  </a:lnTo>
                  <a:lnTo>
                    <a:pt x="2" y="36"/>
                  </a:lnTo>
                  <a:lnTo>
                    <a:pt x="2" y="34"/>
                  </a:lnTo>
                  <a:lnTo>
                    <a:pt x="0" y="28"/>
                  </a:lnTo>
                  <a:lnTo>
                    <a:pt x="0" y="22"/>
                  </a:lnTo>
                  <a:lnTo>
                    <a:pt x="2" y="20"/>
                  </a:lnTo>
                  <a:lnTo>
                    <a:pt x="4" y="18"/>
                  </a:lnTo>
                  <a:lnTo>
                    <a:pt x="4" y="18"/>
                  </a:lnTo>
                  <a:lnTo>
                    <a:pt x="6" y="18"/>
                  </a:lnTo>
                  <a:lnTo>
                    <a:pt x="8" y="20"/>
                  </a:lnTo>
                  <a:lnTo>
                    <a:pt x="8" y="22"/>
                  </a:lnTo>
                  <a:lnTo>
                    <a:pt x="10" y="22"/>
                  </a:lnTo>
                  <a:lnTo>
                    <a:pt x="10" y="22"/>
                  </a:lnTo>
                  <a:lnTo>
                    <a:pt x="12" y="20"/>
                  </a:lnTo>
                  <a:lnTo>
                    <a:pt x="12" y="18"/>
                  </a:lnTo>
                  <a:lnTo>
                    <a:pt x="12" y="16"/>
                  </a:lnTo>
                  <a:lnTo>
                    <a:pt x="16" y="16"/>
                  </a:lnTo>
                  <a:lnTo>
                    <a:pt x="16" y="16"/>
                  </a:lnTo>
                  <a:lnTo>
                    <a:pt x="30" y="22"/>
                  </a:lnTo>
                  <a:lnTo>
                    <a:pt x="34" y="22"/>
                  </a:lnTo>
                  <a:lnTo>
                    <a:pt x="38" y="20"/>
                  </a:lnTo>
                  <a:lnTo>
                    <a:pt x="38" y="20"/>
                  </a:lnTo>
                  <a:lnTo>
                    <a:pt x="70" y="0"/>
                  </a:lnTo>
                  <a:lnTo>
                    <a:pt x="70" y="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1" name="Saudi Arabia"/>
            <p:cNvSpPr>
              <a:spLocks/>
            </p:cNvSpPr>
            <p:nvPr/>
          </p:nvSpPr>
          <p:spPr bwMode="auto">
            <a:xfrm>
              <a:off x="5075997" y="2549260"/>
              <a:ext cx="587375" cy="545042"/>
            </a:xfrm>
            <a:custGeom>
              <a:avLst/>
              <a:gdLst/>
              <a:ahLst/>
              <a:cxnLst>
                <a:cxn ang="0">
                  <a:pos x="354" y="182"/>
                </a:cxn>
                <a:cxn ang="0">
                  <a:pos x="352" y="180"/>
                </a:cxn>
                <a:cxn ang="0">
                  <a:pos x="336" y="170"/>
                </a:cxn>
                <a:cxn ang="0">
                  <a:pos x="326" y="156"/>
                </a:cxn>
                <a:cxn ang="0">
                  <a:pos x="320" y="140"/>
                </a:cxn>
                <a:cxn ang="0">
                  <a:pos x="316" y="130"/>
                </a:cxn>
                <a:cxn ang="0">
                  <a:pos x="310" y="124"/>
                </a:cxn>
                <a:cxn ang="0">
                  <a:pos x="296" y="114"/>
                </a:cxn>
                <a:cxn ang="0">
                  <a:pos x="296" y="110"/>
                </a:cxn>
                <a:cxn ang="0">
                  <a:pos x="288" y="104"/>
                </a:cxn>
                <a:cxn ang="0">
                  <a:pos x="266" y="70"/>
                </a:cxn>
                <a:cxn ang="0">
                  <a:pos x="252" y="72"/>
                </a:cxn>
                <a:cxn ang="0">
                  <a:pos x="246" y="64"/>
                </a:cxn>
                <a:cxn ang="0">
                  <a:pos x="210" y="62"/>
                </a:cxn>
                <a:cxn ang="0">
                  <a:pos x="170" y="46"/>
                </a:cxn>
                <a:cxn ang="0">
                  <a:pos x="134" y="18"/>
                </a:cxn>
                <a:cxn ang="0">
                  <a:pos x="74" y="0"/>
                </a:cxn>
                <a:cxn ang="0">
                  <a:pos x="34" y="10"/>
                </a:cxn>
                <a:cxn ang="0">
                  <a:pos x="48" y="48"/>
                </a:cxn>
                <a:cxn ang="0">
                  <a:pos x="34" y="54"/>
                </a:cxn>
                <a:cxn ang="0">
                  <a:pos x="22" y="70"/>
                </a:cxn>
                <a:cxn ang="0">
                  <a:pos x="16" y="70"/>
                </a:cxn>
                <a:cxn ang="0">
                  <a:pos x="0" y="58"/>
                </a:cxn>
                <a:cxn ang="0">
                  <a:pos x="2" y="68"/>
                </a:cxn>
                <a:cxn ang="0">
                  <a:pos x="4" y="80"/>
                </a:cxn>
                <a:cxn ang="0">
                  <a:pos x="4" y="90"/>
                </a:cxn>
                <a:cxn ang="0">
                  <a:pos x="10" y="98"/>
                </a:cxn>
                <a:cxn ang="0">
                  <a:pos x="24" y="116"/>
                </a:cxn>
                <a:cxn ang="0">
                  <a:pos x="24" y="122"/>
                </a:cxn>
                <a:cxn ang="0">
                  <a:pos x="50" y="160"/>
                </a:cxn>
                <a:cxn ang="0">
                  <a:pos x="60" y="186"/>
                </a:cxn>
                <a:cxn ang="0">
                  <a:pos x="76" y="194"/>
                </a:cxn>
                <a:cxn ang="0">
                  <a:pos x="86" y="204"/>
                </a:cxn>
                <a:cxn ang="0">
                  <a:pos x="90" y="220"/>
                </a:cxn>
                <a:cxn ang="0">
                  <a:pos x="110" y="260"/>
                </a:cxn>
                <a:cxn ang="0">
                  <a:pos x="104" y="266"/>
                </a:cxn>
                <a:cxn ang="0">
                  <a:pos x="108" y="278"/>
                </a:cxn>
                <a:cxn ang="0">
                  <a:pos x="132" y="298"/>
                </a:cxn>
                <a:cxn ang="0">
                  <a:pos x="150" y="328"/>
                </a:cxn>
                <a:cxn ang="0">
                  <a:pos x="172" y="352"/>
                </a:cxn>
                <a:cxn ang="0">
                  <a:pos x="186" y="382"/>
                </a:cxn>
                <a:cxn ang="0">
                  <a:pos x="192" y="390"/>
                </a:cxn>
                <a:cxn ang="0">
                  <a:pos x="192" y="394"/>
                </a:cxn>
                <a:cxn ang="0">
                  <a:pos x="204" y="386"/>
                </a:cxn>
                <a:cxn ang="0">
                  <a:pos x="210" y="380"/>
                </a:cxn>
                <a:cxn ang="0">
                  <a:pos x="226" y="378"/>
                </a:cxn>
                <a:cxn ang="0">
                  <a:pos x="258" y="388"/>
                </a:cxn>
                <a:cxn ang="0">
                  <a:pos x="270" y="396"/>
                </a:cxn>
                <a:cxn ang="0">
                  <a:pos x="286" y="396"/>
                </a:cxn>
                <a:cxn ang="0">
                  <a:pos x="374" y="332"/>
                </a:cxn>
                <a:cxn ang="0">
                  <a:pos x="430" y="242"/>
                </a:cxn>
                <a:cxn ang="0">
                  <a:pos x="366" y="224"/>
                </a:cxn>
                <a:cxn ang="0">
                  <a:pos x="356" y="200"/>
                </a:cxn>
                <a:cxn ang="0">
                  <a:pos x="354" y="184"/>
                </a:cxn>
              </a:cxnLst>
              <a:rect l="0" t="0" r="r" b="b"/>
              <a:pathLst>
                <a:path w="444" h="412">
                  <a:moveTo>
                    <a:pt x="354" y="184"/>
                  </a:moveTo>
                  <a:lnTo>
                    <a:pt x="354" y="184"/>
                  </a:lnTo>
                  <a:lnTo>
                    <a:pt x="352" y="184"/>
                  </a:lnTo>
                  <a:lnTo>
                    <a:pt x="354" y="182"/>
                  </a:lnTo>
                  <a:lnTo>
                    <a:pt x="354" y="182"/>
                  </a:lnTo>
                  <a:lnTo>
                    <a:pt x="354" y="180"/>
                  </a:lnTo>
                  <a:lnTo>
                    <a:pt x="352" y="180"/>
                  </a:lnTo>
                  <a:lnTo>
                    <a:pt x="352" y="180"/>
                  </a:lnTo>
                  <a:lnTo>
                    <a:pt x="352" y="178"/>
                  </a:lnTo>
                  <a:lnTo>
                    <a:pt x="352" y="178"/>
                  </a:lnTo>
                  <a:lnTo>
                    <a:pt x="344" y="176"/>
                  </a:lnTo>
                  <a:lnTo>
                    <a:pt x="336" y="170"/>
                  </a:lnTo>
                  <a:lnTo>
                    <a:pt x="336" y="170"/>
                  </a:lnTo>
                  <a:lnTo>
                    <a:pt x="330" y="164"/>
                  </a:lnTo>
                  <a:lnTo>
                    <a:pt x="326" y="156"/>
                  </a:lnTo>
                  <a:lnTo>
                    <a:pt x="326" y="156"/>
                  </a:lnTo>
                  <a:lnTo>
                    <a:pt x="322" y="148"/>
                  </a:lnTo>
                  <a:lnTo>
                    <a:pt x="320" y="144"/>
                  </a:lnTo>
                  <a:lnTo>
                    <a:pt x="320" y="140"/>
                  </a:lnTo>
                  <a:lnTo>
                    <a:pt x="320" y="140"/>
                  </a:lnTo>
                  <a:lnTo>
                    <a:pt x="320" y="134"/>
                  </a:lnTo>
                  <a:lnTo>
                    <a:pt x="318" y="132"/>
                  </a:lnTo>
                  <a:lnTo>
                    <a:pt x="316" y="132"/>
                  </a:lnTo>
                  <a:lnTo>
                    <a:pt x="316" y="130"/>
                  </a:lnTo>
                  <a:lnTo>
                    <a:pt x="316" y="130"/>
                  </a:lnTo>
                  <a:lnTo>
                    <a:pt x="314" y="126"/>
                  </a:lnTo>
                  <a:lnTo>
                    <a:pt x="312" y="126"/>
                  </a:lnTo>
                  <a:lnTo>
                    <a:pt x="310" y="124"/>
                  </a:lnTo>
                  <a:lnTo>
                    <a:pt x="304" y="120"/>
                  </a:lnTo>
                  <a:lnTo>
                    <a:pt x="304" y="120"/>
                  </a:lnTo>
                  <a:lnTo>
                    <a:pt x="298" y="114"/>
                  </a:lnTo>
                  <a:lnTo>
                    <a:pt x="296" y="114"/>
                  </a:lnTo>
                  <a:lnTo>
                    <a:pt x="298" y="112"/>
                  </a:lnTo>
                  <a:lnTo>
                    <a:pt x="298" y="112"/>
                  </a:lnTo>
                  <a:lnTo>
                    <a:pt x="298" y="110"/>
                  </a:lnTo>
                  <a:lnTo>
                    <a:pt x="296" y="110"/>
                  </a:lnTo>
                  <a:lnTo>
                    <a:pt x="292" y="110"/>
                  </a:lnTo>
                  <a:lnTo>
                    <a:pt x="288" y="112"/>
                  </a:lnTo>
                  <a:lnTo>
                    <a:pt x="288" y="112"/>
                  </a:lnTo>
                  <a:lnTo>
                    <a:pt x="288" y="104"/>
                  </a:lnTo>
                  <a:lnTo>
                    <a:pt x="280" y="88"/>
                  </a:lnTo>
                  <a:lnTo>
                    <a:pt x="280" y="88"/>
                  </a:lnTo>
                  <a:lnTo>
                    <a:pt x="270" y="72"/>
                  </a:lnTo>
                  <a:lnTo>
                    <a:pt x="266" y="70"/>
                  </a:lnTo>
                  <a:lnTo>
                    <a:pt x="264" y="72"/>
                  </a:lnTo>
                  <a:lnTo>
                    <a:pt x="264" y="72"/>
                  </a:lnTo>
                  <a:lnTo>
                    <a:pt x="256" y="72"/>
                  </a:lnTo>
                  <a:lnTo>
                    <a:pt x="252" y="72"/>
                  </a:lnTo>
                  <a:lnTo>
                    <a:pt x="250" y="70"/>
                  </a:lnTo>
                  <a:lnTo>
                    <a:pt x="250" y="68"/>
                  </a:lnTo>
                  <a:lnTo>
                    <a:pt x="248" y="66"/>
                  </a:lnTo>
                  <a:lnTo>
                    <a:pt x="246" y="64"/>
                  </a:lnTo>
                  <a:lnTo>
                    <a:pt x="242" y="62"/>
                  </a:lnTo>
                  <a:lnTo>
                    <a:pt x="234" y="62"/>
                  </a:lnTo>
                  <a:lnTo>
                    <a:pt x="234" y="62"/>
                  </a:lnTo>
                  <a:lnTo>
                    <a:pt x="210" y="62"/>
                  </a:lnTo>
                  <a:lnTo>
                    <a:pt x="194" y="60"/>
                  </a:lnTo>
                  <a:lnTo>
                    <a:pt x="182" y="56"/>
                  </a:lnTo>
                  <a:lnTo>
                    <a:pt x="170" y="46"/>
                  </a:lnTo>
                  <a:lnTo>
                    <a:pt x="170" y="46"/>
                  </a:lnTo>
                  <a:lnTo>
                    <a:pt x="156" y="34"/>
                  </a:lnTo>
                  <a:lnTo>
                    <a:pt x="150" y="26"/>
                  </a:lnTo>
                  <a:lnTo>
                    <a:pt x="146" y="22"/>
                  </a:lnTo>
                  <a:lnTo>
                    <a:pt x="134" y="18"/>
                  </a:lnTo>
                  <a:lnTo>
                    <a:pt x="134" y="18"/>
                  </a:lnTo>
                  <a:lnTo>
                    <a:pt x="108" y="4"/>
                  </a:lnTo>
                  <a:lnTo>
                    <a:pt x="96" y="2"/>
                  </a:lnTo>
                  <a:lnTo>
                    <a:pt x="74" y="0"/>
                  </a:lnTo>
                  <a:lnTo>
                    <a:pt x="74" y="0"/>
                  </a:lnTo>
                  <a:lnTo>
                    <a:pt x="70" y="4"/>
                  </a:lnTo>
                  <a:lnTo>
                    <a:pt x="64" y="6"/>
                  </a:lnTo>
                  <a:lnTo>
                    <a:pt x="34" y="10"/>
                  </a:lnTo>
                  <a:lnTo>
                    <a:pt x="58" y="38"/>
                  </a:lnTo>
                  <a:lnTo>
                    <a:pt x="58" y="38"/>
                  </a:lnTo>
                  <a:lnTo>
                    <a:pt x="50" y="42"/>
                  </a:lnTo>
                  <a:lnTo>
                    <a:pt x="48" y="48"/>
                  </a:lnTo>
                  <a:lnTo>
                    <a:pt x="44" y="50"/>
                  </a:lnTo>
                  <a:lnTo>
                    <a:pt x="38" y="52"/>
                  </a:lnTo>
                  <a:lnTo>
                    <a:pt x="38" y="52"/>
                  </a:lnTo>
                  <a:lnTo>
                    <a:pt x="34" y="54"/>
                  </a:lnTo>
                  <a:lnTo>
                    <a:pt x="30" y="56"/>
                  </a:lnTo>
                  <a:lnTo>
                    <a:pt x="26" y="62"/>
                  </a:lnTo>
                  <a:lnTo>
                    <a:pt x="24" y="68"/>
                  </a:lnTo>
                  <a:lnTo>
                    <a:pt x="22" y="70"/>
                  </a:lnTo>
                  <a:lnTo>
                    <a:pt x="20" y="72"/>
                  </a:lnTo>
                  <a:lnTo>
                    <a:pt x="20" y="72"/>
                  </a:lnTo>
                  <a:lnTo>
                    <a:pt x="18" y="72"/>
                  </a:lnTo>
                  <a:lnTo>
                    <a:pt x="16" y="70"/>
                  </a:lnTo>
                  <a:lnTo>
                    <a:pt x="10" y="64"/>
                  </a:lnTo>
                  <a:lnTo>
                    <a:pt x="6" y="60"/>
                  </a:lnTo>
                  <a:lnTo>
                    <a:pt x="2" y="58"/>
                  </a:lnTo>
                  <a:lnTo>
                    <a:pt x="0" y="58"/>
                  </a:lnTo>
                  <a:lnTo>
                    <a:pt x="0" y="58"/>
                  </a:lnTo>
                  <a:lnTo>
                    <a:pt x="2" y="62"/>
                  </a:lnTo>
                  <a:lnTo>
                    <a:pt x="4" y="64"/>
                  </a:lnTo>
                  <a:lnTo>
                    <a:pt x="2" y="68"/>
                  </a:lnTo>
                  <a:lnTo>
                    <a:pt x="2" y="68"/>
                  </a:lnTo>
                  <a:lnTo>
                    <a:pt x="0" y="72"/>
                  </a:lnTo>
                  <a:lnTo>
                    <a:pt x="2" y="76"/>
                  </a:lnTo>
                  <a:lnTo>
                    <a:pt x="4" y="80"/>
                  </a:lnTo>
                  <a:lnTo>
                    <a:pt x="2" y="86"/>
                  </a:lnTo>
                  <a:lnTo>
                    <a:pt x="2" y="86"/>
                  </a:lnTo>
                  <a:lnTo>
                    <a:pt x="2" y="90"/>
                  </a:lnTo>
                  <a:lnTo>
                    <a:pt x="4" y="90"/>
                  </a:lnTo>
                  <a:lnTo>
                    <a:pt x="8" y="92"/>
                  </a:lnTo>
                  <a:lnTo>
                    <a:pt x="10" y="94"/>
                  </a:lnTo>
                  <a:lnTo>
                    <a:pt x="10" y="98"/>
                  </a:lnTo>
                  <a:lnTo>
                    <a:pt x="10" y="98"/>
                  </a:lnTo>
                  <a:lnTo>
                    <a:pt x="14" y="106"/>
                  </a:lnTo>
                  <a:lnTo>
                    <a:pt x="20" y="112"/>
                  </a:lnTo>
                  <a:lnTo>
                    <a:pt x="24" y="114"/>
                  </a:lnTo>
                  <a:lnTo>
                    <a:pt x="24" y="116"/>
                  </a:lnTo>
                  <a:lnTo>
                    <a:pt x="24" y="118"/>
                  </a:lnTo>
                  <a:lnTo>
                    <a:pt x="24" y="118"/>
                  </a:lnTo>
                  <a:lnTo>
                    <a:pt x="24" y="120"/>
                  </a:lnTo>
                  <a:lnTo>
                    <a:pt x="24" y="122"/>
                  </a:lnTo>
                  <a:lnTo>
                    <a:pt x="28" y="128"/>
                  </a:lnTo>
                  <a:lnTo>
                    <a:pt x="38" y="140"/>
                  </a:lnTo>
                  <a:lnTo>
                    <a:pt x="50" y="160"/>
                  </a:lnTo>
                  <a:lnTo>
                    <a:pt x="50" y="160"/>
                  </a:lnTo>
                  <a:lnTo>
                    <a:pt x="54" y="170"/>
                  </a:lnTo>
                  <a:lnTo>
                    <a:pt x="54" y="172"/>
                  </a:lnTo>
                  <a:lnTo>
                    <a:pt x="54" y="176"/>
                  </a:lnTo>
                  <a:lnTo>
                    <a:pt x="60" y="186"/>
                  </a:lnTo>
                  <a:lnTo>
                    <a:pt x="60" y="186"/>
                  </a:lnTo>
                  <a:lnTo>
                    <a:pt x="64" y="190"/>
                  </a:lnTo>
                  <a:lnTo>
                    <a:pt x="70" y="192"/>
                  </a:lnTo>
                  <a:lnTo>
                    <a:pt x="76" y="194"/>
                  </a:lnTo>
                  <a:lnTo>
                    <a:pt x="80" y="198"/>
                  </a:lnTo>
                  <a:lnTo>
                    <a:pt x="80" y="198"/>
                  </a:lnTo>
                  <a:lnTo>
                    <a:pt x="84" y="202"/>
                  </a:lnTo>
                  <a:lnTo>
                    <a:pt x="86" y="204"/>
                  </a:lnTo>
                  <a:lnTo>
                    <a:pt x="88" y="206"/>
                  </a:lnTo>
                  <a:lnTo>
                    <a:pt x="88" y="210"/>
                  </a:lnTo>
                  <a:lnTo>
                    <a:pt x="88" y="210"/>
                  </a:lnTo>
                  <a:lnTo>
                    <a:pt x="90" y="220"/>
                  </a:lnTo>
                  <a:lnTo>
                    <a:pt x="96" y="232"/>
                  </a:lnTo>
                  <a:lnTo>
                    <a:pt x="108" y="256"/>
                  </a:lnTo>
                  <a:lnTo>
                    <a:pt x="108" y="256"/>
                  </a:lnTo>
                  <a:lnTo>
                    <a:pt x="110" y="260"/>
                  </a:lnTo>
                  <a:lnTo>
                    <a:pt x="110" y="264"/>
                  </a:lnTo>
                  <a:lnTo>
                    <a:pt x="108" y="264"/>
                  </a:lnTo>
                  <a:lnTo>
                    <a:pt x="106" y="266"/>
                  </a:lnTo>
                  <a:lnTo>
                    <a:pt x="104" y="266"/>
                  </a:lnTo>
                  <a:lnTo>
                    <a:pt x="106" y="270"/>
                  </a:lnTo>
                  <a:lnTo>
                    <a:pt x="106" y="270"/>
                  </a:lnTo>
                  <a:lnTo>
                    <a:pt x="108" y="274"/>
                  </a:lnTo>
                  <a:lnTo>
                    <a:pt x="108" y="278"/>
                  </a:lnTo>
                  <a:lnTo>
                    <a:pt x="112" y="282"/>
                  </a:lnTo>
                  <a:lnTo>
                    <a:pt x="122" y="290"/>
                  </a:lnTo>
                  <a:lnTo>
                    <a:pt x="122" y="290"/>
                  </a:lnTo>
                  <a:lnTo>
                    <a:pt x="132" y="298"/>
                  </a:lnTo>
                  <a:lnTo>
                    <a:pt x="140" y="306"/>
                  </a:lnTo>
                  <a:lnTo>
                    <a:pt x="144" y="312"/>
                  </a:lnTo>
                  <a:lnTo>
                    <a:pt x="146" y="318"/>
                  </a:lnTo>
                  <a:lnTo>
                    <a:pt x="150" y="328"/>
                  </a:lnTo>
                  <a:lnTo>
                    <a:pt x="154" y="332"/>
                  </a:lnTo>
                  <a:lnTo>
                    <a:pt x="158" y="338"/>
                  </a:lnTo>
                  <a:lnTo>
                    <a:pt x="158" y="338"/>
                  </a:lnTo>
                  <a:lnTo>
                    <a:pt x="172" y="352"/>
                  </a:lnTo>
                  <a:lnTo>
                    <a:pt x="180" y="368"/>
                  </a:lnTo>
                  <a:lnTo>
                    <a:pt x="180" y="368"/>
                  </a:lnTo>
                  <a:lnTo>
                    <a:pt x="186" y="378"/>
                  </a:lnTo>
                  <a:lnTo>
                    <a:pt x="186" y="382"/>
                  </a:lnTo>
                  <a:lnTo>
                    <a:pt x="186" y="384"/>
                  </a:lnTo>
                  <a:lnTo>
                    <a:pt x="190" y="386"/>
                  </a:lnTo>
                  <a:lnTo>
                    <a:pt x="190" y="386"/>
                  </a:lnTo>
                  <a:lnTo>
                    <a:pt x="192" y="390"/>
                  </a:lnTo>
                  <a:lnTo>
                    <a:pt x="190" y="390"/>
                  </a:lnTo>
                  <a:lnTo>
                    <a:pt x="190" y="392"/>
                  </a:lnTo>
                  <a:lnTo>
                    <a:pt x="192" y="394"/>
                  </a:lnTo>
                  <a:lnTo>
                    <a:pt x="192" y="394"/>
                  </a:lnTo>
                  <a:lnTo>
                    <a:pt x="202" y="392"/>
                  </a:lnTo>
                  <a:lnTo>
                    <a:pt x="204" y="390"/>
                  </a:lnTo>
                  <a:lnTo>
                    <a:pt x="204" y="388"/>
                  </a:lnTo>
                  <a:lnTo>
                    <a:pt x="204" y="386"/>
                  </a:lnTo>
                  <a:lnTo>
                    <a:pt x="204" y="384"/>
                  </a:lnTo>
                  <a:lnTo>
                    <a:pt x="206" y="382"/>
                  </a:lnTo>
                  <a:lnTo>
                    <a:pt x="206" y="382"/>
                  </a:lnTo>
                  <a:lnTo>
                    <a:pt x="210" y="380"/>
                  </a:lnTo>
                  <a:lnTo>
                    <a:pt x="210" y="378"/>
                  </a:lnTo>
                  <a:lnTo>
                    <a:pt x="210" y="376"/>
                  </a:lnTo>
                  <a:lnTo>
                    <a:pt x="214" y="376"/>
                  </a:lnTo>
                  <a:lnTo>
                    <a:pt x="226" y="378"/>
                  </a:lnTo>
                  <a:lnTo>
                    <a:pt x="226" y="378"/>
                  </a:lnTo>
                  <a:lnTo>
                    <a:pt x="244" y="382"/>
                  </a:lnTo>
                  <a:lnTo>
                    <a:pt x="252" y="386"/>
                  </a:lnTo>
                  <a:lnTo>
                    <a:pt x="258" y="388"/>
                  </a:lnTo>
                  <a:lnTo>
                    <a:pt x="262" y="392"/>
                  </a:lnTo>
                  <a:lnTo>
                    <a:pt x="262" y="392"/>
                  </a:lnTo>
                  <a:lnTo>
                    <a:pt x="268" y="394"/>
                  </a:lnTo>
                  <a:lnTo>
                    <a:pt x="270" y="396"/>
                  </a:lnTo>
                  <a:lnTo>
                    <a:pt x="272" y="402"/>
                  </a:lnTo>
                  <a:lnTo>
                    <a:pt x="270" y="412"/>
                  </a:lnTo>
                  <a:lnTo>
                    <a:pt x="270" y="412"/>
                  </a:lnTo>
                  <a:lnTo>
                    <a:pt x="286" y="396"/>
                  </a:lnTo>
                  <a:lnTo>
                    <a:pt x="306" y="376"/>
                  </a:lnTo>
                  <a:lnTo>
                    <a:pt x="326" y="352"/>
                  </a:lnTo>
                  <a:lnTo>
                    <a:pt x="326" y="352"/>
                  </a:lnTo>
                  <a:lnTo>
                    <a:pt x="374" y="332"/>
                  </a:lnTo>
                  <a:lnTo>
                    <a:pt x="434" y="304"/>
                  </a:lnTo>
                  <a:lnTo>
                    <a:pt x="444" y="254"/>
                  </a:lnTo>
                  <a:lnTo>
                    <a:pt x="444" y="254"/>
                  </a:lnTo>
                  <a:lnTo>
                    <a:pt x="430" y="242"/>
                  </a:lnTo>
                  <a:lnTo>
                    <a:pt x="430" y="242"/>
                  </a:lnTo>
                  <a:lnTo>
                    <a:pt x="418" y="248"/>
                  </a:lnTo>
                  <a:lnTo>
                    <a:pt x="366" y="224"/>
                  </a:lnTo>
                  <a:lnTo>
                    <a:pt x="366" y="224"/>
                  </a:lnTo>
                  <a:lnTo>
                    <a:pt x="366" y="218"/>
                  </a:lnTo>
                  <a:lnTo>
                    <a:pt x="364" y="212"/>
                  </a:lnTo>
                  <a:lnTo>
                    <a:pt x="358" y="202"/>
                  </a:lnTo>
                  <a:lnTo>
                    <a:pt x="356" y="200"/>
                  </a:lnTo>
                  <a:lnTo>
                    <a:pt x="354" y="194"/>
                  </a:lnTo>
                  <a:lnTo>
                    <a:pt x="352" y="190"/>
                  </a:lnTo>
                  <a:lnTo>
                    <a:pt x="354" y="184"/>
                  </a:lnTo>
                  <a:lnTo>
                    <a:pt x="354" y="184"/>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2" name="Freeform 251"/>
            <p:cNvSpPr>
              <a:spLocks/>
            </p:cNvSpPr>
            <p:nvPr/>
          </p:nvSpPr>
          <p:spPr bwMode="auto">
            <a:xfrm>
              <a:off x="5861809" y="2297906"/>
              <a:ext cx="198438" cy="97896"/>
            </a:xfrm>
            <a:custGeom>
              <a:avLst/>
              <a:gdLst/>
              <a:ahLst/>
              <a:cxnLst>
                <a:cxn ang="0">
                  <a:pos x="22" y="58"/>
                </a:cxn>
                <a:cxn ang="0">
                  <a:pos x="28" y="64"/>
                </a:cxn>
                <a:cxn ang="0">
                  <a:pos x="40" y="62"/>
                </a:cxn>
                <a:cxn ang="0">
                  <a:pos x="54" y="62"/>
                </a:cxn>
                <a:cxn ang="0">
                  <a:pos x="54" y="58"/>
                </a:cxn>
                <a:cxn ang="0">
                  <a:pos x="56" y="54"/>
                </a:cxn>
                <a:cxn ang="0">
                  <a:pos x="62" y="52"/>
                </a:cxn>
                <a:cxn ang="0">
                  <a:pos x="66" y="50"/>
                </a:cxn>
                <a:cxn ang="0">
                  <a:pos x="68" y="42"/>
                </a:cxn>
                <a:cxn ang="0">
                  <a:pos x="80" y="40"/>
                </a:cxn>
                <a:cxn ang="0">
                  <a:pos x="82" y="46"/>
                </a:cxn>
                <a:cxn ang="0">
                  <a:pos x="86" y="50"/>
                </a:cxn>
                <a:cxn ang="0">
                  <a:pos x="86" y="52"/>
                </a:cxn>
                <a:cxn ang="0">
                  <a:pos x="98" y="70"/>
                </a:cxn>
                <a:cxn ang="0">
                  <a:pos x="104" y="74"/>
                </a:cxn>
                <a:cxn ang="0">
                  <a:pos x="118" y="64"/>
                </a:cxn>
                <a:cxn ang="0">
                  <a:pos x="126" y="60"/>
                </a:cxn>
                <a:cxn ang="0">
                  <a:pos x="126" y="62"/>
                </a:cxn>
                <a:cxn ang="0">
                  <a:pos x="128" y="64"/>
                </a:cxn>
                <a:cxn ang="0">
                  <a:pos x="138" y="60"/>
                </a:cxn>
                <a:cxn ang="0">
                  <a:pos x="150" y="56"/>
                </a:cxn>
                <a:cxn ang="0">
                  <a:pos x="146" y="44"/>
                </a:cxn>
                <a:cxn ang="0">
                  <a:pos x="138" y="32"/>
                </a:cxn>
                <a:cxn ang="0">
                  <a:pos x="136" y="26"/>
                </a:cxn>
                <a:cxn ang="0">
                  <a:pos x="124" y="28"/>
                </a:cxn>
                <a:cxn ang="0">
                  <a:pos x="118" y="22"/>
                </a:cxn>
                <a:cxn ang="0">
                  <a:pos x="74" y="26"/>
                </a:cxn>
                <a:cxn ang="0">
                  <a:pos x="64" y="24"/>
                </a:cxn>
                <a:cxn ang="0">
                  <a:pos x="50" y="24"/>
                </a:cxn>
                <a:cxn ang="0">
                  <a:pos x="38" y="24"/>
                </a:cxn>
                <a:cxn ang="0">
                  <a:pos x="28" y="22"/>
                </a:cxn>
                <a:cxn ang="0">
                  <a:pos x="36" y="16"/>
                </a:cxn>
                <a:cxn ang="0">
                  <a:pos x="48" y="16"/>
                </a:cxn>
                <a:cxn ang="0">
                  <a:pos x="58" y="14"/>
                </a:cxn>
                <a:cxn ang="0">
                  <a:pos x="52" y="8"/>
                </a:cxn>
                <a:cxn ang="0">
                  <a:pos x="56" y="4"/>
                </a:cxn>
                <a:cxn ang="0">
                  <a:pos x="52" y="0"/>
                </a:cxn>
                <a:cxn ang="0">
                  <a:pos x="42" y="4"/>
                </a:cxn>
                <a:cxn ang="0">
                  <a:pos x="30" y="4"/>
                </a:cxn>
                <a:cxn ang="0">
                  <a:pos x="24" y="12"/>
                </a:cxn>
                <a:cxn ang="0">
                  <a:pos x="24" y="14"/>
                </a:cxn>
                <a:cxn ang="0">
                  <a:pos x="20" y="20"/>
                </a:cxn>
                <a:cxn ang="0">
                  <a:pos x="6" y="22"/>
                </a:cxn>
                <a:cxn ang="0">
                  <a:pos x="0" y="28"/>
                </a:cxn>
                <a:cxn ang="0">
                  <a:pos x="10" y="34"/>
                </a:cxn>
                <a:cxn ang="0">
                  <a:pos x="18" y="36"/>
                </a:cxn>
                <a:cxn ang="0">
                  <a:pos x="20" y="38"/>
                </a:cxn>
                <a:cxn ang="0">
                  <a:pos x="22" y="44"/>
                </a:cxn>
                <a:cxn ang="0">
                  <a:pos x="18" y="58"/>
                </a:cxn>
              </a:cxnLst>
              <a:rect l="0" t="0" r="r" b="b"/>
              <a:pathLst>
                <a:path w="150" h="74">
                  <a:moveTo>
                    <a:pt x="18" y="58"/>
                  </a:moveTo>
                  <a:lnTo>
                    <a:pt x="18" y="58"/>
                  </a:lnTo>
                  <a:lnTo>
                    <a:pt x="22" y="58"/>
                  </a:lnTo>
                  <a:lnTo>
                    <a:pt x="24" y="58"/>
                  </a:lnTo>
                  <a:lnTo>
                    <a:pt x="26" y="62"/>
                  </a:lnTo>
                  <a:lnTo>
                    <a:pt x="28" y="64"/>
                  </a:lnTo>
                  <a:lnTo>
                    <a:pt x="34" y="64"/>
                  </a:lnTo>
                  <a:lnTo>
                    <a:pt x="34" y="64"/>
                  </a:lnTo>
                  <a:lnTo>
                    <a:pt x="40" y="62"/>
                  </a:lnTo>
                  <a:lnTo>
                    <a:pt x="44" y="62"/>
                  </a:lnTo>
                  <a:lnTo>
                    <a:pt x="50" y="64"/>
                  </a:lnTo>
                  <a:lnTo>
                    <a:pt x="54" y="62"/>
                  </a:lnTo>
                  <a:lnTo>
                    <a:pt x="54" y="62"/>
                  </a:lnTo>
                  <a:lnTo>
                    <a:pt x="56" y="60"/>
                  </a:lnTo>
                  <a:lnTo>
                    <a:pt x="54" y="58"/>
                  </a:lnTo>
                  <a:lnTo>
                    <a:pt x="54" y="56"/>
                  </a:lnTo>
                  <a:lnTo>
                    <a:pt x="56" y="54"/>
                  </a:lnTo>
                  <a:lnTo>
                    <a:pt x="56" y="54"/>
                  </a:lnTo>
                  <a:lnTo>
                    <a:pt x="60" y="52"/>
                  </a:lnTo>
                  <a:lnTo>
                    <a:pt x="60" y="52"/>
                  </a:lnTo>
                  <a:lnTo>
                    <a:pt x="62" y="52"/>
                  </a:lnTo>
                  <a:lnTo>
                    <a:pt x="64" y="52"/>
                  </a:lnTo>
                  <a:lnTo>
                    <a:pt x="64" y="52"/>
                  </a:lnTo>
                  <a:lnTo>
                    <a:pt x="66" y="50"/>
                  </a:lnTo>
                  <a:lnTo>
                    <a:pt x="64" y="48"/>
                  </a:lnTo>
                  <a:lnTo>
                    <a:pt x="66" y="46"/>
                  </a:lnTo>
                  <a:lnTo>
                    <a:pt x="68" y="42"/>
                  </a:lnTo>
                  <a:lnTo>
                    <a:pt x="68" y="42"/>
                  </a:lnTo>
                  <a:lnTo>
                    <a:pt x="74" y="40"/>
                  </a:lnTo>
                  <a:lnTo>
                    <a:pt x="80" y="40"/>
                  </a:lnTo>
                  <a:lnTo>
                    <a:pt x="82" y="42"/>
                  </a:lnTo>
                  <a:lnTo>
                    <a:pt x="82" y="46"/>
                  </a:lnTo>
                  <a:lnTo>
                    <a:pt x="82" y="46"/>
                  </a:lnTo>
                  <a:lnTo>
                    <a:pt x="80" y="50"/>
                  </a:lnTo>
                  <a:lnTo>
                    <a:pt x="82" y="50"/>
                  </a:lnTo>
                  <a:lnTo>
                    <a:pt x="86" y="50"/>
                  </a:lnTo>
                  <a:lnTo>
                    <a:pt x="86" y="50"/>
                  </a:lnTo>
                  <a:lnTo>
                    <a:pt x="86" y="52"/>
                  </a:lnTo>
                  <a:lnTo>
                    <a:pt x="86" y="52"/>
                  </a:lnTo>
                  <a:lnTo>
                    <a:pt x="88" y="56"/>
                  </a:lnTo>
                  <a:lnTo>
                    <a:pt x="92" y="62"/>
                  </a:lnTo>
                  <a:lnTo>
                    <a:pt x="98" y="70"/>
                  </a:lnTo>
                  <a:lnTo>
                    <a:pt x="98" y="70"/>
                  </a:lnTo>
                  <a:lnTo>
                    <a:pt x="102" y="74"/>
                  </a:lnTo>
                  <a:lnTo>
                    <a:pt x="104" y="74"/>
                  </a:lnTo>
                  <a:lnTo>
                    <a:pt x="112" y="68"/>
                  </a:lnTo>
                  <a:lnTo>
                    <a:pt x="112" y="68"/>
                  </a:lnTo>
                  <a:lnTo>
                    <a:pt x="118" y="64"/>
                  </a:lnTo>
                  <a:lnTo>
                    <a:pt x="122" y="62"/>
                  </a:lnTo>
                  <a:lnTo>
                    <a:pt x="124" y="60"/>
                  </a:lnTo>
                  <a:lnTo>
                    <a:pt x="126" y="60"/>
                  </a:lnTo>
                  <a:lnTo>
                    <a:pt x="126" y="60"/>
                  </a:lnTo>
                  <a:lnTo>
                    <a:pt x="128" y="60"/>
                  </a:lnTo>
                  <a:lnTo>
                    <a:pt x="126" y="62"/>
                  </a:lnTo>
                  <a:lnTo>
                    <a:pt x="126" y="64"/>
                  </a:lnTo>
                  <a:lnTo>
                    <a:pt x="128" y="64"/>
                  </a:lnTo>
                  <a:lnTo>
                    <a:pt x="128" y="64"/>
                  </a:lnTo>
                  <a:lnTo>
                    <a:pt x="130" y="64"/>
                  </a:lnTo>
                  <a:lnTo>
                    <a:pt x="134" y="62"/>
                  </a:lnTo>
                  <a:lnTo>
                    <a:pt x="138" y="60"/>
                  </a:lnTo>
                  <a:lnTo>
                    <a:pt x="148" y="60"/>
                  </a:lnTo>
                  <a:lnTo>
                    <a:pt x="148" y="60"/>
                  </a:lnTo>
                  <a:lnTo>
                    <a:pt x="150" y="56"/>
                  </a:lnTo>
                  <a:lnTo>
                    <a:pt x="148" y="48"/>
                  </a:lnTo>
                  <a:lnTo>
                    <a:pt x="148" y="48"/>
                  </a:lnTo>
                  <a:lnTo>
                    <a:pt x="146" y="44"/>
                  </a:lnTo>
                  <a:lnTo>
                    <a:pt x="140" y="42"/>
                  </a:lnTo>
                  <a:lnTo>
                    <a:pt x="138" y="38"/>
                  </a:lnTo>
                  <a:lnTo>
                    <a:pt x="138" y="32"/>
                  </a:lnTo>
                  <a:lnTo>
                    <a:pt x="138" y="32"/>
                  </a:lnTo>
                  <a:lnTo>
                    <a:pt x="138" y="28"/>
                  </a:lnTo>
                  <a:lnTo>
                    <a:pt x="136" y="26"/>
                  </a:lnTo>
                  <a:lnTo>
                    <a:pt x="130" y="26"/>
                  </a:lnTo>
                  <a:lnTo>
                    <a:pt x="126" y="28"/>
                  </a:lnTo>
                  <a:lnTo>
                    <a:pt x="124" y="28"/>
                  </a:lnTo>
                  <a:lnTo>
                    <a:pt x="120" y="26"/>
                  </a:lnTo>
                  <a:lnTo>
                    <a:pt x="118" y="22"/>
                  </a:lnTo>
                  <a:lnTo>
                    <a:pt x="118" y="22"/>
                  </a:lnTo>
                  <a:lnTo>
                    <a:pt x="102" y="26"/>
                  </a:lnTo>
                  <a:lnTo>
                    <a:pt x="86" y="28"/>
                  </a:lnTo>
                  <a:lnTo>
                    <a:pt x="74" y="26"/>
                  </a:lnTo>
                  <a:lnTo>
                    <a:pt x="68" y="24"/>
                  </a:lnTo>
                  <a:lnTo>
                    <a:pt x="68" y="24"/>
                  </a:lnTo>
                  <a:lnTo>
                    <a:pt x="64" y="24"/>
                  </a:lnTo>
                  <a:lnTo>
                    <a:pt x="60" y="24"/>
                  </a:lnTo>
                  <a:lnTo>
                    <a:pt x="54" y="26"/>
                  </a:lnTo>
                  <a:lnTo>
                    <a:pt x="50" y="24"/>
                  </a:lnTo>
                  <a:lnTo>
                    <a:pt x="50" y="24"/>
                  </a:lnTo>
                  <a:lnTo>
                    <a:pt x="46" y="24"/>
                  </a:lnTo>
                  <a:lnTo>
                    <a:pt x="38" y="24"/>
                  </a:lnTo>
                  <a:lnTo>
                    <a:pt x="30" y="24"/>
                  </a:lnTo>
                  <a:lnTo>
                    <a:pt x="28" y="24"/>
                  </a:lnTo>
                  <a:lnTo>
                    <a:pt x="28" y="22"/>
                  </a:lnTo>
                  <a:lnTo>
                    <a:pt x="28" y="22"/>
                  </a:lnTo>
                  <a:lnTo>
                    <a:pt x="30" y="18"/>
                  </a:lnTo>
                  <a:lnTo>
                    <a:pt x="36" y="16"/>
                  </a:lnTo>
                  <a:lnTo>
                    <a:pt x="42" y="16"/>
                  </a:lnTo>
                  <a:lnTo>
                    <a:pt x="48" y="16"/>
                  </a:lnTo>
                  <a:lnTo>
                    <a:pt x="48" y="16"/>
                  </a:lnTo>
                  <a:lnTo>
                    <a:pt x="52" y="18"/>
                  </a:lnTo>
                  <a:lnTo>
                    <a:pt x="56" y="18"/>
                  </a:lnTo>
                  <a:lnTo>
                    <a:pt x="58" y="14"/>
                  </a:lnTo>
                  <a:lnTo>
                    <a:pt x="58" y="10"/>
                  </a:lnTo>
                  <a:lnTo>
                    <a:pt x="58" y="10"/>
                  </a:lnTo>
                  <a:lnTo>
                    <a:pt x="52" y="8"/>
                  </a:lnTo>
                  <a:lnTo>
                    <a:pt x="52" y="6"/>
                  </a:lnTo>
                  <a:lnTo>
                    <a:pt x="52" y="6"/>
                  </a:lnTo>
                  <a:lnTo>
                    <a:pt x="56" y="4"/>
                  </a:lnTo>
                  <a:lnTo>
                    <a:pt x="56" y="4"/>
                  </a:lnTo>
                  <a:lnTo>
                    <a:pt x="52" y="0"/>
                  </a:lnTo>
                  <a:lnTo>
                    <a:pt x="52" y="0"/>
                  </a:lnTo>
                  <a:lnTo>
                    <a:pt x="50" y="0"/>
                  </a:lnTo>
                  <a:lnTo>
                    <a:pt x="48" y="0"/>
                  </a:lnTo>
                  <a:lnTo>
                    <a:pt x="42" y="4"/>
                  </a:lnTo>
                  <a:lnTo>
                    <a:pt x="36" y="6"/>
                  </a:lnTo>
                  <a:lnTo>
                    <a:pt x="32" y="6"/>
                  </a:lnTo>
                  <a:lnTo>
                    <a:pt x="30" y="4"/>
                  </a:lnTo>
                  <a:lnTo>
                    <a:pt x="30" y="4"/>
                  </a:lnTo>
                  <a:lnTo>
                    <a:pt x="28" y="8"/>
                  </a:lnTo>
                  <a:lnTo>
                    <a:pt x="24" y="12"/>
                  </a:lnTo>
                  <a:lnTo>
                    <a:pt x="16" y="14"/>
                  </a:lnTo>
                  <a:lnTo>
                    <a:pt x="16" y="14"/>
                  </a:lnTo>
                  <a:lnTo>
                    <a:pt x="24" y="14"/>
                  </a:lnTo>
                  <a:lnTo>
                    <a:pt x="24" y="16"/>
                  </a:lnTo>
                  <a:lnTo>
                    <a:pt x="24" y="18"/>
                  </a:lnTo>
                  <a:lnTo>
                    <a:pt x="20" y="20"/>
                  </a:lnTo>
                  <a:lnTo>
                    <a:pt x="10" y="22"/>
                  </a:lnTo>
                  <a:lnTo>
                    <a:pt x="10" y="22"/>
                  </a:lnTo>
                  <a:lnTo>
                    <a:pt x="6" y="22"/>
                  </a:lnTo>
                  <a:lnTo>
                    <a:pt x="2" y="24"/>
                  </a:lnTo>
                  <a:lnTo>
                    <a:pt x="0" y="26"/>
                  </a:lnTo>
                  <a:lnTo>
                    <a:pt x="0" y="28"/>
                  </a:lnTo>
                  <a:lnTo>
                    <a:pt x="4" y="32"/>
                  </a:lnTo>
                  <a:lnTo>
                    <a:pt x="10" y="34"/>
                  </a:lnTo>
                  <a:lnTo>
                    <a:pt x="10" y="34"/>
                  </a:lnTo>
                  <a:lnTo>
                    <a:pt x="16" y="34"/>
                  </a:lnTo>
                  <a:lnTo>
                    <a:pt x="18" y="36"/>
                  </a:lnTo>
                  <a:lnTo>
                    <a:pt x="18" y="36"/>
                  </a:lnTo>
                  <a:lnTo>
                    <a:pt x="16" y="38"/>
                  </a:lnTo>
                  <a:lnTo>
                    <a:pt x="20" y="38"/>
                  </a:lnTo>
                  <a:lnTo>
                    <a:pt x="20" y="38"/>
                  </a:lnTo>
                  <a:lnTo>
                    <a:pt x="22" y="40"/>
                  </a:lnTo>
                  <a:lnTo>
                    <a:pt x="24" y="40"/>
                  </a:lnTo>
                  <a:lnTo>
                    <a:pt x="22" y="44"/>
                  </a:lnTo>
                  <a:lnTo>
                    <a:pt x="18" y="50"/>
                  </a:lnTo>
                  <a:lnTo>
                    <a:pt x="18" y="58"/>
                  </a:lnTo>
                  <a:lnTo>
                    <a:pt x="18" y="5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3" name="Freeform 252"/>
            <p:cNvSpPr>
              <a:spLocks/>
            </p:cNvSpPr>
            <p:nvPr/>
          </p:nvSpPr>
          <p:spPr bwMode="auto">
            <a:xfrm>
              <a:off x="1877184" y="2885281"/>
              <a:ext cx="15875" cy="13229"/>
            </a:xfrm>
            <a:custGeom>
              <a:avLst/>
              <a:gdLst/>
              <a:ahLst/>
              <a:cxnLst>
                <a:cxn ang="0">
                  <a:pos x="6" y="0"/>
                </a:cxn>
                <a:cxn ang="0">
                  <a:pos x="6" y="0"/>
                </a:cxn>
                <a:cxn ang="0">
                  <a:pos x="4" y="0"/>
                </a:cxn>
                <a:cxn ang="0">
                  <a:pos x="2" y="2"/>
                </a:cxn>
                <a:cxn ang="0">
                  <a:pos x="2" y="2"/>
                </a:cxn>
                <a:cxn ang="0">
                  <a:pos x="2" y="4"/>
                </a:cxn>
                <a:cxn ang="0">
                  <a:pos x="2" y="4"/>
                </a:cxn>
                <a:cxn ang="0">
                  <a:pos x="4" y="6"/>
                </a:cxn>
                <a:cxn ang="0">
                  <a:pos x="4" y="6"/>
                </a:cxn>
                <a:cxn ang="0">
                  <a:pos x="4" y="6"/>
                </a:cxn>
                <a:cxn ang="0">
                  <a:pos x="4" y="6"/>
                </a:cxn>
                <a:cxn ang="0">
                  <a:pos x="0" y="6"/>
                </a:cxn>
                <a:cxn ang="0">
                  <a:pos x="0" y="6"/>
                </a:cxn>
                <a:cxn ang="0">
                  <a:pos x="0" y="6"/>
                </a:cxn>
                <a:cxn ang="0">
                  <a:pos x="0" y="6"/>
                </a:cxn>
                <a:cxn ang="0">
                  <a:pos x="0" y="6"/>
                </a:cxn>
                <a:cxn ang="0">
                  <a:pos x="0" y="6"/>
                </a:cxn>
                <a:cxn ang="0">
                  <a:pos x="2" y="8"/>
                </a:cxn>
                <a:cxn ang="0">
                  <a:pos x="6" y="10"/>
                </a:cxn>
                <a:cxn ang="0">
                  <a:pos x="6" y="10"/>
                </a:cxn>
                <a:cxn ang="0">
                  <a:pos x="8" y="10"/>
                </a:cxn>
                <a:cxn ang="0">
                  <a:pos x="12" y="8"/>
                </a:cxn>
                <a:cxn ang="0">
                  <a:pos x="12" y="8"/>
                </a:cxn>
                <a:cxn ang="0">
                  <a:pos x="12" y="8"/>
                </a:cxn>
                <a:cxn ang="0">
                  <a:pos x="12" y="6"/>
                </a:cxn>
                <a:cxn ang="0">
                  <a:pos x="12" y="6"/>
                </a:cxn>
                <a:cxn ang="0">
                  <a:pos x="12" y="4"/>
                </a:cxn>
                <a:cxn ang="0">
                  <a:pos x="12" y="4"/>
                </a:cxn>
                <a:cxn ang="0">
                  <a:pos x="12" y="2"/>
                </a:cxn>
                <a:cxn ang="0">
                  <a:pos x="12" y="2"/>
                </a:cxn>
                <a:cxn ang="0">
                  <a:pos x="12" y="0"/>
                </a:cxn>
                <a:cxn ang="0">
                  <a:pos x="12" y="0"/>
                </a:cxn>
                <a:cxn ang="0">
                  <a:pos x="10" y="0"/>
                </a:cxn>
                <a:cxn ang="0">
                  <a:pos x="10" y="0"/>
                </a:cxn>
                <a:cxn ang="0">
                  <a:pos x="6" y="0"/>
                </a:cxn>
                <a:cxn ang="0">
                  <a:pos x="6" y="0"/>
                </a:cxn>
              </a:cxnLst>
              <a:rect l="0" t="0" r="r" b="b"/>
              <a:pathLst>
                <a:path w="12" h="10">
                  <a:moveTo>
                    <a:pt x="6" y="0"/>
                  </a:moveTo>
                  <a:lnTo>
                    <a:pt x="6" y="0"/>
                  </a:lnTo>
                  <a:lnTo>
                    <a:pt x="4" y="0"/>
                  </a:lnTo>
                  <a:lnTo>
                    <a:pt x="2" y="2"/>
                  </a:lnTo>
                  <a:lnTo>
                    <a:pt x="2" y="2"/>
                  </a:lnTo>
                  <a:lnTo>
                    <a:pt x="2" y="4"/>
                  </a:lnTo>
                  <a:lnTo>
                    <a:pt x="2" y="4"/>
                  </a:lnTo>
                  <a:lnTo>
                    <a:pt x="4" y="6"/>
                  </a:lnTo>
                  <a:lnTo>
                    <a:pt x="4" y="6"/>
                  </a:lnTo>
                  <a:lnTo>
                    <a:pt x="4" y="6"/>
                  </a:lnTo>
                  <a:lnTo>
                    <a:pt x="4" y="6"/>
                  </a:lnTo>
                  <a:lnTo>
                    <a:pt x="0" y="6"/>
                  </a:lnTo>
                  <a:lnTo>
                    <a:pt x="0" y="6"/>
                  </a:lnTo>
                  <a:lnTo>
                    <a:pt x="0" y="6"/>
                  </a:lnTo>
                  <a:lnTo>
                    <a:pt x="0" y="6"/>
                  </a:lnTo>
                  <a:lnTo>
                    <a:pt x="0" y="6"/>
                  </a:lnTo>
                  <a:lnTo>
                    <a:pt x="0" y="6"/>
                  </a:lnTo>
                  <a:lnTo>
                    <a:pt x="2" y="8"/>
                  </a:lnTo>
                  <a:lnTo>
                    <a:pt x="6" y="10"/>
                  </a:lnTo>
                  <a:lnTo>
                    <a:pt x="6" y="10"/>
                  </a:lnTo>
                  <a:lnTo>
                    <a:pt x="8" y="10"/>
                  </a:lnTo>
                  <a:lnTo>
                    <a:pt x="12" y="8"/>
                  </a:lnTo>
                  <a:lnTo>
                    <a:pt x="12" y="8"/>
                  </a:lnTo>
                  <a:lnTo>
                    <a:pt x="12" y="8"/>
                  </a:lnTo>
                  <a:lnTo>
                    <a:pt x="12" y="6"/>
                  </a:lnTo>
                  <a:lnTo>
                    <a:pt x="12" y="6"/>
                  </a:lnTo>
                  <a:lnTo>
                    <a:pt x="12" y="4"/>
                  </a:lnTo>
                  <a:lnTo>
                    <a:pt x="12" y="4"/>
                  </a:lnTo>
                  <a:lnTo>
                    <a:pt x="12" y="2"/>
                  </a:lnTo>
                  <a:lnTo>
                    <a:pt x="12" y="2"/>
                  </a:lnTo>
                  <a:lnTo>
                    <a:pt x="12" y="0"/>
                  </a:lnTo>
                  <a:lnTo>
                    <a:pt x="12" y="0"/>
                  </a:lnTo>
                  <a:lnTo>
                    <a:pt x="10" y="0"/>
                  </a:lnTo>
                  <a:lnTo>
                    <a:pt x="10" y="0"/>
                  </a:lnTo>
                  <a:lnTo>
                    <a:pt x="6" y="0"/>
                  </a:lnTo>
                  <a:lnTo>
                    <a:pt x="6" y="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4" name="Argentina"/>
            <p:cNvSpPr>
              <a:spLocks/>
            </p:cNvSpPr>
            <p:nvPr/>
          </p:nvSpPr>
          <p:spPr bwMode="auto">
            <a:xfrm>
              <a:off x="2289934" y="4359011"/>
              <a:ext cx="415396" cy="878417"/>
            </a:xfrm>
            <a:custGeom>
              <a:avLst/>
              <a:gdLst/>
              <a:ahLst/>
              <a:cxnLst>
                <a:cxn ang="0">
                  <a:pos x="174" y="652"/>
                </a:cxn>
                <a:cxn ang="0">
                  <a:pos x="164" y="640"/>
                </a:cxn>
                <a:cxn ang="0">
                  <a:pos x="178" y="622"/>
                </a:cxn>
                <a:cxn ang="0">
                  <a:pos x="190" y="600"/>
                </a:cxn>
                <a:cxn ang="0">
                  <a:pos x="200" y="570"/>
                </a:cxn>
                <a:cxn ang="0">
                  <a:pos x="162" y="548"/>
                </a:cxn>
                <a:cxn ang="0">
                  <a:pos x="190" y="520"/>
                </a:cxn>
                <a:cxn ang="0">
                  <a:pos x="192" y="500"/>
                </a:cxn>
                <a:cxn ang="0">
                  <a:pos x="200" y="478"/>
                </a:cxn>
                <a:cxn ang="0">
                  <a:pos x="202" y="472"/>
                </a:cxn>
                <a:cxn ang="0">
                  <a:pos x="202" y="460"/>
                </a:cxn>
                <a:cxn ang="0">
                  <a:pos x="184" y="464"/>
                </a:cxn>
                <a:cxn ang="0">
                  <a:pos x="170" y="436"/>
                </a:cxn>
                <a:cxn ang="0">
                  <a:pos x="192" y="438"/>
                </a:cxn>
                <a:cxn ang="0">
                  <a:pos x="218" y="414"/>
                </a:cxn>
                <a:cxn ang="0">
                  <a:pos x="220" y="396"/>
                </a:cxn>
                <a:cxn ang="0">
                  <a:pos x="226" y="388"/>
                </a:cxn>
                <a:cxn ang="0">
                  <a:pos x="296" y="372"/>
                </a:cxn>
                <a:cxn ang="0">
                  <a:pos x="310" y="330"/>
                </a:cxn>
                <a:cxn ang="0">
                  <a:pos x="288" y="302"/>
                </a:cxn>
                <a:cxn ang="0">
                  <a:pos x="254" y="276"/>
                </a:cxn>
                <a:cxn ang="0">
                  <a:pos x="250" y="218"/>
                </a:cxn>
                <a:cxn ang="0">
                  <a:pos x="260" y="180"/>
                </a:cxn>
                <a:cxn ang="0">
                  <a:pos x="284" y="146"/>
                </a:cxn>
                <a:cxn ang="0">
                  <a:pos x="296" y="130"/>
                </a:cxn>
                <a:cxn ang="0">
                  <a:pos x="310" y="98"/>
                </a:cxn>
                <a:cxn ang="0">
                  <a:pos x="292" y="104"/>
                </a:cxn>
                <a:cxn ang="0">
                  <a:pos x="268" y="124"/>
                </a:cxn>
                <a:cxn ang="0">
                  <a:pos x="240" y="126"/>
                </a:cxn>
                <a:cxn ang="0">
                  <a:pos x="222" y="100"/>
                </a:cxn>
                <a:cxn ang="0">
                  <a:pos x="210" y="72"/>
                </a:cxn>
                <a:cxn ang="0">
                  <a:pos x="162" y="50"/>
                </a:cxn>
                <a:cxn ang="0">
                  <a:pos x="124" y="10"/>
                </a:cxn>
                <a:cxn ang="0">
                  <a:pos x="86" y="6"/>
                </a:cxn>
                <a:cxn ang="0">
                  <a:pos x="80" y="16"/>
                </a:cxn>
                <a:cxn ang="0">
                  <a:pos x="48" y="0"/>
                </a:cxn>
                <a:cxn ang="0">
                  <a:pos x="30" y="20"/>
                </a:cxn>
                <a:cxn ang="0">
                  <a:pos x="18" y="58"/>
                </a:cxn>
                <a:cxn ang="0">
                  <a:pos x="6" y="88"/>
                </a:cxn>
                <a:cxn ang="0">
                  <a:pos x="18" y="124"/>
                </a:cxn>
                <a:cxn ang="0">
                  <a:pos x="6" y="156"/>
                </a:cxn>
                <a:cxn ang="0">
                  <a:pos x="4" y="196"/>
                </a:cxn>
                <a:cxn ang="0">
                  <a:pos x="10" y="236"/>
                </a:cxn>
                <a:cxn ang="0">
                  <a:pos x="22" y="268"/>
                </a:cxn>
                <a:cxn ang="0">
                  <a:pos x="30" y="288"/>
                </a:cxn>
                <a:cxn ang="0">
                  <a:pos x="24" y="330"/>
                </a:cxn>
                <a:cxn ang="0">
                  <a:pos x="38" y="380"/>
                </a:cxn>
                <a:cxn ang="0">
                  <a:pos x="30" y="400"/>
                </a:cxn>
                <a:cxn ang="0">
                  <a:pos x="40" y="440"/>
                </a:cxn>
                <a:cxn ang="0">
                  <a:pos x="42" y="462"/>
                </a:cxn>
                <a:cxn ang="0">
                  <a:pos x="54" y="478"/>
                </a:cxn>
                <a:cxn ang="0">
                  <a:pos x="62" y="490"/>
                </a:cxn>
                <a:cxn ang="0">
                  <a:pos x="70" y="514"/>
                </a:cxn>
                <a:cxn ang="0">
                  <a:pos x="64" y="530"/>
                </a:cxn>
                <a:cxn ang="0">
                  <a:pos x="78" y="570"/>
                </a:cxn>
                <a:cxn ang="0">
                  <a:pos x="78" y="590"/>
                </a:cxn>
                <a:cxn ang="0">
                  <a:pos x="82" y="620"/>
                </a:cxn>
                <a:cxn ang="0">
                  <a:pos x="106" y="634"/>
                </a:cxn>
                <a:cxn ang="0">
                  <a:pos x="120" y="654"/>
                </a:cxn>
              </a:cxnLst>
              <a:rect l="0" t="0" r="r" b="b"/>
              <a:pathLst>
                <a:path w="314" h="664">
                  <a:moveTo>
                    <a:pt x="184" y="664"/>
                  </a:moveTo>
                  <a:lnTo>
                    <a:pt x="184" y="664"/>
                  </a:lnTo>
                  <a:lnTo>
                    <a:pt x="182" y="662"/>
                  </a:lnTo>
                  <a:lnTo>
                    <a:pt x="182" y="662"/>
                  </a:lnTo>
                  <a:lnTo>
                    <a:pt x="182" y="660"/>
                  </a:lnTo>
                  <a:lnTo>
                    <a:pt x="180" y="658"/>
                  </a:lnTo>
                  <a:lnTo>
                    <a:pt x="180" y="658"/>
                  </a:lnTo>
                  <a:lnTo>
                    <a:pt x="176" y="656"/>
                  </a:lnTo>
                  <a:lnTo>
                    <a:pt x="176" y="654"/>
                  </a:lnTo>
                  <a:lnTo>
                    <a:pt x="174" y="652"/>
                  </a:lnTo>
                  <a:lnTo>
                    <a:pt x="170" y="650"/>
                  </a:lnTo>
                  <a:lnTo>
                    <a:pt x="170" y="650"/>
                  </a:lnTo>
                  <a:lnTo>
                    <a:pt x="168" y="648"/>
                  </a:lnTo>
                  <a:lnTo>
                    <a:pt x="168" y="648"/>
                  </a:lnTo>
                  <a:lnTo>
                    <a:pt x="170" y="648"/>
                  </a:lnTo>
                  <a:lnTo>
                    <a:pt x="168" y="646"/>
                  </a:lnTo>
                  <a:lnTo>
                    <a:pt x="168" y="646"/>
                  </a:lnTo>
                  <a:lnTo>
                    <a:pt x="166" y="644"/>
                  </a:lnTo>
                  <a:lnTo>
                    <a:pt x="166" y="642"/>
                  </a:lnTo>
                  <a:lnTo>
                    <a:pt x="164" y="640"/>
                  </a:lnTo>
                  <a:lnTo>
                    <a:pt x="162" y="640"/>
                  </a:lnTo>
                  <a:lnTo>
                    <a:pt x="162" y="640"/>
                  </a:lnTo>
                  <a:lnTo>
                    <a:pt x="162" y="638"/>
                  </a:lnTo>
                  <a:lnTo>
                    <a:pt x="162" y="634"/>
                  </a:lnTo>
                  <a:lnTo>
                    <a:pt x="162" y="632"/>
                  </a:lnTo>
                  <a:lnTo>
                    <a:pt x="162" y="632"/>
                  </a:lnTo>
                  <a:lnTo>
                    <a:pt x="166" y="626"/>
                  </a:lnTo>
                  <a:lnTo>
                    <a:pt x="172" y="626"/>
                  </a:lnTo>
                  <a:lnTo>
                    <a:pt x="176" y="626"/>
                  </a:lnTo>
                  <a:lnTo>
                    <a:pt x="178" y="622"/>
                  </a:lnTo>
                  <a:lnTo>
                    <a:pt x="178" y="622"/>
                  </a:lnTo>
                  <a:lnTo>
                    <a:pt x="184" y="614"/>
                  </a:lnTo>
                  <a:lnTo>
                    <a:pt x="186" y="612"/>
                  </a:lnTo>
                  <a:lnTo>
                    <a:pt x="186" y="608"/>
                  </a:lnTo>
                  <a:lnTo>
                    <a:pt x="186" y="608"/>
                  </a:lnTo>
                  <a:lnTo>
                    <a:pt x="186" y="604"/>
                  </a:lnTo>
                  <a:lnTo>
                    <a:pt x="188" y="602"/>
                  </a:lnTo>
                  <a:lnTo>
                    <a:pt x="190" y="602"/>
                  </a:lnTo>
                  <a:lnTo>
                    <a:pt x="190" y="600"/>
                  </a:lnTo>
                  <a:lnTo>
                    <a:pt x="190" y="600"/>
                  </a:lnTo>
                  <a:lnTo>
                    <a:pt x="190" y="598"/>
                  </a:lnTo>
                  <a:lnTo>
                    <a:pt x="192" y="596"/>
                  </a:lnTo>
                  <a:lnTo>
                    <a:pt x="196" y="594"/>
                  </a:lnTo>
                  <a:lnTo>
                    <a:pt x="202" y="584"/>
                  </a:lnTo>
                  <a:lnTo>
                    <a:pt x="202" y="584"/>
                  </a:lnTo>
                  <a:lnTo>
                    <a:pt x="200" y="580"/>
                  </a:lnTo>
                  <a:lnTo>
                    <a:pt x="202" y="578"/>
                  </a:lnTo>
                  <a:lnTo>
                    <a:pt x="202" y="576"/>
                  </a:lnTo>
                  <a:lnTo>
                    <a:pt x="200" y="570"/>
                  </a:lnTo>
                  <a:lnTo>
                    <a:pt x="200" y="570"/>
                  </a:lnTo>
                  <a:lnTo>
                    <a:pt x="196" y="566"/>
                  </a:lnTo>
                  <a:lnTo>
                    <a:pt x="194" y="564"/>
                  </a:lnTo>
                  <a:lnTo>
                    <a:pt x="188" y="564"/>
                  </a:lnTo>
                  <a:lnTo>
                    <a:pt x="182" y="564"/>
                  </a:lnTo>
                  <a:lnTo>
                    <a:pt x="180" y="562"/>
                  </a:lnTo>
                  <a:lnTo>
                    <a:pt x="174" y="558"/>
                  </a:lnTo>
                  <a:lnTo>
                    <a:pt x="174" y="558"/>
                  </a:lnTo>
                  <a:lnTo>
                    <a:pt x="170" y="554"/>
                  </a:lnTo>
                  <a:lnTo>
                    <a:pt x="166" y="552"/>
                  </a:lnTo>
                  <a:lnTo>
                    <a:pt x="162" y="548"/>
                  </a:lnTo>
                  <a:lnTo>
                    <a:pt x="162" y="540"/>
                  </a:lnTo>
                  <a:lnTo>
                    <a:pt x="162" y="540"/>
                  </a:lnTo>
                  <a:lnTo>
                    <a:pt x="166" y="532"/>
                  </a:lnTo>
                  <a:lnTo>
                    <a:pt x="168" y="530"/>
                  </a:lnTo>
                  <a:lnTo>
                    <a:pt x="172" y="528"/>
                  </a:lnTo>
                  <a:lnTo>
                    <a:pt x="176" y="526"/>
                  </a:lnTo>
                  <a:lnTo>
                    <a:pt x="176" y="526"/>
                  </a:lnTo>
                  <a:lnTo>
                    <a:pt x="180" y="522"/>
                  </a:lnTo>
                  <a:lnTo>
                    <a:pt x="186" y="522"/>
                  </a:lnTo>
                  <a:lnTo>
                    <a:pt x="190" y="520"/>
                  </a:lnTo>
                  <a:lnTo>
                    <a:pt x="190" y="518"/>
                  </a:lnTo>
                  <a:lnTo>
                    <a:pt x="190" y="516"/>
                  </a:lnTo>
                  <a:lnTo>
                    <a:pt x="190" y="516"/>
                  </a:lnTo>
                  <a:lnTo>
                    <a:pt x="188" y="514"/>
                  </a:lnTo>
                  <a:lnTo>
                    <a:pt x="188" y="512"/>
                  </a:lnTo>
                  <a:lnTo>
                    <a:pt x="192" y="508"/>
                  </a:lnTo>
                  <a:lnTo>
                    <a:pt x="194" y="506"/>
                  </a:lnTo>
                  <a:lnTo>
                    <a:pt x="194" y="504"/>
                  </a:lnTo>
                  <a:lnTo>
                    <a:pt x="192" y="500"/>
                  </a:lnTo>
                  <a:lnTo>
                    <a:pt x="192" y="500"/>
                  </a:lnTo>
                  <a:lnTo>
                    <a:pt x="190" y="496"/>
                  </a:lnTo>
                  <a:lnTo>
                    <a:pt x="192" y="494"/>
                  </a:lnTo>
                  <a:lnTo>
                    <a:pt x="192" y="492"/>
                  </a:lnTo>
                  <a:lnTo>
                    <a:pt x="192" y="486"/>
                  </a:lnTo>
                  <a:lnTo>
                    <a:pt x="192" y="486"/>
                  </a:lnTo>
                  <a:lnTo>
                    <a:pt x="192" y="482"/>
                  </a:lnTo>
                  <a:lnTo>
                    <a:pt x="196" y="480"/>
                  </a:lnTo>
                  <a:lnTo>
                    <a:pt x="200" y="480"/>
                  </a:lnTo>
                  <a:lnTo>
                    <a:pt x="200" y="478"/>
                  </a:lnTo>
                  <a:lnTo>
                    <a:pt x="200" y="478"/>
                  </a:lnTo>
                  <a:lnTo>
                    <a:pt x="198" y="476"/>
                  </a:lnTo>
                  <a:lnTo>
                    <a:pt x="192" y="476"/>
                  </a:lnTo>
                  <a:lnTo>
                    <a:pt x="188" y="474"/>
                  </a:lnTo>
                  <a:lnTo>
                    <a:pt x="186" y="474"/>
                  </a:lnTo>
                  <a:lnTo>
                    <a:pt x="186" y="474"/>
                  </a:lnTo>
                  <a:lnTo>
                    <a:pt x="188" y="472"/>
                  </a:lnTo>
                  <a:lnTo>
                    <a:pt x="192" y="470"/>
                  </a:lnTo>
                  <a:lnTo>
                    <a:pt x="198" y="470"/>
                  </a:lnTo>
                  <a:lnTo>
                    <a:pt x="202" y="472"/>
                  </a:lnTo>
                  <a:lnTo>
                    <a:pt x="202" y="472"/>
                  </a:lnTo>
                  <a:lnTo>
                    <a:pt x="204" y="474"/>
                  </a:lnTo>
                  <a:lnTo>
                    <a:pt x="206" y="474"/>
                  </a:lnTo>
                  <a:lnTo>
                    <a:pt x="208" y="472"/>
                  </a:lnTo>
                  <a:lnTo>
                    <a:pt x="208" y="470"/>
                  </a:lnTo>
                  <a:lnTo>
                    <a:pt x="208" y="470"/>
                  </a:lnTo>
                  <a:lnTo>
                    <a:pt x="208" y="466"/>
                  </a:lnTo>
                  <a:lnTo>
                    <a:pt x="210" y="462"/>
                  </a:lnTo>
                  <a:lnTo>
                    <a:pt x="208" y="460"/>
                  </a:lnTo>
                  <a:lnTo>
                    <a:pt x="202" y="460"/>
                  </a:lnTo>
                  <a:lnTo>
                    <a:pt x="202" y="460"/>
                  </a:lnTo>
                  <a:lnTo>
                    <a:pt x="198" y="462"/>
                  </a:lnTo>
                  <a:lnTo>
                    <a:pt x="200" y="462"/>
                  </a:lnTo>
                  <a:lnTo>
                    <a:pt x="202" y="464"/>
                  </a:lnTo>
                  <a:lnTo>
                    <a:pt x="198" y="466"/>
                  </a:lnTo>
                  <a:lnTo>
                    <a:pt x="198" y="466"/>
                  </a:lnTo>
                  <a:lnTo>
                    <a:pt x="194" y="468"/>
                  </a:lnTo>
                  <a:lnTo>
                    <a:pt x="192" y="466"/>
                  </a:lnTo>
                  <a:lnTo>
                    <a:pt x="190" y="464"/>
                  </a:lnTo>
                  <a:lnTo>
                    <a:pt x="190" y="464"/>
                  </a:lnTo>
                  <a:lnTo>
                    <a:pt x="184" y="464"/>
                  </a:lnTo>
                  <a:lnTo>
                    <a:pt x="182" y="462"/>
                  </a:lnTo>
                  <a:lnTo>
                    <a:pt x="180" y="460"/>
                  </a:lnTo>
                  <a:lnTo>
                    <a:pt x="182" y="456"/>
                  </a:lnTo>
                  <a:lnTo>
                    <a:pt x="182" y="454"/>
                  </a:lnTo>
                  <a:lnTo>
                    <a:pt x="182" y="448"/>
                  </a:lnTo>
                  <a:lnTo>
                    <a:pt x="178" y="444"/>
                  </a:lnTo>
                  <a:lnTo>
                    <a:pt x="172" y="440"/>
                  </a:lnTo>
                  <a:lnTo>
                    <a:pt x="172" y="440"/>
                  </a:lnTo>
                  <a:lnTo>
                    <a:pt x="170" y="438"/>
                  </a:lnTo>
                  <a:lnTo>
                    <a:pt x="170" y="436"/>
                  </a:lnTo>
                  <a:lnTo>
                    <a:pt x="172" y="432"/>
                  </a:lnTo>
                  <a:lnTo>
                    <a:pt x="178" y="432"/>
                  </a:lnTo>
                  <a:lnTo>
                    <a:pt x="178" y="432"/>
                  </a:lnTo>
                  <a:lnTo>
                    <a:pt x="178" y="434"/>
                  </a:lnTo>
                  <a:lnTo>
                    <a:pt x="178" y="434"/>
                  </a:lnTo>
                  <a:lnTo>
                    <a:pt x="178" y="436"/>
                  </a:lnTo>
                  <a:lnTo>
                    <a:pt x="180" y="436"/>
                  </a:lnTo>
                  <a:lnTo>
                    <a:pt x="186" y="436"/>
                  </a:lnTo>
                  <a:lnTo>
                    <a:pt x="192" y="438"/>
                  </a:lnTo>
                  <a:lnTo>
                    <a:pt x="192" y="438"/>
                  </a:lnTo>
                  <a:lnTo>
                    <a:pt x="198" y="440"/>
                  </a:lnTo>
                  <a:lnTo>
                    <a:pt x="204" y="440"/>
                  </a:lnTo>
                  <a:lnTo>
                    <a:pt x="214" y="436"/>
                  </a:lnTo>
                  <a:lnTo>
                    <a:pt x="222" y="430"/>
                  </a:lnTo>
                  <a:lnTo>
                    <a:pt x="224" y="428"/>
                  </a:lnTo>
                  <a:lnTo>
                    <a:pt x="222" y="426"/>
                  </a:lnTo>
                  <a:lnTo>
                    <a:pt x="222" y="426"/>
                  </a:lnTo>
                  <a:lnTo>
                    <a:pt x="220" y="424"/>
                  </a:lnTo>
                  <a:lnTo>
                    <a:pt x="218" y="418"/>
                  </a:lnTo>
                  <a:lnTo>
                    <a:pt x="218" y="414"/>
                  </a:lnTo>
                  <a:lnTo>
                    <a:pt x="220" y="410"/>
                  </a:lnTo>
                  <a:lnTo>
                    <a:pt x="220" y="410"/>
                  </a:lnTo>
                  <a:lnTo>
                    <a:pt x="224" y="410"/>
                  </a:lnTo>
                  <a:lnTo>
                    <a:pt x="226" y="406"/>
                  </a:lnTo>
                  <a:lnTo>
                    <a:pt x="226" y="404"/>
                  </a:lnTo>
                  <a:lnTo>
                    <a:pt x="222" y="402"/>
                  </a:lnTo>
                  <a:lnTo>
                    <a:pt x="222" y="402"/>
                  </a:lnTo>
                  <a:lnTo>
                    <a:pt x="220" y="400"/>
                  </a:lnTo>
                  <a:lnTo>
                    <a:pt x="220" y="398"/>
                  </a:lnTo>
                  <a:lnTo>
                    <a:pt x="220" y="396"/>
                  </a:lnTo>
                  <a:lnTo>
                    <a:pt x="216" y="394"/>
                  </a:lnTo>
                  <a:lnTo>
                    <a:pt x="216" y="394"/>
                  </a:lnTo>
                  <a:lnTo>
                    <a:pt x="214" y="392"/>
                  </a:lnTo>
                  <a:lnTo>
                    <a:pt x="214" y="388"/>
                  </a:lnTo>
                  <a:lnTo>
                    <a:pt x="218" y="384"/>
                  </a:lnTo>
                  <a:lnTo>
                    <a:pt x="218" y="384"/>
                  </a:lnTo>
                  <a:lnTo>
                    <a:pt x="220" y="384"/>
                  </a:lnTo>
                  <a:lnTo>
                    <a:pt x="220" y="386"/>
                  </a:lnTo>
                  <a:lnTo>
                    <a:pt x="222" y="388"/>
                  </a:lnTo>
                  <a:lnTo>
                    <a:pt x="226" y="388"/>
                  </a:lnTo>
                  <a:lnTo>
                    <a:pt x="226" y="388"/>
                  </a:lnTo>
                  <a:lnTo>
                    <a:pt x="230" y="388"/>
                  </a:lnTo>
                  <a:lnTo>
                    <a:pt x="240" y="390"/>
                  </a:lnTo>
                  <a:lnTo>
                    <a:pt x="254" y="388"/>
                  </a:lnTo>
                  <a:lnTo>
                    <a:pt x="264" y="386"/>
                  </a:lnTo>
                  <a:lnTo>
                    <a:pt x="274" y="382"/>
                  </a:lnTo>
                  <a:lnTo>
                    <a:pt x="274" y="382"/>
                  </a:lnTo>
                  <a:lnTo>
                    <a:pt x="284" y="378"/>
                  </a:lnTo>
                  <a:lnTo>
                    <a:pt x="292" y="376"/>
                  </a:lnTo>
                  <a:lnTo>
                    <a:pt x="296" y="372"/>
                  </a:lnTo>
                  <a:lnTo>
                    <a:pt x="300" y="368"/>
                  </a:lnTo>
                  <a:lnTo>
                    <a:pt x="304" y="364"/>
                  </a:lnTo>
                  <a:lnTo>
                    <a:pt x="308" y="354"/>
                  </a:lnTo>
                  <a:lnTo>
                    <a:pt x="308" y="354"/>
                  </a:lnTo>
                  <a:lnTo>
                    <a:pt x="310" y="350"/>
                  </a:lnTo>
                  <a:lnTo>
                    <a:pt x="312" y="346"/>
                  </a:lnTo>
                  <a:lnTo>
                    <a:pt x="314" y="342"/>
                  </a:lnTo>
                  <a:lnTo>
                    <a:pt x="312" y="332"/>
                  </a:lnTo>
                  <a:lnTo>
                    <a:pt x="312" y="332"/>
                  </a:lnTo>
                  <a:lnTo>
                    <a:pt x="310" y="330"/>
                  </a:lnTo>
                  <a:lnTo>
                    <a:pt x="308" y="330"/>
                  </a:lnTo>
                  <a:lnTo>
                    <a:pt x="302" y="330"/>
                  </a:lnTo>
                  <a:lnTo>
                    <a:pt x="300" y="328"/>
                  </a:lnTo>
                  <a:lnTo>
                    <a:pt x="298" y="326"/>
                  </a:lnTo>
                  <a:lnTo>
                    <a:pt x="296" y="322"/>
                  </a:lnTo>
                  <a:lnTo>
                    <a:pt x="296" y="314"/>
                  </a:lnTo>
                  <a:lnTo>
                    <a:pt x="296" y="314"/>
                  </a:lnTo>
                  <a:lnTo>
                    <a:pt x="296" y="310"/>
                  </a:lnTo>
                  <a:lnTo>
                    <a:pt x="294" y="306"/>
                  </a:lnTo>
                  <a:lnTo>
                    <a:pt x="288" y="302"/>
                  </a:lnTo>
                  <a:lnTo>
                    <a:pt x="280" y="296"/>
                  </a:lnTo>
                  <a:lnTo>
                    <a:pt x="272" y="292"/>
                  </a:lnTo>
                  <a:lnTo>
                    <a:pt x="258" y="288"/>
                  </a:lnTo>
                  <a:lnTo>
                    <a:pt x="254" y="286"/>
                  </a:lnTo>
                  <a:lnTo>
                    <a:pt x="256" y="284"/>
                  </a:lnTo>
                  <a:lnTo>
                    <a:pt x="256" y="284"/>
                  </a:lnTo>
                  <a:lnTo>
                    <a:pt x="258" y="282"/>
                  </a:lnTo>
                  <a:lnTo>
                    <a:pt x="258" y="282"/>
                  </a:lnTo>
                  <a:lnTo>
                    <a:pt x="256" y="278"/>
                  </a:lnTo>
                  <a:lnTo>
                    <a:pt x="254" y="276"/>
                  </a:lnTo>
                  <a:lnTo>
                    <a:pt x="252" y="272"/>
                  </a:lnTo>
                  <a:lnTo>
                    <a:pt x="252" y="266"/>
                  </a:lnTo>
                  <a:lnTo>
                    <a:pt x="254" y="258"/>
                  </a:lnTo>
                  <a:lnTo>
                    <a:pt x="254" y="258"/>
                  </a:lnTo>
                  <a:lnTo>
                    <a:pt x="254" y="254"/>
                  </a:lnTo>
                  <a:lnTo>
                    <a:pt x="254" y="250"/>
                  </a:lnTo>
                  <a:lnTo>
                    <a:pt x="252" y="242"/>
                  </a:lnTo>
                  <a:lnTo>
                    <a:pt x="248" y="230"/>
                  </a:lnTo>
                  <a:lnTo>
                    <a:pt x="248" y="224"/>
                  </a:lnTo>
                  <a:lnTo>
                    <a:pt x="250" y="218"/>
                  </a:lnTo>
                  <a:lnTo>
                    <a:pt x="250" y="218"/>
                  </a:lnTo>
                  <a:lnTo>
                    <a:pt x="250" y="208"/>
                  </a:lnTo>
                  <a:lnTo>
                    <a:pt x="250" y="204"/>
                  </a:lnTo>
                  <a:lnTo>
                    <a:pt x="250" y="198"/>
                  </a:lnTo>
                  <a:lnTo>
                    <a:pt x="252" y="188"/>
                  </a:lnTo>
                  <a:lnTo>
                    <a:pt x="252" y="188"/>
                  </a:lnTo>
                  <a:lnTo>
                    <a:pt x="254" y="186"/>
                  </a:lnTo>
                  <a:lnTo>
                    <a:pt x="258" y="182"/>
                  </a:lnTo>
                  <a:lnTo>
                    <a:pt x="258" y="182"/>
                  </a:lnTo>
                  <a:lnTo>
                    <a:pt x="260" y="180"/>
                  </a:lnTo>
                  <a:lnTo>
                    <a:pt x="262" y="178"/>
                  </a:lnTo>
                  <a:lnTo>
                    <a:pt x="264" y="172"/>
                  </a:lnTo>
                  <a:lnTo>
                    <a:pt x="272" y="158"/>
                  </a:lnTo>
                  <a:lnTo>
                    <a:pt x="272" y="158"/>
                  </a:lnTo>
                  <a:lnTo>
                    <a:pt x="278" y="152"/>
                  </a:lnTo>
                  <a:lnTo>
                    <a:pt x="280" y="152"/>
                  </a:lnTo>
                  <a:lnTo>
                    <a:pt x="282" y="152"/>
                  </a:lnTo>
                  <a:lnTo>
                    <a:pt x="284" y="150"/>
                  </a:lnTo>
                  <a:lnTo>
                    <a:pt x="284" y="150"/>
                  </a:lnTo>
                  <a:lnTo>
                    <a:pt x="284" y="146"/>
                  </a:lnTo>
                  <a:lnTo>
                    <a:pt x="282" y="146"/>
                  </a:lnTo>
                  <a:lnTo>
                    <a:pt x="282" y="144"/>
                  </a:lnTo>
                  <a:lnTo>
                    <a:pt x="282" y="142"/>
                  </a:lnTo>
                  <a:lnTo>
                    <a:pt x="282" y="142"/>
                  </a:lnTo>
                  <a:lnTo>
                    <a:pt x="284" y="140"/>
                  </a:lnTo>
                  <a:lnTo>
                    <a:pt x="286" y="140"/>
                  </a:lnTo>
                  <a:lnTo>
                    <a:pt x="290" y="138"/>
                  </a:lnTo>
                  <a:lnTo>
                    <a:pt x="292" y="136"/>
                  </a:lnTo>
                  <a:lnTo>
                    <a:pt x="292" y="136"/>
                  </a:lnTo>
                  <a:lnTo>
                    <a:pt x="296" y="130"/>
                  </a:lnTo>
                  <a:lnTo>
                    <a:pt x="300" y="130"/>
                  </a:lnTo>
                  <a:lnTo>
                    <a:pt x="304" y="128"/>
                  </a:lnTo>
                  <a:lnTo>
                    <a:pt x="308" y="122"/>
                  </a:lnTo>
                  <a:lnTo>
                    <a:pt x="308" y="122"/>
                  </a:lnTo>
                  <a:lnTo>
                    <a:pt x="314" y="112"/>
                  </a:lnTo>
                  <a:lnTo>
                    <a:pt x="312" y="108"/>
                  </a:lnTo>
                  <a:lnTo>
                    <a:pt x="310" y="106"/>
                  </a:lnTo>
                  <a:lnTo>
                    <a:pt x="310" y="104"/>
                  </a:lnTo>
                  <a:lnTo>
                    <a:pt x="310" y="104"/>
                  </a:lnTo>
                  <a:lnTo>
                    <a:pt x="310" y="98"/>
                  </a:lnTo>
                  <a:lnTo>
                    <a:pt x="308" y="92"/>
                  </a:lnTo>
                  <a:lnTo>
                    <a:pt x="306" y="90"/>
                  </a:lnTo>
                  <a:lnTo>
                    <a:pt x="304" y="88"/>
                  </a:lnTo>
                  <a:lnTo>
                    <a:pt x="300" y="88"/>
                  </a:lnTo>
                  <a:lnTo>
                    <a:pt x="294" y="90"/>
                  </a:lnTo>
                  <a:lnTo>
                    <a:pt x="294" y="90"/>
                  </a:lnTo>
                  <a:lnTo>
                    <a:pt x="294" y="96"/>
                  </a:lnTo>
                  <a:lnTo>
                    <a:pt x="292" y="100"/>
                  </a:lnTo>
                  <a:lnTo>
                    <a:pt x="292" y="100"/>
                  </a:lnTo>
                  <a:lnTo>
                    <a:pt x="292" y="104"/>
                  </a:lnTo>
                  <a:lnTo>
                    <a:pt x="290" y="106"/>
                  </a:lnTo>
                  <a:lnTo>
                    <a:pt x="288" y="108"/>
                  </a:lnTo>
                  <a:lnTo>
                    <a:pt x="286" y="110"/>
                  </a:lnTo>
                  <a:lnTo>
                    <a:pt x="286" y="110"/>
                  </a:lnTo>
                  <a:lnTo>
                    <a:pt x="284" y="116"/>
                  </a:lnTo>
                  <a:lnTo>
                    <a:pt x="280" y="120"/>
                  </a:lnTo>
                  <a:lnTo>
                    <a:pt x="280" y="120"/>
                  </a:lnTo>
                  <a:lnTo>
                    <a:pt x="276" y="126"/>
                  </a:lnTo>
                  <a:lnTo>
                    <a:pt x="272" y="126"/>
                  </a:lnTo>
                  <a:lnTo>
                    <a:pt x="268" y="124"/>
                  </a:lnTo>
                  <a:lnTo>
                    <a:pt x="264" y="126"/>
                  </a:lnTo>
                  <a:lnTo>
                    <a:pt x="264" y="126"/>
                  </a:lnTo>
                  <a:lnTo>
                    <a:pt x="260" y="128"/>
                  </a:lnTo>
                  <a:lnTo>
                    <a:pt x="258" y="128"/>
                  </a:lnTo>
                  <a:lnTo>
                    <a:pt x="256" y="128"/>
                  </a:lnTo>
                  <a:lnTo>
                    <a:pt x="252" y="130"/>
                  </a:lnTo>
                  <a:lnTo>
                    <a:pt x="252" y="130"/>
                  </a:lnTo>
                  <a:lnTo>
                    <a:pt x="250" y="130"/>
                  </a:lnTo>
                  <a:lnTo>
                    <a:pt x="248" y="128"/>
                  </a:lnTo>
                  <a:lnTo>
                    <a:pt x="240" y="126"/>
                  </a:lnTo>
                  <a:lnTo>
                    <a:pt x="230" y="122"/>
                  </a:lnTo>
                  <a:lnTo>
                    <a:pt x="226" y="120"/>
                  </a:lnTo>
                  <a:lnTo>
                    <a:pt x="218" y="122"/>
                  </a:lnTo>
                  <a:lnTo>
                    <a:pt x="218" y="122"/>
                  </a:lnTo>
                  <a:lnTo>
                    <a:pt x="214" y="120"/>
                  </a:lnTo>
                  <a:lnTo>
                    <a:pt x="214" y="118"/>
                  </a:lnTo>
                  <a:lnTo>
                    <a:pt x="218" y="108"/>
                  </a:lnTo>
                  <a:lnTo>
                    <a:pt x="218" y="108"/>
                  </a:lnTo>
                  <a:lnTo>
                    <a:pt x="222" y="104"/>
                  </a:lnTo>
                  <a:lnTo>
                    <a:pt x="222" y="100"/>
                  </a:lnTo>
                  <a:lnTo>
                    <a:pt x="222" y="96"/>
                  </a:lnTo>
                  <a:lnTo>
                    <a:pt x="226" y="92"/>
                  </a:lnTo>
                  <a:lnTo>
                    <a:pt x="226" y="92"/>
                  </a:lnTo>
                  <a:lnTo>
                    <a:pt x="226" y="88"/>
                  </a:lnTo>
                  <a:lnTo>
                    <a:pt x="226" y="86"/>
                  </a:lnTo>
                  <a:lnTo>
                    <a:pt x="222" y="84"/>
                  </a:lnTo>
                  <a:lnTo>
                    <a:pt x="218" y="80"/>
                  </a:lnTo>
                  <a:lnTo>
                    <a:pt x="218" y="80"/>
                  </a:lnTo>
                  <a:lnTo>
                    <a:pt x="214" y="74"/>
                  </a:lnTo>
                  <a:lnTo>
                    <a:pt x="210" y="72"/>
                  </a:lnTo>
                  <a:lnTo>
                    <a:pt x="198" y="64"/>
                  </a:lnTo>
                  <a:lnTo>
                    <a:pt x="198" y="64"/>
                  </a:lnTo>
                  <a:lnTo>
                    <a:pt x="192" y="60"/>
                  </a:lnTo>
                  <a:lnTo>
                    <a:pt x="188" y="60"/>
                  </a:lnTo>
                  <a:lnTo>
                    <a:pt x="186" y="60"/>
                  </a:lnTo>
                  <a:lnTo>
                    <a:pt x="180" y="56"/>
                  </a:lnTo>
                  <a:lnTo>
                    <a:pt x="180" y="56"/>
                  </a:lnTo>
                  <a:lnTo>
                    <a:pt x="170" y="52"/>
                  </a:lnTo>
                  <a:lnTo>
                    <a:pt x="164" y="50"/>
                  </a:lnTo>
                  <a:lnTo>
                    <a:pt x="162" y="50"/>
                  </a:lnTo>
                  <a:lnTo>
                    <a:pt x="158" y="46"/>
                  </a:lnTo>
                  <a:lnTo>
                    <a:pt x="158" y="46"/>
                  </a:lnTo>
                  <a:lnTo>
                    <a:pt x="144" y="34"/>
                  </a:lnTo>
                  <a:lnTo>
                    <a:pt x="132" y="24"/>
                  </a:lnTo>
                  <a:lnTo>
                    <a:pt x="132" y="24"/>
                  </a:lnTo>
                  <a:lnTo>
                    <a:pt x="128" y="22"/>
                  </a:lnTo>
                  <a:lnTo>
                    <a:pt x="126" y="20"/>
                  </a:lnTo>
                  <a:lnTo>
                    <a:pt x="126" y="18"/>
                  </a:lnTo>
                  <a:lnTo>
                    <a:pt x="126" y="12"/>
                  </a:lnTo>
                  <a:lnTo>
                    <a:pt x="124" y="10"/>
                  </a:lnTo>
                  <a:lnTo>
                    <a:pt x="120" y="8"/>
                  </a:lnTo>
                  <a:lnTo>
                    <a:pt x="120" y="8"/>
                  </a:lnTo>
                  <a:lnTo>
                    <a:pt x="116" y="8"/>
                  </a:lnTo>
                  <a:lnTo>
                    <a:pt x="114" y="8"/>
                  </a:lnTo>
                  <a:lnTo>
                    <a:pt x="110" y="6"/>
                  </a:lnTo>
                  <a:lnTo>
                    <a:pt x="102" y="8"/>
                  </a:lnTo>
                  <a:lnTo>
                    <a:pt x="102" y="8"/>
                  </a:lnTo>
                  <a:lnTo>
                    <a:pt x="96" y="8"/>
                  </a:lnTo>
                  <a:lnTo>
                    <a:pt x="90" y="6"/>
                  </a:lnTo>
                  <a:lnTo>
                    <a:pt x="86" y="6"/>
                  </a:lnTo>
                  <a:lnTo>
                    <a:pt x="84" y="8"/>
                  </a:lnTo>
                  <a:lnTo>
                    <a:pt x="84" y="8"/>
                  </a:lnTo>
                  <a:lnTo>
                    <a:pt x="82" y="14"/>
                  </a:lnTo>
                  <a:lnTo>
                    <a:pt x="84" y="18"/>
                  </a:lnTo>
                  <a:lnTo>
                    <a:pt x="84" y="20"/>
                  </a:lnTo>
                  <a:lnTo>
                    <a:pt x="82" y="24"/>
                  </a:lnTo>
                  <a:lnTo>
                    <a:pt x="82" y="24"/>
                  </a:lnTo>
                  <a:lnTo>
                    <a:pt x="82" y="24"/>
                  </a:lnTo>
                  <a:lnTo>
                    <a:pt x="82" y="22"/>
                  </a:lnTo>
                  <a:lnTo>
                    <a:pt x="80" y="16"/>
                  </a:lnTo>
                  <a:lnTo>
                    <a:pt x="76" y="10"/>
                  </a:lnTo>
                  <a:lnTo>
                    <a:pt x="72" y="8"/>
                  </a:lnTo>
                  <a:lnTo>
                    <a:pt x="68" y="6"/>
                  </a:lnTo>
                  <a:lnTo>
                    <a:pt x="68" y="6"/>
                  </a:lnTo>
                  <a:lnTo>
                    <a:pt x="58" y="6"/>
                  </a:lnTo>
                  <a:lnTo>
                    <a:pt x="52" y="6"/>
                  </a:lnTo>
                  <a:lnTo>
                    <a:pt x="52" y="6"/>
                  </a:lnTo>
                  <a:lnTo>
                    <a:pt x="50" y="6"/>
                  </a:lnTo>
                  <a:lnTo>
                    <a:pt x="50" y="4"/>
                  </a:lnTo>
                  <a:lnTo>
                    <a:pt x="48" y="0"/>
                  </a:lnTo>
                  <a:lnTo>
                    <a:pt x="42" y="0"/>
                  </a:lnTo>
                  <a:lnTo>
                    <a:pt x="42" y="0"/>
                  </a:lnTo>
                  <a:lnTo>
                    <a:pt x="42" y="2"/>
                  </a:lnTo>
                  <a:lnTo>
                    <a:pt x="40" y="4"/>
                  </a:lnTo>
                  <a:lnTo>
                    <a:pt x="34" y="10"/>
                  </a:lnTo>
                  <a:lnTo>
                    <a:pt x="30" y="14"/>
                  </a:lnTo>
                  <a:lnTo>
                    <a:pt x="28" y="16"/>
                  </a:lnTo>
                  <a:lnTo>
                    <a:pt x="28" y="18"/>
                  </a:lnTo>
                  <a:lnTo>
                    <a:pt x="28" y="18"/>
                  </a:lnTo>
                  <a:lnTo>
                    <a:pt x="30" y="20"/>
                  </a:lnTo>
                  <a:lnTo>
                    <a:pt x="28" y="20"/>
                  </a:lnTo>
                  <a:lnTo>
                    <a:pt x="24" y="24"/>
                  </a:lnTo>
                  <a:lnTo>
                    <a:pt x="24" y="24"/>
                  </a:lnTo>
                  <a:lnTo>
                    <a:pt x="28" y="26"/>
                  </a:lnTo>
                  <a:lnTo>
                    <a:pt x="28" y="28"/>
                  </a:lnTo>
                  <a:lnTo>
                    <a:pt x="30" y="30"/>
                  </a:lnTo>
                  <a:lnTo>
                    <a:pt x="30" y="30"/>
                  </a:lnTo>
                  <a:lnTo>
                    <a:pt x="26" y="48"/>
                  </a:lnTo>
                  <a:lnTo>
                    <a:pt x="24" y="52"/>
                  </a:lnTo>
                  <a:lnTo>
                    <a:pt x="18" y="58"/>
                  </a:lnTo>
                  <a:lnTo>
                    <a:pt x="18" y="58"/>
                  </a:lnTo>
                  <a:lnTo>
                    <a:pt x="8" y="64"/>
                  </a:lnTo>
                  <a:lnTo>
                    <a:pt x="8" y="66"/>
                  </a:lnTo>
                  <a:lnTo>
                    <a:pt x="8" y="68"/>
                  </a:lnTo>
                  <a:lnTo>
                    <a:pt x="12" y="70"/>
                  </a:lnTo>
                  <a:lnTo>
                    <a:pt x="12" y="72"/>
                  </a:lnTo>
                  <a:lnTo>
                    <a:pt x="10" y="76"/>
                  </a:lnTo>
                  <a:lnTo>
                    <a:pt x="10" y="76"/>
                  </a:lnTo>
                  <a:lnTo>
                    <a:pt x="6" y="84"/>
                  </a:lnTo>
                  <a:lnTo>
                    <a:pt x="6" y="88"/>
                  </a:lnTo>
                  <a:lnTo>
                    <a:pt x="8" y="92"/>
                  </a:lnTo>
                  <a:lnTo>
                    <a:pt x="12" y="96"/>
                  </a:lnTo>
                  <a:lnTo>
                    <a:pt x="16" y="102"/>
                  </a:lnTo>
                  <a:lnTo>
                    <a:pt x="16" y="104"/>
                  </a:lnTo>
                  <a:lnTo>
                    <a:pt x="14" y="108"/>
                  </a:lnTo>
                  <a:lnTo>
                    <a:pt x="14" y="108"/>
                  </a:lnTo>
                  <a:lnTo>
                    <a:pt x="18" y="112"/>
                  </a:lnTo>
                  <a:lnTo>
                    <a:pt x="20" y="114"/>
                  </a:lnTo>
                  <a:lnTo>
                    <a:pt x="20" y="118"/>
                  </a:lnTo>
                  <a:lnTo>
                    <a:pt x="18" y="124"/>
                  </a:lnTo>
                  <a:lnTo>
                    <a:pt x="18" y="124"/>
                  </a:lnTo>
                  <a:lnTo>
                    <a:pt x="14" y="130"/>
                  </a:lnTo>
                  <a:lnTo>
                    <a:pt x="14" y="134"/>
                  </a:lnTo>
                  <a:lnTo>
                    <a:pt x="12" y="138"/>
                  </a:lnTo>
                  <a:lnTo>
                    <a:pt x="10" y="142"/>
                  </a:lnTo>
                  <a:lnTo>
                    <a:pt x="10" y="142"/>
                  </a:lnTo>
                  <a:lnTo>
                    <a:pt x="6" y="146"/>
                  </a:lnTo>
                  <a:lnTo>
                    <a:pt x="8" y="148"/>
                  </a:lnTo>
                  <a:lnTo>
                    <a:pt x="8" y="152"/>
                  </a:lnTo>
                  <a:lnTo>
                    <a:pt x="6" y="156"/>
                  </a:lnTo>
                  <a:lnTo>
                    <a:pt x="6" y="156"/>
                  </a:lnTo>
                  <a:lnTo>
                    <a:pt x="2" y="160"/>
                  </a:lnTo>
                  <a:lnTo>
                    <a:pt x="2" y="164"/>
                  </a:lnTo>
                  <a:lnTo>
                    <a:pt x="2" y="170"/>
                  </a:lnTo>
                  <a:lnTo>
                    <a:pt x="4" y="176"/>
                  </a:lnTo>
                  <a:lnTo>
                    <a:pt x="4" y="182"/>
                  </a:lnTo>
                  <a:lnTo>
                    <a:pt x="4" y="182"/>
                  </a:lnTo>
                  <a:lnTo>
                    <a:pt x="2" y="188"/>
                  </a:lnTo>
                  <a:lnTo>
                    <a:pt x="2" y="192"/>
                  </a:lnTo>
                  <a:lnTo>
                    <a:pt x="4" y="196"/>
                  </a:lnTo>
                  <a:lnTo>
                    <a:pt x="2" y="204"/>
                  </a:lnTo>
                  <a:lnTo>
                    <a:pt x="2" y="204"/>
                  </a:lnTo>
                  <a:lnTo>
                    <a:pt x="0" y="210"/>
                  </a:lnTo>
                  <a:lnTo>
                    <a:pt x="0" y="216"/>
                  </a:lnTo>
                  <a:lnTo>
                    <a:pt x="0" y="226"/>
                  </a:lnTo>
                  <a:lnTo>
                    <a:pt x="2" y="232"/>
                  </a:lnTo>
                  <a:lnTo>
                    <a:pt x="6" y="234"/>
                  </a:lnTo>
                  <a:lnTo>
                    <a:pt x="6" y="234"/>
                  </a:lnTo>
                  <a:lnTo>
                    <a:pt x="8" y="234"/>
                  </a:lnTo>
                  <a:lnTo>
                    <a:pt x="10" y="236"/>
                  </a:lnTo>
                  <a:lnTo>
                    <a:pt x="12" y="240"/>
                  </a:lnTo>
                  <a:lnTo>
                    <a:pt x="10" y="244"/>
                  </a:lnTo>
                  <a:lnTo>
                    <a:pt x="10" y="244"/>
                  </a:lnTo>
                  <a:lnTo>
                    <a:pt x="8" y="246"/>
                  </a:lnTo>
                  <a:lnTo>
                    <a:pt x="10" y="250"/>
                  </a:lnTo>
                  <a:lnTo>
                    <a:pt x="14" y="254"/>
                  </a:lnTo>
                  <a:lnTo>
                    <a:pt x="20" y="260"/>
                  </a:lnTo>
                  <a:lnTo>
                    <a:pt x="22" y="264"/>
                  </a:lnTo>
                  <a:lnTo>
                    <a:pt x="22" y="268"/>
                  </a:lnTo>
                  <a:lnTo>
                    <a:pt x="22" y="268"/>
                  </a:lnTo>
                  <a:lnTo>
                    <a:pt x="22" y="276"/>
                  </a:lnTo>
                  <a:lnTo>
                    <a:pt x="24" y="276"/>
                  </a:lnTo>
                  <a:lnTo>
                    <a:pt x="26" y="274"/>
                  </a:lnTo>
                  <a:lnTo>
                    <a:pt x="26" y="274"/>
                  </a:lnTo>
                  <a:lnTo>
                    <a:pt x="30" y="274"/>
                  </a:lnTo>
                  <a:lnTo>
                    <a:pt x="32" y="274"/>
                  </a:lnTo>
                  <a:lnTo>
                    <a:pt x="32" y="276"/>
                  </a:lnTo>
                  <a:lnTo>
                    <a:pt x="32" y="282"/>
                  </a:lnTo>
                  <a:lnTo>
                    <a:pt x="32" y="282"/>
                  </a:lnTo>
                  <a:lnTo>
                    <a:pt x="30" y="288"/>
                  </a:lnTo>
                  <a:lnTo>
                    <a:pt x="32" y="292"/>
                  </a:lnTo>
                  <a:lnTo>
                    <a:pt x="34" y="296"/>
                  </a:lnTo>
                  <a:lnTo>
                    <a:pt x="30" y="302"/>
                  </a:lnTo>
                  <a:lnTo>
                    <a:pt x="30" y="302"/>
                  </a:lnTo>
                  <a:lnTo>
                    <a:pt x="34" y="306"/>
                  </a:lnTo>
                  <a:lnTo>
                    <a:pt x="36" y="310"/>
                  </a:lnTo>
                  <a:lnTo>
                    <a:pt x="34" y="316"/>
                  </a:lnTo>
                  <a:lnTo>
                    <a:pt x="28" y="322"/>
                  </a:lnTo>
                  <a:lnTo>
                    <a:pt x="28" y="322"/>
                  </a:lnTo>
                  <a:lnTo>
                    <a:pt x="24" y="330"/>
                  </a:lnTo>
                  <a:lnTo>
                    <a:pt x="22" y="336"/>
                  </a:lnTo>
                  <a:lnTo>
                    <a:pt x="24" y="342"/>
                  </a:lnTo>
                  <a:lnTo>
                    <a:pt x="24" y="352"/>
                  </a:lnTo>
                  <a:lnTo>
                    <a:pt x="24" y="352"/>
                  </a:lnTo>
                  <a:lnTo>
                    <a:pt x="26" y="356"/>
                  </a:lnTo>
                  <a:lnTo>
                    <a:pt x="28" y="360"/>
                  </a:lnTo>
                  <a:lnTo>
                    <a:pt x="32" y="366"/>
                  </a:lnTo>
                  <a:lnTo>
                    <a:pt x="38" y="372"/>
                  </a:lnTo>
                  <a:lnTo>
                    <a:pt x="38" y="376"/>
                  </a:lnTo>
                  <a:lnTo>
                    <a:pt x="38" y="380"/>
                  </a:lnTo>
                  <a:lnTo>
                    <a:pt x="38" y="380"/>
                  </a:lnTo>
                  <a:lnTo>
                    <a:pt x="36" y="382"/>
                  </a:lnTo>
                  <a:lnTo>
                    <a:pt x="32" y="384"/>
                  </a:lnTo>
                  <a:lnTo>
                    <a:pt x="32" y="384"/>
                  </a:lnTo>
                  <a:lnTo>
                    <a:pt x="34" y="390"/>
                  </a:lnTo>
                  <a:lnTo>
                    <a:pt x="34" y="390"/>
                  </a:lnTo>
                  <a:lnTo>
                    <a:pt x="36" y="394"/>
                  </a:lnTo>
                  <a:lnTo>
                    <a:pt x="34" y="396"/>
                  </a:lnTo>
                  <a:lnTo>
                    <a:pt x="30" y="400"/>
                  </a:lnTo>
                  <a:lnTo>
                    <a:pt x="30" y="400"/>
                  </a:lnTo>
                  <a:lnTo>
                    <a:pt x="32" y="404"/>
                  </a:lnTo>
                  <a:lnTo>
                    <a:pt x="32" y="404"/>
                  </a:lnTo>
                  <a:lnTo>
                    <a:pt x="32" y="406"/>
                  </a:lnTo>
                  <a:lnTo>
                    <a:pt x="30" y="408"/>
                  </a:lnTo>
                  <a:lnTo>
                    <a:pt x="30" y="410"/>
                  </a:lnTo>
                  <a:lnTo>
                    <a:pt x="32" y="414"/>
                  </a:lnTo>
                  <a:lnTo>
                    <a:pt x="32" y="414"/>
                  </a:lnTo>
                  <a:lnTo>
                    <a:pt x="32" y="422"/>
                  </a:lnTo>
                  <a:lnTo>
                    <a:pt x="34" y="430"/>
                  </a:lnTo>
                  <a:lnTo>
                    <a:pt x="40" y="440"/>
                  </a:lnTo>
                  <a:lnTo>
                    <a:pt x="44" y="446"/>
                  </a:lnTo>
                  <a:lnTo>
                    <a:pt x="44" y="448"/>
                  </a:lnTo>
                  <a:lnTo>
                    <a:pt x="42" y="450"/>
                  </a:lnTo>
                  <a:lnTo>
                    <a:pt x="42" y="450"/>
                  </a:lnTo>
                  <a:lnTo>
                    <a:pt x="38" y="452"/>
                  </a:lnTo>
                  <a:lnTo>
                    <a:pt x="40" y="454"/>
                  </a:lnTo>
                  <a:lnTo>
                    <a:pt x="42" y="456"/>
                  </a:lnTo>
                  <a:lnTo>
                    <a:pt x="42" y="460"/>
                  </a:lnTo>
                  <a:lnTo>
                    <a:pt x="42" y="460"/>
                  </a:lnTo>
                  <a:lnTo>
                    <a:pt x="42" y="462"/>
                  </a:lnTo>
                  <a:lnTo>
                    <a:pt x="42" y="464"/>
                  </a:lnTo>
                  <a:lnTo>
                    <a:pt x="46" y="466"/>
                  </a:lnTo>
                  <a:lnTo>
                    <a:pt x="48" y="466"/>
                  </a:lnTo>
                  <a:lnTo>
                    <a:pt x="48" y="470"/>
                  </a:lnTo>
                  <a:lnTo>
                    <a:pt x="48" y="470"/>
                  </a:lnTo>
                  <a:lnTo>
                    <a:pt x="46" y="470"/>
                  </a:lnTo>
                  <a:lnTo>
                    <a:pt x="48" y="472"/>
                  </a:lnTo>
                  <a:lnTo>
                    <a:pt x="50" y="474"/>
                  </a:lnTo>
                  <a:lnTo>
                    <a:pt x="54" y="476"/>
                  </a:lnTo>
                  <a:lnTo>
                    <a:pt x="54" y="478"/>
                  </a:lnTo>
                  <a:lnTo>
                    <a:pt x="52" y="482"/>
                  </a:lnTo>
                  <a:lnTo>
                    <a:pt x="52" y="482"/>
                  </a:lnTo>
                  <a:lnTo>
                    <a:pt x="50" y="486"/>
                  </a:lnTo>
                  <a:lnTo>
                    <a:pt x="50" y="488"/>
                  </a:lnTo>
                  <a:lnTo>
                    <a:pt x="52" y="490"/>
                  </a:lnTo>
                  <a:lnTo>
                    <a:pt x="54" y="488"/>
                  </a:lnTo>
                  <a:lnTo>
                    <a:pt x="54" y="488"/>
                  </a:lnTo>
                  <a:lnTo>
                    <a:pt x="58" y="486"/>
                  </a:lnTo>
                  <a:lnTo>
                    <a:pt x="60" y="486"/>
                  </a:lnTo>
                  <a:lnTo>
                    <a:pt x="62" y="490"/>
                  </a:lnTo>
                  <a:lnTo>
                    <a:pt x="60" y="494"/>
                  </a:lnTo>
                  <a:lnTo>
                    <a:pt x="60" y="494"/>
                  </a:lnTo>
                  <a:lnTo>
                    <a:pt x="58" y="498"/>
                  </a:lnTo>
                  <a:lnTo>
                    <a:pt x="54" y="498"/>
                  </a:lnTo>
                  <a:lnTo>
                    <a:pt x="54" y="500"/>
                  </a:lnTo>
                  <a:lnTo>
                    <a:pt x="54" y="504"/>
                  </a:lnTo>
                  <a:lnTo>
                    <a:pt x="54" y="504"/>
                  </a:lnTo>
                  <a:lnTo>
                    <a:pt x="60" y="508"/>
                  </a:lnTo>
                  <a:lnTo>
                    <a:pt x="66" y="512"/>
                  </a:lnTo>
                  <a:lnTo>
                    <a:pt x="70" y="514"/>
                  </a:lnTo>
                  <a:lnTo>
                    <a:pt x="70" y="516"/>
                  </a:lnTo>
                  <a:lnTo>
                    <a:pt x="68" y="518"/>
                  </a:lnTo>
                  <a:lnTo>
                    <a:pt x="68" y="518"/>
                  </a:lnTo>
                  <a:lnTo>
                    <a:pt x="66" y="520"/>
                  </a:lnTo>
                  <a:lnTo>
                    <a:pt x="66" y="522"/>
                  </a:lnTo>
                  <a:lnTo>
                    <a:pt x="66" y="524"/>
                  </a:lnTo>
                  <a:lnTo>
                    <a:pt x="64" y="528"/>
                  </a:lnTo>
                  <a:lnTo>
                    <a:pt x="64" y="528"/>
                  </a:lnTo>
                  <a:lnTo>
                    <a:pt x="64" y="528"/>
                  </a:lnTo>
                  <a:lnTo>
                    <a:pt x="64" y="530"/>
                  </a:lnTo>
                  <a:lnTo>
                    <a:pt x="68" y="532"/>
                  </a:lnTo>
                  <a:lnTo>
                    <a:pt x="74" y="536"/>
                  </a:lnTo>
                  <a:lnTo>
                    <a:pt x="74" y="540"/>
                  </a:lnTo>
                  <a:lnTo>
                    <a:pt x="74" y="544"/>
                  </a:lnTo>
                  <a:lnTo>
                    <a:pt x="74" y="544"/>
                  </a:lnTo>
                  <a:lnTo>
                    <a:pt x="72" y="550"/>
                  </a:lnTo>
                  <a:lnTo>
                    <a:pt x="72" y="556"/>
                  </a:lnTo>
                  <a:lnTo>
                    <a:pt x="76" y="562"/>
                  </a:lnTo>
                  <a:lnTo>
                    <a:pt x="78" y="568"/>
                  </a:lnTo>
                  <a:lnTo>
                    <a:pt x="78" y="570"/>
                  </a:lnTo>
                  <a:lnTo>
                    <a:pt x="78" y="572"/>
                  </a:lnTo>
                  <a:lnTo>
                    <a:pt x="78" y="572"/>
                  </a:lnTo>
                  <a:lnTo>
                    <a:pt x="74" y="576"/>
                  </a:lnTo>
                  <a:lnTo>
                    <a:pt x="76" y="576"/>
                  </a:lnTo>
                  <a:lnTo>
                    <a:pt x="76" y="578"/>
                  </a:lnTo>
                  <a:lnTo>
                    <a:pt x="74" y="582"/>
                  </a:lnTo>
                  <a:lnTo>
                    <a:pt x="74" y="582"/>
                  </a:lnTo>
                  <a:lnTo>
                    <a:pt x="74" y="584"/>
                  </a:lnTo>
                  <a:lnTo>
                    <a:pt x="74" y="588"/>
                  </a:lnTo>
                  <a:lnTo>
                    <a:pt x="78" y="590"/>
                  </a:lnTo>
                  <a:lnTo>
                    <a:pt x="82" y="594"/>
                  </a:lnTo>
                  <a:lnTo>
                    <a:pt x="82" y="596"/>
                  </a:lnTo>
                  <a:lnTo>
                    <a:pt x="80" y="598"/>
                  </a:lnTo>
                  <a:lnTo>
                    <a:pt x="80" y="598"/>
                  </a:lnTo>
                  <a:lnTo>
                    <a:pt x="80" y="604"/>
                  </a:lnTo>
                  <a:lnTo>
                    <a:pt x="82" y="608"/>
                  </a:lnTo>
                  <a:lnTo>
                    <a:pt x="84" y="610"/>
                  </a:lnTo>
                  <a:lnTo>
                    <a:pt x="84" y="614"/>
                  </a:lnTo>
                  <a:lnTo>
                    <a:pt x="84" y="614"/>
                  </a:lnTo>
                  <a:lnTo>
                    <a:pt x="82" y="620"/>
                  </a:lnTo>
                  <a:lnTo>
                    <a:pt x="82" y="626"/>
                  </a:lnTo>
                  <a:lnTo>
                    <a:pt x="86" y="634"/>
                  </a:lnTo>
                  <a:lnTo>
                    <a:pt x="88" y="638"/>
                  </a:lnTo>
                  <a:lnTo>
                    <a:pt x="88" y="638"/>
                  </a:lnTo>
                  <a:lnTo>
                    <a:pt x="90" y="636"/>
                  </a:lnTo>
                  <a:lnTo>
                    <a:pt x="94" y="634"/>
                  </a:lnTo>
                  <a:lnTo>
                    <a:pt x="98" y="630"/>
                  </a:lnTo>
                  <a:lnTo>
                    <a:pt x="102" y="630"/>
                  </a:lnTo>
                  <a:lnTo>
                    <a:pt x="102" y="630"/>
                  </a:lnTo>
                  <a:lnTo>
                    <a:pt x="106" y="634"/>
                  </a:lnTo>
                  <a:lnTo>
                    <a:pt x="106" y="638"/>
                  </a:lnTo>
                  <a:lnTo>
                    <a:pt x="104" y="640"/>
                  </a:lnTo>
                  <a:lnTo>
                    <a:pt x="106" y="644"/>
                  </a:lnTo>
                  <a:lnTo>
                    <a:pt x="106" y="644"/>
                  </a:lnTo>
                  <a:lnTo>
                    <a:pt x="108" y="648"/>
                  </a:lnTo>
                  <a:lnTo>
                    <a:pt x="108" y="650"/>
                  </a:lnTo>
                  <a:lnTo>
                    <a:pt x="110" y="652"/>
                  </a:lnTo>
                  <a:lnTo>
                    <a:pt x="116" y="652"/>
                  </a:lnTo>
                  <a:lnTo>
                    <a:pt x="116" y="652"/>
                  </a:lnTo>
                  <a:lnTo>
                    <a:pt x="120" y="654"/>
                  </a:lnTo>
                  <a:lnTo>
                    <a:pt x="124" y="656"/>
                  </a:lnTo>
                  <a:lnTo>
                    <a:pt x="124" y="658"/>
                  </a:lnTo>
                  <a:lnTo>
                    <a:pt x="158" y="658"/>
                  </a:lnTo>
                  <a:lnTo>
                    <a:pt x="158" y="658"/>
                  </a:lnTo>
                  <a:lnTo>
                    <a:pt x="162" y="660"/>
                  </a:lnTo>
                  <a:lnTo>
                    <a:pt x="166" y="658"/>
                  </a:lnTo>
                  <a:lnTo>
                    <a:pt x="172" y="660"/>
                  </a:lnTo>
                  <a:lnTo>
                    <a:pt x="184" y="664"/>
                  </a:lnTo>
                  <a:lnTo>
                    <a:pt x="184" y="664"/>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5" name="Australia"/>
            <p:cNvSpPr>
              <a:spLocks/>
            </p:cNvSpPr>
            <p:nvPr/>
          </p:nvSpPr>
          <p:spPr bwMode="auto">
            <a:xfrm>
              <a:off x="7129164" y="3978010"/>
              <a:ext cx="1132417" cy="1021292"/>
            </a:xfrm>
            <a:custGeom>
              <a:avLst/>
              <a:gdLst/>
              <a:ahLst/>
              <a:cxnLst/>
              <a:rect l="l" t="t" r="r" b="b"/>
              <a:pathLst>
                <a:path w="1132417" h="1021292">
                  <a:moveTo>
                    <a:pt x="743479" y="936625"/>
                  </a:moveTo>
                  <a:lnTo>
                    <a:pt x="751416" y="936625"/>
                  </a:lnTo>
                  <a:lnTo>
                    <a:pt x="754062" y="939271"/>
                  </a:lnTo>
                  <a:lnTo>
                    <a:pt x="751416" y="941917"/>
                  </a:lnTo>
                  <a:lnTo>
                    <a:pt x="748771" y="944563"/>
                  </a:lnTo>
                  <a:lnTo>
                    <a:pt x="748771" y="949854"/>
                  </a:lnTo>
                  <a:lnTo>
                    <a:pt x="748771" y="952500"/>
                  </a:lnTo>
                  <a:lnTo>
                    <a:pt x="746125" y="952500"/>
                  </a:lnTo>
                  <a:lnTo>
                    <a:pt x="743479" y="955146"/>
                  </a:lnTo>
                  <a:lnTo>
                    <a:pt x="740833" y="960438"/>
                  </a:lnTo>
                  <a:lnTo>
                    <a:pt x="738187" y="965730"/>
                  </a:lnTo>
                  <a:lnTo>
                    <a:pt x="732896" y="973667"/>
                  </a:lnTo>
                  <a:lnTo>
                    <a:pt x="727604" y="978959"/>
                  </a:lnTo>
                  <a:lnTo>
                    <a:pt x="727604" y="976313"/>
                  </a:lnTo>
                  <a:lnTo>
                    <a:pt x="727604" y="973667"/>
                  </a:lnTo>
                  <a:lnTo>
                    <a:pt x="724958" y="973667"/>
                  </a:lnTo>
                  <a:lnTo>
                    <a:pt x="719666" y="978959"/>
                  </a:lnTo>
                  <a:lnTo>
                    <a:pt x="709083" y="992188"/>
                  </a:lnTo>
                  <a:lnTo>
                    <a:pt x="701145" y="997480"/>
                  </a:lnTo>
                  <a:lnTo>
                    <a:pt x="695854" y="997480"/>
                  </a:lnTo>
                  <a:lnTo>
                    <a:pt x="690562" y="1000125"/>
                  </a:lnTo>
                  <a:lnTo>
                    <a:pt x="685270" y="1002771"/>
                  </a:lnTo>
                  <a:lnTo>
                    <a:pt x="679979" y="1005417"/>
                  </a:lnTo>
                  <a:lnTo>
                    <a:pt x="674687" y="1008063"/>
                  </a:lnTo>
                  <a:lnTo>
                    <a:pt x="666749" y="1008063"/>
                  </a:lnTo>
                  <a:lnTo>
                    <a:pt x="664104" y="1013355"/>
                  </a:lnTo>
                  <a:lnTo>
                    <a:pt x="656166" y="1018646"/>
                  </a:lnTo>
                  <a:lnTo>
                    <a:pt x="650874" y="1021292"/>
                  </a:lnTo>
                  <a:lnTo>
                    <a:pt x="645583" y="1018646"/>
                  </a:lnTo>
                  <a:lnTo>
                    <a:pt x="637645" y="1016001"/>
                  </a:lnTo>
                  <a:lnTo>
                    <a:pt x="640291" y="1016001"/>
                  </a:lnTo>
                  <a:lnTo>
                    <a:pt x="640291" y="1013355"/>
                  </a:lnTo>
                  <a:lnTo>
                    <a:pt x="637645" y="1008063"/>
                  </a:lnTo>
                  <a:lnTo>
                    <a:pt x="637645" y="1002771"/>
                  </a:lnTo>
                  <a:lnTo>
                    <a:pt x="640291" y="1000125"/>
                  </a:lnTo>
                  <a:lnTo>
                    <a:pt x="640291" y="994834"/>
                  </a:lnTo>
                  <a:lnTo>
                    <a:pt x="640291" y="986896"/>
                  </a:lnTo>
                  <a:lnTo>
                    <a:pt x="642937" y="981605"/>
                  </a:lnTo>
                  <a:lnTo>
                    <a:pt x="642937" y="976313"/>
                  </a:lnTo>
                  <a:lnTo>
                    <a:pt x="645583" y="976313"/>
                  </a:lnTo>
                  <a:lnTo>
                    <a:pt x="648229" y="978959"/>
                  </a:lnTo>
                  <a:lnTo>
                    <a:pt x="648229" y="984250"/>
                  </a:lnTo>
                  <a:lnTo>
                    <a:pt x="653520" y="973667"/>
                  </a:lnTo>
                  <a:lnTo>
                    <a:pt x="656166" y="968375"/>
                  </a:lnTo>
                  <a:lnTo>
                    <a:pt x="653520" y="963084"/>
                  </a:lnTo>
                  <a:lnTo>
                    <a:pt x="653520" y="957792"/>
                  </a:lnTo>
                  <a:lnTo>
                    <a:pt x="653520" y="955146"/>
                  </a:lnTo>
                  <a:lnTo>
                    <a:pt x="656166" y="947209"/>
                  </a:lnTo>
                  <a:lnTo>
                    <a:pt x="661458" y="941917"/>
                  </a:lnTo>
                  <a:lnTo>
                    <a:pt x="664104" y="941917"/>
                  </a:lnTo>
                  <a:lnTo>
                    <a:pt x="669395" y="941917"/>
                  </a:lnTo>
                  <a:lnTo>
                    <a:pt x="674687" y="944563"/>
                  </a:lnTo>
                  <a:lnTo>
                    <a:pt x="674687" y="941917"/>
                  </a:lnTo>
                  <a:lnTo>
                    <a:pt x="677333" y="941917"/>
                  </a:lnTo>
                  <a:lnTo>
                    <a:pt x="679979" y="941917"/>
                  </a:lnTo>
                  <a:lnTo>
                    <a:pt x="687916" y="944563"/>
                  </a:lnTo>
                  <a:lnTo>
                    <a:pt x="695854" y="947209"/>
                  </a:lnTo>
                  <a:lnTo>
                    <a:pt x="706437" y="947209"/>
                  </a:lnTo>
                  <a:lnTo>
                    <a:pt x="709083" y="947209"/>
                  </a:lnTo>
                  <a:lnTo>
                    <a:pt x="714375" y="947209"/>
                  </a:lnTo>
                  <a:lnTo>
                    <a:pt x="722312" y="944563"/>
                  </a:lnTo>
                  <a:lnTo>
                    <a:pt x="727604" y="944563"/>
                  </a:lnTo>
                  <a:lnTo>
                    <a:pt x="735541" y="939271"/>
                  </a:lnTo>
                  <a:close/>
                  <a:moveTo>
                    <a:pt x="965730" y="0"/>
                  </a:moveTo>
                  <a:lnTo>
                    <a:pt x="971021" y="0"/>
                  </a:lnTo>
                  <a:lnTo>
                    <a:pt x="973667" y="0"/>
                  </a:lnTo>
                  <a:lnTo>
                    <a:pt x="973667" y="2646"/>
                  </a:lnTo>
                  <a:lnTo>
                    <a:pt x="976313" y="5292"/>
                  </a:lnTo>
                  <a:lnTo>
                    <a:pt x="978959" y="10583"/>
                  </a:lnTo>
                  <a:lnTo>
                    <a:pt x="976313" y="18521"/>
                  </a:lnTo>
                  <a:lnTo>
                    <a:pt x="973667" y="26458"/>
                  </a:lnTo>
                  <a:lnTo>
                    <a:pt x="976313" y="29104"/>
                  </a:lnTo>
                  <a:lnTo>
                    <a:pt x="978959" y="31750"/>
                  </a:lnTo>
                  <a:lnTo>
                    <a:pt x="978959" y="37042"/>
                  </a:lnTo>
                  <a:lnTo>
                    <a:pt x="978959" y="39687"/>
                  </a:lnTo>
                  <a:lnTo>
                    <a:pt x="981605" y="42333"/>
                  </a:lnTo>
                  <a:lnTo>
                    <a:pt x="984251" y="44979"/>
                  </a:lnTo>
                  <a:lnTo>
                    <a:pt x="984251" y="50271"/>
                  </a:lnTo>
                  <a:lnTo>
                    <a:pt x="981605" y="52917"/>
                  </a:lnTo>
                  <a:lnTo>
                    <a:pt x="984251" y="52917"/>
                  </a:lnTo>
                  <a:lnTo>
                    <a:pt x="986896" y="50271"/>
                  </a:lnTo>
                  <a:lnTo>
                    <a:pt x="989542" y="52917"/>
                  </a:lnTo>
                  <a:lnTo>
                    <a:pt x="989542" y="55562"/>
                  </a:lnTo>
                  <a:lnTo>
                    <a:pt x="989542" y="58208"/>
                  </a:lnTo>
                  <a:lnTo>
                    <a:pt x="989542" y="60854"/>
                  </a:lnTo>
                  <a:lnTo>
                    <a:pt x="989542" y="68792"/>
                  </a:lnTo>
                  <a:lnTo>
                    <a:pt x="989542" y="74083"/>
                  </a:lnTo>
                  <a:lnTo>
                    <a:pt x="989542" y="82021"/>
                  </a:lnTo>
                  <a:lnTo>
                    <a:pt x="986896" y="89958"/>
                  </a:lnTo>
                  <a:lnTo>
                    <a:pt x="984251" y="95250"/>
                  </a:lnTo>
                  <a:lnTo>
                    <a:pt x="986896" y="97896"/>
                  </a:lnTo>
                  <a:lnTo>
                    <a:pt x="989542" y="100542"/>
                  </a:lnTo>
                  <a:lnTo>
                    <a:pt x="989542" y="105833"/>
                  </a:lnTo>
                  <a:lnTo>
                    <a:pt x="986896" y="111125"/>
                  </a:lnTo>
                  <a:lnTo>
                    <a:pt x="989542" y="113771"/>
                  </a:lnTo>
                  <a:lnTo>
                    <a:pt x="994834" y="113771"/>
                  </a:lnTo>
                  <a:lnTo>
                    <a:pt x="1000126" y="113771"/>
                  </a:lnTo>
                  <a:lnTo>
                    <a:pt x="1002771" y="111125"/>
                  </a:lnTo>
                  <a:lnTo>
                    <a:pt x="1008063" y="108479"/>
                  </a:lnTo>
                  <a:lnTo>
                    <a:pt x="1010709" y="113771"/>
                  </a:lnTo>
                  <a:lnTo>
                    <a:pt x="1008063" y="116417"/>
                  </a:lnTo>
                  <a:lnTo>
                    <a:pt x="1010709" y="119062"/>
                  </a:lnTo>
                  <a:lnTo>
                    <a:pt x="1016001" y="124354"/>
                  </a:lnTo>
                  <a:lnTo>
                    <a:pt x="1023938" y="129646"/>
                  </a:lnTo>
                  <a:lnTo>
                    <a:pt x="1026584" y="129646"/>
                  </a:lnTo>
                  <a:lnTo>
                    <a:pt x="1029230" y="132292"/>
                  </a:lnTo>
                  <a:lnTo>
                    <a:pt x="1031876" y="134937"/>
                  </a:lnTo>
                  <a:lnTo>
                    <a:pt x="1031876" y="140229"/>
                  </a:lnTo>
                  <a:lnTo>
                    <a:pt x="1026584" y="142875"/>
                  </a:lnTo>
                  <a:lnTo>
                    <a:pt x="1026584" y="148167"/>
                  </a:lnTo>
                  <a:lnTo>
                    <a:pt x="1026584" y="156104"/>
                  </a:lnTo>
                  <a:lnTo>
                    <a:pt x="1023938" y="158750"/>
                  </a:lnTo>
                  <a:lnTo>
                    <a:pt x="1021292" y="164041"/>
                  </a:lnTo>
                  <a:lnTo>
                    <a:pt x="1021292" y="166687"/>
                  </a:lnTo>
                  <a:lnTo>
                    <a:pt x="1021292" y="171979"/>
                  </a:lnTo>
                  <a:lnTo>
                    <a:pt x="1021292" y="177271"/>
                  </a:lnTo>
                  <a:lnTo>
                    <a:pt x="1018646" y="179916"/>
                  </a:lnTo>
                  <a:lnTo>
                    <a:pt x="1021292" y="187854"/>
                  </a:lnTo>
                  <a:lnTo>
                    <a:pt x="1026584" y="198437"/>
                  </a:lnTo>
                  <a:lnTo>
                    <a:pt x="1026584" y="209021"/>
                  </a:lnTo>
                  <a:lnTo>
                    <a:pt x="1026584" y="216958"/>
                  </a:lnTo>
                  <a:lnTo>
                    <a:pt x="1023938" y="224896"/>
                  </a:lnTo>
                  <a:lnTo>
                    <a:pt x="1018646" y="238125"/>
                  </a:lnTo>
                  <a:lnTo>
                    <a:pt x="1018646" y="243416"/>
                  </a:lnTo>
                  <a:lnTo>
                    <a:pt x="1018646" y="248708"/>
                  </a:lnTo>
                  <a:lnTo>
                    <a:pt x="1021292" y="254000"/>
                  </a:lnTo>
                  <a:lnTo>
                    <a:pt x="1023938" y="259291"/>
                  </a:lnTo>
                  <a:lnTo>
                    <a:pt x="1026584" y="264583"/>
                  </a:lnTo>
                  <a:lnTo>
                    <a:pt x="1037167" y="269875"/>
                  </a:lnTo>
                  <a:lnTo>
                    <a:pt x="1045105" y="275166"/>
                  </a:lnTo>
                  <a:lnTo>
                    <a:pt x="1047751" y="280458"/>
                  </a:lnTo>
                  <a:lnTo>
                    <a:pt x="1050396" y="285750"/>
                  </a:lnTo>
                  <a:lnTo>
                    <a:pt x="1055688" y="285750"/>
                  </a:lnTo>
                  <a:lnTo>
                    <a:pt x="1060980" y="285750"/>
                  </a:lnTo>
                  <a:lnTo>
                    <a:pt x="1063626" y="288396"/>
                  </a:lnTo>
                  <a:lnTo>
                    <a:pt x="1066271" y="291041"/>
                  </a:lnTo>
                  <a:lnTo>
                    <a:pt x="1068917" y="291041"/>
                  </a:lnTo>
                  <a:lnTo>
                    <a:pt x="1071563" y="291041"/>
                  </a:lnTo>
                  <a:lnTo>
                    <a:pt x="1071563" y="293687"/>
                  </a:lnTo>
                  <a:lnTo>
                    <a:pt x="1071563" y="298979"/>
                  </a:lnTo>
                  <a:lnTo>
                    <a:pt x="1076855" y="301625"/>
                  </a:lnTo>
                  <a:lnTo>
                    <a:pt x="1079501" y="304271"/>
                  </a:lnTo>
                  <a:lnTo>
                    <a:pt x="1082146" y="309562"/>
                  </a:lnTo>
                  <a:lnTo>
                    <a:pt x="1082146" y="317500"/>
                  </a:lnTo>
                  <a:lnTo>
                    <a:pt x="1079501" y="314854"/>
                  </a:lnTo>
                  <a:lnTo>
                    <a:pt x="1076855" y="314854"/>
                  </a:lnTo>
                  <a:lnTo>
                    <a:pt x="1074209" y="314854"/>
                  </a:lnTo>
                  <a:lnTo>
                    <a:pt x="1071563" y="317500"/>
                  </a:lnTo>
                  <a:lnTo>
                    <a:pt x="1074209" y="320146"/>
                  </a:lnTo>
                  <a:lnTo>
                    <a:pt x="1076855" y="325437"/>
                  </a:lnTo>
                  <a:lnTo>
                    <a:pt x="1079501" y="333375"/>
                  </a:lnTo>
                  <a:lnTo>
                    <a:pt x="1079501" y="336021"/>
                  </a:lnTo>
                  <a:lnTo>
                    <a:pt x="1079501" y="341312"/>
                  </a:lnTo>
                  <a:lnTo>
                    <a:pt x="1076855" y="346604"/>
                  </a:lnTo>
                  <a:lnTo>
                    <a:pt x="1076855" y="349250"/>
                  </a:lnTo>
                  <a:lnTo>
                    <a:pt x="1079501" y="351896"/>
                  </a:lnTo>
                  <a:lnTo>
                    <a:pt x="1079501" y="354541"/>
                  </a:lnTo>
                  <a:lnTo>
                    <a:pt x="1076855" y="367771"/>
                  </a:lnTo>
                  <a:lnTo>
                    <a:pt x="1079501" y="370416"/>
                  </a:lnTo>
                  <a:lnTo>
                    <a:pt x="1082146" y="375708"/>
                  </a:lnTo>
                  <a:lnTo>
                    <a:pt x="1084792" y="367771"/>
                  </a:lnTo>
                  <a:lnTo>
                    <a:pt x="1090084" y="365125"/>
                  </a:lnTo>
                  <a:lnTo>
                    <a:pt x="1095376" y="370416"/>
                  </a:lnTo>
                  <a:lnTo>
                    <a:pt x="1103313" y="378354"/>
                  </a:lnTo>
                  <a:lnTo>
                    <a:pt x="1100667" y="373062"/>
                  </a:lnTo>
                  <a:lnTo>
                    <a:pt x="1100667" y="370416"/>
                  </a:lnTo>
                  <a:lnTo>
                    <a:pt x="1100667" y="367771"/>
                  </a:lnTo>
                  <a:lnTo>
                    <a:pt x="1105959" y="367771"/>
                  </a:lnTo>
                  <a:lnTo>
                    <a:pt x="1108605" y="370416"/>
                  </a:lnTo>
                  <a:lnTo>
                    <a:pt x="1108605" y="378354"/>
                  </a:lnTo>
                  <a:lnTo>
                    <a:pt x="1103313" y="391583"/>
                  </a:lnTo>
                  <a:lnTo>
                    <a:pt x="1103313" y="396875"/>
                  </a:lnTo>
                  <a:lnTo>
                    <a:pt x="1100667" y="402166"/>
                  </a:lnTo>
                  <a:lnTo>
                    <a:pt x="1105959" y="410104"/>
                  </a:lnTo>
                  <a:lnTo>
                    <a:pt x="1108605" y="415396"/>
                  </a:lnTo>
                  <a:lnTo>
                    <a:pt x="1108605" y="418041"/>
                  </a:lnTo>
                  <a:lnTo>
                    <a:pt x="1108605" y="423333"/>
                  </a:lnTo>
                  <a:lnTo>
                    <a:pt x="1111251" y="423333"/>
                  </a:lnTo>
                  <a:lnTo>
                    <a:pt x="1113896" y="425979"/>
                  </a:lnTo>
                  <a:lnTo>
                    <a:pt x="1119188" y="447146"/>
                  </a:lnTo>
                  <a:lnTo>
                    <a:pt x="1121834" y="457729"/>
                  </a:lnTo>
                  <a:lnTo>
                    <a:pt x="1124480" y="455083"/>
                  </a:lnTo>
                  <a:lnTo>
                    <a:pt x="1127126" y="444500"/>
                  </a:lnTo>
                  <a:lnTo>
                    <a:pt x="1129771" y="441854"/>
                  </a:lnTo>
                  <a:lnTo>
                    <a:pt x="1132417" y="447146"/>
                  </a:lnTo>
                  <a:lnTo>
                    <a:pt x="1132417" y="449791"/>
                  </a:lnTo>
                  <a:lnTo>
                    <a:pt x="1129771" y="455083"/>
                  </a:lnTo>
                  <a:lnTo>
                    <a:pt x="1127126" y="463020"/>
                  </a:lnTo>
                  <a:lnTo>
                    <a:pt x="1124480" y="465666"/>
                  </a:lnTo>
                  <a:lnTo>
                    <a:pt x="1124480" y="473604"/>
                  </a:lnTo>
                  <a:lnTo>
                    <a:pt x="1127126" y="478895"/>
                  </a:lnTo>
                  <a:lnTo>
                    <a:pt x="1124480" y="484187"/>
                  </a:lnTo>
                  <a:lnTo>
                    <a:pt x="1119188" y="492125"/>
                  </a:lnTo>
                  <a:lnTo>
                    <a:pt x="1116542" y="500062"/>
                  </a:lnTo>
                  <a:lnTo>
                    <a:pt x="1113896" y="502708"/>
                  </a:lnTo>
                  <a:lnTo>
                    <a:pt x="1116542" y="505354"/>
                  </a:lnTo>
                  <a:lnTo>
                    <a:pt x="1119188" y="510645"/>
                  </a:lnTo>
                  <a:lnTo>
                    <a:pt x="1119188" y="518583"/>
                  </a:lnTo>
                  <a:lnTo>
                    <a:pt x="1113896" y="539750"/>
                  </a:lnTo>
                  <a:lnTo>
                    <a:pt x="1103313" y="563562"/>
                  </a:lnTo>
                  <a:lnTo>
                    <a:pt x="1095376" y="574145"/>
                  </a:lnTo>
                  <a:lnTo>
                    <a:pt x="1087438" y="584729"/>
                  </a:lnTo>
                  <a:lnTo>
                    <a:pt x="1074209" y="600604"/>
                  </a:lnTo>
                  <a:lnTo>
                    <a:pt x="1063626" y="616479"/>
                  </a:lnTo>
                  <a:lnTo>
                    <a:pt x="1058334" y="627062"/>
                  </a:lnTo>
                  <a:lnTo>
                    <a:pt x="1053042" y="635000"/>
                  </a:lnTo>
                  <a:lnTo>
                    <a:pt x="1042459" y="645583"/>
                  </a:lnTo>
                  <a:lnTo>
                    <a:pt x="1042459" y="650875"/>
                  </a:lnTo>
                  <a:lnTo>
                    <a:pt x="1045105" y="653520"/>
                  </a:lnTo>
                  <a:lnTo>
                    <a:pt x="1045105" y="658812"/>
                  </a:lnTo>
                  <a:lnTo>
                    <a:pt x="1039813" y="664104"/>
                  </a:lnTo>
                  <a:lnTo>
                    <a:pt x="1023938" y="677333"/>
                  </a:lnTo>
                  <a:lnTo>
                    <a:pt x="1000126" y="698500"/>
                  </a:lnTo>
                  <a:lnTo>
                    <a:pt x="997480" y="703791"/>
                  </a:lnTo>
                  <a:lnTo>
                    <a:pt x="992188" y="709083"/>
                  </a:lnTo>
                  <a:lnTo>
                    <a:pt x="981605" y="711729"/>
                  </a:lnTo>
                  <a:lnTo>
                    <a:pt x="973667" y="714375"/>
                  </a:lnTo>
                  <a:lnTo>
                    <a:pt x="973667" y="717020"/>
                  </a:lnTo>
                  <a:lnTo>
                    <a:pt x="973667" y="719666"/>
                  </a:lnTo>
                  <a:lnTo>
                    <a:pt x="973667" y="722312"/>
                  </a:lnTo>
                  <a:lnTo>
                    <a:pt x="971021" y="722312"/>
                  </a:lnTo>
                  <a:lnTo>
                    <a:pt x="965730" y="722312"/>
                  </a:lnTo>
                  <a:lnTo>
                    <a:pt x="960438" y="727604"/>
                  </a:lnTo>
                  <a:lnTo>
                    <a:pt x="949855" y="743479"/>
                  </a:lnTo>
                  <a:lnTo>
                    <a:pt x="933980" y="762000"/>
                  </a:lnTo>
                  <a:lnTo>
                    <a:pt x="918105" y="777875"/>
                  </a:lnTo>
                  <a:lnTo>
                    <a:pt x="912813" y="783166"/>
                  </a:lnTo>
                  <a:lnTo>
                    <a:pt x="910167" y="791104"/>
                  </a:lnTo>
                  <a:lnTo>
                    <a:pt x="907521" y="799041"/>
                  </a:lnTo>
                  <a:lnTo>
                    <a:pt x="904876" y="799041"/>
                  </a:lnTo>
                  <a:lnTo>
                    <a:pt x="899584" y="804333"/>
                  </a:lnTo>
                  <a:lnTo>
                    <a:pt x="891646" y="812270"/>
                  </a:lnTo>
                  <a:lnTo>
                    <a:pt x="883709" y="812270"/>
                  </a:lnTo>
                  <a:lnTo>
                    <a:pt x="878417" y="812270"/>
                  </a:lnTo>
                  <a:lnTo>
                    <a:pt x="873126" y="814916"/>
                  </a:lnTo>
                  <a:lnTo>
                    <a:pt x="867834" y="822854"/>
                  </a:lnTo>
                  <a:lnTo>
                    <a:pt x="862542" y="828145"/>
                  </a:lnTo>
                  <a:lnTo>
                    <a:pt x="857251" y="833437"/>
                  </a:lnTo>
                  <a:lnTo>
                    <a:pt x="851959" y="836083"/>
                  </a:lnTo>
                  <a:lnTo>
                    <a:pt x="849313" y="838729"/>
                  </a:lnTo>
                  <a:lnTo>
                    <a:pt x="846667" y="844020"/>
                  </a:lnTo>
                  <a:lnTo>
                    <a:pt x="844021" y="849312"/>
                  </a:lnTo>
                  <a:lnTo>
                    <a:pt x="844021" y="851958"/>
                  </a:lnTo>
                  <a:lnTo>
                    <a:pt x="841376" y="849312"/>
                  </a:lnTo>
                  <a:lnTo>
                    <a:pt x="838730" y="851958"/>
                  </a:lnTo>
                  <a:lnTo>
                    <a:pt x="836084" y="854604"/>
                  </a:lnTo>
                  <a:lnTo>
                    <a:pt x="825500" y="854604"/>
                  </a:lnTo>
                  <a:lnTo>
                    <a:pt x="799042" y="851958"/>
                  </a:lnTo>
                  <a:lnTo>
                    <a:pt x="791105" y="851958"/>
                  </a:lnTo>
                  <a:lnTo>
                    <a:pt x="785813" y="854604"/>
                  </a:lnTo>
                  <a:lnTo>
                    <a:pt x="772584" y="865187"/>
                  </a:lnTo>
                  <a:lnTo>
                    <a:pt x="762000" y="875770"/>
                  </a:lnTo>
                  <a:lnTo>
                    <a:pt x="748771" y="883708"/>
                  </a:lnTo>
                  <a:lnTo>
                    <a:pt x="740834" y="886354"/>
                  </a:lnTo>
                  <a:lnTo>
                    <a:pt x="738188" y="886354"/>
                  </a:lnTo>
                  <a:lnTo>
                    <a:pt x="738188" y="881062"/>
                  </a:lnTo>
                  <a:lnTo>
                    <a:pt x="732896" y="878416"/>
                  </a:lnTo>
                  <a:lnTo>
                    <a:pt x="724959" y="878416"/>
                  </a:lnTo>
                  <a:lnTo>
                    <a:pt x="722313" y="875770"/>
                  </a:lnTo>
                  <a:lnTo>
                    <a:pt x="722313" y="873125"/>
                  </a:lnTo>
                  <a:lnTo>
                    <a:pt x="724959" y="870479"/>
                  </a:lnTo>
                  <a:lnTo>
                    <a:pt x="727605" y="867833"/>
                  </a:lnTo>
                  <a:lnTo>
                    <a:pt x="719667" y="870479"/>
                  </a:lnTo>
                  <a:lnTo>
                    <a:pt x="711730" y="870479"/>
                  </a:lnTo>
                  <a:lnTo>
                    <a:pt x="714375" y="865187"/>
                  </a:lnTo>
                  <a:lnTo>
                    <a:pt x="719667" y="862541"/>
                  </a:lnTo>
                  <a:lnTo>
                    <a:pt x="717021" y="862541"/>
                  </a:lnTo>
                  <a:lnTo>
                    <a:pt x="714375" y="862541"/>
                  </a:lnTo>
                  <a:lnTo>
                    <a:pt x="711730" y="862541"/>
                  </a:lnTo>
                  <a:lnTo>
                    <a:pt x="714375" y="854604"/>
                  </a:lnTo>
                  <a:lnTo>
                    <a:pt x="714375" y="849312"/>
                  </a:lnTo>
                  <a:lnTo>
                    <a:pt x="711730" y="849312"/>
                  </a:lnTo>
                  <a:lnTo>
                    <a:pt x="709084" y="851958"/>
                  </a:lnTo>
                  <a:lnTo>
                    <a:pt x="703792" y="857250"/>
                  </a:lnTo>
                  <a:lnTo>
                    <a:pt x="703792" y="859895"/>
                  </a:lnTo>
                  <a:lnTo>
                    <a:pt x="709084" y="859895"/>
                  </a:lnTo>
                  <a:lnTo>
                    <a:pt x="709084" y="862541"/>
                  </a:lnTo>
                  <a:lnTo>
                    <a:pt x="703792" y="865187"/>
                  </a:lnTo>
                  <a:lnTo>
                    <a:pt x="701146" y="865187"/>
                  </a:lnTo>
                  <a:lnTo>
                    <a:pt x="695855" y="865187"/>
                  </a:lnTo>
                  <a:lnTo>
                    <a:pt x="687917" y="870479"/>
                  </a:lnTo>
                  <a:lnTo>
                    <a:pt x="679980" y="875770"/>
                  </a:lnTo>
                  <a:lnTo>
                    <a:pt x="677334" y="875770"/>
                  </a:lnTo>
                  <a:lnTo>
                    <a:pt x="677334" y="873125"/>
                  </a:lnTo>
                  <a:lnTo>
                    <a:pt x="672042" y="873125"/>
                  </a:lnTo>
                  <a:lnTo>
                    <a:pt x="664105" y="875770"/>
                  </a:lnTo>
                  <a:lnTo>
                    <a:pt x="658813" y="873125"/>
                  </a:lnTo>
                  <a:lnTo>
                    <a:pt x="656167" y="870479"/>
                  </a:lnTo>
                  <a:lnTo>
                    <a:pt x="648230" y="870479"/>
                  </a:lnTo>
                  <a:lnTo>
                    <a:pt x="642938" y="870479"/>
                  </a:lnTo>
                  <a:lnTo>
                    <a:pt x="637646" y="867833"/>
                  </a:lnTo>
                  <a:lnTo>
                    <a:pt x="629708" y="862541"/>
                  </a:lnTo>
                  <a:lnTo>
                    <a:pt x="616479" y="857250"/>
                  </a:lnTo>
                  <a:lnTo>
                    <a:pt x="605896" y="851958"/>
                  </a:lnTo>
                  <a:lnTo>
                    <a:pt x="605896" y="849312"/>
                  </a:lnTo>
                  <a:lnTo>
                    <a:pt x="605896" y="846666"/>
                  </a:lnTo>
                  <a:lnTo>
                    <a:pt x="605896" y="841375"/>
                  </a:lnTo>
                  <a:lnTo>
                    <a:pt x="603250" y="836083"/>
                  </a:lnTo>
                  <a:lnTo>
                    <a:pt x="600604" y="833437"/>
                  </a:lnTo>
                  <a:lnTo>
                    <a:pt x="597958" y="828145"/>
                  </a:lnTo>
                  <a:lnTo>
                    <a:pt x="597958" y="825500"/>
                  </a:lnTo>
                  <a:lnTo>
                    <a:pt x="603250" y="820208"/>
                  </a:lnTo>
                  <a:lnTo>
                    <a:pt x="611187" y="812270"/>
                  </a:lnTo>
                  <a:lnTo>
                    <a:pt x="613833" y="806979"/>
                  </a:lnTo>
                  <a:lnTo>
                    <a:pt x="616479" y="799041"/>
                  </a:lnTo>
                  <a:lnTo>
                    <a:pt x="616479" y="793750"/>
                  </a:lnTo>
                  <a:lnTo>
                    <a:pt x="619125" y="791104"/>
                  </a:lnTo>
                  <a:lnTo>
                    <a:pt x="627062" y="788458"/>
                  </a:lnTo>
                  <a:lnTo>
                    <a:pt x="632354" y="785812"/>
                  </a:lnTo>
                  <a:lnTo>
                    <a:pt x="627062" y="783166"/>
                  </a:lnTo>
                  <a:lnTo>
                    <a:pt x="621771" y="783166"/>
                  </a:lnTo>
                  <a:lnTo>
                    <a:pt x="619125" y="785812"/>
                  </a:lnTo>
                  <a:lnTo>
                    <a:pt x="613833" y="785812"/>
                  </a:lnTo>
                  <a:lnTo>
                    <a:pt x="597958" y="783166"/>
                  </a:lnTo>
                  <a:lnTo>
                    <a:pt x="608542" y="777875"/>
                  </a:lnTo>
                  <a:lnTo>
                    <a:pt x="613833" y="772583"/>
                  </a:lnTo>
                  <a:lnTo>
                    <a:pt x="613833" y="764645"/>
                  </a:lnTo>
                  <a:lnTo>
                    <a:pt x="613833" y="754062"/>
                  </a:lnTo>
                  <a:lnTo>
                    <a:pt x="613833" y="748770"/>
                  </a:lnTo>
                  <a:lnTo>
                    <a:pt x="611187" y="748770"/>
                  </a:lnTo>
                  <a:lnTo>
                    <a:pt x="600604" y="762000"/>
                  </a:lnTo>
                  <a:lnTo>
                    <a:pt x="595312" y="769937"/>
                  </a:lnTo>
                  <a:lnTo>
                    <a:pt x="590021" y="775229"/>
                  </a:lnTo>
                  <a:lnTo>
                    <a:pt x="582083" y="775229"/>
                  </a:lnTo>
                  <a:lnTo>
                    <a:pt x="574146" y="775229"/>
                  </a:lnTo>
                  <a:lnTo>
                    <a:pt x="568854" y="775229"/>
                  </a:lnTo>
                  <a:lnTo>
                    <a:pt x="566208" y="775229"/>
                  </a:lnTo>
                  <a:lnTo>
                    <a:pt x="566208" y="772583"/>
                  </a:lnTo>
                  <a:lnTo>
                    <a:pt x="566208" y="769937"/>
                  </a:lnTo>
                  <a:lnTo>
                    <a:pt x="574146" y="764645"/>
                  </a:lnTo>
                  <a:lnTo>
                    <a:pt x="579437" y="764645"/>
                  </a:lnTo>
                  <a:lnTo>
                    <a:pt x="584729" y="762000"/>
                  </a:lnTo>
                  <a:lnTo>
                    <a:pt x="584729" y="759354"/>
                  </a:lnTo>
                  <a:lnTo>
                    <a:pt x="587375" y="754062"/>
                  </a:lnTo>
                  <a:lnTo>
                    <a:pt x="590021" y="748770"/>
                  </a:lnTo>
                  <a:lnTo>
                    <a:pt x="597958" y="743479"/>
                  </a:lnTo>
                  <a:lnTo>
                    <a:pt x="608542" y="735541"/>
                  </a:lnTo>
                  <a:lnTo>
                    <a:pt x="619125" y="727604"/>
                  </a:lnTo>
                  <a:lnTo>
                    <a:pt x="619125" y="724958"/>
                  </a:lnTo>
                  <a:lnTo>
                    <a:pt x="619125" y="722312"/>
                  </a:lnTo>
                  <a:lnTo>
                    <a:pt x="616479" y="719666"/>
                  </a:lnTo>
                  <a:lnTo>
                    <a:pt x="621771" y="717020"/>
                  </a:lnTo>
                  <a:lnTo>
                    <a:pt x="624417" y="711729"/>
                  </a:lnTo>
                  <a:lnTo>
                    <a:pt x="624417" y="706437"/>
                  </a:lnTo>
                  <a:lnTo>
                    <a:pt x="621771" y="701145"/>
                  </a:lnTo>
                  <a:lnTo>
                    <a:pt x="627062" y="695854"/>
                  </a:lnTo>
                  <a:lnTo>
                    <a:pt x="619125" y="698500"/>
                  </a:lnTo>
                  <a:lnTo>
                    <a:pt x="616479" y="703791"/>
                  </a:lnTo>
                  <a:lnTo>
                    <a:pt x="613833" y="709083"/>
                  </a:lnTo>
                  <a:lnTo>
                    <a:pt x="611187" y="711729"/>
                  </a:lnTo>
                  <a:lnTo>
                    <a:pt x="608542" y="711729"/>
                  </a:lnTo>
                  <a:lnTo>
                    <a:pt x="605896" y="714375"/>
                  </a:lnTo>
                  <a:lnTo>
                    <a:pt x="600604" y="722312"/>
                  </a:lnTo>
                  <a:lnTo>
                    <a:pt x="595312" y="730250"/>
                  </a:lnTo>
                  <a:lnTo>
                    <a:pt x="592667" y="732895"/>
                  </a:lnTo>
                  <a:lnTo>
                    <a:pt x="587375" y="732895"/>
                  </a:lnTo>
                  <a:lnTo>
                    <a:pt x="582083" y="732895"/>
                  </a:lnTo>
                  <a:lnTo>
                    <a:pt x="574146" y="738187"/>
                  </a:lnTo>
                  <a:lnTo>
                    <a:pt x="563562" y="746125"/>
                  </a:lnTo>
                  <a:lnTo>
                    <a:pt x="550333" y="751416"/>
                  </a:lnTo>
                  <a:lnTo>
                    <a:pt x="547687" y="754062"/>
                  </a:lnTo>
                  <a:lnTo>
                    <a:pt x="550333" y="756708"/>
                  </a:lnTo>
                  <a:lnTo>
                    <a:pt x="545042" y="759354"/>
                  </a:lnTo>
                  <a:lnTo>
                    <a:pt x="534458" y="762000"/>
                  </a:lnTo>
                  <a:lnTo>
                    <a:pt x="531812" y="756708"/>
                  </a:lnTo>
                  <a:lnTo>
                    <a:pt x="529167" y="751416"/>
                  </a:lnTo>
                  <a:lnTo>
                    <a:pt x="531812" y="746125"/>
                  </a:lnTo>
                  <a:lnTo>
                    <a:pt x="534458" y="735541"/>
                  </a:lnTo>
                  <a:lnTo>
                    <a:pt x="534458" y="724958"/>
                  </a:lnTo>
                  <a:lnTo>
                    <a:pt x="534458" y="714375"/>
                  </a:lnTo>
                  <a:lnTo>
                    <a:pt x="531812" y="711729"/>
                  </a:lnTo>
                  <a:lnTo>
                    <a:pt x="526521" y="709083"/>
                  </a:lnTo>
                  <a:lnTo>
                    <a:pt x="518583" y="706437"/>
                  </a:lnTo>
                  <a:lnTo>
                    <a:pt x="515937" y="701145"/>
                  </a:lnTo>
                  <a:lnTo>
                    <a:pt x="513292" y="698500"/>
                  </a:lnTo>
                  <a:lnTo>
                    <a:pt x="515937" y="695854"/>
                  </a:lnTo>
                  <a:lnTo>
                    <a:pt x="515937" y="693208"/>
                  </a:lnTo>
                  <a:lnTo>
                    <a:pt x="513292" y="687916"/>
                  </a:lnTo>
                  <a:lnTo>
                    <a:pt x="508000" y="682625"/>
                  </a:lnTo>
                  <a:lnTo>
                    <a:pt x="500062" y="682625"/>
                  </a:lnTo>
                  <a:lnTo>
                    <a:pt x="494771" y="685270"/>
                  </a:lnTo>
                  <a:lnTo>
                    <a:pt x="492125" y="682625"/>
                  </a:lnTo>
                  <a:lnTo>
                    <a:pt x="492125" y="679979"/>
                  </a:lnTo>
                  <a:lnTo>
                    <a:pt x="486833" y="679979"/>
                  </a:lnTo>
                  <a:lnTo>
                    <a:pt x="481542" y="682625"/>
                  </a:lnTo>
                  <a:lnTo>
                    <a:pt x="476250" y="679979"/>
                  </a:lnTo>
                  <a:lnTo>
                    <a:pt x="468312" y="674687"/>
                  </a:lnTo>
                  <a:lnTo>
                    <a:pt x="460375" y="666750"/>
                  </a:lnTo>
                  <a:lnTo>
                    <a:pt x="455083" y="666750"/>
                  </a:lnTo>
                  <a:lnTo>
                    <a:pt x="449792" y="666750"/>
                  </a:lnTo>
                  <a:lnTo>
                    <a:pt x="439208" y="666750"/>
                  </a:lnTo>
                  <a:lnTo>
                    <a:pt x="428625" y="664104"/>
                  </a:lnTo>
                  <a:lnTo>
                    <a:pt x="415396" y="664104"/>
                  </a:lnTo>
                  <a:lnTo>
                    <a:pt x="399521" y="666750"/>
                  </a:lnTo>
                  <a:lnTo>
                    <a:pt x="381000" y="674687"/>
                  </a:lnTo>
                  <a:lnTo>
                    <a:pt x="370417" y="679979"/>
                  </a:lnTo>
                  <a:lnTo>
                    <a:pt x="362479" y="685270"/>
                  </a:lnTo>
                  <a:lnTo>
                    <a:pt x="346604" y="687916"/>
                  </a:lnTo>
                  <a:lnTo>
                    <a:pt x="322792" y="690562"/>
                  </a:lnTo>
                  <a:lnTo>
                    <a:pt x="309562" y="690562"/>
                  </a:lnTo>
                  <a:lnTo>
                    <a:pt x="296333" y="690562"/>
                  </a:lnTo>
                  <a:lnTo>
                    <a:pt x="285750" y="693208"/>
                  </a:lnTo>
                  <a:lnTo>
                    <a:pt x="264583" y="703791"/>
                  </a:lnTo>
                  <a:lnTo>
                    <a:pt x="256646" y="709083"/>
                  </a:lnTo>
                  <a:lnTo>
                    <a:pt x="248708" y="711729"/>
                  </a:lnTo>
                  <a:lnTo>
                    <a:pt x="238125" y="714375"/>
                  </a:lnTo>
                  <a:lnTo>
                    <a:pt x="238125" y="717020"/>
                  </a:lnTo>
                  <a:lnTo>
                    <a:pt x="235479" y="724958"/>
                  </a:lnTo>
                  <a:lnTo>
                    <a:pt x="224896" y="732895"/>
                  </a:lnTo>
                  <a:lnTo>
                    <a:pt x="211666" y="738187"/>
                  </a:lnTo>
                  <a:lnTo>
                    <a:pt x="206375" y="735541"/>
                  </a:lnTo>
                  <a:lnTo>
                    <a:pt x="203729" y="732895"/>
                  </a:lnTo>
                  <a:lnTo>
                    <a:pt x="201083" y="735541"/>
                  </a:lnTo>
                  <a:lnTo>
                    <a:pt x="198437" y="738187"/>
                  </a:lnTo>
                  <a:lnTo>
                    <a:pt x="193146" y="738187"/>
                  </a:lnTo>
                  <a:lnTo>
                    <a:pt x="187854" y="738187"/>
                  </a:lnTo>
                  <a:lnTo>
                    <a:pt x="179916" y="740833"/>
                  </a:lnTo>
                  <a:lnTo>
                    <a:pt x="177271" y="740833"/>
                  </a:lnTo>
                  <a:lnTo>
                    <a:pt x="174625" y="740833"/>
                  </a:lnTo>
                  <a:lnTo>
                    <a:pt x="169333" y="738187"/>
                  </a:lnTo>
                  <a:lnTo>
                    <a:pt x="166687" y="735541"/>
                  </a:lnTo>
                  <a:lnTo>
                    <a:pt x="164041" y="735541"/>
                  </a:lnTo>
                  <a:lnTo>
                    <a:pt x="156104" y="735541"/>
                  </a:lnTo>
                  <a:lnTo>
                    <a:pt x="148166" y="735541"/>
                  </a:lnTo>
                  <a:lnTo>
                    <a:pt x="140229" y="735541"/>
                  </a:lnTo>
                  <a:lnTo>
                    <a:pt x="124354" y="740833"/>
                  </a:lnTo>
                  <a:lnTo>
                    <a:pt x="119062" y="740833"/>
                  </a:lnTo>
                  <a:lnTo>
                    <a:pt x="116416" y="740833"/>
                  </a:lnTo>
                  <a:lnTo>
                    <a:pt x="108479" y="743479"/>
                  </a:lnTo>
                  <a:lnTo>
                    <a:pt x="100541" y="748770"/>
                  </a:lnTo>
                  <a:lnTo>
                    <a:pt x="97896" y="754062"/>
                  </a:lnTo>
                  <a:lnTo>
                    <a:pt x="97896" y="756708"/>
                  </a:lnTo>
                  <a:lnTo>
                    <a:pt x="92604" y="756708"/>
                  </a:lnTo>
                  <a:lnTo>
                    <a:pt x="87312" y="756708"/>
                  </a:lnTo>
                  <a:lnTo>
                    <a:pt x="84666" y="762000"/>
                  </a:lnTo>
                  <a:lnTo>
                    <a:pt x="79375" y="764645"/>
                  </a:lnTo>
                  <a:lnTo>
                    <a:pt x="76729" y="767291"/>
                  </a:lnTo>
                  <a:lnTo>
                    <a:pt x="71437" y="767291"/>
                  </a:lnTo>
                  <a:lnTo>
                    <a:pt x="68791" y="769937"/>
                  </a:lnTo>
                  <a:lnTo>
                    <a:pt x="66146" y="769937"/>
                  </a:lnTo>
                  <a:lnTo>
                    <a:pt x="60854" y="769937"/>
                  </a:lnTo>
                  <a:lnTo>
                    <a:pt x="58208" y="769937"/>
                  </a:lnTo>
                  <a:lnTo>
                    <a:pt x="55562" y="772583"/>
                  </a:lnTo>
                  <a:lnTo>
                    <a:pt x="52916" y="775229"/>
                  </a:lnTo>
                  <a:lnTo>
                    <a:pt x="47625" y="772583"/>
                  </a:lnTo>
                  <a:lnTo>
                    <a:pt x="39687" y="769937"/>
                  </a:lnTo>
                  <a:lnTo>
                    <a:pt x="37041" y="769937"/>
                  </a:lnTo>
                  <a:lnTo>
                    <a:pt x="31750" y="769937"/>
                  </a:lnTo>
                  <a:lnTo>
                    <a:pt x="29104" y="764645"/>
                  </a:lnTo>
                  <a:lnTo>
                    <a:pt x="23812" y="759354"/>
                  </a:lnTo>
                  <a:lnTo>
                    <a:pt x="21166" y="756708"/>
                  </a:lnTo>
                  <a:lnTo>
                    <a:pt x="13229" y="756708"/>
                  </a:lnTo>
                  <a:lnTo>
                    <a:pt x="7937" y="756708"/>
                  </a:lnTo>
                  <a:lnTo>
                    <a:pt x="7937" y="754062"/>
                  </a:lnTo>
                  <a:lnTo>
                    <a:pt x="5291" y="748770"/>
                  </a:lnTo>
                  <a:lnTo>
                    <a:pt x="5291" y="743479"/>
                  </a:lnTo>
                  <a:lnTo>
                    <a:pt x="2646" y="740833"/>
                  </a:lnTo>
                  <a:lnTo>
                    <a:pt x="0" y="738187"/>
                  </a:lnTo>
                  <a:lnTo>
                    <a:pt x="2646" y="735541"/>
                  </a:lnTo>
                  <a:lnTo>
                    <a:pt x="5291" y="732895"/>
                  </a:lnTo>
                  <a:lnTo>
                    <a:pt x="7937" y="735541"/>
                  </a:lnTo>
                  <a:lnTo>
                    <a:pt x="10583" y="735541"/>
                  </a:lnTo>
                  <a:lnTo>
                    <a:pt x="18521" y="732895"/>
                  </a:lnTo>
                  <a:lnTo>
                    <a:pt x="26458" y="730250"/>
                  </a:lnTo>
                  <a:lnTo>
                    <a:pt x="26458" y="727604"/>
                  </a:lnTo>
                  <a:lnTo>
                    <a:pt x="26458" y="724958"/>
                  </a:lnTo>
                  <a:lnTo>
                    <a:pt x="29104" y="719666"/>
                  </a:lnTo>
                  <a:lnTo>
                    <a:pt x="31750" y="714375"/>
                  </a:lnTo>
                  <a:lnTo>
                    <a:pt x="31750" y="709083"/>
                  </a:lnTo>
                  <a:lnTo>
                    <a:pt x="31750" y="703791"/>
                  </a:lnTo>
                  <a:lnTo>
                    <a:pt x="31750" y="698500"/>
                  </a:lnTo>
                  <a:lnTo>
                    <a:pt x="34396" y="695854"/>
                  </a:lnTo>
                  <a:lnTo>
                    <a:pt x="37041" y="698500"/>
                  </a:lnTo>
                  <a:lnTo>
                    <a:pt x="39687" y="701145"/>
                  </a:lnTo>
                  <a:lnTo>
                    <a:pt x="42333" y="698500"/>
                  </a:lnTo>
                  <a:lnTo>
                    <a:pt x="42333" y="695854"/>
                  </a:lnTo>
                  <a:lnTo>
                    <a:pt x="42333" y="693208"/>
                  </a:lnTo>
                  <a:lnTo>
                    <a:pt x="44979" y="685270"/>
                  </a:lnTo>
                  <a:lnTo>
                    <a:pt x="47625" y="677333"/>
                  </a:lnTo>
                  <a:lnTo>
                    <a:pt x="47625" y="669395"/>
                  </a:lnTo>
                  <a:lnTo>
                    <a:pt x="47625" y="650875"/>
                  </a:lnTo>
                  <a:lnTo>
                    <a:pt x="50271" y="627062"/>
                  </a:lnTo>
                  <a:lnTo>
                    <a:pt x="50271" y="616479"/>
                  </a:lnTo>
                  <a:lnTo>
                    <a:pt x="55562" y="605895"/>
                  </a:lnTo>
                  <a:lnTo>
                    <a:pt x="58208" y="595312"/>
                  </a:lnTo>
                  <a:lnTo>
                    <a:pt x="55562" y="584729"/>
                  </a:lnTo>
                  <a:lnTo>
                    <a:pt x="52916" y="574145"/>
                  </a:lnTo>
                  <a:lnTo>
                    <a:pt x="50271" y="566208"/>
                  </a:lnTo>
                  <a:lnTo>
                    <a:pt x="42333" y="550333"/>
                  </a:lnTo>
                  <a:lnTo>
                    <a:pt x="42333" y="542395"/>
                  </a:lnTo>
                  <a:lnTo>
                    <a:pt x="42333" y="537104"/>
                  </a:lnTo>
                  <a:lnTo>
                    <a:pt x="44979" y="531812"/>
                  </a:lnTo>
                  <a:lnTo>
                    <a:pt x="44979" y="523875"/>
                  </a:lnTo>
                  <a:lnTo>
                    <a:pt x="42333" y="515937"/>
                  </a:lnTo>
                  <a:lnTo>
                    <a:pt x="39687" y="497416"/>
                  </a:lnTo>
                  <a:lnTo>
                    <a:pt x="39687" y="492125"/>
                  </a:lnTo>
                  <a:lnTo>
                    <a:pt x="42333" y="489479"/>
                  </a:lnTo>
                  <a:lnTo>
                    <a:pt x="47625" y="494770"/>
                  </a:lnTo>
                  <a:lnTo>
                    <a:pt x="55562" y="500062"/>
                  </a:lnTo>
                  <a:lnTo>
                    <a:pt x="55562" y="494770"/>
                  </a:lnTo>
                  <a:lnTo>
                    <a:pt x="55562" y="484187"/>
                  </a:lnTo>
                  <a:lnTo>
                    <a:pt x="55562" y="473604"/>
                  </a:lnTo>
                  <a:lnTo>
                    <a:pt x="55562" y="468312"/>
                  </a:lnTo>
                  <a:lnTo>
                    <a:pt x="58208" y="465666"/>
                  </a:lnTo>
                  <a:lnTo>
                    <a:pt x="60854" y="468312"/>
                  </a:lnTo>
                  <a:lnTo>
                    <a:pt x="60854" y="476250"/>
                  </a:lnTo>
                  <a:lnTo>
                    <a:pt x="60854" y="484187"/>
                  </a:lnTo>
                  <a:lnTo>
                    <a:pt x="63500" y="497416"/>
                  </a:lnTo>
                  <a:lnTo>
                    <a:pt x="66146" y="492125"/>
                  </a:lnTo>
                  <a:lnTo>
                    <a:pt x="68791" y="486833"/>
                  </a:lnTo>
                  <a:lnTo>
                    <a:pt x="71437" y="484187"/>
                  </a:lnTo>
                  <a:lnTo>
                    <a:pt x="74083" y="478895"/>
                  </a:lnTo>
                  <a:lnTo>
                    <a:pt x="71437" y="463020"/>
                  </a:lnTo>
                  <a:lnTo>
                    <a:pt x="68791" y="447146"/>
                  </a:lnTo>
                  <a:lnTo>
                    <a:pt x="68791" y="439208"/>
                  </a:lnTo>
                  <a:lnTo>
                    <a:pt x="68791" y="431271"/>
                  </a:lnTo>
                  <a:lnTo>
                    <a:pt x="76729" y="423333"/>
                  </a:lnTo>
                  <a:lnTo>
                    <a:pt x="84666" y="418041"/>
                  </a:lnTo>
                  <a:lnTo>
                    <a:pt x="84666" y="412750"/>
                  </a:lnTo>
                  <a:lnTo>
                    <a:pt x="84666" y="410104"/>
                  </a:lnTo>
                  <a:lnTo>
                    <a:pt x="84666" y="407458"/>
                  </a:lnTo>
                  <a:lnTo>
                    <a:pt x="89958" y="404812"/>
                  </a:lnTo>
                  <a:lnTo>
                    <a:pt x="92604" y="402166"/>
                  </a:lnTo>
                  <a:lnTo>
                    <a:pt x="92604" y="399521"/>
                  </a:lnTo>
                  <a:lnTo>
                    <a:pt x="89958" y="396875"/>
                  </a:lnTo>
                  <a:lnTo>
                    <a:pt x="87312" y="394229"/>
                  </a:lnTo>
                  <a:lnTo>
                    <a:pt x="87312" y="391583"/>
                  </a:lnTo>
                  <a:lnTo>
                    <a:pt x="111125" y="365125"/>
                  </a:lnTo>
                  <a:lnTo>
                    <a:pt x="108479" y="378354"/>
                  </a:lnTo>
                  <a:lnTo>
                    <a:pt x="108479" y="383646"/>
                  </a:lnTo>
                  <a:lnTo>
                    <a:pt x="108479" y="386291"/>
                  </a:lnTo>
                  <a:lnTo>
                    <a:pt x="113771" y="381000"/>
                  </a:lnTo>
                  <a:lnTo>
                    <a:pt x="119062" y="378354"/>
                  </a:lnTo>
                  <a:lnTo>
                    <a:pt x="119062" y="370416"/>
                  </a:lnTo>
                  <a:lnTo>
                    <a:pt x="119062" y="365125"/>
                  </a:lnTo>
                  <a:lnTo>
                    <a:pt x="121708" y="362479"/>
                  </a:lnTo>
                  <a:lnTo>
                    <a:pt x="127000" y="359833"/>
                  </a:lnTo>
                  <a:lnTo>
                    <a:pt x="137583" y="357187"/>
                  </a:lnTo>
                  <a:lnTo>
                    <a:pt x="145521" y="351896"/>
                  </a:lnTo>
                  <a:lnTo>
                    <a:pt x="150812" y="343958"/>
                  </a:lnTo>
                  <a:lnTo>
                    <a:pt x="158750" y="333375"/>
                  </a:lnTo>
                  <a:lnTo>
                    <a:pt x="166687" y="325437"/>
                  </a:lnTo>
                  <a:lnTo>
                    <a:pt x="169333" y="325437"/>
                  </a:lnTo>
                  <a:lnTo>
                    <a:pt x="174625" y="328083"/>
                  </a:lnTo>
                  <a:lnTo>
                    <a:pt x="187854" y="325437"/>
                  </a:lnTo>
                  <a:lnTo>
                    <a:pt x="203729" y="320146"/>
                  </a:lnTo>
                  <a:lnTo>
                    <a:pt x="222250" y="317500"/>
                  </a:lnTo>
                  <a:lnTo>
                    <a:pt x="227542" y="317500"/>
                  </a:lnTo>
                  <a:lnTo>
                    <a:pt x="227542" y="314854"/>
                  </a:lnTo>
                  <a:lnTo>
                    <a:pt x="230187" y="312208"/>
                  </a:lnTo>
                  <a:lnTo>
                    <a:pt x="238125" y="309562"/>
                  </a:lnTo>
                  <a:lnTo>
                    <a:pt x="254000" y="306916"/>
                  </a:lnTo>
                  <a:lnTo>
                    <a:pt x="261937" y="304271"/>
                  </a:lnTo>
                  <a:lnTo>
                    <a:pt x="275167" y="298979"/>
                  </a:lnTo>
                  <a:lnTo>
                    <a:pt x="301625" y="293687"/>
                  </a:lnTo>
                  <a:lnTo>
                    <a:pt x="320146" y="285750"/>
                  </a:lnTo>
                  <a:lnTo>
                    <a:pt x="330729" y="277812"/>
                  </a:lnTo>
                  <a:lnTo>
                    <a:pt x="338667" y="267229"/>
                  </a:lnTo>
                  <a:lnTo>
                    <a:pt x="354542" y="240771"/>
                  </a:lnTo>
                  <a:lnTo>
                    <a:pt x="359833" y="235479"/>
                  </a:lnTo>
                  <a:lnTo>
                    <a:pt x="370417" y="235479"/>
                  </a:lnTo>
                  <a:lnTo>
                    <a:pt x="373062" y="232833"/>
                  </a:lnTo>
                  <a:lnTo>
                    <a:pt x="370417" y="230187"/>
                  </a:lnTo>
                  <a:lnTo>
                    <a:pt x="365125" y="224896"/>
                  </a:lnTo>
                  <a:lnTo>
                    <a:pt x="365125" y="222250"/>
                  </a:lnTo>
                  <a:lnTo>
                    <a:pt x="365125" y="219604"/>
                  </a:lnTo>
                  <a:lnTo>
                    <a:pt x="367771" y="211666"/>
                  </a:lnTo>
                  <a:lnTo>
                    <a:pt x="365125" y="209021"/>
                  </a:lnTo>
                  <a:lnTo>
                    <a:pt x="370417" y="203729"/>
                  </a:lnTo>
                  <a:lnTo>
                    <a:pt x="378354" y="195791"/>
                  </a:lnTo>
                  <a:lnTo>
                    <a:pt x="386292" y="190500"/>
                  </a:lnTo>
                  <a:lnTo>
                    <a:pt x="391583" y="185208"/>
                  </a:lnTo>
                  <a:lnTo>
                    <a:pt x="394229" y="185208"/>
                  </a:lnTo>
                  <a:lnTo>
                    <a:pt x="396875" y="185208"/>
                  </a:lnTo>
                  <a:lnTo>
                    <a:pt x="396875" y="187854"/>
                  </a:lnTo>
                  <a:lnTo>
                    <a:pt x="394229" y="190500"/>
                  </a:lnTo>
                  <a:lnTo>
                    <a:pt x="399521" y="198437"/>
                  </a:lnTo>
                  <a:lnTo>
                    <a:pt x="410104" y="214312"/>
                  </a:lnTo>
                  <a:lnTo>
                    <a:pt x="410104" y="206375"/>
                  </a:lnTo>
                  <a:lnTo>
                    <a:pt x="410104" y="201083"/>
                  </a:lnTo>
                  <a:lnTo>
                    <a:pt x="412750" y="195791"/>
                  </a:lnTo>
                  <a:lnTo>
                    <a:pt x="418042" y="195791"/>
                  </a:lnTo>
                  <a:lnTo>
                    <a:pt x="407458" y="182562"/>
                  </a:lnTo>
                  <a:lnTo>
                    <a:pt x="407458" y="179916"/>
                  </a:lnTo>
                  <a:lnTo>
                    <a:pt x="412750" y="179916"/>
                  </a:lnTo>
                  <a:lnTo>
                    <a:pt x="415396" y="177271"/>
                  </a:lnTo>
                  <a:lnTo>
                    <a:pt x="415396" y="171979"/>
                  </a:lnTo>
                  <a:lnTo>
                    <a:pt x="415396" y="166687"/>
                  </a:lnTo>
                  <a:lnTo>
                    <a:pt x="423333" y="169333"/>
                  </a:lnTo>
                  <a:lnTo>
                    <a:pt x="428625" y="171979"/>
                  </a:lnTo>
                  <a:lnTo>
                    <a:pt x="433917" y="174625"/>
                  </a:lnTo>
                  <a:lnTo>
                    <a:pt x="431271" y="177271"/>
                  </a:lnTo>
                  <a:lnTo>
                    <a:pt x="428625" y="182562"/>
                  </a:lnTo>
                  <a:lnTo>
                    <a:pt x="433917" y="179916"/>
                  </a:lnTo>
                  <a:lnTo>
                    <a:pt x="447146" y="182562"/>
                  </a:lnTo>
                  <a:lnTo>
                    <a:pt x="439208" y="177271"/>
                  </a:lnTo>
                  <a:lnTo>
                    <a:pt x="439208" y="174625"/>
                  </a:lnTo>
                  <a:lnTo>
                    <a:pt x="439208" y="171979"/>
                  </a:lnTo>
                  <a:lnTo>
                    <a:pt x="449792" y="158750"/>
                  </a:lnTo>
                  <a:lnTo>
                    <a:pt x="444500" y="161396"/>
                  </a:lnTo>
                  <a:lnTo>
                    <a:pt x="439208" y="171979"/>
                  </a:lnTo>
                  <a:lnTo>
                    <a:pt x="436562" y="164041"/>
                  </a:lnTo>
                  <a:lnTo>
                    <a:pt x="436562" y="158750"/>
                  </a:lnTo>
                  <a:lnTo>
                    <a:pt x="441854" y="153458"/>
                  </a:lnTo>
                  <a:lnTo>
                    <a:pt x="447146" y="150812"/>
                  </a:lnTo>
                  <a:lnTo>
                    <a:pt x="447146" y="148167"/>
                  </a:lnTo>
                  <a:lnTo>
                    <a:pt x="447146" y="145521"/>
                  </a:lnTo>
                  <a:lnTo>
                    <a:pt x="449792" y="142875"/>
                  </a:lnTo>
                  <a:lnTo>
                    <a:pt x="452437" y="145521"/>
                  </a:lnTo>
                  <a:lnTo>
                    <a:pt x="455083" y="148167"/>
                  </a:lnTo>
                  <a:lnTo>
                    <a:pt x="457729" y="150812"/>
                  </a:lnTo>
                  <a:lnTo>
                    <a:pt x="460375" y="148167"/>
                  </a:lnTo>
                  <a:lnTo>
                    <a:pt x="463021" y="145521"/>
                  </a:lnTo>
                  <a:lnTo>
                    <a:pt x="457729" y="140229"/>
                  </a:lnTo>
                  <a:lnTo>
                    <a:pt x="455083" y="137583"/>
                  </a:lnTo>
                  <a:lnTo>
                    <a:pt x="455083" y="134937"/>
                  </a:lnTo>
                  <a:lnTo>
                    <a:pt x="460375" y="132292"/>
                  </a:lnTo>
                  <a:lnTo>
                    <a:pt x="468312" y="132292"/>
                  </a:lnTo>
                  <a:lnTo>
                    <a:pt x="468312" y="129646"/>
                  </a:lnTo>
                  <a:lnTo>
                    <a:pt x="463021" y="127000"/>
                  </a:lnTo>
                  <a:lnTo>
                    <a:pt x="468312" y="127000"/>
                  </a:lnTo>
                  <a:lnTo>
                    <a:pt x="473604" y="127000"/>
                  </a:lnTo>
                  <a:lnTo>
                    <a:pt x="476250" y="124354"/>
                  </a:lnTo>
                  <a:lnTo>
                    <a:pt x="473604" y="121708"/>
                  </a:lnTo>
                  <a:lnTo>
                    <a:pt x="468312" y="116417"/>
                  </a:lnTo>
                  <a:lnTo>
                    <a:pt x="470958" y="116417"/>
                  </a:lnTo>
                  <a:lnTo>
                    <a:pt x="476250" y="116417"/>
                  </a:lnTo>
                  <a:lnTo>
                    <a:pt x="478896" y="113771"/>
                  </a:lnTo>
                  <a:lnTo>
                    <a:pt x="478896" y="111125"/>
                  </a:lnTo>
                  <a:lnTo>
                    <a:pt x="481542" y="108479"/>
                  </a:lnTo>
                  <a:lnTo>
                    <a:pt x="489479" y="116417"/>
                  </a:lnTo>
                  <a:lnTo>
                    <a:pt x="489479" y="111125"/>
                  </a:lnTo>
                  <a:lnTo>
                    <a:pt x="492125" y="108479"/>
                  </a:lnTo>
                  <a:lnTo>
                    <a:pt x="489479" y="105833"/>
                  </a:lnTo>
                  <a:lnTo>
                    <a:pt x="489479" y="100542"/>
                  </a:lnTo>
                  <a:lnTo>
                    <a:pt x="492125" y="97896"/>
                  </a:lnTo>
                  <a:lnTo>
                    <a:pt x="500062" y="95250"/>
                  </a:lnTo>
                  <a:lnTo>
                    <a:pt x="505354" y="95250"/>
                  </a:lnTo>
                  <a:lnTo>
                    <a:pt x="505354" y="97896"/>
                  </a:lnTo>
                  <a:lnTo>
                    <a:pt x="508000" y="97896"/>
                  </a:lnTo>
                  <a:lnTo>
                    <a:pt x="510646" y="97896"/>
                  </a:lnTo>
                  <a:lnTo>
                    <a:pt x="513292" y="95250"/>
                  </a:lnTo>
                  <a:lnTo>
                    <a:pt x="515937" y="97896"/>
                  </a:lnTo>
                  <a:lnTo>
                    <a:pt x="521229" y="100542"/>
                  </a:lnTo>
                  <a:lnTo>
                    <a:pt x="526521" y="100542"/>
                  </a:lnTo>
                  <a:lnTo>
                    <a:pt x="531812" y="100542"/>
                  </a:lnTo>
                  <a:lnTo>
                    <a:pt x="537104" y="108479"/>
                  </a:lnTo>
                  <a:lnTo>
                    <a:pt x="542396" y="116417"/>
                  </a:lnTo>
                  <a:lnTo>
                    <a:pt x="547687" y="119062"/>
                  </a:lnTo>
                  <a:lnTo>
                    <a:pt x="550333" y="121708"/>
                  </a:lnTo>
                  <a:lnTo>
                    <a:pt x="547687" y="124354"/>
                  </a:lnTo>
                  <a:lnTo>
                    <a:pt x="545042" y="127000"/>
                  </a:lnTo>
                  <a:lnTo>
                    <a:pt x="545042" y="129646"/>
                  </a:lnTo>
                  <a:lnTo>
                    <a:pt x="547687" y="132292"/>
                  </a:lnTo>
                  <a:lnTo>
                    <a:pt x="542396" y="140229"/>
                  </a:lnTo>
                  <a:lnTo>
                    <a:pt x="550333" y="134937"/>
                  </a:lnTo>
                  <a:lnTo>
                    <a:pt x="552979" y="134937"/>
                  </a:lnTo>
                  <a:lnTo>
                    <a:pt x="550333" y="132292"/>
                  </a:lnTo>
                  <a:lnTo>
                    <a:pt x="550333" y="127000"/>
                  </a:lnTo>
                  <a:lnTo>
                    <a:pt x="555625" y="127000"/>
                  </a:lnTo>
                  <a:lnTo>
                    <a:pt x="563562" y="127000"/>
                  </a:lnTo>
                  <a:lnTo>
                    <a:pt x="574146" y="129646"/>
                  </a:lnTo>
                  <a:lnTo>
                    <a:pt x="582083" y="132292"/>
                  </a:lnTo>
                  <a:lnTo>
                    <a:pt x="584729" y="134937"/>
                  </a:lnTo>
                  <a:lnTo>
                    <a:pt x="587375" y="140229"/>
                  </a:lnTo>
                  <a:lnTo>
                    <a:pt x="597958" y="148167"/>
                  </a:lnTo>
                  <a:lnTo>
                    <a:pt x="590021" y="137583"/>
                  </a:lnTo>
                  <a:lnTo>
                    <a:pt x="592667" y="134937"/>
                  </a:lnTo>
                  <a:lnTo>
                    <a:pt x="595312" y="132292"/>
                  </a:lnTo>
                  <a:lnTo>
                    <a:pt x="590021" y="132292"/>
                  </a:lnTo>
                  <a:lnTo>
                    <a:pt x="587375" y="129646"/>
                  </a:lnTo>
                  <a:lnTo>
                    <a:pt x="587375" y="124354"/>
                  </a:lnTo>
                  <a:lnTo>
                    <a:pt x="590021" y="121708"/>
                  </a:lnTo>
                  <a:lnTo>
                    <a:pt x="579437" y="119062"/>
                  </a:lnTo>
                  <a:lnTo>
                    <a:pt x="576792" y="116417"/>
                  </a:lnTo>
                  <a:lnTo>
                    <a:pt x="576792" y="113771"/>
                  </a:lnTo>
                  <a:lnTo>
                    <a:pt x="582083" y="108479"/>
                  </a:lnTo>
                  <a:lnTo>
                    <a:pt x="587375" y="97896"/>
                  </a:lnTo>
                  <a:lnTo>
                    <a:pt x="590021" y="100542"/>
                  </a:lnTo>
                  <a:lnTo>
                    <a:pt x="592667" y="97896"/>
                  </a:lnTo>
                  <a:lnTo>
                    <a:pt x="592667" y="95250"/>
                  </a:lnTo>
                  <a:lnTo>
                    <a:pt x="595312" y="87312"/>
                  </a:lnTo>
                  <a:lnTo>
                    <a:pt x="600604" y="84667"/>
                  </a:lnTo>
                  <a:lnTo>
                    <a:pt x="603250" y="79375"/>
                  </a:lnTo>
                  <a:lnTo>
                    <a:pt x="605896" y="74083"/>
                  </a:lnTo>
                  <a:lnTo>
                    <a:pt x="608542" y="74083"/>
                  </a:lnTo>
                  <a:lnTo>
                    <a:pt x="616479" y="74083"/>
                  </a:lnTo>
                  <a:lnTo>
                    <a:pt x="619125" y="74083"/>
                  </a:lnTo>
                  <a:lnTo>
                    <a:pt x="616479" y="68792"/>
                  </a:lnTo>
                  <a:lnTo>
                    <a:pt x="613833" y="66146"/>
                  </a:lnTo>
                  <a:lnTo>
                    <a:pt x="613833" y="63500"/>
                  </a:lnTo>
                  <a:lnTo>
                    <a:pt x="616479" y="63500"/>
                  </a:lnTo>
                  <a:lnTo>
                    <a:pt x="619125" y="60854"/>
                  </a:lnTo>
                  <a:lnTo>
                    <a:pt x="616479" y="58208"/>
                  </a:lnTo>
                  <a:lnTo>
                    <a:pt x="619125" y="55562"/>
                  </a:lnTo>
                  <a:lnTo>
                    <a:pt x="621771" y="52917"/>
                  </a:lnTo>
                  <a:lnTo>
                    <a:pt x="624417" y="52917"/>
                  </a:lnTo>
                  <a:lnTo>
                    <a:pt x="632354" y="55562"/>
                  </a:lnTo>
                  <a:lnTo>
                    <a:pt x="627062" y="52917"/>
                  </a:lnTo>
                  <a:lnTo>
                    <a:pt x="627062" y="50271"/>
                  </a:lnTo>
                  <a:lnTo>
                    <a:pt x="640292" y="42333"/>
                  </a:lnTo>
                  <a:lnTo>
                    <a:pt x="645584" y="42333"/>
                  </a:lnTo>
                  <a:lnTo>
                    <a:pt x="648230" y="44979"/>
                  </a:lnTo>
                  <a:lnTo>
                    <a:pt x="650875" y="47625"/>
                  </a:lnTo>
                  <a:lnTo>
                    <a:pt x="656167" y="47625"/>
                  </a:lnTo>
                  <a:lnTo>
                    <a:pt x="658813" y="44979"/>
                  </a:lnTo>
                  <a:lnTo>
                    <a:pt x="661459" y="47625"/>
                  </a:lnTo>
                  <a:lnTo>
                    <a:pt x="664105" y="47625"/>
                  </a:lnTo>
                  <a:lnTo>
                    <a:pt x="669396" y="47625"/>
                  </a:lnTo>
                  <a:lnTo>
                    <a:pt x="674688" y="42333"/>
                  </a:lnTo>
                  <a:lnTo>
                    <a:pt x="677334" y="39687"/>
                  </a:lnTo>
                  <a:lnTo>
                    <a:pt x="682625" y="39687"/>
                  </a:lnTo>
                  <a:lnTo>
                    <a:pt x="690563" y="42333"/>
                  </a:lnTo>
                  <a:lnTo>
                    <a:pt x="685271" y="37042"/>
                  </a:lnTo>
                  <a:lnTo>
                    <a:pt x="685271" y="31750"/>
                  </a:lnTo>
                  <a:lnTo>
                    <a:pt x="685271" y="26458"/>
                  </a:lnTo>
                  <a:lnTo>
                    <a:pt x="685271" y="21167"/>
                  </a:lnTo>
                  <a:lnTo>
                    <a:pt x="682625" y="23812"/>
                  </a:lnTo>
                  <a:lnTo>
                    <a:pt x="677334" y="23812"/>
                  </a:lnTo>
                  <a:lnTo>
                    <a:pt x="672042" y="21167"/>
                  </a:lnTo>
                  <a:lnTo>
                    <a:pt x="669396" y="13229"/>
                  </a:lnTo>
                  <a:lnTo>
                    <a:pt x="677334" y="13229"/>
                  </a:lnTo>
                  <a:lnTo>
                    <a:pt x="682625" y="13229"/>
                  </a:lnTo>
                  <a:lnTo>
                    <a:pt x="685271" y="13229"/>
                  </a:lnTo>
                  <a:lnTo>
                    <a:pt x="690563" y="18521"/>
                  </a:lnTo>
                  <a:lnTo>
                    <a:pt x="693209" y="18521"/>
                  </a:lnTo>
                  <a:lnTo>
                    <a:pt x="693209" y="15875"/>
                  </a:lnTo>
                  <a:lnTo>
                    <a:pt x="698500" y="18521"/>
                  </a:lnTo>
                  <a:lnTo>
                    <a:pt x="703792" y="29104"/>
                  </a:lnTo>
                  <a:lnTo>
                    <a:pt x="706438" y="31750"/>
                  </a:lnTo>
                  <a:lnTo>
                    <a:pt x="711730" y="34396"/>
                  </a:lnTo>
                  <a:lnTo>
                    <a:pt x="724959" y="31750"/>
                  </a:lnTo>
                  <a:lnTo>
                    <a:pt x="724959" y="34396"/>
                  </a:lnTo>
                  <a:lnTo>
                    <a:pt x="730250" y="34396"/>
                  </a:lnTo>
                  <a:lnTo>
                    <a:pt x="732896" y="37042"/>
                  </a:lnTo>
                  <a:lnTo>
                    <a:pt x="735542" y="39687"/>
                  </a:lnTo>
                  <a:lnTo>
                    <a:pt x="738188" y="37042"/>
                  </a:lnTo>
                  <a:lnTo>
                    <a:pt x="743480" y="34396"/>
                  </a:lnTo>
                  <a:lnTo>
                    <a:pt x="746125" y="37042"/>
                  </a:lnTo>
                  <a:lnTo>
                    <a:pt x="748771" y="37042"/>
                  </a:lnTo>
                  <a:lnTo>
                    <a:pt x="751417" y="37042"/>
                  </a:lnTo>
                  <a:lnTo>
                    <a:pt x="754063" y="39687"/>
                  </a:lnTo>
                  <a:lnTo>
                    <a:pt x="756709" y="42333"/>
                  </a:lnTo>
                  <a:lnTo>
                    <a:pt x="759355" y="42333"/>
                  </a:lnTo>
                  <a:lnTo>
                    <a:pt x="764646" y="37042"/>
                  </a:lnTo>
                  <a:lnTo>
                    <a:pt x="769938" y="34396"/>
                  </a:lnTo>
                  <a:lnTo>
                    <a:pt x="772584" y="34396"/>
                  </a:lnTo>
                  <a:lnTo>
                    <a:pt x="772584" y="37042"/>
                  </a:lnTo>
                  <a:lnTo>
                    <a:pt x="772584" y="39687"/>
                  </a:lnTo>
                  <a:lnTo>
                    <a:pt x="775230" y="39687"/>
                  </a:lnTo>
                  <a:lnTo>
                    <a:pt x="775230" y="42333"/>
                  </a:lnTo>
                  <a:lnTo>
                    <a:pt x="772584" y="44979"/>
                  </a:lnTo>
                  <a:lnTo>
                    <a:pt x="772584" y="47625"/>
                  </a:lnTo>
                  <a:lnTo>
                    <a:pt x="777875" y="47625"/>
                  </a:lnTo>
                  <a:lnTo>
                    <a:pt x="783167" y="47625"/>
                  </a:lnTo>
                  <a:lnTo>
                    <a:pt x="783167" y="44979"/>
                  </a:lnTo>
                  <a:lnTo>
                    <a:pt x="780521" y="44979"/>
                  </a:lnTo>
                  <a:lnTo>
                    <a:pt x="780521" y="42333"/>
                  </a:lnTo>
                  <a:lnTo>
                    <a:pt x="780521" y="39687"/>
                  </a:lnTo>
                  <a:lnTo>
                    <a:pt x="788459" y="34396"/>
                  </a:lnTo>
                  <a:lnTo>
                    <a:pt x="791105" y="34396"/>
                  </a:lnTo>
                  <a:lnTo>
                    <a:pt x="791105" y="37042"/>
                  </a:lnTo>
                  <a:lnTo>
                    <a:pt x="793750" y="44979"/>
                  </a:lnTo>
                  <a:lnTo>
                    <a:pt x="793750" y="50271"/>
                  </a:lnTo>
                  <a:lnTo>
                    <a:pt x="796396" y="50271"/>
                  </a:lnTo>
                  <a:lnTo>
                    <a:pt x="799042" y="47625"/>
                  </a:lnTo>
                  <a:lnTo>
                    <a:pt x="801688" y="44979"/>
                  </a:lnTo>
                  <a:lnTo>
                    <a:pt x="804334" y="47625"/>
                  </a:lnTo>
                  <a:lnTo>
                    <a:pt x="804334" y="52917"/>
                  </a:lnTo>
                  <a:lnTo>
                    <a:pt x="799042" y="55562"/>
                  </a:lnTo>
                  <a:lnTo>
                    <a:pt x="796396" y="58208"/>
                  </a:lnTo>
                  <a:lnTo>
                    <a:pt x="796396" y="60854"/>
                  </a:lnTo>
                  <a:lnTo>
                    <a:pt x="796396" y="63500"/>
                  </a:lnTo>
                  <a:lnTo>
                    <a:pt x="799042" y="66146"/>
                  </a:lnTo>
                  <a:lnTo>
                    <a:pt x="791105" y="66146"/>
                  </a:lnTo>
                  <a:lnTo>
                    <a:pt x="785813" y="66146"/>
                  </a:lnTo>
                  <a:lnTo>
                    <a:pt x="788459" y="68792"/>
                  </a:lnTo>
                  <a:lnTo>
                    <a:pt x="793750" y="71437"/>
                  </a:lnTo>
                  <a:lnTo>
                    <a:pt x="791105" y="74083"/>
                  </a:lnTo>
                  <a:lnTo>
                    <a:pt x="785813" y="79375"/>
                  </a:lnTo>
                  <a:lnTo>
                    <a:pt x="783167" y="82021"/>
                  </a:lnTo>
                  <a:lnTo>
                    <a:pt x="780521" y="82021"/>
                  </a:lnTo>
                  <a:lnTo>
                    <a:pt x="772584" y="76729"/>
                  </a:lnTo>
                  <a:lnTo>
                    <a:pt x="775230" y="79375"/>
                  </a:lnTo>
                  <a:lnTo>
                    <a:pt x="775230" y="82021"/>
                  </a:lnTo>
                  <a:lnTo>
                    <a:pt x="769938" y="84667"/>
                  </a:lnTo>
                  <a:lnTo>
                    <a:pt x="764646" y="84667"/>
                  </a:lnTo>
                  <a:lnTo>
                    <a:pt x="767292" y="87312"/>
                  </a:lnTo>
                  <a:lnTo>
                    <a:pt x="769938" y="89958"/>
                  </a:lnTo>
                  <a:lnTo>
                    <a:pt x="769938" y="92604"/>
                  </a:lnTo>
                  <a:lnTo>
                    <a:pt x="764646" y="95250"/>
                  </a:lnTo>
                  <a:lnTo>
                    <a:pt x="767292" y="97896"/>
                  </a:lnTo>
                  <a:lnTo>
                    <a:pt x="772584" y="97896"/>
                  </a:lnTo>
                  <a:lnTo>
                    <a:pt x="772584" y="100542"/>
                  </a:lnTo>
                  <a:lnTo>
                    <a:pt x="769938" y="100542"/>
                  </a:lnTo>
                  <a:lnTo>
                    <a:pt x="767292" y="105833"/>
                  </a:lnTo>
                  <a:lnTo>
                    <a:pt x="764646" y="111125"/>
                  </a:lnTo>
                  <a:lnTo>
                    <a:pt x="764646" y="113771"/>
                  </a:lnTo>
                  <a:lnTo>
                    <a:pt x="762000" y="113771"/>
                  </a:lnTo>
                  <a:lnTo>
                    <a:pt x="759355" y="116417"/>
                  </a:lnTo>
                  <a:lnTo>
                    <a:pt x="759355" y="119062"/>
                  </a:lnTo>
                  <a:lnTo>
                    <a:pt x="756709" y="124354"/>
                  </a:lnTo>
                  <a:lnTo>
                    <a:pt x="751417" y="129646"/>
                  </a:lnTo>
                  <a:lnTo>
                    <a:pt x="748771" y="132292"/>
                  </a:lnTo>
                  <a:lnTo>
                    <a:pt x="751417" y="134937"/>
                  </a:lnTo>
                  <a:lnTo>
                    <a:pt x="756709" y="137583"/>
                  </a:lnTo>
                  <a:lnTo>
                    <a:pt x="759355" y="137583"/>
                  </a:lnTo>
                  <a:lnTo>
                    <a:pt x="764646" y="142875"/>
                  </a:lnTo>
                  <a:lnTo>
                    <a:pt x="769938" y="150812"/>
                  </a:lnTo>
                  <a:lnTo>
                    <a:pt x="767292" y="158750"/>
                  </a:lnTo>
                  <a:lnTo>
                    <a:pt x="772584" y="161396"/>
                  </a:lnTo>
                  <a:lnTo>
                    <a:pt x="775230" y="166687"/>
                  </a:lnTo>
                  <a:lnTo>
                    <a:pt x="777875" y="169333"/>
                  </a:lnTo>
                  <a:lnTo>
                    <a:pt x="785813" y="169333"/>
                  </a:lnTo>
                  <a:lnTo>
                    <a:pt x="791105" y="171979"/>
                  </a:lnTo>
                  <a:lnTo>
                    <a:pt x="796396" y="174625"/>
                  </a:lnTo>
                  <a:lnTo>
                    <a:pt x="799042" y="179916"/>
                  </a:lnTo>
                  <a:lnTo>
                    <a:pt x="801688" y="179916"/>
                  </a:lnTo>
                  <a:lnTo>
                    <a:pt x="804334" y="179916"/>
                  </a:lnTo>
                  <a:lnTo>
                    <a:pt x="806980" y="185208"/>
                  </a:lnTo>
                  <a:lnTo>
                    <a:pt x="809625" y="190500"/>
                  </a:lnTo>
                  <a:lnTo>
                    <a:pt x="812271" y="190500"/>
                  </a:lnTo>
                  <a:lnTo>
                    <a:pt x="814917" y="190500"/>
                  </a:lnTo>
                  <a:lnTo>
                    <a:pt x="820209" y="193146"/>
                  </a:lnTo>
                  <a:lnTo>
                    <a:pt x="820209" y="195791"/>
                  </a:lnTo>
                  <a:lnTo>
                    <a:pt x="822855" y="195791"/>
                  </a:lnTo>
                  <a:lnTo>
                    <a:pt x="830792" y="195791"/>
                  </a:lnTo>
                  <a:lnTo>
                    <a:pt x="838730" y="198437"/>
                  </a:lnTo>
                  <a:lnTo>
                    <a:pt x="841376" y="198437"/>
                  </a:lnTo>
                  <a:lnTo>
                    <a:pt x="841376" y="203729"/>
                  </a:lnTo>
                  <a:lnTo>
                    <a:pt x="844021" y="209021"/>
                  </a:lnTo>
                  <a:lnTo>
                    <a:pt x="849313" y="211666"/>
                  </a:lnTo>
                  <a:lnTo>
                    <a:pt x="854605" y="211666"/>
                  </a:lnTo>
                  <a:lnTo>
                    <a:pt x="859896" y="214312"/>
                  </a:lnTo>
                  <a:lnTo>
                    <a:pt x="862542" y="216958"/>
                  </a:lnTo>
                  <a:lnTo>
                    <a:pt x="865188" y="214312"/>
                  </a:lnTo>
                  <a:lnTo>
                    <a:pt x="873126" y="216958"/>
                  </a:lnTo>
                  <a:lnTo>
                    <a:pt x="881063" y="214312"/>
                  </a:lnTo>
                  <a:lnTo>
                    <a:pt x="889001" y="211666"/>
                  </a:lnTo>
                  <a:lnTo>
                    <a:pt x="894292" y="206375"/>
                  </a:lnTo>
                  <a:lnTo>
                    <a:pt x="896938" y="198437"/>
                  </a:lnTo>
                  <a:lnTo>
                    <a:pt x="896938" y="190500"/>
                  </a:lnTo>
                  <a:lnTo>
                    <a:pt x="902230" y="182562"/>
                  </a:lnTo>
                  <a:lnTo>
                    <a:pt x="910167" y="169333"/>
                  </a:lnTo>
                  <a:lnTo>
                    <a:pt x="915459" y="158750"/>
                  </a:lnTo>
                  <a:lnTo>
                    <a:pt x="920751" y="148167"/>
                  </a:lnTo>
                  <a:lnTo>
                    <a:pt x="920751" y="140229"/>
                  </a:lnTo>
                  <a:lnTo>
                    <a:pt x="920751" y="134937"/>
                  </a:lnTo>
                  <a:lnTo>
                    <a:pt x="918105" y="127000"/>
                  </a:lnTo>
                  <a:lnTo>
                    <a:pt x="918105" y="119062"/>
                  </a:lnTo>
                  <a:lnTo>
                    <a:pt x="920751" y="105833"/>
                  </a:lnTo>
                  <a:lnTo>
                    <a:pt x="923396" y="92604"/>
                  </a:lnTo>
                  <a:lnTo>
                    <a:pt x="923396" y="87312"/>
                  </a:lnTo>
                  <a:lnTo>
                    <a:pt x="923396" y="84667"/>
                  </a:lnTo>
                  <a:lnTo>
                    <a:pt x="926042" y="79375"/>
                  </a:lnTo>
                  <a:lnTo>
                    <a:pt x="931334" y="71437"/>
                  </a:lnTo>
                  <a:lnTo>
                    <a:pt x="939271" y="63500"/>
                  </a:lnTo>
                  <a:lnTo>
                    <a:pt x="941917" y="58208"/>
                  </a:lnTo>
                  <a:lnTo>
                    <a:pt x="941917" y="55562"/>
                  </a:lnTo>
                  <a:lnTo>
                    <a:pt x="941917" y="50271"/>
                  </a:lnTo>
                  <a:lnTo>
                    <a:pt x="947209" y="47625"/>
                  </a:lnTo>
                  <a:lnTo>
                    <a:pt x="947209" y="44979"/>
                  </a:lnTo>
                  <a:lnTo>
                    <a:pt x="941917" y="42333"/>
                  </a:lnTo>
                  <a:lnTo>
                    <a:pt x="939271" y="37042"/>
                  </a:lnTo>
                  <a:lnTo>
                    <a:pt x="941917" y="34396"/>
                  </a:lnTo>
                  <a:lnTo>
                    <a:pt x="947209" y="26458"/>
                  </a:lnTo>
                  <a:lnTo>
                    <a:pt x="955146" y="18521"/>
                  </a:lnTo>
                  <a:lnTo>
                    <a:pt x="957792" y="13229"/>
                  </a:lnTo>
                  <a:lnTo>
                    <a:pt x="957792" y="10583"/>
                  </a:lnTo>
                  <a:lnTo>
                    <a:pt x="957792" y="7937"/>
                  </a:lnTo>
                  <a:lnTo>
                    <a:pt x="957792" y="5292"/>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6" name="Austria"/>
            <p:cNvSpPr>
              <a:spLocks/>
            </p:cNvSpPr>
            <p:nvPr/>
          </p:nvSpPr>
          <p:spPr bwMode="auto">
            <a:xfrm>
              <a:off x="4366913" y="2062427"/>
              <a:ext cx="193146" cy="76729"/>
            </a:xfrm>
            <a:custGeom>
              <a:avLst/>
              <a:gdLst/>
              <a:ahLst/>
              <a:cxnLst>
                <a:cxn ang="0">
                  <a:pos x="76" y="12"/>
                </a:cxn>
                <a:cxn ang="0">
                  <a:pos x="72" y="14"/>
                </a:cxn>
                <a:cxn ang="0">
                  <a:pos x="68" y="20"/>
                </a:cxn>
                <a:cxn ang="0">
                  <a:pos x="64" y="22"/>
                </a:cxn>
                <a:cxn ang="0">
                  <a:pos x="66" y="24"/>
                </a:cxn>
                <a:cxn ang="0">
                  <a:pos x="66" y="26"/>
                </a:cxn>
                <a:cxn ang="0">
                  <a:pos x="66" y="30"/>
                </a:cxn>
                <a:cxn ang="0">
                  <a:pos x="64" y="32"/>
                </a:cxn>
                <a:cxn ang="0">
                  <a:pos x="60" y="28"/>
                </a:cxn>
                <a:cxn ang="0">
                  <a:pos x="56" y="28"/>
                </a:cxn>
                <a:cxn ang="0">
                  <a:pos x="52" y="28"/>
                </a:cxn>
                <a:cxn ang="0">
                  <a:pos x="48" y="32"/>
                </a:cxn>
                <a:cxn ang="0">
                  <a:pos x="40" y="34"/>
                </a:cxn>
                <a:cxn ang="0">
                  <a:pos x="32" y="32"/>
                </a:cxn>
                <a:cxn ang="0">
                  <a:pos x="30" y="32"/>
                </a:cxn>
                <a:cxn ang="0">
                  <a:pos x="24" y="34"/>
                </a:cxn>
                <a:cxn ang="0">
                  <a:pos x="22" y="38"/>
                </a:cxn>
                <a:cxn ang="0">
                  <a:pos x="14" y="36"/>
                </a:cxn>
                <a:cxn ang="0">
                  <a:pos x="0" y="36"/>
                </a:cxn>
                <a:cxn ang="0">
                  <a:pos x="2" y="40"/>
                </a:cxn>
                <a:cxn ang="0">
                  <a:pos x="4" y="44"/>
                </a:cxn>
                <a:cxn ang="0">
                  <a:pos x="10" y="48"/>
                </a:cxn>
                <a:cxn ang="0">
                  <a:pos x="16" y="46"/>
                </a:cxn>
                <a:cxn ang="0">
                  <a:pos x="18" y="52"/>
                </a:cxn>
                <a:cxn ang="0">
                  <a:pos x="26" y="52"/>
                </a:cxn>
                <a:cxn ang="0">
                  <a:pos x="32" y="50"/>
                </a:cxn>
                <a:cxn ang="0">
                  <a:pos x="40" y="48"/>
                </a:cxn>
                <a:cxn ang="0">
                  <a:pos x="52" y="46"/>
                </a:cxn>
                <a:cxn ang="0">
                  <a:pos x="54" y="48"/>
                </a:cxn>
                <a:cxn ang="0">
                  <a:pos x="60" y="52"/>
                </a:cxn>
                <a:cxn ang="0">
                  <a:pos x="66" y="54"/>
                </a:cxn>
                <a:cxn ang="0">
                  <a:pos x="74" y="56"/>
                </a:cxn>
                <a:cxn ang="0">
                  <a:pos x="78" y="56"/>
                </a:cxn>
                <a:cxn ang="0">
                  <a:pos x="98" y="56"/>
                </a:cxn>
                <a:cxn ang="0">
                  <a:pos x="108" y="50"/>
                </a:cxn>
                <a:cxn ang="0">
                  <a:pos x="114" y="50"/>
                </a:cxn>
                <a:cxn ang="0">
                  <a:pos x="122" y="50"/>
                </a:cxn>
                <a:cxn ang="0">
                  <a:pos x="128" y="50"/>
                </a:cxn>
                <a:cxn ang="0">
                  <a:pos x="132" y="44"/>
                </a:cxn>
                <a:cxn ang="0">
                  <a:pos x="134" y="38"/>
                </a:cxn>
                <a:cxn ang="0">
                  <a:pos x="134" y="32"/>
                </a:cxn>
                <a:cxn ang="0">
                  <a:pos x="130" y="28"/>
                </a:cxn>
                <a:cxn ang="0">
                  <a:pos x="140" y="30"/>
                </a:cxn>
                <a:cxn ang="0">
                  <a:pos x="146" y="26"/>
                </a:cxn>
                <a:cxn ang="0">
                  <a:pos x="146" y="16"/>
                </a:cxn>
                <a:cxn ang="0">
                  <a:pos x="136" y="14"/>
                </a:cxn>
                <a:cxn ang="0">
                  <a:pos x="118" y="4"/>
                </a:cxn>
                <a:cxn ang="0">
                  <a:pos x="112" y="4"/>
                </a:cxn>
                <a:cxn ang="0">
                  <a:pos x="108" y="4"/>
                </a:cxn>
                <a:cxn ang="0">
                  <a:pos x="98" y="0"/>
                </a:cxn>
                <a:cxn ang="0">
                  <a:pos x="96" y="6"/>
                </a:cxn>
                <a:cxn ang="0">
                  <a:pos x="92" y="10"/>
                </a:cxn>
                <a:cxn ang="0">
                  <a:pos x="86" y="10"/>
                </a:cxn>
                <a:cxn ang="0">
                  <a:pos x="78" y="8"/>
                </a:cxn>
              </a:cxnLst>
              <a:rect l="0" t="0" r="r" b="b"/>
              <a:pathLst>
                <a:path w="146" h="58">
                  <a:moveTo>
                    <a:pt x="78" y="8"/>
                  </a:moveTo>
                  <a:lnTo>
                    <a:pt x="78" y="8"/>
                  </a:lnTo>
                  <a:lnTo>
                    <a:pt x="76" y="12"/>
                  </a:lnTo>
                  <a:lnTo>
                    <a:pt x="74" y="14"/>
                  </a:lnTo>
                  <a:lnTo>
                    <a:pt x="72" y="14"/>
                  </a:lnTo>
                  <a:lnTo>
                    <a:pt x="72" y="14"/>
                  </a:lnTo>
                  <a:lnTo>
                    <a:pt x="72" y="16"/>
                  </a:lnTo>
                  <a:lnTo>
                    <a:pt x="70" y="18"/>
                  </a:lnTo>
                  <a:lnTo>
                    <a:pt x="68" y="20"/>
                  </a:lnTo>
                  <a:lnTo>
                    <a:pt x="66" y="20"/>
                  </a:lnTo>
                  <a:lnTo>
                    <a:pt x="66" y="20"/>
                  </a:lnTo>
                  <a:lnTo>
                    <a:pt x="64" y="22"/>
                  </a:lnTo>
                  <a:lnTo>
                    <a:pt x="64" y="22"/>
                  </a:lnTo>
                  <a:lnTo>
                    <a:pt x="66" y="24"/>
                  </a:lnTo>
                  <a:lnTo>
                    <a:pt x="66" y="24"/>
                  </a:lnTo>
                  <a:lnTo>
                    <a:pt x="66" y="24"/>
                  </a:lnTo>
                  <a:lnTo>
                    <a:pt x="66" y="26"/>
                  </a:lnTo>
                  <a:lnTo>
                    <a:pt x="66" y="26"/>
                  </a:lnTo>
                  <a:lnTo>
                    <a:pt x="66" y="28"/>
                  </a:lnTo>
                  <a:lnTo>
                    <a:pt x="66" y="28"/>
                  </a:lnTo>
                  <a:lnTo>
                    <a:pt x="66" y="30"/>
                  </a:lnTo>
                  <a:lnTo>
                    <a:pt x="66" y="32"/>
                  </a:lnTo>
                  <a:lnTo>
                    <a:pt x="64" y="32"/>
                  </a:lnTo>
                  <a:lnTo>
                    <a:pt x="64" y="32"/>
                  </a:lnTo>
                  <a:lnTo>
                    <a:pt x="62" y="30"/>
                  </a:lnTo>
                  <a:lnTo>
                    <a:pt x="60" y="28"/>
                  </a:lnTo>
                  <a:lnTo>
                    <a:pt x="60" y="28"/>
                  </a:lnTo>
                  <a:lnTo>
                    <a:pt x="58" y="28"/>
                  </a:lnTo>
                  <a:lnTo>
                    <a:pt x="58" y="28"/>
                  </a:lnTo>
                  <a:lnTo>
                    <a:pt x="56" y="28"/>
                  </a:lnTo>
                  <a:lnTo>
                    <a:pt x="56" y="28"/>
                  </a:lnTo>
                  <a:lnTo>
                    <a:pt x="54" y="28"/>
                  </a:lnTo>
                  <a:lnTo>
                    <a:pt x="52" y="28"/>
                  </a:lnTo>
                  <a:lnTo>
                    <a:pt x="52" y="28"/>
                  </a:lnTo>
                  <a:lnTo>
                    <a:pt x="50" y="30"/>
                  </a:lnTo>
                  <a:lnTo>
                    <a:pt x="48" y="32"/>
                  </a:lnTo>
                  <a:lnTo>
                    <a:pt x="48" y="32"/>
                  </a:lnTo>
                  <a:lnTo>
                    <a:pt x="42" y="34"/>
                  </a:lnTo>
                  <a:lnTo>
                    <a:pt x="40" y="34"/>
                  </a:lnTo>
                  <a:lnTo>
                    <a:pt x="38" y="34"/>
                  </a:lnTo>
                  <a:lnTo>
                    <a:pt x="38" y="34"/>
                  </a:lnTo>
                  <a:lnTo>
                    <a:pt x="32" y="32"/>
                  </a:lnTo>
                  <a:lnTo>
                    <a:pt x="30" y="32"/>
                  </a:lnTo>
                  <a:lnTo>
                    <a:pt x="30" y="32"/>
                  </a:lnTo>
                  <a:lnTo>
                    <a:pt x="30" y="32"/>
                  </a:lnTo>
                  <a:lnTo>
                    <a:pt x="28" y="34"/>
                  </a:lnTo>
                  <a:lnTo>
                    <a:pt x="26" y="34"/>
                  </a:lnTo>
                  <a:lnTo>
                    <a:pt x="24" y="34"/>
                  </a:lnTo>
                  <a:lnTo>
                    <a:pt x="24" y="36"/>
                  </a:lnTo>
                  <a:lnTo>
                    <a:pt x="24" y="36"/>
                  </a:lnTo>
                  <a:lnTo>
                    <a:pt x="22" y="38"/>
                  </a:lnTo>
                  <a:lnTo>
                    <a:pt x="20" y="38"/>
                  </a:lnTo>
                  <a:lnTo>
                    <a:pt x="14" y="36"/>
                  </a:lnTo>
                  <a:lnTo>
                    <a:pt x="14" y="36"/>
                  </a:lnTo>
                  <a:lnTo>
                    <a:pt x="6" y="34"/>
                  </a:lnTo>
                  <a:lnTo>
                    <a:pt x="2" y="34"/>
                  </a:lnTo>
                  <a:lnTo>
                    <a:pt x="0" y="36"/>
                  </a:lnTo>
                  <a:lnTo>
                    <a:pt x="0" y="36"/>
                  </a:lnTo>
                  <a:lnTo>
                    <a:pt x="4" y="38"/>
                  </a:lnTo>
                  <a:lnTo>
                    <a:pt x="2" y="40"/>
                  </a:lnTo>
                  <a:lnTo>
                    <a:pt x="2" y="42"/>
                  </a:lnTo>
                  <a:lnTo>
                    <a:pt x="4" y="44"/>
                  </a:lnTo>
                  <a:lnTo>
                    <a:pt x="4" y="44"/>
                  </a:lnTo>
                  <a:lnTo>
                    <a:pt x="8" y="44"/>
                  </a:lnTo>
                  <a:lnTo>
                    <a:pt x="8" y="46"/>
                  </a:lnTo>
                  <a:lnTo>
                    <a:pt x="10" y="48"/>
                  </a:lnTo>
                  <a:lnTo>
                    <a:pt x="12" y="48"/>
                  </a:lnTo>
                  <a:lnTo>
                    <a:pt x="12" y="48"/>
                  </a:lnTo>
                  <a:lnTo>
                    <a:pt x="16" y="46"/>
                  </a:lnTo>
                  <a:lnTo>
                    <a:pt x="16" y="48"/>
                  </a:lnTo>
                  <a:lnTo>
                    <a:pt x="18" y="52"/>
                  </a:lnTo>
                  <a:lnTo>
                    <a:pt x="18" y="52"/>
                  </a:lnTo>
                  <a:lnTo>
                    <a:pt x="22" y="50"/>
                  </a:lnTo>
                  <a:lnTo>
                    <a:pt x="26" y="52"/>
                  </a:lnTo>
                  <a:lnTo>
                    <a:pt x="26" y="52"/>
                  </a:lnTo>
                  <a:lnTo>
                    <a:pt x="28" y="52"/>
                  </a:lnTo>
                  <a:lnTo>
                    <a:pt x="30" y="52"/>
                  </a:lnTo>
                  <a:lnTo>
                    <a:pt x="32" y="50"/>
                  </a:lnTo>
                  <a:lnTo>
                    <a:pt x="34" y="48"/>
                  </a:lnTo>
                  <a:lnTo>
                    <a:pt x="34" y="48"/>
                  </a:lnTo>
                  <a:lnTo>
                    <a:pt x="40" y="48"/>
                  </a:lnTo>
                  <a:lnTo>
                    <a:pt x="46" y="48"/>
                  </a:lnTo>
                  <a:lnTo>
                    <a:pt x="46" y="48"/>
                  </a:lnTo>
                  <a:lnTo>
                    <a:pt x="52" y="46"/>
                  </a:lnTo>
                  <a:lnTo>
                    <a:pt x="54" y="48"/>
                  </a:lnTo>
                  <a:lnTo>
                    <a:pt x="54" y="48"/>
                  </a:lnTo>
                  <a:lnTo>
                    <a:pt x="54" y="48"/>
                  </a:lnTo>
                  <a:lnTo>
                    <a:pt x="54" y="50"/>
                  </a:lnTo>
                  <a:lnTo>
                    <a:pt x="56" y="50"/>
                  </a:lnTo>
                  <a:lnTo>
                    <a:pt x="60" y="52"/>
                  </a:lnTo>
                  <a:lnTo>
                    <a:pt x="60" y="52"/>
                  </a:lnTo>
                  <a:lnTo>
                    <a:pt x="62" y="54"/>
                  </a:lnTo>
                  <a:lnTo>
                    <a:pt x="66" y="54"/>
                  </a:lnTo>
                  <a:lnTo>
                    <a:pt x="66" y="54"/>
                  </a:lnTo>
                  <a:lnTo>
                    <a:pt x="70" y="56"/>
                  </a:lnTo>
                  <a:lnTo>
                    <a:pt x="74" y="56"/>
                  </a:lnTo>
                  <a:lnTo>
                    <a:pt x="78" y="56"/>
                  </a:lnTo>
                  <a:lnTo>
                    <a:pt x="78" y="56"/>
                  </a:lnTo>
                  <a:lnTo>
                    <a:pt x="78" y="56"/>
                  </a:lnTo>
                  <a:lnTo>
                    <a:pt x="92" y="58"/>
                  </a:lnTo>
                  <a:lnTo>
                    <a:pt x="98" y="56"/>
                  </a:lnTo>
                  <a:lnTo>
                    <a:pt x="98" y="56"/>
                  </a:lnTo>
                  <a:lnTo>
                    <a:pt x="104" y="52"/>
                  </a:lnTo>
                  <a:lnTo>
                    <a:pt x="106" y="50"/>
                  </a:lnTo>
                  <a:lnTo>
                    <a:pt x="108" y="50"/>
                  </a:lnTo>
                  <a:lnTo>
                    <a:pt x="108" y="50"/>
                  </a:lnTo>
                  <a:lnTo>
                    <a:pt x="112" y="52"/>
                  </a:lnTo>
                  <a:lnTo>
                    <a:pt x="114" y="50"/>
                  </a:lnTo>
                  <a:lnTo>
                    <a:pt x="114" y="50"/>
                  </a:lnTo>
                  <a:lnTo>
                    <a:pt x="118" y="48"/>
                  </a:lnTo>
                  <a:lnTo>
                    <a:pt x="122" y="50"/>
                  </a:lnTo>
                  <a:lnTo>
                    <a:pt x="122" y="50"/>
                  </a:lnTo>
                  <a:lnTo>
                    <a:pt x="126" y="52"/>
                  </a:lnTo>
                  <a:lnTo>
                    <a:pt x="128" y="50"/>
                  </a:lnTo>
                  <a:lnTo>
                    <a:pt x="128" y="48"/>
                  </a:lnTo>
                  <a:lnTo>
                    <a:pt x="128" y="48"/>
                  </a:lnTo>
                  <a:lnTo>
                    <a:pt x="132" y="44"/>
                  </a:lnTo>
                  <a:lnTo>
                    <a:pt x="134" y="42"/>
                  </a:lnTo>
                  <a:lnTo>
                    <a:pt x="134" y="42"/>
                  </a:lnTo>
                  <a:lnTo>
                    <a:pt x="134" y="38"/>
                  </a:lnTo>
                  <a:lnTo>
                    <a:pt x="136" y="36"/>
                  </a:lnTo>
                  <a:lnTo>
                    <a:pt x="136" y="34"/>
                  </a:lnTo>
                  <a:lnTo>
                    <a:pt x="134" y="32"/>
                  </a:lnTo>
                  <a:lnTo>
                    <a:pt x="134" y="32"/>
                  </a:lnTo>
                  <a:lnTo>
                    <a:pt x="130" y="28"/>
                  </a:lnTo>
                  <a:lnTo>
                    <a:pt x="130" y="28"/>
                  </a:lnTo>
                  <a:lnTo>
                    <a:pt x="134" y="28"/>
                  </a:lnTo>
                  <a:lnTo>
                    <a:pt x="134" y="28"/>
                  </a:lnTo>
                  <a:lnTo>
                    <a:pt x="140" y="30"/>
                  </a:lnTo>
                  <a:lnTo>
                    <a:pt x="142" y="30"/>
                  </a:lnTo>
                  <a:lnTo>
                    <a:pt x="146" y="26"/>
                  </a:lnTo>
                  <a:lnTo>
                    <a:pt x="146" y="26"/>
                  </a:lnTo>
                  <a:lnTo>
                    <a:pt x="146" y="20"/>
                  </a:lnTo>
                  <a:lnTo>
                    <a:pt x="146" y="16"/>
                  </a:lnTo>
                  <a:lnTo>
                    <a:pt x="146" y="16"/>
                  </a:lnTo>
                  <a:lnTo>
                    <a:pt x="142" y="16"/>
                  </a:lnTo>
                  <a:lnTo>
                    <a:pt x="140" y="16"/>
                  </a:lnTo>
                  <a:lnTo>
                    <a:pt x="136" y="14"/>
                  </a:lnTo>
                  <a:lnTo>
                    <a:pt x="136" y="14"/>
                  </a:lnTo>
                  <a:lnTo>
                    <a:pt x="128" y="10"/>
                  </a:lnTo>
                  <a:lnTo>
                    <a:pt x="118" y="4"/>
                  </a:lnTo>
                  <a:lnTo>
                    <a:pt x="118" y="4"/>
                  </a:lnTo>
                  <a:lnTo>
                    <a:pt x="114" y="4"/>
                  </a:lnTo>
                  <a:lnTo>
                    <a:pt x="112" y="4"/>
                  </a:lnTo>
                  <a:lnTo>
                    <a:pt x="110" y="6"/>
                  </a:lnTo>
                  <a:lnTo>
                    <a:pt x="108" y="4"/>
                  </a:lnTo>
                  <a:lnTo>
                    <a:pt x="108" y="4"/>
                  </a:lnTo>
                  <a:lnTo>
                    <a:pt x="104" y="2"/>
                  </a:lnTo>
                  <a:lnTo>
                    <a:pt x="98" y="0"/>
                  </a:lnTo>
                  <a:lnTo>
                    <a:pt x="98" y="0"/>
                  </a:lnTo>
                  <a:lnTo>
                    <a:pt x="96" y="0"/>
                  </a:lnTo>
                  <a:lnTo>
                    <a:pt x="96" y="2"/>
                  </a:lnTo>
                  <a:lnTo>
                    <a:pt x="96" y="6"/>
                  </a:lnTo>
                  <a:lnTo>
                    <a:pt x="94" y="10"/>
                  </a:lnTo>
                  <a:lnTo>
                    <a:pt x="94" y="10"/>
                  </a:lnTo>
                  <a:lnTo>
                    <a:pt x="92" y="10"/>
                  </a:lnTo>
                  <a:lnTo>
                    <a:pt x="90" y="10"/>
                  </a:lnTo>
                  <a:lnTo>
                    <a:pt x="86" y="10"/>
                  </a:lnTo>
                  <a:lnTo>
                    <a:pt x="86" y="10"/>
                  </a:lnTo>
                  <a:lnTo>
                    <a:pt x="84" y="10"/>
                  </a:lnTo>
                  <a:lnTo>
                    <a:pt x="78" y="8"/>
                  </a:lnTo>
                  <a:lnTo>
                    <a:pt x="78" y="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7" name="Belgium"/>
            <p:cNvSpPr>
              <a:spLocks/>
            </p:cNvSpPr>
            <p:nvPr/>
          </p:nvSpPr>
          <p:spPr bwMode="auto">
            <a:xfrm>
              <a:off x="4205518" y="2004219"/>
              <a:ext cx="79375" cy="50271"/>
            </a:xfrm>
            <a:custGeom>
              <a:avLst/>
              <a:gdLst/>
              <a:ahLst/>
              <a:cxnLst>
                <a:cxn ang="0">
                  <a:pos x="0" y="10"/>
                </a:cxn>
                <a:cxn ang="0">
                  <a:pos x="10" y="8"/>
                </a:cxn>
                <a:cxn ang="0">
                  <a:pos x="14" y="4"/>
                </a:cxn>
                <a:cxn ang="0">
                  <a:pos x="20" y="0"/>
                </a:cxn>
                <a:cxn ang="0">
                  <a:pos x="32" y="6"/>
                </a:cxn>
                <a:cxn ang="0">
                  <a:pos x="38" y="4"/>
                </a:cxn>
                <a:cxn ang="0">
                  <a:pos x="42" y="4"/>
                </a:cxn>
                <a:cxn ang="0">
                  <a:pos x="46" y="4"/>
                </a:cxn>
                <a:cxn ang="0">
                  <a:pos x="48" y="6"/>
                </a:cxn>
                <a:cxn ang="0">
                  <a:pos x="48" y="8"/>
                </a:cxn>
                <a:cxn ang="0">
                  <a:pos x="52" y="8"/>
                </a:cxn>
                <a:cxn ang="0">
                  <a:pos x="52" y="10"/>
                </a:cxn>
                <a:cxn ang="0">
                  <a:pos x="56" y="14"/>
                </a:cxn>
                <a:cxn ang="0">
                  <a:pos x="58" y="16"/>
                </a:cxn>
                <a:cxn ang="0">
                  <a:pos x="56" y="22"/>
                </a:cxn>
                <a:cxn ang="0">
                  <a:pos x="60" y="26"/>
                </a:cxn>
                <a:cxn ang="0">
                  <a:pos x="60" y="30"/>
                </a:cxn>
                <a:cxn ang="0">
                  <a:pos x="52" y="38"/>
                </a:cxn>
                <a:cxn ang="0">
                  <a:pos x="50" y="36"/>
                </a:cxn>
                <a:cxn ang="0">
                  <a:pos x="48" y="36"/>
                </a:cxn>
                <a:cxn ang="0">
                  <a:pos x="46" y="36"/>
                </a:cxn>
                <a:cxn ang="0">
                  <a:pos x="44" y="38"/>
                </a:cxn>
                <a:cxn ang="0">
                  <a:pos x="42" y="38"/>
                </a:cxn>
                <a:cxn ang="0">
                  <a:pos x="40" y="36"/>
                </a:cxn>
                <a:cxn ang="0">
                  <a:pos x="36" y="34"/>
                </a:cxn>
                <a:cxn ang="0">
                  <a:pos x="34" y="32"/>
                </a:cxn>
                <a:cxn ang="0">
                  <a:pos x="34" y="26"/>
                </a:cxn>
                <a:cxn ang="0">
                  <a:pos x="34" y="24"/>
                </a:cxn>
                <a:cxn ang="0">
                  <a:pos x="32" y="24"/>
                </a:cxn>
                <a:cxn ang="0">
                  <a:pos x="30" y="28"/>
                </a:cxn>
                <a:cxn ang="0">
                  <a:pos x="28" y="28"/>
                </a:cxn>
                <a:cxn ang="0">
                  <a:pos x="24" y="26"/>
                </a:cxn>
                <a:cxn ang="0">
                  <a:pos x="24" y="22"/>
                </a:cxn>
                <a:cxn ang="0">
                  <a:pos x="20" y="20"/>
                </a:cxn>
                <a:cxn ang="0">
                  <a:pos x="14" y="18"/>
                </a:cxn>
                <a:cxn ang="0">
                  <a:pos x="12" y="16"/>
                </a:cxn>
                <a:cxn ang="0">
                  <a:pos x="8" y="14"/>
                </a:cxn>
                <a:cxn ang="0">
                  <a:pos x="2" y="12"/>
                </a:cxn>
                <a:cxn ang="0">
                  <a:pos x="0" y="10"/>
                </a:cxn>
              </a:cxnLst>
              <a:rect l="0" t="0" r="r" b="b"/>
              <a:pathLst>
                <a:path w="60" h="38">
                  <a:moveTo>
                    <a:pt x="0" y="10"/>
                  </a:moveTo>
                  <a:lnTo>
                    <a:pt x="0" y="10"/>
                  </a:lnTo>
                  <a:lnTo>
                    <a:pt x="6" y="10"/>
                  </a:lnTo>
                  <a:lnTo>
                    <a:pt x="10" y="8"/>
                  </a:lnTo>
                  <a:lnTo>
                    <a:pt x="10" y="8"/>
                  </a:lnTo>
                  <a:lnTo>
                    <a:pt x="14" y="4"/>
                  </a:lnTo>
                  <a:lnTo>
                    <a:pt x="20" y="0"/>
                  </a:lnTo>
                  <a:lnTo>
                    <a:pt x="20" y="0"/>
                  </a:lnTo>
                  <a:lnTo>
                    <a:pt x="26" y="6"/>
                  </a:lnTo>
                  <a:lnTo>
                    <a:pt x="32" y="6"/>
                  </a:lnTo>
                  <a:lnTo>
                    <a:pt x="32" y="6"/>
                  </a:lnTo>
                  <a:lnTo>
                    <a:pt x="38" y="4"/>
                  </a:lnTo>
                  <a:lnTo>
                    <a:pt x="40" y="4"/>
                  </a:lnTo>
                  <a:lnTo>
                    <a:pt x="42" y="4"/>
                  </a:lnTo>
                  <a:lnTo>
                    <a:pt x="42" y="4"/>
                  </a:lnTo>
                  <a:lnTo>
                    <a:pt x="46" y="4"/>
                  </a:lnTo>
                  <a:lnTo>
                    <a:pt x="48" y="4"/>
                  </a:lnTo>
                  <a:lnTo>
                    <a:pt x="48" y="6"/>
                  </a:lnTo>
                  <a:lnTo>
                    <a:pt x="48" y="6"/>
                  </a:lnTo>
                  <a:lnTo>
                    <a:pt x="48" y="8"/>
                  </a:lnTo>
                  <a:lnTo>
                    <a:pt x="50" y="8"/>
                  </a:lnTo>
                  <a:lnTo>
                    <a:pt x="52" y="8"/>
                  </a:lnTo>
                  <a:lnTo>
                    <a:pt x="52" y="10"/>
                  </a:lnTo>
                  <a:lnTo>
                    <a:pt x="52" y="10"/>
                  </a:lnTo>
                  <a:lnTo>
                    <a:pt x="52" y="14"/>
                  </a:lnTo>
                  <a:lnTo>
                    <a:pt x="56" y="14"/>
                  </a:lnTo>
                  <a:lnTo>
                    <a:pt x="56" y="14"/>
                  </a:lnTo>
                  <a:lnTo>
                    <a:pt x="58" y="16"/>
                  </a:lnTo>
                  <a:lnTo>
                    <a:pt x="58" y="18"/>
                  </a:lnTo>
                  <a:lnTo>
                    <a:pt x="56" y="22"/>
                  </a:lnTo>
                  <a:lnTo>
                    <a:pt x="56" y="22"/>
                  </a:lnTo>
                  <a:lnTo>
                    <a:pt x="60" y="26"/>
                  </a:lnTo>
                  <a:lnTo>
                    <a:pt x="60" y="30"/>
                  </a:lnTo>
                  <a:lnTo>
                    <a:pt x="60" y="30"/>
                  </a:lnTo>
                  <a:lnTo>
                    <a:pt x="56" y="34"/>
                  </a:lnTo>
                  <a:lnTo>
                    <a:pt x="52" y="38"/>
                  </a:lnTo>
                  <a:lnTo>
                    <a:pt x="52" y="38"/>
                  </a:lnTo>
                  <a:lnTo>
                    <a:pt x="50" y="36"/>
                  </a:lnTo>
                  <a:lnTo>
                    <a:pt x="48" y="36"/>
                  </a:lnTo>
                  <a:lnTo>
                    <a:pt x="48" y="36"/>
                  </a:lnTo>
                  <a:lnTo>
                    <a:pt x="46" y="36"/>
                  </a:lnTo>
                  <a:lnTo>
                    <a:pt x="46" y="36"/>
                  </a:lnTo>
                  <a:lnTo>
                    <a:pt x="44" y="38"/>
                  </a:lnTo>
                  <a:lnTo>
                    <a:pt x="44" y="38"/>
                  </a:lnTo>
                  <a:lnTo>
                    <a:pt x="42" y="38"/>
                  </a:lnTo>
                  <a:lnTo>
                    <a:pt x="42" y="38"/>
                  </a:lnTo>
                  <a:lnTo>
                    <a:pt x="42" y="38"/>
                  </a:lnTo>
                  <a:lnTo>
                    <a:pt x="40" y="36"/>
                  </a:lnTo>
                  <a:lnTo>
                    <a:pt x="38" y="34"/>
                  </a:lnTo>
                  <a:lnTo>
                    <a:pt x="36" y="34"/>
                  </a:lnTo>
                  <a:lnTo>
                    <a:pt x="36" y="34"/>
                  </a:lnTo>
                  <a:lnTo>
                    <a:pt x="34" y="32"/>
                  </a:lnTo>
                  <a:lnTo>
                    <a:pt x="34" y="30"/>
                  </a:lnTo>
                  <a:lnTo>
                    <a:pt x="34" y="26"/>
                  </a:lnTo>
                  <a:lnTo>
                    <a:pt x="34" y="26"/>
                  </a:lnTo>
                  <a:lnTo>
                    <a:pt x="34" y="24"/>
                  </a:lnTo>
                  <a:lnTo>
                    <a:pt x="34" y="24"/>
                  </a:lnTo>
                  <a:lnTo>
                    <a:pt x="32" y="24"/>
                  </a:lnTo>
                  <a:lnTo>
                    <a:pt x="32" y="24"/>
                  </a:lnTo>
                  <a:lnTo>
                    <a:pt x="30" y="28"/>
                  </a:lnTo>
                  <a:lnTo>
                    <a:pt x="28" y="28"/>
                  </a:lnTo>
                  <a:lnTo>
                    <a:pt x="28" y="28"/>
                  </a:lnTo>
                  <a:lnTo>
                    <a:pt x="24" y="28"/>
                  </a:lnTo>
                  <a:lnTo>
                    <a:pt x="24" y="26"/>
                  </a:lnTo>
                  <a:lnTo>
                    <a:pt x="24" y="26"/>
                  </a:lnTo>
                  <a:lnTo>
                    <a:pt x="24" y="22"/>
                  </a:lnTo>
                  <a:lnTo>
                    <a:pt x="20" y="20"/>
                  </a:lnTo>
                  <a:lnTo>
                    <a:pt x="20" y="20"/>
                  </a:lnTo>
                  <a:lnTo>
                    <a:pt x="18" y="20"/>
                  </a:lnTo>
                  <a:lnTo>
                    <a:pt x="14" y="18"/>
                  </a:lnTo>
                  <a:lnTo>
                    <a:pt x="14" y="18"/>
                  </a:lnTo>
                  <a:lnTo>
                    <a:pt x="12" y="16"/>
                  </a:lnTo>
                  <a:lnTo>
                    <a:pt x="8" y="14"/>
                  </a:lnTo>
                  <a:lnTo>
                    <a:pt x="8" y="14"/>
                  </a:lnTo>
                  <a:lnTo>
                    <a:pt x="4" y="14"/>
                  </a:lnTo>
                  <a:lnTo>
                    <a:pt x="2" y="12"/>
                  </a:lnTo>
                  <a:lnTo>
                    <a:pt x="0" y="10"/>
                  </a:lnTo>
                  <a:lnTo>
                    <a:pt x="0" y="1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8" name="Brazil"/>
            <p:cNvSpPr>
              <a:spLocks/>
            </p:cNvSpPr>
            <p:nvPr/>
          </p:nvSpPr>
          <p:spPr bwMode="auto">
            <a:xfrm>
              <a:off x="2083559" y="3448844"/>
              <a:ext cx="1082146" cy="1277938"/>
            </a:xfrm>
            <a:custGeom>
              <a:avLst/>
              <a:gdLst/>
              <a:ahLst/>
              <a:cxnLst>
                <a:cxn ang="0">
                  <a:pos x="496" y="82"/>
                </a:cxn>
                <a:cxn ang="0">
                  <a:pos x="476" y="152"/>
                </a:cxn>
                <a:cxn ang="0">
                  <a:pos x="474" y="168"/>
                </a:cxn>
                <a:cxn ang="0">
                  <a:pos x="502" y="128"/>
                </a:cxn>
                <a:cxn ang="0">
                  <a:pos x="536" y="152"/>
                </a:cxn>
                <a:cxn ang="0">
                  <a:pos x="502" y="174"/>
                </a:cxn>
                <a:cxn ang="0">
                  <a:pos x="522" y="196"/>
                </a:cxn>
                <a:cxn ang="0">
                  <a:pos x="552" y="150"/>
                </a:cxn>
                <a:cxn ang="0">
                  <a:pos x="612" y="188"/>
                </a:cxn>
                <a:cxn ang="0">
                  <a:pos x="666" y="212"/>
                </a:cxn>
                <a:cxn ang="0">
                  <a:pos x="766" y="254"/>
                </a:cxn>
                <a:cxn ang="0">
                  <a:pos x="818" y="322"/>
                </a:cxn>
                <a:cxn ang="0">
                  <a:pos x="762" y="434"/>
                </a:cxn>
                <a:cxn ang="0">
                  <a:pos x="736" y="488"/>
                </a:cxn>
                <a:cxn ang="0">
                  <a:pos x="734" y="580"/>
                </a:cxn>
                <a:cxn ang="0">
                  <a:pos x="724" y="632"/>
                </a:cxn>
                <a:cxn ang="0">
                  <a:pos x="700" y="692"/>
                </a:cxn>
                <a:cxn ang="0">
                  <a:pos x="650" y="708"/>
                </a:cxn>
                <a:cxn ang="0">
                  <a:pos x="582" y="774"/>
                </a:cxn>
                <a:cxn ang="0">
                  <a:pos x="584" y="836"/>
                </a:cxn>
                <a:cxn ang="0">
                  <a:pos x="554" y="888"/>
                </a:cxn>
                <a:cxn ang="0">
                  <a:pos x="526" y="952"/>
                </a:cxn>
                <a:cxn ang="0">
                  <a:pos x="494" y="924"/>
                </a:cxn>
                <a:cxn ang="0">
                  <a:pos x="448" y="900"/>
                </a:cxn>
                <a:cxn ang="0">
                  <a:pos x="408" y="876"/>
                </a:cxn>
                <a:cxn ang="0">
                  <a:pos x="440" y="838"/>
                </a:cxn>
                <a:cxn ang="0">
                  <a:pos x="456" y="818"/>
                </a:cxn>
                <a:cxn ang="0">
                  <a:pos x="456" y="776"/>
                </a:cxn>
                <a:cxn ang="0">
                  <a:pos x="428" y="734"/>
                </a:cxn>
                <a:cxn ang="0">
                  <a:pos x="404" y="696"/>
                </a:cxn>
                <a:cxn ang="0">
                  <a:pos x="376" y="648"/>
                </a:cxn>
                <a:cxn ang="0">
                  <a:pos x="364" y="602"/>
                </a:cxn>
                <a:cxn ang="0">
                  <a:pos x="344" y="566"/>
                </a:cxn>
                <a:cxn ang="0">
                  <a:pos x="298" y="530"/>
                </a:cxn>
                <a:cxn ang="0">
                  <a:pos x="272" y="488"/>
                </a:cxn>
                <a:cxn ang="0">
                  <a:pos x="224" y="454"/>
                </a:cxn>
                <a:cxn ang="0">
                  <a:pos x="182" y="394"/>
                </a:cxn>
                <a:cxn ang="0">
                  <a:pos x="130" y="416"/>
                </a:cxn>
                <a:cxn ang="0">
                  <a:pos x="78" y="422"/>
                </a:cxn>
                <a:cxn ang="0">
                  <a:pos x="68" y="380"/>
                </a:cxn>
                <a:cxn ang="0">
                  <a:pos x="18" y="382"/>
                </a:cxn>
                <a:cxn ang="0">
                  <a:pos x="2" y="328"/>
                </a:cxn>
                <a:cxn ang="0">
                  <a:pos x="20" y="282"/>
                </a:cxn>
                <a:cxn ang="0">
                  <a:pos x="64" y="244"/>
                </a:cxn>
                <a:cxn ang="0">
                  <a:pos x="80" y="148"/>
                </a:cxn>
                <a:cxn ang="0">
                  <a:pos x="86" y="110"/>
                </a:cxn>
                <a:cxn ang="0">
                  <a:pos x="110" y="88"/>
                </a:cxn>
                <a:cxn ang="0">
                  <a:pos x="128" y="88"/>
                </a:cxn>
                <a:cxn ang="0">
                  <a:pos x="158" y="116"/>
                </a:cxn>
                <a:cxn ang="0">
                  <a:pos x="194" y="98"/>
                </a:cxn>
                <a:cxn ang="0">
                  <a:pos x="210" y="70"/>
                </a:cxn>
                <a:cxn ang="0">
                  <a:pos x="192" y="24"/>
                </a:cxn>
                <a:cxn ang="0">
                  <a:pos x="244" y="28"/>
                </a:cxn>
                <a:cxn ang="0">
                  <a:pos x="276" y="0"/>
                </a:cxn>
                <a:cxn ang="0">
                  <a:pos x="296" y="24"/>
                </a:cxn>
                <a:cxn ang="0">
                  <a:pos x="294" y="60"/>
                </a:cxn>
                <a:cxn ang="0">
                  <a:pos x="304" y="96"/>
                </a:cxn>
                <a:cxn ang="0">
                  <a:pos x="342" y="86"/>
                </a:cxn>
                <a:cxn ang="0">
                  <a:pos x="374" y="80"/>
                </a:cxn>
                <a:cxn ang="0">
                  <a:pos x="394" y="74"/>
                </a:cxn>
                <a:cxn ang="0">
                  <a:pos x="418" y="80"/>
                </a:cxn>
                <a:cxn ang="0">
                  <a:pos x="448" y="62"/>
                </a:cxn>
                <a:cxn ang="0">
                  <a:pos x="466" y="24"/>
                </a:cxn>
              </a:cxnLst>
              <a:rect l="0" t="0" r="r" b="b"/>
              <a:pathLst>
                <a:path w="818" h="966">
                  <a:moveTo>
                    <a:pt x="468" y="20"/>
                  </a:moveTo>
                  <a:lnTo>
                    <a:pt x="468" y="20"/>
                  </a:lnTo>
                  <a:lnTo>
                    <a:pt x="470" y="20"/>
                  </a:lnTo>
                  <a:lnTo>
                    <a:pt x="472" y="22"/>
                  </a:lnTo>
                  <a:lnTo>
                    <a:pt x="476" y="28"/>
                  </a:lnTo>
                  <a:lnTo>
                    <a:pt x="476" y="28"/>
                  </a:lnTo>
                  <a:lnTo>
                    <a:pt x="480" y="30"/>
                  </a:lnTo>
                  <a:lnTo>
                    <a:pt x="480" y="30"/>
                  </a:lnTo>
                  <a:lnTo>
                    <a:pt x="482" y="34"/>
                  </a:lnTo>
                  <a:lnTo>
                    <a:pt x="482" y="34"/>
                  </a:lnTo>
                  <a:lnTo>
                    <a:pt x="490" y="64"/>
                  </a:lnTo>
                  <a:lnTo>
                    <a:pt x="496" y="82"/>
                  </a:lnTo>
                  <a:lnTo>
                    <a:pt x="496" y="82"/>
                  </a:lnTo>
                  <a:lnTo>
                    <a:pt x="504" y="86"/>
                  </a:lnTo>
                  <a:lnTo>
                    <a:pt x="508" y="92"/>
                  </a:lnTo>
                  <a:lnTo>
                    <a:pt x="506" y="98"/>
                  </a:lnTo>
                  <a:lnTo>
                    <a:pt x="502" y="104"/>
                  </a:lnTo>
                  <a:lnTo>
                    <a:pt x="502" y="104"/>
                  </a:lnTo>
                  <a:lnTo>
                    <a:pt x="498" y="110"/>
                  </a:lnTo>
                  <a:lnTo>
                    <a:pt x="496" y="114"/>
                  </a:lnTo>
                  <a:lnTo>
                    <a:pt x="492" y="118"/>
                  </a:lnTo>
                  <a:lnTo>
                    <a:pt x="488" y="122"/>
                  </a:lnTo>
                  <a:lnTo>
                    <a:pt x="488" y="122"/>
                  </a:lnTo>
                  <a:lnTo>
                    <a:pt x="482" y="128"/>
                  </a:lnTo>
                  <a:lnTo>
                    <a:pt x="480" y="134"/>
                  </a:lnTo>
                  <a:lnTo>
                    <a:pt x="476" y="152"/>
                  </a:lnTo>
                  <a:lnTo>
                    <a:pt x="476" y="152"/>
                  </a:lnTo>
                  <a:lnTo>
                    <a:pt x="474" y="156"/>
                  </a:lnTo>
                  <a:lnTo>
                    <a:pt x="472" y="160"/>
                  </a:lnTo>
                  <a:lnTo>
                    <a:pt x="464" y="168"/>
                  </a:lnTo>
                  <a:lnTo>
                    <a:pt x="460" y="170"/>
                  </a:lnTo>
                  <a:lnTo>
                    <a:pt x="462" y="168"/>
                  </a:lnTo>
                  <a:lnTo>
                    <a:pt x="462" y="168"/>
                  </a:lnTo>
                  <a:lnTo>
                    <a:pt x="464" y="166"/>
                  </a:lnTo>
                  <a:lnTo>
                    <a:pt x="468" y="166"/>
                  </a:lnTo>
                  <a:lnTo>
                    <a:pt x="472" y="172"/>
                  </a:lnTo>
                  <a:lnTo>
                    <a:pt x="476" y="184"/>
                  </a:lnTo>
                  <a:lnTo>
                    <a:pt x="476" y="184"/>
                  </a:lnTo>
                  <a:lnTo>
                    <a:pt x="474" y="168"/>
                  </a:lnTo>
                  <a:lnTo>
                    <a:pt x="474" y="168"/>
                  </a:lnTo>
                  <a:lnTo>
                    <a:pt x="474" y="166"/>
                  </a:lnTo>
                  <a:lnTo>
                    <a:pt x="476" y="164"/>
                  </a:lnTo>
                  <a:lnTo>
                    <a:pt x="482" y="160"/>
                  </a:lnTo>
                  <a:lnTo>
                    <a:pt x="488" y="158"/>
                  </a:lnTo>
                  <a:lnTo>
                    <a:pt x="492" y="152"/>
                  </a:lnTo>
                  <a:lnTo>
                    <a:pt x="492" y="152"/>
                  </a:lnTo>
                  <a:lnTo>
                    <a:pt x="492" y="148"/>
                  </a:lnTo>
                  <a:lnTo>
                    <a:pt x="492" y="144"/>
                  </a:lnTo>
                  <a:lnTo>
                    <a:pt x="492" y="140"/>
                  </a:lnTo>
                  <a:lnTo>
                    <a:pt x="496" y="134"/>
                  </a:lnTo>
                  <a:lnTo>
                    <a:pt x="496" y="134"/>
                  </a:lnTo>
                  <a:lnTo>
                    <a:pt x="502" y="128"/>
                  </a:lnTo>
                  <a:lnTo>
                    <a:pt x="506" y="128"/>
                  </a:lnTo>
                  <a:lnTo>
                    <a:pt x="510" y="130"/>
                  </a:lnTo>
                  <a:lnTo>
                    <a:pt x="520" y="130"/>
                  </a:lnTo>
                  <a:lnTo>
                    <a:pt x="520" y="130"/>
                  </a:lnTo>
                  <a:lnTo>
                    <a:pt x="540" y="128"/>
                  </a:lnTo>
                  <a:lnTo>
                    <a:pt x="544" y="130"/>
                  </a:lnTo>
                  <a:lnTo>
                    <a:pt x="546" y="132"/>
                  </a:lnTo>
                  <a:lnTo>
                    <a:pt x="544" y="134"/>
                  </a:lnTo>
                  <a:lnTo>
                    <a:pt x="544" y="134"/>
                  </a:lnTo>
                  <a:lnTo>
                    <a:pt x="542" y="140"/>
                  </a:lnTo>
                  <a:lnTo>
                    <a:pt x="542" y="142"/>
                  </a:lnTo>
                  <a:lnTo>
                    <a:pt x="540" y="146"/>
                  </a:lnTo>
                  <a:lnTo>
                    <a:pt x="536" y="152"/>
                  </a:lnTo>
                  <a:lnTo>
                    <a:pt x="536" y="152"/>
                  </a:lnTo>
                  <a:lnTo>
                    <a:pt x="530" y="158"/>
                  </a:lnTo>
                  <a:lnTo>
                    <a:pt x="530" y="160"/>
                  </a:lnTo>
                  <a:lnTo>
                    <a:pt x="532" y="164"/>
                  </a:lnTo>
                  <a:lnTo>
                    <a:pt x="528" y="166"/>
                  </a:lnTo>
                  <a:lnTo>
                    <a:pt x="528" y="166"/>
                  </a:lnTo>
                  <a:lnTo>
                    <a:pt x="524" y="168"/>
                  </a:lnTo>
                  <a:lnTo>
                    <a:pt x="520" y="168"/>
                  </a:lnTo>
                  <a:lnTo>
                    <a:pt x="516" y="170"/>
                  </a:lnTo>
                  <a:lnTo>
                    <a:pt x="510" y="172"/>
                  </a:lnTo>
                  <a:lnTo>
                    <a:pt x="510" y="172"/>
                  </a:lnTo>
                  <a:lnTo>
                    <a:pt x="506" y="174"/>
                  </a:lnTo>
                  <a:lnTo>
                    <a:pt x="502" y="174"/>
                  </a:lnTo>
                  <a:lnTo>
                    <a:pt x="500" y="174"/>
                  </a:lnTo>
                  <a:lnTo>
                    <a:pt x="492" y="176"/>
                  </a:lnTo>
                  <a:lnTo>
                    <a:pt x="492" y="176"/>
                  </a:lnTo>
                  <a:lnTo>
                    <a:pt x="498" y="176"/>
                  </a:lnTo>
                  <a:lnTo>
                    <a:pt x="500" y="178"/>
                  </a:lnTo>
                  <a:lnTo>
                    <a:pt x="504" y="180"/>
                  </a:lnTo>
                  <a:lnTo>
                    <a:pt x="512" y="176"/>
                  </a:lnTo>
                  <a:lnTo>
                    <a:pt x="512" y="176"/>
                  </a:lnTo>
                  <a:lnTo>
                    <a:pt x="518" y="174"/>
                  </a:lnTo>
                  <a:lnTo>
                    <a:pt x="518" y="176"/>
                  </a:lnTo>
                  <a:lnTo>
                    <a:pt x="518" y="184"/>
                  </a:lnTo>
                  <a:lnTo>
                    <a:pt x="518" y="190"/>
                  </a:lnTo>
                  <a:lnTo>
                    <a:pt x="522" y="196"/>
                  </a:lnTo>
                  <a:lnTo>
                    <a:pt x="522" y="196"/>
                  </a:lnTo>
                  <a:lnTo>
                    <a:pt x="522" y="184"/>
                  </a:lnTo>
                  <a:lnTo>
                    <a:pt x="524" y="176"/>
                  </a:lnTo>
                  <a:lnTo>
                    <a:pt x="528" y="172"/>
                  </a:lnTo>
                  <a:lnTo>
                    <a:pt x="534" y="172"/>
                  </a:lnTo>
                  <a:lnTo>
                    <a:pt x="534" y="172"/>
                  </a:lnTo>
                  <a:lnTo>
                    <a:pt x="536" y="170"/>
                  </a:lnTo>
                  <a:lnTo>
                    <a:pt x="536" y="168"/>
                  </a:lnTo>
                  <a:lnTo>
                    <a:pt x="538" y="162"/>
                  </a:lnTo>
                  <a:lnTo>
                    <a:pt x="542" y="156"/>
                  </a:lnTo>
                  <a:lnTo>
                    <a:pt x="546" y="152"/>
                  </a:lnTo>
                  <a:lnTo>
                    <a:pt x="552" y="150"/>
                  </a:lnTo>
                  <a:lnTo>
                    <a:pt x="552" y="150"/>
                  </a:lnTo>
                  <a:lnTo>
                    <a:pt x="558" y="148"/>
                  </a:lnTo>
                  <a:lnTo>
                    <a:pt x="564" y="148"/>
                  </a:lnTo>
                  <a:lnTo>
                    <a:pt x="572" y="152"/>
                  </a:lnTo>
                  <a:lnTo>
                    <a:pt x="582" y="160"/>
                  </a:lnTo>
                  <a:lnTo>
                    <a:pt x="598" y="168"/>
                  </a:lnTo>
                  <a:lnTo>
                    <a:pt x="598" y="168"/>
                  </a:lnTo>
                  <a:lnTo>
                    <a:pt x="614" y="176"/>
                  </a:lnTo>
                  <a:lnTo>
                    <a:pt x="618" y="182"/>
                  </a:lnTo>
                  <a:lnTo>
                    <a:pt x="618" y="184"/>
                  </a:lnTo>
                  <a:lnTo>
                    <a:pt x="618" y="184"/>
                  </a:lnTo>
                  <a:lnTo>
                    <a:pt x="614" y="186"/>
                  </a:lnTo>
                  <a:lnTo>
                    <a:pt x="614" y="186"/>
                  </a:lnTo>
                  <a:lnTo>
                    <a:pt x="612" y="188"/>
                  </a:lnTo>
                  <a:lnTo>
                    <a:pt x="612" y="188"/>
                  </a:lnTo>
                  <a:lnTo>
                    <a:pt x="616" y="190"/>
                  </a:lnTo>
                  <a:lnTo>
                    <a:pt x="618" y="196"/>
                  </a:lnTo>
                  <a:lnTo>
                    <a:pt x="618" y="198"/>
                  </a:lnTo>
                  <a:lnTo>
                    <a:pt x="618" y="204"/>
                  </a:lnTo>
                  <a:lnTo>
                    <a:pt x="618" y="204"/>
                  </a:lnTo>
                  <a:lnTo>
                    <a:pt x="624" y="198"/>
                  </a:lnTo>
                  <a:lnTo>
                    <a:pt x="626" y="196"/>
                  </a:lnTo>
                  <a:lnTo>
                    <a:pt x="632" y="196"/>
                  </a:lnTo>
                  <a:lnTo>
                    <a:pt x="640" y="200"/>
                  </a:lnTo>
                  <a:lnTo>
                    <a:pt x="640" y="200"/>
                  </a:lnTo>
                  <a:lnTo>
                    <a:pt x="654" y="208"/>
                  </a:lnTo>
                  <a:lnTo>
                    <a:pt x="666" y="212"/>
                  </a:lnTo>
                  <a:lnTo>
                    <a:pt x="678" y="216"/>
                  </a:lnTo>
                  <a:lnTo>
                    <a:pt x="684" y="216"/>
                  </a:lnTo>
                  <a:lnTo>
                    <a:pt x="684" y="216"/>
                  </a:lnTo>
                  <a:lnTo>
                    <a:pt x="694" y="212"/>
                  </a:lnTo>
                  <a:lnTo>
                    <a:pt x="704" y="214"/>
                  </a:lnTo>
                  <a:lnTo>
                    <a:pt x="712" y="218"/>
                  </a:lnTo>
                  <a:lnTo>
                    <a:pt x="724" y="226"/>
                  </a:lnTo>
                  <a:lnTo>
                    <a:pt x="724" y="226"/>
                  </a:lnTo>
                  <a:lnTo>
                    <a:pt x="736" y="234"/>
                  </a:lnTo>
                  <a:lnTo>
                    <a:pt x="746" y="242"/>
                  </a:lnTo>
                  <a:lnTo>
                    <a:pt x="756" y="248"/>
                  </a:lnTo>
                  <a:lnTo>
                    <a:pt x="766" y="254"/>
                  </a:lnTo>
                  <a:lnTo>
                    <a:pt x="766" y="254"/>
                  </a:lnTo>
                  <a:lnTo>
                    <a:pt x="770" y="256"/>
                  </a:lnTo>
                  <a:lnTo>
                    <a:pt x="776" y="258"/>
                  </a:lnTo>
                  <a:lnTo>
                    <a:pt x="786" y="258"/>
                  </a:lnTo>
                  <a:lnTo>
                    <a:pt x="792" y="258"/>
                  </a:lnTo>
                  <a:lnTo>
                    <a:pt x="798" y="258"/>
                  </a:lnTo>
                  <a:lnTo>
                    <a:pt x="802" y="262"/>
                  </a:lnTo>
                  <a:lnTo>
                    <a:pt x="806" y="266"/>
                  </a:lnTo>
                  <a:lnTo>
                    <a:pt x="806" y="266"/>
                  </a:lnTo>
                  <a:lnTo>
                    <a:pt x="814" y="286"/>
                  </a:lnTo>
                  <a:lnTo>
                    <a:pt x="818" y="298"/>
                  </a:lnTo>
                  <a:lnTo>
                    <a:pt x="818" y="310"/>
                  </a:lnTo>
                  <a:lnTo>
                    <a:pt x="818" y="310"/>
                  </a:lnTo>
                  <a:lnTo>
                    <a:pt x="818" y="322"/>
                  </a:lnTo>
                  <a:lnTo>
                    <a:pt x="818" y="338"/>
                  </a:lnTo>
                  <a:lnTo>
                    <a:pt x="816" y="352"/>
                  </a:lnTo>
                  <a:lnTo>
                    <a:pt x="814" y="358"/>
                  </a:lnTo>
                  <a:lnTo>
                    <a:pt x="810" y="364"/>
                  </a:lnTo>
                  <a:lnTo>
                    <a:pt x="810" y="364"/>
                  </a:lnTo>
                  <a:lnTo>
                    <a:pt x="802" y="372"/>
                  </a:lnTo>
                  <a:lnTo>
                    <a:pt x="798" y="382"/>
                  </a:lnTo>
                  <a:lnTo>
                    <a:pt x="790" y="390"/>
                  </a:lnTo>
                  <a:lnTo>
                    <a:pt x="782" y="402"/>
                  </a:lnTo>
                  <a:lnTo>
                    <a:pt x="782" y="402"/>
                  </a:lnTo>
                  <a:lnTo>
                    <a:pt x="774" y="408"/>
                  </a:lnTo>
                  <a:lnTo>
                    <a:pt x="770" y="416"/>
                  </a:lnTo>
                  <a:lnTo>
                    <a:pt x="762" y="434"/>
                  </a:lnTo>
                  <a:lnTo>
                    <a:pt x="756" y="450"/>
                  </a:lnTo>
                  <a:lnTo>
                    <a:pt x="752" y="458"/>
                  </a:lnTo>
                  <a:lnTo>
                    <a:pt x="746" y="464"/>
                  </a:lnTo>
                  <a:lnTo>
                    <a:pt x="746" y="464"/>
                  </a:lnTo>
                  <a:lnTo>
                    <a:pt x="744" y="464"/>
                  </a:lnTo>
                  <a:lnTo>
                    <a:pt x="740" y="464"/>
                  </a:lnTo>
                  <a:lnTo>
                    <a:pt x="734" y="460"/>
                  </a:lnTo>
                  <a:lnTo>
                    <a:pt x="732" y="460"/>
                  </a:lnTo>
                  <a:lnTo>
                    <a:pt x="732" y="460"/>
                  </a:lnTo>
                  <a:lnTo>
                    <a:pt x="736" y="470"/>
                  </a:lnTo>
                  <a:lnTo>
                    <a:pt x="736" y="470"/>
                  </a:lnTo>
                  <a:lnTo>
                    <a:pt x="738" y="478"/>
                  </a:lnTo>
                  <a:lnTo>
                    <a:pt x="736" y="488"/>
                  </a:lnTo>
                  <a:lnTo>
                    <a:pt x="736" y="500"/>
                  </a:lnTo>
                  <a:lnTo>
                    <a:pt x="738" y="508"/>
                  </a:lnTo>
                  <a:lnTo>
                    <a:pt x="740" y="516"/>
                  </a:lnTo>
                  <a:lnTo>
                    <a:pt x="740" y="516"/>
                  </a:lnTo>
                  <a:lnTo>
                    <a:pt x="742" y="522"/>
                  </a:lnTo>
                  <a:lnTo>
                    <a:pt x="744" y="526"/>
                  </a:lnTo>
                  <a:lnTo>
                    <a:pt x="742" y="536"/>
                  </a:lnTo>
                  <a:lnTo>
                    <a:pt x="738" y="546"/>
                  </a:lnTo>
                  <a:lnTo>
                    <a:pt x="738" y="562"/>
                  </a:lnTo>
                  <a:lnTo>
                    <a:pt x="738" y="562"/>
                  </a:lnTo>
                  <a:lnTo>
                    <a:pt x="738" y="570"/>
                  </a:lnTo>
                  <a:lnTo>
                    <a:pt x="738" y="574"/>
                  </a:lnTo>
                  <a:lnTo>
                    <a:pt x="734" y="580"/>
                  </a:lnTo>
                  <a:lnTo>
                    <a:pt x="732" y="584"/>
                  </a:lnTo>
                  <a:lnTo>
                    <a:pt x="732" y="586"/>
                  </a:lnTo>
                  <a:lnTo>
                    <a:pt x="732" y="590"/>
                  </a:lnTo>
                  <a:lnTo>
                    <a:pt x="734" y="596"/>
                  </a:lnTo>
                  <a:lnTo>
                    <a:pt x="734" y="596"/>
                  </a:lnTo>
                  <a:lnTo>
                    <a:pt x="736" y="604"/>
                  </a:lnTo>
                  <a:lnTo>
                    <a:pt x="736" y="608"/>
                  </a:lnTo>
                  <a:lnTo>
                    <a:pt x="732" y="610"/>
                  </a:lnTo>
                  <a:lnTo>
                    <a:pt x="730" y="614"/>
                  </a:lnTo>
                  <a:lnTo>
                    <a:pt x="726" y="616"/>
                  </a:lnTo>
                  <a:lnTo>
                    <a:pt x="724" y="620"/>
                  </a:lnTo>
                  <a:lnTo>
                    <a:pt x="722" y="624"/>
                  </a:lnTo>
                  <a:lnTo>
                    <a:pt x="724" y="632"/>
                  </a:lnTo>
                  <a:lnTo>
                    <a:pt x="724" y="632"/>
                  </a:lnTo>
                  <a:lnTo>
                    <a:pt x="724" y="640"/>
                  </a:lnTo>
                  <a:lnTo>
                    <a:pt x="724" y="646"/>
                  </a:lnTo>
                  <a:lnTo>
                    <a:pt x="720" y="652"/>
                  </a:lnTo>
                  <a:lnTo>
                    <a:pt x="716" y="656"/>
                  </a:lnTo>
                  <a:lnTo>
                    <a:pt x="710" y="660"/>
                  </a:lnTo>
                  <a:lnTo>
                    <a:pt x="708" y="664"/>
                  </a:lnTo>
                  <a:lnTo>
                    <a:pt x="704" y="670"/>
                  </a:lnTo>
                  <a:lnTo>
                    <a:pt x="704" y="678"/>
                  </a:lnTo>
                  <a:lnTo>
                    <a:pt x="704" y="678"/>
                  </a:lnTo>
                  <a:lnTo>
                    <a:pt x="704" y="688"/>
                  </a:lnTo>
                  <a:lnTo>
                    <a:pt x="702" y="690"/>
                  </a:lnTo>
                  <a:lnTo>
                    <a:pt x="700" y="692"/>
                  </a:lnTo>
                  <a:lnTo>
                    <a:pt x="696" y="694"/>
                  </a:lnTo>
                  <a:lnTo>
                    <a:pt x="690" y="698"/>
                  </a:lnTo>
                  <a:lnTo>
                    <a:pt x="690" y="698"/>
                  </a:lnTo>
                  <a:lnTo>
                    <a:pt x="680" y="708"/>
                  </a:lnTo>
                  <a:lnTo>
                    <a:pt x="676" y="710"/>
                  </a:lnTo>
                  <a:lnTo>
                    <a:pt x="674" y="710"/>
                  </a:lnTo>
                  <a:lnTo>
                    <a:pt x="670" y="708"/>
                  </a:lnTo>
                  <a:lnTo>
                    <a:pt x="668" y="708"/>
                  </a:lnTo>
                  <a:lnTo>
                    <a:pt x="668" y="708"/>
                  </a:lnTo>
                  <a:lnTo>
                    <a:pt x="668" y="708"/>
                  </a:lnTo>
                  <a:lnTo>
                    <a:pt x="664" y="710"/>
                  </a:lnTo>
                  <a:lnTo>
                    <a:pt x="658" y="710"/>
                  </a:lnTo>
                  <a:lnTo>
                    <a:pt x="650" y="708"/>
                  </a:lnTo>
                  <a:lnTo>
                    <a:pt x="642" y="708"/>
                  </a:lnTo>
                  <a:lnTo>
                    <a:pt x="640" y="708"/>
                  </a:lnTo>
                  <a:lnTo>
                    <a:pt x="636" y="712"/>
                  </a:lnTo>
                  <a:lnTo>
                    <a:pt x="636" y="712"/>
                  </a:lnTo>
                  <a:lnTo>
                    <a:pt x="630" y="718"/>
                  </a:lnTo>
                  <a:lnTo>
                    <a:pt x="622" y="722"/>
                  </a:lnTo>
                  <a:lnTo>
                    <a:pt x="612" y="730"/>
                  </a:lnTo>
                  <a:lnTo>
                    <a:pt x="596" y="746"/>
                  </a:lnTo>
                  <a:lnTo>
                    <a:pt x="596" y="746"/>
                  </a:lnTo>
                  <a:lnTo>
                    <a:pt x="588" y="754"/>
                  </a:lnTo>
                  <a:lnTo>
                    <a:pt x="584" y="762"/>
                  </a:lnTo>
                  <a:lnTo>
                    <a:pt x="582" y="768"/>
                  </a:lnTo>
                  <a:lnTo>
                    <a:pt x="582" y="774"/>
                  </a:lnTo>
                  <a:lnTo>
                    <a:pt x="584" y="784"/>
                  </a:lnTo>
                  <a:lnTo>
                    <a:pt x="586" y="788"/>
                  </a:lnTo>
                  <a:lnTo>
                    <a:pt x="586" y="788"/>
                  </a:lnTo>
                  <a:lnTo>
                    <a:pt x="584" y="796"/>
                  </a:lnTo>
                  <a:lnTo>
                    <a:pt x="586" y="802"/>
                  </a:lnTo>
                  <a:lnTo>
                    <a:pt x="588" y="812"/>
                  </a:lnTo>
                  <a:lnTo>
                    <a:pt x="590" y="820"/>
                  </a:lnTo>
                  <a:lnTo>
                    <a:pt x="590" y="824"/>
                  </a:lnTo>
                  <a:lnTo>
                    <a:pt x="586" y="828"/>
                  </a:lnTo>
                  <a:lnTo>
                    <a:pt x="586" y="828"/>
                  </a:lnTo>
                  <a:lnTo>
                    <a:pt x="584" y="830"/>
                  </a:lnTo>
                  <a:lnTo>
                    <a:pt x="584" y="832"/>
                  </a:lnTo>
                  <a:lnTo>
                    <a:pt x="584" y="836"/>
                  </a:lnTo>
                  <a:lnTo>
                    <a:pt x="584" y="840"/>
                  </a:lnTo>
                  <a:lnTo>
                    <a:pt x="582" y="842"/>
                  </a:lnTo>
                  <a:lnTo>
                    <a:pt x="578" y="846"/>
                  </a:lnTo>
                  <a:lnTo>
                    <a:pt x="570" y="852"/>
                  </a:lnTo>
                  <a:lnTo>
                    <a:pt x="570" y="852"/>
                  </a:lnTo>
                  <a:lnTo>
                    <a:pt x="564" y="858"/>
                  </a:lnTo>
                  <a:lnTo>
                    <a:pt x="558" y="862"/>
                  </a:lnTo>
                  <a:lnTo>
                    <a:pt x="556" y="866"/>
                  </a:lnTo>
                  <a:lnTo>
                    <a:pt x="556" y="870"/>
                  </a:lnTo>
                  <a:lnTo>
                    <a:pt x="558" y="878"/>
                  </a:lnTo>
                  <a:lnTo>
                    <a:pt x="556" y="882"/>
                  </a:lnTo>
                  <a:lnTo>
                    <a:pt x="554" y="888"/>
                  </a:lnTo>
                  <a:lnTo>
                    <a:pt x="554" y="888"/>
                  </a:lnTo>
                  <a:lnTo>
                    <a:pt x="552" y="892"/>
                  </a:lnTo>
                  <a:lnTo>
                    <a:pt x="550" y="898"/>
                  </a:lnTo>
                  <a:lnTo>
                    <a:pt x="550" y="908"/>
                  </a:lnTo>
                  <a:lnTo>
                    <a:pt x="550" y="914"/>
                  </a:lnTo>
                  <a:lnTo>
                    <a:pt x="548" y="918"/>
                  </a:lnTo>
                  <a:lnTo>
                    <a:pt x="544" y="924"/>
                  </a:lnTo>
                  <a:lnTo>
                    <a:pt x="536" y="928"/>
                  </a:lnTo>
                  <a:lnTo>
                    <a:pt x="536" y="928"/>
                  </a:lnTo>
                  <a:lnTo>
                    <a:pt x="532" y="934"/>
                  </a:lnTo>
                  <a:lnTo>
                    <a:pt x="528" y="936"/>
                  </a:lnTo>
                  <a:lnTo>
                    <a:pt x="528" y="942"/>
                  </a:lnTo>
                  <a:lnTo>
                    <a:pt x="528" y="946"/>
                  </a:lnTo>
                  <a:lnTo>
                    <a:pt x="526" y="952"/>
                  </a:lnTo>
                  <a:lnTo>
                    <a:pt x="520" y="958"/>
                  </a:lnTo>
                  <a:lnTo>
                    <a:pt x="510" y="966"/>
                  </a:lnTo>
                  <a:lnTo>
                    <a:pt x="510" y="966"/>
                  </a:lnTo>
                  <a:lnTo>
                    <a:pt x="506" y="958"/>
                  </a:lnTo>
                  <a:lnTo>
                    <a:pt x="508" y="950"/>
                  </a:lnTo>
                  <a:lnTo>
                    <a:pt x="508" y="950"/>
                  </a:lnTo>
                  <a:lnTo>
                    <a:pt x="510" y="942"/>
                  </a:lnTo>
                  <a:lnTo>
                    <a:pt x="510" y="940"/>
                  </a:lnTo>
                  <a:lnTo>
                    <a:pt x="506" y="938"/>
                  </a:lnTo>
                  <a:lnTo>
                    <a:pt x="502" y="932"/>
                  </a:lnTo>
                  <a:lnTo>
                    <a:pt x="502" y="932"/>
                  </a:lnTo>
                  <a:lnTo>
                    <a:pt x="496" y="926"/>
                  </a:lnTo>
                  <a:lnTo>
                    <a:pt x="494" y="924"/>
                  </a:lnTo>
                  <a:lnTo>
                    <a:pt x="492" y="924"/>
                  </a:lnTo>
                  <a:lnTo>
                    <a:pt x="486" y="918"/>
                  </a:lnTo>
                  <a:lnTo>
                    <a:pt x="486" y="918"/>
                  </a:lnTo>
                  <a:lnTo>
                    <a:pt x="478" y="910"/>
                  </a:lnTo>
                  <a:lnTo>
                    <a:pt x="470" y="906"/>
                  </a:lnTo>
                  <a:lnTo>
                    <a:pt x="464" y="906"/>
                  </a:lnTo>
                  <a:lnTo>
                    <a:pt x="460" y="902"/>
                  </a:lnTo>
                  <a:lnTo>
                    <a:pt x="460" y="902"/>
                  </a:lnTo>
                  <a:lnTo>
                    <a:pt x="456" y="898"/>
                  </a:lnTo>
                  <a:lnTo>
                    <a:pt x="454" y="900"/>
                  </a:lnTo>
                  <a:lnTo>
                    <a:pt x="450" y="900"/>
                  </a:lnTo>
                  <a:lnTo>
                    <a:pt x="450" y="900"/>
                  </a:lnTo>
                  <a:lnTo>
                    <a:pt x="448" y="900"/>
                  </a:lnTo>
                  <a:lnTo>
                    <a:pt x="448" y="898"/>
                  </a:lnTo>
                  <a:lnTo>
                    <a:pt x="446" y="894"/>
                  </a:lnTo>
                  <a:lnTo>
                    <a:pt x="446" y="888"/>
                  </a:lnTo>
                  <a:lnTo>
                    <a:pt x="444" y="882"/>
                  </a:lnTo>
                  <a:lnTo>
                    <a:pt x="444" y="882"/>
                  </a:lnTo>
                  <a:lnTo>
                    <a:pt x="438" y="874"/>
                  </a:lnTo>
                  <a:lnTo>
                    <a:pt x="436" y="870"/>
                  </a:lnTo>
                  <a:lnTo>
                    <a:pt x="434" y="868"/>
                  </a:lnTo>
                  <a:lnTo>
                    <a:pt x="434" y="868"/>
                  </a:lnTo>
                  <a:lnTo>
                    <a:pt x="426" y="870"/>
                  </a:lnTo>
                  <a:lnTo>
                    <a:pt x="420" y="872"/>
                  </a:lnTo>
                  <a:lnTo>
                    <a:pt x="416" y="876"/>
                  </a:lnTo>
                  <a:lnTo>
                    <a:pt x="408" y="876"/>
                  </a:lnTo>
                  <a:lnTo>
                    <a:pt x="408" y="876"/>
                  </a:lnTo>
                  <a:lnTo>
                    <a:pt x="410" y="874"/>
                  </a:lnTo>
                  <a:lnTo>
                    <a:pt x="414" y="870"/>
                  </a:lnTo>
                  <a:lnTo>
                    <a:pt x="414" y="870"/>
                  </a:lnTo>
                  <a:lnTo>
                    <a:pt x="416" y="868"/>
                  </a:lnTo>
                  <a:lnTo>
                    <a:pt x="418" y="866"/>
                  </a:lnTo>
                  <a:lnTo>
                    <a:pt x="420" y="860"/>
                  </a:lnTo>
                  <a:lnTo>
                    <a:pt x="428" y="846"/>
                  </a:lnTo>
                  <a:lnTo>
                    <a:pt x="428" y="846"/>
                  </a:lnTo>
                  <a:lnTo>
                    <a:pt x="434" y="840"/>
                  </a:lnTo>
                  <a:lnTo>
                    <a:pt x="436" y="840"/>
                  </a:lnTo>
                  <a:lnTo>
                    <a:pt x="438" y="840"/>
                  </a:lnTo>
                  <a:lnTo>
                    <a:pt x="440" y="838"/>
                  </a:lnTo>
                  <a:lnTo>
                    <a:pt x="440" y="838"/>
                  </a:lnTo>
                  <a:lnTo>
                    <a:pt x="440" y="834"/>
                  </a:lnTo>
                  <a:lnTo>
                    <a:pt x="438" y="834"/>
                  </a:lnTo>
                  <a:lnTo>
                    <a:pt x="438" y="832"/>
                  </a:lnTo>
                  <a:lnTo>
                    <a:pt x="438" y="830"/>
                  </a:lnTo>
                  <a:lnTo>
                    <a:pt x="438" y="830"/>
                  </a:lnTo>
                  <a:lnTo>
                    <a:pt x="440" y="828"/>
                  </a:lnTo>
                  <a:lnTo>
                    <a:pt x="442" y="828"/>
                  </a:lnTo>
                  <a:lnTo>
                    <a:pt x="446" y="826"/>
                  </a:lnTo>
                  <a:lnTo>
                    <a:pt x="448" y="824"/>
                  </a:lnTo>
                  <a:lnTo>
                    <a:pt x="448" y="824"/>
                  </a:lnTo>
                  <a:lnTo>
                    <a:pt x="452" y="818"/>
                  </a:lnTo>
                  <a:lnTo>
                    <a:pt x="456" y="818"/>
                  </a:lnTo>
                  <a:lnTo>
                    <a:pt x="460" y="816"/>
                  </a:lnTo>
                  <a:lnTo>
                    <a:pt x="464" y="810"/>
                  </a:lnTo>
                  <a:lnTo>
                    <a:pt x="464" y="810"/>
                  </a:lnTo>
                  <a:lnTo>
                    <a:pt x="470" y="800"/>
                  </a:lnTo>
                  <a:lnTo>
                    <a:pt x="468" y="796"/>
                  </a:lnTo>
                  <a:lnTo>
                    <a:pt x="466" y="794"/>
                  </a:lnTo>
                  <a:lnTo>
                    <a:pt x="466" y="792"/>
                  </a:lnTo>
                  <a:lnTo>
                    <a:pt x="466" y="792"/>
                  </a:lnTo>
                  <a:lnTo>
                    <a:pt x="466" y="786"/>
                  </a:lnTo>
                  <a:lnTo>
                    <a:pt x="464" y="780"/>
                  </a:lnTo>
                  <a:lnTo>
                    <a:pt x="462" y="778"/>
                  </a:lnTo>
                  <a:lnTo>
                    <a:pt x="460" y="776"/>
                  </a:lnTo>
                  <a:lnTo>
                    <a:pt x="456" y="776"/>
                  </a:lnTo>
                  <a:lnTo>
                    <a:pt x="450" y="778"/>
                  </a:lnTo>
                  <a:lnTo>
                    <a:pt x="450" y="778"/>
                  </a:lnTo>
                  <a:lnTo>
                    <a:pt x="452" y="762"/>
                  </a:lnTo>
                  <a:lnTo>
                    <a:pt x="452" y="754"/>
                  </a:lnTo>
                  <a:lnTo>
                    <a:pt x="450" y="750"/>
                  </a:lnTo>
                  <a:lnTo>
                    <a:pt x="448" y="744"/>
                  </a:lnTo>
                  <a:lnTo>
                    <a:pt x="448" y="744"/>
                  </a:lnTo>
                  <a:lnTo>
                    <a:pt x="448" y="736"/>
                  </a:lnTo>
                  <a:lnTo>
                    <a:pt x="446" y="734"/>
                  </a:lnTo>
                  <a:lnTo>
                    <a:pt x="440" y="732"/>
                  </a:lnTo>
                  <a:lnTo>
                    <a:pt x="434" y="734"/>
                  </a:lnTo>
                  <a:lnTo>
                    <a:pt x="434" y="734"/>
                  </a:lnTo>
                  <a:lnTo>
                    <a:pt x="428" y="734"/>
                  </a:lnTo>
                  <a:lnTo>
                    <a:pt x="426" y="732"/>
                  </a:lnTo>
                  <a:lnTo>
                    <a:pt x="426" y="728"/>
                  </a:lnTo>
                  <a:lnTo>
                    <a:pt x="424" y="720"/>
                  </a:lnTo>
                  <a:lnTo>
                    <a:pt x="424" y="720"/>
                  </a:lnTo>
                  <a:lnTo>
                    <a:pt x="422" y="714"/>
                  </a:lnTo>
                  <a:lnTo>
                    <a:pt x="424" y="708"/>
                  </a:lnTo>
                  <a:lnTo>
                    <a:pt x="424" y="704"/>
                  </a:lnTo>
                  <a:lnTo>
                    <a:pt x="422" y="702"/>
                  </a:lnTo>
                  <a:lnTo>
                    <a:pt x="418" y="700"/>
                  </a:lnTo>
                  <a:lnTo>
                    <a:pt x="418" y="700"/>
                  </a:lnTo>
                  <a:lnTo>
                    <a:pt x="412" y="696"/>
                  </a:lnTo>
                  <a:lnTo>
                    <a:pt x="408" y="696"/>
                  </a:lnTo>
                  <a:lnTo>
                    <a:pt x="404" y="696"/>
                  </a:lnTo>
                  <a:lnTo>
                    <a:pt x="404" y="696"/>
                  </a:lnTo>
                  <a:lnTo>
                    <a:pt x="396" y="696"/>
                  </a:lnTo>
                  <a:lnTo>
                    <a:pt x="390" y="694"/>
                  </a:lnTo>
                  <a:lnTo>
                    <a:pt x="384" y="692"/>
                  </a:lnTo>
                  <a:lnTo>
                    <a:pt x="376" y="690"/>
                  </a:lnTo>
                  <a:lnTo>
                    <a:pt x="376" y="690"/>
                  </a:lnTo>
                  <a:lnTo>
                    <a:pt x="370" y="690"/>
                  </a:lnTo>
                  <a:lnTo>
                    <a:pt x="370" y="686"/>
                  </a:lnTo>
                  <a:lnTo>
                    <a:pt x="376" y="668"/>
                  </a:lnTo>
                  <a:lnTo>
                    <a:pt x="376" y="668"/>
                  </a:lnTo>
                  <a:lnTo>
                    <a:pt x="378" y="658"/>
                  </a:lnTo>
                  <a:lnTo>
                    <a:pt x="378" y="654"/>
                  </a:lnTo>
                  <a:lnTo>
                    <a:pt x="376" y="648"/>
                  </a:lnTo>
                  <a:lnTo>
                    <a:pt x="370" y="640"/>
                  </a:lnTo>
                  <a:lnTo>
                    <a:pt x="370" y="640"/>
                  </a:lnTo>
                  <a:lnTo>
                    <a:pt x="364" y="632"/>
                  </a:lnTo>
                  <a:lnTo>
                    <a:pt x="364" y="630"/>
                  </a:lnTo>
                  <a:lnTo>
                    <a:pt x="364" y="626"/>
                  </a:lnTo>
                  <a:lnTo>
                    <a:pt x="362" y="620"/>
                  </a:lnTo>
                  <a:lnTo>
                    <a:pt x="362" y="620"/>
                  </a:lnTo>
                  <a:lnTo>
                    <a:pt x="366" y="618"/>
                  </a:lnTo>
                  <a:lnTo>
                    <a:pt x="362" y="612"/>
                  </a:lnTo>
                  <a:lnTo>
                    <a:pt x="362" y="612"/>
                  </a:lnTo>
                  <a:lnTo>
                    <a:pt x="362" y="610"/>
                  </a:lnTo>
                  <a:lnTo>
                    <a:pt x="362" y="606"/>
                  </a:lnTo>
                  <a:lnTo>
                    <a:pt x="364" y="602"/>
                  </a:lnTo>
                  <a:lnTo>
                    <a:pt x="364" y="598"/>
                  </a:lnTo>
                  <a:lnTo>
                    <a:pt x="364" y="598"/>
                  </a:lnTo>
                  <a:lnTo>
                    <a:pt x="362" y="596"/>
                  </a:lnTo>
                  <a:lnTo>
                    <a:pt x="362" y="592"/>
                  </a:lnTo>
                  <a:lnTo>
                    <a:pt x="366" y="588"/>
                  </a:lnTo>
                  <a:lnTo>
                    <a:pt x="366" y="582"/>
                  </a:lnTo>
                  <a:lnTo>
                    <a:pt x="364" y="580"/>
                  </a:lnTo>
                  <a:lnTo>
                    <a:pt x="362" y="578"/>
                  </a:lnTo>
                  <a:lnTo>
                    <a:pt x="362" y="578"/>
                  </a:lnTo>
                  <a:lnTo>
                    <a:pt x="358" y="574"/>
                  </a:lnTo>
                  <a:lnTo>
                    <a:pt x="356" y="570"/>
                  </a:lnTo>
                  <a:lnTo>
                    <a:pt x="352" y="568"/>
                  </a:lnTo>
                  <a:lnTo>
                    <a:pt x="344" y="566"/>
                  </a:lnTo>
                  <a:lnTo>
                    <a:pt x="344" y="566"/>
                  </a:lnTo>
                  <a:lnTo>
                    <a:pt x="338" y="564"/>
                  </a:lnTo>
                  <a:lnTo>
                    <a:pt x="338" y="562"/>
                  </a:lnTo>
                  <a:lnTo>
                    <a:pt x="338" y="560"/>
                  </a:lnTo>
                  <a:lnTo>
                    <a:pt x="342" y="556"/>
                  </a:lnTo>
                  <a:lnTo>
                    <a:pt x="342" y="552"/>
                  </a:lnTo>
                  <a:lnTo>
                    <a:pt x="342" y="548"/>
                  </a:lnTo>
                  <a:lnTo>
                    <a:pt x="308" y="548"/>
                  </a:lnTo>
                  <a:lnTo>
                    <a:pt x="308" y="548"/>
                  </a:lnTo>
                  <a:lnTo>
                    <a:pt x="298" y="534"/>
                  </a:lnTo>
                  <a:lnTo>
                    <a:pt x="296" y="530"/>
                  </a:lnTo>
                  <a:lnTo>
                    <a:pt x="298" y="530"/>
                  </a:lnTo>
                  <a:lnTo>
                    <a:pt x="298" y="530"/>
                  </a:lnTo>
                  <a:lnTo>
                    <a:pt x="298" y="528"/>
                  </a:lnTo>
                  <a:lnTo>
                    <a:pt x="298" y="528"/>
                  </a:lnTo>
                  <a:lnTo>
                    <a:pt x="296" y="524"/>
                  </a:lnTo>
                  <a:lnTo>
                    <a:pt x="298" y="522"/>
                  </a:lnTo>
                  <a:lnTo>
                    <a:pt x="298" y="518"/>
                  </a:lnTo>
                  <a:lnTo>
                    <a:pt x="296" y="514"/>
                  </a:lnTo>
                  <a:lnTo>
                    <a:pt x="296" y="514"/>
                  </a:lnTo>
                  <a:lnTo>
                    <a:pt x="296" y="506"/>
                  </a:lnTo>
                  <a:lnTo>
                    <a:pt x="296" y="502"/>
                  </a:lnTo>
                  <a:lnTo>
                    <a:pt x="294" y="498"/>
                  </a:lnTo>
                  <a:lnTo>
                    <a:pt x="284" y="492"/>
                  </a:lnTo>
                  <a:lnTo>
                    <a:pt x="284" y="492"/>
                  </a:lnTo>
                  <a:lnTo>
                    <a:pt x="272" y="488"/>
                  </a:lnTo>
                  <a:lnTo>
                    <a:pt x="270" y="484"/>
                  </a:lnTo>
                  <a:lnTo>
                    <a:pt x="268" y="482"/>
                  </a:lnTo>
                  <a:lnTo>
                    <a:pt x="260" y="478"/>
                  </a:lnTo>
                  <a:lnTo>
                    <a:pt x="260" y="478"/>
                  </a:lnTo>
                  <a:lnTo>
                    <a:pt x="250" y="474"/>
                  </a:lnTo>
                  <a:lnTo>
                    <a:pt x="248" y="470"/>
                  </a:lnTo>
                  <a:lnTo>
                    <a:pt x="246" y="466"/>
                  </a:lnTo>
                  <a:lnTo>
                    <a:pt x="240" y="464"/>
                  </a:lnTo>
                  <a:lnTo>
                    <a:pt x="240" y="464"/>
                  </a:lnTo>
                  <a:lnTo>
                    <a:pt x="238" y="464"/>
                  </a:lnTo>
                  <a:lnTo>
                    <a:pt x="234" y="462"/>
                  </a:lnTo>
                  <a:lnTo>
                    <a:pt x="230" y="458"/>
                  </a:lnTo>
                  <a:lnTo>
                    <a:pt x="224" y="454"/>
                  </a:lnTo>
                  <a:lnTo>
                    <a:pt x="220" y="454"/>
                  </a:lnTo>
                  <a:lnTo>
                    <a:pt x="214" y="454"/>
                  </a:lnTo>
                  <a:lnTo>
                    <a:pt x="214" y="454"/>
                  </a:lnTo>
                  <a:lnTo>
                    <a:pt x="206" y="454"/>
                  </a:lnTo>
                  <a:lnTo>
                    <a:pt x="202" y="452"/>
                  </a:lnTo>
                  <a:lnTo>
                    <a:pt x="198" y="448"/>
                  </a:lnTo>
                  <a:lnTo>
                    <a:pt x="196" y="444"/>
                  </a:lnTo>
                  <a:lnTo>
                    <a:pt x="192" y="440"/>
                  </a:lnTo>
                  <a:lnTo>
                    <a:pt x="192" y="440"/>
                  </a:lnTo>
                  <a:lnTo>
                    <a:pt x="188" y="438"/>
                  </a:lnTo>
                  <a:lnTo>
                    <a:pt x="186" y="434"/>
                  </a:lnTo>
                  <a:lnTo>
                    <a:pt x="182" y="420"/>
                  </a:lnTo>
                  <a:lnTo>
                    <a:pt x="182" y="394"/>
                  </a:lnTo>
                  <a:lnTo>
                    <a:pt x="182" y="394"/>
                  </a:lnTo>
                  <a:lnTo>
                    <a:pt x="180" y="390"/>
                  </a:lnTo>
                  <a:lnTo>
                    <a:pt x="176" y="390"/>
                  </a:lnTo>
                  <a:lnTo>
                    <a:pt x="166" y="390"/>
                  </a:lnTo>
                  <a:lnTo>
                    <a:pt x="154" y="394"/>
                  </a:lnTo>
                  <a:lnTo>
                    <a:pt x="148" y="398"/>
                  </a:lnTo>
                  <a:lnTo>
                    <a:pt x="148" y="398"/>
                  </a:lnTo>
                  <a:lnTo>
                    <a:pt x="142" y="404"/>
                  </a:lnTo>
                  <a:lnTo>
                    <a:pt x="136" y="406"/>
                  </a:lnTo>
                  <a:lnTo>
                    <a:pt x="132" y="408"/>
                  </a:lnTo>
                  <a:lnTo>
                    <a:pt x="132" y="412"/>
                  </a:lnTo>
                  <a:lnTo>
                    <a:pt x="132" y="412"/>
                  </a:lnTo>
                  <a:lnTo>
                    <a:pt x="130" y="416"/>
                  </a:lnTo>
                  <a:lnTo>
                    <a:pt x="128" y="418"/>
                  </a:lnTo>
                  <a:lnTo>
                    <a:pt x="124" y="418"/>
                  </a:lnTo>
                  <a:lnTo>
                    <a:pt x="118" y="420"/>
                  </a:lnTo>
                  <a:lnTo>
                    <a:pt x="118" y="420"/>
                  </a:lnTo>
                  <a:lnTo>
                    <a:pt x="114" y="424"/>
                  </a:lnTo>
                  <a:lnTo>
                    <a:pt x="110" y="424"/>
                  </a:lnTo>
                  <a:lnTo>
                    <a:pt x="104" y="420"/>
                  </a:lnTo>
                  <a:lnTo>
                    <a:pt x="98" y="420"/>
                  </a:lnTo>
                  <a:lnTo>
                    <a:pt x="90" y="420"/>
                  </a:lnTo>
                  <a:lnTo>
                    <a:pt x="90" y="420"/>
                  </a:lnTo>
                  <a:lnTo>
                    <a:pt x="84" y="422"/>
                  </a:lnTo>
                  <a:lnTo>
                    <a:pt x="80" y="424"/>
                  </a:lnTo>
                  <a:lnTo>
                    <a:pt x="78" y="422"/>
                  </a:lnTo>
                  <a:lnTo>
                    <a:pt x="76" y="422"/>
                  </a:lnTo>
                  <a:lnTo>
                    <a:pt x="74" y="414"/>
                  </a:lnTo>
                  <a:lnTo>
                    <a:pt x="72" y="406"/>
                  </a:lnTo>
                  <a:lnTo>
                    <a:pt x="72" y="406"/>
                  </a:lnTo>
                  <a:lnTo>
                    <a:pt x="70" y="394"/>
                  </a:lnTo>
                  <a:lnTo>
                    <a:pt x="70" y="390"/>
                  </a:lnTo>
                  <a:lnTo>
                    <a:pt x="72" y="386"/>
                  </a:lnTo>
                  <a:lnTo>
                    <a:pt x="72" y="386"/>
                  </a:lnTo>
                  <a:lnTo>
                    <a:pt x="74" y="382"/>
                  </a:lnTo>
                  <a:lnTo>
                    <a:pt x="72" y="380"/>
                  </a:lnTo>
                  <a:lnTo>
                    <a:pt x="70" y="378"/>
                  </a:lnTo>
                  <a:lnTo>
                    <a:pt x="68" y="380"/>
                  </a:lnTo>
                  <a:lnTo>
                    <a:pt x="68" y="380"/>
                  </a:lnTo>
                  <a:lnTo>
                    <a:pt x="56" y="390"/>
                  </a:lnTo>
                  <a:lnTo>
                    <a:pt x="52" y="392"/>
                  </a:lnTo>
                  <a:lnTo>
                    <a:pt x="42" y="392"/>
                  </a:lnTo>
                  <a:lnTo>
                    <a:pt x="42" y="392"/>
                  </a:lnTo>
                  <a:lnTo>
                    <a:pt x="36" y="392"/>
                  </a:lnTo>
                  <a:lnTo>
                    <a:pt x="32" y="390"/>
                  </a:lnTo>
                  <a:lnTo>
                    <a:pt x="30" y="390"/>
                  </a:lnTo>
                  <a:lnTo>
                    <a:pt x="28" y="388"/>
                  </a:lnTo>
                  <a:lnTo>
                    <a:pt x="28" y="384"/>
                  </a:lnTo>
                  <a:lnTo>
                    <a:pt x="26" y="382"/>
                  </a:lnTo>
                  <a:lnTo>
                    <a:pt x="24" y="382"/>
                  </a:lnTo>
                  <a:lnTo>
                    <a:pt x="24" y="382"/>
                  </a:lnTo>
                  <a:lnTo>
                    <a:pt x="18" y="382"/>
                  </a:lnTo>
                  <a:lnTo>
                    <a:pt x="20" y="378"/>
                  </a:lnTo>
                  <a:lnTo>
                    <a:pt x="22" y="374"/>
                  </a:lnTo>
                  <a:lnTo>
                    <a:pt x="20" y="372"/>
                  </a:lnTo>
                  <a:lnTo>
                    <a:pt x="18" y="368"/>
                  </a:lnTo>
                  <a:lnTo>
                    <a:pt x="18" y="368"/>
                  </a:lnTo>
                  <a:lnTo>
                    <a:pt x="14" y="362"/>
                  </a:lnTo>
                  <a:lnTo>
                    <a:pt x="10" y="354"/>
                  </a:lnTo>
                  <a:lnTo>
                    <a:pt x="8" y="346"/>
                  </a:lnTo>
                  <a:lnTo>
                    <a:pt x="4" y="340"/>
                  </a:lnTo>
                  <a:lnTo>
                    <a:pt x="4" y="340"/>
                  </a:lnTo>
                  <a:lnTo>
                    <a:pt x="0" y="332"/>
                  </a:lnTo>
                  <a:lnTo>
                    <a:pt x="0" y="330"/>
                  </a:lnTo>
                  <a:lnTo>
                    <a:pt x="2" y="328"/>
                  </a:lnTo>
                  <a:lnTo>
                    <a:pt x="2" y="328"/>
                  </a:lnTo>
                  <a:lnTo>
                    <a:pt x="2" y="328"/>
                  </a:lnTo>
                  <a:lnTo>
                    <a:pt x="0" y="324"/>
                  </a:lnTo>
                  <a:lnTo>
                    <a:pt x="0" y="320"/>
                  </a:lnTo>
                  <a:lnTo>
                    <a:pt x="2" y="316"/>
                  </a:lnTo>
                  <a:lnTo>
                    <a:pt x="4" y="314"/>
                  </a:lnTo>
                  <a:lnTo>
                    <a:pt x="10" y="308"/>
                  </a:lnTo>
                  <a:lnTo>
                    <a:pt x="12" y="306"/>
                  </a:lnTo>
                  <a:lnTo>
                    <a:pt x="14" y="300"/>
                  </a:lnTo>
                  <a:lnTo>
                    <a:pt x="14" y="300"/>
                  </a:lnTo>
                  <a:lnTo>
                    <a:pt x="16" y="292"/>
                  </a:lnTo>
                  <a:lnTo>
                    <a:pt x="18" y="286"/>
                  </a:lnTo>
                  <a:lnTo>
                    <a:pt x="20" y="282"/>
                  </a:lnTo>
                  <a:lnTo>
                    <a:pt x="22" y="278"/>
                  </a:lnTo>
                  <a:lnTo>
                    <a:pt x="22" y="278"/>
                  </a:lnTo>
                  <a:lnTo>
                    <a:pt x="24" y="274"/>
                  </a:lnTo>
                  <a:lnTo>
                    <a:pt x="28" y="270"/>
                  </a:lnTo>
                  <a:lnTo>
                    <a:pt x="32" y="266"/>
                  </a:lnTo>
                  <a:lnTo>
                    <a:pt x="38" y="262"/>
                  </a:lnTo>
                  <a:lnTo>
                    <a:pt x="38" y="262"/>
                  </a:lnTo>
                  <a:lnTo>
                    <a:pt x="46" y="254"/>
                  </a:lnTo>
                  <a:lnTo>
                    <a:pt x="52" y="250"/>
                  </a:lnTo>
                  <a:lnTo>
                    <a:pt x="58" y="250"/>
                  </a:lnTo>
                  <a:lnTo>
                    <a:pt x="60" y="246"/>
                  </a:lnTo>
                  <a:lnTo>
                    <a:pt x="60" y="246"/>
                  </a:lnTo>
                  <a:lnTo>
                    <a:pt x="64" y="244"/>
                  </a:lnTo>
                  <a:lnTo>
                    <a:pt x="66" y="244"/>
                  </a:lnTo>
                  <a:lnTo>
                    <a:pt x="68" y="244"/>
                  </a:lnTo>
                  <a:lnTo>
                    <a:pt x="72" y="240"/>
                  </a:lnTo>
                  <a:lnTo>
                    <a:pt x="72" y="240"/>
                  </a:lnTo>
                  <a:lnTo>
                    <a:pt x="74" y="230"/>
                  </a:lnTo>
                  <a:lnTo>
                    <a:pt x="76" y="220"/>
                  </a:lnTo>
                  <a:lnTo>
                    <a:pt x="80" y="196"/>
                  </a:lnTo>
                  <a:lnTo>
                    <a:pt x="82" y="172"/>
                  </a:lnTo>
                  <a:lnTo>
                    <a:pt x="84" y="160"/>
                  </a:lnTo>
                  <a:lnTo>
                    <a:pt x="84" y="160"/>
                  </a:lnTo>
                  <a:lnTo>
                    <a:pt x="84" y="158"/>
                  </a:lnTo>
                  <a:lnTo>
                    <a:pt x="84" y="156"/>
                  </a:lnTo>
                  <a:lnTo>
                    <a:pt x="80" y="148"/>
                  </a:lnTo>
                  <a:lnTo>
                    <a:pt x="76" y="138"/>
                  </a:lnTo>
                  <a:lnTo>
                    <a:pt x="72" y="130"/>
                  </a:lnTo>
                  <a:lnTo>
                    <a:pt x="72" y="130"/>
                  </a:lnTo>
                  <a:lnTo>
                    <a:pt x="70" y="126"/>
                  </a:lnTo>
                  <a:lnTo>
                    <a:pt x="72" y="124"/>
                  </a:lnTo>
                  <a:lnTo>
                    <a:pt x="76" y="120"/>
                  </a:lnTo>
                  <a:lnTo>
                    <a:pt x="80" y="120"/>
                  </a:lnTo>
                  <a:lnTo>
                    <a:pt x="86" y="120"/>
                  </a:lnTo>
                  <a:lnTo>
                    <a:pt x="86" y="120"/>
                  </a:lnTo>
                  <a:lnTo>
                    <a:pt x="88" y="120"/>
                  </a:lnTo>
                  <a:lnTo>
                    <a:pt x="88" y="120"/>
                  </a:lnTo>
                  <a:lnTo>
                    <a:pt x="88" y="114"/>
                  </a:lnTo>
                  <a:lnTo>
                    <a:pt x="86" y="110"/>
                  </a:lnTo>
                  <a:lnTo>
                    <a:pt x="84" y="108"/>
                  </a:lnTo>
                  <a:lnTo>
                    <a:pt x="82" y="108"/>
                  </a:lnTo>
                  <a:lnTo>
                    <a:pt x="82" y="108"/>
                  </a:lnTo>
                  <a:lnTo>
                    <a:pt x="78" y="106"/>
                  </a:lnTo>
                  <a:lnTo>
                    <a:pt x="76" y="104"/>
                  </a:lnTo>
                  <a:lnTo>
                    <a:pt x="76" y="98"/>
                  </a:lnTo>
                  <a:lnTo>
                    <a:pt x="76" y="98"/>
                  </a:lnTo>
                  <a:lnTo>
                    <a:pt x="92" y="96"/>
                  </a:lnTo>
                  <a:lnTo>
                    <a:pt x="106" y="94"/>
                  </a:lnTo>
                  <a:lnTo>
                    <a:pt x="106" y="94"/>
                  </a:lnTo>
                  <a:lnTo>
                    <a:pt x="112" y="92"/>
                  </a:lnTo>
                  <a:lnTo>
                    <a:pt x="112" y="90"/>
                  </a:lnTo>
                  <a:lnTo>
                    <a:pt x="110" y="88"/>
                  </a:lnTo>
                  <a:lnTo>
                    <a:pt x="112" y="88"/>
                  </a:lnTo>
                  <a:lnTo>
                    <a:pt x="112" y="88"/>
                  </a:lnTo>
                  <a:lnTo>
                    <a:pt x="116" y="88"/>
                  </a:lnTo>
                  <a:lnTo>
                    <a:pt x="118" y="90"/>
                  </a:lnTo>
                  <a:lnTo>
                    <a:pt x="118" y="92"/>
                  </a:lnTo>
                  <a:lnTo>
                    <a:pt x="120" y="92"/>
                  </a:lnTo>
                  <a:lnTo>
                    <a:pt x="120" y="92"/>
                  </a:lnTo>
                  <a:lnTo>
                    <a:pt x="122" y="92"/>
                  </a:lnTo>
                  <a:lnTo>
                    <a:pt x="122" y="90"/>
                  </a:lnTo>
                  <a:lnTo>
                    <a:pt x="124" y="88"/>
                  </a:lnTo>
                  <a:lnTo>
                    <a:pt x="126" y="88"/>
                  </a:lnTo>
                  <a:lnTo>
                    <a:pt x="126" y="88"/>
                  </a:lnTo>
                  <a:lnTo>
                    <a:pt x="128" y="88"/>
                  </a:lnTo>
                  <a:lnTo>
                    <a:pt x="128" y="90"/>
                  </a:lnTo>
                  <a:lnTo>
                    <a:pt x="128" y="96"/>
                  </a:lnTo>
                  <a:lnTo>
                    <a:pt x="128" y="102"/>
                  </a:lnTo>
                  <a:lnTo>
                    <a:pt x="130" y="104"/>
                  </a:lnTo>
                  <a:lnTo>
                    <a:pt x="134" y="104"/>
                  </a:lnTo>
                  <a:lnTo>
                    <a:pt x="134" y="104"/>
                  </a:lnTo>
                  <a:lnTo>
                    <a:pt x="138" y="108"/>
                  </a:lnTo>
                  <a:lnTo>
                    <a:pt x="140" y="108"/>
                  </a:lnTo>
                  <a:lnTo>
                    <a:pt x="142" y="108"/>
                  </a:lnTo>
                  <a:lnTo>
                    <a:pt x="142" y="108"/>
                  </a:lnTo>
                  <a:lnTo>
                    <a:pt x="146" y="110"/>
                  </a:lnTo>
                  <a:lnTo>
                    <a:pt x="152" y="114"/>
                  </a:lnTo>
                  <a:lnTo>
                    <a:pt x="158" y="116"/>
                  </a:lnTo>
                  <a:lnTo>
                    <a:pt x="160" y="116"/>
                  </a:lnTo>
                  <a:lnTo>
                    <a:pt x="162" y="116"/>
                  </a:lnTo>
                  <a:lnTo>
                    <a:pt x="162" y="116"/>
                  </a:lnTo>
                  <a:lnTo>
                    <a:pt x="168" y="114"/>
                  </a:lnTo>
                  <a:lnTo>
                    <a:pt x="170" y="114"/>
                  </a:lnTo>
                  <a:lnTo>
                    <a:pt x="174" y="114"/>
                  </a:lnTo>
                  <a:lnTo>
                    <a:pt x="178" y="110"/>
                  </a:lnTo>
                  <a:lnTo>
                    <a:pt x="178" y="110"/>
                  </a:lnTo>
                  <a:lnTo>
                    <a:pt x="186" y="102"/>
                  </a:lnTo>
                  <a:lnTo>
                    <a:pt x="190" y="100"/>
                  </a:lnTo>
                  <a:lnTo>
                    <a:pt x="192" y="100"/>
                  </a:lnTo>
                  <a:lnTo>
                    <a:pt x="194" y="98"/>
                  </a:lnTo>
                  <a:lnTo>
                    <a:pt x="194" y="98"/>
                  </a:lnTo>
                  <a:lnTo>
                    <a:pt x="196" y="96"/>
                  </a:lnTo>
                  <a:lnTo>
                    <a:pt x="198" y="96"/>
                  </a:lnTo>
                  <a:lnTo>
                    <a:pt x="200" y="96"/>
                  </a:lnTo>
                  <a:lnTo>
                    <a:pt x="202" y="90"/>
                  </a:lnTo>
                  <a:lnTo>
                    <a:pt x="202" y="90"/>
                  </a:lnTo>
                  <a:lnTo>
                    <a:pt x="202" y="84"/>
                  </a:lnTo>
                  <a:lnTo>
                    <a:pt x="206" y="82"/>
                  </a:lnTo>
                  <a:lnTo>
                    <a:pt x="210" y="82"/>
                  </a:lnTo>
                  <a:lnTo>
                    <a:pt x="218" y="78"/>
                  </a:lnTo>
                  <a:lnTo>
                    <a:pt x="218" y="78"/>
                  </a:lnTo>
                  <a:lnTo>
                    <a:pt x="216" y="70"/>
                  </a:lnTo>
                  <a:lnTo>
                    <a:pt x="210" y="70"/>
                  </a:lnTo>
                  <a:lnTo>
                    <a:pt x="210" y="70"/>
                  </a:lnTo>
                  <a:lnTo>
                    <a:pt x="206" y="70"/>
                  </a:lnTo>
                  <a:lnTo>
                    <a:pt x="202" y="68"/>
                  </a:lnTo>
                  <a:lnTo>
                    <a:pt x="198" y="62"/>
                  </a:lnTo>
                  <a:lnTo>
                    <a:pt x="196" y="54"/>
                  </a:lnTo>
                  <a:lnTo>
                    <a:pt x="198" y="46"/>
                  </a:lnTo>
                  <a:lnTo>
                    <a:pt x="198" y="46"/>
                  </a:lnTo>
                  <a:lnTo>
                    <a:pt x="198" y="42"/>
                  </a:lnTo>
                  <a:lnTo>
                    <a:pt x="198" y="38"/>
                  </a:lnTo>
                  <a:lnTo>
                    <a:pt x="192" y="32"/>
                  </a:lnTo>
                  <a:lnTo>
                    <a:pt x="188" y="28"/>
                  </a:lnTo>
                  <a:lnTo>
                    <a:pt x="188" y="26"/>
                  </a:lnTo>
                  <a:lnTo>
                    <a:pt x="192" y="24"/>
                  </a:lnTo>
                  <a:lnTo>
                    <a:pt x="192" y="24"/>
                  </a:lnTo>
                  <a:lnTo>
                    <a:pt x="198" y="24"/>
                  </a:lnTo>
                  <a:lnTo>
                    <a:pt x="202" y="24"/>
                  </a:lnTo>
                  <a:lnTo>
                    <a:pt x="210" y="28"/>
                  </a:lnTo>
                  <a:lnTo>
                    <a:pt x="216" y="30"/>
                  </a:lnTo>
                  <a:lnTo>
                    <a:pt x="218" y="30"/>
                  </a:lnTo>
                  <a:lnTo>
                    <a:pt x="224" y="30"/>
                  </a:lnTo>
                  <a:lnTo>
                    <a:pt x="224" y="30"/>
                  </a:lnTo>
                  <a:lnTo>
                    <a:pt x="232" y="28"/>
                  </a:lnTo>
                  <a:lnTo>
                    <a:pt x="238" y="30"/>
                  </a:lnTo>
                  <a:lnTo>
                    <a:pt x="240" y="30"/>
                  </a:lnTo>
                  <a:lnTo>
                    <a:pt x="242" y="30"/>
                  </a:lnTo>
                  <a:lnTo>
                    <a:pt x="242" y="30"/>
                  </a:lnTo>
                  <a:lnTo>
                    <a:pt x="244" y="28"/>
                  </a:lnTo>
                  <a:lnTo>
                    <a:pt x="244" y="28"/>
                  </a:lnTo>
                  <a:lnTo>
                    <a:pt x="242" y="26"/>
                  </a:lnTo>
                  <a:lnTo>
                    <a:pt x="244" y="26"/>
                  </a:lnTo>
                  <a:lnTo>
                    <a:pt x="244" y="26"/>
                  </a:lnTo>
                  <a:lnTo>
                    <a:pt x="250" y="24"/>
                  </a:lnTo>
                  <a:lnTo>
                    <a:pt x="256" y="22"/>
                  </a:lnTo>
                  <a:lnTo>
                    <a:pt x="264" y="16"/>
                  </a:lnTo>
                  <a:lnTo>
                    <a:pt x="264" y="16"/>
                  </a:lnTo>
                  <a:lnTo>
                    <a:pt x="268" y="12"/>
                  </a:lnTo>
                  <a:lnTo>
                    <a:pt x="272" y="10"/>
                  </a:lnTo>
                  <a:lnTo>
                    <a:pt x="274" y="8"/>
                  </a:lnTo>
                  <a:lnTo>
                    <a:pt x="276" y="0"/>
                  </a:lnTo>
                  <a:lnTo>
                    <a:pt x="276" y="0"/>
                  </a:lnTo>
                  <a:lnTo>
                    <a:pt x="282" y="2"/>
                  </a:lnTo>
                  <a:lnTo>
                    <a:pt x="286" y="2"/>
                  </a:lnTo>
                  <a:lnTo>
                    <a:pt x="288" y="2"/>
                  </a:lnTo>
                  <a:lnTo>
                    <a:pt x="288" y="8"/>
                  </a:lnTo>
                  <a:lnTo>
                    <a:pt x="288" y="8"/>
                  </a:lnTo>
                  <a:lnTo>
                    <a:pt x="286" y="12"/>
                  </a:lnTo>
                  <a:lnTo>
                    <a:pt x="290" y="12"/>
                  </a:lnTo>
                  <a:lnTo>
                    <a:pt x="294" y="12"/>
                  </a:lnTo>
                  <a:lnTo>
                    <a:pt x="294" y="14"/>
                  </a:lnTo>
                  <a:lnTo>
                    <a:pt x="294" y="16"/>
                  </a:lnTo>
                  <a:lnTo>
                    <a:pt x="294" y="16"/>
                  </a:lnTo>
                  <a:lnTo>
                    <a:pt x="296" y="20"/>
                  </a:lnTo>
                  <a:lnTo>
                    <a:pt x="296" y="24"/>
                  </a:lnTo>
                  <a:lnTo>
                    <a:pt x="300" y="26"/>
                  </a:lnTo>
                  <a:lnTo>
                    <a:pt x="300" y="26"/>
                  </a:lnTo>
                  <a:lnTo>
                    <a:pt x="300" y="28"/>
                  </a:lnTo>
                  <a:lnTo>
                    <a:pt x="294" y="36"/>
                  </a:lnTo>
                  <a:lnTo>
                    <a:pt x="294" y="36"/>
                  </a:lnTo>
                  <a:lnTo>
                    <a:pt x="290" y="42"/>
                  </a:lnTo>
                  <a:lnTo>
                    <a:pt x="290" y="46"/>
                  </a:lnTo>
                  <a:lnTo>
                    <a:pt x="292" y="48"/>
                  </a:lnTo>
                  <a:lnTo>
                    <a:pt x="290" y="50"/>
                  </a:lnTo>
                  <a:lnTo>
                    <a:pt x="290" y="50"/>
                  </a:lnTo>
                  <a:lnTo>
                    <a:pt x="290" y="54"/>
                  </a:lnTo>
                  <a:lnTo>
                    <a:pt x="292" y="56"/>
                  </a:lnTo>
                  <a:lnTo>
                    <a:pt x="294" y="60"/>
                  </a:lnTo>
                  <a:lnTo>
                    <a:pt x="292" y="62"/>
                  </a:lnTo>
                  <a:lnTo>
                    <a:pt x="292" y="62"/>
                  </a:lnTo>
                  <a:lnTo>
                    <a:pt x="290" y="66"/>
                  </a:lnTo>
                  <a:lnTo>
                    <a:pt x="292" y="68"/>
                  </a:lnTo>
                  <a:lnTo>
                    <a:pt x="294" y="70"/>
                  </a:lnTo>
                  <a:lnTo>
                    <a:pt x="296" y="76"/>
                  </a:lnTo>
                  <a:lnTo>
                    <a:pt x="296" y="76"/>
                  </a:lnTo>
                  <a:lnTo>
                    <a:pt x="298" y="84"/>
                  </a:lnTo>
                  <a:lnTo>
                    <a:pt x="300" y="86"/>
                  </a:lnTo>
                  <a:lnTo>
                    <a:pt x="302" y="88"/>
                  </a:lnTo>
                  <a:lnTo>
                    <a:pt x="302" y="90"/>
                  </a:lnTo>
                  <a:lnTo>
                    <a:pt x="302" y="90"/>
                  </a:lnTo>
                  <a:lnTo>
                    <a:pt x="304" y="96"/>
                  </a:lnTo>
                  <a:lnTo>
                    <a:pt x="308" y="98"/>
                  </a:lnTo>
                  <a:lnTo>
                    <a:pt x="310" y="100"/>
                  </a:lnTo>
                  <a:lnTo>
                    <a:pt x="314" y="102"/>
                  </a:lnTo>
                  <a:lnTo>
                    <a:pt x="314" y="102"/>
                  </a:lnTo>
                  <a:lnTo>
                    <a:pt x="316" y="100"/>
                  </a:lnTo>
                  <a:lnTo>
                    <a:pt x="318" y="98"/>
                  </a:lnTo>
                  <a:lnTo>
                    <a:pt x="322" y="100"/>
                  </a:lnTo>
                  <a:lnTo>
                    <a:pt x="322" y="100"/>
                  </a:lnTo>
                  <a:lnTo>
                    <a:pt x="322" y="96"/>
                  </a:lnTo>
                  <a:lnTo>
                    <a:pt x="326" y="92"/>
                  </a:lnTo>
                  <a:lnTo>
                    <a:pt x="334" y="90"/>
                  </a:lnTo>
                  <a:lnTo>
                    <a:pt x="334" y="90"/>
                  </a:lnTo>
                  <a:lnTo>
                    <a:pt x="342" y="86"/>
                  </a:lnTo>
                  <a:lnTo>
                    <a:pt x="344" y="84"/>
                  </a:lnTo>
                  <a:lnTo>
                    <a:pt x="346" y="82"/>
                  </a:lnTo>
                  <a:lnTo>
                    <a:pt x="348" y="82"/>
                  </a:lnTo>
                  <a:lnTo>
                    <a:pt x="348" y="82"/>
                  </a:lnTo>
                  <a:lnTo>
                    <a:pt x="348" y="82"/>
                  </a:lnTo>
                  <a:lnTo>
                    <a:pt x="350" y="84"/>
                  </a:lnTo>
                  <a:lnTo>
                    <a:pt x="352" y="86"/>
                  </a:lnTo>
                  <a:lnTo>
                    <a:pt x="360" y="84"/>
                  </a:lnTo>
                  <a:lnTo>
                    <a:pt x="360" y="84"/>
                  </a:lnTo>
                  <a:lnTo>
                    <a:pt x="374" y="86"/>
                  </a:lnTo>
                  <a:lnTo>
                    <a:pt x="378" y="84"/>
                  </a:lnTo>
                  <a:lnTo>
                    <a:pt x="378" y="82"/>
                  </a:lnTo>
                  <a:lnTo>
                    <a:pt x="374" y="80"/>
                  </a:lnTo>
                  <a:lnTo>
                    <a:pt x="372" y="78"/>
                  </a:lnTo>
                  <a:lnTo>
                    <a:pt x="376" y="76"/>
                  </a:lnTo>
                  <a:lnTo>
                    <a:pt x="376" y="76"/>
                  </a:lnTo>
                  <a:lnTo>
                    <a:pt x="378" y="78"/>
                  </a:lnTo>
                  <a:lnTo>
                    <a:pt x="380" y="78"/>
                  </a:lnTo>
                  <a:lnTo>
                    <a:pt x="384" y="78"/>
                  </a:lnTo>
                  <a:lnTo>
                    <a:pt x="384" y="78"/>
                  </a:lnTo>
                  <a:lnTo>
                    <a:pt x="386" y="78"/>
                  </a:lnTo>
                  <a:lnTo>
                    <a:pt x="388" y="76"/>
                  </a:lnTo>
                  <a:lnTo>
                    <a:pt x="388" y="74"/>
                  </a:lnTo>
                  <a:lnTo>
                    <a:pt x="392" y="72"/>
                  </a:lnTo>
                  <a:lnTo>
                    <a:pt x="392" y="72"/>
                  </a:lnTo>
                  <a:lnTo>
                    <a:pt x="394" y="74"/>
                  </a:lnTo>
                  <a:lnTo>
                    <a:pt x="396" y="74"/>
                  </a:lnTo>
                  <a:lnTo>
                    <a:pt x="396" y="76"/>
                  </a:lnTo>
                  <a:lnTo>
                    <a:pt x="400" y="76"/>
                  </a:lnTo>
                  <a:lnTo>
                    <a:pt x="400" y="76"/>
                  </a:lnTo>
                  <a:lnTo>
                    <a:pt x="404" y="78"/>
                  </a:lnTo>
                  <a:lnTo>
                    <a:pt x="406" y="78"/>
                  </a:lnTo>
                  <a:lnTo>
                    <a:pt x="406" y="78"/>
                  </a:lnTo>
                  <a:lnTo>
                    <a:pt x="410" y="78"/>
                  </a:lnTo>
                  <a:lnTo>
                    <a:pt x="410" y="80"/>
                  </a:lnTo>
                  <a:lnTo>
                    <a:pt x="412" y="80"/>
                  </a:lnTo>
                  <a:lnTo>
                    <a:pt x="414" y="80"/>
                  </a:lnTo>
                  <a:lnTo>
                    <a:pt x="414" y="80"/>
                  </a:lnTo>
                  <a:lnTo>
                    <a:pt x="418" y="80"/>
                  </a:lnTo>
                  <a:lnTo>
                    <a:pt x="420" y="84"/>
                  </a:lnTo>
                  <a:lnTo>
                    <a:pt x="422" y="84"/>
                  </a:lnTo>
                  <a:lnTo>
                    <a:pt x="430" y="82"/>
                  </a:lnTo>
                  <a:lnTo>
                    <a:pt x="430" y="82"/>
                  </a:lnTo>
                  <a:lnTo>
                    <a:pt x="438" y="80"/>
                  </a:lnTo>
                  <a:lnTo>
                    <a:pt x="440" y="78"/>
                  </a:lnTo>
                  <a:lnTo>
                    <a:pt x="440" y="74"/>
                  </a:lnTo>
                  <a:lnTo>
                    <a:pt x="440" y="74"/>
                  </a:lnTo>
                  <a:lnTo>
                    <a:pt x="442" y="70"/>
                  </a:lnTo>
                  <a:lnTo>
                    <a:pt x="444" y="70"/>
                  </a:lnTo>
                  <a:lnTo>
                    <a:pt x="446" y="68"/>
                  </a:lnTo>
                  <a:lnTo>
                    <a:pt x="448" y="62"/>
                  </a:lnTo>
                  <a:lnTo>
                    <a:pt x="448" y="62"/>
                  </a:lnTo>
                  <a:lnTo>
                    <a:pt x="450" y="54"/>
                  </a:lnTo>
                  <a:lnTo>
                    <a:pt x="454" y="50"/>
                  </a:lnTo>
                  <a:lnTo>
                    <a:pt x="456" y="48"/>
                  </a:lnTo>
                  <a:lnTo>
                    <a:pt x="456" y="46"/>
                  </a:lnTo>
                  <a:lnTo>
                    <a:pt x="456" y="46"/>
                  </a:lnTo>
                  <a:lnTo>
                    <a:pt x="458" y="40"/>
                  </a:lnTo>
                  <a:lnTo>
                    <a:pt x="460" y="38"/>
                  </a:lnTo>
                  <a:lnTo>
                    <a:pt x="462" y="36"/>
                  </a:lnTo>
                  <a:lnTo>
                    <a:pt x="462" y="32"/>
                  </a:lnTo>
                  <a:lnTo>
                    <a:pt x="462" y="32"/>
                  </a:lnTo>
                  <a:lnTo>
                    <a:pt x="462" y="26"/>
                  </a:lnTo>
                  <a:lnTo>
                    <a:pt x="464" y="26"/>
                  </a:lnTo>
                  <a:lnTo>
                    <a:pt x="466" y="24"/>
                  </a:lnTo>
                  <a:lnTo>
                    <a:pt x="468" y="20"/>
                  </a:lnTo>
                  <a:lnTo>
                    <a:pt x="468" y="2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9" name="Bulgaria"/>
            <p:cNvSpPr>
              <a:spLocks/>
            </p:cNvSpPr>
            <p:nvPr/>
          </p:nvSpPr>
          <p:spPr bwMode="auto">
            <a:xfrm>
              <a:off x="4700288" y="2197365"/>
              <a:ext cx="158750" cy="74083"/>
            </a:xfrm>
            <a:custGeom>
              <a:avLst/>
              <a:gdLst/>
              <a:ahLst/>
              <a:cxnLst>
                <a:cxn ang="0">
                  <a:pos x="112" y="44"/>
                </a:cxn>
                <a:cxn ang="0">
                  <a:pos x="110" y="44"/>
                </a:cxn>
                <a:cxn ang="0">
                  <a:pos x="110" y="42"/>
                </a:cxn>
                <a:cxn ang="0">
                  <a:pos x="106" y="36"/>
                </a:cxn>
                <a:cxn ang="0">
                  <a:pos x="104" y="34"/>
                </a:cxn>
                <a:cxn ang="0">
                  <a:pos x="104" y="30"/>
                </a:cxn>
                <a:cxn ang="0">
                  <a:pos x="106" y="28"/>
                </a:cxn>
                <a:cxn ang="0">
                  <a:pos x="110" y="26"/>
                </a:cxn>
                <a:cxn ang="0">
                  <a:pos x="114" y="16"/>
                </a:cxn>
                <a:cxn ang="0">
                  <a:pos x="118" y="14"/>
                </a:cxn>
                <a:cxn ang="0">
                  <a:pos x="120" y="10"/>
                </a:cxn>
                <a:cxn ang="0">
                  <a:pos x="110" y="6"/>
                </a:cxn>
                <a:cxn ang="0">
                  <a:pos x="96" y="6"/>
                </a:cxn>
                <a:cxn ang="0">
                  <a:pos x="88" y="2"/>
                </a:cxn>
                <a:cxn ang="0">
                  <a:pos x="80" y="0"/>
                </a:cxn>
                <a:cxn ang="0">
                  <a:pos x="64" y="6"/>
                </a:cxn>
                <a:cxn ang="0">
                  <a:pos x="56" y="12"/>
                </a:cxn>
                <a:cxn ang="0">
                  <a:pos x="42" y="10"/>
                </a:cxn>
                <a:cxn ang="0">
                  <a:pos x="30" y="10"/>
                </a:cxn>
                <a:cxn ang="0">
                  <a:pos x="18" y="8"/>
                </a:cxn>
                <a:cxn ang="0">
                  <a:pos x="10" y="8"/>
                </a:cxn>
                <a:cxn ang="0">
                  <a:pos x="8" y="4"/>
                </a:cxn>
                <a:cxn ang="0">
                  <a:pos x="2" y="4"/>
                </a:cxn>
                <a:cxn ang="0">
                  <a:pos x="2" y="10"/>
                </a:cxn>
                <a:cxn ang="0">
                  <a:pos x="6" y="20"/>
                </a:cxn>
                <a:cxn ang="0">
                  <a:pos x="6" y="26"/>
                </a:cxn>
                <a:cxn ang="0">
                  <a:pos x="6" y="32"/>
                </a:cxn>
                <a:cxn ang="0">
                  <a:pos x="4" y="36"/>
                </a:cxn>
                <a:cxn ang="0">
                  <a:pos x="10" y="40"/>
                </a:cxn>
                <a:cxn ang="0">
                  <a:pos x="20" y="56"/>
                </a:cxn>
                <a:cxn ang="0">
                  <a:pos x="32" y="56"/>
                </a:cxn>
                <a:cxn ang="0">
                  <a:pos x="38" y="52"/>
                </a:cxn>
                <a:cxn ang="0">
                  <a:pos x="42" y="54"/>
                </a:cxn>
                <a:cxn ang="0">
                  <a:pos x="50" y="54"/>
                </a:cxn>
                <a:cxn ang="0">
                  <a:pos x="56" y="56"/>
                </a:cxn>
                <a:cxn ang="0">
                  <a:pos x="64" y="56"/>
                </a:cxn>
                <a:cxn ang="0">
                  <a:pos x="70" y="56"/>
                </a:cxn>
                <a:cxn ang="0">
                  <a:pos x="74" y="54"/>
                </a:cxn>
                <a:cxn ang="0">
                  <a:pos x="78" y="52"/>
                </a:cxn>
                <a:cxn ang="0">
                  <a:pos x="84" y="48"/>
                </a:cxn>
                <a:cxn ang="0">
                  <a:pos x="92" y="44"/>
                </a:cxn>
                <a:cxn ang="0">
                  <a:pos x="102" y="46"/>
                </a:cxn>
              </a:cxnLst>
              <a:rect l="0" t="0" r="r" b="b"/>
              <a:pathLst>
                <a:path w="120" h="56">
                  <a:moveTo>
                    <a:pt x="112" y="46"/>
                  </a:moveTo>
                  <a:lnTo>
                    <a:pt x="112" y="46"/>
                  </a:lnTo>
                  <a:lnTo>
                    <a:pt x="112" y="44"/>
                  </a:lnTo>
                  <a:lnTo>
                    <a:pt x="110" y="44"/>
                  </a:lnTo>
                  <a:lnTo>
                    <a:pt x="110" y="44"/>
                  </a:lnTo>
                  <a:lnTo>
                    <a:pt x="110" y="44"/>
                  </a:lnTo>
                  <a:lnTo>
                    <a:pt x="110" y="44"/>
                  </a:lnTo>
                  <a:lnTo>
                    <a:pt x="110" y="42"/>
                  </a:lnTo>
                  <a:lnTo>
                    <a:pt x="110" y="42"/>
                  </a:lnTo>
                  <a:lnTo>
                    <a:pt x="106" y="38"/>
                  </a:lnTo>
                  <a:lnTo>
                    <a:pt x="106" y="36"/>
                  </a:lnTo>
                  <a:lnTo>
                    <a:pt x="106" y="36"/>
                  </a:lnTo>
                  <a:lnTo>
                    <a:pt x="106" y="36"/>
                  </a:lnTo>
                  <a:lnTo>
                    <a:pt x="106" y="36"/>
                  </a:lnTo>
                  <a:lnTo>
                    <a:pt x="104" y="34"/>
                  </a:lnTo>
                  <a:lnTo>
                    <a:pt x="104" y="34"/>
                  </a:lnTo>
                  <a:lnTo>
                    <a:pt x="104" y="34"/>
                  </a:lnTo>
                  <a:lnTo>
                    <a:pt x="104" y="30"/>
                  </a:lnTo>
                  <a:lnTo>
                    <a:pt x="104" y="30"/>
                  </a:lnTo>
                  <a:lnTo>
                    <a:pt x="106" y="28"/>
                  </a:lnTo>
                  <a:lnTo>
                    <a:pt x="106" y="28"/>
                  </a:lnTo>
                  <a:lnTo>
                    <a:pt x="108" y="28"/>
                  </a:lnTo>
                  <a:lnTo>
                    <a:pt x="110" y="26"/>
                  </a:lnTo>
                  <a:lnTo>
                    <a:pt x="110" y="26"/>
                  </a:lnTo>
                  <a:lnTo>
                    <a:pt x="112" y="20"/>
                  </a:lnTo>
                  <a:lnTo>
                    <a:pt x="114" y="16"/>
                  </a:lnTo>
                  <a:lnTo>
                    <a:pt x="114" y="16"/>
                  </a:lnTo>
                  <a:lnTo>
                    <a:pt x="116" y="12"/>
                  </a:lnTo>
                  <a:lnTo>
                    <a:pt x="118" y="14"/>
                  </a:lnTo>
                  <a:lnTo>
                    <a:pt x="118" y="14"/>
                  </a:lnTo>
                  <a:lnTo>
                    <a:pt x="120" y="14"/>
                  </a:lnTo>
                  <a:lnTo>
                    <a:pt x="120" y="10"/>
                  </a:lnTo>
                  <a:lnTo>
                    <a:pt x="120" y="10"/>
                  </a:lnTo>
                  <a:lnTo>
                    <a:pt x="114" y="8"/>
                  </a:lnTo>
                  <a:lnTo>
                    <a:pt x="112" y="8"/>
                  </a:lnTo>
                  <a:lnTo>
                    <a:pt x="110" y="6"/>
                  </a:lnTo>
                  <a:lnTo>
                    <a:pt x="108" y="6"/>
                  </a:lnTo>
                  <a:lnTo>
                    <a:pt x="108" y="6"/>
                  </a:lnTo>
                  <a:lnTo>
                    <a:pt x="96" y="6"/>
                  </a:lnTo>
                  <a:lnTo>
                    <a:pt x="92" y="4"/>
                  </a:lnTo>
                  <a:lnTo>
                    <a:pt x="88" y="2"/>
                  </a:lnTo>
                  <a:lnTo>
                    <a:pt x="88" y="2"/>
                  </a:lnTo>
                  <a:lnTo>
                    <a:pt x="88" y="0"/>
                  </a:lnTo>
                  <a:lnTo>
                    <a:pt x="86" y="0"/>
                  </a:lnTo>
                  <a:lnTo>
                    <a:pt x="80" y="0"/>
                  </a:lnTo>
                  <a:lnTo>
                    <a:pt x="80" y="0"/>
                  </a:lnTo>
                  <a:lnTo>
                    <a:pt x="70" y="4"/>
                  </a:lnTo>
                  <a:lnTo>
                    <a:pt x="64" y="6"/>
                  </a:lnTo>
                  <a:lnTo>
                    <a:pt x="60" y="10"/>
                  </a:lnTo>
                  <a:lnTo>
                    <a:pt x="60" y="10"/>
                  </a:lnTo>
                  <a:lnTo>
                    <a:pt x="56" y="12"/>
                  </a:lnTo>
                  <a:lnTo>
                    <a:pt x="50" y="12"/>
                  </a:lnTo>
                  <a:lnTo>
                    <a:pt x="50" y="12"/>
                  </a:lnTo>
                  <a:lnTo>
                    <a:pt x="42" y="10"/>
                  </a:lnTo>
                  <a:lnTo>
                    <a:pt x="36" y="10"/>
                  </a:lnTo>
                  <a:lnTo>
                    <a:pt x="36" y="10"/>
                  </a:lnTo>
                  <a:lnTo>
                    <a:pt x="30" y="10"/>
                  </a:lnTo>
                  <a:lnTo>
                    <a:pt x="24" y="10"/>
                  </a:lnTo>
                  <a:lnTo>
                    <a:pt x="24" y="10"/>
                  </a:lnTo>
                  <a:lnTo>
                    <a:pt x="18" y="8"/>
                  </a:lnTo>
                  <a:lnTo>
                    <a:pt x="14" y="8"/>
                  </a:lnTo>
                  <a:lnTo>
                    <a:pt x="14" y="8"/>
                  </a:lnTo>
                  <a:lnTo>
                    <a:pt x="10" y="8"/>
                  </a:lnTo>
                  <a:lnTo>
                    <a:pt x="8" y="4"/>
                  </a:lnTo>
                  <a:lnTo>
                    <a:pt x="8" y="4"/>
                  </a:lnTo>
                  <a:lnTo>
                    <a:pt x="8" y="4"/>
                  </a:lnTo>
                  <a:lnTo>
                    <a:pt x="4" y="2"/>
                  </a:lnTo>
                  <a:lnTo>
                    <a:pt x="4" y="2"/>
                  </a:lnTo>
                  <a:lnTo>
                    <a:pt x="2" y="4"/>
                  </a:lnTo>
                  <a:lnTo>
                    <a:pt x="0" y="6"/>
                  </a:lnTo>
                  <a:lnTo>
                    <a:pt x="2" y="10"/>
                  </a:lnTo>
                  <a:lnTo>
                    <a:pt x="2" y="10"/>
                  </a:lnTo>
                  <a:lnTo>
                    <a:pt x="4" y="16"/>
                  </a:lnTo>
                  <a:lnTo>
                    <a:pt x="6" y="20"/>
                  </a:lnTo>
                  <a:lnTo>
                    <a:pt x="6" y="20"/>
                  </a:lnTo>
                  <a:lnTo>
                    <a:pt x="8" y="24"/>
                  </a:lnTo>
                  <a:lnTo>
                    <a:pt x="6" y="26"/>
                  </a:lnTo>
                  <a:lnTo>
                    <a:pt x="6" y="26"/>
                  </a:lnTo>
                  <a:lnTo>
                    <a:pt x="4" y="28"/>
                  </a:lnTo>
                  <a:lnTo>
                    <a:pt x="6" y="30"/>
                  </a:lnTo>
                  <a:lnTo>
                    <a:pt x="6" y="32"/>
                  </a:lnTo>
                  <a:lnTo>
                    <a:pt x="6" y="34"/>
                  </a:lnTo>
                  <a:lnTo>
                    <a:pt x="6" y="34"/>
                  </a:lnTo>
                  <a:lnTo>
                    <a:pt x="4" y="36"/>
                  </a:lnTo>
                  <a:lnTo>
                    <a:pt x="6" y="38"/>
                  </a:lnTo>
                  <a:lnTo>
                    <a:pt x="10" y="40"/>
                  </a:lnTo>
                  <a:lnTo>
                    <a:pt x="10" y="40"/>
                  </a:lnTo>
                  <a:lnTo>
                    <a:pt x="18" y="46"/>
                  </a:lnTo>
                  <a:lnTo>
                    <a:pt x="20" y="52"/>
                  </a:lnTo>
                  <a:lnTo>
                    <a:pt x="20" y="56"/>
                  </a:lnTo>
                  <a:lnTo>
                    <a:pt x="20" y="56"/>
                  </a:lnTo>
                  <a:lnTo>
                    <a:pt x="28" y="56"/>
                  </a:lnTo>
                  <a:lnTo>
                    <a:pt x="32" y="56"/>
                  </a:lnTo>
                  <a:lnTo>
                    <a:pt x="34" y="56"/>
                  </a:lnTo>
                  <a:lnTo>
                    <a:pt x="34" y="56"/>
                  </a:lnTo>
                  <a:lnTo>
                    <a:pt x="38" y="52"/>
                  </a:lnTo>
                  <a:lnTo>
                    <a:pt x="40" y="52"/>
                  </a:lnTo>
                  <a:lnTo>
                    <a:pt x="42" y="54"/>
                  </a:lnTo>
                  <a:lnTo>
                    <a:pt x="42" y="54"/>
                  </a:lnTo>
                  <a:lnTo>
                    <a:pt x="46" y="54"/>
                  </a:lnTo>
                  <a:lnTo>
                    <a:pt x="50" y="54"/>
                  </a:lnTo>
                  <a:lnTo>
                    <a:pt x="50" y="54"/>
                  </a:lnTo>
                  <a:lnTo>
                    <a:pt x="54" y="56"/>
                  </a:lnTo>
                  <a:lnTo>
                    <a:pt x="56" y="56"/>
                  </a:lnTo>
                  <a:lnTo>
                    <a:pt x="56" y="56"/>
                  </a:lnTo>
                  <a:lnTo>
                    <a:pt x="62" y="56"/>
                  </a:lnTo>
                  <a:lnTo>
                    <a:pt x="64" y="56"/>
                  </a:lnTo>
                  <a:lnTo>
                    <a:pt x="64" y="56"/>
                  </a:lnTo>
                  <a:lnTo>
                    <a:pt x="64" y="56"/>
                  </a:lnTo>
                  <a:lnTo>
                    <a:pt x="66" y="54"/>
                  </a:lnTo>
                  <a:lnTo>
                    <a:pt x="70" y="56"/>
                  </a:lnTo>
                  <a:lnTo>
                    <a:pt x="74" y="56"/>
                  </a:lnTo>
                  <a:lnTo>
                    <a:pt x="74" y="54"/>
                  </a:lnTo>
                  <a:lnTo>
                    <a:pt x="74" y="54"/>
                  </a:lnTo>
                  <a:lnTo>
                    <a:pt x="74" y="54"/>
                  </a:lnTo>
                  <a:lnTo>
                    <a:pt x="74" y="50"/>
                  </a:lnTo>
                  <a:lnTo>
                    <a:pt x="78" y="52"/>
                  </a:lnTo>
                  <a:lnTo>
                    <a:pt x="78" y="52"/>
                  </a:lnTo>
                  <a:lnTo>
                    <a:pt x="80" y="48"/>
                  </a:lnTo>
                  <a:lnTo>
                    <a:pt x="84" y="48"/>
                  </a:lnTo>
                  <a:lnTo>
                    <a:pt x="84" y="48"/>
                  </a:lnTo>
                  <a:lnTo>
                    <a:pt x="88" y="44"/>
                  </a:lnTo>
                  <a:lnTo>
                    <a:pt x="92" y="44"/>
                  </a:lnTo>
                  <a:lnTo>
                    <a:pt x="94" y="44"/>
                  </a:lnTo>
                  <a:lnTo>
                    <a:pt x="94" y="44"/>
                  </a:lnTo>
                  <a:lnTo>
                    <a:pt x="102" y="46"/>
                  </a:lnTo>
                  <a:lnTo>
                    <a:pt x="112" y="46"/>
                  </a:lnTo>
                  <a:lnTo>
                    <a:pt x="112" y="46"/>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0" name="Cambodia"/>
            <p:cNvSpPr>
              <a:spLocks/>
            </p:cNvSpPr>
            <p:nvPr/>
          </p:nvSpPr>
          <p:spPr bwMode="auto">
            <a:xfrm>
              <a:off x="6978351" y="3118115"/>
              <a:ext cx="161396" cy="153458"/>
            </a:xfrm>
            <a:custGeom>
              <a:avLst/>
              <a:gdLst/>
              <a:ahLst/>
              <a:cxnLst>
                <a:cxn ang="0">
                  <a:pos x="50" y="114"/>
                </a:cxn>
                <a:cxn ang="0">
                  <a:pos x="46" y="116"/>
                </a:cxn>
                <a:cxn ang="0">
                  <a:pos x="46" y="112"/>
                </a:cxn>
                <a:cxn ang="0">
                  <a:pos x="42" y="106"/>
                </a:cxn>
                <a:cxn ang="0">
                  <a:pos x="34" y="108"/>
                </a:cxn>
                <a:cxn ang="0">
                  <a:pos x="32" y="108"/>
                </a:cxn>
                <a:cxn ang="0">
                  <a:pos x="26" y="106"/>
                </a:cxn>
                <a:cxn ang="0">
                  <a:pos x="28" y="102"/>
                </a:cxn>
                <a:cxn ang="0">
                  <a:pos x="30" y="102"/>
                </a:cxn>
                <a:cxn ang="0">
                  <a:pos x="32" y="96"/>
                </a:cxn>
                <a:cxn ang="0">
                  <a:pos x="26" y="90"/>
                </a:cxn>
                <a:cxn ang="0">
                  <a:pos x="24" y="92"/>
                </a:cxn>
                <a:cxn ang="0">
                  <a:pos x="24" y="96"/>
                </a:cxn>
                <a:cxn ang="0">
                  <a:pos x="22" y="98"/>
                </a:cxn>
                <a:cxn ang="0">
                  <a:pos x="18" y="96"/>
                </a:cxn>
                <a:cxn ang="0">
                  <a:pos x="18" y="88"/>
                </a:cxn>
                <a:cxn ang="0">
                  <a:pos x="18" y="72"/>
                </a:cxn>
                <a:cxn ang="0">
                  <a:pos x="10" y="60"/>
                </a:cxn>
                <a:cxn ang="0">
                  <a:pos x="0" y="44"/>
                </a:cxn>
                <a:cxn ang="0">
                  <a:pos x="0" y="40"/>
                </a:cxn>
                <a:cxn ang="0">
                  <a:pos x="16" y="18"/>
                </a:cxn>
                <a:cxn ang="0">
                  <a:pos x="20" y="16"/>
                </a:cxn>
                <a:cxn ang="0">
                  <a:pos x="28" y="18"/>
                </a:cxn>
                <a:cxn ang="0">
                  <a:pos x="30" y="16"/>
                </a:cxn>
                <a:cxn ang="0">
                  <a:pos x="36" y="16"/>
                </a:cxn>
                <a:cxn ang="0">
                  <a:pos x="40" y="16"/>
                </a:cxn>
                <a:cxn ang="0">
                  <a:pos x="44" y="16"/>
                </a:cxn>
                <a:cxn ang="0">
                  <a:pos x="52" y="16"/>
                </a:cxn>
                <a:cxn ang="0">
                  <a:pos x="60" y="12"/>
                </a:cxn>
                <a:cxn ang="0">
                  <a:pos x="78" y="16"/>
                </a:cxn>
                <a:cxn ang="0">
                  <a:pos x="82" y="22"/>
                </a:cxn>
                <a:cxn ang="0">
                  <a:pos x="84" y="20"/>
                </a:cxn>
                <a:cxn ang="0">
                  <a:pos x="84" y="12"/>
                </a:cxn>
                <a:cxn ang="0">
                  <a:pos x="84" y="2"/>
                </a:cxn>
                <a:cxn ang="0">
                  <a:pos x="86" y="0"/>
                </a:cxn>
                <a:cxn ang="0">
                  <a:pos x="92" y="2"/>
                </a:cxn>
                <a:cxn ang="0">
                  <a:pos x="110" y="16"/>
                </a:cxn>
                <a:cxn ang="0">
                  <a:pos x="122" y="22"/>
                </a:cxn>
                <a:cxn ang="0">
                  <a:pos x="120" y="30"/>
                </a:cxn>
                <a:cxn ang="0">
                  <a:pos x="114" y="50"/>
                </a:cxn>
                <a:cxn ang="0">
                  <a:pos x="116" y="60"/>
                </a:cxn>
                <a:cxn ang="0">
                  <a:pos x="122" y="66"/>
                </a:cxn>
                <a:cxn ang="0">
                  <a:pos x="116" y="74"/>
                </a:cxn>
                <a:cxn ang="0">
                  <a:pos x="110" y="74"/>
                </a:cxn>
                <a:cxn ang="0">
                  <a:pos x="102" y="74"/>
                </a:cxn>
                <a:cxn ang="0">
                  <a:pos x="94" y="82"/>
                </a:cxn>
                <a:cxn ang="0">
                  <a:pos x="82" y="90"/>
                </a:cxn>
                <a:cxn ang="0">
                  <a:pos x="76" y="90"/>
                </a:cxn>
                <a:cxn ang="0">
                  <a:pos x="76" y="92"/>
                </a:cxn>
                <a:cxn ang="0">
                  <a:pos x="82" y="98"/>
                </a:cxn>
                <a:cxn ang="0">
                  <a:pos x="88" y="104"/>
                </a:cxn>
                <a:cxn ang="0">
                  <a:pos x="88" y="106"/>
                </a:cxn>
                <a:cxn ang="0">
                  <a:pos x="84" y="106"/>
                </a:cxn>
                <a:cxn ang="0">
                  <a:pos x="78" y="100"/>
                </a:cxn>
                <a:cxn ang="0">
                  <a:pos x="72" y="102"/>
                </a:cxn>
                <a:cxn ang="0">
                  <a:pos x="62" y="106"/>
                </a:cxn>
                <a:cxn ang="0">
                  <a:pos x="54" y="110"/>
                </a:cxn>
                <a:cxn ang="0">
                  <a:pos x="50" y="114"/>
                </a:cxn>
              </a:cxnLst>
              <a:rect l="0" t="0" r="r" b="b"/>
              <a:pathLst>
                <a:path w="122" h="116">
                  <a:moveTo>
                    <a:pt x="50" y="114"/>
                  </a:moveTo>
                  <a:lnTo>
                    <a:pt x="50" y="114"/>
                  </a:lnTo>
                  <a:lnTo>
                    <a:pt x="48" y="116"/>
                  </a:lnTo>
                  <a:lnTo>
                    <a:pt x="46" y="116"/>
                  </a:lnTo>
                  <a:lnTo>
                    <a:pt x="46" y="112"/>
                  </a:lnTo>
                  <a:lnTo>
                    <a:pt x="46" y="112"/>
                  </a:lnTo>
                  <a:lnTo>
                    <a:pt x="44" y="108"/>
                  </a:lnTo>
                  <a:lnTo>
                    <a:pt x="42" y="106"/>
                  </a:lnTo>
                  <a:lnTo>
                    <a:pt x="38" y="106"/>
                  </a:lnTo>
                  <a:lnTo>
                    <a:pt x="34" y="108"/>
                  </a:lnTo>
                  <a:lnTo>
                    <a:pt x="34" y="108"/>
                  </a:lnTo>
                  <a:lnTo>
                    <a:pt x="32" y="108"/>
                  </a:lnTo>
                  <a:lnTo>
                    <a:pt x="30" y="108"/>
                  </a:lnTo>
                  <a:lnTo>
                    <a:pt x="26" y="106"/>
                  </a:lnTo>
                  <a:lnTo>
                    <a:pt x="26" y="102"/>
                  </a:lnTo>
                  <a:lnTo>
                    <a:pt x="28" y="102"/>
                  </a:lnTo>
                  <a:lnTo>
                    <a:pt x="30" y="102"/>
                  </a:lnTo>
                  <a:lnTo>
                    <a:pt x="30" y="102"/>
                  </a:lnTo>
                  <a:lnTo>
                    <a:pt x="32" y="100"/>
                  </a:lnTo>
                  <a:lnTo>
                    <a:pt x="32" y="96"/>
                  </a:lnTo>
                  <a:lnTo>
                    <a:pt x="30" y="92"/>
                  </a:lnTo>
                  <a:lnTo>
                    <a:pt x="26" y="90"/>
                  </a:lnTo>
                  <a:lnTo>
                    <a:pt x="26" y="90"/>
                  </a:lnTo>
                  <a:lnTo>
                    <a:pt x="24" y="92"/>
                  </a:lnTo>
                  <a:lnTo>
                    <a:pt x="24" y="94"/>
                  </a:lnTo>
                  <a:lnTo>
                    <a:pt x="24" y="96"/>
                  </a:lnTo>
                  <a:lnTo>
                    <a:pt x="22" y="98"/>
                  </a:lnTo>
                  <a:lnTo>
                    <a:pt x="22" y="98"/>
                  </a:lnTo>
                  <a:lnTo>
                    <a:pt x="18" y="98"/>
                  </a:lnTo>
                  <a:lnTo>
                    <a:pt x="18" y="96"/>
                  </a:lnTo>
                  <a:lnTo>
                    <a:pt x="18" y="88"/>
                  </a:lnTo>
                  <a:lnTo>
                    <a:pt x="18" y="88"/>
                  </a:lnTo>
                  <a:lnTo>
                    <a:pt x="20" y="80"/>
                  </a:lnTo>
                  <a:lnTo>
                    <a:pt x="18" y="72"/>
                  </a:lnTo>
                  <a:lnTo>
                    <a:pt x="16" y="66"/>
                  </a:lnTo>
                  <a:lnTo>
                    <a:pt x="10" y="60"/>
                  </a:lnTo>
                  <a:lnTo>
                    <a:pt x="2" y="50"/>
                  </a:lnTo>
                  <a:lnTo>
                    <a:pt x="0" y="44"/>
                  </a:lnTo>
                  <a:lnTo>
                    <a:pt x="0" y="40"/>
                  </a:lnTo>
                  <a:lnTo>
                    <a:pt x="0" y="40"/>
                  </a:lnTo>
                  <a:lnTo>
                    <a:pt x="10" y="28"/>
                  </a:lnTo>
                  <a:lnTo>
                    <a:pt x="16" y="18"/>
                  </a:lnTo>
                  <a:lnTo>
                    <a:pt x="16" y="18"/>
                  </a:lnTo>
                  <a:lnTo>
                    <a:pt x="20" y="16"/>
                  </a:lnTo>
                  <a:lnTo>
                    <a:pt x="24" y="16"/>
                  </a:lnTo>
                  <a:lnTo>
                    <a:pt x="28" y="18"/>
                  </a:lnTo>
                  <a:lnTo>
                    <a:pt x="30" y="16"/>
                  </a:lnTo>
                  <a:lnTo>
                    <a:pt x="30" y="16"/>
                  </a:lnTo>
                  <a:lnTo>
                    <a:pt x="34" y="16"/>
                  </a:lnTo>
                  <a:lnTo>
                    <a:pt x="36" y="16"/>
                  </a:lnTo>
                  <a:lnTo>
                    <a:pt x="38" y="18"/>
                  </a:lnTo>
                  <a:lnTo>
                    <a:pt x="40" y="16"/>
                  </a:lnTo>
                  <a:lnTo>
                    <a:pt x="40" y="16"/>
                  </a:lnTo>
                  <a:lnTo>
                    <a:pt x="44" y="16"/>
                  </a:lnTo>
                  <a:lnTo>
                    <a:pt x="46" y="16"/>
                  </a:lnTo>
                  <a:lnTo>
                    <a:pt x="52" y="16"/>
                  </a:lnTo>
                  <a:lnTo>
                    <a:pt x="60" y="12"/>
                  </a:lnTo>
                  <a:lnTo>
                    <a:pt x="60" y="12"/>
                  </a:lnTo>
                  <a:lnTo>
                    <a:pt x="74" y="14"/>
                  </a:lnTo>
                  <a:lnTo>
                    <a:pt x="78" y="16"/>
                  </a:lnTo>
                  <a:lnTo>
                    <a:pt x="80" y="20"/>
                  </a:lnTo>
                  <a:lnTo>
                    <a:pt x="82" y="22"/>
                  </a:lnTo>
                  <a:lnTo>
                    <a:pt x="82" y="22"/>
                  </a:lnTo>
                  <a:lnTo>
                    <a:pt x="84" y="20"/>
                  </a:lnTo>
                  <a:lnTo>
                    <a:pt x="84" y="18"/>
                  </a:lnTo>
                  <a:lnTo>
                    <a:pt x="84" y="12"/>
                  </a:lnTo>
                  <a:lnTo>
                    <a:pt x="82" y="6"/>
                  </a:lnTo>
                  <a:lnTo>
                    <a:pt x="84" y="2"/>
                  </a:lnTo>
                  <a:lnTo>
                    <a:pt x="86" y="0"/>
                  </a:lnTo>
                  <a:lnTo>
                    <a:pt x="86" y="0"/>
                  </a:lnTo>
                  <a:lnTo>
                    <a:pt x="88" y="0"/>
                  </a:lnTo>
                  <a:lnTo>
                    <a:pt x="92" y="2"/>
                  </a:lnTo>
                  <a:lnTo>
                    <a:pt x="100" y="8"/>
                  </a:lnTo>
                  <a:lnTo>
                    <a:pt x="110" y="16"/>
                  </a:lnTo>
                  <a:lnTo>
                    <a:pt x="116" y="20"/>
                  </a:lnTo>
                  <a:lnTo>
                    <a:pt x="122" y="22"/>
                  </a:lnTo>
                  <a:lnTo>
                    <a:pt x="122" y="22"/>
                  </a:lnTo>
                  <a:lnTo>
                    <a:pt x="120" y="30"/>
                  </a:lnTo>
                  <a:lnTo>
                    <a:pt x="116" y="40"/>
                  </a:lnTo>
                  <a:lnTo>
                    <a:pt x="114" y="50"/>
                  </a:lnTo>
                  <a:lnTo>
                    <a:pt x="114" y="56"/>
                  </a:lnTo>
                  <a:lnTo>
                    <a:pt x="116" y="60"/>
                  </a:lnTo>
                  <a:lnTo>
                    <a:pt x="116" y="60"/>
                  </a:lnTo>
                  <a:lnTo>
                    <a:pt x="122" y="66"/>
                  </a:lnTo>
                  <a:lnTo>
                    <a:pt x="120" y="72"/>
                  </a:lnTo>
                  <a:lnTo>
                    <a:pt x="116" y="74"/>
                  </a:lnTo>
                  <a:lnTo>
                    <a:pt x="110" y="74"/>
                  </a:lnTo>
                  <a:lnTo>
                    <a:pt x="110" y="74"/>
                  </a:lnTo>
                  <a:lnTo>
                    <a:pt x="106" y="72"/>
                  </a:lnTo>
                  <a:lnTo>
                    <a:pt x="102" y="74"/>
                  </a:lnTo>
                  <a:lnTo>
                    <a:pt x="94" y="82"/>
                  </a:lnTo>
                  <a:lnTo>
                    <a:pt x="94" y="82"/>
                  </a:lnTo>
                  <a:lnTo>
                    <a:pt x="86" y="88"/>
                  </a:lnTo>
                  <a:lnTo>
                    <a:pt x="82" y="90"/>
                  </a:lnTo>
                  <a:lnTo>
                    <a:pt x="80" y="88"/>
                  </a:lnTo>
                  <a:lnTo>
                    <a:pt x="76" y="90"/>
                  </a:lnTo>
                  <a:lnTo>
                    <a:pt x="76" y="90"/>
                  </a:lnTo>
                  <a:lnTo>
                    <a:pt x="76" y="92"/>
                  </a:lnTo>
                  <a:lnTo>
                    <a:pt x="78" y="94"/>
                  </a:lnTo>
                  <a:lnTo>
                    <a:pt x="82" y="98"/>
                  </a:lnTo>
                  <a:lnTo>
                    <a:pt x="88" y="102"/>
                  </a:lnTo>
                  <a:lnTo>
                    <a:pt x="88" y="104"/>
                  </a:lnTo>
                  <a:lnTo>
                    <a:pt x="88" y="106"/>
                  </a:lnTo>
                  <a:lnTo>
                    <a:pt x="88" y="106"/>
                  </a:lnTo>
                  <a:lnTo>
                    <a:pt x="86" y="106"/>
                  </a:lnTo>
                  <a:lnTo>
                    <a:pt x="84" y="106"/>
                  </a:lnTo>
                  <a:lnTo>
                    <a:pt x="82" y="102"/>
                  </a:lnTo>
                  <a:lnTo>
                    <a:pt x="78" y="100"/>
                  </a:lnTo>
                  <a:lnTo>
                    <a:pt x="74" y="100"/>
                  </a:lnTo>
                  <a:lnTo>
                    <a:pt x="72" y="102"/>
                  </a:lnTo>
                  <a:lnTo>
                    <a:pt x="72" y="102"/>
                  </a:lnTo>
                  <a:lnTo>
                    <a:pt x="62" y="106"/>
                  </a:lnTo>
                  <a:lnTo>
                    <a:pt x="56" y="108"/>
                  </a:lnTo>
                  <a:lnTo>
                    <a:pt x="54" y="110"/>
                  </a:lnTo>
                  <a:lnTo>
                    <a:pt x="50" y="114"/>
                  </a:lnTo>
                  <a:lnTo>
                    <a:pt x="50" y="114"/>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1" name="Canada"/>
            <p:cNvSpPr>
              <a:spLocks/>
            </p:cNvSpPr>
            <p:nvPr/>
          </p:nvSpPr>
          <p:spPr bwMode="auto">
            <a:xfrm>
              <a:off x="1054330" y="1562365"/>
              <a:ext cx="1791229" cy="701146"/>
            </a:xfrm>
            <a:custGeom>
              <a:avLst/>
              <a:gdLst/>
              <a:ahLst/>
              <a:cxnLst/>
              <a:rect l="l" t="t" r="r" b="b"/>
              <a:pathLst>
                <a:path w="1791229" h="701146">
                  <a:moveTo>
                    <a:pt x="973667" y="518584"/>
                  </a:moveTo>
                  <a:lnTo>
                    <a:pt x="973667" y="518584"/>
                  </a:lnTo>
                  <a:lnTo>
                    <a:pt x="968375" y="521229"/>
                  </a:lnTo>
                  <a:close/>
                  <a:moveTo>
                    <a:pt x="63500" y="457729"/>
                  </a:moveTo>
                  <a:lnTo>
                    <a:pt x="68792" y="457729"/>
                  </a:lnTo>
                  <a:lnTo>
                    <a:pt x="74084" y="460375"/>
                  </a:lnTo>
                  <a:lnTo>
                    <a:pt x="76729" y="463021"/>
                  </a:lnTo>
                  <a:lnTo>
                    <a:pt x="76729" y="465667"/>
                  </a:lnTo>
                  <a:lnTo>
                    <a:pt x="79375" y="468312"/>
                  </a:lnTo>
                  <a:lnTo>
                    <a:pt x="89959" y="468312"/>
                  </a:lnTo>
                  <a:lnTo>
                    <a:pt x="92604" y="468312"/>
                  </a:lnTo>
                  <a:lnTo>
                    <a:pt x="97896" y="470958"/>
                  </a:lnTo>
                  <a:lnTo>
                    <a:pt x="103188" y="476250"/>
                  </a:lnTo>
                  <a:lnTo>
                    <a:pt x="105834" y="476250"/>
                  </a:lnTo>
                  <a:lnTo>
                    <a:pt x="111125" y="478896"/>
                  </a:lnTo>
                  <a:lnTo>
                    <a:pt x="111125" y="484188"/>
                  </a:lnTo>
                  <a:lnTo>
                    <a:pt x="113771" y="489479"/>
                  </a:lnTo>
                  <a:lnTo>
                    <a:pt x="116417" y="492125"/>
                  </a:lnTo>
                  <a:lnTo>
                    <a:pt x="113771" y="494771"/>
                  </a:lnTo>
                  <a:lnTo>
                    <a:pt x="113771" y="497417"/>
                  </a:lnTo>
                  <a:lnTo>
                    <a:pt x="116417" y="500063"/>
                  </a:lnTo>
                  <a:lnTo>
                    <a:pt x="121709" y="502708"/>
                  </a:lnTo>
                  <a:lnTo>
                    <a:pt x="124354" y="505354"/>
                  </a:lnTo>
                  <a:lnTo>
                    <a:pt x="124354" y="508000"/>
                  </a:lnTo>
                  <a:lnTo>
                    <a:pt x="129646" y="518584"/>
                  </a:lnTo>
                  <a:lnTo>
                    <a:pt x="129646" y="523875"/>
                  </a:lnTo>
                  <a:lnTo>
                    <a:pt x="129646" y="526521"/>
                  </a:lnTo>
                  <a:lnTo>
                    <a:pt x="116417" y="526521"/>
                  </a:lnTo>
                  <a:lnTo>
                    <a:pt x="108479" y="526521"/>
                  </a:lnTo>
                  <a:lnTo>
                    <a:pt x="100542" y="523875"/>
                  </a:lnTo>
                  <a:lnTo>
                    <a:pt x="89959" y="518584"/>
                  </a:lnTo>
                  <a:lnTo>
                    <a:pt x="87313" y="515938"/>
                  </a:lnTo>
                  <a:lnTo>
                    <a:pt x="87313" y="513292"/>
                  </a:lnTo>
                  <a:lnTo>
                    <a:pt x="89959" y="510646"/>
                  </a:lnTo>
                  <a:lnTo>
                    <a:pt x="84667" y="510646"/>
                  </a:lnTo>
                  <a:lnTo>
                    <a:pt x="79375" y="510646"/>
                  </a:lnTo>
                  <a:lnTo>
                    <a:pt x="74084" y="505354"/>
                  </a:lnTo>
                  <a:lnTo>
                    <a:pt x="74084" y="500063"/>
                  </a:lnTo>
                  <a:lnTo>
                    <a:pt x="71438" y="494771"/>
                  </a:lnTo>
                  <a:lnTo>
                    <a:pt x="66146" y="492125"/>
                  </a:lnTo>
                  <a:lnTo>
                    <a:pt x="63500" y="489479"/>
                  </a:lnTo>
                  <a:lnTo>
                    <a:pt x="63500" y="486833"/>
                  </a:lnTo>
                  <a:lnTo>
                    <a:pt x="60854" y="484188"/>
                  </a:lnTo>
                  <a:lnTo>
                    <a:pt x="58209" y="481542"/>
                  </a:lnTo>
                  <a:lnTo>
                    <a:pt x="58209" y="478896"/>
                  </a:lnTo>
                  <a:lnTo>
                    <a:pt x="55563" y="478896"/>
                  </a:lnTo>
                  <a:lnTo>
                    <a:pt x="52917" y="478896"/>
                  </a:lnTo>
                  <a:lnTo>
                    <a:pt x="50271" y="478896"/>
                  </a:lnTo>
                  <a:lnTo>
                    <a:pt x="50271" y="476250"/>
                  </a:lnTo>
                  <a:lnTo>
                    <a:pt x="55563" y="473604"/>
                  </a:lnTo>
                  <a:lnTo>
                    <a:pt x="55563" y="468312"/>
                  </a:lnTo>
                  <a:lnTo>
                    <a:pt x="55563" y="465667"/>
                  </a:lnTo>
                  <a:lnTo>
                    <a:pt x="52917" y="463021"/>
                  </a:lnTo>
                  <a:lnTo>
                    <a:pt x="52917" y="460375"/>
                  </a:lnTo>
                  <a:close/>
                  <a:moveTo>
                    <a:pt x="1270000" y="0"/>
                  </a:moveTo>
                  <a:lnTo>
                    <a:pt x="1277938" y="2646"/>
                  </a:lnTo>
                  <a:lnTo>
                    <a:pt x="1285875" y="7937"/>
                  </a:lnTo>
                  <a:lnTo>
                    <a:pt x="1285875" y="10583"/>
                  </a:lnTo>
                  <a:lnTo>
                    <a:pt x="1285875" y="13229"/>
                  </a:lnTo>
                  <a:lnTo>
                    <a:pt x="1283229" y="15875"/>
                  </a:lnTo>
                  <a:lnTo>
                    <a:pt x="1285875" y="18521"/>
                  </a:lnTo>
                  <a:lnTo>
                    <a:pt x="1291167" y="23812"/>
                  </a:lnTo>
                  <a:lnTo>
                    <a:pt x="1293813" y="26458"/>
                  </a:lnTo>
                  <a:lnTo>
                    <a:pt x="1293813" y="29104"/>
                  </a:lnTo>
                  <a:lnTo>
                    <a:pt x="1293813" y="31750"/>
                  </a:lnTo>
                  <a:lnTo>
                    <a:pt x="1285875" y="31750"/>
                  </a:lnTo>
                  <a:lnTo>
                    <a:pt x="1283229" y="31750"/>
                  </a:lnTo>
                  <a:lnTo>
                    <a:pt x="1283229" y="29104"/>
                  </a:lnTo>
                  <a:lnTo>
                    <a:pt x="1277938" y="29104"/>
                  </a:lnTo>
                  <a:lnTo>
                    <a:pt x="1275292" y="31750"/>
                  </a:lnTo>
                  <a:lnTo>
                    <a:pt x="1277938" y="34396"/>
                  </a:lnTo>
                  <a:lnTo>
                    <a:pt x="1277938" y="37042"/>
                  </a:lnTo>
                  <a:lnTo>
                    <a:pt x="1277938" y="39687"/>
                  </a:lnTo>
                  <a:lnTo>
                    <a:pt x="1275292" y="42333"/>
                  </a:lnTo>
                  <a:lnTo>
                    <a:pt x="1270000" y="44979"/>
                  </a:lnTo>
                  <a:lnTo>
                    <a:pt x="1277938" y="44979"/>
                  </a:lnTo>
                  <a:lnTo>
                    <a:pt x="1285875" y="47625"/>
                  </a:lnTo>
                  <a:lnTo>
                    <a:pt x="1285875" y="50271"/>
                  </a:lnTo>
                  <a:lnTo>
                    <a:pt x="1285875" y="52917"/>
                  </a:lnTo>
                  <a:lnTo>
                    <a:pt x="1277938" y="60854"/>
                  </a:lnTo>
                  <a:lnTo>
                    <a:pt x="1293813" y="60854"/>
                  </a:lnTo>
                  <a:lnTo>
                    <a:pt x="1299104" y="58208"/>
                  </a:lnTo>
                  <a:lnTo>
                    <a:pt x="1307042" y="52917"/>
                  </a:lnTo>
                  <a:lnTo>
                    <a:pt x="1312333" y="50271"/>
                  </a:lnTo>
                  <a:lnTo>
                    <a:pt x="1314979" y="50271"/>
                  </a:lnTo>
                  <a:lnTo>
                    <a:pt x="1322917" y="52917"/>
                  </a:lnTo>
                  <a:lnTo>
                    <a:pt x="1325563" y="55562"/>
                  </a:lnTo>
                  <a:lnTo>
                    <a:pt x="1328208" y="58208"/>
                  </a:lnTo>
                  <a:lnTo>
                    <a:pt x="1328208" y="63500"/>
                  </a:lnTo>
                  <a:lnTo>
                    <a:pt x="1322917" y="66146"/>
                  </a:lnTo>
                  <a:lnTo>
                    <a:pt x="1317625" y="71437"/>
                  </a:lnTo>
                  <a:lnTo>
                    <a:pt x="1317625" y="76729"/>
                  </a:lnTo>
                  <a:lnTo>
                    <a:pt x="1320271" y="82021"/>
                  </a:lnTo>
                  <a:lnTo>
                    <a:pt x="1320271" y="87312"/>
                  </a:lnTo>
                  <a:lnTo>
                    <a:pt x="1338792" y="76729"/>
                  </a:lnTo>
                  <a:lnTo>
                    <a:pt x="1352021" y="71437"/>
                  </a:lnTo>
                  <a:lnTo>
                    <a:pt x="1362604" y="68792"/>
                  </a:lnTo>
                  <a:lnTo>
                    <a:pt x="1370542" y="63500"/>
                  </a:lnTo>
                  <a:lnTo>
                    <a:pt x="1381125" y="58208"/>
                  </a:lnTo>
                  <a:lnTo>
                    <a:pt x="1391708" y="55562"/>
                  </a:lnTo>
                  <a:lnTo>
                    <a:pt x="1386417" y="52917"/>
                  </a:lnTo>
                  <a:lnTo>
                    <a:pt x="1383771" y="50271"/>
                  </a:lnTo>
                  <a:lnTo>
                    <a:pt x="1386417" y="47625"/>
                  </a:lnTo>
                  <a:lnTo>
                    <a:pt x="1389063" y="44979"/>
                  </a:lnTo>
                  <a:lnTo>
                    <a:pt x="1399646" y="39687"/>
                  </a:lnTo>
                  <a:lnTo>
                    <a:pt x="1407583" y="39687"/>
                  </a:lnTo>
                  <a:lnTo>
                    <a:pt x="1412875" y="39687"/>
                  </a:lnTo>
                  <a:lnTo>
                    <a:pt x="1423458" y="42333"/>
                  </a:lnTo>
                  <a:lnTo>
                    <a:pt x="1434042" y="44979"/>
                  </a:lnTo>
                  <a:lnTo>
                    <a:pt x="1441979" y="44979"/>
                  </a:lnTo>
                  <a:lnTo>
                    <a:pt x="1447271" y="47625"/>
                  </a:lnTo>
                  <a:lnTo>
                    <a:pt x="1463146" y="55562"/>
                  </a:lnTo>
                  <a:lnTo>
                    <a:pt x="1465792" y="58208"/>
                  </a:lnTo>
                  <a:lnTo>
                    <a:pt x="1463146" y="60854"/>
                  </a:lnTo>
                  <a:lnTo>
                    <a:pt x="1457854" y="60854"/>
                  </a:lnTo>
                  <a:lnTo>
                    <a:pt x="1457854" y="63500"/>
                  </a:lnTo>
                  <a:lnTo>
                    <a:pt x="1455208" y="66146"/>
                  </a:lnTo>
                  <a:lnTo>
                    <a:pt x="1447271" y="66146"/>
                  </a:lnTo>
                  <a:lnTo>
                    <a:pt x="1441979" y="66146"/>
                  </a:lnTo>
                  <a:lnTo>
                    <a:pt x="1441979" y="68792"/>
                  </a:lnTo>
                  <a:lnTo>
                    <a:pt x="1441979" y="71437"/>
                  </a:lnTo>
                  <a:lnTo>
                    <a:pt x="1441979" y="74083"/>
                  </a:lnTo>
                  <a:lnTo>
                    <a:pt x="1439333" y="76729"/>
                  </a:lnTo>
                  <a:lnTo>
                    <a:pt x="1439333" y="79375"/>
                  </a:lnTo>
                  <a:lnTo>
                    <a:pt x="1441979" y="82021"/>
                  </a:lnTo>
                  <a:lnTo>
                    <a:pt x="1441979" y="84667"/>
                  </a:lnTo>
                  <a:lnTo>
                    <a:pt x="1441979" y="87312"/>
                  </a:lnTo>
                  <a:lnTo>
                    <a:pt x="1431396" y="95250"/>
                  </a:lnTo>
                  <a:lnTo>
                    <a:pt x="1418167" y="97896"/>
                  </a:lnTo>
                  <a:lnTo>
                    <a:pt x="1410229" y="97896"/>
                  </a:lnTo>
                  <a:lnTo>
                    <a:pt x="1404938" y="97896"/>
                  </a:lnTo>
                  <a:lnTo>
                    <a:pt x="1394354" y="100542"/>
                  </a:lnTo>
                  <a:lnTo>
                    <a:pt x="1386417" y="103187"/>
                  </a:lnTo>
                  <a:lnTo>
                    <a:pt x="1381125" y="103187"/>
                  </a:lnTo>
                  <a:lnTo>
                    <a:pt x="1375833" y="103187"/>
                  </a:lnTo>
                  <a:lnTo>
                    <a:pt x="1370542" y="103187"/>
                  </a:lnTo>
                  <a:lnTo>
                    <a:pt x="1365250" y="105833"/>
                  </a:lnTo>
                  <a:lnTo>
                    <a:pt x="1362604" y="103187"/>
                  </a:lnTo>
                  <a:lnTo>
                    <a:pt x="1357313" y="97896"/>
                  </a:lnTo>
                  <a:lnTo>
                    <a:pt x="1349375" y="95250"/>
                  </a:lnTo>
                  <a:lnTo>
                    <a:pt x="1344083" y="92604"/>
                  </a:lnTo>
                  <a:lnTo>
                    <a:pt x="1342760" y="93266"/>
                  </a:lnTo>
                  <a:lnTo>
                    <a:pt x="1341438" y="92604"/>
                  </a:lnTo>
                  <a:lnTo>
                    <a:pt x="1338792" y="92604"/>
                  </a:lnTo>
                  <a:lnTo>
                    <a:pt x="1338792" y="95250"/>
                  </a:lnTo>
                  <a:lnTo>
                    <a:pt x="1342760" y="93266"/>
                  </a:lnTo>
                  <a:lnTo>
                    <a:pt x="1346729" y="95250"/>
                  </a:lnTo>
                  <a:lnTo>
                    <a:pt x="1354667" y="100542"/>
                  </a:lnTo>
                  <a:lnTo>
                    <a:pt x="1357313" y="105833"/>
                  </a:lnTo>
                  <a:lnTo>
                    <a:pt x="1357313" y="108479"/>
                  </a:lnTo>
                  <a:lnTo>
                    <a:pt x="1352021" y="108479"/>
                  </a:lnTo>
                  <a:lnTo>
                    <a:pt x="1344083" y="108479"/>
                  </a:lnTo>
                  <a:lnTo>
                    <a:pt x="1336146" y="108479"/>
                  </a:lnTo>
                  <a:lnTo>
                    <a:pt x="1333500" y="108479"/>
                  </a:lnTo>
                  <a:lnTo>
                    <a:pt x="1330854" y="103187"/>
                  </a:lnTo>
                  <a:lnTo>
                    <a:pt x="1330854" y="100542"/>
                  </a:lnTo>
                  <a:lnTo>
                    <a:pt x="1325563" y="100542"/>
                  </a:lnTo>
                  <a:lnTo>
                    <a:pt x="1320271" y="100542"/>
                  </a:lnTo>
                  <a:lnTo>
                    <a:pt x="1309688" y="103187"/>
                  </a:lnTo>
                  <a:lnTo>
                    <a:pt x="1304396" y="105833"/>
                  </a:lnTo>
                  <a:lnTo>
                    <a:pt x="1304396" y="108479"/>
                  </a:lnTo>
                  <a:lnTo>
                    <a:pt x="1312333" y="111125"/>
                  </a:lnTo>
                  <a:lnTo>
                    <a:pt x="1314979" y="111125"/>
                  </a:lnTo>
                  <a:lnTo>
                    <a:pt x="1314979" y="113771"/>
                  </a:lnTo>
                  <a:lnTo>
                    <a:pt x="1309688" y="116417"/>
                  </a:lnTo>
                  <a:lnTo>
                    <a:pt x="1293813" y="121708"/>
                  </a:lnTo>
                  <a:lnTo>
                    <a:pt x="1270000" y="127000"/>
                  </a:lnTo>
                  <a:lnTo>
                    <a:pt x="1264708" y="129646"/>
                  </a:lnTo>
                  <a:lnTo>
                    <a:pt x="1251479" y="127000"/>
                  </a:lnTo>
                  <a:lnTo>
                    <a:pt x="1246188" y="127000"/>
                  </a:lnTo>
                  <a:lnTo>
                    <a:pt x="1240896" y="124354"/>
                  </a:lnTo>
                  <a:lnTo>
                    <a:pt x="1238250" y="119062"/>
                  </a:lnTo>
                  <a:lnTo>
                    <a:pt x="1235604" y="116417"/>
                  </a:lnTo>
                  <a:lnTo>
                    <a:pt x="1232958" y="113771"/>
                  </a:lnTo>
                  <a:lnTo>
                    <a:pt x="1217083" y="113771"/>
                  </a:lnTo>
                  <a:lnTo>
                    <a:pt x="1227667" y="116417"/>
                  </a:lnTo>
                  <a:lnTo>
                    <a:pt x="1232958" y="121708"/>
                  </a:lnTo>
                  <a:lnTo>
                    <a:pt x="1238250" y="127000"/>
                  </a:lnTo>
                  <a:lnTo>
                    <a:pt x="1246188" y="129646"/>
                  </a:lnTo>
                  <a:lnTo>
                    <a:pt x="1259417" y="132292"/>
                  </a:lnTo>
                  <a:lnTo>
                    <a:pt x="1267354" y="132292"/>
                  </a:lnTo>
                  <a:lnTo>
                    <a:pt x="1270000" y="132292"/>
                  </a:lnTo>
                  <a:lnTo>
                    <a:pt x="1262063" y="137583"/>
                  </a:lnTo>
                  <a:lnTo>
                    <a:pt x="1240896" y="148167"/>
                  </a:lnTo>
                  <a:lnTo>
                    <a:pt x="1232958" y="153458"/>
                  </a:lnTo>
                  <a:lnTo>
                    <a:pt x="1222375" y="153458"/>
                  </a:lnTo>
                  <a:lnTo>
                    <a:pt x="1206500" y="153458"/>
                  </a:lnTo>
                  <a:lnTo>
                    <a:pt x="1198563" y="153458"/>
                  </a:lnTo>
                  <a:lnTo>
                    <a:pt x="1193271" y="148167"/>
                  </a:lnTo>
                  <a:lnTo>
                    <a:pt x="1190625" y="153458"/>
                  </a:lnTo>
                  <a:lnTo>
                    <a:pt x="1187979" y="156104"/>
                  </a:lnTo>
                  <a:lnTo>
                    <a:pt x="1177396" y="158750"/>
                  </a:lnTo>
                  <a:lnTo>
                    <a:pt x="1169458" y="158750"/>
                  </a:lnTo>
                  <a:lnTo>
                    <a:pt x="1158875" y="156104"/>
                  </a:lnTo>
                  <a:lnTo>
                    <a:pt x="1145646" y="153458"/>
                  </a:lnTo>
                  <a:lnTo>
                    <a:pt x="1116542" y="153458"/>
                  </a:lnTo>
                  <a:lnTo>
                    <a:pt x="1135063" y="156104"/>
                  </a:lnTo>
                  <a:lnTo>
                    <a:pt x="1135063" y="158750"/>
                  </a:lnTo>
                  <a:lnTo>
                    <a:pt x="1129771" y="161396"/>
                  </a:lnTo>
                  <a:lnTo>
                    <a:pt x="1143000" y="158750"/>
                  </a:lnTo>
                  <a:lnTo>
                    <a:pt x="1153583" y="158750"/>
                  </a:lnTo>
                  <a:lnTo>
                    <a:pt x="1158875" y="158750"/>
                  </a:lnTo>
                  <a:lnTo>
                    <a:pt x="1161521" y="164042"/>
                  </a:lnTo>
                  <a:lnTo>
                    <a:pt x="1164167" y="169333"/>
                  </a:lnTo>
                  <a:lnTo>
                    <a:pt x="1161521" y="171979"/>
                  </a:lnTo>
                  <a:lnTo>
                    <a:pt x="1153583" y="171979"/>
                  </a:lnTo>
                  <a:lnTo>
                    <a:pt x="1140354" y="171979"/>
                  </a:lnTo>
                  <a:lnTo>
                    <a:pt x="1124479" y="171979"/>
                  </a:lnTo>
                  <a:lnTo>
                    <a:pt x="1124479" y="174625"/>
                  </a:lnTo>
                  <a:lnTo>
                    <a:pt x="1129771" y="177271"/>
                  </a:lnTo>
                  <a:lnTo>
                    <a:pt x="1127125" y="179917"/>
                  </a:lnTo>
                  <a:lnTo>
                    <a:pt x="1111250" y="182562"/>
                  </a:lnTo>
                  <a:lnTo>
                    <a:pt x="1105958" y="185208"/>
                  </a:lnTo>
                  <a:lnTo>
                    <a:pt x="1100667" y="190500"/>
                  </a:lnTo>
                  <a:lnTo>
                    <a:pt x="1095375" y="190500"/>
                  </a:lnTo>
                  <a:lnTo>
                    <a:pt x="1087438" y="193146"/>
                  </a:lnTo>
                  <a:lnTo>
                    <a:pt x="1074208" y="198437"/>
                  </a:lnTo>
                  <a:lnTo>
                    <a:pt x="1066271" y="203729"/>
                  </a:lnTo>
                  <a:lnTo>
                    <a:pt x="1058333" y="206375"/>
                  </a:lnTo>
                  <a:lnTo>
                    <a:pt x="1053042" y="206375"/>
                  </a:lnTo>
                  <a:lnTo>
                    <a:pt x="1053042" y="209021"/>
                  </a:lnTo>
                  <a:lnTo>
                    <a:pt x="1047750" y="214312"/>
                  </a:lnTo>
                  <a:lnTo>
                    <a:pt x="1031875" y="219604"/>
                  </a:lnTo>
                  <a:lnTo>
                    <a:pt x="1026583" y="222250"/>
                  </a:lnTo>
                  <a:lnTo>
                    <a:pt x="1026583" y="224896"/>
                  </a:lnTo>
                  <a:lnTo>
                    <a:pt x="1026583" y="227542"/>
                  </a:lnTo>
                  <a:lnTo>
                    <a:pt x="1018646" y="227542"/>
                  </a:lnTo>
                  <a:lnTo>
                    <a:pt x="1013354" y="230187"/>
                  </a:lnTo>
                  <a:lnTo>
                    <a:pt x="1013354" y="232833"/>
                  </a:lnTo>
                  <a:lnTo>
                    <a:pt x="1008062" y="238125"/>
                  </a:lnTo>
                  <a:lnTo>
                    <a:pt x="1000125" y="243417"/>
                  </a:lnTo>
                  <a:lnTo>
                    <a:pt x="997479" y="251354"/>
                  </a:lnTo>
                  <a:lnTo>
                    <a:pt x="992187" y="256646"/>
                  </a:lnTo>
                  <a:lnTo>
                    <a:pt x="984250" y="264583"/>
                  </a:lnTo>
                  <a:lnTo>
                    <a:pt x="992187" y="264583"/>
                  </a:lnTo>
                  <a:lnTo>
                    <a:pt x="992187" y="272521"/>
                  </a:lnTo>
                  <a:lnTo>
                    <a:pt x="994833" y="269875"/>
                  </a:lnTo>
                  <a:lnTo>
                    <a:pt x="1000125" y="269875"/>
                  </a:lnTo>
                  <a:lnTo>
                    <a:pt x="1010708" y="267229"/>
                  </a:lnTo>
                  <a:lnTo>
                    <a:pt x="1016000" y="269875"/>
                  </a:lnTo>
                  <a:lnTo>
                    <a:pt x="1018646" y="272521"/>
                  </a:lnTo>
                  <a:lnTo>
                    <a:pt x="1018646" y="277812"/>
                  </a:lnTo>
                  <a:lnTo>
                    <a:pt x="1018646" y="280458"/>
                  </a:lnTo>
                  <a:lnTo>
                    <a:pt x="1018646" y="285750"/>
                  </a:lnTo>
                  <a:lnTo>
                    <a:pt x="1021292" y="291042"/>
                  </a:lnTo>
                  <a:lnTo>
                    <a:pt x="1021292" y="296333"/>
                  </a:lnTo>
                  <a:lnTo>
                    <a:pt x="1021292" y="298979"/>
                  </a:lnTo>
                  <a:lnTo>
                    <a:pt x="1010708" y="304271"/>
                  </a:lnTo>
                  <a:lnTo>
                    <a:pt x="1005417" y="304271"/>
                  </a:lnTo>
                  <a:lnTo>
                    <a:pt x="1002771" y="304271"/>
                  </a:lnTo>
                  <a:lnTo>
                    <a:pt x="994833" y="309562"/>
                  </a:lnTo>
                  <a:lnTo>
                    <a:pt x="1000125" y="306917"/>
                  </a:lnTo>
                  <a:lnTo>
                    <a:pt x="1010708" y="306917"/>
                  </a:lnTo>
                  <a:lnTo>
                    <a:pt x="1021292" y="304271"/>
                  </a:lnTo>
                  <a:lnTo>
                    <a:pt x="1034521" y="301625"/>
                  </a:lnTo>
                  <a:lnTo>
                    <a:pt x="1045104" y="298979"/>
                  </a:lnTo>
                  <a:lnTo>
                    <a:pt x="1050396" y="301625"/>
                  </a:lnTo>
                  <a:lnTo>
                    <a:pt x="1053042" y="304271"/>
                  </a:lnTo>
                  <a:lnTo>
                    <a:pt x="1055688" y="309562"/>
                  </a:lnTo>
                  <a:lnTo>
                    <a:pt x="1060979" y="312208"/>
                  </a:lnTo>
                  <a:lnTo>
                    <a:pt x="1074208" y="314854"/>
                  </a:lnTo>
                  <a:lnTo>
                    <a:pt x="1087438" y="317500"/>
                  </a:lnTo>
                  <a:lnTo>
                    <a:pt x="1092729" y="320146"/>
                  </a:lnTo>
                  <a:lnTo>
                    <a:pt x="1095375" y="322792"/>
                  </a:lnTo>
                  <a:lnTo>
                    <a:pt x="1098021" y="328083"/>
                  </a:lnTo>
                  <a:lnTo>
                    <a:pt x="1100667" y="328083"/>
                  </a:lnTo>
                  <a:lnTo>
                    <a:pt x="1103313" y="328083"/>
                  </a:lnTo>
                  <a:lnTo>
                    <a:pt x="1108604" y="330729"/>
                  </a:lnTo>
                  <a:lnTo>
                    <a:pt x="1119188" y="336021"/>
                  </a:lnTo>
                  <a:lnTo>
                    <a:pt x="1127125" y="336021"/>
                  </a:lnTo>
                  <a:lnTo>
                    <a:pt x="1132417" y="338667"/>
                  </a:lnTo>
                  <a:lnTo>
                    <a:pt x="1132417" y="343958"/>
                  </a:lnTo>
                  <a:lnTo>
                    <a:pt x="1132417" y="346604"/>
                  </a:lnTo>
                  <a:lnTo>
                    <a:pt x="1137708" y="346604"/>
                  </a:lnTo>
                  <a:lnTo>
                    <a:pt x="1150938" y="346604"/>
                  </a:lnTo>
                  <a:lnTo>
                    <a:pt x="1164167" y="346604"/>
                  </a:lnTo>
                  <a:lnTo>
                    <a:pt x="1174750" y="349250"/>
                  </a:lnTo>
                  <a:lnTo>
                    <a:pt x="1180042" y="351896"/>
                  </a:lnTo>
                  <a:lnTo>
                    <a:pt x="1187979" y="351896"/>
                  </a:lnTo>
                  <a:lnTo>
                    <a:pt x="1190625" y="351896"/>
                  </a:lnTo>
                  <a:lnTo>
                    <a:pt x="1187979" y="357188"/>
                  </a:lnTo>
                  <a:lnTo>
                    <a:pt x="1180042" y="362479"/>
                  </a:lnTo>
                  <a:lnTo>
                    <a:pt x="1180042" y="365125"/>
                  </a:lnTo>
                  <a:lnTo>
                    <a:pt x="1182688" y="367771"/>
                  </a:lnTo>
                  <a:lnTo>
                    <a:pt x="1182688" y="373063"/>
                  </a:lnTo>
                  <a:lnTo>
                    <a:pt x="1177396" y="375708"/>
                  </a:lnTo>
                  <a:lnTo>
                    <a:pt x="1174750" y="375708"/>
                  </a:lnTo>
                  <a:lnTo>
                    <a:pt x="1172104" y="375708"/>
                  </a:lnTo>
                  <a:lnTo>
                    <a:pt x="1166813" y="378354"/>
                  </a:lnTo>
                  <a:lnTo>
                    <a:pt x="1164167" y="378354"/>
                  </a:lnTo>
                  <a:lnTo>
                    <a:pt x="1153583" y="375708"/>
                  </a:lnTo>
                  <a:lnTo>
                    <a:pt x="1156229" y="378354"/>
                  </a:lnTo>
                  <a:lnTo>
                    <a:pt x="1158875" y="378354"/>
                  </a:lnTo>
                  <a:lnTo>
                    <a:pt x="1166813" y="381000"/>
                  </a:lnTo>
                  <a:lnTo>
                    <a:pt x="1172104" y="383646"/>
                  </a:lnTo>
                  <a:lnTo>
                    <a:pt x="1174750" y="383646"/>
                  </a:lnTo>
                  <a:lnTo>
                    <a:pt x="1174750" y="388938"/>
                  </a:lnTo>
                  <a:lnTo>
                    <a:pt x="1174750" y="394229"/>
                  </a:lnTo>
                  <a:lnTo>
                    <a:pt x="1174750" y="396875"/>
                  </a:lnTo>
                  <a:lnTo>
                    <a:pt x="1161521" y="396875"/>
                  </a:lnTo>
                  <a:lnTo>
                    <a:pt x="1169458" y="399521"/>
                  </a:lnTo>
                  <a:lnTo>
                    <a:pt x="1174750" y="404813"/>
                  </a:lnTo>
                  <a:lnTo>
                    <a:pt x="1177396" y="407458"/>
                  </a:lnTo>
                  <a:lnTo>
                    <a:pt x="1177396" y="412750"/>
                  </a:lnTo>
                  <a:lnTo>
                    <a:pt x="1177396" y="420688"/>
                  </a:lnTo>
                  <a:lnTo>
                    <a:pt x="1177396" y="425979"/>
                  </a:lnTo>
                  <a:lnTo>
                    <a:pt x="1180042" y="428625"/>
                  </a:lnTo>
                  <a:lnTo>
                    <a:pt x="1182688" y="431271"/>
                  </a:lnTo>
                  <a:lnTo>
                    <a:pt x="1177396" y="431271"/>
                  </a:lnTo>
                  <a:lnTo>
                    <a:pt x="1172104" y="436563"/>
                  </a:lnTo>
                  <a:lnTo>
                    <a:pt x="1166813" y="439208"/>
                  </a:lnTo>
                  <a:lnTo>
                    <a:pt x="1164167" y="444500"/>
                  </a:lnTo>
                  <a:lnTo>
                    <a:pt x="1172104" y="436563"/>
                  </a:lnTo>
                  <a:lnTo>
                    <a:pt x="1185333" y="431271"/>
                  </a:lnTo>
                  <a:lnTo>
                    <a:pt x="1187979" y="431271"/>
                  </a:lnTo>
                  <a:lnTo>
                    <a:pt x="1190625" y="431271"/>
                  </a:lnTo>
                  <a:lnTo>
                    <a:pt x="1190625" y="439208"/>
                  </a:lnTo>
                  <a:lnTo>
                    <a:pt x="1190625" y="447146"/>
                  </a:lnTo>
                  <a:lnTo>
                    <a:pt x="1190625" y="449792"/>
                  </a:lnTo>
                  <a:lnTo>
                    <a:pt x="1195917" y="447146"/>
                  </a:lnTo>
                  <a:lnTo>
                    <a:pt x="1198563" y="449792"/>
                  </a:lnTo>
                  <a:lnTo>
                    <a:pt x="1201208" y="449792"/>
                  </a:lnTo>
                  <a:lnTo>
                    <a:pt x="1201208" y="447146"/>
                  </a:lnTo>
                  <a:lnTo>
                    <a:pt x="1201208" y="444500"/>
                  </a:lnTo>
                  <a:lnTo>
                    <a:pt x="1206500" y="441854"/>
                  </a:lnTo>
                  <a:lnTo>
                    <a:pt x="1219729" y="439208"/>
                  </a:lnTo>
                  <a:lnTo>
                    <a:pt x="1222375" y="439208"/>
                  </a:lnTo>
                  <a:lnTo>
                    <a:pt x="1225021" y="441854"/>
                  </a:lnTo>
                  <a:lnTo>
                    <a:pt x="1227667" y="449792"/>
                  </a:lnTo>
                  <a:lnTo>
                    <a:pt x="1230313" y="452438"/>
                  </a:lnTo>
                  <a:lnTo>
                    <a:pt x="1235604" y="455083"/>
                  </a:lnTo>
                  <a:lnTo>
                    <a:pt x="1230313" y="449792"/>
                  </a:lnTo>
                  <a:lnTo>
                    <a:pt x="1230313" y="447146"/>
                  </a:lnTo>
                  <a:lnTo>
                    <a:pt x="1232958" y="447146"/>
                  </a:lnTo>
                  <a:lnTo>
                    <a:pt x="1240896" y="447146"/>
                  </a:lnTo>
                  <a:lnTo>
                    <a:pt x="1232958" y="441854"/>
                  </a:lnTo>
                  <a:lnTo>
                    <a:pt x="1230313" y="439208"/>
                  </a:lnTo>
                  <a:lnTo>
                    <a:pt x="1230313" y="433917"/>
                  </a:lnTo>
                  <a:lnTo>
                    <a:pt x="1232958" y="431271"/>
                  </a:lnTo>
                  <a:lnTo>
                    <a:pt x="1235604" y="431271"/>
                  </a:lnTo>
                  <a:lnTo>
                    <a:pt x="1246188" y="428625"/>
                  </a:lnTo>
                  <a:lnTo>
                    <a:pt x="1248833" y="425979"/>
                  </a:lnTo>
                  <a:lnTo>
                    <a:pt x="1254125" y="423333"/>
                  </a:lnTo>
                  <a:lnTo>
                    <a:pt x="1256771" y="418042"/>
                  </a:lnTo>
                  <a:lnTo>
                    <a:pt x="1256771" y="412750"/>
                  </a:lnTo>
                  <a:lnTo>
                    <a:pt x="1256771" y="404813"/>
                  </a:lnTo>
                  <a:lnTo>
                    <a:pt x="1259417" y="402167"/>
                  </a:lnTo>
                  <a:lnTo>
                    <a:pt x="1262063" y="396875"/>
                  </a:lnTo>
                  <a:lnTo>
                    <a:pt x="1259417" y="381000"/>
                  </a:lnTo>
                  <a:lnTo>
                    <a:pt x="1259417" y="375708"/>
                  </a:lnTo>
                  <a:lnTo>
                    <a:pt x="1256771" y="375708"/>
                  </a:lnTo>
                  <a:lnTo>
                    <a:pt x="1254125" y="373063"/>
                  </a:lnTo>
                  <a:lnTo>
                    <a:pt x="1251479" y="370417"/>
                  </a:lnTo>
                  <a:lnTo>
                    <a:pt x="1248833" y="367771"/>
                  </a:lnTo>
                  <a:lnTo>
                    <a:pt x="1246188" y="367771"/>
                  </a:lnTo>
                  <a:lnTo>
                    <a:pt x="1248833" y="362479"/>
                  </a:lnTo>
                  <a:lnTo>
                    <a:pt x="1259417" y="362479"/>
                  </a:lnTo>
                  <a:lnTo>
                    <a:pt x="1285875" y="357188"/>
                  </a:lnTo>
                  <a:lnTo>
                    <a:pt x="1299104" y="354542"/>
                  </a:lnTo>
                  <a:lnTo>
                    <a:pt x="1314979" y="346604"/>
                  </a:lnTo>
                  <a:lnTo>
                    <a:pt x="1330854" y="338667"/>
                  </a:lnTo>
                  <a:lnTo>
                    <a:pt x="1346729" y="325438"/>
                  </a:lnTo>
                  <a:lnTo>
                    <a:pt x="1359958" y="309562"/>
                  </a:lnTo>
                  <a:lnTo>
                    <a:pt x="1365250" y="296333"/>
                  </a:lnTo>
                  <a:lnTo>
                    <a:pt x="1365250" y="288396"/>
                  </a:lnTo>
                  <a:lnTo>
                    <a:pt x="1359958" y="280458"/>
                  </a:lnTo>
                  <a:lnTo>
                    <a:pt x="1349375" y="272521"/>
                  </a:lnTo>
                  <a:lnTo>
                    <a:pt x="1346729" y="269875"/>
                  </a:lnTo>
                  <a:lnTo>
                    <a:pt x="1346729" y="267229"/>
                  </a:lnTo>
                  <a:lnTo>
                    <a:pt x="1349375" y="264583"/>
                  </a:lnTo>
                  <a:lnTo>
                    <a:pt x="1349375" y="259292"/>
                  </a:lnTo>
                  <a:lnTo>
                    <a:pt x="1352021" y="256646"/>
                  </a:lnTo>
                  <a:lnTo>
                    <a:pt x="1367896" y="251354"/>
                  </a:lnTo>
                  <a:lnTo>
                    <a:pt x="1375833" y="248708"/>
                  </a:lnTo>
                  <a:lnTo>
                    <a:pt x="1375833" y="246062"/>
                  </a:lnTo>
                  <a:lnTo>
                    <a:pt x="1381125" y="243417"/>
                  </a:lnTo>
                  <a:lnTo>
                    <a:pt x="1386417" y="240771"/>
                  </a:lnTo>
                  <a:lnTo>
                    <a:pt x="1386417" y="238125"/>
                  </a:lnTo>
                  <a:lnTo>
                    <a:pt x="1383771" y="238125"/>
                  </a:lnTo>
                  <a:lnTo>
                    <a:pt x="1383771" y="235479"/>
                  </a:lnTo>
                  <a:lnTo>
                    <a:pt x="1386417" y="232833"/>
                  </a:lnTo>
                  <a:lnTo>
                    <a:pt x="1391708" y="230187"/>
                  </a:lnTo>
                  <a:lnTo>
                    <a:pt x="1399646" y="222250"/>
                  </a:lnTo>
                  <a:lnTo>
                    <a:pt x="1397000" y="219604"/>
                  </a:lnTo>
                  <a:lnTo>
                    <a:pt x="1394354" y="219604"/>
                  </a:lnTo>
                  <a:lnTo>
                    <a:pt x="1394354" y="216958"/>
                  </a:lnTo>
                  <a:lnTo>
                    <a:pt x="1397000" y="216958"/>
                  </a:lnTo>
                  <a:lnTo>
                    <a:pt x="1402292" y="211667"/>
                  </a:lnTo>
                  <a:lnTo>
                    <a:pt x="1404938" y="209021"/>
                  </a:lnTo>
                  <a:lnTo>
                    <a:pt x="1407583" y="203729"/>
                  </a:lnTo>
                  <a:lnTo>
                    <a:pt x="1410229" y="193146"/>
                  </a:lnTo>
                  <a:lnTo>
                    <a:pt x="1412875" y="185208"/>
                  </a:lnTo>
                  <a:lnTo>
                    <a:pt x="1418167" y="182562"/>
                  </a:lnTo>
                  <a:lnTo>
                    <a:pt x="1420813" y="179917"/>
                  </a:lnTo>
                  <a:lnTo>
                    <a:pt x="1434042" y="177271"/>
                  </a:lnTo>
                  <a:lnTo>
                    <a:pt x="1447271" y="177271"/>
                  </a:lnTo>
                  <a:lnTo>
                    <a:pt x="1473729" y="185208"/>
                  </a:lnTo>
                  <a:lnTo>
                    <a:pt x="1484313" y="187854"/>
                  </a:lnTo>
                  <a:lnTo>
                    <a:pt x="1492250" y="187854"/>
                  </a:lnTo>
                  <a:lnTo>
                    <a:pt x="1502833" y="182562"/>
                  </a:lnTo>
                  <a:lnTo>
                    <a:pt x="1505479" y="179917"/>
                  </a:lnTo>
                  <a:lnTo>
                    <a:pt x="1513417" y="182562"/>
                  </a:lnTo>
                  <a:lnTo>
                    <a:pt x="1521354" y="185208"/>
                  </a:lnTo>
                  <a:lnTo>
                    <a:pt x="1531937" y="193146"/>
                  </a:lnTo>
                  <a:lnTo>
                    <a:pt x="1531937" y="201083"/>
                  </a:lnTo>
                  <a:lnTo>
                    <a:pt x="1537229" y="206375"/>
                  </a:lnTo>
                  <a:lnTo>
                    <a:pt x="1539875" y="206375"/>
                  </a:lnTo>
                  <a:lnTo>
                    <a:pt x="1545167" y="209021"/>
                  </a:lnTo>
                  <a:lnTo>
                    <a:pt x="1550458" y="214312"/>
                  </a:lnTo>
                  <a:lnTo>
                    <a:pt x="1555750" y="211667"/>
                  </a:lnTo>
                  <a:lnTo>
                    <a:pt x="1558396" y="209021"/>
                  </a:lnTo>
                  <a:lnTo>
                    <a:pt x="1561042" y="209021"/>
                  </a:lnTo>
                  <a:lnTo>
                    <a:pt x="1563687" y="211667"/>
                  </a:lnTo>
                  <a:lnTo>
                    <a:pt x="1563687" y="214312"/>
                  </a:lnTo>
                  <a:lnTo>
                    <a:pt x="1561042" y="216958"/>
                  </a:lnTo>
                  <a:lnTo>
                    <a:pt x="1563687" y="219604"/>
                  </a:lnTo>
                  <a:lnTo>
                    <a:pt x="1566333" y="222250"/>
                  </a:lnTo>
                  <a:lnTo>
                    <a:pt x="1571625" y="219604"/>
                  </a:lnTo>
                  <a:lnTo>
                    <a:pt x="1576917" y="216958"/>
                  </a:lnTo>
                  <a:lnTo>
                    <a:pt x="1579562" y="216958"/>
                  </a:lnTo>
                  <a:lnTo>
                    <a:pt x="1582208" y="219604"/>
                  </a:lnTo>
                  <a:lnTo>
                    <a:pt x="1582208" y="222250"/>
                  </a:lnTo>
                  <a:lnTo>
                    <a:pt x="1576917" y="224896"/>
                  </a:lnTo>
                  <a:lnTo>
                    <a:pt x="1568979" y="227542"/>
                  </a:lnTo>
                  <a:lnTo>
                    <a:pt x="1563687" y="230187"/>
                  </a:lnTo>
                  <a:lnTo>
                    <a:pt x="1561042" y="230187"/>
                  </a:lnTo>
                  <a:lnTo>
                    <a:pt x="1563687" y="235479"/>
                  </a:lnTo>
                  <a:lnTo>
                    <a:pt x="1566333" y="238125"/>
                  </a:lnTo>
                  <a:lnTo>
                    <a:pt x="1550458" y="243417"/>
                  </a:lnTo>
                  <a:lnTo>
                    <a:pt x="1555750" y="243417"/>
                  </a:lnTo>
                  <a:lnTo>
                    <a:pt x="1558396" y="243417"/>
                  </a:lnTo>
                  <a:lnTo>
                    <a:pt x="1561042" y="246062"/>
                  </a:lnTo>
                  <a:lnTo>
                    <a:pt x="1561042" y="251354"/>
                  </a:lnTo>
                  <a:lnTo>
                    <a:pt x="1558396" y="254000"/>
                  </a:lnTo>
                  <a:lnTo>
                    <a:pt x="1547812" y="256646"/>
                  </a:lnTo>
                  <a:lnTo>
                    <a:pt x="1539875" y="261937"/>
                  </a:lnTo>
                  <a:lnTo>
                    <a:pt x="1537229" y="264583"/>
                  </a:lnTo>
                  <a:lnTo>
                    <a:pt x="1537229" y="267229"/>
                  </a:lnTo>
                  <a:lnTo>
                    <a:pt x="1550458" y="264583"/>
                  </a:lnTo>
                  <a:lnTo>
                    <a:pt x="1561042" y="264583"/>
                  </a:lnTo>
                  <a:lnTo>
                    <a:pt x="1563687" y="267229"/>
                  </a:lnTo>
                  <a:lnTo>
                    <a:pt x="1561042" y="272521"/>
                  </a:lnTo>
                  <a:lnTo>
                    <a:pt x="1550458" y="280458"/>
                  </a:lnTo>
                  <a:lnTo>
                    <a:pt x="1545167" y="280458"/>
                  </a:lnTo>
                  <a:lnTo>
                    <a:pt x="1542521" y="280458"/>
                  </a:lnTo>
                  <a:lnTo>
                    <a:pt x="1542521" y="275167"/>
                  </a:lnTo>
                  <a:lnTo>
                    <a:pt x="1537229" y="280458"/>
                  </a:lnTo>
                  <a:lnTo>
                    <a:pt x="1529292" y="285750"/>
                  </a:lnTo>
                  <a:lnTo>
                    <a:pt x="1537229" y="285750"/>
                  </a:lnTo>
                  <a:lnTo>
                    <a:pt x="1539875" y="288396"/>
                  </a:lnTo>
                  <a:lnTo>
                    <a:pt x="1539875" y="293687"/>
                  </a:lnTo>
                  <a:lnTo>
                    <a:pt x="1553104" y="283104"/>
                  </a:lnTo>
                  <a:lnTo>
                    <a:pt x="1566333" y="277812"/>
                  </a:lnTo>
                  <a:lnTo>
                    <a:pt x="1576917" y="275167"/>
                  </a:lnTo>
                  <a:lnTo>
                    <a:pt x="1576917" y="277812"/>
                  </a:lnTo>
                  <a:lnTo>
                    <a:pt x="1576917" y="280458"/>
                  </a:lnTo>
                  <a:lnTo>
                    <a:pt x="1576917" y="285750"/>
                  </a:lnTo>
                  <a:lnTo>
                    <a:pt x="1579562" y="285750"/>
                  </a:lnTo>
                  <a:lnTo>
                    <a:pt x="1584854" y="285750"/>
                  </a:lnTo>
                  <a:lnTo>
                    <a:pt x="1584854" y="288396"/>
                  </a:lnTo>
                  <a:lnTo>
                    <a:pt x="1590146" y="280458"/>
                  </a:lnTo>
                  <a:lnTo>
                    <a:pt x="1598083" y="275167"/>
                  </a:lnTo>
                  <a:lnTo>
                    <a:pt x="1606021" y="272521"/>
                  </a:lnTo>
                  <a:lnTo>
                    <a:pt x="1613958" y="267229"/>
                  </a:lnTo>
                  <a:lnTo>
                    <a:pt x="1616604" y="264583"/>
                  </a:lnTo>
                  <a:lnTo>
                    <a:pt x="1619250" y="267229"/>
                  </a:lnTo>
                  <a:lnTo>
                    <a:pt x="1619250" y="272521"/>
                  </a:lnTo>
                  <a:lnTo>
                    <a:pt x="1619250" y="275167"/>
                  </a:lnTo>
                  <a:lnTo>
                    <a:pt x="1621896" y="275167"/>
                  </a:lnTo>
                  <a:lnTo>
                    <a:pt x="1621896" y="272521"/>
                  </a:lnTo>
                  <a:lnTo>
                    <a:pt x="1624542" y="267229"/>
                  </a:lnTo>
                  <a:lnTo>
                    <a:pt x="1627187" y="264583"/>
                  </a:lnTo>
                  <a:lnTo>
                    <a:pt x="1635125" y="259292"/>
                  </a:lnTo>
                  <a:lnTo>
                    <a:pt x="1640417" y="259292"/>
                  </a:lnTo>
                  <a:lnTo>
                    <a:pt x="1643062" y="256646"/>
                  </a:lnTo>
                  <a:lnTo>
                    <a:pt x="1643062" y="251354"/>
                  </a:lnTo>
                  <a:lnTo>
                    <a:pt x="1643062" y="246062"/>
                  </a:lnTo>
                  <a:lnTo>
                    <a:pt x="1643062" y="243417"/>
                  </a:lnTo>
                  <a:lnTo>
                    <a:pt x="1645708" y="243417"/>
                  </a:lnTo>
                  <a:lnTo>
                    <a:pt x="1653646" y="235479"/>
                  </a:lnTo>
                  <a:lnTo>
                    <a:pt x="1658937" y="230187"/>
                  </a:lnTo>
                  <a:lnTo>
                    <a:pt x="1664229" y="224896"/>
                  </a:lnTo>
                  <a:lnTo>
                    <a:pt x="1666875" y="224896"/>
                  </a:lnTo>
                  <a:lnTo>
                    <a:pt x="1666875" y="227542"/>
                  </a:lnTo>
                  <a:lnTo>
                    <a:pt x="1672167" y="232833"/>
                  </a:lnTo>
                  <a:lnTo>
                    <a:pt x="1677458" y="235479"/>
                  </a:lnTo>
                  <a:lnTo>
                    <a:pt x="1680104" y="238125"/>
                  </a:lnTo>
                  <a:lnTo>
                    <a:pt x="1680104" y="240771"/>
                  </a:lnTo>
                  <a:lnTo>
                    <a:pt x="1680104" y="243417"/>
                  </a:lnTo>
                  <a:lnTo>
                    <a:pt x="1680104" y="246062"/>
                  </a:lnTo>
                  <a:lnTo>
                    <a:pt x="1682750" y="248708"/>
                  </a:lnTo>
                  <a:lnTo>
                    <a:pt x="1682750" y="251354"/>
                  </a:lnTo>
                  <a:lnTo>
                    <a:pt x="1682750" y="256646"/>
                  </a:lnTo>
                  <a:lnTo>
                    <a:pt x="1685396" y="256646"/>
                  </a:lnTo>
                  <a:lnTo>
                    <a:pt x="1688042" y="259292"/>
                  </a:lnTo>
                  <a:lnTo>
                    <a:pt x="1688042" y="264583"/>
                  </a:lnTo>
                  <a:lnTo>
                    <a:pt x="1688042" y="267229"/>
                  </a:lnTo>
                  <a:lnTo>
                    <a:pt x="1688042" y="269875"/>
                  </a:lnTo>
                  <a:lnTo>
                    <a:pt x="1693333" y="272521"/>
                  </a:lnTo>
                  <a:lnTo>
                    <a:pt x="1695979" y="277812"/>
                  </a:lnTo>
                  <a:lnTo>
                    <a:pt x="1695979" y="280458"/>
                  </a:lnTo>
                  <a:lnTo>
                    <a:pt x="1693333" y="285750"/>
                  </a:lnTo>
                  <a:lnTo>
                    <a:pt x="1701271" y="288396"/>
                  </a:lnTo>
                  <a:lnTo>
                    <a:pt x="1703917" y="291042"/>
                  </a:lnTo>
                  <a:lnTo>
                    <a:pt x="1703917" y="293687"/>
                  </a:lnTo>
                  <a:lnTo>
                    <a:pt x="1703917" y="296333"/>
                  </a:lnTo>
                  <a:lnTo>
                    <a:pt x="1695979" y="301625"/>
                  </a:lnTo>
                  <a:lnTo>
                    <a:pt x="1680104" y="306917"/>
                  </a:lnTo>
                  <a:lnTo>
                    <a:pt x="1688042" y="306917"/>
                  </a:lnTo>
                  <a:lnTo>
                    <a:pt x="1703917" y="304271"/>
                  </a:lnTo>
                  <a:lnTo>
                    <a:pt x="1706562" y="304271"/>
                  </a:lnTo>
                  <a:lnTo>
                    <a:pt x="1709208" y="304271"/>
                  </a:lnTo>
                  <a:lnTo>
                    <a:pt x="1706562" y="309562"/>
                  </a:lnTo>
                  <a:lnTo>
                    <a:pt x="1701271" y="314854"/>
                  </a:lnTo>
                  <a:lnTo>
                    <a:pt x="1701271" y="320146"/>
                  </a:lnTo>
                  <a:lnTo>
                    <a:pt x="1703917" y="322792"/>
                  </a:lnTo>
                  <a:lnTo>
                    <a:pt x="1706562" y="325438"/>
                  </a:lnTo>
                  <a:lnTo>
                    <a:pt x="1709208" y="328083"/>
                  </a:lnTo>
                  <a:lnTo>
                    <a:pt x="1709208" y="336021"/>
                  </a:lnTo>
                  <a:lnTo>
                    <a:pt x="1709208" y="343958"/>
                  </a:lnTo>
                  <a:lnTo>
                    <a:pt x="1711854" y="341313"/>
                  </a:lnTo>
                  <a:lnTo>
                    <a:pt x="1717146" y="341313"/>
                  </a:lnTo>
                  <a:lnTo>
                    <a:pt x="1719792" y="343958"/>
                  </a:lnTo>
                  <a:lnTo>
                    <a:pt x="1719792" y="346604"/>
                  </a:lnTo>
                  <a:lnTo>
                    <a:pt x="1719792" y="349250"/>
                  </a:lnTo>
                  <a:lnTo>
                    <a:pt x="1725083" y="349250"/>
                  </a:lnTo>
                  <a:lnTo>
                    <a:pt x="1730375" y="349250"/>
                  </a:lnTo>
                  <a:lnTo>
                    <a:pt x="1730375" y="351896"/>
                  </a:lnTo>
                  <a:lnTo>
                    <a:pt x="1735667" y="354542"/>
                  </a:lnTo>
                  <a:lnTo>
                    <a:pt x="1740958" y="354542"/>
                  </a:lnTo>
                  <a:lnTo>
                    <a:pt x="1740958" y="357188"/>
                  </a:lnTo>
                  <a:lnTo>
                    <a:pt x="1743604" y="359833"/>
                  </a:lnTo>
                  <a:lnTo>
                    <a:pt x="1748896" y="359833"/>
                  </a:lnTo>
                  <a:lnTo>
                    <a:pt x="1764771" y="362479"/>
                  </a:lnTo>
                  <a:lnTo>
                    <a:pt x="1767417" y="365125"/>
                  </a:lnTo>
                  <a:lnTo>
                    <a:pt x="1759479" y="367771"/>
                  </a:lnTo>
                  <a:lnTo>
                    <a:pt x="1735667" y="370417"/>
                  </a:lnTo>
                  <a:lnTo>
                    <a:pt x="1725083" y="373063"/>
                  </a:lnTo>
                  <a:lnTo>
                    <a:pt x="1711854" y="375708"/>
                  </a:lnTo>
                  <a:lnTo>
                    <a:pt x="1701271" y="375708"/>
                  </a:lnTo>
                  <a:lnTo>
                    <a:pt x="1701271" y="378354"/>
                  </a:lnTo>
                  <a:lnTo>
                    <a:pt x="1688042" y="386292"/>
                  </a:lnTo>
                  <a:lnTo>
                    <a:pt x="1701271" y="386292"/>
                  </a:lnTo>
                  <a:lnTo>
                    <a:pt x="1714500" y="383646"/>
                  </a:lnTo>
                  <a:lnTo>
                    <a:pt x="1738312" y="375708"/>
                  </a:lnTo>
                  <a:lnTo>
                    <a:pt x="1754187" y="373063"/>
                  </a:lnTo>
                  <a:lnTo>
                    <a:pt x="1759479" y="373063"/>
                  </a:lnTo>
                  <a:lnTo>
                    <a:pt x="1767417" y="375708"/>
                  </a:lnTo>
                  <a:lnTo>
                    <a:pt x="1770062" y="378354"/>
                  </a:lnTo>
                  <a:lnTo>
                    <a:pt x="1767417" y="381000"/>
                  </a:lnTo>
                  <a:lnTo>
                    <a:pt x="1764771" y="381000"/>
                  </a:lnTo>
                  <a:lnTo>
                    <a:pt x="1767417" y="383646"/>
                  </a:lnTo>
                  <a:lnTo>
                    <a:pt x="1770062" y="383646"/>
                  </a:lnTo>
                  <a:lnTo>
                    <a:pt x="1775354" y="383646"/>
                  </a:lnTo>
                  <a:lnTo>
                    <a:pt x="1780646" y="381000"/>
                  </a:lnTo>
                  <a:lnTo>
                    <a:pt x="1785937" y="383646"/>
                  </a:lnTo>
                  <a:lnTo>
                    <a:pt x="1791229" y="386292"/>
                  </a:lnTo>
                  <a:lnTo>
                    <a:pt x="1791229" y="391583"/>
                  </a:lnTo>
                  <a:lnTo>
                    <a:pt x="1785937" y="394229"/>
                  </a:lnTo>
                  <a:lnTo>
                    <a:pt x="1783292" y="396875"/>
                  </a:lnTo>
                  <a:lnTo>
                    <a:pt x="1785937" y="402167"/>
                  </a:lnTo>
                  <a:lnTo>
                    <a:pt x="1788583" y="404813"/>
                  </a:lnTo>
                  <a:lnTo>
                    <a:pt x="1785937" y="404813"/>
                  </a:lnTo>
                  <a:lnTo>
                    <a:pt x="1788583" y="407458"/>
                  </a:lnTo>
                  <a:lnTo>
                    <a:pt x="1791229" y="410104"/>
                  </a:lnTo>
                  <a:lnTo>
                    <a:pt x="1791229" y="412750"/>
                  </a:lnTo>
                  <a:lnTo>
                    <a:pt x="1791229" y="418042"/>
                  </a:lnTo>
                  <a:lnTo>
                    <a:pt x="1785937" y="420688"/>
                  </a:lnTo>
                  <a:lnTo>
                    <a:pt x="1778000" y="425979"/>
                  </a:lnTo>
                  <a:lnTo>
                    <a:pt x="1767417" y="431271"/>
                  </a:lnTo>
                  <a:lnTo>
                    <a:pt x="1762125" y="428625"/>
                  </a:lnTo>
                  <a:lnTo>
                    <a:pt x="1759479" y="428625"/>
                  </a:lnTo>
                  <a:lnTo>
                    <a:pt x="1743604" y="436563"/>
                  </a:lnTo>
                  <a:lnTo>
                    <a:pt x="1730375" y="441854"/>
                  </a:lnTo>
                  <a:lnTo>
                    <a:pt x="1727729" y="441854"/>
                  </a:lnTo>
                  <a:lnTo>
                    <a:pt x="1727729" y="444500"/>
                  </a:lnTo>
                  <a:lnTo>
                    <a:pt x="1727729" y="447146"/>
                  </a:lnTo>
                  <a:lnTo>
                    <a:pt x="1725083" y="447146"/>
                  </a:lnTo>
                  <a:lnTo>
                    <a:pt x="1722437" y="447146"/>
                  </a:lnTo>
                  <a:lnTo>
                    <a:pt x="1717146" y="452438"/>
                  </a:lnTo>
                  <a:lnTo>
                    <a:pt x="1714500" y="455083"/>
                  </a:lnTo>
                  <a:lnTo>
                    <a:pt x="1711854" y="455083"/>
                  </a:lnTo>
                  <a:lnTo>
                    <a:pt x="1706562" y="455083"/>
                  </a:lnTo>
                  <a:lnTo>
                    <a:pt x="1685396" y="463021"/>
                  </a:lnTo>
                  <a:lnTo>
                    <a:pt x="1666875" y="468313"/>
                  </a:lnTo>
                  <a:lnTo>
                    <a:pt x="1658937" y="468313"/>
                  </a:lnTo>
                  <a:lnTo>
                    <a:pt x="1651000" y="465667"/>
                  </a:lnTo>
                  <a:lnTo>
                    <a:pt x="1632479" y="468313"/>
                  </a:lnTo>
                  <a:lnTo>
                    <a:pt x="1621896" y="468313"/>
                  </a:lnTo>
                  <a:lnTo>
                    <a:pt x="1616604" y="468313"/>
                  </a:lnTo>
                  <a:lnTo>
                    <a:pt x="1606021" y="465667"/>
                  </a:lnTo>
                  <a:lnTo>
                    <a:pt x="1571625" y="465667"/>
                  </a:lnTo>
                  <a:lnTo>
                    <a:pt x="1521354" y="470959"/>
                  </a:lnTo>
                  <a:lnTo>
                    <a:pt x="1513417" y="473604"/>
                  </a:lnTo>
                  <a:lnTo>
                    <a:pt x="1510771" y="476250"/>
                  </a:lnTo>
                  <a:lnTo>
                    <a:pt x="1510771" y="478896"/>
                  </a:lnTo>
                  <a:lnTo>
                    <a:pt x="1508125" y="484188"/>
                  </a:lnTo>
                  <a:lnTo>
                    <a:pt x="1502833" y="486834"/>
                  </a:lnTo>
                  <a:lnTo>
                    <a:pt x="1481667" y="489479"/>
                  </a:lnTo>
                  <a:lnTo>
                    <a:pt x="1473729" y="492125"/>
                  </a:lnTo>
                  <a:lnTo>
                    <a:pt x="1468438" y="497417"/>
                  </a:lnTo>
                  <a:lnTo>
                    <a:pt x="1465792" y="500063"/>
                  </a:lnTo>
                  <a:lnTo>
                    <a:pt x="1460500" y="497417"/>
                  </a:lnTo>
                  <a:lnTo>
                    <a:pt x="1457854" y="497417"/>
                  </a:lnTo>
                  <a:lnTo>
                    <a:pt x="1455208" y="500063"/>
                  </a:lnTo>
                  <a:lnTo>
                    <a:pt x="1452563" y="502709"/>
                  </a:lnTo>
                  <a:lnTo>
                    <a:pt x="1447271" y="505354"/>
                  </a:lnTo>
                  <a:lnTo>
                    <a:pt x="1439333" y="508000"/>
                  </a:lnTo>
                  <a:lnTo>
                    <a:pt x="1431396" y="510646"/>
                  </a:lnTo>
                  <a:lnTo>
                    <a:pt x="1415521" y="523875"/>
                  </a:lnTo>
                  <a:lnTo>
                    <a:pt x="1399646" y="534459"/>
                  </a:lnTo>
                  <a:lnTo>
                    <a:pt x="1386417" y="542396"/>
                  </a:lnTo>
                  <a:lnTo>
                    <a:pt x="1378479" y="545042"/>
                  </a:lnTo>
                  <a:lnTo>
                    <a:pt x="1375833" y="547688"/>
                  </a:lnTo>
                  <a:lnTo>
                    <a:pt x="1370542" y="552979"/>
                  </a:lnTo>
                  <a:lnTo>
                    <a:pt x="1359958" y="560917"/>
                  </a:lnTo>
                  <a:lnTo>
                    <a:pt x="1373188" y="555625"/>
                  </a:lnTo>
                  <a:lnTo>
                    <a:pt x="1391708" y="545042"/>
                  </a:lnTo>
                  <a:lnTo>
                    <a:pt x="1412875" y="531813"/>
                  </a:lnTo>
                  <a:lnTo>
                    <a:pt x="1447271" y="518584"/>
                  </a:lnTo>
                  <a:lnTo>
                    <a:pt x="1481667" y="508000"/>
                  </a:lnTo>
                  <a:lnTo>
                    <a:pt x="1510771" y="500063"/>
                  </a:lnTo>
                  <a:lnTo>
                    <a:pt x="1529292" y="497417"/>
                  </a:lnTo>
                  <a:lnTo>
                    <a:pt x="1539875" y="500063"/>
                  </a:lnTo>
                  <a:lnTo>
                    <a:pt x="1547812" y="502709"/>
                  </a:lnTo>
                  <a:lnTo>
                    <a:pt x="1550458" y="508000"/>
                  </a:lnTo>
                  <a:lnTo>
                    <a:pt x="1547812" y="510646"/>
                  </a:lnTo>
                  <a:lnTo>
                    <a:pt x="1547812" y="508000"/>
                  </a:lnTo>
                  <a:lnTo>
                    <a:pt x="1545167" y="508000"/>
                  </a:lnTo>
                  <a:lnTo>
                    <a:pt x="1545167" y="510646"/>
                  </a:lnTo>
                  <a:lnTo>
                    <a:pt x="1545167" y="513292"/>
                  </a:lnTo>
                  <a:lnTo>
                    <a:pt x="1547812" y="513292"/>
                  </a:lnTo>
                  <a:lnTo>
                    <a:pt x="1547812" y="515938"/>
                  </a:lnTo>
                  <a:lnTo>
                    <a:pt x="1542521" y="518584"/>
                  </a:lnTo>
                  <a:lnTo>
                    <a:pt x="1539875" y="518584"/>
                  </a:lnTo>
                  <a:lnTo>
                    <a:pt x="1531937" y="518584"/>
                  </a:lnTo>
                  <a:lnTo>
                    <a:pt x="1524000" y="523875"/>
                  </a:lnTo>
                  <a:lnTo>
                    <a:pt x="1516063" y="526521"/>
                  </a:lnTo>
                  <a:lnTo>
                    <a:pt x="1510771" y="526521"/>
                  </a:lnTo>
                  <a:lnTo>
                    <a:pt x="1505479" y="526521"/>
                  </a:lnTo>
                  <a:lnTo>
                    <a:pt x="1497542" y="531813"/>
                  </a:lnTo>
                  <a:lnTo>
                    <a:pt x="1505479" y="531813"/>
                  </a:lnTo>
                  <a:lnTo>
                    <a:pt x="1508125" y="531813"/>
                  </a:lnTo>
                  <a:lnTo>
                    <a:pt x="1516063" y="531813"/>
                  </a:lnTo>
                  <a:lnTo>
                    <a:pt x="1518708" y="531813"/>
                  </a:lnTo>
                  <a:lnTo>
                    <a:pt x="1521354" y="534459"/>
                  </a:lnTo>
                  <a:lnTo>
                    <a:pt x="1521354" y="537104"/>
                  </a:lnTo>
                  <a:lnTo>
                    <a:pt x="1521354" y="539750"/>
                  </a:lnTo>
                  <a:lnTo>
                    <a:pt x="1516063" y="545042"/>
                  </a:lnTo>
                  <a:lnTo>
                    <a:pt x="1508125" y="547688"/>
                  </a:lnTo>
                  <a:lnTo>
                    <a:pt x="1513417" y="550334"/>
                  </a:lnTo>
                  <a:lnTo>
                    <a:pt x="1516063" y="555625"/>
                  </a:lnTo>
                  <a:lnTo>
                    <a:pt x="1521354" y="566209"/>
                  </a:lnTo>
                  <a:lnTo>
                    <a:pt x="1524000" y="576792"/>
                  </a:lnTo>
                  <a:lnTo>
                    <a:pt x="1531937" y="579438"/>
                  </a:lnTo>
                  <a:lnTo>
                    <a:pt x="1537229" y="582084"/>
                  </a:lnTo>
                  <a:lnTo>
                    <a:pt x="1539875" y="587375"/>
                  </a:lnTo>
                  <a:lnTo>
                    <a:pt x="1550458" y="590021"/>
                  </a:lnTo>
                  <a:lnTo>
                    <a:pt x="1558396" y="590021"/>
                  </a:lnTo>
                  <a:lnTo>
                    <a:pt x="1561042" y="592667"/>
                  </a:lnTo>
                  <a:lnTo>
                    <a:pt x="1561042" y="595313"/>
                  </a:lnTo>
                  <a:lnTo>
                    <a:pt x="1568979" y="592667"/>
                  </a:lnTo>
                  <a:lnTo>
                    <a:pt x="1576917" y="590021"/>
                  </a:lnTo>
                  <a:lnTo>
                    <a:pt x="1576917" y="592667"/>
                  </a:lnTo>
                  <a:lnTo>
                    <a:pt x="1576917" y="595313"/>
                  </a:lnTo>
                  <a:lnTo>
                    <a:pt x="1582208" y="592667"/>
                  </a:lnTo>
                  <a:lnTo>
                    <a:pt x="1587500" y="592667"/>
                  </a:lnTo>
                  <a:lnTo>
                    <a:pt x="1592792" y="592667"/>
                  </a:lnTo>
                  <a:lnTo>
                    <a:pt x="1592792" y="595313"/>
                  </a:lnTo>
                  <a:lnTo>
                    <a:pt x="1590146" y="595313"/>
                  </a:lnTo>
                  <a:lnTo>
                    <a:pt x="1595437" y="597959"/>
                  </a:lnTo>
                  <a:lnTo>
                    <a:pt x="1592792" y="603250"/>
                  </a:lnTo>
                  <a:lnTo>
                    <a:pt x="1584854" y="605896"/>
                  </a:lnTo>
                  <a:lnTo>
                    <a:pt x="1576917" y="608542"/>
                  </a:lnTo>
                  <a:lnTo>
                    <a:pt x="1568979" y="611188"/>
                  </a:lnTo>
                  <a:lnTo>
                    <a:pt x="1561042" y="616479"/>
                  </a:lnTo>
                  <a:lnTo>
                    <a:pt x="1553104" y="621771"/>
                  </a:lnTo>
                  <a:lnTo>
                    <a:pt x="1545167" y="619125"/>
                  </a:lnTo>
                  <a:lnTo>
                    <a:pt x="1539875" y="619125"/>
                  </a:lnTo>
                  <a:lnTo>
                    <a:pt x="1537229" y="621771"/>
                  </a:lnTo>
                  <a:lnTo>
                    <a:pt x="1537229" y="624417"/>
                  </a:lnTo>
                  <a:lnTo>
                    <a:pt x="1526646" y="624417"/>
                  </a:lnTo>
                  <a:lnTo>
                    <a:pt x="1518708" y="621771"/>
                  </a:lnTo>
                  <a:lnTo>
                    <a:pt x="1516063" y="624417"/>
                  </a:lnTo>
                  <a:lnTo>
                    <a:pt x="1513417" y="627063"/>
                  </a:lnTo>
                  <a:lnTo>
                    <a:pt x="1505479" y="629709"/>
                  </a:lnTo>
                  <a:lnTo>
                    <a:pt x="1500188" y="629709"/>
                  </a:lnTo>
                  <a:lnTo>
                    <a:pt x="1500188" y="632354"/>
                  </a:lnTo>
                  <a:lnTo>
                    <a:pt x="1502833" y="635000"/>
                  </a:lnTo>
                  <a:lnTo>
                    <a:pt x="1497542" y="637646"/>
                  </a:lnTo>
                  <a:lnTo>
                    <a:pt x="1489604" y="642938"/>
                  </a:lnTo>
                  <a:lnTo>
                    <a:pt x="1481667" y="645584"/>
                  </a:lnTo>
                  <a:lnTo>
                    <a:pt x="1476375" y="650875"/>
                  </a:lnTo>
                  <a:lnTo>
                    <a:pt x="1471083" y="650875"/>
                  </a:lnTo>
                  <a:lnTo>
                    <a:pt x="1468438" y="648229"/>
                  </a:lnTo>
                  <a:lnTo>
                    <a:pt x="1468438" y="650875"/>
                  </a:lnTo>
                  <a:lnTo>
                    <a:pt x="1468438" y="653521"/>
                  </a:lnTo>
                  <a:lnTo>
                    <a:pt x="1465792" y="656167"/>
                  </a:lnTo>
                  <a:lnTo>
                    <a:pt x="1460500" y="653521"/>
                  </a:lnTo>
                  <a:lnTo>
                    <a:pt x="1460500" y="650875"/>
                  </a:lnTo>
                  <a:lnTo>
                    <a:pt x="1460500" y="645584"/>
                  </a:lnTo>
                  <a:lnTo>
                    <a:pt x="1457854" y="640292"/>
                  </a:lnTo>
                  <a:lnTo>
                    <a:pt x="1460500" y="635000"/>
                  </a:lnTo>
                  <a:lnTo>
                    <a:pt x="1479021" y="619125"/>
                  </a:lnTo>
                  <a:lnTo>
                    <a:pt x="1492250" y="611188"/>
                  </a:lnTo>
                  <a:lnTo>
                    <a:pt x="1502833" y="608542"/>
                  </a:lnTo>
                  <a:lnTo>
                    <a:pt x="1513417" y="608542"/>
                  </a:lnTo>
                  <a:lnTo>
                    <a:pt x="1518708" y="608542"/>
                  </a:lnTo>
                  <a:lnTo>
                    <a:pt x="1539875" y="603250"/>
                  </a:lnTo>
                  <a:lnTo>
                    <a:pt x="1526646" y="605896"/>
                  </a:lnTo>
                  <a:lnTo>
                    <a:pt x="1513417" y="603250"/>
                  </a:lnTo>
                  <a:lnTo>
                    <a:pt x="1508125" y="603250"/>
                  </a:lnTo>
                  <a:lnTo>
                    <a:pt x="1500188" y="605896"/>
                  </a:lnTo>
                  <a:lnTo>
                    <a:pt x="1494896" y="605896"/>
                  </a:lnTo>
                  <a:lnTo>
                    <a:pt x="1489604" y="605896"/>
                  </a:lnTo>
                  <a:lnTo>
                    <a:pt x="1492250" y="603250"/>
                  </a:lnTo>
                  <a:lnTo>
                    <a:pt x="1500188" y="600604"/>
                  </a:lnTo>
                  <a:lnTo>
                    <a:pt x="1505479" y="597959"/>
                  </a:lnTo>
                  <a:lnTo>
                    <a:pt x="1505479" y="595313"/>
                  </a:lnTo>
                  <a:lnTo>
                    <a:pt x="1505479" y="590021"/>
                  </a:lnTo>
                  <a:lnTo>
                    <a:pt x="1500188" y="587375"/>
                  </a:lnTo>
                  <a:lnTo>
                    <a:pt x="1502833" y="592667"/>
                  </a:lnTo>
                  <a:lnTo>
                    <a:pt x="1500188" y="595313"/>
                  </a:lnTo>
                  <a:lnTo>
                    <a:pt x="1484313" y="605896"/>
                  </a:lnTo>
                  <a:lnTo>
                    <a:pt x="1471083" y="608542"/>
                  </a:lnTo>
                  <a:lnTo>
                    <a:pt x="1463146" y="608542"/>
                  </a:lnTo>
                  <a:lnTo>
                    <a:pt x="1457854" y="608542"/>
                  </a:lnTo>
                  <a:lnTo>
                    <a:pt x="1452563" y="611188"/>
                  </a:lnTo>
                  <a:lnTo>
                    <a:pt x="1449917" y="605896"/>
                  </a:lnTo>
                  <a:lnTo>
                    <a:pt x="1444625" y="605896"/>
                  </a:lnTo>
                  <a:lnTo>
                    <a:pt x="1444625" y="608542"/>
                  </a:lnTo>
                  <a:lnTo>
                    <a:pt x="1439333" y="603250"/>
                  </a:lnTo>
                  <a:lnTo>
                    <a:pt x="1436688" y="597959"/>
                  </a:lnTo>
                  <a:lnTo>
                    <a:pt x="1434042" y="595313"/>
                  </a:lnTo>
                  <a:lnTo>
                    <a:pt x="1431396" y="595313"/>
                  </a:lnTo>
                  <a:lnTo>
                    <a:pt x="1431396" y="590021"/>
                  </a:lnTo>
                  <a:lnTo>
                    <a:pt x="1441979" y="555625"/>
                  </a:lnTo>
                  <a:lnTo>
                    <a:pt x="1444625" y="552979"/>
                  </a:lnTo>
                  <a:lnTo>
                    <a:pt x="1441979" y="550334"/>
                  </a:lnTo>
                  <a:lnTo>
                    <a:pt x="1439333" y="547688"/>
                  </a:lnTo>
                  <a:lnTo>
                    <a:pt x="1436688" y="542396"/>
                  </a:lnTo>
                  <a:lnTo>
                    <a:pt x="1434042" y="542396"/>
                  </a:lnTo>
                  <a:lnTo>
                    <a:pt x="1418167" y="547688"/>
                  </a:lnTo>
                  <a:lnTo>
                    <a:pt x="1412875" y="550334"/>
                  </a:lnTo>
                  <a:lnTo>
                    <a:pt x="1410229" y="550334"/>
                  </a:lnTo>
                  <a:lnTo>
                    <a:pt x="1404938" y="547688"/>
                  </a:lnTo>
                  <a:lnTo>
                    <a:pt x="1402292" y="547688"/>
                  </a:lnTo>
                  <a:lnTo>
                    <a:pt x="1391708" y="555625"/>
                  </a:lnTo>
                  <a:lnTo>
                    <a:pt x="1386417" y="560917"/>
                  </a:lnTo>
                  <a:lnTo>
                    <a:pt x="1383771" y="563563"/>
                  </a:lnTo>
                  <a:lnTo>
                    <a:pt x="1378479" y="566209"/>
                  </a:lnTo>
                  <a:lnTo>
                    <a:pt x="1375833" y="571500"/>
                  </a:lnTo>
                  <a:lnTo>
                    <a:pt x="1367896" y="579438"/>
                  </a:lnTo>
                  <a:lnTo>
                    <a:pt x="1365250" y="582084"/>
                  </a:lnTo>
                  <a:lnTo>
                    <a:pt x="1365250" y="584729"/>
                  </a:lnTo>
                  <a:lnTo>
                    <a:pt x="1362604" y="590021"/>
                  </a:lnTo>
                  <a:lnTo>
                    <a:pt x="1357313" y="592667"/>
                  </a:lnTo>
                  <a:lnTo>
                    <a:pt x="1352021" y="595313"/>
                  </a:lnTo>
                  <a:lnTo>
                    <a:pt x="1346729" y="600604"/>
                  </a:lnTo>
                  <a:lnTo>
                    <a:pt x="1341438" y="603250"/>
                  </a:lnTo>
                  <a:lnTo>
                    <a:pt x="1338792" y="605896"/>
                  </a:lnTo>
                  <a:lnTo>
                    <a:pt x="1336146" y="605896"/>
                  </a:lnTo>
                  <a:lnTo>
                    <a:pt x="1328208" y="611188"/>
                  </a:lnTo>
                  <a:lnTo>
                    <a:pt x="1243542" y="611188"/>
                  </a:lnTo>
                  <a:lnTo>
                    <a:pt x="1238250" y="611188"/>
                  </a:lnTo>
                  <a:lnTo>
                    <a:pt x="1230313" y="613834"/>
                  </a:lnTo>
                  <a:lnTo>
                    <a:pt x="1222375" y="624417"/>
                  </a:lnTo>
                  <a:lnTo>
                    <a:pt x="1214438" y="632354"/>
                  </a:lnTo>
                  <a:lnTo>
                    <a:pt x="1206500" y="637646"/>
                  </a:lnTo>
                  <a:lnTo>
                    <a:pt x="1201208" y="640292"/>
                  </a:lnTo>
                  <a:lnTo>
                    <a:pt x="1190625" y="640292"/>
                  </a:lnTo>
                  <a:lnTo>
                    <a:pt x="1185333" y="640292"/>
                  </a:lnTo>
                  <a:lnTo>
                    <a:pt x="1187979" y="642938"/>
                  </a:lnTo>
                  <a:lnTo>
                    <a:pt x="1190625" y="642938"/>
                  </a:lnTo>
                  <a:lnTo>
                    <a:pt x="1190625" y="645584"/>
                  </a:lnTo>
                  <a:lnTo>
                    <a:pt x="1187979" y="645584"/>
                  </a:lnTo>
                  <a:lnTo>
                    <a:pt x="1185333" y="648229"/>
                  </a:lnTo>
                  <a:lnTo>
                    <a:pt x="1180042" y="648229"/>
                  </a:lnTo>
                  <a:lnTo>
                    <a:pt x="1172104" y="645584"/>
                  </a:lnTo>
                  <a:lnTo>
                    <a:pt x="1156229" y="645584"/>
                  </a:lnTo>
                  <a:lnTo>
                    <a:pt x="1137708" y="648229"/>
                  </a:lnTo>
                  <a:lnTo>
                    <a:pt x="1121833" y="656167"/>
                  </a:lnTo>
                  <a:lnTo>
                    <a:pt x="1111250" y="661459"/>
                  </a:lnTo>
                  <a:lnTo>
                    <a:pt x="1108604" y="664104"/>
                  </a:lnTo>
                  <a:lnTo>
                    <a:pt x="1111250" y="666750"/>
                  </a:lnTo>
                  <a:lnTo>
                    <a:pt x="1121833" y="669396"/>
                  </a:lnTo>
                  <a:lnTo>
                    <a:pt x="1121833" y="672042"/>
                  </a:lnTo>
                  <a:lnTo>
                    <a:pt x="1121833" y="674688"/>
                  </a:lnTo>
                  <a:lnTo>
                    <a:pt x="1113896" y="674688"/>
                  </a:lnTo>
                  <a:lnTo>
                    <a:pt x="1103313" y="674688"/>
                  </a:lnTo>
                  <a:lnTo>
                    <a:pt x="1098021" y="677334"/>
                  </a:lnTo>
                  <a:lnTo>
                    <a:pt x="1095375" y="679979"/>
                  </a:lnTo>
                  <a:lnTo>
                    <a:pt x="1100667" y="679979"/>
                  </a:lnTo>
                  <a:lnTo>
                    <a:pt x="1098021" y="682625"/>
                  </a:lnTo>
                  <a:lnTo>
                    <a:pt x="1087438" y="679979"/>
                  </a:lnTo>
                  <a:lnTo>
                    <a:pt x="1079500" y="679979"/>
                  </a:lnTo>
                  <a:lnTo>
                    <a:pt x="1074208" y="682625"/>
                  </a:lnTo>
                  <a:lnTo>
                    <a:pt x="1071563" y="685271"/>
                  </a:lnTo>
                  <a:lnTo>
                    <a:pt x="1068917" y="687917"/>
                  </a:lnTo>
                  <a:lnTo>
                    <a:pt x="1063625" y="687917"/>
                  </a:lnTo>
                  <a:lnTo>
                    <a:pt x="1060979" y="687917"/>
                  </a:lnTo>
                  <a:lnTo>
                    <a:pt x="1055688" y="690563"/>
                  </a:lnTo>
                  <a:lnTo>
                    <a:pt x="1045104" y="690563"/>
                  </a:lnTo>
                  <a:lnTo>
                    <a:pt x="1039812" y="695854"/>
                  </a:lnTo>
                  <a:lnTo>
                    <a:pt x="1034521" y="701146"/>
                  </a:lnTo>
                  <a:lnTo>
                    <a:pt x="1031875" y="701146"/>
                  </a:lnTo>
                  <a:lnTo>
                    <a:pt x="1031875" y="698500"/>
                  </a:lnTo>
                  <a:lnTo>
                    <a:pt x="1026583" y="698500"/>
                  </a:lnTo>
                  <a:lnTo>
                    <a:pt x="1023937" y="698500"/>
                  </a:lnTo>
                  <a:lnTo>
                    <a:pt x="1021292" y="698500"/>
                  </a:lnTo>
                  <a:lnTo>
                    <a:pt x="1016000" y="695854"/>
                  </a:lnTo>
                  <a:lnTo>
                    <a:pt x="1021292" y="690563"/>
                  </a:lnTo>
                  <a:lnTo>
                    <a:pt x="1026583" y="685271"/>
                  </a:lnTo>
                  <a:lnTo>
                    <a:pt x="1034521" y="685271"/>
                  </a:lnTo>
                  <a:lnTo>
                    <a:pt x="1037167" y="682625"/>
                  </a:lnTo>
                  <a:lnTo>
                    <a:pt x="1034521" y="679979"/>
                  </a:lnTo>
                  <a:lnTo>
                    <a:pt x="1034521" y="674688"/>
                  </a:lnTo>
                  <a:lnTo>
                    <a:pt x="1037167" y="669396"/>
                  </a:lnTo>
                  <a:lnTo>
                    <a:pt x="1042458" y="664104"/>
                  </a:lnTo>
                  <a:lnTo>
                    <a:pt x="1053042" y="661459"/>
                  </a:lnTo>
                  <a:lnTo>
                    <a:pt x="1063625" y="653521"/>
                  </a:lnTo>
                  <a:lnTo>
                    <a:pt x="1063625" y="648229"/>
                  </a:lnTo>
                  <a:lnTo>
                    <a:pt x="1063625" y="642938"/>
                  </a:lnTo>
                  <a:lnTo>
                    <a:pt x="1066271" y="640292"/>
                  </a:lnTo>
                  <a:lnTo>
                    <a:pt x="1071563" y="635000"/>
                  </a:lnTo>
                  <a:lnTo>
                    <a:pt x="1084792" y="627063"/>
                  </a:lnTo>
                  <a:lnTo>
                    <a:pt x="1084792" y="621771"/>
                  </a:lnTo>
                  <a:lnTo>
                    <a:pt x="1084792" y="616479"/>
                  </a:lnTo>
                  <a:lnTo>
                    <a:pt x="1084792" y="611188"/>
                  </a:lnTo>
                  <a:lnTo>
                    <a:pt x="1082146" y="608542"/>
                  </a:lnTo>
                  <a:lnTo>
                    <a:pt x="1079500" y="608542"/>
                  </a:lnTo>
                  <a:lnTo>
                    <a:pt x="1082146" y="605896"/>
                  </a:lnTo>
                  <a:lnTo>
                    <a:pt x="1084792" y="605896"/>
                  </a:lnTo>
                  <a:lnTo>
                    <a:pt x="1087438" y="608542"/>
                  </a:lnTo>
                  <a:lnTo>
                    <a:pt x="1090083" y="611188"/>
                  </a:lnTo>
                  <a:lnTo>
                    <a:pt x="1092729" y="621771"/>
                  </a:lnTo>
                  <a:lnTo>
                    <a:pt x="1095375" y="621771"/>
                  </a:lnTo>
                  <a:lnTo>
                    <a:pt x="1098021" y="621771"/>
                  </a:lnTo>
                  <a:lnTo>
                    <a:pt x="1100667" y="621771"/>
                  </a:lnTo>
                  <a:lnTo>
                    <a:pt x="1105958" y="624417"/>
                  </a:lnTo>
                  <a:lnTo>
                    <a:pt x="1108604" y="624417"/>
                  </a:lnTo>
                  <a:lnTo>
                    <a:pt x="1111250" y="619125"/>
                  </a:lnTo>
                  <a:lnTo>
                    <a:pt x="1111250" y="616479"/>
                  </a:lnTo>
                  <a:lnTo>
                    <a:pt x="1116542" y="616479"/>
                  </a:lnTo>
                  <a:lnTo>
                    <a:pt x="1119188" y="619125"/>
                  </a:lnTo>
                  <a:lnTo>
                    <a:pt x="1121833" y="619125"/>
                  </a:lnTo>
                  <a:lnTo>
                    <a:pt x="1121833" y="616479"/>
                  </a:lnTo>
                  <a:lnTo>
                    <a:pt x="1119188" y="613834"/>
                  </a:lnTo>
                  <a:lnTo>
                    <a:pt x="1119188" y="611188"/>
                  </a:lnTo>
                  <a:lnTo>
                    <a:pt x="1119188" y="603250"/>
                  </a:lnTo>
                  <a:lnTo>
                    <a:pt x="1119188" y="600604"/>
                  </a:lnTo>
                  <a:lnTo>
                    <a:pt x="1116542" y="597959"/>
                  </a:lnTo>
                  <a:lnTo>
                    <a:pt x="1113896" y="597959"/>
                  </a:lnTo>
                  <a:lnTo>
                    <a:pt x="1108604" y="592667"/>
                  </a:lnTo>
                  <a:lnTo>
                    <a:pt x="1103313" y="584729"/>
                  </a:lnTo>
                  <a:lnTo>
                    <a:pt x="1098021" y="584729"/>
                  </a:lnTo>
                  <a:lnTo>
                    <a:pt x="1090083" y="584729"/>
                  </a:lnTo>
                  <a:lnTo>
                    <a:pt x="1082146" y="582084"/>
                  </a:lnTo>
                  <a:lnTo>
                    <a:pt x="1071563" y="579438"/>
                  </a:lnTo>
                  <a:lnTo>
                    <a:pt x="1068917" y="579438"/>
                  </a:lnTo>
                  <a:lnTo>
                    <a:pt x="1060979" y="579438"/>
                  </a:lnTo>
                  <a:lnTo>
                    <a:pt x="1053042" y="579438"/>
                  </a:lnTo>
                  <a:lnTo>
                    <a:pt x="1042458" y="576792"/>
                  </a:lnTo>
                  <a:lnTo>
                    <a:pt x="1037167" y="574146"/>
                  </a:lnTo>
                  <a:lnTo>
                    <a:pt x="1037167" y="571500"/>
                  </a:lnTo>
                  <a:lnTo>
                    <a:pt x="1039812" y="568854"/>
                  </a:lnTo>
                  <a:lnTo>
                    <a:pt x="1034521" y="566209"/>
                  </a:lnTo>
                  <a:lnTo>
                    <a:pt x="1034521" y="560917"/>
                  </a:lnTo>
                  <a:lnTo>
                    <a:pt x="1037167" y="558271"/>
                  </a:lnTo>
                  <a:lnTo>
                    <a:pt x="1034521" y="552979"/>
                  </a:lnTo>
                  <a:lnTo>
                    <a:pt x="1031875" y="550334"/>
                  </a:lnTo>
                  <a:lnTo>
                    <a:pt x="1031875" y="547688"/>
                  </a:lnTo>
                  <a:lnTo>
                    <a:pt x="1037167" y="539750"/>
                  </a:lnTo>
                  <a:lnTo>
                    <a:pt x="1034521" y="539750"/>
                  </a:lnTo>
                  <a:lnTo>
                    <a:pt x="1026583" y="539750"/>
                  </a:lnTo>
                  <a:lnTo>
                    <a:pt x="1021292" y="539750"/>
                  </a:lnTo>
                  <a:lnTo>
                    <a:pt x="1018646" y="537104"/>
                  </a:lnTo>
                  <a:lnTo>
                    <a:pt x="1016000" y="531813"/>
                  </a:lnTo>
                  <a:lnTo>
                    <a:pt x="1013354" y="526521"/>
                  </a:lnTo>
                  <a:lnTo>
                    <a:pt x="1008062" y="518584"/>
                  </a:lnTo>
                  <a:lnTo>
                    <a:pt x="1005417" y="513292"/>
                  </a:lnTo>
                  <a:lnTo>
                    <a:pt x="1000125" y="513292"/>
                  </a:lnTo>
                  <a:lnTo>
                    <a:pt x="992187" y="513292"/>
                  </a:lnTo>
                  <a:lnTo>
                    <a:pt x="986896" y="510646"/>
                  </a:lnTo>
                  <a:lnTo>
                    <a:pt x="984250" y="510646"/>
                  </a:lnTo>
                  <a:lnTo>
                    <a:pt x="978958" y="508000"/>
                  </a:lnTo>
                  <a:lnTo>
                    <a:pt x="981604" y="513292"/>
                  </a:lnTo>
                  <a:lnTo>
                    <a:pt x="978958" y="515938"/>
                  </a:lnTo>
                  <a:lnTo>
                    <a:pt x="973667" y="518584"/>
                  </a:lnTo>
                  <a:lnTo>
                    <a:pt x="973667" y="513292"/>
                  </a:lnTo>
                  <a:lnTo>
                    <a:pt x="973667" y="510646"/>
                  </a:lnTo>
                  <a:lnTo>
                    <a:pt x="971021" y="513292"/>
                  </a:lnTo>
                  <a:lnTo>
                    <a:pt x="968375" y="515938"/>
                  </a:lnTo>
                  <a:lnTo>
                    <a:pt x="965729" y="518584"/>
                  </a:lnTo>
                  <a:lnTo>
                    <a:pt x="960437" y="521229"/>
                  </a:lnTo>
                  <a:lnTo>
                    <a:pt x="957792" y="523875"/>
                  </a:lnTo>
                  <a:lnTo>
                    <a:pt x="957792" y="521229"/>
                  </a:lnTo>
                  <a:lnTo>
                    <a:pt x="955146" y="518584"/>
                  </a:lnTo>
                  <a:lnTo>
                    <a:pt x="955146" y="515938"/>
                  </a:lnTo>
                  <a:lnTo>
                    <a:pt x="949854" y="521229"/>
                  </a:lnTo>
                  <a:lnTo>
                    <a:pt x="939271" y="529167"/>
                  </a:lnTo>
                  <a:lnTo>
                    <a:pt x="931333" y="531813"/>
                  </a:lnTo>
                  <a:lnTo>
                    <a:pt x="918104" y="534459"/>
                  </a:lnTo>
                  <a:lnTo>
                    <a:pt x="910167" y="531813"/>
                  </a:lnTo>
                  <a:lnTo>
                    <a:pt x="904875" y="529167"/>
                  </a:lnTo>
                  <a:lnTo>
                    <a:pt x="891646" y="526521"/>
                  </a:lnTo>
                  <a:lnTo>
                    <a:pt x="881062" y="529167"/>
                  </a:lnTo>
                  <a:lnTo>
                    <a:pt x="875771" y="529167"/>
                  </a:lnTo>
                  <a:lnTo>
                    <a:pt x="870479" y="526521"/>
                  </a:lnTo>
                  <a:lnTo>
                    <a:pt x="865187" y="523875"/>
                  </a:lnTo>
                  <a:lnTo>
                    <a:pt x="862542" y="523875"/>
                  </a:lnTo>
                  <a:lnTo>
                    <a:pt x="857250" y="523875"/>
                  </a:lnTo>
                  <a:lnTo>
                    <a:pt x="849312" y="521229"/>
                  </a:lnTo>
                  <a:lnTo>
                    <a:pt x="836083" y="515938"/>
                  </a:lnTo>
                  <a:lnTo>
                    <a:pt x="825500" y="513292"/>
                  </a:lnTo>
                  <a:lnTo>
                    <a:pt x="817562" y="510646"/>
                  </a:lnTo>
                  <a:lnTo>
                    <a:pt x="814917" y="510646"/>
                  </a:lnTo>
                  <a:lnTo>
                    <a:pt x="814917" y="505354"/>
                  </a:lnTo>
                  <a:lnTo>
                    <a:pt x="817562" y="502709"/>
                  </a:lnTo>
                  <a:lnTo>
                    <a:pt x="820208" y="494771"/>
                  </a:lnTo>
                  <a:lnTo>
                    <a:pt x="817562" y="492125"/>
                  </a:lnTo>
                  <a:lnTo>
                    <a:pt x="812271" y="494771"/>
                  </a:lnTo>
                  <a:lnTo>
                    <a:pt x="809625" y="494771"/>
                  </a:lnTo>
                  <a:lnTo>
                    <a:pt x="804333" y="500063"/>
                  </a:lnTo>
                  <a:lnTo>
                    <a:pt x="799042" y="508000"/>
                  </a:lnTo>
                  <a:lnTo>
                    <a:pt x="791104" y="510646"/>
                  </a:lnTo>
                  <a:lnTo>
                    <a:pt x="148167" y="510646"/>
                  </a:lnTo>
                  <a:lnTo>
                    <a:pt x="132292" y="494771"/>
                  </a:lnTo>
                  <a:lnTo>
                    <a:pt x="119063" y="481542"/>
                  </a:lnTo>
                  <a:lnTo>
                    <a:pt x="111125" y="476250"/>
                  </a:lnTo>
                  <a:lnTo>
                    <a:pt x="108479" y="470959"/>
                  </a:lnTo>
                  <a:lnTo>
                    <a:pt x="103188" y="465667"/>
                  </a:lnTo>
                  <a:lnTo>
                    <a:pt x="95250" y="463021"/>
                  </a:lnTo>
                  <a:lnTo>
                    <a:pt x="87313" y="463021"/>
                  </a:lnTo>
                  <a:lnTo>
                    <a:pt x="84667" y="460375"/>
                  </a:lnTo>
                  <a:lnTo>
                    <a:pt x="79375" y="457729"/>
                  </a:lnTo>
                  <a:lnTo>
                    <a:pt x="76729" y="452438"/>
                  </a:lnTo>
                  <a:lnTo>
                    <a:pt x="82021" y="447146"/>
                  </a:lnTo>
                  <a:lnTo>
                    <a:pt x="84667" y="439208"/>
                  </a:lnTo>
                  <a:lnTo>
                    <a:pt x="87313" y="428625"/>
                  </a:lnTo>
                  <a:lnTo>
                    <a:pt x="84667" y="415396"/>
                  </a:lnTo>
                  <a:lnTo>
                    <a:pt x="87313" y="404813"/>
                  </a:lnTo>
                  <a:lnTo>
                    <a:pt x="87313" y="402167"/>
                  </a:lnTo>
                  <a:lnTo>
                    <a:pt x="87313" y="399521"/>
                  </a:lnTo>
                  <a:lnTo>
                    <a:pt x="84667" y="396875"/>
                  </a:lnTo>
                  <a:lnTo>
                    <a:pt x="82021" y="394229"/>
                  </a:lnTo>
                  <a:lnTo>
                    <a:pt x="82021" y="391583"/>
                  </a:lnTo>
                  <a:lnTo>
                    <a:pt x="89958" y="375708"/>
                  </a:lnTo>
                  <a:lnTo>
                    <a:pt x="92604" y="373063"/>
                  </a:lnTo>
                  <a:lnTo>
                    <a:pt x="89958" y="373063"/>
                  </a:lnTo>
                  <a:lnTo>
                    <a:pt x="87313" y="373063"/>
                  </a:lnTo>
                  <a:lnTo>
                    <a:pt x="95250" y="359833"/>
                  </a:lnTo>
                  <a:lnTo>
                    <a:pt x="103188" y="357188"/>
                  </a:lnTo>
                  <a:lnTo>
                    <a:pt x="105833" y="351896"/>
                  </a:lnTo>
                  <a:lnTo>
                    <a:pt x="108479" y="349250"/>
                  </a:lnTo>
                  <a:lnTo>
                    <a:pt x="113771" y="343958"/>
                  </a:lnTo>
                  <a:lnTo>
                    <a:pt x="116417" y="341313"/>
                  </a:lnTo>
                  <a:lnTo>
                    <a:pt x="116417" y="338667"/>
                  </a:lnTo>
                  <a:lnTo>
                    <a:pt x="111125" y="333375"/>
                  </a:lnTo>
                  <a:lnTo>
                    <a:pt x="105833" y="328083"/>
                  </a:lnTo>
                  <a:lnTo>
                    <a:pt x="105833" y="325438"/>
                  </a:lnTo>
                  <a:lnTo>
                    <a:pt x="105833" y="322792"/>
                  </a:lnTo>
                  <a:lnTo>
                    <a:pt x="108479" y="320146"/>
                  </a:lnTo>
                  <a:lnTo>
                    <a:pt x="108479" y="317500"/>
                  </a:lnTo>
                  <a:lnTo>
                    <a:pt x="105833" y="317500"/>
                  </a:lnTo>
                  <a:lnTo>
                    <a:pt x="105833" y="312208"/>
                  </a:lnTo>
                  <a:lnTo>
                    <a:pt x="108479" y="304271"/>
                  </a:lnTo>
                  <a:lnTo>
                    <a:pt x="108479" y="296333"/>
                  </a:lnTo>
                  <a:lnTo>
                    <a:pt x="108479" y="277812"/>
                  </a:lnTo>
                  <a:lnTo>
                    <a:pt x="105833" y="261937"/>
                  </a:lnTo>
                  <a:lnTo>
                    <a:pt x="105833" y="256646"/>
                  </a:lnTo>
                  <a:lnTo>
                    <a:pt x="105833" y="254000"/>
                  </a:lnTo>
                  <a:lnTo>
                    <a:pt x="111125" y="248708"/>
                  </a:lnTo>
                  <a:lnTo>
                    <a:pt x="95250" y="248708"/>
                  </a:lnTo>
                  <a:lnTo>
                    <a:pt x="87313" y="251354"/>
                  </a:lnTo>
                  <a:lnTo>
                    <a:pt x="84667" y="254000"/>
                  </a:lnTo>
                  <a:lnTo>
                    <a:pt x="84667" y="256646"/>
                  </a:lnTo>
                  <a:lnTo>
                    <a:pt x="76729" y="256646"/>
                  </a:lnTo>
                  <a:lnTo>
                    <a:pt x="68792" y="256646"/>
                  </a:lnTo>
                  <a:lnTo>
                    <a:pt x="63500" y="259292"/>
                  </a:lnTo>
                  <a:lnTo>
                    <a:pt x="58208" y="261937"/>
                  </a:lnTo>
                  <a:lnTo>
                    <a:pt x="47625" y="261937"/>
                  </a:lnTo>
                  <a:lnTo>
                    <a:pt x="42333" y="259292"/>
                  </a:lnTo>
                  <a:lnTo>
                    <a:pt x="37042" y="254000"/>
                  </a:lnTo>
                  <a:lnTo>
                    <a:pt x="34396" y="243417"/>
                  </a:lnTo>
                  <a:lnTo>
                    <a:pt x="31750" y="243417"/>
                  </a:lnTo>
                  <a:lnTo>
                    <a:pt x="26458" y="243417"/>
                  </a:lnTo>
                  <a:lnTo>
                    <a:pt x="23812" y="243417"/>
                  </a:lnTo>
                  <a:lnTo>
                    <a:pt x="15875" y="240771"/>
                  </a:lnTo>
                  <a:lnTo>
                    <a:pt x="7937" y="240771"/>
                  </a:lnTo>
                  <a:lnTo>
                    <a:pt x="0" y="240771"/>
                  </a:lnTo>
                  <a:lnTo>
                    <a:pt x="42333" y="209021"/>
                  </a:lnTo>
                  <a:lnTo>
                    <a:pt x="84667" y="179917"/>
                  </a:lnTo>
                  <a:lnTo>
                    <a:pt x="164042" y="127000"/>
                  </a:lnTo>
                  <a:lnTo>
                    <a:pt x="232833" y="84667"/>
                  </a:lnTo>
                  <a:lnTo>
                    <a:pt x="293688" y="50271"/>
                  </a:lnTo>
                  <a:lnTo>
                    <a:pt x="309563" y="50271"/>
                  </a:lnTo>
                  <a:lnTo>
                    <a:pt x="325438" y="52917"/>
                  </a:lnTo>
                  <a:lnTo>
                    <a:pt x="357188" y="66146"/>
                  </a:lnTo>
                  <a:lnTo>
                    <a:pt x="365125" y="68792"/>
                  </a:lnTo>
                  <a:lnTo>
                    <a:pt x="365125" y="63500"/>
                  </a:lnTo>
                  <a:lnTo>
                    <a:pt x="365125" y="58208"/>
                  </a:lnTo>
                  <a:lnTo>
                    <a:pt x="367771" y="55562"/>
                  </a:lnTo>
                  <a:lnTo>
                    <a:pt x="373063" y="52917"/>
                  </a:lnTo>
                  <a:lnTo>
                    <a:pt x="386292" y="52917"/>
                  </a:lnTo>
                  <a:lnTo>
                    <a:pt x="399521" y="52917"/>
                  </a:lnTo>
                  <a:lnTo>
                    <a:pt x="407458" y="52917"/>
                  </a:lnTo>
                  <a:lnTo>
                    <a:pt x="410104" y="52917"/>
                  </a:lnTo>
                  <a:lnTo>
                    <a:pt x="404813" y="58208"/>
                  </a:lnTo>
                  <a:lnTo>
                    <a:pt x="402167" y="63500"/>
                  </a:lnTo>
                  <a:lnTo>
                    <a:pt x="404813" y="63500"/>
                  </a:lnTo>
                  <a:lnTo>
                    <a:pt x="423333" y="52917"/>
                  </a:lnTo>
                  <a:lnTo>
                    <a:pt x="433917" y="50271"/>
                  </a:lnTo>
                  <a:lnTo>
                    <a:pt x="444500" y="50271"/>
                  </a:lnTo>
                  <a:lnTo>
                    <a:pt x="455083" y="50271"/>
                  </a:lnTo>
                  <a:lnTo>
                    <a:pt x="468313" y="47625"/>
                  </a:lnTo>
                  <a:lnTo>
                    <a:pt x="497417" y="39687"/>
                  </a:lnTo>
                  <a:lnTo>
                    <a:pt x="515938" y="34396"/>
                  </a:lnTo>
                  <a:lnTo>
                    <a:pt x="523875" y="34396"/>
                  </a:lnTo>
                  <a:lnTo>
                    <a:pt x="529167" y="37042"/>
                  </a:lnTo>
                  <a:lnTo>
                    <a:pt x="531813" y="39687"/>
                  </a:lnTo>
                  <a:lnTo>
                    <a:pt x="523875" y="42333"/>
                  </a:lnTo>
                  <a:lnTo>
                    <a:pt x="497417" y="47625"/>
                  </a:lnTo>
                  <a:lnTo>
                    <a:pt x="484188" y="50271"/>
                  </a:lnTo>
                  <a:lnTo>
                    <a:pt x="473604" y="58208"/>
                  </a:lnTo>
                  <a:lnTo>
                    <a:pt x="484188" y="52917"/>
                  </a:lnTo>
                  <a:lnTo>
                    <a:pt x="497417" y="52917"/>
                  </a:lnTo>
                  <a:lnTo>
                    <a:pt x="515938" y="50271"/>
                  </a:lnTo>
                  <a:lnTo>
                    <a:pt x="526521" y="47625"/>
                  </a:lnTo>
                  <a:lnTo>
                    <a:pt x="534458" y="44979"/>
                  </a:lnTo>
                  <a:lnTo>
                    <a:pt x="537104" y="47625"/>
                  </a:lnTo>
                  <a:lnTo>
                    <a:pt x="537104" y="50271"/>
                  </a:lnTo>
                  <a:lnTo>
                    <a:pt x="539750" y="52917"/>
                  </a:lnTo>
                  <a:lnTo>
                    <a:pt x="547688" y="50271"/>
                  </a:lnTo>
                  <a:lnTo>
                    <a:pt x="563563" y="39687"/>
                  </a:lnTo>
                  <a:lnTo>
                    <a:pt x="563563" y="34396"/>
                  </a:lnTo>
                  <a:lnTo>
                    <a:pt x="563563" y="31750"/>
                  </a:lnTo>
                  <a:lnTo>
                    <a:pt x="566208" y="29104"/>
                  </a:lnTo>
                  <a:lnTo>
                    <a:pt x="568854" y="29104"/>
                  </a:lnTo>
                  <a:lnTo>
                    <a:pt x="582083" y="34396"/>
                  </a:lnTo>
                  <a:lnTo>
                    <a:pt x="587375" y="37042"/>
                  </a:lnTo>
                  <a:lnTo>
                    <a:pt x="590021" y="39687"/>
                  </a:lnTo>
                  <a:lnTo>
                    <a:pt x="590021" y="47625"/>
                  </a:lnTo>
                  <a:lnTo>
                    <a:pt x="590021" y="52917"/>
                  </a:lnTo>
                  <a:lnTo>
                    <a:pt x="600604" y="52917"/>
                  </a:lnTo>
                  <a:lnTo>
                    <a:pt x="605896" y="50271"/>
                  </a:lnTo>
                  <a:lnTo>
                    <a:pt x="605896" y="47625"/>
                  </a:lnTo>
                  <a:lnTo>
                    <a:pt x="605896" y="44979"/>
                  </a:lnTo>
                  <a:lnTo>
                    <a:pt x="611188" y="39687"/>
                  </a:lnTo>
                  <a:lnTo>
                    <a:pt x="616479" y="37042"/>
                  </a:lnTo>
                  <a:lnTo>
                    <a:pt x="616479" y="34396"/>
                  </a:lnTo>
                  <a:lnTo>
                    <a:pt x="619125" y="31750"/>
                  </a:lnTo>
                  <a:lnTo>
                    <a:pt x="627063" y="29104"/>
                  </a:lnTo>
                  <a:lnTo>
                    <a:pt x="642938" y="26458"/>
                  </a:lnTo>
                  <a:lnTo>
                    <a:pt x="645583" y="29104"/>
                  </a:lnTo>
                  <a:lnTo>
                    <a:pt x="640292" y="34396"/>
                  </a:lnTo>
                  <a:lnTo>
                    <a:pt x="632354" y="37042"/>
                  </a:lnTo>
                  <a:lnTo>
                    <a:pt x="635000" y="39687"/>
                  </a:lnTo>
                  <a:lnTo>
                    <a:pt x="635000" y="42333"/>
                  </a:lnTo>
                  <a:lnTo>
                    <a:pt x="627063" y="50271"/>
                  </a:lnTo>
                  <a:lnTo>
                    <a:pt x="645583" y="47625"/>
                  </a:lnTo>
                  <a:lnTo>
                    <a:pt x="653521" y="44979"/>
                  </a:lnTo>
                  <a:lnTo>
                    <a:pt x="658813" y="42333"/>
                  </a:lnTo>
                  <a:lnTo>
                    <a:pt x="669396" y="39687"/>
                  </a:lnTo>
                  <a:lnTo>
                    <a:pt x="682625" y="39687"/>
                  </a:lnTo>
                  <a:lnTo>
                    <a:pt x="693208" y="42333"/>
                  </a:lnTo>
                  <a:lnTo>
                    <a:pt x="703792" y="47625"/>
                  </a:lnTo>
                  <a:lnTo>
                    <a:pt x="722313" y="50271"/>
                  </a:lnTo>
                  <a:lnTo>
                    <a:pt x="759354" y="55562"/>
                  </a:lnTo>
                  <a:lnTo>
                    <a:pt x="769937" y="55562"/>
                  </a:lnTo>
                  <a:lnTo>
                    <a:pt x="772583" y="52917"/>
                  </a:lnTo>
                  <a:lnTo>
                    <a:pt x="769937" y="52917"/>
                  </a:lnTo>
                  <a:lnTo>
                    <a:pt x="767292" y="50271"/>
                  </a:lnTo>
                  <a:lnTo>
                    <a:pt x="769937" y="50271"/>
                  </a:lnTo>
                  <a:lnTo>
                    <a:pt x="785812" y="52917"/>
                  </a:lnTo>
                  <a:lnTo>
                    <a:pt x="791104" y="55562"/>
                  </a:lnTo>
                  <a:lnTo>
                    <a:pt x="793750" y="58208"/>
                  </a:lnTo>
                  <a:lnTo>
                    <a:pt x="796396" y="63500"/>
                  </a:lnTo>
                  <a:lnTo>
                    <a:pt x="796396" y="66146"/>
                  </a:lnTo>
                  <a:lnTo>
                    <a:pt x="788458" y="66146"/>
                  </a:lnTo>
                  <a:lnTo>
                    <a:pt x="783167" y="63500"/>
                  </a:lnTo>
                  <a:lnTo>
                    <a:pt x="772583" y="66146"/>
                  </a:lnTo>
                  <a:lnTo>
                    <a:pt x="769937" y="66146"/>
                  </a:lnTo>
                  <a:lnTo>
                    <a:pt x="764646" y="71437"/>
                  </a:lnTo>
                  <a:lnTo>
                    <a:pt x="777875" y="71437"/>
                  </a:lnTo>
                  <a:lnTo>
                    <a:pt x="780521" y="74083"/>
                  </a:lnTo>
                  <a:lnTo>
                    <a:pt x="783167" y="76729"/>
                  </a:lnTo>
                  <a:lnTo>
                    <a:pt x="793750" y="76729"/>
                  </a:lnTo>
                  <a:lnTo>
                    <a:pt x="801687" y="76729"/>
                  </a:lnTo>
                  <a:lnTo>
                    <a:pt x="809625" y="79375"/>
                  </a:lnTo>
                  <a:lnTo>
                    <a:pt x="814917" y="82021"/>
                  </a:lnTo>
                  <a:lnTo>
                    <a:pt x="825500" y="79375"/>
                  </a:lnTo>
                  <a:lnTo>
                    <a:pt x="838729" y="76729"/>
                  </a:lnTo>
                  <a:lnTo>
                    <a:pt x="846667" y="76729"/>
                  </a:lnTo>
                  <a:lnTo>
                    <a:pt x="854604" y="74083"/>
                  </a:lnTo>
                  <a:lnTo>
                    <a:pt x="862542" y="71437"/>
                  </a:lnTo>
                  <a:lnTo>
                    <a:pt x="873125" y="68792"/>
                  </a:lnTo>
                  <a:lnTo>
                    <a:pt x="881062" y="68792"/>
                  </a:lnTo>
                  <a:lnTo>
                    <a:pt x="896937" y="79375"/>
                  </a:lnTo>
                  <a:lnTo>
                    <a:pt x="902229" y="84667"/>
                  </a:lnTo>
                  <a:lnTo>
                    <a:pt x="896937" y="87312"/>
                  </a:lnTo>
                  <a:lnTo>
                    <a:pt x="894292" y="89958"/>
                  </a:lnTo>
                  <a:lnTo>
                    <a:pt x="889000" y="92604"/>
                  </a:lnTo>
                  <a:lnTo>
                    <a:pt x="886354" y="100542"/>
                  </a:lnTo>
                  <a:lnTo>
                    <a:pt x="886354" y="108479"/>
                  </a:lnTo>
                  <a:lnTo>
                    <a:pt x="889000" y="97896"/>
                  </a:lnTo>
                  <a:lnTo>
                    <a:pt x="891646" y="95250"/>
                  </a:lnTo>
                  <a:lnTo>
                    <a:pt x="899583" y="92604"/>
                  </a:lnTo>
                  <a:lnTo>
                    <a:pt x="904875" y="87312"/>
                  </a:lnTo>
                  <a:lnTo>
                    <a:pt x="904875" y="84667"/>
                  </a:lnTo>
                  <a:lnTo>
                    <a:pt x="904875" y="82021"/>
                  </a:lnTo>
                  <a:lnTo>
                    <a:pt x="904875" y="79375"/>
                  </a:lnTo>
                  <a:lnTo>
                    <a:pt x="915458" y="74083"/>
                  </a:lnTo>
                  <a:lnTo>
                    <a:pt x="933979" y="68792"/>
                  </a:lnTo>
                  <a:lnTo>
                    <a:pt x="947208" y="68792"/>
                  </a:lnTo>
                  <a:lnTo>
                    <a:pt x="955146" y="66146"/>
                  </a:lnTo>
                  <a:lnTo>
                    <a:pt x="965729" y="66146"/>
                  </a:lnTo>
                  <a:lnTo>
                    <a:pt x="968375" y="66146"/>
                  </a:lnTo>
                  <a:lnTo>
                    <a:pt x="971021" y="63500"/>
                  </a:lnTo>
                  <a:lnTo>
                    <a:pt x="968375" y="60854"/>
                  </a:lnTo>
                  <a:lnTo>
                    <a:pt x="965729" y="60854"/>
                  </a:lnTo>
                  <a:lnTo>
                    <a:pt x="960437" y="63500"/>
                  </a:lnTo>
                  <a:lnTo>
                    <a:pt x="957792" y="63500"/>
                  </a:lnTo>
                  <a:lnTo>
                    <a:pt x="955146" y="60854"/>
                  </a:lnTo>
                  <a:lnTo>
                    <a:pt x="952500" y="63500"/>
                  </a:lnTo>
                  <a:lnTo>
                    <a:pt x="947208" y="63500"/>
                  </a:lnTo>
                  <a:lnTo>
                    <a:pt x="944562" y="63500"/>
                  </a:lnTo>
                  <a:lnTo>
                    <a:pt x="941917" y="63500"/>
                  </a:lnTo>
                  <a:lnTo>
                    <a:pt x="936625" y="66146"/>
                  </a:lnTo>
                  <a:lnTo>
                    <a:pt x="928687" y="68792"/>
                  </a:lnTo>
                  <a:lnTo>
                    <a:pt x="926042" y="66146"/>
                  </a:lnTo>
                  <a:lnTo>
                    <a:pt x="923396" y="66146"/>
                  </a:lnTo>
                  <a:lnTo>
                    <a:pt x="918104" y="66146"/>
                  </a:lnTo>
                  <a:lnTo>
                    <a:pt x="918104" y="63500"/>
                  </a:lnTo>
                  <a:lnTo>
                    <a:pt x="918104" y="60854"/>
                  </a:lnTo>
                  <a:lnTo>
                    <a:pt x="923396" y="58208"/>
                  </a:lnTo>
                  <a:lnTo>
                    <a:pt x="933979" y="55562"/>
                  </a:lnTo>
                  <a:lnTo>
                    <a:pt x="949854" y="52917"/>
                  </a:lnTo>
                  <a:lnTo>
                    <a:pt x="960437" y="50271"/>
                  </a:lnTo>
                  <a:lnTo>
                    <a:pt x="968375" y="47625"/>
                  </a:lnTo>
                  <a:lnTo>
                    <a:pt x="978958" y="47625"/>
                  </a:lnTo>
                  <a:lnTo>
                    <a:pt x="981604" y="47625"/>
                  </a:lnTo>
                  <a:lnTo>
                    <a:pt x="981604" y="50271"/>
                  </a:lnTo>
                  <a:lnTo>
                    <a:pt x="978958" y="52917"/>
                  </a:lnTo>
                  <a:lnTo>
                    <a:pt x="976312" y="58208"/>
                  </a:lnTo>
                  <a:lnTo>
                    <a:pt x="976312" y="60854"/>
                  </a:lnTo>
                  <a:lnTo>
                    <a:pt x="981604" y="63500"/>
                  </a:lnTo>
                  <a:lnTo>
                    <a:pt x="981604" y="66146"/>
                  </a:lnTo>
                  <a:lnTo>
                    <a:pt x="984250" y="63500"/>
                  </a:lnTo>
                  <a:lnTo>
                    <a:pt x="989542" y="63500"/>
                  </a:lnTo>
                  <a:lnTo>
                    <a:pt x="989542" y="66146"/>
                  </a:lnTo>
                  <a:lnTo>
                    <a:pt x="989542" y="68792"/>
                  </a:lnTo>
                  <a:lnTo>
                    <a:pt x="992187" y="71437"/>
                  </a:lnTo>
                  <a:lnTo>
                    <a:pt x="1000125" y="74083"/>
                  </a:lnTo>
                  <a:lnTo>
                    <a:pt x="1010708" y="74083"/>
                  </a:lnTo>
                  <a:lnTo>
                    <a:pt x="1037167" y="74083"/>
                  </a:lnTo>
                  <a:lnTo>
                    <a:pt x="1053042" y="74083"/>
                  </a:lnTo>
                  <a:lnTo>
                    <a:pt x="1066271" y="71437"/>
                  </a:lnTo>
                  <a:lnTo>
                    <a:pt x="1079500" y="68792"/>
                  </a:lnTo>
                  <a:lnTo>
                    <a:pt x="1084792" y="71437"/>
                  </a:lnTo>
                  <a:lnTo>
                    <a:pt x="1090083" y="71437"/>
                  </a:lnTo>
                  <a:lnTo>
                    <a:pt x="1095375" y="76729"/>
                  </a:lnTo>
                  <a:lnTo>
                    <a:pt x="1098021" y="76729"/>
                  </a:lnTo>
                  <a:lnTo>
                    <a:pt x="1103313" y="74083"/>
                  </a:lnTo>
                  <a:lnTo>
                    <a:pt x="1111250" y="74083"/>
                  </a:lnTo>
                  <a:lnTo>
                    <a:pt x="1119188" y="71437"/>
                  </a:lnTo>
                  <a:lnTo>
                    <a:pt x="1121833" y="68792"/>
                  </a:lnTo>
                  <a:lnTo>
                    <a:pt x="1124479" y="66146"/>
                  </a:lnTo>
                  <a:lnTo>
                    <a:pt x="1127125" y="71437"/>
                  </a:lnTo>
                  <a:lnTo>
                    <a:pt x="1132417" y="76729"/>
                  </a:lnTo>
                  <a:lnTo>
                    <a:pt x="1137708" y="79375"/>
                  </a:lnTo>
                  <a:lnTo>
                    <a:pt x="1140354" y="79375"/>
                  </a:lnTo>
                  <a:lnTo>
                    <a:pt x="1143000" y="76729"/>
                  </a:lnTo>
                  <a:lnTo>
                    <a:pt x="1140354" y="74083"/>
                  </a:lnTo>
                  <a:lnTo>
                    <a:pt x="1135063" y="71437"/>
                  </a:lnTo>
                  <a:lnTo>
                    <a:pt x="1129771" y="68792"/>
                  </a:lnTo>
                  <a:lnTo>
                    <a:pt x="1127125" y="60854"/>
                  </a:lnTo>
                  <a:lnTo>
                    <a:pt x="1135063" y="63500"/>
                  </a:lnTo>
                  <a:lnTo>
                    <a:pt x="1140354" y="60854"/>
                  </a:lnTo>
                  <a:lnTo>
                    <a:pt x="1143000" y="58208"/>
                  </a:lnTo>
                  <a:lnTo>
                    <a:pt x="1145646" y="60854"/>
                  </a:lnTo>
                  <a:lnTo>
                    <a:pt x="1153583" y="66146"/>
                  </a:lnTo>
                  <a:lnTo>
                    <a:pt x="1158875" y="66146"/>
                  </a:lnTo>
                  <a:lnTo>
                    <a:pt x="1158875" y="68792"/>
                  </a:lnTo>
                  <a:lnTo>
                    <a:pt x="1156229" y="71437"/>
                  </a:lnTo>
                  <a:lnTo>
                    <a:pt x="1150938" y="74083"/>
                  </a:lnTo>
                  <a:lnTo>
                    <a:pt x="1150938" y="76729"/>
                  </a:lnTo>
                  <a:lnTo>
                    <a:pt x="1150938" y="79375"/>
                  </a:lnTo>
                  <a:lnTo>
                    <a:pt x="1143000" y="87312"/>
                  </a:lnTo>
                  <a:lnTo>
                    <a:pt x="1153583" y="82021"/>
                  </a:lnTo>
                  <a:lnTo>
                    <a:pt x="1158875" y="79375"/>
                  </a:lnTo>
                  <a:lnTo>
                    <a:pt x="1158875" y="74083"/>
                  </a:lnTo>
                  <a:lnTo>
                    <a:pt x="1166813" y="71437"/>
                  </a:lnTo>
                  <a:lnTo>
                    <a:pt x="1172104" y="68792"/>
                  </a:lnTo>
                  <a:lnTo>
                    <a:pt x="1177396" y="68792"/>
                  </a:lnTo>
                  <a:lnTo>
                    <a:pt x="1185333" y="71437"/>
                  </a:lnTo>
                  <a:lnTo>
                    <a:pt x="1195917" y="71437"/>
                  </a:lnTo>
                  <a:lnTo>
                    <a:pt x="1219729" y="68792"/>
                  </a:lnTo>
                  <a:lnTo>
                    <a:pt x="1222375" y="68792"/>
                  </a:lnTo>
                  <a:lnTo>
                    <a:pt x="1219729" y="66146"/>
                  </a:lnTo>
                  <a:lnTo>
                    <a:pt x="1217083" y="63500"/>
                  </a:lnTo>
                  <a:lnTo>
                    <a:pt x="1214438" y="66146"/>
                  </a:lnTo>
                  <a:lnTo>
                    <a:pt x="1211792" y="68792"/>
                  </a:lnTo>
                  <a:lnTo>
                    <a:pt x="1209146" y="66146"/>
                  </a:lnTo>
                  <a:lnTo>
                    <a:pt x="1206500" y="66146"/>
                  </a:lnTo>
                  <a:lnTo>
                    <a:pt x="1206500" y="63500"/>
                  </a:lnTo>
                  <a:lnTo>
                    <a:pt x="1211792" y="60854"/>
                  </a:lnTo>
                  <a:lnTo>
                    <a:pt x="1222375" y="58208"/>
                  </a:lnTo>
                  <a:lnTo>
                    <a:pt x="1227667" y="58208"/>
                  </a:lnTo>
                  <a:lnTo>
                    <a:pt x="1232958" y="58208"/>
                  </a:lnTo>
                  <a:lnTo>
                    <a:pt x="1240896" y="55562"/>
                  </a:lnTo>
                  <a:lnTo>
                    <a:pt x="1248833" y="50271"/>
                  </a:lnTo>
                  <a:lnTo>
                    <a:pt x="1243542" y="50271"/>
                  </a:lnTo>
                  <a:lnTo>
                    <a:pt x="1232958" y="52917"/>
                  </a:lnTo>
                  <a:lnTo>
                    <a:pt x="1222375" y="55562"/>
                  </a:lnTo>
                  <a:lnTo>
                    <a:pt x="1214438" y="52917"/>
                  </a:lnTo>
                  <a:lnTo>
                    <a:pt x="1209146" y="52917"/>
                  </a:lnTo>
                  <a:lnTo>
                    <a:pt x="1206500" y="52917"/>
                  </a:lnTo>
                  <a:lnTo>
                    <a:pt x="1201208" y="52917"/>
                  </a:lnTo>
                  <a:lnTo>
                    <a:pt x="1193271" y="47625"/>
                  </a:lnTo>
                  <a:lnTo>
                    <a:pt x="1190625" y="42333"/>
                  </a:lnTo>
                  <a:lnTo>
                    <a:pt x="1190625" y="37042"/>
                  </a:lnTo>
                  <a:lnTo>
                    <a:pt x="1201208" y="34396"/>
                  </a:lnTo>
                  <a:lnTo>
                    <a:pt x="1211792" y="31750"/>
                  </a:lnTo>
                  <a:lnTo>
                    <a:pt x="1214438" y="29104"/>
                  </a:lnTo>
                  <a:lnTo>
                    <a:pt x="1214438" y="26458"/>
                  </a:lnTo>
                  <a:lnTo>
                    <a:pt x="1214438" y="23812"/>
                  </a:lnTo>
                  <a:lnTo>
                    <a:pt x="1219729" y="21167"/>
                  </a:lnTo>
                  <a:lnTo>
                    <a:pt x="1232958" y="13229"/>
                  </a:lnTo>
                  <a:lnTo>
                    <a:pt x="1238250" y="10583"/>
                  </a:lnTo>
                  <a:lnTo>
                    <a:pt x="1240896" y="13229"/>
                  </a:lnTo>
                  <a:lnTo>
                    <a:pt x="1243542" y="13229"/>
                  </a:lnTo>
                  <a:lnTo>
                    <a:pt x="1248833" y="10583"/>
                  </a:lnTo>
                  <a:lnTo>
                    <a:pt x="1248833" y="7937"/>
                  </a:lnTo>
                  <a:lnTo>
                    <a:pt x="1246188" y="7937"/>
                  </a:lnTo>
                  <a:lnTo>
                    <a:pt x="1243542" y="7937"/>
                  </a:lnTo>
                  <a:lnTo>
                    <a:pt x="1246188" y="5292"/>
                  </a:lnTo>
                  <a:lnTo>
                    <a:pt x="1259417" y="2646"/>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2" name="Chile"/>
            <p:cNvSpPr>
              <a:spLocks/>
            </p:cNvSpPr>
            <p:nvPr/>
          </p:nvSpPr>
          <p:spPr bwMode="auto">
            <a:xfrm>
              <a:off x="2210559" y="4226719"/>
              <a:ext cx="322792" cy="1045104"/>
            </a:xfrm>
            <a:custGeom>
              <a:avLst/>
              <a:gdLst/>
              <a:ahLst/>
              <a:cxnLst>
                <a:cxn ang="0">
                  <a:pos x="218" y="766"/>
                </a:cxn>
                <a:cxn ang="0">
                  <a:pos x="212" y="776"/>
                </a:cxn>
                <a:cxn ang="0">
                  <a:pos x="186" y="786"/>
                </a:cxn>
                <a:cxn ang="0">
                  <a:pos x="198" y="782"/>
                </a:cxn>
                <a:cxn ang="0">
                  <a:pos x="184" y="766"/>
                </a:cxn>
                <a:cxn ang="0">
                  <a:pos x="184" y="774"/>
                </a:cxn>
                <a:cxn ang="0">
                  <a:pos x="198" y="774"/>
                </a:cxn>
                <a:cxn ang="0">
                  <a:pos x="176" y="784"/>
                </a:cxn>
                <a:cxn ang="0">
                  <a:pos x="160" y="770"/>
                </a:cxn>
                <a:cxn ang="0">
                  <a:pos x="162" y="762"/>
                </a:cxn>
                <a:cxn ang="0">
                  <a:pos x="158" y="760"/>
                </a:cxn>
                <a:cxn ang="0">
                  <a:pos x="134" y="738"/>
                </a:cxn>
                <a:cxn ang="0">
                  <a:pos x="124" y="720"/>
                </a:cxn>
                <a:cxn ang="0">
                  <a:pos x="128" y="708"/>
                </a:cxn>
                <a:cxn ang="0">
                  <a:pos x="112" y="696"/>
                </a:cxn>
                <a:cxn ang="0">
                  <a:pos x="104" y="682"/>
                </a:cxn>
                <a:cxn ang="0">
                  <a:pos x="104" y="680"/>
                </a:cxn>
                <a:cxn ang="0">
                  <a:pos x="98" y="658"/>
                </a:cxn>
                <a:cxn ang="0">
                  <a:pos x="76" y="656"/>
                </a:cxn>
                <a:cxn ang="0">
                  <a:pos x="82" y="640"/>
                </a:cxn>
                <a:cxn ang="0">
                  <a:pos x="108" y="640"/>
                </a:cxn>
                <a:cxn ang="0">
                  <a:pos x="102" y="608"/>
                </a:cxn>
                <a:cxn ang="0">
                  <a:pos x="96" y="574"/>
                </a:cxn>
                <a:cxn ang="0">
                  <a:pos x="82" y="554"/>
                </a:cxn>
                <a:cxn ang="0">
                  <a:pos x="68" y="536"/>
                </a:cxn>
                <a:cxn ang="0">
                  <a:pos x="58" y="492"/>
                </a:cxn>
                <a:cxn ang="0">
                  <a:pos x="42" y="460"/>
                </a:cxn>
                <a:cxn ang="0">
                  <a:pos x="50" y="448"/>
                </a:cxn>
                <a:cxn ang="0">
                  <a:pos x="50" y="420"/>
                </a:cxn>
                <a:cxn ang="0">
                  <a:pos x="56" y="374"/>
                </a:cxn>
                <a:cxn ang="0">
                  <a:pos x="30" y="288"/>
                </a:cxn>
                <a:cxn ang="0">
                  <a:pos x="40" y="284"/>
                </a:cxn>
                <a:cxn ang="0">
                  <a:pos x="30" y="270"/>
                </a:cxn>
                <a:cxn ang="0">
                  <a:pos x="34" y="176"/>
                </a:cxn>
                <a:cxn ang="0">
                  <a:pos x="22" y="136"/>
                </a:cxn>
                <a:cxn ang="0">
                  <a:pos x="26" y="92"/>
                </a:cxn>
                <a:cxn ang="0">
                  <a:pos x="16" y="52"/>
                </a:cxn>
                <a:cxn ang="0">
                  <a:pos x="0" y="12"/>
                </a:cxn>
                <a:cxn ang="0">
                  <a:pos x="42" y="38"/>
                </a:cxn>
                <a:cxn ang="0">
                  <a:pos x="70" y="124"/>
                </a:cxn>
                <a:cxn ang="0">
                  <a:pos x="78" y="158"/>
                </a:cxn>
                <a:cxn ang="0">
                  <a:pos x="72" y="196"/>
                </a:cxn>
                <a:cxn ang="0">
                  <a:pos x="74" y="234"/>
                </a:cxn>
                <a:cxn ang="0">
                  <a:pos x="62" y="270"/>
                </a:cxn>
                <a:cxn ang="0">
                  <a:pos x="60" y="326"/>
                </a:cxn>
                <a:cxn ang="0">
                  <a:pos x="74" y="354"/>
                </a:cxn>
                <a:cxn ang="0">
                  <a:pos x="92" y="376"/>
                </a:cxn>
                <a:cxn ang="0">
                  <a:pos x="88" y="422"/>
                </a:cxn>
                <a:cxn ang="0">
                  <a:pos x="98" y="476"/>
                </a:cxn>
                <a:cxn ang="0">
                  <a:pos x="90" y="500"/>
                </a:cxn>
                <a:cxn ang="0">
                  <a:pos x="104" y="546"/>
                </a:cxn>
                <a:cxn ang="0">
                  <a:pos x="106" y="566"/>
                </a:cxn>
                <a:cxn ang="0">
                  <a:pos x="110" y="586"/>
                </a:cxn>
                <a:cxn ang="0">
                  <a:pos x="114" y="598"/>
                </a:cxn>
                <a:cxn ang="0">
                  <a:pos x="126" y="622"/>
                </a:cxn>
                <a:cxn ang="0">
                  <a:pos x="132" y="650"/>
                </a:cxn>
                <a:cxn ang="0">
                  <a:pos x="134" y="682"/>
                </a:cxn>
                <a:cxn ang="0">
                  <a:pos x="144" y="714"/>
                </a:cxn>
                <a:cxn ang="0">
                  <a:pos x="162" y="730"/>
                </a:cxn>
                <a:cxn ang="0">
                  <a:pos x="180" y="754"/>
                </a:cxn>
              </a:cxnLst>
              <a:rect l="0" t="0" r="r" b="b"/>
              <a:pathLst>
                <a:path w="244" h="790">
                  <a:moveTo>
                    <a:pt x="244" y="764"/>
                  </a:moveTo>
                  <a:lnTo>
                    <a:pt x="244" y="764"/>
                  </a:lnTo>
                  <a:lnTo>
                    <a:pt x="238" y="762"/>
                  </a:lnTo>
                  <a:lnTo>
                    <a:pt x="236" y="762"/>
                  </a:lnTo>
                  <a:lnTo>
                    <a:pt x="234" y="762"/>
                  </a:lnTo>
                  <a:lnTo>
                    <a:pt x="230" y="762"/>
                  </a:lnTo>
                  <a:lnTo>
                    <a:pt x="230" y="762"/>
                  </a:lnTo>
                  <a:lnTo>
                    <a:pt x="228" y="762"/>
                  </a:lnTo>
                  <a:lnTo>
                    <a:pt x="224" y="764"/>
                  </a:lnTo>
                  <a:lnTo>
                    <a:pt x="222" y="766"/>
                  </a:lnTo>
                  <a:lnTo>
                    <a:pt x="218" y="766"/>
                  </a:lnTo>
                  <a:lnTo>
                    <a:pt x="218" y="766"/>
                  </a:lnTo>
                  <a:lnTo>
                    <a:pt x="216" y="764"/>
                  </a:lnTo>
                  <a:lnTo>
                    <a:pt x="216" y="766"/>
                  </a:lnTo>
                  <a:lnTo>
                    <a:pt x="214" y="766"/>
                  </a:lnTo>
                  <a:lnTo>
                    <a:pt x="212" y="768"/>
                  </a:lnTo>
                  <a:lnTo>
                    <a:pt x="212" y="768"/>
                  </a:lnTo>
                  <a:lnTo>
                    <a:pt x="210" y="768"/>
                  </a:lnTo>
                  <a:lnTo>
                    <a:pt x="210" y="770"/>
                  </a:lnTo>
                  <a:lnTo>
                    <a:pt x="212" y="772"/>
                  </a:lnTo>
                  <a:lnTo>
                    <a:pt x="212" y="776"/>
                  </a:lnTo>
                  <a:lnTo>
                    <a:pt x="212" y="776"/>
                  </a:lnTo>
                  <a:lnTo>
                    <a:pt x="210" y="782"/>
                  </a:lnTo>
                  <a:lnTo>
                    <a:pt x="212" y="786"/>
                  </a:lnTo>
                  <a:lnTo>
                    <a:pt x="212" y="786"/>
                  </a:lnTo>
                  <a:lnTo>
                    <a:pt x="212" y="790"/>
                  </a:lnTo>
                  <a:lnTo>
                    <a:pt x="210" y="790"/>
                  </a:lnTo>
                  <a:lnTo>
                    <a:pt x="204" y="790"/>
                  </a:lnTo>
                  <a:lnTo>
                    <a:pt x="198" y="790"/>
                  </a:lnTo>
                  <a:lnTo>
                    <a:pt x="198" y="790"/>
                  </a:lnTo>
                  <a:lnTo>
                    <a:pt x="190" y="788"/>
                  </a:lnTo>
                  <a:lnTo>
                    <a:pt x="188" y="788"/>
                  </a:lnTo>
                  <a:lnTo>
                    <a:pt x="186" y="786"/>
                  </a:lnTo>
                  <a:lnTo>
                    <a:pt x="186" y="786"/>
                  </a:lnTo>
                  <a:lnTo>
                    <a:pt x="188" y="784"/>
                  </a:lnTo>
                  <a:lnTo>
                    <a:pt x="188" y="782"/>
                  </a:lnTo>
                  <a:lnTo>
                    <a:pt x="194" y="780"/>
                  </a:lnTo>
                  <a:lnTo>
                    <a:pt x="194" y="780"/>
                  </a:lnTo>
                  <a:lnTo>
                    <a:pt x="196" y="782"/>
                  </a:lnTo>
                  <a:lnTo>
                    <a:pt x="198" y="784"/>
                  </a:lnTo>
                  <a:lnTo>
                    <a:pt x="198" y="786"/>
                  </a:lnTo>
                  <a:lnTo>
                    <a:pt x="198" y="786"/>
                  </a:lnTo>
                  <a:lnTo>
                    <a:pt x="198" y="786"/>
                  </a:lnTo>
                  <a:lnTo>
                    <a:pt x="198" y="782"/>
                  </a:lnTo>
                  <a:lnTo>
                    <a:pt x="200" y="780"/>
                  </a:lnTo>
                  <a:lnTo>
                    <a:pt x="202" y="778"/>
                  </a:lnTo>
                  <a:lnTo>
                    <a:pt x="202" y="778"/>
                  </a:lnTo>
                  <a:lnTo>
                    <a:pt x="204" y="776"/>
                  </a:lnTo>
                  <a:lnTo>
                    <a:pt x="204" y="774"/>
                  </a:lnTo>
                  <a:lnTo>
                    <a:pt x="202" y="770"/>
                  </a:lnTo>
                  <a:lnTo>
                    <a:pt x="200" y="768"/>
                  </a:lnTo>
                  <a:lnTo>
                    <a:pt x="200" y="768"/>
                  </a:lnTo>
                  <a:lnTo>
                    <a:pt x="192" y="764"/>
                  </a:lnTo>
                  <a:lnTo>
                    <a:pt x="188" y="766"/>
                  </a:lnTo>
                  <a:lnTo>
                    <a:pt x="184" y="766"/>
                  </a:lnTo>
                  <a:lnTo>
                    <a:pt x="184" y="766"/>
                  </a:lnTo>
                  <a:lnTo>
                    <a:pt x="182" y="768"/>
                  </a:lnTo>
                  <a:lnTo>
                    <a:pt x="180" y="768"/>
                  </a:lnTo>
                  <a:lnTo>
                    <a:pt x="178" y="768"/>
                  </a:lnTo>
                  <a:lnTo>
                    <a:pt x="174" y="766"/>
                  </a:lnTo>
                  <a:lnTo>
                    <a:pt x="174" y="766"/>
                  </a:lnTo>
                  <a:lnTo>
                    <a:pt x="172" y="768"/>
                  </a:lnTo>
                  <a:lnTo>
                    <a:pt x="172" y="770"/>
                  </a:lnTo>
                  <a:lnTo>
                    <a:pt x="180" y="774"/>
                  </a:lnTo>
                  <a:lnTo>
                    <a:pt x="180" y="774"/>
                  </a:lnTo>
                  <a:lnTo>
                    <a:pt x="184" y="774"/>
                  </a:lnTo>
                  <a:lnTo>
                    <a:pt x="186" y="772"/>
                  </a:lnTo>
                  <a:lnTo>
                    <a:pt x="188" y="770"/>
                  </a:lnTo>
                  <a:lnTo>
                    <a:pt x="190" y="770"/>
                  </a:lnTo>
                  <a:lnTo>
                    <a:pt x="190" y="770"/>
                  </a:lnTo>
                  <a:lnTo>
                    <a:pt x="192" y="770"/>
                  </a:lnTo>
                  <a:lnTo>
                    <a:pt x="194" y="768"/>
                  </a:lnTo>
                  <a:lnTo>
                    <a:pt x="196" y="768"/>
                  </a:lnTo>
                  <a:lnTo>
                    <a:pt x="200" y="770"/>
                  </a:lnTo>
                  <a:lnTo>
                    <a:pt x="200" y="770"/>
                  </a:lnTo>
                  <a:lnTo>
                    <a:pt x="200" y="774"/>
                  </a:lnTo>
                  <a:lnTo>
                    <a:pt x="198" y="774"/>
                  </a:lnTo>
                  <a:lnTo>
                    <a:pt x="196" y="776"/>
                  </a:lnTo>
                  <a:lnTo>
                    <a:pt x="192" y="778"/>
                  </a:lnTo>
                  <a:lnTo>
                    <a:pt x="192" y="778"/>
                  </a:lnTo>
                  <a:lnTo>
                    <a:pt x="188" y="780"/>
                  </a:lnTo>
                  <a:lnTo>
                    <a:pt x="184" y="782"/>
                  </a:lnTo>
                  <a:lnTo>
                    <a:pt x="182" y="782"/>
                  </a:lnTo>
                  <a:lnTo>
                    <a:pt x="182" y="784"/>
                  </a:lnTo>
                  <a:lnTo>
                    <a:pt x="182" y="784"/>
                  </a:lnTo>
                  <a:lnTo>
                    <a:pt x="182" y="786"/>
                  </a:lnTo>
                  <a:lnTo>
                    <a:pt x="180" y="786"/>
                  </a:lnTo>
                  <a:lnTo>
                    <a:pt x="176" y="784"/>
                  </a:lnTo>
                  <a:lnTo>
                    <a:pt x="172" y="782"/>
                  </a:lnTo>
                  <a:lnTo>
                    <a:pt x="170" y="778"/>
                  </a:lnTo>
                  <a:lnTo>
                    <a:pt x="170" y="778"/>
                  </a:lnTo>
                  <a:lnTo>
                    <a:pt x="170" y="776"/>
                  </a:lnTo>
                  <a:lnTo>
                    <a:pt x="166" y="776"/>
                  </a:lnTo>
                  <a:lnTo>
                    <a:pt x="164" y="778"/>
                  </a:lnTo>
                  <a:lnTo>
                    <a:pt x="164" y="776"/>
                  </a:lnTo>
                  <a:lnTo>
                    <a:pt x="164" y="776"/>
                  </a:lnTo>
                  <a:lnTo>
                    <a:pt x="164" y="774"/>
                  </a:lnTo>
                  <a:lnTo>
                    <a:pt x="162" y="772"/>
                  </a:lnTo>
                  <a:lnTo>
                    <a:pt x="160" y="770"/>
                  </a:lnTo>
                  <a:lnTo>
                    <a:pt x="162" y="770"/>
                  </a:lnTo>
                  <a:lnTo>
                    <a:pt x="162" y="770"/>
                  </a:lnTo>
                  <a:lnTo>
                    <a:pt x="164" y="768"/>
                  </a:lnTo>
                  <a:lnTo>
                    <a:pt x="160" y="768"/>
                  </a:lnTo>
                  <a:lnTo>
                    <a:pt x="156" y="766"/>
                  </a:lnTo>
                  <a:lnTo>
                    <a:pt x="154" y="764"/>
                  </a:lnTo>
                  <a:lnTo>
                    <a:pt x="154" y="764"/>
                  </a:lnTo>
                  <a:lnTo>
                    <a:pt x="152" y="762"/>
                  </a:lnTo>
                  <a:lnTo>
                    <a:pt x="154" y="762"/>
                  </a:lnTo>
                  <a:lnTo>
                    <a:pt x="158" y="762"/>
                  </a:lnTo>
                  <a:lnTo>
                    <a:pt x="162" y="762"/>
                  </a:lnTo>
                  <a:lnTo>
                    <a:pt x="162" y="762"/>
                  </a:lnTo>
                  <a:lnTo>
                    <a:pt x="162" y="760"/>
                  </a:lnTo>
                  <a:lnTo>
                    <a:pt x="160" y="756"/>
                  </a:lnTo>
                  <a:lnTo>
                    <a:pt x="150" y="748"/>
                  </a:lnTo>
                  <a:lnTo>
                    <a:pt x="150" y="748"/>
                  </a:lnTo>
                  <a:lnTo>
                    <a:pt x="152" y="752"/>
                  </a:lnTo>
                  <a:lnTo>
                    <a:pt x="156" y="756"/>
                  </a:lnTo>
                  <a:lnTo>
                    <a:pt x="160" y="760"/>
                  </a:lnTo>
                  <a:lnTo>
                    <a:pt x="160" y="760"/>
                  </a:lnTo>
                  <a:lnTo>
                    <a:pt x="158" y="760"/>
                  </a:lnTo>
                  <a:lnTo>
                    <a:pt x="158" y="760"/>
                  </a:lnTo>
                  <a:lnTo>
                    <a:pt x="154" y="758"/>
                  </a:lnTo>
                  <a:lnTo>
                    <a:pt x="148" y="754"/>
                  </a:lnTo>
                  <a:lnTo>
                    <a:pt x="146" y="748"/>
                  </a:lnTo>
                  <a:lnTo>
                    <a:pt x="144" y="744"/>
                  </a:lnTo>
                  <a:lnTo>
                    <a:pt x="144" y="744"/>
                  </a:lnTo>
                  <a:lnTo>
                    <a:pt x="138" y="744"/>
                  </a:lnTo>
                  <a:lnTo>
                    <a:pt x="136" y="742"/>
                  </a:lnTo>
                  <a:lnTo>
                    <a:pt x="132" y="740"/>
                  </a:lnTo>
                  <a:lnTo>
                    <a:pt x="132" y="740"/>
                  </a:lnTo>
                  <a:lnTo>
                    <a:pt x="132" y="738"/>
                  </a:lnTo>
                  <a:lnTo>
                    <a:pt x="134" y="738"/>
                  </a:lnTo>
                  <a:lnTo>
                    <a:pt x="140" y="736"/>
                  </a:lnTo>
                  <a:lnTo>
                    <a:pt x="140" y="736"/>
                  </a:lnTo>
                  <a:lnTo>
                    <a:pt x="136" y="736"/>
                  </a:lnTo>
                  <a:lnTo>
                    <a:pt x="132" y="734"/>
                  </a:lnTo>
                  <a:lnTo>
                    <a:pt x="130" y="732"/>
                  </a:lnTo>
                  <a:lnTo>
                    <a:pt x="124" y="730"/>
                  </a:lnTo>
                  <a:lnTo>
                    <a:pt x="124" y="730"/>
                  </a:lnTo>
                  <a:lnTo>
                    <a:pt x="118" y="728"/>
                  </a:lnTo>
                  <a:lnTo>
                    <a:pt x="124" y="722"/>
                  </a:lnTo>
                  <a:lnTo>
                    <a:pt x="124" y="722"/>
                  </a:lnTo>
                  <a:lnTo>
                    <a:pt x="124" y="720"/>
                  </a:lnTo>
                  <a:lnTo>
                    <a:pt x="126" y="718"/>
                  </a:lnTo>
                  <a:lnTo>
                    <a:pt x="130" y="720"/>
                  </a:lnTo>
                  <a:lnTo>
                    <a:pt x="132" y="724"/>
                  </a:lnTo>
                  <a:lnTo>
                    <a:pt x="132" y="724"/>
                  </a:lnTo>
                  <a:lnTo>
                    <a:pt x="134" y="722"/>
                  </a:lnTo>
                  <a:lnTo>
                    <a:pt x="134" y="722"/>
                  </a:lnTo>
                  <a:lnTo>
                    <a:pt x="132" y="718"/>
                  </a:lnTo>
                  <a:lnTo>
                    <a:pt x="130" y="718"/>
                  </a:lnTo>
                  <a:lnTo>
                    <a:pt x="130" y="714"/>
                  </a:lnTo>
                  <a:lnTo>
                    <a:pt x="128" y="708"/>
                  </a:lnTo>
                  <a:lnTo>
                    <a:pt x="128" y="708"/>
                  </a:lnTo>
                  <a:lnTo>
                    <a:pt x="124" y="716"/>
                  </a:lnTo>
                  <a:lnTo>
                    <a:pt x="122" y="716"/>
                  </a:lnTo>
                  <a:lnTo>
                    <a:pt x="120" y="712"/>
                  </a:lnTo>
                  <a:lnTo>
                    <a:pt x="120" y="712"/>
                  </a:lnTo>
                  <a:lnTo>
                    <a:pt x="118" y="710"/>
                  </a:lnTo>
                  <a:lnTo>
                    <a:pt x="116" y="710"/>
                  </a:lnTo>
                  <a:lnTo>
                    <a:pt x="116" y="708"/>
                  </a:lnTo>
                  <a:lnTo>
                    <a:pt x="114" y="704"/>
                  </a:lnTo>
                  <a:lnTo>
                    <a:pt x="114" y="704"/>
                  </a:lnTo>
                  <a:lnTo>
                    <a:pt x="112" y="698"/>
                  </a:lnTo>
                  <a:lnTo>
                    <a:pt x="112" y="696"/>
                  </a:lnTo>
                  <a:lnTo>
                    <a:pt x="114" y="692"/>
                  </a:lnTo>
                  <a:lnTo>
                    <a:pt x="114" y="692"/>
                  </a:lnTo>
                  <a:lnTo>
                    <a:pt x="110" y="694"/>
                  </a:lnTo>
                  <a:lnTo>
                    <a:pt x="108" y="694"/>
                  </a:lnTo>
                  <a:lnTo>
                    <a:pt x="108" y="692"/>
                  </a:lnTo>
                  <a:lnTo>
                    <a:pt x="106" y="688"/>
                  </a:lnTo>
                  <a:lnTo>
                    <a:pt x="106" y="688"/>
                  </a:lnTo>
                  <a:lnTo>
                    <a:pt x="102" y="684"/>
                  </a:lnTo>
                  <a:lnTo>
                    <a:pt x="102" y="682"/>
                  </a:lnTo>
                  <a:lnTo>
                    <a:pt x="104" y="682"/>
                  </a:lnTo>
                  <a:lnTo>
                    <a:pt x="104" y="682"/>
                  </a:lnTo>
                  <a:lnTo>
                    <a:pt x="108" y="682"/>
                  </a:lnTo>
                  <a:lnTo>
                    <a:pt x="110" y="682"/>
                  </a:lnTo>
                  <a:lnTo>
                    <a:pt x="114" y="682"/>
                  </a:lnTo>
                  <a:lnTo>
                    <a:pt x="124" y="684"/>
                  </a:lnTo>
                  <a:lnTo>
                    <a:pt x="124" y="684"/>
                  </a:lnTo>
                  <a:lnTo>
                    <a:pt x="118" y="680"/>
                  </a:lnTo>
                  <a:lnTo>
                    <a:pt x="116" y="678"/>
                  </a:lnTo>
                  <a:lnTo>
                    <a:pt x="114" y="678"/>
                  </a:lnTo>
                  <a:lnTo>
                    <a:pt x="112" y="678"/>
                  </a:lnTo>
                  <a:lnTo>
                    <a:pt x="108" y="680"/>
                  </a:lnTo>
                  <a:lnTo>
                    <a:pt x="104" y="680"/>
                  </a:lnTo>
                  <a:lnTo>
                    <a:pt x="102" y="678"/>
                  </a:lnTo>
                  <a:lnTo>
                    <a:pt x="102" y="678"/>
                  </a:lnTo>
                  <a:lnTo>
                    <a:pt x="96" y="676"/>
                  </a:lnTo>
                  <a:lnTo>
                    <a:pt x="96" y="674"/>
                  </a:lnTo>
                  <a:lnTo>
                    <a:pt x="100" y="670"/>
                  </a:lnTo>
                  <a:lnTo>
                    <a:pt x="100" y="670"/>
                  </a:lnTo>
                  <a:lnTo>
                    <a:pt x="102" y="664"/>
                  </a:lnTo>
                  <a:lnTo>
                    <a:pt x="102" y="660"/>
                  </a:lnTo>
                  <a:lnTo>
                    <a:pt x="102" y="658"/>
                  </a:lnTo>
                  <a:lnTo>
                    <a:pt x="98" y="658"/>
                  </a:lnTo>
                  <a:lnTo>
                    <a:pt x="98" y="658"/>
                  </a:lnTo>
                  <a:lnTo>
                    <a:pt x="96" y="658"/>
                  </a:lnTo>
                  <a:lnTo>
                    <a:pt x="90" y="658"/>
                  </a:lnTo>
                  <a:lnTo>
                    <a:pt x="86" y="658"/>
                  </a:lnTo>
                  <a:lnTo>
                    <a:pt x="82" y="656"/>
                  </a:lnTo>
                  <a:lnTo>
                    <a:pt x="82" y="656"/>
                  </a:lnTo>
                  <a:lnTo>
                    <a:pt x="80" y="654"/>
                  </a:lnTo>
                  <a:lnTo>
                    <a:pt x="80" y="656"/>
                  </a:lnTo>
                  <a:lnTo>
                    <a:pt x="80" y="662"/>
                  </a:lnTo>
                  <a:lnTo>
                    <a:pt x="80" y="662"/>
                  </a:lnTo>
                  <a:lnTo>
                    <a:pt x="78" y="658"/>
                  </a:lnTo>
                  <a:lnTo>
                    <a:pt x="76" y="656"/>
                  </a:lnTo>
                  <a:lnTo>
                    <a:pt x="74" y="656"/>
                  </a:lnTo>
                  <a:lnTo>
                    <a:pt x="78" y="650"/>
                  </a:lnTo>
                  <a:lnTo>
                    <a:pt x="78" y="650"/>
                  </a:lnTo>
                  <a:lnTo>
                    <a:pt x="80" y="648"/>
                  </a:lnTo>
                  <a:lnTo>
                    <a:pt x="82" y="648"/>
                  </a:lnTo>
                  <a:lnTo>
                    <a:pt x="82" y="648"/>
                  </a:lnTo>
                  <a:lnTo>
                    <a:pt x="84" y="646"/>
                  </a:lnTo>
                  <a:lnTo>
                    <a:pt x="84" y="646"/>
                  </a:lnTo>
                  <a:lnTo>
                    <a:pt x="84" y="642"/>
                  </a:lnTo>
                  <a:lnTo>
                    <a:pt x="84" y="642"/>
                  </a:lnTo>
                  <a:lnTo>
                    <a:pt x="82" y="640"/>
                  </a:lnTo>
                  <a:lnTo>
                    <a:pt x="88" y="638"/>
                  </a:lnTo>
                  <a:lnTo>
                    <a:pt x="88" y="638"/>
                  </a:lnTo>
                  <a:lnTo>
                    <a:pt x="90" y="638"/>
                  </a:lnTo>
                  <a:lnTo>
                    <a:pt x="94" y="638"/>
                  </a:lnTo>
                  <a:lnTo>
                    <a:pt x="98" y="642"/>
                  </a:lnTo>
                  <a:lnTo>
                    <a:pt x="102" y="646"/>
                  </a:lnTo>
                  <a:lnTo>
                    <a:pt x="104" y="646"/>
                  </a:lnTo>
                  <a:lnTo>
                    <a:pt x="104" y="646"/>
                  </a:lnTo>
                  <a:lnTo>
                    <a:pt x="106" y="644"/>
                  </a:lnTo>
                  <a:lnTo>
                    <a:pt x="106" y="642"/>
                  </a:lnTo>
                  <a:lnTo>
                    <a:pt x="108" y="640"/>
                  </a:lnTo>
                  <a:lnTo>
                    <a:pt x="110" y="636"/>
                  </a:lnTo>
                  <a:lnTo>
                    <a:pt x="110" y="636"/>
                  </a:lnTo>
                  <a:lnTo>
                    <a:pt x="112" y="632"/>
                  </a:lnTo>
                  <a:lnTo>
                    <a:pt x="112" y="630"/>
                  </a:lnTo>
                  <a:lnTo>
                    <a:pt x="102" y="624"/>
                  </a:lnTo>
                  <a:lnTo>
                    <a:pt x="102" y="624"/>
                  </a:lnTo>
                  <a:lnTo>
                    <a:pt x="98" y="618"/>
                  </a:lnTo>
                  <a:lnTo>
                    <a:pt x="100" y="614"/>
                  </a:lnTo>
                  <a:lnTo>
                    <a:pt x="100" y="612"/>
                  </a:lnTo>
                  <a:lnTo>
                    <a:pt x="102" y="608"/>
                  </a:lnTo>
                  <a:lnTo>
                    <a:pt x="102" y="608"/>
                  </a:lnTo>
                  <a:lnTo>
                    <a:pt x="100" y="604"/>
                  </a:lnTo>
                  <a:lnTo>
                    <a:pt x="102" y="602"/>
                  </a:lnTo>
                  <a:lnTo>
                    <a:pt x="102" y="600"/>
                  </a:lnTo>
                  <a:lnTo>
                    <a:pt x="102" y="596"/>
                  </a:lnTo>
                  <a:lnTo>
                    <a:pt x="102" y="596"/>
                  </a:lnTo>
                  <a:lnTo>
                    <a:pt x="98" y="590"/>
                  </a:lnTo>
                  <a:lnTo>
                    <a:pt x="100" y="586"/>
                  </a:lnTo>
                  <a:lnTo>
                    <a:pt x="102" y="584"/>
                  </a:lnTo>
                  <a:lnTo>
                    <a:pt x="98" y="578"/>
                  </a:lnTo>
                  <a:lnTo>
                    <a:pt x="98" y="578"/>
                  </a:lnTo>
                  <a:lnTo>
                    <a:pt x="96" y="574"/>
                  </a:lnTo>
                  <a:lnTo>
                    <a:pt x="96" y="572"/>
                  </a:lnTo>
                  <a:lnTo>
                    <a:pt x="96" y="570"/>
                  </a:lnTo>
                  <a:lnTo>
                    <a:pt x="96" y="566"/>
                  </a:lnTo>
                  <a:lnTo>
                    <a:pt x="96" y="566"/>
                  </a:lnTo>
                  <a:lnTo>
                    <a:pt x="92" y="564"/>
                  </a:lnTo>
                  <a:lnTo>
                    <a:pt x="92" y="560"/>
                  </a:lnTo>
                  <a:lnTo>
                    <a:pt x="90" y="558"/>
                  </a:lnTo>
                  <a:lnTo>
                    <a:pt x="88" y="554"/>
                  </a:lnTo>
                  <a:lnTo>
                    <a:pt x="88" y="554"/>
                  </a:lnTo>
                  <a:lnTo>
                    <a:pt x="84" y="552"/>
                  </a:lnTo>
                  <a:lnTo>
                    <a:pt x="82" y="554"/>
                  </a:lnTo>
                  <a:lnTo>
                    <a:pt x="80" y="554"/>
                  </a:lnTo>
                  <a:lnTo>
                    <a:pt x="76" y="554"/>
                  </a:lnTo>
                  <a:lnTo>
                    <a:pt x="76" y="554"/>
                  </a:lnTo>
                  <a:lnTo>
                    <a:pt x="74" y="552"/>
                  </a:lnTo>
                  <a:lnTo>
                    <a:pt x="74" y="554"/>
                  </a:lnTo>
                  <a:lnTo>
                    <a:pt x="72" y="556"/>
                  </a:lnTo>
                  <a:lnTo>
                    <a:pt x="72" y="554"/>
                  </a:lnTo>
                  <a:lnTo>
                    <a:pt x="72" y="554"/>
                  </a:lnTo>
                  <a:lnTo>
                    <a:pt x="68" y="548"/>
                  </a:lnTo>
                  <a:lnTo>
                    <a:pt x="70" y="542"/>
                  </a:lnTo>
                  <a:lnTo>
                    <a:pt x="68" y="536"/>
                  </a:lnTo>
                  <a:lnTo>
                    <a:pt x="64" y="528"/>
                  </a:lnTo>
                  <a:lnTo>
                    <a:pt x="64" y="528"/>
                  </a:lnTo>
                  <a:lnTo>
                    <a:pt x="62" y="524"/>
                  </a:lnTo>
                  <a:lnTo>
                    <a:pt x="62" y="522"/>
                  </a:lnTo>
                  <a:lnTo>
                    <a:pt x="66" y="518"/>
                  </a:lnTo>
                  <a:lnTo>
                    <a:pt x="68" y="514"/>
                  </a:lnTo>
                  <a:lnTo>
                    <a:pt x="68" y="512"/>
                  </a:lnTo>
                  <a:lnTo>
                    <a:pt x="68" y="506"/>
                  </a:lnTo>
                  <a:lnTo>
                    <a:pt x="62" y="500"/>
                  </a:lnTo>
                  <a:lnTo>
                    <a:pt x="62" y="500"/>
                  </a:lnTo>
                  <a:lnTo>
                    <a:pt x="58" y="492"/>
                  </a:lnTo>
                  <a:lnTo>
                    <a:pt x="58" y="486"/>
                  </a:lnTo>
                  <a:lnTo>
                    <a:pt x="56" y="482"/>
                  </a:lnTo>
                  <a:lnTo>
                    <a:pt x="54" y="478"/>
                  </a:lnTo>
                  <a:lnTo>
                    <a:pt x="54" y="478"/>
                  </a:lnTo>
                  <a:lnTo>
                    <a:pt x="54" y="478"/>
                  </a:lnTo>
                  <a:lnTo>
                    <a:pt x="56" y="476"/>
                  </a:lnTo>
                  <a:lnTo>
                    <a:pt x="56" y="474"/>
                  </a:lnTo>
                  <a:lnTo>
                    <a:pt x="50" y="468"/>
                  </a:lnTo>
                  <a:lnTo>
                    <a:pt x="50" y="468"/>
                  </a:lnTo>
                  <a:lnTo>
                    <a:pt x="44" y="464"/>
                  </a:lnTo>
                  <a:lnTo>
                    <a:pt x="42" y="460"/>
                  </a:lnTo>
                  <a:lnTo>
                    <a:pt x="40" y="456"/>
                  </a:lnTo>
                  <a:lnTo>
                    <a:pt x="42" y="452"/>
                  </a:lnTo>
                  <a:lnTo>
                    <a:pt x="42" y="452"/>
                  </a:lnTo>
                  <a:lnTo>
                    <a:pt x="42" y="448"/>
                  </a:lnTo>
                  <a:lnTo>
                    <a:pt x="44" y="448"/>
                  </a:lnTo>
                  <a:lnTo>
                    <a:pt x="44" y="452"/>
                  </a:lnTo>
                  <a:lnTo>
                    <a:pt x="44" y="452"/>
                  </a:lnTo>
                  <a:lnTo>
                    <a:pt x="46" y="454"/>
                  </a:lnTo>
                  <a:lnTo>
                    <a:pt x="48" y="456"/>
                  </a:lnTo>
                  <a:lnTo>
                    <a:pt x="52" y="454"/>
                  </a:lnTo>
                  <a:lnTo>
                    <a:pt x="50" y="448"/>
                  </a:lnTo>
                  <a:lnTo>
                    <a:pt x="50" y="448"/>
                  </a:lnTo>
                  <a:lnTo>
                    <a:pt x="48" y="442"/>
                  </a:lnTo>
                  <a:lnTo>
                    <a:pt x="50" y="440"/>
                  </a:lnTo>
                  <a:lnTo>
                    <a:pt x="52" y="438"/>
                  </a:lnTo>
                  <a:lnTo>
                    <a:pt x="52" y="436"/>
                  </a:lnTo>
                  <a:lnTo>
                    <a:pt x="52" y="436"/>
                  </a:lnTo>
                  <a:lnTo>
                    <a:pt x="50" y="430"/>
                  </a:lnTo>
                  <a:lnTo>
                    <a:pt x="50" y="428"/>
                  </a:lnTo>
                  <a:lnTo>
                    <a:pt x="52" y="426"/>
                  </a:lnTo>
                  <a:lnTo>
                    <a:pt x="50" y="420"/>
                  </a:lnTo>
                  <a:lnTo>
                    <a:pt x="50" y="420"/>
                  </a:lnTo>
                  <a:lnTo>
                    <a:pt x="50" y="416"/>
                  </a:lnTo>
                  <a:lnTo>
                    <a:pt x="50" y="414"/>
                  </a:lnTo>
                  <a:lnTo>
                    <a:pt x="52" y="412"/>
                  </a:lnTo>
                  <a:lnTo>
                    <a:pt x="56" y="410"/>
                  </a:lnTo>
                  <a:lnTo>
                    <a:pt x="56" y="406"/>
                  </a:lnTo>
                  <a:lnTo>
                    <a:pt x="56" y="402"/>
                  </a:lnTo>
                  <a:lnTo>
                    <a:pt x="56" y="402"/>
                  </a:lnTo>
                  <a:lnTo>
                    <a:pt x="54" y="392"/>
                  </a:lnTo>
                  <a:lnTo>
                    <a:pt x="56" y="386"/>
                  </a:lnTo>
                  <a:lnTo>
                    <a:pt x="56" y="382"/>
                  </a:lnTo>
                  <a:lnTo>
                    <a:pt x="56" y="374"/>
                  </a:lnTo>
                  <a:lnTo>
                    <a:pt x="56" y="374"/>
                  </a:lnTo>
                  <a:lnTo>
                    <a:pt x="54" y="366"/>
                  </a:lnTo>
                  <a:lnTo>
                    <a:pt x="52" y="360"/>
                  </a:lnTo>
                  <a:lnTo>
                    <a:pt x="50" y="352"/>
                  </a:lnTo>
                  <a:lnTo>
                    <a:pt x="46" y="342"/>
                  </a:lnTo>
                  <a:lnTo>
                    <a:pt x="46" y="342"/>
                  </a:lnTo>
                  <a:lnTo>
                    <a:pt x="40" y="326"/>
                  </a:lnTo>
                  <a:lnTo>
                    <a:pt x="34" y="312"/>
                  </a:lnTo>
                  <a:lnTo>
                    <a:pt x="30" y="290"/>
                  </a:lnTo>
                  <a:lnTo>
                    <a:pt x="30" y="290"/>
                  </a:lnTo>
                  <a:lnTo>
                    <a:pt x="30" y="288"/>
                  </a:lnTo>
                  <a:lnTo>
                    <a:pt x="32" y="290"/>
                  </a:lnTo>
                  <a:lnTo>
                    <a:pt x="34" y="292"/>
                  </a:lnTo>
                  <a:lnTo>
                    <a:pt x="36" y="290"/>
                  </a:lnTo>
                  <a:lnTo>
                    <a:pt x="36" y="290"/>
                  </a:lnTo>
                  <a:lnTo>
                    <a:pt x="36" y="290"/>
                  </a:lnTo>
                  <a:lnTo>
                    <a:pt x="36" y="288"/>
                  </a:lnTo>
                  <a:lnTo>
                    <a:pt x="34" y="286"/>
                  </a:lnTo>
                  <a:lnTo>
                    <a:pt x="36" y="284"/>
                  </a:lnTo>
                  <a:lnTo>
                    <a:pt x="36" y="284"/>
                  </a:lnTo>
                  <a:lnTo>
                    <a:pt x="38" y="284"/>
                  </a:lnTo>
                  <a:lnTo>
                    <a:pt x="40" y="284"/>
                  </a:lnTo>
                  <a:lnTo>
                    <a:pt x="40" y="286"/>
                  </a:lnTo>
                  <a:lnTo>
                    <a:pt x="42" y="284"/>
                  </a:lnTo>
                  <a:lnTo>
                    <a:pt x="42" y="284"/>
                  </a:lnTo>
                  <a:lnTo>
                    <a:pt x="40" y="282"/>
                  </a:lnTo>
                  <a:lnTo>
                    <a:pt x="38" y="280"/>
                  </a:lnTo>
                  <a:lnTo>
                    <a:pt x="36" y="280"/>
                  </a:lnTo>
                  <a:lnTo>
                    <a:pt x="36" y="274"/>
                  </a:lnTo>
                  <a:lnTo>
                    <a:pt x="36" y="274"/>
                  </a:lnTo>
                  <a:lnTo>
                    <a:pt x="34" y="272"/>
                  </a:lnTo>
                  <a:lnTo>
                    <a:pt x="34" y="270"/>
                  </a:lnTo>
                  <a:lnTo>
                    <a:pt x="30" y="270"/>
                  </a:lnTo>
                  <a:lnTo>
                    <a:pt x="30" y="268"/>
                  </a:lnTo>
                  <a:lnTo>
                    <a:pt x="28" y="264"/>
                  </a:lnTo>
                  <a:lnTo>
                    <a:pt x="30" y="246"/>
                  </a:lnTo>
                  <a:lnTo>
                    <a:pt x="30" y="246"/>
                  </a:lnTo>
                  <a:lnTo>
                    <a:pt x="32" y="222"/>
                  </a:lnTo>
                  <a:lnTo>
                    <a:pt x="32" y="202"/>
                  </a:lnTo>
                  <a:lnTo>
                    <a:pt x="32" y="202"/>
                  </a:lnTo>
                  <a:lnTo>
                    <a:pt x="34" y="188"/>
                  </a:lnTo>
                  <a:lnTo>
                    <a:pt x="36" y="182"/>
                  </a:lnTo>
                  <a:lnTo>
                    <a:pt x="36" y="178"/>
                  </a:lnTo>
                  <a:lnTo>
                    <a:pt x="34" y="176"/>
                  </a:lnTo>
                  <a:lnTo>
                    <a:pt x="34" y="176"/>
                  </a:lnTo>
                  <a:lnTo>
                    <a:pt x="30" y="170"/>
                  </a:lnTo>
                  <a:lnTo>
                    <a:pt x="30" y="168"/>
                  </a:lnTo>
                  <a:lnTo>
                    <a:pt x="32" y="164"/>
                  </a:lnTo>
                  <a:lnTo>
                    <a:pt x="30" y="158"/>
                  </a:lnTo>
                  <a:lnTo>
                    <a:pt x="30" y="158"/>
                  </a:lnTo>
                  <a:lnTo>
                    <a:pt x="28" y="152"/>
                  </a:lnTo>
                  <a:lnTo>
                    <a:pt x="26" y="148"/>
                  </a:lnTo>
                  <a:lnTo>
                    <a:pt x="26" y="142"/>
                  </a:lnTo>
                  <a:lnTo>
                    <a:pt x="22" y="136"/>
                  </a:lnTo>
                  <a:lnTo>
                    <a:pt x="22" y="136"/>
                  </a:lnTo>
                  <a:lnTo>
                    <a:pt x="20" y="132"/>
                  </a:lnTo>
                  <a:lnTo>
                    <a:pt x="22" y="130"/>
                  </a:lnTo>
                  <a:lnTo>
                    <a:pt x="24" y="126"/>
                  </a:lnTo>
                  <a:lnTo>
                    <a:pt x="26" y="114"/>
                  </a:lnTo>
                  <a:lnTo>
                    <a:pt x="26" y="114"/>
                  </a:lnTo>
                  <a:lnTo>
                    <a:pt x="24" y="106"/>
                  </a:lnTo>
                  <a:lnTo>
                    <a:pt x="22" y="106"/>
                  </a:lnTo>
                  <a:lnTo>
                    <a:pt x="22" y="104"/>
                  </a:lnTo>
                  <a:lnTo>
                    <a:pt x="24" y="100"/>
                  </a:lnTo>
                  <a:lnTo>
                    <a:pt x="24" y="100"/>
                  </a:lnTo>
                  <a:lnTo>
                    <a:pt x="26" y="92"/>
                  </a:lnTo>
                  <a:lnTo>
                    <a:pt x="24" y="88"/>
                  </a:lnTo>
                  <a:lnTo>
                    <a:pt x="22" y="84"/>
                  </a:lnTo>
                  <a:lnTo>
                    <a:pt x="18" y="78"/>
                  </a:lnTo>
                  <a:lnTo>
                    <a:pt x="18" y="78"/>
                  </a:lnTo>
                  <a:lnTo>
                    <a:pt x="16" y="72"/>
                  </a:lnTo>
                  <a:lnTo>
                    <a:pt x="18" y="70"/>
                  </a:lnTo>
                  <a:lnTo>
                    <a:pt x="20" y="70"/>
                  </a:lnTo>
                  <a:lnTo>
                    <a:pt x="18" y="66"/>
                  </a:lnTo>
                  <a:lnTo>
                    <a:pt x="18" y="66"/>
                  </a:lnTo>
                  <a:lnTo>
                    <a:pt x="18" y="58"/>
                  </a:lnTo>
                  <a:lnTo>
                    <a:pt x="16" y="52"/>
                  </a:lnTo>
                  <a:lnTo>
                    <a:pt x="16" y="46"/>
                  </a:lnTo>
                  <a:lnTo>
                    <a:pt x="14" y="40"/>
                  </a:lnTo>
                  <a:lnTo>
                    <a:pt x="14" y="40"/>
                  </a:lnTo>
                  <a:lnTo>
                    <a:pt x="10" y="34"/>
                  </a:lnTo>
                  <a:lnTo>
                    <a:pt x="10" y="32"/>
                  </a:lnTo>
                  <a:lnTo>
                    <a:pt x="10" y="30"/>
                  </a:lnTo>
                  <a:lnTo>
                    <a:pt x="8" y="26"/>
                  </a:lnTo>
                  <a:lnTo>
                    <a:pt x="8" y="26"/>
                  </a:lnTo>
                  <a:lnTo>
                    <a:pt x="4" y="16"/>
                  </a:lnTo>
                  <a:lnTo>
                    <a:pt x="0" y="12"/>
                  </a:lnTo>
                  <a:lnTo>
                    <a:pt x="0" y="12"/>
                  </a:lnTo>
                  <a:lnTo>
                    <a:pt x="10" y="8"/>
                  </a:lnTo>
                  <a:lnTo>
                    <a:pt x="12" y="6"/>
                  </a:lnTo>
                  <a:lnTo>
                    <a:pt x="10" y="4"/>
                  </a:lnTo>
                  <a:lnTo>
                    <a:pt x="10" y="2"/>
                  </a:lnTo>
                  <a:lnTo>
                    <a:pt x="10" y="0"/>
                  </a:lnTo>
                  <a:lnTo>
                    <a:pt x="14" y="0"/>
                  </a:lnTo>
                  <a:lnTo>
                    <a:pt x="14" y="0"/>
                  </a:lnTo>
                  <a:lnTo>
                    <a:pt x="24" y="10"/>
                  </a:lnTo>
                  <a:lnTo>
                    <a:pt x="30" y="16"/>
                  </a:lnTo>
                  <a:lnTo>
                    <a:pt x="34" y="24"/>
                  </a:lnTo>
                  <a:lnTo>
                    <a:pt x="42" y="38"/>
                  </a:lnTo>
                  <a:lnTo>
                    <a:pt x="42" y="38"/>
                  </a:lnTo>
                  <a:lnTo>
                    <a:pt x="46" y="46"/>
                  </a:lnTo>
                  <a:lnTo>
                    <a:pt x="46" y="54"/>
                  </a:lnTo>
                  <a:lnTo>
                    <a:pt x="48" y="64"/>
                  </a:lnTo>
                  <a:lnTo>
                    <a:pt x="52" y="74"/>
                  </a:lnTo>
                  <a:lnTo>
                    <a:pt x="52" y="74"/>
                  </a:lnTo>
                  <a:lnTo>
                    <a:pt x="60" y="86"/>
                  </a:lnTo>
                  <a:lnTo>
                    <a:pt x="64" y="98"/>
                  </a:lnTo>
                  <a:lnTo>
                    <a:pt x="66" y="114"/>
                  </a:lnTo>
                  <a:lnTo>
                    <a:pt x="68" y="120"/>
                  </a:lnTo>
                  <a:lnTo>
                    <a:pt x="70" y="124"/>
                  </a:lnTo>
                  <a:lnTo>
                    <a:pt x="74" y="126"/>
                  </a:lnTo>
                  <a:lnTo>
                    <a:pt x="84" y="124"/>
                  </a:lnTo>
                  <a:lnTo>
                    <a:pt x="84" y="124"/>
                  </a:lnTo>
                  <a:lnTo>
                    <a:pt x="88" y="126"/>
                  </a:lnTo>
                  <a:lnTo>
                    <a:pt x="88" y="128"/>
                  </a:lnTo>
                  <a:lnTo>
                    <a:pt x="90" y="130"/>
                  </a:lnTo>
                  <a:lnTo>
                    <a:pt x="90" y="130"/>
                  </a:lnTo>
                  <a:lnTo>
                    <a:pt x="86" y="148"/>
                  </a:lnTo>
                  <a:lnTo>
                    <a:pt x="84" y="152"/>
                  </a:lnTo>
                  <a:lnTo>
                    <a:pt x="78" y="158"/>
                  </a:lnTo>
                  <a:lnTo>
                    <a:pt x="78" y="158"/>
                  </a:lnTo>
                  <a:lnTo>
                    <a:pt x="68" y="164"/>
                  </a:lnTo>
                  <a:lnTo>
                    <a:pt x="68" y="166"/>
                  </a:lnTo>
                  <a:lnTo>
                    <a:pt x="68" y="168"/>
                  </a:lnTo>
                  <a:lnTo>
                    <a:pt x="72" y="170"/>
                  </a:lnTo>
                  <a:lnTo>
                    <a:pt x="72" y="172"/>
                  </a:lnTo>
                  <a:lnTo>
                    <a:pt x="70" y="176"/>
                  </a:lnTo>
                  <a:lnTo>
                    <a:pt x="70" y="176"/>
                  </a:lnTo>
                  <a:lnTo>
                    <a:pt x="66" y="184"/>
                  </a:lnTo>
                  <a:lnTo>
                    <a:pt x="66" y="188"/>
                  </a:lnTo>
                  <a:lnTo>
                    <a:pt x="68" y="192"/>
                  </a:lnTo>
                  <a:lnTo>
                    <a:pt x="72" y="196"/>
                  </a:lnTo>
                  <a:lnTo>
                    <a:pt x="76" y="202"/>
                  </a:lnTo>
                  <a:lnTo>
                    <a:pt x="76" y="204"/>
                  </a:lnTo>
                  <a:lnTo>
                    <a:pt x="74" y="208"/>
                  </a:lnTo>
                  <a:lnTo>
                    <a:pt x="74" y="208"/>
                  </a:lnTo>
                  <a:lnTo>
                    <a:pt x="78" y="212"/>
                  </a:lnTo>
                  <a:lnTo>
                    <a:pt x="80" y="214"/>
                  </a:lnTo>
                  <a:lnTo>
                    <a:pt x="80" y="218"/>
                  </a:lnTo>
                  <a:lnTo>
                    <a:pt x="78" y="224"/>
                  </a:lnTo>
                  <a:lnTo>
                    <a:pt x="78" y="224"/>
                  </a:lnTo>
                  <a:lnTo>
                    <a:pt x="74" y="230"/>
                  </a:lnTo>
                  <a:lnTo>
                    <a:pt x="74" y="234"/>
                  </a:lnTo>
                  <a:lnTo>
                    <a:pt x="72" y="238"/>
                  </a:lnTo>
                  <a:lnTo>
                    <a:pt x="70" y="242"/>
                  </a:lnTo>
                  <a:lnTo>
                    <a:pt x="70" y="242"/>
                  </a:lnTo>
                  <a:lnTo>
                    <a:pt x="66" y="246"/>
                  </a:lnTo>
                  <a:lnTo>
                    <a:pt x="68" y="248"/>
                  </a:lnTo>
                  <a:lnTo>
                    <a:pt x="68" y="252"/>
                  </a:lnTo>
                  <a:lnTo>
                    <a:pt x="66" y="256"/>
                  </a:lnTo>
                  <a:lnTo>
                    <a:pt x="66" y="256"/>
                  </a:lnTo>
                  <a:lnTo>
                    <a:pt x="62" y="260"/>
                  </a:lnTo>
                  <a:lnTo>
                    <a:pt x="62" y="264"/>
                  </a:lnTo>
                  <a:lnTo>
                    <a:pt x="62" y="270"/>
                  </a:lnTo>
                  <a:lnTo>
                    <a:pt x="64" y="276"/>
                  </a:lnTo>
                  <a:lnTo>
                    <a:pt x="64" y="282"/>
                  </a:lnTo>
                  <a:lnTo>
                    <a:pt x="64" y="282"/>
                  </a:lnTo>
                  <a:lnTo>
                    <a:pt x="62" y="288"/>
                  </a:lnTo>
                  <a:lnTo>
                    <a:pt x="62" y="292"/>
                  </a:lnTo>
                  <a:lnTo>
                    <a:pt x="64" y="296"/>
                  </a:lnTo>
                  <a:lnTo>
                    <a:pt x="62" y="304"/>
                  </a:lnTo>
                  <a:lnTo>
                    <a:pt x="62" y="304"/>
                  </a:lnTo>
                  <a:lnTo>
                    <a:pt x="60" y="310"/>
                  </a:lnTo>
                  <a:lnTo>
                    <a:pt x="60" y="316"/>
                  </a:lnTo>
                  <a:lnTo>
                    <a:pt x="60" y="326"/>
                  </a:lnTo>
                  <a:lnTo>
                    <a:pt x="62" y="332"/>
                  </a:lnTo>
                  <a:lnTo>
                    <a:pt x="66" y="334"/>
                  </a:lnTo>
                  <a:lnTo>
                    <a:pt x="66" y="334"/>
                  </a:lnTo>
                  <a:lnTo>
                    <a:pt x="68" y="334"/>
                  </a:lnTo>
                  <a:lnTo>
                    <a:pt x="70" y="336"/>
                  </a:lnTo>
                  <a:lnTo>
                    <a:pt x="72" y="340"/>
                  </a:lnTo>
                  <a:lnTo>
                    <a:pt x="70" y="344"/>
                  </a:lnTo>
                  <a:lnTo>
                    <a:pt x="70" y="344"/>
                  </a:lnTo>
                  <a:lnTo>
                    <a:pt x="68" y="346"/>
                  </a:lnTo>
                  <a:lnTo>
                    <a:pt x="70" y="350"/>
                  </a:lnTo>
                  <a:lnTo>
                    <a:pt x="74" y="354"/>
                  </a:lnTo>
                  <a:lnTo>
                    <a:pt x="80" y="360"/>
                  </a:lnTo>
                  <a:lnTo>
                    <a:pt x="82" y="364"/>
                  </a:lnTo>
                  <a:lnTo>
                    <a:pt x="82" y="368"/>
                  </a:lnTo>
                  <a:lnTo>
                    <a:pt x="82" y="368"/>
                  </a:lnTo>
                  <a:lnTo>
                    <a:pt x="82" y="376"/>
                  </a:lnTo>
                  <a:lnTo>
                    <a:pt x="84" y="376"/>
                  </a:lnTo>
                  <a:lnTo>
                    <a:pt x="86" y="374"/>
                  </a:lnTo>
                  <a:lnTo>
                    <a:pt x="86" y="374"/>
                  </a:lnTo>
                  <a:lnTo>
                    <a:pt x="90" y="374"/>
                  </a:lnTo>
                  <a:lnTo>
                    <a:pt x="92" y="374"/>
                  </a:lnTo>
                  <a:lnTo>
                    <a:pt x="92" y="376"/>
                  </a:lnTo>
                  <a:lnTo>
                    <a:pt x="92" y="382"/>
                  </a:lnTo>
                  <a:lnTo>
                    <a:pt x="92" y="382"/>
                  </a:lnTo>
                  <a:lnTo>
                    <a:pt x="90" y="388"/>
                  </a:lnTo>
                  <a:lnTo>
                    <a:pt x="92" y="392"/>
                  </a:lnTo>
                  <a:lnTo>
                    <a:pt x="94" y="396"/>
                  </a:lnTo>
                  <a:lnTo>
                    <a:pt x="90" y="402"/>
                  </a:lnTo>
                  <a:lnTo>
                    <a:pt x="90" y="402"/>
                  </a:lnTo>
                  <a:lnTo>
                    <a:pt x="94" y="406"/>
                  </a:lnTo>
                  <a:lnTo>
                    <a:pt x="96" y="410"/>
                  </a:lnTo>
                  <a:lnTo>
                    <a:pt x="94" y="416"/>
                  </a:lnTo>
                  <a:lnTo>
                    <a:pt x="88" y="422"/>
                  </a:lnTo>
                  <a:lnTo>
                    <a:pt x="88" y="422"/>
                  </a:lnTo>
                  <a:lnTo>
                    <a:pt x="84" y="430"/>
                  </a:lnTo>
                  <a:lnTo>
                    <a:pt x="82" y="436"/>
                  </a:lnTo>
                  <a:lnTo>
                    <a:pt x="84" y="442"/>
                  </a:lnTo>
                  <a:lnTo>
                    <a:pt x="84" y="452"/>
                  </a:lnTo>
                  <a:lnTo>
                    <a:pt x="84" y="452"/>
                  </a:lnTo>
                  <a:lnTo>
                    <a:pt x="86" y="456"/>
                  </a:lnTo>
                  <a:lnTo>
                    <a:pt x="88" y="460"/>
                  </a:lnTo>
                  <a:lnTo>
                    <a:pt x="92" y="466"/>
                  </a:lnTo>
                  <a:lnTo>
                    <a:pt x="98" y="472"/>
                  </a:lnTo>
                  <a:lnTo>
                    <a:pt x="98" y="476"/>
                  </a:lnTo>
                  <a:lnTo>
                    <a:pt x="98" y="480"/>
                  </a:lnTo>
                  <a:lnTo>
                    <a:pt x="98" y="480"/>
                  </a:lnTo>
                  <a:lnTo>
                    <a:pt x="96" y="482"/>
                  </a:lnTo>
                  <a:lnTo>
                    <a:pt x="92" y="484"/>
                  </a:lnTo>
                  <a:lnTo>
                    <a:pt x="92" y="484"/>
                  </a:lnTo>
                  <a:lnTo>
                    <a:pt x="94" y="490"/>
                  </a:lnTo>
                  <a:lnTo>
                    <a:pt x="94" y="490"/>
                  </a:lnTo>
                  <a:lnTo>
                    <a:pt x="96" y="494"/>
                  </a:lnTo>
                  <a:lnTo>
                    <a:pt x="94" y="496"/>
                  </a:lnTo>
                  <a:lnTo>
                    <a:pt x="90" y="500"/>
                  </a:lnTo>
                  <a:lnTo>
                    <a:pt x="90" y="500"/>
                  </a:lnTo>
                  <a:lnTo>
                    <a:pt x="92" y="504"/>
                  </a:lnTo>
                  <a:lnTo>
                    <a:pt x="92" y="504"/>
                  </a:lnTo>
                  <a:lnTo>
                    <a:pt x="92" y="506"/>
                  </a:lnTo>
                  <a:lnTo>
                    <a:pt x="90" y="508"/>
                  </a:lnTo>
                  <a:lnTo>
                    <a:pt x="90" y="510"/>
                  </a:lnTo>
                  <a:lnTo>
                    <a:pt x="92" y="514"/>
                  </a:lnTo>
                  <a:lnTo>
                    <a:pt x="92" y="514"/>
                  </a:lnTo>
                  <a:lnTo>
                    <a:pt x="92" y="522"/>
                  </a:lnTo>
                  <a:lnTo>
                    <a:pt x="94" y="530"/>
                  </a:lnTo>
                  <a:lnTo>
                    <a:pt x="100" y="540"/>
                  </a:lnTo>
                  <a:lnTo>
                    <a:pt x="104" y="546"/>
                  </a:lnTo>
                  <a:lnTo>
                    <a:pt x="104" y="548"/>
                  </a:lnTo>
                  <a:lnTo>
                    <a:pt x="102" y="550"/>
                  </a:lnTo>
                  <a:lnTo>
                    <a:pt x="102" y="550"/>
                  </a:lnTo>
                  <a:lnTo>
                    <a:pt x="98" y="552"/>
                  </a:lnTo>
                  <a:lnTo>
                    <a:pt x="100" y="554"/>
                  </a:lnTo>
                  <a:lnTo>
                    <a:pt x="102" y="556"/>
                  </a:lnTo>
                  <a:lnTo>
                    <a:pt x="102" y="560"/>
                  </a:lnTo>
                  <a:lnTo>
                    <a:pt x="102" y="560"/>
                  </a:lnTo>
                  <a:lnTo>
                    <a:pt x="102" y="562"/>
                  </a:lnTo>
                  <a:lnTo>
                    <a:pt x="102" y="564"/>
                  </a:lnTo>
                  <a:lnTo>
                    <a:pt x="106" y="566"/>
                  </a:lnTo>
                  <a:lnTo>
                    <a:pt x="108" y="566"/>
                  </a:lnTo>
                  <a:lnTo>
                    <a:pt x="108" y="570"/>
                  </a:lnTo>
                  <a:lnTo>
                    <a:pt x="108" y="570"/>
                  </a:lnTo>
                  <a:lnTo>
                    <a:pt x="106" y="570"/>
                  </a:lnTo>
                  <a:lnTo>
                    <a:pt x="108" y="572"/>
                  </a:lnTo>
                  <a:lnTo>
                    <a:pt x="110" y="574"/>
                  </a:lnTo>
                  <a:lnTo>
                    <a:pt x="114" y="576"/>
                  </a:lnTo>
                  <a:lnTo>
                    <a:pt x="114" y="578"/>
                  </a:lnTo>
                  <a:lnTo>
                    <a:pt x="112" y="582"/>
                  </a:lnTo>
                  <a:lnTo>
                    <a:pt x="112" y="582"/>
                  </a:lnTo>
                  <a:lnTo>
                    <a:pt x="110" y="586"/>
                  </a:lnTo>
                  <a:lnTo>
                    <a:pt x="110" y="588"/>
                  </a:lnTo>
                  <a:lnTo>
                    <a:pt x="112" y="590"/>
                  </a:lnTo>
                  <a:lnTo>
                    <a:pt x="114" y="588"/>
                  </a:lnTo>
                  <a:lnTo>
                    <a:pt x="114" y="588"/>
                  </a:lnTo>
                  <a:lnTo>
                    <a:pt x="118" y="586"/>
                  </a:lnTo>
                  <a:lnTo>
                    <a:pt x="120" y="586"/>
                  </a:lnTo>
                  <a:lnTo>
                    <a:pt x="122" y="590"/>
                  </a:lnTo>
                  <a:lnTo>
                    <a:pt x="120" y="594"/>
                  </a:lnTo>
                  <a:lnTo>
                    <a:pt x="120" y="594"/>
                  </a:lnTo>
                  <a:lnTo>
                    <a:pt x="118" y="598"/>
                  </a:lnTo>
                  <a:lnTo>
                    <a:pt x="114" y="598"/>
                  </a:lnTo>
                  <a:lnTo>
                    <a:pt x="114" y="600"/>
                  </a:lnTo>
                  <a:lnTo>
                    <a:pt x="114" y="604"/>
                  </a:lnTo>
                  <a:lnTo>
                    <a:pt x="114" y="604"/>
                  </a:lnTo>
                  <a:lnTo>
                    <a:pt x="120" y="608"/>
                  </a:lnTo>
                  <a:lnTo>
                    <a:pt x="126" y="612"/>
                  </a:lnTo>
                  <a:lnTo>
                    <a:pt x="130" y="614"/>
                  </a:lnTo>
                  <a:lnTo>
                    <a:pt x="130" y="616"/>
                  </a:lnTo>
                  <a:lnTo>
                    <a:pt x="128" y="618"/>
                  </a:lnTo>
                  <a:lnTo>
                    <a:pt x="128" y="618"/>
                  </a:lnTo>
                  <a:lnTo>
                    <a:pt x="126" y="620"/>
                  </a:lnTo>
                  <a:lnTo>
                    <a:pt x="126" y="622"/>
                  </a:lnTo>
                  <a:lnTo>
                    <a:pt x="126" y="624"/>
                  </a:lnTo>
                  <a:lnTo>
                    <a:pt x="124" y="628"/>
                  </a:lnTo>
                  <a:lnTo>
                    <a:pt x="124" y="628"/>
                  </a:lnTo>
                  <a:lnTo>
                    <a:pt x="124" y="628"/>
                  </a:lnTo>
                  <a:lnTo>
                    <a:pt x="124" y="630"/>
                  </a:lnTo>
                  <a:lnTo>
                    <a:pt x="128" y="632"/>
                  </a:lnTo>
                  <a:lnTo>
                    <a:pt x="134" y="636"/>
                  </a:lnTo>
                  <a:lnTo>
                    <a:pt x="134" y="640"/>
                  </a:lnTo>
                  <a:lnTo>
                    <a:pt x="134" y="644"/>
                  </a:lnTo>
                  <a:lnTo>
                    <a:pt x="134" y="644"/>
                  </a:lnTo>
                  <a:lnTo>
                    <a:pt x="132" y="650"/>
                  </a:lnTo>
                  <a:lnTo>
                    <a:pt x="132" y="656"/>
                  </a:lnTo>
                  <a:lnTo>
                    <a:pt x="136" y="662"/>
                  </a:lnTo>
                  <a:lnTo>
                    <a:pt x="138" y="668"/>
                  </a:lnTo>
                  <a:lnTo>
                    <a:pt x="138" y="670"/>
                  </a:lnTo>
                  <a:lnTo>
                    <a:pt x="138" y="672"/>
                  </a:lnTo>
                  <a:lnTo>
                    <a:pt x="138" y="672"/>
                  </a:lnTo>
                  <a:lnTo>
                    <a:pt x="134" y="676"/>
                  </a:lnTo>
                  <a:lnTo>
                    <a:pt x="136" y="676"/>
                  </a:lnTo>
                  <a:lnTo>
                    <a:pt x="136" y="678"/>
                  </a:lnTo>
                  <a:lnTo>
                    <a:pt x="134" y="682"/>
                  </a:lnTo>
                  <a:lnTo>
                    <a:pt x="134" y="682"/>
                  </a:lnTo>
                  <a:lnTo>
                    <a:pt x="134" y="684"/>
                  </a:lnTo>
                  <a:lnTo>
                    <a:pt x="134" y="688"/>
                  </a:lnTo>
                  <a:lnTo>
                    <a:pt x="138" y="690"/>
                  </a:lnTo>
                  <a:lnTo>
                    <a:pt x="142" y="694"/>
                  </a:lnTo>
                  <a:lnTo>
                    <a:pt x="142" y="696"/>
                  </a:lnTo>
                  <a:lnTo>
                    <a:pt x="140" y="698"/>
                  </a:lnTo>
                  <a:lnTo>
                    <a:pt x="140" y="698"/>
                  </a:lnTo>
                  <a:lnTo>
                    <a:pt x="140" y="704"/>
                  </a:lnTo>
                  <a:lnTo>
                    <a:pt x="142" y="708"/>
                  </a:lnTo>
                  <a:lnTo>
                    <a:pt x="144" y="710"/>
                  </a:lnTo>
                  <a:lnTo>
                    <a:pt x="144" y="714"/>
                  </a:lnTo>
                  <a:lnTo>
                    <a:pt x="144" y="714"/>
                  </a:lnTo>
                  <a:lnTo>
                    <a:pt x="142" y="720"/>
                  </a:lnTo>
                  <a:lnTo>
                    <a:pt x="142" y="726"/>
                  </a:lnTo>
                  <a:lnTo>
                    <a:pt x="146" y="734"/>
                  </a:lnTo>
                  <a:lnTo>
                    <a:pt x="148" y="738"/>
                  </a:lnTo>
                  <a:lnTo>
                    <a:pt x="148" y="738"/>
                  </a:lnTo>
                  <a:lnTo>
                    <a:pt x="150" y="736"/>
                  </a:lnTo>
                  <a:lnTo>
                    <a:pt x="154" y="734"/>
                  </a:lnTo>
                  <a:lnTo>
                    <a:pt x="158" y="730"/>
                  </a:lnTo>
                  <a:lnTo>
                    <a:pt x="162" y="730"/>
                  </a:lnTo>
                  <a:lnTo>
                    <a:pt x="162" y="730"/>
                  </a:lnTo>
                  <a:lnTo>
                    <a:pt x="166" y="734"/>
                  </a:lnTo>
                  <a:lnTo>
                    <a:pt x="166" y="738"/>
                  </a:lnTo>
                  <a:lnTo>
                    <a:pt x="164" y="740"/>
                  </a:lnTo>
                  <a:lnTo>
                    <a:pt x="166" y="744"/>
                  </a:lnTo>
                  <a:lnTo>
                    <a:pt x="166" y="744"/>
                  </a:lnTo>
                  <a:lnTo>
                    <a:pt x="168" y="748"/>
                  </a:lnTo>
                  <a:lnTo>
                    <a:pt x="168" y="750"/>
                  </a:lnTo>
                  <a:lnTo>
                    <a:pt x="170" y="752"/>
                  </a:lnTo>
                  <a:lnTo>
                    <a:pt x="176" y="752"/>
                  </a:lnTo>
                  <a:lnTo>
                    <a:pt x="176" y="752"/>
                  </a:lnTo>
                  <a:lnTo>
                    <a:pt x="180" y="754"/>
                  </a:lnTo>
                  <a:lnTo>
                    <a:pt x="184" y="756"/>
                  </a:lnTo>
                  <a:lnTo>
                    <a:pt x="184" y="758"/>
                  </a:lnTo>
                  <a:lnTo>
                    <a:pt x="218" y="758"/>
                  </a:lnTo>
                  <a:lnTo>
                    <a:pt x="218" y="758"/>
                  </a:lnTo>
                  <a:lnTo>
                    <a:pt x="222" y="760"/>
                  </a:lnTo>
                  <a:lnTo>
                    <a:pt x="226" y="758"/>
                  </a:lnTo>
                  <a:lnTo>
                    <a:pt x="232" y="760"/>
                  </a:lnTo>
                  <a:lnTo>
                    <a:pt x="244" y="764"/>
                  </a:lnTo>
                  <a:lnTo>
                    <a:pt x="244" y="764"/>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3" name="China"/>
            <p:cNvSpPr>
              <a:spLocks/>
            </p:cNvSpPr>
            <p:nvPr/>
          </p:nvSpPr>
          <p:spPr bwMode="auto">
            <a:xfrm>
              <a:off x="6017914" y="1943365"/>
              <a:ext cx="1394354" cy="992188"/>
            </a:xfrm>
            <a:custGeom>
              <a:avLst/>
              <a:gdLst/>
              <a:ahLst/>
              <a:cxnLst>
                <a:cxn ang="0">
                  <a:pos x="124" y="124"/>
                </a:cxn>
                <a:cxn ang="0">
                  <a:pos x="80" y="176"/>
                </a:cxn>
                <a:cxn ang="0">
                  <a:pos x="96" y="230"/>
                </a:cxn>
                <a:cxn ang="0">
                  <a:pos x="42" y="262"/>
                </a:cxn>
                <a:cxn ang="0">
                  <a:pos x="8" y="296"/>
                </a:cxn>
                <a:cxn ang="0">
                  <a:pos x="26" y="338"/>
                </a:cxn>
                <a:cxn ang="0">
                  <a:pos x="94" y="366"/>
                </a:cxn>
                <a:cxn ang="0">
                  <a:pos x="156" y="450"/>
                </a:cxn>
                <a:cxn ang="0">
                  <a:pos x="200" y="498"/>
                </a:cxn>
                <a:cxn ang="0">
                  <a:pos x="288" y="534"/>
                </a:cxn>
                <a:cxn ang="0">
                  <a:pos x="372" y="558"/>
                </a:cxn>
                <a:cxn ang="0">
                  <a:pos x="432" y="550"/>
                </a:cxn>
                <a:cxn ang="0">
                  <a:pos x="524" y="522"/>
                </a:cxn>
                <a:cxn ang="0">
                  <a:pos x="556" y="536"/>
                </a:cxn>
                <a:cxn ang="0">
                  <a:pos x="602" y="604"/>
                </a:cxn>
                <a:cxn ang="0">
                  <a:pos x="586" y="650"/>
                </a:cxn>
                <a:cxn ang="0">
                  <a:pos x="596" y="674"/>
                </a:cxn>
                <a:cxn ang="0">
                  <a:pos x="602" y="710"/>
                </a:cxn>
                <a:cxn ang="0">
                  <a:pos x="666" y="724"/>
                </a:cxn>
                <a:cxn ang="0">
                  <a:pos x="692" y="700"/>
                </a:cxn>
                <a:cxn ang="0">
                  <a:pos x="730" y="694"/>
                </a:cxn>
                <a:cxn ang="0">
                  <a:pos x="780" y="698"/>
                </a:cxn>
                <a:cxn ang="0">
                  <a:pos x="806" y="718"/>
                </a:cxn>
                <a:cxn ang="0">
                  <a:pos x="840" y="720"/>
                </a:cxn>
                <a:cxn ang="0">
                  <a:pos x="860" y="732"/>
                </a:cxn>
                <a:cxn ang="0">
                  <a:pos x="856" y="712"/>
                </a:cxn>
                <a:cxn ang="0">
                  <a:pos x="912" y="694"/>
                </a:cxn>
                <a:cxn ang="0">
                  <a:pos x="944" y="684"/>
                </a:cxn>
                <a:cxn ang="0">
                  <a:pos x="986" y="656"/>
                </a:cxn>
                <a:cxn ang="0">
                  <a:pos x="1012" y="620"/>
                </a:cxn>
                <a:cxn ang="0">
                  <a:pos x="1026" y="582"/>
                </a:cxn>
                <a:cxn ang="0">
                  <a:pos x="1034" y="530"/>
                </a:cxn>
                <a:cxn ang="0">
                  <a:pos x="992" y="510"/>
                </a:cxn>
                <a:cxn ang="0">
                  <a:pos x="1016" y="492"/>
                </a:cxn>
                <a:cxn ang="0">
                  <a:pos x="988" y="472"/>
                </a:cxn>
                <a:cxn ang="0">
                  <a:pos x="974" y="442"/>
                </a:cxn>
                <a:cxn ang="0">
                  <a:pos x="922" y="402"/>
                </a:cxn>
                <a:cxn ang="0">
                  <a:pos x="942" y="370"/>
                </a:cxn>
                <a:cxn ang="0">
                  <a:pos x="962" y="348"/>
                </a:cxn>
                <a:cxn ang="0">
                  <a:pos x="906" y="352"/>
                </a:cxn>
                <a:cxn ang="0">
                  <a:pos x="834" y="310"/>
                </a:cxn>
                <a:cxn ang="0">
                  <a:pos x="886" y="270"/>
                </a:cxn>
                <a:cxn ang="0">
                  <a:pos x="904" y="302"/>
                </a:cxn>
                <a:cxn ang="0">
                  <a:pos x="916" y="306"/>
                </a:cxn>
                <a:cxn ang="0">
                  <a:pos x="980" y="256"/>
                </a:cxn>
                <a:cxn ang="0">
                  <a:pos x="1032" y="224"/>
                </a:cxn>
                <a:cxn ang="0">
                  <a:pos x="1038" y="186"/>
                </a:cxn>
                <a:cxn ang="0">
                  <a:pos x="1042" y="120"/>
                </a:cxn>
                <a:cxn ang="0">
                  <a:pos x="970" y="96"/>
                </a:cxn>
                <a:cxn ang="0">
                  <a:pos x="764" y="0"/>
                </a:cxn>
                <a:cxn ang="0">
                  <a:pos x="730" y="26"/>
                </a:cxn>
                <a:cxn ang="0">
                  <a:pos x="644" y="90"/>
                </a:cxn>
                <a:cxn ang="0">
                  <a:pos x="710" y="100"/>
                </a:cxn>
                <a:cxn ang="0">
                  <a:pos x="750" y="132"/>
                </a:cxn>
                <a:cxn ang="0">
                  <a:pos x="684" y="168"/>
                </a:cxn>
                <a:cxn ang="0">
                  <a:pos x="678" y="206"/>
                </a:cxn>
                <a:cxn ang="0">
                  <a:pos x="526" y="222"/>
                </a:cxn>
                <a:cxn ang="0">
                  <a:pos x="412" y="210"/>
                </a:cxn>
                <a:cxn ang="0">
                  <a:pos x="380" y="176"/>
                </a:cxn>
                <a:cxn ang="0">
                  <a:pos x="276" y="156"/>
                </a:cxn>
                <a:cxn ang="0">
                  <a:pos x="226" y="108"/>
                </a:cxn>
              </a:cxnLst>
              <a:rect l="0" t="0" r="r" b="b"/>
              <a:pathLst>
                <a:path w="1054" h="750">
                  <a:moveTo>
                    <a:pt x="182" y="88"/>
                  </a:moveTo>
                  <a:lnTo>
                    <a:pt x="182" y="88"/>
                  </a:lnTo>
                  <a:lnTo>
                    <a:pt x="180" y="88"/>
                  </a:lnTo>
                  <a:lnTo>
                    <a:pt x="176" y="88"/>
                  </a:lnTo>
                  <a:lnTo>
                    <a:pt x="176" y="88"/>
                  </a:lnTo>
                  <a:lnTo>
                    <a:pt x="174" y="90"/>
                  </a:lnTo>
                  <a:lnTo>
                    <a:pt x="172" y="92"/>
                  </a:lnTo>
                  <a:lnTo>
                    <a:pt x="160" y="92"/>
                  </a:lnTo>
                  <a:lnTo>
                    <a:pt x="156" y="92"/>
                  </a:lnTo>
                  <a:lnTo>
                    <a:pt x="152" y="96"/>
                  </a:lnTo>
                  <a:lnTo>
                    <a:pt x="152" y="104"/>
                  </a:lnTo>
                  <a:lnTo>
                    <a:pt x="154" y="116"/>
                  </a:lnTo>
                  <a:lnTo>
                    <a:pt x="154" y="116"/>
                  </a:lnTo>
                  <a:lnTo>
                    <a:pt x="154" y="118"/>
                  </a:lnTo>
                  <a:lnTo>
                    <a:pt x="152" y="120"/>
                  </a:lnTo>
                  <a:lnTo>
                    <a:pt x="144" y="124"/>
                  </a:lnTo>
                  <a:lnTo>
                    <a:pt x="134" y="126"/>
                  </a:lnTo>
                  <a:lnTo>
                    <a:pt x="124" y="124"/>
                  </a:lnTo>
                  <a:lnTo>
                    <a:pt x="124" y="124"/>
                  </a:lnTo>
                  <a:lnTo>
                    <a:pt x="118" y="122"/>
                  </a:lnTo>
                  <a:lnTo>
                    <a:pt x="114" y="122"/>
                  </a:lnTo>
                  <a:lnTo>
                    <a:pt x="110" y="124"/>
                  </a:lnTo>
                  <a:lnTo>
                    <a:pt x="110" y="128"/>
                  </a:lnTo>
                  <a:lnTo>
                    <a:pt x="110" y="138"/>
                  </a:lnTo>
                  <a:lnTo>
                    <a:pt x="112" y="156"/>
                  </a:lnTo>
                  <a:lnTo>
                    <a:pt x="112" y="156"/>
                  </a:lnTo>
                  <a:lnTo>
                    <a:pt x="112" y="160"/>
                  </a:lnTo>
                  <a:lnTo>
                    <a:pt x="112" y="162"/>
                  </a:lnTo>
                  <a:lnTo>
                    <a:pt x="104" y="162"/>
                  </a:lnTo>
                  <a:lnTo>
                    <a:pt x="94" y="162"/>
                  </a:lnTo>
                  <a:lnTo>
                    <a:pt x="86" y="164"/>
                  </a:lnTo>
                  <a:lnTo>
                    <a:pt x="86" y="164"/>
                  </a:lnTo>
                  <a:lnTo>
                    <a:pt x="80" y="168"/>
                  </a:lnTo>
                  <a:lnTo>
                    <a:pt x="78" y="172"/>
                  </a:lnTo>
                  <a:lnTo>
                    <a:pt x="78" y="176"/>
                  </a:lnTo>
                  <a:lnTo>
                    <a:pt x="80" y="176"/>
                  </a:lnTo>
                  <a:lnTo>
                    <a:pt x="80" y="176"/>
                  </a:lnTo>
                  <a:lnTo>
                    <a:pt x="82" y="176"/>
                  </a:lnTo>
                  <a:lnTo>
                    <a:pt x="86" y="178"/>
                  </a:lnTo>
                  <a:lnTo>
                    <a:pt x="94" y="188"/>
                  </a:lnTo>
                  <a:lnTo>
                    <a:pt x="102" y="196"/>
                  </a:lnTo>
                  <a:lnTo>
                    <a:pt x="104" y="202"/>
                  </a:lnTo>
                  <a:lnTo>
                    <a:pt x="102" y="204"/>
                  </a:lnTo>
                  <a:lnTo>
                    <a:pt x="102" y="204"/>
                  </a:lnTo>
                  <a:lnTo>
                    <a:pt x="100" y="208"/>
                  </a:lnTo>
                  <a:lnTo>
                    <a:pt x="100" y="212"/>
                  </a:lnTo>
                  <a:lnTo>
                    <a:pt x="104" y="216"/>
                  </a:lnTo>
                  <a:lnTo>
                    <a:pt x="106" y="222"/>
                  </a:lnTo>
                  <a:lnTo>
                    <a:pt x="106" y="224"/>
                  </a:lnTo>
                  <a:lnTo>
                    <a:pt x="102" y="226"/>
                  </a:lnTo>
                  <a:lnTo>
                    <a:pt x="102" y="226"/>
                  </a:lnTo>
                  <a:lnTo>
                    <a:pt x="102" y="228"/>
                  </a:lnTo>
                  <a:lnTo>
                    <a:pt x="100" y="230"/>
                  </a:lnTo>
                  <a:lnTo>
                    <a:pt x="96" y="230"/>
                  </a:lnTo>
                  <a:lnTo>
                    <a:pt x="90" y="232"/>
                  </a:lnTo>
                  <a:lnTo>
                    <a:pt x="86" y="232"/>
                  </a:lnTo>
                  <a:lnTo>
                    <a:pt x="86" y="236"/>
                  </a:lnTo>
                  <a:lnTo>
                    <a:pt x="86" y="236"/>
                  </a:lnTo>
                  <a:lnTo>
                    <a:pt x="84" y="238"/>
                  </a:lnTo>
                  <a:lnTo>
                    <a:pt x="82" y="240"/>
                  </a:lnTo>
                  <a:lnTo>
                    <a:pt x="76" y="242"/>
                  </a:lnTo>
                  <a:lnTo>
                    <a:pt x="68" y="248"/>
                  </a:lnTo>
                  <a:lnTo>
                    <a:pt x="68" y="248"/>
                  </a:lnTo>
                  <a:lnTo>
                    <a:pt x="64" y="250"/>
                  </a:lnTo>
                  <a:lnTo>
                    <a:pt x="62" y="250"/>
                  </a:lnTo>
                  <a:lnTo>
                    <a:pt x="60" y="248"/>
                  </a:lnTo>
                  <a:lnTo>
                    <a:pt x="52" y="250"/>
                  </a:lnTo>
                  <a:lnTo>
                    <a:pt x="52" y="250"/>
                  </a:lnTo>
                  <a:lnTo>
                    <a:pt x="48" y="252"/>
                  </a:lnTo>
                  <a:lnTo>
                    <a:pt x="44" y="254"/>
                  </a:lnTo>
                  <a:lnTo>
                    <a:pt x="42" y="260"/>
                  </a:lnTo>
                  <a:lnTo>
                    <a:pt x="42" y="262"/>
                  </a:lnTo>
                  <a:lnTo>
                    <a:pt x="40" y="262"/>
                  </a:lnTo>
                  <a:lnTo>
                    <a:pt x="32" y="260"/>
                  </a:lnTo>
                  <a:lnTo>
                    <a:pt x="32" y="260"/>
                  </a:lnTo>
                  <a:lnTo>
                    <a:pt x="24" y="258"/>
                  </a:lnTo>
                  <a:lnTo>
                    <a:pt x="22" y="258"/>
                  </a:lnTo>
                  <a:lnTo>
                    <a:pt x="22" y="258"/>
                  </a:lnTo>
                  <a:lnTo>
                    <a:pt x="22" y="262"/>
                  </a:lnTo>
                  <a:lnTo>
                    <a:pt x="16" y="260"/>
                  </a:lnTo>
                  <a:lnTo>
                    <a:pt x="16" y="260"/>
                  </a:lnTo>
                  <a:lnTo>
                    <a:pt x="14" y="260"/>
                  </a:lnTo>
                  <a:lnTo>
                    <a:pt x="10" y="260"/>
                  </a:lnTo>
                  <a:lnTo>
                    <a:pt x="4" y="266"/>
                  </a:lnTo>
                  <a:lnTo>
                    <a:pt x="2" y="276"/>
                  </a:lnTo>
                  <a:lnTo>
                    <a:pt x="0" y="290"/>
                  </a:lnTo>
                  <a:lnTo>
                    <a:pt x="0" y="290"/>
                  </a:lnTo>
                  <a:lnTo>
                    <a:pt x="2" y="294"/>
                  </a:lnTo>
                  <a:lnTo>
                    <a:pt x="6" y="296"/>
                  </a:lnTo>
                  <a:lnTo>
                    <a:pt x="8" y="296"/>
                  </a:lnTo>
                  <a:lnTo>
                    <a:pt x="12" y="294"/>
                  </a:lnTo>
                  <a:lnTo>
                    <a:pt x="18" y="294"/>
                  </a:lnTo>
                  <a:lnTo>
                    <a:pt x="20" y="296"/>
                  </a:lnTo>
                  <a:lnTo>
                    <a:pt x="20" y="300"/>
                  </a:lnTo>
                  <a:lnTo>
                    <a:pt x="20" y="300"/>
                  </a:lnTo>
                  <a:lnTo>
                    <a:pt x="20" y="306"/>
                  </a:lnTo>
                  <a:lnTo>
                    <a:pt x="22" y="310"/>
                  </a:lnTo>
                  <a:lnTo>
                    <a:pt x="28" y="312"/>
                  </a:lnTo>
                  <a:lnTo>
                    <a:pt x="30" y="316"/>
                  </a:lnTo>
                  <a:lnTo>
                    <a:pt x="30" y="316"/>
                  </a:lnTo>
                  <a:lnTo>
                    <a:pt x="32" y="324"/>
                  </a:lnTo>
                  <a:lnTo>
                    <a:pt x="30" y="328"/>
                  </a:lnTo>
                  <a:lnTo>
                    <a:pt x="30" y="328"/>
                  </a:lnTo>
                  <a:lnTo>
                    <a:pt x="22" y="330"/>
                  </a:lnTo>
                  <a:lnTo>
                    <a:pt x="22" y="332"/>
                  </a:lnTo>
                  <a:lnTo>
                    <a:pt x="24" y="334"/>
                  </a:lnTo>
                  <a:lnTo>
                    <a:pt x="24" y="334"/>
                  </a:lnTo>
                  <a:lnTo>
                    <a:pt x="26" y="338"/>
                  </a:lnTo>
                  <a:lnTo>
                    <a:pt x="26" y="338"/>
                  </a:lnTo>
                  <a:lnTo>
                    <a:pt x="30" y="338"/>
                  </a:lnTo>
                  <a:lnTo>
                    <a:pt x="32" y="336"/>
                  </a:lnTo>
                  <a:lnTo>
                    <a:pt x="38" y="338"/>
                  </a:lnTo>
                  <a:lnTo>
                    <a:pt x="52" y="344"/>
                  </a:lnTo>
                  <a:lnTo>
                    <a:pt x="52" y="344"/>
                  </a:lnTo>
                  <a:lnTo>
                    <a:pt x="68" y="352"/>
                  </a:lnTo>
                  <a:lnTo>
                    <a:pt x="68" y="354"/>
                  </a:lnTo>
                  <a:lnTo>
                    <a:pt x="68" y="356"/>
                  </a:lnTo>
                  <a:lnTo>
                    <a:pt x="68" y="356"/>
                  </a:lnTo>
                  <a:lnTo>
                    <a:pt x="66" y="362"/>
                  </a:lnTo>
                  <a:lnTo>
                    <a:pt x="68" y="366"/>
                  </a:lnTo>
                  <a:lnTo>
                    <a:pt x="70" y="366"/>
                  </a:lnTo>
                  <a:lnTo>
                    <a:pt x="76" y="366"/>
                  </a:lnTo>
                  <a:lnTo>
                    <a:pt x="86" y="366"/>
                  </a:lnTo>
                  <a:lnTo>
                    <a:pt x="90" y="366"/>
                  </a:lnTo>
                  <a:lnTo>
                    <a:pt x="94" y="366"/>
                  </a:lnTo>
                  <a:lnTo>
                    <a:pt x="94" y="366"/>
                  </a:lnTo>
                  <a:lnTo>
                    <a:pt x="98" y="368"/>
                  </a:lnTo>
                  <a:lnTo>
                    <a:pt x="102" y="370"/>
                  </a:lnTo>
                  <a:lnTo>
                    <a:pt x="110" y="370"/>
                  </a:lnTo>
                  <a:lnTo>
                    <a:pt x="116" y="372"/>
                  </a:lnTo>
                  <a:lnTo>
                    <a:pt x="124" y="378"/>
                  </a:lnTo>
                  <a:lnTo>
                    <a:pt x="132" y="388"/>
                  </a:lnTo>
                  <a:lnTo>
                    <a:pt x="144" y="404"/>
                  </a:lnTo>
                  <a:lnTo>
                    <a:pt x="144" y="404"/>
                  </a:lnTo>
                  <a:lnTo>
                    <a:pt x="138" y="412"/>
                  </a:lnTo>
                  <a:lnTo>
                    <a:pt x="138" y="414"/>
                  </a:lnTo>
                  <a:lnTo>
                    <a:pt x="140" y="416"/>
                  </a:lnTo>
                  <a:lnTo>
                    <a:pt x="148" y="424"/>
                  </a:lnTo>
                  <a:lnTo>
                    <a:pt x="152" y="430"/>
                  </a:lnTo>
                  <a:lnTo>
                    <a:pt x="156" y="436"/>
                  </a:lnTo>
                  <a:lnTo>
                    <a:pt x="156" y="436"/>
                  </a:lnTo>
                  <a:lnTo>
                    <a:pt x="158" y="444"/>
                  </a:lnTo>
                  <a:lnTo>
                    <a:pt x="158" y="448"/>
                  </a:lnTo>
                  <a:lnTo>
                    <a:pt x="156" y="450"/>
                  </a:lnTo>
                  <a:lnTo>
                    <a:pt x="152" y="450"/>
                  </a:lnTo>
                  <a:lnTo>
                    <a:pt x="148" y="450"/>
                  </a:lnTo>
                  <a:lnTo>
                    <a:pt x="148" y="450"/>
                  </a:lnTo>
                  <a:lnTo>
                    <a:pt x="150" y="454"/>
                  </a:lnTo>
                  <a:lnTo>
                    <a:pt x="150" y="454"/>
                  </a:lnTo>
                  <a:lnTo>
                    <a:pt x="156" y="460"/>
                  </a:lnTo>
                  <a:lnTo>
                    <a:pt x="156" y="464"/>
                  </a:lnTo>
                  <a:lnTo>
                    <a:pt x="156" y="470"/>
                  </a:lnTo>
                  <a:lnTo>
                    <a:pt x="160" y="478"/>
                  </a:lnTo>
                  <a:lnTo>
                    <a:pt x="160" y="478"/>
                  </a:lnTo>
                  <a:lnTo>
                    <a:pt x="164" y="482"/>
                  </a:lnTo>
                  <a:lnTo>
                    <a:pt x="168" y="484"/>
                  </a:lnTo>
                  <a:lnTo>
                    <a:pt x="176" y="488"/>
                  </a:lnTo>
                  <a:lnTo>
                    <a:pt x="182" y="488"/>
                  </a:lnTo>
                  <a:lnTo>
                    <a:pt x="188" y="492"/>
                  </a:lnTo>
                  <a:lnTo>
                    <a:pt x="188" y="492"/>
                  </a:lnTo>
                  <a:lnTo>
                    <a:pt x="194" y="496"/>
                  </a:lnTo>
                  <a:lnTo>
                    <a:pt x="200" y="498"/>
                  </a:lnTo>
                  <a:lnTo>
                    <a:pt x="208" y="500"/>
                  </a:lnTo>
                  <a:lnTo>
                    <a:pt x="214" y="508"/>
                  </a:lnTo>
                  <a:lnTo>
                    <a:pt x="214" y="508"/>
                  </a:lnTo>
                  <a:lnTo>
                    <a:pt x="220" y="512"/>
                  </a:lnTo>
                  <a:lnTo>
                    <a:pt x="220" y="512"/>
                  </a:lnTo>
                  <a:lnTo>
                    <a:pt x="226" y="514"/>
                  </a:lnTo>
                  <a:lnTo>
                    <a:pt x="232" y="514"/>
                  </a:lnTo>
                  <a:lnTo>
                    <a:pt x="238" y="514"/>
                  </a:lnTo>
                  <a:lnTo>
                    <a:pt x="244" y="518"/>
                  </a:lnTo>
                  <a:lnTo>
                    <a:pt x="244" y="518"/>
                  </a:lnTo>
                  <a:lnTo>
                    <a:pt x="248" y="520"/>
                  </a:lnTo>
                  <a:lnTo>
                    <a:pt x="250" y="520"/>
                  </a:lnTo>
                  <a:lnTo>
                    <a:pt x="254" y="518"/>
                  </a:lnTo>
                  <a:lnTo>
                    <a:pt x="260" y="518"/>
                  </a:lnTo>
                  <a:lnTo>
                    <a:pt x="266" y="520"/>
                  </a:lnTo>
                  <a:lnTo>
                    <a:pt x="272" y="524"/>
                  </a:lnTo>
                  <a:lnTo>
                    <a:pt x="272" y="524"/>
                  </a:lnTo>
                  <a:lnTo>
                    <a:pt x="288" y="534"/>
                  </a:lnTo>
                  <a:lnTo>
                    <a:pt x="296" y="538"/>
                  </a:lnTo>
                  <a:lnTo>
                    <a:pt x="302" y="538"/>
                  </a:lnTo>
                  <a:lnTo>
                    <a:pt x="306" y="542"/>
                  </a:lnTo>
                  <a:lnTo>
                    <a:pt x="306" y="542"/>
                  </a:lnTo>
                  <a:lnTo>
                    <a:pt x="308" y="546"/>
                  </a:lnTo>
                  <a:lnTo>
                    <a:pt x="310" y="548"/>
                  </a:lnTo>
                  <a:lnTo>
                    <a:pt x="314" y="546"/>
                  </a:lnTo>
                  <a:lnTo>
                    <a:pt x="320" y="546"/>
                  </a:lnTo>
                  <a:lnTo>
                    <a:pt x="322" y="548"/>
                  </a:lnTo>
                  <a:lnTo>
                    <a:pt x="324" y="554"/>
                  </a:lnTo>
                  <a:lnTo>
                    <a:pt x="324" y="554"/>
                  </a:lnTo>
                  <a:lnTo>
                    <a:pt x="326" y="554"/>
                  </a:lnTo>
                  <a:lnTo>
                    <a:pt x="328" y="554"/>
                  </a:lnTo>
                  <a:lnTo>
                    <a:pt x="336" y="552"/>
                  </a:lnTo>
                  <a:lnTo>
                    <a:pt x="352" y="552"/>
                  </a:lnTo>
                  <a:lnTo>
                    <a:pt x="360" y="554"/>
                  </a:lnTo>
                  <a:lnTo>
                    <a:pt x="372" y="558"/>
                  </a:lnTo>
                  <a:lnTo>
                    <a:pt x="372" y="558"/>
                  </a:lnTo>
                  <a:lnTo>
                    <a:pt x="372" y="552"/>
                  </a:lnTo>
                  <a:lnTo>
                    <a:pt x="374" y="550"/>
                  </a:lnTo>
                  <a:lnTo>
                    <a:pt x="376" y="548"/>
                  </a:lnTo>
                  <a:lnTo>
                    <a:pt x="380" y="548"/>
                  </a:lnTo>
                  <a:lnTo>
                    <a:pt x="380" y="548"/>
                  </a:lnTo>
                  <a:lnTo>
                    <a:pt x="384" y="546"/>
                  </a:lnTo>
                  <a:lnTo>
                    <a:pt x="384" y="548"/>
                  </a:lnTo>
                  <a:lnTo>
                    <a:pt x="386" y="566"/>
                  </a:lnTo>
                  <a:lnTo>
                    <a:pt x="386" y="566"/>
                  </a:lnTo>
                  <a:lnTo>
                    <a:pt x="390" y="554"/>
                  </a:lnTo>
                  <a:lnTo>
                    <a:pt x="394" y="548"/>
                  </a:lnTo>
                  <a:lnTo>
                    <a:pt x="400" y="544"/>
                  </a:lnTo>
                  <a:lnTo>
                    <a:pt x="408" y="544"/>
                  </a:lnTo>
                  <a:lnTo>
                    <a:pt x="408" y="544"/>
                  </a:lnTo>
                  <a:lnTo>
                    <a:pt x="418" y="544"/>
                  </a:lnTo>
                  <a:lnTo>
                    <a:pt x="424" y="546"/>
                  </a:lnTo>
                  <a:lnTo>
                    <a:pt x="428" y="548"/>
                  </a:lnTo>
                  <a:lnTo>
                    <a:pt x="432" y="550"/>
                  </a:lnTo>
                  <a:lnTo>
                    <a:pt x="432" y="550"/>
                  </a:lnTo>
                  <a:lnTo>
                    <a:pt x="434" y="552"/>
                  </a:lnTo>
                  <a:lnTo>
                    <a:pt x="436" y="550"/>
                  </a:lnTo>
                  <a:lnTo>
                    <a:pt x="436" y="550"/>
                  </a:lnTo>
                  <a:lnTo>
                    <a:pt x="446" y="548"/>
                  </a:lnTo>
                  <a:lnTo>
                    <a:pt x="462" y="540"/>
                  </a:lnTo>
                  <a:lnTo>
                    <a:pt x="462" y="540"/>
                  </a:lnTo>
                  <a:lnTo>
                    <a:pt x="472" y="536"/>
                  </a:lnTo>
                  <a:lnTo>
                    <a:pt x="476" y="532"/>
                  </a:lnTo>
                  <a:lnTo>
                    <a:pt x="478" y="530"/>
                  </a:lnTo>
                  <a:lnTo>
                    <a:pt x="482" y="526"/>
                  </a:lnTo>
                  <a:lnTo>
                    <a:pt x="482" y="526"/>
                  </a:lnTo>
                  <a:lnTo>
                    <a:pt x="490" y="526"/>
                  </a:lnTo>
                  <a:lnTo>
                    <a:pt x="494" y="528"/>
                  </a:lnTo>
                  <a:lnTo>
                    <a:pt x="502" y="528"/>
                  </a:lnTo>
                  <a:lnTo>
                    <a:pt x="512" y="526"/>
                  </a:lnTo>
                  <a:lnTo>
                    <a:pt x="512" y="526"/>
                  </a:lnTo>
                  <a:lnTo>
                    <a:pt x="524" y="522"/>
                  </a:lnTo>
                  <a:lnTo>
                    <a:pt x="526" y="524"/>
                  </a:lnTo>
                  <a:lnTo>
                    <a:pt x="526" y="526"/>
                  </a:lnTo>
                  <a:lnTo>
                    <a:pt x="524" y="530"/>
                  </a:lnTo>
                  <a:lnTo>
                    <a:pt x="526" y="530"/>
                  </a:lnTo>
                  <a:lnTo>
                    <a:pt x="532" y="530"/>
                  </a:lnTo>
                  <a:lnTo>
                    <a:pt x="532" y="530"/>
                  </a:lnTo>
                  <a:lnTo>
                    <a:pt x="528" y="536"/>
                  </a:lnTo>
                  <a:lnTo>
                    <a:pt x="528" y="538"/>
                  </a:lnTo>
                  <a:lnTo>
                    <a:pt x="528" y="538"/>
                  </a:lnTo>
                  <a:lnTo>
                    <a:pt x="532" y="538"/>
                  </a:lnTo>
                  <a:lnTo>
                    <a:pt x="538" y="538"/>
                  </a:lnTo>
                  <a:lnTo>
                    <a:pt x="538" y="538"/>
                  </a:lnTo>
                  <a:lnTo>
                    <a:pt x="542" y="540"/>
                  </a:lnTo>
                  <a:lnTo>
                    <a:pt x="544" y="538"/>
                  </a:lnTo>
                  <a:lnTo>
                    <a:pt x="548" y="536"/>
                  </a:lnTo>
                  <a:lnTo>
                    <a:pt x="548" y="536"/>
                  </a:lnTo>
                  <a:lnTo>
                    <a:pt x="552" y="536"/>
                  </a:lnTo>
                  <a:lnTo>
                    <a:pt x="556" y="536"/>
                  </a:lnTo>
                  <a:lnTo>
                    <a:pt x="562" y="538"/>
                  </a:lnTo>
                  <a:lnTo>
                    <a:pt x="570" y="544"/>
                  </a:lnTo>
                  <a:lnTo>
                    <a:pt x="570" y="544"/>
                  </a:lnTo>
                  <a:lnTo>
                    <a:pt x="580" y="552"/>
                  </a:lnTo>
                  <a:lnTo>
                    <a:pt x="582" y="556"/>
                  </a:lnTo>
                  <a:lnTo>
                    <a:pt x="582" y="558"/>
                  </a:lnTo>
                  <a:lnTo>
                    <a:pt x="586" y="556"/>
                  </a:lnTo>
                  <a:lnTo>
                    <a:pt x="586" y="556"/>
                  </a:lnTo>
                  <a:lnTo>
                    <a:pt x="588" y="554"/>
                  </a:lnTo>
                  <a:lnTo>
                    <a:pt x="590" y="556"/>
                  </a:lnTo>
                  <a:lnTo>
                    <a:pt x="592" y="564"/>
                  </a:lnTo>
                  <a:lnTo>
                    <a:pt x="594" y="578"/>
                  </a:lnTo>
                  <a:lnTo>
                    <a:pt x="596" y="586"/>
                  </a:lnTo>
                  <a:lnTo>
                    <a:pt x="600" y="594"/>
                  </a:lnTo>
                  <a:lnTo>
                    <a:pt x="600" y="594"/>
                  </a:lnTo>
                  <a:lnTo>
                    <a:pt x="604" y="602"/>
                  </a:lnTo>
                  <a:lnTo>
                    <a:pt x="604" y="604"/>
                  </a:lnTo>
                  <a:lnTo>
                    <a:pt x="602" y="604"/>
                  </a:lnTo>
                  <a:lnTo>
                    <a:pt x="598" y="602"/>
                  </a:lnTo>
                  <a:lnTo>
                    <a:pt x="596" y="602"/>
                  </a:lnTo>
                  <a:lnTo>
                    <a:pt x="596" y="602"/>
                  </a:lnTo>
                  <a:lnTo>
                    <a:pt x="590" y="612"/>
                  </a:lnTo>
                  <a:lnTo>
                    <a:pt x="586" y="616"/>
                  </a:lnTo>
                  <a:lnTo>
                    <a:pt x="582" y="622"/>
                  </a:lnTo>
                  <a:lnTo>
                    <a:pt x="582" y="624"/>
                  </a:lnTo>
                  <a:lnTo>
                    <a:pt x="584" y="628"/>
                  </a:lnTo>
                  <a:lnTo>
                    <a:pt x="584" y="628"/>
                  </a:lnTo>
                  <a:lnTo>
                    <a:pt x="584" y="632"/>
                  </a:lnTo>
                  <a:lnTo>
                    <a:pt x="582" y="634"/>
                  </a:lnTo>
                  <a:lnTo>
                    <a:pt x="580" y="634"/>
                  </a:lnTo>
                  <a:lnTo>
                    <a:pt x="578" y="636"/>
                  </a:lnTo>
                  <a:lnTo>
                    <a:pt x="578" y="636"/>
                  </a:lnTo>
                  <a:lnTo>
                    <a:pt x="576" y="642"/>
                  </a:lnTo>
                  <a:lnTo>
                    <a:pt x="578" y="644"/>
                  </a:lnTo>
                  <a:lnTo>
                    <a:pt x="582" y="648"/>
                  </a:lnTo>
                  <a:lnTo>
                    <a:pt x="586" y="650"/>
                  </a:lnTo>
                  <a:lnTo>
                    <a:pt x="588" y="654"/>
                  </a:lnTo>
                  <a:lnTo>
                    <a:pt x="588" y="654"/>
                  </a:lnTo>
                  <a:lnTo>
                    <a:pt x="586" y="656"/>
                  </a:lnTo>
                  <a:lnTo>
                    <a:pt x="580" y="658"/>
                  </a:lnTo>
                  <a:lnTo>
                    <a:pt x="576" y="660"/>
                  </a:lnTo>
                  <a:lnTo>
                    <a:pt x="574" y="660"/>
                  </a:lnTo>
                  <a:lnTo>
                    <a:pt x="574" y="662"/>
                  </a:lnTo>
                  <a:lnTo>
                    <a:pt x="574" y="662"/>
                  </a:lnTo>
                  <a:lnTo>
                    <a:pt x="574" y="666"/>
                  </a:lnTo>
                  <a:lnTo>
                    <a:pt x="576" y="666"/>
                  </a:lnTo>
                  <a:lnTo>
                    <a:pt x="588" y="662"/>
                  </a:lnTo>
                  <a:lnTo>
                    <a:pt x="588" y="662"/>
                  </a:lnTo>
                  <a:lnTo>
                    <a:pt x="598" y="660"/>
                  </a:lnTo>
                  <a:lnTo>
                    <a:pt x="600" y="662"/>
                  </a:lnTo>
                  <a:lnTo>
                    <a:pt x="598" y="666"/>
                  </a:lnTo>
                  <a:lnTo>
                    <a:pt x="598" y="666"/>
                  </a:lnTo>
                  <a:lnTo>
                    <a:pt x="596" y="672"/>
                  </a:lnTo>
                  <a:lnTo>
                    <a:pt x="596" y="674"/>
                  </a:lnTo>
                  <a:lnTo>
                    <a:pt x="600" y="676"/>
                  </a:lnTo>
                  <a:lnTo>
                    <a:pt x="600" y="678"/>
                  </a:lnTo>
                  <a:lnTo>
                    <a:pt x="600" y="678"/>
                  </a:lnTo>
                  <a:lnTo>
                    <a:pt x="600" y="680"/>
                  </a:lnTo>
                  <a:lnTo>
                    <a:pt x="602" y="682"/>
                  </a:lnTo>
                  <a:lnTo>
                    <a:pt x="606" y="684"/>
                  </a:lnTo>
                  <a:lnTo>
                    <a:pt x="610" y="682"/>
                  </a:lnTo>
                  <a:lnTo>
                    <a:pt x="610" y="682"/>
                  </a:lnTo>
                  <a:lnTo>
                    <a:pt x="612" y="684"/>
                  </a:lnTo>
                  <a:lnTo>
                    <a:pt x="612" y="684"/>
                  </a:lnTo>
                  <a:lnTo>
                    <a:pt x="612" y="686"/>
                  </a:lnTo>
                  <a:lnTo>
                    <a:pt x="616" y="686"/>
                  </a:lnTo>
                  <a:lnTo>
                    <a:pt x="620" y="686"/>
                  </a:lnTo>
                  <a:lnTo>
                    <a:pt x="620" y="688"/>
                  </a:lnTo>
                  <a:lnTo>
                    <a:pt x="620" y="688"/>
                  </a:lnTo>
                  <a:lnTo>
                    <a:pt x="602" y="706"/>
                  </a:lnTo>
                  <a:lnTo>
                    <a:pt x="602" y="706"/>
                  </a:lnTo>
                  <a:lnTo>
                    <a:pt x="602" y="710"/>
                  </a:lnTo>
                  <a:lnTo>
                    <a:pt x="604" y="712"/>
                  </a:lnTo>
                  <a:lnTo>
                    <a:pt x="614" y="712"/>
                  </a:lnTo>
                  <a:lnTo>
                    <a:pt x="628" y="712"/>
                  </a:lnTo>
                  <a:lnTo>
                    <a:pt x="628" y="712"/>
                  </a:lnTo>
                  <a:lnTo>
                    <a:pt x="630" y="718"/>
                  </a:lnTo>
                  <a:lnTo>
                    <a:pt x="634" y="722"/>
                  </a:lnTo>
                  <a:lnTo>
                    <a:pt x="638" y="724"/>
                  </a:lnTo>
                  <a:lnTo>
                    <a:pt x="642" y="724"/>
                  </a:lnTo>
                  <a:lnTo>
                    <a:pt x="650" y="726"/>
                  </a:lnTo>
                  <a:lnTo>
                    <a:pt x="654" y="728"/>
                  </a:lnTo>
                  <a:lnTo>
                    <a:pt x="656" y="728"/>
                  </a:lnTo>
                  <a:lnTo>
                    <a:pt x="656" y="728"/>
                  </a:lnTo>
                  <a:lnTo>
                    <a:pt x="658" y="732"/>
                  </a:lnTo>
                  <a:lnTo>
                    <a:pt x="664" y="734"/>
                  </a:lnTo>
                  <a:lnTo>
                    <a:pt x="666" y="732"/>
                  </a:lnTo>
                  <a:lnTo>
                    <a:pt x="666" y="730"/>
                  </a:lnTo>
                  <a:lnTo>
                    <a:pt x="668" y="728"/>
                  </a:lnTo>
                  <a:lnTo>
                    <a:pt x="666" y="724"/>
                  </a:lnTo>
                  <a:lnTo>
                    <a:pt x="666" y="724"/>
                  </a:lnTo>
                  <a:lnTo>
                    <a:pt x="662" y="718"/>
                  </a:lnTo>
                  <a:lnTo>
                    <a:pt x="658" y="712"/>
                  </a:lnTo>
                  <a:lnTo>
                    <a:pt x="656" y="708"/>
                  </a:lnTo>
                  <a:lnTo>
                    <a:pt x="654" y="704"/>
                  </a:lnTo>
                  <a:lnTo>
                    <a:pt x="654" y="704"/>
                  </a:lnTo>
                  <a:lnTo>
                    <a:pt x="656" y="702"/>
                  </a:lnTo>
                  <a:lnTo>
                    <a:pt x="658" y="700"/>
                  </a:lnTo>
                  <a:lnTo>
                    <a:pt x="668" y="698"/>
                  </a:lnTo>
                  <a:lnTo>
                    <a:pt x="668" y="698"/>
                  </a:lnTo>
                  <a:lnTo>
                    <a:pt x="678" y="696"/>
                  </a:lnTo>
                  <a:lnTo>
                    <a:pt x="678" y="696"/>
                  </a:lnTo>
                  <a:lnTo>
                    <a:pt x="682" y="696"/>
                  </a:lnTo>
                  <a:lnTo>
                    <a:pt x="686" y="700"/>
                  </a:lnTo>
                  <a:lnTo>
                    <a:pt x="688" y="702"/>
                  </a:lnTo>
                  <a:lnTo>
                    <a:pt x="692" y="702"/>
                  </a:lnTo>
                  <a:lnTo>
                    <a:pt x="692" y="702"/>
                  </a:lnTo>
                  <a:lnTo>
                    <a:pt x="692" y="700"/>
                  </a:lnTo>
                  <a:lnTo>
                    <a:pt x="690" y="698"/>
                  </a:lnTo>
                  <a:lnTo>
                    <a:pt x="690" y="694"/>
                  </a:lnTo>
                  <a:lnTo>
                    <a:pt x="692" y="690"/>
                  </a:lnTo>
                  <a:lnTo>
                    <a:pt x="692" y="690"/>
                  </a:lnTo>
                  <a:lnTo>
                    <a:pt x="694" y="688"/>
                  </a:lnTo>
                  <a:lnTo>
                    <a:pt x="696" y="690"/>
                  </a:lnTo>
                  <a:lnTo>
                    <a:pt x="698" y="692"/>
                  </a:lnTo>
                  <a:lnTo>
                    <a:pt x="700" y="696"/>
                  </a:lnTo>
                  <a:lnTo>
                    <a:pt x="704" y="696"/>
                  </a:lnTo>
                  <a:lnTo>
                    <a:pt x="706" y="694"/>
                  </a:lnTo>
                  <a:lnTo>
                    <a:pt x="706" y="694"/>
                  </a:lnTo>
                  <a:lnTo>
                    <a:pt x="712" y="694"/>
                  </a:lnTo>
                  <a:lnTo>
                    <a:pt x="714" y="696"/>
                  </a:lnTo>
                  <a:lnTo>
                    <a:pt x="716" y="696"/>
                  </a:lnTo>
                  <a:lnTo>
                    <a:pt x="720" y="696"/>
                  </a:lnTo>
                  <a:lnTo>
                    <a:pt x="720" y="696"/>
                  </a:lnTo>
                  <a:lnTo>
                    <a:pt x="726" y="694"/>
                  </a:lnTo>
                  <a:lnTo>
                    <a:pt x="730" y="694"/>
                  </a:lnTo>
                  <a:lnTo>
                    <a:pt x="732" y="694"/>
                  </a:lnTo>
                  <a:lnTo>
                    <a:pt x="730" y="688"/>
                  </a:lnTo>
                  <a:lnTo>
                    <a:pt x="730" y="688"/>
                  </a:lnTo>
                  <a:lnTo>
                    <a:pt x="732" y="684"/>
                  </a:lnTo>
                  <a:lnTo>
                    <a:pt x="736" y="682"/>
                  </a:lnTo>
                  <a:lnTo>
                    <a:pt x="746" y="678"/>
                  </a:lnTo>
                  <a:lnTo>
                    <a:pt x="746" y="678"/>
                  </a:lnTo>
                  <a:lnTo>
                    <a:pt x="750" y="678"/>
                  </a:lnTo>
                  <a:lnTo>
                    <a:pt x="750" y="678"/>
                  </a:lnTo>
                  <a:lnTo>
                    <a:pt x="752" y="682"/>
                  </a:lnTo>
                  <a:lnTo>
                    <a:pt x="754" y="684"/>
                  </a:lnTo>
                  <a:lnTo>
                    <a:pt x="756" y="688"/>
                  </a:lnTo>
                  <a:lnTo>
                    <a:pt x="760" y="690"/>
                  </a:lnTo>
                  <a:lnTo>
                    <a:pt x="768" y="690"/>
                  </a:lnTo>
                  <a:lnTo>
                    <a:pt x="768" y="690"/>
                  </a:lnTo>
                  <a:lnTo>
                    <a:pt x="776" y="692"/>
                  </a:lnTo>
                  <a:lnTo>
                    <a:pt x="782" y="694"/>
                  </a:lnTo>
                  <a:lnTo>
                    <a:pt x="780" y="698"/>
                  </a:lnTo>
                  <a:lnTo>
                    <a:pt x="774" y="700"/>
                  </a:lnTo>
                  <a:lnTo>
                    <a:pt x="774" y="700"/>
                  </a:lnTo>
                  <a:lnTo>
                    <a:pt x="770" y="704"/>
                  </a:lnTo>
                  <a:lnTo>
                    <a:pt x="768" y="706"/>
                  </a:lnTo>
                  <a:lnTo>
                    <a:pt x="774" y="710"/>
                  </a:lnTo>
                  <a:lnTo>
                    <a:pt x="774" y="710"/>
                  </a:lnTo>
                  <a:lnTo>
                    <a:pt x="776" y="714"/>
                  </a:lnTo>
                  <a:lnTo>
                    <a:pt x="780" y="712"/>
                  </a:lnTo>
                  <a:lnTo>
                    <a:pt x="780" y="712"/>
                  </a:lnTo>
                  <a:lnTo>
                    <a:pt x="782" y="712"/>
                  </a:lnTo>
                  <a:lnTo>
                    <a:pt x="784" y="712"/>
                  </a:lnTo>
                  <a:lnTo>
                    <a:pt x="788" y="716"/>
                  </a:lnTo>
                  <a:lnTo>
                    <a:pt x="794" y="720"/>
                  </a:lnTo>
                  <a:lnTo>
                    <a:pt x="796" y="720"/>
                  </a:lnTo>
                  <a:lnTo>
                    <a:pt x="800" y="720"/>
                  </a:lnTo>
                  <a:lnTo>
                    <a:pt x="800" y="720"/>
                  </a:lnTo>
                  <a:lnTo>
                    <a:pt x="806" y="718"/>
                  </a:lnTo>
                  <a:lnTo>
                    <a:pt x="806" y="718"/>
                  </a:lnTo>
                  <a:lnTo>
                    <a:pt x="810" y="716"/>
                  </a:lnTo>
                  <a:lnTo>
                    <a:pt x="810" y="714"/>
                  </a:lnTo>
                  <a:lnTo>
                    <a:pt x="810" y="712"/>
                  </a:lnTo>
                  <a:lnTo>
                    <a:pt x="812" y="710"/>
                  </a:lnTo>
                  <a:lnTo>
                    <a:pt x="812" y="710"/>
                  </a:lnTo>
                  <a:lnTo>
                    <a:pt x="812" y="710"/>
                  </a:lnTo>
                  <a:lnTo>
                    <a:pt x="814" y="712"/>
                  </a:lnTo>
                  <a:lnTo>
                    <a:pt x="818" y="714"/>
                  </a:lnTo>
                  <a:lnTo>
                    <a:pt x="822" y="718"/>
                  </a:lnTo>
                  <a:lnTo>
                    <a:pt x="826" y="716"/>
                  </a:lnTo>
                  <a:lnTo>
                    <a:pt x="830" y="714"/>
                  </a:lnTo>
                  <a:lnTo>
                    <a:pt x="830" y="714"/>
                  </a:lnTo>
                  <a:lnTo>
                    <a:pt x="828" y="718"/>
                  </a:lnTo>
                  <a:lnTo>
                    <a:pt x="830" y="720"/>
                  </a:lnTo>
                  <a:lnTo>
                    <a:pt x="834" y="720"/>
                  </a:lnTo>
                  <a:lnTo>
                    <a:pt x="838" y="716"/>
                  </a:lnTo>
                  <a:lnTo>
                    <a:pt x="838" y="716"/>
                  </a:lnTo>
                  <a:lnTo>
                    <a:pt x="840" y="720"/>
                  </a:lnTo>
                  <a:lnTo>
                    <a:pt x="838" y="720"/>
                  </a:lnTo>
                  <a:lnTo>
                    <a:pt x="834" y="726"/>
                  </a:lnTo>
                  <a:lnTo>
                    <a:pt x="834" y="726"/>
                  </a:lnTo>
                  <a:lnTo>
                    <a:pt x="834" y="730"/>
                  </a:lnTo>
                  <a:lnTo>
                    <a:pt x="834" y="734"/>
                  </a:lnTo>
                  <a:lnTo>
                    <a:pt x="840" y="742"/>
                  </a:lnTo>
                  <a:lnTo>
                    <a:pt x="840" y="742"/>
                  </a:lnTo>
                  <a:lnTo>
                    <a:pt x="840" y="744"/>
                  </a:lnTo>
                  <a:lnTo>
                    <a:pt x="842" y="746"/>
                  </a:lnTo>
                  <a:lnTo>
                    <a:pt x="846" y="750"/>
                  </a:lnTo>
                  <a:lnTo>
                    <a:pt x="852" y="748"/>
                  </a:lnTo>
                  <a:lnTo>
                    <a:pt x="852" y="748"/>
                  </a:lnTo>
                  <a:lnTo>
                    <a:pt x="858" y="746"/>
                  </a:lnTo>
                  <a:lnTo>
                    <a:pt x="860" y="742"/>
                  </a:lnTo>
                  <a:lnTo>
                    <a:pt x="862" y="738"/>
                  </a:lnTo>
                  <a:lnTo>
                    <a:pt x="862" y="734"/>
                  </a:lnTo>
                  <a:lnTo>
                    <a:pt x="862" y="734"/>
                  </a:lnTo>
                  <a:lnTo>
                    <a:pt x="860" y="732"/>
                  </a:lnTo>
                  <a:lnTo>
                    <a:pt x="858" y="732"/>
                  </a:lnTo>
                  <a:lnTo>
                    <a:pt x="856" y="732"/>
                  </a:lnTo>
                  <a:lnTo>
                    <a:pt x="856" y="730"/>
                  </a:lnTo>
                  <a:lnTo>
                    <a:pt x="856" y="730"/>
                  </a:lnTo>
                  <a:lnTo>
                    <a:pt x="856" y="728"/>
                  </a:lnTo>
                  <a:lnTo>
                    <a:pt x="854" y="726"/>
                  </a:lnTo>
                  <a:lnTo>
                    <a:pt x="850" y="726"/>
                  </a:lnTo>
                  <a:lnTo>
                    <a:pt x="848" y="726"/>
                  </a:lnTo>
                  <a:lnTo>
                    <a:pt x="848" y="726"/>
                  </a:lnTo>
                  <a:lnTo>
                    <a:pt x="846" y="724"/>
                  </a:lnTo>
                  <a:lnTo>
                    <a:pt x="848" y="722"/>
                  </a:lnTo>
                  <a:lnTo>
                    <a:pt x="852" y="720"/>
                  </a:lnTo>
                  <a:lnTo>
                    <a:pt x="856" y="718"/>
                  </a:lnTo>
                  <a:lnTo>
                    <a:pt x="856" y="716"/>
                  </a:lnTo>
                  <a:lnTo>
                    <a:pt x="856" y="714"/>
                  </a:lnTo>
                  <a:lnTo>
                    <a:pt x="852" y="710"/>
                  </a:lnTo>
                  <a:lnTo>
                    <a:pt x="852" y="710"/>
                  </a:lnTo>
                  <a:lnTo>
                    <a:pt x="856" y="712"/>
                  </a:lnTo>
                  <a:lnTo>
                    <a:pt x="862" y="716"/>
                  </a:lnTo>
                  <a:lnTo>
                    <a:pt x="866" y="716"/>
                  </a:lnTo>
                  <a:lnTo>
                    <a:pt x="866" y="716"/>
                  </a:lnTo>
                  <a:lnTo>
                    <a:pt x="868" y="714"/>
                  </a:lnTo>
                  <a:lnTo>
                    <a:pt x="868" y="714"/>
                  </a:lnTo>
                  <a:lnTo>
                    <a:pt x="870" y="710"/>
                  </a:lnTo>
                  <a:lnTo>
                    <a:pt x="874" y="710"/>
                  </a:lnTo>
                  <a:lnTo>
                    <a:pt x="878" y="710"/>
                  </a:lnTo>
                  <a:lnTo>
                    <a:pt x="882" y="706"/>
                  </a:lnTo>
                  <a:lnTo>
                    <a:pt x="882" y="706"/>
                  </a:lnTo>
                  <a:lnTo>
                    <a:pt x="890" y="704"/>
                  </a:lnTo>
                  <a:lnTo>
                    <a:pt x="898" y="702"/>
                  </a:lnTo>
                  <a:lnTo>
                    <a:pt x="906" y="698"/>
                  </a:lnTo>
                  <a:lnTo>
                    <a:pt x="906" y="696"/>
                  </a:lnTo>
                  <a:lnTo>
                    <a:pt x="906" y="692"/>
                  </a:lnTo>
                  <a:lnTo>
                    <a:pt x="906" y="692"/>
                  </a:lnTo>
                  <a:lnTo>
                    <a:pt x="910" y="694"/>
                  </a:lnTo>
                  <a:lnTo>
                    <a:pt x="912" y="694"/>
                  </a:lnTo>
                  <a:lnTo>
                    <a:pt x="916" y="690"/>
                  </a:lnTo>
                  <a:lnTo>
                    <a:pt x="916" y="680"/>
                  </a:lnTo>
                  <a:lnTo>
                    <a:pt x="916" y="680"/>
                  </a:lnTo>
                  <a:lnTo>
                    <a:pt x="920" y="686"/>
                  </a:lnTo>
                  <a:lnTo>
                    <a:pt x="922" y="686"/>
                  </a:lnTo>
                  <a:lnTo>
                    <a:pt x="922" y="686"/>
                  </a:lnTo>
                  <a:lnTo>
                    <a:pt x="924" y="684"/>
                  </a:lnTo>
                  <a:lnTo>
                    <a:pt x="928" y="686"/>
                  </a:lnTo>
                  <a:lnTo>
                    <a:pt x="928" y="686"/>
                  </a:lnTo>
                  <a:lnTo>
                    <a:pt x="930" y="688"/>
                  </a:lnTo>
                  <a:lnTo>
                    <a:pt x="932" y="688"/>
                  </a:lnTo>
                  <a:lnTo>
                    <a:pt x="934" y="684"/>
                  </a:lnTo>
                  <a:lnTo>
                    <a:pt x="938" y="680"/>
                  </a:lnTo>
                  <a:lnTo>
                    <a:pt x="938" y="680"/>
                  </a:lnTo>
                  <a:lnTo>
                    <a:pt x="940" y="680"/>
                  </a:lnTo>
                  <a:lnTo>
                    <a:pt x="940" y="680"/>
                  </a:lnTo>
                  <a:lnTo>
                    <a:pt x="942" y="682"/>
                  </a:lnTo>
                  <a:lnTo>
                    <a:pt x="944" y="684"/>
                  </a:lnTo>
                  <a:lnTo>
                    <a:pt x="948" y="680"/>
                  </a:lnTo>
                  <a:lnTo>
                    <a:pt x="954" y="676"/>
                  </a:lnTo>
                  <a:lnTo>
                    <a:pt x="958" y="676"/>
                  </a:lnTo>
                  <a:lnTo>
                    <a:pt x="962" y="676"/>
                  </a:lnTo>
                  <a:lnTo>
                    <a:pt x="962" y="676"/>
                  </a:lnTo>
                  <a:lnTo>
                    <a:pt x="966" y="676"/>
                  </a:lnTo>
                  <a:lnTo>
                    <a:pt x="968" y="674"/>
                  </a:lnTo>
                  <a:lnTo>
                    <a:pt x="970" y="670"/>
                  </a:lnTo>
                  <a:lnTo>
                    <a:pt x="976" y="670"/>
                  </a:lnTo>
                  <a:lnTo>
                    <a:pt x="976" y="670"/>
                  </a:lnTo>
                  <a:lnTo>
                    <a:pt x="982" y="668"/>
                  </a:lnTo>
                  <a:lnTo>
                    <a:pt x="982" y="666"/>
                  </a:lnTo>
                  <a:lnTo>
                    <a:pt x="982" y="666"/>
                  </a:lnTo>
                  <a:lnTo>
                    <a:pt x="984" y="664"/>
                  </a:lnTo>
                  <a:lnTo>
                    <a:pt x="984" y="664"/>
                  </a:lnTo>
                  <a:lnTo>
                    <a:pt x="986" y="662"/>
                  </a:lnTo>
                  <a:lnTo>
                    <a:pt x="988" y="660"/>
                  </a:lnTo>
                  <a:lnTo>
                    <a:pt x="986" y="656"/>
                  </a:lnTo>
                  <a:lnTo>
                    <a:pt x="986" y="654"/>
                  </a:lnTo>
                  <a:lnTo>
                    <a:pt x="990" y="652"/>
                  </a:lnTo>
                  <a:lnTo>
                    <a:pt x="990" y="652"/>
                  </a:lnTo>
                  <a:lnTo>
                    <a:pt x="994" y="650"/>
                  </a:lnTo>
                  <a:lnTo>
                    <a:pt x="994" y="648"/>
                  </a:lnTo>
                  <a:lnTo>
                    <a:pt x="996" y="644"/>
                  </a:lnTo>
                  <a:lnTo>
                    <a:pt x="998" y="642"/>
                  </a:lnTo>
                  <a:lnTo>
                    <a:pt x="998" y="642"/>
                  </a:lnTo>
                  <a:lnTo>
                    <a:pt x="1002" y="640"/>
                  </a:lnTo>
                  <a:lnTo>
                    <a:pt x="1002" y="638"/>
                  </a:lnTo>
                  <a:lnTo>
                    <a:pt x="1002" y="634"/>
                  </a:lnTo>
                  <a:lnTo>
                    <a:pt x="1004" y="632"/>
                  </a:lnTo>
                  <a:lnTo>
                    <a:pt x="1008" y="632"/>
                  </a:lnTo>
                  <a:lnTo>
                    <a:pt x="1008" y="632"/>
                  </a:lnTo>
                  <a:lnTo>
                    <a:pt x="1014" y="632"/>
                  </a:lnTo>
                  <a:lnTo>
                    <a:pt x="1014" y="628"/>
                  </a:lnTo>
                  <a:lnTo>
                    <a:pt x="1012" y="622"/>
                  </a:lnTo>
                  <a:lnTo>
                    <a:pt x="1012" y="620"/>
                  </a:lnTo>
                  <a:lnTo>
                    <a:pt x="1014" y="616"/>
                  </a:lnTo>
                  <a:lnTo>
                    <a:pt x="1014" y="616"/>
                  </a:lnTo>
                  <a:lnTo>
                    <a:pt x="1018" y="610"/>
                  </a:lnTo>
                  <a:lnTo>
                    <a:pt x="1018" y="610"/>
                  </a:lnTo>
                  <a:lnTo>
                    <a:pt x="1014" y="610"/>
                  </a:lnTo>
                  <a:lnTo>
                    <a:pt x="1012" y="608"/>
                  </a:lnTo>
                  <a:lnTo>
                    <a:pt x="1012" y="608"/>
                  </a:lnTo>
                  <a:lnTo>
                    <a:pt x="1008" y="606"/>
                  </a:lnTo>
                  <a:lnTo>
                    <a:pt x="1012" y="604"/>
                  </a:lnTo>
                  <a:lnTo>
                    <a:pt x="1018" y="604"/>
                  </a:lnTo>
                  <a:lnTo>
                    <a:pt x="1020" y="602"/>
                  </a:lnTo>
                  <a:lnTo>
                    <a:pt x="1020" y="598"/>
                  </a:lnTo>
                  <a:lnTo>
                    <a:pt x="1020" y="598"/>
                  </a:lnTo>
                  <a:lnTo>
                    <a:pt x="1022" y="592"/>
                  </a:lnTo>
                  <a:lnTo>
                    <a:pt x="1024" y="590"/>
                  </a:lnTo>
                  <a:lnTo>
                    <a:pt x="1026" y="588"/>
                  </a:lnTo>
                  <a:lnTo>
                    <a:pt x="1026" y="582"/>
                  </a:lnTo>
                  <a:lnTo>
                    <a:pt x="1026" y="582"/>
                  </a:lnTo>
                  <a:lnTo>
                    <a:pt x="1026" y="566"/>
                  </a:lnTo>
                  <a:lnTo>
                    <a:pt x="1028" y="560"/>
                  </a:lnTo>
                  <a:lnTo>
                    <a:pt x="1030" y="558"/>
                  </a:lnTo>
                  <a:lnTo>
                    <a:pt x="1030" y="556"/>
                  </a:lnTo>
                  <a:lnTo>
                    <a:pt x="1030" y="556"/>
                  </a:lnTo>
                  <a:lnTo>
                    <a:pt x="1030" y="552"/>
                  </a:lnTo>
                  <a:lnTo>
                    <a:pt x="1030" y="550"/>
                  </a:lnTo>
                  <a:lnTo>
                    <a:pt x="1034" y="546"/>
                  </a:lnTo>
                  <a:lnTo>
                    <a:pt x="1036" y="544"/>
                  </a:lnTo>
                  <a:lnTo>
                    <a:pt x="1036" y="542"/>
                  </a:lnTo>
                  <a:lnTo>
                    <a:pt x="1032" y="538"/>
                  </a:lnTo>
                  <a:lnTo>
                    <a:pt x="1032" y="538"/>
                  </a:lnTo>
                  <a:lnTo>
                    <a:pt x="1028" y="536"/>
                  </a:lnTo>
                  <a:lnTo>
                    <a:pt x="1032" y="536"/>
                  </a:lnTo>
                  <a:lnTo>
                    <a:pt x="1034" y="534"/>
                  </a:lnTo>
                  <a:lnTo>
                    <a:pt x="1036" y="534"/>
                  </a:lnTo>
                  <a:lnTo>
                    <a:pt x="1034" y="530"/>
                  </a:lnTo>
                  <a:lnTo>
                    <a:pt x="1034" y="530"/>
                  </a:lnTo>
                  <a:lnTo>
                    <a:pt x="1032" y="526"/>
                  </a:lnTo>
                  <a:lnTo>
                    <a:pt x="1030" y="526"/>
                  </a:lnTo>
                  <a:lnTo>
                    <a:pt x="1028" y="528"/>
                  </a:lnTo>
                  <a:lnTo>
                    <a:pt x="1024" y="528"/>
                  </a:lnTo>
                  <a:lnTo>
                    <a:pt x="1024" y="528"/>
                  </a:lnTo>
                  <a:lnTo>
                    <a:pt x="1028" y="526"/>
                  </a:lnTo>
                  <a:lnTo>
                    <a:pt x="1032" y="520"/>
                  </a:lnTo>
                  <a:lnTo>
                    <a:pt x="1032" y="520"/>
                  </a:lnTo>
                  <a:lnTo>
                    <a:pt x="1026" y="520"/>
                  </a:lnTo>
                  <a:lnTo>
                    <a:pt x="1022" y="518"/>
                  </a:lnTo>
                  <a:lnTo>
                    <a:pt x="1016" y="514"/>
                  </a:lnTo>
                  <a:lnTo>
                    <a:pt x="1010" y="510"/>
                  </a:lnTo>
                  <a:lnTo>
                    <a:pt x="1008" y="510"/>
                  </a:lnTo>
                  <a:lnTo>
                    <a:pt x="1004" y="510"/>
                  </a:lnTo>
                  <a:lnTo>
                    <a:pt x="1004" y="510"/>
                  </a:lnTo>
                  <a:lnTo>
                    <a:pt x="998" y="512"/>
                  </a:lnTo>
                  <a:lnTo>
                    <a:pt x="994" y="510"/>
                  </a:lnTo>
                  <a:lnTo>
                    <a:pt x="992" y="510"/>
                  </a:lnTo>
                  <a:lnTo>
                    <a:pt x="984" y="514"/>
                  </a:lnTo>
                  <a:lnTo>
                    <a:pt x="984" y="514"/>
                  </a:lnTo>
                  <a:lnTo>
                    <a:pt x="988" y="512"/>
                  </a:lnTo>
                  <a:lnTo>
                    <a:pt x="990" y="508"/>
                  </a:lnTo>
                  <a:lnTo>
                    <a:pt x="996" y="508"/>
                  </a:lnTo>
                  <a:lnTo>
                    <a:pt x="1000" y="508"/>
                  </a:lnTo>
                  <a:lnTo>
                    <a:pt x="1000" y="506"/>
                  </a:lnTo>
                  <a:lnTo>
                    <a:pt x="1000" y="506"/>
                  </a:lnTo>
                  <a:lnTo>
                    <a:pt x="1000" y="504"/>
                  </a:lnTo>
                  <a:lnTo>
                    <a:pt x="1004" y="502"/>
                  </a:lnTo>
                  <a:lnTo>
                    <a:pt x="1008" y="502"/>
                  </a:lnTo>
                  <a:lnTo>
                    <a:pt x="1008" y="498"/>
                  </a:lnTo>
                  <a:lnTo>
                    <a:pt x="1008" y="498"/>
                  </a:lnTo>
                  <a:lnTo>
                    <a:pt x="1008" y="496"/>
                  </a:lnTo>
                  <a:lnTo>
                    <a:pt x="1012" y="494"/>
                  </a:lnTo>
                  <a:lnTo>
                    <a:pt x="1014" y="492"/>
                  </a:lnTo>
                  <a:lnTo>
                    <a:pt x="1016" y="492"/>
                  </a:lnTo>
                  <a:lnTo>
                    <a:pt x="1016" y="492"/>
                  </a:lnTo>
                  <a:lnTo>
                    <a:pt x="1014" y="488"/>
                  </a:lnTo>
                  <a:lnTo>
                    <a:pt x="1012" y="484"/>
                  </a:lnTo>
                  <a:lnTo>
                    <a:pt x="1004" y="480"/>
                  </a:lnTo>
                  <a:lnTo>
                    <a:pt x="998" y="478"/>
                  </a:lnTo>
                  <a:lnTo>
                    <a:pt x="996" y="478"/>
                  </a:lnTo>
                  <a:lnTo>
                    <a:pt x="996" y="478"/>
                  </a:lnTo>
                  <a:lnTo>
                    <a:pt x="994" y="476"/>
                  </a:lnTo>
                  <a:lnTo>
                    <a:pt x="990" y="476"/>
                  </a:lnTo>
                  <a:lnTo>
                    <a:pt x="984" y="478"/>
                  </a:lnTo>
                  <a:lnTo>
                    <a:pt x="978" y="478"/>
                  </a:lnTo>
                  <a:lnTo>
                    <a:pt x="974" y="476"/>
                  </a:lnTo>
                  <a:lnTo>
                    <a:pt x="972" y="472"/>
                  </a:lnTo>
                  <a:lnTo>
                    <a:pt x="972" y="472"/>
                  </a:lnTo>
                  <a:lnTo>
                    <a:pt x="976" y="476"/>
                  </a:lnTo>
                  <a:lnTo>
                    <a:pt x="980" y="476"/>
                  </a:lnTo>
                  <a:lnTo>
                    <a:pt x="984" y="474"/>
                  </a:lnTo>
                  <a:lnTo>
                    <a:pt x="984" y="474"/>
                  </a:lnTo>
                  <a:lnTo>
                    <a:pt x="988" y="472"/>
                  </a:lnTo>
                  <a:lnTo>
                    <a:pt x="990" y="472"/>
                  </a:lnTo>
                  <a:lnTo>
                    <a:pt x="998" y="474"/>
                  </a:lnTo>
                  <a:lnTo>
                    <a:pt x="1004" y="476"/>
                  </a:lnTo>
                  <a:lnTo>
                    <a:pt x="1010" y="478"/>
                  </a:lnTo>
                  <a:lnTo>
                    <a:pt x="1010" y="478"/>
                  </a:lnTo>
                  <a:lnTo>
                    <a:pt x="1010" y="474"/>
                  </a:lnTo>
                  <a:lnTo>
                    <a:pt x="1010" y="472"/>
                  </a:lnTo>
                  <a:lnTo>
                    <a:pt x="1004" y="470"/>
                  </a:lnTo>
                  <a:lnTo>
                    <a:pt x="1004" y="470"/>
                  </a:lnTo>
                  <a:lnTo>
                    <a:pt x="1000" y="466"/>
                  </a:lnTo>
                  <a:lnTo>
                    <a:pt x="998" y="464"/>
                  </a:lnTo>
                  <a:lnTo>
                    <a:pt x="998" y="462"/>
                  </a:lnTo>
                  <a:lnTo>
                    <a:pt x="994" y="462"/>
                  </a:lnTo>
                  <a:lnTo>
                    <a:pt x="994" y="462"/>
                  </a:lnTo>
                  <a:lnTo>
                    <a:pt x="988" y="460"/>
                  </a:lnTo>
                  <a:lnTo>
                    <a:pt x="982" y="456"/>
                  </a:lnTo>
                  <a:lnTo>
                    <a:pt x="978" y="450"/>
                  </a:lnTo>
                  <a:lnTo>
                    <a:pt x="974" y="442"/>
                  </a:lnTo>
                  <a:lnTo>
                    <a:pt x="974" y="442"/>
                  </a:lnTo>
                  <a:lnTo>
                    <a:pt x="972" y="436"/>
                  </a:lnTo>
                  <a:lnTo>
                    <a:pt x="970" y="434"/>
                  </a:lnTo>
                  <a:lnTo>
                    <a:pt x="966" y="434"/>
                  </a:lnTo>
                  <a:lnTo>
                    <a:pt x="964" y="430"/>
                  </a:lnTo>
                  <a:lnTo>
                    <a:pt x="964" y="430"/>
                  </a:lnTo>
                  <a:lnTo>
                    <a:pt x="962" y="424"/>
                  </a:lnTo>
                  <a:lnTo>
                    <a:pt x="962" y="424"/>
                  </a:lnTo>
                  <a:lnTo>
                    <a:pt x="958" y="422"/>
                  </a:lnTo>
                  <a:lnTo>
                    <a:pt x="956" y="420"/>
                  </a:lnTo>
                  <a:lnTo>
                    <a:pt x="956" y="420"/>
                  </a:lnTo>
                  <a:lnTo>
                    <a:pt x="950" y="414"/>
                  </a:lnTo>
                  <a:lnTo>
                    <a:pt x="946" y="410"/>
                  </a:lnTo>
                  <a:lnTo>
                    <a:pt x="936" y="406"/>
                  </a:lnTo>
                  <a:lnTo>
                    <a:pt x="928" y="404"/>
                  </a:lnTo>
                  <a:lnTo>
                    <a:pt x="924" y="404"/>
                  </a:lnTo>
                  <a:lnTo>
                    <a:pt x="922" y="402"/>
                  </a:lnTo>
                  <a:lnTo>
                    <a:pt x="922" y="402"/>
                  </a:lnTo>
                  <a:lnTo>
                    <a:pt x="922" y="400"/>
                  </a:lnTo>
                  <a:lnTo>
                    <a:pt x="924" y="396"/>
                  </a:lnTo>
                  <a:lnTo>
                    <a:pt x="930" y="392"/>
                  </a:lnTo>
                  <a:lnTo>
                    <a:pt x="932" y="390"/>
                  </a:lnTo>
                  <a:lnTo>
                    <a:pt x="932" y="388"/>
                  </a:lnTo>
                  <a:lnTo>
                    <a:pt x="928" y="386"/>
                  </a:lnTo>
                  <a:lnTo>
                    <a:pt x="928" y="386"/>
                  </a:lnTo>
                  <a:lnTo>
                    <a:pt x="926" y="386"/>
                  </a:lnTo>
                  <a:lnTo>
                    <a:pt x="926" y="386"/>
                  </a:lnTo>
                  <a:lnTo>
                    <a:pt x="932" y="384"/>
                  </a:lnTo>
                  <a:lnTo>
                    <a:pt x="936" y="382"/>
                  </a:lnTo>
                  <a:lnTo>
                    <a:pt x="938" y="380"/>
                  </a:lnTo>
                  <a:lnTo>
                    <a:pt x="938" y="378"/>
                  </a:lnTo>
                  <a:lnTo>
                    <a:pt x="938" y="378"/>
                  </a:lnTo>
                  <a:lnTo>
                    <a:pt x="936" y="374"/>
                  </a:lnTo>
                  <a:lnTo>
                    <a:pt x="938" y="374"/>
                  </a:lnTo>
                  <a:lnTo>
                    <a:pt x="940" y="372"/>
                  </a:lnTo>
                  <a:lnTo>
                    <a:pt x="942" y="370"/>
                  </a:lnTo>
                  <a:lnTo>
                    <a:pt x="942" y="370"/>
                  </a:lnTo>
                  <a:lnTo>
                    <a:pt x="944" y="368"/>
                  </a:lnTo>
                  <a:lnTo>
                    <a:pt x="944" y="368"/>
                  </a:lnTo>
                  <a:lnTo>
                    <a:pt x="946" y="368"/>
                  </a:lnTo>
                  <a:lnTo>
                    <a:pt x="948" y="364"/>
                  </a:lnTo>
                  <a:lnTo>
                    <a:pt x="948" y="364"/>
                  </a:lnTo>
                  <a:lnTo>
                    <a:pt x="950" y="362"/>
                  </a:lnTo>
                  <a:lnTo>
                    <a:pt x="952" y="360"/>
                  </a:lnTo>
                  <a:lnTo>
                    <a:pt x="956" y="360"/>
                  </a:lnTo>
                  <a:lnTo>
                    <a:pt x="958" y="360"/>
                  </a:lnTo>
                  <a:lnTo>
                    <a:pt x="960" y="360"/>
                  </a:lnTo>
                  <a:lnTo>
                    <a:pt x="960" y="358"/>
                  </a:lnTo>
                  <a:lnTo>
                    <a:pt x="960" y="358"/>
                  </a:lnTo>
                  <a:lnTo>
                    <a:pt x="962" y="356"/>
                  </a:lnTo>
                  <a:lnTo>
                    <a:pt x="962" y="354"/>
                  </a:lnTo>
                  <a:lnTo>
                    <a:pt x="962" y="354"/>
                  </a:lnTo>
                  <a:lnTo>
                    <a:pt x="964" y="350"/>
                  </a:lnTo>
                  <a:lnTo>
                    <a:pt x="962" y="348"/>
                  </a:lnTo>
                  <a:lnTo>
                    <a:pt x="956" y="348"/>
                  </a:lnTo>
                  <a:lnTo>
                    <a:pt x="956" y="348"/>
                  </a:lnTo>
                  <a:lnTo>
                    <a:pt x="948" y="346"/>
                  </a:lnTo>
                  <a:lnTo>
                    <a:pt x="942" y="348"/>
                  </a:lnTo>
                  <a:lnTo>
                    <a:pt x="940" y="348"/>
                  </a:lnTo>
                  <a:lnTo>
                    <a:pt x="938" y="346"/>
                  </a:lnTo>
                  <a:lnTo>
                    <a:pt x="938" y="346"/>
                  </a:lnTo>
                  <a:lnTo>
                    <a:pt x="934" y="342"/>
                  </a:lnTo>
                  <a:lnTo>
                    <a:pt x="926" y="342"/>
                  </a:lnTo>
                  <a:lnTo>
                    <a:pt x="920" y="342"/>
                  </a:lnTo>
                  <a:lnTo>
                    <a:pt x="918" y="342"/>
                  </a:lnTo>
                  <a:lnTo>
                    <a:pt x="918" y="344"/>
                  </a:lnTo>
                  <a:lnTo>
                    <a:pt x="918" y="344"/>
                  </a:lnTo>
                  <a:lnTo>
                    <a:pt x="916" y="346"/>
                  </a:lnTo>
                  <a:lnTo>
                    <a:pt x="914" y="348"/>
                  </a:lnTo>
                  <a:lnTo>
                    <a:pt x="908" y="348"/>
                  </a:lnTo>
                  <a:lnTo>
                    <a:pt x="908" y="348"/>
                  </a:lnTo>
                  <a:lnTo>
                    <a:pt x="906" y="352"/>
                  </a:lnTo>
                  <a:lnTo>
                    <a:pt x="902" y="354"/>
                  </a:lnTo>
                  <a:lnTo>
                    <a:pt x="894" y="354"/>
                  </a:lnTo>
                  <a:lnTo>
                    <a:pt x="886" y="350"/>
                  </a:lnTo>
                  <a:lnTo>
                    <a:pt x="884" y="348"/>
                  </a:lnTo>
                  <a:lnTo>
                    <a:pt x="884" y="346"/>
                  </a:lnTo>
                  <a:lnTo>
                    <a:pt x="884" y="346"/>
                  </a:lnTo>
                  <a:lnTo>
                    <a:pt x="886" y="342"/>
                  </a:lnTo>
                  <a:lnTo>
                    <a:pt x="884" y="338"/>
                  </a:lnTo>
                  <a:lnTo>
                    <a:pt x="882" y="336"/>
                  </a:lnTo>
                  <a:lnTo>
                    <a:pt x="880" y="334"/>
                  </a:lnTo>
                  <a:lnTo>
                    <a:pt x="868" y="332"/>
                  </a:lnTo>
                  <a:lnTo>
                    <a:pt x="856" y="334"/>
                  </a:lnTo>
                  <a:lnTo>
                    <a:pt x="856" y="334"/>
                  </a:lnTo>
                  <a:lnTo>
                    <a:pt x="852" y="328"/>
                  </a:lnTo>
                  <a:lnTo>
                    <a:pt x="850" y="324"/>
                  </a:lnTo>
                  <a:lnTo>
                    <a:pt x="842" y="318"/>
                  </a:lnTo>
                  <a:lnTo>
                    <a:pt x="836" y="314"/>
                  </a:lnTo>
                  <a:lnTo>
                    <a:pt x="834" y="310"/>
                  </a:lnTo>
                  <a:lnTo>
                    <a:pt x="834" y="304"/>
                  </a:lnTo>
                  <a:lnTo>
                    <a:pt x="834" y="304"/>
                  </a:lnTo>
                  <a:lnTo>
                    <a:pt x="836" y="298"/>
                  </a:lnTo>
                  <a:lnTo>
                    <a:pt x="840" y="296"/>
                  </a:lnTo>
                  <a:lnTo>
                    <a:pt x="844" y="296"/>
                  </a:lnTo>
                  <a:lnTo>
                    <a:pt x="850" y="296"/>
                  </a:lnTo>
                  <a:lnTo>
                    <a:pt x="856" y="298"/>
                  </a:lnTo>
                  <a:lnTo>
                    <a:pt x="860" y="298"/>
                  </a:lnTo>
                  <a:lnTo>
                    <a:pt x="864" y="296"/>
                  </a:lnTo>
                  <a:lnTo>
                    <a:pt x="866" y="290"/>
                  </a:lnTo>
                  <a:lnTo>
                    <a:pt x="866" y="290"/>
                  </a:lnTo>
                  <a:lnTo>
                    <a:pt x="868" y="286"/>
                  </a:lnTo>
                  <a:lnTo>
                    <a:pt x="870" y="282"/>
                  </a:lnTo>
                  <a:lnTo>
                    <a:pt x="876" y="280"/>
                  </a:lnTo>
                  <a:lnTo>
                    <a:pt x="884" y="276"/>
                  </a:lnTo>
                  <a:lnTo>
                    <a:pt x="886" y="274"/>
                  </a:lnTo>
                  <a:lnTo>
                    <a:pt x="886" y="270"/>
                  </a:lnTo>
                  <a:lnTo>
                    <a:pt x="886" y="270"/>
                  </a:lnTo>
                  <a:lnTo>
                    <a:pt x="888" y="268"/>
                  </a:lnTo>
                  <a:lnTo>
                    <a:pt x="888" y="266"/>
                  </a:lnTo>
                  <a:lnTo>
                    <a:pt x="892" y="266"/>
                  </a:lnTo>
                  <a:lnTo>
                    <a:pt x="896" y="266"/>
                  </a:lnTo>
                  <a:lnTo>
                    <a:pt x="894" y="260"/>
                  </a:lnTo>
                  <a:lnTo>
                    <a:pt x="894" y="260"/>
                  </a:lnTo>
                  <a:lnTo>
                    <a:pt x="900" y="264"/>
                  </a:lnTo>
                  <a:lnTo>
                    <a:pt x="904" y="268"/>
                  </a:lnTo>
                  <a:lnTo>
                    <a:pt x="914" y="270"/>
                  </a:lnTo>
                  <a:lnTo>
                    <a:pt x="918" y="272"/>
                  </a:lnTo>
                  <a:lnTo>
                    <a:pt x="918" y="274"/>
                  </a:lnTo>
                  <a:lnTo>
                    <a:pt x="916" y="280"/>
                  </a:lnTo>
                  <a:lnTo>
                    <a:pt x="910" y="286"/>
                  </a:lnTo>
                  <a:lnTo>
                    <a:pt x="910" y="286"/>
                  </a:lnTo>
                  <a:lnTo>
                    <a:pt x="904" y="294"/>
                  </a:lnTo>
                  <a:lnTo>
                    <a:pt x="902" y="298"/>
                  </a:lnTo>
                  <a:lnTo>
                    <a:pt x="902" y="300"/>
                  </a:lnTo>
                  <a:lnTo>
                    <a:pt x="904" y="302"/>
                  </a:lnTo>
                  <a:lnTo>
                    <a:pt x="910" y="300"/>
                  </a:lnTo>
                  <a:lnTo>
                    <a:pt x="912" y="300"/>
                  </a:lnTo>
                  <a:lnTo>
                    <a:pt x="910" y="300"/>
                  </a:lnTo>
                  <a:lnTo>
                    <a:pt x="910" y="300"/>
                  </a:lnTo>
                  <a:lnTo>
                    <a:pt x="908" y="302"/>
                  </a:lnTo>
                  <a:lnTo>
                    <a:pt x="908" y="304"/>
                  </a:lnTo>
                  <a:lnTo>
                    <a:pt x="910" y="304"/>
                  </a:lnTo>
                  <a:lnTo>
                    <a:pt x="908" y="306"/>
                  </a:lnTo>
                  <a:lnTo>
                    <a:pt x="908" y="306"/>
                  </a:lnTo>
                  <a:lnTo>
                    <a:pt x="904" y="310"/>
                  </a:lnTo>
                  <a:lnTo>
                    <a:pt x="904" y="312"/>
                  </a:lnTo>
                  <a:lnTo>
                    <a:pt x="906" y="312"/>
                  </a:lnTo>
                  <a:lnTo>
                    <a:pt x="912" y="312"/>
                  </a:lnTo>
                  <a:lnTo>
                    <a:pt x="912" y="312"/>
                  </a:lnTo>
                  <a:lnTo>
                    <a:pt x="914" y="310"/>
                  </a:lnTo>
                  <a:lnTo>
                    <a:pt x="914" y="308"/>
                  </a:lnTo>
                  <a:lnTo>
                    <a:pt x="914" y="308"/>
                  </a:lnTo>
                  <a:lnTo>
                    <a:pt x="916" y="306"/>
                  </a:lnTo>
                  <a:lnTo>
                    <a:pt x="916" y="306"/>
                  </a:lnTo>
                  <a:lnTo>
                    <a:pt x="922" y="302"/>
                  </a:lnTo>
                  <a:lnTo>
                    <a:pt x="928" y="294"/>
                  </a:lnTo>
                  <a:lnTo>
                    <a:pt x="936" y="288"/>
                  </a:lnTo>
                  <a:lnTo>
                    <a:pt x="942" y="286"/>
                  </a:lnTo>
                  <a:lnTo>
                    <a:pt x="948" y="284"/>
                  </a:lnTo>
                  <a:lnTo>
                    <a:pt x="948" y="284"/>
                  </a:lnTo>
                  <a:lnTo>
                    <a:pt x="954" y="284"/>
                  </a:lnTo>
                  <a:lnTo>
                    <a:pt x="956" y="282"/>
                  </a:lnTo>
                  <a:lnTo>
                    <a:pt x="962" y="278"/>
                  </a:lnTo>
                  <a:lnTo>
                    <a:pt x="962" y="278"/>
                  </a:lnTo>
                  <a:lnTo>
                    <a:pt x="964" y="276"/>
                  </a:lnTo>
                  <a:lnTo>
                    <a:pt x="964" y="276"/>
                  </a:lnTo>
                  <a:lnTo>
                    <a:pt x="972" y="270"/>
                  </a:lnTo>
                  <a:lnTo>
                    <a:pt x="976" y="266"/>
                  </a:lnTo>
                  <a:lnTo>
                    <a:pt x="978" y="262"/>
                  </a:lnTo>
                  <a:lnTo>
                    <a:pt x="980" y="256"/>
                  </a:lnTo>
                  <a:lnTo>
                    <a:pt x="980" y="256"/>
                  </a:lnTo>
                  <a:lnTo>
                    <a:pt x="984" y="250"/>
                  </a:lnTo>
                  <a:lnTo>
                    <a:pt x="988" y="244"/>
                  </a:lnTo>
                  <a:lnTo>
                    <a:pt x="992" y="242"/>
                  </a:lnTo>
                  <a:lnTo>
                    <a:pt x="996" y="240"/>
                  </a:lnTo>
                  <a:lnTo>
                    <a:pt x="1008" y="240"/>
                  </a:lnTo>
                  <a:lnTo>
                    <a:pt x="1008" y="240"/>
                  </a:lnTo>
                  <a:lnTo>
                    <a:pt x="1016" y="242"/>
                  </a:lnTo>
                  <a:lnTo>
                    <a:pt x="1022" y="240"/>
                  </a:lnTo>
                  <a:lnTo>
                    <a:pt x="1024" y="238"/>
                  </a:lnTo>
                  <a:lnTo>
                    <a:pt x="1020" y="234"/>
                  </a:lnTo>
                  <a:lnTo>
                    <a:pt x="1020" y="234"/>
                  </a:lnTo>
                  <a:lnTo>
                    <a:pt x="1018" y="232"/>
                  </a:lnTo>
                  <a:lnTo>
                    <a:pt x="1018" y="232"/>
                  </a:lnTo>
                  <a:lnTo>
                    <a:pt x="1024" y="230"/>
                  </a:lnTo>
                  <a:lnTo>
                    <a:pt x="1032" y="228"/>
                  </a:lnTo>
                  <a:lnTo>
                    <a:pt x="1032" y="226"/>
                  </a:lnTo>
                  <a:lnTo>
                    <a:pt x="1032" y="224"/>
                  </a:lnTo>
                  <a:lnTo>
                    <a:pt x="1032" y="224"/>
                  </a:lnTo>
                  <a:lnTo>
                    <a:pt x="1030" y="220"/>
                  </a:lnTo>
                  <a:lnTo>
                    <a:pt x="1032" y="218"/>
                  </a:lnTo>
                  <a:lnTo>
                    <a:pt x="1036" y="216"/>
                  </a:lnTo>
                  <a:lnTo>
                    <a:pt x="1036" y="212"/>
                  </a:lnTo>
                  <a:lnTo>
                    <a:pt x="1036" y="212"/>
                  </a:lnTo>
                  <a:lnTo>
                    <a:pt x="1036" y="212"/>
                  </a:lnTo>
                  <a:lnTo>
                    <a:pt x="1038" y="212"/>
                  </a:lnTo>
                  <a:lnTo>
                    <a:pt x="1044" y="218"/>
                  </a:lnTo>
                  <a:lnTo>
                    <a:pt x="1050" y="222"/>
                  </a:lnTo>
                  <a:lnTo>
                    <a:pt x="1052" y="220"/>
                  </a:lnTo>
                  <a:lnTo>
                    <a:pt x="1054" y="218"/>
                  </a:lnTo>
                  <a:lnTo>
                    <a:pt x="1054" y="218"/>
                  </a:lnTo>
                  <a:lnTo>
                    <a:pt x="1050" y="214"/>
                  </a:lnTo>
                  <a:lnTo>
                    <a:pt x="1046" y="208"/>
                  </a:lnTo>
                  <a:lnTo>
                    <a:pt x="1044" y="198"/>
                  </a:lnTo>
                  <a:lnTo>
                    <a:pt x="1044" y="198"/>
                  </a:lnTo>
                  <a:lnTo>
                    <a:pt x="1042" y="192"/>
                  </a:lnTo>
                  <a:lnTo>
                    <a:pt x="1038" y="186"/>
                  </a:lnTo>
                  <a:lnTo>
                    <a:pt x="1028" y="180"/>
                  </a:lnTo>
                  <a:lnTo>
                    <a:pt x="1022" y="174"/>
                  </a:lnTo>
                  <a:lnTo>
                    <a:pt x="1022" y="172"/>
                  </a:lnTo>
                  <a:lnTo>
                    <a:pt x="1026" y="170"/>
                  </a:lnTo>
                  <a:lnTo>
                    <a:pt x="1026" y="170"/>
                  </a:lnTo>
                  <a:lnTo>
                    <a:pt x="1034" y="162"/>
                  </a:lnTo>
                  <a:lnTo>
                    <a:pt x="1040" y="158"/>
                  </a:lnTo>
                  <a:lnTo>
                    <a:pt x="1042" y="154"/>
                  </a:lnTo>
                  <a:lnTo>
                    <a:pt x="1042" y="152"/>
                  </a:lnTo>
                  <a:lnTo>
                    <a:pt x="1042" y="146"/>
                  </a:lnTo>
                  <a:lnTo>
                    <a:pt x="1044" y="144"/>
                  </a:lnTo>
                  <a:lnTo>
                    <a:pt x="1046" y="142"/>
                  </a:lnTo>
                  <a:lnTo>
                    <a:pt x="1046" y="142"/>
                  </a:lnTo>
                  <a:lnTo>
                    <a:pt x="1052" y="136"/>
                  </a:lnTo>
                  <a:lnTo>
                    <a:pt x="1054" y="132"/>
                  </a:lnTo>
                  <a:lnTo>
                    <a:pt x="1052" y="128"/>
                  </a:lnTo>
                  <a:lnTo>
                    <a:pt x="1048" y="126"/>
                  </a:lnTo>
                  <a:lnTo>
                    <a:pt x="1042" y="120"/>
                  </a:lnTo>
                  <a:lnTo>
                    <a:pt x="1040" y="116"/>
                  </a:lnTo>
                  <a:lnTo>
                    <a:pt x="1042" y="112"/>
                  </a:lnTo>
                  <a:lnTo>
                    <a:pt x="1042" y="112"/>
                  </a:lnTo>
                  <a:lnTo>
                    <a:pt x="1046" y="106"/>
                  </a:lnTo>
                  <a:lnTo>
                    <a:pt x="1046" y="102"/>
                  </a:lnTo>
                  <a:lnTo>
                    <a:pt x="1044" y="96"/>
                  </a:lnTo>
                  <a:lnTo>
                    <a:pt x="1038" y="92"/>
                  </a:lnTo>
                  <a:lnTo>
                    <a:pt x="1034" y="90"/>
                  </a:lnTo>
                  <a:lnTo>
                    <a:pt x="1028" y="88"/>
                  </a:lnTo>
                  <a:lnTo>
                    <a:pt x="1020" y="88"/>
                  </a:lnTo>
                  <a:lnTo>
                    <a:pt x="1014" y="92"/>
                  </a:lnTo>
                  <a:lnTo>
                    <a:pt x="1014" y="92"/>
                  </a:lnTo>
                  <a:lnTo>
                    <a:pt x="1002" y="98"/>
                  </a:lnTo>
                  <a:lnTo>
                    <a:pt x="998" y="102"/>
                  </a:lnTo>
                  <a:lnTo>
                    <a:pt x="992" y="102"/>
                  </a:lnTo>
                  <a:lnTo>
                    <a:pt x="986" y="102"/>
                  </a:lnTo>
                  <a:lnTo>
                    <a:pt x="978" y="100"/>
                  </a:lnTo>
                  <a:lnTo>
                    <a:pt x="970" y="96"/>
                  </a:lnTo>
                  <a:lnTo>
                    <a:pt x="958" y="90"/>
                  </a:lnTo>
                  <a:lnTo>
                    <a:pt x="958" y="90"/>
                  </a:lnTo>
                  <a:lnTo>
                    <a:pt x="948" y="84"/>
                  </a:lnTo>
                  <a:lnTo>
                    <a:pt x="938" y="80"/>
                  </a:lnTo>
                  <a:lnTo>
                    <a:pt x="918" y="74"/>
                  </a:lnTo>
                  <a:lnTo>
                    <a:pt x="906" y="70"/>
                  </a:lnTo>
                  <a:lnTo>
                    <a:pt x="896" y="64"/>
                  </a:lnTo>
                  <a:lnTo>
                    <a:pt x="884" y="56"/>
                  </a:lnTo>
                  <a:lnTo>
                    <a:pt x="870" y="46"/>
                  </a:lnTo>
                  <a:lnTo>
                    <a:pt x="870" y="46"/>
                  </a:lnTo>
                  <a:lnTo>
                    <a:pt x="856" y="34"/>
                  </a:lnTo>
                  <a:lnTo>
                    <a:pt x="842" y="24"/>
                  </a:lnTo>
                  <a:lnTo>
                    <a:pt x="830" y="16"/>
                  </a:lnTo>
                  <a:lnTo>
                    <a:pt x="816" y="10"/>
                  </a:lnTo>
                  <a:lnTo>
                    <a:pt x="804" y="6"/>
                  </a:lnTo>
                  <a:lnTo>
                    <a:pt x="790" y="2"/>
                  </a:lnTo>
                  <a:lnTo>
                    <a:pt x="778" y="0"/>
                  </a:lnTo>
                  <a:lnTo>
                    <a:pt x="764" y="0"/>
                  </a:lnTo>
                  <a:lnTo>
                    <a:pt x="764" y="0"/>
                  </a:lnTo>
                  <a:lnTo>
                    <a:pt x="746" y="0"/>
                  </a:lnTo>
                  <a:lnTo>
                    <a:pt x="738" y="4"/>
                  </a:lnTo>
                  <a:lnTo>
                    <a:pt x="732" y="6"/>
                  </a:lnTo>
                  <a:lnTo>
                    <a:pt x="722" y="8"/>
                  </a:lnTo>
                  <a:lnTo>
                    <a:pt x="722" y="8"/>
                  </a:lnTo>
                  <a:lnTo>
                    <a:pt x="714" y="8"/>
                  </a:lnTo>
                  <a:lnTo>
                    <a:pt x="708" y="10"/>
                  </a:lnTo>
                  <a:lnTo>
                    <a:pt x="706" y="12"/>
                  </a:lnTo>
                  <a:lnTo>
                    <a:pt x="704" y="14"/>
                  </a:lnTo>
                  <a:lnTo>
                    <a:pt x="706" y="16"/>
                  </a:lnTo>
                  <a:lnTo>
                    <a:pt x="708" y="18"/>
                  </a:lnTo>
                  <a:lnTo>
                    <a:pt x="718" y="18"/>
                  </a:lnTo>
                  <a:lnTo>
                    <a:pt x="718" y="18"/>
                  </a:lnTo>
                  <a:lnTo>
                    <a:pt x="726" y="18"/>
                  </a:lnTo>
                  <a:lnTo>
                    <a:pt x="730" y="20"/>
                  </a:lnTo>
                  <a:lnTo>
                    <a:pt x="730" y="22"/>
                  </a:lnTo>
                  <a:lnTo>
                    <a:pt x="730" y="26"/>
                  </a:lnTo>
                  <a:lnTo>
                    <a:pt x="726" y="32"/>
                  </a:lnTo>
                  <a:lnTo>
                    <a:pt x="722" y="42"/>
                  </a:lnTo>
                  <a:lnTo>
                    <a:pt x="722" y="42"/>
                  </a:lnTo>
                  <a:lnTo>
                    <a:pt x="720" y="54"/>
                  </a:lnTo>
                  <a:lnTo>
                    <a:pt x="718" y="60"/>
                  </a:lnTo>
                  <a:lnTo>
                    <a:pt x="716" y="68"/>
                  </a:lnTo>
                  <a:lnTo>
                    <a:pt x="712" y="72"/>
                  </a:lnTo>
                  <a:lnTo>
                    <a:pt x="704" y="76"/>
                  </a:lnTo>
                  <a:lnTo>
                    <a:pt x="694" y="76"/>
                  </a:lnTo>
                  <a:lnTo>
                    <a:pt x="678" y="74"/>
                  </a:lnTo>
                  <a:lnTo>
                    <a:pt x="678" y="74"/>
                  </a:lnTo>
                  <a:lnTo>
                    <a:pt x="654" y="68"/>
                  </a:lnTo>
                  <a:lnTo>
                    <a:pt x="654" y="68"/>
                  </a:lnTo>
                  <a:lnTo>
                    <a:pt x="644" y="74"/>
                  </a:lnTo>
                  <a:lnTo>
                    <a:pt x="640" y="78"/>
                  </a:lnTo>
                  <a:lnTo>
                    <a:pt x="640" y="82"/>
                  </a:lnTo>
                  <a:lnTo>
                    <a:pt x="642" y="84"/>
                  </a:lnTo>
                  <a:lnTo>
                    <a:pt x="644" y="90"/>
                  </a:lnTo>
                  <a:lnTo>
                    <a:pt x="644" y="92"/>
                  </a:lnTo>
                  <a:lnTo>
                    <a:pt x="638" y="96"/>
                  </a:lnTo>
                  <a:lnTo>
                    <a:pt x="638" y="96"/>
                  </a:lnTo>
                  <a:lnTo>
                    <a:pt x="632" y="100"/>
                  </a:lnTo>
                  <a:lnTo>
                    <a:pt x="632" y="104"/>
                  </a:lnTo>
                  <a:lnTo>
                    <a:pt x="632" y="106"/>
                  </a:lnTo>
                  <a:lnTo>
                    <a:pt x="634" y="108"/>
                  </a:lnTo>
                  <a:lnTo>
                    <a:pt x="640" y="108"/>
                  </a:lnTo>
                  <a:lnTo>
                    <a:pt x="656" y="106"/>
                  </a:lnTo>
                  <a:lnTo>
                    <a:pt x="656" y="106"/>
                  </a:lnTo>
                  <a:lnTo>
                    <a:pt x="672" y="104"/>
                  </a:lnTo>
                  <a:lnTo>
                    <a:pt x="682" y="104"/>
                  </a:lnTo>
                  <a:lnTo>
                    <a:pt x="688" y="104"/>
                  </a:lnTo>
                  <a:lnTo>
                    <a:pt x="692" y="106"/>
                  </a:lnTo>
                  <a:lnTo>
                    <a:pt x="696" y="108"/>
                  </a:lnTo>
                  <a:lnTo>
                    <a:pt x="698" y="106"/>
                  </a:lnTo>
                  <a:lnTo>
                    <a:pt x="710" y="100"/>
                  </a:lnTo>
                  <a:lnTo>
                    <a:pt x="710" y="100"/>
                  </a:lnTo>
                  <a:lnTo>
                    <a:pt x="714" y="96"/>
                  </a:lnTo>
                  <a:lnTo>
                    <a:pt x="720" y="92"/>
                  </a:lnTo>
                  <a:lnTo>
                    <a:pt x="724" y="92"/>
                  </a:lnTo>
                  <a:lnTo>
                    <a:pt x="728" y="94"/>
                  </a:lnTo>
                  <a:lnTo>
                    <a:pt x="742" y="98"/>
                  </a:lnTo>
                  <a:lnTo>
                    <a:pt x="760" y="110"/>
                  </a:lnTo>
                  <a:lnTo>
                    <a:pt x="760" y="110"/>
                  </a:lnTo>
                  <a:lnTo>
                    <a:pt x="764" y="112"/>
                  </a:lnTo>
                  <a:lnTo>
                    <a:pt x="768" y="116"/>
                  </a:lnTo>
                  <a:lnTo>
                    <a:pt x="770" y="120"/>
                  </a:lnTo>
                  <a:lnTo>
                    <a:pt x="770" y="124"/>
                  </a:lnTo>
                  <a:lnTo>
                    <a:pt x="768" y="126"/>
                  </a:lnTo>
                  <a:lnTo>
                    <a:pt x="766" y="128"/>
                  </a:lnTo>
                  <a:lnTo>
                    <a:pt x="762" y="130"/>
                  </a:lnTo>
                  <a:lnTo>
                    <a:pt x="758" y="130"/>
                  </a:lnTo>
                  <a:lnTo>
                    <a:pt x="758" y="130"/>
                  </a:lnTo>
                  <a:lnTo>
                    <a:pt x="752" y="130"/>
                  </a:lnTo>
                  <a:lnTo>
                    <a:pt x="750" y="132"/>
                  </a:lnTo>
                  <a:lnTo>
                    <a:pt x="748" y="134"/>
                  </a:lnTo>
                  <a:lnTo>
                    <a:pt x="742" y="134"/>
                  </a:lnTo>
                  <a:lnTo>
                    <a:pt x="742" y="134"/>
                  </a:lnTo>
                  <a:lnTo>
                    <a:pt x="734" y="134"/>
                  </a:lnTo>
                  <a:lnTo>
                    <a:pt x="730" y="136"/>
                  </a:lnTo>
                  <a:lnTo>
                    <a:pt x="724" y="144"/>
                  </a:lnTo>
                  <a:lnTo>
                    <a:pt x="724" y="144"/>
                  </a:lnTo>
                  <a:lnTo>
                    <a:pt x="718" y="150"/>
                  </a:lnTo>
                  <a:lnTo>
                    <a:pt x="714" y="152"/>
                  </a:lnTo>
                  <a:lnTo>
                    <a:pt x="708" y="154"/>
                  </a:lnTo>
                  <a:lnTo>
                    <a:pt x="702" y="154"/>
                  </a:lnTo>
                  <a:lnTo>
                    <a:pt x="700" y="156"/>
                  </a:lnTo>
                  <a:lnTo>
                    <a:pt x="698" y="160"/>
                  </a:lnTo>
                  <a:lnTo>
                    <a:pt x="698" y="160"/>
                  </a:lnTo>
                  <a:lnTo>
                    <a:pt x="696" y="166"/>
                  </a:lnTo>
                  <a:lnTo>
                    <a:pt x="692" y="168"/>
                  </a:lnTo>
                  <a:lnTo>
                    <a:pt x="688" y="168"/>
                  </a:lnTo>
                  <a:lnTo>
                    <a:pt x="684" y="168"/>
                  </a:lnTo>
                  <a:lnTo>
                    <a:pt x="678" y="164"/>
                  </a:lnTo>
                  <a:lnTo>
                    <a:pt x="674" y="164"/>
                  </a:lnTo>
                  <a:lnTo>
                    <a:pt x="672" y="168"/>
                  </a:lnTo>
                  <a:lnTo>
                    <a:pt x="672" y="168"/>
                  </a:lnTo>
                  <a:lnTo>
                    <a:pt x="672" y="172"/>
                  </a:lnTo>
                  <a:lnTo>
                    <a:pt x="674" y="176"/>
                  </a:lnTo>
                  <a:lnTo>
                    <a:pt x="678" y="178"/>
                  </a:lnTo>
                  <a:lnTo>
                    <a:pt x="686" y="180"/>
                  </a:lnTo>
                  <a:lnTo>
                    <a:pt x="686" y="180"/>
                  </a:lnTo>
                  <a:lnTo>
                    <a:pt x="690" y="182"/>
                  </a:lnTo>
                  <a:lnTo>
                    <a:pt x="694" y="184"/>
                  </a:lnTo>
                  <a:lnTo>
                    <a:pt x="694" y="190"/>
                  </a:lnTo>
                  <a:lnTo>
                    <a:pt x="694" y="194"/>
                  </a:lnTo>
                  <a:lnTo>
                    <a:pt x="690" y="198"/>
                  </a:lnTo>
                  <a:lnTo>
                    <a:pt x="688" y="202"/>
                  </a:lnTo>
                  <a:lnTo>
                    <a:pt x="684" y="206"/>
                  </a:lnTo>
                  <a:lnTo>
                    <a:pt x="678" y="206"/>
                  </a:lnTo>
                  <a:lnTo>
                    <a:pt x="678" y="206"/>
                  </a:lnTo>
                  <a:lnTo>
                    <a:pt x="676" y="206"/>
                  </a:lnTo>
                  <a:lnTo>
                    <a:pt x="674" y="208"/>
                  </a:lnTo>
                  <a:lnTo>
                    <a:pt x="670" y="214"/>
                  </a:lnTo>
                  <a:lnTo>
                    <a:pt x="668" y="216"/>
                  </a:lnTo>
                  <a:lnTo>
                    <a:pt x="664" y="218"/>
                  </a:lnTo>
                  <a:lnTo>
                    <a:pt x="658" y="220"/>
                  </a:lnTo>
                  <a:lnTo>
                    <a:pt x="650" y="220"/>
                  </a:lnTo>
                  <a:lnTo>
                    <a:pt x="650" y="220"/>
                  </a:lnTo>
                  <a:lnTo>
                    <a:pt x="632" y="220"/>
                  </a:lnTo>
                  <a:lnTo>
                    <a:pt x="620" y="222"/>
                  </a:lnTo>
                  <a:lnTo>
                    <a:pt x="610" y="224"/>
                  </a:lnTo>
                  <a:lnTo>
                    <a:pt x="602" y="228"/>
                  </a:lnTo>
                  <a:lnTo>
                    <a:pt x="594" y="230"/>
                  </a:lnTo>
                  <a:lnTo>
                    <a:pt x="584" y="232"/>
                  </a:lnTo>
                  <a:lnTo>
                    <a:pt x="572" y="232"/>
                  </a:lnTo>
                  <a:lnTo>
                    <a:pt x="554" y="230"/>
                  </a:lnTo>
                  <a:lnTo>
                    <a:pt x="554" y="230"/>
                  </a:lnTo>
                  <a:lnTo>
                    <a:pt x="526" y="222"/>
                  </a:lnTo>
                  <a:lnTo>
                    <a:pt x="520" y="218"/>
                  </a:lnTo>
                  <a:lnTo>
                    <a:pt x="516" y="216"/>
                  </a:lnTo>
                  <a:lnTo>
                    <a:pt x="512" y="214"/>
                  </a:lnTo>
                  <a:lnTo>
                    <a:pt x="502" y="212"/>
                  </a:lnTo>
                  <a:lnTo>
                    <a:pt x="502" y="212"/>
                  </a:lnTo>
                  <a:lnTo>
                    <a:pt x="492" y="210"/>
                  </a:lnTo>
                  <a:lnTo>
                    <a:pt x="484" y="208"/>
                  </a:lnTo>
                  <a:lnTo>
                    <a:pt x="476" y="208"/>
                  </a:lnTo>
                  <a:lnTo>
                    <a:pt x="468" y="210"/>
                  </a:lnTo>
                  <a:lnTo>
                    <a:pt x="468" y="210"/>
                  </a:lnTo>
                  <a:lnTo>
                    <a:pt x="458" y="212"/>
                  </a:lnTo>
                  <a:lnTo>
                    <a:pt x="448" y="210"/>
                  </a:lnTo>
                  <a:lnTo>
                    <a:pt x="440" y="210"/>
                  </a:lnTo>
                  <a:lnTo>
                    <a:pt x="430" y="210"/>
                  </a:lnTo>
                  <a:lnTo>
                    <a:pt x="430" y="210"/>
                  </a:lnTo>
                  <a:lnTo>
                    <a:pt x="424" y="210"/>
                  </a:lnTo>
                  <a:lnTo>
                    <a:pt x="418" y="210"/>
                  </a:lnTo>
                  <a:lnTo>
                    <a:pt x="412" y="210"/>
                  </a:lnTo>
                  <a:lnTo>
                    <a:pt x="404" y="216"/>
                  </a:lnTo>
                  <a:lnTo>
                    <a:pt x="404" y="216"/>
                  </a:lnTo>
                  <a:lnTo>
                    <a:pt x="400" y="218"/>
                  </a:lnTo>
                  <a:lnTo>
                    <a:pt x="398" y="218"/>
                  </a:lnTo>
                  <a:lnTo>
                    <a:pt x="398" y="212"/>
                  </a:lnTo>
                  <a:lnTo>
                    <a:pt x="398" y="204"/>
                  </a:lnTo>
                  <a:lnTo>
                    <a:pt x="396" y="200"/>
                  </a:lnTo>
                  <a:lnTo>
                    <a:pt x="392" y="196"/>
                  </a:lnTo>
                  <a:lnTo>
                    <a:pt x="392" y="196"/>
                  </a:lnTo>
                  <a:lnTo>
                    <a:pt x="388" y="192"/>
                  </a:lnTo>
                  <a:lnTo>
                    <a:pt x="386" y="188"/>
                  </a:lnTo>
                  <a:lnTo>
                    <a:pt x="386" y="184"/>
                  </a:lnTo>
                  <a:lnTo>
                    <a:pt x="384" y="184"/>
                  </a:lnTo>
                  <a:lnTo>
                    <a:pt x="384" y="184"/>
                  </a:lnTo>
                  <a:lnTo>
                    <a:pt x="382" y="184"/>
                  </a:lnTo>
                  <a:lnTo>
                    <a:pt x="380" y="182"/>
                  </a:lnTo>
                  <a:lnTo>
                    <a:pt x="380" y="178"/>
                  </a:lnTo>
                  <a:lnTo>
                    <a:pt x="380" y="176"/>
                  </a:lnTo>
                  <a:lnTo>
                    <a:pt x="376" y="178"/>
                  </a:lnTo>
                  <a:lnTo>
                    <a:pt x="376" y="178"/>
                  </a:lnTo>
                  <a:lnTo>
                    <a:pt x="374" y="180"/>
                  </a:lnTo>
                  <a:lnTo>
                    <a:pt x="368" y="180"/>
                  </a:lnTo>
                  <a:lnTo>
                    <a:pt x="354" y="178"/>
                  </a:lnTo>
                  <a:lnTo>
                    <a:pt x="334" y="170"/>
                  </a:lnTo>
                  <a:lnTo>
                    <a:pt x="334" y="170"/>
                  </a:lnTo>
                  <a:lnTo>
                    <a:pt x="324" y="166"/>
                  </a:lnTo>
                  <a:lnTo>
                    <a:pt x="314" y="166"/>
                  </a:lnTo>
                  <a:lnTo>
                    <a:pt x="284" y="170"/>
                  </a:lnTo>
                  <a:lnTo>
                    <a:pt x="284" y="170"/>
                  </a:lnTo>
                  <a:lnTo>
                    <a:pt x="274" y="170"/>
                  </a:lnTo>
                  <a:lnTo>
                    <a:pt x="272" y="170"/>
                  </a:lnTo>
                  <a:lnTo>
                    <a:pt x="274" y="168"/>
                  </a:lnTo>
                  <a:lnTo>
                    <a:pt x="278" y="164"/>
                  </a:lnTo>
                  <a:lnTo>
                    <a:pt x="278" y="160"/>
                  </a:lnTo>
                  <a:lnTo>
                    <a:pt x="276" y="156"/>
                  </a:lnTo>
                  <a:lnTo>
                    <a:pt x="276" y="156"/>
                  </a:lnTo>
                  <a:lnTo>
                    <a:pt x="272" y="152"/>
                  </a:lnTo>
                  <a:lnTo>
                    <a:pt x="274" y="148"/>
                  </a:lnTo>
                  <a:lnTo>
                    <a:pt x="274" y="146"/>
                  </a:lnTo>
                  <a:lnTo>
                    <a:pt x="270" y="142"/>
                  </a:lnTo>
                  <a:lnTo>
                    <a:pt x="270" y="142"/>
                  </a:lnTo>
                  <a:lnTo>
                    <a:pt x="264" y="138"/>
                  </a:lnTo>
                  <a:lnTo>
                    <a:pt x="260" y="134"/>
                  </a:lnTo>
                  <a:lnTo>
                    <a:pt x="256" y="126"/>
                  </a:lnTo>
                  <a:lnTo>
                    <a:pt x="254" y="118"/>
                  </a:lnTo>
                  <a:lnTo>
                    <a:pt x="250" y="116"/>
                  </a:lnTo>
                  <a:lnTo>
                    <a:pt x="246" y="114"/>
                  </a:lnTo>
                  <a:lnTo>
                    <a:pt x="246" y="114"/>
                  </a:lnTo>
                  <a:lnTo>
                    <a:pt x="238" y="110"/>
                  </a:lnTo>
                  <a:lnTo>
                    <a:pt x="236" y="108"/>
                  </a:lnTo>
                  <a:lnTo>
                    <a:pt x="236" y="108"/>
                  </a:lnTo>
                  <a:lnTo>
                    <a:pt x="232" y="106"/>
                  </a:lnTo>
                  <a:lnTo>
                    <a:pt x="230" y="104"/>
                  </a:lnTo>
                  <a:lnTo>
                    <a:pt x="226" y="108"/>
                  </a:lnTo>
                  <a:lnTo>
                    <a:pt x="224" y="110"/>
                  </a:lnTo>
                  <a:lnTo>
                    <a:pt x="220" y="110"/>
                  </a:lnTo>
                  <a:lnTo>
                    <a:pt x="218" y="110"/>
                  </a:lnTo>
                  <a:lnTo>
                    <a:pt x="214" y="106"/>
                  </a:lnTo>
                  <a:lnTo>
                    <a:pt x="214" y="106"/>
                  </a:lnTo>
                  <a:lnTo>
                    <a:pt x="208" y="102"/>
                  </a:lnTo>
                  <a:lnTo>
                    <a:pt x="204" y="100"/>
                  </a:lnTo>
                  <a:lnTo>
                    <a:pt x="196" y="98"/>
                  </a:lnTo>
                  <a:lnTo>
                    <a:pt x="190" y="96"/>
                  </a:lnTo>
                  <a:lnTo>
                    <a:pt x="186" y="94"/>
                  </a:lnTo>
                  <a:lnTo>
                    <a:pt x="184" y="90"/>
                  </a:lnTo>
                  <a:lnTo>
                    <a:pt x="182" y="88"/>
                  </a:lnTo>
                  <a:lnTo>
                    <a:pt x="182" y="8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4" name="Costa Rica"/>
            <p:cNvSpPr>
              <a:spLocks/>
            </p:cNvSpPr>
            <p:nvPr/>
          </p:nvSpPr>
          <p:spPr bwMode="auto">
            <a:xfrm>
              <a:off x="1747538" y="3253052"/>
              <a:ext cx="95250" cy="95250"/>
            </a:xfrm>
            <a:custGeom>
              <a:avLst/>
              <a:gdLst/>
              <a:ahLst/>
              <a:cxnLst>
                <a:cxn ang="0">
                  <a:pos x="6" y="2"/>
                </a:cxn>
                <a:cxn ang="0">
                  <a:pos x="14" y="0"/>
                </a:cxn>
                <a:cxn ang="0">
                  <a:pos x="22" y="2"/>
                </a:cxn>
                <a:cxn ang="0">
                  <a:pos x="28" y="0"/>
                </a:cxn>
                <a:cxn ang="0">
                  <a:pos x="38" y="6"/>
                </a:cxn>
                <a:cxn ang="0">
                  <a:pos x="42" y="6"/>
                </a:cxn>
                <a:cxn ang="0">
                  <a:pos x="48" y="6"/>
                </a:cxn>
                <a:cxn ang="0">
                  <a:pos x="56" y="4"/>
                </a:cxn>
                <a:cxn ang="0">
                  <a:pos x="56" y="4"/>
                </a:cxn>
                <a:cxn ang="0">
                  <a:pos x="58" y="10"/>
                </a:cxn>
                <a:cxn ang="0">
                  <a:pos x="60" y="16"/>
                </a:cxn>
                <a:cxn ang="0">
                  <a:pos x="72" y="32"/>
                </a:cxn>
                <a:cxn ang="0">
                  <a:pos x="68" y="34"/>
                </a:cxn>
                <a:cxn ang="0">
                  <a:pos x="64" y="38"/>
                </a:cxn>
                <a:cxn ang="0">
                  <a:pos x="66" y="44"/>
                </a:cxn>
                <a:cxn ang="0">
                  <a:pos x="66" y="50"/>
                </a:cxn>
                <a:cxn ang="0">
                  <a:pos x="64" y="54"/>
                </a:cxn>
                <a:cxn ang="0">
                  <a:pos x="64" y="60"/>
                </a:cxn>
                <a:cxn ang="0">
                  <a:pos x="62" y="62"/>
                </a:cxn>
                <a:cxn ang="0">
                  <a:pos x="62" y="66"/>
                </a:cxn>
                <a:cxn ang="0">
                  <a:pos x="62" y="72"/>
                </a:cxn>
                <a:cxn ang="0">
                  <a:pos x="60" y="70"/>
                </a:cxn>
                <a:cxn ang="0">
                  <a:pos x="58" y="66"/>
                </a:cxn>
                <a:cxn ang="0">
                  <a:pos x="56" y="66"/>
                </a:cxn>
                <a:cxn ang="0">
                  <a:pos x="58" y="62"/>
                </a:cxn>
                <a:cxn ang="0">
                  <a:pos x="56" y="60"/>
                </a:cxn>
                <a:cxn ang="0">
                  <a:pos x="52" y="60"/>
                </a:cxn>
                <a:cxn ang="0">
                  <a:pos x="52" y="62"/>
                </a:cxn>
                <a:cxn ang="0">
                  <a:pos x="54" y="64"/>
                </a:cxn>
                <a:cxn ang="0">
                  <a:pos x="48" y="62"/>
                </a:cxn>
                <a:cxn ang="0">
                  <a:pos x="48" y="56"/>
                </a:cxn>
                <a:cxn ang="0">
                  <a:pos x="46" y="54"/>
                </a:cxn>
                <a:cxn ang="0">
                  <a:pos x="48" y="50"/>
                </a:cxn>
                <a:cxn ang="0">
                  <a:pos x="36" y="42"/>
                </a:cxn>
                <a:cxn ang="0">
                  <a:pos x="26" y="36"/>
                </a:cxn>
                <a:cxn ang="0">
                  <a:pos x="24" y="32"/>
                </a:cxn>
                <a:cxn ang="0">
                  <a:pos x="22" y="26"/>
                </a:cxn>
                <a:cxn ang="0">
                  <a:pos x="16" y="24"/>
                </a:cxn>
                <a:cxn ang="0">
                  <a:pos x="18" y="28"/>
                </a:cxn>
                <a:cxn ang="0">
                  <a:pos x="20" y="30"/>
                </a:cxn>
                <a:cxn ang="0">
                  <a:pos x="18" y="34"/>
                </a:cxn>
                <a:cxn ang="0">
                  <a:pos x="14" y="32"/>
                </a:cxn>
                <a:cxn ang="0">
                  <a:pos x="6" y="24"/>
                </a:cxn>
                <a:cxn ang="0">
                  <a:pos x="8" y="20"/>
                </a:cxn>
                <a:cxn ang="0">
                  <a:pos x="6" y="14"/>
                </a:cxn>
                <a:cxn ang="0">
                  <a:pos x="6" y="10"/>
                </a:cxn>
                <a:cxn ang="0">
                  <a:pos x="2" y="8"/>
                </a:cxn>
                <a:cxn ang="0">
                  <a:pos x="0" y="6"/>
                </a:cxn>
                <a:cxn ang="0">
                  <a:pos x="6" y="4"/>
                </a:cxn>
                <a:cxn ang="0">
                  <a:pos x="6" y="2"/>
                </a:cxn>
              </a:cxnLst>
              <a:rect l="0" t="0" r="r" b="b"/>
              <a:pathLst>
                <a:path w="72" h="72">
                  <a:moveTo>
                    <a:pt x="6" y="2"/>
                  </a:moveTo>
                  <a:lnTo>
                    <a:pt x="6" y="2"/>
                  </a:lnTo>
                  <a:lnTo>
                    <a:pt x="10" y="0"/>
                  </a:lnTo>
                  <a:lnTo>
                    <a:pt x="14" y="0"/>
                  </a:lnTo>
                  <a:lnTo>
                    <a:pt x="18" y="2"/>
                  </a:lnTo>
                  <a:lnTo>
                    <a:pt x="22" y="2"/>
                  </a:lnTo>
                  <a:lnTo>
                    <a:pt x="22" y="2"/>
                  </a:lnTo>
                  <a:lnTo>
                    <a:pt x="28" y="0"/>
                  </a:lnTo>
                  <a:lnTo>
                    <a:pt x="34" y="2"/>
                  </a:lnTo>
                  <a:lnTo>
                    <a:pt x="38" y="6"/>
                  </a:lnTo>
                  <a:lnTo>
                    <a:pt x="42" y="6"/>
                  </a:lnTo>
                  <a:lnTo>
                    <a:pt x="42" y="6"/>
                  </a:lnTo>
                  <a:lnTo>
                    <a:pt x="46" y="4"/>
                  </a:lnTo>
                  <a:lnTo>
                    <a:pt x="48" y="6"/>
                  </a:lnTo>
                  <a:lnTo>
                    <a:pt x="50" y="6"/>
                  </a:lnTo>
                  <a:lnTo>
                    <a:pt x="56" y="4"/>
                  </a:lnTo>
                  <a:lnTo>
                    <a:pt x="56" y="4"/>
                  </a:lnTo>
                  <a:lnTo>
                    <a:pt x="56" y="4"/>
                  </a:lnTo>
                  <a:lnTo>
                    <a:pt x="58" y="6"/>
                  </a:lnTo>
                  <a:lnTo>
                    <a:pt x="58" y="10"/>
                  </a:lnTo>
                  <a:lnTo>
                    <a:pt x="58" y="10"/>
                  </a:lnTo>
                  <a:lnTo>
                    <a:pt x="60" y="16"/>
                  </a:lnTo>
                  <a:lnTo>
                    <a:pt x="62" y="22"/>
                  </a:lnTo>
                  <a:lnTo>
                    <a:pt x="72" y="32"/>
                  </a:lnTo>
                  <a:lnTo>
                    <a:pt x="72" y="32"/>
                  </a:lnTo>
                  <a:lnTo>
                    <a:pt x="68" y="34"/>
                  </a:lnTo>
                  <a:lnTo>
                    <a:pt x="64" y="36"/>
                  </a:lnTo>
                  <a:lnTo>
                    <a:pt x="64" y="38"/>
                  </a:lnTo>
                  <a:lnTo>
                    <a:pt x="64" y="40"/>
                  </a:lnTo>
                  <a:lnTo>
                    <a:pt x="66" y="44"/>
                  </a:lnTo>
                  <a:lnTo>
                    <a:pt x="68" y="48"/>
                  </a:lnTo>
                  <a:lnTo>
                    <a:pt x="66" y="50"/>
                  </a:lnTo>
                  <a:lnTo>
                    <a:pt x="66" y="50"/>
                  </a:lnTo>
                  <a:lnTo>
                    <a:pt x="64" y="54"/>
                  </a:lnTo>
                  <a:lnTo>
                    <a:pt x="64" y="58"/>
                  </a:lnTo>
                  <a:lnTo>
                    <a:pt x="64" y="60"/>
                  </a:lnTo>
                  <a:lnTo>
                    <a:pt x="62" y="62"/>
                  </a:lnTo>
                  <a:lnTo>
                    <a:pt x="62" y="62"/>
                  </a:lnTo>
                  <a:lnTo>
                    <a:pt x="60" y="64"/>
                  </a:lnTo>
                  <a:lnTo>
                    <a:pt x="62" y="66"/>
                  </a:lnTo>
                  <a:lnTo>
                    <a:pt x="62" y="68"/>
                  </a:lnTo>
                  <a:lnTo>
                    <a:pt x="62" y="72"/>
                  </a:lnTo>
                  <a:lnTo>
                    <a:pt x="62" y="72"/>
                  </a:lnTo>
                  <a:lnTo>
                    <a:pt x="60" y="70"/>
                  </a:lnTo>
                  <a:lnTo>
                    <a:pt x="60" y="68"/>
                  </a:lnTo>
                  <a:lnTo>
                    <a:pt x="58" y="66"/>
                  </a:lnTo>
                  <a:lnTo>
                    <a:pt x="58" y="66"/>
                  </a:lnTo>
                  <a:lnTo>
                    <a:pt x="56" y="66"/>
                  </a:lnTo>
                  <a:lnTo>
                    <a:pt x="56" y="64"/>
                  </a:lnTo>
                  <a:lnTo>
                    <a:pt x="58" y="62"/>
                  </a:lnTo>
                  <a:lnTo>
                    <a:pt x="56" y="60"/>
                  </a:lnTo>
                  <a:lnTo>
                    <a:pt x="56" y="60"/>
                  </a:lnTo>
                  <a:lnTo>
                    <a:pt x="52" y="58"/>
                  </a:lnTo>
                  <a:lnTo>
                    <a:pt x="52" y="60"/>
                  </a:lnTo>
                  <a:lnTo>
                    <a:pt x="52" y="62"/>
                  </a:lnTo>
                  <a:lnTo>
                    <a:pt x="52" y="62"/>
                  </a:lnTo>
                  <a:lnTo>
                    <a:pt x="54" y="62"/>
                  </a:lnTo>
                  <a:lnTo>
                    <a:pt x="54" y="64"/>
                  </a:lnTo>
                  <a:lnTo>
                    <a:pt x="48" y="62"/>
                  </a:lnTo>
                  <a:lnTo>
                    <a:pt x="48" y="62"/>
                  </a:lnTo>
                  <a:lnTo>
                    <a:pt x="44" y="60"/>
                  </a:lnTo>
                  <a:lnTo>
                    <a:pt x="48" y="56"/>
                  </a:lnTo>
                  <a:lnTo>
                    <a:pt x="48" y="56"/>
                  </a:lnTo>
                  <a:lnTo>
                    <a:pt x="46" y="54"/>
                  </a:lnTo>
                  <a:lnTo>
                    <a:pt x="46" y="52"/>
                  </a:lnTo>
                  <a:lnTo>
                    <a:pt x="48" y="50"/>
                  </a:lnTo>
                  <a:lnTo>
                    <a:pt x="48" y="50"/>
                  </a:lnTo>
                  <a:lnTo>
                    <a:pt x="36" y="42"/>
                  </a:lnTo>
                  <a:lnTo>
                    <a:pt x="26" y="36"/>
                  </a:lnTo>
                  <a:lnTo>
                    <a:pt x="26" y="36"/>
                  </a:lnTo>
                  <a:lnTo>
                    <a:pt x="24" y="32"/>
                  </a:lnTo>
                  <a:lnTo>
                    <a:pt x="24" y="32"/>
                  </a:lnTo>
                  <a:lnTo>
                    <a:pt x="26" y="30"/>
                  </a:lnTo>
                  <a:lnTo>
                    <a:pt x="22" y="26"/>
                  </a:lnTo>
                  <a:lnTo>
                    <a:pt x="22" y="26"/>
                  </a:lnTo>
                  <a:lnTo>
                    <a:pt x="16" y="24"/>
                  </a:lnTo>
                  <a:lnTo>
                    <a:pt x="16" y="24"/>
                  </a:lnTo>
                  <a:lnTo>
                    <a:pt x="18" y="28"/>
                  </a:lnTo>
                  <a:lnTo>
                    <a:pt x="18" y="28"/>
                  </a:lnTo>
                  <a:lnTo>
                    <a:pt x="20" y="30"/>
                  </a:lnTo>
                  <a:lnTo>
                    <a:pt x="20" y="32"/>
                  </a:lnTo>
                  <a:lnTo>
                    <a:pt x="18" y="34"/>
                  </a:lnTo>
                  <a:lnTo>
                    <a:pt x="14" y="32"/>
                  </a:lnTo>
                  <a:lnTo>
                    <a:pt x="14" y="32"/>
                  </a:lnTo>
                  <a:lnTo>
                    <a:pt x="6" y="26"/>
                  </a:lnTo>
                  <a:lnTo>
                    <a:pt x="6" y="24"/>
                  </a:lnTo>
                  <a:lnTo>
                    <a:pt x="8" y="20"/>
                  </a:lnTo>
                  <a:lnTo>
                    <a:pt x="8" y="20"/>
                  </a:lnTo>
                  <a:lnTo>
                    <a:pt x="6" y="16"/>
                  </a:lnTo>
                  <a:lnTo>
                    <a:pt x="6" y="14"/>
                  </a:lnTo>
                  <a:lnTo>
                    <a:pt x="6" y="10"/>
                  </a:lnTo>
                  <a:lnTo>
                    <a:pt x="6" y="10"/>
                  </a:lnTo>
                  <a:lnTo>
                    <a:pt x="4" y="8"/>
                  </a:lnTo>
                  <a:lnTo>
                    <a:pt x="2" y="8"/>
                  </a:lnTo>
                  <a:lnTo>
                    <a:pt x="0" y="6"/>
                  </a:lnTo>
                  <a:lnTo>
                    <a:pt x="0" y="6"/>
                  </a:lnTo>
                  <a:lnTo>
                    <a:pt x="0" y="6"/>
                  </a:lnTo>
                  <a:lnTo>
                    <a:pt x="6" y="4"/>
                  </a:lnTo>
                  <a:lnTo>
                    <a:pt x="6" y="4"/>
                  </a:lnTo>
                  <a:lnTo>
                    <a:pt x="6" y="2"/>
                  </a:lnTo>
                  <a:lnTo>
                    <a:pt x="6" y="2"/>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5" name="Colombia"/>
            <p:cNvSpPr>
              <a:spLocks/>
            </p:cNvSpPr>
            <p:nvPr/>
          </p:nvSpPr>
          <p:spPr bwMode="auto">
            <a:xfrm>
              <a:off x="1924809" y="3202781"/>
              <a:ext cx="336021" cy="563563"/>
            </a:xfrm>
            <a:custGeom>
              <a:avLst/>
              <a:gdLst/>
              <a:ahLst/>
              <a:cxnLst>
                <a:cxn ang="0">
                  <a:pos x="60" y="110"/>
                </a:cxn>
                <a:cxn ang="0">
                  <a:pos x="62" y="100"/>
                </a:cxn>
                <a:cxn ang="0">
                  <a:pos x="64" y="92"/>
                </a:cxn>
                <a:cxn ang="0">
                  <a:pos x="80" y="78"/>
                </a:cxn>
                <a:cxn ang="0">
                  <a:pos x="84" y="60"/>
                </a:cxn>
                <a:cxn ang="0">
                  <a:pos x="92" y="42"/>
                </a:cxn>
                <a:cxn ang="0">
                  <a:pos x="110" y="36"/>
                </a:cxn>
                <a:cxn ang="0">
                  <a:pos x="114" y="34"/>
                </a:cxn>
                <a:cxn ang="0">
                  <a:pos x="152" y="16"/>
                </a:cxn>
                <a:cxn ang="0">
                  <a:pos x="160" y="2"/>
                </a:cxn>
                <a:cxn ang="0">
                  <a:pos x="176" y="0"/>
                </a:cxn>
                <a:cxn ang="0">
                  <a:pos x="176" y="14"/>
                </a:cxn>
                <a:cxn ang="0">
                  <a:pos x="142" y="50"/>
                </a:cxn>
                <a:cxn ang="0">
                  <a:pos x="130" y="78"/>
                </a:cxn>
                <a:cxn ang="0">
                  <a:pos x="134" y="86"/>
                </a:cxn>
                <a:cxn ang="0">
                  <a:pos x="140" y="94"/>
                </a:cxn>
                <a:cxn ang="0">
                  <a:pos x="144" y="128"/>
                </a:cxn>
                <a:cxn ang="0">
                  <a:pos x="170" y="144"/>
                </a:cxn>
                <a:cxn ang="0">
                  <a:pos x="196" y="148"/>
                </a:cxn>
                <a:cxn ang="0">
                  <a:pos x="228" y="164"/>
                </a:cxn>
                <a:cxn ang="0">
                  <a:pos x="244" y="166"/>
                </a:cxn>
                <a:cxn ang="0">
                  <a:pos x="240" y="178"/>
                </a:cxn>
                <a:cxn ang="0">
                  <a:pos x="236" y="200"/>
                </a:cxn>
                <a:cxn ang="0">
                  <a:pos x="248" y="224"/>
                </a:cxn>
                <a:cxn ang="0">
                  <a:pos x="246" y="250"/>
                </a:cxn>
                <a:cxn ang="0">
                  <a:pos x="248" y="288"/>
                </a:cxn>
                <a:cxn ang="0">
                  <a:pos x="244" y="274"/>
                </a:cxn>
                <a:cxn ang="0">
                  <a:pos x="238" y="276"/>
                </a:cxn>
                <a:cxn ang="0">
                  <a:pos x="232" y="278"/>
                </a:cxn>
                <a:cxn ang="0">
                  <a:pos x="196" y="290"/>
                </a:cxn>
                <a:cxn ang="0">
                  <a:pos x="208" y="300"/>
                </a:cxn>
                <a:cxn ang="0">
                  <a:pos x="196" y="306"/>
                </a:cxn>
                <a:cxn ang="0">
                  <a:pos x="200" y="334"/>
                </a:cxn>
                <a:cxn ang="0">
                  <a:pos x="200" y="382"/>
                </a:cxn>
                <a:cxn ang="0">
                  <a:pos x="180" y="416"/>
                </a:cxn>
                <a:cxn ang="0">
                  <a:pos x="190" y="388"/>
                </a:cxn>
                <a:cxn ang="0">
                  <a:pos x="172" y="388"/>
                </a:cxn>
                <a:cxn ang="0">
                  <a:pos x="150" y="386"/>
                </a:cxn>
                <a:cxn ang="0">
                  <a:pos x="124" y="374"/>
                </a:cxn>
                <a:cxn ang="0">
                  <a:pos x="114" y="356"/>
                </a:cxn>
                <a:cxn ang="0">
                  <a:pos x="98" y="336"/>
                </a:cxn>
                <a:cxn ang="0">
                  <a:pos x="56" y="316"/>
                </a:cxn>
                <a:cxn ang="0">
                  <a:pos x="46" y="318"/>
                </a:cxn>
                <a:cxn ang="0">
                  <a:pos x="4" y="292"/>
                </a:cxn>
                <a:cxn ang="0">
                  <a:pos x="4" y="284"/>
                </a:cxn>
                <a:cxn ang="0">
                  <a:pos x="18" y="272"/>
                </a:cxn>
                <a:cxn ang="0">
                  <a:pos x="20" y="256"/>
                </a:cxn>
                <a:cxn ang="0">
                  <a:pos x="38" y="244"/>
                </a:cxn>
                <a:cxn ang="0">
                  <a:pos x="52" y="222"/>
                </a:cxn>
                <a:cxn ang="0">
                  <a:pos x="48" y="222"/>
                </a:cxn>
                <a:cxn ang="0">
                  <a:pos x="44" y="210"/>
                </a:cxn>
                <a:cxn ang="0">
                  <a:pos x="38" y="176"/>
                </a:cxn>
                <a:cxn ang="0">
                  <a:pos x="44" y="162"/>
                </a:cxn>
                <a:cxn ang="0">
                  <a:pos x="40" y="146"/>
                </a:cxn>
                <a:cxn ang="0">
                  <a:pos x="34" y="140"/>
                </a:cxn>
                <a:cxn ang="0">
                  <a:pos x="30" y="132"/>
                </a:cxn>
                <a:cxn ang="0">
                  <a:pos x="36" y="122"/>
                </a:cxn>
                <a:cxn ang="0">
                  <a:pos x="44" y="114"/>
                </a:cxn>
                <a:cxn ang="0">
                  <a:pos x="44" y="104"/>
                </a:cxn>
                <a:cxn ang="0">
                  <a:pos x="46" y="94"/>
                </a:cxn>
              </a:cxnLst>
              <a:rect l="0" t="0" r="r" b="b"/>
              <a:pathLst>
                <a:path w="254" h="426">
                  <a:moveTo>
                    <a:pt x="46" y="94"/>
                  </a:moveTo>
                  <a:lnTo>
                    <a:pt x="46" y="94"/>
                  </a:lnTo>
                  <a:lnTo>
                    <a:pt x="48" y="96"/>
                  </a:lnTo>
                  <a:lnTo>
                    <a:pt x="50" y="98"/>
                  </a:lnTo>
                  <a:lnTo>
                    <a:pt x="54" y="102"/>
                  </a:lnTo>
                  <a:lnTo>
                    <a:pt x="60" y="110"/>
                  </a:lnTo>
                  <a:lnTo>
                    <a:pt x="60" y="110"/>
                  </a:lnTo>
                  <a:lnTo>
                    <a:pt x="58" y="106"/>
                  </a:lnTo>
                  <a:lnTo>
                    <a:pt x="58" y="106"/>
                  </a:lnTo>
                  <a:lnTo>
                    <a:pt x="60" y="104"/>
                  </a:lnTo>
                  <a:lnTo>
                    <a:pt x="60" y="104"/>
                  </a:lnTo>
                  <a:lnTo>
                    <a:pt x="62" y="100"/>
                  </a:lnTo>
                  <a:lnTo>
                    <a:pt x="58" y="98"/>
                  </a:lnTo>
                  <a:lnTo>
                    <a:pt x="56" y="98"/>
                  </a:lnTo>
                  <a:lnTo>
                    <a:pt x="56" y="96"/>
                  </a:lnTo>
                  <a:lnTo>
                    <a:pt x="56" y="96"/>
                  </a:lnTo>
                  <a:lnTo>
                    <a:pt x="60" y="94"/>
                  </a:lnTo>
                  <a:lnTo>
                    <a:pt x="64" y="92"/>
                  </a:lnTo>
                  <a:lnTo>
                    <a:pt x="68" y="86"/>
                  </a:lnTo>
                  <a:lnTo>
                    <a:pt x="68" y="86"/>
                  </a:lnTo>
                  <a:lnTo>
                    <a:pt x="72" y="80"/>
                  </a:lnTo>
                  <a:lnTo>
                    <a:pt x="76" y="78"/>
                  </a:lnTo>
                  <a:lnTo>
                    <a:pt x="80" y="78"/>
                  </a:lnTo>
                  <a:lnTo>
                    <a:pt x="80" y="78"/>
                  </a:lnTo>
                  <a:lnTo>
                    <a:pt x="84" y="74"/>
                  </a:lnTo>
                  <a:lnTo>
                    <a:pt x="82" y="72"/>
                  </a:lnTo>
                  <a:lnTo>
                    <a:pt x="82" y="70"/>
                  </a:lnTo>
                  <a:lnTo>
                    <a:pt x="82" y="66"/>
                  </a:lnTo>
                  <a:lnTo>
                    <a:pt x="82" y="66"/>
                  </a:lnTo>
                  <a:lnTo>
                    <a:pt x="84" y="60"/>
                  </a:lnTo>
                  <a:lnTo>
                    <a:pt x="84" y="56"/>
                  </a:lnTo>
                  <a:lnTo>
                    <a:pt x="84" y="52"/>
                  </a:lnTo>
                  <a:lnTo>
                    <a:pt x="86" y="50"/>
                  </a:lnTo>
                  <a:lnTo>
                    <a:pt x="86" y="50"/>
                  </a:lnTo>
                  <a:lnTo>
                    <a:pt x="88" y="46"/>
                  </a:lnTo>
                  <a:lnTo>
                    <a:pt x="92" y="42"/>
                  </a:lnTo>
                  <a:lnTo>
                    <a:pt x="96" y="38"/>
                  </a:lnTo>
                  <a:lnTo>
                    <a:pt x="102" y="36"/>
                  </a:lnTo>
                  <a:lnTo>
                    <a:pt x="102" y="36"/>
                  </a:lnTo>
                  <a:lnTo>
                    <a:pt x="110" y="34"/>
                  </a:lnTo>
                  <a:lnTo>
                    <a:pt x="110" y="34"/>
                  </a:lnTo>
                  <a:lnTo>
                    <a:pt x="110" y="36"/>
                  </a:lnTo>
                  <a:lnTo>
                    <a:pt x="108" y="40"/>
                  </a:lnTo>
                  <a:lnTo>
                    <a:pt x="108" y="40"/>
                  </a:lnTo>
                  <a:lnTo>
                    <a:pt x="112" y="42"/>
                  </a:lnTo>
                  <a:lnTo>
                    <a:pt x="112" y="42"/>
                  </a:lnTo>
                  <a:lnTo>
                    <a:pt x="112" y="38"/>
                  </a:lnTo>
                  <a:lnTo>
                    <a:pt x="114" y="34"/>
                  </a:lnTo>
                  <a:lnTo>
                    <a:pt x="120" y="30"/>
                  </a:lnTo>
                  <a:lnTo>
                    <a:pt x="124" y="28"/>
                  </a:lnTo>
                  <a:lnTo>
                    <a:pt x="124" y="28"/>
                  </a:lnTo>
                  <a:lnTo>
                    <a:pt x="128" y="28"/>
                  </a:lnTo>
                  <a:lnTo>
                    <a:pt x="132" y="26"/>
                  </a:lnTo>
                  <a:lnTo>
                    <a:pt x="152" y="16"/>
                  </a:lnTo>
                  <a:lnTo>
                    <a:pt x="152" y="16"/>
                  </a:lnTo>
                  <a:lnTo>
                    <a:pt x="156" y="12"/>
                  </a:lnTo>
                  <a:lnTo>
                    <a:pt x="160" y="10"/>
                  </a:lnTo>
                  <a:lnTo>
                    <a:pt x="160" y="8"/>
                  </a:lnTo>
                  <a:lnTo>
                    <a:pt x="160" y="6"/>
                  </a:lnTo>
                  <a:lnTo>
                    <a:pt x="160" y="2"/>
                  </a:lnTo>
                  <a:lnTo>
                    <a:pt x="162" y="2"/>
                  </a:lnTo>
                  <a:lnTo>
                    <a:pt x="162" y="2"/>
                  </a:lnTo>
                  <a:lnTo>
                    <a:pt x="168" y="2"/>
                  </a:lnTo>
                  <a:lnTo>
                    <a:pt x="168" y="0"/>
                  </a:lnTo>
                  <a:lnTo>
                    <a:pt x="170" y="0"/>
                  </a:lnTo>
                  <a:lnTo>
                    <a:pt x="176" y="0"/>
                  </a:lnTo>
                  <a:lnTo>
                    <a:pt x="176" y="0"/>
                  </a:lnTo>
                  <a:lnTo>
                    <a:pt x="180" y="2"/>
                  </a:lnTo>
                  <a:lnTo>
                    <a:pt x="182" y="6"/>
                  </a:lnTo>
                  <a:lnTo>
                    <a:pt x="182" y="10"/>
                  </a:lnTo>
                  <a:lnTo>
                    <a:pt x="176" y="14"/>
                  </a:lnTo>
                  <a:lnTo>
                    <a:pt x="176" y="14"/>
                  </a:lnTo>
                  <a:lnTo>
                    <a:pt x="162" y="22"/>
                  </a:lnTo>
                  <a:lnTo>
                    <a:pt x="150" y="44"/>
                  </a:lnTo>
                  <a:lnTo>
                    <a:pt x="150" y="44"/>
                  </a:lnTo>
                  <a:lnTo>
                    <a:pt x="148" y="44"/>
                  </a:lnTo>
                  <a:lnTo>
                    <a:pt x="142" y="50"/>
                  </a:lnTo>
                  <a:lnTo>
                    <a:pt x="142" y="50"/>
                  </a:lnTo>
                  <a:lnTo>
                    <a:pt x="140" y="56"/>
                  </a:lnTo>
                  <a:lnTo>
                    <a:pt x="140" y="58"/>
                  </a:lnTo>
                  <a:lnTo>
                    <a:pt x="140" y="62"/>
                  </a:lnTo>
                  <a:lnTo>
                    <a:pt x="138" y="66"/>
                  </a:lnTo>
                  <a:lnTo>
                    <a:pt x="138" y="66"/>
                  </a:lnTo>
                  <a:lnTo>
                    <a:pt x="130" y="78"/>
                  </a:lnTo>
                  <a:lnTo>
                    <a:pt x="128" y="84"/>
                  </a:lnTo>
                  <a:lnTo>
                    <a:pt x="128" y="84"/>
                  </a:lnTo>
                  <a:lnTo>
                    <a:pt x="128" y="84"/>
                  </a:lnTo>
                  <a:lnTo>
                    <a:pt x="130" y="84"/>
                  </a:lnTo>
                  <a:lnTo>
                    <a:pt x="132" y="84"/>
                  </a:lnTo>
                  <a:lnTo>
                    <a:pt x="134" y="86"/>
                  </a:lnTo>
                  <a:lnTo>
                    <a:pt x="134" y="86"/>
                  </a:lnTo>
                  <a:lnTo>
                    <a:pt x="136" y="88"/>
                  </a:lnTo>
                  <a:lnTo>
                    <a:pt x="138" y="86"/>
                  </a:lnTo>
                  <a:lnTo>
                    <a:pt x="140" y="88"/>
                  </a:lnTo>
                  <a:lnTo>
                    <a:pt x="140" y="94"/>
                  </a:lnTo>
                  <a:lnTo>
                    <a:pt x="140" y="94"/>
                  </a:lnTo>
                  <a:lnTo>
                    <a:pt x="144" y="110"/>
                  </a:lnTo>
                  <a:lnTo>
                    <a:pt x="144" y="116"/>
                  </a:lnTo>
                  <a:lnTo>
                    <a:pt x="144" y="122"/>
                  </a:lnTo>
                  <a:lnTo>
                    <a:pt x="144" y="122"/>
                  </a:lnTo>
                  <a:lnTo>
                    <a:pt x="144" y="124"/>
                  </a:lnTo>
                  <a:lnTo>
                    <a:pt x="144" y="128"/>
                  </a:lnTo>
                  <a:lnTo>
                    <a:pt x="150" y="132"/>
                  </a:lnTo>
                  <a:lnTo>
                    <a:pt x="156" y="136"/>
                  </a:lnTo>
                  <a:lnTo>
                    <a:pt x="162" y="140"/>
                  </a:lnTo>
                  <a:lnTo>
                    <a:pt x="162" y="140"/>
                  </a:lnTo>
                  <a:lnTo>
                    <a:pt x="166" y="142"/>
                  </a:lnTo>
                  <a:lnTo>
                    <a:pt x="170" y="144"/>
                  </a:lnTo>
                  <a:lnTo>
                    <a:pt x="176" y="142"/>
                  </a:lnTo>
                  <a:lnTo>
                    <a:pt x="182" y="140"/>
                  </a:lnTo>
                  <a:lnTo>
                    <a:pt x="186" y="142"/>
                  </a:lnTo>
                  <a:lnTo>
                    <a:pt x="190" y="144"/>
                  </a:lnTo>
                  <a:lnTo>
                    <a:pt x="190" y="144"/>
                  </a:lnTo>
                  <a:lnTo>
                    <a:pt x="196" y="148"/>
                  </a:lnTo>
                  <a:lnTo>
                    <a:pt x="200" y="148"/>
                  </a:lnTo>
                  <a:lnTo>
                    <a:pt x="206" y="156"/>
                  </a:lnTo>
                  <a:lnTo>
                    <a:pt x="206" y="156"/>
                  </a:lnTo>
                  <a:lnTo>
                    <a:pt x="214" y="162"/>
                  </a:lnTo>
                  <a:lnTo>
                    <a:pt x="220" y="164"/>
                  </a:lnTo>
                  <a:lnTo>
                    <a:pt x="228" y="164"/>
                  </a:lnTo>
                  <a:lnTo>
                    <a:pt x="238" y="160"/>
                  </a:lnTo>
                  <a:lnTo>
                    <a:pt x="238" y="160"/>
                  </a:lnTo>
                  <a:lnTo>
                    <a:pt x="244" y="160"/>
                  </a:lnTo>
                  <a:lnTo>
                    <a:pt x="246" y="160"/>
                  </a:lnTo>
                  <a:lnTo>
                    <a:pt x="246" y="162"/>
                  </a:lnTo>
                  <a:lnTo>
                    <a:pt x="244" y="166"/>
                  </a:lnTo>
                  <a:lnTo>
                    <a:pt x="244" y="166"/>
                  </a:lnTo>
                  <a:lnTo>
                    <a:pt x="242" y="170"/>
                  </a:lnTo>
                  <a:lnTo>
                    <a:pt x="242" y="172"/>
                  </a:lnTo>
                  <a:lnTo>
                    <a:pt x="242" y="176"/>
                  </a:lnTo>
                  <a:lnTo>
                    <a:pt x="240" y="178"/>
                  </a:lnTo>
                  <a:lnTo>
                    <a:pt x="240" y="178"/>
                  </a:lnTo>
                  <a:lnTo>
                    <a:pt x="238" y="180"/>
                  </a:lnTo>
                  <a:lnTo>
                    <a:pt x="240" y="184"/>
                  </a:lnTo>
                  <a:lnTo>
                    <a:pt x="240" y="188"/>
                  </a:lnTo>
                  <a:lnTo>
                    <a:pt x="238" y="194"/>
                  </a:lnTo>
                  <a:lnTo>
                    <a:pt x="238" y="194"/>
                  </a:lnTo>
                  <a:lnTo>
                    <a:pt x="236" y="200"/>
                  </a:lnTo>
                  <a:lnTo>
                    <a:pt x="238" y="204"/>
                  </a:lnTo>
                  <a:lnTo>
                    <a:pt x="238" y="212"/>
                  </a:lnTo>
                  <a:lnTo>
                    <a:pt x="240" y="218"/>
                  </a:lnTo>
                  <a:lnTo>
                    <a:pt x="246" y="218"/>
                  </a:lnTo>
                  <a:lnTo>
                    <a:pt x="246" y="218"/>
                  </a:lnTo>
                  <a:lnTo>
                    <a:pt x="248" y="224"/>
                  </a:lnTo>
                  <a:lnTo>
                    <a:pt x="248" y="230"/>
                  </a:lnTo>
                  <a:lnTo>
                    <a:pt x="246" y="236"/>
                  </a:lnTo>
                  <a:lnTo>
                    <a:pt x="240" y="248"/>
                  </a:lnTo>
                  <a:lnTo>
                    <a:pt x="240" y="248"/>
                  </a:lnTo>
                  <a:lnTo>
                    <a:pt x="242" y="248"/>
                  </a:lnTo>
                  <a:lnTo>
                    <a:pt x="246" y="250"/>
                  </a:lnTo>
                  <a:lnTo>
                    <a:pt x="250" y="258"/>
                  </a:lnTo>
                  <a:lnTo>
                    <a:pt x="252" y="272"/>
                  </a:lnTo>
                  <a:lnTo>
                    <a:pt x="254" y="290"/>
                  </a:lnTo>
                  <a:lnTo>
                    <a:pt x="254" y="290"/>
                  </a:lnTo>
                  <a:lnTo>
                    <a:pt x="250" y="290"/>
                  </a:lnTo>
                  <a:lnTo>
                    <a:pt x="248" y="288"/>
                  </a:lnTo>
                  <a:lnTo>
                    <a:pt x="248" y="282"/>
                  </a:lnTo>
                  <a:lnTo>
                    <a:pt x="248" y="276"/>
                  </a:lnTo>
                  <a:lnTo>
                    <a:pt x="248" y="274"/>
                  </a:lnTo>
                  <a:lnTo>
                    <a:pt x="246" y="274"/>
                  </a:lnTo>
                  <a:lnTo>
                    <a:pt x="246" y="274"/>
                  </a:lnTo>
                  <a:lnTo>
                    <a:pt x="244" y="274"/>
                  </a:lnTo>
                  <a:lnTo>
                    <a:pt x="242" y="276"/>
                  </a:lnTo>
                  <a:lnTo>
                    <a:pt x="242" y="278"/>
                  </a:lnTo>
                  <a:lnTo>
                    <a:pt x="240" y="278"/>
                  </a:lnTo>
                  <a:lnTo>
                    <a:pt x="240" y="278"/>
                  </a:lnTo>
                  <a:lnTo>
                    <a:pt x="238" y="278"/>
                  </a:lnTo>
                  <a:lnTo>
                    <a:pt x="238" y="276"/>
                  </a:lnTo>
                  <a:lnTo>
                    <a:pt x="236" y="274"/>
                  </a:lnTo>
                  <a:lnTo>
                    <a:pt x="232" y="274"/>
                  </a:lnTo>
                  <a:lnTo>
                    <a:pt x="232" y="274"/>
                  </a:lnTo>
                  <a:lnTo>
                    <a:pt x="230" y="274"/>
                  </a:lnTo>
                  <a:lnTo>
                    <a:pt x="232" y="276"/>
                  </a:lnTo>
                  <a:lnTo>
                    <a:pt x="232" y="278"/>
                  </a:lnTo>
                  <a:lnTo>
                    <a:pt x="226" y="280"/>
                  </a:lnTo>
                  <a:lnTo>
                    <a:pt x="226" y="280"/>
                  </a:lnTo>
                  <a:lnTo>
                    <a:pt x="212" y="282"/>
                  </a:lnTo>
                  <a:lnTo>
                    <a:pt x="196" y="284"/>
                  </a:lnTo>
                  <a:lnTo>
                    <a:pt x="196" y="284"/>
                  </a:lnTo>
                  <a:lnTo>
                    <a:pt x="196" y="290"/>
                  </a:lnTo>
                  <a:lnTo>
                    <a:pt x="198" y="292"/>
                  </a:lnTo>
                  <a:lnTo>
                    <a:pt x="202" y="294"/>
                  </a:lnTo>
                  <a:lnTo>
                    <a:pt x="202" y="294"/>
                  </a:lnTo>
                  <a:lnTo>
                    <a:pt x="204" y="294"/>
                  </a:lnTo>
                  <a:lnTo>
                    <a:pt x="206" y="296"/>
                  </a:lnTo>
                  <a:lnTo>
                    <a:pt x="208" y="300"/>
                  </a:lnTo>
                  <a:lnTo>
                    <a:pt x="208" y="306"/>
                  </a:lnTo>
                  <a:lnTo>
                    <a:pt x="208" y="306"/>
                  </a:lnTo>
                  <a:lnTo>
                    <a:pt x="206" y="306"/>
                  </a:lnTo>
                  <a:lnTo>
                    <a:pt x="206" y="306"/>
                  </a:lnTo>
                  <a:lnTo>
                    <a:pt x="200" y="306"/>
                  </a:lnTo>
                  <a:lnTo>
                    <a:pt x="196" y="306"/>
                  </a:lnTo>
                  <a:lnTo>
                    <a:pt x="192" y="310"/>
                  </a:lnTo>
                  <a:lnTo>
                    <a:pt x="190" y="312"/>
                  </a:lnTo>
                  <a:lnTo>
                    <a:pt x="192" y="316"/>
                  </a:lnTo>
                  <a:lnTo>
                    <a:pt x="192" y="316"/>
                  </a:lnTo>
                  <a:lnTo>
                    <a:pt x="196" y="324"/>
                  </a:lnTo>
                  <a:lnTo>
                    <a:pt x="200" y="334"/>
                  </a:lnTo>
                  <a:lnTo>
                    <a:pt x="204" y="342"/>
                  </a:lnTo>
                  <a:lnTo>
                    <a:pt x="204" y="344"/>
                  </a:lnTo>
                  <a:lnTo>
                    <a:pt x="204" y="346"/>
                  </a:lnTo>
                  <a:lnTo>
                    <a:pt x="204" y="346"/>
                  </a:lnTo>
                  <a:lnTo>
                    <a:pt x="202" y="358"/>
                  </a:lnTo>
                  <a:lnTo>
                    <a:pt x="200" y="382"/>
                  </a:lnTo>
                  <a:lnTo>
                    <a:pt x="196" y="406"/>
                  </a:lnTo>
                  <a:lnTo>
                    <a:pt x="194" y="416"/>
                  </a:lnTo>
                  <a:lnTo>
                    <a:pt x="192" y="426"/>
                  </a:lnTo>
                  <a:lnTo>
                    <a:pt x="192" y="426"/>
                  </a:lnTo>
                  <a:lnTo>
                    <a:pt x="182" y="420"/>
                  </a:lnTo>
                  <a:lnTo>
                    <a:pt x="180" y="416"/>
                  </a:lnTo>
                  <a:lnTo>
                    <a:pt x="182" y="412"/>
                  </a:lnTo>
                  <a:lnTo>
                    <a:pt x="186" y="402"/>
                  </a:lnTo>
                  <a:lnTo>
                    <a:pt x="186" y="402"/>
                  </a:lnTo>
                  <a:lnTo>
                    <a:pt x="190" y="398"/>
                  </a:lnTo>
                  <a:lnTo>
                    <a:pt x="190" y="392"/>
                  </a:lnTo>
                  <a:lnTo>
                    <a:pt x="190" y="388"/>
                  </a:lnTo>
                  <a:lnTo>
                    <a:pt x="188" y="386"/>
                  </a:lnTo>
                  <a:lnTo>
                    <a:pt x="184" y="384"/>
                  </a:lnTo>
                  <a:lnTo>
                    <a:pt x="182" y="384"/>
                  </a:lnTo>
                  <a:lnTo>
                    <a:pt x="176" y="386"/>
                  </a:lnTo>
                  <a:lnTo>
                    <a:pt x="176" y="386"/>
                  </a:lnTo>
                  <a:lnTo>
                    <a:pt x="172" y="388"/>
                  </a:lnTo>
                  <a:lnTo>
                    <a:pt x="170" y="386"/>
                  </a:lnTo>
                  <a:lnTo>
                    <a:pt x="164" y="384"/>
                  </a:lnTo>
                  <a:lnTo>
                    <a:pt x="158" y="382"/>
                  </a:lnTo>
                  <a:lnTo>
                    <a:pt x="156" y="384"/>
                  </a:lnTo>
                  <a:lnTo>
                    <a:pt x="150" y="386"/>
                  </a:lnTo>
                  <a:lnTo>
                    <a:pt x="150" y="386"/>
                  </a:lnTo>
                  <a:lnTo>
                    <a:pt x="142" y="388"/>
                  </a:lnTo>
                  <a:lnTo>
                    <a:pt x="138" y="388"/>
                  </a:lnTo>
                  <a:lnTo>
                    <a:pt x="132" y="386"/>
                  </a:lnTo>
                  <a:lnTo>
                    <a:pt x="128" y="386"/>
                  </a:lnTo>
                  <a:lnTo>
                    <a:pt x="128" y="386"/>
                  </a:lnTo>
                  <a:lnTo>
                    <a:pt x="124" y="374"/>
                  </a:lnTo>
                  <a:lnTo>
                    <a:pt x="122" y="368"/>
                  </a:lnTo>
                  <a:lnTo>
                    <a:pt x="118" y="366"/>
                  </a:lnTo>
                  <a:lnTo>
                    <a:pt x="116" y="362"/>
                  </a:lnTo>
                  <a:lnTo>
                    <a:pt x="116" y="362"/>
                  </a:lnTo>
                  <a:lnTo>
                    <a:pt x="114" y="358"/>
                  </a:lnTo>
                  <a:lnTo>
                    <a:pt x="114" y="356"/>
                  </a:lnTo>
                  <a:lnTo>
                    <a:pt x="108" y="354"/>
                  </a:lnTo>
                  <a:lnTo>
                    <a:pt x="104" y="352"/>
                  </a:lnTo>
                  <a:lnTo>
                    <a:pt x="102" y="348"/>
                  </a:lnTo>
                  <a:lnTo>
                    <a:pt x="100" y="344"/>
                  </a:lnTo>
                  <a:lnTo>
                    <a:pt x="100" y="344"/>
                  </a:lnTo>
                  <a:lnTo>
                    <a:pt x="98" y="336"/>
                  </a:lnTo>
                  <a:lnTo>
                    <a:pt x="92" y="330"/>
                  </a:lnTo>
                  <a:lnTo>
                    <a:pt x="86" y="328"/>
                  </a:lnTo>
                  <a:lnTo>
                    <a:pt x="80" y="328"/>
                  </a:lnTo>
                  <a:lnTo>
                    <a:pt x="80" y="328"/>
                  </a:lnTo>
                  <a:lnTo>
                    <a:pt x="62" y="318"/>
                  </a:lnTo>
                  <a:lnTo>
                    <a:pt x="56" y="316"/>
                  </a:lnTo>
                  <a:lnTo>
                    <a:pt x="54" y="316"/>
                  </a:lnTo>
                  <a:lnTo>
                    <a:pt x="56" y="318"/>
                  </a:lnTo>
                  <a:lnTo>
                    <a:pt x="56" y="318"/>
                  </a:lnTo>
                  <a:lnTo>
                    <a:pt x="54" y="318"/>
                  </a:lnTo>
                  <a:lnTo>
                    <a:pt x="54" y="320"/>
                  </a:lnTo>
                  <a:lnTo>
                    <a:pt x="46" y="318"/>
                  </a:lnTo>
                  <a:lnTo>
                    <a:pt x="38" y="314"/>
                  </a:lnTo>
                  <a:lnTo>
                    <a:pt x="32" y="310"/>
                  </a:lnTo>
                  <a:lnTo>
                    <a:pt x="32" y="310"/>
                  </a:lnTo>
                  <a:lnTo>
                    <a:pt x="28" y="304"/>
                  </a:lnTo>
                  <a:lnTo>
                    <a:pt x="22" y="300"/>
                  </a:lnTo>
                  <a:lnTo>
                    <a:pt x="4" y="292"/>
                  </a:lnTo>
                  <a:lnTo>
                    <a:pt x="4" y="292"/>
                  </a:lnTo>
                  <a:lnTo>
                    <a:pt x="4" y="288"/>
                  </a:lnTo>
                  <a:lnTo>
                    <a:pt x="2" y="290"/>
                  </a:lnTo>
                  <a:lnTo>
                    <a:pt x="0" y="288"/>
                  </a:lnTo>
                  <a:lnTo>
                    <a:pt x="4" y="284"/>
                  </a:lnTo>
                  <a:lnTo>
                    <a:pt x="4" y="284"/>
                  </a:lnTo>
                  <a:lnTo>
                    <a:pt x="10" y="278"/>
                  </a:lnTo>
                  <a:lnTo>
                    <a:pt x="14" y="276"/>
                  </a:lnTo>
                  <a:lnTo>
                    <a:pt x="16" y="276"/>
                  </a:lnTo>
                  <a:lnTo>
                    <a:pt x="18" y="276"/>
                  </a:lnTo>
                  <a:lnTo>
                    <a:pt x="18" y="276"/>
                  </a:lnTo>
                  <a:lnTo>
                    <a:pt x="18" y="272"/>
                  </a:lnTo>
                  <a:lnTo>
                    <a:pt x="16" y="268"/>
                  </a:lnTo>
                  <a:lnTo>
                    <a:pt x="14" y="266"/>
                  </a:lnTo>
                  <a:lnTo>
                    <a:pt x="14" y="260"/>
                  </a:lnTo>
                  <a:lnTo>
                    <a:pt x="14" y="260"/>
                  </a:lnTo>
                  <a:lnTo>
                    <a:pt x="18" y="258"/>
                  </a:lnTo>
                  <a:lnTo>
                    <a:pt x="20" y="256"/>
                  </a:lnTo>
                  <a:lnTo>
                    <a:pt x="28" y="254"/>
                  </a:lnTo>
                  <a:lnTo>
                    <a:pt x="34" y="252"/>
                  </a:lnTo>
                  <a:lnTo>
                    <a:pt x="36" y="250"/>
                  </a:lnTo>
                  <a:lnTo>
                    <a:pt x="36" y="248"/>
                  </a:lnTo>
                  <a:lnTo>
                    <a:pt x="36" y="248"/>
                  </a:lnTo>
                  <a:lnTo>
                    <a:pt x="38" y="244"/>
                  </a:lnTo>
                  <a:lnTo>
                    <a:pt x="42" y="238"/>
                  </a:lnTo>
                  <a:lnTo>
                    <a:pt x="48" y="232"/>
                  </a:lnTo>
                  <a:lnTo>
                    <a:pt x="54" y="226"/>
                  </a:lnTo>
                  <a:lnTo>
                    <a:pt x="54" y="226"/>
                  </a:lnTo>
                  <a:lnTo>
                    <a:pt x="52" y="224"/>
                  </a:lnTo>
                  <a:lnTo>
                    <a:pt x="52" y="222"/>
                  </a:lnTo>
                  <a:lnTo>
                    <a:pt x="54" y="222"/>
                  </a:lnTo>
                  <a:lnTo>
                    <a:pt x="52" y="220"/>
                  </a:lnTo>
                  <a:lnTo>
                    <a:pt x="52" y="220"/>
                  </a:lnTo>
                  <a:lnTo>
                    <a:pt x="50" y="222"/>
                  </a:lnTo>
                  <a:lnTo>
                    <a:pt x="50" y="222"/>
                  </a:lnTo>
                  <a:lnTo>
                    <a:pt x="48" y="222"/>
                  </a:lnTo>
                  <a:lnTo>
                    <a:pt x="44" y="222"/>
                  </a:lnTo>
                  <a:lnTo>
                    <a:pt x="44" y="222"/>
                  </a:lnTo>
                  <a:lnTo>
                    <a:pt x="42" y="220"/>
                  </a:lnTo>
                  <a:lnTo>
                    <a:pt x="40" y="216"/>
                  </a:lnTo>
                  <a:lnTo>
                    <a:pt x="44" y="210"/>
                  </a:lnTo>
                  <a:lnTo>
                    <a:pt x="44" y="210"/>
                  </a:lnTo>
                  <a:lnTo>
                    <a:pt x="44" y="204"/>
                  </a:lnTo>
                  <a:lnTo>
                    <a:pt x="44" y="198"/>
                  </a:lnTo>
                  <a:lnTo>
                    <a:pt x="42" y="182"/>
                  </a:lnTo>
                  <a:lnTo>
                    <a:pt x="42" y="182"/>
                  </a:lnTo>
                  <a:lnTo>
                    <a:pt x="40" y="178"/>
                  </a:lnTo>
                  <a:lnTo>
                    <a:pt x="38" y="176"/>
                  </a:lnTo>
                  <a:lnTo>
                    <a:pt x="38" y="176"/>
                  </a:lnTo>
                  <a:lnTo>
                    <a:pt x="38" y="174"/>
                  </a:lnTo>
                  <a:lnTo>
                    <a:pt x="38" y="174"/>
                  </a:lnTo>
                  <a:lnTo>
                    <a:pt x="44" y="170"/>
                  </a:lnTo>
                  <a:lnTo>
                    <a:pt x="46" y="168"/>
                  </a:lnTo>
                  <a:lnTo>
                    <a:pt x="44" y="162"/>
                  </a:lnTo>
                  <a:lnTo>
                    <a:pt x="44" y="162"/>
                  </a:lnTo>
                  <a:lnTo>
                    <a:pt x="40" y="154"/>
                  </a:lnTo>
                  <a:lnTo>
                    <a:pt x="42" y="154"/>
                  </a:lnTo>
                  <a:lnTo>
                    <a:pt x="42" y="152"/>
                  </a:lnTo>
                  <a:lnTo>
                    <a:pt x="42" y="152"/>
                  </a:lnTo>
                  <a:lnTo>
                    <a:pt x="40" y="146"/>
                  </a:lnTo>
                  <a:lnTo>
                    <a:pt x="40" y="144"/>
                  </a:lnTo>
                  <a:lnTo>
                    <a:pt x="38" y="144"/>
                  </a:lnTo>
                  <a:lnTo>
                    <a:pt x="38" y="144"/>
                  </a:lnTo>
                  <a:lnTo>
                    <a:pt x="38" y="144"/>
                  </a:lnTo>
                  <a:lnTo>
                    <a:pt x="36" y="140"/>
                  </a:lnTo>
                  <a:lnTo>
                    <a:pt x="34" y="140"/>
                  </a:lnTo>
                  <a:lnTo>
                    <a:pt x="32" y="140"/>
                  </a:lnTo>
                  <a:lnTo>
                    <a:pt x="32" y="138"/>
                  </a:lnTo>
                  <a:lnTo>
                    <a:pt x="32" y="138"/>
                  </a:lnTo>
                  <a:lnTo>
                    <a:pt x="30" y="134"/>
                  </a:lnTo>
                  <a:lnTo>
                    <a:pt x="30" y="134"/>
                  </a:lnTo>
                  <a:lnTo>
                    <a:pt x="30" y="132"/>
                  </a:lnTo>
                  <a:lnTo>
                    <a:pt x="30" y="132"/>
                  </a:lnTo>
                  <a:lnTo>
                    <a:pt x="32" y="128"/>
                  </a:lnTo>
                  <a:lnTo>
                    <a:pt x="34" y="124"/>
                  </a:lnTo>
                  <a:lnTo>
                    <a:pt x="34" y="124"/>
                  </a:lnTo>
                  <a:lnTo>
                    <a:pt x="34" y="122"/>
                  </a:lnTo>
                  <a:lnTo>
                    <a:pt x="36" y="122"/>
                  </a:lnTo>
                  <a:lnTo>
                    <a:pt x="38" y="122"/>
                  </a:lnTo>
                  <a:lnTo>
                    <a:pt x="44" y="120"/>
                  </a:lnTo>
                  <a:lnTo>
                    <a:pt x="44" y="120"/>
                  </a:lnTo>
                  <a:lnTo>
                    <a:pt x="46" y="116"/>
                  </a:lnTo>
                  <a:lnTo>
                    <a:pt x="46" y="114"/>
                  </a:lnTo>
                  <a:lnTo>
                    <a:pt x="44" y="114"/>
                  </a:lnTo>
                  <a:lnTo>
                    <a:pt x="46" y="110"/>
                  </a:lnTo>
                  <a:lnTo>
                    <a:pt x="46" y="110"/>
                  </a:lnTo>
                  <a:lnTo>
                    <a:pt x="48" y="108"/>
                  </a:lnTo>
                  <a:lnTo>
                    <a:pt x="46" y="108"/>
                  </a:lnTo>
                  <a:lnTo>
                    <a:pt x="44" y="106"/>
                  </a:lnTo>
                  <a:lnTo>
                    <a:pt x="44" y="104"/>
                  </a:lnTo>
                  <a:lnTo>
                    <a:pt x="44" y="104"/>
                  </a:lnTo>
                  <a:lnTo>
                    <a:pt x="44" y="102"/>
                  </a:lnTo>
                  <a:lnTo>
                    <a:pt x="44" y="100"/>
                  </a:lnTo>
                  <a:lnTo>
                    <a:pt x="44" y="98"/>
                  </a:lnTo>
                  <a:lnTo>
                    <a:pt x="46" y="94"/>
                  </a:lnTo>
                  <a:lnTo>
                    <a:pt x="46" y="94"/>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6" name="Croatia and Slovenia"/>
            <p:cNvSpPr>
              <a:spLocks/>
            </p:cNvSpPr>
            <p:nvPr/>
          </p:nvSpPr>
          <p:spPr bwMode="auto">
            <a:xfrm>
              <a:off x="4470101" y="2125927"/>
              <a:ext cx="256646" cy="166688"/>
            </a:xfrm>
            <a:custGeom>
              <a:avLst/>
              <a:gdLst/>
              <a:ahLst/>
              <a:cxnLst>
                <a:cxn ang="0">
                  <a:pos x="112" y="94"/>
                </a:cxn>
                <a:cxn ang="0">
                  <a:pos x="104" y="88"/>
                </a:cxn>
                <a:cxn ang="0">
                  <a:pos x="106" y="86"/>
                </a:cxn>
                <a:cxn ang="0">
                  <a:pos x="98" y="86"/>
                </a:cxn>
                <a:cxn ang="0">
                  <a:pos x="82" y="80"/>
                </a:cxn>
                <a:cxn ang="0">
                  <a:pos x="82" y="78"/>
                </a:cxn>
                <a:cxn ang="0">
                  <a:pos x="68" y="72"/>
                </a:cxn>
                <a:cxn ang="0">
                  <a:pos x="58" y="66"/>
                </a:cxn>
                <a:cxn ang="0">
                  <a:pos x="40" y="54"/>
                </a:cxn>
                <a:cxn ang="0">
                  <a:pos x="40" y="50"/>
                </a:cxn>
                <a:cxn ang="0">
                  <a:pos x="28" y="42"/>
                </a:cxn>
                <a:cxn ang="0">
                  <a:pos x="24" y="32"/>
                </a:cxn>
                <a:cxn ang="0">
                  <a:pos x="20" y="40"/>
                </a:cxn>
                <a:cxn ang="0">
                  <a:pos x="14" y="40"/>
                </a:cxn>
                <a:cxn ang="0">
                  <a:pos x="10" y="28"/>
                </a:cxn>
                <a:cxn ang="0">
                  <a:pos x="12" y="24"/>
                </a:cxn>
                <a:cxn ang="0">
                  <a:pos x="6" y="18"/>
                </a:cxn>
                <a:cxn ang="0">
                  <a:pos x="2" y="12"/>
                </a:cxn>
                <a:cxn ang="0">
                  <a:pos x="0" y="8"/>
                </a:cxn>
                <a:cxn ang="0">
                  <a:pos x="26" y="4"/>
                </a:cxn>
                <a:cxn ang="0">
                  <a:pos x="34" y="4"/>
                </a:cxn>
                <a:cxn ang="0">
                  <a:pos x="44" y="2"/>
                </a:cxn>
                <a:cxn ang="0">
                  <a:pos x="50" y="0"/>
                </a:cxn>
                <a:cxn ang="0">
                  <a:pos x="56" y="4"/>
                </a:cxn>
                <a:cxn ang="0">
                  <a:pos x="58" y="8"/>
                </a:cxn>
                <a:cxn ang="0">
                  <a:pos x="68" y="14"/>
                </a:cxn>
                <a:cxn ang="0">
                  <a:pos x="84" y="20"/>
                </a:cxn>
                <a:cxn ang="0">
                  <a:pos x="90" y="22"/>
                </a:cxn>
                <a:cxn ang="0">
                  <a:pos x="104" y="14"/>
                </a:cxn>
                <a:cxn ang="0">
                  <a:pos x="112" y="16"/>
                </a:cxn>
                <a:cxn ang="0">
                  <a:pos x="132" y="14"/>
                </a:cxn>
                <a:cxn ang="0">
                  <a:pos x="138" y="22"/>
                </a:cxn>
                <a:cxn ang="0">
                  <a:pos x="142" y="26"/>
                </a:cxn>
                <a:cxn ang="0">
                  <a:pos x="148" y="32"/>
                </a:cxn>
                <a:cxn ang="0">
                  <a:pos x="152" y="38"/>
                </a:cxn>
                <a:cxn ang="0">
                  <a:pos x="156" y="44"/>
                </a:cxn>
                <a:cxn ang="0">
                  <a:pos x="162" y="46"/>
                </a:cxn>
                <a:cxn ang="0">
                  <a:pos x="170" y="48"/>
                </a:cxn>
                <a:cxn ang="0">
                  <a:pos x="174" y="48"/>
                </a:cxn>
                <a:cxn ang="0">
                  <a:pos x="174" y="54"/>
                </a:cxn>
                <a:cxn ang="0">
                  <a:pos x="174" y="60"/>
                </a:cxn>
                <a:cxn ang="0">
                  <a:pos x="180" y="74"/>
                </a:cxn>
                <a:cxn ang="0">
                  <a:pos x="180" y="80"/>
                </a:cxn>
                <a:cxn ang="0">
                  <a:pos x="180" y="88"/>
                </a:cxn>
                <a:cxn ang="0">
                  <a:pos x="184" y="94"/>
                </a:cxn>
                <a:cxn ang="0">
                  <a:pos x="194" y="110"/>
                </a:cxn>
                <a:cxn ang="0">
                  <a:pos x="190" y="114"/>
                </a:cxn>
                <a:cxn ang="0">
                  <a:pos x="184" y="114"/>
                </a:cxn>
                <a:cxn ang="0">
                  <a:pos x="178" y="118"/>
                </a:cxn>
                <a:cxn ang="0">
                  <a:pos x="162" y="122"/>
                </a:cxn>
                <a:cxn ang="0">
                  <a:pos x="152" y="120"/>
                </a:cxn>
                <a:cxn ang="0">
                  <a:pos x="142" y="110"/>
                </a:cxn>
                <a:cxn ang="0">
                  <a:pos x="140" y="106"/>
                </a:cxn>
                <a:cxn ang="0">
                  <a:pos x="134" y="92"/>
                </a:cxn>
                <a:cxn ang="0">
                  <a:pos x="118" y="92"/>
                </a:cxn>
                <a:cxn ang="0">
                  <a:pos x="120" y="96"/>
                </a:cxn>
              </a:cxnLst>
              <a:rect l="0" t="0" r="r" b="b"/>
              <a:pathLst>
                <a:path w="194" h="126">
                  <a:moveTo>
                    <a:pt x="118" y="98"/>
                  </a:moveTo>
                  <a:lnTo>
                    <a:pt x="118" y="98"/>
                  </a:lnTo>
                  <a:lnTo>
                    <a:pt x="116" y="96"/>
                  </a:lnTo>
                  <a:lnTo>
                    <a:pt x="112" y="94"/>
                  </a:lnTo>
                  <a:lnTo>
                    <a:pt x="112" y="94"/>
                  </a:lnTo>
                  <a:lnTo>
                    <a:pt x="108" y="92"/>
                  </a:lnTo>
                  <a:lnTo>
                    <a:pt x="104" y="88"/>
                  </a:lnTo>
                  <a:lnTo>
                    <a:pt x="104" y="88"/>
                  </a:lnTo>
                  <a:lnTo>
                    <a:pt x="102" y="88"/>
                  </a:lnTo>
                  <a:lnTo>
                    <a:pt x="102" y="86"/>
                  </a:lnTo>
                  <a:lnTo>
                    <a:pt x="106" y="86"/>
                  </a:lnTo>
                  <a:lnTo>
                    <a:pt x="106" y="86"/>
                  </a:lnTo>
                  <a:lnTo>
                    <a:pt x="104" y="86"/>
                  </a:lnTo>
                  <a:lnTo>
                    <a:pt x="104" y="86"/>
                  </a:lnTo>
                  <a:lnTo>
                    <a:pt x="98" y="86"/>
                  </a:lnTo>
                  <a:lnTo>
                    <a:pt x="98" y="86"/>
                  </a:lnTo>
                  <a:lnTo>
                    <a:pt x="90" y="84"/>
                  </a:lnTo>
                  <a:lnTo>
                    <a:pt x="84" y="82"/>
                  </a:lnTo>
                  <a:lnTo>
                    <a:pt x="84" y="82"/>
                  </a:lnTo>
                  <a:lnTo>
                    <a:pt x="82" y="80"/>
                  </a:lnTo>
                  <a:lnTo>
                    <a:pt x="84" y="80"/>
                  </a:lnTo>
                  <a:lnTo>
                    <a:pt x="84" y="80"/>
                  </a:lnTo>
                  <a:lnTo>
                    <a:pt x="82" y="78"/>
                  </a:lnTo>
                  <a:lnTo>
                    <a:pt x="82" y="78"/>
                  </a:lnTo>
                  <a:lnTo>
                    <a:pt x="70" y="70"/>
                  </a:lnTo>
                  <a:lnTo>
                    <a:pt x="70" y="70"/>
                  </a:lnTo>
                  <a:lnTo>
                    <a:pt x="68" y="70"/>
                  </a:lnTo>
                  <a:lnTo>
                    <a:pt x="68" y="72"/>
                  </a:lnTo>
                  <a:lnTo>
                    <a:pt x="66" y="72"/>
                  </a:lnTo>
                  <a:lnTo>
                    <a:pt x="64" y="70"/>
                  </a:lnTo>
                  <a:lnTo>
                    <a:pt x="64" y="70"/>
                  </a:lnTo>
                  <a:lnTo>
                    <a:pt x="58" y="66"/>
                  </a:lnTo>
                  <a:lnTo>
                    <a:pt x="52" y="62"/>
                  </a:lnTo>
                  <a:lnTo>
                    <a:pt x="52" y="62"/>
                  </a:lnTo>
                  <a:lnTo>
                    <a:pt x="40" y="56"/>
                  </a:lnTo>
                  <a:lnTo>
                    <a:pt x="40" y="54"/>
                  </a:lnTo>
                  <a:lnTo>
                    <a:pt x="42" y="52"/>
                  </a:lnTo>
                  <a:lnTo>
                    <a:pt x="42" y="52"/>
                  </a:lnTo>
                  <a:lnTo>
                    <a:pt x="44" y="52"/>
                  </a:lnTo>
                  <a:lnTo>
                    <a:pt x="40" y="50"/>
                  </a:lnTo>
                  <a:lnTo>
                    <a:pt x="40" y="50"/>
                  </a:lnTo>
                  <a:lnTo>
                    <a:pt x="32" y="46"/>
                  </a:lnTo>
                  <a:lnTo>
                    <a:pt x="30" y="44"/>
                  </a:lnTo>
                  <a:lnTo>
                    <a:pt x="28" y="42"/>
                  </a:lnTo>
                  <a:lnTo>
                    <a:pt x="28" y="42"/>
                  </a:lnTo>
                  <a:lnTo>
                    <a:pt x="28" y="36"/>
                  </a:lnTo>
                  <a:lnTo>
                    <a:pt x="26" y="34"/>
                  </a:lnTo>
                  <a:lnTo>
                    <a:pt x="24" y="32"/>
                  </a:lnTo>
                  <a:lnTo>
                    <a:pt x="24" y="30"/>
                  </a:lnTo>
                  <a:lnTo>
                    <a:pt x="24" y="30"/>
                  </a:lnTo>
                  <a:lnTo>
                    <a:pt x="22" y="36"/>
                  </a:lnTo>
                  <a:lnTo>
                    <a:pt x="20" y="40"/>
                  </a:lnTo>
                  <a:lnTo>
                    <a:pt x="20" y="40"/>
                  </a:lnTo>
                  <a:lnTo>
                    <a:pt x="16" y="42"/>
                  </a:lnTo>
                  <a:lnTo>
                    <a:pt x="16" y="42"/>
                  </a:lnTo>
                  <a:lnTo>
                    <a:pt x="14" y="40"/>
                  </a:lnTo>
                  <a:lnTo>
                    <a:pt x="14" y="40"/>
                  </a:lnTo>
                  <a:lnTo>
                    <a:pt x="10" y="32"/>
                  </a:lnTo>
                  <a:lnTo>
                    <a:pt x="8" y="30"/>
                  </a:lnTo>
                  <a:lnTo>
                    <a:pt x="10" y="28"/>
                  </a:lnTo>
                  <a:lnTo>
                    <a:pt x="10" y="28"/>
                  </a:lnTo>
                  <a:lnTo>
                    <a:pt x="12" y="26"/>
                  </a:lnTo>
                  <a:lnTo>
                    <a:pt x="14" y="26"/>
                  </a:lnTo>
                  <a:lnTo>
                    <a:pt x="12" y="24"/>
                  </a:lnTo>
                  <a:lnTo>
                    <a:pt x="10" y="24"/>
                  </a:lnTo>
                  <a:lnTo>
                    <a:pt x="10" y="24"/>
                  </a:lnTo>
                  <a:lnTo>
                    <a:pt x="10" y="20"/>
                  </a:lnTo>
                  <a:lnTo>
                    <a:pt x="6" y="18"/>
                  </a:lnTo>
                  <a:lnTo>
                    <a:pt x="4" y="16"/>
                  </a:lnTo>
                  <a:lnTo>
                    <a:pt x="2" y="14"/>
                  </a:lnTo>
                  <a:lnTo>
                    <a:pt x="2" y="14"/>
                  </a:lnTo>
                  <a:lnTo>
                    <a:pt x="2" y="12"/>
                  </a:lnTo>
                  <a:lnTo>
                    <a:pt x="2" y="12"/>
                  </a:lnTo>
                  <a:lnTo>
                    <a:pt x="0" y="10"/>
                  </a:lnTo>
                  <a:lnTo>
                    <a:pt x="0" y="8"/>
                  </a:lnTo>
                  <a:lnTo>
                    <a:pt x="0" y="8"/>
                  </a:lnTo>
                  <a:lnTo>
                    <a:pt x="14" y="10"/>
                  </a:lnTo>
                  <a:lnTo>
                    <a:pt x="20" y="8"/>
                  </a:lnTo>
                  <a:lnTo>
                    <a:pt x="20" y="8"/>
                  </a:lnTo>
                  <a:lnTo>
                    <a:pt x="26" y="4"/>
                  </a:lnTo>
                  <a:lnTo>
                    <a:pt x="28" y="2"/>
                  </a:lnTo>
                  <a:lnTo>
                    <a:pt x="30" y="2"/>
                  </a:lnTo>
                  <a:lnTo>
                    <a:pt x="30" y="2"/>
                  </a:lnTo>
                  <a:lnTo>
                    <a:pt x="34" y="4"/>
                  </a:lnTo>
                  <a:lnTo>
                    <a:pt x="36" y="2"/>
                  </a:lnTo>
                  <a:lnTo>
                    <a:pt x="36" y="2"/>
                  </a:lnTo>
                  <a:lnTo>
                    <a:pt x="40" y="0"/>
                  </a:lnTo>
                  <a:lnTo>
                    <a:pt x="44" y="2"/>
                  </a:lnTo>
                  <a:lnTo>
                    <a:pt x="44" y="2"/>
                  </a:lnTo>
                  <a:lnTo>
                    <a:pt x="48" y="4"/>
                  </a:lnTo>
                  <a:lnTo>
                    <a:pt x="50" y="2"/>
                  </a:lnTo>
                  <a:lnTo>
                    <a:pt x="50" y="0"/>
                  </a:lnTo>
                  <a:lnTo>
                    <a:pt x="50" y="0"/>
                  </a:lnTo>
                  <a:lnTo>
                    <a:pt x="54" y="2"/>
                  </a:lnTo>
                  <a:lnTo>
                    <a:pt x="56" y="2"/>
                  </a:lnTo>
                  <a:lnTo>
                    <a:pt x="56" y="4"/>
                  </a:lnTo>
                  <a:lnTo>
                    <a:pt x="56" y="4"/>
                  </a:lnTo>
                  <a:lnTo>
                    <a:pt x="56" y="4"/>
                  </a:lnTo>
                  <a:lnTo>
                    <a:pt x="58" y="6"/>
                  </a:lnTo>
                  <a:lnTo>
                    <a:pt x="58" y="8"/>
                  </a:lnTo>
                  <a:lnTo>
                    <a:pt x="58" y="8"/>
                  </a:lnTo>
                  <a:lnTo>
                    <a:pt x="60" y="10"/>
                  </a:lnTo>
                  <a:lnTo>
                    <a:pt x="60" y="10"/>
                  </a:lnTo>
                  <a:lnTo>
                    <a:pt x="68" y="14"/>
                  </a:lnTo>
                  <a:lnTo>
                    <a:pt x="72" y="16"/>
                  </a:lnTo>
                  <a:lnTo>
                    <a:pt x="72" y="16"/>
                  </a:lnTo>
                  <a:lnTo>
                    <a:pt x="78" y="18"/>
                  </a:lnTo>
                  <a:lnTo>
                    <a:pt x="84" y="20"/>
                  </a:lnTo>
                  <a:lnTo>
                    <a:pt x="84" y="20"/>
                  </a:lnTo>
                  <a:lnTo>
                    <a:pt x="86" y="22"/>
                  </a:lnTo>
                  <a:lnTo>
                    <a:pt x="90" y="22"/>
                  </a:lnTo>
                  <a:lnTo>
                    <a:pt x="90" y="22"/>
                  </a:lnTo>
                  <a:lnTo>
                    <a:pt x="94" y="20"/>
                  </a:lnTo>
                  <a:lnTo>
                    <a:pt x="96" y="16"/>
                  </a:lnTo>
                  <a:lnTo>
                    <a:pt x="96" y="16"/>
                  </a:lnTo>
                  <a:lnTo>
                    <a:pt x="104" y="14"/>
                  </a:lnTo>
                  <a:lnTo>
                    <a:pt x="108" y="14"/>
                  </a:lnTo>
                  <a:lnTo>
                    <a:pt x="110" y="14"/>
                  </a:lnTo>
                  <a:lnTo>
                    <a:pt x="110" y="14"/>
                  </a:lnTo>
                  <a:lnTo>
                    <a:pt x="112" y="16"/>
                  </a:lnTo>
                  <a:lnTo>
                    <a:pt x="120" y="14"/>
                  </a:lnTo>
                  <a:lnTo>
                    <a:pt x="120" y="14"/>
                  </a:lnTo>
                  <a:lnTo>
                    <a:pt x="130" y="14"/>
                  </a:lnTo>
                  <a:lnTo>
                    <a:pt x="132" y="14"/>
                  </a:lnTo>
                  <a:lnTo>
                    <a:pt x="132" y="14"/>
                  </a:lnTo>
                  <a:lnTo>
                    <a:pt x="134" y="18"/>
                  </a:lnTo>
                  <a:lnTo>
                    <a:pt x="136" y="20"/>
                  </a:lnTo>
                  <a:lnTo>
                    <a:pt x="138" y="22"/>
                  </a:lnTo>
                  <a:lnTo>
                    <a:pt x="138" y="24"/>
                  </a:lnTo>
                  <a:lnTo>
                    <a:pt x="138" y="24"/>
                  </a:lnTo>
                  <a:lnTo>
                    <a:pt x="140" y="26"/>
                  </a:lnTo>
                  <a:lnTo>
                    <a:pt x="142" y="26"/>
                  </a:lnTo>
                  <a:lnTo>
                    <a:pt x="144" y="28"/>
                  </a:lnTo>
                  <a:lnTo>
                    <a:pt x="146" y="30"/>
                  </a:lnTo>
                  <a:lnTo>
                    <a:pt x="146" y="30"/>
                  </a:lnTo>
                  <a:lnTo>
                    <a:pt x="148" y="32"/>
                  </a:lnTo>
                  <a:lnTo>
                    <a:pt x="152" y="36"/>
                  </a:lnTo>
                  <a:lnTo>
                    <a:pt x="152" y="36"/>
                  </a:lnTo>
                  <a:lnTo>
                    <a:pt x="152" y="38"/>
                  </a:lnTo>
                  <a:lnTo>
                    <a:pt x="152" y="38"/>
                  </a:lnTo>
                  <a:lnTo>
                    <a:pt x="150" y="40"/>
                  </a:lnTo>
                  <a:lnTo>
                    <a:pt x="150" y="40"/>
                  </a:lnTo>
                  <a:lnTo>
                    <a:pt x="154" y="44"/>
                  </a:lnTo>
                  <a:lnTo>
                    <a:pt x="156" y="44"/>
                  </a:lnTo>
                  <a:lnTo>
                    <a:pt x="158" y="44"/>
                  </a:lnTo>
                  <a:lnTo>
                    <a:pt x="158" y="44"/>
                  </a:lnTo>
                  <a:lnTo>
                    <a:pt x="160" y="44"/>
                  </a:lnTo>
                  <a:lnTo>
                    <a:pt x="162" y="46"/>
                  </a:lnTo>
                  <a:lnTo>
                    <a:pt x="166" y="50"/>
                  </a:lnTo>
                  <a:lnTo>
                    <a:pt x="166" y="50"/>
                  </a:lnTo>
                  <a:lnTo>
                    <a:pt x="168" y="50"/>
                  </a:lnTo>
                  <a:lnTo>
                    <a:pt x="170" y="48"/>
                  </a:lnTo>
                  <a:lnTo>
                    <a:pt x="172" y="48"/>
                  </a:lnTo>
                  <a:lnTo>
                    <a:pt x="174" y="48"/>
                  </a:lnTo>
                  <a:lnTo>
                    <a:pt x="174" y="48"/>
                  </a:lnTo>
                  <a:lnTo>
                    <a:pt x="174" y="48"/>
                  </a:lnTo>
                  <a:lnTo>
                    <a:pt x="174" y="50"/>
                  </a:lnTo>
                  <a:lnTo>
                    <a:pt x="170" y="52"/>
                  </a:lnTo>
                  <a:lnTo>
                    <a:pt x="170" y="52"/>
                  </a:lnTo>
                  <a:lnTo>
                    <a:pt x="174" y="54"/>
                  </a:lnTo>
                  <a:lnTo>
                    <a:pt x="178" y="56"/>
                  </a:lnTo>
                  <a:lnTo>
                    <a:pt x="178" y="56"/>
                  </a:lnTo>
                  <a:lnTo>
                    <a:pt x="176" y="58"/>
                  </a:lnTo>
                  <a:lnTo>
                    <a:pt x="174" y="60"/>
                  </a:lnTo>
                  <a:lnTo>
                    <a:pt x="176" y="64"/>
                  </a:lnTo>
                  <a:lnTo>
                    <a:pt x="176" y="64"/>
                  </a:lnTo>
                  <a:lnTo>
                    <a:pt x="178" y="70"/>
                  </a:lnTo>
                  <a:lnTo>
                    <a:pt x="180" y="74"/>
                  </a:lnTo>
                  <a:lnTo>
                    <a:pt x="180" y="74"/>
                  </a:lnTo>
                  <a:lnTo>
                    <a:pt x="182" y="78"/>
                  </a:lnTo>
                  <a:lnTo>
                    <a:pt x="180" y="80"/>
                  </a:lnTo>
                  <a:lnTo>
                    <a:pt x="180" y="80"/>
                  </a:lnTo>
                  <a:lnTo>
                    <a:pt x="178" y="82"/>
                  </a:lnTo>
                  <a:lnTo>
                    <a:pt x="180" y="84"/>
                  </a:lnTo>
                  <a:lnTo>
                    <a:pt x="180" y="86"/>
                  </a:lnTo>
                  <a:lnTo>
                    <a:pt x="180" y="88"/>
                  </a:lnTo>
                  <a:lnTo>
                    <a:pt x="180" y="88"/>
                  </a:lnTo>
                  <a:lnTo>
                    <a:pt x="178" y="90"/>
                  </a:lnTo>
                  <a:lnTo>
                    <a:pt x="180" y="92"/>
                  </a:lnTo>
                  <a:lnTo>
                    <a:pt x="184" y="94"/>
                  </a:lnTo>
                  <a:lnTo>
                    <a:pt x="184" y="94"/>
                  </a:lnTo>
                  <a:lnTo>
                    <a:pt x="192" y="100"/>
                  </a:lnTo>
                  <a:lnTo>
                    <a:pt x="194" y="106"/>
                  </a:lnTo>
                  <a:lnTo>
                    <a:pt x="194" y="110"/>
                  </a:lnTo>
                  <a:lnTo>
                    <a:pt x="194" y="110"/>
                  </a:lnTo>
                  <a:lnTo>
                    <a:pt x="192" y="112"/>
                  </a:lnTo>
                  <a:lnTo>
                    <a:pt x="190" y="114"/>
                  </a:lnTo>
                  <a:lnTo>
                    <a:pt x="190" y="114"/>
                  </a:lnTo>
                  <a:lnTo>
                    <a:pt x="190" y="116"/>
                  </a:lnTo>
                  <a:lnTo>
                    <a:pt x="188" y="116"/>
                  </a:lnTo>
                  <a:lnTo>
                    <a:pt x="184" y="114"/>
                  </a:lnTo>
                  <a:lnTo>
                    <a:pt x="184" y="114"/>
                  </a:lnTo>
                  <a:lnTo>
                    <a:pt x="182" y="114"/>
                  </a:lnTo>
                  <a:lnTo>
                    <a:pt x="180" y="114"/>
                  </a:lnTo>
                  <a:lnTo>
                    <a:pt x="178" y="118"/>
                  </a:lnTo>
                  <a:lnTo>
                    <a:pt x="178" y="118"/>
                  </a:lnTo>
                  <a:lnTo>
                    <a:pt x="174" y="122"/>
                  </a:lnTo>
                  <a:lnTo>
                    <a:pt x="170" y="122"/>
                  </a:lnTo>
                  <a:lnTo>
                    <a:pt x="162" y="122"/>
                  </a:lnTo>
                  <a:lnTo>
                    <a:pt x="162" y="122"/>
                  </a:lnTo>
                  <a:lnTo>
                    <a:pt x="158" y="122"/>
                  </a:lnTo>
                  <a:lnTo>
                    <a:pt x="154" y="126"/>
                  </a:lnTo>
                  <a:lnTo>
                    <a:pt x="154" y="126"/>
                  </a:lnTo>
                  <a:lnTo>
                    <a:pt x="152" y="120"/>
                  </a:lnTo>
                  <a:lnTo>
                    <a:pt x="150" y="116"/>
                  </a:lnTo>
                  <a:lnTo>
                    <a:pt x="144" y="112"/>
                  </a:lnTo>
                  <a:lnTo>
                    <a:pt x="144" y="112"/>
                  </a:lnTo>
                  <a:lnTo>
                    <a:pt x="142" y="110"/>
                  </a:lnTo>
                  <a:lnTo>
                    <a:pt x="142" y="108"/>
                  </a:lnTo>
                  <a:lnTo>
                    <a:pt x="140" y="108"/>
                  </a:lnTo>
                  <a:lnTo>
                    <a:pt x="140" y="106"/>
                  </a:lnTo>
                  <a:lnTo>
                    <a:pt x="140" y="106"/>
                  </a:lnTo>
                  <a:lnTo>
                    <a:pt x="138" y="100"/>
                  </a:lnTo>
                  <a:lnTo>
                    <a:pt x="136" y="94"/>
                  </a:lnTo>
                  <a:lnTo>
                    <a:pt x="136" y="94"/>
                  </a:lnTo>
                  <a:lnTo>
                    <a:pt x="134" y="92"/>
                  </a:lnTo>
                  <a:lnTo>
                    <a:pt x="130" y="90"/>
                  </a:lnTo>
                  <a:lnTo>
                    <a:pt x="124" y="90"/>
                  </a:lnTo>
                  <a:lnTo>
                    <a:pt x="124" y="90"/>
                  </a:lnTo>
                  <a:lnTo>
                    <a:pt x="118" y="92"/>
                  </a:lnTo>
                  <a:lnTo>
                    <a:pt x="118" y="92"/>
                  </a:lnTo>
                  <a:lnTo>
                    <a:pt x="118" y="94"/>
                  </a:lnTo>
                  <a:lnTo>
                    <a:pt x="118" y="94"/>
                  </a:lnTo>
                  <a:lnTo>
                    <a:pt x="120" y="96"/>
                  </a:lnTo>
                  <a:lnTo>
                    <a:pt x="120" y="96"/>
                  </a:lnTo>
                  <a:lnTo>
                    <a:pt x="118" y="98"/>
                  </a:lnTo>
                  <a:lnTo>
                    <a:pt x="118" y="9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7" name="Czech Republic"/>
            <p:cNvSpPr>
              <a:spLocks/>
            </p:cNvSpPr>
            <p:nvPr/>
          </p:nvSpPr>
          <p:spPr bwMode="auto">
            <a:xfrm>
              <a:off x="4427768" y="2012156"/>
              <a:ext cx="166688" cy="71438"/>
            </a:xfrm>
            <a:custGeom>
              <a:avLst/>
              <a:gdLst/>
              <a:ahLst/>
              <a:cxnLst>
                <a:cxn ang="0">
                  <a:pos x="100" y="54"/>
                </a:cxn>
                <a:cxn ang="0">
                  <a:pos x="106" y="48"/>
                </a:cxn>
                <a:cxn ang="0">
                  <a:pos x="110" y="46"/>
                </a:cxn>
                <a:cxn ang="0">
                  <a:pos x="118" y="38"/>
                </a:cxn>
                <a:cxn ang="0">
                  <a:pos x="126" y="28"/>
                </a:cxn>
                <a:cxn ang="0">
                  <a:pos x="116" y="22"/>
                </a:cxn>
                <a:cxn ang="0">
                  <a:pos x="102" y="18"/>
                </a:cxn>
                <a:cxn ang="0">
                  <a:pos x="100" y="16"/>
                </a:cxn>
                <a:cxn ang="0">
                  <a:pos x="96" y="12"/>
                </a:cxn>
                <a:cxn ang="0">
                  <a:pos x="92" y="12"/>
                </a:cxn>
                <a:cxn ang="0">
                  <a:pos x="86" y="10"/>
                </a:cxn>
                <a:cxn ang="0">
                  <a:pos x="86" y="12"/>
                </a:cxn>
                <a:cxn ang="0">
                  <a:pos x="86" y="14"/>
                </a:cxn>
                <a:cxn ang="0">
                  <a:pos x="82" y="16"/>
                </a:cxn>
                <a:cxn ang="0">
                  <a:pos x="82" y="16"/>
                </a:cxn>
                <a:cxn ang="0">
                  <a:pos x="76" y="12"/>
                </a:cxn>
                <a:cxn ang="0">
                  <a:pos x="72" y="10"/>
                </a:cxn>
                <a:cxn ang="0">
                  <a:pos x="52" y="6"/>
                </a:cxn>
                <a:cxn ang="0">
                  <a:pos x="48" y="6"/>
                </a:cxn>
                <a:cxn ang="0">
                  <a:pos x="44" y="6"/>
                </a:cxn>
                <a:cxn ang="0">
                  <a:pos x="40" y="2"/>
                </a:cxn>
                <a:cxn ang="0">
                  <a:pos x="34" y="4"/>
                </a:cxn>
                <a:cxn ang="0">
                  <a:pos x="30" y="8"/>
                </a:cxn>
                <a:cxn ang="0">
                  <a:pos x="24" y="10"/>
                </a:cxn>
                <a:cxn ang="0">
                  <a:pos x="12" y="14"/>
                </a:cxn>
                <a:cxn ang="0">
                  <a:pos x="0" y="14"/>
                </a:cxn>
                <a:cxn ang="0">
                  <a:pos x="0" y="16"/>
                </a:cxn>
                <a:cxn ang="0">
                  <a:pos x="8" y="26"/>
                </a:cxn>
                <a:cxn ang="0">
                  <a:pos x="12" y="30"/>
                </a:cxn>
                <a:cxn ang="0">
                  <a:pos x="16" y="32"/>
                </a:cxn>
                <a:cxn ang="0">
                  <a:pos x="28" y="40"/>
                </a:cxn>
                <a:cxn ang="0">
                  <a:pos x="32" y="42"/>
                </a:cxn>
                <a:cxn ang="0">
                  <a:pos x="32" y="46"/>
                </a:cxn>
                <a:cxn ang="0">
                  <a:pos x="40" y="48"/>
                </a:cxn>
                <a:cxn ang="0">
                  <a:pos x="44" y="48"/>
                </a:cxn>
                <a:cxn ang="0">
                  <a:pos x="48" y="48"/>
                </a:cxn>
                <a:cxn ang="0">
                  <a:pos x="50" y="44"/>
                </a:cxn>
                <a:cxn ang="0">
                  <a:pos x="50" y="38"/>
                </a:cxn>
                <a:cxn ang="0">
                  <a:pos x="52" y="38"/>
                </a:cxn>
                <a:cxn ang="0">
                  <a:pos x="62" y="42"/>
                </a:cxn>
                <a:cxn ang="0">
                  <a:pos x="64" y="44"/>
                </a:cxn>
                <a:cxn ang="0">
                  <a:pos x="68" y="42"/>
                </a:cxn>
                <a:cxn ang="0">
                  <a:pos x="72" y="42"/>
                </a:cxn>
                <a:cxn ang="0">
                  <a:pos x="90" y="52"/>
                </a:cxn>
                <a:cxn ang="0">
                  <a:pos x="94" y="54"/>
                </a:cxn>
                <a:cxn ang="0">
                  <a:pos x="100" y="54"/>
                </a:cxn>
              </a:cxnLst>
              <a:rect l="0" t="0" r="r" b="b"/>
              <a:pathLst>
                <a:path w="126" h="54">
                  <a:moveTo>
                    <a:pt x="100" y="54"/>
                  </a:moveTo>
                  <a:lnTo>
                    <a:pt x="100" y="54"/>
                  </a:lnTo>
                  <a:lnTo>
                    <a:pt x="102" y="52"/>
                  </a:lnTo>
                  <a:lnTo>
                    <a:pt x="106" y="48"/>
                  </a:lnTo>
                  <a:lnTo>
                    <a:pt x="110" y="46"/>
                  </a:lnTo>
                  <a:lnTo>
                    <a:pt x="110" y="46"/>
                  </a:lnTo>
                  <a:lnTo>
                    <a:pt x="118" y="42"/>
                  </a:lnTo>
                  <a:lnTo>
                    <a:pt x="118" y="38"/>
                  </a:lnTo>
                  <a:lnTo>
                    <a:pt x="120" y="34"/>
                  </a:lnTo>
                  <a:lnTo>
                    <a:pt x="126" y="28"/>
                  </a:lnTo>
                  <a:lnTo>
                    <a:pt x="126" y="28"/>
                  </a:lnTo>
                  <a:lnTo>
                    <a:pt x="116" y="22"/>
                  </a:lnTo>
                  <a:lnTo>
                    <a:pt x="108" y="20"/>
                  </a:lnTo>
                  <a:lnTo>
                    <a:pt x="102" y="18"/>
                  </a:lnTo>
                  <a:lnTo>
                    <a:pt x="100" y="16"/>
                  </a:lnTo>
                  <a:lnTo>
                    <a:pt x="100" y="16"/>
                  </a:lnTo>
                  <a:lnTo>
                    <a:pt x="98" y="12"/>
                  </a:lnTo>
                  <a:lnTo>
                    <a:pt x="96" y="12"/>
                  </a:lnTo>
                  <a:lnTo>
                    <a:pt x="96" y="12"/>
                  </a:lnTo>
                  <a:lnTo>
                    <a:pt x="92" y="12"/>
                  </a:lnTo>
                  <a:lnTo>
                    <a:pt x="88" y="10"/>
                  </a:lnTo>
                  <a:lnTo>
                    <a:pt x="86" y="10"/>
                  </a:lnTo>
                  <a:lnTo>
                    <a:pt x="86" y="12"/>
                  </a:lnTo>
                  <a:lnTo>
                    <a:pt x="86" y="12"/>
                  </a:lnTo>
                  <a:lnTo>
                    <a:pt x="88" y="14"/>
                  </a:lnTo>
                  <a:lnTo>
                    <a:pt x="86" y="14"/>
                  </a:lnTo>
                  <a:lnTo>
                    <a:pt x="84" y="14"/>
                  </a:lnTo>
                  <a:lnTo>
                    <a:pt x="82" y="16"/>
                  </a:lnTo>
                  <a:lnTo>
                    <a:pt x="82" y="16"/>
                  </a:lnTo>
                  <a:lnTo>
                    <a:pt x="82" y="16"/>
                  </a:lnTo>
                  <a:lnTo>
                    <a:pt x="80" y="14"/>
                  </a:lnTo>
                  <a:lnTo>
                    <a:pt x="76" y="12"/>
                  </a:lnTo>
                  <a:lnTo>
                    <a:pt x="72" y="10"/>
                  </a:lnTo>
                  <a:lnTo>
                    <a:pt x="72" y="10"/>
                  </a:lnTo>
                  <a:lnTo>
                    <a:pt x="58" y="8"/>
                  </a:lnTo>
                  <a:lnTo>
                    <a:pt x="52" y="6"/>
                  </a:lnTo>
                  <a:lnTo>
                    <a:pt x="50" y="4"/>
                  </a:lnTo>
                  <a:lnTo>
                    <a:pt x="48" y="6"/>
                  </a:lnTo>
                  <a:lnTo>
                    <a:pt x="48" y="6"/>
                  </a:lnTo>
                  <a:lnTo>
                    <a:pt x="44" y="6"/>
                  </a:lnTo>
                  <a:lnTo>
                    <a:pt x="40" y="2"/>
                  </a:lnTo>
                  <a:lnTo>
                    <a:pt x="40" y="2"/>
                  </a:lnTo>
                  <a:lnTo>
                    <a:pt x="38" y="0"/>
                  </a:lnTo>
                  <a:lnTo>
                    <a:pt x="34" y="4"/>
                  </a:lnTo>
                  <a:lnTo>
                    <a:pt x="34" y="4"/>
                  </a:lnTo>
                  <a:lnTo>
                    <a:pt x="30" y="8"/>
                  </a:lnTo>
                  <a:lnTo>
                    <a:pt x="24" y="10"/>
                  </a:lnTo>
                  <a:lnTo>
                    <a:pt x="24" y="10"/>
                  </a:lnTo>
                  <a:lnTo>
                    <a:pt x="12" y="14"/>
                  </a:lnTo>
                  <a:lnTo>
                    <a:pt x="12" y="14"/>
                  </a:lnTo>
                  <a:lnTo>
                    <a:pt x="4" y="14"/>
                  </a:lnTo>
                  <a:lnTo>
                    <a:pt x="0" y="14"/>
                  </a:lnTo>
                  <a:lnTo>
                    <a:pt x="0" y="16"/>
                  </a:lnTo>
                  <a:lnTo>
                    <a:pt x="0" y="16"/>
                  </a:lnTo>
                  <a:lnTo>
                    <a:pt x="4" y="20"/>
                  </a:lnTo>
                  <a:lnTo>
                    <a:pt x="8" y="26"/>
                  </a:lnTo>
                  <a:lnTo>
                    <a:pt x="8" y="26"/>
                  </a:lnTo>
                  <a:lnTo>
                    <a:pt x="12" y="30"/>
                  </a:lnTo>
                  <a:lnTo>
                    <a:pt x="16" y="32"/>
                  </a:lnTo>
                  <a:lnTo>
                    <a:pt x="16" y="32"/>
                  </a:lnTo>
                  <a:lnTo>
                    <a:pt x="24" y="38"/>
                  </a:lnTo>
                  <a:lnTo>
                    <a:pt x="28" y="40"/>
                  </a:lnTo>
                  <a:lnTo>
                    <a:pt x="28" y="40"/>
                  </a:lnTo>
                  <a:lnTo>
                    <a:pt x="32" y="42"/>
                  </a:lnTo>
                  <a:lnTo>
                    <a:pt x="32" y="46"/>
                  </a:lnTo>
                  <a:lnTo>
                    <a:pt x="32" y="46"/>
                  </a:lnTo>
                  <a:lnTo>
                    <a:pt x="38" y="48"/>
                  </a:lnTo>
                  <a:lnTo>
                    <a:pt x="40" y="48"/>
                  </a:lnTo>
                  <a:lnTo>
                    <a:pt x="40" y="48"/>
                  </a:lnTo>
                  <a:lnTo>
                    <a:pt x="44" y="48"/>
                  </a:lnTo>
                  <a:lnTo>
                    <a:pt x="46" y="48"/>
                  </a:lnTo>
                  <a:lnTo>
                    <a:pt x="48" y="48"/>
                  </a:lnTo>
                  <a:lnTo>
                    <a:pt x="48" y="48"/>
                  </a:lnTo>
                  <a:lnTo>
                    <a:pt x="50" y="44"/>
                  </a:lnTo>
                  <a:lnTo>
                    <a:pt x="50" y="40"/>
                  </a:lnTo>
                  <a:lnTo>
                    <a:pt x="50" y="38"/>
                  </a:lnTo>
                  <a:lnTo>
                    <a:pt x="52" y="38"/>
                  </a:lnTo>
                  <a:lnTo>
                    <a:pt x="52" y="38"/>
                  </a:lnTo>
                  <a:lnTo>
                    <a:pt x="58" y="40"/>
                  </a:lnTo>
                  <a:lnTo>
                    <a:pt x="62" y="42"/>
                  </a:lnTo>
                  <a:lnTo>
                    <a:pt x="62" y="42"/>
                  </a:lnTo>
                  <a:lnTo>
                    <a:pt x="64" y="44"/>
                  </a:lnTo>
                  <a:lnTo>
                    <a:pt x="66" y="42"/>
                  </a:lnTo>
                  <a:lnTo>
                    <a:pt x="68" y="42"/>
                  </a:lnTo>
                  <a:lnTo>
                    <a:pt x="72" y="42"/>
                  </a:lnTo>
                  <a:lnTo>
                    <a:pt x="72" y="42"/>
                  </a:lnTo>
                  <a:lnTo>
                    <a:pt x="82" y="48"/>
                  </a:lnTo>
                  <a:lnTo>
                    <a:pt x="90" y="52"/>
                  </a:lnTo>
                  <a:lnTo>
                    <a:pt x="90" y="52"/>
                  </a:lnTo>
                  <a:lnTo>
                    <a:pt x="94" y="54"/>
                  </a:lnTo>
                  <a:lnTo>
                    <a:pt x="96" y="54"/>
                  </a:lnTo>
                  <a:lnTo>
                    <a:pt x="100" y="54"/>
                  </a:lnTo>
                  <a:lnTo>
                    <a:pt x="100" y="54"/>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8" name="Denmark"/>
            <p:cNvSpPr>
              <a:spLocks/>
            </p:cNvSpPr>
            <p:nvPr/>
          </p:nvSpPr>
          <p:spPr bwMode="auto">
            <a:xfrm>
              <a:off x="4321934" y="1856050"/>
              <a:ext cx="95250" cy="68792"/>
            </a:xfrm>
            <a:custGeom>
              <a:avLst/>
              <a:gdLst/>
              <a:ahLst/>
              <a:cxnLst/>
              <a:rect l="l" t="t" r="r" b="b"/>
              <a:pathLst>
                <a:path w="95250" h="68792">
                  <a:moveTo>
                    <a:pt x="47625" y="52918"/>
                  </a:moveTo>
                  <a:lnTo>
                    <a:pt x="50271" y="52918"/>
                  </a:lnTo>
                  <a:lnTo>
                    <a:pt x="52917" y="55564"/>
                  </a:lnTo>
                  <a:lnTo>
                    <a:pt x="55563" y="55564"/>
                  </a:lnTo>
                  <a:lnTo>
                    <a:pt x="55563" y="52918"/>
                  </a:lnTo>
                  <a:lnTo>
                    <a:pt x="58208" y="55564"/>
                  </a:lnTo>
                  <a:lnTo>
                    <a:pt x="60854" y="58210"/>
                  </a:lnTo>
                  <a:lnTo>
                    <a:pt x="58208" y="60855"/>
                  </a:lnTo>
                  <a:lnTo>
                    <a:pt x="55563" y="63501"/>
                  </a:lnTo>
                  <a:lnTo>
                    <a:pt x="50271" y="63501"/>
                  </a:lnTo>
                  <a:lnTo>
                    <a:pt x="44979" y="60855"/>
                  </a:lnTo>
                  <a:lnTo>
                    <a:pt x="37042" y="58210"/>
                  </a:lnTo>
                  <a:lnTo>
                    <a:pt x="34396" y="55564"/>
                  </a:lnTo>
                  <a:lnTo>
                    <a:pt x="37042" y="55564"/>
                  </a:lnTo>
                  <a:close/>
                  <a:moveTo>
                    <a:pt x="87313" y="34397"/>
                  </a:moveTo>
                  <a:lnTo>
                    <a:pt x="92604" y="34397"/>
                  </a:lnTo>
                  <a:lnTo>
                    <a:pt x="95250" y="34397"/>
                  </a:lnTo>
                  <a:lnTo>
                    <a:pt x="95250" y="39689"/>
                  </a:lnTo>
                  <a:lnTo>
                    <a:pt x="95250" y="44980"/>
                  </a:lnTo>
                  <a:lnTo>
                    <a:pt x="92604" y="47626"/>
                  </a:lnTo>
                  <a:lnTo>
                    <a:pt x="89959" y="50272"/>
                  </a:lnTo>
                  <a:lnTo>
                    <a:pt x="92604" y="52918"/>
                  </a:lnTo>
                  <a:lnTo>
                    <a:pt x="95250" y="52918"/>
                  </a:lnTo>
                  <a:lnTo>
                    <a:pt x="92604" y="55564"/>
                  </a:lnTo>
                  <a:lnTo>
                    <a:pt x="89959" y="58210"/>
                  </a:lnTo>
                  <a:lnTo>
                    <a:pt x="87313" y="60855"/>
                  </a:lnTo>
                  <a:lnTo>
                    <a:pt x="89959" y="66147"/>
                  </a:lnTo>
                  <a:lnTo>
                    <a:pt x="84667" y="66147"/>
                  </a:lnTo>
                  <a:lnTo>
                    <a:pt x="76729" y="63501"/>
                  </a:lnTo>
                  <a:lnTo>
                    <a:pt x="74084" y="63501"/>
                  </a:lnTo>
                  <a:lnTo>
                    <a:pt x="74084" y="60855"/>
                  </a:lnTo>
                  <a:lnTo>
                    <a:pt x="76729" y="60855"/>
                  </a:lnTo>
                  <a:lnTo>
                    <a:pt x="79375" y="58210"/>
                  </a:lnTo>
                  <a:lnTo>
                    <a:pt x="74084" y="60855"/>
                  </a:lnTo>
                  <a:lnTo>
                    <a:pt x="68792" y="60855"/>
                  </a:lnTo>
                  <a:lnTo>
                    <a:pt x="66146" y="58210"/>
                  </a:lnTo>
                  <a:lnTo>
                    <a:pt x="66146" y="52918"/>
                  </a:lnTo>
                  <a:lnTo>
                    <a:pt x="66146" y="50272"/>
                  </a:lnTo>
                  <a:lnTo>
                    <a:pt x="63500" y="47626"/>
                  </a:lnTo>
                  <a:lnTo>
                    <a:pt x="66146" y="44980"/>
                  </a:lnTo>
                  <a:lnTo>
                    <a:pt x="74084" y="44980"/>
                  </a:lnTo>
                  <a:lnTo>
                    <a:pt x="79375" y="42334"/>
                  </a:lnTo>
                  <a:lnTo>
                    <a:pt x="76729" y="39689"/>
                  </a:lnTo>
                  <a:lnTo>
                    <a:pt x="82021" y="39689"/>
                  </a:lnTo>
                  <a:lnTo>
                    <a:pt x="84667" y="44980"/>
                  </a:lnTo>
                  <a:lnTo>
                    <a:pt x="84667" y="42334"/>
                  </a:lnTo>
                  <a:lnTo>
                    <a:pt x="87313" y="42334"/>
                  </a:lnTo>
                  <a:lnTo>
                    <a:pt x="87313" y="44980"/>
                  </a:lnTo>
                  <a:lnTo>
                    <a:pt x="89959" y="42334"/>
                  </a:lnTo>
                  <a:lnTo>
                    <a:pt x="89959" y="39689"/>
                  </a:lnTo>
                  <a:lnTo>
                    <a:pt x="87313" y="39689"/>
                  </a:lnTo>
                  <a:lnTo>
                    <a:pt x="84667" y="39689"/>
                  </a:lnTo>
                  <a:lnTo>
                    <a:pt x="84667" y="37043"/>
                  </a:lnTo>
                  <a:close/>
                  <a:moveTo>
                    <a:pt x="29105" y="13229"/>
                  </a:moveTo>
                  <a:lnTo>
                    <a:pt x="34396" y="15875"/>
                  </a:lnTo>
                  <a:lnTo>
                    <a:pt x="37042" y="18521"/>
                  </a:lnTo>
                  <a:lnTo>
                    <a:pt x="39688" y="23812"/>
                  </a:lnTo>
                  <a:lnTo>
                    <a:pt x="39688" y="26458"/>
                  </a:lnTo>
                  <a:lnTo>
                    <a:pt x="42334" y="26458"/>
                  </a:lnTo>
                  <a:lnTo>
                    <a:pt x="42334" y="29104"/>
                  </a:lnTo>
                  <a:lnTo>
                    <a:pt x="47626" y="29104"/>
                  </a:lnTo>
                  <a:lnTo>
                    <a:pt x="52917" y="29104"/>
                  </a:lnTo>
                  <a:lnTo>
                    <a:pt x="55563" y="31750"/>
                  </a:lnTo>
                  <a:lnTo>
                    <a:pt x="55563" y="34396"/>
                  </a:lnTo>
                  <a:lnTo>
                    <a:pt x="50272" y="34396"/>
                  </a:lnTo>
                  <a:lnTo>
                    <a:pt x="47626" y="37042"/>
                  </a:lnTo>
                  <a:lnTo>
                    <a:pt x="44980" y="39688"/>
                  </a:lnTo>
                  <a:lnTo>
                    <a:pt x="42334" y="39688"/>
                  </a:lnTo>
                  <a:lnTo>
                    <a:pt x="39688" y="42333"/>
                  </a:lnTo>
                  <a:lnTo>
                    <a:pt x="39688" y="44979"/>
                  </a:lnTo>
                  <a:lnTo>
                    <a:pt x="37042" y="47625"/>
                  </a:lnTo>
                  <a:lnTo>
                    <a:pt x="34396" y="47625"/>
                  </a:lnTo>
                  <a:lnTo>
                    <a:pt x="34396" y="50271"/>
                  </a:lnTo>
                  <a:lnTo>
                    <a:pt x="37042" y="52917"/>
                  </a:lnTo>
                  <a:lnTo>
                    <a:pt x="34396" y="52917"/>
                  </a:lnTo>
                  <a:lnTo>
                    <a:pt x="31751" y="55563"/>
                  </a:lnTo>
                  <a:lnTo>
                    <a:pt x="29105" y="58209"/>
                  </a:lnTo>
                  <a:lnTo>
                    <a:pt x="31751" y="60854"/>
                  </a:lnTo>
                  <a:lnTo>
                    <a:pt x="31751" y="63500"/>
                  </a:lnTo>
                  <a:lnTo>
                    <a:pt x="37042" y="63500"/>
                  </a:lnTo>
                  <a:lnTo>
                    <a:pt x="39688" y="66146"/>
                  </a:lnTo>
                  <a:lnTo>
                    <a:pt x="37042" y="66146"/>
                  </a:lnTo>
                  <a:lnTo>
                    <a:pt x="31751" y="68792"/>
                  </a:lnTo>
                  <a:lnTo>
                    <a:pt x="26459" y="66146"/>
                  </a:lnTo>
                  <a:lnTo>
                    <a:pt x="21167" y="66146"/>
                  </a:lnTo>
                  <a:lnTo>
                    <a:pt x="15875" y="66146"/>
                  </a:lnTo>
                  <a:lnTo>
                    <a:pt x="15875" y="63500"/>
                  </a:lnTo>
                  <a:lnTo>
                    <a:pt x="15875" y="60854"/>
                  </a:lnTo>
                  <a:lnTo>
                    <a:pt x="15875" y="55563"/>
                  </a:lnTo>
                  <a:lnTo>
                    <a:pt x="13230" y="55563"/>
                  </a:lnTo>
                  <a:lnTo>
                    <a:pt x="10584" y="52917"/>
                  </a:lnTo>
                  <a:lnTo>
                    <a:pt x="7938" y="50271"/>
                  </a:lnTo>
                  <a:lnTo>
                    <a:pt x="10584" y="50271"/>
                  </a:lnTo>
                  <a:lnTo>
                    <a:pt x="7938" y="47625"/>
                  </a:lnTo>
                  <a:lnTo>
                    <a:pt x="7938" y="42333"/>
                  </a:lnTo>
                  <a:lnTo>
                    <a:pt x="5292" y="42333"/>
                  </a:lnTo>
                  <a:lnTo>
                    <a:pt x="2646" y="42333"/>
                  </a:lnTo>
                  <a:lnTo>
                    <a:pt x="2646" y="39688"/>
                  </a:lnTo>
                  <a:lnTo>
                    <a:pt x="2646" y="37042"/>
                  </a:lnTo>
                  <a:lnTo>
                    <a:pt x="5292" y="34396"/>
                  </a:lnTo>
                  <a:lnTo>
                    <a:pt x="5292" y="31750"/>
                  </a:lnTo>
                  <a:lnTo>
                    <a:pt x="2646" y="29104"/>
                  </a:lnTo>
                  <a:lnTo>
                    <a:pt x="0" y="26458"/>
                  </a:lnTo>
                  <a:lnTo>
                    <a:pt x="0" y="23812"/>
                  </a:lnTo>
                  <a:lnTo>
                    <a:pt x="0" y="21167"/>
                  </a:lnTo>
                  <a:lnTo>
                    <a:pt x="2646" y="18521"/>
                  </a:lnTo>
                  <a:lnTo>
                    <a:pt x="5292" y="18521"/>
                  </a:lnTo>
                  <a:lnTo>
                    <a:pt x="7938" y="23812"/>
                  </a:lnTo>
                  <a:lnTo>
                    <a:pt x="13230" y="23812"/>
                  </a:lnTo>
                  <a:lnTo>
                    <a:pt x="13230" y="21167"/>
                  </a:lnTo>
                  <a:lnTo>
                    <a:pt x="13230" y="18521"/>
                  </a:lnTo>
                  <a:lnTo>
                    <a:pt x="15875" y="15875"/>
                  </a:lnTo>
                  <a:lnTo>
                    <a:pt x="18521" y="15875"/>
                  </a:lnTo>
                  <a:lnTo>
                    <a:pt x="18521" y="18521"/>
                  </a:lnTo>
                  <a:lnTo>
                    <a:pt x="18521" y="23812"/>
                  </a:lnTo>
                  <a:lnTo>
                    <a:pt x="21167" y="23812"/>
                  </a:lnTo>
                  <a:lnTo>
                    <a:pt x="21167" y="15875"/>
                  </a:lnTo>
                  <a:lnTo>
                    <a:pt x="23813" y="15875"/>
                  </a:lnTo>
                  <a:lnTo>
                    <a:pt x="26459" y="15875"/>
                  </a:lnTo>
                  <a:close/>
                  <a:moveTo>
                    <a:pt x="10584" y="10583"/>
                  </a:moveTo>
                  <a:lnTo>
                    <a:pt x="13230" y="10583"/>
                  </a:lnTo>
                  <a:lnTo>
                    <a:pt x="15876" y="10583"/>
                  </a:lnTo>
                  <a:lnTo>
                    <a:pt x="18522" y="10583"/>
                  </a:lnTo>
                  <a:lnTo>
                    <a:pt x="21167" y="13229"/>
                  </a:lnTo>
                  <a:lnTo>
                    <a:pt x="18522" y="13229"/>
                  </a:lnTo>
                  <a:lnTo>
                    <a:pt x="13230" y="13229"/>
                  </a:lnTo>
                  <a:lnTo>
                    <a:pt x="10584" y="18521"/>
                  </a:lnTo>
                  <a:lnTo>
                    <a:pt x="10584" y="21167"/>
                  </a:lnTo>
                  <a:lnTo>
                    <a:pt x="7938" y="18521"/>
                  </a:lnTo>
                  <a:lnTo>
                    <a:pt x="5292" y="15875"/>
                  </a:lnTo>
                  <a:close/>
                  <a:moveTo>
                    <a:pt x="42334" y="0"/>
                  </a:moveTo>
                  <a:lnTo>
                    <a:pt x="44980" y="0"/>
                  </a:lnTo>
                  <a:lnTo>
                    <a:pt x="44980" y="2646"/>
                  </a:lnTo>
                  <a:lnTo>
                    <a:pt x="42334" y="2646"/>
                  </a:lnTo>
                  <a:lnTo>
                    <a:pt x="44980" y="5292"/>
                  </a:lnTo>
                  <a:lnTo>
                    <a:pt x="44980" y="7938"/>
                  </a:lnTo>
                  <a:lnTo>
                    <a:pt x="44980" y="10583"/>
                  </a:lnTo>
                  <a:lnTo>
                    <a:pt x="42334" y="13229"/>
                  </a:lnTo>
                  <a:lnTo>
                    <a:pt x="39689" y="18521"/>
                  </a:lnTo>
                  <a:lnTo>
                    <a:pt x="34397" y="13229"/>
                  </a:lnTo>
                  <a:lnTo>
                    <a:pt x="29105" y="10583"/>
                  </a:lnTo>
                  <a:lnTo>
                    <a:pt x="26459" y="10583"/>
                  </a:lnTo>
                  <a:lnTo>
                    <a:pt x="23813" y="13229"/>
                  </a:lnTo>
                  <a:lnTo>
                    <a:pt x="21167" y="13229"/>
                  </a:lnTo>
                  <a:lnTo>
                    <a:pt x="23813" y="10583"/>
                  </a:lnTo>
                  <a:lnTo>
                    <a:pt x="29105" y="5292"/>
                  </a:lnTo>
                  <a:lnTo>
                    <a:pt x="37043" y="2646"/>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9" name="Estonia"/>
            <p:cNvSpPr>
              <a:spLocks/>
            </p:cNvSpPr>
            <p:nvPr/>
          </p:nvSpPr>
          <p:spPr bwMode="auto">
            <a:xfrm>
              <a:off x="4668538" y="1813719"/>
              <a:ext cx="97896" cy="39688"/>
            </a:xfrm>
            <a:custGeom>
              <a:avLst/>
              <a:gdLst/>
              <a:ahLst/>
              <a:cxnLst>
                <a:cxn ang="0">
                  <a:pos x="18" y="30"/>
                </a:cxn>
                <a:cxn ang="0">
                  <a:pos x="18" y="24"/>
                </a:cxn>
                <a:cxn ang="0">
                  <a:pos x="14" y="24"/>
                </a:cxn>
                <a:cxn ang="0">
                  <a:pos x="14" y="26"/>
                </a:cxn>
                <a:cxn ang="0">
                  <a:pos x="10" y="24"/>
                </a:cxn>
                <a:cxn ang="0">
                  <a:pos x="10" y="22"/>
                </a:cxn>
                <a:cxn ang="0">
                  <a:pos x="6" y="20"/>
                </a:cxn>
                <a:cxn ang="0">
                  <a:pos x="4" y="16"/>
                </a:cxn>
                <a:cxn ang="0">
                  <a:pos x="6" y="16"/>
                </a:cxn>
                <a:cxn ang="0">
                  <a:pos x="8" y="14"/>
                </a:cxn>
                <a:cxn ang="0">
                  <a:pos x="0" y="12"/>
                </a:cxn>
                <a:cxn ang="0">
                  <a:pos x="0" y="10"/>
                </a:cxn>
                <a:cxn ang="0">
                  <a:pos x="0" y="8"/>
                </a:cxn>
                <a:cxn ang="0">
                  <a:pos x="4" y="6"/>
                </a:cxn>
                <a:cxn ang="0">
                  <a:pos x="8" y="4"/>
                </a:cxn>
                <a:cxn ang="0">
                  <a:pos x="10" y="2"/>
                </a:cxn>
                <a:cxn ang="0">
                  <a:pos x="14" y="2"/>
                </a:cxn>
                <a:cxn ang="0">
                  <a:pos x="16" y="2"/>
                </a:cxn>
                <a:cxn ang="0">
                  <a:pos x="20" y="2"/>
                </a:cxn>
                <a:cxn ang="0">
                  <a:pos x="22" y="2"/>
                </a:cxn>
                <a:cxn ang="0">
                  <a:pos x="24" y="0"/>
                </a:cxn>
                <a:cxn ang="0">
                  <a:pos x="28" y="0"/>
                </a:cxn>
                <a:cxn ang="0">
                  <a:pos x="30" y="0"/>
                </a:cxn>
                <a:cxn ang="0">
                  <a:pos x="34" y="0"/>
                </a:cxn>
                <a:cxn ang="0">
                  <a:pos x="38" y="2"/>
                </a:cxn>
                <a:cxn ang="0">
                  <a:pos x="40" y="0"/>
                </a:cxn>
                <a:cxn ang="0">
                  <a:pos x="44" y="2"/>
                </a:cxn>
                <a:cxn ang="0">
                  <a:pos x="52" y="6"/>
                </a:cxn>
                <a:cxn ang="0">
                  <a:pos x="62" y="6"/>
                </a:cxn>
                <a:cxn ang="0">
                  <a:pos x="68" y="6"/>
                </a:cxn>
                <a:cxn ang="0">
                  <a:pos x="70" y="4"/>
                </a:cxn>
                <a:cxn ang="0">
                  <a:pos x="74" y="8"/>
                </a:cxn>
                <a:cxn ang="0">
                  <a:pos x="72" y="26"/>
                </a:cxn>
                <a:cxn ang="0">
                  <a:pos x="60" y="30"/>
                </a:cxn>
                <a:cxn ang="0">
                  <a:pos x="56" y="28"/>
                </a:cxn>
                <a:cxn ang="0">
                  <a:pos x="46" y="28"/>
                </a:cxn>
                <a:cxn ang="0">
                  <a:pos x="44" y="26"/>
                </a:cxn>
                <a:cxn ang="0">
                  <a:pos x="44" y="24"/>
                </a:cxn>
                <a:cxn ang="0">
                  <a:pos x="32" y="24"/>
                </a:cxn>
                <a:cxn ang="0">
                  <a:pos x="28" y="24"/>
                </a:cxn>
                <a:cxn ang="0">
                  <a:pos x="18" y="30"/>
                </a:cxn>
              </a:cxnLst>
              <a:rect l="0" t="0" r="r" b="b"/>
              <a:pathLst>
                <a:path w="74" h="30">
                  <a:moveTo>
                    <a:pt x="18" y="30"/>
                  </a:moveTo>
                  <a:lnTo>
                    <a:pt x="18" y="30"/>
                  </a:lnTo>
                  <a:lnTo>
                    <a:pt x="18" y="26"/>
                  </a:lnTo>
                  <a:lnTo>
                    <a:pt x="18" y="24"/>
                  </a:lnTo>
                  <a:lnTo>
                    <a:pt x="16" y="22"/>
                  </a:lnTo>
                  <a:lnTo>
                    <a:pt x="14" y="24"/>
                  </a:lnTo>
                  <a:lnTo>
                    <a:pt x="14" y="24"/>
                  </a:lnTo>
                  <a:lnTo>
                    <a:pt x="14" y="26"/>
                  </a:lnTo>
                  <a:lnTo>
                    <a:pt x="12" y="26"/>
                  </a:lnTo>
                  <a:lnTo>
                    <a:pt x="10" y="24"/>
                  </a:lnTo>
                  <a:lnTo>
                    <a:pt x="10" y="22"/>
                  </a:lnTo>
                  <a:lnTo>
                    <a:pt x="10" y="22"/>
                  </a:lnTo>
                  <a:lnTo>
                    <a:pt x="8" y="20"/>
                  </a:lnTo>
                  <a:lnTo>
                    <a:pt x="6" y="20"/>
                  </a:lnTo>
                  <a:lnTo>
                    <a:pt x="4" y="18"/>
                  </a:lnTo>
                  <a:lnTo>
                    <a:pt x="4" y="16"/>
                  </a:lnTo>
                  <a:lnTo>
                    <a:pt x="4" y="16"/>
                  </a:lnTo>
                  <a:lnTo>
                    <a:pt x="6" y="16"/>
                  </a:lnTo>
                  <a:lnTo>
                    <a:pt x="8" y="14"/>
                  </a:lnTo>
                  <a:lnTo>
                    <a:pt x="8" y="14"/>
                  </a:lnTo>
                  <a:lnTo>
                    <a:pt x="2" y="14"/>
                  </a:lnTo>
                  <a:lnTo>
                    <a:pt x="0" y="12"/>
                  </a:lnTo>
                  <a:lnTo>
                    <a:pt x="0" y="10"/>
                  </a:lnTo>
                  <a:lnTo>
                    <a:pt x="0" y="10"/>
                  </a:lnTo>
                  <a:lnTo>
                    <a:pt x="2" y="8"/>
                  </a:lnTo>
                  <a:lnTo>
                    <a:pt x="0" y="8"/>
                  </a:lnTo>
                  <a:lnTo>
                    <a:pt x="0" y="6"/>
                  </a:lnTo>
                  <a:lnTo>
                    <a:pt x="4" y="6"/>
                  </a:lnTo>
                  <a:lnTo>
                    <a:pt x="4" y="6"/>
                  </a:lnTo>
                  <a:lnTo>
                    <a:pt x="8" y="4"/>
                  </a:lnTo>
                  <a:lnTo>
                    <a:pt x="10" y="4"/>
                  </a:lnTo>
                  <a:lnTo>
                    <a:pt x="10" y="2"/>
                  </a:lnTo>
                  <a:lnTo>
                    <a:pt x="14" y="2"/>
                  </a:lnTo>
                  <a:lnTo>
                    <a:pt x="14" y="2"/>
                  </a:lnTo>
                  <a:lnTo>
                    <a:pt x="16" y="2"/>
                  </a:lnTo>
                  <a:lnTo>
                    <a:pt x="16" y="2"/>
                  </a:lnTo>
                  <a:lnTo>
                    <a:pt x="18" y="0"/>
                  </a:lnTo>
                  <a:lnTo>
                    <a:pt x="20" y="2"/>
                  </a:lnTo>
                  <a:lnTo>
                    <a:pt x="20" y="2"/>
                  </a:lnTo>
                  <a:lnTo>
                    <a:pt x="22" y="2"/>
                  </a:lnTo>
                  <a:lnTo>
                    <a:pt x="24" y="0"/>
                  </a:lnTo>
                  <a:lnTo>
                    <a:pt x="24" y="0"/>
                  </a:lnTo>
                  <a:lnTo>
                    <a:pt x="28" y="0"/>
                  </a:lnTo>
                  <a:lnTo>
                    <a:pt x="28" y="0"/>
                  </a:lnTo>
                  <a:lnTo>
                    <a:pt x="30" y="0"/>
                  </a:lnTo>
                  <a:lnTo>
                    <a:pt x="30" y="0"/>
                  </a:lnTo>
                  <a:lnTo>
                    <a:pt x="32" y="0"/>
                  </a:lnTo>
                  <a:lnTo>
                    <a:pt x="34" y="0"/>
                  </a:lnTo>
                  <a:lnTo>
                    <a:pt x="34" y="0"/>
                  </a:lnTo>
                  <a:lnTo>
                    <a:pt x="38" y="2"/>
                  </a:lnTo>
                  <a:lnTo>
                    <a:pt x="38" y="2"/>
                  </a:lnTo>
                  <a:lnTo>
                    <a:pt x="40" y="0"/>
                  </a:lnTo>
                  <a:lnTo>
                    <a:pt x="44" y="2"/>
                  </a:lnTo>
                  <a:lnTo>
                    <a:pt x="44" y="2"/>
                  </a:lnTo>
                  <a:lnTo>
                    <a:pt x="48" y="6"/>
                  </a:lnTo>
                  <a:lnTo>
                    <a:pt x="52" y="6"/>
                  </a:lnTo>
                  <a:lnTo>
                    <a:pt x="56" y="6"/>
                  </a:lnTo>
                  <a:lnTo>
                    <a:pt x="62" y="6"/>
                  </a:lnTo>
                  <a:lnTo>
                    <a:pt x="62" y="6"/>
                  </a:lnTo>
                  <a:lnTo>
                    <a:pt x="68" y="6"/>
                  </a:lnTo>
                  <a:lnTo>
                    <a:pt x="70" y="4"/>
                  </a:lnTo>
                  <a:lnTo>
                    <a:pt x="70" y="4"/>
                  </a:lnTo>
                  <a:lnTo>
                    <a:pt x="74" y="6"/>
                  </a:lnTo>
                  <a:lnTo>
                    <a:pt x="74" y="8"/>
                  </a:lnTo>
                  <a:lnTo>
                    <a:pt x="72" y="12"/>
                  </a:lnTo>
                  <a:lnTo>
                    <a:pt x="72" y="26"/>
                  </a:lnTo>
                  <a:lnTo>
                    <a:pt x="72" y="26"/>
                  </a:lnTo>
                  <a:lnTo>
                    <a:pt x="60" y="30"/>
                  </a:lnTo>
                  <a:lnTo>
                    <a:pt x="60" y="30"/>
                  </a:lnTo>
                  <a:lnTo>
                    <a:pt x="56" y="28"/>
                  </a:lnTo>
                  <a:lnTo>
                    <a:pt x="50" y="28"/>
                  </a:lnTo>
                  <a:lnTo>
                    <a:pt x="46" y="28"/>
                  </a:lnTo>
                  <a:lnTo>
                    <a:pt x="44" y="28"/>
                  </a:lnTo>
                  <a:lnTo>
                    <a:pt x="44" y="26"/>
                  </a:lnTo>
                  <a:lnTo>
                    <a:pt x="44" y="26"/>
                  </a:lnTo>
                  <a:lnTo>
                    <a:pt x="44" y="24"/>
                  </a:lnTo>
                  <a:lnTo>
                    <a:pt x="42" y="24"/>
                  </a:lnTo>
                  <a:lnTo>
                    <a:pt x="32" y="24"/>
                  </a:lnTo>
                  <a:lnTo>
                    <a:pt x="32" y="24"/>
                  </a:lnTo>
                  <a:lnTo>
                    <a:pt x="28" y="24"/>
                  </a:lnTo>
                  <a:lnTo>
                    <a:pt x="24" y="24"/>
                  </a:lnTo>
                  <a:lnTo>
                    <a:pt x="18" y="30"/>
                  </a:lnTo>
                  <a:lnTo>
                    <a:pt x="18" y="3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0" name="Finland"/>
            <p:cNvSpPr>
              <a:spLocks/>
            </p:cNvSpPr>
            <p:nvPr/>
          </p:nvSpPr>
          <p:spPr bwMode="auto">
            <a:xfrm>
              <a:off x="4557413" y="1599406"/>
              <a:ext cx="248708" cy="211667"/>
            </a:xfrm>
            <a:custGeom>
              <a:avLst/>
              <a:gdLst/>
              <a:ahLst/>
              <a:cxnLst>
                <a:cxn ang="0">
                  <a:pos x="130" y="144"/>
                </a:cxn>
                <a:cxn ang="0">
                  <a:pos x="108" y="148"/>
                </a:cxn>
                <a:cxn ang="0">
                  <a:pos x="94" y="150"/>
                </a:cxn>
                <a:cxn ang="0">
                  <a:pos x="82" y="150"/>
                </a:cxn>
                <a:cxn ang="0">
                  <a:pos x="68" y="156"/>
                </a:cxn>
                <a:cxn ang="0">
                  <a:pos x="58" y="156"/>
                </a:cxn>
                <a:cxn ang="0">
                  <a:pos x="52" y="152"/>
                </a:cxn>
                <a:cxn ang="0">
                  <a:pos x="44" y="148"/>
                </a:cxn>
                <a:cxn ang="0">
                  <a:pos x="38" y="146"/>
                </a:cxn>
                <a:cxn ang="0">
                  <a:pos x="34" y="136"/>
                </a:cxn>
                <a:cxn ang="0">
                  <a:pos x="32" y="130"/>
                </a:cxn>
                <a:cxn ang="0">
                  <a:pos x="30" y="124"/>
                </a:cxn>
                <a:cxn ang="0">
                  <a:pos x="28" y="120"/>
                </a:cxn>
                <a:cxn ang="0">
                  <a:pos x="30" y="116"/>
                </a:cxn>
                <a:cxn ang="0">
                  <a:pos x="28" y="112"/>
                </a:cxn>
                <a:cxn ang="0">
                  <a:pos x="34" y="110"/>
                </a:cxn>
                <a:cxn ang="0">
                  <a:pos x="34" y="108"/>
                </a:cxn>
                <a:cxn ang="0">
                  <a:pos x="40" y="106"/>
                </a:cxn>
                <a:cxn ang="0">
                  <a:pos x="48" y="102"/>
                </a:cxn>
                <a:cxn ang="0">
                  <a:pos x="56" y="98"/>
                </a:cxn>
                <a:cxn ang="0">
                  <a:pos x="60" y="96"/>
                </a:cxn>
                <a:cxn ang="0">
                  <a:pos x="66" y="94"/>
                </a:cxn>
                <a:cxn ang="0">
                  <a:pos x="80" y="84"/>
                </a:cxn>
                <a:cxn ang="0">
                  <a:pos x="88" y="84"/>
                </a:cxn>
                <a:cxn ang="0">
                  <a:pos x="86" y="78"/>
                </a:cxn>
                <a:cxn ang="0">
                  <a:pos x="70" y="72"/>
                </a:cxn>
                <a:cxn ang="0">
                  <a:pos x="60" y="66"/>
                </a:cxn>
                <a:cxn ang="0">
                  <a:pos x="54" y="54"/>
                </a:cxn>
                <a:cxn ang="0">
                  <a:pos x="46" y="42"/>
                </a:cxn>
                <a:cxn ang="0">
                  <a:pos x="42" y="36"/>
                </a:cxn>
                <a:cxn ang="0">
                  <a:pos x="8" y="26"/>
                </a:cxn>
                <a:cxn ang="0">
                  <a:pos x="2" y="18"/>
                </a:cxn>
                <a:cxn ang="0">
                  <a:pos x="8" y="14"/>
                </a:cxn>
                <a:cxn ang="0">
                  <a:pos x="36" y="24"/>
                </a:cxn>
                <a:cxn ang="0">
                  <a:pos x="54" y="26"/>
                </a:cxn>
                <a:cxn ang="0">
                  <a:pos x="68" y="32"/>
                </a:cxn>
                <a:cxn ang="0">
                  <a:pos x="80" y="22"/>
                </a:cxn>
                <a:cxn ang="0">
                  <a:pos x="84" y="12"/>
                </a:cxn>
                <a:cxn ang="0">
                  <a:pos x="102" y="2"/>
                </a:cxn>
                <a:cxn ang="0">
                  <a:pos x="112" y="2"/>
                </a:cxn>
                <a:cxn ang="0">
                  <a:pos x="124" y="10"/>
                </a:cxn>
                <a:cxn ang="0">
                  <a:pos x="124" y="20"/>
                </a:cxn>
                <a:cxn ang="0">
                  <a:pos x="132" y="30"/>
                </a:cxn>
                <a:cxn ang="0">
                  <a:pos x="142" y="40"/>
                </a:cxn>
                <a:cxn ang="0">
                  <a:pos x="150" y="54"/>
                </a:cxn>
                <a:cxn ang="0">
                  <a:pos x="158" y="66"/>
                </a:cxn>
                <a:cxn ang="0">
                  <a:pos x="164" y="76"/>
                </a:cxn>
                <a:cxn ang="0">
                  <a:pos x="164" y="84"/>
                </a:cxn>
                <a:cxn ang="0">
                  <a:pos x="170" y="94"/>
                </a:cxn>
                <a:cxn ang="0">
                  <a:pos x="188" y="108"/>
                </a:cxn>
                <a:cxn ang="0">
                  <a:pos x="180" y="120"/>
                </a:cxn>
                <a:cxn ang="0">
                  <a:pos x="172" y="126"/>
                </a:cxn>
                <a:cxn ang="0">
                  <a:pos x="148" y="142"/>
                </a:cxn>
              </a:cxnLst>
              <a:rect l="0" t="0" r="r" b="b"/>
              <a:pathLst>
                <a:path w="188" h="160">
                  <a:moveTo>
                    <a:pt x="148" y="146"/>
                  </a:moveTo>
                  <a:lnTo>
                    <a:pt x="148" y="146"/>
                  </a:lnTo>
                  <a:lnTo>
                    <a:pt x="138" y="146"/>
                  </a:lnTo>
                  <a:lnTo>
                    <a:pt x="132" y="146"/>
                  </a:lnTo>
                  <a:lnTo>
                    <a:pt x="130" y="144"/>
                  </a:lnTo>
                  <a:lnTo>
                    <a:pt x="126" y="146"/>
                  </a:lnTo>
                  <a:lnTo>
                    <a:pt x="126" y="146"/>
                  </a:lnTo>
                  <a:lnTo>
                    <a:pt x="118" y="148"/>
                  </a:lnTo>
                  <a:lnTo>
                    <a:pt x="112" y="148"/>
                  </a:lnTo>
                  <a:lnTo>
                    <a:pt x="108" y="148"/>
                  </a:lnTo>
                  <a:lnTo>
                    <a:pt x="104" y="148"/>
                  </a:lnTo>
                  <a:lnTo>
                    <a:pt x="104" y="148"/>
                  </a:lnTo>
                  <a:lnTo>
                    <a:pt x="100" y="150"/>
                  </a:lnTo>
                  <a:lnTo>
                    <a:pt x="96" y="150"/>
                  </a:lnTo>
                  <a:lnTo>
                    <a:pt x="94" y="150"/>
                  </a:lnTo>
                  <a:lnTo>
                    <a:pt x="92" y="152"/>
                  </a:lnTo>
                  <a:lnTo>
                    <a:pt x="92" y="152"/>
                  </a:lnTo>
                  <a:lnTo>
                    <a:pt x="90" y="152"/>
                  </a:lnTo>
                  <a:lnTo>
                    <a:pt x="86" y="152"/>
                  </a:lnTo>
                  <a:lnTo>
                    <a:pt x="82" y="150"/>
                  </a:lnTo>
                  <a:lnTo>
                    <a:pt x="78" y="150"/>
                  </a:lnTo>
                  <a:lnTo>
                    <a:pt x="78" y="150"/>
                  </a:lnTo>
                  <a:lnTo>
                    <a:pt x="72" y="154"/>
                  </a:lnTo>
                  <a:lnTo>
                    <a:pt x="70" y="154"/>
                  </a:lnTo>
                  <a:lnTo>
                    <a:pt x="68" y="156"/>
                  </a:lnTo>
                  <a:lnTo>
                    <a:pt x="68" y="156"/>
                  </a:lnTo>
                  <a:lnTo>
                    <a:pt x="62" y="158"/>
                  </a:lnTo>
                  <a:lnTo>
                    <a:pt x="56" y="160"/>
                  </a:lnTo>
                  <a:lnTo>
                    <a:pt x="56" y="160"/>
                  </a:lnTo>
                  <a:lnTo>
                    <a:pt x="58" y="156"/>
                  </a:lnTo>
                  <a:lnTo>
                    <a:pt x="58" y="154"/>
                  </a:lnTo>
                  <a:lnTo>
                    <a:pt x="56" y="154"/>
                  </a:lnTo>
                  <a:lnTo>
                    <a:pt x="56" y="154"/>
                  </a:lnTo>
                  <a:lnTo>
                    <a:pt x="52" y="154"/>
                  </a:lnTo>
                  <a:lnTo>
                    <a:pt x="52" y="152"/>
                  </a:lnTo>
                  <a:lnTo>
                    <a:pt x="52" y="146"/>
                  </a:lnTo>
                  <a:lnTo>
                    <a:pt x="52" y="146"/>
                  </a:lnTo>
                  <a:lnTo>
                    <a:pt x="46" y="150"/>
                  </a:lnTo>
                  <a:lnTo>
                    <a:pt x="44" y="150"/>
                  </a:lnTo>
                  <a:lnTo>
                    <a:pt x="44" y="148"/>
                  </a:lnTo>
                  <a:lnTo>
                    <a:pt x="44" y="146"/>
                  </a:lnTo>
                  <a:lnTo>
                    <a:pt x="42" y="144"/>
                  </a:lnTo>
                  <a:lnTo>
                    <a:pt x="40" y="144"/>
                  </a:lnTo>
                  <a:lnTo>
                    <a:pt x="40" y="144"/>
                  </a:lnTo>
                  <a:lnTo>
                    <a:pt x="38" y="146"/>
                  </a:lnTo>
                  <a:lnTo>
                    <a:pt x="36" y="144"/>
                  </a:lnTo>
                  <a:lnTo>
                    <a:pt x="36" y="142"/>
                  </a:lnTo>
                  <a:lnTo>
                    <a:pt x="36" y="138"/>
                  </a:lnTo>
                  <a:lnTo>
                    <a:pt x="36" y="138"/>
                  </a:lnTo>
                  <a:lnTo>
                    <a:pt x="34" y="136"/>
                  </a:lnTo>
                  <a:lnTo>
                    <a:pt x="34" y="134"/>
                  </a:lnTo>
                  <a:lnTo>
                    <a:pt x="36" y="134"/>
                  </a:lnTo>
                  <a:lnTo>
                    <a:pt x="34" y="132"/>
                  </a:lnTo>
                  <a:lnTo>
                    <a:pt x="34" y="132"/>
                  </a:lnTo>
                  <a:lnTo>
                    <a:pt x="32" y="130"/>
                  </a:lnTo>
                  <a:lnTo>
                    <a:pt x="30" y="128"/>
                  </a:lnTo>
                  <a:lnTo>
                    <a:pt x="30" y="128"/>
                  </a:lnTo>
                  <a:lnTo>
                    <a:pt x="30" y="126"/>
                  </a:lnTo>
                  <a:lnTo>
                    <a:pt x="30" y="126"/>
                  </a:lnTo>
                  <a:lnTo>
                    <a:pt x="30" y="124"/>
                  </a:lnTo>
                  <a:lnTo>
                    <a:pt x="28" y="124"/>
                  </a:lnTo>
                  <a:lnTo>
                    <a:pt x="28" y="124"/>
                  </a:lnTo>
                  <a:lnTo>
                    <a:pt x="28" y="122"/>
                  </a:lnTo>
                  <a:lnTo>
                    <a:pt x="28" y="122"/>
                  </a:lnTo>
                  <a:lnTo>
                    <a:pt x="28" y="120"/>
                  </a:lnTo>
                  <a:lnTo>
                    <a:pt x="28" y="118"/>
                  </a:lnTo>
                  <a:lnTo>
                    <a:pt x="28" y="118"/>
                  </a:lnTo>
                  <a:lnTo>
                    <a:pt x="28" y="118"/>
                  </a:lnTo>
                  <a:lnTo>
                    <a:pt x="28" y="116"/>
                  </a:lnTo>
                  <a:lnTo>
                    <a:pt x="30" y="116"/>
                  </a:lnTo>
                  <a:lnTo>
                    <a:pt x="28" y="116"/>
                  </a:lnTo>
                  <a:lnTo>
                    <a:pt x="28" y="116"/>
                  </a:lnTo>
                  <a:lnTo>
                    <a:pt x="26" y="114"/>
                  </a:lnTo>
                  <a:lnTo>
                    <a:pt x="26" y="112"/>
                  </a:lnTo>
                  <a:lnTo>
                    <a:pt x="28" y="112"/>
                  </a:lnTo>
                  <a:lnTo>
                    <a:pt x="30" y="112"/>
                  </a:lnTo>
                  <a:lnTo>
                    <a:pt x="30" y="112"/>
                  </a:lnTo>
                  <a:lnTo>
                    <a:pt x="32" y="112"/>
                  </a:lnTo>
                  <a:lnTo>
                    <a:pt x="32" y="112"/>
                  </a:lnTo>
                  <a:lnTo>
                    <a:pt x="34" y="110"/>
                  </a:lnTo>
                  <a:lnTo>
                    <a:pt x="32" y="110"/>
                  </a:lnTo>
                  <a:lnTo>
                    <a:pt x="32" y="110"/>
                  </a:lnTo>
                  <a:lnTo>
                    <a:pt x="30" y="108"/>
                  </a:lnTo>
                  <a:lnTo>
                    <a:pt x="32" y="108"/>
                  </a:lnTo>
                  <a:lnTo>
                    <a:pt x="34" y="108"/>
                  </a:lnTo>
                  <a:lnTo>
                    <a:pt x="34" y="108"/>
                  </a:lnTo>
                  <a:lnTo>
                    <a:pt x="38" y="106"/>
                  </a:lnTo>
                  <a:lnTo>
                    <a:pt x="38" y="106"/>
                  </a:lnTo>
                  <a:lnTo>
                    <a:pt x="38" y="106"/>
                  </a:lnTo>
                  <a:lnTo>
                    <a:pt x="40" y="106"/>
                  </a:lnTo>
                  <a:lnTo>
                    <a:pt x="42" y="104"/>
                  </a:lnTo>
                  <a:lnTo>
                    <a:pt x="44" y="102"/>
                  </a:lnTo>
                  <a:lnTo>
                    <a:pt x="46" y="102"/>
                  </a:lnTo>
                  <a:lnTo>
                    <a:pt x="46" y="102"/>
                  </a:lnTo>
                  <a:lnTo>
                    <a:pt x="48" y="102"/>
                  </a:lnTo>
                  <a:lnTo>
                    <a:pt x="50" y="100"/>
                  </a:lnTo>
                  <a:lnTo>
                    <a:pt x="50" y="98"/>
                  </a:lnTo>
                  <a:lnTo>
                    <a:pt x="54" y="98"/>
                  </a:lnTo>
                  <a:lnTo>
                    <a:pt x="54" y="98"/>
                  </a:lnTo>
                  <a:lnTo>
                    <a:pt x="56" y="98"/>
                  </a:lnTo>
                  <a:lnTo>
                    <a:pt x="56" y="98"/>
                  </a:lnTo>
                  <a:lnTo>
                    <a:pt x="58" y="96"/>
                  </a:lnTo>
                  <a:lnTo>
                    <a:pt x="58" y="96"/>
                  </a:lnTo>
                  <a:lnTo>
                    <a:pt x="58" y="96"/>
                  </a:lnTo>
                  <a:lnTo>
                    <a:pt x="60" y="96"/>
                  </a:lnTo>
                  <a:lnTo>
                    <a:pt x="60" y="94"/>
                  </a:lnTo>
                  <a:lnTo>
                    <a:pt x="62" y="94"/>
                  </a:lnTo>
                  <a:lnTo>
                    <a:pt x="64" y="94"/>
                  </a:lnTo>
                  <a:lnTo>
                    <a:pt x="64" y="94"/>
                  </a:lnTo>
                  <a:lnTo>
                    <a:pt x="66" y="94"/>
                  </a:lnTo>
                  <a:lnTo>
                    <a:pt x="68" y="92"/>
                  </a:lnTo>
                  <a:lnTo>
                    <a:pt x="72" y="90"/>
                  </a:lnTo>
                  <a:lnTo>
                    <a:pt x="72" y="90"/>
                  </a:lnTo>
                  <a:lnTo>
                    <a:pt x="76" y="88"/>
                  </a:lnTo>
                  <a:lnTo>
                    <a:pt x="80" y="84"/>
                  </a:lnTo>
                  <a:lnTo>
                    <a:pt x="80" y="84"/>
                  </a:lnTo>
                  <a:lnTo>
                    <a:pt x="82" y="82"/>
                  </a:lnTo>
                  <a:lnTo>
                    <a:pt x="84" y="84"/>
                  </a:lnTo>
                  <a:lnTo>
                    <a:pt x="84" y="84"/>
                  </a:lnTo>
                  <a:lnTo>
                    <a:pt x="88" y="84"/>
                  </a:lnTo>
                  <a:lnTo>
                    <a:pt x="88" y="84"/>
                  </a:lnTo>
                  <a:lnTo>
                    <a:pt x="88" y="84"/>
                  </a:lnTo>
                  <a:lnTo>
                    <a:pt x="88" y="82"/>
                  </a:lnTo>
                  <a:lnTo>
                    <a:pt x="86" y="80"/>
                  </a:lnTo>
                  <a:lnTo>
                    <a:pt x="86" y="78"/>
                  </a:lnTo>
                  <a:lnTo>
                    <a:pt x="86" y="78"/>
                  </a:lnTo>
                  <a:lnTo>
                    <a:pt x="84" y="76"/>
                  </a:lnTo>
                  <a:lnTo>
                    <a:pt x="82" y="74"/>
                  </a:lnTo>
                  <a:lnTo>
                    <a:pt x="76" y="72"/>
                  </a:lnTo>
                  <a:lnTo>
                    <a:pt x="70" y="72"/>
                  </a:lnTo>
                  <a:lnTo>
                    <a:pt x="66" y="70"/>
                  </a:lnTo>
                  <a:lnTo>
                    <a:pt x="66" y="70"/>
                  </a:lnTo>
                  <a:lnTo>
                    <a:pt x="62" y="68"/>
                  </a:lnTo>
                  <a:lnTo>
                    <a:pt x="60" y="66"/>
                  </a:lnTo>
                  <a:lnTo>
                    <a:pt x="60" y="66"/>
                  </a:lnTo>
                  <a:lnTo>
                    <a:pt x="56" y="64"/>
                  </a:lnTo>
                  <a:lnTo>
                    <a:pt x="56" y="64"/>
                  </a:lnTo>
                  <a:lnTo>
                    <a:pt x="56" y="60"/>
                  </a:lnTo>
                  <a:lnTo>
                    <a:pt x="56" y="56"/>
                  </a:lnTo>
                  <a:lnTo>
                    <a:pt x="54" y="54"/>
                  </a:lnTo>
                  <a:lnTo>
                    <a:pt x="50" y="50"/>
                  </a:lnTo>
                  <a:lnTo>
                    <a:pt x="50" y="50"/>
                  </a:lnTo>
                  <a:lnTo>
                    <a:pt x="46" y="46"/>
                  </a:lnTo>
                  <a:lnTo>
                    <a:pt x="46" y="44"/>
                  </a:lnTo>
                  <a:lnTo>
                    <a:pt x="46" y="42"/>
                  </a:lnTo>
                  <a:lnTo>
                    <a:pt x="44" y="42"/>
                  </a:lnTo>
                  <a:lnTo>
                    <a:pt x="44" y="42"/>
                  </a:lnTo>
                  <a:lnTo>
                    <a:pt x="42" y="40"/>
                  </a:lnTo>
                  <a:lnTo>
                    <a:pt x="42" y="38"/>
                  </a:lnTo>
                  <a:lnTo>
                    <a:pt x="42" y="36"/>
                  </a:lnTo>
                  <a:lnTo>
                    <a:pt x="36" y="32"/>
                  </a:lnTo>
                  <a:lnTo>
                    <a:pt x="36" y="32"/>
                  </a:lnTo>
                  <a:lnTo>
                    <a:pt x="28" y="28"/>
                  </a:lnTo>
                  <a:lnTo>
                    <a:pt x="18" y="28"/>
                  </a:lnTo>
                  <a:lnTo>
                    <a:pt x="8" y="26"/>
                  </a:lnTo>
                  <a:lnTo>
                    <a:pt x="4" y="24"/>
                  </a:lnTo>
                  <a:lnTo>
                    <a:pt x="0" y="20"/>
                  </a:lnTo>
                  <a:lnTo>
                    <a:pt x="0" y="20"/>
                  </a:lnTo>
                  <a:lnTo>
                    <a:pt x="2" y="20"/>
                  </a:lnTo>
                  <a:lnTo>
                    <a:pt x="2" y="18"/>
                  </a:lnTo>
                  <a:lnTo>
                    <a:pt x="2" y="18"/>
                  </a:lnTo>
                  <a:lnTo>
                    <a:pt x="2" y="16"/>
                  </a:lnTo>
                  <a:lnTo>
                    <a:pt x="2" y="16"/>
                  </a:lnTo>
                  <a:lnTo>
                    <a:pt x="6" y="14"/>
                  </a:lnTo>
                  <a:lnTo>
                    <a:pt x="8" y="14"/>
                  </a:lnTo>
                  <a:lnTo>
                    <a:pt x="10" y="16"/>
                  </a:lnTo>
                  <a:lnTo>
                    <a:pt x="10" y="16"/>
                  </a:lnTo>
                  <a:lnTo>
                    <a:pt x="14" y="18"/>
                  </a:lnTo>
                  <a:lnTo>
                    <a:pt x="20" y="20"/>
                  </a:lnTo>
                  <a:lnTo>
                    <a:pt x="36" y="24"/>
                  </a:lnTo>
                  <a:lnTo>
                    <a:pt x="36" y="24"/>
                  </a:lnTo>
                  <a:lnTo>
                    <a:pt x="46" y="26"/>
                  </a:lnTo>
                  <a:lnTo>
                    <a:pt x="52" y="26"/>
                  </a:lnTo>
                  <a:lnTo>
                    <a:pt x="54" y="26"/>
                  </a:lnTo>
                  <a:lnTo>
                    <a:pt x="54" y="26"/>
                  </a:lnTo>
                  <a:lnTo>
                    <a:pt x="56" y="22"/>
                  </a:lnTo>
                  <a:lnTo>
                    <a:pt x="58" y="24"/>
                  </a:lnTo>
                  <a:lnTo>
                    <a:pt x="58" y="24"/>
                  </a:lnTo>
                  <a:lnTo>
                    <a:pt x="66" y="30"/>
                  </a:lnTo>
                  <a:lnTo>
                    <a:pt x="68" y="32"/>
                  </a:lnTo>
                  <a:lnTo>
                    <a:pt x="72" y="30"/>
                  </a:lnTo>
                  <a:lnTo>
                    <a:pt x="72" y="30"/>
                  </a:lnTo>
                  <a:lnTo>
                    <a:pt x="74" y="24"/>
                  </a:lnTo>
                  <a:lnTo>
                    <a:pt x="80" y="22"/>
                  </a:lnTo>
                  <a:lnTo>
                    <a:pt x="80" y="22"/>
                  </a:lnTo>
                  <a:lnTo>
                    <a:pt x="82" y="20"/>
                  </a:lnTo>
                  <a:lnTo>
                    <a:pt x="82" y="18"/>
                  </a:lnTo>
                  <a:lnTo>
                    <a:pt x="82" y="18"/>
                  </a:lnTo>
                  <a:lnTo>
                    <a:pt x="80" y="14"/>
                  </a:lnTo>
                  <a:lnTo>
                    <a:pt x="84" y="12"/>
                  </a:lnTo>
                  <a:lnTo>
                    <a:pt x="92" y="6"/>
                  </a:lnTo>
                  <a:lnTo>
                    <a:pt x="92" y="6"/>
                  </a:lnTo>
                  <a:lnTo>
                    <a:pt x="94" y="4"/>
                  </a:lnTo>
                  <a:lnTo>
                    <a:pt x="96" y="4"/>
                  </a:lnTo>
                  <a:lnTo>
                    <a:pt x="102" y="2"/>
                  </a:lnTo>
                  <a:lnTo>
                    <a:pt x="102" y="2"/>
                  </a:lnTo>
                  <a:lnTo>
                    <a:pt x="108" y="0"/>
                  </a:lnTo>
                  <a:lnTo>
                    <a:pt x="110" y="0"/>
                  </a:lnTo>
                  <a:lnTo>
                    <a:pt x="112" y="2"/>
                  </a:lnTo>
                  <a:lnTo>
                    <a:pt x="112" y="2"/>
                  </a:lnTo>
                  <a:lnTo>
                    <a:pt x="112" y="4"/>
                  </a:lnTo>
                  <a:lnTo>
                    <a:pt x="116" y="6"/>
                  </a:lnTo>
                  <a:lnTo>
                    <a:pt x="122" y="8"/>
                  </a:lnTo>
                  <a:lnTo>
                    <a:pt x="122" y="8"/>
                  </a:lnTo>
                  <a:lnTo>
                    <a:pt x="124" y="10"/>
                  </a:lnTo>
                  <a:lnTo>
                    <a:pt x="124" y="12"/>
                  </a:lnTo>
                  <a:lnTo>
                    <a:pt x="122" y="16"/>
                  </a:lnTo>
                  <a:lnTo>
                    <a:pt x="122" y="18"/>
                  </a:lnTo>
                  <a:lnTo>
                    <a:pt x="122" y="18"/>
                  </a:lnTo>
                  <a:lnTo>
                    <a:pt x="124" y="20"/>
                  </a:lnTo>
                  <a:lnTo>
                    <a:pt x="124" y="22"/>
                  </a:lnTo>
                  <a:lnTo>
                    <a:pt x="126" y="26"/>
                  </a:lnTo>
                  <a:lnTo>
                    <a:pt x="126" y="26"/>
                  </a:lnTo>
                  <a:lnTo>
                    <a:pt x="128" y="30"/>
                  </a:lnTo>
                  <a:lnTo>
                    <a:pt x="132" y="30"/>
                  </a:lnTo>
                  <a:lnTo>
                    <a:pt x="134" y="30"/>
                  </a:lnTo>
                  <a:lnTo>
                    <a:pt x="138" y="34"/>
                  </a:lnTo>
                  <a:lnTo>
                    <a:pt x="138" y="34"/>
                  </a:lnTo>
                  <a:lnTo>
                    <a:pt x="142" y="38"/>
                  </a:lnTo>
                  <a:lnTo>
                    <a:pt x="142" y="40"/>
                  </a:lnTo>
                  <a:lnTo>
                    <a:pt x="142" y="44"/>
                  </a:lnTo>
                  <a:lnTo>
                    <a:pt x="142" y="46"/>
                  </a:lnTo>
                  <a:lnTo>
                    <a:pt x="142" y="48"/>
                  </a:lnTo>
                  <a:lnTo>
                    <a:pt x="150" y="54"/>
                  </a:lnTo>
                  <a:lnTo>
                    <a:pt x="150" y="54"/>
                  </a:lnTo>
                  <a:lnTo>
                    <a:pt x="158" y="60"/>
                  </a:lnTo>
                  <a:lnTo>
                    <a:pt x="160" y="64"/>
                  </a:lnTo>
                  <a:lnTo>
                    <a:pt x="160" y="66"/>
                  </a:lnTo>
                  <a:lnTo>
                    <a:pt x="158" y="66"/>
                  </a:lnTo>
                  <a:lnTo>
                    <a:pt x="158" y="66"/>
                  </a:lnTo>
                  <a:lnTo>
                    <a:pt x="156" y="68"/>
                  </a:lnTo>
                  <a:lnTo>
                    <a:pt x="158" y="70"/>
                  </a:lnTo>
                  <a:lnTo>
                    <a:pt x="160" y="74"/>
                  </a:lnTo>
                  <a:lnTo>
                    <a:pt x="164" y="76"/>
                  </a:lnTo>
                  <a:lnTo>
                    <a:pt x="164" y="76"/>
                  </a:lnTo>
                  <a:lnTo>
                    <a:pt x="166" y="78"/>
                  </a:lnTo>
                  <a:lnTo>
                    <a:pt x="162" y="80"/>
                  </a:lnTo>
                  <a:lnTo>
                    <a:pt x="162" y="82"/>
                  </a:lnTo>
                  <a:lnTo>
                    <a:pt x="164" y="84"/>
                  </a:lnTo>
                  <a:lnTo>
                    <a:pt x="164" y="84"/>
                  </a:lnTo>
                  <a:lnTo>
                    <a:pt x="172" y="88"/>
                  </a:lnTo>
                  <a:lnTo>
                    <a:pt x="174" y="90"/>
                  </a:lnTo>
                  <a:lnTo>
                    <a:pt x="174" y="92"/>
                  </a:lnTo>
                  <a:lnTo>
                    <a:pt x="172" y="94"/>
                  </a:lnTo>
                  <a:lnTo>
                    <a:pt x="170" y="94"/>
                  </a:lnTo>
                  <a:lnTo>
                    <a:pt x="170" y="96"/>
                  </a:lnTo>
                  <a:lnTo>
                    <a:pt x="180" y="100"/>
                  </a:lnTo>
                  <a:lnTo>
                    <a:pt x="180" y="100"/>
                  </a:lnTo>
                  <a:lnTo>
                    <a:pt x="188" y="104"/>
                  </a:lnTo>
                  <a:lnTo>
                    <a:pt x="188" y="108"/>
                  </a:lnTo>
                  <a:lnTo>
                    <a:pt x="186" y="112"/>
                  </a:lnTo>
                  <a:lnTo>
                    <a:pt x="182" y="116"/>
                  </a:lnTo>
                  <a:lnTo>
                    <a:pt x="182" y="116"/>
                  </a:lnTo>
                  <a:lnTo>
                    <a:pt x="180" y="118"/>
                  </a:lnTo>
                  <a:lnTo>
                    <a:pt x="180" y="120"/>
                  </a:lnTo>
                  <a:lnTo>
                    <a:pt x="180" y="122"/>
                  </a:lnTo>
                  <a:lnTo>
                    <a:pt x="178" y="122"/>
                  </a:lnTo>
                  <a:lnTo>
                    <a:pt x="178" y="122"/>
                  </a:lnTo>
                  <a:lnTo>
                    <a:pt x="174" y="122"/>
                  </a:lnTo>
                  <a:lnTo>
                    <a:pt x="172" y="126"/>
                  </a:lnTo>
                  <a:lnTo>
                    <a:pt x="168" y="130"/>
                  </a:lnTo>
                  <a:lnTo>
                    <a:pt x="160" y="134"/>
                  </a:lnTo>
                  <a:lnTo>
                    <a:pt x="160" y="134"/>
                  </a:lnTo>
                  <a:lnTo>
                    <a:pt x="152" y="140"/>
                  </a:lnTo>
                  <a:lnTo>
                    <a:pt x="148" y="142"/>
                  </a:lnTo>
                  <a:lnTo>
                    <a:pt x="148" y="146"/>
                  </a:lnTo>
                  <a:lnTo>
                    <a:pt x="148" y="146"/>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1" name="France"/>
            <p:cNvSpPr>
              <a:spLocks/>
            </p:cNvSpPr>
            <p:nvPr/>
          </p:nvSpPr>
          <p:spPr bwMode="auto">
            <a:xfrm>
              <a:off x="4036184" y="2017448"/>
              <a:ext cx="293688" cy="230188"/>
            </a:xfrm>
            <a:custGeom>
              <a:avLst/>
              <a:gdLst/>
              <a:ahLst/>
              <a:cxnLst>
                <a:cxn ang="0">
                  <a:pos x="210" y="152"/>
                </a:cxn>
                <a:cxn ang="0">
                  <a:pos x="196" y="160"/>
                </a:cxn>
                <a:cxn ang="0">
                  <a:pos x="180" y="152"/>
                </a:cxn>
                <a:cxn ang="0">
                  <a:pos x="168" y="154"/>
                </a:cxn>
                <a:cxn ang="0">
                  <a:pos x="146" y="164"/>
                </a:cxn>
                <a:cxn ang="0">
                  <a:pos x="136" y="172"/>
                </a:cxn>
                <a:cxn ang="0">
                  <a:pos x="120" y="172"/>
                </a:cxn>
                <a:cxn ang="0">
                  <a:pos x="108" y="172"/>
                </a:cxn>
                <a:cxn ang="0">
                  <a:pos x="94" y="172"/>
                </a:cxn>
                <a:cxn ang="0">
                  <a:pos x="74" y="164"/>
                </a:cxn>
                <a:cxn ang="0">
                  <a:pos x="60" y="160"/>
                </a:cxn>
                <a:cxn ang="0">
                  <a:pos x="50" y="154"/>
                </a:cxn>
                <a:cxn ang="0">
                  <a:pos x="62" y="132"/>
                </a:cxn>
                <a:cxn ang="0">
                  <a:pos x="74" y="120"/>
                </a:cxn>
                <a:cxn ang="0">
                  <a:pos x="68" y="100"/>
                </a:cxn>
                <a:cxn ang="0">
                  <a:pos x="66" y="96"/>
                </a:cxn>
                <a:cxn ang="0">
                  <a:pos x="48" y="82"/>
                </a:cxn>
                <a:cxn ang="0">
                  <a:pos x="48" y="76"/>
                </a:cxn>
                <a:cxn ang="0">
                  <a:pos x="44" y="72"/>
                </a:cxn>
                <a:cxn ang="0">
                  <a:pos x="36" y="66"/>
                </a:cxn>
                <a:cxn ang="0">
                  <a:pos x="26" y="66"/>
                </a:cxn>
                <a:cxn ang="0">
                  <a:pos x="8" y="62"/>
                </a:cxn>
                <a:cxn ang="0">
                  <a:pos x="4" y="56"/>
                </a:cxn>
                <a:cxn ang="0">
                  <a:pos x="6" y="52"/>
                </a:cxn>
                <a:cxn ang="0">
                  <a:pos x="0" y="46"/>
                </a:cxn>
                <a:cxn ang="0">
                  <a:pos x="16" y="44"/>
                </a:cxn>
                <a:cxn ang="0">
                  <a:pos x="30" y="44"/>
                </a:cxn>
                <a:cxn ang="0">
                  <a:pos x="40" y="44"/>
                </a:cxn>
                <a:cxn ang="0">
                  <a:pos x="54" y="46"/>
                </a:cxn>
                <a:cxn ang="0">
                  <a:pos x="54" y="34"/>
                </a:cxn>
                <a:cxn ang="0">
                  <a:pos x="54" y="24"/>
                </a:cxn>
                <a:cxn ang="0">
                  <a:pos x="64" y="30"/>
                </a:cxn>
                <a:cxn ang="0">
                  <a:pos x="72" y="32"/>
                </a:cxn>
                <a:cxn ang="0">
                  <a:pos x="86" y="30"/>
                </a:cxn>
                <a:cxn ang="0">
                  <a:pos x="92" y="22"/>
                </a:cxn>
                <a:cxn ang="0">
                  <a:pos x="112" y="14"/>
                </a:cxn>
                <a:cxn ang="0">
                  <a:pos x="116" y="4"/>
                </a:cxn>
                <a:cxn ang="0">
                  <a:pos x="132" y="4"/>
                </a:cxn>
                <a:cxn ang="0">
                  <a:pos x="148" y="10"/>
                </a:cxn>
                <a:cxn ang="0">
                  <a:pos x="156" y="18"/>
                </a:cxn>
                <a:cxn ang="0">
                  <a:pos x="162" y="16"/>
                </a:cxn>
                <a:cxn ang="0">
                  <a:pos x="170" y="28"/>
                </a:cxn>
                <a:cxn ang="0">
                  <a:pos x="176" y="26"/>
                </a:cxn>
                <a:cxn ang="0">
                  <a:pos x="194" y="30"/>
                </a:cxn>
                <a:cxn ang="0">
                  <a:pos x="214" y="38"/>
                </a:cxn>
                <a:cxn ang="0">
                  <a:pos x="214" y="56"/>
                </a:cxn>
                <a:cxn ang="0">
                  <a:pos x="212" y="68"/>
                </a:cxn>
                <a:cxn ang="0">
                  <a:pos x="204" y="70"/>
                </a:cxn>
                <a:cxn ang="0">
                  <a:pos x="192" y="80"/>
                </a:cxn>
                <a:cxn ang="0">
                  <a:pos x="194" y="94"/>
                </a:cxn>
                <a:cxn ang="0">
                  <a:pos x="206" y="98"/>
                </a:cxn>
                <a:cxn ang="0">
                  <a:pos x="210" y="110"/>
                </a:cxn>
                <a:cxn ang="0">
                  <a:pos x="206" y="118"/>
                </a:cxn>
                <a:cxn ang="0">
                  <a:pos x="210" y="132"/>
                </a:cxn>
                <a:cxn ang="0">
                  <a:pos x="222" y="140"/>
                </a:cxn>
              </a:cxnLst>
              <a:rect l="0" t="0" r="r" b="b"/>
              <a:pathLst>
                <a:path w="222" h="174">
                  <a:moveTo>
                    <a:pt x="220" y="146"/>
                  </a:moveTo>
                  <a:lnTo>
                    <a:pt x="220" y="146"/>
                  </a:lnTo>
                  <a:lnTo>
                    <a:pt x="214" y="148"/>
                  </a:lnTo>
                  <a:lnTo>
                    <a:pt x="214" y="148"/>
                  </a:lnTo>
                  <a:lnTo>
                    <a:pt x="210" y="150"/>
                  </a:lnTo>
                  <a:lnTo>
                    <a:pt x="210" y="152"/>
                  </a:lnTo>
                  <a:lnTo>
                    <a:pt x="210" y="152"/>
                  </a:lnTo>
                  <a:lnTo>
                    <a:pt x="208" y="152"/>
                  </a:lnTo>
                  <a:lnTo>
                    <a:pt x="204" y="156"/>
                  </a:lnTo>
                  <a:lnTo>
                    <a:pt x="204" y="156"/>
                  </a:lnTo>
                  <a:lnTo>
                    <a:pt x="200" y="160"/>
                  </a:lnTo>
                  <a:lnTo>
                    <a:pt x="196" y="160"/>
                  </a:lnTo>
                  <a:lnTo>
                    <a:pt x="196" y="160"/>
                  </a:lnTo>
                  <a:lnTo>
                    <a:pt x="196" y="160"/>
                  </a:lnTo>
                  <a:lnTo>
                    <a:pt x="194" y="160"/>
                  </a:lnTo>
                  <a:lnTo>
                    <a:pt x="190" y="156"/>
                  </a:lnTo>
                  <a:lnTo>
                    <a:pt x="190" y="156"/>
                  </a:lnTo>
                  <a:lnTo>
                    <a:pt x="186" y="154"/>
                  </a:lnTo>
                  <a:lnTo>
                    <a:pt x="182" y="154"/>
                  </a:lnTo>
                  <a:lnTo>
                    <a:pt x="182" y="154"/>
                  </a:lnTo>
                  <a:lnTo>
                    <a:pt x="180" y="152"/>
                  </a:lnTo>
                  <a:lnTo>
                    <a:pt x="180" y="152"/>
                  </a:lnTo>
                  <a:lnTo>
                    <a:pt x="178" y="150"/>
                  </a:lnTo>
                  <a:lnTo>
                    <a:pt x="176" y="150"/>
                  </a:lnTo>
                  <a:lnTo>
                    <a:pt x="176" y="150"/>
                  </a:lnTo>
                  <a:lnTo>
                    <a:pt x="172" y="152"/>
                  </a:lnTo>
                  <a:lnTo>
                    <a:pt x="168" y="154"/>
                  </a:lnTo>
                  <a:lnTo>
                    <a:pt x="168" y="154"/>
                  </a:lnTo>
                  <a:lnTo>
                    <a:pt x="162" y="154"/>
                  </a:lnTo>
                  <a:lnTo>
                    <a:pt x="160" y="154"/>
                  </a:lnTo>
                  <a:lnTo>
                    <a:pt x="160" y="154"/>
                  </a:lnTo>
                  <a:lnTo>
                    <a:pt x="156" y="156"/>
                  </a:lnTo>
                  <a:lnTo>
                    <a:pt x="150" y="162"/>
                  </a:lnTo>
                  <a:lnTo>
                    <a:pt x="150" y="162"/>
                  </a:lnTo>
                  <a:lnTo>
                    <a:pt x="146" y="164"/>
                  </a:lnTo>
                  <a:lnTo>
                    <a:pt x="144" y="168"/>
                  </a:lnTo>
                  <a:lnTo>
                    <a:pt x="144" y="168"/>
                  </a:lnTo>
                  <a:lnTo>
                    <a:pt x="142" y="170"/>
                  </a:lnTo>
                  <a:lnTo>
                    <a:pt x="142" y="172"/>
                  </a:lnTo>
                  <a:lnTo>
                    <a:pt x="142" y="172"/>
                  </a:lnTo>
                  <a:lnTo>
                    <a:pt x="140" y="170"/>
                  </a:lnTo>
                  <a:lnTo>
                    <a:pt x="136" y="172"/>
                  </a:lnTo>
                  <a:lnTo>
                    <a:pt x="136" y="172"/>
                  </a:lnTo>
                  <a:lnTo>
                    <a:pt x="130" y="172"/>
                  </a:lnTo>
                  <a:lnTo>
                    <a:pt x="128" y="172"/>
                  </a:lnTo>
                  <a:lnTo>
                    <a:pt x="126" y="174"/>
                  </a:lnTo>
                  <a:lnTo>
                    <a:pt x="126" y="174"/>
                  </a:lnTo>
                  <a:lnTo>
                    <a:pt x="124" y="174"/>
                  </a:lnTo>
                  <a:lnTo>
                    <a:pt x="120" y="172"/>
                  </a:lnTo>
                  <a:lnTo>
                    <a:pt x="118" y="172"/>
                  </a:lnTo>
                  <a:lnTo>
                    <a:pt x="114" y="174"/>
                  </a:lnTo>
                  <a:lnTo>
                    <a:pt x="114" y="174"/>
                  </a:lnTo>
                  <a:lnTo>
                    <a:pt x="112" y="174"/>
                  </a:lnTo>
                  <a:lnTo>
                    <a:pt x="110" y="174"/>
                  </a:lnTo>
                  <a:lnTo>
                    <a:pt x="108" y="174"/>
                  </a:lnTo>
                  <a:lnTo>
                    <a:pt x="108" y="172"/>
                  </a:lnTo>
                  <a:lnTo>
                    <a:pt x="108" y="172"/>
                  </a:lnTo>
                  <a:lnTo>
                    <a:pt x="106" y="172"/>
                  </a:lnTo>
                  <a:lnTo>
                    <a:pt x="102" y="170"/>
                  </a:lnTo>
                  <a:lnTo>
                    <a:pt x="98" y="168"/>
                  </a:lnTo>
                  <a:lnTo>
                    <a:pt x="96" y="168"/>
                  </a:lnTo>
                  <a:lnTo>
                    <a:pt x="96" y="168"/>
                  </a:lnTo>
                  <a:lnTo>
                    <a:pt x="94" y="172"/>
                  </a:lnTo>
                  <a:lnTo>
                    <a:pt x="94" y="172"/>
                  </a:lnTo>
                  <a:lnTo>
                    <a:pt x="90" y="172"/>
                  </a:lnTo>
                  <a:lnTo>
                    <a:pt x="90" y="172"/>
                  </a:lnTo>
                  <a:lnTo>
                    <a:pt x="86" y="170"/>
                  </a:lnTo>
                  <a:lnTo>
                    <a:pt x="80" y="168"/>
                  </a:lnTo>
                  <a:lnTo>
                    <a:pt x="80" y="168"/>
                  </a:lnTo>
                  <a:lnTo>
                    <a:pt x="74" y="164"/>
                  </a:lnTo>
                  <a:lnTo>
                    <a:pt x="70" y="164"/>
                  </a:lnTo>
                  <a:lnTo>
                    <a:pt x="70" y="164"/>
                  </a:lnTo>
                  <a:lnTo>
                    <a:pt x="66" y="164"/>
                  </a:lnTo>
                  <a:lnTo>
                    <a:pt x="64" y="162"/>
                  </a:lnTo>
                  <a:lnTo>
                    <a:pt x="62" y="160"/>
                  </a:lnTo>
                  <a:lnTo>
                    <a:pt x="60" y="160"/>
                  </a:lnTo>
                  <a:lnTo>
                    <a:pt x="60" y="160"/>
                  </a:lnTo>
                  <a:lnTo>
                    <a:pt x="56" y="160"/>
                  </a:lnTo>
                  <a:lnTo>
                    <a:pt x="56" y="158"/>
                  </a:lnTo>
                  <a:lnTo>
                    <a:pt x="56" y="156"/>
                  </a:lnTo>
                  <a:lnTo>
                    <a:pt x="54" y="156"/>
                  </a:lnTo>
                  <a:lnTo>
                    <a:pt x="54" y="156"/>
                  </a:lnTo>
                  <a:lnTo>
                    <a:pt x="52" y="156"/>
                  </a:lnTo>
                  <a:lnTo>
                    <a:pt x="50" y="154"/>
                  </a:lnTo>
                  <a:lnTo>
                    <a:pt x="50" y="154"/>
                  </a:lnTo>
                  <a:lnTo>
                    <a:pt x="54" y="154"/>
                  </a:lnTo>
                  <a:lnTo>
                    <a:pt x="56" y="150"/>
                  </a:lnTo>
                  <a:lnTo>
                    <a:pt x="56" y="150"/>
                  </a:lnTo>
                  <a:lnTo>
                    <a:pt x="58" y="142"/>
                  </a:lnTo>
                  <a:lnTo>
                    <a:pt x="62" y="132"/>
                  </a:lnTo>
                  <a:lnTo>
                    <a:pt x="62" y="132"/>
                  </a:lnTo>
                  <a:lnTo>
                    <a:pt x="64" y="126"/>
                  </a:lnTo>
                  <a:lnTo>
                    <a:pt x="66" y="116"/>
                  </a:lnTo>
                  <a:lnTo>
                    <a:pt x="66" y="116"/>
                  </a:lnTo>
                  <a:lnTo>
                    <a:pt x="68" y="114"/>
                  </a:lnTo>
                  <a:lnTo>
                    <a:pt x="70" y="114"/>
                  </a:lnTo>
                  <a:lnTo>
                    <a:pt x="74" y="120"/>
                  </a:lnTo>
                  <a:lnTo>
                    <a:pt x="74" y="120"/>
                  </a:lnTo>
                  <a:lnTo>
                    <a:pt x="72" y="114"/>
                  </a:lnTo>
                  <a:lnTo>
                    <a:pt x="70" y="112"/>
                  </a:lnTo>
                  <a:lnTo>
                    <a:pt x="68" y="110"/>
                  </a:lnTo>
                  <a:lnTo>
                    <a:pt x="68" y="106"/>
                  </a:lnTo>
                  <a:lnTo>
                    <a:pt x="68" y="106"/>
                  </a:lnTo>
                  <a:lnTo>
                    <a:pt x="70" y="102"/>
                  </a:lnTo>
                  <a:lnTo>
                    <a:pt x="68" y="100"/>
                  </a:lnTo>
                  <a:lnTo>
                    <a:pt x="68" y="100"/>
                  </a:lnTo>
                  <a:lnTo>
                    <a:pt x="68" y="98"/>
                  </a:lnTo>
                  <a:lnTo>
                    <a:pt x="68" y="96"/>
                  </a:lnTo>
                  <a:lnTo>
                    <a:pt x="70" y="94"/>
                  </a:lnTo>
                  <a:lnTo>
                    <a:pt x="68" y="96"/>
                  </a:lnTo>
                  <a:lnTo>
                    <a:pt x="68" y="96"/>
                  </a:lnTo>
                  <a:lnTo>
                    <a:pt x="66" y="96"/>
                  </a:lnTo>
                  <a:lnTo>
                    <a:pt x="66" y="96"/>
                  </a:lnTo>
                  <a:lnTo>
                    <a:pt x="62" y="92"/>
                  </a:lnTo>
                  <a:lnTo>
                    <a:pt x="62" y="92"/>
                  </a:lnTo>
                  <a:lnTo>
                    <a:pt x="56" y="90"/>
                  </a:lnTo>
                  <a:lnTo>
                    <a:pt x="52" y="88"/>
                  </a:lnTo>
                  <a:lnTo>
                    <a:pt x="52" y="88"/>
                  </a:lnTo>
                  <a:lnTo>
                    <a:pt x="48" y="82"/>
                  </a:lnTo>
                  <a:lnTo>
                    <a:pt x="48" y="82"/>
                  </a:lnTo>
                  <a:lnTo>
                    <a:pt x="48" y="80"/>
                  </a:lnTo>
                  <a:lnTo>
                    <a:pt x="48" y="80"/>
                  </a:lnTo>
                  <a:lnTo>
                    <a:pt x="48" y="78"/>
                  </a:lnTo>
                  <a:lnTo>
                    <a:pt x="48" y="78"/>
                  </a:lnTo>
                  <a:lnTo>
                    <a:pt x="48" y="78"/>
                  </a:lnTo>
                  <a:lnTo>
                    <a:pt x="48" y="76"/>
                  </a:lnTo>
                  <a:lnTo>
                    <a:pt x="48" y="76"/>
                  </a:lnTo>
                  <a:lnTo>
                    <a:pt x="50" y="76"/>
                  </a:lnTo>
                  <a:lnTo>
                    <a:pt x="48" y="74"/>
                  </a:lnTo>
                  <a:lnTo>
                    <a:pt x="48" y="74"/>
                  </a:lnTo>
                  <a:lnTo>
                    <a:pt x="44" y="74"/>
                  </a:lnTo>
                  <a:lnTo>
                    <a:pt x="44" y="72"/>
                  </a:lnTo>
                  <a:lnTo>
                    <a:pt x="44" y="72"/>
                  </a:lnTo>
                  <a:lnTo>
                    <a:pt x="44" y="72"/>
                  </a:lnTo>
                  <a:lnTo>
                    <a:pt x="44" y="70"/>
                  </a:lnTo>
                  <a:lnTo>
                    <a:pt x="44" y="70"/>
                  </a:lnTo>
                  <a:lnTo>
                    <a:pt x="40" y="68"/>
                  </a:lnTo>
                  <a:lnTo>
                    <a:pt x="40" y="68"/>
                  </a:lnTo>
                  <a:lnTo>
                    <a:pt x="38" y="66"/>
                  </a:lnTo>
                  <a:lnTo>
                    <a:pt x="36" y="66"/>
                  </a:lnTo>
                  <a:lnTo>
                    <a:pt x="34" y="66"/>
                  </a:lnTo>
                  <a:lnTo>
                    <a:pt x="34" y="66"/>
                  </a:lnTo>
                  <a:lnTo>
                    <a:pt x="32" y="66"/>
                  </a:lnTo>
                  <a:lnTo>
                    <a:pt x="30" y="68"/>
                  </a:lnTo>
                  <a:lnTo>
                    <a:pt x="28" y="68"/>
                  </a:lnTo>
                  <a:lnTo>
                    <a:pt x="26" y="66"/>
                  </a:lnTo>
                  <a:lnTo>
                    <a:pt x="26" y="66"/>
                  </a:lnTo>
                  <a:lnTo>
                    <a:pt x="24" y="64"/>
                  </a:lnTo>
                  <a:lnTo>
                    <a:pt x="18" y="62"/>
                  </a:lnTo>
                  <a:lnTo>
                    <a:pt x="18" y="62"/>
                  </a:lnTo>
                  <a:lnTo>
                    <a:pt x="16" y="60"/>
                  </a:lnTo>
                  <a:lnTo>
                    <a:pt x="14" y="60"/>
                  </a:lnTo>
                  <a:lnTo>
                    <a:pt x="12" y="62"/>
                  </a:lnTo>
                  <a:lnTo>
                    <a:pt x="8" y="62"/>
                  </a:lnTo>
                  <a:lnTo>
                    <a:pt x="8" y="62"/>
                  </a:lnTo>
                  <a:lnTo>
                    <a:pt x="6" y="60"/>
                  </a:lnTo>
                  <a:lnTo>
                    <a:pt x="6" y="58"/>
                  </a:lnTo>
                  <a:lnTo>
                    <a:pt x="6" y="58"/>
                  </a:lnTo>
                  <a:lnTo>
                    <a:pt x="4" y="56"/>
                  </a:lnTo>
                  <a:lnTo>
                    <a:pt x="4" y="56"/>
                  </a:lnTo>
                  <a:lnTo>
                    <a:pt x="4" y="56"/>
                  </a:lnTo>
                  <a:lnTo>
                    <a:pt x="4" y="54"/>
                  </a:lnTo>
                  <a:lnTo>
                    <a:pt x="8" y="54"/>
                  </a:lnTo>
                  <a:lnTo>
                    <a:pt x="8" y="54"/>
                  </a:lnTo>
                  <a:lnTo>
                    <a:pt x="8" y="54"/>
                  </a:lnTo>
                  <a:lnTo>
                    <a:pt x="8" y="52"/>
                  </a:lnTo>
                  <a:lnTo>
                    <a:pt x="6" y="52"/>
                  </a:lnTo>
                  <a:lnTo>
                    <a:pt x="6" y="52"/>
                  </a:lnTo>
                  <a:lnTo>
                    <a:pt x="6" y="52"/>
                  </a:lnTo>
                  <a:lnTo>
                    <a:pt x="6" y="52"/>
                  </a:lnTo>
                  <a:lnTo>
                    <a:pt x="6" y="50"/>
                  </a:lnTo>
                  <a:lnTo>
                    <a:pt x="0" y="50"/>
                  </a:lnTo>
                  <a:lnTo>
                    <a:pt x="0" y="50"/>
                  </a:lnTo>
                  <a:lnTo>
                    <a:pt x="0" y="48"/>
                  </a:lnTo>
                  <a:lnTo>
                    <a:pt x="0" y="46"/>
                  </a:lnTo>
                  <a:lnTo>
                    <a:pt x="0" y="46"/>
                  </a:lnTo>
                  <a:lnTo>
                    <a:pt x="4" y="46"/>
                  </a:lnTo>
                  <a:lnTo>
                    <a:pt x="8" y="46"/>
                  </a:lnTo>
                  <a:lnTo>
                    <a:pt x="8" y="46"/>
                  </a:lnTo>
                  <a:lnTo>
                    <a:pt x="14" y="44"/>
                  </a:lnTo>
                  <a:lnTo>
                    <a:pt x="16" y="44"/>
                  </a:lnTo>
                  <a:lnTo>
                    <a:pt x="16" y="44"/>
                  </a:lnTo>
                  <a:lnTo>
                    <a:pt x="18" y="42"/>
                  </a:lnTo>
                  <a:lnTo>
                    <a:pt x="22" y="42"/>
                  </a:lnTo>
                  <a:lnTo>
                    <a:pt x="22" y="42"/>
                  </a:lnTo>
                  <a:lnTo>
                    <a:pt x="26" y="40"/>
                  </a:lnTo>
                  <a:lnTo>
                    <a:pt x="28" y="42"/>
                  </a:lnTo>
                  <a:lnTo>
                    <a:pt x="28" y="42"/>
                  </a:lnTo>
                  <a:lnTo>
                    <a:pt x="30" y="44"/>
                  </a:lnTo>
                  <a:lnTo>
                    <a:pt x="30" y="46"/>
                  </a:lnTo>
                  <a:lnTo>
                    <a:pt x="32" y="46"/>
                  </a:lnTo>
                  <a:lnTo>
                    <a:pt x="32" y="46"/>
                  </a:lnTo>
                  <a:lnTo>
                    <a:pt x="36" y="44"/>
                  </a:lnTo>
                  <a:lnTo>
                    <a:pt x="38" y="44"/>
                  </a:lnTo>
                  <a:lnTo>
                    <a:pt x="38" y="44"/>
                  </a:lnTo>
                  <a:lnTo>
                    <a:pt x="40" y="44"/>
                  </a:lnTo>
                  <a:lnTo>
                    <a:pt x="44" y="44"/>
                  </a:lnTo>
                  <a:lnTo>
                    <a:pt x="44" y="44"/>
                  </a:lnTo>
                  <a:lnTo>
                    <a:pt x="48" y="46"/>
                  </a:lnTo>
                  <a:lnTo>
                    <a:pt x="52" y="46"/>
                  </a:lnTo>
                  <a:lnTo>
                    <a:pt x="52" y="46"/>
                  </a:lnTo>
                  <a:lnTo>
                    <a:pt x="54" y="46"/>
                  </a:lnTo>
                  <a:lnTo>
                    <a:pt x="54" y="46"/>
                  </a:lnTo>
                  <a:lnTo>
                    <a:pt x="52" y="44"/>
                  </a:lnTo>
                  <a:lnTo>
                    <a:pt x="52" y="42"/>
                  </a:lnTo>
                  <a:lnTo>
                    <a:pt x="52" y="42"/>
                  </a:lnTo>
                  <a:lnTo>
                    <a:pt x="54" y="40"/>
                  </a:lnTo>
                  <a:lnTo>
                    <a:pt x="54" y="36"/>
                  </a:lnTo>
                  <a:lnTo>
                    <a:pt x="54" y="36"/>
                  </a:lnTo>
                  <a:lnTo>
                    <a:pt x="54" y="34"/>
                  </a:lnTo>
                  <a:lnTo>
                    <a:pt x="52" y="30"/>
                  </a:lnTo>
                  <a:lnTo>
                    <a:pt x="52" y="30"/>
                  </a:lnTo>
                  <a:lnTo>
                    <a:pt x="50" y="24"/>
                  </a:lnTo>
                  <a:lnTo>
                    <a:pt x="50" y="24"/>
                  </a:lnTo>
                  <a:lnTo>
                    <a:pt x="50" y="24"/>
                  </a:lnTo>
                  <a:lnTo>
                    <a:pt x="52" y="22"/>
                  </a:lnTo>
                  <a:lnTo>
                    <a:pt x="54" y="24"/>
                  </a:lnTo>
                  <a:lnTo>
                    <a:pt x="54" y="24"/>
                  </a:lnTo>
                  <a:lnTo>
                    <a:pt x="58" y="24"/>
                  </a:lnTo>
                  <a:lnTo>
                    <a:pt x="60" y="24"/>
                  </a:lnTo>
                  <a:lnTo>
                    <a:pt x="60" y="24"/>
                  </a:lnTo>
                  <a:lnTo>
                    <a:pt x="60" y="24"/>
                  </a:lnTo>
                  <a:lnTo>
                    <a:pt x="62" y="28"/>
                  </a:lnTo>
                  <a:lnTo>
                    <a:pt x="64" y="30"/>
                  </a:lnTo>
                  <a:lnTo>
                    <a:pt x="64" y="30"/>
                  </a:lnTo>
                  <a:lnTo>
                    <a:pt x="64" y="34"/>
                  </a:lnTo>
                  <a:lnTo>
                    <a:pt x="66" y="34"/>
                  </a:lnTo>
                  <a:lnTo>
                    <a:pt x="68" y="34"/>
                  </a:lnTo>
                  <a:lnTo>
                    <a:pt x="68" y="34"/>
                  </a:lnTo>
                  <a:lnTo>
                    <a:pt x="70" y="32"/>
                  </a:lnTo>
                  <a:lnTo>
                    <a:pt x="72" y="32"/>
                  </a:lnTo>
                  <a:lnTo>
                    <a:pt x="72" y="32"/>
                  </a:lnTo>
                  <a:lnTo>
                    <a:pt x="74" y="32"/>
                  </a:lnTo>
                  <a:lnTo>
                    <a:pt x="76" y="32"/>
                  </a:lnTo>
                  <a:lnTo>
                    <a:pt x="78" y="30"/>
                  </a:lnTo>
                  <a:lnTo>
                    <a:pt x="82" y="30"/>
                  </a:lnTo>
                  <a:lnTo>
                    <a:pt x="82" y="30"/>
                  </a:lnTo>
                  <a:lnTo>
                    <a:pt x="86" y="30"/>
                  </a:lnTo>
                  <a:lnTo>
                    <a:pt x="84" y="28"/>
                  </a:lnTo>
                  <a:lnTo>
                    <a:pt x="84" y="28"/>
                  </a:lnTo>
                  <a:lnTo>
                    <a:pt x="84" y="26"/>
                  </a:lnTo>
                  <a:lnTo>
                    <a:pt x="86" y="24"/>
                  </a:lnTo>
                  <a:lnTo>
                    <a:pt x="86" y="24"/>
                  </a:lnTo>
                  <a:lnTo>
                    <a:pt x="88" y="24"/>
                  </a:lnTo>
                  <a:lnTo>
                    <a:pt x="92" y="22"/>
                  </a:lnTo>
                  <a:lnTo>
                    <a:pt x="92" y="22"/>
                  </a:lnTo>
                  <a:lnTo>
                    <a:pt x="100" y="20"/>
                  </a:lnTo>
                  <a:lnTo>
                    <a:pt x="100" y="20"/>
                  </a:lnTo>
                  <a:lnTo>
                    <a:pt x="108" y="18"/>
                  </a:lnTo>
                  <a:lnTo>
                    <a:pt x="110" y="18"/>
                  </a:lnTo>
                  <a:lnTo>
                    <a:pt x="112" y="14"/>
                  </a:lnTo>
                  <a:lnTo>
                    <a:pt x="112" y="14"/>
                  </a:lnTo>
                  <a:lnTo>
                    <a:pt x="112" y="12"/>
                  </a:lnTo>
                  <a:lnTo>
                    <a:pt x="112" y="10"/>
                  </a:lnTo>
                  <a:lnTo>
                    <a:pt x="112" y="10"/>
                  </a:lnTo>
                  <a:lnTo>
                    <a:pt x="114" y="8"/>
                  </a:lnTo>
                  <a:lnTo>
                    <a:pt x="116" y="6"/>
                  </a:lnTo>
                  <a:lnTo>
                    <a:pt x="116" y="6"/>
                  </a:lnTo>
                  <a:lnTo>
                    <a:pt x="116" y="4"/>
                  </a:lnTo>
                  <a:lnTo>
                    <a:pt x="116" y="2"/>
                  </a:lnTo>
                  <a:lnTo>
                    <a:pt x="118" y="2"/>
                  </a:lnTo>
                  <a:lnTo>
                    <a:pt x="118" y="2"/>
                  </a:lnTo>
                  <a:lnTo>
                    <a:pt x="128" y="0"/>
                  </a:lnTo>
                  <a:lnTo>
                    <a:pt x="128" y="0"/>
                  </a:lnTo>
                  <a:lnTo>
                    <a:pt x="130" y="2"/>
                  </a:lnTo>
                  <a:lnTo>
                    <a:pt x="132" y="4"/>
                  </a:lnTo>
                  <a:lnTo>
                    <a:pt x="136" y="4"/>
                  </a:lnTo>
                  <a:lnTo>
                    <a:pt x="136" y="4"/>
                  </a:lnTo>
                  <a:lnTo>
                    <a:pt x="140" y="6"/>
                  </a:lnTo>
                  <a:lnTo>
                    <a:pt x="142" y="8"/>
                  </a:lnTo>
                  <a:lnTo>
                    <a:pt x="142" y="8"/>
                  </a:lnTo>
                  <a:lnTo>
                    <a:pt x="146" y="10"/>
                  </a:lnTo>
                  <a:lnTo>
                    <a:pt x="148" y="10"/>
                  </a:lnTo>
                  <a:lnTo>
                    <a:pt x="148" y="10"/>
                  </a:lnTo>
                  <a:lnTo>
                    <a:pt x="152" y="12"/>
                  </a:lnTo>
                  <a:lnTo>
                    <a:pt x="152" y="16"/>
                  </a:lnTo>
                  <a:lnTo>
                    <a:pt x="152" y="16"/>
                  </a:lnTo>
                  <a:lnTo>
                    <a:pt x="152" y="18"/>
                  </a:lnTo>
                  <a:lnTo>
                    <a:pt x="156" y="18"/>
                  </a:lnTo>
                  <a:lnTo>
                    <a:pt x="156" y="18"/>
                  </a:lnTo>
                  <a:lnTo>
                    <a:pt x="158" y="18"/>
                  </a:lnTo>
                  <a:lnTo>
                    <a:pt x="160" y="14"/>
                  </a:lnTo>
                  <a:lnTo>
                    <a:pt x="160" y="14"/>
                  </a:lnTo>
                  <a:lnTo>
                    <a:pt x="162" y="14"/>
                  </a:lnTo>
                  <a:lnTo>
                    <a:pt x="162" y="14"/>
                  </a:lnTo>
                  <a:lnTo>
                    <a:pt x="162" y="16"/>
                  </a:lnTo>
                  <a:lnTo>
                    <a:pt x="162" y="16"/>
                  </a:lnTo>
                  <a:lnTo>
                    <a:pt x="162" y="20"/>
                  </a:lnTo>
                  <a:lnTo>
                    <a:pt x="162" y="22"/>
                  </a:lnTo>
                  <a:lnTo>
                    <a:pt x="164" y="24"/>
                  </a:lnTo>
                  <a:lnTo>
                    <a:pt x="164" y="24"/>
                  </a:lnTo>
                  <a:lnTo>
                    <a:pt x="166" y="24"/>
                  </a:lnTo>
                  <a:lnTo>
                    <a:pt x="168" y="26"/>
                  </a:lnTo>
                  <a:lnTo>
                    <a:pt x="170" y="28"/>
                  </a:lnTo>
                  <a:lnTo>
                    <a:pt x="170" y="28"/>
                  </a:lnTo>
                  <a:lnTo>
                    <a:pt x="170" y="28"/>
                  </a:lnTo>
                  <a:lnTo>
                    <a:pt x="172" y="28"/>
                  </a:lnTo>
                  <a:lnTo>
                    <a:pt x="172" y="28"/>
                  </a:lnTo>
                  <a:lnTo>
                    <a:pt x="174" y="26"/>
                  </a:lnTo>
                  <a:lnTo>
                    <a:pt x="174" y="26"/>
                  </a:lnTo>
                  <a:lnTo>
                    <a:pt x="176" y="26"/>
                  </a:lnTo>
                  <a:lnTo>
                    <a:pt x="176" y="26"/>
                  </a:lnTo>
                  <a:lnTo>
                    <a:pt x="178" y="26"/>
                  </a:lnTo>
                  <a:lnTo>
                    <a:pt x="180" y="28"/>
                  </a:lnTo>
                  <a:lnTo>
                    <a:pt x="180" y="28"/>
                  </a:lnTo>
                  <a:lnTo>
                    <a:pt x="188" y="28"/>
                  </a:lnTo>
                  <a:lnTo>
                    <a:pt x="188" y="28"/>
                  </a:lnTo>
                  <a:lnTo>
                    <a:pt x="194" y="30"/>
                  </a:lnTo>
                  <a:lnTo>
                    <a:pt x="194" y="30"/>
                  </a:lnTo>
                  <a:lnTo>
                    <a:pt x="198" y="34"/>
                  </a:lnTo>
                  <a:lnTo>
                    <a:pt x="200" y="36"/>
                  </a:lnTo>
                  <a:lnTo>
                    <a:pt x="202" y="36"/>
                  </a:lnTo>
                  <a:lnTo>
                    <a:pt x="202" y="36"/>
                  </a:lnTo>
                  <a:lnTo>
                    <a:pt x="208" y="36"/>
                  </a:lnTo>
                  <a:lnTo>
                    <a:pt x="214" y="38"/>
                  </a:lnTo>
                  <a:lnTo>
                    <a:pt x="214" y="38"/>
                  </a:lnTo>
                  <a:lnTo>
                    <a:pt x="220" y="40"/>
                  </a:lnTo>
                  <a:lnTo>
                    <a:pt x="220" y="40"/>
                  </a:lnTo>
                  <a:lnTo>
                    <a:pt x="220" y="42"/>
                  </a:lnTo>
                  <a:lnTo>
                    <a:pt x="220" y="42"/>
                  </a:lnTo>
                  <a:lnTo>
                    <a:pt x="216" y="48"/>
                  </a:lnTo>
                  <a:lnTo>
                    <a:pt x="214" y="56"/>
                  </a:lnTo>
                  <a:lnTo>
                    <a:pt x="214" y="56"/>
                  </a:lnTo>
                  <a:lnTo>
                    <a:pt x="212" y="60"/>
                  </a:lnTo>
                  <a:lnTo>
                    <a:pt x="212" y="64"/>
                  </a:lnTo>
                  <a:lnTo>
                    <a:pt x="212" y="64"/>
                  </a:lnTo>
                  <a:lnTo>
                    <a:pt x="214" y="66"/>
                  </a:lnTo>
                  <a:lnTo>
                    <a:pt x="214" y="66"/>
                  </a:lnTo>
                  <a:lnTo>
                    <a:pt x="212" y="68"/>
                  </a:lnTo>
                  <a:lnTo>
                    <a:pt x="210" y="68"/>
                  </a:lnTo>
                  <a:lnTo>
                    <a:pt x="210" y="68"/>
                  </a:lnTo>
                  <a:lnTo>
                    <a:pt x="206" y="68"/>
                  </a:lnTo>
                  <a:lnTo>
                    <a:pt x="204" y="68"/>
                  </a:lnTo>
                  <a:lnTo>
                    <a:pt x="202" y="70"/>
                  </a:lnTo>
                  <a:lnTo>
                    <a:pt x="204" y="70"/>
                  </a:lnTo>
                  <a:lnTo>
                    <a:pt x="204" y="70"/>
                  </a:lnTo>
                  <a:lnTo>
                    <a:pt x="204" y="72"/>
                  </a:lnTo>
                  <a:lnTo>
                    <a:pt x="204" y="72"/>
                  </a:lnTo>
                  <a:lnTo>
                    <a:pt x="202" y="74"/>
                  </a:lnTo>
                  <a:lnTo>
                    <a:pt x="202" y="74"/>
                  </a:lnTo>
                  <a:lnTo>
                    <a:pt x="196" y="78"/>
                  </a:lnTo>
                  <a:lnTo>
                    <a:pt x="194" y="78"/>
                  </a:lnTo>
                  <a:lnTo>
                    <a:pt x="192" y="80"/>
                  </a:lnTo>
                  <a:lnTo>
                    <a:pt x="192" y="80"/>
                  </a:lnTo>
                  <a:lnTo>
                    <a:pt x="190" y="88"/>
                  </a:lnTo>
                  <a:lnTo>
                    <a:pt x="188" y="96"/>
                  </a:lnTo>
                  <a:lnTo>
                    <a:pt x="188" y="96"/>
                  </a:lnTo>
                  <a:lnTo>
                    <a:pt x="190" y="98"/>
                  </a:lnTo>
                  <a:lnTo>
                    <a:pt x="190" y="96"/>
                  </a:lnTo>
                  <a:lnTo>
                    <a:pt x="194" y="94"/>
                  </a:lnTo>
                  <a:lnTo>
                    <a:pt x="194" y="94"/>
                  </a:lnTo>
                  <a:lnTo>
                    <a:pt x="198" y="92"/>
                  </a:lnTo>
                  <a:lnTo>
                    <a:pt x="200" y="92"/>
                  </a:lnTo>
                  <a:lnTo>
                    <a:pt x="202" y="92"/>
                  </a:lnTo>
                  <a:lnTo>
                    <a:pt x="202" y="92"/>
                  </a:lnTo>
                  <a:lnTo>
                    <a:pt x="204" y="94"/>
                  </a:lnTo>
                  <a:lnTo>
                    <a:pt x="206" y="98"/>
                  </a:lnTo>
                  <a:lnTo>
                    <a:pt x="206" y="98"/>
                  </a:lnTo>
                  <a:lnTo>
                    <a:pt x="206" y="100"/>
                  </a:lnTo>
                  <a:lnTo>
                    <a:pt x="208" y="102"/>
                  </a:lnTo>
                  <a:lnTo>
                    <a:pt x="208" y="102"/>
                  </a:lnTo>
                  <a:lnTo>
                    <a:pt x="208" y="106"/>
                  </a:lnTo>
                  <a:lnTo>
                    <a:pt x="210" y="110"/>
                  </a:lnTo>
                  <a:lnTo>
                    <a:pt x="210" y="110"/>
                  </a:lnTo>
                  <a:lnTo>
                    <a:pt x="210" y="110"/>
                  </a:lnTo>
                  <a:lnTo>
                    <a:pt x="212" y="110"/>
                  </a:lnTo>
                  <a:lnTo>
                    <a:pt x="212" y="112"/>
                  </a:lnTo>
                  <a:lnTo>
                    <a:pt x="212" y="112"/>
                  </a:lnTo>
                  <a:lnTo>
                    <a:pt x="212" y="112"/>
                  </a:lnTo>
                  <a:lnTo>
                    <a:pt x="206" y="118"/>
                  </a:lnTo>
                  <a:lnTo>
                    <a:pt x="206" y="118"/>
                  </a:lnTo>
                  <a:lnTo>
                    <a:pt x="206" y="120"/>
                  </a:lnTo>
                  <a:lnTo>
                    <a:pt x="208" y="120"/>
                  </a:lnTo>
                  <a:lnTo>
                    <a:pt x="212" y="122"/>
                  </a:lnTo>
                  <a:lnTo>
                    <a:pt x="212" y="124"/>
                  </a:lnTo>
                  <a:lnTo>
                    <a:pt x="212" y="124"/>
                  </a:lnTo>
                  <a:lnTo>
                    <a:pt x="210" y="128"/>
                  </a:lnTo>
                  <a:lnTo>
                    <a:pt x="210" y="132"/>
                  </a:lnTo>
                  <a:lnTo>
                    <a:pt x="210" y="132"/>
                  </a:lnTo>
                  <a:lnTo>
                    <a:pt x="212" y="138"/>
                  </a:lnTo>
                  <a:lnTo>
                    <a:pt x="212" y="138"/>
                  </a:lnTo>
                  <a:lnTo>
                    <a:pt x="214" y="140"/>
                  </a:lnTo>
                  <a:lnTo>
                    <a:pt x="214" y="140"/>
                  </a:lnTo>
                  <a:lnTo>
                    <a:pt x="220" y="140"/>
                  </a:lnTo>
                  <a:lnTo>
                    <a:pt x="222" y="140"/>
                  </a:lnTo>
                  <a:lnTo>
                    <a:pt x="222" y="142"/>
                  </a:lnTo>
                  <a:lnTo>
                    <a:pt x="222" y="142"/>
                  </a:lnTo>
                  <a:lnTo>
                    <a:pt x="220" y="146"/>
                  </a:lnTo>
                  <a:lnTo>
                    <a:pt x="220" y="146"/>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2" name="Germany"/>
            <p:cNvSpPr>
              <a:spLocks/>
            </p:cNvSpPr>
            <p:nvPr/>
          </p:nvSpPr>
          <p:spPr bwMode="auto">
            <a:xfrm>
              <a:off x="4279601" y="1922198"/>
              <a:ext cx="211667" cy="190500"/>
            </a:xfrm>
            <a:custGeom>
              <a:avLst/>
              <a:gdLst/>
              <a:ahLst/>
              <a:cxnLst>
                <a:cxn ang="0">
                  <a:pos x="48" y="0"/>
                </a:cxn>
                <a:cxn ang="0">
                  <a:pos x="50" y="6"/>
                </a:cxn>
                <a:cxn ang="0">
                  <a:pos x="46" y="8"/>
                </a:cxn>
                <a:cxn ang="0">
                  <a:pos x="50" y="10"/>
                </a:cxn>
                <a:cxn ang="0">
                  <a:pos x="52" y="14"/>
                </a:cxn>
                <a:cxn ang="0">
                  <a:pos x="60" y="18"/>
                </a:cxn>
                <a:cxn ang="0">
                  <a:pos x="58" y="18"/>
                </a:cxn>
                <a:cxn ang="0">
                  <a:pos x="48" y="18"/>
                </a:cxn>
                <a:cxn ang="0">
                  <a:pos x="46" y="26"/>
                </a:cxn>
                <a:cxn ang="0">
                  <a:pos x="40" y="28"/>
                </a:cxn>
                <a:cxn ang="0">
                  <a:pos x="38" y="26"/>
                </a:cxn>
                <a:cxn ang="0">
                  <a:pos x="36" y="22"/>
                </a:cxn>
                <a:cxn ang="0">
                  <a:pos x="22" y="28"/>
                </a:cxn>
                <a:cxn ang="0">
                  <a:pos x="18" y="34"/>
                </a:cxn>
                <a:cxn ang="0">
                  <a:pos x="18" y="36"/>
                </a:cxn>
                <a:cxn ang="0">
                  <a:pos x="16" y="48"/>
                </a:cxn>
                <a:cxn ang="0">
                  <a:pos x="14" y="54"/>
                </a:cxn>
                <a:cxn ang="0">
                  <a:pos x="2" y="60"/>
                </a:cxn>
                <a:cxn ang="0">
                  <a:pos x="0" y="70"/>
                </a:cxn>
                <a:cxn ang="0">
                  <a:pos x="0" y="76"/>
                </a:cxn>
                <a:cxn ang="0">
                  <a:pos x="0" y="84"/>
                </a:cxn>
                <a:cxn ang="0">
                  <a:pos x="4" y="100"/>
                </a:cxn>
                <a:cxn ang="0">
                  <a:pos x="16" y="108"/>
                </a:cxn>
                <a:cxn ang="0">
                  <a:pos x="30" y="110"/>
                </a:cxn>
                <a:cxn ang="0">
                  <a:pos x="32" y="120"/>
                </a:cxn>
                <a:cxn ang="0">
                  <a:pos x="28" y="136"/>
                </a:cxn>
                <a:cxn ang="0">
                  <a:pos x="42" y="140"/>
                </a:cxn>
                <a:cxn ang="0">
                  <a:pos x="48" y="138"/>
                </a:cxn>
                <a:cxn ang="0">
                  <a:pos x="68" y="140"/>
                </a:cxn>
                <a:cxn ang="0">
                  <a:pos x="88" y="144"/>
                </a:cxn>
                <a:cxn ang="0">
                  <a:pos x="94" y="140"/>
                </a:cxn>
                <a:cxn ang="0">
                  <a:pos x="104" y="140"/>
                </a:cxn>
                <a:cxn ang="0">
                  <a:pos x="114" y="138"/>
                </a:cxn>
                <a:cxn ang="0">
                  <a:pos x="122" y="134"/>
                </a:cxn>
                <a:cxn ang="0">
                  <a:pos x="126" y="134"/>
                </a:cxn>
                <a:cxn ang="0">
                  <a:pos x="132" y="136"/>
                </a:cxn>
                <a:cxn ang="0">
                  <a:pos x="132" y="130"/>
                </a:cxn>
                <a:cxn ang="0">
                  <a:pos x="132" y="126"/>
                </a:cxn>
                <a:cxn ang="0">
                  <a:pos x="138" y="120"/>
                </a:cxn>
                <a:cxn ang="0">
                  <a:pos x="144" y="114"/>
                </a:cxn>
                <a:cxn ang="0">
                  <a:pos x="128" y="100"/>
                </a:cxn>
                <a:cxn ang="0">
                  <a:pos x="116" y="88"/>
                </a:cxn>
                <a:cxn ang="0">
                  <a:pos x="124" y="82"/>
                </a:cxn>
                <a:cxn ang="0">
                  <a:pos x="146" y="72"/>
                </a:cxn>
                <a:cxn ang="0">
                  <a:pos x="156" y="74"/>
                </a:cxn>
                <a:cxn ang="0">
                  <a:pos x="160" y="68"/>
                </a:cxn>
                <a:cxn ang="0">
                  <a:pos x="154" y="42"/>
                </a:cxn>
                <a:cxn ang="0">
                  <a:pos x="148" y="38"/>
                </a:cxn>
                <a:cxn ang="0">
                  <a:pos x="142" y="32"/>
                </a:cxn>
                <a:cxn ang="0">
                  <a:pos x="146" y="22"/>
                </a:cxn>
                <a:cxn ang="0">
                  <a:pos x="140" y="14"/>
                </a:cxn>
                <a:cxn ang="0">
                  <a:pos x="136" y="8"/>
                </a:cxn>
                <a:cxn ang="0">
                  <a:pos x="130" y="12"/>
                </a:cxn>
                <a:cxn ang="0">
                  <a:pos x="118" y="14"/>
                </a:cxn>
                <a:cxn ang="0">
                  <a:pos x="122" y="10"/>
                </a:cxn>
                <a:cxn ang="0">
                  <a:pos x="110" y="14"/>
                </a:cxn>
                <a:cxn ang="0">
                  <a:pos x="98" y="14"/>
                </a:cxn>
                <a:cxn ang="0">
                  <a:pos x="86" y="14"/>
                </a:cxn>
                <a:cxn ang="0">
                  <a:pos x="78" y="12"/>
                </a:cxn>
                <a:cxn ang="0">
                  <a:pos x="76" y="8"/>
                </a:cxn>
                <a:cxn ang="0">
                  <a:pos x="68" y="8"/>
                </a:cxn>
                <a:cxn ang="0">
                  <a:pos x="62" y="2"/>
                </a:cxn>
              </a:cxnLst>
              <a:rect l="0" t="0" r="r" b="b"/>
              <a:pathLst>
                <a:path w="160" h="144">
                  <a:moveTo>
                    <a:pt x="60" y="0"/>
                  </a:moveTo>
                  <a:lnTo>
                    <a:pt x="60" y="0"/>
                  </a:lnTo>
                  <a:lnTo>
                    <a:pt x="56" y="2"/>
                  </a:lnTo>
                  <a:lnTo>
                    <a:pt x="52" y="0"/>
                  </a:lnTo>
                  <a:lnTo>
                    <a:pt x="48" y="0"/>
                  </a:lnTo>
                  <a:lnTo>
                    <a:pt x="44" y="0"/>
                  </a:lnTo>
                  <a:lnTo>
                    <a:pt x="44" y="0"/>
                  </a:lnTo>
                  <a:lnTo>
                    <a:pt x="48" y="6"/>
                  </a:lnTo>
                  <a:lnTo>
                    <a:pt x="48" y="6"/>
                  </a:lnTo>
                  <a:lnTo>
                    <a:pt x="50" y="6"/>
                  </a:lnTo>
                  <a:lnTo>
                    <a:pt x="48" y="6"/>
                  </a:lnTo>
                  <a:lnTo>
                    <a:pt x="48" y="6"/>
                  </a:lnTo>
                  <a:lnTo>
                    <a:pt x="46" y="8"/>
                  </a:lnTo>
                  <a:lnTo>
                    <a:pt x="46" y="8"/>
                  </a:lnTo>
                  <a:lnTo>
                    <a:pt x="46" y="8"/>
                  </a:lnTo>
                  <a:lnTo>
                    <a:pt x="48" y="8"/>
                  </a:lnTo>
                  <a:lnTo>
                    <a:pt x="50" y="8"/>
                  </a:lnTo>
                  <a:lnTo>
                    <a:pt x="50" y="10"/>
                  </a:lnTo>
                  <a:lnTo>
                    <a:pt x="50" y="10"/>
                  </a:lnTo>
                  <a:lnTo>
                    <a:pt x="50" y="10"/>
                  </a:lnTo>
                  <a:lnTo>
                    <a:pt x="52" y="12"/>
                  </a:lnTo>
                  <a:lnTo>
                    <a:pt x="52" y="12"/>
                  </a:lnTo>
                  <a:lnTo>
                    <a:pt x="54" y="12"/>
                  </a:lnTo>
                  <a:lnTo>
                    <a:pt x="54" y="12"/>
                  </a:lnTo>
                  <a:lnTo>
                    <a:pt x="52" y="14"/>
                  </a:lnTo>
                  <a:lnTo>
                    <a:pt x="52" y="14"/>
                  </a:lnTo>
                  <a:lnTo>
                    <a:pt x="54" y="16"/>
                  </a:lnTo>
                  <a:lnTo>
                    <a:pt x="56" y="16"/>
                  </a:lnTo>
                  <a:lnTo>
                    <a:pt x="56" y="16"/>
                  </a:lnTo>
                  <a:lnTo>
                    <a:pt x="60" y="18"/>
                  </a:lnTo>
                  <a:lnTo>
                    <a:pt x="64" y="22"/>
                  </a:lnTo>
                  <a:lnTo>
                    <a:pt x="64" y="22"/>
                  </a:lnTo>
                  <a:lnTo>
                    <a:pt x="60" y="20"/>
                  </a:lnTo>
                  <a:lnTo>
                    <a:pt x="58" y="18"/>
                  </a:lnTo>
                  <a:lnTo>
                    <a:pt x="58" y="18"/>
                  </a:lnTo>
                  <a:lnTo>
                    <a:pt x="54" y="18"/>
                  </a:lnTo>
                  <a:lnTo>
                    <a:pt x="50" y="16"/>
                  </a:lnTo>
                  <a:lnTo>
                    <a:pt x="50" y="16"/>
                  </a:lnTo>
                  <a:lnTo>
                    <a:pt x="48" y="16"/>
                  </a:lnTo>
                  <a:lnTo>
                    <a:pt x="48" y="18"/>
                  </a:lnTo>
                  <a:lnTo>
                    <a:pt x="46" y="22"/>
                  </a:lnTo>
                  <a:lnTo>
                    <a:pt x="46" y="22"/>
                  </a:lnTo>
                  <a:lnTo>
                    <a:pt x="46" y="24"/>
                  </a:lnTo>
                  <a:lnTo>
                    <a:pt x="46" y="26"/>
                  </a:lnTo>
                  <a:lnTo>
                    <a:pt x="46" y="26"/>
                  </a:lnTo>
                  <a:lnTo>
                    <a:pt x="44" y="24"/>
                  </a:lnTo>
                  <a:lnTo>
                    <a:pt x="40" y="26"/>
                  </a:lnTo>
                  <a:lnTo>
                    <a:pt x="40" y="26"/>
                  </a:lnTo>
                  <a:lnTo>
                    <a:pt x="40" y="26"/>
                  </a:lnTo>
                  <a:lnTo>
                    <a:pt x="40" y="28"/>
                  </a:lnTo>
                  <a:lnTo>
                    <a:pt x="40" y="28"/>
                  </a:lnTo>
                  <a:lnTo>
                    <a:pt x="38" y="28"/>
                  </a:lnTo>
                  <a:lnTo>
                    <a:pt x="38" y="26"/>
                  </a:lnTo>
                  <a:lnTo>
                    <a:pt x="38" y="26"/>
                  </a:lnTo>
                  <a:lnTo>
                    <a:pt x="38" y="26"/>
                  </a:lnTo>
                  <a:lnTo>
                    <a:pt x="38" y="26"/>
                  </a:lnTo>
                  <a:lnTo>
                    <a:pt x="38" y="26"/>
                  </a:lnTo>
                  <a:lnTo>
                    <a:pt x="38" y="24"/>
                  </a:lnTo>
                  <a:lnTo>
                    <a:pt x="38" y="24"/>
                  </a:lnTo>
                  <a:lnTo>
                    <a:pt x="36" y="22"/>
                  </a:lnTo>
                  <a:lnTo>
                    <a:pt x="30" y="24"/>
                  </a:lnTo>
                  <a:lnTo>
                    <a:pt x="30" y="24"/>
                  </a:lnTo>
                  <a:lnTo>
                    <a:pt x="28" y="24"/>
                  </a:lnTo>
                  <a:lnTo>
                    <a:pt x="22" y="28"/>
                  </a:lnTo>
                  <a:lnTo>
                    <a:pt x="22" y="28"/>
                  </a:lnTo>
                  <a:lnTo>
                    <a:pt x="20" y="30"/>
                  </a:lnTo>
                  <a:lnTo>
                    <a:pt x="18" y="30"/>
                  </a:lnTo>
                  <a:lnTo>
                    <a:pt x="18" y="30"/>
                  </a:lnTo>
                  <a:lnTo>
                    <a:pt x="18" y="32"/>
                  </a:lnTo>
                  <a:lnTo>
                    <a:pt x="18" y="34"/>
                  </a:lnTo>
                  <a:lnTo>
                    <a:pt x="18" y="32"/>
                  </a:lnTo>
                  <a:lnTo>
                    <a:pt x="18" y="32"/>
                  </a:lnTo>
                  <a:lnTo>
                    <a:pt x="16" y="34"/>
                  </a:lnTo>
                  <a:lnTo>
                    <a:pt x="18" y="34"/>
                  </a:lnTo>
                  <a:lnTo>
                    <a:pt x="18" y="36"/>
                  </a:lnTo>
                  <a:lnTo>
                    <a:pt x="16" y="38"/>
                  </a:lnTo>
                  <a:lnTo>
                    <a:pt x="16" y="38"/>
                  </a:lnTo>
                  <a:lnTo>
                    <a:pt x="14" y="44"/>
                  </a:lnTo>
                  <a:lnTo>
                    <a:pt x="14" y="46"/>
                  </a:lnTo>
                  <a:lnTo>
                    <a:pt x="16" y="48"/>
                  </a:lnTo>
                  <a:lnTo>
                    <a:pt x="16" y="48"/>
                  </a:lnTo>
                  <a:lnTo>
                    <a:pt x="18" y="48"/>
                  </a:lnTo>
                  <a:lnTo>
                    <a:pt x="18" y="50"/>
                  </a:lnTo>
                  <a:lnTo>
                    <a:pt x="14" y="54"/>
                  </a:lnTo>
                  <a:lnTo>
                    <a:pt x="14" y="54"/>
                  </a:lnTo>
                  <a:lnTo>
                    <a:pt x="10" y="56"/>
                  </a:lnTo>
                  <a:lnTo>
                    <a:pt x="4" y="56"/>
                  </a:lnTo>
                  <a:lnTo>
                    <a:pt x="4" y="56"/>
                  </a:lnTo>
                  <a:lnTo>
                    <a:pt x="2" y="58"/>
                  </a:lnTo>
                  <a:lnTo>
                    <a:pt x="2" y="60"/>
                  </a:lnTo>
                  <a:lnTo>
                    <a:pt x="2" y="60"/>
                  </a:lnTo>
                  <a:lnTo>
                    <a:pt x="2" y="62"/>
                  </a:lnTo>
                  <a:lnTo>
                    <a:pt x="2" y="66"/>
                  </a:lnTo>
                  <a:lnTo>
                    <a:pt x="0" y="68"/>
                  </a:lnTo>
                  <a:lnTo>
                    <a:pt x="0" y="70"/>
                  </a:lnTo>
                  <a:lnTo>
                    <a:pt x="0" y="70"/>
                  </a:lnTo>
                  <a:lnTo>
                    <a:pt x="2" y="72"/>
                  </a:lnTo>
                  <a:lnTo>
                    <a:pt x="0" y="72"/>
                  </a:lnTo>
                  <a:lnTo>
                    <a:pt x="0" y="74"/>
                  </a:lnTo>
                  <a:lnTo>
                    <a:pt x="0" y="76"/>
                  </a:lnTo>
                  <a:lnTo>
                    <a:pt x="0" y="76"/>
                  </a:lnTo>
                  <a:lnTo>
                    <a:pt x="2" y="78"/>
                  </a:lnTo>
                  <a:lnTo>
                    <a:pt x="2" y="80"/>
                  </a:lnTo>
                  <a:lnTo>
                    <a:pt x="0" y="84"/>
                  </a:lnTo>
                  <a:lnTo>
                    <a:pt x="0" y="84"/>
                  </a:lnTo>
                  <a:lnTo>
                    <a:pt x="4" y="88"/>
                  </a:lnTo>
                  <a:lnTo>
                    <a:pt x="4" y="92"/>
                  </a:lnTo>
                  <a:lnTo>
                    <a:pt x="4" y="92"/>
                  </a:lnTo>
                  <a:lnTo>
                    <a:pt x="6" y="94"/>
                  </a:lnTo>
                  <a:lnTo>
                    <a:pt x="4" y="100"/>
                  </a:lnTo>
                  <a:lnTo>
                    <a:pt x="4" y="100"/>
                  </a:lnTo>
                  <a:lnTo>
                    <a:pt x="10" y="102"/>
                  </a:lnTo>
                  <a:lnTo>
                    <a:pt x="10" y="102"/>
                  </a:lnTo>
                  <a:lnTo>
                    <a:pt x="14" y="106"/>
                  </a:lnTo>
                  <a:lnTo>
                    <a:pt x="16" y="108"/>
                  </a:lnTo>
                  <a:lnTo>
                    <a:pt x="18" y="108"/>
                  </a:lnTo>
                  <a:lnTo>
                    <a:pt x="18" y="108"/>
                  </a:lnTo>
                  <a:lnTo>
                    <a:pt x="24" y="108"/>
                  </a:lnTo>
                  <a:lnTo>
                    <a:pt x="30" y="110"/>
                  </a:lnTo>
                  <a:lnTo>
                    <a:pt x="30" y="110"/>
                  </a:lnTo>
                  <a:lnTo>
                    <a:pt x="36" y="112"/>
                  </a:lnTo>
                  <a:lnTo>
                    <a:pt x="36" y="112"/>
                  </a:lnTo>
                  <a:lnTo>
                    <a:pt x="36" y="114"/>
                  </a:lnTo>
                  <a:lnTo>
                    <a:pt x="36" y="114"/>
                  </a:lnTo>
                  <a:lnTo>
                    <a:pt x="32" y="120"/>
                  </a:lnTo>
                  <a:lnTo>
                    <a:pt x="30" y="128"/>
                  </a:lnTo>
                  <a:lnTo>
                    <a:pt x="30" y="128"/>
                  </a:lnTo>
                  <a:lnTo>
                    <a:pt x="28" y="132"/>
                  </a:lnTo>
                  <a:lnTo>
                    <a:pt x="28" y="136"/>
                  </a:lnTo>
                  <a:lnTo>
                    <a:pt x="28" y="136"/>
                  </a:lnTo>
                  <a:lnTo>
                    <a:pt x="30" y="138"/>
                  </a:lnTo>
                  <a:lnTo>
                    <a:pt x="30" y="138"/>
                  </a:lnTo>
                  <a:lnTo>
                    <a:pt x="32" y="138"/>
                  </a:lnTo>
                  <a:lnTo>
                    <a:pt x="32" y="138"/>
                  </a:lnTo>
                  <a:lnTo>
                    <a:pt x="42" y="140"/>
                  </a:lnTo>
                  <a:lnTo>
                    <a:pt x="46" y="140"/>
                  </a:lnTo>
                  <a:lnTo>
                    <a:pt x="48" y="140"/>
                  </a:lnTo>
                  <a:lnTo>
                    <a:pt x="48" y="138"/>
                  </a:lnTo>
                  <a:lnTo>
                    <a:pt x="48" y="138"/>
                  </a:lnTo>
                  <a:lnTo>
                    <a:pt x="48" y="138"/>
                  </a:lnTo>
                  <a:lnTo>
                    <a:pt x="48" y="138"/>
                  </a:lnTo>
                  <a:lnTo>
                    <a:pt x="52" y="138"/>
                  </a:lnTo>
                  <a:lnTo>
                    <a:pt x="66" y="142"/>
                  </a:lnTo>
                  <a:lnTo>
                    <a:pt x="66" y="142"/>
                  </a:lnTo>
                  <a:lnTo>
                    <a:pt x="68" y="140"/>
                  </a:lnTo>
                  <a:lnTo>
                    <a:pt x="72" y="140"/>
                  </a:lnTo>
                  <a:lnTo>
                    <a:pt x="80" y="142"/>
                  </a:lnTo>
                  <a:lnTo>
                    <a:pt x="80" y="142"/>
                  </a:lnTo>
                  <a:lnTo>
                    <a:pt x="86" y="144"/>
                  </a:lnTo>
                  <a:lnTo>
                    <a:pt x="88" y="144"/>
                  </a:lnTo>
                  <a:lnTo>
                    <a:pt x="90" y="142"/>
                  </a:lnTo>
                  <a:lnTo>
                    <a:pt x="90" y="142"/>
                  </a:lnTo>
                  <a:lnTo>
                    <a:pt x="90" y="140"/>
                  </a:lnTo>
                  <a:lnTo>
                    <a:pt x="92" y="140"/>
                  </a:lnTo>
                  <a:lnTo>
                    <a:pt x="94" y="140"/>
                  </a:lnTo>
                  <a:lnTo>
                    <a:pt x="96" y="138"/>
                  </a:lnTo>
                  <a:lnTo>
                    <a:pt x="96" y="138"/>
                  </a:lnTo>
                  <a:lnTo>
                    <a:pt x="96" y="138"/>
                  </a:lnTo>
                  <a:lnTo>
                    <a:pt x="98" y="138"/>
                  </a:lnTo>
                  <a:lnTo>
                    <a:pt x="104" y="140"/>
                  </a:lnTo>
                  <a:lnTo>
                    <a:pt x="104" y="140"/>
                  </a:lnTo>
                  <a:lnTo>
                    <a:pt x="106" y="140"/>
                  </a:lnTo>
                  <a:lnTo>
                    <a:pt x="108" y="140"/>
                  </a:lnTo>
                  <a:lnTo>
                    <a:pt x="114" y="138"/>
                  </a:lnTo>
                  <a:lnTo>
                    <a:pt x="114" y="138"/>
                  </a:lnTo>
                  <a:lnTo>
                    <a:pt x="116" y="136"/>
                  </a:lnTo>
                  <a:lnTo>
                    <a:pt x="118" y="134"/>
                  </a:lnTo>
                  <a:lnTo>
                    <a:pt x="118" y="134"/>
                  </a:lnTo>
                  <a:lnTo>
                    <a:pt x="120" y="134"/>
                  </a:lnTo>
                  <a:lnTo>
                    <a:pt x="122" y="134"/>
                  </a:lnTo>
                  <a:lnTo>
                    <a:pt x="122" y="134"/>
                  </a:lnTo>
                  <a:lnTo>
                    <a:pt x="124" y="134"/>
                  </a:lnTo>
                  <a:lnTo>
                    <a:pt x="124" y="134"/>
                  </a:lnTo>
                  <a:lnTo>
                    <a:pt x="126" y="134"/>
                  </a:lnTo>
                  <a:lnTo>
                    <a:pt x="126" y="134"/>
                  </a:lnTo>
                  <a:lnTo>
                    <a:pt x="128" y="136"/>
                  </a:lnTo>
                  <a:lnTo>
                    <a:pt x="130" y="138"/>
                  </a:lnTo>
                  <a:lnTo>
                    <a:pt x="130" y="138"/>
                  </a:lnTo>
                  <a:lnTo>
                    <a:pt x="132" y="138"/>
                  </a:lnTo>
                  <a:lnTo>
                    <a:pt x="132" y="136"/>
                  </a:lnTo>
                  <a:lnTo>
                    <a:pt x="132" y="134"/>
                  </a:lnTo>
                  <a:lnTo>
                    <a:pt x="132" y="134"/>
                  </a:lnTo>
                  <a:lnTo>
                    <a:pt x="132" y="132"/>
                  </a:lnTo>
                  <a:lnTo>
                    <a:pt x="132" y="132"/>
                  </a:lnTo>
                  <a:lnTo>
                    <a:pt x="132" y="130"/>
                  </a:lnTo>
                  <a:lnTo>
                    <a:pt x="132" y="130"/>
                  </a:lnTo>
                  <a:lnTo>
                    <a:pt x="132" y="130"/>
                  </a:lnTo>
                  <a:lnTo>
                    <a:pt x="130" y="128"/>
                  </a:lnTo>
                  <a:lnTo>
                    <a:pt x="130" y="128"/>
                  </a:lnTo>
                  <a:lnTo>
                    <a:pt x="132" y="126"/>
                  </a:lnTo>
                  <a:lnTo>
                    <a:pt x="132" y="126"/>
                  </a:lnTo>
                  <a:lnTo>
                    <a:pt x="134" y="126"/>
                  </a:lnTo>
                  <a:lnTo>
                    <a:pt x="136" y="124"/>
                  </a:lnTo>
                  <a:lnTo>
                    <a:pt x="138" y="122"/>
                  </a:lnTo>
                  <a:lnTo>
                    <a:pt x="138" y="120"/>
                  </a:lnTo>
                  <a:lnTo>
                    <a:pt x="138" y="120"/>
                  </a:lnTo>
                  <a:lnTo>
                    <a:pt x="140" y="120"/>
                  </a:lnTo>
                  <a:lnTo>
                    <a:pt x="142" y="118"/>
                  </a:lnTo>
                  <a:lnTo>
                    <a:pt x="144" y="114"/>
                  </a:lnTo>
                  <a:lnTo>
                    <a:pt x="144" y="114"/>
                  </a:lnTo>
                  <a:lnTo>
                    <a:pt x="144" y="110"/>
                  </a:lnTo>
                  <a:lnTo>
                    <a:pt x="140" y="108"/>
                  </a:lnTo>
                  <a:lnTo>
                    <a:pt x="140" y="108"/>
                  </a:lnTo>
                  <a:lnTo>
                    <a:pt x="136" y="106"/>
                  </a:lnTo>
                  <a:lnTo>
                    <a:pt x="128" y="100"/>
                  </a:lnTo>
                  <a:lnTo>
                    <a:pt x="128" y="100"/>
                  </a:lnTo>
                  <a:lnTo>
                    <a:pt x="124" y="98"/>
                  </a:lnTo>
                  <a:lnTo>
                    <a:pt x="120" y="94"/>
                  </a:lnTo>
                  <a:lnTo>
                    <a:pt x="120" y="94"/>
                  </a:lnTo>
                  <a:lnTo>
                    <a:pt x="116" y="88"/>
                  </a:lnTo>
                  <a:lnTo>
                    <a:pt x="112" y="84"/>
                  </a:lnTo>
                  <a:lnTo>
                    <a:pt x="112" y="84"/>
                  </a:lnTo>
                  <a:lnTo>
                    <a:pt x="112" y="82"/>
                  </a:lnTo>
                  <a:lnTo>
                    <a:pt x="116" y="82"/>
                  </a:lnTo>
                  <a:lnTo>
                    <a:pt x="124" y="82"/>
                  </a:lnTo>
                  <a:lnTo>
                    <a:pt x="124" y="82"/>
                  </a:lnTo>
                  <a:lnTo>
                    <a:pt x="136" y="78"/>
                  </a:lnTo>
                  <a:lnTo>
                    <a:pt x="136" y="78"/>
                  </a:lnTo>
                  <a:lnTo>
                    <a:pt x="142" y="76"/>
                  </a:lnTo>
                  <a:lnTo>
                    <a:pt x="146" y="72"/>
                  </a:lnTo>
                  <a:lnTo>
                    <a:pt x="146" y="72"/>
                  </a:lnTo>
                  <a:lnTo>
                    <a:pt x="150" y="68"/>
                  </a:lnTo>
                  <a:lnTo>
                    <a:pt x="152" y="70"/>
                  </a:lnTo>
                  <a:lnTo>
                    <a:pt x="152" y="70"/>
                  </a:lnTo>
                  <a:lnTo>
                    <a:pt x="156" y="74"/>
                  </a:lnTo>
                  <a:lnTo>
                    <a:pt x="160" y="74"/>
                  </a:lnTo>
                  <a:lnTo>
                    <a:pt x="160" y="74"/>
                  </a:lnTo>
                  <a:lnTo>
                    <a:pt x="160" y="72"/>
                  </a:lnTo>
                  <a:lnTo>
                    <a:pt x="160" y="68"/>
                  </a:lnTo>
                  <a:lnTo>
                    <a:pt x="160" y="68"/>
                  </a:lnTo>
                  <a:lnTo>
                    <a:pt x="158" y="60"/>
                  </a:lnTo>
                  <a:lnTo>
                    <a:pt x="154" y="50"/>
                  </a:lnTo>
                  <a:lnTo>
                    <a:pt x="154" y="50"/>
                  </a:lnTo>
                  <a:lnTo>
                    <a:pt x="154" y="46"/>
                  </a:lnTo>
                  <a:lnTo>
                    <a:pt x="154" y="42"/>
                  </a:lnTo>
                  <a:lnTo>
                    <a:pt x="154" y="42"/>
                  </a:lnTo>
                  <a:lnTo>
                    <a:pt x="152" y="40"/>
                  </a:lnTo>
                  <a:lnTo>
                    <a:pt x="150" y="40"/>
                  </a:lnTo>
                  <a:lnTo>
                    <a:pt x="148" y="38"/>
                  </a:lnTo>
                  <a:lnTo>
                    <a:pt x="148" y="38"/>
                  </a:lnTo>
                  <a:lnTo>
                    <a:pt x="144" y="36"/>
                  </a:lnTo>
                  <a:lnTo>
                    <a:pt x="142" y="36"/>
                  </a:lnTo>
                  <a:lnTo>
                    <a:pt x="142" y="34"/>
                  </a:lnTo>
                  <a:lnTo>
                    <a:pt x="142" y="34"/>
                  </a:lnTo>
                  <a:lnTo>
                    <a:pt x="142" y="32"/>
                  </a:lnTo>
                  <a:lnTo>
                    <a:pt x="144" y="28"/>
                  </a:lnTo>
                  <a:lnTo>
                    <a:pt x="146" y="26"/>
                  </a:lnTo>
                  <a:lnTo>
                    <a:pt x="146" y="26"/>
                  </a:lnTo>
                  <a:lnTo>
                    <a:pt x="146" y="26"/>
                  </a:lnTo>
                  <a:lnTo>
                    <a:pt x="146" y="22"/>
                  </a:lnTo>
                  <a:lnTo>
                    <a:pt x="146" y="18"/>
                  </a:lnTo>
                  <a:lnTo>
                    <a:pt x="146" y="18"/>
                  </a:lnTo>
                  <a:lnTo>
                    <a:pt x="142" y="16"/>
                  </a:lnTo>
                  <a:lnTo>
                    <a:pt x="140" y="14"/>
                  </a:lnTo>
                  <a:lnTo>
                    <a:pt x="140" y="14"/>
                  </a:lnTo>
                  <a:lnTo>
                    <a:pt x="138" y="12"/>
                  </a:lnTo>
                  <a:lnTo>
                    <a:pt x="138" y="10"/>
                  </a:lnTo>
                  <a:lnTo>
                    <a:pt x="138" y="10"/>
                  </a:lnTo>
                  <a:lnTo>
                    <a:pt x="136" y="8"/>
                  </a:lnTo>
                  <a:lnTo>
                    <a:pt x="136" y="8"/>
                  </a:lnTo>
                  <a:lnTo>
                    <a:pt x="134" y="8"/>
                  </a:lnTo>
                  <a:lnTo>
                    <a:pt x="132" y="10"/>
                  </a:lnTo>
                  <a:lnTo>
                    <a:pt x="132" y="12"/>
                  </a:lnTo>
                  <a:lnTo>
                    <a:pt x="130" y="12"/>
                  </a:lnTo>
                  <a:lnTo>
                    <a:pt x="130" y="12"/>
                  </a:lnTo>
                  <a:lnTo>
                    <a:pt x="128" y="10"/>
                  </a:lnTo>
                  <a:lnTo>
                    <a:pt x="124" y="10"/>
                  </a:lnTo>
                  <a:lnTo>
                    <a:pt x="124" y="10"/>
                  </a:lnTo>
                  <a:lnTo>
                    <a:pt x="118" y="14"/>
                  </a:lnTo>
                  <a:lnTo>
                    <a:pt x="118" y="14"/>
                  </a:lnTo>
                  <a:lnTo>
                    <a:pt x="116" y="14"/>
                  </a:lnTo>
                  <a:lnTo>
                    <a:pt x="118" y="12"/>
                  </a:lnTo>
                  <a:lnTo>
                    <a:pt x="118" y="12"/>
                  </a:lnTo>
                  <a:lnTo>
                    <a:pt x="122" y="10"/>
                  </a:lnTo>
                  <a:lnTo>
                    <a:pt x="122" y="10"/>
                  </a:lnTo>
                  <a:lnTo>
                    <a:pt x="122" y="10"/>
                  </a:lnTo>
                  <a:lnTo>
                    <a:pt x="118" y="10"/>
                  </a:lnTo>
                  <a:lnTo>
                    <a:pt x="118" y="10"/>
                  </a:lnTo>
                  <a:lnTo>
                    <a:pt x="114" y="12"/>
                  </a:lnTo>
                  <a:lnTo>
                    <a:pt x="110" y="14"/>
                  </a:lnTo>
                  <a:lnTo>
                    <a:pt x="110" y="14"/>
                  </a:lnTo>
                  <a:lnTo>
                    <a:pt x="104" y="14"/>
                  </a:lnTo>
                  <a:lnTo>
                    <a:pt x="100" y="14"/>
                  </a:lnTo>
                  <a:lnTo>
                    <a:pt x="100" y="14"/>
                  </a:lnTo>
                  <a:lnTo>
                    <a:pt x="98" y="14"/>
                  </a:lnTo>
                  <a:lnTo>
                    <a:pt x="94" y="16"/>
                  </a:lnTo>
                  <a:lnTo>
                    <a:pt x="94" y="16"/>
                  </a:lnTo>
                  <a:lnTo>
                    <a:pt x="92" y="16"/>
                  </a:lnTo>
                  <a:lnTo>
                    <a:pt x="90" y="16"/>
                  </a:lnTo>
                  <a:lnTo>
                    <a:pt x="86" y="14"/>
                  </a:lnTo>
                  <a:lnTo>
                    <a:pt x="86" y="14"/>
                  </a:lnTo>
                  <a:lnTo>
                    <a:pt x="82" y="14"/>
                  </a:lnTo>
                  <a:lnTo>
                    <a:pt x="78" y="14"/>
                  </a:lnTo>
                  <a:lnTo>
                    <a:pt x="78" y="14"/>
                  </a:lnTo>
                  <a:lnTo>
                    <a:pt x="78" y="12"/>
                  </a:lnTo>
                  <a:lnTo>
                    <a:pt x="80" y="12"/>
                  </a:lnTo>
                  <a:lnTo>
                    <a:pt x="82" y="10"/>
                  </a:lnTo>
                  <a:lnTo>
                    <a:pt x="78" y="8"/>
                  </a:lnTo>
                  <a:lnTo>
                    <a:pt x="78" y="8"/>
                  </a:lnTo>
                  <a:lnTo>
                    <a:pt x="76" y="8"/>
                  </a:lnTo>
                  <a:lnTo>
                    <a:pt x="74" y="6"/>
                  </a:lnTo>
                  <a:lnTo>
                    <a:pt x="74" y="6"/>
                  </a:lnTo>
                  <a:lnTo>
                    <a:pt x="70" y="6"/>
                  </a:lnTo>
                  <a:lnTo>
                    <a:pt x="68" y="8"/>
                  </a:lnTo>
                  <a:lnTo>
                    <a:pt x="68" y="8"/>
                  </a:lnTo>
                  <a:lnTo>
                    <a:pt x="66" y="4"/>
                  </a:lnTo>
                  <a:lnTo>
                    <a:pt x="62" y="6"/>
                  </a:lnTo>
                  <a:lnTo>
                    <a:pt x="62" y="6"/>
                  </a:lnTo>
                  <a:lnTo>
                    <a:pt x="64" y="4"/>
                  </a:lnTo>
                  <a:lnTo>
                    <a:pt x="62" y="2"/>
                  </a:lnTo>
                  <a:lnTo>
                    <a:pt x="60" y="0"/>
                  </a:lnTo>
                  <a:lnTo>
                    <a:pt x="60" y="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3" name="Greece"/>
            <p:cNvSpPr>
              <a:spLocks/>
            </p:cNvSpPr>
            <p:nvPr/>
          </p:nvSpPr>
          <p:spPr bwMode="auto">
            <a:xfrm>
              <a:off x="4657955" y="2263510"/>
              <a:ext cx="150813" cy="156104"/>
            </a:xfrm>
            <a:custGeom>
              <a:avLst/>
              <a:gdLst/>
              <a:ahLst/>
              <a:cxnLst>
                <a:cxn ang="0">
                  <a:pos x="6" y="50"/>
                </a:cxn>
                <a:cxn ang="0">
                  <a:pos x="12" y="58"/>
                </a:cxn>
                <a:cxn ang="0">
                  <a:pos x="20" y="66"/>
                </a:cxn>
                <a:cxn ang="0">
                  <a:pos x="24" y="64"/>
                </a:cxn>
                <a:cxn ang="0">
                  <a:pos x="28" y="64"/>
                </a:cxn>
                <a:cxn ang="0">
                  <a:pos x="22" y="68"/>
                </a:cxn>
                <a:cxn ang="0">
                  <a:pos x="30" y="74"/>
                </a:cxn>
                <a:cxn ang="0">
                  <a:pos x="44" y="74"/>
                </a:cxn>
                <a:cxn ang="0">
                  <a:pos x="58" y="78"/>
                </a:cxn>
                <a:cxn ang="0">
                  <a:pos x="52" y="80"/>
                </a:cxn>
                <a:cxn ang="0">
                  <a:pos x="36" y="78"/>
                </a:cxn>
                <a:cxn ang="0">
                  <a:pos x="26" y="82"/>
                </a:cxn>
                <a:cxn ang="0">
                  <a:pos x="28" y="92"/>
                </a:cxn>
                <a:cxn ang="0">
                  <a:pos x="38" y="98"/>
                </a:cxn>
                <a:cxn ang="0">
                  <a:pos x="46" y="110"/>
                </a:cxn>
                <a:cxn ang="0">
                  <a:pos x="54" y="110"/>
                </a:cxn>
                <a:cxn ang="0">
                  <a:pos x="58" y="114"/>
                </a:cxn>
                <a:cxn ang="0">
                  <a:pos x="66" y="118"/>
                </a:cxn>
                <a:cxn ang="0">
                  <a:pos x="60" y="102"/>
                </a:cxn>
                <a:cxn ang="0">
                  <a:pos x="58" y="96"/>
                </a:cxn>
                <a:cxn ang="0">
                  <a:pos x="64" y="98"/>
                </a:cxn>
                <a:cxn ang="0">
                  <a:pos x="66" y="92"/>
                </a:cxn>
                <a:cxn ang="0">
                  <a:pos x="64" y="86"/>
                </a:cxn>
                <a:cxn ang="0">
                  <a:pos x="78" y="90"/>
                </a:cxn>
                <a:cxn ang="0">
                  <a:pos x="80" y="80"/>
                </a:cxn>
                <a:cxn ang="0">
                  <a:pos x="66" y="70"/>
                </a:cxn>
                <a:cxn ang="0">
                  <a:pos x="56" y="64"/>
                </a:cxn>
                <a:cxn ang="0">
                  <a:pos x="50" y="58"/>
                </a:cxn>
                <a:cxn ang="0">
                  <a:pos x="50" y="50"/>
                </a:cxn>
                <a:cxn ang="0">
                  <a:pos x="56" y="54"/>
                </a:cxn>
                <a:cxn ang="0">
                  <a:pos x="56" y="46"/>
                </a:cxn>
                <a:cxn ang="0">
                  <a:pos x="48" y="36"/>
                </a:cxn>
                <a:cxn ang="0">
                  <a:pos x="48" y="30"/>
                </a:cxn>
                <a:cxn ang="0">
                  <a:pos x="60" y="34"/>
                </a:cxn>
                <a:cxn ang="0">
                  <a:pos x="64" y="36"/>
                </a:cxn>
                <a:cxn ang="0">
                  <a:pos x="68" y="38"/>
                </a:cxn>
                <a:cxn ang="0">
                  <a:pos x="70" y="36"/>
                </a:cxn>
                <a:cxn ang="0">
                  <a:pos x="68" y="28"/>
                </a:cxn>
                <a:cxn ang="0">
                  <a:pos x="76" y="24"/>
                </a:cxn>
                <a:cxn ang="0">
                  <a:pos x="84" y="20"/>
                </a:cxn>
                <a:cxn ang="0">
                  <a:pos x="90" y="22"/>
                </a:cxn>
                <a:cxn ang="0">
                  <a:pos x="108" y="22"/>
                </a:cxn>
                <a:cxn ang="0">
                  <a:pos x="112" y="10"/>
                </a:cxn>
                <a:cxn ang="0">
                  <a:pos x="110" y="2"/>
                </a:cxn>
                <a:cxn ang="0">
                  <a:pos x="106" y="6"/>
                </a:cxn>
                <a:cxn ang="0">
                  <a:pos x="94" y="6"/>
                </a:cxn>
                <a:cxn ang="0">
                  <a:pos x="78" y="4"/>
                </a:cxn>
                <a:cxn ang="0">
                  <a:pos x="66" y="6"/>
                </a:cxn>
                <a:cxn ang="0">
                  <a:pos x="48" y="10"/>
                </a:cxn>
                <a:cxn ang="0">
                  <a:pos x="40" y="10"/>
                </a:cxn>
                <a:cxn ang="0">
                  <a:pos x="20" y="18"/>
                </a:cxn>
                <a:cxn ang="0">
                  <a:pos x="10" y="30"/>
                </a:cxn>
                <a:cxn ang="0">
                  <a:pos x="2" y="44"/>
                </a:cxn>
              </a:cxnLst>
              <a:rect l="0" t="0" r="r" b="b"/>
              <a:pathLst>
                <a:path w="114" h="118">
                  <a:moveTo>
                    <a:pt x="2" y="48"/>
                  </a:moveTo>
                  <a:lnTo>
                    <a:pt x="2" y="48"/>
                  </a:lnTo>
                  <a:lnTo>
                    <a:pt x="0" y="48"/>
                  </a:lnTo>
                  <a:lnTo>
                    <a:pt x="2" y="50"/>
                  </a:lnTo>
                  <a:lnTo>
                    <a:pt x="2" y="50"/>
                  </a:lnTo>
                  <a:lnTo>
                    <a:pt x="6" y="50"/>
                  </a:lnTo>
                  <a:lnTo>
                    <a:pt x="8" y="52"/>
                  </a:lnTo>
                  <a:lnTo>
                    <a:pt x="8" y="54"/>
                  </a:lnTo>
                  <a:lnTo>
                    <a:pt x="8" y="54"/>
                  </a:lnTo>
                  <a:lnTo>
                    <a:pt x="10" y="56"/>
                  </a:lnTo>
                  <a:lnTo>
                    <a:pt x="10" y="56"/>
                  </a:lnTo>
                  <a:lnTo>
                    <a:pt x="12" y="58"/>
                  </a:lnTo>
                  <a:lnTo>
                    <a:pt x="14" y="58"/>
                  </a:lnTo>
                  <a:lnTo>
                    <a:pt x="14" y="58"/>
                  </a:lnTo>
                  <a:lnTo>
                    <a:pt x="16" y="62"/>
                  </a:lnTo>
                  <a:lnTo>
                    <a:pt x="20" y="66"/>
                  </a:lnTo>
                  <a:lnTo>
                    <a:pt x="20" y="66"/>
                  </a:lnTo>
                  <a:lnTo>
                    <a:pt x="20" y="66"/>
                  </a:lnTo>
                  <a:lnTo>
                    <a:pt x="22" y="66"/>
                  </a:lnTo>
                  <a:lnTo>
                    <a:pt x="22" y="62"/>
                  </a:lnTo>
                  <a:lnTo>
                    <a:pt x="22" y="62"/>
                  </a:lnTo>
                  <a:lnTo>
                    <a:pt x="22" y="62"/>
                  </a:lnTo>
                  <a:lnTo>
                    <a:pt x="22" y="62"/>
                  </a:lnTo>
                  <a:lnTo>
                    <a:pt x="24" y="64"/>
                  </a:lnTo>
                  <a:lnTo>
                    <a:pt x="26" y="62"/>
                  </a:lnTo>
                  <a:lnTo>
                    <a:pt x="26" y="62"/>
                  </a:lnTo>
                  <a:lnTo>
                    <a:pt x="26" y="62"/>
                  </a:lnTo>
                  <a:lnTo>
                    <a:pt x="26" y="64"/>
                  </a:lnTo>
                  <a:lnTo>
                    <a:pt x="28" y="64"/>
                  </a:lnTo>
                  <a:lnTo>
                    <a:pt x="28" y="64"/>
                  </a:lnTo>
                  <a:lnTo>
                    <a:pt x="30" y="66"/>
                  </a:lnTo>
                  <a:lnTo>
                    <a:pt x="28" y="66"/>
                  </a:lnTo>
                  <a:lnTo>
                    <a:pt x="28" y="66"/>
                  </a:lnTo>
                  <a:lnTo>
                    <a:pt x="22" y="66"/>
                  </a:lnTo>
                  <a:lnTo>
                    <a:pt x="22" y="68"/>
                  </a:lnTo>
                  <a:lnTo>
                    <a:pt x="22" y="68"/>
                  </a:lnTo>
                  <a:lnTo>
                    <a:pt x="24" y="72"/>
                  </a:lnTo>
                  <a:lnTo>
                    <a:pt x="26" y="74"/>
                  </a:lnTo>
                  <a:lnTo>
                    <a:pt x="26" y="74"/>
                  </a:lnTo>
                  <a:lnTo>
                    <a:pt x="28" y="76"/>
                  </a:lnTo>
                  <a:lnTo>
                    <a:pt x="30" y="74"/>
                  </a:lnTo>
                  <a:lnTo>
                    <a:pt x="30" y="74"/>
                  </a:lnTo>
                  <a:lnTo>
                    <a:pt x="32" y="72"/>
                  </a:lnTo>
                  <a:lnTo>
                    <a:pt x="34" y="74"/>
                  </a:lnTo>
                  <a:lnTo>
                    <a:pt x="38" y="76"/>
                  </a:lnTo>
                  <a:lnTo>
                    <a:pt x="40" y="76"/>
                  </a:lnTo>
                  <a:lnTo>
                    <a:pt x="40" y="76"/>
                  </a:lnTo>
                  <a:lnTo>
                    <a:pt x="44" y="74"/>
                  </a:lnTo>
                  <a:lnTo>
                    <a:pt x="50" y="78"/>
                  </a:lnTo>
                  <a:lnTo>
                    <a:pt x="50" y="78"/>
                  </a:lnTo>
                  <a:lnTo>
                    <a:pt x="54" y="80"/>
                  </a:lnTo>
                  <a:lnTo>
                    <a:pt x="58" y="78"/>
                  </a:lnTo>
                  <a:lnTo>
                    <a:pt x="58" y="78"/>
                  </a:lnTo>
                  <a:lnTo>
                    <a:pt x="58" y="78"/>
                  </a:lnTo>
                  <a:lnTo>
                    <a:pt x="58" y="78"/>
                  </a:lnTo>
                  <a:lnTo>
                    <a:pt x="56" y="80"/>
                  </a:lnTo>
                  <a:lnTo>
                    <a:pt x="58" y="82"/>
                  </a:lnTo>
                  <a:lnTo>
                    <a:pt x="58" y="82"/>
                  </a:lnTo>
                  <a:lnTo>
                    <a:pt x="52" y="80"/>
                  </a:lnTo>
                  <a:lnTo>
                    <a:pt x="52" y="80"/>
                  </a:lnTo>
                  <a:lnTo>
                    <a:pt x="48" y="80"/>
                  </a:lnTo>
                  <a:lnTo>
                    <a:pt x="44" y="78"/>
                  </a:lnTo>
                  <a:lnTo>
                    <a:pt x="44" y="78"/>
                  </a:lnTo>
                  <a:lnTo>
                    <a:pt x="40" y="78"/>
                  </a:lnTo>
                  <a:lnTo>
                    <a:pt x="38" y="78"/>
                  </a:lnTo>
                  <a:lnTo>
                    <a:pt x="36" y="78"/>
                  </a:lnTo>
                  <a:lnTo>
                    <a:pt x="34" y="78"/>
                  </a:lnTo>
                  <a:lnTo>
                    <a:pt x="34" y="78"/>
                  </a:lnTo>
                  <a:lnTo>
                    <a:pt x="32" y="78"/>
                  </a:lnTo>
                  <a:lnTo>
                    <a:pt x="30" y="80"/>
                  </a:lnTo>
                  <a:lnTo>
                    <a:pt x="28" y="82"/>
                  </a:lnTo>
                  <a:lnTo>
                    <a:pt x="26" y="82"/>
                  </a:lnTo>
                  <a:lnTo>
                    <a:pt x="26" y="82"/>
                  </a:lnTo>
                  <a:lnTo>
                    <a:pt x="24" y="84"/>
                  </a:lnTo>
                  <a:lnTo>
                    <a:pt x="26" y="86"/>
                  </a:lnTo>
                  <a:lnTo>
                    <a:pt x="26" y="86"/>
                  </a:lnTo>
                  <a:lnTo>
                    <a:pt x="28" y="88"/>
                  </a:lnTo>
                  <a:lnTo>
                    <a:pt x="28" y="92"/>
                  </a:lnTo>
                  <a:lnTo>
                    <a:pt x="28" y="92"/>
                  </a:lnTo>
                  <a:lnTo>
                    <a:pt x="30" y="90"/>
                  </a:lnTo>
                  <a:lnTo>
                    <a:pt x="32" y="90"/>
                  </a:lnTo>
                  <a:lnTo>
                    <a:pt x="36" y="94"/>
                  </a:lnTo>
                  <a:lnTo>
                    <a:pt x="38" y="98"/>
                  </a:lnTo>
                  <a:lnTo>
                    <a:pt x="38" y="98"/>
                  </a:lnTo>
                  <a:lnTo>
                    <a:pt x="36" y="100"/>
                  </a:lnTo>
                  <a:lnTo>
                    <a:pt x="36" y="100"/>
                  </a:lnTo>
                  <a:lnTo>
                    <a:pt x="34" y="102"/>
                  </a:lnTo>
                  <a:lnTo>
                    <a:pt x="36" y="104"/>
                  </a:lnTo>
                  <a:lnTo>
                    <a:pt x="46" y="110"/>
                  </a:lnTo>
                  <a:lnTo>
                    <a:pt x="46" y="110"/>
                  </a:lnTo>
                  <a:lnTo>
                    <a:pt x="50" y="112"/>
                  </a:lnTo>
                  <a:lnTo>
                    <a:pt x="50" y="112"/>
                  </a:lnTo>
                  <a:lnTo>
                    <a:pt x="52" y="110"/>
                  </a:lnTo>
                  <a:lnTo>
                    <a:pt x="52" y="110"/>
                  </a:lnTo>
                  <a:lnTo>
                    <a:pt x="52" y="108"/>
                  </a:lnTo>
                  <a:lnTo>
                    <a:pt x="54" y="110"/>
                  </a:lnTo>
                  <a:lnTo>
                    <a:pt x="54" y="114"/>
                  </a:lnTo>
                  <a:lnTo>
                    <a:pt x="54" y="114"/>
                  </a:lnTo>
                  <a:lnTo>
                    <a:pt x="56" y="116"/>
                  </a:lnTo>
                  <a:lnTo>
                    <a:pt x="56" y="116"/>
                  </a:lnTo>
                  <a:lnTo>
                    <a:pt x="58" y="116"/>
                  </a:lnTo>
                  <a:lnTo>
                    <a:pt x="58" y="114"/>
                  </a:lnTo>
                  <a:lnTo>
                    <a:pt x="58" y="114"/>
                  </a:lnTo>
                  <a:lnTo>
                    <a:pt x="58" y="112"/>
                  </a:lnTo>
                  <a:lnTo>
                    <a:pt x="60" y="112"/>
                  </a:lnTo>
                  <a:lnTo>
                    <a:pt x="64" y="116"/>
                  </a:lnTo>
                  <a:lnTo>
                    <a:pt x="64" y="116"/>
                  </a:lnTo>
                  <a:lnTo>
                    <a:pt x="66" y="118"/>
                  </a:lnTo>
                  <a:lnTo>
                    <a:pt x="66" y="116"/>
                  </a:lnTo>
                  <a:lnTo>
                    <a:pt x="64" y="112"/>
                  </a:lnTo>
                  <a:lnTo>
                    <a:pt x="64" y="112"/>
                  </a:lnTo>
                  <a:lnTo>
                    <a:pt x="60" y="106"/>
                  </a:lnTo>
                  <a:lnTo>
                    <a:pt x="60" y="106"/>
                  </a:lnTo>
                  <a:lnTo>
                    <a:pt x="60" y="102"/>
                  </a:lnTo>
                  <a:lnTo>
                    <a:pt x="60" y="102"/>
                  </a:lnTo>
                  <a:lnTo>
                    <a:pt x="60" y="100"/>
                  </a:lnTo>
                  <a:lnTo>
                    <a:pt x="60" y="100"/>
                  </a:lnTo>
                  <a:lnTo>
                    <a:pt x="58" y="98"/>
                  </a:lnTo>
                  <a:lnTo>
                    <a:pt x="56" y="96"/>
                  </a:lnTo>
                  <a:lnTo>
                    <a:pt x="58" y="96"/>
                  </a:lnTo>
                  <a:lnTo>
                    <a:pt x="58" y="96"/>
                  </a:lnTo>
                  <a:lnTo>
                    <a:pt x="60" y="98"/>
                  </a:lnTo>
                  <a:lnTo>
                    <a:pt x="62" y="98"/>
                  </a:lnTo>
                  <a:lnTo>
                    <a:pt x="62" y="98"/>
                  </a:lnTo>
                  <a:lnTo>
                    <a:pt x="62" y="100"/>
                  </a:lnTo>
                  <a:lnTo>
                    <a:pt x="64" y="98"/>
                  </a:lnTo>
                  <a:lnTo>
                    <a:pt x="66" y="96"/>
                  </a:lnTo>
                  <a:lnTo>
                    <a:pt x="66" y="96"/>
                  </a:lnTo>
                  <a:lnTo>
                    <a:pt x="68" y="94"/>
                  </a:lnTo>
                  <a:lnTo>
                    <a:pt x="68" y="94"/>
                  </a:lnTo>
                  <a:lnTo>
                    <a:pt x="66" y="92"/>
                  </a:lnTo>
                  <a:lnTo>
                    <a:pt x="66" y="92"/>
                  </a:lnTo>
                  <a:lnTo>
                    <a:pt x="64" y="90"/>
                  </a:lnTo>
                  <a:lnTo>
                    <a:pt x="64" y="88"/>
                  </a:lnTo>
                  <a:lnTo>
                    <a:pt x="64" y="88"/>
                  </a:lnTo>
                  <a:lnTo>
                    <a:pt x="64" y="88"/>
                  </a:lnTo>
                  <a:lnTo>
                    <a:pt x="62" y="86"/>
                  </a:lnTo>
                  <a:lnTo>
                    <a:pt x="64" y="86"/>
                  </a:lnTo>
                  <a:lnTo>
                    <a:pt x="70" y="86"/>
                  </a:lnTo>
                  <a:lnTo>
                    <a:pt x="70" y="86"/>
                  </a:lnTo>
                  <a:lnTo>
                    <a:pt x="74" y="84"/>
                  </a:lnTo>
                  <a:lnTo>
                    <a:pt x="76" y="86"/>
                  </a:lnTo>
                  <a:lnTo>
                    <a:pt x="76" y="86"/>
                  </a:lnTo>
                  <a:lnTo>
                    <a:pt x="78" y="90"/>
                  </a:lnTo>
                  <a:lnTo>
                    <a:pt x="80" y="90"/>
                  </a:lnTo>
                  <a:lnTo>
                    <a:pt x="80" y="88"/>
                  </a:lnTo>
                  <a:lnTo>
                    <a:pt x="80" y="88"/>
                  </a:lnTo>
                  <a:lnTo>
                    <a:pt x="82" y="84"/>
                  </a:lnTo>
                  <a:lnTo>
                    <a:pt x="80" y="80"/>
                  </a:lnTo>
                  <a:lnTo>
                    <a:pt x="80" y="80"/>
                  </a:lnTo>
                  <a:lnTo>
                    <a:pt x="76" y="76"/>
                  </a:lnTo>
                  <a:lnTo>
                    <a:pt x="72" y="74"/>
                  </a:lnTo>
                  <a:lnTo>
                    <a:pt x="72" y="74"/>
                  </a:lnTo>
                  <a:lnTo>
                    <a:pt x="68" y="74"/>
                  </a:lnTo>
                  <a:lnTo>
                    <a:pt x="66" y="70"/>
                  </a:lnTo>
                  <a:lnTo>
                    <a:pt x="66" y="70"/>
                  </a:lnTo>
                  <a:lnTo>
                    <a:pt x="62" y="68"/>
                  </a:lnTo>
                  <a:lnTo>
                    <a:pt x="56" y="68"/>
                  </a:lnTo>
                  <a:lnTo>
                    <a:pt x="56" y="68"/>
                  </a:lnTo>
                  <a:lnTo>
                    <a:pt x="56" y="68"/>
                  </a:lnTo>
                  <a:lnTo>
                    <a:pt x="56" y="66"/>
                  </a:lnTo>
                  <a:lnTo>
                    <a:pt x="56" y="64"/>
                  </a:lnTo>
                  <a:lnTo>
                    <a:pt x="56" y="62"/>
                  </a:lnTo>
                  <a:lnTo>
                    <a:pt x="56" y="62"/>
                  </a:lnTo>
                  <a:lnTo>
                    <a:pt x="56" y="60"/>
                  </a:lnTo>
                  <a:lnTo>
                    <a:pt x="54" y="58"/>
                  </a:lnTo>
                  <a:lnTo>
                    <a:pt x="54" y="58"/>
                  </a:lnTo>
                  <a:lnTo>
                    <a:pt x="50" y="58"/>
                  </a:lnTo>
                  <a:lnTo>
                    <a:pt x="52" y="56"/>
                  </a:lnTo>
                  <a:lnTo>
                    <a:pt x="52" y="56"/>
                  </a:lnTo>
                  <a:lnTo>
                    <a:pt x="54" y="56"/>
                  </a:lnTo>
                  <a:lnTo>
                    <a:pt x="52" y="52"/>
                  </a:lnTo>
                  <a:lnTo>
                    <a:pt x="52" y="52"/>
                  </a:lnTo>
                  <a:lnTo>
                    <a:pt x="50" y="50"/>
                  </a:lnTo>
                  <a:lnTo>
                    <a:pt x="52" y="50"/>
                  </a:lnTo>
                  <a:lnTo>
                    <a:pt x="54" y="50"/>
                  </a:lnTo>
                  <a:lnTo>
                    <a:pt x="54" y="50"/>
                  </a:lnTo>
                  <a:lnTo>
                    <a:pt x="56" y="52"/>
                  </a:lnTo>
                  <a:lnTo>
                    <a:pt x="56" y="54"/>
                  </a:lnTo>
                  <a:lnTo>
                    <a:pt x="56" y="54"/>
                  </a:lnTo>
                  <a:lnTo>
                    <a:pt x="56" y="56"/>
                  </a:lnTo>
                  <a:lnTo>
                    <a:pt x="58" y="56"/>
                  </a:lnTo>
                  <a:lnTo>
                    <a:pt x="58" y="56"/>
                  </a:lnTo>
                  <a:lnTo>
                    <a:pt x="60" y="54"/>
                  </a:lnTo>
                  <a:lnTo>
                    <a:pt x="58" y="52"/>
                  </a:lnTo>
                  <a:lnTo>
                    <a:pt x="56" y="46"/>
                  </a:lnTo>
                  <a:lnTo>
                    <a:pt x="56" y="46"/>
                  </a:lnTo>
                  <a:lnTo>
                    <a:pt x="52" y="44"/>
                  </a:lnTo>
                  <a:lnTo>
                    <a:pt x="50" y="42"/>
                  </a:lnTo>
                  <a:lnTo>
                    <a:pt x="50" y="42"/>
                  </a:lnTo>
                  <a:lnTo>
                    <a:pt x="48" y="38"/>
                  </a:lnTo>
                  <a:lnTo>
                    <a:pt x="48" y="36"/>
                  </a:lnTo>
                  <a:lnTo>
                    <a:pt x="48" y="36"/>
                  </a:lnTo>
                  <a:lnTo>
                    <a:pt x="48" y="34"/>
                  </a:lnTo>
                  <a:lnTo>
                    <a:pt x="48" y="32"/>
                  </a:lnTo>
                  <a:lnTo>
                    <a:pt x="48" y="30"/>
                  </a:lnTo>
                  <a:lnTo>
                    <a:pt x="48" y="30"/>
                  </a:lnTo>
                  <a:lnTo>
                    <a:pt x="48" y="30"/>
                  </a:lnTo>
                  <a:lnTo>
                    <a:pt x="52" y="30"/>
                  </a:lnTo>
                  <a:lnTo>
                    <a:pt x="52" y="32"/>
                  </a:lnTo>
                  <a:lnTo>
                    <a:pt x="52" y="32"/>
                  </a:lnTo>
                  <a:lnTo>
                    <a:pt x="54" y="34"/>
                  </a:lnTo>
                  <a:lnTo>
                    <a:pt x="56" y="34"/>
                  </a:lnTo>
                  <a:lnTo>
                    <a:pt x="60" y="34"/>
                  </a:lnTo>
                  <a:lnTo>
                    <a:pt x="60" y="34"/>
                  </a:lnTo>
                  <a:lnTo>
                    <a:pt x="60" y="36"/>
                  </a:lnTo>
                  <a:lnTo>
                    <a:pt x="60" y="38"/>
                  </a:lnTo>
                  <a:lnTo>
                    <a:pt x="60" y="38"/>
                  </a:lnTo>
                  <a:lnTo>
                    <a:pt x="64" y="38"/>
                  </a:lnTo>
                  <a:lnTo>
                    <a:pt x="64" y="36"/>
                  </a:lnTo>
                  <a:lnTo>
                    <a:pt x="64" y="36"/>
                  </a:lnTo>
                  <a:lnTo>
                    <a:pt x="64" y="36"/>
                  </a:lnTo>
                  <a:lnTo>
                    <a:pt x="66" y="38"/>
                  </a:lnTo>
                  <a:lnTo>
                    <a:pt x="66" y="38"/>
                  </a:lnTo>
                  <a:lnTo>
                    <a:pt x="68" y="38"/>
                  </a:lnTo>
                  <a:lnTo>
                    <a:pt x="68" y="38"/>
                  </a:lnTo>
                  <a:lnTo>
                    <a:pt x="66" y="34"/>
                  </a:lnTo>
                  <a:lnTo>
                    <a:pt x="66" y="34"/>
                  </a:lnTo>
                  <a:lnTo>
                    <a:pt x="66" y="34"/>
                  </a:lnTo>
                  <a:lnTo>
                    <a:pt x="66" y="34"/>
                  </a:lnTo>
                  <a:lnTo>
                    <a:pt x="70" y="36"/>
                  </a:lnTo>
                  <a:lnTo>
                    <a:pt x="70" y="36"/>
                  </a:lnTo>
                  <a:lnTo>
                    <a:pt x="72" y="36"/>
                  </a:lnTo>
                  <a:lnTo>
                    <a:pt x="72" y="36"/>
                  </a:lnTo>
                  <a:lnTo>
                    <a:pt x="70" y="32"/>
                  </a:lnTo>
                  <a:lnTo>
                    <a:pt x="70" y="32"/>
                  </a:lnTo>
                  <a:lnTo>
                    <a:pt x="68" y="30"/>
                  </a:lnTo>
                  <a:lnTo>
                    <a:pt x="68" y="28"/>
                  </a:lnTo>
                  <a:lnTo>
                    <a:pt x="68" y="28"/>
                  </a:lnTo>
                  <a:lnTo>
                    <a:pt x="70" y="26"/>
                  </a:lnTo>
                  <a:lnTo>
                    <a:pt x="72" y="26"/>
                  </a:lnTo>
                  <a:lnTo>
                    <a:pt x="74" y="26"/>
                  </a:lnTo>
                  <a:lnTo>
                    <a:pt x="76" y="24"/>
                  </a:lnTo>
                  <a:lnTo>
                    <a:pt x="76" y="24"/>
                  </a:lnTo>
                  <a:lnTo>
                    <a:pt x="76" y="22"/>
                  </a:lnTo>
                  <a:lnTo>
                    <a:pt x="78" y="22"/>
                  </a:lnTo>
                  <a:lnTo>
                    <a:pt x="82" y="24"/>
                  </a:lnTo>
                  <a:lnTo>
                    <a:pt x="82" y="22"/>
                  </a:lnTo>
                  <a:lnTo>
                    <a:pt x="82" y="22"/>
                  </a:lnTo>
                  <a:lnTo>
                    <a:pt x="84" y="20"/>
                  </a:lnTo>
                  <a:lnTo>
                    <a:pt x="86" y="20"/>
                  </a:lnTo>
                  <a:lnTo>
                    <a:pt x="88" y="20"/>
                  </a:lnTo>
                  <a:lnTo>
                    <a:pt x="88" y="22"/>
                  </a:lnTo>
                  <a:lnTo>
                    <a:pt x="88" y="22"/>
                  </a:lnTo>
                  <a:lnTo>
                    <a:pt x="88" y="22"/>
                  </a:lnTo>
                  <a:lnTo>
                    <a:pt x="90" y="22"/>
                  </a:lnTo>
                  <a:lnTo>
                    <a:pt x="96" y="22"/>
                  </a:lnTo>
                  <a:lnTo>
                    <a:pt x="96" y="22"/>
                  </a:lnTo>
                  <a:lnTo>
                    <a:pt x="100" y="22"/>
                  </a:lnTo>
                  <a:lnTo>
                    <a:pt x="104" y="22"/>
                  </a:lnTo>
                  <a:lnTo>
                    <a:pt x="108" y="22"/>
                  </a:lnTo>
                  <a:lnTo>
                    <a:pt x="108" y="22"/>
                  </a:lnTo>
                  <a:lnTo>
                    <a:pt x="110" y="18"/>
                  </a:lnTo>
                  <a:lnTo>
                    <a:pt x="110" y="16"/>
                  </a:lnTo>
                  <a:lnTo>
                    <a:pt x="108" y="12"/>
                  </a:lnTo>
                  <a:lnTo>
                    <a:pt x="108" y="12"/>
                  </a:lnTo>
                  <a:lnTo>
                    <a:pt x="110" y="10"/>
                  </a:lnTo>
                  <a:lnTo>
                    <a:pt x="112" y="10"/>
                  </a:lnTo>
                  <a:lnTo>
                    <a:pt x="112" y="8"/>
                  </a:lnTo>
                  <a:lnTo>
                    <a:pt x="114" y="6"/>
                  </a:lnTo>
                  <a:lnTo>
                    <a:pt x="114" y="6"/>
                  </a:lnTo>
                  <a:lnTo>
                    <a:pt x="114" y="4"/>
                  </a:lnTo>
                  <a:lnTo>
                    <a:pt x="114" y="4"/>
                  </a:lnTo>
                  <a:lnTo>
                    <a:pt x="110" y="2"/>
                  </a:lnTo>
                  <a:lnTo>
                    <a:pt x="110" y="2"/>
                  </a:lnTo>
                  <a:lnTo>
                    <a:pt x="106" y="0"/>
                  </a:lnTo>
                  <a:lnTo>
                    <a:pt x="106" y="4"/>
                  </a:lnTo>
                  <a:lnTo>
                    <a:pt x="106" y="4"/>
                  </a:lnTo>
                  <a:lnTo>
                    <a:pt x="106" y="4"/>
                  </a:lnTo>
                  <a:lnTo>
                    <a:pt x="106" y="6"/>
                  </a:lnTo>
                  <a:lnTo>
                    <a:pt x="102" y="6"/>
                  </a:lnTo>
                  <a:lnTo>
                    <a:pt x="98" y="4"/>
                  </a:lnTo>
                  <a:lnTo>
                    <a:pt x="96" y="6"/>
                  </a:lnTo>
                  <a:lnTo>
                    <a:pt x="96" y="6"/>
                  </a:lnTo>
                  <a:lnTo>
                    <a:pt x="96" y="6"/>
                  </a:lnTo>
                  <a:lnTo>
                    <a:pt x="94" y="6"/>
                  </a:lnTo>
                  <a:lnTo>
                    <a:pt x="88" y="6"/>
                  </a:lnTo>
                  <a:lnTo>
                    <a:pt x="88" y="6"/>
                  </a:lnTo>
                  <a:lnTo>
                    <a:pt x="86" y="6"/>
                  </a:lnTo>
                  <a:lnTo>
                    <a:pt x="82" y="4"/>
                  </a:lnTo>
                  <a:lnTo>
                    <a:pt x="82" y="4"/>
                  </a:lnTo>
                  <a:lnTo>
                    <a:pt x="78" y="4"/>
                  </a:lnTo>
                  <a:lnTo>
                    <a:pt x="74" y="4"/>
                  </a:lnTo>
                  <a:lnTo>
                    <a:pt x="74" y="4"/>
                  </a:lnTo>
                  <a:lnTo>
                    <a:pt x="72" y="2"/>
                  </a:lnTo>
                  <a:lnTo>
                    <a:pt x="70" y="2"/>
                  </a:lnTo>
                  <a:lnTo>
                    <a:pt x="66" y="6"/>
                  </a:lnTo>
                  <a:lnTo>
                    <a:pt x="66" y="6"/>
                  </a:lnTo>
                  <a:lnTo>
                    <a:pt x="64" y="6"/>
                  </a:lnTo>
                  <a:lnTo>
                    <a:pt x="60" y="6"/>
                  </a:lnTo>
                  <a:lnTo>
                    <a:pt x="52" y="6"/>
                  </a:lnTo>
                  <a:lnTo>
                    <a:pt x="52" y="6"/>
                  </a:lnTo>
                  <a:lnTo>
                    <a:pt x="50" y="8"/>
                  </a:lnTo>
                  <a:lnTo>
                    <a:pt x="48" y="10"/>
                  </a:lnTo>
                  <a:lnTo>
                    <a:pt x="48" y="10"/>
                  </a:lnTo>
                  <a:lnTo>
                    <a:pt x="48" y="12"/>
                  </a:lnTo>
                  <a:lnTo>
                    <a:pt x="46" y="12"/>
                  </a:lnTo>
                  <a:lnTo>
                    <a:pt x="42" y="10"/>
                  </a:lnTo>
                  <a:lnTo>
                    <a:pt x="42" y="10"/>
                  </a:lnTo>
                  <a:lnTo>
                    <a:pt x="40" y="10"/>
                  </a:lnTo>
                  <a:lnTo>
                    <a:pt x="38" y="10"/>
                  </a:lnTo>
                  <a:lnTo>
                    <a:pt x="36" y="14"/>
                  </a:lnTo>
                  <a:lnTo>
                    <a:pt x="36" y="14"/>
                  </a:lnTo>
                  <a:lnTo>
                    <a:pt x="32" y="18"/>
                  </a:lnTo>
                  <a:lnTo>
                    <a:pt x="28" y="18"/>
                  </a:lnTo>
                  <a:lnTo>
                    <a:pt x="20" y="18"/>
                  </a:lnTo>
                  <a:lnTo>
                    <a:pt x="20" y="18"/>
                  </a:lnTo>
                  <a:lnTo>
                    <a:pt x="16" y="18"/>
                  </a:lnTo>
                  <a:lnTo>
                    <a:pt x="12" y="22"/>
                  </a:lnTo>
                  <a:lnTo>
                    <a:pt x="12" y="22"/>
                  </a:lnTo>
                  <a:lnTo>
                    <a:pt x="12" y="26"/>
                  </a:lnTo>
                  <a:lnTo>
                    <a:pt x="10" y="30"/>
                  </a:lnTo>
                  <a:lnTo>
                    <a:pt x="8" y="36"/>
                  </a:lnTo>
                  <a:lnTo>
                    <a:pt x="8" y="36"/>
                  </a:lnTo>
                  <a:lnTo>
                    <a:pt x="6" y="42"/>
                  </a:lnTo>
                  <a:lnTo>
                    <a:pt x="2" y="44"/>
                  </a:lnTo>
                  <a:lnTo>
                    <a:pt x="2" y="44"/>
                  </a:lnTo>
                  <a:lnTo>
                    <a:pt x="2" y="44"/>
                  </a:lnTo>
                  <a:lnTo>
                    <a:pt x="2" y="46"/>
                  </a:lnTo>
                  <a:lnTo>
                    <a:pt x="2" y="46"/>
                  </a:lnTo>
                  <a:lnTo>
                    <a:pt x="2" y="48"/>
                  </a:lnTo>
                  <a:lnTo>
                    <a:pt x="2" y="4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4" name="Hungary"/>
            <p:cNvSpPr>
              <a:spLocks/>
            </p:cNvSpPr>
            <p:nvPr/>
          </p:nvSpPr>
          <p:spPr bwMode="auto">
            <a:xfrm>
              <a:off x="4536247" y="2073010"/>
              <a:ext cx="148167" cy="82021"/>
            </a:xfrm>
            <a:custGeom>
              <a:avLst/>
              <a:gdLst/>
              <a:ahLst/>
              <a:cxnLst>
                <a:cxn ang="0">
                  <a:pos x="112" y="14"/>
                </a:cxn>
                <a:cxn ang="0">
                  <a:pos x="106" y="8"/>
                </a:cxn>
                <a:cxn ang="0">
                  <a:pos x="106" y="4"/>
                </a:cxn>
                <a:cxn ang="0">
                  <a:pos x="98" y="6"/>
                </a:cxn>
                <a:cxn ang="0">
                  <a:pos x="90" y="2"/>
                </a:cxn>
                <a:cxn ang="0">
                  <a:pos x="82" y="2"/>
                </a:cxn>
                <a:cxn ang="0">
                  <a:pos x="76" y="4"/>
                </a:cxn>
                <a:cxn ang="0">
                  <a:pos x="72" y="4"/>
                </a:cxn>
                <a:cxn ang="0">
                  <a:pos x="62" y="10"/>
                </a:cxn>
                <a:cxn ang="0">
                  <a:pos x="54" y="12"/>
                </a:cxn>
                <a:cxn ang="0">
                  <a:pos x="44" y="14"/>
                </a:cxn>
                <a:cxn ang="0">
                  <a:pos x="40" y="16"/>
                </a:cxn>
                <a:cxn ang="0">
                  <a:pos x="42" y="18"/>
                </a:cxn>
                <a:cxn ang="0">
                  <a:pos x="38" y="20"/>
                </a:cxn>
                <a:cxn ang="0">
                  <a:pos x="30" y="20"/>
                </a:cxn>
                <a:cxn ang="0">
                  <a:pos x="18" y="18"/>
                </a:cxn>
                <a:cxn ang="0">
                  <a:pos x="14" y="22"/>
                </a:cxn>
                <a:cxn ang="0">
                  <a:pos x="6" y="20"/>
                </a:cxn>
                <a:cxn ang="0">
                  <a:pos x="2" y="20"/>
                </a:cxn>
                <a:cxn ang="0">
                  <a:pos x="6" y="24"/>
                </a:cxn>
                <a:cxn ang="0">
                  <a:pos x="8" y="26"/>
                </a:cxn>
                <a:cxn ang="0">
                  <a:pos x="6" y="30"/>
                </a:cxn>
                <a:cxn ang="0">
                  <a:pos x="6" y="34"/>
                </a:cxn>
                <a:cxn ang="0">
                  <a:pos x="0" y="40"/>
                </a:cxn>
                <a:cxn ang="0">
                  <a:pos x="4" y="42"/>
                </a:cxn>
                <a:cxn ang="0">
                  <a:pos x="6" y="44"/>
                </a:cxn>
                <a:cxn ang="0">
                  <a:pos x="6" y="44"/>
                </a:cxn>
                <a:cxn ang="0">
                  <a:pos x="8" y="48"/>
                </a:cxn>
                <a:cxn ang="0">
                  <a:pos x="10" y="50"/>
                </a:cxn>
                <a:cxn ang="0">
                  <a:pos x="18" y="54"/>
                </a:cxn>
                <a:cxn ang="0">
                  <a:pos x="22" y="56"/>
                </a:cxn>
                <a:cxn ang="0">
                  <a:pos x="34" y="60"/>
                </a:cxn>
                <a:cxn ang="0">
                  <a:pos x="36" y="62"/>
                </a:cxn>
                <a:cxn ang="0">
                  <a:pos x="40" y="62"/>
                </a:cxn>
                <a:cxn ang="0">
                  <a:pos x="46" y="56"/>
                </a:cxn>
                <a:cxn ang="0">
                  <a:pos x="54" y="54"/>
                </a:cxn>
                <a:cxn ang="0">
                  <a:pos x="60" y="54"/>
                </a:cxn>
                <a:cxn ang="0">
                  <a:pos x="62" y="56"/>
                </a:cxn>
                <a:cxn ang="0">
                  <a:pos x="70" y="54"/>
                </a:cxn>
                <a:cxn ang="0">
                  <a:pos x="82" y="54"/>
                </a:cxn>
                <a:cxn ang="0">
                  <a:pos x="86" y="54"/>
                </a:cxn>
                <a:cxn ang="0">
                  <a:pos x="90" y="50"/>
                </a:cxn>
                <a:cxn ang="0">
                  <a:pos x="98" y="38"/>
                </a:cxn>
                <a:cxn ang="0">
                  <a:pos x="104" y="28"/>
                </a:cxn>
                <a:cxn ang="0">
                  <a:pos x="102" y="24"/>
                </a:cxn>
                <a:cxn ang="0">
                  <a:pos x="104" y="20"/>
                </a:cxn>
                <a:cxn ang="0">
                  <a:pos x="112" y="14"/>
                </a:cxn>
              </a:cxnLst>
              <a:rect l="0" t="0" r="r" b="b"/>
              <a:pathLst>
                <a:path w="112" h="62">
                  <a:moveTo>
                    <a:pt x="112" y="14"/>
                  </a:moveTo>
                  <a:lnTo>
                    <a:pt x="112" y="14"/>
                  </a:lnTo>
                  <a:lnTo>
                    <a:pt x="110" y="12"/>
                  </a:lnTo>
                  <a:lnTo>
                    <a:pt x="106" y="8"/>
                  </a:lnTo>
                  <a:lnTo>
                    <a:pt x="106" y="8"/>
                  </a:lnTo>
                  <a:lnTo>
                    <a:pt x="106" y="4"/>
                  </a:lnTo>
                  <a:lnTo>
                    <a:pt x="106" y="4"/>
                  </a:lnTo>
                  <a:lnTo>
                    <a:pt x="98" y="6"/>
                  </a:lnTo>
                  <a:lnTo>
                    <a:pt x="90" y="2"/>
                  </a:lnTo>
                  <a:lnTo>
                    <a:pt x="90" y="2"/>
                  </a:lnTo>
                  <a:lnTo>
                    <a:pt x="84" y="0"/>
                  </a:lnTo>
                  <a:lnTo>
                    <a:pt x="82" y="2"/>
                  </a:lnTo>
                  <a:lnTo>
                    <a:pt x="80" y="4"/>
                  </a:lnTo>
                  <a:lnTo>
                    <a:pt x="76" y="4"/>
                  </a:lnTo>
                  <a:lnTo>
                    <a:pt x="76" y="4"/>
                  </a:lnTo>
                  <a:lnTo>
                    <a:pt x="72" y="4"/>
                  </a:lnTo>
                  <a:lnTo>
                    <a:pt x="68" y="6"/>
                  </a:lnTo>
                  <a:lnTo>
                    <a:pt x="62" y="10"/>
                  </a:lnTo>
                  <a:lnTo>
                    <a:pt x="62" y="10"/>
                  </a:lnTo>
                  <a:lnTo>
                    <a:pt x="54" y="12"/>
                  </a:lnTo>
                  <a:lnTo>
                    <a:pt x="44" y="14"/>
                  </a:lnTo>
                  <a:lnTo>
                    <a:pt x="44" y="14"/>
                  </a:lnTo>
                  <a:lnTo>
                    <a:pt x="42" y="14"/>
                  </a:lnTo>
                  <a:lnTo>
                    <a:pt x="40" y="16"/>
                  </a:lnTo>
                  <a:lnTo>
                    <a:pt x="42" y="18"/>
                  </a:lnTo>
                  <a:lnTo>
                    <a:pt x="42" y="18"/>
                  </a:lnTo>
                  <a:lnTo>
                    <a:pt x="40" y="20"/>
                  </a:lnTo>
                  <a:lnTo>
                    <a:pt x="38" y="20"/>
                  </a:lnTo>
                  <a:lnTo>
                    <a:pt x="30" y="20"/>
                  </a:lnTo>
                  <a:lnTo>
                    <a:pt x="30" y="20"/>
                  </a:lnTo>
                  <a:lnTo>
                    <a:pt x="24" y="20"/>
                  </a:lnTo>
                  <a:lnTo>
                    <a:pt x="18" y="18"/>
                  </a:lnTo>
                  <a:lnTo>
                    <a:pt x="18" y="18"/>
                  </a:lnTo>
                  <a:lnTo>
                    <a:pt x="14" y="22"/>
                  </a:lnTo>
                  <a:lnTo>
                    <a:pt x="12" y="22"/>
                  </a:lnTo>
                  <a:lnTo>
                    <a:pt x="6" y="20"/>
                  </a:lnTo>
                  <a:lnTo>
                    <a:pt x="6" y="20"/>
                  </a:lnTo>
                  <a:lnTo>
                    <a:pt x="2" y="20"/>
                  </a:lnTo>
                  <a:lnTo>
                    <a:pt x="2" y="20"/>
                  </a:lnTo>
                  <a:lnTo>
                    <a:pt x="6" y="24"/>
                  </a:lnTo>
                  <a:lnTo>
                    <a:pt x="6" y="24"/>
                  </a:lnTo>
                  <a:lnTo>
                    <a:pt x="8" y="26"/>
                  </a:lnTo>
                  <a:lnTo>
                    <a:pt x="8" y="28"/>
                  </a:lnTo>
                  <a:lnTo>
                    <a:pt x="6" y="30"/>
                  </a:lnTo>
                  <a:lnTo>
                    <a:pt x="6" y="34"/>
                  </a:lnTo>
                  <a:lnTo>
                    <a:pt x="6" y="34"/>
                  </a:lnTo>
                  <a:lnTo>
                    <a:pt x="4" y="36"/>
                  </a:lnTo>
                  <a:lnTo>
                    <a:pt x="0" y="40"/>
                  </a:lnTo>
                  <a:lnTo>
                    <a:pt x="0" y="40"/>
                  </a:lnTo>
                  <a:lnTo>
                    <a:pt x="4" y="42"/>
                  </a:lnTo>
                  <a:lnTo>
                    <a:pt x="6" y="42"/>
                  </a:lnTo>
                  <a:lnTo>
                    <a:pt x="6" y="44"/>
                  </a:lnTo>
                  <a:lnTo>
                    <a:pt x="6" y="44"/>
                  </a:lnTo>
                  <a:lnTo>
                    <a:pt x="6" y="44"/>
                  </a:lnTo>
                  <a:lnTo>
                    <a:pt x="8" y="46"/>
                  </a:lnTo>
                  <a:lnTo>
                    <a:pt x="8" y="48"/>
                  </a:lnTo>
                  <a:lnTo>
                    <a:pt x="8" y="48"/>
                  </a:lnTo>
                  <a:lnTo>
                    <a:pt x="10" y="50"/>
                  </a:lnTo>
                  <a:lnTo>
                    <a:pt x="10" y="50"/>
                  </a:lnTo>
                  <a:lnTo>
                    <a:pt x="18" y="54"/>
                  </a:lnTo>
                  <a:lnTo>
                    <a:pt x="22" y="56"/>
                  </a:lnTo>
                  <a:lnTo>
                    <a:pt x="22" y="56"/>
                  </a:lnTo>
                  <a:lnTo>
                    <a:pt x="28" y="58"/>
                  </a:lnTo>
                  <a:lnTo>
                    <a:pt x="34" y="60"/>
                  </a:lnTo>
                  <a:lnTo>
                    <a:pt x="34" y="60"/>
                  </a:lnTo>
                  <a:lnTo>
                    <a:pt x="36" y="62"/>
                  </a:lnTo>
                  <a:lnTo>
                    <a:pt x="40" y="62"/>
                  </a:lnTo>
                  <a:lnTo>
                    <a:pt x="40" y="62"/>
                  </a:lnTo>
                  <a:lnTo>
                    <a:pt x="44" y="60"/>
                  </a:lnTo>
                  <a:lnTo>
                    <a:pt x="46" y="56"/>
                  </a:lnTo>
                  <a:lnTo>
                    <a:pt x="46" y="56"/>
                  </a:lnTo>
                  <a:lnTo>
                    <a:pt x="54" y="54"/>
                  </a:lnTo>
                  <a:lnTo>
                    <a:pt x="58" y="54"/>
                  </a:lnTo>
                  <a:lnTo>
                    <a:pt x="60" y="54"/>
                  </a:lnTo>
                  <a:lnTo>
                    <a:pt x="60" y="54"/>
                  </a:lnTo>
                  <a:lnTo>
                    <a:pt x="62" y="56"/>
                  </a:lnTo>
                  <a:lnTo>
                    <a:pt x="70" y="54"/>
                  </a:lnTo>
                  <a:lnTo>
                    <a:pt x="70" y="54"/>
                  </a:lnTo>
                  <a:lnTo>
                    <a:pt x="80" y="54"/>
                  </a:lnTo>
                  <a:lnTo>
                    <a:pt x="82" y="54"/>
                  </a:lnTo>
                  <a:lnTo>
                    <a:pt x="82" y="54"/>
                  </a:lnTo>
                  <a:lnTo>
                    <a:pt x="86" y="54"/>
                  </a:lnTo>
                  <a:lnTo>
                    <a:pt x="90" y="50"/>
                  </a:lnTo>
                  <a:lnTo>
                    <a:pt x="90" y="50"/>
                  </a:lnTo>
                  <a:lnTo>
                    <a:pt x="98" y="38"/>
                  </a:lnTo>
                  <a:lnTo>
                    <a:pt x="98" y="38"/>
                  </a:lnTo>
                  <a:lnTo>
                    <a:pt x="102" y="34"/>
                  </a:lnTo>
                  <a:lnTo>
                    <a:pt x="104" y="28"/>
                  </a:lnTo>
                  <a:lnTo>
                    <a:pt x="104" y="28"/>
                  </a:lnTo>
                  <a:lnTo>
                    <a:pt x="102" y="24"/>
                  </a:lnTo>
                  <a:lnTo>
                    <a:pt x="104" y="20"/>
                  </a:lnTo>
                  <a:lnTo>
                    <a:pt x="104" y="20"/>
                  </a:lnTo>
                  <a:lnTo>
                    <a:pt x="112" y="14"/>
                  </a:lnTo>
                  <a:lnTo>
                    <a:pt x="112" y="14"/>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5" name="Iceland"/>
            <p:cNvSpPr>
              <a:spLocks/>
            </p:cNvSpPr>
            <p:nvPr/>
          </p:nvSpPr>
          <p:spPr bwMode="auto">
            <a:xfrm>
              <a:off x="3631372" y="1668198"/>
              <a:ext cx="211667" cy="66146"/>
            </a:xfrm>
            <a:custGeom>
              <a:avLst/>
              <a:gdLst/>
              <a:ahLst/>
              <a:cxnLst>
                <a:cxn ang="0">
                  <a:pos x="28" y="44"/>
                </a:cxn>
                <a:cxn ang="0">
                  <a:pos x="42" y="44"/>
                </a:cxn>
                <a:cxn ang="0">
                  <a:pos x="58" y="48"/>
                </a:cxn>
                <a:cxn ang="0">
                  <a:pos x="88" y="48"/>
                </a:cxn>
                <a:cxn ang="0">
                  <a:pos x="106" y="42"/>
                </a:cxn>
                <a:cxn ang="0">
                  <a:pos x="124" y="36"/>
                </a:cxn>
                <a:cxn ang="0">
                  <a:pos x="138" y="34"/>
                </a:cxn>
                <a:cxn ang="0">
                  <a:pos x="146" y="30"/>
                </a:cxn>
                <a:cxn ang="0">
                  <a:pos x="152" y="26"/>
                </a:cxn>
                <a:cxn ang="0">
                  <a:pos x="154" y="22"/>
                </a:cxn>
                <a:cxn ang="0">
                  <a:pos x="160" y="18"/>
                </a:cxn>
                <a:cxn ang="0">
                  <a:pos x="156" y="16"/>
                </a:cxn>
                <a:cxn ang="0">
                  <a:pos x="152" y="12"/>
                </a:cxn>
                <a:cxn ang="0">
                  <a:pos x="140" y="12"/>
                </a:cxn>
                <a:cxn ang="0">
                  <a:pos x="144" y="6"/>
                </a:cxn>
                <a:cxn ang="0">
                  <a:pos x="144" y="4"/>
                </a:cxn>
                <a:cxn ang="0">
                  <a:pos x="146" y="2"/>
                </a:cxn>
                <a:cxn ang="0">
                  <a:pos x="130" y="6"/>
                </a:cxn>
                <a:cxn ang="0">
                  <a:pos x="126" y="2"/>
                </a:cxn>
                <a:cxn ang="0">
                  <a:pos x="118" y="2"/>
                </a:cxn>
                <a:cxn ang="0">
                  <a:pos x="116" y="6"/>
                </a:cxn>
                <a:cxn ang="0">
                  <a:pos x="110" y="6"/>
                </a:cxn>
                <a:cxn ang="0">
                  <a:pos x="104" y="10"/>
                </a:cxn>
                <a:cxn ang="0">
                  <a:pos x="96" y="12"/>
                </a:cxn>
                <a:cxn ang="0">
                  <a:pos x="90" y="10"/>
                </a:cxn>
                <a:cxn ang="0">
                  <a:pos x="84" y="6"/>
                </a:cxn>
                <a:cxn ang="0">
                  <a:pos x="74" y="10"/>
                </a:cxn>
                <a:cxn ang="0">
                  <a:pos x="70" y="12"/>
                </a:cxn>
                <a:cxn ang="0">
                  <a:pos x="68" y="8"/>
                </a:cxn>
                <a:cxn ang="0">
                  <a:pos x="60" y="12"/>
                </a:cxn>
                <a:cxn ang="0">
                  <a:pos x="58" y="16"/>
                </a:cxn>
                <a:cxn ang="0">
                  <a:pos x="54" y="16"/>
                </a:cxn>
                <a:cxn ang="0">
                  <a:pos x="50" y="22"/>
                </a:cxn>
                <a:cxn ang="0">
                  <a:pos x="46" y="18"/>
                </a:cxn>
                <a:cxn ang="0">
                  <a:pos x="46" y="16"/>
                </a:cxn>
                <a:cxn ang="0">
                  <a:pos x="46" y="12"/>
                </a:cxn>
                <a:cxn ang="0">
                  <a:pos x="42" y="8"/>
                </a:cxn>
                <a:cxn ang="0">
                  <a:pos x="34" y="4"/>
                </a:cxn>
                <a:cxn ang="0">
                  <a:pos x="30" y="6"/>
                </a:cxn>
                <a:cxn ang="0">
                  <a:pos x="30" y="8"/>
                </a:cxn>
                <a:cxn ang="0">
                  <a:pos x="32" y="12"/>
                </a:cxn>
                <a:cxn ang="0">
                  <a:pos x="18" y="8"/>
                </a:cxn>
                <a:cxn ang="0">
                  <a:pos x="14" y="10"/>
                </a:cxn>
                <a:cxn ang="0">
                  <a:pos x="12" y="12"/>
                </a:cxn>
                <a:cxn ang="0">
                  <a:pos x="18" y="14"/>
                </a:cxn>
                <a:cxn ang="0">
                  <a:pos x="10" y="14"/>
                </a:cxn>
                <a:cxn ang="0">
                  <a:pos x="8" y="16"/>
                </a:cxn>
                <a:cxn ang="0">
                  <a:pos x="0" y="18"/>
                </a:cxn>
                <a:cxn ang="0">
                  <a:pos x="4" y="18"/>
                </a:cxn>
                <a:cxn ang="0">
                  <a:pos x="24" y="18"/>
                </a:cxn>
                <a:cxn ang="0">
                  <a:pos x="38" y="18"/>
                </a:cxn>
                <a:cxn ang="0">
                  <a:pos x="26" y="24"/>
                </a:cxn>
                <a:cxn ang="0">
                  <a:pos x="30" y="24"/>
                </a:cxn>
                <a:cxn ang="0">
                  <a:pos x="30" y="26"/>
                </a:cxn>
                <a:cxn ang="0">
                  <a:pos x="4" y="30"/>
                </a:cxn>
                <a:cxn ang="0">
                  <a:pos x="10" y="30"/>
                </a:cxn>
                <a:cxn ang="0">
                  <a:pos x="24" y="30"/>
                </a:cxn>
                <a:cxn ang="0">
                  <a:pos x="32" y="34"/>
                </a:cxn>
                <a:cxn ang="0">
                  <a:pos x="36" y="36"/>
                </a:cxn>
                <a:cxn ang="0">
                  <a:pos x="32" y="36"/>
                </a:cxn>
                <a:cxn ang="0">
                  <a:pos x="16" y="44"/>
                </a:cxn>
              </a:cxnLst>
              <a:rect l="0" t="0" r="r" b="b"/>
              <a:pathLst>
                <a:path w="160" h="50">
                  <a:moveTo>
                    <a:pt x="16" y="44"/>
                  </a:moveTo>
                  <a:lnTo>
                    <a:pt x="16" y="44"/>
                  </a:lnTo>
                  <a:lnTo>
                    <a:pt x="22" y="44"/>
                  </a:lnTo>
                  <a:lnTo>
                    <a:pt x="22" y="44"/>
                  </a:lnTo>
                  <a:lnTo>
                    <a:pt x="28" y="44"/>
                  </a:lnTo>
                  <a:lnTo>
                    <a:pt x="34" y="44"/>
                  </a:lnTo>
                  <a:lnTo>
                    <a:pt x="34" y="44"/>
                  </a:lnTo>
                  <a:lnTo>
                    <a:pt x="36" y="44"/>
                  </a:lnTo>
                  <a:lnTo>
                    <a:pt x="36" y="44"/>
                  </a:lnTo>
                  <a:lnTo>
                    <a:pt x="42" y="44"/>
                  </a:lnTo>
                  <a:lnTo>
                    <a:pt x="46" y="44"/>
                  </a:lnTo>
                  <a:lnTo>
                    <a:pt x="54" y="48"/>
                  </a:lnTo>
                  <a:lnTo>
                    <a:pt x="54" y="48"/>
                  </a:lnTo>
                  <a:lnTo>
                    <a:pt x="58" y="48"/>
                  </a:lnTo>
                  <a:lnTo>
                    <a:pt x="58" y="48"/>
                  </a:lnTo>
                  <a:lnTo>
                    <a:pt x="66" y="50"/>
                  </a:lnTo>
                  <a:lnTo>
                    <a:pt x="76" y="50"/>
                  </a:lnTo>
                  <a:lnTo>
                    <a:pt x="76" y="50"/>
                  </a:lnTo>
                  <a:lnTo>
                    <a:pt x="88" y="48"/>
                  </a:lnTo>
                  <a:lnTo>
                    <a:pt x="88" y="48"/>
                  </a:lnTo>
                  <a:lnTo>
                    <a:pt x="94" y="44"/>
                  </a:lnTo>
                  <a:lnTo>
                    <a:pt x="94" y="44"/>
                  </a:lnTo>
                  <a:lnTo>
                    <a:pt x="100" y="42"/>
                  </a:lnTo>
                  <a:lnTo>
                    <a:pt x="106" y="42"/>
                  </a:lnTo>
                  <a:lnTo>
                    <a:pt x="106" y="42"/>
                  </a:lnTo>
                  <a:lnTo>
                    <a:pt x="112" y="40"/>
                  </a:lnTo>
                  <a:lnTo>
                    <a:pt x="112" y="40"/>
                  </a:lnTo>
                  <a:lnTo>
                    <a:pt x="116" y="40"/>
                  </a:lnTo>
                  <a:lnTo>
                    <a:pt x="116" y="40"/>
                  </a:lnTo>
                  <a:lnTo>
                    <a:pt x="124" y="36"/>
                  </a:lnTo>
                  <a:lnTo>
                    <a:pt x="124" y="36"/>
                  </a:lnTo>
                  <a:lnTo>
                    <a:pt x="130" y="34"/>
                  </a:lnTo>
                  <a:lnTo>
                    <a:pt x="136" y="34"/>
                  </a:lnTo>
                  <a:lnTo>
                    <a:pt x="136" y="34"/>
                  </a:lnTo>
                  <a:lnTo>
                    <a:pt x="138" y="34"/>
                  </a:lnTo>
                  <a:lnTo>
                    <a:pt x="138" y="34"/>
                  </a:lnTo>
                  <a:lnTo>
                    <a:pt x="144" y="32"/>
                  </a:lnTo>
                  <a:lnTo>
                    <a:pt x="144" y="32"/>
                  </a:lnTo>
                  <a:lnTo>
                    <a:pt x="146" y="30"/>
                  </a:lnTo>
                  <a:lnTo>
                    <a:pt x="146" y="30"/>
                  </a:lnTo>
                  <a:lnTo>
                    <a:pt x="146" y="28"/>
                  </a:lnTo>
                  <a:lnTo>
                    <a:pt x="148" y="26"/>
                  </a:lnTo>
                  <a:lnTo>
                    <a:pt x="148" y="26"/>
                  </a:lnTo>
                  <a:lnTo>
                    <a:pt x="150" y="26"/>
                  </a:lnTo>
                  <a:lnTo>
                    <a:pt x="152" y="26"/>
                  </a:lnTo>
                  <a:lnTo>
                    <a:pt x="152" y="26"/>
                  </a:lnTo>
                  <a:lnTo>
                    <a:pt x="152" y="26"/>
                  </a:lnTo>
                  <a:lnTo>
                    <a:pt x="152" y="26"/>
                  </a:lnTo>
                  <a:lnTo>
                    <a:pt x="154" y="24"/>
                  </a:lnTo>
                  <a:lnTo>
                    <a:pt x="154" y="22"/>
                  </a:lnTo>
                  <a:lnTo>
                    <a:pt x="154" y="22"/>
                  </a:lnTo>
                  <a:lnTo>
                    <a:pt x="158" y="22"/>
                  </a:lnTo>
                  <a:lnTo>
                    <a:pt x="158" y="22"/>
                  </a:lnTo>
                  <a:lnTo>
                    <a:pt x="160" y="20"/>
                  </a:lnTo>
                  <a:lnTo>
                    <a:pt x="160" y="18"/>
                  </a:lnTo>
                  <a:lnTo>
                    <a:pt x="160" y="18"/>
                  </a:lnTo>
                  <a:lnTo>
                    <a:pt x="158" y="18"/>
                  </a:lnTo>
                  <a:lnTo>
                    <a:pt x="154" y="18"/>
                  </a:lnTo>
                  <a:lnTo>
                    <a:pt x="154" y="18"/>
                  </a:lnTo>
                  <a:lnTo>
                    <a:pt x="156" y="16"/>
                  </a:lnTo>
                  <a:lnTo>
                    <a:pt x="156" y="16"/>
                  </a:lnTo>
                  <a:lnTo>
                    <a:pt x="156" y="14"/>
                  </a:lnTo>
                  <a:lnTo>
                    <a:pt x="156" y="14"/>
                  </a:lnTo>
                  <a:lnTo>
                    <a:pt x="152" y="12"/>
                  </a:lnTo>
                  <a:lnTo>
                    <a:pt x="152" y="12"/>
                  </a:lnTo>
                  <a:lnTo>
                    <a:pt x="148" y="12"/>
                  </a:lnTo>
                  <a:lnTo>
                    <a:pt x="148" y="12"/>
                  </a:lnTo>
                  <a:lnTo>
                    <a:pt x="148" y="12"/>
                  </a:lnTo>
                  <a:lnTo>
                    <a:pt x="148" y="12"/>
                  </a:lnTo>
                  <a:lnTo>
                    <a:pt x="140" y="12"/>
                  </a:lnTo>
                  <a:lnTo>
                    <a:pt x="140" y="12"/>
                  </a:lnTo>
                  <a:lnTo>
                    <a:pt x="144" y="10"/>
                  </a:lnTo>
                  <a:lnTo>
                    <a:pt x="146" y="8"/>
                  </a:lnTo>
                  <a:lnTo>
                    <a:pt x="144" y="6"/>
                  </a:lnTo>
                  <a:lnTo>
                    <a:pt x="144" y="6"/>
                  </a:lnTo>
                  <a:lnTo>
                    <a:pt x="140" y="6"/>
                  </a:lnTo>
                  <a:lnTo>
                    <a:pt x="140" y="6"/>
                  </a:lnTo>
                  <a:lnTo>
                    <a:pt x="140" y="6"/>
                  </a:lnTo>
                  <a:lnTo>
                    <a:pt x="140" y="6"/>
                  </a:lnTo>
                  <a:lnTo>
                    <a:pt x="144" y="4"/>
                  </a:lnTo>
                  <a:lnTo>
                    <a:pt x="144" y="4"/>
                  </a:lnTo>
                  <a:lnTo>
                    <a:pt x="144" y="4"/>
                  </a:lnTo>
                  <a:lnTo>
                    <a:pt x="144" y="4"/>
                  </a:lnTo>
                  <a:lnTo>
                    <a:pt x="146" y="2"/>
                  </a:lnTo>
                  <a:lnTo>
                    <a:pt x="146" y="2"/>
                  </a:lnTo>
                  <a:lnTo>
                    <a:pt x="140" y="2"/>
                  </a:lnTo>
                  <a:lnTo>
                    <a:pt x="136" y="4"/>
                  </a:lnTo>
                  <a:lnTo>
                    <a:pt x="136" y="4"/>
                  </a:lnTo>
                  <a:lnTo>
                    <a:pt x="130" y="6"/>
                  </a:lnTo>
                  <a:lnTo>
                    <a:pt x="130" y="6"/>
                  </a:lnTo>
                  <a:lnTo>
                    <a:pt x="130" y="4"/>
                  </a:lnTo>
                  <a:lnTo>
                    <a:pt x="130" y="4"/>
                  </a:lnTo>
                  <a:lnTo>
                    <a:pt x="130" y="4"/>
                  </a:lnTo>
                  <a:lnTo>
                    <a:pt x="130" y="4"/>
                  </a:lnTo>
                  <a:lnTo>
                    <a:pt x="126" y="2"/>
                  </a:lnTo>
                  <a:lnTo>
                    <a:pt x="124" y="0"/>
                  </a:lnTo>
                  <a:lnTo>
                    <a:pt x="124" y="0"/>
                  </a:lnTo>
                  <a:lnTo>
                    <a:pt x="124" y="0"/>
                  </a:lnTo>
                  <a:lnTo>
                    <a:pt x="124" y="0"/>
                  </a:lnTo>
                  <a:lnTo>
                    <a:pt x="118" y="2"/>
                  </a:lnTo>
                  <a:lnTo>
                    <a:pt x="118" y="2"/>
                  </a:lnTo>
                  <a:lnTo>
                    <a:pt x="116" y="2"/>
                  </a:lnTo>
                  <a:lnTo>
                    <a:pt x="116" y="2"/>
                  </a:lnTo>
                  <a:lnTo>
                    <a:pt x="118" y="4"/>
                  </a:lnTo>
                  <a:lnTo>
                    <a:pt x="116" y="6"/>
                  </a:lnTo>
                  <a:lnTo>
                    <a:pt x="116" y="6"/>
                  </a:lnTo>
                  <a:lnTo>
                    <a:pt x="118" y="6"/>
                  </a:lnTo>
                  <a:lnTo>
                    <a:pt x="118" y="6"/>
                  </a:lnTo>
                  <a:lnTo>
                    <a:pt x="114" y="6"/>
                  </a:lnTo>
                  <a:lnTo>
                    <a:pt x="110" y="6"/>
                  </a:lnTo>
                  <a:lnTo>
                    <a:pt x="110" y="6"/>
                  </a:lnTo>
                  <a:lnTo>
                    <a:pt x="108" y="8"/>
                  </a:lnTo>
                  <a:lnTo>
                    <a:pt x="106" y="8"/>
                  </a:lnTo>
                  <a:lnTo>
                    <a:pt x="106" y="10"/>
                  </a:lnTo>
                  <a:lnTo>
                    <a:pt x="104" y="10"/>
                  </a:lnTo>
                  <a:lnTo>
                    <a:pt x="104" y="10"/>
                  </a:lnTo>
                  <a:lnTo>
                    <a:pt x="98" y="8"/>
                  </a:lnTo>
                  <a:lnTo>
                    <a:pt x="92" y="8"/>
                  </a:lnTo>
                  <a:lnTo>
                    <a:pt x="92" y="8"/>
                  </a:lnTo>
                  <a:lnTo>
                    <a:pt x="96" y="12"/>
                  </a:lnTo>
                  <a:lnTo>
                    <a:pt x="96" y="12"/>
                  </a:lnTo>
                  <a:lnTo>
                    <a:pt x="96" y="12"/>
                  </a:lnTo>
                  <a:lnTo>
                    <a:pt x="96" y="12"/>
                  </a:lnTo>
                  <a:lnTo>
                    <a:pt x="92" y="12"/>
                  </a:lnTo>
                  <a:lnTo>
                    <a:pt x="90" y="10"/>
                  </a:lnTo>
                  <a:lnTo>
                    <a:pt x="90" y="10"/>
                  </a:lnTo>
                  <a:lnTo>
                    <a:pt x="88" y="8"/>
                  </a:lnTo>
                  <a:lnTo>
                    <a:pt x="88" y="8"/>
                  </a:lnTo>
                  <a:lnTo>
                    <a:pt x="88" y="8"/>
                  </a:lnTo>
                  <a:lnTo>
                    <a:pt x="84" y="6"/>
                  </a:lnTo>
                  <a:lnTo>
                    <a:pt x="84" y="6"/>
                  </a:lnTo>
                  <a:lnTo>
                    <a:pt x="76" y="10"/>
                  </a:lnTo>
                  <a:lnTo>
                    <a:pt x="76" y="10"/>
                  </a:lnTo>
                  <a:lnTo>
                    <a:pt x="74" y="10"/>
                  </a:lnTo>
                  <a:lnTo>
                    <a:pt x="74" y="10"/>
                  </a:lnTo>
                  <a:lnTo>
                    <a:pt x="76" y="12"/>
                  </a:lnTo>
                  <a:lnTo>
                    <a:pt x="76" y="12"/>
                  </a:lnTo>
                  <a:lnTo>
                    <a:pt x="74" y="14"/>
                  </a:lnTo>
                  <a:lnTo>
                    <a:pt x="74" y="14"/>
                  </a:lnTo>
                  <a:lnTo>
                    <a:pt x="70" y="12"/>
                  </a:lnTo>
                  <a:lnTo>
                    <a:pt x="70" y="10"/>
                  </a:lnTo>
                  <a:lnTo>
                    <a:pt x="70" y="10"/>
                  </a:lnTo>
                  <a:lnTo>
                    <a:pt x="68" y="10"/>
                  </a:lnTo>
                  <a:lnTo>
                    <a:pt x="68" y="10"/>
                  </a:lnTo>
                  <a:lnTo>
                    <a:pt x="68" y="8"/>
                  </a:lnTo>
                  <a:lnTo>
                    <a:pt x="66" y="8"/>
                  </a:lnTo>
                  <a:lnTo>
                    <a:pt x="62" y="8"/>
                  </a:lnTo>
                  <a:lnTo>
                    <a:pt x="62" y="8"/>
                  </a:lnTo>
                  <a:lnTo>
                    <a:pt x="60" y="12"/>
                  </a:lnTo>
                  <a:lnTo>
                    <a:pt x="60" y="12"/>
                  </a:lnTo>
                  <a:lnTo>
                    <a:pt x="62" y="14"/>
                  </a:lnTo>
                  <a:lnTo>
                    <a:pt x="62" y="14"/>
                  </a:lnTo>
                  <a:lnTo>
                    <a:pt x="60" y="16"/>
                  </a:lnTo>
                  <a:lnTo>
                    <a:pt x="60" y="16"/>
                  </a:lnTo>
                  <a:lnTo>
                    <a:pt x="58" y="16"/>
                  </a:lnTo>
                  <a:lnTo>
                    <a:pt x="58" y="16"/>
                  </a:lnTo>
                  <a:lnTo>
                    <a:pt x="56" y="16"/>
                  </a:lnTo>
                  <a:lnTo>
                    <a:pt x="56" y="16"/>
                  </a:lnTo>
                  <a:lnTo>
                    <a:pt x="54" y="16"/>
                  </a:lnTo>
                  <a:lnTo>
                    <a:pt x="54" y="16"/>
                  </a:lnTo>
                  <a:lnTo>
                    <a:pt x="50" y="18"/>
                  </a:lnTo>
                  <a:lnTo>
                    <a:pt x="50" y="18"/>
                  </a:lnTo>
                  <a:lnTo>
                    <a:pt x="50" y="20"/>
                  </a:lnTo>
                  <a:lnTo>
                    <a:pt x="50" y="20"/>
                  </a:lnTo>
                  <a:lnTo>
                    <a:pt x="50" y="22"/>
                  </a:lnTo>
                  <a:lnTo>
                    <a:pt x="50" y="22"/>
                  </a:lnTo>
                  <a:lnTo>
                    <a:pt x="48" y="22"/>
                  </a:lnTo>
                  <a:lnTo>
                    <a:pt x="48" y="22"/>
                  </a:lnTo>
                  <a:lnTo>
                    <a:pt x="46" y="20"/>
                  </a:lnTo>
                  <a:lnTo>
                    <a:pt x="46" y="18"/>
                  </a:lnTo>
                  <a:lnTo>
                    <a:pt x="46" y="18"/>
                  </a:lnTo>
                  <a:lnTo>
                    <a:pt x="40" y="16"/>
                  </a:lnTo>
                  <a:lnTo>
                    <a:pt x="40" y="16"/>
                  </a:lnTo>
                  <a:lnTo>
                    <a:pt x="46" y="16"/>
                  </a:lnTo>
                  <a:lnTo>
                    <a:pt x="46" y="16"/>
                  </a:lnTo>
                  <a:lnTo>
                    <a:pt x="46" y="16"/>
                  </a:lnTo>
                  <a:lnTo>
                    <a:pt x="46" y="16"/>
                  </a:lnTo>
                  <a:lnTo>
                    <a:pt x="48" y="14"/>
                  </a:lnTo>
                  <a:lnTo>
                    <a:pt x="46" y="12"/>
                  </a:lnTo>
                  <a:lnTo>
                    <a:pt x="46" y="12"/>
                  </a:lnTo>
                  <a:lnTo>
                    <a:pt x="46" y="10"/>
                  </a:lnTo>
                  <a:lnTo>
                    <a:pt x="46" y="10"/>
                  </a:lnTo>
                  <a:lnTo>
                    <a:pt x="44" y="10"/>
                  </a:lnTo>
                  <a:lnTo>
                    <a:pt x="42" y="8"/>
                  </a:lnTo>
                  <a:lnTo>
                    <a:pt x="42" y="8"/>
                  </a:lnTo>
                  <a:lnTo>
                    <a:pt x="40" y="6"/>
                  </a:lnTo>
                  <a:lnTo>
                    <a:pt x="40" y="6"/>
                  </a:lnTo>
                  <a:lnTo>
                    <a:pt x="38" y="4"/>
                  </a:lnTo>
                  <a:lnTo>
                    <a:pt x="34" y="4"/>
                  </a:lnTo>
                  <a:lnTo>
                    <a:pt x="34" y="4"/>
                  </a:lnTo>
                  <a:lnTo>
                    <a:pt x="26" y="4"/>
                  </a:lnTo>
                  <a:lnTo>
                    <a:pt x="26" y="4"/>
                  </a:lnTo>
                  <a:lnTo>
                    <a:pt x="24" y="6"/>
                  </a:lnTo>
                  <a:lnTo>
                    <a:pt x="24" y="6"/>
                  </a:lnTo>
                  <a:lnTo>
                    <a:pt x="30" y="6"/>
                  </a:lnTo>
                  <a:lnTo>
                    <a:pt x="30" y="6"/>
                  </a:lnTo>
                  <a:lnTo>
                    <a:pt x="32" y="6"/>
                  </a:lnTo>
                  <a:lnTo>
                    <a:pt x="32" y="6"/>
                  </a:lnTo>
                  <a:lnTo>
                    <a:pt x="30" y="8"/>
                  </a:lnTo>
                  <a:lnTo>
                    <a:pt x="30" y="8"/>
                  </a:lnTo>
                  <a:lnTo>
                    <a:pt x="32" y="8"/>
                  </a:lnTo>
                  <a:lnTo>
                    <a:pt x="32" y="8"/>
                  </a:lnTo>
                  <a:lnTo>
                    <a:pt x="34" y="10"/>
                  </a:lnTo>
                  <a:lnTo>
                    <a:pt x="34" y="12"/>
                  </a:lnTo>
                  <a:lnTo>
                    <a:pt x="32" y="12"/>
                  </a:lnTo>
                  <a:lnTo>
                    <a:pt x="32" y="12"/>
                  </a:lnTo>
                  <a:lnTo>
                    <a:pt x="22" y="8"/>
                  </a:lnTo>
                  <a:lnTo>
                    <a:pt x="22" y="8"/>
                  </a:lnTo>
                  <a:lnTo>
                    <a:pt x="18" y="8"/>
                  </a:lnTo>
                  <a:lnTo>
                    <a:pt x="18" y="8"/>
                  </a:lnTo>
                  <a:lnTo>
                    <a:pt x="18" y="10"/>
                  </a:lnTo>
                  <a:lnTo>
                    <a:pt x="20" y="10"/>
                  </a:lnTo>
                  <a:lnTo>
                    <a:pt x="20" y="10"/>
                  </a:lnTo>
                  <a:lnTo>
                    <a:pt x="16" y="10"/>
                  </a:lnTo>
                  <a:lnTo>
                    <a:pt x="14" y="10"/>
                  </a:lnTo>
                  <a:lnTo>
                    <a:pt x="14" y="10"/>
                  </a:lnTo>
                  <a:lnTo>
                    <a:pt x="14" y="12"/>
                  </a:lnTo>
                  <a:lnTo>
                    <a:pt x="16" y="12"/>
                  </a:lnTo>
                  <a:lnTo>
                    <a:pt x="16" y="12"/>
                  </a:lnTo>
                  <a:lnTo>
                    <a:pt x="12" y="12"/>
                  </a:lnTo>
                  <a:lnTo>
                    <a:pt x="12" y="12"/>
                  </a:lnTo>
                  <a:lnTo>
                    <a:pt x="14" y="14"/>
                  </a:lnTo>
                  <a:lnTo>
                    <a:pt x="18" y="14"/>
                  </a:lnTo>
                  <a:lnTo>
                    <a:pt x="18" y="14"/>
                  </a:lnTo>
                  <a:lnTo>
                    <a:pt x="18" y="14"/>
                  </a:lnTo>
                  <a:lnTo>
                    <a:pt x="18" y="14"/>
                  </a:lnTo>
                  <a:lnTo>
                    <a:pt x="14" y="16"/>
                  </a:lnTo>
                  <a:lnTo>
                    <a:pt x="14" y="16"/>
                  </a:lnTo>
                  <a:lnTo>
                    <a:pt x="10" y="14"/>
                  </a:lnTo>
                  <a:lnTo>
                    <a:pt x="10" y="14"/>
                  </a:lnTo>
                  <a:lnTo>
                    <a:pt x="8" y="14"/>
                  </a:lnTo>
                  <a:lnTo>
                    <a:pt x="8" y="14"/>
                  </a:lnTo>
                  <a:lnTo>
                    <a:pt x="8" y="14"/>
                  </a:lnTo>
                  <a:lnTo>
                    <a:pt x="8" y="16"/>
                  </a:lnTo>
                  <a:lnTo>
                    <a:pt x="8" y="16"/>
                  </a:lnTo>
                  <a:lnTo>
                    <a:pt x="8" y="16"/>
                  </a:lnTo>
                  <a:lnTo>
                    <a:pt x="8" y="16"/>
                  </a:lnTo>
                  <a:lnTo>
                    <a:pt x="4" y="16"/>
                  </a:lnTo>
                  <a:lnTo>
                    <a:pt x="0" y="18"/>
                  </a:lnTo>
                  <a:lnTo>
                    <a:pt x="0" y="18"/>
                  </a:lnTo>
                  <a:lnTo>
                    <a:pt x="0" y="18"/>
                  </a:lnTo>
                  <a:lnTo>
                    <a:pt x="0" y="18"/>
                  </a:lnTo>
                  <a:lnTo>
                    <a:pt x="0" y="18"/>
                  </a:lnTo>
                  <a:lnTo>
                    <a:pt x="4" y="18"/>
                  </a:lnTo>
                  <a:lnTo>
                    <a:pt x="4" y="18"/>
                  </a:lnTo>
                  <a:lnTo>
                    <a:pt x="8" y="20"/>
                  </a:lnTo>
                  <a:lnTo>
                    <a:pt x="12" y="20"/>
                  </a:lnTo>
                  <a:lnTo>
                    <a:pt x="12" y="20"/>
                  </a:lnTo>
                  <a:lnTo>
                    <a:pt x="24" y="18"/>
                  </a:lnTo>
                  <a:lnTo>
                    <a:pt x="24" y="18"/>
                  </a:lnTo>
                  <a:lnTo>
                    <a:pt x="24" y="18"/>
                  </a:lnTo>
                  <a:lnTo>
                    <a:pt x="24" y="18"/>
                  </a:lnTo>
                  <a:lnTo>
                    <a:pt x="28" y="18"/>
                  </a:lnTo>
                  <a:lnTo>
                    <a:pt x="28" y="18"/>
                  </a:lnTo>
                  <a:lnTo>
                    <a:pt x="38" y="18"/>
                  </a:lnTo>
                  <a:lnTo>
                    <a:pt x="38" y="18"/>
                  </a:lnTo>
                  <a:lnTo>
                    <a:pt x="38" y="20"/>
                  </a:lnTo>
                  <a:lnTo>
                    <a:pt x="38" y="20"/>
                  </a:lnTo>
                  <a:lnTo>
                    <a:pt x="30" y="20"/>
                  </a:lnTo>
                  <a:lnTo>
                    <a:pt x="26" y="24"/>
                  </a:lnTo>
                  <a:lnTo>
                    <a:pt x="26" y="24"/>
                  </a:lnTo>
                  <a:lnTo>
                    <a:pt x="30" y="24"/>
                  </a:lnTo>
                  <a:lnTo>
                    <a:pt x="30" y="24"/>
                  </a:lnTo>
                  <a:lnTo>
                    <a:pt x="30" y="24"/>
                  </a:lnTo>
                  <a:lnTo>
                    <a:pt x="30" y="24"/>
                  </a:lnTo>
                  <a:lnTo>
                    <a:pt x="36" y="24"/>
                  </a:lnTo>
                  <a:lnTo>
                    <a:pt x="38" y="24"/>
                  </a:lnTo>
                  <a:lnTo>
                    <a:pt x="38" y="24"/>
                  </a:lnTo>
                  <a:lnTo>
                    <a:pt x="38" y="24"/>
                  </a:lnTo>
                  <a:lnTo>
                    <a:pt x="30" y="26"/>
                  </a:lnTo>
                  <a:lnTo>
                    <a:pt x="22" y="26"/>
                  </a:lnTo>
                  <a:lnTo>
                    <a:pt x="22" y="26"/>
                  </a:lnTo>
                  <a:lnTo>
                    <a:pt x="12" y="28"/>
                  </a:lnTo>
                  <a:lnTo>
                    <a:pt x="4" y="30"/>
                  </a:lnTo>
                  <a:lnTo>
                    <a:pt x="4" y="30"/>
                  </a:lnTo>
                  <a:lnTo>
                    <a:pt x="6" y="30"/>
                  </a:lnTo>
                  <a:lnTo>
                    <a:pt x="6" y="30"/>
                  </a:lnTo>
                  <a:lnTo>
                    <a:pt x="6" y="30"/>
                  </a:lnTo>
                  <a:lnTo>
                    <a:pt x="6" y="30"/>
                  </a:lnTo>
                  <a:lnTo>
                    <a:pt x="10" y="30"/>
                  </a:lnTo>
                  <a:lnTo>
                    <a:pt x="10" y="30"/>
                  </a:lnTo>
                  <a:lnTo>
                    <a:pt x="18" y="28"/>
                  </a:lnTo>
                  <a:lnTo>
                    <a:pt x="24" y="30"/>
                  </a:lnTo>
                  <a:lnTo>
                    <a:pt x="24" y="30"/>
                  </a:lnTo>
                  <a:lnTo>
                    <a:pt x="24" y="30"/>
                  </a:lnTo>
                  <a:lnTo>
                    <a:pt x="24" y="30"/>
                  </a:lnTo>
                  <a:lnTo>
                    <a:pt x="26" y="32"/>
                  </a:lnTo>
                  <a:lnTo>
                    <a:pt x="26" y="32"/>
                  </a:lnTo>
                  <a:lnTo>
                    <a:pt x="28" y="34"/>
                  </a:lnTo>
                  <a:lnTo>
                    <a:pt x="32" y="34"/>
                  </a:lnTo>
                  <a:lnTo>
                    <a:pt x="32" y="34"/>
                  </a:lnTo>
                  <a:lnTo>
                    <a:pt x="32" y="34"/>
                  </a:lnTo>
                  <a:lnTo>
                    <a:pt x="30" y="36"/>
                  </a:lnTo>
                  <a:lnTo>
                    <a:pt x="30" y="36"/>
                  </a:lnTo>
                  <a:lnTo>
                    <a:pt x="36" y="36"/>
                  </a:lnTo>
                  <a:lnTo>
                    <a:pt x="36" y="36"/>
                  </a:lnTo>
                  <a:lnTo>
                    <a:pt x="36" y="36"/>
                  </a:lnTo>
                  <a:lnTo>
                    <a:pt x="36" y="36"/>
                  </a:lnTo>
                  <a:lnTo>
                    <a:pt x="32" y="36"/>
                  </a:lnTo>
                  <a:lnTo>
                    <a:pt x="32" y="36"/>
                  </a:lnTo>
                  <a:lnTo>
                    <a:pt x="30" y="38"/>
                  </a:lnTo>
                  <a:lnTo>
                    <a:pt x="28" y="40"/>
                  </a:lnTo>
                  <a:lnTo>
                    <a:pt x="18" y="42"/>
                  </a:lnTo>
                  <a:lnTo>
                    <a:pt x="18" y="42"/>
                  </a:lnTo>
                  <a:lnTo>
                    <a:pt x="16" y="44"/>
                  </a:lnTo>
                  <a:lnTo>
                    <a:pt x="16" y="44"/>
                  </a:lnTo>
                  <a:lnTo>
                    <a:pt x="16" y="44"/>
                  </a:lnTo>
                  <a:lnTo>
                    <a:pt x="16" y="44"/>
                  </a:lnTo>
                  <a:lnTo>
                    <a:pt x="16" y="44"/>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6" name="India"/>
            <p:cNvSpPr>
              <a:spLocks/>
            </p:cNvSpPr>
            <p:nvPr/>
          </p:nvSpPr>
          <p:spPr bwMode="auto">
            <a:xfrm>
              <a:off x="5983518" y="2427552"/>
              <a:ext cx="777875" cy="920750"/>
            </a:xfrm>
            <a:custGeom>
              <a:avLst/>
              <a:gdLst/>
              <a:ahLst/>
              <a:cxnLst>
                <a:cxn ang="0">
                  <a:pos x="388" y="234"/>
                </a:cxn>
                <a:cxn ang="0">
                  <a:pos x="350" y="234"/>
                </a:cxn>
                <a:cxn ang="0">
                  <a:pos x="300" y="212"/>
                </a:cxn>
                <a:cxn ang="0">
                  <a:pos x="276" y="206"/>
                </a:cxn>
                <a:cxn ang="0">
                  <a:pos x="230" y="174"/>
                </a:cxn>
                <a:cxn ang="0">
                  <a:pos x="240" y="142"/>
                </a:cxn>
                <a:cxn ang="0">
                  <a:pos x="182" y="104"/>
                </a:cxn>
                <a:cxn ang="0">
                  <a:pos x="182" y="70"/>
                </a:cxn>
                <a:cxn ang="0">
                  <a:pos x="128" y="4"/>
                </a:cxn>
                <a:cxn ang="0">
                  <a:pos x="128" y="28"/>
                </a:cxn>
                <a:cxn ang="0">
                  <a:pos x="66" y="40"/>
                </a:cxn>
                <a:cxn ang="0">
                  <a:pos x="82" y="54"/>
                </a:cxn>
                <a:cxn ang="0">
                  <a:pos x="104" y="66"/>
                </a:cxn>
                <a:cxn ang="0">
                  <a:pos x="102" y="98"/>
                </a:cxn>
                <a:cxn ang="0">
                  <a:pos x="88" y="150"/>
                </a:cxn>
                <a:cxn ang="0">
                  <a:pos x="44" y="192"/>
                </a:cxn>
                <a:cxn ang="0">
                  <a:pos x="28" y="218"/>
                </a:cxn>
                <a:cxn ang="0">
                  <a:pos x="68" y="270"/>
                </a:cxn>
                <a:cxn ang="0">
                  <a:pos x="54" y="276"/>
                </a:cxn>
                <a:cxn ang="0">
                  <a:pos x="12" y="282"/>
                </a:cxn>
                <a:cxn ang="0">
                  <a:pos x="18" y="306"/>
                </a:cxn>
                <a:cxn ang="0">
                  <a:pos x="44" y="324"/>
                </a:cxn>
                <a:cxn ang="0">
                  <a:pos x="20" y="334"/>
                </a:cxn>
                <a:cxn ang="0">
                  <a:pos x="58" y="376"/>
                </a:cxn>
                <a:cxn ang="0">
                  <a:pos x="88" y="354"/>
                </a:cxn>
                <a:cxn ang="0">
                  <a:pos x="94" y="354"/>
                </a:cxn>
                <a:cxn ang="0">
                  <a:pos x="110" y="386"/>
                </a:cxn>
                <a:cxn ang="0">
                  <a:pos x="114" y="410"/>
                </a:cxn>
                <a:cxn ang="0">
                  <a:pos x="142" y="508"/>
                </a:cxn>
                <a:cxn ang="0">
                  <a:pos x="168" y="572"/>
                </a:cxn>
                <a:cxn ang="0">
                  <a:pos x="210" y="660"/>
                </a:cxn>
                <a:cxn ang="0">
                  <a:pos x="252" y="690"/>
                </a:cxn>
                <a:cxn ang="0">
                  <a:pos x="264" y="660"/>
                </a:cxn>
                <a:cxn ang="0">
                  <a:pos x="284" y="638"/>
                </a:cxn>
                <a:cxn ang="0">
                  <a:pos x="288" y="582"/>
                </a:cxn>
                <a:cxn ang="0">
                  <a:pos x="286" y="532"/>
                </a:cxn>
                <a:cxn ang="0">
                  <a:pos x="300" y="490"/>
                </a:cxn>
                <a:cxn ang="0">
                  <a:pos x="328" y="464"/>
                </a:cxn>
                <a:cxn ang="0">
                  <a:pos x="352" y="432"/>
                </a:cxn>
                <a:cxn ang="0">
                  <a:pos x="382" y="390"/>
                </a:cxn>
                <a:cxn ang="0">
                  <a:pos x="398" y="354"/>
                </a:cxn>
                <a:cxn ang="0">
                  <a:pos x="420" y="332"/>
                </a:cxn>
                <a:cxn ang="0">
                  <a:pos x="432" y="338"/>
                </a:cxn>
                <a:cxn ang="0">
                  <a:pos x="430" y="308"/>
                </a:cxn>
                <a:cxn ang="0">
                  <a:pos x="408" y="268"/>
                </a:cxn>
                <a:cxn ang="0">
                  <a:pos x="390" y="238"/>
                </a:cxn>
                <a:cxn ang="0">
                  <a:pos x="418" y="228"/>
                </a:cxn>
                <a:cxn ang="0">
                  <a:pos x="436" y="240"/>
                </a:cxn>
                <a:cxn ang="0">
                  <a:pos x="502" y="266"/>
                </a:cxn>
                <a:cxn ang="0">
                  <a:pos x="470" y="296"/>
                </a:cxn>
                <a:cxn ang="0">
                  <a:pos x="492" y="300"/>
                </a:cxn>
                <a:cxn ang="0">
                  <a:pos x="528" y="332"/>
                </a:cxn>
                <a:cxn ang="0">
                  <a:pos x="540" y="290"/>
                </a:cxn>
                <a:cxn ang="0">
                  <a:pos x="540" y="236"/>
                </a:cxn>
                <a:cxn ang="0">
                  <a:pos x="582" y="190"/>
                </a:cxn>
                <a:cxn ang="0">
                  <a:pos x="558" y="172"/>
                </a:cxn>
                <a:cxn ang="0">
                  <a:pos x="538" y="160"/>
                </a:cxn>
                <a:cxn ang="0">
                  <a:pos x="462" y="184"/>
                </a:cxn>
                <a:cxn ang="0">
                  <a:pos x="470" y="206"/>
                </a:cxn>
                <a:cxn ang="0">
                  <a:pos x="412" y="200"/>
                </a:cxn>
              </a:cxnLst>
              <a:rect l="0" t="0" r="r" b="b"/>
              <a:pathLst>
                <a:path w="588" h="696">
                  <a:moveTo>
                    <a:pt x="398" y="192"/>
                  </a:moveTo>
                  <a:lnTo>
                    <a:pt x="398" y="192"/>
                  </a:lnTo>
                  <a:lnTo>
                    <a:pt x="400" y="196"/>
                  </a:lnTo>
                  <a:lnTo>
                    <a:pt x="400" y="200"/>
                  </a:lnTo>
                  <a:lnTo>
                    <a:pt x="394" y="206"/>
                  </a:lnTo>
                  <a:lnTo>
                    <a:pt x="388" y="212"/>
                  </a:lnTo>
                  <a:lnTo>
                    <a:pt x="386" y="216"/>
                  </a:lnTo>
                  <a:lnTo>
                    <a:pt x="388" y="218"/>
                  </a:lnTo>
                  <a:lnTo>
                    <a:pt x="388" y="218"/>
                  </a:lnTo>
                  <a:lnTo>
                    <a:pt x="390" y="224"/>
                  </a:lnTo>
                  <a:lnTo>
                    <a:pt x="390" y="230"/>
                  </a:lnTo>
                  <a:lnTo>
                    <a:pt x="388" y="234"/>
                  </a:lnTo>
                  <a:lnTo>
                    <a:pt x="386" y="238"/>
                  </a:lnTo>
                  <a:lnTo>
                    <a:pt x="386" y="238"/>
                  </a:lnTo>
                  <a:lnTo>
                    <a:pt x="378" y="238"/>
                  </a:lnTo>
                  <a:lnTo>
                    <a:pt x="374" y="238"/>
                  </a:lnTo>
                  <a:lnTo>
                    <a:pt x="372" y="238"/>
                  </a:lnTo>
                  <a:lnTo>
                    <a:pt x="368" y="238"/>
                  </a:lnTo>
                  <a:lnTo>
                    <a:pt x="368" y="238"/>
                  </a:lnTo>
                  <a:lnTo>
                    <a:pt x="362" y="238"/>
                  </a:lnTo>
                  <a:lnTo>
                    <a:pt x="360" y="236"/>
                  </a:lnTo>
                  <a:lnTo>
                    <a:pt x="358" y="234"/>
                  </a:lnTo>
                  <a:lnTo>
                    <a:pt x="350" y="234"/>
                  </a:lnTo>
                  <a:lnTo>
                    <a:pt x="350" y="234"/>
                  </a:lnTo>
                  <a:lnTo>
                    <a:pt x="344" y="234"/>
                  </a:lnTo>
                  <a:lnTo>
                    <a:pt x="340" y="230"/>
                  </a:lnTo>
                  <a:lnTo>
                    <a:pt x="338" y="228"/>
                  </a:lnTo>
                  <a:lnTo>
                    <a:pt x="334" y="228"/>
                  </a:lnTo>
                  <a:lnTo>
                    <a:pt x="334" y="228"/>
                  </a:lnTo>
                  <a:lnTo>
                    <a:pt x="332" y="228"/>
                  </a:lnTo>
                  <a:lnTo>
                    <a:pt x="332" y="226"/>
                  </a:lnTo>
                  <a:lnTo>
                    <a:pt x="330" y="222"/>
                  </a:lnTo>
                  <a:lnTo>
                    <a:pt x="324" y="218"/>
                  </a:lnTo>
                  <a:lnTo>
                    <a:pt x="324" y="218"/>
                  </a:lnTo>
                  <a:lnTo>
                    <a:pt x="306" y="212"/>
                  </a:lnTo>
                  <a:lnTo>
                    <a:pt x="300" y="212"/>
                  </a:lnTo>
                  <a:lnTo>
                    <a:pt x="298" y="212"/>
                  </a:lnTo>
                  <a:lnTo>
                    <a:pt x="296" y="214"/>
                  </a:lnTo>
                  <a:lnTo>
                    <a:pt x="296" y="214"/>
                  </a:lnTo>
                  <a:lnTo>
                    <a:pt x="296" y="214"/>
                  </a:lnTo>
                  <a:lnTo>
                    <a:pt x="292" y="214"/>
                  </a:lnTo>
                  <a:lnTo>
                    <a:pt x="280" y="212"/>
                  </a:lnTo>
                  <a:lnTo>
                    <a:pt x="280" y="212"/>
                  </a:lnTo>
                  <a:lnTo>
                    <a:pt x="276" y="212"/>
                  </a:lnTo>
                  <a:lnTo>
                    <a:pt x="276" y="210"/>
                  </a:lnTo>
                  <a:lnTo>
                    <a:pt x="278" y="208"/>
                  </a:lnTo>
                  <a:lnTo>
                    <a:pt x="276" y="206"/>
                  </a:lnTo>
                  <a:lnTo>
                    <a:pt x="276" y="206"/>
                  </a:lnTo>
                  <a:lnTo>
                    <a:pt x="262" y="202"/>
                  </a:lnTo>
                  <a:lnTo>
                    <a:pt x="254" y="198"/>
                  </a:lnTo>
                  <a:lnTo>
                    <a:pt x="246" y="192"/>
                  </a:lnTo>
                  <a:lnTo>
                    <a:pt x="246" y="192"/>
                  </a:lnTo>
                  <a:lnTo>
                    <a:pt x="242" y="188"/>
                  </a:lnTo>
                  <a:lnTo>
                    <a:pt x="238" y="188"/>
                  </a:lnTo>
                  <a:lnTo>
                    <a:pt x="232" y="188"/>
                  </a:lnTo>
                  <a:lnTo>
                    <a:pt x="226" y="184"/>
                  </a:lnTo>
                  <a:lnTo>
                    <a:pt x="226" y="184"/>
                  </a:lnTo>
                  <a:lnTo>
                    <a:pt x="222" y="182"/>
                  </a:lnTo>
                  <a:lnTo>
                    <a:pt x="224" y="178"/>
                  </a:lnTo>
                  <a:lnTo>
                    <a:pt x="230" y="174"/>
                  </a:lnTo>
                  <a:lnTo>
                    <a:pt x="236" y="168"/>
                  </a:lnTo>
                  <a:lnTo>
                    <a:pt x="236" y="168"/>
                  </a:lnTo>
                  <a:lnTo>
                    <a:pt x="240" y="162"/>
                  </a:lnTo>
                  <a:lnTo>
                    <a:pt x="240" y="160"/>
                  </a:lnTo>
                  <a:lnTo>
                    <a:pt x="238" y="158"/>
                  </a:lnTo>
                  <a:lnTo>
                    <a:pt x="240" y="156"/>
                  </a:lnTo>
                  <a:lnTo>
                    <a:pt x="240" y="156"/>
                  </a:lnTo>
                  <a:lnTo>
                    <a:pt x="244" y="148"/>
                  </a:lnTo>
                  <a:lnTo>
                    <a:pt x="246" y="146"/>
                  </a:lnTo>
                  <a:lnTo>
                    <a:pt x="246" y="146"/>
                  </a:lnTo>
                  <a:lnTo>
                    <a:pt x="240" y="142"/>
                  </a:lnTo>
                  <a:lnTo>
                    <a:pt x="240" y="142"/>
                  </a:lnTo>
                  <a:lnTo>
                    <a:pt x="234" y="134"/>
                  </a:lnTo>
                  <a:lnTo>
                    <a:pt x="226" y="132"/>
                  </a:lnTo>
                  <a:lnTo>
                    <a:pt x="220" y="130"/>
                  </a:lnTo>
                  <a:lnTo>
                    <a:pt x="214" y="126"/>
                  </a:lnTo>
                  <a:lnTo>
                    <a:pt x="214" y="126"/>
                  </a:lnTo>
                  <a:lnTo>
                    <a:pt x="208" y="122"/>
                  </a:lnTo>
                  <a:lnTo>
                    <a:pt x="202" y="122"/>
                  </a:lnTo>
                  <a:lnTo>
                    <a:pt x="194" y="118"/>
                  </a:lnTo>
                  <a:lnTo>
                    <a:pt x="190" y="116"/>
                  </a:lnTo>
                  <a:lnTo>
                    <a:pt x="186" y="112"/>
                  </a:lnTo>
                  <a:lnTo>
                    <a:pt x="186" y="112"/>
                  </a:lnTo>
                  <a:lnTo>
                    <a:pt x="182" y="104"/>
                  </a:lnTo>
                  <a:lnTo>
                    <a:pt x="182" y="98"/>
                  </a:lnTo>
                  <a:lnTo>
                    <a:pt x="182" y="94"/>
                  </a:lnTo>
                  <a:lnTo>
                    <a:pt x="176" y="88"/>
                  </a:lnTo>
                  <a:lnTo>
                    <a:pt x="176" y="88"/>
                  </a:lnTo>
                  <a:lnTo>
                    <a:pt x="174" y="84"/>
                  </a:lnTo>
                  <a:lnTo>
                    <a:pt x="174" y="84"/>
                  </a:lnTo>
                  <a:lnTo>
                    <a:pt x="178" y="84"/>
                  </a:lnTo>
                  <a:lnTo>
                    <a:pt x="182" y="84"/>
                  </a:lnTo>
                  <a:lnTo>
                    <a:pt x="184" y="82"/>
                  </a:lnTo>
                  <a:lnTo>
                    <a:pt x="184" y="78"/>
                  </a:lnTo>
                  <a:lnTo>
                    <a:pt x="182" y="70"/>
                  </a:lnTo>
                  <a:lnTo>
                    <a:pt x="182" y="70"/>
                  </a:lnTo>
                  <a:lnTo>
                    <a:pt x="178" y="64"/>
                  </a:lnTo>
                  <a:lnTo>
                    <a:pt x="174" y="58"/>
                  </a:lnTo>
                  <a:lnTo>
                    <a:pt x="166" y="50"/>
                  </a:lnTo>
                  <a:lnTo>
                    <a:pt x="164" y="48"/>
                  </a:lnTo>
                  <a:lnTo>
                    <a:pt x="164" y="46"/>
                  </a:lnTo>
                  <a:lnTo>
                    <a:pt x="170" y="38"/>
                  </a:lnTo>
                  <a:lnTo>
                    <a:pt x="170" y="38"/>
                  </a:lnTo>
                  <a:lnTo>
                    <a:pt x="158" y="22"/>
                  </a:lnTo>
                  <a:lnTo>
                    <a:pt x="150" y="12"/>
                  </a:lnTo>
                  <a:lnTo>
                    <a:pt x="142" y="6"/>
                  </a:lnTo>
                  <a:lnTo>
                    <a:pt x="136" y="4"/>
                  </a:lnTo>
                  <a:lnTo>
                    <a:pt x="128" y="4"/>
                  </a:lnTo>
                  <a:lnTo>
                    <a:pt x="124" y="2"/>
                  </a:lnTo>
                  <a:lnTo>
                    <a:pt x="120" y="0"/>
                  </a:lnTo>
                  <a:lnTo>
                    <a:pt x="120" y="0"/>
                  </a:lnTo>
                  <a:lnTo>
                    <a:pt x="122" y="4"/>
                  </a:lnTo>
                  <a:lnTo>
                    <a:pt x="126" y="6"/>
                  </a:lnTo>
                  <a:lnTo>
                    <a:pt x="130" y="8"/>
                  </a:lnTo>
                  <a:lnTo>
                    <a:pt x="134" y="16"/>
                  </a:lnTo>
                  <a:lnTo>
                    <a:pt x="134" y="16"/>
                  </a:lnTo>
                  <a:lnTo>
                    <a:pt x="138" y="22"/>
                  </a:lnTo>
                  <a:lnTo>
                    <a:pt x="138" y="26"/>
                  </a:lnTo>
                  <a:lnTo>
                    <a:pt x="134" y="28"/>
                  </a:lnTo>
                  <a:lnTo>
                    <a:pt x="128" y="28"/>
                  </a:lnTo>
                  <a:lnTo>
                    <a:pt x="128" y="28"/>
                  </a:lnTo>
                  <a:lnTo>
                    <a:pt x="116" y="30"/>
                  </a:lnTo>
                  <a:lnTo>
                    <a:pt x="108" y="32"/>
                  </a:lnTo>
                  <a:lnTo>
                    <a:pt x="100" y="34"/>
                  </a:lnTo>
                  <a:lnTo>
                    <a:pt x="80" y="32"/>
                  </a:lnTo>
                  <a:lnTo>
                    <a:pt x="80" y="32"/>
                  </a:lnTo>
                  <a:lnTo>
                    <a:pt x="70" y="30"/>
                  </a:lnTo>
                  <a:lnTo>
                    <a:pt x="64" y="30"/>
                  </a:lnTo>
                  <a:lnTo>
                    <a:pt x="62" y="32"/>
                  </a:lnTo>
                  <a:lnTo>
                    <a:pt x="60" y="32"/>
                  </a:lnTo>
                  <a:lnTo>
                    <a:pt x="62" y="36"/>
                  </a:lnTo>
                  <a:lnTo>
                    <a:pt x="66" y="40"/>
                  </a:lnTo>
                  <a:lnTo>
                    <a:pt x="66" y="40"/>
                  </a:lnTo>
                  <a:lnTo>
                    <a:pt x="62" y="40"/>
                  </a:lnTo>
                  <a:lnTo>
                    <a:pt x="62" y="42"/>
                  </a:lnTo>
                  <a:lnTo>
                    <a:pt x="64" y="44"/>
                  </a:lnTo>
                  <a:lnTo>
                    <a:pt x="68" y="48"/>
                  </a:lnTo>
                  <a:lnTo>
                    <a:pt x="70" y="50"/>
                  </a:lnTo>
                  <a:lnTo>
                    <a:pt x="70" y="54"/>
                  </a:lnTo>
                  <a:lnTo>
                    <a:pt x="70" y="54"/>
                  </a:lnTo>
                  <a:lnTo>
                    <a:pt x="70" y="56"/>
                  </a:lnTo>
                  <a:lnTo>
                    <a:pt x="72" y="58"/>
                  </a:lnTo>
                  <a:lnTo>
                    <a:pt x="76" y="56"/>
                  </a:lnTo>
                  <a:lnTo>
                    <a:pt x="82" y="54"/>
                  </a:lnTo>
                  <a:lnTo>
                    <a:pt x="84" y="54"/>
                  </a:lnTo>
                  <a:lnTo>
                    <a:pt x="86" y="54"/>
                  </a:lnTo>
                  <a:lnTo>
                    <a:pt x="86" y="54"/>
                  </a:lnTo>
                  <a:lnTo>
                    <a:pt x="88" y="58"/>
                  </a:lnTo>
                  <a:lnTo>
                    <a:pt x="88" y="60"/>
                  </a:lnTo>
                  <a:lnTo>
                    <a:pt x="88" y="64"/>
                  </a:lnTo>
                  <a:lnTo>
                    <a:pt x="88" y="66"/>
                  </a:lnTo>
                  <a:lnTo>
                    <a:pt x="90" y="68"/>
                  </a:lnTo>
                  <a:lnTo>
                    <a:pt x="98" y="66"/>
                  </a:lnTo>
                  <a:lnTo>
                    <a:pt x="98" y="66"/>
                  </a:lnTo>
                  <a:lnTo>
                    <a:pt x="102" y="66"/>
                  </a:lnTo>
                  <a:lnTo>
                    <a:pt x="104" y="66"/>
                  </a:lnTo>
                  <a:lnTo>
                    <a:pt x="102" y="70"/>
                  </a:lnTo>
                  <a:lnTo>
                    <a:pt x="102" y="76"/>
                  </a:lnTo>
                  <a:lnTo>
                    <a:pt x="102" y="78"/>
                  </a:lnTo>
                  <a:lnTo>
                    <a:pt x="104" y="78"/>
                  </a:lnTo>
                  <a:lnTo>
                    <a:pt x="104" y="78"/>
                  </a:lnTo>
                  <a:lnTo>
                    <a:pt x="108" y="80"/>
                  </a:lnTo>
                  <a:lnTo>
                    <a:pt x="106" y="82"/>
                  </a:lnTo>
                  <a:lnTo>
                    <a:pt x="102" y="86"/>
                  </a:lnTo>
                  <a:lnTo>
                    <a:pt x="98" y="88"/>
                  </a:lnTo>
                  <a:lnTo>
                    <a:pt x="98" y="92"/>
                  </a:lnTo>
                  <a:lnTo>
                    <a:pt x="98" y="96"/>
                  </a:lnTo>
                  <a:lnTo>
                    <a:pt x="102" y="98"/>
                  </a:lnTo>
                  <a:lnTo>
                    <a:pt x="102" y="98"/>
                  </a:lnTo>
                  <a:lnTo>
                    <a:pt x="108" y="106"/>
                  </a:lnTo>
                  <a:lnTo>
                    <a:pt x="108" y="106"/>
                  </a:lnTo>
                  <a:lnTo>
                    <a:pt x="106" y="108"/>
                  </a:lnTo>
                  <a:lnTo>
                    <a:pt x="102" y="110"/>
                  </a:lnTo>
                  <a:lnTo>
                    <a:pt x="100" y="114"/>
                  </a:lnTo>
                  <a:lnTo>
                    <a:pt x="96" y="120"/>
                  </a:lnTo>
                  <a:lnTo>
                    <a:pt x="96" y="128"/>
                  </a:lnTo>
                  <a:lnTo>
                    <a:pt x="96" y="128"/>
                  </a:lnTo>
                  <a:lnTo>
                    <a:pt x="94" y="138"/>
                  </a:lnTo>
                  <a:lnTo>
                    <a:pt x="92" y="146"/>
                  </a:lnTo>
                  <a:lnTo>
                    <a:pt x="88" y="150"/>
                  </a:lnTo>
                  <a:lnTo>
                    <a:pt x="84" y="152"/>
                  </a:lnTo>
                  <a:lnTo>
                    <a:pt x="78" y="156"/>
                  </a:lnTo>
                  <a:lnTo>
                    <a:pt x="76" y="158"/>
                  </a:lnTo>
                  <a:lnTo>
                    <a:pt x="76" y="162"/>
                  </a:lnTo>
                  <a:lnTo>
                    <a:pt x="76" y="162"/>
                  </a:lnTo>
                  <a:lnTo>
                    <a:pt x="74" y="166"/>
                  </a:lnTo>
                  <a:lnTo>
                    <a:pt x="70" y="174"/>
                  </a:lnTo>
                  <a:lnTo>
                    <a:pt x="64" y="182"/>
                  </a:lnTo>
                  <a:lnTo>
                    <a:pt x="52" y="190"/>
                  </a:lnTo>
                  <a:lnTo>
                    <a:pt x="52" y="190"/>
                  </a:lnTo>
                  <a:lnTo>
                    <a:pt x="46" y="192"/>
                  </a:lnTo>
                  <a:lnTo>
                    <a:pt x="44" y="192"/>
                  </a:lnTo>
                  <a:lnTo>
                    <a:pt x="42" y="190"/>
                  </a:lnTo>
                  <a:lnTo>
                    <a:pt x="40" y="188"/>
                  </a:lnTo>
                  <a:lnTo>
                    <a:pt x="40" y="186"/>
                  </a:lnTo>
                  <a:lnTo>
                    <a:pt x="34" y="190"/>
                  </a:lnTo>
                  <a:lnTo>
                    <a:pt x="34" y="190"/>
                  </a:lnTo>
                  <a:lnTo>
                    <a:pt x="20" y="204"/>
                  </a:lnTo>
                  <a:lnTo>
                    <a:pt x="18" y="210"/>
                  </a:lnTo>
                  <a:lnTo>
                    <a:pt x="18" y="212"/>
                  </a:lnTo>
                  <a:lnTo>
                    <a:pt x="18" y="214"/>
                  </a:lnTo>
                  <a:lnTo>
                    <a:pt x="18" y="214"/>
                  </a:lnTo>
                  <a:lnTo>
                    <a:pt x="24" y="216"/>
                  </a:lnTo>
                  <a:lnTo>
                    <a:pt x="28" y="218"/>
                  </a:lnTo>
                  <a:lnTo>
                    <a:pt x="30" y="222"/>
                  </a:lnTo>
                  <a:lnTo>
                    <a:pt x="30" y="228"/>
                  </a:lnTo>
                  <a:lnTo>
                    <a:pt x="30" y="228"/>
                  </a:lnTo>
                  <a:lnTo>
                    <a:pt x="30" y="232"/>
                  </a:lnTo>
                  <a:lnTo>
                    <a:pt x="32" y="236"/>
                  </a:lnTo>
                  <a:lnTo>
                    <a:pt x="36" y="240"/>
                  </a:lnTo>
                  <a:lnTo>
                    <a:pt x="46" y="246"/>
                  </a:lnTo>
                  <a:lnTo>
                    <a:pt x="58" y="256"/>
                  </a:lnTo>
                  <a:lnTo>
                    <a:pt x="58" y="256"/>
                  </a:lnTo>
                  <a:lnTo>
                    <a:pt x="64" y="262"/>
                  </a:lnTo>
                  <a:lnTo>
                    <a:pt x="68" y="266"/>
                  </a:lnTo>
                  <a:lnTo>
                    <a:pt x="68" y="270"/>
                  </a:lnTo>
                  <a:lnTo>
                    <a:pt x="66" y="270"/>
                  </a:lnTo>
                  <a:lnTo>
                    <a:pt x="62" y="272"/>
                  </a:lnTo>
                  <a:lnTo>
                    <a:pt x="62" y="272"/>
                  </a:lnTo>
                  <a:lnTo>
                    <a:pt x="64" y="274"/>
                  </a:lnTo>
                  <a:lnTo>
                    <a:pt x="64" y="274"/>
                  </a:lnTo>
                  <a:lnTo>
                    <a:pt x="70" y="278"/>
                  </a:lnTo>
                  <a:lnTo>
                    <a:pt x="62" y="280"/>
                  </a:lnTo>
                  <a:lnTo>
                    <a:pt x="62" y="280"/>
                  </a:lnTo>
                  <a:lnTo>
                    <a:pt x="56" y="282"/>
                  </a:lnTo>
                  <a:lnTo>
                    <a:pt x="54" y="280"/>
                  </a:lnTo>
                  <a:lnTo>
                    <a:pt x="54" y="278"/>
                  </a:lnTo>
                  <a:lnTo>
                    <a:pt x="54" y="276"/>
                  </a:lnTo>
                  <a:lnTo>
                    <a:pt x="48" y="278"/>
                  </a:lnTo>
                  <a:lnTo>
                    <a:pt x="48" y="278"/>
                  </a:lnTo>
                  <a:lnTo>
                    <a:pt x="40" y="280"/>
                  </a:lnTo>
                  <a:lnTo>
                    <a:pt x="34" y="280"/>
                  </a:lnTo>
                  <a:lnTo>
                    <a:pt x="28" y="280"/>
                  </a:lnTo>
                  <a:lnTo>
                    <a:pt x="24" y="282"/>
                  </a:lnTo>
                  <a:lnTo>
                    <a:pt x="24" y="282"/>
                  </a:lnTo>
                  <a:lnTo>
                    <a:pt x="20" y="282"/>
                  </a:lnTo>
                  <a:lnTo>
                    <a:pt x="18" y="282"/>
                  </a:lnTo>
                  <a:lnTo>
                    <a:pt x="16" y="280"/>
                  </a:lnTo>
                  <a:lnTo>
                    <a:pt x="12" y="282"/>
                  </a:lnTo>
                  <a:lnTo>
                    <a:pt x="12" y="282"/>
                  </a:lnTo>
                  <a:lnTo>
                    <a:pt x="8" y="286"/>
                  </a:lnTo>
                  <a:lnTo>
                    <a:pt x="6" y="286"/>
                  </a:lnTo>
                  <a:lnTo>
                    <a:pt x="4" y="286"/>
                  </a:lnTo>
                  <a:lnTo>
                    <a:pt x="0" y="292"/>
                  </a:lnTo>
                  <a:lnTo>
                    <a:pt x="0" y="292"/>
                  </a:lnTo>
                  <a:lnTo>
                    <a:pt x="6" y="296"/>
                  </a:lnTo>
                  <a:lnTo>
                    <a:pt x="10" y="298"/>
                  </a:lnTo>
                  <a:lnTo>
                    <a:pt x="14" y="300"/>
                  </a:lnTo>
                  <a:lnTo>
                    <a:pt x="22" y="300"/>
                  </a:lnTo>
                  <a:lnTo>
                    <a:pt x="22" y="300"/>
                  </a:lnTo>
                  <a:lnTo>
                    <a:pt x="18" y="302"/>
                  </a:lnTo>
                  <a:lnTo>
                    <a:pt x="18" y="306"/>
                  </a:lnTo>
                  <a:lnTo>
                    <a:pt x="20" y="310"/>
                  </a:lnTo>
                  <a:lnTo>
                    <a:pt x="20" y="310"/>
                  </a:lnTo>
                  <a:lnTo>
                    <a:pt x="22" y="316"/>
                  </a:lnTo>
                  <a:lnTo>
                    <a:pt x="22" y="322"/>
                  </a:lnTo>
                  <a:lnTo>
                    <a:pt x="24" y="326"/>
                  </a:lnTo>
                  <a:lnTo>
                    <a:pt x="26" y="326"/>
                  </a:lnTo>
                  <a:lnTo>
                    <a:pt x="30" y="324"/>
                  </a:lnTo>
                  <a:lnTo>
                    <a:pt x="30" y="324"/>
                  </a:lnTo>
                  <a:lnTo>
                    <a:pt x="32" y="324"/>
                  </a:lnTo>
                  <a:lnTo>
                    <a:pt x="36" y="324"/>
                  </a:lnTo>
                  <a:lnTo>
                    <a:pt x="40" y="324"/>
                  </a:lnTo>
                  <a:lnTo>
                    <a:pt x="44" y="324"/>
                  </a:lnTo>
                  <a:lnTo>
                    <a:pt x="44" y="324"/>
                  </a:lnTo>
                  <a:lnTo>
                    <a:pt x="44" y="330"/>
                  </a:lnTo>
                  <a:lnTo>
                    <a:pt x="42" y="332"/>
                  </a:lnTo>
                  <a:lnTo>
                    <a:pt x="40" y="334"/>
                  </a:lnTo>
                  <a:lnTo>
                    <a:pt x="40" y="334"/>
                  </a:lnTo>
                  <a:lnTo>
                    <a:pt x="34" y="336"/>
                  </a:lnTo>
                  <a:lnTo>
                    <a:pt x="30" y="336"/>
                  </a:lnTo>
                  <a:lnTo>
                    <a:pt x="26" y="334"/>
                  </a:lnTo>
                  <a:lnTo>
                    <a:pt x="24" y="334"/>
                  </a:lnTo>
                  <a:lnTo>
                    <a:pt x="24" y="334"/>
                  </a:lnTo>
                  <a:lnTo>
                    <a:pt x="22" y="336"/>
                  </a:lnTo>
                  <a:lnTo>
                    <a:pt x="20" y="334"/>
                  </a:lnTo>
                  <a:lnTo>
                    <a:pt x="18" y="334"/>
                  </a:lnTo>
                  <a:lnTo>
                    <a:pt x="18" y="334"/>
                  </a:lnTo>
                  <a:lnTo>
                    <a:pt x="18" y="334"/>
                  </a:lnTo>
                  <a:lnTo>
                    <a:pt x="16" y="336"/>
                  </a:lnTo>
                  <a:lnTo>
                    <a:pt x="16" y="338"/>
                  </a:lnTo>
                  <a:lnTo>
                    <a:pt x="18" y="342"/>
                  </a:lnTo>
                  <a:lnTo>
                    <a:pt x="24" y="344"/>
                  </a:lnTo>
                  <a:lnTo>
                    <a:pt x="24" y="344"/>
                  </a:lnTo>
                  <a:lnTo>
                    <a:pt x="32" y="352"/>
                  </a:lnTo>
                  <a:lnTo>
                    <a:pt x="40" y="362"/>
                  </a:lnTo>
                  <a:lnTo>
                    <a:pt x="52" y="374"/>
                  </a:lnTo>
                  <a:lnTo>
                    <a:pt x="58" y="376"/>
                  </a:lnTo>
                  <a:lnTo>
                    <a:pt x="64" y="378"/>
                  </a:lnTo>
                  <a:lnTo>
                    <a:pt x="64" y="378"/>
                  </a:lnTo>
                  <a:lnTo>
                    <a:pt x="68" y="378"/>
                  </a:lnTo>
                  <a:lnTo>
                    <a:pt x="70" y="376"/>
                  </a:lnTo>
                  <a:lnTo>
                    <a:pt x="72" y="374"/>
                  </a:lnTo>
                  <a:lnTo>
                    <a:pt x="80" y="370"/>
                  </a:lnTo>
                  <a:lnTo>
                    <a:pt x="80" y="370"/>
                  </a:lnTo>
                  <a:lnTo>
                    <a:pt x="84" y="368"/>
                  </a:lnTo>
                  <a:lnTo>
                    <a:pt x="88" y="364"/>
                  </a:lnTo>
                  <a:lnTo>
                    <a:pt x="90" y="360"/>
                  </a:lnTo>
                  <a:lnTo>
                    <a:pt x="88" y="354"/>
                  </a:lnTo>
                  <a:lnTo>
                    <a:pt x="88" y="354"/>
                  </a:lnTo>
                  <a:lnTo>
                    <a:pt x="86" y="348"/>
                  </a:lnTo>
                  <a:lnTo>
                    <a:pt x="88" y="344"/>
                  </a:lnTo>
                  <a:lnTo>
                    <a:pt x="92" y="336"/>
                  </a:lnTo>
                  <a:lnTo>
                    <a:pt x="92" y="336"/>
                  </a:lnTo>
                  <a:lnTo>
                    <a:pt x="92" y="342"/>
                  </a:lnTo>
                  <a:lnTo>
                    <a:pt x="94" y="344"/>
                  </a:lnTo>
                  <a:lnTo>
                    <a:pt x="98" y="344"/>
                  </a:lnTo>
                  <a:lnTo>
                    <a:pt x="106" y="342"/>
                  </a:lnTo>
                  <a:lnTo>
                    <a:pt x="106" y="342"/>
                  </a:lnTo>
                  <a:lnTo>
                    <a:pt x="96" y="346"/>
                  </a:lnTo>
                  <a:lnTo>
                    <a:pt x="94" y="350"/>
                  </a:lnTo>
                  <a:lnTo>
                    <a:pt x="94" y="354"/>
                  </a:lnTo>
                  <a:lnTo>
                    <a:pt x="94" y="354"/>
                  </a:lnTo>
                  <a:lnTo>
                    <a:pt x="96" y="356"/>
                  </a:lnTo>
                  <a:lnTo>
                    <a:pt x="98" y="358"/>
                  </a:lnTo>
                  <a:lnTo>
                    <a:pt x="100" y="358"/>
                  </a:lnTo>
                  <a:lnTo>
                    <a:pt x="100" y="358"/>
                  </a:lnTo>
                  <a:lnTo>
                    <a:pt x="98" y="362"/>
                  </a:lnTo>
                  <a:lnTo>
                    <a:pt x="100" y="366"/>
                  </a:lnTo>
                  <a:lnTo>
                    <a:pt x="106" y="366"/>
                  </a:lnTo>
                  <a:lnTo>
                    <a:pt x="106" y="366"/>
                  </a:lnTo>
                  <a:lnTo>
                    <a:pt x="102" y="370"/>
                  </a:lnTo>
                  <a:lnTo>
                    <a:pt x="102" y="372"/>
                  </a:lnTo>
                  <a:lnTo>
                    <a:pt x="110" y="386"/>
                  </a:lnTo>
                  <a:lnTo>
                    <a:pt x="110" y="386"/>
                  </a:lnTo>
                  <a:lnTo>
                    <a:pt x="106" y="390"/>
                  </a:lnTo>
                  <a:lnTo>
                    <a:pt x="106" y="396"/>
                  </a:lnTo>
                  <a:lnTo>
                    <a:pt x="106" y="400"/>
                  </a:lnTo>
                  <a:lnTo>
                    <a:pt x="106" y="404"/>
                  </a:lnTo>
                  <a:lnTo>
                    <a:pt x="106" y="404"/>
                  </a:lnTo>
                  <a:lnTo>
                    <a:pt x="108" y="408"/>
                  </a:lnTo>
                  <a:lnTo>
                    <a:pt x="108" y="412"/>
                  </a:lnTo>
                  <a:lnTo>
                    <a:pt x="110" y="414"/>
                  </a:lnTo>
                  <a:lnTo>
                    <a:pt x="112" y="412"/>
                  </a:lnTo>
                  <a:lnTo>
                    <a:pt x="112" y="412"/>
                  </a:lnTo>
                  <a:lnTo>
                    <a:pt x="114" y="410"/>
                  </a:lnTo>
                  <a:lnTo>
                    <a:pt x="112" y="414"/>
                  </a:lnTo>
                  <a:lnTo>
                    <a:pt x="110" y="420"/>
                  </a:lnTo>
                  <a:lnTo>
                    <a:pt x="110" y="424"/>
                  </a:lnTo>
                  <a:lnTo>
                    <a:pt x="112" y="430"/>
                  </a:lnTo>
                  <a:lnTo>
                    <a:pt x="112" y="430"/>
                  </a:lnTo>
                  <a:lnTo>
                    <a:pt x="116" y="446"/>
                  </a:lnTo>
                  <a:lnTo>
                    <a:pt x="122" y="466"/>
                  </a:lnTo>
                  <a:lnTo>
                    <a:pt x="128" y="488"/>
                  </a:lnTo>
                  <a:lnTo>
                    <a:pt x="132" y="496"/>
                  </a:lnTo>
                  <a:lnTo>
                    <a:pt x="138" y="502"/>
                  </a:lnTo>
                  <a:lnTo>
                    <a:pt x="138" y="502"/>
                  </a:lnTo>
                  <a:lnTo>
                    <a:pt x="142" y="508"/>
                  </a:lnTo>
                  <a:lnTo>
                    <a:pt x="146" y="514"/>
                  </a:lnTo>
                  <a:lnTo>
                    <a:pt x="152" y="528"/>
                  </a:lnTo>
                  <a:lnTo>
                    <a:pt x="156" y="542"/>
                  </a:lnTo>
                  <a:lnTo>
                    <a:pt x="160" y="548"/>
                  </a:lnTo>
                  <a:lnTo>
                    <a:pt x="164" y="554"/>
                  </a:lnTo>
                  <a:lnTo>
                    <a:pt x="164" y="554"/>
                  </a:lnTo>
                  <a:lnTo>
                    <a:pt x="164" y="554"/>
                  </a:lnTo>
                  <a:lnTo>
                    <a:pt x="162" y="554"/>
                  </a:lnTo>
                  <a:lnTo>
                    <a:pt x="162" y="554"/>
                  </a:lnTo>
                  <a:lnTo>
                    <a:pt x="162" y="558"/>
                  </a:lnTo>
                  <a:lnTo>
                    <a:pt x="168" y="572"/>
                  </a:lnTo>
                  <a:lnTo>
                    <a:pt x="168" y="572"/>
                  </a:lnTo>
                  <a:lnTo>
                    <a:pt x="176" y="588"/>
                  </a:lnTo>
                  <a:lnTo>
                    <a:pt x="186" y="602"/>
                  </a:lnTo>
                  <a:lnTo>
                    <a:pt x="194" y="618"/>
                  </a:lnTo>
                  <a:lnTo>
                    <a:pt x="198" y="628"/>
                  </a:lnTo>
                  <a:lnTo>
                    <a:pt x="198" y="636"/>
                  </a:lnTo>
                  <a:lnTo>
                    <a:pt x="198" y="636"/>
                  </a:lnTo>
                  <a:lnTo>
                    <a:pt x="200" y="638"/>
                  </a:lnTo>
                  <a:lnTo>
                    <a:pt x="202" y="640"/>
                  </a:lnTo>
                  <a:lnTo>
                    <a:pt x="206" y="644"/>
                  </a:lnTo>
                  <a:lnTo>
                    <a:pt x="208" y="654"/>
                  </a:lnTo>
                  <a:lnTo>
                    <a:pt x="208" y="654"/>
                  </a:lnTo>
                  <a:lnTo>
                    <a:pt x="210" y="660"/>
                  </a:lnTo>
                  <a:lnTo>
                    <a:pt x="212" y="664"/>
                  </a:lnTo>
                  <a:lnTo>
                    <a:pt x="214" y="668"/>
                  </a:lnTo>
                  <a:lnTo>
                    <a:pt x="218" y="674"/>
                  </a:lnTo>
                  <a:lnTo>
                    <a:pt x="218" y="674"/>
                  </a:lnTo>
                  <a:lnTo>
                    <a:pt x="222" y="682"/>
                  </a:lnTo>
                  <a:lnTo>
                    <a:pt x="226" y="686"/>
                  </a:lnTo>
                  <a:lnTo>
                    <a:pt x="236" y="692"/>
                  </a:lnTo>
                  <a:lnTo>
                    <a:pt x="236" y="692"/>
                  </a:lnTo>
                  <a:lnTo>
                    <a:pt x="242" y="696"/>
                  </a:lnTo>
                  <a:lnTo>
                    <a:pt x="246" y="694"/>
                  </a:lnTo>
                  <a:lnTo>
                    <a:pt x="248" y="692"/>
                  </a:lnTo>
                  <a:lnTo>
                    <a:pt x="252" y="690"/>
                  </a:lnTo>
                  <a:lnTo>
                    <a:pt x="252" y="690"/>
                  </a:lnTo>
                  <a:lnTo>
                    <a:pt x="258" y="688"/>
                  </a:lnTo>
                  <a:lnTo>
                    <a:pt x="260" y="686"/>
                  </a:lnTo>
                  <a:lnTo>
                    <a:pt x="260" y="680"/>
                  </a:lnTo>
                  <a:lnTo>
                    <a:pt x="260" y="676"/>
                  </a:lnTo>
                  <a:lnTo>
                    <a:pt x="262" y="674"/>
                  </a:lnTo>
                  <a:lnTo>
                    <a:pt x="268" y="670"/>
                  </a:lnTo>
                  <a:lnTo>
                    <a:pt x="274" y="666"/>
                  </a:lnTo>
                  <a:lnTo>
                    <a:pt x="274" y="666"/>
                  </a:lnTo>
                  <a:lnTo>
                    <a:pt x="272" y="664"/>
                  </a:lnTo>
                  <a:lnTo>
                    <a:pt x="266" y="662"/>
                  </a:lnTo>
                  <a:lnTo>
                    <a:pt x="264" y="660"/>
                  </a:lnTo>
                  <a:lnTo>
                    <a:pt x="264" y="660"/>
                  </a:lnTo>
                  <a:lnTo>
                    <a:pt x="264" y="656"/>
                  </a:lnTo>
                  <a:lnTo>
                    <a:pt x="266" y="654"/>
                  </a:lnTo>
                  <a:lnTo>
                    <a:pt x="266" y="654"/>
                  </a:lnTo>
                  <a:lnTo>
                    <a:pt x="270" y="650"/>
                  </a:lnTo>
                  <a:lnTo>
                    <a:pt x="270" y="646"/>
                  </a:lnTo>
                  <a:lnTo>
                    <a:pt x="270" y="640"/>
                  </a:lnTo>
                  <a:lnTo>
                    <a:pt x="272" y="638"/>
                  </a:lnTo>
                  <a:lnTo>
                    <a:pt x="278" y="638"/>
                  </a:lnTo>
                  <a:lnTo>
                    <a:pt x="278" y="638"/>
                  </a:lnTo>
                  <a:lnTo>
                    <a:pt x="284" y="640"/>
                  </a:lnTo>
                  <a:lnTo>
                    <a:pt x="284" y="638"/>
                  </a:lnTo>
                  <a:lnTo>
                    <a:pt x="284" y="636"/>
                  </a:lnTo>
                  <a:lnTo>
                    <a:pt x="282" y="630"/>
                  </a:lnTo>
                  <a:lnTo>
                    <a:pt x="282" y="622"/>
                  </a:lnTo>
                  <a:lnTo>
                    <a:pt x="282" y="622"/>
                  </a:lnTo>
                  <a:lnTo>
                    <a:pt x="284" y="616"/>
                  </a:lnTo>
                  <a:lnTo>
                    <a:pt x="282" y="610"/>
                  </a:lnTo>
                  <a:lnTo>
                    <a:pt x="280" y="604"/>
                  </a:lnTo>
                  <a:lnTo>
                    <a:pt x="280" y="598"/>
                  </a:lnTo>
                  <a:lnTo>
                    <a:pt x="280" y="598"/>
                  </a:lnTo>
                  <a:lnTo>
                    <a:pt x="282" y="592"/>
                  </a:lnTo>
                  <a:lnTo>
                    <a:pt x="286" y="588"/>
                  </a:lnTo>
                  <a:lnTo>
                    <a:pt x="288" y="582"/>
                  </a:lnTo>
                  <a:lnTo>
                    <a:pt x="290" y="572"/>
                  </a:lnTo>
                  <a:lnTo>
                    <a:pt x="290" y="572"/>
                  </a:lnTo>
                  <a:lnTo>
                    <a:pt x="292" y="562"/>
                  </a:lnTo>
                  <a:lnTo>
                    <a:pt x="292" y="558"/>
                  </a:lnTo>
                  <a:lnTo>
                    <a:pt x="292" y="554"/>
                  </a:lnTo>
                  <a:lnTo>
                    <a:pt x="286" y="550"/>
                  </a:lnTo>
                  <a:lnTo>
                    <a:pt x="286" y="550"/>
                  </a:lnTo>
                  <a:lnTo>
                    <a:pt x="280" y="548"/>
                  </a:lnTo>
                  <a:lnTo>
                    <a:pt x="284" y="544"/>
                  </a:lnTo>
                  <a:lnTo>
                    <a:pt x="286" y="542"/>
                  </a:lnTo>
                  <a:lnTo>
                    <a:pt x="286" y="538"/>
                  </a:lnTo>
                  <a:lnTo>
                    <a:pt x="286" y="532"/>
                  </a:lnTo>
                  <a:lnTo>
                    <a:pt x="284" y="524"/>
                  </a:lnTo>
                  <a:lnTo>
                    <a:pt x="284" y="524"/>
                  </a:lnTo>
                  <a:lnTo>
                    <a:pt x="280" y="514"/>
                  </a:lnTo>
                  <a:lnTo>
                    <a:pt x="280" y="506"/>
                  </a:lnTo>
                  <a:lnTo>
                    <a:pt x="280" y="500"/>
                  </a:lnTo>
                  <a:lnTo>
                    <a:pt x="282" y="496"/>
                  </a:lnTo>
                  <a:lnTo>
                    <a:pt x="286" y="494"/>
                  </a:lnTo>
                  <a:lnTo>
                    <a:pt x="290" y="492"/>
                  </a:lnTo>
                  <a:lnTo>
                    <a:pt x="294" y="494"/>
                  </a:lnTo>
                  <a:lnTo>
                    <a:pt x="294" y="494"/>
                  </a:lnTo>
                  <a:lnTo>
                    <a:pt x="298" y="494"/>
                  </a:lnTo>
                  <a:lnTo>
                    <a:pt x="300" y="490"/>
                  </a:lnTo>
                  <a:lnTo>
                    <a:pt x="300" y="488"/>
                  </a:lnTo>
                  <a:lnTo>
                    <a:pt x="304" y="484"/>
                  </a:lnTo>
                  <a:lnTo>
                    <a:pt x="304" y="484"/>
                  </a:lnTo>
                  <a:lnTo>
                    <a:pt x="306" y="482"/>
                  </a:lnTo>
                  <a:lnTo>
                    <a:pt x="306" y="480"/>
                  </a:lnTo>
                  <a:lnTo>
                    <a:pt x="308" y="478"/>
                  </a:lnTo>
                  <a:lnTo>
                    <a:pt x="314" y="476"/>
                  </a:lnTo>
                  <a:lnTo>
                    <a:pt x="314" y="476"/>
                  </a:lnTo>
                  <a:lnTo>
                    <a:pt x="320" y="474"/>
                  </a:lnTo>
                  <a:lnTo>
                    <a:pt x="324" y="472"/>
                  </a:lnTo>
                  <a:lnTo>
                    <a:pt x="328" y="464"/>
                  </a:lnTo>
                  <a:lnTo>
                    <a:pt x="328" y="464"/>
                  </a:lnTo>
                  <a:lnTo>
                    <a:pt x="330" y="462"/>
                  </a:lnTo>
                  <a:lnTo>
                    <a:pt x="328" y="462"/>
                  </a:lnTo>
                  <a:lnTo>
                    <a:pt x="326" y="460"/>
                  </a:lnTo>
                  <a:lnTo>
                    <a:pt x="324" y="460"/>
                  </a:lnTo>
                  <a:lnTo>
                    <a:pt x="326" y="458"/>
                  </a:lnTo>
                  <a:lnTo>
                    <a:pt x="332" y="454"/>
                  </a:lnTo>
                  <a:lnTo>
                    <a:pt x="332" y="454"/>
                  </a:lnTo>
                  <a:lnTo>
                    <a:pt x="340" y="450"/>
                  </a:lnTo>
                  <a:lnTo>
                    <a:pt x="344" y="442"/>
                  </a:lnTo>
                  <a:lnTo>
                    <a:pt x="348" y="436"/>
                  </a:lnTo>
                  <a:lnTo>
                    <a:pt x="352" y="432"/>
                  </a:lnTo>
                  <a:lnTo>
                    <a:pt x="352" y="432"/>
                  </a:lnTo>
                  <a:lnTo>
                    <a:pt x="358" y="426"/>
                  </a:lnTo>
                  <a:lnTo>
                    <a:pt x="362" y="420"/>
                  </a:lnTo>
                  <a:lnTo>
                    <a:pt x="364" y="412"/>
                  </a:lnTo>
                  <a:lnTo>
                    <a:pt x="366" y="408"/>
                  </a:lnTo>
                  <a:lnTo>
                    <a:pt x="368" y="402"/>
                  </a:lnTo>
                  <a:lnTo>
                    <a:pt x="372" y="398"/>
                  </a:lnTo>
                  <a:lnTo>
                    <a:pt x="380" y="394"/>
                  </a:lnTo>
                  <a:lnTo>
                    <a:pt x="380" y="394"/>
                  </a:lnTo>
                  <a:lnTo>
                    <a:pt x="376" y="392"/>
                  </a:lnTo>
                  <a:lnTo>
                    <a:pt x="378" y="390"/>
                  </a:lnTo>
                  <a:lnTo>
                    <a:pt x="380" y="390"/>
                  </a:lnTo>
                  <a:lnTo>
                    <a:pt x="382" y="390"/>
                  </a:lnTo>
                  <a:lnTo>
                    <a:pt x="382" y="392"/>
                  </a:lnTo>
                  <a:lnTo>
                    <a:pt x="382" y="392"/>
                  </a:lnTo>
                  <a:lnTo>
                    <a:pt x="388" y="390"/>
                  </a:lnTo>
                  <a:lnTo>
                    <a:pt x="392" y="388"/>
                  </a:lnTo>
                  <a:lnTo>
                    <a:pt x="398" y="382"/>
                  </a:lnTo>
                  <a:lnTo>
                    <a:pt x="400" y="374"/>
                  </a:lnTo>
                  <a:lnTo>
                    <a:pt x="402" y="370"/>
                  </a:lnTo>
                  <a:lnTo>
                    <a:pt x="402" y="370"/>
                  </a:lnTo>
                  <a:lnTo>
                    <a:pt x="404" y="366"/>
                  </a:lnTo>
                  <a:lnTo>
                    <a:pt x="404" y="364"/>
                  </a:lnTo>
                  <a:lnTo>
                    <a:pt x="400" y="358"/>
                  </a:lnTo>
                  <a:lnTo>
                    <a:pt x="398" y="354"/>
                  </a:lnTo>
                  <a:lnTo>
                    <a:pt x="398" y="352"/>
                  </a:lnTo>
                  <a:lnTo>
                    <a:pt x="400" y="350"/>
                  </a:lnTo>
                  <a:lnTo>
                    <a:pt x="400" y="350"/>
                  </a:lnTo>
                  <a:lnTo>
                    <a:pt x="410" y="346"/>
                  </a:lnTo>
                  <a:lnTo>
                    <a:pt x="414" y="342"/>
                  </a:lnTo>
                  <a:lnTo>
                    <a:pt x="414" y="340"/>
                  </a:lnTo>
                  <a:lnTo>
                    <a:pt x="414" y="340"/>
                  </a:lnTo>
                  <a:lnTo>
                    <a:pt x="418" y="340"/>
                  </a:lnTo>
                  <a:lnTo>
                    <a:pt x="418" y="340"/>
                  </a:lnTo>
                  <a:lnTo>
                    <a:pt x="420" y="338"/>
                  </a:lnTo>
                  <a:lnTo>
                    <a:pt x="420" y="334"/>
                  </a:lnTo>
                  <a:lnTo>
                    <a:pt x="420" y="332"/>
                  </a:lnTo>
                  <a:lnTo>
                    <a:pt x="420" y="334"/>
                  </a:lnTo>
                  <a:lnTo>
                    <a:pt x="420" y="334"/>
                  </a:lnTo>
                  <a:lnTo>
                    <a:pt x="422" y="338"/>
                  </a:lnTo>
                  <a:lnTo>
                    <a:pt x="422" y="342"/>
                  </a:lnTo>
                  <a:lnTo>
                    <a:pt x="422" y="344"/>
                  </a:lnTo>
                  <a:lnTo>
                    <a:pt x="424" y="346"/>
                  </a:lnTo>
                  <a:lnTo>
                    <a:pt x="424" y="346"/>
                  </a:lnTo>
                  <a:lnTo>
                    <a:pt x="428" y="344"/>
                  </a:lnTo>
                  <a:lnTo>
                    <a:pt x="430" y="342"/>
                  </a:lnTo>
                  <a:lnTo>
                    <a:pt x="430" y="340"/>
                  </a:lnTo>
                  <a:lnTo>
                    <a:pt x="432" y="338"/>
                  </a:lnTo>
                  <a:lnTo>
                    <a:pt x="432" y="338"/>
                  </a:lnTo>
                  <a:lnTo>
                    <a:pt x="434" y="338"/>
                  </a:lnTo>
                  <a:lnTo>
                    <a:pt x="434" y="340"/>
                  </a:lnTo>
                  <a:lnTo>
                    <a:pt x="434" y="342"/>
                  </a:lnTo>
                  <a:lnTo>
                    <a:pt x="436" y="342"/>
                  </a:lnTo>
                  <a:lnTo>
                    <a:pt x="436" y="342"/>
                  </a:lnTo>
                  <a:lnTo>
                    <a:pt x="436" y="332"/>
                  </a:lnTo>
                  <a:lnTo>
                    <a:pt x="436" y="324"/>
                  </a:lnTo>
                  <a:lnTo>
                    <a:pt x="434" y="320"/>
                  </a:lnTo>
                  <a:lnTo>
                    <a:pt x="430" y="316"/>
                  </a:lnTo>
                  <a:lnTo>
                    <a:pt x="428" y="312"/>
                  </a:lnTo>
                  <a:lnTo>
                    <a:pt x="428" y="310"/>
                  </a:lnTo>
                  <a:lnTo>
                    <a:pt x="430" y="308"/>
                  </a:lnTo>
                  <a:lnTo>
                    <a:pt x="430" y="308"/>
                  </a:lnTo>
                  <a:lnTo>
                    <a:pt x="430" y="304"/>
                  </a:lnTo>
                  <a:lnTo>
                    <a:pt x="430" y="304"/>
                  </a:lnTo>
                  <a:lnTo>
                    <a:pt x="428" y="302"/>
                  </a:lnTo>
                  <a:lnTo>
                    <a:pt x="428" y="294"/>
                  </a:lnTo>
                  <a:lnTo>
                    <a:pt x="428" y="294"/>
                  </a:lnTo>
                  <a:lnTo>
                    <a:pt x="428" y="290"/>
                  </a:lnTo>
                  <a:lnTo>
                    <a:pt x="426" y="288"/>
                  </a:lnTo>
                  <a:lnTo>
                    <a:pt x="418" y="282"/>
                  </a:lnTo>
                  <a:lnTo>
                    <a:pt x="410" y="278"/>
                  </a:lnTo>
                  <a:lnTo>
                    <a:pt x="408" y="274"/>
                  </a:lnTo>
                  <a:lnTo>
                    <a:pt x="408" y="268"/>
                  </a:lnTo>
                  <a:lnTo>
                    <a:pt x="408" y="268"/>
                  </a:lnTo>
                  <a:lnTo>
                    <a:pt x="410" y="262"/>
                  </a:lnTo>
                  <a:lnTo>
                    <a:pt x="414" y="260"/>
                  </a:lnTo>
                  <a:lnTo>
                    <a:pt x="416" y="258"/>
                  </a:lnTo>
                  <a:lnTo>
                    <a:pt x="418" y="256"/>
                  </a:lnTo>
                  <a:lnTo>
                    <a:pt x="418" y="256"/>
                  </a:lnTo>
                  <a:lnTo>
                    <a:pt x="418" y="254"/>
                  </a:lnTo>
                  <a:lnTo>
                    <a:pt x="414" y="250"/>
                  </a:lnTo>
                  <a:lnTo>
                    <a:pt x="404" y="246"/>
                  </a:lnTo>
                  <a:lnTo>
                    <a:pt x="394" y="240"/>
                  </a:lnTo>
                  <a:lnTo>
                    <a:pt x="390" y="238"/>
                  </a:lnTo>
                  <a:lnTo>
                    <a:pt x="390" y="238"/>
                  </a:lnTo>
                  <a:lnTo>
                    <a:pt x="392" y="236"/>
                  </a:lnTo>
                  <a:lnTo>
                    <a:pt x="398" y="234"/>
                  </a:lnTo>
                  <a:lnTo>
                    <a:pt x="402" y="232"/>
                  </a:lnTo>
                  <a:lnTo>
                    <a:pt x="404" y="228"/>
                  </a:lnTo>
                  <a:lnTo>
                    <a:pt x="404" y="228"/>
                  </a:lnTo>
                  <a:lnTo>
                    <a:pt x="404" y="216"/>
                  </a:lnTo>
                  <a:lnTo>
                    <a:pt x="406" y="214"/>
                  </a:lnTo>
                  <a:lnTo>
                    <a:pt x="408" y="214"/>
                  </a:lnTo>
                  <a:lnTo>
                    <a:pt x="408" y="214"/>
                  </a:lnTo>
                  <a:lnTo>
                    <a:pt x="414" y="228"/>
                  </a:lnTo>
                  <a:lnTo>
                    <a:pt x="416" y="230"/>
                  </a:lnTo>
                  <a:lnTo>
                    <a:pt x="418" y="228"/>
                  </a:lnTo>
                  <a:lnTo>
                    <a:pt x="418" y="224"/>
                  </a:lnTo>
                  <a:lnTo>
                    <a:pt x="420" y="224"/>
                  </a:lnTo>
                  <a:lnTo>
                    <a:pt x="422" y="226"/>
                  </a:lnTo>
                  <a:lnTo>
                    <a:pt x="422" y="226"/>
                  </a:lnTo>
                  <a:lnTo>
                    <a:pt x="424" y="230"/>
                  </a:lnTo>
                  <a:lnTo>
                    <a:pt x="424" y="234"/>
                  </a:lnTo>
                  <a:lnTo>
                    <a:pt x="424" y="236"/>
                  </a:lnTo>
                  <a:lnTo>
                    <a:pt x="426" y="234"/>
                  </a:lnTo>
                  <a:lnTo>
                    <a:pt x="426" y="234"/>
                  </a:lnTo>
                  <a:lnTo>
                    <a:pt x="430" y="232"/>
                  </a:lnTo>
                  <a:lnTo>
                    <a:pt x="432" y="232"/>
                  </a:lnTo>
                  <a:lnTo>
                    <a:pt x="436" y="240"/>
                  </a:lnTo>
                  <a:lnTo>
                    <a:pt x="440" y="250"/>
                  </a:lnTo>
                  <a:lnTo>
                    <a:pt x="446" y="256"/>
                  </a:lnTo>
                  <a:lnTo>
                    <a:pt x="452" y="258"/>
                  </a:lnTo>
                  <a:lnTo>
                    <a:pt x="452" y="258"/>
                  </a:lnTo>
                  <a:lnTo>
                    <a:pt x="458" y="262"/>
                  </a:lnTo>
                  <a:lnTo>
                    <a:pt x="466" y="262"/>
                  </a:lnTo>
                  <a:lnTo>
                    <a:pt x="482" y="260"/>
                  </a:lnTo>
                  <a:lnTo>
                    <a:pt x="494" y="260"/>
                  </a:lnTo>
                  <a:lnTo>
                    <a:pt x="498" y="260"/>
                  </a:lnTo>
                  <a:lnTo>
                    <a:pt x="502" y="264"/>
                  </a:lnTo>
                  <a:lnTo>
                    <a:pt x="502" y="264"/>
                  </a:lnTo>
                  <a:lnTo>
                    <a:pt x="502" y="266"/>
                  </a:lnTo>
                  <a:lnTo>
                    <a:pt x="500" y="270"/>
                  </a:lnTo>
                  <a:lnTo>
                    <a:pt x="496" y="274"/>
                  </a:lnTo>
                  <a:lnTo>
                    <a:pt x="496" y="278"/>
                  </a:lnTo>
                  <a:lnTo>
                    <a:pt x="496" y="278"/>
                  </a:lnTo>
                  <a:lnTo>
                    <a:pt x="498" y="282"/>
                  </a:lnTo>
                  <a:lnTo>
                    <a:pt x="494" y="282"/>
                  </a:lnTo>
                  <a:lnTo>
                    <a:pt x="486" y="284"/>
                  </a:lnTo>
                  <a:lnTo>
                    <a:pt x="480" y="284"/>
                  </a:lnTo>
                  <a:lnTo>
                    <a:pt x="476" y="286"/>
                  </a:lnTo>
                  <a:lnTo>
                    <a:pt x="472" y="290"/>
                  </a:lnTo>
                  <a:lnTo>
                    <a:pt x="470" y="296"/>
                  </a:lnTo>
                  <a:lnTo>
                    <a:pt x="470" y="296"/>
                  </a:lnTo>
                  <a:lnTo>
                    <a:pt x="472" y="300"/>
                  </a:lnTo>
                  <a:lnTo>
                    <a:pt x="474" y="302"/>
                  </a:lnTo>
                  <a:lnTo>
                    <a:pt x="478" y="302"/>
                  </a:lnTo>
                  <a:lnTo>
                    <a:pt x="480" y="304"/>
                  </a:lnTo>
                  <a:lnTo>
                    <a:pt x="480" y="304"/>
                  </a:lnTo>
                  <a:lnTo>
                    <a:pt x="482" y="306"/>
                  </a:lnTo>
                  <a:lnTo>
                    <a:pt x="484" y="304"/>
                  </a:lnTo>
                  <a:lnTo>
                    <a:pt x="484" y="302"/>
                  </a:lnTo>
                  <a:lnTo>
                    <a:pt x="488" y="302"/>
                  </a:lnTo>
                  <a:lnTo>
                    <a:pt x="488" y="302"/>
                  </a:lnTo>
                  <a:lnTo>
                    <a:pt x="490" y="302"/>
                  </a:lnTo>
                  <a:lnTo>
                    <a:pt x="492" y="300"/>
                  </a:lnTo>
                  <a:lnTo>
                    <a:pt x="494" y="300"/>
                  </a:lnTo>
                  <a:lnTo>
                    <a:pt x="498" y="302"/>
                  </a:lnTo>
                  <a:lnTo>
                    <a:pt x="498" y="302"/>
                  </a:lnTo>
                  <a:lnTo>
                    <a:pt x="502" y="312"/>
                  </a:lnTo>
                  <a:lnTo>
                    <a:pt x="506" y="326"/>
                  </a:lnTo>
                  <a:lnTo>
                    <a:pt x="510" y="338"/>
                  </a:lnTo>
                  <a:lnTo>
                    <a:pt x="514" y="342"/>
                  </a:lnTo>
                  <a:lnTo>
                    <a:pt x="516" y="344"/>
                  </a:lnTo>
                  <a:lnTo>
                    <a:pt x="516" y="344"/>
                  </a:lnTo>
                  <a:lnTo>
                    <a:pt x="522" y="344"/>
                  </a:lnTo>
                  <a:lnTo>
                    <a:pt x="526" y="340"/>
                  </a:lnTo>
                  <a:lnTo>
                    <a:pt x="528" y="332"/>
                  </a:lnTo>
                  <a:lnTo>
                    <a:pt x="526" y="318"/>
                  </a:lnTo>
                  <a:lnTo>
                    <a:pt x="526" y="318"/>
                  </a:lnTo>
                  <a:lnTo>
                    <a:pt x="528" y="314"/>
                  </a:lnTo>
                  <a:lnTo>
                    <a:pt x="528" y="310"/>
                  </a:lnTo>
                  <a:lnTo>
                    <a:pt x="532" y="310"/>
                  </a:lnTo>
                  <a:lnTo>
                    <a:pt x="534" y="312"/>
                  </a:lnTo>
                  <a:lnTo>
                    <a:pt x="538" y="312"/>
                  </a:lnTo>
                  <a:lnTo>
                    <a:pt x="540" y="312"/>
                  </a:lnTo>
                  <a:lnTo>
                    <a:pt x="540" y="308"/>
                  </a:lnTo>
                  <a:lnTo>
                    <a:pt x="540" y="302"/>
                  </a:lnTo>
                  <a:lnTo>
                    <a:pt x="540" y="302"/>
                  </a:lnTo>
                  <a:lnTo>
                    <a:pt x="540" y="290"/>
                  </a:lnTo>
                  <a:lnTo>
                    <a:pt x="542" y="282"/>
                  </a:lnTo>
                  <a:lnTo>
                    <a:pt x="540" y="274"/>
                  </a:lnTo>
                  <a:lnTo>
                    <a:pt x="538" y="268"/>
                  </a:lnTo>
                  <a:lnTo>
                    <a:pt x="534" y="262"/>
                  </a:lnTo>
                  <a:lnTo>
                    <a:pt x="534" y="262"/>
                  </a:lnTo>
                  <a:lnTo>
                    <a:pt x="532" y="256"/>
                  </a:lnTo>
                  <a:lnTo>
                    <a:pt x="534" y="252"/>
                  </a:lnTo>
                  <a:lnTo>
                    <a:pt x="538" y="248"/>
                  </a:lnTo>
                  <a:lnTo>
                    <a:pt x="538" y="242"/>
                  </a:lnTo>
                  <a:lnTo>
                    <a:pt x="538" y="242"/>
                  </a:lnTo>
                  <a:lnTo>
                    <a:pt x="538" y="238"/>
                  </a:lnTo>
                  <a:lnTo>
                    <a:pt x="540" y="236"/>
                  </a:lnTo>
                  <a:lnTo>
                    <a:pt x="548" y="228"/>
                  </a:lnTo>
                  <a:lnTo>
                    <a:pt x="558" y="218"/>
                  </a:lnTo>
                  <a:lnTo>
                    <a:pt x="568" y="204"/>
                  </a:lnTo>
                  <a:lnTo>
                    <a:pt x="568" y="204"/>
                  </a:lnTo>
                  <a:lnTo>
                    <a:pt x="572" y="202"/>
                  </a:lnTo>
                  <a:lnTo>
                    <a:pt x="576" y="200"/>
                  </a:lnTo>
                  <a:lnTo>
                    <a:pt x="584" y="200"/>
                  </a:lnTo>
                  <a:lnTo>
                    <a:pt x="588" y="200"/>
                  </a:lnTo>
                  <a:lnTo>
                    <a:pt x="588" y="198"/>
                  </a:lnTo>
                  <a:lnTo>
                    <a:pt x="584" y="194"/>
                  </a:lnTo>
                  <a:lnTo>
                    <a:pt x="584" y="194"/>
                  </a:lnTo>
                  <a:lnTo>
                    <a:pt x="582" y="190"/>
                  </a:lnTo>
                  <a:lnTo>
                    <a:pt x="582" y="188"/>
                  </a:lnTo>
                  <a:lnTo>
                    <a:pt x="586" y="186"/>
                  </a:lnTo>
                  <a:lnTo>
                    <a:pt x="588" y="184"/>
                  </a:lnTo>
                  <a:lnTo>
                    <a:pt x="586" y="180"/>
                  </a:lnTo>
                  <a:lnTo>
                    <a:pt x="584" y="176"/>
                  </a:lnTo>
                  <a:lnTo>
                    <a:pt x="574" y="170"/>
                  </a:lnTo>
                  <a:lnTo>
                    <a:pt x="574" y="170"/>
                  </a:lnTo>
                  <a:lnTo>
                    <a:pt x="570" y="172"/>
                  </a:lnTo>
                  <a:lnTo>
                    <a:pt x="568" y="174"/>
                  </a:lnTo>
                  <a:lnTo>
                    <a:pt x="564" y="172"/>
                  </a:lnTo>
                  <a:lnTo>
                    <a:pt x="564" y="172"/>
                  </a:lnTo>
                  <a:lnTo>
                    <a:pt x="558" y="172"/>
                  </a:lnTo>
                  <a:lnTo>
                    <a:pt x="554" y="172"/>
                  </a:lnTo>
                  <a:lnTo>
                    <a:pt x="554" y="172"/>
                  </a:lnTo>
                  <a:lnTo>
                    <a:pt x="554" y="170"/>
                  </a:lnTo>
                  <a:lnTo>
                    <a:pt x="558" y="164"/>
                  </a:lnTo>
                  <a:lnTo>
                    <a:pt x="558" y="164"/>
                  </a:lnTo>
                  <a:lnTo>
                    <a:pt x="552" y="164"/>
                  </a:lnTo>
                  <a:lnTo>
                    <a:pt x="550" y="164"/>
                  </a:lnTo>
                  <a:lnTo>
                    <a:pt x="552" y="160"/>
                  </a:lnTo>
                  <a:lnTo>
                    <a:pt x="552" y="158"/>
                  </a:lnTo>
                  <a:lnTo>
                    <a:pt x="550" y="156"/>
                  </a:lnTo>
                  <a:lnTo>
                    <a:pt x="538" y="160"/>
                  </a:lnTo>
                  <a:lnTo>
                    <a:pt x="538" y="160"/>
                  </a:lnTo>
                  <a:lnTo>
                    <a:pt x="528" y="162"/>
                  </a:lnTo>
                  <a:lnTo>
                    <a:pt x="520" y="162"/>
                  </a:lnTo>
                  <a:lnTo>
                    <a:pt x="516" y="160"/>
                  </a:lnTo>
                  <a:lnTo>
                    <a:pt x="508" y="160"/>
                  </a:lnTo>
                  <a:lnTo>
                    <a:pt x="508" y="160"/>
                  </a:lnTo>
                  <a:lnTo>
                    <a:pt x="504" y="164"/>
                  </a:lnTo>
                  <a:lnTo>
                    <a:pt x="502" y="166"/>
                  </a:lnTo>
                  <a:lnTo>
                    <a:pt x="498" y="170"/>
                  </a:lnTo>
                  <a:lnTo>
                    <a:pt x="488" y="174"/>
                  </a:lnTo>
                  <a:lnTo>
                    <a:pt x="488" y="174"/>
                  </a:lnTo>
                  <a:lnTo>
                    <a:pt x="472" y="182"/>
                  </a:lnTo>
                  <a:lnTo>
                    <a:pt x="462" y="184"/>
                  </a:lnTo>
                  <a:lnTo>
                    <a:pt x="462" y="184"/>
                  </a:lnTo>
                  <a:lnTo>
                    <a:pt x="464" y="188"/>
                  </a:lnTo>
                  <a:lnTo>
                    <a:pt x="466" y="190"/>
                  </a:lnTo>
                  <a:lnTo>
                    <a:pt x="476" y="190"/>
                  </a:lnTo>
                  <a:lnTo>
                    <a:pt x="476" y="190"/>
                  </a:lnTo>
                  <a:lnTo>
                    <a:pt x="478" y="192"/>
                  </a:lnTo>
                  <a:lnTo>
                    <a:pt x="480" y="196"/>
                  </a:lnTo>
                  <a:lnTo>
                    <a:pt x="480" y="206"/>
                  </a:lnTo>
                  <a:lnTo>
                    <a:pt x="480" y="206"/>
                  </a:lnTo>
                  <a:lnTo>
                    <a:pt x="480" y="206"/>
                  </a:lnTo>
                  <a:lnTo>
                    <a:pt x="478" y="208"/>
                  </a:lnTo>
                  <a:lnTo>
                    <a:pt x="470" y="206"/>
                  </a:lnTo>
                  <a:lnTo>
                    <a:pt x="462" y="206"/>
                  </a:lnTo>
                  <a:lnTo>
                    <a:pt x="454" y="208"/>
                  </a:lnTo>
                  <a:lnTo>
                    <a:pt x="454" y="208"/>
                  </a:lnTo>
                  <a:lnTo>
                    <a:pt x="450" y="210"/>
                  </a:lnTo>
                  <a:lnTo>
                    <a:pt x="444" y="210"/>
                  </a:lnTo>
                  <a:lnTo>
                    <a:pt x="440" y="208"/>
                  </a:lnTo>
                  <a:lnTo>
                    <a:pt x="436" y="204"/>
                  </a:lnTo>
                  <a:lnTo>
                    <a:pt x="436" y="204"/>
                  </a:lnTo>
                  <a:lnTo>
                    <a:pt x="432" y="202"/>
                  </a:lnTo>
                  <a:lnTo>
                    <a:pt x="424" y="202"/>
                  </a:lnTo>
                  <a:lnTo>
                    <a:pt x="418" y="202"/>
                  </a:lnTo>
                  <a:lnTo>
                    <a:pt x="412" y="200"/>
                  </a:lnTo>
                  <a:lnTo>
                    <a:pt x="412" y="200"/>
                  </a:lnTo>
                  <a:lnTo>
                    <a:pt x="410" y="182"/>
                  </a:lnTo>
                  <a:lnTo>
                    <a:pt x="410" y="180"/>
                  </a:lnTo>
                  <a:lnTo>
                    <a:pt x="406" y="182"/>
                  </a:lnTo>
                  <a:lnTo>
                    <a:pt x="406" y="182"/>
                  </a:lnTo>
                  <a:lnTo>
                    <a:pt x="402" y="182"/>
                  </a:lnTo>
                  <a:lnTo>
                    <a:pt x="400" y="184"/>
                  </a:lnTo>
                  <a:lnTo>
                    <a:pt x="398" y="186"/>
                  </a:lnTo>
                  <a:lnTo>
                    <a:pt x="398" y="192"/>
                  </a:lnTo>
                  <a:lnTo>
                    <a:pt x="398" y="192"/>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7" name="Indonesia"/>
            <p:cNvSpPr>
              <a:spLocks/>
            </p:cNvSpPr>
            <p:nvPr/>
          </p:nvSpPr>
          <p:spPr bwMode="auto">
            <a:xfrm>
              <a:off x="6790497" y="3425031"/>
              <a:ext cx="1285875" cy="545042"/>
            </a:xfrm>
            <a:custGeom>
              <a:avLst/>
              <a:gdLst/>
              <a:ahLst/>
              <a:cxnLst/>
              <a:rect l="l" t="t" r="r" b="b"/>
              <a:pathLst>
                <a:path w="1285875" h="545042">
                  <a:moveTo>
                    <a:pt x="767292" y="529167"/>
                  </a:moveTo>
                  <a:lnTo>
                    <a:pt x="769938" y="529167"/>
                  </a:lnTo>
                  <a:lnTo>
                    <a:pt x="769938" y="531813"/>
                  </a:lnTo>
                  <a:lnTo>
                    <a:pt x="769938" y="534459"/>
                  </a:lnTo>
                  <a:lnTo>
                    <a:pt x="769938" y="537105"/>
                  </a:lnTo>
                  <a:lnTo>
                    <a:pt x="767292" y="537105"/>
                  </a:lnTo>
                  <a:lnTo>
                    <a:pt x="764646" y="539750"/>
                  </a:lnTo>
                  <a:lnTo>
                    <a:pt x="762000" y="542396"/>
                  </a:lnTo>
                  <a:lnTo>
                    <a:pt x="759354" y="542396"/>
                  </a:lnTo>
                  <a:lnTo>
                    <a:pt x="756708" y="542396"/>
                  </a:lnTo>
                  <a:lnTo>
                    <a:pt x="754063" y="545042"/>
                  </a:lnTo>
                  <a:lnTo>
                    <a:pt x="751417" y="542396"/>
                  </a:lnTo>
                  <a:lnTo>
                    <a:pt x="751417" y="539750"/>
                  </a:lnTo>
                  <a:lnTo>
                    <a:pt x="756708" y="537105"/>
                  </a:lnTo>
                  <a:lnTo>
                    <a:pt x="759354" y="534459"/>
                  </a:lnTo>
                  <a:lnTo>
                    <a:pt x="762000" y="534459"/>
                  </a:lnTo>
                  <a:lnTo>
                    <a:pt x="759354" y="531813"/>
                  </a:lnTo>
                  <a:lnTo>
                    <a:pt x="762000" y="531813"/>
                  </a:lnTo>
                  <a:close/>
                  <a:moveTo>
                    <a:pt x="669396" y="497417"/>
                  </a:moveTo>
                  <a:lnTo>
                    <a:pt x="677333" y="497417"/>
                  </a:lnTo>
                  <a:lnTo>
                    <a:pt x="685271" y="500063"/>
                  </a:lnTo>
                  <a:lnTo>
                    <a:pt x="687917" y="502709"/>
                  </a:lnTo>
                  <a:lnTo>
                    <a:pt x="690563" y="502709"/>
                  </a:lnTo>
                  <a:lnTo>
                    <a:pt x="695854" y="500063"/>
                  </a:lnTo>
                  <a:lnTo>
                    <a:pt x="695854" y="502709"/>
                  </a:lnTo>
                  <a:lnTo>
                    <a:pt x="698500" y="508000"/>
                  </a:lnTo>
                  <a:lnTo>
                    <a:pt x="701146" y="510646"/>
                  </a:lnTo>
                  <a:lnTo>
                    <a:pt x="701146" y="513292"/>
                  </a:lnTo>
                  <a:lnTo>
                    <a:pt x="703792" y="513292"/>
                  </a:lnTo>
                  <a:lnTo>
                    <a:pt x="706438" y="515938"/>
                  </a:lnTo>
                  <a:lnTo>
                    <a:pt x="706438" y="518584"/>
                  </a:lnTo>
                  <a:lnTo>
                    <a:pt x="706438" y="523875"/>
                  </a:lnTo>
                  <a:lnTo>
                    <a:pt x="701146" y="526521"/>
                  </a:lnTo>
                  <a:lnTo>
                    <a:pt x="698500" y="526521"/>
                  </a:lnTo>
                  <a:lnTo>
                    <a:pt x="693208" y="529167"/>
                  </a:lnTo>
                  <a:lnTo>
                    <a:pt x="687917" y="526521"/>
                  </a:lnTo>
                  <a:lnTo>
                    <a:pt x="685271" y="523875"/>
                  </a:lnTo>
                  <a:lnTo>
                    <a:pt x="685271" y="521230"/>
                  </a:lnTo>
                  <a:lnTo>
                    <a:pt x="679979" y="518584"/>
                  </a:lnTo>
                  <a:lnTo>
                    <a:pt x="672042" y="515938"/>
                  </a:lnTo>
                  <a:lnTo>
                    <a:pt x="666750" y="513292"/>
                  </a:lnTo>
                  <a:lnTo>
                    <a:pt x="661458" y="513292"/>
                  </a:lnTo>
                  <a:lnTo>
                    <a:pt x="653521" y="508000"/>
                  </a:lnTo>
                  <a:lnTo>
                    <a:pt x="650875" y="505355"/>
                  </a:lnTo>
                  <a:lnTo>
                    <a:pt x="653521" y="502709"/>
                  </a:lnTo>
                  <a:lnTo>
                    <a:pt x="658812" y="500063"/>
                  </a:lnTo>
                  <a:lnTo>
                    <a:pt x="664104" y="500063"/>
                  </a:lnTo>
                  <a:close/>
                  <a:moveTo>
                    <a:pt x="881063" y="463021"/>
                  </a:moveTo>
                  <a:lnTo>
                    <a:pt x="883709" y="465667"/>
                  </a:lnTo>
                  <a:lnTo>
                    <a:pt x="886354" y="465667"/>
                  </a:lnTo>
                  <a:lnTo>
                    <a:pt x="889000" y="465667"/>
                  </a:lnTo>
                  <a:lnTo>
                    <a:pt x="886354" y="468313"/>
                  </a:lnTo>
                  <a:lnTo>
                    <a:pt x="881063" y="473604"/>
                  </a:lnTo>
                  <a:lnTo>
                    <a:pt x="875771" y="478896"/>
                  </a:lnTo>
                  <a:lnTo>
                    <a:pt x="865188" y="478896"/>
                  </a:lnTo>
                  <a:lnTo>
                    <a:pt x="859896" y="481542"/>
                  </a:lnTo>
                  <a:lnTo>
                    <a:pt x="857250" y="484188"/>
                  </a:lnTo>
                  <a:lnTo>
                    <a:pt x="854604" y="484188"/>
                  </a:lnTo>
                  <a:lnTo>
                    <a:pt x="851959" y="484188"/>
                  </a:lnTo>
                  <a:lnTo>
                    <a:pt x="849313" y="484188"/>
                  </a:lnTo>
                  <a:lnTo>
                    <a:pt x="846667" y="486834"/>
                  </a:lnTo>
                  <a:lnTo>
                    <a:pt x="844021" y="489479"/>
                  </a:lnTo>
                  <a:lnTo>
                    <a:pt x="838729" y="492125"/>
                  </a:lnTo>
                  <a:lnTo>
                    <a:pt x="836084" y="494771"/>
                  </a:lnTo>
                  <a:lnTo>
                    <a:pt x="833438" y="494771"/>
                  </a:lnTo>
                  <a:lnTo>
                    <a:pt x="833438" y="497417"/>
                  </a:lnTo>
                  <a:lnTo>
                    <a:pt x="830792" y="502709"/>
                  </a:lnTo>
                  <a:lnTo>
                    <a:pt x="828146" y="505354"/>
                  </a:lnTo>
                  <a:lnTo>
                    <a:pt x="825500" y="508000"/>
                  </a:lnTo>
                  <a:lnTo>
                    <a:pt x="822854" y="508000"/>
                  </a:lnTo>
                  <a:lnTo>
                    <a:pt x="820209" y="510646"/>
                  </a:lnTo>
                  <a:lnTo>
                    <a:pt x="817563" y="513292"/>
                  </a:lnTo>
                  <a:lnTo>
                    <a:pt x="814917" y="515938"/>
                  </a:lnTo>
                  <a:lnTo>
                    <a:pt x="812271" y="518584"/>
                  </a:lnTo>
                  <a:lnTo>
                    <a:pt x="806979" y="518584"/>
                  </a:lnTo>
                  <a:lnTo>
                    <a:pt x="804334" y="518584"/>
                  </a:lnTo>
                  <a:lnTo>
                    <a:pt x="804334" y="521229"/>
                  </a:lnTo>
                  <a:lnTo>
                    <a:pt x="801688" y="521229"/>
                  </a:lnTo>
                  <a:lnTo>
                    <a:pt x="796396" y="523875"/>
                  </a:lnTo>
                  <a:lnTo>
                    <a:pt x="780521" y="526521"/>
                  </a:lnTo>
                  <a:lnTo>
                    <a:pt x="777875" y="526521"/>
                  </a:lnTo>
                  <a:lnTo>
                    <a:pt x="777875" y="523875"/>
                  </a:lnTo>
                  <a:lnTo>
                    <a:pt x="783167" y="518584"/>
                  </a:lnTo>
                  <a:lnTo>
                    <a:pt x="785813" y="518584"/>
                  </a:lnTo>
                  <a:lnTo>
                    <a:pt x="783167" y="515938"/>
                  </a:lnTo>
                  <a:lnTo>
                    <a:pt x="780521" y="513292"/>
                  </a:lnTo>
                  <a:lnTo>
                    <a:pt x="783167" y="505354"/>
                  </a:lnTo>
                  <a:lnTo>
                    <a:pt x="785813" y="502709"/>
                  </a:lnTo>
                  <a:lnTo>
                    <a:pt x="788459" y="500063"/>
                  </a:lnTo>
                  <a:lnTo>
                    <a:pt x="793750" y="497417"/>
                  </a:lnTo>
                  <a:lnTo>
                    <a:pt x="799042" y="497417"/>
                  </a:lnTo>
                  <a:lnTo>
                    <a:pt x="804334" y="494771"/>
                  </a:lnTo>
                  <a:lnTo>
                    <a:pt x="806979" y="492125"/>
                  </a:lnTo>
                  <a:lnTo>
                    <a:pt x="809625" y="489479"/>
                  </a:lnTo>
                  <a:lnTo>
                    <a:pt x="817563" y="486834"/>
                  </a:lnTo>
                  <a:lnTo>
                    <a:pt x="820209" y="484188"/>
                  </a:lnTo>
                  <a:lnTo>
                    <a:pt x="825500" y="478896"/>
                  </a:lnTo>
                  <a:lnTo>
                    <a:pt x="833438" y="476250"/>
                  </a:lnTo>
                  <a:lnTo>
                    <a:pt x="838729" y="470959"/>
                  </a:lnTo>
                  <a:lnTo>
                    <a:pt x="844021" y="468313"/>
                  </a:lnTo>
                  <a:lnTo>
                    <a:pt x="854604" y="468313"/>
                  </a:lnTo>
                  <a:lnTo>
                    <a:pt x="859896" y="468313"/>
                  </a:lnTo>
                  <a:lnTo>
                    <a:pt x="865188" y="465667"/>
                  </a:lnTo>
                  <a:lnTo>
                    <a:pt x="870479" y="465667"/>
                  </a:lnTo>
                  <a:close/>
                  <a:moveTo>
                    <a:pt x="584729" y="460375"/>
                  </a:moveTo>
                  <a:lnTo>
                    <a:pt x="590020" y="460375"/>
                  </a:lnTo>
                  <a:lnTo>
                    <a:pt x="592666" y="463021"/>
                  </a:lnTo>
                  <a:lnTo>
                    <a:pt x="597958" y="465667"/>
                  </a:lnTo>
                  <a:lnTo>
                    <a:pt x="595312" y="468313"/>
                  </a:lnTo>
                  <a:lnTo>
                    <a:pt x="592666" y="470959"/>
                  </a:lnTo>
                  <a:lnTo>
                    <a:pt x="592666" y="476250"/>
                  </a:lnTo>
                  <a:lnTo>
                    <a:pt x="592666" y="478896"/>
                  </a:lnTo>
                  <a:lnTo>
                    <a:pt x="590020" y="481542"/>
                  </a:lnTo>
                  <a:lnTo>
                    <a:pt x="587375" y="481542"/>
                  </a:lnTo>
                  <a:lnTo>
                    <a:pt x="582083" y="481542"/>
                  </a:lnTo>
                  <a:lnTo>
                    <a:pt x="576791" y="478896"/>
                  </a:lnTo>
                  <a:lnTo>
                    <a:pt x="571500" y="478896"/>
                  </a:lnTo>
                  <a:lnTo>
                    <a:pt x="571500" y="476250"/>
                  </a:lnTo>
                  <a:lnTo>
                    <a:pt x="574146" y="476250"/>
                  </a:lnTo>
                  <a:lnTo>
                    <a:pt x="576791" y="476250"/>
                  </a:lnTo>
                  <a:lnTo>
                    <a:pt x="579437" y="473605"/>
                  </a:lnTo>
                  <a:lnTo>
                    <a:pt x="579437" y="470959"/>
                  </a:lnTo>
                  <a:lnTo>
                    <a:pt x="579437" y="465667"/>
                  </a:lnTo>
                  <a:lnTo>
                    <a:pt x="579437" y="463021"/>
                  </a:lnTo>
                  <a:close/>
                  <a:moveTo>
                    <a:pt x="785813" y="457730"/>
                  </a:moveTo>
                  <a:lnTo>
                    <a:pt x="788459" y="457730"/>
                  </a:lnTo>
                  <a:lnTo>
                    <a:pt x="791104" y="457730"/>
                  </a:lnTo>
                  <a:lnTo>
                    <a:pt x="793750" y="457730"/>
                  </a:lnTo>
                  <a:lnTo>
                    <a:pt x="791104" y="460376"/>
                  </a:lnTo>
                  <a:lnTo>
                    <a:pt x="788459" y="463022"/>
                  </a:lnTo>
                  <a:lnTo>
                    <a:pt x="783167" y="463022"/>
                  </a:lnTo>
                  <a:lnTo>
                    <a:pt x="783167" y="460376"/>
                  </a:lnTo>
                  <a:close/>
                  <a:moveTo>
                    <a:pt x="822854" y="455084"/>
                  </a:moveTo>
                  <a:lnTo>
                    <a:pt x="825500" y="455084"/>
                  </a:lnTo>
                  <a:lnTo>
                    <a:pt x="825500" y="457730"/>
                  </a:lnTo>
                  <a:lnTo>
                    <a:pt x="828146" y="457730"/>
                  </a:lnTo>
                  <a:lnTo>
                    <a:pt x="833437" y="455084"/>
                  </a:lnTo>
                  <a:lnTo>
                    <a:pt x="836083" y="455084"/>
                  </a:lnTo>
                  <a:lnTo>
                    <a:pt x="836083" y="460375"/>
                  </a:lnTo>
                  <a:lnTo>
                    <a:pt x="836083" y="463021"/>
                  </a:lnTo>
                  <a:lnTo>
                    <a:pt x="828146" y="465667"/>
                  </a:lnTo>
                  <a:lnTo>
                    <a:pt x="820208" y="465667"/>
                  </a:lnTo>
                  <a:lnTo>
                    <a:pt x="817562" y="465667"/>
                  </a:lnTo>
                  <a:lnTo>
                    <a:pt x="820208" y="463021"/>
                  </a:lnTo>
                  <a:lnTo>
                    <a:pt x="822854" y="460375"/>
                  </a:lnTo>
                  <a:lnTo>
                    <a:pt x="820208" y="457730"/>
                  </a:lnTo>
                  <a:close/>
                  <a:moveTo>
                    <a:pt x="814916" y="455084"/>
                  </a:moveTo>
                  <a:lnTo>
                    <a:pt x="817562" y="457730"/>
                  </a:lnTo>
                  <a:lnTo>
                    <a:pt x="817562" y="460375"/>
                  </a:lnTo>
                  <a:lnTo>
                    <a:pt x="814916" y="465667"/>
                  </a:lnTo>
                  <a:lnTo>
                    <a:pt x="812271" y="468313"/>
                  </a:lnTo>
                  <a:lnTo>
                    <a:pt x="809625" y="468313"/>
                  </a:lnTo>
                  <a:lnTo>
                    <a:pt x="806979" y="468313"/>
                  </a:lnTo>
                  <a:lnTo>
                    <a:pt x="806979" y="463022"/>
                  </a:lnTo>
                  <a:lnTo>
                    <a:pt x="809625" y="460375"/>
                  </a:lnTo>
                  <a:lnTo>
                    <a:pt x="812271" y="460375"/>
                  </a:lnTo>
                  <a:lnTo>
                    <a:pt x="812271" y="457730"/>
                  </a:lnTo>
                  <a:close/>
                  <a:moveTo>
                    <a:pt x="801688" y="455084"/>
                  </a:moveTo>
                  <a:lnTo>
                    <a:pt x="804333" y="455084"/>
                  </a:lnTo>
                  <a:lnTo>
                    <a:pt x="806979" y="457730"/>
                  </a:lnTo>
                  <a:lnTo>
                    <a:pt x="806979" y="460376"/>
                  </a:lnTo>
                  <a:lnTo>
                    <a:pt x="804333" y="463022"/>
                  </a:lnTo>
                  <a:lnTo>
                    <a:pt x="801688" y="465667"/>
                  </a:lnTo>
                  <a:lnTo>
                    <a:pt x="801688" y="468313"/>
                  </a:lnTo>
                  <a:lnTo>
                    <a:pt x="801688" y="470959"/>
                  </a:lnTo>
                  <a:lnTo>
                    <a:pt x="799042" y="470959"/>
                  </a:lnTo>
                  <a:lnTo>
                    <a:pt x="796396" y="470959"/>
                  </a:lnTo>
                  <a:lnTo>
                    <a:pt x="791104" y="470959"/>
                  </a:lnTo>
                  <a:lnTo>
                    <a:pt x="788458" y="470959"/>
                  </a:lnTo>
                  <a:lnTo>
                    <a:pt x="791104" y="468313"/>
                  </a:lnTo>
                  <a:lnTo>
                    <a:pt x="793750" y="463022"/>
                  </a:lnTo>
                  <a:lnTo>
                    <a:pt x="796396" y="460376"/>
                  </a:lnTo>
                  <a:lnTo>
                    <a:pt x="796396" y="457730"/>
                  </a:lnTo>
                  <a:close/>
                  <a:moveTo>
                    <a:pt x="642937" y="455084"/>
                  </a:moveTo>
                  <a:lnTo>
                    <a:pt x="645583" y="457730"/>
                  </a:lnTo>
                  <a:lnTo>
                    <a:pt x="648229" y="457730"/>
                  </a:lnTo>
                  <a:lnTo>
                    <a:pt x="645583" y="463022"/>
                  </a:lnTo>
                  <a:lnTo>
                    <a:pt x="648229" y="463022"/>
                  </a:lnTo>
                  <a:lnTo>
                    <a:pt x="650875" y="463022"/>
                  </a:lnTo>
                  <a:lnTo>
                    <a:pt x="653520" y="463022"/>
                  </a:lnTo>
                  <a:lnTo>
                    <a:pt x="656166" y="463022"/>
                  </a:lnTo>
                  <a:lnTo>
                    <a:pt x="658812" y="463022"/>
                  </a:lnTo>
                  <a:lnTo>
                    <a:pt x="661458" y="463022"/>
                  </a:lnTo>
                  <a:lnTo>
                    <a:pt x="664104" y="465667"/>
                  </a:lnTo>
                  <a:lnTo>
                    <a:pt x="661458" y="468313"/>
                  </a:lnTo>
                  <a:lnTo>
                    <a:pt x="661458" y="470959"/>
                  </a:lnTo>
                  <a:lnTo>
                    <a:pt x="664104" y="470959"/>
                  </a:lnTo>
                  <a:lnTo>
                    <a:pt x="664104" y="473605"/>
                  </a:lnTo>
                  <a:lnTo>
                    <a:pt x="661458" y="473605"/>
                  </a:lnTo>
                  <a:lnTo>
                    <a:pt x="658812" y="473605"/>
                  </a:lnTo>
                  <a:lnTo>
                    <a:pt x="653520" y="473605"/>
                  </a:lnTo>
                  <a:lnTo>
                    <a:pt x="648229" y="476251"/>
                  </a:lnTo>
                  <a:lnTo>
                    <a:pt x="653520" y="476251"/>
                  </a:lnTo>
                  <a:lnTo>
                    <a:pt x="656166" y="476251"/>
                  </a:lnTo>
                  <a:lnTo>
                    <a:pt x="653520" y="478897"/>
                  </a:lnTo>
                  <a:lnTo>
                    <a:pt x="648229" y="481542"/>
                  </a:lnTo>
                  <a:lnTo>
                    <a:pt x="645583" y="481542"/>
                  </a:lnTo>
                  <a:lnTo>
                    <a:pt x="642937" y="478897"/>
                  </a:lnTo>
                  <a:lnTo>
                    <a:pt x="642937" y="476251"/>
                  </a:lnTo>
                  <a:lnTo>
                    <a:pt x="640291" y="478897"/>
                  </a:lnTo>
                  <a:lnTo>
                    <a:pt x="637645" y="481542"/>
                  </a:lnTo>
                  <a:lnTo>
                    <a:pt x="635000" y="481542"/>
                  </a:lnTo>
                  <a:lnTo>
                    <a:pt x="632354" y="481542"/>
                  </a:lnTo>
                  <a:lnTo>
                    <a:pt x="629708" y="481542"/>
                  </a:lnTo>
                  <a:lnTo>
                    <a:pt x="627062" y="484188"/>
                  </a:lnTo>
                  <a:lnTo>
                    <a:pt x="621770" y="486834"/>
                  </a:lnTo>
                  <a:lnTo>
                    <a:pt x="616479" y="486834"/>
                  </a:lnTo>
                  <a:lnTo>
                    <a:pt x="613833" y="486834"/>
                  </a:lnTo>
                  <a:lnTo>
                    <a:pt x="611187" y="486834"/>
                  </a:lnTo>
                  <a:lnTo>
                    <a:pt x="608541" y="486834"/>
                  </a:lnTo>
                  <a:lnTo>
                    <a:pt x="603250" y="484188"/>
                  </a:lnTo>
                  <a:lnTo>
                    <a:pt x="600604" y="481542"/>
                  </a:lnTo>
                  <a:lnTo>
                    <a:pt x="600604" y="478897"/>
                  </a:lnTo>
                  <a:lnTo>
                    <a:pt x="603250" y="476251"/>
                  </a:lnTo>
                  <a:lnTo>
                    <a:pt x="603250" y="473605"/>
                  </a:lnTo>
                  <a:lnTo>
                    <a:pt x="600604" y="470959"/>
                  </a:lnTo>
                  <a:lnTo>
                    <a:pt x="603250" y="468313"/>
                  </a:lnTo>
                  <a:lnTo>
                    <a:pt x="608541" y="465667"/>
                  </a:lnTo>
                  <a:lnTo>
                    <a:pt x="608541" y="463022"/>
                  </a:lnTo>
                  <a:lnTo>
                    <a:pt x="611187" y="463022"/>
                  </a:lnTo>
                  <a:lnTo>
                    <a:pt x="619125" y="463022"/>
                  </a:lnTo>
                  <a:lnTo>
                    <a:pt x="621770" y="463022"/>
                  </a:lnTo>
                  <a:lnTo>
                    <a:pt x="624416" y="465667"/>
                  </a:lnTo>
                  <a:lnTo>
                    <a:pt x="627062" y="470959"/>
                  </a:lnTo>
                  <a:lnTo>
                    <a:pt x="629708" y="473605"/>
                  </a:lnTo>
                  <a:lnTo>
                    <a:pt x="637645" y="470959"/>
                  </a:lnTo>
                  <a:lnTo>
                    <a:pt x="640291" y="470959"/>
                  </a:lnTo>
                  <a:lnTo>
                    <a:pt x="640291" y="468313"/>
                  </a:lnTo>
                  <a:lnTo>
                    <a:pt x="635000" y="465667"/>
                  </a:lnTo>
                  <a:lnTo>
                    <a:pt x="632354" y="465667"/>
                  </a:lnTo>
                  <a:lnTo>
                    <a:pt x="627062" y="463022"/>
                  </a:lnTo>
                  <a:lnTo>
                    <a:pt x="627062" y="460376"/>
                  </a:lnTo>
                  <a:lnTo>
                    <a:pt x="629708" y="457730"/>
                  </a:lnTo>
                  <a:lnTo>
                    <a:pt x="632354" y="457730"/>
                  </a:lnTo>
                  <a:lnTo>
                    <a:pt x="637645" y="457730"/>
                  </a:lnTo>
                  <a:close/>
                  <a:moveTo>
                    <a:pt x="767292" y="452438"/>
                  </a:moveTo>
                  <a:lnTo>
                    <a:pt x="772583" y="452438"/>
                  </a:lnTo>
                  <a:lnTo>
                    <a:pt x="777875" y="452438"/>
                  </a:lnTo>
                  <a:lnTo>
                    <a:pt x="777875" y="455084"/>
                  </a:lnTo>
                  <a:lnTo>
                    <a:pt x="780521" y="460375"/>
                  </a:lnTo>
                  <a:lnTo>
                    <a:pt x="777875" y="463021"/>
                  </a:lnTo>
                  <a:lnTo>
                    <a:pt x="775229" y="463021"/>
                  </a:lnTo>
                  <a:lnTo>
                    <a:pt x="775229" y="465667"/>
                  </a:lnTo>
                  <a:lnTo>
                    <a:pt x="772583" y="465667"/>
                  </a:lnTo>
                  <a:lnTo>
                    <a:pt x="769937" y="468313"/>
                  </a:lnTo>
                  <a:lnTo>
                    <a:pt x="769937" y="470959"/>
                  </a:lnTo>
                  <a:lnTo>
                    <a:pt x="767292" y="470959"/>
                  </a:lnTo>
                  <a:lnTo>
                    <a:pt x="764646" y="470959"/>
                  </a:lnTo>
                  <a:lnTo>
                    <a:pt x="764646" y="473605"/>
                  </a:lnTo>
                  <a:lnTo>
                    <a:pt x="762000" y="473605"/>
                  </a:lnTo>
                  <a:lnTo>
                    <a:pt x="759354" y="473605"/>
                  </a:lnTo>
                  <a:lnTo>
                    <a:pt x="759354" y="476250"/>
                  </a:lnTo>
                  <a:lnTo>
                    <a:pt x="756708" y="476250"/>
                  </a:lnTo>
                  <a:lnTo>
                    <a:pt x="754062" y="476250"/>
                  </a:lnTo>
                  <a:lnTo>
                    <a:pt x="751417" y="476250"/>
                  </a:lnTo>
                  <a:lnTo>
                    <a:pt x="748771" y="478896"/>
                  </a:lnTo>
                  <a:lnTo>
                    <a:pt x="743479" y="476250"/>
                  </a:lnTo>
                  <a:lnTo>
                    <a:pt x="738187" y="473605"/>
                  </a:lnTo>
                  <a:lnTo>
                    <a:pt x="732896" y="476250"/>
                  </a:lnTo>
                  <a:lnTo>
                    <a:pt x="727604" y="481542"/>
                  </a:lnTo>
                  <a:lnTo>
                    <a:pt x="724958" y="481542"/>
                  </a:lnTo>
                  <a:lnTo>
                    <a:pt x="719667" y="481542"/>
                  </a:lnTo>
                  <a:lnTo>
                    <a:pt x="717021" y="481542"/>
                  </a:lnTo>
                  <a:lnTo>
                    <a:pt x="711729" y="481542"/>
                  </a:lnTo>
                  <a:lnTo>
                    <a:pt x="706438" y="481542"/>
                  </a:lnTo>
                  <a:lnTo>
                    <a:pt x="703792" y="481542"/>
                  </a:lnTo>
                  <a:lnTo>
                    <a:pt x="693208" y="476250"/>
                  </a:lnTo>
                  <a:lnTo>
                    <a:pt x="687917" y="476250"/>
                  </a:lnTo>
                  <a:lnTo>
                    <a:pt x="682625" y="476250"/>
                  </a:lnTo>
                  <a:lnTo>
                    <a:pt x="679979" y="476250"/>
                  </a:lnTo>
                  <a:lnTo>
                    <a:pt x="677333" y="476250"/>
                  </a:lnTo>
                  <a:lnTo>
                    <a:pt x="672042" y="476250"/>
                  </a:lnTo>
                  <a:lnTo>
                    <a:pt x="674688" y="473605"/>
                  </a:lnTo>
                  <a:lnTo>
                    <a:pt x="672042" y="468313"/>
                  </a:lnTo>
                  <a:lnTo>
                    <a:pt x="672042" y="465667"/>
                  </a:lnTo>
                  <a:lnTo>
                    <a:pt x="674688" y="465667"/>
                  </a:lnTo>
                  <a:lnTo>
                    <a:pt x="674688" y="463021"/>
                  </a:lnTo>
                  <a:lnTo>
                    <a:pt x="677333" y="463021"/>
                  </a:lnTo>
                  <a:lnTo>
                    <a:pt x="679979" y="463021"/>
                  </a:lnTo>
                  <a:lnTo>
                    <a:pt x="679979" y="460375"/>
                  </a:lnTo>
                  <a:lnTo>
                    <a:pt x="682625" y="460375"/>
                  </a:lnTo>
                  <a:lnTo>
                    <a:pt x="685271" y="457730"/>
                  </a:lnTo>
                  <a:lnTo>
                    <a:pt x="687917" y="460375"/>
                  </a:lnTo>
                  <a:lnTo>
                    <a:pt x="690563" y="460375"/>
                  </a:lnTo>
                  <a:lnTo>
                    <a:pt x="693208" y="463021"/>
                  </a:lnTo>
                  <a:lnTo>
                    <a:pt x="695854" y="463021"/>
                  </a:lnTo>
                  <a:lnTo>
                    <a:pt x="698500" y="463021"/>
                  </a:lnTo>
                  <a:lnTo>
                    <a:pt x="701146" y="463021"/>
                  </a:lnTo>
                  <a:lnTo>
                    <a:pt x="703792" y="463021"/>
                  </a:lnTo>
                  <a:lnTo>
                    <a:pt x="709083" y="463021"/>
                  </a:lnTo>
                  <a:lnTo>
                    <a:pt x="711729" y="463021"/>
                  </a:lnTo>
                  <a:lnTo>
                    <a:pt x="714375" y="463021"/>
                  </a:lnTo>
                  <a:lnTo>
                    <a:pt x="719667" y="460375"/>
                  </a:lnTo>
                  <a:lnTo>
                    <a:pt x="722313" y="463021"/>
                  </a:lnTo>
                  <a:lnTo>
                    <a:pt x="727604" y="463021"/>
                  </a:lnTo>
                  <a:lnTo>
                    <a:pt x="730250" y="465667"/>
                  </a:lnTo>
                  <a:lnTo>
                    <a:pt x="732896" y="465667"/>
                  </a:lnTo>
                  <a:lnTo>
                    <a:pt x="738187" y="465667"/>
                  </a:lnTo>
                  <a:lnTo>
                    <a:pt x="740833" y="468313"/>
                  </a:lnTo>
                  <a:lnTo>
                    <a:pt x="740833" y="465667"/>
                  </a:lnTo>
                  <a:lnTo>
                    <a:pt x="743479" y="465667"/>
                  </a:lnTo>
                  <a:lnTo>
                    <a:pt x="743479" y="463021"/>
                  </a:lnTo>
                  <a:lnTo>
                    <a:pt x="748771" y="463021"/>
                  </a:lnTo>
                  <a:lnTo>
                    <a:pt x="754062" y="460375"/>
                  </a:lnTo>
                  <a:lnTo>
                    <a:pt x="762000" y="460375"/>
                  </a:lnTo>
                  <a:lnTo>
                    <a:pt x="769937" y="457730"/>
                  </a:lnTo>
                  <a:lnTo>
                    <a:pt x="772583" y="457730"/>
                  </a:lnTo>
                  <a:lnTo>
                    <a:pt x="769937" y="455084"/>
                  </a:lnTo>
                  <a:lnTo>
                    <a:pt x="767292" y="455084"/>
                  </a:lnTo>
                  <a:close/>
                  <a:moveTo>
                    <a:pt x="560917" y="452438"/>
                  </a:moveTo>
                  <a:lnTo>
                    <a:pt x="568854" y="455084"/>
                  </a:lnTo>
                  <a:lnTo>
                    <a:pt x="571500" y="460375"/>
                  </a:lnTo>
                  <a:lnTo>
                    <a:pt x="576792" y="463021"/>
                  </a:lnTo>
                  <a:lnTo>
                    <a:pt x="574146" y="465667"/>
                  </a:lnTo>
                  <a:lnTo>
                    <a:pt x="571500" y="465667"/>
                  </a:lnTo>
                  <a:lnTo>
                    <a:pt x="571500" y="468313"/>
                  </a:lnTo>
                  <a:lnTo>
                    <a:pt x="568854" y="470959"/>
                  </a:lnTo>
                  <a:lnTo>
                    <a:pt x="566208" y="468313"/>
                  </a:lnTo>
                  <a:lnTo>
                    <a:pt x="566208" y="470959"/>
                  </a:lnTo>
                  <a:lnTo>
                    <a:pt x="563562" y="473605"/>
                  </a:lnTo>
                  <a:lnTo>
                    <a:pt x="560917" y="476250"/>
                  </a:lnTo>
                  <a:lnTo>
                    <a:pt x="560917" y="478896"/>
                  </a:lnTo>
                  <a:lnTo>
                    <a:pt x="558271" y="478896"/>
                  </a:lnTo>
                  <a:lnTo>
                    <a:pt x="555625" y="478896"/>
                  </a:lnTo>
                  <a:lnTo>
                    <a:pt x="555625" y="476250"/>
                  </a:lnTo>
                  <a:lnTo>
                    <a:pt x="555625" y="473605"/>
                  </a:lnTo>
                  <a:lnTo>
                    <a:pt x="555625" y="470959"/>
                  </a:lnTo>
                  <a:lnTo>
                    <a:pt x="552979" y="468313"/>
                  </a:lnTo>
                  <a:lnTo>
                    <a:pt x="545041" y="465667"/>
                  </a:lnTo>
                  <a:lnTo>
                    <a:pt x="542396" y="463021"/>
                  </a:lnTo>
                  <a:lnTo>
                    <a:pt x="539750" y="460375"/>
                  </a:lnTo>
                  <a:lnTo>
                    <a:pt x="542396" y="457729"/>
                  </a:lnTo>
                  <a:lnTo>
                    <a:pt x="547687" y="457729"/>
                  </a:lnTo>
                  <a:lnTo>
                    <a:pt x="552979" y="455084"/>
                  </a:lnTo>
                  <a:lnTo>
                    <a:pt x="558271" y="455084"/>
                  </a:lnTo>
                  <a:close/>
                  <a:moveTo>
                    <a:pt x="867834" y="439209"/>
                  </a:moveTo>
                  <a:lnTo>
                    <a:pt x="873126" y="439209"/>
                  </a:lnTo>
                  <a:lnTo>
                    <a:pt x="878417" y="444500"/>
                  </a:lnTo>
                  <a:lnTo>
                    <a:pt x="881063" y="444500"/>
                  </a:lnTo>
                  <a:lnTo>
                    <a:pt x="881063" y="447146"/>
                  </a:lnTo>
                  <a:lnTo>
                    <a:pt x="878417" y="449792"/>
                  </a:lnTo>
                  <a:lnTo>
                    <a:pt x="870480" y="449792"/>
                  </a:lnTo>
                  <a:lnTo>
                    <a:pt x="865188" y="452438"/>
                  </a:lnTo>
                  <a:lnTo>
                    <a:pt x="862542" y="452438"/>
                  </a:lnTo>
                  <a:lnTo>
                    <a:pt x="854605" y="452438"/>
                  </a:lnTo>
                  <a:lnTo>
                    <a:pt x="846667" y="452438"/>
                  </a:lnTo>
                  <a:lnTo>
                    <a:pt x="851959" y="444500"/>
                  </a:lnTo>
                  <a:lnTo>
                    <a:pt x="854605" y="441855"/>
                  </a:lnTo>
                  <a:lnTo>
                    <a:pt x="857251" y="441855"/>
                  </a:lnTo>
                  <a:lnTo>
                    <a:pt x="862542" y="441855"/>
                  </a:lnTo>
                  <a:lnTo>
                    <a:pt x="865188" y="441855"/>
                  </a:lnTo>
                  <a:close/>
                  <a:moveTo>
                    <a:pt x="1185333" y="436563"/>
                  </a:moveTo>
                  <a:lnTo>
                    <a:pt x="1190625" y="436563"/>
                  </a:lnTo>
                  <a:lnTo>
                    <a:pt x="1195916" y="436563"/>
                  </a:lnTo>
                  <a:lnTo>
                    <a:pt x="1198562" y="439209"/>
                  </a:lnTo>
                  <a:lnTo>
                    <a:pt x="1195916" y="444501"/>
                  </a:lnTo>
                  <a:lnTo>
                    <a:pt x="1193271" y="447147"/>
                  </a:lnTo>
                  <a:lnTo>
                    <a:pt x="1195916" y="449792"/>
                  </a:lnTo>
                  <a:lnTo>
                    <a:pt x="1195916" y="463022"/>
                  </a:lnTo>
                  <a:lnTo>
                    <a:pt x="1193271" y="468313"/>
                  </a:lnTo>
                  <a:lnTo>
                    <a:pt x="1190625" y="470959"/>
                  </a:lnTo>
                  <a:lnTo>
                    <a:pt x="1187979" y="470959"/>
                  </a:lnTo>
                  <a:lnTo>
                    <a:pt x="1182687" y="470959"/>
                  </a:lnTo>
                  <a:lnTo>
                    <a:pt x="1174750" y="473605"/>
                  </a:lnTo>
                  <a:lnTo>
                    <a:pt x="1172104" y="470959"/>
                  </a:lnTo>
                  <a:lnTo>
                    <a:pt x="1172104" y="468313"/>
                  </a:lnTo>
                  <a:lnTo>
                    <a:pt x="1180042" y="444501"/>
                  </a:lnTo>
                  <a:close/>
                  <a:moveTo>
                    <a:pt x="529166" y="412750"/>
                  </a:moveTo>
                  <a:lnTo>
                    <a:pt x="534458" y="415396"/>
                  </a:lnTo>
                  <a:lnTo>
                    <a:pt x="531812" y="418042"/>
                  </a:lnTo>
                  <a:lnTo>
                    <a:pt x="529166" y="418042"/>
                  </a:lnTo>
                  <a:lnTo>
                    <a:pt x="526520" y="420687"/>
                  </a:lnTo>
                  <a:lnTo>
                    <a:pt x="526520" y="423333"/>
                  </a:lnTo>
                  <a:lnTo>
                    <a:pt x="523875" y="423333"/>
                  </a:lnTo>
                  <a:lnTo>
                    <a:pt x="518583" y="423333"/>
                  </a:lnTo>
                  <a:lnTo>
                    <a:pt x="510645" y="423333"/>
                  </a:lnTo>
                  <a:lnTo>
                    <a:pt x="508000" y="425979"/>
                  </a:lnTo>
                  <a:lnTo>
                    <a:pt x="505354" y="428625"/>
                  </a:lnTo>
                  <a:lnTo>
                    <a:pt x="500062" y="425979"/>
                  </a:lnTo>
                  <a:lnTo>
                    <a:pt x="494771" y="428625"/>
                  </a:lnTo>
                  <a:lnTo>
                    <a:pt x="492125" y="428625"/>
                  </a:lnTo>
                  <a:lnTo>
                    <a:pt x="492125" y="425979"/>
                  </a:lnTo>
                  <a:lnTo>
                    <a:pt x="494771" y="423333"/>
                  </a:lnTo>
                  <a:lnTo>
                    <a:pt x="492125" y="420687"/>
                  </a:lnTo>
                  <a:lnTo>
                    <a:pt x="494771" y="418042"/>
                  </a:lnTo>
                  <a:lnTo>
                    <a:pt x="502708" y="415396"/>
                  </a:lnTo>
                  <a:lnTo>
                    <a:pt x="513291" y="415396"/>
                  </a:lnTo>
                  <a:lnTo>
                    <a:pt x="521229" y="415396"/>
                  </a:lnTo>
                  <a:close/>
                  <a:moveTo>
                    <a:pt x="312208" y="383646"/>
                  </a:moveTo>
                  <a:lnTo>
                    <a:pt x="314854" y="386292"/>
                  </a:lnTo>
                  <a:lnTo>
                    <a:pt x="317500" y="386292"/>
                  </a:lnTo>
                  <a:lnTo>
                    <a:pt x="325438" y="383646"/>
                  </a:lnTo>
                  <a:lnTo>
                    <a:pt x="328083" y="386292"/>
                  </a:lnTo>
                  <a:lnTo>
                    <a:pt x="333375" y="388938"/>
                  </a:lnTo>
                  <a:lnTo>
                    <a:pt x="336021" y="388938"/>
                  </a:lnTo>
                  <a:lnTo>
                    <a:pt x="338667" y="386292"/>
                  </a:lnTo>
                  <a:lnTo>
                    <a:pt x="341313" y="386292"/>
                  </a:lnTo>
                  <a:lnTo>
                    <a:pt x="346604" y="386292"/>
                  </a:lnTo>
                  <a:lnTo>
                    <a:pt x="351896" y="388938"/>
                  </a:lnTo>
                  <a:lnTo>
                    <a:pt x="354542" y="388938"/>
                  </a:lnTo>
                  <a:lnTo>
                    <a:pt x="357188" y="391583"/>
                  </a:lnTo>
                  <a:lnTo>
                    <a:pt x="359833" y="391583"/>
                  </a:lnTo>
                  <a:lnTo>
                    <a:pt x="362479" y="391583"/>
                  </a:lnTo>
                  <a:lnTo>
                    <a:pt x="362479" y="394229"/>
                  </a:lnTo>
                  <a:lnTo>
                    <a:pt x="365125" y="394229"/>
                  </a:lnTo>
                  <a:lnTo>
                    <a:pt x="367771" y="394229"/>
                  </a:lnTo>
                  <a:lnTo>
                    <a:pt x="373063" y="391583"/>
                  </a:lnTo>
                  <a:lnTo>
                    <a:pt x="378354" y="394229"/>
                  </a:lnTo>
                  <a:lnTo>
                    <a:pt x="381000" y="399521"/>
                  </a:lnTo>
                  <a:lnTo>
                    <a:pt x="378354" y="402167"/>
                  </a:lnTo>
                  <a:lnTo>
                    <a:pt x="375708" y="404813"/>
                  </a:lnTo>
                  <a:lnTo>
                    <a:pt x="378354" y="404813"/>
                  </a:lnTo>
                  <a:lnTo>
                    <a:pt x="381000" y="407458"/>
                  </a:lnTo>
                  <a:lnTo>
                    <a:pt x="388938" y="407458"/>
                  </a:lnTo>
                  <a:lnTo>
                    <a:pt x="407458" y="407458"/>
                  </a:lnTo>
                  <a:lnTo>
                    <a:pt x="412750" y="410104"/>
                  </a:lnTo>
                  <a:lnTo>
                    <a:pt x="418042" y="407458"/>
                  </a:lnTo>
                  <a:lnTo>
                    <a:pt x="420688" y="407458"/>
                  </a:lnTo>
                  <a:lnTo>
                    <a:pt x="425979" y="410104"/>
                  </a:lnTo>
                  <a:lnTo>
                    <a:pt x="428625" y="407458"/>
                  </a:lnTo>
                  <a:lnTo>
                    <a:pt x="428625" y="404813"/>
                  </a:lnTo>
                  <a:lnTo>
                    <a:pt x="431271" y="396875"/>
                  </a:lnTo>
                  <a:lnTo>
                    <a:pt x="436563" y="394229"/>
                  </a:lnTo>
                  <a:lnTo>
                    <a:pt x="441854" y="394229"/>
                  </a:lnTo>
                  <a:lnTo>
                    <a:pt x="444500" y="399521"/>
                  </a:lnTo>
                  <a:lnTo>
                    <a:pt x="447146" y="404813"/>
                  </a:lnTo>
                  <a:lnTo>
                    <a:pt x="449792" y="407458"/>
                  </a:lnTo>
                  <a:lnTo>
                    <a:pt x="455083" y="407458"/>
                  </a:lnTo>
                  <a:lnTo>
                    <a:pt x="457729" y="404813"/>
                  </a:lnTo>
                  <a:lnTo>
                    <a:pt x="463021" y="407458"/>
                  </a:lnTo>
                  <a:lnTo>
                    <a:pt x="468313" y="410104"/>
                  </a:lnTo>
                  <a:lnTo>
                    <a:pt x="473604" y="415396"/>
                  </a:lnTo>
                  <a:lnTo>
                    <a:pt x="478896" y="418042"/>
                  </a:lnTo>
                  <a:lnTo>
                    <a:pt x="489479" y="420688"/>
                  </a:lnTo>
                  <a:lnTo>
                    <a:pt x="489479" y="423333"/>
                  </a:lnTo>
                  <a:lnTo>
                    <a:pt x="489479" y="428625"/>
                  </a:lnTo>
                  <a:lnTo>
                    <a:pt x="489479" y="431271"/>
                  </a:lnTo>
                  <a:lnTo>
                    <a:pt x="492125" y="431271"/>
                  </a:lnTo>
                  <a:lnTo>
                    <a:pt x="492125" y="436563"/>
                  </a:lnTo>
                  <a:lnTo>
                    <a:pt x="494771" y="439208"/>
                  </a:lnTo>
                  <a:lnTo>
                    <a:pt x="500063" y="441854"/>
                  </a:lnTo>
                  <a:lnTo>
                    <a:pt x="510646" y="444500"/>
                  </a:lnTo>
                  <a:lnTo>
                    <a:pt x="515938" y="441854"/>
                  </a:lnTo>
                  <a:lnTo>
                    <a:pt x="523875" y="441854"/>
                  </a:lnTo>
                  <a:lnTo>
                    <a:pt x="526521" y="441854"/>
                  </a:lnTo>
                  <a:lnTo>
                    <a:pt x="539750" y="447146"/>
                  </a:lnTo>
                  <a:lnTo>
                    <a:pt x="542396" y="449792"/>
                  </a:lnTo>
                  <a:lnTo>
                    <a:pt x="537104" y="457729"/>
                  </a:lnTo>
                  <a:lnTo>
                    <a:pt x="534458" y="463021"/>
                  </a:lnTo>
                  <a:lnTo>
                    <a:pt x="534458" y="465667"/>
                  </a:lnTo>
                  <a:lnTo>
                    <a:pt x="539750" y="470959"/>
                  </a:lnTo>
                  <a:lnTo>
                    <a:pt x="542396" y="476250"/>
                  </a:lnTo>
                  <a:lnTo>
                    <a:pt x="545042" y="478896"/>
                  </a:lnTo>
                  <a:lnTo>
                    <a:pt x="539750" y="478896"/>
                  </a:lnTo>
                  <a:lnTo>
                    <a:pt x="537104" y="478896"/>
                  </a:lnTo>
                  <a:lnTo>
                    <a:pt x="529167" y="476250"/>
                  </a:lnTo>
                  <a:lnTo>
                    <a:pt x="521229" y="470959"/>
                  </a:lnTo>
                  <a:lnTo>
                    <a:pt x="515938" y="470959"/>
                  </a:lnTo>
                  <a:lnTo>
                    <a:pt x="510646" y="470959"/>
                  </a:lnTo>
                  <a:lnTo>
                    <a:pt x="489479" y="470959"/>
                  </a:lnTo>
                  <a:lnTo>
                    <a:pt x="478896" y="470959"/>
                  </a:lnTo>
                  <a:lnTo>
                    <a:pt x="473604" y="468313"/>
                  </a:lnTo>
                  <a:lnTo>
                    <a:pt x="463021" y="468313"/>
                  </a:lnTo>
                  <a:lnTo>
                    <a:pt x="452438" y="465667"/>
                  </a:lnTo>
                  <a:lnTo>
                    <a:pt x="444500" y="463021"/>
                  </a:lnTo>
                  <a:lnTo>
                    <a:pt x="439208" y="457729"/>
                  </a:lnTo>
                  <a:lnTo>
                    <a:pt x="428625" y="455083"/>
                  </a:lnTo>
                  <a:lnTo>
                    <a:pt x="410104" y="455083"/>
                  </a:lnTo>
                  <a:lnTo>
                    <a:pt x="399521" y="449792"/>
                  </a:lnTo>
                  <a:lnTo>
                    <a:pt x="388938" y="447146"/>
                  </a:lnTo>
                  <a:lnTo>
                    <a:pt x="381000" y="444500"/>
                  </a:lnTo>
                  <a:lnTo>
                    <a:pt x="375708" y="447146"/>
                  </a:lnTo>
                  <a:lnTo>
                    <a:pt x="370417" y="447146"/>
                  </a:lnTo>
                  <a:lnTo>
                    <a:pt x="365125" y="444500"/>
                  </a:lnTo>
                  <a:lnTo>
                    <a:pt x="359833" y="441854"/>
                  </a:lnTo>
                  <a:lnTo>
                    <a:pt x="354542" y="441854"/>
                  </a:lnTo>
                  <a:lnTo>
                    <a:pt x="351896" y="441854"/>
                  </a:lnTo>
                  <a:lnTo>
                    <a:pt x="346604" y="439208"/>
                  </a:lnTo>
                  <a:lnTo>
                    <a:pt x="328083" y="433917"/>
                  </a:lnTo>
                  <a:lnTo>
                    <a:pt x="317500" y="433917"/>
                  </a:lnTo>
                  <a:lnTo>
                    <a:pt x="314854" y="431271"/>
                  </a:lnTo>
                  <a:lnTo>
                    <a:pt x="314854" y="428625"/>
                  </a:lnTo>
                  <a:lnTo>
                    <a:pt x="320146" y="425979"/>
                  </a:lnTo>
                  <a:lnTo>
                    <a:pt x="328083" y="420688"/>
                  </a:lnTo>
                  <a:lnTo>
                    <a:pt x="330729" y="420688"/>
                  </a:lnTo>
                  <a:lnTo>
                    <a:pt x="330729" y="418042"/>
                  </a:lnTo>
                  <a:lnTo>
                    <a:pt x="325438" y="418042"/>
                  </a:lnTo>
                  <a:lnTo>
                    <a:pt x="322792" y="418042"/>
                  </a:lnTo>
                  <a:lnTo>
                    <a:pt x="320146" y="418042"/>
                  </a:lnTo>
                  <a:lnTo>
                    <a:pt x="317500" y="418042"/>
                  </a:lnTo>
                  <a:lnTo>
                    <a:pt x="312208" y="415396"/>
                  </a:lnTo>
                  <a:lnTo>
                    <a:pt x="306917" y="415396"/>
                  </a:lnTo>
                  <a:lnTo>
                    <a:pt x="296333" y="412750"/>
                  </a:lnTo>
                  <a:lnTo>
                    <a:pt x="291042" y="412750"/>
                  </a:lnTo>
                  <a:lnTo>
                    <a:pt x="293688" y="407458"/>
                  </a:lnTo>
                  <a:lnTo>
                    <a:pt x="296333" y="407458"/>
                  </a:lnTo>
                  <a:lnTo>
                    <a:pt x="301625" y="410104"/>
                  </a:lnTo>
                  <a:lnTo>
                    <a:pt x="304271" y="407458"/>
                  </a:lnTo>
                  <a:lnTo>
                    <a:pt x="304271" y="402167"/>
                  </a:lnTo>
                  <a:lnTo>
                    <a:pt x="306917" y="402167"/>
                  </a:lnTo>
                  <a:lnTo>
                    <a:pt x="306917" y="396875"/>
                  </a:lnTo>
                  <a:lnTo>
                    <a:pt x="304271" y="391583"/>
                  </a:lnTo>
                  <a:lnTo>
                    <a:pt x="306917" y="386292"/>
                  </a:lnTo>
                  <a:close/>
                  <a:moveTo>
                    <a:pt x="756708" y="362480"/>
                  </a:moveTo>
                  <a:lnTo>
                    <a:pt x="759353" y="362480"/>
                  </a:lnTo>
                  <a:lnTo>
                    <a:pt x="764645" y="365126"/>
                  </a:lnTo>
                  <a:lnTo>
                    <a:pt x="767291" y="367772"/>
                  </a:lnTo>
                  <a:lnTo>
                    <a:pt x="767291" y="373063"/>
                  </a:lnTo>
                  <a:lnTo>
                    <a:pt x="767291" y="375709"/>
                  </a:lnTo>
                  <a:lnTo>
                    <a:pt x="764645" y="378355"/>
                  </a:lnTo>
                  <a:lnTo>
                    <a:pt x="759353" y="375709"/>
                  </a:lnTo>
                  <a:lnTo>
                    <a:pt x="756708" y="370417"/>
                  </a:lnTo>
                  <a:lnTo>
                    <a:pt x="754062" y="365126"/>
                  </a:lnTo>
                  <a:close/>
                  <a:moveTo>
                    <a:pt x="777875" y="341313"/>
                  </a:moveTo>
                  <a:lnTo>
                    <a:pt x="777875" y="346605"/>
                  </a:lnTo>
                  <a:lnTo>
                    <a:pt x="777875" y="349250"/>
                  </a:lnTo>
                  <a:lnTo>
                    <a:pt x="777875" y="351896"/>
                  </a:lnTo>
                  <a:lnTo>
                    <a:pt x="780521" y="354542"/>
                  </a:lnTo>
                  <a:lnTo>
                    <a:pt x="780521" y="357188"/>
                  </a:lnTo>
                  <a:lnTo>
                    <a:pt x="780521" y="359834"/>
                  </a:lnTo>
                  <a:lnTo>
                    <a:pt x="775229" y="362480"/>
                  </a:lnTo>
                  <a:lnTo>
                    <a:pt x="769938" y="362480"/>
                  </a:lnTo>
                  <a:lnTo>
                    <a:pt x="767292" y="359834"/>
                  </a:lnTo>
                  <a:lnTo>
                    <a:pt x="767292" y="357188"/>
                  </a:lnTo>
                  <a:lnTo>
                    <a:pt x="767292" y="354542"/>
                  </a:lnTo>
                  <a:lnTo>
                    <a:pt x="769938" y="351896"/>
                  </a:lnTo>
                  <a:lnTo>
                    <a:pt x="767292" y="349250"/>
                  </a:lnTo>
                  <a:lnTo>
                    <a:pt x="767292" y="346605"/>
                  </a:lnTo>
                  <a:lnTo>
                    <a:pt x="769938" y="343959"/>
                  </a:lnTo>
                  <a:close/>
                  <a:moveTo>
                    <a:pt x="785813" y="330730"/>
                  </a:moveTo>
                  <a:lnTo>
                    <a:pt x="791105" y="336022"/>
                  </a:lnTo>
                  <a:lnTo>
                    <a:pt x="793751" y="336022"/>
                  </a:lnTo>
                  <a:lnTo>
                    <a:pt x="796397" y="338667"/>
                  </a:lnTo>
                  <a:lnTo>
                    <a:pt x="793751" y="338667"/>
                  </a:lnTo>
                  <a:lnTo>
                    <a:pt x="791105" y="341313"/>
                  </a:lnTo>
                  <a:lnTo>
                    <a:pt x="793751" y="346605"/>
                  </a:lnTo>
                  <a:lnTo>
                    <a:pt x="796397" y="351897"/>
                  </a:lnTo>
                  <a:lnTo>
                    <a:pt x="799042" y="349251"/>
                  </a:lnTo>
                  <a:lnTo>
                    <a:pt x="801688" y="349251"/>
                  </a:lnTo>
                  <a:lnTo>
                    <a:pt x="804334" y="351897"/>
                  </a:lnTo>
                  <a:lnTo>
                    <a:pt x="801688" y="354542"/>
                  </a:lnTo>
                  <a:lnTo>
                    <a:pt x="799042" y="354542"/>
                  </a:lnTo>
                  <a:lnTo>
                    <a:pt x="796397" y="357188"/>
                  </a:lnTo>
                  <a:lnTo>
                    <a:pt x="793751" y="359834"/>
                  </a:lnTo>
                  <a:lnTo>
                    <a:pt x="793751" y="365126"/>
                  </a:lnTo>
                  <a:lnTo>
                    <a:pt x="791105" y="365126"/>
                  </a:lnTo>
                  <a:lnTo>
                    <a:pt x="785813" y="365126"/>
                  </a:lnTo>
                  <a:lnTo>
                    <a:pt x="783167" y="362480"/>
                  </a:lnTo>
                  <a:lnTo>
                    <a:pt x="783167" y="354542"/>
                  </a:lnTo>
                  <a:lnTo>
                    <a:pt x="783167" y="343959"/>
                  </a:lnTo>
                  <a:lnTo>
                    <a:pt x="780521" y="336022"/>
                  </a:lnTo>
                  <a:lnTo>
                    <a:pt x="783167" y="333376"/>
                  </a:lnTo>
                  <a:close/>
                  <a:moveTo>
                    <a:pt x="865188" y="296334"/>
                  </a:moveTo>
                  <a:lnTo>
                    <a:pt x="870480" y="296334"/>
                  </a:lnTo>
                  <a:lnTo>
                    <a:pt x="878417" y="296334"/>
                  </a:lnTo>
                  <a:lnTo>
                    <a:pt x="889001" y="298980"/>
                  </a:lnTo>
                  <a:lnTo>
                    <a:pt x="894292" y="304271"/>
                  </a:lnTo>
                  <a:lnTo>
                    <a:pt x="894292" y="306917"/>
                  </a:lnTo>
                  <a:lnTo>
                    <a:pt x="894292" y="309563"/>
                  </a:lnTo>
                  <a:lnTo>
                    <a:pt x="891647" y="314854"/>
                  </a:lnTo>
                  <a:lnTo>
                    <a:pt x="894292" y="314854"/>
                  </a:lnTo>
                  <a:lnTo>
                    <a:pt x="896938" y="317500"/>
                  </a:lnTo>
                  <a:lnTo>
                    <a:pt x="896938" y="320146"/>
                  </a:lnTo>
                  <a:lnTo>
                    <a:pt x="883709" y="322792"/>
                  </a:lnTo>
                  <a:lnTo>
                    <a:pt x="873126" y="320146"/>
                  </a:lnTo>
                  <a:lnTo>
                    <a:pt x="867834" y="317500"/>
                  </a:lnTo>
                  <a:lnTo>
                    <a:pt x="859896" y="306917"/>
                  </a:lnTo>
                  <a:lnTo>
                    <a:pt x="859896" y="304271"/>
                  </a:lnTo>
                  <a:lnTo>
                    <a:pt x="859896" y="298980"/>
                  </a:lnTo>
                  <a:lnTo>
                    <a:pt x="862542" y="298980"/>
                  </a:lnTo>
                  <a:close/>
                  <a:moveTo>
                    <a:pt x="933979" y="285750"/>
                  </a:moveTo>
                  <a:lnTo>
                    <a:pt x="941917" y="285750"/>
                  </a:lnTo>
                  <a:lnTo>
                    <a:pt x="949854" y="285750"/>
                  </a:lnTo>
                  <a:lnTo>
                    <a:pt x="955146" y="288396"/>
                  </a:lnTo>
                  <a:lnTo>
                    <a:pt x="957792" y="285750"/>
                  </a:lnTo>
                  <a:lnTo>
                    <a:pt x="960438" y="285750"/>
                  </a:lnTo>
                  <a:lnTo>
                    <a:pt x="960438" y="288396"/>
                  </a:lnTo>
                  <a:lnTo>
                    <a:pt x="963084" y="291042"/>
                  </a:lnTo>
                  <a:lnTo>
                    <a:pt x="968375" y="288396"/>
                  </a:lnTo>
                  <a:lnTo>
                    <a:pt x="973667" y="288396"/>
                  </a:lnTo>
                  <a:lnTo>
                    <a:pt x="984250" y="288396"/>
                  </a:lnTo>
                  <a:lnTo>
                    <a:pt x="989542" y="288396"/>
                  </a:lnTo>
                  <a:lnTo>
                    <a:pt x="992188" y="288396"/>
                  </a:lnTo>
                  <a:lnTo>
                    <a:pt x="994834" y="288396"/>
                  </a:lnTo>
                  <a:lnTo>
                    <a:pt x="994834" y="291042"/>
                  </a:lnTo>
                  <a:lnTo>
                    <a:pt x="997480" y="296333"/>
                  </a:lnTo>
                  <a:lnTo>
                    <a:pt x="1000125" y="296333"/>
                  </a:lnTo>
                  <a:lnTo>
                    <a:pt x="1000125" y="298979"/>
                  </a:lnTo>
                  <a:lnTo>
                    <a:pt x="1000125" y="304271"/>
                  </a:lnTo>
                  <a:lnTo>
                    <a:pt x="1000125" y="306917"/>
                  </a:lnTo>
                  <a:lnTo>
                    <a:pt x="1002771" y="309563"/>
                  </a:lnTo>
                  <a:lnTo>
                    <a:pt x="1002771" y="317500"/>
                  </a:lnTo>
                  <a:lnTo>
                    <a:pt x="1000125" y="320146"/>
                  </a:lnTo>
                  <a:lnTo>
                    <a:pt x="997480" y="322792"/>
                  </a:lnTo>
                  <a:lnTo>
                    <a:pt x="989542" y="317500"/>
                  </a:lnTo>
                  <a:lnTo>
                    <a:pt x="984250" y="314854"/>
                  </a:lnTo>
                  <a:lnTo>
                    <a:pt x="978959" y="312208"/>
                  </a:lnTo>
                  <a:lnTo>
                    <a:pt x="976313" y="304271"/>
                  </a:lnTo>
                  <a:lnTo>
                    <a:pt x="968375" y="304271"/>
                  </a:lnTo>
                  <a:lnTo>
                    <a:pt x="965729" y="304271"/>
                  </a:lnTo>
                  <a:lnTo>
                    <a:pt x="965729" y="306917"/>
                  </a:lnTo>
                  <a:lnTo>
                    <a:pt x="960438" y="306917"/>
                  </a:lnTo>
                  <a:lnTo>
                    <a:pt x="952500" y="306917"/>
                  </a:lnTo>
                  <a:lnTo>
                    <a:pt x="949854" y="309563"/>
                  </a:lnTo>
                  <a:lnTo>
                    <a:pt x="944563" y="309563"/>
                  </a:lnTo>
                  <a:lnTo>
                    <a:pt x="941917" y="306917"/>
                  </a:lnTo>
                  <a:lnTo>
                    <a:pt x="939271" y="304271"/>
                  </a:lnTo>
                  <a:lnTo>
                    <a:pt x="936625" y="306917"/>
                  </a:lnTo>
                  <a:lnTo>
                    <a:pt x="933979" y="309563"/>
                  </a:lnTo>
                  <a:lnTo>
                    <a:pt x="931333" y="312208"/>
                  </a:lnTo>
                  <a:lnTo>
                    <a:pt x="926042" y="309563"/>
                  </a:lnTo>
                  <a:lnTo>
                    <a:pt x="926042" y="306917"/>
                  </a:lnTo>
                  <a:lnTo>
                    <a:pt x="923396" y="306917"/>
                  </a:lnTo>
                  <a:lnTo>
                    <a:pt x="918104" y="309563"/>
                  </a:lnTo>
                  <a:lnTo>
                    <a:pt x="915458" y="314854"/>
                  </a:lnTo>
                  <a:lnTo>
                    <a:pt x="915458" y="306917"/>
                  </a:lnTo>
                  <a:lnTo>
                    <a:pt x="918104" y="304271"/>
                  </a:lnTo>
                  <a:lnTo>
                    <a:pt x="923396" y="301625"/>
                  </a:lnTo>
                  <a:lnTo>
                    <a:pt x="923396" y="293687"/>
                  </a:lnTo>
                  <a:lnTo>
                    <a:pt x="923396" y="291042"/>
                  </a:lnTo>
                  <a:lnTo>
                    <a:pt x="926042" y="288396"/>
                  </a:lnTo>
                  <a:close/>
                  <a:moveTo>
                    <a:pt x="973667" y="251355"/>
                  </a:moveTo>
                  <a:lnTo>
                    <a:pt x="981604" y="251355"/>
                  </a:lnTo>
                  <a:lnTo>
                    <a:pt x="981604" y="254001"/>
                  </a:lnTo>
                  <a:lnTo>
                    <a:pt x="981604" y="259292"/>
                  </a:lnTo>
                  <a:lnTo>
                    <a:pt x="976313" y="261938"/>
                  </a:lnTo>
                  <a:lnTo>
                    <a:pt x="968375" y="261938"/>
                  </a:lnTo>
                  <a:lnTo>
                    <a:pt x="963083" y="256646"/>
                  </a:lnTo>
                  <a:lnTo>
                    <a:pt x="963083" y="254001"/>
                  </a:lnTo>
                  <a:lnTo>
                    <a:pt x="965729" y="254001"/>
                  </a:lnTo>
                  <a:close/>
                  <a:moveTo>
                    <a:pt x="1037167" y="198438"/>
                  </a:moveTo>
                  <a:lnTo>
                    <a:pt x="1047751" y="201084"/>
                  </a:lnTo>
                  <a:lnTo>
                    <a:pt x="1058334" y="206375"/>
                  </a:lnTo>
                  <a:lnTo>
                    <a:pt x="1060980" y="209021"/>
                  </a:lnTo>
                  <a:lnTo>
                    <a:pt x="1063625" y="211667"/>
                  </a:lnTo>
                  <a:lnTo>
                    <a:pt x="1066271" y="214313"/>
                  </a:lnTo>
                  <a:lnTo>
                    <a:pt x="1074209" y="214313"/>
                  </a:lnTo>
                  <a:lnTo>
                    <a:pt x="1076855" y="214313"/>
                  </a:lnTo>
                  <a:lnTo>
                    <a:pt x="1079500" y="211667"/>
                  </a:lnTo>
                  <a:lnTo>
                    <a:pt x="1087438" y="216959"/>
                  </a:lnTo>
                  <a:lnTo>
                    <a:pt x="1084792" y="216959"/>
                  </a:lnTo>
                  <a:lnTo>
                    <a:pt x="1084792" y="219605"/>
                  </a:lnTo>
                  <a:lnTo>
                    <a:pt x="1087438" y="224896"/>
                  </a:lnTo>
                  <a:lnTo>
                    <a:pt x="1090084" y="230188"/>
                  </a:lnTo>
                  <a:lnTo>
                    <a:pt x="1090084" y="232834"/>
                  </a:lnTo>
                  <a:lnTo>
                    <a:pt x="1087438" y="238125"/>
                  </a:lnTo>
                  <a:lnTo>
                    <a:pt x="1084792" y="246063"/>
                  </a:lnTo>
                  <a:lnTo>
                    <a:pt x="1084792" y="254000"/>
                  </a:lnTo>
                  <a:lnTo>
                    <a:pt x="1090084" y="275167"/>
                  </a:lnTo>
                  <a:lnTo>
                    <a:pt x="1095375" y="272521"/>
                  </a:lnTo>
                  <a:lnTo>
                    <a:pt x="1095375" y="277813"/>
                  </a:lnTo>
                  <a:lnTo>
                    <a:pt x="1095375" y="283105"/>
                  </a:lnTo>
                  <a:lnTo>
                    <a:pt x="1098021" y="283105"/>
                  </a:lnTo>
                  <a:lnTo>
                    <a:pt x="1098021" y="280459"/>
                  </a:lnTo>
                  <a:lnTo>
                    <a:pt x="1100667" y="283105"/>
                  </a:lnTo>
                  <a:lnTo>
                    <a:pt x="1100667" y="285751"/>
                  </a:lnTo>
                  <a:lnTo>
                    <a:pt x="1103313" y="293688"/>
                  </a:lnTo>
                  <a:lnTo>
                    <a:pt x="1108605" y="293688"/>
                  </a:lnTo>
                  <a:lnTo>
                    <a:pt x="1113896" y="296334"/>
                  </a:lnTo>
                  <a:lnTo>
                    <a:pt x="1121834" y="293688"/>
                  </a:lnTo>
                  <a:lnTo>
                    <a:pt x="1121834" y="291042"/>
                  </a:lnTo>
                  <a:lnTo>
                    <a:pt x="1121834" y="288396"/>
                  </a:lnTo>
                  <a:lnTo>
                    <a:pt x="1124480" y="283105"/>
                  </a:lnTo>
                  <a:lnTo>
                    <a:pt x="1129771" y="280459"/>
                  </a:lnTo>
                  <a:lnTo>
                    <a:pt x="1129771" y="277813"/>
                  </a:lnTo>
                  <a:lnTo>
                    <a:pt x="1132417" y="272521"/>
                  </a:lnTo>
                  <a:lnTo>
                    <a:pt x="1135063" y="269875"/>
                  </a:lnTo>
                  <a:lnTo>
                    <a:pt x="1137709" y="267230"/>
                  </a:lnTo>
                  <a:lnTo>
                    <a:pt x="1137709" y="264584"/>
                  </a:lnTo>
                  <a:lnTo>
                    <a:pt x="1137709" y="261938"/>
                  </a:lnTo>
                  <a:lnTo>
                    <a:pt x="1140355" y="256646"/>
                  </a:lnTo>
                  <a:lnTo>
                    <a:pt x="1145646" y="254000"/>
                  </a:lnTo>
                  <a:lnTo>
                    <a:pt x="1148292" y="254000"/>
                  </a:lnTo>
                  <a:lnTo>
                    <a:pt x="1150938" y="254000"/>
                  </a:lnTo>
                  <a:lnTo>
                    <a:pt x="1150938" y="256646"/>
                  </a:lnTo>
                  <a:lnTo>
                    <a:pt x="1153584" y="254000"/>
                  </a:lnTo>
                  <a:lnTo>
                    <a:pt x="1156230" y="251355"/>
                  </a:lnTo>
                  <a:lnTo>
                    <a:pt x="1156230" y="246063"/>
                  </a:lnTo>
                  <a:lnTo>
                    <a:pt x="1158875" y="243417"/>
                  </a:lnTo>
                  <a:lnTo>
                    <a:pt x="1172105" y="232834"/>
                  </a:lnTo>
                  <a:lnTo>
                    <a:pt x="1182688" y="230188"/>
                  </a:lnTo>
                  <a:lnTo>
                    <a:pt x="1190625" y="232834"/>
                  </a:lnTo>
                  <a:lnTo>
                    <a:pt x="1219729" y="248709"/>
                  </a:lnTo>
                  <a:lnTo>
                    <a:pt x="1235604" y="254000"/>
                  </a:lnTo>
                  <a:lnTo>
                    <a:pt x="1251479" y="261938"/>
                  </a:lnTo>
                  <a:lnTo>
                    <a:pt x="1259417" y="264584"/>
                  </a:lnTo>
                  <a:lnTo>
                    <a:pt x="1262063" y="264584"/>
                  </a:lnTo>
                  <a:lnTo>
                    <a:pt x="1264709" y="264584"/>
                  </a:lnTo>
                  <a:lnTo>
                    <a:pt x="1272646" y="267230"/>
                  </a:lnTo>
                  <a:lnTo>
                    <a:pt x="1277938" y="269875"/>
                  </a:lnTo>
                  <a:lnTo>
                    <a:pt x="1280584" y="272521"/>
                  </a:lnTo>
                  <a:lnTo>
                    <a:pt x="1285875" y="275167"/>
                  </a:lnTo>
                  <a:lnTo>
                    <a:pt x="1280584" y="343959"/>
                  </a:lnTo>
                  <a:lnTo>
                    <a:pt x="1275292" y="404813"/>
                  </a:lnTo>
                  <a:lnTo>
                    <a:pt x="1264709" y="492126"/>
                  </a:lnTo>
                  <a:lnTo>
                    <a:pt x="1262063" y="492126"/>
                  </a:lnTo>
                  <a:lnTo>
                    <a:pt x="1259417" y="489480"/>
                  </a:lnTo>
                  <a:lnTo>
                    <a:pt x="1254125" y="481543"/>
                  </a:lnTo>
                  <a:lnTo>
                    <a:pt x="1248834" y="473605"/>
                  </a:lnTo>
                  <a:lnTo>
                    <a:pt x="1246188" y="470959"/>
                  </a:lnTo>
                  <a:lnTo>
                    <a:pt x="1243542" y="468314"/>
                  </a:lnTo>
                  <a:lnTo>
                    <a:pt x="1238250" y="465668"/>
                  </a:lnTo>
                  <a:lnTo>
                    <a:pt x="1238250" y="463022"/>
                  </a:lnTo>
                  <a:lnTo>
                    <a:pt x="1240896" y="460376"/>
                  </a:lnTo>
                  <a:lnTo>
                    <a:pt x="1240896" y="455084"/>
                  </a:lnTo>
                  <a:lnTo>
                    <a:pt x="1235604" y="460376"/>
                  </a:lnTo>
                  <a:lnTo>
                    <a:pt x="1232959" y="463022"/>
                  </a:lnTo>
                  <a:lnTo>
                    <a:pt x="1227667" y="463022"/>
                  </a:lnTo>
                  <a:lnTo>
                    <a:pt x="1219729" y="463022"/>
                  </a:lnTo>
                  <a:lnTo>
                    <a:pt x="1217084" y="463022"/>
                  </a:lnTo>
                  <a:lnTo>
                    <a:pt x="1214438" y="460376"/>
                  </a:lnTo>
                  <a:lnTo>
                    <a:pt x="1209146" y="463022"/>
                  </a:lnTo>
                  <a:lnTo>
                    <a:pt x="1203854" y="463022"/>
                  </a:lnTo>
                  <a:lnTo>
                    <a:pt x="1201209" y="460376"/>
                  </a:lnTo>
                  <a:lnTo>
                    <a:pt x="1201209" y="455084"/>
                  </a:lnTo>
                  <a:lnTo>
                    <a:pt x="1198563" y="449792"/>
                  </a:lnTo>
                  <a:lnTo>
                    <a:pt x="1195917" y="447147"/>
                  </a:lnTo>
                  <a:lnTo>
                    <a:pt x="1198563" y="444501"/>
                  </a:lnTo>
                  <a:lnTo>
                    <a:pt x="1201209" y="439209"/>
                  </a:lnTo>
                  <a:lnTo>
                    <a:pt x="1193271" y="433917"/>
                  </a:lnTo>
                  <a:lnTo>
                    <a:pt x="1190625" y="431272"/>
                  </a:lnTo>
                  <a:lnTo>
                    <a:pt x="1195917" y="428626"/>
                  </a:lnTo>
                  <a:lnTo>
                    <a:pt x="1206500" y="428626"/>
                  </a:lnTo>
                  <a:lnTo>
                    <a:pt x="1195917" y="423334"/>
                  </a:lnTo>
                  <a:lnTo>
                    <a:pt x="1187980" y="418042"/>
                  </a:lnTo>
                  <a:lnTo>
                    <a:pt x="1187980" y="412751"/>
                  </a:lnTo>
                  <a:lnTo>
                    <a:pt x="1190625" y="412751"/>
                  </a:lnTo>
                  <a:lnTo>
                    <a:pt x="1193271" y="410105"/>
                  </a:lnTo>
                  <a:lnTo>
                    <a:pt x="1195917" y="407459"/>
                  </a:lnTo>
                  <a:lnTo>
                    <a:pt x="1201209" y="407459"/>
                  </a:lnTo>
                  <a:lnTo>
                    <a:pt x="1211792" y="410105"/>
                  </a:lnTo>
                  <a:lnTo>
                    <a:pt x="1203854" y="404813"/>
                  </a:lnTo>
                  <a:lnTo>
                    <a:pt x="1193271" y="402167"/>
                  </a:lnTo>
                  <a:lnTo>
                    <a:pt x="1187980" y="396876"/>
                  </a:lnTo>
                  <a:lnTo>
                    <a:pt x="1185334" y="394230"/>
                  </a:lnTo>
                  <a:lnTo>
                    <a:pt x="1187980" y="394230"/>
                  </a:lnTo>
                  <a:lnTo>
                    <a:pt x="1190625" y="391584"/>
                  </a:lnTo>
                  <a:lnTo>
                    <a:pt x="1193271" y="391584"/>
                  </a:lnTo>
                  <a:lnTo>
                    <a:pt x="1193271" y="388938"/>
                  </a:lnTo>
                  <a:lnTo>
                    <a:pt x="1187980" y="383647"/>
                  </a:lnTo>
                  <a:lnTo>
                    <a:pt x="1182688" y="378355"/>
                  </a:lnTo>
                  <a:lnTo>
                    <a:pt x="1182688" y="375709"/>
                  </a:lnTo>
                  <a:lnTo>
                    <a:pt x="1193271" y="373063"/>
                  </a:lnTo>
                  <a:lnTo>
                    <a:pt x="1185334" y="373063"/>
                  </a:lnTo>
                  <a:lnTo>
                    <a:pt x="1182688" y="373063"/>
                  </a:lnTo>
                  <a:lnTo>
                    <a:pt x="1193271" y="367771"/>
                  </a:lnTo>
                  <a:lnTo>
                    <a:pt x="1182688" y="367771"/>
                  </a:lnTo>
                  <a:lnTo>
                    <a:pt x="1177396" y="365126"/>
                  </a:lnTo>
                  <a:lnTo>
                    <a:pt x="1180042" y="362480"/>
                  </a:lnTo>
                  <a:lnTo>
                    <a:pt x="1182688" y="357188"/>
                  </a:lnTo>
                  <a:lnTo>
                    <a:pt x="1177396" y="359834"/>
                  </a:lnTo>
                  <a:lnTo>
                    <a:pt x="1174750" y="357188"/>
                  </a:lnTo>
                  <a:lnTo>
                    <a:pt x="1172105" y="351896"/>
                  </a:lnTo>
                  <a:lnTo>
                    <a:pt x="1169459" y="349251"/>
                  </a:lnTo>
                  <a:lnTo>
                    <a:pt x="1164167" y="349251"/>
                  </a:lnTo>
                  <a:lnTo>
                    <a:pt x="1156230" y="349251"/>
                  </a:lnTo>
                  <a:lnTo>
                    <a:pt x="1145646" y="343959"/>
                  </a:lnTo>
                  <a:lnTo>
                    <a:pt x="1135063" y="338667"/>
                  </a:lnTo>
                  <a:lnTo>
                    <a:pt x="1124480" y="338667"/>
                  </a:lnTo>
                  <a:lnTo>
                    <a:pt x="1119188" y="341313"/>
                  </a:lnTo>
                  <a:lnTo>
                    <a:pt x="1116542" y="338667"/>
                  </a:lnTo>
                  <a:lnTo>
                    <a:pt x="1116542" y="336021"/>
                  </a:lnTo>
                  <a:lnTo>
                    <a:pt x="1111250" y="336021"/>
                  </a:lnTo>
                  <a:lnTo>
                    <a:pt x="1108605" y="333376"/>
                  </a:lnTo>
                  <a:lnTo>
                    <a:pt x="1108605" y="330730"/>
                  </a:lnTo>
                  <a:lnTo>
                    <a:pt x="1105959" y="330730"/>
                  </a:lnTo>
                  <a:lnTo>
                    <a:pt x="1100667" y="328084"/>
                  </a:lnTo>
                  <a:lnTo>
                    <a:pt x="1098021" y="325438"/>
                  </a:lnTo>
                  <a:lnTo>
                    <a:pt x="1095375" y="320146"/>
                  </a:lnTo>
                  <a:lnTo>
                    <a:pt x="1090084" y="317501"/>
                  </a:lnTo>
                  <a:lnTo>
                    <a:pt x="1082146" y="314855"/>
                  </a:lnTo>
                  <a:lnTo>
                    <a:pt x="1082146" y="312209"/>
                  </a:lnTo>
                  <a:lnTo>
                    <a:pt x="1084792" y="312209"/>
                  </a:lnTo>
                  <a:lnTo>
                    <a:pt x="1090084" y="309563"/>
                  </a:lnTo>
                  <a:lnTo>
                    <a:pt x="1084792" y="309563"/>
                  </a:lnTo>
                  <a:lnTo>
                    <a:pt x="1082146" y="312209"/>
                  </a:lnTo>
                  <a:lnTo>
                    <a:pt x="1079500" y="312209"/>
                  </a:lnTo>
                  <a:lnTo>
                    <a:pt x="1076855" y="312209"/>
                  </a:lnTo>
                  <a:lnTo>
                    <a:pt x="1074209" y="309563"/>
                  </a:lnTo>
                  <a:lnTo>
                    <a:pt x="1074209" y="306917"/>
                  </a:lnTo>
                  <a:lnTo>
                    <a:pt x="1074209" y="304271"/>
                  </a:lnTo>
                  <a:lnTo>
                    <a:pt x="1074209" y="301626"/>
                  </a:lnTo>
                  <a:lnTo>
                    <a:pt x="1074209" y="298980"/>
                  </a:lnTo>
                  <a:lnTo>
                    <a:pt x="1074209" y="296334"/>
                  </a:lnTo>
                  <a:lnTo>
                    <a:pt x="1076855" y="296334"/>
                  </a:lnTo>
                  <a:lnTo>
                    <a:pt x="1076855" y="293688"/>
                  </a:lnTo>
                  <a:lnTo>
                    <a:pt x="1071563" y="296334"/>
                  </a:lnTo>
                  <a:lnTo>
                    <a:pt x="1071563" y="301626"/>
                  </a:lnTo>
                  <a:lnTo>
                    <a:pt x="1068917" y="301626"/>
                  </a:lnTo>
                  <a:lnTo>
                    <a:pt x="1068917" y="304271"/>
                  </a:lnTo>
                  <a:lnTo>
                    <a:pt x="1071563" y="306917"/>
                  </a:lnTo>
                  <a:lnTo>
                    <a:pt x="1071563" y="309563"/>
                  </a:lnTo>
                  <a:lnTo>
                    <a:pt x="1066271" y="312209"/>
                  </a:lnTo>
                  <a:lnTo>
                    <a:pt x="1063625" y="314855"/>
                  </a:lnTo>
                  <a:lnTo>
                    <a:pt x="1063625" y="320146"/>
                  </a:lnTo>
                  <a:lnTo>
                    <a:pt x="1063625" y="322792"/>
                  </a:lnTo>
                  <a:lnTo>
                    <a:pt x="1055688" y="325438"/>
                  </a:lnTo>
                  <a:lnTo>
                    <a:pt x="1050396" y="325438"/>
                  </a:lnTo>
                  <a:lnTo>
                    <a:pt x="1047751" y="322792"/>
                  </a:lnTo>
                  <a:lnTo>
                    <a:pt x="1047751" y="314855"/>
                  </a:lnTo>
                  <a:lnTo>
                    <a:pt x="1042459" y="309563"/>
                  </a:lnTo>
                  <a:lnTo>
                    <a:pt x="1042459" y="306917"/>
                  </a:lnTo>
                  <a:lnTo>
                    <a:pt x="1047751" y="304271"/>
                  </a:lnTo>
                  <a:lnTo>
                    <a:pt x="1050396" y="304271"/>
                  </a:lnTo>
                  <a:lnTo>
                    <a:pt x="1050396" y="301626"/>
                  </a:lnTo>
                  <a:lnTo>
                    <a:pt x="1047751" y="301626"/>
                  </a:lnTo>
                  <a:lnTo>
                    <a:pt x="1047751" y="296334"/>
                  </a:lnTo>
                  <a:lnTo>
                    <a:pt x="1047751" y="293688"/>
                  </a:lnTo>
                  <a:lnTo>
                    <a:pt x="1045105" y="293688"/>
                  </a:lnTo>
                  <a:lnTo>
                    <a:pt x="1042459" y="293688"/>
                  </a:lnTo>
                  <a:lnTo>
                    <a:pt x="1039813" y="288396"/>
                  </a:lnTo>
                  <a:lnTo>
                    <a:pt x="1034521" y="285751"/>
                  </a:lnTo>
                  <a:lnTo>
                    <a:pt x="1031876" y="283105"/>
                  </a:lnTo>
                  <a:lnTo>
                    <a:pt x="1029230" y="280459"/>
                  </a:lnTo>
                  <a:lnTo>
                    <a:pt x="1023938" y="277813"/>
                  </a:lnTo>
                  <a:lnTo>
                    <a:pt x="1021292" y="277813"/>
                  </a:lnTo>
                  <a:lnTo>
                    <a:pt x="1018646" y="277813"/>
                  </a:lnTo>
                  <a:lnTo>
                    <a:pt x="1016001" y="275167"/>
                  </a:lnTo>
                  <a:lnTo>
                    <a:pt x="1018646" y="272521"/>
                  </a:lnTo>
                  <a:lnTo>
                    <a:pt x="1026584" y="267230"/>
                  </a:lnTo>
                  <a:lnTo>
                    <a:pt x="1037167" y="267230"/>
                  </a:lnTo>
                  <a:lnTo>
                    <a:pt x="1045105" y="267230"/>
                  </a:lnTo>
                  <a:lnTo>
                    <a:pt x="1047751" y="269875"/>
                  </a:lnTo>
                  <a:lnTo>
                    <a:pt x="1047751" y="267230"/>
                  </a:lnTo>
                  <a:lnTo>
                    <a:pt x="1050396" y="264584"/>
                  </a:lnTo>
                  <a:lnTo>
                    <a:pt x="1053042" y="261938"/>
                  </a:lnTo>
                  <a:lnTo>
                    <a:pt x="1060980" y="261938"/>
                  </a:lnTo>
                  <a:lnTo>
                    <a:pt x="1060980" y="267230"/>
                  </a:lnTo>
                  <a:lnTo>
                    <a:pt x="1066271" y="264584"/>
                  </a:lnTo>
                  <a:lnTo>
                    <a:pt x="1074209" y="264584"/>
                  </a:lnTo>
                  <a:lnTo>
                    <a:pt x="1076855" y="264584"/>
                  </a:lnTo>
                  <a:lnTo>
                    <a:pt x="1076855" y="261938"/>
                  </a:lnTo>
                  <a:lnTo>
                    <a:pt x="1074209" y="259292"/>
                  </a:lnTo>
                  <a:lnTo>
                    <a:pt x="1074209" y="254000"/>
                  </a:lnTo>
                  <a:lnTo>
                    <a:pt x="1074209" y="251355"/>
                  </a:lnTo>
                  <a:lnTo>
                    <a:pt x="1071563" y="254000"/>
                  </a:lnTo>
                  <a:lnTo>
                    <a:pt x="1068917" y="256646"/>
                  </a:lnTo>
                  <a:lnTo>
                    <a:pt x="1060980" y="256646"/>
                  </a:lnTo>
                  <a:lnTo>
                    <a:pt x="1055688" y="254000"/>
                  </a:lnTo>
                  <a:lnTo>
                    <a:pt x="1050396" y="256646"/>
                  </a:lnTo>
                  <a:lnTo>
                    <a:pt x="1047751" y="256646"/>
                  </a:lnTo>
                  <a:lnTo>
                    <a:pt x="1045105" y="256646"/>
                  </a:lnTo>
                  <a:lnTo>
                    <a:pt x="1039813" y="256646"/>
                  </a:lnTo>
                  <a:lnTo>
                    <a:pt x="1037167" y="256646"/>
                  </a:lnTo>
                  <a:lnTo>
                    <a:pt x="1034521" y="259292"/>
                  </a:lnTo>
                  <a:lnTo>
                    <a:pt x="1029230" y="256646"/>
                  </a:lnTo>
                  <a:lnTo>
                    <a:pt x="1023938" y="254000"/>
                  </a:lnTo>
                  <a:lnTo>
                    <a:pt x="1023938" y="251355"/>
                  </a:lnTo>
                  <a:lnTo>
                    <a:pt x="1026584" y="251355"/>
                  </a:lnTo>
                  <a:lnTo>
                    <a:pt x="1026584" y="248709"/>
                  </a:lnTo>
                  <a:lnTo>
                    <a:pt x="1023938" y="243417"/>
                  </a:lnTo>
                  <a:lnTo>
                    <a:pt x="1026584" y="243417"/>
                  </a:lnTo>
                  <a:lnTo>
                    <a:pt x="1029230" y="240771"/>
                  </a:lnTo>
                  <a:lnTo>
                    <a:pt x="1026584" y="240771"/>
                  </a:lnTo>
                  <a:lnTo>
                    <a:pt x="1023938" y="238125"/>
                  </a:lnTo>
                  <a:lnTo>
                    <a:pt x="1021292" y="235480"/>
                  </a:lnTo>
                  <a:lnTo>
                    <a:pt x="1016001" y="238125"/>
                  </a:lnTo>
                  <a:lnTo>
                    <a:pt x="1013355" y="238125"/>
                  </a:lnTo>
                  <a:lnTo>
                    <a:pt x="1010709" y="235480"/>
                  </a:lnTo>
                  <a:lnTo>
                    <a:pt x="1010709" y="232834"/>
                  </a:lnTo>
                  <a:lnTo>
                    <a:pt x="1005417" y="232834"/>
                  </a:lnTo>
                  <a:lnTo>
                    <a:pt x="1002771" y="235480"/>
                  </a:lnTo>
                  <a:lnTo>
                    <a:pt x="1000126" y="235480"/>
                  </a:lnTo>
                  <a:lnTo>
                    <a:pt x="989542" y="230188"/>
                  </a:lnTo>
                  <a:lnTo>
                    <a:pt x="994834" y="227542"/>
                  </a:lnTo>
                  <a:lnTo>
                    <a:pt x="994834" y="224896"/>
                  </a:lnTo>
                  <a:lnTo>
                    <a:pt x="997480" y="222250"/>
                  </a:lnTo>
                  <a:lnTo>
                    <a:pt x="1002771" y="222250"/>
                  </a:lnTo>
                  <a:lnTo>
                    <a:pt x="1002771" y="219605"/>
                  </a:lnTo>
                  <a:lnTo>
                    <a:pt x="1005417" y="214313"/>
                  </a:lnTo>
                  <a:lnTo>
                    <a:pt x="1010709" y="214313"/>
                  </a:lnTo>
                  <a:lnTo>
                    <a:pt x="1013355" y="211667"/>
                  </a:lnTo>
                  <a:lnTo>
                    <a:pt x="1016001" y="209021"/>
                  </a:lnTo>
                  <a:lnTo>
                    <a:pt x="1018646" y="206375"/>
                  </a:lnTo>
                  <a:lnTo>
                    <a:pt x="1023938" y="203730"/>
                  </a:lnTo>
                  <a:lnTo>
                    <a:pt x="1029230" y="201084"/>
                  </a:lnTo>
                  <a:close/>
                  <a:moveTo>
                    <a:pt x="825500" y="132292"/>
                  </a:moveTo>
                  <a:lnTo>
                    <a:pt x="828146" y="132292"/>
                  </a:lnTo>
                  <a:lnTo>
                    <a:pt x="833438" y="132292"/>
                  </a:lnTo>
                  <a:lnTo>
                    <a:pt x="838729" y="132292"/>
                  </a:lnTo>
                  <a:lnTo>
                    <a:pt x="838729" y="134938"/>
                  </a:lnTo>
                  <a:lnTo>
                    <a:pt x="836083" y="140229"/>
                  </a:lnTo>
                  <a:lnTo>
                    <a:pt x="833438" y="145521"/>
                  </a:lnTo>
                  <a:lnTo>
                    <a:pt x="830792" y="153459"/>
                  </a:lnTo>
                  <a:lnTo>
                    <a:pt x="825500" y="156104"/>
                  </a:lnTo>
                  <a:lnTo>
                    <a:pt x="817563" y="161396"/>
                  </a:lnTo>
                  <a:lnTo>
                    <a:pt x="817563" y="164042"/>
                  </a:lnTo>
                  <a:lnTo>
                    <a:pt x="814917" y="166688"/>
                  </a:lnTo>
                  <a:lnTo>
                    <a:pt x="814917" y="169334"/>
                  </a:lnTo>
                  <a:lnTo>
                    <a:pt x="809625" y="174625"/>
                  </a:lnTo>
                  <a:lnTo>
                    <a:pt x="796396" y="179917"/>
                  </a:lnTo>
                  <a:lnTo>
                    <a:pt x="783167" y="182563"/>
                  </a:lnTo>
                  <a:lnTo>
                    <a:pt x="777875" y="179917"/>
                  </a:lnTo>
                  <a:lnTo>
                    <a:pt x="775229" y="177271"/>
                  </a:lnTo>
                  <a:lnTo>
                    <a:pt x="772583" y="177271"/>
                  </a:lnTo>
                  <a:lnTo>
                    <a:pt x="769937" y="174625"/>
                  </a:lnTo>
                  <a:lnTo>
                    <a:pt x="762000" y="174625"/>
                  </a:lnTo>
                  <a:lnTo>
                    <a:pt x="751416" y="174625"/>
                  </a:lnTo>
                  <a:lnTo>
                    <a:pt x="748770" y="174625"/>
                  </a:lnTo>
                  <a:lnTo>
                    <a:pt x="746125" y="174625"/>
                  </a:lnTo>
                  <a:lnTo>
                    <a:pt x="743479" y="171979"/>
                  </a:lnTo>
                  <a:lnTo>
                    <a:pt x="732895" y="171979"/>
                  </a:lnTo>
                  <a:lnTo>
                    <a:pt x="722312" y="174625"/>
                  </a:lnTo>
                  <a:lnTo>
                    <a:pt x="717020" y="177271"/>
                  </a:lnTo>
                  <a:lnTo>
                    <a:pt x="709083" y="185209"/>
                  </a:lnTo>
                  <a:lnTo>
                    <a:pt x="703791" y="193146"/>
                  </a:lnTo>
                  <a:lnTo>
                    <a:pt x="703791" y="201084"/>
                  </a:lnTo>
                  <a:lnTo>
                    <a:pt x="706437" y="209021"/>
                  </a:lnTo>
                  <a:lnTo>
                    <a:pt x="711729" y="216959"/>
                  </a:lnTo>
                  <a:lnTo>
                    <a:pt x="717020" y="219604"/>
                  </a:lnTo>
                  <a:lnTo>
                    <a:pt x="719666" y="224896"/>
                  </a:lnTo>
                  <a:lnTo>
                    <a:pt x="719666" y="232834"/>
                  </a:lnTo>
                  <a:lnTo>
                    <a:pt x="727604" y="232834"/>
                  </a:lnTo>
                  <a:lnTo>
                    <a:pt x="730250" y="230188"/>
                  </a:lnTo>
                  <a:lnTo>
                    <a:pt x="730250" y="227542"/>
                  </a:lnTo>
                  <a:lnTo>
                    <a:pt x="735541" y="222250"/>
                  </a:lnTo>
                  <a:lnTo>
                    <a:pt x="743479" y="216959"/>
                  </a:lnTo>
                  <a:lnTo>
                    <a:pt x="746125" y="219604"/>
                  </a:lnTo>
                  <a:lnTo>
                    <a:pt x="748770" y="219604"/>
                  </a:lnTo>
                  <a:lnTo>
                    <a:pt x="756708" y="216959"/>
                  </a:lnTo>
                  <a:lnTo>
                    <a:pt x="762000" y="214313"/>
                  </a:lnTo>
                  <a:lnTo>
                    <a:pt x="767291" y="214313"/>
                  </a:lnTo>
                  <a:lnTo>
                    <a:pt x="772583" y="214313"/>
                  </a:lnTo>
                  <a:lnTo>
                    <a:pt x="777875" y="211667"/>
                  </a:lnTo>
                  <a:lnTo>
                    <a:pt x="777875" y="209021"/>
                  </a:lnTo>
                  <a:lnTo>
                    <a:pt x="780521" y="206375"/>
                  </a:lnTo>
                  <a:lnTo>
                    <a:pt x="788458" y="206375"/>
                  </a:lnTo>
                  <a:lnTo>
                    <a:pt x="796396" y="209021"/>
                  </a:lnTo>
                  <a:lnTo>
                    <a:pt x="796396" y="214313"/>
                  </a:lnTo>
                  <a:lnTo>
                    <a:pt x="793750" y="222250"/>
                  </a:lnTo>
                  <a:lnTo>
                    <a:pt x="788458" y="227542"/>
                  </a:lnTo>
                  <a:lnTo>
                    <a:pt x="785813" y="224896"/>
                  </a:lnTo>
                  <a:lnTo>
                    <a:pt x="783167" y="222250"/>
                  </a:lnTo>
                  <a:lnTo>
                    <a:pt x="777875" y="219604"/>
                  </a:lnTo>
                  <a:lnTo>
                    <a:pt x="775229" y="224896"/>
                  </a:lnTo>
                  <a:lnTo>
                    <a:pt x="772583" y="232834"/>
                  </a:lnTo>
                  <a:lnTo>
                    <a:pt x="769937" y="240771"/>
                  </a:lnTo>
                  <a:lnTo>
                    <a:pt x="764645" y="246063"/>
                  </a:lnTo>
                  <a:lnTo>
                    <a:pt x="759354" y="246063"/>
                  </a:lnTo>
                  <a:lnTo>
                    <a:pt x="754062" y="251354"/>
                  </a:lnTo>
                  <a:lnTo>
                    <a:pt x="748770" y="256646"/>
                  </a:lnTo>
                  <a:lnTo>
                    <a:pt x="746125" y="256646"/>
                  </a:lnTo>
                  <a:lnTo>
                    <a:pt x="740833" y="256646"/>
                  </a:lnTo>
                  <a:lnTo>
                    <a:pt x="746125" y="259292"/>
                  </a:lnTo>
                  <a:lnTo>
                    <a:pt x="748770" y="261938"/>
                  </a:lnTo>
                  <a:lnTo>
                    <a:pt x="748770" y="267229"/>
                  </a:lnTo>
                  <a:lnTo>
                    <a:pt x="746125" y="269875"/>
                  </a:lnTo>
                  <a:lnTo>
                    <a:pt x="748770" y="269875"/>
                  </a:lnTo>
                  <a:lnTo>
                    <a:pt x="754062" y="272521"/>
                  </a:lnTo>
                  <a:lnTo>
                    <a:pt x="756708" y="283104"/>
                  </a:lnTo>
                  <a:lnTo>
                    <a:pt x="759354" y="285750"/>
                  </a:lnTo>
                  <a:lnTo>
                    <a:pt x="762000" y="288396"/>
                  </a:lnTo>
                  <a:lnTo>
                    <a:pt x="764645" y="293688"/>
                  </a:lnTo>
                  <a:lnTo>
                    <a:pt x="764645" y="304271"/>
                  </a:lnTo>
                  <a:lnTo>
                    <a:pt x="767291" y="312209"/>
                  </a:lnTo>
                  <a:lnTo>
                    <a:pt x="769937" y="314854"/>
                  </a:lnTo>
                  <a:lnTo>
                    <a:pt x="772583" y="314854"/>
                  </a:lnTo>
                  <a:lnTo>
                    <a:pt x="772583" y="320146"/>
                  </a:lnTo>
                  <a:lnTo>
                    <a:pt x="772583" y="325438"/>
                  </a:lnTo>
                  <a:lnTo>
                    <a:pt x="775229" y="325438"/>
                  </a:lnTo>
                  <a:lnTo>
                    <a:pt x="777875" y="325438"/>
                  </a:lnTo>
                  <a:lnTo>
                    <a:pt x="777875" y="330729"/>
                  </a:lnTo>
                  <a:lnTo>
                    <a:pt x="777875" y="336021"/>
                  </a:lnTo>
                  <a:lnTo>
                    <a:pt x="775229" y="338667"/>
                  </a:lnTo>
                  <a:lnTo>
                    <a:pt x="767291" y="338667"/>
                  </a:lnTo>
                  <a:lnTo>
                    <a:pt x="762000" y="341313"/>
                  </a:lnTo>
                  <a:lnTo>
                    <a:pt x="759354" y="341313"/>
                  </a:lnTo>
                  <a:lnTo>
                    <a:pt x="756708" y="346604"/>
                  </a:lnTo>
                  <a:lnTo>
                    <a:pt x="756708" y="351896"/>
                  </a:lnTo>
                  <a:lnTo>
                    <a:pt x="759354" y="357188"/>
                  </a:lnTo>
                  <a:lnTo>
                    <a:pt x="756708" y="357188"/>
                  </a:lnTo>
                  <a:lnTo>
                    <a:pt x="746125" y="354542"/>
                  </a:lnTo>
                  <a:lnTo>
                    <a:pt x="740833" y="351896"/>
                  </a:lnTo>
                  <a:lnTo>
                    <a:pt x="738187" y="346604"/>
                  </a:lnTo>
                  <a:lnTo>
                    <a:pt x="738187" y="343959"/>
                  </a:lnTo>
                  <a:lnTo>
                    <a:pt x="738187" y="338667"/>
                  </a:lnTo>
                  <a:lnTo>
                    <a:pt x="743479" y="333375"/>
                  </a:lnTo>
                  <a:lnTo>
                    <a:pt x="743479" y="330729"/>
                  </a:lnTo>
                  <a:lnTo>
                    <a:pt x="743479" y="328084"/>
                  </a:lnTo>
                  <a:lnTo>
                    <a:pt x="735541" y="325438"/>
                  </a:lnTo>
                  <a:lnTo>
                    <a:pt x="727604" y="317500"/>
                  </a:lnTo>
                  <a:lnTo>
                    <a:pt x="724958" y="309563"/>
                  </a:lnTo>
                  <a:lnTo>
                    <a:pt x="724958" y="306917"/>
                  </a:lnTo>
                  <a:lnTo>
                    <a:pt x="727604" y="304271"/>
                  </a:lnTo>
                  <a:lnTo>
                    <a:pt x="730250" y="296334"/>
                  </a:lnTo>
                  <a:lnTo>
                    <a:pt x="732895" y="291042"/>
                  </a:lnTo>
                  <a:lnTo>
                    <a:pt x="727604" y="283104"/>
                  </a:lnTo>
                  <a:lnTo>
                    <a:pt x="724958" y="280459"/>
                  </a:lnTo>
                  <a:lnTo>
                    <a:pt x="719666" y="280459"/>
                  </a:lnTo>
                  <a:lnTo>
                    <a:pt x="719666" y="285750"/>
                  </a:lnTo>
                  <a:lnTo>
                    <a:pt x="717020" y="288396"/>
                  </a:lnTo>
                  <a:lnTo>
                    <a:pt x="711729" y="296334"/>
                  </a:lnTo>
                  <a:lnTo>
                    <a:pt x="706437" y="301625"/>
                  </a:lnTo>
                  <a:lnTo>
                    <a:pt x="706437" y="304271"/>
                  </a:lnTo>
                  <a:lnTo>
                    <a:pt x="709083" y="306917"/>
                  </a:lnTo>
                  <a:lnTo>
                    <a:pt x="711729" y="309563"/>
                  </a:lnTo>
                  <a:lnTo>
                    <a:pt x="714375" y="312209"/>
                  </a:lnTo>
                  <a:lnTo>
                    <a:pt x="711729" y="322792"/>
                  </a:lnTo>
                  <a:lnTo>
                    <a:pt x="709083" y="330729"/>
                  </a:lnTo>
                  <a:lnTo>
                    <a:pt x="709083" y="333375"/>
                  </a:lnTo>
                  <a:lnTo>
                    <a:pt x="711729" y="336021"/>
                  </a:lnTo>
                  <a:lnTo>
                    <a:pt x="714375" y="343959"/>
                  </a:lnTo>
                  <a:lnTo>
                    <a:pt x="714375" y="354542"/>
                  </a:lnTo>
                  <a:lnTo>
                    <a:pt x="714375" y="359834"/>
                  </a:lnTo>
                  <a:lnTo>
                    <a:pt x="711729" y="362479"/>
                  </a:lnTo>
                  <a:lnTo>
                    <a:pt x="709083" y="367771"/>
                  </a:lnTo>
                  <a:lnTo>
                    <a:pt x="706437" y="370417"/>
                  </a:lnTo>
                  <a:lnTo>
                    <a:pt x="711729" y="378354"/>
                  </a:lnTo>
                  <a:lnTo>
                    <a:pt x="711729" y="381000"/>
                  </a:lnTo>
                  <a:lnTo>
                    <a:pt x="701145" y="383646"/>
                  </a:lnTo>
                  <a:lnTo>
                    <a:pt x="693208" y="386292"/>
                  </a:lnTo>
                  <a:lnTo>
                    <a:pt x="685270" y="383646"/>
                  </a:lnTo>
                  <a:lnTo>
                    <a:pt x="682625" y="381000"/>
                  </a:lnTo>
                  <a:lnTo>
                    <a:pt x="679979" y="378354"/>
                  </a:lnTo>
                  <a:lnTo>
                    <a:pt x="679979" y="370417"/>
                  </a:lnTo>
                  <a:lnTo>
                    <a:pt x="682625" y="365125"/>
                  </a:lnTo>
                  <a:lnTo>
                    <a:pt x="682625" y="359834"/>
                  </a:lnTo>
                  <a:lnTo>
                    <a:pt x="682625" y="354542"/>
                  </a:lnTo>
                  <a:lnTo>
                    <a:pt x="685270" y="346604"/>
                  </a:lnTo>
                  <a:lnTo>
                    <a:pt x="687916" y="341313"/>
                  </a:lnTo>
                  <a:lnTo>
                    <a:pt x="690562" y="333375"/>
                  </a:lnTo>
                  <a:lnTo>
                    <a:pt x="685270" y="322792"/>
                  </a:lnTo>
                  <a:lnTo>
                    <a:pt x="677333" y="314854"/>
                  </a:lnTo>
                  <a:lnTo>
                    <a:pt x="674687" y="312209"/>
                  </a:lnTo>
                  <a:lnTo>
                    <a:pt x="672041" y="312209"/>
                  </a:lnTo>
                  <a:lnTo>
                    <a:pt x="666750" y="312209"/>
                  </a:lnTo>
                  <a:lnTo>
                    <a:pt x="664104" y="309563"/>
                  </a:lnTo>
                  <a:lnTo>
                    <a:pt x="664104" y="306917"/>
                  </a:lnTo>
                  <a:lnTo>
                    <a:pt x="666750" y="301625"/>
                  </a:lnTo>
                  <a:lnTo>
                    <a:pt x="672041" y="298979"/>
                  </a:lnTo>
                  <a:lnTo>
                    <a:pt x="672041" y="293688"/>
                  </a:lnTo>
                  <a:lnTo>
                    <a:pt x="672041" y="285750"/>
                  </a:lnTo>
                  <a:lnTo>
                    <a:pt x="669395" y="275167"/>
                  </a:lnTo>
                  <a:lnTo>
                    <a:pt x="672041" y="272521"/>
                  </a:lnTo>
                  <a:lnTo>
                    <a:pt x="677333" y="269875"/>
                  </a:lnTo>
                  <a:lnTo>
                    <a:pt x="674687" y="259292"/>
                  </a:lnTo>
                  <a:lnTo>
                    <a:pt x="674687" y="251354"/>
                  </a:lnTo>
                  <a:lnTo>
                    <a:pt x="677333" y="243417"/>
                  </a:lnTo>
                  <a:lnTo>
                    <a:pt x="679979" y="235479"/>
                  </a:lnTo>
                  <a:lnTo>
                    <a:pt x="685270" y="230188"/>
                  </a:lnTo>
                  <a:lnTo>
                    <a:pt x="687916" y="230188"/>
                  </a:lnTo>
                  <a:lnTo>
                    <a:pt x="690562" y="235479"/>
                  </a:lnTo>
                  <a:lnTo>
                    <a:pt x="690562" y="230188"/>
                  </a:lnTo>
                  <a:lnTo>
                    <a:pt x="687916" y="227542"/>
                  </a:lnTo>
                  <a:lnTo>
                    <a:pt x="685270" y="224896"/>
                  </a:lnTo>
                  <a:lnTo>
                    <a:pt x="687916" y="214313"/>
                  </a:lnTo>
                  <a:lnTo>
                    <a:pt x="687916" y="206375"/>
                  </a:lnTo>
                  <a:lnTo>
                    <a:pt x="687916" y="203729"/>
                  </a:lnTo>
                  <a:lnTo>
                    <a:pt x="687916" y="201084"/>
                  </a:lnTo>
                  <a:lnTo>
                    <a:pt x="690562" y="195792"/>
                  </a:lnTo>
                  <a:lnTo>
                    <a:pt x="690562" y="190500"/>
                  </a:lnTo>
                  <a:lnTo>
                    <a:pt x="687916" y="182563"/>
                  </a:lnTo>
                  <a:lnTo>
                    <a:pt x="687916" y="174625"/>
                  </a:lnTo>
                  <a:lnTo>
                    <a:pt x="690562" y="171979"/>
                  </a:lnTo>
                  <a:lnTo>
                    <a:pt x="693208" y="169334"/>
                  </a:lnTo>
                  <a:lnTo>
                    <a:pt x="695854" y="166688"/>
                  </a:lnTo>
                  <a:lnTo>
                    <a:pt x="695854" y="164042"/>
                  </a:lnTo>
                  <a:lnTo>
                    <a:pt x="693208" y="164042"/>
                  </a:lnTo>
                  <a:lnTo>
                    <a:pt x="695854" y="161396"/>
                  </a:lnTo>
                  <a:lnTo>
                    <a:pt x="698500" y="158750"/>
                  </a:lnTo>
                  <a:lnTo>
                    <a:pt x="701145" y="164042"/>
                  </a:lnTo>
                  <a:lnTo>
                    <a:pt x="703791" y="166688"/>
                  </a:lnTo>
                  <a:lnTo>
                    <a:pt x="709083" y="164042"/>
                  </a:lnTo>
                  <a:lnTo>
                    <a:pt x="714375" y="158750"/>
                  </a:lnTo>
                  <a:lnTo>
                    <a:pt x="714375" y="153459"/>
                  </a:lnTo>
                  <a:lnTo>
                    <a:pt x="717020" y="148167"/>
                  </a:lnTo>
                  <a:lnTo>
                    <a:pt x="722312" y="145521"/>
                  </a:lnTo>
                  <a:lnTo>
                    <a:pt x="727604" y="145521"/>
                  </a:lnTo>
                  <a:lnTo>
                    <a:pt x="730250" y="150813"/>
                  </a:lnTo>
                  <a:lnTo>
                    <a:pt x="735541" y="153459"/>
                  </a:lnTo>
                  <a:lnTo>
                    <a:pt x="740833" y="153459"/>
                  </a:lnTo>
                  <a:lnTo>
                    <a:pt x="748770" y="153459"/>
                  </a:lnTo>
                  <a:lnTo>
                    <a:pt x="756708" y="156104"/>
                  </a:lnTo>
                  <a:lnTo>
                    <a:pt x="762000" y="158750"/>
                  </a:lnTo>
                  <a:lnTo>
                    <a:pt x="769937" y="158750"/>
                  </a:lnTo>
                  <a:lnTo>
                    <a:pt x="775229" y="156104"/>
                  </a:lnTo>
                  <a:lnTo>
                    <a:pt x="783167" y="158750"/>
                  </a:lnTo>
                  <a:lnTo>
                    <a:pt x="791104" y="158750"/>
                  </a:lnTo>
                  <a:lnTo>
                    <a:pt x="801688" y="153459"/>
                  </a:lnTo>
                  <a:lnTo>
                    <a:pt x="812271" y="148167"/>
                  </a:lnTo>
                  <a:lnTo>
                    <a:pt x="817563" y="142875"/>
                  </a:lnTo>
                  <a:lnTo>
                    <a:pt x="817563" y="140229"/>
                  </a:lnTo>
                  <a:lnTo>
                    <a:pt x="820208" y="137584"/>
                  </a:lnTo>
                  <a:lnTo>
                    <a:pt x="825500" y="134938"/>
                  </a:lnTo>
                  <a:close/>
                  <a:moveTo>
                    <a:pt x="907521" y="116417"/>
                  </a:moveTo>
                  <a:lnTo>
                    <a:pt x="910166" y="116417"/>
                  </a:lnTo>
                  <a:lnTo>
                    <a:pt x="912812" y="119063"/>
                  </a:lnTo>
                  <a:lnTo>
                    <a:pt x="910166" y="121709"/>
                  </a:lnTo>
                  <a:lnTo>
                    <a:pt x="907521" y="127000"/>
                  </a:lnTo>
                  <a:lnTo>
                    <a:pt x="907521" y="129646"/>
                  </a:lnTo>
                  <a:lnTo>
                    <a:pt x="910166" y="132292"/>
                  </a:lnTo>
                  <a:lnTo>
                    <a:pt x="912812" y="134938"/>
                  </a:lnTo>
                  <a:lnTo>
                    <a:pt x="912812" y="140229"/>
                  </a:lnTo>
                  <a:lnTo>
                    <a:pt x="910166" y="145521"/>
                  </a:lnTo>
                  <a:lnTo>
                    <a:pt x="907521" y="150813"/>
                  </a:lnTo>
                  <a:lnTo>
                    <a:pt x="904875" y="153459"/>
                  </a:lnTo>
                  <a:lnTo>
                    <a:pt x="907521" y="156105"/>
                  </a:lnTo>
                  <a:lnTo>
                    <a:pt x="912812" y="158750"/>
                  </a:lnTo>
                  <a:lnTo>
                    <a:pt x="912812" y="156105"/>
                  </a:lnTo>
                  <a:lnTo>
                    <a:pt x="912812" y="153459"/>
                  </a:lnTo>
                  <a:lnTo>
                    <a:pt x="918104" y="150813"/>
                  </a:lnTo>
                  <a:lnTo>
                    <a:pt x="920750" y="150813"/>
                  </a:lnTo>
                  <a:lnTo>
                    <a:pt x="918104" y="148167"/>
                  </a:lnTo>
                  <a:lnTo>
                    <a:pt x="920750" y="142875"/>
                  </a:lnTo>
                  <a:lnTo>
                    <a:pt x="931333" y="140229"/>
                  </a:lnTo>
                  <a:lnTo>
                    <a:pt x="933979" y="145521"/>
                  </a:lnTo>
                  <a:lnTo>
                    <a:pt x="933979" y="150813"/>
                  </a:lnTo>
                  <a:lnTo>
                    <a:pt x="931333" y="156105"/>
                  </a:lnTo>
                  <a:lnTo>
                    <a:pt x="928687" y="158750"/>
                  </a:lnTo>
                  <a:lnTo>
                    <a:pt x="920750" y="161396"/>
                  </a:lnTo>
                  <a:lnTo>
                    <a:pt x="920750" y="164042"/>
                  </a:lnTo>
                  <a:lnTo>
                    <a:pt x="926041" y="164042"/>
                  </a:lnTo>
                  <a:lnTo>
                    <a:pt x="933979" y="166688"/>
                  </a:lnTo>
                  <a:lnTo>
                    <a:pt x="933979" y="171980"/>
                  </a:lnTo>
                  <a:lnTo>
                    <a:pt x="933979" y="177271"/>
                  </a:lnTo>
                  <a:lnTo>
                    <a:pt x="936625" y="179917"/>
                  </a:lnTo>
                  <a:lnTo>
                    <a:pt x="941916" y="185209"/>
                  </a:lnTo>
                  <a:lnTo>
                    <a:pt x="920750" y="174625"/>
                  </a:lnTo>
                  <a:lnTo>
                    <a:pt x="915458" y="174625"/>
                  </a:lnTo>
                  <a:lnTo>
                    <a:pt x="912812" y="177271"/>
                  </a:lnTo>
                  <a:lnTo>
                    <a:pt x="912812" y="179917"/>
                  </a:lnTo>
                  <a:lnTo>
                    <a:pt x="915458" y="182563"/>
                  </a:lnTo>
                  <a:lnTo>
                    <a:pt x="915458" y="185209"/>
                  </a:lnTo>
                  <a:lnTo>
                    <a:pt x="915458" y="187855"/>
                  </a:lnTo>
                  <a:lnTo>
                    <a:pt x="915458" y="193146"/>
                  </a:lnTo>
                  <a:lnTo>
                    <a:pt x="918104" y="198438"/>
                  </a:lnTo>
                  <a:lnTo>
                    <a:pt x="926041" y="216959"/>
                  </a:lnTo>
                  <a:lnTo>
                    <a:pt x="918104" y="211667"/>
                  </a:lnTo>
                  <a:lnTo>
                    <a:pt x="910166" y="206376"/>
                  </a:lnTo>
                  <a:lnTo>
                    <a:pt x="907521" y="203730"/>
                  </a:lnTo>
                  <a:lnTo>
                    <a:pt x="907521" y="201084"/>
                  </a:lnTo>
                  <a:lnTo>
                    <a:pt x="904875" y="198438"/>
                  </a:lnTo>
                  <a:lnTo>
                    <a:pt x="902229" y="195792"/>
                  </a:lnTo>
                  <a:lnTo>
                    <a:pt x="902229" y="190500"/>
                  </a:lnTo>
                  <a:lnTo>
                    <a:pt x="904875" y="182563"/>
                  </a:lnTo>
                  <a:lnTo>
                    <a:pt x="902229" y="177271"/>
                  </a:lnTo>
                  <a:lnTo>
                    <a:pt x="902229" y="174625"/>
                  </a:lnTo>
                  <a:lnTo>
                    <a:pt x="899583" y="171980"/>
                  </a:lnTo>
                  <a:lnTo>
                    <a:pt x="896937" y="169334"/>
                  </a:lnTo>
                  <a:lnTo>
                    <a:pt x="896937" y="166688"/>
                  </a:lnTo>
                  <a:lnTo>
                    <a:pt x="904875" y="164042"/>
                  </a:lnTo>
                  <a:lnTo>
                    <a:pt x="899583" y="161396"/>
                  </a:lnTo>
                  <a:lnTo>
                    <a:pt x="896937" y="161396"/>
                  </a:lnTo>
                  <a:lnTo>
                    <a:pt x="896937" y="156105"/>
                  </a:lnTo>
                  <a:lnTo>
                    <a:pt x="896937" y="148167"/>
                  </a:lnTo>
                  <a:lnTo>
                    <a:pt x="896937" y="132292"/>
                  </a:lnTo>
                  <a:lnTo>
                    <a:pt x="904875" y="121709"/>
                  </a:lnTo>
                  <a:close/>
                  <a:moveTo>
                    <a:pt x="584729" y="39688"/>
                  </a:moveTo>
                  <a:lnTo>
                    <a:pt x="590021" y="39688"/>
                  </a:lnTo>
                  <a:lnTo>
                    <a:pt x="592666" y="39688"/>
                  </a:lnTo>
                  <a:lnTo>
                    <a:pt x="597958" y="42334"/>
                  </a:lnTo>
                  <a:lnTo>
                    <a:pt x="605896" y="39688"/>
                  </a:lnTo>
                  <a:lnTo>
                    <a:pt x="621771" y="42334"/>
                  </a:lnTo>
                  <a:lnTo>
                    <a:pt x="627062" y="52917"/>
                  </a:lnTo>
                  <a:lnTo>
                    <a:pt x="629708" y="58209"/>
                  </a:lnTo>
                  <a:lnTo>
                    <a:pt x="632354" y="63500"/>
                  </a:lnTo>
                  <a:lnTo>
                    <a:pt x="627062" y="66146"/>
                  </a:lnTo>
                  <a:lnTo>
                    <a:pt x="624416" y="68792"/>
                  </a:lnTo>
                  <a:lnTo>
                    <a:pt x="624416" y="71438"/>
                  </a:lnTo>
                  <a:lnTo>
                    <a:pt x="619125" y="74084"/>
                  </a:lnTo>
                  <a:lnTo>
                    <a:pt x="621771" y="76730"/>
                  </a:lnTo>
                  <a:lnTo>
                    <a:pt x="627062" y="79375"/>
                  </a:lnTo>
                  <a:lnTo>
                    <a:pt x="629708" y="82021"/>
                  </a:lnTo>
                  <a:lnTo>
                    <a:pt x="632354" y="87313"/>
                  </a:lnTo>
                  <a:lnTo>
                    <a:pt x="632354" y="95250"/>
                  </a:lnTo>
                  <a:lnTo>
                    <a:pt x="635000" y="100542"/>
                  </a:lnTo>
                  <a:lnTo>
                    <a:pt x="640291" y="108480"/>
                  </a:lnTo>
                  <a:lnTo>
                    <a:pt x="645583" y="113771"/>
                  </a:lnTo>
                  <a:lnTo>
                    <a:pt x="648229" y="116417"/>
                  </a:lnTo>
                  <a:lnTo>
                    <a:pt x="645583" y="119063"/>
                  </a:lnTo>
                  <a:lnTo>
                    <a:pt x="635000" y="119063"/>
                  </a:lnTo>
                  <a:lnTo>
                    <a:pt x="640291" y="127000"/>
                  </a:lnTo>
                  <a:lnTo>
                    <a:pt x="645583" y="127000"/>
                  </a:lnTo>
                  <a:lnTo>
                    <a:pt x="650875" y="129646"/>
                  </a:lnTo>
                  <a:lnTo>
                    <a:pt x="658812" y="137584"/>
                  </a:lnTo>
                  <a:lnTo>
                    <a:pt x="664104" y="142875"/>
                  </a:lnTo>
                  <a:lnTo>
                    <a:pt x="666750" y="145521"/>
                  </a:lnTo>
                  <a:lnTo>
                    <a:pt x="666750" y="148167"/>
                  </a:lnTo>
                  <a:lnTo>
                    <a:pt x="666750" y="150813"/>
                  </a:lnTo>
                  <a:lnTo>
                    <a:pt x="664104" y="153459"/>
                  </a:lnTo>
                  <a:lnTo>
                    <a:pt x="653521" y="153459"/>
                  </a:lnTo>
                  <a:lnTo>
                    <a:pt x="645583" y="153459"/>
                  </a:lnTo>
                  <a:lnTo>
                    <a:pt x="645583" y="156105"/>
                  </a:lnTo>
                  <a:lnTo>
                    <a:pt x="640291" y="156105"/>
                  </a:lnTo>
                  <a:lnTo>
                    <a:pt x="637646" y="158750"/>
                  </a:lnTo>
                  <a:lnTo>
                    <a:pt x="635000" y="158750"/>
                  </a:lnTo>
                  <a:lnTo>
                    <a:pt x="637646" y="161396"/>
                  </a:lnTo>
                  <a:lnTo>
                    <a:pt x="635000" y="161396"/>
                  </a:lnTo>
                  <a:lnTo>
                    <a:pt x="635000" y="169334"/>
                  </a:lnTo>
                  <a:lnTo>
                    <a:pt x="632354" y="182563"/>
                  </a:lnTo>
                  <a:lnTo>
                    <a:pt x="632354" y="187855"/>
                  </a:lnTo>
                  <a:lnTo>
                    <a:pt x="629708" y="190500"/>
                  </a:lnTo>
                  <a:lnTo>
                    <a:pt x="627062" y="193146"/>
                  </a:lnTo>
                  <a:lnTo>
                    <a:pt x="629708" y="198438"/>
                  </a:lnTo>
                  <a:lnTo>
                    <a:pt x="632354" y="201084"/>
                  </a:lnTo>
                  <a:lnTo>
                    <a:pt x="635000" y="201084"/>
                  </a:lnTo>
                  <a:lnTo>
                    <a:pt x="637646" y="201084"/>
                  </a:lnTo>
                  <a:lnTo>
                    <a:pt x="635000" y="209021"/>
                  </a:lnTo>
                  <a:lnTo>
                    <a:pt x="632354" y="211667"/>
                  </a:lnTo>
                  <a:lnTo>
                    <a:pt x="627062" y="211667"/>
                  </a:lnTo>
                  <a:lnTo>
                    <a:pt x="621771" y="211667"/>
                  </a:lnTo>
                  <a:lnTo>
                    <a:pt x="621771" y="216959"/>
                  </a:lnTo>
                  <a:lnTo>
                    <a:pt x="619125" y="219605"/>
                  </a:lnTo>
                  <a:lnTo>
                    <a:pt x="613833" y="222250"/>
                  </a:lnTo>
                  <a:lnTo>
                    <a:pt x="608541" y="224896"/>
                  </a:lnTo>
                  <a:lnTo>
                    <a:pt x="605896" y="222250"/>
                  </a:lnTo>
                  <a:lnTo>
                    <a:pt x="605896" y="224896"/>
                  </a:lnTo>
                  <a:lnTo>
                    <a:pt x="608541" y="224896"/>
                  </a:lnTo>
                  <a:lnTo>
                    <a:pt x="608541" y="227542"/>
                  </a:lnTo>
                  <a:lnTo>
                    <a:pt x="603250" y="230188"/>
                  </a:lnTo>
                  <a:lnTo>
                    <a:pt x="597958" y="235480"/>
                  </a:lnTo>
                  <a:lnTo>
                    <a:pt x="600604" y="235480"/>
                  </a:lnTo>
                  <a:lnTo>
                    <a:pt x="603250" y="238125"/>
                  </a:lnTo>
                  <a:lnTo>
                    <a:pt x="600604" y="240771"/>
                  </a:lnTo>
                  <a:lnTo>
                    <a:pt x="597958" y="246063"/>
                  </a:lnTo>
                  <a:lnTo>
                    <a:pt x="600604" y="246063"/>
                  </a:lnTo>
                  <a:lnTo>
                    <a:pt x="592666" y="251355"/>
                  </a:lnTo>
                  <a:lnTo>
                    <a:pt x="595312" y="251355"/>
                  </a:lnTo>
                  <a:lnTo>
                    <a:pt x="597958" y="251355"/>
                  </a:lnTo>
                  <a:lnTo>
                    <a:pt x="597958" y="256646"/>
                  </a:lnTo>
                  <a:lnTo>
                    <a:pt x="597958" y="261938"/>
                  </a:lnTo>
                  <a:lnTo>
                    <a:pt x="603250" y="261938"/>
                  </a:lnTo>
                  <a:lnTo>
                    <a:pt x="605896" y="264584"/>
                  </a:lnTo>
                  <a:lnTo>
                    <a:pt x="597958" y="280459"/>
                  </a:lnTo>
                  <a:lnTo>
                    <a:pt x="592666" y="275167"/>
                  </a:lnTo>
                  <a:lnTo>
                    <a:pt x="595312" y="283105"/>
                  </a:lnTo>
                  <a:lnTo>
                    <a:pt x="597958" y="288396"/>
                  </a:lnTo>
                  <a:lnTo>
                    <a:pt x="595312" y="296334"/>
                  </a:lnTo>
                  <a:lnTo>
                    <a:pt x="582083" y="312209"/>
                  </a:lnTo>
                  <a:lnTo>
                    <a:pt x="574146" y="317501"/>
                  </a:lnTo>
                  <a:lnTo>
                    <a:pt x="563562" y="325438"/>
                  </a:lnTo>
                  <a:lnTo>
                    <a:pt x="555625" y="328084"/>
                  </a:lnTo>
                  <a:lnTo>
                    <a:pt x="552979" y="325438"/>
                  </a:lnTo>
                  <a:lnTo>
                    <a:pt x="552979" y="322792"/>
                  </a:lnTo>
                  <a:lnTo>
                    <a:pt x="550333" y="314855"/>
                  </a:lnTo>
                  <a:lnTo>
                    <a:pt x="547687" y="309563"/>
                  </a:lnTo>
                  <a:lnTo>
                    <a:pt x="542396" y="304271"/>
                  </a:lnTo>
                  <a:lnTo>
                    <a:pt x="539750" y="301626"/>
                  </a:lnTo>
                  <a:lnTo>
                    <a:pt x="534458" y="304271"/>
                  </a:lnTo>
                  <a:lnTo>
                    <a:pt x="529166" y="304271"/>
                  </a:lnTo>
                  <a:lnTo>
                    <a:pt x="526521" y="301626"/>
                  </a:lnTo>
                  <a:lnTo>
                    <a:pt x="529166" y="301626"/>
                  </a:lnTo>
                  <a:lnTo>
                    <a:pt x="529166" y="298980"/>
                  </a:lnTo>
                  <a:lnTo>
                    <a:pt x="526521" y="296334"/>
                  </a:lnTo>
                  <a:lnTo>
                    <a:pt x="521229" y="296334"/>
                  </a:lnTo>
                  <a:lnTo>
                    <a:pt x="518583" y="296334"/>
                  </a:lnTo>
                  <a:lnTo>
                    <a:pt x="518583" y="298980"/>
                  </a:lnTo>
                  <a:lnTo>
                    <a:pt x="513291" y="296334"/>
                  </a:lnTo>
                  <a:lnTo>
                    <a:pt x="510645" y="296334"/>
                  </a:lnTo>
                  <a:lnTo>
                    <a:pt x="505354" y="296334"/>
                  </a:lnTo>
                  <a:lnTo>
                    <a:pt x="502708" y="301626"/>
                  </a:lnTo>
                  <a:lnTo>
                    <a:pt x="500062" y="301626"/>
                  </a:lnTo>
                  <a:lnTo>
                    <a:pt x="494770" y="298980"/>
                  </a:lnTo>
                  <a:lnTo>
                    <a:pt x="489479" y="296334"/>
                  </a:lnTo>
                  <a:lnTo>
                    <a:pt x="484187" y="296334"/>
                  </a:lnTo>
                  <a:lnTo>
                    <a:pt x="481541" y="296334"/>
                  </a:lnTo>
                  <a:lnTo>
                    <a:pt x="470958" y="301626"/>
                  </a:lnTo>
                  <a:lnTo>
                    <a:pt x="470958" y="298980"/>
                  </a:lnTo>
                  <a:lnTo>
                    <a:pt x="468312" y="298980"/>
                  </a:lnTo>
                  <a:lnTo>
                    <a:pt x="468312" y="291042"/>
                  </a:lnTo>
                  <a:lnTo>
                    <a:pt x="468312" y="288396"/>
                  </a:lnTo>
                  <a:lnTo>
                    <a:pt x="465666" y="293688"/>
                  </a:lnTo>
                  <a:lnTo>
                    <a:pt x="463020" y="291042"/>
                  </a:lnTo>
                  <a:lnTo>
                    <a:pt x="460375" y="288396"/>
                  </a:lnTo>
                  <a:lnTo>
                    <a:pt x="457729" y="288396"/>
                  </a:lnTo>
                  <a:lnTo>
                    <a:pt x="455083" y="291042"/>
                  </a:lnTo>
                  <a:lnTo>
                    <a:pt x="452437" y="293688"/>
                  </a:lnTo>
                  <a:lnTo>
                    <a:pt x="449791" y="291042"/>
                  </a:lnTo>
                  <a:lnTo>
                    <a:pt x="444500" y="291042"/>
                  </a:lnTo>
                  <a:lnTo>
                    <a:pt x="441854" y="291042"/>
                  </a:lnTo>
                  <a:lnTo>
                    <a:pt x="439208" y="291042"/>
                  </a:lnTo>
                  <a:lnTo>
                    <a:pt x="436562" y="288396"/>
                  </a:lnTo>
                  <a:lnTo>
                    <a:pt x="433916" y="288396"/>
                  </a:lnTo>
                  <a:lnTo>
                    <a:pt x="428625" y="291042"/>
                  </a:lnTo>
                  <a:lnTo>
                    <a:pt x="425979" y="291042"/>
                  </a:lnTo>
                  <a:lnTo>
                    <a:pt x="423333" y="280459"/>
                  </a:lnTo>
                  <a:lnTo>
                    <a:pt x="423333" y="267230"/>
                  </a:lnTo>
                  <a:lnTo>
                    <a:pt x="423333" y="256646"/>
                  </a:lnTo>
                  <a:lnTo>
                    <a:pt x="423333" y="251355"/>
                  </a:lnTo>
                  <a:lnTo>
                    <a:pt x="420687" y="248709"/>
                  </a:lnTo>
                  <a:lnTo>
                    <a:pt x="418041" y="246063"/>
                  </a:lnTo>
                  <a:lnTo>
                    <a:pt x="423333" y="240771"/>
                  </a:lnTo>
                  <a:lnTo>
                    <a:pt x="423333" y="235480"/>
                  </a:lnTo>
                  <a:lnTo>
                    <a:pt x="420687" y="230188"/>
                  </a:lnTo>
                  <a:lnTo>
                    <a:pt x="418041" y="227542"/>
                  </a:lnTo>
                  <a:lnTo>
                    <a:pt x="415395" y="222250"/>
                  </a:lnTo>
                  <a:lnTo>
                    <a:pt x="415395" y="219605"/>
                  </a:lnTo>
                  <a:lnTo>
                    <a:pt x="410104" y="222250"/>
                  </a:lnTo>
                  <a:lnTo>
                    <a:pt x="404812" y="222250"/>
                  </a:lnTo>
                  <a:lnTo>
                    <a:pt x="404812" y="219605"/>
                  </a:lnTo>
                  <a:lnTo>
                    <a:pt x="404812" y="216959"/>
                  </a:lnTo>
                  <a:lnTo>
                    <a:pt x="407458" y="209021"/>
                  </a:lnTo>
                  <a:lnTo>
                    <a:pt x="404812" y="209021"/>
                  </a:lnTo>
                  <a:lnTo>
                    <a:pt x="399520" y="209021"/>
                  </a:lnTo>
                  <a:lnTo>
                    <a:pt x="396875" y="209021"/>
                  </a:lnTo>
                  <a:lnTo>
                    <a:pt x="396875" y="203730"/>
                  </a:lnTo>
                  <a:lnTo>
                    <a:pt x="396875" y="195792"/>
                  </a:lnTo>
                  <a:lnTo>
                    <a:pt x="399520" y="195792"/>
                  </a:lnTo>
                  <a:lnTo>
                    <a:pt x="402166" y="198438"/>
                  </a:lnTo>
                  <a:lnTo>
                    <a:pt x="404812" y="195792"/>
                  </a:lnTo>
                  <a:lnTo>
                    <a:pt x="402166" y="193146"/>
                  </a:lnTo>
                  <a:lnTo>
                    <a:pt x="399520" y="193146"/>
                  </a:lnTo>
                  <a:lnTo>
                    <a:pt x="396875" y="193146"/>
                  </a:lnTo>
                  <a:lnTo>
                    <a:pt x="394229" y="187855"/>
                  </a:lnTo>
                  <a:lnTo>
                    <a:pt x="396875" y="182563"/>
                  </a:lnTo>
                  <a:lnTo>
                    <a:pt x="399520" y="179917"/>
                  </a:lnTo>
                  <a:lnTo>
                    <a:pt x="399520" y="177271"/>
                  </a:lnTo>
                  <a:lnTo>
                    <a:pt x="396875" y="171980"/>
                  </a:lnTo>
                  <a:lnTo>
                    <a:pt x="394229" y="169334"/>
                  </a:lnTo>
                  <a:lnTo>
                    <a:pt x="396875" y="164042"/>
                  </a:lnTo>
                  <a:lnTo>
                    <a:pt x="396875" y="158750"/>
                  </a:lnTo>
                  <a:lnTo>
                    <a:pt x="399520" y="153459"/>
                  </a:lnTo>
                  <a:lnTo>
                    <a:pt x="396875" y="142875"/>
                  </a:lnTo>
                  <a:lnTo>
                    <a:pt x="396875" y="137584"/>
                  </a:lnTo>
                  <a:lnTo>
                    <a:pt x="399520" y="132292"/>
                  </a:lnTo>
                  <a:lnTo>
                    <a:pt x="402166" y="129646"/>
                  </a:lnTo>
                  <a:lnTo>
                    <a:pt x="402166" y="127000"/>
                  </a:lnTo>
                  <a:lnTo>
                    <a:pt x="402166" y="124355"/>
                  </a:lnTo>
                  <a:lnTo>
                    <a:pt x="407458" y="121709"/>
                  </a:lnTo>
                  <a:lnTo>
                    <a:pt x="410104" y="124355"/>
                  </a:lnTo>
                  <a:lnTo>
                    <a:pt x="410104" y="127000"/>
                  </a:lnTo>
                  <a:lnTo>
                    <a:pt x="412750" y="127000"/>
                  </a:lnTo>
                  <a:lnTo>
                    <a:pt x="415395" y="132292"/>
                  </a:lnTo>
                  <a:lnTo>
                    <a:pt x="420687" y="134938"/>
                  </a:lnTo>
                  <a:lnTo>
                    <a:pt x="420687" y="140230"/>
                  </a:lnTo>
                  <a:lnTo>
                    <a:pt x="420687" y="142875"/>
                  </a:lnTo>
                  <a:lnTo>
                    <a:pt x="423333" y="145521"/>
                  </a:lnTo>
                  <a:lnTo>
                    <a:pt x="428625" y="148167"/>
                  </a:lnTo>
                  <a:lnTo>
                    <a:pt x="428625" y="150813"/>
                  </a:lnTo>
                  <a:lnTo>
                    <a:pt x="431270" y="156105"/>
                  </a:lnTo>
                  <a:lnTo>
                    <a:pt x="436562" y="158750"/>
                  </a:lnTo>
                  <a:lnTo>
                    <a:pt x="447145" y="156105"/>
                  </a:lnTo>
                  <a:lnTo>
                    <a:pt x="457729" y="153459"/>
                  </a:lnTo>
                  <a:lnTo>
                    <a:pt x="465666" y="153459"/>
                  </a:lnTo>
                  <a:lnTo>
                    <a:pt x="468312" y="153459"/>
                  </a:lnTo>
                  <a:lnTo>
                    <a:pt x="473604" y="150813"/>
                  </a:lnTo>
                  <a:lnTo>
                    <a:pt x="478895" y="148167"/>
                  </a:lnTo>
                  <a:lnTo>
                    <a:pt x="481541" y="145521"/>
                  </a:lnTo>
                  <a:lnTo>
                    <a:pt x="481541" y="142875"/>
                  </a:lnTo>
                  <a:lnTo>
                    <a:pt x="486833" y="140230"/>
                  </a:lnTo>
                  <a:lnTo>
                    <a:pt x="492125" y="137584"/>
                  </a:lnTo>
                  <a:lnTo>
                    <a:pt x="497416" y="137584"/>
                  </a:lnTo>
                  <a:lnTo>
                    <a:pt x="500062" y="137584"/>
                  </a:lnTo>
                  <a:lnTo>
                    <a:pt x="500062" y="140230"/>
                  </a:lnTo>
                  <a:lnTo>
                    <a:pt x="502708" y="142875"/>
                  </a:lnTo>
                  <a:lnTo>
                    <a:pt x="508000" y="145521"/>
                  </a:lnTo>
                  <a:lnTo>
                    <a:pt x="518583" y="145521"/>
                  </a:lnTo>
                  <a:lnTo>
                    <a:pt x="531812" y="140230"/>
                  </a:lnTo>
                  <a:lnTo>
                    <a:pt x="537104" y="137584"/>
                  </a:lnTo>
                  <a:lnTo>
                    <a:pt x="539750" y="134938"/>
                  </a:lnTo>
                  <a:lnTo>
                    <a:pt x="545041" y="129646"/>
                  </a:lnTo>
                  <a:lnTo>
                    <a:pt x="547687" y="124355"/>
                  </a:lnTo>
                  <a:lnTo>
                    <a:pt x="550333" y="119063"/>
                  </a:lnTo>
                  <a:lnTo>
                    <a:pt x="552979" y="108480"/>
                  </a:lnTo>
                  <a:lnTo>
                    <a:pt x="555625" y="95250"/>
                  </a:lnTo>
                  <a:lnTo>
                    <a:pt x="558271" y="89959"/>
                  </a:lnTo>
                  <a:lnTo>
                    <a:pt x="563562" y="84667"/>
                  </a:lnTo>
                  <a:lnTo>
                    <a:pt x="568854" y="79375"/>
                  </a:lnTo>
                  <a:lnTo>
                    <a:pt x="574146" y="74084"/>
                  </a:lnTo>
                  <a:lnTo>
                    <a:pt x="574146" y="63500"/>
                  </a:lnTo>
                  <a:lnTo>
                    <a:pt x="574146" y="52917"/>
                  </a:lnTo>
                  <a:lnTo>
                    <a:pt x="574146" y="50271"/>
                  </a:lnTo>
                  <a:lnTo>
                    <a:pt x="576791" y="47625"/>
                  </a:lnTo>
                  <a:lnTo>
                    <a:pt x="576791" y="44980"/>
                  </a:lnTo>
                  <a:lnTo>
                    <a:pt x="579437" y="42334"/>
                  </a:lnTo>
                  <a:close/>
                  <a:moveTo>
                    <a:pt x="10583" y="0"/>
                  </a:moveTo>
                  <a:lnTo>
                    <a:pt x="13229" y="0"/>
                  </a:lnTo>
                  <a:lnTo>
                    <a:pt x="23812" y="5292"/>
                  </a:lnTo>
                  <a:lnTo>
                    <a:pt x="34396" y="10583"/>
                  </a:lnTo>
                  <a:lnTo>
                    <a:pt x="42333" y="13229"/>
                  </a:lnTo>
                  <a:lnTo>
                    <a:pt x="47625" y="13229"/>
                  </a:lnTo>
                  <a:lnTo>
                    <a:pt x="55562" y="10583"/>
                  </a:lnTo>
                  <a:lnTo>
                    <a:pt x="60854" y="10583"/>
                  </a:lnTo>
                  <a:lnTo>
                    <a:pt x="63500" y="10583"/>
                  </a:lnTo>
                  <a:lnTo>
                    <a:pt x="68791" y="13229"/>
                  </a:lnTo>
                  <a:lnTo>
                    <a:pt x="71437" y="13229"/>
                  </a:lnTo>
                  <a:lnTo>
                    <a:pt x="74083" y="15875"/>
                  </a:lnTo>
                  <a:lnTo>
                    <a:pt x="76729" y="21167"/>
                  </a:lnTo>
                  <a:lnTo>
                    <a:pt x="79375" y="29104"/>
                  </a:lnTo>
                  <a:lnTo>
                    <a:pt x="82021" y="31750"/>
                  </a:lnTo>
                  <a:lnTo>
                    <a:pt x="87312" y="34396"/>
                  </a:lnTo>
                  <a:lnTo>
                    <a:pt x="89958" y="37042"/>
                  </a:lnTo>
                  <a:lnTo>
                    <a:pt x="92604" y="39687"/>
                  </a:lnTo>
                  <a:lnTo>
                    <a:pt x="92604" y="44979"/>
                  </a:lnTo>
                  <a:lnTo>
                    <a:pt x="89958" y="47625"/>
                  </a:lnTo>
                  <a:lnTo>
                    <a:pt x="97895" y="52917"/>
                  </a:lnTo>
                  <a:lnTo>
                    <a:pt x="105833" y="55562"/>
                  </a:lnTo>
                  <a:lnTo>
                    <a:pt x="105833" y="58208"/>
                  </a:lnTo>
                  <a:lnTo>
                    <a:pt x="108479" y="60854"/>
                  </a:lnTo>
                  <a:lnTo>
                    <a:pt x="116416" y="63500"/>
                  </a:lnTo>
                  <a:lnTo>
                    <a:pt x="129645" y="71437"/>
                  </a:lnTo>
                  <a:lnTo>
                    <a:pt x="137583" y="79375"/>
                  </a:lnTo>
                  <a:lnTo>
                    <a:pt x="140229" y="87312"/>
                  </a:lnTo>
                  <a:lnTo>
                    <a:pt x="142875" y="92604"/>
                  </a:lnTo>
                  <a:lnTo>
                    <a:pt x="145520" y="92604"/>
                  </a:lnTo>
                  <a:lnTo>
                    <a:pt x="148166" y="95250"/>
                  </a:lnTo>
                  <a:lnTo>
                    <a:pt x="150812" y="103187"/>
                  </a:lnTo>
                  <a:lnTo>
                    <a:pt x="153458" y="108479"/>
                  </a:lnTo>
                  <a:lnTo>
                    <a:pt x="158750" y="108479"/>
                  </a:lnTo>
                  <a:lnTo>
                    <a:pt x="161395" y="113771"/>
                  </a:lnTo>
                  <a:lnTo>
                    <a:pt x="169333" y="124354"/>
                  </a:lnTo>
                  <a:lnTo>
                    <a:pt x="169333" y="119062"/>
                  </a:lnTo>
                  <a:lnTo>
                    <a:pt x="166687" y="113771"/>
                  </a:lnTo>
                  <a:lnTo>
                    <a:pt x="166687" y="111125"/>
                  </a:lnTo>
                  <a:lnTo>
                    <a:pt x="169333" y="111125"/>
                  </a:lnTo>
                  <a:lnTo>
                    <a:pt x="171979" y="111125"/>
                  </a:lnTo>
                  <a:lnTo>
                    <a:pt x="174625" y="113771"/>
                  </a:lnTo>
                  <a:lnTo>
                    <a:pt x="177270" y="119062"/>
                  </a:lnTo>
                  <a:lnTo>
                    <a:pt x="179916" y="124354"/>
                  </a:lnTo>
                  <a:lnTo>
                    <a:pt x="182562" y="127000"/>
                  </a:lnTo>
                  <a:lnTo>
                    <a:pt x="185208" y="127000"/>
                  </a:lnTo>
                  <a:lnTo>
                    <a:pt x="190500" y="127000"/>
                  </a:lnTo>
                  <a:lnTo>
                    <a:pt x="193145" y="129646"/>
                  </a:lnTo>
                  <a:lnTo>
                    <a:pt x="201083" y="142875"/>
                  </a:lnTo>
                  <a:lnTo>
                    <a:pt x="209020" y="156104"/>
                  </a:lnTo>
                  <a:lnTo>
                    <a:pt x="211666" y="158750"/>
                  </a:lnTo>
                  <a:lnTo>
                    <a:pt x="216958" y="161396"/>
                  </a:lnTo>
                  <a:lnTo>
                    <a:pt x="222250" y="164042"/>
                  </a:lnTo>
                  <a:lnTo>
                    <a:pt x="227541" y="166687"/>
                  </a:lnTo>
                  <a:lnTo>
                    <a:pt x="230187" y="171979"/>
                  </a:lnTo>
                  <a:lnTo>
                    <a:pt x="230187" y="174625"/>
                  </a:lnTo>
                  <a:lnTo>
                    <a:pt x="219604" y="179917"/>
                  </a:lnTo>
                  <a:lnTo>
                    <a:pt x="211666" y="185208"/>
                  </a:lnTo>
                  <a:lnTo>
                    <a:pt x="232833" y="177271"/>
                  </a:lnTo>
                  <a:lnTo>
                    <a:pt x="238125" y="174625"/>
                  </a:lnTo>
                  <a:lnTo>
                    <a:pt x="240770" y="174625"/>
                  </a:lnTo>
                  <a:lnTo>
                    <a:pt x="246062" y="177271"/>
                  </a:lnTo>
                  <a:lnTo>
                    <a:pt x="251354" y="182562"/>
                  </a:lnTo>
                  <a:lnTo>
                    <a:pt x="253999" y="185208"/>
                  </a:lnTo>
                  <a:lnTo>
                    <a:pt x="251354" y="187854"/>
                  </a:lnTo>
                  <a:lnTo>
                    <a:pt x="240770" y="193146"/>
                  </a:lnTo>
                  <a:lnTo>
                    <a:pt x="232833" y="198437"/>
                  </a:lnTo>
                  <a:lnTo>
                    <a:pt x="230187" y="198437"/>
                  </a:lnTo>
                  <a:lnTo>
                    <a:pt x="232833" y="201083"/>
                  </a:lnTo>
                  <a:lnTo>
                    <a:pt x="238125" y="203729"/>
                  </a:lnTo>
                  <a:lnTo>
                    <a:pt x="238125" y="206375"/>
                  </a:lnTo>
                  <a:lnTo>
                    <a:pt x="238125" y="209021"/>
                  </a:lnTo>
                  <a:lnTo>
                    <a:pt x="238125" y="214312"/>
                  </a:lnTo>
                  <a:lnTo>
                    <a:pt x="238125" y="216958"/>
                  </a:lnTo>
                  <a:lnTo>
                    <a:pt x="243416" y="219604"/>
                  </a:lnTo>
                  <a:lnTo>
                    <a:pt x="248708" y="224896"/>
                  </a:lnTo>
                  <a:lnTo>
                    <a:pt x="251354" y="224896"/>
                  </a:lnTo>
                  <a:lnTo>
                    <a:pt x="259291" y="224896"/>
                  </a:lnTo>
                  <a:lnTo>
                    <a:pt x="264583" y="224896"/>
                  </a:lnTo>
                  <a:lnTo>
                    <a:pt x="267229" y="224896"/>
                  </a:lnTo>
                  <a:lnTo>
                    <a:pt x="269874" y="232833"/>
                  </a:lnTo>
                  <a:lnTo>
                    <a:pt x="267229" y="240771"/>
                  </a:lnTo>
                  <a:lnTo>
                    <a:pt x="267229" y="248708"/>
                  </a:lnTo>
                  <a:lnTo>
                    <a:pt x="269874" y="251354"/>
                  </a:lnTo>
                  <a:lnTo>
                    <a:pt x="275166" y="251354"/>
                  </a:lnTo>
                  <a:lnTo>
                    <a:pt x="277812" y="251354"/>
                  </a:lnTo>
                  <a:lnTo>
                    <a:pt x="280458" y="251354"/>
                  </a:lnTo>
                  <a:lnTo>
                    <a:pt x="280458" y="256646"/>
                  </a:lnTo>
                  <a:lnTo>
                    <a:pt x="277812" y="267229"/>
                  </a:lnTo>
                  <a:lnTo>
                    <a:pt x="277812" y="275167"/>
                  </a:lnTo>
                  <a:lnTo>
                    <a:pt x="280458" y="267229"/>
                  </a:lnTo>
                  <a:lnTo>
                    <a:pt x="280458" y="264583"/>
                  </a:lnTo>
                  <a:lnTo>
                    <a:pt x="291041" y="267229"/>
                  </a:lnTo>
                  <a:lnTo>
                    <a:pt x="298979" y="269875"/>
                  </a:lnTo>
                  <a:lnTo>
                    <a:pt x="301624" y="275167"/>
                  </a:lnTo>
                  <a:lnTo>
                    <a:pt x="301624" y="277812"/>
                  </a:lnTo>
                  <a:lnTo>
                    <a:pt x="304270" y="277812"/>
                  </a:lnTo>
                  <a:lnTo>
                    <a:pt x="306916" y="280458"/>
                  </a:lnTo>
                  <a:lnTo>
                    <a:pt x="309562" y="283104"/>
                  </a:lnTo>
                  <a:lnTo>
                    <a:pt x="306916" y="283104"/>
                  </a:lnTo>
                  <a:lnTo>
                    <a:pt x="309562" y="285750"/>
                  </a:lnTo>
                  <a:lnTo>
                    <a:pt x="312208" y="285750"/>
                  </a:lnTo>
                  <a:lnTo>
                    <a:pt x="312208" y="288396"/>
                  </a:lnTo>
                  <a:lnTo>
                    <a:pt x="306916" y="291042"/>
                  </a:lnTo>
                  <a:lnTo>
                    <a:pt x="304270" y="296333"/>
                  </a:lnTo>
                  <a:lnTo>
                    <a:pt x="304270" y="298979"/>
                  </a:lnTo>
                  <a:lnTo>
                    <a:pt x="304270" y="304271"/>
                  </a:lnTo>
                  <a:lnTo>
                    <a:pt x="306916" y="306917"/>
                  </a:lnTo>
                  <a:lnTo>
                    <a:pt x="306916" y="309562"/>
                  </a:lnTo>
                  <a:lnTo>
                    <a:pt x="304270" y="317500"/>
                  </a:lnTo>
                  <a:lnTo>
                    <a:pt x="301624" y="328083"/>
                  </a:lnTo>
                  <a:lnTo>
                    <a:pt x="301624" y="330729"/>
                  </a:lnTo>
                  <a:lnTo>
                    <a:pt x="304270" y="336021"/>
                  </a:lnTo>
                  <a:lnTo>
                    <a:pt x="301624" y="351896"/>
                  </a:lnTo>
                  <a:lnTo>
                    <a:pt x="304270" y="378354"/>
                  </a:lnTo>
                  <a:lnTo>
                    <a:pt x="304270" y="381000"/>
                  </a:lnTo>
                  <a:lnTo>
                    <a:pt x="301624" y="383646"/>
                  </a:lnTo>
                  <a:lnTo>
                    <a:pt x="296333" y="378354"/>
                  </a:lnTo>
                  <a:lnTo>
                    <a:pt x="293687" y="373063"/>
                  </a:lnTo>
                  <a:lnTo>
                    <a:pt x="291041" y="373063"/>
                  </a:lnTo>
                  <a:lnTo>
                    <a:pt x="291041" y="375708"/>
                  </a:lnTo>
                  <a:lnTo>
                    <a:pt x="291041" y="381000"/>
                  </a:lnTo>
                  <a:lnTo>
                    <a:pt x="285749" y="381000"/>
                  </a:lnTo>
                  <a:lnTo>
                    <a:pt x="280458" y="378354"/>
                  </a:lnTo>
                  <a:lnTo>
                    <a:pt x="275166" y="375708"/>
                  </a:lnTo>
                  <a:lnTo>
                    <a:pt x="272520" y="375708"/>
                  </a:lnTo>
                  <a:lnTo>
                    <a:pt x="269874" y="375708"/>
                  </a:lnTo>
                  <a:lnTo>
                    <a:pt x="267229" y="373063"/>
                  </a:lnTo>
                  <a:lnTo>
                    <a:pt x="264583" y="373063"/>
                  </a:lnTo>
                  <a:lnTo>
                    <a:pt x="267229" y="378354"/>
                  </a:lnTo>
                  <a:lnTo>
                    <a:pt x="272520" y="381000"/>
                  </a:lnTo>
                  <a:lnTo>
                    <a:pt x="269874" y="383646"/>
                  </a:lnTo>
                  <a:lnTo>
                    <a:pt x="264583" y="378354"/>
                  </a:lnTo>
                  <a:lnTo>
                    <a:pt x="261937" y="373063"/>
                  </a:lnTo>
                  <a:lnTo>
                    <a:pt x="259291" y="367771"/>
                  </a:lnTo>
                  <a:lnTo>
                    <a:pt x="253999" y="365125"/>
                  </a:lnTo>
                  <a:lnTo>
                    <a:pt x="251354" y="359833"/>
                  </a:lnTo>
                  <a:lnTo>
                    <a:pt x="248708" y="357188"/>
                  </a:lnTo>
                  <a:lnTo>
                    <a:pt x="246062" y="351896"/>
                  </a:lnTo>
                  <a:lnTo>
                    <a:pt x="240770" y="351896"/>
                  </a:lnTo>
                  <a:lnTo>
                    <a:pt x="232833" y="349250"/>
                  </a:lnTo>
                  <a:lnTo>
                    <a:pt x="227541" y="341313"/>
                  </a:lnTo>
                  <a:lnTo>
                    <a:pt x="222250" y="333375"/>
                  </a:lnTo>
                  <a:lnTo>
                    <a:pt x="211666" y="325437"/>
                  </a:lnTo>
                  <a:lnTo>
                    <a:pt x="206375" y="317500"/>
                  </a:lnTo>
                  <a:lnTo>
                    <a:pt x="201083" y="312208"/>
                  </a:lnTo>
                  <a:lnTo>
                    <a:pt x="198437" y="304271"/>
                  </a:lnTo>
                  <a:lnTo>
                    <a:pt x="195791" y="296333"/>
                  </a:lnTo>
                  <a:lnTo>
                    <a:pt x="193145" y="293687"/>
                  </a:lnTo>
                  <a:lnTo>
                    <a:pt x="187854" y="291042"/>
                  </a:lnTo>
                  <a:lnTo>
                    <a:pt x="177270" y="285750"/>
                  </a:lnTo>
                  <a:lnTo>
                    <a:pt x="174625" y="277812"/>
                  </a:lnTo>
                  <a:lnTo>
                    <a:pt x="169333" y="269875"/>
                  </a:lnTo>
                  <a:lnTo>
                    <a:pt x="164041" y="259292"/>
                  </a:lnTo>
                  <a:lnTo>
                    <a:pt x="161395" y="256646"/>
                  </a:lnTo>
                  <a:lnTo>
                    <a:pt x="161395" y="254000"/>
                  </a:lnTo>
                  <a:lnTo>
                    <a:pt x="164041" y="251354"/>
                  </a:lnTo>
                  <a:lnTo>
                    <a:pt x="158750" y="240771"/>
                  </a:lnTo>
                  <a:lnTo>
                    <a:pt x="142875" y="216958"/>
                  </a:lnTo>
                  <a:lnTo>
                    <a:pt x="137583" y="198437"/>
                  </a:lnTo>
                  <a:lnTo>
                    <a:pt x="134937" y="190500"/>
                  </a:lnTo>
                  <a:lnTo>
                    <a:pt x="134937" y="187854"/>
                  </a:lnTo>
                  <a:lnTo>
                    <a:pt x="132291" y="185208"/>
                  </a:lnTo>
                  <a:lnTo>
                    <a:pt x="124354" y="182562"/>
                  </a:lnTo>
                  <a:lnTo>
                    <a:pt x="119062" y="179917"/>
                  </a:lnTo>
                  <a:lnTo>
                    <a:pt x="116416" y="179917"/>
                  </a:lnTo>
                  <a:lnTo>
                    <a:pt x="116416" y="174625"/>
                  </a:lnTo>
                  <a:lnTo>
                    <a:pt x="116416" y="169333"/>
                  </a:lnTo>
                  <a:lnTo>
                    <a:pt x="113770" y="166687"/>
                  </a:lnTo>
                  <a:lnTo>
                    <a:pt x="113770" y="161396"/>
                  </a:lnTo>
                  <a:lnTo>
                    <a:pt x="113770" y="156104"/>
                  </a:lnTo>
                  <a:lnTo>
                    <a:pt x="113770" y="150812"/>
                  </a:lnTo>
                  <a:lnTo>
                    <a:pt x="111125" y="145521"/>
                  </a:lnTo>
                  <a:lnTo>
                    <a:pt x="108479" y="137583"/>
                  </a:lnTo>
                  <a:lnTo>
                    <a:pt x="111125" y="132292"/>
                  </a:lnTo>
                  <a:lnTo>
                    <a:pt x="92604" y="116417"/>
                  </a:lnTo>
                  <a:lnTo>
                    <a:pt x="84666" y="113771"/>
                  </a:lnTo>
                  <a:lnTo>
                    <a:pt x="79375" y="111125"/>
                  </a:lnTo>
                  <a:lnTo>
                    <a:pt x="76729" y="113771"/>
                  </a:lnTo>
                  <a:lnTo>
                    <a:pt x="74083" y="111125"/>
                  </a:lnTo>
                  <a:lnTo>
                    <a:pt x="76729" y="100542"/>
                  </a:lnTo>
                  <a:lnTo>
                    <a:pt x="74083" y="95250"/>
                  </a:lnTo>
                  <a:lnTo>
                    <a:pt x="71437" y="89958"/>
                  </a:lnTo>
                  <a:lnTo>
                    <a:pt x="68791" y="87312"/>
                  </a:lnTo>
                  <a:lnTo>
                    <a:pt x="66146" y="82021"/>
                  </a:lnTo>
                  <a:lnTo>
                    <a:pt x="63500" y="76729"/>
                  </a:lnTo>
                  <a:lnTo>
                    <a:pt x="60854" y="74083"/>
                  </a:lnTo>
                  <a:lnTo>
                    <a:pt x="55562" y="71437"/>
                  </a:lnTo>
                  <a:lnTo>
                    <a:pt x="50271" y="66146"/>
                  </a:lnTo>
                  <a:lnTo>
                    <a:pt x="47625" y="60854"/>
                  </a:lnTo>
                  <a:lnTo>
                    <a:pt x="44979" y="60854"/>
                  </a:lnTo>
                  <a:lnTo>
                    <a:pt x="39687" y="60854"/>
                  </a:lnTo>
                  <a:lnTo>
                    <a:pt x="34396" y="60854"/>
                  </a:lnTo>
                  <a:lnTo>
                    <a:pt x="34396" y="52917"/>
                  </a:lnTo>
                  <a:lnTo>
                    <a:pt x="31750" y="47625"/>
                  </a:lnTo>
                  <a:lnTo>
                    <a:pt x="29104" y="44979"/>
                  </a:lnTo>
                  <a:lnTo>
                    <a:pt x="23812" y="37042"/>
                  </a:lnTo>
                  <a:lnTo>
                    <a:pt x="15875" y="31750"/>
                  </a:lnTo>
                  <a:lnTo>
                    <a:pt x="10583" y="23812"/>
                  </a:lnTo>
                  <a:lnTo>
                    <a:pt x="7937" y="15875"/>
                  </a:lnTo>
                  <a:lnTo>
                    <a:pt x="2646" y="10583"/>
                  </a:lnTo>
                  <a:lnTo>
                    <a:pt x="0" y="10583"/>
                  </a:lnTo>
                  <a:lnTo>
                    <a:pt x="5291" y="2646"/>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8" name="Iraq"/>
            <p:cNvSpPr>
              <a:spLocks/>
            </p:cNvSpPr>
            <p:nvPr/>
          </p:nvSpPr>
          <p:spPr bwMode="auto">
            <a:xfrm>
              <a:off x="5158018" y="2385219"/>
              <a:ext cx="288396" cy="246063"/>
            </a:xfrm>
            <a:custGeom>
              <a:avLst/>
              <a:gdLst/>
              <a:ahLst/>
              <a:cxnLst>
                <a:cxn ang="0">
                  <a:pos x="34" y="126"/>
                </a:cxn>
                <a:cxn ang="0">
                  <a:pos x="72" y="142"/>
                </a:cxn>
                <a:cxn ang="0">
                  <a:pos x="94" y="158"/>
                </a:cxn>
                <a:cxn ang="0">
                  <a:pos x="120" y="180"/>
                </a:cxn>
                <a:cxn ang="0">
                  <a:pos x="172" y="186"/>
                </a:cxn>
                <a:cxn ang="0">
                  <a:pos x="182" y="180"/>
                </a:cxn>
                <a:cxn ang="0">
                  <a:pos x="192" y="168"/>
                </a:cxn>
                <a:cxn ang="0">
                  <a:pos x="202" y="172"/>
                </a:cxn>
                <a:cxn ang="0">
                  <a:pos x="208" y="170"/>
                </a:cxn>
                <a:cxn ang="0">
                  <a:pos x="214" y="176"/>
                </a:cxn>
                <a:cxn ang="0">
                  <a:pos x="218" y="172"/>
                </a:cxn>
                <a:cxn ang="0">
                  <a:pos x="212" y="160"/>
                </a:cxn>
                <a:cxn ang="0">
                  <a:pos x="204" y="158"/>
                </a:cxn>
                <a:cxn ang="0">
                  <a:pos x="198" y="146"/>
                </a:cxn>
                <a:cxn ang="0">
                  <a:pos x="196" y="136"/>
                </a:cxn>
                <a:cxn ang="0">
                  <a:pos x="182" y="116"/>
                </a:cxn>
                <a:cxn ang="0">
                  <a:pos x="172" y="108"/>
                </a:cxn>
                <a:cxn ang="0">
                  <a:pos x="156" y="100"/>
                </a:cxn>
                <a:cxn ang="0">
                  <a:pos x="148" y="94"/>
                </a:cxn>
                <a:cxn ang="0">
                  <a:pos x="148" y="86"/>
                </a:cxn>
                <a:cxn ang="0">
                  <a:pos x="138" y="78"/>
                </a:cxn>
                <a:cxn ang="0">
                  <a:pos x="142" y="74"/>
                </a:cxn>
                <a:cxn ang="0">
                  <a:pos x="138" y="68"/>
                </a:cxn>
                <a:cxn ang="0">
                  <a:pos x="146" y="50"/>
                </a:cxn>
                <a:cxn ang="0">
                  <a:pos x="144" y="44"/>
                </a:cxn>
                <a:cxn ang="0">
                  <a:pos x="148" y="36"/>
                </a:cxn>
                <a:cxn ang="0">
                  <a:pos x="148" y="32"/>
                </a:cxn>
                <a:cxn ang="0">
                  <a:pos x="134" y="32"/>
                </a:cxn>
                <a:cxn ang="0">
                  <a:pos x="128" y="22"/>
                </a:cxn>
                <a:cxn ang="0">
                  <a:pos x="128" y="20"/>
                </a:cxn>
                <a:cxn ang="0">
                  <a:pos x="124" y="18"/>
                </a:cxn>
                <a:cxn ang="0">
                  <a:pos x="116" y="8"/>
                </a:cxn>
                <a:cxn ang="0">
                  <a:pos x="106" y="10"/>
                </a:cxn>
                <a:cxn ang="0">
                  <a:pos x="98" y="6"/>
                </a:cxn>
                <a:cxn ang="0">
                  <a:pos x="90" y="4"/>
                </a:cxn>
                <a:cxn ang="0">
                  <a:pos x="76" y="0"/>
                </a:cxn>
                <a:cxn ang="0">
                  <a:pos x="62" y="6"/>
                </a:cxn>
                <a:cxn ang="0">
                  <a:pos x="50" y="16"/>
                </a:cxn>
                <a:cxn ang="0">
                  <a:pos x="46" y="26"/>
                </a:cxn>
                <a:cxn ang="0">
                  <a:pos x="48" y="42"/>
                </a:cxn>
                <a:cxn ang="0">
                  <a:pos x="50" y="58"/>
                </a:cxn>
                <a:cxn ang="0">
                  <a:pos x="44" y="64"/>
                </a:cxn>
                <a:cxn ang="0">
                  <a:pos x="8" y="110"/>
                </a:cxn>
                <a:cxn ang="0">
                  <a:pos x="12" y="124"/>
                </a:cxn>
              </a:cxnLst>
              <a:rect l="0" t="0" r="r" b="b"/>
              <a:pathLst>
                <a:path w="218" h="186">
                  <a:moveTo>
                    <a:pt x="12" y="124"/>
                  </a:moveTo>
                  <a:lnTo>
                    <a:pt x="12" y="124"/>
                  </a:lnTo>
                  <a:lnTo>
                    <a:pt x="34" y="126"/>
                  </a:lnTo>
                  <a:lnTo>
                    <a:pt x="46" y="128"/>
                  </a:lnTo>
                  <a:lnTo>
                    <a:pt x="72" y="142"/>
                  </a:lnTo>
                  <a:lnTo>
                    <a:pt x="72" y="142"/>
                  </a:lnTo>
                  <a:lnTo>
                    <a:pt x="84" y="146"/>
                  </a:lnTo>
                  <a:lnTo>
                    <a:pt x="88" y="150"/>
                  </a:lnTo>
                  <a:lnTo>
                    <a:pt x="94" y="158"/>
                  </a:lnTo>
                  <a:lnTo>
                    <a:pt x="108" y="170"/>
                  </a:lnTo>
                  <a:lnTo>
                    <a:pt x="108" y="170"/>
                  </a:lnTo>
                  <a:lnTo>
                    <a:pt x="120" y="180"/>
                  </a:lnTo>
                  <a:lnTo>
                    <a:pt x="132" y="184"/>
                  </a:lnTo>
                  <a:lnTo>
                    <a:pt x="148" y="186"/>
                  </a:lnTo>
                  <a:lnTo>
                    <a:pt x="172" y="186"/>
                  </a:lnTo>
                  <a:lnTo>
                    <a:pt x="172" y="186"/>
                  </a:lnTo>
                  <a:lnTo>
                    <a:pt x="178" y="184"/>
                  </a:lnTo>
                  <a:lnTo>
                    <a:pt x="182" y="180"/>
                  </a:lnTo>
                  <a:lnTo>
                    <a:pt x="186" y="172"/>
                  </a:lnTo>
                  <a:lnTo>
                    <a:pt x="188" y="170"/>
                  </a:lnTo>
                  <a:lnTo>
                    <a:pt x="192" y="168"/>
                  </a:lnTo>
                  <a:lnTo>
                    <a:pt x="196" y="170"/>
                  </a:lnTo>
                  <a:lnTo>
                    <a:pt x="202" y="172"/>
                  </a:lnTo>
                  <a:lnTo>
                    <a:pt x="202" y="172"/>
                  </a:lnTo>
                  <a:lnTo>
                    <a:pt x="204" y="168"/>
                  </a:lnTo>
                  <a:lnTo>
                    <a:pt x="206" y="168"/>
                  </a:lnTo>
                  <a:lnTo>
                    <a:pt x="208" y="170"/>
                  </a:lnTo>
                  <a:lnTo>
                    <a:pt x="208" y="170"/>
                  </a:lnTo>
                  <a:lnTo>
                    <a:pt x="212" y="176"/>
                  </a:lnTo>
                  <a:lnTo>
                    <a:pt x="214" y="176"/>
                  </a:lnTo>
                  <a:lnTo>
                    <a:pt x="214" y="174"/>
                  </a:lnTo>
                  <a:lnTo>
                    <a:pt x="218" y="172"/>
                  </a:lnTo>
                  <a:lnTo>
                    <a:pt x="218" y="172"/>
                  </a:lnTo>
                  <a:lnTo>
                    <a:pt x="214" y="166"/>
                  </a:lnTo>
                  <a:lnTo>
                    <a:pt x="212" y="162"/>
                  </a:lnTo>
                  <a:lnTo>
                    <a:pt x="212" y="160"/>
                  </a:lnTo>
                  <a:lnTo>
                    <a:pt x="208" y="158"/>
                  </a:lnTo>
                  <a:lnTo>
                    <a:pt x="208" y="158"/>
                  </a:lnTo>
                  <a:lnTo>
                    <a:pt x="204" y="158"/>
                  </a:lnTo>
                  <a:lnTo>
                    <a:pt x="202" y="154"/>
                  </a:lnTo>
                  <a:lnTo>
                    <a:pt x="200" y="150"/>
                  </a:lnTo>
                  <a:lnTo>
                    <a:pt x="198" y="146"/>
                  </a:lnTo>
                  <a:lnTo>
                    <a:pt x="198" y="146"/>
                  </a:lnTo>
                  <a:lnTo>
                    <a:pt x="198" y="142"/>
                  </a:lnTo>
                  <a:lnTo>
                    <a:pt x="196" y="136"/>
                  </a:lnTo>
                  <a:lnTo>
                    <a:pt x="188" y="120"/>
                  </a:lnTo>
                  <a:lnTo>
                    <a:pt x="188" y="120"/>
                  </a:lnTo>
                  <a:lnTo>
                    <a:pt x="182" y="116"/>
                  </a:lnTo>
                  <a:lnTo>
                    <a:pt x="180" y="114"/>
                  </a:lnTo>
                  <a:lnTo>
                    <a:pt x="178" y="112"/>
                  </a:lnTo>
                  <a:lnTo>
                    <a:pt x="172" y="108"/>
                  </a:lnTo>
                  <a:lnTo>
                    <a:pt x="172" y="108"/>
                  </a:lnTo>
                  <a:lnTo>
                    <a:pt x="164" y="102"/>
                  </a:lnTo>
                  <a:lnTo>
                    <a:pt x="156" y="100"/>
                  </a:lnTo>
                  <a:lnTo>
                    <a:pt x="150" y="98"/>
                  </a:lnTo>
                  <a:lnTo>
                    <a:pt x="148" y="96"/>
                  </a:lnTo>
                  <a:lnTo>
                    <a:pt x="148" y="94"/>
                  </a:lnTo>
                  <a:lnTo>
                    <a:pt x="148" y="94"/>
                  </a:lnTo>
                  <a:lnTo>
                    <a:pt x="148" y="90"/>
                  </a:lnTo>
                  <a:lnTo>
                    <a:pt x="148" y="86"/>
                  </a:lnTo>
                  <a:lnTo>
                    <a:pt x="142" y="82"/>
                  </a:lnTo>
                  <a:lnTo>
                    <a:pt x="138" y="80"/>
                  </a:lnTo>
                  <a:lnTo>
                    <a:pt x="138" y="78"/>
                  </a:lnTo>
                  <a:lnTo>
                    <a:pt x="140" y="76"/>
                  </a:lnTo>
                  <a:lnTo>
                    <a:pt x="140" y="76"/>
                  </a:lnTo>
                  <a:lnTo>
                    <a:pt x="142" y="74"/>
                  </a:lnTo>
                  <a:lnTo>
                    <a:pt x="140" y="74"/>
                  </a:lnTo>
                  <a:lnTo>
                    <a:pt x="138" y="72"/>
                  </a:lnTo>
                  <a:lnTo>
                    <a:pt x="138" y="68"/>
                  </a:lnTo>
                  <a:lnTo>
                    <a:pt x="138" y="68"/>
                  </a:lnTo>
                  <a:lnTo>
                    <a:pt x="144" y="56"/>
                  </a:lnTo>
                  <a:lnTo>
                    <a:pt x="146" y="50"/>
                  </a:lnTo>
                  <a:lnTo>
                    <a:pt x="144" y="48"/>
                  </a:lnTo>
                  <a:lnTo>
                    <a:pt x="144" y="48"/>
                  </a:lnTo>
                  <a:lnTo>
                    <a:pt x="144" y="44"/>
                  </a:lnTo>
                  <a:lnTo>
                    <a:pt x="146" y="42"/>
                  </a:lnTo>
                  <a:lnTo>
                    <a:pt x="146" y="40"/>
                  </a:lnTo>
                  <a:lnTo>
                    <a:pt x="148" y="36"/>
                  </a:lnTo>
                  <a:lnTo>
                    <a:pt x="148" y="36"/>
                  </a:lnTo>
                  <a:lnTo>
                    <a:pt x="148" y="32"/>
                  </a:lnTo>
                  <a:lnTo>
                    <a:pt x="148" y="32"/>
                  </a:lnTo>
                  <a:lnTo>
                    <a:pt x="140" y="34"/>
                  </a:lnTo>
                  <a:lnTo>
                    <a:pt x="140" y="34"/>
                  </a:lnTo>
                  <a:lnTo>
                    <a:pt x="134" y="32"/>
                  </a:lnTo>
                  <a:lnTo>
                    <a:pt x="132" y="28"/>
                  </a:lnTo>
                  <a:lnTo>
                    <a:pt x="130" y="26"/>
                  </a:lnTo>
                  <a:lnTo>
                    <a:pt x="128" y="22"/>
                  </a:lnTo>
                  <a:lnTo>
                    <a:pt x="128" y="22"/>
                  </a:lnTo>
                  <a:lnTo>
                    <a:pt x="126" y="22"/>
                  </a:lnTo>
                  <a:lnTo>
                    <a:pt x="128" y="20"/>
                  </a:lnTo>
                  <a:lnTo>
                    <a:pt x="128" y="20"/>
                  </a:lnTo>
                  <a:lnTo>
                    <a:pt x="124" y="18"/>
                  </a:lnTo>
                  <a:lnTo>
                    <a:pt x="124" y="18"/>
                  </a:lnTo>
                  <a:lnTo>
                    <a:pt x="122" y="14"/>
                  </a:lnTo>
                  <a:lnTo>
                    <a:pt x="120" y="10"/>
                  </a:lnTo>
                  <a:lnTo>
                    <a:pt x="116" y="8"/>
                  </a:lnTo>
                  <a:lnTo>
                    <a:pt x="116" y="8"/>
                  </a:lnTo>
                  <a:lnTo>
                    <a:pt x="108" y="12"/>
                  </a:lnTo>
                  <a:lnTo>
                    <a:pt x="106" y="10"/>
                  </a:lnTo>
                  <a:lnTo>
                    <a:pt x="104" y="6"/>
                  </a:lnTo>
                  <a:lnTo>
                    <a:pt x="102" y="6"/>
                  </a:lnTo>
                  <a:lnTo>
                    <a:pt x="98" y="6"/>
                  </a:lnTo>
                  <a:lnTo>
                    <a:pt x="98" y="6"/>
                  </a:lnTo>
                  <a:lnTo>
                    <a:pt x="94" y="4"/>
                  </a:lnTo>
                  <a:lnTo>
                    <a:pt x="90" y="4"/>
                  </a:lnTo>
                  <a:lnTo>
                    <a:pt x="86" y="2"/>
                  </a:lnTo>
                  <a:lnTo>
                    <a:pt x="76" y="0"/>
                  </a:lnTo>
                  <a:lnTo>
                    <a:pt x="76" y="0"/>
                  </a:lnTo>
                  <a:lnTo>
                    <a:pt x="70" y="0"/>
                  </a:lnTo>
                  <a:lnTo>
                    <a:pt x="66" y="2"/>
                  </a:lnTo>
                  <a:lnTo>
                    <a:pt x="62" y="6"/>
                  </a:lnTo>
                  <a:lnTo>
                    <a:pt x="62" y="6"/>
                  </a:lnTo>
                  <a:lnTo>
                    <a:pt x="56" y="12"/>
                  </a:lnTo>
                  <a:lnTo>
                    <a:pt x="50" y="16"/>
                  </a:lnTo>
                  <a:lnTo>
                    <a:pt x="50" y="16"/>
                  </a:lnTo>
                  <a:lnTo>
                    <a:pt x="46" y="22"/>
                  </a:lnTo>
                  <a:lnTo>
                    <a:pt x="46" y="26"/>
                  </a:lnTo>
                  <a:lnTo>
                    <a:pt x="48" y="32"/>
                  </a:lnTo>
                  <a:lnTo>
                    <a:pt x="50" y="36"/>
                  </a:lnTo>
                  <a:lnTo>
                    <a:pt x="48" y="42"/>
                  </a:lnTo>
                  <a:lnTo>
                    <a:pt x="48" y="42"/>
                  </a:lnTo>
                  <a:lnTo>
                    <a:pt x="48" y="52"/>
                  </a:lnTo>
                  <a:lnTo>
                    <a:pt x="50" y="58"/>
                  </a:lnTo>
                  <a:lnTo>
                    <a:pt x="50" y="60"/>
                  </a:lnTo>
                  <a:lnTo>
                    <a:pt x="44" y="64"/>
                  </a:lnTo>
                  <a:lnTo>
                    <a:pt x="44" y="64"/>
                  </a:lnTo>
                  <a:lnTo>
                    <a:pt x="0" y="92"/>
                  </a:lnTo>
                  <a:lnTo>
                    <a:pt x="0" y="92"/>
                  </a:lnTo>
                  <a:lnTo>
                    <a:pt x="8" y="110"/>
                  </a:lnTo>
                  <a:lnTo>
                    <a:pt x="10" y="118"/>
                  </a:lnTo>
                  <a:lnTo>
                    <a:pt x="12" y="124"/>
                  </a:lnTo>
                  <a:lnTo>
                    <a:pt x="12" y="124"/>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9" name="Ireland"/>
            <p:cNvSpPr>
              <a:spLocks/>
            </p:cNvSpPr>
            <p:nvPr/>
          </p:nvSpPr>
          <p:spPr bwMode="auto">
            <a:xfrm>
              <a:off x="3909184" y="1906323"/>
              <a:ext cx="100542" cy="92604"/>
            </a:xfrm>
            <a:custGeom>
              <a:avLst/>
              <a:gdLst/>
              <a:ahLst/>
              <a:cxnLst>
                <a:cxn ang="0">
                  <a:pos x="66" y="2"/>
                </a:cxn>
                <a:cxn ang="0">
                  <a:pos x="58" y="2"/>
                </a:cxn>
                <a:cxn ang="0">
                  <a:pos x="56" y="4"/>
                </a:cxn>
                <a:cxn ang="0">
                  <a:pos x="50" y="2"/>
                </a:cxn>
                <a:cxn ang="0">
                  <a:pos x="44" y="4"/>
                </a:cxn>
                <a:cxn ang="0">
                  <a:pos x="42" y="8"/>
                </a:cxn>
                <a:cxn ang="0">
                  <a:pos x="36" y="10"/>
                </a:cxn>
                <a:cxn ang="0">
                  <a:pos x="44" y="14"/>
                </a:cxn>
                <a:cxn ang="0">
                  <a:pos x="42" y="16"/>
                </a:cxn>
                <a:cxn ang="0">
                  <a:pos x="38" y="20"/>
                </a:cxn>
                <a:cxn ang="0">
                  <a:pos x="32" y="18"/>
                </a:cxn>
                <a:cxn ang="0">
                  <a:pos x="20" y="18"/>
                </a:cxn>
                <a:cxn ang="0">
                  <a:pos x="16" y="20"/>
                </a:cxn>
                <a:cxn ang="0">
                  <a:pos x="14" y="22"/>
                </a:cxn>
                <a:cxn ang="0">
                  <a:pos x="14" y="24"/>
                </a:cxn>
                <a:cxn ang="0">
                  <a:pos x="18" y="28"/>
                </a:cxn>
                <a:cxn ang="0">
                  <a:pos x="16" y="30"/>
                </a:cxn>
                <a:cxn ang="0">
                  <a:pos x="12" y="32"/>
                </a:cxn>
                <a:cxn ang="0">
                  <a:pos x="10" y="34"/>
                </a:cxn>
                <a:cxn ang="0">
                  <a:pos x="14" y="36"/>
                </a:cxn>
                <a:cxn ang="0">
                  <a:pos x="20" y="38"/>
                </a:cxn>
                <a:cxn ang="0">
                  <a:pos x="28" y="38"/>
                </a:cxn>
                <a:cxn ang="0">
                  <a:pos x="22" y="42"/>
                </a:cxn>
                <a:cxn ang="0">
                  <a:pos x="20" y="46"/>
                </a:cxn>
                <a:cxn ang="0">
                  <a:pos x="14" y="48"/>
                </a:cxn>
                <a:cxn ang="0">
                  <a:pos x="20" y="50"/>
                </a:cxn>
                <a:cxn ang="0">
                  <a:pos x="28" y="46"/>
                </a:cxn>
                <a:cxn ang="0">
                  <a:pos x="32" y="48"/>
                </a:cxn>
                <a:cxn ang="0">
                  <a:pos x="14" y="52"/>
                </a:cxn>
                <a:cxn ang="0">
                  <a:pos x="14" y="56"/>
                </a:cxn>
                <a:cxn ang="0">
                  <a:pos x="8" y="56"/>
                </a:cxn>
                <a:cxn ang="0">
                  <a:pos x="2" y="58"/>
                </a:cxn>
                <a:cxn ang="0">
                  <a:pos x="14" y="58"/>
                </a:cxn>
                <a:cxn ang="0">
                  <a:pos x="0" y="62"/>
                </a:cxn>
                <a:cxn ang="0">
                  <a:pos x="6" y="64"/>
                </a:cxn>
                <a:cxn ang="0">
                  <a:pos x="6" y="66"/>
                </a:cxn>
                <a:cxn ang="0">
                  <a:pos x="10" y="66"/>
                </a:cxn>
                <a:cxn ang="0">
                  <a:pos x="12" y="68"/>
                </a:cxn>
                <a:cxn ang="0">
                  <a:pos x="12" y="70"/>
                </a:cxn>
                <a:cxn ang="0">
                  <a:pos x="26" y="68"/>
                </a:cxn>
                <a:cxn ang="0">
                  <a:pos x="36" y="66"/>
                </a:cxn>
                <a:cxn ang="0">
                  <a:pos x="42" y="64"/>
                </a:cxn>
                <a:cxn ang="0">
                  <a:pos x="48" y="60"/>
                </a:cxn>
                <a:cxn ang="0">
                  <a:pos x="58" y="60"/>
                </a:cxn>
                <a:cxn ang="0">
                  <a:pos x="60" y="60"/>
                </a:cxn>
                <a:cxn ang="0">
                  <a:pos x="68" y="60"/>
                </a:cxn>
                <a:cxn ang="0">
                  <a:pos x="70" y="56"/>
                </a:cxn>
                <a:cxn ang="0">
                  <a:pos x="76" y="50"/>
                </a:cxn>
                <a:cxn ang="0">
                  <a:pos x="76" y="44"/>
                </a:cxn>
                <a:cxn ang="0">
                  <a:pos x="74" y="38"/>
                </a:cxn>
                <a:cxn ang="0">
                  <a:pos x="76" y="34"/>
                </a:cxn>
                <a:cxn ang="0">
                  <a:pos x="74" y="30"/>
                </a:cxn>
                <a:cxn ang="0">
                  <a:pos x="74" y="26"/>
                </a:cxn>
                <a:cxn ang="0">
                  <a:pos x="72" y="24"/>
                </a:cxn>
                <a:cxn ang="0">
                  <a:pos x="66" y="20"/>
                </a:cxn>
                <a:cxn ang="0">
                  <a:pos x="58" y="20"/>
                </a:cxn>
                <a:cxn ang="0">
                  <a:pos x="52" y="12"/>
                </a:cxn>
                <a:cxn ang="0">
                  <a:pos x="56" y="8"/>
                </a:cxn>
              </a:cxnLst>
              <a:rect l="0" t="0" r="r" b="b"/>
              <a:pathLst>
                <a:path w="76" h="70">
                  <a:moveTo>
                    <a:pt x="60" y="6"/>
                  </a:moveTo>
                  <a:lnTo>
                    <a:pt x="60" y="6"/>
                  </a:lnTo>
                  <a:lnTo>
                    <a:pt x="64" y="4"/>
                  </a:lnTo>
                  <a:lnTo>
                    <a:pt x="64" y="4"/>
                  </a:lnTo>
                  <a:lnTo>
                    <a:pt x="66" y="2"/>
                  </a:lnTo>
                  <a:lnTo>
                    <a:pt x="62" y="0"/>
                  </a:lnTo>
                  <a:lnTo>
                    <a:pt x="62" y="0"/>
                  </a:lnTo>
                  <a:lnTo>
                    <a:pt x="60" y="0"/>
                  </a:lnTo>
                  <a:lnTo>
                    <a:pt x="58" y="2"/>
                  </a:lnTo>
                  <a:lnTo>
                    <a:pt x="58" y="2"/>
                  </a:lnTo>
                  <a:lnTo>
                    <a:pt x="58" y="2"/>
                  </a:lnTo>
                  <a:lnTo>
                    <a:pt x="58" y="4"/>
                  </a:lnTo>
                  <a:lnTo>
                    <a:pt x="56" y="6"/>
                  </a:lnTo>
                  <a:lnTo>
                    <a:pt x="56" y="6"/>
                  </a:lnTo>
                  <a:lnTo>
                    <a:pt x="56" y="4"/>
                  </a:lnTo>
                  <a:lnTo>
                    <a:pt x="54" y="2"/>
                  </a:lnTo>
                  <a:lnTo>
                    <a:pt x="54" y="2"/>
                  </a:lnTo>
                  <a:lnTo>
                    <a:pt x="52" y="2"/>
                  </a:lnTo>
                  <a:lnTo>
                    <a:pt x="50" y="2"/>
                  </a:lnTo>
                  <a:lnTo>
                    <a:pt x="50" y="2"/>
                  </a:lnTo>
                  <a:lnTo>
                    <a:pt x="48" y="2"/>
                  </a:lnTo>
                  <a:lnTo>
                    <a:pt x="46" y="2"/>
                  </a:lnTo>
                  <a:lnTo>
                    <a:pt x="46" y="2"/>
                  </a:lnTo>
                  <a:lnTo>
                    <a:pt x="44" y="2"/>
                  </a:lnTo>
                  <a:lnTo>
                    <a:pt x="44" y="4"/>
                  </a:lnTo>
                  <a:lnTo>
                    <a:pt x="42" y="6"/>
                  </a:lnTo>
                  <a:lnTo>
                    <a:pt x="42" y="6"/>
                  </a:lnTo>
                  <a:lnTo>
                    <a:pt x="40" y="6"/>
                  </a:lnTo>
                  <a:lnTo>
                    <a:pt x="42" y="8"/>
                  </a:lnTo>
                  <a:lnTo>
                    <a:pt x="42" y="8"/>
                  </a:lnTo>
                  <a:lnTo>
                    <a:pt x="40" y="8"/>
                  </a:lnTo>
                  <a:lnTo>
                    <a:pt x="40" y="8"/>
                  </a:lnTo>
                  <a:lnTo>
                    <a:pt x="38" y="10"/>
                  </a:lnTo>
                  <a:lnTo>
                    <a:pt x="36" y="10"/>
                  </a:lnTo>
                  <a:lnTo>
                    <a:pt x="36" y="10"/>
                  </a:lnTo>
                  <a:lnTo>
                    <a:pt x="34" y="12"/>
                  </a:lnTo>
                  <a:lnTo>
                    <a:pt x="36" y="12"/>
                  </a:lnTo>
                  <a:lnTo>
                    <a:pt x="36" y="12"/>
                  </a:lnTo>
                  <a:lnTo>
                    <a:pt x="40" y="14"/>
                  </a:lnTo>
                  <a:lnTo>
                    <a:pt x="44" y="14"/>
                  </a:lnTo>
                  <a:lnTo>
                    <a:pt x="44" y="14"/>
                  </a:lnTo>
                  <a:lnTo>
                    <a:pt x="44" y="14"/>
                  </a:lnTo>
                  <a:lnTo>
                    <a:pt x="42" y="16"/>
                  </a:lnTo>
                  <a:lnTo>
                    <a:pt x="42" y="16"/>
                  </a:lnTo>
                  <a:lnTo>
                    <a:pt x="42" y="16"/>
                  </a:lnTo>
                  <a:lnTo>
                    <a:pt x="38" y="18"/>
                  </a:lnTo>
                  <a:lnTo>
                    <a:pt x="38" y="18"/>
                  </a:lnTo>
                  <a:lnTo>
                    <a:pt x="36" y="18"/>
                  </a:lnTo>
                  <a:lnTo>
                    <a:pt x="38" y="20"/>
                  </a:lnTo>
                  <a:lnTo>
                    <a:pt x="38" y="20"/>
                  </a:lnTo>
                  <a:lnTo>
                    <a:pt x="38" y="20"/>
                  </a:lnTo>
                  <a:lnTo>
                    <a:pt x="38" y="20"/>
                  </a:lnTo>
                  <a:lnTo>
                    <a:pt x="36" y="20"/>
                  </a:lnTo>
                  <a:lnTo>
                    <a:pt x="32" y="18"/>
                  </a:lnTo>
                  <a:lnTo>
                    <a:pt x="32" y="18"/>
                  </a:lnTo>
                  <a:lnTo>
                    <a:pt x="30" y="20"/>
                  </a:lnTo>
                  <a:lnTo>
                    <a:pt x="28" y="20"/>
                  </a:lnTo>
                  <a:lnTo>
                    <a:pt x="28" y="18"/>
                  </a:lnTo>
                  <a:lnTo>
                    <a:pt x="28" y="18"/>
                  </a:lnTo>
                  <a:lnTo>
                    <a:pt x="20" y="18"/>
                  </a:lnTo>
                  <a:lnTo>
                    <a:pt x="20" y="18"/>
                  </a:lnTo>
                  <a:lnTo>
                    <a:pt x="16" y="18"/>
                  </a:lnTo>
                  <a:lnTo>
                    <a:pt x="16" y="18"/>
                  </a:lnTo>
                  <a:lnTo>
                    <a:pt x="14" y="20"/>
                  </a:lnTo>
                  <a:lnTo>
                    <a:pt x="16" y="20"/>
                  </a:lnTo>
                  <a:lnTo>
                    <a:pt x="16" y="20"/>
                  </a:lnTo>
                  <a:lnTo>
                    <a:pt x="16" y="20"/>
                  </a:lnTo>
                  <a:lnTo>
                    <a:pt x="16" y="24"/>
                  </a:lnTo>
                  <a:lnTo>
                    <a:pt x="16" y="24"/>
                  </a:lnTo>
                  <a:lnTo>
                    <a:pt x="14" y="22"/>
                  </a:lnTo>
                  <a:lnTo>
                    <a:pt x="12" y="24"/>
                  </a:lnTo>
                  <a:lnTo>
                    <a:pt x="12" y="24"/>
                  </a:lnTo>
                  <a:lnTo>
                    <a:pt x="12" y="24"/>
                  </a:lnTo>
                  <a:lnTo>
                    <a:pt x="14" y="24"/>
                  </a:lnTo>
                  <a:lnTo>
                    <a:pt x="14" y="24"/>
                  </a:lnTo>
                  <a:lnTo>
                    <a:pt x="16" y="26"/>
                  </a:lnTo>
                  <a:lnTo>
                    <a:pt x="18" y="26"/>
                  </a:lnTo>
                  <a:lnTo>
                    <a:pt x="18" y="26"/>
                  </a:lnTo>
                  <a:lnTo>
                    <a:pt x="20" y="26"/>
                  </a:lnTo>
                  <a:lnTo>
                    <a:pt x="18" y="28"/>
                  </a:lnTo>
                  <a:lnTo>
                    <a:pt x="18" y="28"/>
                  </a:lnTo>
                  <a:lnTo>
                    <a:pt x="14" y="28"/>
                  </a:lnTo>
                  <a:lnTo>
                    <a:pt x="16" y="30"/>
                  </a:lnTo>
                  <a:lnTo>
                    <a:pt x="16" y="30"/>
                  </a:lnTo>
                  <a:lnTo>
                    <a:pt x="16" y="30"/>
                  </a:lnTo>
                  <a:lnTo>
                    <a:pt x="16" y="32"/>
                  </a:lnTo>
                  <a:lnTo>
                    <a:pt x="12" y="30"/>
                  </a:lnTo>
                  <a:lnTo>
                    <a:pt x="12" y="30"/>
                  </a:lnTo>
                  <a:lnTo>
                    <a:pt x="10" y="32"/>
                  </a:lnTo>
                  <a:lnTo>
                    <a:pt x="12" y="32"/>
                  </a:lnTo>
                  <a:lnTo>
                    <a:pt x="12" y="32"/>
                  </a:lnTo>
                  <a:lnTo>
                    <a:pt x="10" y="34"/>
                  </a:lnTo>
                  <a:lnTo>
                    <a:pt x="10" y="34"/>
                  </a:lnTo>
                  <a:lnTo>
                    <a:pt x="10" y="34"/>
                  </a:lnTo>
                  <a:lnTo>
                    <a:pt x="10" y="34"/>
                  </a:lnTo>
                  <a:lnTo>
                    <a:pt x="14" y="34"/>
                  </a:lnTo>
                  <a:lnTo>
                    <a:pt x="14" y="34"/>
                  </a:lnTo>
                  <a:lnTo>
                    <a:pt x="16" y="34"/>
                  </a:lnTo>
                  <a:lnTo>
                    <a:pt x="14" y="36"/>
                  </a:lnTo>
                  <a:lnTo>
                    <a:pt x="14" y="36"/>
                  </a:lnTo>
                  <a:lnTo>
                    <a:pt x="14" y="36"/>
                  </a:lnTo>
                  <a:lnTo>
                    <a:pt x="18" y="36"/>
                  </a:lnTo>
                  <a:lnTo>
                    <a:pt x="18" y="36"/>
                  </a:lnTo>
                  <a:lnTo>
                    <a:pt x="20" y="36"/>
                  </a:lnTo>
                  <a:lnTo>
                    <a:pt x="20" y="38"/>
                  </a:lnTo>
                  <a:lnTo>
                    <a:pt x="20" y="38"/>
                  </a:lnTo>
                  <a:lnTo>
                    <a:pt x="20" y="38"/>
                  </a:lnTo>
                  <a:lnTo>
                    <a:pt x="22" y="38"/>
                  </a:lnTo>
                  <a:lnTo>
                    <a:pt x="28" y="38"/>
                  </a:lnTo>
                  <a:lnTo>
                    <a:pt x="28" y="38"/>
                  </a:lnTo>
                  <a:lnTo>
                    <a:pt x="30" y="38"/>
                  </a:lnTo>
                  <a:lnTo>
                    <a:pt x="26" y="40"/>
                  </a:lnTo>
                  <a:lnTo>
                    <a:pt x="26" y="40"/>
                  </a:lnTo>
                  <a:lnTo>
                    <a:pt x="24" y="40"/>
                  </a:lnTo>
                  <a:lnTo>
                    <a:pt x="22" y="42"/>
                  </a:lnTo>
                  <a:lnTo>
                    <a:pt x="22" y="42"/>
                  </a:lnTo>
                  <a:lnTo>
                    <a:pt x="20" y="44"/>
                  </a:lnTo>
                  <a:lnTo>
                    <a:pt x="22" y="44"/>
                  </a:lnTo>
                  <a:lnTo>
                    <a:pt x="22" y="44"/>
                  </a:lnTo>
                  <a:lnTo>
                    <a:pt x="20" y="46"/>
                  </a:lnTo>
                  <a:lnTo>
                    <a:pt x="18" y="46"/>
                  </a:lnTo>
                  <a:lnTo>
                    <a:pt x="18" y="46"/>
                  </a:lnTo>
                  <a:lnTo>
                    <a:pt x="18" y="46"/>
                  </a:lnTo>
                  <a:lnTo>
                    <a:pt x="14" y="48"/>
                  </a:lnTo>
                  <a:lnTo>
                    <a:pt x="14" y="48"/>
                  </a:lnTo>
                  <a:lnTo>
                    <a:pt x="12" y="50"/>
                  </a:lnTo>
                  <a:lnTo>
                    <a:pt x="14" y="50"/>
                  </a:lnTo>
                  <a:lnTo>
                    <a:pt x="14" y="50"/>
                  </a:lnTo>
                  <a:lnTo>
                    <a:pt x="18" y="50"/>
                  </a:lnTo>
                  <a:lnTo>
                    <a:pt x="20" y="50"/>
                  </a:lnTo>
                  <a:lnTo>
                    <a:pt x="20" y="50"/>
                  </a:lnTo>
                  <a:lnTo>
                    <a:pt x="24" y="50"/>
                  </a:lnTo>
                  <a:lnTo>
                    <a:pt x="28" y="48"/>
                  </a:lnTo>
                  <a:lnTo>
                    <a:pt x="28" y="48"/>
                  </a:lnTo>
                  <a:lnTo>
                    <a:pt x="28" y="46"/>
                  </a:lnTo>
                  <a:lnTo>
                    <a:pt x="28" y="48"/>
                  </a:lnTo>
                  <a:lnTo>
                    <a:pt x="28" y="48"/>
                  </a:lnTo>
                  <a:lnTo>
                    <a:pt x="28" y="48"/>
                  </a:lnTo>
                  <a:lnTo>
                    <a:pt x="32" y="48"/>
                  </a:lnTo>
                  <a:lnTo>
                    <a:pt x="32" y="48"/>
                  </a:lnTo>
                  <a:lnTo>
                    <a:pt x="18" y="50"/>
                  </a:lnTo>
                  <a:lnTo>
                    <a:pt x="18" y="50"/>
                  </a:lnTo>
                  <a:lnTo>
                    <a:pt x="16" y="50"/>
                  </a:lnTo>
                  <a:lnTo>
                    <a:pt x="14" y="52"/>
                  </a:lnTo>
                  <a:lnTo>
                    <a:pt x="14" y="52"/>
                  </a:lnTo>
                  <a:lnTo>
                    <a:pt x="12" y="54"/>
                  </a:lnTo>
                  <a:lnTo>
                    <a:pt x="12" y="54"/>
                  </a:lnTo>
                  <a:lnTo>
                    <a:pt x="12" y="54"/>
                  </a:lnTo>
                  <a:lnTo>
                    <a:pt x="12" y="54"/>
                  </a:lnTo>
                  <a:lnTo>
                    <a:pt x="14" y="56"/>
                  </a:lnTo>
                  <a:lnTo>
                    <a:pt x="14" y="56"/>
                  </a:lnTo>
                  <a:lnTo>
                    <a:pt x="12" y="56"/>
                  </a:lnTo>
                  <a:lnTo>
                    <a:pt x="10" y="56"/>
                  </a:lnTo>
                  <a:lnTo>
                    <a:pt x="10" y="56"/>
                  </a:lnTo>
                  <a:lnTo>
                    <a:pt x="8" y="56"/>
                  </a:lnTo>
                  <a:lnTo>
                    <a:pt x="4" y="56"/>
                  </a:lnTo>
                  <a:lnTo>
                    <a:pt x="4" y="56"/>
                  </a:lnTo>
                  <a:lnTo>
                    <a:pt x="0" y="58"/>
                  </a:lnTo>
                  <a:lnTo>
                    <a:pt x="0" y="58"/>
                  </a:lnTo>
                  <a:lnTo>
                    <a:pt x="2" y="58"/>
                  </a:lnTo>
                  <a:lnTo>
                    <a:pt x="2" y="58"/>
                  </a:lnTo>
                  <a:lnTo>
                    <a:pt x="6" y="58"/>
                  </a:lnTo>
                  <a:lnTo>
                    <a:pt x="6" y="58"/>
                  </a:lnTo>
                  <a:lnTo>
                    <a:pt x="14" y="58"/>
                  </a:lnTo>
                  <a:lnTo>
                    <a:pt x="14" y="58"/>
                  </a:lnTo>
                  <a:lnTo>
                    <a:pt x="10" y="58"/>
                  </a:lnTo>
                  <a:lnTo>
                    <a:pt x="10" y="58"/>
                  </a:lnTo>
                  <a:lnTo>
                    <a:pt x="2" y="62"/>
                  </a:lnTo>
                  <a:lnTo>
                    <a:pt x="2" y="62"/>
                  </a:lnTo>
                  <a:lnTo>
                    <a:pt x="0" y="62"/>
                  </a:lnTo>
                  <a:lnTo>
                    <a:pt x="0" y="64"/>
                  </a:lnTo>
                  <a:lnTo>
                    <a:pt x="4" y="64"/>
                  </a:lnTo>
                  <a:lnTo>
                    <a:pt x="4" y="64"/>
                  </a:lnTo>
                  <a:lnTo>
                    <a:pt x="6" y="64"/>
                  </a:lnTo>
                  <a:lnTo>
                    <a:pt x="6" y="64"/>
                  </a:lnTo>
                  <a:lnTo>
                    <a:pt x="8" y="64"/>
                  </a:lnTo>
                  <a:lnTo>
                    <a:pt x="8" y="64"/>
                  </a:lnTo>
                  <a:lnTo>
                    <a:pt x="16" y="62"/>
                  </a:lnTo>
                  <a:lnTo>
                    <a:pt x="16" y="62"/>
                  </a:lnTo>
                  <a:lnTo>
                    <a:pt x="6" y="66"/>
                  </a:lnTo>
                  <a:lnTo>
                    <a:pt x="6" y="66"/>
                  </a:lnTo>
                  <a:lnTo>
                    <a:pt x="6" y="66"/>
                  </a:lnTo>
                  <a:lnTo>
                    <a:pt x="6" y="68"/>
                  </a:lnTo>
                  <a:lnTo>
                    <a:pt x="10" y="66"/>
                  </a:lnTo>
                  <a:lnTo>
                    <a:pt x="10" y="66"/>
                  </a:lnTo>
                  <a:lnTo>
                    <a:pt x="12" y="66"/>
                  </a:lnTo>
                  <a:lnTo>
                    <a:pt x="16" y="66"/>
                  </a:lnTo>
                  <a:lnTo>
                    <a:pt x="16" y="66"/>
                  </a:lnTo>
                  <a:lnTo>
                    <a:pt x="14" y="68"/>
                  </a:lnTo>
                  <a:lnTo>
                    <a:pt x="12" y="68"/>
                  </a:lnTo>
                  <a:lnTo>
                    <a:pt x="12" y="68"/>
                  </a:lnTo>
                  <a:lnTo>
                    <a:pt x="10" y="70"/>
                  </a:lnTo>
                  <a:lnTo>
                    <a:pt x="10" y="70"/>
                  </a:lnTo>
                  <a:lnTo>
                    <a:pt x="12" y="70"/>
                  </a:lnTo>
                  <a:lnTo>
                    <a:pt x="12" y="70"/>
                  </a:lnTo>
                  <a:lnTo>
                    <a:pt x="16" y="70"/>
                  </a:lnTo>
                  <a:lnTo>
                    <a:pt x="18" y="70"/>
                  </a:lnTo>
                  <a:lnTo>
                    <a:pt x="18" y="70"/>
                  </a:lnTo>
                  <a:lnTo>
                    <a:pt x="22" y="70"/>
                  </a:lnTo>
                  <a:lnTo>
                    <a:pt x="26" y="68"/>
                  </a:lnTo>
                  <a:lnTo>
                    <a:pt x="26" y="68"/>
                  </a:lnTo>
                  <a:lnTo>
                    <a:pt x="30" y="68"/>
                  </a:lnTo>
                  <a:lnTo>
                    <a:pt x="32" y="68"/>
                  </a:lnTo>
                  <a:lnTo>
                    <a:pt x="32" y="68"/>
                  </a:lnTo>
                  <a:lnTo>
                    <a:pt x="36" y="66"/>
                  </a:lnTo>
                  <a:lnTo>
                    <a:pt x="38" y="66"/>
                  </a:lnTo>
                  <a:lnTo>
                    <a:pt x="38" y="66"/>
                  </a:lnTo>
                  <a:lnTo>
                    <a:pt x="40" y="64"/>
                  </a:lnTo>
                  <a:lnTo>
                    <a:pt x="42" y="64"/>
                  </a:lnTo>
                  <a:lnTo>
                    <a:pt x="42" y="64"/>
                  </a:lnTo>
                  <a:lnTo>
                    <a:pt x="44" y="62"/>
                  </a:lnTo>
                  <a:lnTo>
                    <a:pt x="44" y="62"/>
                  </a:lnTo>
                  <a:lnTo>
                    <a:pt x="46" y="62"/>
                  </a:lnTo>
                  <a:lnTo>
                    <a:pt x="48" y="60"/>
                  </a:lnTo>
                  <a:lnTo>
                    <a:pt x="48" y="60"/>
                  </a:lnTo>
                  <a:lnTo>
                    <a:pt x="50" y="60"/>
                  </a:lnTo>
                  <a:lnTo>
                    <a:pt x="52" y="60"/>
                  </a:lnTo>
                  <a:lnTo>
                    <a:pt x="52" y="60"/>
                  </a:lnTo>
                  <a:lnTo>
                    <a:pt x="58" y="60"/>
                  </a:lnTo>
                  <a:lnTo>
                    <a:pt x="58" y="60"/>
                  </a:lnTo>
                  <a:lnTo>
                    <a:pt x="60" y="54"/>
                  </a:lnTo>
                  <a:lnTo>
                    <a:pt x="60" y="54"/>
                  </a:lnTo>
                  <a:lnTo>
                    <a:pt x="60" y="60"/>
                  </a:lnTo>
                  <a:lnTo>
                    <a:pt x="60" y="60"/>
                  </a:lnTo>
                  <a:lnTo>
                    <a:pt x="60" y="60"/>
                  </a:lnTo>
                  <a:lnTo>
                    <a:pt x="62" y="60"/>
                  </a:lnTo>
                  <a:lnTo>
                    <a:pt x="64" y="58"/>
                  </a:lnTo>
                  <a:lnTo>
                    <a:pt x="64" y="58"/>
                  </a:lnTo>
                  <a:lnTo>
                    <a:pt x="64" y="58"/>
                  </a:lnTo>
                  <a:lnTo>
                    <a:pt x="68" y="60"/>
                  </a:lnTo>
                  <a:lnTo>
                    <a:pt x="70" y="60"/>
                  </a:lnTo>
                  <a:lnTo>
                    <a:pt x="70" y="60"/>
                  </a:lnTo>
                  <a:lnTo>
                    <a:pt x="72" y="60"/>
                  </a:lnTo>
                  <a:lnTo>
                    <a:pt x="70" y="58"/>
                  </a:lnTo>
                  <a:lnTo>
                    <a:pt x="70" y="56"/>
                  </a:lnTo>
                  <a:lnTo>
                    <a:pt x="70" y="56"/>
                  </a:lnTo>
                  <a:lnTo>
                    <a:pt x="74" y="52"/>
                  </a:lnTo>
                  <a:lnTo>
                    <a:pt x="74" y="52"/>
                  </a:lnTo>
                  <a:lnTo>
                    <a:pt x="74" y="50"/>
                  </a:lnTo>
                  <a:lnTo>
                    <a:pt x="76" y="50"/>
                  </a:lnTo>
                  <a:lnTo>
                    <a:pt x="76" y="50"/>
                  </a:lnTo>
                  <a:lnTo>
                    <a:pt x="76" y="48"/>
                  </a:lnTo>
                  <a:lnTo>
                    <a:pt x="76" y="46"/>
                  </a:lnTo>
                  <a:lnTo>
                    <a:pt x="76" y="46"/>
                  </a:lnTo>
                  <a:lnTo>
                    <a:pt x="76" y="44"/>
                  </a:lnTo>
                  <a:lnTo>
                    <a:pt x="76" y="42"/>
                  </a:lnTo>
                  <a:lnTo>
                    <a:pt x="76" y="42"/>
                  </a:lnTo>
                  <a:lnTo>
                    <a:pt x="74" y="38"/>
                  </a:lnTo>
                  <a:lnTo>
                    <a:pt x="74" y="38"/>
                  </a:lnTo>
                  <a:lnTo>
                    <a:pt x="74" y="38"/>
                  </a:lnTo>
                  <a:lnTo>
                    <a:pt x="74" y="38"/>
                  </a:lnTo>
                  <a:lnTo>
                    <a:pt x="76" y="36"/>
                  </a:lnTo>
                  <a:lnTo>
                    <a:pt x="76" y="36"/>
                  </a:lnTo>
                  <a:lnTo>
                    <a:pt x="76" y="36"/>
                  </a:lnTo>
                  <a:lnTo>
                    <a:pt x="76" y="34"/>
                  </a:lnTo>
                  <a:lnTo>
                    <a:pt x="76" y="34"/>
                  </a:lnTo>
                  <a:lnTo>
                    <a:pt x="76" y="34"/>
                  </a:lnTo>
                  <a:lnTo>
                    <a:pt x="76" y="34"/>
                  </a:lnTo>
                  <a:lnTo>
                    <a:pt x="74" y="30"/>
                  </a:lnTo>
                  <a:lnTo>
                    <a:pt x="74" y="30"/>
                  </a:lnTo>
                  <a:lnTo>
                    <a:pt x="74" y="30"/>
                  </a:lnTo>
                  <a:lnTo>
                    <a:pt x="72" y="28"/>
                  </a:lnTo>
                  <a:lnTo>
                    <a:pt x="72" y="28"/>
                  </a:lnTo>
                  <a:lnTo>
                    <a:pt x="72" y="26"/>
                  </a:lnTo>
                  <a:lnTo>
                    <a:pt x="74" y="26"/>
                  </a:lnTo>
                  <a:lnTo>
                    <a:pt x="74" y="26"/>
                  </a:lnTo>
                  <a:lnTo>
                    <a:pt x="76" y="26"/>
                  </a:lnTo>
                  <a:lnTo>
                    <a:pt x="76" y="26"/>
                  </a:lnTo>
                  <a:lnTo>
                    <a:pt x="76" y="26"/>
                  </a:lnTo>
                  <a:lnTo>
                    <a:pt x="72" y="24"/>
                  </a:lnTo>
                  <a:lnTo>
                    <a:pt x="68" y="24"/>
                  </a:lnTo>
                  <a:lnTo>
                    <a:pt x="68" y="24"/>
                  </a:lnTo>
                  <a:lnTo>
                    <a:pt x="68" y="24"/>
                  </a:lnTo>
                  <a:lnTo>
                    <a:pt x="66" y="22"/>
                  </a:lnTo>
                  <a:lnTo>
                    <a:pt x="66" y="20"/>
                  </a:lnTo>
                  <a:lnTo>
                    <a:pt x="66" y="20"/>
                  </a:lnTo>
                  <a:lnTo>
                    <a:pt x="62" y="16"/>
                  </a:lnTo>
                  <a:lnTo>
                    <a:pt x="60" y="18"/>
                  </a:lnTo>
                  <a:lnTo>
                    <a:pt x="60" y="18"/>
                  </a:lnTo>
                  <a:lnTo>
                    <a:pt x="58" y="20"/>
                  </a:lnTo>
                  <a:lnTo>
                    <a:pt x="56" y="20"/>
                  </a:lnTo>
                  <a:lnTo>
                    <a:pt x="50" y="18"/>
                  </a:lnTo>
                  <a:lnTo>
                    <a:pt x="50" y="18"/>
                  </a:lnTo>
                  <a:lnTo>
                    <a:pt x="48" y="14"/>
                  </a:lnTo>
                  <a:lnTo>
                    <a:pt x="52" y="12"/>
                  </a:lnTo>
                  <a:lnTo>
                    <a:pt x="52" y="12"/>
                  </a:lnTo>
                  <a:lnTo>
                    <a:pt x="52" y="12"/>
                  </a:lnTo>
                  <a:lnTo>
                    <a:pt x="52" y="10"/>
                  </a:lnTo>
                  <a:lnTo>
                    <a:pt x="54" y="8"/>
                  </a:lnTo>
                  <a:lnTo>
                    <a:pt x="56" y="8"/>
                  </a:lnTo>
                  <a:lnTo>
                    <a:pt x="56" y="8"/>
                  </a:lnTo>
                  <a:lnTo>
                    <a:pt x="58" y="8"/>
                  </a:lnTo>
                  <a:lnTo>
                    <a:pt x="60" y="6"/>
                  </a:lnTo>
                  <a:lnTo>
                    <a:pt x="60" y="6"/>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0" name="Israel"/>
            <p:cNvSpPr>
              <a:spLocks/>
            </p:cNvSpPr>
            <p:nvPr/>
          </p:nvSpPr>
          <p:spPr bwMode="auto">
            <a:xfrm>
              <a:off x="5049538" y="2520156"/>
              <a:ext cx="39688" cy="105833"/>
            </a:xfrm>
            <a:custGeom>
              <a:avLst/>
              <a:gdLst/>
              <a:ahLst/>
              <a:cxnLst>
                <a:cxn ang="0">
                  <a:pos x="20" y="80"/>
                </a:cxn>
                <a:cxn ang="0">
                  <a:pos x="20" y="80"/>
                </a:cxn>
                <a:cxn ang="0">
                  <a:pos x="2" y="50"/>
                </a:cxn>
                <a:cxn ang="0">
                  <a:pos x="2" y="50"/>
                </a:cxn>
                <a:cxn ang="0">
                  <a:pos x="0" y="48"/>
                </a:cxn>
                <a:cxn ang="0">
                  <a:pos x="0" y="44"/>
                </a:cxn>
                <a:cxn ang="0">
                  <a:pos x="2" y="42"/>
                </a:cxn>
                <a:cxn ang="0">
                  <a:pos x="4" y="40"/>
                </a:cxn>
                <a:cxn ang="0">
                  <a:pos x="2" y="36"/>
                </a:cxn>
                <a:cxn ang="0">
                  <a:pos x="2" y="36"/>
                </a:cxn>
                <a:cxn ang="0">
                  <a:pos x="4" y="28"/>
                </a:cxn>
                <a:cxn ang="0">
                  <a:pos x="6" y="24"/>
                </a:cxn>
                <a:cxn ang="0">
                  <a:pos x="6" y="22"/>
                </a:cxn>
                <a:cxn ang="0">
                  <a:pos x="8" y="16"/>
                </a:cxn>
                <a:cxn ang="0">
                  <a:pos x="8" y="16"/>
                </a:cxn>
                <a:cxn ang="0">
                  <a:pos x="8" y="12"/>
                </a:cxn>
                <a:cxn ang="0">
                  <a:pos x="10" y="8"/>
                </a:cxn>
                <a:cxn ang="0">
                  <a:pos x="12" y="4"/>
                </a:cxn>
                <a:cxn ang="0">
                  <a:pos x="12" y="0"/>
                </a:cxn>
                <a:cxn ang="0">
                  <a:pos x="30" y="0"/>
                </a:cxn>
                <a:cxn ang="0">
                  <a:pos x="28" y="6"/>
                </a:cxn>
                <a:cxn ang="0">
                  <a:pos x="28" y="6"/>
                </a:cxn>
                <a:cxn ang="0">
                  <a:pos x="24" y="6"/>
                </a:cxn>
                <a:cxn ang="0">
                  <a:pos x="24" y="8"/>
                </a:cxn>
                <a:cxn ang="0">
                  <a:pos x="24" y="10"/>
                </a:cxn>
                <a:cxn ang="0">
                  <a:pos x="22" y="12"/>
                </a:cxn>
                <a:cxn ang="0">
                  <a:pos x="22" y="12"/>
                </a:cxn>
                <a:cxn ang="0">
                  <a:pos x="20" y="12"/>
                </a:cxn>
                <a:cxn ang="0">
                  <a:pos x="20" y="10"/>
                </a:cxn>
                <a:cxn ang="0">
                  <a:pos x="18" y="8"/>
                </a:cxn>
                <a:cxn ang="0">
                  <a:pos x="16" y="8"/>
                </a:cxn>
                <a:cxn ang="0">
                  <a:pos x="16" y="8"/>
                </a:cxn>
                <a:cxn ang="0">
                  <a:pos x="14" y="10"/>
                </a:cxn>
                <a:cxn ang="0">
                  <a:pos x="12" y="12"/>
                </a:cxn>
                <a:cxn ang="0">
                  <a:pos x="12" y="18"/>
                </a:cxn>
                <a:cxn ang="0">
                  <a:pos x="14" y="24"/>
                </a:cxn>
                <a:cxn ang="0">
                  <a:pos x="14" y="26"/>
                </a:cxn>
                <a:cxn ang="0">
                  <a:pos x="14" y="26"/>
                </a:cxn>
                <a:cxn ang="0">
                  <a:pos x="16" y="28"/>
                </a:cxn>
                <a:cxn ang="0">
                  <a:pos x="18" y="30"/>
                </a:cxn>
                <a:cxn ang="0">
                  <a:pos x="16" y="34"/>
                </a:cxn>
                <a:cxn ang="0">
                  <a:pos x="12" y="36"/>
                </a:cxn>
                <a:cxn ang="0">
                  <a:pos x="12" y="40"/>
                </a:cxn>
                <a:cxn ang="0">
                  <a:pos x="12" y="40"/>
                </a:cxn>
                <a:cxn ang="0">
                  <a:pos x="14" y="40"/>
                </a:cxn>
                <a:cxn ang="0">
                  <a:pos x="16" y="40"/>
                </a:cxn>
                <a:cxn ang="0">
                  <a:pos x="20" y="38"/>
                </a:cxn>
                <a:cxn ang="0">
                  <a:pos x="22" y="38"/>
                </a:cxn>
                <a:cxn ang="0">
                  <a:pos x="24" y="40"/>
                </a:cxn>
                <a:cxn ang="0">
                  <a:pos x="24" y="46"/>
                </a:cxn>
                <a:cxn ang="0">
                  <a:pos x="24" y="46"/>
                </a:cxn>
                <a:cxn ang="0">
                  <a:pos x="22" y="64"/>
                </a:cxn>
                <a:cxn ang="0">
                  <a:pos x="20" y="80"/>
                </a:cxn>
                <a:cxn ang="0">
                  <a:pos x="20" y="80"/>
                </a:cxn>
              </a:cxnLst>
              <a:rect l="0" t="0" r="r" b="b"/>
              <a:pathLst>
                <a:path w="30" h="80">
                  <a:moveTo>
                    <a:pt x="20" y="80"/>
                  </a:moveTo>
                  <a:lnTo>
                    <a:pt x="20" y="80"/>
                  </a:lnTo>
                  <a:lnTo>
                    <a:pt x="2" y="50"/>
                  </a:lnTo>
                  <a:lnTo>
                    <a:pt x="2" y="50"/>
                  </a:lnTo>
                  <a:lnTo>
                    <a:pt x="0" y="48"/>
                  </a:lnTo>
                  <a:lnTo>
                    <a:pt x="0" y="44"/>
                  </a:lnTo>
                  <a:lnTo>
                    <a:pt x="2" y="42"/>
                  </a:lnTo>
                  <a:lnTo>
                    <a:pt x="4" y="40"/>
                  </a:lnTo>
                  <a:lnTo>
                    <a:pt x="2" y="36"/>
                  </a:lnTo>
                  <a:lnTo>
                    <a:pt x="2" y="36"/>
                  </a:lnTo>
                  <a:lnTo>
                    <a:pt x="4" y="28"/>
                  </a:lnTo>
                  <a:lnTo>
                    <a:pt x="6" y="24"/>
                  </a:lnTo>
                  <a:lnTo>
                    <a:pt x="6" y="22"/>
                  </a:lnTo>
                  <a:lnTo>
                    <a:pt x="8" y="16"/>
                  </a:lnTo>
                  <a:lnTo>
                    <a:pt x="8" y="16"/>
                  </a:lnTo>
                  <a:lnTo>
                    <a:pt x="8" y="12"/>
                  </a:lnTo>
                  <a:lnTo>
                    <a:pt x="10" y="8"/>
                  </a:lnTo>
                  <a:lnTo>
                    <a:pt x="12" y="4"/>
                  </a:lnTo>
                  <a:lnTo>
                    <a:pt x="12" y="0"/>
                  </a:lnTo>
                  <a:lnTo>
                    <a:pt x="30" y="0"/>
                  </a:lnTo>
                  <a:lnTo>
                    <a:pt x="28" y="6"/>
                  </a:lnTo>
                  <a:lnTo>
                    <a:pt x="28" y="6"/>
                  </a:lnTo>
                  <a:lnTo>
                    <a:pt x="24" y="6"/>
                  </a:lnTo>
                  <a:lnTo>
                    <a:pt x="24" y="8"/>
                  </a:lnTo>
                  <a:lnTo>
                    <a:pt x="24" y="10"/>
                  </a:lnTo>
                  <a:lnTo>
                    <a:pt x="22" y="12"/>
                  </a:lnTo>
                  <a:lnTo>
                    <a:pt x="22" y="12"/>
                  </a:lnTo>
                  <a:lnTo>
                    <a:pt x="20" y="12"/>
                  </a:lnTo>
                  <a:lnTo>
                    <a:pt x="20" y="10"/>
                  </a:lnTo>
                  <a:lnTo>
                    <a:pt x="18" y="8"/>
                  </a:lnTo>
                  <a:lnTo>
                    <a:pt x="16" y="8"/>
                  </a:lnTo>
                  <a:lnTo>
                    <a:pt x="16" y="8"/>
                  </a:lnTo>
                  <a:lnTo>
                    <a:pt x="14" y="10"/>
                  </a:lnTo>
                  <a:lnTo>
                    <a:pt x="12" y="12"/>
                  </a:lnTo>
                  <a:lnTo>
                    <a:pt x="12" y="18"/>
                  </a:lnTo>
                  <a:lnTo>
                    <a:pt x="14" y="24"/>
                  </a:lnTo>
                  <a:lnTo>
                    <a:pt x="14" y="26"/>
                  </a:lnTo>
                  <a:lnTo>
                    <a:pt x="14" y="26"/>
                  </a:lnTo>
                  <a:lnTo>
                    <a:pt x="16" y="28"/>
                  </a:lnTo>
                  <a:lnTo>
                    <a:pt x="18" y="30"/>
                  </a:lnTo>
                  <a:lnTo>
                    <a:pt x="16" y="34"/>
                  </a:lnTo>
                  <a:lnTo>
                    <a:pt x="12" y="36"/>
                  </a:lnTo>
                  <a:lnTo>
                    <a:pt x="12" y="40"/>
                  </a:lnTo>
                  <a:lnTo>
                    <a:pt x="12" y="40"/>
                  </a:lnTo>
                  <a:lnTo>
                    <a:pt x="14" y="40"/>
                  </a:lnTo>
                  <a:lnTo>
                    <a:pt x="16" y="40"/>
                  </a:lnTo>
                  <a:lnTo>
                    <a:pt x="20" y="38"/>
                  </a:lnTo>
                  <a:lnTo>
                    <a:pt x="22" y="38"/>
                  </a:lnTo>
                  <a:lnTo>
                    <a:pt x="24" y="40"/>
                  </a:lnTo>
                  <a:lnTo>
                    <a:pt x="24" y="46"/>
                  </a:lnTo>
                  <a:lnTo>
                    <a:pt x="24" y="46"/>
                  </a:lnTo>
                  <a:lnTo>
                    <a:pt x="22" y="64"/>
                  </a:lnTo>
                  <a:lnTo>
                    <a:pt x="20" y="80"/>
                  </a:lnTo>
                  <a:lnTo>
                    <a:pt x="20" y="8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1" name="Italy"/>
            <p:cNvSpPr>
              <a:spLocks/>
            </p:cNvSpPr>
            <p:nvPr/>
          </p:nvSpPr>
          <p:spPr bwMode="auto">
            <a:xfrm>
              <a:off x="4308705" y="2123280"/>
              <a:ext cx="298979" cy="283104"/>
            </a:xfrm>
            <a:custGeom>
              <a:avLst/>
              <a:gdLst/>
              <a:ahLst/>
              <a:cxnLst/>
              <a:rect l="l" t="t" r="r" b="b"/>
              <a:pathLst>
                <a:path w="298979" h="283104">
                  <a:moveTo>
                    <a:pt x="235479" y="238125"/>
                  </a:moveTo>
                  <a:lnTo>
                    <a:pt x="235479" y="240771"/>
                  </a:lnTo>
                  <a:lnTo>
                    <a:pt x="232833" y="248708"/>
                  </a:lnTo>
                  <a:lnTo>
                    <a:pt x="227542" y="254000"/>
                  </a:lnTo>
                  <a:lnTo>
                    <a:pt x="224896" y="256646"/>
                  </a:lnTo>
                  <a:lnTo>
                    <a:pt x="224896" y="259292"/>
                  </a:lnTo>
                  <a:lnTo>
                    <a:pt x="227542" y="261938"/>
                  </a:lnTo>
                  <a:lnTo>
                    <a:pt x="224896" y="261938"/>
                  </a:lnTo>
                  <a:lnTo>
                    <a:pt x="224896" y="264583"/>
                  </a:lnTo>
                  <a:lnTo>
                    <a:pt x="224896" y="267229"/>
                  </a:lnTo>
                  <a:lnTo>
                    <a:pt x="224896" y="269875"/>
                  </a:lnTo>
                  <a:lnTo>
                    <a:pt x="224896" y="275167"/>
                  </a:lnTo>
                  <a:lnTo>
                    <a:pt x="222250" y="280458"/>
                  </a:lnTo>
                  <a:lnTo>
                    <a:pt x="222250" y="283104"/>
                  </a:lnTo>
                  <a:lnTo>
                    <a:pt x="219604" y="283104"/>
                  </a:lnTo>
                  <a:lnTo>
                    <a:pt x="214313" y="280458"/>
                  </a:lnTo>
                  <a:lnTo>
                    <a:pt x="211667" y="280458"/>
                  </a:lnTo>
                  <a:lnTo>
                    <a:pt x="209021" y="280458"/>
                  </a:lnTo>
                  <a:lnTo>
                    <a:pt x="206375" y="280458"/>
                  </a:lnTo>
                  <a:lnTo>
                    <a:pt x="201083" y="275167"/>
                  </a:lnTo>
                  <a:lnTo>
                    <a:pt x="198438" y="272521"/>
                  </a:lnTo>
                  <a:lnTo>
                    <a:pt x="190500" y="272521"/>
                  </a:lnTo>
                  <a:lnTo>
                    <a:pt x="185208" y="272521"/>
                  </a:lnTo>
                  <a:lnTo>
                    <a:pt x="182562" y="269875"/>
                  </a:lnTo>
                  <a:lnTo>
                    <a:pt x="177271" y="264583"/>
                  </a:lnTo>
                  <a:lnTo>
                    <a:pt x="169333" y="261938"/>
                  </a:lnTo>
                  <a:lnTo>
                    <a:pt x="164042" y="259292"/>
                  </a:lnTo>
                  <a:lnTo>
                    <a:pt x="156104" y="256646"/>
                  </a:lnTo>
                  <a:lnTo>
                    <a:pt x="153458" y="254000"/>
                  </a:lnTo>
                  <a:lnTo>
                    <a:pt x="156104" y="248708"/>
                  </a:lnTo>
                  <a:lnTo>
                    <a:pt x="161396" y="243417"/>
                  </a:lnTo>
                  <a:lnTo>
                    <a:pt x="164042" y="243417"/>
                  </a:lnTo>
                  <a:lnTo>
                    <a:pt x="166687" y="243417"/>
                  </a:lnTo>
                  <a:lnTo>
                    <a:pt x="171979" y="246063"/>
                  </a:lnTo>
                  <a:lnTo>
                    <a:pt x="174625" y="243417"/>
                  </a:lnTo>
                  <a:lnTo>
                    <a:pt x="179917" y="243417"/>
                  </a:lnTo>
                  <a:lnTo>
                    <a:pt x="182562" y="243417"/>
                  </a:lnTo>
                  <a:lnTo>
                    <a:pt x="187854" y="246063"/>
                  </a:lnTo>
                  <a:lnTo>
                    <a:pt x="190500" y="246063"/>
                  </a:lnTo>
                  <a:lnTo>
                    <a:pt x="195792" y="248708"/>
                  </a:lnTo>
                  <a:lnTo>
                    <a:pt x="198438" y="246063"/>
                  </a:lnTo>
                  <a:lnTo>
                    <a:pt x="201083" y="246063"/>
                  </a:lnTo>
                  <a:lnTo>
                    <a:pt x="203729" y="246063"/>
                  </a:lnTo>
                  <a:lnTo>
                    <a:pt x="209021" y="246063"/>
                  </a:lnTo>
                  <a:lnTo>
                    <a:pt x="211667" y="243417"/>
                  </a:lnTo>
                  <a:lnTo>
                    <a:pt x="214313" y="240771"/>
                  </a:lnTo>
                  <a:lnTo>
                    <a:pt x="219604" y="243417"/>
                  </a:lnTo>
                  <a:lnTo>
                    <a:pt x="222250" y="243417"/>
                  </a:lnTo>
                  <a:lnTo>
                    <a:pt x="224896" y="243417"/>
                  </a:lnTo>
                  <a:lnTo>
                    <a:pt x="227542" y="240771"/>
                  </a:lnTo>
                  <a:lnTo>
                    <a:pt x="232833" y="240771"/>
                  </a:lnTo>
                  <a:close/>
                  <a:moveTo>
                    <a:pt x="127000" y="0"/>
                  </a:moveTo>
                  <a:lnTo>
                    <a:pt x="129646" y="2646"/>
                  </a:lnTo>
                  <a:lnTo>
                    <a:pt x="129646" y="5292"/>
                  </a:lnTo>
                  <a:lnTo>
                    <a:pt x="132291" y="5292"/>
                  </a:lnTo>
                  <a:lnTo>
                    <a:pt x="137583" y="7937"/>
                  </a:lnTo>
                  <a:lnTo>
                    <a:pt x="140229" y="10583"/>
                  </a:lnTo>
                  <a:lnTo>
                    <a:pt x="145521" y="10583"/>
                  </a:lnTo>
                  <a:lnTo>
                    <a:pt x="150812" y="13229"/>
                  </a:lnTo>
                  <a:lnTo>
                    <a:pt x="156104" y="13229"/>
                  </a:lnTo>
                  <a:lnTo>
                    <a:pt x="161396" y="13229"/>
                  </a:lnTo>
                  <a:lnTo>
                    <a:pt x="161396" y="15875"/>
                  </a:lnTo>
                  <a:lnTo>
                    <a:pt x="164042" y="18521"/>
                  </a:lnTo>
                  <a:lnTo>
                    <a:pt x="164042" y="21167"/>
                  </a:lnTo>
                  <a:lnTo>
                    <a:pt x="166688" y="23812"/>
                  </a:lnTo>
                  <a:lnTo>
                    <a:pt x="169333" y="26458"/>
                  </a:lnTo>
                  <a:lnTo>
                    <a:pt x="174625" y="29104"/>
                  </a:lnTo>
                  <a:lnTo>
                    <a:pt x="174625" y="34396"/>
                  </a:lnTo>
                  <a:lnTo>
                    <a:pt x="171979" y="34396"/>
                  </a:lnTo>
                  <a:lnTo>
                    <a:pt x="169333" y="31750"/>
                  </a:lnTo>
                  <a:lnTo>
                    <a:pt x="169333" y="29104"/>
                  </a:lnTo>
                  <a:lnTo>
                    <a:pt x="166688" y="31750"/>
                  </a:lnTo>
                  <a:lnTo>
                    <a:pt x="164042" y="37042"/>
                  </a:lnTo>
                  <a:lnTo>
                    <a:pt x="158750" y="39687"/>
                  </a:lnTo>
                  <a:lnTo>
                    <a:pt x="148166" y="39687"/>
                  </a:lnTo>
                  <a:lnTo>
                    <a:pt x="145521" y="42333"/>
                  </a:lnTo>
                  <a:lnTo>
                    <a:pt x="145521" y="44979"/>
                  </a:lnTo>
                  <a:lnTo>
                    <a:pt x="148166" y="50271"/>
                  </a:lnTo>
                  <a:lnTo>
                    <a:pt x="148166" y="52917"/>
                  </a:lnTo>
                  <a:lnTo>
                    <a:pt x="145521" y="52917"/>
                  </a:lnTo>
                  <a:lnTo>
                    <a:pt x="142875" y="55562"/>
                  </a:lnTo>
                  <a:lnTo>
                    <a:pt x="145521" y="60854"/>
                  </a:lnTo>
                  <a:lnTo>
                    <a:pt x="145521" y="63500"/>
                  </a:lnTo>
                  <a:lnTo>
                    <a:pt x="145521" y="68791"/>
                  </a:lnTo>
                  <a:lnTo>
                    <a:pt x="145521" y="71437"/>
                  </a:lnTo>
                  <a:lnTo>
                    <a:pt x="148166" y="74083"/>
                  </a:lnTo>
                  <a:lnTo>
                    <a:pt x="156104" y="76729"/>
                  </a:lnTo>
                  <a:lnTo>
                    <a:pt x="166688" y="82021"/>
                  </a:lnTo>
                  <a:lnTo>
                    <a:pt x="171979" y="89958"/>
                  </a:lnTo>
                  <a:lnTo>
                    <a:pt x="177271" y="97896"/>
                  </a:lnTo>
                  <a:lnTo>
                    <a:pt x="182563" y="108479"/>
                  </a:lnTo>
                  <a:lnTo>
                    <a:pt x="187854" y="113771"/>
                  </a:lnTo>
                  <a:lnTo>
                    <a:pt x="193146" y="119062"/>
                  </a:lnTo>
                  <a:lnTo>
                    <a:pt x="206375" y="132291"/>
                  </a:lnTo>
                  <a:lnTo>
                    <a:pt x="211667" y="134937"/>
                  </a:lnTo>
                  <a:lnTo>
                    <a:pt x="214313" y="134937"/>
                  </a:lnTo>
                  <a:lnTo>
                    <a:pt x="222250" y="137583"/>
                  </a:lnTo>
                  <a:lnTo>
                    <a:pt x="224896" y="137583"/>
                  </a:lnTo>
                  <a:lnTo>
                    <a:pt x="230188" y="137583"/>
                  </a:lnTo>
                  <a:lnTo>
                    <a:pt x="232833" y="137583"/>
                  </a:lnTo>
                  <a:lnTo>
                    <a:pt x="238125" y="137583"/>
                  </a:lnTo>
                  <a:lnTo>
                    <a:pt x="243417" y="142875"/>
                  </a:lnTo>
                  <a:lnTo>
                    <a:pt x="240771" y="145521"/>
                  </a:lnTo>
                  <a:lnTo>
                    <a:pt x="235479" y="148166"/>
                  </a:lnTo>
                  <a:lnTo>
                    <a:pt x="240771" y="150812"/>
                  </a:lnTo>
                  <a:lnTo>
                    <a:pt x="254000" y="156104"/>
                  </a:lnTo>
                  <a:lnTo>
                    <a:pt x="264583" y="161396"/>
                  </a:lnTo>
                  <a:lnTo>
                    <a:pt x="272521" y="166687"/>
                  </a:lnTo>
                  <a:lnTo>
                    <a:pt x="277813" y="171979"/>
                  </a:lnTo>
                  <a:lnTo>
                    <a:pt x="285750" y="171979"/>
                  </a:lnTo>
                  <a:lnTo>
                    <a:pt x="293688" y="177271"/>
                  </a:lnTo>
                  <a:lnTo>
                    <a:pt x="298979" y="182562"/>
                  </a:lnTo>
                  <a:lnTo>
                    <a:pt x="298979" y="185208"/>
                  </a:lnTo>
                  <a:lnTo>
                    <a:pt x="296333" y="187854"/>
                  </a:lnTo>
                  <a:lnTo>
                    <a:pt x="296333" y="190500"/>
                  </a:lnTo>
                  <a:lnTo>
                    <a:pt x="296333" y="193146"/>
                  </a:lnTo>
                  <a:lnTo>
                    <a:pt x="293688" y="193146"/>
                  </a:lnTo>
                  <a:lnTo>
                    <a:pt x="291042" y="187854"/>
                  </a:lnTo>
                  <a:lnTo>
                    <a:pt x="285750" y="182562"/>
                  </a:lnTo>
                  <a:lnTo>
                    <a:pt x="277813" y="182562"/>
                  </a:lnTo>
                  <a:lnTo>
                    <a:pt x="275167" y="182562"/>
                  </a:lnTo>
                  <a:lnTo>
                    <a:pt x="272521" y="179916"/>
                  </a:lnTo>
                  <a:lnTo>
                    <a:pt x="269875" y="177271"/>
                  </a:lnTo>
                  <a:lnTo>
                    <a:pt x="267229" y="179916"/>
                  </a:lnTo>
                  <a:lnTo>
                    <a:pt x="261938" y="185208"/>
                  </a:lnTo>
                  <a:lnTo>
                    <a:pt x="261938" y="187854"/>
                  </a:lnTo>
                  <a:lnTo>
                    <a:pt x="261938" y="193146"/>
                  </a:lnTo>
                  <a:lnTo>
                    <a:pt x="261938" y="195791"/>
                  </a:lnTo>
                  <a:lnTo>
                    <a:pt x="259292" y="198437"/>
                  </a:lnTo>
                  <a:lnTo>
                    <a:pt x="264583" y="198437"/>
                  </a:lnTo>
                  <a:lnTo>
                    <a:pt x="269875" y="203729"/>
                  </a:lnTo>
                  <a:lnTo>
                    <a:pt x="269875" y="206375"/>
                  </a:lnTo>
                  <a:lnTo>
                    <a:pt x="275167" y="211666"/>
                  </a:lnTo>
                  <a:lnTo>
                    <a:pt x="275167" y="214312"/>
                  </a:lnTo>
                  <a:lnTo>
                    <a:pt x="275167" y="216958"/>
                  </a:lnTo>
                  <a:lnTo>
                    <a:pt x="272521" y="216958"/>
                  </a:lnTo>
                  <a:lnTo>
                    <a:pt x="269875" y="216958"/>
                  </a:lnTo>
                  <a:lnTo>
                    <a:pt x="267229" y="216958"/>
                  </a:lnTo>
                  <a:lnTo>
                    <a:pt x="267229" y="222250"/>
                  </a:lnTo>
                  <a:lnTo>
                    <a:pt x="267229" y="227541"/>
                  </a:lnTo>
                  <a:lnTo>
                    <a:pt x="261938" y="232833"/>
                  </a:lnTo>
                  <a:lnTo>
                    <a:pt x="259292" y="235479"/>
                  </a:lnTo>
                  <a:lnTo>
                    <a:pt x="256646" y="240771"/>
                  </a:lnTo>
                  <a:lnTo>
                    <a:pt x="254000" y="246062"/>
                  </a:lnTo>
                  <a:lnTo>
                    <a:pt x="251354" y="248708"/>
                  </a:lnTo>
                  <a:lnTo>
                    <a:pt x="243417" y="251354"/>
                  </a:lnTo>
                  <a:lnTo>
                    <a:pt x="240771" y="251354"/>
                  </a:lnTo>
                  <a:lnTo>
                    <a:pt x="238125" y="248708"/>
                  </a:lnTo>
                  <a:lnTo>
                    <a:pt x="235479" y="246062"/>
                  </a:lnTo>
                  <a:lnTo>
                    <a:pt x="238125" y="243417"/>
                  </a:lnTo>
                  <a:lnTo>
                    <a:pt x="240771" y="235479"/>
                  </a:lnTo>
                  <a:lnTo>
                    <a:pt x="240771" y="232833"/>
                  </a:lnTo>
                  <a:lnTo>
                    <a:pt x="238125" y="230187"/>
                  </a:lnTo>
                  <a:lnTo>
                    <a:pt x="240771" y="227541"/>
                  </a:lnTo>
                  <a:lnTo>
                    <a:pt x="246063" y="222250"/>
                  </a:lnTo>
                  <a:lnTo>
                    <a:pt x="243417" y="216958"/>
                  </a:lnTo>
                  <a:lnTo>
                    <a:pt x="238125" y="206375"/>
                  </a:lnTo>
                  <a:lnTo>
                    <a:pt x="235479" y="201083"/>
                  </a:lnTo>
                  <a:lnTo>
                    <a:pt x="232833" y="195791"/>
                  </a:lnTo>
                  <a:lnTo>
                    <a:pt x="232833" y="190500"/>
                  </a:lnTo>
                  <a:lnTo>
                    <a:pt x="227542" y="190500"/>
                  </a:lnTo>
                  <a:lnTo>
                    <a:pt x="222250" y="190500"/>
                  </a:lnTo>
                  <a:lnTo>
                    <a:pt x="216958" y="187854"/>
                  </a:lnTo>
                  <a:lnTo>
                    <a:pt x="211667" y="185208"/>
                  </a:lnTo>
                  <a:lnTo>
                    <a:pt x="209021" y="182562"/>
                  </a:lnTo>
                  <a:lnTo>
                    <a:pt x="209021" y="179916"/>
                  </a:lnTo>
                  <a:lnTo>
                    <a:pt x="211667" y="179916"/>
                  </a:lnTo>
                  <a:lnTo>
                    <a:pt x="206375" y="177271"/>
                  </a:lnTo>
                  <a:lnTo>
                    <a:pt x="198438" y="174625"/>
                  </a:lnTo>
                  <a:lnTo>
                    <a:pt x="195792" y="171979"/>
                  </a:lnTo>
                  <a:lnTo>
                    <a:pt x="195792" y="166687"/>
                  </a:lnTo>
                  <a:lnTo>
                    <a:pt x="193146" y="169333"/>
                  </a:lnTo>
                  <a:lnTo>
                    <a:pt x="187854" y="169333"/>
                  </a:lnTo>
                  <a:lnTo>
                    <a:pt x="185208" y="166687"/>
                  </a:lnTo>
                  <a:lnTo>
                    <a:pt x="182563" y="164041"/>
                  </a:lnTo>
                  <a:lnTo>
                    <a:pt x="179917" y="161396"/>
                  </a:lnTo>
                  <a:lnTo>
                    <a:pt x="171979" y="161396"/>
                  </a:lnTo>
                  <a:lnTo>
                    <a:pt x="164042" y="158750"/>
                  </a:lnTo>
                  <a:lnTo>
                    <a:pt x="148166" y="145521"/>
                  </a:lnTo>
                  <a:lnTo>
                    <a:pt x="145521" y="142875"/>
                  </a:lnTo>
                  <a:lnTo>
                    <a:pt x="142875" y="140229"/>
                  </a:lnTo>
                  <a:lnTo>
                    <a:pt x="140229" y="137583"/>
                  </a:lnTo>
                  <a:lnTo>
                    <a:pt x="132291" y="132291"/>
                  </a:lnTo>
                  <a:lnTo>
                    <a:pt x="129646" y="127000"/>
                  </a:lnTo>
                  <a:lnTo>
                    <a:pt x="129646" y="124354"/>
                  </a:lnTo>
                  <a:lnTo>
                    <a:pt x="127000" y="124354"/>
                  </a:lnTo>
                  <a:lnTo>
                    <a:pt x="121708" y="124354"/>
                  </a:lnTo>
                  <a:lnTo>
                    <a:pt x="119062" y="124354"/>
                  </a:lnTo>
                  <a:lnTo>
                    <a:pt x="116416" y="119062"/>
                  </a:lnTo>
                  <a:lnTo>
                    <a:pt x="111125" y="111125"/>
                  </a:lnTo>
                  <a:lnTo>
                    <a:pt x="103187" y="103187"/>
                  </a:lnTo>
                  <a:lnTo>
                    <a:pt x="100541" y="100541"/>
                  </a:lnTo>
                  <a:lnTo>
                    <a:pt x="97896" y="97896"/>
                  </a:lnTo>
                  <a:lnTo>
                    <a:pt x="97896" y="95250"/>
                  </a:lnTo>
                  <a:lnTo>
                    <a:pt x="95250" y="92604"/>
                  </a:lnTo>
                  <a:lnTo>
                    <a:pt x="92604" y="89958"/>
                  </a:lnTo>
                  <a:lnTo>
                    <a:pt x="89958" y="84666"/>
                  </a:lnTo>
                  <a:lnTo>
                    <a:pt x="84666" y="79375"/>
                  </a:lnTo>
                  <a:lnTo>
                    <a:pt x="74083" y="74083"/>
                  </a:lnTo>
                  <a:lnTo>
                    <a:pt x="63500" y="71437"/>
                  </a:lnTo>
                  <a:lnTo>
                    <a:pt x="52916" y="71437"/>
                  </a:lnTo>
                  <a:lnTo>
                    <a:pt x="47625" y="71437"/>
                  </a:lnTo>
                  <a:lnTo>
                    <a:pt x="42333" y="74083"/>
                  </a:lnTo>
                  <a:lnTo>
                    <a:pt x="29104" y="82021"/>
                  </a:lnTo>
                  <a:lnTo>
                    <a:pt x="18521" y="87312"/>
                  </a:lnTo>
                  <a:lnTo>
                    <a:pt x="21166" y="82021"/>
                  </a:lnTo>
                  <a:lnTo>
                    <a:pt x="21166" y="79375"/>
                  </a:lnTo>
                  <a:lnTo>
                    <a:pt x="18521" y="79375"/>
                  </a:lnTo>
                  <a:lnTo>
                    <a:pt x="10583" y="79375"/>
                  </a:lnTo>
                  <a:lnTo>
                    <a:pt x="7937" y="76729"/>
                  </a:lnTo>
                  <a:lnTo>
                    <a:pt x="5291" y="68791"/>
                  </a:lnTo>
                  <a:lnTo>
                    <a:pt x="5291" y="63500"/>
                  </a:lnTo>
                  <a:lnTo>
                    <a:pt x="7937" y="58208"/>
                  </a:lnTo>
                  <a:lnTo>
                    <a:pt x="7937" y="55562"/>
                  </a:lnTo>
                  <a:lnTo>
                    <a:pt x="2646" y="52917"/>
                  </a:lnTo>
                  <a:lnTo>
                    <a:pt x="0" y="52917"/>
                  </a:lnTo>
                  <a:lnTo>
                    <a:pt x="0" y="50271"/>
                  </a:lnTo>
                  <a:lnTo>
                    <a:pt x="7937" y="42333"/>
                  </a:lnTo>
                  <a:lnTo>
                    <a:pt x="7937" y="39687"/>
                  </a:lnTo>
                  <a:lnTo>
                    <a:pt x="5291" y="39687"/>
                  </a:lnTo>
                  <a:lnTo>
                    <a:pt x="2646" y="34396"/>
                  </a:lnTo>
                  <a:lnTo>
                    <a:pt x="2646" y="29104"/>
                  </a:lnTo>
                  <a:lnTo>
                    <a:pt x="7937" y="26458"/>
                  </a:lnTo>
                  <a:lnTo>
                    <a:pt x="15875" y="26458"/>
                  </a:lnTo>
                  <a:lnTo>
                    <a:pt x="21166" y="29104"/>
                  </a:lnTo>
                  <a:lnTo>
                    <a:pt x="23812" y="26458"/>
                  </a:lnTo>
                  <a:lnTo>
                    <a:pt x="29104" y="21167"/>
                  </a:lnTo>
                  <a:lnTo>
                    <a:pt x="34396" y="15875"/>
                  </a:lnTo>
                  <a:lnTo>
                    <a:pt x="39687" y="15875"/>
                  </a:lnTo>
                  <a:lnTo>
                    <a:pt x="39687" y="18521"/>
                  </a:lnTo>
                  <a:lnTo>
                    <a:pt x="39687" y="21167"/>
                  </a:lnTo>
                  <a:lnTo>
                    <a:pt x="42333" y="23812"/>
                  </a:lnTo>
                  <a:lnTo>
                    <a:pt x="50271" y="26458"/>
                  </a:lnTo>
                  <a:lnTo>
                    <a:pt x="52916" y="26458"/>
                  </a:lnTo>
                  <a:lnTo>
                    <a:pt x="55562" y="21167"/>
                  </a:lnTo>
                  <a:lnTo>
                    <a:pt x="58208" y="18521"/>
                  </a:lnTo>
                  <a:lnTo>
                    <a:pt x="60854" y="15875"/>
                  </a:lnTo>
                  <a:lnTo>
                    <a:pt x="60854" y="13229"/>
                  </a:lnTo>
                  <a:lnTo>
                    <a:pt x="63500" y="13229"/>
                  </a:lnTo>
                  <a:lnTo>
                    <a:pt x="66146" y="15875"/>
                  </a:lnTo>
                  <a:lnTo>
                    <a:pt x="68791" y="15875"/>
                  </a:lnTo>
                  <a:lnTo>
                    <a:pt x="71437" y="15875"/>
                  </a:lnTo>
                  <a:lnTo>
                    <a:pt x="74083" y="18521"/>
                  </a:lnTo>
                  <a:lnTo>
                    <a:pt x="76729" y="18521"/>
                  </a:lnTo>
                  <a:lnTo>
                    <a:pt x="76729" y="15875"/>
                  </a:lnTo>
                  <a:lnTo>
                    <a:pt x="74083" y="10583"/>
                  </a:lnTo>
                  <a:lnTo>
                    <a:pt x="76729" y="10583"/>
                  </a:lnTo>
                  <a:lnTo>
                    <a:pt x="82021" y="10583"/>
                  </a:lnTo>
                  <a:lnTo>
                    <a:pt x="82021" y="7937"/>
                  </a:lnTo>
                  <a:lnTo>
                    <a:pt x="87312" y="5292"/>
                  </a:lnTo>
                  <a:lnTo>
                    <a:pt x="92604" y="7937"/>
                  </a:lnTo>
                  <a:lnTo>
                    <a:pt x="95250" y="7937"/>
                  </a:lnTo>
                  <a:lnTo>
                    <a:pt x="97896" y="7937"/>
                  </a:lnTo>
                  <a:lnTo>
                    <a:pt x="100541" y="5292"/>
                  </a:lnTo>
                  <a:lnTo>
                    <a:pt x="103187" y="2646"/>
                  </a:lnTo>
                  <a:lnTo>
                    <a:pt x="111125" y="2646"/>
                  </a:lnTo>
                  <a:lnTo>
                    <a:pt x="119062" y="2646"/>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2" name="Japan"/>
            <p:cNvSpPr>
              <a:spLocks/>
            </p:cNvSpPr>
            <p:nvPr/>
          </p:nvSpPr>
          <p:spPr bwMode="auto">
            <a:xfrm>
              <a:off x="7523392" y="2157676"/>
              <a:ext cx="251354" cy="418042"/>
            </a:xfrm>
            <a:custGeom>
              <a:avLst/>
              <a:gdLst/>
              <a:ahLst/>
              <a:cxnLst/>
              <a:rect l="l" t="t" r="r" b="b"/>
              <a:pathLst>
                <a:path w="251354" h="418042">
                  <a:moveTo>
                    <a:pt x="21166" y="336021"/>
                  </a:moveTo>
                  <a:lnTo>
                    <a:pt x="29104" y="336021"/>
                  </a:lnTo>
                  <a:lnTo>
                    <a:pt x="29104" y="338667"/>
                  </a:lnTo>
                  <a:lnTo>
                    <a:pt x="29104" y="341313"/>
                  </a:lnTo>
                  <a:lnTo>
                    <a:pt x="34396" y="343959"/>
                  </a:lnTo>
                  <a:lnTo>
                    <a:pt x="39687" y="343959"/>
                  </a:lnTo>
                  <a:lnTo>
                    <a:pt x="42333" y="343959"/>
                  </a:lnTo>
                  <a:lnTo>
                    <a:pt x="44979" y="341313"/>
                  </a:lnTo>
                  <a:lnTo>
                    <a:pt x="47625" y="341313"/>
                  </a:lnTo>
                  <a:lnTo>
                    <a:pt x="52917" y="346604"/>
                  </a:lnTo>
                  <a:lnTo>
                    <a:pt x="52917" y="351896"/>
                  </a:lnTo>
                  <a:lnTo>
                    <a:pt x="55562" y="351896"/>
                  </a:lnTo>
                  <a:lnTo>
                    <a:pt x="60854" y="354542"/>
                  </a:lnTo>
                  <a:lnTo>
                    <a:pt x="63500" y="357188"/>
                  </a:lnTo>
                  <a:lnTo>
                    <a:pt x="66146" y="359834"/>
                  </a:lnTo>
                  <a:lnTo>
                    <a:pt x="66146" y="362480"/>
                  </a:lnTo>
                  <a:lnTo>
                    <a:pt x="66146" y="365125"/>
                  </a:lnTo>
                  <a:lnTo>
                    <a:pt x="63500" y="370417"/>
                  </a:lnTo>
                  <a:lnTo>
                    <a:pt x="63500" y="378355"/>
                  </a:lnTo>
                  <a:lnTo>
                    <a:pt x="66146" y="391584"/>
                  </a:lnTo>
                  <a:lnTo>
                    <a:pt x="66146" y="394230"/>
                  </a:lnTo>
                  <a:lnTo>
                    <a:pt x="66146" y="396875"/>
                  </a:lnTo>
                  <a:lnTo>
                    <a:pt x="63500" y="402167"/>
                  </a:lnTo>
                  <a:lnTo>
                    <a:pt x="63500" y="410105"/>
                  </a:lnTo>
                  <a:lnTo>
                    <a:pt x="63500" y="412750"/>
                  </a:lnTo>
                  <a:lnTo>
                    <a:pt x="60854" y="415396"/>
                  </a:lnTo>
                  <a:lnTo>
                    <a:pt x="55562" y="418042"/>
                  </a:lnTo>
                  <a:lnTo>
                    <a:pt x="55562" y="415396"/>
                  </a:lnTo>
                  <a:lnTo>
                    <a:pt x="58208" y="412750"/>
                  </a:lnTo>
                  <a:lnTo>
                    <a:pt x="58208" y="410105"/>
                  </a:lnTo>
                  <a:lnTo>
                    <a:pt x="55562" y="410105"/>
                  </a:lnTo>
                  <a:lnTo>
                    <a:pt x="52917" y="407459"/>
                  </a:lnTo>
                  <a:lnTo>
                    <a:pt x="52917" y="410105"/>
                  </a:lnTo>
                  <a:lnTo>
                    <a:pt x="52917" y="412750"/>
                  </a:lnTo>
                  <a:lnTo>
                    <a:pt x="50271" y="415396"/>
                  </a:lnTo>
                  <a:lnTo>
                    <a:pt x="47625" y="415396"/>
                  </a:lnTo>
                  <a:lnTo>
                    <a:pt x="42333" y="415396"/>
                  </a:lnTo>
                  <a:lnTo>
                    <a:pt x="42333" y="412750"/>
                  </a:lnTo>
                  <a:lnTo>
                    <a:pt x="42333" y="410105"/>
                  </a:lnTo>
                  <a:lnTo>
                    <a:pt x="39687" y="407459"/>
                  </a:lnTo>
                  <a:lnTo>
                    <a:pt x="37042" y="404813"/>
                  </a:lnTo>
                  <a:lnTo>
                    <a:pt x="31750" y="402167"/>
                  </a:lnTo>
                  <a:lnTo>
                    <a:pt x="29104" y="399521"/>
                  </a:lnTo>
                  <a:lnTo>
                    <a:pt x="29104" y="396875"/>
                  </a:lnTo>
                  <a:lnTo>
                    <a:pt x="34396" y="394230"/>
                  </a:lnTo>
                  <a:lnTo>
                    <a:pt x="34396" y="388938"/>
                  </a:lnTo>
                  <a:lnTo>
                    <a:pt x="34396" y="383646"/>
                  </a:lnTo>
                  <a:lnTo>
                    <a:pt x="29104" y="381000"/>
                  </a:lnTo>
                  <a:lnTo>
                    <a:pt x="29104" y="378355"/>
                  </a:lnTo>
                  <a:lnTo>
                    <a:pt x="29104" y="375709"/>
                  </a:lnTo>
                  <a:lnTo>
                    <a:pt x="26458" y="370417"/>
                  </a:lnTo>
                  <a:lnTo>
                    <a:pt x="18521" y="365125"/>
                  </a:lnTo>
                  <a:lnTo>
                    <a:pt x="18521" y="367771"/>
                  </a:lnTo>
                  <a:lnTo>
                    <a:pt x="21166" y="370417"/>
                  </a:lnTo>
                  <a:lnTo>
                    <a:pt x="18521" y="373063"/>
                  </a:lnTo>
                  <a:lnTo>
                    <a:pt x="15875" y="375709"/>
                  </a:lnTo>
                  <a:lnTo>
                    <a:pt x="13229" y="373063"/>
                  </a:lnTo>
                  <a:lnTo>
                    <a:pt x="13229" y="370417"/>
                  </a:lnTo>
                  <a:lnTo>
                    <a:pt x="10583" y="370417"/>
                  </a:lnTo>
                  <a:lnTo>
                    <a:pt x="5291" y="367771"/>
                  </a:lnTo>
                  <a:lnTo>
                    <a:pt x="2646" y="359834"/>
                  </a:lnTo>
                  <a:lnTo>
                    <a:pt x="0" y="357188"/>
                  </a:lnTo>
                  <a:lnTo>
                    <a:pt x="0" y="354542"/>
                  </a:lnTo>
                  <a:lnTo>
                    <a:pt x="2646" y="349250"/>
                  </a:lnTo>
                  <a:lnTo>
                    <a:pt x="5291" y="351896"/>
                  </a:lnTo>
                  <a:lnTo>
                    <a:pt x="7937" y="351896"/>
                  </a:lnTo>
                  <a:lnTo>
                    <a:pt x="7937" y="343959"/>
                  </a:lnTo>
                  <a:lnTo>
                    <a:pt x="10583" y="341313"/>
                  </a:lnTo>
                  <a:lnTo>
                    <a:pt x="13229" y="338667"/>
                  </a:lnTo>
                  <a:close/>
                  <a:moveTo>
                    <a:pt x="89959" y="325438"/>
                  </a:moveTo>
                  <a:lnTo>
                    <a:pt x="97896" y="325438"/>
                  </a:lnTo>
                  <a:lnTo>
                    <a:pt x="105834" y="325438"/>
                  </a:lnTo>
                  <a:lnTo>
                    <a:pt x="105834" y="328084"/>
                  </a:lnTo>
                  <a:lnTo>
                    <a:pt x="111126" y="328084"/>
                  </a:lnTo>
                  <a:lnTo>
                    <a:pt x="116417" y="333376"/>
                  </a:lnTo>
                  <a:lnTo>
                    <a:pt x="119063" y="336021"/>
                  </a:lnTo>
                  <a:lnTo>
                    <a:pt x="119063" y="338667"/>
                  </a:lnTo>
                  <a:lnTo>
                    <a:pt x="119063" y="341313"/>
                  </a:lnTo>
                  <a:lnTo>
                    <a:pt x="113772" y="349250"/>
                  </a:lnTo>
                  <a:lnTo>
                    <a:pt x="113772" y="351896"/>
                  </a:lnTo>
                  <a:lnTo>
                    <a:pt x="113772" y="354542"/>
                  </a:lnTo>
                  <a:lnTo>
                    <a:pt x="111126" y="354542"/>
                  </a:lnTo>
                  <a:lnTo>
                    <a:pt x="105834" y="351896"/>
                  </a:lnTo>
                  <a:lnTo>
                    <a:pt x="103188" y="349250"/>
                  </a:lnTo>
                  <a:lnTo>
                    <a:pt x="97896" y="351896"/>
                  </a:lnTo>
                  <a:lnTo>
                    <a:pt x="95251" y="354542"/>
                  </a:lnTo>
                  <a:lnTo>
                    <a:pt x="95251" y="359834"/>
                  </a:lnTo>
                  <a:lnTo>
                    <a:pt x="92605" y="365125"/>
                  </a:lnTo>
                  <a:lnTo>
                    <a:pt x="95251" y="367771"/>
                  </a:lnTo>
                  <a:lnTo>
                    <a:pt x="89959" y="367771"/>
                  </a:lnTo>
                  <a:lnTo>
                    <a:pt x="87313" y="367771"/>
                  </a:lnTo>
                  <a:lnTo>
                    <a:pt x="84667" y="365125"/>
                  </a:lnTo>
                  <a:lnTo>
                    <a:pt x="82021" y="365125"/>
                  </a:lnTo>
                  <a:lnTo>
                    <a:pt x="79375" y="359834"/>
                  </a:lnTo>
                  <a:lnTo>
                    <a:pt x="79375" y="357188"/>
                  </a:lnTo>
                  <a:lnTo>
                    <a:pt x="76729" y="354542"/>
                  </a:lnTo>
                  <a:lnTo>
                    <a:pt x="74083" y="354542"/>
                  </a:lnTo>
                  <a:lnTo>
                    <a:pt x="68792" y="354542"/>
                  </a:lnTo>
                  <a:lnTo>
                    <a:pt x="66146" y="357188"/>
                  </a:lnTo>
                  <a:lnTo>
                    <a:pt x="66146" y="354542"/>
                  </a:lnTo>
                  <a:lnTo>
                    <a:pt x="68792" y="351896"/>
                  </a:lnTo>
                  <a:lnTo>
                    <a:pt x="68792" y="343959"/>
                  </a:lnTo>
                  <a:lnTo>
                    <a:pt x="71437" y="338667"/>
                  </a:lnTo>
                  <a:lnTo>
                    <a:pt x="76729" y="330730"/>
                  </a:lnTo>
                  <a:lnTo>
                    <a:pt x="79375" y="330730"/>
                  </a:lnTo>
                  <a:lnTo>
                    <a:pt x="82021" y="330730"/>
                  </a:lnTo>
                  <a:lnTo>
                    <a:pt x="82021" y="333376"/>
                  </a:lnTo>
                  <a:lnTo>
                    <a:pt x="87313" y="330730"/>
                  </a:lnTo>
                  <a:lnTo>
                    <a:pt x="87313" y="328084"/>
                  </a:lnTo>
                  <a:close/>
                  <a:moveTo>
                    <a:pt x="150813" y="111125"/>
                  </a:moveTo>
                  <a:lnTo>
                    <a:pt x="158750" y="113771"/>
                  </a:lnTo>
                  <a:lnTo>
                    <a:pt x="164042" y="113771"/>
                  </a:lnTo>
                  <a:lnTo>
                    <a:pt x="166688" y="113771"/>
                  </a:lnTo>
                  <a:lnTo>
                    <a:pt x="169333" y="116417"/>
                  </a:lnTo>
                  <a:lnTo>
                    <a:pt x="169333" y="121708"/>
                  </a:lnTo>
                  <a:lnTo>
                    <a:pt x="169333" y="127000"/>
                  </a:lnTo>
                  <a:lnTo>
                    <a:pt x="171979" y="129646"/>
                  </a:lnTo>
                  <a:lnTo>
                    <a:pt x="182563" y="132292"/>
                  </a:lnTo>
                  <a:lnTo>
                    <a:pt x="193146" y="137584"/>
                  </a:lnTo>
                  <a:lnTo>
                    <a:pt x="203729" y="142875"/>
                  </a:lnTo>
                  <a:lnTo>
                    <a:pt x="214313" y="156104"/>
                  </a:lnTo>
                  <a:lnTo>
                    <a:pt x="216958" y="164042"/>
                  </a:lnTo>
                  <a:lnTo>
                    <a:pt x="219604" y="171979"/>
                  </a:lnTo>
                  <a:lnTo>
                    <a:pt x="224896" y="190500"/>
                  </a:lnTo>
                  <a:lnTo>
                    <a:pt x="227542" y="195792"/>
                  </a:lnTo>
                  <a:lnTo>
                    <a:pt x="224896" y="198438"/>
                  </a:lnTo>
                  <a:lnTo>
                    <a:pt x="222250" y="195792"/>
                  </a:lnTo>
                  <a:lnTo>
                    <a:pt x="219604" y="195792"/>
                  </a:lnTo>
                  <a:lnTo>
                    <a:pt x="216958" y="198438"/>
                  </a:lnTo>
                  <a:lnTo>
                    <a:pt x="216958" y="206375"/>
                  </a:lnTo>
                  <a:lnTo>
                    <a:pt x="222250" y="211667"/>
                  </a:lnTo>
                  <a:lnTo>
                    <a:pt x="230188" y="219605"/>
                  </a:lnTo>
                  <a:lnTo>
                    <a:pt x="235479" y="227542"/>
                  </a:lnTo>
                  <a:lnTo>
                    <a:pt x="235479" y="235480"/>
                  </a:lnTo>
                  <a:lnTo>
                    <a:pt x="235479" y="254000"/>
                  </a:lnTo>
                  <a:lnTo>
                    <a:pt x="238125" y="261938"/>
                  </a:lnTo>
                  <a:lnTo>
                    <a:pt x="240771" y="264584"/>
                  </a:lnTo>
                  <a:lnTo>
                    <a:pt x="248708" y="269875"/>
                  </a:lnTo>
                  <a:lnTo>
                    <a:pt x="251354" y="275167"/>
                  </a:lnTo>
                  <a:lnTo>
                    <a:pt x="248708" y="280459"/>
                  </a:lnTo>
                  <a:lnTo>
                    <a:pt x="246063" y="288396"/>
                  </a:lnTo>
                  <a:lnTo>
                    <a:pt x="246063" y="293688"/>
                  </a:lnTo>
                  <a:lnTo>
                    <a:pt x="243417" y="296334"/>
                  </a:lnTo>
                  <a:lnTo>
                    <a:pt x="238125" y="301626"/>
                  </a:lnTo>
                  <a:lnTo>
                    <a:pt x="238125" y="293688"/>
                  </a:lnTo>
                  <a:lnTo>
                    <a:pt x="235479" y="283105"/>
                  </a:lnTo>
                  <a:lnTo>
                    <a:pt x="232833" y="280459"/>
                  </a:lnTo>
                  <a:lnTo>
                    <a:pt x="230188" y="280459"/>
                  </a:lnTo>
                  <a:lnTo>
                    <a:pt x="227542" y="283105"/>
                  </a:lnTo>
                  <a:lnTo>
                    <a:pt x="227542" y="285751"/>
                  </a:lnTo>
                  <a:lnTo>
                    <a:pt x="230188" y="288396"/>
                  </a:lnTo>
                  <a:lnTo>
                    <a:pt x="230188" y="291042"/>
                  </a:lnTo>
                  <a:lnTo>
                    <a:pt x="230188" y="293688"/>
                  </a:lnTo>
                  <a:lnTo>
                    <a:pt x="230188" y="296334"/>
                  </a:lnTo>
                  <a:lnTo>
                    <a:pt x="227542" y="296334"/>
                  </a:lnTo>
                  <a:lnTo>
                    <a:pt x="222250" y="298980"/>
                  </a:lnTo>
                  <a:lnTo>
                    <a:pt x="224896" y="301626"/>
                  </a:lnTo>
                  <a:lnTo>
                    <a:pt x="224896" y="306917"/>
                  </a:lnTo>
                  <a:lnTo>
                    <a:pt x="222250" y="309563"/>
                  </a:lnTo>
                  <a:lnTo>
                    <a:pt x="219604" y="309563"/>
                  </a:lnTo>
                  <a:lnTo>
                    <a:pt x="216958" y="306917"/>
                  </a:lnTo>
                  <a:lnTo>
                    <a:pt x="214313" y="304271"/>
                  </a:lnTo>
                  <a:lnTo>
                    <a:pt x="211667" y="301626"/>
                  </a:lnTo>
                  <a:lnTo>
                    <a:pt x="209021" y="301626"/>
                  </a:lnTo>
                  <a:lnTo>
                    <a:pt x="206375" y="306917"/>
                  </a:lnTo>
                  <a:lnTo>
                    <a:pt x="203729" y="309563"/>
                  </a:lnTo>
                  <a:lnTo>
                    <a:pt x="198438" y="312209"/>
                  </a:lnTo>
                  <a:lnTo>
                    <a:pt x="190500" y="312209"/>
                  </a:lnTo>
                  <a:lnTo>
                    <a:pt x="174625" y="309563"/>
                  </a:lnTo>
                  <a:lnTo>
                    <a:pt x="171979" y="309563"/>
                  </a:lnTo>
                  <a:lnTo>
                    <a:pt x="174625" y="306917"/>
                  </a:lnTo>
                  <a:lnTo>
                    <a:pt x="171979" y="306917"/>
                  </a:lnTo>
                  <a:lnTo>
                    <a:pt x="164042" y="306917"/>
                  </a:lnTo>
                  <a:lnTo>
                    <a:pt x="161396" y="304271"/>
                  </a:lnTo>
                  <a:lnTo>
                    <a:pt x="158750" y="304271"/>
                  </a:lnTo>
                  <a:lnTo>
                    <a:pt x="158750" y="306917"/>
                  </a:lnTo>
                  <a:lnTo>
                    <a:pt x="158750" y="309563"/>
                  </a:lnTo>
                  <a:lnTo>
                    <a:pt x="161396" y="312209"/>
                  </a:lnTo>
                  <a:lnTo>
                    <a:pt x="164042" y="312209"/>
                  </a:lnTo>
                  <a:lnTo>
                    <a:pt x="166688" y="312209"/>
                  </a:lnTo>
                  <a:lnTo>
                    <a:pt x="169333" y="314855"/>
                  </a:lnTo>
                  <a:lnTo>
                    <a:pt x="171979" y="317501"/>
                  </a:lnTo>
                  <a:lnTo>
                    <a:pt x="169333" y="320146"/>
                  </a:lnTo>
                  <a:lnTo>
                    <a:pt x="166688" y="322792"/>
                  </a:lnTo>
                  <a:lnTo>
                    <a:pt x="164042" y="328084"/>
                  </a:lnTo>
                  <a:lnTo>
                    <a:pt x="164042" y="333376"/>
                  </a:lnTo>
                  <a:lnTo>
                    <a:pt x="164042" y="336021"/>
                  </a:lnTo>
                  <a:lnTo>
                    <a:pt x="166688" y="338667"/>
                  </a:lnTo>
                  <a:lnTo>
                    <a:pt x="161396" y="341313"/>
                  </a:lnTo>
                  <a:lnTo>
                    <a:pt x="153458" y="338667"/>
                  </a:lnTo>
                  <a:lnTo>
                    <a:pt x="145521" y="336021"/>
                  </a:lnTo>
                  <a:lnTo>
                    <a:pt x="140229" y="336021"/>
                  </a:lnTo>
                  <a:lnTo>
                    <a:pt x="134938" y="333376"/>
                  </a:lnTo>
                  <a:lnTo>
                    <a:pt x="132292" y="333376"/>
                  </a:lnTo>
                  <a:lnTo>
                    <a:pt x="132292" y="325438"/>
                  </a:lnTo>
                  <a:lnTo>
                    <a:pt x="132292" y="320146"/>
                  </a:lnTo>
                  <a:lnTo>
                    <a:pt x="129646" y="317501"/>
                  </a:lnTo>
                  <a:lnTo>
                    <a:pt x="127000" y="314855"/>
                  </a:lnTo>
                  <a:lnTo>
                    <a:pt x="129646" y="309563"/>
                  </a:lnTo>
                  <a:lnTo>
                    <a:pt x="119063" y="312209"/>
                  </a:lnTo>
                  <a:lnTo>
                    <a:pt x="105833" y="309563"/>
                  </a:lnTo>
                  <a:lnTo>
                    <a:pt x="100542" y="312209"/>
                  </a:lnTo>
                  <a:lnTo>
                    <a:pt x="97896" y="312209"/>
                  </a:lnTo>
                  <a:lnTo>
                    <a:pt x="97896" y="314855"/>
                  </a:lnTo>
                  <a:lnTo>
                    <a:pt x="92604" y="314855"/>
                  </a:lnTo>
                  <a:lnTo>
                    <a:pt x="87313" y="314855"/>
                  </a:lnTo>
                  <a:lnTo>
                    <a:pt x="84667" y="317501"/>
                  </a:lnTo>
                  <a:lnTo>
                    <a:pt x="82020" y="320146"/>
                  </a:lnTo>
                  <a:lnTo>
                    <a:pt x="76729" y="317501"/>
                  </a:lnTo>
                  <a:lnTo>
                    <a:pt x="74083" y="317501"/>
                  </a:lnTo>
                  <a:lnTo>
                    <a:pt x="71437" y="320146"/>
                  </a:lnTo>
                  <a:lnTo>
                    <a:pt x="71437" y="322792"/>
                  </a:lnTo>
                  <a:lnTo>
                    <a:pt x="66145" y="320146"/>
                  </a:lnTo>
                  <a:lnTo>
                    <a:pt x="63500" y="322792"/>
                  </a:lnTo>
                  <a:lnTo>
                    <a:pt x="60854" y="328084"/>
                  </a:lnTo>
                  <a:lnTo>
                    <a:pt x="58208" y="333376"/>
                  </a:lnTo>
                  <a:lnTo>
                    <a:pt x="55562" y="333376"/>
                  </a:lnTo>
                  <a:lnTo>
                    <a:pt x="52916" y="333376"/>
                  </a:lnTo>
                  <a:lnTo>
                    <a:pt x="44979" y="330730"/>
                  </a:lnTo>
                  <a:lnTo>
                    <a:pt x="37041" y="333376"/>
                  </a:lnTo>
                  <a:lnTo>
                    <a:pt x="29104" y="333376"/>
                  </a:lnTo>
                  <a:lnTo>
                    <a:pt x="23812" y="333376"/>
                  </a:lnTo>
                  <a:lnTo>
                    <a:pt x="18520" y="328084"/>
                  </a:lnTo>
                  <a:lnTo>
                    <a:pt x="13229" y="322792"/>
                  </a:lnTo>
                  <a:lnTo>
                    <a:pt x="13229" y="320146"/>
                  </a:lnTo>
                  <a:lnTo>
                    <a:pt x="15875" y="320146"/>
                  </a:lnTo>
                  <a:lnTo>
                    <a:pt x="23812" y="317501"/>
                  </a:lnTo>
                  <a:lnTo>
                    <a:pt x="26458" y="317501"/>
                  </a:lnTo>
                  <a:lnTo>
                    <a:pt x="29104" y="314855"/>
                  </a:lnTo>
                  <a:lnTo>
                    <a:pt x="34395" y="304271"/>
                  </a:lnTo>
                  <a:lnTo>
                    <a:pt x="39687" y="296334"/>
                  </a:lnTo>
                  <a:lnTo>
                    <a:pt x="44979" y="291042"/>
                  </a:lnTo>
                  <a:lnTo>
                    <a:pt x="42333" y="288396"/>
                  </a:lnTo>
                  <a:lnTo>
                    <a:pt x="50270" y="285751"/>
                  </a:lnTo>
                  <a:lnTo>
                    <a:pt x="58208" y="283105"/>
                  </a:lnTo>
                  <a:lnTo>
                    <a:pt x="63500" y="283105"/>
                  </a:lnTo>
                  <a:lnTo>
                    <a:pt x="76729" y="280459"/>
                  </a:lnTo>
                  <a:lnTo>
                    <a:pt x="95250" y="275167"/>
                  </a:lnTo>
                  <a:lnTo>
                    <a:pt x="97896" y="275167"/>
                  </a:lnTo>
                  <a:lnTo>
                    <a:pt x="100542" y="275167"/>
                  </a:lnTo>
                  <a:lnTo>
                    <a:pt x="103188" y="277813"/>
                  </a:lnTo>
                  <a:lnTo>
                    <a:pt x="105833" y="275167"/>
                  </a:lnTo>
                  <a:lnTo>
                    <a:pt x="111125" y="275167"/>
                  </a:lnTo>
                  <a:lnTo>
                    <a:pt x="113771" y="277813"/>
                  </a:lnTo>
                  <a:lnTo>
                    <a:pt x="116417" y="280459"/>
                  </a:lnTo>
                  <a:lnTo>
                    <a:pt x="121708" y="277813"/>
                  </a:lnTo>
                  <a:lnTo>
                    <a:pt x="124354" y="275167"/>
                  </a:lnTo>
                  <a:lnTo>
                    <a:pt x="121708" y="272521"/>
                  </a:lnTo>
                  <a:lnTo>
                    <a:pt x="119063" y="269875"/>
                  </a:lnTo>
                  <a:lnTo>
                    <a:pt x="119063" y="261938"/>
                  </a:lnTo>
                  <a:lnTo>
                    <a:pt x="119063" y="254000"/>
                  </a:lnTo>
                  <a:lnTo>
                    <a:pt x="116417" y="248709"/>
                  </a:lnTo>
                  <a:lnTo>
                    <a:pt x="113771" y="243417"/>
                  </a:lnTo>
                  <a:lnTo>
                    <a:pt x="116417" y="235480"/>
                  </a:lnTo>
                  <a:lnTo>
                    <a:pt x="124354" y="224896"/>
                  </a:lnTo>
                  <a:lnTo>
                    <a:pt x="127000" y="224896"/>
                  </a:lnTo>
                  <a:lnTo>
                    <a:pt x="129646" y="224896"/>
                  </a:lnTo>
                  <a:lnTo>
                    <a:pt x="129646" y="227542"/>
                  </a:lnTo>
                  <a:lnTo>
                    <a:pt x="129646" y="232834"/>
                  </a:lnTo>
                  <a:lnTo>
                    <a:pt x="127000" y="235480"/>
                  </a:lnTo>
                  <a:lnTo>
                    <a:pt x="129646" y="235480"/>
                  </a:lnTo>
                  <a:lnTo>
                    <a:pt x="132292" y="238125"/>
                  </a:lnTo>
                  <a:lnTo>
                    <a:pt x="132292" y="243417"/>
                  </a:lnTo>
                  <a:lnTo>
                    <a:pt x="137583" y="243417"/>
                  </a:lnTo>
                  <a:lnTo>
                    <a:pt x="145521" y="235480"/>
                  </a:lnTo>
                  <a:lnTo>
                    <a:pt x="158750" y="224896"/>
                  </a:lnTo>
                  <a:lnTo>
                    <a:pt x="164042" y="219605"/>
                  </a:lnTo>
                  <a:lnTo>
                    <a:pt x="164042" y="214313"/>
                  </a:lnTo>
                  <a:lnTo>
                    <a:pt x="164042" y="209021"/>
                  </a:lnTo>
                  <a:lnTo>
                    <a:pt x="166688" y="203729"/>
                  </a:lnTo>
                  <a:lnTo>
                    <a:pt x="169333" y="193146"/>
                  </a:lnTo>
                  <a:lnTo>
                    <a:pt x="166688" y="182563"/>
                  </a:lnTo>
                  <a:lnTo>
                    <a:pt x="164042" y="174625"/>
                  </a:lnTo>
                  <a:lnTo>
                    <a:pt x="158750" y="169334"/>
                  </a:lnTo>
                  <a:lnTo>
                    <a:pt x="156104" y="166688"/>
                  </a:lnTo>
                  <a:lnTo>
                    <a:pt x="153458" y="166688"/>
                  </a:lnTo>
                  <a:lnTo>
                    <a:pt x="150813" y="166688"/>
                  </a:lnTo>
                  <a:lnTo>
                    <a:pt x="148167" y="164042"/>
                  </a:lnTo>
                  <a:lnTo>
                    <a:pt x="148167" y="161396"/>
                  </a:lnTo>
                  <a:lnTo>
                    <a:pt x="150813" y="158750"/>
                  </a:lnTo>
                  <a:lnTo>
                    <a:pt x="150813" y="153459"/>
                  </a:lnTo>
                  <a:lnTo>
                    <a:pt x="140229" y="142875"/>
                  </a:lnTo>
                  <a:lnTo>
                    <a:pt x="137583" y="140229"/>
                  </a:lnTo>
                  <a:lnTo>
                    <a:pt x="137583" y="137584"/>
                  </a:lnTo>
                  <a:lnTo>
                    <a:pt x="142875" y="132292"/>
                  </a:lnTo>
                  <a:lnTo>
                    <a:pt x="140229" y="129646"/>
                  </a:lnTo>
                  <a:lnTo>
                    <a:pt x="137583" y="127000"/>
                  </a:lnTo>
                  <a:lnTo>
                    <a:pt x="137583" y="124354"/>
                  </a:lnTo>
                  <a:lnTo>
                    <a:pt x="140229" y="121708"/>
                  </a:lnTo>
                  <a:lnTo>
                    <a:pt x="142875" y="121708"/>
                  </a:lnTo>
                  <a:lnTo>
                    <a:pt x="148167" y="124354"/>
                  </a:lnTo>
                  <a:lnTo>
                    <a:pt x="153458" y="127000"/>
                  </a:lnTo>
                  <a:lnTo>
                    <a:pt x="156104" y="127000"/>
                  </a:lnTo>
                  <a:lnTo>
                    <a:pt x="158750" y="119063"/>
                  </a:lnTo>
                  <a:lnTo>
                    <a:pt x="158750" y="116417"/>
                  </a:lnTo>
                  <a:lnTo>
                    <a:pt x="153458" y="119063"/>
                  </a:lnTo>
                  <a:lnTo>
                    <a:pt x="150813" y="121708"/>
                  </a:lnTo>
                  <a:lnTo>
                    <a:pt x="148167" y="121708"/>
                  </a:lnTo>
                  <a:lnTo>
                    <a:pt x="148167" y="116417"/>
                  </a:lnTo>
                  <a:lnTo>
                    <a:pt x="148167" y="113771"/>
                  </a:lnTo>
                  <a:close/>
                  <a:moveTo>
                    <a:pt x="89958" y="0"/>
                  </a:moveTo>
                  <a:lnTo>
                    <a:pt x="92604" y="0"/>
                  </a:lnTo>
                  <a:lnTo>
                    <a:pt x="95250" y="2646"/>
                  </a:lnTo>
                  <a:lnTo>
                    <a:pt x="105833" y="10584"/>
                  </a:lnTo>
                  <a:lnTo>
                    <a:pt x="113771" y="15875"/>
                  </a:lnTo>
                  <a:lnTo>
                    <a:pt x="124354" y="21167"/>
                  </a:lnTo>
                  <a:lnTo>
                    <a:pt x="134937" y="23813"/>
                  </a:lnTo>
                  <a:lnTo>
                    <a:pt x="142875" y="29104"/>
                  </a:lnTo>
                  <a:lnTo>
                    <a:pt x="153458" y="34396"/>
                  </a:lnTo>
                  <a:lnTo>
                    <a:pt x="164042" y="37042"/>
                  </a:lnTo>
                  <a:lnTo>
                    <a:pt x="185208" y="42334"/>
                  </a:lnTo>
                  <a:lnTo>
                    <a:pt x="193146" y="44979"/>
                  </a:lnTo>
                  <a:lnTo>
                    <a:pt x="195792" y="42334"/>
                  </a:lnTo>
                  <a:lnTo>
                    <a:pt x="203729" y="37042"/>
                  </a:lnTo>
                  <a:lnTo>
                    <a:pt x="209021" y="29104"/>
                  </a:lnTo>
                  <a:lnTo>
                    <a:pt x="211667" y="29104"/>
                  </a:lnTo>
                  <a:lnTo>
                    <a:pt x="209021" y="42334"/>
                  </a:lnTo>
                  <a:lnTo>
                    <a:pt x="209021" y="47625"/>
                  </a:lnTo>
                  <a:lnTo>
                    <a:pt x="211667" y="50271"/>
                  </a:lnTo>
                  <a:lnTo>
                    <a:pt x="216958" y="50271"/>
                  </a:lnTo>
                  <a:lnTo>
                    <a:pt x="216958" y="52917"/>
                  </a:lnTo>
                  <a:lnTo>
                    <a:pt x="219604" y="58209"/>
                  </a:lnTo>
                  <a:lnTo>
                    <a:pt x="222250" y="58209"/>
                  </a:lnTo>
                  <a:lnTo>
                    <a:pt x="230188" y="58209"/>
                  </a:lnTo>
                  <a:lnTo>
                    <a:pt x="235479" y="58209"/>
                  </a:lnTo>
                  <a:lnTo>
                    <a:pt x="227542" y="63500"/>
                  </a:lnTo>
                  <a:lnTo>
                    <a:pt x="216958" y="71438"/>
                  </a:lnTo>
                  <a:lnTo>
                    <a:pt x="211667" y="71438"/>
                  </a:lnTo>
                  <a:lnTo>
                    <a:pt x="203729" y="71438"/>
                  </a:lnTo>
                  <a:lnTo>
                    <a:pt x="198437" y="74084"/>
                  </a:lnTo>
                  <a:lnTo>
                    <a:pt x="193146" y="79375"/>
                  </a:lnTo>
                  <a:lnTo>
                    <a:pt x="193146" y="84667"/>
                  </a:lnTo>
                  <a:lnTo>
                    <a:pt x="193146" y="89959"/>
                  </a:lnTo>
                  <a:lnTo>
                    <a:pt x="198437" y="95251"/>
                  </a:lnTo>
                  <a:lnTo>
                    <a:pt x="195792" y="95251"/>
                  </a:lnTo>
                  <a:lnTo>
                    <a:pt x="187854" y="95251"/>
                  </a:lnTo>
                  <a:lnTo>
                    <a:pt x="177271" y="92605"/>
                  </a:lnTo>
                  <a:lnTo>
                    <a:pt x="169333" y="89959"/>
                  </a:lnTo>
                  <a:lnTo>
                    <a:pt x="161396" y="89959"/>
                  </a:lnTo>
                  <a:lnTo>
                    <a:pt x="150812" y="84667"/>
                  </a:lnTo>
                  <a:lnTo>
                    <a:pt x="145521" y="82021"/>
                  </a:lnTo>
                  <a:lnTo>
                    <a:pt x="142875" y="82021"/>
                  </a:lnTo>
                  <a:lnTo>
                    <a:pt x="137583" y="84667"/>
                  </a:lnTo>
                  <a:lnTo>
                    <a:pt x="134937" y="87313"/>
                  </a:lnTo>
                  <a:lnTo>
                    <a:pt x="132291" y="89959"/>
                  </a:lnTo>
                  <a:lnTo>
                    <a:pt x="129646" y="87313"/>
                  </a:lnTo>
                  <a:lnTo>
                    <a:pt x="121708" y="87313"/>
                  </a:lnTo>
                  <a:lnTo>
                    <a:pt x="116416" y="89959"/>
                  </a:lnTo>
                  <a:lnTo>
                    <a:pt x="116416" y="92605"/>
                  </a:lnTo>
                  <a:lnTo>
                    <a:pt x="124354" y="95251"/>
                  </a:lnTo>
                  <a:lnTo>
                    <a:pt x="134937" y="97896"/>
                  </a:lnTo>
                  <a:lnTo>
                    <a:pt x="142875" y="103188"/>
                  </a:lnTo>
                  <a:lnTo>
                    <a:pt x="148166" y="108480"/>
                  </a:lnTo>
                  <a:lnTo>
                    <a:pt x="137583" y="111126"/>
                  </a:lnTo>
                  <a:lnTo>
                    <a:pt x="134937" y="116417"/>
                  </a:lnTo>
                  <a:lnTo>
                    <a:pt x="132291" y="119063"/>
                  </a:lnTo>
                  <a:lnTo>
                    <a:pt x="127000" y="119063"/>
                  </a:lnTo>
                  <a:lnTo>
                    <a:pt x="124354" y="119063"/>
                  </a:lnTo>
                  <a:lnTo>
                    <a:pt x="121708" y="116417"/>
                  </a:lnTo>
                  <a:lnTo>
                    <a:pt x="121708" y="108480"/>
                  </a:lnTo>
                  <a:lnTo>
                    <a:pt x="121708" y="103188"/>
                  </a:lnTo>
                  <a:lnTo>
                    <a:pt x="119062" y="103188"/>
                  </a:lnTo>
                  <a:lnTo>
                    <a:pt x="116416" y="100542"/>
                  </a:lnTo>
                  <a:lnTo>
                    <a:pt x="108479" y="97896"/>
                  </a:lnTo>
                  <a:lnTo>
                    <a:pt x="103187" y="95251"/>
                  </a:lnTo>
                  <a:lnTo>
                    <a:pt x="100541" y="89959"/>
                  </a:lnTo>
                  <a:lnTo>
                    <a:pt x="103187" y="84667"/>
                  </a:lnTo>
                  <a:lnTo>
                    <a:pt x="105833" y="82021"/>
                  </a:lnTo>
                  <a:lnTo>
                    <a:pt x="105833" y="79375"/>
                  </a:lnTo>
                  <a:lnTo>
                    <a:pt x="103187" y="74084"/>
                  </a:lnTo>
                  <a:lnTo>
                    <a:pt x="97895" y="71438"/>
                  </a:lnTo>
                  <a:lnTo>
                    <a:pt x="97895" y="68792"/>
                  </a:lnTo>
                  <a:lnTo>
                    <a:pt x="100541" y="68792"/>
                  </a:lnTo>
                  <a:lnTo>
                    <a:pt x="105833" y="68792"/>
                  </a:lnTo>
                  <a:lnTo>
                    <a:pt x="111125" y="68792"/>
                  </a:lnTo>
                  <a:lnTo>
                    <a:pt x="116416" y="63500"/>
                  </a:lnTo>
                  <a:lnTo>
                    <a:pt x="116416" y="60855"/>
                  </a:lnTo>
                  <a:lnTo>
                    <a:pt x="111125" y="55563"/>
                  </a:lnTo>
                  <a:lnTo>
                    <a:pt x="108479" y="50271"/>
                  </a:lnTo>
                  <a:lnTo>
                    <a:pt x="108479" y="47625"/>
                  </a:lnTo>
                  <a:lnTo>
                    <a:pt x="108479" y="42334"/>
                  </a:lnTo>
                  <a:lnTo>
                    <a:pt x="111125" y="39688"/>
                  </a:lnTo>
                  <a:lnTo>
                    <a:pt x="108479" y="37042"/>
                  </a:lnTo>
                  <a:lnTo>
                    <a:pt x="103187" y="34396"/>
                  </a:lnTo>
                  <a:lnTo>
                    <a:pt x="100541" y="31750"/>
                  </a:lnTo>
                  <a:lnTo>
                    <a:pt x="95250" y="21167"/>
                  </a:lnTo>
                  <a:lnTo>
                    <a:pt x="89958" y="15875"/>
                  </a:lnTo>
                  <a:lnTo>
                    <a:pt x="84666" y="13229"/>
                  </a:lnTo>
                  <a:lnTo>
                    <a:pt x="84666" y="10584"/>
                  </a:lnTo>
                  <a:lnTo>
                    <a:pt x="87312" y="793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3" name="Kazakhstan"/>
            <p:cNvSpPr>
              <a:spLocks/>
            </p:cNvSpPr>
            <p:nvPr/>
          </p:nvSpPr>
          <p:spPr bwMode="auto">
            <a:xfrm>
              <a:off x="5274434" y="1903677"/>
              <a:ext cx="976313" cy="402167"/>
            </a:xfrm>
            <a:custGeom>
              <a:avLst/>
              <a:gdLst/>
              <a:ahLst/>
              <a:cxnLst>
                <a:cxn ang="0">
                  <a:pos x="474" y="288"/>
                </a:cxn>
                <a:cxn ang="0">
                  <a:pos x="456" y="304"/>
                </a:cxn>
                <a:cxn ang="0">
                  <a:pos x="420" y="292"/>
                </a:cxn>
                <a:cxn ang="0">
                  <a:pos x="378" y="236"/>
                </a:cxn>
                <a:cxn ang="0">
                  <a:pos x="354" y="238"/>
                </a:cxn>
                <a:cxn ang="0">
                  <a:pos x="298" y="216"/>
                </a:cxn>
                <a:cxn ang="0">
                  <a:pos x="288" y="192"/>
                </a:cxn>
                <a:cxn ang="0">
                  <a:pos x="276" y="178"/>
                </a:cxn>
                <a:cxn ang="0">
                  <a:pos x="252" y="176"/>
                </a:cxn>
                <a:cxn ang="0">
                  <a:pos x="240" y="186"/>
                </a:cxn>
                <a:cxn ang="0">
                  <a:pos x="206" y="202"/>
                </a:cxn>
                <a:cxn ang="0">
                  <a:pos x="198" y="278"/>
                </a:cxn>
                <a:cxn ang="0">
                  <a:pos x="156" y="282"/>
                </a:cxn>
                <a:cxn ang="0">
                  <a:pos x="150" y="250"/>
                </a:cxn>
                <a:cxn ang="0">
                  <a:pos x="128" y="240"/>
                </a:cxn>
                <a:cxn ang="0">
                  <a:pos x="98" y="222"/>
                </a:cxn>
                <a:cxn ang="0">
                  <a:pos x="102" y="214"/>
                </a:cxn>
                <a:cxn ang="0">
                  <a:pos x="96" y="204"/>
                </a:cxn>
                <a:cxn ang="0">
                  <a:pos x="120" y="192"/>
                </a:cxn>
                <a:cxn ang="0">
                  <a:pos x="134" y="192"/>
                </a:cxn>
                <a:cxn ang="0">
                  <a:pos x="132" y="172"/>
                </a:cxn>
                <a:cxn ang="0">
                  <a:pos x="122" y="152"/>
                </a:cxn>
                <a:cxn ang="0">
                  <a:pos x="82" y="160"/>
                </a:cxn>
                <a:cxn ang="0">
                  <a:pos x="54" y="168"/>
                </a:cxn>
                <a:cxn ang="0">
                  <a:pos x="46" y="150"/>
                </a:cxn>
                <a:cxn ang="0">
                  <a:pos x="16" y="142"/>
                </a:cxn>
                <a:cxn ang="0">
                  <a:pos x="0" y="126"/>
                </a:cxn>
                <a:cxn ang="0">
                  <a:pos x="10" y="86"/>
                </a:cxn>
                <a:cxn ang="0">
                  <a:pos x="32" y="94"/>
                </a:cxn>
                <a:cxn ang="0">
                  <a:pos x="38" y="78"/>
                </a:cxn>
                <a:cxn ang="0">
                  <a:pos x="56" y="64"/>
                </a:cxn>
                <a:cxn ang="0">
                  <a:pos x="86" y="66"/>
                </a:cxn>
                <a:cxn ang="0">
                  <a:pos x="118" y="72"/>
                </a:cxn>
                <a:cxn ang="0">
                  <a:pos x="148" y="74"/>
                </a:cxn>
                <a:cxn ang="0">
                  <a:pos x="172" y="78"/>
                </a:cxn>
                <a:cxn ang="0">
                  <a:pos x="198" y="82"/>
                </a:cxn>
                <a:cxn ang="0">
                  <a:pos x="246" y="84"/>
                </a:cxn>
                <a:cxn ang="0">
                  <a:pos x="230" y="66"/>
                </a:cxn>
                <a:cxn ang="0">
                  <a:pos x="228" y="46"/>
                </a:cxn>
                <a:cxn ang="0">
                  <a:pos x="208" y="36"/>
                </a:cxn>
                <a:cxn ang="0">
                  <a:pos x="282" y="22"/>
                </a:cxn>
                <a:cxn ang="0">
                  <a:pos x="338" y="10"/>
                </a:cxn>
                <a:cxn ang="0">
                  <a:pos x="374" y="4"/>
                </a:cxn>
                <a:cxn ang="0">
                  <a:pos x="382" y="22"/>
                </a:cxn>
                <a:cxn ang="0">
                  <a:pos x="406" y="22"/>
                </a:cxn>
                <a:cxn ang="0">
                  <a:pos x="422" y="34"/>
                </a:cxn>
                <a:cxn ang="0">
                  <a:pos x="444" y="24"/>
                </a:cxn>
                <a:cxn ang="0">
                  <a:pos x="462" y="26"/>
                </a:cxn>
                <a:cxn ang="0">
                  <a:pos x="568" y="88"/>
                </a:cxn>
                <a:cxn ang="0">
                  <a:pos x="592" y="90"/>
                </a:cxn>
                <a:cxn ang="0">
                  <a:pos x="640" y="96"/>
                </a:cxn>
                <a:cxn ang="0">
                  <a:pos x="664" y="108"/>
                </a:cxn>
                <a:cxn ang="0">
                  <a:pos x="690" y="104"/>
                </a:cxn>
                <a:cxn ang="0">
                  <a:pos x="726" y="114"/>
                </a:cxn>
                <a:cxn ang="0">
                  <a:pos x="722" y="122"/>
                </a:cxn>
                <a:cxn ang="0">
                  <a:pos x="696" y="156"/>
                </a:cxn>
                <a:cxn ang="0">
                  <a:pos x="674" y="186"/>
                </a:cxn>
                <a:cxn ang="0">
                  <a:pos x="640" y="206"/>
                </a:cxn>
                <a:cxn ang="0">
                  <a:pos x="664" y="234"/>
                </a:cxn>
                <a:cxn ang="0">
                  <a:pos x="658" y="258"/>
                </a:cxn>
                <a:cxn ang="0">
                  <a:pos x="634" y="250"/>
                </a:cxn>
                <a:cxn ang="0">
                  <a:pos x="544" y="250"/>
                </a:cxn>
                <a:cxn ang="0">
                  <a:pos x="512" y="252"/>
                </a:cxn>
              </a:cxnLst>
              <a:rect l="0" t="0" r="r" b="b"/>
              <a:pathLst>
                <a:path w="738" h="304">
                  <a:moveTo>
                    <a:pt x="498" y="260"/>
                  </a:moveTo>
                  <a:lnTo>
                    <a:pt x="498" y="260"/>
                  </a:lnTo>
                  <a:lnTo>
                    <a:pt x="492" y="264"/>
                  </a:lnTo>
                  <a:lnTo>
                    <a:pt x="492" y="264"/>
                  </a:lnTo>
                  <a:lnTo>
                    <a:pt x="486" y="270"/>
                  </a:lnTo>
                  <a:lnTo>
                    <a:pt x="484" y="276"/>
                  </a:lnTo>
                  <a:lnTo>
                    <a:pt x="480" y="282"/>
                  </a:lnTo>
                  <a:lnTo>
                    <a:pt x="474" y="288"/>
                  </a:lnTo>
                  <a:lnTo>
                    <a:pt x="474" y="288"/>
                  </a:lnTo>
                  <a:lnTo>
                    <a:pt x="468" y="292"/>
                  </a:lnTo>
                  <a:lnTo>
                    <a:pt x="466" y="296"/>
                  </a:lnTo>
                  <a:lnTo>
                    <a:pt x="466" y="300"/>
                  </a:lnTo>
                  <a:lnTo>
                    <a:pt x="466" y="302"/>
                  </a:lnTo>
                  <a:lnTo>
                    <a:pt x="466" y="304"/>
                  </a:lnTo>
                  <a:lnTo>
                    <a:pt x="462" y="304"/>
                  </a:lnTo>
                  <a:lnTo>
                    <a:pt x="462" y="304"/>
                  </a:lnTo>
                  <a:lnTo>
                    <a:pt x="458" y="304"/>
                  </a:lnTo>
                  <a:lnTo>
                    <a:pt x="456" y="304"/>
                  </a:lnTo>
                  <a:lnTo>
                    <a:pt x="458" y="300"/>
                  </a:lnTo>
                  <a:lnTo>
                    <a:pt x="460" y="298"/>
                  </a:lnTo>
                  <a:lnTo>
                    <a:pt x="456" y="298"/>
                  </a:lnTo>
                  <a:lnTo>
                    <a:pt x="456" y="298"/>
                  </a:lnTo>
                  <a:lnTo>
                    <a:pt x="438" y="300"/>
                  </a:lnTo>
                  <a:lnTo>
                    <a:pt x="430" y="300"/>
                  </a:lnTo>
                  <a:lnTo>
                    <a:pt x="426" y="298"/>
                  </a:lnTo>
                  <a:lnTo>
                    <a:pt x="422" y="296"/>
                  </a:lnTo>
                  <a:lnTo>
                    <a:pt x="420" y="292"/>
                  </a:lnTo>
                  <a:lnTo>
                    <a:pt x="418" y="280"/>
                  </a:lnTo>
                  <a:lnTo>
                    <a:pt x="408" y="282"/>
                  </a:lnTo>
                  <a:lnTo>
                    <a:pt x="398" y="266"/>
                  </a:lnTo>
                  <a:lnTo>
                    <a:pt x="406" y="266"/>
                  </a:lnTo>
                  <a:lnTo>
                    <a:pt x="402" y="248"/>
                  </a:lnTo>
                  <a:lnTo>
                    <a:pt x="394" y="254"/>
                  </a:lnTo>
                  <a:lnTo>
                    <a:pt x="394" y="254"/>
                  </a:lnTo>
                  <a:lnTo>
                    <a:pt x="382" y="240"/>
                  </a:lnTo>
                  <a:lnTo>
                    <a:pt x="378" y="236"/>
                  </a:lnTo>
                  <a:lnTo>
                    <a:pt x="374" y="234"/>
                  </a:lnTo>
                  <a:lnTo>
                    <a:pt x="370" y="234"/>
                  </a:lnTo>
                  <a:lnTo>
                    <a:pt x="364" y="232"/>
                  </a:lnTo>
                  <a:lnTo>
                    <a:pt x="364" y="232"/>
                  </a:lnTo>
                  <a:lnTo>
                    <a:pt x="360" y="228"/>
                  </a:lnTo>
                  <a:lnTo>
                    <a:pt x="360" y="232"/>
                  </a:lnTo>
                  <a:lnTo>
                    <a:pt x="358" y="236"/>
                  </a:lnTo>
                  <a:lnTo>
                    <a:pt x="356" y="238"/>
                  </a:lnTo>
                  <a:lnTo>
                    <a:pt x="354" y="238"/>
                  </a:lnTo>
                  <a:lnTo>
                    <a:pt x="354" y="238"/>
                  </a:lnTo>
                  <a:lnTo>
                    <a:pt x="308" y="236"/>
                  </a:lnTo>
                  <a:lnTo>
                    <a:pt x="308" y="236"/>
                  </a:lnTo>
                  <a:lnTo>
                    <a:pt x="306" y="236"/>
                  </a:lnTo>
                  <a:lnTo>
                    <a:pt x="302" y="234"/>
                  </a:lnTo>
                  <a:lnTo>
                    <a:pt x="298" y="226"/>
                  </a:lnTo>
                  <a:lnTo>
                    <a:pt x="296" y="220"/>
                  </a:lnTo>
                  <a:lnTo>
                    <a:pt x="296" y="216"/>
                  </a:lnTo>
                  <a:lnTo>
                    <a:pt x="298" y="216"/>
                  </a:lnTo>
                  <a:lnTo>
                    <a:pt x="298" y="216"/>
                  </a:lnTo>
                  <a:lnTo>
                    <a:pt x="298" y="214"/>
                  </a:lnTo>
                  <a:lnTo>
                    <a:pt x="298" y="212"/>
                  </a:lnTo>
                  <a:lnTo>
                    <a:pt x="296" y="206"/>
                  </a:lnTo>
                  <a:lnTo>
                    <a:pt x="292" y="198"/>
                  </a:lnTo>
                  <a:lnTo>
                    <a:pt x="290" y="196"/>
                  </a:lnTo>
                  <a:lnTo>
                    <a:pt x="286" y="194"/>
                  </a:lnTo>
                  <a:lnTo>
                    <a:pt x="286" y="194"/>
                  </a:lnTo>
                  <a:lnTo>
                    <a:pt x="288" y="192"/>
                  </a:lnTo>
                  <a:lnTo>
                    <a:pt x="288" y="192"/>
                  </a:lnTo>
                  <a:lnTo>
                    <a:pt x="286" y="190"/>
                  </a:lnTo>
                  <a:lnTo>
                    <a:pt x="286" y="190"/>
                  </a:lnTo>
                  <a:lnTo>
                    <a:pt x="284" y="190"/>
                  </a:lnTo>
                  <a:lnTo>
                    <a:pt x="282" y="188"/>
                  </a:lnTo>
                  <a:lnTo>
                    <a:pt x="282" y="182"/>
                  </a:lnTo>
                  <a:lnTo>
                    <a:pt x="280" y="180"/>
                  </a:lnTo>
                  <a:lnTo>
                    <a:pt x="280" y="178"/>
                  </a:lnTo>
                  <a:lnTo>
                    <a:pt x="276" y="178"/>
                  </a:lnTo>
                  <a:lnTo>
                    <a:pt x="270" y="178"/>
                  </a:lnTo>
                  <a:lnTo>
                    <a:pt x="270" y="178"/>
                  </a:lnTo>
                  <a:lnTo>
                    <a:pt x="264" y="180"/>
                  </a:lnTo>
                  <a:lnTo>
                    <a:pt x="260" y="178"/>
                  </a:lnTo>
                  <a:lnTo>
                    <a:pt x="258" y="178"/>
                  </a:lnTo>
                  <a:lnTo>
                    <a:pt x="258" y="176"/>
                  </a:lnTo>
                  <a:lnTo>
                    <a:pt x="256" y="174"/>
                  </a:lnTo>
                  <a:lnTo>
                    <a:pt x="252" y="176"/>
                  </a:lnTo>
                  <a:lnTo>
                    <a:pt x="252" y="176"/>
                  </a:lnTo>
                  <a:lnTo>
                    <a:pt x="250" y="178"/>
                  </a:lnTo>
                  <a:lnTo>
                    <a:pt x="248" y="178"/>
                  </a:lnTo>
                  <a:lnTo>
                    <a:pt x="246" y="174"/>
                  </a:lnTo>
                  <a:lnTo>
                    <a:pt x="244" y="172"/>
                  </a:lnTo>
                  <a:lnTo>
                    <a:pt x="244" y="180"/>
                  </a:lnTo>
                  <a:lnTo>
                    <a:pt x="244" y="180"/>
                  </a:lnTo>
                  <a:lnTo>
                    <a:pt x="244" y="188"/>
                  </a:lnTo>
                  <a:lnTo>
                    <a:pt x="244" y="192"/>
                  </a:lnTo>
                  <a:lnTo>
                    <a:pt x="240" y="186"/>
                  </a:lnTo>
                  <a:lnTo>
                    <a:pt x="236" y="182"/>
                  </a:lnTo>
                  <a:lnTo>
                    <a:pt x="236" y="182"/>
                  </a:lnTo>
                  <a:lnTo>
                    <a:pt x="234" y="190"/>
                  </a:lnTo>
                  <a:lnTo>
                    <a:pt x="234" y="190"/>
                  </a:lnTo>
                  <a:lnTo>
                    <a:pt x="234" y="192"/>
                  </a:lnTo>
                  <a:lnTo>
                    <a:pt x="230" y="194"/>
                  </a:lnTo>
                  <a:lnTo>
                    <a:pt x="218" y="196"/>
                  </a:lnTo>
                  <a:lnTo>
                    <a:pt x="212" y="200"/>
                  </a:lnTo>
                  <a:lnTo>
                    <a:pt x="206" y="202"/>
                  </a:lnTo>
                  <a:lnTo>
                    <a:pt x="204" y="206"/>
                  </a:lnTo>
                  <a:lnTo>
                    <a:pt x="204" y="212"/>
                  </a:lnTo>
                  <a:lnTo>
                    <a:pt x="204" y="212"/>
                  </a:lnTo>
                  <a:lnTo>
                    <a:pt x="226" y="288"/>
                  </a:lnTo>
                  <a:lnTo>
                    <a:pt x="226" y="288"/>
                  </a:lnTo>
                  <a:lnTo>
                    <a:pt x="210" y="288"/>
                  </a:lnTo>
                  <a:lnTo>
                    <a:pt x="204" y="284"/>
                  </a:lnTo>
                  <a:lnTo>
                    <a:pt x="198" y="278"/>
                  </a:lnTo>
                  <a:lnTo>
                    <a:pt x="198" y="278"/>
                  </a:lnTo>
                  <a:lnTo>
                    <a:pt x="196" y="274"/>
                  </a:lnTo>
                  <a:lnTo>
                    <a:pt x="190" y="270"/>
                  </a:lnTo>
                  <a:lnTo>
                    <a:pt x="184" y="266"/>
                  </a:lnTo>
                  <a:lnTo>
                    <a:pt x="178" y="266"/>
                  </a:lnTo>
                  <a:lnTo>
                    <a:pt x="172" y="266"/>
                  </a:lnTo>
                  <a:lnTo>
                    <a:pt x="164" y="268"/>
                  </a:lnTo>
                  <a:lnTo>
                    <a:pt x="160" y="274"/>
                  </a:lnTo>
                  <a:lnTo>
                    <a:pt x="156" y="282"/>
                  </a:lnTo>
                  <a:lnTo>
                    <a:pt x="156" y="282"/>
                  </a:lnTo>
                  <a:lnTo>
                    <a:pt x="152" y="280"/>
                  </a:lnTo>
                  <a:lnTo>
                    <a:pt x="148" y="278"/>
                  </a:lnTo>
                  <a:lnTo>
                    <a:pt x="146" y="272"/>
                  </a:lnTo>
                  <a:lnTo>
                    <a:pt x="146" y="266"/>
                  </a:lnTo>
                  <a:lnTo>
                    <a:pt x="148" y="264"/>
                  </a:lnTo>
                  <a:lnTo>
                    <a:pt x="148" y="264"/>
                  </a:lnTo>
                  <a:lnTo>
                    <a:pt x="150" y="260"/>
                  </a:lnTo>
                  <a:lnTo>
                    <a:pt x="150" y="256"/>
                  </a:lnTo>
                  <a:lnTo>
                    <a:pt x="150" y="250"/>
                  </a:lnTo>
                  <a:lnTo>
                    <a:pt x="150" y="250"/>
                  </a:lnTo>
                  <a:lnTo>
                    <a:pt x="150" y="246"/>
                  </a:lnTo>
                  <a:lnTo>
                    <a:pt x="148" y="246"/>
                  </a:lnTo>
                  <a:lnTo>
                    <a:pt x="138" y="248"/>
                  </a:lnTo>
                  <a:lnTo>
                    <a:pt x="128" y="248"/>
                  </a:lnTo>
                  <a:lnTo>
                    <a:pt x="126" y="248"/>
                  </a:lnTo>
                  <a:lnTo>
                    <a:pt x="126" y="244"/>
                  </a:lnTo>
                  <a:lnTo>
                    <a:pt x="126" y="244"/>
                  </a:lnTo>
                  <a:lnTo>
                    <a:pt x="128" y="240"/>
                  </a:lnTo>
                  <a:lnTo>
                    <a:pt x="126" y="240"/>
                  </a:lnTo>
                  <a:lnTo>
                    <a:pt x="120" y="238"/>
                  </a:lnTo>
                  <a:lnTo>
                    <a:pt x="114" y="238"/>
                  </a:lnTo>
                  <a:lnTo>
                    <a:pt x="112" y="236"/>
                  </a:lnTo>
                  <a:lnTo>
                    <a:pt x="110" y="232"/>
                  </a:lnTo>
                  <a:lnTo>
                    <a:pt x="110" y="232"/>
                  </a:lnTo>
                  <a:lnTo>
                    <a:pt x="106" y="226"/>
                  </a:lnTo>
                  <a:lnTo>
                    <a:pt x="102" y="224"/>
                  </a:lnTo>
                  <a:lnTo>
                    <a:pt x="98" y="222"/>
                  </a:lnTo>
                  <a:lnTo>
                    <a:pt x="94" y="222"/>
                  </a:lnTo>
                  <a:lnTo>
                    <a:pt x="86" y="222"/>
                  </a:lnTo>
                  <a:lnTo>
                    <a:pt x="82" y="220"/>
                  </a:lnTo>
                  <a:lnTo>
                    <a:pt x="80" y="216"/>
                  </a:lnTo>
                  <a:lnTo>
                    <a:pt x="80" y="216"/>
                  </a:lnTo>
                  <a:lnTo>
                    <a:pt x="80" y="214"/>
                  </a:lnTo>
                  <a:lnTo>
                    <a:pt x="84" y="214"/>
                  </a:lnTo>
                  <a:lnTo>
                    <a:pt x="92" y="212"/>
                  </a:lnTo>
                  <a:lnTo>
                    <a:pt x="102" y="214"/>
                  </a:lnTo>
                  <a:lnTo>
                    <a:pt x="106" y="212"/>
                  </a:lnTo>
                  <a:lnTo>
                    <a:pt x="108" y="212"/>
                  </a:lnTo>
                  <a:lnTo>
                    <a:pt x="108" y="212"/>
                  </a:lnTo>
                  <a:lnTo>
                    <a:pt x="110" y="210"/>
                  </a:lnTo>
                  <a:lnTo>
                    <a:pt x="106" y="210"/>
                  </a:lnTo>
                  <a:lnTo>
                    <a:pt x="102" y="208"/>
                  </a:lnTo>
                  <a:lnTo>
                    <a:pt x="96" y="206"/>
                  </a:lnTo>
                  <a:lnTo>
                    <a:pt x="96" y="206"/>
                  </a:lnTo>
                  <a:lnTo>
                    <a:pt x="96" y="204"/>
                  </a:lnTo>
                  <a:lnTo>
                    <a:pt x="94" y="202"/>
                  </a:lnTo>
                  <a:lnTo>
                    <a:pt x="98" y="196"/>
                  </a:lnTo>
                  <a:lnTo>
                    <a:pt x="102" y="192"/>
                  </a:lnTo>
                  <a:lnTo>
                    <a:pt x="106" y="192"/>
                  </a:lnTo>
                  <a:lnTo>
                    <a:pt x="108" y="192"/>
                  </a:lnTo>
                  <a:lnTo>
                    <a:pt x="108" y="192"/>
                  </a:lnTo>
                  <a:lnTo>
                    <a:pt x="112" y="194"/>
                  </a:lnTo>
                  <a:lnTo>
                    <a:pt x="116" y="192"/>
                  </a:lnTo>
                  <a:lnTo>
                    <a:pt x="120" y="192"/>
                  </a:lnTo>
                  <a:lnTo>
                    <a:pt x="126" y="196"/>
                  </a:lnTo>
                  <a:lnTo>
                    <a:pt x="126" y="196"/>
                  </a:lnTo>
                  <a:lnTo>
                    <a:pt x="130" y="198"/>
                  </a:lnTo>
                  <a:lnTo>
                    <a:pt x="134" y="200"/>
                  </a:lnTo>
                  <a:lnTo>
                    <a:pt x="138" y="198"/>
                  </a:lnTo>
                  <a:lnTo>
                    <a:pt x="136" y="196"/>
                  </a:lnTo>
                  <a:lnTo>
                    <a:pt x="136" y="196"/>
                  </a:lnTo>
                  <a:lnTo>
                    <a:pt x="134" y="194"/>
                  </a:lnTo>
                  <a:lnTo>
                    <a:pt x="134" y="192"/>
                  </a:lnTo>
                  <a:lnTo>
                    <a:pt x="138" y="190"/>
                  </a:lnTo>
                  <a:lnTo>
                    <a:pt x="140" y="188"/>
                  </a:lnTo>
                  <a:lnTo>
                    <a:pt x="140" y="186"/>
                  </a:lnTo>
                  <a:lnTo>
                    <a:pt x="138" y="184"/>
                  </a:lnTo>
                  <a:lnTo>
                    <a:pt x="138" y="184"/>
                  </a:lnTo>
                  <a:lnTo>
                    <a:pt x="136" y="180"/>
                  </a:lnTo>
                  <a:lnTo>
                    <a:pt x="136" y="178"/>
                  </a:lnTo>
                  <a:lnTo>
                    <a:pt x="136" y="174"/>
                  </a:lnTo>
                  <a:lnTo>
                    <a:pt x="132" y="172"/>
                  </a:lnTo>
                  <a:lnTo>
                    <a:pt x="132" y="172"/>
                  </a:lnTo>
                  <a:lnTo>
                    <a:pt x="130" y="172"/>
                  </a:lnTo>
                  <a:lnTo>
                    <a:pt x="130" y="168"/>
                  </a:lnTo>
                  <a:lnTo>
                    <a:pt x="130" y="166"/>
                  </a:lnTo>
                  <a:lnTo>
                    <a:pt x="128" y="162"/>
                  </a:lnTo>
                  <a:lnTo>
                    <a:pt x="128" y="162"/>
                  </a:lnTo>
                  <a:lnTo>
                    <a:pt x="124" y="160"/>
                  </a:lnTo>
                  <a:lnTo>
                    <a:pt x="124" y="154"/>
                  </a:lnTo>
                  <a:lnTo>
                    <a:pt x="122" y="152"/>
                  </a:lnTo>
                  <a:lnTo>
                    <a:pt x="120" y="152"/>
                  </a:lnTo>
                  <a:lnTo>
                    <a:pt x="116" y="150"/>
                  </a:lnTo>
                  <a:lnTo>
                    <a:pt x="110" y="150"/>
                  </a:lnTo>
                  <a:lnTo>
                    <a:pt x="110" y="150"/>
                  </a:lnTo>
                  <a:lnTo>
                    <a:pt x="90" y="154"/>
                  </a:lnTo>
                  <a:lnTo>
                    <a:pt x="88" y="154"/>
                  </a:lnTo>
                  <a:lnTo>
                    <a:pt x="86" y="156"/>
                  </a:lnTo>
                  <a:lnTo>
                    <a:pt x="86" y="156"/>
                  </a:lnTo>
                  <a:lnTo>
                    <a:pt x="82" y="160"/>
                  </a:lnTo>
                  <a:lnTo>
                    <a:pt x="78" y="162"/>
                  </a:lnTo>
                  <a:lnTo>
                    <a:pt x="74" y="162"/>
                  </a:lnTo>
                  <a:lnTo>
                    <a:pt x="68" y="166"/>
                  </a:lnTo>
                  <a:lnTo>
                    <a:pt x="68" y="166"/>
                  </a:lnTo>
                  <a:lnTo>
                    <a:pt x="60" y="170"/>
                  </a:lnTo>
                  <a:lnTo>
                    <a:pt x="58" y="172"/>
                  </a:lnTo>
                  <a:lnTo>
                    <a:pt x="58" y="172"/>
                  </a:lnTo>
                  <a:lnTo>
                    <a:pt x="58" y="170"/>
                  </a:lnTo>
                  <a:lnTo>
                    <a:pt x="54" y="168"/>
                  </a:lnTo>
                  <a:lnTo>
                    <a:pt x="54" y="168"/>
                  </a:lnTo>
                  <a:lnTo>
                    <a:pt x="52" y="166"/>
                  </a:lnTo>
                  <a:lnTo>
                    <a:pt x="52" y="164"/>
                  </a:lnTo>
                  <a:lnTo>
                    <a:pt x="56" y="162"/>
                  </a:lnTo>
                  <a:lnTo>
                    <a:pt x="56" y="160"/>
                  </a:lnTo>
                  <a:lnTo>
                    <a:pt x="56" y="158"/>
                  </a:lnTo>
                  <a:lnTo>
                    <a:pt x="54" y="154"/>
                  </a:lnTo>
                  <a:lnTo>
                    <a:pt x="46" y="150"/>
                  </a:lnTo>
                  <a:lnTo>
                    <a:pt x="46" y="150"/>
                  </a:lnTo>
                  <a:lnTo>
                    <a:pt x="38" y="144"/>
                  </a:lnTo>
                  <a:lnTo>
                    <a:pt x="32" y="144"/>
                  </a:lnTo>
                  <a:lnTo>
                    <a:pt x="30" y="144"/>
                  </a:lnTo>
                  <a:lnTo>
                    <a:pt x="26" y="140"/>
                  </a:lnTo>
                  <a:lnTo>
                    <a:pt x="26" y="140"/>
                  </a:lnTo>
                  <a:lnTo>
                    <a:pt x="24" y="140"/>
                  </a:lnTo>
                  <a:lnTo>
                    <a:pt x="22" y="140"/>
                  </a:lnTo>
                  <a:lnTo>
                    <a:pt x="18" y="142"/>
                  </a:lnTo>
                  <a:lnTo>
                    <a:pt x="16" y="142"/>
                  </a:lnTo>
                  <a:lnTo>
                    <a:pt x="14" y="142"/>
                  </a:lnTo>
                  <a:lnTo>
                    <a:pt x="12" y="140"/>
                  </a:lnTo>
                  <a:lnTo>
                    <a:pt x="10" y="136"/>
                  </a:lnTo>
                  <a:lnTo>
                    <a:pt x="10" y="136"/>
                  </a:lnTo>
                  <a:lnTo>
                    <a:pt x="10" y="132"/>
                  </a:lnTo>
                  <a:lnTo>
                    <a:pt x="8" y="132"/>
                  </a:lnTo>
                  <a:lnTo>
                    <a:pt x="2" y="130"/>
                  </a:lnTo>
                  <a:lnTo>
                    <a:pt x="2" y="128"/>
                  </a:lnTo>
                  <a:lnTo>
                    <a:pt x="0" y="126"/>
                  </a:lnTo>
                  <a:lnTo>
                    <a:pt x="4" y="118"/>
                  </a:lnTo>
                  <a:lnTo>
                    <a:pt x="4" y="118"/>
                  </a:lnTo>
                  <a:lnTo>
                    <a:pt x="8" y="108"/>
                  </a:lnTo>
                  <a:lnTo>
                    <a:pt x="8" y="106"/>
                  </a:lnTo>
                  <a:lnTo>
                    <a:pt x="6" y="102"/>
                  </a:lnTo>
                  <a:lnTo>
                    <a:pt x="6" y="98"/>
                  </a:lnTo>
                  <a:lnTo>
                    <a:pt x="6" y="98"/>
                  </a:lnTo>
                  <a:lnTo>
                    <a:pt x="8" y="92"/>
                  </a:lnTo>
                  <a:lnTo>
                    <a:pt x="10" y="86"/>
                  </a:lnTo>
                  <a:lnTo>
                    <a:pt x="12" y="84"/>
                  </a:lnTo>
                  <a:lnTo>
                    <a:pt x="14" y="88"/>
                  </a:lnTo>
                  <a:lnTo>
                    <a:pt x="14" y="88"/>
                  </a:lnTo>
                  <a:lnTo>
                    <a:pt x="20" y="98"/>
                  </a:lnTo>
                  <a:lnTo>
                    <a:pt x="24" y="102"/>
                  </a:lnTo>
                  <a:lnTo>
                    <a:pt x="30" y="100"/>
                  </a:lnTo>
                  <a:lnTo>
                    <a:pt x="30" y="100"/>
                  </a:lnTo>
                  <a:lnTo>
                    <a:pt x="32" y="98"/>
                  </a:lnTo>
                  <a:lnTo>
                    <a:pt x="32" y="94"/>
                  </a:lnTo>
                  <a:lnTo>
                    <a:pt x="28" y="90"/>
                  </a:lnTo>
                  <a:lnTo>
                    <a:pt x="22" y="84"/>
                  </a:lnTo>
                  <a:lnTo>
                    <a:pt x="22" y="84"/>
                  </a:lnTo>
                  <a:lnTo>
                    <a:pt x="26" y="84"/>
                  </a:lnTo>
                  <a:lnTo>
                    <a:pt x="30" y="86"/>
                  </a:lnTo>
                  <a:lnTo>
                    <a:pt x="32" y="86"/>
                  </a:lnTo>
                  <a:lnTo>
                    <a:pt x="34" y="82"/>
                  </a:lnTo>
                  <a:lnTo>
                    <a:pt x="34" y="82"/>
                  </a:lnTo>
                  <a:lnTo>
                    <a:pt x="38" y="78"/>
                  </a:lnTo>
                  <a:lnTo>
                    <a:pt x="42" y="74"/>
                  </a:lnTo>
                  <a:lnTo>
                    <a:pt x="46" y="70"/>
                  </a:lnTo>
                  <a:lnTo>
                    <a:pt x="46" y="66"/>
                  </a:lnTo>
                  <a:lnTo>
                    <a:pt x="46" y="66"/>
                  </a:lnTo>
                  <a:lnTo>
                    <a:pt x="46" y="62"/>
                  </a:lnTo>
                  <a:lnTo>
                    <a:pt x="50" y="60"/>
                  </a:lnTo>
                  <a:lnTo>
                    <a:pt x="54" y="62"/>
                  </a:lnTo>
                  <a:lnTo>
                    <a:pt x="56" y="64"/>
                  </a:lnTo>
                  <a:lnTo>
                    <a:pt x="56" y="64"/>
                  </a:lnTo>
                  <a:lnTo>
                    <a:pt x="60" y="68"/>
                  </a:lnTo>
                  <a:lnTo>
                    <a:pt x="62" y="68"/>
                  </a:lnTo>
                  <a:lnTo>
                    <a:pt x="68" y="66"/>
                  </a:lnTo>
                  <a:lnTo>
                    <a:pt x="72" y="62"/>
                  </a:lnTo>
                  <a:lnTo>
                    <a:pt x="76" y="62"/>
                  </a:lnTo>
                  <a:lnTo>
                    <a:pt x="78" y="64"/>
                  </a:lnTo>
                  <a:lnTo>
                    <a:pt x="78" y="64"/>
                  </a:lnTo>
                  <a:lnTo>
                    <a:pt x="84" y="66"/>
                  </a:lnTo>
                  <a:lnTo>
                    <a:pt x="86" y="66"/>
                  </a:lnTo>
                  <a:lnTo>
                    <a:pt x="92" y="64"/>
                  </a:lnTo>
                  <a:lnTo>
                    <a:pt x="94" y="64"/>
                  </a:lnTo>
                  <a:lnTo>
                    <a:pt x="98" y="64"/>
                  </a:lnTo>
                  <a:lnTo>
                    <a:pt x="104" y="68"/>
                  </a:lnTo>
                  <a:lnTo>
                    <a:pt x="112" y="74"/>
                  </a:lnTo>
                  <a:lnTo>
                    <a:pt x="112" y="74"/>
                  </a:lnTo>
                  <a:lnTo>
                    <a:pt x="114" y="76"/>
                  </a:lnTo>
                  <a:lnTo>
                    <a:pt x="116" y="76"/>
                  </a:lnTo>
                  <a:lnTo>
                    <a:pt x="118" y="72"/>
                  </a:lnTo>
                  <a:lnTo>
                    <a:pt x="118" y="70"/>
                  </a:lnTo>
                  <a:lnTo>
                    <a:pt x="120" y="70"/>
                  </a:lnTo>
                  <a:lnTo>
                    <a:pt x="126" y="72"/>
                  </a:lnTo>
                  <a:lnTo>
                    <a:pt x="134" y="76"/>
                  </a:lnTo>
                  <a:lnTo>
                    <a:pt x="134" y="76"/>
                  </a:lnTo>
                  <a:lnTo>
                    <a:pt x="142" y="80"/>
                  </a:lnTo>
                  <a:lnTo>
                    <a:pt x="146" y="82"/>
                  </a:lnTo>
                  <a:lnTo>
                    <a:pt x="148" y="78"/>
                  </a:lnTo>
                  <a:lnTo>
                    <a:pt x="148" y="74"/>
                  </a:lnTo>
                  <a:lnTo>
                    <a:pt x="148" y="74"/>
                  </a:lnTo>
                  <a:lnTo>
                    <a:pt x="150" y="72"/>
                  </a:lnTo>
                  <a:lnTo>
                    <a:pt x="152" y="74"/>
                  </a:lnTo>
                  <a:lnTo>
                    <a:pt x="156" y="74"/>
                  </a:lnTo>
                  <a:lnTo>
                    <a:pt x="162" y="74"/>
                  </a:lnTo>
                  <a:lnTo>
                    <a:pt x="162" y="74"/>
                  </a:lnTo>
                  <a:lnTo>
                    <a:pt x="168" y="72"/>
                  </a:lnTo>
                  <a:lnTo>
                    <a:pt x="170" y="76"/>
                  </a:lnTo>
                  <a:lnTo>
                    <a:pt x="172" y="78"/>
                  </a:lnTo>
                  <a:lnTo>
                    <a:pt x="178" y="76"/>
                  </a:lnTo>
                  <a:lnTo>
                    <a:pt x="178" y="76"/>
                  </a:lnTo>
                  <a:lnTo>
                    <a:pt x="194" y="72"/>
                  </a:lnTo>
                  <a:lnTo>
                    <a:pt x="200" y="70"/>
                  </a:lnTo>
                  <a:lnTo>
                    <a:pt x="202" y="72"/>
                  </a:lnTo>
                  <a:lnTo>
                    <a:pt x="202" y="74"/>
                  </a:lnTo>
                  <a:lnTo>
                    <a:pt x="202" y="74"/>
                  </a:lnTo>
                  <a:lnTo>
                    <a:pt x="198" y="78"/>
                  </a:lnTo>
                  <a:lnTo>
                    <a:pt x="198" y="82"/>
                  </a:lnTo>
                  <a:lnTo>
                    <a:pt x="200" y="84"/>
                  </a:lnTo>
                  <a:lnTo>
                    <a:pt x="204" y="84"/>
                  </a:lnTo>
                  <a:lnTo>
                    <a:pt x="210" y="82"/>
                  </a:lnTo>
                  <a:lnTo>
                    <a:pt x="214" y="80"/>
                  </a:lnTo>
                  <a:lnTo>
                    <a:pt x="216" y="76"/>
                  </a:lnTo>
                  <a:lnTo>
                    <a:pt x="216" y="76"/>
                  </a:lnTo>
                  <a:lnTo>
                    <a:pt x="230" y="82"/>
                  </a:lnTo>
                  <a:lnTo>
                    <a:pt x="240" y="84"/>
                  </a:lnTo>
                  <a:lnTo>
                    <a:pt x="246" y="84"/>
                  </a:lnTo>
                  <a:lnTo>
                    <a:pt x="250" y="82"/>
                  </a:lnTo>
                  <a:lnTo>
                    <a:pt x="252" y="80"/>
                  </a:lnTo>
                  <a:lnTo>
                    <a:pt x="252" y="74"/>
                  </a:lnTo>
                  <a:lnTo>
                    <a:pt x="252" y="74"/>
                  </a:lnTo>
                  <a:lnTo>
                    <a:pt x="252" y="70"/>
                  </a:lnTo>
                  <a:lnTo>
                    <a:pt x="250" y="68"/>
                  </a:lnTo>
                  <a:lnTo>
                    <a:pt x="246" y="66"/>
                  </a:lnTo>
                  <a:lnTo>
                    <a:pt x="242" y="66"/>
                  </a:lnTo>
                  <a:lnTo>
                    <a:pt x="230" y="66"/>
                  </a:lnTo>
                  <a:lnTo>
                    <a:pt x="214" y="62"/>
                  </a:lnTo>
                  <a:lnTo>
                    <a:pt x="214" y="62"/>
                  </a:lnTo>
                  <a:lnTo>
                    <a:pt x="208" y="60"/>
                  </a:lnTo>
                  <a:lnTo>
                    <a:pt x="208" y="60"/>
                  </a:lnTo>
                  <a:lnTo>
                    <a:pt x="208" y="58"/>
                  </a:lnTo>
                  <a:lnTo>
                    <a:pt x="218" y="52"/>
                  </a:lnTo>
                  <a:lnTo>
                    <a:pt x="228" y="48"/>
                  </a:lnTo>
                  <a:lnTo>
                    <a:pt x="228" y="48"/>
                  </a:lnTo>
                  <a:lnTo>
                    <a:pt x="228" y="46"/>
                  </a:lnTo>
                  <a:lnTo>
                    <a:pt x="222" y="46"/>
                  </a:lnTo>
                  <a:lnTo>
                    <a:pt x="222" y="46"/>
                  </a:lnTo>
                  <a:lnTo>
                    <a:pt x="214" y="44"/>
                  </a:lnTo>
                  <a:lnTo>
                    <a:pt x="214" y="42"/>
                  </a:lnTo>
                  <a:lnTo>
                    <a:pt x="214" y="42"/>
                  </a:lnTo>
                  <a:lnTo>
                    <a:pt x="216" y="40"/>
                  </a:lnTo>
                  <a:lnTo>
                    <a:pt x="212" y="38"/>
                  </a:lnTo>
                  <a:lnTo>
                    <a:pt x="212" y="38"/>
                  </a:lnTo>
                  <a:lnTo>
                    <a:pt x="208" y="36"/>
                  </a:lnTo>
                  <a:lnTo>
                    <a:pt x="208" y="34"/>
                  </a:lnTo>
                  <a:lnTo>
                    <a:pt x="214" y="28"/>
                  </a:lnTo>
                  <a:lnTo>
                    <a:pt x="214" y="28"/>
                  </a:lnTo>
                  <a:lnTo>
                    <a:pt x="218" y="26"/>
                  </a:lnTo>
                  <a:lnTo>
                    <a:pt x="226" y="24"/>
                  </a:lnTo>
                  <a:lnTo>
                    <a:pt x="246" y="22"/>
                  </a:lnTo>
                  <a:lnTo>
                    <a:pt x="246" y="22"/>
                  </a:lnTo>
                  <a:lnTo>
                    <a:pt x="266" y="22"/>
                  </a:lnTo>
                  <a:lnTo>
                    <a:pt x="282" y="22"/>
                  </a:lnTo>
                  <a:lnTo>
                    <a:pt x="288" y="20"/>
                  </a:lnTo>
                  <a:lnTo>
                    <a:pt x="290" y="18"/>
                  </a:lnTo>
                  <a:lnTo>
                    <a:pt x="290" y="18"/>
                  </a:lnTo>
                  <a:lnTo>
                    <a:pt x="294" y="16"/>
                  </a:lnTo>
                  <a:lnTo>
                    <a:pt x="302" y="16"/>
                  </a:lnTo>
                  <a:lnTo>
                    <a:pt x="328" y="14"/>
                  </a:lnTo>
                  <a:lnTo>
                    <a:pt x="328" y="14"/>
                  </a:lnTo>
                  <a:lnTo>
                    <a:pt x="334" y="12"/>
                  </a:lnTo>
                  <a:lnTo>
                    <a:pt x="338" y="10"/>
                  </a:lnTo>
                  <a:lnTo>
                    <a:pt x="342" y="6"/>
                  </a:lnTo>
                  <a:lnTo>
                    <a:pt x="348" y="2"/>
                  </a:lnTo>
                  <a:lnTo>
                    <a:pt x="350" y="2"/>
                  </a:lnTo>
                  <a:lnTo>
                    <a:pt x="356" y="2"/>
                  </a:lnTo>
                  <a:lnTo>
                    <a:pt x="356" y="2"/>
                  </a:lnTo>
                  <a:lnTo>
                    <a:pt x="364" y="2"/>
                  </a:lnTo>
                  <a:lnTo>
                    <a:pt x="370" y="0"/>
                  </a:lnTo>
                  <a:lnTo>
                    <a:pt x="374" y="0"/>
                  </a:lnTo>
                  <a:lnTo>
                    <a:pt x="374" y="4"/>
                  </a:lnTo>
                  <a:lnTo>
                    <a:pt x="374" y="4"/>
                  </a:lnTo>
                  <a:lnTo>
                    <a:pt x="376" y="10"/>
                  </a:lnTo>
                  <a:lnTo>
                    <a:pt x="378" y="12"/>
                  </a:lnTo>
                  <a:lnTo>
                    <a:pt x="380" y="12"/>
                  </a:lnTo>
                  <a:lnTo>
                    <a:pt x="378" y="16"/>
                  </a:lnTo>
                  <a:lnTo>
                    <a:pt x="378" y="16"/>
                  </a:lnTo>
                  <a:lnTo>
                    <a:pt x="378" y="16"/>
                  </a:lnTo>
                  <a:lnTo>
                    <a:pt x="378" y="18"/>
                  </a:lnTo>
                  <a:lnTo>
                    <a:pt x="382" y="22"/>
                  </a:lnTo>
                  <a:lnTo>
                    <a:pt x="388" y="22"/>
                  </a:lnTo>
                  <a:lnTo>
                    <a:pt x="392" y="22"/>
                  </a:lnTo>
                  <a:lnTo>
                    <a:pt x="392" y="22"/>
                  </a:lnTo>
                  <a:lnTo>
                    <a:pt x="394" y="20"/>
                  </a:lnTo>
                  <a:lnTo>
                    <a:pt x="396" y="20"/>
                  </a:lnTo>
                  <a:lnTo>
                    <a:pt x="398" y="22"/>
                  </a:lnTo>
                  <a:lnTo>
                    <a:pt x="402" y="24"/>
                  </a:lnTo>
                  <a:lnTo>
                    <a:pt x="404" y="24"/>
                  </a:lnTo>
                  <a:lnTo>
                    <a:pt x="406" y="22"/>
                  </a:lnTo>
                  <a:lnTo>
                    <a:pt x="406" y="22"/>
                  </a:lnTo>
                  <a:lnTo>
                    <a:pt x="408" y="20"/>
                  </a:lnTo>
                  <a:lnTo>
                    <a:pt x="412" y="22"/>
                  </a:lnTo>
                  <a:lnTo>
                    <a:pt x="416" y="22"/>
                  </a:lnTo>
                  <a:lnTo>
                    <a:pt x="422" y="22"/>
                  </a:lnTo>
                  <a:lnTo>
                    <a:pt x="422" y="22"/>
                  </a:lnTo>
                  <a:lnTo>
                    <a:pt x="420" y="32"/>
                  </a:lnTo>
                  <a:lnTo>
                    <a:pt x="422" y="34"/>
                  </a:lnTo>
                  <a:lnTo>
                    <a:pt x="422" y="34"/>
                  </a:lnTo>
                  <a:lnTo>
                    <a:pt x="428" y="32"/>
                  </a:lnTo>
                  <a:lnTo>
                    <a:pt x="432" y="32"/>
                  </a:lnTo>
                  <a:lnTo>
                    <a:pt x="438" y="32"/>
                  </a:lnTo>
                  <a:lnTo>
                    <a:pt x="438" y="32"/>
                  </a:lnTo>
                  <a:lnTo>
                    <a:pt x="444" y="32"/>
                  </a:lnTo>
                  <a:lnTo>
                    <a:pt x="444" y="30"/>
                  </a:lnTo>
                  <a:lnTo>
                    <a:pt x="442" y="26"/>
                  </a:lnTo>
                  <a:lnTo>
                    <a:pt x="442" y="26"/>
                  </a:lnTo>
                  <a:lnTo>
                    <a:pt x="444" y="24"/>
                  </a:lnTo>
                  <a:lnTo>
                    <a:pt x="444" y="24"/>
                  </a:lnTo>
                  <a:lnTo>
                    <a:pt x="450" y="24"/>
                  </a:lnTo>
                  <a:lnTo>
                    <a:pt x="452" y="22"/>
                  </a:lnTo>
                  <a:lnTo>
                    <a:pt x="456" y="20"/>
                  </a:lnTo>
                  <a:lnTo>
                    <a:pt x="460" y="20"/>
                  </a:lnTo>
                  <a:lnTo>
                    <a:pt x="460" y="20"/>
                  </a:lnTo>
                  <a:lnTo>
                    <a:pt x="470" y="20"/>
                  </a:lnTo>
                  <a:lnTo>
                    <a:pt x="470" y="22"/>
                  </a:lnTo>
                  <a:lnTo>
                    <a:pt x="462" y="26"/>
                  </a:lnTo>
                  <a:lnTo>
                    <a:pt x="462" y="26"/>
                  </a:lnTo>
                  <a:lnTo>
                    <a:pt x="486" y="34"/>
                  </a:lnTo>
                  <a:lnTo>
                    <a:pt x="506" y="42"/>
                  </a:lnTo>
                  <a:lnTo>
                    <a:pt x="520" y="50"/>
                  </a:lnTo>
                  <a:lnTo>
                    <a:pt x="532" y="56"/>
                  </a:lnTo>
                  <a:lnTo>
                    <a:pt x="548" y="72"/>
                  </a:lnTo>
                  <a:lnTo>
                    <a:pt x="562" y="84"/>
                  </a:lnTo>
                  <a:lnTo>
                    <a:pt x="562" y="84"/>
                  </a:lnTo>
                  <a:lnTo>
                    <a:pt x="568" y="88"/>
                  </a:lnTo>
                  <a:lnTo>
                    <a:pt x="572" y="88"/>
                  </a:lnTo>
                  <a:lnTo>
                    <a:pt x="574" y="86"/>
                  </a:lnTo>
                  <a:lnTo>
                    <a:pt x="576" y="82"/>
                  </a:lnTo>
                  <a:lnTo>
                    <a:pt x="578" y="78"/>
                  </a:lnTo>
                  <a:lnTo>
                    <a:pt x="580" y="78"/>
                  </a:lnTo>
                  <a:lnTo>
                    <a:pt x="584" y="84"/>
                  </a:lnTo>
                  <a:lnTo>
                    <a:pt x="584" y="84"/>
                  </a:lnTo>
                  <a:lnTo>
                    <a:pt x="588" y="88"/>
                  </a:lnTo>
                  <a:lnTo>
                    <a:pt x="592" y="90"/>
                  </a:lnTo>
                  <a:lnTo>
                    <a:pt x="598" y="88"/>
                  </a:lnTo>
                  <a:lnTo>
                    <a:pt x="606" y="88"/>
                  </a:lnTo>
                  <a:lnTo>
                    <a:pt x="618" y="84"/>
                  </a:lnTo>
                  <a:lnTo>
                    <a:pt x="624" y="84"/>
                  </a:lnTo>
                  <a:lnTo>
                    <a:pt x="628" y="88"/>
                  </a:lnTo>
                  <a:lnTo>
                    <a:pt x="628" y="88"/>
                  </a:lnTo>
                  <a:lnTo>
                    <a:pt x="632" y="94"/>
                  </a:lnTo>
                  <a:lnTo>
                    <a:pt x="636" y="94"/>
                  </a:lnTo>
                  <a:lnTo>
                    <a:pt x="640" y="96"/>
                  </a:lnTo>
                  <a:lnTo>
                    <a:pt x="646" y="102"/>
                  </a:lnTo>
                  <a:lnTo>
                    <a:pt x="646" y="102"/>
                  </a:lnTo>
                  <a:lnTo>
                    <a:pt x="648" y="104"/>
                  </a:lnTo>
                  <a:lnTo>
                    <a:pt x="650" y="106"/>
                  </a:lnTo>
                  <a:lnTo>
                    <a:pt x="654" y="104"/>
                  </a:lnTo>
                  <a:lnTo>
                    <a:pt x="658" y="104"/>
                  </a:lnTo>
                  <a:lnTo>
                    <a:pt x="660" y="104"/>
                  </a:lnTo>
                  <a:lnTo>
                    <a:pt x="664" y="108"/>
                  </a:lnTo>
                  <a:lnTo>
                    <a:pt x="664" y="108"/>
                  </a:lnTo>
                  <a:lnTo>
                    <a:pt x="668" y="110"/>
                  </a:lnTo>
                  <a:lnTo>
                    <a:pt x="672" y="110"/>
                  </a:lnTo>
                  <a:lnTo>
                    <a:pt x="676" y="110"/>
                  </a:lnTo>
                  <a:lnTo>
                    <a:pt x="678" y="108"/>
                  </a:lnTo>
                  <a:lnTo>
                    <a:pt x="678" y="108"/>
                  </a:lnTo>
                  <a:lnTo>
                    <a:pt x="680" y="106"/>
                  </a:lnTo>
                  <a:lnTo>
                    <a:pt x="682" y="104"/>
                  </a:lnTo>
                  <a:lnTo>
                    <a:pt x="690" y="104"/>
                  </a:lnTo>
                  <a:lnTo>
                    <a:pt x="690" y="104"/>
                  </a:lnTo>
                  <a:lnTo>
                    <a:pt x="694" y="104"/>
                  </a:lnTo>
                  <a:lnTo>
                    <a:pt x="696" y="104"/>
                  </a:lnTo>
                  <a:lnTo>
                    <a:pt x="700" y="102"/>
                  </a:lnTo>
                  <a:lnTo>
                    <a:pt x="708" y="102"/>
                  </a:lnTo>
                  <a:lnTo>
                    <a:pt x="708" y="102"/>
                  </a:lnTo>
                  <a:lnTo>
                    <a:pt x="714" y="104"/>
                  </a:lnTo>
                  <a:lnTo>
                    <a:pt x="718" y="108"/>
                  </a:lnTo>
                  <a:lnTo>
                    <a:pt x="722" y="112"/>
                  </a:lnTo>
                  <a:lnTo>
                    <a:pt x="726" y="114"/>
                  </a:lnTo>
                  <a:lnTo>
                    <a:pt x="726" y="114"/>
                  </a:lnTo>
                  <a:lnTo>
                    <a:pt x="728" y="114"/>
                  </a:lnTo>
                  <a:lnTo>
                    <a:pt x="728" y="116"/>
                  </a:lnTo>
                  <a:lnTo>
                    <a:pt x="730" y="118"/>
                  </a:lnTo>
                  <a:lnTo>
                    <a:pt x="738" y="118"/>
                  </a:lnTo>
                  <a:lnTo>
                    <a:pt x="738" y="118"/>
                  </a:lnTo>
                  <a:lnTo>
                    <a:pt x="736" y="120"/>
                  </a:lnTo>
                  <a:lnTo>
                    <a:pt x="734" y="122"/>
                  </a:lnTo>
                  <a:lnTo>
                    <a:pt x="722" y="122"/>
                  </a:lnTo>
                  <a:lnTo>
                    <a:pt x="718" y="122"/>
                  </a:lnTo>
                  <a:lnTo>
                    <a:pt x="714" y="126"/>
                  </a:lnTo>
                  <a:lnTo>
                    <a:pt x="714" y="134"/>
                  </a:lnTo>
                  <a:lnTo>
                    <a:pt x="716" y="146"/>
                  </a:lnTo>
                  <a:lnTo>
                    <a:pt x="716" y="146"/>
                  </a:lnTo>
                  <a:lnTo>
                    <a:pt x="716" y="148"/>
                  </a:lnTo>
                  <a:lnTo>
                    <a:pt x="714" y="150"/>
                  </a:lnTo>
                  <a:lnTo>
                    <a:pt x="706" y="154"/>
                  </a:lnTo>
                  <a:lnTo>
                    <a:pt x="696" y="156"/>
                  </a:lnTo>
                  <a:lnTo>
                    <a:pt x="686" y="154"/>
                  </a:lnTo>
                  <a:lnTo>
                    <a:pt x="686" y="154"/>
                  </a:lnTo>
                  <a:lnTo>
                    <a:pt x="680" y="152"/>
                  </a:lnTo>
                  <a:lnTo>
                    <a:pt x="676" y="152"/>
                  </a:lnTo>
                  <a:lnTo>
                    <a:pt x="672" y="154"/>
                  </a:lnTo>
                  <a:lnTo>
                    <a:pt x="672" y="158"/>
                  </a:lnTo>
                  <a:lnTo>
                    <a:pt x="672" y="168"/>
                  </a:lnTo>
                  <a:lnTo>
                    <a:pt x="674" y="186"/>
                  </a:lnTo>
                  <a:lnTo>
                    <a:pt x="674" y="186"/>
                  </a:lnTo>
                  <a:lnTo>
                    <a:pt x="674" y="190"/>
                  </a:lnTo>
                  <a:lnTo>
                    <a:pt x="674" y="192"/>
                  </a:lnTo>
                  <a:lnTo>
                    <a:pt x="666" y="192"/>
                  </a:lnTo>
                  <a:lnTo>
                    <a:pt x="656" y="192"/>
                  </a:lnTo>
                  <a:lnTo>
                    <a:pt x="648" y="194"/>
                  </a:lnTo>
                  <a:lnTo>
                    <a:pt x="648" y="194"/>
                  </a:lnTo>
                  <a:lnTo>
                    <a:pt x="642" y="198"/>
                  </a:lnTo>
                  <a:lnTo>
                    <a:pt x="640" y="202"/>
                  </a:lnTo>
                  <a:lnTo>
                    <a:pt x="640" y="206"/>
                  </a:lnTo>
                  <a:lnTo>
                    <a:pt x="642" y="206"/>
                  </a:lnTo>
                  <a:lnTo>
                    <a:pt x="642" y="206"/>
                  </a:lnTo>
                  <a:lnTo>
                    <a:pt x="644" y="206"/>
                  </a:lnTo>
                  <a:lnTo>
                    <a:pt x="648" y="208"/>
                  </a:lnTo>
                  <a:lnTo>
                    <a:pt x="656" y="218"/>
                  </a:lnTo>
                  <a:lnTo>
                    <a:pt x="664" y="226"/>
                  </a:lnTo>
                  <a:lnTo>
                    <a:pt x="666" y="232"/>
                  </a:lnTo>
                  <a:lnTo>
                    <a:pt x="664" y="234"/>
                  </a:lnTo>
                  <a:lnTo>
                    <a:pt x="664" y="234"/>
                  </a:lnTo>
                  <a:lnTo>
                    <a:pt x="662" y="238"/>
                  </a:lnTo>
                  <a:lnTo>
                    <a:pt x="662" y="242"/>
                  </a:lnTo>
                  <a:lnTo>
                    <a:pt x="666" y="246"/>
                  </a:lnTo>
                  <a:lnTo>
                    <a:pt x="668" y="252"/>
                  </a:lnTo>
                  <a:lnTo>
                    <a:pt x="668" y="254"/>
                  </a:lnTo>
                  <a:lnTo>
                    <a:pt x="664" y="256"/>
                  </a:lnTo>
                  <a:lnTo>
                    <a:pt x="664" y="256"/>
                  </a:lnTo>
                  <a:lnTo>
                    <a:pt x="660" y="260"/>
                  </a:lnTo>
                  <a:lnTo>
                    <a:pt x="658" y="258"/>
                  </a:lnTo>
                  <a:lnTo>
                    <a:pt x="656" y="254"/>
                  </a:lnTo>
                  <a:lnTo>
                    <a:pt x="654" y="254"/>
                  </a:lnTo>
                  <a:lnTo>
                    <a:pt x="650" y="254"/>
                  </a:lnTo>
                  <a:lnTo>
                    <a:pt x="650" y="254"/>
                  </a:lnTo>
                  <a:lnTo>
                    <a:pt x="642" y="254"/>
                  </a:lnTo>
                  <a:lnTo>
                    <a:pt x="638" y="252"/>
                  </a:lnTo>
                  <a:lnTo>
                    <a:pt x="638" y="250"/>
                  </a:lnTo>
                  <a:lnTo>
                    <a:pt x="634" y="250"/>
                  </a:lnTo>
                  <a:lnTo>
                    <a:pt x="634" y="250"/>
                  </a:lnTo>
                  <a:lnTo>
                    <a:pt x="624" y="250"/>
                  </a:lnTo>
                  <a:lnTo>
                    <a:pt x="608" y="250"/>
                  </a:lnTo>
                  <a:lnTo>
                    <a:pt x="576" y="250"/>
                  </a:lnTo>
                  <a:lnTo>
                    <a:pt x="576" y="250"/>
                  </a:lnTo>
                  <a:lnTo>
                    <a:pt x="564" y="248"/>
                  </a:lnTo>
                  <a:lnTo>
                    <a:pt x="554" y="244"/>
                  </a:lnTo>
                  <a:lnTo>
                    <a:pt x="546" y="244"/>
                  </a:lnTo>
                  <a:lnTo>
                    <a:pt x="544" y="246"/>
                  </a:lnTo>
                  <a:lnTo>
                    <a:pt x="544" y="250"/>
                  </a:lnTo>
                  <a:lnTo>
                    <a:pt x="544" y="250"/>
                  </a:lnTo>
                  <a:lnTo>
                    <a:pt x="542" y="254"/>
                  </a:lnTo>
                  <a:lnTo>
                    <a:pt x="542" y="254"/>
                  </a:lnTo>
                  <a:lnTo>
                    <a:pt x="536" y="254"/>
                  </a:lnTo>
                  <a:lnTo>
                    <a:pt x="528" y="252"/>
                  </a:lnTo>
                  <a:lnTo>
                    <a:pt x="524" y="250"/>
                  </a:lnTo>
                  <a:lnTo>
                    <a:pt x="520" y="252"/>
                  </a:lnTo>
                  <a:lnTo>
                    <a:pt x="520" y="252"/>
                  </a:lnTo>
                  <a:lnTo>
                    <a:pt x="512" y="252"/>
                  </a:lnTo>
                  <a:lnTo>
                    <a:pt x="510" y="252"/>
                  </a:lnTo>
                  <a:lnTo>
                    <a:pt x="506" y="252"/>
                  </a:lnTo>
                  <a:lnTo>
                    <a:pt x="498" y="260"/>
                  </a:lnTo>
                  <a:lnTo>
                    <a:pt x="498" y="26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4" name="Latvia"/>
            <p:cNvSpPr>
              <a:spLocks/>
            </p:cNvSpPr>
            <p:nvPr/>
          </p:nvSpPr>
          <p:spPr bwMode="auto">
            <a:xfrm>
              <a:off x="4623559" y="1845469"/>
              <a:ext cx="150813" cy="55563"/>
            </a:xfrm>
            <a:custGeom>
              <a:avLst/>
              <a:gdLst/>
              <a:ahLst/>
              <a:cxnLst>
                <a:cxn ang="0">
                  <a:pos x="2" y="42"/>
                </a:cxn>
                <a:cxn ang="0">
                  <a:pos x="0" y="32"/>
                </a:cxn>
                <a:cxn ang="0">
                  <a:pos x="2" y="28"/>
                </a:cxn>
                <a:cxn ang="0">
                  <a:pos x="4" y="22"/>
                </a:cxn>
                <a:cxn ang="0">
                  <a:pos x="6" y="16"/>
                </a:cxn>
                <a:cxn ang="0">
                  <a:pos x="10" y="12"/>
                </a:cxn>
                <a:cxn ang="0">
                  <a:pos x="16" y="8"/>
                </a:cxn>
                <a:cxn ang="0">
                  <a:pos x="22" y="6"/>
                </a:cxn>
                <a:cxn ang="0">
                  <a:pos x="24" y="8"/>
                </a:cxn>
                <a:cxn ang="0">
                  <a:pos x="28" y="12"/>
                </a:cxn>
                <a:cxn ang="0">
                  <a:pos x="32" y="12"/>
                </a:cxn>
                <a:cxn ang="0">
                  <a:pos x="34" y="16"/>
                </a:cxn>
                <a:cxn ang="0">
                  <a:pos x="38" y="20"/>
                </a:cxn>
                <a:cxn ang="0">
                  <a:pos x="42" y="22"/>
                </a:cxn>
                <a:cxn ang="0">
                  <a:pos x="46" y="22"/>
                </a:cxn>
                <a:cxn ang="0">
                  <a:pos x="50" y="22"/>
                </a:cxn>
                <a:cxn ang="0">
                  <a:pos x="54" y="16"/>
                </a:cxn>
                <a:cxn ang="0">
                  <a:pos x="54" y="14"/>
                </a:cxn>
                <a:cxn ang="0">
                  <a:pos x="52" y="6"/>
                </a:cxn>
                <a:cxn ang="0">
                  <a:pos x="58" y="0"/>
                </a:cxn>
                <a:cxn ang="0">
                  <a:pos x="66" y="0"/>
                </a:cxn>
                <a:cxn ang="0">
                  <a:pos x="76" y="0"/>
                </a:cxn>
                <a:cxn ang="0">
                  <a:pos x="78" y="2"/>
                </a:cxn>
                <a:cxn ang="0">
                  <a:pos x="78" y="4"/>
                </a:cxn>
                <a:cxn ang="0">
                  <a:pos x="84" y="4"/>
                </a:cxn>
                <a:cxn ang="0">
                  <a:pos x="94" y="6"/>
                </a:cxn>
                <a:cxn ang="0">
                  <a:pos x="106" y="2"/>
                </a:cxn>
                <a:cxn ang="0">
                  <a:pos x="104" y="6"/>
                </a:cxn>
                <a:cxn ang="0">
                  <a:pos x="108" y="6"/>
                </a:cxn>
                <a:cxn ang="0">
                  <a:pos x="108" y="10"/>
                </a:cxn>
                <a:cxn ang="0">
                  <a:pos x="108" y="14"/>
                </a:cxn>
                <a:cxn ang="0">
                  <a:pos x="112" y="22"/>
                </a:cxn>
                <a:cxn ang="0">
                  <a:pos x="110" y="24"/>
                </a:cxn>
                <a:cxn ang="0">
                  <a:pos x="112" y="30"/>
                </a:cxn>
                <a:cxn ang="0">
                  <a:pos x="112" y="34"/>
                </a:cxn>
                <a:cxn ang="0">
                  <a:pos x="108" y="34"/>
                </a:cxn>
                <a:cxn ang="0">
                  <a:pos x="100" y="38"/>
                </a:cxn>
                <a:cxn ang="0">
                  <a:pos x="96" y="42"/>
                </a:cxn>
                <a:cxn ang="0">
                  <a:pos x="74" y="38"/>
                </a:cxn>
                <a:cxn ang="0">
                  <a:pos x="62" y="32"/>
                </a:cxn>
                <a:cxn ang="0">
                  <a:pos x="58" y="34"/>
                </a:cxn>
                <a:cxn ang="0">
                  <a:pos x="50" y="34"/>
                </a:cxn>
                <a:cxn ang="0">
                  <a:pos x="40" y="30"/>
                </a:cxn>
                <a:cxn ang="0">
                  <a:pos x="32" y="30"/>
                </a:cxn>
                <a:cxn ang="0">
                  <a:pos x="18" y="30"/>
                </a:cxn>
                <a:cxn ang="0">
                  <a:pos x="8" y="36"/>
                </a:cxn>
                <a:cxn ang="0">
                  <a:pos x="2" y="42"/>
                </a:cxn>
              </a:cxnLst>
              <a:rect l="0" t="0" r="r" b="b"/>
              <a:pathLst>
                <a:path w="114" h="42">
                  <a:moveTo>
                    <a:pt x="2" y="42"/>
                  </a:moveTo>
                  <a:lnTo>
                    <a:pt x="2" y="42"/>
                  </a:lnTo>
                  <a:lnTo>
                    <a:pt x="0" y="34"/>
                  </a:lnTo>
                  <a:lnTo>
                    <a:pt x="0" y="32"/>
                  </a:lnTo>
                  <a:lnTo>
                    <a:pt x="2" y="28"/>
                  </a:lnTo>
                  <a:lnTo>
                    <a:pt x="2" y="28"/>
                  </a:lnTo>
                  <a:lnTo>
                    <a:pt x="4" y="26"/>
                  </a:lnTo>
                  <a:lnTo>
                    <a:pt x="4" y="22"/>
                  </a:lnTo>
                  <a:lnTo>
                    <a:pt x="4" y="20"/>
                  </a:lnTo>
                  <a:lnTo>
                    <a:pt x="6" y="16"/>
                  </a:lnTo>
                  <a:lnTo>
                    <a:pt x="6" y="16"/>
                  </a:lnTo>
                  <a:lnTo>
                    <a:pt x="10" y="12"/>
                  </a:lnTo>
                  <a:lnTo>
                    <a:pt x="16" y="8"/>
                  </a:lnTo>
                  <a:lnTo>
                    <a:pt x="16" y="8"/>
                  </a:lnTo>
                  <a:lnTo>
                    <a:pt x="20" y="6"/>
                  </a:lnTo>
                  <a:lnTo>
                    <a:pt x="22" y="6"/>
                  </a:lnTo>
                  <a:lnTo>
                    <a:pt x="24" y="8"/>
                  </a:lnTo>
                  <a:lnTo>
                    <a:pt x="24" y="8"/>
                  </a:lnTo>
                  <a:lnTo>
                    <a:pt x="26" y="10"/>
                  </a:lnTo>
                  <a:lnTo>
                    <a:pt x="28" y="12"/>
                  </a:lnTo>
                  <a:lnTo>
                    <a:pt x="32" y="12"/>
                  </a:lnTo>
                  <a:lnTo>
                    <a:pt x="32" y="12"/>
                  </a:lnTo>
                  <a:lnTo>
                    <a:pt x="34" y="14"/>
                  </a:lnTo>
                  <a:lnTo>
                    <a:pt x="34" y="16"/>
                  </a:lnTo>
                  <a:lnTo>
                    <a:pt x="36" y="18"/>
                  </a:lnTo>
                  <a:lnTo>
                    <a:pt x="38" y="20"/>
                  </a:lnTo>
                  <a:lnTo>
                    <a:pt x="38" y="20"/>
                  </a:lnTo>
                  <a:lnTo>
                    <a:pt x="42" y="22"/>
                  </a:lnTo>
                  <a:lnTo>
                    <a:pt x="44" y="22"/>
                  </a:lnTo>
                  <a:lnTo>
                    <a:pt x="46" y="22"/>
                  </a:lnTo>
                  <a:lnTo>
                    <a:pt x="46" y="22"/>
                  </a:lnTo>
                  <a:lnTo>
                    <a:pt x="50" y="22"/>
                  </a:lnTo>
                  <a:lnTo>
                    <a:pt x="52" y="20"/>
                  </a:lnTo>
                  <a:lnTo>
                    <a:pt x="54" y="16"/>
                  </a:lnTo>
                  <a:lnTo>
                    <a:pt x="54" y="16"/>
                  </a:lnTo>
                  <a:lnTo>
                    <a:pt x="54" y="14"/>
                  </a:lnTo>
                  <a:lnTo>
                    <a:pt x="54" y="10"/>
                  </a:lnTo>
                  <a:lnTo>
                    <a:pt x="52" y="6"/>
                  </a:lnTo>
                  <a:lnTo>
                    <a:pt x="52" y="6"/>
                  </a:lnTo>
                  <a:lnTo>
                    <a:pt x="58" y="0"/>
                  </a:lnTo>
                  <a:lnTo>
                    <a:pt x="62" y="0"/>
                  </a:lnTo>
                  <a:lnTo>
                    <a:pt x="66" y="0"/>
                  </a:lnTo>
                  <a:lnTo>
                    <a:pt x="66" y="0"/>
                  </a:lnTo>
                  <a:lnTo>
                    <a:pt x="76" y="0"/>
                  </a:lnTo>
                  <a:lnTo>
                    <a:pt x="78" y="0"/>
                  </a:lnTo>
                  <a:lnTo>
                    <a:pt x="78" y="2"/>
                  </a:lnTo>
                  <a:lnTo>
                    <a:pt x="78" y="2"/>
                  </a:lnTo>
                  <a:lnTo>
                    <a:pt x="78" y="4"/>
                  </a:lnTo>
                  <a:lnTo>
                    <a:pt x="80" y="4"/>
                  </a:lnTo>
                  <a:lnTo>
                    <a:pt x="84" y="4"/>
                  </a:lnTo>
                  <a:lnTo>
                    <a:pt x="90" y="4"/>
                  </a:lnTo>
                  <a:lnTo>
                    <a:pt x="94" y="6"/>
                  </a:lnTo>
                  <a:lnTo>
                    <a:pt x="94" y="6"/>
                  </a:lnTo>
                  <a:lnTo>
                    <a:pt x="106" y="2"/>
                  </a:lnTo>
                  <a:lnTo>
                    <a:pt x="106" y="2"/>
                  </a:lnTo>
                  <a:lnTo>
                    <a:pt x="104" y="6"/>
                  </a:lnTo>
                  <a:lnTo>
                    <a:pt x="106" y="6"/>
                  </a:lnTo>
                  <a:lnTo>
                    <a:pt x="108" y="6"/>
                  </a:lnTo>
                  <a:lnTo>
                    <a:pt x="108" y="10"/>
                  </a:lnTo>
                  <a:lnTo>
                    <a:pt x="108" y="10"/>
                  </a:lnTo>
                  <a:lnTo>
                    <a:pt x="106" y="14"/>
                  </a:lnTo>
                  <a:lnTo>
                    <a:pt x="108" y="14"/>
                  </a:lnTo>
                  <a:lnTo>
                    <a:pt x="110" y="16"/>
                  </a:lnTo>
                  <a:lnTo>
                    <a:pt x="112" y="22"/>
                  </a:lnTo>
                  <a:lnTo>
                    <a:pt x="112" y="22"/>
                  </a:lnTo>
                  <a:lnTo>
                    <a:pt x="110" y="24"/>
                  </a:lnTo>
                  <a:lnTo>
                    <a:pt x="110" y="26"/>
                  </a:lnTo>
                  <a:lnTo>
                    <a:pt x="112" y="30"/>
                  </a:lnTo>
                  <a:lnTo>
                    <a:pt x="114" y="34"/>
                  </a:lnTo>
                  <a:lnTo>
                    <a:pt x="112" y="34"/>
                  </a:lnTo>
                  <a:lnTo>
                    <a:pt x="108" y="34"/>
                  </a:lnTo>
                  <a:lnTo>
                    <a:pt x="108" y="34"/>
                  </a:lnTo>
                  <a:lnTo>
                    <a:pt x="102" y="36"/>
                  </a:lnTo>
                  <a:lnTo>
                    <a:pt x="100" y="38"/>
                  </a:lnTo>
                  <a:lnTo>
                    <a:pt x="100" y="40"/>
                  </a:lnTo>
                  <a:lnTo>
                    <a:pt x="96" y="42"/>
                  </a:lnTo>
                  <a:lnTo>
                    <a:pt x="96" y="42"/>
                  </a:lnTo>
                  <a:lnTo>
                    <a:pt x="74" y="38"/>
                  </a:lnTo>
                  <a:lnTo>
                    <a:pt x="66" y="36"/>
                  </a:lnTo>
                  <a:lnTo>
                    <a:pt x="62" y="32"/>
                  </a:lnTo>
                  <a:lnTo>
                    <a:pt x="58" y="34"/>
                  </a:lnTo>
                  <a:lnTo>
                    <a:pt x="58" y="34"/>
                  </a:lnTo>
                  <a:lnTo>
                    <a:pt x="54" y="34"/>
                  </a:lnTo>
                  <a:lnTo>
                    <a:pt x="50" y="34"/>
                  </a:lnTo>
                  <a:lnTo>
                    <a:pt x="46" y="32"/>
                  </a:lnTo>
                  <a:lnTo>
                    <a:pt x="40" y="30"/>
                  </a:lnTo>
                  <a:lnTo>
                    <a:pt x="40" y="30"/>
                  </a:lnTo>
                  <a:lnTo>
                    <a:pt x="32" y="30"/>
                  </a:lnTo>
                  <a:lnTo>
                    <a:pt x="24" y="30"/>
                  </a:lnTo>
                  <a:lnTo>
                    <a:pt x="18" y="30"/>
                  </a:lnTo>
                  <a:lnTo>
                    <a:pt x="12" y="32"/>
                  </a:lnTo>
                  <a:lnTo>
                    <a:pt x="8" y="36"/>
                  </a:lnTo>
                  <a:lnTo>
                    <a:pt x="2" y="42"/>
                  </a:lnTo>
                  <a:lnTo>
                    <a:pt x="2" y="42"/>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5" name="Lithuania"/>
            <p:cNvSpPr>
              <a:spLocks/>
            </p:cNvSpPr>
            <p:nvPr/>
          </p:nvSpPr>
          <p:spPr bwMode="auto">
            <a:xfrm>
              <a:off x="4626205" y="1885156"/>
              <a:ext cx="124354" cy="60854"/>
            </a:xfrm>
            <a:custGeom>
              <a:avLst/>
              <a:gdLst/>
              <a:ahLst/>
              <a:cxnLst>
                <a:cxn ang="0">
                  <a:pos x="26" y="34"/>
                </a:cxn>
                <a:cxn ang="0">
                  <a:pos x="30" y="34"/>
                </a:cxn>
                <a:cxn ang="0">
                  <a:pos x="34" y="36"/>
                </a:cxn>
                <a:cxn ang="0">
                  <a:pos x="36" y="36"/>
                </a:cxn>
                <a:cxn ang="0">
                  <a:pos x="42" y="42"/>
                </a:cxn>
                <a:cxn ang="0">
                  <a:pos x="50" y="44"/>
                </a:cxn>
                <a:cxn ang="0">
                  <a:pos x="58" y="46"/>
                </a:cxn>
                <a:cxn ang="0">
                  <a:pos x="64" y="44"/>
                </a:cxn>
                <a:cxn ang="0">
                  <a:pos x="70" y="44"/>
                </a:cxn>
                <a:cxn ang="0">
                  <a:pos x="74" y="44"/>
                </a:cxn>
                <a:cxn ang="0">
                  <a:pos x="74" y="42"/>
                </a:cxn>
                <a:cxn ang="0">
                  <a:pos x="72" y="38"/>
                </a:cxn>
                <a:cxn ang="0">
                  <a:pos x="72" y="34"/>
                </a:cxn>
                <a:cxn ang="0">
                  <a:pos x="76" y="28"/>
                </a:cxn>
                <a:cxn ang="0">
                  <a:pos x="82" y="26"/>
                </a:cxn>
                <a:cxn ang="0">
                  <a:pos x="84" y="24"/>
                </a:cxn>
                <a:cxn ang="0">
                  <a:pos x="92" y="24"/>
                </a:cxn>
                <a:cxn ang="0">
                  <a:pos x="94" y="22"/>
                </a:cxn>
                <a:cxn ang="0">
                  <a:pos x="92" y="18"/>
                </a:cxn>
                <a:cxn ang="0">
                  <a:pos x="94" y="12"/>
                </a:cxn>
                <a:cxn ang="0">
                  <a:pos x="72" y="8"/>
                </a:cxn>
                <a:cxn ang="0">
                  <a:pos x="60" y="2"/>
                </a:cxn>
                <a:cxn ang="0">
                  <a:pos x="56" y="4"/>
                </a:cxn>
                <a:cxn ang="0">
                  <a:pos x="48" y="4"/>
                </a:cxn>
                <a:cxn ang="0">
                  <a:pos x="38" y="0"/>
                </a:cxn>
                <a:cxn ang="0">
                  <a:pos x="30" y="0"/>
                </a:cxn>
                <a:cxn ang="0">
                  <a:pos x="16" y="0"/>
                </a:cxn>
                <a:cxn ang="0">
                  <a:pos x="6" y="6"/>
                </a:cxn>
                <a:cxn ang="0">
                  <a:pos x="0" y="12"/>
                </a:cxn>
                <a:cxn ang="0">
                  <a:pos x="2" y="20"/>
                </a:cxn>
                <a:cxn ang="0">
                  <a:pos x="2" y="24"/>
                </a:cxn>
                <a:cxn ang="0">
                  <a:pos x="6" y="26"/>
                </a:cxn>
                <a:cxn ang="0">
                  <a:pos x="8" y="26"/>
                </a:cxn>
                <a:cxn ang="0">
                  <a:pos x="22" y="24"/>
                </a:cxn>
                <a:cxn ang="0">
                  <a:pos x="26" y="26"/>
                </a:cxn>
                <a:cxn ang="0">
                  <a:pos x="28" y="30"/>
                </a:cxn>
                <a:cxn ang="0">
                  <a:pos x="26" y="34"/>
                </a:cxn>
              </a:cxnLst>
              <a:rect l="0" t="0" r="r" b="b"/>
              <a:pathLst>
                <a:path w="94" h="46">
                  <a:moveTo>
                    <a:pt x="26" y="34"/>
                  </a:moveTo>
                  <a:lnTo>
                    <a:pt x="26" y="34"/>
                  </a:lnTo>
                  <a:lnTo>
                    <a:pt x="30" y="34"/>
                  </a:lnTo>
                  <a:lnTo>
                    <a:pt x="30" y="34"/>
                  </a:lnTo>
                  <a:lnTo>
                    <a:pt x="32" y="36"/>
                  </a:lnTo>
                  <a:lnTo>
                    <a:pt x="34" y="36"/>
                  </a:lnTo>
                  <a:lnTo>
                    <a:pt x="34" y="36"/>
                  </a:lnTo>
                  <a:lnTo>
                    <a:pt x="36" y="36"/>
                  </a:lnTo>
                  <a:lnTo>
                    <a:pt x="38" y="38"/>
                  </a:lnTo>
                  <a:lnTo>
                    <a:pt x="42" y="42"/>
                  </a:lnTo>
                  <a:lnTo>
                    <a:pt x="42" y="42"/>
                  </a:lnTo>
                  <a:lnTo>
                    <a:pt x="50" y="44"/>
                  </a:lnTo>
                  <a:lnTo>
                    <a:pt x="54" y="46"/>
                  </a:lnTo>
                  <a:lnTo>
                    <a:pt x="58" y="46"/>
                  </a:lnTo>
                  <a:lnTo>
                    <a:pt x="64" y="44"/>
                  </a:lnTo>
                  <a:lnTo>
                    <a:pt x="64" y="44"/>
                  </a:lnTo>
                  <a:lnTo>
                    <a:pt x="68" y="44"/>
                  </a:lnTo>
                  <a:lnTo>
                    <a:pt x="70" y="44"/>
                  </a:lnTo>
                  <a:lnTo>
                    <a:pt x="72" y="44"/>
                  </a:lnTo>
                  <a:lnTo>
                    <a:pt x="74" y="44"/>
                  </a:lnTo>
                  <a:lnTo>
                    <a:pt x="74" y="44"/>
                  </a:lnTo>
                  <a:lnTo>
                    <a:pt x="74" y="42"/>
                  </a:lnTo>
                  <a:lnTo>
                    <a:pt x="72" y="40"/>
                  </a:lnTo>
                  <a:lnTo>
                    <a:pt x="72" y="38"/>
                  </a:lnTo>
                  <a:lnTo>
                    <a:pt x="72" y="34"/>
                  </a:lnTo>
                  <a:lnTo>
                    <a:pt x="72" y="34"/>
                  </a:lnTo>
                  <a:lnTo>
                    <a:pt x="74" y="30"/>
                  </a:lnTo>
                  <a:lnTo>
                    <a:pt x="76" y="28"/>
                  </a:lnTo>
                  <a:lnTo>
                    <a:pt x="78" y="28"/>
                  </a:lnTo>
                  <a:lnTo>
                    <a:pt x="82" y="26"/>
                  </a:lnTo>
                  <a:lnTo>
                    <a:pt x="82" y="26"/>
                  </a:lnTo>
                  <a:lnTo>
                    <a:pt x="84" y="24"/>
                  </a:lnTo>
                  <a:lnTo>
                    <a:pt x="88" y="24"/>
                  </a:lnTo>
                  <a:lnTo>
                    <a:pt x="92" y="24"/>
                  </a:lnTo>
                  <a:lnTo>
                    <a:pt x="94" y="22"/>
                  </a:lnTo>
                  <a:lnTo>
                    <a:pt x="94" y="22"/>
                  </a:lnTo>
                  <a:lnTo>
                    <a:pt x="94" y="18"/>
                  </a:lnTo>
                  <a:lnTo>
                    <a:pt x="92" y="18"/>
                  </a:lnTo>
                  <a:lnTo>
                    <a:pt x="92" y="16"/>
                  </a:lnTo>
                  <a:lnTo>
                    <a:pt x="94" y="12"/>
                  </a:lnTo>
                  <a:lnTo>
                    <a:pt x="94" y="12"/>
                  </a:lnTo>
                  <a:lnTo>
                    <a:pt x="72" y="8"/>
                  </a:lnTo>
                  <a:lnTo>
                    <a:pt x="64" y="6"/>
                  </a:lnTo>
                  <a:lnTo>
                    <a:pt x="60" y="2"/>
                  </a:lnTo>
                  <a:lnTo>
                    <a:pt x="56" y="4"/>
                  </a:lnTo>
                  <a:lnTo>
                    <a:pt x="56" y="4"/>
                  </a:lnTo>
                  <a:lnTo>
                    <a:pt x="52" y="4"/>
                  </a:lnTo>
                  <a:lnTo>
                    <a:pt x="48" y="4"/>
                  </a:lnTo>
                  <a:lnTo>
                    <a:pt x="44" y="2"/>
                  </a:lnTo>
                  <a:lnTo>
                    <a:pt x="38" y="0"/>
                  </a:lnTo>
                  <a:lnTo>
                    <a:pt x="38" y="0"/>
                  </a:lnTo>
                  <a:lnTo>
                    <a:pt x="30" y="0"/>
                  </a:lnTo>
                  <a:lnTo>
                    <a:pt x="22" y="0"/>
                  </a:lnTo>
                  <a:lnTo>
                    <a:pt x="16" y="0"/>
                  </a:lnTo>
                  <a:lnTo>
                    <a:pt x="10" y="2"/>
                  </a:lnTo>
                  <a:lnTo>
                    <a:pt x="6" y="6"/>
                  </a:lnTo>
                  <a:lnTo>
                    <a:pt x="0" y="12"/>
                  </a:lnTo>
                  <a:lnTo>
                    <a:pt x="0" y="12"/>
                  </a:lnTo>
                  <a:lnTo>
                    <a:pt x="0" y="18"/>
                  </a:lnTo>
                  <a:lnTo>
                    <a:pt x="2" y="20"/>
                  </a:lnTo>
                  <a:lnTo>
                    <a:pt x="2" y="22"/>
                  </a:lnTo>
                  <a:lnTo>
                    <a:pt x="2" y="24"/>
                  </a:lnTo>
                  <a:lnTo>
                    <a:pt x="2" y="24"/>
                  </a:lnTo>
                  <a:lnTo>
                    <a:pt x="6" y="26"/>
                  </a:lnTo>
                  <a:lnTo>
                    <a:pt x="8" y="26"/>
                  </a:lnTo>
                  <a:lnTo>
                    <a:pt x="8" y="26"/>
                  </a:lnTo>
                  <a:lnTo>
                    <a:pt x="16" y="26"/>
                  </a:lnTo>
                  <a:lnTo>
                    <a:pt x="22" y="24"/>
                  </a:lnTo>
                  <a:lnTo>
                    <a:pt x="26" y="26"/>
                  </a:lnTo>
                  <a:lnTo>
                    <a:pt x="26" y="26"/>
                  </a:lnTo>
                  <a:lnTo>
                    <a:pt x="28" y="28"/>
                  </a:lnTo>
                  <a:lnTo>
                    <a:pt x="28" y="30"/>
                  </a:lnTo>
                  <a:lnTo>
                    <a:pt x="26" y="34"/>
                  </a:lnTo>
                  <a:lnTo>
                    <a:pt x="26" y="34"/>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6" name="Luxembourg"/>
            <p:cNvSpPr>
              <a:spLocks/>
            </p:cNvSpPr>
            <p:nvPr/>
          </p:nvSpPr>
          <p:spPr bwMode="auto">
            <a:xfrm>
              <a:off x="4274309" y="2043906"/>
              <a:ext cx="13229" cy="10583"/>
            </a:xfrm>
            <a:custGeom>
              <a:avLst/>
              <a:gdLst/>
              <a:ahLst/>
              <a:cxnLst>
                <a:cxn ang="0">
                  <a:pos x="8" y="8"/>
                </a:cxn>
                <a:cxn ang="0">
                  <a:pos x="8" y="8"/>
                </a:cxn>
                <a:cxn ang="0">
                  <a:pos x="0" y="8"/>
                </a:cxn>
                <a:cxn ang="0">
                  <a:pos x="0" y="8"/>
                </a:cxn>
                <a:cxn ang="0">
                  <a:pos x="4" y="4"/>
                </a:cxn>
                <a:cxn ang="0">
                  <a:pos x="8" y="0"/>
                </a:cxn>
                <a:cxn ang="0">
                  <a:pos x="8" y="0"/>
                </a:cxn>
                <a:cxn ang="0">
                  <a:pos x="10" y="2"/>
                </a:cxn>
                <a:cxn ang="0">
                  <a:pos x="8" y="8"/>
                </a:cxn>
                <a:cxn ang="0">
                  <a:pos x="8" y="8"/>
                </a:cxn>
              </a:cxnLst>
              <a:rect l="0" t="0" r="r" b="b"/>
              <a:pathLst>
                <a:path w="10" h="8">
                  <a:moveTo>
                    <a:pt x="8" y="8"/>
                  </a:moveTo>
                  <a:lnTo>
                    <a:pt x="8" y="8"/>
                  </a:lnTo>
                  <a:lnTo>
                    <a:pt x="0" y="8"/>
                  </a:lnTo>
                  <a:lnTo>
                    <a:pt x="0" y="8"/>
                  </a:lnTo>
                  <a:lnTo>
                    <a:pt x="4" y="4"/>
                  </a:lnTo>
                  <a:lnTo>
                    <a:pt x="8" y="0"/>
                  </a:lnTo>
                  <a:lnTo>
                    <a:pt x="8" y="0"/>
                  </a:lnTo>
                  <a:lnTo>
                    <a:pt x="10" y="2"/>
                  </a:lnTo>
                  <a:lnTo>
                    <a:pt x="8" y="8"/>
                  </a:lnTo>
                  <a:lnTo>
                    <a:pt x="8" y="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7" name="Malaysia"/>
            <p:cNvSpPr>
              <a:spLocks/>
            </p:cNvSpPr>
            <p:nvPr/>
          </p:nvSpPr>
          <p:spPr bwMode="auto">
            <a:xfrm>
              <a:off x="6930726" y="3372115"/>
              <a:ext cx="539875" cy="211667"/>
            </a:xfrm>
            <a:custGeom>
              <a:avLst/>
              <a:gdLst/>
              <a:ahLst/>
              <a:cxnLst/>
              <a:rect l="l" t="t" r="r" b="b"/>
              <a:pathLst>
                <a:path w="539875" h="211667">
                  <a:moveTo>
                    <a:pt x="5292" y="26458"/>
                  </a:moveTo>
                  <a:lnTo>
                    <a:pt x="10584" y="26458"/>
                  </a:lnTo>
                  <a:lnTo>
                    <a:pt x="21167" y="31750"/>
                  </a:lnTo>
                  <a:lnTo>
                    <a:pt x="26459" y="37041"/>
                  </a:lnTo>
                  <a:lnTo>
                    <a:pt x="34396" y="39687"/>
                  </a:lnTo>
                  <a:lnTo>
                    <a:pt x="42334" y="37041"/>
                  </a:lnTo>
                  <a:lnTo>
                    <a:pt x="44980" y="34396"/>
                  </a:lnTo>
                  <a:lnTo>
                    <a:pt x="47625" y="31750"/>
                  </a:lnTo>
                  <a:lnTo>
                    <a:pt x="52917" y="26458"/>
                  </a:lnTo>
                  <a:lnTo>
                    <a:pt x="60855" y="37041"/>
                  </a:lnTo>
                  <a:lnTo>
                    <a:pt x="66146" y="39687"/>
                  </a:lnTo>
                  <a:lnTo>
                    <a:pt x="71438" y="44979"/>
                  </a:lnTo>
                  <a:lnTo>
                    <a:pt x="74084" y="47625"/>
                  </a:lnTo>
                  <a:lnTo>
                    <a:pt x="76730" y="52916"/>
                  </a:lnTo>
                  <a:lnTo>
                    <a:pt x="87313" y="58208"/>
                  </a:lnTo>
                  <a:lnTo>
                    <a:pt x="97896" y="68791"/>
                  </a:lnTo>
                  <a:lnTo>
                    <a:pt x="103188" y="76729"/>
                  </a:lnTo>
                  <a:lnTo>
                    <a:pt x="105834" y="84666"/>
                  </a:lnTo>
                  <a:lnTo>
                    <a:pt x="105834" y="92604"/>
                  </a:lnTo>
                  <a:lnTo>
                    <a:pt x="105834" y="100541"/>
                  </a:lnTo>
                  <a:lnTo>
                    <a:pt x="103188" y="105833"/>
                  </a:lnTo>
                  <a:lnTo>
                    <a:pt x="100542" y="108479"/>
                  </a:lnTo>
                  <a:lnTo>
                    <a:pt x="92605" y="113771"/>
                  </a:lnTo>
                  <a:lnTo>
                    <a:pt x="95250" y="116416"/>
                  </a:lnTo>
                  <a:lnTo>
                    <a:pt x="100542" y="124354"/>
                  </a:lnTo>
                  <a:lnTo>
                    <a:pt x="97896" y="129646"/>
                  </a:lnTo>
                  <a:lnTo>
                    <a:pt x="97896" y="134937"/>
                  </a:lnTo>
                  <a:lnTo>
                    <a:pt x="103188" y="145521"/>
                  </a:lnTo>
                  <a:lnTo>
                    <a:pt x="108480" y="153458"/>
                  </a:lnTo>
                  <a:lnTo>
                    <a:pt x="111126" y="158750"/>
                  </a:lnTo>
                  <a:lnTo>
                    <a:pt x="113771" y="164041"/>
                  </a:lnTo>
                  <a:lnTo>
                    <a:pt x="121709" y="174625"/>
                  </a:lnTo>
                  <a:lnTo>
                    <a:pt x="132292" y="187854"/>
                  </a:lnTo>
                  <a:lnTo>
                    <a:pt x="132292" y="193145"/>
                  </a:lnTo>
                  <a:lnTo>
                    <a:pt x="132292" y="195791"/>
                  </a:lnTo>
                  <a:lnTo>
                    <a:pt x="129646" y="198437"/>
                  </a:lnTo>
                  <a:lnTo>
                    <a:pt x="127001" y="198437"/>
                  </a:lnTo>
                  <a:lnTo>
                    <a:pt x="119063" y="195791"/>
                  </a:lnTo>
                  <a:lnTo>
                    <a:pt x="116417" y="193145"/>
                  </a:lnTo>
                  <a:lnTo>
                    <a:pt x="113771" y="195791"/>
                  </a:lnTo>
                  <a:lnTo>
                    <a:pt x="111126" y="198437"/>
                  </a:lnTo>
                  <a:lnTo>
                    <a:pt x="108480" y="195791"/>
                  </a:lnTo>
                  <a:lnTo>
                    <a:pt x="100542" y="187854"/>
                  </a:lnTo>
                  <a:lnTo>
                    <a:pt x="95250" y="182562"/>
                  </a:lnTo>
                  <a:lnTo>
                    <a:pt x="84667" y="177270"/>
                  </a:lnTo>
                  <a:lnTo>
                    <a:pt x="79375" y="174625"/>
                  </a:lnTo>
                  <a:lnTo>
                    <a:pt x="76730" y="171979"/>
                  </a:lnTo>
                  <a:lnTo>
                    <a:pt x="74084" y="169333"/>
                  </a:lnTo>
                  <a:lnTo>
                    <a:pt x="60855" y="161396"/>
                  </a:lnTo>
                  <a:lnTo>
                    <a:pt x="55563" y="158750"/>
                  </a:lnTo>
                  <a:lnTo>
                    <a:pt x="52917" y="156104"/>
                  </a:lnTo>
                  <a:lnTo>
                    <a:pt x="50271" y="153458"/>
                  </a:lnTo>
                  <a:lnTo>
                    <a:pt x="44980" y="148166"/>
                  </a:lnTo>
                  <a:lnTo>
                    <a:pt x="37042" y="142875"/>
                  </a:lnTo>
                  <a:lnTo>
                    <a:pt x="37042" y="140229"/>
                  </a:lnTo>
                  <a:lnTo>
                    <a:pt x="39688" y="137583"/>
                  </a:lnTo>
                  <a:lnTo>
                    <a:pt x="39688" y="132291"/>
                  </a:lnTo>
                  <a:lnTo>
                    <a:pt x="37042" y="129646"/>
                  </a:lnTo>
                  <a:lnTo>
                    <a:pt x="31750" y="121708"/>
                  </a:lnTo>
                  <a:lnTo>
                    <a:pt x="26459" y="116416"/>
                  </a:lnTo>
                  <a:lnTo>
                    <a:pt x="26459" y="113771"/>
                  </a:lnTo>
                  <a:lnTo>
                    <a:pt x="26459" y="108479"/>
                  </a:lnTo>
                  <a:lnTo>
                    <a:pt x="29104" y="105833"/>
                  </a:lnTo>
                  <a:lnTo>
                    <a:pt x="26459" y="103187"/>
                  </a:lnTo>
                  <a:lnTo>
                    <a:pt x="21167" y="97896"/>
                  </a:lnTo>
                  <a:lnTo>
                    <a:pt x="21167" y="92604"/>
                  </a:lnTo>
                  <a:lnTo>
                    <a:pt x="18521" y="84666"/>
                  </a:lnTo>
                  <a:lnTo>
                    <a:pt x="15875" y="79375"/>
                  </a:lnTo>
                  <a:lnTo>
                    <a:pt x="13229" y="74083"/>
                  </a:lnTo>
                  <a:lnTo>
                    <a:pt x="13229" y="71437"/>
                  </a:lnTo>
                  <a:lnTo>
                    <a:pt x="13229" y="68791"/>
                  </a:lnTo>
                  <a:lnTo>
                    <a:pt x="13229" y="66146"/>
                  </a:lnTo>
                  <a:lnTo>
                    <a:pt x="10584" y="60854"/>
                  </a:lnTo>
                  <a:lnTo>
                    <a:pt x="10584" y="52916"/>
                  </a:lnTo>
                  <a:lnTo>
                    <a:pt x="7938" y="42333"/>
                  </a:lnTo>
                  <a:lnTo>
                    <a:pt x="0" y="29104"/>
                  </a:lnTo>
                  <a:close/>
                  <a:moveTo>
                    <a:pt x="455209" y="0"/>
                  </a:moveTo>
                  <a:lnTo>
                    <a:pt x="460500" y="0"/>
                  </a:lnTo>
                  <a:lnTo>
                    <a:pt x="460500" y="5292"/>
                  </a:lnTo>
                  <a:lnTo>
                    <a:pt x="460500" y="7937"/>
                  </a:lnTo>
                  <a:lnTo>
                    <a:pt x="463146" y="7937"/>
                  </a:lnTo>
                  <a:lnTo>
                    <a:pt x="468438" y="5292"/>
                  </a:lnTo>
                  <a:lnTo>
                    <a:pt x="468438" y="2646"/>
                  </a:lnTo>
                  <a:lnTo>
                    <a:pt x="468438" y="0"/>
                  </a:lnTo>
                  <a:lnTo>
                    <a:pt x="471084" y="0"/>
                  </a:lnTo>
                  <a:lnTo>
                    <a:pt x="473729" y="0"/>
                  </a:lnTo>
                  <a:lnTo>
                    <a:pt x="476375" y="0"/>
                  </a:lnTo>
                  <a:lnTo>
                    <a:pt x="476375" y="5292"/>
                  </a:lnTo>
                  <a:lnTo>
                    <a:pt x="476375" y="10583"/>
                  </a:lnTo>
                  <a:lnTo>
                    <a:pt x="481667" y="10583"/>
                  </a:lnTo>
                  <a:lnTo>
                    <a:pt x="486959" y="7937"/>
                  </a:lnTo>
                  <a:lnTo>
                    <a:pt x="486959" y="10583"/>
                  </a:lnTo>
                  <a:lnTo>
                    <a:pt x="486959" y="13229"/>
                  </a:lnTo>
                  <a:lnTo>
                    <a:pt x="489604" y="15875"/>
                  </a:lnTo>
                  <a:lnTo>
                    <a:pt x="492250" y="18521"/>
                  </a:lnTo>
                  <a:lnTo>
                    <a:pt x="489604" y="21167"/>
                  </a:lnTo>
                  <a:lnTo>
                    <a:pt x="484313" y="23812"/>
                  </a:lnTo>
                  <a:lnTo>
                    <a:pt x="486959" y="26459"/>
                  </a:lnTo>
                  <a:lnTo>
                    <a:pt x="492250" y="29104"/>
                  </a:lnTo>
                  <a:lnTo>
                    <a:pt x="484313" y="31750"/>
                  </a:lnTo>
                  <a:lnTo>
                    <a:pt x="492250" y="34396"/>
                  </a:lnTo>
                  <a:lnTo>
                    <a:pt x="497542" y="31750"/>
                  </a:lnTo>
                  <a:lnTo>
                    <a:pt x="500188" y="29104"/>
                  </a:lnTo>
                  <a:lnTo>
                    <a:pt x="502834" y="31750"/>
                  </a:lnTo>
                  <a:lnTo>
                    <a:pt x="505479" y="37042"/>
                  </a:lnTo>
                  <a:lnTo>
                    <a:pt x="505479" y="42334"/>
                  </a:lnTo>
                  <a:lnTo>
                    <a:pt x="505479" y="44979"/>
                  </a:lnTo>
                  <a:lnTo>
                    <a:pt x="508125" y="42334"/>
                  </a:lnTo>
                  <a:lnTo>
                    <a:pt x="510771" y="39688"/>
                  </a:lnTo>
                  <a:lnTo>
                    <a:pt x="516063" y="42334"/>
                  </a:lnTo>
                  <a:lnTo>
                    <a:pt x="521354" y="44979"/>
                  </a:lnTo>
                  <a:lnTo>
                    <a:pt x="526646" y="47625"/>
                  </a:lnTo>
                  <a:lnTo>
                    <a:pt x="529292" y="50271"/>
                  </a:lnTo>
                  <a:lnTo>
                    <a:pt x="531938" y="47625"/>
                  </a:lnTo>
                  <a:lnTo>
                    <a:pt x="534584" y="47625"/>
                  </a:lnTo>
                  <a:lnTo>
                    <a:pt x="539875" y="52917"/>
                  </a:lnTo>
                  <a:lnTo>
                    <a:pt x="539875" y="58209"/>
                  </a:lnTo>
                  <a:lnTo>
                    <a:pt x="537229" y="60854"/>
                  </a:lnTo>
                  <a:lnTo>
                    <a:pt x="534584" y="60854"/>
                  </a:lnTo>
                  <a:lnTo>
                    <a:pt x="526646" y="60854"/>
                  </a:lnTo>
                  <a:lnTo>
                    <a:pt x="524000" y="63500"/>
                  </a:lnTo>
                  <a:lnTo>
                    <a:pt x="518709" y="66146"/>
                  </a:lnTo>
                  <a:lnTo>
                    <a:pt x="516063" y="66146"/>
                  </a:lnTo>
                  <a:lnTo>
                    <a:pt x="510771" y="66146"/>
                  </a:lnTo>
                  <a:lnTo>
                    <a:pt x="508125" y="71438"/>
                  </a:lnTo>
                  <a:lnTo>
                    <a:pt x="513417" y="76729"/>
                  </a:lnTo>
                  <a:lnTo>
                    <a:pt x="524000" y="79375"/>
                  </a:lnTo>
                  <a:lnTo>
                    <a:pt x="529292" y="79375"/>
                  </a:lnTo>
                  <a:lnTo>
                    <a:pt x="524000" y="82021"/>
                  </a:lnTo>
                  <a:lnTo>
                    <a:pt x="516063" y="84667"/>
                  </a:lnTo>
                  <a:lnTo>
                    <a:pt x="508125" y="89959"/>
                  </a:lnTo>
                  <a:lnTo>
                    <a:pt x="502834" y="89959"/>
                  </a:lnTo>
                  <a:lnTo>
                    <a:pt x="492250" y="84667"/>
                  </a:lnTo>
                  <a:lnTo>
                    <a:pt x="492250" y="92604"/>
                  </a:lnTo>
                  <a:lnTo>
                    <a:pt x="489604" y="95250"/>
                  </a:lnTo>
                  <a:lnTo>
                    <a:pt x="473729" y="92604"/>
                  </a:lnTo>
                  <a:lnTo>
                    <a:pt x="465792" y="95250"/>
                  </a:lnTo>
                  <a:lnTo>
                    <a:pt x="460500" y="92604"/>
                  </a:lnTo>
                  <a:lnTo>
                    <a:pt x="457855" y="92604"/>
                  </a:lnTo>
                  <a:lnTo>
                    <a:pt x="452563" y="92604"/>
                  </a:lnTo>
                  <a:lnTo>
                    <a:pt x="447271" y="95250"/>
                  </a:lnTo>
                  <a:lnTo>
                    <a:pt x="444625" y="97896"/>
                  </a:lnTo>
                  <a:lnTo>
                    <a:pt x="444625" y="100542"/>
                  </a:lnTo>
                  <a:lnTo>
                    <a:pt x="441980" y="103188"/>
                  </a:lnTo>
                  <a:lnTo>
                    <a:pt x="441980" y="105834"/>
                  </a:lnTo>
                  <a:lnTo>
                    <a:pt x="441980" y="116417"/>
                  </a:lnTo>
                  <a:lnTo>
                    <a:pt x="441980" y="127000"/>
                  </a:lnTo>
                  <a:lnTo>
                    <a:pt x="436688" y="132292"/>
                  </a:lnTo>
                  <a:lnTo>
                    <a:pt x="431396" y="137584"/>
                  </a:lnTo>
                  <a:lnTo>
                    <a:pt x="426105" y="142875"/>
                  </a:lnTo>
                  <a:lnTo>
                    <a:pt x="423459" y="148167"/>
                  </a:lnTo>
                  <a:lnTo>
                    <a:pt x="420813" y="161396"/>
                  </a:lnTo>
                  <a:lnTo>
                    <a:pt x="418167" y="171980"/>
                  </a:lnTo>
                  <a:lnTo>
                    <a:pt x="415521" y="177271"/>
                  </a:lnTo>
                  <a:lnTo>
                    <a:pt x="412875" y="182563"/>
                  </a:lnTo>
                  <a:lnTo>
                    <a:pt x="407584" y="187855"/>
                  </a:lnTo>
                  <a:lnTo>
                    <a:pt x="404938" y="190500"/>
                  </a:lnTo>
                  <a:lnTo>
                    <a:pt x="399646" y="193146"/>
                  </a:lnTo>
                  <a:lnTo>
                    <a:pt x="386417" y="198438"/>
                  </a:lnTo>
                  <a:lnTo>
                    <a:pt x="375834" y="198438"/>
                  </a:lnTo>
                  <a:lnTo>
                    <a:pt x="370542" y="195792"/>
                  </a:lnTo>
                  <a:lnTo>
                    <a:pt x="367896" y="193146"/>
                  </a:lnTo>
                  <a:lnTo>
                    <a:pt x="367896" y="190500"/>
                  </a:lnTo>
                  <a:lnTo>
                    <a:pt x="365250" y="190500"/>
                  </a:lnTo>
                  <a:lnTo>
                    <a:pt x="359959" y="190500"/>
                  </a:lnTo>
                  <a:lnTo>
                    <a:pt x="354667" y="193146"/>
                  </a:lnTo>
                  <a:lnTo>
                    <a:pt x="349375" y="195792"/>
                  </a:lnTo>
                  <a:lnTo>
                    <a:pt x="349375" y="198438"/>
                  </a:lnTo>
                  <a:lnTo>
                    <a:pt x="346730" y="201084"/>
                  </a:lnTo>
                  <a:lnTo>
                    <a:pt x="341438" y="203730"/>
                  </a:lnTo>
                  <a:lnTo>
                    <a:pt x="336146" y="206375"/>
                  </a:lnTo>
                  <a:lnTo>
                    <a:pt x="333501" y="206375"/>
                  </a:lnTo>
                  <a:lnTo>
                    <a:pt x="325563" y="206375"/>
                  </a:lnTo>
                  <a:lnTo>
                    <a:pt x="314980" y="209021"/>
                  </a:lnTo>
                  <a:lnTo>
                    <a:pt x="304396" y="211667"/>
                  </a:lnTo>
                  <a:lnTo>
                    <a:pt x="299105" y="209021"/>
                  </a:lnTo>
                  <a:lnTo>
                    <a:pt x="296459" y="203730"/>
                  </a:lnTo>
                  <a:lnTo>
                    <a:pt x="296459" y="201084"/>
                  </a:lnTo>
                  <a:lnTo>
                    <a:pt x="291167" y="198438"/>
                  </a:lnTo>
                  <a:lnTo>
                    <a:pt x="288521" y="195792"/>
                  </a:lnTo>
                  <a:lnTo>
                    <a:pt x="288521" y="193146"/>
                  </a:lnTo>
                  <a:lnTo>
                    <a:pt x="288521" y="187855"/>
                  </a:lnTo>
                  <a:lnTo>
                    <a:pt x="283230" y="185209"/>
                  </a:lnTo>
                  <a:lnTo>
                    <a:pt x="280584" y="179917"/>
                  </a:lnTo>
                  <a:lnTo>
                    <a:pt x="277938" y="179917"/>
                  </a:lnTo>
                  <a:lnTo>
                    <a:pt x="277938" y="177271"/>
                  </a:lnTo>
                  <a:lnTo>
                    <a:pt x="275292" y="174625"/>
                  </a:lnTo>
                  <a:lnTo>
                    <a:pt x="275292" y="171980"/>
                  </a:lnTo>
                  <a:lnTo>
                    <a:pt x="277938" y="171980"/>
                  </a:lnTo>
                  <a:lnTo>
                    <a:pt x="280584" y="177271"/>
                  </a:lnTo>
                  <a:lnTo>
                    <a:pt x="291167" y="177271"/>
                  </a:lnTo>
                  <a:lnTo>
                    <a:pt x="301751" y="177271"/>
                  </a:lnTo>
                  <a:lnTo>
                    <a:pt x="307042" y="179917"/>
                  </a:lnTo>
                  <a:lnTo>
                    <a:pt x="309688" y="185209"/>
                  </a:lnTo>
                  <a:lnTo>
                    <a:pt x="312334" y="185209"/>
                  </a:lnTo>
                  <a:lnTo>
                    <a:pt x="322917" y="187855"/>
                  </a:lnTo>
                  <a:lnTo>
                    <a:pt x="328209" y="190500"/>
                  </a:lnTo>
                  <a:lnTo>
                    <a:pt x="325563" y="187855"/>
                  </a:lnTo>
                  <a:lnTo>
                    <a:pt x="314980" y="182563"/>
                  </a:lnTo>
                  <a:lnTo>
                    <a:pt x="312334" y="179917"/>
                  </a:lnTo>
                  <a:lnTo>
                    <a:pt x="309688" y="177271"/>
                  </a:lnTo>
                  <a:lnTo>
                    <a:pt x="314980" y="169334"/>
                  </a:lnTo>
                  <a:lnTo>
                    <a:pt x="320271" y="164042"/>
                  </a:lnTo>
                  <a:lnTo>
                    <a:pt x="320271" y="161396"/>
                  </a:lnTo>
                  <a:lnTo>
                    <a:pt x="320271" y="158750"/>
                  </a:lnTo>
                  <a:lnTo>
                    <a:pt x="320271" y="156105"/>
                  </a:lnTo>
                  <a:lnTo>
                    <a:pt x="320271" y="153459"/>
                  </a:lnTo>
                  <a:lnTo>
                    <a:pt x="322917" y="148167"/>
                  </a:lnTo>
                  <a:lnTo>
                    <a:pt x="325563" y="142875"/>
                  </a:lnTo>
                  <a:lnTo>
                    <a:pt x="328209" y="142875"/>
                  </a:lnTo>
                  <a:lnTo>
                    <a:pt x="333501" y="142875"/>
                  </a:lnTo>
                  <a:lnTo>
                    <a:pt x="346730" y="134938"/>
                  </a:lnTo>
                  <a:lnTo>
                    <a:pt x="359959" y="129646"/>
                  </a:lnTo>
                  <a:lnTo>
                    <a:pt x="365250" y="124354"/>
                  </a:lnTo>
                  <a:lnTo>
                    <a:pt x="370542" y="113771"/>
                  </a:lnTo>
                  <a:lnTo>
                    <a:pt x="381125" y="92604"/>
                  </a:lnTo>
                  <a:lnTo>
                    <a:pt x="389063" y="82021"/>
                  </a:lnTo>
                  <a:lnTo>
                    <a:pt x="389063" y="74084"/>
                  </a:lnTo>
                  <a:lnTo>
                    <a:pt x="391709" y="71438"/>
                  </a:lnTo>
                  <a:lnTo>
                    <a:pt x="397000" y="68792"/>
                  </a:lnTo>
                  <a:lnTo>
                    <a:pt x="399646" y="71438"/>
                  </a:lnTo>
                  <a:lnTo>
                    <a:pt x="402292" y="74084"/>
                  </a:lnTo>
                  <a:lnTo>
                    <a:pt x="402292" y="76729"/>
                  </a:lnTo>
                  <a:lnTo>
                    <a:pt x="404938" y="79375"/>
                  </a:lnTo>
                  <a:lnTo>
                    <a:pt x="404938" y="76729"/>
                  </a:lnTo>
                  <a:lnTo>
                    <a:pt x="407584" y="79375"/>
                  </a:lnTo>
                  <a:lnTo>
                    <a:pt x="412875" y="87313"/>
                  </a:lnTo>
                  <a:lnTo>
                    <a:pt x="418167" y="89959"/>
                  </a:lnTo>
                  <a:lnTo>
                    <a:pt x="420813" y="87313"/>
                  </a:lnTo>
                  <a:lnTo>
                    <a:pt x="423459" y="79375"/>
                  </a:lnTo>
                  <a:lnTo>
                    <a:pt x="420813" y="71438"/>
                  </a:lnTo>
                  <a:lnTo>
                    <a:pt x="420813" y="66146"/>
                  </a:lnTo>
                  <a:lnTo>
                    <a:pt x="420813" y="63500"/>
                  </a:lnTo>
                  <a:lnTo>
                    <a:pt x="423459" y="60854"/>
                  </a:lnTo>
                  <a:lnTo>
                    <a:pt x="426105" y="60854"/>
                  </a:lnTo>
                  <a:lnTo>
                    <a:pt x="428750" y="60854"/>
                  </a:lnTo>
                  <a:lnTo>
                    <a:pt x="428750" y="68792"/>
                  </a:lnTo>
                  <a:lnTo>
                    <a:pt x="431396" y="74084"/>
                  </a:lnTo>
                  <a:lnTo>
                    <a:pt x="434042" y="74084"/>
                  </a:lnTo>
                  <a:lnTo>
                    <a:pt x="436688" y="71438"/>
                  </a:lnTo>
                  <a:lnTo>
                    <a:pt x="436688" y="68792"/>
                  </a:lnTo>
                  <a:lnTo>
                    <a:pt x="436688" y="66146"/>
                  </a:lnTo>
                  <a:lnTo>
                    <a:pt x="434042" y="58209"/>
                  </a:lnTo>
                  <a:lnTo>
                    <a:pt x="434042" y="52917"/>
                  </a:lnTo>
                  <a:lnTo>
                    <a:pt x="436688" y="52917"/>
                  </a:lnTo>
                  <a:lnTo>
                    <a:pt x="439334" y="50271"/>
                  </a:lnTo>
                  <a:lnTo>
                    <a:pt x="439334" y="47625"/>
                  </a:lnTo>
                  <a:lnTo>
                    <a:pt x="436688" y="42334"/>
                  </a:lnTo>
                  <a:lnTo>
                    <a:pt x="436688" y="39688"/>
                  </a:lnTo>
                  <a:lnTo>
                    <a:pt x="439334" y="37042"/>
                  </a:lnTo>
                  <a:lnTo>
                    <a:pt x="444625" y="31750"/>
                  </a:lnTo>
                  <a:lnTo>
                    <a:pt x="441980" y="29104"/>
                  </a:lnTo>
                  <a:lnTo>
                    <a:pt x="441980" y="26459"/>
                  </a:lnTo>
                  <a:lnTo>
                    <a:pt x="447271" y="21167"/>
                  </a:lnTo>
                  <a:lnTo>
                    <a:pt x="452563" y="13229"/>
                  </a:lnTo>
                  <a:lnTo>
                    <a:pt x="452563" y="7937"/>
                  </a:lnTo>
                  <a:lnTo>
                    <a:pt x="455209" y="2646"/>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8" name="Mexico"/>
            <p:cNvSpPr>
              <a:spLocks/>
            </p:cNvSpPr>
            <p:nvPr/>
          </p:nvSpPr>
          <p:spPr bwMode="auto">
            <a:xfrm>
              <a:off x="1067559" y="2546615"/>
              <a:ext cx="709083" cy="582083"/>
            </a:xfrm>
            <a:custGeom>
              <a:avLst/>
              <a:gdLst/>
              <a:ahLst/>
              <a:cxnLst>
                <a:cxn ang="0">
                  <a:pos x="326" y="228"/>
                </a:cxn>
                <a:cxn ang="0">
                  <a:pos x="324" y="274"/>
                </a:cxn>
                <a:cxn ang="0">
                  <a:pos x="340" y="326"/>
                </a:cxn>
                <a:cxn ang="0">
                  <a:pos x="360" y="342"/>
                </a:cxn>
                <a:cxn ang="0">
                  <a:pos x="406" y="336"/>
                </a:cxn>
                <a:cxn ang="0">
                  <a:pos x="430" y="330"/>
                </a:cxn>
                <a:cxn ang="0">
                  <a:pos x="442" y="322"/>
                </a:cxn>
                <a:cxn ang="0">
                  <a:pos x="456" y="296"/>
                </a:cxn>
                <a:cxn ang="0">
                  <a:pos x="498" y="266"/>
                </a:cxn>
                <a:cxn ang="0">
                  <a:pos x="532" y="270"/>
                </a:cxn>
                <a:cxn ang="0">
                  <a:pos x="522" y="304"/>
                </a:cxn>
                <a:cxn ang="0">
                  <a:pos x="516" y="314"/>
                </a:cxn>
                <a:cxn ang="0">
                  <a:pos x="500" y="356"/>
                </a:cxn>
                <a:cxn ang="0">
                  <a:pos x="492" y="346"/>
                </a:cxn>
                <a:cxn ang="0">
                  <a:pos x="432" y="364"/>
                </a:cxn>
                <a:cxn ang="0">
                  <a:pos x="428" y="386"/>
                </a:cxn>
                <a:cxn ang="0">
                  <a:pos x="424" y="402"/>
                </a:cxn>
                <a:cxn ang="0">
                  <a:pos x="380" y="420"/>
                </a:cxn>
                <a:cxn ang="0">
                  <a:pos x="356" y="402"/>
                </a:cxn>
                <a:cxn ang="0">
                  <a:pos x="350" y="406"/>
                </a:cxn>
                <a:cxn ang="0">
                  <a:pos x="312" y="416"/>
                </a:cxn>
                <a:cxn ang="0">
                  <a:pos x="274" y="402"/>
                </a:cxn>
                <a:cxn ang="0">
                  <a:pos x="234" y="378"/>
                </a:cxn>
                <a:cxn ang="0">
                  <a:pos x="186" y="352"/>
                </a:cxn>
                <a:cxn ang="0">
                  <a:pos x="162" y="334"/>
                </a:cxn>
                <a:cxn ang="0">
                  <a:pos x="144" y="308"/>
                </a:cxn>
                <a:cxn ang="0">
                  <a:pos x="154" y="286"/>
                </a:cxn>
                <a:cxn ang="0">
                  <a:pos x="160" y="266"/>
                </a:cxn>
                <a:cxn ang="0">
                  <a:pos x="124" y="192"/>
                </a:cxn>
                <a:cxn ang="0">
                  <a:pos x="118" y="186"/>
                </a:cxn>
                <a:cxn ang="0">
                  <a:pos x="108" y="160"/>
                </a:cxn>
                <a:cxn ang="0">
                  <a:pos x="94" y="134"/>
                </a:cxn>
                <a:cxn ang="0">
                  <a:pos x="84" y="112"/>
                </a:cxn>
                <a:cxn ang="0">
                  <a:pos x="72" y="90"/>
                </a:cxn>
                <a:cxn ang="0">
                  <a:pos x="66" y="52"/>
                </a:cxn>
                <a:cxn ang="0">
                  <a:pos x="50" y="26"/>
                </a:cxn>
                <a:cxn ang="0">
                  <a:pos x="38" y="42"/>
                </a:cxn>
                <a:cxn ang="0">
                  <a:pos x="50" y="90"/>
                </a:cxn>
                <a:cxn ang="0">
                  <a:pos x="58" y="116"/>
                </a:cxn>
                <a:cxn ang="0">
                  <a:pos x="68" y="148"/>
                </a:cxn>
                <a:cxn ang="0">
                  <a:pos x="66" y="168"/>
                </a:cxn>
                <a:cxn ang="0">
                  <a:pos x="76" y="164"/>
                </a:cxn>
                <a:cxn ang="0">
                  <a:pos x="74" y="202"/>
                </a:cxn>
                <a:cxn ang="0">
                  <a:pos x="86" y="214"/>
                </a:cxn>
                <a:cxn ang="0">
                  <a:pos x="70" y="232"/>
                </a:cxn>
                <a:cxn ang="0">
                  <a:pos x="46" y="192"/>
                </a:cxn>
                <a:cxn ang="0">
                  <a:pos x="44" y="162"/>
                </a:cxn>
                <a:cxn ang="0">
                  <a:pos x="24" y="140"/>
                </a:cxn>
                <a:cxn ang="0">
                  <a:pos x="6" y="118"/>
                </a:cxn>
                <a:cxn ang="0">
                  <a:pos x="22" y="114"/>
                </a:cxn>
                <a:cxn ang="0">
                  <a:pos x="28" y="104"/>
                </a:cxn>
                <a:cxn ang="0">
                  <a:pos x="4" y="60"/>
                </a:cxn>
                <a:cxn ang="0">
                  <a:pos x="2" y="32"/>
                </a:cxn>
                <a:cxn ang="0">
                  <a:pos x="4" y="2"/>
                </a:cxn>
                <a:cxn ang="0">
                  <a:pos x="200" y="22"/>
                </a:cxn>
                <a:cxn ang="0">
                  <a:pos x="224" y="46"/>
                </a:cxn>
                <a:cxn ang="0">
                  <a:pos x="252" y="72"/>
                </a:cxn>
                <a:cxn ang="0">
                  <a:pos x="278" y="68"/>
                </a:cxn>
                <a:cxn ang="0">
                  <a:pos x="312" y="140"/>
                </a:cxn>
              </a:cxnLst>
              <a:rect l="0" t="0" r="r" b="b"/>
              <a:pathLst>
                <a:path w="536" h="440">
                  <a:moveTo>
                    <a:pt x="346" y="160"/>
                  </a:moveTo>
                  <a:lnTo>
                    <a:pt x="346" y="160"/>
                  </a:lnTo>
                  <a:lnTo>
                    <a:pt x="346" y="168"/>
                  </a:lnTo>
                  <a:lnTo>
                    <a:pt x="344" y="174"/>
                  </a:lnTo>
                  <a:lnTo>
                    <a:pt x="338" y="182"/>
                  </a:lnTo>
                  <a:lnTo>
                    <a:pt x="338" y="182"/>
                  </a:lnTo>
                  <a:lnTo>
                    <a:pt x="334" y="188"/>
                  </a:lnTo>
                  <a:lnTo>
                    <a:pt x="332" y="196"/>
                  </a:lnTo>
                  <a:lnTo>
                    <a:pt x="328" y="212"/>
                  </a:lnTo>
                  <a:lnTo>
                    <a:pt x="326" y="228"/>
                  </a:lnTo>
                  <a:lnTo>
                    <a:pt x="324" y="236"/>
                  </a:lnTo>
                  <a:lnTo>
                    <a:pt x="322" y="242"/>
                  </a:lnTo>
                  <a:lnTo>
                    <a:pt x="322" y="242"/>
                  </a:lnTo>
                  <a:lnTo>
                    <a:pt x="320" y="246"/>
                  </a:lnTo>
                  <a:lnTo>
                    <a:pt x="318" y="252"/>
                  </a:lnTo>
                  <a:lnTo>
                    <a:pt x="320" y="260"/>
                  </a:lnTo>
                  <a:lnTo>
                    <a:pt x="324" y="266"/>
                  </a:lnTo>
                  <a:lnTo>
                    <a:pt x="324" y="270"/>
                  </a:lnTo>
                  <a:lnTo>
                    <a:pt x="324" y="274"/>
                  </a:lnTo>
                  <a:lnTo>
                    <a:pt x="324" y="274"/>
                  </a:lnTo>
                  <a:lnTo>
                    <a:pt x="322" y="278"/>
                  </a:lnTo>
                  <a:lnTo>
                    <a:pt x="322" y="282"/>
                  </a:lnTo>
                  <a:lnTo>
                    <a:pt x="324" y="292"/>
                  </a:lnTo>
                  <a:lnTo>
                    <a:pt x="334" y="312"/>
                  </a:lnTo>
                  <a:lnTo>
                    <a:pt x="334" y="312"/>
                  </a:lnTo>
                  <a:lnTo>
                    <a:pt x="336" y="318"/>
                  </a:lnTo>
                  <a:lnTo>
                    <a:pt x="336" y="322"/>
                  </a:lnTo>
                  <a:lnTo>
                    <a:pt x="336" y="324"/>
                  </a:lnTo>
                  <a:lnTo>
                    <a:pt x="340" y="326"/>
                  </a:lnTo>
                  <a:lnTo>
                    <a:pt x="340" y="326"/>
                  </a:lnTo>
                  <a:lnTo>
                    <a:pt x="342" y="328"/>
                  </a:lnTo>
                  <a:lnTo>
                    <a:pt x="342" y="330"/>
                  </a:lnTo>
                  <a:lnTo>
                    <a:pt x="342" y="334"/>
                  </a:lnTo>
                  <a:lnTo>
                    <a:pt x="344" y="338"/>
                  </a:lnTo>
                  <a:lnTo>
                    <a:pt x="346" y="338"/>
                  </a:lnTo>
                  <a:lnTo>
                    <a:pt x="348" y="338"/>
                  </a:lnTo>
                  <a:lnTo>
                    <a:pt x="348" y="338"/>
                  </a:lnTo>
                  <a:lnTo>
                    <a:pt x="352" y="338"/>
                  </a:lnTo>
                  <a:lnTo>
                    <a:pt x="356" y="340"/>
                  </a:lnTo>
                  <a:lnTo>
                    <a:pt x="360" y="342"/>
                  </a:lnTo>
                  <a:lnTo>
                    <a:pt x="360" y="342"/>
                  </a:lnTo>
                  <a:lnTo>
                    <a:pt x="366" y="346"/>
                  </a:lnTo>
                  <a:lnTo>
                    <a:pt x="372" y="346"/>
                  </a:lnTo>
                  <a:lnTo>
                    <a:pt x="378" y="344"/>
                  </a:lnTo>
                  <a:lnTo>
                    <a:pt x="378" y="344"/>
                  </a:lnTo>
                  <a:lnTo>
                    <a:pt x="386" y="340"/>
                  </a:lnTo>
                  <a:lnTo>
                    <a:pt x="392" y="340"/>
                  </a:lnTo>
                  <a:lnTo>
                    <a:pt x="398" y="338"/>
                  </a:lnTo>
                  <a:lnTo>
                    <a:pt x="406" y="336"/>
                  </a:lnTo>
                  <a:lnTo>
                    <a:pt x="406" y="336"/>
                  </a:lnTo>
                  <a:lnTo>
                    <a:pt x="412" y="334"/>
                  </a:lnTo>
                  <a:lnTo>
                    <a:pt x="416" y="332"/>
                  </a:lnTo>
                  <a:lnTo>
                    <a:pt x="420" y="332"/>
                  </a:lnTo>
                  <a:lnTo>
                    <a:pt x="424" y="330"/>
                  </a:lnTo>
                  <a:lnTo>
                    <a:pt x="424" y="330"/>
                  </a:lnTo>
                  <a:lnTo>
                    <a:pt x="428" y="328"/>
                  </a:lnTo>
                  <a:lnTo>
                    <a:pt x="432" y="328"/>
                  </a:lnTo>
                  <a:lnTo>
                    <a:pt x="432" y="330"/>
                  </a:lnTo>
                  <a:lnTo>
                    <a:pt x="430" y="330"/>
                  </a:lnTo>
                  <a:lnTo>
                    <a:pt x="430" y="330"/>
                  </a:lnTo>
                  <a:lnTo>
                    <a:pt x="426" y="332"/>
                  </a:lnTo>
                  <a:lnTo>
                    <a:pt x="426" y="334"/>
                  </a:lnTo>
                  <a:lnTo>
                    <a:pt x="428" y="334"/>
                  </a:lnTo>
                  <a:lnTo>
                    <a:pt x="434" y="332"/>
                  </a:lnTo>
                  <a:lnTo>
                    <a:pt x="434" y="332"/>
                  </a:lnTo>
                  <a:lnTo>
                    <a:pt x="438" y="330"/>
                  </a:lnTo>
                  <a:lnTo>
                    <a:pt x="436" y="328"/>
                  </a:lnTo>
                  <a:lnTo>
                    <a:pt x="436" y="326"/>
                  </a:lnTo>
                  <a:lnTo>
                    <a:pt x="436" y="326"/>
                  </a:lnTo>
                  <a:lnTo>
                    <a:pt x="442" y="322"/>
                  </a:lnTo>
                  <a:lnTo>
                    <a:pt x="442" y="322"/>
                  </a:lnTo>
                  <a:lnTo>
                    <a:pt x="444" y="320"/>
                  </a:lnTo>
                  <a:lnTo>
                    <a:pt x="446" y="318"/>
                  </a:lnTo>
                  <a:lnTo>
                    <a:pt x="446" y="312"/>
                  </a:lnTo>
                  <a:lnTo>
                    <a:pt x="448" y="308"/>
                  </a:lnTo>
                  <a:lnTo>
                    <a:pt x="450" y="306"/>
                  </a:lnTo>
                  <a:lnTo>
                    <a:pt x="452" y="304"/>
                  </a:lnTo>
                  <a:lnTo>
                    <a:pt x="452" y="304"/>
                  </a:lnTo>
                  <a:lnTo>
                    <a:pt x="454" y="302"/>
                  </a:lnTo>
                  <a:lnTo>
                    <a:pt x="456" y="296"/>
                  </a:lnTo>
                  <a:lnTo>
                    <a:pt x="456" y="280"/>
                  </a:lnTo>
                  <a:lnTo>
                    <a:pt x="456" y="280"/>
                  </a:lnTo>
                  <a:lnTo>
                    <a:pt x="456" y="276"/>
                  </a:lnTo>
                  <a:lnTo>
                    <a:pt x="460" y="274"/>
                  </a:lnTo>
                  <a:lnTo>
                    <a:pt x="470" y="268"/>
                  </a:lnTo>
                  <a:lnTo>
                    <a:pt x="482" y="266"/>
                  </a:lnTo>
                  <a:lnTo>
                    <a:pt x="488" y="266"/>
                  </a:lnTo>
                  <a:lnTo>
                    <a:pt x="488" y="266"/>
                  </a:lnTo>
                  <a:lnTo>
                    <a:pt x="492" y="268"/>
                  </a:lnTo>
                  <a:lnTo>
                    <a:pt x="498" y="266"/>
                  </a:lnTo>
                  <a:lnTo>
                    <a:pt x="504" y="264"/>
                  </a:lnTo>
                  <a:lnTo>
                    <a:pt x="514" y="264"/>
                  </a:lnTo>
                  <a:lnTo>
                    <a:pt x="514" y="264"/>
                  </a:lnTo>
                  <a:lnTo>
                    <a:pt x="520" y="264"/>
                  </a:lnTo>
                  <a:lnTo>
                    <a:pt x="524" y="264"/>
                  </a:lnTo>
                  <a:lnTo>
                    <a:pt x="526" y="264"/>
                  </a:lnTo>
                  <a:lnTo>
                    <a:pt x="528" y="266"/>
                  </a:lnTo>
                  <a:lnTo>
                    <a:pt x="528" y="266"/>
                  </a:lnTo>
                  <a:lnTo>
                    <a:pt x="532" y="270"/>
                  </a:lnTo>
                  <a:lnTo>
                    <a:pt x="532" y="270"/>
                  </a:lnTo>
                  <a:lnTo>
                    <a:pt x="534" y="272"/>
                  </a:lnTo>
                  <a:lnTo>
                    <a:pt x="536" y="274"/>
                  </a:lnTo>
                  <a:lnTo>
                    <a:pt x="536" y="274"/>
                  </a:lnTo>
                  <a:lnTo>
                    <a:pt x="536" y="280"/>
                  </a:lnTo>
                  <a:lnTo>
                    <a:pt x="534" y="284"/>
                  </a:lnTo>
                  <a:lnTo>
                    <a:pt x="530" y="288"/>
                  </a:lnTo>
                  <a:lnTo>
                    <a:pt x="526" y="292"/>
                  </a:lnTo>
                  <a:lnTo>
                    <a:pt x="526" y="292"/>
                  </a:lnTo>
                  <a:lnTo>
                    <a:pt x="524" y="300"/>
                  </a:lnTo>
                  <a:lnTo>
                    <a:pt x="522" y="304"/>
                  </a:lnTo>
                  <a:lnTo>
                    <a:pt x="518" y="304"/>
                  </a:lnTo>
                  <a:lnTo>
                    <a:pt x="518" y="304"/>
                  </a:lnTo>
                  <a:lnTo>
                    <a:pt x="516" y="306"/>
                  </a:lnTo>
                  <a:lnTo>
                    <a:pt x="516" y="306"/>
                  </a:lnTo>
                  <a:lnTo>
                    <a:pt x="518" y="306"/>
                  </a:lnTo>
                  <a:lnTo>
                    <a:pt x="518" y="306"/>
                  </a:lnTo>
                  <a:lnTo>
                    <a:pt x="518" y="306"/>
                  </a:lnTo>
                  <a:lnTo>
                    <a:pt x="520" y="308"/>
                  </a:lnTo>
                  <a:lnTo>
                    <a:pt x="520" y="310"/>
                  </a:lnTo>
                  <a:lnTo>
                    <a:pt x="516" y="314"/>
                  </a:lnTo>
                  <a:lnTo>
                    <a:pt x="516" y="314"/>
                  </a:lnTo>
                  <a:lnTo>
                    <a:pt x="512" y="322"/>
                  </a:lnTo>
                  <a:lnTo>
                    <a:pt x="508" y="330"/>
                  </a:lnTo>
                  <a:lnTo>
                    <a:pt x="506" y="338"/>
                  </a:lnTo>
                  <a:lnTo>
                    <a:pt x="504" y="342"/>
                  </a:lnTo>
                  <a:lnTo>
                    <a:pt x="504" y="342"/>
                  </a:lnTo>
                  <a:lnTo>
                    <a:pt x="502" y="344"/>
                  </a:lnTo>
                  <a:lnTo>
                    <a:pt x="502" y="350"/>
                  </a:lnTo>
                  <a:lnTo>
                    <a:pt x="502" y="354"/>
                  </a:lnTo>
                  <a:lnTo>
                    <a:pt x="500" y="356"/>
                  </a:lnTo>
                  <a:lnTo>
                    <a:pt x="500" y="356"/>
                  </a:lnTo>
                  <a:lnTo>
                    <a:pt x="500" y="350"/>
                  </a:lnTo>
                  <a:lnTo>
                    <a:pt x="498" y="346"/>
                  </a:lnTo>
                  <a:lnTo>
                    <a:pt x="498" y="344"/>
                  </a:lnTo>
                  <a:lnTo>
                    <a:pt x="498" y="338"/>
                  </a:lnTo>
                  <a:lnTo>
                    <a:pt x="498" y="338"/>
                  </a:lnTo>
                  <a:lnTo>
                    <a:pt x="494" y="344"/>
                  </a:lnTo>
                  <a:lnTo>
                    <a:pt x="492" y="346"/>
                  </a:lnTo>
                  <a:lnTo>
                    <a:pt x="492" y="346"/>
                  </a:lnTo>
                  <a:lnTo>
                    <a:pt x="492" y="346"/>
                  </a:lnTo>
                  <a:lnTo>
                    <a:pt x="484" y="354"/>
                  </a:lnTo>
                  <a:lnTo>
                    <a:pt x="480" y="358"/>
                  </a:lnTo>
                  <a:lnTo>
                    <a:pt x="478" y="358"/>
                  </a:lnTo>
                  <a:lnTo>
                    <a:pt x="476" y="358"/>
                  </a:lnTo>
                  <a:lnTo>
                    <a:pt x="474" y="356"/>
                  </a:lnTo>
                  <a:lnTo>
                    <a:pt x="472" y="356"/>
                  </a:lnTo>
                  <a:lnTo>
                    <a:pt x="468" y="360"/>
                  </a:lnTo>
                  <a:lnTo>
                    <a:pt x="434" y="360"/>
                  </a:lnTo>
                  <a:lnTo>
                    <a:pt x="434" y="360"/>
                  </a:lnTo>
                  <a:lnTo>
                    <a:pt x="432" y="364"/>
                  </a:lnTo>
                  <a:lnTo>
                    <a:pt x="434" y="368"/>
                  </a:lnTo>
                  <a:lnTo>
                    <a:pt x="436" y="370"/>
                  </a:lnTo>
                  <a:lnTo>
                    <a:pt x="438" y="374"/>
                  </a:lnTo>
                  <a:lnTo>
                    <a:pt x="438" y="374"/>
                  </a:lnTo>
                  <a:lnTo>
                    <a:pt x="436" y="378"/>
                  </a:lnTo>
                  <a:lnTo>
                    <a:pt x="432" y="378"/>
                  </a:lnTo>
                  <a:lnTo>
                    <a:pt x="428" y="380"/>
                  </a:lnTo>
                  <a:lnTo>
                    <a:pt x="426" y="384"/>
                  </a:lnTo>
                  <a:lnTo>
                    <a:pt x="426" y="384"/>
                  </a:lnTo>
                  <a:lnTo>
                    <a:pt x="428" y="386"/>
                  </a:lnTo>
                  <a:lnTo>
                    <a:pt x="432" y="388"/>
                  </a:lnTo>
                  <a:lnTo>
                    <a:pt x="436" y="390"/>
                  </a:lnTo>
                  <a:lnTo>
                    <a:pt x="436" y="392"/>
                  </a:lnTo>
                  <a:lnTo>
                    <a:pt x="436" y="392"/>
                  </a:lnTo>
                  <a:lnTo>
                    <a:pt x="436" y="396"/>
                  </a:lnTo>
                  <a:lnTo>
                    <a:pt x="438" y="398"/>
                  </a:lnTo>
                  <a:lnTo>
                    <a:pt x="440" y="400"/>
                  </a:lnTo>
                  <a:lnTo>
                    <a:pt x="440" y="404"/>
                  </a:lnTo>
                  <a:lnTo>
                    <a:pt x="440" y="404"/>
                  </a:lnTo>
                  <a:lnTo>
                    <a:pt x="424" y="402"/>
                  </a:lnTo>
                  <a:lnTo>
                    <a:pt x="418" y="404"/>
                  </a:lnTo>
                  <a:lnTo>
                    <a:pt x="412" y="406"/>
                  </a:lnTo>
                  <a:lnTo>
                    <a:pt x="408" y="410"/>
                  </a:lnTo>
                  <a:lnTo>
                    <a:pt x="402" y="416"/>
                  </a:lnTo>
                  <a:lnTo>
                    <a:pt x="400" y="426"/>
                  </a:lnTo>
                  <a:lnTo>
                    <a:pt x="396" y="440"/>
                  </a:lnTo>
                  <a:lnTo>
                    <a:pt x="396" y="440"/>
                  </a:lnTo>
                  <a:lnTo>
                    <a:pt x="392" y="434"/>
                  </a:lnTo>
                  <a:lnTo>
                    <a:pt x="388" y="428"/>
                  </a:lnTo>
                  <a:lnTo>
                    <a:pt x="380" y="420"/>
                  </a:lnTo>
                  <a:lnTo>
                    <a:pt x="380" y="420"/>
                  </a:lnTo>
                  <a:lnTo>
                    <a:pt x="368" y="412"/>
                  </a:lnTo>
                  <a:lnTo>
                    <a:pt x="362" y="408"/>
                  </a:lnTo>
                  <a:lnTo>
                    <a:pt x="358" y="408"/>
                  </a:lnTo>
                  <a:lnTo>
                    <a:pt x="354" y="406"/>
                  </a:lnTo>
                  <a:lnTo>
                    <a:pt x="354" y="406"/>
                  </a:lnTo>
                  <a:lnTo>
                    <a:pt x="358" y="404"/>
                  </a:lnTo>
                  <a:lnTo>
                    <a:pt x="358" y="402"/>
                  </a:lnTo>
                  <a:lnTo>
                    <a:pt x="358" y="400"/>
                  </a:lnTo>
                  <a:lnTo>
                    <a:pt x="356" y="402"/>
                  </a:lnTo>
                  <a:lnTo>
                    <a:pt x="356" y="402"/>
                  </a:lnTo>
                  <a:lnTo>
                    <a:pt x="352" y="402"/>
                  </a:lnTo>
                  <a:lnTo>
                    <a:pt x="350" y="402"/>
                  </a:lnTo>
                  <a:lnTo>
                    <a:pt x="348" y="402"/>
                  </a:lnTo>
                  <a:lnTo>
                    <a:pt x="346" y="404"/>
                  </a:lnTo>
                  <a:lnTo>
                    <a:pt x="346" y="404"/>
                  </a:lnTo>
                  <a:lnTo>
                    <a:pt x="344" y="404"/>
                  </a:lnTo>
                  <a:lnTo>
                    <a:pt x="346" y="406"/>
                  </a:lnTo>
                  <a:lnTo>
                    <a:pt x="348" y="406"/>
                  </a:lnTo>
                  <a:lnTo>
                    <a:pt x="350" y="406"/>
                  </a:lnTo>
                  <a:lnTo>
                    <a:pt x="346" y="408"/>
                  </a:lnTo>
                  <a:lnTo>
                    <a:pt x="346" y="408"/>
                  </a:lnTo>
                  <a:lnTo>
                    <a:pt x="340" y="408"/>
                  </a:lnTo>
                  <a:lnTo>
                    <a:pt x="338" y="410"/>
                  </a:lnTo>
                  <a:lnTo>
                    <a:pt x="334" y="412"/>
                  </a:lnTo>
                  <a:lnTo>
                    <a:pt x="328" y="412"/>
                  </a:lnTo>
                  <a:lnTo>
                    <a:pt x="328" y="412"/>
                  </a:lnTo>
                  <a:lnTo>
                    <a:pt x="322" y="414"/>
                  </a:lnTo>
                  <a:lnTo>
                    <a:pt x="318" y="416"/>
                  </a:lnTo>
                  <a:lnTo>
                    <a:pt x="312" y="416"/>
                  </a:lnTo>
                  <a:lnTo>
                    <a:pt x="304" y="412"/>
                  </a:lnTo>
                  <a:lnTo>
                    <a:pt x="304" y="412"/>
                  </a:lnTo>
                  <a:lnTo>
                    <a:pt x="300" y="412"/>
                  </a:lnTo>
                  <a:lnTo>
                    <a:pt x="294" y="412"/>
                  </a:lnTo>
                  <a:lnTo>
                    <a:pt x="290" y="410"/>
                  </a:lnTo>
                  <a:lnTo>
                    <a:pt x="284" y="406"/>
                  </a:lnTo>
                  <a:lnTo>
                    <a:pt x="284" y="406"/>
                  </a:lnTo>
                  <a:lnTo>
                    <a:pt x="282" y="404"/>
                  </a:lnTo>
                  <a:lnTo>
                    <a:pt x="278" y="404"/>
                  </a:lnTo>
                  <a:lnTo>
                    <a:pt x="274" y="402"/>
                  </a:lnTo>
                  <a:lnTo>
                    <a:pt x="270" y="396"/>
                  </a:lnTo>
                  <a:lnTo>
                    <a:pt x="270" y="396"/>
                  </a:lnTo>
                  <a:lnTo>
                    <a:pt x="266" y="394"/>
                  </a:lnTo>
                  <a:lnTo>
                    <a:pt x="260" y="392"/>
                  </a:lnTo>
                  <a:lnTo>
                    <a:pt x="256" y="392"/>
                  </a:lnTo>
                  <a:lnTo>
                    <a:pt x="250" y="386"/>
                  </a:lnTo>
                  <a:lnTo>
                    <a:pt x="250" y="386"/>
                  </a:lnTo>
                  <a:lnTo>
                    <a:pt x="248" y="384"/>
                  </a:lnTo>
                  <a:lnTo>
                    <a:pt x="242" y="382"/>
                  </a:lnTo>
                  <a:lnTo>
                    <a:pt x="234" y="378"/>
                  </a:lnTo>
                  <a:lnTo>
                    <a:pt x="224" y="374"/>
                  </a:lnTo>
                  <a:lnTo>
                    <a:pt x="220" y="370"/>
                  </a:lnTo>
                  <a:lnTo>
                    <a:pt x="216" y="366"/>
                  </a:lnTo>
                  <a:lnTo>
                    <a:pt x="216" y="366"/>
                  </a:lnTo>
                  <a:lnTo>
                    <a:pt x="214" y="360"/>
                  </a:lnTo>
                  <a:lnTo>
                    <a:pt x="212" y="360"/>
                  </a:lnTo>
                  <a:lnTo>
                    <a:pt x="208" y="360"/>
                  </a:lnTo>
                  <a:lnTo>
                    <a:pt x="200" y="358"/>
                  </a:lnTo>
                  <a:lnTo>
                    <a:pt x="200" y="358"/>
                  </a:lnTo>
                  <a:lnTo>
                    <a:pt x="186" y="352"/>
                  </a:lnTo>
                  <a:lnTo>
                    <a:pt x="182" y="348"/>
                  </a:lnTo>
                  <a:lnTo>
                    <a:pt x="182" y="346"/>
                  </a:lnTo>
                  <a:lnTo>
                    <a:pt x="178" y="344"/>
                  </a:lnTo>
                  <a:lnTo>
                    <a:pt x="178" y="344"/>
                  </a:lnTo>
                  <a:lnTo>
                    <a:pt x="174" y="342"/>
                  </a:lnTo>
                  <a:lnTo>
                    <a:pt x="170" y="340"/>
                  </a:lnTo>
                  <a:lnTo>
                    <a:pt x="168" y="338"/>
                  </a:lnTo>
                  <a:lnTo>
                    <a:pt x="164" y="336"/>
                  </a:lnTo>
                  <a:lnTo>
                    <a:pt x="164" y="336"/>
                  </a:lnTo>
                  <a:lnTo>
                    <a:pt x="162" y="334"/>
                  </a:lnTo>
                  <a:lnTo>
                    <a:pt x="162" y="332"/>
                  </a:lnTo>
                  <a:lnTo>
                    <a:pt x="162" y="330"/>
                  </a:lnTo>
                  <a:lnTo>
                    <a:pt x="158" y="328"/>
                  </a:lnTo>
                  <a:lnTo>
                    <a:pt x="158" y="328"/>
                  </a:lnTo>
                  <a:lnTo>
                    <a:pt x="154" y="324"/>
                  </a:lnTo>
                  <a:lnTo>
                    <a:pt x="152" y="320"/>
                  </a:lnTo>
                  <a:lnTo>
                    <a:pt x="148" y="314"/>
                  </a:lnTo>
                  <a:lnTo>
                    <a:pt x="146" y="310"/>
                  </a:lnTo>
                  <a:lnTo>
                    <a:pt x="146" y="310"/>
                  </a:lnTo>
                  <a:lnTo>
                    <a:pt x="144" y="308"/>
                  </a:lnTo>
                  <a:lnTo>
                    <a:pt x="146" y="308"/>
                  </a:lnTo>
                  <a:lnTo>
                    <a:pt x="148" y="304"/>
                  </a:lnTo>
                  <a:lnTo>
                    <a:pt x="152" y="302"/>
                  </a:lnTo>
                  <a:lnTo>
                    <a:pt x="148" y="300"/>
                  </a:lnTo>
                  <a:lnTo>
                    <a:pt x="148" y="300"/>
                  </a:lnTo>
                  <a:lnTo>
                    <a:pt x="144" y="300"/>
                  </a:lnTo>
                  <a:lnTo>
                    <a:pt x="146" y="296"/>
                  </a:lnTo>
                  <a:lnTo>
                    <a:pt x="150" y="292"/>
                  </a:lnTo>
                  <a:lnTo>
                    <a:pt x="154" y="286"/>
                  </a:lnTo>
                  <a:lnTo>
                    <a:pt x="154" y="286"/>
                  </a:lnTo>
                  <a:lnTo>
                    <a:pt x="156" y="282"/>
                  </a:lnTo>
                  <a:lnTo>
                    <a:pt x="158" y="282"/>
                  </a:lnTo>
                  <a:lnTo>
                    <a:pt x="160" y="282"/>
                  </a:lnTo>
                  <a:lnTo>
                    <a:pt x="158" y="278"/>
                  </a:lnTo>
                  <a:lnTo>
                    <a:pt x="158" y="278"/>
                  </a:lnTo>
                  <a:lnTo>
                    <a:pt x="158" y="274"/>
                  </a:lnTo>
                  <a:lnTo>
                    <a:pt x="160" y="274"/>
                  </a:lnTo>
                  <a:lnTo>
                    <a:pt x="162" y="274"/>
                  </a:lnTo>
                  <a:lnTo>
                    <a:pt x="160" y="266"/>
                  </a:lnTo>
                  <a:lnTo>
                    <a:pt x="160" y="266"/>
                  </a:lnTo>
                  <a:lnTo>
                    <a:pt x="158" y="260"/>
                  </a:lnTo>
                  <a:lnTo>
                    <a:pt x="158" y="258"/>
                  </a:lnTo>
                  <a:lnTo>
                    <a:pt x="156" y="252"/>
                  </a:lnTo>
                  <a:lnTo>
                    <a:pt x="150" y="242"/>
                  </a:lnTo>
                  <a:lnTo>
                    <a:pt x="150" y="242"/>
                  </a:lnTo>
                  <a:lnTo>
                    <a:pt x="140" y="222"/>
                  </a:lnTo>
                  <a:lnTo>
                    <a:pt x="134" y="210"/>
                  </a:lnTo>
                  <a:lnTo>
                    <a:pt x="124" y="194"/>
                  </a:lnTo>
                  <a:lnTo>
                    <a:pt x="124" y="194"/>
                  </a:lnTo>
                  <a:lnTo>
                    <a:pt x="124" y="192"/>
                  </a:lnTo>
                  <a:lnTo>
                    <a:pt x="126" y="192"/>
                  </a:lnTo>
                  <a:lnTo>
                    <a:pt x="128" y="194"/>
                  </a:lnTo>
                  <a:lnTo>
                    <a:pt x="130" y="194"/>
                  </a:lnTo>
                  <a:lnTo>
                    <a:pt x="126" y="188"/>
                  </a:lnTo>
                  <a:lnTo>
                    <a:pt x="126" y="188"/>
                  </a:lnTo>
                  <a:lnTo>
                    <a:pt x="122" y="186"/>
                  </a:lnTo>
                  <a:lnTo>
                    <a:pt x="122" y="186"/>
                  </a:lnTo>
                  <a:lnTo>
                    <a:pt x="122" y="188"/>
                  </a:lnTo>
                  <a:lnTo>
                    <a:pt x="118" y="186"/>
                  </a:lnTo>
                  <a:lnTo>
                    <a:pt x="118" y="186"/>
                  </a:lnTo>
                  <a:lnTo>
                    <a:pt x="112" y="180"/>
                  </a:lnTo>
                  <a:lnTo>
                    <a:pt x="110" y="178"/>
                  </a:lnTo>
                  <a:lnTo>
                    <a:pt x="110" y="174"/>
                  </a:lnTo>
                  <a:lnTo>
                    <a:pt x="110" y="174"/>
                  </a:lnTo>
                  <a:lnTo>
                    <a:pt x="108" y="172"/>
                  </a:lnTo>
                  <a:lnTo>
                    <a:pt x="108" y="172"/>
                  </a:lnTo>
                  <a:lnTo>
                    <a:pt x="106" y="172"/>
                  </a:lnTo>
                  <a:lnTo>
                    <a:pt x="106" y="166"/>
                  </a:lnTo>
                  <a:lnTo>
                    <a:pt x="106" y="166"/>
                  </a:lnTo>
                  <a:lnTo>
                    <a:pt x="108" y="160"/>
                  </a:lnTo>
                  <a:lnTo>
                    <a:pt x="110" y="156"/>
                  </a:lnTo>
                  <a:lnTo>
                    <a:pt x="110" y="152"/>
                  </a:lnTo>
                  <a:lnTo>
                    <a:pt x="110" y="152"/>
                  </a:lnTo>
                  <a:lnTo>
                    <a:pt x="104" y="144"/>
                  </a:lnTo>
                  <a:lnTo>
                    <a:pt x="102" y="142"/>
                  </a:lnTo>
                  <a:lnTo>
                    <a:pt x="100" y="142"/>
                  </a:lnTo>
                  <a:lnTo>
                    <a:pt x="100" y="142"/>
                  </a:lnTo>
                  <a:lnTo>
                    <a:pt x="98" y="142"/>
                  </a:lnTo>
                  <a:lnTo>
                    <a:pt x="96" y="140"/>
                  </a:lnTo>
                  <a:lnTo>
                    <a:pt x="94" y="134"/>
                  </a:lnTo>
                  <a:lnTo>
                    <a:pt x="94" y="134"/>
                  </a:lnTo>
                  <a:lnTo>
                    <a:pt x="94" y="130"/>
                  </a:lnTo>
                  <a:lnTo>
                    <a:pt x="90" y="126"/>
                  </a:lnTo>
                  <a:lnTo>
                    <a:pt x="86" y="124"/>
                  </a:lnTo>
                  <a:lnTo>
                    <a:pt x="86" y="118"/>
                  </a:lnTo>
                  <a:lnTo>
                    <a:pt x="86" y="118"/>
                  </a:lnTo>
                  <a:lnTo>
                    <a:pt x="88" y="114"/>
                  </a:lnTo>
                  <a:lnTo>
                    <a:pt x="86" y="112"/>
                  </a:lnTo>
                  <a:lnTo>
                    <a:pt x="86" y="110"/>
                  </a:lnTo>
                  <a:lnTo>
                    <a:pt x="84" y="112"/>
                  </a:lnTo>
                  <a:lnTo>
                    <a:pt x="84" y="112"/>
                  </a:lnTo>
                  <a:lnTo>
                    <a:pt x="84" y="114"/>
                  </a:lnTo>
                  <a:lnTo>
                    <a:pt x="82" y="112"/>
                  </a:lnTo>
                  <a:lnTo>
                    <a:pt x="78" y="106"/>
                  </a:lnTo>
                  <a:lnTo>
                    <a:pt x="78" y="106"/>
                  </a:lnTo>
                  <a:lnTo>
                    <a:pt x="72" y="98"/>
                  </a:lnTo>
                  <a:lnTo>
                    <a:pt x="72" y="96"/>
                  </a:lnTo>
                  <a:lnTo>
                    <a:pt x="72" y="94"/>
                  </a:lnTo>
                  <a:lnTo>
                    <a:pt x="72" y="94"/>
                  </a:lnTo>
                  <a:lnTo>
                    <a:pt x="72" y="90"/>
                  </a:lnTo>
                  <a:lnTo>
                    <a:pt x="72" y="88"/>
                  </a:lnTo>
                  <a:lnTo>
                    <a:pt x="70" y="84"/>
                  </a:lnTo>
                  <a:lnTo>
                    <a:pt x="70" y="76"/>
                  </a:lnTo>
                  <a:lnTo>
                    <a:pt x="70" y="76"/>
                  </a:lnTo>
                  <a:lnTo>
                    <a:pt x="70" y="66"/>
                  </a:lnTo>
                  <a:lnTo>
                    <a:pt x="70" y="62"/>
                  </a:lnTo>
                  <a:lnTo>
                    <a:pt x="68" y="58"/>
                  </a:lnTo>
                  <a:lnTo>
                    <a:pt x="68" y="58"/>
                  </a:lnTo>
                  <a:lnTo>
                    <a:pt x="66" y="54"/>
                  </a:lnTo>
                  <a:lnTo>
                    <a:pt x="66" y="52"/>
                  </a:lnTo>
                  <a:lnTo>
                    <a:pt x="68" y="44"/>
                  </a:lnTo>
                  <a:lnTo>
                    <a:pt x="68" y="42"/>
                  </a:lnTo>
                  <a:lnTo>
                    <a:pt x="66" y="38"/>
                  </a:lnTo>
                  <a:lnTo>
                    <a:pt x="64" y="34"/>
                  </a:lnTo>
                  <a:lnTo>
                    <a:pt x="58" y="32"/>
                  </a:lnTo>
                  <a:lnTo>
                    <a:pt x="58" y="32"/>
                  </a:lnTo>
                  <a:lnTo>
                    <a:pt x="58" y="28"/>
                  </a:lnTo>
                  <a:lnTo>
                    <a:pt x="56" y="26"/>
                  </a:lnTo>
                  <a:lnTo>
                    <a:pt x="54" y="24"/>
                  </a:lnTo>
                  <a:lnTo>
                    <a:pt x="50" y="26"/>
                  </a:lnTo>
                  <a:lnTo>
                    <a:pt x="50" y="26"/>
                  </a:lnTo>
                  <a:lnTo>
                    <a:pt x="48" y="28"/>
                  </a:lnTo>
                  <a:lnTo>
                    <a:pt x="46" y="26"/>
                  </a:lnTo>
                  <a:lnTo>
                    <a:pt x="44" y="22"/>
                  </a:lnTo>
                  <a:lnTo>
                    <a:pt x="40" y="20"/>
                  </a:lnTo>
                  <a:lnTo>
                    <a:pt x="40" y="20"/>
                  </a:lnTo>
                  <a:lnTo>
                    <a:pt x="42" y="24"/>
                  </a:lnTo>
                  <a:lnTo>
                    <a:pt x="42" y="28"/>
                  </a:lnTo>
                  <a:lnTo>
                    <a:pt x="40" y="36"/>
                  </a:lnTo>
                  <a:lnTo>
                    <a:pt x="38" y="42"/>
                  </a:lnTo>
                  <a:lnTo>
                    <a:pt x="38" y="44"/>
                  </a:lnTo>
                  <a:lnTo>
                    <a:pt x="40" y="46"/>
                  </a:lnTo>
                  <a:lnTo>
                    <a:pt x="40" y="46"/>
                  </a:lnTo>
                  <a:lnTo>
                    <a:pt x="40" y="52"/>
                  </a:lnTo>
                  <a:lnTo>
                    <a:pt x="38" y="62"/>
                  </a:lnTo>
                  <a:lnTo>
                    <a:pt x="40" y="72"/>
                  </a:lnTo>
                  <a:lnTo>
                    <a:pt x="42" y="78"/>
                  </a:lnTo>
                  <a:lnTo>
                    <a:pt x="42" y="78"/>
                  </a:lnTo>
                  <a:lnTo>
                    <a:pt x="46" y="84"/>
                  </a:lnTo>
                  <a:lnTo>
                    <a:pt x="50" y="90"/>
                  </a:lnTo>
                  <a:lnTo>
                    <a:pt x="54" y="98"/>
                  </a:lnTo>
                  <a:lnTo>
                    <a:pt x="54" y="104"/>
                  </a:lnTo>
                  <a:lnTo>
                    <a:pt x="54" y="106"/>
                  </a:lnTo>
                  <a:lnTo>
                    <a:pt x="56" y="106"/>
                  </a:lnTo>
                  <a:lnTo>
                    <a:pt x="56" y="106"/>
                  </a:lnTo>
                  <a:lnTo>
                    <a:pt x="56" y="106"/>
                  </a:lnTo>
                  <a:lnTo>
                    <a:pt x="58" y="110"/>
                  </a:lnTo>
                  <a:lnTo>
                    <a:pt x="58" y="114"/>
                  </a:lnTo>
                  <a:lnTo>
                    <a:pt x="58" y="116"/>
                  </a:lnTo>
                  <a:lnTo>
                    <a:pt x="58" y="116"/>
                  </a:lnTo>
                  <a:lnTo>
                    <a:pt x="60" y="118"/>
                  </a:lnTo>
                  <a:lnTo>
                    <a:pt x="58" y="122"/>
                  </a:lnTo>
                  <a:lnTo>
                    <a:pt x="58" y="126"/>
                  </a:lnTo>
                  <a:lnTo>
                    <a:pt x="62" y="130"/>
                  </a:lnTo>
                  <a:lnTo>
                    <a:pt x="62" y="130"/>
                  </a:lnTo>
                  <a:lnTo>
                    <a:pt x="66" y="136"/>
                  </a:lnTo>
                  <a:lnTo>
                    <a:pt x="66" y="140"/>
                  </a:lnTo>
                  <a:lnTo>
                    <a:pt x="66" y="144"/>
                  </a:lnTo>
                  <a:lnTo>
                    <a:pt x="68" y="148"/>
                  </a:lnTo>
                  <a:lnTo>
                    <a:pt x="68" y="148"/>
                  </a:lnTo>
                  <a:lnTo>
                    <a:pt x="70" y="150"/>
                  </a:lnTo>
                  <a:lnTo>
                    <a:pt x="68" y="150"/>
                  </a:lnTo>
                  <a:lnTo>
                    <a:pt x="68" y="152"/>
                  </a:lnTo>
                  <a:lnTo>
                    <a:pt x="68" y="156"/>
                  </a:lnTo>
                  <a:lnTo>
                    <a:pt x="68" y="156"/>
                  </a:lnTo>
                  <a:lnTo>
                    <a:pt x="66" y="162"/>
                  </a:lnTo>
                  <a:lnTo>
                    <a:pt x="64" y="166"/>
                  </a:lnTo>
                  <a:lnTo>
                    <a:pt x="66" y="168"/>
                  </a:lnTo>
                  <a:lnTo>
                    <a:pt x="66" y="168"/>
                  </a:lnTo>
                  <a:lnTo>
                    <a:pt x="66" y="168"/>
                  </a:lnTo>
                  <a:lnTo>
                    <a:pt x="68" y="166"/>
                  </a:lnTo>
                  <a:lnTo>
                    <a:pt x="70" y="164"/>
                  </a:lnTo>
                  <a:lnTo>
                    <a:pt x="68" y="162"/>
                  </a:lnTo>
                  <a:lnTo>
                    <a:pt x="68" y="160"/>
                  </a:lnTo>
                  <a:lnTo>
                    <a:pt x="68" y="160"/>
                  </a:lnTo>
                  <a:lnTo>
                    <a:pt x="70" y="154"/>
                  </a:lnTo>
                  <a:lnTo>
                    <a:pt x="70" y="154"/>
                  </a:lnTo>
                  <a:lnTo>
                    <a:pt x="74" y="160"/>
                  </a:lnTo>
                  <a:lnTo>
                    <a:pt x="74" y="160"/>
                  </a:lnTo>
                  <a:lnTo>
                    <a:pt x="76" y="164"/>
                  </a:lnTo>
                  <a:lnTo>
                    <a:pt x="76" y="168"/>
                  </a:lnTo>
                  <a:lnTo>
                    <a:pt x="74" y="174"/>
                  </a:lnTo>
                  <a:lnTo>
                    <a:pt x="74" y="174"/>
                  </a:lnTo>
                  <a:lnTo>
                    <a:pt x="74" y="184"/>
                  </a:lnTo>
                  <a:lnTo>
                    <a:pt x="74" y="188"/>
                  </a:lnTo>
                  <a:lnTo>
                    <a:pt x="72" y="192"/>
                  </a:lnTo>
                  <a:lnTo>
                    <a:pt x="72" y="192"/>
                  </a:lnTo>
                  <a:lnTo>
                    <a:pt x="70" y="194"/>
                  </a:lnTo>
                  <a:lnTo>
                    <a:pt x="72" y="198"/>
                  </a:lnTo>
                  <a:lnTo>
                    <a:pt x="74" y="202"/>
                  </a:lnTo>
                  <a:lnTo>
                    <a:pt x="76" y="202"/>
                  </a:lnTo>
                  <a:lnTo>
                    <a:pt x="78" y="202"/>
                  </a:lnTo>
                  <a:lnTo>
                    <a:pt x="78" y="202"/>
                  </a:lnTo>
                  <a:lnTo>
                    <a:pt x="80" y="202"/>
                  </a:lnTo>
                  <a:lnTo>
                    <a:pt x="82" y="204"/>
                  </a:lnTo>
                  <a:lnTo>
                    <a:pt x="82" y="208"/>
                  </a:lnTo>
                  <a:lnTo>
                    <a:pt x="84" y="210"/>
                  </a:lnTo>
                  <a:lnTo>
                    <a:pt x="84" y="210"/>
                  </a:lnTo>
                  <a:lnTo>
                    <a:pt x="86" y="210"/>
                  </a:lnTo>
                  <a:lnTo>
                    <a:pt x="86" y="214"/>
                  </a:lnTo>
                  <a:lnTo>
                    <a:pt x="86" y="218"/>
                  </a:lnTo>
                  <a:lnTo>
                    <a:pt x="86" y="220"/>
                  </a:lnTo>
                  <a:lnTo>
                    <a:pt x="86" y="220"/>
                  </a:lnTo>
                  <a:lnTo>
                    <a:pt x="88" y="222"/>
                  </a:lnTo>
                  <a:lnTo>
                    <a:pt x="88" y="226"/>
                  </a:lnTo>
                  <a:lnTo>
                    <a:pt x="84" y="230"/>
                  </a:lnTo>
                  <a:lnTo>
                    <a:pt x="76" y="234"/>
                  </a:lnTo>
                  <a:lnTo>
                    <a:pt x="76" y="234"/>
                  </a:lnTo>
                  <a:lnTo>
                    <a:pt x="72" y="234"/>
                  </a:lnTo>
                  <a:lnTo>
                    <a:pt x="70" y="232"/>
                  </a:lnTo>
                  <a:lnTo>
                    <a:pt x="68" y="228"/>
                  </a:lnTo>
                  <a:lnTo>
                    <a:pt x="66" y="220"/>
                  </a:lnTo>
                  <a:lnTo>
                    <a:pt x="64" y="216"/>
                  </a:lnTo>
                  <a:lnTo>
                    <a:pt x="60" y="214"/>
                  </a:lnTo>
                  <a:lnTo>
                    <a:pt x="60" y="214"/>
                  </a:lnTo>
                  <a:lnTo>
                    <a:pt x="54" y="210"/>
                  </a:lnTo>
                  <a:lnTo>
                    <a:pt x="50" y="204"/>
                  </a:lnTo>
                  <a:lnTo>
                    <a:pt x="48" y="198"/>
                  </a:lnTo>
                  <a:lnTo>
                    <a:pt x="48" y="198"/>
                  </a:lnTo>
                  <a:lnTo>
                    <a:pt x="46" y="192"/>
                  </a:lnTo>
                  <a:lnTo>
                    <a:pt x="44" y="190"/>
                  </a:lnTo>
                  <a:lnTo>
                    <a:pt x="42" y="190"/>
                  </a:lnTo>
                  <a:lnTo>
                    <a:pt x="42" y="190"/>
                  </a:lnTo>
                  <a:lnTo>
                    <a:pt x="42" y="192"/>
                  </a:lnTo>
                  <a:lnTo>
                    <a:pt x="40" y="190"/>
                  </a:lnTo>
                  <a:lnTo>
                    <a:pt x="40" y="186"/>
                  </a:lnTo>
                  <a:lnTo>
                    <a:pt x="42" y="176"/>
                  </a:lnTo>
                  <a:lnTo>
                    <a:pt x="42" y="176"/>
                  </a:lnTo>
                  <a:lnTo>
                    <a:pt x="44" y="168"/>
                  </a:lnTo>
                  <a:lnTo>
                    <a:pt x="44" y="162"/>
                  </a:lnTo>
                  <a:lnTo>
                    <a:pt x="42" y="158"/>
                  </a:lnTo>
                  <a:lnTo>
                    <a:pt x="40" y="154"/>
                  </a:lnTo>
                  <a:lnTo>
                    <a:pt x="34" y="148"/>
                  </a:lnTo>
                  <a:lnTo>
                    <a:pt x="32" y="144"/>
                  </a:lnTo>
                  <a:lnTo>
                    <a:pt x="32" y="140"/>
                  </a:lnTo>
                  <a:lnTo>
                    <a:pt x="32" y="140"/>
                  </a:lnTo>
                  <a:lnTo>
                    <a:pt x="30" y="142"/>
                  </a:lnTo>
                  <a:lnTo>
                    <a:pt x="28" y="140"/>
                  </a:lnTo>
                  <a:lnTo>
                    <a:pt x="26" y="138"/>
                  </a:lnTo>
                  <a:lnTo>
                    <a:pt x="24" y="140"/>
                  </a:lnTo>
                  <a:lnTo>
                    <a:pt x="24" y="140"/>
                  </a:lnTo>
                  <a:lnTo>
                    <a:pt x="20" y="140"/>
                  </a:lnTo>
                  <a:lnTo>
                    <a:pt x="20" y="138"/>
                  </a:lnTo>
                  <a:lnTo>
                    <a:pt x="16" y="132"/>
                  </a:lnTo>
                  <a:lnTo>
                    <a:pt x="10" y="128"/>
                  </a:lnTo>
                  <a:lnTo>
                    <a:pt x="10" y="128"/>
                  </a:lnTo>
                  <a:lnTo>
                    <a:pt x="8" y="126"/>
                  </a:lnTo>
                  <a:lnTo>
                    <a:pt x="10" y="124"/>
                  </a:lnTo>
                  <a:lnTo>
                    <a:pt x="10" y="122"/>
                  </a:lnTo>
                  <a:lnTo>
                    <a:pt x="6" y="118"/>
                  </a:lnTo>
                  <a:lnTo>
                    <a:pt x="6" y="118"/>
                  </a:lnTo>
                  <a:lnTo>
                    <a:pt x="4" y="116"/>
                  </a:lnTo>
                  <a:lnTo>
                    <a:pt x="4" y="114"/>
                  </a:lnTo>
                  <a:lnTo>
                    <a:pt x="12" y="114"/>
                  </a:lnTo>
                  <a:lnTo>
                    <a:pt x="12" y="114"/>
                  </a:lnTo>
                  <a:lnTo>
                    <a:pt x="16" y="114"/>
                  </a:lnTo>
                  <a:lnTo>
                    <a:pt x="20" y="112"/>
                  </a:lnTo>
                  <a:lnTo>
                    <a:pt x="20" y="112"/>
                  </a:lnTo>
                  <a:lnTo>
                    <a:pt x="22" y="114"/>
                  </a:lnTo>
                  <a:lnTo>
                    <a:pt x="22" y="114"/>
                  </a:lnTo>
                  <a:lnTo>
                    <a:pt x="24" y="116"/>
                  </a:lnTo>
                  <a:lnTo>
                    <a:pt x="26" y="116"/>
                  </a:lnTo>
                  <a:lnTo>
                    <a:pt x="26" y="114"/>
                  </a:lnTo>
                  <a:lnTo>
                    <a:pt x="26" y="112"/>
                  </a:lnTo>
                  <a:lnTo>
                    <a:pt x="26" y="112"/>
                  </a:lnTo>
                  <a:lnTo>
                    <a:pt x="24" y="112"/>
                  </a:lnTo>
                  <a:lnTo>
                    <a:pt x="22" y="110"/>
                  </a:lnTo>
                  <a:lnTo>
                    <a:pt x="26" y="106"/>
                  </a:lnTo>
                  <a:lnTo>
                    <a:pt x="26" y="106"/>
                  </a:lnTo>
                  <a:lnTo>
                    <a:pt x="28" y="104"/>
                  </a:lnTo>
                  <a:lnTo>
                    <a:pt x="30" y="98"/>
                  </a:lnTo>
                  <a:lnTo>
                    <a:pt x="26" y="92"/>
                  </a:lnTo>
                  <a:lnTo>
                    <a:pt x="20" y="84"/>
                  </a:lnTo>
                  <a:lnTo>
                    <a:pt x="20" y="84"/>
                  </a:lnTo>
                  <a:lnTo>
                    <a:pt x="8" y="72"/>
                  </a:lnTo>
                  <a:lnTo>
                    <a:pt x="6" y="68"/>
                  </a:lnTo>
                  <a:lnTo>
                    <a:pt x="6" y="64"/>
                  </a:lnTo>
                  <a:lnTo>
                    <a:pt x="6" y="64"/>
                  </a:lnTo>
                  <a:lnTo>
                    <a:pt x="6" y="60"/>
                  </a:lnTo>
                  <a:lnTo>
                    <a:pt x="4" y="60"/>
                  </a:lnTo>
                  <a:lnTo>
                    <a:pt x="2" y="60"/>
                  </a:lnTo>
                  <a:lnTo>
                    <a:pt x="4" y="54"/>
                  </a:lnTo>
                  <a:lnTo>
                    <a:pt x="4" y="54"/>
                  </a:lnTo>
                  <a:lnTo>
                    <a:pt x="4" y="48"/>
                  </a:lnTo>
                  <a:lnTo>
                    <a:pt x="2" y="46"/>
                  </a:lnTo>
                  <a:lnTo>
                    <a:pt x="0" y="44"/>
                  </a:lnTo>
                  <a:lnTo>
                    <a:pt x="2" y="38"/>
                  </a:lnTo>
                  <a:lnTo>
                    <a:pt x="2" y="38"/>
                  </a:lnTo>
                  <a:lnTo>
                    <a:pt x="2" y="34"/>
                  </a:lnTo>
                  <a:lnTo>
                    <a:pt x="2" y="32"/>
                  </a:lnTo>
                  <a:lnTo>
                    <a:pt x="0" y="28"/>
                  </a:lnTo>
                  <a:lnTo>
                    <a:pt x="2" y="24"/>
                  </a:lnTo>
                  <a:lnTo>
                    <a:pt x="2" y="24"/>
                  </a:lnTo>
                  <a:lnTo>
                    <a:pt x="4" y="18"/>
                  </a:lnTo>
                  <a:lnTo>
                    <a:pt x="2" y="14"/>
                  </a:lnTo>
                  <a:lnTo>
                    <a:pt x="0" y="12"/>
                  </a:lnTo>
                  <a:lnTo>
                    <a:pt x="2" y="8"/>
                  </a:lnTo>
                  <a:lnTo>
                    <a:pt x="2" y="8"/>
                  </a:lnTo>
                  <a:lnTo>
                    <a:pt x="4" y="4"/>
                  </a:lnTo>
                  <a:lnTo>
                    <a:pt x="4" y="2"/>
                  </a:lnTo>
                  <a:lnTo>
                    <a:pt x="2" y="2"/>
                  </a:lnTo>
                  <a:lnTo>
                    <a:pt x="4" y="0"/>
                  </a:lnTo>
                  <a:lnTo>
                    <a:pt x="4" y="0"/>
                  </a:lnTo>
                  <a:lnTo>
                    <a:pt x="30" y="0"/>
                  </a:lnTo>
                  <a:lnTo>
                    <a:pt x="50" y="0"/>
                  </a:lnTo>
                  <a:lnTo>
                    <a:pt x="50" y="4"/>
                  </a:lnTo>
                  <a:lnTo>
                    <a:pt x="114" y="30"/>
                  </a:lnTo>
                  <a:lnTo>
                    <a:pt x="162" y="30"/>
                  </a:lnTo>
                  <a:lnTo>
                    <a:pt x="168" y="22"/>
                  </a:lnTo>
                  <a:lnTo>
                    <a:pt x="200" y="22"/>
                  </a:lnTo>
                  <a:lnTo>
                    <a:pt x="200" y="22"/>
                  </a:lnTo>
                  <a:lnTo>
                    <a:pt x="202" y="24"/>
                  </a:lnTo>
                  <a:lnTo>
                    <a:pt x="210" y="30"/>
                  </a:lnTo>
                  <a:lnTo>
                    <a:pt x="210" y="30"/>
                  </a:lnTo>
                  <a:lnTo>
                    <a:pt x="214" y="34"/>
                  </a:lnTo>
                  <a:lnTo>
                    <a:pt x="214" y="36"/>
                  </a:lnTo>
                  <a:lnTo>
                    <a:pt x="216" y="38"/>
                  </a:lnTo>
                  <a:lnTo>
                    <a:pt x="220" y="42"/>
                  </a:lnTo>
                  <a:lnTo>
                    <a:pt x="220" y="42"/>
                  </a:lnTo>
                  <a:lnTo>
                    <a:pt x="224" y="46"/>
                  </a:lnTo>
                  <a:lnTo>
                    <a:pt x="226" y="50"/>
                  </a:lnTo>
                  <a:lnTo>
                    <a:pt x="226" y="56"/>
                  </a:lnTo>
                  <a:lnTo>
                    <a:pt x="226" y="64"/>
                  </a:lnTo>
                  <a:lnTo>
                    <a:pt x="226" y="66"/>
                  </a:lnTo>
                  <a:lnTo>
                    <a:pt x="230" y="70"/>
                  </a:lnTo>
                  <a:lnTo>
                    <a:pt x="230" y="70"/>
                  </a:lnTo>
                  <a:lnTo>
                    <a:pt x="238" y="76"/>
                  </a:lnTo>
                  <a:lnTo>
                    <a:pt x="244" y="78"/>
                  </a:lnTo>
                  <a:lnTo>
                    <a:pt x="248" y="78"/>
                  </a:lnTo>
                  <a:lnTo>
                    <a:pt x="252" y="72"/>
                  </a:lnTo>
                  <a:lnTo>
                    <a:pt x="252" y="72"/>
                  </a:lnTo>
                  <a:lnTo>
                    <a:pt x="256" y="68"/>
                  </a:lnTo>
                  <a:lnTo>
                    <a:pt x="258" y="66"/>
                  </a:lnTo>
                  <a:lnTo>
                    <a:pt x="262" y="66"/>
                  </a:lnTo>
                  <a:lnTo>
                    <a:pt x="264" y="64"/>
                  </a:lnTo>
                  <a:lnTo>
                    <a:pt x="264" y="64"/>
                  </a:lnTo>
                  <a:lnTo>
                    <a:pt x="266" y="64"/>
                  </a:lnTo>
                  <a:lnTo>
                    <a:pt x="268" y="64"/>
                  </a:lnTo>
                  <a:lnTo>
                    <a:pt x="278" y="68"/>
                  </a:lnTo>
                  <a:lnTo>
                    <a:pt x="278" y="68"/>
                  </a:lnTo>
                  <a:lnTo>
                    <a:pt x="286" y="70"/>
                  </a:lnTo>
                  <a:lnTo>
                    <a:pt x="290" y="76"/>
                  </a:lnTo>
                  <a:lnTo>
                    <a:pt x="296" y="84"/>
                  </a:lnTo>
                  <a:lnTo>
                    <a:pt x="300" y="100"/>
                  </a:lnTo>
                  <a:lnTo>
                    <a:pt x="300" y="100"/>
                  </a:lnTo>
                  <a:lnTo>
                    <a:pt x="304" y="120"/>
                  </a:lnTo>
                  <a:lnTo>
                    <a:pt x="308" y="128"/>
                  </a:lnTo>
                  <a:lnTo>
                    <a:pt x="310" y="132"/>
                  </a:lnTo>
                  <a:lnTo>
                    <a:pt x="312" y="140"/>
                  </a:lnTo>
                  <a:lnTo>
                    <a:pt x="312" y="140"/>
                  </a:lnTo>
                  <a:lnTo>
                    <a:pt x="312" y="148"/>
                  </a:lnTo>
                  <a:lnTo>
                    <a:pt x="314" y="150"/>
                  </a:lnTo>
                  <a:lnTo>
                    <a:pt x="316" y="152"/>
                  </a:lnTo>
                  <a:lnTo>
                    <a:pt x="326" y="156"/>
                  </a:lnTo>
                  <a:lnTo>
                    <a:pt x="346" y="160"/>
                  </a:lnTo>
                  <a:lnTo>
                    <a:pt x="346" y="16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9" name="Netherlands"/>
            <p:cNvSpPr>
              <a:spLocks/>
            </p:cNvSpPr>
            <p:nvPr/>
          </p:nvSpPr>
          <p:spPr bwMode="auto">
            <a:xfrm>
              <a:off x="4231976" y="1959240"/>
              <a:ext cx="71438" cy="63500"/>
            </a:xfrm>
            <a:custGeom>
              <a:avLst/>
              <a:gdLst/>
              <a:ahLst/>
              <a:cxnLst>
                <a:cxn ang="0">
                  <a:pos x="32" y="48"/>
                </a:cxn>
                <a:cxn ang="0">
                  <a:pos x="32" y="42"/>
                </a:cxn>
                <a:cxn ang="0">
                  <a:pos x="28" y="40"/>
                </a:cxn>
                <a:cxn ang="0">
                  <a:pos x="26" y="38"/>
                </a:cxn>
                <a:cxn ang="0">
                  <a:pos x="20" y="38"/>
                </a:cxn>
                <a:cxn ang="0">
                  <a:pos x="12" y="40"/>
                </a:cxn>
                <a:cxn ang="0">
                  <a:pos x="0" y="34"/>
                </a:cxn>
                <a:cxn ang="0">
                  <a:pos x="6" y="36"/>
                </a:cxn>
                <a:cxn ang="0">
                  <a:pos x="10" y="36"/>
                </a:cxn>
                <a:cxn ang="0">
                  <a:pos x="14" y="36"/>
                </a:cxn>
                <a:cxn ang="0">
                  <a:pos x="16" y="34"/>
                </a:cxn>
                <a:cxn ang="0">
                  <a:pos x="14" y="34"/>
                </a:cxn>
                <a:cxn ang="0">
                  <a:pos x="10" y="32"/>
                </a:cxn>
                <a:cxn ang="0">
                  <a:pos x="16" y="30"/>
                </a:cxn>
                <a:cxn ang="0">
                  <a:pos x="12" y="30"/>
                </a:cxn>
                <a:cxn ang="0">
                  <a:pos x="10" y="26"/>
                </a:cxn>
                <a:cxn ang="0">
                  <a:pos x="16" y="18"/>
                </a:cxn>
                <a:cxn ang="0">
                  <a:pos x="22" y="8"/>
                </a:cxn>
                <a:cxn ang="0">
                  <a:pos x="24" y="8"/>
                </a:cxn>
                <a:cxn ang="0">
                  <a:pos x="26" y="10"/>
                </a:cxn>
                <a:cxn ang="0">
                  <a:pos x="26" y="14"/>
                </a:cxn>
                <a:cxn ang="0">
                  <a:pos x="30" y="16"/>
                </a:cxn>
                <a:cxn ang="0">
                  <a:pos x="28" y="16"/>
                </a:cxn>
                <a:cxn ang="0">
                  <a:pos x="28" y="20"/>
                </a:cxn>
                <a:cxn ang="0">
                  <a:pos x="26" y="20"/>
                </a:cxn>
                <a:cxn ang="0">
                  <a:pos x="30" y="20"/>
                </a:cxn>
                <a:cxn ang="0">
                  <a:pos x="34" y="16"/>
                </a:cxn>
                <a:cxn ang="0">
                  <a:pos x="36" y="14"/>
                </a:cxn>
                <a:cxn ang="0">
                  <a:pos x="36" y="10"/>
                </a:cxn>
                <a:cxn ang="0">
                  <a:pos x="34" y="4"/>
                </a:cxn>
                <a:cxn ang="0">
                  <a:pos x="38" y="2"/>
                </a:cxn>
                <a:cxn ang="0">
                  <a:pos x="44" y="2"/>
                </a:cxn>
                <a:cxn ang="0">
                  <a:pos x="52" y="0"/>
                </a:cxn>
                <a:cxn ang="0">
                  <a:pos x="52" y="2"/>
                </a:cxn>
                <a:cxn ang="0">
                  <a:pos x="52" y="6"/>
                </a:cxn>
                <a:cxn ang="0">
                  <a:pos x="52" y="10"/>
                </a:cxn>
                <a:cxn ang="0">
                  <a:pos x="50" y="18"/>
                </a:cxn>
                <a:cxn ang="0">
                  <a:pos x="54" y="20"/>
                </a:cxn>
                <a:cxn ang="0">
                  <a:pos x="50" y="26"/>
                </a:cxn>
                <a:cxn ang="0">
                  <a:pos x="40" y="28"/>
                </a:cxn>
                <a:cxn ang="0">
                  <a:pos x="38" y="32"/>
                </a:cxn>
                <a:cxn ang="0">
                  <a:pos x="36" y="40"/>
                </a:cxn>
                <a:cxn ang="0">
                  <a:pos x="38" y="44"/>
                </a:cxn>
                <a:cxn ang="0">
                  <a:pos x="36" y="48"/>
                </a:cxn>
              </a:cxnLst>
              <a:rect l="0" t="0" r="r" b="b"/>
              <a:pathLst>
                <a:path w="54" h="48">
                  <a:moveTo>
                    <a:pt x="36" y="48"/>
                  </a:moveTo>
                  <a:lnTo>
                    <a:pt x="36" y="48"/>
                  </a:lnTo>
                  <a:lnTo>
                    <a:pt x="32" y="48"/>
                  </a:lnTo>
                  <a:lnTo>
                    <a:pt x="32" y="44"/>
                  </a:lnTo>
                  <a:lnTo>
                    <a:pt x="32" y="44"/>
                  </a:lnTo>
                  <a:lnTo>
                    <a:pt x="32" y="42"/>
                  </a:lnTo>
                  <a:lnTo>
                    <a:pt x="30" y="42"/>
                  </a:lnTo>
                  <a:lnTo>
                    <a:pt x="28" y="42"/>
                  </a:lnTo>
                  <a:lnTo>
                    <a:pt x="28" y="40"/>
                  </a:lnTo>
                  <a:lnTo>
                    <a:pt x="28" y="40"/>
                  </a:lnTo>
                  <a:lnTo>
                    <a:pt x="28" y="38"/>
                  </a:lnTo>
                  <a:lnTo>
                    <a:pt x="26" y="38"/>
                  </a:lnTo>
                  <a:lnTo>
                    <a:pt x="22" y="38"/>
                  </a:lnTo>
                  <a:lnTo>
                    <a:pt x="22" y="38"/>
                  </a:lnTo>
                  <a:lnTo>
                    <a:pt x="20" y="38"/>
                  </a:lnTo>
                  <a:lnTo>
                    <a:pt x="18" y="38"/>
                  </a:lnTo>
                  <a:lnTo>
                    <a:pt x="12" y="40"/>
                  </a:lnTo>
                  <a:lnTo>
                    <a:pt x="12" y="40"/>
                  </a:lnTo>
                  <a:lnTo>
                    <a:pt x="6" y="40"/>
                  </a:lnTo>
                  <a:lnTo>
                    <a:pt x="0" y="34"/>
                  </a:lnTo>
                  <a:lnTo>
                    <a:pt x="0" y="34"/>
                  </a:lnTo>
                  <a:lnTo>
                    <a:pt x="4" y="36"/>
                  </a:lnTo>
                  <a:lnTo>
                    <a:pt x="6" y="36"/>
                  </a:lnTo>
                  <a:lnTo>
                    <a:pt x="6" y="36"/>
                  </a:lnTo>
                  <a:lnTo>
                    <a:pt x="8" y="38"/>
                  </a:lnTo>
                  <a:lnTo>
                    <a:pt x="8" y="36"/>
                  </a:lnTo>
                  <a:lnTo>
                    <a:pt x="10" y="36"/>
                  </a:lnTo>
                  <a:lnTo>
                    <a:pt x="12" y="36"/>
                  </a:lnTo>
                  <a:lnTo>
                    <a:pt x="12" y="36"/>
                  </a:lnTo>
                  <a:lnTo>
                    <a:pt x="14" y="36"/>
                  </a:lnTo>
                  <a:lnTo>
                    <a:pt x="16" y="38"/>
                  </a:lnTo>
                  <a:lnTo>
                    <a:pt x="16" y="38"/>
                  </a:lnTo>
                  <a:lnTo>
                    <a:pt x="16" y="34"/>
                  </a:lnTo>
                  <a:lnTo>
                    <a:pt x="16" y="34"/>
                  </a:lnTo>
                  <a:lnTo>
                    <a:pt x="14" y="34"/>
                  </a:lnTo>
                  <a:lnTo>
                    <a:pt x="14" y="34"/>
                  </a:lnTo>
                  <a:lnTo>
                    <a:pt x="12" y="32"/>
                  </a:lnTo>
                  <a:lnTo>
                    <a:pt x="10" y="32"/>
                  </a:lnTo>
                  <a:lnTo>
                    <a:pt x="10" y="32"/>
                  </a:lnTo>
                  <a:lnTo>
                    <a:pt x="10" y="32"/>
                  </a:lnTo>
                  <a:lnTo>
                    <a:pt x="14" y="32"/>
                  </a:lnTo>
                  <a:lnTo>
                    <a:pt x="16" y="30"/>
                  </a:lnTo>
                  <a:lnTo>
                    <a:pt x="16" y="30"/>
                  </a:lnTo>
                  <a:lnTo>
                    <a:pt x="16" y="30"/>
                  </a:lnTo>
                  <a:lnTo>
                    <a:pt x="12" y="30"/>
                  </a:lnTo>
                  <a:lnTo>
                    <a:pt x="10" y="28"/>
                  </a:lnTo>
                  <a:lnTo>
                    <a:pt x="10" y="26"/>
                  </a:lnTo>
                  <a:lnTo>
                    <a:pt x="10" y="26"/>
                  </a:lnTo>
                  <a:lnTo>
                    <a:pt x="14" y="22"/>
                  </a:lnTo>
                  <a:lnTo>
                    <a:pt x="16" y="18"/>
                  </a:lnTo>
                  <a:lnTo>
                    <a:pt x="16" y="18"/>
                  </a:lnTo>
                  <a:lnTo>
                    <a:pt x="20" y="12"/>
                  </a:lnTo>
                  <a:lnTo>
                    <a:pt x="22" y="8"/>
                  </a:lnTo>
                  <a:lnTo>
                    <a:pt x="22" y="8"/>
                  </a:lnTo>
                  <a:lnTo>
                    <a:pt x="24" y="6"/>
                  </a:lnTo>
                  <a:lnTo>
                    <a:pt x="24" y="8"/>
                  </a:lnTo>
                  <a:lnTo>
                    <a:pt x="24" y="8"/>
                  </a:lnTo>
                  <a:lnTo>
                    <a:pt x="24" y="10"/>
                  </a:lnTo>
                  <a:lnTo>
                    <a:pt x="26" y="10"/>
                  </a:lnTo>
                  <a:lnTo>
                    <a:pt x="26" y="10"/>
                  </a:lnTo>
                  <a:lnTo>
                    <a:pt x="28" y="10"/>
                  </a:lnTo>
                  <a:lnTo>
                    <a:pt x="28" y="10"/>
                  </a:lnTo>
                  <a:lnTo>
                    <a:pt x="26" y="14"/>
                  </a:lnTo>
                  <a:lnTo>
                    <a:pt x="28" y="14"/>
                  </a:lnTo>
                  <a:lnTo>
                    <a:pt x="28" y="14"/>
                  </a:lnTo>
                  <a:lnTo>
                    <a:pt x="30" y="16"/>
                  </a:lnTo>
                  <a:lnTo>
                    <a:pt x="28" y="16"/>
                  </a:lnTo>
                  <a:lnTo>
                    <a:pt x="28" y="16"/>
                  </a:lnTo>
                  <a:lnTo>
                    <a:pt x="28" y="16"/>
                  </a:lnTo>
                  <a:lnTo>
                    <a:pt x="28" y="18"/>
                  </a:lnTo>
                  <a:lnTo>
                    <a:pt x="28" y="18"/>
                  </a:lnTo>
                  <a:lnTo>
                    <a:pt x="28" y="20"/>
                  </a:lnTo>
                  <a:lnTo>
                    <a:pt x="26" y="20"/>
                  </a:lnTo>
                  <a:lnTo>
                    <a:pt x="26" y="20"/>
                  </a:lnTo>
                  <a:lnTo>
                    <a:pt x="26" y="20"/>
                  </a:lnTo>
                  <a:lnTo>
                    <a:pt x="28" y="20"/>
                  </a:lnTo>
                  <a:lnTo>
                    <a:pt x="30" y="20"/>
                  </a:lnTo>
                  <a:lnTo>
                    <a:pt x="30" y="20"/>
                  </a:lnTo>
                  <a:lnTo>
                    <a:pt x="32" y="18"/>
                  </a:lnTo>
                  <a:lnTo>
                    <a:pt x="34" y="16"/>
                  </a:lnTo>
                  <a:lnTo>
                    <a:pt x="34" y="16"/>
                  </a:lnTo>
                  <a:lnTo>
                    <a:pt x="36" y="16"/>
                  </a:lnTo>
                  <a:lnTo>
                    <a:pt x="36" y="14"/>
                  </a:lnTo>
                  <a:lnTo>
                    <a:pt x="36" y="14"/>
                  </a:lnTo>
                  <a:lnTo>
                    <a:pt x="36" y="10"/>
                  </a:lnTo>
                  <a:lnTo>
                    <a:pt x="38" y="10"/>
                  </a:lnTo>
                  <a:lnTo>
                    <a:pt x="36" y="10"/>
                  </a:lnTo>
                  <a:lnTo>
                    <a:pt x="36" y="10"/>
                  </a:lnTo>
                  <a:lnTo>
                    <a:pt x="34" y="8"/>
                  </a:lnTo>
                  <a:lnTo>
                    <a:pt x="34" y="4"/>
                  </a:lnTo>
                  <a:lnTo>
                    <a:pt x="34" y="4"/>
                  </a:lnTo>
                  <a:lnTo>
                    <a:pt x="34" y="2"/>
                  </a:lnTo>
                  <a:lnTo>
                    <a:pt x="38" y="2"/>
                  </a:lnTo>
                  <a:lnTo>
                    <a:pt x="38" y="2"/>
                  </a:lnTo>
                  <a:lnTo>
                    <a:pt x="42" y="2"/>
                  </a:lnTo>
                  <a:lnTo>
                    <a:pt x="44" y="2"/>
                  </a:lnTo>
                  <a:lnTo>
                    <a:pt x="44" y="2"/>
                  </a:lnTo>
                  <a:lnTo>
                    <a:pt x="48" y="0"/>
                  </a:lnTo>
                  <a:lnTo>
                    <a:pt x="52" y="0"/>
                  </a:lnTo>
                  <a:lnTo>
                    <a:pt x="54" y="0"/>
                  </a:lnTo>
                  <a:lnTo>
                    <a:pt x="54" y="0"/>
                  </a:lnTo>
                  <a:lnTo>
                    <a:pt x="52" y="2"/>
                  </a:lnTo>
                  <a:lnTo>
                    <a:pt x="54" y="4"/>
                  </a:lnTo>
                  <a:lnTo>
                    <a:pt x="54" y="4"/>
                  </a:lnTo>
                  <a:lnTo>
                    <a:pt x="52" y="6"/>
                  </a:lnTo>
                  <a:lnTo>
                    <a:pt x="54" y="6"/>
                  </a:lnTo>
                  <a:lnTo>
                    <a:pt x="54" y="8"/>
                  </a:lnTo>
                  <a:lnTo>
                    <a:pt x="52" y="10"/>
                  </a:lnTo>
                  <a:lnTo>
                    <a:pt x="52" y="10"/>
                  </a:lnTo>
                  <a:lnTo>
                    <a:pt x="50" y="16"/>
                  </a:lnTo>
                  <a:lnTo>
                    <a:pt x="50" y="18"/>
                  </a:lnTo>
                  <a:lnTo>
                    <a:pt x="52" y="20"/>
                  </a:lnTo>
                  <a:lnTo>
                    <a:pt x="52" y="20"/>
                  </a:lnTo>
                  <a:lnTo>
                    <a:pt x="54" y="20"/>
                  </a:lnTo>
                  <a:lnTo>
                    <a:pt x="54" y="22"/>
                  </a:lnTo>
                  <a:lnTo>
                    <a:pt x="50" y="26"/>
                  </a:lnTo>
                  <a:lnTo>
                    <a:pt x="50" y="26"/>
                  </a:lnTo>
                  <a:lnTo>
                    <a:pt x="46" y="28"/>
                  </a:lnTo>
                  <a:lnTo>
                    <a:pt x="40" y="28"/>
                  </a:lnTo>
                  <a:lnTo>
                    <a:pt x="40" y="28"/>
                  </a:lnTo>
                  <a:lnTo>
                    <a:pt x="38" y="30"/>
                  </a:lnTo>
                  <a:lnTo>
                    <a:pt x="38" y="32"/>
                  </a:lnTo>
                  <a:lnTo>
                    <a:pt x="38" y="32"/>
                  </a:lnTo>
                  <a:lnTo>
                    <a:pt x="38" y="34"/>
                  </a:lnTo>
                  <a:lnTo>
                    <a:pt x="38" y="38"/>
                  </a:lnTo>
                  <a:lnTo>
                    <a:pt x="36" y="40"/>
                  </a:lnTo>
                  <a:lnTo>
                    <a:pt x="36" y="42"/>
                  </a:lnTo>
                  <a:lnTo>
                    <a:pt x="36" y="42"/>
                  </a:lnTo>
                  <a:lnTo>
                    <a:pt x="38" y="44"/>
                  </a:lnTo>
                  <a:lnTo>
                    <a:pt x="36" y="44"/>
                  </a:lnTo>
                  <a:lnTo>
                    <a:pt x="36" y="46"/>
                  </a:lnTo>
                  <a:lnTo>
                    <a:pt x="36" y="48"/>
                  </a:lnTo>
                  <a:lnTo>
                    <a:pt x="36" y="4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0" name="New Zealand"/>
            <p:cNvSpPr>
              <a:spLocks/>
            </p:cNvSpPr>
            <p:nvPr/>
          </p:nvSpPr>
          <p:spPr bwMode="auto">
            <a:xfrm>
              <a:off x="8232476" y="4710905"/>
              <a:ext cx="510646" cy="365126"/>
            </a:xfrm>
            <a:custGeom>
              <a:avLst/>
              <a:gdLst/>
              <a:ahLst/>
              <a:cxnLst/>
              <a:rect l="l" t="t" r="r" b="b"/>
              <a:pathLst>
                <a:path w="510646" h="365126">
                  <a:moveTo>
                    <a:pt x="227542" y="275168"/>
                  </a:moveTo>
                  <a:lnTo>
                    <a:pt x="227542" y="277814"/>
                  </a:lnTo>
                  <a:lnTo>
                    <a:pt x="230188" y="277814"/>
                  </a:lnTo>
                  <a:lnTo>
                    <a:pt x="230188" y="275168"/>
                  </a:lnTo>
                  <a:close/>
                  <a:moveTo>
                    <a:pt x="293688" y="185209"/>
                  </a:moveTo>
                  <a:lnTo>
                    <a:pt x="301625" y="187855"/>
                  </a:lnTo>
                  <a:lnTo>
                    <a:pt x="296334" y="187855"/>
                  </a:lnTo>
                  <a:lnTo>
                    <a:pt x="291042" y="187855"/>
                  </a:lnTo>
                  <a:lnTo>
                    <a:pt x="291042" y="190501"/>
                  </a:lnTo>
                  <a:lnTo>
                    <a:pt x="291042" y="193147"/>
                  </a:lnTo>
                  <a:lnTo>
                    <a:pt x="293688" y="193147"/>
                  </a:lnTo>
                  <a:lnTo>
                    <a:pt x="293688" y="195793"/>
                  </a:lnTo>
                  <a:lnTo>
                    <a:pt x="291042" y="198438"/>
                  </a:lnTo>
                  <a:lnTo>
                    <a:pt x="293688" y="201084"/>
                  </a:lnTo>
                  <a:lnTo>
                    <a:pt x="296334" y="198438"/>
                  </a:lnTo>
                  <a:lnTo>
                    <a:pt x="301625" y="195793"/>
                  </a:lnTo>
                  <a:lnTo>
                    <a:pt x="304271" y="195793"/>
                  </a:lnTo>
                  <a:lnTo>
                    <a:pt x="306917" y="193147"/>
                  </a:lnTo>
                  <a:lnTo>
                    <a:pt x="309563" y="190501"/>
                  </a:lnTo>
                  <a:lnTo>
                    <a:pt x="312208" y="190501"/>
                  </a:lnTo>
                  <a:lnTo>
                    <a:pt x="312208" y="193147"/>
                  </a:lnTo>
                  <a:lnTo>
                    <a:pt x="309563" y="193147"/>
                  </a:lnTo>
                  <a:lnTo>
                    <a:pt x="309563" y="195793"/>
                  </a:lnTo>
                  <a:lnTo>
                    <a:pt x="312208" y="195793"/>
                  </a:lnTo>
                  <a:lnTo>
                    <a:pt x="314854" y="195793"/>
                  </a:lnTo>
                  <a:lnTo>
                    <a:pt x="317500" y="198438"/>
                  </a:lnTo>
                  <a:lnTo>
                    <a:pt x="314854" y="198438"/>
                  </a:lnTo>
                  <a:lnTo>
                    <a:pt x="317500" y="201084"/>
                  </a:lnTo>
                  <a:lnTo>
                    <a:pt x="320146" y="201084"/>
                  </a:lnTo>
                  <a:lnTo>
                    <a:pt x="317500" y="203730"/>
                  </a:lnTo>
                  <a:lnTo>
                    <a:pt x="314854" y="203730"/>
                  </a:lnTo>
                  <a:lnTo>
                    <a:pt x="312208" y="206376"/>
                  </a:lnTo>
                  <a:lnTo>
                    <a:pt x="309563" y="206376"/>
                  </a:lnTo>
                  <a:lnTo>
                    <a:pt x="312208" y="209022"/>
                  </a:lnTo>
                  <a:lnTo>
                    <a:pt x="312208" y="211668"/>
                  </a:lnTo>
                  <a:lnTo>
                    <a:pt x="309563" y="216959"/>
                  </a:lnTo>
                  <a:lnTo>
                    <a:pt x="296334" y="224897"/>
                  </a:lnTo>
                  <a:lnTo>
                    <a:pt x="293688" y="227543"/>
                  </a:lnTo>
                  <a:lnTo>
                    <a:pt x="291042" y="230188"/>
                  </a:lnTo>
                  <a:lnTo>
                    <a:pt x="283104" y="232834"/>
                  </a:lnTo>
                  <a:lnTo>
                    <a:pt x="280458" y="235480"/>
                  </a:lnTo>
                  <a:lnTo>
                    <a:pt x="283104" y="235480"/>
                  </a:lnTo>
                  <a:lnTo>
                    <a:pt x="283104" y="238126"/>
                  </a:lnTo>
                  <a:lnTo>
                    <a:pt x="280458" y="238126"/>
                  </a:lnTo>
                  <a:lnTo>
                    <a:pt x="277813" y="238126"/>
                  </a:lnTo>
                  <a:lnTo>
                    <a:pt x="275167" y="238126"/>
                  </a:lnTo>
                  <a:lnTo>
                    <a:pt x="275167" y="240772"/>
                  </a:lnTo>
                  <a:lnTo>
                    <a:pt x="261938" y="251355"/>
                  </a:lnTo>
                  <a:lnTo>
                    <a:pt x="259292" y="251355"/>
                  </a:lnTo>
                  <a:lnTo>
                    <a:pt x="259292" y="254001"/>
                  </a:lnTo>
                  <a:lnTo>
                    <a:pt x="256646" y="256647"/>
                  </a:lnTo>
                  <a:lnTo>
                    <a:pt x="254000" y="256647"/>
                  </a:lnTo>
                  <a:lnTo>
                    <a:pt x="251354" y="259293"/>
                  </a:lnTo>
                  <a:lnTo>
                    <a:pt x="243417" y="259293"/>
                  </a:lnTo>
                  <a:lnTo>
                    <a:pt x="235479" y="259293"/>
                  </a:lnTo>
                  <a:lnTo>
                    <a:pt x="232833" y="261939"/>
                  </a:lnTo>
                  <a:lnTo>
                    <a:pt x="230188" y="267230"/>
                  </a:lnTo>
                  <a:lnTo>
                    <a:pt x="227542" y="267230"/>
                  </a:lnTo>
                  <a:lnTo>
                    <a:pt x="227542" y="269876"/>
                  </a:lnTo>
                  <a:lnTo>
                    <a:pt x="227542" y="272522"/>
                  </a:lnTo>
                  <a:lnTo>
                    <a:pt x="230188" y="272522"/>
                  </a:lnTo>
                  <a:lnTo>
                    <a:pt x="232833" y="272522"/>
                  </a:lnTo>
                  <a:lnTo>
                    <a:pt x="232833" y="275168"/>
                  </a:lnTo>
                  <a:lnTo>
                    <a:pt x="235479" y="275168"/>
                  </a:lnTo>
                  <a:lnTo>
                    <a:pt x="235479" y="277814"/>
                  </a:lnTo>
                  <a:lnTo>
                    <a:pt x="235479" y="280459"/>
                  </a:lnTo>
                  <a:lnTo>
                    <a:pt x="232833" y="280459"/>
                  </a:lnTo>
                  <a:lnTo>
                    <a:pt x="230188" y="280459"/>
                  </a:lnTo>
                  <a:lnTo>
                    <a:pt x="232833" y="283105"/>
                  </a:lnTo>
                  <a:lnTo>
                    <a:pt x="230188" y="283105"/>
                  </a:lnTo>
                  <a:lnTo>
                    <a:pt x="227542" y="283105"/>
                  </a:lnTo>
                  <a:lnTo>
                    <a:pt x="224896" y="283105"/>
                  </a:lnTo>
                  <a:lnTo>
                    <a:pt x="222250" y="280459"/>
                  </a:lnTo>
                  <a:lnTo>
                    <a:pt x="219604" y="280459"/>
                  </a:lnTo>
                  <a:lnTo>
                    <a:pt x="219604" y="277814"/>
                  </a:lnTo>
                  <a:lnTo>
                    <a:pt x="216958" y="277814"/>
                  </a:lnTo>
                  <a:lnTo>
                    <a:pt x="209021" y="277814"/>
                  </a:lnTo>
                  <a:lnTo>
                    <a:pt x="193146" y="283105"/>
                  </a:lnTo>
                  <a:lnTo>
                    <a:pt x="174625" y="293689"/>
                  </a:lnTo>
                  <a:lnTo>
                    <a:pt x="171979" y="296334"/>
                  </a:lnTo>
                  <a:lnTo>
                    <a:pt x="169333" y="298980"/>
                  </a:lnTo>
                  <a:lnTo>
                    <a:pt x="164042" y="304272"/>
                  </a:lnTo>
                  <a:lnTo>
                    <a:pt x="161396" y="306918"/>
                  </a:lnTo>
                  <a:lnTo>
                    <a:pt x="161396" y="312209"/>
                  </a:lnTo>
                  <a:lnTo>
                    <a:pt x="158750" y="314855"/>
                  </a:lnTo>
                  <a:lnTo>
                    <a:pt x="150813" y="317501"/>
                  </a:lnTo>
                  <a:lnTo>
                    <a:pt x="142875" y="322793"/>
                  </a:lnTo>
                  <a:lnTo>
                    <a:pt x="140229" y="325439"/>
                  </a:lnTo>
                  <a:lnTo>
                    <a:pt x="137584" y="328085"/>
                  </a:lnTo>
                  <a:lnTo>
                    <a:pt x="132292" y="330730"/>
                  </a:lnTo>
                  <a:lnTo>
                    <a:pt x="124354" y="333376"/>
                  </a:lnTo>
                  <a:lnTo>
                    <a:pt x="121709" y="338668"/>
                  </a:lnTo>
                  <a:lnTo>
                    <a:pt x="119063" y="338668"/>
                  </a:lnTo>
                  <a:lnTo>
                    <a:pt x="116417" y="341314"/>
                  </a:lnTo>
                  <a:lnTo>
                    <a:pt x="108479" y="343960"/>
                  </a:lnTo>
                  <a:lnTo>
                    <a:pt x="105834" y="349251"/>
                  </a:lnTo>
                  <a:lnTo>
                    <a:pt x="103188" y="351897"/>
                  </a:lnTo>
                  <a:lnTo>
                    <a:pt x="95250" y="357189"/>
                  </a:lnTo>
                  <a:lnTo>
                    <a:pt x="92604" y="359835"/>
                  </a:lnTo>
                  <a:lnTo>
                    <a:pt x="89959" y="359835"/>
                  </a:lnTo>
                  <a:lnTo>
                    <a:pt x="84667" y="359835"/>
                  </a:lnTo>
                  <a:lnTo>
                    <a:pt x="82021" y="359835"/>
                  </a:lnTo>
                  <a:lnTo>
                    <a:pt x="79375" y="362480"/>
                  </a:lnTo>
                  <a:lnTo>
                    <a:pt x="76729" y="362480"/>
                  </a:lnTo>
                  <a:lnTo>
                    <a:pt x="71438" y="365126"/>
                  </a:lnTo>
                  <a:lnTo>
                    <a:pt x="63500" y="365126"/>
                  </a:lnTo>
                  <a:lnTo>
                    <a:pt x="58209" y="362480"/>
                  </a:lnTo>
                  <a:lnTo>
                    <a:pt x="52917" y="362480"/>
                  </a:lnTo>
                  <a:lnTo>
                    <a:pt x="42334" y="362480"/>
                  </a:lnTo>
                  <a:lnTo>
                    <a:pt x="37042" y="362480"/>
                  </a:lnTo>
                  <a:lnTo>
                    <a:pt x="37042" y="359835"/>
                  </a:lnTo>
                  <a:lnTo>
                    <a:pt x="37042" y="357189"/>
                  </a:lnTo>
                  <a:lnTo>
                    <a:pt x="34396" y="357189"/>
                  </a:lnTo>
                  <a:lnTo>
                    <a:pt x="29104" y="357189"/>
                  </a:lnTo>
                  <a:lnTo>
                    <a:pt x="26459" y="354543"/>
                  </a:lnTo>
                  <a:lnTo>
                    <a:pt x="23813" y="354543"/>
                  </a:lnTo>
                  <a:lnTo>
                    <a:pt x="21167" y="354543"/>
                  </a:lnTo>
                  <a:lnTo>
                    <a:pt x="18521" y="357189"/>
                  </a:lnTo>
                  <a:lnTo>
                    <a:pt x="18521" y="354543"/>
                  </a:lnTo>
                  <a:lnTo>
                    <a:pt x="10584" y="354543"/>
                  </a:lnTo>
                  <a:lnTo>
                    <a:pt x="5292" y="351897"/>
                  </a:lnTo>
                  <a:lnTo>
                    <a:pt x="0" y="349251"/>
                  </a:lnTo>
                  <a:lnTo>
                    <a:pt x="0" y="346605"/>
                  </a:lnTo>
                  <a:lnTo>
                    <a:pt x="2646" y="346605"/>
                  </a:lnTo>
                  <a:lnTo>
                    <a:pt x="10584" y="346605"/>
                  </a:lnTo>
                  <a:lnTo>
                    <a:pt x="10584" y="343960"/>
                  </a:lnTo>
                  <a:lnTo>
                    <a:pt x="7938" y="343960"/>
                  </a:lnTo>
                  <a:lnTo>
                    <a:pt x="5292" y="341314"/>
                  </a:lnTo>
                  <a:lnTo>
                    <a:pt x="7938" y="338668"/>
                  </a:lnTo>
                  <a:lnTo>
                    <a:pt x="2646" y="338668"/>
                  </a:lnTo>
                  <a:lnTo>
                    <a:pt x="2646" y="336022"/>
                  </a:lnTo>
                  <a:lnTo>
                    <a:pt x="7938" y="333376"/>
                  </a:lnTo>
                  <a:lnTo>
                    <a:pt x="10584" y="330730"/>
                  </a:lnTo>
                  <a:lnTo>
                    <a:pt x="18521" y="328085"/>
                  </a:lnTo>
                  <a:lnTo>
                    <a:pt x="18521" y="325439"/>
                  </a:lnTo>
                  <a:lnTo>
                    <a:pt x="23813" y="325439"/>
                  </a:lnTo>
                  <a:lnTo>
                    <a:pt x="26459" y="322793"/>
                  </a:lnTo>
                  <a:lnTo>
                    <a:pt x="26459" y="320147"/>
                  </a:lnTo>
                  <a:lnTo>
                    <a:pt x="29104" y="320147"/>
                  </a:lnTo>
                  <a:lnTo>
                    <a:pt x="39688" y="314855"/>
                  </a:lnTo>
                  <a:lnTo>
                    <a:pt x="47625" y="312209"/>
                  </a:lnTo>
                  <a:lnTo>
                    <a:pt x="55563" y="309564"/>
                  </a:lnTo>
                  <a:lnTo>
                    <a:pt x="60854" y="309564"/>
                  </a:lnTo>
                  <a:lnTo>
                    <a:pt x="66146" y="306918"/>
                  </a:lnTo>
                  <a:lnTo>
                    <a:pt x="71438" y="301626"/>
                  </a:lnTo>
                  <a:lnTo>
                    <a:pt x="74084" y="301626"/>
                  </a:lnTo>
                  <a:lnTo>
                    <a:pt x="79375" y="298980"/>
                  </a:lnTo>
                  <a:lnTo>
                    <a:pt x="87313" y="296334"/>
                  </a:lnTo>
                  <a:lnTo>
                    <a:pt x="92604" y="291043"/>
                  </a:lnTo>
                  <a:lnTo>
                    <a:pt x="97896" y="288397"/>
                  </a:lnTo>
                  <a:lnTo>
                    <a:pt x="100542" y="288397"/>
                  </a:lnTo>
                  <a:lnTo>
                    <a:pt x="108479" y="288397"/>
                  </a:lnTo>
                  <a:lnTo>
                    <a:pt x="111125" y="285751"/>
                  </a:lnTo>
                  <a:lnTo>
                    <a:pt x="116417" y="283105"/>
                  </a:lnTo>
                  <a:lnTo>
                    <a:pt x="121709" y="280459"/>
                  </a:lnTo>
                  <a:lnTo>
                    <a:pt x="127000" y="277814"/>
                  </a:lnTo>
                  <a:lnTo>
                    <a:pt x="140229" y="272522"/>
                  </a:lnTo>
                  <a:lnTo>
                    <a:pt x="142875" y="269876"/>
                  </a:lnTo>
                  <a:lnTo>
                    <a:pt x="145521" y="269876"/>
                  </a:lnTo>
                  <a:lnTo>
                    <a:pt x="145521" y="272522"/>
                  </a:lnTo>
                  <a:lnTo>
                    <a:pt x="148167" y="269876"/>
                  </a:lnTo>
                  <a:lnTo>
                    <a:pt x="156104" y="267230"/>
                  </a:lnTo>
                  <a:lnTo>
                    <a:pt x="161396" y="264584"/>
                  </a:lnTo>
                  <a:lnTo>
                    <a:pt x="166688" y="261939"/>
                  </a:lnTo>
                  <a:lnTo>
                    <a:pt x="174625" y="256647"/>
                  </a:lnTo>
                  <a:lnTo>
                    <a:pt x="182563" y="254001"/>
                  </a:lnTo>
                  <a:lnTo>
                    <a:pt x="187854" y="248709"/>
                  </a:lnTo>
                  <a:lnTo>
                    <a:pt x="193146" y="248709"/>
                  </a:lnTo>
                  <a:lnTo>
                    <a:pt x="206375" y="243418"/>
                  </a:lnTo>
                  <a:lnTo>
                    <a:pt x="214313" y="238126"/>
                  </a:lnTo>
                  <a:lnTo>
                    <a:pt x="216958" y="235480"/>
                  </a:lnTo>
                  <a:lnTo>
                    <a:pt x="219604" y="235480"/>
                  </a:lnTo>
                  <a:lnTo>
                    <a:pt x="222250" y="235480"/>
                  </a:lnTo>
                  <a:lnTo>
                    <a:pt x="227542" y="230188"/>
                  </a:lnTo>
                  <a:lnTo>
                    <a:pt x="232833" y="222251"/>
                  </a:lnTo>
                  <a:lnTo>
                    <a:pt x="238125" y="216959"/>
                  </a:lnTo>
                  <a:lnTo>
                    <a:pt x="240771" y="214313"/>
                  </a:lnTo>
                  <a:lnTo>
                    <a:pt x="248708" y="214313"/>
                  </a:lnTo>
                  <a:lnTo>
                    <a:pt x="259292" y="209022"/>
                  </a:lnTo>
                  <a:lnTo>
                    <a:pt x="264583" y="206376"/>
                  </a:lnTo>
                  <a:lnTo>
                    <a:pt x="269875" y="203730"/>
                  </a:lnTo>
                  <a:lnTo>
                    <a:pt x="275167" y="195793"/>
                  </a:lnTo>
                  <a:lnTo>
                    <a:pt x="283104" y="190501"/>
                  </a:lnTo>
                  <a:lnTo>
                    <a:pt x="288396" y="187855"/>
                  </a:lnTo>
                  <a:close/>
                  <a:moveTo>
                    <a:pt x="444500" y="37041"/>
                  </a:moveTo>
                  <a:lnTo>
                    <a:pt x="444500" y="39687"/>
                  </a:lnTo>
                  <a:lnTo>
                    <a:pt x="447146" y="39687"/>
                  </a:lnTo>
                  <a:close/>
                  <a:moveTo>
                    <a:pt x="425979" y="0"/>
                  </a:moveTo>
                  <a:lnTo>
                    <a:pt x="431271" y="0"/>
                  </a:lnTo>
                  <a:lnTo>
                    <a:pt x="431271" y="2646"/>
                  </a:lnTo>
                  <a:lnTo>
                    <a:pt x="431271" y="5291"/>
                  </a:lnTo>
                  <a:lnTo>
                    <a:pt x="433917" y="7937"/>
                  </a:lnTo>
                  <a:lnTo>
                    <a:pt x="433917" y="10583"/>
                  </a:lnTo>
                  <a:lnTo>
                    <a:pt x="433917" y="13229"/>
                  </a:lnTo>
                  <a:lnTo>
                    <a:pt x="436563" y="13229"/>
                  </a:lnTo>
                  <a:lnTo>
                    <a:pt x="439208" y="13229"/>
                  </a:lnTo>
                  <a:lnTo>
                    <a:pt x="436563" y="15875"/>
                  </a:lnTo>
                  <a:lnTo>
                    <a:pt x="439208" y="15875"/>
                  </a:lnTo>
                  <a:lnTo>
                    <a:pt x="441854" y="15875"/>
                  </a:lnTo>
                  <a:lnTo>
                    <a:pt x="444500" y="18521"/>
                  </a:lnTo>
                  <a:lnTo>
                    <a:pt x="441854" y="18521"/>
                  </a:lnTo>
                  <a:lnTo>
                    <a:pt x="444500" y="21166"/>
                  </a:lnTo>
                  <a:lnTo>
                    <a:pt x="447146" y="21166"/>
                  </a:lnTo>
                  <a:lnTo>
                    <a:pt x="447146" y="23812"/>
                  </a:lnTo>
                  <a:lnTo>
                    <a:pt x="449792" y="26458"/>
                  </a:lnTo>
                  <a:lnTo>
                    <a:pt x="449792" y="29104"/>
                  </a:lnTo>
                  <a:lnTo>
                    <a:pt x="452438" y="31750"/>
                  </a:lnTo>
                  <a:lnTo>
                    <a:pt x="452438" y="37041"/>
                  </a:lnTo>
                  <a:lnTo>
                    <a:pt x="449792" y="37041"/>
                  </a:lnTo>
                  <a:lnTo>
                    <a:pt x="449792" y="39687"/>
                  </a:lnTo>
                  <a:lnTo>
                    <a:pt x="449792" y="42333"/>
                  </a:lnTo>
                  <a:lnTo>
                    <a:pt x="447146" y="42333"/>
                  </a:lnTo>
                  <a:lnTo>
                    <a:pt x="444500" y="44979"/>
                  </a:lnTo>
                  <a:lnTo>
                    <a:pt x="444500" y="47625"/>
                  </a:lnTo>
                  <a:lnTo>
                    <a:pt x="444500" y="50271"/>
                  </a:lnTo>
                  <a:lnTo>
                    <a:pt x="444500" y="52916"/>
                  </a:lnTo>
                  <a:lnTo>
                    <a:pt x="444500" y="55562"/>
                  </a:lnTo>
                  <a:lnTo>
                    <a:pt x="447146" y="55562"/>
                  </a:lnTo>
                  <a:lnTo>
                    <a:pt x="444500" y="58208"/>
                  </a:lnTo>
                  <a:lnTo>
                    <a:pt x="441854" y="60854"/>
                  </a:lnTo>
                  <a:lnTo>
                    <a:pt x="441854" y="63500"/>
                  </a:lnTo>
                  <a:lnTo>
                    <a:pt x="441854" y="66146"/>
                  </a:lnTo>
                  <a:lnTo>
                    <a:pt x="441854" y="68791"/>
                  </a:lnTo>
                  <a:lnTo>
                    <a:pt x="441854" y="71437"/>
                  </a:lnTo>
                  <a:lnTo>
                    <a:pt x="439208" y="74083"/>
                  </a:lnTo>
                  <a:lnTo>
                    <a:pt x="436563" y="71437"/>
                  </a:lnTo>
                  <a:lnTo>
                    <a:pt x="436563" y="74083"/>
                  </a:lnTo>
                  <a:lnTo>
                    <a:pt x="439208" y="74083"/>
                  </a:lnTo>
                  <a:lnTo>
                    <a:pt x="439208" y="76729"/>
                  </a:lnTo>
                  <a:lnTo>
                    <a:pt x="441854" y="74083"/>
                  </a:lnTo>
                  <a:lnTo>
                    <a:pt x="444500" y="74083"/>
                  </a:lnTo>
                  <a:lnTo>
                    <a:pt x="444500" y="76729"/>
                  </a:lnTo>
                  <a:lnTo>
                    <a:pt x="447146" y="76729"/>
                  </a:lnTo>
                  <a:lnTo>
                    <a:pt x="447146" y="79375"/>
                  </a:lnTo>
                  <a:lnTo>
                    <a:pt x="447146" y="82021"/>
                  </a:lnTo>
                  <a:lnTo>
                    <a:pt x="447146" y="84666"/>
                  </a:lnTo>
                  <a:lnTo>
                    <a:pt x="449792" y="84666"/>
                  </a:lnTo>
                  <a:lnTo>
                    <a:pt x="452438" y="84666"/>
                  </a:lnTo>
                  <a:lnTo>
                    <a:pt x="452438" y="82021"/>
                  </a:lnTo>
                  <a:lnTo>
                    <a:pt x="452438" y="79375"/>
                  </a:lnTo>
                  <a:lnTo>
                    <a:pt x="452438" y="76729"/>
                  </a:lnTo>
                  <a:lnTo>
                    <a:pt x="452438" y="74083"/>
                  </a:lnTo>
                  <a:lnTo>
                    <a:pt x="452438" y="71437"/>
                  </a:lnTo>
                  <a:lnTo>
                    <a:pt x="452438" y="68791"/>
                  </a:lnTo>
                  <a:lnTo>
                    <a:pt x="452438" y="66146"/>
                  </a:lnTo>
                  <a:lnTo>
                    <a:pt x="455084" y="68791"/>
                  </a:lnTo>
                  <a:lnTo>
                    <a:pt x="457729" y="68791"/>
                  </a:lnTo>
                  <a:lnTo>
                    <a:pt x="455084" y="71437"/>
                  </a:lnTo>
                  <a:lnTo>
                    <a:pt x="457729" y="71437"/>
                  </a:lnTo>
                  <a:lnTo>
                    <a:pt x="460375" y="71437"/>
                  </a:lnTo>
                  <a:lnTo>
                    <a:pt x="457729" y="74083"/>
                  </a:lnTo>
                  <a:lnTo>
                    <a:pt x="455084" y="74083"/>
                  </a:lnTo>
                  <a:lnTo>
                    <a:pt x="457729" y="76729"/>
                  </a:lnTo>
                  <a:lnTo>
                    <a:pt x="457729" y="79375"/>
                  </a:lnTo>
                  <a:lnTo>
                    <a:pt x="457729" y="87312"/>
                  </a:lnTo>
                  <a:lnTo>
                    <a:pt x="455084" y="89958"/>
                  </a:lnTo>
                  <a:lnTo>
                    <a:pt x="457729" y="92604"/>
                  </a:lnTo>
                  <a:lnTo>
                    <a:pt x="457729" y="95250"/>
                  </a:lnTo>
                  <a:lnTo>
                    <a:pt x="460375" y="97896"/>
                  </a:lnTo>
                  <a:lnTo>
                    <a:pt x="468313" y="100542"/>
                  </a:lnTo>
                  <a:lnTo>
                    <a:pt x="473604" y="103187"/>
                  </a:lnTo>
                  <a:lnTo>
                    <a:pt x="478896" y="103187"/>
                  </a:lnTo>
                  <a:lnTo>
                    <a:pt x="484188" y="100542"/>
                  </a:lnTo>
                  <a:lnTo>
                    <a:pt x="489479" y="97896"/>
                  </a:lnTo>
                  <a:lnTo>
                    <a:pt x="492125" y="97896"/>
                  </a:lnTo>
                  <a:lnTo>
                    <a:pt x="500063" y="95250"/>
                  </a:lnTo>
                  <a:lnTo>
                    <a:pt x="502708" y="95250"/>
                  </a:lnTo>
                  <a:lnTo>
                    <a:pt x="508000" y="95250"/>
                  </a:lnTo>
                  <a:lnTo>
                    <a:pt x="508000" y="97896"/>
                  </a:lnTo>
                  <a:lnTo>
                    <a:pt x="510646" y="100542"/>
                  </a:lnTo>
                  <a:lnTo>
                    <a:pt x="508000" y="103187"/>
                  </a:lnTo>
                  <a:lnTo>
                    <a:pt x="505354" y="105833"/>
                  </a:lnTo>
                  <a:lnTo>
                    <a:pt x="505354" y="108479"/>
                  </a:lnTo>
                  <a:lnTo>
                    <a:pt x="502708" y="111125"/>
                  </a:lnTo>
                  <a:lnTo>
                    <a:pt x="502708" y="113771"/>
                  </a:lnTo>
                  <a:lnTo>
                    <a:pt x="500063" y="116417"/>
                  </a:lnTo>
                  <a:lnTo>
                    <a:pt x="497417" y="119062"/>
                  </a:lnTo>
                  <a:lnTo>
                    <a:pt x="497417" y="121708"/>
                  </a:lnTo>
                  <a:lnTo>
                    <a:pt x="489479" y="124354"/>
                  </a:lnTo>
                  <a:lnTo>
                    <a:pt x="486834" y="124354"/>
                  </a:lnTo>
                  <a:lnTo>
                    <a:pt x="484188" y="124354"/>
                  </a:lnTo>
                  <a:lnTo>
                    <a:pt x="481542" y="127000"/>
                  </a:lnTo>
                  <a:lnTo>
                    <a:pt x="478896" y="132292"/>
                  </a:lnTo>
                  <a:lnTo>
                    <a:pt x="476250" y="137583"/>
                  </a:lnTo>
                  <a:lnTo>
                    <a:pt x="473604" y="140229"/>
                  </a:lnTo>
                  <a:lnTo>
                    <a:pt x="476250" y="140229"/>
                  </a:lnTo>
                  <a:lnTo>
                    <a:pt x="478896" y="142875"/>
                  </a:lnTo>
                  <a:lnTo>
                    <a:pt x="476250" y="142875"/>
                  </a:lnTo>
                  <a:lnTo>
                    <a:pt x="470958" y="148167"/>
                  </a:lnTo>
                  <a:lnTo>
                    <a:pt x="470958" y="145521"/>
                  </a:lnTo>
                  <a:lnTo>
                    <a:pt x="470958" y="142875"/>
                  </a:lnTo>
                  <a:lnTo>
                    <a:pt x="473604" y="142875"/>
                  </a:lnTo>
                  <a:lnTo>
                    <a:pt x="470958" y="140229"/>
                  </a:lnTo>
                  <a:lnTo>
                    <a:pt x="455084" y="140229"/>
                  </a:lnTo>
                  <a:lnTo>
                    <a:pt x="436563" y="145521"/>
                  </a:lnTo>
                  <a:lnTo>
                    <a:pt x="433917" y="148167"/>
                  </a:lnTo>
                  <a:lnTo>
                    <a:pt x="433917" y="150812"/>
                  </a:lnTo>
                  <a:lnTo>
                    <a:pt x="428625" y="153458"/>
                  </a:lnTo>
                  <a:lnTo>
                    <a:pt x="428625" y="156104"/>
                  </a:lnTo>
                  <a:lnTo>
                    <a:pt x="425979" y="158750"/>
                  </a:lnTo>
                  <a:lnTo>
                    <a:pt x="425979" y="161396"/>
                  </a:lnTo>
                  <a:lnTo>
                    <a:pt x="428625" y="161396"/>
                  </a:lnTo>
                  <a:lnTo>
                    <a:pt x="428625" y="164042"/>
                  </a:lnTo>
                  <a:lnTo>
                    <a:pt x="425979" y="164042"/>
                  </a:lnTo>
                  <a:lnTo>
                    <a:pt x="423334" y="164042"/>
                  </a:lnTo>
                  <a:lnTo>
                    <a:pt x="420688" y="166687"/>
                  </a:lnTo>
                  <a:lnTo>
                    <a:pt x="418042" y="169333"/>
                  </a:lnTo>
                  <a:lnTo>
                    <a:pt x="415396" y="171979"/>
                  </a:lnTo>
                  <a:lnTo>
                    <a:pt x="412750" y="174625"/>
                  </a:lnTo>
                  <a:lnTo>
                    <a:pt x="410104" y="174625"/>
                  </a:lnTo>
                  <a:lnTo>
                    <a:pt x="407458" y="174625"/>
                  </a:lnTo>
                  <a:lnTo>
                    <a:pt x="404813" y="177271"/>
                  </a:lnTo>
                  <a:lnTo>
                    <a:pt x="402167" y="182562"/>
                  </a:lnTo>
                  <a:lnTo>
                    <a:pt x="396875" y="182562"/>
                  </a:lnTo>
                  <a:lnTo>
                    <a:pt x="394229" y="185208"/>
                  </a:lnTo>
                  <a:lnTo>
                    <a:pt x="391584" y="185208"/>
                  </a:lnTo>
                  <a:lnTo>
                    <a:pt x="388938" y="187855"/>
                  </a:lnTo>
                  <a:lnTo>
                    <a:pt x="381000" y="193146"/>
                  </a:lnTo>
                  <a:lnTo>
                    <a:pt x="378354" y="195792"/>
                  </a:lnTo>
                  <a:lnTo>
                    <a:pt x="375708" y="198438"/>
                  </a:lnTo>
                  <a:lnTo>
                    <a:pt x="373063" y="201084"/>
                  </a:lnTo>
                  <a:lnTo>
                    <a:pt x="367771" y="203730"/>
                  </a:lnTo>
                  <a:lnTo>
                    <a:pt x="359834" y="206375"/>
                  </a:lnTo>
                  <a:lnTo>
                    <a:pt x="354542" y="209021"/>
                  </a:lnTo>
                  <a:lnTo>
                    <a:pt x="354542" y="206375"/>
                  </a:lnTo>
                  <a:lnTo>
                    <a:pt x="351896" y="203730"/>
                  </a:lnTo>
                  <a:lnTo>
                    <a:pt x="349250" y="203730"/>
                  </a:lnTo>
                  <a:lnTo>
                    <a:pt x="346604" y="206375"/>
                  </a:lnTo>
                  <a:lnTo>
                    <a:pt x="346604" y="203730"/>
                  </a:lnTo>
                  <a:lnTo>
                    <a:pt x="346604" y="201084"/>
                  </a:lnTo>
                  <a:lnTo>
                    <a:pt x="346604" y="198438"/>
                  </a:lnTo>
                  <a:lnTo>
                    <a:pt x="343958" y="198438"/>
                  </a:lnTo>
                  <a:lnTo>
                    <a:pt x="343958" y="201084"/>
                  </a:lnTo>
                  <a:lnTo>
                    <a:pt x="341313" y="203730"/>
                  </a:lnTo>
                  <a:lnTo>
                    <a:pt x="338667" y="203730"/>
                  </a:lnTo>
                  <a:lnTo>
                    <a:pt x="336021" y="201084"/>
                  </a:lnTo>
                  <a:lnTo>
                    <a:pt x="336021" y="198438"/>
                  </a:lnTo>
                  <a:lnTo>
                    <a:pt x="338667" y="198438"/>
                  </a:lnTo>
                  <a:lnTo>
                    <a:pt x="341313" y="195792"/>
                  </a:lnTo>
                  <a:lnTo>
                    <a:pt x="343958" y="193146"/>
                  </a:lnTo>
                  <a:lnTo>
                    <a:pt x="346604" y="193146"/>
                  </a:lnTo>
                  <a:lnTo>
                    <a:pt x="349250" y="190500"/>
                  </a:lnTo>
                  <a:lnTo>
                    <a:pt x="354542" y="185208"/>
                  </a:lnTo>
                  <a:lnTo>
                    <a:pt x="359834" y="177271"/>
                  </a:lnTo>
                  <a:lnTo>
                    <a:pt x="362479" y="171979"/>
                  </a:lnTo>
                  <a:lnTo>
                    <a:pt x="362479" y="169333"/>
                  </a:lnTo>
                  <a:lnTo>
                    <a:pt x="359834" y="164042"/>
                  </a:lnTo>
                  <a:lnTo>
                    <a:pt x="357188" y="164042"/>
                  </a:lnTo>
                  <a:lnTo>
                    <a:pt x="354542" y="161396"/>
                  </a:lnTo>
                  <a:lnTo>
                    <a:pt x="351896" y="158750"/>
                  </a:lnTo>
                  <a:lnTo>
                    <a:pt x="349250" y="158750"/>
                  </a:lnTo>
                  <a:lnTo>
                    <a:pt x="346604" y="156104"/>
                  </a:lnTo>
                  <a:lnTo>
                    <a:pt x="346604" y="150812"/>
                  </a:lnTo>
                  <a:lnTo>
                    <a:pt x="349250" y="148167"/>
                  </a:lnTo>
                  <a:lnTo>
                    <a:pt x="354542" y="142875"/>
                  </a:lnTo>
                  <a:lnTo>
                    <a:pt x="359834" y="140229"/>
                  </a:lnTo>
                  <a:lnTo>
                    <a:pt x="365125" y="137583"/>
                  </a:lnTo>
                  <a:lnTo>
                    <a:pt x="370417" y="137583"/>
                  </a:lnTo>
                  <a:lnTo>
                    <a:pt x="373063" y="134937"/>
                  </a:lnTo>
                  <a:lnTo>
                    <a:pt x="381000" y="129646"/>
                  </a:lnTo>
                  <a:lnTo>
                    <a:pt x="386292" y="127000"/>
                  </a:lnTo>
                  <a:lnTo>
                    <a:pt x="388938" y="121708"/>
                  </a:lnTo>
                  <a:lnTo>
                    <a:pt x="394229" y="119062"/>
                  </a:lnTo>
                  <a:lnTo>
                    <a:pt x="396875" y="119062"/>
                  </a:lnTo>
                  <a:lnTo>
                    <a:pt x="402167" y="111125"/>
                  </a:lnTo>
                  <a:lnTo>
                    <a:pt x="404813" y="103187"/>
                  </a:lnTo>
                  <a:lnTo>
                    <a:pt x="407458" y="103187"/>
                  </a:lnTo>
                  <a:lnTo>
                    <a:pt x="407458" y="105833"/>
                  </a:lnTo>
                  <a:lnTo>
                    <a:pt x="412750" y="103187"/>
                  </a:lnTo>
                  <a:lnTo>
                    <a:pt x="410104" y="103187"/>
                  </a:lnTo>
                  <a:lnTo>
                    <a:pt x="410104" y="100542"/>
                  </a:lnTo>
                  <a:lnTo>
                    <a:pt x="412750" y="97896"/>
                  </a:lnTo>
                  <a:lnTo>
                    <a:pt x="415396" y="97896"/>
                  </a:lnTo>
                  <a:lnTo>
                    <a:pt x="418042" y="92604"/>
                  </a:lnTo>
                  <a:lnTo>
                    <a:pt x="420688" y="89958"/>
                  </a:lnTo>
                  <a:lnTo>
                    <a:pt x="423334" y="84666"/>
                  </a:lnTo>
                  <a:lnTo>
                    <a:pt x="425979" y="82021"/>
                  </a:lnTo>
                  <a:lnTo>
                    <a:pt x="425979" y="84666"/>
                  </a:lnTo>
                  <a:lnTo>
                    <a:pt x="428625" y="82021"/>
                  </a:lnTo>
                  <a:lnTo>
                    <a:pt x="433917" y="82021"/>
                  </a:lnTo>
                  <a:lnTo>
                    <a:pt x="431271" y="79375"/>
                  </a:lnTo>
                  <a:lnTo>
                    <a:pt x="431271" y="76729"/>
                  </a:lnTo>
                  <a:lnTo>
                    <a:pt x="428625" y="79375"/>
                  </a:lnTo>
                  <a:lnTo>
                    <a:pt x="425979" y="79375"/>
                  </a:lnTo>
                  <a:lnTo>
                    <a:pt x="423334" y="76729"/>
                  </a:lnTo>
                  <a:lnTo>
                    <a:pt x="425979" y="76729"/>
                  </a:lnTo>
                  <a:lnTo>
                    <a:pt x="425979" y="74083"/>
                  </a:lnTo>
                  <a:lnTo>
                    <a:pt x="428625" y="71437"/>
                  </a:lnTo>
                  <a:lnTo>
                    <a:pt x="428625" y="58208"/>
                  </a:lnTo>
                  <a:lnTo>
                    <a:pt x="428625" y="55562"/>
                  </a:lnTo>
                  <a:lnTo>
                    <a:pt x="431271" y="55562"/>
                  </a:lnTo>
                  <a:lnTo>
                    <a:pt x="431271" y="58208"/>
                  </a:lnTo>
                  <a:lnTo>
                    <a:pt x="431271" y="60854"/>
                  </a:lnTo>
                  <a:lnTo>
                    <a:pt x="433917" y="60854"/>
                  </a:lnTo>
                  <a:lnTo>
                    <a:pt x="436563" y="60854"/>
                  </a:lnTo>
                  <a:lnTo>
                    <a:pt x="436563" y="58208"/>
                  </a:lnTo>
                  <a:lnTo>
                    <a:pt x="436563" y="55562"/>
                  </a:lnTo>
                  <a:lnTo>
                    <a:pt x="433917" y="55562"/>
                  </a:lnTo>
                  <a:lnTo>
                    <a:pt x="431271" y="52916"/>
                  </a:lnTo>
                  <a:lnTo>
                    <a:pt x="433917" y="52916"/>
                  </a:lnTo>
                  <a:lnTo>
                    <a:pt x="436563" y="52916"/>
                  </a:lnTo>
                  <a:lnTo>
                    <a:pt x="439208" y="50271"/>
                  </a:lnTo>
                  <a:lnTo>
                    <a:pt x="436563" y="50271"/>
                  </a:lnTo>
                  <a:lnTo>
                    <a:pt x="433917" y="50271"/>
                  </a:lnTo>
                  <a:lnTo>
                    <a:pt x="433917" y="47625"/>
                  </a:lnTo>
                  <a:lnTo>
                    <a:pt x="431271" y="50271"/>
                  </a:lnTo>
                  <a:lnTo>
                    <a:pt x="431271" y="52916"/>
                  </a:lnTo>
                  <a:lnTo>
                    <a:pt x="428625" y="52916"/>
                  </a:lnTo>
                  <a:lnTo>
                    <a:pt x="428625" y="50271"/>
                  </a:lnTo>
                  <a:lnTo>
                    <a:pt x="428625" y="42333"/>
                  </a:lnTo>
                  <a:lnTo>
                    <a:pt x="428625" y="37041"/>
                  </a:lnTo>
                  <a:lnTo>
                    <a:pt x="425979" y="29104"/>
                  </a:lnTo>
                  <a:lnTo>
                    <a:pt x="425979" y="26458"/>
                  </a:lnTo>
                  <a:lnTo>
                    <a:pt x="428625" y="26458"/>
                  </a:lnTo>
                  <a:lnTo>
                    <a:pt x="431271" y="23812"/>
                  </a:lnTo>
                  <a:lnTo>
                    <a:pt x="428625" y="23812"/>
                  </a:lnTo>
                  <a:lnTo>
                    <a:pt x="425979" y="26458"/>
                  </a:lnTo>
                  <a:lnTo>
                    <a:pt x="425979" y="21166"/>
                  </a:lnTo>
                  <a:lnTo>
                    <a:pt x="425979" y="15875"/>
                  </a:lnTo>
                  <a:lnTo>
                    <a:pt x="428625" y="15875"/>
                  </a:lnTo>
                  <a:lnTo>
                    <a:pt x="428625" y="7937"/>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1" name="Norway"/>
            <p:cNvSpPr>
              <a:spLocks/>
            </p:cNvSpPr>
            <p:nvPr/>
          </p:nvSpPr>
          <p:spPr bwMode="auto">
            <a:xfrm>
              <a:off x="4242559" y="1580885"/>
              <a:ext cx="502708" cy="272521"/>
            </a:xfrm>
            <a:custGeom>
              <a:avLst/>
              <a:gdLst/>
              <a:ahLst/>
              <a:cxnLst>
                <a:cxn ang="0">
                  <a:pos x="96" y="176"/>
                </a:cxn>
                <a:cxn ang="0">
                  <a:pos x="94" y="184"/>
                </a:cxn>
                <a:cxn ang="0">
                  <a:pos x="80" y="194"/>
                </a:cxn>
                <a:cxn ang="0">
                  <a:pos x="60" y="204"/>
                </a:cxn>
                <a:cxn ang="0">
                  <a:pos x="34" y="206"/>
                </a:cxn>
                <a:cxn ang="0">
                  <a:pos x="18" y="196"/>
                </a:cxn>
                <a:cxn ang="0">
                  <a:pos x="14" y="182"/>
                </a:cxn>
                <a:cxn ang="0">
                  <a:pos x="26" y="170"/>
                </a:cxn>
                <a:cxn ang="0">
                  <a:pos x="6" y="182"/>
                </a:cxn>
                <a:cxn ang="0">
                  <a:pos x="16" y="168"/>
                </a:cxn>
                <a:cxn ang="0">
                  <a:pos x="10" y="162"/>
                </a:cxn>
                <a:cxn ang="0">
                  <a:pos x="0" y="158"/>
                </a:cxn>
                <a:cxn ang="0">
                  <a:pos x="2" y="152"/>
                </a:cxn>
                <a:cxn ang="0">
                  <a:pos x="16" y="148"/>
                </a:cxn>
                <a:cxn ang="0">
                  <a:pos x="36" y="148"/>
                </a:cxn>
                <a:cxn ang="0">
                  <a:pos x="24" y="146"/>
                </a:cxn>
                <a:cxn ang="0">
                  <a:pos x="6" y="146"/>
                </a:cxn>
                <a:cxn ang="0">
                  <a:pos x="6" y="134"/>
                </a:cxn>
                <a:cxn ang="0">
                  <a:pos x="34" y="122"/>
                </a:cxn>
                <a:cxn ang="0">
                  <a:pos x="52" y="118"/>
                </a:cxn>
                <a:cxn ang="0">
                  <a:pos x="70" y="110"/>
                </a:cxn>
                <a:cxn ang="0">
                  <a:pos x="90" y="110"/>
                </a:cxn>
                <a:cxn ang="0">
                  <a:pos x="90" y="108"/>
                </a:cxn>
                <a:cxn ang="0">
                  <a:pos x="90" y="100"/>
                </a:cxn>
                <a:cxn ang="0">
                  <a:pos x="108" y="88"/>
                </a:cxn>
                <a:cxn ang="0">
                  <a:pos x="126" y="72"/>
                </a:cxn>
                <a:cxn ang="0">
                  <a:pos x="134" y="64"/>
                </a:cxn>
                <a:cxn ang="0">
                  <a:pos x="148" y="56"/>
                </a:cxn>
                <a:cxn ang="0">
                  <a:pos x="166" y="48"/>
                </a:cxn>
                <a:cxn ang="0">
                  <a:pos x="182" y="38"/>
                </a:cxn>
                <a:cxn ang="0">
                  <a:pos x="196" y="30"/>
                </a:cxn>
                <a:cxn ang="0">
                  <a:pos x="220" y="26"/>
                </a:cxn>
                <a:cxn ang="0">
                  <a:pos x="242" y="22"/>
                </a:cxn>
                <a:cxn ang="0">
                  <a:pos x="260" y="16"/>
                </a:cxn>
                <a:cxn ang="0">
                  <a:pos x="290" y="10"/>
                </a:cxn>
                <a:cxn ang="0">
                  <a:pos x="310" y="12"/>
                </a:cxn>
                <a:cxn ang="0">
                  <a:pos x="320" y="2"/>
                </a:cxn>
                <a:cxn ang="0">
                  <a:pos x="324" y="16"/>
                </a:cxn>
                <a:cxn ang="0">
                  <a:pos x="336" y="12"/>
                </a:cxn>
                <a:cxn ang="0">
                  <a:pos x="348" y="4"/>
                </a:cxn>
                <a:cxn ang="0">
                  <a:pos x="354" y="10"/>
                </a:cxn>
                <a:cxn ang="0">
                  <a:pos x="372" y="12"/>
                </a:cxn>
                <a:cxn ang="0">
                  <a:pos x="364" y="18"/>
                </a:cxn>
                <a:cxn ang="0">
                  <a:pos x="368" y="32"/>
                </a:cxn>
                <a:cxn ang="0">
                  <a:pos x="360" y="30"/>
                </a:cxn>
                <a:cxn ang="0">
                  <a:pos x="350" y="16"/>
                </a:cxn>
                <a:cxn ang="0">
                  <a:pos x="330" y="20"/>
                </a:cxn>
                <a:cxn ang="0">
                  <a:pos x="312" y="38"/>
                </a:cxn>
                <a:cxn ang="0">
                  <a:pos x="292" y="40"/>
                </a:cxn>
                <a:cxn ang="0">
                  <a:pos x="248" y="30"/>
                </a:cxn>
                <a:cxn ang="0">
                  <a:pos x="240" y="34"/>
                </a:cxn>
                <a:cxn ang="0">
                  <a:pos x="208" y="42"/>
                </a:cxn>
                <a:cxn ang="0">
                  <a:pos x="170" y="60"/>
                </a:cxn>
                <a:cxn ang="0">
                  <a:pos x="154" y="72"/>
                </a:cxn>
                <a:cxn ang="0">
                  <a:pos x="148" y="94"/>
                </a:cxn>
                <a:cxn ang="0">
                  <a:pos x="116" y="112"/>
                </a:cxn>
                <a:cxn ang="0">
                  <a:pos x="120" y="134"/>
                </a:cxn>
                <a:cxn ang="0">
                  <a:pos x="120" y="150"/>
                </a:cxn>
                <a:cxn ang="0">
                  <a:pos x="112" y="172"/>
                </a:cxn>
                <a:cxn ang="0">
                  <a:pos x="110" y="186"/>
                </a:cxn>
              </a:cxnLst>
              <a:rect l="0" t="0" r="r" b="b"/>
              <a:pathLst>
                <a:path w="380" h="206">
                  <a:moveTo>
                    <a:pt x="108" y="186"/>
                  </a:moveTo>
                  <a:lnTo>
                    <a:pt x="108" y="186"/>
                  </a:lnTo>
                  <a:lnTo>
                    <a:pt x="104" y="184"/>
                  </a:lnTo>
                  <a:lnTo>
                    <a:pt x="102" y="184"/>
                  </a:lnTo>
                  <a:lnTo>
                    <a:pt x="98" y="186"/>
                  </a:lnTo>
                  <a:lnTo>
                    <a:pt x="98" y="182"/>
                  </a:lnTo>
                  <a:lnTo>
                    <a:pt x="98" y="182"/>
                  </a:lnTo>
                  <a:lnTo>
                    <a:pt x="96" y="176"/>
                  </a:lnTo>
                  <a:lnTo>
                    <a:pt x="96" y="170"/>
                  </a:lnTo>
                  <a:lnTo>
                    <a:pt x="96" y="170"/>
                  </a:lnTo>
                  <a:lnTo>
                    <a:pt x="94" y="176"/>
                  </a:lnTo>
                  <a:lnTo>
                    <a:pt x="94" y="178"/>
                  </a:lnTo>
                  <a:lnTo>
                    <a:pt x="92" y="178"/>
                  </a:lnTo>
                  <a:lnTo>
                    <a:pt x="92" y="178"/>
                  </a:lnTo>
                  <a:lnTo>
                    <a:pt x="94" y="180"/>
                  </a:lnTo>
                  <a:lnTo>
                    <a:pt x="94" y="184"/>
                  </a:lnTo>
                  <a:lnTo>
                    <a:pt x="94" y="186"/>
                  </a:lnTo>
                  <a:lnTo>
                    <a:pt x="90" y="188"/>
                  </a:lnTo>
                  <a:lnTo>
                    <a:pt x="90" y="188"/>
                  </a:lnTo>
                  <a:lnTo>
                    <a:pt x="84" y="188"/>
                  </a:lnTo>
                  <a:lnTo>
                    <a:pt x="80" y="186"/>
                  </a:lnTo>
                  <a:lnTo>
                    <a:pt x="80" y="186"/>
                  </a:lnTo>
                  <a:lnTo>
                    <a:pt x="80" y="190"/>
                  </a:lnTo>
                  <a:lnTo>
                    <a:pt x="80" y="194"/>
                  </a:lnTo>
                  <a:lnTo>
                    <a:pt x="76" y="196"/>
                  </a:lnTo>
                  <a:lnTo>
                    <a:pt x="74" y="198"/>
                  </a:lnTo>
                  <a:lnTo>
                    <a:pt x="74" y="198"/>
                  </a:lnTo>
                  <a:lnTo>
                    <a:pt x="70" y="198"/>
                  </a:lnTo>
                  <a:lnTo>
                    <a:pt x="68" y="200"/>
                  </a:lnTo>
                  <a:lnTo>
                    <a:pt x="64" y="202"/>
                  </a:lnTo>
                  <a:lnTo>
                    <a:pt x="60" y="204"/>
                  </a:lnTo>
                  <a:lnTo>
                    <a:pt x="60" y="204"/>
                  </a:lnTo>
                  <a:lnTo>
                    <a:pt x="54" y="204"/>
                  </a:lnTo>
                  <a:lnTo>
                    <a:pt x="50" y="206"/>
                  </a:lnTo>
                  <a:lnTo>
                    <a:pt x="48" y="206"/>
                  </a:lnTo>
                  <a:lnTo>
                    <a:pt x="44" y="206"/>
                  </a:lnTo>
                  <a:lnTo>
                    <a:pt x="44" y="206"/>
                  </a:lnTo>
                  <a:lnTo>
                    <a:pt x="40" y="204"/>
                  </a:lnTo>
                  <a:lnTo>
                    <a:pt x="36" y="206"/>
                  </a:lnTo>
                  <a:lnTo>
                    <a:pt x="34" y="206"/>
                  </a:lnTo>
                  <a:lnTo>
                    <a:pt x="38" y="204"/>
                  </a:lnTo>
                  <a:lnTo>
                    <a:pt x="38" y="204"/>
                  </a:lnTo>
                  <a:lnTo>
                    <a:pt x="26" y="202"/>
                  </a:lnTo>
                  <a:lnTo>
                    <a:pt x="26" y="200"/>
                  </a:lnTo>
                  <a:lnTo>
                    <a:pt x="30" y="198"/>
                  </a:lnTo>
                  <a:lnTo>
                    <a:pt x="30" y="198"/>
                  </a:lnTo>
                  <a:lnTo>
                    <a:pt x="22" y="198"/>
                  </a:lnTo>
                  <a:lnTo>
                    <a:pt x="18" y="196"/>
                  </a:lnTo>
                  <a:lnTo>
                    <a:pt x="16" y="194"/>
                  </a:lnTo>
                  <a:lnTo>
                    <a:pt x="16" y="194"/>
                  </a:lnTo>
                  <a:lnTo>
                    <a:pt x="14" y="192"/>
                  </a:lnTo>
                  <a:lnTo>
                    <a:pt x="10" y="190"/>
                  </a:lnTo>
                  <a:lnTo>
                    <a:pt x="8" y="188"/>
                  </a:lnTo>
                  <a:lnTo>
                    <a:pt x="10" y="184"/>
                  </a:lnTo>
                  <a:lnTo>
                    <a:pt x="10" y="184"/>
                  </a:lnTo>
                  <a:lnTo>
                    <a:pt x="14" y="182"/>
                  </a:lnTo>
                  <a:lnTo>
                    <a:pt x="16" y="182"/>
                  </a:lnTo>
                  <a:lnTo>
                    <a:pt x="18" y="184"/>
                  </a:lnTo>
                  <a:lnTo>
                    <a:pt x="22" y="184"/>
                  </a:lnTo>
                  <a:lnTo>
                    <a:pt x="22" y="184"/>
                  </a:lnTo>
                  <a:lnTo>
                    <a:pt x="18" y="180"/>
                  </a:lnTo>
                  <a:lnTo>
                    <a:pt x="18" y="178"/>
                  </a:lnTo>
                  <a:lnTo>
                    <a:pt x="26" y="170"/>
                  </a:lnTo>
                  <a:lnTo>
                    <a:pt x="26" y="170"/>
                  </a:lnTo>
                  <a:lnTo>
                    <a:pt x="18" y="174"/>
                  </a:lnTo>
                  <a:lnTo>
                    <a:pt x="16" y="176"/>
                  </a:lnTo>
                  <a:lnTo>
                    <a:pt x="16" y="176"/>
                  </a:lnTo>
                  <a:lnTo>
                    <a:pt x="14" y="178"/>
                  </a:lnTo>
                  <a:lnTo>
                    <a:pt x="14" y="178"/>
                  </a:lnTo>
                  <a:lnTo>
                    <a:pt x="10" y="178"/>
                  </a:lnTo>
                  <a:lnTo>
                    <a:pt x="10" y="176"/>
                  </a:lnTo>
                  <a:lnTo>
                    <a:pt x="6" y="182"/>
                  </a:lnTo>
                  <a:lnTo>
                    <a:pt x="6" y="182"/>
                  </a:lnTo>
                  <a:lnTo>
                    <a:pt x="6" y="170"/>
                  </a:lnTo>
                  <a:lnTo>
                    <a:pt x="8" y="168"/>
                  </a:lnTo>
                  <a:lnTo>
                    <a:pt x="10" y="168"/>
                  </a:lnTo>
                  <a:lnTo>
                    <a:pt x="10" y="168"/>
                  </a:lnTo>
                  <a:lnTo>
                    <a:pt x="12" y="170"/>
                  </a:lnTo>
                  <a:lnTo>
                    <a:pt x="14" y="170"/>
                  </a:lnTo>
                  <a:lnTo>
                    <a:pt x="16" y="168"/>
                  </a:lnTo>
                  <a:lnTo>
                    <a:pt x="16" y="166"/>
                  </a:lnTo>
                  <a:lnTo>
                    <a:pt x="16" y="166"/>
                  </a:lnTo>
                  <a:lnTo>
                    <a:pt x="14" y="166"/>
                  </a:lnTo>
                  <a:lnTo>
                    <a:pt x="12" y="166"/>
                  </a:lnTo>
                  <a:lnTo>
                    <a:pt x="10" y="166"/>
                  </a:lnTo>
                  <a:lnTo>
                    <a:pt x="10" y="164"/>
                  </a:lnTo>
                  <a:lnTo>
                    <a:pt x="10" y="164"/>
                  </a:lnTo>
                  <a:lnTo>
                    <a:pt x="10" y="162"/>
                  </a:lnTo>
                  <a:lnTo>
                    <a:pt x="8" y="164"/>
                  </a:lnTo>
                  <a:lnTo>
                    <a:pt x="8" y="164"/>
                  </a:lnTo>
                  <a:lnTo>
                    <a:pt x="8" y="162"/>
                  </a:lnTo>
                  <a:lnTo>
                    <a:pt x="8" y="162"/>
                  </a:lnTo>
                  <a:lnTo>
                    <a:pt x="4" y="162"/>
                  </a:lnTo>
                  <a:lnTo>
                    <a:pt x="2" y="162"/>
                  </a:lnTo>
                  <a:lnTo>
                    <a:pt x="0" y="158"/>
                  </a:lnTo>
                  <a:lnTo>
                    <a:pt x="0" y="158"/>
                  </a:lnTo>
                  <a:lnTo>
                    <a:pt x="2" y="158"/>
                  </a:lnTo>
                  <a:lnTo>
                    <a:pt x="4" y="158"/>
                  </a:lnTo>
                  <a:lnTo>
                    <a:pt x="6" y="156"/>
                  </a:lnTo>
                  <a:lnTo>
                    <a:pt x="8" y="154"/>
                  </a:lnTo>
                  <a:lnTo>
                    <a:pt x="8" y="154"/>
                  </a:lnTo>
                  <a:lnTo>
                    <a:pt x="2" y="156"/>
                  </a:lnTo>
                  <a:lnTo>
                    <a:pt x="0" y="154"/>
                  </a:lnTo>
                  <a:lnTo>
                    <a:pt x="2" y="152"/>
                  </a:lnTo>
                  <a:lnTo>
                    <a:pt x="2" y="152"/>
                  </a:lnTo>
                  <a:lnTo>
                    <a:pt x="2" y="150"/>
                  </a:lnTo>
                  <a:lnTo>
                    <a:pt x="0" y="150"/>
                  </a:lnTo>
                  <a:lnTo>
                    <a:pt x="0" y="148"/>
                  </a:lnTo>
                  <a:lnTo>
                    <a:pt x="4" y="148"/>
                  </a:lnTo>
                  <a:lnTo>
                    <a:pt x="4" y="148"/>
                  </a:lnTo>
                  <a:lnTo>
                    <a:pt x="12" y="148"/>
                  </a:lnTo>
                  <a:lnTo>
                    <a:pt x="16" y="148"/>
                  </a:lnTo>
                  <a:lnTo>
                    <a:pt x="18" y="148"/>
                  </a:lnTo>
                  <a:lnTo>
                    <a:pt x="18" y="148"/>
                  </a:lnTo>
                  <a:lnTo>
                    <a:pt x="22" y="148"/>
                  </a:lnTo>
                  <a:lnTo>
                    <a:pt x="24" y="148"/>
                  </a:lnTo>
                  <a:lnTo>
                    <a:pt x="26" y="148"/>
                  </a:lnTo>
                  <a:lnTo>
                    <a:pt x="32" y="148"/>
                  </a:lnTo>
                  <a:lnTo>
                    <a:pt x="32" y="148"/>
                  </a:lnTo>
                  <a:lnTo>
                    <a:pt x="36" y="148"/>
                  </a:lnTo>
                  <a:lnTo>
                    <a:pt x="38" y="146"/>
                  </a:lnTo>
                  <a:lnTo>
                    <a:pt x="38" y="144"/>
                  </a:lnTo>
                  <a:lnTo>
                    <a:pt x="38" y="144"/>
                  </a:lnTo>
                  <a:lnTo>
                    <a:pt x="36" y="146"/>
                  </a:lnTo>
                  <a:lnTo>
                    <a:pt x="34" y="146"/>
                  </a:lnTo>
                  <a:lnTo>
                    <a:pt x="28" y="146"/>
                  </a:lnTo>
                  <a:lnTo>
                    <a:pt x="28" y="146"/>
                  </a:lnTo>
                  <a:lnTo>
                    <a:pt x="24" y="146"/>
                  </a:lnTo>
                  <a:lnTo>
                    <a:pt x="22" y="146"/>
                  </a:lnTo>
                  <a:lnTo>
                    <a:pt x="22" y="146"/>
                  </a:lnTo>
                  <a:lnTo>
                    <a:pt x="18" y="146"/>
                  </a:lnTo>
                  <a:lnTo>
                    <a:pt x="18" y="146"/>
                  </a:lnTo>
                  <a:lnTo>
                    <a:pt x="14" y="146"/>
                  </a:lnTo>
                  <a:lnTo>
                    <a:pt x="12" y="146"/>
                  </a:lnTo>
                  <a:lnTo>
                    <a:pt x="6" y="146"/>
                  </a:lnTo>
                  <a:lnTo>
                    <a:pt x="6" y="146"/>
                  </a:lnTo>
                  <a:lnTo>
                    <a:pt x="2" y="146"/>
                  </a:lnTo>
                  <a:lnTo>
                    <a:pt x="0" y="144"/>
                  </a:lnTo>
                  <a:lnTo>
                    <a:pt x="4" y="140"/>
                  </a:lnTo>
                  <a:lnTo>
                    <a:pt x="10" y="140"/>
                  </a:lnTo>
                  <a:lnTo>
                    <a:pt x="10" y="140"/>
                  </a:lnTo>
                  <a:lnTo>
                    <a:pt x="2" y="138"/>
                  </a:lnTo>
                  <a:lnTo>
                    <a:pt x="2" y="136"/>
                  </a:lnTo>
                  <a:lnTo>
                    <a:pt x="6" y="134"/>
                  </a:lnTo>
                  <a:lnTo>
                    <a:pt x="6" y="134"/>
                  </a:lnTo>
                  <a:lnTo>
                    <a:pt x="10" y="132"/>
                  </a:lnTo>
                  <a:lnTo>
                    <a:pt x="14" y="130"/>
                  </a:lnTo>
                  <a:lnTo>
                    <a:pt x="14" y="130"/>
                  </a:lnTo>
                  <a:lnTo>
                    <a:pt x="22" y="126"/>
                  </a:lnTo>
                  <a:lnTo>
                    <a:pt x="28" y="124"/>
                  </a:lnTo>
                  <a:lnTo>
                    <a:pt x="28" y="124"/>
                  </a:lnTo>
                  <a:lnTo>
                    <a:pt x="34" y="122"/>
                  </a:lnTo>
                  <a:lnTo>
                    <a:pt x="40" y="124"/>
                  </a:lnTo>
                  <a:lnTo>
                    <a:pt x="40" y="124"/>
                  </a:lnTo>
                  <a:lnTo>
                    <a:pt x="38" y="118"/>
                  </a:lnTo>
                  <a:lnTo>
                    <a:pt x="42" y="118"/>
                  </a:lnTo>
                  <a:lnTo>
                    <a:pt x="42" y="118"/>
                  </a:lnTo>
                  <a:lnTo>
                    <a:pt x="50" y="116"/>
                  </a:lnTo>
                  <a:lnTo>
                    <a:pt x="52" y="116"/>
                  </a:lnTo>
                  <a:lnTo>
                    <a:pt x="52" y="118"/>
                  </a:lnTo>
                  <a:lnTo>
                    <a:pt x="52" y="118"/>
                  </a:lnTo>
                  <a:lnTo>
                    <a:pt x="54" y="114"/>
                  </a:lnTo>
                  <a:lnTo>
                    <a:pt x="58" y="114"/>
                  </a:lnTo>
                  <a:lnTo>
                    <a:pt x="62" y="112"/>
                  </a:lnTo>
                  <a:lnTo>
                    <a:pt x="66" y="114"/>
                  </a:lnTo>
                  <a:lnTo>
                    <a:pt x="66" y="114"/>
                  </a:lnTo>
                  <a:lnTo>
                    <a:pt x="66" y="110"/>
                  </a:lnTo>
                  <a:lnTo>
                    <a:pt x="70" y="110"/>
                  </a:lnTo>
                  <a:lnTo>
                    <a:pt x="74" y="110"/>
                  </a:lnTo>
                  <a:lnTo>
                    <a:pt x="76" y="112"/>
                  </a:lnTo>
                  <a:lnTo>
                    <a:pt x="76" y="112"/>
                  </a:lnTo>
                  <a:lnTo>
                    <a:pt x="76" y="106"/>
                  </a:lnTo>
                  <a:lnTo>
                    <a:pt x="82" y="110"/>
                  </a:lnTo>
                  <a:lnTo>
                    <a:pt x="82" y="110"/>
                  </a:lnTo>
                  <a:lnTo>
                    <a:pt x="88" y="110"/>
                  </a:lnTo>
                  <a:lnTo>
                    <a:pt x="90" y="110"/>
                  </a:lnTo>
                  <a:lnTo>
                    <a:pt x="92" y="110"/>
                  </a:lnTo>
                  <a:lnTo>
                    <a:pt x="98" y="112"/>
                  </a:lnTo>
                  <a:lnTo>
                    <a:pt x="98" y="112"/>
                  </a:lnTo>
                  <a:lnTo>
                    <a:pt x="96" y="110"/>
                  </a:lnTo>
                  <a:lnTo>
                    <a:pt x="96" y="108"/>
                  </a:lnTo>
                  <a:lnTo>
                    <a:pt x="100" y="106"/>
                  </a:lnTo>
                  <a:lnTo>
                    <a:pt x="100" y="106"/>
                  </a:lnTo>
                  <a:lnTo>
                    <a:pt x="90" y="108"/>
                  </a:lnTo>
                  <a:lnTo>
                    <a:pt x="82" y="106"/>
                  </a:lnTo>
                  <a:lnTo>
                    <a:pt x="82" y="106"/>
                  </a:lnTo>
                  <a:lnTo>
                    <a:pt x="84" y="106"/>
                  </a:lnTo>
                  <a:lnTo>
                    <a:pt x="84" y="104"/>
                  </a:lnTo>
                  <a:lnTo>
                    <a:pt x="84" y="104"/>
                  </a:lnTo>
                  <a:lnTo>
                    <a:pt x="86" y="102"/>
                  </a:lnTo>
                  <a:lnTo>
                    <a:pt x="86" y="102"/>
                  </a:lnTo>
                  <a:lnTo>
                    <a:pt x="90" y="100"/>
                  </a:lnTo>
                  <a:lnTo>
                    <a:pt x="92" y="98"/>
                  </a:lnTo>
                  <a:lnTo>
                    <a:pt x="94" y="98"/>
                  </a:lnTo>
                  <a:lnTo>
                    <a:pt x="96" y="96"/>
                  </a:lnTo>
                  <a:lnTo>
                    <a:pt x="96" y="96"/>
                  </a:lnTo>
                  <a:lnTo>
                    <a:pt x="100" y="94"/>
                  </a:lnTo>
                  <a:lnTo>
                    <a:pt x="106" y="90"/>
                  </a:lnTo>
                  <a:lnTo>
                    <a:pt x="106" y="90"/>
                  </a:lnTo>
                  <a:lnTo>
                    <a:pt x="108" y="88"/>
                  </a:lnTo>
                  <a:lnTo>
                    <a:pt x="110" y="84"/>
                  </a:lnTo>
                  <a:lnTo>
                    <a:pt x="110" y="82"/>
                  </a:lnTo>
                  <a:lnTo>
                    <a:pt x="114" y="82"/>
                  </a:lnTo>
                  <a:lnTo>
                    <a:pt x="114" y="82"/>
                  </a:lnTo>
                  <a:lnTo>
                    <a:pt x="118" y="80"/>
                  </a:lnTo>
                  <a:lnTo>
                    <a:pt x="120" y="76"/>
                  </a:lnTo>
                  <a:lnTo>
                    <a:pt x="124" y="74"/>
                  </a:lnTo>
                  <a:lnTo>
                    <a:pt x="126" y="72"/>
                  </a:lnTo>
                  <a:lnTo>
                    <a:pt x="126" y="72"/>
                  </a:lnTo>
                  <a:lnTo>
                    <a:pt x="130" y="72"/>
                  </a:lnTo>
                  <a:lnTo>
                    <a:pt x="130" y="70"/>
                  </a:lnTo>
                  <a:lnTo>
                    <a:pt x="130" y="68"/>
                  </a:lnTo>
                  <a:lnTo>
                    <a:pt x="132" y="68"/>
                  </a:lnTo>
                  <a:lnTo>
                    <a:pt x="132" y="68"/>
                  </a:lnTo>
                  <a:lnTo>
                    <a:pt x="134" y="66"/>
                  </a:lnTo>
                  <a:lnTo>
                    <a:pt x="134" y="64"/>
                  </a:lnTo>
                  <a:lnTo>
                    <a:pt x="136" y="62"/>
                  </a:lnTo>
                  <a:lnTo>
                    <a:pt x="138" y="62"/>
                  </a:lnTo>
                  <a:lnTo>
                    <a:pt x="138" y="62"/>
                  </a:lnTo>
                  <a:lnTo>
                    <a:pt x="142" y="60"/>
                  </a:lnTo>
                  <a:lnTo>
                    <a:pt x="144" y="58"/>
                  </a:lnTo>
                  <a:lnTo>
                    <a:pt x="146" y="56"/>
                  </a:lnTo>
                  <a:lnTo>
                    <a:pt x="148" y="56"/>
                  </a:lnTo>
                  <a:lnTo>
                    <a:pt x="148" y="56"/>
                  </a:lnTo>
                  <a:lnTo>
                    <a:pt x="150" y="56"/>
                  </a:lnTo>
                  <a:lnTo>
                    <a:pt x="152" y="54"/>
                  </a:lnTo>
                  <a:lnTo>
                    <a:pt x="154" y="52"/>
                  </a:lnTo>
                  <a:lnTo>
                    <a:pt x="160" y="52"/>
                  </a:lnTo>
                  <a:lnTo>
                    <a:pt x="160" y="52"/>
                  </a:lnTo>
                  <a:lnTo>
                    <a:pt x="164" y="52"/>
                  </a:lnTo>
                  <a:lnTo>
                    <a:pt x="166" y="50"/>
                  </a:lnTo>
                  <a:lnTo>
                    <a:pt x="166" y="48"/>
                  </a:lnTo>
                  <a:lnTo>
                    <a:pt x="168" y="48"/>
                  </a:lnTo>
                  <a:lnTo>
                    <a:pt x="168" y="48"/>
                  </a:lnTo>
                  <a:lnTo>
                    <a:pt x="172" y="46"/>
                  </a:lnTo>
                  <a:lnTo>
                    <a:pt x="172" y="44"/>
                  </a:lnTo>
                  <a:lnTo>
                    <a:pt x="174" y="42"/>
                  </a:lnTo>
                  <a:lnTo>
                    <a:pt x="178" y="40"/>
                  </a:lnTo>
                  <a:lnTo>
                    <a:pt x="178" y="40"/>
                  </a:lnTo>
                  <a:lnTo>
                    <a:pt x="182" y="38"/>
                  </a:lnTo>
                  <a:lnTo>
                    <a:pt x="184" y="38"/>
                  </a:lnTo>
                  <a:lnTo>
                    <a:pt x="186" y="36"/>
                  </a:lnTo>
                  <a:lnTo>
                    <a:pt x="188" y="36"/>
                  </a:lnTo>
                  <a:lnTo>
                    <a:pt x="188" y="36"/>
                  </a:lnTo>
                  <a:lnTo>
                    <a:pt x="192" y="34"/>
                  </a:lnTo>
                  <a:lnTo>
                    <a:pt x="192" y="32"/>
                  </a:lnTo>
                  <a:lnTo>
                    <a:pt x="194" y="30"/>
                  </a:lnTo>
                  <a:lnTo>
                    <a:pt x="196" y="30"/>
                  </a:lnTo>
                  <a:lnTo>
                    <a:pt x="196" y="30"/>
                  </a:lnTo>
                  <a:lnTo>
                    <a:pt x="200" y="30"/>
                  </a:lnTo>
                  <a:lnTo>
                    <a:pt x="206" y="28"/>
                  </a:lnTo>
                  <a:lnTo>
                    <a:pt x="210" y="26"/>
                  </a:lnTo>
                  <a:lnTo>
                    <a:pt x="214" y="26"/>
                  </a:lnTo>
                  <a:lnTo>
                    <a:pt x="214" y="26"/>
                  </a:lnTo>
                  <a:lnTo>
                    <a:pt x="218" y="26"/>
                  </a:lnTo>
                  <a:lnTo>
                    <a:pt x="220" y="26"/>
                  </a:lnTo>
                  <a:lnTo>
                    <a:pt x="224" y="24"/>
                  </a:lnTo>
                  <a:lnTo>
                    <a:pt x="228" y="24"/>
                  </a:lnTo>
                  <a:lnTo>
                    <a:pt x="228" y="24"/>
                  </a:lnTo>
                  <a:lnTo>
                    <a:pt x="232" y="24"/>
                  </a:lnTo>
                  <a:lnTo>
                    <a:pt x="234" y="24"/>
                  </a:lnTo>
                  <a:lnTo>
                    <a:pt x="238" y="22"/>
                  </a:lnTo>
                  <a:lnTo>
                    <a:pt x="242" y="22"/>
                  </a:lnTo>
                  <a:lnTo>
                    <a:pt x="242" y="22"/>
                  </a:lnTo>
                  <a:lnTo>
                    <a:pt x="248" y="22"/>
                  </a:lnTo>
                  <a:lnTo>
                    <a:pt x="248" y="20"/>
                  </a:lnTo>
                  <a:lnTo>
                    <a:pt x="248" y="18"/>
                  </a:lnTo>
                  <a:lnTo>
                    <a:pt x="252" y="18"/>
                  </a:lnTo>
                  <a:lnTo>
                    <a:pt x="252" y="18"/>
                  </a:lnTo>
                  <a:lnTo>
                    <a:pt x="256" y="18"/>
                  </a:lnTo>
                  <a:lnTo>
                    <a:pt x="258" y="16"/>
                  </a:lnTo>
                  <a:lnTo>
                    <a:pt x="260" y="16"/>
                  </a:lnTo>
                  <a:lnTo>
                    <a:pt x="264" y="16"/>
                  </a:lnTo>
                  <a:lnTo>
                    <a:pt x="264" y="16"/>
                  </a:lnTo>
                  <a:lnTo>
                    <a:pt x="268" y="16"/>
                  </a:lnTo>
                  <a:lnTo>
                    <a:pt x="276" y="16"/>
                  </a:lnTo>
                  <a:lnTo>
                    <a:pt x="276" y="16"/>
                  </a:lnTo>
                  <a:lnTo>
                    <a:pt x="282" y="14"/>
                  </a:lnTo>
                  <a:lnTo>
                    <a:pt x="286" y="12"/>
                  </a:lnTo>
                  <a:lnTo>
                    <a:pt x="290" y="10"/>
                  </a:lnTo>
                  <a:lnTo>
                    <a:pt x="294" y="14"/>
                  </a:lnTo>
                  <a:lnTo>
                    <a:pt x="294" y="14"/>
                  </a:lnTo>
                  <a:lnTo>
                    <a:pt x="298" y="10"/>
                  </a:lnTo>
                  <a:lnTo>
                    <a:pt x="300" y="8"/>
                  </a:lnTo>
                  <a:lnTo>
                    <a:pt x="304" y="10"/>
                  </a:lnTo>
                  <a:lnTo>
                    <a:pt x="308" y="16"/>
                  </a:lnTo>
                  <a:lnTo>
                    <a:pt x="308" y="16"/>
                  </a:lnTo>
                  <a:lnTo>
                    <a:pt x="310" y="12"/>
                  </a:lnTo>
                  <a:lnTo>
                    <a:pt x="310" y="10"/>
                  </a:lnTo>
                  <a:lnTo>
                    <a:pt x="308" y="8"/>
                  </a:lnTo>
                  <a:lnTo>
                    <a:pt x="306" y="6"/>
                  </a:lnTo>
                  <a:lnTo>
                    <a:pt x="310" y="4"/>
                  </a:lnTo>
                  <a:lnTo>
                    <a:pt x="310" y="4"/>
                  </a:lnTo>
                  <a:lnTo>
                    <a:pt x="316" y="0"/>
                  </a:lnTo>
                  <a:lnTo>
                    <a:pt x="318" y="2"/>
                  </a:lnTo>
                  <a:lnTo>
                    <a:pt x="320" y="2"/>
                  </a:lnTo>
                  <a:lnTo>
                    <a:pt x="324" y="2"/>
                  </a:lnTo>
                  <a:lnTo>
                    <a:pt x="324" y="2"/>
                  </a:lnTo>
                  <a:lnTo>
                    <a:pt x="326" y="2"/>
                  </a:lnTo>
                  <a:lnTo>
                    <a:pt x="326" y="4"/>
                  </a:lnTo>
                  <a:lnTo>
                    <a:pt x="324" y="10"/>
                  </a:lnTo>
                  <a:lnTo>
                    <a:pt x="320" y="16"/>
                  </a:lnTo>
                  <a:lnTo>
                    <a:pt x="322" y="16"/>
                  </a:lnTo>
                  <a:lnTo>
                    <a:pt x="324" y="16"/>
                  </a:lnTo>
                  <a:lnTo>
                    <a:pt x="324" y="16"/>
                  </a:lnTo>
                  <a:lnTo>
                    <a:pt x="330" y="12"/>
                  </a:lnTo>
                  <a:lnTo>
                    <a:pt x="332" y="8"/>
                  </a:lnTo>
                  <a:lnTo>
                    <a:pt x="334" y="6"/>
                  </a:lnTo>
                  <a:lnTo>
                    <a:pt x="336" y="4"/>
                  </a:lnTo>
                  <a:lnTo>
                    <a:pt x="336" y="4"/>
                  </a:lnTo>
                  <a:lnTo>
                    <a:pt x="336" y="8"/>
                  </a:lnTo>
                  <a:lnTo>
                    <a:pt x="336" y="12"/>
                  </a:lnTo>
                  <a:lnTo>
                    <a:pt x="338" y="12"/>
                  </a:lnTo>
                  <a:lnTo>
                    <a:pt x="338" y="12"/>
                  </a:lnTo>
                  <a:lnTo>
                    <a:pt x="340" y="10"/>
                  </a:lnTo>
                  <a:lnTo>
                    <a:pt x="340" y="6"/>
                  </a:lnTo>
                  <a:lnTo>
                    <a:pt x="342" y="4"/>
                  </a:lnTo>
                  <a:lnTo>
                    <a:pt x="346" y="4"/>
                  </a:lnTo>
                  <a:lnTo>
                    <a:pt x="346" y="4"/>
                  </a:lnTo>
                  <a:lnTo>
                    <a:pt x="348" y="4"/>
                  </a:lnTo>
                  <a:lnTo>
                    <a:pt x="350" y="6"/>
                  </a:lnTo>
                  <a:lnTo>
                    <a:pt x="350" y="8"/>
                  </a:lnTo>
                  <a:lnTo>
                    <a:pt x="348" y="10"/>
                  </a:lnTo>
                  <a:lnTo>
                    <a:pt x="348" y="10"/>
                  </a:lnTo>
                  <a:lnTo>
                    <a:pt x="348" y="10"/>
                  </a:lnTo>
                  <a:lnTo>
                    <a:pt x="352" y="10"/>
                  </a:lnTo>
                  <a:lnTo>
                    <a:pt x="352" y="10"/>
                  </a:lnTo>
                  <a:lnTo>
                    <a:pt x="354" y="10"/>
                  </a:lnTo>
                  <a:lnTo>
                    <a:pt x="356" y="10"/>
                  </a:lnTo>
                  <a:lnTo>
                    <a:pt x="356" y="10"/>
                  </a:lnTo>
                  <a:lnTo>
                    <a:pt x="360" y="8"/>
                  </a:lnTo>
                  <a:lnTo>
                    <a:pt x="362" y="8"/>
                  </a:lnTo>
                  <a:lnTo>
                    <a:pt x="364" y="10"/>
                  </a:lnTo>
                  <a:lnTo>
                    <a:pt x="366" y="12"/>
                  </a:lnTo>
                  <a:lnTo>
                    <a:pt x="366" y="12"/>
                  </a:lnTo>
                  <a:lnTo>
                    <a:pt x="372" y="12"/>
                  </a:lnTo>
                  <a:lnTo>
                    <a:pt x="376" y="12"/>
                  </a:lnTo>
                  <a:lnTo>
                    <a:pt x="380" y="16"/>
                  </a:lnTo>
                  <a:lnTo>
                    <a:pt x="380" y="16"/>
                  </a:lnTo>
                  <a:lnTo>
                    <a:pt x="380" y="18"/>
                  </a:lnTo>
                  <a:lnTo>
                    <a:pt x="378" y="18"/>
                  </a:lnTo>
                  <a:lnTo>
                    <a:pt x="372" y="18"/>
                  </a:lnTo>
                  <a:lnTo>
                    <a:pt x="364" y="18"/>
                  </a:lnTo>
                  <a:lnTo>
                    <a:pt x="364" y="18"/>
                  </a:lnTo>
                  <a:lnTo>
                    <a:pt x="378" y="22"/>
                  </a:lnTo>
                  <a:lnTo>
                    <a:pt x="378" y="22"/>
                  </a:lnTo>
                  <a:lnTo>
                    <a:pt x="378" y="26"/>
                  </a:lnTo>
                  <a:lnTo>
                    <a:pt x="376" y="26"/>
                  </a:lnTo>
                  <a:lnTo>
                    <a:pt x="374" y="26"/>
                  </a:lnTo>
                  <a:lnTo>
                    <a:pt x="372" y="26"/>
                  </a:lnTo>
                  <a:lnTo>
                    <a:pt x="372" y="26"/>
                  </a:lnTo>
                  <a:lnTo>
                    <a:pt x="368" y="32"/>
                  </a:lnTo>
                  <a:lnTo>
                    <a:pt x="366" y="36"/>
                  </a:lnTo>
                  <a:lnTo>
                    <a:pt x="364" y="40"/>
                  </a:lnTo>
                  <a:lnTo>
                    <a:pt x="364" y="40"/>
                  </a:lnTo>
                  <a:lnTo>
                    <a:pt x="362" y="36"/>
                  </a:lnTo>
                  <a:lnTo>
                    <a:pt x="362" y="34"/>
                  </a:lnTo>
                  <a:lnTo>
                    <a:pt x="360" y="32"/>
                  </a:lnTo>
                  <a:lnTo>
                    <a:pt x="360" y="32"/>
                  </a:lnTo>
                  <a:lnTo>
                    <a:pt x="360" y="30"/>
                  </a:lnTo>
                  <a:lnTo>
                    <a:pt x="362" y="26"/>
                  </a:lnTo>
                  <a:lnTo>
                    <a:pt x="362" y="24"/>
                  </a:lnTo>
                  <a:lnTo>
                    <a:pt x="360" y="22"/>
                  </a:lnTo>
                  <a:lnTo>
                    <a:pt x="360" y="22"/>
                  </a:lnTo>
                  <a:lnTo>
                    <a:pt x="354" y="20"/>
                  </a:lnTo>
                  <a:lnTo>
                    <a:pt x="350" y="18"/>
                  </a:lnTo>
                  <a:lnTo>
                    <a:pt x="350" y="16"/>
                  </a:lnTo>
                  <a:lnTo>
                    <a:pt x="350" y="16"/>
                  </a:lnTo>
                  <a:lnTo>
                    <a:pt x="348" y="14"/>
                  </a:lnTo>
                  <a:lnTo>
                    <a:pt x="346" y="14"/>
                  </a:lnTo>
                  <a:lnTo>
                    <a:pt x="340" y="16"/>
                  </a:lnTo>
                  <a:lnTo>
                    <a:pt x="340" y="16"/>
                  </a:lnTo>
                  <a:lnTo>
                    <a:pt x="334" y="18"/>
                  </a:lnTo>
                  <a:lnTo>
                    <a:pt x="332" y="18"/>
                  </a:lnTo>
                  <a:lnTo>
                    <a:pt x="330" y="20"/>
                  </a:lnTo>
                  <a:lnTo>
                    <a:pt x="330" y="20"/>
                  </a:lnTo>
                  <a:lnTo>
                    <a:pt x="322" y="26"/>
                  </a:lnTo>
                  <a:lnTo>
                    <a:pt x="318" y="28"/>
                  </a:lnTo>
                  <a:lnTo>
                    <a:pt x="320" y="32"/>
                  </a:lnTo>
                  <a:lnTo>
                    <a:pt x="320" y="32"/>
                  </a:lnTo>
                  <a:lnTo>
                    <a:pt x="320" y="34"/>
                  </a:lnTo>
                  <a:lnTo>
                    <a:pt x="318" y="36"/>
                  </a:lnTo>
                  <a:lnTo>
                    <a:pt x="318" y="36"/>
                  </a:lnTo>
                  <a:lnTo>
                    <a:pt x="312" y="38"/>
                  </a:lnTo>
                  <a:lnTo>
                    <a:pt x="310" y="44"/>
                  </a:lnTo>
                  <a:lnTo>
                    <a:pt x="310" y="44"/>
                  </a:lnTo>
                  <a:lnTo>
                    <a:pt x="306" y="46"/>
                  </a:lnTo>
                  <a:lnTo>
                    <a:pt x="304" y="44"/>
                  </a:lnTo>
                  <a:lnTo>
                    <a:pt x="296" y="38"/>
                  </a:lnTo>
                  <a:lnTo>
                    <a:pt x="296" y="38"/>
                  </a:lnTo>
                  <a:lnTo>
                    <a:pt x="294" y="36"/>
                  </a:lnTo>
                  <a:lnTo>
                    <a:pt x="292" y="40"/>
                  </a:lnTo>
                  <a:lnTo>
                    <a:pt x="292" y="40"/>
                  </a:lnTo>
                  <a:lnTo>
                    <a:pt x="290" y="40"/>
                  </a:lnTo>
                  <a:lnTo>
                    <a:pt x="284" y="40"/>
                  </a:lnTo>
                  <a:lnTo>
                    <a:pt x="274" y="38"/>
                  </a:lnTo>
                  <a:lnTo>
                    <a:pt x="274" y="38"/>
                  </a:lnTo>
                  <a:lnTo>
                    <a:pt x="258" y="34"/>
                  </a:lnTo>
                  <a:lnTo>
                    <a:pt x="252" y="32"/>
                  </a:lnTo>
                  <a:lnTo>
                    <a:pt x="248" y="30"/>
                  </a:lnTo>
                  <a:lnTo>
                    <a:pt x="248" y="30"/>
                  </a:lnTo>
                  <a:lnTo>
                    <a:pt x="246" y="28"/>
                  </a:lnTo>
                  <a:lnTo>
                    <a:pt x="244" y="28"/>
                  </a:lnTo>
                  <a:lnTo>
                    <a:pt x="240" y="30"/>
                  </a:lnTo>
                  <a:lnTo>
                    <a:pt x="240" y="30"/>
                  </a:lnTo>
                  <a:lnTo>
                    <a:pt x="240" y="32"/>
                  </a:lnTo>
                  <a:lnTo>
                    <a:pt x="240" y="32"/>
                  </a:lnTo>
                  <a:lnTo>
                    <a:pt x="240" y="34"/>
                  </a:lnTo>
                  <a:lnTo>
                    <a:pt x="238" y="34"/>
                  </a:lnTo>
                  <a:lnTo>
                    <a:pt x="238" y="34"/>
                  </a:lnTo>
                  <a:lnTo>
                    <a:pt x="226" y="40"/>
                  </a:lnTo>
                  <a:lnTo>
                    <a:pt x="218" y="44"/>
                  </a:lnTo>
                  <a:lnTo>
                    <a:pt x="218" y="44"/>
                  </a:lnTo>
                  <a:lnTo>
                    <a:pt x="214" y="44"/>
                  </a:lnTo>
                  <a:lnTo>
                    <a:pt x="212" y="44"/>
                  </a:lnTo>
                  <a:lnTo>
                    <a:pt x="208" y="42"/>
                  </a:lnTo>
                  <a:lnTo>
                    <a:pt x="206" y="40"/>
                  </a:lnTo>
                  <a:lnTo>
                    <a:pt x="204" y="40"/>
                  </a:lnTo>
                  <a:lnTo>
                    <a:pt x="194" y="44"/>
                  </a:lnTo>
                  <a:lnTo>
                    <a:pt x="194" y="44"/>
                  </a:lnTo>
                  <a:lnTo>
                    <a:pt x="184" y="50"/>
                  </a:lnTo>
                  <a:lnTo>
                    <a:pt x="176" y="54"/>
                  </a:lnTo>
                  <a:lnTo>
                    <a:pt x="176" y="54"/>
                  </a:lnTo>
                  <a:lnTo>
                    <a:pt x="170" y="60"/>
                  </a:lnTo>
                  <a:lnTo>
                    <a:pt x="168" y="64"/>
                  </a:lnTo>
                  <a:lnTo>
                    <a:pt x="168" y="68"/>
                  </a:lnTo>
                  <a:lnTo>
                    <a:pt x="166" y="70"/>
                  </a:lnTo>
                  <a:lnTo>
                    <a:pt x="166" y="70"/>
                  </a:lnTo>
                  <a:lnTo>
                    <a:pt x="162" y="70"/>
                  </a:lnTo>
                  <a:lnTo>
                    <a:pt x="160" y="70"/>
                  </a:lnTo>
                  <a:lnTo>
                    <a:pt x="156" y="70"/>
                  </a:lnTo>
                  <a:lnTo>
                    <a:pt x="154" y="72"/>
                  </a:lnTo>
                  <a:lnTo>
                    <a:pt x="154" y="72"/>
                  </a:lnTo>
                  <a:lnTo>
                    <a:pt x="152" y="74"/>
                  </a:lnTo>
                  <a:lnTo>
                    <a:pt x="152" y="78"/>
                  </a:lnTo>
                  <a:lnTo>
                    <a:pt x="152" y="82"/>
                  </a:lnTo>
                  <a:lnTo>
                    <a:pt x="150" y="86"/>
                  </a:lnTo>
                  <a:lnTo>
                    <a:pt x="150" y="86"/>
                  </a:lnTo>
                  <a:lnTo>
                    <a:pt x="148" y="90"/>
                  </a:lnTo>
                  <a:lnTo>
                    <a:pt x="148" y="94"/>
                  </a:lnTo>
                  <a:lnTo>
                    <a:pt x="148" y="96"/>
                  </a:lnTo>
                  <a:lnTo>
                    <a:pt x="146" y="98"/>
                  </a:lnTo>
                  <a:lnTo>
                    <a:pt x="138" y="100"/>
                  </a:lnTo>
                  <a:lnTo>
                    <a:pt x="138" y="100"/>
                  </a:lnTo>
                  <a:lnTo>
                    <a:pt x="130" y="102"/>
                  </a:lnTo>
                  <a:lnTo>
                    <a:pt x="126" y="106"/>
                  </a:lnTo>
                  <a:lnTo>
                    <a:pt x="122" y="110"/>
                  </a:lnTo>
                  <a:lnTo>
                    <a:pt x="116" y="112"/>
                  </a:lnTo>
                  <a:lnTo>
                    <a:pt x="116" y="112"/>
                  </a:lnTo>
                  <a:lnTo>
                    <a:pt x="116" y="114"/>
                  </a:lnTo>
                  <a:lnTo>
                    <a:pt x="118" y="116"/>
                  </a:lnTo>
                  <a:lnTo>
                    <a:pt x="118" y="120"/>
                  </a:lnTo>
                  <a:lnTo>
                    <a:pt x="118" y="120"/>
                  </a:lnTo>
                  <a:lnTo>
                    <a:pt x="118" y="126"/>
                  </a:lnTo>
                  <a:lnTo>
                    <a:pt x="118" y="130"/>
                  </a:lnTo>
                  <a:lnTo>
                    <a:pt x="120" y="134"/>
                  </a:lnTo>
                  <a:lnTo>
                    <a:pt x="120" y="134"/>
                  </a:lnTo>
                  <a:lnTo>
                    <a:pt x="120" y="138"/>
                  </a:lnTo>
                  <a:lnTo>
                    <a:pt x="122" y="140"/>
                  </a:lnTo>
                  <a:lnTo>
                    <a:pt x="124" y="142"/>
                  </a:lnTo>
                  <a:lnTo>
                    <a:pt x="126" y="144"/>
                  </a:lnTo>
                  <a:lnTo>
                    <a:pt x="126" y="144"/>
                  </a:lnTo>
                  <a:lnTo>
                    <a:pt x="124" y="148"/>
                  </a:lnTo>
                  <a:lnTo>
                    <a:pt x="120" y="150"/>
                  </a:lnTo>
                  <a:lnTo>
                    <a:pt x="120" y="150"/>
                  </a:lnTo>
                  <a:lnTo>
                    <a:pt x="122" y="156"/>
                  </a:lnTo>
                  <a:lnTo>
                    <a:pt x="122" y="160"/>
                  </a:lnTo>
                  <a:lnTo>
                    <a:pt x="120" y="164"/>
                  </a:lnTo>
                  <a:lnTo>
                    <a:pt x="118" y="166"/>
                  </a:lnTo>
                  <a:lnTo>
                    <a:pt x="114" y="170"/>
                  </a:lnTo>
                  <a:lnTo>
                    <a:pt x="112" y="172"/>
                  </a:lnTo>
                  <a:lnTo>
                    <a:pt x="112" y="172"/>
                  </a:lnTo>
                  <a:lnTo>
                    <a:pt x="112" y="174"/>
                  </a:lnTo>
                  <a:lnTo>
                    <a:pt x="112" y="176"/>
                  </a:lnTo>
                  <a:lnTo>
                    <a:pt x="110" y="178"/>
                  </a:lnTo>
                  <a:lnTo>
                    <a:pt x="112" y="180"/>
                  </a:lnTo>
                  <a:lnTo>
                    <a:pt x="112" y="180"/>
                  </a:lnTo>
                  <a:lnTo>
                    <a:pt x="114" y="184"/>
                  </a:lnTo>
                  <a:lnTo>
                    <a:pt x="112" y="186"/>
                  </a:lnTo>
                  <a:lnTo>
                    <a:pt x="110" y="186"/>
                  </a:lnTo>
                  <a:lnTo>
                    <a:pt x="108" y="186"/>
                  </a:lnTo>
                  <a:lnTo>
                    <a:pt x="108" y="186"/>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2" name="Peru"/>
            <p:cNvSpPr>
              <a:spLocks/>
            </p:cNvSpPr>
            <p:nvPr/>
          </p:nvSpPr>
          <p:spPr bwMode="auto">
            <a:xfrm>
              <a:off x="1863955" y="3636698"/>
              <a:ext cx="381000" cy="605896"/>
            </a:xfrm>
            <a:custGeom>
              <a:avLst/>
              <a:gdLst/>
              <a:ahLst/>
              <a:cxnLst>
                <a:cxn ang="0">
                  <a:pos x="6" y="96"/>
                </a:cxn>
                <a:cxn ang="0">
                  <a:pos x="6" y="104"/>
                </a:cxn>
                <a:cxn ang="0">
                  <a:pos x="4" y="114"/>
                </a:cxn>
                <a:cxn ang="0">
                  <a:pos x="6" y="122"/>
                </a:cxn>
                <a:cxn ang="0">
                  <a:pos x="14" y="140"/>
                </a:cxn>
                <a:cxn ang="0">
                  <a:pos x="30" y="170"/>
                </a:cxn>
                <a:cxn ang="0">
                  <a:pos x="46" y="188"/>
                </a:cxn>
                <a:cxn ang="0">
                  <a:pos x="60" y="204"/>
                </a:cxn>
                <a:cxn ang="0">
                  <a:pos x="76" y="234"/>
                </a:cxn>
                <a:cxn ang="0">
                  <a:pos x="96" y="286"/>
                </a:cxn>
                <a:cxn ang="0">
                  <a:pos x="108" y="310"/>
                </a:cxn>
                <a:cxn ang="0">
                  <a:pos x="110" y="322"/>
                </a:cxn>
                <a:cxn ang="0">
                  <a:pos x="124" y="350"/>
                </a:cxn>
                <a:cxn ang="0">
                  <a:pos x="118" y="350"/>
                </a:cxn>
                <a:cxn ang="0">
                  <a:pos x="138" y="372"/>
                </a:cxn>
                <a:cxn ang="0">
                  <a:pos x="162" y="392"/>
                </a:cxn>
                <a:cxn ang="0">
                  <a:pos x="196" y="410"/>
                </a:cxn>
                <a:cxn ang="0">
                  <a:pos x="244" y="440"/>
                </a:cxn>
                <a:cxn ang="0">
                  <a:pos x="272" y="454"/>
                </a:cxn>
                <a:cxn ang="0">
                  <a:pos x="276" y="446"/>
                </a:cxn>
                <a:cxn ang="0">
                  <a:pos x="278" y="430"/>
                </a:cxn>
                <a:cxn ang="0">
                  <a:pos x="286" y="412"/>
                </a:cxn>
                <a:cxn ang="0">
                  <a:pos x="282" y="390"/>
                </a:cxn>
                <a:cxn ang="0">
                  <a:pos x="284" y="380"/>
                </a:cxn>
                <a:cxn ang="0">
                  <a:pos x="280" y="362"/>
                </a:cxn>
                <a:cxn ang="0">
                  <a:pos x="276" y="334"/>
                </a:cxn>
                <a:cxn ang="0">
                  <a:pos x="282" y="316"/>
                </a:cxn>
                <a:cxn ang="0">
                  <a:pos x="250" y="280"/>
                </a:cxn>
                <a:cxn ang="0">
                  <a:pos x="238" y="264"/>
                </a:cxn>
                <a:cxn ang="0">
                  <a:pos x="238" y="244"/>
                </a:cxn>
                <a:cxn ang="0">
                  <a:pos x="234" y="238"/>
                </a:cxn>
                <a:cxn ang="0">
                  <a:pos x="202" y="250"/>
                </a:cxn>
                <a:cxn ang="0">
                  <a:pos x="192" y="240"/>
                </a:cxn>
                <a:cxn ang="0">
                  <a:pos x="188" y="232"/>
                </a:cxn>
                <a:cxn ang="0">
                  <a:pos x="176" y="212"/>
                </a:cxn>
                <a:cxn ang="0">
                  <a:pos x="166" y="188"/>
                </a:cxn>
                <a:cxn ang="0">
                  <a:pos x="166" y="178"/>
                </a:cxn>
                <a:cxn ang="0">
                  <a:pos x="180" y="158"/>
                </a:cxn>
                <a:cxn ang="0">
                  <a:pos x="188" y="136"/>
                </a:cxn>
                <a:cxn ang="0">
                  <a:pos x="204" y="120"/>
                </a:cxn>
                <a:cxn ang="0">
                  <a:pos x="226" y="104"/>
                </a:cxn>
                <a:cxn ang="0">
                  <a:pos x="238" y="98"/>
                </a:cxn>
                <a:cxn ang="0">
                  <a:pos x="232" y="74"/>
                </a:cxn>
                <a:cxn ang="0">
                  <a:pos x="234" y="58"/>
                </a:cxn>
                <a:cxn ang="0">
                  <a:pos x="218" y="60"/>
                </a:cxn>
                <a:cxn ang="0">
                  <a:pos x="196" y="58"/>
                </a:cxn>
                <a:cxn ang="0">
                  <a:pos x="174" y="58"/>
                </a:cxn>
                <a:cxn ang="0">
                  <a:pos x="162" y="34"/>
                </a:cxn>
                <a:cxn ang="0">
                  <a:pos x="150" y="24"/>
                </a:cxn>
                <a:cxn ang="0">
                  <a:pos x="138" y="2"/>
                </a:cxn>
                <a:cxn ang="0">
                  <a:pos x="128" y="24"/>
                </a:cxn>
                <a:cxn ang="0">
                  <a:pos x="98" y="60"/>
                </a:cxn>
                <a:cxn ang="0">
                  <a:pos x="70" y="76"/>
                </a:cxn>
                <a:cxn ang="0">
                  <a:pos x="60" y="92"/>
                </a:cxn>
                <a:cxn ang="0">
                  <a:pos x="46" y="106"/>
                </a:cxn>
                <a:cxn ang="0">
                  <a:pos x="28" y="98"/>
                </a:cxn>
                <a:cxn ang="0">
                  <a:pos x="18" y="86"/>
                </a:cxn>
              </a:cxnLst>
              <a:rect l="0" t="0" r="r" b="b"/>
              <a:pathLst>
                <a:path w="288" h="458">
                  <a:moveTo>
                    <a:pt x="18" y="86"/>
                  </a:moveTo>
                  <a:lnTo>
                    <a:pt x="18" y="86"/>
                  </a:lnTo>
                  <a:lnTo>
                    <a:pt x="14" y="88"/>
                  </a:lnTo>
                  <a:lnTo>
                    <a:pt x="10" y="92"/>
                  </a:lnTo>
                  <a:lnTo>
                    <a:pt x="6" y="96"/>
                  </a:lnTo>
                  <a:lnTo>
                    <a:pt x="4" y="98"/>
                  </a:lnTo>
                  <a:lnTo>
                    <a:pt x="6" y="100"/>
                  </a:lnTo>
                  <a:lnTo>
                    <a:pt x="6" y="100"/>
                  </a:lnTo>
                  <a:lnTo>
                    <a:pt x="6" y="102"/>
                  </a:lnTo>
                  <a:lnTo>
                    <a:pt x="6" y="104"/>
                  </a:lnTo>
                  <a:lnTo>
                    <a:pt x="4" y="106"/>
                  </a:lnTo>
                  <a:lnTo>
                    <a:pt x="6" y="112"/>
                  </a:lnTo>
                  <a:lnTo>
                    <a:pt x="6" y="112"/>
                  </a:lnTo>
                  <a:lnTo>
                    <a:pt x="6" y="112"/>
                  </a:lnTo>
                  <a:lnTo>
                    <a:pt x="4" y="114"/>
                  </a:lnTo>
                  <a:lnTo>
                    <a:pt x="2" y="114"/>
                  </a:lnTo>
                  <a:lnTo>
                    <a:pt x="0" y="114"/>
                  </a:lnTo>
                  <a:lnTo>
                    <a:pt x="0" y="116"/>
                  </a:lnTo>
                  <a:lnTo>
                    <a:pt x="6" y="122"/>
                  </a:lnTo>
                  <a:lnTo>
                    <a:pt x="6" y="122"/>
                  </a:lnTo>
                  <a:lnTo>
                    <a:pt x="12" y="128"/>
                  </a:lnTo>
                  <a:lnTo>
                    <a:pt x="12" y="132"/>
                  </a:lnTo>
                  <a:lnTo>
                    <a:pt x="12" y="136"/>
                  </a:lnTo>
                  <a:lnTo>
                    <a:pt x="14" y="140"/>
                  </a:lnTo>
                  <a:lnTo>
                    <a:pt x="14" y="140"/>
                  </a:lnTo>
                  <a:lnTo>
                    <a:pt x="14" y="146"/>
                  </a:lnTo>
                  <a:lnTo>
                    <a:pt x="14" y="152"/>
                  </a:lnTo>
                  <a:lnTo>
                    <a:pt x="20" y="160"/>
                  </a:lnTo>
                  <a:lnTo>
                    <a:pt x="20" y="160"/>
                  </a:lnTo>
                  <a:lnTo>
                    <a:pt x="30" y="170"/>
                  </a:lnTo>
                  <a:lnTo>
                    <a:pt x="36" y="174"/>
                  </a:lnTo>
                  <a:lnTo>
                    <a:pt x="40" y="178"/>
                  </a:lnTo>
                  <a:lnTo>
                    <a:pt x="42" y="182"/>
                  </a:lnTo>
                  <a:lnTo>
                    <a:pt x="42" y="182"/>
                  </a:lnTo>
                  <a:lnTo>
                    <a:pt x="46" y="188"/>
                  </a:lnTo>
                  <a:lnTo>
                    <a:pt x="50" y="192"/>
                  </a:lnTo>
                  <a:lnTo>
                    <a:pt x="54" y="196"/>
                  </a:lnTo>
                  <a:lnTo>
                    <a:pt x="58" y="202"/>
                  </a:lnTo>
                  <a:lnTo>
                    <a:pt x="58" y="202"/>
                  </a:lnTo>
                  <a:lnTo>
                    <a:pt x="60" y="204"/>
                  </a:lnTo>
                  <a:lnTo>
                    <a:pt x="62" y="206"/>
                  </a:lnTo>
                  <a:lnTo>
                    <a:pt x="66" y="210"/>
                  </a:lnTo>
                  <a:lnTo>
                    <a:pt x="70" y="220"/>
                  </a:lnTo>
                  <a:lnTo>
                    <a:pt x="70" y="220"/>
                  </a:lnTo>
                  <a:lnTo>
                    <a:pt x="76" y="234"/>
                  </a:lnTo>
                  <a:lnTo>
                    <a:pt x="82" y="248"/>
                  </a:lnTo>
                  <a:lnTo>
                    <a:pt x="88" y="262"/>
                  </a:lnTo>
                  <a:lnTo>
                    <a:pt x="92" y="274"/>
                  </a:lnTo>
                  <a:lnTo>
                    <a:pt x="92" y="274"/>
                  </a:lnTo>
                  <a:lnTo>
                    <a:pt x="96" y="286"/>
                  </a:lnTo>
                  <a:lnTo>
                    <a:pt x="100" y="290"/>
                  </a:lnTo>
                  <a:lnTo>
                    <a:pt x="104" y="296"/>
                  </a:lnTo>
                  <a:lnTo>
                    <a:pt x="106" y="304"/>
                  </a:lnTo>
                  <a:lnTo>
                    <a:pt x="106" y="304"/>
                  </a:lnTo>
                  <a:lnTo>
                    <a:pt x="108" y="310"/>
                  </a:lnTo>
                  <a:lnTo>
                    <a:pt x="110" y="314"/>
                  </a:lnTo>
                  <a:lnTo>
                    <a:pt x="112" y="316"/>
                  </a:lnTo>
                  <a:lnTo>
                    <a:pt x="112" y="320"/>
                  </a:lnTo>
                  <a:lnTo>
                    <a:pt x="112" y="320"/>
                  </a:lnTo>
                  <a:lnTo>
                    <a:pt x="110" y="322"/>
                  </a:lnTo>
                  <a:lnTo>
                    <a:pt x="112" y="326"/>
                  </a:lnTo>
                  <a:lnTo>
                    <a:pt x="116" y="336"/>
                  </a:lnTo>
                  <a:lnTo>
                    <a:pt x="122" y="344"/>
                  </a:lnTo>
                  <a:lnTo>
                    <a:pt x="124" y="350"/>
                  </a:lnTo>
                  <a:lnTo>
                    <a:pt x="124" y="350"/>
                  </a:lnTo>
                  <a:lnTo>
                    <a:pt x="122" y="350"/>
                  </a:lnTo>
                  <a:lnTo>
                    <a:pt x="120" y="348"/>
                  </a:lnTo>
                  <a:lnTo>
                    <a:pt x="118" y="348"/>
                  </a:lnTo>
                  <a:lnTo>
                    <a:pt x="118" y="350"/>
                  </a:lnTo>
                  <a:lnTo>
                    <a:pt x="118" y="350"/>
                  </a:lnTo>
                  <a:lnTo>
                    <a:pt x="122" y="356"/>
                  </a:lnTo>
                  <a:lnTo>
                    <a:pt x="128" y="360"/>
                  </a:lnTo>
                  <a:lnTo>
                    <a:pt x="134" y="364"/>
                  </a:lnTo>
                  <a:lnTo>
                    <a:pt x="138" y="372"/>
                  </a:lnTo>
                  <a:lnTo>
                    <a:pt x="138" y="372"/>
                  </a:lnTo>
                  <a:lnTo>
                    <a:pt x="144" y="376"/>
                  </a:lnTo>
                  <a:lnTo>
                    <a:pt x="150" y="380"/>
                  </a:lnTo>
                  <a:lnTo>
                    <a:pt x="156" y="386"/>
                  </a:lnTo>
                  <a:lnTo>
                    <a:pt x="162" y="392"/>
                  </a:lnTo>
                  <a:lnTo>
                    <a:pt x="162" y="392"/>
                  </a:lnTo>
                  <a:lnTo>
                    <a:pt x="170" y="398"/>
                  </a:lnTo>
                  <a:lnTo>
                    <a:pt x="178" y="400"/>
                  </a:lnTo>
                  <a:lnTo>
                    <a:pt x="186" y="404"/>
                  </a:lnTo>
                  <a:lnTo>
                    <a:pt x="196" y="410"/>
                  </a:lnTo>
                  <a:lnTo>
                    <a:pt x="196" y="410"/>
                  </a:lnTo>
                  <a:lnTo>
                    <a:pt x="220" y="422"/>
                  </a:lnTo>
                  <a:lnTo>
                    <a:pt x="236" y="430"/>
                  </a:lnTo>
                  <a:lnTo>
                    <a:pt x="242" y="436"/>
                  </a:lnTo>
                  <a:lnTo>
                    <a:pt x="244" y="440"/>
                  </a:lnTo>
                  <a:lnTo>
                    <a:pt x="244" y="440"/>
                  </a:lnTo>
                  <a:lnTo>
                    <a:pt x="248" y="444"/>
                  </a:lnTo>
                  <a:lnTo>
                    <a:pt x="252" y="448"/>
                  </a:lnTo>
                  <a:lnTo>
                    <a:pt x="262" y="458"/>
                  </a:lnTo>
                  <a:lnTo>
                    <a:pt x="262" y="458"/>
                  </a:lnTo>
                  <a:lnTo>
                    <a:pt x="272" y="454"/>
                  </a:lnTo>
                  <a:lnTo>
                    <a:pt x="274" y="452"/>
                  </a:lnTo>
                  <a:lnTo>
                    <a:pt x="272" y="450"/>
                  </a:lnTo>
                  <a:lnTo>
                    <a:pt x="272" y="448"/>
                  </a:lnTo>
                  <a:lnTo>
                    <a:pt x="272" y="446"/>
                  </a:lnTo>
                  <a:lnTo>
                    <a:pt x="276" y="446"/>
                  </a:lnTo>
                  <a:lnTo>
                    <a:pt x="276" y="446"/>
                  </a:lnTo>
                  <a:lnTo>
                    <a:pt x="278" y="438"/>
                  </a:lnTo>
                  <a:lnTo>
                    <a:pt x="278" y="436"/>
                  </a:lnTo>
                  <a:lnTo>
                    <a:pt x="276" y="434"/>
                  </a:lnTo>
                  <a:lnTo>
                    <a:pt x="278" y="430"/>
                  </a:lnTo>
                  <a:lnTo>
                    <a:pt x="278" y="430"/>
                  </a:lnTo>
                  <a:lnTo>
                    <a:pt x="282" y="424"/>
                  </a:lnTo>
                  <a:lnTo>
                    <a:pt x="282" y="422"/>
                  </a:lnTo>
                  <a:lnTo>
                    <a:pt x="282" y="418"/>
                  </a:lnTo>
                  <a:lnTo>
                    <a:pt x="286" y="412"/>
                  </a:lnTo>
                  <a:lnTo>
                    <a:pt x="286" y="412"/>
                  </a:lnTo>
                  <a:lnTo>
                    <a:pt x="288" y="406"/>
                  </a:lnTo>
                  <a:lnTo>
                    <a:pt x="288" y="402"/>
                  </a:lnTo>
                  <a:lnTo>
                    <a:pt x="286" y="396"/>
                  </a:lnTo>
                  <a:lnTo>
                    <a:pt x="282" y="390"/>
                  </a:lnTo>
                  <a:lnTo>
                    <a:pt x="282" y="388"/>
                  </a:lnTo>
                  <a:lnTo>
                    <a:pt x="284" y="384"/>
                  </a:lnTo>
                  <a:lnTo>
                    <a:pt x="284" y="384"/>
                  </a:lnTo>
                  <a:lnTo>
                    <a:pt x="284" y="382"/>
                  </a:lnTo>
                  <a:lnTo>
                    <a:pt x="284" y="380"/>
                  </a:lnTo>
                  <a:lnTo>
                    <a:pt x="280" y="376"/>
                  </a:lnTo>
                  <a:lnTo>
                    <a:pt x="278" y="374"/>
                  </a:lnTo>
                  <a:lnTo>
                    <a:pt x="276" y="372"/>
                  </a:lnTo>
                  <a:lnTo>
                    <a:pt x="276" y="368"/>
                  </a:lnTo>
                  <a:lnTo>
                    <a:pt x="280" y="362"/>
                  </a:lnTo>
                  <a:lnTo>
                    <a:pt x="280" y="362"/>
                  </a:lnTo>
                  <a:lnTo>
                    <a:pt x="280" y="358"/>
                  </a:lnTo>
                  <a:lnTo>
                    <a:pt x="280" y="354"/>
                  </a:lnTo>
                  <a:lnTo>
                    <a:pt x="278" y="344"/>
                  </a:lnTo>
                  <a:lnTo>
                    <a:pt x="276" y="334"/>
                  </a:lnTo>
                  <a:lnTo>
                    <a:pt x="276" y="328"/>
                  </a:lnTo>
                  <a:lnTo>
                    <a:pt x="278" y="324"/>
                  </a:lnTo>
                  <a:lnTo>
                    <a:pt x="278" y="324"/>
                  </a:lnTo>
                  <a:lnTo>
                    <a:pt x="280" y="318"/>
                  </a:lnTo>
                  <a:lnTo>
                    <a:pt x="282" y="316"/>
                  </a:lnTo>
                  <a:lnTo>
                    <a:pt x="278" y="306"/>
                  </a:lnTo>
                  <a:lnTo>
                    <a:pt x="268" y="296"/>
                  </a:lnTo>
                  <a:lnTo>
                    <a:pt x="256" y="278"/>
                  </a:lnTo>
                  <a:lnTo>
                    <a:pt x="256" y="278"/>
                  </a:lnTo>
                  <a:lnTo>
                    <a:pt x="250" y="280"/>
                  </a:lnTo>
                  <a:lnTo>
                    <a:pt x="246" y="282"/>
                  </a:lnTo>
                  <a:lnTo>
                    <a:pt x="244" y="280"/>
                  </a:lnTo>
                  <a:lnTo>
                    <a:pt x="242" y="280"/>
                  </a:lnTo>
                  <a:lnTo>
                    <a:pt x="240" y="272"/>
                  </a:lnTo>
                  <a:lnTo>
                    <a:pt x="238" y="264"/>
                  </a:lnTo>
                  <a:lnTo>
                    <a:pt x="238" y="264"/>
                  </a:lnTo>
                  <a:lnTo>
                    <a:pt x="236" y="252"/>
                  </a:lnTo>
                  <a:lnTo>
                    <a:pt x="236" y="248"/>
                  </a:lnTo>
                  <a:lnTo>
                    <a:pt x="238" y="244"/>
                  </a:lnTo>
                  <a:lnTo>
                    <a:pt x="238" y="244"/>
                  </a:lnTo>
                  <a:lnTo>
                    <a:pt x="240" y="240"/>
                  </a:lnTo>
                  <a:lnTo>
                    <a:pt x="238" y="238"/>
                  </a:lnTo>
                  <a:lnTo>
                    <a:pt x="236" y="236"/>
                  </a:lnTo>
                  <a:lnTo>
                    <a:pt x="234" y="238"/>
                  </a:lnTo>
                  <a:lnTo>
                    <a:pt x="234" y="238"/>
                  </a:lnTo>
                  <a:lnTo>
                    <a:pt x="222" y="248"/>
                  </a:lnTo>
                  <a:lnTo>
                    <a:pt x="218" y="250"/>
                  </a:lnTo>
                  <a:lnTo>
                    <a:pt x="208" y="250"/>
                  </a:lnTo>
                  <a:lnTo>
                    <a:pt x="208" y="250"/>
                  </a:lnTo>
                  <a:lnTo>
                    <a:pt x="202" y="250"/>
                  </a:lnTo>
                  <a:lnTo>
                    <a:pt x="198" y="248"/>
                  </a:lnTo>
                  <a:lnTo>
                    <a:pt x="196" y="248"/>
                  </a:lnTo>
                  <a:lnTo>
                    <a:pt x="194" y="246"/>
                  </a:lnTo>
                  <a:lnTo>
                    <a:pt x="194" y="242"/>
                  </a:lnTo>
                  <a:lnTo>
                    <a:pt x="192" y="240"/>
                  </a:lnTo>
                  <a:lnTo>
                    <a:pt x="190" y="240"/>
                  </a:lnTo>
                  <a:lnTo>
                    <a:pt x="190" y="240"/>
                  </a:lnTo>
                  <a:lnTo>
                    <a:pt x="184" y="240"/>
                  </a:lnTo>
                  <a:lnTo>
                    <a:pt x="186" y="236"/>
                  </a:lnTo>
                  <a:lnTo>
                    <a:pt x="188" y="232"/>
                  </a:lnTo>
                  <a:lnTo>
                    <a:pt x="186" y="230"/>
                  </a:lnTo>
                  <a:lnTo>
                    <a:pt x="184" y="226"/>
                  </a:lnTo>
                  <a:lnTo>
                    <a:pt x="184" y="226"/>
                  </a:lnTo>
                  <a:lnTo>
                    <a:pt x="180" y="220"/>
                  </a:lnTo>
                  <a:lnTo>
                    <a:pt x="176" y="212"/>
                  </a:lnTo>
                  <a:lnTo>
                    <a:pt x="174" y="204"/>
                  </a:lnTo>
                  <a:lnTo>
                    <a:pt x="170" y="198"/>
                  </a:lnTo>
                  <a:lnTo>
                    <a:pt x="170" y="198"/>
                  </a:lnTo>
                  <a:lnTo>
                    <a:pt x="166" y="190"/>
                  </a:lnTo>
                  <a:lnTo>
                    <a:pt x="166" y="188"/>
                  </a:lnTo>
                  <a:lnTo>
                    <a:pt x="168" y="186"/>
                  </a:lnTo>
                  <a:lnTo>
                    <a:pt x="168" y="186"/>
                  </a:lnTo>
                  <a:lnTo>
                    <a:pt x="168" y="186"/>
                  </a:lnTo>
                  <a:lnTo>
                    <a:pt x="166" y="182"/>
                  </a:lnTo>
                  <a:lnTo>
                    <a:pt x="166" y="178"/>
                  </a:lnTo>
                  <a:lnTo>
                    <a:pt x="168" y="174"/>
                  </a:lnTo>
                  <a:lnTo>
                    <a:pt x="170" y="172"/>
                  </a:lnTo>
                  <a:lnTo>
                    <a:pt x="176" y="166"/>
                  </a:lnTo>
                  <a:lnTo>
                    <a:pt x="178" y="164"/>
                  </a:lnTo>
                  <a:lnTo>
                    <a:pt x="180" y="158"/>
                  </a:lnTo>
                  <a:lnTo>
                    <a:pt x="180" y="158"/>
                  </a:lnTo>
                  <a:lnTo>
                    <a:pt x="182" y="150"/>
                  </a:lnTo>
                  <a:lnTo>
                    <a:pt x="184" y="144"/>
                  </a:lnTo>
                  <a:lnTo>
                    <a:pt x="186" y="140"/>
                  </a:lnTo>
                  <a:lnTo>
                    <a:pt x="188" y="136"/>
                  </a:lnTo>
                  <a:lnTo>
                    <a:pt x="188" y="136"/>
                  </a:lnTo>
                  <a:lnTo>
                    <a:pt x="190" y="132"/>
                  </a:lnTo>
                  <a:lnTo>
                    <a:pt x="194" y="128"/>
                  </a:lnTo>
                  <a:lnTo>
                    <a:pt x="198" y="124"/>
                  </a:lnTo>
                  <a:lnTo>
                    <a:pt x="204" y="120"/>
                  </a:lnTo>
                  <a:lnTo>
                    <a:pt x="204" y="120"/>
                  </a:lnTo>
                  <a:lnTo>
                    <a:pt x="212" y="112"/>
                  </a:lnTo>
                  <a:lnTo>
                    <a:pt x="218" y="108"/>
                  </a:lnTo>
                  <a:lnTo>
                    <a:pt x="224" y="108"/>
                  </a:lnTo>
                  <a:lnTo>
                    <a:pt x="226" y="104"/>
                  </a:lnTo>
                  <a:lnTo>
                    <a:pt x="226" y="104"/>
                  </a:lnTo>
                  <a:lnTo>
                    <a:pt x="230" y="102"/>
                  </a:lnTo>
                  <a:lnTo>
                    <a:pt x="232" y="102"/>
                  </a:lnTo>
                  <a:lnTo>
                    <a:pt x="234" y="102"/>
                  </a:lnTo>
                  <a:lnTo>
                    <a:pt x="238" y="98"/>
                  </a:lnTo>
                  <a:lnTo>
                    <a:pt x="238" y="98"/>
                  </a:lnTo>
                  <a:lnTo>
                    <a:pt x="228" y="92"/>
                  </a:lnTo>
                  <a:lnTo>
                    <a:pt x="226" y="88"/>
                  </a:lnTo>
                  <a:lnTo>
                    <a:pt x="228" y="84"/>
                  </a:lnTo>
                  <a:lnTo>
                    <a:pt x="232" y="74"/>
                  </a:lnTo>
                  <a:lnTo>
                    <a:pt x="232" y="74"/>
                  </a:lnTo>
                  <a:lnTo>
                    <a:pt x="236" y="70"/>
                  </a:lnTo>
                  <a:lnTo>
                    <a:pt x="236" y="64"/>
                  </a:lnTo>
                  <a:lnTo>
                    <a:pt x="236" y="60"/>
                  </a:lnTo>
                  <a:lnTo>
                    <a:pt x="234" y="58"/>
                  </a:lnTo>
                  <a:lnTo>
                    <a:pt x="230" y="56"/>
                  </a:lnTo>
                  <a:lnTo>
                    <a:pt x="228" y="56"/>
                  </a:lnTo>
                  <a:lnTo>
                    <a:pt x="222" y="58"/>
                  </a:lnTo>
                  <a:lnTo>
                    <a:pt x="222" y="58"/>
                  </a:lnTo>
                  <a:lnTo>
                    <a:pt x="218" y="60"/>
                  </a:lnTo>
                  <a:lnTo>
                    <a:pt x="216" y="58"/>
                  </a:lnTo>
                  <a:lnTo>
                    <a:pt x="210" y="56"/>
                  </a:lnTo>
                  <a:lnTo>
                    <a:pt x="204" y="54"/>
                  </a:lnTo>
                  <a:lnTo>
                    <a:pt x="202" y="56"/>
                  </a:lnTo>
                  <a:lnTo>
                    <a:pt x="196" y="58"/>
                  </a:lnTo>
                  <a:lnTo>
                    <a:pt x="196" y="58"/>
                  </a:lnTo>
                  <a:lnTo>
                    <a:pt x="188" y="60"/>
                  </a:lnTo>
                  <a:lnTo>
                    <a:pt x="184" y="60"/>
                  </a:lnTo>
                  <a:lnTo>
                    <a:pt x="178" y="58"/>
                  </a:lnTo>
                  <a:lnTo>
                    <a:pt x="174" y="58"/>
                  </a:lnTo>
                  <a:lnTo>
                    <a:pt x="174" y="58"/>
                  </a:lnTo>
                  <a:lnTo>
                    <a:pt x="170" y="46"/>
                  </a:lnTo>
                  <a:lnTo>
                    <a:pt x="168" y="40"/>
                  </a:lnTo>
                  <a:lnTo>
                    <a:pt x="164" y="38"/>
                  </a:lnTo>
                  <a:lnTo>
                    <a:pt x="162" y="34"/>
                  </a:lnTo>
                  <a:lnTo>
                    <a:pt x="162" y="34"/>
                  </a:lnTo>
                  <a:lnTo>
                    <a:pt x="160" y="30"/>
                  </a:lnTo>
                  <a:lnTo>
                    <a:pt x="160" y="28"/>
                  </a:lnTo>
                  <a:lnTo>
                    <a:pt x="154" y="26"/>
                  </a:lnTo>
                  <a:lnTo>
                    <a:pt x="150" y="24"/>
                  </a:lnTo>
                  <a:lnTo>
                    <a:pt x="148" y="20"/>
                  </a:lnTo>
                  <a:lnTo>
                    <a:pt x="146" y="16"/>
                  </a:lnTo>
                  <a:lnTo>
                    <a:pt x="146" y="16"/>
                  </a:lnTo>
                  <a:lnTo>
                    <a:pt x="144" y="8"/>
                  </a:lnTo>
                  <a:lnTo>
                    <a:pt x="138" y="2"/>
                  </a:lnTo>
                  <a:lnTo>
                    <a:pt x="132" y="0"/>
                  </a:lnTo>
                  <a:lnTo>
                    <a:pt x="126" y="0"/>
                  </a:lnTo>
                  <a:lnTo>
                    <a:pt x="126" y="0"/>
                  </a:lnTo>
                  <a:lnTo>
                    <a:pt x="128" y="16"/>
                  </a:lnTo>
                  <a:lnTo>
                    <a:pt x="128" y="24"/>
                  </a:lnTo>
                  <a:lnTo>
                    <a:pt x="122" y="32"/>
                  </a:lnTo>
                  <a:lnTo>
                    <a:pt x="122" y="32"/>
                  </a:lnTo>
                  <a:lnTo>
                    <a:pt x="114" y="42"/>
                  </a:lnTo>
                  <a:lnTo>
                    <a:pt x="108" y="52"/>
                  </a:lnTo>
                  <a:lnTo>
                    <a:pt x="98" y="60"/>
                  </a:lnTo>
                  <a:lnTo>
                    <a:pt x="84" y="68"/>
                  </a:lnTo>
                  <a:lnTo>
                    <a:pt x="84" y="68"/>
                  </a:lnTo>
                  <a:lnTo>
                    <a:pt x="74" y="72"/>
                  </a:lnTo>
                  <a:lnTo>
                    <a:pt x="72" y="74"/>
                  </a:lnTo>
                  <a:lnTo>
                    <a:pt x="70" y="76"/>
                  </a:lnTo>
                  <a:lnTo>
                    <a:pt x="66" y="80"/>
                  </a:lnTo>
                  <a:lnTo>
                    <a:pt x="66" y="80"/>
                  </a:lnTo>
                  <a:lnTo>
                    <a:pt x="60" y="84"/>
                  </a:lnTo>
                  <a:lnTo>
                    <a:pt x="60" y="88"/>
                  </a:lnTo>
                  <a:lnTo>
                    <a:pt x="60" y="92"/>
                  </a:lnTo>
                  <a:lnTo>
                    <a:pt x="58" y="96"/>
                  </a:lnTo>
                  <a:lnTo>
                    <a:pt x="54" y="100"/>
                  </a:lnTo>
                  <a:lnTo>
                    <a:pt x="54" y="100"/>
                  </a:lnTo>
                  <a:lnTo>
                    <a:pt x="50" y="104"/>
                  </a:lnTo>
                  <a:lnTo>
                    <a:pt x="46" y="106"/>
                  </a:lnTo>
                  <a:lnTo>
                    <a:pt x="42" y="104"/>
                  </a:lnTo>
                  <a:lnTo>
                    <a:pt x="38" y="102"/>
                  </a:lnTo>
                  <a:lnTo>
                    <a:pt x="32" y="98"/>
                  </a:lnTo>
                  <a:lnTo>
                    <a:pt x="30" y="98"/>
                  </a:lnTo>
                  <a:lnTo>
                    <a:pt x="28" y="98"/>
                  </a:lnTo>
                  <a:lnTo>
                    <a:pt x="28" y="98"/>
                  </a:lnTo>
                  <a:lnTo>
                    <a:pt x="20" y="100"/>
                  </a:lnTo>
                  <a:lnTo>
                    <a:pt x="18" y="98"/>
                  </a:lnTo>
                  <a:lnTo>
                    <a:pt x="16" y="94"/>
                  </a:lnTo>
                  <a:lnTo>
                    <a:pt x="18" y="86"/>
                  </a:lnTo>
                  <a:lnTo>
                    <a:pt x="18" y="86"/>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3" name="Philippines"/>
            <p:cNvSpPr>
              <a:spLocks/>
            </p:cNvSpPr>
            <p:nvPr/>
          </p:nvSpPr>
          <p:spPr bwMode="auto">
            <a:xfrm>
              <a:off x="7399038" y="2975240"/>
              <a:ext cx="269874" cy="449791"/>
            </a:xfrm>
            <a:custGeom>
              <a:avLst/>
              <a:gdLst/>
              <a:ahLst/>
              <a:cxnLst/>
              <a:rect l="l" t="t" r="r" b="b"/>
              <a:pathLst>
                <a:path w="269874" h="449791">
                  <a:moveTo>
                    <a:pt x="132292" y="410104"/>
                  </a:moveTo>
                  <a:lnTo>
                    <a:pt x="137584" y="410104"/>
                  </a:lnTo>
                  <a:lnTo>
                    <a:pt x="142875" y="412750"/>
                  </a:lnTo>
                  <a:lnTo>
                    <a:pt x="145521" y="415396"/>
                  </a:lnTo>
                  <a:lnTo>
                    <a:pt x="142875" y="418042"/>
                  </a:lnTo>
                  <a:lnTo>
                    <a:pt x="140230" y="420687"/>
                  </a:lnTo>
                  <a:lnTo>
                    <a:pt x="137584" y="423333"/>
                  </a:lnTo>
                  <a:lnTo>
                    <a:pt x="134938" y="423333"/>
                  </a:lnTo>
                  <a:lnTo>
                    <a:pt x="132292" y="420687"/>
                  </a:lnTo>
                  <a:lnTo>
                    <a:pt x="127000" y="415396"/>
                  </a:lnTo>
                  <a:lnTo>
                    <a:pt x="127000" y="412750"/>
                  </a:lnTo>
                  <a:lnTo>
                    <a:pt x="129646" y="412750"/>
                  </a:lnTo>
                  <a:close/>
                  <a:moveTo>
                    <a:pt x="232833" y="306916"/>
                  </a:moveTo>
                  <a:lnTo>
                    <a:pt x="240770" y="314854"/>
                  </a:lnTo>
                  <a:lnTo>
                    <a:pt x="246062" y="320145"/>
                  </a:lnTo>
                  <a:lnTo>
                    <a:pt x="248708" y="322791"/>
                  </a:lnTo>
                  <a:lnTo>
                    <a:pt x="251353" y="325437"/>
                  </a:lnTo>
                  <a:lnTo>
                    <a:pt x="248708" y="328083"/>
                  </a:lnTo>
                  <a:lnTo>
                    <a:pt x="251353" y="330729"/>
                  </a:lnTo>
                  <a:lnTo>
                    <a:pt x="253999" y="328083"/>
                  </a:lnTo>
                  <a:lnTo>
                    <a:pt x="253999" y="333374"/>
                  </a:lnTo>
                  <a:lnTo>
                    <a:pt x="251353" y="336020"/>
                  </a:lnTo>
                  <a:lnTo>
                    <a:pt x="253999" y="338666"/>
                  </a:lnTo>
                  <a:lnTo>
                    <a:pt x="256645" y="341312"/>
                  </a:lnTo>
                  <a:lnTo>
                    <a:pt x="259291" y="343958"/>
                  </a:lnTo>
                  <a:lnTo>
                    <a:pt x="259291" y="346604"/>
                  </a:lnTo>
                  <a:lnTo>
                    <a:pt x="256645" y="349249"/>
                  </a:lnTo>
                  <a:lnTo>
                    <a:pt x="253999" y="351895"/>
                  </a:lnTo>
                  <a:lnTo>
                    <a:pt x="253999" y="354541"/>
                  </a:lnTo>
                  <a:lnTo>
                    <a:pt x="256645" y="354541"/>
                  </a:lnTo>
                  <a:lnTo>
                    <a:pt x="259291" y="354541"/>
                  </a:lnTo>
                  <a:lnTo>
                    <a:pt x="261937" y="354541"/>
                  </a:lnTo>
                  <a:lnTo>
                    <a:pt x="261937" y="357187"/>
                  </a:lnTo>
                  <a:lnTo>
                    <a:pt x="261937" y="359833"/>
                  </a:lnTo>
                  <a:lnTo>
                    <a:pt x="264583" y="359833"/>
                  </a:lnTo>
                  <a:lnTo>
                    <a:pt x="264583" y="362479"/>
                  </a:lnTo>
                  <a:lnTo>
                    <a:pt x="264583" y="367770"/>
                  </a:lnTo>
                  <a:lnTo>
                    <a:pt x="261937" y="370416"/>
                  </a:lnTo>
                  <a:lnTo>
                    <a:pt x="264583" y="373062"/>
                  </a:lnTo>
                  <a:lnTo>
                    <a:pt x="267228" y="375708"/>
                  </a:lnTo>
                  <a:lnTo>
                    <a:pt x="269874" y="380999"/>
                  </a:lnTo>
                  <a:lnTo>
                    <a:pt x="267228" y="386291"/>
                  </a:lnTo>
                  <a:lnTo>
                    <a:pt x="267228" y="388937"/>
                  </a:lnTo>
                  <a:lnTo>
                    <a:pt x="264583" y="394229"/>
                  </a:lnTo>
                  <a:lnTo>
                    <a:pt x="261937" y="394229"/>
                  </a:lnTo>
                  <a:lnTo>
                    <a:pt x="259291" y="396874"/>
                  </a:lnTo>
                  <a:lnTo>
                    <a:pt x="261937" y="402166"/>
                  </a:lnTo>
                  <a:lnTo>
                    <a:pt x="261937" y="407458"/>
                  </a:lnTo>
                  <a:lnTo>
                    <a:pt x="261937" y="412749"/>
                  </a:lnTo>
                  <a:lnTo>
                    <a:pt x="261937" y="415395"/>
                  </a:lnTo>
                  <a:lnTo>
                    <a:pt x="259291" y="410104"/>
                  </a:lnTo>
                  <a:lnTo>
                    <a:pt x="256645" y="404812"/>
                  </a:lnTo>
                  <a:lnTo>
                    <a:pt x="256645" y="402166"/>
                  </a:lnTo>
                  <a:lnTo>
                    <a:pt x="256645" y="399520"/>
                  </a:lnTo>
                  <a:lnTo>
                    <a:pt x="253999" y="396874"/>
                  </a:lnTo>
                  <a:lnTo>
                    <a:pt x="251353" y="394229"/>
                  </a:lnTo>
                  <a:lnTo>
                    <a:pt x="251353" y="388937"/>
                  </a:lnTo>
                  <a:lnTo>
                    <a:pt x="248708" y="383645"/>
                  </a:lnTo>
                  <a:lnTo>
                    <a:pt x="248708" y="380999"/>
                  </a:lnTo>
                  <a:lnTo>
                    <a:pt x="246062" y="383645"/>
                  </a:lnTo>
                  <a:lnTo>
                    <a:pt x="246062" y="388937"/>
                  </a:lnTo>
                  <a:lnTo>
                    <a:pt x="246062" y="394229"/>
                  </a:lnTo>
                  <a:lnTo>
                    <a:pt x="243416" y="396874"/>
                  </a:lnTo>
                  <a:lnTo>
                    <a:pt x="240770" y="396874"/>
                  </a:lnTo>
                  <a:lnTo>
                    <a:pt x="240770" y="399520"/>
                  </a:lnTo>
                  <a:lnTo>
                    <a:pt x="240770" y="402166"/>
                  </a:lnTo>
                  <a:lnTo>
                    <a:pt x="240770" y="404812"/>
                  </a:lnTo>
                  <a:lnTo>
                    <a:pt x="238124" y="407458"/>
                  </a:lnTo>
                  <a:lnTo>
                    <a:pt x="240770" y="410104"/>
                  </a:lnTo>
                  <a:lnTo>
                    <a:pt x="240770" y="412749"/>
                  </a:lnTo>
                  <a:lnTo>
                    <a:pt x="243416" y="412749"/>
                  </a:lnTo>
                  <a:lnTo>
                    <a:pt x="246062" y="412749"/>
                  </a:lnTo>
                  <a:lnTo>
                    <a:pt x="248708" y="412749"/>
                  </a:lnTo>
                  <a:lnTo>
                    <a:pt x="251353" y="418041"/>
                  </a:lnTo>
                  <a:lnTo>
                    <a:pt x="253999" y="420687"/>
                  </a:lnTo>
                  <a:lnTo>
                    <a:pt x="253999" y="428624"/>
                  </a:lnTo>
                  <a:lnTo>
                    <a:pt x="253999" y="431270"/>
                  </a:lnTo>
                  <a:lnTo>
                    <a:pt x="253999" y="436562"/>
                  </a:lnTo>
                  <a:lnTo>
                    <a:pt x="246062" y="441854"/>
                  </a:lnTo>
                  <a:lnTo>
                    <a:pt x="246062" y="444499"/>
                  </a:lnTo>
                  <a:lnTo>
                    <a:pt x="246062" y="447145"/>
                  </a:lnTo>
                  <a:lnTo>
                    <a:pt x="243416" y="449791"/>
                  </a:lnTo>
                  <a:lnTo>
                    <a:pt x="238124" y="447145"/>
                  </a:lnTo>
                  <a:lnTo>
                    <a:pt x="235478" y="444499"/>
                  </a:lnTo>
                  <a:lnTo>
                    <a:pt x="232833" y="441854"/>
                  </a:lnTo>
                  <a:lnTo>
                    <a:pt x="235478" y="441854"/>
                  </a:lnTo>
                  <a:lnTo>
                    <a:pt x="235478" y="433916"/>
                  </a:lnTo>
                  <a:lnTo>
                    <a:pt x="235478" y="431270"/>
                  </a:lnTo>
                  <a:lnTo>
                    <a:pt x="232833" y="433916"/>
                  </a:lnTo>
                  <a:lnTo>
                    <a:pt x="232833" y="436562"/>
                  </a:lnTo>
                  <a:lnTo>
                    <a:pt x="230187" y="436562"/>
                  </a:lnTo>
                  <a:lnTo>
                    <a:pt x="224895" y="433916"/>
                  </a:lnTo>
                  <a:lnTo>
                    <a:pt x="216958" y="431270"/>
                  </a:lnTo>
                  <a:lnTo>
                    <a:pt x="209020" y="428624"/>
                  </a:lnTo>
                  <a:lnTo>
                    <a:pt x="201083" y="423333"/>
                  </a:lnTo>
                  <a:lnTo>
                    <a:pt x="195791" y="418041"/>
                  </a:lnTo>
                  <a:lnTo>
                    <a:pt x="193145" y="415395"/>
                  </a:lnTo>
                  <a:lnTo>
                    <a:pt x="193145" y="412749"/>
                  </a:lnTo>
                  <a:lnTo>
                    <a:pt x="195791" y="410104"/>
                  </a:lnTo>
                  <a:lnTo>
                    <a:pt x="193145" y="407458"/>
                  </a:lnTo>
                  <a:lnTo>
                    <a:pt x="190499" y="402166"/>
                  </a:lnTo>
                  <a:lnTo>
                    <a:pt x="190499" y="399520"/>
                  </a:lnTo>
                  <a:lnTo>
                    <a:pt x="190499" y="394229"/>
                  </a:lnTo>
                  <a:lnTo>
                    <a:pt x="190499" y="388937"/>
                  </a:lnTo>
                  <a:lnTo>
                    <a:pt x="193145" y="386291"/>
                  </a:lnTo>
                  <a:lnTo>
                    <a:pt x="195791" y="386291"/>
                  </a:lnTo>
                  <a:lnTo>
                    <a:pt x="198437" y="383645"/>
                  </a:lnTo>
                  <a:lnTo>
                    <a:pt x="198437" y="380999"/>
                  </a:lnTo>
                  <a:lnTo>
                    <a:pt x="201083" y="380999"/>
                  </a:lnTo>
                  <a:lnTo>
                    <a:pt x="201083" y="378354"/>
                  </a:lnTo>
                  <a:lnTo>
                    <a:pt x="198437" y="375708"/>
                  </a:lnTo>
                  <a:lnTo>
                    <a:pt x="190499" y="367770"/>
                  </a:lnTo>
                  <a:lnTo>
                    <a:pt x="185208" y="365124"/>
                  </a:lnTo>
                  <a:lnTo>
                    <a:pt x="182562" y="365124"/>
                  </a:lnTo>
                  <a:lnTo>
                    <a:pt x="182562" y="367770"/>
                  </a:lnTo>
                  <a:lnTo>
                    <a:pt x="185208" y="370416"/>
                  </a:lnTo>
                  <a:lnTo>
                    <a:pt x="182562" y="373062"/>
                  </a:lnTo>
                  <a:lnTo>
                    <a:pt x="182562" y="375708"/>
                  </a:lnTo>
                  <a:lnTo>
                    <a:pt x="185208" y="378354"/>
                  </a:lnTo>
                  <a:lnTo>
                    <a:pt x="182562" y="380999"/>
                  </a:lnTo>
                  <a:lnTo>
                    <a:pt x="179916" y="378354"/>
                  </a:lnTo>
                  <a:lnTo>
                    <a:pt x="177270" y="375708"/>
                  </a:lnTo>
                  <a:lnTo>
                    <a:pt x="174624" y="378354"/>
                  </a:lnTo>
                  <a:lnTo>
                    <a:pt x="174624" y="380999"/>
                  </a:lnTo>
                  <a:lnTo>
                    <a:pt x="171979" y="380999"/>
                  </a:lnTo>
                  <a:lnTo>
                    <a:pt x="169333" y="378354"/>
                  </a:lnTo>
                  <a:lnTo>
                    <a:pt x="166687" y="378354"/>
                  </a:lnTo>
                  <a:lnTo>
                    <a:pt x="164041" y="375708"/>
                  </a:lnTo>
                  <a:lnTo>
                    <a:pt x="161395" y="373062"/>
                  </a:lnTo>
                  <a:lnTo>
                    <a:pt x="161395" y="370416"/>
                  </a:lnTo>
                  <a:lnTo>
                    <a:pt x="161395" y="367770"/>
                  </a:lnTo>
                  <a:lnTo>
                    <a:pt x="158750" y="367770"/>
                  </a:lnTo>
                  <a:lnTo>
                    <a:pt x="156104" y="367770"/>
                  </a:lnTo>
                  <a:lnTo>
                    <a:pt x="153458" y="370416"/>
                  </a:lnTo>
                  <a:lnTo>
                    <a:pt x="150812" y="373062"/>
                  </a:lnTo>
                  <a:lnTo>
                    <a:pt x="150812" y="380999"/>
                  </a:lnTo>
                  <a:lnTo>
                    <a:pt x="150812" y="383645"/>
                  </a:lnTo>
                  <a:lnTo>
                    <a:pt x="150812" y="388937"/>
                  </a:lnTo>
                  <a:lnTo>
                    <a:pt x="148166" y="394229"/>
                  </a:lnTo>
                  <a:lnTo>
                    <a:pt x="145520" y="396874"/>
                  </a:lnTo>
                  <a:lnTo>
                    <a:pt x="142875" y="399520"/>
                  </a:lnTo>
                  <a:lnTo>
                    <a:pt x="134937" y="399520"/>
                  </a:lnTo>
                  <a:lnTo>
                    <a:pt x="132291" y="399520"/>
                  </a:lnTo>
                  <a:lnTo>
                    <a:pt x="132291" y="396874"/>
                  </a:lnTo>
                  <a:lnTo>
                    <a:pt x="132291" y="391583"/>
                  </a:lnTo>
                  <a:lnTo>
                    <a:pt x="132291" y="388937"/>
                  </a:lnTo>
                  <a:lnTo>
                    <a:pt x="137583" y="388937"/>
                  </a:lnTo>
                  <a:lnTo>
                    <a:pt x="137583" y="386291"/>
                  </a:lnTo>
                  <a:lnTo>
                    <a:pt x="134937" y="386291"/>
                  </a:lnTo>
                  <a:lnTo>
                    <a:pt x="134937" y="383645"/>
                  </a:lnTo>
                  <a:lnTo>
                    <a:pt x="137583" y="380999"/>
                  </a:lnTo>
                  <a:lnTo>
                    <a:pt x="137583" y="378354"/>
                  </a:lnTo>
                  <a:lnTo>
                    <a:pt x="140229" y="375708"/>
                  </a:lnTo>
                  <a:lnTo>
                    <a:pt x="137583" y="370416"/>
                  </a:lnTo>
                  <a:lnTo>
                    <a:pt x="137583" y="365124"/>
                  </a:lnTo>
                  <a:lnTo>
                    <a:pt x="140229" y="362479"/>
                  </a:lnTo>
                  <a:lnTo>
                    <a:pt x="145520" y="359833"/>
                  </a:lnTo>
                  <a:lnTo>
                    <a:pt x="150812" y="357187"/>
                  </a:lnTo>
                  <a:lnTo>
                    <a:pt x="158750" y="357187"/>
                  </a:lnTo>
                  <a:lnTo>
                    <a:pt x="161395" y="354541"/>
                  </a:lnTo>
                  <a:lnTo>
                    <a:pt x="158750" y="351895"/>
                  </a:lnTo>
                  <a:lnTo>
                    <a:pt x="158750" y="349249"/>
                  </a:lnTo>
                  <a:lnTo>
                    <a:pt x="161395" y="349249"/>
                  </a:lnTo>
                  <a:lnTo>
                    <a:pt x="161395" y="346604"/>
                  </a:lnTo>
                  <a:lnTo>
                    <a:pt x="158750" y="346604"/>
                  </a:lnTo>
                  <a:lnTo>
                    <a:pt x="161395" y="343958"/>
                  </a:lnTo>
                  <a:lnTo>
                    <a:pt x="164041" y="343958"/>
                  </a:lnTo>
                  <a:lnTo>
                    <a:pt x="164041" y="341312"/>
                  </a:lnTo>
                  <a:lnTo>
                    <a:pt x="169333" y="341312"/>
                  </a:lnTo>
                  <a:lnTo>
                    <a:pt x="171979" y="341312"/>
                  </a:lnTo>
                  <a:lnTo>
                    <a:pt x="174624" y="338666"/>
                  </a:lnTo>
                  <a:lnTo>
                    <a:pt x="177270" y="338666"/>
                  </a:lnTo>
                  <a:lnTo>
                    <a:pt x="177270" y="336020"/>
                  </a:lnTo>
                  <a:lnTo>
                    <a:pt x="182562" y="336020"/>
                  </a:lnTo>
                  <a:lnTo>
                    <a:pt x="185208" y="338666"/>
                  </a:lnTo>
                  <a:lnTo>
                    <a:pt x="187854" y="341312"/>
                  </a:lnTo>
                  <a:lnTo>
                    <a:pt x="187854" y="349249"/>
                  </a:lnTo>
                  <a:lnTo>
                    <a:pt x="187854" y="351895"/>
                  </a:lnTo>
                  <a:lnTo>
                    <a:pt x="185208" y="351895"/>
                  </a:lnTo>
                  <a:lnTo>
                    <a:pt x="182562" y="351895"/>
                  </a:lnTo>
                  <a:lnTo>
                    <a:pt x="182562" y="354541"/>
                  </a:lnTo>
                  <a:lnTo>
                    <a:pt x="185208" y="354541"/>
                  </a:lnTo>
                  <a:lnTo>
                    <a:pt x="190499" y="351895"/>
                  </a:lnTo>
                  <a:lnTo>
                    <a:pt x="195791" y="349249"/>
                  </a:lnTo>
                  <a:lnTo>
                    <a:pt x="195791" y="346604"/>
                  </a:lnTo>
                  <a:lnTo>
                    <a:pt x="195791" y="341312"/>
                  </a:lnTo>
                  <a:lnTo>
                    <a:pt x="198437" y="341312"/>
                  </a:lnTo>
                  <a:lnTo>
                    <a:pt x="201083" y="343958"/>
                  </a:lnTo>
                  <a:lnTo>
                    <a:pt x="206374" y="343958"/>
                  </a:lnTo>
                  <a:lnTo>
                    <a:pt x="206374" y="341312"/>
                  </a:lnTo>
                  <a:lnTo>
                    <a:pt x="209020" y="336020"/>
                  </a:lnTo>
                  <a:lnTo>
                    <a:pt x="211666" y="336020"/>
                  </a:lnTo>
                  <a:lnTo>
                    <a:pt x="214312" y="338666"/>
                  </a:lnTo>
                  <a:lnTo>
                    <a:pt x="216958" y="338666"/>
                  </a:lnTo>
                  <a:lnTo>
                    <a:pt x="219604" y="333374"/>
                  </a:lnTo>
                  <a:lnTo>
                    <a:pt x="219604" y="330729"/>
                  </a:lnTo>
                  <a:lnTo>
                    <a:pt x="222249" y="330729"/>
                  </a:lnTo>
                  <a:lnTo>
                    <a:pt x="224895" y="333374"/>
                  </a:lnTo>
                  <a:lnTo>
                    <a:pt x="227541" y="333374"/>
                  </a:lnTo>
                  <a:lnTo>
                    <a:pt x="230187" y="333374"/>
                  </a:lnTo>
                  <a:lnTo>
                    <a:pt x="230187" y="330729"/>
                  </a:lnTo>
                  <a:lnTo>
                    <a:pt x="230187" y="325437"/>
                  </a:lnTo>
                  <a:lnTo>
                    <a:pt x="230187" y="317499"/>
                  </a:lnTo>
                  <a:lnTo>
                    <a:pt x="230187" y="312208"/>
                  </a:lnTo>
                  <a:lnTo>
                    <a:pt x="232833" y="309562"/>
                  </a:lnTo>
                  <a:close/>
                  <a:moveTo>
                    <a:pt x="195791" y="298979"/>
                  </a:moveTo>
                  <a:lnTo>
                    <a:pt x="201083" y="301625"/>
                  </a:lnTo>
                  <a:lnTo>
                    <a:pt x="203728" y="301625"/>
                  </a:lnTo>
                  <a:lnTo>
                    <a:pt x="206374" y="304271"/>
                  </a:lnTo>
                  <a:lnTo>
                    <a:pt x="206374" y="306917"/>
                  </a:lnTo>
                  <a:lnTo>
                    <a:pt x="203728" y="309563"/>
                  </a:lnTo>
                  <a:lnTo>
                    <a:pt x="206374" y="312208"/>
                  </a:lnTo>
                  <a:lnTo>
                    <a:pt x="203728" y="312208"/>
                  </a:lnTo>
                  <a:lnTo>
                    <a:pt x="201083" y="314854"/>
                  </a:lnTo>
                  <a:lnTo>
                    <a:pt x="198437" y="317500"/>
                  </a:lnTo>
                  <a:lnTo>
                    <a:pt x="193145" y="317500"/>
                  </a:lnTo>
                  <a:lnTo>
                    <a:pt x="182562" y="317500"/>
                  </a:lnTo>
                  <a:lnTo>
                    <a:pt x="179916" y="317500"/>
                  </a:lnTo>
                  <a:lnTo>
                    <a:pt x="177270" y="317500"/>
                  </a:lnTo>
                  <a:lnTo>
                    <a:pt x="179916" y="314854"/>
                  </a:lnTo>
                  <a:lnTo>
                    <a:pt x="182562" y="314854"/>
                  </a:lnTo>
                  <a:lnTo>
                    <a:pt x="182562" y="312208"/>
                  </a:lnTo>
                  <a:lnTo>
                    <a:pt x="182562" y="309563"/>
                  </a:lnTo>
                  <a:lnTo>
                    <a:pt x="185208" y="306917"/>
                  </a:lnTo>
                  <a:lnTo>
                    <a:pt x="187854" y="306917"/>
                  </a:lnTo>
                  <a:lnTo>
                    <a:pt x="190499" y="301625"/>
                  </a:lnTo>
                  <a:close/>
                  <a:moveTo>
                    <a:pt x="156104" y="264583"/>
                  </a:moveTo>
                  <a:lnTo>
                    <a:pt x="158750" y="264583"/>
                  </a:lnTo>
                  <a:lnTo>
                    <a:pt x="164042" y="267229"/>
                  </a:lnTo>
                  <a:lnTo>
                    <a:pt x="166687" y="267229"/>
                  </a:lnTo>
                  <a:lnTo>
                    <a:pt x="169333" y="272520"/>
                  </a:lnTo>
                  <a:lnTo>
                    <a:pt x="169333" y="275166"/>
                  </a:lnTo>
                  <a:lnTo>
                    <a:pt x="169333" y="280458"/>
                  </a:lnTo>
                  <a:lnTo>
                    <a:pt x="164042" y="285750"/>
                  </a:lnTo>
                  <a:lnTo>
                    <a:pt x="164042" y="288395"/>
                  </a:lnTo>
                  <a:lnTo>
                    <a:pt x="164042" y="291041"/>
                  </a:lnTo>
                  <a:lnTo>
                    <a:pt x="161396" y="296333"/>
                  </a:lnTo>
                  <a:lnTo>
                    <a:pt x="156104" y="298979"/>
                  </a:lnTo>
                  <a:lnTo>
                    <a:pt x="156104" y="301625"/>
                  </a:lnTo>
                  <a:lnTo>
                    <a:pt x="158750" y="306917"/>
                  </a:lnTo>
                  <a:lnTo>
                    <a:pt x="158750" y="312208"/>
                  </a:lnTo>
                  <a:lnTo>
                    <a:pt x="158750" y="314854"/>
                  </a:lnTo>
                  <a:lnTo>
                    <a:pt x="161396" y="317500"/>
                  </a:lnTo>
                  <a:lnTo>
                    <a:pt x="164042" y="320146"/>
                  </a:lnTo>
                  <a:lnTo>
                    <a:pt x="164042" y="325438"/>
                  </a:lnTo>
                  <a:lnTo>
                    <a:pt x="161396" y="330729"/>
                  </a:lnTo>
                  <a:lnTo>
                    <a:pt x="158750" y="330729"/>
                  </a:lnTo>
                  <a:lnTo>
                    <a:pt x="156104" y="333375"/>
                  </a:lnTo>
                  <a:lnTo>
                    <a:pt x="153458" y="330729"/>
                  </a:lnTo>
                  <a:lnTo>
                    <a:pt x="150812" y="328083"/>
                  </a:lnTo>
                  <a:lnTo>
                    <a:pt x="148167" y="328083"/>
                  </a:lnTo>
                  <a:lnTo>
                    <a:pt x="142875" y="325438"/>
                  </a:lnTo>
                  <a:lnTo>
                    <a:pt x="137583" y="322792"/>
                  </a:lnTo>
                  <a:lnTo>
                    <a:pt x="137583" y="317500"/>
                  </a:lnTo>
                  <a:lnTo>
                    <a:pt x="137583" y="312208"/>
                  </a:lnTo>
                  <a:lnTo>
                    <a:pt x="137583" y="309563"/>
                  </a:lnTo>
                  <a:lnTo>
                    <a:pt x="140229" y="309563"/>
                  </a:lnTo>
                  <a:lnTo>
                    <a:pt x="145521" y="309563"/>
                  </a:lnTo>
                  <a:lnTo>
                    <a:pt x="145521" y="306917"/>
                  </a:lnTo>
                  <a:lnTo>
                    <a:pt x="145521" y="301625"/>
                  </a:lnTo>
                  <a:lnTo>
                    <a:pt x="145521" y="296333"/>
                  </a:lnTo>
                  <a:lnTo>
                    <a:pt x="145521" y="293687"/>
                  </a:lnTo>
                  <a:lnTo>
                    <a:pt x="148167" y="291041"/>
                  </a:lnTo>
                  <a:lnTo>
                    <a:pt x="145521" y="285750"/>
                  </a:lnTo>
                  <a:lnTo>
                    <a:pt x="148167" y="283104"/>
                  </a:lnTo>
                  <a:lnTo>
                    <a:pt x="150812" y="280458"/>
                  </a:lnTo>
                  <a:lnTo>
                    <a:pt x="150812" y="272520"/>
                  </a:lnTo>
                  <a:lnTo>
                    <a:pt x="150812" y="269875"/>
                  </a:lnTo>
                  <a:lnTo>
                    <a:pt x="150812" y="267229"/>
                  </a:lnTo>
                  <a:close/>
                  <a:moveTo>
                    <a:pt x="182562" y="261937"/>
                  </a:moveTo>
                  <a:lnTo>
                    <a:pt x="182562" y="264583"/>
                  </a:lnTo>
                  <a:lnTo>
                    <a:pt x="185208" y="267229"/>
                  </a:lnTo>
                  <a:lnTo>
                    <a:pt x="185208" y="269874"/>
                  </a:lnTo>
                  <a:lnTo>
                    <a:pt x="185208" y="272520"/>
                  </a:lnTo>
                  <a:lnTo>
                    <a:pt x="185208" y="280458"/>
                  </a:lnTo>
                  <a:lnTo>
                    <a:pt x="185208" y="283104"/>
                  </a:lnTo>
                  <a:lnTo>
                    <a:pt x="179916" y="285750"/>
                  </a:lnTo>
                  <a:lnTo>
                    <a:pt x="177271" y="288395"/>
                  </a:lnTo>
                  <a:lnTo>
                    <a:pt x="177271" y="291041"/>
                  </a:lnTo>
                  <a:lnTo>
                    <a:pt x="174625" y="293687"/>
                  </a:lnTo>
                  <a:lnTo>
                    <a:pt x="174625" y="296333"/>
                  </a:lnTo>
                  <a:lnTo>
                    <a:pt x="174625" y="298979"/>
                  </a:lnTo>
                  <a:lnTo>
                    <a:pt x="171979" y="312208"/>
                  </a:lnTo>
                  <a:lnTo>
                    <a:pt x="166687" y="317500"/>
                  </a:lnTo>
                  <a:lnTo>
                    <a:pt x="164041" y="317500"/>
                  </a:lnTo>
                  <a:lnTo>
                    <a:pt x="164041" y="306917"/>
                  </a:lnTo>
                  <a:lnTo>
                    <a:pt x="166687" y="296333"/>
                  </a:lnTo>
                  <a:lnTo>
                    <a:pt x="169333" y="291041"/>
                  </a:lnTo>
                  <a:lnTo>
                    <a:pt x="171979" y="285750"/>
                  </a:lnTo>
                  <a:lnTo>
                    <a:pt x="177271" y="272520"/>
                  </a:lnTo>
                  <a:lnTo>
                    <a:pt x="179916" y="264583"/>
                  </a:lnTo>
                  <a:close/>
                  <a:moveTo>
                    <a:pt x="52917" y="254000"/>
                  </a:moveTo>
                  <a:lnTo>
                    <a:pt x="55562" y="254000"/>
                  </a:lnTo>
                  <a:lnTo>
                    <a:pt x="58208" y="256646"/>
                  </a:lnTo>
                  <a:lnTo>
                    <a:pt x="60854" y="261937"/>
                  </a:lnTo>
                  <a:lnTo>
                    <a:pt x="58208" y="264583"/>
                  </a:lnTo>
                  <a:lnTo>
                    <a:pt x="58208" y="267229"/>
                  </a:lnTo>
                  <a:lnTo>
                    <a:pt x="58208" y="269875"/>
                  </a:lnTo>
                  <a:lnTo>
                    <a:pt x="60854" y="269875"/>
                  </a:lnTo>
                  <a:lnTo>
                    <a:pt x="60854" y="272521"/>
                  </a:lnTo>
                  <a:lnTo>
                    <a:pt x="63500" y="275167"/>
                  </a:lnTo>
                  <a:lnTo>
                    <a:pt x="66146" y="275167"/>
                  </a:lnTo>
                  <a:lnTo>
                    <a:pt x="66146" y="277812"/>
                  </a:lnTo>
                  <a:lnTo>
                    <a:pt x="63500" y="280458"/>
                  </a:lnTo>
                  <a:lnTo>
                    <a:pt x="60854" y="280458"/>
                  </a:lnTo>
                  <a:lnTo>
                    <a:pt x="60854" y="285750"/>
                  </a:lnTo>
                  <a:lnTo>
                    <a:pt x="60854" y="288396"/>
                  </a:lnTo>
                  <a:lnTo>
                    <a:pt x="58208" y="291041"/>
                  </a:lnTo>
                  <a:lnTo>
                    <a:pt x="47625" y="296333"/>
                  </a:lnTo>
                  <a:lnTo>
                    <a:pt x="39687" y="301625"/>
                  </a:lnTo>
                  <a:lnTo>
                    <a:pt x="39687" y="304271"/>
                  </a:lnTo>
                  <a:lnTo>
                    <a:pt x="42333" y="306917"/>
                  </a:lnTo>
                  <a:lnTo>
                    <a:pt x="42333" y="312208"/>
                  </a:lnTo>
                  <a:lnTo>
                    <a:pt x="37042" y="314854"/>
                  </a:lnTo>
                  <a:lnTo>
                    <a:pt x="37042" y="320146"/>
                  </a:lnTo>
                  <a:lnTo>
                    <a:pt x="34396" y="322792"/>
                  </a:lnTo>
                  <a:lnTo>
                    <a:pt x="31750" y="322792"/>
                  </a:lnTo>
                  <a:lnTo>
                    <a:pt x="26458" y="325438"/>
                  </a:lnTo>
                  <a:lnTo>
                    <a:pt x="23812" y="325438"/>
                  </a:lnTo>
                  <a:lnTo>
                    <a:pt x="23812" y="328083"/>
                  </a:lnTo>
                  <a:lnTo>
                    <a:pt x="23812" y="333375"/>
                  </a:lnTo>
                  <a:lnTo>
                    <a:pt x="21166" y="336021"/>
                  </a:lnTo>
                  <a:lnTo>
                    <a:pt x="15875" y="341312"/>
                  </a:lnTo>
                  <a:lnTo>
                    <a:pt x="10583" y="343958"/>
                  </a:lnTo>
                  <a:lnTo>
                    <a:pt x="7937" y="346604"/>
                  </a:lnTo>
                  <a:lnTo>
                    <a:pt x="5291" y="346604"/>
                  </a:lnTo>
                  <a:lnTo>
                    <a:pt x="2646" y="346604"/>
                  </a:lnTo>
                  <a:lnTo>
                    <a:pt x="0" y="343958"/>
                  </a:lnTo>
                  <a:lnTo>
                    <a:pt x="2646" y="341312"/>
                  </a:lnTo>
                  <a:lnTo>
                    <a:pt x="2646" y="336021"/>
                  </a:lnTo>
                  <a:lnTo>
                    <a:pt x="5291" y="333375"/>
                  </a:lnTo>
                  <a:lnTo>
                    <a:pt x="7937" y="330729"/>
                  </a:lnTo>
                  <a:lnTo>
                    <a:pt x="10583" y="325438"/>
                  </a:lnTo>
                  <a:lnTo>
                    <a:pt x="13229" y="322792"/>
                  </a:lnTo>
                  <a:lnTo>
                    <a:pt x="15875" y="320146"/>
                  </a:lnTo>
                  <a:lnTo>
                    <a:pt x="18521" y="317500"/>
                  </a:lnTo>
                  <a:lnTo>
                    <a:pt x="21166" y="314854"/>
                  </a:lnTo>
                  <a:lnTo>
                    <a:pt x="23812" y="309563"/>
                  </a:lnTo>
                  <a:lnTo>
                    <a:pt x="26458" y="304271"/>
                  </a:lnTo>
                  <a:lnTo>
                    <a:pt x="29104" y="301625"/>
                  </a:lnTo>
                  <a:lnTo>
                    <a:pt x="29104" y="296333"/>
                  </a:lnTo>
                  <a:lnTo>
                    <a:pt x="31750" y="293687"/>
                  </a:lnTo>
                  <a:lnTo>
                    <a:pt x="34396" y="293687"/>
                  </a:lnTo>
                  <a:lnTo>
                    <a:pt x="37042" y="291041"/>
                  </a:lnTo>
                  <a:lnTo>
                    <a:pt x="37042" y="288396"/>
                  </a:lnTo>
                  <a:lnTo>
                    <a:pt x="39687" y="283104"/>
                  </a:lnTo>
                  <a:lnTo>
                    <a:pt x="42333" y="280458"/>
                  </a:lnTo>
                  <a:lnTo>
                    <a:pt x="44979" y="280458"/>
                  </a:lnTo>
                  <a:lnTo>
                    <a:pt x="50271" y="275167"/>
                  </a:lnTo>
                  <a:lnTo>
                    <a:pt x="50271" y="272521"/>
                  </a:lnTo>
                  <a:lnTo>
                    <a:pt x="47625" y="269875"/>
                  </a:lnTo>
                  <a:lnTo>
                    <a:pt x="50271" y="267229"/>
                  </a:lnTo>
                  <a:lnTo>
                    <a:pt x="50271" y="264583"/>
                  </a:lnTo>
                  <a:lnTo>
                    <a:pt x="52917" y="259292"/>
                  </a:lnTo>
                  <a:close/>
                  <a:moveTo>
                    <a:pt x="185208" y="246062"/>
                  </a:moveTo>
                  <a:lnTo>
                    <a:pt x="187854" y="246062"/>
                  </a:lnTo>
                  <a:lnTo>
                    <a:pt x="190500" y="248708"/>
                  </a:lnTo>
                  <a:lnTo>
                    <a:pt x="198438" y="253999"/>
                  </a:lnTo>
                  <a:lnTo>
                    <a:pt x="198438" y="251354"/>
                  </a:lnTo>
                  <a:lnTo>
                    <a:pt x="201083" y="251354"/>
                  </a:lnTo>
                  <a:lnTo>
                    <a:pt x="201083" y="248708"/>
                  </a:lnTo>
                  <a:lnTo>
                    <a:pt x="203729" y="251354"/>
                  </a:lnTo>
                  <a:lnTo>
                    <a:pt x="206375" y="256645"/>
                  </a:lnTo>
                  <a:lnTo>
                    <a:pt x="206375" y="264583"/>
                  </a:lnTo>
                  <a:lnTo>
                    <a:pt x="206375" y="267229"/>
                  </a:lnTo>
                  <a:lnTo>
                    <a:pt x="211667" y="267229"/>
                  </a:lnTo>
                  <a:lnTo>
                    <a:pt x="214313" y="269874"/>
                  </a:lnTo>
                  <a:lnTo>
                    <a:pt x="216959" y="272520"/>
                  </a:lnTo>
                  <a:lnTo>
                    <a:pt x="216959" y="275166"/>
                  </a:lnTo>
                  <a:lnTo>
                    <a:pt x="219604" y="277812"/>
                  </a:lnTo>
                  <a:lnTo>
                    <a:pt x="222250" y="280458"/>
                  </a:lnTo>
                  <a:lnTo>
                    <a:pt x="222250" y="283104"/>
                  </a:lnTo>
                  <a:lnTo>
                    <a:pt x="219604" y="283104"/>
                  </a:lnTo>
                  <a:lnTo>
                    <a:pt x="222250" y="285750"/>
                  </a:lnTo>
                  <a:lnTo>
                    <a:pt x="222250" y="288395"/>
                  </a:lnTo>
                  <a:lnTo>
                    <a:pt x="219604" y="285750"/>
                  </a:lnTo>
                  <a:lnTo>
                    <a:pt x="216959" y="283104"/>
                  </a:lnTo>
                  <a:lnTo>
                    <a:pt x="211667" y="280458"/>
                  </a:lnTo>
                  <a:lnTo>
                    <a:pt x="211667" y="283104"/>
                  </a:lnTo>
                  <a:lnTo>
                    <a:pt x="211667" y="285750"/>
                  </a:lnTo>
                  <a:lnTo>
                    <a:pt x="214313" y="296333"/>
                  </a:lnTo>
                  <a:lnTo>
                    <a:pt x="211667" y="293687"/>
                  </a:lnTo>
                  <a:lnTo>
                    <a:pt x="206375" y="291041"/>
                  </a:lnTo>
                  <a:lnTo>
                    <a:pt x="203729" y="291041"/>
                  </a:lnTo>
                  <a:lnTo>
                    <a:pt x="203729" y="285750"/>
                  </a:lnTo>
                  <a:lnTo>
                    <a:pt x="203729" y="283104"/>
                  </a:lnTo>
                  <a:lnTo>
                    <a:pt x="201083" y="283104"/>
                  </a:lnTo>
                  <a:lnTo>
                    <a:pt x="201083" y="280458"/>
                  </a:lnTo>
                  <a:lnTo>
                    <a:pt x="201083" y="277812"/>
                  </a:lnTo>
                  <a:lnTo>
                    <a:pt x="203729" y="275166"/>
                  </a:lnTo>
                  <a:lnTo>
                    <a:pt x="203729" y="269874"/>
                  </a:lnTo>
                  <a:lnTo>
                    <a:pt x="201083" y="264583"/>
                  </a:lnTo>
                  <a:lnTo>
                    <a:pt x="195792" y="261937"/>
                  </a:lnTo>
                  <a:lnTo>
                    <a:pt x="195792" y="264583"/>
                  </a:lnTo>
                  <a:lnTo>
                    <a:pt x="195792" y="267229"/>
                  </a:lnTo>
                  <a:lnTo>
                    <a:pt x="193146" y="264583"/>
                  </a:lnTo>
                  <a:lnTo>
                    <a:pt x="190500" y="264583"/>
                  </a:lnTo>
                  <a:lnTo>
                    <a:pt x="190500" y="261937"/>
                  </a:lnTo>
                  <a:lnTo>
                    <a:pt x="190500" y="259291"/>
                  </a:lnTo>
                  <a:lnTo>
                    <a:pt x="187854" y="253999"/>
                  </a:lnTo>
                  <a:lnTo>
                    <a:pt x="185208" y="251354"/>
                  </a:lnTo>
                  <a:close/>
                  <a:moveTo>
                    <a:pt x="116416" y="232833"/>
                  </a:moveTo>
                  <a:lnTo>
                    <a:pt x="119061" y="232833"/>
                  </a:lnTo>
                  <a:lnTo>
                    <a:pt x="121707" y="232833"/>
                  </a:lnTo>
                  <a:lnTo>
                    <a:pt x="126999" y="232833"/>
                  </a:lnTo>
                  <a:lnTo>
                    <a:pt x="132291" y="235479"/>
                  </a:lnTo>
                  <a:lnTo>
                    <a:pt x="134937" y="238125"/>
                  </a:lnTo>
                  <a:lnTo>
                    <a:pt x="137583" y="240770"/>
                  </a:lnTo>
                  <a:lnTo>
                    <a:pt x="140229" y="240770"/>
                  </a:lnTo>
                  <a:lnTo>
                    <a:pt x="145520" y="238125"/>
                  </a:lnTo>
                  <a:lnTo>
                    <a:pt x="148166" y="238125"/>
                  </a:lnTo>
                  <a:lnTo>
                    <a:pt x="148166" y="240770"/>
                  </a:lnTo>
                  <a:lnTo>
                    <a:pt x="148166" y="243416"/>
                  </a:lnTo>
                  <a:lnTo>
                    <a:pt x="158749" y="240770"/>
                  </a:lnTo>
                  <a:lnTo>
                    <a:pt x="161395" y="240770"/>
                  </a:lnTo>
                  <a:lnTo>
                    <a:pt x="158749" y="243416"/>
                  </a:lnTo>
                  <a:lnTo>
                    <a:pt x="158749" y="246062"/>
                  </a:lnTo>
                  <a:lnTo>
                    <a:pt x="158749" y="248708"/>
                  </a:lnTo>
                  <a:lnTo>
                    <a:pt x="156104" y="251354"/>
                  </a:lnTo>
                  <a:lnTo>
                    <a:pt x="153458" y="254000"/>
                  </a:lnTo>
                  <a:lnTo>
                    <a:pt x="153458" y="256645"/>
                  </a:lnTo>
                  <a:lnTo>
                    <a:pt x="150812" y="259291"/>
                  </a:lnTo>
                  <a:lnTo>
                    <a:pt x="145520" y="259291"/>
                  </a:lnTo>
                  <a:lnTo>
                    <a:pt x="145520" y="261937"/>
                  </a:lnTo>
                  <a:lnTo>
                    <a:pt x="145520" y="264583"/>
                  </a:lnTo>
                  <a:lnTo>
                    <a:pt x="145520" y="267229"/>
                  </a:lnTo>
                  <a:lnTo>
                    <a:pt x="142874" y="269875"/>
                  </a:lnTo>
                  <a:lnTo>
                    <a:pt x="134937" y="269875"/>
                  </a:lnTo>
                  <a:lnTo>
                    <a:pt x="132291" y="269875"/>
                  </a:lnTo>
                  <a:lnTo>
                    <a:pt x="132291" y="272521"/>
                  </a:lnTo>
                  <a:lnTo>
                    <a:pt x="132291" y="280458"/>
                  </a:lnTo>
                  <a:lnTo>
                    <a:pt x="132291" y="283104"/>
                  </a:lnTo>
                  <a:lnTo>
                    <a:pt x="129645" y="283104"/>
                  </a:lnTo>
                  <a:lnTo>
                    <a:pt x="124353" y="283104"/>
                  </a:lnTo>
                  <a:lnTo>
                    <a:pt x="124353" y="280458"/>
                  </a:lnTo>
                  <a:lnTo>
                    <a:pt x="124353" y="277812"/>
                  </a:lnTo>
                  <a:lnTo>
                    <a:pt x="126999" y="272521"/>
                  </a:lnTo>
                  <a:lnTo>
                    <a:pt x="124353" y="269875"/>
                  </a:lnTo>
                  <a:lnTo>
                    <a:pt x="124353" y="267229"/>
                  </a:lnTo>
                  <a:lnTo>
                    <a:pt x="124353" y="264583"/>
                  </a:lnTo>
                  <a:lnTo>
                    <a:pt x="124353" y="259291"/>
                  </a:lnTo>
                  <a:lnTo>
                    <a:pt x="124353" y="256645"/>
                  </a:lnTo>
                  <a:lnTo>
                    <a:pt x="124353" y="254000"/>
                  </a:lnTo>
                  <a:lnTo>
                    <a:pt x="124353" y="248708"/>
                  </a:lnTo>
                  <a:lnTo>
                    <a:pt x="124353" y="246062"/>
                  </a:lnTo>
                  <a:lnTo>
                    <a:pt x="124353" y="240770"/>
                  </a:lnTo>
                  <a:lnTo>
                    <a:pt x="126999" y="238125"/>
                  </a:lnTo>
                  <a:lnTo>
                    <a:pt x="124353" y="238125"/>
                  </a:lnTo>
                  <a:lnTo>
                    <a:pt x="119061" y="238125"/>
                  </a:lnTo>
                  <a:lnTo>
                    <a:pt x="113770" y="238125"/>
                  </a:lnTo>
                  <a:lnTo>
                    <a:pt x="116416" y="235479"/>
                  </a:lnTo>
                  <a:close/>
                  <a:moveTo>
                    <a:pt x="148166" y="206375"/>
                  </a:moveTo>
                  <a:lnTo>
                    <a:pt x="150812" y="206375"/>
                  </a:lnTo>
                  <a:lnTo>
                    <a:pt x="156104" y="211667"/>
                  </a:lnTo>
                  <a:lnTo>
                    <a:pt x="158750" y="214312"/>
                  </a:lnTo>
                  <a:lnTo>
                    <a:pt x="164041" y="216958"/>
                  </a:lnTo>
                  <a:lnTo>
                    <a:pt x="166687" y="219604"/>
                  </a:lnTo>
                  <a:lnTo>
                    <a:pt x="171979" y="219604"/>
                  </a:lnTo>
                  <a:lnTo>
                    <a:pt x="174625" y="222250"/>
                  </a:lnTo>
                  <a:lnTo>
                    <a:pt x="177271" y="224896"/>
                  </a:lnTo>
                  <a:lnTo>
                    <a:pt x="182562" y="238125"/>
                  </a:lnTo>
                  <a:lnTo>
                    <a:pt x="182562" y="243417"/>
                  </a:lnTo>
                  <a:lnTo>
                    <a:pt x="179916" y="240771"/>
                  </a:lnTo>
                  <a:lnTo>
                    <a:pt x="174625" y="238125"/>
                  </a:lnTo>
                  <a:lnTo>
                    <a:pt x="169333" y="235479"/>
                  </a:lnTo>
                  <a:lnTo>
                    <a:pt x="166687" y="232833"/>
                  </a:lnTo>
                  <a:lnTo>
                    <a:pt x="164041" y="232833"/>
                  </a:lnTo>
                  <a:lnTo>
                    <a:pt x="161395" y="230188"/>
                  </a:lnTo>
                  <a:lnTo>
                    <a:pt x="161395" y="227542"/>
                  </a:lnTo>
                  <a:lnTo>
                    <a:pt x="158750" y="227542"/>
                  </a:lnTo>
                  <a:lnTo>
                    <a:pt x="156104" y="230188"/>
                  </a:lnTo>
                  <a:lnTo>
                    <a:pt x="153458" y="235479"/>
                  </a:lnTo>
                  <a:lnTo>
                    <a:pt x="153458" y="238125"/>
                  </a:lnTo>
                  <a:lnTo>
                    <a:pt x="150812" y="235479"/>
                  </a:lnTo>
                  <a:lnTo>
                    <a:pt x="150812" y="230188"/>
                  </a:lnTo>
                  <a:lnTo>
                    <a:pt x="150812" y="227542"/>
                  </a:lnTo>
                  <a:lnTo>
                    <a:pt x="153458" y="224896"/>
                  </a:lnTo>
                  <a:lnTo>
                    <a:pt x="150812" y="224896"/>
                  </a:lnTo>
                  <a:lnTo>
                    <a:pt x="148166" y="224896"/>
                  </a:lnTo>
                  <a:lnTo>
                    <a:pt x="150812" y="219604"/>
                  </a:lnTo>
                  <a:lnTo>
                    <a:pt x="148166" y="209021"/>
                  </a:lnTo>
                  <a:close/>
                  <a:moveTo>
                    <a:pt x="195791" y="203729"/>
                  </a:moveTo>
                  <a:lnTo>
                    <a:pt x="198437" y="203729"/>
                  </a:lnTo>
                  <a:lnTo>
                    <a:pt x="201083" y="203729"/>
                  </a:lnTo>
                  <a:lnTo>
                    <a:pt x="206374" y="203729"/>
                  </a:lnTo>
                  <a:lnTo>
                    <a:pt x="206374" y="206375"/>
                  </a:lnTo>
                  <a:lnTo>
                    <a:pt x="206374" y="209021"/>
                  </a:lnTo>
                  <a:lnTo>
                    <a:pt x="209020" y="209021"/>
                  </a:lnTo>
                  <a:lnTo>
                    <a:pt x="214312" y="209021"/>
                  </a:lnTo>
                  <a:lnTo>
                    <a:pt x="214312" y="211666"/>
                  </a:lnTo>
                  <a:lnTo>
                    <a:pt x="211666" y="211666"/>
                  </a:lnTo>
                  <a:lnTo>
                    <a:pt x="211666" y="214312"/>
                  </a:lnTo>
                  <a:lnTo>
                    <a:pt x="214312" y="214312"/>
                  </a:lnTo>
                  <a:lnTo>
                    <a:pt x="211666" y="219604"/>
                  </a:lnTo>
                  <a:lnTo>
                    <a:pt x="211666" y="222250"/>
                  </a:lnTo>
                  <a:lnTo>
                    <a:pt x="211666" y="224895"/>
                  </a:lnTo>
                  <a:lnTo>
                    <a:pt x="216958" y="230187"/>
                  </a:lnTo>
                  <a:lnTo>
                    <a:pt x="219603" y="230187"/>
                  </a:lnTo>
                  <a:lnTo>
                    <a:pt x="219603" y="232833"/>
                  </a:lnTo>
                  <a:lnTo>
                    <a:pt x="219603" y="235479"/>
                  </a:lnTo>
                  <a:lnTo>
                    <a:pt x="222249" y="238125"/>
                  </a:lnTo>
                  <a:lnTo>
                    <a:pt x="224895" y="238125"/>
                  </a:lnTo>
                  <a:lnTo>
                    <a:pt x="224895" y="240770"/>
                  </a:lnTo>
                  <a:lnTo>
                    <a:pt x="230187" y="243416"/>
                  </a:lnTo>
                  <a:lnTo>
                    <a:pt x="232832" y="246062"/>
                  </a:lnTo>
                  <a:lnTo>
                    <a:pt x="235478" y="248708"/>
                  </a:lnTo>
                  <a:lnTo>
                    <a:pt x="232832" y="248708"/>
                  </a:lnTo>
                  <a:lnTo>
                    <a:pt x="230187" y="253999"/>
                  </a:lnTo>
                  <a:lnTo>
                    <a:pt x="230187" y="256645"/>
                  </a:lnTo>
                  <a:lnTo>
                    <a:pt x="230187" y="259291"/>
                  </a:lnTo>
                  <a:lnTo>
                    <a:pt x="227541" y="259291"/>
                  </a:lnTo>
                  <a:lnTo>
                    <a:pt x="224895" y="259291"/>
                  </a:lnTo>
                  <a:lnTo>
                    <a:pt x="222249" y="259291"/>
                  </a:lnTo>
                  <a:lnTo>
                    <a:pt x="219603" y="259291"/>
                  </a:lnTo>
                  <a:lnTo>
                    <a:pt x="216958" y="253999"/>
                  </a:lnTo>
                  <a:lnTo>
                    <a:pt x="216958" y="251354"/>
                  </a:lnTo>
                  <a:lnTo>
                    <a:pt x="214312" y="251354"/>
                  </a:lnTo>
                  <a:lnTo>
                    <a:pt x="209020" y="251354"/>
                  </a:lnTo>
                  <a:lnTo>
                    <a:pt x="206374" y="251354"/>
                  </a:lnTo>
                  <a:lnTo>
                    <a:pt x="206374" y="248708"/>
                  </a:lnTo>
                  <a:lnTo>
                    <a:pt x="203728" y="246062"/>
                  </a:lnTo>
                  <a:lnTo>
                    <a:pt x="198437" y="246062"/>
                  </a:lnTo>
                  <a:lnTo>
                    <a:pt x="198437" y="243416"/>
                  </a:lnTo>
                  <a:lnTo>
                    <a:pt x="203728" y="238125"/>
                  </a:lnTo>
                  <a:lnTo>
                    <a:pt x="203728" y="235479"/>
                  </a:lnTo>
                  <a:lnTo>
                    <a:pt x="203728" y="232833"/>
                  </a:lnTo>
                  <a:lnTo>
                    <a:pt x="201083" y="232833"/>
                  </a:lnTo>
                  <a:lnTo>
                    <a:pt x="198437" y="232833"/>
                  </a:lnTo>
                  <a:lnTo>
                    <a:pt x="193145" y="224895"/>
                  </a:lnTo>
                  <a:lnTo>
                    <a:pt x="190499" y="224895"/>
                  </a:lnTo>
                  <a:lnTo>
                    <a:pt x="187854" y="222250"/>
                  </a:lnTo>
                  <a:lnTo>
                    <a:pt x="182562" y="216958"/>
                  </a:lnTo>
                  <a:lnTo>
                    <a:pt x="179916" y="211666"/>
                  </a:lnTo>
                  <a:lnTo>
                    <a:pt x="177270" y="209021"/>
                  </a:lnTo>
                  <a:lnTo>
                    <a:pt x="177270" y="206375"/>
                  </a:lnTo>
                  <a:lnTo>
                    <a:pt x="179916" y="206375"/>
                  </a:lnTo>
                  <a:lnTo>
                    <a:pt x="182562" y="206375"/>
                  </a:lnTo>
                  <a:lnTo>
                    <a:pt x="187854" y="206375"/>
                  </a:lnTo>
                  <a:lnTo>
                    <a:pt x="193145" y="206375"/>
                  </a:lnTo>
                  <a:close/>
                  <a:moveTo>
                    <a:pt x="60854" y="179916"/>
                  </a:moveTo>
                  <a:lnTo>
                    <a:pt x="63500" y="179916"/>
                  </a:lnTo>
                  <a:lnTo>
                    <a:pt x="66145" y="179916"/>
                  </a:lnTo>
                  <a:lnTo>
                    <a:pt x="68791" y="179916"/>
                  </a:lnTo>
                  <a:lnTo>
                    <a:pt x="74083" y="179916"/>
                  </a:lnTo>
                  <a:lnTo>
                    <a:pt x="76729" y="179916"/>
                  </a:lnTo>
                  <a:lnTo>
                    <a:pt x="79375" y="182562"/>
                  </a:lnTo>
                  <a:lnTo>
                    <a:pt x="84666" y="182562"/>
                  </a:lnTo>
                  <a:lnTo>
                    <a:pt x="87312" y="182562"/>
                  </a:lnTo>
                  <a:lnTo>
                    <a:pt x="92604" y="185208"/>
                  </a:lnTo>
                  <a:lnTo>
                    <a:pt x="97895" y="187853"/>
                  </a:lnTo>
                  <a:lnTo>
                    <a:pt x="100541" y="187853"/>
                  </a:lnTo>
                  <a:lnTo>
                    <a:pt x="100541" y="190499"/>
                  </a:lnTo>
                  <a:lnTo>
                    <a:pt x="103187" y="193145"/>
                  </a:lnTo>
                  <a:lnTo>
                    <a:pt x="103187" y="195791"/>
                  </a:lnTo>
                  <a:lnTo>
                    <a:pt x="103187" y="198437"/>
                  </a:lnTo>
                  <a:lnTo>
                    <a:pt x="103187" y="203729"/>
                  </a:lnTo>
                  <a:lnTo>
                    <a:pt x="105833" y="209020"/>
                  </a:lnTo>
                  <a:lnTo>
                    <a:pt x="108479" y="209020"/>
                  </a:lnTo>
                  <a:lnTo>
                    <a:pt x="105833" y="211666"/>
                  </a:lnTo>
                  <a:lnTo>
                    <a:pt x="103187" y="216958"/>
                  </a:lnTo>
                  <a:lnTo>
                    <a:pt x="97895" y="216958"/>
                  </a:lnTo>
                  <a:lnTo>
                    <a:pt x="89958" y="214312"/>
                  </a:lnTo>
                  <a:lnTo>
                    <a:pt x="87312" y="211666"/>
                  </a:lnTo>
                  <a:lnTo>
                    <a:pt x="87312" y="209020"/>
                  </a:lnTo>
                  <a:lnTo>
                    <a:pt x="84666" y="206374"/>
                  </a:lnTo>
                  <a:lnTo>
                    <a:pt x="82020" y="203729"/>
                  </a:lnTo>
                  <a:lnTo>
                    <a:pt x="79375" y="201083"/>
                  </a:lnTo>
                  <a:lnTo>
                    <a:pt x="79375" y="198437"/>
                  </a:lnTo>
                  <a:lnTo>
                    <a:pt x="76729" y="190499"/>
                  </a:lnTo>
                  <a:lnTo>
                    <a:pt x="71437" y="190499"/>
                  </a:lnTo>
                  <a:lnTo>
                    <a:pt x="66145" y="187853"/>
                  </a:lnTo>
                  <a:lnTo>
                    <a:pt x="66145" y="185208"/>
                  </a:lnTo>
                  <a:lnTo>
                    <a:pt x="63500" y="185208"/>
                  </a:lnTo>
                  <a:lnTo>
                    <a:pt x="60854" y="185208"/>
                  </a:lnTo>
                  <a:close/>
                  <a:moveTo>
                    <a:pt x="111125" y="177270"/>
                  </a:moveTo>
                  <a:lnTo>
                    <a:pt x="116416" y="177270"/>
                  </a:lnTo>
                  <a:lnTo>
                    <a:pt x="119062" y="179916"/>
                  </a:lnTo>
                  <a:lnTo>
                    <a:pt x="119062" y="182562"/>
                  </a:lnTo>
                  <a:lnTo>
                    <a:pt x="121708" y="182562"/>
                  </a:lnTo>
                  <a:lnTo>
                    <a:pt x="124354" y="185207"/>
                  </a:lnTo>
                  <a:lnTo>
                    <a:pt x="127000" y="187853"/>
                  </a:lnTo>
                  <a:lnTo>
                    <a:pt x="124354" y="187853"/>
                  </a:lnTo>
                  <a:lnTo>
                    <a:pt x="121708" y="193145"/>
                  </a:lnTo>
                  <a:lnTo>
                    <a:pt x="119062" y="193145"/>
                  </a:lnTo>
                  <a:lnTo>
                    <a:pt x="113770" y="193145"/>
                  </a:lnTo>
                  <a:lnTo>
                    <a:pt x="108479" y="187853"/>
                  </a:lnTo>
                  <a:lnTo>
                    <a:pt x="105833" y="187853"/>
                  </a:lnTo>
                  <a:lnTo>
                    <a:pt x="108479" y="185207"/>
                  </a:lnTo>
                  <a:lnTo>
                    <a:pt x="111125" y="179916"/>
                  </a:lnTo>
                  <a:close/>
                  <a:moveTo>
                    <a:pt x="87312" y="0"/>
                  </a:moveTo>
                  <a:lnTo>
                    <a:pt x="89958" y="0"/>
                  </a:lnTo>
                  <a:lnTo>
                    <a:pt x="92604" y="2646"/>
                  </a:lnTo>
                  <a:lnTo>
                    <a:pt x="95250" y="5292"/>
                  </a:lnTo>
                  <a:lnTo>
                    <a:pt x="95250" y="10583"/>
                  </a:lnTo>
                  <a:lnTo>
                    <a:pt x="95250" y="13229"/>
                  </a:lnTo>
                  <a:lnTo>
                    <a:pt x="92604" y="13229"/>
                  </a:lnTo>
                  <a:lnTo>
                    <a:pt x="89958" y="15875"/>
                  </a:lnTo>
                  <a:lnTo>
                    <a:pt x="92604" y="21167"/>
                  </a:lnTo>
                  <a:lnTo>
                    <a:pt x="95250" y="23812"/>
                  </a:lnTo>
                  <a:lnTo>
                    <a:pt x="92604" y="29104"/>
                  </a:lnTo>
                  <a:lnTo>
                    <a:pt x="92604" y="42333"/>
                  </a:lnTo>
                  <a:lnTo>
                    <a:pt x="95250" y="47625"/>
                  </a:lnTo>
                  <a:lnTo>
                    <a:pt x="97896" y="50271"/>
                  </a:lnTo>
                  <a:lnTo>
                    <a:pt x="103187" y="50271"/>
                  </a:lnTo>
                  <a:lnTo>
                    <a:pt x="103187" y="52916"/>
                  </a:lnTo>
                  <a:lnTo>
                    <a:pt x="105833" y="55562"/>
                  </a:lnTo>
                  <a:lnTo>
                    <a:pt x="105833" y="58208"/>
                  </a:lnTo>
                  <a:lnTo>
                    <a:pt x="108479" y="58208"/>
                  </a:lnTo>
                  <a:lnTo>
                    <a:pt x="111125" y="58208"/>
                  </a:lnTo>
                  <a:lnTo>
                    <a:pt x="111125" y="63500"/>
                  </a:lnTo>
                  <a:lnTo>
                    <a:pt x="111125" y="68791"/>
                  </a:lnTo>
                  <a:lnTo>
                    <a:pt x="111125" y="74083"/>
                  </a:lnTo>
                  <a:lnTo>
                    <a:pt x="108479" y="76729"/>
                  </a:lnTo>
                  <a:lnTo>
                    <a:pt x="108479" y="79375"/>
                  </a:lnTo>
                  <a:lnTo>
                    <a:pt x="108479" y="82021"/>
                  </a:lnTo>
                  <a:lnTo>
                    <a:pt x="108479" y="84666"/>
                  </a:lnTo>
                  <a:lnTo>
                    <a:pt x="103187" y="87312"/>
                  </a:lnTo>
                  <a:lnTo>
                    <a:pt x="100541" y="87312"/>
                  </a:lnTo>
                  <a:lnTo>
                    <a:pt x="103187" y="84666"/>
                  </a:lnTo>
                  <a:lnTo>
                    <a:pt x="97896" y="87312"/>
                  </a:lnTo>
                  <a:lnTo>
                    <a:pt x="92604" y="89958"/>
                  </a:lnTo>
                  <a:lnTo>
                    <a:pt x="89958" y="89958"/>
                  </a:lnTo>
                  <a:lnTo>
                    <a:pt x="84666" y="89958"/>
                  </a:lnTo>
                  <a:lnTo>
                    <a:pt x="82021" y="92604"/>
                  </a:lnTo>
                  <a:lnTo>
                    <a:pt x="82021" y="95250"/>
                  </a:lnTo>
                  <a:lnTo>
                    <a:pt x="84666" y="97896"/>
                  </a:lnTo>
                  <a:lnTo>
                    <a:pt x="87312" y="97896"/>
                  </a:lnTo>
                  <a:lnTo>
                    <a:pt x="87312" y="100541"/>
                  </a:lnTo>
                  <a:lnTo>
                    <a:pt x="87312" y="105833"/>
                  </a:lnTo>
                  <a:lnTo>
                    <a:pt x="87312" y="108479"/>
                  </a:lnTo>
                  <a:lnTo>
                    <a:pt x="87312" y="111125"/>
                  </a:lnTo>
                  <a:lnTo>
                    <a:pt x="89958" y="113771"/>
                  </a:lnTo>
                  <a:lnTo>
                    <a:pt x="92604" y="113771"/>
                  </a:lnTo>
                  <a:lnTo>
                    <a:pt x="92604" y="119062"/>
                  </a:lnTo>
                  <a:lnTo>
                    <a:pt x="95250" y="124354"/>
                  </a:lnTo>
                  <a:lnTo>
                    <a:pt x="97896" y="129646"/>
                  </a:lnTo>
                  <a:lnTo>
                    <a:pt x="100541" y="134937"/>
                  </a:lnTo>
                  <a:lnTo>
                    <a:pt x="100541" y="137583"/>
                  </a:lnTo>
                  <a:lnTo>
                    <a:pt x="95250" y="134937"/>
                  </a:lnTo>
                  <a:lnTo>
                    <a:pt x="95250" y="140229"/>
                  </a:lnTo>
                  <a:lnTo>
                    <a:pt x="97896" y="145521"/>
                  </a:lnTo>
                  <a:lnTo>
                    <a:pt x="100541" y="148166"/>
                  </a:lnTo>
                  <a:lnTo>
                    <a:pt x="103187" y="150812"/>
                  </a:lnTo>
                  <a:lnTo>
                    <a:pt x="105833" y="153458"/>
                  </a:lnTo>
                  <a:lnTo>
                    <a:pt x="108479" y="158750"/>
                  </a:lnTo>
                  <a:lnTo>
                    <a:pt x="116417" y="158750"/>
                  </a:lnTo>
                  <a:lnTo>
                    <a:pt x="116417" y="156104"/>
                  </a:lnTo>
                  <a:lnTo>
                    <a:pt x="121708" y="158750"/>
                  </a:lnTo>
                  <a:lnTo>
                    <a:pt x="119062" y="156104"/>
                  </a:lnTo>
                  <a:lnTo>
                    <a:pt x="116417" y="153458"/>
                  </a:lnTo>
                  <a:lnTo>
                    <a:pt x="119062" y="150812"/>
                  </a:lnTo>
                  <a:lnTo>
                    <a:pt x="121708" y="153458"/>
                  </a:lnTo>
                  <a:lnTo>
                    <a:pt x="121708" y="150812"/>
                  </a:lnTo>
                  <a:lnTo>
                    <a:pt x="121708" y="148166"/>
                  </a:lnTo>
                  <a:lnTo>
                    <a:pt x="124354" y="148166"/>
                  </a:lnTo>
                  <a:lnTo>
                    <a:pt x="129646" y="148166"/>
                  </a:lnTo>
                  <a:lnTo>
                    <a:pt x="132292" y="150812"/>
                  </a:lnTo>
                  <a:lnTo>
                    <a:pt x="134938" y="153458"/>
                  </a:lnTo>
                  <a:lnTo>
                    <a:pt x="134938" y="156104"/>
                  </a:lnTo>
                  <a:lnTo>
                    <a:pt x="134938" y="158750"/>
                  </a:lnTo>
                  <a:lnTo>
                    <a:pt x="142875" y="158750"/>
                  </a:lnTo>
                  <a:lnTo>
                    <a:pt x="145521" y="158750"/>
                  </a:lnTo>
                  <a:lnTo>
                    <a:pt x="145521" y="156104"/>
                  </a:lnTo>
                  <a:lnTo>
                    <a:pt x="142875" y="153458"/>
                  </a:lnTo>
                  <a:lnTo>
                    <a:pt x="140230" y="150812"/>
                  </a:lnTo>
                  <a:lnTo>
                    <a:pt x="142875" y="150812"/>
                  </a:lnTo>
                  <a:lnTo>
                    <a:pt x="145521" y="150812"/>
                  </a:lnTo>
                  <a:lnTo>
                    <a:pt x="145521" y="148166"/>
                  </a:lnTo>
                  <a:lnTo>
                    <a:pt x="148167" y="148166"/>
                  </a:lnTo>
                  <a:lnTo>
                    <a:pt x="148167" y="150812"/>
                  </a:lnTo>
                  <a:lnTo>
                    <a:pt x="150813" y="150812"/>
                  </a:lnTo>
                  <a:lnTo>
                    <a:pt x="150813" y="153458"/>
                  </a:lnTo>
                  <a:lnTo>
                    <a:pt x="150813" y="156104"/>
                  </a:lnTo>
                  <a:lnTo>
                    <a:pt x="153459" y="156104"/>
                  </a:lnTo>
                  <a:lnTo>
                    <a:pt x="156105" y="158750"/>
                  </a:lnTo>
                  <a:lnTo>
                    <a:pt x="161396" y="161396"/>
                  </a:lnTo>
                  <a:lnTo>
                    <a:pt x="164042" y="161396"/>
                  </a:lnTo>
                  <a:lnTo>
                    <a:pt x="164042" y="164041"/>
                  </a:lnTo>
                  <a:lnTo>
                    <a:pt x="161396" y="166687"/>
                  </a:lnTo>
                  <a:lnTo>
                    <a:pt x="158751" y="166687"/>
                  </a:lnTo>
                  <a:lnTo>
                    <a:pt x="156105" y="166687"/>
                  </a:lnTo>
                  <a:lnTo>
                    <a:pt x="153459" y="166687"/>
                  </a:lnTo>
                  <a:lnTo>
                    <a:pt x="150813" y="166687"/>
                  </a:lnTo>
                  <a:lnTo>
                    <a:pt x="150813" y="171979"/>
                  </a:lnTo>
                  <a:lnTo>
                    <a:pt x="156105" y="171979"/>
                  </a:lnTo>
                  <a:lnTo>
                    <a:pt x="161396" y="174625"/>
                  </a:lnTo>
                  <a:lnTo>
                    <a:pt x="164042" y="177271"/>
                  </a:lnTo>
                  <a:lnTo>
                    <a:pt x="166688" y="179916"/>
                  </a:lnTo>
                  <a:lnTo>
                    <a:pt x="169334" y="179916"/>
                  </a:lnTo>
                  <a:lnTo>
                    <a:pt x="169334" y="182562"/>
                  </a:lnTo>
                  <a:lnTo>
                    <a:pt x="169334" y="185208"/>
                  </a:lnTo>
                  <a:lnTo>
                    <a:pt x="174626" y="185208"/>
                  </a:lnTo>
                  <a:lnTo>
                    <a:pt x="177271" y="182562"/>
                  </a:lnTo>
                  <a:lnTo>
                    <a:pt x="179917" y="182562"/>
                  </a:lnTo>
                  <a:lnTo>
                    <a:pt x="179917" y="185208"/>
                  </a:lnTo>
                  <a:lnTo>
                    <a:pt x="179917" y="187854"/>
                  </a:lnTo>
                  <a:lnTo>
                    <a:pt x="179917" y="193146"/>
                  </a:lnTo>
                  <a:lnTo>
                    <a:pt x="179917" y="201083"/>
                  </a:lnTo>
                  <a:lnTo>
                    <a:pt x="177271" y="203729"/>
                  </a:lnTo>
                  <a:lnTo>
                    <a:pt x="174626" y="203729"/>
                  </a:lnTo>
                  <a:lnTo>
                    <a:pt x="169334" y="203729"/>
                  </a:lnTo>
                  <a:lnTo>
                    <a:pt x="166688" y="201083"/>
                  </a:lnTo>
                  <a:lnTo>
                    <a:pt x="164042" y="198437"/>
                  </a:lnTo>
                  <a:lnTo>
                    <a:pt x="161396" y="195791"/>
                  </a:lnTo>
                  <a:lnTo>
                    <a:pt x="161396" y="193146"/>
                  </a:lnTo>
                  <a:lnTo>
                    <a:pt x="156105" y="187854"/>
                  </a:lnTo>
                  <a:lnTo>
                    <a:pt x="153459" y="187854"/>
                  </a:lnTo>
                  <a:lnTo>
                    <a:pt x="153459" y="190500"/>
                  </a:lnTo>
                  <a:lnTo>
                    <a:pt x="150813" y="187854"/>
                  </a:lnTo>
                  <a:lnTo>
                    <a:pt x="150813" y="185208"/>
                  </a:lnTo>
                  <a:lnTo>
                    <a:pt x="148167" y="179916"/>
                  </a:lnTo>
                  <a:lnTo>
                    <a:pt x="145521" y="177271"/>
                  </a:lnTo>
                  <a:lnTo>
                    <a:pt x="140230" y="174625"/>
                  </a:lnTo>
                  <a:lnTo>
                    <a:pt x="137584" y="174625"/>
                  </a:lnTo>
                  <a:lnTo>
                    <a:pt x="137584" y="171979"/>
                  </a:lnTo>
                  <a:lnTo>
                    <a:pt x="129646" y="166687"/>
                  </a:lnTo>
                  <a:lnTo>
                    <a:pt x="127000" y="164041"/>
                  </a:lnTo>
                  <a:lnTo>
                    <a:pt x="124354" y="161396"/>
                  </a:lnTo>
                  <a:lnTo>
                    <a:pt x="124354" y="164041"/>
                  </a:lnTo>
                  <a:lnTo>
                    <a:pt x="127000" y="166687"/>
                  </a:lnTo>
                  <a:lnTo>
                    <a:pt x="129646" y="169333"/>
                  </a:lnTo>
                  <a:lnTo>
                    <a:pt x="129646" y="171979"/>
                  </a:lnTo>
                  <a:lnTo>
                    <a:pt x="127000" y="171979"/>
                  </a:lnTo>
                  <a:lnTo>
                    <a:pt x="129646" y="174625"/>
                  </a:lnTo>
                  <a:lnTo>
                    <a:pt x="132292" y="177271"/>
                  </a:lnTo>
                  <a:lnTo>
                    <a:pt x="134938" y="179916"/>
                  </a:lnTo>
                  <a:lnTo>
                    <a:pt x="132292" y="179916"/>
                  </a:lnTo>
                  <a:lnTo>
                    <a:pt x="127000" y="179916"/>
                  </a:lnTo>
                  <a:lnTo>
                    <a:pt x="124354" y="177271"/>
                  </a:lnTo>
                  <a:lnTo>
                    <a:pt x="121708" y="171979"/>
                  </a:lnTo>
                  <a:lnTo>
                    <a:pt x="119062" y="169333"/>
                  </a:lnTo>
                  <a:lnTo>
                    <a:pt x="113771" y="169333"/>
                  </a:lnTo>
                  <a:lnTo>
                    <a:pt x="111125" y="166687"/>
                  </a:lnTo>
                  <a:lnTo>
                    <a:pt x="105833" y="164041"/>
                  </a:lnTo>
                  <a:lnTo>
                    <a:pt x="105833" y="161396"/>
                  </a:lnTo>
                  <a:lnTo>
                    <a:pt x="103187" y="161396"/>
                  </a:lnTo>
                  <a:lnTo>
                    <a:pt x="100541" y="164041"/>
                  </a:lnTo>
                  <a:lnTo>
                    <a:pt x="100541" y="166687"/>
                  </a:lnTo>
                  <a:lnTo>
                    <a:pt x="100541" y="169333"/>
                  </a:lnTo>
                  <a:lnTo>
                    <a:pt x="97896" y="171979"/>
                  </a:lnTo>
                  <a:lnTo>
                    <a:pt x="95250" y="174625"/>
                  </a:lnTo>
                  <a:lnTo>
                    <a:pt x="89958" y="174625"/>
                  </a:lnTo>
                  <a:lnTo>
                    <a:pt x="87312" y="171979"/>
                  </a:lnTo>
                  <a:lnTo>
                    <a:pt x="87312" y="169333"/>
                  </a:lnTo>
                  <a:lnTo>
                    <a:pt x="87312" y="166687"/>
                  </a:lnTo>
                  <a:lnTo>
                    <a:pt x="84666" y="166687"/>
                  </a:lnTo>
                  <a:lnTo>
                    <a:pt x="82021" y="166687"/>
                  </a:lnTo>
                  <a:lnTo>
                    <a:pt x="82021" y="164041"/>
                  </a:lnTo>
                  <a:lnTo>
                    <a:pt x="84666" y="161396"/>
                  </a:lnTo>
                  <a:lnTo>
                    <a:pt x="82021" y="158750"/>
                  </a:lnTo>
                  <a:lnTo>
                    <a:pt x="79375" y="156104"/>
                  </a:lnTo>
                  <a:lnTo>
                    <a:pt x="76729" y="158750"/>
                  </a:lnTo>
                  <a:lnTo>
                    <a:pt x="76729" y="161396"/>
                  </a:lnTo>
                  <a:lnTo>
                    <a:pt x="74083" y="164041"/>
                  </a:lnTo>
                  <a:lnTo>
                    <a:pt x="74083" y="158750"/>
                  </a:lnTo>
                  <a:lnTo>
                    <a:pt x="71437" y="153458"/>
                  </a:lnTo>
                  <a:lnTo>
                    <a:pt x="71437" y="150812"/>
                  </a:lnTo>
                  <a:lnTo>
                    <a:pt x="76729" y="145521"/>
                  </a:lnTo>
                  <a:lnTo>
                    <a:pt x="82021" y="142875"/>
                  </a:lnTo>
                  <a:lnTo>
                    <a:pt x="79375" y="140229"/>
                  </a:lnTo>
                  <a:lnTo>
                    <a:pt x="76729" y="132291"/>
                  </a:lnTo>
                  <a:lnTo>
                    <a:pt x="74083" y="132291"/>
                  </a:lnTo>
                  <a:lnTo>
                    <a:pt x="71437" y="132291"/>
                  </a:lnTo>
                  <a:lnTo>
                    <a:pt x="71437" y="134937"/>
                  </a:lnTo>
                  <a:lnTo>
                    <a:pt x="68791" y="132291"/>
                  </a:lnTo>
                  <a:lnTo>
                    <a:pt x="66146" y="132291"/>
                  </a:lnTo>
                  <a:lnTo>
                    <a:pt x="66146" y="134937"/>
                  </a:lnTo>
                  <a:lnTo>
                    <a:pt x="68791" y="140229"/>
                  </a:lnTo>
                  <a:lnTo>
                    <a:pt x="71437" y="140229"/>
                  </a:lnTo>
                  <a:lnTo>
                    <a:pt x="68791" y="142875"/>
                  </a:lnTo>
                  <a:lnTo>
                    <a:pt x="66146" y="142875"/>
                  </a:lnTo>
                  <a:lnTo>
                    <a:pt x="63500" y="142875"/>
                  </a:lnTo>
                  <a:lnTo>
                    <a:pt x="60854" y="137583"/>
                  </a:lnTo>
                  <a:lnTo>
                    <a:pt x="55562" y="134937"/>
                  </a:lnTo>
                  <a:lnTo>
                    <a:pt x="55562" y="132291"/>
                  </a:lnTo>
                  <a:lnTo>
                    <a:pt x="55562" y="129646"/>
                  </a:lnTo>
                  <a:lnTo>
                    <a:pt x="55562" y="127000"/>
                  </a:lnTo>
                  <a:lnTo>
                    <a:pt x="52916" y="127000"/>
                  </a:lnTo>
                  <a:lnTo>
                    <a:pt x="50270" y="127000"/>
                  </a:lnTo>
                  <a:lnTo>
                    <a:pt x="50270" y="129646"/>
                  </a:lnTo>
                  <a:lnTo>
                    <a:pt x="47625" y="127000"/>
                  </a:lnTo>
                  <a:lnTo>
                    <a:pt x="42333" y="124354"/>
                  </a:lnTo>
                  <a:lnTo>
                    <a:pt x="39687" y="119062"/>
                  </a:lnTo>
                  <a:lnTo>
                    <a:pt x="39687" y="113771"/>
                  </a:lnTo>
                  <a:lnTo>
                    <a:pt x="39687" y="108479"/>
                  </a:lnTo>
                  <a:lnTo>
                    <a:pt x="39687" y="105833"/>
                  </a:lnTo>
                  <a:lnTo>
                    <a:pt x="39687" y="103187"/>
                  </a:lnTo>
                  <a:lnTo>
                    <a:pt x="39687" y="100541"/>
                  </a:lnTo>
                  <a:lnTo>
                    <a:pt x="39687" y="97896"/>
                  </a:lnTo>
                  <a:lnTo>
                    <a:pt x="34395" y="92604"/>
                  </a:lnTo>
                  <a:lnTo>
                    <a:pt x="34395" y="87312"/>
                  </a:lnTo>
                  <a:lnTo>
                    <a:pt x="34395" y="84666"/>
                  </a:lnTo>
                  <a:lnTo>
                    <a:pt x="31750" y="84666"/>
                  </a:lnTo>
                  <a:lnTo>
                    <a:pt x="29104" y="84666"/>
                  </a:lnTo>
                  <a:lnTo>
                    <a:pt x="29104" y="82021"/>
                  </a:lnTo>
                  <a:lnTo>
                    <a:pt x="29104" y="76729"/>
                  </a:lnTo>
                  <a:lnTo>
                    <a:pt x="29104" y="74083"/>
                  </a:lnTo>
                  <a:lnTo>
                    <a:pt x="31750" y="74083"/>
                  </a:lnTo>
                  <a:lnTo>
                    <a:pt x="34395" y="71437"/>
                  </a:lnTo>
                  <a:lnTo>
                    <a:pt x="37041" y="71437"/>
                  </a:lnTo>
                  <a:lnTo>
                    <a:pt x="37041" y="76729"/>
                  </a:lnTo>
                  <a:lnTo>
                    <a:pt x="39687" y="76729"/>
                  </a:lnTo>
                  <a:lnTo>
                    <a:pt x="42333" y="76729"/>
                  </a:lnTo>
                  <a:lnTo>
                    <a:pt x="42333" y="79375"/>
                  </a:lnTo>
                  <a:lnTo>
                    <a:pt x="42333" y="82021"/>
                  </a:lnTo>
                  <a:lnTo>
                    <a:pt x="44979" y="84666"/>
                  </a:lnTo>
                  <a:lnTo>
                    <a:pt x="50270" y="84666"/>
                  </a:lnTo>
                  <a:lnTo>
                    <a:pt x="52916" y="84666"/>
                  </a:lnTo>
                  <a:lnTo>
                    <a:pt x="55562" y="82021"/>
                  </a:lnTo>
                  <a:lnTo>
                    <a:pt x="58208" y="76729"/>
                  </a:lnTo>
                  <a:lnTo>
                    <a:pt x="52916" y="74083"/>
                  </a:lnTo>
                  <a:lnTo>
                    <a:pt x="50270" y="74083"/>
                  </a:lnTo>
                  <a:lnTo>
                    <a:pt x="50270" y="71437"/>
                  </a:lnTo>
                  <a:lnTo>
                    <a:pt x="47625" y="68791"/>
                  </a:lnTo>
                  <a:lnTo>
                    <a:pt x="47625" y="66146"/>
                  </a:lnTo>
                  <a:lnTo>
                    <a:pt x="47625" y="63500"/>
                  </a:lnTo>
                  <a:lnTo>
                    <a:pt x="50270" y="60854"/>
                  </a:lnTo>
                  <a:lnTo>
                    <a:pt x="50270" y="58208"/>
                  </a:lnTo>
                  <a:lnTo>
                    <a:pt x="50270" y="55562"/>
                  </a:lnTo>
                  <a:lnTo>
                    <a:pt x="47625" y="52916"/>
                  </a:lnTo>
                  <a:lnTo>
                    <a:pt x="44979" y="50271"/>
                  </a:lnTo>
                  <a:lnTo>
                    <a:pt x="44979" y="47625"/>
                  </a:lnTo>
                  <a:lnTo>
                    <a:pt x="44979" y="44979"/>
                  </a:lnTo>
                  <a:lnTo>
                    <a:pt x="42333" y="42333"/>
                  </a:lnTo>
                  <a:lnTo>
                    <a:pt x="42333" y="39687"/>
                  </a:lnTo>
                  <a:lnTo>
                    <a:pt x="42333" y="37042"/>
                  </a:lnTo>
                  <a:lnTo>
                    <a:pt x="39687" y="37042"/>
                  </a:lnTo>
                  <a:lnTo>
                    <a:pt x="39687" y="34396"/>
                  </a:lnTo>
                  <a:lnTo>
                    <a:pt x="39687" y="31750"/>
                  </a:lnTo>
                  <a:lnTo>
                    <a:pt x="42333" y="29104"/>
                  </a:lnTo>
                  <a:lnTo>
                    <a:pt x="39687" y="26458"/>
                  </a:lnTo>
                  <a:lnTo>
                    <a:pt x="42333" y="23812"/>
                  </a:lnTo>
                  <a:lnTo>
                    <a:pt x="42333" y="21167"/>
                  </a:lnTo>
                  <a:lnTo>
                    <a:pt x="42333" y="18521"/>
                  </a:lnTo>
                  <a:lnTo>
                    <a:pt x="44979" y="15875"/>
                  </a:lnTo>
                  <a:lnTo>
                    <a:pt x="42333" y="13229"/>
                  </a:lnTo>
                  <a:lnTo>
                    <a:pt x="44979" y="10583"/>
                  </a:lnTo>
                  <a:lnTo>
                    <a:pt x="47625" y="7937"/>
                  </a:lnTo>
                  <a:lnTo>
                    <a:pt x="44979" y="7937"/>
                  </a:lnTo>
                  <a:lnTo>
                    <a:pt x="42333" y="5292"/>
                  </a:lnTo>
                  <a:lnTo>
                    <a:pt x="44979" y="5292"/>
                  </a:lnTo>
                  <a:lnTo>
                    <a:pt x="47625" y="2646"/>
                  </a:lnTo>
                  <a:lnTo>
                    <a:pt x="50270" y="5292"/>
                  </a:lnTo>
                  <a:lnTo>
                    <a:pt x="52916" y="2646"/>
                  </a:lnTo>
                  <a:lnTo>
                    <a:pt x="55562" y="5292"/>
                  </a:lnTo>
                  <a:lnTo>
                    <a:pt x="60854" y="5292"/>
                  </a:lnTo>
                  <a:lnTo>
                    <a:pt x="63500" y="2646"/>
                  </a:lnTo>
                  <a:lnTo>
                    <a:pt x="74083" y="5292"/>
                  </a:lnTo>
                  <a:lnTo>
                    <a:pt x="79375" y="7937"/>
                  </a:lnTo>
                  <a:lnTo>
                    <a:pt x="84666" y="7937"/>
                  </a:lnTo>
                  <a:lnTo>
                    <a:pt x="87312" y="5292"/>
                  </a:lnTo>
                  <a:lnTo>
                    <a:pt x="87312" y="2646"/>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4" name="Poland"/>
            <p:cNvSpPr>
              <a:spLocks/>
            </p:cNvSpPr>
            <p:nvPr/>
          </p:nvSpPr>
          <p:spPr bwMode="auto">
            <a:xfrm>
              <a:off x="4467455" y="1922198"/>
              <a:ext cx="243417" cy="137583"/>
            </a:xfrm>
            <a:custGeom>
              <a:avLst/>
              <a:gdLst/>
              <a:ahLst/>
              <a:cxnLst>
                <a:cxn ang="0">
                  <a:pos x="18" y="72"/>
                </a:cxn>
                <a:cxn ang="0">
                  <a:pos x="16" y="60"/>
                </a:cxn>
                <a:cxn ang="0">
                  <a:pos x="12" y="46"/>
                </a:cxn>
                <a:cxn ang="0">
                  <a:pos x="10" y="40"/>
                </a:cxn>
                <a:cxn ang="0">
                  <a:pos x="6" y="38"/>
                </a:cxn>
                <a:cxn ang="0">
                  <a:pos x="0" y="34"/>
                </a:cxn>
                <a:cxn ang="0">
                  <a:pos x="2" y="28"/>
                </a:cxn>
                <a:cxn ang="0">
                  <a:pos x="4" y="26"/>
                </a:cxn>
                <a:cxn ang="0">
                  <a:pos x="4" y="18"/>
                </a:cxn>
                <a:cxn ang="0">
                  <a:pos x="10" y="18"/>
                </a:cxn>
                <a:cxn ang="0">
                  <a:pos x="16" y="12"/>
                </a:cxn>
                <a:cxn ang="0">
                  <a:pos x="32" y="8"/>
                </a:cxn>
                <a:cxn ang="0">
                  <a:pos x="50" y="6"/>
                </a:cxn>
                <a:cxn ang="0">
                  <a:pos x="64" y="0"/>
                </a:cxn>
                <a:cxn ang="0">
                  <a:pos x="82" y="0"/>
                </a:cxn>
                <a:cxn ang="0">
                  <a:pos x="90" y="6"/>
                </a:cxn>
                <a:cxn ang="0">
                  <a:pos x="86" y="4"/>
                </a:cxn>
                <a:cxn ang="0">
                  <a:pos x="84" y="6"/>
                </a:cxn>
                <a:cxn ang="0">
                  <a:pos x="86" y="10"/>
                </a:cxn>
                <a:cxn ang="0">
                  <a:pos x="94" y="10"/>
                </a:cxn>
                <a:cxn ang="0">
                  <a:pos x="98" y="4"/>
                </a:cxn>
                <a:cxn ang="0">
                  <a:pos x="94" y="12"/>
                </a:cxn>
                <a:cxn ang="0">
                  <a:pos x="96" y="12"/>
                </a:cxn>
                <a:cxn ang="0">
                  <a:pos x="100" y="8"/>
                </a:cxn>
                <a:cxn ang="0">
                  <a:pos x="120" y="10"/>
                </a:cxn>
                <a:cxn ang="0">
                  <a:pos x="130" y="8"/>
                </a:cxn>
                <a:cxn ang="0">
                  <a:pos x="144" y="8"/>
                </a:cxn>
                <a:cxn ang="0">
                  <a:pos x="150" y="6"/>
                </a:cxn>
                <a:cxn ang="0">
                  <a:pos x="154" y="8"/>
                </a:cxn>
                <a:cxn ang="0">
                  <a:pos x="158" y="10"/>
                </a:cxn>
                <a:cxn ang="0">
                  <a:pos x="164" y="18"/>
                </a:cxn>
                <a:cxn ang="0">
                  <a:pos x="170" y="26"/>
                </a:cxn>
                <a:cxn ang="0">
                  <a:pos x="166" y="38"/>
                </a:cxn>
                <a:cxn ang="0">
                  <a:pos x="162" y="44"/>
                </a:cxn>
                <a:cxn ang="0">
                  <a:pos x="168" y="58"/>
                </a:cxn>
                <a:cxn ang="0">
                  <a:pos x="180" y="72"/>
                </a:cxn>
                <a:cxn ang="0">
                  <a:pos x="184" y="76"/>
                </a:cxn>
                <a:cxn ang="0">
                  <a:pos x="180" y="78"/>
                </a:cxn>
                <a:cxn ang="0">
                  <a:pos x="180" y="80"/>
                </a:cxn>
                <a:cxn ang="0">
                  <a:pos x="174" y="86"/>
                </a:cxn>
                <a:cxn ang="0">
                  <a:pos x="166" y="96"/>
                </a:cxn>
                <a:cxn ang="0">
                  <a:pos x="164" y="104"/>
                </a:cxn>
                <a:cxn ang="0">
                  <a:pos x="160" y="104"/>
                </a:cxn>
                <a:cxn ang="0">
                  <a:pos x="140" y="98"/>
                </a:cxn>
                <a:cxn ang="0">
                  <a:pos x="132" y="98"/>
                </a:cxn>
                <a:cxn ang="0">
                  <a:pos x="130" y="102"/>
                </a:cxn>
                <a:cxn ang="0">
                  <a:pos x="122" y="98"/>
                </a:cxn>
                <a:cxn ang="0">
                  <a:pos x="118" y="100"/>
                </a:cxn>
                <a:cxn ang="0">
                  <a:pos x="112" y="98"/>
                </a:cxn>
                <a:cxn ang="0">
                  <a:pos x="106" y="98"/>
                </a:cxn>
                <a:cxn ang="0">
                  <a:pos x="96" y="96"/>
                </a:cxn>
                <a:cxn ang="0">
                  <a:pos x="72" y="86"/>
                </a:cxn>
                <a:cxn ang="0">
                  <a:pos x="68" y="80"/>
                </a:cxn>
                <a:cxn ang="0">
                  <a:pos x="62" y="80"/>
                </a:cxn>
                <a:cxn ang="0">
                  <a:pos x="56" y="80"/>
                </a:cxn>
                <a:cxn ang="0">
                  <a:pos x="56" y="82"/>
                </a:cxn>
                <a:cxn ang="0">
                  <a:pos x="52" y="84"/>
                </a:cxn>
                <a:cxn ang="0">
                  <a:pos x="46" y="80"/>
                </a:cxn>
                <a:cxn ang="0">
                  <a:pos x="28" y="76"/>
                </a:cxn>
                <a:cxn ang="0">
                  <a:pos x="18" y="74"/>
                </a:cxn>
              </a:cxnLst>
              <a:rect l="0" t="0" r="r" b="b"/>
              <a:pathLst>
                <a:path w="184" h="104">
                  <a:moveTo>
                    <a:pt x="18" y="74"/>
                  </a:moveTo>
                  <a:lnTo>
                    <a:pt x="18" y="74"/>
                  </a:lnTo>
                  <a:lnTo>
                    <a:pt x="18" y="72"/>
                  </a:lnTo>
                  <a:lnTo>
                    <a:pt x="18" y="68"/>
                  </a:lnTo>
                  <a:lnTo>
                    <a:pt x="18" y="68"/>
                  </a:lnTo>
                  <a:lnTo>
                    <a:pt x="16" y="60"/>
                  </a:lnTo>
                  <a:lnTo>
                    <a:pt x="12" y="50"/>
                  </a:lnTo>
                  <a:lnTo>
                    <a:pt x="12" y="50"/>
                  </a:lnTo>
                  <a:lnTo>
                    <a:pt x="12" y="46"/>
                  </a:lnTo>
                  <a:lnTo>
                    <a:pt x="12" y="42"/>
                  </a:lnTo>
                  <a:lnTo>
                    <a:pt x="12" y="42"/>
                  </a:lnTo>
                  <a:lnTo>
                    <a:pt x="10" y="40"/>
                  </a:lnTo>
                  <a:lnTo>
                    <a:pt x="8" y="40"/>
                  </a:lnTo>
                  <a:lnTo>
                    <a:pt x="6" y="38"/>
                  </a:lnTo>
                  <a:lnTo>
                    <a:pt x="6" y="38"/>
                  </a:lnTo>
                  <a:lnTo>
                    <a:pt x="2" y="36"/>
                  </a:lnTo>
                  <a:lnTo>
                    <a:pt x="0" y="36"/>
                  </a:lnTo>
                  <a:lnTo>
                    <a:pt x="0" y="34"/>
                  </a:lnTo>
                  <a:lnTo>
                    <a:pt x="0" y="34"/>
                  </a:lnTo>
                  <a:lnTo>
                    <a:pt x="0" y="32"/>
                  </a:lnTo>
                  <a:lnTo>
                    <a:pt x="2" y="28"/>
                  </a:lnTo>
                  <a:lnTo>
                    <a:pt x="4" y="26"/>
                  </a:lnTo>
                  <a:lnTo>
                    <a:pt x="4" y="26"/>
                  </a:lnTo>
                  <a:lnTo>
                    <a:pt x="4" y="26"/>
                  </a:lnTo>
                  <a:lnTo>
                    <a:pt x="4" y="22"/>
                  </a:lnTo>
                  <a:lnTo>
                    <a:pt x="4" y="18"/>
                  </a:lnTo>
                  <a:lnTo>
                    <a:pt x="4" y="18"/>
                  </a:lnTo>
                  <a:lnTo>
                    <a:pt x="8" y="18"/>
                  </a:lnTo>
                  <a:lnTo>
                    <a:pt x="8" y="18"/>
                  </a:lnTo>
                  <a:lnTo>
                    <a:pt x="10" y="18"/>
                  </a:lnTo>
                  <a:lnTo>
                    <a:pt x="10" y="16"/>
                  </a:lnTo>
                  <a:lnTo>
                    <a:pt x="12" y="12"/>
                  </a:lnTo>
                  <a:lnTo>
                    <a:pt x="16" y="12"/>
                  </a:lnTo>
                  <a:lnTo>
                    <a:pt x="16" y="12"/>
                  </a:lnTo>
                  <a:lnTo>
                    <a:pt x="32" y="8"/>
                  </a:lnTo>
                  <a:lnTo>
                    <a:pt x="32" y="8"/>
                  </a:lnTo>
                  <a:lnTo>
                    <a:pt x="42" y="8"/>
                  </a:lnTo>
                  <a:lnTo>
                    <a:pt x="44" y="8"/>
                  </a:lnTo>
                  <a:lnTo>
                    <a:pt x="50" y="6"/>
                  </a:lnTo>
                  <a:lnTo>
                    <a:pt x="50" y="6"/>
                  </a:lnTo>
                  <a:lnTo>
                    <a:pt x="54" y="2"/>
                  </a:lnTo>
                  <a:lnTo>
                    <a:pt x="64" y="0"/>
                  </a:lnTo>
                  <a:lnTo>
                    <a:pt x="64" y="0"/>
                  </a:lnTo>
                  <a:lnTo>
                    <a:pt x="74" y="0"/>
                  </a:lnTo>
                  <a:lnTo>
                    <a:pt x="82" y="0"/>
                  </a:lnTo>
                  <a:lnTo>
                    <a:pt x="82" y="0"/>
                  </a:lnTo>
                  <a:lnTo>
                    <a:pt x="88" y="4"/>
                  </a:lnTo>
                  <a:lnTo>
                    <a:pt x="90" y="6"/>
                  </a:lnTo>
                  <a:lnTo>
                    <a:pt x="88" y="6"/>
                  </a:lnTo>
                  <a:lnTo>
                    <a:pt x="88" y="6"/>
                  </a:lnTo>
                  <a:lnTo>
                    <a:pt x="86" y="4"/>
                  </a:lnTo>
                  <a:lnTo>
                    <a:pt x="84" y="4"/>
                  </a:lnTo>
                  <a:lnTo>
                    <a:pt x="84" y="6"/>
                  </a:lnTo>
                  <a:lnTo>
                    <a:pt x="84" y="6"/>
                  </a:lnTo>
                  <a:lnTo>
                    <a:pt x="84" y="8"/>
                  </a:lnTo>
                  <a:lnTo>
                    <a:pt x="86" y="10"/>
                  </a:lnTo>
                  <a:lnTo>
                    <a:pt x="86" y="10"/>
                  </a:lnTo>
                  <a:lnTo>
                    <a:pt x="90" y="12"/>
                  </a:lnTo>
                  <a:lnTo>
                    <a:pt x="94" y="10"/>
                  </a:lnTo>
                  <a:lnTo>
                    <a:pt x="94" y="10"/>
                  </a:lnTo>
                  <a:lnTo>
                    <a:pt x="98" y="6"/>
                  </a:lnTo>
                  <a:lnTo>
                    <a:pt x="98" y="6"/>
                  </a:lnTo>
                  <a:lnTo>
                    <a:pt x="98" y="4"/>
                  </a:lnTo>
                  <a:lnTo>
                    <a:pt x="98" y="6"/>
                  </a:lnTo>
                  <a:lnTo>
                    <a:pt x="98" y="6"/>
                  </a:lnTo>
                  <a:lnTo>
                    <a:pt x="94" y="12"/>
                  </a:lnTo>
                  <a:lnTo>
                    <a:pt x="94" y="12"/>
                  </a:lnTo>
                  <a:lnTo>
                    <a:pt x="96" y="12"/>
                  </a:lnTo>
                  <a:lnTo>
                    <a:pt x="96" y="12"/>
                  </a:lnTo>
                  <a:lnTo>
                    <a:pt x="98" y="12"/>
                  </a:lnTo>
                  <a:lnTo>
                    <a:pt x="98" y="12"/>
                  </a:lnTo>
                  <a:lnTo>
                    <a:pt x="100" y="8"/>
                  </a:lnTo>
                  <a:lnTo>
                    <a:pt x="100" y="8"/>
                  </a:lnTo>
                  <a:lnTo>
                    <a:pt x="114" y="8"/>
                  </a:lnTo>
                  <a:lnTo>
                    <a:pt x="120" y="10"/>
                  </a:lnTo>
                  <a:lnTo>
                    <a:pt x="126" y="10"/>
                  </a:lnTo>
                  <a:lnTo>
                    <a:pt x="130" y="8"/>
                  </a:lnTo>
                  <a:lnTo>
                    <a:pt x="130" y="8"/>
                  </a:lnTo>
                  <a:lnTo>
                    <a:pt x="136" y="6"/>
                  </a:lnTo>
                  <a:lnTo>
                    <a:pt x="140" y="8"/>
                  </a:lnTo>
                  <a:lnTo>
                    <a:pt x="144" y="8"/>
                  </a:lnTo>
                  <a:lnTo>
                    <a:pt x="146" y="6"/>
                  </a:lnTo>
                  <a:lnTo>
                    <a:pt x="146" y="6"/>
                  </a:lnTo>
                  <a:lnTo>
                    <a:pt x="150" y="6"/>
                  </a:lnTo>
                  <a:lnTo>
                    <a:pt x="150" y="6"/>
                  </a:lnTo>
                  <a:lnTo>
                    <a:pt x="152" y="8"/>
                  </a:lnTo>
                  <a:lnTo>
                    <a:pt x="154" y="8"/>
                  </a:lnTo>
                  <a:lnTo>
                    <a:pt x="154" y="8"/>
                  </a:lnTo>
                  <a:lnTo>
                    <a:pt x="156" y="8"/>
                  </a:lnTo>
                  <a:lnTo>
                    <a:pt x="158" y="10"/>
                  </a:lnTo>
                  <a:lnTo>
                    <a:pt x="162" y="14"/>
                  </a:lnTo>
                  <a:lnTo>
                    <a:pt x="162" y="14"/>
                  </a:lnTo>
                  <a:lnTo>
                    <a:pt x="164" y="18"/>
                  </a:lnTo>
                  <a:lnTo>
                    <a:pt x="166" y="24"/>
                  </a:lnTo>
                  <a:lnTo>
                    <a:pt x="166" y="24"/>
                  </a:lnTo>
                  <a:lnTo>
                    <a:pt x="170" y="26"/>
                  </a:lnTo>
                  <a:lnTo>
                    <a:pt x="172" y="30"/>
                  </a:lnTo>
                  <a:lnTo>
                    <a:pt x="172" y="34"/>
                  </a:lnTo>
                  <a:lnTo>
                    <a:pt x="166" y="38"/>
                  </a:lnTo>
                  <a:lnTo>
                    <a:pt x="166" y="38"/>
                  </a:lnTo>
                  <a:lnTo>
                    <a:pt x="162" y="40"/>
                  </a:lnTo>
                  <a:lnTo>
                    <a:pt x="162" y="44"/>
                  </a:lnTo>
                  <a:lnTo>
                    <a:pt x="166" y="48"/>
                  </a:lnTo>
                  <a:lnTo>
                    <a:pt x="168" y="58"/>
                  </a:lnTo>
                  <a:lnTo>
                    <a:pt x="168" y="58"/>
                  </a:lnTo>
                  <a:lnTo>
                    <a:pt x="172" y="66"/>
                  </a:lnTo>
                  <a:lnTo>
                    <a:pt x="176" y="70"/>
                  </a:lnTo>
                  <a:lnTo>
                    <a:pt x="180" y="72"/>
                  </a:lnTo>
                  <a:lnTo>
                    <a:pt x="184" y="74"/>
                  </a:lnTo>
                  <a:lnTo>
                    <a:pt x="184" y="74"/>
                  </a:lnTo>
                  <a:lnTo>
                    <a:pt x="184" y="76"/>
                  </a:lnTo>
                  <a:lnTo>
                    <a:pt x="182" y="74"/>
                  </a:lnTo>
                  <a:lnTo>
                    <a:pt x="180" y="74"/>
                  </a:lnTo>
                  <a:lnTo>
                    <a:pt x="180" y="78"/>
                  </a:lnTo>
                  <a:lnTo>
                    <a:pt x="180" y="78"/>
                  </a:lnTo>
                  <a:lnTo>
                    <a:pt x="182" y="80"/>
                  </a:lnTo>
                  <a:lnTo>
                    <a:pt x="180" y="80"/>
                  </a:lnTo>
                  <a:lnTo>
                    <a:pt x="176" y="82"/>
                  </a:lnTo>
                  <a:lnTo>
                    <a:pt x="174" y="86"/>
                  </a:lnTo>
                  <a:lnTo>
                    <a:pt x="174" y="86"/>
                  </a:lnTo>
                  <a:lnTo>
                    <a:pt x="168" y="92"/>
                  </a:lnTo>
                  <a:lnTo>
                    <a:pt x="166" y="94"/>
                  </a:lnTo>
                  <a:lnTo>
                    <a:pt x="166" y="96"/>
                  </a:lnTo>
                  <a:lnTo>
                    <a:pt x="166" y="100"/>
                  </a:lnTo>
                  <a:lnTo>
                    <a:pt x="166" y="100"/>
                  </a:lnTo>
                  <a:lnTo>
                    <a:pt x="164" y="104"/>
                  </a:lnTo>
                  <a:lnTo>
                    <a:pt x="164" y="104"/>
                  </a:lnTo>
                  <a:lnTo>
                    <a:pt x="160" y="104"/>
                  </a:lnTo>
                  <a:lnTo>
                    <a:pt x="160" y="104"/>
                  </a:lnTo>
                  <a:lnTo>
                    <a:pt x="152" y="104"/>
                  </a:lnTo>
                  <a:lnTo>
                    <a:pt x="146" y="100"/>
                  </a:lnTo>
                  <a:lnTo>
                    <a:pt x="140" y="98"/>
                  </a:lnTo>
                  <a:lnTo>
                    <a:pt x="136" y="96"/>
                  </a:lnTo>
                  <a:lnTo>
                    <a:pt x="136" y="96"/>
                  </a:lnTo>
                  <a:lnTo>
                    <a:pt x="132" y="98"/>
                  </a:lnTo>
                  <a:lnTo>
                    <a:pt x="132" y="100"/>
                  </a:lnTo>
                  <a:lnTo>
                    <a:pt x="132" y="100"/>
                  </a:lnTo>
                  <a:lnTo>
                    <a:pt x="130" y="102"/>
                  </a:lnTo>
                  <a:lnTo>
                    <a:pt x="130" y="102"/>
                  </a:lnTo>
                  <a:lnTo>
                    <a:pt x="126" y="100"/>
                  </a:lnTo>
                  <a:lnTo>
                    <a:pt x="122" y="98"/>
                  </a:lnTo>
                  <a:lnTo>
                    <a:pt x="122" y="98"/>
                  </a:lnTo>
                  <a:lnTo>
                    <a:pt x="120" y="98"/>
                  </a:lnTo>
                  <a:lnTo>
                    <a:pt x="118" y="100"/>
                  </a:lnTo>
                  <a:lnTo>
                    <a:pt x="116" y="100"/>
                  </a:lnTo>
                  <a:lnTo>
                    <a:pt x="112" y="98"/>
                  </a:lnTo>
                  <a:lnTo>
                    <a:pt x="112" y="98"/>
                  </a:lnTo>
                  <a:lnTo>
                    <a:pt x="108" y="94"/>
                  </a:lnTo>
                  <a:lnTo>
                    <a:pt x="106" y="98"/>
                  </a:lnTo>
                  <a:lnTo>
                    <a:pt x="106" y="98"/>
                  </a:lnTo>
                  <a:lnTo>
                    <a:pt x="104" y="100"/>
                  </a:lnTo>
                  <a:lnTo>
                    <a:pt x="96" y="96"/>
                  </a:lnTo>
                  <a:lnTo>
                    <a:pt x="96" y="96"/>
                  </a:lnTo>
                  <a:lnTo>
                    <a:pt x="86" y="90"/>
                  </a:lnTo>
                  <a:lnTo>
                    <a:pt x="78" y="88"/>
                  </a:lnTo>
                  <a:lnTo>
                    <a:pt x="72" y="86"/>
                  </a:lnTo>
                  <a:lnTo>
                    <a:pt x="70" y="84"/>
                  </a:lnTo>
                  <a:lnTo>
                    <a:pt x="70" y="84"/>
                  </a:lnTo>
                  <a:lnTo>
                    <a:pt x="68" y="80"/>
                  </a:lnTo>
                  <a:lnTo>
                    <a:pt x="66" y="80"/>
                  </a:lnTo>
                  <a:lnTo>
                    <a:pt x="66" y="80"/>
                  </a:lnTo>
                  <a:lnTo>
                    <a:pt x="62" y="80"/>
                  </a:lnTo>
                  <a:lnTo>
                    <a:pt x="58" y="78"/>
                  </a:lnTo>
                  <a:lnTo>
                    <a:pt x="56" y="78"/>
                  </a:lnTo>
                  <a:lnTo>
                    <a:pt x="56" y="80"/>
                  </a:lnTo>
                  <a:lnTo>
                    <a:pt x="56" y="80"/>
                  </a:lnTo>
                  <a:lnTo>
                    <a:pt x="58" y="82"/>
                  </a:lnTo>
                  <a:lnTo>
                    <a:pt x="56" y="82"/>
                  </a:lnTo>
                  <a:lnTo>
                    <a:pt x="54" y="82"/>
                  </a:lnTo>
                  <a:lnTo>
                    <a:pt x="52" y="84"/>
                  </a:lnTo>
                  <a:lnTo>
                    <a:pt x="52" y="84"/>
                  </a:lnTo>
                  <a:lnTo>
                    <a:pt x="52" y="84"/>
                  </a:lnTo>
                  <a:lnTo>
                    <a:pt x="50" y="82"/>
                  </a:lnTo>
                  <a:lnTo>
                    <a:pt x="46" y="80"/>
                  </a:lnTo>
                  <a:lnTo>
                    <a:pt x="42" y="78"/>
                  </a:lnTo>
                  <a:lnTo>
                    <a:pt x="42" y="78"/>
                  </a:lnTo>
                  <a:lnTo>
                    <a:pt x="28" y="76"/>
                  </a:lnTo>
                  <a:lnTo>
                    <a:pt x="22" y="74"/>
                  </a:lnTo>
                  <a:lnTo>
                    <a:pt x="20" y="72"/>
                  </a:lnTo>
                  <a:lnTo>
                    <a:pt x="18" y="74"/>
                  </a:lnTo>
                  <a:lnTo>
                    <a:pt x="18" y="74"/>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5" name="Portugal"/>
            <p:cNvSpPr>
              <a:spLocks/>
            </p:cNvSpPr>
            <p:nvPr/>
          </p:nvSpPr>
          <p:spPr bwMode="auto">
            <a:xfrm>
              <a:off x="3906538" y="2260865"/>
              <a:ext cx="74083" cy="148167"/>
            </a:xfrm>
            <a:custGeom>
              <a:avLst/>
              <a:gdLst/>
              <a:ahLst/>
              <a:cxnLst>
                <a:cxn ang="0">
                  <a:pos x="32" y="110"/>
                </a:cxn>
                <a:cxn ang="0">
                  <a:pos x="22" y="112"/>
                </a:cxn>
                <a:cxn ang="0">
                  <a:pos x="18" y="110"/>
                </a:cxn>
                <a:cxn ang="0">
                  <a:pos x="12" y="110"/>
                </a:cxn>
                <a:cxn ang="0">
                  <a:pos x="4" y="110"/>
                </a:cxn>
                <a:cxn ang="0">
                  <a:pos x="2" y="108"/>
                </a:cxn>
                <a:cxn ang="0">
                  <a:pos x="6" y="104"/>
                </a:cxn>
                <a:cxn ang="0">
                  <a:pos x="10" y="98"/>
                </a:cxn>
                <a:cxn ang="0">
                  <a:pos x="10" y="94"/>
                </a:cxn>
                <a:cxn ang="0">
                  <a:pos x="10" y="92"/>
                </a:cxn>
                <a:cxn ang="0">
                  <a:pos x="10" y="80"/>
                </a:cxn>
                <a:cxn ang="0">
                  <a:pos x="12" y="78"/>
                </a:cxn>
                <a:cxn ang="0">
                  <a:pos x="4" y="80"/>
                </a:cxn>
                <a:cxn ang="0">
                  <a:pos x="4" y="72"/>
                </a:cxn>
                <a:cxn ang="0">
                  <a:pos x="2" y="72"/>
                </a:cxn>
                <a:cxn ang="0">
                  <a:pos x="0" y="68"/>
                </a:cxn>
                <a:cxn ang="0">
                  <a:pos x="0" y="62"/>
                </a:cxn>
                <a:cxn ang="0">
                  <a:pos x="0" y="58"/>
                </a:cxn>
                <a:cxn ang="0">
                  <a:pos x="6" y="52"/>
                </a:cxn>
                <a:cxn ang="0">
                  <a:pos x="8" y="46"/>
                </a:cxn>
                <a:cxn ang="0">
                  <a:pos x="12" y="32"/>
                </a:cxn>
                <a:cxn ang="0">
                  <a:pos x="16" y="18"/>
                </a:cxn>
                <a:cxn ang="0">
                  <a:pos x="16" y="12"/>
                </a:cxn>
                <a:cxn ang="0">
                  <a:pos x="16" y="10"/>
                </a:cxn>
                <a:cxn ang="0">
                  <a:pos x="16" y="6"/>
                </a:cxn>
                <a:cxn ang="0">
                  <a:pos x="18" y="2"/>
                </a:cxn>
                <a:cxn ang="0">
                  <a:pos x="20" y="0"/>
                </a:cxn>
                <a:cxn ang="0">
                  <a:pos x="30" y="0"/>
                </a:cxn>
                <a:cxn ang="0">
                  <a:pos x="30" y="4"/>
                </a:cxn>
                <a:cxn ang="0">
                  <a:pos x="32" y="6"/>
                </a:cxn>
                <a:cxn ang="0">
                  <a:pos x="42" y="6"/>
                </a:cxn>
                <a:cxn ang="0">
                  <a:pos x="50" y="4"/>
                </a:cxn>
                <a:cxn ang="0">
                  <a:pos x="54" y="8"/>
                </a:cxn>
                <a:cxn ang="0">
                  <a:pos x="56" y="10"/>
                </a:cxn>
                <a:cxn ang="0">
                  <a:pos x="52" y="14"/>
                </a:cxn>
                <a:cxn ang="0">
                  <a:pos x="46" y="24"/>
                </a:cxn>
                <a:cxn ang="0">
                  <a:pos x="44" y="24"/>
                </a:cxn>
                <a:cxn ang="0">
                  <a:pos x="46" y="28"/>
                </a:cxn>
                <a:cxn ang="0">
                  <a:pos x="44" y="36"/>
                </a:cxn>
                <a:cxn ang="0">
                  <a:pos x="44" y="38"/>
                </a:cxn>
                <a:cxn ang="0">
                  <a:pos x="46" y="42"/>
                </a:cxn>
                <a:cxn ang="0">
                  <a:pos x="42" y="52"/>
                </a:cxn>
                <a:cxn ang="0">
                  <a:pos x="34" y="52"/>
                </a:cxn>
                <a:cxn ang="0">
                  <a:pos x="40" y="64"/>
                </a:cxn>
                <a:cxn ang="0">
                  <a:pos x="40" y="72"/>
                </a:cxn>
                <a:cxn ang="0">
                  <a:pos x="36" y="80"/>
                </a:cxn>
                <a:cxn ang="0">
                  <a:pos x="40" y="86"/>
                </a:cxn>
                <a:cxn ang="0">
                  <a:pos x="38" y="92"/>
                </a:cxn>
                <a:cxn ang="0">
                  <a:pos x="32" y="102"/>
                </a:cxn>
                <a:cxn ang="0">
                  <a:pos x="34" y="106"/>
                </a:cxn>
              </a:cxnLst>
              <a:rect l="0" t="0" r="r" b="b"/>
              <a:pathLst>
                <a:path w="56" h="112">
                  <a:moveTo>
                    <a:pt x="34" y="106"/>
                  </a:moveTo>
                  <a:lnTo>
                    <a:pt x="34" y="106"/>
                  </a:lnTo>
                  <a:lnTo>
                    <a:pt x="32" y="110"/>
                  </a:lnTo>
                  <a:lnTo>
                    <a:pt x="28" y="110"/>
                  </a:lnTo>
                  <a:lnTo>
                    <a:pt x="28" y="110"/>
                  </a:lnTo>
                  <a:lnTo>
                    <a:pt x="22" y="112"/>
                  </a:lnTo>
                  <a:lnTo>
                    <a:pt x="20" y="112"/>
                  </a:lnTo>
                  <a:lnTo>
                    <a:pt x="18" y="110"/>
                  </a:lnTo>
                  <a:lnTo>
                    <a:pt x="18" y="110"/>
                  </a:lnTo>
                  <a:lnTo>
                    <a:pt x="16" y="110"/>
                  </a:lnTo>
                  <a:lnTo>
                    <a:pt x="12" y="110"/>
                  </a:lnTo>
                  <a:lnTo>
                    <a:pt x="12" y="110"/>
                  </a:lnTo>
                  <a:lnTo>
                    <a:pt x="10" y="110"/>
                  </a:lnTo>
                  <a:lnTo>
                    <a:pt x="4" y="110"/>
                  </a:lnTo>
                  <a:lnTo>
                    <a:pt x="4" y="110"/>
                  </a:lnTo>
                  <a:lnTo>
                    <a:pt x="2" y="110"/>
                  </a:lnTo>
                  <a:lnTo>
                    <a:pt x="2" y="108"/>
                  </a:lnTo>
                  <a:lnTo>
                    <a:pt x="2" y="108"/>
                  </a:lnTo>
                  <a:lnTo>
                    <a:pt x="2" y="108"/>
                  </a:lnTo>
                  <a:lnTo>
                    <a:pt x="4" y="106"/>
                  </a:lnTo>
                  <a:lnTo>
                    <a:pt x="6" y="104"/>
                  </a:lnTo>
                  <a:lnTo>
                    <a:pt x="8" y="100"/>
                  </a:lnTo>
                  <a:lnTo>
                    <a:pt x="8" y="100"/>
                  </a:lnTo>
                  <a:lnTo>
                    <a:pt x="10" y="98"/>
                  </a:lnTo>
                  <a:lnTo>
                    <a:pt x="10" y="94"/>
                  </a:lnTo>
                  <a:lnTo>
                    <a:pt x="10" y="94"/>
                  </a:lnTo>
                  <a:lnTo>
                    <a:pt x="10" y="94"/>
                  </a:lnTo>
                  <a:lnTo>
                    <a:pt x="10" y="94"/>
                  </a:lnTo>
                  <a:lnTo>
                    <a:pt x="10" y="94"/>
                  </a:lnTo>
                  <a:lnTo>
                    <a:pt x="10" y="92"/>
                  </a:lnTo>
                  <a:lnTo>
                    <a:pt x="10" y="92"/>
                  </a:lnTo>
                  <a:lnTo>
                    <a:pt x="10" y="86"/>
                  </a:lnTo>
                  <a:lnTo>
                    <a:pt x="10" y="80"/>
                  </a:lnTo>
                  <a:lnTo>
                    <a:pt x="10" y="80"/>
                  </a:lnTo>
                  <a:lnTo>
                    <a:pt x="10" y="78"/>
                  </a:lnTo>
                  <a:lnTo>
                    <a:pt x="12" y="78"/>
                  </a:lnTo>
                  <a:lnTo>
                    <a:pt x="12" y="78"/>
                  </a:lnTo>
                  <a:lnTo>
                    <a:pt x="6" y="80"/>
                  </a:lnTo>
                  <a:lnTo>
                    <a:pt x="4" y="80"/>
                  </a:lnTo>
                  <a:lnTo>
                    <a:pt x="2" y="78"/>
                  </a:lnTo>
                  <a:lnTo>
                    <a:pt x="2" y="78"/>
                  </a:lnTo>
                  <a:lnTo>
                    <a:pt x="4" y="72"/>
                  </a:lnTo>
                  <a:lnTo>
                    <a:pt x="4" y="72"/>
                  </a:lnTo>
                  <a:lnTo>
                    <a:pt x="4" y="72"/>
                  </a:lnTo>
                  <a:lnTo>
                    <a:pt x="2" y="72"/>
                  </a:lnTo>
                  <a:lnTo>
                    <a:pt x="2" y="72"/>
                  </a:lnTo>
                  <a:lnTo>
                    <a:pt x="0" y="72"/>
                  </a:lnTo>
                  <a:lnTo>
                    <a:pt x="0" y="68"/>
                  </a:lnTo>
                  <a:lnTo>
                    <a:pt x="0" y="68"/>
                  </a:lnTo>
                  <a:lnTo>
                    <a:pt x="0" y="64"/>
                  </a:lnTo>
                  <a:lnTo>
                    <a:pt x="0" y="62"/>
                  </a:lnTo>
                  <a:lnTo>
                    <a:pt x="0" y="58"/>
                  </a:lnTo>
                  <a:lnTo>
                    <a:pt x="0" y="58"/>
                  </a:lnTo>
                  <a:lnTo>
                    <a:pt x="0" y="58"/>
                  </a:lnTo>
                  <a:lnTo>
                    <a:pt x="2" y="56"/>
                  </a:lnTo>
                  <a:lnTo>
                    <a:pt x="6" y="52"/>
                  </a:lnTo>
                  <a:lnTo>
                    <a:pt x="6" y="52"/>
                  </a:lnTo>
                  <a:lnTo>
                    <a:pt x="8" y="48"/>
                  </a:lnTo>
                  <a:lnTo>
                    <a:pt x="8" y="46"/>
                  </a:lnTo>
                  <a:lnTo>
                    <a:pt x="8" y="46"/>
                  </a:lnTo>
                  <a:lnTo>
                    <a:pt x="8" y="44"/>
                  </a:lnTo>
                  <a:lnTo>
                    <a:pt x="8" y="44"/>
                  </a:lnTo>
                  <a:lnTo>
                    <a:pt x="12" y="32"/>
                  </a:lnTo>
                  <a:lnTo>
                    <a:pt x="12" y="32"/>
                  </a:lnTo>
                  <a:lnTo>
                    <a:pt x="14" y="26"/>
                  </a:lnTo>
                  <a:lnTo>
                    <a:pt x="16" y="18"/>
                  </a:lnTo>
                  <a:lnTo>
                    <a:pt x="16" y="18"/>
                  </a:lnTo>
                  <a:lnTo>
                    <a:pt x="16" y="14"/>
                  </a:lnTo>
                  <a:lnTo>
                    <a:pt x="16" y="12"/>
                  </a:lnTo>
                  <a:lnTo>
                    <a:pt x="16" y="10"/>
                  </a:lnTo>
                  <a:lnTo>
                    <a:pt x="16" y="10"/>
                  </a:lnTo>
                  <a:lnTo>
                    <a:pt x="16" y="10"/>
                  </a:lnTo>
                  <a:lnTo>
                    <a:pt x="16" y="8"/>
                  </a:lnTo>
                  <a:lnTo>
                    <a:pt x="16" y="6"/>
                  </a:lnTo>
                  <a:lnTo>
                    <a:pt x="16" y="6"/>
                  </a:lnTo>
                  <a:lnTo>
                    <a:pt x="16" y="4"/>
                  </a:lnTo>
                  <a:lnTo>
                    <a:pt x="16" y="4"/>
                  </a:lnTo>
                  <a:lnTo>
                    <a:pt x="18" y="2"/>
                  </a:lnTo>
                  <a:lnTo>
                    <a:pt x="16" y="2"/>
                  </a:lnTo>
                  <a:lnTo>
                    <a:pt x="16" y="2"/>
                  </a:lnTo>
                  <a:lnTo>
                    <a:pt x="20" y="0"/>
                  </a:lnTo>
                  <a:lnTo>
                    <a:pt x="24" y="0"/>
                  </a:lnTo>
                  <a:lnTo>
                    <a:pt x="24" y="0"/>
                  </a:lnTo>
                  <a:lnTo>
                    <a:pt x="30" y="0"/>
                  </a:lnTo>
                  <a:lnTo>
                    <a:pt x="30" y="2"/>
                  </a:lnTo>
                  <a:lnTo>
                    <a:pt x="30" y="4"/>
                  </a:lnTo>
                  <a:lnTo>
                    <a:pt x="30" y="4"/>
                  </a:lnTo>
                  <a:lnTo>
                    <a:pt x="30" y="6"/>
                  </a:lnTo>
                  <a:lnTo>
                    <a:pt x="32" y="6"/>
                  </a:lnTo>
                  <a:lnTo>
                    <a:pt x="32" y="6"/>
                  </a:lnTo>
                  <a:lnTo>
                    <a:pt x="38" y="4"/>
                  </a:lnTo>
                  <a:lnTo>
                    <a:pt x="42" y="6"/>
                  </a:lnTo>
                  <a:lnTo>
                    <a:pt x="42" y="6"/>
                  </a:lnTo>
                  <a:lnTo>
                    <a:pt x="44" y="6"/>
                  </a:lnTo>
                  <a:lnTo>
                    <a:pt x="46" y="6"/>
                  </a:lnTo>
                  <a:lnTo>
                    <a:pt x="50" y="4"/>
                  </a:lnTo>
                  <a:lnTo>
                    <a:pt x="52" y="6"/>
                  </a:lnTo>
                  <a:lnTo>
                    <a:pt x="52" y="6"/>
                  </a:lnTo>
                  <a:lnTo>
                    <a:pt x="54" y="8"/>
                  </a:lnTo>
                  <a:lnTo>
                    <a:pt x="54" y="10"/>
                  </a:lnTo>
                  <a:lnTo>
                    <a:pt x="54" y="10"/>
                  </a:lnTo>
                  <a:lnTo>
                    <a:pt x="56" y="10"/>
                  </a:lnTo>
                  <a:lnTo>
                    <a:pt x="56" y="12"/>
                  </a:lnTo>
                  <a:lnTo>
                    <a:pt x="52" y="14"/>
                  </a:lnTo>
                  <a:lnTo>
                    <a:pt x="52" y="14"/>
                  </a:lnTo>
                  <a:lnTo>
                    <a:pt x="50" y="18"/>
                  </a:lnTo>
                  <a:lnTo>
                    <a:pt x="48" y="22"/>
                  </a:lnTo>
                  <a:lnTo>
                    <a:pt x="46" y="24"/>
                  </a:lnTo>
                  <a:lnTo>
                    <a:pt x="44" y="24"/>
                  </a:lnTo>
                  <a:lnTo>
                    <a:pt x="44" y="24"/>
                  </a:lnTo>
                  <a:lnTo>
                    <a:pt x="44" y="24"/>
                  </a:lnTo>
                  <a:lnTo>
                    <a:pt x="44" y="24"/>
                  </a:lnTo>
                  <a:lnTo>
                    <a:pt x="46" y="28"/>
                  </a:lnTo>
                  <a:lnTo>
                    <a:pt x="46" y="28"/>
                  </a:lnTo>
                  <a:lnTo>
                    <a:pt x="46" y="32"/>
                  </a:lnTo>
                  <a:lnTo>
                    <a:pt x="46" y="34"/>
                  </a:lnTo>
                  <a:lnTo>
                    <a:pt x="44" y="36"/>
                  </a:lnTo>
                  <a:lnTo>
                    <a:pt x="44" y="36"/>
                  </a:lnTo>
                  <a:lnTo>
                    <a:pt x="44" y="36"/>
                  </a:lnTo>
                  <a:lnTo>
                    <a:pt x="44" y="38"/>
                  </a:lnTo>
                  <a:lnTo>
                    <a:pt x="46" y="38"/>
                  </a:lnTo>
                  <a:lnTo>
                    <a:pt x="46" y="42"/>
                  </a:lnTo>
                  <a:lnTo>
                    <a:pt x="46" y="42"/>
                  </a:lnTo>
                  <a:lnTo>
                    <a:pt x="44" y="48"/>
                  </a:lnTo>
                  <a:lnTo>
                    <a:pt x="44" y="50"/>
                  </a:lnTo>
                  <a:lnTo>
                    <a:pt x="42" y="52"/>
                  </a:lnTo>
                  <a:lnTo>
                    <a:pt x="42" y="52"/>
                  </a:lnTo>
                  <a:lnTo>
                    <a:pt x="36" y="52"/>
                  </a:lnTo>
                  <a:lnTo>
                    <a:pt x="34" y="52"/>
                  </a:lnTo>
                  <a:lnTo>
                    <a:pt x="36" y="54"/>
                  </a:lnTo>
                  <a:lnTo>
                    <a:pt x="36" y="54"/>
                  </a:lnTo>
                  <a:lnTo>
                    <a:pt x="40" y="64"/>
                  </a:lnTo>
                  <a:lnTo>
                    <a:pt x="40" y="64"/>
                  </a:lnTo>
                  <a:lnTo>
                    <a:pt x="42" y="68"/>
                  </a:lnTo>
                  <a:lnTo>
                    <a:pt x="40" y="72"/>
                  </a:lnTo>
                  <a:lnTo>
                    <a:pt x="40" y="72"/>
                  </a:lnTo>
                  <a:lnTo>
                    <a:pt x="36" y="76"/>
                  </a:lnTo>
                  <a:lnTo>
                    <a:pt x="36" y="80"/>
                  </a:lnTo>
                  <a:lnTo>
                    <a:pt x="38" y="82"/>
                  </a:lnTo>
                  <a:lnTo>
                    <a:pt x="38" y="82"/>
                  </a:lnTo>
                  <a:lnTo>
                    <a:pt x="40" y="86"/>
                  </a:lnTo>
                  <a:lnTo>
                    <a:pt x="40" y="88"/>
                  </a:lnTo>
                  <a:lnTo>
                    <a:pt x="40" y="88"/>
                  </a:lnTo>
                  <a:lnTo>
                    <a:pt x="38" y="92"/>
                  </a:lnTo>
                  <a:lnTo>
                    <a:pt x="34" y="98"/>
                  </a:lnTo>
                  <a:lnTo>
                    <a:pt x="34" y="98"/>
                  </a:lnTo>
                  <a:lnTo>
                    <a:pt x="32" y="102"/>
                  </a:lnTo>
                  <a:lnTo>
                    <a:pt x="32" y="104"/>
                  </a:lnTo>
                  <a:lnTo>
                    <a:pt x="34" y="106"/>
                  </a:lnTo>
                  <a:lnTo>
                    <a:pt x="34" y="106"/>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6" name="Qatar"/>
            <p:cNvSpPr>
              <a:spLocks/>
            </p:cNvSpPr>
            <p:nvPr/>
          </p:nvSpPr>
          <p:spPr bwMode="auto">
            <a:xfrm>
              <a:off x="5512559" y="2742405"/>
              <a:ext cx="31750" cy="42333"/>
            </a:xfrm>
            <a:custGeom>
              <a:avLst/>
              <a:gdLst/>
              <a:ahLst/>
              <a:cxnLst>
                <a:cxn ang="0">
                  <a:pos x="22" y="32"/>
                </a:cxn>
                <a:cxn ang="0">
                  <a:pos x="22" y="32"/>
                </a:cxn>
                <a:cxn ang="0">
                  <a:pos x="24" y="28"/>
                </a:cxn>
                <a:cxn ang="0">
                  <a:pos x="22" y="24"/>
                </a:cxn>
                <a:cxn ang="0">
                  <a:pos x="22" y="18"/>
                </a:cxn>
                <a:cxn ang="0">
                  <a:pos x="22" y="16"/>
                </a:cxn>
                <a:cxn ang="0">
                  <a:pos x="22" y="16"/>
                </a:cxn>
                <a:cxn ang="0">
                  <a:pos x="24" y="14"/>
                </a:cxn>
                <a:cxn ang="0">
                  <a:pos x="24" y="12"/>
                </a:cxn>
                <a:cxn ang="0">
                  <a:pos x="22" y="8"/>
                </a:cxn>
                <a:cxn ang="0">
                  <a:pos x="14" y="0"/>
                </a:cxn>
                <a:cxn ang="0">
                  <a:pos x="14" y="0"/>
                </a:cxn>
                <a:cxn ang="0">
                  <a:pos x="12" y="0"/>
                </a:cxn>
                <a:cxn ang="0">
                  <a:pos x="10" y="2"/>
                </a:cxn>
                <a:cxn ang="0">
                  <a:pos x="6" y="8"/>
                </a:cxn>
                <a:cxn ang="0">
                  <a:pos x="6" y="8"/>
                </a:cxn>
                <a:cxn ang="0">
                  <a:pos x="4" y="8"/>
                </a:cxn>
                <a:cxn ang="0">
                  <a:pos x="4" y="8"/>
                </a:cxn>
                <a:cxn ang="0">
                  <a:pos x="4" y="6"/>
                </a:cxn>
                <a:cxn ang="0">
                  <a:pos x="2" y="6"/>
                </a:cxn>
                <a:cxn ang="0">
                  <a:pos x="2" y="6"/>
                </a:cxn>
                <a:cxn ang="0">
                  <a:pos x="2" y="8"/>
                </a:cxn>
                <a:cxn ang="0">
                  <a:pos x="0" y="10"/>
                </a:cxn>
                <a:cxn ang="0">
                  <a:pos x="6" y="24"/>
                </a:cxn>
                <a:cxn ang="0">
                  <a:pos x="6" y="24"/>
                </a:cxn>
                <a:cxn ang="0">
                  <a:pos x="14" y="30"/>
                </a:cxn>
                <a:cxn ang="0">
                  <a:pos x="22" y="32"/>
                </a:cxn>
                <a:cxn ang="0">
                  <a:pos x="22" y="32"/>
                </a:cxn>
              </a:cxnLst>
              <a:rect l="0" t="0" r="r" b="b"/>
              <a:pathLst>
                <a:path w="24" h="32">
                  <a:moveTo>
                    <a:pt x="22" y="32"/>
                  </a:moveTo>
                  <a:lnTo>
                    <a:pt x="22" y="32"/>
                  </a:lnTo>
                  <a:lnTo>
                    <a:pt x="24" y="28"/>
                  </a:lnTo>
                  <a:lnTo>
                    <a:pt x="22" y="24"/>
                  </a:lnTo>
                  <a:lnTo>
                    <a:pt x="22" y="18"/>
                  </a:lnTo>
                  <a:lnTo>
                    <a:pt x="22" y="16"/>
                  </a:lnTo>
                  <a:lnTo>
                    <a:pt x="22" y="16"/>
                  </a:lnTo>
                  <a:lnTo>
                    <a:pt x="24" y="14"/>
                  </a:lnTo>
                  <a:lnTo>
                    <a:pt x="24" y="12"/>
                  </a:lnTo>
                  <a:lnTo>
                    <a:pt x="22" y="8"/>
                  </a:lnTo>
                  <a:lnTo>
                    <a:pt x="14" y="0"/>
                  </a:lnTo>
                  <a:lnTo>
                    <a:pt x="14" y="0"/>
                  </a:lnTo>
                  <a:lnTo>
                    <a:pt x="12" y="0"/>
                  </a:lnTo>
                  <a:lnTo>
                    <a:pt x="10" y="2"/>
                  </a:lnTo>
                  <a:lnTo>
                    <a:pt x="6" y="8"/>
                  </a:lnTo>
                  <a:lnTo>
                    <a:pt x="6" y="8"/>
                  </a:lnTo>
                  <a:lnTo>
                    <a:pt x="4" y="8"/>
                  </a:lnTo>
                  <a:lnTo>
                    <a:pt x="4" y="8"/>
                  </a:lnTo>
                  <a:lnTo>
                    <a:pt x="4" y="6"/>
                  </a:lnTo>
                  <a:lnTo>
                    <a:pt x="2" y="6"/>
                  </a:lnTo>
                  <a:lnTo>
                    <a:pt x="2" y="6"/>
                  </a:lnTo>
                  <a:lnTo>
                    <a:pt x="2" y="8"/>
                  </a:lnTo>
                  <a:lnTo>
                    <a:pt x="0" y="10"/>
                  </a:lnTo>
                  <a:lnTo>
                    <a:pt x="6" y="24"/>
                  </a:lnTo>
                  <a:lnTo>
                    <a:pt x="6" y="24"/>
                  </a:lnTo>
                  <a:lnTo>
                    <a:pt x="14" y="30"/>
                  </a:lnTo>
                  <a:lnTo>
                    <a:pt x="22" y="32"/>
                  </a:lnTo>
                  <a:lnTo>
                    <a:pt x="22" y="32"/>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7" name="Romania"/>
            <p:cNvSpPr>
              <a:spLocks/>
            </p:cNvSpPr>
            <p:nvPr/>
          </p:nvSpPr>
          <p:spPr bwMode="auto">
            <a:xfrm>
              <a:off x="4644726" y="2080948"/>
              <a:ext cx="232833" cy="132292"/>
            </a:xfrm>
            <a:custGeom>
              <a:avLst/>
              <a:gdLst/>
              <a:ahLst/>
              <a:cxnLst>
                <a:cxn ang="0">
                  <a:pos x="8" y="44"/>
                </a:cxn>
                <a:cxn ang="0">
                  <a:pos x="20" y="28"/>
                </a:cxn>
                <a:cxn ang="0">
                  <a:pos x="22" y="14"/>
                </a:cxn>
                <a:cxn ang="0">
                  <a:pos x="36" y="6"/>
                </a:cxn>
                <a:cxn ang="0">
                  <a:pos x="44" y="8"/>
                </a:cxn>
                <a:cxn ang="0">
                  <a:pos x="54" y="8"/>
                </a:cxn>
                <a:cxn ang="0">
                  <a:pos x="60" y="8"/>
                </a:cxn>
                <a:cxn ang="0">
                  <a:pos x="70" y="4"/>
                </a:cxn>
                <a:cxn ang="0">
                  <a:pos x="80" y="4"/>
                </a:cxn>
                <a:cxn ang="0">
                  <a:pos x="94" y="2"/>
                </a:cxn>
                <a:cxn ang="0">
                  <a:pos x="112" y="2"/>
                </a:cxn>
                <a:cxn ang="0">
                  <a:pos x="120" y="8"/>
                </a:cxn>
                <a:cxn ang="0">
                  <a:pos x="126" y="20"/>
                </a:cxn>
                <a:cxn ang="0">
                  <a:pos x="132" y="24"/>
                </a:cxn>
                <a:cxn ang="0">
                  <a:pos x="134" y="28"/>
                </a:cxn>
                <a:cxn ang="0">
                  <a:pos x="136" y="34"/>
                </a:cxn>
                <a:cxn ang="0">
                  <a:pos x="136" y="38"/>
                </a:cxn>
                <a:cxn ang="0">
                  <a:pos x="138" y="46"/>
                </a:cxn>
                <a:cxn ang="0">
                  <a:pos x="142" y="50"/>
                </a:cxn>
                <a:cxn ang="0">
                  <a:pos x="144" y="54"/>
                </a:cxn>
                <a:cxn ang="0">
                  <a:pos x="152" y="64"/>
                </a:cxn>
                <a:cxn ang="0">
                  <a:pos x="158" y="62"/>
                </a:cxn>
                <a:cxn ang="0">
                  <a:pos x="176" y="60"/>
                </a:cxn>
                <a:cxn ang="0">
                  <a:pos x="174" y="62"/>
                </a:cxn>
                <a:cxn ang="0">
                  <a:pos x="174" y="70"/>
                </a:cxn>
                <a:cxn ang="0">
                  <a:pos x="168" y="72"/>
                </a:cxn>
                <a:cxn ang="0">
                  <a:pos x="166" y="70"/>
                </a:cxn>
                <a:cxn ang="0">
                  <a:pos x="164" y="74"/>
                </a:cxn>
                <a:cxn ang="0">
                  <a:pos x="164" y="78"/>
                </a:cxn>
                <a:cxn ang="0">
                  <a:pos x="162" y="92"/>
                </a:cxn>
                <a:cxn ang="0">
                  <a:pos x="162" y="98"/>
                </a:cxn>
                <a:cxn ang="0">
                  <a:pos x="150" y="94"/>
                </a:cxn>
                <a:cxn ang="0">
                  <a:pos x="130" y="90"/>
                </a:cxn>
                <a:cxn ang="0">
                  <a:pos x="122" y="88"/>
                </a:cxn>
                <a:cxn ang="0">
                  <a:pos x="102" y="98"/>
                </a:cxn>
                <a:cxn ang="0">
                  <a:pos x="92" y="100"/>
                </a:cxn>
                <a:cxn ang="0">
                  <a:pos x="72" y="98"/>
                </a:cxn>
                <a:cxn ang="0">
                  <a:pos x="56" y="96"/>
                </a:cxn>
                <a:cxn ang="0">
                  <a:pos x="50" y="92"/>
                </a:cxn>
                <a:cxn ang="0">
                  <a:pos x="42" y="88"/>
                </a:cxn>
                <a:cxn ang="0">
                  <a:pos x="42" y="82"/>
                </a:cxn>
                <a:cxn ang="0">
                  <a:pos x="38" y="82"/>
                </a:cxn>
                <a:cxn ang="0">
                  <a:pos x="30" y="80"/>
                </a:cxn>
                <a:cxn ang="0">
                  <a:pos x="24" y="78"/>
                </a:cxn>
                <a:cxn ang="0">
                  <a:pos x="20" y="72"/>
                </a:cxn>
                <a:cxn ang="0">
                  <a:pos x="16" y="66"/>
                </a:cxn>
                <a:cxn ang="0">
                  <a:pos x="10" y="60"/>
                </a:cxn>
                <a:cxn ang="0">
                  <a:pos x="6" y="56"/>
                </a:cxn>
                <a:cxn ang="0">
                  <a:pos x="0" y="48"/>
                </a:cxn>
              </a:cxnLst>
              <a:rect l="0" t="0" r="r" b="b"/>
              <a:pathLst>
                <a:path w="176" h="100">
                  <a:moveTo>
                    <a:pt x="0" y="48"/>
                  </a:moveTo>
                  <a:lnTo>
                    <a:pt x="0" y="48"/>
                  </a:lnTo>
                  <a:lnTo>
                    <a:pt x="4" y="48"/>
                  </a:lnTo>
                  <a:lnTo>
                    <a:pt x="8" y="44"/>
                  </a:lnTo>
                  <a:lnTo>
                    <a:pt x="8" y="44"/>
                  </a:lnTo>
                  <a:lnTo>
                    <a:pt x="16" y="32"/>
                  </a:lnTo>
                  <a:lnTo>
                    <a:pt x="16" y="32"/>
                  </a:lnTo>
                  <a:lnTo>
                    <a:pt x="20" y="28"/>
                  </a:lnTo>
                  <a:lnTo>
                    <a:pt x="22" y="22"/>
                  </a:lnTo>
                  <a:lnTo>
                    <a:pt x="22" y="22"/>
                  </a:lnTo>
                  <a:lnTo>
                    <a:pt x="20" y="18"/>
                  </a:lnTo>
                  <a:lnTo>
                    <a:pt x="22" y="14"/>
                  </a:lnTo>
                  <a:lnTo>
                    <a:pt x="22" y="14"/>
                  </a:lnTo>
                  <a:lnTo>
                    <a:pt x="30" y="8"/>
                  </a:lnTo>
                  <a:lnTo>
                    <a:pt x="30" y="8"/>
                  </a:lnTo>
                  <a:lnTo>
                    <a:pt x="36" y="6"/>
                  </a:lnTo>
                  <a:lnTo>
                    <a:pt x="40" y="6"/>
                  </a:lnTo>
                  <a:lnTo>
                    <a:pt x="42" y="8"/>
                  </a:lnTo>
                  <a:lnTo>
                    <a:pt x="44" y="8"/>
                  </a:lnTo>
                  <a:lnTo>
                    <a:pt x="44" y="8"/>
                  </a:lnTo>
                  <a:lnTo>
                    <a:pt x="46" y="6"/>
                  </a:lnTo>
                  <a:lnTo>
                    <a:pt x="48" y="6"/>
                  </a:lnTo>
                  <a:lnTo>
                    <a:pt x="50" y="8"/>
                  </a:lnTo>
                  <a:lnTo>
                    <a:pt x="54" y="8"/>
                  </a:lnTo>
                  <a:lnTo>
                    <a:pt x="54" y="8"/>
                  </a:lnTo>
                  <a:lnTo>
                    <a:pt x="58" y="6"/>
                  </a:lnTo>
                  <a:lnTo>
                    <a:pt x="60" y="8"/>
                  </a:lnTo>
                  <a:lnTo>
                    <a:pt x="60" y="8"/>
                  </a:lnTo>
                  <a:lnTo>
                    <a:pt x="62" y="6"/>
                  </a:lnTo>
                  <a:lnTo>
                    <a:pt x="62" y="6"/>
                  </a:lnTo>
                  <a:lnTo>
                    <a:pt x="66" y="4"/>
                  </a:lnTo>
                  <a:lnTo>
                    <a:pt x="70" y="4"/>
                  </a:lnTo>
                  <a:lnTo>
                    <a:pt x="74" y="6"/>
                  </a:lnTo>
                  <a:lnTo>
                    <a:pt x="76" y="6"/>
                  </a:lnTo>
                  <a:lnTo>
                    <a:pt x="76" y="6"/>
                  </a:lnTo>
                  <a:lnTo>
                    <a:pt x="80" y="4"/>
                  </a:lnTo>
                  <a:lnTo>
                    <a:pt x="86" y="4"/>
                  </a:lnTo>
                  <a:lnTo>
                    <a:pt x="92" y="4"/>
                  </a:lnTo>
                  <a:lnTo>
                    <a:pt x="94" y="2"/>
                  </a:lnTo>
                  <a:lnTo>
                    <a:pt x="94" y="2"/>
                  </a:lnTo>
                  <a:lnTo>
                    <a:pt x="100" y="0"/>
                  </a:lnTo>
                  <a:lnTo>
                    <a:pt x="104" y="2"/>
                  </a:lnTo>
                  <a:lnTo>
                    <a:pt x="110" y="2"/>
                  </a:lnTo>
                  <a:lnTo>
                    <a:pt x="112" y="2"/>
                  </a:lnTo>
                  <a:lnTo>
                    <a:pt x="112" y="2"/>
                  </a:lnTo>
                  <a:lnTo>
                    <a:pt x="116" y="2"/>
                  </a:lnTo>
                  <a:lnTo>
                    <a:pt x="116" y="2"/>
                  </a:lnTo>
                  <a:lnTo>
                    <a:pt x="120" y="8"/>
                  </a:lnTo>
                  <a:lnTo>
                    <a:pt x="122" y="12"/>
                  </a:lnTo>
                  <a:lnTo>
                    <a:pt x="122" y="12"/>
                  </a:lnTo>
                  <a:lnTo>
                    <a:pt x="124" y="14"/>
                  </a:lnTo>
                  <a:lnTo>
                    <a:pt x="126" y="20"/>
                  </a:lnTo>
                  <a:lnTo>
                    <a:pt x="126" y="20"/>
                  </a:lnTo>
                  <a:lnTo>
                    <a:pt x="128" y="22"/>
                  </a:lnTo>
                  <a:lnTo>
                    <a:pt x="130" y="22"/>
                  </a:lnTo>
                  <a:lnTo>
                    <a:pt x="132" y="24"/>
                  </a:lnTo>
                  <a:lnTo>
                    <a:pt x="132" y="24"/>
                  </a:lnTo>
                  <a:lnTo>
                    <a:pt x="132" y="24"/>
                  </a:lnTo>
                  <a:lnTo>
                    <a:pt x="132" y="26"/>
                  </a:lnTo>
                  <a:lnTo>
                    <a:pt x="134" y="28"/>
                  </a:lnTo>
                  <a:lnTo>
                    <a:pt x="136" y="30"/>
                  </a:lnTo>
                  <a:lnTo>
                    <a:pt x="136" y="32"/>
                  </a:lnTo>
                  <a:lnTo>
                    <a:pt x="136" y="32"/>
                  </a:lnTo>
                  <a:lnTo>
                    <a:pt x="136" y="34"/>
                  </a:lnTo>
                  <a:lnTo>
                    <a:pt x="136" y="36"/>
                  </a:lnTo>
                  <a:lnTo>
                    <a:pt x="136" y="38"/>
                  </a:lnTo>
                  <a:lnTo>
                    <a:pt x="136" y="38"/>
                  </a:lnTo>
                  <a:lnTo>
                    <a:pt x="136" y="38"/>
                  </a:lnTo>
                  <a:lnTo>
                    <a:pt x="136" y="40"/>
                  </a:lnTo>
                  <a:lnTo>
                    <a:pt x="138" y="42"/>
                  </a:lnTo>
                  <a:lnTo>
                    <a:pt x="138" y="46"/>
                  </a:lnTo>
                  <a:lnTo>
                    <a:pt x="138" y="46"/>
                  </a:lnTo>
                  <a:lnTo>
                    <a:pt x="138" y="46"/>
                  </a:lnTo>
                  <a:lnTo>
                    <a:pt x="140" y="48"/>
                  </a:lnTo>
                  <a:lnTo>
                    <a:pt x="142" y="48"/>
                  </a:lnTo>
                  <a:lnTo>
                    <a:pt x="142" y="50"/>
                  </a:lnTo>
                  <a:lnTo>
                    <a:pt x="142" y="50"/>
                  </a:lnTo>
                  <a:lnTo>
                    <a:pt x="144" y="52"/>
                  </a:lnTo>
                  <a:lnTo>
                    <a:pt x="144" y="54"/>
                  </a:lnTo>
                  <a:lnTo>
                    <a:pt x="144" y="54"/>
                  </a:lnTo>
                  <a:lnTo>
                    <a:pt x="144" y="56"/>
                  </a:lnTo>
                  <a:lnTo>
                    <a:pt x="146" y="60"/>
                  </a:lnTo>
                  <a:lnTo>
                    <a:pt x="146" y="60"/>
                  </a:lnTo>
                  <a:lnTo>
                    <a:pt x="152" y="64"/>
                  </a:lnTo>
                  <a:lnTo>
                    <a:pt x="156" y="66"/>
                  </a:lnTo>
                  <a:lnTo>
                    <a:pt x="158" y="64"/>
                  </a:lnTo>
                  <a:lnTo>
                    <a:pt x="158" y="62"/>
                  </a:lnTo>
                  <a:lnTo>
                    <a:pt x="158" y="62"/>
                  </a:lnTo>
                  <a:lnTo>
                    <a:pt x="164" y="60"/>
                  </a:lnTo>
                  <a:lnTo>
                    <a:pt x="166" y="60"/>
                  </a:lnTo>
                  <a:lnTo>
                    <a:pt x="170" y="58"/>
                  </a:lnTo>
                  <a:lnTo>
                    <a:pt x="176" y="60"/>
                  </a:lnTo>
                  <a:lnTo>
                    <a:pt x="176" y="60"/>
                  </a:lnTo>
                  <a:lnTo>
                    <a:pt x="174" y="62"/>
                  </a:lnTo>
                  <a:lnTo>
                    <a:pt x="174" y="62"/>
                  </a:lnTo>
                  <a:lnTo>
                    <a:pt x="174" y="62"/>
                  </a:lnTo>
                  <a:lnTo>
                    <a:pt x="174" y="68"/>
                  </a:lnTo>
                  <a:lnTo>
                    <a:pt x="174" y="68"/>
                  </a:lnTo>
                  <a:lnTo>
                    <a:pt x="174" y="70"/>
                  </a:lnTo>
                  <a:lnTo>
                    <a:pt x="174" y="70"/>
                  </a:lnTo>
                  <a:lnTo>
                    <a:pt x="170" y="70"/>
                  </a:lnTo>
                  <a:lnTo>
                    <a:pt x="170" y="70"/>
                  </a:lnTo>
                  <a:lnTo>
                    <a:pt x="168" y="72"/>
                  </a:lnTo>
                  <a:lnTo>
                    <a:pt x="168" y="72"/>
                  </a:lnTo>
                  <a:lnTo>
                    <a:pt x="168" y="70"/>
                  </a:lnTo>
                  <a:lnTo>
                    <a:pt x="168" y="68"/>
                  </a:lnTo>
                  <a:lnTo>
                    <a:pt x="166" y="70"/>
                  </a:lnTo>
                  <a:lnTo>
                    <a:pt x="166" y="70"/>
                  </a:lnTo>
                  <a:lnTo>
                    <a:pt x="164" y="70"/>
                  </a:lnTo>
                  <a:lnTo>
                    <a:pt x="164" y="70"/>
                  </a:lnTo>
                  <a:lnTo>
                    <a:pt x="166" y="72"/>
                  </a:lnTo>
                  <a:lnTo>
                    <a:pt x="164" y="74"/>
                  </a:lnTo>
                  <a:lnTo>
                    <a:pt x="164" y="74"/>
                  </a:lnTo>
                  <a:lnTo>
                    <a:pt x="164" y="76"/>
                  </a:lnTo>
                  <a:lnTo>
                    <a:pt x="164" y="78"/>
                  </a:lnTo>
                  <a:lnTo>
                    <a:pt x="164" y="78"/>
                  </a:lnTo>
                  <a:lnTo>
                    <a:pt x="162" y="80"/>
                  </a:lnTo>
                  <a:lnTo>
                    <a:pt x="162" y="84"/>
                  </a:lnTo>
                  <a:lnTo>
                    <a:pt x="162" y="84"/>
                  </a:lnTo>
                  <a:lnTo>
                    <a:pt x="162" y="92"/>
                  </a:lnTo>
                  <a:lnTo>
                    <a:pt x="162" y="92"/>
                  </a:lnTo>
                  <a:lnTo>
                    <a:pt x="162" y="96"/>
                  </a:lnTo>
                  <a:lnTo>
                    <a:pt x="162" y="98"/>
                  </a:lnTo>
                  <a:lnTo>
                    <a:pt x="162" y="98"/>
                  </a:lnTo>
                  <a:lnTo>
                    <a:pt x="156" y="96"/>
                  </a:lnTo>
                  <a:lnTo>
                    <a:pt x="154" y="96"/>
                  </a:lnTo>
                  <a:lnTo>
                    <a:pt x="152" y="94"/>
                  </a:lnTo>
                  <a:lnTo>
                    <a:pt x="150" y="94"/>
                  </a:lnTo>
                  <a:lnTo>
                    <a:pt x="150" y="94"/>
                  </a:lnTo>
                  <a:lnTo>
                    <a:pt x="138" y="94"/>
                  </a:lnTo>
                  <a:lnTo>
                    <a:pt x="134" y="92"/>
                  </a:lnTo>
                  <a:lnTo>
                    <a:pt x="130" y="90"/>
                  </a:lnTo>
                  <a:lnTo>
                    <a:pt x="130" y="90"/>
                  </a:lnTo>
                  <a:lnTo>
                    <a:pt x="130" y="88"/>
                  </a:lnTo>
                  <a:lnTo>
                    <a:pt x="128" y="88"/>
                  </a:lnTo>
                  <a:lnTo>
                    <a:pt x="122" y="88"/>
                  </a:lnTo>
                  <a:lnTo>
                    <a:pt x="122" y="88"/>
                  </a:lnTo>
                  <a:lnTo>
                    <a:pt x="112" y="92"/>
                  </a:lnTo>
                  <a:lnTo>
                    <a:pt x="106" y="94"/>
                  </a:lnTo>
                  <a:lnTo>
                    <a:pt x="102" y="98"/>
                  </a:lnTo>
                  <a:lnTo>
                    <a:pt x="102" y="98"/>
                  </a:lnTo>
                  <a:lnTo>
                    <a:pt x="98" y="100"/>
                  </a:lnTo>
                  <a:lnTo>
                    <a:pt x="92" y="100"/>
                  </a:lnTo>
                  <a:lnTo>
                    <a:pt x="92" y="100"/>
                  </a:lnTo>
                  <a:lnTo>
                    <a:pt x="84" y="98"/>
                  </a:lnTo>
                  <a:lnTo>
                    <a:pt x="78" y="98"/>
                  </a:lnTo>
                  <a:lnTo>
                    <a:pt x="78" y="98"/>
                  </a:lnTo>
                  <a:lnTo>
                    <a:pt x="72" y="98"/>
                  </a:lnTo>
                  <a:lnTo>
                    <a:pt x="66" y="98"/>
                  </a:lnTo>
                  <a:lnTo>
                    <a:pt x="66" y="98"/>
                  </a:lnTo>
                  <a:lnTo>
                    <a:pt x="60" y="96"/>
                  </a:lnTo>
                  <a:lnTo>
                    <a:pt x="56" y="96"/>
                  </a:lnTo>
                  <a:lnTo>
                    <a:pt x="56" y="96"/>
                  </a:lnTo>
                  <a:lnTo>
                    <a:pt x="52" y="96"/>
                  </a:lnTo>
                  <a:lnTo>
                    <a:pt x="50" y="92"/>
                  </a:lnTo>
                  <a:lnTo>
                    <a:pt x="50" y="92"/>
                  </a:lnTo>
                  <a:lnTo>
                    <a:pt x="50" y="92"/>
                  </a:lnTo>
                  <a:lnTo>
                    <a:pt x="46" y="90"/>
                  </a:lnTo>
                  <a:lnTo>
                    <a:pt x="46" y="90"/>
                  </a:lnTo>
                  <a:lnTo>
                    <a:pt x="42" y="88"/>
                  </a:lnTo>
                  <a:lnTo>
                    <a:pt x="38" y="86"/>
                  </a:lnTo>
                  <a:lnTo>
                    <a:pt x="38" y="86"/>
                  </a:lnTo>
                  <a:lnTo>
                    <a:pt x="42" y="84"/>
                  </a:lnTo>
                  <a:lnTo>
                    <a:pt x="42" y="82"/>
                  </a:lnTo>
                  <a:lnTo>
                    <a:pt x="42" y="82"/>
                  </a:lnTo>
                  <a:lnTo>
                    <a:pt x="42" y="82"/>
                  </a:lnTo>
                  <a:lnTo>
                    <a:pt x="40" y="82"/>
                  </a:lnTo>
                  <a:lnTo>
                    <a:pt x="38" y="82"/>
                  </a:lnTo>
                  <a:lnTo>
                    <a:pt x="36" y="84"/>
                  </a:lnTo>
                  <a:lnTo>
                    <a:pt x="34" y="84"/>
                  </a:lnTo>
                  <a:lnTo>
                    <a:pt x="34" y="84"/>
                  </a:lnTo>
                  <a:lnTo>
                    <a:pt x="30" y="80"/>
                  </a:lnTo>
                  <a:lnTo>
                    <a:pt x="28" y="78"/>
                  </a:lnTo>
                  <a:lnTo>
                    <a:pt x="26" y="78"/>
                  </a:lnTo>
                  <a:lnTo>
                    <a:pt x="26" y="78"/>
                  </a:lnTo>
                  <a:lnTo>
                    <a:pt x="24" y="78"/>
                  </a:lnTo>
                  <a:lnTo>
                    <a:pt x="22" y="78"/>
                  </a:lnTo>
                  <a:lnTo>
                    <a:pt x="18" y="74"/>
                  </a:lnTo>
                  <a:lnTo>
                    <a:pt x="18" y="74"/>
                  </a:lnTo>
                  <a:lnTo>
                    <a:pt x="20" y="72"/>
                  </a:lnTo>
                  <a:lnTo>
                    <a:pt x="20" y="72"/>
                  </a:lnTo>
                  <a:lnTo>
                    <a:pt x="20" y="70"/>
                  </a:lnTo>
                  <a:lnTo>
                    <a:pt x="20" y="70"/>
                  </a:lnTo>
                  <a:lnTo>
                    <a:pt x="16" y="66"/>
                  </a:lnTo>
                  <a:lnTo>
                    <a:pt x="14" y="64"/>
                  </a:lnTo>
                  <a:lnTo>
                    <a:pt x="14" y="64"/>
                  </a:lnTo>
                  <a:lnTo>
                    <a:pt x="12" y="62"/>
                  </a:lnTo>
                  <a:lnTo>
                    <a:pt x="10" y="60"/>
                  </a:lnTo>
                  <a:lnTo>
                    <a:pt x="8" y="60"/>
                  </a:lnTo>
                  <a:lnTo>
                    <a:pt x="6" y="58"/>
                  </a:lnTo>
                  <a:lnTo>
                    <a:pt x="6" y="58"/>
                  </a:lnTo>
                  <a:lnTo>
                    <a:pt x="6" y="56"/>
                  </a:lnTo>
                  <a:lnTo>
                    <a:pt x="4" y="54"/>
                  </a:lnTo>
                  <a:lnTo>
                    <a:pt x="2" y="52"/>
                  </a:lnTo>
                  <a:lnTo>
                    <a:pt x="0" y="48"/>
                  </a:lnTo>
                  <a:lnTo>
                    <a:pt x="0" y="4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8" name="Russia"/>
            <p:cNvSpPr>
              <a:spLocks/>
            </p:cNvSpPr>
            <p:nvPr/>
          </p:nvSpPr>
          <p:spPr bwMode="auto">
            <a:xfrm>
              <a:off x="4724101" y="1496219"/>
              <a:ext cx="3352271" cy="772583"/>
            </a:xfrm>
            <a:custGeom>
              <a:avLst/>
              <a:gdLst/>
              <a:ahLst/>
              <a:cxnLst>
                <a:cxn ang="0">
                  <a:pos x="2058" y="364"/>
                </a:cxn>
                <a:cxn ang="0">
                  <a:pos x="1906" y="312"/>
                </a:cxn>
                <a:cxn ang="0">
                  <a:pos x="2140" y="236"/>
                </a:cxn>
                <a:cxn ang="0">
                  <a:pos x="2222" y="192"/>
                </a:cxn>
                <a:cxn ang="0">
                  <a:pos x="2226" y="266"/>
                </a:cxn>
                <a:cxn ang="0">
                  <a:pos x="2366" y="316"/>
                </a:cxn>
                <a:cxn ang="0">
                  <a:pos x="2314" y="256"/>
                </a:cxn>
                <a:cxn ang="0">
                  <a:pos x="2382" y="214"/>
                </a:cxn>
                <a:cxn ang="0">
                  <a:pos x="2382" y="142"/>
                </a:cxn>
                <a:cxn ang="0">
                  <a:pos x="2494" y="146"/>
                </a:cxn>
                <a:cxn ang="0">
                  <a:pos x="2522" y="104"/>
                </a:cxn>
                <a:cxn ang="0">
                  <a:pos x="2122" y="72"/>
                </a:cxn>
                <a:cxn ang="0">
                  <a:pos x="2002" y="74"/>
                </a:cxn>
                <a:cxn ang="0">
                  <a:pos x="1694" y="40"/>
                </a:cxn>
                <a:cxn ang="0">
                  <a:pos x="1582" y="36"/>
                </a:cxn>
                <a:cxn ang="0">
                  <a:pos x="1468" y="48"/>
                </a:cxn>
                <a:cxn ang="0">
                  <a:pos x="1302" y="42"/>
                </a:cxn>
                <a:cxn ang="0">
                  <a:pos x="1152" y="34"/>
                </a:cxn>
                <a:cxn ang="0">
                  <a:pos x="1086" y="38"/>
                </a:cxn>
                <a:cxn ang="0">
                  <a:pos x="1044" y="8"/>
                </a:cxn>
                <a:cxn ang="0">
                  <a:pos x="932" y="14"/>
                </a:cxn>
                <a:cxn ang="0">
                  <a:pos x="818" y="14"/>
                </a:cxn>
                <a:cxn ang="0">
                  <a:pos x="718" y="36"/>
                </a:cxn>
                <a:cxn ang="0">
                  <a:pos x="782" y="62"/>
                </a:cxn>
                <a:cxn ang="0">
                  <a:pos x="698" y="64"/>
                </a:cxn>
                <a:cxn ang="0">
                  <a:pos x="646" y="62"/>
                </a:cxn>
                <a:cxn ang="0">
                  <a:pos x="698" y="92"/>
                </a:cxn>
                <a:cxn ang="0">
                  <a:pos x="676" y="114"/>
                </a:cxn>
                <a:cxn ang="0">
                  <a:pos x="566" y="36"/>
                </a:cxn>
                <a:cxn ang="0">
                  <a:pos x="608" y="90"/>
                </a:cxn>
                <a:cxn ang="0">
                  <a:pos x="470" y="102"/>
                </a:cxn>
                <a:cxn ang="0">
                  <a:pos x="386" y="96"/>
                </a:cxn>
                <a:cxn ang="0">
                  <a:pos x="302" y="110"/>
                </a:cxn>
                <a:cxn ang="0">
                  <a:pos x="256" y="100"/>
                </a:cxn>
                <a:cxn ang="0">
                  <a:pos x="198" y="130"/>
                </a:cxn>
                <a:cxn ang="0">
                  <a:pos x="144" y="152"/>
                </a:cxn>
                <a:cxn ang="0">
                  <a:pos x="110" y="148"/>
                </a:cxn>
                <a:cxn ang="0">
                  <a:pos x="64" y="120"/>
                </a:cxn>
                <a:cxn ang="0">
                  <a:pos x="200" y="118"/>
                </a:cxn>
                <a:cxn ang="0">
                  <a:pos x="44" y="86"/>
                </a:cxn>
                <a:cxn ang="0">
                  <a:pos x="30" y="146"/>
                </a:cxn>
                <a:cxn ang="0">
                  <a:pos x="28" y="222"/>
                </a:cxn>
                <a:cxn ang="0">
                  <a:pos x="28" y="242"/>
                </a:cxn>
                <a:cxn ang="0">
                  <a:pos x="84" y="296"/>
                </a:cxn>
                <a:cxn ang="0">
                  <a:pos x="112" y="338"/>
                </a:cxn>
                <a:cxn ang="0">
                  <a:pos x="220" y="398"/>
                </a:cxn>
                <a:cxn ang="0">
                  <a:pos x="262" y="470"/>
                </a:cxn>
                <a:cxn ang="0">
                  <a:pos x="338" y="540"/>
                </a:cxn>
                <a:cxn ang="0">
                  <a:pos x="440" y="508"/>
                </a:cxn>
                <a:cxn ang="0">
                  <a:pos x="438" y="448"/>
                </a:cxn>
                <a:cxn ang="0">
                  <a:pos x="450" y="390"/>
                </a:cxn>
                <a:cxn ang="0">
                  <a:pos x="564" y="382"/>
                </a:cxn>
                <a:cxn ang="0">
                  <a:pos x="630" y="370"/>
                </a:cxn>
                <a:cxn ang="0">
                  <a:pos x="764" y="310"/>
                </a:cxn>
                <a:cxn ang="0">
                  <a:pos x="854" y="340"/>
                </a:cxn>
                <a:cxn ang="0">
                  <a:pos x="1040" y="392"/>
                </a:cxn>
                <a:cxn ang="0">
                  <a:pos x="1154" y="426"/>
                </a:cxn>
                <a:cxn ang="0">
                  <a:pos x="1234" y="388"/>
                </a:cxn>
                <a:cxn ang="0">
                  <a:pos x="1316" y="378"/>
                </a:cxn>
                <a:cxn ang="0">
                  <a:pos x="1572" y="410"/>
                </a:cxn>
                <a:cxn ang="0">
                  <a:pos x="1768" y="340"/>
                </a:cxn>
                <a:cxn ang="0">
                  <a:pos x="2032" y="470"/>
                </a:cxn>
              </a:cxnLst>
              <a:rect l="0" t="0" r="r" b="b"/>
              <a:pathLst>
                <a:path w="2534" h="584">
                  <a:moveTo>
                    <a:pt x="2032" y="556"/>
                  </a:moveTo>
                  <a:lnTo>
                    <a:pt x="2032" y="556"/>
                  </a:lnTo>
                  <a:lnTo>
                    <a:pt x="2034" y="556"/>
                  </a:lnTo>
                  <a:lnTo>
                    <a:pt x="2036" y="554"/>
                  </a:lnTo>
                  <a:lnTo>
                    <a:pt x="2040" y="548"/>
                  </a:lnTo>
                  <a:lnTo>
                    <a:pt x="2046" y="546"/>
                  </a:lnTo>
                  <a:lnTo>
                    <a:pt x="2048" y="546"/>
                  </a:lnTo>
                  <a:lnTo>
                    <a:pt x="2050" y="550"/>
                  </a:lnTo>
                  <a:lnTo>
                    <a:pt x="2050" y="550"/>
                  </a:lnTo>
                  <a:lnTo>
                    <a:pt x="2050" y="554"/>
                  </a:lnTo>
                  <a:lnTo>
                    <a:pt x="2054" y="554"/>
                  </a:lnTo>
                  <a:lnTo>
                    <a:pt x="2056" y="554"/>
                  </a:lnTo>
                  <a:lnTo>
                    <a:pt x="2060" y="552"/>
                  </a:lnTo>
                  <a:lnTo>
                    <a:pt x="2068" y="546"/>
                  </a:lnTo>
                  <a:lnTo>
                    <a:pt x="2076" y="534"/>
                  </a:lnTo>
                  <a:lnTo>
                    <a:pt x="2084" y="522"/>
                  </a:lnTo>
                  <a:lnTo>
                    <a:pt x="2090" y="506"/>
                  </a:lnTo>
                  <a:lnTo>
                    <a:pt x="2094" y="492"/>
                  </a:lnTo>
                  <a:lnTo>
                    <a:pt x="2094" y="478"/>
                  </a:lnTo>
                  <a:lnTo>
                    <a:pt x="2094" y="478"/>
                  </a:lnTo>
                  <a:lnTo>
                    <a:pt x="2094" y="470"/>
                  </a:lnTo>
                  <a:lnTo>
                    <a:pt x="2094" y="460"/>
                  </a:lnTo>
                  <a:lnTo>
                    <a:pt x="2096" y="436"/>
                  </a:lnTo>
                  <a:lnTo>
                    <a:pt x="2096" y="426"/>
                  </a:lnTo>
                  <a:lnTo>
                    <a:pt x="2094" y="416"/>
                  </a:lnTo>
                  <a:lnTo>
                    <a:pt x="2088" y="408"/>
                  </a:lnTo>
                  <a:lnTo>
                    <a:pt x="2080" y="404"/>
                  </a:lnTo>
                  <a:lnTo>
                    <a:pt x="2080" y="404"/>
                  </a:lnTo>
                  <a:lnTo>
                    <a:pt x="2068" y="398"/>
                  </a:lnTo>
                  <a:lnTo>
                    <a:pt x="2062" y="392"/>
                  </a:lnTo>
                  <a:lnTo>
                    <a:pt x="2060" y="388"/>
                  </a:lnTo>
                  <a:lnTo>
                    <a:pt x="2062" y="384"/>
                  </a:lnTo>
                  <a:lnTo>
                    <a:pt x="2066" y="378"/>
                  </a:lnTo>
                  <a:lnTo>
                    <a:pt x="2066" y="374"/>
                  </a:lnTo>
                  <a:lnTo>
                    <a:pt x="2066" y="370"/>
                  </a:lnTo>
                  <a:lnTo>
                    <a:pt x="2058" y="364"/>
                  </a:lnTo>
                  <a:lnTo>
                    <a:pt x="2058" y="364"/>
                  </a:lnTo>
                  <a:lnTo>
                    <a:pt x="2042" y="354"/>
                  </a:lnTo>
                  <a:lnTo>
                    <a:pt x="2028" y="344"/>
                  </a:lnTo>
                  <a:lnTo>
                    <a:pt x="2014" y="334"/>
                  </a:lnTo>
                  <a:lnTo>
                    <a:pt x="1996" y="326"/>
                  </a:lnTo>
                  <a:lnTo>
                    <a:pt x="1996" y="326"/>
                  </a:lnTo>
                  <a:lnTo>
                    <a:pt x="1986" y="324"/>
                  </a:lnTo>
                  <a:lnTo>
                    <a:pt x="1980" y="324"/>
                  </a:lnTo>
                  <a:lnTo>
                    <a:pt x="1978" y="324"/>
                  </a:lnTo>
                  <a:lnTo>
                    <a:pt x="1976" y="326"/>
                  </a:lnTo>
                  <a:lnTo>
                    <a:pt x="1974" y="332"/>
                  </a:lnTo>
                  <a:lnTo>
                    <a:pt x="1972" y="332"/>
                  </a:lnTo>
                  <a:lnTo>
                    <a:pt x="1966" y="330"/>
                  </a:lnTo>
                  <a:lnTo>
                    <a:pt x="1966" y="330"/>
                  </a:lnTo>
                  <a:lnTo>
                    <a:pt x="1962" y="328"/>
                  </a:lnTo>
                  <a:lnTo>
                    <a:pt x="1958" y="328"/>
                  </a:lnTo>
                  <a:lnTo>
                    <a:pt x="1954" y="330"/>
                  </a:lnTo>
                  <a:lnTo>
                    <a:pt x="1950" y="332"/>
                  </a:lnTo>
                  <a:lnTo>
                    <a:pt x="1944" y="326"/>
                  </a:lnTo>
                  <a:lnTo>
                    <a:pt x="1944" y="326"/>
                  </a:lnTo>
                  <a:lnTo>
                    <a:pt x="1942" y="322"/>
                  </a:lnTo>
                  <a:lnTo>
                    <a:pt x="1942" y="318"/>
                  </a:lnTo>
                  <a:lnTo>
                    <a:pt x="1948" y="312"/>
                  </a:lnTo>
                  <a:lnTo>
                    <a:pt x="1952" y="310"/>
                  </a:lnTo>
                  <a:lnTo>
                    <a:pt x="1952" y="308"/>
                  </a:lnTo>
                  <a:lnTo>
                    <a:pt x="1950" y="306"/>
                  </a:lnTo>
                  <a:lnTo>
                    <a:pt x="1942" y="306"/>
                  </a:lnTo>
                  <a:lnTo>
                    <a:pt x="1942" y="306"/>
                  </a:lnTo>
                  <a:lnTo>
                    <a:pt x="1934" y="304"/>
                  </a:lnTo>
                  <a:lnTo>
                    <a:pt x="1932" y="306"/>
                  </a:lnTo>
                  <a:lnTo>
                    <a:pt x="1936" y="312"/>
                  </a:lnTo>
                  <a:lnTo>
                    <a:pt x="1938" y="314"/>
                  </a:lnTo>
                  <a:lnTo>
                    <a:pt x="1936" y="316"/>
                  </a:lnTo>
                  <a:lnTo>
                    <a:pt x="1930" y="318"/>
                  </a:lnTo>
                  <a:lnTo>
                    <a:pt x="1916" y="316"/>
                  </a:lnTo>
                  <a:lnTo>
                    <a:pt x="1916" y="316"/>
                  </a:lnTo>
                  <a:lnTo>
                    <a:pt x="1910" y="314"/>
                  </a:lnTo>
                  <a:lnTo>
                    <a:pt x="1906" y="312"/>
                  </a:lnTo>
                  <a:lnTo>
                    <a:pt x="1906" y="306"/>
                  </a:lnTo>
                  <a:lnTo>
                    <a:pt x="1906" y="300"/>
                  </a:lnTo>
                  <a:lnTo>
                    <a:pt x="1912" y="286"/>
                  </a:lnTo>
                  <a:lnTo>
                    <a:pt x="1922" y="272"/>
                  </a:lnTo>
                  <a:lnTo>
                    <a:pt x="1922" y="272"/>
                  </a:lnTo>
                  <a:lnTo>
                    <a:pt x="1926" y="262"/>
                  </a:lnTo>
                  <a:lnTo>
                    <a:pt x="1930" y="254"/>
                  </a:lnTo>
                  <a:lnTo>
                    <a:pt x="1930" y="246"/>
                  </a:lnTo>
                  <a:lnTo>
                    <a:pt x="1932" y="242"/>
                  </a:lnTo>
                  <a:lnTo>
                    <a:pt x="1934" y="240"/>
                  </a:lnTo>
                  <a:lnTo>
                    <a:pt x="1950" y="232"/>
                  </a:lnTo>
                  <a:lnTo>
                    <a:pt x="1950" y="232"/>
                  </a:lnTo>
                  <a:lnTo>
                    <a:pt x="1964" y="228"/>
                  </a:lnTo>
                  <a:lnTo>
                    <a:pt x="1976" y="228"/>
                  </a:lnTo>
                  <a:lnTo>
                    <a:pt x="1984" y="228"/>
                  </a:lnTo>
                  <a:lnTo>
                    <a:pt x="1990" y="230"/>
                  </a:lnTo>
                  <a:lnTo>
                    <a:pt x="1998" y="232"/>
                  </a:lnTo>
                  <a:lnTo>
                    <a:pt x="2006" y="234"/>
                  </a:lnTo>
                  <a:lnTo>
                    <a:pt x="2018" y="234"/>
                  </a:lnTo>
                  <a:lnTo>
                    <a:pt x="2034" y="232"/>
                  </a:lnTo>
                  <a:lnTo>
                    <a:pt x="2034" y="232"/>
                  </a:lnTo>
                  <a:lnTo>
                    <a:pt x="2058" y="228"/>
                  </a:lnTo>
                  <a:lnTo>
                    <a:pt x="2068" y="228"/>
                  </a:lnTo>
                  <a:lnTo>
                    <a:pt x="2072" y="230"/>
                  </a:lnTo>
                  <a:lnTo>
                    <a:pt x="2080" y="230"/>
                  </a:lnTo>
                  <a:lnTo>
                    <a:pt x="2080" y="230"/>
                  </a:lnTo>
                  <a:lnTo>
                    <a:pt x="2092" y="230"/>
                  </a:lnTo>
                  <a:lnTo>
                    <a:pt x="2096" y="232"/>
                  </a:lnTo>
                  <a:lnTo>
                    <a:pt x="2096" y="234"/>
                  </a:lnTo>
                  <a:lnTo>
                    <a:pt x="2094" y="238"/>
                  </a:lnTo>
                  <a:lnTo>
                    <a:pt x="2092" y="242"/>
                  </a:lnTo>
                  <a:lnTo>
                    <a:pt x="2092" y="244"/>
                  </a:lnTo>
                  <a:lnTo>
                    <a:pt x="2096" y="246"/>
                  </a:lnTo>
                  <a:lnTo>
                    <a:pt x="2106" y="244"/>
                  </a:lnTo>
                  <a:lnTo>
                    <a:pt x="2106" y="244"/>
                  </a:lnTo>
                  <a:lnTo>
                    <a:pt x="2136" y="238"/>
                  </a:lnTo>
                  <a:lnTo>
                    <a:pt x="2140" y="236"/>
                  </a:lnTo>
                  <a:lnTo>
                    <a:pt x="2142" y="234"/>
                  </a:lnTo>
                  <a:lnTo>
                    <a:pt x="2140" y="232"/>
                  </a:lnTo>
                  <a:lnTo>
                    <a:pt x="2134" y="228"/>
                  </a:lnTo>
                  <a:lnTo>
                    <a:pt x="2134" y="228"/>
                  </a:lnTo>
                  <a:lnTo>
                    <a:pt x="2126" y="222"/>
                  </a:lnTo>
                  <a:lnTo>
                    <a:pt x="2126" y="220"/>
                  </a:lnTo>
                  <a:lnTo>
                    <a:pt x="2128" y="220"/>
                  </a:lnTo>
                  <a:lnTo>
                    <a:pt x="2132" y="216"/>
                  </a:lnTo>
                  <a:lnTo>
                    <a:pt x="2136" y="212"/>
                  </a:lnTo>
                  <a:lnTo>
                    <a:pt x="2136" y="204"/>
                  </a:lnTo>
                  <a:lnTo>
                    <a:pt x="2136" y="204"/>
                  </a:lnTo>
                  <a:lnTo>
                    <a:pt x="2136" y="196"/>
                  </a:lnTo>
                  <a:lnTo>
                    <a:pt x="2136" y="194"/>
                  </a:lnTo>
                  <a:lnTo>
                    <a:pt x="2138" y="194"/>
                  </a:lnTo>
                  <a:lnTo>
                    <a:pt x="2142" y="194"/>
                  </a:lnTo>
                  <a:lnTo>
                    <a:pt x="2144" y="194"/>
                  </a:lnTo>
                  <a:lnTo>
                    <a:pt x="2148" y="192"/>
                  </a:lnTo>
                  <a:lnTo>
                    <a:pt x="2148" y="192"/>
                  </a:lnTo>
                  <a:lnTo>
                    <a:pt x="2154" y="190"/>
                  </a:lnTo>
                  <a:lnTo>
                    <a:pt x="2158" y="190"/>
                  </a:lnTo>
                  <a:lnTo>
                    <a:pt x="2164" y="188"/>
                  </a:lnTo>
                  <a:lnTo>
                    <a:pt x="2172" y="184"/>
                  </a:lnTo>
                  <a:lnTo>
                    <a:pt x="2172" y="184"/>
                  </a:lnTo>
                  <a:lnTo>
                    <a:pt x="2176" y="182"/>
                  </a:lnTo>
                  <a:lnTo>
                    <a:pt x="2178" y="184"/>
                  </a:lnTo>
                  <a:lnTo>
                    <a:pt x="2182" y="190"/>
                  </a:lnTo>
                  <a:lnTo>
                    <a:pt x="2186" y="194"/>
                  </a:lnTo>
                  <a:lnTo>
                    <a:pt x="2194" y="200"/>
                  </a:lnTo>
                  <a:lnTo>
                    <a:pt x="2194" y="200"/>
                  </a:lnTo>
                  <a:lnTo>
                    <a:pt x="2208" y="204"/>
                  </a:lnTo>
                  <a:lnTo>
                    <a:pt x="2212" y="204"/>
                  </a:lnTo>
                  <a:lnTo>
                    <a:pt x="2214" y="202"/>
                  </a:lnTo>
                  <a:lnTo>
                    <a:pt x="2214" y="198"/>
                  </a:lnTo>
                  <a:lnTo>
                    <a:pt x="2216" y="196"/>
                  </a:lnTo>
                  <a:lnTo>
                    <a:pt x="2218" y="194"/>
                  </a:lnTo>
                  <a:lnTo>
                    <a:pt x="2218" y="194"/>
                  </a:lnTo>
                  <a:lnTo>
                    <a:pt x="2222" y="192"/>
                  </a:lnTo>
                  <a:lnTo>
                    <a:pt x="2222" y="190"/>
                  </a:lnTo>
                  <a:lnTo>
                    <a:pt x="2220" y="186"/>
                  </a:lnTo>
                  <a:lnTo>
                    <a:pt x="2218" y="184"/>
                  </a:lnTo>
                  <a:lnTo>
                    <a:pt x="2218" y="182"/>
                  </a:lnTo>
                  <a:lnTo>
                    <a:pt x="2220" y="180"/>
                  </a:lnTo>
                  <a:lnTo>
                    <a:pt x="2226" y="178"/>
                  </a:lnTo>
                  <a:lnTo>
                    <a:pt x="2226" y="178"/>
                  </a:lnTo>
                  <a:lnTo>
                    <a:pt x="2238" y="176"/>
                  </a:lnTo>
                  <a:lnTo>
                    <a:pt x="2244" y="176"/>
                  </a:lnTo>
                  <a:lnTo>
                    <a:pt x="2242" y="178"/>
                  </a:lnTo>
                  <a:lnTo>
                    <a:pt x="2236" y="180"/>
                  </a:lnTo>
                  <a:lnTo>
                    <a:pt x="2236" y="180"/>
                  </a:lnTo>
                  <a:lnTo>
                    <a:pt x="2232" y="182"/>
                  </a:lnTo>
                  <a:lnTo>
                    <a:pt x="2232" y="186"/>
                  </a:lnTo>
                  <a:lnTo>
                    <a:pt x="2236" y="192"/>
                  </a:lnTo>
                  <a:lnTo>
                    <a:pt x="2244" y="198"/>
                  </a:lnTo>
                  <a:lnTo>
                    <a:pt x="2252" y="202"/>
                  </a:lnTo>
                  <a:lnTo>
                    <a:pt x="2252" y="202"/>
                  </a:lnTo>
                  <a:lnTo>
                    <a:pt x="2254" y="202"/>
                  </a:lnTo>
                  <a:lnTo>
                    <a:pt x="2252" y="204"/>
                  </a:lnTo>
                  <a:lnTo>
                    <a:pt x="2248" y="210"/>
                  </a:lnTo>
                  <a:lnTo>
                    <a:pt x="2244" y="216"/>
                  </a:lnTo>
                  <a:lnTo>
                    <a:pt x="2242" y="220"/>
                  </a:lnTo>
                  <a:lnTo>
                    <a:pt x="2244" y="224"/>
                  </a:lnTo>
                  <a:lnTo>
                    <a:pt x="2244" y="224"/>
                  </a:lnTo>
                  <a:lnTo>
                    <a:pt x="2244" y="228"/>
                  </a:lnTo>
                  <a:lnTo>
                    <a:pt x="2244" y="234"/>
                  </a:lnTo>
                  <a:lnTo>
                    <a:pt x="2238" y="242"/>
                  </a:lnTo>
                  <a:lnTo>
                    <a:pt x="2232" y="250"/>
                  </a:lnTo>
                  <a:lnTo>
                    <a:pt x="2230" y="254"/>
                  </a:lnTo>
                  <a:lnTo>
                    <a:pt x="2230" y="256"/>
                  </a:lnTo>
                  <a:lnTo>
                    <a:pt x="2230" y="256"/>
                  </a:lnTo>
                  <a:lnTo>
                    <a:pt x="2232" y="258"/>
                  </a:lnTo>
                  <a:lnTo>
                    <a:pt x="2232" y="260"/>
                  </a:lnTo>
                  <a:lnTo>
                    <a:pt x="2228" y="260"/>
                  </a:lnTo>
                  <a:lnTo>
                    <a:pt x="2226" y="264"/>
                  </a:lnTo>
                  <a:lnTo>
                    <a:pt x="2226" y="266"/>
                  </a:lnTo>
                  <a:lnTo>
                    <a:pt x="2228" y="268"/>
                  </a:lnTo>
                  <a:lnTo>
                    <a:pt x="2228" y="268"/>
                  </a:lnTo>
                  <a:lnTo>
                    <a:pt x="2232" y="276"/>
                  </a:lnTo>
                  <a:lnTo>
                    <a:pt x="2232" y="278"/>
                  </a:lnTo>
                  <a:lnTo>
                    <a:pt x="2232" y="280"/>
                  </a:lnTo>
                  <a:lnTo>
                    <a:pt x="2230" y="282"/>
                  </a:lnTo>
                  <a:lnTo>
                    <a:pt x="2232" y="288"/>
                  </a:lnTo>
                  <a:lnTo>
                    <a:pt x="2232" y="288"/>
                  </a:lnTo>
                  <a:lnTo>
                    <a:pt x="2250" y="304"/>
                  </a:lnTo>
                  <a:lnTo>
                    <a:pt x="2264" y="314"/>
                  </a:lnTo>
                  <a:lnTo>
                    <a:pt x="2278" y="320"/>
                  </a:lnTo>
                  <a:lnTo>
                    <a:pt x="2294" y="330"/>
                  </a:lnTo>
                  <a:lnTo>
                    <a:pt x="2294" y="330"/>
                  </a:lnTo>
                  <a:lnTo>
                    <a:pt x="2312" y="342"/>
                  </a:lnTo>
                  <a:lnTo>
                    <a:pt x="2330" y="352"/>
                  </a:lnTo>
                  <a:lnTo>
                    <a:pt x="2348" y="362"/>
                  </a:lnTo>
                  <a:lnTo>
                    <a:pt x="2362" y="374"/>
                  </a:lnTo>
                  <a:lnTo>
                    <a:pt x="2362" y="374"/>
                  </a:lnTo>
                  <a:lnTo>
                    <a:pt x="2372" y="380"/>
                  </a:lnTo>
                  <a:lnTo>
                    <a:pt x="2374" y="380"/>
                  </a:lnTo>
                  <a:lnTo>
                    <a:pt x="2376" y="378"/>
                  </a:lnTo>
                  <a:lnTo>
                    <a:pt x="2378" y="372"/>
                  </a:lnTo>
                  <a:lnTo>
                    <a:pt x="2376" y="362"/>
                  </a:lnTo>
                  <a:lnTo>
                    <a:pt x="2376" y="362"/>
                  </a:lnTo>
                  <a:lnTo>
                    <a:pt x="2374" y="352"/>
                  </a:lnTo>
                  <a:lnTo>
                    <a:pt x="2370" y="346"/>
                  </a:lnTo>
                  <a:lnTo>
                    <a:pt x="2370" y="342"/>
                  </a:lnTo>
                  <a:lnTo>
                    <a:pt x="2374" y="340"/>
                  </a:lnTo>
                  <a:lnTo>
                    <a:pt x="2374" y="340"/>
                  </a:lnTo>
                  <a:lnTo>
                    <a:pt x="2378" y="338"/>
                  </a:lnTo>
                  <a:lnTo>
                    <a:pt x="2376" y="336"/>
                  </a:lnTo>
                  <a:lnTo>
                    <a:pt x="2372" y="332"/>
                  </a:lnTo>
                  <a:lnTo>
                    <a:pt x="2366" y="324"/>
                  </a:lnTo>
                  <a:lnTo>
                    <a:pt x="2366" y="324"/>
                  </a:lnTo>
                  <a:lnTo>
                    <a:pt x="2364" y="320"/>
                  </a:lnTo>
                  <a:lnTo>
                    <a:pt x="2364" y="318"/>
                  </a:lnTo>
                  <a:lnTo>
                    <a:pt x="2366" y="316"/>
                  </a:lnTo>
                  <a:lnTo>
                    <a:pt x="2370" y="314"/>
                  </a:lnTo>
                  <a:lnTo>
                    <a:pt x="2370" y="312"/>
                  </a:lnTo>
                  <a:lnTo>
                    <a:pt x="2370" y="310"/>
                  </a:lnTo>
                  <a:lnTo>
                    <a:pt x="2368" y="306"/>
                  </a:lnTo>
                  <a:lnTo>
                    <a:pt x="2368" y="306"/>
                  </a:lnTo>
                  <a:lnTo>
                    <a:pt x="2364" y="298"/>
                  </a:lnTo>
                  <a:lnTo>
                    <a:pt x="2362" y="298"/>
                  </a:lnTo>
                  <a:lnTo>
                    <a:pt x="2358" y="298"/>
                  </a:lnTo>
                  <a:lnTo>
                    <a:pt x="2352" y="292"/>
                  </a:lnTo>
                  <a:lnTo>
                    <a:pt x="2352" y="292"/>
                  </a:lnTo>
                  <a:lnTo>
                    <a:pt x="2348" y="284"/>
                  </a:lnTo>
                  <a:lnTo>
                    <a:pt x="2348" y="282"/>
                  </a:lnTo>
                  <a:lnTo>
                    <a:pt x="2350" y="282"/>
                  </a:lnTo>
                  <a:lnTo>
                    <a:pt x="2352" y="284"/>
                  </a:lnTo>
                  <a:lnTo>
                    <a:pt x="2352" y="284"/>
                  </a:lnTo>
                  <a:lnTo>
                    <a:pt x="2352" y="284"/>
                  </a:lnTo>
                  <a:lnTo>
                    <a:pt x="2354" y="284"/>
                  </a:lnTo>
                  <a:lnTo>
                    <a:pt x="2358" y="280"/>
                  </a:lnTo>
                  <a:lnTo>
                    <a:pt x="2358" y="278"/>
                  </a:lnTo>
                  <a:lnTo>
                    <a:pt x="2356" y="276"/>
                  </a:lnTo>
                  <a:lnTo>
                    <a:pt x="2352" y="274"/>
                  </a:lnTo>
                  <a:lnTo>
                    <a:pt x="2344" y="270"/>
                  </a:lnTo>
                  <a:lnTo>
                    <a:pt x="2344" y="270"/>
                  </a:lnTo>
                  <a:lnTo>
                    <a:pt x="2338" y="268"/>
                  </a:lnTo>
                  <a:lnTo>
                    <a:pt x="2334" y="264"/>
                  </a:lnTo>
                  <a:lnTo>
                    <a:pt x="2334" y="262"/>
                  </a:lnTo>
                  <a:lnTo>
                    <a:pt x="2334" y="260"/>
                  </a:lnTo>
                  <a:lnTo>
                    <a:pt x="2334" y="258"/>
                  </a:lnTo>
                  <a:lnTo>
                    <a:pt x="2332" y="256"/>
                  </a:lnTo>
                  <a:lnTo>
                    <a:pt x="2330" y="254"/>
                  </a:lnTo>
                  <a:lnTo>
                    <a:pt x="2324" y="252"/>
                  </a:lnTo>
                  <a:lnTo>
                    <a:pt x="2324" y="252"/>
                  </a:lnTo>
                  <a:lnTo>
                    <a:pt x="2312" y="252"/>
                  </a:lnTo>
                  <a:lnTo>
                    <a:pt x="2310" y="252"/>
                  </a:lnTo>
                  <a:lnTo>
                    <a:pt x="2310" y="254"/>
                  </a:lnTo>
                  <a:lnTo>
                    <a:pt x="2314" y="256"/>
                  </a:lnTo>
                  <a:lnTo>
                    <a:pt x="2314" y="256"/>
                  </a:lnTo>
                  <a:lnTo>
                    <a:pt x="2312" y="258"/>
                  </a:lnTo>
                  <a:lnTo>
                    <a:pt x="2312" y="258"/>
                  </a:lnTo>
                  <a:lnTo>
                    <a:pt x="2308" y="258"/>
                  </a:lnTo>
                  <a:lnTo>
                    <a:pt x="2306" y="256"/>
                  </a:lnTo>
                  <a:lnTo>
                    <a:pt x="2300" y="250"/>
                  </a:lnTo>
                  <a:lnTo>
                    <a:pt x="2298" y="242"/>
                  </a:lnTo>
                  <a:lnTo>
                    <a:pt x="2296" y="236"/>
                  </a:lnTo>
                  <a:lnTo>
                    <a:pt x="2296" y="236"/>
                  </a:lnTo>
                  <a:lnTo>
                    <a:pt x="2294" y="230"/>
                  </a:lnTo>
                  <a:lnTo>
                    <a:pt x="2288" y="226"/>
                  </a:lnTo>
                  <a:lnTo>
                    <a:pt x="2288" y="224"/>
                  </a:lnTo>
                  <a:lnTo>
                    <a:pt x="2288" y="222"/>
                  </a:lnTo>
                  <a:lnTo>
                    <a:pt x="2298" y="222"/>
                  </a:lnTo>
                  <a:lnTo>
                    <a:pt x="2298" y="222"/>
                  </a:lnTo>
                  <a:lnTo>
                    <a:pt x="2308" y="222"/>
                  </a:lnTo>
                  <a:lnTo>
                    <a:pt x="2308" y="220"/>
                  </a:lnTo>
                  <a:lnTo>
                    <a:pt x="2308" y="218"/>
                  </a:lnTo>
                  <a:lnTo>
                    <a:pt x="2306" y="216"/>
                  </a:lnTo>
                  <a:lnTo>
                    <a:pt x="2308" y="214"/>
                  </a:lnTo>
                  <a:lnTo>
                    <a:pt x="2314" y="212"/>
                  </a:lnTo>
                  <a:lnTo>
                    <a:pt x="2314" y="212"/>
                  </a:lnTo>
                  <a:lnTo>
                    <a:pt x="2320" y="214"/>
                  </a:lnTo>
                  <a:lnTo>
                    <a:pt x="2324" y="216"/>
                  </a:lnTo>
                  <a:lnTo>
                    <a:pt x="2326" y="220"/>
                  </a:lnTo>
                  <a:lnTo>
                    <a:pt x="2328" y="222"/>
                  </a:lnTo>
                  <a:lnTo>
                    <a:pt x="2328" y="226"/>
                  </a:lnTo>
                  <a:lnTo>
                    <a:pt x="2330" y="226"/>
                  </a:lnTo>
                  <a:lnTo>
                    <a:pt x="2334" y="216"/>
                  </a:lnTo>
                  <a:lnTo>
                    <a:pt x="2334" y="216"/>
                  </a:lnTo>
                  <a:lnTo>
                    <a:pt x="2336" y="210"/>
                  </a:lnTo>
                  <a:lnTo>
                    <a:pt x="2340" y="208"/>
                  </a:lnTo>
                  <a:lnTo>
                    <a:pt x="2344" y="206"/>
                  </a:lnTo>
                  <a:lnTo>
                    <a:pt x="2350" y="206"/>
                  </a:lnTo>
                  <a:lnTo>
                    <a:pt x="2362" y="208"/>
                  </a:lnTo>
                  <a:lnTo>
                    <a:pt x="2374" y="214"/>
                  </a:lnTo>
                  <a:lnTo>
                    <a:pt x="2374" y="214"/>
                  </a:lnTo>
                  <a:lnTo>
                    <a:pt x="2382" y="214"/>
                  </a:lnTo>
                  <a:lnTo>
                    <a:pt x="2384" y="212"/>
                  </a:lnTo>
                  <a:lnTo>
                    <a:pt x="2388" y="208"/>
                  </a:lnTo>
                  <a:lnTo>
                    <a:pt x="2392" y="206"/>
                  </a:lnTo>
                  <a:lnTo>
                    <a:pt x="2392" y="206"/>
                  </a:lnTo>
                  <a:lnTo>
                    <a:pt x="2400" y="198"/>
                  </a:lnTo>
                  <a:lnTo>
                    <a:pt x="2412" y="188"/>
                  </a:lnTo>
                  <a:lnTo>
                    <a:pt x="2426" y="178"/>
                  </a:lnTo>
                  <a:lnTo>
                    <a:pt x="2432" y="176"/>
                  </a:lnTo>
                  <a:lnTo>
                    <a:pt x="2436" y="176"/>
                  </a:lnTo>
                  <a:lnTo>
                    <a:pt x="2436" y="176"/>
                  </a:lnTo>
                  <a:lnTo>
                    <a:pt x="2440" y="176"/>
                  </a:lnTo>
                  <a:lnTo>
                    <a:pt x="2444" y="176"/>
                  </a:lnTo>
                  <a:lnTo>
                    <a:pt x="2448" y="172"/>
                  </a:lnTo>
                  <a:lnTo>
                    <a:pt x="2448" y="170"/>
                  </a:lnTo>
                  <a:lnTo>
                    <a:pt x="2446" y="168"/>
                  </a:lnTo>
                  <a:lnTo>
                    <a:pt x="2442" y="166"/>
                  </a:lnTo>
                  <a:lnTo>
                    <a:pt x="2434" y="164"/>
                  </a:lnTo>
                  <a:lnTo>
                    <a:pt x="2434" y="164"/>
                  </a:lnTo>
                  <a:lnTo>
                    <a:pt x="2420" y="162"/>
                  </a:lnTo>
                  <a:lnTo>
                    <a:pt x="2412" y="158"/>
                  </a:lnTo>
                  <a:lnTo>
                    <a:pt x="2404" y="156"/>
                  </a:lnTo>
                  <a:lnTo>
                    <a:pt x="2396" y="154"/>
                  </a:lnTo>
                  <a:lnTo>
                    <a:pt x="2396" y="154"/>
                  </a:lnTo>
                  <a:lnTo>
                    <a:pt x="2388" y="152"/>
                  </a:lnTo>
                  <a:lnTo>
                    <a:pt x="2382" y="148"/>
                  </a:lnTo>
                  <a:lnTo>
                    <a:pt x="2376" y="146"/>
                  </a:lnTo>
                  <a:lnTo>
                    <a:pt x="2372" y="148"/>
                  </a:lnTo>
                  <a:lnTo>
                    <a:pt x="2370" y="150"/>
                  </a:lnTo>
                  <a:lnTo>
                    <a:pt x="2370" y="150"/>
                  </a:lnTo>
                  <a:lnTo>
                    <a:pt x="2368" y="150"/>
                  </a:lnTo>
                  <a:lnTo>
                    <a:pt x="2364" y="150"/>
                  </a:lnTo>
                  <a:lnTo>
                    <a:pt x="2362" y="150"/>
                  </a:lnTo>
                  <a:lnTo>
                    <a:pt x="2360" y="148"/>
                  </a:lnTo>
                  <a:lnTo>
                    <a:pt x="2362" y="146"/>
                  </a:lnTo>
                  <a:lnTo>
                    <a:pt x="2364" y="144"/>
                  </a:lnTo>
                  <a:lnTo>
                    <a:pt x="2370" y="142"/>
                  </a:lnTo>
                  <a:lnTo>
                    <a:pt x="2382" y="142"/>
                  </a:lnTo>
                  <a:lnTo>
                    <a:pt x="2382" y="142"/>
                  </a:lnTo>
                  <a:lnTo>
                    <a:pt x="2392" y="140"/>
                  </a:lnTo>
                  <a:lnTo>
                    <a:pt x="2400" y="138"/>
                  </a:lnTo>
                  <a:lnTo>
                    <a:pt x="2404" y="136"/>
                  </a:lnTo>
                  <a:lnTo>
                    <a:pt x="2406" y="134"/>
                  </a:lnTo>
                  <a:lnTo>
                    <a:pt x="2404" y="132"/>
                  </a:lnTo>
                  <a:lnTo>
                    <a:pt x="2404" y="130"/>
                  </a:lnTo>
                  <a:lnTo>
                    <a:pt x="2398" y="128"/>
                  </a:lnTo>
                  <a:lnTo>
                    <a:pt x="2398" y="128"/>
                  </a:lnTo>
                  <a:lnTo>
                    <a:pt x="2394" y="126"/>
                  </a:lnTo>
                  <a:lnTo>
                    <a:pt x="2394" y="124"/>
                  </a:lnTo>
                  <a:lnTo>
                    <a:pt x="2400" y="122"/>
                  </a:lnTo>
                  <a:lnTo>
                    <a:pt x="2408" y="122"/>
                  </a:lnTo>
                  <a:lnTo>
                    <a:pt x="2412" y="122"/>
                  </a:lnTo>
                  <a:lnTo>
                    <a:pt x="2414" y="126"/>
                  </a:lnTo>
                  <a:lnTo>
                    <a:pt x="2414" y="126"/>
                  </a:lnTo>
                  <a:lnTo>
                    <a:pt x="2416" y="132"/>
                  </a:lnTo>
                  <a:lnTo>
                    <a:pt x="2420" y="136"/>
                  </a:lnTo>
                  <a:lnTo>
                    <a:pt x="2424" y="136"/>
                  </a:lnTo>
                  <a:lnTo>
                    <a:pt x="2428" y="136"/>
                  </a:lnTo>
                  <a:lnTo>
                    <a:pt x="2432" y="136"/>
                  </a:lnTo>
                  <a:lnTo>
                    <a:pt x="2434" y="138"/>
                  </a:lnTo>
                  <a:lnTo>
                    <a:pt x="2432" y="140"/>
                  </a:lnTo>
                  <a:lnTo>
                    <a:pt x="2432" y="140"/>
                  </a:lnTo>
                  <a:lnTo>
                    <a:pt x="2432" y="142"/>
                  </a:lnTo>
                  <a:lnTo>
                    <a:pt x="2434" y="142"/>
                  </a:lnTo>
                  <a:lnTo>
                    <a:pt x="2442" y="142"/>
                  </a:lnTo>
                  <a:lnTo>
                    <a:pt x="2454" y="140"/>
                  </a:lnTo>
                  <a:lnTo>
                    <a:pt x="2460" y="140"/>
                  </a:lnTo>
                  <a:lnTo>
                    <a:pt x="2462" y="142"/>
                  </a:lnTo>
                  <a:lnTo>
                    <a:pt x="2462" y="142"/>
                  </a:lnTo>
                  <a:lnTo>
                    <a:pt x="2468" y="148"/>
                  </a:lnTo>
                  <a:lnTo>
                    <a:pt x="2472" y="150"/>
                  </a:lnTo>
                  <a:lnTo>
                    <a:pt x="2476" y="150"/>
                  </a:lnTo>
                  <a:lnTo>
                    <a:pt x="2480" y="148"/>
                  </a:lnTo>
                  <a:lnTo>
                    <a:pt x="2488" y="146"/>
                  </a:lnTo>
                  <a:lnTo>
                    <a:pt x="2494" y="146"/>
                  </a:lnTo>
                  <a:lnTo>
                    <a:pt x="2500" y="148"/>
                  </a:lnTo>
                  <a:lnTo>
                    <a:pt x="2500" y="148"/>
                  </a:lnTo>
                  <a:lnTo>
                    <a:pt x="2516" y="152"/>
                  </a:lnTo>
                  <a:lnTo>
                    <a:pt x="2528" y="152"/>
                  </a:lnTo>
                  <a:lnTo>
                    <a:pt x="2532" y="150"/>
                  </a:lnTo>
                  <a:lnTo>
                    <a:pt x="2534" y="150"/>
                  </a:lnTo>
                  <a:lnTo>
                    <a:pt x="2532" y="146"/>
                  </a:lnTo>
                  <a:lnTo>
                    <a:pt x="2528" y="144"/>
                  </a:lnTo>
                  <a:lnTo>
                    <a:pt x="2528" y="144"/>
                  </a:lnTo>
                  <a:lnTo>
                    <a:pt x="2522" y="140"/>
                  </a:lnTo>
                  <a:lnTo>
                    <a:pt x="2522" y="136"/>
                  </a:lnTo>
                  <a:lnTo>
                    <a:pt x="2522" y="136"/>
                  </a:lnTo>
                  <a:lnTo>
                    <a:pt x="2520" y="134"/>
                  </a:lnTo>
                  <a:lnTo>
                    <a:pt x="2512" y="130"/>
                  </a:lnTo>
                  <a:lnTo>
                    <a:pt x="2512" y="130"/>
                  </a:lnTo>
                  <a:lnTo>
                    <a:pt x="2504" y="128"/>
                  </a:lnTo>
                  <a:lnTo>
                    <a:pt x="2502" y="126"/>
                  </a:lnTo>
                  <a:lnTo>
                    <a:pt x="2510" y="126"/>
                  </a:lnTo>
                  <a:lnTo>
                    <a:pt x="2522" y="126"/>
                  </a:lnTo>
                  <a:lnTo>
                    <a:pt x="2524" y="126"/>
                  </a:lnTo>
                  <a:lnTo>
                    <a:pt x="2522" y="124"/>
                  </a:lnTo>
                  <a:lnTo>
                    <a:pt x="2522" y="124"/>
                  </a:lnTo>
                  <a:lnTo>
                    <a:pt x="2520" y="122"/>
                  </a:lnTo>
                  <a:lnTo>
                    <a:pt x="2520" y="120"/>
                  </a:lnTo>
                  <a:lnTo>
                    <a:pt x="2526" y="118"/>
                  </a:lnTo>
                  <a:lnTo>
                    <a:pt x="2532" y="118"/>
                  </a:lnTo>
                  <a:lnTo>
                    <a:pt x="2532" y="116"/>
                  </a:lnTo>
                  <a:lnTo>
                    <a:pt x="2532" y="116"/>
                  </a:lnTo>
                  <a:lnTo>
                    <a:pt x="2532" y="116"/>
                  </a:lnTo>
                  <a:lnTo>
                    <a:pt x="2530" y="114"/>
                  </a:lnTo>
                  <a:lnTo>
                    <a:pt x="2530" y="114"/>
                  </a:lnTo>
                  <a:lnTo>
                    <a:pt x="2530" y="110"/>
                  </a:lnTo>
                  <a:lnTo>
                    <a:pt x="2530" y="108"/>
                  </a:lnTo>
                  <a:lnTo>
                    <a:pt x="2530" y="106"/>
                  </a:lnTo>
                  <a:lnTo>
                    <a:pt x="2528" y="104"/>
                  </a:lnTo>
                  <a:lnTo>
                    <a:pt x="2522" y="104"/>
                  </a:lnTo>
                  <a:lnTo>
                    <a:pt x="2522" y="104"/>
                  </a:lnTo>
                  <a:lnTo>
                    <a:pt x="2490" y="100"/>
                  </a:lnTo>
                  <a:lnTo>
                    <a:pt x="2458" y="94"/>
                  </a:lnTo>
                  <a:lnTo>
                    <a:pt x="2458" y="94"/>
                  </a:lnTo>
                  <a:lnTo>
                    <a:pt x="2446" y="94"/>
                  </a:lnTo>
                  <a:lnTo>
                    <a:pt x="2442" y="94"/>
                  </a:lnTo>
                  <a:lnTo>
                    <a:pt x="2442" y="96"/>
                  </a:lnTo>
                  <a:lnTo>
                    <a:pt x="2442" y="98"/>
                  </a:lnTo>
                  <a:lnTo>
                    <a:pt x="2450" y="102"/>
                  </a:lnTo>
                  <a:lnTo>
                    <a:pt x="2450" y="102"/>
                  </a:lnTo>
                  <a:lnTo>
                    <a:pt x="2460" y="106"/>
                  </a:lnTo>
                  <a:lnTo>
                    <a:pt x="2468" y="110"/>
                  </a:lnTo>
                  <a:lnTo>
                    <a:pt x="2474" y="114"/>
                  </a:lnTo>
                  <a:lnTo>
                    <a:pt x="2474" y="114"/>
                  </a:lnTo>
                  <a:lnTo>
                    <a:pt x="2466" y="114"/>
                  </a:lnTo>
                  <a:lnTo>
                    <a:pt x="2458" y="112"/>
                  </a:lnTo>
                  <a:lnTo>
                    <a:pt x="2448" y="106"/>
                  </a:lnTo>
                  <a:lnTo>
                    <a:pt x="2448" y="106"/>
                  </a:lnTo>
                  <a:lnTo>
                    <a:pt x="2436" y="102"/>
                  </a:lnTo>
                  <a:lnTo>
                    <a:pt x="2420" y="98"/>
                  </a:lnTo>
                  <a:lnTo>
                    <a:pt x="2400" y="96"/>
                  </a:lnTo>
                  <a:lnTo>
                    <a:pt x="2370" y="90"/>
                  </a:lnTo>
                  <a:lnTo>
                    <a:pt x="2370" y="90"/>
                  </a:lnTo>
                  <a:lnTo>
                    <a:pt x="2340" y="84"/>
                  </a:lnTo>
                  <a:lnTo>
                    <a:pt x="2320" y="80"/>
                  </a:lnTo>
                  <a:lnTo>
                    <a:pt x="2304" y="80"/>
                  </a:lnTo>
                  <a:lnTo>
                    <a:pt x="2290" y="82"/>
                  </a:lnTo>
                  <a:lnTo>
                    <a:pt x="2290" y="82"/>
                  </a:lnTo>
                  <a:lnTo>
                    <a:pt x="2284" y="84"/>
                  </a:lnTo>
                  <a:lnTo>
                    <a:pt x="2276" y="84"/>
                  </a:lnTo>
                  <a:lnTo>
                    <a:pt x="2258" y="80"/>
                  </a:lnTo>
                  <a:lnTo>
                    <a:pt x="2238" y="76"/>
                  </a:lnTo>
                  <a:lnTo>
                    <a:pt x="2216" y="74"/>
                  </a:lnTo>
                  <a:lnTo>
                    <a:pt x="2216" y="74"/>
                  </a:lnTo>
                  <a:lnTo>
                    <a:pt x="2168" y="74"/>
                  </a:lnTo>
                  <a:lnTo>
                    <a:pt x="2128" y="70"/>
                  </a:lnTo>
                  <a:lnTo>
                    <a:pt x="2128" y="70"/>
                  </a:lnTo>
                  <a:lnTo>
                    <a:pt x="2122" y="72"/>
                  </a:lnTo>
                  <a:lnTo>
                    <a:pt x="2122" y="72"/>
                  </a:lnTo>
                  <a:lnTo>
                    <a:pt x="2128" y="76"/>
                  </a:lnTo>
                  <a:lnTo>
                    <a:pt x="2134" y="80"/>
                  </a:lnTo>
                  <a:lnTo>
                    <a:pt x="2136" y="84"/>
                  </a:lnTo>
                  <a:lnTo>
                    <a:pt x="2136" y="86"/>
                  </a:lnTo>
                  <a:lnTo>
                    <a:pt x="2136" y="86"/>
                  </a:lnTo>
                  <a:lnTo>
                    <a:pt x="2130" y="88"/>
                  </a:lnTo>
                  <a:lnTo>
                    <a:pt x="2124" y="86"/>
                  </a:lnTo>
                  <a:lnTo>
                    <a:pt x="2118" y="84"/>
                  </a:lnTo>
                  <a:lnTo>
                    <a:pt x="2110" y="84"/>
                  </a:lnTo>
                  <a:lnTo>
                    <a:pt x="2110" y="84"/>
                  </a:lnTo>
                  <a:lnTo>
                    <a:pt x="2104" y="82"/>
                  </a:lnTo>
                  <a:lnTo>
                    <a:pt x="2102" y="80"/>
                  </a:lnTo>
                  <a:lnTo>
                    <a:pt x="2094" y="72"/>
                  </a:lnTo>
                  <a:lnTo>
                    <a:pt x="2092" y="68"/>
                  </a:lnTo>
                  <a:lnTo>
                    <a:pt x="2090" y="66"/>
                  </a:lnTo>
                  <a:lnTo>
                    <a:pt x="2086" y="68"/>
                  </a:lnTo>
                  <a:lnTo>
                    <a:pt x="2082" y="70"/>
                  </a:lnTo>
                  <a:lnTo>
                    <a:pt x="2082" y="70"/>
                  </a:lnTo>
                  <a:lnTo>
                    <a:pt x="2078" y="74"/>
                  </a:lnTo>
                  <a:lnTo>
                    <a:pt x="2076" y="74"/>
                  </a:lnTo>
                  <a:lnTo>
                    <a:pt x="2068" y="74"/>
                  </a:lnTo>
                  <a:lnTo>
                    <a:pt x="2050" y="74"/>
                  </a:lnTo>
                  <a:lnTo>
                    <a:pt x="2050" y="74"/>
                  </a:lnTo>
                  <a:lnTo>
                    <a:pt x="2034" y="74"/>
                  </a:lnTo>
                  <a:lnTo>
                    <a:pt x="2032" y="72"/>
                  </a:lnTo>
                  <a:lnTo>
                    <a:pt x="2030" y="70"/>
                  </a:lnTo>
                  <a:lnTo>
                    <a:pt x="2030" y="70"/>
                  </a:lnTo>
                  <a:lnTo>
                    <a:pt x="2028" y="68"/>
                  </a:lnTo>
                  <a:lnTo>
                    <a:pt x="2016" y="68"/>
                  </a:lnTo>
                  <a:lnTo>
                    <a:pt x="2016" y="68"/>
                  </a:lnTo>
                  <a:lnTo>
                    <a:pt x="2006" y="70"/>
                  </a:lnTo>
                  <a:lnTo>
                    <a:pt x="2006" y="70"/>
                  </a:lnTo>
                  <a:lnTo>
                    <a:pt x="2006" y="72"/>
                  </a:lnTo>
                  <a:lnTo>
                    <a:pt x="2010" y="72"/>
                  </a:lnTo>
                  <a:lnTo>
                    <a:pt x="2002" y="74"/>
                  </a:lnTo>
                  <a:lnTo>
                    <a:pt x="2002" y="74"/>
                  </a:lnTo>
                  <a:lnTo>
                    <a:pt x="1988" y="74"/>
                  </a:lnTo>
                  <a:lnTo>
                    <a:pt x="1980" y="72"/>
                  </a:lnTo>
                  <a:lnTo>
                    <a:pt x="1970" y="68"/>
                  </a:lnTo>
                  <a:lnTo>
                    <a:pt x="1950" y="66"/>
                  </a:lnTo>
                  <a:lnTo>
                    <a:pt x="1950" y="66"/>
                  </a:lnTo>
                  <a:lnTo>
                    <a:pt x="1934" y="66"/>
                  </a:lnTo>
                  <a:lnTo>
                    <a:pt x="1924" y="62"/>
                  </a:lnTo>
                  <a:lnTo>
                    <a:pt x="1908" y="60"/>
                  </a:lnTo>
                  <a:lnTo>
                    <a:pt x="1876" y="56"/>
                  </a:lnTo>
                  <a:lnTo>
                    <a:pt x="1876" y="56"/>
                  </a:lnTo>
                  <a:lnTo>
                    <a:pt x="1844" y="56"/>
                  </a:lnTo>
                  <a:lnTo>
                    <a:pt x="1836" y="56"/>
                  </a:lnTo>
                  <a:lnTo>
                    <a:pt x="1836" y="58"/>
                  </a:lnTo>
                  <a:lnTo>
                    <a:pt x="1836" y="58"/>
                  </a:lnTo>
                  <a:lnTo>
                    <a:pt x="1836" y="58"/>
                  </a:lnTo>
                  <a:lnTo>
                    <a:pt x="1838" y="60"/>
                  </a:lnTo>
                  <a:lnTo>
                    <a:pt x="1836" y="60"/>
                  </a:lnTo>
                  <a:lnTo>
                    <a:pt x="1832" y="60"/>
                  </a:lnTo>
                  <a:lnTo>
                    <a:pt x="1824" y="60"/>
                  </a:lnTo>
                  <a:lnTo>
                    <a:pt x="1816" y="56"/>
                  </a:lnTo>
                  <a:lnTo>
                    <a:pt x="1816" y="56"/>
                  </a:lnTo>
                  <a:lnTo>
                    <a:pt x="1808" y="50"/>
                  </a:lnTo>
                  <a:lnTo>
                    <a:pt x="1796" y="48"/>
                  </a:lnTo>
                  <a:lnTo>
                    <a:pt x="1780" y="48"/>
                  </a:lnTo>
                  <a:lnTo>
                    <a:pt x="1760" y="50"/>
                  </a:lnTo>
                  <a:lnTo>
                    <a:pt x="1760" y="50"/>
                  </a:lnTo>
                  <a:lnTo>
                    <a:pt x="1752" y="52"/>
                  </a:lnTo>
                  <a:lnTo>
                    <a:pt x="1744" y="52"/>
                  </a:lnTo>
                  <a:lnTo>
                    <a:pt x="1730" y="50"/>
                  </a:lnTo>
                  <a:lnTo>
                    <a:pt x="1718" y="48"/>
                  </a:lnTo>
                  <a:lnTo>
                    <a:pt x="1704" y="46"/>
                  </a:lnTo>
                  <a:lnTo>
                    <a:pt x="1704" y="46"/>
                  </a:lnTo>
                  <a:lnTo>
                    <a:pt x="1690" y="46"/>
                  </a:lnTo>
                  <a:lnTo>
                    <a:pt x="1694" y="44"/>
                  </a:lnTo>
                  <a:lnTo>
                    <a:pt x="1698" y="42"/>
                  </a:lnTo>
                  <a:lnTo>
                    <a:pt x="1698" y="40"/>
                  </a:lnTo>
                  <a:lnTo>
                    <a:pt x="1694" y="40"/>
                  </a:lnTo>
                  <a:lnTo>
                    <a:pt x="1682" y="38"/>
                  </a:lnTo>
                  <a:lnTo>
                    <a:pt x="1682" y="38"/>
                  </a:lnTo>
                  <a:lnTo>
                    <a:pt x="1674" y="38"/>
                  </a:lnTo>
                  <a:lnTo>
                    <a:pt x="1670" y="40"/>
                  </a:lnTo>
                  <a:lnTo>
                    <a:pt x="1668" y="42"/>
                  </a:lnTo>
                  <a:lnTo>
                    <a:pt x="1668" y="44"/>
                  </a:lnTo>
                  <a:lnTo>
                    <a:pt x="1666" y="48"/>
                  </a:lnTo>
                  <a:lnTo>
                    <a:pt x="1664" y="48"/>
                  </a:lnTo>
                  <a:lnTo>
                    <a:pt x="1660" y="48"/>
                  </a:lnTo>
                  <a:lnTo>
                    <a:pt x="1660" y="48"/>
                  </a:lnTo>
                  <a:lnTo>
                    <a:pt x="1656" y="48"/>
                  </a:lnTo>
                  <a:lnTo>
                    <a:pt x="1656" y="46"/>
                  </a:lnTo>
                  <a:lnTo>
                    <a:pt x="1660" y="44"/>
                  </a:lnTo>
                  <a:lnTo>
                    <a:pt x="1664" y="40"/>
                  </a:lnTo>
                  <a:lnTo>
                    <a:pt x="1664" y="40"/>
                  </a:lnTo>
                  <a:lnTo>
                    <a:pt x="1662" y="38"/>
                  </a:lnTo>
                  <a:lnTo>
                    <a:pt x="1662" y="38"/>
                  </a:lnTo>
                  <a:lnTo>
                    <a:pt x="1654" y="38"/>
                  </a:lnTo>
                  <a:lnTo>
                    <a:pt x="1648" y="38"/>
                  </a:lnTo>
                  <a:lnTo>
                    <a:pt x="1642" y="44"/>
                  </a:lnTo>
                  <a:lnTo>
                    <a:pt x="1642" y="44"/>
                  </a:lnTo>
                  <a:lnTo>
                    <a:pt x="1638" y="44"/>
                  </a:lnTo>
                  <a:lnTo>
                    <a:pt x="1632" y="40"/>
                  </a:lnTo>
                  <a:lnTo>
                    <a:pt x="1632" y="40"/>
                  </a:lnTo>
                  <a:lnTo>
                    <a:pt x="1632" y="38"/>
                  </a:lnTo>
                  <a:lnTo>
                    <a:pt x="1636" y="36"/>
                  </a:lnTo>
                  <a:lnTo>
                    <a:pt x="1642" y="36"/>
                  </a:lnTo>
                  <a:lnTo>
                    <a:pt x="1642" y="36"/>
                  </a:lnTo>
                  <a:lnTo>
                    <a:pt x="1654" y="34"/>
                  </a:lnTo>
                  <a:lnTo>
                    <a:pt x="1656" y="34"/>
                  </a:lnTo>
                  <a:lnTo>
                    <a:pt x="1642" y="32"/>
                  </a:lnTo>
                  <a:lnTo>
                    <a:pt x="1642" y="32"/>
                  </a:lnTo>
                  <a:lnTo>
                    <a:pt x="1618" y="32"/>
                  </a:lnTo>
                  <a:lnTo>
                    <a:pt x="1590" y="32"/>
                  </a:lnTo>
                  <a:lnTo>
                    <a:pt x="1590" y="32"/>
                  </a:lnTo>
                  <a:lnTo>
                    <a:pt x="1584" y="32"/>
                  </a:lnTo>
                  <a:lnTo>
                    <a:pt x="1582" y="36"/>
                  </a:lnTo>
                  <a:lnTo>
                    <a:pt x="1582" y="38"/>
                  </a:lnTo>
                  <a:lnTo>
                    <a:pt x="1584" y="42"/>
                  </a:lnTo>
                  <a:lnTo>
                    <a:pt x="1586" y="46"/>
                  </a:lnTo>
                  <a:lnTo>
                    <a:pt x="1584" y="48"/>
                  </a:lnTo>
                  <a:lnTo>
                    <a:pt x="1580" y="50"/>
                  </a:lnTo>
                  <a:lnTo>
                    <a:pt x="1572" y="48"/>
                  </a:lnTo>
                  <a:lnTo>
                    <a:pt x="1572" y="48"/>
                  </a:lnTo>
                  <a:lnTo>
                    <a:pt x="1564" y="48"/>
                  </a:lnTo>
                  <a:lnTo>
                    <a:pt x="1556" y="50"/>
                  </a:lnTo>
                  <a:lnTo>
                    <a:pt x="1544" y="48"/>
                  </a:lnTo>
                  <a:lnTo>
                    <a:pt x="1520" y="42"/>
                  </a:lnTo>
                  <a:lnTo>
                    <a:pt x="1520" y="42"/>
                  </a:lnTo>
                  <a:lnTo>
                    <a:pt x="1514" y="40"/>
                  </a:lnTo>
                  <a:lnTo>
                    <a:pt x="1516" y="42"/>
                  </a:lnTo>
                  <a:lnTo>
                    <a:pt x="1528" y="52"/>
                  </a:lnTo>
                  <a:lnTo>
                    <a:pt x="1542" y="62"/>
                  </a:lnTo>
                  <a:lnTo>
                    <a:pt x="1544" y="64"/>
                  </a:lnTo>
                  <a:lnTo>
                    <a:pt x="1538" y="66"/>
                  </a:lnTo>
                  <a:lnTo>
                    <a:pt x="1538" y="66"/>
                  </a:lnTo>
                  <a:lnTo>
                    <a:pt x="1534" y="66"/>
                  </a:lnTo>
                  <a:lnTo>
                    <a:pt x="1534" y="68"/>
                  </a:lnTo>
                  <a:lnTo>
                    <a:pt x="1534" y="70"/>
                  </a:lnTo>
                  <a:lnTo>
                    <a:pt x="1530" y="68"/>
                  </a:lnTo>
                  <a:lnTo>
                    <a:pt x="1530" y="68"/>
                  </a:lnTo>
                  <a:lnTo>
                    <a:pt x="1510" y="64"/>
                  </a:lnTo>
                  <a:lnTo>
                    <a:pt x="1492" y="56"/>
                  </a:lnTo>
                  <a:lnTo>
                    <a:pt x="1492" y="56"/>
                  </a:lnTo>
                  <a:lnTo>
                    <a:pt x="1484" y="54"/>
                  </a:lnTo>
                  <a:lnTo>
                    <a:pt x="1484" y="54"/>
                  </a:lnTo>
                  <a:lnTo>
                    <a:pt x="1482" y="56"/>
                  </a:lnTo>
                  <a:lnTo>
                    <a:pt x="1474" y="56"/>
                  </a:lnTo>
                  <a:lnTo>
                    <a:pt x="1474" y="56"/>
                  </a:lnTo>
                  <a:lnTo>
                    <a:pt x="1468" y="54"/>
                  </a:lnTo>
                  <a:lnTo>
                    <a:pt x="1470" y="52"/>
                  </a:lnTo>
                  <a:lnTo>
                    <a:pt x="1472" y="50"/>
                  </a:lnTo>
                  <a:lnTo>
                    <a:pt x="1472" y="48"/>
                  </a:lnTo>
                  <a:lnTo>
                    <a:pt x="1468" y="48"/>
                  </a:lnTo>
                  <a:lnTo>
                    <a:pt x="1468" y="48"/>
                  </a:lnTo>
                  <a:lnTo>
                    <a:pt x="1458" y="44"/>
                  </a:lnTo>
                  <a:lnTo>
                    <a:pt x="1454" y="40"/>
                  </a:lnTo>
                  <a:lnTo>
                    <a:pt x="1452" y="38"/>
                  </a:lnTo>
                  <a:lnTo>
                    <a:pt x="1452" y="38"/>
                  </a:lnTo>
                  <a:lnTo>
                    <a:pt x="1448" y="34"/>
                  </a:lnTo>
                  <a:lnTo>
                    <a:pt x="1440" y="32"/>
                  </a:lnTo>
                  <a:lnTo>
                    <a:pt x="1418" y="28"/>
                  </a:lnTo>
                  <a:lnTo>
                    <a:pt x="1418" y="28"/>
                  </a:lnTo>
                  <a:lnTo>
                    <a:pt x="1396" y="20"/>
                  </a:lnTo>
                  <a:lnTo>
                    <a:pt x="1384" y="18"/>
                  </a:lnTo>
                  <a:lnTo>
                    <a:pt x="1380" y="18"/>
                  </a:lnTo>
                  <a:lnTo>
                    <a:pt x="1376" y="20"/>
                  </a:lnTo>
                  <a:lnTo>
                    <a:pt x="1376" y="20"/>
                  </a:lnTo>
                  <a:lnTo>
                    <a:pt x="1370" y="22"/>
                  </a:lnTo>
                  <a:lnTo>
                    <a:pt x="1366" y="22"/>
                  </a:lnTo>
                  <a:lnTo>
                    <a:pt x="1360" y="20"/>
                  </a:lnTo>
                  <a:lnTo>
                    <a:pt x="1356" y="20"/>
                  </a:lnTo>
                  <a:lnTo>
                    <a:pt x="1356" y="20"/>
                  </a:lnTo>
                  <a:lnTo>
                    <a:pt x="1344" y="20"/>
                  </a:lnTo>
                  <a:lnTo>
                    <a:pt x="1338" y="20"/>
                  </a:lnTo>
                  <a:lnTo>
                    <a:pt x="1336" y="22"/>
                  </a:lnTo>
                  <a:lnTo>
                    <a:pt x="1336" y="22"/>
                  </a:lnTo>
                  <a:lnTo>
                    <a:pt x="1332" y="24"/>
                  </a:lnTo>
                  <a:lnTo>
                    <a:pt x="1328" y="26"/>
                  </a:lnTo>
                  <a:lnTo>
                    <a:pt x="1326" y="26"/>
                  </a:lnTo>
                  <a:lnTo>
                    <a:pt x="1326" y="28"/>
                  </a:lnTo>
                  <a:lnTo>
                    <a:pt x="1336" y="32"/>
                  </a:lnTo>
                  <a:lnTo>
                    <a:pt x="1336" y="32"/>
                  </a:lnTo>
                  <a:lnTo>
                    <a:pt x="1344" y="38"/>
                  </a:lnTo>
                  <a:lnTo>
                    <a:pt x="1342" y="38"/>
                  </a:lnTo>
                  <a:lnTo>
                    <a:pt x="1340" y="38"/>
                  </a:lnTo>
                  <a:lnTo>
                    <a:pt x="1312" y="38"/>
                  </a:lnTo>
                  <a:lnTo>
                    <a:pt x="1312" y="38"/>
                  </a:lnTo>
                  <a:lnTo>
                    <a:pt x="1300" y="38"/>
                  </a:lnTo>
                  <a:lnTo>
                    <a:pt x="1300" y="40"/>
                  </a:lnTo>
                  <a:lnTo>
                    <a:pt x="1302" y="42"/>
                  </a:lnTo>
                  <a:lnTo>
                    <a:pt x="1302" y="42"/>
                  </a:lnTo>
                  <a:lnTo>
                    <a:pt x="1300" y="44"/>
                  </a:lnTo>
                  <a:lnTo>
                    <a:pt x="1298" y="44"/>
                  </a:lnTo>
                  <a:lnTo>
                    <a:pt x="1286" y="44"/>
                  </a:lnTo>
                  <a:lnTo>
                    <a:pt x="1274" y="42"/>
                  </a:lnTo>
                  <a:lnTo>
                    <a:pt x="1270" y="40"/>
                  </a:lnTo>
                  <a:lnTo>
                    <a:pt x="1270" y="38"/>
                  </a:lnTo>
                  <a:lnTo>
                    <a:pt x="1270" y="38"/>
                  </a:lnTo>
                  <a:lnTo>
                    <a:pt x="1270" y="38"/>
                  </a:lnTo>
                  <a:lnTo>
                    <a:pt x="1268" y="36"/>
                  </a:lnTo>
                  <a:lnTo>
                    <a:pt x="1266" y="36"/>
                  </a:lnTo>
                  <a:lnTo>
                    <a:pt x="1266" y="36"/>
                  </a:lnTo>
                  <a:lnTo>
                    <a:pt x="1266" y="36"/>
                  </a:lnTo>
                  <a:lnTo>
                    <a:pt x="1266" y="34"/>
                  </a:lnTo>
                  <a:lnTo>
                    <a:pt x="1268" y="32"/>
                  </a:lnTo>
                  <a:lnTo>
                    <a:pt x="1270" y="32"/>
                  </a:lnTo>
                  <a:lnTo>
                    <a:pt x="1268" y="30"/>
                  </a:lnTo>
                  <a:lnTo>
                    <a:pt x="1268" y="30"/>
                  </a:lnTo>
                  <a:lnTo>
                    <a:pt x="1264" y="30"/>
                  </a:lnTo>
                  <a:lnTo>
                    <a:pt x="1258" y="30"/>
                  </a:lnTo>
                  <a:lnTo>
                    <a:pt x="1246" y="32"/>
                  </a:lnTo>
                  <a:lnTo>
                    <a:pt x="1226" y="32"/>
                  </a:lnTo>
                  <a:lnTo>
                    <a:pt x="1226" y="32"/>
                  </a:lnTo>
                  <a:lnTo>
                    <a:pt x="1210" y="34"/>
                  </a:lnTo>
                  <a:lnTo>
                    <a:pt x="1204" y="34"/>
                  </a:lnTo>
                  <a:lnTo>
                    <a:pt x="1200" y="36"/>
                  </a:lnTo>
                  <a:lnTo>
                    <a:pt x="1192" y="38"/>
                  </a:lnTo>
                  <a:lnTo>
                    <a:pt x="1192" y="38"/>
                  </a:lnTo>
                  <a:lnTo>
                    <a:pt x="1184" y="38"/>
                  </a:lnTo>
                  <a:lnTo>
                    <a:pt x="1182" y="36"/>
                  </a:lnTo>
                  <a:lnTo>
                    <a:pt x="1182" y="34"/>
                  </a:lnTo>
                  <a:lnTo>
                    <a:pt x="1180" y="32"/>
                  </a:lnTo>
                  <a:lnTo>
                    <a:pt x="1176" y="30"/>
                  </a:lnTo>
                  <a:lnTo>
                    <a:pt x="1168" y="30"/>
                  </a:lnTo>
                  <a:lnTo>
                    <a:pt x="1168" y="30"/>
                  </a:lnTo>
                  <a:lnTo>
                    <a:pt x="1156" y="32"/>
                  </a:lnTo>
                  <a:lnTo>
                    <a:pt x="1152" y="34"/>
                  </a:lnTo>
                  <a:lnTo>
                    <a:pt x="1150" y="34"/>
                  </a:lnTo>
                  <a:lnTo>
                    <a:pt x="1148" y="34"/>
                  </a:lnTo>
                  <a:lnTo>
                    <a:pt x="1148" y="34"/>
                  </a:lnTo>
                  <a:lnTo>
                    <a:pt x="1144" y="34"/>
                  </a:lnTo>
                  <a:lnTo>
                    <a:pt x="1140" y="34"/>
                  </a:lnTo>
                  <a:lnTo>
                    <a:pt x="1136" y="34"/>
                  </a:lnTo>
                  <a:lnTo>
                    <a:pt x="1132" y="32"/>
                  </a:lnTo>
                  <a:lnTo>
                    <a:pt x="1132" y="32"/>
                  </a:lnTo>
                  <a:lnTo>
                    <a:pt x="1130" y="30"/>
                  </a:lnTo>
                  <a:lnTo>
                    <a:pt x="1126" y="30"/>
                  </a:lnTo>
                  <a:lnTo>
                    <a:pt x="1118" y="30"/>
                  </a:lnTo>
                  <a:lnTo>
                    <a:pt x="1118" y="30"/>
                  </a:lnTo>
                  <a:lnTo>
                    <a:pt x="1114" y="32"/>
                  </a:lnTo>
                  <a:lnTo>
                    <a:pt x="1112" y="34"/>
                  </a:lnTo>
                  <a:lnTo>
                    <a:pt x="1122" y="36"/>
                  </a:lnTo>
                  <a:lnTo>
                    <a:pt x="1122" y="36"/>
                  </a:lnTo>
                  <a:lnTo>
                    <a:pt x="1116" y="38"/>
                  </a:lnTo>
                  <a:lnTo>
                    <a:pt x="1112" y="36"/>
                  </a:lnTo>
                  <a:lnTo>
                    <a:pt x="1108" y="36"/>
                  </a:lnTo>
                  <a:lnTo>
                    <a:pt x="1106" y="38"/>
                  </a:lnTo>
                  <a:lnTo>
                    <a:pt x="1106" y="38"/>
                  </a:lnTo>
                  <a:lnTo>
                    <a:pt x="1102" y="40"/>
                  </a:lnTo>
                  <a:lnTo>
                    <a:pt x="1098" y="42"/>
                  </a:lnTo>
                  <a:lnTo>
                    <a:pt x="1088" y="42"/>
                  </a:lnTo>
                  <a:lnTo>
                    <a:pt x="1088" y="42"/>
                  </a:lnTo>
                  <a:lnTo>
                    <a:pt x="1088" y="42"/>
                  </a:lnTo>
                  <a:lnTo>
                    <a:pt x="1086" y="42"/>
                  </a:lnTo>
                  <a:lnTo>
                    <a:pt x="1080" y="46"/>
                  </a:lnTo>
                  <a:lnTo>
                    <a:pt x="1080" y="46"/>
                  </a:lnTo>
                  <a:lnTo>
                    <a:pt x="1070" y="48"/>
                  </a:lnTo>
                  <a:lnTo>
                    <a:pt x="1068" y="48"/>
                  </a:lnTo>
                  <a:lnTo>
                    <a:pt x="1076" y="44"/>
                  </a:lnTo>
                  <a:lnTo>
                    <a:pt x="1076" y="44"/>
                  </a:lnTo>
                  <a:lnTo>
                    <a:pt x="1082" y="42"/>
                  </a:lnTo>
                  <a:lnTo>
                    <a:pt x="1084" y="40"/>
                  </a:lnTo>
                  <a:lnTo>
                    <a:pt x="1084" y="38"/>
                  </a:lnTo>
                  <a:lnTo>
                    <a:pt x="1086" y="38"/>
                  </a:lnTo>
                  <a:lnTo>
                    <a:pt x="1086" y="38"/>
                  </a:lnTo>
                  <a:lnTo>
                    <a:pt x="1092" y="38"/>
                  </a:lnTo>
                  <a:lnTo>
                    <a:pt x="1094" y="36"/>
                  </a:lnTo>
                  <a:lnTo>
                    <a:pt x="1096" y="34"/>
                  </a:lnTo>
                  <a:lnTo>
                    <a:pt x="1102" y="32"/>
                  </a:lnTo>
                  <a:lnTo>
                    <a:pt x="1102" y="32"/>
                  </a:lnTo>
                  <a:lnTo>
                    <a:pt x="1112" y="26"/>
                  </a:lnTo>
                  <a:lnTo>
                    <a:pt x="1120" y="24"/>
                  </a:lnTo>
                  <a:lnTo>
                    <a:pt x="1120" y="24"/>
                  </a:lnTo>
                  <a:lnTo>
                    <a:pt x="1122" y="22"/>
                  </a:lnTo>
                  <a:lnTo>
                    <a:pt x="1120" y="18"/>
                  </a:lnTo>
                  <a:lnTo>
                    <a:pt x="1118" y="16"/>
                  </a:lnTo>
                  <a:lnTo>
                    <a:pt x="1114" y="16"/>
                  </a:lnTo>
                  <a:lnTo>
                    <a:pt x="1114" y="16"/>
                  </a:lnTo>
                  <a:lnTo>
                    <a:pt x="1106" y="16"/>
                  </a:lnTo>
                  <a:lnTo>
                    <a:pt x="1102" y="16"/>
                  </a:lnTo>
                  <a:lnTo>
                    <a:pt x="1100" y="14"/>
                  </a:lnTo>
                  <a:lnTo>
                    <a:pt x="1100" y="14"/>
                  </a:lnTo>
                  <a:lnTo>
                    <a:pt x="1108" y="14"/>
                  </a:lnTo>
                  <a:lnTo>
                    <a:pt x="1114" y="14"/>
                  </a:lnTo>
                  <a:lnTo>
                    <a:pt x="1116" y="14"/>
                  </a:lnTo>
                  <a:lnTo>
                    <a:pt x="1116" y="14"/>
                  </a:lnTo>
                  <a:lnTo>
                    <a:pt x="1114" y="12"/>
                  </a:lnTo>
                  <a:lnTo>
                    <a:pt x="1106" y="8"/>
                  </a:lnTo>
                  <a:lnTo>
                    <a:pt x="1096" y="6"/>
                  </a:lnTo>
                  <a:lnTo>
                    <a:pt x="1088" y="6"/>
                  </a:lnTo>
                  <a:lnTo>
                    <a:pt x="1088" y="6"/>
                  </a:lnTo>
                  <a:lnTo>
                    <a:pt x="1086" y="8"/>
                  </a:lnTo>
                  <a:lnTo>
                    <a:pt x="1080" y="6"/>
                  </a:lnTo>
                  <a:lnTo>
                    <a:pt x="1058" y="4"/>
                  </a:lnTo>
                  <a:lnTo>
                    <a:pt x="1058" y="4"/>
                  </a:lnTo>
                  <a:lnTo>
                    <a:pt x="1048" y="6"/>
                  </a:lnTo>
                  <a:lnTo>
                    <a:pt x="1046" y="6"/>
                  </a:lnTo>
                  <a:lnTo>
                    <a:pt x="1048" y="8"/>
                  </a:lnTo>
                  <a:lnTo>
                    <a:pt x="1046" y="8"/>
                  </a:lnTo>
                  <a:lnTo>
                    <a:pt x="1046" y="8"/>
                  </a:lnTo>
                  <a:lnTo>
                    <a:pt x="1044" y="8"/>
                  </a:lnTo>
                  <a:lnTo>
                    <a:pt x="1042" y="6"/>
                  </a:lnTo>
                  <a:lnTo>
                    <a:pt x="1038" y="6"/>
                  </a:lnTo>
                  <a:lnTo>
                    <a:pt x="1028" y="6"/>
                  </a:lnTo>
                  <a:lnTo>
                    <a:pt x="1028" y="6"/>
                  </a:lnTo>
                  <a:lnTo>
                    <a:pt x="1018" y="6"/>
                  </a:lnTo>
                  <a:lnTo>
                    <a:pt x="1008" y="4"/>
                  </a:lnTo>
                  <a:lnTo>
                    <a:pt x="998" y="2"/>
                  </a:lnTo>
                  <a:lnTo>
                    <a:pt x="998" y="2"/>
                  </a:lnTo>
                  <a:lnTo>
                    <a:pt x="992" y="2"/>
                  </a:lnTo>
                  <a:lnTo>
                    <a:pt x="988" y="2"/>
                  </a:lnTo>
                  <a:lnTo>
                    <a:pt x="980" y="4"/>
                  </a:lnTo>
                  <a:lnTo>
                    <a:pt x="980" y="4"/>
                  </a:lnTo>
                  <a:lnTo>
                    <a:pt x="976" y="10"/>
                  </a:lnTo>
                  <a:lnTo>
                    <a:pt x="974" y="10"/>
                  </a:lnTo>
                  <a:lnTo>
                    <a:pt x="976" y="6"/>
                  </a:lnTo>
                  <a:lnTo>
                    <a:pt x="976" y="6"/>
                  </a:lnTo>
                  <a:lnTo>
                    <a:pt x="976" y="2"/>
                  </a:lnTo>
                  <a:lnTo>
                    <a:pt x="974" y="2"/>
                  </a:lnTo>
                  <a:lnTo>
                    <a:pt x="966" y="4"/>
                  </a:lnTo>
                  <a:lnTo>
                    <a:pt x="960" y="8"/>
                  </a:lnTo>
                  <a:lnTo>
                    <a:pt x="962" y="4"/>
                  </a:lnTo>
                  <a:lnTo>
                    <a:pt x="962" y="4"/>
                  </a:lnTo>
                  <a:lnTo>
                    <a:pt x="966" y="0"/>
                  </a:lnTo>
                  <a:lnTo>
                    <a:pt x="958" y="0"/>
                  </a:lnTo>
                  <a:lnTo>
                    <a:pt x="958" y="0"/>
                  </a:lnTo>
                  <a:lnTo>
                    <a:pt x="946" y="0"/>
                  </a:lnTo>
                  <a:lnTo>
                    <a:pt x="940" y="4"/>
                  </a:lnTo>
                  <a:lnTo>
                    <a:pt x="940" y="4"/>
                  </a:lnTo>
                  <a:lnTo>
                    <a:pt x="932" y="6"/>
                  </a:lnTo>
                  <a:lnTo>
                    <a:pt x="932" y="8"/>
                  </a:lnTo>
                  <a:lnTo>
                    <a:pt x="932" y="10"/>
                  </a:lnTo>
                  <a:lnTo>
                    <a:pt x="932" y="10"/>
                  </a:lnTo>
                  <a:lnTo>
                    <a:pt x="930" y="10"/>
                  </a:lnTo>
                  <a:lnTo>
                    <a:pt x="928" y="10"/>
                  </a:lnTo>
                  <a:lnTo>
                    <a:pt x="928" y="12"/>
                  </a:lnTo>
                  <a:lnTo>
                    <a:pt x="932" y="14"/>
                  </a:lnTo>
                  <a:lnTo>
                    <a:pt x="932" y="14"/>
                  </a:lnTo>
                  <a:lnTo>
                    <a:pt x="922" y="12"/>
                  </a:lnTo>
                  <a:lnTo>
                    <a:pt x="916" y="10"/>
                  </a:lnTo>
                  <a:lnTo>
                    <a:pt x="908" y="10"/>
                  </a:lnTo>
                  <a:lnTo>
                    <a:pt x="908" y="10"/>
                  </a:lnTo>
                  <a:lnTo>
                    <a:pt x="904" y="10"/>
                  </a:lnTo>
                  <a:lnTo>
                    <a:pt x="904" y="10"/>
                  </a:lnTo>
                  <a:lnTo>
                    <a:pt x="904" y="12"/>
                  </a:lnTo>
                  <a:lnTo>
                    <a:pt x="898" y="14"/>
                  </a:lnTo>
                  <a:lnTo>
                    <a:pt x="898" y="14"/>
                  </a:lnTo>
                  <a:lnTo>
                    <a:pt x="892" y="14"/>
                  </a:lnTo>
                  <a:lnTo>
                    <a:pt x="890" y="14"/>
                  </a:lnTo>
                  <a:lnTo>
                    <a:pt x="890" y="12"/>
                  </a:lnTo>
                  <a:lnTo>
                    <a:pt x="888" y="12"/>
                  </a:lnTo>
                  <a:lnTo>
                    <a:pt x="888" y="12"/>
                  </a:lnTo>
                  <a:lnTo>
                    <a:pt x="888" y="12"/>
                  </a:lnTo>
                  <a:lnTo>
                    <a:pt x="888" y="10"/>
                  </a:lnTo>
                  <a:lnTo>
                    <a:pt x="888" y="10"/>
                  </a:lnTo>
                  <a:lnTo>
                    <a:pt x="882" y="8"/>
                  </a:lnTo>
                  <a:lnTo>
                    <a:pt x="882" y="8"/>
                  </a:lnTo>
                  <a:lnTo>
                    <a:pt x="872" y="8"/>
                  </a:lnTo>
                  <a:lnTo>
                    <a:pt x="870" y="8"/>
                  </a:lnTo>
                  <a:lnTo>
                    <a:pt x="872" y="10"/>
                  </a:lnTo>
                  <a:lnTo>
                    <a:pt x="872" y="10"/>
                  </a:lnTo>
                  <a:lnTo>
                    <a:pt x="874" y="10"/>
                  </a:lnTo>
                  <a:lnTo>
                    <a:pt x="872" y="10"/>
                  </a:lnTo>
                  <a:lnTo>
                    <a:pt x="862" y="10"/>
                  </a:lnTo>
                  <a:lnTo>
                    <a:pt x="862" y="10"/>
                  </a:lnTo>
                  <a:lnTo>
                    <a:pt x="846" y="12"/>
                  </a:lnTo>
                  <a:lnTo>
                    <a:pt x="840" y="14"/>
                  </a:lnTo>
                  <a:lnTo>
                    <a:pt x="838" y="14"/>
                  </a:lnTo>
                  <a:lnTo>
                    <a:pt x="836" y="14"/>
                  </a:lnTo>
                  <a:lnTo>
                    <a:pt x="836" y="14"/>
                  </a:lnTo>
                  <a:lnTo>
                    <a:pt x="832" y="14"/>
                  </a:lnTo>
                  <a:lnTo>
                    <a:pt x="828" y="14"/>
                  </a:lnTo>
                  <a:lnTo>
                    <a:pt x="824" y="14"/>
                  </a:lnTo>
                  <a:lnTo>
                    <a:pt x="818" y="14"/>
                  </a:lnTo>
                  <a:lnTo>
                    <a:pt x="818" y="14"/>
                  </a:lnTo>
                  <a:lnTo>
                    <a:pt x="812" y="14"/>
                  </a:lnTo>
                  <a:lnTo>
                    <a:pt x="810" y="14"/>
                  </a:lnTo>
                  <a:lnTo>
                    <a:pt x="808" y="16"/>
                  </a:lnTo>
                  <a:lnTo>
                    <a:pt x="806" y="16"/>
                  </a:lnTo>
                  <a:lnTo>
                    <a:pt x="806" y="16"/>
                  </a:lnTo>
                  <a:lnTo>
                    <a:pt x="802" y="16"/>
                  </a:lnTo>
                  <a:lnTo>
                    <a:pt x="800" y="18"/>
                  </a:lnTo>
                  <a:lnTo>
                    <a:pt x="796" y="18"/>
                  </a:lnTo>
                  <a:lnTo>
                    <a:pt x="786" y="18"/>
                  </a:lnTo>
                  <a:lnTo>
                    <a:pt x="786" y="18"/>
                  </a:lnTo>
                  <a:lnTo>
                    <a:pt x="780" y="18"/>
                  </a:lnTo>
                  <a:lnTo>
                    <a:pt x="776" y="20"/>
                  </a:lnTo>
                  <a:lnTo>
                    <a:pt x="776" y="20"/>
                  </a:lnTo>
                  <a:lnTo>
                    <a:pt x="774" y="20"/>
                  </a:lnTo>
                  <a:lnTo>
                    <a:pt x="774" y="22"/>
                  </a:lnTo>
                  <a:lnTo>
                    <a:pt x="776" y="22"/>
                  </a:lnTo>
                  <a:lnTo>
                    <a:pt x="776" y="24"/>
                  </a:lnTo>
                  <a:lnTo>
                    <a:pt x="776" y="24"/>
                  </a:lnTo>
                  <a:lnTo>
                    <a:pt x="780" y="26"/>
                  </a:lnTo>
                  <a:lnTo>
                    <a:pt x="786" y="28"/>
                  </a:lnTo>
                  <a:lnTo>
                    <a:pt x="790" y="28"/>
                  </a:lnTo>
                  <a:lnTo>
                    <a:pt x="790" y="28"/>
                  </a:lnTo>
                  <a:lnTo>
                    <a:pt x="786" y="30"/>
                  </a:lnTo>
                  <a:lnTo>
                    <a:pt x="786" y="32"/>
                  </a:lnTo>
                  <a:lnTo>
                    <a:pt x="784" y="34"/>
                  </a:lnTo>
                  <a:lnTo>
                    <a:pt x="784" y="32"/>
                  </a:lnTo>
                  <a:lnTo>
                    <a:pt x="784" y="32"/>
                  </a:lnTo>
                  <a:lnTo>
                    <a:pt x="784" y="28"/>
                  </a:lnTo>
                  <a:lnTo>
                    <a:pt x="784" y="28"/>
                  </a:lnTo>
                  <a:lnTo>
                    <a:pt x="778" y="30"/>
                  </a:lnTo>
                  <a:lnTo>
                    <a:pt x="768" y="30"/>
                  </a:lnTo>
                  <a:lnTo>
                    <a:pt x="768" y="30"/>
                  </a:lnTo>
                  <a:lnTo>
                    <a:pt x="746" y="32"/>
                  </a:lnTo>
                  <a:lnTo>
                    <a:pt x="728" y="34"/>
                  </a:lnTo>
                  <a:lnTo>
                    <a:pt x="728" y="34"/>
                  </a:lnTo>
                  <a:lnTo>
                    <a:pt x="724" y="34"/>
                  </a:lnTo>
                  <a:lnTo>
                    <a:pt x="718" y="36"/>
                  </a:lnTo>
                  <a:lnTo>
                    <a:pt x="718" y="38"/>
                  </a:lnTo>
                  <a:lnTo>
                    <a:pt x="718" y="40"/>
                  </a:lnTo>
                  <a:lnTo>
                    <a:pt x="732" y="46"/>
                  </a:lnTo>
                  <a:lnTo>
                    <a:pt x="732" y="46"/>
                  </a:lnTo>
                  <a:lnTo>
                    <a:pt x="746" y="52"/>
                  </a:lnTo>
                  <a:lnTo>
                    <a:pt x="752" y="52"/>
                  </a:lnTo>
                  <a:lnTo>
                    <a:pt x="758" y="50"/>
                  </a:lnTo>
                  <a:lnTo>
                    <a:pt x="764" y="54"/>
                  </a:lnTo>
                  <a:lnTo>
                    <a:pt x="764" y="54"/>
                  </a:lnTo>
                  <a:lnTo>
                    <a:pt x="772" y="56"/>
                  </a:lnTo>
                  <a:lnTo>
                    <a:pt x="780" y="58"/>
                  </a:lnTo>
                  <a:lnTo>
                    <a:pt x="784" y="58"/>
                  </a:lnTo>
                  <a:lnTo>
                    <a:pt x="786" y="60"/>
                  </a:lnTo>
                  <a:lnTo>
                    <a:pt x="786" y="62"/>
                  </a:lnTo>
                  <a:lnTo>
                    <a:pt x="786" y="62"/>
                  </a:lnTo>
                  <a:lnTo>
                    <a:pt x="790" y="66"/>
                  </a:lnTo>
                  <a:lnTo>
                    <a:pt x="796" y="70"/>
                  </a:lnTo>
                  <a:lnTo>
                    <a:pt x="814" y="74"/>
                  </a:lnTo>
                  <a:lnTo>
                    <a:pt x="814" y="74"/>
                  </a:lnTo>
                  <a:lnTo>
                    <a:pt x="820" y="78"/>
                  </a:lnTo>
                  <a:lnTo>
                    <a:pt x="822" y="80"/>
                  </a:lnTo>
                  <a:lnTo>
                    <a:pt x="820" y="80"/>
                  </a:lnTo>
                  <a:lnTo>
                    <a:pt x="814" y="80"/>
                  </a:lnTo>
                  <a:lnTo>
                    <a:pt x="806" y="78"/>
                  </a:lnTo>
                  <a:lnTo>
                    <a:pt x="806" y="78"/>
                  </a:lnTo>
                  <a:lnTo>
                    <a:pt x="800" y="74"/>
                  </a:lnTo>
                  <a:lnTo>
                    <a:pt x="796" y="76"/>
                  </a:lnTo>
                  <a:lnTo>
                    <a:pt x="796" y="78"/>
                  </a:lnTo>
                  <a:lnTo>
                    <a:pt x="796" y="78"/>
                  </a:lnTo>
                  <a:lnTo>
                    <a:pt x="796" y="76"/>
                  </a:lnTo>
                  <a:lnTo>
                    <a:pt x="792" y="74"/>
                  </a:lnTo>
                  <a:lnTo>
                    <a:pt x="786" y="72"/>
                  </a:lnTo>
                  <a:lnTo>
                    <a:pt x="786" y="72"/>
                  </a:lnTo>
                  <a:lnTo>
                    <a:pt x="782" y="70"/>
                  </a:lnTo>
                  <a:lnTo>
                    <a:pt x="780" y="68"/>
                  </a:lnTo>
                  <a:lnTo>
                    <a:pt x="782" y="64"/>
                  </a:lnTo>
                  <a:lnTo>
                    <a:pt x="782" y="62"/>
                  </a:lnTo>
                  <a:lnTo>
                    <a:pt x="782" y="62"/>
                  </a:lnTo>
                  <a:lnTo>
                    <a:pt x="770" y="60"/>
                  </a:lnTo>
                  <a:lnTo>
                    <a:pt x="770" y="60"/>
                  </a:lnTo>
                  <a:lnTo>
                    <a:pt x="758" y="60"/>
                  </a:lnTo>
                  <a:lnTo>
                    <a:pt x="748" y="58"/>
                  </a:lnTo>
                  <a:lnTo>
                    <a:pt x="740" y="56"/>
                  </a:lnTo>
                  <a:lnTo>
                    <a:pt x="734" y="54"/>
                  </a:lnTo>
                  <a:lnTo>
                    <a:pt x="734" y="54"/>
                  </a:lnTo>
                  <a:lnTo>
                    <a:pt x="722" y="52"/>
                  </a:lnTo>
                  <a:lnTo>
                    <a:pt x="708" y="48"/>
                  </a:lnTo>
                  <a:lnTo>
                    <a:pt x="708" y="48"/>
                  </a:lnTo>
                  <a:lnTo>
                    <a:pt x="694" y="46"/>
                  </a:lnTo>
                  <a:lnTo>
                    <a:pt x="690" y="46"/>
                  </a:lnTo>
                  <a:lnTo>
                    <a:pt x="688" y="46"/>
                  </a:lnTo>
                  <a:lnTo>
                    <a:pt x="690" y="48"/>
                  </a:lnTo>
                  <a:lnTo>
                    <a:pt x="690" y="48"/>
                  </a:lnTo>
                  <a:lnTo>
                    <a:pt x="690" y="50"/>
                  </a:lnTo>
                  <a:lnTo>
                    <a:pt x="688" y="50"/>
                  </a:lnTo>
                  <a:lnTo>
                    <a:pt x="680" y="48"/>
                  </a:lnTo>
                  <a:lnTo>
                    <a:pt x="680" y="48"/>
                  </a:lnTo>
                  <a:lnTo>
                    <a:pt x="676" y="48"/>
                  </a:lnTo>
                  <a:lnTo>
                    <a:pt x="672" y="50"/>
                  </a:lnTo>
                  <a:lnTo>
                    <a:pt x="670" y="52"/>
                  </a:lnTo>
                  <a:lnTo>
                    <a:pt x="674" y="54"/>
                  </a:lnTo>
                  <a:lnTo>
                    <a:pt x="674" y="54"/>
                  </a:lnTo>
                  <a:lnTo>
                    <a:pt x="680" y="56"/>
                  </a:lnTo>
                  <a:lnTo>
                    <a:pt x="682" y="58"/>
                  </a:lnTo>
                  <a:lnTo>
                    <a:pt x="684" y="60"/>
                  </a:lnTo>
                  <a:lnTo>
                    <a:pt x="690" y="60"/>
                  </a:lnTo>
                  <a:lnTo>
                    <a:pt x="690" y="60"/>
                  </a:lnTo>
                  <a:lnTo>
                    <a:pt x="694" y="60"/>
                  </a:lnTo>
                  <a:lnTo>
                    <a:pt x="700" y="62"/>
                  </a:lnTo>
                  <a:lnTo>
                    <a:pt x="712" y="66"/>
                  </a:lnTo>
                  <a:lnTo>
                    <a:pt x="712" y="66"/>
                  </a:lnTo>
                  <a:lnTo>
                    <a:pt x="710" y="66"/>
                  </a:lnTo>
                  <a:lnTo>
                    <a:pt x="706" y="66"/>
                  </a:lnTo>
                  <a:lnTo>
                    <a:pt x="698" y="64"/>
                  </a:lnTo>
                  <a:lnTo>
                    <a:pt x="698" y="64"/>
                  </a:lnTo>
                  <a:lnTo>
                    <a:pt x="692" y="62"/>
                  </a:lnTo>
                  <a:lnTo>
                    <a:pt x="688" y="62"/>
                  </a:lnTo>
                  <a:lnTo>
                    <a:pt x="686" y="62"/>
                  </a:lnTo>
                  <a:lnTo>
                    <a:pt x="682" y="62"/>
                  </a:lnTo>
                  <a:lnTo>
                    <a:pt x="682" y="62"/>
                  </a:lnTo>
                  <a:lnTo>
                    <a:pt x="680" y="60"/>
                  </a:lnTo>
                  <a:lnTo>
                    <a:pt x="678" y="62"/>
                  </a:lnTo>
                  <a:lnTo>
                    <a:pt x="676" y="62"/>
                  </a:lnTo>
                  <a:lnTo>
                    <a:pt x="674" y="62"/>
                  </a:lnTo>
                  <a:lnTo>
                    <a:pt x="674" y="62"/>
                  </a:lnTo>
                  <a:lnTo>
                    <a:pt x="672" y="60"/>
                  </a:lnTo>
                  <a:lnTo>
                    <a:pt x="670" y="60"/>
                  </a:lnTo>
                  <a:lnTo>
                    <a:pt x="666" y="58"/>
                  </a:lnTo>
                  <a:lnTo>
                    <a:pt x="658" y="50"/>
                  </a:lnTo>
                  <a:lnTo>
                    <a:pt x="658" y="50"/>
                  </a:lnTo>
                  <a:lnTo>
                    <a:pt x="646" y="40"/>
                  </a:lnTo>
                  <a:lnTo>
                    <a:pt x="638" y="36"/>
                  </a:lnTo>
                  <a:lnTo>
                    <a:pt x="630" y="32"/>
                  </a:lnTo>
                  <a:lnTo>
                    <a:pt x="626" y="32"/>
                  </a:lnTo>
                  <a:lnTo>
                    <a:pt x="626" y="32"/>
                  </a:lnTo>
                  <a:lnTo>
                    <a:pt x="626" y="34"/>
                  </a:lnTo>
                  <a:lnTo>
                    <a:pt x="628" y="34"/>
                  </a:lnTo>
                  <a:lnTo>
                    <a:pt x="634" y="38"/>
                  </a:lnTo>
                  <a:lnTo>
                    <a:pt x="638" y="42"/>
                  </a:lnTo>
                  <a:lnTo>
                    <a:pt x="638" y="44"/>
                  </a:lnTo>
                  <a:lnTo>
                    <a:pt x="638" y="46"/>
                  </a:lnTo>
                  <a:lnTo>
                    <a:pt x="638" y="46"/>
                  </a:lnTo>
                  <a:lnTo>
                    <a:pt x="634" y="48"/>
                  </a:lnTo>
                  <a:lnTo>
                    <a:pt x="634" y="50"/>
                  </a:lnTo>
                  <a:lnTo>
                    <a:pt x="636" y="54"/>
                  </a:lnTo>
                  <a:lnTo>
                    <a:pt x="636" y="56"/>
                  </a:lnTo>
                  <a:lnTo>
                    <a:pt x="636" y="56"/>
                  </a:lnTo>
                  <a:lnTo>
                    <a:pt x="636" y="58"/>
                  </a:lnTo>
                  <a:lnTo>
                    <a:pt x="638" y="60"/>
                  </a:lnTo>
                  <a:lnTo>
                    <a:pt x="640" y="60"/>
                  </a:lnTo>
                  <a:lnTo>
                    <a:pt x="646" y="62"/>
                  </a:lnTo>
                  <a:lnTo>
                    <a:pt x="646" y="62"/>
                  </a:lnTo>
                  <a:lnTo>
                    <a:pt x="650" y="64"/>
                  </a:lnTo>
                  <a:lnTo>
                    <a:pt x="654" y="66"/>
                  </a:lnTo>
                  <a:lnTo>
                    <a:pt x="658" y="68"/>
                  </a:lnTo>
                  <a:lnTo>
                    <a:pt x="660" y="74"/>
                  </a:lnTo>
                  <a:lnTo>
                    <a:pt x="660" y="74"/>
                  </a:lnTo>
                  <a:lnTo>
                    <a:pt x="660" y="76"/>
                  </a:lnTo>
                  <a:lnTo>
                    <a:pt x="662" y="80"/>
                  </a:lnTo>
                  <a:lnTo>
                    <a:pt x="666" y="82"/>
                  </a:lnTo>
                  <a:lnTo>
                    <a:pt x="672" y="84"/>
                  </a:lnTo>
                  <a:lnTo>
                    <a:pt x="676" y="86"/>
                  </a:lnTo>
                  <a:lnTo>
                    <a:pt x="676" y="86"/>
                  </a:lnTo>
                  <a:lnTo>
                    <a:pt x="678" y="90"/>
                  </a:lnTo>
                  <a:lnTo>
                    <a:pt x="682" y="90"/>
                  </a:lnTo>
                  <a:lnTo>
                    <a:pt x="690" y="88"/>
                  </a:lnTo>
                  <a:lnTo>
                    <a:pt x="690" y="88"/>
                  </a:lnTo>
                  <a:lnTo>
                    <a:pt x="694" y="86"/>
                  </a:lnTo>
                  <a:lnTo>
                    <a:pt x="700" y="86"/>
                  </a:lnTo>
                  <a:lnTo>
                    <a:pt x="706" y="88"/>
                  </a:lnTo>
                  <a:lnTo>
                    <a:pt x="712" y="92"/>
                  </a:lnTo>
                  <a:lnTo>
                    <a:pt x="712" y="92"/>
                  </a:lnTo>
                  <a:lnTo>
                    <a:pt x="720" y="96"/>
                  </a:lnTo>
                  <a:lnTo>
                    <a:pt x="720" y="98"/>
                  </a:lnTo>
                  <a:lnTo>
                    <a:pt x="716" y="98"/>
                  </a:lnTo>
                  <a:lnTo>
                    <a:pt x="716" y="98"/>
                  </a:lnTo>
                  <a:lnTo>
                    <a:pt x="714" y="100"/>
                  </a:lnTo>
                  <a:lnTo>
                    <a:pt x="714" y="102"/>
                  </a:lnTo>
                  <a:lnTo>
                    <a:pt x="726" y="106"/>
                  </a:lnTo>
                  <a:lnTo>
                    <a:pt x="726" y="106"/>
                  </a:lnTo>
                  <a:lnTo>
                    <a:pt x="718" y="106"/>
                  </a:lnTo>
                  <a:lnTo>
                    <a:pt x="714" y="104"/>
                  </a:lnTo>
                  <a:lnTo>
                    <a:pt x="712" y="102"/>
                  </a:lnTo>
                  <a:lnTo>
                    <a:pt x="710" y="100"/>
                  </a:lnTo>
                  <a:lnTo>
                    <a:pt x="708" y="94"/>
                  </a:lnTo>
                  <a:lnTo>
                    <a:pt x="704" y="94"/>
                  </a:lnTo>
                  <a:lnTo>
                    <a:pt x="698" y="92"/>
                  </a:lnTo>
                  <a:lnTo>
                    <a:pt x="698" y="92"/>
                  </a:lnTo>
                  <a:lnTo>
                    <a:pt x="690" y="94"/>
                  </a:lnTo>
                  <a:lnTo>
                    <a:pt x="686" y="96"/>
                  </a:lnTo>
                  <a:lnTo>
                    <a:pt x="686" y="96"/>
                  </a:lnTo>
                  <a:lnTo>
                    <a:pt x="684" y="96"/>
                  </a:lnTo>
                  <a:lnTo>
                    <a:pt x="684" y="98"/>
                  </a:lnTo>
                  <a:lnTo>
                    <a:pt x="686" y="102"/>
                  </a:lnTo>
                  <a:lnTo>
                    <a:pt x="690" y="104"/>
                  </a:lnTo>
                  <a:lnTo>
                    <a:pt x="690" y="104"/>
                  </a:lnTo>
                  <a:lnTo>
                    <a:pt x="698" y="108"/>
                  </a:lnTo>
                  <a:lnTo>
                    <a:pt x="696" y="112"/>
                  </a:lnTo>
                  <a:lnTo>
                    <a:pt x="696" y="112"/>
                  </a:lnTo>
                  <a:lnTo>
                    <a:pt x="692" y="120"/>
                  </a:lnTo>
                  <a:lnTo>
                    <a:pt x="690" y="122"/>
                  </a:lnTo>
                  <a:lnTo>
                    <a:pt x="684" y="126"/>
                  </a:lnTo>
                  <a:lnTo>
                    <a:pt x="684" y="126"/>
                  </a:lnTo>
                  <a:lnTo>
                    <a:pt x="676" y="132"/>
                  </a:lnTo>
                  <a:lnTo>
                    <a:pt x="674" y="132"/>
                  </a:lnTo>
                  <a:lnTo>
                    <a:pt x="670" y="130"/>
                  </a:lnTo>
                  <a:lnTo>
                    <a:pt x="670" y="130"/>
                  </a:lnTo>
                  <a:lnTo>
                    <a:pt x="664" y="130"/>
                  </a:lnTo>
                  <a:lnTo>
                    <a:pt x="658" y="130"/>
                  </a:lnTo>
                  <a:lnTo>
                    <a:pt x="654" y="130"/>
                  </a:lnTo>
                  <a:lnTo>
                    <a:pt x="654" y="130"/>
                  </a:lnTo>
                  <a:lnTo>
                    <a:pt x="658" y="128"/>
                  </a:lnTo>
                  <a:lnTo>
                    <a:pt x="662" y="126"/>
                  </a:lnTo>
                  <a:lnTo>
                    <a:pt x="662" y="126"/>
                  </a:lnTo>
                  <a:lnTo>
                    <a:pt x="664" y="126"/>
                  </a:lnTo>
                  <a:lnTo>
                    <a:pt x="664" y="124"/>
                  </a:lnTo>
                  <a:lnTo>
                    <a:pt x="664" y="122"/>
                  </a:lnTo>
                  <a:lnTo>
                    <a:pt x="668" y="122"/>
                  </a:lnTo>
                  <a:lnTo>
                    <a:pt x="668" y="122"/>
                  </a:lnTo>
                  <a:lnTo>
                    <a:pt x="670" y="120"/>
                  </a:lnTo>
                  <a:lnTo>
                    <a:pt x="670" y="118"/>
                  </a:lnTo>
                  <a:lnTo>
                    <a:pt x="670" y="116"/>
                  </a:lnTo>
                  <a:lnTo>
                    <a:pt x="672" y="116"/>
                  </a:lnTo>
                  <a:lnTo>
                    <a:pt x="672" y="116"/>
                  </a:lnTo>
                  <a:lnTo>
                    <a:pt x="676" y="114"/>
                  </a:lnTo>
                  <a:lnTo>
                    <a:pt x="678" y="112"/>
                  </a:lnTo>
                  <a:lnTo>
                    <a:pt x="678" y="108"/>
                  </a:lnTo>
                  <a:lnTo>
                    <a:pt x="680" y="106"/>
                  </a:lnTo>
                  <a:lnTo>
                    <a:pt x="680" y="106"/>
                  </a:lnTo>
                  <a:lnTo>
                    <a:pt x="680" y="104"/>
                  </a:lnTo>
                  <a:lnTo>
                    <a:pt x="678" y="100"/>
                  </a:lnTo>
                  <a:lnTo>
                    <a:pt x="672" y="98"/>
                  </a:lnTo>
                  <a:lnTo>
                    <a:pt x="662" y="96"/>
                  </a:lnTo>
                  <a:lnTo>
                    <a:pt x="662" y="96"/>
                  </a:lnTo>
                  <a:lnTo>
                    <a:pt x="654" y="92"/>
                  </a:lnTo>
                  <a:lnTo>
                    <a:pt x="652" y="88"/>
                  </a:lnTo>
                  <a:lnTo>
                    <a:pt x="648" y="84"/>
                  </a:lnTo>
                  <a:lnTo>
                    <a:pt x="644" y="82"/>
                  </a:lnTo>
                  <a:lnTo>
                    <a:pt x="636" y="78"/>
                  </a:lnTo>
                  <a:lnTo>
                    <a:pt x="636" y="78"/>
                  </a:lnTo>
                  <a:lnTo>
                    <a:pt x="632" y="78"/>
                  </a:lnTo>
                  <a:lnTo>
                    <a:pt x="632" y="76"/>
                  </a:lnTo>
                  <a:lnTo>
                    <a:pt x="632" y="74"/>
                  </a:lnTo>
                  <a:lnTo>
                    <a:pt x="628" y="68"/>
                  </a:lnTo>
                  <a:lnTo>
                    <a:pt x="628" y="68"/>
                  </a:lnTo>
                  <a:lnTo>
                    <a:pt x="620" y="64"/>
                  </a:lnTo>
                  <a:lnTo>
                    <a:pt x="614" y="60"/>
                  </a:lnTo>
                  <a:lnTo>
                    <a:pt x="608" y="58"/>
                  </a:lnTo>
                  <a:lnTo>
                    <a:pt x="606" y="56"/>
                  </a:lnTo>
                  <a:lnTo>
                    <a:pt x="606" y="54"/>
                  </a:lnTo>
                  <a:lnTo>
                    <a:pt x="606" y="54"/>
                  </a:lnTo>
                  <a:lnTo>
                    <a:pt x="606" y="52"/>
                  </a:lnTo>
                  <a:lnTo>
                    <a:pt x="606" y="50"/>
                  </a:lnTo>
                  <a:lnTo>
                    <a:pt x="600" y="44"/>
                  </a:lnTo>
                  <a:lnTo>
                    <a:pt x="590" y="38"/>
                  </a:lnTo>
                  <a:lnTo>
                    <a:pt x="586" y="38"/>
                  </a:lnTo>
                  <a:lnTo>
                    <a:pt x="584" y="38"/>
                  </a:lnTo>
                  <a:lnTo>
                    <a:pt x="584" y="38"/>
                  </a:lnTo>
                  <a:lnTo>
                    <a:pt x="578" y="38"/>
                  </a:lnTo>
                  <a:lnTo>
                    <a:pt x="574" y="36"/>
                  </a:lnTo>
                  <a:lnTo>
                    <a:pt x="570" y="36"/>
                  </a:lnTo>
                  <a:lnTo>
                    <a:pt x="566" y="36"/>
                  </a:lnTo>
                  <a:lnTo>
                    <a:pt x="566" y="36"/>
                  </a:lnTo>
                  <a:lnTo>
                    <a:pt x="562" y="36"/>
                  </a:lnTo>
                  <a:lnTo>
                    <a:pt x="556" y="36"/>
                  </a:lnTo>
                  <a:lnTo>
                    <a:pt x="554" y="36"/>
                  </a:lnTo>
                  <a:lnTo>
                    <a:pt x="552" y="38"/>
                  </a:lnTo>
                  <a:lnTo>
                    <a:pt x="556" y="44"/>
                  </a:lnTo>
                  <a:lnTo>
                    <a:pt x="556" y="44"/>
                  </a:lnTo>
                  <a:lnTo>
                    <a:pt x="560" y="52"/>
                  </a:lnTo>
                  <a:lnTo>
                    <a:pt x="558" y="54"/>
                  </a:lnTo>
                  <a:lnTo>
                    <a:pt x="558" y="56"/>
                  </a:lnTo>
                  <a:lnTo>
                    <a:pt x="554" y="56"/>
                  </a:lnTo>
                  <a:lnTo>
                    <a:pt x="552" y="58"/>
                  </a:lnTo>
                  <a:lnTo>
                    <a:pt x="550" y="60"/>
                  </a:lnTo>
                  <a:lnTo>
                    <a:pt x="550" y="60"/>
                  </a:lnTo>
                  <a:lnTo>
                    <a:pt x="550" y="64"/>
                  </a:lnTo>
                  <a:lnTo>
                    <a:pt x="552" y="62"/>
                  </a:lnTo>
                  <a:lnTo>
                    <a:pt x="556" y="66"/>
                  </a:lnTo>
                  <a:lnTo>
                    <a:pt x="556" y="66"/>
                  </a:lnTo>
                  <a:lnTo>
                    <a:pt x="560" y="70"/>
                  </a:lnTo>
                  <a:lnTo>
                    <a:pt x="560" y="72"/>
                  </a:lnTo>
                  <a:lnTo>
                    <a:pt x="558" y="72"/>
                  </a:lnTo>
                  <a:lnTo>
                    <a:pt x="562" y="76"/>
                  </a:lnTo>
                  <a:lnTo>
                    <a:pt x="562" y="76"/>
                  </a:lnTo>
                  <a:lnTo>
                    <a:pt x="566" y="80"/>
                  </a:lnTo>
                  <a:lnTo>
                    <a:pt x="566" y="80"/>
                  </a:lnTo>
                  <a:lnTo>
                    <a:pt x="566" y="78"/>
                  </a:lnTo>
                  <a:lnTo>
                    <a:pt x="572" y="80"/>
                  </a:lnTo>
                  <a:lnTo>
                    <a:pt x="572" y="80"/>
                  </a:lnTo>
                  <a:lnTo>
                    <a:pt x="582" y="82"/>
                  </a:lnTo>
                  <a:lnTo>
                    <a:pt x="586" y="82"/>
                  </a:lnTo>
                  <a:lnTo>
                    <a:pt x="588" y="82"/>
                  </a:lnTo>
                  <a:lnTo>
                    <a:pt x="592" y="86"/>
                  </a:lnTo>
                  <a:lnTo>
                    <a:pt x="592" y="86"/>
                  </a:lnTo>
                  <a:lnTo>
                    <a:pt x="598" y="90"/>
                  </a:lnTo>
                  <a:lnTo>
                    <a:pt x="604" y="92"/>
                  </a:lnTo>
                  <a:lnTo>
                    <a:pt x="608" y="90"/>
                  </a:lnTo>
                  <a:lnTo>
                    <a:pt x="608" y="90"/>
                  </a:lnTo>
                  <a:lnTo>
                    <a:pt x="610" y="96"/>
                  </a:lnTo>
                  <a:lnTo>
                    <a:pt x="610" y="98"/>
                  </a:lnTo>
                  <a:lnTo>
                    <a:pt x="608" y="100"/>
                  </a:lnTo>
                  <a:lnTo>
                    <a:pt x="608" y="98"/>
                  </a:lnTo>
                  <a:lnTo>
                    <a:pt x="608" y="98"/>
                  </a:lnTo>
                  <a:lnTo>
                    <a:pt x="602" y="98"/>
                  </a:lnTo>
                  <a:lnTo>
                    <a:pt x="592" y="98"/>
                  </a:lnTo>
                  <a:lnTo>
                    <a:pt x="580" y="96"/>
                  </a:lnTo>
                  <a:lnTo>
                    <a:pt x="574" y="94"/>
                  </a:lnTo>
                  <a:lnTo>
                    <a:pt x="574" y="94"/>
                  </a:lnTo>
                  <a:lnTo>
                    <a:pt x="568" y="92"/>
                  </a:lnTo>
                  <a:lnTo>
                    <a:pt x="556" y="90"/>
                  </a:lnTo>
                  <a:lnTo>
                    <a:pt x="542" y="88"/>
                  </a:lnTo>
                  <a:lnTo>
                    <a:pt x="534" y="88"/>
                  </a:lnTo>
                  <a:lnTo>
                    <a:pt x="534" y="88"/>
                  </a:lnTo>
                  <a:lnTo>
                    <a:pt x="530" y="88"/>
                  </a:lnTo>
                  <a:lnTo>
                    <a:pt x="518" y="86"/>
                  </a:lnTo>
                  <a:lnTo>
                    <a:pt x="518" y="86"/>
                  </a:lnTo>
                  <a:lnTo>
                    <a:pt x="500" y="86"/>
                  </a:lnTo>
                  <a:lnTo>
                    <a:pt x="484" y="84"/>
                  </a:lnTo>
                  <a:lnTo>
                    <a:pt x="484" y="84"/>
                  </a:lnTo>
                  <a:lnTo>
                    <a:pt x="472" y="84"/>
                  </a:lnTo>
                  <a:lnTo>
                    <a:pt x="464" y="86"/>
                  </a:lnTo>
                  <a:lnTo>
                    <a:pt x="464" y="86"/>
                  </a:lnTo>
                  <a:lnTo>
                    <a:pt x="464" y="88"/>
                  </a:lnTo>
                  <a:lnTo>
                    <a:pt x="466" y="88"/>
                  </a:lnTo>
                  <a:lnTo>
                    <a:pt x="478" y="92"/>
                  </a:lnTo>
                  <a:lnTo>
                    <a:pt x="478" y="92"/>
                  </a:lnTo>
                  <a:lnTo>
                    <a:pt x="482" y="92"/>
                  </a:lnTo>
                  <a:lnTo>
                    <a:pt x="482" y="94"/>
                  </a:lnTo>
                  <a:lnTo>
                    <a:pt x="474" y="96"/>
                  </a:lnTo>
                  <a:lnTo>
                    <a:pt x="474" y="96"/>
                  </a:lnTo>
                  <a:lnTo>
                    <a:pt x="468" y="96"/>
                  </a:lnTo>
                  <a:lnTo>
                    <a:pt x="468" y="98"/>
                  </a:lnTo>
                  <a:lnTo>
                    <a:pt x="470" y="100"/>
                  </a:lnTo>
                  <a:lnTo>
                    <a:pt x="470" y="102"/>
                  </a:lnTo>
                  <a:lnTo>
                    <a:pt x="470" y="102"/>
                  </a:lnTo>
                  <a:lnTo>
                    <a:pt x="468" y="100"/>
                  </a:lnTo>
                  <a:lnTo>
                    <a:pt x="466" y="100"/>
                  </a:lnTo>
                  <a:lnTo>
                    <a:pt x="464" y="98"/>
                  </a:lnTo>
                  <a:lnTo>
                    <a:pt x="464" y="98"/>
                  </a:lnTo>
                  <a:lnTo>
                    <a:pt x="464" y="98"/>
                  </a:lnTo>
                  <a:lnTo>
                    <a:pt x="464" y="96"/>
                  </a:lnTo>
                  <a:lnTo>
                    <a:pt x="462" y="96"/>
                  </a:lnTo>
                  <a:lnTo>
                    <a:pt x="462" y="94"/>
                  </a:lnTo>
                  <a:lnTo>
                    <a:pt x="466" y="94"/>
                  </a:lnTo>
                  <a:lnTo>
                    <a:pt x="466" y="94"/>
                  </a:lnTo>
                  <a:lnTo>
                    <a:pt x="462" y="92"/>
                  </a:lnTo>
                  <a:lnTo>
                    <a:pt x="458" y="92"/>
                  </a:lnTo>
                  <a:lnTo>
                    <a:pt x="454" y="94"/>
                  </a:lnTo>
                  <a:lnTo>
                    <a:pt x="454" y="94"/>
                  </a:lnTo>
                  <a:lnTo>
                    <a:pt x="448" y="96"/>
                  </a:lnTo>
                  <a:lnTo>
                    <a:pt x="438" y="98"/>
                  </a:lnTo>
                  <a:lnTo>
                    <a:pt x="438" y="98"/>
                  </a:lnTo>
                  <a:lnTo>
                    <a:pt x="434" y="100"/>
                  </a:lnTo>
                  <a:lnTo>
                    <a:pt x="428" y="98"/>
                  </a:lnTo>
                  <a:lnTo>
                    <a:pt x="422" y="96"/>
                  </a:lnTo>
                  <a:lnTo>
                    <a:pt x="412" y="96"/>
                  </a:lnTo>
                  <a:lnTo>
                    <a:pt x="412" y="96"/>
                  </a:lnTo>
                  <a:lnTo>
                    <a:pt x="402" y="98"/>
                  </a:lnTo>
                  <a:lnTo>
                    <a:pt x="400" y="100"/>
                  </a:lnTo>
                  <a:lnTo>
                    <a:pt x="400" y="102"/>
                  </a:lnTo>
                  <a:lnTo>
                    <a:pt x="396" y="100"/>
                  </a:lnTo>
                  <a:lnTo>
                    <a:pt x="396" y="100"/>
                  </a:lnTo>
                  <a:lnTo>
                    <a:pt x="392" y="100"/>
                  </a:lnTo>
                  <a:lnTo>
                    <a:pt x="388" y="102"/>
                  </a:lnTo>
                  <a:lnTo>
                    <a:pt x="384" y="102"/>
                  </a:lnTo>
                  <a:lnTo>
                    <a:pt x="386" y="102"/>
                  </a:lnTo>
                  <a:lnTo>
                    <a:pt x="386" y="102"/>
                  </a:lnTo>
                  <a:lnTo>
                    <a:pt x="388" y="100"/>
                  </a:lnTo>
                  <a:lnTo>
                    <a:pt x="386" y="100"/>
                  </a:lnTo>
                  <a:lnTo>
                    <a:pt x="386" y="98"/>
                  </a:lnTo>
                  <a:lnTo>
                    <a:pt x="386" y="98"/>
                  </a:lnTo>
                  <a:lnTo>
                    <a:pt x="386" y="96"/>
                  </a:lnTo>
                  <a:lnTo>
                    <a:pt x="388" y="96"/>
                  </a:lnTo>
                  <a:lnTo>
                    <a:pt x="390" y="98"/>
                  </a:lnTo>
                  <a:lnTo>
                    <a:pt x="392" y="96"/>
                  </a:lnTo>
                  <a:lnTo>
                    <a:pt x="392" y="96"/>
                  </a:lnTo>
                  <a:lnTo>
                    <a:pt x="390" y="96"/>
                  </a:lnTo>
                  <a:lnTo>
                    <a:pt x="388" y="94"/>
                  </a:lnTo>
                  <a:lnTo>
                    <a:pt x="374" y="96"/>
                  </a:lnTo>
                  <a:lnTo>
                    <a:pt x="374" y="96"/>
                  </a:lnTo>
                  <a:lnTo>
                    <a:pt x="368" y="98"/>
                  </a:lnTo>
                  <a:lnTo>
                    <a:pt x="368" y="100"/>
                  </a:lnTo>
                  <a:lnTo>
                    <a:pt x="368" y="102"/>
                  </a:lnTo>
                  <a:lnTo>
                    <a:pt x="366" y="104"/>
                  </a:lnTo>
                  <a:lnTo>
                    <a:pt x="366" y="104"/>
                  </a:lnTo>
                  <a:lnTo>
                    <a:pt x="364" y="106"/>
                  </a:lnTo>
                  <a:lnTo>
                    <a:pt x="364" y="104"/>
                  </a:lnTo>
                  <a:lnTo>
                    <a:pt x="364" y="102"/>
                  </a:lnTo>
                  <a:lnTo>
                    <a:pt x="366" y="100"/>
                  </a:lnTo>
                  <a:lnTo>
                    <a:pt x="366" y="100"/>
                  </a:lnTo>
                  <a:lnTo>
                    <a:pt x="364" y="98"/>
                  </a:lnTo>
                  <a:lnTo>
                    <a:pt x="360" y="98"/>
                  </a:lnTo>
                  <a:lnTo>
                    <a:pt x="354" y="98"/>
                  </a:lnTo>
                  <a:lnTo>
                    <a:pt x="348" y="100"/>
                  </a:lnTo>
                  <a:lnTo>
                    <a:pt x="344" y="100"/>
                  </a:lnTo>
                  <a:lnTo>
                    <a:pt x="344" y="100"/>
                  </a:lnTo>
                  <a:lnTo>
                    <a:pt x="340" y="98"/>
                  </a:lnTo>
                  <a:lnTo>
                    <a:pt x="334" y="100"/>
                  </a:lnTo>
                  <a:lnTo>
                    <a:pt x="320" y="106"/>
                  </a:lnTo>
                  <a:lnTo>
                    <a:pt x="320" y="106"/>
                  </a:lnTo>
                  <a:lnTo>
                    <a:pt x="314" y="106"/>
                  </a:lnTo>
                  <a:lnTo>
                    <a:pt x="310" y="106"/>
                  </a:lnTo>
                  <a:lnTo>
                    <a:pt x="308" y="106"/>
                  </a:lnTo>
                  <a:lnTo>
                    <a:pt x="304" y="106"/>
                  </a:lnTo>
                  <a:lnTo>
                    <a:pt x="304" y="106"/>
                  </a:lnTo>
                  <a:lnTo>
                    <a:pt x="302" y="108"/>
                  </a:lnTo>
                  <a:lnTo>
                    <a:pt x="300" y="106"/>
                  </a:lnTo>
                  <a:lnTo>
                    <a:pt x="300" y="106"/>
                  </a:lnTo>
                  <a:lnTo>
                    <a:pt x="302" y="110"/>
                  </a:lnTo>
                  <a:lnTo>
                    <a:pt x="302" y="110"/>
                  </a:lnTo>
                  <a:lnTo>
                    <a:pt x="304" y="116"/>
                  </a:lnTo>
                  <a:lnTo>
                    <a:pt x="304" y="116"/>
                  </a:lnTo>
                  <a:lnTo>
                    <a:pt x="302" y="118"/>
                  </a:lnTo>
                  <a:lnTo>
                    <a:pt x="302" y="118"/>
                  </a:lnTo>
                  <a:lnTo>
                    <a:pt x="300" y="122"/>
                  </a:lnTo>
                  <a:lnTo>
                    <a:pt x="300" y="122"/>
                  </a:lnTo>
                  <a:lnTo>
                    <a:pt x="298" y="120"/>
                  </a:lnTo>
                  <a:lnTo>
                    <a:pt x="296" y="122"/>
                  </a:lnTo>
                  <a:lnTo>
                    <a:pt x="296" y="122"/>
                  </a:lnTo>
                  <a:lnTo>
                    <a:pt x="292" y="122"/>
                  </a:lnTo>
                  <a:lnTo>
                    <a:pt x="290" y="122"/>
                  </a:lnTo>
                  <a:lnTo>
                    <a:pt x="288" y="122"/>
                  </a:lnTo>
                  <a:lnTo>
                    <a:pt x="286" y="122"/>
                  </a:lnTo>
                  <a:lnTo>
                    <a:pt x="286" y="122"/>
                  </a:lnTo>
                  <a:lnTo>
                    <a:pt x="284" y="122"/>
                  </a:lnTo>
                  <a:lnTo>
                    <a:pt x="282" y="122"/>
                  </a:lnTo>
                  <a:lnTo>
                    <a:pt x="280" y="122"/>
                  </a:lnTo>
                  <a:lnTo>
                    <a:pt x="278" y="122"/>
                  </a:lnTo>
                  <a:lnTo>
                    <a:pt x="278" y="122"/>
                  </a:lnTo>
                  <a:lnTo>
                    <a:pt x="274" y="122"/>
                  </a:lnTo>
                  <a:lnTo>
                    <a:pt x="272" y="120"/>
                  </a:lnTo>
                  <a:lnTo>
                    <a:pt x="268" y="118"/>
                  </a:lnTo>
                  <a:lnTo>
                    <a:pt x="264" y="118"/>
                  </a:lnTo>
                  <a:lnTo>
                    <a:pt x="264" y="118"/>
                  </a:lnTo>
                  <a:lnTo>
                    <a:pt x="260" y="116"/>
                  </a:lnTo>
                  <a:lnTo>
                    <a:pt x="256" y="114"/>
                  </a:lnTo>
                  <a:lnTo>
                    <a:pt x="256" y="112"/>
                  </a:lnTo>
                  <a:lnTo>
                    <a:pt x="260" y="110"/>
                  </a:lnTo>
                  <a:lnTo>
                    <a:pt x="260" y="110"/>
                  </a:lnTo>
                  <a:lnTo>
                    <a:pt x="266" y="110"/>
                  </a:lnTo>
                  <a:lnTo>
                    <a:pt x="266" y="110"/>
                  </a:lnTo>
                  <a:lnTo>
                    <a:pt x="258" y="104"/>
                  </a:lnTo>
                  <a:lnTo>
                    <a:pt x="258" y="104"/>
                  </a:lnTo>
                  <a:lnTo>
                    <a:pt x="256" y="102"/>
                  </a:lnTo>
                  <a:lnTo>
                    <a:pt x="256" y="102"/>
                  </a:lnTo>
                  <a:lnTo>
                    <a:pt x="256" y="100"/>
                  </a:lnTo>
                  <a:lnTo>
                    <a:pt x="252" y="100"/>
                  </a:lnTo>
                  <a:lnTo>
                    <a:pt x="252" y="100"/>
                  </a:lnTo>
                  <a:lnTo>
                    <a:pt x="232" y="94"/>
                  </a:lnTo>
                  <a:lnTo>
                    <a:pt x="224" y="94"/>
                  </a:lnTo>
                  <a:lnTo>
                    <a:pt x="224" y="94"/>
                  </a:lnTo>
                  <a:lnTo>
                    <a:pt x="224" y="94"/>
                  </a:lnTo>
                  <a:lnTo>
                    <a:pt x="228" y="96"/>
                  </a:lnTo>
                  <a:lnTo>
                    <a:pt x="232" y="100"/>
                  </a:lnTo>
                  <a:lnTo>
                    <a:pt x="236" y="106"/>
                  </a:lnTo>
                  <a:lnTo>
                    <a:pt x="236" y="106"/>
                  </a:lnTo>
                  <a:lnTo>
                    <a:pt x="240" y="112"/>
                  </a:lnTo>
                  <a:lnTo>
                    <a:pt x="240" y="116"/>
                  </a:lnTo>
                  <a:lnTo>
                    <a:pt x="240" y="116"/>
                  </a:lnTo>
                  <a:lnTo>
                    <a:pt x="244" y="118"/>
                  </a:lnTo>
                  <a:lnTo>
                    <a:pt x="244" y="118"/>
                  </a:lnTo>
                  <a:lnTo>
                    <a:pt x="250" y="118"/>
                  </a:lnTo>
                  <a:lnTo>
                    <a:pt x="250" y="122"/>
                  </a:lnTo>
                  <a:lnTo>
                    <a:pt x="250" y="122"/>
                  </a:lnTo>
                  <a:lnTo>
                    <a:pt x="250" y="130"/>
                  </a:lnTo>
                  <a:lnTo>
                    <a:pt x="250" y="132"/>
                  </a:lnTo>
                  <a:lnTo>
                    <a:pt x="248" y="132"/>
                  </a:lnTo>
                  <a:lnTo>
                    <a:pt x="248" y="132"/>
                  </a:lnTo>
                  <a:lnTo>
                    <a:pt x="244" y="130"/>
                  </a:lnTo>
                  <a:lnTo>
                    <a:pt x="240" y="132"/>
                  </a:lnTo>
                  <a:lnTo>
                    <a:pt x="238" y="134"/>
                  </a:lnTo>
                  <a:lnTo>
                    <a:pt x="240" y="132"/>
                  </a:lnTo>
                  <a:lnTo>
                    <a:pt x="240" y="132"/>
                  </a:lnTo>
                  <a:lnTo>
                    <a:pt x="240" y="128"/>
                  </a:lnTo>
                  <a:lnTo>
                    <a:pt x="238" y="128"/>
                  </a:lnTo>
                  <a:lnTo>
                    <a:pt x="226" y="128"/>
                  </a:lnTo>
                  <a:lnTo>
                    <a:pt x="226" y="128"/>
                  </a:lnTo>
                  <a:lnTo>
                    <a:pt x="224" y="128"/>
                  </a:lnTo>
                  <a:lnTo>
                    <a:pt x="222" y="126"/>
                  </a:lnTo>
                  <a:lnTo>
                    <a:pt x="218" y="126"/>
                  </a:lnTo>
                  <a:lnTo>
                    <a:pt x="208" y="128"/>
                  </a:lnTo>
                  <a:lnTo>
                    <a:pt x="208" y="128"/>
                  </a:lnTo>
                  <a:lnTo>
                    <a:pt x="198" y="130"/>
                  </a:lnTo>
                  <a:lnTo>
                    <a:pt x="192" y="134"/>
                  </a:lnTo>
                  <a:lnTo>
                    <a:pt x="192" y="134"/>
                  </a:lnTo>
                  <a:lnTo>
                    <a:pt x="188" y="136"/>
                  </a:lnTo>
                  <a:lnTo>
                    <a:pt x="186" y="138"/>
                  </a:lnTo>
                  <a:lnTo>
                    <a:pt x="184" y="138"/>
                  </a:lnTo>
                  <a:lnTo>
                    <a:pt x="184" y="138"/>
                  </a:lnTo>
                  <a:lnTo>
                    <a:pt x="184" y="138"/>
                  </a:lnTo>
                  <a:lnTo>
                    <a:pt x="184" y="140"/>
                  </a:lnTo>
                  <a:lnTo>
                    <a:pt x="186" y="142"/>
                  </a:lnTo>
                  <a:lnTo>
                    <a:pt x="196" y="146"/>
                  </a:lnTo>
                  <a:lnTo>
                    <a:pt x="204" y="148"/>
                  </a:lnTo>
                  <a:lnTo>
                    <a:pt x="208" y="150"/>
                  </a:lnTo>
                  <a:lnTo>
                    <a:pt x="208" y="152"/>
                  </a:lnTo>
                  <a:lnTo>
                    <a:pt x="208" y="152"/>
                  </a:lnTo>
                  <a:lnTo>
                    <a:pt x="206" y="152"/>
                  </a:lnTo>
                  <a:lnTo>
                    <a:pt x="204" y="152"/>
                  </a:lnTo>
                  <a:lnTo>
                    <a:pt x="200" y="152"/>
                  </a:lnTo>
                  <a:lnTo>
                    <a:pt x="196" y="152"/>
                  </a:lnTo>
                  <a:lnTo>
                    <a:pt x="196" y="152"/>
                  </a:lnTo>
                  <a:lnTo>
                    <a:pt x="190" y="154"/>
                  </a:lnTo>
                  <a:lnTo>
                    <a:pt x="184" y="152"/>
                  </a:lnTo>
                  <a:lnTo>
                    <a:pt x="178" y="150"/>
                  </a:lnTo>
                  <a:lnTo>
                    <a:pt x="166" y="152"/>
                  </a:lnTo>
                  <a:lnTo>
                    <a:pt x="166" y="152"/>
                  </a:lnTo>
                  <a:lnTo>
                    <a:pt x="164" y="152"/>
                  </a:lnTo>
                  <a:lnTo>
                    <a:pt x="166" y="152"/>
                  </a:lnTo>
                  <a:lnTo>
                    <a:pt x="166" y="150"/>
                  </a:lnTo>
                  <a:lnTo>
                    <a:pt x="162" y="148"/>
                  </a:lnTo>
                  <a:lnTo>
                    <a:pt x="162" y="148"/>
                  </a:lnTo>
                  <a:lnTo>
                    <a:pt x="152" y="148"/>
                  </a:lnTo>
                  <a:lnTo>
                    <a:pt x="150" y="148"/>
                  </a:lnTo>
                  <a:lnTo>
                    <a:pt x="148" y="148"/>
                  </a:lnTo>
                  <a:lnTo>
                    <a:pt x="148" y="148"/>
                  </a:lnTo>
                  <a:lnTo>
                    <a:pt x="144" y="152"/>
                  </a:lnTo>
                  <a:lnTo>
                    <a:pt x="144" y="152"/>
                  </a:lnTo>
                  <a:lnTo>
                    <a:pt x="144" y="152"/>
                  </a:lnTo>
                  <a:lnTo>
                    <a:pt x="144" y="152"/>
                  </a:lnTo>
                  <a:lnTo>
                    <a:pt x="146" y="154"/>
                  </a:lnTo>
                  <a:lnTo>
                    <a:pt x="146" y="156"/>
                  </a:lnTo>
                  <a:lnTo>
                    <a:pt x="150" y="158"/>
                  </a:lnTo>
                  <a:lnTo>
                    <a:pt x="158" y="158"/>
                  </a:lnTo>
                  <a:lnTo>
                    <a:pt x="158" y="158"/>
                  </a:lnTo>
                  <a:lnTo>
                    <a:pt x="164" y="158"/>
                  </a:lnTo>
                  <a:lnTo>
                    <a:pt x="170" y="160"/>
                  </a:lnTo>
                  <a:lnTo>
                    <a:pt x="170" y="162"/>
                  </a:lnTo>
                  <a:lnTo>
                    <a:pt x="170" y="162"/>
                  </a:lnTo>
                  <a:lnTo>
                    <a:pt x="170" y="162"/>
                  </a:lnTo>
                  <a:lnTo>
                    <a:pt x="168" y="164"/>
                  </a:lnTo>
                  <a:lnTo>
                    <a:pt x="166" y="166"/>
                  </a:lnTo>
                  <a:lnTo>
                    <a:pt x="166" y="166"/>
                  </a:lnTo>
                  <a:lnTo>
                    <a:pt x="164" y="166"/>
                  </a:lnTo>
                  <a:lnTo>
                    <a:pt x="164" y="166"/>
                  </a:lnTo>
                  <a:lnTo>
                    <a:pt x="158" y="164"/>
                  </a:lnTo>
                  <a:lnTo>
                    <a:pt x="150" y="164"/>
                  </a:lnTo>
                  <a:lnTo>
                    <a:pt x="142" y="164"/>
                  </a:lnTo>
                  <a:lnTo>
                    <a:pt x="138" y="162"/>
                  </a:lnTo>
                  <a:lnTo>
                    <a:pt x="138" y="162"/>
                  </a:lnTo>
                  <a:lnTo>
                    <a:pt x="136" y="160"/>
                  </a:lnTo>
                  <a:lnTo>
                    <a:pt x="132" y="160"/>
                  </a:lnTo>
                  <a:lnTo>
                    <a:pt x="122" y="158"/>
                  </a:lnTo>
                  <a:lnTo>
                    <a:pt x="122" y="158"/>
                  </a:lnTo>
                  <a:lnTo>
                    <a:pt x="116" y="158"/>
                  </a:lnTo>
                  <a:lnTo>
                    <a:pt x="116" y="156"/>
                  </a:lnTo>
                  <a:lnTo>
                    <a:pt x="118" y="156"/>
                  </a:lnTo>
                  <a:lnTo>
                    <a:pt x="120" y="156"/>
                  </a:lnTo>
                  <a:lnTo>
                    <a:pt x="118" y="154"/>
                  </a:lnTo>
                  <a:lnTo>
                    <a:pt x="118" y="154"/>
                  </a:lnTo>
                  <a:lnTo>
                    <a:pt x="116" y="152"/>
                  </a:lnTo>
                  <a:lnTo>
                    <a:pt x="116" y="150"/>
                  </a:lnTo>
                  <a:lnTo>
                    <a:pt x="116" y="150"/>
                  </a:lnTo>
                  <a:lnTo>
                    <a:pt x="112" y="150"/>
                  </a:lnTo>
                  <a:lnTo>
                    <a:pt x="112" y="150"/>
                  </a:lnTo>
                  <a:lnTo>
                    <a:pt x="110" y="148"/>
                  </a:lnTo>
                  <a:lnTo>
                    <a:pt x="110" y="148"/>
                  </a:lnTo>
                  <a:lnTo>
                    <a:pt x="110" y="146"/>
                  </a:lnTo>
                  <a:lnTo>
                    <a:pt x="110" y="144"/>
                  </a:lnTo>
                  <a:lnTo>
                    <a:pt x="110" y="144"/>
                  </a:lnTo>
                  <a:lnTo>
                    <a:pt x="110" y="142"/>
                  </a:lnTo>
                  <a:lnTo>
                    <a:pt x="110" y="142"/>
                  </a:lnTo>
                  <a:lnTo>
                    <a:pt x="110" y="140"/>
                  </a:lnTo>
                  <a:lnTo>
                    <a:pt x="110" y="138"/>
                  </a:lnTo>
                  <a:lnTo>
                    <a:pt x="110" y="138"/>
                  </a:lnTo>
                  <a:lnTo>
                    <a:pt x="110" y="136"/>
                  </a:lnTo>
                  <a:lnTo>
                    <a:pt x="108" y="136"/>
                  </a:lnTo>
                  <a:lnTo>
                    <a:pt x="106" y="136"/>
                  </a:lnTo>
                  <a:lnTo>
                    <a:pt x="102" y="136"/>
                  </a:lnTo>
                  <a:lnTo>
                    <a:pt x="102" y="136"/>
                  </a:lnTo>
                  <a:lnTo>
                    <a:pt x="98" y="134"/>
                  </a:lnTo>
                  <a:lnTo>
                    <a:pt x="94" y="134"/>
                  </a:lnTo>
                  <a:lnTo>
                    <a:pt x="90" y="134"/>
                  </a:lnTo>
                  <a:lnTo>
                    <a:pt x="84" y="132"/>
                  </a:lnTo>
                  <a:lnTo>
                    <a:pt x="84" y="132"/>
                  </a:lnTo>
                  <a:lnTo>
                    <a:pt x="80" y="130"/>
                  </a:lnTo>
                  <a:lnTo>
                    <a:pt x="82" y="130"/>
                  </a:lnTo>
                  <a:lnTo>
                    <a:pt x="84" y="128"/>
                  </a:lnTo>
                  <a:lnTo>
                    <a:pt x="78" y="128"/>
                  </a:lnTo>
                  <a:lnTo>
                    <a:pt x="78" y="128"/>
                  </a:lnTo>
                  <a:lnTo>
                    <a:pt x="74" y="126"/>
                  </a:lnTo>
                  <a:lnTo>
                    <a:pt x="74" y="126"/>
                  </a:lnTo>
                  <a:lnTo>
                    <a:pt x="74" y="126"/>
                  </a:lnTo>
                  <a:lnTo>
                    <a:pt x="72" y="124"/>
                  </a:lnTo>
                  <a:lnTo>
                    <a:pt x="66" y="124"/>
                  </a:lnTo>
                  <a:lnTo>
                    <a:pt x="60" y="122"/>
                  </a:lnTo>
                  <a:lnTo>
                    <a:pt x="58" y="122"/>
                  </a:lnTo>
                  <a:lnTo>
                    <a:pt x="56" y="120"/>
                  </a:lnTo>
                  <a:lnTo>
                    <a:pt x="56" y="120"/>
                  </a:lnTo>
                  <a:lnTo>
                    <a:pt x="56" y="118"/>
                  </a:lnTo>
                  <a:lnTo>
                    <a:pt x="58" y="120"/>
                  </a:lnTo>
                  <a:lnTo>
                    <a:pt x="60" y="120"/>
                  </a:lnTo>
                  <a:lnTo>
                    <a:pt x="64" y="120"/>
                  </a:lnTo>
                  <a:lnTo>
                    <a:pt x="64" y="120"/>
                  </a:lnTo>
                  <a:lnTo>
                    <a:pt x="68" y="120"/>
                  </a:lnTo>
                  <a:lnTo>
                    <a:pt x="72" y="120"/>
                  </a:lnTo>
                  <a:lnTo>
                    <a:pt x="74" y="122"/>
                  </a:lnTo>
                  <a:lnTo>
                    <a:pt x="76" y="122"/>
                  </a:lnTo>
                  <a:lnTo>
                    <a:pt x="76" y="122"/>
                  </a:lnTo>
                  <a:lnTo>
                    <a:pt x="78" y="120"/>
                  </a:lnTo>
                  <a:lnTo>
                    <a:pt x="80" y="122"/>
                  </a:lnTo>
                  <a:lnTo>
                    <a:pt x="80" y="122"/>
                  </a:lnTo>
                  <a:lnTo>
                    <a:pt x="82" y="122"/>
                  </a:lnTo>
                  <a:lnTo>
                    <a:pt x="82" y="122"/>
                  </a:lnTo>
                  <a:lnTo>
                    <a:pt x="86" y="122"/>
                  </a:lnTo>
                  <a:lnTo>
                    <a:pt x="88" y="124"/>
                  </a:lnTo>
                  <a:lnTo>
                    <a:pt x="90" y="124"/>
                  </a:lnTo>
                  <a:lnTo>
                    <a:pt x="92" y="124"/>
                  </a:lnTo>
                  <a:lnTo>
                    <a:pt x="92" y="124"/>
                  </a:lnTo>
                  <a:lnTo>
                    <a:pt x="96" y="122"/>
                  </a:lnTo>
                  <a:lnTo>
                    <a:pt x="98" y="126"/>
                  </a:lnTo>
                  <a:lnTo>
                    <a:pt x="102" y="126"/>
                  </a:lnTo>
                  <a:lnTo>
                    <a:pt x="108" y="128"/>
                  </a:lnTo>
                  <a:lnTo>
                    <a:pt x="118" y="130"/>
                  </a:lnTo>
                  <a:lnTo>
                    <a:pt x="134" y="130"/>
                  </a:lnTo>
                  <a:lnTo>
                    <a:pt x="134" y="130"/>
                  </a:lnTo>
                  <a:lnTo>
                    <a:pt x="156" y="132"/>
                  </a:lnTo>
                  <a:lnTo>
                    <a:pt x="168" y="134"/>
                  </a:lnTo>
                  <a:lnTo>
                    <a:pt x="178" y="134"/>
                  </a:lnTo>
                  <a:lnTo>
                    <a:pt x="178" y="134"/>
                  </a:lnTo>
                  <a:lnTo>
                    <a:pt x="186" y="132"/>
                  </a:lnTo>
                  <a:lnTo>
                    <a:pt x="192" y="128"/>
                  </a:lnTo>
                  <a:lnTo>
                    <a:pt x="198" y="124"/>
                  </a:lnTo>
                  <a:lnTo>
                    <a:pt x="198" y="124"/>
                  </a:lnTo>
                  <a:lnTo>
                    <a:pt x="200" y="122"/>
                  </a:lnTo>
                  <a:lnTo>
                    <a:pt x="200" y="122"/>
                  </a:lnTo>
                  <a:lnTo>
                    <a:pt x="200" y="120"/>
                  </a:lnTo>
                  <a:lnTo>
                    <a:pt x="200" y="120"/>
                  </a:lnTo>
                  <a:lnTo>
                    <a:pt x="200" y="120"/>
                  </a:lnTo>
                  <a:lnTo>
                    <a:pt x="200" y="120"/>
                  </a:lnTo>
                  <a:lnTo>
                    <a:pt x="200" y="118"/>
                  </a:lnTo>
                  <a:lnTo>
                    <a:pt x="196" y="114"/>
                  </a:lnTo>
                  <a:lnTo>
                    <a:pt x="190" y="110"/>
                  </a:lnTo>
                  <a:lnTo>
                    <a:pt x="190" y="110"/>
                  </a:lnTo>
                  <a:lnTo>
                    <a:pt x="186" y="110"/>
                  </a:lnTo>
                  <a:lnTo>
                    <a:pt x="184" y="108"/>
                  </a:lnTo>
                  <a:lnTo>
                    <a:pt x="182" y="108"/>
                  </a:lnTo>
                  <a:lnTo>
                    <a:pt x="182" y="108"/>
                  </a:lnTo>
                  <a:lnTo>
                    <a:pt x="178" y="106"/>
                  </a:lnTo>
                  <a:lnTo>
                    <a:pt x="170" y="104"/>
                  </a:lnTo>
                  <a:lnTo>
                    <a:pt x="162" y="102"/>
                  </a:lnTo>
                  <a:lnTo>
                    <a:pt x="154" y="102"/>
                  </a:lnTo>
                  <a:lnTo>
                    <a:pt x="154" y="102"/>
                  </a:lnTo>
                  <a:lnTo>
                    <a:pt x="150" y="102"/>
                  </a:lnTo>
                  <a:lnTo>
                    <a:pt x="144" y="102"/>
                  </a:lnTo>
                  <a:lnTo>
                    <a:pt x="132" y="98"/>
                  </a:lnTo>
                  <a:lnTo>
                    <a:pt x="122" y="96"/>
                  </a:lnTo>
                  <a:lnTo>
                    <a:pt x="116" y="94"/>
                  </a:lnTo>
                  <a:lnTo>
                    <a:pt x="114" y="96"/>
                  </a:lnTo>
                  <a:lnTo>
                    <a:pt x="114" y="96"/>
                  </a:lnTo>
                  <a:lnTo>
                    <a:pt x="110" y="96"/>
                  </a:lnTo>
                  <a:lnTo>
                    <a:pt x="106" y="96"/>
                  </a:lnTo>
                  <a:lnTo>
                    <a:pt x="94" y="92"/>
                  </a:lnTo>
                  <a:lnTo>
                    <a:pt x="84" y="90"/>
                  </a:lnTo>
                  <a:lnTo>
                    <a:pt x="74" y="90"/>
                  </a:lnTo>
                  <a:lnTo>
                    <a:pt x="74" y="90"/>
                  </a:lnTo>
                  <a:lnTo>
                    <a:pt x="56" y="90"/>
                  </a:lnTo>
                  <a:lnTo>
                    <a:pt x="56" y="90"/>
                  </a:lnTo>
                  <a:lnTo>
                    <a:pt x="52" y="92"/>
                  </a:lnTo>
                  <a:lnTo>
                    <a:pt x="48" y="90"/>
                  </a:lnTo>
                  <a:lnTo>
                    <a:pt x="48" y="90"/>
                  </a:lnTo>
                  <a:lnTo>
                    <a:pt x="40" y="90"/>
                  </a:lnTo>
                  <a:lnTo>
                    <a:pt x="32" y="88"/>
                  </a:lnTo>
                  <a:lnTo>
                    <a:pt x="32" y="88"/>
                  </a:lnTo>
                  <a:lnTo>
                    <a:pt x="36" y="88"/>
                  </a:lnTo>
                  <a:lnTo>
                    <a:pt x="42" y="88"/>
                  </a:lnTo>
                  <a:lnTo>
                    <a:pt x="44" y="86"/>
                  </a:lnTo>
                  <a:lnTo>
                    <a:pt x="44" y="86"/>
                  </a:lnTo>
                  <a:lnTo>
                    <a:pt x="34" y="84"/>
                  </a:lnTo>
                  <a:lnTo>
                    <a:pt x="30" y="84"/>
                  </a:lnTo>
                  <a:lnTo>
                    <a:pt x="28" y="84"/>
                  </a:lnTo>
                  <a:lnTo>
                    <a:pt x="28" y="86"/>
                  </a:lnTo>
                  <a:lnTo>
                    <a:pt x="28" y="86"/>
                  </a:lnTo>
                  <a:lnTo>
                    <a:pt x="28" y="88"/>
                  </a:lnTo>
                  <a:lnTo>
                    <a:pt x="24" y="86"/>
                  </a:lnTo>
                  <a:lnTo>
                    <a:pt x="20" y="86"/>
                  </a:lnTo>
                  <a:lnTo>
                    <a:pt x="14" y="86"/>
                  </a:lnTo>
                  <a:lnTo>
                    <a:pt x="14" y="86"/>
                  </a:lnTo>
                  <a:lnTo>
                    <a:pt x="14" y="90"/>
                  </a:lnTo>
                  <a:lnTo>
                    <a:pt x="12" y="90"/>
                  </a:lnTo>
                  <a:lnTo>
                    <a:pt x="10" y="90"/>
                  </a:lnTo>
                  <a:lnTo>
                    <a:pt x="8" y="90"/>
                  </a:lnTo>
                  <a:lnTo>
                    <a:pt x="8" y="90"/>
                  </a:lnTo>
                  <a:lnTo>
                    <a:pt x="4" y="96"/>
                  </a:lnTo>
                  <a:lnTo>
                    <a:pt x="2" y="100"/>
                  </a:lnTo>
                  <a:lnTo>
                    <a:pt x="0" y="104"/>
                  </a:lnTo>
                  <a:lnTo>
                    <a:pt x="0" y="104"/>
                  </a:lnTo>
                  <a:lnTo>
                    <a:pt x="4" y="108"/>
                  </a:lnTo>
                  <a:lnTo>
                    <a:pt x="6" y="108"/>
                  </a:lnTo>
                  <a:lnTo>
                    <a:pt x="8" y="108"/>
                  </a:lnTo>
                  <a:lnTo>
                    <a:pt x="12" y="112"/>
                  </a:lnTo>
                  <a:lnTo>
                    <a:pt x="12" y="112"/>
                  </a:lnTo>
                  <a:lnTo>
                    <a:pt x="16" y="116"/>
                  </a:lnTo>
                  <a:lnTo>
                    <a:pt x="16" y="118"/>
                  </a:lnTo>
                  <a:lnTo>
                    <a:pt x="16" y="122"/>
                  </a:lnTo>
                  <a:lnTo>
                    <a:pt x="16" y="124"/>
                  </a:lnTo>
                  <a:lnTo>
                    <a:pt x="16" y="126"/>
                  </a:lnTo>
                  <a:lnTo>
                    <a:pt x="24" y="132"/>
                  </a:lnTo>
                  <a:lnTo>
                    <a:pt x="24" y="132"/>
                  </a:lnTo>
                  <a:lnTo>
                    <a:pt x="32" y="138"/>
                  </a:lnTo>
                  <a:lnTo>
                    <a:pt x="34" y="142"/>
                  </a:lnTo>
                  <a:lnTo>
                    <a:pt x="34" y="144"/>
                  </a:lnTo>
                  <a:lnTo>
                    <a:pt x="32" y="144"/>
                  </a:lnTo>
                  <a:lnTo>
                    <a:pt x="32" y="144"/>
                  </a:lnTo>
                  <a:lnTo>
                    <a:pt x="30" y="146"/>
                  </a:lnTo>
                  <a:lnTo>
                    <a:pt x="32" y="148"/>
                  </a:lnTo>
                  <a:lnTo>
                    <a:pt x="34" y="152"/>
                  </a:lnTo>
                  <a:lnTo>
                    <a:pt x="38" y="154"/>
                  </a:lnTo>
                  <a:lnTo>
                    <a:pt x="38" y="154"/>
                  </a:lnTo>
                  <a:lnTo>
                    <a:pt x="40" y="156"/>
                  </a:lnTo>
                  <a:lnTo>
                    <a:pt x="36" y="158"/>
                  </a:lnTo>
                  <a:lnTo>
                    <a:pt x="36" y="160"/>
                  </a:lnTo>
                  <a:lnTo>
                    <a:pt x="38" y="162"/>
                  </a:lnTo>
                  <a:lnTo>
                    <a:pt x="38" y="162"/>
                  </a:lnTo>
                  <a:lnTo>
                    <a:pt x="46" y="166"/>
                  </a:lnTo>
                  <a:lnTo>
                    <a:pt x="48" y="168"/>
                  </a:lnTo>
                  <a:lnTo>
                    <a:pt x="48" y="170"/>
                  </a:lnTo>
                  <a:lnTo>
                    <a:pt x="46" y="172"/>
                  </a:lnTo>
                  <a:lnTo>
                    <a:pt x="44" y="172"/>
                  </a:lnTo>
                  <a:lnTo>
                    <a:pt x="44" y="174"/>
                  </a:lnTo>
                  <a:lnTo>
                    <a:pt x="54" y="178"/>
                  </a:lnTo>
                  <a:lnTo>
                    <a:pt x="54" y="178"/>
                  </a:lnTo>
                  <a:lnTo>
                    <a:pt x="62" y="182"/>
                  </a:lnTo>
                  <a:lnTo>
                    <a:pt x="62" y="186"/>
                  </a:lnTo>
                  <a:lnTo>
                    <a:pt x="60" y="190"/>
                  </a:lnTo>
                  <a:lnTo>
                    <a:pt x="56" y="194"/>
                  </a:lnTo>
                  <a:lnTo>
                    <a:pt x="56" y="194"/>
                  </a:lnTo>
                  <a:lnTo>
                    <a:pt x="54" y="196"/>
                  </a:lnTo>
                  <a:lnTo>
                    <a:pt x="54" y="198"/>
                  </a:lnTo>
                  <a:lnTo>
                    <a:pt x="54" y="200"/>
                  </a:lnTo>
                  <a:lnTo>
                    <a:pt x="52" y="200"/>
                  </a:lnTo>
                  <a:lnTo>
                    <a:pt x="52" y="200"/>
                  </a:lnTo>
                  <a:lnTo>
                    <a:pt x="48" y="200"/>
                  </a:lnTo>
                  <a:lnTo>
                    <a:pt x="46" y="204"/>
                  </a:lnTo>
                  <a:lnTo>
                    <a:pt x="42" y="208"/>
                  </a:lnTo>
                  <a:lnTo>
                    <a:pt x="34" y="212"/>
                  </a:lnTo>
                  <a:lnTo>
                    <a:pt x="34" y="212"/>
                  </a:lnTo>
                  <a:lnTo>
                    <a:pt x="26" y="218"/>
                  </a:lnTo>
                  <a:lnTo>
                    <a:pt x="22" y="220"/>
                  </a:lnTo>
                  <a:lnTo>
                    <a:pt x="22" y="224"/>
                  </a:lnTo>
                  <a:lnTo>
                    <a:pt x="22" y="224"/>
                  </a:lnTo>
                  <a:lnTo>
                    <a:pt x="28" y="222"/>
                  </a:lnTo>
                  <a:lnTo>
                    <a:pt x="30" y="222"/>
                  </a:lnTo>
                  <a:lnTo>
                    <a:pt x="28" y="224"/>
                  </a:lnTo>
                  <a:lnTo>
                    <a:pt x="28" y="224"/>
                  </a:lnTo>
                  <a:lnTo>
                    <a:pt x="26" y="224"/>
                  </a:lnTo>
                  <a:lnTo>
                    <a:pt x="30" y="226"/>
                  </a:lnTo>
                  <a:lnTo>
                    <a:pt x="38" y="226"/>
                  </a:lnTo>
                  <a:lnTo>
                    <a:pt x="38" y="226"/>
                  </a:lnTo>
                  <a:lnTo>
                    <a:pt x="42" y="226"/>
                  </a:lnTo>
                  <a:lnTo>
                    <a:pt x="44" y="228"/>
                  </a:lnTo>
                  <a:lnTo>
                    <a:pt x="48" y="230"/>
                  </a:lnTo>
                  <a:lnTo>
                    <a:pt x="52" y="230"/>
                  </a:lnTo>
                  <a:lnTo>
                    <a:pt x="52" y="230"/>
                  </a:lnTo>
                  <a:lnTo>
                    <a:pt x="56" y="230"/>
                  </a:lnTo>
                  <a:lnTo>
                    <a:pt x="58" y="230"/>
                  </a:lnTo>
                  <a:lnTo>
                    <a:pt x="64" y="230"/>
                  </a:lnTo>
                  <a:lnTo>
                    <a:pt x="64" y="230"/>
                  </a:lnTo>
                  <a:lnTo>
                    <a:pt x="64" y="232"/>
                  </a:lnTo>
                  <a:lnTo>
                    <a:pt x="64" y="234"/>
                  </a:lnTo>
                  <a:lnTo>
                    <a:pt x="62" y="236"/>
                  </a:lnTo>
                  <a:lnTo>
                    <a:pt x="58" y="236"/>
                  </a:lnTo>
                  <a:lnTo>
                    <a:pt x="58" y="236"/>
                  </a:lnTo>
                  <a:lnTo>
                    <a:pt x="48" y="234"/>
                  </a:lnTo>
                  <a:lnTo>
                    <a:pt x="46" y="234"/>
                  </a:lnTo>
                  <a:lnTo>
                    <a:pt x="44" y="236"/>
                  </a:lnTo>
                  <a:lnTo>
                    <a:pt x="44" y="236"/>
                  </a:lnTo>
                  <a:lnTo>
                    <a:pt x="42" y="240"/>
                  </a:lnTo>
                  <a:lnTo>
                    <a:pt x="38" y="238"/>
                  </a:lnTo>
                  <a:lnTo>
                    <a:pt x="36" y="238"/>
                  </a:lnTo>
                  <a:lnTo>
                    <a:pt x="34" y="240"/>
                  </a:lnTo>
                  <a:lnTo>
                    <a:pt x="34" y="240"/>
                  </a:lnTo>
                  <a:lnTo>
                    <a:pt x="34" y="242"/>
                  </a:lnTo>
                  <a:lnTo>
                    <a:pt x="32" y="242"/>
                  </a:lnTo>
                  <a:lnTo>
                    <a:pt x="30" y="240"/>
                  </a:lnTo>
                  <a:lnTo>
                    <a:pt x="28" y="240"/>
                  </a:lnTo>
                  <a:lnTo>
                    <a:pt x="28" y="240"/>
                  </a:lnTo>
                  <a:lnTo>
                    <a:pt x="28" y="240"/>
                  </a:lnTo>
                  <a:lnTo>
                    <a:pt x="28" y="242"/>
                  </a:lnTo>
                  <a:lnTo>
                    <a:pt x="30" y="242"/>
                  </a:lnTo>
                  <a:lnTo>
                    <a:pt x="28" y="244"/>
                  </a:lnTo>
                  <a:lnTo>
                    <a:pt x="28" y="244"/>
                  </a:lnTo>
                  <a:lnTo>
                    <a:pt x="32" y="246"/>
                  </a:lnTo>
                  <a:lnTo>
                    <a:pt x="32" y="248"/>
                  </a:lnTo>
                  <a:lnTo>
                    <a:pt x="30" y="252"/>
                  </a:lnTo>
                  <a:lnTo>
                    <a:pt x="30" y="266"/>
                  </a:lnTo>
                  <a:lnTo>
                    <a:pt x="30" y="266"/>
                  </a:lnTo>
                  <a:lnTo>
                    <a:pt x="28" y="270"/>
                  </a:lnTo>
                  <a:lnTo>
                    <a:pt x="30" y="270"/>
                  </a:lnTo>
                  <a:lnTo>
                    <a:pt x="32" y="270"/>
                  </a:lnTo>
                  <a:lnTo>
                    <a:pt x="32" y="274"/>
                  </a:lnTo>
                  <a:lnTo>
                    <a:pt x="32" y="274"/>
                  </a:lnTo>
                  <a:lnTo>
                    <a:pt x="30" y="278"/>
                  </a:lnTo>
                  <a:lnTo>
                    <a:pt x="32" y="278"/>
                  </a:lnTo>
                  <a:lnTo>
                    <a:pt x="34" y="280"/>
                  </a:lnTo>
                  <a:lnTo>
                    <a:pt x="36" y="286"/>
                  </a:lnTo>
                  <a:lnTo>
                    <a:pt x="36" y="286"/>
                  </a:lnTo>
                  <a:lnTo>
                    <a:pt x="40" y="288"/>
                  </a:lnTo>
                  <a:lnTo>
                    <a:pt x="48" y="288"/>
                  </a:lnTo>
                  <a:lnTo>
                    <a:pt x="56" y="288"/>
                  </a:lnTo>
                  <a:lnTo>
                    <a:pt x="58" y="290"/>
                  </a:lnTo>
                  <a:lnTo>
                    <a:pt x="58" y="290"/>
                  </a:lnTo>
                  <a:lnTo>
                    <a:pt x="58" y="290"/>
                  </a:lnTo>
                  <a:lnTo>
                    <a:pt x="60" y="292"/>
                  </a:lnTo>
                  <a:lnTo>
                    <a:pt x="60" y="292"/>
                  </a:lnTo>
                  <a:lnTo>
                    <a:pt x="64" y="290"/>
                  </a:lnTo>
                  <a:lnTo>
                    <a:pt x="72" y="284"/>
                  </a:lnTo>
                  <a:lnTo>
                    <a:pt x="72" y="284"/>
                  </a:lnTo>
                  <a:lnTo>
                    <a:pt x="74" y="284"/>
                  </a:lnTo>
                  <a:lnTo>
                    <a:pt x="78" y="286"/>
                  </a:lnTo>
                  <a:lnTo>
                    <a:pt x="82" y="288"/>
                  </a:lnTo>
                  <a:lnTo>
                    <a:pt x="82" y="288"/>
                  </a:lnTo>
                  <a:lnTo>
                    <a:pt x="86" y="290"/>
                  </a:lnTo>
                  <a:lnTo>
                    <a:pt x="86" y="292"/>
                  </a:lnTo>
                  <a:lnTo>
                    <a:pt x="84" y="294"/>
                  </a:lnTo>
                  <a:lnTo>
                    <a:pt x="84" y="296"/>
                  </a:lnTo>
                  <a:lnTo>
                    <a:pt x="88" y="300"/>
                  </a:lnTo>
                  <a:lnTo>
                    <a:pt x="88" y="300"/>
                  </a:lnTo>
                  <a:lnTo>
                    <a:pt x="92" y="302"/>
                  </a:lnTo>
                  <a:lnTo>
                    <a:pt x="92" y="306"/>
                  </a:lnTo>
                  <a:lnTo>
                    <a:pt x="92" y="306"/>
                  </a:lnTo>
                  <a:lnTo>
                    <a:pt x="92" y="306"/>
                  </a:lnTo>
                  <a:lnTo>
                    <a:pt x="94" y="308"/>
                  </a:lnTo>
                  <a:lnTo>
                    <a:pt x="108" y="314"/>
                  </a:lnTo>
                  <a:lnTo>
                    <a:pt x="108" y="314"/>
                  </a:lnTo>
                  <a:lnTo>
                    <a:pt x="112" y="314"/>
                  </a:lnTo>
                  <a:lnTo>
                    <a:pt x="116" y="314"/>
                  </a:lnTo>
                  <a:lnTo>
                    <a:pt x="116" y="314"/>
                  </a:lnTo>
                  <a:lnTo>
                    <a:pt x="120" y="316"/>
                  </a:lnTo>
                  <a:lnTo>
                    <a:pt x="120" y="318"/>
                  </a:lnTo>
                  <a:lnTo>
                    <a:pt x="118" y="318"/>
                  </a:lnTo>
                  <a:lnTo>
                    <a:pt x="122" y="320"/>
                  </a:lnTo>
                  <a:lnTo>
                    <a:pt x="122" y="320"/>
                  </a:lnTo>
                  <a:lnTo>
                    <a:pt x="126" y="320"/>
                  </a:lnTo>
                  <a:lnTo>
                    <a:pt x="130" y="320"/>
                  </a:lnTo>
                  <a:lnTo>
                    <a:pt x="130" y="320"/>
                  </a:lnTo>
                  <a:lnTo>
                    <a:pt x="134" y="324"/>
                  </a:lnTo>
                  <a:lnTo>
                    <a:pt x="136" y="324"/>
                  </a:lnTo>
                  <a:lnTo>
                    <a:pt x="140" y="326"/>
                  </a:lnTo>
                  <a:lnTo>
                    <a:pt x="140" y="326"/>
                  </a:lnTo>
                  <a:lnTo>
                    <a:pt x="142" y="328"/>
                  </a:lnTo>
                  <a:lnTo>
                    <a:pt x="144" y="330"/>
                  </a:lnTo>
                  <a:lnTo>
                    <a:pt x="142" y="334"/>
                  </a:lnTo>
                  <a:lnTo>
                    <a:pt x="136" y="336"/>
                  </a:lnTo>
                  <a:lnTo>
                    <a:pt x="136" y="336"/>
                  </a:lnTo>
                  <a:lnTo>
                    <a:pt x="128" y="338"/>
                  </a:lnTo>
                  <a:lnTo>
                    <a:pt x="124" y="338"/>
                  </a:lnTo>
                  <a:lnTo>
                    <a:pt x="120" y="336"/>
                  </a:lnTo>
                  <a:lnTo>
                    <a:pt x="120" y="336"/>
                  </a:lnTo>
                  <a:lnTo>
                    <a:pt x="116" y="334"/>
                  </a:lnTo>
                  <a:lnTo>
                    <a:pt x="114" y="334"/>
                  </a:lnTo>
                  <a:lnTo>
                    <a:pt x="112" y="336"/>
                  </a:lnTo>
                  <a:lnTo>
                    <a:pt x="112" y="338"/>
                  </a:lnTo>
                  <a:lnTo>
                    <a:pt x="112" y="342"/>
                  </a:lnTo>
                  <a:lnTo>
                    <a:pt x="122" y="354"/>
                  </a:lnTo>
                  <a:lnTo>
                    <a:pt x="122" y="354"/>
                  </a:lnTo>
                  <a:lnTo>
                    <a:pt x="124" y="354"/>
                  </a:lnTo>
                  <a:lnTo>
                    <a:pt x="126" y="352"/>
                  </a:lnTo>
                  <a:lnTo>
                    <a:pt x="130" y="352"/>
                  </a:lnTo>
                  <a:lnTo>
                    <a:pt x="142" y="352"/>
                  </a:lnTo>
                  <a:lnTo>
                    <a:pt x="142" y="352"/>
                  </a:lnTo>
                  <a:lnTo>
                    <a:pt x="156" y="352"/>
                  </a:lnTo>
                  <a:lnTo>
                    <a:pt x="160" y="354"/>
                  </a:lnTo>
                  <a:lnTo>
                    <a:pt x="160" y="356"/>
                  </a:lnTo>
                  <a:lnTo>
                    <a:pt x="164" y="358"/>
                  </a:lnTo>
                  <a:lnTo>
                    <a:pt x="164" y="358"/>
                  </a:lnTo>
                  <a:lnTo>
                    <a:pt x="168" y="358"/>
                  </a:lnTo>
                  <a:lnTo>
                    <a:pt x="168" y="362"/>
                  </a:lnTo>
                  <a:lnTo>
                    <a:pt x="166" y="368"/>
                  </a:lnTo>
                  <a:lnTo>
                    <a:pt x="164" y="372"/>
                  </a:lnTo>
                  <a:lnTo>
                    <a:pt x="166" y="372"/>
                  </a:lnTo>
                  <a:lnTo>
                    <a:pt x="170" y="372"/>
                  </a:lnTo>
                  <a:lnTo>
                    <a:pt x="170" y="372"/>
                  </a:lnTo>
                  <a:lnTo>
                    <a:pt x="182" y="372"/>
                  </a:lnTo>
                  <a:lnTo>
                    <a:pt x="182" y="374"/>
                  </a:lnTo>
                  <a:lnTo>
                    <a:pt x="188" y="378"/>
                  </a:lnTo>
                  <a:lnTo>
                    <a:pt x="188" y="378"/>
                  </a:lnTo>
                  <a:lnTo>
                    <a:pt x="192" y="380"/>
                  </a:lnTo>
                  <a:lnTo>
                    <a:pt x="194" y="384"/>
                  </a:lnTo>
                  <a:lnTo>
                    <a:pt x="194" y="386"/>
                  </a:lnTo>
                  <a:lnTo>
                    <a:pt x="194" y="388"/>
                  </a:lnTo>
                  <a:lnTo>
                    <a:pt x="192" y="392"/>
                  </a:lnTo>
                  <a:lnTo>
                    <a:pt x="192" y="392"/>
                  </a:lnTo>
                  <a:lnTo>
                    <a:pt x="196" y="394"/>
                  </a:lnTo>
                  <a:lnTo>
                    <a:pt x="196" y="394"/>
                  </a:lnTo>
                  <a:lnTo>
                    <a:pt x="206" y="398"/>
                  </a:lnTo>
                  <a:lnTo>
                    <a:pt x="208" y="402"/>
                  </a:lnTo>
                  <a:lnTo>
                    <a:pt x="212" y="402"/>
                  </a:lnTo>
                  <a:lnTo>
                    <a:pt x="220" y="398"/>
                  </a:lnTo>
                  <a:lnTo>
                    <a:pt x="220" y="398"/>
                  </a:lnTo>
                  <a:lnTo>
                    <a:pt x="226" y="396"/>
                  </a:lnTo>
                  <a:lnTo>
                    <a:pt x="228" y="396"/>
                  </a:lnTo>
                  <a:lnTo>
                    <a:pt x="234" y="398"/>
                  </a:lnTo>
                  <a:lnTo>
                    <a:pt x="242" y="404"/>
                  </a:lnTo>
                  <a:lnTo>
                    <a:pt x="246" y="406"/>
                  </a:lnTo>
                  <a:lnTo>
                    <a:pt x="252" y="406"/>
                  </a:lnTo>
                  <a:lnTo>
                    <a:pt x="252" y="406"/>
                  </a:lnTo>
                  <a:lnTo>
                    <a:pt x="260" y="406"/>
                  </a:lnTo>
                  <a:lnTo>
                    <a:pt x="264" y="408"/>
                  </a:lnTo>
                  <a:lnTo>
                    <a:pt x="268" y="410"/>
                  </a:lnTo>
                  <a:lnTo>
                    <a:pt x="278" y="410"/>
                  </a:lnTo>
                  <a:lnTo>
                    <a:pt x="278" y="410"/>
                  </a:lnTo>
                  <a:lnTo>
                    <a:pt x="284" y="412"/>
                  </a:lnTo>
                  <a:lnTo>
                    <a:pt x="284" y="412"/>
                  </a:lnTo>
                  <a:lnTo>
                    <a:pt x="280" y="418"/>
                  </a:lnTo>
                  <a:lnTo>
                    <a:pt x="276" y="422"/>
                  </a:lnTo>
                  <a:lnTo>
                    <a:pt x="274" y="422"/>
                  </a:lnTo>
                  <a:lnTo>
                    <a:pt x="278" y="424"/>
                  </a:lnTo>
                  <a:lnTo>
                    <a:pt x="278" y="424"/>
                  </a:lnTo>
                  <a:lnTo>
                    <a:pt x="280" y="424"/>
                  </a:lnTo>
                  <a:lnTo>
                    <a:pt x="280" y="426"/>
                  </a:lnTo>
                  <a:lnTo>
                    <a:pt x="278" y="430"/>
                  </a:lnTo>
                  <a:lnTo>
                    <a:pt x="278" y="432"/>
                  </a:lnTo>
                  <a:lnTo>
                    <a:pt x="280" y="432"/>
                  </a:lnTo>
                  <a:lnTo>
                    <a:pt x="280" y="432"/>
                  </a:lnTo>
                  <a:lnTo>
                    <a:pt x="284" y="436"/>
                  </a:lnTo>
                  <a:lnTo>
                    <a:pt x="286" y="438"/>
                  </a:lnTo>
                  <a:lnTo>
                    <a:pt x="286" y="440"/>
                  </a:lnTo>
                  <a:lnTo>
                    <a:pt x="284" y="444"/>
                  </a:lnTo>
                  <a:lnTo>
                    <a:pt x="280" y="448"/>
                  </a:lnTo>
                  <a:lnTo>
                    <a:pt x="274" y="452"/>
                  </a:lnTo>
                  <a:lnTo>
                    <a:pt x="274" y="452"/>
                  </a:lnTo>
                  <a:lnTo>
                    <a:pt x="270" y="454"/>
                  </a:lnTo>
                  <a:lnTo>
                    <a:pt x="264" y="458"/>
                  </a:lnTo>
                  <a:lnTo>
                    <a:pt x="262" y="462"/>
                  </a:lnTo>
                  <a:lnTo>
                    <a:pt x="262" y="470"/>
                  </a:lnTo>
                  <a:lnTo>
                    <a:pt x="262" y="470"/>
                  </a:lnTo>
                  <a:lnTo>
                    <a:pt x="282" y="466"/>
                  </a:lnTo>
                  <a:lnTo>
                    <a:pt x="284" y="466"/>
                  </a:lnTo>
                  <a:lnTo>
                    <a:pt x="284" y="468"/>
                  </a:lnTo>
                  <a:lnTo>
                    <a:pt x="280" y="472"/>
                  </a:lnTo>
                  <a:lnTo>
                    <a:pt x="280" y="472"/>
                  </a:lnTo>
                  <a:lnTo>
                    <a:pt x="274" y="476"/>
                  </a:lnTo>
                  <a:lnTo>
                    <a:pt x="268" y="478"/>
                  </a:lnTo>
                  <a:lnTo>
                    <a:pt x="262" y="478"/>
                  </a:lnTo>
                  <a:lnTo>
                    <a:pt x="260" y="478"/>
                  </a:lnTo>
                  <a:lnTo>
                    <a:pt x="268" y="484"/>
                  </a:lnTo>
                  <a:lnTo>
                    <a:pt x="268" y="484"/>
                  </a:lnTo>
                  <a:lnTo>
                    <a:pt x="274" y="492"/>
                  </a:lnTo>
                  <a:lnTo>
                    <a:pt x="274" y="492"/>
                  </a:lnTo>
                  <a:lnTo>
                    <a:pt x="272" y="492"/>
                  </a:lnTo>
                  <a:lnTo>
                    <a:pt x="266" y="492"/>
                  </a:lnTo>
                  <a:lnTo>
                    <a:pt x="264" y="494"/>
                  </a:lnTo>
                  <a:lnTo>
                    <a:pt x="262" y="498"/>
                  </a:lnTo>
                  <a:lnTo>
                    <a:pt x="262" y="498"/>
                  </a:lnTo>
                  <a:lnTo>
                    <a:pt x="258" y="502"/>
                  </a:lnTo>
                  <a:lnTo>
                    <a:pt x="256" y="506"/>
                  </a:lnTo>
                  <a:lnTo>
                    <a:pt x="252" y="506"/>
                  </a:lnTo>
                  <a:lnTo>
                    <a:pt x="248" y="506"/>
                  </a:lnTo>
                  <a:lnTo>
                    <a:pt x="250" y="510"/>
                  </a:lnTo>
                  <a:lnTo>
                    <a:pt x="250" y="510"/>
                  </a:lnTo>
                  <a:lnTo>
                    <a:pt x="252" y="512"/>
                  </a:lnTo>
                  <a:lnTo>
                    <a:pt x="256" y="514"/>
                  </a:lnTo>
                  <a:lnTo>
                    <a:pt x="268" y="518"/>
                  </a:lnTo>
                  <a:lnTo>
                    <a:pt x="282" y="524"/>
                  </a:lnTo>
                  <a:lnTo>
                    <a:pt x="290" y="528"/>
                  </a:lnTo>
                  <a:lnTo>
                    <a:pt x="298" y="534"/>
                  </a:lnTo>
                  <a:lnTo>
                    <a:pt x="298" y="534"/>
                  </a:lnTo>
                  <a:lnTo>
                    <a:pt x="300" y="534"/>
                  </a:lnTo>
                  <a:lnTo>
                    <a:pt x="304" y="532"/>
                  </a:lnTo>
                  <a:lnTo>
                    <a:pt x="312" y="532"/>
                  </a:lnTo>
                  <a:lnTo>
                    <a:pt x="322" y="536"/>
                  </a:lnTo>
                  <a:lnTo>
                    <a:pt x="322" y="536"/>
                  </a:lnTo>
                  <a:lnTo>
                    <a:pt x="338" y="540"/>
                  </a:lnTo>
                  <a:lnTo>
                    <a:pt x="352" y="542"/>
                  </a:lnTo>
                  <a:lnTo>
                    <a:pt x="364" y="544"/>
                  </a:lnTo>
                  <a:lnTo>
                    <a:pt x="370" y="546"/>
                  </a:lnTo>
                  <a:lnTo>
                    <a:pt x="376" y="550"/>
                  </a:lnTo>
                  <a:lnTo>
                    <a:pt x="376" y="550"/>
                  </a:lnTo>
                  <a:lnTo>
                    <a:pt x="386" y="556"/>
                  </a:lnTo>
                  <a:lnTo>
                    <a:pt x="392" y="556"/>
                  </a:lnTo>
                  <a:lnTo>
                    <a:pt x="400" y="554"/>
                  </a:lnTo>
                  <a:lnTo>
                    <a:pt x="406" y="554"/>
                  </a:lnTo>
                  <a:lnTo>
                    <a:pt x="414" y="556"/>
                  </a:lnTo>
                  <a:lnTo>
                    <a:pt x="414" y="556"/>
                  </a:lnTo>
                  <a:lnTo>
                    <a:pt x="422" y="560"/>
                  </a:lnTo>
                  <a:lnTo>
                    <a:pt x="426" y="564"/>
                  </a:lnTo>
                  <a:lnTo>
                    <a:pt x="432" y="570"/>
                  </a:lnTo>
                  <a:lnTo>
                    <a:pt x="448" y="578"/>
                  </a:lnTo>
                  <a:lnTo>
                    <a:pt x="448" y="578"/>
                  </a:lnTo>
                  <a:lnTo>
                    <a:pt x="462" y="584"/>
                  </a:lnTo>
                  <a:lnTo>
                    <a:pt x="470" y="584"/>
                  </a:lnTo>
                  <a:lnTo>
                    <a:pt x="478" y="580"/>
                  </a:lnTo>
                  <a:lnTo>
                    <a:pt x="484" y="576"/>
                  </a:lnTo>
                  <a:lnTo>
                    <a:pt x="484" y="576"/>
                  </a:lnTo>
                  <a:lnTo>
                    <a:pt x="472" y="566"/>
                  </a:lnTo>
                  <a:lnTo>
                    <a:pt x="464" y="556"/>
                  </a:lnTo>
                  <a:lnTo>
                    <a:pt x="460" y="546"/>
                  </a:lnTo>
                  <a:lnTo>
                    <a:pt x="456" y="536"/>
                  </a:lnTo>
                  <a:lnTo>
                    <a:pt x="456" y="536"/>
                  </a:lnTo>
                  <a:lnTo>
                    <a:pt x="454" y="532"/>
                  </a:lnTo>
                  <a:lnTo>
                    <a:pt x="450" y="528"/>
                  </a:lnTo>
                  <a:lnTo>
                    <a:pt x="440" y="522"/>
                  </a:lnTo>
                  <a:lnTo>
                    <a:pt x="434" y="518"/>
                  </a:lnTo>
                  <a:lnTo>
                    <a:pt x="436" y="518"/>
                  </a:lnTo>
                  <a:lnTo>
                    <a:pt x="440" y="516"/>
                  </a:lnTo>
                  <a:lnTo>
                    <a:pt x="440" y="516"/>
                  </a:lnTo>
                  <a:lnTo>
                    <a:pt x="444" y="514"/>
                  </a:lnTo>
                  <a:lnTo>
                    <a:pt x="444" y="512"/>
                  </a:lnTo>
                  <a:lnTo>
                    <a:pt x="440" y="510"/>
                  </a:lnTo>
                  <a:lnTo>
                    <a:pt x="440" y="508"/>
                  </a:lnTo>
                  <a:lnTo>
                    <a:pt x="440" y="508"/>
                  </a:lnTo>
                  <a:lnTo>
                    <a:pt x="440" y="508"/>
                  </a:lnTo>
                  <a:lnTo>
                    <a:pt x="444" y="506"/>
                  </a:lnTo>
                  <a:lnTo>
                    <a:pt x="444" y="504"/>
                  </a:lnTo>
                  <a:lnTo>
                    <a:pt x="444" y="496"/>
                  </a:lnTo>
                  <a:lnTo>
                    <a:pt x="442" y="490"/>
                  </a:lnTo>
                  <a:lnTo>
                    <a:pt x="444" y="490"/>
                  </a:lnTo>
                  <a:lnTo>
                    <a:pt x="448" y="492"/>
                  </a:lnTo>
                  <a:lnTo>
                    <a:pt x="448" y="492"/>
                  </a:lnTo>
                  <a:lnTo>
                    <a:pt x="452" y="494"/>
                  </a:lnTo>
                  <a:lnTo>
                    <a:pt x="458" y="492"/>
                  </a:lnTo>
                  <a:lnTo>
                    <a:pt x="460" y="488"/>
                  </a:lnTo>
                  <a:lnTo>
                    <a:pt x="462" y="484"/>
                  </a:lnTo>
                  <a:lnTo>
                    <a:pt x="462" y="484"/>
                  </a:lnTo>
                  <a:lnTo>
                    <a:pt x="462" y="480"/>
                  </a:lnTo>
                  <a:lnTo>
                    <a:pt x="466" y="482"/>
                  </a:lnTo>
                  <a:lnTo>
                    <a:pt x="470" y="482"/>
                  </a:lnTo>
                  <a:lnTo>
                    <a:pt x="474" y="480"/>
                  </a:lnTo>
                  <a:lnTo>
                    <a:pt x="474" y="480"/>
                  </a:lnTo>
                  <a:lnTo>
                    <a:pt x="474" y="478"/>
                  </a:lnTo>
                  <a:lnTo>
                    <a:pt x="470" y="476"/>
                  </a:lnTo>
                  <a:lnTo>
                    <a:pt x="470" y="476"/>
                  </a:lnTo>
                  <a:lnTo>
                    <a:pt x="468" y="474"/>
                  </a:lnTo>
                  <a:lnTo>
                    <a:pt x="468" y="472"/>
                  </a:lnTo>
                  <a:lnTo>
                    <a:pt x="472" y="470"/>
                  </a:lnTo>
                  <a:lnTo>
                    <a:pt x="472" y="468"/>
                  </a:lnTo>
                  <a:lnTo>
                    <a:pt x="472" y="466"/>
                  </a:lnTo>
                  <a:lnTo>
                    <a:pt x="470" y="462"/>
                  </a:lnTo>
                  <a:lnTo>
                    <a:pt x="462" y="458"/>
                  </a:lnTo>
                  <a:lnTo>
                    <a:pt x="462" y="458"/>
                  </a:lnTo>
                  <a:lnTo>
                    <a:pt x="454" y="452"/>
                  </a:lnTo>
                  <a:lnTo>
                    <a:pt x="448" y="452"/>
                  </a:lnTo>
                  <a:lnTo>
                    <a:pt x="446" y="452"/>
                  </a:lnTo>
                  <a:lnTo>
                    <a:pt x="442" y="448"/>
                  </a:lnTo>
                  <a:lnTo>
                    <a:pt x="442" y="448"/>
                  </a:lnTo>
                  <a:lnTo>
                    <a:pt x="440" y="448"/>
                  </a:lnTo>
                  <a:lnTo>
                    <a:pt x="438" y="448"/>
                  </a:lnTo>
                  <a:lnTo>
                    <a:pt x="434" y="450"/>
                  </a:lnTo>
                  <a:lnTo>
                    <a:pt x="432" y="450"/>
                  </a:lnTo>
                  <a:lnTo>
                    <a:pt x="430" y="450"/>
                  </a:lnTo>
                  <a:lnTo>
                    <a:pt x="428" y="448"/>
                  </a:lnTo>
                  <a:lnTo>
                    <a:pt x="426" y="444"/>
                  </a:lnTo>
                  <a:lnTo>
                    <a:pt x="426" y="444"/>
                  </a:lnTo>
                  <a:lnTo>
                    <a:pt x="426" y="440"/>
                  </a:lnTo>
                  <a:lnTo>
                    <a:pt x="424" y="440"/>
                  </a:lnTo>
                  <a:lnTo>
                    <a:pt x="418" y="438"/>
                  </a:lnTo>
                  <a:lnTo>
                    <a:pt x="418" y="436"/>
                  </a:lnTo>
                  <a:lnTo>
                    <a:pt x="416" y="434"/>
                  </a:lnTo>
                  <a:lnTo>
                    <a:pt x="420" y="426"/>
                  </a:lnTo>
                  <a:lnTo>
                    <a:pt x="420" y="426"/>
                  </a:lnTo>
                  <a:lnTo>
                    <a:pt x="424" y="416"/>
                  </a:lnTo>
                  <a:lnTo>
                    <a:pt x="424" y="414"/>
                  </a:lnTo>
                  <a:lnTo>
                    <a:pt x="422" y="410"/>
                  </a:lnTo>
                  <a:lnTo>
                    <a:pt x="422" y="406"/>
                  </a:lnTo>
                  <a:lnTo>
                    <a:pt x="422" y="406"/>
                  </a:lnTo>
                  <a:lnTo>
                    <a:pt x="424" y="400"/>
                  </a:lnTo>
                  <a:lnTo>
                    <a:pt x="426" y="394"/>
                  </a:lnTo>
                  <a:lnTo>
                    <a:pt x="428" y="392"/>
                  </a:lnTo>
                  <a:lnTo>
                    <a:pt x="430" y="396"/>
                  </a:lnTo>
                  <a:lnTo>
                    <a:pt x="430" y="396"/>
                  </a:lnTo>
                  <a:lnTo>
                    <a:pt x="436" y="406"/>
                  </a:lnTo>
                  <a:lnTo>
                    <a:pt x="440" y="410"/>
                  </a:lnTo>
                  <a:lnTo>
                    <a:pt x="446" y="408"/>
                  </a:lnTo>
                  <a:lnTo>
                    <a:pt x="446" y="408"/>
                  </a:lnTo>
                  <a:lnTo>
                    <a:pt x="448" y="406"/>
                  </a:lnTo>
                  <a:lnTo>
                    <a:pt x="448" y="402"/>
                  </a:lnTo>
                  <a:lnTo>
                    <a:pt x="444" y="398"/>
                  </a:lnTo>
                  <a:lnTo>
                    <a:pt x="438" y="392"/>
                  </a:lnTo>
                  <a:lnTo>
                    <a:pt x="438" y="392"/>
                  </a:lnTo>
                  <a:lnTo>
                    <a:pt x="442" y="392"/>
                  </a:lnTo>
                  <a:lnTo>
                    <a:pt x="446" y="394"/>
                  </a:lnTo>
                  <a:lnTo>
                    <a:pt x="448" y="394"/>
                  </a:lnTo>
                  <a:lnTo>
                    <a:pt x="450" y="390"/>
                  </a:lnTo>
                  <a:lnTo>
                    <a:pt x="450" y="390"/>
                  </a:lnTo>
                  <a:lnTo>
                    <a:pt x="454" y="386"/>
                  </a:lnTo>
                  <a:lnTo>
                    <a:pt x="458" y="382"/>
                  </a:lnTo>
                  <a:lnTo>
                    <a:pt x="462" y="378"/>
                  </a:lnTo>
                  <a:lnTo>
                    <a:pt x="462" y="374"/>
                  </a:lnTo>
                  <a:lnTo>
                    <a:pt x="462" y="374"/>
                  </a:lnTo>
                  <a:lnTo>
                    <a:pt x="462" y="370"/>
                  </a:lnTo>
                  <a:lnTo>
                    <a:pt x="466" y="368"/>
                  </a:lnTo>
                  <a:lnTo>
                    <a:pt x="470" y="370"/>
                  </a:lnTo>
                  <a:lnTo>
                    <a:pt x="472" y="372"/>
                  </a:lnTo>
                  <a:lnTo>
                    <a:pt x="472" y="372"/>
                  </a:lnTo>
                  <a:lnTo>
                    <a:pt x="476" y="376"/>
                  </a:lnTo>
                  <a:lnTo>
                    <a:pt x="478" y="376"/>
                  </a:lnTo>
                  <a:lnTo>
                    <a:pt x="484" y="374"/>
                  </a:lnTo>
                  <a:lnTo>
                    <a:pt x="488" y="370"/>
                  </a:lnTo>
                  <a:lnTo>
                    <a:pt x="492" y="370"/>
                  </a:lnTo>
                  <a:lnTo>
                    <a:pt x="494" y="372"/>
                  </a:lnTo>
                  <a:lnTo>
                    <a:pt x="494" y="372"/>
                  </a:lnTo>
                  <a:lnTo>
                    <a:pt x="500" y="374"/>
                  </a:lnTo>
                  <a:lnTo>
                    <a:pt x="502" y="374"/>
                  </a:lnTo>
                  <a:lnTo>
                    <a:pt x="508" y="372"/>
                  </a:lnTo>
                  <a:lnTo>
                    <a:pt x="510" y="372"/>
                  </a:lnTo>
                  <a:lnTo>
                    <a:pt x="514" y="372"/>
                  </a:lnTo>
                  <a:lnTo>
                    <a:pt x="520" y="376"/>
                  </a:lnTo>
                  <a:lnTo>
                    <a:pt x="528" y="382"/>
                  </a:lnTo>
                  <a:lnTo>
                    <a:pt x="528" y="382"/>
                  </a:lnTo>
                  <a:lnTo>
                    <a:pt x="530" y="384"/>
                  </a:lnTo>
                  <a:lnTo>
                    <a:pt x="532" y="384"/>
                  </a:lnTo>
                  <a:lnTo>
                    <a:pt x="534" y="380"/>
                  </a:lnTo>
                  <a:lnTo>
                    <a:pt x="534" y="378"/>
                  </a:lnTo>
                  <a:lnTo>
                    <a:pt x="536" y="378"/>
                  </a:lnTo>
                  <a:lnTo>
                    <a:pt x="542" y="380"/>
                  </a:lnTo>
                  <a:lnTo>
                    <a:pt x="550" y="384"/>
                  </a:lnTo>
                  <a:lnTo>
                    <a:pt x="550" y="384"/>
                  </a:lnTo>
                  <a:lnTo>
                    <a:pt x="558" y="388"/>
                  </a:lnTo>
                  <a:lnTo>
                    <a:pt x="562" y="390"/>
                  </a:lnTo>
                  <a:lnTo>
                    <a:pt x="564" y="386"/>
                  </a:lnTo>
                  <a:lnTo>
                    <a:pt x="564" y="382"/>
                  </a:lnTo>
                  <a:lnTo>
                    <a:pt x="564" y="382"/>
                  </a:lnTo>
                  <a:lnTo>
                    <a:pt x="566" y="380"/>
                  </a:lnTo>
                  <a:lnTo>
                    <a:pt x="568" y="382"/>
                  </a:lnTo>
                  <a:lnTo>
                    <a:pt x="572" y="382"/>
                  </a:lnTo>
                  <a:lnTo>
                    <a:pt x="578" y="382"/>
                  </a:lnTo>
                  <a:lnTo>
                    <a:pt x="578" y="382"/>
                  </a:lnTo>
                  <a:lnTo>
                    <a:pt x="584" y="380"/>
                  </a:lnTo>
                  <a:lnTo>
                    <a:pt x="586" y="384"/>
                  </a:lnTo>
                  <a:lnTo>
                    <a:pt x="588" y="386"/>
                  </a:lnTo>
                  <a:lnTo>
                    <a:pt x="594" y="384"/>
                  </a:lnTo>
                  <a:lnTo>
                    <a:pt x="594" y="384"/>
                  </a:lnTo>
                  <a:lnTo>
                    <a:pt x="610" y="380"/>
                  </a:lnTo>
                  <a:lnTo>
                    <a:pt x="616" y="378"/>
                  </a:lnTo>
                  <a:lnTo>
                    <a:pt x="618" y="380"/>
                  </a:lnTo>
                  <a:lnTo>
                    <a:pt x="618" y="382"/>
                  </a:lnTo>
                  <a:lnTo>
                    <a:pt x="618" y="382"/>
                  </a:lnTo>
                  <a:lnTo>
                    <a:pt x="614" y="386"/>
                  </a:lnTo>
                  <a:lnTo>
                    <a:pt x="614" y="390"/>
                  </a:lnTo>
                  <a:lnTo>
                    <a:pt x="616" y="392"/>
                  </a:lnTo>
                  <a:lnTo>
                    <a:pt x="620" y="392"/>
                  </a:lnTo>
                  <a:lnTo>
                    <a:pt x="626" y="390"/>
                  </a:lnTo>
                  <a:lnTo>
                    <a:pt x="630" y="388"/>
                  </a:lnTo>
                  <a:lnTo>
                    <a:pt x="632" y="384"/>
                  </a:lnTo>
                  <a:lnTo>
                    <a:pt x="632" y="384"/>
                  </a:lnTo>
                  <a:lnTo>
                    <a:pt x="646" y="390"/>
                  </a:lnTo>
                  <a:lnTo>
                    <a:pt x="656" y="392"/>
                  </a:lnTo>
                  <a:lnTo>
                    <a:pt x="662" y="392"/>
                  </a:lnTo>
                  <a:lnTo>
                    <a:pt x="666" y="390"/>
                  </a:lnTo>
                  <a:lnTo>
                    <a:pt x="668" y="388"/>
                  </a:lnTo>
                  <a:lnTo>
                    <a:pt x="668" y="382"/>
                  </a:lnTo>
                  <a:lnTo>
                    <a:pt x="668" y="382"/>
                  </a:lnTo>
                  <a:lnTo>
                    <a:pt x="668" y="378"/>
                  </a:lnTo>
                  <a:lnTo>
                    <a:pt x="666" y="376"/>
                  </a:lnTo>
                  <a:lnTo>
                    <a:pt x="662" y="374"/>
                  </a:lnTo>
                  <a:lnTo>
                    <a:pt x="658" y="374"/>
                  </a:lnTo>
                  <a:lnTo>
                    <a:pt x="646" y="374"/>
                  </a:lnTo>
                  <a:lnTo>
                    <a:pt x="630" y="370"/>
                  </a:lnTo>
                  <a:lnTo>
                    <a:pt x="630" y="370"/>
                  </a:lnTo>
                  <a:lnTo>
                    <a:pt x="624" y="368"/>
                  </a:lnTo>
                  <a:lnTo>
                    <a:pt x="624" y="368"/>
                  </a:lnTo>
                  <a:lnTo>
                    <a:pt x="624" y="366"/>
                  </a:lnTo>
                  <a:lnTo>
                    <a:pt x="634" y="360"/>
                  </a:lnTo>
                  <a:lnTo>
                    <a:pt x="644" y="356"/>
                  </a:lnTo>
                  <a:lnTo>
                    <a:pt x="644" y="356"/>
                  </a:lnTo>
                  <a:lnTo>
                    <a:pt x="644" y="354"/>
                  </a:lnTo>
                  <a:lnTo>
                    <a:pt x="638" y="354"/>
                  </a:lnTo>
                  <a:lnTo>
                    <a:pt x="638" y="354"/>
                  </a:lnTo>
                  <a:lnTo>
                    <a:pt x="630" y="352"/>
                  </a:lnTo>
                  <a:lnTo>
                    <a:pt x="630" y="350"/>
                  </a:lnTo>
                  <a:lnTo>
                    <a:pt x="630" y="350"/>
                  </a:lnTo>
                  <a:lnTo>
                    <a:pt x="632" y="348"/>
                  </a:lnTo>
                  <a:lnTo>
                    <a:pt x="628" y="346"/>
                  </a:lnTo>
                  <a:lnTo>
                    <a:pt x="628" y="346"/>
                  </a:lnTo>
                  <a:lnTo>
                    <a:pt x="624" y="344"/>
                  </a:lnTo>
                  <a:lnTo>
                    <a:pt x="624" y="342"/>
                  </a:lnTo>
                  <a:lnTo>
                    <a:pt x="630" y="336"/>
                  </a:lnTo>
                  <a:lnTo>
                    <a:pt x="630" y="336"/>
                  </a:lnTo>
                  <a:lnTo>
                    <a:pt x="634" y="334"/>
                  </a:lnTo>
                  <a:lnTo>
                    <a:pt x="642" y="332"/>
                  </a:lnTo>
                  <a:lnTo>
                    <a:pt x="662" y="330"/>
                  </a:lnTo>
                  <a:lnTo>
                    <a:pt x="662" y="330"/>
                  </a:lnTo>
                  <a:lnTo>
                    <a:pt x="682" y="330"/>
                  </a:lnTo>
                  <a:lnTo>
                    <a:pt x="698" y="330"/>
                  </a:lnTo>
                  <a:lnTo>
                    <a:pt x="704" y="328"/>
                  </a:lnTo>
                  <a:lnTo>
                    <a:pt x="706" y="326"/>
                  </a:lnTo>
                  <a:lnTo>
                    <a:pt x="706" y="326"/>
                  </a:lnTo>
                  <a:lnTo>
                    <a:pt x="710" y="324"/>
                  </a:lnTo>
                  <a:lnTo>
                    <a:pt x="718" y="324"/>
                  </a:lnTo>
                  <a:lnTo>
                    <a:pt x="744" y="322"/>
                  </a:lnTo>
                  <a:lnTo>
                    <a:pt x="744" y="322"/>
                  </a:lnTo>
                  <a:lnTo>
                    <a:pt x="750" y="320"/>
                  </a:lnTo>
                  <a:lnTo>
                    <a:pt x="754" y="318"/>
                  </a:lnTo>
                  <a:lnTo>
                    <a:pt x="758" y="314"/>
                  </a:lnTo>
                  <a:lnTo>
                    <a:pt x="764" y="310"/>
                  </a:lnTo>
                  <a:lnTo>
                    <a:pt x="766" y="310"/>
                  </a:lnTo>
                  <a:lnTo>
                    <a:pt x="772" y="310"/>
                  </a:lnTo>
                  <a:lnTo>
                    <a:pt x="772" y="310"/>
                  </a:lnTo>
                  <a:lnTo>
                    <a:pt x="780" y="310"/>
                  </a:lnTo>
                  <a:lnTo>
                    <a:pt x="786" y="308"/>
                  </a:lnTo>
                  <a:lnTo>
                    <a:pt x="790" y="308"/>
                  </a:lnTo>
                  <a:lnTo>
                    <a:pt x="790" y="312"/>
                  </a:lnTo>
                  <a:lnTo>
                    <a:pt x="790" y="312"/>
                  </a:lnTo>
                  <a:lnTo>
                    <a:pt x="792" y="318"/>
                  </a:lnTo>
                  <a:lnTo>
                    <a:pt x="794" y="320"/>
                  </a:lnTo>
                  <a:lnTo>
                    <a:pt x="796" y="320"/>
                  </a:lnTo>
                  <a:lnTo>
                    <a:pt x="794" y="324"/>
                  </a:lnTo>
                  <a:lnTo>
                    <a:pt x="794" y="324"/>
                  </a:lnTo>
                  <a:lnTo>
                    <a:pt x="794" y="324"/>
                  </a:lnTo>
                  <a:lnTo>
                    <a:pt x="794" y="326"/>
                  </a:lnTo>
                  <a:lnTo>
                    <a:pt x="798" y="330"/>
                  </a:lnTo>
                  <a:lnTo>
                    <a:pt x="804" y="330"/>
                  </a:lnTo>
                  <a:lnTo>
                    <a:pt x="808" y="330"/>
                  </a:lnTo>
                  <a:lnTo>
                    <a:pt x="808" y="330"/>
                  </a:lnTo>
                  <a:lnTo>
                    <a:pt x="810" y="328"/>
                  </a:lnTo>
                  <a:lnTo>
                    <a:pt x="812" y="328"/>
                  </a:lnTo>
                  <a:lnTo>
                    <a:pt x="814" y="330"/>
                  </a:lnTo>
                  <a:lnTo>
                    <a:pt x="818" y="332"/>
                  </a:lnTo>
                  <a:lnTo>
                    <a:pt x="820" y="332"/>
                  </a:lnTo>
                  <a:lnTo>
                    <a:pt x="822" y="330"/>
                  </a:lnTo>
                  <a:lnTo>
                    <a:pt x="822" y="330"/>
                  </a:lnTo>
                  <a:lnTo>
                    <a:pt x="824" y="328"/>
                  </a:lnTo>
                  <a:lnTo>
                    <a:pt x="828" y="330"/>
                  </a:lnTo>
                  <a:lnTo>
                    <a:pt x="832" y="330"/>
                  </a:lnTo>
                  <a:lnTo>
                    <a:pt x="838" y="330"/>
                  </a:lnTo>
                  <a:lnTo>
                    <a:pt x="838" y="330"/>
                  </a:lnTo>
                  <a:lnTo>
                    <a:pt x="836" y="340"/>
                  </a:lnTo>
                  <a:lnTo>
                    <a:pt x="838" y="342"/>
                  </a:lnTo>
                  <a:lnTo>
                    <a:pt x="838" y="342"/>
                  </a:lnTo>
                  <a:lnTo>
                    <a:pt x="844" y="340"/>
                  </a:lnTo>
                  <a:lnTo>
                    <a:pt x="848" y="340"/>
                  </a:lnTo>
                  <a:lnTo>
                    <a:pt x="854" y="340"/>
                  </a:lnTo>
                  <a:lnTo>
                    <a:pt x="854" y="340"/>
                  </a:lnTo>
                  <a:lnTo>
                    <a:pt x="860" y="340"/>
                  </a:lnTo>
                  <a:lnTo>
                    <a:pt x="860" y="338"/>
                  </a:lnTo>
                  <a:lnTo>
                    <a:pt x="858" y="334"/>
                  </a:lnTo>
                  <a:lnTo>
                    <a:pt x="858" y="334"/>
                  </a:lnTo>
                  <a:lnTo>
                    <a:pt x="860" y="332"/>
                  </a:lnTo>
                  <a:lnTo>
                    <a:pt x="860" y="332"/>
                  </a:lnTo>
                  <a:lnTo>
                    <a:pt x="866" y="332"/>
                  </a:lnTo>
                  <a:lnTo>
                    <a:pt x="868" y="330"/>
                  </a:lnTo>
                  <a:lnTo>
                    <a:pt x="872" y="328"/>
                  </a:lnTo>
                  <a:lnTo>
                    <a:pt x="876" y="328"/>
                  </a:lnTo>
                  <a:lnTo>
                    <a:pt x="876" y="328"/>
                  </a:lnTo>
                  <a:lnTo>
                    <a:pt x="886" y="328"/>
                  </a:lnTo>
                  <a:lnTo>
                    <a:pt x="886" y="330"/>
                  </a:lnTo>
                  <a:lnTo>
                    <a:pt x="878" y="334"/>
                  </a:lnTo>
                  <a:lnTo>
                    <a:pt x="878" y="334"/>
                  </a:lnTo>
                  <a:lnTo>
                    <a:pt x="902" y="342"/>
                  </a:lnTo>
                  <a:lnTo>
                    <a:pt x="922" y="350"/>
                  </a:lnTo>
                  <a:lnTo>
                    <a:pt x="936" y="358"/>
                  </a:lnTo>
                  <a:lnTo>
                    <a:pt x="948" y="364"/>
                  </a:lnTo>
                  <a:lnTo>
                    <a:pt x="964" y="380"/>
                  </a:lnTo>
                  <a:lnTo>
                    <a:pt x="978" y="392"/>
                  </a:lnTo>
                  <a:lnTo>
                    <a:pt x="978" y="392"/>
                  </a:lnTo>
                  <a:lnTo>
                    <a:pt x="984" y="396"/>
                  </a:lnTo>
                  <a:lnTo>
                    <a:pt x="988" y="396"/>
                  </a:lnTo>
                  <a:lnTo>
                    <a:pt x="990" y="394"/>
                  </a:lnTo>
                  <a:lnTo>
                    <a:pt x="992" y="390"/>
                  </a:lnTo>
                  <a:lnTo>
                    <a:pt x="994" y="386"/>
                  </a:lnTo>
                  <a:lnTo>
                    <a:pt x="996" y="386"/>
                  </a:lnTo>
                  <a:lnTo>
                    <a:pt x="1000" y="392"/>
                  </a:lnTo>
                  <a:lnTo>
                    <a:pt x="1000" y="392"/>
                  </a:lnTo>
                  <a:lnTo>
                    <a:pt x="1004" y="396"/>
                  </a:lnTo>
                  <a:lnTo>
                    <a:pt x="1008" y="398"/>
                  </a:lnTo>
                  <a:lnTo>
                    <a:pt x="1014" y="396"/>
                  </a:lnTo>
                  <a:lnTo>
                    <a:pt x="1022" y="396"/>
                  </a:lnTo>
                  <a:lnTo>
                    <a:pt x="1034" y="392"/>
                  </a:lnTo>
                  <a:lnTo>
                    <a:pt x="1040" y="392"/>
                  </a:lnTo>
                  <a:lnTo>
                    <a:pt x="1044" y="396"/>
                  </a:lnTo>
                  <a:lnTo>
                    <a:pt x="1044" y="396"/>
                  </a:lnTo>
                  <a:lnTo>
                    <a:pt x="1048" y="402"/>
                  </a:lnTo>
                  <a:lnTo>
                    <a:pt x="1052" y="402"/>
                  </a:lnTo>
                  <a:lnTo>
                    <a:pt x="1056" y="404"/>
                  </a:lnTo>
                  <a:lnTo>
                    <a:pt x="1062" y="410"/>
                  </a:lnTo>
                  <a:lnTo>
                    <a:pt x="1062" y="410"/>
                  </a:lnTo>
                  <a:lnTo>
                    <a:pt x="1064" y="412"/>
                  </a:lnTo>
                  <a:lnTo>
                    <a:pt x="1066" y="414"/>
                  </a:lnTo>
                  <a:lnTo>
                    <a:pt x="1070" y="412"/>
                  </a:lnTo>
                  <a:lnTo>
                    <a:pt x="1074" y="412"/>
                  </a:lnTo>
                  <a:lnTo>
                    <a:pt x="1076" y="412"/>
                  </a:lnTo>
                  <a:lnTo>
                    <a:pt x="1080" y="416"/>
                  </a:lnTo>
                  <a:lnTo>
                    <a:pt x="1080" y="416"/>
                  </a:lnTo>
                  <a:lnTo>
                    <a:pt x="1084" y="418"/>
                  </a:lnTo>
                  <a:lnTo>
                    <a:pt x="1088" y="418"/>
                  </a:lnTo>
                  <a:lnTo>
                    <a:pt x="1092" y="418"/>
                  </a:lnTo>
                  <a:lnTo>
                    <a:pt x="1094" y="416"/>
                  </a:lnTo>
                  <a:lnTo>
                    <a:pt x="1094" y="416"/>
                  </a:lnTo>
                  <a:lnTo>
                    <a:pt x="1096" y="414"/>
                  </a:lnTo>
                  <a:lnTo>
                    <a:pt x="1098" y="412"/>
                  </a:lnTo>
                  <a:lnTo>
                    <a:pt x="1106" y="412"/>
                  </a:lnTo>
                  <a:lnTo>
                    <a:pt x="1106" y="412"/>
                  </a:lnTo>
                  <a:lnTo>
                    <a:pt x="1110" y="412"/>
                  </a:lnTo>
                  <a:lnTo>
                    <a:pt x="1112" y="412"/>
                  </a:lnTo>
                  <a:lnTo>
                    <a:pt x="1116" y="410"/>
                  </a:lnTo>
                  <a:lnTo>
                    <a:pt x="1124" y="410"/>
                  </a:lnTo>
                  <a:lnTo>
                    <a:pt x="1124" y="410"/>
                  </a:lnTo>
                  <a:lnTo>
                    <a:pt x="1130" y="412"/>
                  </a:lnTo>
                  <a:lnTo>
                    <a:pt x="1134" y="416"/>
                  </a:lnTo>
                  <a:lnTo>
                    <a:pt x="1138" y="420"/>
                  </a:lnTo>
                  <a:lnTo>
                    <a:pt x="1142" y="422"/>
                  </a:lnTo>
                  <a:lnTo>
                    <a:pt x="1142" y="422"/>
                  </a:lnTo>
                  <a:lnTo>
                    <a:pt x="1144" y="422"/>
                  </a:lnTo>
                  <a:lnTo>
                    <a:pt x="1144" y="424"/>
                  </a:lnTo>
                  <a:lnTo>
                    <a:pt x="1146" y="426"/>
                  </a:lnTo>
                  <a:lnTo>
                    <a:pt x="1154" y="426"/>
                  </a:lnTo>
                  <a:lnTo>
                    <a:pt x="1154" y="426"/>
                  </a:lnTo>
                  <a:lnTo>
                    <a:pt x="1158" y="426"/>
                  </a:lnTo>
                  <a:lnTo>
                    <a:pt x="1160" y="426"/>
                  </a:lnTo>
                  <a:lnTo>
                    <a:pt x="1160" y="426"/>
                  </a:lnTo>
                  <a:lnTo>
                    <a:pt x="1162" y="424"/>
                  </a:lnTo>
                  <a:lnTo>
                    <a:pt x="1162" y="420"/>
                  </a:lnTo>
                  <a:lnTo>
                    <a:pt x="1164" y="418"/>
                  </a:lnTo>
                  <a:lnTo>
                    <a:pt x="1168" y="416"/>
                  </a:lnTo>
                  <a:lnTo>
                    <a:pt x="1168" y="416"/>
                  </a:lnTo>
                  <a:lnTo>
                    <a:pt x="1172" y="414"/>
                  </a:lnTo>
                  <a:lnTo>
                    <a:pt x="1176" y="410"/>
                  </a:lnTo>
                  <a:lnTo>
                    <a:pt x="1178" y="408"/>
                  </a:lnTo>
                  <a:lnTo>
                    <a:pt x="1182" y="410"/>
                  </a:lnTo>
                  <a:lnTo>
                    <a:pt x="1182" y="410"/>
                  </a:lnTo>
                  <a:lnTo>
                    <a:pt x="1184" y="410"/>
                  </a:lnTo>
                  <a:lnTo>
                    <a:pt x="1184" y="410"/>
                  </a:lnTo>
                  <a:lnTo>
                    <a:pt x="1184" y="406"/>
                  </a:lnTo>
                  <a:lnTo>
                    <a:pt x="1186" y="402"/>
                  </a:lnTo>
                  <a:lnTo>
                    <a:pt x="1186" y="402"/>
                  </a:lnTo>
                  <a:lnTo>
                    <a:pt x="1188" y="402"/>
                  </a:lnTo>
                  <a:lnTo>
                    <a:pt x="1188" y="402"/>
                  </a:lnTo>
                  <a:lnTo>
                    <a:pt x="1192" y="402"/>
                  </a:lnTo>
                  <a:lnTo>
                    <a:pt x="1196" y="400"/>
                  </a:lnTo>
                  <a:lnTo>
                    <a:pt x="1200" y="398"/>
                  </a:lnTo>
                  <a:lnTo>
                    <a:pt x="1204" y="398"/>
                  </a:lnTo>
                  <a:lnTo>
                    <a:pt x="1204" y="398"/>
                  </a:lnTo>
                  <a:lnTo>
                    <a:pt x="1206" y="398"/>
                  </a:lnTo>
                  <a:lnTo>
                    <a:pt x="1210" y="394"/>
                  </a:lnTo>
                  <a:lnTo>
                    <a:pt x="1214" y="392"/>
                  </a:lnTo>
                  <a:lnTo>
                    <a:pt x="1216" y="390"/>
                  </a:lnTo>
                  <a:lnTo>
                    <a:pt x="1218" y="392"/>
                  </a:lnTo>
                  <a:lnTo>
                    <a:pt x="1218" y="392"/>
                  </a:lnTo>
                  <a:lnTo>
                    <a:pt x="1220" y="392"/>
                  </a:lnTo>
                  <a:lnTo>
                    <a:pt x="1222" y="392"/>
                  </a:lnTo>
                  <a:lnTo>
                    <a:pt x="1226" y="390"/>
                  </a:lnTo>
                  <a:lnTo>
                    <a:pt x="1230" y="388"/>
                  </a:lnTo>
                  <a:lnTo>
                    <a:pt x="1234" y="388"/>
                  </a:lnTo>
                  <a:lnTo>
                    <a:pt x="1236" y="388"/>
                  </a:lnTo>
                  <a:lnTo>
                    <a:pt x="1236" y="388"/>
                  </a:lnTo>
                  <a:lnTo>
                    <a:pt x="1238" y="392"/>
                  </a:lnTo>
                  <a:lnTo>
                    <a:pt x="1240" y="392"/>
                  </a:lnTo>
                  <a:lnTo>
                    <a:pt x="1246" y="392"/>
                  </a:lnTo>
                  <a:lnTo>
                    <a:pt x="1250" y="392"/>
                  </a:lnTo>
                  <a:lnTo>
                    <a:pt x="1254" y="394"/>
                  </a:lnTo>
                  <a:lnTo>
                    <a:pt x="1256" y="398"/>
                  </a:lnTo>
                  <a:lnTo>
                    <a:pt x="1256" y="398"/>
                  </a:lnTo>
                  <a:lnTo>
                    <a:pt x="1262" y="404"/>
                  </a:lnTo>
                  <a:lnTo>
                    <a:pt x="1264" y="404"/>
                  </a:lnTo>
                  <a:lnTo>
                    <a:pt x="1268" y="404"/>
                  </a:lnTo>
                  <a:lnTo>
                    <a:pt x="1272" y="404"/>
                  </a:lnTo>
                  <a:lnTo>
                    <a:pt x="1272" y="404"/>
                  </a:lnTo>
                  <a:lnTo>
                    <a:pt x="1276" y="406"/>
                  </a:lnTo>
                  <a:lnTo>
                    <a:pt x="1280" y="408"/>
                  </a:lnTo>
                  <a:lnTo>
                    <a:pt x="1286" y="408"/>
                  </a:lnTo>
                  <a:lnTo>
                    <a:pt x="1296" y="410"/>
                  </a:lnTo>
                  <a:lnTo>
                    <a:pt x="1296" y="410"/>
                  </a:lnTo>
                  <a:lnTo>
                    <a:pt x="1308" y="410"/>
                  </a:lnTo>
                  <a:lnTo>
                    <a:pt x="1314" y="408"/>
                  </a:lnTo>
                  <a:lnTo>
                    <a:pt x="1318" y="408"/>
                  </a:lnTo>
                  <a:lnTo>
                    <a:pt x="1320" y="408"/>
                  </a:lnTo>
                  <a:lnTo>
                    <a:pt x="1320" y="408"/>
                  </a:lnTo>
                  <a:lnTo>
                    <a:pt x="1324" y="408"/>
                  </a:lnTo>
                  <a:lnTo>
                    <a:pt x="1326" y="404"/>
                  </a:lnTo>
                  <a:lnTo>
                    <a:pt x="1328" y="402"/>
                  </a:lnTo>
                  <a:lnTo>
                    <a:pt x="1328" y="400"/>
                  </a:lnTo>
                  <a:lnTo>
                    <a:pt x="1326" y="398"/>
                  </a:lnTo>
                  <a:lnTo>
                    <a:pt x="1322" y="394"/>
                  </a:lnTo>
                  <a:lnTo>
                    <a:pt x="1322" y="394"/>
                  </a:lnTo>
                  <a:lnTo>
                    <a:pt x="1310" y="388"/>
                  </a:lnTo>
                  <a:lnTo>
                    <a:pt x="1308" y="386"/>
                  </a:lnTo>
                  <a:lnTo>
                    <a:pt x="1308" y="386"/>
                  </a:lnTo>
                  <a:lnTo>
                    <a:pt x="1312" y="384"/>
                  </a:lnTo>
                  <a:lnTo>
                    <a:pt x="1316" y="378"/>
                  </a:lnTo>
                  <a:lnTo>
                    <a:pt x="1316" y="378"/>
                  </a:lnTo>
                  <a:lnTo>
                    <a:pt x="1316" y="372"/>
                  </a:lnTo>
                  <a:lnTo>
                    <a:pt x="1314" y="368"/>
                  </a:lnTo>
                  <a:lnTo>
                    <a:pt x="1312" y="364"/>
                  </a:lnTo>
                  <a:lnTo>
                    <a:pt x="1312" y="360"/>
                  </a:lnTo>
                  <a:lnTo>
                    <a:pt x="1314" y="358"/>
                  </a:lnTo>
                  <a:lnTo>
                    <a:pt x="1314" y="358"/>
                  </a:lnTo>
                  <a:lnTo>
                    <a:pt x="1326" y="362"/>
                  </a:lnTo>
                  <a:lnTo>
                    <a:pt x="1336" y="364"/>
                  </a:lnTo>
                  <a:lnTo>
                    <a:pt x="1352" y="368"/>
                  </a:lnTo>
                  <a:lnTo>
                    <a:pt x="1352" y="368"/>
                  </a:lnTo>
                  <a:lnTo>
                    <a:pt x="1362" y="372"/>
                  </a:lnTo>
                  <a:lnTo>
                    <a:pt x="1368" y="376"/>
                  </a:lnTo>
                  <a:lnTo>
                    <a:pt x="1378" y="390"/>
                  </a:lnTo>
                  <a:lnTo>
                    <a:pt x="1382" y="396"/>
                  </a:lnTo>
                  <a:lnTo>
                    <a:pt x="1388" y="402"/>
                  </a:lnTo>
                  <a:lnTo>
                    <a:pt x="1398" y="404"/>
                  </a:lnTo>
                  <a:lnTo>
                    <a:pt x="1410" y="404"/>
                  </a:lnTo>
                  <a:lnTo>
                    <a:pt x="1410" y="404"/>
                  </a:lnTo>
                  <a:lnTo>
                    <a:pt x="1434" y="400"/>
                  </a:lnTo>
                  <a:lnTo>
                    <a:pt x="1442" y="402"/>
                  </a:lnTo>
                  <a:lnTo>
                    <a:pt x="1446" y="402"/>
                  </a:lnTo>
                  <a:lnTo>
                    <a:pt x="1454" y="402"/>
                  </a:lnTo>
                  <a:lnTo>
                    <a:pt x="1454" y="402"/>
                  </a:lnTo>
                  <a:lnTo>
                    <a:pt x="1466" y="402"/>
                  </a:lnTo>
                  <a:lnTo>
                    <a:pt x="1472" y="404"/>
                  </a:lnTo>
                  <a:lnTo>
                    <a:pt x="1474" y="408"/>
                  </a:lnTo>
                  <a:lnTo>
                    <a:pt x="1478" y="410"/>
                  </a:lnTo>
                  <a:lnTo>
                    <a:pt x="1480" y="414"/>
                  </a:lnTo>
                  <a:lnTo>
                    <a:pt x="1486" y="416"/>
                  </a:lnTo>
                  <a:lnTo>
                    <a:pt x="1494" y="416"/>
                  </a:lnTo>
                  <a:lnTo>
                    <a:pt x="1506" y="414"/>
                  </a:lnTo>
                  <a:lnTo>
                    <a:pt x="1506" y="414"/>
                  </a:lnTo>
                  <a:lnTo>
                    <a:pt x="1524" y="414"/>
                  </a:lnTo>
                  <a:lnTo>
                    <a:pt x="1540" y="414"/>
                  </a:lnTo>
                  <a:lnTo>
                    <a:pt x="1554" y="414"/>
                  </a:lnTo>
                  <a:lnTo>
                    <a:pt x="1572" y="410"/>
                  </a:lnTo>
                  <a:lnTo>
                    <a:pt x="1572" y="410"/>
                  </a:lnTo>
                  <a:lnTo>
                    <a:pt x="1588" y="404"/>
                  </a:lnTo>
                  <a:lnTo>
                    <a:pt x="1600" y="402"/>
                  </a:lnTo>
                  <a:lnTo>
                    <a:pt x="1614" y="402"/>
                  </a:lnTo>
                  <a:lnTo>
                    <a:pt x="1632" y="406"/>
                  </a:lnTo>
                  <a:lnTo>
                    <a:pt x="1632" y="406"/>
                  </a:lnTo>
                  <a:lnTo>
                    <a:pt x="1656" y="412"/>
                  </a:lnTo>
                  <a:lnTo>
                    <a:pt x="1656" y="412"/>
                  </a:lnTo>
                  <a:lnTo>
                    <a:pt x="1672" y="414"/>
                  </a:lnTo>
                  <a:lnTo>
                    <a:pt x="1682" y="414"/>
                  </a:lnTo>
                  <a:lnTo>
                    <a:pt x="1690" y="410"/>
                  </a:lnTo>
                  <a:lnTo>
                    <a:pt x="1694" y="406"/>
                  </a:lnTo>
                  <a:lnTo>
                    <a:pt x="1696" y="398"/>
                  </a:lnTo>
                  <a:lnTo>
                    <a:pt x="1698" y="392"/>
                  </a:lnTo>
                  <a:lnTo>
                    <a:pt x="1700" y="380"/>
                  </a:lnTo>
                  <a:lnTo>
                    <a:pt x="1700" y="380"/>
                  </a:lnTo>
                  <a:lnTo>
                    <a:pt x="1704" y="370"/>
                  </a:lnTo>
                  <a:lnTo>
                    <a:pt x="1708" y="364"/>
                  </a:lnTo>
                  <a:lnTo>
                    <a:pt x="1708" y="360"/>
                  </a:lnTo>
                  <a:lnTo>
                    <a:pt x="1708" y="358"/>
                  </a:lnTo>
                  <a:lnTo>
                    <a:pt x="1704" y="356"/>
                  </a:lnTo>
                  <a:lnTo>
                    <a:pt x="1696" y="356"/>
                  </a:lnTo>
                  <a:lnTo>
                    <a:pt x="1696" y="356"/>
                  </a:lnTo>
                  <a:lnTo>
                    <a:pt x="1686" y="356"/>
                  </a:lnTo>
                  <a:lnTo>
                    <a:pt x="1684" y="354"/>
                  </a:lnTo>
                  <a:lnTo>
                    <a:pt x="1682" y="352"/>
                  </a:lnTo>
                  <a:lnTo>
                    <a:pt x="1684" y="350"/>
                  </a:lnTo>
                  <a:lnTo>
                    <a:pt x="1686" y="348"/>
                  </a:lnTo>
                  <a:lnTo>
                    <a:pt x="1692" y="346"/>
                  </a:lnTo>
                  <a:lnTo>
                    <a:pt x="1700" y="346"/>
                  </a:lnTo>
                  <a:lnTo>
                    <a:pt x="1700" y="346"/>
                  </a:lnTo>
                  <a:lnTo>
                    <a:pt x="1710" y="344"/>
                  </a:lnTo>
                  <a:lnTo>
                    <a:pt x="1716" y="342"/>
                  </a:lnTo>
                  <a:lnTo>
                    <a:pt x="1724" y="338"/>
                  </a:lnTo>
                  <a:lnTo>
                    <a:pt x="1742" y="338"/>
                  </a:lnTo>
                  <a:lnTo>
                    <a:pt x="1742" y="338"/>
                  </a:lnTo>
                  <a:lnTo>
                    <a:pt x="1756" y="338"/>
                  </a:lnTo>
                  <a:lnTo>
                    <a:pt x="1768" y="340"/>
                  </a:lnTo>
                  <a:lnTo>
                    <a:pt x="1782" y="344"/>
                  </a:lnTo>
                  <a:lnTo>
                    <a:pt x="1794" y="348"/>
                  </a:lnTo>
                  <a:lnTo>
                    <a:pt x="1808" y="354"/>
                  </a:lnTo>
                  <a:lnTo>
                    <a:pt x="1820" y="362"/>
                  </a:lnTo>
                  <a:lnTo>
                    <a:pt x="1834" y="372"/>
                  </a:lnTo>
                  <a:lnTo>
                    <a:pt x="1848" y="384"/>
                  </a:lnTo>
                  <a:lnTo>
                    <a:pt x="1848" y="384"/>
                  </a:lnTo>
                  <a:lnTo>
                    <a:pt x="1862" y="394"/>
                  </a:lnTo>
                  <a:lnTo>
                    <a:pt x="1874" y="402"/>
                  </a:lnTo>
                  <a:lnTo>
                    <a:pt x="1884" y="408"/>
                  </a:lnTo>
                  <a:lnTo>
                    <a:pt x="1896" y="412"/>
                  </a:lnTo>
                  <a:lnTo>
                    <a:pt x="1916" y="418"/>
                  </a:lnTo>
                  <a:lnTo>
                    <a:pt x="1926" y="422"/>
                  </a:lnTo>
                  <a:lnTo>
                    <a:pt x="1936" y="428"/>
                  </a:lnTo>
                  <a:lnTo>
                    <a:pt x="1936" y="428"/>
                  </a:lnTo>
                  <a:lnTo>
                    <a:pt x="1948" y="434"/>
                  </a:lnTo>
                  <a:lnTo>
                    <a:pt x="1956" y="438"/>
                  </a:lnTo>
                  <a:lnTo>
                    <a:pt x="1964" y="440"/>
                  </a:lnTo>
                  <a:lnTo>
                    <a:pt x="1970" y="440"/>
                  </a:lnTo>
                  <a:lnTo>
                    <a:pt x="1976" y="440"/>
                  </a:lnTo>
                  <a:lnTo>
                    <a:pt x="1980" y="436"/>
                  </a:lnTo>
                  <a:lnTo>
                    <a:pt x="1992" y="430"/>
                  </a:lnTo>
                  <a:lnTo>
                    <a:pt x="1992" y="430"/>
                  </a:lnTo>
                  <a:lnTo>
                    <a:pt x="1998" y="426"/>
                  </a:lnTo>
                  <a:lnTo>
                    <a:pt x="2006" y="426"/>
                  </a:lnTo>
                  <a:lnTo>
                    <a:pt x="2012" y="428"/>
                  </a:lnTo>
                  <a:lnTo>
                    <a:pt x="2016" y="430"/>
                  </a:lnTo>
                  <a:lnTo>
                    <a:pt x="2022" y="434"/>
                  </a:lnTo>
                  <a:lnTo>
                    <a:pt x="2024" y="440"/>
                  </a:lnTo>
                  <a:lnTo>
                    <a:pt x="2024" y="444"/>
                  </a:lnTo>
                  <a:lnTo>
                    <a:pt x="2020" y="450"/>
                  </a:lnTo>
                  <a:lnTo>
                    <a:pt x="2020" y="450"/>
                  </a:lnTo>
                  <a:lnTo>
                    <a:pt x="2018" y="454"/>
                  </a:lnTo>
                  <a:lnTo>
                    <a:pt x="2020" y="458"/>
                  </a:lnTo>
                  <a:lnTo>
                    <a:pt x="2026" y="464"/>
                  </a:lnTo>
                  <a:lnTo>
                    <a:pt x="2030" y="466"/>
                  </a:lnTo>
                  <a:lnTo>
                    <a:pt x="2032" y="470"/>
                  </a:lnTo>
                  <a:lnTo>
                    <a:pt x="2030" y="474"/>
                  </a:lnTo>
                  <a:lnTo>
                    <a:pt x="2024" y="480"/>
                  </a:lnTo>
                  <a:lnTo>
                    <a:pt x="2024" y="480"/>
                  </a:lnTo>
                  <a:lnTo>
                    <a:pt x="2022" y="482"/>
                  </a:lnTo>
                  <a:lnTo>
                    <a:pt x="2020" y="484"/>
                  </a:lnTo>
                  <a:lnTo>
                    <a:pt x="2020" y="490"/>
                  </a:lnTo>
                  <a:lnTo>
                    <a:pt x="2020" y="492"/>
                  </a:lnTo>
                  <a:lnTo>
                    <a:pt x="2018" y="496"/>
                  </a:lnTo>
                  <a:lnTo>
                    <a:pt x="2012" y="500"/>
                  </a:lnTo>
                  <a:lnTo>
                    <a:pt x="2004" y="508"/>
                  </a:lnTo>
                  <a:lnTo>
                    <a:pt x="2004" y="508"/>
                  </a:lnTo>
                  <a:lnTo>
                    <a:pt x="2000" y="510"/>
                  </a:lnTo>
                  <a:lnTo>
                    <a:pt x="2000" y="512"/>
                  </a:lnTo>
                  <a:lnTo>
                    <a:pt x="2006" y="518"/>
                  </a:lnTo>
                  <a:lnTo>
                    <a:pt x="2016" y="524"/>
                  </a:lnTo>
                  <a:lnTo>
                    <a:pt x="2020" y="530"/>
                  </a:lnTo>
                  <a:lnTo>
                    <a:pt x="2022" y="536"/>
                  </a:lnTo>
                  <a:lnTo>
                    <a:pt x="2022" y="536"/>
                  </a:lnTo>
                  <a:lnTo>
                    <a:pt x="2024" y="546"/>
                  </a:lnTo>
                  <a:lnTo>
                    <a:pt x="2028" y="552"/>
                  </a:lnTo>
                  <a:lnTo>
                    <a:pt x="2032" y="556"/>
                  </a:lnTo>
                  <a:lnTo>
                    <a:pt x="2032" y="556"/>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9" name="Slovakia"/>
            <p:cNvSpPr>
              <a:spLocks/>
            </p:cNvSpPr>
            <p:nvPr/>
          </p:nvSpPr>
          <p:spPr bwMode="auto">
            <a:xfrm>
              <a:off x="4560059" y="2046552"/>
              <a:ext cx="119063" cy="52917"/>
            </a:xfrm>
            <a:custGeom>
              <a:avLst/>
              <a:gdLst/>
              <a:ahLst/>
              <a:cxnLst>
                <a:cxn ang="0">
                  <a:pos x="26" y="2"/>
                </a:cxn>
                <a:cxn ang="0">
                  <a:pos x="36" y="4"/>
                </a:cxn>
                <a:cxn ang="0">
                  <a:pos x="38" y="0"/>
                </a:cxn>
                <a:cxn ang="0">
                  <a:pos x="42" y="4"/>
                </a:cxn>
                <a:cxn ang="0">
                  <a:pos x="48" y="6"/>
                </a:cxn>
                <a:cxn ang="0">
                  <a:pos x="52" y="4"/>
                </a:cxn>
                <a:cxn ang="0">
                  <a:pos x="56" y="6"/>
                </a:cxn>
                <a:cxn ang="0">
                  <a:pos x="60" y="8"/>
                </a:cxn>
                <a:cxn ang="0">
                  <a:pos x="62" y="6"/>
                </a:cxn>
                <a:cxn ang="0">
                  <a:pos x="66" y="2"/>
                </a:cxn>
                <a:cxn ang="0">
                  <a:pos x="70" y="4"/>
                </a:cxn>
                <a:cxn ang="0">
                  <a:pos x="82" y="10"/>
                </a:cxn>
                <a:cxn ang="0">
                  <a:pos x="90" y="10"/>
                </a:cxn>
                <a:cxn ang="0">
                  <a:pos x="90" y="16"/>
                </a:cxn>
                <a:cxn ang="0">
                  <a:pos x="88" y="20"/>
                </a:cxn>
                <a:cxn ang="0">
                  <a:pos x="88" y="22"/>
                </a:cxn>
                <a:cxn ang="0">
                  <a:pos x="88" y="24"/>
                </a:cxn>
                <a:cxn ang="0">
                  <a:pos x="72" y="22"/>
                </a:cxn>
                <a:cxn ang="0">
                  <a:pos x="66" y="20"/>
                </a:cxn>
                <a:cxn ang="0">
                  <a:pos x="62" y="24"/>
                </a:cxn>
                <a:cxn ang="0">
                  <a:pos x="58" y="24"/>
                </a:cxn>
                <a:cxn ang="0">
                  <a:pos x="50" y="26"/>
                </a:cxn>
                <a:cxn ang="0">
                  <a:pos x="44" y="30"/>
                </a:cxn>
                <a:cxn ang="0">
                  <a:pos x="26" y="34"/>
                </a:cxn>
                <a:cxn ang="0">
                  <a:pos x="24" y="34"/>
                </a:cxn>
                <a:cxn ang="0">
                  <a:pos x="24" y="38"/>
                </a:cxn>
                <a:cxn ang="0">
                  <a:pos x="22" y="40"/>
                </a:cxn>
                <a:cxn ang="0">
                  <a:pos x="12" y="40"/>
                </a:cxn>
                <a:cxn ang="0">
                  <a:pos x="6" y="40"/>
                </a:cxn>
                <a:cxn ang="0">
                  <a:pos x="0" y="38"/>
                </a:cxn>
                <a:cxn ang="0">
                  <a:pos x="0" y="28"/>
                </a:cxn>
                <a:cxn ang="0">
                  <a:pos x="2" y="26"/>
                </a:cxn>
                <a:cxn ang="0">
                  <a:pos x="10" y="20"/>
                </a:cxn>
                <a:cxn ang="0">
                  <a:pos x="18" y="16"/>
                </a:cxn>
                <a:cxn ang="0">
                  <a:pos x="20" y="8"/>
                </a:cxn>
                <a:cxn ang="0">
                  <a:pos x="26" y="2"/>
                </a:cxn>
              </a:cxnLst>
              <a:rect l="0" t="0" r="r" b="b"/>
              <a:pathLst>
                <a:path w="90" h="40">
                  <a:moveTo>
                    <a:pt x="26" y="2"/>
                  </a:moveTo>
                  <a:lnTo>
                    <a:pt x="26" y="2"/>
                  </a:lnTo>
                  <a:lnTo>
                    <a:pt x="34" y="6"/>
                  </a:lnTo>
                  <a:lnTo>
                    <a:pt x="36" y="4"/>
                  </a:lnTo>
                  <a:lnTo>
                    <a:pt x="36" y="4"/>
                  </a:lnTo>
                  <a:lnTo>
                    <a:pt x="38" y="0"/>
                  </a:lnTo>
                  <a:lnTo>
                    <a:pt x="42" y="4"/>
                  </a:lnTo>
                  <a:lnTo>
                    <a:pt x="42" y="4"/>
                  </a:lnTo>
                  <a:lnTo>
                    <a:pt x="46" y="6"/>
                  </a:lnTo>
                  <a:lnTo>
                    <a:pt x="48" y="6"/>
                  </a:lnTo>
                  <a:lnTo>
                    <a:pt x="50" y="4"/>
                  </a:lnTo>
                  <a:lnTo>
                    <a:pt x="52" y="4"/>
                  </a:lnTo>
                  <a:lnTo>
                    <a:pt x="52" y="4"/>
                  </a:lnTo>
                  <a:lnTo>
                    <a:pt x="56" y="6"/>
                  </a:lnTo>
                  <a:lnTo>
                    <a:pt x="60" y="8"/>
                  </a:lnTo>
                  <a:lnTo>
                    <a:pt x="60" y="8"/>
                  </a:lnTo>
                  <a:lnTo>
                    <a:pt x="62" y="6"/>
                  </a:lnTo>
                  <a:lnTo>
                    <a:pt x="62" y="6"/>
                  </a:lnTo>
                  <a:lnTo>
                    <a:pt x="62" y="4"/>
                  </a:lnTo>
                  <a:lnTo>
                    <a:pt x="66" y="2"/>
                  </a:lnTo>
                  <a:lnTo>
                    <a:pt x="66" y="2"/>
                  </a:lnTo>
                  <a:lnTo>
                    <a:pt x="70" y="4"/>
                  </a:lnTo>
                  <a:lnTo>
                    <a:pt x="76" y="6"/>
                  </a:lnTo>
                  <a:lnTo>
                    <a:pt x="82" y="10"/>
                  </a:lnTo>
                  <a:lnTo>
                    <a:pt x="90" y="10"/>
                  </a:lnTo>
                  <a:lnTo>
                    <a:pt x="90" y="10"/>
                  </a:lnTo>
                  <a:lnTo>
                    <a:pt x="90" y="12"/>
                  </a:lnTo>
                  <a:lnTo>
                    <a:pt x="90" y="16"/>
                  </a:lnTo>
                  <a:lnTo>
                    <a:pt x="90" y="16"/>
                  </a:lnTo>
                  <a:lnTo>
                    <a:pt x="88" y="20"/>
                  </a:lnTo>
                  <a:lnTo>
                    <a:pt x="88" y="22"/>
                  </a:lnTo>
                  <a:lnTo>
                    <a:pt x="88" y="22"/>
                  </a:lnTo>
                  <a:lnTo>
                    <a:pt x="88" y="24"/>
                  </a:lnTo>
                  <a:lnTo>
                    <a:pt x="88" y="24"/>
                  </a:lnTo>
                  <a:lnTo>
                    <a:pt x="80" y="26"/>
                  </a:lnTo>
                  <a:lnTo>
                    <a:pt x="72" y="22"/>
                  </a:lnTo>
                  <a:lnTo>
                    <a:pt x="72" y="22"/>
                  </a:lnTo>
                  <a:lnTo>
                    <a:pt x="66" y="20"/>
                  </a:lnTo>
                  <a:lnTo>
                    <a:pt x="64" y="22"/>
                  </a:lnTo>
                  <a:lnTo>
                    <a:pt x="62" y="24"/>
                  </a:lnTo>
                  <a:lnTo>
                    <a:pt x="58" y="24"/>
                  </a:lnTo>
                  <a:lnTo>
                    <a:pt x="58" y="24"/>
                  </a:lnTo>
                  <a:lnTo>
                    <a:pt x="54" y="24"/>
                  </a:lnTo>
                  <a:lnTo>
                    <a:pt x="50" y="26"/>
                  </a:lnTo>
                  <a:lnTo>
                    <a:pt x="44" y="30"/>
                  </a:lnTo>
                  <a:lnTo>
                    <a:pt x="44" y="30"/>
                  </a:lnTo>
                  <a:lnTo>
                    <a:pt x="36" y="32"/>
                  </a:lnTo>
                  <a:lnTo>
                    <a:pt x="26" y="34"/>
                  </a:lnTo>
                  <a:lnTo>
                    <a:pt x="26" y="34"/>
                  </a:lnTo>
                  <a:lnTo>
                    <a:pt x="24" y="34"/>
                  </a:lnTo>
                  <a:lnTo>
                    <a:pt x="22" y="36"/>
                  </a:lnTo>
                  <a:lnTo>
                    <a:pt x="24" y="38"/>
                  </a:lnTo>
                  <a:lnTo>
                    <a:pt x="24" y="38"/>
                  </a:lnTo>
                  <a:lnTo>
                    <a:pt x="22" y="40"/>
                  </a:lnTo>
                  <a:lnTo>
                    <a:pt x="20" y="40"/>
                  </a:lnTo>
                  <a:lnTo>
                    <a:pt x="12" y="40"/>
                  </a:lnTo>
                  <a:lnTo>
                    <a:pt x="12" y="40"/>
                  </a:lnTo>
                  <a:lnTo>
                    <a:pt x="6" y="40"/>
                  </a:lnTo>
                  <a:lnTo>
                    <a:pt x="0" y="38"/>
                  </a:lnTo>
                  <a:lnTo>
                    <a:pt x="0" y="38"/>
                  </a:lnTo>
                  <a:lnTo>
                    <a:pt x="0" y="32"/>
                  </a:lnTo>
                  <a:lnTo>
                    <a:pt x="0" y="28"/>
                  </a:lnTo>
                  <a:lnTo>
                    <a:pt x="0" y="28"/>
                  </a:lnTo>
                  <a:lnTo>
                    <a:pt x="2" y="26"/>
                  </a:lnTo>
                  <a:lnTo>
                    <a:pt x="6" y="22"/>
                  </a:lnTo>
                  <a:lnTo>
                    <a:pt x="10" y="20"/>
                  </a:lnTo>
                  <a:lnTo>
                    <a:pt x="10" y="20"/>
                  </a:lnTo>
                  <a:lnTo>
                    <a:pt x="18" y="16"/>
                  </a:lnTo>
                  <a:lnTo>
                    <a:pt x="18" y="12"/>
                  </a:lnTo>
                  <a:lnTo>
                    <a:pt x="20" y="8"/>
                  </a:lnTo>
                  <a:lnTo>
                    <a:pt x="26" y="2"/>
                  </a:lnTo>
                  <a:lnTo>
                    <a:pt x="26" y="2"/>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0" name="South Africa"/>
            <p:cNvSpPr>
              <a:spLocks/>
            </p:cNvSpPr>
            <p:nvPr/>
          </p:nvSpPr>
          <p:spPr bwMode="auto">
            <a:xfrm>
              <a:off x="4570643" y="4372240"/>
              <a:ext cx="452438" cy="404813"/>
            </a:xfrm>
            <a:custGeom>
              <a:avLst/>
              <a:gdLst/>
              <a:ahLst/>
              <a:cxnLst>
                <a:cxn ang="0">
                  <a:pos x="292" y="0"/>
                </a:cxn>
                <a:cxn ang="0">
                  <a:pos x="312" y="4"/>
                </a:cxn>
                <a:cxn ang="0">
                  <a:pos x="326" y="6"/>
                </a:cxn>
                <a:cxn ang="0">
                  <a:pos x="332" y="44"/>
                </a:cxn>
                <a:cxn ang="0">
                  <a:pos x="326" y="74"/>
                </a:cxn>
                <a:cxn ang="0">
                  <a:pos x="310" y="84"/>
                </a:cxn>
                <a:cxn ang="0">
                  <a:pos x="300" y="102"/>
                </a:cxn>
                <a:cxn ang="0">
                  <a:pos x="308" y="118"/>
                </a:cxn>
                <a:cxn ang="0">
                  <a:pos x="328" y="122"/>
                </a:cxn>
                <a:cxn ang="0">
                  <a:pos x="328" y="112"/>
                </a:cxn>
                <a:cxn ang="0">
                  <a:pos x="336" y="134"/>
                </a:cxn>
                <a:cxn ang="0">
                  <a:pos x="318" y="158"/>
                </a:cxn>
                <a:cxn ang="0">
                  <a:pos x="294" y="188"/>
                </a:cxn>
                <a:cxn ang="0">
                  <a:pos x="266" y="222"/>
                </a:cxn>
                <a:cxn ang="0">
                  <a:pos x="246" y="246"/>
                </a:cxn>
                <a:cxn ang="0">
                  <a:pos x="226" y="270"/>
                </a:cxn>
                <a:cxn ang="0">
                  <a:pos x="196" y="284"/>
                </a:cxn>
                <a:cxn ang="0">
                  <a:pos x="184" y="290"/>
                </a:cxn>
                <a:cxn ang="0">
                  <a:pos x="174" y="294"/>
                </a:cxn>
                <a:cxn ang="0">
                  <a:pos x="164" y="298"/>
                </a:cxn>
                <a:cxn ang="0">
                  <a:pos x="142" y="294"/>
                </a:cxn>
                <a:cxn ang="0">
                  <a:pos x="128" y="292"/>
                </a:cxn>
                <a:cxn ang="0">
                  <a:pos x="116" y="298"/>
                </a:cxn>
                <a:cxn ang="0">
                  <a:pos x="104" y="300"/>
                </a:cxn>
                <a:cxn ang="0">
                  <a:pos x="86" y="304"/>
                </a:cxn>
                <a:cxn ang="0">
                  <a:pos x="68" y="304"/>
                </a:cxn>
                <a:cxn ang="0">
                  <a:pos x="50" y="294"/>
                </a:cxn>
                <a:cxn ang="0">
                  <a:pos x="52" y="304"/>
                </a:cxn>
                <a:cxn ang="0">
                  <a:pos x="42" y="296"/>
                </a:cxn>
                <a:cxn ang="0">
                  <a:pos x="38" y="282"/>
                </a:cxn>
                <a:cxn ang="0">
                  <a:pos x="36" y="270"/>
                </a:cxn>
                <a:cxn ang="0">
                  <a:pos x="40" y="256"/>
                </a:cxn>
                <a:cxn ang="0">
                  <a:pos x="40" y="236"/>
                </a:cxn>
                <a:cxn ang="0">
                  <a:pos x="30" y="222"/>
                </a:cxn>
                <a:cxn ang="0">
                  <a:pos x="16" y="198"/>
                </a:cxn>
                <a:cxn ang="0">
                  <a:pos x="10" y="160"/>
                </a:cxn>
                <a:cxn ang="0">
                  <a:pos x="12" y="144"/>
                </a:cxn>
                <a:cxn ang="0">
                  <a:pos x="28" y="142"/>
                </a:cxn>
                <a:cxn ang="0">
                  <a:pos x="38" y="158"/>
                </a:cxn>
                <a:cxn ang="0">
                  <a:pos x="56" y="156"/>
                </a:cxn>
                <a:cxn ang="0">
                  <a:pos x="72" y="146"/>
                </a:cxn>
                <a:cxn ang="0">
                  <a:pos x="90" y="72"/>
                </a:cxn>
                <a:cxn ang="0">
                  <a:pos x="106" y="94"/>
                </a:cxn>
                <a:cxn ang="0">
                  <a:pos x="102" y="112"/>
                </a:cxn>
                <a:cxn ang="0">
                  <a:pos x="118" y="112"/>
                </a:cxn>
                <a:cxn ang="0">
                  <a:pos x="126" y="106"/>
                </a:cxn>
                <a:cxn ang="0">
                  <a:pos x="130" y="106"/>
                </a:cxn>
                <a:cxn ang="0">
                  <a:pos x="142" y="94"/>
                </a:cxn>
                <a:cxn ang="0">
                  <a:pos x="142" y="86"/>
                </a:cxn>
                <a:cxn ang="0">
                  <a:pos x="164" y="78"/>
                </a:cxn>
                <a:cxn ang="0">
                  <a:pos x="174" y="84"/>
                </a:cxn>
                <a:cxn ang="0">
                  <a:pos x="192" y="82"/>
                </a:cxn>
                <a:cxn ang="0">
                  <a:pos x="212" y="62"/>
                </a:cxn>
                <a:cxn ang="0">
                  <a:pos x="230" y="46"/>
                </a:cxn>
                <a:cxn ang="0">
                  <a:pos x="246" y="24"/>
                </a:cxn>
                <a:cxn ang="0">
                  <a:pos x="268" y="8"/>
                </a:cxn>
                <a:cxn ang="0">
                  <a:pos x="278" y="4"/>
                </a:cxn>
              </a:cxnLst>
              <a:rect l="0" t="0" r="r" b="b"/>
              <a:pathLst>
                <a:path w="342" h="306">
                  <a:moveTo>
                    <a:pt x="282" y="2"/>
                  </a:moveTo>
                  <a:lnTo>
                    <a:pt x="282" y="2"/>
                  </a:lnTo>
                  <a:lnTo>
                    <a:pt x="286" y="0"/>
                  </a:lnTo>
                  <a:lnTo>
                    <a:pt x="292" y="0"/>
                  </a:lnTo>
                  <a:lnTo>
                    <a:pt x="298" y="2"/>
                  </a:lnTo>
                  <a:lnTo>
                    <a:pt x="306" y="4"/>
                  </a:lnTo>
                  <a:lnTo>
                    <a:pt x="312" y="4"/>
                  </a:lnTo>
                  <a:lnTo>
                    <a:pt x="312" y="4"/>
                  </a:lnTo>
                  <a:lnTo>
                    <a:pt x="320" y="4"/>
                  </a:lnTo>
                  <a:lnTo>
                    <a:pt x="324" y="6"/>
                  </a:lnTo>
                  <a:lnTo>
                    <a:pt x="326" y="6"/>
                  </a:lnTo>
                  <a:lnTo>
                    <a:pt x="326" y="6"/>
                  </a:lnTo>
                  <a:lnTo>
                    <a:pt x="332" y="18"/>
                  </a:lnTo>
                  <a:lnTo>
                    <a:pt x="332" y="22"/>
                  </a:lnTo>
                  <a:lnTo>
                    <a:pt x="330" y="30"/>
                  </a:lnTo>
                  <a:lnTo>
                    <a:pt x="332" y="44"/>
                  </a:lnTo>
                  <a:lnTo>
                    <a:pt x="332" y="44"/>
                  </a:lnTo>
                  <a:lnTo>
                    <a:pt x="332" y="58"/>
                  </a:lnTo>
                  <a:lnTo>
                    <a:pt x="330" y="66"/>
                  </a:lnTo>
                  <a:lnTo>
                    <a:pt x="326" y="74"/>
                  </a:lnTo>
                  <a:lnTo>
                    <a:pt x="322" y="88"/>
                  </a:lnTo>
                  <a:lnTo>
                    <a:pt x="322" y="88"/>
                  </a:lnTo>
                  <a:lnTo>
                    <a:pt x="314" y="84"/>
                  </a:lnTo>
                  <a:lnTo>
                    <a:pt x="310" y="84"/>
                  </a:lnTo>
                  <a:lnTo>
                    <a:pt x="308" y="88"/>
                  </a:lnTo>
                  <a:lnTo>
                    <a:pt x="304" y="94"/>
                  </a:lnTo>
                  <a:lnTo>
                    <a:pt x="304" y="94"/>
                  </a:lnTo>
                  <a:lnTo>
                    <a:pt x="300" y="102"/>
                  </a:lnTo>
                  <a:lnTo>
                    <a:pt x="300" y="108"/>
                  </a:lnTo>
                  <a:lnTo>
                    <a:pt x="300" y="112"/>
                  </a:lnTo>
                  <a:lnTo>
                    <a:pt x="308" y="118"/>
                  </a:lnTo>
                  <a:lnTo>
                    <a:pt x="308" y="118"/>
                  </a:lnTo>
                  <a:lnTo>
                    <a:pt x="316" y="122"/>
                  </a:lnTo>
                  <a:lnTo>
                    <a:pt x="320" y="124"/>
                  </a:lnTo>
                  <a:lnTo>
                    <a:pt x="324" y="124"/>
                  </a:lnTo>
                  <a:lnTo>
                    <a:pt x="328" y="122"/>
                  </a:lnTo>
                  <a:lnTo>
                    <a:pt x="328" y="122"/>
                  </a:lnTo>
                  <a:lnTo>
                    <a:pt x="330" y="120"/>
                  </a:lnTo>
                  <a:lnTo>
                    <a:pt x="330" y="116"/>
                  </a:lnTo>
                  <a:lnTo>
                    <a:pt x="328" y="112"/>
                  </a:lnTo>
                  <a:lnTo>
                    <a:pt x="330" y="110"/>
                  </a:lnTo>
                  <a:lnTo>
                    <a:pt x="342" y="110"/>
                  </a:lnTo>
                  <a:lnTo>
                    <a:pt x="342" y="110"/>
                  </a:lnTo>
                  <a:lnTo>
                    <a:pt x="336" y="134"/>
                  </a:lnTo>
                  <a:lnTo>
                    <a:pt x="332" y="148"/>
                  </a:lnTo>
                  <a:lnTo>
                    <a:pt x="328" y="154"/>
                  </a:lnTo>
                  <a:lnTo>
                    <a:pt x="326" y="156"/>
                  </a:lnTo>
                  <a:lnTo>
                    <a:pt x="318" y="158"/>
                  </a:lnTo>
                  <a:lnTo>
                    <a:pt x="318" y="158"/>
                  </a:lnTo>
                  <a:lnTo>
                    <a:pt x="312" y="160"/>
                  </a:lnTo>
                  <a:lnTo>
                    <a:pt x="306" y="168"/>
                  </a:lnTo>
                  <a:lnTo>
                    <a:pt x="294" y="188"/>
                  </a:lnTo>
                  <a:lnTo>
                    <a:pt x="282" y="210"/>
                  </a:lnTo>
                  <a:lnTo>
                    <a:pt x="274" y="218"/>
                  </a:lnTo>
                  <a:lnTo>
                    <a:pt x="266" y="222"/>
                  </a:lnTo>
                  <a:lnTo>
                    <a:pt x="266" y="222"/>
                  </a:lnTo>
                  <a:lnTo>
                    <a:pt x="262" y="224"/>
                  </a:lnTo>
                  <a:lnTo>
                    <a:pt x="260" y="226"/>
                  </a:lnTo>
                  <a:lnTo>
                    <a:pt x="252" y="236"/>
                  </a:lnTo>
                  <a:lnTo>
                    <a:pt x="246" y="246"/>
                  </a:lnTo>
                  <a:lnTo>
                    <a:pt x="240" y="252"/>
                  </a:lnTo>
                  <a:lnTo>
                    <a:pt x="240" y="252"/>
                  </a:lnTo>
                  <a:lnTo>
                    <a:pt x="234" y="260"/>
                  </a:lnTo>
                  <a:lnTo>
                    <a:pt x="226" y="270"/>
                  </a:lnTo>
                  <a:lnTo>
                    <a:pt x="222" y="274"/>
                  </a:lnTo>
                  <a:lnTo>
                    <a:pt x="214" y="278"/>
                  </a:lnTo>
                  <a:lnTo>
                    <a:pt x="206" y="282"/>
                  </a:lnTo>
                  <a:lnTo>
                    <a:pt x="196" y="284"/>
                  </a:lnTo>
                  <a:lnTo>
                    <a:pt x="196" y="284"/>
                  </a:lnTo>
                  <a:lnTo>
                    <a:pt x="192" y="284"/>
                  </a:lnTo>
                  <a:lnTo>
                    <a:pt x="188" y="286"/>
                  </a:lnTo>
                  <a:lnTo>
                    <a:pt x="184" y="290"/>
                  </a:lnTo>
                  <a:lnTo>
                    <a:pt x="180" y="294"/>
                  </a:lnTo>
                  <a:lnTo>
                    <a:pt x="178" y="294"/>
                  </a:lnTo>
                  <a:lnTo>
                    <a:pt x="174" y="294"/>
                  </a:lnTo>
                  <a:lnTo>
                    <a:pt x="174" y="294"/>
                  </a:lnTo>
                  <a:lnTo>
                    <a:pt x="170" y="292"/>
                  </a:lnTo>
                  <a:lnTo>
                    <a:pt x="168" y="294"/>
                  </a:lnTo>
                  <a:lnTo>
                    <a:pt x="166" y="296"/>
                  </a:lnTo>
                  <a:lnTo>
                    <a:pt x="164" y="298"/>
                  </a:lnTo>
                  <a:lnTo>
                    <a:pt x="158" y="296"/>
                  </a:lnTo>
                  <a:lnTo>
                    <a:pt x="158" y="296"/>
                  </a:lnTo>
                  <a:lnTo>
                    <a:pt x="148" y="294"/>
                  </a:lnTo>
                  <a:lnTo>
                    <a:pt x="142" y="294"/>
                  </a:lnTo>
                  <a:lnTo>
                    <a:pt x="136" y="294"/>
                  </a:lnTo>
                  <a:lnTo>
                    <a:pt x="136" y="294"/>
                  </a:lnTo>
                  <a:lnTo>
                    <a:pt x="132" y="294"/>
                  </a:lnTo>
                  <a:lnTo>
                    <a:pt x="128" y="292"/>
                  </a:lnTo>
                  <a:lnTo>
                    <a:pt x="122" y="292"/>
                  </a:lnTo>
                  <a:lnTo>
                    <a:pt x="118" y="294"/>
                  </a:lnTo>
                  <a:lnTo>
                    <a:pt x="118" y="294"/>
                  </a:lnTo>
                  <a:lnTo>
                    <a:pt x="116" y="298"/>
                  </a:lnTo>
                  <a:lnTo>
                    <a:pt x="112" y="300"/>
                  </a:lnTo>
                  <a:lnTo>
                    <a:pt x="108" y="300"/>
                  </a:lnTo>
                  <a:lnTo>
                    <a:pt x="104" y="300"/>
                  </a:lnTo>
                  <a:lnTo>
                    <a:pt x="104" y="300"/>
                  </a:lnTo>
                  <a:lnTo>
                    <a:pt x="100" y="302"/>
                  </a:lnTo>
                  <a:lnTo>
                    <a:pt x="98" y="300"/>
                  </a:lnTo>
                  <a:lnTo>
                    <a:pt x="94" y="300"/>
                  </a:lnTo>
                  <a:lnTo>
                    <a:pt x="86" y="304"/>
                  </a:lnTo>
                  <a:lnTo>
                    <a:pt x="86" y="304"/>
                  </a:lnTo>
                  <a:lnTo>
                    <a:pt x="80" y="306"/>
                  </a:lnTo>
                  <a:lnTo>
                    <a:pt x="74" y="306"/>
                  </a:lnTo>
                  <a:lnTo>
                    <a:pt x="68" y="304"/>
                  </a:lnTo>
                  <a:lnTo>
                    <a:pt x="64" y="302"/>
                  </a:lnTo>
                  <a:lnTo>
                    <a:pt x="56" y="296"/>
                  </a:lnTo>
                  <a:lnTo>
                    <a:pt x="54" y="294"/>
                  </a:lnTo>
                  <a:lnTo>
                    <a:pt x="50" y="294"/>
                  </a:lnTo>
                  <a:lnTo>
                    <a:pt x="50" y="294"/>
                  </a:lnTo>
                  <a:lnTo>
                    <a:pt x="48" y="296"/>
                  </a:lnTo>
                  <a:lnTo>
                    <a:pt x="50" y="300"/>
                  </a:lnTo>
                  <a:lnTo>
                    <a:pt x="52" y="304"/>
                  </a:lnTo>
                  <a:lnTo>
                    <a:pt x="52" y="304"/>
                  </a:lnTo>
                  <a:lnTo>
                    <a:pt x="46" y="300"/>
                  </a:lnTo>
                  <a:lnTo>
                    <a:pt x="44" y="298"/>
                  </a:lnTo>
                  <a:lnTo>
                    <a:pt x="42" y="296"/>
                  </a:lnTo>
                  <a:lnTo>
                    <a:pt x="42" y="294"/>
                  </a:lnTo>
                  <a:lnTo>
                    <a:pt x="42" y="288"/>
                  </a:lnTo>
                  <a:lnTo>
                    <a:pt x="42" y="284"/>
                  </a:lnTo>
                  <a:lnTo>
                    <a:pt x="38" y="282"/>
                  </a:lnTo>
                  <a:lnTo>
                    <a:pt x="38" y="282"/>
                  </a:lnTo>
                  <a:lnTo>
                    <a:pt x="36" y="278"/>
                  </a:lnTo>
                  <a:lnTo>
                    <a:pt x="36" y="274"/>
                  </a:lnTo>
                  <a:lnTo>
                    <a:pt x="36" y="270"/>
                  </a:lnTo>
                  <a:lnTo>
                    <a:pt x="32" y="264"/>
                  </a:lnTo>
                  <a:lnTo>
                    <a:pt x="32" y="264"/>
                  </a:lnTo>
                  <a:lnTo>
                    <a:pt x="38" y="260"/>
                  </a:lnTo>
                  <a:lnTo>
                    <a:pt x="40" y="256"/>
                  </a:lnTo>
                  <a:lnTo>
                    <a:pt x="38" y="250"/>
                  </a:lnTo>
                  <a:lnTo>
                    <a:pt x="38" y="250"/>
                  </a:lnTo>
                  <a:lnTo>
                    <a:pt x="38" y="244"/>
                  </a:lnTo>
                  <a:lnTo>
                    <a:pt x="40" y="236"/>
                  </a:lnTo>
                  <a:lnTo>
                    <a:pt x="40" y="234"/>
                  </a:lnTo>
                  <a:lnTo>
                    <a:pt x="38" y="230"/>
                  </a:lnTo>
                  <a:lnTo>
                    <a:pt x="36" y="226"/>
                  </a:lnTo>
                  <a:lnTo>
                    <a:pt x="30" y="222"/>
                  </a:lnTo>
                  <a:lnTo>
                    <a:pt x="30" y="222"/>
                  </a:lnTo>
                  <a:lnTo>
                    <a:pt x="24" y="216"/>
                  </a:lnTo>
                  <a:lnTo>
                    <a:pt x="20" y="206"/>
                  </a:lnTo>
                  <a:lnTo>
                    <a:pt x="16" y="198"/>
                  </a:lnTo>
                  <a:lnTo>
                    <a:pt x="14" y="186"/>
                  </a:lnTo>
                  <a:lnTo>
                    <a:pt x="12" y="170"/>
                  </a:lnTo>
                  <a:lnTo>
                    <a:pt x="10" y="162"/>
                  </a:lnTo>
                  <a:lnTo>
                    <a:pt x="10" y="160"/>
                  </a:lnTo>
                  <a:lnTo>
                    <a:pt x="10" y="160"/>
                  </a:lnTo>
                  <a:lnTo>
                    <a:pt x="0" y="152"/>
                  </a:lnTo>
                  <a:lnTo>
                    <a:pt x="0" y="152"/>
                  </a:lnTo>
                  <a:lnTo>
                    <a:pt x="12" y="144"/>
                  </a:lnTo>
                  <a:lnTo>
                    <a:pt x="18" y="142"/>
                  </a:lnTo>
                  <a:lnTo>
                    <a:pt x="24" y="140"/>
                  </a:lnTo>
                  <a:lnTo>
                    <a:pt x="24" y="140"/>
                  </a:lnTo>
                  <a:lnTo>
                    <a:pt x="28" y="142"/>
                  </a:lnTo>
                  <a:lnTo>
                    <a:pt x="28" y="144"/>
                  </a:lnTo>
                  <a:lnTo>
                    <a:pt x="30" y="150"/>
                  </a:lnTo>
                  <a:lnTo>
                    <a:pt x="34" y="156"/>
                  </a:lnTo>
                  <a:lnTo>
                    <a:pt x="38" y="158"/>
                  </a:lnTo>
                  <a:lnTo>
                    <a:pt x="42" y="158"/>
                  </a:lnTo>
                  <a:lnTo>
                    <a:pt x="42" y="158"/>
                  </a:lnTo>
                  <a:lnTo>
                    <a:pt x="50" y="158"/>
                  </a:lnTo>
                  <a:lnTo>
                    <a:pt x="56" y="156"/>
                  </a:lnTo>
                  <a:lnTo>
                    <a:pt x="60" y="154"/>
                  </a:lnTo>
                  <a:lnTo>
                    <a:pt x="64" y="152"/>
                  </a:lnTo>
                  <a:lnTo>
                    <a:pt x="68" y="148"/>
                  </a:lnTo>
                  <a:lnTo>
                    <a:pt x="72" y="146"/>
                  </a:lnTo>
                  <a:lnTo>
                    <a:pt x="76" y="146"/>
                  </a:lnTo>
                  <a:lnTo>
                    <a:pt x="80" y="68"/>
                  </a:lnTo>
                  <a:lnTo>
                    <a:pt x="80" y="68"/>
                  </a:lnTo>
                  <a:lnTo>
                    <a:pt x="90" y="72"/>
                  </a:lnTo>
                  <a:lnTo>
                    <a:pt x="96" y="76"/>
                  </a:lnTo>
                  <a:lnTo>
                    <a:pt x="100" y="80"/>
                  </a:lnTo>
                  <a:lnTo>
                    <a:pt x="104" y="86"/>
                  </a:lnTo>
                  <a:lnTo>
                    <a:pt x="106" y="94"/>
                  </a:lnTo>
                  <a:lnTo>
                    <a:pt x="106" y="100"/>
                  </a:lnTo>
                  <a:lnTo>
                    <a:pt x="106" y="100"/>
                  </a:lnTo>
                  <a:lnTo>
                    <a:pt x="102" y="110"/>
                  </a:lnTo>
                  <a:lnTo>
                    <a:pt x="102" y="112"/>
                  </a:lnTo>
                  <a:lnTo>
                    <a:pt x="108" y="112"/>
                  </a:lnTo>
                  <a:lnTo>
                    <a:pt x="108" y="112"/>
                  </a:lnTo>
                  <a:lnTo>
                    <a:pt x="114" y="112"/>
                  </a:lnTo>
                  <a:lnTo>
                    <a:pt x="118" y="112"/>
                  </a:lnTo>
                  <a:lnTo>
                    <a:pt x="122" y="112"/>
                  </a:lnTo>
                  <a:lnTo>
                    <a:pt x="122" y="110"/>
                  </a:lnTo>
                  <a:lnTo>
                    <a:pt x="122" y="110"/>
                  </a:lnTo>
                  <a:lnTo>
                    <a:pt x="126" y="106"/>
                  </a:lnTo>
                  <a:lnTo>
                    <a:pt x="128" y="108"/>
                  </a:lnTo>
                  <a:lnTo>
                    <a:pt x="128" y="108"/>
                  </a:lnTo>
                  <a:lnTo>
                    <a:pt x="130" y="106"/>
                  </a:lnTo>
                  <a:lnTo>
                    <a:pt x="130" y="106"/>
                  </a:lnTo>
                  <a:lnTo>
                    <a:pt x="134" y="100"/>
                  </a:lnTo>
                  <a:lnTo>
                    <a:pt x="138" y="96"/>
                  </a:lnTo>
                  <a:lnTo>
                    <a:pt x="142" y="94"/>
                  </a:lnTo>
                  <a:lnTo>
                    <a:pt x="142" y="94"/>
                  </a:lnTo>
                  <a:lnTo>
                    <a:pt x="142" y="92"/>
                  </a:lnTo>
                  <a:lnTo>
                    <a:pt x="142" y="92"/>
                  </a:lnTo>
                  <a:lnTo>
                    <a:pt x="140" y="90"/>
                  </a:lnTo>
                  <a:lnTo>
                    <a:pt x="142" y="86"/>
                  </a:lnTo>
                  <a:lnTo>
                    <a:pt x="146" y="82"/>
                  </a:lnTo>
                  <a:lnTo>
                    <a:pt x="154" y="78"/>
                  </a:lnTo>
                  <a:lnTo>
                    <a:pt x="164" y="78"/>
                  </a:lnTo>
                  <a:lnTo>
                    <a:pt x="164" y="78"/>
                  </a:lnTo>
                  <a:lnTo>
                    <a:pt x="168" y="78"/>
                  </a:lnTo>
                  <a:lnTo>
                    <a:pt x="168" y="80"/>
                  </a:lnTo>
                  <a:lnTo>
                    <a:pt x="168" y="82"/>
                  </a:lnTo>
                  <a:lnTo>
                    <a:pt x="174" y="84"/>
                  </a:lnTo>
                  <a:lnTo>
                    <a:pt x="174" y="84"/>
                  </a:lnTo>
                  <a:lnTo>
                    <a:pt x="180" y="86"/>
                  </a:lnTo>
                  <a:lnTo>
                    <a:pt x="184" y="86"/>
                  </a:lnTo>
                  <a:lnTo>
                    <a:pt x="192" y="82"/>
                  </a:lnTo>
                  <a:lnTo>
                    <a:pt x="198" y="80"/>
                  </a:lnTo>
                  <a:lnTo>
                    <a:pt x="206" y="78"/>
                  </a:lnTo>
                  <a:lnTo>
                    <a:pt x="206" y="78"/>
                  </a:lnTo>
                  <a:lnTo>
                    <a:pt x="212" y="62"/>
                  </a:lnTo>
                  <a:lnTo>
                    <a:pt x="218" y="56"/>
                  </a:lnTo>
                  <a:lnTo>
                    <a:pt x="224" y="52"/>
                  </a:lnTo>
                  <a:lnTo>
                    <a:pt x="230" y="46"/>
                  </a:lnTo>
                  <a:lnTo>
                    <a:pt x="230" y="46"/>
                  </a:lnTo>
                  <a:lnTo>
                    <a:pt x="238" y="32"/>
                  </a:lnTo>
                  <a:lnTo>
                    <a:pt x="242" y="26"/>
                  </a:lnTo>
                  <a:lnTo>
                    <a:pt x="246" y="24"/>
                  </a:lnTo>
                  <a:lnTo>
                    <a:pt x="246" y="24"/>
                  </a:lnTo>
                  <a:lnTo>
                    <a:pt x="256" y="18"/>
                  </a:lnTo>
                  <a:lnTo>
                    <a:pt x="260" y="14"/>
                  </a:lnTo>
                  <a:lnTo>
                    <a:pt x="262" y="10"/>
                  </a:lnTo>
                  <a:lnTo>
                    <a:pt x="268" y="8"/>
                  </a:lnTo>
                  <a:lnTo>
                    <a:pt x="268" y="8"/>
                  </a:lnTo>
                  <a:lnTo>
                    <a:pt x="274" y="8"/>
                  </a:lnTo>
                  <a:lnTo>
                    <a:pt x="276" y="6"/>
                  </a:lnTo>
                  <a:lnTo>
                    <a:pt x="278" y="4"/>
                  </a:lnTo>
                  <a:lnTo>
                    <a:pt x="282" y="2"/>
                  </a:lnTo>
                  <a:lnTo>
                    <a:pt x="282" y="2"/>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1" name="South Korea"/>
            <p:cNvSpPr>
              <a:spLocks/>
            </p:cNvSpPr>
            <p:nvPr/>
          </p:nvSpPr>
          <p:spPr bwMode="auto">
            <a:xfrm>
              <a:off x="7372580" y="2345531"/>
              <a:ext cx="111125" cy="142875"/>
            </a:xfrm>
            <a:custGeom>
              <a:avLst/>
              <a:gdLst/>
              <a:ahLst/>
              <a:cxnLst>
                <a:cxn ang="0">
                  <a:pos x="0" y="26"/>
                </a:cxn>
                <a:cxn ang="0">
                  <a:pos x="6" y="28"/>
                </a:cxn>
                <a:cxn ang="0">
                  <a:pos x="10" y="32"/>
                </a:cxn>
                <a:cxn ang="0">
                  <a:pos x="8" y="34"/>
                </a:cxn>
                <a:cxn ang="0">
                  <a:pos x="8" y="36"/>
                </a:cxn>
                <a:cxn ang="0">
                  <a:pos x="16" y="42"/>
                </a:cxn>
                <a:cxn ang="0">
                  <a:pos x="12" y="40"/>
                </a:cxn>
                <a:cxn ang="0">
                  <a:pos x="8" y="40"/>
                </a:cxn>
                <a:cxn ang="0">
                  <a:pos x="4" y="40"/>
                </a:cxn>
                <a:cxn ang="0">
                  <a:pos x="2" y="44"/>
                </a:cxn>
                <a:cxn ang="0">
                  <a:pos x="2" y="48"/>
                </a:cxn>
                <a:cxn ang="0">
                  <a:pos x="8" y="48"/>
                </a:cxn>
                <a:cxn ang="0">
                  <a:pos x="14" y="56"/>
                </a:cxn>
                <a:cxn ang="0">
                  <a:pos x="16" y="60"/>
                </a:cxn>
                <a:cxn ang="0">
                  <a:pos x="18" y="64"/>
                </a:cxn>
                <a:cxn ang="0">
                  <a:pos x="20" y="64"/>
                </a:cxn>
                <a:cxn ang="0">
                  <a:pos x="22" y="68"/>
                </a:cxn>
                <a:cxn ang="0">
                  <a:pos x="24" y="70"/>
                </a:cxn>
                <a:cxn ang="0">
                  <a:pos x="20" y="76"/>
                </a:cxn>
                <a:cxn ang="0">
                  <a:pos x="24" y="76"/>
                </a:cxn>
                <a:cxn ang="0">
                  <a:pos x="20" y="80"/>
                </a:cxn>
                <a:cxn ang="0">
                  <a:pos x="20" y="90"/>
                </a:cxn>
                <a:cxn ang="0">
                  <a:pos x="24" y="92"/>
                </a:cxn>
                <a:cxn ang="0">
                  <a:pos x="24" y="98"/>
                </a:cxn>
                <a:cxn ang="0">
                  <a:pos x="26" y="98"/>
                </a:cxn>
                <a:cxn ang="0">
                  <a:pos x="28" y="100"/>
                </a:cxn>
                <a:cxn ang="0">
                  <a:pos x="28" y="106"/>
                </a:cxn>
                <a:cxn ang="0">
                  <a:pos x="30" y="108"/>
                </a:cxn>
                <a:cxn ang="0">
                  <a:pos x="36" y="104"/>
                </a:cxn>
                <a:cxn ang="0">
                  <a:pos x="42" y="102"/>
                </a:cxn>
                <a:cxn ang="0">
                  <a:pos x="48" y="98"/>
                </a:cxn>
                <a:cxn ang="0">
                  <a:pos x="46" y="100"/>
                </a:cxn>
                <a:cxn ang="0">
                  <a:pos x="52" y="100"/>
                </a:cxn>
                <a:cxn ang="0">
                  <a:pos x="52" y="98"/>
                </a:cxn>
                <a:cxn ang="0">
                  <a:pos x="52" y="98"/>
                </a:cxn>
                <a:cxn ang="0">
                  <a:pos x="58" y="98"/>
                </a:cxn>
                <a:cxn ang="0">
                  <a:pos x="58" y="94"/>
                </a:cxn>
                <a:cxn ang="0">
                  <a:pos x="62" y="92"/>
                </a:cxn>
                <a:cxn ang="0">
                  <a:pos x="64" y="96"/>
                </a:cxn>
                <a:cxn ang="0">
                  <a:pos x="68" y="96"/>
                </a:cxn>
                <a:cxn ang="0">
                  <a:pos x="70" y="98"/>
                </a:cxn>
                <a:cxn ang="0">
                  <a:pos x="74" y="96"/>
                </a:cxn>
                <a:cxn ang="0">
                  <a:pos x="68" y="96"/>
                </a:cxn>
                <a:cxn ang="0">
                  <a:pos x="68" y="94"/>
                </a:cxn>
                <a:cxn ang="0">
                  <a:pos x="70" y="92"/>
                </a:cxn>
                <a:cxn ang="0">
                  <a:pos x="78" y="90"/>
                </a:cxn>
                <a:cxn ang="0">
                  <a:pos x="82" y="82"/>
                </a:cxn>
                <a:cxn ang="0">
                  <a:pos x="84" y="76"/>
                </a:cxn>
                <a:cxn ang="0">
                  <a:pos x="80" y="64"/>
                </a:cxn>
                <a:cxn ang="0">
                  <a:pos x="78" y="62"/>
                </a:cxn>
                <a:cxn ang="0">
                  <a:pos x="76" y="58"/>
                </a:cxn>
                <a:cxn ang="0">
                  <a:pos x="74" y="46"/>
                </a:cxn>
                <a:cxn ang="0">
                  <a:pos x="56" y="20"/>
                </a:cxn>
                <a:cxn ang="0">
                  <a:pos x="44" y="12"/>
                </a:cxn>
                <a:cxn ang="0">
                  <a:pos x="28" y="2"/>
                </a:cxn>
                <a:cxn ang="0">
                  <a:pos x="20" y="6"/>
                </a:cxn>
                <a:cxn ang="0">
                  <a:pos x="8" y="12"/>
                </a:cxn>
              </a:cxnLst>
              <a:rect l="0" t="0" r="r" b="b"/>
              <a:pathLst>
                <a:path w="84" h="108">
                  <a:moveTo>
                    <a:pt x="0" y="22"/>
                  </a:moveTo>
                  <a:lnTo>
                    <a:pt x="0" y="22"/>
                  </a:lnTo>
                  <a:lnTo>
                    <a:pt x="0" y="26"/>
                  </a:lnTo>
                  <a:lnTo>
                    <a:pt x="4" y="28"/>
                  </a:lnTo>
                  <a:lnTo>
                    <a:pt x="4" y="28"/>
                  </a:lnTo>
                  <a:lnTo>
                    <a:pt x="6" y="28"/>
                  </a:lnTo>
                  <a:lnTo>
                    <a:pt x="6" y="30"/>
                  </a:lnTo>
                  <a:lnTo>
                    <a:pt x="8" y="32"/>
                  </a:lnTo>
                  <a:lnTo>
                    <a:pt x="10" y="32"/>
                  </a:lnTo>
                  <a:lnTo>
                    <a:pt x="10" y="32"/>
                  </a:lnTo>
                  <a:lnTo>
                    <a:pt x="10" y="32"/>
                  </a:lnTo>
                  <a:lnTo>
                    <a:pt x="8" y="34"/>
                  </a:lnTo>
                  <a:lnTo>
                    <a:pt x="6" y="36"/>
                  </a:lnTo>
                  <a:lnTo>
                    <a:pt x="8" y="36"/>
                  </a:lnTo>
                  <a:lnTo>
                    <a:pt x="8" y="36"/>
                  </a:lnTo>
                  <a:lnTo>
                    <a:pt x="16" y="40"/>
                  </a:lnTo>
                  <a:lnTo>
                    <a:pt x="18" y="40"/>
                  </a:lnTo>
                  <a:lnTo>
                    <a:pt x="16" y="42"/>
                  </a:lnTo>
                  <a:lnTo>
                    <a:pt x="16" y="42"/>
                  </a:lnTo>
                  <a:lnTo>
                    <a:pt x="14" y="42"/>
                  </a:lnTo>
                  <a:lnTo>
                    <a:pt x="12" y="40"/>
                  </a:lnTo>
                  <a:lnTo>
                    <a:pt x="10" y="40"/>
                  </a:lnTo>
                  <a:lnTo>
                    <a:pt x="8" y="40"/>
                  </a:lnTo>
                  <a:lnTo>
                    <a:pt x="8" y="40"/>
                  </a:lnTo>
                  <a:lnTo>
                    <a:pt x="8" y="40"/>
                  </a:lnTo>
                  <a:lnTo>
                    <a:pt x="4" y="40"/>
                  </a:lnTo>
                  <a:lnTo>
                    <a:pt x="4" y="40"/>
                  </a:lnTo>
                  <a:lnTo>
                    <a:pt x="2" y="42"/>
                  </a:lnTo>
                  <a:lnTo>
                    <a:pt x="2" y="42"/>
                  </a:lnTo>
                  <a:lnTo>
                    <a:pt x="2" y="44"/>
                  </a:lnTo>
                  <a:lnTo>
                    <a:pt x="2" y="46"/>
                  </a:lnTo>
                  <a:lnTo>
                    <a:pt x="2" y="46"/>
                  </a:lnTo>
                  <a:lnTo>
                    <a:pt x="2" y="48"/>
                  </a:lnTo>
                  <a:lnTo>
                    <a:pt x="2" y="48"/>
                  </a:lnTo>
                  <a:lnTo>
                    <a:pt x="6" y="48"/>
                  </a:lnTo>
                  <a:lnTo>
                    <a:pt x="8" y="48"/>
                  </a:lnTo>
                  <a:lnTo>
                    <a:pt x="8" y="48"/>
                  </a:lnTo>
                  <a:lnTo>
                    <a:pt x="14" y="56"/>
                  </a:lnTo>
                  <a:lnTo>
                    <a:pt x="14" y="56"/>
                  </a:lnTo>
                  <a:lnTo>
                    <a:pt x="14" y="58"/>
                  </a:lnTo>
                  <a:lnTo>
                    <a:pt x="16" y="60"/>
                  </a:lnTo>
                  <a:lnTo>
                    <a:pt x="16" y="60"/>
                  </a:lnTo>
                  <a:lnTo>
                    <a:pt x="18" y="60"/>
                  </a:lnTo>
                  <a:lnTo>
                    <a:pt x="18" y="62"/>
                  </a:lnTo>
                  <a:lnTo>
                    <a:pt x="18" y="64"/>
                  </a:lnTo>
                  <a:lnTo>
                    <a:pt x="20" y="64"/>
                  </a:lnTo>
                  <a:lnTo>
                    <a:pt x="20" y="64"/>
                  </a:lnTo>
                  <a:lnTo>
                    <a:pt x="20" y="64"/>
                  </a:lnTo>
                  <a:lnTo>
                    <a:pt x="20" y="64"/>
                  </a:lnTo>
                  <a:lnTo>
                    <a:pt x="18" y="66"/>
                  </a:lnTo>
                  <a:lnTo>
                    <a:pt x="22" y="68"/>
                  </a:lnTo>
                  <a:lnTo>
                    <a:pt x="22" y="68"/>
                  </a:lnTo>
                  <a:lnTo>
                    <a:pt x="24" y="70"/>
                  </a:lnTo>
                  <a:lnTo>
                    <a:pt x="24" y="70"/>
                  </a:lnTo>
                  <a:lnTo>
                    <a:pt x="20" y="72"/>
                  </a:lnTo>
                  <a:lnTo>
                    <a:pt x="20" y="72"/>
                  </a:lnTo>
                  <a:lnTo>
                    <a:pt x="20" y="76"/>
                  </a:lnTo>
                  <a:lnTo>
                    <a:pt x="22" y="76"/>
                  </a:lnTo>
                  <a:lnTo>
                    <a:pt x="22" y="76"/>
                  </a:lnTo>
                  <a:lnTo>
                    <a:pt x="24" y="76"/>
                  </a:lnTo>
                  <a:lnTo>
                    <a:pt x="22" y="76"/>
                  </a:lnTo>
                  <a:lnTo>
                    <a:pt x="22" y="78"/>
                  </a:lnTo>
                  <a:lnTo>
                    <a:pt x="20" y="80"/>
                  </a:lnTo>
                  <a:lnTo>
                    <a:pt x="20" y="80"/>
                  </a:lnTo>
                  <a:lnTo>
                    <a:pt x="20" y="86"/>
                  </a:lnTo>
                  <a:lnTo>
                    <a:pt x="20" y="90"/>
                  </a:lnTo>
                  <a:lnTo>
                    <a:pt x="22" y="92"/>
                  </a:lnTo>
                  <a:lnTo>
                    <a:pt x="22" y="92"/>
                  </a:lnTo>
                  <a:lnTo>
                    <a:pt x="24" y="92"/>
                  </a:lnTo>
                  <a:lnTo>
                    <a:pt x="24" y="94"/>
                  </a:lnTo>
                  <a:lnTo>
                    <a:pt x="24" y="94"/>
                  </a:lnTo>
                  <a:lnTo>
                    <a:pt x="24" y="98"/>
                  </a:lnTo>
                  <a:lnTo>
                    <a:pt x="26" y="98"/>
                  </a:lnTo>
                  <a:lnTo>
                    <a:pt x="26" y="98"/>
                  </a:lnTo>
                  <a:lnTo>
                    <a:pt x="26" y="98"/>
                  </a:lnTo>
                  <a:lnTo>
                    <a:pt x="26" y="100"/>
                  </a:lnTo>
                  <a:lnTo>
                    <a:pt x="28" y="100"/>
                  </a:lnTo>
                  <a:lnTo>
                    <a:pt x="28" y="100"/>
                  </a:lnTo>
                  <a:lnTo>
                    <a:pt x="28" y="100"/>
                  </a:lnTo>
                  <a:lnTo>
                    <a:pt x="28" y="102"/>
                  </a:lnTo>
                  <a:lnTo>
                    <a:pt x="28" y="106"/>
                  </a:lnTo>
                  <a:lnTo>
                    <a:pt x="28" y="106"/>
                  </a:lnTo>
                  <a:lnTo>
                    <a:pt x="28" y="108"/>
                  </a:lnTo>
                  <a:lnTo>
                    <a:pt x="30" y="108"/>
                  </a:lnTo>
                  <a:lnTo>
                    <a:pt x="32" y="108"/>
                  </a:lnTo>
                  <a:lnTo>
                    <a:pt x="36" y="104"/>
                  </a:lnTo>
                  <a:lnTo>
                    <a:pt x="36" y="104"/>
                  </a:lnTo>
                  <a:lnTo>
                    <a:pt x="38" y="104"/>
                  </a:lnTo>
                  <a:lnTo>
                    <a:pt x="40" y="104"/>
                  </a:lnTo>
                  <a:lnTo>
                    <a:pt x="42" y="102"/>
                  </a:lnTo>
                  <a:lnTo>
                    <a:pt x="42" y="102"/>
                  </a:lnTo>
                  <a:lnTo>
                    <a:pt x="46" y="98"/>
                  </a:lnTo>
                  <a:lnTo>
                    <a:pt x="48" y="98"/>
                  </a:lnTo>
                  <a:lnTo>
                    <a:pt x="48" y="98"/>
                  </a:lnTo>
                  <a:lnTo>
                    <a:pt x="48" y="100"/>
                  </a:lnTo>
                  <a:lnTo>
                    <a:pt x="46" y="100"/>
                  </a:lnTo>
                  <a:lnTo>
                    <a:pt x="48" y="100"/>
                  </a:lnTo>
                  <a:lnTo>
                    <a:pt x="48" y="100"/>
                  </a:lnTo>
                  <a:lnTo>
                    <a:pt x="52" y="100"/>
                  </a:lnTo>
                  <a:lnTo>
                    <a:pt x="52" y="98"/>
                  </a:lnTo>
                  <a:lnTo>
                    <a:pt x="52" y="98"/>
                  </a:lnTo>
                  <a:lnTo>
                    <a:pt x="52" y="98"/>
                  </a:lnTo>
                  <a:lnTo>
                    <a:pt x="52" y="96"/>
                  </a:lnTo>
                  <a:lnTo>
                    <a:pt x="52" y="98"/>
                  </a:lnTo>
                  <a:lnTo>
                    <a:pt x="52" y="98"/>
                  </a:lnTo>
                  <a:lnTo>
                    <a:pt x="56" y="98"/>
                  </a:lnTo>
                  <a:lnTo>
                    <a:pt x="58" y="98"/>
                  </a:lnTo>
                  <a:lnTo>
                    <a:pt x="58" y="98"/>
                  </a:lnTo>
                  <a:lnTo>
                    <a:pt x="58" y="98"/>
                  </a:lnTo>
                  <a:lnTo>
                    <a:pt x="56" y="96"/>
                  </a:lnTo>
                  <a:lnTo>
                    <a:pt x="58" y="94"/>
                  </a:lnTo>
                  <a:lnTo>
                    <a:pt x="58" y="94"/>
                  </a:lnTo>
                  <a:lnTo>
                    <a:pt x="62" y="92"/>
                  </a:lnTo>
                  <a:lnTo>
                    <a:pt x="62" y="92"/>
                  </a:lnTo>
                  <a:lnTo>
                    <a:pt x="62" y="94"/>
                  </a:lnTo>
                  <a:lnTo>
                    <a:pt x="62" y="94"/>
                  </a:lnTo>
                  <a:lnTo>
                    <a:pt x="64" y="96"/>
                  </a:lnTo>
                  <a:lnTo>
                    <a:pt x="66" y="96"/>
                  </a:lnTo>
                  <a:lnTo>
                    <a:pt x="66" y="96"/>
                  </a:lnTo>
                  <a:lnTo>
                    <a:pt x="68" y="96"/>
                  </a:lnTo>
                  <a:lnTo>
                    <a:pt x="68" y="98"/>
                  </a:lnTo>
                  <a:lnTo>
                    <a:pt x="68" y="98"/>
                  </a:lnTo>
                  <a:lnTo>
                    <a:pt x="70" y="98"/>
                  </a:lnTo>
                  <a:lnTo>
                    <a:pt x="70" y="98"/>
                  </a:lnTo>
                  <a:lnTo>
                    <a:pt x="74" y="96"/>
                  </a:lnTo>
                  <a:lnTo>
                    <a:pt x="74" y="96"/>
                  </a:lnTo>
                  <a:lnTo>
                    <a:pt x="72" y="96"/>
                  </a:lnTo>
                  <a:lnTo>
                    <a:pt x="72" y="96"/>
                  </a:lnTo>
                  <a:lnTo>
                    <a:pt x="68" y="96"/>
                  </a:lnTo>
                  <a:lnTo>
                    <a:pt x="66" y="94"/>
                  </a:lnTo>
                  <a:lnTo>
                    <a:pt x="66" y="94"/>
                  </a:lnTo>
                  <a:lnTo>
                    <a:pt x="68" y="94"/>
                  </a:lnTo>
                  <a:lnTo>
                    <a:pt x="70" y="94"/>
                  </a:lnTo>
                  <a:lnTo>
                    <a:pt x="70" y="92"/>
                  </a:lnTo>
                  <a:lnTo>
                    <a:pt x="70" y="92"/>
                  </a:lnTo>
                  <a:lnTo>
                    <a:pt x="72" y="94"/>
                  </a:lnTo>
                  <a:lnTo>
                    <a:pt x="74" y="92"/>
                  </a:lnTo>
                  <a:lnTo>
                    <a:pt x="78" y="90"/>
                  </a:lnTo>
                  <a:lnTo>
                    <a:pt x="80" y="86"/>
                  </a:lnTo>
                  <a:lnTo>
                    <a:pt x="80" y="86"/>
                  </a:lnTo>
                  <a:lnTo>
                    <a:pt x="82" y="82"/>
                  </a:lnTo>
                  <a:lnTo>
                    <a:pt x="82" y="82"/>
                  </a:lnTo>
                  <a:lnTo>
                    <a:pt x="84" y="76"/>
                  </a:lnTo>
                  <a:lnTo>
                    <a:pt x="84" y="76"/>
                  </a:lnTo>
                  <a:lnTo>
                    <a:pt x="82" y="64"/>
                  </a:lnTo>
                  <a:lnTo>
                    <a:pt x="82" y="64"/>
                  </a:lnTo>
                  <a:lnTo>
                    <a:pt x="80" y="64"/>
                  </a:lnTo>
                  <a:lnTo>
                    <a:pt x="80" y="64"/>
                  </a:lnTo>
                  <a:lnTo>
                    <a:pt x="80" y="64"/>
                  </a:lnTo>
                  <a:lnTo>
                    <a:pt x="78" y="62"/>
                  </a:lnTo>
                  <a:lnTo>
                    <a:pt x="76" y="62"/>
                  </a:lnTo>
                  <a:lnTo>
                    <a:pt x="76" y="58"/>
                  </a:lnTo>
                  <a:lnTo>
                    <a:pt x="76" y="58"/>
                  </a:lnTo>
                  <a:lnTo>
                    <a:pt x="76" y="52"/>
                  </a:lnTo>
                  <a:lnTo>
                    <a:pt x="74" y="46"/>
                  </a:lnTo>
                  <a:lnTo>
                    <a:pt x="74" y="46"/>
                  </a:lnTo>
                  <a:lnTo>
                    <a:pt x="66" y="32"/>
                  </a:lnTo>
                  <a:lnTo>
                    <a:pt x="56" y="20"/>
                  </a:lnTo>
                  <a:lnTo>
                    <a:pt x="56" y="20"/>
                  </a:lnTo>
                  <a:lnTo>
                    <a:pt x="50" y="16"/>
                  </a:lnTo>
                  <a:lnTo>
                    <a:pt x="44" y="12"/>
                  </a:lnTo>
                  <a:lnTo>
                    <a:pt x="44" y="12"/>
                  </a:lnTo>
                  <a:lnTo>
                    <a:pt x="30" y="0"/>
                  </a:lnTo>
                  <a:lnTo>
                    <a:pt x="30" y="0"/>
                  </a:lnTo>
                  <a:lnTo>
                    <a:pt x="28" y="2"/>
                  </a:lnTo>
                  <a:lnTo>
                    <a:pt x="28" y="4"/>
                  </a:lnTo>
                  <a:lnTo>
                    <a:pt x="26" y="6"/>
                  </a:lnTo>
                  <a:lnTo>
                    <a:pt x="20" y="6"/>
                  </a:lnTo>
                  <a:lnTo>
                    <a:pt x="20" y="6"/>
                  </a:lnTo>
                  <a:lnTo>
                    <a:pt x="12" y="8"/>
                  </a:lnTo>
                  <a:lnTo>
                    <a:pt x="8" y="12"/>
                  </a:lnTo>
                  <a:lnTo>
                    <a:pt x="0" y="22"/>
                  </a:lnTo>
                  <a:lnTo>
                    <a:pt x="0" y="22"/>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2" name="Spain"/>
            <p:cNvSpPr>
              <a:spLocks/>
            </p:cNvSpPr>
            <p:nvPr/>
          </p:nvSpPr>
          <p:spPr bwMode="auto">
            <a:xfrm>
              <a:off x="3919768" y="2215884"/>
              <a:ext cx="457728" cy="216958"/>
            </a:xfrm>
            <a:custGeom>
              <a:avLst/>
              <a:gdLst/>
              <a:ahLst/>
              <a:cxnLst/>
              <a:rect l="l" t="t" r="r" b="b"/>
              <a:pathLst>
                <a:path w="457728" h="216958">
                  <a:moveTo>
                    <a:pt x="452437" y="15875"/>
                  </a:moveTo>
                  <a:lnTo>
                    <a:pt x="452437" y="21167"/>
                  </a:lnTo>
                  <a:lnTo>
                    <a:pt x="455082" y="31750"/>
                  </a:lnTo>
                  <a:lnTo>
                    <a:pt x="457728" y="42333"/>
                  </a:lnTo>
                  <a:lnTo>
                    <a:pt x="455082" y="50271"/>
                  </a:lnTo>
                  <a:lnTo>
                    <a:pt x="452437" y="63500"/>
                  </a:lnTo>
                  <a:lnTo>
                    <a:pt x="449791" y="63500"/>
                  </a:lnTo>
                  <a:lnTo>
                    <a:pt x="449791" y="60854"/>
                  </a:lnTo>
                  <a:lnTo>
                    <a:pt x="447145" y="58208"/>
                  </a:lnTo>
                  <a:lnTo>
                    <a:pt x="444499" y="58208"/>
                  </a:lnTo>
                  <a:lnTo>
                    <a:pt x="439208" y="55563"/>
                  </a:lnTo>
                  <a:lnTo>
                    <a:pt x="439208" y="52917"/>
                  </a:lnTo>
                  <a:lnTo>
                    <a:pt x="439208" y="50271"/>
                  </a:lnTo>
                  <a:lnTo>
                    <a:pt x="436562" y="50271"/>
                  </a:lnTo>
                  <a:lnTo>
                    <a:pt x="436562" y="47625"/>
                  </a:lnTo>
                  <a:lnTo>
                    <a:pt x="436562" y="44979"/>
                  </a:lnTo>
                  <a:lnTo>
                    <a:pt x="436562" y="42333"/>
                  </a:lnTo>
                  <a:lnTo>
                    <a:pt x="433916" y="39688"/>
                  </a:lnTo>
                  <a:lnTo>
                    <a:pt x="433916" y="37042"/>
                  </a:lnTo>
                  <a:lnTo>
                    <a:pt x="433916" y="34396"/>
                  </a:lnTo>
                  <a:lnTo>
                    <a:pt x="433916" y="31750"/>
                  </a:lnTo>
                  <a:lnTo>
                    <a:pt x="433916" y="29104"/>
                  </a:lnTo>
                  <a:lnTo>
                    <a:pt x="433916" y="26458"/>
                  </a:lnTo>
                  <a:lnTo>
                    <a:pt x="436562" y="26458"/>
                  </a:lnTo>
                  <a:lnTo>
                    <a:pt x="439208" y="26458"/>
                  </a:lnTo>
                  <a:lnTo>
                    <a:pt x="439208" y="23813"/>
                  </a:lnTo>
                  <a:lnTo>
                    <a:pt x="441853" y="21167"/>
                  </a:lnTo>
                  <a:lnTo>
                    <a:pt x="444499" y="21167"/>
                  </a:lnTo>
                  <a:lnTo>
                    <a:pt x="447145" y="21167"/>
                  </a:lnTo>
                  <a:lnTo>
                    <a:pt x="449791" y="18521"/>
                  </a:lnTo>
                  <a:close/>
                  <a:moveTo>
                    <a:pt x="23812" y="0"/>
                  </a:moveTo>
                  <a:lnTo>
                    <a:pt x="29104" y="0"/>
                  </a:lnTo>
                  <a:lnTo>
                    <a:pt x="31750" y="0"/>
                  </a:lnTo>
                  <a:lnTo>
                    <a:pt x="34396" y="0"/>
                  </a:lnTo>
                  <a:lnTo>
                    <a:pt x="39687" y="2646"/>
                  </a:lnTo>
                  <a:lnTo>
                    <a:pt x="47625" y="5292"/>
                  </a:lnTo>
                  <a:lnTo>
                    <a:pt x="60854" y="5292"/>
                  </a:lnTo>
                  <a:lnTo>
                    <a:pt x="71437" y="2646"/>
                  </a:lnTo>
                  <a:lnTo>
                    <a:pt x="76729" y="2646"/>
                  </a:lnTo>
                  <a:lnTo>
                    <a:pt x="79375" y="2646"/>
                  </a:lnTo>
                  <a:lnTo>
                    <a:pt x="82021" y="2646"/>
                  </a:lnTo>
                  <a:lnTo>
                    <a:pt x="111125" y="5292"/>
                  </a:lnTo>
                  <a:lnTo>
                    <a:pt x="121708" y="5292"/>
                  </a:lnTo>
                  <a:lnTo>
                    <a:pt x="127000" y="2646"/>
                  </a:lnTo>
                  <a:lnTo>
                    <a:pt x="129646" y="2646"/>
                  </a:lnTo>
                  <a:lnTo>
                    <a:pt x="137583" y="7937"/>
                  </a:lnTo>
                  <a:lnTo>
                    <a:pt x="140229" y="7937"/>
                  </a:lnTo>
                  <a:lnTo>
                    <a:pt x="142875" y="5292"/>
                  </a:lnTo>
                  <a:lnTo>
                    <a:pt x="145521" y="5292"/>
                  </a:lnTo>
                  <a:lnTo>
                    <a:pt x="158750" y="7937"/>
                  </a:lnTo>
                  <a:lnTo>
                    <a:pt x="164042" y="7937"/>
                  </a:lnTo>
                  <a:lnTo>
                    <a:pt x="171979" y="5292"/>
                  </a:lnTo>
                  <a:lnTo>
                    <a:pt x="174625" y="5292"/>
                  </a:lnTo>
                  <a:lnTo>
                    <a:pt x="179917" y="5292"/>
                  </a:lnTo>
                  <a:lnTo>
                    <a:pt x="182563" y="5292"/>
                  </a:lnTo>
                  <a:lnTo>
                    <a:pt x="185209" y="7937"/>
                  </a:lnTo>
                  <a:lnTo>
                    <a:pt x="187854" y="7937"/>
                  </a:lnTo>
                  <a:lnTo>
                    <a:pt x="190500" y="7937"/>
                  </a:lnTo>
                  <a:lnTo>
                    <a:pt x="190500" y="10583"/>
                  </a:lnTo>
                  <a:lnTo>
                    <a:pt x="190500" y="13229"/>
                  </a:lnTo>
                  <a:lnTo>
                    <a:pt x="195792" y="13229"/>
                  </a:lnTo>
                  <a:lnTo>
                    <a:pt x="198438" y="13229"/>
                  </a:lnTo>
                  <a:lnTo>
                    <a:pt x="201084" y="15875"/>
                  </a:lnTo>
                  <a:lnTo>
                    <a:pt x="203729" y="18521"/>
                  </a:lnTo>
                  <a:lnTo>
                    <a:pt x="209021" y="18521"/>
                  </a:lnTo>
                  <a:lnTo>
                    <a:pt x="214313" y="18521"/>
                  </a:lnTo>
                  <a:lnTo>
                    <a:pt x="222250" y="23813"/>
                  </a:lnTo>
                  <a:lnTo>
                    <a:pt x="230188" y="26458"/>
                  </a:lnTo>
                  <a:lnTo>
                    <a:pt x="235479" y="29104"/>
                  </a:lnTo>
                  <a:lnTo>
                    <a:pt x="240771" y="29104"/>
                  </a:lnTo>
                  <a:lnTo>
                    <a:pt x="243417" y="23813"/>
                  </a:lnTo>
                  <a:lnTo>
                    <a:pt x="246063" y="23813"/>
                  </a:lnTo>
                  <a:lnTo>
                    <a:pt x="251354" y="26458"/>
                  </a:lnTo>
                  <a:lnTo>
                    <a:pt x="256646" y="29104"/>
                  </a:lnTo>
                  <a:lnTo>
                    <a:pt x="259292" y="29104"/>
                  </a:lnTo>
                  <a:lnTo>
                    <a:pt x="259292" y="31750"/>
                  </a:lnTo>
                  <a:lnTo>
                    <a:pt x="261938" y="31750"/>
                  </a:lnTo>
                  <a:lnTo>
                    <a:pt x="264584" y="31750"/>
                  </a:lnTo>
                  <a:lnTo>
                    <a:pt x="267229" y="31750"/>
                  </a:lnTo>
                  <a:lnTo>
                    <a:pt x="272521" y="29104"/>
                  </a:lnTo>
                  <a:lnTo>
                    <a:pt x="275167" y="29104"/>
                  </a:lnTo>
                  <a:lnTo>
                    <a:pt x="280459" y="31750"/>
                  </a:lnTo>
                  <a:lnTo>
                    <a:pt x="283104" y="31750"/>
                  </a:lnTo>
                  <a:lnTo>
                    <a:pt x="285750" y="29104"/>
                  </a:lnTo>
                  <a:lnTo>
                    <a:pt x="288396" y="29104"/>
                  </a:lnTo>
                  <a:lnTo>
                    <a:pt x="296334" y="29104"/>
                  </a:lnTo>
                  <a:lnTo>
                    <a:pt x="301625" y="26458"/>
                  </a:lnTo>
                  <a:lnTo>
                    <a:pt x="304271" y="29104"/>
                  </a:lnTo>
                  <a:lnTo>
                    <a:pt x="309563" y="31750"/>
                  </a:lnTo>
                  <a:lnTo>
                    <a:pt x="306917" y="34396"/>
                  </a:lnTo>
                  <a:lnTo>
                    <a:pt x="304271" y="34396"/>
                  </a:lnTo>
                  <a:lnTo>
                    <a:pt x="304271" y="37042"/>
                  </a:lnTo>
                  <a:lnTo>
                    <a:pt x="306917" y="37042"/>
                  </a:lnTo>
                  <a:lnTo>
                    <a:pt x="304271" y="39688"/>
                  </a:lnTo>
                  <a:lnTo>
                    <a:pt x="304271" y="44979"/>
                  </a:lnTo>
                  <a:lnTo>
                    <a:pt x="304271" y="50271"/>
                  </a:lnTo>
                  <a:lnTo>
                    <a:pt x="301625" y="50271"/>
                  </a:lnTo>
                  <a:lnTo>
                    <a:pt x="298979" y="52917"/>
                  </a:lnTo>
                  <a:lnTo>
                    <a:pt x="291042" y="55563"/>
                  </a:lnTo>
                  <a:lnTo>
                    <a:pt x="283104" y="60854"/>
                  </a:lnTo>
                  <a:lnTo>
                    <a:pt x="280459" y="63500"/>
                  </a:lnTo>
                  <a:lnTo>
                    <a:pt x="275167" y="63500"/>
                  </a:lnTo>
                  <a:lnTo>
                    <a:pt x="259292" y="71438"/>
                  </a:lnTo>
                  <a:lnTo>
                    <a:pt x="246063" y="76729"/>
                  </a:lnTo>
                  <a:lnTo>
                    <a:pt x="246063" y="79375"/>
                  </a:lnTo>
                  <a:lnTo>
                    <a:pt x="246063" y="84667"/>
                  </a:lnTo>
                  <a:lnTo>
                    <a:pt x="243417" y="87312"/>
                  </a:lnTo>
                  <a:lnTo>
                    <a:pt x="240771" y="84667"/>
                  </a:lnTo>
                  <a:lnTo>
                    <a:pt x="238125" y="89958"/>
                  </a:lnTo>
                  <a:lnTo>
                    <a:pt x="227542" y="100542"/>
                  </a:lnTo>
                  <a:lnTo>
                    <a:pt x="222250" y="103187"/>
                  </a:lnTo>
                  <a:lnTo>
                    <a:pt x="216959" y="108479"/>
                  </a:lnTo>
                  <a:lnTo>
                    <a:pt x="214313" y="113771"/>
                  </a:lnTo>
                  <a:lnTo>
                    <a:pt x="214313" y="119062"/>
                  </a:lnTo>
                  <a:lnTo>
                    <a:pt x="216959" y="127000"/>
                  </a:lnTo>
                  <a:lnTo>
                    <a:pt x="222250" y="129646"/>
                  </a:lnTo>
                  <a:lnTo>
                    <a:pt x="224896" y="132292"/>
                  </a:lnTo>
                  <a:lnTo>
                    <a:pt x="227542" y="132292"/>
                  </a:lnTo>
                  <a:lnTo>
                    <a:pt x="227542" y="134937"/>
                  </a:lnTo>
                  <a:lnTo>
                    <a:pt x="222250" y="137583"/>
                  </a:lnTo>
                  <a:lnTo>
                    <a:pt x="219604" y="142875"/>
                  </a:lnTo>
                  <a:lnTo>
                    <a:pt x="219604" y="145521"/>
                  </a:lnTo>
                  <a:lnTo>
                    <a:pt x="216959" y="148167"/>
                  </a:lnTo>
                  <a:lnTo>
                    <a:pt x="216959" y="150812"/>
                  </a:lnTo>
                  <a:lnTo>
                    <a:pt x="216959" y="153458"/>
                  </a:lnTo>
                  <a:lnTo>
                    <a:pt x="214313" y="153458"/>
                  </a:lnTo>
                  <a:lnTo>
                    <a:pt x="214313" y="156104"/>
                  </a:lnTo>
                  <a:lnTo>
                    <a:pt x="214313" y="161396"/>
                  </a:lnTo>
                  <a:lnTo>
                    <a:pt x="214313" y="164042"/>
                  </a:lnTo>
                  <a:lnTo>
                    <a:pt x="211667" y="166687"/>
                  </a:lnTo>
                  <a:lnTo>
                    <a:pt x="206375" y="166687"/>
                  </a:lnTo>
                  <a:lnTo>
                    <a:pt x="201084" y="169333"/>
                  </a:lnTo>
                  <a:lnTo>
                    <a:pt x="198438" y="171979"/>
                  </a:lnTo>
                  <a:lnTo>
                    <a:pt x="193146" y="174625"/>
                  </a:lnTo>
                  <a:lnTo>
                    <a:pt x="185209" y="179917"/>
                  </a:lnTo>
                  <a:lnTo>
                    <a:pt x="182563" y="190500"/>
                  </a:lnTo>
                  <a:lnTo>
                    <a:pt x="179917" y="193146"/>
                  </a:lnTo>
                  <a:lnTo>
                    <a:pt x="177271" y="193146"/>
                  </a:lnTo>
                  <a:lnTo>
                    <a:pt x="174625" y="193146"/>
                  </a:lnTo>
                  <a:lnTo>
                    <a:pt x="169333" y="195792"/>
                  </a:lnTo>
                  <a:lnTo>
                    <a:pt x="156104" y="195792"/>
                  </a:lnTo>
                  <a:lnTo>
                    <a:pt x="148167" y="198437"/>
                  </a:lnTo>
                  <a:lnTo>
                    <a:pt x="140229" y="201083"/>
                  </a:lnTo>
                  <a:lnTo>
                    <a:pt x="132292" y="203729"/>
                  </a:lnTo>
                  <a:lnTo>
                    <a:pt x="127000" y="203729"/>
                  </a:lnTo>
                  <a:lnTo>
                    <a:pt x="121708" y="203729"/>
                  </a:lnTo>
                  <a:lnTo>
                    <a:pt x="108479" y="209021"/>
                  </a:lnTo>
                  <a:lnTo>
                    <a:pt x="100542" y="214312"/>
                  </a:lnTo>
                  <a:lnTo>
                    <a:pt x="95250" y="216958"/>
                  </a:lnTo>
                  <a:lnTo>
                    <a:pt x="89958" y="216958"/>
                  </a:lnTo>
                  <a:lnTo>
                    <a:pt x="87313" y="216958"/>
                  </a:lnTo>
                  <a:lnTo>
                    <a:pt x="84667" y="214312"/>
                  </a:lnTo>
                  <a:lnTo>
                    <a:pt x="79375" y="214312"/>
                  </a:lnTo>
                  <a:lnTo>
                    <a:pt x="76729" y="209021"/>
                  </a:lnTo>
                  <a:lnTo>
                    <a:pt x="79375" y="206375"/>
                  </a:lnTo>
                  <a:lnTo>
                    <a:pt x="79375" y="203729"/>
                  </a:lnTo>
                  <a:lnTo>
                    <a:pt x="76729" y="203729"/>
                  </a:lnTo>
                  <a:lnTo>
                    <a:pt x="74083" y="201083"/>
                  </a:lnTo>
                  <a:lnTo>
                    <a:pt x="76729" y="198437"/>
                  </a:lnTo>
                  <a:lnTo>
                    <a:pt x="74083" y="198437"/>
                  </a:lnTo>
                  <a:lnTo>
                    <a:pt x="68792" y="195792"/>
                  </a:lnTo>
                  <a:lnTo>
                    <a:pt x="63500" y="193146"/>
                  </a:lnTo>
                  <a:lnTo>
                    <a:pt x="58208" y="190500"/>
                  </a:lnTo>
                  <a:lnTo>
                    <a:pt x="55562" y="190500"/>
                  </a:lnTo>
                  <a:lnTo>
                    <a:pt x="55562" y="187854"/>
                  </a:lnTo>
                  <a:lnTo>
                    <a:pt x="47625" y="187854"/>
                  </a:lnTo>
                  <a:lnTo>
                    <a:pt x="39687" y="187854"/>
                  </a:lnTo>
                  <a:lnTo>
                    <a:pt x="34396" y="187854"/>
                  </a:lnTo>
                  <a:lnTo>
                    <a:pt x="31750" y="185208"/>
                  </a:lnTo>
                  <a:lnTo>
                    <a:pt x="29104" y="182562"/>
                  </a:lnTo>
                  <a:lnTo>
                    <a:pt x="29104" y="179917"/>
                  </a:lnTo>
                  <a:lnTo>
                    <a:pt x="31750" y="174625"/>
                  </a:lnTo>
                  <a:lnTo>
                    <a:pt x="37042" y="166687"/>
                  </a:lnTo>
                  <a:lnTo>
                    <a:pt x="39687" y="161396"/>
                  </a:lnTo>
                  <a:lnTo>
                    <a:pt x="39687" y="158750"/>
                  </a:lnTo>
                  <a:lnTo>
                    <a:pt x="37042" y="153458"/>
                  </a:lnTo>
                  <a:lnTo>
                    <a:pt x="34396" y="150812"/>
                  </a:lnTo>
                  <a:lnTo>
                    <a:pt x="34396" y="145521"/>
                  </a:lnTo>
                  <a:lnTo>
                    <a:pt x="39687" y="140229"/>
                  </a:lnTo>
                  <a:lnTo>
                    <a:pt x="42333" y="134937"/>
                  </a:lnTo>
                  <a:lnTo>
                    <a:pt x="39687" y="129646"/>
                  </a:lnTo>
                  <a:lnTo>
                    <a:pt x="34396" y="116417"/>
                  </a:lnTo>
                  <a:lnTo>
                    <a:pt x="31750" y="113771"/>
                  </a:lnTo>
                  <a:lnTo>
                    <a:pt x="34396" y="113771"/>
                  </a:lnTo>
                  <a:lnTo>
                    <a:pt x="42333" y="113771"/>
                  </a:lnTo>
                  <a:lnTo>
                    <a:pt x="44979" y="111125"/>
                  </a:lnTo>
                  <a:lnTo>
                    <a:pt x="44979" y="108479"/>
                  </a:lnTo>
                  <a:lnTo>
                    <a:pt x="47625" y="100542"/>
                  </a:lnTo>
                  <a:lnTo>
                    <a:pt x="47625" y="95250"/>
                  </a:lnTo>
                  <a:lnTo>
                    <a:pt x="44979" y="95250"/>
                  </a:lnTo>
                  <a:lnTo>
                    <a:pt x="44979" y="92604"/>
                  </a:lnTo>
                  <a:lnTo>
                    <a:pt x="47625" y="89958"/>
                  </a:lnTo>
                  <a:lnTo>
                    <a:pt x="47625" y="87312"/>
                  </a:lnTo>
                  <a:lnTo>
                    <a:pt x="47625" y="82021"/>
                  </a:lnTo>
                  <a:lnTo>
                    <a:pt x="44979" y="76729"/>
                  </a:lnTo>
                  <a:lnTo>
                    <a:pt x="47625" y="76729"/>
                  </a:lnTo>
                  <a:lnTo>
                    <a:pt x="50271" y="74083"/>
                  </a:lnTo>
                  <a:lnTo>
                    <a:pt x="52917" y="68792"/>
                  </a:lnTo>
                  <a:lnTo>
                    <a:pt x="55562" y="63500"/>
                  </a:lnTo>
                  <a:lnTo>
                    <a:pt x="60854" y="60854"/>
                  </a:lnTo>
                  <a:lnTo>
                    <a:pt x="60854" y="58208"/>
                  </a:lnTo>
                  <a:lnTo>
                    <a:pt x="58208" y="58208"/>
                  </a:lnTo>
                  <a:lnTo>
                    <a:pt x="58208" y="55563"/>
                  </a:lnTo>
                  <a:lnTo>
                    <a:pt x="55562" y="52917"/>
                  </a:lnTo>
                  <a:lnTo>
                    <a:pt x="52917" y="50271"/>
                  </a:lnTo>
                  <a:lnTo>
                    <a:pt x="47625" y="52917"/>
                  </a:lnTo>
                  <a:lnTo>
                    <a:pt x="44979" y="52917"/>
                  </a:lnTo>
                  <a:lnTo>
                    <a:pt x="42333" y="52917"/>
                  </a:lnTo>
                  <a:lnTo>
                    <a:pt x="37042" y="50271"/>
                  </a:lnTo>
                  <a:lnTo>
                    <a:pt x="29104" y="52917"/>
                  </a:lnTo>
                  <a:lnTo>
                    <a:pt x="26458" y="52917"/>
                  </a:lnTo>
                  <a:lnTo>
                    <a:pt x="26458" y="50271"/>
                  </a:lnTo>
                  <a:lnTo>
                    <a:pt x="26458" y="47625"/>
                  </a:lnTo>
                  <a:lnTo>
                    <a:pt x="26458" y="44979"/>
                  </a:lnTo>
                  <a:lnTo>
                    <a:pt x="18521" y="44979"/>
                  </a:lnTo>
                  <a:lnTo>
                    <a:pt x="13229" y="44979"/>
                  </a:lnTo>
                  <a:lnTo>
                    <a:pt x="7937" y="47625"/>
                  </a:lnTo>
                  <a:lnTo>
                    <a:pt x="5292" y="42333"/>
                  </a:lnTo>
                  <a:lnTo>
                    <a:pt x="7937" y="39688"/>
                  </a:lnTo>
                  <a:lnTo>
                    <a:pt x="13229" y="37042"/>
                  </a:lnTo>
                  <a:lnTo>
                    <a:pt x="10583" y="37042"/>
                  </a:lnTo>
                  <a:lnTo>
                    <a:pt x="7937" y="37042"/>
                  </a:lnTo>
                  <a:lnTo>
                    <a:pt x="7937" y="34396"/>
                  </a:lnTo>
                  <a:lnTo>
                    <a:pt x="7937" y="29104"/>
                  </a:lnTo>
                  <a:lnTo>
                    <a:pt x="5292" y="26458"/>
                  </a:lnTo>
                  <a:lnTo>
                    <a:pt x="2646" y="26458"/>
                  </a:lnTo>
                  <a:lnTo>
                    <a:pt x="5292" y="23813"/>
                  </a:lnTo>
                  <a:lnTo>
                    <a:pt x="5292" y="21167"/>
                  </a:lnTo>
                  <a:lnTo>
                    <a:pt x="2646" y="18521"/>
                  </a:lnTo>
                  <a:lnTo>
                    <a:pt x="0" y="18521"/>
                  </a:lnTo>
                  <a:lnTo>
                    <a:pt x="0" y="15875"/>
                  </a:lnTo>
                  <a:lnTo>
                    <a:pt x="0" y="13229"/>
                  </a:lnTo>
                  <a:lnTo>
                    <a:pt x="7937" y="10583"/>
                  </a:lnTo>
                  <a:lnTo>
                    <a:pt x="10583" y="7937"/>
                  </a:lnTo>
                  <a:lnTo>
                    <a:pt x="15875" y="7937"/>
                  </a:lnTo>
                  <a:lnTo>
                    <a:pt x="18521" y="7937"/>
                  </a:lnTo>
                  <a:lnTo>
                    <a:pt x="23812" y="5292"/>
                  </a:lnTo>
                  <a:lnTo>
                    <a:pt x="21167" y="2646"/>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3" name="Sweden"/>
            <p:cNvSpPr>
              <a:spLocks/>
            </p:cNvSpPr>
            <p:nvPr/>
          </p:nvSpPr>
          <p:spPr bwMode="auto">
            <a:xfrm>
              <a:off x="4380143" y="1625865"/>
              <a:ext cx="256646" cy="285750"/>
            </a:xfrm>
            <a:custGeom>
              <a:avLst/>
              <a:gdLst/>
              <a:ahLst/>
              <a:cxnLst>
                <a:cxn ang="0">
                  <a:pos x="152" y="8"/>
                </a:cxn>
                <a:cxn ang="0">
                  <a:pos x="176" y="18"/>
                </a:cxn>
                <a:cxn ang="0">
                  <a:pos x="180" y="24"/>
                </a:cxn>
                <a:cxn ang="0">
                  <a:pos x="190" y="36"/>
                </a:cxn>
                <a:cxn ang="0">
                  <a:pos x="194" y="46"/>
                </a:cxn>
                <a:cxn ang="0">
                  <a:pos x="188" y="50"/>
                </a:cxn>
                <a:cxn ang="0">
                  <a:pos x="174" y="48"/>
                </a:cxn>
                <a:cxn ang="0">
                  <a:pos x="166" y="52"/>
                </a:cxn>
                <a:cxn ang="0">
                  <a:pos x="160" y="58"/>
                </a:cxn>
                <a:cxn ang="0">
                  <a:pos x="150" y="74"/>
                </a:cxn>
                <a:cxn ang="0">
                  <a:pos x="138" y="80"/>
                </a:cxn>
                <a:cxn ang="0">
                  <a:pos x="130" y="84"/>
                </a:cxn>
                <a:cxn ang="0">
                  <a:pos x="116" y="86"/>
                </a:cxn>
                <a:cxn ang="0">
                  <a:pos x="108" y="90"/>
                </a:cxn>
                <a:cxn ang="0">
                  <a:pos x="102" y="92"/>
                </a:cxn>
                <a:cxn ang="0">
                  <a:pos x="100" y="108"/>
                </a:cxn>
                <a:cxn ang="0">
                  <a:pos x="104" y="126"/>
                </a:cxn>
                <a:cxn ang="0">
                  <a:pos x="114" y="126"/>
                </a:cxn>
                <a:cxn ang="0">
                  <a:pos x="128" y="134"/>
                </a:cxn>
                <a:cxn ang="0">
                  <a:pos x="124" y="140"/>
                </a:cxn>
                <a:cxn ang="0">
                  <a:pos x="108" y="138"/>
                </a:cxn>
                <a:cxn ang="0">
                  <a:pos x="130" y="140"/>
                </a:cxn>
                <a:cxn ang="0">
                  <a:pos x="118" y="150"/>
                </a:cxn>
                <a:cxn ang="0">
                  <a:pos x="110" y="148"/>
                </a:cxn>
                <a:cxn ang="0">
                  <a:pos x="94" y="152"/>
                </a:cxn>
                <a:cxn ang="0">
                  <a:pos x="102" y="158"/>
                </a:cxn>
                <a:cxn ang="0">
                  <a:pos x="100" y="164"/>
                </a:cxn>
                <a:cxn ang="0">
                  <a:pos x="100" y="176"/>
                </a:cxn>
                <a:cxn ang="0">
                  <a:pos x="96" y="192"/>
                </a:cxn>
                <a:cxn ang="0">
                  <a:pos x="84" y="202"/>
                </a:cxn>
                <a:cxn ang="0">
                  <a:pos x="72" y="202"/>
                </a:cxn>
                <a:cxn ang="0">
                  <a:pos x="66" y="210"/>
                </a:cxn>
                <a:cxn ang="0">
                  <a:pos x="66" y="214"/>
                </a:cxn>
                <a:cxn ang="0">
                  <a:pos x="44" y="216"/>
                </a:cxn>
                <a:cxn ang="0">
                  <a:pos x="32" y="200"/>
                </a:cxn>
                <a:cxn ang="0">
                  <a:pos x="36" y="196"/>
                </a:cxn>
                <a:cxn ang="0">
                  <a:pos x="28" y="188"/>
                </a:cxn>
                <a:cxn ang="0">
                  <a:pos x="18" y="174"/>
                </a:cxn>
                <a:cxn ang="0">
                  <a:pos x="14" y="168"/>
                </a:cxn>
                <a:cxn ang="0">
                  <a:pos x="10" y="164"/>
                </a:cxn>
                <a:cxn ang="0">
                  <a:pos x="4" y="156"/>
                </a:cxn>
                <a:cxn ang="0">
                  <a:pos x="6" y="152"/>
                </a:cxn>
                <a:cxn ang="0">
                  <a:pos x="6" y="144"/>
                </a:cxn>
                <a:cxn ang="0">
                  <a:pos x="10" y="136"/>
                </a:cxn>
                <a:cxn ang="0">
                  <a:pos x="16" y="116"/>
                </a:cxn>
                <a:cxn ang="0">
                  <a:pos x="20" y="108"/>
                </a:cxn>
                <a:cxn ang="0">
                  <a:pos x="14" y="96"/>
                </a:cxn>
                <a:cxn ang="0">
                  <a:pos x="12" y="80"/>
                </a:cxn>
                <a:cxn ang="0">
                  <a:pos x="26" y="68"/>
                </a:cxn>
                <a:cxn ang="0">
                  <a:pos x="44" y="60"/>
                </a:cxn>
                <a:cxn ang="0">
                  <a:pos x="48" y="44"/>
                </a:cxn>
                <a:cxn ang="0">
                  <a:pos x="56" y="36"/>
                </a:cxn>
                <a:cxn ang="0">
                  <a:pos x="64" y="30"/>
                </a:cxn>
                <a:cxn ang="0">
                  <a:pos x="90" y="10"/>
                </a:cxn>
                <a:cxn ang="0">
                  <a:pos x="108" y="10"/>
                </a:cxn>
                <a:cxn ang="0">
                  <a:pos x="134" y="0"/>
                </a:cxn>
              </a:cxnLst>
              <a:rect l="0" t="0" r="r" b="b"/>
              <a:pathLst>
                <a:path w="194" h="216">
                  <a:moveTo>
                    <a:pt x="134" y="0"/>
                  </a:moveTo>
                  <a:lnTo>
                    <a:pt x="134" y="0"/>
                  </a:lnTo>
                  <a:lnTo>
                    <a:pt x="138" y="4"/>
                  </a:lnTo>
                  <a:lnTo>
                    <a:pt x="142" y="6"/>
                  </a:lnTo>
                  <a:lnTo>
                    <a:pt x="152" y="8"/>
                  </a:lnTo>
                  <a:lnTo>
                    <a:pt x="162" y="8"/>
                  </a:lnTo>
                  <a:lnTo>
                    <a:pt x="170" y="12"/>
                  </a:lnTo>
                  <a:lnTo>
                    <a:pt x="170" y="12"/>
                  </a:lnTo>
                  <a:lnTo>
                    <a:pt x="176" y="16"/>
                  </a:lnTo>
                  <a:lnTo>
                    <a:pt x="176" y="18"/>
                  </a:lnTo>
                  <a:lnTo>
                    <a:pt x="176" y="20"/>
                  </a:lnTo>
                  <a:lnTo>
                    <a:pt x="178" y="22"/>
                  </a:lnTo>
                  <a:lnTo>
                    <a:pt x="178" y="22"/>
                  </a:lnTo>
                  <a:lnTo>
                    <a:pt x="180" y="22"/>
                  </a:lnTo>
                  <a:lnTo>
                    <a:pt x="180" y="24"/>
                  </a:lnTo>
                  <a:lnTo>
                    <a:pt x="180" y="26"/>
                  </a:lnTo>
                  <a:lnTo>
                    <a:pt x="184" y="30"/>
                  </a:lnTo>
                  <a:lnTo>
                    <a:pt x="184" y="30"/>
                  </a:lnTo>
                  <a:lnTo>
                    <a:pt x="188" y="34"/>
                  </a:lnTo>
                  <a:lnTo>
                    <a:pt x="190" y="36"/>
                  </a:lnTo>
                  <a:lnTo>
                    <a:pt x="190" y="40"/>
                  </a:lnTo>
                  <a:lnTo>
                    <a:pt x="190" y="44"/>
                  </a:lnTo>
                  <a:lnTo>
                    <a:pt x="190" y="44"/>
                  </a:lnTo>
                  <a:lnTo>
                    <a:pt x="194" y="46"/>
                  </a:lnTo>
                  <a:lnTo>
                    <a:pt x="194" y="46"/>
                  </a:lnTo>
                  <a:lnTo>
                    <a:pt x="192" y="50"/>
                  </a:lnTo>
                  <a:lnTo>
                    <a:pt x="190" y="50"/>
                  </a:lnTo>
                  <a:lnTo>
                    <a:pt x="188" y="48"/>
                  </a:lnTo>
                  <a:lnTo>
                    <a:pt x="188" y="50"/>
                  </a:lnTo>
                  <a:lnTo>
                    <a:pt x="188" y="50"/>
                  </a:lnTo>
                  <a:lnTo>
                    <a:pt x="186" y="52"/>
                  </a:lnTo>
                  <a:lnTo>
                    <a:pt x="182" y="50"/>
                  </a:lnTo>
                  <a:lnTo>
                    <a:pt x="180" y="48"/>
                  </a:lnTo>
                  <a:lnTo>
                    <a:pt x="174" y="48"/>
                  </a:lnTo>
                  <a:lnTo>
                    <a:pt x="174" y="48"/>
                  </a:lnTo>
                  <a:lnTo>
                    <a:pt x="170" y="48"/>
                  </a:lnTo>
                  <a:lnTo>
                    <a:pt x="168" y="50"/>
                  </a:lnTo>
                  <a:lnTo>
                    <a:pt x="168" y="50"/>
                  </a:lnTo>
                  <a:lnTo>
                    <a:pt x="168" y="52"/>
                  </a:lnTo>
                  <a:lnTo>
                    <a:pt x="166" y="52"/>
                  </a:lnTo>
                  <a:lnTo>
                    <a:pt x="164" y="52"/>
                  </a:lnTo>
                  <a:lnTo>
                    <a:pt x="160" y="54"/>
                  </a:lnTo>
                  <a:lnTo>
                    <a:pt x="160" y="54"/>
                  </a:lnTo>
                  <a:lnTo>
                    <a:pt x="158" y="56"/>
                  </a:lnTo>
                  <a:lnTo>
                    <a:pt x="160" y="58"/>
                  </a:lnTo>
                  <a:lnTo>
                    <a:pt x="162" y="60"/>
                  </a:lnTo>
                  <a:lnTo>
                    <a:pt x="160" y="64"/>
                  </a:lnTo>
                  <a:lnTo>
                    <a:pt x="160" y="64"/>
                  </a:lnTo>
                  <a:lnTo>
                    <a:pt x="154" y="70"/>
                  </a:lnTo>
                  <a:lnTo>
                    <a:pt x="150" y="74"/>
                  </a:lnTo>
                  <a:lnTo>
                    <a:pt x="150" y="74"/>
                  </a:lnTo>
                  <a:lnTo>
                    <a:pt x="148" y="78"/>
                  </a:lnTo>
                  <a:lnTo>
                    <a:pt x="144" y="78"/>
                  </a:lnTo>
                  <a:lnTo>
                    <a:pt x="142" y="78"/>
                  </a:lnTo>
                  <a:lnTo>
                    <a:pt x="138" y="80"/>
                  </a:lnTo>
                  <a:lnTo>
                    <a:pt x="138" y="80"/>
                  </a:lnTo>
                  <a:lnTo>
                    <a:pt x="136" y="82"/>
                  </a:lnTo>
                  <a:lnTo>
                    <a:pt x="134" y="82"/>
                  </a:lnTo>
                  <a:lnTo>
                    <a:pt x="132" y="82"/>
                  </a:lnTo>
                  <a:lnTo>
                    <a:pt x="130" y="84"/>
                  </a:lnTo>
                  <a:lnTo>
                    <a:pt x="130" y="84"/>
                  </a:lnTo>
                  <a:lnTo>
                    <a:pt x="126" y="86"/>
                  </a:lnTo>
                  <a:lnTo>
                    <a:pt x="122" y="86"/>
                  </a:lnTo>
                  <a:lnTo>
                    <a:pt x="120" y="84"/>
                  </a:lnTo>
                  <a:lnTo>
                    <a:pt x="116" y="86"/>
                  </a:lnTo>
                  <a:lnTo>
                    <a:pt x="116" y="86"/>
                  </a:lnTo>
                  <a:lnTo>
                    <a:pt x="112" y="88"/>
                  </a:lnTo>
                  <a:lnTo>
                    <a:pt x="112" y="88"/>
                  </a:lnTo>
                  <a:lnTo>
                    <a:pt x="110" y="88"/>
                  </a:lnTo>
                  <a:lnTo>
                    <a:pt x="108" y="90"/>
                  </a:lnTo>
                  <a:lnTo>
                    <a:pt x="108" y="90"/>
                  </a:lnTo>
                  <a:lnTo>
                    <a:pt x="106" y="92"/>
                  </a:lnTo>
                  <a:lnTo>
                    <a:pt x="104" y="90"/>
                  </a:lnTo>
                  <a:lnTo>
                    <a:pt x="102" y="90"/>
                  </a:lnTo>
                  <a:lnTo>
                    <a:pt x="102" y="92"/>
                  </a:lnTo>
                  <a:lnTo>
                    <a:pt x="102" y="92"/>
                  </a:lnTo>
                  <a:lnTo>
                    <a:pt x="102" y="98"/>
                  </a:lnTo>
                  <a:lnTo>
                    <a:pt x="102" y="102"/>
                  </a:lnTo>
                  <a:lnTo>
                    <a:pt x="100" y="104"/>
                  </a:lnTo>
                  <a:lnTo>
                    <a:pt x="100" y="108"/>
                  </a:lnTo>
                  <a:lnTo>
                    <a:pt x="100" y="108"/>
                  </a:lnTo>
                  <a:lnTo>
                    <a:pt x="100" y="112"/>
                  </a:lnTo>
                  <a:lnTo>
                    <a:pt x="98" y="116"/>
                  </a:lnTo>
                  <a:lnTo>
                    <a:pt x="100" y="120"/>
                  </a:lnTo>
                  <a:lnTo>
                    <a:pt x="104" y="126"/>
                  </a:lnTo>
                  <a:lnTo>
                    <a:pt x="104" y="126"/>
                  </a:lnTo>
                  <a:lnTo>
                    <a:pt x="110" y="128"/>
                  </a:lnTo>
                  <a:lnTo>
                    <a:pt x="112" y="128"/>
                  </a:lnTo>
                  <a:lnTo>
                    <a:pt x="112" y="126"/>
                  </a:lnTo>
                  <a:lnTo>
                    <a:pt x="114" y="126"/>
                  </a:lnTo>
                  <a:lnTo>
                    <a:pt x="114" y="126"/>
                  </a:lnTo>
                  <a:lnTo>
                    <a:pt x="118" y="128"/>
                  </a:lnTo>
                  <a:lnTo>
                    <a:pt x="124" y="132"/>
                  </a:lnTo>
                  <a:lnTo>
                    <a:pt x="124" y="132"/>
                  </a:lnTo>
                  <a:lnTo>
                    <a:pt x="128" y="134"/>
                  </a:lnTo>
                  <a:lnTo>
                    <a:pt x="132" y="136"/>
                  </a:lnTo>
                  <a:lnTo>
                    <a:pt x="132" y="136"/>
                  </a:lnTo>
                  <a:lnTo>
                    <a:pt x="130" y="138"/>
                  </a:lnTo>
                  <a:lnTo>
                    <a:pt x="130" y="138"/>
                  </a:lnTo>
                  <a:lnTo>
                    <a:pt x="124" y="140"/>
                  </a:lnTo>
                  <a:lnTo>
                    <a:pt x="122" y="140"/>
                  </a:lnTo>
                  <a:lnTo>
                    <a:pt x="120" y="140"/>
                  </a:lnTo>
                  <a:lnTo>
                    <a:pt x="120" y="140"/>
                  </a:lnTo>
                  <a:lnTo>
                    <a:pt x="114" y="138"/>
                  </a:lnTo>
                  <a:lnTo>
                    <a:pt x="108" y="138"/>
                  </a:lnTo>
                  <a:lnTo>
                    <a:pt x="108" y="138"/>
                  </a:lnTo>
                  <a:lnTo>
                    <a:pt x="116" y="140"/>
                  </a:lnTo>
                  <a:lnTo>
                    <a:pt x="120" y="142"/>
                  </a:lnTo>
                  <a:lnTo>
                    <a:pt x="122" y="142"/>
                  </a:lnTo>
                  <a:lnTo>
                    <a:pt x="130" y="140"/>
                  </a:lnTo>
                  <a:lnTo>
                    <a:pt x="130" y="140"/>
                  </a:lnTo>
                  <a:lnTo>
                    <a:pt x="126" y="148"/>
                  </a:lnTo>
                  <a:lnTo>
                    <a:pt x="122" y="150"/>
                  </a:lnTo>
                  <a:lnTo>
                    <a:pt x="120" y="148"/>
                  </a:lnTo>
                  <a:lnTo>
                    <a:pt x="118" y="150"/>
                  </a:lnTo>
                  <a:lnTo>
                    <a:pt x="118" y="150"/>
                  </a:lnTo>
                  <a:lnTo>
                    <a:pt x="116" y="152"/>
                  </a:lnTo>
                  <a:lnTo>
                    <a:pt x="116" y="152"/>
                  </a:lnTo>
                  <a:lnTo>
                    <a:pt x="110" y="148"/>
                  </a:lnTo>
                  <a:lnTo>
                    <a:pt x="110" y="148"/>
                  </a:lnTo>
                  <a:lnTo>
                    <a:pt x="112" y="150"/>
                  </a:lnTo>
                  <a:lnTo>
                    <a:pt x="110" y="152"/>
                  </a:lnTo>
                  <a:lnTo>
                    <a:pt x="106" y="154"/>
                  </a:lnTo>
                  <a:lnTo>
                    <a:pt x="100" y="152"/>
                  </a:lnTo>
                  <a:lnTo>
                    <a:pt x="94" y="152"/>
                  </a:lnTo>
                  <a:lnTo>
                    <a:pt x="94" y="152"/>
                  </a:lnTo>
                  <a:lnTo>
                    <a:pt x="102" y="156"/>
                  </a:lnTo>
                  <a:lnTo>
                    <a:pt x="104" y="156"/>
                  </a:lnTo>
                  <a:lnTo>
                    <a:pt x="102" y="158"/>
                  </a:lnTo>
                  <a:lnTo>
                    <a:pt x="102" y="158"/>
                  </a:lnTo>
                  <a:lnTo>
                    <a:pt x="102" y="160"/>
                  </a:lnTo>
                  <a:lnTo>
                    <a:pt x="102" y="160"/>
                  </a:lnTo>
                  <a:lnTo>
                    <a:pt x="102" y="162"/>
                  </a:lnTo>
                  <a:lnTo>
                    <a:pt x="100" y="164"/>
                  </a:lnTo>
                  <a:lnTo>
                    <a:pt x="100" y="164"/>
                  </a:lnTo>
                  <a:lnTo>
                    <a:pt x="98" y="168"/>
                  </a:lnTo>
                  <a:lnTo>
                    <a:pt x="100" y="170"/>
                  </a:lnTo>
                  <a:lnTo>
                    <a:pt x="100" y="174"/>
                  </a:lnTo>
                  <a:lnTo>
                    <a:pt x="100" y="176"/>
                  </a:lnTo>
                  <a:lnTo>
                    <a:pt x="100" y="176"/>
                  </a:lnTo>
                  <a:lnTo>
                    <a:pt x="98" y="180"/>
                  </a:lnTo>
                  <a:lnTo>
                    <a:pt x="98" y="184"/>
                  </a:lnTo>
                  <a:lnTo>
                    <a:pt x="98" y="188"/>
                  </a:lnTo>
                  <a:lnTo>
                    <a:pt x="96" y="192"/>
                  </a:lnTo>
                  <a:lnTo>
                    <a:pt x="96" y="192"/>
                  </a:lnTo>
                  <a:lnTo>
                    <a:pt x="96" y="198"/>
                  </a:lnTo>
                  <a:lnTo>
                    <a:pt x="94" y="200"/>
                  </a:lnTo>
                  <a:lnTo>
                    <a:pt x="88" y="202"/>
                  </a:lnTo>
                  <a:lnTo>
                    <a:pt x="88" y="202"/>
                  </a:lnTo>
                  <a:lnTo>
                    <a:pt x="84" y="202"/>
                  </a:lnTo>
                  <a:lnTo>
                    <a:pt x="80" y="200"/>
                  </a:lnTo>
                  <a:lnTo>
                    <a:pt x="76" y="200"/>
                  </a:lnTo>
                  <a:lnTo>
                    <a:pt x="74" y="202"/>
                  </a:lnTo>
                  <a:lnTo>
                    <a:pt x="74" y="202"/>
                  </a:lnTo>
                  <a:lnTo>
                    <a:pt x="72" y="202"/>
                  </a:lnTo>
                  <a:lnTo>
                    <a:pt x="72" y="202"/>
                  </a:lnTo>
                  <a:lnTo>
                    <a:pt x="70" y="202"/>
                  </a:lnTo>
                  <a:lnTo>
                    <a:pt x="68" y="206"/>
                  </a:lnTo>
                  <a:lnTo>
                    <a:pt x="68" y="206"/>
                  </a:lnTo>
                  <a:lnTo>
                    <a:pt x="66" y="210"/>
                  </a:lnTo>
                  <a:lnTo>
                    <a:pt x="68" y="210"/>
                  </a:lnTo>
                  <a:lnTo>
                    <a:pt x="68" y="212"/>
                  </a:lnTo>
                  <a:lnTo>
                    <a:pt x="68" y="214"/>
                  </a:lnTo>
                  <a:lnTo>
                    <a:pt x="68" y="214"/>
                  </a:lnTo>
                  <a:lnTo>
                    <a:pt x="66" y="214"/>
                  </a:lnTo>
                  <a:lnTo>
                    <a:pt x="60" y="214"/>
                  </a:lnTo>
                  <a:lnTo>
                    <a:pt x="56" y="212"/>
                  </a:lnTo>
                  <a:lnTo>
                    <a:pt x="50" y="214"/>
                  </a:lnTo>
                  <a:lnTo>
                    <a:pt x="50" y="214"/>
                  </a:lnTo>
                  <a:lnTo>
                    <a:pt x="44" y="216"/>
                  </a:lnTo>
                  <a:lnTo>
                    <a:pt x="42" y="214"/>
                  </a:lnTo>
                  <a:lnTo>
                    <a:pt x="40" y="210"/>
                  </a:lnTo>
                  <a:lnTo>
                    <a:pt x="36" y="206"/>
                  </a:lnTo>
                  <a:lnTo>
                    <a:pt x="36" y="206"/>
                  </a:lnTo>
                  <a:lnTo>
                    <a:pt x="32" y="200"/>
                  </a:lnTo>
                  <a:lnTo>
                    <a:pt x="30" y="198"/>
                  </a:lnTo>
                  <a:lnTo>
                    <a:pt x="30" y="198"/>
                  </a:lnTo>
                  <a:lnTo>
                    <a:pt x="34" y="198"/>
                  </a:lnTo>
                  <a:lnTo>
                    <a:pt x="36" y="198"/>
                  </a:lnTo>
                  <a:lnTo>
                    <a:pt x="36" y="196"/>
                  </a:lnTo>
                  <a:lnTo>
                    <a:pt x="34" y="194"/>
                  </a:lnTo>
                  <a:lnTo>
                    <a:pt x="34" y="194"/>
                  </a:lnTo>
                  <a:lnTo>
                    <a:pt x="32" y="192"/>
                  </a:lnTo>
                  <a:lnTo>
                    <a:pt x="28" y="188"/>
                  </a:lnTo>
                  <a:lnTo>
                    <a:pt x="28" y="188"/>
                  </a:lnTo>
                  <a:lnTo>
                    <a:pt x="24" y="186"/>
                  </a:lnTo>
                  <a:lnTo>
                    <a:pt x="22" y="182"/>
                  </a:lnTo>
                  <a:lnTo>
                    <a:pt x="20" y="174"/>
                  </a:lnTo>
                  <a:lnTo>
                    <a:pt x="20" y="174"/>
                  </a:lnTo>
                  <a:lnTo>
                    <a:pt x="18" y="174"/>
                  </a:lnTo>
                  <a:lnTo>
                    <a:pt x="18" y="174"/>
                  </a:lnTo>
                  <a:lnTo>
                    <a:pt x="16" y="174"/>
                  </a:lnTo>
                  <a:lnTo>
                    <a:pt x="16" y="172"/>
                  </a:lnTo>
                  <a:lnTo>
                    <a:pt x="16" y="172"/>
                  </a:lnTo>
                  <a:lnTo>
                    <a:pt x="14" y="168"/>
                  </a:lnTo>
                  <a:lnTo>
                    <a:pt x="12" y="170"/>
                  </a:lnTo>
                  <a:lnTo>
                    <a:pt x="12" y="170"/>
                  </a:lnTo>
                  <a:lnTo>
                    <a:pt x="12" y="166"/>
                  </a:lnTo>
                  <a:lnTo>
                    <a:pt x="12" y="166"/>
                  </a:lnTo>
                  <a:lnTo>
                    <a:pt x="10" y="164"/>
                  </a:lnTo>
                  <a:lnTo>
                    <a:pt x="10" y="164"/>
                  </a:lnTo>
                  <a:lnTo>
                    <a:pt x="8" y="164"/>
                  </a:lnTo>
                  <a:lnTo>
                    <a:pt x="6" y="160"/>
                  </a:lnTo>
                  <a:lnTo>
                    <a:pt x="6" y="160"/>
                  </a:lnTo>
                  <a:lnTo>
                    <a:pt x="4" y="156"/>
                  </a:lnTo>
                  <a:lnTo>
                    <a:pt x="2" y="154"/>
                  </a:lnTo>
                  <a:lnTo>
                    <a:pt x="0" y="152"/>
                  </a:lnTo>
                  <a:lnTo>
                    <a:pt x="4" y="152"/>
                  </a:lnTo>
                  <a:lnTo>
                    <a:pt x="4" y="152"/>
                  </a:lnTo>
                  <a:lnTo>
                    <a:pt x="6" y="152"/>
                  </a:lnTo>
                  <a:lnTo>
                    <a:pt x="8" y="152"/>
                  </a:lnTo>
                  <a:lnTo>
                    <a:pt x="10" y="150"/>
                  </a:lnTo>
                  <a:lnTo>
                    <a:pt x="8" y="146"/>
                  </a:lnTo>
                  <a:lnTo>
                    <a:pt x="8" y="146"/>
                  </a:lnTo>
                  <a:lnTo>
                    <a:pt x="6" y="144"/>
                  </a:lnTo>
                  <a:lnTo>
                    <a:pt x="8" y="142"/>
                  </a:lnTo>
                  <a:lnTo>
                    <a:pt x="8" y="140"/>
                  </a:lnTo>
                  <a:lnTo>
                    <a:pt x="8" y="138"/>
                  </a:lnTo>
                  <a:lnTo>
                    <a:pt x="8" y="138"/>
                  </a:lnTo>
                  <a:lnTo>
                    <a:pt x="10" y="136"/>
                  </a:lnTo>
                  <a:lnTo>
                    <a:pt x="14" y="132"/>
                  </a:lnTo>
                  <a:lnTo>
                    <a:pt x="16" y="130"/>
                  </a:lnTo>
                  <a:lnTo>
                    <a:pt x="18" y="126"/>
                  </a:lnTo>
                  <a:lnTo>
                    <a:pt x="18" y="122"/>
                  </a:lnTo>
                  <a:lnTo>
                    <a:pt x="16" y="116"/>
                  </a:lnTo>
                  <a:lnTo>
                    <a:pt x="16" y="116"/>
                  </a:lnTo>
                  <a:lnTo>
                    <a:pt x="20" y="114"/>
                  </a:lnTo>
                  <a:lnTo>
                    <a:pt x="22" y="110"/>
                  </a:lnTo>
                  <a:lnTo>
                    <a:pt x="22" y="110"/>
                  </a:lnTo>
                  <a:lnTo>
                    <a:pt x="20" y="108"/>
                  </a:lnTo>
                  <a:lnTo>
                    <a:pt x="18" y="106"/>
                  </a:lnTo>
                  <a:lnTo>
                    <a:pt x="16" y="104"/>
                  </a:lnTo>
                  <a:lnTo>
                    <a:pt x="16" y="100"/>
                  </a:lnTo>
                  <a:lnTo>
                    <a:pt x="16" y="100"/>
                  </a:lnTo>
                  <a:lnTo>
                    <a:pt x="14" y="96"/>
                  </a:lnTo>
                  <a:lnTo>
                    <a:pt x="14" y="92"/>
                  </a:lnTo>
                  <a:lnTo>
                    <a:pt x="14" y="86"/>
                  </a:lnTo>
                  <a:lnTo>
                    <a:pt x="14" y="86"/>
                  </a:lnTo>
                  <a:lnTo>
                    <a:pt x="14" y="82"/>
                  </a:lnTo>
                  <a:lnTo>
                    <a:pt x="12" y="80"/>
                  </a:lnTo>
                  <a:lnTo>
                    <a:pt x="12" y="78"/>
                  </a:lnTo>
                  <a:lnTo>
                    <a:pt x="12" y="78"/>
                  </a:lnTo>
                  <a:lnTo>
                    <a:pt x="18" y="76"/>
                  </a:lnTo>
                  <a:lnTo>
                    <a:pt x="22" y="72"/>
                  </a:lnTo>
                  <a:lnTo>
                    <a:pt x="26" y="68"/>
                  </a:lnTo>
                  <a:lnTo>
                    <a:pt x="34" y="66"/>
                  </a:lnTo>
                  <a:lnTo>
                    <a:pt x="34" y="66"/>
                  </a:lnTo>
                  <a:lnTo>
                    <a:pt x="42" y="64"/>
                  </a:lnTo>
                  <a:lnTo>
                    <a:pt x="44" y="62"/>
                  </a:lnTo>
                  <a:lnTo>
                    <a:pt x="44" y="60"/>
                  </a:lnTo>
                  <a:lnTo>
                    <a:pt x="44" y="56"/>
                  </a:lnTo>
                  <a:lnTo>
                    <a:pt x="46" y="52"/>
                  </a:lnTo>
                  <a:lnTo>
                    <a:pt x="46" y="52"/>
                  </a:lnTo>
                  <a:lnTo>
                    <a:pt x="48" y="48"/>
                  </a:lnTo>
                  <a:lnTo>
                    <a:pt x="48" y="44"/>
                  </a:lnTo>
                  <a:lnTo>
                    <a:pt x="48" y="40"/>
                  </a:lnTo>
                  <a:lnTo>
                    <a:pt x="50" y="38"/>
                  </a:lnTo>
                  <a:lnTo>
                    <a:pt x="50" y="38"/>
                  </a:lnTo>
                  <a:lnTo>
                    <a:pt x="52" y="36"/>
                  </a:lnTo>
                  <a:lnTo>
                    <a:pt x="56" y="36"/>
                  </a:lnTo>
                  <a:lnTo>
                    <a:pt x="58" y="36"/>
                  </a:lnTo>
                  <a:lnTo>
                    <a:pt x="62" y="36"/>
                  </a:lnTo>
                  <a:lnTo>
                    <a:pt x="62" y="36"/>
                  </a:lnTo>
                  <a:lnTo>
                    <a:pt x="64" y="34"/>
                  </a:lnTo>
                  <a:lnTo>
                    <a:pt x="64" y="30"/>
                  </a:lnTo>
                  <a:lnTo>
                    <a:pt x="66" y="26"/>
                  </a:lnTo>
                  <a:lnTo>
                    <a:pt x="72" y="20"/>
                  </a:lnTo>
                  <a:lnTo>
                    <a:pt x="72" y="20"/>
                  </a:lnTo>
                  <a:lnTo>
                    <a:pt x="80" y="16"/>
                  </a:lnTo>
                  <a:lnTo>
                    <a:pt x="90" y="10"/>
                  </a:lnTo>
                  <a:lnTo>
                    <a:pt x="90" y="10"/>
                  </a:lnTo>
                  <a:lnTo>
                    <a:pt x="100" y="6"/>
                  </a:lnTo>
                  <a:lnTo>
                    <a:pt x="102" y="6"/>
                  </a:lnTo>
                  <a:lnTo>
                    <a:pt x="104" y="8"/>
                  </a:lnTo>
                  <a:lnTo>
                    <a:pt x="108" y="10"/>
                  </a:lnTo>
                  <a:lnTo>
                    <a:pt x="110" y="10"/>
                  </a:lnTo>
                  <a:lnTo>
                    <a:pt x="114" y="10"/>
                  </a:lnTo>
                  <a:lnTo>
                    <a:pt x="114" y="10"/>
                  </a:lnTo>
                  <a:lnTo>
                    <a:pt x="122" y="6"/>
                  </a:lnTo>
                  <a:lnTo>
                    <a:pt x="134" y="0"/>
                  </a:lnTo>
                  <a:lnTo>
                    <a:pt x="134" y="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4" name="Switzerland"/>
            <p:cNvSpPr>
              <a:spLocks/>
            </p:cNvSpPr>
            <p:nvPr/>
          </p:nvSpPr>
          <p:spPr bwMode="auto">
            <a:xfrm>
              <a:off x="4284893" y="2104760"/>
              <a:ext cx="105833" cy="47625"/>
            </a:xfrm>
            <a:custGeom>
              <a:avLst/>
              <a:gdLst/>
              <a:ahLst/>
              <a:cxnLst>
                <a:cxn ang="0">
                  <a:pos x="20" y="36"/>
                </a:cxn>
                <a:cxn ang="0">
                  <a:pos x="18" y="32"/>
                </a:cxn>
                <a:cxn ang="0">
                  <a:pos x="16" y="28"/>
                </a:cxn>
                <a:cxn ang="0">
                  <a:pos x="14" y="26"/>
                </a:cxn>
                <a:cxn ang="0">
                  <a:pos x="10" y="26"/>
                </a:cxn>
                <a:cxn ang="0">
                  <a:pos x="6" y="28"/>
                </a:cxn>
                <a:cxn ang="0">
                  <a:pos x="2" y="32"/>
                </a:cxn>
                <a:cxn ang="0">
                  <a:pos x="0" y="30"/>
                </a:cxn>
                <a:cxn ang="0">
                  <a:pos x="4" y="14"/>
                </a:cxn>
                <a:cxn ang="0">
                  <a:pos x="6" y="12"/>
                </a:cxn>
                <a:cxn ang="0">
                  <a:pos x="14" y="8"/>
                </a:cxn>
                <a:cxn ang="0">
                  <a:pos x="16" y="6"/>
                </a:cxn>
                <a:cxn ang="0">
                  <a:pos x="16" y="4"/>
                </a:cxn>
                <a:cxn ang="0">
                  <a:pos x="14" y="4"/>
                </a:cxn>
                <a:cxn ang="0">
                  <a:pos x="18" y="2"/>
                </a:cxn>
                <a:cxn ang="0">
                  <a:pos x="22" y="2"/>
                </a:cxn>
                <a:cxn ang="0">
                  <a:pos x="26" y="0"/>
                </a:cxn>
                <a:cxn ang="0">
                  <a:pos x="28" y="0"/>
                </a:cxn>
                <a:cxn ang="0">
                  <a:pos x="38" y="2"/>
                </a:cxn>
                <a:cxn ang="0">
                  <a:pos x="44" y="2"/>
                </a:cxn>
                <a:cxn ang="0">
                  <a:pos x="44" y="0"/>
                </a:cxn>
                <a:cxn ang="0">
                  <a:pos x="44" y="0"/>
                </a:cxn>
                <a:cxn ang="0">
                  <a:pos x="62" y="4"/>
                </a:cxn>
                <a:cxn ang="0">
                  <a:pos x="66" y="6"/>
                </a:cxn>
                <a:cxn ang="0">
                  <a:pos x="64" y="10"/>
                </a:cxn>
                <a:cxn ang="0">
                  <a:pos x="66" y="12"/>
                </a:cxn>
                <a:cxn ang="0">
                  <a:pos x="70" y="14"/>
                </a:cxn>
                <a:cxn ang="0">
                  <a:pos x="74" y="16"/>
                </a:cxn>
                <a:cxn ang="0">
                  <a:pos x="78" y="14"/>
                </a:cxn>
                <a:cxn ang="0">
                  <a:pos x="80" y="20"/>
                </a:cxn>
                <a:cxn ang="0">
                  <a:pos x="80" y="22"/>
                </a:cxn>
                <a:cxn ang="0">
                  <a:pos x="76" y="22"/>
                </a:cxn>
                <a:cxn ang="0">
                  <a:pos x="74" y="22"/>
                </a:cxn>
                <a:cxn ang="0">
                  <a:pos x="76" y="26"/>
                </a:cxn>
                <a:cxn ang="0">
                  <a:pos x="76" y="28"/>
                </a:cxn>
                <a:cxn ang="0">
                  <a:pos x="74" y="28"/>
                </a:cxn>
                <a:cxn ang="0">
                  <a:pos x="70" y="26"/>
                </a:cxn>
                <a:cxn ang="0">
                  <a:pos x="68" y="26"/>
                </a:cxn>
                <a:cxn ang="0">
                  <a:pos x="66" y="24"/>
                </a:cxn>
                <a:cxn ang="0">
                  <a:pos x="64" y="26"/>
                </a:cxn>
                <a:cxn ang="0">
                  <a:pos x="60" y="30"/>
                </a:cxn>
                <a:cxn ang="0">
                  <a:pos x="58" y="34"/>
                </a:cxn>
                <a:cxn ang="0">
                  <a:pos x="56" y="34"/>
                </a:cxn>
                <a:cxn ang="0">
                  <a:pos x="50" y="32"/>
                </a:cxn>
                <a:cxn ang="0">
                  <a:pos x="48" y="28"/>
                </a:cxn>
                <a:cxn ang="0">
                  <a:pos x="48" y="26"/>
                </a:cxn>
                <a:cxn ang="0">
                  <a:pos x="44" y="26"/>
                </a:cxn>
                <a:cxn ang="0">
                  <a:pos x="36" y="34"/>
                </a:cxn>
                <a:cxn ang="0">
                  <a:pos x="34" y="36"/>
                </a:cxn>
                <a:cxn ang="0">
                  <a:pos x="30" y="34"/>
                </a:cxn>
                <a:cxn ang="0">
                  <a:pos x="20" y="36"/>
                </a:cxn>
              </a:cxnLst>
              <a:rect l="0" t="0" r="r" b="b"/>
              <a:pathLst>
                <a:path w="80" h="36">
                  <a:moveTo>
                    <a:pt x="20" y="36"/>
                  </a:moveTo>
                  <a:lnTo>
                    <a:pt x="20" y="36"/>
                  </a:lnTo>
                  <a:lnTo>
                    <a:pt x="18" y="34"/>
                  </a:lnTo>
                  <a:lnTo>
                    <a:pt x="18" y="32"/>
                  </a:lnTo>
                  <a:lnTo>
                    <a:pt x="18" y="32"/>
                  </a:lnTo>
                  <a:lnTo>
                    <a:pt x="16" y="28"/>
                  </a:lnTo>
                  <a:lnTo>
                    <a:pt x="14" y="26"/>
                  </a:lnTo>
                  <a:lnTo>
                    <a:pt x="14" y="26"/>
                  </a:lnTo>
                  <a:lnTo>
                    <a:pt x="12" y="26"/>
                  </a:lnTo>
                  <a:lnTo>
                    <a:pt x="10" y="26"/>
                  </a:lnTo>
                  <a:lnTo>
                    <a:pt x="6" y="28"/>
                  </a:lnTo>
                  <a:lnTo>
                    <a:pt x="6" y="28"/>
                  </a:lnTo>
                  <a:lnTo>
                    <a:pt x="2" y="30"/>
                  </a:lnTo>
                  <a:lnTo>
                    <a:pt x="2" y="32"/>
                  </a:lnTo>
                  <a:lnTo>
                    <a:pt x="0" y="30"/>
                  </a:lnTo>
                  <a:lnTo>
                    <a:pt x="0" y="30"/>
                  </a:lnTo>
                  <a:lnTo>
                    <a:pt x="2" y="22"/>
                  </a:lnTo>
                  <a:lnTo>
                    <a:pt x="4" y="14"/>
                  </a:lnTo>
                  <a:lnTo>
                    <a:pt x="4" y="14"/>
                  </a:lnTo>
                  <a:lnTo>
                    <a:pt x="6" y="12"/>
                  </a:lnTo>
                  <a:lnTo>
                    <a:pt x="8" y="12"/>
                  </a:lnTo>
                  <a:lnTo>
                    <a:pt x="14" y="8"/>
                  </a:lnTo>
                  <a:lnTo>
                    <a:pt x="14" y="8"/>
                  </a:lnTo>
                  <a:lnTo>
                    <a:pt x="16" y="6"/>
                  </a:lnTo>
                  <a:lnTo>
                    <a:pt x="16" y="6"/>
                  </a:lnTo>
                  <a:lnTo>
                    <a:pt x="16" y="4"/>
                  </a:lnTo>
                  <a:lnTo>
                    <a:pt x="16" y="4"/>
                  </a:lnTo>
                  <a:lnTo>
                    <a:pt x="14" y="4"/>
                  </a:lnTo>
                  <a:lnTo>
                    <a:pt x="16" y="2"/>
                  </a:lnTo>
                  <a:lnTo>
                    <a:pt x="18" y="2"/>
                  </a:lnTo>
                  <a:lnTo>
                    <a:pt x="22" y="2"/>
                  </a:lnTo>
                  <a:lnTo>
                    <a:pt x="22" y="2"/>
                  </a:lnTo>
                  <a:lnTo>
                    <a:pt x="24" y="2"/>
                  </a:lnTo>
                  <a:lnTo>
                    <a:pt x="26" y="0"/>
                  </a:lnTo>
                  <a:lnTo>
                    <a:pt x="26" y="0"/>
                  </a:lnTo>
                  <a:lnTo>
                    <a:pt x="28" y="0"/>
                  </a:lnTo>
                  <a:lnTo>
                    <a:pt x="28" y="0"/>
                  </a:lnTo>
                  <a:lnTo>
                    <a:pt x="38" y="2"/>
                  </a:lnTo>
                  <a:lnTo>
                    <a:pt x="42" y="2"/>
                  </a:lnTo>
                  <a:lnTo>
                    <a:pt x="44" y="2"/>
                  </a:lnTo>
                  <a:lnTo>
                    <a:pt x="44" y="0"/>
                  </a:lnTo>
                  <a:lnTo>
                    <a:pt x="44" y="0"/>
                  </a:lnTo>
                  <a:lnTo>
                    <a:pt x="44" y="0"/>
                  </a:lnTo>
                  <a:lnTo>
                    <a:pt x="44" y="0"/>
                  </a:lnTo>
                  <a:lnTo>
                    <a:pt x="48" y="0"/>
                  </a:lnTo>
                  <a:lnTo>
                    <a:pt x="62" y="4"/>
                  </a:lnTo>
                  <a:lnTo>
                    <a:pt x="62" y="4"/>
                  </a:lnTo>
                  <a:lnTo>
                    <a:pt x="66" y="6"/>
                  </a:lnTo>
                  <a:lnTo>
                    <a:pt x="64" y="8"/>
                  </a:lnTo>
                  <a:lnTo>
                    <a:pt x="64" y="10"/>
                  </a:lnTo>
                  <a:lnTo>
                    <a:pt x="66" y="12"/>
                  </a:lnTo>
                  <a:lnTo>
                    <a:pt x="66" y="12"/>
                  </a:lnTo>
                  <a:lnTo>
                    <a:pt x="70" y="12"/>
                  </a:lnTo>
                  <a:lnTo>
                    <a:pt x="70" y="14"/>
                  </a:lnTo>
                  <a:lnTo>
                    <a:pt x="72" y="16"/>
                  </a:lnTo>
                  <a:lnTo>
                    <a:pt x="74" y="16"/>
                  </a:lnTo>
                  <a:lnTo>
                    <a:pt x="74" y="16"/>
                  </a:lnTo>
                  <a:lnTo>
                    <a:pt x="78" y="14"/>
                  </a:lnTo>
                  <a:lnTo>
                    <a:pt x="78" y="16"/>
                  </a:lnTo>
                  <a:lnTo>
                    <a:pt x="80" y="20"/>
                  </a:lnTo>
                  <a:lnTo>
                    <a:pt x="80" y="20"/>
                  </a:lnTo>
                  <a:lnTo>
                    <a:pt x="80" y="22"/>
                  </a:lnTo>
                  <a:lnTo>
                    <a:pt x="76" y="22"/>
                  </a:lnTo>
                  <a:lnTo>
                    <a:pt x="76" y="22"/>
                  </a:lnTo>
                  <a:lnTo>
                    <a:pt x="74" y="22"/>
                  </a:lnTo>
                  <a:lnTo>
                    <a:pt x="74" y="22"/>
                  </a:lnTo>
                  <a:lnTo>
                    <a:pt x="76" y="26"/>
                  </a:lnTo>
                  <a:lnTo>
                    <a:pt x="76" y="26"/>
                  </a:lnTo>
                  <a:lnTo>
                    <a:pt x="76" y="28"/>
                  </a:lnTo>
                  <a:lnTo>
                    <a:pt x="76" y="28"/>
                  </a:lnTo>
                  <a:lnTo>
                    <a:pt x="74" y="28"/>
                  </a:lnTo>
                  <a:lnTo>
                    <a:pt x="74" y="28"/>
                  </a:lnTo>
                  <a:lnTo>
                    <a:pt x="72" y="26"/>
                  </a:lnTo>
                  <a:lnTo>
                    <a:pt x="70" y="26"/>
                  </a:lnTo>
                  <a:lnTo>
                    <a:pt x="70" y="26"/>
                  </a:lnTo>
                  <a:lnTo>
                    <a:pt x="68" y="26"/>
                  </a:lnTo>
                  <a:lnTo>
                    <a:pt x="66" y="24"/>
                  </a:lnTo>
                  <a:lnTo>
                    <a:pt x="66" y="24"/>
                  </a:lnTo>
                  <a:lnTo>
                    <a:pt x="64" y="24"/>
                  </a:lnTo>
                  <a:lnTo>
                    <a:pt x="64" y="26"/>
                  </a:lnTo>
                  <a:lnTo>
                    <a:pt x="62" y="28"/>
                  </a:lnTo>
                  <a:lnTo>
                    <a:pt x="60" y="30"/>
                  </a:lnTo>
                  <a:lnTo>
                    <a:pt x="60" y="30"/>
                  </a:lnTo>
                  <a:lnTo>
                    <a:pt x="58" y="34"/>
                  </a:lnTo>
                  <a:lnTo>
                    <a:pt x="58" y="34"/>
                  </a:lnTo>
                  <a:lnTo>
                    <a:pt x="56" y="34"/>
                  </a:lnTo>
                  <a:lnTo>
                    <a:pt x="56" y="34"/>
                  </a:lnTo>
                  <a:lnTo>
                    <a:pt x="50" y="32"/>
                  </a:lnTo>
                  <a:lnTo>
                    <a:pt x="48" y="30"/>
                  </a:lnTo>
                  <a:lnTo>
                    <a:pt x="48" y="28"/>
                  </a:lnTo>
                  <a:lnTo>
                    <a:pt x="48" y="28"/>
                  </a:lnTo>
                  <a:lnTo>
                    <a:pt x="48" y="26"/>
                  </a:lnTo>
                  <a:lnTo>
                    <a:pt x="44" y="26"/>
                  </a:lnTo>
                  <a:lnTo>
                    <a:pt x="44" y="26"/>
                  </a:lnTo>
                  <a:lnTo>
                    <a:pt x="40" y="30"/>
                  </a:lnTo>
                  <a:lnTo>
                    <a:pt x="36" y="34"/>
                  </a:lnTo>
                  <a:lnTo>
                    <a:pt x="36" y="34"/>
                  </a:lnTo>
                  <a:lnTo>
                    <a:pt x="34" y="36"/>
                  </a:lnTo>
                  <a:lnTo>
                    <a:pt x="30" y="34"/>
                  </a:lnTo>
                  <a:lnTo>
                    <a:pt x="30" y="34"/>
                  </a:lnTo>
                  <a:lnTo>
                    <a:pt x="24" y="34"/>
                  </a:lnTo>
                  <a:lnTo>
                    <a:pt x="20" y="36"/>
                  </a:lnTo>
                  <a:lnTo>
                    <a:pt x="20" y="36"/>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5" name="Taiwan"/>
            <p:cNvSpPr>
              <a:spLocks/>
            </p:cNvSpPr>
            <p:nvPr/>
          </p:nvSpPr>
          <p:spPr bwMode="auto">
            <a:xfrm>
              <a:off x="7388455" y="2776802"/>
              <a:ext cx="42333" cy="103188"/>
            </a:xfrm>
            <a:custGeom>
              <a:avLst/>
              <a:gdLst/>
              <a:ahLst/>
              <a:cxnLst>
                <a:cxn ang="0">
                  <a:pos x="14" y="4"/>
                </a:cxn>
                <a:cxn ang="0">
                  <a:pos x="14" y="4"/>
                </a:cxn>
                <a:cxn ang="0">
                  <a:pos x="12" y="4"/>
                </a:cxn>
                <a:cxn ang="0">
                  <a:pos x="10" y="6"/>
                </a:cxn>
                <a:cxn ang="0">
                  <a:pos x="10" y="8"/>
                </a:cxn>
                <a:cxn ang="0">
                  <a:pos x="10" y="10"/>
                </a:cxn>
                <a:cxn ang="0">
                  <a:pos x="10" y="10"/>
                </a:cxn>
                <a:cxn ang="0">
                  <a:pos x="6" y="20"/>
                </a:cxn>
                <a:cxn ang="0">
                  <a:pos x="2" y="30"/>
                </a:cxn>
                <a:cxn ang="0">
                  <a:pos x="2" y="30"/>
                </a:cxn>
                <a:cxn ang="0">
                  <a:pos x="0" y="36"/>
                </a:cxn>
                <a:cxn ang="0">
                  <a:pos x="0" y="42"/>
                </a:cxn>
                <a:cxn ang="0">
                  <a:pos x="2" y="44"/>
                </a:cxn>
                <a:cxn ang="0">
                  <a:pos x="4" y="50"/>
                </a:cxn>
                <a:cxn ang="0">
                  <a:pos x="4" y="50"/>
                </a:cxn>
                <a:cxn ang="0">
                  <a:pos x="4" y="54"/>
                </a:cxn>
                <a:cxn ang="0">
                  <a:pos x="6" y="56"/>
                </a:cxn>
                <a:cxn ang="0">
                  <a:pos x="10" y="58"/>
                </a:cxn>
                <a:cxn ang="0">
                  <a:pos x="10" y="58"/>
                </a:cxn>
                <a:cxn ang="0">
                  <a:pos x="14" y="66"/>
                </a:cxn>
                <a:cxn ang="0">
                  <a:pos x="20" y="68"/>
                </a:cxn>
                <a:cxn ang="0">
                  <a:pos x="20" y="68"/>
                </a:cxn>
                <a:cxn ang="0">
                  <a:pos x="24" y="72"/>
                </a:cxn>
                <a:cxn ang="0">
                  <a:pos x="24" y="76"/>
                </a:cxn>
                <a:cxn ang="0">
                  <a:pos x="24" y="76"/>
                </a:cxn>
                <a:cxn ang="0">
                  <a:pos x="24" y="76"/>
                </a:cxn>
                <a:cxn ang="0">
                  <a:pos x="26" y="78"/>
                </a:cxn>
                <a:cxn ang="0">
                  <a:pos x="30" y="76"/>
                </a:cxn>
                <a:cxn ang="0">
                  <a:pos x="30" y="76"/>
                </a:cxn>
                <a:cxn ang="0">
                  <a:pos x="28" y="70"/>
                </a:cxn>
                <a:cxn ang="0">
                  <a:pos x="28" y="64"/>
                </a:cxn>
                <a:cxn ang="0">
                  <a:pos x="28" y="64"/>
                </a:cxn>
                <a:cxn ang="0">
                  <a:pos x="30" y="62"/>
                </a:cxn>
                <a:cxn ang="0">
                  <a:pos x="32" y="60"/>
                </a:cxn>
                <a:cxn ang="0">
                  <a:pos x="32" y="56"/>
                </a:cxn>
                <a:cxn ang="0">
                  <a:pos x="32" y="52"/>
                </a:cxn>
                <a:cxn ang="0">
                  <a:pos x="32" y="52"/>
                </a:cxn>
                <a:cxn ang="0">
                  <a:pos x="32" y="42"/>
                </a:cxn>
                <a:cxn ang="0">
                  <a:pos x="32" y="38"/>
                </a:cxn>
                <a:cxn ang="0">
                  <a:pos x="30" y="34"/>
                </a:cxn>
                <a:cxn ang="0">
                  <a:pos x="30" y="34"/>
                </a:cxn>
                <a:cxn ang="0">
                  <a:pos x="28" y="30"/>
                </a:cxn>
                <a:cxn ang="0">
                  <a:pos x="28" y="28"/>
                </a:cxn>
                <a:cxn ang="0">
                  <a:pos x="28" y="28"/>
                </a:cxn>
                <a:cxn ang="0">
                  <a:pos x="30" y="22"/>
                </a:cxn>
                <a:cxn ang="0">
                  <a:pos x="28" y="14"/>
                </a:cxn>
                <a:cxn ang="0">
                  <a:pos x="28" y="14"/>
                </a:cxn>
                <a:cxn ang="0">
                  <a:pos x="28" y="10"/>
                </a:cxn>
                <a:cxn ang="0">
                  <a:pos x="28" y="8"/>
                </a:cxn>
                <a:cxn ang="0">
                  <a:pos x="28" y="8"/>
                </a:cxn>
                <a:cxn ang="0">
                  <a:pos x="28" y="8"/>
                </a:cxn>
                <a:cxn ang="0">
                  <a:pos x="30" y="6"/>
                </a:cxn>
                <a:cxn ang="0">
                  <a:pos x="30" y="4"/>
                </a:cxn>
                <a:cxn ang="0">
                  <a:pos x="22" y="0"/>
                </a:cxn>
                <a:cxn ang="0">
                  <a:pos x="22" y="0"/>
                </a:cxn>
                <a:cxn ang="0">
                  <a:pos x="20" y="0"/>
                </a:cxn>
                <a:cxn ang="0">
                  <a:pos x="18" y="2"/>
                </a:cxn>
                <a:cxn ang="0">
                  <a:pos x="16" y="2"/>
                </a:cxn>
                <a:cxn ang="0">
                  <a:pos x="14" y="4"/>
                </a:cxn>
                <a:cxn ang="0">
                  <a:pos x="14" y="4"/>
                </a:cxn>
              </a:cxnLst>
              <a:rect l="0" t="0" r="r" b="b"/>
              <a:pathLst>
                <a:path w="32" h="78">
                  <a:moveTo>
                    <a:pt x="14" y="4"/>
                  </a:moveTo>
                  <a:lnTo>
                    <a:pt x="14" y="4"/>
                  </a:lnTo>
                  <a:lnTo>
                    <a:pt x="12" y="4"/>
                  </a:lnTo>
                  <a:lnTo>
                    <a:pt x="10" y="6"/>
                  </a:lnTo>
                  <a:lnTo>
                    <a:pt x="10" y="8"/>
                  </a:lnTo>
                  <a:lnTo>
                    <a:pt x="10" y="10"/>
                  </a:lnTo>
                  <a:lnTo>
                    <a:pt x="10" y="10"/>
                  </a:lnTo>
                  <a:lnTo>
                    <a:pt x="6" y="20"/>
                  </a:lnTo>
                  <a:lnTo>
                    <a:pt x="2" y="30"/>
                  </a:lnTo>
                  <a:lnTo>
                    <a:pt x="2" y="30"/>
                  </a:lnTo>
                  <a:lnTo>
                    <a:pt x="0" y="36"/>
                  </a:lnTo>
                  <a:lnTo>
                    <a:pt x="0" y="42"/>
                  </a:lnTo>
                  <a:lnTo>
                    <a:pt x="2" y="44"/>
                  </a:lnTo>
                  <a:lnTo>
                    <a:pt x="4" y="50"/>
                  </a:lnTo>
                  <a:lnTo>
                    <a:pt x="4" y="50"/>
                  </a:lnTo>
                  <a:lnTo>
                    <a:pt x="4" y="54"/>
                  </a:lnTo>
                  <a:lnTo>
                    <a:pt x="6" y="56"/>
                  </a:lnTo>
                  <a:lnTo>
                    <a:pt x="10" y="58"/>
                  </a:lnTo>
                  <a:lnTo>
                    <a:pt x="10" y="58"/>
                  </a:lnTo>
                  <a:lnTo>
                    <a:pt x="14" y="66"/>
                  </a:lnTo>
                  <a:lnTo>
                    <a:pt x="20" y="68"/>
                  </a:lnTo>
                  <a:lnTo>
                    <a:pt x="20" y="68"/>
                  </a:lnTo>
                  <a:lnTo>
                    <a:pt x="24" y="72"/>
                  </a:lnTo>
                  <a:lnTo>
                    <a:pt x="24" y="76"/>
                  </a:lnTo>
                  <a:lnTo>
                    <a:pt x="24" y="76"/>
                  </a:lnTo>
                  <a:lnTo>
                    <a:pt x="24" y="76"/>
                  </a:lnTo>
                  <a:lnTo>
                    <a:pt x="26" y="78"/>
                  </a:lnTo>
                  <a:lnTo>
                    <a:pt x="30" y="76"/>
                  </a:lnTo>
                  <a:lnTo>
                    <a:pt x="30" y="76"/>
                  </a:lnTo>
                  <a:lnTo>
                    <a:pt x="28" y="70"/>
                  </a:lnTo>
                  <a:lnTo>
                    <a:pt x="28" y="64"/>
                  </a:lnTo>
                  <a:lnTo>
                    <a:pt x="28" y="64"/>
                  </a:lnTo>
                  <a:lnTo>
                    <a:pt x="30" y="62"/>
                  </a:lnTo>
                  <a:lnTo>
                    <a:pt x="32" y="60"/>
                  </a:lnTo>
                  <a:lnTo>
                    <a:pt x="32" y="56"/>
                  </a:lnTo>
                  <a:lnTo>
                    <a:pt x="32" y="52"/>
                  </a:lnTo>
                  <a:lnTo>
                    <a:pt x="32" y="52"/>
                  </a:lnTo>
                  <a:lnTo>
                    <a:pt x="32" y="42"/>
                  </a:lnTo>
                  <a:lnTo>
                    <a:pt x="32" y="38"/>
                  </a:lnTo>
                  <a:lnTo>
                    <a:pt x="30" y="34"/>
                  </a:lnTo>
                  <a:lnTo>
                    <a:pt x="30" y="34"/>
                  </a:lnTo>
                  <a:lnTo>
                    <a:pt x="28" y="30"/>
                  </a:lnTo>
                  <a:lnTo>
                    <a:pt x="28" y="28"/>
                  </a:lnTo>
                  <a:lnTo>
                    <a:pt x="28" y="28"/>
                  </a:lnTo>
                  <a:lnTo>
                    <a:pt x="30" y="22"/>
                  </a:lnTo>
                  <a:lnTo>
                    <a:pt x="28" y="14"/>
                  </a:lnTo>
                  <a:lnTo>
                    <a:pt x="28" y="14"/>
                  </a:lnTo>
                  <a:lnTo>
                    <a:pt x="28" y="10"/>
                  </a:lnTo>
                  <a:lnTo>
                    <a:pt x="28" y="8"/>
                  </a:lnTo>
                  <a:lnTo>
                    <a:pt x="28" y="8"/>
                  </a:lnTo>
                  <a:lnTo>
                    <a:pt x="28" y="8"/>
                  </a:lnTo>
                  <a:lnTo>
                    <a:pt x="30" y="6"/>
                  </a:lnTo>
                  <a:lnTo>
                    <a:pt x="30" y="4"/>
                  </a:lnTo>
                  <a:lnTo>
                    <a:pt x="22" y="0"/>
                  </a:lnTo>
                  <a:lnTo>
                    <a:pt x="22" y="0"/>
                  </a:lnTo>
                  <a:lnTo>
                    <a:pt x="20" y="0"/>
                  </a:lnTo>
                  <a:lnTo>
                    <a:pt x="18" y="2"/>
                  </a:lnTo>
                  <a:lnTo>
                    <a:pt x="16" y="2"/>
                  </a:lnTo>
                  <a:lnTo>
                    <a:pt x="14" y="4"/>
                  </a:lnTo>
                  <a:lnTo>
                    <a:pt x="14" y="4"/>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6" name="Thailand"/>
            <p:cNvSpPr>
              <a:spLocks/>
            </p:cNvSpPr>
            <p:nvPr/>
          </p:nvSpPr>
          <p:spPr bwMode="auto">
            <a:xfrm>
              <a:off x="6811664" y="2935552"/>
              <a:ext cx="256646" cy="476250"/>
            </a:xfrm>
            <a:custGeom>
              <a:avLst/>
              <a:gdLst/>
              <a:ahLst/>
              <a:cxnLst>
                <a:cxn ang="0">
                  <a:pos x="114" y="336"/>
                </a:cxn>
                <a:cxn ang="0">
                  <a:pos x="100" y="312"/>
                </a:cxn>
                <a:cxn ang="0">
                  <a:pos x="86" y="290"/>
                </a:cxn>
                <a:cxn ang="0">
                  <a:pos x="72" y="276"/>
                </a:cxn>
                <a:cxn ang="0">
                  <a:pos x="68" y="246"/>
                </a:cxn>
                <a:cxn ang="0">
                  <a:pos x="76" y="216"/>
                </a:cxn>
                <a:cxn ang="0">
                  <a:pos x="72" y="184"/>
                </a:cxn>
                <a:cxn ang="0">
                  <a:pos x="70" y="160"/>
                </a:cxn>
                <a:cxn ang="0">
                  <a:pos x="80" y="158"/>
                </a:cxn>
                <a:cxn ang="0">
                  <a:pos x="94" y="162"/>
                </a:cxn>
                <a:cxn ang="0">
                  <a:pos x="94" y="182"/>
                </a:cxn>
                <a:cxn ang="0">
                  <a:pos x="110" y="186"/>
                </a:cxn>
                <a:cxn ang="0">
                  <a:pos x="124" y="204"/>
                </a:cxn>
                <a:cxn ang="0">
                  <a:pos x="130" y="204"/>
                </a:cxn>
                <a:cxn ang="0">
                  <a:pos x="136" y="214"/>
                </a:cxn>
                <a:cxn ang="0">
                  <a:pos x="144" y="210"/>
                </a:cxn>
                <a:cxn ang="0">
                  <a:pos x="126" y="178"/>
                </a:cxn>
                <a:cxn ang="0">
                  <a:pos x="154" y="156"/>
                </a:cxn>
                <a:cxn ang="0">
                  <a:pos x="166" y="154"/>
                </a:cxn>
                <a:cxn ang="0">
                  <a:pos x="186" y="150"/>
                </a:cxn>
                <a:cxn ang="0">
                  <a:pos x="194" y="132"/>
                </a:cxn>
                <a:cxn ang="0">
                  <a:pos x="186" y="116"/>
                </a:cxn>
                <a:cxn ang="0">
                  <a:pos x="164" y="104"/>
                </a:cxn>
                <a:cxn ang="0">
                  <a:pos x="154" y="76"/>
                </a:cxn>
                <a:cxn ang="0">
                  <a:pos x="120" y="56"/>
                </a:cxn>
                <a:cxn ang="0">
                  <a:pos x="96" y="54"/>
                </a:cxn>
                <a:cxn ang="0">
                  <a:pos x="72" y="60"/>
                </a:cxn>
                <a:cxn ang="0">
                  <a:pos x="78" y="20"/>
                </a:cxn>
                <a:cxn ang="0">
                  <a:pos x="60" y="14"/>
                </a:cxn>
                <a:cxn ang="0">
                  <a:pos x="52" y="4"/>
                </a:cxn>
                <a:cxn ang="0">
                  <a:pos x="30" y="6"/>
                </a:cxn>
                <a:cxn ang="0">
                  <a:pos x="12" y="12"/>
                </a:cxn>
                <a:cxn ang="0">
                  <a:pos x="12" y="34"/>
                </a:cxn>
                <a:cxn ang="0">
                  <a:pos x="0" y="42"/>
                </a:cxn>
                <a:cxn ang="0">
                  <a:pos x="6" y="54"/>
                </a:cxn>
                <a:cxn ang="0">
                  <a:pos x="22" y="74"/>
                </a:cxn>
                <a:cxn ang="0">
                  <a:pos x="50" y="98"/>
                </a:cxn>
                <a:cxn ang="0">
                  <a:pos x="38" y="104"/>
                </a:cxn>
                <a:cxn ang="0">
                  <a:pos x="38" y="122"/>
                </a:cxn>
                <a:cxn ang="0">
                  <a:pos x="34" y="138"/>
                </a:cxn>
                <a:cxn ang="0">
                  <a:pos x="58" y="164"/>
                </a:cxn>
                <a:cxn ang="0">
                  <a:pos x="68" y="214"/>
                </a:cxn>
                <a:cxn ang="0">
                  <a:pos x="56" y="248"/>
                </a:cxn>
                <a:cxn ang="0">
                  <a:pos x="54" y="264"/>
                </a:cxn>
                <a:cxn ang="0">
                  <a:pos x="50" y="284"/>
                </a:cxn>
                <a:cxn ang="0">
                  <a:pos x="44" y="302"/>
                </a:cxn>
                <a:cxn ang="0">
                  <a:pos x="52" y="304"/>
                </a:cxn>
                <a:cxn ang="0">
                  <a:pos x="58" y="310"/>
                </a:cxn>
                <a:cxn ang="0">
                  <a:pos x="66" y="322"/>
                </a:cxn>
                <a:cxn ang="0">
                  <a:pos x="70" y="320"/>
                </a:cxn>
                <a:cxn ang="0">
                  <a:pos x="76" y="338"/>
                </a:cxn>
                <a:cxn ang="0">
                  <a:pos x="98" y="350"/>
                </a:cxn>
                <a:cxn ang="0">
                  <a:pos x="124" y="356"/>
                </a:cxn>
              </a:cxnLst>
              <a:rect l="0" t="0" r="r" b="b"/>
              <a:pathLst>
                <a:path w="194" h="360">
                  <a:moveTo>
                    <a:pt x="130" y="350"/>
                  </a:moveTo>
                  <a:lnTo>
                    <a:pt x="130" y="350"/>
                  </a:lnTo>
                  <a:lnTo>
                    <a:pt x="126" y="342"/>
                  </a:lnTo>
                  <a:lnTo>
                    <a:pt x="120" y="338"/>
                  </a:lnTo>
                  <a:lnTo>
                    <a:pt x="118" y="336"/>
                  </a:lnTo>
                  <a:lnTo>
                    <a:pt x="114" y="336"/>
                  </a:lnTo>
                  <a:lnTo>
                    <a:pt x="110" y="336"/>
                  </a:lnTo>
                  <a:lnTo>
                    <a:pt x="108" y="334"/>
                  </a:lnTo>
                  <a:lnTo>
                    <a:pt x="104" y="328"/>
                  </a:lnTo>
                  <a:lnTo>
                    <a:pt x="102" y="320"/>
                  </a:lnTo>
                  <a:lnTo>
                    <a:pt x="102" y="320"/>
                  </a:lnTo>
                  <a:lnTo>
                    <a:pt x="100" y="312"/>
                  </a:lnTo>
                  <a:lnTo>
                    <a:pt x="98" y="306"/>
                  </a:lnTo>
                  <a:lnTo>
                    <a:pt x="96" y="304"/>
                  </a:lnTo>
                  <a:lnTo>
                    <a:pt x="94" y="302"/>
                  </a:lnTo>
                  <a:lnTo>
                    <a:pt x="90" y="300"/>
                  </a:lnTo>
                  <a:lnTo>
                    <a:pt x="86" y="290"/>
                  </a:lnTo>
                  <a:lnTo>
                    <a:pt x="86" y="290"/>
                  </a:lnTo>
                  <a:lnTo>
                    <a:pt x="84" y="280"/>
                  </a:lnTo>
                  <a:lnTo>
                    <a:pt x="82" y="276"/>
                  </a:lnTo>
                  <a:lnTo>
                    <a:pt x="78" y="278"/>
                  </a:lnTo>
                  <a:lnTo>
                    <a:pt x="70" y="280"/>
                  </a:lnTo>
                  <a:lnTo>
                    <a:pt x="70" y="280"/>
                  </a:lnTo>
                  <a:lnTo>
                    <a:pt x="72" y="276"/>
                  </a:lnTo>
                  <a:lnTo>
                    <a:pt x="70" y="274"/>
                  </a:lnTo>
                  <a:lnTo>
                    <a:pt x="68" y="266"/>
                  </a:lnTo>
                  <a:lnTo>
                    <a:pt x="66" y="256"/>
                  </a:lnTo>
                  <a:lnTo>
                    <a:pt x="66" y="252"/>
                  </a:lnTo>
                  <a:lnTo>
                    <a:pt x="68" y="246"/>
                  </a:lnTo>
                  <a:lnTo>
                    <a:pt x="68" y="246"/>
                  </a:lnTo>
                  <a:lnTo>
                    <a:pt x="70" y="236"/>
                  </a:lnTo>
                  <a:lnTo>
                    <a:pt x="68" y="232"/>
                  </a:lnTo>
                  <a:lnTo>
                    <a:pt x="68" y="228"/>
                  </a:lnTo>
                  <a:lnTo>
                    <a:pt x="72" y="220"/>
                  </a:lnTo>
                  <a:lnTo>
                    <a:pt x="72" y="220"/>
                  </a:lnTo>
                  <a:lnTo>
                    <a:pt x="76" y="216"/>
                  </a:lnTo>
                  <a:lnTo>
                    <a:pt x="78" y="210"/>
                  </a:lnTo>
                  <a:lnTo>
                    <a:pt x="76" y="206"/>
                  </a:lnTo>
                  <a:lnTo>
                    <a:pt x="76" y="202"/>
                  </a:lnTo>
                  <a:lnTo>
                    <a:pt x="72" y="194"/>
                  </a:lnTo>
                  <a:lnTo>
                    <a:pt x="72" y="190"/>
                  </a:lnTo>
                  <a:lnTo>
                    <a:pt x="72" y="184"/>
                  </a:lnTo>
                  <a:lnTo>
                    <a:pt x="72" y="184"/>
                  </a:lnTo>
                  <a:lnTo>
                    <a:pt x="74" y="178"/>
                  </a:lnTo>
                  <a:lnTo>
                    <a:pt x="72" y="174"/>
                  </a:lnTo>
                  <a:lnTo>
                    <a:pt x="70" y="166"/>
                  </a:lnTo>
                  <a:lnTo>
                    <a:pt x="68" y="162"/>
                  </a:lnTo>
                  <a:lnTo>
                    <a:pt x="70" y="160"/>
                  </a:lnTo>
                  <a:lnTo>
                    <a:pt x="72" y="160"/>
                  </a:lnTo>
                  <a:lnTo>
                    <a:pt x="72" y="160"/>
                  </a:lnTo>
                  <a:lnTo>
                    <a:pt x="78" y="160"/>
                  </a:lnTo>
                  <a:lnTo>
                    <a:pt x="82" y="158"/>
                  </a:lnTo>
                  <a:lnTo>
                    <a:pt x="82" y="158"/>
                  </a:lnTo>
                  <a:lnTo>
                    <a:pt x="80" y="158"/>
                  </a:lnTo>
                  <a:lnTo>
                    <a:pt x="80" y="158"/>
                  </a:lnTo>
                  <a:lnTo>
                    <a:pt x="82" y="160"/>
                  </a:lnTo>
                  <a:lnTo>
                    <a:pt x="84" y="162"/>
                  </a:lnTo>
                  <a:lnTo>
                    <a:pt x="90" y="162"/>
                  </a:lnTo>
                  <a:lnTo>
                    <a:pt x="92" y="160"/>
                  </a:lnTo>
                  <a:lnTo>
                    <a:pt x="94" y="162"/>
                  </a:lnTo>
                  <a:lnTo>
                    <a:pt x="94" y="164"/>
                  </a:lnTo>
                  <a:lnTo>
                    <a:pt x="92" y="168"/>
                  </a:lnTo>
                  <a:lnTo>
                    <a:pt x="92" y="168"/>
                  </a:lnTo>
                  <a:lnTo>
                    <a:pt x="90" y="176"/>
                  </a:lnTo>
                  <a:lnTo>
                    <a:pt x="92" y="180"/>
                  </a:lnTo>
                  <a:lnTo>
                    <a:pt x="94" y="182"/>
                  </a:lnTo>
                  <a:lnTo>
                    <a:pt x="98" y="182"/>
                  </a:lnTo>
                  <a:lnTo>
                    <a:pt x="98" y="182"/>
                  </a:lnTo>
                  <a:lnTo>
                    <a:pt x="100" y="182"/>
                  </a:lnTo>
                  <a:lnTo>
                    <a:pt x="102" y="184"/>
                  </a:lnTo>
                  <a:lnTo>
                    <a:pt x="106" y="186"/>
                  </a:lnTo>
                  <a:lnTo>
                    <a:pt x="110" y="186"/>
                  </a:lnTo>
                  <a:lnTo>
                    <a:pt x="110" y="186"/>
                  </a:lnTo>
                  <a:lnTo>
                    <a:pt x="112" y="186"/>
                  </a:lnTo>
                  <a:lnTo>
                    <a:pt x="114" y="186"/>
                  </a:lnTo>
                  <a:lnTo>
                    <a:pt x="116" y="192"/>
                  </a:lnTo>
                  <a:lnTo>
                    <a:pt x="118" y="198"/>
                  </a:lnTo>
                  <a:lnTo>
                    <a:pt x="124" y="204"/>
                  </a:lnTo>
                  <a:lnTo>
                    <a:pt x="124" y="204"/>
                  </a:lnTo>
                  <a:lnTo>
                    <a:pt x="128" y="206"/>
                  </a:lnTo>
                  <a:lnTo>
                    <a:pt x="128" y="206"/>
                  </a:lnTo>
                  <a:lnTo>
                    <a:pt x="130" y="204"/>
                  </a:lnTo>
                  <a:lnTo>
                    <a:pt x="130" y="204"/>
                  </a:lnTo>
                  <a:lnTo>
                    <a:pt x="130" y="204"/>
                  </a:lnTo>
                  <a:lnTo>
                    <a:pt x="132" y="204"/>
                  </a:lnTo>
                  <a:lnTo>
                    <a:pt x="132" y="206"/>
                  </a:lnTo>
                  <a:lnTo>
                    <a:pt x="132" y="208"/>
                  </a:lnTo>
                  <a:lnTo>
                    <a:pt x="134" y="210"/>
                  </a:lnTo>
                  <a:lnTo>
                    <a:pt x="134" y="210"/>
                  </a:lnTo>
                  <a:lnTo>
                    <a:pt x="136" y="214"/>
                  </a:lnTo>
                  <a:lnTo>
                    <a:pt x="138" y="218"/>
                  </a:lnTo>
                  <a:lnTo>
                    <a:pt x="140" y="222"/>
                  </a:lnTo>
                  <a:lnTo>
                    <a:pt x="144" y="226"/>
                  </a:lnTo>
                  <a:lnTo>
                    <a:pt x="144" y="226"/>
                  </a:lnTo>
                  <a:lnTo>
                    <a:pt x="146" y="218"/>
                  </a:lnTo>
                  <a:lnTo>
                    <a:pt x="144" y="210"/>
                  </a:lnTo>
                  <a:lnTo>
                    <a:pt x="142" y="204"/>
                  </a:lnTo>
                  <a:lnTo>
                    <a:pt x="136" y="198"/>
                  </a:lnTo>
                  <a:lnTo>
                    <a:pt x="128" y="188"/>
                  </a:lnTo>
                  <a:lnTo>
                    <a:pt x="126" y="182"/>
                  </a:lnTo>
                  <a:lnTo>
                    <a:pt x="126" y="178"/>
                  </a:lnTo>
                  <a:lnTo>
                    <a:pt x="126" y="178"/>
                  </a:lnTo>
                  <a:lnTo>
                    <a:pt x="136" y="166"/>
                  </a:lnTo>
                  <a:lnTo>
                    <a:pt x="142" y="156"/>
                  </a:lnTo>
                  <a:lnTo>
                    <a:pt x="142" y="156"/>
                  </a:lnTo>
                  <a:lnTo>
                    <a:pt x="146" y="154"/>
                  </a:lnTo>
                  <a:lnTo>
                    <a:pt x="150" y="154"/>
                  </a:lnTo>
                  <a:lnTo>
                    <a:pt x="154" y="156"/>
                  </a:lnTo>
                  <a:lnTo>
                    <a:pt x="156" y="154"/>
                  </a:lnTo>
                  <a:lnTo>
                    <a:pt x="156" y="154"/>
                  </a:lnTo>
                  <a:lnTo>
                    <a:pt x="160" y="154"/>
                  </a:lnTo>
                  <a:lnTo>
                    <a:pt x="162" y="154"/>
                  </a:lnTo>
                  <a:lnTo>
                    <a:pt x="164" y="156"/>
                  </a:lnTo>
                  <a:lnTo>
                    <a:pt x="166" y="154"/>
                  </a:lnTo>
                  <a:lnTo>
                    <a:pt x="166" y="154"/>
                  </a:lnTo>
                  <a:lnTo>
                    <a:pt x="170" y="154"/>
                  </a:lnTo>
                  <a:lnTo>
                    <a:pt x="172" y="154"/>
                  </a:lnTo>
                  <a:lnTo>
                    <a:pt x="178" y="154"/>
                  </a:lnTo>
                  <a:lnTo>
                    <a:pt x="186" y="150"/>
                  </a:lnTo>
                  <a:lnTo>
                    <a:pt x="186" y="150"/>
                  </a:lnTo>
                  <a:lnTo>
                    <a:pt x="188" y="146"/>
                  </a:lnTo>
                  <a:lnTo>
                    <a:pt x="190" y="144"/>
                  </a:lnTo>
                  <a:lnTo>
                    <a:pt x="190" y="140"/>
                  </a:lnTo>
                  <a:lnTo>
                    <a:pt x="192" y="136"/>
                  </a:lnTo>
                  <a:lnTo>
                    <a:pt x="192" y="136"/>
                  </a:lnTo>
                  <a:lnTo>
                    <a:pt x="194" y="132"/>
                  </a:lnTo>
                  <a:lnTo>
                    <a:pt x="192" y="130"/>
                  </a:lnTo>
                  <a:lnTo>
                    <a:pt x="190" y="126"/>
                  </a:lnTo>
                  <a:lnTo>
                    <a:pt x="188" y="122"/>
                  </a:lnTo>
                  <a:lnTo>
                    <a:pt x="188" y="122"/>
                  </a:lnTo>
                  <a:lnTo>
                    <a:pt x="188" y="118"/>
                  </a:lnTo>
                  <a:lnTo>
                    <a:pt x="186" y="116"/>
                  </a:lnTo>
                  <a:lnTo>
                    <a:pt x="182" y="114"/>
                  </a:lnTo>
                  <a:lnTo>
                    <a:pt x="180" y="110"/>
                  </a:lnTo>
                  <a:lnTo>
                    <a:pt x="180" y="110"/>
                  </a:lnTo>
                  <a:lnTo>
                    <a:pt x="176" y="110"/>
                  </a:lnTo>
                  <a:lnTo>
                    <a:pt x="172" y="110"/>
                  </a:lnTo>
                  <a:lnTo>
                    <a:pt x="164" y="104"/>
                  </a:lnTo>
                  <a:lnTo>
                    <a:pt x="158" y="94"/>
                  </a:lnTo>
                  <a:lnTo>
                    <a:pt x="158" y="90"/>
                  </a:lnTo>
                  <a:lnTo>
                    <a:pt x="158" y="86"/>
                  </a:lnTo>
                  <a:lnTo>
                    <a:pt x="158" y="86"/>
                  </a:lnTo>
                  <a:lnTo>
                    <a:pt x="158" y="80"/>
                  </a:lnTo>
                  <a:lnTo>
                    <a:pt x="154" y="76"/>
                  </a:lnTo>
                  <a:lnTo>
                    <a:pt x="148" y="72"/>
                  </a:lnTo>
                  <a:lnTo>
                    <a:pt x="136" y="62"/>
                  </a:lnTo>
                  <a:lnTo>
                    <a:pt x="136" y="62"/>
                  </a:lnTo>
                  <a:lnTo>
                    <a:pt x="130" y="56"/>
                  </a:lnTo>
                  <a:lnTo>
                    <a:pt x="126" y="54"/>
                  </a:lnTo>
                  <a:lnTo>
                    <a:pt x="120" y="56"/>
                  </a:lnTo>
                  <a:lnTo>
                    <a:pt x="114" y="56"/>
                  </a:lnTo>
                  <a:lnTo>
                    <a:pt x="110" y="58"/>
                  </a:lnTo>
                  <a:lnTo>
                    <a:pt x="106" y="60"/>
                  </a:lnTo>
                  <a:lnTo>
                    <a:pt x="102" y="58"/>
                  </a:lnTo>
                  <a:lnTo>
                    <a:pt x="96" y="54"/>
                  </a:lnTo>
                  <a:lnTo>
                    <a:pt x="96" y="54"/>
                  </a:lnTo>
                  <a:lnTo>
                    <a:pt x="92" y="50"/>
                  </a:lnTo>
                  <a:lnTo>
                    <a:pt x="88" y="50"/>
                  </a:lnTo>
                  <a:lnTo>
                    <a:pt x="84" y="52"/>
                  </a:lnTo>
                  <a:lnTo>
                    <a:pt x="80" y="54"/>
                  </a:lnTo>
                  <a:lnTo>
                    <a:pt x="74" y="58"/>
                  </a:lnTo>
                  <a:lnTo>
                    <a:pt x="72" y="60"/>
                  </a:lnTo>
                  <a:lnTo>
                    <a:pt x="70" y="58"/>
                  </a:lnTo>
                  <a:lnTo>
                    <a:pt x="70" y="58"/>
                  </a:lnTo>
                  <a:lnTo>
                    <a:pt x="70" y="52"/>
                  </a:lnTo>
                  <a:lnTo>
                    <a:pt x="70" y="46"/>
                  </a:lnTo>
                  <a:lnTo>
                    <a:pt x="72" y="32"/>
                  </a:lnTo>
                  <a:lnTo>
                    <a:pt x="78" y="20"/>
                  </a:lnTo>
                  <a:lnTo>
                    <a:pt x="78" y="14"/>
                  </a:lnTo>
                  <a:lnTo>
                    <a:pt x="78" y="14"/>
                  </a:lnTo>
                  <a:lnTo>
                    <a:pt x="76" y="12"/>
                  </a:lnTo>
                  <a:lnTo>
                    <a:pt x="74" y="12"/>
                  </a:lnTo>
                  <a:lnTo>
                    <a:pt x="68" y="12"/>
                  </a:lnTo>
                  <a:lnTo>
                    <a:pt x="60" y="14"/>
                  </a:lnTo>
                  <a:lnTo>
                    <a:pt x="58" y="12"/>
                  </a:lnTo>
                  <a:lnTo>
                    <a:pt x="56" y="8"/>
                  </a:lnTo>
                  <a:lnTo>
                    <a:pt x="56" y="8"/>
                  </a:lnTo>
                  <a:lnTo>
                    <a:pt x="54" y="4"/>
                  </a:lnTo>
                  <a:lnTo>
                    <a:pt x="54" y="4"/>
                  </a:lnTo>
                  <a:lnTo>
                    <a:pt x="52" y="4"/>
                  </a:lnTo>
                  <a:lnTo>
                    <a:pt x="50" y="0"/>
                  </a:lnTo>
                  <a:lnTo>
                    <a:pt x="50" y="0"/>
                  </a:lnTo>
                  <a:lnTo>
                    <a:pt x="34" y="2"/>
                  </a:lnTo>
                  <a:lnTo>
                    <a:pt x="32" y="2"/>
                  </a:lnTo>
                  <a:lnTo>
                    <a:pt x="30" y="6"/>
                  </a:lnTo>
                  <a:lnTo>
                    <a:pt x="30" y="6"/>
                  </a:lnTo>
                  <a:lnTo>
                    <a:pt x="30" y="8"/>
                  </a:lnTo>
                  <a:lnTo>
                    <a:pt x="28" y="8"/>
                  </a:lnTo>
                  <a:lnTo>
                    <a:pt x="24" y="8"/>
                  </a:lnTo>
                  <a:lnTo>
                    <a:pt x="18" y="8"/>
                  </a:lnTo>
                  <a:lnTo>
                    <a:pt x="14" y="10"/>
                  </a:lnTo>
                  <a:lnTo>
                    <a:pt x="12" y="12"/>
                  </a:lnTo>
                  <a:lnTo>
                    <a:pt x="12" y="12"/>
                  </a:lnTo>
                  <a:lnTo>
                    <a:pt x="10" y="16"/>
                  </a:lnTo>
                  <a:lnTo>
                    <a:pt x="8" y="20"/>
                  </a:lnTo>
                  <a:lnTo>
                    <a:pt x="10" y="26"/>
                  </a:lnTo>
                  <a:lnTo>
                    <a:pt x="12" y="30"/>
                  </a:lnTo>
                  <a:lnTo>
                    <a:pt x="12" y="34"/>
                  </a:lnTo>
                  <a:lnTo>
                    <a:pt x="10" y="36"/>
                  </a:lnTo>
                  <a:lnTo>
                    <a:pt x="10" y="36"/>
                  </a:lnTo>
                  <a:lnTo>
                    <a:pt x="8" y="40"/>
                  </a:lnTo>
                  <a:lnTo>
                    <a:pt x="4" y="40"/>
                  </a:lnTo>
                  <a:lnTo>
                    <a:pt x="2" y="40"/>
                  </a:lnTo>
                  <a:lnTo>
                    <a:pt x="0" y="42"/>
                  </a:lnTo>
                  <a:lnTo>
                    <a:pt x="0" y="42"/>
                  </a:lnTo>
                  <a:lnTo>
                    <a:pt x="0" y="46"/>
                  </a:lnTo>
                  <a:lnTo>
                    <a:pt x="2" y="48"/>
                  </a:lnTo>
                  <a:lnTo>
                    <a:pt x="4" y="52"/>
                  </a:lnTo>
                  <a:lnTo>
                    <a:pt x="6" y="54"/>
                  </a:lnTo>
                  <a:lnTo>
                    <a:pt x="6" y="54"/>
                  </a:lnTo>
                  <a:lnTo>
                    <a:pt x="4" y="56"/>
                  </a:lnTo>
                  <a:lnTo>
                    <a:pt x="4" y="58"/>
                  </a:lnTo>
                  <a:lnTo>
                    <a:pt x="10" y="62"/>
                  </a:lnTo>
                  <a:lnTo>
                    <a:pt x="16" y="68"/>
                  </a:lnTo>
                  <a:lnTo>
                    <a:pt x="22" y="74"/>
                  </a:lnTo>
                  <a:lnTo>
                    <a:pt x="22" y="74"/>
                  </a:lnTo>
                  <a:lnTo>
                    <a:pt x="30" y="82"/>
                  </a:lnTo>
                  <a:lnTo>
                    <a:pt x="38" y="88"/>
                  </a:lnTo>
                  <a:lnTo>
                    <a:pt x="46" y="92"/>
                  </a:lnTo>
                  <a:lnTo>
                    <a:pt x="50" y="96"/>
                  </a:lnTo>
                  <a:lnTo>
                    <a:pt x="50" y="96"/>
                  </a:lnTo>
                  <a:lnTo>
                    <a:pt x="50" y="98"/>
                  </a:lnTo>
                  <a:lnTo>
                    <a:pt x="48" y="98"/>
                  </a:lnTo>
                  <a:lnTo>
                    <a:pt x="44" y="98"/>
                  </a:lnTo>
                  <a:lnTo>
                    <a:pt x="40" y="100"/>
                  </a:lnTo>
                  <a:lnTo>
                    <a:pt x="40" y="102"/>
                  </a:lnTo>
                  <a:lnTo>
                    <a:pt x="38" y="104"/>
                  </a:lnTo>
                  <a:lnTo>
                    <a:pt x="38" y="104"/>
                  </a:lnTo>
                  <a:lnTo>
                    <a:pt x="38" y="108"/>
                  </a:lnTo>
                  <a:lnTo>
                    <a:pt x="40" y="110"/>
                  </a:lnTo>
                  <a:lnTo>
                    <a:pt x="40" y="112"/>
                  </a:lnTo>
                  <a:lnTo>
                    <a:pt x="38" y="118"/>
                  </a:lnTo>
                  <a:lnTo>
                    <a:pt x="38" y="118"/>
                  </a:lnTo>
                  <a:lnTo>
                    <a:pt x="38" y="122"/>
                  </a:lnTo>
                  <a:lnTo>
                    <a:pt x="38" y="126"/>
                  </a:lnTo>
                  <a:lnTo>
                    <a:pt x="40" y="130"/>
                  </a:lnTo>
                  <a:lnTo>
                    <a:pt x="38" y="132"/>
                  </a:lnTo>
                  <a:lnTo>
                    <a:pt x="38" y="132"/>
                  </a:lnTo>
                  <a:lnTo>
                    <a:pt x="36" y="134"/>
                  </a:lnTo>
                  <a:lnTo>
                    <a:pt x="34" y="138"/>
                  </a:lnTo>
                  <a:lnTo>
                    <a:pt x="36" y="142"/>
                  </a:lnTo>
                  <a:lnTo>
                    <a:pt x="42" y="150"/>
                  </a:lnTo>
                  <a:lnTo>
                    <a:pt x="52" y="158"/>
                  </a:lnTo>
                  <a:lnTo>
                    <a:pt x="52" y="158"/>
                  </a:lnTo>
                  <a:lnTo>
                    <a:pt x="56" y="160"/>
                  </a:lnTo>
                  <a:lnTo>
                    <a:pt x="58" y="164"/>
                  </a:lnTo>
                  <a:lnTo>
                    <a:pt x="58" y="172"/>
                  </a:lnTo>
                  <a:lnTo>
                    <a:pt x="58" y="184"/>
                  </a:lnTo>
                  <a:lnTo>
                    <a:pt x="60" y="192"/>
                  </a:lnTo>
                  <a:lnTo>
                    <a:pt x="64" y="204"/>
                  </a:lnTo>
                  <a:lnTo>
                    <a:pt x="64" y="204"/>
                  </a:lnTo>
                  <a:lnTo>
                    <a:pt x="68" y="214"/>
                  </a:lnTo>
                  <a:lnTo>
                    <a:pt x="68" y="220"/>
                  </a:lnTo>
                  <a:lnTo>
                    <a:pt x="66" y="226"/>
                  </a:lnTo>
                  <a:lnTo>
                    <a:pt x="64" y="232"/>
                  </a:lnTo>
                  <a:lnTo>
                    <a:pt x="58" y="240"/>
                  </a:lnTo>
                  <a:lnTo>
                    <a:pt x="56" y="244"/>
                  </a:lnTo>
                  <a:lnTo>
                    <a:pt x="56" y="248"/>
                  </a:lnTo>
                  <a:lnTo>
                    <a:pt x="56" y="248"/>
                  </a:lnTo>
                  <a:lnTo>
                    <a:pt x="56" y="256"/>
                  </a:lnTo>
                  <a:lnTo>
                    <a:pt x="56" y="258"/>
                  </a:lnTo>
                  <a:lnTo>
                    <a:pt x="54" y="260"/>
                  </a:lnTo>
                  <a:lnTo>
                    <a:pt x="54" y="264"/>
                  </a:lnTo>
                  <a:lnTo>
                    <a:pt x="54" y="264"/>
                  </a:lnTo>
                  <a:lnTo>
                    <a:pt x="50" y="270"/>
                  </a:lnTo>
                  <a:lnTo>
                    <a:pt x="48" y="274"/>
                  </a:lnTo>
                  <a:lnTo>
                    <a:pt x="46" y="278"/>
                  </a:lnTo>
                  <a:lnTo>
                    <a:pt x="46" y="282"/>
                  </a:lnTo>
                  <a:lnTo>
                    <a:pt x="50" y="284"/>
                  </a:lnTo>
                  <a:lnTo>
                    <a:pt x="50" y="284"/>
                  </a:lnTo>
                  <a:lnTo>
                    <a:pt x="46" y="288"/>
                  </a:lnTo>
                  <a:lnTo>
                    <a:pt x="44" y="290"/>
                  </a:lnTo>
                  <a:lnTo>
                    <a:pt x="46" y="292"/>
                  </a:lnTo>
                  <a:lnTo>
                    <a:pt x="44" y="298"/>
                  </a:lnTo>
                  <a:lnTo>
                    <a:pt x="44" y="298"/>
                  </a:lnTo>
                  <a:lnTo>
                    <a:pt x="44" y="302"/>
                  </a:lnTo>
                  <a:lnTo>
                    <a:pt x="46" y="304"/>
                  </a:lnTo>
                  <a:lnTo>
                    <a:pt x="48" y="306"/>
                  </a:lnTo>
                  <a:lnTo>
                    <a:pt x="50" y="308"/>
                  </a:lnTo>
                  <a:lnTo>
                    <a:pt x="50" y="308"/>
                  </a:lnTo>
                  <a:lnTo>
                    <a:pt x="52" y="306"/>
                  </a:lnTo>
                  <a:lnTo>
                    <a:pt x="52" y="304"/>
                  </a:lnTo>
                  <a:lnTo>
                    <a:pt x="52" y="302"/>
                  </a:lnTo>
                  <a:lnTo>
                    <a:pt x="56" y="304"/>
                  </a:lnTo>
                  <a:lnTo>
                    <a:pt x="56" y="304"/>
                  </a:lnTo>
                  <a:lnTo>
                    <a:pt x="58" y="306"/>
                  </a:lnTo>
                  <a:lnTo>
                    <a:pt x="58" y="308"/>
                  </a:lnTo>
                  <a:lnTo>
                    <a:pt x="58" y="310"/>
                  </a:lnTo>
                  <a:lnTo>
                    <a:pt x="62" y="310"/>
                  </a:lnTo>
                  <a:lnTo>
                    <a:pt x="62" y="310"/>
                  </a:lnTo>
                  <a:lnTo>
                    <a:pt x="66" y="312"/>
                  </a:lnTo>
                  <a:lnTo>
                    <a:pt x="64" y="316"/>
                  </a:lnTo>
                  <a:lnTo>
                    <a:pt x="64" y="318"/>
                  </a:lnTo>
                  <a:lnTo>
                    <a:pt x="66" y="322"/>
                  </a:lnTo>
                  <a:lnTo>
                    <a:pt x="66" y="322"/>
                  </a:lnTo>
                  <a:lnTo>
                    <a:pt x="66" y="322"/>
                  </a:lnTo>
                  <a:lnTo>
                    <a:pt x="68" y="320"/>
                  </a:lnTo>
                  <a:lnTo>
                    <a:pt x="68" y="316"/>
                  </a:lnTo>
                  <a:lnTo>
                    <a:pt x="68" y="316"/>
                  </a:lnTo>
                  <a:lnTo>
                    <a:pt x="70" y="320"/>
                  </a:lnTo>
                  <a:lnTo>
                    <a:pt x="70" y="324"/>
                  </a:lnTo>
                  <a:lnTo>
                    <a:pt x="72" y="328"/>
                  </a:lnTo>
                  <a:lnTo>
                    <a:pt x="78" y="330"/>
                  </a:lnTo>
                  <a:lnTo>
                    <a:pt x="78" y="330"/>
                  </a:lnTo>
                  <a:lnTo>
                    <a:pt x="74" y="336"/>
                  </a:lnTo>
                  <a:lnTo>
                    <a:pt x="76" y="338"/>
                  </a:lnTo>
                  <a:lnTo>
                    <a:pt x="76" y="340"/>
                  </a:lnTo>
                  <a:lnTo>
                    <a:pt x="82" y="342"/>
                  </a:lnTo>
                  <a:lnTo>
                    <a:pt x="90" y="352"/>
                  </a:lnTo>
                  <a:lnTo>
                    <a:pt x="90" y="352"/>
                  </a:lnTo>
                  <a:lnTo>
                    <a:pt x="94" y="350"/>
                  </a:lnTo>
                  <a:lnTo>
                    <a:pt x="98" y="350"/>
                  </a:lnTo>
                  <a:lnTo>
                    <a:pt x="106" y="354"/>
                  </a:lnTo>
                  <a:lnTo>
                    <a:pt x="110" y="358"/>
                  </a:lnTo>
                  <a:lnTo>
                    <a:pt x="116" y="360"/>
                  </a:lnTo>
                  <a:lnTo>
                    <a:pt x="116" y="360"/>
                  </a:lnTo>
                  <a:lnTo>
                    <a:pt x="122" y="358"/>
                  </a:lnTo>
                  <a:lnTo>
                    <a:pt x="124" y="356"/>
                  </a:lnTo>
                  <a:lnTo>
                    <a:pt x="126" y="354"/>
                  </a:lnTo>
                  <a:lnTo>
                    <a:pt x="130" y="350"/>
                  </a:lnTo>
                  <a:lnTo>
                    <a:pt x="130" y="35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7" name="Turkey"/>
            <p:cNvSpPr>
              <a:spLocks/>
            </p:cNvSpPr>
            <p:nvPr/>
          </p:nvSpPr>
          <p:spPr bwMode="auto">
            <a:xfrm>
              <a:off x="4816705" y="2255573"/>
              <a:ext cx="494771" cy="177271"/>
            </a:xfrm>
            <a:custGeom>
              <a:avLst/>
              <a:gdLst/>
              <a:ahLst/>
              <a:cxnLst>
                <a:cxn ang="0">
                  <a:pos x="260" y="22"/>
                </a:cxn>
                <a:cxn ang="0">
                  <a:pos x="236" y="20"/>
                </a:cxn>
                <a:cxn ang="0">
                  <a:pos x="202" y="18"/>
                </a:cxn>
                <a:cxn ang="0">
                  <a:pos x="186" y="12"/>
                </a:cxn>
                <a:cxn ang="0">
                  <a:pos x="172" y="6"/>
                </a:cxn>
                <a:cxn ang="0">
                  <a:pos x="156" y="2"/>
                </a:cxn>
                <a:cxn ang="0">
                  <a:pos x="126" y="4"/>
                </a:cxn>
                <a:cxn ang="0">
                  <a:pos x="98" y="14"/>
                </a:cxn>
                <a:cxn ang="0">
                  <a:pos x="68" y="20"/>
                </a:cxn>
                <a:cxn ang="0">
                  <a:pos x="48" y="24"/>
                </a:cxn>
                <a:cxn ang="0">
                  <a:pos x="72" y="28"/>
                </a:cxn>
                <a:cxn ang="0">
                  <a:pos x="54" y="32"/>
                </a:cxn>
                <a:cxn ang="0">
                  <a:pos x="32" y="34"/>
                </a:cxn>
                <a:cxn ang="0">
                  <a:pos x="22" y="36"/>
                </a:cxn>
                <a:cxn ang="0">
                  <a:pos x="8" y="42"/>
                </a:cxn>
                <a:cxn ang="0">
                  <a:pos x="0" y="52"/>
                </a:cxn>
                <a:cxn ang="0">
                  <a:pos x="4" y="56"/>
                </a:cxn>
                <a:cxn ang="0">
                  <a:pos x="10" y="62"/>
                </a:cxn>
                <a:cxn ang="0">
                  <a:pos x="12" y="68"/>
                </a:cxn>
                <a:cxn ang="0">
                  <a:pos x="12" y="74"/>
                </a:cxn>
                <a:cxn ang="0">
                  <a:pos x="8" y="74"/>
                </a:cxn>
                <a:cxn ang="0">
                  <a:pos x="4" y="78"/>
                </a:cxn>
                <a:cxn ang="0">
                  <a:pos x="8" y="88"/>
                </a:cxn>
                <a:cxn ang="0">
                  <a:pos x="22" y="92"/>
                </a:cxn>
                <a:cxn ang="0">
                  <a:pos x="24" y="102"/>
                </a:cxn>
                <a:cxn ang="0">
                  <a:pos x="34" y="106"/>
                </a:cxn>
                <a:cxn ang="0">
                  <a:pos x="34" y="110"/>
                </a:cxn>
                <a:cxn ang="0">
                  <a:pos x="32" y="114"/>
                </a:cxn>
                <a:cxn ang="0">
                  <a:pos x="38" y="118"/>
                </a:cxn>
                <a:cxn ang="0">
                  <a:pos x="36" y="122"/>
                </a:cxn>
                <a:cxn ang="0">
                  <a:pos x="52" y="122"/>
                </a:cxn>
                <a:cxn ang="0">
                  <a:pos x="66" y="120"/>
                </a:cxn>
                <a:cxn ang="0">
                  <a:pos x="68" y="124"/>
                </a:cxn>
                <a:cxn ang="0">
                  <a:pos x="82" y="132"/>
                </a:cxn>
                <a:cxn ang="0">
                  <a:pos x="98" y="124"/>
                </a:cxn>
                <a:cxn ang="0">
                  <a:pos x="106" y="118"/>
                </a:cxn>
                <a:cxn ang="0">
                  <a:pos x="128" y="128"/>
                </a:cxn>
                <a:cxn ang="0">
                  <a:pos x="156" y="132"/>
                </a:cxn>
                <a:cxn ang="0">
                  <a:pos x="166" y="120"/>
                </a:cxn>
                <a:cxn ang="0">
                  <a:pos x="188" y="122"/>
                </a:cxn>
                <a:cxn ang="0">
                  <a:pos x="196" y="120"/>
                </a:cxn>
                <a:cxn ang="0">
                  <a:pos x="192" y="130"/>
                </a:cxn>
                <a:cxn ang="0">
                  <a:pos x="208" y="130"/>
                </a:cxn>
                <a:cxn ang="0">
                  <a:pos x="218" y="116"/>
                </a:cxn>
                <a:cxn ang="0">
                  <a:pos x="250" y="114"/>
                </a:cxn>
                <a:cxn ang="0">
                  <a:pos x="298" y="104"/>
                </a:cxn>
                <a:cxn ang="0">
                  <a:pos x="320" y="104"/>
                </a:cxn>
                <a:cxn ang="0">
                  <a:pos x="334" y="98"/>
                </a:cxn>
                <a:cxn ang="0">
                  <a:pos x="356" y="104"/>
                </a:cxn>
                <a:cxn ang="0">
                  <a:pos x="374" y="106"/>
                </a:cxn>
                <a:cxn ang="0">
                  <a:pos x="370" y="100"/>
                </a:cxn>
                <a:cxn ang="0">
                  <a:pos x="362" y="92"/>
                </a:cxn>
                <a:cxn ang="0">
                  <a:pos x="354" y="74"/>
                </a:cxn>
                <a:cxn ang="0">
                  <a:pos x="346" y="56"/>
                </a:cxn>
                <a:cxn ang="0">
                  <a:pos x="354" y="52"/>
                </a:cxn>
                <a:cxn ang="0">
                  <a:pos x="350" y="40"/>
                </a:cxn>
                <a:cxn ang="0">
                  <a:pos x="332" y="34"/>
                </a:cxn>
                <a:cxn ang="0">
                  <a:pos x="328" y="18"/>
                </a:cxn>
                <a:cxn ang="0">
                  <a:pos x="320" y="10"/>
                </a:cxn>
                <a:cxn ang="0">
                  <a:pos x="306" y="10"/>
                </a:cxn>
              </a:cxnLst>
              <a:rect l="0" t="0" r="r" b="b"/>
              <a:pathLst>
                <a:path w="374" h="134">
                  <a:moveTo>
                    <a:pt x="282" y="6"/>
                  </a:moveTo>
                  <a:lnTo>
                    <a:pt x="282" y="6"/>
                  </a:lnTo>
                  <a:lnTo>
                    <a:pt x="274" y="16"/>
                  </a:lnTo>
                  <a:lnTo>
                    <a:pt x="268" y="20"/>
                  </a:lnTo>
                  <a:lnTo>
                    <a:pt x="260" y="22"/>
                  </a:lnTo>
                  <a:lnTo>
                    <a:pt x="254" y="22"/>
                  </a:lnTo>
                  <a:lnTo>
                    <a:pt x="246" y="18"/>
                  </a:lnTo>
                  <a:lnTo>
                    <a:pt x="240" y="18"/>
                  </a:lnTo>
                  <a:lnTo>
                    <a:pt x="236" y="20"/>
                  </a:lnTo>
                  <a:lnTo>
                    <a:pt x="236" y="20"/>
                  </a:lnTo>
                  <a:lnTo>
                    <a:pt x="224" y="22"/>
                  </a:lnTo>
                  <a:lnTo>
                    <a:pt x="216" y="22"/>
                  </a:lnTo>
                  <a:lnTo>
                    <a:pt x="206" y="20"/>
                  </a:lnTo>
                  <a:lnTo>
                    <a:pt x="206" y="20"/>
                  </a:lnTo>
                  <a:lnTo>
                    <a:pt x="202" y="18"/>
                  </a:lnTo>
                  <a:lnTo>
                    <a:pt x="202" y="16"/>
                  </a:lnTo>
                  <a:lnTo>
                    <a:pt x="200" y="14"/>
                  </a:lnTo>
                  <a:lnTo>
                    <a:pt x="194" y="14"/>
                  </a:lnTo>
                  <a:lnTo>
                    <a:pt x="194" y="14"/>
                  </a:lnTo>
                  <a:lnTo>
                    <a:pt x="186" y="12"/>
                  </a:lnTo>
                  <a:lnTo>
                    <a:pt x="184" y="10"/>
                  </a:lnTo>
                  <a:lnTo>
                    <a:pt x="182" y="8"/>
                  </a:lnTo>
                  <a:lnTo>
                    <a:pt x="176" y="6"/>
                  </a:lnTo>
                  <a:lnTo>
                    <a:pt x="176" y="6"/>
                  </a:lnTo>
                  <a:lnTo>
                    <a:pt x="172" y="6"/>
                  </a:lnTo>
                  <a:lnTo>
                    <a:pt x="170" y="6"/>
                  </a:lnTo>
                  <a:lnTo>
                    <a:pt x="164" y="2"/>
                  </a:lnTo>
                  <a:lnTo>
                    <a:pt x="162" y="0"/>
                  </a:lnTo>
                  <a:lnTo>
                    <a:pt x="160" y="0"/>
                  </a:lnTo>
                  <a:lnTo>
                    <a:pt x="156" y="2"/>
                  </a:lnTo>
                  <a:lnTo>
                    <a:pt x="156" y="2"/>
                  </a:lnTo>
                  <a:lnTo>
                    <a:pt x="150" y="4"/>
                  </a:lnTo>
                  <a:lnTo>
                    <a:pt x="140" y="4"/>
                  </a:lnTo>
                  <a:lnTo>
                    <a:pt x="130" y="4"/>
                  </a:lnTo>
                  <a:lnTo>
                    <a:pt x="126" y="4"/>
                  </a:lnTo>
                  <a:lnTo>
                    <a:pt x="122" y="8"/>
                  </a:lnTo>
                  <a:lnTo>
                    <a:pt x="122" y="8"/>
                  </a:lnTo>
                  <a:lnTo>
                    <a:pt x="112" y="10"/>
                  </a:lnTo>
                  <a:lnTo>
                    <a:pt x="106" y="12"/>
                  </a:lnTo>
                  <a:lnTo>
                    <a:pt x="98" y="14"/>
                  </a:lnTo>
                  <a:lnTo>
                    <a:pt x="92" y="20"/>
                  </a:lnTo>
                  <a:lnTo>
                    <a:pt x="92" y="20"/>
                  </a:lnTo>
                  <a:lnTo>
                    <a:pt x="86" y="22"/>
                  </a:lnTo>
                  <a:lnTo>
                    <a:pt x="82" y="22"/>
                  </a:lnTo>
                  <a:lnTo>
                    <a:pt x="68" y="20"/>
                  </a:lnTo>
                  <a:lnTo>
                    <a:pt x="58" y="18"/>
                  </a:lnTo>
                  <a:lnTo>
                    <a:pt x="52" y="18"/>
                  </a:lnTo>
                  <a:lnTo>
                    <a:pt x="50" y="20"/>
                  </a:lnTo>
                  <a:lnTo>
                    <a:pt x="50" y="20"/>
                  </a:lnTo>
                  <a:lnTo>
                    <a:pt x="48" y="24"/>
                  </a:lnTo>
                  <a:lnTo>
                    <a:pt x="50" y="24"/>
                  </a:lnTo>
                  <a:lnTo>
                    <a:pt x="54" y="26"/>
                  </a:lnTo>
                  <a:lnTo>
                    <a:pt x="62" y="26"/>
                  </a:lnTo>
                  <a:lnTo>
                    <a:pt x="72" y="28"/>
                  </a:lnTo>
                  <a:lnTo>
                    <a:pt x="72" y="28"/>
                  </a:lnTo>
                  <a:lnTo>
                    <a:pt x="56" y="30"/>
                  </a:lnTo>
                  <a:lnTo>
                    <a:pt x="52" y="32"/>
                  </a:lnTo>
                  <a:lnTo>
                    <a:pt x="52" y="32"/>
                  </a:lnTo>
                  <a:lnTo>
                    <a:pt x="54" y="32"/>
                  </a:lnTo>
                  <a:lnTo>
                    <a:pt x="54" y="32"/>
                  </a:lnTo>
                  <a:lnTo>
                    <a:pt x="54" y="34"/>
                  </a:lnTo>
                  <a:lnTo>
                    <a:pt x="54" y="34"/>
                  </a:lnTo>
                  <a:lnTo>
                    <a:pt x="46" y="36"/>
                  </a:lnTo>
                  <a:lnTo>
                    <a:pt x="38" y="36"/>
                  </a:lnTo>
                  <a:lnTo>
                    <a:pt x="32" y="34"/>
                  </a:lnTo>
                  <a:lnTo>
                    <a:pt x="32" y="34"/>
                  </a:lnTo>
                  <a:lnTo>
                    <a:pt x="30" y="34"/>
                  </a:lnTo>
                  <a:lnTo>
                    <a:pt x="28" y="36"/>
                  </a:lnTo>
                  <a:lnTo>
                    <a:pt x="24" y="36"/>
                  </a:lnTo>
                  <a:lnTo>
                    <a:pt x="22" y="36"/>
                  </a:lnTo>
                  <a:lnTo>
                    <a:pt x="22" y="36"/>
                  </a:lnTo>
                  <a:lnTo>
                    <a:pt x="20" y="34"/>
                  </a:lnTo>
                  <a:lnTo>
                    <a:pt x="16" y="36"/>
                  </a:lnTo>
                  <a:lnTo>
                    <a:pt x="8" y="42"/>
                  </a:lnTo>
                  <a:lnTo>
                    <a:pt x="8" y="42"/>
                  </a:lnTo>
                  <a:lnTo>
                    <a:pt x="0" y="42"/>
                  </a:lnTo>
                  <a:lnTo>
                    <a:pt x="0" y="44"/>
                  </a:lnTo>
                  <a:lnTo>
                    <a:pt x="0" y="46"/>
                  </a:lnTo>
                  <a:lnTo>
                    <a:pt x="0" y="46"/>
                  </a:lnTo>
                  <a:lnTo>
                    <a:pt x="0" y="52"/>
                  </a:lnTo>
                  <a:lnTo>
                    <a:pt x="0" y="54"/>
                  </a:lnTo>
                  <a:lnTo>
                    <a:pt x="2" y="54"/>
                  </a:lnTo>
                  <a:lnTo>
                    <a:pt x="10" y="54"/>
                  </a:lnTo>
                  <a:lnTo>
                    <a:pt x="10" y="54"/>
                  </a:lnTo>
                  <a:lnTo>
                    <a:pt x="4" y="56"/>
                  </a:lnTo>
                  <a:lnTo>
                    <a:pt x="6" y="60"/>
                  </a:lnTo>
                  <a:lnTo>
                    <a:pt x="10" y="60"/>
                  </a:lnTo>
                  <a:lnTo>
                    <a:pt x="10" y="62"/>
                  </a:lnTo>
                  <a:lnTo>
                    <a:pt x="10" y="62"/>
                  </a:lnTo>
                  <a:lnTo>
                    <a:pt x="10" y="62"/>
                  </a:lnTo>
                  <a:lnTo>
                    <a:pt x="10" y="64"/>
                  </a:lnTo>
                  <a:lnTo>
                    <a:pt x="12" y="66"/>
                  </a:lnTo>
                  <a:lnTo>
                    <a:pt x="12" y="66"/>
                  </a:lnTo>
                  <a:lnTo>
                    <a:pt x="12" y="68"/>
                  </a:lnTo>
                  <a:lnTo>
                    <a:pt x="12" y="68"/>
                  </a:lnTo>
                  <a:lnTo>
                    <a:pt x="10" y="68"/>
                  </a:lnTo>
                  <a:lnTo>
                    <a:pt x="10" y="70"/>
                  </a:lnTo>
                  <a:lnTo>
                    <a:pt x="12" y="72"/>
                  </a:lnTo>
                  <a:lnTo>
                    <a:pt x="14" y="74"/>
                  </a:lnTo>
                  <a:lnTo>
                    <a:pt x="12" y="74"/>
                  </a:lnTo>
                  <a:lnTo>
                    <a:pt x="12" y="74"/>
                  </a:lnTo>
                  <a:lnTo>
                    <a:pt x="10" y="76"/>
                  </a:lnTo>
                  <a:lnTo>
                    <a:pt x="10" y="78"/>
                  </a:lnTo>
                  <a:lnTo>
                    <a:pt x="8" y="74"/>
                  </a:lnTo>
                  <a:lnTo>
                    <a:pt x="8" y="74"/>
                  </a:lnTo>
                  <a:lnTo>
                    <a:pt x="6" y="72"/>
                  </a:lnTo>
                  <a:lnTo>
                    <a:pt x="4" y="74"/>
                  </a:lnTo>
                  <a:lnTo>
                    <a:pt x="2" y="76"/>
                  </a:lnTo>
                  <a:lnTo>
                    <a:pt x="4" y="78"/>
                  </a:lnTo>
                  <a:lnTo>
                    <a:pt x="4" y="78"/>
                  </a:lnTo>
                  <a:lnTo>
                    <a:pt x="6" y="82"/>
                  </a:lnTo>
                  <a:lnTo>
                    <a:pt x="6" y="86"/>
                  </a:lnTo>
                  <a:lnTo>
                    <a:pt x="6" y="88"/>
                  </a:lnTo>
                  <a:lnTo>
                    <a:pt x="8" y="88"/>
                  </a:lnTo>
                  <a:lnTo>
                    <a:pt x="8" y="88"/>
                  </a:lnTo>
                  <a:lnTo>
                    <a:pt x="10" y="86"/>
                  </a:lnTo>
                  <a:lnTo>
                    <a:pt x="14" y="86"/>
                  </a:lnTo>
                  <a:lnTo>
                    <a:pt x="18" y="90"/>
                  </a:lnTo>
                  <a:lnTo>
                    <a:pt x="18" y="90"/>
                  </a:lnTo>
                  <a:lnTo>
                    <a:pt x="22" y="92"/>
                  </a:lnTo>
                  <a:lnTo>
                    <a:pt x="24" y="94"/>
                  </a:lnTo>
                  <a:lnTo>
                    <a:pt x="22" y="98"/>
                  </a:lnTo>
                  <a:lnTo>
                    <a:pt x="22" y="100"/>
                  </a:lnTo>
                  <a:lnTo>
                    <a:pt x="22" y="102"/>
                  </a:lnTo>
                  <a:lnTo>
                    <a:pt x="24" y="102"/>
                  </a:lnTo>
                  <a:lnTo>
                    <a:pt x="24" y="102"/>
                  </a:lnTo>
                  <a:lnTo>
                    <a:pt x="28" y="102"/>
                  </a:lnTo>
                  <a:lnTo>
                    <a:pt x="30" y="104"/>
                  </a:lnTo>
                  <a:lnTo>
                    <a:pt x="32" y="106"/>
                  </a:lnTo>
                  <a:lnTo>
                    <a:pt x="34" y="106"/>
                  </a:lnTo>
                  <a:lnTo>
                    <a:pt x="34" y="106"/>
                  </a:lnTo>
                  <a:lnTo>
                    <a:pt x="36" y="106"/>
                  </a:lnTo>
                  <a:lnTo>
                    <a:pt x="38" y="108"/>
                  </a:lnTo>
                  <a:lnTo>
                    <a:pt x="36" y="110"/>
                  </a:lnTo>
                  <a:lnTo>
                    <a:pt x="34" y="110"/>
                  </a:lnTo>
                  <a:lnTo>
                    <a:pt x="34" y="110"/>
                  </a:lnTo>
                  <a:lnTo>
                    <a:pt x="32" y="110"/>
                  </a:lnTo>
                  <a:lnTo>
                    <a:pt x="32" y="112"/>
                  </a:lnTo>
                  <a:lnTo>
                    <a:pt x="32" y="114"/>
                  </a:lnTo>
                  <a:lnTo>
                    <a:pt x="32" y="114"/>
                  </a:lnTo>
                  <a:lnTo>
                    <a:pt x="40" y="114"/>
                  </a:lnTo>
                  <a:lnTo>
                    <a:pt x="46" y="114"/>
                  </a:lnTo>
                  <a:lnTo>
                    <a:pt x="46" y="114"/>
                  </a:lnTo>
                  <a:lnTo>
                    <a:pt x="44" y="116"/>
                  </a:lnTo>
                  <a:lnTo>
                    <a:pt x="38" y="118"/>
                  </a:lnTo>
                  <a:lnTo>
                    <a:pt x="34" y="118"/>
                  </a:lnTo>
                  <a:lnTo>
                    <a:pt x="32" y="120"/>
                  </a:lnTo>
                  <a:lnTo>
                    <a:pt x="34" y="120"/>
                  </a:lnTo>
                  <a:lnTo>
                    <a:pt x="34" y="120"/>
                  </a:lnTo>
                  <a:lnTo>
                    <a:pt x="36" y="122"/>
                  </a:lnTo>
                  <a:lnTo>
                    <a:pt x="40" y="120"/>
                  </a:lnTo>
                  <a:lnTo>
                    <a:pt x="42" y="120"/>
                  </a:lnTo>
                  <a:lnTo>
                    <a:pt x="46" y="122"/>
                  </a:lnTo>
                  <a:lnTo>
                    <a:pt x="46" y="122"/>
                  </a:lnTo>
                  <a:lnTo>
                    <a:pt x="52" y="122"/>
                  </a:lnTo>
                  <a:lnTo>
                    <a:pt x="56" y="120"/>
                  </a:lnTo>
                  <a:lnTo>
                    <a:pt x="58" y="118"/>
                  </a:lnTo>
                  <a:lnTo>
                    <a:pt x="58" y="118"/>
                  </a:lnTo>
                  <a:lnTo>
                    <a:pt x="60" y="120"/>
                  </a:lnTo>
                  <a:lnTo>
                    <a:pt x="66" y="120"/>
                  </a:lnTo>
                  <a:lnTo>
                    <a:pt x="68" y="122"/>
                  </a:lnTo>
                  <a:lnTo>
                    <a:pt x="70" y="122"/>
                  </a:lnTo>
                  <a:lnTo>
                    <a:pt x="68" y="122"/>
                  </a:lnTo>
                  <a:lnTo>
                    <a:pt x="68" y="122"/>
                  </a:lnTo>
                  <a:lnTo>
                    <a:pt x="68" y="124"/>
                  </a:lnTo>
                  <a:lnTo>
                    <a:pt x="68" y="126"/>
                  </a:lnTo>
                  <a:lnTo>
                    <a:pt x="72" y="130"/>
                  </a:lnTo>
                  <a:lnTo>
                    <a:pt x="78" y="134"/>
                  </a:lnTo>
                  <a:lnTo>
                    <a:pt x="80" y="134"/>
                  </a:lnTo>
                  <a:lnTo>
                    <a:pt x="82" y="132"/>
                  </a:lnTo>
                  <a:lnTo>
                    <a:pt x="82" y="132"/>
                  </a:lnTo>
                  <a:lnTo>
                    <a:pt x="84" y="130"/>
                  </a:lnTo>
                  <a:lnTo>
                    <a:pt x="92" y="130"/>
                  </a:lnTo>
                  <a:lnTo>
                    <a:pt x="96" y="126"/>
                  </a:lnTo>
                  <a:lnTo>
                    <a:pt x="98" y="124"/>
                  </a:lnTo>
                  <a:lnTo>
                    <a:pt x="98" y="122"/>
                  </a:lnTo>
                  <a:lnTo>
                    <a:pt x="98" y="122"/>
                  </a:lnTo>
                  <a:lnTo>
                    <a:pt x="98" y="118"/>
                  </a:lnTo>
                  <a:lnTo>
                    <a:pt x="102" y="118"/>
                  </a:lnTo>
                  <a:lnTo>
                    <a:pt x="106" y="118"/>
                  </a:lnTo>
                  <a:lnTo>
                    <a:pt x="112" y="120"/>
                  </a:lnTo>
                  <a:lnTo>
                    <a:pt x="112" y="120"/>
                  </a:lnTo>
                  <a:lnTo>
                    <a:pt x="118" y="122"/>
                  </a:lnTo>
                  <a:lnTo>
                    <a:pt x="122" y="124"/>
                  </a:lnTo>
                  <a:lnTo>
                    <a:pt x="128" y="128"/>
                  </a:lnTo>
                  <a:lnTo>
                    <a:pt x="134" y="134"/>
                  </a:lnTo>
                  <a:lnTo>
                    <a:pt x="134" y="134"/>
                  </a:lnTo>
                  <a:lnTo>
                    <a:pt x="140" y="134"/>
                  </a:lnTo>
                  <a:lnTo>
                    <a:pt x="146" y="134"/>
                  </a:lnTo>
                  <a:lnTo>
                    <a:pt x="156" y="132"/>
                  </a:lnTo>
                  <a:lnTo>
                    <a:pt x="156" y="132"/>
                  </a:lnTo>
                  <a:lnTo>
                    <a:pt x="158" y="132"/>
                  </a:lnTo>
                  <a:lnTo>
                    <a:pt x="160" y="130"/>
                  </a:lnTo>
                  <a:lnTo>
                    <a:pt x="160" y="126"/>
                  </a:lnTo>
                  <a:lnTo>
                    <a:pt x="166" y="120"/>
                  </a:lnTo>
                  <a:lnTo>
                    <a:pt x="166" y="120"/>
                  </a:lnTo>
                  <a:lnTo>
                    <a:pt x="172" y="116"/>
                  </a:lnTo>
                  <a:lnTo>
                    <a:pt x="176" y="118"/>
                  </a:lnTo>
                  <a:lnTo>
                    <a:pt x="180" y="120"/>
                  </a:lnTo>
                  <a:lnTo>
                    <a:pt x="188" y="122"/>
                  </a:lnTo>
                  <a:lnTo>
                    <a:pt x="188" y="122"/>
                  </a:lnTo>
                  <a:lnTo>
                    <a:pt x="190" y="120"/>
                  </a:lnTo>
                  <a:lnTo>
                    <a:pt x="192" y="118"/>
                  </a:lnTo>
                  <a:lnTo>
                    <a:pt x="194" y="118"/>
                  </a:lnTo>
                  <a:lnTo>
                    <a:pt x="196" y="120"/>
                  </a:lnTo>
                  <a:lnTo>
                    <a:pt x="196" y="120"/>
                  </a:lnTo>
                  <a:lnTo>
                    <a:pt x="198" y="124"/>
                  </a:lnTo>
                  <a:lnTo>
                    <a:pt x="196" y="126"/>
                  </a:lnTo>
                  <a:lnTo>
                    <a:pt x="194" y="128"/>
                  </a:lnTo>
                  <a:lnTo>
                    <a:pt x="192" y="130"/>
                  </a:lnTo>
                  <a:lnTo>
                    <a:pt x="194" y="132"/>
                  </a:lnTo>
                  <a:lnTo>
                    <a:pt x="194" y="132"/>
                  </a:lnTo>
                  <a:lnTo>
                    <a:pt x="202" y="134"/>
                  </a:lnTo>
                  <a:lnTo>
                    <a:pt x="208" y="130"/>
                  </a:lnTo>
                  <a:lnTo>
                    <a:pt x="208" y="130"/>
                  </a:lnTo>
                  <a:lnTo>
                    <a:pt x="206" y="124"/>
                  </a:lnTo>
                  <a:lnTo>
                    <a:pt x="206" y="114"/>
                  </a:lnTo>
                  <a:lnTo>
                    <a:pt x="206" y="114"/>
                  </a:lnTo>
                  <a:lnTo>
                    <a:pt x="212" y="116"/>
                  </a:lnTo>
                  <a:lnTo>
                    <a:pt x="218" y="116"/>
                  </a:lnTo>
                  <a:lnTo>
                    <a:pt x="226" y="116"/>
                  </a:lnTo>
                  <a:lnTo>
                    <a:pt x="234" y="112"/>
                  </a:lnTo>
                  <a:lnTo>
                    <a:pt x="234" y="112"/>
                  </a:lnTo>
                  <a:lnTo>
                    <a:pt x="242" y="114"/>
                  </a:lnTo>
                  <a:lnTo>
                    <a:pt x="250" y="114"/>
                  </a:lnTo>
                  <a:lnTo>
                    <a:pt x="258" y="114"/>
                  </a:lnTo>
                  <a:lnTo>
                    <a:pt x="264" y="112"/>
                  </a:lnTo>
                  <a:lnTo>
                    <a:pt x="278" y="106"/>
                  </a:lnTo>
                  <a:lnTo>
                    <a:pt x="288" y="104"/>
                  </a:lnTo>
                  <a:lnTo>
                    <a:pt x="298" y="104"/>
                  </a:lnTo>
                  <a:lnTo>
                    <a:pt x="298" y="104"/>
                  </a:lnTo>
                  <a:lnTo>
                    <a:pt x="308" y="102"/>
                  </a:lnTo>
                  <a:lnTo>
                    <a:pt x="312" y="100"/>
                  </a:lnTo>
                  <a:lnTo>
                    <a:pt x="316" y="100"/>
                  </a:lnTo>
                  <a:lnTo>
                    <a:pt x="320" y="104"/>
                  </a:lnTo>
                  <a:lnTo>
                    <a:pt x="320" y="104"/>
                  </a:lnTo>
                  <a:lnTo>
                    <a:pt x="324" y="100"/>
                  </a:lnTo>
                  <a:lnTo>
                    <a:pt x="328" y="98"/>
                  </a:lnTo>
                  <a:lnTo>
                    <a:pt x="334" y="98"/>
                  </a:lnTo>
                  <a:lnTo>
                    <a:pt x="334" y="98"/>
                  </a:lnTo>
                  <a:lnTo>
                    <a:pt x="344" y="100"/>
                  </a:lnTo>
                  <a:lnTo>
                    <a:pt x="348" y="102"/>
                  </a:lnTo>
                  <a:lnTo>
                    <a:pt x="352" y="102"/>
                  </a:lnTo>
                  <a:lnTo>
                    <a:pt x="356" y="104"/>
                  </a:lnTo>
                  <a:lnTo>
                    <a:pt x="356" y="104"/>
                  </a:lnTo>
                  <a:lnTo>
                    <a:pt x="360" y="104"/>
                  </a:lnTo>
                  <a:lnTo>
                    <a:pt x="362" y="104"/>
                  </a:lnTo>
                  <a:lnTo>
                    <a:pt x="364" y="108"/>
                  </a:lnTo>
                  <a:lnTo>
                    <a:pt x="366" y="110"/>
                  </a:lnTo>
                  <a:lnTo>
                    <a:pt x="374" y="106"/>
                  </a:lnTo>
                  <a:lnTo>
                    <a:pt x="374" y="106"/>
                  </a:lnTo>
                  <a:lnTo>
                    <a:pt x="374" y="104"/>
                  </a:lnTo>
                  <a:lnTo>
                    <a:pt x="372" y="102"/>
                  </a:lnTo>
                  <a:lnTo>
                    <a:pt x="372" y="102"/>
                  </a:lnTo>
                  <a:lnTo>
                    <a:pt x="370" y="100"/>
                  </a:lnTo>
                  <a:lnTo>
                    <a:pt x="368" y="96"/>
                  </a:lnTo>
                  <a:lnTo>
                    <a:pt x="368" y="92"/>
                  </a:lnTo>
                  <a:lnTo>
                    <a:pt x="366" y="92"/>
                  </a:lnTo>
                  <a:lnTo>
                    <a:pt x="366" y="92"/>
                  </a:lnTo>
                  <a:lnTo>
                    <a:pt x="362" y="92"/>
                  </a:lnTo>
                  <a:lnTo>
                    <a:pt x="358" y="88"/>
                  </a:lnTo>
                  <a:lnTo>
                    <a:pt x="354" y="82"/>
                  </a:lnTo>
                  <a:lnTo>
                    <a:pt x="354" y="78"/>
                  </a:lnTo>
                  <a:lnTo>
                    <a:pt x="354" y="78"/>
                  </a:lnTo>
                  <a:lnTo>
                    <a:pt x="354" y="74"/>
                  </a:lnTo>
                  <a:lnTo>
                    <a:pt x="352" y="72"/>
                  </a:lnTo>
                  <a:lnTo>
                    <a:pt x="350" y="70"/>
                  </a:lnTo>
                  <a:lnTo>
                    <a:pt x="348" y="66"/>
                  </a:lnTo>
                  <a:lnTo>
                    <a:pt x="348" y="66"/>
                  </a:lnTo>
                  <a:lnTo>
                    <a:pt x="346" y="56"/>
                  </a:lnTo>
                  <a:lnTo>
                    <a:pt x="346" y="54"/>
                  </a:lnTo>
                  <a:lnTo>
                    <a:pt x="350" y="54"/>
                  </a:lnTo>
                  <a:lnTo>
                    <a:pt x="350" y="54"/>
                  </a:lnTo>
                  <a:lnTo>
                    <a:pt x="354" y="54"/>
                  </a:lnTo>
                  <a:lnTo>
                    <a:pt x="354" y="52"/>
                  </a:lnTo>
                  <a:lnTo>
                    <a:pt x="354" y="50"/>
                  </a:lnTo>
                  <a:lnTo>
                    <a:pt x="356" y="46"/>
                  </a:lnTo>
                  <a:lnTo>
                    <a:pt x="356" y="46"/>
                  </a:lnTo>
                  <a:lnTo>
                    <a:pt x="352" y="42"/>
                  </a:lnTo>
                  <a:lnTo>
                    <a:pt x="350" y="40"/>
                  </a:lnTo>
                  <a:lnTo>
                    <a:pt x="348" y="38"/>
                  </a:lnTo>
                  <a:lnTo>
                    <a:pt x="340" y="36"/>
                  </a:lnTo>
                  <a:lnTo>
                    <a:pt x="340" y="36"/>
                  </a:lnTo>
                  <a:lnTo>
                    <a:pt x="334" y="34"/>
                  </a:lnTo>
                  <a:lnTo>
                    <a:pt x="332" y="34"/>
                  </a:lnTo>
                  <a:lnTo>
                    <a:pt x="332" y="32"/>
                  </a:lnTo>
                  <a:lnTo>
                    <a:pt x="332" y="28"/>
                  </a:lnTo>
                  <a:lnTo>
                    <a:pt x="332" y="24"/>
                  </a:lnTo>
                  <a:lnTo>
                    <a:pt x="332" y="22"/>
                  </a:lnTo>
                  <a:lnTo>
                    <a:pt x="328" y="18"/>
                  </a:lnTo>
                  <a:lnTo>
                    <a:pt x="328" y="18"/>
                  </a:lnTo>
                  <a:lnTo>
                    <a:pt x="322" y="18"/>
                  </a:lnTo>
                  <a:lnTo>
                    <a:pt x="320" y="16"/>
                  </a:lnTo>
                  <a:lnTo>
                    <a:pt x="318" y="14"/>
                  </a:lnTo>
                  <a:lnTo>
                    <a:pt x="320" y="10"/>
                  </a:lnTo>
                  <a:lnTo>
                    <a:pt x="320" y="8"/>
                  </a:lnTo>
                  <a:lnTo>
                    <a:pt x="320" y="6"/>
                  </a:lnTo>
                  <a:lnTo>
                    <a:pt x="316" y="8"/>
                  </a:lnTo>
                  <a:lnTo>
                    <a:pt x="316" y="8"/>
                  </a:lnTo>
                  <a:lnTo>
                    <a:pt x="306" y="10"/>
                  </a:lnTo>
                  <a:lnTo>
                    <a:pt x="296" y="8"/>
                  </a:lnTo>
                  <a:lnTo>
                    <a:pt x="290" y="6"/>
                  </a:lnTo>
                  <a:lnTo>
                    <a:pt x="282" y="6"/>
                  </a:lnTo>
                  <a:lnTo>
                    <a:pt x="282" y="6"/>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8" name="UAE"/>
            <p:cNvSpPr>
              <a:spLocks/>
            </p:cNvSpPr>
            <p:nvPr/>
          </p:nvSpPr>
          <p:spPr bwMode="auto">
            <a:xfrm>
              <a:off x="5541663" y="2742406"/>
              <a:ext cx="137583" cy="134938"/>
            </a:xfrm>
            <a:custGeom>
              <a:avLst/>
              <a:gdLst/>
              <a:ahLst/>
              <a:cxnLst>
                <a:cxn ang="0">
                  <a:pos x="104" y="32"/>
                </a:cxn>
                <a:cxn ang="0">
                  <a:pos x="100" y="18"/>
                </a:cxn>
                <a:cxn ang="0">
                  <a:pos x="98" y="14"/>
                </a:cxn>
                <a:cxn ang="0">
                  <a:pos x="96" y="14"/>
                </a:cxn>
                <a:cxn ang="0">
                  <a:pos x="96" y="8"/>
                </a:cxn>
                <a:cxn ang="0">
                  <a:pos x="96" y="2"/>
                </a:cxn>
                <a:cxn ang="0">
                  <a:pos x="94" y="0"/>
                </a:cxn>
                <a:cxn ang="0">
                  <a:pos x="88" y="4"/>
                </a:cxn>
                <a:cxn ang="0">
                  <a:pos x="82" y="10"/>
                </a:cxn>
                <a:cxn ang="0">
                  <a:pos x="78" y="16"/>
                </a:cxn>
                <a:cxn ang="0">
                  <a:pos x="72" y="26"/>
                </a:cxn>
                <a:cxn ang="0">
                  <a:pos x="60" y="36"/>
                </a:cxn>
                <a:cxn ang="0">
                  <a:pos x="58" y="42"/>
                </a:cxn>
                <a:cxn ang="0">
                  <a:pos x="56" y="44"/>
                </a:cxn>
                <a:cxn ang="0">
                  <a:pos x="54" y="44"/>
                </a:cxn>
                <a:cxn ang="0">
                  <a:pos x="52" y="46"/>
                </a:cxn>
                <a:cxn ang="0">
                  <a:pos x="50" y="46"/>
                </a:cxn>
                <a:cxn ang="0">
                  <a:pos x="46" y="46"/>
                </a:cxn>
                <a:cxn ang="0">
                  <a:pos x="40" y="48"/>
                </a:cxn>
                <a:cxn ang="0">
                  <a:pos x="36" y="48"/>
                </a:cxn>
                <a:cxn ang="0">
                  <a:pos x="30" y="48"/>
                </a:cxn>
                <a:cxn ang="0">
                  <a:pos x="16" y="48"/>
                </a:cxn>
                <a:cxn ang="0">
                  <a:pos x="12" y="50"/>
                </a:cxn>
                <a:cxn ang="0">
                  <a:pos x="6" y="42"/>
                </a:cxn>
                <a:cxn ang="0">
                  <a:pos x="2" y="38"/>
                </a:cxn>
                <a:cxn ang="0">
                  <a:pos x="0" y="44"/>
                </a:cxn>
                <a:cxn ang="0">
                  <a:pos x="4" y="54"/>
                </a:cxn>
                <a:cxn ang="0">
                  <a:pos x="12" y="66"/>
                </a:cxn>
                <a:cxn ang="0">
                  <a:pos x="14" y="78"/>
                </a:cxn>
                <a:cxn ang="0">
                  <a:pos x="66" y="102"/>
                </a:cxn>
                <a:cxn ang="0">
                  <a:pos x="78" y="96"/>
                </a:cxn>
                <a:cxn ang="0">
                  <a:pos x="80" y="86"/>
                </a:cxn>
                <a:cxn ang="0">
                  <a:pos x="86" y="78"/>
                </a:cxn>
                <a:cxn ang="0">
                  <a:pos x="86" y="74"/>
                </a:cxn>
                <a:cxn ang="0">
                  <a:pos x="82" y="68"/>
                </a:cxn>
                <a:cxn ang="0">
                  <a:pos x="82" y="68"/>
                </a:cxn>
                <a:cxn ang="0">
                  <a:pos x="90" y="64"/>
                </a:cxn>
                <a:cxn ang="0">
                  <a:pos x="96" y="60"/>
                </a:cxn>
                <a:cxn ang="0">
                  <a:pos x="96" y="58"/>
                </a:cxn>
                <a:cxn ang="0">
                  <a:pos x="90" y="52"/>
                </a:cxn>
                <a:cxn ang="0">
                  <a:pos x="90" y="44"/>
                </a:cxn>
                <a:cxn ang="0">
                  <a:pos x="92" y="36"/>
                </a:cxn>
                <a:cxn ang="0">
                  <a:pos x="100" y="34"/>
                </a:cxn>
                <a:cxn ang="0">
                  <a:pos x="104" y="32"/>
                </a:cxn>
              </a:cxnLst>
              <a:rect l="0" t="0" r="r" b="b"/>
              <a:pathLst>
                <a:path w="104" h="102">
                  <a:moveTo>
                    <a:pt x="104" y="32"/>
                  </a:moveTo>
                  <a:lnTo>
                    <a:pt x="104" y="32"/>
                  </a:lnTo>
                  <a:lnTo>
                    <a:pt x="100" y="24"/>
                  </a:lnTo>
                  <a:lnTo>
                    <a:pt x="100" y="18"/>
                  </a:lnTo>
                  <a:lnTo>
                    <a:pt x="100" y="14"/>
                  </a:lnTo>
                  <a:lnTo>
                    <a:pt x="98" y="14"/>
                  </a:lnTo>
                  <a:lnTo>
                    <a:pt x="98" y="14"/>
                  </a:lnTo>
                  <a:lnTo>
                    <a:pt x="96" y="14"/>
                  </a:lnTo>
                  <a:lnTo>
                    <a:pt x="94" y="12"/>
                  </a:lnTo>
                  <a:lnTo>
                    <a:pt x="96" y="8"/>
                  </a:lnTo>
                  <a:lnTo>
                    <a:pt x="98" y="2"/>
                  </a:lnTo>
                  <a:lnTo>
                    <a:pt x="96" y="2"/>
                  </a:lnTo>
                  <a:lnTo>
                    <a:pt x="94" y="0"/>
                  </a:lnTo>
                  <a:lnTo>
                    <a:pt x="94" y="0"/>
                  </a:lnTo>
                  <a:lnTo>
                    <a:pt x="90" y="0"/>
                  </a:lnTo>
                  <a:lnTo>
                    <a:pt x="88" y="4"/>
                  </a:lnTo>
                  <a:lnTo>
                    <a:pt x="88" y="6"/>
                  </a:lnTo>
                  <a:lnTo>
                    <a:pt x="82" y="10"/>
                  </a:lnTo>
                  <a:lnTo>
                    <a:pt x="82" y="10"/>
                  </a:lnTo>
                  <a:lnTo>
                    <a:pt x="78" y="16"/>
                  </a:lnTo>
                  <a:lnTo>
                    <a:pt x="76" y="20"/>
                  </a:lnTo>
                  <a:lnTo>
                    <a:pt x="72" y="26"/>
                  </a:lnTo>
                  <a:lnTo>
                    <a:pt x="60" y="36"/>
                  </a:lnTo>
                  <a:lnTo>
                    <a:pt x="60" y="36"/>
                  </a:lnTo>
                  <a:lnTo>
                    <a:pt x="58" y="40"/>
                  </a:lnTo>
                  <a:lnTo>
                    <a:pt x="58" y="42"/>
                  </a:lnTo>
                  <a:lnTo>
                    <a:pt x="58" y="44"/>
                  </a:lnTo>
                  <a:lnTo>
                    <a:pt x="56" y="44"/>
                  </a:lnTo>
                  <a:lnTo>
                    <a:pt x="56" y="44"/>
                  </a:lnTo>
                  <a:lnTo>
                    <a:pt x="54" y="44"/>
                  </a:lnTo>
                  <a:lnTo>
                    <a:pt x="52" y="44"/>
                  </a:lnTo>
                  <a:lnTo>
                    <a:pt x="52" y="46"/>
                  </a:lnTo>
                  <a:lnTo>
                    <a:pt x="50" y="46"/>
                  </a:lnTo>
                  <a:lnTo>
                    <a:pt x="50" y="46"/>
                  </a:lnTo>
                  <a:lnTo>
                    <a:pt x="46" y="46"/>
                  </a:lnTo>
                  <a:lnTo>
                    <a:pt x="46" y="46"/>
                  </a:lnTo>
                  <a:lnTo>
                    <a:pt x="44" y="48"/>
                  </a:lnTo>
                  <a:lnTo>
                    <a:pt x="40" y="48"/>
                  </a:lnTo>
                  <a:lnTo>
                    <a:pt x="40" y="48"/>
                  </a:lnTo>
                  <a:lnTo>
                    <a:pt x="36" y="48"/>
                  </a:lnTo>
                  <a:lnTo>
                    <a:pt x="30" y="48"/>
                  </a:lnTo>
                  <a:lnTo>
                    <a:pt x="30" y="48"/>
                  </a:lnTo>
                  <a:lnTo>
                    <a:pt x="20" y="48"/>
                  </a:lnTo>
                  <a:lnTo>
                    <a:pt x="16" y="48"/>
                  </a:lnTo>
                  <a:lnTo>
                    <a:pt x="12" y="50"/>
                  </a:lnTo>
                  <a:lnTo>
                    <a:pt x="12" y="50"/>
                  </a:lnTo>
                  <a:lnTo>
                    <a:pt x="8" y="46"/>
                  </a:lnTo>
                  <a:lnTo>
                    <a:pt x="6" y="42"/>
                  </a:lnTo>
                  <a:lnTo>
                    <a:pt x="4" y="38"/>
                  </a:lnTo>
                  <a:lnTo>
                    <a:pt x="2" y="38"/>
                  </a:lnTo>
                  <a:lnTo>
                    <a:pt x="2" y="38"/>
                  </a:lnTo>
                  <a:lnTo>
                    <a:pt x="0" y="44"/>
                  </a:lnTo>
                  <a:lnTo>
                    <a:pt x="2" y="48"/>
                  </a:lnTo>
                  <a:lnTo>
                    <a:pt x="4" y="54"/>
                  </a:lnTo>
                  <a:lnTo>
                    <a:pt x="6" y="56"/>
                  </a:lnTo>
                  <a:lnTo>
                    <a:pt x="12" y="66"/>
                  </a:lnTo>
                  <a:lnTo>
                    <a:pt x="14" y="72"/>
                  </a:lnTo>
                  <a:lnTo>
                    <a:pt x="14" y="78"/>
                  </a:lnTo>
                  <a:lnTo>
                    <a:pt x="66" y="102"/>
                  </a:lnTo>
                  <a:lnTo>
                    <a:pt x="66" y="102"/>
                  </a:lnTo>
                  <a:lnTo>
                    <a:pt x="78" y="96"/>
                  </a:lnTo>
                  <a:lnTo>
                    <a:pt x="78" y="96"/>
                  </a:lnTo>
                  <a:lnTo>
                    <a:pt x="78" y="88"/>
                  </a:lnTo>
                  <a:lnTo>
                    <a:pt x="80" y="86"/>
                  </a:lnTo>
                  <a:lnTo>
                    <a:pt x="82" y="84"/>
                  </a:lnTo>
                  <a:lnTo>
                    <a:pt x="86" y="78"/>
                  </a:lnTo>
                  <a:lnTo>
                    <a:pt x="86" y="78"/>
                  </a:lnTo>
                  <a:lnTo>
                    <a:pt x="86" y="74"/>
                  </a:lnTo>
                  <a:lnTo>
                    <a:pt x="84" y="70"/>
                  </a:lnTo>
                  <a:lnTo>
                    <a:pt x="82" y="68"/>
                  </a:lnTo>
                  <a:lnTo>
                    <a:pt x="82" y="68"/>
                  </a:lnTo>
                  <a:lnTo>
                    <a:pt x="82" y="68"/>
                  </a:lnTo>
                  <a:lnTo>
                    <a:pt x="86" y="64"/>
                  </a:lnTo>
                  <a:lnTo>
                    <a:pt x="90" y="64"/>
                  </a:lnTo>
                  <a:lnTo>
                    <a:pt x="92" y="64"/>
                  </a:lnTo>
                  <a:lnTo>
                    <a:pt x="96" y="60"/>
                  </a:lnTo>
                  <a:lnTo>
                    <a:pt x="96" y="60"/>
                  </a:lnTo>
                  <a:lnTo>
                    <a:pt x="96" y="58"/>
                  </a:lnTo>
                  <a:lnTo>
                    <a:pt x="94" y="56"/>
                  </a:lnTo>
                  <a:lnTo>
                    <a:pt x="90" y="52"/>
                  </a:lnTo>
                  <a:lnTo>
                    <a:pt x="90" y="44"/>
                  </a:lnTo>
                  <a:lnTo>
                    <a:pt x="90" y="44"/>
                  </a:lnTo>
                  <a:lnTo>
                    <a:pt x="90" y="40"/>
                  </a:lnTo>
                  <a:lnTo>
                    <a:pt x="92" y="36"/>
                  </a:lnTo>
                  <a:lnTo>
                    <a:pt x="96" y="34"/>
                  </a:lnTo>
                  <a:lnTo>
                    <a:pt x="100" y="34"/>
                  </a:lnTo>
                  <a:lnTo>
                    <a:pt x="102" y="34"/>
                  </a:lnTo>
                  <a:lnTo>
                    <a:pt x="104" y="32"/>
                  </a:lnTo>
                  <a:lnTo>
                    <a:pt x="104" y="32"/>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9" name="Ukraine"/>
            <p:cNvSpPr>
              <a:spLocks/>
            </p:cNvSpPr>
            <p:nvPr/>
          </p:nvSpPr>
          <p:spPr bwMode="auto">
            <a:xfrm>
              <a:off x="4676476" y="1961885"/>
              <a:ext cx="425979" cy="227542"/>
            </a:xfrm>
            <a:custGeom>
              <a:avLst/>
              <a:gdLst/>
              <a:ahLst/>
              <a:cxnLst>
                <a:cxn ang="0">
                  <a:pos x="0" y="88"/>
                </a:cxn>
                <a:cxn ang="0">
                  <a:pos x="2" y="74"/>
                </a:cxn>
                <a:cxn ang="0">
                  <a:pos x="8" y="64"/>
                </a:cxn>
                <a:cxn ang="0">
                  <a:pos x="22" y="48"/>
                </a:cxn>
                <a:cxn ang="0">
                  <a:pos x="22" y="42"/>
                </a:cxn>
                <a:cxn ang="0">
                  <a:pos x="20" y="26"/>
                </a:cxn>
                <a:cxn ang="0">
                  <a:pos x="80" y="30"/>
                </a:cxn>
                <a:cxn ang="0">
                  <a:pos x="104" y="28"/>
                </a:cxn>
                <a:cxn ang="0">
                  <a:pos x="120" y="20"/>
                </a:cxn>
                <a:cxn ang="0">
                  <a:pos x="146" y="24"/>
                </a:cxn>
                <a:cxn ang="0">
                  <a:pos x="146" y="2"/>
                </a:cxn>
                <a:cxn ang="0">
                  <a:pos x="178" y="0"/>
                </a:cxn>
                <a:cxn ang="0">
                  <a:pos x="204" y="6"/>
                </a:cxn>
                <a:cxn ang="0">
                  <a:pos x="218" y="20"/>
                </a:cxn>
                <a:cxn ang="0">
                  <a:pos x="230" y="36"/>
                </a:cxn>
                <a:cxn ang="0">
                  <a:pos x="248" y="50"/>
                </a:cxn>
                <a:cxn ang="0">
                  <a:pos x="282" y="54"/>
                </a:cxn>
                <a:cxn ang="0">
                  <a:pos x="314" y="58"/>
                </a:cxn>
                <a:cxn ang="0">
                  <a:pos x="314" y="72"/>
                </a:cxn>
                <a:cxn ang="0">
                  <a:pos x="320" y="84"/>
                </a:cxn>
                <a:cxn ang="0">
                  <a:pos x="306" y="102"/>
                </a:cxn>
                <a:cxn ang="0">
                  <a:pos x="292" y="120"/>
                </a:cxn>
                <a:cxn ang="0">
                  <a:pos x="274" y="128"/>
                </a:cxn>
                <a:cxn ang="0">
                  <a:pos x="252" y="134"/>
                </a:cxn>
                <a:cxn ang="0">
                  <a:pos x="244" y="136"/>
                </a:cxn>
                <a:cxn ang="0">
                  <a:pos x="230" y="138"/>
                </a:cxn>
                <a:cxn ang="0">
                  <a:pos x="232" y="140"/>
                </a:cxn>
                <a:cxn ang="0">
                  <a:pos x="248" y="152"/>
                </a:cxn>
                <a:cxn ang="0">
                  <a:pos x="272" y="152"/>
                </a:cxn>
                <a:cxn ang="0">
                  <a:pos x="280" y="156"/>
                </a:cxn>
                <a:cxn ang="0">
                  <a:pos x="262" y="158"/>
                </a:cxn>
                <a:cxn ang="0">
                  <a:pos x="246" y="164"/>
                </a:cxn>
                <a:cxn ang="0">
                  <a:pos x="226" y="168"/>
                </a:cxn>
                <a:cxn ang="0">
                  <a:pos x="224" y="158"/>
                </a:cxn>
                <a:cxn ang="0">
                  <a:pos x="208" y="152"/>
                </a:cxn>
                <a:cxn ang="0">
                  <a:pos x="220" y="138"/>
                </a:cxn>
                <a:cxn ang="0">
                  <a:pos x="212" y="138"/>
                </a:cxn>
                <a:cxn ang="0">
                  <a:pos x="192" y="134"/>
                </a:cxn>
                <a:cxn ang="0">
                  <a:pos x="190" y="128"/>
                </a:cxn>
                <a:cxn ang="0">
                  <a:pos x="196" y="126"/>
                </a:cxn>
                <a:cxn ang="0">
                  <a:pos x="176" y="130"/>
                </a:cxn>
                <a:cxn ang="0">
                  <a:pos x="160" y="130"/>
                </a:cxn>
                <a:cxn ang="0">
                  <a:pos x="158" y="140"/>
                </a:cxn>
                <a:cxn ang="0">
                  <a:pos x="152" y="150"/>
                </a:cxn>
                <a:cxn ang="0">
                  <a:pos x="132" y="156"/>
                </a:cxn>
                <a:cxn ang="0">
                  <a:pos x="126" y="150"/>
                </a:cxn>
                <a:cxn ang="0">
                  <a:pos x="138" y="138"/>
                </a:cxn>
                <a:cxn ang="0">
                  <a:pos x="146" y="140"/>
                </a:cxn>
                <a:cxn ang="0">
                  <a:pos x="146" y="128"/>
                </a:cxn>
                <a:cxn ang="0">
                  <a:pos x="140" y="114"/>
                </a:cxn>
                <a:cxn ang="0">
                  <a:pos x="138" y="100"/>
                </a:cxn>
                <a:cxn ang="0">
                  <a:pos x="126" y="94"/>
                </a:cxn>
                <a:cxn ang="0">
                  <a:pos x="116" y="90"/>
                </a:cxn>
                <a:cxn ang="0">
                  <a:pos x="92" y="92"/>
                </a:cxn>
                <a:cxn ang="0">
                  <a:pos x="70" y="92"/>
                </a:cxn>
                <a:cxn ang="0">
                  <a:pos x="46" y="94"/>
                </a:cxn>
                <a:cxn ang="0">
                  <a:pos x="30" y="98"/>
                </a:cxn>
                <a:cxn ang="0">
                  <a:pos x="18" y="98"/>
                </a:cxn>
              </a:cxnLst>
              <a:rect l="0" t="0" r="r" b="b"/>
              <a:pathLst>
                <a:path w="322" h="172">
                  <a:moveTo>
                    <a:pt x="6" y="98"/>
                  </a:moveTo>
                  <a:lnTo>
                    <a:pt x="6" y="98"/>
                  </a:lnTo>
                  <a:lnTo>
                    <a:pt x="4" y="96"/>
                  </a:lnTo>
                  <a:lnTo>
                    <a:pt x="0" y="92"/>
                  </a:lnTo>
                  <a:lnTo>
                    <a:pt x="0" y="92"/>
                  </a:lnTo>
                  <a:lnTo>
                    <a:pt x="0" y="88"/>
                  </a:lnTo>
                  <a:lnTo>
                    <a:pt x="0" y="88"/>
                  </a:lnTo>
                  <a:lnTo>
                    <a:pt x="0" y="86"/>
                  </a:lnTo>
                  <a:lnTo>
                    <a:pt x="0" y="86"/>
                  </a:lnTo>
                  <a:lnTo>
                    <a:pt x="0" y="84"/>
                  </a:lnTo>
                  <a:lnTo>
                    <a:pt x="2" y="80"/>
                  </a:lnTo>
                  <a:lnTo>
                    <a:pt x="2" y="80"/>
                  </a:lnTo>
                  <a:lnTo>
                    <a:pt x="2" y="76"/>
                  </a:lnTo>
                  <a:lnTo>
                    <a:pt x="2" y="74"/>
                  </a:lnTo>
                  <a:lnTo>
                    <a:pt x="2" y="74"/>
                  </a:lnTo>
                  <a:lnTo>
                    <a:pt x="6" y="74"/>
                  </a:lnTo>
                  <a:lnTo>
                    <a:pt x="6" y="74"/>
                  </a:lnTo>
                  <a:lnTo>
                    <a:pt x="8" y="70"/>
                  </a:lnTo>
                  <a:lnTo>
                    <a:pt x="8" y="70"/>
                  </a:lnTo>
                  <a:lnTo>
                    <a:pt x="8" y="66"/>
                  </a:lnTo>
                  <a:lnTo>
                    <a:pt x="8" y="64"/>
                  </a:lnTo>
                  <a:lnTo>
                    <a:pt x="10" y="62"/>
                  </a:lnTo>
                  <a:lnTo>
                    <a:pt x="16" y="56"/>
                  </a:lnTo>
                  <a:lnTo>
                    <a:pt x="16" y="56"/>
                  </a:lnTo>
                  <a:lnTo>
                    <a:pt x="18" y="52"/>
                  </a:lnTo>
                  <a:lnTo>
                    <a:pt x="22" y="50"/>
                  </a:lnTo>
                  <a:lnTo>
                    <a:pt x="24" y="50"/>
                  </a:lnTo>
                  <a:lnTo>
                    <a:pt x="22" y="48"/>
                  </a:lnTo>
                  <a:lnTo>
                    <a:pt x="22" y="48"/>
                  </a:lnTo>
                  <a:lnTo>
                    <a:pt x="22" y="44"/>
                  </a:lnTo>
                  <a:lnTo>
                    <a:pt x="24" y="44"/>
                  </a:lnTo>
                  <a:lnTo>
                    <a:pt x="26" y="46"/>
                  </a:lnTo>
                  <a:lnTo>
                    <a:pt x="26" y="44"/>
                  </a:lnTo>
                  <a:lnTo>
                    <a:pt x="26" y="44"/>
                  </a:lnTo>
                  <a:lnTo>
                    <a:pt x="22" y="42"/>
                  </a:lnTo>
                  <a:lnTo>
                    <a:pt x="18" y="40"/>
                  </a:lnTo>
                  <a:lnTo>
                    <a:pt x="14" y="36"/>
                  </a:lnTo>
                  <a:lnTo>
                    <a:pt x="10" y="28"/>
                  </a:lnTo>
                  <a:lnTo>
                    <a:pt x="10" y="28"/>
                  </a:lnTo>
                  <a:lnTo>
                    <a:pt x="16" y="24"/>
                  </a:lnTo>
                  <a:lnTo>
                    <a:pt x="18" y="24"/>
                  </a:lnTo>
                  <a:lnTo>
                    <a:pt x="20" y="26"/>
                  </a:lnTo>
                  <a:lnTo>
                    <a:pt x="30" y="22"/>
                  </a:lnTo>
                  <a:lnTo>
                    <a:pt x="30" y="22"/>
                  </a:lnTo>
                  <a:lnTo>
                    <a:pt x="40" y="20"/>
                  </a:lnTo>
                  <a:lnTo>
                    <a:pt x="48" y="20"/>
                  </a:lnTo>
                  <a:lnTo>
                    <a:pt x="62" y="24"/>
                  </a:lnTo>
                  <a:lnTo>
                    <a:pt x="74" y="28"/>
                  </a:lnTo>
                  <a:lnTo>
                    <a:pt x="80" y="30"/>
                  </a:lnTo>
                  <a:lnTo>
                    <a:pt x="88" y="28"/>
                  </a:lnTo>
                  <a:lnTo>
                    <a:pt x="88" y="28"/>
                  </a:lnTo>
                  <a:lnTo>
                    <a:pt x="96" y="24"/>
                  </a:lnTo>
                  <a:lnTo>
                    <a:pt x="98" y="26"/>
                  </a:lnTo>
                  <a:lnTo>
                    <a:pt x="98" y="26"/>
                  </a:lnTo>
                  <a:lnTo>
                    <a:pt x="100" y="28"/>
                  </a:lnTo>
                  <a:lnTo>
                    <a:pt x="104" y="28"/>
                  </a:lnTo>
                  <a:lnTo>
                    <a:pt x="104" y="28"/>
                  </a:lnTo>
                  <a:lnTo>
                    <a:pt x="110" y="26"/>
                  </a:lnTo>
                  <a:lnTo>
                    <a:pt x="110" y="26"/>
                  </a:lnTo>
                  <a:lnTo>
                    <a:pt x="112" y="28"/>
                  </a:lnTo>
                  <a:lnTo>
                    <a:pt x="116" y="24"/>
                  </a:lnTo>
                  <a:lnTo>
                    <a:pt x="116" y="24"/>
                  </a:lnTo>
                  <a:lnTo>
                    <a:pt x="120" y="20"/>
                  </a:lnTo>
                  <a:lnTo>
                    <a:pt x="122" y="20"/>
                  </a:lnTo>
                  <a:lnTo>
                    <a:pt x="124" y="22"/>
                  </a:lnTo>
                  <a:lnTo>
                    <a:pt x="130" y="22"/>
                  </a:lnTo>
                  <a:lnTo>
                    <a:pt x="130" y="22"/>
                  </a:lnTo>
                  <a:lnTo>
                    <a:pt x="136" y="22"/>
                  </a:lnTo>
                  <a:lnTo>
                    <a:pt x="142" y="24"/>
                  </a:lnTo>
                  <a:lnTo>
                    <a:pt x="146" y="24"/>
                  </a:lnTo>
                  <a:lnTo>
                    <a:pt x="148" y="22"/>
                  </a:lnTo>
                  <a:lnTo>
                    <a:pt x="148" y="20"/>
                  </a:lnTo>
                  <a:lnTo>
                    <a:pt x="148" y="20"/>
                  </a:lnTo>
                  <a:lnTo>
                    <a:pt x="146" y="14"/>
                  </a:lnTo>
                  <a:lnTo>
                    <a:pt x="144" y="8"/>
                  </a:lnTo>
                  <a:lnTo>
                    <a:pt x="144" y="4"/>
                  </a:lnTo>
                  <a:lnTo>
                    <a:pt x="146" y="2"/>
                  </a:lnTo>
                  <a:lnTo>
                    <a:pt x="150" y="2"/>
                  </a:lnTo>
                  <a:lnTo>
                    <a:pt x="158" y="2"/>
                  </a:lnTo>
                  <a:lnTo>
                    <a:pt x="158" y="2"/>
                  </a:lnTo>
                  <a:lnTo>
                    <a:pt x="160" y="2"/>
                  </a:lnTo>
                  <a:lnTo>
                    <a:pt x="162" y="0"/>
                  </a:lnTo>
                  <a:lnTo>
                    <a:pt x="166" y="0"/>
                  </a:lnTo>
                  <a:lnTo>
                    <a:pt x="178" y="0"/>
                  </a:lnTo>
                  <a:lnTo>
                    <a:pt x="178" y="0"/>
                  </a:lnTo>
                  <a:lnTo>
                    <a:pt x="192" y="0"/>
                  </a:lnTo>
                  <a:lnTo>
                    <a:pt x="196" y="2"/>
                  </a:lnTo>
                  <a:lnTo>
                    <a:pt x="196" y="4"/>
                  </a:lnTo>
                  <a:lnTo>
                    <a:pt x="200" y="6"/>
                  </a:lnTo>
                  <a:lnTo>
                    <a:pt x="200" y="6"/>
                  </a:lnTo>
                  <a:lnTo>
                    <a:pt x="204" y="6"/>
                  </a:lnTo>
                  <a:lnTo>
                    <a:pt x="204" y="10"/>
                  </a:lnTo>
                  <a:lnTo>
                    <a:pt x="202" y="16"/>
                  </a:lnTo>
                  <a:lnTo>
                    <a:pt x="200" y="20"/>
                  </a:lnTo>
                  <a:lnTo>
                    <a:pt x="202" y="20"/>
                  </a:lnTo>
                  <a:lnTo>
                    <a:pt x="206" y="20"/>
                  </a:lnTo>
                  <a:lnTo>
                    <a:pt x="206" y="20"/>
                  </a:lnTo>
                  <a:lnTo>
                    <a:pt x="218" y="20"/>
                  </a:lnTo>
                  <a:lnTo>
                    <a:pt x="218" y="22"/>
                  </a:lnTo>
                  <a:lnTo>
                    <a:pt x="224" y="26"/>
                  </a:lnTo>
                  <a:lnTo>
                    <a:pt x="224" y="26"/>
                  </a:lnTo>
                  <a:lnTo>
                    <a:pt x="228" y="28"/>
                  </a:lnTo>
                  <a:lnTo>
                    <a:pt x="230" y="32"/>
                  </a:lnTo>
                  <a:lnTo>
                    <a:pt x="230" y="34"/>
                  </a:lnTo>
                  <a:lnTo>
                    <a:pt x="230" y="36"/>
                  </a:lnTo>
                  <a:lnTo>
                    <a:pt x="228" y="40"/>
                  </a:lnTo>
                  <a:lnTo>
                    <a:pt x="228" y="40"/>
                  </a:lnTo>
                  <a:lnTo>
                    <a:pt x="232" y="42"/>
                  </a:lnTo>
                  <a:lnTo>
                    <a:pt x="232" y="42"/>
                  </a:lnTo>
                  <a:lnTo>
                    <a:pt x="242" y="46"/>
                  </a:lnTo>
                  <a:lnTo>
                    <a:pt x="244" y="50"/>
                  </a:lnTo>
                  <a:lnTo>
                    <a:pt x="248" y="50"/>
                  </a:lnTo>
                  <a:lnTo>
                    <a:pt x="256" y="46"/>
                  </a:lnTo>
                  <a:lnTo>
                    <a:pt x="256" y="46"/>
                  </a:lnTo>
                  <a:lnTo>
                    <a:pt x="262" y="44"/>
                  </a:lnTo>
                  <a:lnTo>
                    <a:pt x="264" y="44"/>
                  </a:lnTo>
                  <a:lnTo>
                    <a:pt x="270" y="46"/>
                  </a:lnTo>
                  <a:lnTo>
                    <a:pt x="278" y="52"/>
                  </a:lnTo>
                  <a:lnTo>
                    <a:pt x="282" y="54"/>
                  </a:lnTo>
                  <a:lnTo>
                    <a:pt x="288" y="54"/>
                  </a:lnTo>
                  <a:lnTo>
                    <a:pt x="288" y="54"/>
                  </a:lnTo>
                  <a:lnTo>
                    <a:pt x="296" y="54"/>
                  </a:lnTo>
                  <a:lnTo>
                    <a:pt x="300" y="56"/>
                  </a:lnTo>
                  <a:lnTo>
                    <a:pt x="304" y="58"/>
                  </a:lnTo>
                  <a:lnTo>
                    <a:pt x="314" y="58"/>
                  </a:lnTo>
                  <a:lnTo>
                    <a:pt x="314" y="58"/>
                  </a:lnTo>
                  <a:lnTo>
                    <a:pt x="320" y="60"/>
                  </a:lnTo>
                  <a:lnTo>
                    <a:pt x="320" y="60"/>
                  </a:lnTo>
                  <a:lnTo>
                    <a:pt x="316" y="66"/>
                  </a:lnTo>
                  <a:lnTo>
                    <a:pt x="312" y="70"/>
                  </a:lnTo>
                  <a:lnTo>
                    <a:pt x="310" y="70"/>
                  </a:lnTo>
                  <a:lnTo>
                    <a:pt x="314" y="72"/>
                  </a:lnTo>
                  <a:lnTo>
                    <a:pt x="314" y="72"/>
                  </a:lnTo>
                  <a:lnTo>
                    <a:pt x="316" y="72"/>
                  </a:lnTo>
                  <a:lnTo>
                    <a:pt x="316" y="74"/>
                  </a:lnTo>
                  <a:lnTo>
                    <a:pt x="314" y="78"/>
                  </a:lnTo>
                  <a:lnTo>
                    <a:pt x="314" y="80"/>
                  </a:lnTo>
                  <a:lnTo>
                    <a:pt x="316" y="80"/>
                  </a:lnTo>
                  <a:lnTo>
                    <a:pt x="316" y="80"/>
                  </a:lnTo>
                  <a:lnTo>
                    <a:pt x="320" y="84"/>
                  </a:lnTo>
                  <a:lnTo>
                    <a:pt x="322" y="86"/>
                  </a:lnTo>
                  <a:lnTo>
                    <a:pt x="322" y="88"/>
                  </a:lnTo>
                  <a:lnTo>
                    <a:pt x="320" y="92"/>
                  </a:lnTo>
                  <a:lnTo>
                    <a:pt x="316" y="96"/>
                  </a:lnTo>
                  <a:lnTo>
                    <a:pt x="310" y="100"/>
                  </a:lnTo>
                  <a:lnTo>
                    <a:pt x="310" y="100"/>
                  </a:lnTo>
                  <a:lnTo>
                    <a:pt x="306" y="102"/>
                  </a:lnTo>
                  <a:lnTo>
                    <a:pt x="300" y="106"/>
                  </a:lnTo>
                  <a:lnTo>
                    <a:pt x="298" y="110"/>
                  </a:lnTo>
                  <a:lnTo>
                    <a:pt x="298" y="118"/>
                  </a:lnTo>
                  <a:lnTo>
                    <a:pt x="298" y="118"/>
                  </a:lnTo>
                  <a:lnTo>
                    <a:pt x="296" y="120"/>
                  </a:lnTo>
                  <a:lnTo>
                    <a:pt x="292" y="120"/>
                  </a:lnTo>
                  <a:lnTo>
                    <a:pt x="292" y="120"/>
                  </a:lnTo>
                  <a:lnTo>
                    <a:pt x="288" y="122"/>
                  </a:lnTo>
                  <a:lnTo>
                    <a:pt x="286" y="122"/>
                  </a:lnTo>
                  <a:lnTo>
                    <a:pt x="284" y="122"/>
                  </a:lnTo>
                  <a:lnTo>
                    <a:pt x="280" y="126"/>
                  </a:lnTo>
                  <a:lnTo>
                    <a:pt x="280" y="126"/>
                  </a:lnTo>
                  <a:lnTo>
                    <a:pt x="276" y="130"/>
                  </a:lnTo>
                  <a:lnTo>
                    <a:pt x="274" y="128"/>
                  </a:lnTo>
                  <a:lnTo>
                    <a:pt x="272" y="128"/>
                  </a:lnTo>
                  <a:lnTo>
                    <a:pt x="268" y="132"/>
                  </a:lnTo>
                  <a:lnTo>
                    <a:pt x="268" y="132"/>
                  </a:lnTo>
                  <a:lnTo>
                    <a:pt x="264" y="136"/>
                  </a:lnTo>
                  <a:lnTo>
                    <a:pt x="258" y="134"/>
                  </a:lnTo>
                  <a:lnTo>
                    <a:pt x="258" y="134"/>
                  </a:lnTo>
                  <a:lnTo>
                    <a:pt x="252" y="134"/>
                  </a:lnTo>
                  <a:lnTo>
                    <a:pt x="248" y="136"/>
                  </a:lnTo>
                  <a:lnTo>
                    <a:pt x="244" y="138"/>
                  </a:lnTo>
                  <a:lnTo>
                    <a:pt x="238" y="138"/>
                  </a:lnTo>
                  <a:lnTo>
                    <a:pt x="238" y="138"/>
                  </a:lnTo>
                  <a:lnTo>
                    <a:pt x="236" y="138"/>
                  </a:lnTo>
                  <a:lnTo>
                    <a:pt x="236" y="138"/>
                  </a:lnTo>
                  <a:lnTo>
                    <a:pt x="244" y="136"/>
                  </a:lnTo>
                  <a:lnTo>
                    <a:pt x="244" y="136"/>
                  </a:lnTo>
                  <a:lnTo>
                    <a:pt x="246" y="136"/>
                  </a:lnTo>
                  <a:lnTo>
                    <a:pt x="244" y="134"/>
                  </a:lnTo>
                  <a:lnTo>
                    <a:pt x="238" y="136"/>
                  </a:lnTo>
                  <a:lnTo>
                    <a:pt x="238" y="136"/>
                  </a:lnTo>
                  <a:lnTo>
                    <a:pt x="232" y="138"/>
                  </a:lnTo>
                  <a:lnTo>
                    <a:pt x="230" y="138"/>
                  </a:lnTo>
                  <a:lnTo>
                    <a:pt x="228" y="136"/>
                  </a:lnTo>
                  <a:lnTo>
                    <a:pt x="228" y="136"/>
                  </a:lnTo>
                  <a:lnTo>
                    <a:pt x="228" y="138"/>
                  </a:lnTo>
                  <a:lnTo>
                    <a:pt x="228" y="140"/>
                  </a:lnTo>
                  <a:lnTo>
                    <a:pt x="230" y="140"/>
                  </a:lnTo>
                  <a:lnTo>
                    <a:pt x="232" y="140"/>
                  </a:lnTo>
                  <a:lnTo>
                    <a:pt x="232" y="140"/>
                  </a:lnTo>
                  <a:lnTo>
                    <a:pt x="236" y="140"/>
                  </a:lnTo>
                  <a:lnTo>
                    <a:pt x="238" y="142"/>
                  </a:lnTo>
                  <a:lnTo>
                    <a:pt x="238" y="142"/>
                  </a:lnTo>
                  <a:lnTo>
                    <a:pt x="246" y="146"/>
                  </a:lnTo>
                  <a:lnTo>
                    <a:pt x="250" y="148"/>
                  </a:lnTo>
                  <a:lnTo>
                    <a:pt x="250" y="150"/>
                  </a:lnTo>
                  <a:lnTo>
                    <a:pt x="248" y="152"/>
                  </a:lnTo>
                  <a:lnTo>
                    <a:pt x="248" y="152"/>
                  </a:lnTo>
                  <a:lnTo>
                    <a:pt x="254" y="152"/>
                  </a:lnTo>
                  <a:lnTo>
                    <a:pt x="258" y="152"/>
                  </a:lnTo>
                  <a:lnTo>
                    <a:pt x="262" y="154"/>
                  </a:lnTo>
                  <a:lnTo>
                    <a:pt x="266" y="152"/>
                  </a:lnTo>
                  <a:lnTo>
                    <a:pt x="266" y="152"/>
                  </a:lnTo>
                  <a:lnTo>
                    <a:pt x="272" y="152"/>
                  </a:lnTo>
                  <a:lnTo>
                    <a:pt x="280" y="152"/>
                  </a:lnTo>
                  <a:lnTo>
                    <a:pt x="280" y="152"/>
                  </a:lnTo>
                  <a:lnTo>
                    <a:pt x="282" y="154"/>
                  </a:lnTo>
                  <a:lnTo>
                    <a:pt x="282" y="154"/>
                  </a:lnTo>
                  <a:lnTo>
                    <a:pt x="280" y="154"/>
                  </a:lnTo>
                  <a:lnTo>
                    <a:pt x="280" y="156"/>
                  </a:lnTo>
                  <a:lnTo>
                    <a:pt x="280" y="156"/>
                  </a:lnTo>
                  <a:lnTo>
                    <a:pt x="278" y="158"/>
                  </a:lnTo>
                  <a:lnTo>
                    <a:pt x="278" y="158"/>
                  </a:lnTo>
                  <a:lnTo>
                    <a:pt x="276" y="158"/>
                  </a:lnTo>
                  <a:lnTo>
                    <a:pt x="276" y="158"/>
                  </a:lnTo>
                  <a:lnTo>
                    <a:pt x="272" y="160"/>
                  </a:lnTo>
                  <a:lnTo>
                    <a:pt x="268" y="158"/>
                  </a:lnTo>
                  <a:lnTo>
                    <a:pt x="262" y="158"/>
                  </a:lnTo>
                  <a:lnTo>
                    <a:pt x="260" y="158"/>
                  </a:lnTo>
                  <a:lnTo>
                    <a:pt x="258" y="160"/>
                  </a:lnTo>
                  <a:lnTo>
                    <a:pt x="258" y="160"/>
                  </a:lnTo>
                  <a:lnTo>
                    <a:pt x="256" y="162"/>
                  </a:lnTo>
                  <a:lnTo>
                    <a:pt x="248" y="164"/>
                  </a:lnTo>
                  <a:lnTo>
                    <a:pt x="248" y="164"/>
                  </a:lnTo>
                  <a:lnTo>
                    <a:pt x="246" y="164"/>
                  </a:lnTo>
                  <a:lnTo>
                    <a:pt x="244" y="166"/>
                  </a:lnTo>
                  <a:lnTo>
                    <a:pt x="242" y="170"/>
                  </a:lnTo>
                  <a:lnTo>
                    <a:pt x="240" y="172"/>
                  </a:lnTo>
                  <a:lnTo>
                    <a:pt x="238" y="172"/>
                  </a:lnTo>
                  <a:lnTo>
                    <a:pt x="228" y="170"/>
                  </a:lnTo>
                  <a:lnTo>
                    <a:pt x="228" y="170"/>
                  </a:lnTo>
                  <a:lnTo>
                    <a:pt x="226" y="168"/>
                  </a:lnTo>
                  <a:lnTo>
                    <a:pt x="226" y="168"/>
                  </a:lnTo>
                  <a:lnTo>
                    <a:pt x="228" y="164"/>
                  </a:lnTo>
                  <a:lnTo>
                    <a:pt x="230" y="160"/>
                  </a:lnTo>
                  <a:lnTo>
                    <a:pt x="228" y="160"/>
                  </a:lnTo>
                  <a:lnTo>
                    <a:pt x="226" y="160"/>
                  </a:lnTo>
                  <a:lnTo>
                    <a:pt x="226" y="160"/>
                  </a:lnTo>
                  <a:lnTo>
                    <a:pt x="224" y="158"/>
                  </a:lnTo>
                  <a:lnTo>
                    <a:pt x="222" y="158"/>
                  </a:lnTo>
                  <a:lnTo>
                    <a:pt x="222" y="154"/>
                  </a:lnTo>
                  <a:lnTo>
                    <a:pt x="218" y="152"/>
                  </a:lnTo>
                  <a:lnTo>
                    <a:pt x="212" y="154"/>
                  </a:lnTo>
                  <a:lnTo>
                    <a:pt x="212" y="154"/>
                  </a:lnTo>
                  <a:lnTo>
                    <a:pt x="210" y="154"/>
                  </a:lnTo>
                  <a:lnTo>
                    <a:pt x="208" y="152"/>
                  </a:lnTo>
                  <a:lnTo>
                    <a:pt x="210" y="148"/>
                  </a:lnTo>
                  <a:lnTo>
                    <a:pt x="210" y="148"/>
                  </a:lnTo>
                  <a:lnTo>
                    <a:pt x="216" y="144"/>
                  </a:lnTo>
                  <a:lnTo>
                    <a:pt x="224" y="140"/>
                  </a:lnTo>
                  <a:lnTo>
                    <a:pt x="224" y="140"/>
                  </a:lnTo>
                  <a:lnTo>
                    <a:pt x="220" y="140"/>
                  </a:lnTo>
                  <a:lnTo>
                    <a:pt x="220" y="138"/>
                  </a:lnTo>
                  <a:lnTo>
                    <a:pt x="220" y="138"/>
                  </a:lnTo>
                  <a:lnTo>
                    <a:pt x="220" y="138"/>
                  </a:lnTo>
                  <a:lnTo>
                    <a:pt x="218" y="140"/>
                  </a:lnTo>
                  <a:lnTo>
                    <a:pt x="216" y="140"/>
                  </a:lnTo>
                  <a:lnTo>
                    <a:pt x="214" y="140"/>
                  </a:lnTo>
                  <a:lnTo>
                    <a:pt x="214" y="140"/>
                  </a:lnTo>
                  <a:lnTo>
                    <a:pt x="212" y="138"/>
                  </a:lnTo>
                  <a:lnTo>
                    <a:pt x="210" y="138"/>
                  </a:lnTo>
                  <a:lnTo>
                    <a:pt x="206" y="138"/>
                  </a:lnTo>
                  <a:lnTo>
                    <a:pt x="200" y="136"/>
                  </a:lnTo>
                  <a:lnTo>
                    <a:pt x="200" y="136"/>
                  </a:lnTo>
                  <a:lnTo>
                    <a:pt x="194" y="134"/>
                  </a:lnTo>
                  <a:lnTo>
                    <a:pt x="192" y="134"/>
                  </a:lnTo>
                  <a:lnTo>
                    <a:pt x="192" y="134"/>
                  </a:lnTo>
                  <a:lnTo>
                    <a:pt x="190" y="132"/>
                  </a:lnTo>
                  <a:lnTo>
                    <a:pt x="190" y="132"/>
                  </a:lnTo>
                  <a:lnTo>
                    <a:pt x="194" y="132"/>
                  </a:lnTo>
                  <a:lnTo>
                    <a:pt x="198" y="130"/>
                  </a:lnTo>
                  <a:lnTo>
                    <a:pt x="194" y="130"/>
                  </a:lnTo>
                  <a:lnTo>
                    <a:pt x="194" y="130"/>
                  </a:lnTo>
                  <a:lnTo>
                    <a:pt x="190" y="128"/>
                  </a:lnTo>
                  <a:lnTo>
                    <a:pt x="194" y="128"/>
                  </a:lnTo>
                  <a:lnTo>
                    <a:pt x="194" y="128"/>
                  </a:lnTo>
                  <a:lnTo>
                    <a:pt x="206" y="128"/>
                  </a:lnTo>
                  <a:lnTo>
                    <a:pt x="206" y="128"/>
                  </a:lnTo>
                  <a:lnTo>
                    <a:pt x="206" y="128"/>
                  </a:lnTo>
                  <a:lnTo>
                    <a:pt x="196" y="126"/>
                  </a:lnTo>
                  <a:lnTo>
                    <a:pt x="196" y="126"/>
                  </a:lnTo>
                  <a:lnTo>
                    <a:pt x="190" y="124"/>
                  </a:lnTo>
                  <a:lnTo>
                    <a:pt x="188" y="126"/>
                  </a:lnTo>
                  <a:lnTo>
                    <a:pt x="186" y="126"/>
                  </a:lnTo>
                  <a:lnTo>
                    <a:pt x="182" y="128"/>
                  </a:lnTo>
                  <a:lnTo>
                    <a:pt x="182" y="128"/>
                  </a:lnTo>
                  <a:lnTo>
                    <a:pt x="178" y="128"/>
                  </a:lnTo>
                  <a:lnTo>
                    <a:pt x="176" y="130"/>
                  </a:lnTo>
                  <a:lnTo>
                    <a:pt x="172" y="132"/>
                  </a:lnTo>
                  <a:lnTo>
                    <a:pt x="168" y="134"/>
                  </a:lnTo>
                  <a:lnTo>
                    <a:pt x="168" y="134"/>
                  </a:lnTo>
                  <a:lnTo>
                    <a:pt x="164" y="134"/>
                  </a:lnTo>
                  <a:lnTo>
                    <a:pt x="164" y="132"/>
                  </a:lnTo>
                  <a:lnTo>
                    <a:pt x="164" y="132"/>
                  </a:lnTo>
                  <a:lnTo>
                    <a:pt x="160" y="130"/>
                  </a:lnTo>
                  <a:lnTo>
                    <a:pt x="160" y="130"/>
                  </a:lnTo>
                  <a:lnTo>
                    <a:pt x="162" y="132"/>
                  </a:lnTo>
                  <a:lnTo>
                    <a:pt x="162" y="132"/>
                  </a:lnTo>
                  <a:lnTo>
                    <a:pt x="164" y="136"/>
                  </a:lnTo>
                  <a:lnTo>
                    <a:pt x="162" y="138"/>
                  </a:lnTo>
                  <a:lnTo>
                    <a:pt x="162" y="138"/>
                  </a:lnTo>
                  <a:lnTo>
                    <a:pt x="158" y="140"/>
                  </a:lnTo>
                  <a:lnTo>
                    <a:pt x="154" y="144"/>
                  </a:lnTo>
                  <a:lnTo>
                    <a:pt x="154" y="144"/>
                  </a:lnTo>
                  <a:lnTo>
                    <a:pt x="154" y="146"/>
                  </a:lnTo>
                  <a:lnTo>
                    <a:pt x="154" y="148"/>
                  </a:lnTo>
                  <a:lnTo>
                    <a:pt x="154" y="148"/>
                  </a:lnTo>
                  <a:lnTo>
                    <a:pt x="152" y="150"/>
                  </a:lnTo>
                  <a:lnTo>
                    <a:pt x="152" y="150"/>
                  </a:lnTo>
                  <a:lnTo>
                    <a:pt x="146" y="148"/>
                  </a:lnTo>
                  <a:lnTo>
                    <a:pt x="142" y="150"/>
                  </a:lnTo>
                  <a:lnTo>
                    <a:pt x="140" y="150"/>
                  </a:lnTo>
                  <a:lnTo>
                    <a:pt x="134" y="152"/>
                  </a:lnTo>
                  <a:lnTo>
                    <a:pt x="134" y="152"/>
                  </a:lnTo>
                  <a:lnTo>
                    <a:pt x="134" y="154"/>
                  </a:lnTo>
                  <a:lnTo>
                    <a:pt x="132" y="156"/>
                  </a:lnTo>
                  <a:lnTo>
                    <a:pt x="128" y="154"/>
                  </a:lnTo>
                  <a:lnTo>
                    <a:pt x="122" y="150"/>
                  </a:lnTo>
                  <a:lnTo>
                    <a:pt x="122" y="150"/>
                  </a:lnTo>
                  <a:lnTo>
                    <a:pt x="124" y="150"/>
                  </a:lnTo>
                  <a:lnTo>
                    <a:pt x="124" y="150"/>
                  </a:lnTo>
                  <a:lnTo>
                    <a:pt x="126" y="150"/>
                  </a:lnTo>
                  <a:lnTo>
                    <a:pt x="126" y="150"/>
                  </a:lnTo>
                  <a:lnTo>
                    <a:pt x="130" y="148"/>
                  </a:lnTo>
                  <a:lnTo>
                    <a:pt x="130" y="144"/>
                  </a:lnTo>
                  <a:lnTo>
                    <a:pt x="132" y="136"/>
                  </a:lnTo>
                  <a:lnTo>
                    <a:pt x="132" y="136"/>
                  </a:lnTo>
                  <a:lnTo>
                    <a:pt x="134" y="136"/>
                  </a:lnTo>
                  <a:lnTo>
                    <a:pt x="136" y="138"/>
                  </a:lnTo>
                  <a:lnTo>
                    <a:pt x="138" y="138"/>
                  </a:lnTo>
                  <a:lnTo>
                    <a:pt x="140" y="138"/>
                  </a:lnTo>
                  <a:lnTo>
                    <a:pt x="140" y="138"/>
                  </a:lnTo>
                  <a:lnTo>
                    <a:pt x="140" y="138"/>
                  </a:lnTo>
                  <a:lnTo>
                    <a:pt x="142" y="140"/>
                  </a:lnTo>
                  <a:lnTo>
                    <a:pt x="144" y="140"/>
                  </a:lnTo>
                  <a:lnTo>
                    <a:pt x="146" y="140"/>
                  </a:lnTo>
                  <a:lnTo>
                    <a:pt x="146" y="140"/>
                  </a:lnTo>
                  <a:lnTo>
                    <a:pt x="150" y="138"/>
                  </a:lnTo>
                  <a:lnTo>
                    <a:pt x="152" y="138"/>
                  </a:lnTo>
                  <a:lnTo>
                    <a:pt x="150" y="138"/>
                  </a:lnTo>
                  <a:lnTo>
                    <a:pt x="150" y="138"/>
                  </a:lnTo>
                  <a:lnTo>
                    <a:pt x="148" y="134"/>
                  </a:lnTo>
                  <a:lnTo>
                    <a:pt x="148" y="132"/>
                  </a:lnTo>
                  <a:lnTo>
                    <a:pt x="146" y="128"/>
                  </a:lnTo>
                  <a:lnTo>
                    <a:pt x="144" y="124"/>
                  </a:lnTo>
                  <a:lnTo>
                    <a:pt x="144" y="124"/>
                  </a:lnTo>
                  <a:lnTo>
                    <a:pt x="144" y="122"/>
                  </a:lnTo>
                  <a:lnTo>
                    <a:pt x="144" y="120"/>
                  </a:lnTo>
                  <a:lnTo>
                    <a:pt x="142" y="118"/>
                  </a:lnTo>
                  <a:lnTo>
                    <a:pt x="140" y="114"/>
                  </a:lnTo>
                  <a:lnTo>
                    <a:pt x="140" y="114"/>
                  </a:lnTo>
                  <a:lnTo>
                    <a:pt x="138" y="108"/>
                  </a:lnTo>
                  <a:lnTo>
                    <a:pt x="138" y="106"/>
                  </a:lnTo>
                  <a:lnTo>
                    <a:pt x="138" y="104"/>
                  </a:lnTo>
                  <a:lnTo>
                    <a:pt x="138" y="102"/>
                  </a:lnTo>
                  <a:lnTo>
                    <a:pt x="138" y="102"/>
                  </a:lnTo>
                  <a:lnTo>
                    <a:pt x="136" y="100"/>
                  </a:lnTo>
                  <a:lnTo>
                    <a:pt x="138" y="100"/>
                  </a:lnTo>
                  <a:lnTo>
                    <a:pt x="136" y="98"/>
                  </a:lnTo>
                  <a:lnTo>
                    <a:pt x="134" y="98"/>
                  </a:lnTo>
                  <a:lnTo>
                    <a:pt x="134" y="98"/>
                  </a:lnTo>
                  <a:lnTo>
                    <a:pt x="132" y="96"/>
                  </a:lnTo>
                  <a:lnTo>
                    <a:pt x="130" y="96"/>
                  </a:lnTo>
                  <a:lnTo>
                    <a:pt x="128" y="94"/>
                  </a:lnTo>
                  <a:lnTo>
                    <a:pt x="126" y="94"/>
                  </a:lnTo>
                  <a:lnTo>
                    <a:pt x="126" y="94"/>
                  </a:lnTo>
                  <a:lnTo>
                    <a:pt x="124" y="94"/>
                  </a:lnTo>
                  <a:lnTo>
                    <a:pt x="122" y="92"/>
                  </a:lnTo>
                  <a:lnTo>
                    <a:pt x="122" y="92"/>
                  </a:lnTo>
                  <a:lnTo>
                    <a:pt x="120" y="92"/>
                  </a:lnTo>
                  <a:lnTo>
                    <a:pt x="120" y="92"/>
                  </a:lnTo>
                  <a:lnTo>
                    <a:pt x="116" y="90"/>
                  </a:lnTo>
                  <a:lnTo>
                    <a:pt x="112" y="88"/>
                  </a:lnTo>
                  <a:lnTo>
                    <a:pt x="108" y="86"/>
                  </a:lnTo>
                  <a:lnTo>
                    <a:pt x="102" y="90"/>
                  </a:lnTo>
                  <a:lnTo>
                    <a:pt x="102" y="90"/>
                  </a:lnTo>
                  <a:lnTo>
                    <a:pt x="96" y="92"/>
                  </a:lnTo>
                  <a:lnTo>
                    <a:pt x="92" y="92"/>
                  </a:lnTo>
                  <a:lnTo>
                    <a:pt x="92" y="92"/>
                  </a:lnTo>
                  <a:lnTo>
                    <a:pt x="88" y="92"/>
                  </a:lnTo>
                  <a:lnTo>
                    <a:pt x="88" y="92"/>
                  </a:lnTo>
                  <a:lnTo>
                    <a:pt x="86" y="92"/>
                  </a:lnTo>
                  <a:lnTo>
                    <a:pt x="80" y="92"/>
                  </a:lnTo>
                  <a:lnTo>
                    <a:pt x="76" y="90"/>
                  </a:lnTo>
                  <a:lnTo>
                    <a:pt x="70" y="92"/>
                  </a:lnTo>
                  <a:lnTo>
                    <a:pt x="70" y="92"/>
                  </a:lnTo>
                  <a:lnTo>
                    <a:pt x="68" y="94"/>
                  </a:lnTo>
                  <a:lnTo>
                    <a:pt x="62" y="94"/>
                  </a:lnTo>
                  <a:lnTo>
                    <a:pt x="56" y="94"/>
                  </a:lnTo>
                  <a:lnTo>
                    <a:pt x="52" y="96"/>
                  </a:lnTo>
                  <a:lnTo>
                    <a:pt x="52" y="96"/>
                  </a:lnTo>
                  <a:lnTo>
                    <a:pt x="50" y="96"/>
                  </a:lnTo>
                  <a:lnTo>
                    <a:pt x="46" y="94"/>
                  </a:lnTo>
                  <a:lnTo>
                    <a:pt x="42" y="94"/>
                  </a:lnTo>
                  <a:lnTo>
                    <a:pt x="38" y="96"/>
                  </a:lnTo>
                  <a:lnTo>
                    <a:pt x="38" y="96"/>
                  </a:lnTo>
                  <a:lnTo>
                    <a:pt x="36" y="98"/>
                  </a:lnTo>
                  <a:lnTo>
                    <a:pt x="36" y="98"/>
                  </a:lnTo>
                  <a:lnTo>
                    <a:pt x="34" y="96"/>
                  </a:lnTo>
                  <a:lnTo>
                    <a:pt x="30" y="98"/>
                  </a:lnTo>
                  <a:lnTo>
                    <a:pt x="30" y="98"/>
                  </a:lnTo>
                  <a:lnTo>
                    <a:pt x="26" y="98"/>
                  </a:lnTo>
                  <a:lnTo>
                    <a:pt x="24" y="96"/>
                  </a:lnTo>
                  <a:lnTo>
                    <a:pt x="22" y="96"/>
                  </a:lnTo>
                  <a:lnTo>
                    <a:pt x="20" y="98"/>
                  </a:lnTo>
                  <a:lnTo>
                    <a:pt x="20" y="98"/>
                  </a:lnTo>
                  <a:lnTo>
                    <a:pt x="18" y="98"/>
                  </a:lnTo>
                  <a:lnTo>
                    <a:pt x="16" y="96"/>
                  </a:lnTo>
                  <a:lnTo>
                    <a:pt x="12" y="96"/>
                  </a:lnTo>
                  <a:lnTo>
                    <a:pt x="6" y="98"/>
                  </a:lnTo>
                  <a:lnTo>
                    <a:pt x="6" y="98"/>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0" name="United Kingdom"/>
            <p:cNvSpPr>
              <a:spLocks/>
            </p:cNvSpPr>
            <p:nvPr/>
          </p:nvSpPr>
          <p:spPr bwMode="auto">
            <a:xfrm>
              <a:off x="3972683" y="1832240"/>
              <a:ext cx="201084" cy="203729"/>
            </a:xfrm>
            <a:custGeom>
              <a:avLst/>
              <a:gdLst/>
              <a:ahLst/>
              <a:cxnLst/>
              <a:rect l="l" t="t" r="r" b="b"/>
              <a:pathLst>
                <a:path w="201084" h="203729">
                  <a:moveTo>
                    <a:pt x="31750" y="76729"/>
                  </a:moveTo>
                  <a:lnTo>
                    <a:pt x="37042" y="76729"/>
                  </a:lnTo>
                  <a:lnTo>
                    <a:pt x="39688" y="79375"/>
                  </a:lnTo>
                  <a:lnTo>
                    <a:pt x="42334" y="79375"/>
                  </a:lnTo>
                  <a:lnTo>
                    <a:pt x="42334" y="82021"/>
                  </a:lnTo>
                  <a:lnTo>
                    <a:pt x="42334" y="84667"/>
                  </a:lnTo>
                  <a:lnTo>
                    <a:pt x="47625" y="87312"/>
                  </a:lnTo>
                  <a:lnTo>
                    <a:pt x="47625" y="89958"/>
                  </a:lnTo>
                  <a:lnTo>
                    <a:pt x="44980" y="89958"/>
                  </a:lnTo>
                  <a:lnTo>
                    <a:pt x="42334" y="92604"/>
                  </a:lnTo>
                  <a:lnTo>
                    <a:pt x="47625" y="92604"/>
                  </a:lnTo>
                  <a:lnTo>
                    <a:pt x="50271" y="92604"/>
                  </a:lnTo>
                  <a:lnTo>
                    <a:pt x="50271" y="95250"/>
                  </a:lnTo>
                  <a:lnTo>
                    <a:pt x="52917" y="97896"/>
                  </a:lnTo>
                  <a:lnTo>
                    <a:pt x="50271" y="100542"/>
                  </a:lnTo>
                  <a:lnTo>
                    <a:pt x="47625" y="103187"/>
                  </a:lnTo>
                  <a:lnTo>
                    <a:pt x="44980" y="103187"/>
                  </a:lnTo>
                  <a:lnTo>
                    <a:pt x="42334" y="103187"/>
                  </a:lnTo>
                  <a:lnTo>
                    <a:pt x="42334" y="105833"/>
                  </a:lnTo>
                  <a:lnTo>
                    <a:pt x="37042" y="108479"/>
                  </a:lnTo>
                  <a:lnTo>
                    <a:pt x="31750" y="105833"/>
                  </a:lnTo>
                  <a:lnTo>
                    <a:pt x="26459" y="105833"/>
                  </a:lnTo>
                  <a:lnTo>
                    <a:pt x="23813" y="103187"/>
                  </a:lnTo>
                  <a:lnTo>
                    <a:pt x="23813" y="100542"/>
                  </a:lnTo>
                  <a:lnTo>
                    <a:pt x="18521" y="95250"/>
                  </a:lnTo>
                  <a:lnTo>
                    <a:pt x="15875" y="97896"/>
                  </a:lnTo>
                  <a:lnTo>
                    <a:pt x="13229" y="100542"/>
                  </a:lnTo>
                  <a:lnTo>
                    <a:pt x="10584" y="100542"/>
                  </a:lnTo>
                  <a:lnTo>
                    <a:pt x="2646" y="97896"/>
                  </a:lnTo>
                  <a:lnTo>
                    <a:pt x="0" y="92604"/>
                  </a:lnTo>
                  <a:lnTo>
                    <a:pt x="5292" y="89958"/>
                  </a:lnTo>
                  <a:lnTo>
                    <a:pt x="5292" y="87312"/>
                  </a:lnTo>
                  <a:lnTo>
                    <a:pt x="7938" y="84667"/>
                  </a:lnTo>
                  <a:lnTo>
                    <a:pt x="10584" y="84667"/>
                  </a:lnTo>
                  <a:lnTo>
                    <a:pt x="13229" y="84667"/>
                  </a:lnTo>
                  <a:lnTo>
                    <a:pt x="15875" y="82021"/>
                  </a:lnTo>
                  <a:lnTo>
                    <a:pt x="18521" y="82021"/>
                  </a:lnTo>
                  <a:lnTo>
                    <a:pt x="23813" y="79375"/>
                  </a:lnTo>
                  <a:lnTo>
                    <a:pt x="26459" y="79375"/>
                  </a:lnTo>
                  <a:close/>
                  <a:moveTo>
                    <a:pt x="68792" y="0"/>
                  </a:moveTo>
                  <a:lnTo>
                    <a:pt x="74084" y="0"/>
                  </a:lnTo>
                  <a:lnTo>
                    <a:pt x="74084" y="2646"/>
                  </a:lnTo>
                  <a:lnTo>
                    <a:pt x="76730" y="2646"/>
                  </a:lnTo>
                  <a:lnTo>
                    <a:pt x="79376" y="2646"/>
                  </a:lnTo>
                  <a:lnTo>
                    <a:pt x="82021" y="2646"/>
                  </a:lnTo>
                  <a:lnTo>
                    <a:pt x="87313" y="0"/>
                  </a:lnTo>
                  <a:lnTo>
                    <a:pt x="97896" y="0"/>
                  </a:lnTo>
                  <a:lnTo>
                    <a:pt x="103188" y="0"/>
                  </a:lnTo>
                  <a:lnTo>
                    <a:pt x="103188" y="2646"/>
                  </a:lnTo>
                  <a:lnTo>
                    <a:pt x="103188" y="5292"/>
                  </a:lnTo>
                  <a:lnTo>
                    <a:pt x="100542" y="7937"/>
                  </a:lnTo>
                  <a:lnTo>
                    <a:pt x="87313" y="15875"/>
                  </a:lnTo>
                  <a:lnTo>
                    <a:pt x="84667" y="18521"/>
                  </a:lnTo>
                  <a:lnTo>
                    <a:pt x="87313" y="18521"/>
                  </a:lnTo>
                  <a:lnTo>
                    <a:pt x="87313" y="21167"/>
                  </a:lnTo>
                  <a:lnTo>
                    <a:pt x="84667" y="23812"/>
                  </a:lnTo>
                  <a:lnTo>
                    <a:pt x="82021" y="23812"/>
                  </a:lnTo>
                  <a:lnTo>
                    <a:pt x="82021" y="26458"/>
                  </a:lnTo>
                  <a:lnTo>
                    <a:pt x="87313" y="23812"/>
                  </a:lnTo>
                  <a:lnTo>
                    <a:pt x="95251" y="23812"/>
                  </a:lnTo>
                  <a:lnTo>
                    <a:pt x="103188" y="23812"/>
                  </a:lnTo>
                  <a:lnTo>
                    <a:pt x="111126" y="23812"/>
                  </a:lnTo>
                  <a:lnTo>
                    <a:pt x="116417" y="23812"/>
                  </a:lnTo>
                  <a:lnTo>
                    <a:pt x="121709" y="23812"/>
                  </a:lnTo>
                  <a:lnTo>
                    <a:pt x="124355" y="23812"/>
                  </a:lnTo>
                  <a:lnTo>
                    <a:pt x="127001" y="26458"/>
                  </a:lnTo>
                  <a:lnTo>
                    <a:pt x="127001" y="29104"/>
                  </a:lnTo>
                  <a:lnTo>
                    <a:pt x="124355" y="31750"/>
                  </a:lnTo>
                  <a:lnTo>
                    <a:pt x="121709" y="31750"/>
                  </a:lnTo>
                  <a:lnTo>
                    <a:pt x="121709" y="34396"/>
                  </a:lnTo>
                  <a:lnTo>
                    <a:pt x="119063" y="39687"/>
                  </a:lnTo>
                  <a:lnTo>
                    <a:pt x="116417" y="44979"/>
                  </a:lnTo>
                  <a:lnTo>
                    <a:pt x="111126" y="50271"/>
                  </a:lnTo>
                  <a:lnTo>
                    <a:pt x="105834" y="52917"/>
                  </a:lnTo>
                  <a:lnTo>
                    <a:pt x="108480" y="55562"/>
                  </a:lnTo>
                  <a:lnTo>
                    <a:pt x="108480" y="58208"/>
                  </a:lnTo>
                  <a:lnTo>
                    <a:pt x="103188" y="58208"/>
                  </a:lnTo>
                  <a:lnTo>
                    <a:pt x="100542" y="60854"/>
                  </a:lnTo>
                  <a:lnTo>
                    <a:pt x="92605" y="60854"/>
                  </a:lnTo>
                  <a:lnTo>
                    <a:pt x="87313" y="60854"/>
                  </a:lnTo>
                  <a:lnTo>
                    <a:pt x="92605" y="63500"/>
                  </a:lnTo>
                  <a:lnTo>
                    <a:pt x="100542" y="63500"/>
                  </a:lnTo>
                  <a:lnTo>
                    <a:pt x="108480" y="60854"/>
                  </a:lnTo>
                  <a:lnTo>
                    <a:pt x="113771" y="63500"/>
                  </a:lnTo>
                  <a:lnTo>
                    <a:pt x="119063" y="66146"/>
                  </a:lnTo>
                  <a:lnTo>
                    <a:pt x="121709" y="68792"/>
                  </a:lnTo>
                  <a:lnTo>
                    <a:pt x="127001" y="71437"/>
                  </a:lnTo>
                  <a:lnTo>
                    <a:pt x="129646" y="74083"/>
                  </a:lnTo>
                  <a:lnTo>
                    <a:pt x="129646" y="76729"/>
                  </a:lnTo>
                  <a:lnTo>
                    <a:pt x="132292" y="84667"/>
                  </a:lnTo>
                  <a:lnTo>
                    <a:pt x="134938" y="92604"/>
                  </a:lnTo>
                  <a:lnTo>
                    <a:pt x="137584" y="95250"/>
                  </a:lnTo>
                  <a:lnTo>
                    <a:pt x="140230" y="95250"/>
                  </a:lnTo>
                  <a:lnTo>
                    <a:pt x="148167" y="97896"/>
                  </a:lnTo>
                  <a:lnTo>
                    <a:pt x="153459" y="100542"/>
                  </a:lnTo>
                  <a:lnTo>
                    <a:pt x="158751" y="105833"/>
                  </a:lnTo>
                  <a:lnTo>
                    <a:pt x="161397" y="108479"/>
                  </a:lnTo>
                  <a:lnTo>
                    <a:pt x="158751" y="108479"/>
                  </a:lnTo>
                  <a:lnTo>
                    <a:pt x="158751" y="111125"/>
                  </a:lnTo>
                  <a:lnTo>
                    <a:pt x="164042" y="116417"/>
                  </a:lnTo>
                  <a:lnTo>
                    <a:pt x="164042" y="119062"/>
                  </a:lnTo>
                  <a:lnTo>
                    <a:pt x="161397" y="119062"/>
                  </a:lnTo>
                  <a:lnTo>
                    <a:pt x="153459" y="116417"/>
                  </a:lnTo>
                  <a:lnTo>
                    <a:pt x="166688" y="121708"/>
                  </a:lnTo>
                  <a:lnTo>
                    <a:pt x="169334" y="124354"/>
                  </a:lnTo>
                  <a:lnTo>
                    <a:pt x="171980" y="127000"/>
                  </a:lnTo>
                  <a:lnTo>
                    <a:pt x="169334" y="129646"/>
                  </a:lnTo>
                  <a:lnTo>
                    <a:pt x="166688" y="132292"/>
                  </a:lnTo>
                  <a:lnTo>
                    <a:pt x="164042" y="134937"/>
                  </a:lnTo>
                  <a:lnTo>
                    <a:pt x="166688" y="137583"/>
                  </a:lnTo>
                  <a:lnTo>
                    <a:pt x="171980" y="140229"/>
                  </a:lnTo>
                  <a:lnTo>
                    <a:pt x="174626" y="137583"/>
                  </a:lnTo>
                  <a:lnTo>
                    <a:pt x="177272" y="132292"/>
                  </a:lnTo>
                  <a:lnTo>
                    <a:pt x="179917" y="132292"/>
                  </a:lnTo>
                  <a:lnTo>
                    <a:pt x="187855" y="132292"/>
                  </a:lnTo>
                  <a:lnTo>
                    <a:pt x="198438" y="137583"/>
                  </a:lnTo>
                  <a:lnTo>
                    <a:pt x="201084" y="142875"/>
                  </a:lnTo>
                  <a:lnTo>
                    <a:pt x="201084" y="148167"/>
                  </a:lnTo>
                  <a:lnTo>
                    <a:pt x="198438" y="150812"/>
                  </a:lnTo>
                  <a:lnTo>
                    <a:pt x="198438" y="153458"/>
                  </a:lnTo>
                  <a:lnTo>
                    <a:pt x="195792" y="156104"/>
                  </a:lnTo>
                  <a:lnTo>
                    <a:pt x="190501" y="158750"/>
                  </a:lnTo>
                  <a:lnTo>
                    <a:pt x="193147" y="158750"/>
                  </a:lnTo>
                  <a:lnTo>
                    <a:pt x="190501" y="161396"/>
                  </a:lnTo>
                  <a:lnTo>
                    <a:pt x="185209" y="161396"/>
                  </a:lnTo>
                  <a:lnTo>
                    <a:pt x="182563" y="161396"/>
                  </a:lnTo>
                  <a:lnTo>
                    <a:pt x="182563" y="164042"/>
                  </a:lnTo>
                  <a:lnTo>
                    <a:pt x="185209" y="164042"/>
                  </a:lnTo>
                  <a:lnTo>
                    <a:pt x="185209" y="166687"/>
                  </a:lnTo>
                  <a:lnTo>
                    <a:pt x="179917" y="169333"/>
                  </a:lnTo>
                  <a:lnTo>
                    <a:pt x="174626" y="169333"/>
                  </a:lnTo>
                  <a:lnTo>
                    <a:pt x="171980" y="169333"/>
                  </a:lnTo>
                  <a:lnTo>
                    <a:pt x="185209" y="171979"/>
                  </a:lnTo>
                  <a:lnTo>
                    <a:pt x="193147" y="171979"/>
                  </a:lnTo>
                  <a:lnTo>
                    <a:pt x="195792" y="171979"/>
                  </a:lnTo>
                  <a:lnTo>
                    <a:pt x="195792" y="174625"/>
                  </a:lnTo>
                  <a:lnTo>
                    <a:pt x="195792" y="177271"/>
                  </a:lnTo>
                  <a:lnTo>
                    <a:pt x="193147" y="179917"/>
                  </a:lnTo>
                  <a:lnTo>
                    <a:pt x="187855" y="182562"/>
                  </a:lnTo>
                  <a:lnTo>
                    <a:pt x="185209" y="182562"/>
                  </a:lnTo>
                  <a:lnTo>
                    <a:pt x="182563" y="182562"/>
                  </a:lnTo>
                  <a:lnTo>
                    <a:pt x="179917" y="182562"/>
                  </a:lnTo>
                  <a:lnTo>
                    <a:pt x="177272" y="185208"/>
                  </a:lnTo>
                  <a:lnTo>
                    <a:pt x="171980" y="187854"/>
                  </a:lnTo>
                  <a:lnTo>
                    <a:pt x="166688" y="185208"/>
                  </a:lnTo>
                  <a:lnTo>
                    <a:pt x="158751" y="185208"/>
                  </a:lnTo>
                  <a:lnTo>
                    <a:pt x="150813" y="187854"/>
                  </a:lnTo>
                  <a:lnTo>
                    <a:pt x="148167" y="187854"/>
                  </a:lnTo>
                  <a:lnTo>
                    <a:pt x="145522" y="187854"/>
                  </a:lnTo>
                  <a:lnTo>
                    <a:pt x="142876" y="187854"/>
                  </a:lnTo>
                  <a:lnTo>
                    <a:pt x="140230" y="187854"/>
                  </a:lnTo>
                  <a:lnTo>
                    <a:pt x="137584" y="185208"/>
                  </a:lnTo>
                  <a:lnTo>
                    <a:pt x="134938" y="182562"/>
                  </a:lnTo>
                  <a:lnTo>
                    <a:pt x="134938" y="185208"/>
                  </a:lnTo>
                  <a:lnTo>
                    <a:pt x="134938" y="187854"/>
                  </a:lnTo>
                  <a:lnTo>
                    <a:pt x="132292" y="187854"/>
                  </a:lnTo>
                  <a:lnTo>
                    <a:pt x="124355" y="187854"/>
                  </a:lnTo>
                  <a:lnTo>
                    <a:pt x="121709" y="187854"/>
                  </a:lnTo>
                  <a:lnTo>
                    <a:pt x="124355" y="190500"/>
                  </a:lnTo>
                  <a:lnTo>
                    <a:pt x="121709" y="193146"/>
                  </a:lnTo>
                  <a:lnTo>
                    <a:pt x="116417" y="193146"/>
                  </a:lnTo>
                  <a:lnTo>
                    <a:pt x="111126" y="190500"/>
                  </a:lnTo>
                  <a:lnTo>
                    <a:pt x="108480" y="190500"/>
                  </a:lnTo>
                  <a:lnTo>
                    <a:pt x="103188" y="187854"/>
                  </a:lnTo>
                  <a:lnTo>
                    <a:pt x="97896" y="187854"/>
                  </a:lnTo>
                  <a:lnTo>
                    <a:pt x="92605" y="187854"/>
                  </a:lnTo>
                  <a:lnTo>
                    <a:pt x="89959" y="190500"/>
                  </a:lnTo>
                  <a:lnTo>
                    <a:pt x="87313" y="195792"/>
                  </a:lnTo>
                  <a:lnTo>
                    <a:pt x="84667" y="198437"/>
                  </a:lnTo>
                  <a:lnTo>
                    <a:pt x="79376" y="198437"/>
                  </a:lnTo>
                  <a:lnTo>
                    <a:pt x="76730" y="198437"/>
                  </a:lnTo>
                  <a:lnTo>
                    <a:pt x="74084" y="195792"/>
                  </a:lnTo>
                  <a:lnTo>
                    <a:pt x="71438" y="195792"/>
                  </a:lnTo>
                  <a:lnTo>
                    <a:pt x="68792" y="195792"/>
                  </a:lnTo>
                  <a:lnTo>
                    <a:pt x="63501" y="198437"/>
                  </a:lnTo>
                  <a:lnTo>
                    <a:pt x="60855" y="195792"/>
                  </a:lnTo>
                  <a:lnTo>
                    <a:pt x="60855" y="198437"/>
                  </a:lnTo>
                  <a:lnTo>
                    <a:pt x="58209" y="198437"/>
                  </a:lnTo>
                  <a:lnTo>
                    <a:pt x="55563" y="198437"/>
                  </a:lnTo>
                  <a:lnTo>
                    <a:pt x="52917" y="201083"/>
                  </a:lnTo>
                  <a:lnTo>
                    <a:pt x="52917" y="203729"/>
                  </a:lnTo>
                  <a:lnTo>
                    <a:pt x="50271" y="203729"/>
                  </a:lnTo>
                  <a:lnTo>
                    <a:pt x="47625" y="203729"/>
                  </a:lnTo>
                  <a:lnTo>
                    <a:pt x="44980" y="201083"/>
                  </a:lnTo>
                  <a:lnTo>
                    <a:pt x="42334" y="201083"/>
                  </a:lnTo>
                  <a:lnTo>
                    <a:pt x="39688" y="201083"/>
                  </a:lnTo>
                  <a:lnTo>
                    <a:pt x="42334" y="198437"/>
                  </a:lnTo>
                  <a:lnTo>
                    <a:pt x="47625" y="198437"/>
                  </a:lnTo>
                  <a:lnTo>
                    <a:pt x="52917" y="193146"/>
                  </a:lnTo>
                  <a:lnTo>
                    <a:pt x="63501" y="185208"/>
                  </a:lnTo>
                  <a:lnTo>
                    <a:pt x="66146" y="185208"/>
                  </a:lnTo>
                  <a:lnTo>
                    <a:pt x="66146" y="182562"/>
                  </a:lnTo>
                  <a:lnTo>
                    <a:pt x="66146" y="179917"/>
                  </a:lnTo>
                  <a:lnTo>
                    <a:pt x="68792" y="179917"/>
                  </a:lnTo>
                  <a:lnTo>
                    <a:pt x="71438" y="179917"/>
                  </a:lnTo>
                  <a:lnTo>
                    <a:pt x="71438" y="177271"/>
                  </a:lnTo>
                  <a:lnTo>
                    <a:pt x="74084" y="177271"/>
                  </a:lnTo>
                  <a:lnTo>
                    <a:pt x="84667" y="174625"/>
                  </a:lnTo>
                  <a:lnTo>
                    <a:pt x="87313" y="177271"/>
                  </a:lnTo>
                  <a:lnTo>
                    <a:pt x="95251" y="177271"/>
                  </a:lnTo>
                  <a:lnTo>
                    <a:pt x="97896" y="177271"/>
                  </a:lnTo>
                  <a:lnTo>
                    <a:pt x="100542" y="174625"/>
                  </a:lnTo>
                  <a:lnTo>
                    <a:pt x="103188" y="171979"/>
                  </a:lnTo>
                  <a:lnTo>
                    <a:pt x="105834" y="169333"/>
                  </a:lnTo>
                  <a:lnTo>
                    <a:pt x="108480" y="169333"/>
                  </a:lnTo>
                  <a:lnTo>
                    <a:pt x="111126" y="164042"/>
                  </a:lnTo>
                  <a:lnTo>
                    <a:pt x="105834" y="166687"/>
                  </a:lnTo>
                  <a:lnTo>
                    <a:pt x="100542" y="169333"/>
                  </a:lnTo>
                  <a:lnTo>
                    <a:pt x="95251" y="169333"/>
                  </a:lnTo>
                  <a:lnTo>
                    <a:pt x="89959" y="171979"/>
                  </a:lnTo>
                  <a:lnTo>
                    <a:pt x="87313" y="171979"/>
                  </a:lnTo>
                  <a:lnTo>
                    <a:pt x="84667" y="169333"/>
                  </a:lnTo>
                  <a:lnTo>
                    <a:pt x="82021" y="166687"/>
                  </a:lnTo>
                  <a:lnTo>
                    <a:pt x="74084" y="166687"/>
                  </a:lnTo>
                  <a:lnTo>
                    <a:pt x="71438" y="164042"/>
                  </a:lnTo>
                  <a:lnTo>
                    <a:pt x="68792" y="164042"/>
                  </a:lnTo>
                  <a:lnTo>
                    <a:pt x="66146" y="164042"/>
                  </a:lnTo>
                  <a:lnTo>
                    <a:pt x="60855" y="164042"/>
                  </a:lnTo>
                  <a:lnTo>
                    <a:pt x="58209" y="164042"/>
                  </a:lnTo>
                  <a:lnTo>
                    <a:pt x="55563" y="164042"/>
                  </a:lnTo>
                  <a:lnTo>
                    <a:pt x="52917" y="164042"/>
                  </a:lnTo>
                  <a:lnTo>
                    <a:pt x="50271" y="164042"/>
                  </a:lnTo>
                  <a:lnTo>
                    <a:pt x="52917" y="161396"/>
                  </a:lnTo>
                  <a:lnTo>
                    <a:pt x="50271" y="158750"/>
                  </a:lnTo>
                  <a:lnTo>
                    <a:pt x="52917" y="156104"/>
                  </a:lnTo>
                  <a:lnTo>
                    <a:pt x="66146" y="153458"/>
                  </a:lnTo>
                  <a:lnTo>
                    <a:pt x="74084" y="150812"/>
                  </a:lnTo>
                  <a:lnTo>
                    <a:pt x="76730" y="148167"/>
                  </a:lnTo>
                  <a:lnTo>
                    <a:pt x="79376" y="145521"/>
                  </a:lnTo>
                  <a:lnTo>
                    <a:pt x="76730" y="142875"/>
                  </a:lnTo>
                  <a:lnTo>
                    <a:pt x="79376" y="140229"/>
                  </a:lnTo>
                  <a:lnTo>
                    <a:pt x="76730" y="140229"/>
                  </a:lnTo>
                  <a:lnTo>
                    <a:pt x="76730" y="137583"/>
                  </a:lnTo>
                  <a:lnTo>
                    <a:pt x="79376" y="134937"/>
                  </a:lnTo>
                  <a:lnTo>
                    <a:pt x="71438" y="134937"/>
                  </a:lnTo>
                  <a:lnTo>
                    <a:pt x="68792" y="137583"/>
                  </a:lnTo>
                  <a:lnTo>
                    <a:pt x="66146" y="140229"/>
                  </a:lnTo>
                  <a:lnTo>
                    <a:pt x="63501" y="137583"/>
                  </a:lnTo>
                  <a:lnTo>
                    <a:pt x="68792" y="134937"/>
                  </a:lnTo>
                  <a:lnTo>
                    <a:pt x="71438" y="132292"/>
                  </a:lnTo>
                  <a:lnTo>
                    <a:pt x="74084" y="129646"/>
                  </a:lnTo>
                  <a:lnTo>
                    <a:pt x="74084" y="127000"/>
                  </a:lnTo>
                  <a:lnTo>
                    <a:pt x="68792" y="127000"/>
                  </a:lnTo>
                  <a:lnTo>
                    <a:pt x="66146" y="127000"/>
                  </a:lnTo>
                  <a:lnTo>
                    <a:pt x="68792" y="124354"/>
                  </a:lnTo>
                  <a:lnTo>
                    <a:pt x="74084" y="124354"/>
                  </a:lnTo>
                  <a:lnTo>
                    <a:pt x="76730" y="124354"/>
                  </a:lnTo>
                  <a:lnTo>
                    <a:pt x="76730" y="127000"/>
                  </a:lnTo>
                  <a:lnTo>
                    <a:pt x="84667" y="127000"/>
                  </a:lnTo>
                  <a:lnTo>
                    <a:pt x="87313" y="127000"/>
                  </a:lnTo>
                  <a:lnTo>
                    <a:pt x="92605" y="127000"/>
                  </a:lnTo>
                  <a:lnTo>
                    <a:pt x="95251" y="127000"/>
                  </a:lnTo>
                  <a:lnTo>
                    <a:pt x="97896" y="127000"/>
                  </a:lnTo>
                  <a:lnTo>
                    <a:pt x="97896" y="124354"/>
                  </a:lnTo>
                  <a:lnTo>
                    <a:pt x="103188" y="127000"/>
                  </a:lnTo>
                  <a:lnTo>
                    <a:pt x="105834" y="127000"/>
                  </a:lnTo>
                  <a:lnTo>
                    <a:pt x="108480" y="124354"/>
                  </a:lnTo>
                  <a:lnTo>
                    <a:pt x="103188" y="124354"/>
                  </a:lnTo>
                  <a:lnTo>
                    <a:pt x="97896" y="121708"/>
                  </a:lnTo>
                  <a:lnTo>
                    <a:pt x="103188" y="116417"/>
                  </a:lnTo>
                  <a:lnTo>
                    <a:pt x="100542" y="116417"/>
                  </a:lnTo>
                  <a:lnTo>
                    <a:pt x="100542" y="113771"/>
                  </a:lnTo>
                  <a:lnTo>
                    <a:pt x="105834" y="105833"/>
                  </a:lnTo>
                  <a:lnTo>
                    <a:pt x="103188" y="105833"/>
                  </a:lnTo>
                  <a:lnTo>
                    <a:pt x="100542" y="105833"/>
                  </a:lnTo>
                  <a:lnTo>
                    <a:pt x="97896" y="103187"/>
                  </a:lnTo>
                  <a:lnTo>
                    <a:pt x="97896" y="108479"/>
                  </a:lnTo>
                  <a:lnTo>
                    <a:pt x="92605" y="103187"/>
                  </a:lnTo>
                  <a:lnTo>
                    <a:pt x="89959" y="95250"/>
                  </a:lnTo>
                  <a:lnTo>
                    <a:pt x="92605" y="92604"/>
                  </a:lnTo>
                  <a:lnTo>
                    <a:pt x="97896" y="87312"/>
                  </a:lnTo>
                  <a:lnTo>
                    <a:pt x="95251" y="87312"/>
                  </a:lnTo>
                  <a:lnTo>
                    <a:pt x="89959" y="87312"/>
                  </a:lnTo>
                  <a:lnTo>
                    <a:pt x="89959" y="89958"/>
                  </a:lnTo>
                  <a:lnTo>
                    <a:pt x="87313" y="89958"/>
                  </a:lnTo>
                  <a:lnTo>
                    <a:pt x="84667" y="89958"/>
                  </a:lnTo>
                  <a:lnTo>
                    <a:pt x="82021" y="89958"/>
                  </a:lnTo>
                  <a:lnTo>
                    <a:pt x="82021" y="92604"/>
                  </a:lnTo>
                  <a:lnTo>
                    <a:pt x="79376" y="89958"/>
                  </a:lnTo>
                  <a:lnTo>
                    <a:pt x="76730" y="89958"/>
                  </a:lnTo>
                  <a:lnTo>
                    <a:pt x="74084" y="89958"/>
                  </a:lnTo>
                  <a:lnTo>
                    <a:pt x="71438" y="92604"/>
                  </a:lnTo>
                  <a:lnTo>
                    <a:pt x="66146" y="89958"/>
                  </a:lnTo>
                  <a:lnTo>
                    <a:pt x="63501" y="89958"/>
                  </a:lnTo>
                  <a:lnTo>
                    <a:pt x="63501" y="92604"/>
                  </a:lnTo>
                  <a:lnTo>
                    <a:pt x="60855" y="89958"/>
                  </a:lnTo>
                  <a:lnTo>
                    <a:pt x="58209" y="87312"/>
                  </a:lnTo>
                  <a:lnTo>
                    <a:pt x="60855" y="87312"/>
                  </a:lnTo>
                  <a:lnTo>
                    <a:pt x="63501" y="87312"/>
                  </a:lnTo>
                  <a:lnTo>
                    <a:pt x="63501" y="84667"/>
                  </a:lnTo>
                  <a:lnTo>
                    <a:pt x="63501" y="82021"/>
                  </a:lnTo>
                  <a:lnTo>
                    <a:pt x="66146" y="76729"/>
                  </a:lnTo>
                  <a:lnTo>
                    <a:pt x="68792" y="74083"/>
                  </a:lnTo>
                  <a:lnTo>
                    <a:pt x="71438" y="74083"/>
                  </a:lnTo>
                  <a:lnTo>
                    <a:pt x="68792" y="71437"/>
                  </a:lnTo>
                  <a:lnTo>
                    <a:pt x="66146" y="68792"/>
                  </a:lnTo>
                  <a:lnTo>
                    <a:pt x="66146" y="66146"/>
                  </a:lnTo>
                  <a:lnTo>
                    <a:pt x="68792" y="63500"/>
                  </a:lnTo>
                  <a:lnTo>
                    <a:pt x="66146" y="60854"/>
                  </a:lnTo>
                  <a:lnTo>
                    <a:pt x="68792" y="58208"/>
                  </a:lnTo>
                  <a:lnTo>
                    <a:pt x="63501" y="63500"/>
                  </a:lnTo>
                  <a:lnTo>
                    <a:pt x="60855" y="66146"/>
                  </a:lnTo>
                  <a:lnTo>
                    <a:pt x="58209" y="63500"/>
                  </a:lnTo>
                  <a:lnTo>
                    <a:pt x="55563" y="60854"/>
                  </a:lnTo>
                  <a:lnTo>
                    <a:pt x="55563" y="63500"/>
                  </a:lnTo>
                  <a:lnTo>
                    <a:pt x="55563" y="66146"/>
                  </a:lnTo>
                  <a:lnTo>
                    <a:pt x="55563" y="68792"/>
                  </a:lnTo>
                  <a:lnTo>
                    <a:pt x="50271" y="74083"/>
                  </a:lnTo>
                  <a:lnTo>
                    <a:pt x="50271" y="76729"/>
                  </a:lnTo>
                  <a:lnTo>
                    <a:pt x="47625" y="76729"/>
                  </a:lnTo>
                  <a:lnTo>
                    <a:pt x="47625" y="74083"/>
                  </a:lnTo>
                  <a:lnTo>
                    <a:pt x="52917" y="68792"/>
                  </a:lnTo>
                  <a:lnTo>
                    <a:pt x="52917" y="63500"/>
                  </a:lnTo>
                  <a:lnTo>
                    <a:pt x="52917" y="58208"/>
                  </a:lnTo>
                  <a:lnTo>
                    <a:pt x="55563" y="52917"/>
                  </a:lnTo>
                  <a:lnTo>
                    <a:pt x="55563" y="50271"/>
                  </a:lnTo>
                  <a:lnTo>
                    <a:pt x="55563" y="47625"/>
                  </a:lnTo>
                  <a:lnTo>
                    <a:pt x="52917" y="47625"/>
                  </a:lnTo>
                  <a:lnTo>
                    <a:pt x="52917" y="44979"/>
                  </a:lnTo>
                  <a:lnTo>
                    <a:pt x="47625" y="44979"/>
                  </a:lnTo>
                  <a:lnTo>
                    <a:pt x="42334" y="44979"/>
                  </a:lnTo>
                  <a:lnTo>
                    <a:pt x="44980" y="42333"/>
                  </a:lnTo>
                  <a:lnTo>
                    <a:pt x="50271" y="39687"/>
                  </a:lnTo>
                  <a:lnTo>
                    <a:pt x="52917" y="37042"/>
                  </a:lnTo>
                  <a:lnTo>
                    <a:pt x="55563" y="34396"/>
                  </a:lnTo>
                  <a:lnTo>
                    <a:pt x="58209" y="34396"/>
                  </a:lnTo>
                  <a:lnTo>
                    <a:pt x="52917" y="31750"/>
                  </a:lnTo>
                  <a:lnTo>
                    <a:pt x="55563" y="29104"/>
                  </a:lnTo>
                  <a:lnTo>
                    <a:pt x="55563" y="26458"/>
                  </a:lnTo>
                  <a:lnTo>
                    <a:pt x="52917" y="26458"/>
                  </a:lnTo>
                  <a:lnTo>
                    <a:pt x="55563" y="23812"/>
                  </a:lnTo>
                  <a:lnTo>
                    <a:pt x="52917" y="21167"/>
                  </a:lnTo>
                  <a:lnTo>
                    <a:pt x="50271" y="18521"/>
                  </a:lnTo>
                  <a:lnTo>
                    <a:pt x="52917" y="18521"/>
                  </a:lnTo>
                  <a:lnTo>
                    <a:pt x="58209" y="15875"/>
                  </a:lnTo>
                  <a:lnTo>
                    <a:pt x="60855" y="15875"/>
                  </a:lnTo>
                  <a:lnTo>
                    <a:pt x="63501" y="18521"/>
                  </a:lnTo>
                  <a:lnTo>
                    <a:pt x="66146" y="18521"/>
                  </a:lnTo>
                  <a:lnTo>
                    <a:pt x="60855" y="15875"/>
                  </a:lnTo>
                  <a:lnTo>
                    <a:pt x="58209" y="13229"/>
                  </a:lnTo>
                  <a:lnTo>
                    <a:pt x="60855" y="13229"/>
                  </a:lnTo>
                  <a:lnTo>
                    <a:pt x="60855" y="10583"/>
                  </a:lnTo>
                  <a:lnTo>
                    <a:pt x="60855" y="7937"/>
                  </a:lnTo>
                  <a:lnTo>
                    <a:pt x="63501" y="5292"/>
                  </a:lnTo>
                  <a:lnTo>
                    <a:pt x="66146" y="5292"/>
                  </a:lnTo>
                  <a:lnTo>
                    <a:pt x="68792" y="5292"/>
                  </a:lnTo>
                  <a:lnTo>
                    <a:pt x="66146" y="2646"/>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1" name="United States"/>
            <p:cNvSpPr>
              <a:spLocks/>
            </p:cNvSpPr>
            <p:nvPr/>
          </p:nvSpPr>
          <p:spPr bwMode="auto">
            <a:xfrm>
              <a:off x="400809" y="1586177"/>
              <a:ext cx="2108729" cy="1193271"/>
            </a:xfrm>
            <a:custGeom>
              <a:avLst/>
              <a:gdLst/>
              <a:ahLst/>
              <a:cxnLst/>
              <a:rect l="l" t="t" r="r" b="b"/>
              <a:pathLst>
                <a:path w="2108729" h="1193271">
                  <a:moveTo>
                    <a:pt x="1471083" y="468313"/>
                  </a:moveTo>
                  <a:lnTo>
                    <a:pt x="1473729" y="470959"/>
                  </a:lnTo>
                  <a:lnTo>
                    <a:pt x="1471083" y="478896"/>
                  </a:lnTo>
                  <a:lnTo>
                    <a:pt x="1468437" y="481542"/>
                  </a:lnTo>
                  <a:lnTo>
                    <a:pt x="1468437" y="486834"/>
                  </a:lnTo>
                  <a:lnTo>
                    <a:pt x="1471083" y="486834"/>
                  </a:lnTo>
                  <a:lnTo>
                    <a:pt x="1479021" y="489480"/>
                  </a:lnTo>
                  <a:lnTo>
                    <a:pt x="1489604" y="492126"/>
                  </a:lnTo>
                  <a:lnTo>
                    <a:pt x="1502833" y="497417"/>
                  </a:lnTo>
                  <a:lnTo>
                    <a:pt x="1510771" y="500063"/>
                  </a:lnTo>
                  <a:lnTo>
                    <a:pt x="1516062" y="500063"/>
                  </a:lnTo>
                  <a:lnTo>
                    <a:pt x="1518708" y="500063"/>
                  </a:lnTo>
                  <a:lnTo>
                    <a:pt x="1524000" y="502709"/>
                  </a:lnTo>
                  <a:lnTo>
                    <a:pt x="1529292" y="505355"/>
                  </a:lnTo>
                  <a:lnTo>
                    <a:pt x="1534583" y="505355"/>
                  </a:lnTo>
                  <a:lnTo>
                    <a:pt x="1545167" y="502709"/>
                  </a:lnTo>
                  <a:lnTo>
                    <a:pt x="1558396" y="505355"/>
                  </a:lnTo>
                  <a:lnTo>
                    <a:pt x="1563687" y="508001"/>
                  </a:lnTo>
                  <a:lnTo>
                    <a:pt x="1571625" y="510646"/>
                  </a:lnTo>
                  <a:lnTo>
                    <a:pt x="1558396" y="510646"/>
                  </a:lnTo>
                  <a:lnTo>
                    <a:pt x="1553104" y="513292"/>
                  </a:lnTo>
                  <a:lnTo>
                    <a:pt x="1539875" y="523876"/>
                  </a:lnTo>
                  <a:lnTo>
                    <a:pt x="1529292" y="529167"/>
                  </a:lnTo>
                  <a:lnTo>
                    <a:pt x="1521354" y="534459"/>
                  </a:lnTo>
                  <a:lnTo>
                    <a:pt x="1500187" y="545042"/>
                  </a:lnTo>
                  <a:lnTo>
                    <a:pt x="1494896" y="547688"/>
                  </a:lnTo>
                  <a:lnTo>
                    <a:pt x="1497542" y="550334"/>
                  </a:lnTo>
                  <a:lnTo>
                    <a:pt x="1516062" y="547688"/>
                  </a:lnTo>
                  <a:lnTo>
                    <a:pt x="1531937" y="547688"/>
                  </a:lnTo>
                  <a:lnTo>
                    <a:pt x="1531937" y="552980"/>
                  </a:lnTo>
                  <a:lnTo>
                    <a:pt x="1531937" y="555626"/>
                  </a:lnTo>
                  <a:lnTo>
                    <a:pt x="1534583" y="555626"/>
                  </a:lnTo>
                  <a:lnTo>
                    <a:pt x="1545167" y="552980"/>
                  </a:lnTo>
                  <a:lnTo>
                    <a:pt x="1553104" y="550334"/>
                  </a:lnTo>
                  <a:lnTo>
                    <a:pt x="1568979" y="545042"/>
                  </a:lnTo>
                  <a:lnTo>
                    <a:pt x="1579562" y="542396"/>
                  </a:lnTo>
                  <a:lnTo>
                    <a:pt x="1582208" y="537105"/>
                  </a:lnTo>
                  <a:lnTo>
                    <a:pt x="1587500" y="534459"/>
                  </a:lnTo>
                  <a:lnTo>
                    <a:pt x="1598083" y="529167"/>
                  </a:lnTo>
                  <a:lnTo>
                    <a:pt x="1606021" y="529167"/>
                  </a:lnTo>
                  <a:lnTo>
                    <a:pt x="1608667" y="529167"/>
                  </a:lnTo>
                  <a:lnTo>
                    <a:pt x="1600729" y="531813"/>
                  </a:lnTo>
                  <a:lnTo>
                    <a:pt x="1592792" y="537105"/>
                  </a:lnTo>
                  <a:lnTo>
                    <a:pt x="1590146" y="537105"/>
                  </a:lnTo>
                  <a:lnTo>
                    <a:pt x="1592792" y="539751"/>
                  </a:lnTo>
                  <a:lnTo>
                    <a:pt x="1598083" y="537105"/>
                  </a:lnTo>
                  <a:lnTo>
                    <a:pt x="1603375" y="537105"/>
                  </a:lnTo>
                  <a:lnTo>
                    <a:pt x="1608667" y="539751"/>
                  </a:lnTo>
                  <a:lnTo>
                    <a:pt x="1613958" y="542396"/>
                  </a:lnTo>
                  <a:lnTo>
                    <a:pt x="1613958" y="545042"/>
                  </a:lnTo>
                  <a:lnTo>
                    <a:pt x="1624542" y="550334"/>
                  </a:lnTo>
                  <a:lnTo>
                    <a:pt x="1635125" y="547688"/>
                  </a:lnTo>
                  <a:lnTo>
                    <a:pt x="1643062" y="547688"/>
                  </a:lnTo>
                  <a:lnTo>
                    <a:pt x="1651000" y="547688"/>
                  </a:lnTo>
                  <a:lnTo>
                    <a:pt x="1658937" y="547688"/>
                  </a:lnTo>
                  <a:lnTo>
                    <a:pt x="1669521" y="547688"/>
                  </a:lnTo>
                  <a:lnTo>
                    <a:pt x="1672167" y="550334"/>
                  </a:lnTo>
                  <a:lnTo>
                    <a:pt x="1669521" y="552980"/>
                  </a:lnTo>
                  <a:lnTo>
                    <a:pt x="1669521" y="555626"/>
                  </a:lnTo>
                  <a:lnTo>
                    <a:pt x="1677458" y="555626"/>
                  </a:lnTo>
                  <a:lnTo>
                    <a:pt x="1685396" y="555626"/>
                  </a:lnTo>
                  <a:lnTo>
                    <a:pt x="1688042" y="555626"/>
                  </a:lnTo>
                  <a:lnTo>
                    <a:pt x="1690687" y="555626"/>
                  </a:lnTo>
                  <a:lnTo>
                    <a:pt x="1695979" y="560917"/>
                  </a:lnTo>
                  <a:lnTo>
                    <a:pt x="1695979" y="563563"/>
                  </a:lnTo>
                  <a:lnTo>
                    <a:pt x="1695979" y="566209"/>
                  </a:lnTo>
                  <a:lnTo>
                    <a:pt x="1685396" y="566209"/>
                  </a:lnTo>
                  <a:lnTo>
                    <a:pt x="1674812" y="566209"/>
                  </a:lnTo>
                  <a:lnTo>
                    <a:pt x="1669521" y="566209"/>
                  </a:lnTo>
                  <a:lnTo>
                    <a:pt x="1669521" y="568855"/>
                  </a:lnTo>
                  <a:lnTo>
                    <a:pt x="1664229" y="566209"/>
                  </a:lnTo>
                  <a:lnTo>
                    <a:pt x="1658937" y="563563"/>
                  </a:lnTo>
                  <a:lnTo>
                    <a:pt x="1651000" y="566209"/>
                  </a:lnTo>
                  <a:lnTo>
                    <a:pt x="1648354" y="566209"/>
                  </a:lnTo>
                  <a:lnTo>
                    <a:pt x="1640417" y="566209"/>
                  </a:lnTo>
                  <a:lnTo>
                    <a:pt x="1635125" y="566209"/>
                  </a:lnTo>
                  <a:lnTo>
                    <a:pt x="1627187" y="571501"/>
                  </a:lnTo>
                  <a:lnTo>
                    <a:pt x="1619250" y="574146"/>
                  </a:lnTo>
                  <a:lnTo>
                    <a:pt x="1616604" y="574146"/>
                  </a:lnTo>
                  <a:lnTo>
                    <a:pt x="1613958" y="574146"/>
                  </a:lnTo>
                  <a:lnTo>
                    <a:pt x="1616604" y="571501"/>
                  </a:lnTo>
                  <a:lnTo>
                    <a:pt x="1616604" y="568855"/>
                  </a:lnTo>
                  <a:lnTo>
                    <a:pt x="1608667" y="574146"/>
                  </a:lnTo>
                  <a:lnTo>
                    <a:pt x="1595437" y="584730"/>
                  </a:lnTo>
                  <a:lnTo>
                    <a:pt x="1582208" y="597959"/>
                  </a:lnTo>
                  <a:lnTo>
                    <a:pt x="1595437" y="590021"/>
                  </a:lnTo>
                  <a:lnTo>
                    <a:pt x="1606021" y="584730"/>
                  </a:lnTo>
                  <a:lnTo>
                    <a:pt x="1613958" y="579438"/>
                  </a:lnTo>
                  <a:lnTo>
                    <a:pt x="1603375" y="590021"/>
                  </a:lnTo>
                  <a:lnTo>
                    <a:pt x="1592792" y="600605"/>
                  </a:lnTo>
                  <a:lnTo>
                    <a:pt x="1582208" y="611188"/>
                  </a:lnTo>
                  <a:lnTo>
                    <a:pt x="1571625" y="624417"/>
                  </a:lnTo>
                  <a:lnTo>
                    <a:pt x="1566333" y="629709"/>
                  </a:lnTo>
                  <a:lnTo>
                    <a:pt x="1563687" y="637646"/>
                  </a:lnTo>
                  <a:lnTo>
                    <a:pt x="1555750" y="648230"/>
                  </a:lnTo>
                  <a:lnTo>
                    <a:pt x="1545167" y="661459"/>
                  </a:lnTo>
                  <a:lnTo>
                    <a:pt x="1542521" y="674688"/>
                  </a:lnTo>
                  <a:lnTo>
                    <a:pt x="1545167" y="682626"/>
                  </a:lnTo>
                  <a:lnTo>
                    <a:pt x="1545167" y="685271"/>
                  </a:lnTo>
                  <a:lnTo>
                    <a:pt x="1550458" y="685271"/>
                  </a:lnTo>
                  <a:lnTo>
                    <a:pt x="1568979" y="679980"/>
                  </a:lnTo>
                  <a:lnTo>
                    <a:pt x="1579562" y="674688"/>
                  </a:lnTo>
                  <a:lnTo>
                    <a:pt x="1592792" y="666751"/>
                  </a:lnTo>
                  <a:lnTo>
                    <a:pt x="1600729" y="656167"/>
                  </a:lnTo>
                  <a:lnTo>
                    <a:pt x="1603375" y="645584"/>
                  </a:lnTo>
                  <a:lnTo>
                    <a:pt x="1606021" y="640292"/>
                  </a:lnTo>
                  <a:lnTo>
                    <a:pt x="1603375" y="635001"/>
                  </a:lnTo>
                  <a:lnTo>
                    <a:pt x="1600729" y="632355"/>
                  </a:lnTo>
                  <a:lnTo>
                    <a:pt x="1603375" y="629709"/>
                  </a:lnTo>
                  <a:lnTo>
                    <a:pt x="1608667" y="616480"/>
                  </a:lnTo>
                  <a:lnTo>
                    <a:pt x="1616604" y="605896"/>
                  </a:lnTo>
                  <a:lnTo>
                    <a:pt x="1619250" y="600605"/>
                  </a:lnTo>
                  <a:lnTo>
                    <a:pt x="1627187" y="592667"/>
                  </a:lnTo>
                  <a:lnTo>
                    <a:pt x="1629833" y="590021"/>
                  </a:lnTo>
                  <a:lnTo>
                    <a:pt x="1632479" y="590021"/>
                  </a:lnTo>
                  <a:lnTo>
                    <a:pt x="1635125" y="592667"/>
                  </a:lnTo>
                  <a:lnTo>
                    <a:pt x="1632479" y="597959"/>
                  </a:lnTo>
                  <a:lnTo>
                    <a:pt x="1635125" y="597959"/>
                  </a:lnTo>
                  <a:lnTo>
                    <a:pt x="1637771" y="592667"/>
                  </a:lnTo>
                  <a:lnTo>
                    <a:pt x="1640417" y="590021"/>
                  </a:lnTo>
                  <a:lnTo>
                    <a:pt x="1643062" y="587376"/>
                  </a:lnTo>
                  <a:lnTo>
                    <a:pt x="1648354" y="584730"/>
                  </a:lnTo>
                  <a:lnTo>
                    <a:pt x="1651000" y="579438"/>
                  </a:lnTo>
                  <a:lnTo>
                    <a:pt x="1653646" y="576792"/>
                  </a:lnTo>
                  <a:lnTo>
                    <a:pt x="1658937" y="574146"/>
                  </a:lnTo>
                  <a:lnTo>
                    <a:pt x="1666875" y="571501"/>
                  </a:lnTo>
                  <a:lnTo>
                    <a:pt x="1672167" y="571501"/>
                  </a:lnTo>
                  <a:lnTo>
                    <a:pt x="1677458" y="574146"/>
                  </a:lnTo>
                  <a:lnTo>
                    <a:pt x="1682750" y="579438"/>
                  </a:lnTo>
                  <a:lnTo>
                    <a:pt x="1685396" y="584730"/>
                  </a:lnTo>
                  <a:lnTo>
                    <a:pt x="1685396" y="587376"/>
                  </a:lnTo>
                  <a:lnTo>
                    <a:pt x="1688042" y="592667"/>
                  </a:lnTo>
                  <a:lnTo>
                    <a:pt x="1685396" y="600605"/>
                  </a:lnTo>
                  <a:lnTo>
                    <a:pt x="1680104" y="608542"/>
                  </a:lnTo>
                  <a:lnTo>
                    <a:pt x="1677458" y="611188"/>
                  </a:lnTo>
                  <a:lnTo>
                    <a:pt x="1677458" y="613834"/>
                  </a:lnTo>
                  <a:lnTo>
                    <a:pt x="1674812" y="616480"/>
                  </a:lnTo>
                  <a:lnTo>
                    <a:pt x="1669521" y="619126"/>
                  </a:lnTo>
                  <a:lnTo>
                    <a:pt x="1672167" y="621771"/>
                  </a:lnTo>
                  <a:lnTo>
                    <a:pt x="1677458" y="621771"/>
                  </a:lnTo>
                  <a:lnTo>
                    <a:pt x="1680104" y="621771"/>
                  </a:lnTo>
                  <a:lnTo>
                    <a:pt x="1682750" y="621771"/>
                  </a:lnTo>
                  <a:lnTo>
                    <a:pt x="1685396" y="619126"/>
                  </a:lnTo>
                  <a:lnTo>
                    <a:pt x="1685396" y="616480"/>
                  </a:lnTo>
                  <a:lnTo>
                    <a:pt x="1688042" y="616480"/>
                  </a:lnTo>
                  <a:lnTo>
                    <a:pt x="1690687" y="619126"/>
                  </a:lnTo>
                  <a:lnTo>
                    <a:pt x="1690687" y="627063"/>
                  </a:lnTo>
                  <a:lnTo>
                    <a:pt x="1688042" y="642938"/>
                  </a:lnTo>
                  <a:lnTo>
                    <a:pt x="1685396" y="650876"/>
                  </a:lnTo>
                  <a:lnTo>
                    <a:pt x="1682750" y="650876"/>
                  </a:lnTo>
                  <a:lnTo>
                    <a:pt x="1680104" y="650876"/>
                  </a:lnTo>
                  <a:lnTo>
                    <a:pt x="1677458" y="656167"/>
                  </a:lnTo>
                  <a:lnTo>
                    <a:pt x="1669521" y="669396"/>
                  </a:lnTo>
                  <a:lnTo>
                    <a:pt x="1658937" y="679980"/>
                  </a:lnTo>
                  <a:lnTo>
                    <a:pt x="1658937" y="682626"/>
                  </a:lnTo>
                  <a:lnTo>
                    <a:pt x="1666875" y="685271"/>
                  </a:lnTo>
                  <a:lnTo>
                    <a:pt x="1682750" y="690563"/>
                  </a:lnTo>
                  <a:lnTo>
                    <a:pt x="1688042" y="690563"/>
                  </a:lnTo>
                  <a:lnTo>
                    <a:pt x="1693333" y="687917"/>
                  </a:lnTo>
                  <a:lnTo>
                    <a:pt x="1695979" y="687917"/>
                  </a:lnTo>
                  <a:lnTo>
                    <a:pt x="1701271" y="687917"/>
                  </a:lnTo>
                  <a:lnTo>
                    <a:pt x="1711854" y="685271"/>
                  </a:lnTo>
                  <a:lnTo>
                    <a:pt x="1725083" y="677334"/>
                  </a:lnTo>
                  <a:lnTo>
                    <a:pt x="1740958" y="669396"/>
                  </a:lnTo>
                  <a:lnTo>
                    <a:pt x="1748896" y="666751"/>
                  </a:lnTo>
                  <a:lnTo>
                    <a:pt x="1756833" y="664105"/>
                  </a:lnTo>
                  <a:lnTo>
                    <a:pt x="1767417" y="658813"/>
                  </a:lnTo>
                  <a:lnTo>
                    <a:pt x="1778000" y="653521"/>
                  </a:lnTo>
                  <a:lnTo>
                    <a:pt x="1780646" y="650876"/>
                  </a:lnTo>
                  <a:lnTo>
                    <a:pt x="1778000" y="642938"/>
                  </a:lnTo>
                  <a:lnTo>
                    <a:pt x="1793875" y="642938"/>
                  </a:lnTo>
                  <a:lnTo>
                    <a:pt x="1801813" y="642938"/>
                  </a:lnTo>
                  <a:lnTo>
                    <a:pt x="1807104" y="642938"/>
                  </a:lnTo>
                  <a:lnTo>
                    <a:pt x="1820333" y="642938"/>
                  </a:lnTo>
                  <a:lnTo>
                    <a:pt x="1828271" y="640292"/>
                  </a:lnTo>
                  <a:lnTo>
                    <a:pt x="1833563" y="637646"/>
                  </a:lnTo>
                  <a:lnTo>
                    <a:pt x="1841500" y="635001"/>
                  </a:lnTo>
                  <a:lnTo>
                    <a:pt x="1854729" y="635001"/>
                  </a:lnTo>
                  <a:lnTo>
                    <a:pt x="1854729" y="632355"/>
                  </a:lnTo>
                  <a:lnTo>
                    <a:pt x="1854729" y="629709"/>
                  </a:lnTo>
                  <a:lnTo>
                    <a:pt x="1852083" y="627063"/>
                  </a:lnTo>
                  <a:lnTo>
                    <a:pt x="1854729" y="624417"/>
                  </a:lnTo>
                  <a:lnTo>
                    <a:pt x="1857375" y="621771"/>
                  </a:lnTo>
                  <a:lnTo>
                    <a:pt x="1854729" y="621771"/>
                  </a:lnTo>
                  <a:lnTo>
                    <a:pt x="1854729" y="619126"/>
                  </a:lnTo>
                  <a:lnTo>
                    <a:pt x="1860021" y="613834"/>
                  </a:lnTo>
                  <a:lnTo>
                    <a:pt x="1867958" y="608542"/>
                  </a:lnTo>
                  <a:lnTo>
                    <a:pt x="1875896" y="600605"/>
                  </a:lnTo>
                  <a:lnTo>
                    <a:pt x="1883833" y="590021"/>
                  </a:lnTo>
                  <a:lnTo>
                    <a:pt x="1891771" y="587376"/>
                  </a:lnTo>
                  <a:lnTo>
                    <a:pt x="1897063" y="587376"/>
                  </a:lnTo>
                  <a:lnTo>
                    <a:pt x="1981729" y="587376"/>
                  </a:lnTo>
                  <a:lnTo>
                    <a:pt x="1989667" y="582084"/>
                  </a:lnTo>
                  <a:lnTo>
                    <a:pt x="1992313" y="582084"/>
                  </a:lnTo>
                  <a:lnTo>
                    <a:pt x="1994958" y="579438"/>
                  </a:lnTo>
                  <a:lnTo>
                    <a:pt x="2000250" y="576792"/>
                  </a:lnTo>
                  <a:lnTo>
                    <a:pt x="2005542" y="571501"/>
                  </a:lnTo>
                  <a:lnTo>
                    <a:pt x="2010833" y="568855"/>
                  </a:lnTo>
                  <a:lnTo>
                    <a:pt x="2016125" y="566209"/>
                  </a:lnTo>
                  <a:lnTo>
                    <a:pt x="2018771" y="560917"/>
                  </a:lnTo>
                  <a:lnTo>
                    <a:pt x="2018771" y="558271"/>
                  </a:lnTo>
                  <a:lnTo>
                    <a:pt x="2021417" y="555626"/>
                  </a:lnTo>
                  <a:lnTo>
                    <a:pt x="2029354" y="547688"/>
                  </a:lnTo>
                  <a:lnTo>
                    <a:pt x="2032000" y="542396"/>
                  </a:lnTo>
                  <a:lnTo>
                    <a:pt x="2037292" y="539751"/>
                  </a:lnTo>
                  <a:lnTo>
                    <a:pt x="2039938" y="537105"/>
                  </a:lnTo>
                  <a:lnTo>
                    <a:pt x="2045229" y="531813"/>
                  </a:lnTo>
                  <a:lnTo>
                    <a:pt x="2055813" y="523876"/>
                  </a:lnTo>
                  <a:lnTo>
                    <a:pt x="2058458" y="523876"/>
                  </a:lnTo>
                  <a:lnTo>
                    <a:pt x="2063750" y="526521"/>
                  </a:lnTo>
                  <a:lnTo>
                    <a:pt x="2066396" y="526521"/>
                  </a:lnTo>
                  <a:lnTo>
                    <a:pt x="2071688" y="523876"/>
                  </a:lnTo>
                  <a:lnTo>
                    <a:pt x="2087563" y="518584"/>
                  </a:lnTo>
                  <a:lnTo>
                    <a:pt x="2090208" y="518584"/>
                  </a:lnTo>
                  <a:lnTo>
                    <a:pt x="2092854" y="523876"/>
                  </a:lnTo>
                  <a:lnTo>
                    <a:pt x="2095500" y="526521"/>
                  </a:lnTo>
                  <a:lnTo>
                    <a:pt x="2098146" y="529167"/>
                  </a:lnTo>
                  <a:lnTo>
                    <a:pt x="2095500" y="531813"/>
                  </a:lnTo>
                  <a:lnTo>
                    <a:pt x="2084917" y="566209"/>
                  </a:lnTo>
                  <a:lnTo>
                    <a:pt x="2084917" y="571501"/>
                  </a:lnTo>
                  <a:lnTo>
                    <a:pt x="2087563" y="571501"/>
                  </a:lnTo>
                  <a:lnTo>
                    <a:pt x="2090208" y="574146"/>
                  </a:lnTo>
                  <a:lnTo>
                    <a:pt x="2092854" y="579438"/>
                  </a:lnTo>
                  <a:lnTo>
                    <a:pt x="2098146" y="584730"/>
                  </a:lnTo>
                  <a:lnTo>
                    <a:pt x="2098146" y="582084"/>
                  </a:lnTo>
                  <a:lnTo>
                    <a:pt x="2103438" y="582084"/>
                  </a:lnTo>
                  <a:lnTo>
                    <a:pt x="2106083" y="587376"/>
                  </a:lnTo>
                  <a:lnTo>
                    <a:pt x="2108729" y="590021"/>
                  </a:lnTo>
                  <a:lnTo>
                    <a:pt x="2103438" y="592667"/>
                  </a:lnTo>
                  <a:lnTo>
                    <a:pt x="2092854" y="597959"/>
                  </a:lnTo>
                  <a:lnTo>
                    <a:pt x="2076979" y="605896"/>
                  </a:lnTo>
                  <a:lnTo>
                    <a:pt x="2074333" y="608542"/>
                  </a:lnTo>
                  <a:lnTo>
                    <a:pt x="2071688" y="608542"/>
                  </a:lnTo>
                  <a:lnTo>
                    <a:pt x="2066396" y="605896"/>
                  </a:lnTo>
                  <a:lnTo>
                    <a:pt x="2061104" y="603251"/>
                  </a:lnTo>
                  <a:lnTo>
                    <a:pt x="2058458" y="605896"/>
                  </a:lnTo>
                  <a:lnTo>
                    <a:pt x="2055813" y="611188"/>
                  </a:lnTo>
                  <a:lnTo>
                    <a:pt x="2053167" y="616480"/>
                  </a:lnTo>
                  <a:lnTo>
                    <a:pt x="2050521" y="613834"/>
                  </a:lnTo>
                  <a:lnTo>
                    <a:pt x="2050521" y="608542"/>
                  </a:lnTo>
                  <a:lnTo>
                    <a:pt x="2047875" y="605896"/>
                  </a:lnTo>
                  <a:lnTo>
                    <a:pt x="2047875" y="608542"/>
                  </a:lnTo>
                  <a:lnTo>
                    <a:pt x="2039938" y="619126"/>
                  </a:lnTo>
                  <a:lnTo>
                    <a:pt x="2037292" y="621771"/>
                  </a:lnTo>
                  <a:lnTo>
                    <a:pt x="2032000" y="619126"/>
                  </a:lnTo>
                  <a:lnTo>
                    <a:pt x="2026708" y="621771"/>
                  </a:lnTo>
                  <a:lnTo>
                    <a:pt x="2018771" y="624417"/>
                  </a:lnTo>
                  <a:lnTo>
                    <a:pt x="2013479" y="624417"/>
                  </a:lnTo>
                  <a:lnTo>
                    <a:pt x="2005542" y="627063"/>
                  </a:lnTo>
                  <a:lnTo>
                    <a:pt x="1997604" y="635001"/>
                  </a:lnTo>
                  <a:lnTo>
                    <a:pt x="1989667" y="645584"/>
                  </a:lnTo>
                  <a:lnTo>
                    <a:pt x="1981729" y="650876"/>
                  </a:lnTo>
                  <a:lnTo>
                    <a:pt x="1976438" y="661459"/>
                  </a:lnTo>
                  <a:lnTo>
                    <a:pt x="1973792" y="664105"/>
                  </a:lnTo>
                  <a:lnTo>
                    <a:pt x="1976438" y="672042"/>
                  </a:lnTo>
                  <a:lnTo>
                    <a:pt x="1979083" y="674688"/>
                  </a:lnTo>
                  <a:lnTo>
                    <a:pt x="1981729" y="674688"/>
                  </a:lnTo>
                  <a:lnTo>
                    <a:pt x="1987021" y="674688"/>
                  </a:lnTo>
                  <a:lnTo>
                    <a:pt x="1984375" y="682626"/>
                  </a:lnTo>
                  <a:lnTo>
                    <a:pt x="1981729" y="679980"/>
                  </a:lnTo>
                  <a:lnTo>
                    <a:pt x="1979083" y="679980"/>
                  </a:lnTo>
                  <a:lnTo>
                    <a:pt x="1971146" y="682626"/>
                  </a:lnTo>
                  <a:lnTo>
                    <a:pt x="1965854" y="685271"/>
                  </a:lnTo>
                  <a:lnTo>
                    <a:pt x="1963208" y="685271"/>
                  </a:lnTo>
                  <a:lnTo>
                    <a:pt x="1960563" y="679980"/>
                  </a:lnTo>
                  <a:lnTo>
                    <a:pt x="1957917" y="685271"/>
                  </a:lnTo>
                  <a:lnTo>
                    <a:pt x="1952625" y="687917"/>
                  </a:lnTo>
                  <a:lnTo>
                    <a:pt x="1947333" y="690563"/>
                  </a:lnTo>
                  <a:lnTo>
                    <a:pt x="1939396" y="690563"/>
                  </a:lnTo>
                  <a:lnTo>
                    <a:pt x="1934104" y="690563"/>
                  </a:lnTo>
                  <a:lnTo>
                    <a:pt x="1931458" y="693209"/>
                  </a:lnTo>
                  <a:lnTo>
                    <a:pt x="1918229" y="693209"/>
                  </a:lnTo>
                  <a:lnTo>
                    <a:pt x="1907646" y="695855"/>
                  </a:lnTo>
                  <a:lnTo>
                    <a:pt x="1899708" y="701146"/>
                  </a:lnTo>
                  <a:lnTo>
                    <a:pt x="1894417" y="703792"/>
                  </a:lnTo>
                  <a:lnTo>
                    <a:pt x="1889125" y="706438"/>
                  </a:lnTo>
                  <a:lnTo>
                    <a:pt x="1886479" y="709084"/>
                  </a:lnTo>
                  <a:lnTo>
                    <a:pt x="1883833" y="709084"/>
                  </a:lnTo>
                  <a:lnTo>
                    <a:pt x="1881188" y="714376"/>
                  </a:lnTo>
                  <a:lnTo>
                    <a:pt x="1881188" y="717021"/>
                  </a:lnTo>
                  <a:lnTo>
                    <a:pt x="1883833" y="717021"/>
                  </a:lnTo>
                  <a:lnTo>
                    <a:pt x="1878542" y="722313"/>
                  </a:lnTo>
                  <a:lnTo>
                    <a:pt x="1870604" y="730251"/>
                  </a:lnTo>
                  <a:lnTo>
                    <a:pt x="1865313" y="735542"/>
                  </a:lnTo>
                  <a:lnTo>
                    <a:pt x="1862667" y="738188"/>
                  </a:lnTo>
                  <a:lnTo>
                    <a:pt x="1860021" y="738188"/>
                  </a:lnTo>
                  <a:lnTo>
                    <a:pt x="1849438" y="732896"/>
                  </a:lnTo>
                  <a:lnTo>
                    <a:pt x="1852083" y="735542"/>
                  </a:lnTo>
                  <a:lnTo>
                    <a:pt x="1860021" y="740834"/>
                  </a:lnTo>
                  <a:lnTo>
                    <a:pt x="1854729" y="743480"/>
                  </a:lnTo>
                  <a:lnTo>
                    <a:pt x="1852083" y="743480"/>
                  </a:lnTo>
                  <a:lnTo>
                    <a:pt x="1849438" y="743480"/>
                  </a:lnTo>
                  <a:lnTo>
                    <a:pt x="1846792" y="746126"/>
                  </a:lnTo>
                  <a:lnTo>
                    <a:pt x="1844146" y="751417"/>
                  </a:lnTo>
                  <a:lnTo>
                    <a:pt x="1841500" y="751417"/>
                  </a:lnTo>
                  <a:lnTo>
                    <a:pt x="1836208" y="754063"/>
                  </a:lnTo>
                  <a:lnTo>
                    <a:pt x="1830917" y="759355"/>
                  </a:lnTo>
                  <a:lnTo>
                    <a:pt x="1825625" y="767292"/>
                  </a:lnTo>
                  <a:lnTo>
                    <a:pt x="1822979" y="762000"/>
                  </a:lnTo>
                  <a:lnTo>
                    <a:pt x="1822979" y="756709"/>
                  </a:lnTo>
                  <a:lnTo>
                    <a:pt x="1820333" y="754063"/>
                  </a:lnTo>
                  <a:lnTo>
                    <a:pt x="1815042" y="751417"/>
                  </a:lnTo>
                  <a:lnTo>
                    <a:pt x="1812396" y="746126"/>
                  </a:lnTo>
                  <a:lnTo>
                    <a:pt x="1812396" y="751417"/>
                  </a:lnTo>
                  <a:lnTo>
                    <a:pt x="1812396" y="754063"/>
                  </a:lnTo>
                  <a:lnTo>
                    <a:pt x="1817688" y="756709"/>
                  </a:lnTo>
                  <a:lnTo>
                    <a:pt x="1820333" y="759355"/>
                  </a:lnTo>
                  <a:lnTo>
                    <a:pt x="1820333" y="762000"/>
                  </a:lnTo>
                  <a:lnTo>
                    <a:pt x="1820333" y="764646"/>
                  </a:lnTo>
                  <a:lnTo>
                    <a:pt x="1822979" y="767292"/>
                  </a:lnTo>
                  <a:lnTo>
                    <a:pt x="1825625" y="769938"/>
                  </a:lnTo>
                  <a:lnTo>
                    <a:pt x="1825625" y="772584"/>
                  </a:lnTo>
                  <a:lnTo>
                    <a:pt x="1822979" y="780521"/>
                  </a:lnTo>
                  <a:lnTo>
                    <a:pt x="1812396" y="796396"/>
                  </a:lnTo>
                  <a:lnTo>
                    <a:pt x="1817688" y="785813"/>
                  </a:lnTo>
                  <a:lnTo>
                    <a:pt x="1820333" y="780521"/>
                  </a:lnTo>
                  <a:lnTo>
                    <a:pt x="1820333" y="777875"/>
                  </a:lnTo>
                  <a:lnTo>
                    <a:pt x="1817688" y="780521"/>
                  </a:lnTo>
                  <a:lnTo>
                    <a:pt x="1812396" y="785813"/>
                  </a:lnTo>
                  <a:lnTo>
                    <a:pt x="1807104" y="796396"/>
                  </a:lnTo>
                  <a:lnTo>
                    <a:pt x="1804458" y="804334"/>
                  </a:lnTo>
                  <a:lnTo>
                    <a:pt x="1799167" y="809625"/>
                  </a:lnTo>
                  <a:lnTo>
                    <a:pt x="1793875" y="809625"/>
                  </a:lnTo>
                  <a:lnTo>
                    <a:pt x="1791229" y="809625"/>
                  </a:lnTo>
                  <a:lnTo>
                    <a:pt x="1799167" y="799042"/>
                  </a:lnTo>
                  <a:lnTo>
                    <a:pt x="1799167" y="793750"/>
                  </a:lnTo>
                  <a:lnTo>
                    <a:pt x="1796521" y="791105"/>
                  </a:lnTo>
                  <a:lnTo>
                    <a:pt x="1793875" y="785813"/>
                  </a:lnTo>
                  <a:lnTo>
                    <a:pt x="1796521" y="783167"/>
                  </a:lnTo>
                  <a:lnTo>
                    <a:pt x="1796521" y="777875"/>
                  </a:lnTo>
                  <a:lnTo>
                    <a:pt x="1793875" y="775230"/>
                  </a:lnTo>
                  <a:lnTo>
                    <a:pt x="1793875" y="772584"/>
                  </a:lnTo>
                  <a:lnTo>
                    <a:pt x="1793875" y="769938"/>
                  </a:lnTo>
                  <a:lnTo>
                    <a:pt x="1796521" y="764646"/>
                  </a:lnTo>
                  <a:lnTo>
                    <a:pt x="1793875" y="764646"/>
                  </a:lnTo>
                  <a:lnTo>
                    <a:pt x="1793875" y="762000"/>
                  </a:lnTo>
                  <a:lnTo>
                    <a:pt x="1799167" y="759355"/>
                  </a:lnTo>
                  <a:lnTo>
                    <a:pt x="1804458" y="754063"/>
                  </a:lnTo>
                  <a:lnTo>
                    <a:pt x="1801813" y="754063"/>
                  </a:lnTo>
                  <a:lnTo>
                    <a:pt x="1788583" y="759355"/>
                  </a:lnTo>
                  <a:lnTo>
                    <a:pt x="1783292" y="764646"/>
                  </a:lnTo>
                  <a:lnTo>
                    <a:pt x="1783292" y="769938"/>
                  </a:lnTo>
                  <a:lnTo>
                    <a:pt x="1783292" y="772584"/>
                  </a:lnTo>
                  <a:lnTo>
                    <a:pt x="1780646" y="772584"/>
                  </a:lnTo>
                  <a:lnTo>
                    <a:pt x="1783292" y="777875"/>
                  </a:lnTo>
                  <a:lnTo>
                    <a:pt x="1780646" y="780521"/>
                  </a:lnTo>
                  <a:lnTo>
                    <a:pt x="1772708" y="777875"/>
                  </a:lnTo>
                  <a:lnTo>
                    <a:pt x="1780646" y="783167"/>
                  </a:lnTo>
                  <a:lnTo>
                    <a:pt x="1780646" y="785813"/>
                  </a:lnTo>
                  <a:lnTo>
                    <a:pt x="1783292" y="788459"/>
                  </a:lnTo>
                  <a:lnTo>
                    <a:pt x="1785938" y="793750"/>
                  </a:lnTo>
                  <a:lnTo>
                    <a:pt x="1780646" y="793750"/>
                  </a:lnTo>
                  <a:lnTo>
                    <a:pt x="1772708" y="793750"/>
                  </a:lnTo>
                  <a:lnTo>
                    <a:pt x="1775354" y="796396"/>
                  </a:lnTo>
                  <a:lnTo>
                    <a:pt x="1780646" y="799042"/>
                  </a:lnTo>
                  <a:lnTo>
                    <a:pt x="1783292" y="801688"/>
                  </a:lnTo>
                  <a:lnTo>
                    <a:pt x="1778000" y="806980"/>
                  </a:lnTo>
                  <a:lnTo>
                    <a:pt x="1780646" y="806980"/>
                  </a:lnTo>
                  <a:lnTo>
                    <a:pt x="1783292" y="806980"/>
                  </a:lnTo>
                  <a:lnTo>
                    <a:pt x="1785938" y="812271"/>
                  </a:lnTo>
                  <a:lnTo>
                    <a:pt x="1785938" y="820209"/>
                  </a:lnTo>
                  <a:lnTo>
                    <a:pt x="1785938" y="828146"/>
                  </a:lnTo>
                  <a:lnTo>
                    <a:pt x="1788583" y="844021"/>
                  </a:lnTo>
                  <a:lnTo>
                    <a:pt x="1785938" y="849313"/>
                  </a:lnTo>
                  <a:lnTo>
                    <a:pt x="1783292" y="851959"/>
                  </a:lnTo>
                  <a:lnTo>
                    <a:pt x="1772708" y="851959"/>
                  </a:lnTo>
                  <a:lnTo>
                    <a:pt x="1767417" y="851959"/>
                  </a:lnTo>
                  <a:lnTo>
                    <a:pt x="1764771" y="846667"/>
                  </a:lnTo>
                  <a:lnTo>
                    <a:pt x="1762125" y="854605"/>
                  </a:lnTo>
                  <a:lnTo>
                    <a:pt x="1764771" y="854605"/>
                  </a:lnTo>
                  <a:lnTo>
                    <a:pt x="1770063" y="854605"/>
                  </a:lnTo>
                  <a:lnTo>
                    <a:pt x="1775354" y="857250"/>
                  </a:lnTo>
                  <a:lnTo>
                    <a:pt x="1778000" y="857250"/>
                  </a:lnTo>
                  <a:lnTo>
                    <a:pt x="1780646" y="854605"/>
                  </a:lnTo>
                  <a:lnTo>
                    <a:pt x="1783292" y="857250"/>
                  </a:lnTo>
                  <a:lnTo>
                    <a:pt x="1783292" y="859896"/>
                  </a:lnTo>
                  <a:lnTo>
                    <a:pt x="1780646" y="865188"/>
                  </a:lnTo>
                  <a:lnTo>
                    <a:pt x="1775354" y="870480"/>
                  </a:lnTo>
                  <a:lnTo>
                    <a:pt x="1762125" y="867834"/>
                  </a:lnTo>
                  <a:lnTo>
                    <a:pt x="1756833" y="865188"/>
                  </a:lnTo>
                  <a:lnTo>
                    <a:pt x="1759479" y="870480"/>
                  </a:lnTo>
                  <a:lnTo>
                    <a:pt x="1762125" y="870480"/>
                  </a:lnTo>
                  <a:lnTo>
                    <a:pt x="1759479" y="873125"/>
                  </a:lnTo>
                  <a:lnTo>
                    <a:pt x="1756833" y="875771"/>
                  </a:lnTo>
                  <a:lnTo>
                    <a:pt x="1759479" y="875771"/>
                  </a:lnTo>
                  <a:lnTo>
                    <a:pt x="1764771" y="875771"/>
                  </a:lnTo>
                  <a:lnTo>
                    <a:pt x="1762125" y="881063"/>
                  </a:lnTo>
                  <a:lnTo>
                    <a:pt x="1759479" y="883709"/>
                  </a:lnTo>
                  <a:lnTo>
                    <a:pt x="1754188" y="886355"/>
                  </a:lnTo>
                  <a:lnTo>
                    <a:pt x="1746250" y="889000"/>
                  </a:lnTo>
                  <a:lnTo>
                    <a:pt x="1738313" y="891646"/>
                  </a:lnTo>
                  <a:lnTo>
                    <a:pt x="1733021" y="896938"/>
                  </a:lnTo>
                  <a:lnTo>
                    <a:pt x="1727729" y="902230"/>
                  </a:lnTo>
                  <a:lnTo>
                    <a:pt x="1725083" y="902230"/>
                  </a:lnTo>
                  <a:lnTo>
                    <a:pt x="1719792" y="904875"/>
                  </a:lnTo>
                  <a:lnTo>
                    <a:pt x="1711854" y="910167"/>
                  </a:lnTo>
                  <a:lnTo>
                    <a:pt x="1703917" y="918105"/>
                  </a:lnTo>
                  <a:lnTo>
                    <a:pt x="1701271" y="920750"/>
                  </a:lnTo>
                  <a:lnTo>
                    <a:pt x="1695979" y="920750"/>
                  </a:lnTo>
                  <a:lnTo>
                    <a:pt x="1690687" y="920750"/>
                  </a:lnTo>
                  <a:lnTo>
                    <a:pt x="1682750" y="923396"/>
                  </a:lnTo>
                  <a:lnTo>
                    <a:pt x="1672167" y="931334"/>
                  </a:lnTo>
                  <a:lnTo>
                    <a:pt x="1666875" y="939271"/>
                  </a:lnTo>
                  <a:lnTo>
                    <a:pt x="1664229" y="941917"/>
                  </a:lnTo>
                  <a:lnTo>
                    <a:pt x="1661583" y="941917"/>
                  </a:lnTo>
                  <a:lnTo>
                    <a:pt x="1658937" y="944563"/>
                  </a:lnTo>
                  <a:lnTo>
                    <a:pt x="1645708" y="955146"/>
                  </a:lnTo>
                  <a:lnTo>
                    <a:pt x="1640417" y="955146"/>
                  </a:lnTo>
                  <a:lnTo>
                    <a:pt x="1640417" y="952500"/>
                  </a:lnTo>
                  <a:lnTo>
                    <a:pt x="1637771" y="952500"/>
                  </a:lnTo>
                  <a:lnTo>
                    <a:pt x="1635125" y="955146"/>
                  </a:lnTo>
                  <a:lnTo>
                    <a:pt x="1632479" y="957792"/>
                  </a:lnTo>
                  <a:lnTo>
                    <a:pt x="1624542" y="955146"/>
                  </a:lnTo>
                  <a:lnTo>
                    <a:pt x="1621896" y="952500"/>
                  </a:lnTo>
                  <a:lnTo>
                    <a:pt x="1621896" y="955146"/>
                  </a:lnTo>
                  <a:lnTo>
                    <a:pt x="1624542" y="960438"/>
                  </a:lnTo>
                  <a:lnTo>
                    <a:pt x="1624542" y="963084"/>
                  </a:lnTo>
                  <a:lnTo>
                    <a:pt x="1621896" y="965730"/>
                  </a:lnTo>
                  <a:lnTo>
                    <a:pt x="1621896" y="968375"/>
                  </a:lnTo>
                  <a:lnTo>
                    <a:pt x="1621896" y="971021"/>
                  </a:lnTo>
                  <a:lnTo>
                    <a:pt x="1619250" y="971021"/>
                  </a:lnTo>
                  <a:lnTo>
                    <a:pt x="1616604" y="973667"/>
                  </a:lnTo>
                  <a:lnTo>
                    <a:pt x="1608667" y="978959"/>
                  </a:lnTo>
                  <a:lnTo>
                    <a:pt x="1592792" y="1000125"/>
                  </a:lnTo>
                  <a:lnTo>
                    <a:pt x="1587500" y="1013355"/>
                  </a:lnTo>
                  <a:lnTo>
                    <a:pt x="1587500" y="1018646"/>
                  </a:lnTo>
                  <a:lnTo>
                    <a:pt x="1584854" y="1023938"/>
                  </a:lnTo>
                  <a:lnTo>
                    <a:pt x="1582208" y="1031875"/>
                  </a:lnTo>
                  <a:lnTo>
                    <a:pt x="1582208" y="1045105"/>
                  </a:lnTo>
                  <a:lnTo>
                    <a:pt x="1587500" y="1071563"/>
                  </a:lnTo>
                  <a:lnTo>
                    <a:pt x="1587500" y="1076855"/>
                  </a:lnTo>
                  <a:lnTo>
                    <a:pt x="1590146" y="1076855"/>
                  </a:lnTo>
                  <a:lnTo>
                    <a:pt x="1590146" y="1079500"/>
                  </a:lnTo>
                  <a:lnTo>
                    <a:pt x="1592792" y="1100667"/>
                  </a:lnTo>
                  <a:lnTo>
                    <a:pt x="1592792" y="1108605"/>
                  </a:lnTo>
                  <a:lnTo>
                    <a:pt x="1592792" y="1111250"/>
                  </a:lnTo>
                  <a:lnTo>
                    <a:pt x="1590146" y="1108605"/>
                  </a:lnTo>
                  <a:lnTo>
                    <a:pt x="1587500" y="1098021"/>
                  </a:lnTo>
                  <a:lnTo>
                    <a:pt x="1587500" y="1111250"/>
                  </a:lnTo>
                  <a:lnTo>
                    <a:pt x="1592792" y="1119188"/>
                  </a:lnTo>
                  <a:lnTo>
                    <a:pt x="1595437" y="1127125"/>
                  </a:lnTo>
                  <a:lnTo>
                    <a:pt x="1595437" y="1132417"/>
                  </a:lnTo>
                  <a:lnTo>
                    <a:pt x="1598083" y="1137709"/>
                  </a:lnTo>
                  <a:lnTo>
                    <a:pt x="1598083" y="1148292"/>
                  </a:lnTo>
                  <a:lnTo>
                    <a:pt x="1587500" y="1172104"/>
                  </a:lnTo>
                  <a:lnTo>
                    <a:pt x="1584854" y="1180042"/>
                  </a:lnTo>
                  <a:lnTo>
                    <a:pt x="1584854" y="1182688"/>
                  </a:lnTo>
                  <a:lnTo>
                    <a:pt x="1584854" y="1185334"/>
                  </a:lnTo>
                  <a:lnTo>
                    <a:pt x="1579562" y="1187979"/>
                  </a:lnTo>
                  <a:lnTo>
                    <a:pt x="1576917" y="1187979"/>
                  </a:lnTo>
                  <a:lnTo>
                    <a:pt x="1574271" y="1187979"/>
                  </a:lnTo>
                  <a:lnTo>
                    <a:pt x="1574271" y="1190625"/>
                  </a:lnTo>
                  <a:lnTo>
                    <a:pt x="1571625" y="1190625"/>
                  </a:lnTo>
                  <a:lnTo>
                    <a:pt x="1568979" y="1190625"/>
                  </a:lnTo>
                  <a:lnTo>
                    <a:pt x="1566333" y="1193271"/>
                  </a:lnTo>
                  <a:lnTo>
                    <a:pt x="1558396" y="1193271"/>
                  </a:lnTo>
                  <a:lnTo>
                    <a:pt x="1553104" y="1190625"/>
                  </a:lnTo>
                  <a:lnTo>
                    <a:pt x="1553104" y="1185334"/>
                  </a:lnTo>
                  <a:lnTo>
                    <a:pt x="1555750" y="1185334"/>
                  </a:lnTo>
                  <a:lnTo>
                    <a:pt x="1558396" y="1187979"/>
                  </a:lnTo>
                  <a:lnTo>
                    <a:pt x="1558396" y="1185334"/>
                  </a:lnTo>
                  <a:lnTo>
                    <a:pt x="1558396" y="1182688"/>
                  </a:lnTo>
                  <a:lnTo>
                    <a:pt x="1561042" y="1180042"/>
                  </a:lnTo>
                  <a:lnTo>
                    <a:pt x="1563687" y="1180042"/>
                  </a:lnTo>
                  <a:lnTo>
                    <a:pt x="1561042" y="1177396"/>
                  </a:lnTo>
                  <a:lnTo>
                    <a:pt x="1555750" y="1174750"/>
                  </a:lnTo>
                  <a:lnTo>
                    <a:pt x="1553104" y="1169459"/>
                  </a:lnTo>
                  <a:lnTo>
                    <a:pt x="1550458" y="1166813"/>
                  </a:lnTo>
                  <a:lnTo>
                    <a:pt x="1545167" y="1166813"/>
                  </a:lnTo>
                  <a:lnTo>
                    <a:pt x="1542521" y="1164167"/>
                  </a:lnTo>
                  <a:lnTo>
                    <a:pt x="1542521" y="1153584"/>
                  </a:lnTo>
                  <a:lnTo>
                    <a:pt x="1539875" y="1145646"/>
                  </a:lnTo>
                  <a:lnTo>
                    <a:pt x="1539875" y="1143000"/>
                  </a:lnTo>
                  <a:lnTo>
                    <a:pt x="1542521" y="1137709"/>
                  </a:lnTo>
                  <a:lnTo>
                    <a:pt x="1542521" y="1135063"/>
                  </a:lnTo>
                  <a:lnTo>
                    <a:pt x="1537229" y="1135063"/>
                  </a:lnTo>
                  <a:lnTo>
                    <a:pt x="1531937" y="1119188"/>
                  </a:lnTo>
                  <a:lnTo>
                    <a:pt x="1531937" y="1111250"/>
                  </a:lnTo>
                  <a:lnTo>
                    <a:pt x="1531937" y="1108605"/>
                  </a:lnTo>
                  <a:lnTo>
                    <a:pt x="1531937" y="1103313"/>
                  </a:lnTo>
                  <a:lnTo>
                    <a:pt x="1531937" y="1100667"/>
                  </a:lnTo>
                  <a:lnTo>
                    <a:pt x="1531937" y="1095375"/>
                  </a:lnTo>
                  <a:lnTo>
                    <a:pt x="1539875" y="1082146"/>
                  </a:lnTo>
                  <a:lnTo>
                    <a:pt x="1542521" y="1071563"/>
                  </a:lnTo>
                  <a:lnTo>
                    <a:pt x="1542521" y="1066271"/>
                  </a:lnTo>
                  <a:lnTo>
                    <a:pt x="1539875" y="1063625"/>
                  </a:lnTo>
                  <a:lnTo>
                    <a:pt x="1534583" y="1058334"/>
                  </a:lnTo>
                  <a:lnTo>
                    <a:pt x="1534583" y="1053042"/>
                  </a:lnTo>
                  <a:lnTo>
                    <a:pt x="1531937" y="1047750"/>
                  </a:lnTo>
                  <a:lnTo>
                    <a:pt x="1526646" y="1045105"/>
                  </a:lnTo>
                  <a:lnTo>
                    <a:pt x="1521354" y="1042459"/>
                  </a:lnTo>
                  <a:lnTo>
                    <a:pt x="1518708" y="1037167"/>
                  </a:lnTo>
                  <a:lnTo>
                    <a:pt x="1513417" y="1037167"/>
                  </a:lnTo>
                  <a:lnTo>
                    <a:pt x="1505479" y="1039813"/>
                  </a:lnTo>
                  <a:lnTo>
                    <a:pt x="1494896" y="1045105"/>
                  </a:lnTo>
                  <a:lnTo>
                    <a:pt x="1489604" y="1045105"/>
                  </a:lnTo>
                  <a:lnTo>
                    <a:pt x="1486958" y="1045105"/>
                  </a:lnTo>
                  <a:lnTo>
                    <a:pt x="1484312" y="1045105"/>
                  </a:lnTo>
                  <a:lnTo>
                    <a:pt x="1479021" y="1047750"/>
                  </a:lnTo>
                  <a:lnTo>
                    <a:pt x="1476375" y="1047750"/>
                  </a:lnTo>
                  <a:lnTo>
                    <a:pt x="1473729" y="1045105"/>
                  </a:lnTo>
                  <a:lnTo>
                    <a:pt x="1476375" y="1042459"/>
                  </a:lnTo>
                  <a:lnTo>
                    <a:pt x="1479021" y="1039813"/>
                  </a:lnTo>
                  <a:lnTo>
                    <a:pt x="1476375" y="1037167"/>
                  </a:lnTo>
                  <a:lnTo>
                    <a:pt x="1447271" y="1031875"/>
                  </a:lnTo>
                  <a:lnTo>
                    <a:pt x="1439333" y="1026584"/>
                  </a:lnTo>
                  <a:lnTo>
                    <a:pt x="1447271" y="1026584"/>
                  </a:lnTo>
                  <a:lnTo>
                    <a:pt x="1457854" y="1023938"/>
                  </a:lnTo>
                  <a:lnTo>
                    <a:pt x="1441979" y="1023938"/>
                  </a:lnTo>
                  <a:lnTo>
                    <a:pt x="1436687" y="1023938"/>
                  </a:lnTo>
                  <a:lnTo>
                    <a:pt x="1434042" y="1023938"/>
                  </a:lnTo>
                  <a:lnTo>
                    <a:pt x="1434042" y="1026584"/>
                  </a:lnTo>
                  <a:lnTo>
                    <a:pt x="1436687" y="1026584"/>
                  </a:lnTo>
                  <a:lnTo>
                    <a:pt x="1434042" y="1029230"/>
                  </a:lnTo>
                  <a:lnTo>
                    <a:pt x="1426104" y="1029230"/>
                  </a:lnTo>
                  <a:lnTo>
                    <a:pt x="1418167" y="1029230"/>
                  </a:lnTo>
                  <a:lnTo>
                    <a:pt x="1410229" y="1023938"/>
                  </a:lnTo>
                  <a:lnTo>
                    <a:pt x="1410229" y="1026584"/>
                  </a:lnTo>
                  <a:lnTo>
                    <a:pt x="1399646" y="1031875"/>
                  </a:lnTo>
                  <a:lnTo>
                    <a:pt x="1394354" y="1031875"/>
                  </a:lnTo>
                  <a:lnTo>
                    <a:pt x="1391708" y="1029230"/>
                  </a:lnTo>
                  <a:lnTo>
                    <a:pt x="1391708" y="1021292"/>
                  </a:lnTo>
                  <a:lnTo>
                    <a:pt x="1389062" y="1031875"/>
                  </a:lnTo>
                  <a:lnTo>
                    <a:pt x="1389062" y="1034521"/>
                  </a:lnTo>
                  <a:lnTo>
                    <a:pt x="1383771" y="1034521"/>
                  </a:lnTo>
                  <a:lnTo>
                    <a:pt x="1370542" y="1034521"/>
                  </a:lnTo>
                  <a:lnTo>
                    <a:pt x="1365250" y="1034521"/>
                  </a:lnTo>
                  <a:lnTo>
                    <a:pt x="1359958" y="1034521"/>
                  </a:lnTo>
                  <a:lnTo>
                    <a:pt x="1352021" y="1031875"/>
                  </a:lnTo>
                  <a:lnTo>
                    <a:pt x="1346729" y="1029230"/>
                  </a:lnTo>
                  <a:lnTo>
                    <a:pt x="1344083" y="1031875"/>
                  </a:lnTo>
                  <a:lnTo>
                    <a:pt x="1344083" y="1037167"/>
                  </a:lnTo>
                  <a:lnTo>
                    <a:pt x="1344083" y="1039813"/>
                  </a:lnTo>
                  <a:lnTo>
                    <a:pt x="1352021" y="1039813"/>
                  </a:lnTo>
                  <a:lnTo>
                    <a:pt x="1359958" y="1042459"/>
                  </a:lnTo>
                  <a:lnTo>
                    <a:pt x="1359958" y="1045105"/>
                  </a:lnTo>
                  <a:lnTo>
                    <a:pt x="1359958" y="1047750"/>
                  </a:lnTo>
                  <a:lnTo>
                    <a:pt x="1359958" y="1050396"/>
                  </a:lnTo>
                  <a:lnTo>
                    <a:pt x="1362604" y="1053042"/>
                  </a:lnTo>
                  <a:lnTo>
                    <a:pt x="1365250" y="1053042"/>
                  </a:lnTo>
                  <a:lnTo>
                    <a:pt x="1365250" y="1055688"/>
                  </a:lnTo>
                  <a:lnTo>
                    <a:pt x="1365250" y="1058334"/>
                  </a:lnTo>
                  <a:lnTo>
                    <a:pt x="1367896" y="1060980"/>
                  </a:lnTo>
                  <a:lnTo>
                    <a:pt x="1370542" y="1063625"/>
                  </a:lnTo>
                  <a:lnTo>
                    <a:pt x="1367896" y="1066271"/>
                  </a:lnTo>
                  <a:lnTo>
                    <a:pt x="1359958" y="1066271"/>
                  </a:lnTo>
                  <a:lnTo>
                    <a:pt x="1357312" y="1063625"/>
                  </a:lnTo>
                  <a:lnTo>
                    <a:pt x="1354667" y="1060980"/>
                  </a:lnTo>
                  <a:lnTo>
                    <a:pt x="1352021" y="1063625"/>
                  </a:lnTo>
                  <a:lnTo>
                    <a:pt x="1349375" y="1066271"/>
                  </a:lnTo>
                  <a:lnTo>
                    <a:pt x="1344083" y="1063625"/>
                  </a:lnTo>
                  <a:lnTo>
                    <a:pt x="1338792" y="1060980"/>
                  </a:lnTo>
                  <a:lnTo>
                    <a:pt x="1330854" y="1060980"/>
                  </a:lnTo>
                  <a:lnTo>
                    <a:pt x="1322917" y="1058334"/>
                  </a:lnTo>
                  <a:lnTo>
                    <a:pt x="1320271" y="1055688"/>
                  </a:lnTo>
                  <a:lnTo>
                    <a:pt x="1317625" y="1053042"/>
                  </a:lnTo>
                  <a:lnTo>
                    <a:pt x="1317625" y="1055688"/>
                  </a:lnTo>
                  <a:lnTo>
                    <a:pt x="1314979" y="1055688"/>
                  </a:lnTo>
                  <a:lnTo>
                    <a:pt x="1312333" y="1053042"/>
                  </a:lnTo>
                  <a:lnTo>
                    <a:pt x="1309687" y="1047750"/>
                  </a:lnTo>
                  <a:lnTo>
                    <a:pt x="1307042" y="1047750"/>
                  </a:lnTo>
                  <a:lnTo>
                    <a:pt x="1304396" y="1050396"/>
                  </a:lnTo>
                  <a:lnTo>
                    <a:pt x="1299104" y="1053042"/>
                  </a:lnTo>
                  <a:lnTo>
                    <a:pt x="1293812" y="1053042"/>
                  </a:lnTo>
                  <a:lnTo>
                    <a:pt x="1288521" y="1053042"/>
                  </a:lnTo>
                  <a:lnTo>
                    <a:pt x="1277937" y="1047750"/>
                  </a:lnTo>
                  <a:lnTo>
                    <a:pt x="1272646" y="1045105"/>
                  </a:lnTo>
                  <a:lnTo>
                    <a:pt x="1267354" y="1042459"/>
                  </a:lnTo>
                  <a:lnTo>
                    <a:pt x="1259417" y="1045105"/>
                  </a:lnTo>
                  <a:lnTo>
                    <a:pt x="1248833" y="1050396"/>
                  </a:lnTo>
                  <a:lnTo>
                    <a:pt x="1232958" y="1060980"/>
                  </a:lnTo>
                  <a:lnTo>
                    <a:pt x="1227667" y="1063625"/>
                  </a:lnTo>
                  <a:lnTo>
                    <a:pt x="1230312" y="1060980"/>
                  </a:lnTo>
                  <a:lnTo>
                    <a:pt x="1230312" y="1058334"/>
                  </a:lnTo>
                  <a:lnTo>
                    <a:pt x="1230312" y="1055688"/>
                  </a:lnTo>
                  <a:lnTo>
                    <a:pt x="1230312" y="1050396"/>
                  </a:lnTo>
                  <a:lnTo>
                    <a:pt x="1235604" y="1045105"/>
                  </a:lnTo>
                  <a:lnTo>
                    <a:pt x="1225021" y="1050396"/>
                  </a:lnTo>
                  <a:lnTo>
                    <a:pt x="1225021" y="1053042"/>
                  </a:lnTo>
                  <a:lnTo>
                    <a:pt x="1225021" y="1055688"/>
                  </a:lnTo>
                  <a:lnTo>
                    <a:pt x="1222375" y="1058334"/>
                  </a:lnTo>
                  <a:lnTo>
                    <a:pt x="1222375" y="1060980"/>
                  </a:lnTo>
                  <a:lnTo>
                    <a:pt x="1225021" y="1063625"/>
                  </a:lnTo>
                  <a:lnTo>
                    <a:pt x="1222375" y="1066271"/>
                  </a:lnTo>
                  <a:lnTo>
                    <a:pt x="1214437" y="1068917"/>
                  </a:lnTo>
                  <a:lnTo>
                    <a:pt x="1209146" y="1071563"/>
                  </a:lnTo>
                  <a:lnTo>
                    <a:pt x="1203854" y="1076855"/>
                  </a:lnTo>
                  <a:lnTo>
                    <a:pt x="1198562" y="1079500"/>
                  </a:lnTo>
                  <a:lnTo>
                    <a:pt x="1195917" y="1079500"/>
                  </a:lnTo>
                  <a:lnTo>
                    <a:pt x="1193271" y="1079500"/>
                  </a:lnTo>
                  <a:lnTo>
                    <a:pt x="1190625" y="1079500"/>
                  </a:lnTo>
                  <a:lnTo>
                    <a:pt x="1187979" y="1082146"/>
                  </a:lnTo>
                  <a:lnTo>
                    <a:pt x="1185333" y="1082146"/>
                  </a:lnTo>
                  <a:lnTo>
                    <a:pt x="1180042" y="1079500"/>
                  </a:lnTo>
                  <a:lnTo>
                    <a:pt x="1180042" y="1082146"/>
                  </a:lnTo>
                  <a:lnTo>
                    <a:pt x="1180042" y="1084792"/>
                  </a:lnTo>
                  <a:lnTo>
                    <a:pt x="1177396" y="1084792"/>
                  </a:lnTo>
                  <a:lnTo>
                    <a:pt x="1177396" y="1087438"/>
                  </a:lnTo>
                  <a:lnTo>
                    <a:pt x="1177396" y="1092730"/>
                  </a:lnTo>
                  <a:lnTo>
                    <a:pt x="1174750" y="1095375"/>
                  </a:lnTo>
                  <a:lnTo>
                    <a:pt x="1169458" y="1092730"/>
                  </a:lnTo>
                  <a:lnTo>
                    <a:pt x="1169458" y="1095375"/>
                  </a:lnTo>
                  <a:lnTo>
                    <a:pt x="1166812" y="1100667"/>
                  </a:lnTo>
                  <a:lnTo>
                    <a:pt x="1164167" y="1105959"/>
                  </a:lnTo>
                  <a:lnTo>
                    <a:pt x="1158875" y="1108605"/>
                  </a:lnTo>
                  <a:lnTo>
                    <a:pt x="1156229" y="1111250"/>
                  </a:lnTo>
                  <a:lnTo>
                    <a:pt x="1150937" y="1113896"/>
                  </a:lnTo>
                  <a:lnTo>
                    <a:pt x="1148292" y="1119188"/>
                  </a:lnTo>
                  <a:lnTo>
                    <a:pt x="1145646" y="1119188"/>
                  </a:lnTo>
                  <a:lnTo>
                    <a:pt x="1143000" y="1119188"/>
                  </a:lnTo>
                  <a:lnTo>
                    <a:pt x="1143000" y="1121834"/>
                  </a:lnTo>
                  <a:lnTo>
                    <a:pt x="1140354" y="1121834"/>
                  </a:lnTo>
                  <a:lnTo>
                    <a:pt x="1135062" y="1121834"/>
                  </a:lnTo>
                  <a:lnTo>
                    <a:pt x="1135062" y="1124480"/>
                  </a:lnTo>
                  <a:lnTo>
                    <a:pt x="1135062" y="1127125"/>
                  </a:lnTo>
                  <a:lnTo>
                    <a:pt x="1135062" y="1135063"/>
                  </a:lnTo>
                  <a:lnTo>
                    <a:pt x="1132417" y="1143000"/>
                  </a:lnTo>
                  <a:lnTo>
                    <a:pt x="1129771" y="1145646"/>
                  </a:lnTo>
                  <a:lnTo>
                    <a:pt x="1127125" y="1148292"/>
                  </a:lnTo>
                  <a:lnTo>
                    <a:pt x="1127125" y="1153584"/>
                  </a:lnTo>
                  <a:lnTo>
                    <a:pt x="1129771" y="1156229"/>
                  </a:lnTo>
                  <a:lnTo>
                    <a:pt x="1127125" y="1158875"/>
                  </a:lnTo>
                  <a:lnTo>
                    <a:pt x="1127125" y="1164167"/>
                  </a:lnTo>
                  <a:lnTo>
                    <a:pt x="1124479" y="1172104"/>
                  </a:lnTo>
                  <a:lnTo>
                    <a:pt x="1098021" y="1166813"/>
                  </a:lnTo>
                  <a:lnTo>
                    <a:pt x="1084791" y="1161521"/>
                  </a:lnTo>
                  <a:lnTo>
                    <a:pt x="1082146" y="1158875"/>
                  </a:lnTo>
                  <a:lnTo>
                    <a:pt x="1079500" y="1156229"/>
                  </a:lnTo>
                  <a:lnTo>
                    <a:pt x="1079500" y="1145646"/>
                  </a:lnTo>
                  <a:lnTo>
                    <a:pt x="1076854" y="1135063"/>
                  </a:lnTo>
                  <a:lnTo>
                    <a:pt x="1074208" y="1129771"/>
                  </a:lnTo>
                  <a:lnTo>
                    <a:pt x="1068916" y="1119188"/>
                  </a:lnTo>
                  <a:lnTo>
                    <a:pt x="1063625" y="1092730"/>
                  </a:lnTo>
                  <a:lnTo>
                    <a:pt x="1058333" y="1071563"/>
                  </a:lnTo>
                  <a:lnTo>
                    <a:pt x="1050396" y="1060980"/>
                  </a:lnTo>
                  <a:lnTo>
                    <a:pt x="1045104" y="1053042"/>
                  </a:lnTo>
                  <a:lnTo>
                    <a:pt x="1034521" y="1050396"/>
                  </a:lnTo>
                  <a:lnTo>
                    <a:pt x="1021291" y="1045105"/>
                  </a:lnTo>
                  <a:lnTo>
                    <a:pt x="1018646" y="1045105"/>
                  </a:lnTo>
                  <a:lnTo>
                    <a:pt x="1016000" y="1045105"/>
                  </a:lnTo>
                  <a:lnTo>
                    <a:pt x="1013354" y="1047750"/>
                  </a:lnTo>
                  <a:lnTo>
                    <a:pt x="1008062" y="1047750"/>
                  </a:lnTo>
                  <a:lnTo>
                    <a:pt x="1005416" y="1050396"/>
                  </a:lnTo>
                  <a:lnTo>
                    <a:pt x="1000125" y="1055688"/>
                  </a:lnTo>
                  <a:lnTo>
                    <a:pt x="994833" y="1063625"/>
                  </a:lnTo>
                  <a:lnTo>
                    <a:pt x="989541" y="1063625"/>
                  </a:lnTo>
                  <a:lnTo>
                    <a:pt x="981604" y="1060980"/>
                  </a:lnTo>
                  <a:lnTo>
                    <a:pt x="971021" y="1053042"/>
                  </a:lnTo>
                  <a:lnTo>
                    <a:pt x="965729" y="1047750"/>
                  </a:lnTo>
                  <a:lnTo>
                    <a:pt x="965729" y="1045105"/>
                  </a:lnTo>
                  <a:lnTo>
                    <a:pt x="965729" y="1034521"/>
                  </a:lnTo>
                  <a:lnTo>
                    <a:pt x="965729" y="1026584"/>
                  </a:lnTo>
                  <a:lnTo>
                    <a:pt x="963083" y="1021292"/>
                  </a:lnTo>
                  <a:lnTo>
                    <a:pt x="957791" y="1016000"/>
                  </a:lnTo>
                  <a:lnTo>
                    <a:pt x="952500" y="1010709"/>
                  </a:lnTo>
                  <a:lnTo>
                    <a:pt x="949854" y="1008063"/>
                  </a:lnTo>
                  <a:lnTo>
                    <a:pt x="949854" y="1005417"/>
                  </a:lnTo>
                  <a:lnTo>
                    <a:pt x="944562" y="1000125"/>
                  </a:lnTo>
                  <a:lnTo>
                    <a:pt x="933979" y="992188"/>
                  </a:lnTo>
                  <a:lnTo>
                    <a:pt x="931333" y="989542"/>
                  </a:lnTo>
                  <a:lnTo>
                    <a:pt x="889000" y="989542"/>
                  </a:lnTo>
                  <a:lnTo>
                    <a:pt x="881062" y="1000125"/>
                  </a:lnTo>
                  <a:lnTo>
                    <a:pt x="817562" y="1000125"/>
                  </a:lnTo>
                  <a:lnTo>
                    <a:pt x="732896" y="965730"/>
                  </a:lnTo>
                  <a:lnTo>
                    <a:pt x="732896" y="960438"/>
                  </a:lnTo>
                  <a:lnTo>
                    <a:pt x="706437" y="960438"/>
                  </a:lnTo>
                  <a:lnTo>
                    <a:pt x="672041" y="960438"/>
                  </a:lnTo>
                  <a:lnTo>
                    <a:pt x="674687" y="955146"/>
                  </a:lnTo>
                  <a:lnTo>
                    <a:pt x="672041" y="952500"/>
                  </a:lnTo>
                  <a:lnTo>
                    <a:pt x="669396" y="952500"/>
                  </a:lnTo>
                  <a:lnTo>
                    <a:pt x="672041" y="947209"/>
                  </a:lnTo>
                  <a:lnTo>
                    <a:pt x="674687" y="944563"/>
                  </a:lnTo>
                  <a:lnTo>
                    <a:pt x="672041" y="939271"/>
                  </a:lnTo>
                  <a:lnTo>
                    <a:pt x="656166" y="926042"/>
                  </a:lnTo>
                  <a:lnTo>
                    <a:pt x="648229" y="920750"/>
                  </a:lnTo>
                  <a:lnTo>
                    <a:pt x="642937" y="918105"/>
                  </a:lnTo>
                  <a:lnTo>
                    <a:pt x="637646" y="915459"/>
                  </a:lnTo>
                  <a:lnTo>
                    <a:pt x="637646" y="912813"/>
                  </a:lnTo>
                  <a:lnTo>
                    <a:pt x="635000" y="907521"/>
                  </a:lnTo>
                  <a:lnTo>
                    <a:pt x="629708" y="904875"/>
                  </a:lnTo>
                  <a:lnTo>
                    <a:pt x="619125" y="902230"/>
                  </a:lnTo>
                  <a:lnTo>
                    <a:pt x="611187" y="899584"/>
                  </a:lnTo>
                  <a:lnTo>
                    <a:pt x="608541" y="896938"/>
                  </a:lnTo>
                  <a:lnTo>
                    <a:pt x="608541" y="891646"/>
                  </a:lnTo>
                  <a:lnTo>
                    <a:pt x="611187" y="886355"/>
                  </a:lnTo>
                  <a:lnTo>
                    <a:pt x="608541" y="883709"/>
                  </a:lnTo>
                  <a:lnTo>
                    <a:pt x="608541" y="881063"/>
                  </a:lnTo>
                  <a:lnTo>
                    <a:pt x="608541" y="878417"/>
                  </a:lnTo>
                  <a:lnTo>
                    <a:pt x="608541" y="875771"/>
                  </a:lnTo>
                  <a:lnTo>
                    <a:pt x="605896" y="873125"/>
                  </a:lnTo>
                  <a:lnTo>
                    <a:pt x="603250" y="870480"/>
                  </a:lnTo>
                  <a:lnTo>
                    <a:pt x="605896" y="867834"/>
                  </a:lnTo>
                  <a:lnTo>
                    <a:pt x="608541" y="862542"/>
                  </a:lnTo>
                  <a:lnTo>
                    <a:pt x="608541" y="859896"/>
                  </a:lnTo>
                  <a:lnTo>
                    <a:pt x="603250" y="851959"/>
                  </a:lnTo>
                  <a:lnTo>
                    <a:pt x="600604" y="844021"/>
                  </a:lnTo>
                  <a:lnTo>
                    <a:pt x="600604" y="841375"/>
                  </a:lnTo>
                  <a:lnTo>
                    <a:pt x="605896" y="838730"/>
                  </a:lnTo>
                  <a:lnTo>
                    <a:pt x="608541" y="833438"/>
                  </a:lnTo>
                  <a:lnTo>
                    <a:pt x="608541" y="830792"/>
                  </a:lnTo>
                  <a:lnTo>
                    <a:pt x="603250" y="822855"/>
                  </a:lnTo>
                  <a:lnTo>
                    <a:pt x="597958" y="812271"/>
                  </a:lnTo>
                  <a:lnTo>
                    <a:pt x="597958" y="809625"/>
                  </a:lnTo>
                  <a:lnTo>
                    <a:pt x="603250" y="806980"/>
                  </a:lnTo>
                  <a:lnTo>
                    <a:pt x="611187" y="801688"/>
                  </a:lnTo>
                  <a:lnTo>
                    <a:pt x="613833" y="799042"/>
                  </a:lnTo>
                  <a:lnTo>
                    <a:pt x="616479" y="796396"/>
                  </a:lnTo>
                  <a:lnTo>
                    <a:pt x="613833" y="796396"/>
                  </a:lnTo>
                  <a:lnTo>
                    <a:pt x="608541" y="799042"/>
                  </a:lnTo>
                  <a:lnTo>
                    <a:pt x="605896" y="801688"/>
                  </a:lnTo>
                  <a:lnTo>
                    <a:pt x="603250" y="801688"/>
                  </a:lnTo>
                  <a:lnTo>
                    <a:pt x="600604" y="799042"/>
                  </a:lnTo>
                  <a:lnTo>
                    <a:pt x="597958" y="793750"/>
                  </a:lnTo>
                  <a:lnTo>
                    <a:pt x="597958" y="788459"/>
                  </a:lnTo>
                  <a:lnTo>
                    <a:pt x="597958" y="783167"/>
                  </a:lnTo>
                  <a:lnTo>
                    <a:pt x="600604" y="777875"/>
                  </a:lnTo>
                  <a:lnTo>
                    <a:pt x="600604" y="769938"/>
                  </a:lnTo>
                  <a:lnTo>
                    <a:pt x="600604" y="756709"/>
                  </a:lnTo>
                  <a:lnTo>
                    <a:pt x="605896" y="743480"/>
                  </a:lnTo>
                  <a:lnTo>
                    <a:pt x="605896" y="738188"/>
                  </a:lnTo>
                  <a:lnTo>
                    <a:pt x="605896" y="735542"/>
                  </a:lnTo>
                  <a:lnTo>
                    <a:pt x="603250" y="730251"/>
                  </a:lnTo>
                  <a:lnTo>
                    <a:pt x="603250" y="727605"/>
                  </a:lnTo>
                  <a:lnTo>
                    <a:pt x="603250" y="722313"/>
                  </a:lnTo>
                  <a:lnTo>
                    <a:pt x="605896" y="717021"/>
                  </a:lnTo>
                  <a:lnTo>
                    <a:pt x="613833" y="711730"/>
                  </a:lnTo>
                  <a:lnTo>
                    <a:pt x="619125" y="706438"/>
                  </a:lnTo>
                  <a:lnTo>
                    <a:pt x="616479" y="703792"/>
                  </a:lnTo>
                  <a:lnTo>
                    <a:pt x="619125" y="701146"/>
                  </a:lnTo>
                  <a:lnTo>
                    <a:pt x="629708" y="695855"/>
                  </a:lnTo>
                  <a:lnTo>
                    <a:pt x="629708" y="690563"/>
                  </a:lnTo>
                  <a:lnTo>
                    <a:pt x="629708" y="674688"/>
                  </a:lnTo>
                  <a:lnTo>
                    <a:pt x="632354" y="669396"/>
                  </a:lnTo>
                  <a:lnTo>
                    <a:pt x="635000" y="661459"/>
                  </a:lnTo>
                  <a:lnTo>
                    <a:pt x="640291" y="653521"/>
                  </a:lnTo>
                  <a:lnTo>
                    <a:pt x="648229" y="648230"/>
                  </a:lnTo>
                  <a:lnTo>
                    <a:pt x="677333" y="616480"/>
                  </a:lnTo>
                  <a:lnTo>
                    <a:pt x="695854" y="590021"/>
                  </a:lnTo>
                  <a:lnTo>
                    <a:pt x="711729" y="568855"/>
                  </a:lnTo>
                  <a:lnTo>
                    <a:pt x="727604" y="571501"/>
                  </a:lnTo>
                  <a:lnTo>
                    <a:pt x="735541" y="574146"/>
                  </a:lnTo>
                  <a:lnTo>
                    <a:pt x="730250" y="568855"/>
                  </a:lnTo>
                  <a:lnTo>
                    <a:pt x="722312" y="566209"/>
                  </a:lnTo>
                  <a:lnTo>
                    <a:pt x="717021" y="563563"/>
                  </a:lnTo>
                  <a:lnTo>
                    <a:pt x="714375" y="560917"/>
                  </a:lnTo>
                  <a:lnTo>
                    <a:pt x="717021" y="558271"/>
                  </a:lnTo>
                  <a:lnTo>
                    <a:pt x="727604" y="542396"/>
                  </a:lnTo>
                  <a:lnTo>
                    <a:pt x="730250" y="534459"/>
                  </a:lnTo>
                  <a:lnTo>
                    <a:pt x="732896" y="526521"/>
                  </a:lnTo>
                  <a:lnTo>
                    <a:pt x="732896" y="518584"/>
                  </a:lnTo>
                  <a:lnTo>
                    <a:pt x="735541" y="508001"/>
                  </a:lnTo>
                  <a:lnTo>
                    <a:pt x="740833" y="502709"/>
                  </a:lnTo>
                  <a:lnTo>
                    <a:pt x="746125" y="502709"/>
                  </a:lnTo>
                  <a:lnTo>
                    <a:pt x="751416" y="505355"/>
                  </a:lnTo>
                  <a:lnTo>
                    <a:pt x="762000" y="508001"/>
                  </a:lnTo>
                  <a:lnTo>
                    <a:pt x="772583" y="508001"/>
                  </a:lnTo>
                  <a:lnTo>
                    <a:pt x="780521" y="508001"/>
                  </a:lnTo>
                  <a:lnTo>
                    <a:pt x="783166" y="510646"/>
                  </a:lnTo>
                  <a:lnTo>
                    <a:pt x="783166" y="513292"/>
                  </a:lnTo>
                  <a:lnTo>
                    <a:pt x="780521" y="518584"/>
                  </a:lnTo>
                  <a:lnTo>
                    <a:pt x="780521" y="523876"/>
                  </a:lnTo>
                  <a:lnTo>
                    <a:pt x="783166" y="526521"/>
                  </a:lnTo>
                  <a:lnTo>
                    <a:pt x="788458" y="515938"/>
                  </a:lnTo>
                  <a:lnTo>
                    <a:pt x="793750" y="510646"/>
                  </a:lnTo>
                  <a:lnTo>
                    <a:pt x="796396" y="508001"/>
                  </a:lnTo>
                  <a:lnTo>
                    <a:pt x="804333" y="505355"/>
                  </a:lnTo>
                  <a:lnTo>
                    <a:pt x="806979" y="505355"/>
                  </a:lnTo>
                  <a:lnTo>
                    <a:pt x="801687" y="500063"/>
                  </a:lnTo>
                  <a:lnTo>
                    <a:pt x="799041" y="494771"/>
                  </a:lnTo>
                  <a:lnTo>
                    <a:pt x="801687" y="494771"/>
                  </a:lnTo>
                  <a:lnTo>
                    <a:pt x="806979" y="492126"/>
                  </a:lnTo>
                  <a:lnTo>
                    <a:pt x="801687" y="486834"/>
                  </a:lnTo>
                  <a:lnTo>
                    <a:pt x="1444625" y="486834"/>
                  </a:lnTo>
                  <a:lnTo>
                    <a:pt x="1452562" y="484188"/>
                  </a:lnTo>
                  <a:lnTo>
                    <a:pt x="1457854" y="476251"/>
                  </a:lnTo>
                  <a:lnTo>
                    <a:pt x="1463146" y="470959"/>
                  </a:lnTo>
                  <a:lnTo>
                    <a:pt x="1465792" y="470959"/>
                  </a:lnTo>
                  <a:close/>
                  <a:moveTo>
                    <a:pt x="296333" y="272521"/>
                  </a:moveTo>
                  <a:lnTo>
                    <a:pt x="301625" y="275167"/>
                  </a:lnTo>
                  <a:lnTo>
                    <a:pt x="306916" y="277813"/>
                  </a:lnTo>
                  <a:lnTo>
                    <a:pt x="312208" y="277813"/>
                  </a:lnTo>
                  <a:lnTo>
                    <a:pt x="317500" y="277813"/>
                  </a:lnTo>
                  <a:lnTo>
                    <a:pt x="317500" y="280459"/>
                  </a:lnTo>
                  <a:lnTo>
                    <a:pt x="320145" y="283105"/>
                  </a:lnTo>
                  <a:lnTo>
                    <a:pt x="322791" y="285750"/>
                  </a:lnTo>
                  <a:lnTo>
                    <a:pt x="325437" y="285750"/>
                  </a:lnTo>
                  <a:lnTo>
                    <a:pt x="322791" y="288396"/>
                  </a:lnTo>
                  <a:lnTo>
                    <a:pt x="320145" y="288396"/>
                  </a:lnTo>
                  <a:lnTo>
                    <a:pt x="320145" y="291042"/>
                  </a:lnTo>
                  <a:lnTo>
                    <a:pt x="322791" y="296334"/>
                  </a:lnTo>
                  <a:lnTo>
                    <a:pt x="322791" y="298980"/>
                  </a:lnTo>
                  <a:lnTo>
                    <a:pt x="317500" y="298980"/>
                  </a:lnTo>
                  <a:lnTo>
                    <a:pt x="304270" y="298980"/>
                  </a:lnTo>
                  <a:lnTo>
                    <a:pt x="312208" y="301626"/>
                  </a:lnTo>
                  <a:lnTo>
                    <a:pt x="309562" y="304271"/>
                  </a:lnTo>
                  <a:lnTo>
                    <a:pt x="304270" y="306917"/>
                  </a:lnTo>
                  <a:lnTo>
                    <a:pt x="296333" y="306917"/>
                  </a:lnTo>
                  <a:lnTo>
                    <a:pt x="291041" y="306917"/>
                  </a:lnTo>
                  <a:lnTo>
                    <a:pt x="285750" y="306917"/>
                  </a:lnTo>
                  <a:lnTo>
                    <a:pt x="283104" y="306917"/>
                  </a:lnTo>
                  <a:lnTo>
                    <a:pt x="269875" y="312209"/>
                  </a:lnTo>
                  <a:lnTo>
                    <a:pt x="256646" y="312209"/>
                  </a:lnTo>
                  <a:lnTo>
                    <a:pt x="251354" y="312209"/>
                  </a:lnTo>
                  <a:lnTo>
                    <a:pt x="259291" y="309563"/>
                  </a:lnTo>
                  <a:lnTo>
                    <a:pt x="264583" y="304271"/>
                  </a:lnTo>
                  <a:lnTo>
                    <a:pt x="256646" y="306917"/>
                  </a:lnTo>
                  <a:lnTo>
                    <a:pt x="246062" y="306917"/>
                  </a:lnTo>
                  <a:lnTo>
                    <a:pt x="246062" y="304271"/>
                  </a:lnTo>
                  <a:lnTo>
                    <a:pt x="246062" y="301626"/>
                  </a:lnTo>
                  <a:lnTo>
                    <a:pt x="243417" y="298980"/>
                  </a:lnTo>
                  <a:lnTo>
                    <a:pt x="238125" y="296334"/>
                  </a:lnTo>
                  <a:lnTo>
                    <a:pt x="235479" y="293688"/>
                  </a:lnTo>
                  <a:lnTo>
                    <a:pt x="238125" y="293688"/>
                  </a:lnTo>
                  <a:lnTo>
                    <a:pt x="246062" y="288396"/>
                  </a:lnTo>
                  <a:lnTo>
                    <a:pt x="267229" y="285750"/>
                  </a:lnTo>
                  <a:lnTo>
                    <a:pt x="269875" y="285750"/>
                  </a:lnTo>
                  <a:lnTo>
                    <a:pt x="272521" y="285750"/>
                  </a:lnTo>
                  <a:lnTo>
                    <a:pt x="272521" y="288396"/>
                  </a:lnTo>
                  <a:lnTo>
                    <a:pt x="275166" y="288396"/>
                  </a:lnTo>
                  <a:lnTo>
                    <a:pt x="277812" y="285750"/>
                  </a:lnTo>
                  <a:lnTo>
                    <a:pt x="275166" y="285750"/>
                  </a:lnTo>
                  <a:lnTo>
                    <a:pt x="275166" y="283105"/>
                  </a:lnTo>
                  <a:lnTo>
                    <a:pt x="275166" y="280459"/>
                  </a:lnTo>
                  <a:lnTo>
                    <a:pt x="280458" y="280459"/>
                  </a:lnTo>
                  <a:lnTo>
                    <a:pt x="283104" y="280459"/>
                  </a:lnTo>
                  <a:lnTo>
                    <a:pt x="283104" y="283105"/>
                  </a:lnTo>
                  <a:lnTo>
                    <a:pt x="285750" y="280459"/>
                  </a:lnTo>
                  <a:lnTo>
                    <a:pt x="291041" y="275167"/>
                  </a:lnTo>
                  <a:close/>
                  <a:moveTo>
                    <a:pt x="669396" y="0"/>
                  </a:moveTo>
                  <a:lnTo>
                    <a:pt x="693208" y="0"/>
                  </a:lnTo>
                  <a:lnTo>
                    <a:pt x="706437" y="0"/>
                  </a:lnTo>
                  <a:lnTo>
                    <a:pt x="706437" y="2646"/>
                  </a:lnTo>
                  <a:lnTo>
                    <a:pt x="703792" y="2646"/>
                  </a:lnTo>
                  <a:lnTo>
                    <a:pt x="701146" y="7937"/>
                  </a:lnTo>
                  <a:lnTo>
                    <a:pt x="706437" y="7937"/>
                  </a:lnTo>
                  <a:lnTo>
                    <a:pt x="717021" y="5292"/>
                  </a:lnTo>
                  <a:lnTo>
                    <a:pt x="714375" y="2646"/>
                  </a:lnTo>
                  <a:lnTo>
                    <a:pt x="711729" y="0"/>
                  </a:lnTo>
                  <a:lnTo>
                    <a:pt x="714375" y="0"/>
                  </a:lnTo>
                  <a:lnTo>
                    <a:pt x="722312" y="0"/>
                  </a:lnTo>
                  <a:lnTo>
                    <a:pt x="727604" y="2646"/>
                  </a:lnTo>
                  <a:lnTo>
                    <a:pt x="732896" y="2646"/>
                  </a:lnTo>
                  <a:lnTo>
                    <a:pt x="748771" y="2646"/>
                  </a:lnTo>
                  <a:lnTo>
                    <a:pt x="764646" y="2646"/>
                  </a:lnTo>
                  <a:lnTo>
                    <a:pt x="767292" y="2646"/>
                  </a:lnTo>
                  <a:lnTo>
                    <a:pt x="767292" y="5292"/>
                  </a:lnTo>
                  <a:lnTo>
                    <a:pt x="762000" y="7937"/>
                  </a:lnTo>
                  <a:lnTo>
                    <a:pt x="751417" y="13229"/>
                  </a:lnTo>
                  <a:lnTo>
                    <a:pt x="762000" y="15875"/>
                  </a:lnTo>
                  <a:lnTo>
                    <a:pt x="769937" y="15875"/>
                  </a:lnTo>
                  <a:lnTo>
                    <a:pt x="780521" y="13229"/>
                  </a:lnTo>
                  <a:lnTo>
                    <a:pt x="788458" y="10583"/>
                  </a:lnTo>
                  <a:lnTo>
                    <a:pt x="791104" y="10583"/>
                  </a:lnTo>
                  <a:lnTo>
                    <a:pt x="796396" y="10583"/>
                  </a:lnTo>
                  <a:lnTo>
                    <a:pt x="804333" y="13229"/>
                  </a:lnTo>
                  <a:lnTo>
                    <a:pt x="809625" y="13229"/>
                  </a:lnTo>
                  <a:lnTo>
                    <a:pt x="814917" y="13229"/>
                  </a:lnTo>
                  <a:lnTo>
                    <a:pt x="825500" y="13229"/>
                  </a:lnTo>
                  <a:lnTo>
                    <a:pt x="833437" y="13229"/>
                  </a:lnTo>
                  <a:lnTo>
                    <a:pt x="844021" y="13229"/>
                  </a:lnTo>
                  <a:lnTo>
                    <a:pt x="859896" y="13229"/>
                  </a:lnTo>
                  <a:lnTo>
                    <a:pt x="889000" y="23812"/>
                  </a:lnTo>
                  <a:lnTo>
                    <a:pt x="891646" y="18521"/>
                  </a:lnTo>
                  <a:lnTo>
                    <a:pt x="894291" y="13229"/>
                  </a:lnTo>
                  <a:lnTo>
                    <a:pt x="899583" y="10583"/>
                  </a:lnTo>
                  <a:lnTo>
                    <a:pt x="902229" y="10583"/>
                  </a:lnTo>
                  <a:lnTo>
                    <a:pt x="907521" y="10583"/>
                  </a:lnTo>
                  <a:lnTo>
                    <a:pt x="912812" y="13229"/>
                  </a:lnTo>
                  <a:lnTo>
                    <a:pt x="915458" y="18521"/>
                  </a:lnTo>
                  <a:lnTo>
                    <a:pt x="920750" y="18521"/>
                  </a:lnTo>
                  <a:lnTo>
                    <a:pt x="928687" y="18521"/>
                  </a:lnTo>
                  <a:lnTo>
                    <a:pt x="939271" y="21167"/>
                  </a:lnTo>
                  <a:lnTo>
                    <a:pt x="941916" y="21167"/>
                  </a:lnTo>
                  <a:lnTo>
                    <a:pt x="947208" y="26458"/>
                  </a:lnTo>
                  <a:lnTo>
                    <a:pt x="886354" y="60854"/>
                  </a:lnTo>
                  <a:lnTo>
                    <a:pt x="817562" y="103188"/>
                  </a:lnTo>
                  <a:lnTo>
                    <a:pt x="738187" y="156104"/>
                  </a:lnTo>
                  <a:lnTo>
                    <a:pt x="695854" y="185209"/>
                  </a:lnTo>
                  <a:lnTo>
                    <a:pt x="653521" y="216959"/>
                  </a:lnTo>
                  <a:lnTo>
                    <a:pt x="661458" y="216959"/>
                  </a:lnTo>
                  <a:lnTo>
                    <a:pt x="669396" y="216959"/>
                  </a:lnTo>
                  <a:lnTo>
                    <a:pt x="677333" y="219604"/>
                  </a:lnTo>
                  <a:lnTo>
                    <a:pt x="679979" y="219604"/>
                  </a:lnTo>
                  <a:lnTo>
                    <a:pt x="685271" y="219604"/>
                  </a:lnTo>
                  <a:lnTo>
                    <a:pt x="687917" y="219604"/>
                  </a:lnTo>
                  <a:lnTo>
                    <a:pt x="690562" y="230188"/>
                  </a:lnTo>
                  <a:lnTo>
                    <a:pt x="695854" y="235479"/>
                  </a:lnTo>
                  <a:lnTo>
                    <a:pt x="701146" y="238125"/>
                  </a:lnTo>
                  <a:lnTo>
                    <a:pt x="711729" y="238125"/>
                  </a:lnTo>
                  <a:lnTo>
                    <a:pt x="717021" y="235479"/>
                  </a:lnTo>
                  <a:lnTo>
                    <a:pt x="722312" y="232834"/>
                  </a:lnTo>
                  <a:lnTo>
                    <a:pt x="730250" y="232834"/>
                  </a:lnTo>
                  <a:lnTo>
                    <a:pt x="738187" y="232834"/>
                  </a:lnTo>
                  <a:lnTo>
                    <a:pt x="738187" y="230188"/>
                  </a:lnTo>
                  <a:lnTo>
                    <a:pt x="740833" y="227542"/>
                  </a:lnTo>
                  <a:lnTo>
                    <a:pt x="748771" y="224896"/>
                  </a:lnTo>
                  <a:lnTo>
                    <a:pt x="764646" y="224896"/>
                  </a:lnTo>
                  <a:lnTo>
                    <a:pt x="759354" y="230188"/>
                  </a:lnTo>
                  <a:lnTo>
                    <a:pt x="759354" y="232834"/>
                  </a:lnTo>
                  <a:lnTo>
                    <a:pt x="759354" y="238125"/>
                  </a:lnTo>
                  <a:lnTo>
                    <a:pt x="762000" y="254000"/>
                  </a:lnTo>
                  <a:lnTo>
                    <a:pt x="762000" y="272521"/>
                  </a:lnTo>
                  <a:lnTo>
                    <a:pt x="762000" y="280459"/>
                  </a:lnTo>
                  <a:lnTo>
                    <a:pt x="759354" y="288396"/>
                  </a:lnTo>
                  <a:lnTo>
                    <a:pt x="759354" y="293688"/>
                  </a:lnTo>
                  <a:lnTo>
                    <a:pt x="762000" y="293688"/>
                  </a:lnTo>
                  <a:lnTo>
                    <a:pt x="762000" y="296334"/>
                  </a:lnTo>
                  <a:lnTo>
                    <a:pt x="759354" y="298980"/>
                  </a:lnTo>
                  <a:lnTo>
                    <a:pt x="759354" y="301625"/>
                  </a:lnTo>
                  <a:lnTo>
                    <a:pt x="759354" y="304271"/>
                  </a:lnTo>
                  <a:lnTo>
                    <a:pt x="764646" y="309563"/>
                  </a:lnTo>
                  <a:lnTo>
                    <a:pt x="769937" y="314855"/>
                  </a:lnTo>
                  <a:lnTo>
                    <a:pt x="769937" y="317500"/>
                  </a:lnTo>
                  <a:lnTo>
                    <a:pt x="767292" y="320146"/>
                  </a:lnTo>
                  <a:lnTo>
                    <a:pt x="762000" y="325438"/>
                  </a:lnTo>
                  <a:lnTo>
                    <a:pt x="759354" y="328084"/>
                  </a:lnTo>
                  <a:lnTo>
                    <a:pt x="756708" y="333375"/>
                  </a:lnTo>
                  <a:lnTo>
                    <a:pt x="748771" y="336021"/>
                  </a:lnTo>
                  <a:lnTo>
                    <a:pt x="751417" y="328084"/>
                  </a:lnTo>
                  <a:lnTo>
                    <a:pt x="754062" y="322792"/>
                  </a:lnTo>
                  <a:lnTo>
                    <a:pt x="751417" y="320146"/>
                  </a:lnTo>
                  <a:lnTo>
                    <a:pt x="748771" y="320146"/>
                  </a:lnTo>
                  <a:lnTo>
                    <a:pt x="746125" y="320146"/>
                  </a:lnTo>
                  <a:lnTo>
                    <a:pt x="746125" y="317500"/>
                  </a:lnTo>
                  <a:lnTo>
                    <a:pt x="746125" y="312209"/>
                  </a:lnTo>
                  <a:lnTo>
                    <a:pt x="748771" y="306917"/>
                  </a:lnTo>
                  <a:lnTo>
                    <a:pt x="751417" y="304271"/>
                  </a:lnTo>
                  <a:lnTo>
                    <a:pt x="751417" y="301625"/>
                  </a:lnTo>
                  <a:lnTo>
                    <a:pt x="746125" y="296334"/>
                  </a:lnTo>
                  <a:lnTo>
                    <a:pt x="743479" y="291042"/>
                  </a:lnTo>
                  <a:lnTo>
                    <a:pt x="746125" y="288396"/>
                  </a:lnTo>
                  <a:lnTo>
                    <a:pt x="748771" y="280459"/>
                  </a:lnTo>
                  <a:lnTo>
                    <a:pt x="748771" y="275167"/>
                  </a:lnTo>
                  <a:lnTo>
                    <a:pt x="746125" y="269875"/>
                  </a:lnTo>
                  <a:lnTo>
                    <a:pt x="743479" y="259292"/>
                  </a:lnTo>
                  <a:lnTo>
                    <a:pt x="746125" y="256646"/>
                  </a:lnTo>
                  <a:lnTo>
                    <a:pt x="748771" y="251354"/>
                  </a:lnTo>
                  <a:lnTo>
                    <a:pt x="754062" y="240771"/>
                  </a:lnTo>
                  <a:lnTo>
                    <a:pt x="751417" y="238125"/>
                  </a:lnTo>
                  <a:lnTo>
                    <a:pt x="743479" y="240771"/>
                  </a:lnTo>
                  <a:lnTo>
                    <a:pt x="732896" y="248709"/>
                  </a:lnTo>
                  <a:lnTo>
                    <a:pt x="727604" y="254000"/>
                  </a:lnTo>
                  <a:lnTo>
                    <a:pt x="724958" y="256646"/>
                  </a:lnTo>
                  <a:lnTo>
                    <a:pt x="719667" y="254000"/>
                  </a:lnTo>
                  <a:lnTo>
                    <a:pt x="719667" y="251354"/>
                  </a:lnTo>
                  <a:lnTo>
                    <a:pt x="717021" y="248709"/>
                  </a:lnTo>
                  <a:lnTo>
                    <a:pt x="714375" y="246063"/>
                  </a:lnTo>
                  <a:lnTo>
                    <a:pt x="709083" y="248709"/>
                  </a:lnTo>
                  <a:lnTo>
                    <a:pt x="701146" y="251354"/>
                  </a:lnTo>
                  <a:lnTo>
                    <a:pt x="693208" y="256646"/>
                  </a:lnTo>
                  <a:lnTo>
                    <a:pt x="687917" y="254000"/>
                  </a:lnTo>
                  <a:lnTo>
                    <a:pt x="682625" y="251354"/>
                  </a:lnTo>
                  <a:lnTo>
                    <a:pt x="682625" y="248709"/>
                  </a:lnTo>
                  <a:lnTo>
                    <a:pt x="685271" y="246063"/>
                  </a:lnTo>
                  <a:lnTo>
                    <a:pt x="687917" y="243417"/>
                  </a:lnTo>
                  <a:lnTo>
                    <a:pt x="685271" y="243417"/>
                  </a:lnTo>
                  <a:lnTo>
                    <a:pt x="682625" y="240771"/>
                  </a:lnTo>
                  <a:lnTo>
                    <a:pt x="677333" y="235479"/>
                  </a:lnTo>
                  <a:lnTo>
                    <a:pt x="679979" y="230188"/>
                  </a:lnTo>
                  <a:lnTo>
                    <a:pt x="682625" y="227542"/>
                  </a:lnTo>
                  <a:lnTo>
                    <a:pt x="674687" y="227542"/>
                  </a:lnTo>
                  <a:lnTo>
                    <a:pt x="650875" y="230188"/>
                  </a:lnTo>
                  <a:lnTo>
                    <a:pt x="629708" y="227542"/>
                  </a:lnTo>
                  <a:lnTo>
                    <a:pt x="616479" y="222250"/>
                  </a:lnTo>
                  <a:lnTo>
                    <a:pt x="605896" y="219604"/>
                  </a:lnTo>
                  <a:lnTo>
                    <a:pt x="587375" y="222250"/>
                  </a:lnTo>
                  <a:lnTo>
                    <a:pt x="568854" y="222250"/>
                  </a:lnTo>
                  <a:lnTo>
                    <a:pt x="560916" y="219604"/>
                  </a:lnTo>
                  <a:lnTo>
                    <a:pt x="558271" y="216959"/>
                  </a:lnTo>
                  <a:lnTo>
                    <a:pt x="550333" y="214313"/>
                  </a:lnTo>
                  <a:lnTo>
                    <a:pt x="542396" y="214313"/>
                  </a:lnTo>
                  <a:lnTo>
                    <a:pt x="539750" y="211667"/>
                  </a:lnTo>
                  <a:lnTo>
                    <a:pt x="539750" y="209021"/>
                  </a:lnTo>
                  <a:lnTo>
                    <a:pt x="542396" y="206375"/>
                  </a:lnTo>
                  <a:lnTo>
                    <a:pt x="550333" y="201084"/>
                  </a:lnTo>
                  <a:lnTo>
                    <a:pt x="545041" y="201084"/>
                  </a:lnTo>
                  <a:lnTo>
                    <a:pt x="539750" y="198438"/>
                  </a:lnTo>
                  <a:lnTo>
                    <a:pt x="537104" y="198438"/>
                  </a:lnTo>
                  <a:lnTo>
                    <a:pt x="531812" y="190500"/>
                  </a:lnTo>
                  <a:lnTo>
                    <a:pt x="529166" y="187854"/>
                  </a:lnTo>
                  <a:lnTo>
                    <a:pt x="526521" y="185209"/>
                  </a:lnTo>
                  <a:lnTo>
                    <a:pt x="523875" y="187854"/>
                  </a:lnTo>
                  <a:lnTo>
                    <a:pt x="508000" y="193146"/>
                  </a:lnTo>
                  <a:lnTo>
                    <a:pt x="497416" y="193146"/>
                  </a:lnTo>
                  <a:lnTo>
                    <a:pt x="489479" y="195792"/>
                  </a:lnTo>
                  <a:lnTo>
                    <a:pt x="484187" y="198438"/>
                  </a:lnTo>
                  <a:lnTo>
                    <a:pt x="481541" y="203729"/>
                  </a:lnTo>
                  <a:lnTo>
                    <a:pt x="481541" y="209021"/>
                  </a:lnTo>
                  <a:lnTo>
                    <a:pt x="481541" y="211667"/>
                  </a:lnTo>
                  <a:lnTo>
                    <a:pt x="481541" y="214313"/>
                  </a:lnTo>
                  <a:lnTo>
                    <a:pt x="486833" y="214313"/>
                  </a:lnTo>
                  <a:lnTo>
                    <a:pt x="500062" y="214313"/>
                  </a:lnTo>
                  <a:lnTo>
                    <a:pt x="518583" y="211667"/>
                  </a:lnTo>
                  <a:lnTo>
                    <a:pt x="505354" y="219604"/>
                  </a:lnTo>
                  <a:lnTo>
                    <a:pt x="494771" y="222250"/>
                  </a:lnTo>
                  <a:lnTo>
                    <a:pt x="481541" y="222250"/>
                  </a:lnTo>
                  <a:lnTo>
                    <a:pt x="473604" y="222250"/>
                  </a:lnTo>
                  <a:lnTo>
                    <a:pt x="468312" y="222250"/>
                  </a:lnTo>
                  <a:lnTo>
                    <a:pt x="463021" y="224896"/>
                  </a:lnTo>
                  <a:lnTo>
                    <a:pt x="460375" y="224896"/>
                  </a:lnTo>
                  <a:lnTo>
                    <a:pt x="452437" y="224896"/>
                  </a:lnTo>
                  <a:lnTo>
                    <a:pt x="441854" y="227542"/>
                  </a:lnTo>
                  <a:lnTo>
                    <a:pt x="425979" y="235479"/>
                  </a:lnTo>
                  <a:lnTo>
                    <a:pt x="412750" y="238125"/>
                  </a:lnTo>
                  <a:lnTo>
                    <a:pt x="402166" y="238125"/>
                  </a:lnTo>
                  <a:lnTo>
                    <a:pt x="402166" y="235479"/>
                  </a:lnTo>
                  <a:lnTo>
                    <a:pt x="399521" y="232834"/>
                  </a:lnTo>
                  <a:lnTo>
                    <a:pt x="402166" y="230188"/>
                  </a:lnTo>
                  <a:lnTo>
                    <a:pt x="404812" y="227542"/>
                  </a:lnTo>
                  <a:lnTo>
                    <a:pt x="418041" y="227542"/>
                  </a:lnTo>
                  <a:lnTo>
                    <a:pt x="428625" y="224896"/>
                  </a:lnTo>
                  <a:lnTo>
                    <a:pt x="433916" y="222250"/>
                  </a:lnTo>
                  <a:lnTo>
                    <a:pt x="439208" y="216959"/>
                  </a:lnTo>
                  <a:lnTo>
                    <a:pt x="412750" y="222250"/>
                  </a:lnTo>
                  <a:lnTo>
                    <a:pt x="404812" y="222250"/>
                  </a:lnTo>
                  <a:lnTo>
                    <a:pt x="404812" y="219604"/>
                  </a:lnTo>
                  <a:lnTo>
                    <a:pt x="407458" y="216959"/>
                  </a:lnTo>
                  <a:lnTo>
                    <a:pt x="415396" y="209021"/>
                  </a:lnTo>
                  <a:lnTo>
                    <a:pt x="431271" y="198438"/>
                  </a:lnTo>
                  <a:lnTo>
                    <a:pt x="447146" y="190500"/>
                  </a:lnTo>
                  <a:lnTo>
                    <a:pt x="457729" y="187854"/>
                  </a:lnTo>
                  <a:lnTo>
                    <a:pt x="465666" y="187854"/>
                  </a:lnTo>
                  <a:lnTo>
                    <a:pt x="457729" y="185209"/>
                  </a:lnTo>
                  <a:lnTo>
                    <a:pt x="457729" y="179917"/>
                  </a:lnTo>
                  <a:lnTo>
                    <a:pt x="460375" y="174625"/>
                  </a:lnTo>
                  <a:lnTo>
                    <a:pt x="468312" y="166688"/>
                  </a:lnTo>
                  <a:lnTo>
                    <a:pt x="444500" y="182563"/>
                  </a:lnTo>
                  <a:lnTo>
                    <a:pt x="428625" y="190500"/>
                  </a:lnTo>
                  <a:lnTo>
                    <a:pt x="418041" y="193146"/>
                  </a:lnTo>
                  <a:lnTo>
                    <a:pt x="402166" y="193146"/>
                  </a:lnTo>
                  <a:lnTo>
                    <a:pt x="399521" y="193146"/>
                  </a:lnTo>
                  <a:lnTo>
                    <a:pt x="412750" y="195792"/>
                  </a:lnTo>
                  <a:lnTo>
                    <a:pt x="418041" y="198438"/>
                  </a:lnTo>
                  <a:lnTo>
                    <a:pt x="415396" y="201084"/>
                  </a:lnTo>
                  <a:lnTo>
                    <a:pt x="407458" y="203729"/>
                  </a:lnTo>
                  <a:lnTo>
                    <a:pt x="386292" y="206375"/>
                  </a:lnTo>
                  <a:lnTo>
                    <a:pt x="381000" y="209021"/>
                  </a:lnTo>
                  <a:lnTo>
                    <a:pt x="383646" y="209021"/>
                  </a:lnTo>
                  <a:lnTo>
                    <a:pt x="391583" y="214313"/>
                  </a:lnTo>
                  <a:lnTo>
                    <a:pt x="396875" y="216959"/>
                  </a:lnTo>
                  <a:lnTo>
                    <a:pt x="396875" y="219604"/>
                  </a:lnTo>
                  <a:lnTo>
                    <a:pt x="388937" y="222250"/>
                  </a:lnTo>
                  <a:lnTo>
                    <a:pt x="373062" y="224896"/>
                  </a:lnTo>
                  <a:lnTo>
                    <a:pt x="349250" y="227542"/>
                  </a:lnTo>
                  <a:lnTo>
                    <a:pt x="336021" y="230188"/>
                  </a:lnTo>
                  <a:lnTo>
                    <a:pt x="325437" y="230188"/>
                  </a:lnTo>
                  <a:lnTo>
                    <a:pt x="320146" y="232834"/>
                  </a:lnTo>
                  <a:lnTo>
                    <a:pt x="317500" y="235479"/>
                  </a:lnTo>
                  <a:lnTo>
                    <a:pt x="320146" y="235479"/>
                  </a:lnTo>
                  <a:lnTo>
                    <a:pt x="336021" y="235479"/>
                  </a:lnTo>
                  <a:lnTo>
                    <a:pt x="346604" y="238125"/>
                  </a:lnTo>
                  <a:lnTo>
                    <a:pt x="349250" y="240771"/>
                  </a:lnTo>
                  <a:lnTo>
                    <a:pt x="343958" y="246063"/>
                  </a:lnTo>
                  <a:lnTo>
                    <a:pt x="338667" y="248709"/>
                  </a:lnTo>
                  <a:lnTo>
                    <a:pt x="336021" y="248709"/>
                  </a:lnTo>
                  <a:lnTo>
                    <a:pt x="328083" y="248709"/>
                  </a:lnTo>
                  <a:lnTo>
                    <a:pt x="322792" y="248709"/>
                  </a:lnTo>
                  <a:lnTo>
                    <a:pt x="320146" y="248709"/>
                  </a:lnTo>
                  <a:lnTo>
                    <a:pt x="322792" y="251354"/>
                  </a:lnTo>
                  <a:lnTo>
                    <a:pt x="320146" y="254000"/>
                  </a:lnTo>
                  <a:lnTo>
                    <a:pt x="320146" y="256646"/>
                  </a:lnTo>
                  <a:lnTo>
                    <a:pt x="312208" y="256646"/>
                  </a:lnTo>
                  <a:lnTo>
                    <a:pt x="304271" y="256646"/>
                  </a:lnTo>
                  <a:lnTo>
                    <a:pt x="301625" y="256646"/>
                  </a:lnTo>
                  <a:lnTo>
                    <a:pt x="301625" y="259292"/>
                  </a:lnTo>
                  <a:lnTo>
                    <a:pt x="298979" y="261938"/>
                  </a:lnTo>
                  <a:lnTo>
                    <a:pt x="288396" y="264584"/>
                  </a:lnTo>
                  <a:lnTo>
                    <a:pt x="277812" y="267229"/>
                  </a:lnTo>
                  <a:lnTo>
                    <a:pt x="272521" y="272521"/>
                  </a:lnTo>
                  <a:lnTo>
                    <a:pt x="269875" y="275167"/>
                  </a:lnTo>
                  <a:lnTo>
                    <a:pt x="267229" y="275167"/>
                  </a:lnTo>
                  <a:lnTo>
                    <a:pt x="256646" y="277813"/>
                  </a:lnTo>
                  <a:lnTo>
                    <a:pt x="246062" y="277813"/>
                  </a:lnTo>
                  <a:lnTo>
                    <a:pt x="243417" y="280459"/>
                  </a:lnTo>
                  <a:lnTo>
                    <a:pt x="238125" y="283104"/>
                  </a:lnTo>
                  <a:lnTo>
                    <a:pt x="238125" y="285750"/>
                  </a:lnTo>
                  <a:lnTo>
                    <a:pt x="235479" y="285750"/>
                  </a:lnTo>
                  <a:lnTo>
                    <a:pt x="230187" y="285750"/>
                  </a:lnTo>
                  <a:lnTo>
                    <a:pt x="224896" y="285750"/>
                  </a:lnTo>
                  <a:lnTo>
                    <a:pt x="222250" y="288396"/>
                  </a:lnTo>
                  <a:lnTo>
                    <a:pt x="222250" y="293688"/>
                  </a:lnTo>
                  <a:lnTo>
                    <a:pt x="216958" y="296334"/>
                  </a:lnTo>
                  <a:lnTo>
                    <a:pt x="206375" y="296334"/>
                  </a:lnTo>
                  <a:lnTo>
                    <a:pt x="195792" y="296334"/>
                  </a:lnTo>
                  <a:lnTo>
                    <a:pt x="190500" y="298980"/>
                  </a:lnTo>
                  <a:lnTo>
                    <a:pt x="187854" y="301625"/>
                  </a:lnTo>
                  <a:lnTo>
                    <a:pt x="185208" y="304271"/>
                  </a:lnTo>
                  <a:lnTo>
                    <a:pt x="179917" y="306917"/>
                  </a:lnTo>
                  <a:lnTo>
                    <a:pt x="171979" y="306917"/>
                  </a:lnTo>
                  <a:lnTo>
                    <a:pt x="161396" y="306917"/>
                  </a:lnTo>
                  <a:lnTo>
                    <a:pt x="156104" y="306917"/>
                  </a:lnTo>
                  <a:lnTo>
                    <a:pt x="148167" y="309563"/>
                  </a:lnTo>
                  <a:lnTo>
                    <a:pt x="137583" y="314855"/>
                  </a:lnTo>
                  <a:lnTo>
                    <a:pt x="132292" y="317500"/>
                  </a:lnTo>
                  <a:lnTo>
                    <a:pt x="116417" y="320146"/>
                  </a:lnTo>
                  <a:lnTo>
                    <a:pt x="103187" y="322792"/>
                  </a:lnTo>
                  <a:lnTo>
                    <a:pt x="97896" y="322792"/>
                  </a:lnTo>
                  <a:lnTo>
                    <a:pt x="89958" y="322792"/>
                  </a:lnTo>
                  <a:lnTo>
                    <a:pt x="79375" y="325438"/>
                  </a:lnTo>
                  <a:lnTo>
                    <a:pt x="55562" y="333375"/>
                  </a:lnTo>
                  <a:lnTo>
                    <a:pt x="29104" y="336021"/>
                  </a:lnTo>
                  <a:lnTo>
                    <a:pt x="5292" y="341313"/>
                  </a:lnTo>
                  <a:lnTo>
                    <a:pt x="0" y="338667"/>
                  </a:lnTo>
                  <a:lnTo>
                    <a:pt x="2646" y="333375"/>
                  </a:lnTo>
                  <a:lnTo>
                    <a:pt x="7937" y="330730"/>
                  </a:lnTo>
                  <a:lnTo>
                    <a:pt x="18521" y="325438"/>
                  </a:lnTo>
                  <a:lnTo>
                    <a:pt x="42333" y="320146"/>
                  </a:lnTo>
                  <a:lnTo>
                    <a:pt x="63500" y="317500"/>
                  </a:lnTo>
                  <a:lnTo>
                    <a:pt x="71437" y="314855"/>
                  </a:lnTo>
                  <a:lnTo>
                    <a:pt x="71437" y="312209"/>
                  </a:lnTo>
                  <a:lnTo>
                    <a:pt x="79375" y="320146"/>
                  </a:lnTo>
                  <a:lnTo>
                    <a:pt x="84667" y="320146"/>
                  </a:lnTo>
                  <a:lnTo>
                    <a:pt x="87312" y="314855"/>
                  </a:lnTo>
                  <a:lnTo>
                    <a:pt x="87312" y="312209"/>
                  </a:lnTo>
                  <a:lnTo>
                    <a:pt x="95250" y="309563"/>
                  </a:lnTo>
                  <a:lnTo>
                    <a:pt x="129646" y="301625"/>
                  </a:lnTo>
                  <a:lnTo>
                    <a:pt x="148167" y="296334"/>
                  </a:lnTo>
                  <a:lnTo>
                    <a:pt x="156104" y="291042"/>
                  </a:lnTo>
                  <a:lnTo>
                    <a:pt x="161396" y="285750"/>
                  </a:lnTo>
                  <a:lnTo>
                    <a:pt x="177271" y="280459"/>
                  </a:lnTo>
                  <a:lnTo>
                    <a:pt x="201083" y="275167"/>
                  </a:lnTo>
                  <a:lnTo>
                    <a:pt x="216958" y="267229"/>
                  </a:lnTo>
                  <a:lnTo>
                    <a:pt x="243417" y="256646"/>
                  </a:lnTo>
                  <a:lnTo>
                    <a:pt x="248708" y="251354"/>
                  </a:lnTo>
                  <a:lnTo>
                    <a:pt x="254000" y="246063"/>
                  </a:lnTo>
                  <a:lnTo>
                    <a:pt x="240771" y="254000"/>
                  </a:lnTo>
                  <a:lnTo>
                    <a:pt x="232833" y="256646"/>
                  </a:lnTo>
                  <a:lnTo>
                    <a:pt x="224896" y="256646"/>
                  </a:lnTo>
                  <a:lnTo>
                    <a:pt x="222250" y="254000"/>
                  </a:lnTo>
                  <a:lnTo>
                    <a:pt x="216958" y="251354"/>
                  </a:lnTo>
                  <a:lnTo>
                    <a:pt x="214312" y="251354"/>
                  </a:lnTo>
                  <a:lnTo>
                    <a:pt x="214312" y="254000"/>
                  </a:lnTo>
                  <a:lnTo>
                    <a:pt x="211667" y="259292"/>
                  </a:lnTo>
                  <a:lnTo>
                    <a:pt x="209021" y="259292"/>
                  </a:lnTo>
                  <a:lnTo>
                    <a:pt x="203729" y="256646"/>
                  </a:lnTo>
                  <a:lnTo>
                    <a:pt x="195792" y="254000"/>
                  </a:lnTo>
                  <a:lnTo>
                    <a:pt x="193146" y="251354"/>
                  </a:lnTo>
                  <a:lnTo>
                    <a:pt x="190500" y="251354"/>
                  </a:lnTo>
                  <a:lnTo>
                    <a:pt x="187854" y="251354"/>
                  </a:lnTo>
                  <a:lnTo>
                    <a:pt x="185208" y="248709"/>
                  </a:lnTo>
                  <a:lnTo>
                    <a:pt x="179917" y="246063"/>
                  </a:lnTo>
                  <a:lnTo>
                    <a:pt x="166687" y="248709"/>
                  </a:lnTo>
                  <a:lnTo>
                    <a:pt x="153458" y="254000"/>
                  </a:lnTo>
                  <a:lnTo>
                    <a:pt x="153458" y="251354"/>
                  </a:lnTo>
                  <a:lnTo>
                    <a:pt x="156104" y="246063"/>
                  </a:lnTo>
                  <a:lnTo>
                    <a:pt x="164042" y="240771"/>
                  </a:lnTo>
                  <a:lnTo>
                    <a:pt x="177271" y="235479"/>
                  </a:lnTo>
                  <a:lnTo>
                    <a:pt x="182562" y="232834"/>
                  </a:lnTo>
                  <a:lnTo>
                    <a:pt x="179917" y="227542"/>
                  </a:lnTo>
                  <a:lnTo>
                    <a:pt x="177271" y="227542"/>
                  </a:lnTo>
                  <a:lnTo>
                    <a:pt x="179917" y="224896"/>
                  </a:lnTo>
                  <a:lnTo>
                    <a:pt x="185208" y="219604"/>
                  </a:lnTo>
                  <a:lnTo>
                    <a:pt x="209021" y="211667"/>
                  </a:lnTo>
                  <a:lnTo>
                    <a:pt x="198437" y="211667"/>
                  </a:lnTo>
                  <a:lnTo>
                    <a:pt x="187854" y="211667"/>
                  </a:lnTo>
                  <a:lnTo>
                    <a:pt x="177271" y="216959"/>
                  </a:lnTo>
                  <a:lnTo>
                    <a:pt x="171979" y="222250"/>
                  </a:lnTo>
                  <a:lnTo>
                    <a:pt x="166687" y="224896"/>
                  </a:lnTo>
                  <a:lnTo>
                    <a:pt x="156104" y="227542"/>
                  </a:lnTo>
                  <a:lnTo>
                    <a:pt x="145521" y="224896"/>
                  </a:lnTo>
                  <a:lnTo>
                    <a:pt x="142875" y="222250"/>
                  </a:lnTo>
                  <a:lnTo>
                    <a:pt x="140229" y="216959"/>
                  </a:lnTo>
                  <a:lnTo>
                    <a:pt x="137583" y="214313"/>
                  </a:lnTo>
                  <a:lnTo>
                    <a:pt x="134937" y="214313"/>
                  </a:lnTo>
                  <a:lnTo>
                    <a:pt x="142875" y="209021"/>
                  </a:lnTo>
                  <a:lnTo>
                    <a:pt x="150812" y="206375"/>
                  </a:lnTo>
                  <a:lnTo>
                    <a:pt x="153458" y="206375"/>
                  </a:lnTo>
                  <a:lnTo>
                    <a:pt x="156104" y="209021"/>
                  </a:lnTo>
                  <a:lnTo>
                    <a:pt x="156104" y="206375"/>
                  </a:lnTo>
                  <a:lnTo>
                    <a:pt x="156104" y="203729"/>
                  </a:lnTo>
                  <a:lnTo>
                    <a:pt x="150812" y="203729"/>
                  </a:lnTo>
                  <a:lnTo>
                    <a:pt x="142875" y="206375"/>
                  </a:lnTo>
                  <a:lnTo>
                    <a:pt x="132292" y="211667"/>
                  </a:lnTo>
                  <a:lnTo>
                    <a:pt x="129646" y="211667"/>
                  </a:lnTo>
                  <a:lnTo>
                    <a:pt x="129646" y="206375"/>
                  </a:lnTo>
                  <a:lnTo>
                    <a:pt x="129646" y="203729"/>
                  </a:lnTo>
                  <a:lnTo>
                    <a:pt x="132292" y="198438"/>
                  </a:lnTo>
                  <a:lnTo>
                    <a:pt x="137583" y="195792"/>
                  </a:lnTo>
                  <a:lnTo>
                    <a:pt x="148167" y="193146"/>
                  </a:lnTo>
                  <a:lnTo>
                    <a:pt x="156104" y="193146"/>
                  </a:lnTo>
                  <a:lnTo>
                    <a:pt x="156104" y="190500"/>
                  </a:lnTo>
                  <a:lnTo>
                    <a:pt x="140229" y="190500"/>
                  </a:lnTo>
                  <a:lnTo>
                    <a:pt x="134937" y="190500"/>
                  </a:lnTo>
                  <a:lnTo>
                    <a:pt x="137583" y="187854"/>
                  </a:lnTo>
                  <a:lnTo>
                    <a:pt x="137583" y="185209"/>
                  </a:lnTo>
                  <a:lnTo>
                    <a:pt x="134937" y="185209"/>
                  </a:lnTo>
                  <a:lnTo>
                    <a:pt x="134937" y="182563"/>
                  </a:lnTo>
                  <a:lnTo>
                    <a:pt x="134937" y="179917"/>
                  </a:lnTo>
                  <a:lnTo>
                    <a:pt x="140229" y="177271"/>
                  </a:lnTo>
                  <a:lnTo>
                    <a:pt x="145521" y="174625"/>
                  </a:lnTo>
                  <a:lnTo>
                    <a:pt x="148167" y="174625"/>
                  </a:lnTo>
                  <a:lnTo>
                    <a:pt x="150812" y="174625"/>
                  </a:lnTo>
                  <a:lnTo>
                    <a:pt x="153458" y="177271"/>
                  </a:lnTo>
                  <a:lnTo>
                    <a:pt x="156104" y="177271"/>
                  </a:lnTo>
                  <a:lnTo>
                    <a:pt x="161396" y="174625"/>
                  </a:lnTo>
                  <a:lnTo>
                    <a:pt x="171979" y="169334"/>
                  </a:lnTo>
                  <a:lnTo>
                    <a:pt x="187854" y="164042"/>
                  </a:lnTo>
                  <a:lnTo>
                    <a:pt x="193146" y="161396"/>
                  </a:lnTo>
                  <a:lnTo>
                    <a:pt x="190500" y="161396"/>
                  </a:lnTo>
                  <a:lnTo>
                    <a:pt x="187854" y="158750"/>
                  </a:lnTo>
                  <a:lnTo>
                    <a:pt x="198437" y="156104"/>
                  </a:lnTo>
                  <a:lnTo>
                    <a:pt x="211667" y="156104"/>
                  </a:lnTo>
                  <a:lnTo>
                    <a:pt x="216958" y="158750"/>
                  </a:lnTo>
                  <a:lnTo>
                    <a:pt x="219604" y="161396"/>
                  </a:lnTo>
                  <a:lnTo>
                    <a:pt x="224896" y="161396"/>
                  </a:lnTo>
                  <a:lnTo>
                    <a:pt x="232833" y="158750"/>
                  </a:lnTo>
                  <a:lnTo>
                    <a:pt x="246062" y="161396"/>
                  </a:lnTo>
                  <a:lnTo>
                    <a:pt x="254000" y="161396"/>
                  </a:lnTo>
                  <a:lnTo>
                    <a:pt x="256646" y="161396"/>
                  </a:lnTo>
                  <a:lnTo>
                    <a:pt x="256646" y="158750"/>
                  </a:lnTo>
                  <a:lnTo>
                    <a:pt x="256646" y="156104"/>
                  </a:lnTo>
                  <a:lnTo>
                    <a:pt x="259292" y="156104"/>
                  </a:lnTo>
                  <a:lnTo>
                    <a:pt x="267229" y="153458"/>
                  </a:lnTo>
                  <a:lnTo>
                    <a:pt x="275167" y="153458"/>
                  </a:lnTo>
                  <a:lnTo>
                    <a:pt x="280458" y="156104"/>
                  </a:lnTo>
                  <a:lnTo>
                    <a:pt x="283104" y="158750"/>
                  </a:lnTo>
                  <a:lnTo>
                    <a:pt x="285750" y="158750"/>
                  </a:lnTo>
                  <a:lnTo>
                    <a:pt x="291042" y="156104"/>
                  </a:lnTo>
                  <a:lnTo>
                    <a:pt x="293687" y="156104"/>
                  </a:lnTo>
                  <a:lnTo>
                    <a:pt x="301625" y="156104"/>
                  </a:lnTo>
                  <a:lnTo>
                    <a:pt x="306917" y="153458"/>
                  </a:lnTo>
                  <a:lnTo>
                    <a:pt x="306917" y="150813"/>
                  </a:lnTo>
                  <a:lnTo>
                    <a:pt x="309562" y="145521"/>
                  </a:lnTo>
                  <a:lnTo>
                    <a:pt x="309562" y="140229"/>
                  </a:lnTo>
                  <a:lnTo>
                    <a:pt x="312208" y="137583"/>
                  </a:lnTo>
                  <a:lnTo>
                    <a:pt x="314854" y="137583"/>
                  </a:lnTo>
                  <a:lnTo>
                    <a:pt x="322792" y="140229"/>
                  </a:lnTo>
                  <a:lnTo>
                    <a:pt x="330729" y="142875"/>
                  </a:lnTo>
                  <a:lnTo>
                    <a:pt x="338667" y="142875"/>
                  </a:lnTo>
                  <a:lnTo>
                    <a:pt x="351896" y="137583"/>
                  </a:lnTo>
                  <a:lnTo>
                    <a:pt x="362479" y="132292"/>
                  </a:lnTo>
                  <a:lnTo>
                    <a:pt x="367771" y="127000"/>
                  </a:lnTo>
                  <a:lnTo>
                    <a:pt x="367771" y="124354"/>
                  </a:lnTo>
                  <a:lnTo>
                    <a:pt x="365125" y="124354"/>
                  </a:lnTo>
                  <a:lnTo>
                    <a:pt x="354542" y="121708"/>
                  </a:lnTo>
                  <a:lnTo>
                    <a:pt x="341312" y="121708"/>
                  </a:lnTo>
                  <a:lnTo>
                    <a:pt x="336021" y="124354"/>
                  </a:lnTo>
                  <a:lnTo>
                    <a:pt x="333375" y="127000"/>
                  </a:lnTo>
                  <a:lnTo>
                    <a:pt x="330729" y="129646"/>
                  </a:lnTo>
                  <a:lnTo>
                    <a:pt x="328083" y="129646"/>
                  </a:lnTo>
                  <a:lnTo>
                    <a:pt x="320146" y="127000"/>
                  </a:lnTo>
                  <a:lnTo>
                    <a:pt x="306917" y="124354"/>
                  </a:lnTo>
                  <a:lnTo>
                    <a:pt x="288396" y="127000"/>
                  </a:lnTo>
                  <a:lnTo>
                    <a:pt x="277812" y="124354"/>
                  </a:lnTo>
                  <a:lnTo>
                    <a:pt x="269875" y="121708"/>
                  </a:lnTo>
                  <a:lnTo>
                    <a:pt x="267229" y="119063"/>
                  </a:lnTo>
                  <a:lnTo>
                    <a:pt x="261937" y="113771"/>
                  </a:lnTo>
                  <a:lnTo>
                    <a:pt x="256646" y="113771"/>
                  </a:lnTo>
                  <a:lnTo>
                    <a:pt x="256646" y="111125"/>
                  </a:lnTo>
                  <a:lnTo>
                    <a:pt x="267229" y="111125"/>
                  </a:lnTo>
                  <a:lnTo>
                    <a:pt x="272521" y="111125"/>
                  </a:lnTo>
                  <a:lnTo>
                    <a:pt x="254000" y="105833"/>
                  </a:lnTo>
                  <a:lnTo>
                    <a:pt x="243417" y="100542"/>
                  </a:lnTo>
                  <a:lnTo>
                    <a:pt x="240771" y="97896"/>
                  </a:lnTo>
                  <a:lnTo>
                    <a:pt x="240771" y="95250"/>
                  </a:lnTo>
                  <a:lnTo>
                    <a:pt x="243417" y="92604"/>
                  </a:lnTo>
                  <a:lnTo>
                    <a:pt x="254000" y="92604"/>
                  </a:lnTo>
                  <a:lnTo>
                    <a:pt x="264583" y="95250"/>
                  </a:lnTo>
                  <a:lnTo>
                    <a:pt x="272521" y="92604"/>
                  </a:lnTo>
                  <a:lnTo>
                    <a:pt x="283104" y="92604"/>
                  </a:lnTo>
                  <a:lnTo>
                    <a:pt x="301625" y="92604"/>
                  </a:lnTo>
                  <a:lnTo>
                    <a:pt x="314854" y="92604"/>
                  </a:lnTo>
                  <a:lnTo>
                    <a:pt x="317500" y="89958"/>
                  </a:lnTo>
                  <a:lnTo>
                    <a:pt x="314854" y="89958"/>
                  </a:lnTo>
                  <a:lnTo>
                    <a:pt x="312208" y="87313"/>
                  </a:lnTo>
                  <a:lnTo>
                    <a:pt x="312208" y="84667"/>
                  </a:lnTo>
                  <a:lnTo>
                    <a:pt x="317500" y="84667"/>
                  </a:lnTo>
                  <a:lnTo>
                    <a:pt x="349250" y="82021"/>
                  </a:lnTo>
                  <a:lnTo>
                    <a:pt x="367771" y="82021"/>
                  </a:lnTo>
                  <a:lnTo>
                    <a:pt x="386292" y="76729"/>
                  </a:lnTo>
                  <a:lnTo>
                    <a:pt x="399521" y="76729"/>
                  </a:lnTo>
                  <a:lnTo>
                    <a:pt x="410104" y="76729"/>
                  </a:lnTo>
                  <a:lnTo>
                    <a:pt x="410104" y="79375"/>
                  </a:lnTo>
                  <a:lnTo>
                    <a:pt x="410104" y="82021"/>
                  </a:lnTo>
                  <a:lnTo>
                    <a:pt x="402166" y="89958"/>
                  </a:lnTo>
                  <a:lnTo>
                    <a:pt x="410104" y="89958"/>
                  </a:lnTo>
                  <a:lnTo>
                    <a:pt x="415396" y="92604"/>
                  </a:lnTo>
                  <a:lnTo>
                    <a:pt x="420687" y="95250"/>
                  </a:lnTo>
                  <a:lnTo>
                    <a:pt x="428625" y="95250"/>
                  </a:lnTo>
                  <a:lnTo>
                    <a:pt x="436562" y="92604"/>
                  </a:lnTo>
                  <a:lnTo>
                    <a:pt x="436562" y="87313"/>
                  </a:lnTo>
                  <a:lnTo>
                    <a:pt x="433916" y="84667"/>
                  </a:lnTo>
                  <a:lnTo>
                    <a:pt x="436562" y="84667"/>
                  </a:lnTo>
                  <a:lnTo>
                    <a:pt x="441854" y="84667"/>
                  </a:lnTo>
                  <a:lnTo>
                    <a:pt x="447146" y="87313"/>
                  </a:lnTo>
                  <a:lnTo>
                    <a:pt x="455083" y="89958"/>
                  </a:lnTo>
                  <a:lnTo>
                    <a:pt x="468312" y="89958"/>
                  </a:lnTo>
                  <a:lnTo>
                    <a:pt x="455083" y="87313"/>
                  </a:lnTo>
                  <a:lnTo>
                    <a:pt x="452437" y="84667"/>
                  </a:lnTo>
                  <a:lnTo>
                    <a:pt x="457729" y="82021"/>
                  </a:lnTo>
                  <a:lnTo>
                    <a:pt x="468312" y="76729"/>
                  </a:lnTo>
                  <a:lnTo>
                    <a:pt x="457729" y="79375"/>
                  </a:lnTo>
                  <a:lnTo>
                    <a:pt x="447146" y="76729"/>
                  </a:lnTo>
                  <a:lnTo>
                    <a:pt x="439208" y="71438"/>
                  </a:lnTo>
                  <a:lnTo>
                    <a:pt x="433916" y="71438"/>
                  </a:lnTo>
                  <a:lnTo>
                    <a:pt x="431271" y="71438"/>
                  </a:lnTo>
                  <a:lnTo>
                    <a:pt x="431271" y="74083"/>
                  </a:lnTo>
                  <a:lnTo>
                    <a:pt x="431271" y="79375"/>
                  </a:lnTo>
                  <a:lnTo>
                    <a:pt x="425979" y="76729"/>
                  </a:lnTo>
                  <a:lnTo>
                    <a:pt x="415396" y="71438"/>
                  </a:lnTo>
                  <a:lnTo>
                    <a:pt x="407458" y="68792"/>
                  </a:lnTo>
                  <a:lnTo>
                    <a:pt x="399521" y="66146"/>
                  </a:lnTo>
                  <a:lnTo>
                    <a:pt x="394229" y="60854"/>
                  </a:lnTo>
                  <a:lnTo>
                    <a:pt x="388937" y="55563"/>
                  </a:lnTo>
                  <a:lnTo>
                    <a:pt x="383646" y="55563"/>
                  </a:lnTo>
                  <a:lnTo>
                    <a:pt x="373062" y="55563"/>
                  </a:lnTo>
                  <a:lnTo>
                    <a:pt x="365125" y="55563"/>
                  </a:lnTo>
                  <a:lnTo>
                    <a:pt x="362479" y="52917"/>
                  </a:lnTo>
                  <a:lnTo>
                    <a:pt x="365125" y="47625"/>
                  </a:lnTo>
                  <a:lnTo>
                    <a:pt x="367771" y="47625"/>
                  </a:lnTo>
                  <a:lnTo>
                    <a:pt x="373062" y="47625"/>
                  </a:lnTo>
                  <a:lnTo>
                    <a:pt x="386292" y="39687"/>
                  </a:lnTo>
                  <a:lnTo>
                    <a:pt x="394229" y="37042"/>
                  </a:lnTo>
                  <a:lnTo>
                    <a:pt x="399521" y="34396"/>
                  </a:lnTo>
                  <a:lnTo>
                    <a:pt x="407458" y="37042"/>
                  </a:lnTo>
                  <a:lnTo>
                    <a:pt x="415396" y="39687"/>
                  </a:lnTo>
                  <a:lnTo>
                    <a:pt x="418041" y="42333"/>
                  </a:lnTo>
                  <a:lnTo>
                    <a:pt x="423333" y="42333"/>
                  </a:lnTo>
                  <a:lnTo>
                    <a:pt x="428625" y="42333"/>
                  </a:lnTo>
                  <a:lnTo>
                    <a:pt x="436562" y="42333"/>
                  </a:lnTo>
                  <a:lnTo>
                    <a:pt x="447146" y="42333"/>
                  </a:lnTo>
                  <a:lnTo>
                    <a:pt x="473604" y="34396"/>
                  </a:lnTo>
                  <a:lnTo>
                    <a:pt x="486833" y="31750"/>
                  </a:lnTo>
                  <a:lnTo>
                    <a:pt x="492125" y="26458"/>
                  </a:lnTo>
                  <a:lnTo>
                    <a:pt x="500062" y="23812"/>
                  </a:lnTo>
                  <a:lnTo>
                    <a:pt x="518583" y="18521"/>
                  </a:lnTo>
                  <a:lnTo>
                    <a:pt x="534458" y="15875"/>
                  </a:lnTo>
                  <a:lnTo>
                    <a:pt x="542396" y="15875"/>
                  </a:lnTo>
                  <a:lnTo>
                    <a:pt x="550333" y="15875"/>
                  </a:lnTo>
                  <a:lnTo>
                    <a:pt x="566208" y="10583"/>
                  </a:lnTo>
                  <a:lnTo>
                    <a:pt x="576791" y="7937"/>
                  </a:lnTo>
                  <a:lnTo>
                    <a:pt x="582083" y="7937"/>
                  </a:lnTo>
                  <a:lnTo>
                    <a:pt x="582083" y="10583"/>
                  </a:lnTo>
                  <a:lnTo>
                    <a:pt x="579437" y="13229"/>
                  </a:lnTo>
                  <a:lnTo>
                    <a:pt x="579437" y="15875"/>
                  </a:lnTo>
                  <a:lnTo>
                    <a:pt x="582083" y="18521"/>
                  </a:lnTo>
                  <a:lnTo>
                    <a:pt x="587375" y="21167"/>
                  </a:lnTo>
                  <a:lnTo>
                    <a:pt x="590021" y="18521"/>
                  </a:lnTo>
                  <a:lnTo>
                    <a:pt x="590021" y="15875"/>
                  </a:lnTo>
                  <a:lnTo>
                    <a:pt x="590021" y="13229"/>
                  </a:lnTo>
                  <a:lnTo>
                    <a:pt x="584729" y="10583"/>
                  </a:lnTo>
                  <a:lnTo>
                    <a:pt x="587375" y="7937"/>
                  </a:lnTo>
                  <a:lnTo>
                    <a:pt x="603250" y="7937"/>
                  </a:lnTo>
                  <a:lnTo>
                    <a:pt x="613833" y="5292"/>
                  </a:lnTo>
                  <a:lnTo>
                    <a:pt x="611187" y="7937"/>
                  </a:lnTo>
                  <a:lnTo>
                    <a:pt x="605896" y="10583"/>
                  </a:lnTo>
                  <a:lnTo>
                    <a:pt x="605896" y="13229"/>
                  </a:lnTo>
                  <a:lnTo>
                    <a:pt x="611187" y="13229"/>
                  </a:lnTo>
                  <a:lnTo>
                    <a:pt x="619125" y="10583"/>
                  </a:lnTo>
                  <a:lnTo>
                    <a:pt x="642937" y="5292"/>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2" name="Vietnam"/>
            <p:cNvSpPr>
              <a:spLocks/>
            </p:cNvSpPr>
            <p:nvPr/>
          </p:nvSpPr>
          <p:spPr bwMode="auto">
            <a:xfrm>
              <a:off x="6901622" y="2840302"/>
              <a:ext cx="280458" cy="481542"/>
            </a:xfrm>
            <a:custGeom>
              <a:avLst/>
              <a:gdLst/>
              <a:ahLst/>
              <a:cxnLst>
                <a:cxn ang="0">
                  <a:pos x="118" y="330"/>
                </a:cxn>
                <a:cxn ang="0">
                  <a:pos x="118" y="356"/>
                </a:cxn>
                <a:cxn ang="0">
                  <a:pos x="118" y="364"/>
                </a:cxn>
                <a:cxn ang="0">
                  <a:pos x="130" y="362"/>
                </a:cxn>
                <a:cxn ang="0">
                  <a:pos x="136" y="354"/>
                </a:cxn>
                <a:cxn ang="0">
                  <a:pos x="146" y="350"/>
                </a:cxn>
                <a:cxn ang="0">
                  <a:pos x="152" y="344"/>
                </a:cxn>
                <a:cxn ang="0">
                  <a:pos x="148" y="332"/>
                </a:cxn>
                <a:cxn ang="0">
                  <a:pos x="158" y="344"/>
                </a:cxn>
                <a:cxn ang="0">
                  <a:pos x="162" y="330"/>
                </a:cxn>
                <a:cxn ang="0">
                  <a:pos x="162" y="326"/>
                </a:cxn>
                <a:cxn ang="0">
                  <a:pos x="182" y="312"/>
                </a:cxn>
                <a:cxn ang="0">
                  <a:pos x="198" y="300"/>
                </a:cxn>
                <a:cxn ang="0">
                  <a:pos x="206" y="290"/>
                </a:cxn>
                <a:cxn ang="0">
                  <a:pos x="210" y="280"/>
                </a:cxn>
                <a:cxn ang="0">
                  <a:pos x="208" y="274"/>
                </a:cxn>
                <a:cxn ang="0">
                  <a:pos x="208" y="260"/>
                </a:cxn>
                <a:cxn ang="0">
                  <a:pos x="208" y="254"/>
                </a:cxn>
                <a:cxn ang="0">
                  <a:pos x="206" y="242"/>
                </a:cxn>
                <a:cxn ang="0">
                  <a:pos x="202" y="230"/>
                </a:cxn>
                <a:cxn ang="0">
                  <a:pos x="188" y="198"/>
                </a:cxn>
                <a:cxn ang="0">
                  <a:pos x="184" y="190"/>
                </a:cxn>
                <a:cxn ang="0">
                  <a:pos x="168" y="178"/>
                </a:cxn>
                <a:cxn ang="0">
                  <a:pos x="136" y="148"/>
                </a:cxn>
                <a:cxn ang="0">
                  <a:pos x="118" y="124"/>
                </a:cxn>
                <a:cxn ang="0">
                  <a:pos x="104" y="108"/>
                </a:cxn>
                <a:cxn ang="0">
                  <a:pos x="106" y="78"/>
                </a:cxn>
                <a:cxn ang="0">
                  <a:pos x="116" y="62"/>
                </a:cxn>
                <a:cxn ang="0">
                  <a:pos x="124" y="56"/>
                </a:cxn>
                <a:cxn ang="0">
                  <a:pos x="132" y="44"/>
                </a:cxn>
                <a:cxn ang="0">
                  <a:pos x="120" y="38"/>
                </a:cxn>
                <a:cxn ang="0">
                  <a:pos x="108" y="36"/>
                </a:cxn>
                <a:cxn ang="0">
                  <a:pos x="106" y="22"/>
                </a:cxn>
                <a:cxn ang="0">
                  <a:pos x="100" y="12"/>
                </a:cxn>
                <a:cxn ang="0">
                  <a:pos x="84" y="4"/>
                </a:cxn>
                <a:cxn ang="0">
                  <a:pos x="68" y="4"/>
                </a:cxn>
                <a:cxn ang="0">
                  <a:pos x="62" y="16"/>
                </a:cxn>
                <a:cxn ang="0">
                  <a:pos x="46" y="18"/>
                </a:cxn>
                <a:cxn ang="0">
                  <a:pos x="32" y="18"/>
                </a:cxn>
                <a:cxn ang="0">
                  <a:pos x="24" y="12"/>
                </a:cxn>
                <a:cxn ang="0">
                  <a:pos x="24" y="24"/>
                </a:cxn>
                <a:cxn ang="0">
                  <a:pos x="10" y="18"/>
                </a:cxn>
                <a:cxn ang="0">
                  <a:pos x="18" y="40"/>
                </a:cxn>
                <a:cxn ang="0">
                  <a:pos x="26" y="52"/>
                </a:cxn>
                <a:cxn ang="0">
                  <a:pos x="50" y="62"/>
                </a:cxn>
                <a:cxn ang="0">
                  <a:pos x="86" y="74"/>
                </a:cxn>
                <a:cxn ang="0">
                  <a:pos x="80" y="88"/>
                </a:cxn>
                <a:cxn ang="0">
                  <a:pos x="62" y="94"/>
                </a:cxn>
                <a:cxn ang="0">
                  <a:pos x="88" y="108"/>
                </a:cxn>
                <a:cxn ang="0">
                  <a:pos x="98" y="118"/>
                </a:cxn>
                <a:cxn ang="0">
                  <a:pos x="114" y="142"/>
                </a:cxn>
                <a:cxn ang="0">
                  <a:pos x="126" y="162"/>
                </a:cxn>
                <a:cxn ang="0">
                  <a:pos x="152" y="176"/>
                </a:cxn>
                <a:cxn ang="0">
                  <a:pos x="164" y="196"/>
                </a:cxn>
                <a:cxn ang="0">
                  <a:pos x="180" y="232"/>
                </a:cxn>
                <a:cxn ang="0">
                  <a:pos x="172" y="266"/>
                </a:cxn>
                <a:cxn ang="0">
                  <a:pos x="174" y="284"/>
                </a:cxn>
                <a:cxn ang="0">
                  <a:pos x="152" y="292"/>
                </a:cxn>
                <a:cxn ang="0">
                  <a:pos x="134" y="300"/>
                </a:cxn>
                <a:cxn ang="0">
                  <a:pos x="146" y="312"/>
                </a:cxn>
                <a:cxn ang="0">
                  <a:pos x="142" y="316"/>
                </a:cxn>
                <a:cxn ang="0">
                  <a:pos x="130" y="312"/>
                </a:cxn>
                <a:cxn ang="0">
                  <a:pos x="108" y="324"/>
                </a:cxn>
              </a:cxnLst>
              <a:rect l="0" t="0" r="r" b="b"/>
              <a:pathLst>
                <a:path w="212" h="364">
                  <a:moveTo>
                    <a:pt x="108" y="324"/>
                  </a:moveTo>
                  <a:lnTo>
                    <a:pt x="108" y="324"/>
                  </a:lnTo>
                  <a:lnTo>
                    <a:pt x="114" y="326"/>
                  </a:lnTo>
                  <a:lnTo>
                    <a:pt x="116" y="328"/>
                  </a:lnTo>
                  <a:lnTo>
                    <a:pt x="118" y="330"/>
                  </a:lnTo>
                  <a:lnTo>
                    <a:pt x="122" y="330"/>
                  </a:lnTo>
                  <a:lnTo>
                    <a:pt x="122" y="330"/>
                  </a:lnTo>
                  <a:lnTo>
                    <a:pt x="118" y="340"/>
                  </a:lnTo>
                  <a:lnTo>
                    <a:pt x="118" y="346"/>
                  </a:lnTo>
                  <a:lnTo>
                    <a:pt x="118" y="356"/>
                  </a:lnTo>
                  <a:lnTo>
                    <a:pt x="120" y="360"/>
                  </a:lnTo>
                  <a:lnTo>
                    <a:pt x="120" y="362"/>
                  </a:lnTo>
                  <a:lnTo>
                    <a:pt x="120" y="362"/>
                  </a:lnTo>
                  <a:lnTo>
                    <a:pt x="120" y="362"/>
                  </a:lnTo>
                  <a:lnTo>
                    <a:pt x="118" y="364"/>
                  </a:lnTo>
                  <a:lnTo>
                    <a:pt x="124" y="364"/>
                  </a:lnTo>
                  <a:lnTo>
                    <a:pt x="124" y="364"/>
                  </a:lnTo>
                  <a:lnTo>
                    <a:pt x="128" y="364"/>
                  </a:lnTo>
                  <a:lnTo>
                    <a:pt x="128" y="362"/>
                  </a:lnTo>
                  <a:lnTo>
                    <a:pt x="130" y="362"/>
                  </a:lnTo>
                  <a:lnTo>
                    <a:pt x="132" y="360"/>
                  </a:lnTo>
                  <a:lnTo>
                    <a:pt x="132" y="360"/>
                  </a:lnTo>
                  <a:lnTo>
                    <a:pt x="134" y="360"/>
                  </a:lnTo>
                  <a:lnTo>
                    <a:pt x="134" y="356"/>
                  </a:lnTo>
                  <a:lnTo>
                    <a:pt x="136" y="354"/>
                  </a:lnTo>
                  <a:lnTo>
                    <a:pt x="142" y="354"/>
                  </a:lnTo>
                  <a:lnTo>
                    <a:pt x="142" y="354"/>
                  </a:lnTo>
                  <a:lnTo>
                    <a:pt x="146" y="352"/>
                  </a:lnTo>
                  <a:lnTo>
                    <a:pt x="146" y="352"/>
                  </a:lnTo>
                  <a:lnTo>
                    <a:pt x="146" y="350"/>
                  </a:lnTo>
                  <a:lnTo>
                    <a:pt x="148" y="350"/>
                  </a:lnTo>
                  <a:lnTo>
                    <a:pt x="148" y="350"/>
                  </a:lnTo>
                  <a:lnTo>
                    <a:pt x="152" y="350"/>
                  </a:lnTo>
                  <a:lnTo>
                    <a:pt x="152" y="348"/>
                  </a:lnTo>
                  <a:lnTo>
                    <a:pt x="152" y="344"/>
                  </a:lnTo>
                  <a:lnTo>
                    <a:pt x="148" y="340"/>
                  </a:lnTo>
                  <a:lnTo>
                    <a:pt x="148" y="340"/>
                  </a:lnTo>
                  <a:lnTo>
                    <a:pt x="146" y="336"/>
                  </a:lnTo>
                  <a:lnTo>
                    <a:pt x="146" y="334"/>
                  </a:lnTo>
                  <a:lnTo>
                    <a:pt x="148" y="332"/>
                  </a:lnTo>
                  <a:lnTo>
                    <a:pt x="148" y="334"/>
                  </a:lnTo>
                  <a:lnTo>
                    <a:pt x="148" y="334"/>
                  </a:lnTo>
                  <a:lnTo>
                    <a:pt x="152" y="342"/>
                  </a:lnTo>
                  <a:lnTo>
                    <a:pt x="156" y="344"/>
                  </a:lnTo>
                  <a:lnTo>
                    <a:pt x="158" y="344"/>
                  </a:lnTo>
                  <a:lnTo>
                    <a:pt x="158" y="344"/>
                  </a:lnTo>
                  <a:lnTo>
                    <a:pt x="158" y="340"/>
                  </a:lnTo>
                  <a:lnTo>
                    <a:pt x="158" y="338"/>
                  </a:lnTo>
                  <a:lnTo>
                    <a:pt x="160" y="334"/>
                  </a:lnTo>
                  <a:lnTo>
                    <a:pt x="162" y="330"/>
                  </a:lnTo>
                  <a:lnTo>
                    <a:pt x="162" y="330"/>
                  </a:lnTo>
                  <a:lnTo>
                    <a:pt x="162" y="328"/>
                  </a:lnTo>
                  <a:lnTo>
                    <a:pt x="162" y="326"/>
                  </a:lnTo>
                  <a:lnTo>
                    <a:pt x="160" y="326"/>
                  </a:lnTo>
                  <a:lnTo>
                    <a:pt x="162" y="326"/>
                  </a:lnTo>
                  <a:lnTo>
                    <a:pt x="162" y="326"/>
                  </a:lnTo>
                  <a:lnTo>
                    <a:pt x="166" y="324"/>
                  </a:lnTo>
                  <a:lnTo>
                    <a:pt x="174" y="320"/>
                  </a:lnTo>
                  <a:lnTo>
                    <a:pt x="182" y="312"/>
                  </a:lnTo>
                  <a:lnTo>
                    <a:pt x="182" y="312"/>
                  </a:lnTo>
                  <a:lnTo>
                    <a:pt x="186" y="312"/>
                  </a:lnTo>
                  <a:lnTo>
                    <a:pt x="190" y="308"/>
                  </a:lnTo>
                  <a:lnTo>
                    <a:pt x="190" y="308"/>
                  </a:lnTo>
                  <a:lnTo>
                    <a:pt x="196" y="304"/>
                  </a:lnTo>
                  <a:lnTo>
                    <a:pt x="198" y="300"/>
                  </a:lnTo>
                  <a:lnTo>
                    <a:pt x="200" y="296"/>
                  </a:lnTo>
                  <a:lnTo>
                    <a:pt x="200" y="296"/>
                  </a:lnTo>
                  <a:lnTo>
                    <a:pt x="200" y="292"/>
                  </a:lnTo>
                  <a:lnTo>
                    <a:pt x="202" y="290"/>
                  </a:lnTo>
                  <a:lnTo>
                    <a:pt x="206" y="290"/>
                  </a:lnTo>
                  <a:lnTo>
                    <a:pt x="208" y="292"/>
                  </a:lnTo>
                  <a:lnTo>
                    <a:pt x="208" y="288"/>
                  </a:lnTo>
                  <a:lnTo>
                    <a:pt x="208" y="288"/>
                  </a:lnTo>
                  <a:lnTo>
                    <a:pt x="210" y="284"/>
                  </a:lnTo>
                  <a:lnTo>
                    <a:pt x="210" y="280"/>
                  </a:lnTo>
                  <a:lnTo>
                    <a:pt x="212" y="278"/>
                  </a:lnTo>
                  <a:lnTo>
                    <a:pt x="208" y="278"/>
                  </a:lnTo>
                  <a:lnTo>
                    <a:pt x="208" y="278"/>
                  </a:lnTo>
                  <a:lnTo>
                    <a:pt x="204" y="278"/>
                  </a:lnTo>
                  <a:lnTo>
                    <a:pt x="208" y="274"/>
                  </a:lnTo>
                  <a:lnTo>
                    <a:pt x="208" y="274"/>
                  </a:lnTo>
                  <a:lnTo>
                    <a:pt x="208" y="270"/>
                  </a:lnTo>
                  <a:lnTo>
                    <a:pt x="208" y="264"/>
                  </a:lnTo>
                  <a:lnTo>
                    <a:pt x="206" y="262"/>
                  </a:lnTo>
                  <a:lnTo>
                    <a:pt x="208" y="260"/>
                  </a:lnTo>
                  <a:lnTo>
                    <a:pt x="208" y="260"/>
                  </a:lnTo>
                  <a:lnTo>
                    <a:pt x="212" y="260"/>
                  </a:lnTo>
                  <a:lnTo>
                    <a:pt x="212" y="260"/>
                  </a:lnTo>
                  <a:lnTo>
                    <a:pt x="208" y="254"/>
                  </a:lnTo>
                  <a:lnTo>
                    <a:pt x="208" y="254"/>
                  </a:lnTo>
                  <a:lnTo>
                    <a:pt x="206" y="250"/>
                  </a:lnTo>
                  <a:lnTo>
                    <a:pt x="208" y="248"/>
                  </a:lnTo>
                  <a:lnTo>
                    <a:pt x="208" y="246"/>
                  </a:lnTo>
                  <a:lnTo>
                    <a:pt x="206" y="242"/>
                  </a:lnTo>
                  <a:lnTo>
                    <a:pt x="206" y="242"/>
                  </a:lnTo>
                  <a:lnTo>
                    <a:pt x="202" y="238"/>
                  </a:lnTo>
                  <a:lnTo>
                    <a:pt x="202" y="236"/>
                  </a:lnTo>
                  <a:lnTo>
                    <a:pt x="204" y="234"/>
                  </a:lnTo>
                  <a:lnTo>
                    <a:pt x="202" y="230"/>
                  </a:lnTo>
                  <a:lnTo>
                    <a:pt x="202" y="230"/>
                  </a:lnTo>
                  <a:lnTo>
                    <a:pt x="200" y="226"/>
                  </a:lnTo>
                  <a:lnTo>
                    <a:pt x="200" y="220"/>
                  </a:lnTo>
                  <a:lnTo>
                    <a:pt x="196" y="212"/>
                  </a:lnTo>
                  <a:lnTo>
                    <a:pt x="188" y="198"/>
                  </a:lnTo>
                  <a:lnTo>
                    <a:pt x="188" y="198"/>
                  </a:lnTo>
                  <a:lnTo>
                    <a:pt x="186" y="194"/>
                  </a:lnTo>
                  <a:lnTo>
                    <a:pt x="186" y="192"/>
                  </a:lnTo>
                  <a:lnTo>
                    <a:pt x="186" y="190"/>
                  </a:lnTo>
                  <a:lnTo>
                    <a:pt x="184" y="190"/>
                  </a:lnTo>
                  <a:lnTo>
                    <a:pt x="184" y="190"/>
                  </a:lnTo>
                  <a:lnTo>
                    <a:pt x="182" y="190"/>
                  </a:lnTo>
                  <a:lnTo>
                    <a:pt x="180" y="190"/>
                  </a:lnTo>
                  <a:lnTo>
                    <a:pt x="174" y="182"/>
                  </a:lnTo>
                  <a:lnTo>
                    <a:pt x="174" y="182"/>
                  </a:lnTo>
                  <a:lnTo>
                    <a:pt x="168" y="178"/>
                  </a:lnTo>
                  <a:lnTo>
                    <a:pt x="160" y="172"/>
                  </a:lnTo>
                  <a:lnTo>
                    <a:pt x="154" y="168"/>
                  </a:lnTo>
                  <a:lnTo>
                    <a:pt x="146" y="158"/>
                  </a:lnTo>
                  <a:lnTo>
                    <a:pt x="146" y="158"/>
                  </a:lnTo>
                  <a:lnTo>
                    <a:pt x="136" y="148"/>
                  </a:lnTo>
                  <a:lnTo>
                    <a:pt x="128" y="140"/>
                  </a:lnTo>
                  <a:lnTo>
                    <a:pt x="120" y="132"/>
                  </a:lnTo>
                  <a:lnTo>
                    <a:pt x="118" y="128"/>
                  </a:lnTo>
                  <a:lnTo>
                    <a:pt x="118" y="124"/>
                  </a:lnTo>
                  <a:lnTo>
                    <a:pt x="118" y="124"/>
                  </a:lnTo>
                  <a:lnTo>
                    <a:pt x="118" y="120"/>
                  </a:lnTo>
                  <a:lnTo>
                    <a:pt x="116" y="118"/>
                  </a:lnTo>
                  <a:lnTo>
                    <a:pt x="110" y="116"/>
                  </a:lnTo>
                  <a:lnTo>
                    <a:pt x="104" y="108"/>
                  </a:lnTo>
                  <a:lnTo>
                    <a:pt x="104" y="108"/>
                  </a:lnTo>
                  <a:lnTo>
                    <a:pt x="96" y="96"/>
                  </a:lnTo>
                  <a:lnTo>
                    <a:pt x="96" y="92"/>
                  </a:lnTo>
                  <a:lnTo>
                    <a:pt x="100" y="88"/>
                  </a:lnTo>
                  <a:lnTo>
                    <a:pt x="100" y="88"/>
                  </a:lnTo>
                  <a:lnTo>
                    <a:pt x="106" y="78"/>
                  </a:lnTo>
                  <a:lnTo>
                    <a:pt x="112" y="74"/>
                  </a:lnTo>
                  <a:lnTo>
                    <a:pt x="114" y="72"/>
                  </a:lnTo>
                  <a:lnTo>
                    <a:pt x="116" y="66"/>
                  </a:lnTo>
                  <a:lnTo>
                    <a:pt x="116" y="66"/>
                  </a:lnTo>
                  <a:lnTo>
                    <a:pt x="116" y="62"/>
                  </a:lnTo>
                  <a:lnTo>
                    <a:pt x="118" y="60"/>
                  </a:lnTo>
                  <a:lnTo>
                    <a:pt x="120" y="60"/>
                  </a:lnTo>
                  <a:lnTo>
                    <a:pt x="124" y="60"/>
                  </a:lnTo>
                  <a:lnTo>
                    <a:pt x="126" y="58"/>
                  </a:lnTo>
                  <a:lnTo>
                    <a:pt x="124" y="56"/>
                  </a:lnTo>
                  <a:lnTo>
                    <a:pt x="124" y="56"/>
                  </a:lnTo>
                  <a:lnTo>
                    <a:pt x="124" y="54"/>
                  </a:lnTo>
                  <a:lnTo>
                    <a:pt x="126" y="54"/>
                  </a:lnTo>
                  <a:lnTo>
                    <a:pt x="130" y="52"/>
                  </a:lnTo>
                  <a:lnTo>
                    <a:pt x="132" y="44"/>
                  </a:lnTo>
                  <a:lnTo>
                    <a:pt x="132" y="42"/>
                  </a:lnTo>
                  <a:lnTo>
                    <a:pt x="132" y="42"/>
                  </a:lnTo>
                  <a:lnTo>
                    <a:pt x="128" y="42"/>
                  </a:lnTo>
                  <a:lnTo>
                    <a:pt x="126" y="42"/>
                  </a:lnTo>
                  <a:lnTo>
                    <a:pt x="120" y="38"/>
                  </a:lnTo>
                  <a:lnTo>
                    <a:pt x="116" y="34"/>
                  </a:lnTo>
                  <a:lnTo>
                    <a:pt x="114" y="34"/>
                  </a:lnTo>
                  <a:lnTo>
                    <a:pt x="112" y="34"/>
                  </a:lnTo>
                  <a:lnTo>
                    <a:pt x="112" y="34"/>
                  </a:lnTo>
                  <a:lnTo>
                    <a:pt x="108" y="36"/>
                  </a:lnTo>
                  <a:lnTo>
                    <a:pt x="106" y="32"/>
                  </a:lnTo>
                  <a:lnTo>
                    <a:pt x="106" y="32"/>
                  </a:lnTo>
                  <a:lnTo>
                    <a:pt x="100" y="28"/>
                  </a:lnTo>
                  <a:lnTo>
                    <a:pt x="102" y="26"/>
                  </a:lnTo>
                  <a:lnTo>
                    <a:pt x="106" y="22"/>
                  </a:lnTo>
                  <a:lnTo>
                    <a:pt x="106" y="22"/>
                  </a:lnTo>
                  <a:lnTo>
                    <a:pt x="112" y="20"/>
                  </a:lnTo>
                  <a:lnTo>
                    <a:pt x="114" y="16"/>
                  </a:lnTo>
                  <a:lnTo>
                    <a:pt x="108" y="14"/>
                  </a:lnTo>
                  <a:lnTo>
                    <a:pt x="100" y="12"/>
                  </a:lnTo>
                  <a:lnTo>
                    <a:pt x="100" y="12"/>
                  </a:lnTo>
                  <a:lnTo>
                    <a:pt x="92" y="12"/>
                  </a:lnTo>
                  <a:lnTo>
                    <a:pt x="88" y="10"/>
                  </a:lnTo>
                  <a:lnTo>
                    <a:pt x="86" y="6"/>
                  </a:lnTo>
                  <a:lnTo>
                    <a:pt x="84" y="4"/>
                  </a:lnTo>
                  <a:lnTo>
                    <a:pt x="82" y="0"/>
                  </a:lnTo>
                  <a:lnTo>
                    <a:pt x="82" y="0"/>
                  </a:lnTo>
                  <a:lnTo>
                    <a:pt x="78" y="0"/>
                  </a:lnTo>
                  <a:lnTo>
                    <a:pt x="78" y="0"/>
                  </a:lnTo>
                  <a:lnTo>
                    <a:pt x="68" y="4"/>
                  </a:lnTo>
                  <a:lnTo>
                    <a:pt x="64" y="6"/>
                  </a:lnTo>
                  <a:lnTo>
                    <a:pt x="62" y="10"/>
                  </a:lnTo>
                  <a:lnTo>
                    <a:pt x="62" y="10"/>
                  </a:lnTo>
                  <a:lnTo>
                    <a:pt x="64" y="16"/>
                  </a:lnTo>
                  <a:lnTo>
                    <a:pt x="62" y="16"/>
                  </a:lnTo>
                  <a:lnTo>
                    <a:pt x="58" y="16"/>
                  </a:lnTo>
                  <a:lnTo>
                    <a:pt x="52" y="18"/>
                  </a:lnTo>
                  <a:lnTo>
                    <a:pt x="52" y="18"/>
                  </a:lnTo>
                  <a:lnTo>
                    <a:pt x="48" y="18"/>
                  </a:lnTo>
                  <a:lnTo>
                    <a:pt x="46" y="18"/>
                  </a:lnTo>
                  <a:lnTo>
                    <a:pt x="44" y="16"/>
                  </a:lnTo>
                  <a:lnTo>
                    <a:pt x="38" y="16"/>
                  </a:lnTo>
                  <a:lnTo>
                    <a:pt x="38" y="16"/>
                  </a:lnTo>
                  <a:lnTo>
                    <a:pt x="36" y="18"/>
                  </a:lnTo>
                  <a:lnTo>
                    <a:pt x="32" y="18"/>
                  </a:lnTo>
                  <a:lnTo>
                    <a:pt x="30" y="14"/>
                  </a:lnTo>
                  <a:lnTo>
                    <a:pt x="28" y="12"/>
                  </a:lnTo>
                  <a:lnTo>
                    <a:pt x="26" y="10"/>
                  </a:lnTo>
                  <a:lnTo>
                    <a:pt x="24" y="12"/>
                  </a:lnTo>
                  <a:lnTo>
                    <a:pt x="24" y="12"/>
                  </a:lnTo>
                  <a:lnTo>
                    <a:pt x="22" y="16"/>
                  </a:lnTo>
                  <a:lnTo>
                    <a:pt x="22" y="20"/>
                  </a:lnTo>
                  <a:lnTo>
                    <a:pt x="24" y="22"/>
                  </a:lnTo>
                  <a:lnTo>
                    <a:pt x="24" y="24"/>
                  </a:lnTo>
                  <a:lnTo>
                    <a:pt x="24" y="24"/>
                  </a:lnTo>
                  <a:lnTo>
                    <a:pt x="20" y="24"/>
                  </a:lnTo>
                  <a:lnTo>
                    <a:pt x="18" y="22"/>
                  </a:lnTo>
                  <a:lnTo>
                    <a:pt x="14" y="18"/>
                  </a:lnTo>
                  <a:lnTo>
                    <a:pt x="10" y="18"/>
                  </a:lnTo>
                  <a:lnTo>
                    <a:pt x="10" y="18"/>
                  </a:lnTo>
                  <a:lnTo>
                    <a:pt x="0" y="20"/>
                  </a:lnTo>
                  <a:lnTo>
                    <a:pt x="0" y="20"/>
                  </a:lnTo>
                  <a:lnTo>
                    <a:pt x="4" y="26"/>
                  </a:lnTo>
                  <a:lnTo>
                    <a:pt x="8" y="32"/>
                  </a:lnTo>
                  <a:lnTo>
                    <a:pt x="18" y="40"/>
                  </a:lnTo>
                  <a:lnTo>
                    <a:pt x="26" y="44"/>
                  </a:lnTo>
                  <a:lnTo>
                    <a:pt x="26" y="46"/>
                  </a:lnTo>
                  <a:lnTo>
                    <a:pt x="26" y="50"/>
                  </a:lnTo>
                  <a:lnTo>
                    <a:pt x="26" y="50"/>
                  </a:lnTo>
                  <a:lnTo>
                    <a:pt x="26" y="52"/>
                  </a:lnTo>
                  <a:lnTo>
                    <a:pt x="28" y="54"/>
                  </a:lnTo>
                  <a:lnTo>
                    <a:pt x="32" y="58"/>
                  </a:lnTo>
                  <a:lnTo>
                    <a:pt x="40" y="60"/>
                  </a:lnTo>
                  <a:lnTo>
                    <a:pt x="50" y="62"/>
                  </a:lnTo>
                  <a:lnTo>
                    <a:pt x="50" y="62"/>
                  </a:lnTo>
                  <a:lnTo>
                    <a:pt x="70" y="62"/>
                  </a:lnTo>
                  <a:lnTo>
                    <a:pt x="76" y="64"/>
                  </a:lnTo>
                  <a:lnTo>
                    <a:pt x="80" y="66"/>
                  </a:lnTo>
                  <a:lnTo>
                    <a:pt x="80" y="66"/>
                  </a:lnTo>
                  <a:lnTo>
                    <a:pt x="86" y="74"/>
                  </a:lnTo>
                  <a:lnTo>
                    <a:pt x="88" y="78"/>
                  </a:lnTo>
                  <a:lnTo>
                    <a:pt x="88" y="78"/>
                  </a:lnTo>
                  <a:lnTo>
                    <a:pt x="86" y="84"/>
                  </a:lnTo>
                  <a:lnTo>
                    <a:pt x="84" y="88"/>
                  </a:lnTo>
                  <a:lnTo>
                    <a:pt x="80" y="88"/>
                  </a:lnTo>
                  <a:lnTo>
                    <a:pt x="76" y="88"/>
                  </a:lnTo>
                  <a:lnTo>
                    <a:pt x="76" y="88"/>
                  </a:lnTo>
                  <a:lnTo>
                    <a:pt x="70" y="88"/>
                  </a:lnTo>
                  <a:lnTo>
                    <a:pt x="64" y="92"/>
                  </a:lnTo>
                  <a:lnTo>
                    <a:pt x="62" y="94"/>
                  </a:lnTo>
                  <a:lnTo>
                    <a:pt x="62" y="96"/>
                  </a:lnTo>
                  <a:lnTo>
                    <a:pt x="66" y="100"/>
                  </a:lnTo>
                  <a:lnTo>
                    <a:pt x="72" y="102"/>
                  </a:lnTo>
                  <a:lnTo>
                    <a:pt x="72" y="102"/>
                  </a:lnTo>
                  <a:lnTo>
                    <a:pt x="88" y="108"/>
                  </a:lnTo>
                  <a:lnTo>
                    <a:pt x="92" y="112"/>
                  </a:lnTo>
                  <a:lnTo>
                    <a:pt x="94" y="114"/>
                  </a:lnTo>
                  <a:lnTo>
                    <a:pt x="96" y="116"/>
                  </a:lnTo>
                  <a:lnTo>
                    <a:pt x="96" y="116"/>
                  </a:lnTo>
                  <a:lnTo>
                    <a:pt x="98" y="118"/>
                  </a:lnTo>
                  <a:lnTo>
                    <a:pt x="98" y="120"/>
                  </a:lnTo>
                  <a:lnTo>
                    <a:pt x="100" y="128"/>
                  </a:lnTo>
                  <a:lnTo>
                    <a:pt x="104" y="136"/>
                  </a:lnTo>
                  <a:lnTo>
                    <a:pt x="108" y="140"/>
                  </a:lnTo>
                  <a:lnTo>
                    <a:pt x="114" y="142"/>
                  </a:lnTo>
                  <a:lnTo>
                    <a:pt x="114" y="142"/>
                  </a:lnTo>
                  <a:lnTo>
                    <a:pt x="120" y="146"/>
                  </a:lnTo>
                  <a:lnTo>
                    <a:pt x="122" y="150"/>
                  </a:lnTo>
                  <a:lnTo>
                    <a:pt x="124" y="158"/>
                  </a:lnTo>
                  <a:lnTo>
                    <a:pt x="126" y="162"/>
                  </a:lnTo>
                  <a:lnTo>
                    <a:pt x="128" y="168"/>
                  </a:lnTo>
                  <a:lnTo>
                    <a:pt x="134" y="170"/>
                  </a:lnTo>
                  <a:lnTo>
                    <a:pt x="142" y="174"/>
                  </a:lnTo>
                  <a:lnTo>
                    <a:pt x="142" y="174"/>
                  </a:lnTo>
                  <a:lnTo>
                    <a:pt x="152" y="176"/>
                  </a:lnTo>
                  <a:lnTo>
                    <a:pt x="158" y="180"/>
                  </a:lnTo>
                  <a:lnTo>
                    <a:pt x="162" y="182"/>
                  </a:lnTo>
                  <a:lnTo>
                    <a:pt x="164" y="186"/>
                  </a:lnTo>
                  <a:lnTo>
                    <a:pt x="164" y="194"/>
                  </a:lnTo>
                  <a:lnTo>
                    <a:pt x="164" y="196"/>
                  </a:lnTo>
                  <a:lnTo>
                    <a:pt x="166" y="200"/>
                  </a:lnTo>
                  <a:lnTo>
                    <a:pt x="166" y="200"/>
                  </a:lnTo>
                  <a:lnTo>
                    <a:pt x="174" y="214"/>
                  </a:lnTo>
                  <a:lnTo>
                    <a:pt x="178" y="224"/>
                  </a:lnTo>
                  <a:lnTo>
                    <a:pt x="180" y="232"/>
                  </a:lnTo>
                  <a:lnTo>
                    <a:pt x="180" y="232"/>
                  </a:lnTo>
                  <a:lnTo>
                    <a:pt x="178" y="240"/>
                  </a:lnTo>
                  <a:lnTo>
                    <a:pt x="174" y="250"/>
                  </a:lnTo>
                  <a:lnTo>
                    <a:pt x="172" y="260"/>
                  </a:lnTo>
                  <a:lnTo>
                    <a:pt x="172" y="266"/>
                  </a:lnTo>
                  <a:lnTo>
                    <a:pt x="174" y="270"/>
                  </a:lnTo>
                  <a:lnTo>
                    <a:pt x="174" y="270"/>
                  </a:lnTo>
                  <a:lnTo>
                    <a:pt x="180" y="276"/>
                  </a:lnTo>
                  <a:lnTo>
                    <a:pt x="178" y="282"/>
                  </a:lnTo>
                  <a:lnTo>
                    <a:pt x="174" y="284"/>
                  </a:lnTo>
                  <a:lnTo>
                    <a:pt x="168" y="284"/>
                  </a:lnTo>
                  <a:lnTo>
                    <a:pt x="168" y="284"/>
                  </a:lnTo>
                  <a:lnTo>
                    <a:pt x="164" y="282"/>
                  </a:lnTo>
                  <a:lnTo>
                    <a:pt x="160" y="284"/>
                  </a:lnTo>
                  <a:lnTo>
                    <a:pt x="152" y="292"/>
                  </a:lnTo>
                  <a:lnTo>
                    <a:pt x="152" y="292"/>
                  </a:lnTo>
                  <a:lnTo>
                    <a:pt x="144" y="298"/>
                  </a:lnTo>
                  <a:lnTo>
                    <a:pt x="140" y="300"/>
                  </a:lnTo>
                  <a:lnTo>
                    <a:pt x="138" y="298"/>
                  </a:lnTo>
                  <a:lnTo>
                    <a:pt x="134" y="300"/>
                  </a:lnTo>
                  <a:lnTo>
                    <a:pt x="134" y="300"/>
                  </a:lnTo>
                  <a:lnTo>
                    <a:pt x="134" y="302"/>
                  </a:lnTo>
                  <a:lnTo>
                    <a:pt x="136" y="304"/>
                  </a:lnTo>
                  <a:lnTo>
                    <a:pt x="140" y="308"/>
                  </a:lnTo>
                  <a:lnTo>
                    <a:pt x="146" y="312"/>
                  </a:lnTo>
                  <a:lnTo>
                    <a:pt x="146" y="314"/>
                  </a:lnTo>
                  <a:lnTo>
                    <a:pt x="146" y="316"/>
                  </a:lnTo>
                  <a:lnTo>
                    <a:pt x="146" y="316"/>
                  </a:lnTo>
                  <a:lnTo>
                    <a:pt x="144" y="316"/>
                  </a:lnTo>
                  <a:lnTo>
                    <a:pt x="142" y="316"/>
                  </a:lnTo>
                  <a:lnTo>
                    <a:pt x="140" y="312"/>
                  </a:lnTo>
                  <a:lnTo>
                    <a:pt x="136" y="310"/>
                  </a:lnTo>
                  <a:lnTo>
                    <a:pt x="132" y="310"/>
                  </a:lnTo>
                  <a:lnTo>
                    <a:pt x="130" y="312"/>
                  </a:lnTo>
                  <a:lnTo>
                    <a:pt x="130" y="312"/>
                  </a:lnTo>
                  <a:lnTo>
                    <a:pt x="120" y="316"/>
                  </a:lnTo>
                  <a:lnTo>
                    <a:pt x="114" y="318"/>
                  </a:lnTo>
                  <a:lnTo>
                    <a:pt x="112" y="320"/>
                  </a:lnTo>
                  <a:lnTo>
                    <a:pt x="108" y="324"/>
                  </a:lnTo>
                  <a:lnTo>
                    <a:pt x="108" y="324"/>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3" name="Venezuela"/>
            <p:cNvSpPr>
              <a:spLocks/>
            </p:cNvSpPr>
            <p:nvPr/>
          </p:nvSpPr>
          <p:spPr bwMode="auto">
            <a:xfrm>
              <a:off x="2094142" y="3208073"/>
              <a:ext cx="375708" cy="394229"/>
            </a:xfrm>
            <a:custGeom>
              <a:avLst/>
              <a:gdLst/>
              <a:ahLst/>
              <a:cxnLst>
                <a:cxn ang="0">
                  <a:pos x="266" y="94"/>
                </a:cxn>
                <a:cxn ang="0">
                  <a:pos x="270" y="84"/>
                </a:cxn>
                <a:cxn ang="0">
                  <a:pos x="266" y="80"/>
                </a:cxn>
                <a:cxn ang="0">
                  <a:pos x="262" y="70"/>
                </a:cxn>
                <a:cxn ang="0">
                  <a:pos x="236" y="56"/>
                </a:cxn>
                <a:cxn ang="0">
                  <a:pos x="226" y="40"/>
                </a:cxn>
                <a:cxn ang="0">
                  <a:pos x="242" y="36"/>
                </a:cxn>
                <a:cxn ang="0">
                  <a:pos x="226" y="32"/>
                </a:cxn>
                <a:cxn ang="0">
                  <a:pos x="202" y="34"/>
                </a:cxn>
                <a:cxn ang="0">
                  <a:pos x="204" y="42"/>
                </a:cxn>
                <a:cxn ang="0">
                  <a:pos x="166" y="44"/>
                </a:cxn>
                <a:cxn ang="0">
                  <a:pos x="148" y="36"/>
                </a:cxn>
                <a:cxn ang="0">
                  <a:pos x="116" y="30"/>
                </a:cxn>
                <a:cxn ang="0">
                  <a:pos x="106" y="18"/>
                </a:cxn>
                <a:cxn ang="0">
                  <a:pos x="86" y="12"/>
                </a:cxn>
                <a:cxn ang="0">
                  <a:pos x="74" y="6"/>
                </a:cxn>
                <a:cxn ang="0">
                  <a:pos x="84" y="12"/>
                </a:cxn>
                <a:cxn ang="0">
                  <a:pos x="78" y="16"/>
                </a:cxn>
                <a:cxn ang="0">
                  <a:pos x="54" y="32"/>
                </a:cxn>
                <a:cxn ang="0">
                  <a:pos x="48" y="46"/>
                </a:cxn>
                <a:cxn ang="0">
                  <a:pos x="54" y="54"/>
                </a:cxn>
                <a:cxn ang="0">
                  <a:pos x="42" y="76"/>
                </a:cxn>
                <a:cxn ang="0">
                  <a:pos x="30" y="64"/>
                </a:cxn>
                <a:cxn ang="0">
                  <a:pos x="40" y="50"/>
                </a:cxn>
                <a:cxn ang="0">
                  <a:pos x="46" y="38"/>
                </a:cxn>
                <a:cxn ang="0">
                  <a:pos x="40" y="18"/>
                </a:cxn>
                <a:cxn ang="0">
                  <a:pos x="48" y="10"/>
                </a:cxn>
                <a:cxn ang="0">
                  <a:pos x="14" y="46"/>
                </a:cxn>
                <a:cxn ang="0">
                  <a:pos x="2" y="74"/>
                </a:cxn>
                <a:cxn ang="0">
                  <a:pos x="6" y="82"/>
                </a:cxn>
                <a:cxn ang="0">
                  <a:pos x="12" y="90"/>
                </a:cxn>
                <a:cxn ang="0">
                  <a:pos x="16" y="124"/>
                </a:cxn>
                <a:cxn ang="0">
                  <a:pos x="42" y="140"/>
                </a:cxn>
                <a:cxn ang="0">
                  <a:pos x="68" y="144"/>
                </a:cxn>
                <a:cxn ang="0">
                  <a:pos x="100" y="160"/>
                </a:cxn>
                <a:cxn ang="0">
                  <a:pos x="116" y="162"/>
                </a:cxn>
                <a:cxn ang="0">
                  <a:pos x="112" y="174"/>
                </a:cxn>
                <a:cxn ang="0">
                  <a:pos x="108" y="196"/>
                </a:cxn>
                <a:cxn ang="0">
                  <a:pos x="120" y="220"/>
                </a:cxn>
                <a:cxn ang="0">
                  <a:pos x="118" y="246"/>
                </a:cxn>
                <a:cxn ang="0">
                  <a:pos x="132" y="290"/>
                </a:cxn>
                <a:cxn ang="0">
                  <a:pos x="152" y="298"/>
                </a:cxn>
                <a:cxn ang="0">
                  <a:pos x="170" y="292"/>
                </a:cxn>
                <a:cxn ang="0">
                  <a:pos x="186" y="280"/>
                </a:cxn>
                <a:cxn ang="0">
                  <a:pos x="194" y="266"/>
                </a:cxn>
                <a:cxn ang="0">
                  <a:pos x="202" y="252"/>
                </a:cxn>
                <a:cxn ang="0">
                  <a:pos x="190" y="228"/>
                </a:cxn>
                <a:cxn ang="0">
                  <a:pos x="180" y="208"/>
                </a:cxn>
                <a:cxn ang="0">
                  <a:pos x="208" y="212"/>
                </a:cxn>
                <a:cxn ang="0">
                  <a:pos x="232" y="212"/>
                </a:cxn>
                <a:cxn ang="0">
                  <a:pos x="236" y="208"/>
                </a:cxn>
                <a:cxn ang="0">
                  <a:pos x="260" y="194"/>
                </a:cxn>
                <a:cxn ang="0">
                  <a:pos x="256" y="162"/>
                </a:cxn>
                <a:cxn ang="0">
                  <a:pos x="260" y="144"/>
                </a:cxn>
                <a:cxn ang="0">
                  <a:pos x="274" y="130"/>
                </a:cxn>
                <a:cxn ang="0">
                  <a:pos x="264" y="124"/>
                </a:cxn>
                <a:cxn ang="0">
                  <a:pos x="268" y="112"/>
                </a:cxn>
                <a:cxn ang="0">
                  <a:pos x="284" y="106"/>
                </a:cxn>
              </a:cxnLst>
              <a:rect l="0" t="0" r="r" b="b"/>
              <a:pathLst>
                <a:path w="284" h="298">
                  <a:moveTo>
                    <a:pt x="284" y="100"/>
                  </a:moveTo>
                  <a:lnTo>
                    <a:pt x="284" y="100"/>
                  </a:lnTo>
                  <a:lnTo>
                    <a:pt x="278" y="92"/>
                  </a:lnTo>
                  <a:lnTo>
                    <a:pt x="274" y="92"/>
                  </a:lnTo>
                  <a:lnTo>
                    <a:pt x="270" y="94"/>
                  </a:lnTo>
                  <a:lnTo>
                    <a:pt x="266" y="94"/>
                  </a:lnTo>
                  <a:lnTo>
                    <a:pt x="260" y="92"/>
                  </a:lnTo>
                  <a:lnTo>
                    <a:pt x="260" y="92"/>
                  </a:lnTo>
                  <a:lnTo>
                    <a:pt x="268" y="92"/>
                  </a:lnTo>
                  <a:lnTo>
                    <a:pt x="270" y="90"/>
                  </a:lnTo>
                  <a:lnTo>
                    <a:pt x="272" y="88"/>
                  </a:lnTo>
                  <a:lnTo>
                    <a:pt x="270" y="84"/>
                  </a:lnTo>
                  <a:lnTo>
                    <a:pt x="270" y="84"/>
                  </a:lnTo>
                  <a:lnTo>
                    <a:pt x="270" y="82"/>
                  </a:lnTo>
                  <a:lnTo>
                    <a:pt x="268" y="82"/>
                  </a:lnTo>
                  <a:lnTo>
                    <a:pt x="266" y="82"/>
                  </a:lnTo>
                  <a:lnTo>
                    <a:pt x="266" y="80"/>
                  </a:lnTo>
                  <a:lnTo>
                    <a:pt x="266" y="80"/>
                  </a:lnTo>
                  <a:lnTo>
                    <a:pt x="268" y="80"/>
                  </a:lnTo>
                  <a:lnTo>
                    <a:pt x="266" y="78"/>
                  </a:lnTo>
                  <a:lnTo>
                    <a:pt x="264" y="78"/>
                  </a:lnTo>
                  <a:lnTo>
                    <a:pt x="264" y="76"/>
                  </a:lnTo>
                  <a:lnTo>
                    <a:pt x="264" y="76"/>
                  </a:lnTo>
                  <a:lnTo>
                    <a:pt x="262" y="70"/>
                  </a:lnTo>
                  <a:lnTo>
                    <a:pt x="258" y="66"/>
                  </a:lnTo>
                  <a:lnTo>
                    <a:pt x="250" y="60"/>
                  </a:lnTo>
                  <a:lnTo>
                    <a:pt x="250" y="60"/>
                  </a:lnTo>
                  <a:lnTo>
                    <a:pt x="244" y="54"/>
                  </a:lnTo>
                  <a:lnTo>
                    <a:pt x="240" y="54"/>
                  </a:lnTo>
                  <a:lnTo>
                    <a:pt x="236" y="56"/>
                  </a:lnTo>
                  <a:lnTo>
                    <a:pt x="236" y="56"/>
                  </a:lnTo>
                  <a:lnTo>
                    <a:pt x="232" y="48"/>
                  </a:lnTo>
                  <a:lnTo>
                    <a:pt x="230" y="42"/>
                  </a:lnTo>
                  <a:lnTo>
                    <a:pt x="228" y="40"/>
                  </a:lnTo>
                  <a:lnTo>
                    <a:pt x="226" y="40"/>
                  </a:lnTo>
                  <a:lnTo>
                    <a:pt x="226" y="40"/>
                  </a:lnTo>
                  <a:lnTo>
                    <a:pt x="222" y="40"/>
                  </a:lnTo>
                  <a:lnTo>
                    <a:pt x="220" y="40"/>
                  </a:lnTo>
                  <a:lnTo>
                    <a:pt x="222" y="38"/>
                  </a:lnTo>
                  <a:lnTo>
                    <a:pt x="228" y="38"/>
                  </a:lnTo>
                  <a:lnTo>
                    <a:pt x="228" y="38"/>
                  </a:lnTo>
                  <a:lnTo>
                    <a:pt x="242" y="36"/>
                  </a:lnTo>
                  <a:lnTo>
                    <a:pt x="246" y="36"/>
                  </a:lnTo>
                  <a:lnTo>
                    <a:pt x="248" y="34"/>
                  </a:lnTo>
                  <a:lnTo>
                    <a:pt x="248" y="34"/>
                  </a:lnTo>
                  <a:lnTo>
                    <a:pt x="232" y="34"/>
                  </a:lnTo>
                  <a:lnTo>
                    <a:pt x="232" y="34"/>
                  </a:lnTo>
                  <a:lnTo>
                    <a:pt x="226" y="32"/>
                  </a:lnTo>
                  <a:lnTo>
                    <a:pt x="224" y="34"/>
                  </a:lnTo>
                  <a:lnTo>
                    <a:pt x="220" y="34"/>
                  </a:lnTo>
                  <a:lnTo>
                    <a:pt x="214" y="34"/>
                  </a:lnTo>
                  <a:lnTo>
                    <a:pt x="214" y="34"/>
                  </a:lnTo>
                  <a:lnTo>
                    <a:pt x="206" y="32"/>
                  </a:lnTo>
                  <a:lnTo>
                    <a:pt x="202" y="34"/>
                  </a:lnTo>
                  <a:lnTo>
                    <a:pt x="202" y="34"/>
                  </a:lnTo>
                  <a:lnTo>
                    <a:pt x="204" y="34"/>
                  </a:lnTo>
                  <a:lnTo>
                    <a:pt x="212" y="36"/>
                  </a:lnTo>
                  <a:lnTo>
                    <a:pt x="212" y="36"/>
                  </a:lnTo>
                  <a:lnTo>
                    <a:pt x="206" y="38"/>
                  </a:lnTo>
                  <a:lnTo>
                    <a:pt x="204" y="42"/>
                  </a:lnTo>
                  <a:lnTo>
                    <a:pt x="202" y="44"/>
                  </a:lnTo>
                  <a:lnTo>
                    <a:pt x="192" y="46"/>
                  </a:lnTo>
                  <a:lnTo>
                    <a:pt x="192" y="46"/>
                  </a:lnTo>
                  <a:lnTo>
                    <a:pt x="178" y="48"/>
                  </a:lnTo>
                  <a:lnTo>
                    <a:pt x="170" y="46"/>
                  </a:lnTo>
                  <a:lnTo>
                    <a:pt x="166" y="44"/>
                  </a:lnTo>
                  <a:lnTo>
                    <a:pt x="166" y="40"/>
                  </a:lnTo>
                  <a:lnTo>
                    <a:pt x="166" y="40"/>
                  </a:lnTo>
                  <a:lnTo>
                    <a:pt x="166" y="40"/>
                  </a:lnTo>
                  <a:lnTo>
                    <a:pt x="166" y="38"/>
                  </a:lnTo>
                  <a:lnTo>
                    <a:pt x="160" y="36"/>
                  </a:lnTo>
                  <a:lnTo>
                    <a:pt x="148" y="36"/>
                  </a:lnTo>
                  <a:lnTo>
                    <a:pt x="136" y="36"/>
                  </a:lnTo>
                  <a:lnTo>
                    <a:pt x="136" y="36"/>
                  </a:lnTo>
                  <a:lnTo>
                    <a:pt x="124" y="38"/>
                  </a:lnTo>
                  <a:lnTo>
                    <a:pt x="116" y="36"/>
                  </a:lnTo>
                  <a:lnTo>
                    <a:pt x="114" y="32"/>
                  </a:lnTo>
                  <a:lnTo>
                    <a:pt x="116" y="30"/>
                  </a:lnTo>
                  <a:lnTo>
                    <a:pt x="116" y="30"/>
                  </a:lnTo>
                  <a:lnTo>
                    <a:pt x="118" y="28"/>
                  </a:lnTo>
                  <a:lnTo>
                    <a:pt x="116" y="24"/>
                  </a:lnTo>
                  <a:lnTo>
                    <a:pt x="108" y="18"/>
                  </a:lnTo>
                  <a:lnTo>
                    <a:pt x="108" y="18"/>
                  </a:lnTo>
                  <a:lnTo>
                    <a:pt x="106" y="18"/>
                  </a:lnTo>
                  <a:lnTo>
                    <a:pt x="104" y="18"/>
                  </a:lnTo>
                  <a:lnTo>
                    <a:pt x="102" y="18"/>
                  </a:lnTo>
                  <a:lnTo>
                    <a:pt x="98" y="16"/>
                  </a:lnTo>
                  <a:lnTo>
                    <a:pt x="98" y="16"/>
                  </a:lnTo>
                  <a:lnTo>
                    <a:pt x="88" y="14"/>
                  </a:lnTo>
                  <a:lnTo>
                    <a:pt x="86" y="12"/>
                  </a:lnTo>
                  <a:lnTo>
                    <a:pt x="86" y="8"/>
                  </a:lnTo>
                  <a:lnTo>
                    <a:pt x="86" y="8"/>
                  </a:lnTo>
                  <a:lnTo>
                    <a:pt x="84" y="2"/>
                  </a:lnTo>
                  <a:lnTo>
                    <a:pt x="80" y="0"/>
                  </a:lnTo>
                  <a:lnTo>
                    <a:pt x="76" y="2"/>
                  </a:lnTo>
                  <a:lnTo>
                    <a:pt x="74" y="6"/>
                  </a:lnTo>
                  <a:lnTo>
                    <a:pt x="74" y="6"/>
                  </a:lnTo>
                  <a:lnTo>
                    <a:pt x="74" y="12"/>
                  </a:lnTo>
                  <a:lnTo>
                    <a:pt x="76" y="12"/>
                  </a:lnTo>
                  <a:lnTo>
                    <a:pt x="80" y="12"/>
                  </a:lnTo>
                  <a:lnTo>
                    <a:pt x="80" y="12"/>
                  </a:lnTo>
                  <a:lnTo>
                    <a:pt x="84" y="12"/>
                  </a:lnTo>
                  <a:lnTo>
                    <a:pt x="84" y="14"/>
                  </a:lnTo>
                  <a:lnTo>
                    <a:pt x="84" y="16"/>
                  </a:lnTo>
                  <a:lnTo>
                    <a:pt x="80" y="16"/>
                  </a:lnTo>
                  <a:lnTo>
                    <a:pt x="80" y="16"/>
                  </a:lnTo>
                  <a:lnTo>
                    <a:pt x="78" y="16"/>
                  </a:lnTo>
                  <a:lnTo>
                    <a:pt x="78" y="16"/>
                  </a:lnTo>
                  <a:lnTo>
                    <a:pt x="76" y="20"/>
                  </a:lnTo>
                  <a:lnTo>
                    <a:pt x="72" y="22"/>
                  </a:lnTo>
                  <a:lnTo>
                    <a:pt x="72" y="22"/>
                  </a:lnTo>
                  <a:lnTo>
                    <a:pt x="62" y="24"/>
                  </a:lnTo>
                  <a:lnTo>
                    <a:pt x="54" y="32"/>
                  </a:lnTo>
                  <a:lnTo>
                    <a:pt x="54" y="32"/>
                  </a:lnTo>
                  <a:lnTo>
                    <a:pt x="52" y="36"/>
                  </a:lnTo>
                  <a:lnTo>
                    <a:pt x="50" y="40"/>
                  </a:lnTo>
                  <a:lnTo>
                    <a:pt x="50" y="42"/>
                  </a:lnTo>
                  <a:lnTo>
                    <a:pt x="50" y="44"/>
                  </a:lnTo>
                  <a:lnTo>
                    <a:pt x="50" y="44"/>
                  </a:lnTo>
                  <a:lnTo>
                    <a:pt x="48" y="46"/>
                  </a:lnTo>
                  <a:lnTo>
                    <a:pt x="50" y="48"/>
                  </a:lnTo>
                  <a:lnTo>
                    <a:pt x="52" y="48"/>
                  </a:lnTo>
                  <a:lnTo>
                    <a:pt x="52" y="52"/>
                  </a:lnTo>
                  <a:lnTo>
                    <a:pt x="52" y="52"/>
                  </a:lnTo>
                  <a:lnTo>
                    <a:pt x="54" y="52"/>
                  </a:lnTo>
                  <a:lnTo>
                    <a:pt x="54" y="54"/>
                  </a:lnTo>
                  <a:lnTo>
                    <a:pt x="56" y="62"/>
                  </a:lnTo>
                  <a:lnTo>
                    <a:pt x="56" y="70"/>
                  </a:lnTo>
                  <a:lnTo>
                    <a:pt x="56" y="70"/>
                  </a:lnTo>
                  <a:lnTo>
                    <a:pt x="54" y="74"/>
                  </a:lnTo>
                  <a:lnTo>
                    <a:pt x="48" y="76"/>
                  </a:lnTo>
                  <a:lnTo>
                    <a:pt x="42" y="76"/>
                  </a:lnTo>
                  <a:lnTo>
                    <a:pt x="40" y="74"/>
                  </a:lnTo>
                  <a:lnTo>
                    <a:pt x="40" y="72"/>
                  </a:lnTo>
                  <a:lnTo>
                    <a:pt x="40" y="72"/>
                  </a:lnTo>
                  <a:lnTo>
                    <a:pt x="38" y="68"/>
                  </a:lnTo>
                  <a:lnTo>
                    <a:pt x="34" y="66"/>
                  </a:lnTo>
                  <a:lnTo>
                    <a:pt x="30" y="64"/>
                  </a:lnTo>
                  <a:lnTo>
                    <a:pt x="30" y="62"/>
                  </a:lnTo>
                  <a:lnTo>
                    <a:pt x="30" y="58"/>
                  </a:lnTo>
                  <a:lnTo>
                    <a:pt x="30" y="58"/>
                  </a:lnTo>
                  <a:lnTo>
                    <a:pt x="32" y="56"/>
                  </a:lnTo>
                  <a:lnTo>
                    <a:pt x="34" y="54"/>
                  </a:lnTo>
                  <a:lnTo>
                    <a:pt x="40" y="50"/>
                  </a:lnTo>
                  <a:lnTo>
                    <a:pt x="44" y="46"/>
                  </a:lnTo>
                  <a:lnTo>
                    <a:pt x="46" y="44"/>
                  </a:lnTo>
                  <a:lnTo>
                    <a:pt x="44" y="42"/>
                  </a:lnTo>
                  <a:lnTo>
                    <a:pt x="44" y="42"/>
                  </a:lnTo>
                  <a:lnTo>
                    <a:pt x="42" y="38"/>
                  </a:lnTo>
                  <a:lnTo>
                    <a:pt x="46" y="38"/>
                  </a:lnTo>
                  <a:lnTo>
                    <a:pt x="48" y="38"/>
                  </a:lnTo>
                  <a:lnTo>
                    <a:pt x="46" y="32"/>
                  </a:lnTo>
                  <a:lnTo>
                    <a:pt x="46" y="32"/>
                  </a:lnTo>
                  <a:lnTo>
                    <a:pt x="40" y="24"/>
                  </a:lnTo>
                  <a:lnTo>
                    <a:pt x="38" y="20"/>
                  </a:lnTo>
                  <a:lnTo>
                    <a:pt x="40" y="18"/>
                  </a:lnTo>
                  <a:lnTo>
                    <a:pt x="42" y="16"/>
                  </a:lnTo>
                  <a:lnTo>
                    <a:pt x="42" y="16"/>
                  </a:lnTo>
                  <a:lnTo>
                    <a:pt x="48" y="12"/>
                  </a:lnTo>
                  <a:lnTo>
                    <a:pt x="48" y="12"/>
                  </a:lnTo>
                  <a:lnTo>
                    <a:pt x="48" y="10"/>
                  </a:lnTo>
                  <a:lnTo>
                    <a:pt x="48" y="10"/>
                  </a:lnTo>
                  <a:lnTo>
                    <a:pt x="34" y="18"/>
                  </a:lnTo>
                  <a:lnTo>
                    <a:pt x="22" y="40"/>
                  </a:lnTo>
                  <a:lnTo>
                    <a:pt x="22" y="40"/>
                  </a:lnTo>
                  <a:lnTo>
                    <a:pt x="20" y="40"/>
                  </a:lnTo>
                  <a:lnTo>
                    <a:pt x="14" y="46"/>
                  </a:lnTo>
                  <a:lnTo>
                    <a:pt x="14" y="46"/>
                  </a:lnTo>
                  <a:lnTo>
                    <a:pt x="12" y="52"/>
                  </a:lnTo>
                  <a:lnTo>
                    <a:pt x="12" y="54"/>
                  </a:lnTo>
                  <a:lnTo>
                    <a:pt x="12" y="58"/>
                  </a:lnTo>
                  <a:lnTo>
                    <a:pt x="10" y="62"/>
                  </a:lnTo>
                  <a:lnTo>
                    <a:pt x="10" y="62"/>
                  </a:lnTo>
                  <a:lnTo>
                    <a:pt x="2" y="74"/>
                  </a:lnTo>
                  <a:lnTo>
                    <a:pt x="0" y="80"/>
                  </a:lnTo>
                  <a:lnTo>
                    <a:pt x="0" y="80"/>
                  </a:lnTo>
                  <a:lnTo>
                    <a:pt x="0" y="80"/>
                  </a:lnTo>
                  <a:lnTo>
                    <a:pt x="2" y="80"/>
                  </a:lnTo>
                  <a:lnTo>
                    <a:pt x="4" y="80"/>
                  </a:lnTo>
                  <a:lnTo>
                    <a:pt x="6" y="82"/>
                  </a:lnTo>
                  <a:lnTo>
                    <a:pt x="6" y="82"/>
                  </a:lnTo>
                  <a:lnTo>
                    <a:pt x="8" y="84"/>
                  </a:lnTo>
                  <a:lnTo>
                    <a:pt x="10" y="82"/>
                  </a:lnTo>
                  <a:lnTo>
                    <a:pt x="12" y="84"/>
                  </a:lnTo>
                  <a:lnTo>
                    <a:pt x="12" y="90"/>
                  </a:lnTo>
                  <a:lnTo>
                    <a:pt x="12" y="90"/>
                  </a:lnTo>
                  <a:lnTo>
                    <a:pt x="16" y="106"/>
                  </a:lnTo>
                  <a:lnTo>
                    <a:pt x="16" y="112"/>
                  </a:lnTo>
                  <a:lnTo>
                    <a:pt x="16" y="118"/>
                  </a:lnTo>
                  <a:lnTo>
                    <a:pt x="16" y="118"/>
                  </a:lnTo>
                  <a:lnTo>
                    <a:pt x="16" y="120"/>
                  </a:lnTo>
                  <a:lnTo>
                    <a:pt x="16" y="124"/>
                  </a:lnTo>
                  <a:lnTo>
                    <a:pt x="22" y="128"/>
                  </a:lnTo>
                  <a:lnTo>
                    <a:pt x="28" y="132"/>
                  </a:lnTo>
                  <a:lnTo>
                    <a:pt x="34" y="136"/>
                  </a:lnTo>
                  <a:lnTo>
                    <a:pt x="34" y="136"/>
                  </a:lnTo>
                  <a:lnTo>
                    <a:pt x="38" y="138"/>
                  </a:lnTo>
                  <a:lnTo>
                    <a:pt x="42" y="140"/>
                  </a:lnTo>
                  <a:lnTo>
                    <a:pt x="48" y="138"/>
                  </a:lnTo>
                  <a:lnTo>
                    <a:pt x="54" y="136"/>
                  </a:lnTo>
                  <a:lnTo>
                    <a:pt x="58" y="138"/>
                  </a:lnTo>
                  <a:lnTo>
                    <a:pt x="62" y="140"/>
                  </a:lnTo>
                  <a:lnTo>
                    <a:pt x="62" y="140"/>
                  </a:lnTo>
                  <a:lnTo>
                    <a:pt x="68" y="144"/>
                  </a:lnTo>
                  <a:lnTo>
                    <a:pt x="72" y="144"/>
                  </a:lnTo>
                  <a:lnTo>
                    <a:pt x="78" y="152"/>
                  </a:lnTo>
                  <a:lnTo>
                    <a:pt x="78" y="152"/>
                  </a:lnTo>
                  <a:lnTo>
                    <a:pt x="86" y="158"/>
                  </a:lnTo>
                  <a:lnTo>
                    <a:pt x="92" y="160"/>
                  </a:lnTo>
                  <a:lnTo>
                    <a:pt x="100" y="160"/>
                  </a:lnTo>
                  <a:lnTo>
                    <a:pt x="110" y="156"/>
                  </a:lnTo>
                  <a:lnTo>
                    <a:pt x="110" y="156"/>
                  </a:lnTo>
                  <a:lnTo>
                    <a:pt x="116" y="156"/>
                  </a:lnTo>
                  <a:lnTo>
                    <a:pt x="118" y="156"/>
                  </a:lnTo>
                  <a:lnTo>
                    <a:pt x="118" y="158"/>
                  </a:lnTo>
                  <a:lnTo>
                    <a:pt x="116" y="162"/>
                  </a:lnTo>
                  <a:lnTo>
                    <a:pt x="116" y="162"/>
                  </a:lnTo>
                  <a:lnTo>
                    <a:pt x="114" y="166"/>
                  </a:lnTo>
                  <a:lnTo>
                    <a:pt x="114" y="168"/>
                  </a:lnTo>
                  <a:lnTo>
                    <a:pt x="114" y="172"/>
                  </a:lnTo>
                  <a:lnTo>
                    <a:pt x="112" y="174"/>
                  </a:lnTo>
                  <a:lnTo>
                    <a:pt x="112" y="174"/>
                  </a:lnTo>
                  <a:lnTo>
                    <a:pt x="110" y="176"/>
                  </a:lnTo>
                  <a:lnTo>
                    <a:pt x="112" y="180"/>
                  </a:lnTo>
                  <a:lnTo>
                    <a:pt x="112" y="184"/>
                  </a:lnTo>
                  <a:lnTo>
                    <a:pt x="110" y="190"/>
                  </a:lnTo>
                  <a:lnTo>
                    <a:pt x="110" y="190"/>
                  </a:lnTo>
                  <a:lnTo>
                    <a:pt x="108" y="196"/>
                  </a:lnTo>
                  <a:lnTo>
                    <a:pt x="110" y="200"/>
                  </a:lnTo>
                  <a:lnTo>
                    <a:pt x="110" y="208"/>
                  </a:lnTo>
                  <a:lnTo>
                    <a:pt x="112" y="214"/>
                  </a:lnTo>
                  <a:lnTo>
                    <a:pt x="118" y="214"/>
                  </a:lnTo>
                  <a:lnTo>
                    <a:pt x="118" y="214"/>
                  </a:lnTo>
                  <a:lnTo>
                    <a:pt x="120" y="220"/>
                  </a:lnTo>
                  <a:lnTo>
                    <a:pt x="120" y="226"/>
                  </a:lnTo>
                  <a:lnTo>
                    <a:pt x="118" y="232"/>
                  </a:lnTo>
                  <a:lnTo>
                    <a:pt x="112" y="244"/>
                  </a:lnTo>
                  <a:lnTo>
                    <a:pt x="112" y="244"/>
                  </a:lnTo>
                  <a:lnTo>
                    <a:pt x="114" y="244"/>
                  </a:lnTo>
                  <a:lnTo>
                    <a:pt x="118" y="246"/>
                  </a:lnTo>
                  <a:lnTo>
                    <a:pt x="122" y="254"/>
                  </a:lnTo>
                  <a:lnTo>
                    <a:pt x="124" y="268"/>
                  </a:lnTo>
                  <a:lnTo>
                    <a:pt x="126" y="286"/>
                  </a:lnTo>
                  <a:lnTo>
                    <a:pt x="126" y="286"/>
                  </a:lnTo>
                  <a:lnTo>
                    <a:pt x="130" y="290"/>
                  </a:lnTo>
                  <a:lnTo>
                    <a:pt x="132" y="290"/>
                  </a:lnTo>
                  <a:lnTo>
                    <a:pt x="134" y="290"/>
                  </a:lnTo>
                  <a:lnTo>
                    <a:pt x="134" y="290"/>
                  </a:lnTo>
                  <a:lnTo>
                    <a:pt x="138" y="292"/>
                  </a:lnTo>
                  <a:lnTo>
                    <a:pt x="144" y="296"/>
                  </a:lnTo>
                  <a:lnTo>
                    <a:pt x="150" y="298"/>
                  </a:lnTo>
                  <a:lnTo>
                    <a:pt x="152" y="298"/>
                  </a:lnTo>
                  <a:lnTo>
                    <a:pt x="154" y="298"/>
                  </a:lnTo>
                  <a:lnTo>
                    <a:pt x="154" y="298"/>
                  </a:lnTo>
                  <a:lnTo>
                    <a:pt x="160" y="296"/>
                  </a:lnTo>
                  <a:lnTo>
                    <a:pt x="162" y="296"/>
                  </a:lnTo>
                  <a:lnTo>
                    <a:pt x="166" y="296"/>
                  </a:lnTo>
                  <a:lnTo>
                    <a:pt x="170" y="292"/>
                  </a:lnTo>
                  <a:lnTo>
                    <a:pt x="170" y="292"/>
                  </a:lnTo>
                  <a:lnTo>
                    <a:pt x="178" y="284"/>
                  </a:lnTo>
                  <a:lnTo>
                    <a:pt x="182" y="282"/>
                  </a:lnTo>
                  <a:lnTo>
                    <a:pt x="184" y="282"/>
                  </a:lnTo>
                  <a:lnTo>
                    <a:pt x="186" y="280"/>
                  </a:lnTo>
                  <a:lnTo>
                    <a:pt x="186" y="280"/>
                  </a:lnTo>
                  <a:lnTo>
                    <a:pt x="188" y="278"/>
                  </a:lnTo>
                  <a:lnTo>
                    <a:pt x="190" y="278"/>
                  </a:lnTo>
                  <a:lnTo>
                    <a:pt x="192" y="278"/>
                  </a:lnTo>
                  <a:lnTo>
                    <a:pt x="194" y="272"/>
                  </a:lnTo>
                  <a:lnTo>
                    <a:pt x="194" y="272"/>
                  </a:lnTo>
                  <a:lnTo>
                    <a:pt x="194" y="266"/>
                  </a:lnTo>
                  <a:lnTo>
                    <a:pt x="198" y="264"/>
                  </a:lnTo>
                  <a:lnTo>
                    <a:pt x="202" y="264"/>
                  </a:lnTo>
                  <a:lnTo>
                    <a:pt x="210" y="260"/>
                  </a:lnTo>
                  <a:lnTo>
                    <a:pt x="210" y="260"/>
                  </a:lnTo>
                  <a:lnTo>
                    <a:pt x="208" y="252"/>
                  </a:lnTo>
                  <a:lnTo>
                    <a:pt x="202" y="252"/>
                  </a:lnTo>
                  <a:lnTo>
                    <a:pt x="202" y="252"/>
                  </a:lnTo>
                  <a:lnTo>
                    <a:pt x="198" y="252"/>
                  </a:lnTo>
                  <a:lnTo>
                    <a:pt x="194" y="250"/>
                  </a:lnTo>
                  <a:lnTo>
                    <a:pt x="190" y="244"/>
                  </a:lnTo>
                  <a:lnTo>
                    <a:pt x="188" y="236"/>
                  </a:lnTo>
                  <a:lnTo>
                    <a:pt x="190" y="228"/>
                  </a:lnTo>
                  <a:lnTo>
                    <a:pt x="190" y="228"/>
                  </a:lnTo>
                  <a:lnTo>
                    <a:pt x="190" y="224"/>
                  </a:lnTo>
                  <a:lnTo>
                    <a:pt x="190" y="220"/>
                  </a:lnTo>
                  <a:lnTo>
                    <a:pt x="184" y="214"/>
                  </a:lnTo>
                  <a:lnTo>
                    <a:pt x="180" y="210"/>
                  </a:lnTo>
                  <a:lnTo>
                    <a:pt x="180" y="208"/>
                  </a:lnTo>
                  <a:lnTo>
                    <a:pt x="184" y="206"/>
                  </a:lnTo>
                  <a:lnTo>
                    <a:pt x="184" y="206"/>
                  </a:lnTo>
                  <a:lnTo>
                    <a:pt x="190" y="206"/>
                  </a:lnTo>
                  <a:lnTo>
                    <a:pt x="194" y="206"/>
                  </a:lnTo>
                  <a:lnTo>
                    <a:pt x="202" y="210"/>
                  </a:lnTo>
                  <a:lnTo>
                    <a:pt x="208" y="212"/>
                  </a:lnTo>
                  <a:lnTo>
                    <a:pt x="210" y="212"/>
                  </a:lnTo>
                  <a:lnTo>
                    <a:pt x="216" y="212"/>
                  </a:lnTo>
                  <a:lnTo>
                    <a:pt x="216" y="212"/>
                  </a:lnTo>
                  <a:lnTo>
                    <a:pt x="224" y="210"/>
                  </a:lnTo>
                  <a:lnTo>
                    <a:pt x="230" y="212"/>
                  </a:lnTo>
                  <a:lnTo>
                    <a:pt x="232" y="212"/>
                  </a:lnTo>
                  <a:lnTo>
                    <a:pt x="234" y="212"/>
                  </a:lnTo>
                  <a:lnTo>
                    <a:pt x="234" y="212"/>
                  </a:lnTo>
                  <a:lnTo>
                    <a:pt x="236" y="210"/>
                  </a:lnTo>
                  <a:lnTo>
                    <a:pt x="236" y="210"/>
                  </a:lnTo>
                  <a:lnTo>
                    <a:pt x="234" y="208"/>
                  </a:lnTo>
                  <a:lnTo>
                    <a:pt x="236" y="208"/>
                  </a:lnTo>
                  <a:lnTo>
                    <a:pt x="236" y="208"/>
                  </a:lnTo>
                  <a:lnTo>
                    <a:pt x="242" y="206"/>
                  </a:lnTo>
                  <a:lnTo>
                    <a:pt x="248" y="204"/>
                  </a:lnTo>
                  <a:lnTo>
                    <a:pt x="256" y="198"/>
                  </a:lnTo>
                  <a:lnTo>
                    <a:pt x="256" y="198"/>
                  </a:lnTo>
                  <a:lnTo>
                    <a:pt x="260" y="194"/>
                  </a:lnTo>
                  <a:lnTo>
                    <a:pt x="264" y="192"/>
                  </a:lnTo>
                  <a:lnTo>
                    <a:pt x="266" y="190"/>
                  </a:lnTo>
                  <a:lnTo>
                    <a:pt x="268" y="182"/>
                  </a:lnTo>
                  <a:lnTo>
                    <a:pt x="268" y="182"/>
                  </a:lnTo>
                  <a:lnTo>
                    <a:pt x="258" y="168"/>
                  </a:lnTo>
                  <a:lnTo>
                    <a:pt x="256" y="162"/>
                  </a:lnTo>
                  <a:lnTo>
                    <a:pt x="254" y="158"/>
                  </a:lnTo>
                  <a:lnTo>
                    <a:pt x="254" y="158"/>
                  </a:lnTo>
                  <a:lnTo>
                    <a:pt x="256" y="154"/>
                  </a:lnTo>
                  <a:lnTo>
                    <a:pt x="258" y="150"/>
                  </a:lnTo>
                  <a:lnTo>
                    <a:pt x="262" y="148"/>
                  </a:lnTo>
                  <a:lnTo>
                    <a:pt x="260" y="144"/>
                  </a:lnTo>
                  <a:lnTo>
                    <a:pt x="260" y="144"/>
                  </a:lnTo>
                  <a:lnTo>
                    <a:pt x="260" y="140"/>
                  </a:lnTo>
                  <a:lnTo>
                    <a:pt x="260" y="138"/>
                  </a:lnTo>
                  <a:lnTo>
                    <a:pt x="270" y="132"/>
                  </a:lnTo>
                  <a:lnTo>
                    <a:pt x="270" y="132"/>
                  </a:lnTo>
                  <a:lnTo>
                    <a:pt x="274" y="130"/>
                  </a:lnTo>
                  <a:lnTo>
                    <a:pt x="274" y="126"/>
                  </a:lnTo>
                  <a:lnTo>
                    <a:pt x="272" y="124"/>
                  </a:lnTo>
                  <a:lnTo>
                    <a:pt x="268" y="124"/>
                  </a:lnTo>
                  <a:lnTo>
                    <a:pt x="268" y="124"/>
                  </a:lnTo>
                  <a:lnTo>
                    <a:pt x="264" y="126"/>
                  </a:lnTo>
                  <a:lnTo>
                    <a:pt x="264" y="124"/>
                  </a:lnTo>
                  <a:lnTo>
                    <a:pt x="266" y="122"/>
                  </a:lnTo>
                  <a:lnTo>
                    <a:pt x="266" y="118"/>
                  </a:lnTo>
                  <a:lnTo>
                    <a:pt x="266" y="118"/>
                  </a:lnTo>
                  <a:lnTo>
                    <a:pt x="266" y="116"/>
                  </a:lnTo>
                  <a:lnTo>
                    <a:pt x="266" y="114"/>
                  </a:lnTo>
                  <a:lnTo>
                    <a:pt x="268" y="112"/>
                  </a:lnTo>
                  <a:lnTo>
                    <a:pt x="270" y="110"/>
                  </a:lnTo>
                  <a:lnTo>
                    <a:pt x="270" y="110"/>
                  </a:lnTo>
                  <a:lnTo>
                    <a:pt x="272" y="108"/>
                  </a:lnTo>
                  <a:lnTo>
                    <a:pt x="274" y="106"/>
                  </a:lnTo>
                  <a:lnTo>
                    <a:pt x="280" y="106"/>
                  </a:lnTo>
                  <a:lnTo>
                    <a:pt x="284" y="106"/>
                  </a:lnTo>
                  <a:lnTo>
                    <a:pt x="284" y="104"/>
                  </a:lnTo>
                  <a:lnTo>
                    <a:pt x="284" y="100"/>
                  </a:lnTo>
                  <a:lnTo>
                    <a:pt x="284" y="10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3" name="Freeform 19"/>
          <p:cNvSpPr>
            <a:spLocks/>
          </p:cNvSpPr>
          <p:nvPr/>
        </p:nvSpPr>
        <p:spPr bwMode="auto">
          <a:xfrm>
            <a:off x="3035757" y="2604856"/>
            <a:ext cx="77479" cy="116083"/>
          </a:xfrm>
          <a:custGeom>
            <a:avLst/>
            <a:gdLst/>
            <a:ahLst/>
            <a:cxnLst>
              <a:cxn ang="0">
                <a:pos x="68" y="38"/>
              </a:cxn>
              <a:cxn ang="0">
                <a:pos x="64" y="32"/>
              </a:cxn>
              <a:cxn ang="0">
                <a:pos x="62" y="26"/>
              </a:cxn>
              <a:cxn ang="0">
                <a:pos x="60" y="24"/>
              </a:cxn>
              <a:cxn ang="0">
                <a:pos x="56" y="22"/>
              </a:cxn>
              <a:cxn ang="0">
                <a:pos x="54" y="18"/>
              </a:cxn>
              <a:cxn ang="0">
                <a:pos x="50" y="16"/>
              </a:cxn>
              <a:cxn ang="0">
                <a:pos x="46" y="14"/>
              </a:cxn>
              <a:cxn ang="0">
                <a:pos x="42" y="10"/>
              </a:cxn>
              <a:cxn ang="0">
                <a:pos x="32" y="6"/>
              </a:cxn>
              <a:cxn ang="0">
                <a:pos x="28" y="4"/>
              </a:cxn>
              <a:cxn ang="0">
                <a:pos x="24" y="0"/>
              </a:cxn>
              <a:cxn ang="0">
                <a:pos x="20" y="2"/>
              </a:cxn>
              <a:cxn ang="0">
                <a:pos x="6" y="18"/>
              </a:cxn>
              <a:cxn ang="0">
                <a:pos x="4" y="32"/>
              </a:cxn>
              <a:cxn ang="0">
                <a:pos x="6" y="36"/>
              </a:cxn>
              <a:cxn ang="0">
                <a:pos x="4" y="42"/>
              </a:cxn>
              <a:cxn ang="0">
                <a:pos x="8" y="46"/>
              </a:cxn>
              <a:cxn ang="0">
                <a:pos x="12" y="60"/>
              </a:cxn>
              <a:cxn ang="0">
                <a:pos x="14" y="64"/>
              </a:cxn>
              <a:cxn ang="0">
                <a:pos x="10" y="72"/>
              </a:cxn>
              <a:cxn ang="0">
                <a:pos x="10" y="76"/>
              </a:cxn>
              <a:cxn ang="0">
                <a:pos x="8" y="84"/>
              </a:cxn>
              <a:cxn ang="0">
                <a:pos x="0" y="94"/>
              </a:cxn>
              <a:cxn ang="0">
                <a:pos x="4" y="96"/>
              </a:cxn>
              <a:cxn ang="0">
                <a:pos x="6" y="96"/>
              </a:cxn>
              <a:cxn ang="0">
                <a:pos x="10" y="98"/>
              </a:cxn>
              <a:cxn ang="0">
                <a:pos x="14" y="98"/>
              </a:cxn>
              <a:cxn ang="0">
                <a:pos x="18" y="98"/>
              </a:cxn>
              <a:cxn ang="0">
                <a:pos x="22" y="102"/>
              </a:cxn>
              <a:cxn ang="0">
                <a:pos x="30" y="100"/>
              </a:cxn>
              <a:cxn ang="0">
                <a:pos x="40" y="96"/>
              </a:cxn>
              <a:cxn ang="0">
                <a:pos x="40" y="92"/>
              </a:cxn>
              <a:cxn ang="0">
                <a:pos x="44" y="88"/>
              </a:cxn>
              <a:cxn ang="0">
                <a:pos x="48" y="80"/>
              </a:cxn>
              <a:cxn ang="0">
                <a:pos x="50" y="72"/>
              </a:cxn>
              <a:cxn ang="0">
                <a:pos x="56" y="66"/>
              </a:cxn>
              <a:cxn ang="0">
                <a:pos x="56" y="64"/>
              </a:cxn>
              <a:cxn ang="0">
                <a:pos x="60" y="56"/>
              </a:cxn>
              <a:cxn ang="0">
                <a:pos x="62" y="50"/>
              </a:cxn>
              <a:cxn ang="0">
                <a:pos x="62" y="44"/>
              </a:cxn>
              <a:cxn ang="0">
                <a:pos x="66" y="42"/>
              </a:cxn>
              <a:cxn ang="0">
                <a:pos x="68" y="38"/>
              </a:cxn>
            </a:cxnLst>
            <a:rect l="0" t="0" r="r" b="b"/>
            <a:pathLst>
              <a:path w="68" h="102">
                <a:moveTo>
                  <a:pt x="68" y="38"/>
                </a:moveTo>
                <a:lnTo>
                  <a:pt x="68" y="38"/>
                </a:lnTo>
                <a:lnTo>
                  <a:pt x="66" y="34"/>
                </a:lnTo>
                <a:lnTo>
                  <a:pt x="64" y="32"/>
                </a:lnTo>
                <a:lnTo>
                  <a:pt x="62" y="30"/>
                </a:lnTo>
                <a:lnTo>
                  <a:pt x="62" y="26"/>
                </a:lnTo>
                <a:lnTo>
                  <a:pt x="62" y="26"/>
                </a:lnTo>
                <a:lnTo>
                  <a:pt x="60" y="24"/>
                </a:lnTo>
                <a:lnTo>
                  <a:pt x="58" y="24"/>
                </a:lnTo>
                <a:lnTo>
                  <a:pt x="56" y="22"/>
                </a:lnTo>
                <a:lnTo>
                  <a:pt x="54" y="18"/>
                </a:lnTo>
                <a:lnTo>
                  <a:pt x="54" y="18"/>
                </a:lnTo>
                <a:lnTo>
                  <a:pt x="52" y="16"/>
                </a:lnTo>
                <a:lnTo>
                  <a:pt x="50" y="16"/>
                </a:lnTo>
                <a:lnTo>
                  <a:pt x="50" y="16"/>
                </a:lnTo>
                <a:lnTo>
                  <a:pt x="46" y="14"/>
                </a:lnTo>
                <a:lnTo>
                  <a:pt x="46" y="14"/>
                </a:lnTo>
                <a:lnTo>
                  <a:pt x="42" y="10"/>
                </a:lnTo>
                <a:lnTo>
                  <a:pt x="36" y="8"/>
                </a:lnTo>
                <a:lnTo>
                  <a:pt x="32" y="6"/>
                </a:lnTo>
                <a:lnTo>
                  <a:pt x="28" y="4"/>
                </a:lnTo>
                <a:lnTo>
                  <a:pt x="28" y="4"/>
                </a:lnTo>
                <a:lnTo>
                  <a:pt x="26" y="0"/>
                </a:lnTo>
                <a:lnTo>
                  <a:pt x="24" y="0"/>
                </a:lnTo>
                <a:lnTo>
                  <a:pt x="20" y="2"/>
                </a:lnTo>
                <a:lnTo>
                  <a:pt x="20" y="2"/>
                </a:lnTo>
                <a:lnTo>
                  <a:pt x="12" y="10"/>
                </a:lnTo>
                <a:lnTo>
                  <a:pt x="6" y="18"/>
                </a:lnTo>
                <a:lnTo>
                  <a:pt x="4" y="26"/>
                </a:lnTo>
                <a:lnTo>
                  <a:pt x="4" y="32"/>
                </a:lnTo>
                <a:lnTo>
                  <a:pt x="4" y="32"/>
                </a:lnTo>
                <a:lnTo>
                  <a:pt x="6" y="36"/>
                </a:lnTo>
                <a:lnTo>
                  <a:pt x="6" y="38"/>
                </a:lnTo>
                <a:lnTo>
                  <a:pt x="4" y="42"/>
                </a:lnTo>
                <a:lnTo>
                  <a:pt x="8" y="46"/>
                </a:lnTo>
                <a:lnTo>
                  <a:pt x="8" y="46"/>
                </a:lnTo>
                <a:lnTo>
                  <a:pt x="10" y="52"/>
                </a:lnTo>
                <a:lnTo>
                  <a:pt x="12" y="60"/>
                </a:lnTo>
                <a:lnTo>
                  <a:pt x="12" y="60"/>
                </a:lnTo>
                <a:lnTo>
                  <a:pt x="14" y="64"/>
                </a:lnTo>
                <a:lnTo>
                  <a:pt x="12" y="68"/>
                </a:lnTo>
                <a:lnTo>
                  <a:pt x="10" y="72"/>
                </a:lnTo>
                <a:lnTo>
                  <a:pt x="10" y="76"/>
                </a:lnTo>
                <a:lnTo>
                  <a:pt x="10" y="76"/>
                </a:lnTo>
                <a:lnTo>
                  <a:pt x="10" y="80"/>
                </a:lnTo>
                <a:lnTo>
                  <a:pt x="8" y="84"/>
                </a:lnTo>
                <a:lnTo>
                  <a:pt x="4" y="88"/>
                </a:lnTo>
                <a:lnTo>
                  <a:pt x="0" y="94"/>
                </a:lnTo>
                <a:lnTo>
                  <a:pt x="0" y="94"/>
                </a:lnTo>
                <a:lnTo>
                  <a:pt x="4" y="96"/>
                </a:lnTo>
                <a:lnTo>
                  <a:pt x="6" y="96"/>
                </a:lnTo>
                <a:lnTo>
                  <a:pt x="6" y="96"/>
                </a:lnTo>
                <a:lnTo>
                  <a:pt x="10" y="96"/>
                </a:lnTo>
                <a:lnTo>
                  <a:pt x="10" y="98"/>
                </a:lnTo>
                <a:lnTo>
                  <a:pt x="12" y="98"/>
                </a:lnTo>
                <a:lnTo>
                  <a:pt x="14" y="98"/>
                </a:lnTo>
                <a:lnTo>
                  <a:pt x="14" y="98"/>
                </a:lnTo>
                <a:lnTo>
                  <a:pt x="18" y="98"/>
                </a:lnTo>
                <a:lnTo>
                  <a:pt x="20" y="102"/>
                </a:lnTo>
                <a:lnTo>
                  <a:pt x="22" y="102"/>
                </a:lnTo>
                <a:lnTo>
                  <a:pt x="30" y="100"/>
                </a:lnTo>
                <a:lnTo>
                  <a:pt x="30" y="100"/>
                </a:lnTo>
                <a:lnTo>
                  <a:pt x="38" y="98"/>
                </a:lnTo>
                <a:lnTo>
                  <a:pt x="40" y="96"/>
                </a:lnTo>
                <a:lnTo>
                  <a:pt x="40" y="92"/>
                </a:lnTo>
                <a:lnTo>
                  <a:pt x="40" y="92"/>
                </a:lnTo>
                <a:lnTo>
                  <a:pt x="42" y="88"/>
                </a:lnTo>
                <a:lnTo>
                  <a:pt x="44" y="88"/>
                </a:lnTo>
                <a:lnTo>
                  <a:pt x="46" y="86"/>
                </a:lnTo>
                <a:lnTo>
                  <a:pt x="48" y="80"/>
                </a:lnTo>
                <a:lnTo>
                  <a:pt x="48" y="80"/>
                </a:lnTo>
                <a:lnTo>
                  <a:pt x="50" y="72"/>
                </a:lnTo>
                <a:lnTo>
                  <a:pt x="54" y="68"/>
                </a:lnTo>
                <a:lnTo>
                  <a:pt x="56" y="66"/>
                </a:lnTo>
                <a:lnTo>
                  <a:pt x="56" y="64"/>
                </a:lnTo>
                <a:lnTo>
                  <a:pt x="56" y="64"/>
                </a:lnTo>
                <a:lnTo>
                  <a:pt x="58" y="58"/>
                </a:lnTo>
                <a:lnTo>
                  <a:pt x="60" y="56"/>
                </a:lnTo>
                <a:lnTo>
                  <a:pt x="62" y="54"/>
                </a:lnTo>
                <a:lnTo>
                  <a:pt x="62" y="50"/>
                </a:lnTo>
                <a:lnTo>
                  <a:pt x="62" y="50"/>
                </a:lnTo>
                <a:lnTo>
                  <a:pt x="62" y="44"/>
                </a:lnTo>
                <a:lnTo>
                  <a:pt x="64" y="44"/>
                </a:lnTo>
                <a:lnTo>
                  <a:pt x="66" y="42"/>
                </a:lnTo>
                <a:lnTo>
                  <a:pt x="68" y="38"/>
                </a:lnTo>
                <a:lnTo>
                  <a:pt x="68" y="38"/>
                </a:lnTo>
                <a:close/>
              </a:path>
            </a:pathLst>
          </a:custGeom>
          <a:solidFill>
            <a:schemeClr val="tx1">
              <a:alpha val="99000"/>
            </a:schemeClr>
          </a:solidFill>
          <a:ln w="9525">
            <a:solidFill>
              <a:schemeClr val="tx1"/>
            </a:solid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414" name="Freeform 19"/>
          <p:cNvSpPr>
            <a:spLocks/>
          </p:cNvSpPr>
          <p:nvPr/>
        </p:nvSpPr>
        <p:spPr bwMode="auto">
          <a:xfrm>
            <a:off x="3021466" y="2597712"/>
            <a:ext cx="77479" cy="116083"/>
          </a:xfrm>
          <a:custGeom>
            <a:avLst/>
            <a:gdLst/>
            <a:ahLst/>
            <a:cxnLst>
              <a:cxn ang="0">
                <a:pos x="68" y="38"/>
              </a:cxn>
              <a:cxn ang="0">
                <a:pos x="64" y="32"/>
              </a:cxn>
              <a:cxn ang="0">
                <a:pos x="62" y="26"/>
              </a:cxn>
              <a:cxn ang="0">
                <a:pos x="60" y="24"/>
              </a:cxn>
              <a:cxn ang="0">
                <a:pos x="56" y="22"/>
              </a:cxn>
              <a:cxn ang="0">
                <a:pos x="54" y="18"/>
              </a:cxn>
              <a:cxn ang="0">
                <a:pos x="50" y="16"/>
              </a:cxn>
              <a:cxn ang="0">
                <a:pos x="46" y="14"/>
              </a:cxn>
              <a:cxn ang="0">
                <a:pos x="42" y="10"/>
              </a:cxn>
              <a:cxn ang="0">
                <a:pos x="32" y="6"/>
              </a:cxn>
              <a:cxn ang="0">
                <a:pos x="28" y="4"/>
              </a:cxn>
              <a:cxn ang="0">
                <a:pos x="24" y="0"/>
              </a:cxn>
              <a:cxn ang="0">
                <a:pos x="20" y="2"/>
              </a:cxn>
              <a:cxn ang="0">
                <a:pos x="6" y="18"/>
              </a:cxn>
              <a:cxn ang="0">
                <a:pos x="4" y="32"/>
              </a:cxn>
              <a:cxn ang="0">
                <a:pos x="6" y="36"/>
              </a:cxn>
              <a:cxn ang="0">
                <a:pos x="4" y="42"/>
              </a:cxn>
              <a:cxn ang="0">
                <a:pos x="8" y="46"/>
              </a:cxn>
              <a:cxn ang="0">
                <a:pos x="12" y="60"/>
              </a:cxn>
              <a:cxn ang="0">
                <a:pos x="14" y="64"/>
              </a:cxn>
              <a:cxn ang="0">
                <a:pos x="10" y="72"/>
              </a:cxn>
              <a:cxn ang="0">
                <a:pos x="10" y="76"/>
              </a:cxn>
              <a:cxn ang="0">
                <a:pos x="8" y="84"/>
              </a:cxn>
              <a:cxn ang="0">
                <a:pos x="0" y="94"/>
              </a:cxn>
              <a:cxn ang="0">
                <a:pos x="4" y="96"/>
              </a:cxn>
              <a:cxn ang="0">
                <a:pos x="6" y="96"/>
              </a:cxn>
              <a:cxn ang="0">
                <a:pos x="10" y="98"/>
              </a:cxn>
              <a:cxn ang="0">
                <a:pos x="14" y="98"/>
              </a:cxn>
              <a:cxn ang="0">
                <a:pos x="18" y="98"/>
              </a:cxn>
              <a:cxn ang="0">
                <a:pos x="22" y="102"/>
              </a:cxn>
              <a:cxn ang="0">
                <a:pos x="30" y="100"/>
              </a:cxn>
              <a:cxn ang="0">
                <a:pos x="40" y="96"/>
              </a:cxn>
              <a:cxn ang="0">
                <a:pos x="40" y="92"/>
              </a:cxn>
              <a:cxn ang="0">
                <a:pos x="44" y="88"/>
              </a:cxn>
              <a:cxn ang="0">
                <a:pos x="48" y="80"/>
              </a:cxn>
              <a:cxn ang="0">
                <a:pos x="50" y="72"/>
              </a:cxn>
              <a:cxn ang="0">
                <a:pos x="56" y="66"/>
              </a:cxn>
              <a:cxn ang="0">
                <a:pos x="56" y="64"/>
              </a:cxn>
              <a:cxn ang="0">
                <a:pos x="60" y="56"/>
              </a:cxn>
              <a:cxn ang="0">
                <a:pos x="62" y="50"/>
              </a:cxn>
              <a:cxn ang="0">
                <a:pos x="62" y="44"/>
              </a:cxn>
              <a:cxn ang="0">
                <a:pos x="66" y="42"/>
              </a:cxn>
              <a:cxn ang="0">
                <a:pos x="68" y="38"/>
              </a:cxn>
            </a:cxnLst>
            <a:rect l="0" t="0" r="r" b="b"/>
            <a:pathLst>
              <a:path w="68" h="102">
                <a:moveTo>
                  <a:pt x="68" y="38"/>
                </a:moveTo>
                <a:lnTo>
                  <a:pt x="68" y="38"/>
                </a:lnTo>
                <a:lnTo>
                  <a:pt x="66" y="34"/>
                </a:lnTo>
                <a:lnTo>
                  <a:pt x="64" y="32"/>
                </a:lnTo>
                <a:lnTo>
                  <a:pt x="62" y="30"/>
                </a:lnTo>
                <a:lnTo>
                  <a:pt x="62" y="26"/>
                </a:lnTo>
                <a:lnTo>
                  <a:pt x="62" y="26"/>
                </a:lnTo>
                <a:lnTo>
                  <a:pt x="60" y="24"/>
                </a:lnTo>
                <a:lnTo>
                  <a:pt x="58" y="24"/>
                </a:lnTo>
                <a:lnTo>
                  <a:pt x="56" y="22"/>
                </a:lnTo>
                <a:lnTo>
                  <a:pt x="54" y="18"/>
                </a:lnTo>
                <a:lnTo>
                  <a:pt x="54" y="18"/>
                </a:lnTo>
                <a:lnTo>
                  <a:pt x="52" y="16"/>
                </a:lnTo>
                <a:lnTo>
                  <a:pt x="50" y="16"/>
                </a:lnTo>
                <a:lnTo>
                  <a:pt x="50" y="16"/>
                </a:lnTo>
                <a:lnTo>
                  <a:pt x="46" y="14"/>
                </a:lnTo>
                <a:lnTo>
                  <a:pt x="46" y="14"/>
                </a:lnTo>
                <a:lnTo>
                  <a:pt x="42" y="10"/>
                </a:lnTo>
                <a:lnTo>
                  <a:pt x="36" y="8"/>
                </a:lnTo>
                <a:lnTo>
                  <a:pt x="32" y="6"/>
                </a:lnTo>
                <a:lnTo>
                  <a:pt x="28" y="4"/>
                </a:lnTo>
                <a:lnTo>
                  <a:pt x="28" y="4"/>
                </a:lnTo>
                <a:lnTo>
                  <a:pt x="26" y="0"/>
                </a:lnTo>
                <a:lnTo>
                  <a:pt x="24" y="0"/>
                </a:lnTo>
                <a:lnTo>
                  <a:pt x="20" y="2"/>
                </a:lnTo>
                <a:lnTo>
                  <a:pt x="20" y="2"/>
                </a:lnTo>
                <a:lnTo>
                  <a:pt x="12" y="10"/>
                </a:lnTo>
                <a:lnTo>
                  <a:pt x="6" y="18"/>
                </a:lnTo>
                <a:lnTo>
                  <a:pt x="4" y="26"/>
                </a:lnTo>
                <a:lnTo>
                  <a:pt x="4" y="32"/>
                </a:lnTo>
                <a:lnTo>
                  <a:pt x="4" y="32"/>
                </a:lnTo>
                <a:lnTo>
                  <a:pt x="6" y="36"/>
                </a:lnTo>
                <a:lnTo>
                  <a:pt x="6" y="38"/>
                </a:lnTo>
                <a:lnTo>
                  <a:pt x="4" y="42"/>
                </a:lnTo>
                <a:lnTo>
                  <a:pt x="8" y="46"/>
                </a:lnTo>
                <a:lnTo>
                  <a:pt x="8" y="46"/>
                </a:lnTo>
                <a:lnTo>
                  <a:pt x="10" y="52"/>
                </a:lnTo>
                <a:lnTo>
                  <a:pt x="12" y="60"/>
                </a:lnTo>
                <a:lnTo>
                  <a:pt x="12" y="60"/>
                </a:lnTo>
                <a:lnTo>
                  <a:pt x="14" y="64"/>
                </a:lnTo>
                <a:lnTo>
                  <a:pt x="12" y="68"/>
                </a:lnTo>
                <a:lnTo>
                  <a:pt x="10" y="72"/>
                </a:lnTo>
                <a:lnTo>
                  <a:pt x="10" y="76"/>
                </a:lnTo>
                <a:lnTo>
                  <a:pt x="10" y="76"/>
                </a:lnTo>
                <a:lnTo>
                  <a:pt x="10" y="80"/>
                </a:lnTo>
                <a:lnTo>
                  <a:pt x="8" y="84"/>
                </a:lnTo>
                <a:lnTo>
                  <a:pt x="4" y="88"/>
                </a:lnTo>
                <a:lnTo>
                  <a:pt x="0" y="94"/>
                </a:lnTo>
                <a:lnTo>
                  <a:pt x="0" y="94"/>
                </a:lnTo>
                <a:lnTo>
                  <a:pt x="4" y="96"/>
                </a:lnTo>
                <a:lnTo>
                  <a:pt x="6" y="96"/>
                </a:lnTo>
                <a:lnTo>
                  <a:pt x="6" y="96"/>
                </a:lnTo>
                <a:lnTo>
                  <a:pt x="10" y="96"/>
                </a:lnTo>
                <a:lnTo>
                  <a:pt x="10" y="98"/>
                </a:lnTo>
                <a:lnTo>
                  <a:pt x="12" y="98"/>
                </a:lnTo>
                <a:lnTo>
                  <a:pt x="14" y="98"/>
                </a:lnTo>
                <a:lnTo>
                  <a:pt x="14" y="98"/>
                </a:lnTo>
                <a:lnTo>
                  <a:pt x="18" y="98"/>
                </a:lnTo>
                <a:lnTo>
                  <a:pt x="20" y="102"/>
                </a:lnTo>
                <a:lnTo>
                  <a:pt x="22" y="102"/>
                </a:lnTo>
                <a:lnTo>
                  <a:pt x="30" y="100"/>
                </a:lnTo>
                <a:lnTo>
                  <a:pt x="30" y="100"/>
                </a:lnTo>
                <a:lnTo>
                  <a:pt x="38" y="98"/>
                </a:lnTo>
                <a:lnTo>
                  <a:pt x="40" y="96"/>
                </a:lnTo>
                <a:lnTo>
                  <a:pt x="40" y="92"/>
                </a:lnTo>
                <a:lnTo>
                  <a:pt x="40" y="92"/>
                </a:lnTo>
                <a:lnTo>
                  <a:pt x="42" y="88"/>
                </a:lnTo>
                <a:lnTo>
                  <a:pt x="44" y="88"/>
                </a:lnTo>
                <a:lnTo>
                  <a:pt x="46" y="86"/>
                </a:lnTo>
                <a:lnTo>
                  <a:pt x="48" y="80"/>
                </a:lnTo>
                <a:lnTo>
                  <a:pt x="48" y="80"/>
                </a:lnTo>
                <a:lnTo>
                  <a:pt x="50" y="72"/>
                </a:lnTo>
                <a:lnTo>
                  <a:pt x="54" y="68"/>
                </a:lnTo>
                <a:lnTo>
                  <a:pt x="56" y="66"/>
                </a:lnTo>
                <a:lnTo>
                  <a:pt x="56" y="64"/>
                </a:lnTo>
                <a:lnTo>
                  <a:pt x="56" y="64"/>
                </a:lnTo>
                <a:lnTo>
                  <a:pt x="58" y="58"/>
                </a:lnTo>
                <a:lnTo>
                  <a:pt x="60" y="56"/>
                </a:lnTo>
                <a:lnTo>
                  <a:pt x="62" y="54"/>
                </a:lnTo>
                <a:lnTo>
                  <a:pt x="62" y="50"/>
                </a:lnTo>
                <a:lnTo>
                  <a:pt x="62" y="50"/>
                </a:lnTo>
                <a:lnTo>
                  <a:pt x="62" y="44"/>
                </a:lnTo>
                <a:lnTo>
                  <a:pt x="64" y="44"/>
                </a:lnTo>
                <a:lnTo>
                  <a:pt x="66" y="42"/>
                </a:lnTo>
                <a:lnTo>
                  <a:pt x="68" y="38"/>
                </a:lnTo>
                <a:lnTo>
                  <a:pt x="68" y="38"/>
                </a:lnTo>
                <a:close/>
              </a:path>
            </a:pathLst>
          </a:custGeom>
          <a:solidFill>
            <a:schemeClr val="tx1">
              <a:alpha val="99000"/>
            </a:schemeClr>
          </a:solidFill>
          <a:ln w="9525">
            <a:solidFill>
              <a:schemeClr val="tx1"/>
            </a:solid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033" name="Montenegro"/>
          <p:cNvSpPr>
            <a:spLocks/>
          </p:cNvSpPr>
          <p:nvPr/>
        </p:nvSpPr>
        <p:spPr bwMode="auto">
          <a:xfrm>
            <a:off x="4745708" y="1558689"/>
            <a:ext cx="34298" cy="38438"/>
          </a:xfrm>
          <a:custGeom>
            <a:avLst/>
            <a:gdLst>
              <a:gd name="T0" fmla="*/ 744 w 744"/>
              <a:gd name="T1" fmla="*/ 364 h 834"/>
              <a:gd name="T2" fmla="*/ 654 w 744"/>
              <a:gd name="T3" fmla="*/ 258 h 834"/>
              <a:gd name="T4" fmla="*/ 586 w 744"/>
              <a:gd name="T5" fmla="*/ 208 h 834"/>
              <a:gd name="T6" fmla="*/ 529 w 744"/>
              <a:gd name="T7" fmla="*/ 208 h 834"/>
              <a:gd name="T8" fmla="*/ 517 w 744"/>
              <a:gd name="T9" fmla="*/ 178 h 834"/>
              <a:gd name="T10" fmla="*/ 435 w 744"/>
              <a:gd name="T11" fmla="*/ 133 h 834"/>
              <a:gd name="T12" fmla="*/ 317 w 744"/>
              <a:gd name="T13" fmla="*/ 0 h 834"/>
              <a:gd name="T14" fmla="*/ 220 w 744"/>
              <a:gd name="T15" fmla="*/ 0 h 834"/>
              <a:gd name="T16" fmla="*/ 272 w 744"/>
              <a:gd name="T17" fmla="*/ 114 h 834"/>
              <a:gd name="T18" fmla="*/ 208 w 744"/>
              <a:gd name="T19" fmla="*/ 126 h 834"/>
              <a:gd name="T20" fmla="*/ 182 w 744"/>
              <a:gd name="T21" fmla="*/ 55 h 834"/>
              <a:gd name="T22" fmla="*/ 102 w 744"/>
              <a:gd name="T23" fmla="*/ 107 h 834"/>
              <a:gd name="T24" fmla="*/ 106 w 744"/>
              <a:gd name="T25" fmla="*/ 234 h 834"/>
              <a:gd name="T26" fmla="*/ 57 w 744"/>
              <a:gd name="T27" fmla="*/ 234 h 834"/>
              <a:gd name="T28" fmla="*/ 19 w 744"/>
              <a:gd name="T29" fmla="*/ 364 h 834"/>
              <a:gd name="T30" fmla="*/ 87 w 744"/>
              <a:gd name="T31" fmla="*/ 447 h 834"/>
              <a:gd name="T32" fmla="*/ 7 w 744"/>
              <a:gd name="T33" fmla="*/ 473 h 834"/>
              <a:gd name="T34" fmla="*/ 26 w 744"/>
              <a:gd name="T35" fmla="*/ 579 h 834"/>
              <a:gd name="T36" fmla="*/ 0 w 744"/>
              <a:gd name="T37" fmla="*/ 603 h 834"/>
              <a:gd name="T38" fmla="*/ 0 w 744"/>
              <a:gd name="T39" fmla="*/ 612 h 834"/>
              <a:gd name="T40" fmla="*/ 45 w 744"/>
              <a:gd name="T41" fmla="*/ 612 h 834"/>
              <a:gd name="T42" fmla="*/ 135 w 744"/>
              <a:gd name="T43" fmla="*/ 699 h 834"/>
              <a:gd name="T44" fmla="*/ 224 w 744"/>
              <a:gd name="T45" fmla="*/ 744 h 834"/>
              <a:gd name="T46" fmla="*/ 314 w 744"/>
              <a:gd name="T47" fmla="*/ 789 h 834"/>
              <a:gd name="T48" fmla="*/ 359 w 744"/>
              <a:gd name="T49" fmla="*/ 834 h 834"/>
              <a:gd name="T50" fmla="*/ 366 w 744"/>
              <a:gd name="T51" fmla="*/ 827 h 834"/>
              <a:gd name="T52" fmla="*/ 361 w 744"/>
              <a:gd name="T53" fmla="*/ 747 h 834"/>
              <a:gd name="T54" fmla="*/ 359 w 744"/>
              <a:gd name="T55" fmla="*/ 744 h 834"/>
              <a:gd name="T56" fmla="*/ 359 w 744"/>
              <a:gd name="T57" fmla="*/ 699 h 834"/>
              <a:gd name="T58" fmla="*/ 340 w 744"/>
              <a:gd name="T59" fmla="*/ 699 h 834"/>
              <a:gd name="T60" fmla="*/ 503 w 744"/>
              <a:gd name="T61" fmla="*/ 409 h 834"/>
              <a:gd name="T62" fmla="*/ 529 w 744"/>
              <a:gd name="T63" fmla="*/ 536 h 834"/>
              <a:gd name="T64" fmla="*/ 616 w 744"/>
              <a:gd name="T65" fmla="*/ 492 h 834"/>
              <a:gd name="T66" fmla="*/ 616 w 744"/>
              <a:gd name="T67" fmla="*/ 435 h 834"/>
              <a:gd name="T68" fmla="*/ 616 w 744"/>
              <a:gd name="T69" fmla="*/ 364 h 834"/>
              <a:gd name="T70" fmla="*/ 706 w 744"/>
              <a:gd name="T71" fmla="*/ 364 h 834"/>
              <a:gd name="T72" fmla="*/ 744 w 744"/>
              <a:gd name="T73" fmla="*/ 364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4" h="834">
                <a:moveTo>
                  <a:pt x="744" y="364"/>
                </a:moveTo>
                <a:lnTo>
                  <a:pt x="654" y="258"/>
                </a:lnTo>
                <a:lnTo>
                  <a:pt x="586" y="208"/>
                </a:lnTo>
                <a:lnTo>
                  <a:pt x="529" y="208"/>
                </a:lnTo>
                <a:lnTo>
                  <a:pt x="517" y="178"/>
                </a:lnTo>
                <a:lnTo>
                  <a:pt x="435" y="133"/>
                </a:lnTo>
                <a:lnTo>
                  <a:pt x="317" y="0"/>
                </a:lnTo>
                <a:lnTo>
                  <a:pt x="220" y="0"/>
                </a:lnTo>
                <a:lnTo>
                  <a:pt x="272" y="114"/>
                </a:lnTo>
                <a:lnTo>
                  <a:pt x="208" y="126"/>
                </a:lnTo>
                <a:lnTo>
                  <a:pt x="182" y="55"/>
                </a:lnTo>
                <a:lnTo>
                  <a:pt x="102" y="107"/>
                </a:lnTo>
                <a:lnTo>
                  <a:pt x="106" y="234"/>
                </a:lnTo>
                <a:lnTo>
                  <a:pt x="57" y="234"/>
                </a:lnTo>
                <a:lnTo>
                  <a:pt x="19" y="364"/>
                </a:lnTo>
                <a:lnTo>
                  <a:pt x="87" y="447"/>
                </a:lnTo>
                <a:lnTo>
                  <a:pt x="7" y="473"/>
                </a:lnTo>
                <a:lnTo>
                  <a:pt x="26" y="579"/>
                </a:lnTo>
                <a:lnTo>
                  <a:pt x="0" y="603"/>
                </a:lnTo>
                <a:lnTo>
                  <a:pt x="0" y="612"/>
                </a:lnTo>
                <a:lnTo>
                  <a:pt x="45" y="612"/>
                </a:lnTo>
                <a:lnTo>
                  <a:pt x="135" y="699"/>
                </a:lnTo>
                <a:lnTo>
                  <a:pt x="224" y="744"/>
                </a:lnTo>
                <a:lnTo>
                  <a:pt x="314" y="789"/>
                </a:lnTo>
                <a:lnTo>
                  <a:pt x="359" y="834"/>
                </a:lnTo>
                <a:lnTo>
                  <a:pt x="366" y="827"/>
                </a:lnTo>
                <a:lnTo>
                  <a:pt x="361" y="747"/>
                </a:lnTo>
                <a:lnTo>
                  <a:pt x="359" y="744"/>
                </a:lnTo>
                <a:lnTo>
                  <a:pt x="359" y="699"/>
                </a:lnTo>
                <a:lnTo>
                  <a:pt x="340" y="699"/>
                </a:lnTo>
                <a:lnTo>
                  <a:pt x="503" y="409"/>
                </a:lnTo>
                <a:lnTo>
                  <a:pt x="529" y="536"/>
                </a:lnTo>
                <a:lnTo>
                  <a:pt x="616" y="492"/>
                </a:lnTo>
                <a:lnTo>
                  <a:pt x="616" y="435"/>
                </a:lnTo>
                <a:lnTo>
                  <a:pt x="616" y="364"/>
                </a:lnTo>
                <a:lnTo>
                  <a:pt x="706" y="364"/>
                </a:lnTo>
                <a:lnTo>
                  <a:pt x="744" y="364"/>
                </a:lnTo>
                <a:close/>
              </a:path>
            </a:pathLst>
          </a:custGeom>
          <a:solidFill>
            <a:schemeClr val="tx1"/>
          </a:solidFill>
          <a:ln w="9525">
            <a:solidFill>
              <a:schemeClr val="tx1"/>
            </a:solidFill>
          </a:ln>
        </p:spPr>
        <p:txBody>
          <a:bodyPr vert="horz" wrap="square" lIns="68589" tIns="34295" rIns="68589" bIns="34295" numCol="1" anchor="t" anchorCtr="0" compatLnSpc="1">
            <a:prstTxWarp prst="textNoShape">
              <a:avLst/>
            </a:prstTxWarp>
          </a:bodyPr>
          <a:lstStyle/>
          <a:p>
            <a:endParaRPr lang="en-US" dirty="0"/>
          </a:p>
        </p:txBody>
      </p:sp>
      <p:sp>
        <p:nvSpPr>
          <p:cNvPr id="443" name="Monaco"/>
          <p:cNvSpPr>
            <a:spLocks/>
          </p:cNvSpPr>
          <p:nvPr/>
        </p:nvSpPr>
        <p:spPr bwMode="auto">
          <a:xfrm>
            <a:off x="4487381" y="1545416"/>
            <a:ext cx="11394" cy="9104"/>
          </a:xfrm>
          <a:custGeom>
            <a:avLst/>
            <a:gdLst/>
            <a:ahLst/>
            <a:cxnLst>
              <a:cxn ang="0">
                <a:pos x="8" y="8"/>
              </a:cxn>
              <a:cxn ang="0">
                <a:pos x="8" y="8"/>
              </a:cxn>
              <a:cxn ang="0">
                <a:pos x="0" y="8"/>
              </a:cxn>
              <a:cxn ang="0">
                <a:pos x="0" y="8"/>
              </a:cxn>
              <a:cxn ang="0">
                <a:pos x="4" y="4"/>
              </a:cxn>
              <a:cxn ang="0">
                <a:pos x="8" y="0"/>
              </a:cxn>
              <a:cxn ang="0">
                <a:pos x="8" y="0"/>
              </a:cxn>
              <a:cxn ang="0">
                <a:pos x="10" y="2"/>
              </a:cxn>
              <a:cxn ang="0">
                <a:pos x="8" y="8"/>
              </a:cxn>
              <a:cxn ang="0">
                <a:pos x="8" y="8"/>
              </a:cxn>
            </a:cxnLst>
            <a:rect l="0" t="0" r="r" b="b"/>
            <a:pathLst>
              <a:path w="10" h="8">
                <a:moveTo>
                  <a:pt x="8" y="8"/>
                </a:moveTo>
                <a:lnTo>
                  <a:pt x="8" y="8"/>
                </a:lnTo>
                <a:lnTo>
                  <a:pt x="0" y="8"/>
                </a:lnTo>
                <a:lnTo>
                  <a:pt x="0" y="8"/>
                </a:lnTo>
                <a:lnTo>
                  <a:pt x="4" y="4"/>
                </a:lnTo>
                <a:lnTo>
                  <a:pt x="8" y="0"/>
                </a:lnTo>
                <a:lnTo>
                  <a:pt x="8" y="0"/>
                </a:lnTo>
                <a:lnTo>
                  <a:pt x="10" y="2"/>
                </a:lnTo>
                <a:lnTo>
                  <a:pt x="8" y="8"/>
                </a:lnTo>
                <a:lnTo>
                  <a:pt x="8" y="8"/>
                </a:lnTo>
                <a:close/>
              </a:path>
            </a:pathLst>
          </a:custGeom>
          <a:solidFill>
            <a:schemeClr val="tx1"/>
          </a:solidFill>
          <a:ln w="9525">
            <a:solidFill>
              <a:schemeClr val="tx1"/>
            </a:solid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688" name="Eritrea"/>
          <p:cNvSpPr>
            <a:spLocks/>
          </p:cNvSpPr>
          <p:nvPr/>
        </p:nvSpPr>
        <p:spPr bwMode="auto">
          <a:xfrm>
            <a:off x="5206018" y="2233632"/>
            <a:ext cx="182306" cy="176099"/>
          </a:xfrm>
          <a:custGeom>
            <a:avLst/>
            <a:gdLst/>
            <a:ahLst/>
            <a:cxnLst/>
            <a:rect l="l" t="t" r="r" b="b"/>
            <a:pathLst>
              <a:path w="243012" h="234798">
                <a:moveTo>
                  <a:pt x="238480" y="223855"/>
                </a:moveTo>
                <a:lnTo>
                  <a:pt x="243012" y="230648"/>
                </a:lnTo>
                <a:lnTo>
                  <a:pt x="243012" y="234798"/>
                </a:lnTo>
                <a:close/>
                <a:moveTo>
                  <a:pt x="60753" y="0"/>
                </a:moveTo>
                <a:lnTo>
                  <a:pt x="85054" y="36418"/>
                </a:lnTo>
                <a:lnTo>
                  <a:pt x="91130" y="51592"/>
                </a:lnTo>
                <a:lnTo>
                  <a:pt x="97205" y="75871"/>
                </a:lnTo>
                <a:lnTo>
                  <a:pt x="103280" y="97115"/>
                </a:lnTo>
                <a:lnTo>
                  <a:pt x="109356" y="109254"/>
                </a:lnTo>
                <a:lnTo>
                  <a:pt x="112393" y="109254"/>
                </a:lnTo>
                <a:lnTo>
                  <a:pt x="115431" y="109254"/>
                </a:lnTo>
                <a:lnTo>
                  <a:pt x="118469" y="106219"/>
                </a:lnTo>
                <a:lnTo>
                  <a:pt x="121506" y="112289"/>
                </a:lnTo>
                <a:lnTo>
                  <a:pt x="127582" y="118359"/>
                </a:lnTo>
                <a:lnTo>
                  <a:pt x="130619" y="121394"/>
                </a:lnTo>
                <a:lnTo>
                  <a:pt x="136694" y="124428"/>
                </a:lnTo>
                <a:lnTo>
                  <a:pt x="142770" y="127463"/>
                </a:lnTo>
                <a:lnTo>
                  <a:pt x="148845" y="130498"/>
                </a:lnTo>
                <a:lnTo>
                  <a:pt x="151883" y="133533"/>
                </a:lnTo>
                <a:lnTo>
                  <a:pt x="157958" y="133533"/>
                </a:lnTo>
                <a:lnTo>
                  <a:pt x="160996" y="136568"/>
                </a:lnTo>
                <a:lnTo>
                  <a:pt x="167071" y="139603"/>
                </a:lnTo>
                <a:lnTo>
                  <a:pt x="176184" y="151742"/>
                </a:lnTo>
                <a:lnTo>
                  <a:pt x="185297" y="163881"/>
                </a:lnTo>
                <a:lnTo>
                  <a:pt x="197447" y="176021"/>
                </a:lnTo>
                <a:lnTo>
                  <a:pt x="206560" y="185125"/>
                </a:lnTo>
                <a:lnTo>
                  <a:pt x="209598" y="194230"/>
                </a:lnTo>
                <a:lnTo>
                  <a:pt x="209598" y="197264"/>
                </a:lnTo>
                <a:lnTo>
                  <a:pt x="212636" y="200299"/>
                </a:lnTo>
                <a:lnTo>
                  <a:pt x="218711" y="200299"/>
                </a:lnTo>
                <a:lnTo>
                  <a:pt x="218711" y="203334"/>
                </a:lnTo>
                <a:lnTo>
                  <a:pt x="227824" y="215473"/>
                </a:lnTo>
                <a:lnTo>
                  <a:pt x="231091" y="217649"/>
                </a:lnTo>
                <a:lnTo>
                  <a:pt x="210412" y="209084"/>
                </a:lnTo>
                <a:cubicBezTo>
                  <a:pt x="207930" y="209084"/>
                  <a:pt x="205505" y="209325"/>
                  <a:pt x="203576" y="211916"/>
                </a:cubicBezTo>
                <a:lnTo>
                  <a:pt x="194410" y="197264"/>
                </a:lnTo>
                <a:lnTo>
                  <a:pt x="173146" y="176021"/>
                </a:lnTo>
                <a:lnTo>
                  <a:pt x="164033" y="166916"/>
                </a:lnTo>
                <a:lnTo>
                  <a:pt x="151883" y="157812"/>
                </a:lnTo>
                <a:lnTo>
                  <a:pt x="139732" y="154777"/>
                </a:lnTo>
                <a:lnTo>
                  <a:pt x="124544" y="154777"/>
                </a:lnTo>
                <a:lnTo>
                  <a:pt x="112393" y="154777"/>
                </a:lnTo>
                <a:lnTo>
                  <a:pt x="106318" y="154777"/>
                </a:lnTo>
                <a:lnTo>
                  <a:pt x="100243" y="154777"/>
                </a:lnTo>
                <a:lnTo>
                  <a:pt x="91130" y="157812"/>
                </a:lnTo>
                <a:lnTo>
                  <a:pt x="82017" y="157812"/>
                </a:lnTo>
                <a:lnTo>
                  <a:pt x="72904" y="157812"/>
                </a:lnTo>
                <a:lnTo>
                  <a:pt x="66829" y="154777"/>
                </a:lnTo>
                <a:lnTo>
                  <a:pt x="63791" y="151742"/>
                </a:lnTo>
                <a:lnTo>
                  <a:pt x="57716" y="145672"/>
                </a:lnTo>
                <a:lnTo>
                  <a:pt x="57716" y="142637"/>
                </a:lnTo>
                <a:lnTo>
                  <a:pt x="51640" y="142637"/>
                </a:lnTo>
                <a:lnTo>
                  <a:pt x="48603" y="145672"/>
                </a:lnTo>
                <a:lnTo>
                  <a:pt x="45565" y="151742"/>
                </a:lnTo>
                <a:lnTo>
                  <a:pt x="42527" y="160846"/>
                </a:lnTo>
                <a:lnTo>
                  <a:pt x="36452" y="163881"/>
                </a:lnTo>
                <a:lnTo>
                  <a:pt x="33414" y="163881"/>
                </a:lnTo>
                <a:lnTo>
                  <a:pt x="33414" y="160846"/>
                </a:lnTo>
                <a:lnTo>
                  <a:pt x="30377" y="157812"/>
                </a:lnTo>
                <a:lnTo>
                  <a:pt x="27339" y="154777"/>
                </a:lnTo>
                <a:lnTo>
                  <a:pt x="21264" y="154777"/>
                </a:lnTo>
                <a:lnTo>
                  <a:pt x="0" y="160846"/>
                </a:lnTo>
                <a:lnTo>
                  <a:pt x="6076" y="121394"/>
                </a:lnTo>
                <a:lnTo>
                  <a:pt x="15188" y="66767"/>
                </a:lnTo>
                <a:lnTo>
                  <a:pt x="18226" y="48557"/>
                </a:lnTo>
                <a:lnTo>
                  <a:pt x="21264" y="39453"/>
                </a:lnTo>
                <a:lnTo>
                  <a:pt x="27339" y="30348"/>
                </a:lnTo>
                <a:lnTo>
                  <a:pt x="33414" y="27314"/>
                </a:lnTo>
                <a:lnTo>
                  <a:pt x="45565" y="18209"/>
                </a:lnTo>
                <a:lnTo>
                  <a:pt x="54678" y="9105"/>
                </a:lnTo>
                <a:close/>
              </a:path>
            </a:pathLst>
          </a:custGeom>
          <a:solidFill>
            <a:schemeClr val="tx1"/>
          </a:solidFill>
          <a:ln w="9525">
            <a:solidFill>
              <a:schemeClr val="tx1"/>
            </a:solid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030" name="Djibouti"/>
          <p:cNvSpPr/>
          <p:nvPr/>
        </p:nvSpPr>
        <p:spPr bwMode="auto">
          <a:xfrm>
            <a:off x="5347306" y="2390445"/>
            <a:ext cx="41018" cy="50315"/>
          </a:xfrm>
          <a:custGeom>
            <a:avLst/>
            <a:gdLst/>
            <a:ahLst/>
            <a:cxnLst/>
            <a:rect l="l" t="t" r="r" b="b"/>
            <a:pathLst>
              <a:path w="54677" h="67086">
                <a:moveTo>
                  <a:pt x="22077" y="0"/>
                </a:moveTo>
                <a:lnTo>
                  <a:pt x="42756" y="8565"/>
                </a:lnTo>
                <a:lnTo>
                  <a:pt x="48602" y="12459"/>
                </a:lnTo>
                <a:lnTo>
                  <a:pt x="50145" y="14771"/>
                </a:lnTo>
                <a:lnTo>
                  <a:pt x="54677" y="25714"/>
                </a:lnTo>
                <a:lnTo>
                  <a:pt x="54677" y="27633"/>
                </a:lnTo>
                <a:lnTo>
                  <a:pt x="54677" y="33703"/>
                </a:lnTo>
                <a:lnTo>
                  <a:pt x="51640" y="42807"/>
                </a:lnTo>
                <a:lnTo>
                  <a:pt x="45564" y="45842"/>
                </a:lnTo>
                <a:lnTo>
                  <a:pt x="39489" y="48877"/>
                </a:lnTo>
                <a:lnTo>
                  <a:pt x="33414" y="48877"/>
                </a:lnTo>
                <a:lnTo>
                  <a:pt x="21263" y="54947"/>
                </a:lnTo>
                <a:lnTo>
                  <a:pt x="27338" y="54947"/>
                </a:lnTo>
                <a:lnTo>
                  <a:pt x="39489" y="51912"/>
                </a:lnTo>
                <a:lnTo>
                  <a:pt x="42527" y="51912"/>
                </a:lnTo>
                <a:lnTo>
                  <a:pt x="45564" y="54947"/>
                </a:lnTo>
                <a:lnTo>
                  <a:pt x="33414" y="67086"/>
                </a:lnTo>
                <a:lnTo>
                  <a:pt x="27338" y="64051"/>
                </a:lnTo>
                <a:lnTo>
                  <a:pt x="21263" y="64051"/>
                </a:lnTo>
                <a:lnTo>
                  <a:pt x="15188" y="67086"/>
                </a:lnTo>
                <a:lnTo>
                  <a:pt x="9112" y="67086"/>
                </a:lnTo>
                <a:lnTo>
                  <a:pt x="6075" y="67086"/>
                </a:lnTo>
                <a:lnTo>
                  <a:pt x="3037" y="61016"/>
                </a:lnTo>
                <a:lnTo>
                  <a:pt x="0" y="57982"/>
                </a:lnTo>
                <a:lnTo>
                  <a:pt x="0" y="45842"/>
                </a:lnTo>
                <a:lnTo>
                  <a:pt x="6075" y="24598"/>
                </a:lnTo>
                <a:lnTo>
                  <a:pt x="9112" y="15494"/>
                </a:lnTo>
                <a:lnTo>
                  <a:pt x="15188" y="12459"/>
                </a:lnTo>
                <a:lnTo>
                  <a:pt x="21263" y="12459"/>
                </a:lnTo>
                <a:lnTo>
                  <a:pt x="15241" y="2832"/>
                </a:lnTo>
                <a:cubicBezTo>
                  <a:pt x="17170" y="241"/>
                  <a:pt x="19595" y="0"/>
                  <a:pt x="22077" y="0"/>
                </a:cubicBezTo>
                <a:close/>
              </a:path>
            </a:pathLst>
          </a:custGeom>
          <a:solidFill>
            <a:schemeClr val="tx1"/>
          </a:solidFill>
          <a:ln w="9525">
            <a:solidFill>
              <a:schemeClr val="tx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685" name="Cyprus"/>
          <p:cNvSpPr>
            <a:spLocks/>
          </p:cNvSpPr>
          <p:nvPr/>
        </p:nvSpPr>
        <p:spPr bwMode="auto">
          <a:xfrm>
            <a:off x="5105969" y="1751371"/>
            <a:ext cx="20579" cy="6858"/>
          </a:xfrm>
          <a:custGeom>
            <a:avLst/>
            <a:gdLst/>
            <a:ahLst/>
            <a:cxnLst>
              <a:cxn ang="0">
                <a:pos x="14" y="4"/>
              </a:cxn>
              <a:cxn ang="0">
                <a:pos x="14" y="4"/>
              </a:cxn>
              <a:cxn ang="0">
                <a:pos x="12" y="4"/>
              </a:cxn>
              <a:cxn ang="0">
                <a:pos x="10" y="6"/>
              </a:cxn>
              <a:cxn ang="0">
                <a:pos x="10" y="8"/>
              </a:cxn>
              <a:cxn ang="0">
                <a:pos x="10" y="10"/>
              </a:cxn>
              <a:cxn ang="0">
                <a:pos x="10" y="10"/>
              </a:cxn>
              <a:cxn ang="0">
                <a:pos x="6" y="20"/>
              </a:cxn>
              <a:cxn ang="0">
                <a:pos x="2" y="30"/>
              </a:cxn>
              <a:cxn ang="0">
                <a:pos x="2" y="30"/>
              </a:cxn>
              <a:cxn ang="0">
                <a:pos x="0" y="36"/>
              </a:cxn>
              <a:cxn ang="0">
                <a:pos x="0" y="42"/>
              </a:cxn>
              <a:cxn ang="0">
                <a:pos x="2" y="44"/>
              </a:cxn>
              <a:cxn ang="0">
                <a:pos x="4" y="50"/>
              </a:cxn>
              <a:cxn ang="0">
                <a:pos x="4" y="50"/>
              </a:cxn>
              <a:cxn ang="0">
                <a:pos x="4" y="54"/>
              </a:cxn>
              <a:cxn ang="0">
                <a:pos x="6" y="56"/>
              </a:cxn>
              <a:cxn ang="0">
                <a:pos x="10" y="58"/>
              </a:cxn>
              <a:cxn ang="0">
                <a:pos x="10" y="58"/>
              </a:cxn>
              <a:cxn ang="0">
                <a:pos x="14" y="66"/>
              </a:cxn>
              <a:cxn ang="0">
                <a:pos x="20" y="68"/>
              </a:cxn>
              <a:cxn ang="0">
                <a:pos x="20" y="68"/>
              </a:cxn>
              <a:cxn ang="0">
                <a:pos x="24" y="72"/>
              </a:cxn>
              <a:cxn ang="0">
                <a:pos x="24" y="76"/>
              </a:cxn>
              <a:cxn ang="0">
                <a:pos x="24" y="76"/>
              </a:cxn>
              <a:cxn ang="0">
                <a:pos x="24" y="76"/>
              </a:cxn>
              <a:cxn ang="0">
                <a:pos x="26" y="78"/>
              </a:cxn>
              <a:cxn ang="0">
                <a:pos x="30" y="76"/>
              </a:cxn>
              <a:cxn ang="0">
                <a:pos x="30" y="76"/>
              </a:cxn>
              <a:cxn ang="0">
                <a:pos x="28" y="70"/>
              </a:cxn>
              <a:cxn ang="0">
                <a:pos x="28" y="64"/>
              </a:cxn>
              <a:cxn ang="0">
                <a:pos x="28" y="64"/>
              </a:cxn>
              <a:cxn ang="0">
                <a:pos x="30" y="62"/>
              </a:cxn>
              <a:cxn ang="0">
                <a:pos x="32" y="60"/>
              </a:cxn>
              <a:cxn ang="0">
                <a:pos x="32" y="56"/>
              </a:cxn>
              <a:cxn ang="0">
                <a:pos x="32" y="52"/>
              </a:cxn>
              <a:cxn ang="0">
                <a:pos x="32" y="52"/>
              </a:cxn>
              <a:cxn ang="0">
                <a:pos x="32" y="42"/>
              </a:cxn>
              <a:cxn ang="0">
                <a:pos x="32" y="38"/>
              </a:cxn>
              <a:cxn ang="0">
                <a:pos x="30" y="34"/>
              </a:cxn>
              <a:cxn ang="0">
                <a:pos x="30" y="34"/>
              </a:cxn>
              <a:cxn ang="0">
                <a:pos x="28" y="30"/>
              </a:cxn>
              <a:cxn ang="0">
                <a:pos x="28" y="28"/>
              </a:cxn>
              <a:cxn ang="0">
                <a:pos x="28" y="28"/>
              </a:cxn>
              <a:cxn ang="0">
                <a:pos x="30" y="22"/>
              </a:cxn>
              <a:cxn ang="0">
                <a:pos x="28" y="14"/>
              </a:cxn>
              <a:cxn ang="0">
                <a:pos x="28" y="14"/>
              </a:cxn>
              <a:cxn ang="0">
                <a:pos x="28" y="10"/>
              </a:cxn>
              <a:cxn ang="0">
                <a:pos x="28" y="8"/>
              </a:cxn>
              <a:cxn ang="0">
                <a:pos x="28" y="8"/>
              </a:cxn>
              <a:cxn ang="0">
                <a:pos x="28" y="8"/>
              </a:cxn>
              <a:cxn ang="0">
                <a:pos x="30" y="6"/>
              </a:cxn>
              <a:cxn ang="0">
                <a:pos x="30" y="4"/>
              </a:cxn>
              <a:cxn ang="0">
                <a:pos x="22" y="0"/>
              </a:cxn>
              <a:cxn ang="0">
                <a:pos x="22" y="0"/>
              </a:cxn>
              <a:cxn ang="0">
                <a:pos x="20" y="0"/>
              </a:cxn>
              <a:cxn ang="0">
                <a:pos x="18" y="2"/>
              </a:cxn>
              <a:cxn ang="0">
                <a:pos x="16" y="2"/>
              </a:cxn>
              <a:cxn ang="0">
                <a:pos x="14" y="4"/>
              </a:cxn>
              <a:cxn ang="0">
                <a:pos x="14" y="4"/>
              </a:cxn>
            </a:cxnLst>
            <a:rect l="0" t="0" r="r" b="b"/>
            <a:pathLst>
              <a:path w="32" h="78">
                <a:moveTo>
                  <a:pt x="14" y="4"/>
                </a:moveTo>
                <a:lnTo>
                  <a:pt x="14" y="4"/>
                </a:lnTo>
                <a:lnTo>
                  <a:pt x="12" y="4"/>
                </a:lnTo>
                <a:lnTo>
                  <a:pt x="10" y="6"/>
                </a:lnTo>
                <a:lnTo>
                  <a:pt x="10" y="8"/>
                </a:lnTo>
                <a:lnTo>
                  <a:pt x="10" y="10"/>
                </a:lnTo>
                <a:lnTo>
                  <a:pt x="10" y="10"/>
                </a:lnTo>
                <a:lnTo>
                  <a:pt x="6" y="20"/>
                </a:lnTo>
                <a:lnTo>
                  <a:pt x="2" y="30"/>
                </a:lnTo>
                <a:lnTo>
                  <a:pt x="2" y="30"/>
                </a:lnTo>
                <a:lnTo>
                  <a:pt x="0" y="36"/>
                </a:lnTo>
                <a:lnTo>
                  <a:pt x="0" y="42"/>
                </a:lnTo>
                <a:lnTo>
                  <a:pt x="2" y="44"/>
                </a:lnTo>
                <a:lnTo>
                  <a:pt x="4" y="50"/>
                </a:lnTo>
                <a:lnTo>
                  <a:pt x="4" y="50"/>
                </a:lnTo>
                <a:lnTo>
                  <a:pt x="4" y="54"/>
                </a:lnTo>
                <a:lnTo>
                  <a:pt x="6" y="56"/>
                </a:lnTo>
                <a:lnTo>
                  <a:pt x="10" y="58"/>
                </a:lnTo>
                <a:lnTo>
                  <a:pt x="10" y="58"/>
                </a:lnTo>
                <a:lnTo>
                  <a:pt x="14" y="66"/>
                </a:lnTo>
                <a:lnTo>
                  <a:pt x="20" y="68"/>
                </a:lnTo>
                <a:lnTo>
                  <a:pt x="20" y="68"/>
                </a:lnTo>
                <a:lnTo>
                  <a:pt x="24" y="72"/>
                </a:lnTo>
                <a:lnTo>
                  <a:pt x="24" y="76"/>
                </a:lnTo>
                <a:lnTo>
                  <a:pt x="24" y="76"/>
                </a:lnTo>
                <a:lnTo>
                  <a:pt x="24" y="76"/>
                </a:lnTo>
                <a:lnTo>
                  <a:pt x="26" y="78"/>
                </a:lnTo>
                <a:lnTo>
                  <a:pt x="30" y="76"/>
                </a:lnTo>
                <a:lnTo>
                  <a:pt x="30" y="76"/>
                </a:lnTo>
                <a:lnTo>
                  <a:pt x="28" y="70"/>
                </a:lnTo>
                <a:lnTo>
                  <a:pt x="28" y="64"/>
                </a:lnTo>
                <a:lnTo>
                  <a:pt x="28" y="64"/>
                </a:lnTo>
                <a:lnTo>
                  <a:pt x="30" y="62"/>
                </a:lnTo>
                <a:lnTo>
                  <a:pt x="32" y="60"/>
                </a:lnTo>
                <a:lnTo>
                  <a:pt x="32" y="56"/>
                </a:lnTo>
                <a:lnTo>
                  <a:pt x="32" y="52"/>
                </a:lnTo>
                <a:lnTo>
                  <a:pt x="32" y="52"/>
                </a:lnTo>
                <a:lnTo>
                  <a:pt x="32" y="42"/>
                </a:lnTo>
                <a:lnTo>
                  <a:pt x="32" y="38"/>
                </a:lnTo>
                <a:lnTo>
                  <a:pt x="30" y="34"/>
                </a:lnTo>
                <a:lnTo>
                  <a:pt x="30" y="34"/>
                </a:lnTo>
                <a:lnTo>
                  <a:pt x="28" y="30"/>
                </a:lnTo>
                <a:lnTo>
                  <a:pt x="28" y="28"/>
                </a:lnTo>
                <a:lnTo>
                  <a:pt x="28" y="28"/>
                </a:lnTo>
                <a:lnTo>
                  <a:pt x="30" y="22"/>
                </a:lnTo>
                <a:lnTo>
                  <a:pt x="28" y="14"/>
                </a:lnTo>
                <a:lnTo>
                  <a:pt x="28" y="14"/>
                </a:lnTo>
                <a:lnTo>
                  <a:pt x="28" y="10"/>
                </a:lnTo>
                <a:lnTo>
                  <a:pt x="28" y="8"/>
                </a:lnTo>
                <a:lnTo>
                  <a:pt x="28" y="8"/>
                </a:lnTo>
                <a:lnTo>
                  <a:pt x="28" y="8"/>
                </a:lnTo>
                <a:lnTo>
                  <a:pt x="30" y="6"/>
                </a:lnTo>
                <a:lnTo>
                  <a:pt x="30" y="4"/>
                </a:lnTo>
                <a:lnTo>
                  <a:pt x="22" y="0"/>
                </a:lnTo>
                <a:lnTo>
                  <a:pt x="22" y="0"/>
                </a:lnTo>
                <a:lnTo>
                  <a:pt x="20" y="0"/>
                </a:lnTo>
                <a:lnTo>
                  <a:pt x="18" y="2"/>
                </a:lnTo>
                <a:lnTo>
                  <a:pt x="16" y="2"/>
                </a:lnTo>
                <a:lnTo>
                  <a:pt x="14" y="4"/>
                </a:lnTo>
                <a:lnTo>
                  <a:pt x="14" y="4"/>
                </a:lnTo>
                <a:close/>
              </a:path>
            </a:pathLst>
          </a:custGeom>
          <a:solidFill>
            <a:schemeClr val="tx1"/>
          </a:solidFill>
          <a:ln w="9525">
            <a:solidFill>
              <a:schemeClr val="tx1"/>
            </a:solid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 name="Title 4"/>
          <p:cNvSpPr>
            <a:spLocks noGrp="1"/>
          </p:cNvSpPr>
          <p:nvPr>
            <p:ph type="title"/>
          </p:nvPr>
        </p:nvSpPr>
        <p:spPr>
          <a:xfrm>
            <a:off x="389436" y="171450"/>
            <a:ext cx="8363938" cy="747897"/>
          </a:xfrm>
        </p:spPr>
        <p:txBody>
          <a:bodyPr/>
          <a:lstStyle/>
          <a:p>
            <a:r>
              <a:rPr lang="en-US" b="1" dirty="0" smtClean="0"/>
              <a:t>Developer: </a:t>
            </a:r>
            <a:r>
              <a:rPr lang="en-US" dirty="0" smtClean="0"/>
              <a:t>Over 180 countries</a:t>
            </a:r>
            <a:br>
              <a:rPr lang="en-US" dirty="0" smtClean="0"/>
            </a:br>
            <a:r>
              <a:rPr lang="en-US" sz="2100" dirty="0"/>
              <a:t>140+ new</a:t>
            </a:r>
            <a:endParaRPr lang="en-US" sz="2100" dirty="0"/>
          </a:p>
        </p:txBody>
      </p:sp>
      <p:sp>
        <p:nvSpPr>
          <p:cNvPr id="174" name="Luxembourg"/>
          <p:cNvSpPr>
            <a:spLocks/>
          </p:cNvSpPr>
          <p:nvPr/>
        </p:nvSpPr>
        <p:spPr bwMode="auto">
          <a:xfrm>
            <a:off x="4453419" y="1409675"/>
            <a:ext cx="11394" cy="9104"/>
          </a:xfrm>
          <a:custGeom>
            <a:avLst/>
            <a:gdLst/>
            <a:ahLst/>
            <a:cxnLst>
              <a:cxn ang="0">
                <a:pos x="8" y="8"/>
              </a:cxn>
              <a:cxn ang="0">
                <a:pos x="8" y="8"/>
              </a:cxn>
              <a:cxn ang="0">
                <a:pos x="0" y="8"/>
              </a:cxn>
              <a:cxn ang="0">
                <a:pos x="0" y="8"/>
              </a:cxn>
              <a:cxn ang="0">
                <a:pos x="4" y="4"/>
              </a:cxn>
              <a:cxn ang="0">
                <a:pos x="8" y="0"/>
              </a:cxn>
              <a:cxn ang="0">
                <a:pos x="8" y="0"/>
              </a:cxn>
              <a:cxn ang="0">
                <a:pos x="10" y="2"/>
              </a:cxn>
              <a:cxn ang="0">
                <a:pos x="8" y="8"/>
              </a:cxn>
              <a:cxn ang="0">
                <a:pos x="8" y="8"/>
              </a:cxn>
            </a:cxnLst>
            <a:rect l="0" t="0" r="r" b="b"/>
            <a:pathLst>
              <a:path w="10" h="8">
                <a:moveTo>
                  <a:pt x="8" y="8"/>
                </a:moveTo>
                <a:lnTo>
                  <a:pt x="8" y="8"/>
                </a:lnTo>
                <a:lnTo>
                  <a:pt x="0" y="8"/>
                </a:lnTo>
                <a:lnTo>
                  <a:pt x="0" y="8"/>
                </a:lnTo>
                <a:lnTo>
                  <a:pt x="4" y="4"/>
                </a:lnTo>
                <a:lnTo>
                  <a:pt x="8" y="0"/>
                </a:lnTo>
                <a:lnTo>
                  <a:pt x="8" y="0"/>
                </a:lnTo>
                <a:lnTo>
                  <a:pt x="10" y="2"/>
                </a:lnTo>
                <a:lnTo>
                  <a:pt x="8" y="8"/>
                </a:lnTo>
                <a:lnTo>
                  <a:pt x="8" y="8"/>
                </a:lnTo>
                <a:close/>
              </a:path>
            </a:pathLst>
          </a:custGeom>
          <a:solidFill>
            <a:schemeClr val="accent3"/>
          </a:solidFill>
          <a:ln w="9525">
            <a:solidFill>
              <a:schemeClr val="tx1"/>
            </a:solid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615" name="Bahrain"/>
          <p:cNvSpPr>
            <a:spLocks/>
          </p:cNvSpPr>
          <p:nvPr/>
        </p:nvSpPr>
        <p:spPr bwMode="auto">
          <a:xfrm rot="16200000">
            <a:off x="5509086" y="1997197"/>
            <a:ext cx="11391" cy="9107"/>
          </a:xfrm>
          <a:custGeom>
            <a:avLst/>
            <a:gdLst/>
            <a:ahLst/>
            <a:cxnLst>
              <a:cxn ang="0">
                <a:pos x="8" y="8"/>
              </a:cxn>
              <a:cxn ang="0">
                <a:pos x="8" y="8"/>
              </a:cxn>
              <a:cxn ang="0">
                <a:pos x="0" y="8"/>
              </a:cxn>
              <a:cxn ang="0">
                <a:pos x="0" y="8"/>
              </a:cxn>
              <a:cxn ang="0">
                <a:pos x="4" y="4"/>
              </a:cxn>
              <a:cxn ang="0">
                <a:pos x="8" y="0"/>
              </a:cxn>
              <a:cxn ang="0">
                <a:pos x="8" y="0"/>
              </a:cxn>
              <a:cxn ang="0">
                <a:pos x="10" y="2"/>
              </a:cxn>
              <a:cxn ang="0">
                <a:pos x="8" y="8"/>
              </a:cxn>
              <a:cxn ang="0">
                <a:pos x="8" y="8"/>
              </a:cxn>
            </a:cxnLst>
            <a:rect l="0" t="0" r="r" b="b"/>
            <a:pathLst>
              <a:path w="10" h="8">
                <a:moveTo>
                  <a:pt x="8" y="8"/>
                </a:moveTo>
                <a:lnTo>
                  <a:pt x="8" y="8"/>
                </a:lnTo>
                <a:lnTo>
                  <a:pt x="0" y="8"/>
                </a:lnTo>
                <a:lnTo>
                  <a:pt x="0" y="8"/>
                </a:lnTo>
                <a:lnTo>
                  <a:pt x="4" y="4"/>
                </a:lnTo>
                <a:lnTo>
                  <a:pt x="8" y="0"/>
                </a:lnTo>
                <a:lnTo>
                  <a:pt x="8" y="0"/>
                </a:lnTo>
                <a:lnTo>
                  <a:pt x="10" y="2"/>
                </a:lnTo>
                <a:lnTo>
                  <a:pt x="8" y="8"/>
                </a:lnTo>
                <a:lnTo>
                  <a:pt x="8" y="8"/>
                </a:lnTo>
                <a:close/>
              </a:path>
            </a:pathLst>
          </a:custGeom>
          <a:solidFill>
            <a:schemeClr val="tx1"/>
          </a:solidFill>
          <a:ln w="9525">
            <a:solidFill>
              <a:schemeClr val="tx1"/>
            </a:solid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617" name="Bahrain"/>
          <p:cNvSpPr>
            <a:spLocks/>
          </p:cNvSpPr>
          <p:nvPr/>
        </p:nvSpPr>
        <p:spPr bwMode="auto">
          <a:xfrm rot="16200000">
            <a:off x="5509098" y="1997209"/>
            <a:ext cx="11391" cy="9107"/>
          </a:xfrm>
          <a:custGeom>
            <a:avLst/>
            <a:gdLst/>
            <a:ahLst/>
            <a:cxnLst>
              <a:cxn ang="0">
                <a:pos x="8" y="8"/>
              </a:cxn>
              <a:cxn ang="0">
                <a:pos x="8" y="8"/>
              </a:cxn>
              <a:cxn ang="0">
                <a:pos x="0" y="8"/>
              </a:cxn>
              <a:cxn ang="0">
                <a:pos x="0" y="8"/>
              </a:cxn>
              <a:cxn ang="0">
                <a:pos x="4" y="4"/>
              </a:cxn>
              <a:cxn ang="0">
                <a:pos x="8" y="0"/>
              </a:cxn>
              <a:cxn ang="0">
                <a:pos x="8" y="0"/>
              </a:cxn>
              <a:cxn ang="0">
                <a:pos x="10" y="2"/>
              </a:cxn>
              <a:cxn ang="0">
                <a:pos x="8" y="8"/>
              </a:cxn>
              <a:cxn ang="0">
                <a:pos x="8" y="8"/>
              </a:cxn>
            </a:cxnLst>
            <a:rect l="0" t="0" r="r" b="b"/>
            <a:pathLst>
              <a:path w="10" h="8">
                <a:moveTo>
                  <a:pt x="8" y="8"/>
                </a:moveTo>
                <a:lnTo>
                  <a:pt x="8" y="8"/>
                </a:lnTo>
                <a:lnTo>
                  <a:pt x="0" y="8"/>
                </a:lnTo>
                <a:lnTo>
                  <a:pt x="0" y="8"/>
                </a:lnTo>
                <a:lnTo>
                  <a:pt x="4" y="4"/>
                </a:lnTo>
                <a:lnTo>
                  <a:pt x="8" y="0"/>
                </a:lnTo>
                <a:lnTo>
                  <a:pt x="8" y="0"/>
                </a:lnTo>
                <a:lnTo>
                  <a:pt x="10" y="2"/>
                </a:lnTo>
                <a:lnTo>
                  <a:pt x="8" y="8"/>
                </a:lnTo>
                <a:lnTo>
                  <a:pt x="8" y="8"/>
                </a:lnTo>
                <a:close/>
              </a:path>
            </a:pathLst>
          </a:custGeom>
          <a:solidFill>
            <a:schemeClr val="accent1"/>
          </a:solidFill>
          <a:ln w="9525">
            <a:solidFill>
              <a:schemeClr val="tx1"/>
            </a:solid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025" name="Bosnia and Herzegovina"/>
          <p:cNvSpPr>
            <a:spLocks/>
          </p:cNvSpPr>
          <p:nvPr/>
        </p:nvSpPr>
        <p:spPr bwMode="auto">
          <a:xfrm>
            <a:off x="4702267" y="1519386"/>
            <a:ext cx="68059" cy="66079"/>
          </a:xfrm>
          <a:custGeom>
            <a:avLst/>
            <a:gdLst>
              <a:gd name="T0" fmla="*/ 435 w 832"/>
              <a:gd name="T1" fmla="*/ 694 h 808"/>
              <a:gd name="T2" fmla="*/ 350 w 832"/>
              <a:gd name="T3" fmla="*/ 600 h 808"/>
              <a:gd name="T4" fmla="*/ 350 w 832"/>
              <a:gd name="T5" fmla="*/ 529 h 808"/>
              <a:gd name="T6" fmla="*/ 265 w 832"/>
              <a:gd name="T7" fmla="*/ 498 h 808"/>
              <a:gd name="T8" fmla="*/ 102 w 832"/>
              <a:gd name="T9" fmla="*/ 302 h 808"/>
              <a:gd name="T10" fmla="*/ 71 w 832"/>
              <a:gd name="T11" fmla="*/ 196 h 808"/>
              <a:gd name="T12" fmla="*/ 71 w 832"/>
              <a:gd name="T13" fmla="*/ 158 h 808"/>
              <a:gd name="T14" fmla="*/ 0 w 832"/>
              <a:gd name="T15" fmla="*/ 158 h 808"/>
              <a:gd name="T16" fmla="*/ 0 w 832"/>
              <a:gd name="T17" fmla="*/ 0 h 808"/>
              <a:gd name="T18" fmla="*/ 128 w 832"/>
              <a:gd name="T19" fmla="*/ 57 h 808"/>
              <a:gd name="T20" fmla="*/ 177 w 832"/>
              <a:gd name="T21" fmla="*/ 0 h 808"/>
              <a:gd name="T22" fmla="*/ 260 w 832"/>
              <a:gd name="T23" fmla="*/ 0 h 808"/>
              <a:gd name="T24" fmla="*/ 350 w 832"/>
              <a:gd name="T25" fmla="*/ 57 h 808"/>
              <a:gd name="T26" fmla="*/ 480 w 832"/>
              <a:gd name="T27" fmla="*/ 71 h 808"/>
              <a:gd name="T28" fmla="*/ 508 w 832"/>
              <a:gd name="T29" fmla="*/ 38 h 808"/>
              <a:gd name="T30" fmla="*/ 643 w 832"/>
              <a:gd name="T31" fmla="*/ 52 h 808"/>
              <a:gd name="T32" fmla="*/ 699 w 832"/>
              <a:gd name="T33" fmla="*/ 109 h 808"/>
              <a:gd name="T34" fmla="*/ 782 w 832"/>
              <a:gd name="T35" fmla="*/ 113 h 808"/>
              <a:gd name="T36" fmla="*/ 782 w 832"/>
              <a:gd name="T37" fmla="*/ 203 h 808"/>
              <a:gd name="T38" fmla="*/ 732 w 832"/>
              <a:gd name="T39" fmla="*/ 246 h 808"/>
              <a:gd name="T40" fmla="*/ 832 w 832"/>
              <a:gd name="T41" fmla="*/ 347 h 808"/>
              <a:gd name="T42" fmla="*/ 832 w 832"/>
              <a:gd name="T43" fmla="*/ 409 h 808"/>
              <a:gd name="T44" fmla="*/ 789 w 832"/>
              <a:gd name="T45" fmla="*/ 409 h 808"/>
              <a:gd name="T46" fmla="*/ 832 w 832"/>
              <a:gd name="T47" fmla="*/ 479 h 808"/>
              <a:gd name="T48" fmla="*/ 832 w 832"/>
              <a:gd name="T49" fmla="*/ 510 h 808"/>
              <a:gd name="T50" fmla="*/ 763 w 832"/>
              <a:gd name="T51" fmla="*/ 491 h 808"/>
              <a:gd name="T52" fmla="*/ 695 w 832"/>
              <a:gd name="T53" fmla="*/ 505 h 808"/>
              <a:gd name="T54" fmla="*/ 732 w 832"/>
              <a:gd name="T55" fmla="*/ 581 h 808"/>
              <a:gd name="T56" fmla="*/ 688 w 832"/>
              <a:gd name="T57" fmla="*/ 567 h 808"/>
              <a:gd name="T58" fmla="*/ 643 w 832"/>
              <a:gd name="T59" fmla="*/ 605 h 808"/>
              <a:gd name="T60" fmla="*/ 650 w 832"/>
              <a:gd name="T61" fmla="*/ 650 h 808"/>
              <a:gd name="T62" fmla="*/ 612 w 832"/>
              <a:gd name="T63" fmla="*/ 650 h 808"/>
              <a:gd name="T64" fmla="*/ 593 w 832"/>
              <a:gd name="T65" fmla="*/ 737 h 808"/>
              <a:gd name="T66" fmla="*/ 612 w 832"/>
              <a:gd name="T67" fmla="*/ 808 h 808"/>
              <a:gd name="T68" fmla="*/ 555 w 832"/>
              <a:gd name="T69" fmla="*/ 808 h 808"/>
              <a:gd name="T70" fmla="*/ 435 w 832"/>
              <a:gd name="T71" fmla="*/ 694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32" h="808">
                <a:moveTo>
                  <a:pt x="435" y="694"/>
                </a:moveTo>
                <a:lnTo>
                  <a:pt x="350" y="600"/>
                </a:lnTo>
                <a:lnTo>
                  <a:pt x="350" y="529"/>
                </a:lnTo>
                <a:lnTo>
                  <a:pt x="265" y="498"/>
                </a:lnTo>
                <a:lnTo>
                  <a:pt x="102" y="302"/>
                </a:lnTo>
                <a:lnTo>
                  <a:pt x="71" y="196"/>
                </a:lnTo>
                <a:lnTo>
                  <a:pt x="71" y="158"/>
                </a:lnTo>
                <a:lnTo>
                  <a:pt x="0" y="158"/>
                </a:lnTo>
                <a:lnTo>
                  <a:pt x="0" y="0"/>
                </a:lnTo>
                <a:lnTo>
                  <a:pt x="128" y="57"/>
                </a:lnTo>
                <a:lnTo>
                  <a:pt x="177" y="0"/>
                </a:lnTo>
                <a:lnTo>
                  <a:pt x="260" y="0"/>
                </a:lnTo>
                <a:lnTo>
                  <a:pt x="350" y="57"/>
                </a:lnTo>
                <a:lnTo>
                  <a:pt x="480" y="71"/>
                </a:lnTo>
                <a:lnTo>
                  <a:pt x="508" y="38"/>
                </a:lnTo>
                <a:lnTo>
                  <a:pt x="643" y="52"/>
                </a:lnTo>
                <a:lnTo>
                  <a:pt x="699" y="109"/>
                </a:lnTo>
                <a:lnTo>
                  <a:pt x="782" y="113"/>
                </a:lnTo>
                <a:lnTo>
                  <a:pt x="782" y="203"/>
                </a:lnTo>
                <a:lnTo>
                  <a:pt x="732" y="246"/>
                </a:lnTo>
                <a:lnTo>
                  <a:pt x="832" y="347"/>
                </a:lnTo>
                <a:lnTo>
                  <a:pt x="832" y="409"/>
                </a:lnTo>
                <a:lnTo>
                  <a:pt x="789" y="409"/>
                </a:lnTo>
                <a:lnTo>
                  <a:pt x="832" y="479"/>
                </a:lnTo>
                <a:lnTo>
                  <a:pt x="832" y="510"/>
                </a:lnTo>
                <a:lnTo>
                  <a:pt x="763" y="491"/>
                </a:lnTo>
                <a:lnTo>
                  <a:pt x="695" y="505"/>
                </a:lnTo>
                <a:lnTo>
                  <a:pt x="732" y="581"/>
                </a:lnTo>
                <a:lnTo>
                  <a:pt x="688" y="567"/>
                </a:lnTo>
                <a:lnTo>
                  <a:pt x="643" y="605"/>
                </a:lnTo>
                <a:lnTo>
                  <a:pt x="650" y="650"/>
                </a:lnTo>
                <a:lnTo>
                  <a:pt x="612" y="650"/>
                </a:lnTo>
                <a:lnTo>
                  <a:pt x="593" y="737"/>
                </a:lnTo>
                <a:lnTo>
                  <a:pt x="612" y="808"/>
                </a:lnTo>
                <a:lnTo>
                  <a:pt x="555" y="808"/>
                </a:lnTo>
                <a:lnTo>
                  <a:pt x="435" y="694"/>
                </a:lnTo>
                <a:close/>
              </a:path>
            </a:pathLst>
          </a:custGeom>
          <a:solidFill>
            <a:schemeClr val="tx1"/>
          </a:solidFill>
          <a:ln w="9525" cap="flat">
            <a:solidFill>
              <a:schemeClr val="tx1"/>
            </a:solidFill>
            <a:prstDash val="solid"/>
            <a:miter lim="800000"/>
            <a:headEnd/>
            <a:tailEnd/>
          </a:ln>
        </p:spPr>
        <p:txBody>
          <a:bodyPr vert="horz" wrap="square" lIns="68589" tIns="34295" rIns="68589" bIns="34295" numCol="1" anchor="t" anchorCtr="0" compatLnSpc="1">
            <a:prstTxWarp prst="textNoShape">
              <a:avLst/>
            </a:prstTxWarp>
          </a:bodyPr>
          <a:lstStyle/>
          <a:p>
            <a:endParaRPr lang="en-US" dirty="0"/>
          </a:p>
        </p:txBody>
      </p:sp>
      <p:sp>
        <p:nvSpPr>
          <p:cNvPr id="642" name="Andora"/>
          <p:cNvSpPr>
            <a:spLocks/>
          </p:cNvSpPr>
          <p:nvPr/>
        </p:nvSpPr>
        <p:spPr bwMode="auto">
          <a:xfrm>
            <a:off x="4354851" y="1576156"/>
            <a:ext cx="13673" cy="11381"/>
          </a:xfrm>
          <a:custGeom>
            <a:avLst/>
            <a:gdLst/>
            <a:ahLst/>
            <a:cxnLst>
              <a:cxn ang="0">
                <a:pos x="6" y="0"/>
              </a:cxn>
              <a:cxn ang="0">
                <a:pos x="6" y="0"/>
              </a:cxn>
              <a:cxn ang="0">
                <a:pos x="4" y="0"/>
              </a:cxn>
              <a:cxn ang="0">
                <a:pos x="2" y="2"/>
              </a:cxn>
              <a:cxn ang="0">
                <a:pos x="2" y="2"/>
              </a:cxn>
              <a:cxn ang="0">
                <a:pos x="2" y="4"/>
              </a:cxn>
              <a:cxn ang="0">
                <a:pos x="2" y="4"/>
              </a:cxn>
              <a:cxn ang="0">
                <a:pos x="4" y="6"/>
              </a:cxn>
              <a:cxn ang="0">
                <a:pos x="4" y="6"/>
              </a:cxn>
              <a:cxn ang="0">
                <a:pos x="4" y="6"/>
              </a:cxn>
              <a:cxn ang="0">
                <a:pos x="4" y="6"/>
              </a:cxn>
              <a:cxn ang="0">
                <a:pos x="0" y="6"/>
              </a:cxn>
              <a:cxn ang="0">
                <a:pos x="0" y="6"/>
              </a:cxn>
              <a:cxn ang="0">
                <a:pos x="0" y="6"/>
              </a:cxn>
              <a:cxn ang="0">
                <a:pos x="0" y="6"/>
              </a:cxn>
              <a:cxn ang="0">
                <a:pos x="0" y="6"/>
              </a:cxn>
              <a:cxn ang="0">
                <a:pos x="0" y="6"/>
              </a:cxn>
              <a:cxn ang="0">
                <a:pos x="2" y="8"/>
              </a:cxn>
              <a:cxn ang="0">
                <a:pos x="6" y="10"/>
              </a:cxn>
              <a:cxn ang="0">
                <a:pos x="6" y="10"/>
              </a:cxn>
              <a:cxn ang="0">
                <a:pos x="8" y="10"/>
              </a:cxn>
              <a:cxn ang="0">
                <a:pos x="12" y="8"/>
              </a:cxn>
              <a:cxn ang="0">
                <a:pos x="12" y="8"/>
              </a:cxn>
              <a:cxn ang="0">
                <a:pos x="12" y="8"/>
              </a:cxn>
              <a:cxn ang="0">
                <a:pos x="12" y="6"/>
              </a:cxn>
              <a:cxn ang="0">
                <a:pos x="12" y="6"/>
              </a:cxn>
              <a:cxn ang="0">
                <a:pos x="12" y="4"/>
              </a:cxn>
              <a:cxn ang="0">
                <a:pos x="12" y="4"/>
              </a:cxn>
              <a:cxn ang="0">
                <a:pos x="12" y="2"/>
              </a:cxn>
              <a:cxn ang="0">
                <a:pos x="12" y="2"/>
              </a:cxn>
              <a:cxn ang="0">
                <a:pos x="12" y="0"/>
              </a:cxn>
              <a:cxn ang="0">
                <a:pos x="12" y="0"/>
              </a:cxn>
              <a:cxn ang="0">
                <a:pos x="10" y="0"/>
              </a:cxn>
              <a:cxn ang="0">
                <a:pos x="10" y="0"/>
              </a:cxn>
              <a:cxn ang="0">
                <a:pos x="6" y="0"/>
              </a:cxn>
              <a:cxn ang="0">
                <a:pos x="6" y="0"/>
              </a:cxn>
            </a:cxnLst>
            <a:rect l="0" t="0" r="r" b="b"/>
            <a:pathLst>
              <a:path w="12" h="10">
                <a:moveTo>
                  <a:pt x="6" y="0"/>
                </a:moveTo>
                <a:lnTo>
                  <a:pt x="6" y="0"/>
                </a:lnTo>
                <a:lnTo>
                  <a:pt x="4" y="0"/>
                </a:lnTo>
                <a:lnTo>
                  <a:pt x="2" y="2"/>
                </a:lnTo>
                <a:lnTo>
                  <a:pt x="2" y="2"/>
                </a:lnTo>
                <a:lnTo>
                  <a:pt x="2" y="4"/>
                </a:lnTo>
                <a:lnTo>
                  <a:pt x="2" y="4"/>
                </a:lnTo>
                <a:lnTo>
                  <a:pt x="4" y="6"/>
                </a:lnTo>
                <a:lnTo>
                  <a:pt x="4" y="6"/>
                </a:lnTo>
                <a:lnTo>
                  <a:pt x="4" y="6"/>
                </a:lnTo>
                <a:lnTo>
                  <a:pt x="4" y="6"/>
                </a:lnTo>
                <a:lnTo>
                  <a:pt x="0" y="6"/>
                </a:lnTo>
                <a:lnTo>
                  <a:pt x="0" y="6"/>
                </a:lnTo>
                <a:lnTo>
                  <a:pt x="0" y="6"/>
                </a:lnTo>
                <a:lnTo>
                  <a:pt x="0" y="6"/>
                </a:lnTo>
                <a:lnTo>
                  <a:pt x="0" y="6"/>
                </a:lnTo>
                <a:lnTo>
                  <a:pt x="0" y="6"/>
                </a:lnTo>
                <a:lnTo>
                  <a:pt x="2" y="8"/>
                </a:lnTo>
                <a:lnTo>
                  <a:pt x="6" y="10"/>
                </a:lnTo>
                <a:lnTo>
                  <a:pt x="6" y="10"/>
                </a:lnTo>
                <a:lnTo>
                  <a:pt x="8" y="10"/>
                </a:lnTo>
                <a:lnTo>
                  <a:pt x="12" y="8"/>
                </a:lnTo>
                <a:lnTo>
                  <a:pt x="12" y="8"/>
                </a:lnTo>
                <a:lnTo>
                  <a:pt x="12" y="8"/>
                </a:lnTo>
                <a:lnTo>
                  <a:pt x="12" y="6"/>
                </a:lnTo>
                <a:lnTo>
                  <a:pt x="12" y="6"/>
                </a:lnTo>
                <a:lnTo>
                  <a:pt x="12" y="4"/>
                </a:lnTo>
                <a:lnTo>
                  <a:pt x="12" y="4"/>
                </a:lnTo>
                <a:lnTo>
                  <a:pt x="12" y="2"/>
                </a:lnTo>
                <a:lnTo>
                  <a:pt x="12" y="2"/>
                </a:lnTo>
                <a:lnTo>
                  <a:pt x="12" y="0"/>
                </a:lnTo>
                <a:lnTo>
                  <a:pt x="12" y="0"/>
                </a:lnTo>
                <a:lnTo>
                  <a:pt x="10" y="0"/>
                </a:lnTo>
                <a:lnTo>
                  <a:pt x="10" y="0"/>
                </a:lnTo>
                <a:lnTo>
                  <a:pt x="6" y="0"/>
                </a:lnTo>
                <a:lnTo>
                  <a:pt x="6" y="0"/>
                </a:lnTo>
                <a:close/>
              </a:path>
            </a:pathLst>
          </a:custGeom>
          <a:solidFill>
            <a:schemeClr val="accent6"/>
          </a:solidFill>
          <a:ln w="9525">
            <a:solidFill>
              <a:schemeClr val="tx1"/>
            </a:solid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650" name="Bahamas"/>
          <p:cNvSpPr>
            <a:spLocks/>
          </p:cNvSpPr>
          <p:nvPr/>
        </p:nvSpPr>
        <p:spPr bwMode="auto">
          <a:xfrm rot="9136277">
            <a:off x="2525235" y="2060412"/>
            <a:ext cx="13720" cy="25037"/>
          </a:xfrm>
          <a:custGeom>
            <a:avLst/>
            <a:gdLst/>
            <a:ahLst/>
            <a:cxnLst>
              <a:cxn ang="0">
                <a:pos x="24" y="22"/>
              </a:cxn>
              <a:cxn ang="0">
                <a:pos x="24" y="22"/>
              </a:cxn>
              <a:cxn ang="0">
                <a:pos x="22" y="18"/>
              </a:cxn>
              <a:cxn ang="0">
                <a:pos x="18" y="16"/>
              </a:cxn>
              <a:cxn ang="0">
                <a:pos x="18" y="16"/>
              </a:cxn>
              <a:cxn ang="0">
                <a:pos x="16" y="16"/>
              </a:cxn>
              <a:cxn ang="0">
                <a:pos x="14" y="14"/>
              </a:cxn>
              <a:cxn ang="0">
                <a:pos x="12" y="10"/>
              </a:cxn>
              <a:cxn ang="0">
                <a:pos x="12" y="10"/>
              </a:cxn>
              <a:cxn ang="0">
                <a:pos x="10" y="8"/>
              </a:cxn>
              <a:cxn ang="0">
                <a:pos x="6" y="6"/>
              </a:cxn>
              <a:cxn ang="0">
                <a:pos x="6" y="6"/>
              </a:cxn>
              <a:cxn ang="0">
                <a:pos x="2" y="4"/>
              </a:cxn>
              <a:cxn ang="0">
                <a:pos x="0" y="4"/>
              </a:cxn>
              <a:cxn ang="0">
                <a:pos x="2" y="2"/>
              </a:cxn>
              <a:cxn ang="0">
                <a:pos x="2" y="2"/>
              </a:cxn>
              <a:cxn ang="0">
                <a:pos x="10" y="0"/>
              </a:cxn>
              <a:cxn ang="0">
                <a:pos x="14" y="0"/>
              </a:cxn>
              <a:cxn ang="0">
                <a:pos x="14" y="0"/>
              </a:cxn>
              <a:cxn ang="0">
                <a:pos x="16" y="0"/>
              </a:cxn>
              <a:cxn ang="0">
                <a:pos x="22" y="0"/>
              </a:cxn>
              <a:cxn ang="0">
                <a:pos x="22" y="0"/>
              </a:cxn>
              <a:cxn ang="0">
                <a:pos x="34" y="2"/>
              </a:cxn>
              <a:cxn ang="0">
                <a:pos x="34" y="2"/>
              </a:cxn>
              <a:cxn ang="0">
                <a:pos x="38" y="6"/>
              </a:cxn>
              <a:cxn ang="0">
                <a:pos x="40" y="8"/>
              </a:cxn>
              <a:cxn ang="0">
                <a:pos x="44" y="10"/>
              </a:cxn>
              <a:cxn ang="0">
                <a:pos x="44" y="10"/>
              </a:cxn>
              <a:cxn ang="0">
                <a:pos x="48" y="12"/>
              </a:cxn>
              <a:cxn ang="0">
                <a:pos x="50" y="14"/>
              </a:cxn>
              <a:cxn ang="0">
                <a:pos x="50" y="14"/>
              </a:cxn>
              <a:cxn ang="0">
                <a:pos x="48" y="16"/>
              </a:cxn>
              <a:cxn ang="0">
                <a:pos x="44" y="16"/>
              </a:cxn>
              <a:cxn ang="0">
                <a:pos x="44" y="16"/>
              </a:cxn>
              <a:cxn ang="0">
                <a:pos x="40" y="18"/>
              </a:cxn>
              <a:cxn ang="0">
                <a:pos x="34" y="18"/>
              </a:cxn>
              <a:cxn ang="0">
                <a:pos x="34" y="18"/>
              </a:cxn>
              <a:cxn ang="0">
                <a:pos x="32" y="16"/>
              </a:cxn>
              <a:cxn ang="0">
                <a:pos x="32" y="18"/>
              </a:cxn>
              <a:cxn ang="0">
                <a:pos x="32" y="18"/>
              </a:cxn>
              <a:cxn ang="0">
                <a:pos x="30" y="20"/>
              </a:cxn>
              <a:cxn ang="0">
                <a:pos x="28" y="18"/>
              </a:cxn>
              <a:cxn ang="0">
                <a:pos x="28" y="18"/>
              </a:cxn>
              <a:cxn ang="0">
                <a:pos x="26" y="18"/>
              </a:cxn>
              <a:cxn ang="0">
                <a:pos x="26" y="20"/>
              </a:cxn>
              <a:cxn ang="0">
                <a:pos x="26" y="20"/>
              </a:cxn>
              <a:cxn ang="0">
                <a:pos x="26" y="22"/>
              </a:cxn>
              <a:cxn ang="0">
                <a:pos x="24" y="22"/>
              </a:cxn>
              <a:cxn ang="0">
                <a:pos x="24" y="22"/>
              </a:cxn>
            </a:cxnLst>
            <a:rect l="0" t="0" r="r" b="b"/>
            <a:pathLst>
              <a:path w="50" h="22">
                <a:moveTo>
                  <a:pt x="24" y="22"/>
                </a:moveTo>
                <a:lnTo>
                  <a:pt x="24" y="22"/>
                </a:lnTo>
                <a:lnTo>
                  <a:pt x="22" y="18"/>
                </a:lnTo>
                <a:lnTo>
                  <a:pt x="18" y="16"/>
                </a:lnTo>
                <a:lnTo>
                  <a:pt x="18" y="16"/>
                </a:lnTo>
                <a:lnTo>
                  <a:pt x="16" y="16"/>
                </a:lnTo>
                <a:lnTo>
                  <a:pt x="14" y="14"/>
                </a:lnTo>
                <a:lnTo>
                  <a:pt x="12" y="10"/>
                </a:lnTo>
                <a:lnTo>
                  <a:pt x="12" y="10"/>
                </a:lnTo>
                <a:lnTo>
                  <a:pt x="10" y="8"/>
                </a:lnTo>
                <a:lnTo>
                  <a:pt x="6" y="6"/>
                </a:lnTo>
                <a:lnTo>
                  <a:pt x="6" y="6"/>
                </a:lnTo>
                <a:lnTo>
                  <a:pt x="2" y="4"/>
                </a:lnTo>
                <a:lnTo>
                  <a:pt x="0" y="4"/>
                </a:lnTo>
                <a:lnTo>
                  <a:pt x="2" y="2"/>
                </a:lnTo>
                <a:lnTo>
                  <a:pt x="2" y="2"/>
                </a:lnTo>
                <a:lnTo>
                  <a:pt x="10" y="0"/>
                </a:lnTo>
                <a:lnTo>
                  <a:pt x="14" y="0"/>
                </a:lnTo>
                <a:lnTo>
                  <a:pt x="14" y="0"/>
                </a:lnTo>
                <a:lnTo>
                  <a:pt x="16" y="0"/>
                </a:lnTo>
                <a:lnTo>
                  <a:pt x="22" y="0"/>
                </a:lnTo>
                <a:lnTo>
                  <a:pt x="22" y="0"/>
                </a:lnTo>
                <a:lnTo>
                  <a:pt x="34" y="2"/>
                </a:lnTo>
                <a:lnTo>
                  <a:pt x="34" y="2"/>
                </a:lnTo>
                <a:lnTo>
                  <a:pt x="38" y="6"/>
                </a:lnTo>
                <a:lnTo>
                  <a:pt x="40" y="8"/>
                </a:lnTo>
                <a:lnTo>
                  <a:pt x="44" y="10"/>
                </a:lnTo>
                <a:lnTo>
                  <a:pt x="44" y="10"/>
                </a:lnTo>
                <a:lnTo>
                  <a:pt x="48" y="12"/>
                </a:lnTo>
                <a:lnTo>
                  <a:pt x="50" y="14"/>
                </a:lnTo>
                <a:lnTo>
                  <a:pt x="50" y="14"/>
                </a:lnTo>
                <a:lnTo>
                  <a:pt x="48" y="16"/>
                </a:lnTo>
                <a:lnTo>
                  <a:pt x="44" y="16"/>
                </a:lnTo>
                <a:lnTo>
                  <a:pt x="44" y="16"/>
                </a:lnTo>
                <a:lnTo>
                  <a:pt x="40" y="18"/>
                </a:lnTo>
                <a:lnTo>
                  <a:pt x="34" y="18"/>
                </a:lnTo>
                <a:lnTo>
                  <a:pt x="34" y="18"/>
                </a:lnTo>
                <a:lnTo>
                  <a:pt x="32" y="16"/>
                </a:lnTo>
                <a:lnTo>
                  <a:pt x="32" y="18"/>
                </a:lnTo>
                <a:lnTo>
                  <a:pt x="32" y="18"/>
                </a:lnTo>
                <a:lnTo>
                  <a:pt x="30" y="20"/>
                </a:lnTo>
                <a:lnTo>
                  <a:pt x="28" y="18"/>
                </a:lnTo>
                <a:lnTo>
                  <a:pt x="28" y="18"/>
                </a:lnTo>
                <a:lnTo>
                  <a:pt x="26" y="18"/>
                </a:lnTo>
                <a:lnTo>
                  <a:pt x="26" y="20"/>
                </a:lnTo>
                <a:lnTo>
                  <a:pt x="26" y="20"/>
                </a:lnTo>
                <a:lnTo>
                  <a:pt x="26" y="22"/>
                </a:lnTo>
                <a:lnTo>
                  <a:pt x="24" y="22"/>
                </a:lnTo>
                <a:lnTo>
                  <a:pt x="24" y="22"/>
                </a:lnTo>
                <a:close/>
              </a:path>
            </a:pathLst>
          </a:custGeom>
          <a:solidFill>
            <a:schemeClr val="tx1"/>
          </a:solidFill>
          <a:ln w="9525">
            <a:solidFill>
              <a:schemeClr val="tx1"/>
            </a:solid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755" name="Liechtenstein"/>
          <p:cNvSpPr>
            <a:spLocks/>
          </p:cNvSpPr>
          <p:nvPr/>
        </p:nvSpPr>
        <p:spPr bwMode="auto">
          <a:xfrm>
            <a:off x="4529912" y="1463665"/>
            <a:ext cx="6860" cy="11381"/>
          </a:xfrm>
          <a:custGeom>
            <a:avLst/>
            <a:gdLst/>
            <a:ahLst/>
            <a:cxnLst>
              <a:cxn ang="0">
                <a:pos x="6" y="0"/>
              </a:cxn>
              <a:cxn ang="0">
                <a:pos x="6" y="0"/>
              </a:cxn>
              <a:cxn ang="0">
                <a:pos x="4" y="0"/>
              </a:cxn>
              <a:cxn ang="0">
                <a:pos x="2" y="2"/>
              </a:cxn>
              <a:cxn ang="0">
                <a:pos x="2" y="2"/>
              </a:cxn>
              <a:cxn ang="0">
                <a:pos x="2" y="4"/>
              </a:cxn>
              <a:cxn ang="0">
                <a:pos x="2" y="4"/>
              </a:cxn>
              <a:cxn ang="0">
                <a:pos x="4" y="6"/>
              </a:cxn>
              <a:cxn ang="0">
                <a:pos x="4" y="6"/>
              </a:cxn>
              <a:cxn ang="0">
                <a:pos x="4" y="6"/>
              </a:cxn>
              <a:cxn ang="0">
                <a:pos x="4" y="6"/>
              </a:cxn>
              <a:cxn ang="0">
                <a:pos x="0" y="6"/>
              </a:cxn>
              <a:cxn ang="0">
                <a:pos x="0" y="6"/>
              </a:cxn>
              <a:cxn ang="0">
                <a:pos x="0" y="6"/>
              </a:cxn>
              <a:cxn ang="0">
                <a:pos x="0" y="6"/>
              </a:cxn>
              <a:cxn ang="0">
                <a:pos x="0" y="6"/>
              </a:cxn>
              <a:cxn ang="0">
                <a:pos x="0" y="6"/>
              </a:cxn>
              <a:cxn ang="0">
                <a:pos x="2" y="8"/>
              </a:cxn>
              <a:cxn ang="0">
                <a:pos x="6" y="10"/>
              </a:cxn>
              <a:cxn ang="0">
                <a:pos x="6" y="10"/>
              </a:cxn>
              <a:cxn ang="0">
                <a:pos x="8" y="10"/>
              </a:cxn>
              <a:cxn ang="0">
                <a:pos x="12" y="8"/>
              </a:cxn>
              <a:cxn ang="0">
                <a:pos x="12" y="8"/>
              </a:cxn>
              <a:cxn ang="0">
                <a:pos x="12" y="8"/>
              </a:cxn>
              <a:cxn ang="0">
                <a:pos x="12" y="6"/>
              </a:cxn>
              <a:cxn ang="0">
                <a:pos x="12" y="6"/>
              </a:cxn>
              <a:cxn ang="0">
                <a:pos x="12" y="4"/>
              </a:cxn>
              <a:cxn ang="0">
                <a:pos x="12" y="4"/>
              </a:cxn>
              <a:cxn ang="0">
                <a:pos x="12" y="2"/>
              </a:cxn>
              <a:cxn ang="0">
                <a:pos x="12" y="2"/>
              </a:cxn>
              <a:cxn ang="0">
                <a:pos x="12" y="0"/>
              </a:cxn>
              <a:cxn ang="0">
                <a:pos x="12" y="0"/>
              </a:cxn>
              <a:cxn ang="0">
                <a:pos x="10" y="0"/>
              </a:cxn>
              <a:cxn ang="0">
                <a:pos x="10" y="0"/>
              </a:cxn>
              <a:cxn ang="0">
                <a:pos x="6" y="0"/>
              </a:cxn>
              <a:cxn ang="0">
                <a:pos x="6" y="0"/>
              </a:cxn>
            </a:cxnLst>
            <a:rect l="0" t="0" r="r" b="b"/>
            <a:pathLst>
              <a:path w="12" h="10">
                <a:moveTo>
                  <a:pt x="6" y="0"/>
                </a:moveTo>
                <a:lnTo>
                  <a:pt x="6" y="0"/>
                </a:lnTo>
                <a:lnTo>
                  <a:pt x="4" y="0"/>
                </a:lnTo>
                <a:lnTo>
                  <a:pt x="2" y="2"/>
                </a:lnTo>
                <a:lnTo>
                  <a:pt x="2" y="2"/>
                </a:lnTo>
                <a:lnTo>
                  <a:pt x="2" y="4"/>
                </a:lnTo>
                <a:lnTo>
                  <a:pt x="2" y="4"/>
                </a:lnTo>
                <a:lnTo>
                  <a:pt x="4" y="6"/>
                </a:lnTo>
                <a:lnTo>
                  <a:pt x="4" y="6"/>
                </a:lnTo>
                <a:lnTo>
                  <a:pt x="4" y="6"/>
                </a:lnTo>
                <a:lnTo>
                  <a:pt x="4" y="6"/>
                </a:lnTo>
                <a:lnTo>
                  <a:pt x="0" y="6"/>
                </a:lnTo>
                <a:lnTo>
                  <a:pt x="0" y="6"/>
                </a:lnTo>
                <a:lnTo>
                  <a:pt x="0" y="6"/>
                </a:lnTo>
                <a:lnTo>
                  <a:pt x="0" y="6"/>
                </a:lnTo>
                <a:lnTo>
                  <a:pt x="0" y="6"/>
                </a:lnTo>
                <a:lnTo>
                  <a:pt x="0" y="6"/>
                </a:lnTo>
                <a:lnTo>
                  <a:pt x="2" y="8"/>
                </a:lnTo>
                <a:lnTo>
                  <a:pt x="6" y="10"/>
                </a:lnTo>
                <a:lnTo>
                  <a:pt x="6" y="10"/>
                </a:lnTo>
                <a:lnTo>
                  <a:pt x="8" y="10"/>
                </a:lnTo>
                <a:lnTo>
                  <a:pt x="12" y="8"/>
                </a:lnTo>
                <a:lnTo>
                  <a:pt x="12" y="8"/>
                </a:lnTo>
                <a:lnTo>
                  <a:pt x="12" y="8"/>
                </a:lnTo>
                <a:lnTo>
                  <a:pt x="12" y="6"/>
                </a:lnTo>
                <a:lnTo>
                  <a:pt x="12" y="6"/>
                </a:lnTo>
                <a:lnTo>
                  <a:pt x="12" y="4"/>
                </a:lnTo>
                <a:lnTo>
                  <a:pt x="12" y="4"/>
                </a:lnTo>
                <a:lnTo>
                  <a:pt x="12" y="2"/>
                </a:lnTo>
                <a:lnTo>
                  <a:pt x="12" y="2"/>
                </a:lnTo>
                <a:lnTo>
                  <a:pt x="12" y="0"/>
                </a:lnTo>
                <a:lnTo>
                  <a:pt x="12" y="0"/>
                </a:lnTo>
                <a:lnTo>
                  <a:pt x="10" y="0"/>
                </a:lnTo>
                <a:lnTo>
                  <a:pt x="10" y="0"/>
                </a:lnTo>
                <a:lnTo>
                  <a:pt x="6" y="0"/>
                </a:lnTo>
                <a:lnTo>
                  <a:pt x="6" y="0"/>
                </a:lnTo>
                <a:close/>
              </a:path>
            </a:pathLst>
          </a:custGeom>
          <a:solidFill>
            <a:schemeClr val="accent6"/>
          </a:solidFill>
          <a:ln w="9525">
            <a:solidFill>
              <a:schemeClr val="tx1"/>
            </a:solid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397" name="Luxembourg"/>
          <p:cNvSpPr>
            <a:spLocks/>
          </p:cNvSpPr>
          <p:nvPr/>
        </p:nvSpPr>
        <p:spPr bwMode="auto">
          <a:xfrm>
            <a:off x="4453431" y="1409687"/>
            <a:ext cx="11394" cy="9104"/>
          </a:xfrm>
          <a:custGeom>
            <a:avLst/>
            <a:gdLst/>
            <a:ahLst/>
            <a:cxnLst>
              <a:cxn ang="0">
                <a:pos x="8" y="8"/>
              </a:cxn>
              <a:cxn ang="0">
                <a:pos x="8" y="8"/>
              </a:cxn>
              <a:cxn ang="0">
                <a:pos x="0" y="8"/>
              </a:cxn>
              <a:cxn ang="0">
                <a:pos x="0" y="8"/>
              </a:cxn>
              <a:cxn ang="0">
                <a:pos x="4" y="4"/>
              </a:cxn>
              <a:cxn ang="0">
                <a:pos x="8" y="0"/>
              </a:cxn>
              <a:cxn ang="0">
                <a:pos x="8" y="0"/>
              </a:cxn>
              <a:cxn ang="0">
                <a:pos x="10" y="2"/>
              </a:cxn>
              <a:cxn ang="0">
                <a:pos x="8" y="8"/>
              </a:cxn>
              <a:cxn ang="0">
                <a:pos x="8" y="8"/>
              </a:cxn>
            </a:cxnLst>
            <a:rect l="0" t="0" r="r" b="b"/>
            <a:pathLst>
              <a:path w="10" h="8">
                <a:moveTo>
                  <a:pt x="8" y="8"/>
                </a:moveTo>
                <a:lnTo>
                  <a:pt x="8" y="8"/>
                </a:lnTo>
                <a:lnTo>
                  <a:pt x="0" y="8"/>
                </a:lnTo>
                <a:lnTo>
                  <a:pt x="0" y="8"/>
                </a:lnTo>
                <a:lnTo>
                  <a:pt x="4" y="4"/>
                </a:lnTo>
                <a:lnTo>
                  <a:pt x="8" y="0"/>
                </a:lnTo>
                <a:lnTo>
                  <a:pt x="8" y="0"/>
                </a:lnTo>
                <a:lnTo>
                  <a:pt x="10" y="2"/>
                </a:lnTo>
                <a:lnTo>
                  <a:pt x="8" y="8"/>
                </a:lnTo>
                <a:lnTo>
                  <a:pt x="8" y="8"/>
                </a:lnTo>
                <a:close/>
              </a:path>
            </a:pathLst>
          </a:custGeom>
          <a:solidFill>
            <a:schemeClr val="accent6"/>
          </a:solidFill>
          <a:ln w="9525">
            <a:solidFill>
              <a:schemeClr val="tx1"/>
            </a:solid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444" name="Monaco"/>
          <p:cNvSpPr>
            <a:spLocks/>
          </p:cNvSpPr>
          <p:nvPr/>
        </p:nvSpPr>
        <p:spPr bwMode="auto">
          <a:xfrm>
            <a:off x="4487381" y="1545416"/>
            <a:ext cx="11394" cy="9104"/>
          </a:xfrm>
          <a:custGeom>
            <a:avLst/>
            <a:gdLst/>
            <a:ahLst/>
            <a:cxnLst>
              <a:cxn ang="0">
                <a:pos x="8" y="8"/>
              </a:cxn>
              <a:cxn ang="0">
                <a:pos x="8" y="8"/>
              </a:cxn>
              <a:cxn ang="0">
                <a:pos x="0" y="8"/>
              </a:cxn>
              <a:cxn ang="0">
                <a:pos x="0" y="8"/>
              </a:cxn>
              <a:cxn ang="0">
                <a:pos x="4" y="4"/>
              </a:cxn>
              <a:cxn ang="0">
                <a:pos x="8" y="0"/>
              </a:cxn>
              <a:cxn ang="0">
                <a:pos x="8" y="0"/>
              </a:cxn>
              <a:cxn ang="0">
                <a:pos x="10" y="2"/>
              </a:cxn>
              <a:cxn ang="0">
                <a:pos x="8" y="8"/>
              </a:cxn>
              <a:cxn ang="0">
                <a:pos x="8" y="8"/>
              </a:cxn>
            </a:cxnLst>
            <a:rect l="0" t="0" r="r" b="b"/>
            <a:pathLst>
              <a:path w="10" h="8">
                <a:moveTo>
                  <a:pt x="8" y="8"/>
                </a:moveTo>
                <a:lnTo>
                  <a:pt x="8" y="8"/>
                </a:lnTo>
                <a:lnTo>
                  <a:pt x="0" y="8"/>
                </a:lnTo>
                <a:lnTo>
                  <a:pt x="0" y="8"/>
                </a:lnTo>
                <a:lnTo>
                  <a:pt x="4" y="4"/>
                </a:lnTo>
                <a:lnTo>
                  <a:pt x="8" y="0"/>
                </a:lnTo>
                <a:lnTo>
                  <a:pt x="8" y="0"/>
                </a:lnTo>
                <a:lnTo>
                  <a:pt x="10" y="2"/>
                </a:lnTo>
                <a:lnTo>
                  <a:pt x="8" y="8"/>
                </a:lnTo>
                <a:lnTo>
                  <a:pt x="8" y="8"/>
                </a:lnTo>
                <a:close/>
              </a:path>
            </a:pathLst>
          </a:custGeom>
          <a:solidFill>
            <a:schemeClr val="accent6"/>
          </a:solidFill>
          <a:ln w="9525">
            <a:solidFill>
              <a:schemeClr val="tx1"/>
            </a:solidFill>
            <a:round/>
            <a:headEnd/>
            <a:tailEnd/>
          </a:ln>
        </p:spPr>
        <p:txBody>
          <a:bodyPr vert="horz" wrap="square" lIns="68589" tIns="34295" rIns="68589" bIns="34295" numCol="1" anchor="t" anchorCtr="0" compatLnSpc="1">
            <a:prstTxWarp prst="textNoShape">
              <a:avLst/>
            </a:prstTxWarp>
          </a:bodyPr>
          <a:lstStyle/>
          <a:p>
            <a:endParaRPr lang="en-US" dirty="0"/>
          </a:p>
        </p:txBody>
      </p:sp>
      <p:grpSp>
        <p:nvGrpSpPr>
          <p:cNvPr id="1041" name="East Timor (Timor-Leste)"/>
          <p:cNvGrpSpPr/>
          <p:nvPr/>
        </p:nvGrpSpPr>
        <p:grpSpPr>
          <a:xfrm>
            <a:off x="7309428" y="2992631"/>
            <a:ext cx="81580" cy="34527"/>
            <a:chOff x="7387430" y="3852863"/>
            <a:chExt cx="108745" cy="46036"/>
          </a:xfrm>
          <a:solidFill>
            <a:schemeClr val="tx1"/>
          </a:solidFill>
        </p:grpSpPr>
        <p:sp>
          <p:nvSpPr>
            <p:cNvPr id="1039" name="Timor-Leste"/>
            <p:cNvSpPr>
              <a:spLocks/>
            </p:cNvSpPr>
            <p:nvPr/>
          </p:nvSpPr>
          <p:spPr bwMode="auto">
            <a:xfrm>
              <a:off x="7387430" y="3890962"/>
              <a:ext cx="11113" cy="7937"/>
            </a:xfrm>
            <a:custGeom>
              <a:avLst/>
              <a:gdLst>
                <a:gd name="T0" fmla="*/ 2 w 7"/>
                <a:gd name="T1" fmla="*/ 0 h 5"/>
                <a:gd name="T2" fmla="*/ 5 w 7"/>
                <a:gd name="T3" fmla="*/ 0 h 5"/>
                <a:gd name="T4" fmla="*/ 5 w 7"/>
                <a:gd name="T5" fmla="*/ 0 h 5"/>
                <a:gd name="T6" fmla="*/ 7 w 7"/>
                <a:gd name="T7" fmla="*/ 0 h 5"/>
                <a:gd name="T8" fmla="*/ 5 w 7"/>
                <a:gd name="T9" fmla="*/ 3 h 5"/>
                <a:gd name="T10" fmla="*/ 5 w 7"/>
                <a:gd name="T11" fmla="*/ 5 h 5"/>
                <a:gd name="T12" fmla="*/ 0 w 7"/>
                <a:gd name="T13" fmla="*/ 5 h 5"/>
                <a:gd name="T14" fmla="*/ 0 w 7"/>
                <a:gd name="T15" fmla="*/ 3 h 5"/>
                <a:gd name="T16" fmla="*/ 2 w 7"/>
                <a:gd name="T17" fmla="*/ 0 h 5"/>
                <a:gd name="T18" fmla="*/ 2 w 7"/>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2" y="0"/>
                  </a:moveTo>
                  <a:lnTo>
                    <a:pt x="5" y="0"/>
                  </a:lnTo>
                  <a:lnTo>
                    <a:pt x="5" y="0"/>
                  </a:lnTo>
                  <a:lnTo>
                    <a:pt x="7" y="0"/>
                  </a:lnTo>
                  <a:lnTo>
                    <a:pt x="5" y="3"/>
                  </a:lnTo>
                  <a:lnTo>
                    <a:pt x="5" y="5"/>
                  </a:lnTo>
                  <a:lnTo>
                    <a:pt x="0" y="5"/>
                  </a:lnTo>
                  <a:lnTo>
                    <a:pt x="0" y="3"/>
                  </a:lnTo>
                  <a:lnTo>
                    <a:pt x="2" y="0"/>
                  </a:lnTo>
                  <a:lnTo>
                    <a:pt x="2" y="0"/>
                  </a:lnTo>
                  <a:close/>
                </a:path>
              </a:pathLst>
            </a:custGeom>
            <a:grp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040" name="Timor-Leste"/>
            <p:cNvSpPr>
              <a:spLocks/>
            </p:cNvSpPr>
            <p:nvPr/>
          </p:nvSpPr>
          <p:spPr bwMode="auto">
            <a:xfrm>
              <a:off x="7413625" y="3852863"/>
              <a:ext cx="82550" cy="39687"/>
            </a:xfrm>
            <a:custGeom>
              <a:avLst/>
              <a:gdLst>
                <a:gd name="T0" fmla="*/ 52 w 52"/>
                <a:gd name="T1" fmla="*/ 2 h 25"/>
                <a:gd name="T2" fmla="*/ 49 w 52"/>
                <a:gd name="T3" fmla="*/ 2 h 25"/>
                <a:gd name="T4" fmla="*/ 47 w 52"/>
                <a:gd name="T5" fmla="*/ 2 h 25"/>
                <a:gd name="T6" fmla="*/ 44 w 52"/>
                <a:gd name="T7" fmla="*/ 0 h 25"/>
                <a:gd name="T8" fmla="*/ 35 w 52"/>
                <a:gd name="T9" fmla="*/ 2 h 25"/>
                <a:gd name="T10" fmla="*/ 33 w 52"/>
                <a:gd name="T11" fmla="*/ 2 h 25"/>
                <a:gd name="T12" fmla="*/ 28 w 52"/>
                <a:gd name="T13" fmla="*/ 4 h 25"/>
                <a:gd name="T14" fmla="*/ 23 w 52"/>
                <a:gd name="T15" fmla="*/ 4 h 25"/>
                <a:gd name="T16" fmla="*/ 14 w 52"/>
                <a:gd name="T17" fmla="*/ 4 h 25"/>
                <a:gd name="T18" fmla="*/ 9 w 52"/>
                <a:gd name="T19" fmla="*/ 7 h 25"/>
                <a:gd name="T20" fmla="*/ 4 w 52"/>
                <a:gd name="T21" fmla="*/ 11 h 25"/>
                <a:gd name="T22" fmla="*/ 0 w 52"/>
                <a:gd name="T23" fmla="*/ 14 h 25"/>
                <a:gd name="T24" fmla="*/ 0 w 52"/>
                <a:gd name="T25" fmla="*/ 18 h 25"/>
                <a:gd name="T26" fmla="*/ 2 w 52"/>
                <a:gd name="T27" fmla="*/ 18 h 25"/>
                <a:gd name="T28" fmla="*/ 7 w 52"/>
                <a:gd name="T29" fmla="*/ 14 h 25"/>
                <a:gd name="T30" fmla="*/ 9 w 52"/>
                <a:gd name="T31" fmla="*/ 21 h 25"/>
                <a:gd name="T32" fmla="*/ 2 w 52"/>
                <a:gd name="T33" fmla="*/ 21 h 25"/>
                <a:gd name="T34" fmla="*/ 4 w 52"/>
                <a:gd name="T35" fmla="*/ 25 h 25"/>
                <a:gd name="T36" fmla="*/ 7 w 52"/>
                <a:gd name="T37" fmla="*/ 25 h 25"/>
                <a:gd name="T38" fmla="*/ 9 w 52"/>
                <a:gd name="T39" fmla="*/ 25 h 25"/>
                <a:gd name="T40" fmla="*/ 14 w 52"/>
                <a:gd name="T41" fmla="*/ 23 h 25"/>
                <a:gd name="T42" fmla="*/ 16 w 52"/>
                <a:gd name="T43" fmla="*/ 21 h 25"/>
                <a:gd name="T44" fmla="*/ 18 w 52"/>
                <a:gd name="T45" fmla="*/ 18 h 25"/>
                <a:gd name="T46" fmla="*/ 21 w 52"/>
                <a:gd name="T47" fmla="*/ 18 h 25"/>
                <a:gd name="T48" fmla="*/ 23 w 52"/>
                <a:gd name="T49" fmla="*/ 18 h 25"/>
                <a:gd name="T50" fmla="*/ 26 w 52"/>
                <a:gd name="T51" fmla="*/ 18 h 25"/>
                <a:gd name="T52" fmla="*/ 28 w 52"/>
                <a:gd name="T53" fmla="*/ 16 h 25"/>
                <a:gd name="T54" fmla="*/ 33 w 52"/>
                <a:gd name="T55" fmla="*/ 14 h 25"/>
                <a:gd name="T56" fmla="*/ 40 w 52"/>
                <a:gd name="T57" fmla="*/ 14 h 25"/>
                <a:gd name="T58" fmla="*/ 44 w 52"/>
                <a:gd name="T59" fmla="*/ 9 h 25"/>
                <a:gd name="T60" fmla="*/ 49 w 52"/>
                <a:gd name="T61" fmla="*/ 4 h 25"/>
                <a:gd name="T62" fmla="*/ 52 w 52"/>
                <a:gd name="T63" fmla="*/ 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 h="25">
                  <a:moveTo>
                    <a:pt x="52" y="2"/>
                  </a:moveTo>
                  <a:lnTo>
                    <a:pt x="49" y="2"/>
                  </a:lnTo>
                  <a:lnTo>
                    <a:pt x="47" y="2"/>
                  </a:lnTo>
                  <a:lnTo>
                    <a:pt x="44" y="0"/>
                  </a:lnTo>
                  <a:lnTo>
                    <a:pt x="35" y="2"/>
                  </a:lnTo>
                  <a:lnTo>
                    <a:pt x="33" y="2"/>
                  </a:lnTo>
                  <a:lnTo>
                    <a:pt x="28" y="4"/>
                  </a:lnTo>
                  <a:lnTo>
                    <a:pt x="23" y="4"/>
                  </a:lnTo>
                  <a:lnTo>
                    <a:pt x="14" y="4"/>
                  </a:lnTo>
                  <a:lnTo>
                    <a:pt x="9" y="7"/>
                  </a:lnTo>
                  <a:lnTo>
                    <a:pt x="4" y="11"/>
                  </a:lnTo>
                  <a:lnTo>
                    <a:pt x="0" y="14"/>
                  </a:lnTo>
                  <a:lnTo>
                    <a:pt x="0" y="18"/>
                  </a:lnTo>
                  <a:lnTo>
                    <a:pt x="2" y="18"/>
                  </a:lnTo>
                  <a:lnTo>
                    <a:pt x="7" y="14"/>
                  </a:lnTo>
                  <a:lnTo>
                    <a:pt x="9" y="21"/>
                  </a:lnTo>
                  <a:lnTo>
                    <a:pt x="2" y="21"/>
                  </a:lnTo>
                  <a:lnTo>
                    <a:pt x="4" y="25"/>
                  </a:lnTo>
                  <a:lnTo>
                    <a:pt x="7" y="25"/>
                  </a:lnTo>
                  <a:lnTo>
                    <a:pt x="9" y="25"/>
                  </a:lnTo>
                  <a:lnTo>
                    <a:pt x="14" y="23"/>
                  </a:lnTo>
                  <a:lnTo>
                    <a:pt x="16" y="21"/>
                  </a:lnTo>
                  <a:lnTo>
                    <a:pt x="18" y="18"/>
                  </a:lnTo>
                  <a:lnTo>
                    <a:pt x="21" y="18"/>
                  </a:lnTo>
                  <a:lnTo>
                    <a:pt x="23" y="18"/>
                  </a:lnTo>
                  <a:lnTo>
                    <a:pt x="26" y="18"/>
                  </a:lnTo>
                  <a:lnTo>
                    <a:pt x="28" y="16"/>
                  </a:lnTo>
                  <a:lnTo>
                    <a:pt x="33" y="14"/>
                  </a:lnTo>
                  <a:lnTo>
                    <a:pt x="40" y="14"/>
                  </a:lnTo>
                  <a:lnTo>
                    <a:pt x="44" y="9"/>
                  </a:lnTo>
                  <a:lnTo>
                    <a:pt x="49" y="4"/>
                  </a:lnTo>
                  <a:lnTo>
                    <a:pt x="52" y="2"/>
                  </a:lnTo>
                  <a:close/>
                </a:path>
              </a:pathLst>
            </a:custGeom>
            <a:grp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grpSp>
      <p:sp>
        <p:nvSpPr>
          <p:cNvPr id="675" name="Luxembourg"/>
          <p:cNvSpPr>
            <a:spLocks/>
          </p:cNvSpPr>
          <p:nvPr/>
        </p:nvSpPr>
        <p:spPr bwMode="auto">
          <a:xfrm>
            <a:off x="4453431" y="1409687"/>
            <a:ext cx="11394" cy="9104"/>
          </a:xfrm>
          <a:custGeom>
            <a:avLst/>
            <a:gdLst/>
            <a:ahLst/>
            <a:cxnLst>
              <a:cxn ang="0">
                <a:pos x="8" y="8"/>
              </a:cxn>
              <a:cxn ang="0">
                <a:pos x="8" y="8"/>
              </a:cxn>
              <a:cxn ang="0">
                <a:pos x="0" y="8"/>
              </a:cxn>
              <a:cxn ang="0">
                <a:pos x="0" y="8"/>
              </a:cxn>
              <a:cxn ang="0">
                <a:pos x="4" y="4"/>
              </a:cxn>
              <a:cxn ang="0">
                <a:pos x="8" y="0"/>
              </a:cxn>
              <a:cxn ang="0">
                <a:pos x="8" y="0"/>
              </a:cxn>
              <a:cxn ang="0">
                <a:pos x="10" y="2"/>
              </a:cxn>
              <a:cxn ang="0">
                <a:pos x="8" y="8"/>
              </a:cxn>
              <a:cxn ang="0">
                <a:pos x="8" y="8"/>
              </a:cxn>
            </a:cxnLst>
            <a:rect l="0" t="0" r="r" b="b"/>
            <a:pathLst>
              <a:path w="10" h="8">
                <a:moveTo>
                  <a:pt x="8" y="8"/>
                </a:moveTo>
                <a:lnTo>
                  <a:pt x="8" y="8"/>
                </a:lnTo>
                <a:lnTo>
                  <a:pt x="0" y="8"/>
                </a:lnTo>
                <a:lnTo>
                  <a:pt x="0" y="8"/>
                </a:lnTo>
                <a:lnTo>
                  <a:pt x="4" y="4"/>
                </a:lnTo>
                <a:lnTo>
                  <a:pt x="8" y="0"/>
                </a:lnTo>
                <a:lnTo>
                  <a:pt x="8" y="0"/>
                </a:lnTo>
                <a:lnTo>
                  <a:pt x="10" y="2"/>
                </a:lnTo>
                <a:lnTo>
                  <a:pt x="8" y="8"/>
                </a:lnTo>
                <a:lnTo>
                  <a:pt x="8" y="8"/>
                </a:lnTo>
                <a:close/>
              </a:path>
            </a:pathLst>
          </a:custGeom>
          <a:pattFill prst="wdUpDiag">
            <a:fgClr>
              <a:schemeClr val="accent5">
                <a:lumMod val="75000"/>
              </a:schemeClr>
            </a:fgClr>
            <a:bgClr>
              <a:schemeClr val="accent6"/>
            </a:bgClr>
          </a:patt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sz="900" dirty="0">
              <a:solidFill>
                <a:schemeClr val="bg1">
                  <a:alpha val="99000"/>
                </a:schemeClr>
              </a:solidFill>
            </a:endParaRPr>
          </a:p>
        </p:txBody>
      </p:sp>
      <p:sp>
        <p:nvSpPr>
          <p:cNvPr id="368" name="Azerbaijan"/>
          <p:cNvSpPr>
            <a:spLocks/>
          </p:cNvSpPr>
          <p:nvPr/>
        </p:nvSpPr>
        <p:spPr bwMode="auto">
          <a:xfrm>
            <a:off x="5339882" y="1653219"/>
            <a:ext cx="27346" cy="11381"/>
          </a:xfrm>
          <a:custGeom>
            <a:avLst/>
            <a:gdLst/>
            <a:ahLst/>
            <a:cxnLst>
              <a:cxn ang="0">
                <a:pos x="0" y="0"/>
              </a:cxn>
              <a:cxn ang="0">
                <a:pos x="0" y="0"/>
              </a:cxn>
              <a:cxn ang="0">
                <a:pos x="2" y="4"/>
              </a:cxn>
              <a:cxn ang="0">
                <a:pos x="4" y="8"/>
              </a:cxn>
              <a:cxn ang="0">
                <a:pos x="12" y="10"/>
              </a:cxn>
              <a:cxn ang="0">
                <a:pos x="20" y="10"/>
              </a:cxn>
              <a:cxn ang="0">
                <a:pos x="24" y="10"/>
              </a:cxn>
              <a:cxn ang="0">
                <a:pos x="24" y="10"/>
              </a:cxn>
              <a:cxn ang="0">
                <a:pos x="18" y="4"/>
              </a:cxn>
              <a:cxn ang="0">
                <a:pos x="12" y="2"/>
              </a:cxn>
              <a:cxn ang="0">
                <a:pos x="6" y="0"/>
              </a:cxn>
              <a:cxn ang="0">
                <a:pos x="0" y="0"/>
              </a:cxn>
              <a:cxn ang="0">
                <a:pos x="0" y="0"/>
              </a:cxn>
            </a:cxnLst>
            <a:rect l="0" t="0" r="r" b="b"/>
            <a:pathLst>
              <a:path w="24" h="10">
                <a:moveTo>
                  <a:pt x="0" y="0"/>
                </a:moveTo>
                <a:lnTo>
                  <a:pt x="0" y="0"/>
                </a:lnTo>
                <a:lnTo>
                  <a:pt x="2" y="4"/>
                </a:lnTo>
                <a:lnTo>
                  <a:pt x="4" y="8"/>
                </a:lnTo>
                <a:lnTo>
                  <a:pt x="12" y="10"/>
                </a:lnTo>
                <a:lnTo>
                  <a:pt x="20" y="10"/>
                </a:lnTo>
                <a:lnTo>
                  <a:pt x="24" y="10"/>
                </a:lnTo>
                <a:lnTo>
                  <a:pt x="24" y="10"/>
                </a:lnTo>
                <a:lnTo>
                  <a:pt x="18" y="4"/>
                </a:lnTo>
                <a:lnTo>
                  <a:pt x="12" y="2"/>
                </a:lnTo>
                <a:lnTo>
                  <a:pt x="6" y="0"/>
                </a:lnTo>
                <a:lnTo>
                  <a:pt x="0" y="0"/>
                </a:lnTo>
                <a:lnTo>
                  <a:pt x="0" y="0"/>
                </a:lnTo>
                <a:close/>
              </a:path>
            </a:pathLst>
          </a:custGeom>
          <a:solidFill>
            <a:schemeClr val="accent1"/>
          </a:solidFill>
          <a:ln w="9525">
            <a:solidFill>
              <a:schemeClr val="tx1"/>
            </a:solid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477" name="TextBox 476"/>
          <p:cNvSpPr txBox="1"/>
          <p:nvPr/>
        </p:nvSpPr>
        <p:spPr>
          <a:xfrm>
            <a:off x="8548944" y="49302"/>
            <a:ext cx="547284" cy="249317"/>
          </a:xfrm>
          <a:prstGeom prst="rect">
            <a:avLst/>
          </a:prstGeom>
          <a:noFill/>
        </p:spPr>
        <p:txBody>
          <a:bodyPr wrap="none" lIns="68589" tIns="68589" rIns="68589" bIns="68589" rtlCol="0">
            <a:spAutoFit/>
          </a:bodyPr>
          <a:lstStyle/>
          <a:p>
            <a:pPr algn="r">
              <a:lnSpc>
                <a:spcPct val="90000"/>
              </a:lnSpc>
              <a:spcBef>
                <a:spcPct val="20000"/>
              </a:spcBef>
              <a:buSzPct val="90000"/>
            </a:pPr>
            <a:r>
              <a:rPr lang="en-US" sz="800" dirty="0">
                <a:solidFill>
                  <a:schemeClr val="tx1">
                    <a:alpha val="99000"/>
                  </a:schemeClr>
                </a:solidFill>
              </a:rPr>
              <a:t>7.5 &amp; 8.0</a:t>
            </a:r>
          </a:p>
        </p:txBody>
      </p:sp>
      <p:grpSp>
        <p:nvGrpSpPr>
          <p:cNvPr id="974" name="Group 973"/>
          <p:cNvGrpSpPr/>
          <p:nvPr/>
        </p:nvGrpSpPr>
        <p:grpSpPr>
          <a:xfrm>
            <a:off x="1117220" y="878847"/>
            <a:ext cx="7185134" cy="4069391"/>
            <a:chOff x="1489238" y="1171796"/>
            <a:chExt cx="9577684" cy="5425854"/>
          </a:xfrm>
        </p:grpSpPr>
        <p:grpSp>
          <p:nvGrpSpPr>
            <p:cNvPr id="62" name="Group 61"/>
            <p:cNvGrpSpPr/>
            <p:nvPr/>
          </p:nvGrpSpPr>
          <p:grpSpPr>
            <a:xfrm>
              <a:off x="1489238" y="1171796"/>
              <a:ext cx="9577684" cy="5425854"/>
              <a:chOff x="1489238" y="1171796"/>
              <a:chExt cx="9577684" cy="5425854"/>
            </a:xfrm>
          </p:grpSpPr>
          <p:grpSp>
            <p:nvGrpSpPr>
              <p:cNvPr id="20" name="Group 19"/>
              <p:cNvGrpSpPr/>
              <p:nvPr/>
            </p:nvGrpSpPr>
            <p:grpSpPr>
              <a:xfrm>
                <a:off x="1489238" y="1171796"/>
                <a:ext cx="9577684" cy="5425854"/>
                <a:chOff x="1489238" y="1171796"/>
                <a:chExt cx="9577684" cy="5425854"/>
              </a:xfrm>
            </p:grpSpPr>
            <p:sp>
              <p:nvSpPr>
                <p:cNvPr id="435" name="green Block"/>
                <p:cNvSpPr/>
                <p:nvPr/>
              </p:nvSpPr>
              <p:spPr>
                <a:xfrm>
                  <a:off x="3180532" y="5909880"/>
                  <a:ext cx="2665659" cy="68777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500" b="1" dirty="0">
                      <a:solidFill>
                        <a:schemeClr val="tx1"/>
                      </a:solidFill>
                    </a:rPr>
                    <a:t>38 Countries</a:t>
                  </a:r>
                </a:p>
                <a:p>
                  <a:pPr algn="ctr"/>
                  <a:r>
                    <a:rPr lang="en-US" sz="1100" dirty="0">
                      <a:solidFill>
                        <a:schemeClr val="tx1"/>
                      </a:solidFill>
                    </a:rPr>
                    <a:t>Windows Phone 7.x</a:t>
                  </a:r>
                  <a:endParaRPr lang="en-US" sz="1100" dirty="0">
                    <a:solidFill>
                      <a:schemeClr val="tx1"/>
                    </a:solidFill>
                  </a:endParaRPr>
                </a:p>
              </p:txBody>
            </p:sp>
            <p:grpSp>
              <p:nvGrpSpPr>
                <p:cNvPr id="2" name="Group 1"/>
                <p:cNvGrpSpPr/>
                <p:nvPr/>
              </p:nvGrpSpPr>
              <p:grpSpPr>
                <a:xfrm>
                  <a:off x="1489238" y="1171796"/>
                  <a:ext cx="9577684" cy="4410266"/>
                  <a:chOff x="1489238" y="1171796"/>
                  <a:chExt cx="9577684" cy="4410266"/>
                </a:xfrm>
              </p:grpSpPr>
              <p:sp>
                <p:nvSpPr>
                  <p:cNvPr id="388" name="Freeform 125"/>
                  <p:cNvSpPr>
                    <a:spLocks/>
                  </p:cNvSpPr>
                  <p:nvPr/>
                </p:nvSpPr>
                <p:spPr bwMode="auto">
                  <a:xfrm>
                    <a:off x="4361711" y="1186970"/>
                    <a:ext cx="1066213" cy="415772"/>
                  </a:xfrm>
                  <a:custGeom>
                    <a:avLst/>
                    <a:gdLst/>
                    <a:ahLst/>
                    <a:cxnLst>
                      <a:cxn ang="0">
                        <a:pos x="214" y="6"/>
                      </a:cxn>
                      <a:cxn ang="0">
                        <a:pos x="292" y="10"/>
                      </a:cxn>
                      <a:cxn ang="0">
                        <a:pos x="354" y="4"/>
                      </a:cxn>
                      <a:cxn ang="0">
                        <a:pos x="406" y="8"/>
                      </a:cxn>
                      <a:cxn ang="0">
                        <a:pos x="474" y="4"/>
                      </a:cxn>
                      <a:cxn ang="0">
                        <a:pos x="540" y="8"/>
                      </a:cxn>
                      <a:cxn ang="0">
                        <a:pos x="606" y="10"/>
                      </a:cxn>
                      <a:cxn ang="0">
                        <a:pos x="640" y="8"/>
                      </a:cxn>
                      <a:cxn ang="0">
                        <a:pos x="648" y="18"/>
                      </a:cxn>
                      <a:cxn ang="0">
                        <a:pos x="658" y="12"/>
                      </a:cxn>
                      <a:cxn ang="0">
                        <a:pos x="692" y="18"/>
                      </a:cxn>
                      <a:cxn ang="0">
                        <a:pos x="674" y="32"/>
                      </a:cxn>
                      <a:cxn ang="0">
                        <a:pos x="684" y="40"/>
                      </a:cxn>
                      <a:cxn ang="0">
                        <a:pos x="650" y="54"/>
                      </a:cxn>
                      <a:cxn ang="0">
                        <a:pos x="650" y="76"/>
                      </a:cxn>
                      <a:cxn ang="0">
                        <a:pos x="608" y="80"/>
                      </a:cxn>
                      <a:cxn ang="0">
                        <a:pos x="568" y="88"/>
                      </a:cxn>
                      <a:cxn ang="0">
                        <a:pos x="592" y="98"/>
                      </a:cxn>
                      <a:cxn ang="0">
                        <a:pos x="616" y="106"/>
                      </a:cxn>
                      <a:cxn ang="0">
                        <a:pos x="576" y="106"/>
                      </a:cxn>
                      <a:cxn ang="0">
                        <a:pos x="550" y="104"/>
                      </a:cxn>
                      <a:cxn ang="0">
                        <a:pos x="536" y="122"/>
                      </a:cxn>
                      <a:cxn ang="0">
                        <a:pos x="582" y="120"/>
                      </a:cxn>
                      <a:cxn ang="0">
                        <a:pos x="578" y="130"/>
                      </a:cxn>
                      <a:cxn ang="0">
                        <a:pos x="542" y="138"/>
                      </a:cxn>
                      <a:cxn ang="0">
                        <a:pos x="500" y="148"/>
                      </a:cxn>
                      <a:cxn ang="0">
                        <a:pos x="454" y="152"/>
                      </a:cxn>
                      <a:cxn ang="0">
                        <a:pos x="432" y="150"/>
                      </a:cxn>
                      <a:cxn ang="0">
                        <a:pos x="398" y="170"/>
                      </a:cxn>
                      <a:cxn ang="0">
                        <a:pos x="360" y="176"/>
                      </a:cxn>
                      <a:cxn ang="0">
                        <a:pos x="324" y="182"/>
                      </a:cxn>
                      <a:cxn ang="0">
                        <a:pos x="290" y="198"/>
                      </a:cxn>
                      <a:cxn ang="0">
                        <a:pos x="280" y="214"/>
                      </a:cxn>
                      <a:cxn ang="0">
                        <a:pos x="260" y="226"/>
                      </a:cxn>
                      <a:cxn ang="0">
                        <a:pos x="244" y="248"/>
                      </a:cxn>
                      <a:cxn ang="0">
                        <a:pos x="224" y="262"/>
                      </a:cxn>
                      <a:cxn ang="0">
                        <a:pos x="196" y="270"/>
                      </a:cxn>
                      <a:cxn ang="0">
                        <a:pos x="174" y="260"/>
                      </a:cxn>
                      <a:cxn ang="0">
                        <a:pos x="140" y="248"/>
                      </a:cxn>
                      <a:cxn ang="0">
                        <a:pos x="122" y="226"/>
                      </a:cxn>
                      <a:cxn ang="0">
                        <a:pos x="134" y="200"/>
                      </a:cxn>
                      <a:cxn ang="0">
                        <a:pos x="108" y="186"/>
                      </a:cxn>
                      <a:cxn ang="0">
                        <a:pos x="108" y="168"/>
                      </a:cxn>
                      <a:cxn ang="0">
                        <a:pos x="122" y="154"/>
                      </a:cxn>
                      <a:cxn ang="0">
                        <a:pos x="152" y="146"/>
                      </a:cxn>
                      <a:cxn ang="0">
                        <a:pos x="166" y="136"/>
                      </a:cxn>
                      <a:cxn ang="0">
                        <a:pos x="166" y="124"/>
                      </a:cxn>
                      <a:cxn ang="0">
                        <a:pos x="152" y="114"/>
                      </a:cxn>
                      <a:cxn ang="0">
                        <a:pos x="176" y="110"/>
                      </a:cxn>
                      <a:cxn ang="0">
                        <a:pos x="160" y="106"/>
                      </a:cxn>
                      <a:cxn ang="0">
                        <a:pos x="128" y="106"/>
                      </a:cxn>
                      <a:cxn ang="0">
                        <a:pos x="146" y="86"/>
                      </a:cxn>
                      <a:cxn ang="0">
                        <a:pos x="142" y="72"/>
                      </a:cxn>
                      <a:cxn ang="0">
                        <a:pos x="108" y="60"/>
                      </a:cxn>
                      <a:cxn ang="0">
                        <a:pos x="44" y="56"/>
                      </a:cxn>
                      <a:cxn ang="0">
                        <a:pos x="30" y="48"/>
                      </a:cxn>
                      <a:cxn ang="0">
                        <a:pos x="28" y="42"/>
                      </a:cxn>
                      <a:cxn ang="0">
                        <a:pos x="42" y="30"/>
                      </a:cxn>
                      <a:cxn ang="0">
                        <a:pos x="84" y="16"/>
                      </a:cxn>
                      <a:cxn ang="0">
                        <a:pos x="166" y="12"/>
                      </a:cxn>
                    </a:cxnLst>
                    <a:rect l="0" t="0" r="r" b="b"/>
                    <a:pathLst>
                      <a:path w="702" h="274">
                        <a:moveTo>
                          <a:pt x="166" y="12"/>
                        </a:moveTo>
                        <a:lnTo>
                          <a:pt x="166" y="12"/>
                        </a:lnTo>
                        <a:lnTo>
                          <a:pt x="172" y="10"/>
                        </a:lnTo>
                        <a:lnTo>
                          <a:pt x="178" y="10"/>
                        </a:lnTo>
                        <a:lnTo>
                          <a:pt x="182" y="10"/>
                        </a:lnTo>
                        <a:lnTo>
                          <a:pt x="188" y="10"/>
                        </a:lnTo>
                        <a:lnTo>
                          <a:pt x="188" y="10"/>
                        </a:lnTo>
                        <a:lnTo>
                          <a:pt x="194" y="8"/>
                        </a:lnTo>
                        <a:lnTo>
                          <a:pt x="200" y="8"/>
                        </a:lnTo>
                        <a:lnTo>
                          <a:pt x="206" y="8"/>
                        </a:lnTo>
                        <a:lnTo>
                          <a:pt x="214" y="6"/>
                        </a:lnTo>
                        <a:lnTo>
                          <a:pt x="214" y="6"/>
                        </a:lnTo>
                        <a:lnTo>
                          <a:pt x="224" y="6"/>
                        </a:lnTo>
                        <a:lnTo>
                          <a:pt x="230" y="8"/>
                        </a:lnTo>
                        <a:lnTo>
                          <a:pt x="236" y="10"/>
                        </a:lnTo>
                        <a:lnTo>
                          <a:pt x="242" y="8"/>
                        </a:lnTo>
                        <a:lnTo>
                          <a:pt x="242" y="8"/>
                        </a:lnTo>
                        <a:lnTo>
                          <a:pt x="250" y="8"/>
                        </a:lnTo>
                        <a:lnTo>
                          <a:pt x="254" y="8"/>
                        </a:lnTo>
                        <a:lnTo>
                          <a:pt x="260" y="10"/>
                        </a:lnTo>
                        <a:lnTo>
                          <a:pt x="268" y="10"/>
                        </a:lnTo>
                        <a:lnTo>
                          <a:pt x="268" y="10"/>
                        </a:lnTo>
                        <a:lnTo>
                          <a:pt x="280" y="8"/>
                        </a:lnTo>
                        <a:lnTo>
                          <a:pt x="292" y="10"/>
                        </a:lnTo>
                        <a:lnTo>
                          <a:pt x="300" y="10"/>
                        </a:lnTo>
                        <a:lnTo>
                          <a:pt x="302" y="10"/>
                        </a:lnTo>
                        <a:lnTo>
                          <a:pt x="302" y="8"/>
                        </a:lnTo>
                        <a:lnTo>
                          <a:pt x="302" y="8"/>
                        </a:lnTo>
                        <a:lnTo>
                          <a:pt x="302" y="6"/>
                        </a:lnTo>
                        <a:lnTo>
                          <a:pt x="306" y="4"/>
                        </a:lnTo>
                        <a:lnTo>
                          <a:pt x="314" y="4"/>
                        </a:lnTo>
                        <a:lnTo>
                          <a:pt x="322" y="6"/>
                        </a:lnTo>
                        <a:lnTo>
                          <a:pt x="322" y="6"/>
                        </a:lnTo>
                        <a:lnTo>
                          <a:pt x="332" y="8"/>
                        </a:lnTo>
                        <a:lnTo>
                          <a:pt x="340" y="8"/>
                        </a:lnTo>
                        <a:lnTo>
                          <a:pt x="354" y="4"/>
                        </a:lnTo>
                        <a:lnTo>
                          <a:pt x="354" y="4"/>
                        </a:lnTo>
                        <a:lnTo>
                          <a:pt x="362" y="4"/>
                        </a:lnTo>
                        <a:lnTo>
                          <a:pt x="368" y="6"/>
                        </a:lnTo>
                        <a:lnTo>
                          <a:pt x="372" y="8"/>
                        </a:lnTo>
                        <a:lnTo>
                          <a:pt x="380" y="6"/>
                        </a:lnTo>
                        <a:lnTo>
                          <a:pt x="380" y="6"/>
                        </a:lnTo>
                        <a:lnTo>
                          <a:pt x="386" y="6"/>
                        </a:lnTo>
                        <a:lnTo>
                          <a:pt x="390" y="8"/>
                        </a:lnTo>
                        <a:lnTo>
                          <a:pt x="394" y="10"/>
                        </a:lnTo>
                        <a:lnTo>
                          <a:pt x="400" y="8"/>
                        </a:lnTo>
                        <a:lnTo>
                          <a:pt x="400" y="8"/>
                        </a:lnTo>
                        <a:lnTo>
                          <a:pt x="406" y="8"/>
                        </a:lnTo>
                        <a:lnTo>
                          <a:pt x="408" y="8"/>
                        </a:lnTo>
                        <a:lnTo>
                          <a:pt x="412" y="8"/>
                        </a:lnTo>
                        <a:lnTo>
                          <a:pt x="424" y="6"/>
                        </a:lnTo>
                        <a:lnTo>
                          <a:pt x="424" y="6"/>
                        </a:lnTo>
                        <a:lnTo>
                          <a:pt x="450" y="2"/>
                        </a:lnTo>
                        <a:lnTo>
                          <a:pt x="456" y="4"/>
                        </a:lnTo>
                        <a:lnTo>
                          <a:pt x="458" y="4"/>
                        </a:lnTo>
                        <a:lnTo>
                          <a:pt x="456" y="6"/>
                        </a:lnTo>
                        <a:lnTo>
                          <a:pt x="456" y="6"/>
                        </a:lnTo>
                        <a:lnTo>
                          <a:pt x="452" y="10"/>
                        </a:lnTo>
                        <a:lnTo>
                          <a:pt x="454" y="10"/>
                        </a:lnTo>
                        <a:lnTo>
                          <a:pt x="474" y="4"/>
                        </a:lnTo>
                        <a:lnTo>
                          <a:pt x="474" y="4"/>
                        </a:lnTo>
                        <a:lnTo>
                          <a:pt x="482" y="2"/>
                        </a:lnTo>
                        <a:lnTo>
                          <a:pt x="486" y="0"/>
                        </a:lnTo>
                        <a:lnTo>
                          <a:pt x="494" y="2"/>
                        </a:lnTo>
                        <a:lnTo>
                          <a:pt x="500" y="6"/>
                        </a:lnTo>
                        <a:lnTo>
                          <a:pt x="504" y="6"/>
                        </a:lnTo>
                        <a:lnTo>
                          <a:pt x="508" y="6"/>
                        </a:lnTo>
                        <a:lnTo>
                          <a:pt x="508" y="6"/>
                        </a:lnTo>
                        <a:lnTo>
                          <a:pt x="518" y="4"/>
                        </a:lnTo>
                        <a:lnTo>
                          <a:pt x="524" y="6"/>
                        </a:lnTo>
                        <a:lnTo>
                          <a:pt x="530" y="8"/>
                        </a:lnTo>
                        <a:lnTo>
                          <a:pt x="540" y="8"/>
                        </a:lnTo>
                        <a:lnTo>
                          <a:pt x="540" y="8"/>
                        </a:lnTo>
                        <a:lnTo>
                          <a:pt x="550" y="8"/>
                        </a:lnTo>
                        <a:lnTo>
                          <a:pt x="556" y="10"/>
                        </a:lnTo>
                        <a:lnTo>
                          <a:pt x="560" y="12"/>
                        </a:lnTo>
                        <a:lnTo>
                          <a:pt x="568" y="10"/>
                        </a:lnTo>
                        <a:lnTo>
                          <a:pt x="568" y="10"/>
                        </a:lnTo>
                        <a:lnTo>
                          <a:pt x="576" y="8"/>
                        </a:lnTo>
                        <a:lnTo>
                          <a:pt x="584" y="8"/>
                        </a:lnTo>
                        <a:lnTo>
                          <a:pt x="592" y="10"/>
                        </a:lnTo>
                        <a:lnTo>
                          <a:pt x="600" y="10"/>
                        </a:lnTo>
                        <a:lnTo>
                          <a:pt x="600" y="10"/>
                        </a:lnTo>
                        <a:lnTo>
                          <a:pt x="606" y="10"/>
                        </a:lnTo>
                        <a:lnTo>
                          <a:pt x="612" y="10"/>
                        </a:lnTo>
                        <a:lnTo>
                          <a:pt x="618" y="14"/>
                        </a:lnTo>
                        <a:lnTo>
                          <a:pt x="618" y="14"/>
                        </a:lnTo>
                        <a:lnTo>
                          <a:pt x="618" y="14"/>
                        </a:lnTo>
                        <a:lnTo>
                          <a:pt x="620" y="12"/>
                        </a:lnTo>
                        <a:lnTo>
                          <a:pt x="622" y="10"/>
                        </a:lnTo>
                        <a:lnTo>
                          <a:pt x="624" y="8"/>
                        </a:lnTo>
                        <a:lnTo>
                          <a:pt x="624" y="8"/>
                        </a:lnTo>
                        <a:lnTo>
                          <a:pt x="630" y="8"/>
                        </a:lnTo>
                        <a:lnTo>
                          <a:pt x="636" y="8"/>
                        </a:lnTo>
                        <a:lnTo>
                          <a:pt x="640" y="8"/>
                        </a:lnTo>
                        <a:lnTo>
                          <a:pt x="640" y="8"/>
                        </a:lnTo>
                        <a:lnTo>
                          <a:pt x="646" y="12"/>
                        </a:lnTo>
                        <a:lnTo>
                          <a:pt x="646" y="12"/>
                        </a:lnTo>
                        <a:lnTo>
                          <a:pt x="640" y="14"/>
                        </a:lnTo>
                        <a:lnTo>
                          <a:pt x="640" y="14"/>
                        </a:lnTo>
                        <a:lnTo>
                          <a:pt x="634" y="16"/>
                        </a:lnTo>
                        <a:lnTo>
                          <a:pt x="630" y="18"/>
                        </a:lnTo>
                        <a:lnTo>
                          <a:pt x="630" y="22"/>
                        </a:lnTo>
                        <a:lnTo>
                          <a:pt x="630" y="22"/>
                        </a:lnTo>
                        <a:lnTo>
                          <a:pt x="634" y="18"/>
                        </a:lnTo>
                        <a:lnTo>
                          <a:pt x="640" y="18"/>
                        </a:lnTo>
                        <a:lnTo>
                          <a:pt x="648" y="18"/>
                        </a:lnTo>
                        <a:lnTo>
                          <a:pt x="648" y="18"/>
                        </a:lnTo>
                        <a:lnTo>
                          <a:pt x="650" y="20"/>
                        </a:lnTo>
                        <a:lnTo>
                          <a:pt x="650" y="22"/>
                        </a:lnTo>
                        <a:lnTo>
                          <a:pt x="638" y="32"/>
                        </a:lnTo>
                        <a:lnTo>
                          <a:pt x="638" y="32"/>
                        </a:lnTo>
                        <a:lnTo>
                          <a:pt x="636" y="34"/>
                        </a:lnTo>
                        <a:lnTo>
                          <a:pt x="638" y="34"/>
                        </a:lnTo>
                        <a:lnTo>
                          <a:pt x="652" y="26"/>
                        </a:lnTo>
                        <a:lnTo>
                          <a:pt x="652" y="26"/>
                        </a:lnTo>
                        <a:lnTo>
                          <a:pt x="654" y="22"/>
                        </a:lnTo>
                        <a:lnTo>
                          <a:pt x="654" y="20"/>
                        </a:lnTo>
                        <a:lnTo>
                          <a:pt x="654" y="16"/>
                        </a:lnTo>
                        <a:lnTo>
                          <a:pt x="658" y="12"/>
                        </a:lnTo>
                        <a:lnTo>
                          <a:pt x="658" y="12"/>
                        </a:lnTo>
                        <a:lnTo>
                          <a:pt x="664" y="8"/>
                        </a:lnTo>
                        <a:lnTo>
                          <a:pt x="672" y="8"/>
                        </a:lnTo>
                        <a:lnTo>
                          <a:pt x="680" y="8"/>
                        </a:lnTo>
                        <a:lnTo>
                          <a:pt x="688" y="8"/>
                        </a:lnTo>
                        <a:lnTo>
                          <a:pt x="688" y="8"/>
                        </a:lnTo>
                        <a:lnTo>
                          <a:pt x="700" y="8"/>
                        </a:lnTo>
                        <a:lnTo>
                          <a:pt x="702" y="10"/>
                        </a:lnTo>
                        <a:lnTo>
                          <a:pt x="702" y="10"/>
                        </a:lnTo>
                        <a:lnTo>
                          <a:pt x="696" y="14"/>
                        </a:lnTo>
                        <a:lnTo>
                          <a:pt x="696" y="14"/>
                        </a:lnTo>
                        <a:lnTo>
                          <a:pt x="692" y="18"/>
                        </a:lnTo>
                        <a:lnTo>
                          <a:pt x="692" y="20"/>
                        </a:lnTo>
                        <a:lnTo>
                          <a:pt x="694" y="20"/>
                        </a:lnTo>
                        <a:lnTo>
                          <a:pt x="690" y="22"/>
                        </a:lnTo>
                        <a:lnTo>
                          <a:pt x="690" y="22"/>
                        </a:lnTo>
                        <a:lnTo>
                          <a:pt x="688" y="24"/>
                        </a:lnTo>
                        <a:lnTo>
                          <a:pt x="690" y="26"/>
                        </a:lnTo>
                        <a:lnTo>
                          <a:pt x="690" y="28"/>
                        </a:lnTo>
                        <a:lnTo>
                          <a:pt x="686" y="32"/>
                        </a:lnTo>
                        <a:lnTo>
                          <a:pt x="686" y="32"/>
                        </a:lnTo>
                        <a:lnTo>
                          <a:pt x="680" y="34"/>
                        </a:lnTo>
                        <a:lnTo>
                          <a:pt x="678" y="34"/>
                        </a:lnTo>
                        <a:lnTo>
                          <a:pt x="674" y="32"/>
                        </a:lnTo>
                        <a:lnTo>
                          <a:pt x="668" y="34"/>
                        </a:lnTo>
                        <a:lnTo>
                          <a:pt x="668" y="34"/>
                        </a:lnTo>
                        <a:lnTo>
                          <a:pt x="662" y="38"/>
                        </a:lnTo>
                        <a:lnTo>
                          <a:pt x="660" y="40"/>
                        </a:lnTo>
                        <a:lnTo>
                          <a:pt x="660" y="42"/>
                        </a:lnTo>
                        <a:lnTo>
                          <a:pt x="664" y="40"/>
                        </a:lnTo>
                        <a:lnTo>
                          <a:pt x="664" y="40"/>
                        </a:lnTo>
                        <a:lnTo>
                          <a:pt x="668" y="38"/>
                        </a:lnTo>
                        <a:lnTo>
                          <a:pt x="672" y="40"/>
                        </a:lnTo>
                        <a:lnTo>
                          <a:pt x="676" y="40"/>
                        </a:lnTo>
                        <a:lnTo>
                          <a:pt x="684" y="40"/>
                        </a:lnTo>
                        <a:lnTo>
                          <a:pt x="684" y="40"/>
                        </a:lnTo>
                        <a:lnTo>
                          <a:pt x="690" y="42"/>
                        </a:lnTo>
                        <a:lnTo>
                          <a:pt x="688" y="42"/>
                        </a:lnTo>
                        <a:lnTo>
                          <a:pt x="670" y="48"/>
                        </a:lnTo>
                        <a:lnTo>
                          <a:pt x="670" y="48"/>
                        </a:lnTo>
                        <a:lnTo>
                          <a:pt x="664" y="50"/>
                        </a:lnTo>
                        <a:lnTo>
                          <a:pt x="660" y="48"/>
                        </a:lnTo>
                        <a:lnTo>
                          <a:pt x="658" y="46"/>
                        </a:lnTo>
                        <a:lnTo>
                          <a:pt x="654" y="46"/>
                        </a:lnTo>
                        <a:lnTo>
                          <a:pt x="654" y="46"/>
                        </a:lnTo>
                        <a:lnTo>
                          <a:pt x="648" y="48"/>
                        </a:lnTo>
                        <a:lnTo>
                          <a:pt x="648" y="52"/>
                        </a:lnTo>
                        <a:lnTo>
                          <a:pt x="650" y="54"/>
                        </a:lnTo>
                        <a:lnTo>
                          <a:pt x="656" y="58"/>
                        </a:lnTo>
                        <a:lnTo>
                          <a:pt x="656" y="58"/>
                        </a:lnTo>
                        <a:lnTo>
                          <a:pt x="658" y="58"/>
                        </a:lnTo>
                        <a:lnTo>
                          <a:pt x="658" y="60"/>
                        </a:lnTo>
                        <a:lnTo>
                          <a:pt x="654" y="62"/>
                        </a:lnTo>
                        <a:lnTo>
                          <a:pt x="648" y="64"/>
                        </a:lnTo>
                        <a:lnTo>
                          <a:pt x="648" y="66"/>
                        </a:lnTo>
                        <a:lnTo>
                          <a:pt x="650" y="68"/>
                        </a:lnTo>
                        <a:lnTo>
                          <a:pt x="650" y="68"/>
                        </a:lnTo>
                        <a:lnTo>
                          <a:pt x="656" y="72"/>
                        </a:lnTo>
                        <a:lnTo>
                          <a:pt x="650" y="76"/>
                        </a:lnTo>
                        <a:lnTo>
                          <a:pt x="650" y="76"/>
                        </a:lnTo>
                        <a:lnTo>
                          <a:pt x="646" y="76"/>
                        </a:lnTo>
                        <a:lnTo>
                          <a:pt x="640" y="76"/>
                        </a:lnTo>
                        <a:lnTo>
                          <a:pt x="638" y="74"/>
                        </a:lnTo>
                        <a:lnTo>
                          <a:pt x="640" y="76"/>
                        </a:lnTo>
                        <a:lnTo>
                          <a:pt x="640" y="76"/>
                        </a:lnTo>
                        <a:lnTo>
                          <a:pt x="640" y="78"/>
                        </a:lnTo>
                        <a:lnTo>
                          <a:pt x="640" y="80"/>
                        </a:lnTo>
                        <a:lnTo>
                          <a:pt x="632" y="82"/>
                        </a:lnTo>
                        <a:lnTo>
                          <a:pt x="624" y="82"/>
                        </a:lnTo>
                        <a:lnTo>
                          <a:pt x="614" y="82"/>
                        </a:lnTo>
                        <a:lnTo>
                          <a:pt x="614" y="82"/>
                        </a:lnTo>
                        <a:lnTo>
                          <a:pt x="608" y="80"/>
                        </a:lnTo>
                        <a:lnTo>
                          <a:pt x="604" y="82"/>
                        </a:lnTo>
                        <a:lnTo>
                          <a:pt x="598" y="82"/>
                        </a:lnTo>
                        <a:lnTo>
                          <a:pt x="590" y="82"/>
                        </a:lnTo>
                        <a:lnTo>
                          <a:pt x="590" y="82"/>
                        </a:lnTo>
                        <a:lnTo>
                          <a:pt x="584" y="80"/>
                        </a:lnTo>
                        <a:lnTo>
                          <a:pt x="580" y="80"/>
                        </a:lnTo>
                        <a:lnTo>
                          <a:pt x="570" y="82"/>
                        </a:lnTo>
                        <a:lnTo>
                          <a:pt x="570" y="82"/>
                        </a:lnTo>
                        <a:lnTo>
                          <a:pt x="564" y="84"/>
                        </a:lnTo>
                        <a:lnTo>
                          <a:pt x="562" y="86"/>
                        </a:lnTo>
                        <a:lnTo>
                          <a:pt x="564" y="88"/>
                        </a:lnTo>
                        <a:lnTo>
                          <a:pt x="568" y="88"/>
                        </a:lnTo>
                        <a:lnTo>
                          <a:pt x="568" y="88"/>
                        </a:lnTo>
                        <a:lnTo>
                          <a:pt x="574" y="88"/>
                        </a:lnTo>
                        <a:lnTo>
                          <a:pt x="574" y="92"/>
                        </a:lnTo>
                        <a:lnTo>
                          <a:pt x="574" y="94"/>
                        </a:lnTo>
                        <a:lnTo>
                          <a:pt x="578" y="94"/>
                        </a:lnTo>
                        <a:lnTo>
                          <a:pt x="578" y="94"/>
                        </a:lnTo>
                        <a:lnTo>
                          <a:pt x="580" y="94"/>
                        </a:lnTo>
                        <a:lnTo>
                          <a:pt x="582" y="94"/>
                        </a:lnTo>
                        <a:lnTo>
                          <a:pt x="584" y="96"/>
                        </a:lnTo>
                        <a:lnTo>
                          <a:pt x="588" y="96"/>
                        </a:lnTo>
                        <a:lnTo>
                          <a:pt x="588" y="96"/>
                        </a:lnTo>
                        <a:lnTo>
                          <a:pt x="592" y="98"/>
                        </a:lnTo>
                        <a:lnTo>
                          <a:pt x="598" y="94"/>
                        </a:lnTo>
                        <a:lnTo>
                          <a:pt x="598" y="94"/>
                        </a:lnTo>
                        <a:lnTo>
                          <a:pt x="602" y="92"/>
                        </a:lnTo>
                        <a:lnTo>
                          <a:pt x="604" y="94"/>
                        </a:lnTo>
                        <a:lnTo>
                          <a:pt x="606" y="98"/>
                        </a:lnTo>
                        <a:lnTo>
                          <a:pt x="608" y="96"/>
                        </a:lnTo>
                        <a:lnTo>
                          <a:pt x="608" y="96"/>
                        </a:lnTo>
                        <a:lnTo>
                          <a:pt x="612" y="96"/>
                        </a:lnTo>
                        <a:lnTo>
                          <a:pt x="614" y="98"/>
                        </a:lnTo>
                        <a:lnTo>
                          <a:pt x="616" y="100"/>
                        </a:lnTo>
                        <a:lnTo>
                          <a:pt x="616" y="106"/>
                        </a:lnTo>
                        <a:lnTo>
                          <a:pt x="616" y="106"/>
                        </a:lnTo>
                        <a:lnTo>
                          <a:pt x="614" y="110"/>
                        </a:lnTo>
                        <a:lnTo>
                          <a:pt x="612" y="112"/>
                        </a:lnTo>
                        <a:lnTo>
                          <a:pt x="608" y="112"/>
                        </a:lnTo>
                        <a:lnTo>
                          <a:pt x="606" y="114"/>
                        </a:lnTo>
                        <a:lnTo>
                          <a:pt x="606" y="114"/>
                        </a:lnTo>
                        <a:lnTo>
                          <a:pt x="604" y="116"/>
                        </a:lnTo>
                        <a:lnTo>
                          <a:pt x="602" y="116"/>
                        </a:lnTo>
                        <a:lnTo>
                          <a:pt x="594" y="116"/>
                        </a:lnTo>
                        <a:lnTo>
                          <a:pt x="586" y="112"/>
                        </a:lnTo>
                        <a:lnTo>
                          <a:pt x="582" y="108"/>
                        </a:lnTo>
                        <a:lnTo>
                          <a:pt x="582" y="108"/>
                        </a:lnTo>
                        <a:lnTo>
                          <a:pt x="576" y="106"/>
                        </a:lnTo>
                        <a:lnTo>
                          <a:pt x="570" y="104"/>
                        </a:lnTo>
                        <a:lnTo>
                          <a:pt x="558" y="102"/>
                        </a:lnTo>
                        <a:lnTo>
                          <a:pt x="558" y="102"/>
                        </a:lnTo>
                        <a:lnTo>
                          <a:pt x="546" y="100"/>
                        </a:lnTo>
                        <a:lnTo>
                          <a:pt x="540" y="98"/>
                        </a:lnTo>
                        <a:lnTo>
                          <a:pt x="532" y="98"/>
                        </a:lnTo>
                        <a:lnTo>
                          <a:pt x="532" y="98"/>
                        </a:lnTo>
                        <a:lnTo>
                          <a:pt x="528" y="100"/>
                        </a:lnTo>
                        <a:lnTo>
                          <a:pt x="532" y="100"/>
                        </a:lnTo>
                        <a:lnTo>
                          <a:pt x="542" y="102"/>
                        </a:lnTo>
                        <a:lnTo>
                          <a:pt x="550" y="104"/>
                        </a:lnTo>
                        <a:lnTo>
                          <a:pt x="550" y="104"/>
                        </a:lnTo>
                        <a:lnTo>
                          <a:pt x="552" y="106"/>
                        </a:lnTo>
                        <a:lnTo>
                          <a:pt x="550" y="108"/>
                        </a:lnTo>
                        <a:lnTo>
                          <a:pt x="544" y="108"/>
                        </a:lnTo>
                        <a:lnTo>
                          <a:pt x="536" y="110"/>
                        </a:lnTo>
                        <a:lnTo>
                          <a:pt x="536" y="110"/>
                        </a:lnTo>
                        <a:lnTo>
                          <a:pt x="526" y="116"/>
                        </a:lnTo>
                        <a:lnTo>
                          <a:pt x="524" y="118"/>
                        </a:lnTo>
                        <a:lnTo>
                          <a:pt x="526" y="118"/>
                        </a:lnTo>
                        <a:lnTo>
                          <a:pt x="532" y="118"/>
                        </a:lnTo>
                        <a:lnTo>
                          <a:pt x="532" y="118"/>
                        </a:lnTo>
                        <a:lnTo>
                          <a:pt x="538" y="120"/>
                        </a:lnTo>
                        <a:lnTo>
                          <a:pt x="536" y="122"/>
                        </a:lnTo>
                        <a:lnTo>
                          <a:pt x="532" y="124"/>
                        </a:lnTo>
                        <a:lnTo>
                          <a:pt x="532" y="124"/>
                        </a:lnTo>
                        <a:lnTo>
                          <a:pt x="534" y="124"/>
                        </a:lnTo>
                        <a:lnTo>
                          <a:pt x="534" y="124"/>
                        </a:lnTo>
                        <a:lnTo>
                          <a:pt x="544" y="120"/>
                        </a:lnTo>
                        <a:lnTo>
                          <a:pt x="552" y="116"/>
                        </a:lnTo>
                        <a:lnTo>
                          <a:pt x="552" y="116"/>
                        </a:lnTo>
                        <a:lnTo>
                          <a:pt x="556" y="116"/>
                        </a:lnTo>
                        <a:lnTo>
                          <a:pt x="564" y="118"/>
                        </a:lnTo>
                        <a:lnTo>
                          <a:pt x="572" y="120"/>
                        </a:lnTo>
                        <a:lnTo>
                          <a:pt x="582" y="120"/>
                        </a:lnTo>
                        <a:lnTo>
                          <a:pt x="582" y="120"/>
                        </a:lnTo>
                        <a:lnTo>
                          <a:pt x="592" y="120"/>
                        </a:lnTo>
                        <a:lnTo>
                          <a:pt x="594" y="122"/>
                        </a:lnTo>
                        <a:lnTo>
                          <a:pt x="594" y="122"/>
                        </a:lnTo>
                        <a:lnTo>
                          <a:pt x="594" y="122"/>
                        </a:lnTo>
                        <a:lnTo>
                          <a:pt x="592" y="124"/>
                        </a:lnTo>
                        <a:lnTo>
                          <a:pt x="586" y="124"/>
                        </a:lnTo>
                        <a:lnTo>
                          <a:pt x="580" y="126"/>
                        </a:lnTo>
                        <a:lnTo>
                          <a:pt x="578" y="128"/>
                        </a:lnTo>
                        <a:lnTo>
                          <a:pt x="580" y="128"/>
                        </a:lnTo>
                        <a:lnTo>
                          <a:pt x="580" y="128"/>
                        </a:lnTo>
                        <a:lnTo>
                          <a:pt x="580" y="130"/>
                        </a:lnTo>
                        <a:lnTo>
                          <a:pt x="578" y="130"/>
                        </a:lnTo>
                        <a:lnTo>
                          <a:pt x="570" y="132"/>
                        </a:lnTo>
                        <a:lnTo>
                          <a:pt x="564" y="132"/>
                        </a:lnTo>
                        <a:lnTo>
                          <a:pt x="562" y="132"/>
                        </a:lnTo>
                        <a:lnTo>
                          <a:pt x="562" y="134"/>
                        </a:lnTo>
                        <a:lnTo>
                          <a:pt x="562" y="134"/>
                        </a:lnTo>
                        <a:lnTo>
                          <a:pt x="562" y="136"/>
                        </a:lnTo>
                        <a:lnTo>
                          <a:pt x="560" y="136"/>
                        </a:lnTo>
                        <a:lnTo>
                          <a:pt x="552" y="136"/>
                        </a:lnTo>
                        <a:lnTo>
                          <a:pt x="544" y="136"/>
                        </a:lnTo>
                        <a:lnTo>
                          <a:pt x="542" y="136"/>
                        </a:lnTo>
                        <a:lnTo>
                          <a:pt x="542" y="138"/>
                        </a:lnTo>
                        <a:lnTo>
                          <a:pt x="542" y="138"/>
                        </a:lnTo>
                        <a:lnTo>
                          <a:pt x="544" y="140"/>
                        </a:lnTo>
                        <a:lnTo>
                          <a:pt x="542" y="140"/>
                        </a:lnTo>
                        <a:lnTo>
                          <a:pt x="534" y="140"/>
                        </a:lnTo>
                        <a:lnTo>
                          <a:pt x="526" y="142"/>
                        </a:lnTo>
                        <a:lnTo>
                          <a:pt x="524" y="142"/>
                        </a:lnTo>
                        <a:lnTo>
                          <a:pt x="524" y="144"/>
                        </a:lnTo>
                        <a:lnTo>
                          <a:pt x="524" y="144"/>
                        </a:lnTo>
                        <a:lnTo>
                          <a:pt x="524" y="146"/>
                        </a:lnTo>
                        <a:lnTo>
                          <a:pt x="522" y="146"/>
                        </a:lnTo>
                        <a:lnTo>
                          <a:pt x="516" y="146"/>
                        </a:lnTo>
                        <a:lnTo>
                          <a:pt x="508" y="146"/>
                        </a:lnTo>
                        <a:lnTo>
                          <a:pt x="500" y="148"/>
                        </a:lnTo>
                        <a:lnTo>
                          <a:pt x="500" y="148"/>
                        </a:lnTo>
                        <a:lnTo>
                          <a:pt x="494" y="148"/>
                        </a:lnTo>
                        <a:lnTo>
                          <a:pt x="490" y="148"/>
                        </a:lnTo>
                        <a:lnTo>
                          <a:pt x="486" y="148"/>
                        </a:lnTo>
                        <a:lnTo>
                          <a:pt x="482" y="150"/>
                        </a:lnTo>
                        <a:lnTo>
                          <a:pt x="482" y="150"/>
                        </a:lnTo>
                        <a:lnTo>
                          <a:pt x="476" y="152"/>
                        </a:lnTo>
                        <a:lnTo>
                          <a:pt x="472" y="150"/>
                        </a:lnTo>
                        <a:lnTo>
                          <a:pt x="466" y="150"/>
                        </a:lnTo>
                        <a:lnTo>
                          <a:pt x="460" y="152"/>
                        </a:lnTo>
                        <a:lnTo>
                          <a:pt x="460" y="152"/>
                        </a:lnTo>
                        <a:lnTo>
                          <a:pt x="454" y="152"/>
                        </a:lnTo>
                        <a:lnTo>
                          <a:pt x="450" y="150"/>
                        </a:lnTo>
                        <a:lnTo>
                          <a:pt x="448" y="146"/>
                        </a:lnTo>
                        <a:lnTo>
                          <a:pt x="444" y="144"/>
                        </a:lnTo>
                        <a:lnTo>
                          <a:pt x="444" y="144"/>
                        </a:lnTo>
                        <a:lnTo>
                          <a:pt x="442" y="144"/>
                        </a:lnTo>
                        <a:lnTo>
                          <a:pt x="442" y="144"/>
                        </a:lnTo>
                        <a:lnTo>
                          <a:pt x="442" y="148"/>
                        </a:lnTo>
                        <a:lnTo>
                          <a:pt x="442" y="150"/>
                        </a:lnTo>
                        <a:lnTo>
                          <a:pt x="440" y="150"/>
                        </a:lnTo>
                        <a:lnTo>
                          <a:pt x="436" y="150"/>
                        </a:lnTo>
                        <a:lnTo>
                          <a:pt x="436" y="150"/>
                        </a:lnTo>
                        <a:lnTo>
                          <a:pt x="432" y="150"/>
                        </a:lnTo>
                        <a:lnTo>
                          <a:pt x="430" y="152"/>
                        </a:lnTo>
                        <a:lnTo>
                          <a:pt x="426" y="156"/>
                        </a:lnTo>
                        <a:lnTo>
                          <a:pt x="422" y="162"/>
                        </a:lnTo>
                        <a:lnTo>
                          <a:pt x="420" y="164"/>
                        </a:lnTo>
                        <a:lnTo>
                          <a:pt x="418" y="162"/>
                        </a:lnTo>
                        <a:lnTo>
                          <a:pt x="418" y="162"/>
                        </a:lnTo>
                        <a:lnTo>
                          <a:pt x="414" y="162"/>
                        </a:lnTo>
                        <a:lnTo>
                          <a:pt x="412" y="162"/>
                        </a:lnTo>
                        <a:lnTo>
                          <a:pt x="408" y="166"/>
                        </a:lnTo>
                        <a:lnTo>
                          <a:pt x="402" y="170"/>
                        </a:lnTo>
                        <a:lnTo>
                          <a:pt x="398" y="170"/>
                        </a:lnTo>
                        <a:lnTo>
                          <a:pt x="398" y="170"/>
                        </a:lnTo>
                        <a:lnTo>
                          <a:pt x="390" y="170"/>
                        </a:lnTo>
                        <a:lnTo>
                          <a:pt x="384" y="170"/>
                        </a:lnTo>
                        <a:lnTo>
                          <a:pt x="380" y="172"/>
                        </a:lnTo>
                        <a:lnTo>
                          <a:pt x="378" y="174"/>
                        </a:lnTo>
                        <a:lnTo>
                          <a:pt x="380" y="176"/>
                        </a:lnTo>
                        <a:lnTo>
                          <a:pt x="380" y="176"/>
                        </a:lnTo>
                        <a:lnTo>
                          <a:pt x="380" y="178"/>
                        </a:lnTo>
                        <a:lnTo>
                          <a:pt x="378" y="178"/>
                        </a:lnTo>
                        <a:lnTo>
                          <a:pt x="372" y="180"/>
                        </a:lnTo>
                        <a:lnTo>
                          <a:pt x="362" y="180"/>
                        </a:lnTo>
                        <a:lnTo>
                          <a:pt x="362" y="180"/>
                        </a:lnTo>
                        <a:lnTo>
                          <a:pt x="360" y="176"/>
                        </a:lnTo>
                        <a:lnTo>
                          <a:pt x="360" y="176"/>
                        </a:lnTo>
                        <a:lnTo>
                          <a:pt x="356" y="172"/>
                        </a:lnTo>
                        <a:lnTo>
                          <a:pt x="350" y="172"/>
                        </a:lnTo>
                        <a:lnTo>
                          <a:pt x="344" y="174"/>
                        </a:lnTo>
                        <a:lnTo>
                          <a:pt x="344" y="176"/>
                        </a:lnTo>
                        <a:lnTo>
                          <a:pt x="344" y="178"/>
                        </a:lnTo>
                        <a:lnTo>
                          <a:pt x="344" y="178"/>
                        </a:lnTo>
                        <a:lnTo>
                          <a:pt x="344" y="180"/>
                        </a:lnTo>
                        <a:lnTo>
                          <a:pt x="344" y="182"/>
                        </a:lnTo>
                        <a:lnTo>
                          <a:pt x="338" y="182"/>
                        </a:lnTo>
                        <a:lnTo>
                          <a:pt x="324" y="182"/>
                        </a:lnTo>
                        <a:lnTo>
                          <a:pt x="324" y="182"/>
                        </a:lnTo>
                        <a:lnTo>
                          <a:pt x="318" y="182"/>
                        </a:lnTo>
                        <a:lnTo>
                          <a:pt x="312" y="184"/>
                        </a:lnTo>
                        <a:lnTo>
                          <a:pt x="310" y="188"/>
                        </a:lnTo>
                        <a:lnTo>
                          <a:pt x="314" y="190"/>
                        </a:lnTo>
                        <a:lnTo>
                          <a:pt x="314" y="190"/>
                        </a:lnTo>
                        <a:lnTo>
                          <a:pt x="314" y="192"/>
                        </a:lnTo>
                        <a:lnTo>
                          <a:pt x="312" y="194"/>
                        </a:lnTo>
                        <a:lnTo>
                          <a:pt x="296" y="192"/>
                        </a:lnTo>
                        <a:lnTo>
                          <a:pt x="296" y="192"/>
                        </a:lnTo>
                        <a:lnTo>
                          <a:pt x="290" y="192"/>
                        </a:lnTo>
                        <a:lnTo>
                          <a:pt x="288" y="194"/>
                        </a:lnTo>
                        <a:lnTo>
                          <a:pt x="290" y="198"/>
                        </a:lnTo>
                        <a:lnTo>
                          <a:pt x="296" y="202"/>
                        </a:lnTo>
                        <a:lnTo>
                          <a:pt x="296" y="202"/>
                        </a:lnTo>
                        <a:lnTo>
                          <a:pt x="298" y="204"/>
                        </a:lnTo>
                        <a:lnTo>
                          <a:pt x="296" y="204"/>
                        </a:lnTo>
                        <a:lnTo>
                          <a:pt x="292" y="206"/>
                        </a:lnTo>
                        <a:lnTo>
                          <a:pt x="286" y="208"/>
                        </a:lnTo>
                        <a:lnTo>
                          <a:pt x="284" y="208"/>
                        </a:lnTo>
                        <a:lnTo>
                          <a:pt x="284" y="210"/>
                        </a:lnTo>
                        <a:lnTo>
                          <a:pt x="284" y="210"/>
                        </a:lnTo>
                        <a:lnTo>
                          <a:pt x="286" y="210"/>
                        </a:lnTo>
                        <a:lnTo>
                          <a:pt x="284" y="212"/>
                        </a:lnTo>
                        <a:lnTo>
                          <a:pt x="280" y="214"/>
                        </a:lnTo>
                        <a:lnTo>
                          <a:pt x="274" y="216"/>
                        </a:lnTo>
                        <a:lnTo>
                          <a:pt x="274" y="218"/>
                        </a:lnTo>
                        <a:lnTo>
                          <a:pt x="274" y="218"/>
                        </a:lnTo>
                        <a:lnTo>
                          <a:pt x="274" y="218"/>
                        </a:lnTo>
                        <a:lnTo>
                          <a:pt x="274" y="218"/>
                        </a:lnTo>
                        <a:lnTo>
                          <a:pt x="272" y="220"/>
                        </a:lnTo>
                        <a:lnTo>
                          <a:pt x="266" y="220"/>
                        </a:lnTo>
                        <a:lnTo>
                          <a:pt x="260" y="222"/>
                        </a:lnTo>
                        <a:lnTo>
                          <a:pt x="260" y="224"/>
                        </a:lnTo>
                        <a:lnTo>
                          <a:pt x="260" y="224"/>
                        </a:lnTo>
                        <a:lnTo>
                          <a:pt x="260" y="224"/>
                        </a:lnTo>
                        <a:lnTo>
                          <a:pt x="260" y="226"/>
                        </a:lnTo>
                        <a:lnTo>
                          <a:pt x="258" y="226"/>
                        </a:lnTo>
                        <a:lnTo>
                          <a:pt x="252" y="228"/>
                        </a:lnTo>
                        <a:lnTo>
                          <a:pt x="248" y="230"/>
                        </a:lnTo>
                        <a:lnTo>
                          <a:pt x="246" y="232"/>
                        </a:lnTo>
                        <a:lnTo>
                          <a:pt x="250" y="236"/>
                        </a:lnTo>
                        <a:lnTo>
                          <a:pt x="250" y="236"/>
                        </a:lnTo>
                        <a:lnTo>
                          <a:pt x="252" y="238"/>
                        </a:lnTo>
                        <a:lnTo>
                          <a:pt x="252" y="240"/>
                        </a:lnTo>
                        <a:lnTo>
                          <a:pt x="248" y="242"/>
                        </a:lnTo>
                        <a:lnTo>
                          <a:pt x="244" y="246"/>
                        </a:lnTo>
                        <a:lnTo>
                          <a:pt x="242" y="246"/>
                        </a:lnTo>
                        <a:lnTo>
                          <a:pt x="244" y="248"/>
                        </a:lnTo>
                        <a:lnTo>
                          <a:pt x="244" y="248"/>
                        </a:lnTo>
                        <a:lnTo>
                          <a:pt x="246" y="250"/>
                        </a:lnTo>
                        <a:lnTo>
                          <a:pt x="244" y="250"/>
                        </a:lnTo>
                        <a:lnTo>
                          <a:pt x="238" y="252"/>
                        </a:lnTo>
                        <a:lnTo>
                          <a:pt x="234" y="254"/>
                        </a:lnTo>
                        <a:lnTo>
                          <a:pt x="232" y="256"/>
                        </a:lnTo>
                        <a:lnTo>
                          <a:pt x="234" y="256"/>
                        </a:lnTo>
                        <a:lnTo>
                          <a:pt x="234" y="256"/>
                        </a:lnTo>
                        <a:lnTo>
                          <a:pt x="236" y="258"/>
                        </a:lnTo>
                        <a:lnTo>
                          <a:pt x="236" y="258"/>
                        </a:lnTo>
                        <a:lnTo>
                          <a:pt x="230" y="260"/>
                        </a:lnTo>
                        <a:lnTo>
                          <a:pt x="224" y="262"/>
                        </a:lnTo>
                        <a:lnTo>
                          <a:pt x="222" y="264"/>
                        </a:lnTo>
                        <a:lnTo>
                          <a:pt x="222" y="268"/>
                        </a:lnTo>
                        <a:lnTo>
                          <a:pt x="222" y="268"/>
                        </a:lnTo>
                        <a:lnTo>
                          <a:pt x="222" y="274"/>
                        </a:lnTo>
                        <a:lnTo>
                          <a:pt x="220" y="274"/>
                        </a:lnTo>
                        <a:lnTo>
                          <a:pt x="214" y="274"/>
                        </a:lnTo>
                        <a:lnTo>
                          <a:pt x="204" y="274"/>
                        </a:lnTo>
                        <a:lnTo>
                          <a:pt x="204" y="274"/>
                        </a:lnTo>
                        <a:lnTo>
                          <a:pt x="198" y="274"/>
                        </a:lnTo>
                        <a:lnTo>
                          <a:pt x="198" y="274"/>
                        </a:lnTo>
                        <a:lnTo>
                          <a:pt x="198" y="270"/>
                        </a:lnTo>
                        <a:lnTo>
                          <a:pt x="196" y="270"/>
                        </a:lnTo>
                        <a:lnTo>
                          <a:pt x="196" y="270"/>
                        </a:lnTo>
                        <a:lnTo>
                          <a:pt x="194" y="268"/>
                        </a:lnTo>
                        <a:lnTo>
                          <a:pt x="194" y="266"/>
                        </a:lnTo>
                        <a:lnTo>
                          <a:pt x="192" y="264"/>
                        </a:lnTo>
                        <a:lnTo>
                          <a:pt x="188" y="262"/>
                        </a:lnTo>
                        <a:lnTo>
                          <a:pt x="188" y="262"/>
                        </a:lnTo>
                        <a:lnTo>
                          <a:pt x="182" y="260"/>
                        </a:lnTo>
                        <a:lnTo>
                          <a:pt x="182" y="258"/>
                        </a:lnTo>
                        <a:lnTo>
                          <a:pt x="184" y="256"/>
                        </a:lnTo>
                        <a:lnTo>
                          <a:pt x="182" y="256"/>
                        </a:lnTo>
                        <a:lnTo>
                          <a:pt x="182" y="256"/>
                        </a:lnTo>
                        <a:lnTo>
                          <a:pt x="174" y="260"/>
                        </a:lnTo>
                        <a:lnTo>
                          <a:pt x="166" y="262"/>
                        </a:lnTo>
                        <a:lnTo>
                          <a:pt x="166" y="262"/>
                        </a:lnTo>
                        <a:lnTo>
                          <a:pt x="164" y="262"/>
                        </a:lnTo>
                        <a:lnTo>
                          <a:pt x="162" y="262"/>
                        </a:lnTo>
                        <a:lnTo>
                          <a:pt x="160" y="260"/>
                        </a:lnTo>
                        <a:lnTo>
                          <a:pt x="154" y="258"/>
                        </a:lnTo>
                        <a:lnTo>
                          <a:pt x="154" y="258"/>
                        </a:lnTo>
                        <a:lnTo>
                          <a:pt x="148" y="256"/>
                        </a:lnTo>
                        <a:lnTo>
                          <a:pt x="148" y="254"/>
                        </a:lnTo>
                        <a:lnTo>
                          <a:pt x="146" y="250"/>
                        </a:lnTo>
                        <a:lnTo>
                          <a:pt x="140" y="248"/>
                        </a:lnTo>
                        <a:lnTo>
                          <a:pt x="140" y="248"/>
                        </a:lnTo>
                        <a:lnTo>
                          <a:pt x="138" y="246"/>
                        </a:lnTo>
                        <a:lnTo>
                          <a:pt x="136" y="246"/>
                        </a:lnTo>
                        <a:lnTo>
                          <a:pt x="136" y="242"/>
                        </a:lnTo>
                        <a:lnTo>
                          <a:pt x="136" y="238"/>
                        </a:lnTo>
                        <a:lnTo>
                          <a:pt x="136" y="236"/>
                        </a:lnTo>
                        <a:lnTo>
                          <a:pt x="132" y="236"/>
                        </a:lnTo>
                        <a:lnTo>
                          <a:pt x="132" y="236"/>
                        </a:lnTo>
                        <a:lnTo>
                          <a:pt x="128" y="234"/>
                        </a:lnTo>
                        <a:lnTo>
                          <a:pt x="128" y="232"/>
                        </a:lnTo>
                        <a:lnTo>
                          <a:pt x="126" y="230"/>
                        </a:lnTo>
                        <a:lnTo>
                          <a:pt x="122" y="226"/>
                        </a:lnTo>
                        <a:lnTo>
                          <a:pt x="122" y="226"/>
                        </a:lnTo>
                        <a:lnTo>
                          <a:pt x="118" y="224"/>
                        </a:lnTo>
                        <a:lnTo>
                          <a:pt x="116" y="222"/>
                        </a:lnTo>
                        <a:lnTo>
                          <a:pt x="116" y="212"/>
                        </a:lnTo>
                        <a:lnTo>
                          <a:pt x="116" y="212"/>
                        </a:lnTo>
                        <a:lnTo>
                          <a:pt x="116" y="210"/>
                        </a:lnTo>
                        <a:lnTo>
                          <a:pt x="120" y="208"/>
                        </a:lnTo>
                        <a:lnTo>
                          <a:pt x="122" y="208"/>
                        </a:lnTo>
                        <a:lnTo>
                          <a:pt x="124" y="206"/>
                        </a:lnTo>
                        <a:lnTo>
                          <a:pt x="124" y="206"/>
                        </a:lnTo>
                        <a:lnTo>
                          <a:pt x="124" y="204"/>
                        </a:lnTo>
                        <a:lnTo>
                          <a:pt x="126" y="202"/>
                        </a:lnTo>
                        <a:lnTo>
                          <a:pt x="134" y="200"/>
                        </a:lnTo>
                        <a:lnTo>
                          <a:pt x="134" y="200"/>
                        </a:lnTo>
                        <a:lnTo>
                          <a:pt x="130" y="198"/>
                        </a:lnTo>
                        <a:lnTo>
                          <a:pt x="126" y="200"/>
                        </a:lnTo>
                        <a:lnTo>
                          <a:pt x="114" y="204"/>
                        </a:lnTo>
                        <a:lnTo>
                          <a:pt x="114" y="204"/>
                        </a:lnTo>
                        <a:lnTo>
                          <a:pt x="112" y="206"/>
                        </a:lnTo>
                        <a:lnTo>
                          <a:pt x="112" y="204"/>
                        </a:lnTo>
                        <a:lnTo>
                          <a:pt x="110" y="200"/>
                        </a:lnTo>
                        <a:lnTo>
                          <a:pt x="110" y="192"/>
                        </a:lnTo>
                        <a:lnTo>
                          <a:pt x="110" y="190"/>
                        </a:lnTo>
                        <a:lnTo>
                          <a:pt x="108" y="186"/>
                        </a:lnTo>
                        <a:lnTo>
                          <a:pt x="108" y="186"/>
                        </a:lnTo>
                        <a:lnTo>
                          <a:pt x="104" y="182"/>
                        </a:lnTo>
                        <a:lnTo>
                          <a:pt x="104" y="180"/>
                        </a:lnTo>
                        <a:lnTo>
                          <a:pt x="106" y="178"/>
                        </a:lnTo>
                        <a:lnTo>
                          <a:pt x="112" y="178"/>
                        </a:lnTo>
                        <a:lnTo>
                          <a:pt x="112" y="178"/>
                        </a:lnTo>
                        <a:lnTo>
                          <a:pt x="116" y="178"/>
                        </a:lnTo>
                        <a:lnTo>
                          <a:pt x="118" y="178"/>
                        </a:lnTo>
                        <a:lnTo>
                          <a:pt x="116" y="174"/>
                        </a:lnTo>
                        <a:lnTo>
                          <a:pt x="112" y="172"/>
                        </a:lnTo>
                        <a:lnTo>
                          <a:pt x="112" y="172"/>
                        </a:lnTo>
                        <a:lnTo>
                          <a:pt x="108" y="168"/>
                        </a:lnTo>
                        <a:lnTo>
                          <a:pt x="108" y="168"/>
                        </a:lnTo>
                        <a:lnTo>
                          <a:pt x="112" y="166"/>
                        </a:lnTo>
                        <a:lnTo>
                          <a:pt x="114" y="164"/>
                        </a:lnTo>
                        <a:lnTo>
                          <a:pt x="114" y="164"/>
                        </a:lnTo>
                        <a:lnTo>
                          <a:pt x="112" y="162"/>
                        </a:lnTo>
                        <a:lnTo>
                          <a:pt x="112" y="162"/>
                        </a:lnTo>
                        <a:lnTo>
                          <a:pt x="112" y="160"/>
                        </a:lnTo>
                        <a:lnTo>
                          <a:pt x="112" y="158"/>
                        </a:lnTo>
                        <a:lnTo>
                          <a:pt x="118" y="156"/>
                        </a:lnTo>
                        <a:lnTo>
                          <a:pt x="122" y="156"/>
                        </a:lnTo>
                        <a:lnTo>
                          <a:pt x="124" y="154"/>
                        </a:lnTo>
                        <a:lnTo>
                          <a:pt x="122" y="154"/>
                        </a:lnTo>
                        <a:lnTo>
                          <a:pt x="122" y="154"/>
                        </a:lnTo>
                        <a:lnTo>
                          <a:pt x="120" y="152"/>
                        </a:lnTo>
                        <a:lnTo>
                          <a:pt x="122" y="150"/>
                        </a:lnTo>
                        <a:lnTo>
                          <a:pt x="136" y="146"/>
                        </a:lnTo>
                        <a:lnTo>
                          <a:pt x="136" y="146"/>
                        </a:lnTo>
                        <a:lnTo>
                          <a:pt x="142" y="146"/>
                        </a:lnTo>
                        <a:lnTo>
                          <a:pt x="146" y="148"/>
                        </a:lnTo>
                        <a:lnTo>
                          <a:pt x="150" y="150"/>
                        </a:lnTo>
                        <a:lnTo>
                          <a:pt x="156" y="150"/>
                        </a:lnTo>
                        <a:lnTo>
                          <a:pt x="156" y="150"/>
                        </a:lnTo>
                        <a:lnTo>
                          <a:pt x="158" y="148"/>
                        </a:lnTo>
                        <a:lnTo>
                          <a:pt x="156" y="148"/>
                        </a:lnTo>
                        <a:lnTo>
                          <a:pt x="152" y="146"/>
                        </a:lnTo>
                        <a:lnTo>
                          <a:pt x="146" y="144"/>
                        </a:lnTo>
                        <a:lnTo>
                          <a:pt x="146" y="144"/>
                        </a:lnTo>
                        <a:lnTo>
                          <a:pt x="146" y="142"/>
                        </a:lnTo>
                        <a:lnTo>
                          <a:pt x="146" y="142"/>
                        </a:lnTo>
                        <a:lnTo>
                          <a:pt x="152" y="140"/>
                        </a:lnTo>
                        <a:lnTo>
                          <a:pt x="160" y="140"/>
                        </a:lnTo>
                        <a:lnTo>
                          <a:pt x="166" y="140"/>
                        </a:lnTo>
                        <a:lnTo>
                          <a:pt x="166" y="140"/>
                        </a:lnTo>
                        <a:lnTo>
                          <a:pt x="166" y="138"/>
                        </a:lnTo>
                        <a:lnTo>
                          <a:pt x="166" y="138"/>
                        </a:lnTo>
                        <a:lnTo>
                          <a:pt x="166" y="138"/>
                        </a:lnTo>
                        <a:lnTo>
                          <a:pt x="166" y="136"/>
                        </a:lnTo>
                        <a:lnTo>
                          <a:pt x="170" y="136"/>
                        </a:lnTo>
                        <a:lnTo>
                          <a:pt x="174" y="134"/>
                        </a:lnTo>
                        <a:lnTo>
                          <a:pt x="174" y="134"/>
                        </a:lnTo>
                        <a:lnTo>
                          <a:pt x="174" y="132"/>
                        </a:lnTo>
                        <a:lnTo>
                          <a:pt x="174" y="132"/>
                        </a:lnTo>
                        <a:lnTo>
                          <a:pt x="172" y="130"/>
                        </a:lnTo>
                        <a:lnTo>
                          <a:pt x="174" y="128"/>
                        </a:lnTo>
                        <a:lnTo>
                          <a:pt x="176" y="126"/>
                        </a:lnTo>
                        <a:lnTo>
                          <a:pt x="174" y="124"/>
                        </a:lnTo>
                        <a:lnTo>
                          <a:pt x="174" y="124"/>
                        </a:lnTo>
                        <a:lnTo>
                          <a:pt x="172" y="122"/>
                        </a:lnTo>
                        <a:lnTo>
                          <a:pt x="166" y="124"/>
                        </a:lnTo>
                        <a:lnTo>
                          <a:pt x="158" y="126"/>
                        </a:lnTo>
                        <a:lnTo>
                          <a:pt x="158" y="126"/>
                        </a:lnTo>
                        <a:lnTo>
                          <a:pt x="150" y="124"/>
                        </a:lnTo>
                        <a:lnTo>
                          <a:pt x="142" y="120"/>
                        </a:lnTo>
                        <a:lnTo>
                          <a:pt x="142" y="120"/>
                        </a:lnTo>
                        <a:lnTo>
                          <a:pt x="136" y="118"/>
                        </a:lnTo>
                        <a:lnTo>
                          <a:pt x="136" y="116"/>
                        </a:lnTo>
                        <a:lnTo>
                          <a:pt x="140" y="114"/>
                        </a:lnTo>
                        <a:lnTo>
                          <a:pt x="140" y="114"/>
                        </a:lnTo>
                        <a:lnTo>
                          <a:pt x="146" y="114"/>
                        </a:lnTo>
                        <a:lnTo>
                          <a:pt x="148" y="114"/>
                        </a:lnTo>
                        <a:lnTo>
                          <a:pt x="152" y="114"/>
                        </a:lnTo>
                        <a:lnTo>
                          <a:pt x="154" y="114"/>
                        </a:lnTo>
                        <a:lnTo>
                          <a:pt x="154" y="114"/>
                        </a:lnTo>
                        <a:lnTo>
                          <a:pt x="160" y="114"/>
                        </a:lnTo>
                        <a:lnTo>
                          <a:pt x="168" y="114"/>
                        </a:lnTo>
                        <a:lnTo>
                          <a:pt x="174" y="116"/>
                        </a:lnTo>
                        <a:lnTo>
                          <a:pt x="180" y="114"/>
                        </a:lnTo>
                        <a:lnTo>
                          <a:pt x="180" y="114"/>
                        </a:lnTo>
                        <a:lnTo>
                          <a:pt x="182" y="114"/>
                        </a:lnTo>
                        <a:lnTo>
                          <a:pt x="180" y="112"/>
                        </a:lnTo>
                        <a:lnTo>
                          <a:pt x="176" y="112"/>
                        </a:lnTo>
                        <a:lnTo>
                          <a:pt x="176" y="112"/>
                        </a:lnTo>
                        <a:lnTo>
                          <a:pt x="176" y="110"/>
                        </a:lnTo>
                        <a:lnTo>
                          <a:pt x="176" y="110"/>
                        </a:lnTo>
                        <a:lnTo>
                          <a:pt x="178" y="110"/>
                        </a:lnTo>
                        <a:lnTo>
                          <a:pt x="176" y="110"/>
                        </a:lnTo>
                        <a:lnTo>
                          <a:pt x="170" y="110"/>
                        </a:lnTo>
                        <a:lnTo>
                          <a:pt x="166" y="110"/>
                        </a:lnTo>
                        <a:lnTo>
                          <a:pt x="166" y="110"/>
                        </a:lnTo>
                        <a:lnTo>
                          <a:pt x="168" y="108"/>
                        </a:lnTo>
                        <a:lnTo>
                          <a:pt x="168" y="108"/>
                        </a:lnTo>
                        <a:lnTo>
                          <a:pt x="170" y="104"/>
                        </a:lnTo>
                        <a:lnTo>
                          <a:pt x="170" y="104"/>
                        </a:lnTo>
                        <a:lnTo>
                          <a:pt x="160" y="106"/>
                        </a:lnTo>
                        <a:lnTo>
                          <a:pt x="160" y="106"/>
                        </a:lnTo>
                        <a:lnTo>
                          <a:pt x="156" y="108"/>
                        </a:lnTo>
                        <a:lnTo>
                          <a:pt x="152" y="108"/>
                        </a:lnTo>
                        <a:lnTo>
                          <a:pt x="148" y="106"/>
                        </a:lnTo>
                        <a:lnTo>
                          <a:pt x="150" y="104"/>
                        </a:lnTo>
                        <a:lnTo>
                          <a:pt x="150" y="104"/>
                        </a:lnTo>
                        <a:lnTo>
                          <a:pt x="152" y="104"/>
                        </a:lnTo>
                        <a:lnTo>
                          <a:pt x="150" y="104"/>
                        </a:lnTo>
                        <a:lnTo>
                          <a:pt x="146" y="106"/>
                        </a:lnTo>
                        <a:lnTo>
                          <a:pt x="140" y="108"/>
                        </a:lnTo>
                        <a:lnTo>
                          <a:pt x="140" y="108"/>
                        </a:lnTo>
                        <a:lnTo>
                          <a:pt x="130" y="108"/>
                        </a:lnTo>
                        <a:lnTo>
                          <a:pt x="128" y="106"/>
                        </a:lnTo>
                        <a:lnTo>
                          <a:pt x="128" y="104"/>
                        </a:lnTo>
                        <a:lnTo>
                          <a:pt x="128" y="104"/>
                        </a:lnTo>
                        <a:lnTo>
                          <a:pt x="128" y="100"/>
                        </a:lnTo>
                        <a:lnTo>
                          <a:pt x="134" y="98"/>
                        </a:lnTo>
                        <a:lnTo>
                          <a:pt x="134" y="98"/>
                        </a:lnTo>
                        <a:lnTo>
                          <a:pt x="138" y="96"/>
                        </a:lnTo>
                        <a:lnTo>
                          <a:pt x="140" y="94"/>
                        </a:lnTo>
                        <a:lnTo>
                          <a:pt x="142" y="92"/>
                        </a:lnTo>
                        <a:lnTo>
                          <a:pt x="144" y="90"/>
                        </a:lnTo>
                        <a:lnTo>
                          <a:pt x="144" y="90"/>
                        </a:lnTo>
                        <a:lnTo>
                          <a:pt x="148" y="88"/>
                        </a:lnTo>
                        <a:lnTo>
                          <a:pt x="146" y="86"/>
                        </a:lnTo>
                        <a:lnTo>
                          <a:pt x="146" y="84"/>
                        </a:lnTo>
                        <a:lnTo>
                          <a:pt x="148" y="82"/>
                        </a:lnTo>
                        <a:lnTo>
                          <a:pt x="148" y="82"/>
                        </a:lnTo>
                        <a:lnTo>
                          <a:pt x="148" y="80"/>
                        </a:lnTo>
                        <a:lnTo>
                          <a:pt x="148" y="80"/>
                        </a:lnTo>
                        <a:lnTo>
                          <a:pt x="144" y="78"/>
                        </a:lnTo>
                        <a:lnTo>
                          <a:pt x="140" y="78"/>
                        </a:lnTo>
                        <a:lnTo>
                          <a:pt x="140" y="76"/>
                        </a:lnTo>
                        <a:lnTo>
                          <a:pt x="140" y="74"/>
                        </a:lnTo>
                        <a:lnTo>
                          <a:pt x="140" y="74"/>
                        </a:lnTo>
                        <a:lnTo>
                          <a:pt x="142" y="74"/>
                        </a:lnTo>
                        <a:lnTo>
                          <a:pt x="142" y="72"/>
                        </a:lnTo>
                        <a:lnTo>
                          <a:pt x="136" y="72"/>
                        </a:lnTo>
                        <a:lnTo>
                          <a:pt x="132" y="70"/>
                        </a:lnTo>
                        <a:lnTo>
                          <a:pt x="132" y="68"/>
                        </a:lnTo>
                        <a:lnTo>
                          <a:pt x="134" y="68"/>
                        </a:lnTo>
                        <a:lnTo>
                          <a:pt x="134" y="68"/>
                        </a:lnTo>
                        <a:lnTo>
                          <a:pt x="136" y="66"/>
                        </a:lnTo>
                        <a:lnTo>
                          <a:pt x="134" y="62"/>
                        </a:lnTo>
                        <a:lnTo>
                          <a:pt x="130" y="62"/>
                        </a:lnTo>
                        <a:lnTo>
                          <a:pt x="122" y="60"/>
                        </a:lnTo>
                        <a:lnTo>
                          <a:pt x="122" y="60"/>
                        </a:lnTo>
                        <a:lnTo>
                          <a:pt x="116" y="60"/>
                        </a:lnTo>
                        <a:lnTo>
                          <a:pt x="108" y="60"/>
                        </a:lnTo>
                        <a:lnTo>
                          <a:pt x="108" y="60"/>
                        </a:lnTo>
                        <a:lnTo>
                          <a:pt x="100" y="60"/>
                        </a:lnTo>
                        <a:lnTo>
                          <a:pt x="94" y="58"/>
                        </a:lnTo>
                        <a:lnTo>
                          <a:pt x="84" y="56"/>
                        </a:lnTo>
                        <a:lnTo>
                          <a:pt x="74" y="56"/>
                        </a:lnTo>
                        <a:lnTo>
                          <a:pt x="74" y="56"/>
                        </a:lnTo>
                        <a:lnTo>
                          <a:pt x="68" y="56"/>
                        </a:lnTo>
                        <a:lnTo>
                          <a:pt x="64" y="54"/>
                        </a:lnTo>
                        <a:lnTo>
                          <a:pt x="60" y="54"/>
                        </a:lnTo>
                        <a:lnTo>
                          <a:pt x="54" y="54"/>
                        </a:lnTo>
                        <a:lnTo>
                          <a:pt x="54" y="54"/>
                        </a:lnTo>
                        <a:lnTo>
                          <a:pt x="44" y="56"/>
                        </a:lnTo>
                        <a:lnTo>
                          <a:pt x="36" y="56"/>
                        </a:lnTo>
                        <a:lnTo>
                          <a:pt x="36" y="56"/>
                        </a:lnTo>
                        <a:lnTo>
                          <a:pt x="30" y="58"/>
                        </a:lnTo>
                        <a:lnTo>
                          <a:pt x="28" y="62"/>
                        </a:lnTo>
                        <a:lnTo>
                          <a:pt x="24" y="62"/>
                        </a:lnTo>
                        <a:lnTo>
                          <a:pt x="18" y="60"/>
                        </a:lnTo>
                        <a:lnTo>
                          <a:pt x="18" y="60"/>
                        </a:lnTo>
                        <a:lnTo>
                          <a:pt x="8" y="56"/>
                        </a:lnTo>
                        <a:lnTo>
                          <a:pt x="12" y="56"/>
                        </a:lnTo>
                        <a:lnTo>
                          <a:pt x="20" y="52"/>
                        </a:lnTo>
                        <a:lnTo>
                          <a:pt x="20" y="52"/>
                        </a:lnTo>
                        <a:lnTo>
                          <a:pt x="30" y="48"/>
                        </a:lnTo>
                        <a:lnTo>
                          <a:pt x="46" y="46"/>
                        </a:lnTo>
                        <a:lnTo>
                          <a:pt x="46" y="46"/>
                        </a:lnTo>
                        <a:lnTo>
                          <a:pt x="66" y="44"/>
                        </a:lnTo>
                        <a:lnTo>
                          <a:pt x="56" y="44"/>
                        </a:lnTo>
                        <a:lnTo>
                          <a:pt x="56" y="44"/>
                        </a:lnTo>
                        <a:lnTo>
                          <a:pt x="48" y="42"/>
                        </a:lnTo>
                        <a:lnTo>
                          <a:pt x="48" y="42"/>
                        </a:lnTo>
                        <a:lnTo>
                          <a:pt x="50" y="40"/>
                        </a:lnTo>
                        <a:lnTo>
                          <a:pt x="50" y="40"/>
                        </a:lnTo>
                        <a:lnTo>
                          <a:pt x="48" y="40"/>
                        </a:lnTo>
                        <a:lnTo>
                          <a:pt x="48" y="40"/>
                        </a:lnTo>
                        <a:lnTo>
                          <a:pt x="28" y="42"/>
                        </a:lnTo>
                        <a:lnTo>
                          <a:pt x="20" y="42"/>
                        </a:lnTo>
                        <a:lnTo>
                          <a:pt x="14" y="40"/>
                        </a:lnTo>
                        <a:lnTo>
                          <a:pt x="14" y="40"/>
                        </a:lnTo>
                        <a:lnTo>
                          <a:pt x="8" y="38"/>
                        </a:lnTo>
                        <a:lnTo>
                          <a:pt x="2" y="38"/>
                        </a:lnTo>
                        <a:lnTo>
                          <a:pt x="0" y="38"/>
                        </a:lnTo>
                        <a:lnTo>
                          <a:pt x="0" y="36"/>
                        </a:lnTo>
                        <a:lnTo>
                          <a:pt x="8" y="34"/>
                        </a:lnTo>
                        <a:lnTo>
                          <a:pt x="8" y="34"/>
                        </a:lnTo>
                        <a:lnTo>
                          <a:pt x="18" y="30"/>
                        </a:lnTo>
                        <a:lnTo>
                          <a:pt x="26" y="30"/>
                        </a:lnTo>
                        <a:lnTo>
                          <a:pt x="42" y="30"/>
                        </a:lnTo>
                        <a:lnTo>
                          <a:pt x="42" y="30"/>
                        </a:lnTo>
                        <a:lnTo>
                          <a:pt x="54" y="30"/>
                        </a:lnTo>
                        <a:lnTo>
                          <a:pt x="62" y="30"/>
                        </a:lnTo>
                        <a:lnTo>
                          <a:pt x="62" y="30"/>
                        </a:lnTo>
                        <a:lnTo>
                          <a:pt x="66" y="28"/>
                        </a:lnTo>
                        <a:lnTo>
                          <a:pt x="68" y="26"/>
                        </a:lnTo>
                        <a:lnTo>
                          <a:pt x="70" y="24"/>
                        </a:lnTo>
                        <a:lnTo>
                          <a:pt x="78" y="22"/>
                        </a:lnTo>
                        <a:lnTo>
                          <a:pt x="78" y="22"/>
                        </a:lnTo>
                        <a:lnTo>
                          <a:pt x="84" y="20"/>
                        </a:lnTo>
                        <a:lnTo>
                          <a:pt x="84" y="18"/>
                        </a:lnTo>
                        <a:lnTo>
                          <a:pt x="84" y="16"/>
                        </a:lnTo>
                        <a:lnTo>
                          <a:pt x="84" y="16"/>
                        </a:lnTo>
                        <a:lnTo>
                          <a:pt x="94" y="14"/>
                        </a:lnTo>
                        <a:lnTo>
                          <a:pt x="94" y="14"/>
                        </a:lnTo>
                        <a:lnTo>
                          <a:pt x="108" y="14"/>
                        </a:lnTo>
                        <a:lnTo>
                          <a:pt x="118" y="14"/>
                        </a:lnTo>
                        <a:lnTo>
                          <a:pt x="126" y="14"/>
                        </a:lnTo>
                        <a:lnTo>
                          <a:pt x="136" y="14"/>
                        </a:lnTo>
                        <a:lnTo>
                          <a:pt x="136" y="14"/>
                        </a:lnTo>
                        <a:lnTo>
                          <a:pt x="146" y="12"/>
                        </a:lnTo>
                        <a:lnTo>
                          <a:pt x="152" y="14"/>
                        </a:lnTo>
                        <a:lnTo>
                          <a:pt x="158" y="14"/>
                        </a:lnTo>
                        <a:lnTo>
                          <a:pt x="166" y="12"/>
                        </a:lnTo>
                        <a:lnTo>
                          <a:pt x="166" y="12"/>
                        </a:lnTo>
                        <a:close/>
                      </a:path>
                    </a:pathLst>
                  </a:custGeom>
                  <a:solidFill>
                    <a:schemeClr val="accent6"/>
                  </a:solid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15" name="GREEN"/>
                  <p:cNvGrpSpPr/>
                  <p:nvPr/>
                </p:nvGrpSpPr>
                <p:grpSpPr>
                  <a:xfrm>
                    <a:off x="1489238" y="1171796"/>
                    <a:ext cx="9577684" cy="4410266"/>
                    <a:chOff x="1489238" y="1171796"/>
                    <a:chExt cx="9577684" cy="4410266"/>
                  </a:xfrm>
                  <a:solidFill>
                    <a:schemeClr val="accent6"/>
                  </a:solidFill>
                </p:grpSpPr>
                <p:grpSp>
                  <p:nvGrpSpPr>
                    <p:cNvPr id="14" name="GREEN"/>
                    <p:cNvGrpSpPr/>
                    <p:nvPr/>
                  </p:nvGrpSpPr>
                  <p:grpSpPr>
                    <a:xfrm>
                      <a:off x="6112530" y="1730859"/>
                      <a:ext cx="684172" cy="3284506"/>
                      <a:chOff x="6112530" y="1730859"/>
                      <a:chExt cx="684172" cy="3284506"/>
                    </a:xfrm>
                    <a:grpFill/>
                  </p:grpSpPr>
                  <p:sp>
                    <p:nvSpPr>
                      <p:cNvPr id="131" name="Freeform 225"/>
                      <p:cNvSpPr>
                        <a:spLocks/>
                      </p:cNvSpPr>
                      <p:nvPr/>
                    </p:nvSpPr>
                    <p:spPr bwMode="auto">
                      <a:xfrm>
                        <a:off x="6306938" y="1730859"/>
                        <a:ext cx="75941" cy="24279"/>
                      </a:xfrm>
                      <a:custGeom>
                        <a:avLst/>
                        <a:gdLst/>
                        <a:ahLst/>
                        <a:cxnLst>
                          <a:cxn ang="0">
                            <a:pos x="2" y="14"/>
                          </a:cxn>
                          <a:cxn ang="0">
                            <a:pos x="2" y="14"/>
                          </a:cxn>
                          <a:cxn ang="0">
                            <a:pos x="4" y="12"/>
                          </a:cxn>
                          <a:cxn ang="0">
                            <a:pos x="8" y="12"/>
                          </a:cxn>
                          <a:cxn ang="0">
                            <a:pos x="8" y="12"/>
                          </a:cxn>
                          <a:cxn ang="0">
                            <a:pos x="8" y="10"/>
                          </a:cxn>
                          <a:cxn ang="0">
                            <a:pos x="6" y="10"/>
                          </a:cxn>
                          <a:cxn ang="0">
                            <a:pos x="2" y="10"/>
                          </a:cxn>
                          <a:cxn ang="0">
                            <a:pos x="2" y="10"/>
                          </a:cxn>
                          <a:cxn ang="0">
                            <a:pos x="2" y="10"/>
                          </a:cxn>
                          <a:cxn ang="0">
                            <a:pos x="0" y="8"/>
                          </a:cxn>
                          <a:cxn ang="0">
                            <a:pos x="0" y="8"/>
                          </a:cxn>
                          <a:cxn ang="0">
                            <a:pos x="0" y="8"/>
                          </a:cxn>
                          <a:cxn ang="0">
                            <a:pos x="4" y="8"/>
                          </a:cxn>
                          <a:cxn ang="0">
                            <a:pos x="4" y="8"/>
                          </a:cxn>
                          <a:cxn ang="0">
                            <a:pos x="8" y="8"/>
                          </a:cxn>
                          <a:cxn ang="0">
                            <a:pos x="10" y="6"/>
                          </a:cxn>
                          <a:cxn ang="0">
                            <a:pos x="10" y="6"/>
                          </a:cxn>
                          <a:cxn ang="0">
                            <a:pos x="14" y="4"/>
                          </a:cxn>
                          <a:cxn ang="0">
                            <a:pos x="18" y="2"/>
                          </a:cxn>
                          <a:cxn ang="0">
                            <a:pos x="18" y="2"/>
                          </a:cxn>
                          <a:cxn ang="0">
                            <a:pos x="20" y="0"/>
                          </a:cxn>
                          <a:cxn ang="0">
                            <a:pos x="20" y="0"/>
                          </a:cxn>
                          <a:cxn ang="0">
                            <a:pos x="20" y="4"/>
                          </a:cxn>
                          <a:cxn ang="0">
                            <a:pos x="20" y="6"/>
                          </a:cxn>
                          <a:cxn ang="0">
                            <a:pos x="24" y="2"/>
                          </a:cxn>
                          <a:cxn ang="0">
                            <a:pos x="24" y="2"/>
                          </a:cxn>
                          <a:cxn ang="0">
                            <a:pos x="28" y="4"/>
                          </a:cxn>
                          <a:cxn ang="0">
                            <a:pos x="30" y="4"/>
                          </a:cxn>
                          <a:cxn ang="0">
                            <a:pos x="30" y="4"/>
                          </a:cxn>
                          <a:cxn ang="0">
                            <a:pos x="38" y="4"/>
                          </a:cxn>
                          <a:cxn ang="0">
                            <a:pos x="44" y="2"/>
                          </a:cxn>
                          <a:cxn ang="0">
                            <a:pos x="48" y="4"/>
                          </a:cxn>
                          <a:cxn ang="0">
                            <a:pos x="48" y="4"/>
                          </a:cxn>
                          <a:cxn ang="0">
                            <a:pos x="50" y="6"/>
                          </a:cxn>
                          <a:cxn ang="0">
                            <a:pos x="50" y="8"/>
                          </a:cxn>
                          <a:cxn ang="0">
                            <a:pos x="48" y="12"/>
                          </a:cxn>
                          <a:cxn ang="0">
                            <a:pos x="48" y="12"/>
                          </a:cxn>
                          <a:cxn ang="0">
                            <a:pos x="46" y="14"/>
                          </a:cxn>
                          <a:cxn ang="0">
                            <a:pos x="42" y="14"/>
                          </a:cxn>
                          <a:cxn ang="0">
                            <a:pos x="38" y="12"/>
                          </a:cxn>
                          <a:cxn ang="0">
                            <a:pos x="32" y="14"/>
                          </a:cxn>
                          <a:cxn ang="0">
                            <a:pos x="32" y="14"/>
                          </a:cxn>
                          <a:cxn ang="0">
                            <a:pos x="28" y="16"/>
                          </a:cxn>
                          <a:cxn ang="0">
                            <a:pos x="22" y="16"/>
                          </a:cxn>
                          <a:cxn ang="0">
                            <a:pos x="16" y="14"/>
                          </a:cxn>
                          <a:cxn ang="0">
                            <a:pos x="2" y="14"/>
                          </a:cxn>
                          <a:cxn ang="0">
                            <a:pos x="2" y="14"/>
                          </a:cxn>
                        </a:cxnLst>
                        <a:rect l="0" t="0" r="r" b="b"/>
                        <a:pathLst>
                          <a:path w="50" h="16">
                            <a:moveTo>
                              <a:pt x="2" y="14"/>
                            </a:moveTo>
                            <a:lnTo>
                              <a:pt x="2" y="14"/>
                            </a:lnTo>
                            <a:lnTo>
                              <a:pt x="4" y="12"/>
                            </a:lnTo>
                            <a:lnTo>
                              <a:pt x="8" y="12"/>
                            </a:lnTo>
                            <a:lnTo>
                              <a:pt x="8" y="12"/>
                            </a:lnTo>
                            <a:lnTo>
                              <a:pt x="8" y="10"/>
                            </a:lnTo>
                            <a:lnTo>
                              <a:pt x="6" y="10"/>
                            </a:lnTo>
                            <a:lnTo>
                              <a:pt x="2" y="10"/>
                            </a:lnTo>
                            <a:lnTo>
                              <a:pt x="2" y="10"/>
                            </a:lnTo>
                            <a:lnTo>
                              <a:pt x="2" y="10"/>
                            </a:lnTo>
                            <a:lnTo>
                              <a:pt x="0" y="8"/>
                            </a:lnTo>
                            <a:lnTo>
                              <a:pt x="0" y="8"/>
                            </a:lnTo>
                            <a:lnTo>
                              <a:pt x="0" y="8"/>
                            </a:lnTo>
                            <a:lnTo>
                              <a:pt x="4" y="8"/>
                            </a:lnTo>
                            <a:lnTo>
                              <a:pt x="4" y="8"/>
                            </a:lnTo>
                            <a:lnTo>
                              <a:pt x="8" y="8"/>
                            </a:lnTo>
                            <a:lnTo>
                              <a:pt x="10" y="6"/>
                            </a:lnTo>
                            <a:lnTo>
                              <a:pt x="10" y="6"/>
                            </a:lnTo>
                            <a:lnTo>
                              <a:pt x="14" y="4"/>
                            </a:lnTo>
                            <a:lnTo>
                              <a:pt x="18" y="2"/>
                            </a:lnTo>
                            <a:lnTo>
                              <a:pt x="18" y="2"/>
                            </a:lnTo>
                            <a:lnTo>
                              <a:pt x="20" y="0"/>
                            </a:lnTo>
                            <a:lnTo>
                              <a:pt x="20" y="0"/>
                            </a:lnTo>
                            <a:lnTo>
                              <a:pt x="20" y="4"/>
                            </a:lnTo>
                            <a:lnTo>
                              <a:pt x="20" y="6"/>
                            </a:lnTo>
                            <a:lnTo>
                              <a:pt x="24" y="2"/>
                            </a:lnTo>
                            <a:lnTo>
                              <a:pt x="24" y="2"/>
                            </a:lnTo>
                            <a:lnTo>
                              <a:pt x="28" y="4"/>
                            </a:lnTo>
                            <a:lnTo>
                              <a:pt x="30" y="4"/>
                            </a:lnTo>
                            <a:lnTo>
                              <a:pt x="30" y="4"/>
                            </a:lnTo>
                            <a:lnTo>
                              <a:pt x="38" y="4"/>
                            </a:lnTo>
                            <a:lnTo>
                              <a:pt x="44" y="2"/>
                            </a:lnTo>
                            <a:lnTo>
                              <a:pt x="48" y="4"/>
                            </a:lnTo>
                            <a:lnTo>
                              <a:pt x="48" y="4"/>
                            </a:lnTo>
                            <a:lnTo>
                              <a:pt x="50" y="6"/>
                            </a:lnTo>
                            <a:lnTo>
                              <a:pt x="50" y="8"/>
                            </a:lnTo>
                            <a:lnTo>
                              <a:pt x="48" y="12"/>
                            </a:lnTo>
                            <a:lnTo>
                              <a:pt x="48" y="12"/>
                            </a:lnTo>
                            <a:lnTo>
                              <a:pt x="46" y="14"/>
                            </a:lnTo>
                            <a:lnTo>
                              <a:pt x="42" y="14"/>
                            </a:lnTo>
                            <a:lnTo>
                              <a:pt x="38" y="12"/>
                            </a:lnTo>
                            <a:lnTo>
                              <a:pt x="32" y="14"/>
                            </a:lnTo>
                            <a:lnTo>
                              <a:pt x="32" y="14"/>
                            </a:lnTo>
                            <a:lnTo>
                              <a:pt x="28" y="16"/>
                            </a:lnTo>
                            <a:lnTo>
                              <a:pt x="22" y="16"/>
                            </a:lnTo>
                            <a:lnTo>
                              <a:pt x="16" y="14"/>
                            </a:lnTo>
                            <a:lnTo>
                              <a:pt x="2" y="14"/>
                            </a:lnTo>
                            <a:lnTo>
                              <a:pt x="2" y="14"/>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4" name="Czech Republic"/>
                      <p:cNvSpPr>
                        <a:spLocks/>
                      </p:cNvSpPr>
                      <p:nvPr/>
                    </p:nvSpPr>
                    <p:spPr bwMode="auto">
                      <a:xfrm>
                        <a:off x="6112530" y="1842494"/>
                        <a:ext cx="191372" cy="81941"/>
                      </a:xfrm>
                      <a:custGeom>
                        <a:avLst/>
                        <a:gdLst/>
                        <a:ahLst/>
                        <a:cxnLst>
                          <a:cxn ang="0">
                            <a:pos x="100" y="54"/>
                          </a:cxn>
                          <a:cxn ang="0">
                            <a:pos x="106" y="48"/>
                          </a:cxn>
                          <a:cxn ang="0">
                            <a:pos x="110" y="46"/>
                          </a:cxn>
                          <a:cxn ang="0">
                            <a:pos x="118" y="38"/>
                          </a:cxn>
                          <a:cxn ang="0">
                            <a:pos x="126" y="28"/>
                          </a:cxn>
                          <a:cxn ang="0">
                            <a:pos x="116" y="22"/>
                          </a:cxn>
                          <a:cxn ang="0">
                            <a:pos x="102" y="18"/>
                          </a:cxn>
                          <a:cxn ang="0">
                            <a:pos x="100" y="16"/>
                          </a:cxn>
                          <a:cxn ang="0">
                            <a:pos x="96" y="12"/>
                          </a:cxn>
                          <a:cxn ang="0">
                            <a:pos x="92" y="12"/>
                          </a:cxn>
                          <a:cxn ang="0">
                            <a:pos x="86" y="10"/>
                          </a:cxn>
                          <a:cxn ang="0">
                            <a:pos x="86" y="12"/>
                          </a:cxn>
                          <a:cxn ang="0">
                            <a:pos x="86" y="14"/>
                          </a:cxn>
                          <a:cxn ang="0">
                            <a:pos x="82" y="16"/>
                          </a:cxn>
                          <a:cxn ang="0">
                            <a:pos x="82" y="16"/>
                          </a:cxn>
                          <a:cxn ang="0">
                            <a:pos x="76" y="12"/>
                          </a:cxn>
                          <a:cxn ang="0">
                            <a:pos x="72" y="10"/>
                          </a:cxn>
                          <a:cxn ang="0">
                            <a:pos x="52" y="6"/>
                          </a:cxn>
                          <a:cxn ang="0">
                            <a:pos x="48" y="6"/>
                          </a:cxn>
                          <a:cxn ang="0">
                            <a:pos x="44" y="6"/>
                          </a:cxn>
                          <a:cxn ang="0">
                            <a:pos x="40" y="2"/>
                          </a:cxn>
                          <a:cxn ang="0">
                            <a:pos x="34" y="4"/>
                          </a:cxn>
                          <a:cxn ang="0">
                            <a:pos x="30" y="8"/>
                          </a:cxn>
                          <a:cxn ang="0">
                            <a:pos x="24" y="10"/>
                          </a:cxn>
                          <a:cxn ang="0">
                            <a:pos x="12" y="14"/>
                          </a:cxn>
                          <a:cxn ang="0">
                            <a:pos x="0" y="14"/>
                          </a:cxn>
                          <a:cxn ang="0">
                            <a:pos x="0" y="16"/>
                          </a:cxn>
                          <a:cxn ang="0">
                            <a:pos x="8" y="26"/>
                          </a:cxn>
                          <a:cxn ang="0">
                            <a:pos x="12" y="30"/>
                          </a:cxn>
                          <a:cxn ang="0">
                            <a:pos x="16" y="32"/>
                          </a:cxn>
                          <a:cxn ang="0">
                            <a:pos x="28" y="40"/>
                          </a:cxn>
                          <a:cxn ang="0">
                            <a:pos x="32" y="42"/>
                          </a:cxn>
                          <a:cxn ang="0">
                            <a:pos x="32" y="46"/>
                          </a:cxn>
                          <a:cxn ang="0">
                            <a:pos x="40" y="48"/>
                          </a:cxn>
                          <a:cxn ang="0">
                            <a:pos x="44" y="48"/>
                          </a:cxn>
                          <a:cxn ang="0">
                            <a:pos x="48" y="48"/>
                          </a:cxn>
                          <a:cxn ang="0">
                            <a:pos x="50" y="44"/>
                          </a:cxn>
                          <a:cxn ang="0">
                            <a:pos x="50" y="38"/>
                          </a:cxn>
                          <a:cxn ang="0">
                            <a:pos x="52" y="38"/>
                          </a:cxn>
                          <a:cxn ang="0">
                            <a:pos x="62" y="42"/>
                          </a:cxn>
                          <a:cxn ang="0">
                            <a:pos x="64" y="44"/>
                          </a:cxn>
                          <a:cxn ang="0">
                            <a:pos x="68" y="42"/>
                          </a:cxn>
                          <a:cxn ang="0">
                            <a:pos x="72" y="42"/>
                          </a:cxn>
                          <a:cxn ang="0">
                            <a:pos x="90" y="52"/>
                          </a:cxn>
                          <a:cxn ang="0">
                            <a:pos x="94" y="54"/>
                          </a:cxn>
                          <a:cxn ang="0">
                            <a:pos x="100" y="54"/>
                          </a:cxn>
                        </a:cxnLst>
                        <a:rect l="0" t="0" r="r" b="b"/>
                        <a:pathLst>
                          <a:path w="126" h="54">
                            <a:moveTo>
                              <a:pt x="100" y="54"/>
                            </a:moveTo>
                            <a:lnTo>
                              <a:pt x="100" y="54"/>
                            </a:lnTo>
                            <a:lnTo>
                              <a:pt x="102" y="52"/>
                            </a:lnTo>
                            <a:lnTo>
                              <a:pt x="106" y="48"/>
                            </a:lnTo>
                            <a:lnTo>
                              <a:pt x="110" y="46"/>
                            </a:lnTo>
                            <a:lnTo>
                              <a:pt x="110" y="46"/>
                            </a:lnTo>
                            <a:lnTo>
                              <a:pt x="118" y="42"/>
                            </a:lnTo>
                            <a:lnTo>
                              <a:pt x="118" y="38"/>
                            </a:lnTo>
                            <a:lnTo>
                              <a:pt x="120" y="34"/>
                            </a:lnTo>
                            <a:lnTo>
                              <a:pt x="126" y="28"/>
                            </a:lnTo>
                            <a:lnTo>
                              <a:pt x="126" y="28"/>
                            </a:lnTo>
                            <a:lnTo>
                              <a:pt x="116" y="22"/>
                            </a:lnTo>
                            <a:lnTo>
                              <a:pt x="108" y="20"/>
                            </a:lnTo>
                            <a:lnTo>
                              <a:pt x="102" y="18"/>
                            </a:lnTo>
                            <a:lnTo>
                              <a:pt x="100" y="16"/>
                            </a:lnTo>
                            <a:lnTo>
                              <a:pt x="100" y="16"/>
                            </a:lnTo>
                            <a:lnTo>
                              <a:pt x="98" y="12"/>
                            </a:lnTo>
                            <a:lnTo>
                              <a:pt x="96" y="12"/>
                            </a:lnTo>
                            <a:lnTo>
                              <a:pt x="96" y="12"/>
                            </a:lnTo>
                            <a:lnTo>
                              <a:pt x="92" y="12"/>
                            </a:lnTo>
                            <a:lnTo>
                              <a:pt x="88" y="10"/>
                            </a:lnTo>
                            <a:lnTo>
                              <a:pt x="86" y="10"/>
                            </a:lnTo>
                            <a:lnTo>
                              <a:pt x="86" y="12"/>
                            </a:lnTo>
                            <a:lnTo>
                              <a:pt x="86" y="12"/>
                            </a:lnTo>
                            <a:lnTo>
                              <a:pt x="88" y="14"/>
                            </a:lnTo>
                            <a:lnTo>
                              <a:pt x="86" y="14"/>
                            </a:lnTo>
                            <a:lnTo>
                              <a:pt x="84" y="14"/>
                            </a:lnTo>
                            <a:lnTo>
                              <a:pt x="82" y="16"/>
                            </a:lnTo>
                            <a:lnTo>
                              <a:pt x="82" y="16"/>
                            </a:lnTo>
                            <a:lnTo>
                              <a:pt x="82" y="16"/>
                            </a:lnTo>
                            <a:lnTo>
                              <a:pt x="80" y="14"/>
                            </a:lnTo>
                            <a:lnTo>
                              <a:pt x="76" y="12"/>
                            </a:lnTo>
                            <a:lnTo>
                              <a:pt x="72" y="10"/>
                            </a:lnTo>
                            <a:lnTo>
                              <a:pt x="72" y="10"/>
                            </a:lnTo>
                            <a:lnTo>
                              <a:pt x="58" y="8"/>
                            </a:lnTo>
                            <a:lnTo>
                              <a:pt x="52" y="6"/>
                            </a:lnTo>
                            <a:lnTo>
                              <a:pt x="50" y="4"/>
                            </a:lnTo>
                            <a:lnTo>
                              <a:pt x="48" y="6"/>
                            </a:lnTo>
                            <a:lnTo>
                              <a:pt x="48" y="6"/>
                            </a:lnTo>
                            <a:lnTo>
                              <a:pt x="44" y="6"/>
                            </a:lnTo>
                            <a:lnTo>
                              <a:pt x="40" y="2"/>
                            </a:lnTo>
                            <a:lnTo>
                              <a:pt x="40" y="2"/>
                            </a:lnTo>
                            <a:lnTo>
                              <a:pt x="38" y="0"/>
                            </a:lnTo>
                            <a:lnTo>
                              <a:pt x="34" y="4"/>
                            </a:lnTo>
                            <a:lnTo>
                              <a:pt x="34" y="4"/>
                            </a:lnTo>
                            <a:lnTo>
                              <a:pt x="30" y="8"/>
                            </a:lnTo>
                            <a:lnTo>
                              <a:pt x="24" y="10"/>
                            </a:lnTo>
                            <a:lnTo>
                              <a:pt x="24" y="10"/>
                            </a:lnTo>
                            <a:lnTo>
                              <a:pt x="12" y="14"/>
                            </a:lnTo>
                            <a:lnTo>
                              <a:pt x="12" y="14"/>
                            </a:lnTo>
                            <a:lnTo>
                              <a:pt x="4" y="14"/>
                            </a:lnTo>
                            <a:lnTo>
                              <a:pt x="0" y="14"/>
                            </a:lnTo>
                            <a:lnTo>
                              <a:pt x="0" y="16"/>
                            </a:lnTo>
                            <a:lnTo>
                              <a:pt x="0" y="16"/>
                            </a:lnTo>
                            <a:lnTo>
                              <a:pt x="4" y="20"/>
                            </a:lnTo>
                            <a:lnTo>
                              <a:pt x="8" y="26"/>
                            </a:lnTo>
                            <a:lnTo>
                              <a:pt x="8" y="26"/>
                            </a:lnTo>
                            <a:lnTo>
                              <a:pt x="12" y="30"/>
                            </a:lnTo>
                            <a:lnTo>
                              <a:pt x="16" y="32"/>
                            </a:lnTo>
                            <a:lnTo>
                              <a:pt x="16" y="32"/>
                            </a:lnTo>
                            <a:lnTo>
                              <a:pt x="24" y="38"/>
                            </a:lnTo>
                            <a:lnTo>
                              <a:pt x="28" y="40"/>
                            </a:lnTo>
                            <a:lnTo>
                              <a:pt x="28" y="40"/>
                            </a:lnTo>
                            <a:lnTo>
                              <a:pt x="32" y="42"/>
                            </a:lnTo>
                            <a:lnTo>
                              <a:pt x="32" y="46"/>
                            </a:lnTo>
                            <a:lnTo>
                              <a:pt x="32" y="46"/>
                            </a:lnTo>
                            <a:lnTo>
                              <a:pt x="38" y="48"/>
                            </a:lnTo>
                            <a:lnTo>
                              <a:pt x="40" y="48"/>
                            </a:lnTo>
                            <a:lnTo>
                              <a:pt x="40" y="48"/>
                            </a:lnTo>
                            <a:lnTo>
                              <a:pt x="44" y="48"/>
                            </a:lnTo>
                            <a:lnTo>
                              <a:pt x="46" y="48"/>
                            </a:lnTo>
                            <a:lnTo>
                              <a:pt x="48" y="48"/>
                            </a:lnTo>
                            <a:lnTo>
                              <a:pt x="48" y="48"/>
                            </a:lnTo>
                            <a:lnTo>
                              <a:pt x="50" y="44"/>
                            </a:lnTo>
                            <a:lnTo>
                              <a:pt x="50" y="40"/>
                            </a:lnTo>
                            <a:lnTo>
                              <a:pt x="50" y="38"/>
                            </a:lnTo>
                            <a:lnTo>
                              <a:pt x="52" y="38"/>
                            </a:lnTo>
                            <a:lnTo>
                              <a:pt x="52" y="38"/>
                            </a:lnTo>
                            <a:lnTo>
                              <a:pt x="58" y="40"/>
                            </a:lnTo>
                            <a:lnTo>
                              <a:pt x="62" y="42"/>
                            </a:lnTo>
                            <a:lnTo>
                              <a:pt x="62" y="42"/>
                            </a:lnTo>
                            <a:lnTo>
                              <a:pt x="64" y="44"/>
                            </a:lnTo>
                            <a:lnTo>
                              <a:pt x="66" y="42"/>
                            </a:lnTo>
                            <a:lnTo>
                              <a:pt x="68" y="42"/>
                            </a:lnTo>
                            <a:lnTo>
                              <a:pt x="72" y="42"/>
                            </a:lnTo>
                            <a:lnTo>
                              <a:pt x="72" y="42"/>
                            </a:lnTo>
                            <a:lnTo>
                              <a:pt x="82" y="48"/>
                            </a:lnTo>
                            <a:lnTo>
                              <a:pt x="90" y="52"/>
                            </a:lnTo>
                            <a:lnTo>
                              <a:pt x="90" y="52"/>
                            </a:lnTo>
                            <a:lnTo>
                              <a:pt x="94" y="54"/>
                            </a:lnTo>
                            <a:lnTo>
                              <a:pt x="96" y="54"/>
                            </a:lnTo>
                            <a:lnTo>
                              <a:pt x="100" y="54"/>
                            </a:lnTo>
                            <a:lnTo>
                              <a:pt x="100" y="54"/>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6" name="South Africa"/>
                      <p:cNvSpPr>
                        <a:spLocks/>
                      </p:cNvSpPr>
                      <p:nvPr/>
                    </p:nvSpPr>
                    <p:spPr bwMode="auto">
                      <a:xfrm>
                        <a:off x="6277265" y="4551035"/>
                        <a:ext cx="519437" cy="464330"/>
                      </a:xfrm>
                      <a:custGeom>
                        <a:avLst/>
                        <a:gdLst/>
                        <a:ahLst/>
                        <a:cxnLst>
                          <a:cxn ang="0">
                            <a:pos x="292" y="0"/>
                          </a:cxn>
                          <a:cxn ang="0">
                            <a:pos x="312" y="4"/>
                          </a:cxn>
                          <a:cxn ang="0">
                            <a:pos x="326" y="6"/>
                          </a:cxn>
                          <a:cxn ang="0">
                            <a:pos x="332" y="44"/>
                          </a:cxn>
                          <a:cxn ang="0">
                            <a:pos x="326" y="74"/>
                          </a:cxn>
                          <a:cxn ang="0">
                            <a:pos x="310" y="84"/>
                          </a:cxn>
                          <a:cxn ang="0">
                            <a:pos x="300" y="102"/>
                          </a:cxn>
                          <a:cxn ang="0">
                            <a:pos x="308" y="118"/>
                          </a:cxn>
                          <a:cxn ang="0">
                            <a:pos x="328" y="122"/>
                          </a:cxn>
                          <a:cxn ang="0">
                            <a:pos x="328" y="112"/>
                          </a:cxn>
                          <a:cxn ang="0">
                            <a:pos x="336" y="134"/>
                          </a:cxn>
                          <a:cxn ang="0">
                            <a:pos x="318" y="158"/>
                          </a:cxn>
                          <a:cxn ang="0">
                            <a:pos x="294" y="188"/>
                          </a:cxn>
                          <a:cxn ang="0">
                            <a:pos x="266" y="222"/>
                          </a:cxn>
                          <a:cxn ang="0">
                            <a:pos x="246" y="246"/>
                          </a:cxn>
                          <a:cxn ang="0">
                            <a:pos x="226" y="270"/>
                          </a:cxn>
                          <a:cxn ang="0">
                            <a:pos x="196" y="284"/>
                          </a:cxn>
                          <a:cxn ang="0">
                            <a:pos x="184" y="290"/>
                          </a:cxn>
                          <a:cxn ang="0">
                            <a:pos x="174" y="294"/>
                          </a:cxn>
                          <a:cxn ang="0">
                            <a:pos x="164" y="298"/>
                          </a:cxn>
                          <a:cxn ang="0">
                            <a:pos x="142" y="294"/>
                          </a:cxn>
                          <a:cxn ang="0">
                            <a:pos x="128" y="292"/>
                          </a:cxn>
                          <a:cxn ang="0">
                            <a:pos x="116" y="298"/>
                          </a:cxn>
                          <a:cxn ang="0">
                            <a:pos x="104" y="300"/>
                          </a:cxn>
                          <a:cxn ang="0">
                            <a:pos x="86" y="304"/>
                          </a:cxn>
                          <a:cxn ang="0">
                            <a:pos x="68" y="304"/>
                          </a:cxn>
                          <a:cxn ang="0">
                            <a:pos x="50" y="294"/>
                          </a:cxn>
                          <a:cxn ang="0">
                            <a:pos x="52" y="304"/>
                          </a:cxn>
                          <a:cxn ang="0">
                            <a:pos x="42" y="296"/>
                          </a:cxn>
                          <a:cxn ang="0">
                            <a:pos x="38" y="282"/>
                          </a:cxn>
                          <a:cxn ang="0">
                            <a:pos x="36" y="270"/>
                          </a:cxn>
                          <a:cxn ang="0">
                            <a:pos x="40" y="256"/>
                          </a:cxn>
                          <a:cxn ang="0">
                            <a:pos x="40" y="236"/>
                          </a:cxn>
                          <a:cxn ang="0">
                            <a:pos x="30" y="222"/>
                          </a:cxn>
                          <a:cxn ang="0">
                            <a:pos x="16" y="198"/>
                          </a:cxn>
                          <a:cxn ang="0">
                            <a:pos x="10" y="160"/>
                          </a:cxn>
                          <a:cxn ang="0">
                            <a:pos x="12" y="144"/>
                          </a:cxn>
                          <a:cxn ang="0">
                            <a:pos x="28" y="142"/>
                          </a:cxn>
                          <a:cxn ang="0">
                            <a:pos x="38" y="158"/>
                          </a:cxn>
                          <a:cxn ang="0">
                            <a:pos x="56" y="156"/>
                          </a:cxn>
                          <a:cxn ang="0">
                            <a:pos x="72" y="146"/>
                          </a:cxn>
                          <a:cxn ang="0">
                            <a:pos x="90" y="72"/>
                          </a:cxn>
                          <a:cxn ang="0">
                            <a:pos x="106" y="94"/>
                          </a:cxn>
                          <a:cxn ang="0">
                            <a:pos x="102" y="112"/>
                          </a:cxn>
                          <a:cxn ang="0">
                            <a:pos x="118" y="112"/>
                          </a:cxn>
                          <a:cxn ang="0">
                            <a:pos x="126" y="106"/>
                          </a:cxn>
                          <a:cxn ang="0">
                            <a:pos x="130" y="106"/>
                          </a:cxn>
                          <a:cxn ang="0">
                            <a:pos x="142" y="94"/>
                          </a:cxn>
                          <a:cxn ang="0">
                            <a:pos x="142" y="86"/>
                          </a:cxn>
                          <a:cxn ang="0">
                            <a:pos x="164" y="78"/>
                          </a:cxn>
                          <a:cxn ang="0">
                            <a:pos x="174" y="84"/>
                          </a:cxn>
                          <a:cxn ang="0">
                            <a:pos x="192" y="82"/>
                          </a:cxn>
                          <a:cxn ang="0">
                            <a:pos x="212" y="62"/>
                          </a:cxn>
                          <a:cxn ang="0">
                            <a:pos x="230" y="46"/>
                          </a:cxn>
                          <a:cxn ang="0">
                            <a:pos x="246" y="24"/>
                          </a:cxn>
                          <a:cxn ang="0">
                            <a:pos x="268" y="8"/>
                          </a:cxn>
                          <a:cxn ang="0">
                            <a:pos x="278" y="4"/>
                          </a:cxn>
                        </a:cxnLst>
                        <a:rect l="0" t="0" r="r" b="b"/>
                        <a:pathLst>
                          <a:path w="342" h="306">
                            <a:moveTo>
                              <a:pt x="282" y="2"/>
                            </a:moveTo>
                            <a:lnTo>
                              <a:pt x="282" y="2"/>
                            </a:lnTo>
                            <a:lnTo>
                              <a:pt x="286" y="0"/>
                            </a:lnTo>
                            <a:lnTo>
                              <a:pt x="292" y="0"/>
                            </a:lnTo>
                            <a:lnTo>
                              <a:pt x="298" y="2"/>
                            </a:lnTo>
                            <a:lnTo>
                              <a:pt x="306" y="4"/>
                            </a:lnTo>
                            <a:lnTo>
                              <a:pt x="312" y="4"/>
                            </a:lnTo>
                            <a:lnTo>
                              <a:pt x="312" y="4"/>
                            </a:lnTo>
                            <a:lnTo>
                              <a:pt x="320" y="4"/>
                            </a:lnTo>
                            <a:lnTo>
                              <a:pt x="324" y="6"/>
                            </a:lnTo>
                            <a:lnTo>
                              <a:pt x="326" y="6"/>
                            </a:lnTo>
                            <a:lnTo>
                              <a:pt x="326" y="6"/>
                            </a:lnTo>
                            <a:lnTo>
                              <a:pt x="332" y="18"/>
                            </a:lnTo>
                            <a:lnTo>
                              <a:pt x="332" y="22"/>
                            </a:lnTo>
                            <a:lnTo>
                              <a:pt x="330" y="30"/>
                            </a:lnTo>
                            <a:lnTo>
                              <a:pt x="332" y="44"/>
                            </a:lnTo>
                            <a:lnTo>
                              <a:pt x="332" y="44"/>
                            </a:lnTo>
                            <a:lnTo>
                              <a:pt x="332" y="58"/>
                            </a:lnTo>
                            <a:lnTo>
                              <a:pt x="330" y="66"/>
                            </a:lnTo>
                            <a:lnTo>
                              <a:pt x="326" y="74"/>
                            </a:lnTo>
                            <a:lnTo>
                              <a:pt x="322" y="88"/>
                            </a:lnTo>
                            <a:lnTo>
                              <a:pt x="322" y="88"/>
                            </a:lnTo>
                            <a:lnTo>
                              <a:pt x="314" y="84"/>
                            </a:lnTo>
                            <a:lnTo>
                              <a:pt x="310" y="84"/>
                            </a:lnTo>
                            <a:lnTo>
                              <a:pt x="308" y="88"/>
                            </a:lnTo>
                            <a:lnTo>
                              <a:pt x="304" y="94"/>
                            </a:lnTo>
                            <a:lnTo>
                              <a:pt x="304" y="94"/>
                            </a:lnTo>
                            <a:lnTo>
                              <a:pt x="300" y="102"/>
                            </a:lnTo>
                            <a:lnTo>
                              <a:pt x="300" y="108"/>
                            </a:lnTo>
                            <a:lnTo>
                              <a:pt x="300" y="112"/>
                            </a:lnTo>
                            <a:lnTo>
                              <a:pt x="308" y="118"/>
                            </a:lnTo>
                            <a:lnTo>
                              <a:pt x="308" y="118"/>
                            </a:lnTo>
                            <a:lnTo>
                              <a:pt x="316" y="122"/>
                            </a:lnTo>
                            <a:lnTo>
                              <a:pt x="320" y="124"/>
                            </a:lnTo>
                            <a:lnTo>
                              <a:pt x="324" y="124"/>
                            </a:lnTo>
                            <a:lnTo>
                              <a:pt x="328" y="122"/>
                            </a:lnTo>
                            <a:lnTo>
                              <a:pt x="328" y="122"/>
                            </a:lnTo>
                            <a:lnTo>
                              <a:pt x="330" y="120"/>
                            </a:lnTo>
                            <a:lnTo>
                              <a:pt x="330" y="116"/>
                            </a:lnTo>
                            <a:lnTo>
                              <a:pt x="328" y="112"/>
                            </a:lnTo>
                            <a:lnTo>
                              <a:pt x="330" y="110"/>
                            </a:lnTo>
                            <a:lnTo>
                              <a:pt x="342" y="110"/>
                            </a:lnTo>
                            <a:lnTo>
                              <a:pt x="342" y="110"/>
                            </a:lnTo>
                            <a:lnTo>
                              <a:pt x="336" y="134"/>
                            </a:lnTo>
                            <a:lnTo>
                              <a:pt x="332" y="148"/>
                            </a:lnTo>
                            <a:lnTo>
                              <a:pt x="328" y="154"/>
                            </a:lnTo>
                            <a:lnTo>
                              <a:pt x="326" y="156"/>
                            </a:lnTo>
                            <a:lnTo>
                              <a:pt x="318" y="158"/>
                            </a:lnTo>
                            <a:lnTo>
                              <a:pt x="318" y="158"/>
                            </a:lnTo>
                            <a:lnTo>
                              <a:pt x="312" y="160"/>
                            </a:lnTo>
                            <a:lnTo>
                              <a:pt x="306" y="168"/>
                            </a:lnTo>
                            <a:lnTo>
                              <a:pt x="294" y="188"/>
                            </a:lnTo>
                            <a:lnTo>
                              <a:pt x="282" y="210"/>
                            </a:lnTo>
                            <a:lnTo>
                              <a:pt x="274" y="218"/>
                            </a:lnTo>
                            <a:lnTo>
                              <a:pt x="266" y="222"/>
                            </a:lnTo>
                            <a:lnTo>
                              <a:pt x="266" y="222"/>
                            </a:lnTo>
                            <a:lnTo>
                              <a:pt x="262" y="224"/>
                            </a:lnTo>
                            <a:lnTo>
                              <a:pt x="260" y="226"/>
                            </a:lnTo>
                            <a:lnTo>
                              <a:pt x="252" y="236"/>
                            </a:lnTo>
                            <a:lnTo>
                              <a:pt x="246" y="246"/>
                            </a:lnTo>
                            <a:lnTo>
                              <a:pt x="240" y="252"/>
                            </a:lnTo>
                            <a:lnTo>
                              <a:pt x="240" y="252"/>
                            </a:lnTo>
                            <a:lnTo>
                              <a:pt x="234" y="260"/>
                            </a:lnTo>
                            <a:lnTo>
                              <a:pt x="226" y="270"/>
                            </a:lnTo>
                            <a:lnTo>
                              <a:pt x="222" y="274"/>
                            </a:lnTo>
                            <a:lnTo>
                              <a:pt x="214" y="278"/>
                            </a:lnTo>
                            <a:lnTo>
                              <a:pt x="206" y="282"/>
                            </a:lnTo>
                            <a:lnTo>
                              <a:pt x="196" y="284"/>
                            </a:lnTo>
                            <a:lnTo>
                              <a:pt x="196" y="284"/>
                            </a:lnTo>
                            <a:lnTo>
                              <a:pt x="192" y="284"/>
                            </a:lnTo>
                            <a:lnTo>
                              <a:pt x="188" y="286"/>
                            </a:lnTo>
                            <a:lnTo>
                              <a:pt x="184" y="290"/>
                            </a:lnTo>
                            <a:lnTo>
                              <a:pt x="180" y="294"/>
                            </a:lnTo>
                            <a:lnTo>
                              <a:pt x="178" y="294"/>
                            </a:lnTo>
                            <a:lnTo>
                              <a:pt x="174" y="294"/>
                            </a:lnTo>
                            <a:lnTo>
                              <a:pt x="174" y="294"/>
                            </a:lnTo>
                            <a:lnTo>
                              <a:pt x="170" y="292"/>
                            </a:lnTo>
                            <a:lnTo>
                              <a:pt x="168" y="294"/>
                            </a:lnTo>
                            <a:lnTo>
                              <a:pt x="166" y="296"/>
                            </a:lnTo>
                            <a:lnTo>
                              <a:pt x="164" y="298"/>
                            </a:lnTo>
                            <a:lnTo>
                              <a:pt x="158" y="296"/>
                            </a:lnTo>
                            <a:lnTo>
                              <a:pt x="158" y="296"/>
                            </a:lnTo>
                            <a:lnTo>
                              <a:pt x="148" y="294"/>
                            </a:lnTo>
                            <a:lnTo>
                              <a:pt x="142" y="294"/>
                            </a:lnTo>
                            <a:lnTo>
                              <a:pt x="136" y="294"/>
                            </a:lnTo>
                            <a:lnTo>
                              <a:pt x="136" y="294"/>
                            </a:lnTo>
                            <a:lnTo>
                              <a:pt x="132" y="294"/>
                            </a:lnTo>
                            <a:lnTo>
                              <a:pt x="128" y="292"/>
                            </a:lnTo>
                            <a:lnTo>
                              <a:pt x="122" y="292"/>
                            </a:lnTo>
                            <a:lnTo>
                              <a:pt x="118" y="294"/>
                            </a:lnTo>
                            <a:lnTo>
                              <a:pt x="118" y="294"/>
                            </a:lnTo>
                            <a:lnTo>
                              <a:pt x="116" y="298"/>
                            </a:lnTo>
                            <a:lnTo>
                              <a:pt x="112" y="300"/>
                            </a:lnTo>
                            <a:lnTo>
                              <a:pt x="108" y="300"/>
                            </a:lnTo>
                            <a:lnTo>
                              <a:pt x="104" y="300"/>
                            </a:lnTo>
                            <a:lnTo>
                              <a:pt x="104" y="300"/>
                            </a:lnTo>
                            <a:lnTo>
                              <a:pt x="100" y="302"/>
                            </a:lnTo>
                            <a:lnTo>
                              <a:pt x="98" y="300"/>
                            </a:lnTo>
                            <a:lnTo>
                              <a:pt x="94" y="300"/>
                            </a:lnTo>
                            <a:lnTo>
                              <a:pt x="86" y="304"/>
                            </a:lnTo>
                            <a:lnTo>
                              <a:pt x="86" y="304"/>
                            </a:lnTo>
                            <a:lnTo>
                              <a:pt x="80" y="306"/>
                            </a:lnTo>
                            <a:lnTo>
                              <a:pt x="74" y="306"/>
                            </a:lnTo>
                            <a:lnTo>
                              <a:pt x="68" y="304"/>
                            </a:lnTo>
                            <a:lnTo>
                              <a:pt x="64" y="302"/>
                            </a:lnTo>
                            <a:lnTo>
                              <a:pt x="56" y="296"/>
                            </a:lnTo>
                            <a:lnTo>
                              <a:pt x="54" y="294"/>
                            </a:lnTo>
                            <a:lnTo>
                              <a:pt x="50" y="294"/>
                            </a:lnTo>
                            <a:lnTo>
                              <a:pt x="50" y="294"/>
                            </a:lnTo>
                            <a:lnTo>
                              <a:pt x="48" y="296"/>
                            </a:lnTo>
                            <a:lnTo>
                              <a:pt x="50" y="300"/>
                            </a:lnTo>
                            <a:lnTo>
                              <a:pt x="52" y="304"/>
                            </a:lnTo>
                            <a:lnTo>
                              <a:pt x="52" y="304"/>
                            </a:lnTo>
                            <a:lnTo>
                              <a:pt x="46" y="300"/>
                            </a:lnTo>
                            <a:lnTo>
                              <a:pt x="44" y="298"/>
                            </a:lnTo>
                            <a:lnTo>
                              <a:pt x="42" y="296"/>
                            </a:lnTo>
                            <a:lnTo>
                              <a:pt x="42" y="294"/>
                            </a:lnTo>
                            <a:lnTo>
                              <a:pt x="42" y="288"/>
                            </a:lnTo>
                            <a:lnTo>
                              <a:pt x="42" y="284"/>
                            </a:lnTo>
                            <a:lnTo>
                              <a:pt x="38" y="282"/>
                            </a:lnTo>
                            <a:lnTo>
                              <a:pt x="38" y="282"/>
                            </a:lnTo>
                            <a:lnTo>
                              <a:pt x="36" y="278"/>
                            </a:lnTo>
                            <a:lnTo>
                              <a:pt x="36" y="274"/>
                            </a:lnTo>
                            <a:lnTo>
                              <a:pt x="36" y="270"/>
                            </a:lnTo>
                            <a:lnTo>
                              <a:pt x="32" y="264"/>
                            </a:lnTo>
                            <a:lnTo>
                              <a:pt x="32" y="264"/>
                            </a:lnTo>
                            <a:lnTo>
                              <a:pt x="38" y="260"/>
                            </a:lnTo>
                            <a:lnTo>
                              <a:pt x="40" y="256"/>
                            </a:lnTo>
                            <a:lnTo>
                              <a:pt x="38" y="250"/>
                            </a:lnTo>
                            <a:lnTo>
                              <a:pt x="38" y="250"/>
                            </a:lnTo>
                            <a:lnTo>
                              <a:pt x="38" y="244"/>
                            </a:lnTo>
                            <a:lnTo>
                              <a:pt x="40" y="236"/>
                            </a:lnTo>
                            <a:lnTo>
                              <a:pt x="40" y="234"/>
                            </a:lnTo>
                            <a:lnTo>
                              <a:pt x="38" y="230"/>
                            </a:lnTo>
                            <a:lnTo>
                              <a:pt x="36" y="226"/>
                            </a:lnTo>
                            <a:lnTo>
                              <a:pt x="30" y="222"/>
                            </a:lnTo>
                            <a:lnTo>
                              <a:pt x="30" y="222"/>
                            </a:lnTo>
                            <a:lnTo>
                              <a:pt x="24" y="216"/>
                            </a:lnTo>
                            <a:lnTo>
                              <a:pt x="20" y="206"/>
                            </a:lnTo>
                            <a:lnTo>
                              <a:pt x="16" y="198"/>
                            </a:lnTo>
                            <a:lnTo>
                              <a:pt x="14" y="186"/>
                            </a:lnTo>
                            <a:lnTo>
                              <a:pt x="12" y="170"/>
                            </a:lnTo>
                            <a:lnTo>
                              <a:pt x="10" y="162"/>
                            </a:lnTo>
                            <a:lnTo>
                              <a:pt x="10" y="160"/>
                            </a:lnTo>
                            <a:lnTo>
                              <a:pt x="10" y="160"/>
                            </a:lnTo>
                            <a:lnTo>
                              <a:pt x="0" y="152"/>
                            </a:lnTo>
                            <a:lnTo>
                              <a:pt x="0" y="152"/>
                            </a:lnTo>
                            <a:lnTo>
                              <a:pt x="12" y="144"/>
                            </a:lnTo>
                            <a:lnTo>
                              <a:pt x="18" y="142"/>
                            </a:lnTo>
                            <a:lnTo>
                              <a:pt x="24" y="140"/>
                            </a:lnTo>
                            <a:lnTo>
                              <a:pt x="24" y="140"/>
                            </a:lnTo>
                            <a:lnTo>
                              <a:pt x="28" y="142"/>
                            </a:lnTo>
                            <a:lnTo>
                              <a:pt x="28" y="144"/>
                            </a:lnTo>
                            <a:lnTo>
                              <a:pt x="30" y="150"/>
                            </a:lnTo>
                            <a:lnTo>
                              <a:pt x="34" y="156"/>
                            </a:lnTo>
                            <a:lnTo>
                              <a:pt x="38" y="158"/>
                            </a:lnTo>
                            <a:lnTo>
                              <a:pt x="42" y="158"/>
                            </a:lnTo>
                            <a:lnTo>
                              <a:pt x="42" y="158"/>
                            </a:lnTo>
                            <a:lnTo>
                              <a:pt x="50" y="158"/>
                            </a:lnTo>
                            <a:lnTo>
                              <a:pt x="56" y="156"/>
                            </a:lnTo>
                            <a:lnTo>
                              <a:pt x="60" y="154"/>
                            </a:lnTo>
                            <a:lnTo>
                              <a:pt x="64" y="152"/>
                            </a:lnTo>
                            <a:lnTo>
                              <a:pt x="68" y="148"/>
                            </a:lnTo>
                            <a:lnTo>
                              <a:pt x="72" y="146"/>
                            </a:lnTo>
                            <a:lnTo>
                              <a:pt x="76" y="146"/>
                            </a:lnTo>
                            <a:lnTo>
                              <a:pt x="80" y="68"/>
                            </a:lnTo>
                            <a:lnTo>
                              <a:pt x="80" y="68"/>
                            </a:lnTo>
                            <a:lnTo>
                              <a:pt x="90" y="72"/>
                            </a:lnTo>
                            <a:lnTo>
                              <a:pt x="96" y="76"/>
                            </a:lnTo>
                            <a:lnTo>
                              <a:pt x="100" y="80"/>
                            </a:lnTo>
                            <a:lnTo>
                              <a:pt x="104" y="86"/>
                            </a:lnTo>
                            <a:lnTo>
                              <a:pt x="106" y="94"/>
                            </a:lnTo>
                            <a:lnTo>
                              <a:pt x="106" y="100"/>
                            </a:lnTo>
                            <a:lnTo>
                              <a:pt x="106" y="100"/>
                            </a:lnTo>
                            <a:lnTo>
                              <a:pt x="102" y="110"/>
                            </a:lnTo>
                            <a:lnTo>
                              <a:pt x="102" y="112"/>
                            </a:lnTo>
                            <a:lnTo>
                              <a:pt x="108" y="112"/>
                            </a:lnTo>
                            <a:lnTo>
                              <a:pt x="108" y="112"/>
                            </a:lnTo>
                            <a:lnTo>
                              <a:pt x="114" y="112"/>
                            </a:lnTo>
                            <a:lnTo>
                              <a:pt x="118" y="112"/>
                            </a:lnTo>
                            <a:lnTo>
                              <a:pt x="122" y="112"/>
                            </a:lnTo>
                            <a:lnTo>
                              <a:pt x="122" y="110"/>
                            </a:lnTo>
                            <a:lnTo>
                              <a:pt x="122" y="110"/>
                            </a:lnTo>
                            <a:lnTo>
                              <a:pt x="126" y="106"/>
                            </a:lnTo>
                            <a:lnTo>
                              <a:pt x="128" y="108"/>
                            </a:lnTo>
                            <a:lnTo>
                              <a:pt x="128" y="108"/>
                            </a:lnTo>
                            <a:lnTo>
                              <a:pt x="130" y="106"/>
                            </a:lnTo>
                            <a:lnTo>
                              <a:pt x="130" y="106"/>
                            </a:lnTo>
                            <a:lnTo>
                              <a:pt x="134" y="100"/>
                            </a:lnTo>
                            <a:lnTo>
                              <a:pt x="138" y="96"/>
                            </a:lnTo>
                            <a:lnTo>
                              <a:pt x="142" y="94"/>
                            </a:lnTo>
                            <a:lnTo>
                              <a:pt x="142" y="94"/>
                            </a:lnTo>
                            <a:lnTo>
                              <a:pt x="142" y="92"/>
                            </a:lnTo>
                            <a:lnTo>
                              <a:pt x="142" y="92"/>
                            </a:lnTo>
                            <a:lnTo>
                              <a:pt x="140" y="90"/>
                            </a:lnTo>
                            <a:lnTo>
                              <a:pt x="142" y="86"/>
                            </a:lnTo>
                            <a:lnTo>
                              <a:pt x="146" y="82"/>
                            </a:lnTo>
                            <a:lnTo>
                              <a:pt x="154" y="78"/>
                            </a:lnTo>
                            <a:lnTo>
                              <a:pt x="164" y="78"/>
                            </a:lnTo>
                            <a:lnTo>
                              <a:pt x="164" y="78"/>
                            </a:lnTo>
                            <a:lnTo>
                              <a:pt x="168" y="78"/>
                            </a:lnTo>
                            <a:lnTo>
                              <a:pt x="168" y="80"/>
                            </a:lnTo>
                            <a:lnTo>
                              <a:pt x="168" y="82"/>
                            </a:lnTo>
                            <a:lnTo>
                              <a:pt x="174" y="84"/>
                            </a:lnTo>
                            <a:lnTo>
                              <a:pt x="174" y="84"/>
                            </a:lnTo>
                            <a:lnTo>
                              <a:pt x="180" y="86"/>
                            </a:lnTo>
                            <a:lnTo>
                              <a:pt x="184" y="86"/>
                            </a:lnTo>
                            <a:lnTo>
                              <a:pt x="192" y="82"/>
                            </a:lnTo>
                            <a:lnTo>
                              <a:pt x="198" y="80"/>
                            </a:lnTo>
                            <a:lnTo>
                              <a:pt x="206" y="78"/>
                            </a:lnTo>
                            <a:lnTo>
                              <a:pt x="206" y="78"/>
                            </a:lnTo>
                            <a:lnTo>
                              <a:pt x="212" y="62"/>
                            </a:lnTo>
                            <a:lnTo>
                              <a:pt x="218" y="56"/>
                            </a:lnTo>
                            <a:lnTo>
                              <a:pt x="224" y="52"/>
                            </a:lnTo>
                            <a:lnTo>
                              <a:pt x="230" y="46"/>
                            </a:lnTo>
                            <a:lnTo>
                              <a:pt x="230" y="46"/>
                            </a:lnTo>
                            <a:lnTo>
                              <a:pt x="238" y="32"/>
                            </a:lnTo>
                            <a:lnTo>
                              <a:pt x="242" y="26"/>
                            </a:lnTo>
                            <a:lnTo>
                              <a:pt x="246" y="24"/>
                            </a:lnTo>
                            <a:lnTo>
                              <a:pt x="246" y="24"/>
                            </a:lnTo>
                            <a:lnTo>
                              <a:pt x="256" y="18"/>
                            </a:lnTo>
                            <a:lnTo>
                              <a:pt x="260" y="14"/>
                            </a:lnTo>
                            <a:lnTo>
                              <a:pt x="262" y="10"/>
                            </a:lnTo>
                            <a:lnTo>
                              <a:pt x="268" y="8"/>
                            </a:lnTo>
                            <a:lnTo>
                              <a:pt x="268" y="8"/>
                            </a:lnTo>
                            <a:lnTo>
                              <a:pt x="274" y="8"/>
                            </a:lnTo>
                            <a:lnTo>
                              <a:pt x="276" y="6"/>
                            </a:lnTo>
                            <a:lnTo>
                              <a:pt x="278" y="4"/>
                            </a:lnTo>
                            <a:lnTo>
                              <a:pt x="282" y="2"/>
                            </a:lnTo>
                            <a:lnTo>
                              <a:pt x="282" y="2"/>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13" name="Group 12"/>
                    <p:cNvGrpSpPr/>
                    <p:nvPr/>
                  </p:nvGrpSpPr>
                  <p:grpSpPr>
                    <a:xfrm>
                      <a:off x="1489238" y="1171796"/>
                      <a:ext cx="9577684" cy="4410266"/>
                      <a:chOff x="1489238" y="1171796"/>
                      <a:chExt cx="9577684" cy="4410266"/>
                    </a:xfrm>
                    <a:grpFill/>
                  </p:grpSpPr>
                  <p:grpSp>
                    <p:nvGrpSpPr>
                      <p:cNvPr id="6" name="PURPLE"/>
                      <p:cNvGrpSpPr/>
                      <p:nvPr/>
                    </p:nvGrpSpPr>
                    <p:grpSpPr>
                      <a:xfrm>
                        <a:off x="1489238" y="1171796"/>
                        <a:ext cx="3058905" cy="1548978"/>
                        <a:chOff x="1489238" y="1171796"/>
                        <a:chExt cx="3058905" cy="1548978"/>
                      </a:xfrm>
                      <a:grpFill/>
                    </p:grpSpPr>
                    <p:grpSp>
                      <p:nvGrpSpPr>
                        <p:cNvPr id="3" name="Group 2"/>
                        <p:cNvGrpSpPr/>
                        <p:nvPr/>
                      </p:nvGrpSpPr>
                      <p:grpSpPr>
                        <a:xfrm>
                          <a:off x="1489238" y="1171796"/>
                          <a:ext cx="3058905" cy="1548978"/>
                          <a:chOff x="1489238" y="1171796"/>
                          <a:chExt cx="3058905" cy="1548978"/>
                        </a:xfrm>
                        <a:grpFill/>
                      </p:grpSpPr>
                      <p:sp>
                        <p:nvSpPr>
                          <p:cNvPr id="581" name="Canada"/>
                          <p:cNvSpPr>
                            <a:spLocks/>
                          </p:cNvSpPr>
                          <p:nvPr/>
                        </p:nvSpPr>
                        <p:spPr bwMode="auto">
                          <a:xfrm>
                            <a:off x="2239536" y="1327735"/>
                            <a:ext cx="2056483" cy="804231"/>
                          </a:xfrm>
                          <a:custGeom>
                            <a:avLst/>
                            <a:gdLst/>
                            <a:ahLst/>
                            <a:cxnLst/>
                            <a:rect l="l" t="t" r="r" b="b"/>
                            <a:pathLst>
                              <a:path w="1791229" h="701146">
                                <a:moveTo>
                                  <a:pt x="973667" y="518584"/>
                                </a:moveTo>
                                <a:lnTo>
                                  <a:pt x="973667" y="518584"/>
                                </a:lnTo>
                                <a:lnTo>
                                  <a:pt x="968375" y="521229"/>
                                </a:lnTo>
                                <a:close/>
                                <a:moveTo>
                                  <a:pt x="63500" y="457729"/>
                                </a:moveTo>
                                <a:lnTo>
                                  <a:pt x="68792" y="457729"/>
                                </a:lnTo>
                                <a:lnTo>
                                  <a:pt x="74084" y="460375"/>
                                </a:lnTo>
                                <a:lnTo>
                                  <a:pt x="76729" y="463021"/>
                                </a:lnTo>
                                <a:lnTo>
                                  <a:pt x="76729" y="465667"/>
                                </a:lnTo>
                                <a:lnTo>
                                  <a:pt x="79375" y="468312"/>
                                </a:lnTo>
                                <a:lnTo>
                                  <a:pt x="89959" y="468312"/>
                                </a:lnTo>
                                <a:lnTo>
                                  <a:pt x="92604" y="468312"/>
                                </a:lnTo>
                                <a:lnTo>
                                  <a:pt x="97896" y="470958"/>
                                </a:lnTo>
                                <a:lnTo>
                                  <a:pt x="103188" y="476250"/>
                                </a:lnTo>
                                <a:lnTo>
                                  <a:pt x="105834" y="476250"/>
                                </a:lnTo>
                                <a:lnTo>
                                  <a:pt x="111125" y="478896"/>
                                </a:lnTo>
                                <a:lnTo>
                                  <a:pt x="111125" y="484188"/>
                                </a:lnTo>
                                <a:lnTo>
                                  <a:pt x="113771" y="489479"/>
                                </a:lnTo>
                                <a:lnTo>
                                  <a:pt x="116417" y="492125"/>
                                </a:lnTo>
                                <a:lnTo>
                                  <a:pt x="113771" y="494771"/>
                                </a:lnTo>
                                <a:lnTo>
                                  <a:pt x="113771" y="497417"/>
                                </a:lnTo>
                                <a:lnTo>
                                  <a:pt x="116417" y="500063"/>
                                </a:lnTo>
                                <a:lnTo>
                                  <a:pt x="121709" y="502708"/>
                                </a:lnTo>
                                <a:lnTo>
                                  <a:pt x="124354" y="505354"/>
                                </a:lnTo>
                                <a:lnTo>
                                  <a:pt x="124354" y="508000"/>
                                </a:lnTo>
                                <a:lnTo>
                                  <a:pt x="129646" y="518584"/>
                                </a:lnTo>
                                <a:lnTo>
                                  <a:pt x="129646" y="523875"/>
                                </a:lnTo>
                                <a:lnTo>
                                  <a:pt x="129646" y="526521"/>
                                </a:lnTo>
                                <a:lnTo>
                                  <a:pt x="116417" y="526521"/>
                                </a:lnTo>
                                <a:lnTo>
                                  <a:pt x="108479" y="526521"/>
                                </a:lnTo>
                                <a:lnTo>
                                  <a:pt x="100542" y="523875"/>
                                </a:lnTo>
                                <a:lnTo>
                                  <a:pt x="89959" y="518584"/>
                                </a:lnTo>
                                <a:lnTo>
                                  <a:pt x="87313" y="515938"/>
                                </a:lnTo>
                                <a:lnTo>
                                  <a:pt x="87313" y="513292"/>
                                </a:lnTo>
                                <a:lnTo>
                                  <a:pt x="89959" y="510646"/>
                                </a:lnTo>
                                <a:lnTo>
                                  <a:pt x="84667" y="510646"/>
                                </a:lnTo>
                                <a:lnTo>
                                  <a:pt x="79375" y="510646"/>
                                </a:lnTo>
                                <a:lnTo>
                                  <a:pt x="74084" y="505354"/>
                                </a:lnTo>
                                <a:lnTo>
                                  <a:pt x="74084" y="500063"/>
                                </a:lnTo>
                                <a:lnTo>
                                  <a:pt x="71438" y="494771"/>
                                </a:lnTo>
                                <a:lnTo>
                                  <a:pt x="66146" y="492125"/>
                                </a:lnTo>
                                <a:lnTo>
                                  <a:pt x="63500" y="489479"/>
                                </a:lnTo>
                                <a:lnTo>
                                  <a:pt x="63500" y="486833"/>
                                </a:lnTo>
                                <a:lnTo>
                                  <a:pt x="60854" y="484188"/>
                                </a:lnTo>
                                <a:lnTo>
                                  <a:pt x="58209" y="481542"/>
                                </a:lnTo>
                                <a:lnTo>
                                  <a:pt x="58209" y="478896"/>
                                </a:lnTo>
                                <a:lnTo>
                                  <a:pt x="55563" y="478896"/>
                                </a:lnTo>
                                <a:lnTo>
                                  <a:pt x="52917" y="478896"/>
                                </a:lnTo>
                                <a:lnTo>
                                  <a:pt x="50271" y="478896"/>
                                </a:lnTo>
                                <a:lnTo>
                                  <a:pt x="50271" y="476250"/>
                                </a:lnTo>
                                <a:lnTo>
                                  <a:pt x="55563" y="473604"/>
                                </a:lnTo>
                                <a:lnTo>
                                  <a:pt x="55563" y="468312"/>
                                </a:lnTo>
                                <a:lnTo>
                                  <a:pt x="55563" y="465667"/>
                                </a:lnTo>
                                <a:lnTo>
                                  <a:pt x="52917" y="463021"/>
                                </a:lnTo>
                                <a:lnTo>
                                  <a:pt x="52917" y="460375"/>
                                </a:lnTo>
                                <a:close/>
                                <a:moveTo>
                                  <a:pt x="1270000" y="0"/>
                                </a:moveTo>
                                <a:lnTo>
                                  <a:pt x="1277938" y="2646"/>
                                </a:lnTo>
                                <a:lnTo>
                                  <a:pt x="1285875" y="7937"/>
                                </a:lnTo>
                                <a:lnTo>
                                  <a:pt x="1285875" y="10583"/>
                                </a:lnTo>
                                <a:lnTo>
                                  <a:pt x="1285875" y="13229"/>
                                </a:lnTo>
                                <a:lnTo>
                                  <a:pt x="1283229" y="15875"/>
                                </a:lnTo>
                                <a:lnTo>
                                  <a:pt x="1285875" y="18521"/>
                                </a:lnTo>
                                <a:lnTo>
                                  <a:pt x="1291167" y="23812"/>
                                </a:lnTo>
                                <a:lnTo>
                                  <a:pt x="1293813" y="26458"/>
                                </a:lnTo>
                                <a:lnTo>
                                  <a:pt x="1293813" y="29104"/>
                                </a:lnTo>
                                <a:lnTo>
                                  <a:pt x="1293813" y="31750"/>
                                </a:lnTo>
                                <a:lnTo>
                                  <a:pt x="1285875" y="31750"/>
                                </a:lnTo>
                                <a:lnTo>
                                  <a:pt x="1283229" y="31750"/>
                                </a:lnTo>
                                <a:lnTo>
                                  <a:pt x="1283229" y="29104"/>
                                </a:lnTo>
                                <a:lnTo>
                                  <a:pt x="1277938" y="29104"/>
                                </a:lnTo>
                                <a:lnTo>
                                  <a:pt x="1275292" y="31750"/>
                                </a:lnTo>
                                <a:lnTo>
                                  <a:pt x="1277938" y="34396"/>
                                </a:lnTo>
                                <a:lnTo>
                                  <a:pt x="1277938" y="37042"/>
                                </a:lnTo>
                                <a:lnTo>
                                  <a:pt x="1277938" y="39687"/>
                                </a:lnTo>
                                <a:lnTo>
                                  <a:pt x="1275292" y="42333"/>
                                </a:lnTo>
                                <a:lnTo>
                                  <a:pt x="1270000" y="44979"/>
                                </a:lnTo>
                                <a:lnTo>
                                  <a:pt x="1277938" y="44979"/>
                                </a:lnTo>
                                <a:lnTo>
                                  <a:pt x="1285875" y="47625"/>
                                </a:lnTo>
                                <a:lnTo>
                                  <a:pt x="1285875" y="50271"/>
                                </a:lnTo>
                                <a:lnTo>
                                  <a:pt x="1285875" y="52917"/>
                                </a:lnTo>
                                <a:lnTo>
                                  <a:pt x="1277938" y="60854"/>
                                </a:lnTo>
                                <a:lnTo>
                                  <a:pt x="1293813" y="60854"/>
                                </a:lnTo>
                                <a:lnTo>
                                  <a:pt x="1299104" y="58208"/>
                                </a:lnTo>
                                <a:lnTo>
                                  <a:pt x="1307042" y="52917"/>
                                </a:lnTo>
                                <a:lnTo>
                                  <a:pt x="1312333" y="50271"/>
                                </a:lnTo>
                                <a:lnTo>
                                  <a:pt x="1314979" y="50271"/>
                                </a:lnTo>
                                <a:lnTo>
                                  <a:pt x="1322917" y="52917"/>
                                </a:lnTo>
                                <a:lnTo>
                                  <a:pt x="1325563" y="55562"/>
                                </a:lnTo>
                                <a:lnTo>
                                  <a:pt x="1328208" y="58208"/>
                                </a:lnTo>
                                <a:lnTo>
                                  <a:pt x="1328208" y="63500"/>
                                </a:lnTo>
                                <a:lnTo>
                                  <a:pt x="1322917" y="66146"/>
                                </a:lnTo>
                                <a:lnTo>
                                  <a:pt x="1317625" y="71437"/>
                                </a:lnTo>
                                <a:lnTo>
                                  <a:pt x="1317625" y="76729"/>
                                </a:lnTo>
                                <a:lnTo>
                                  <a:pt x="1320271" y="82021"/>
                                </a:lnTo>
                                <a:lnTo>
                                  <a:pt x="1320271" y="87312"/>
                                </a:lnTo>
                                <a:lnTo>
                                  <a:pt x="1338792" y="76729"/>
                                </a:lnTo>
                                <a:lnTo>
                                  <a:pt x="1352021" y="71437"/>
                                </a:lnTo>
                                <a:lnTo>
                                  <a:pt x="1362604" y="68792"/>
                                </a:lnTo>
                                <a:lnTo>
                                  <a:pt x="1370542" y="63500"/>
                                </a:lnTo>
                                <a:lnTo>
                                  <a:pt x="1381125" y="58208"/>
                                </a:lnTo>
                                <a:lnTo>
                                  <a:pt x="1391708" y="55562"/>
                                </a:lnTo>
                                <a:lnTo>
                                  <a:pt x="1386417" y="52917"/>
                                </a:lnTo>
                                <a:lnTo>
                                  <a:pt x="1383771" y="50271"/>
                                </a:lnTo>
                                <a:lnTo>
                                  <a:pt x="1386417" y="47625"/>
                                </a:lnTo>
                                <a:lnTo>
                                  <a:pt x="1389063" y="44979"/>
                                </a:lnTo>
                                <a:lnTo>
                                  <a:pt x="1399646" y="39687"/>
                                </a:lnTo>
                                <a:lnTo>
                                  <a:pt x="1407583" y="39687"/>
                                </a:lnTo>
                                <a:lnTo>
                                  <a:pt x="1412875" y="39687"/>
                                </a:lnTo>
                                <a:lnTo>
                                  <a:pt x="1423458" y="42333"/>
                                </a:lnTo>
                                <a:lnTo>
                                  <a:pt x="1434042" y="44979"/>
                                </a:lnTo>
                                <a:lnTo>
                                  <a:pt x="1441979" y="44979"/>
                                </a:lnTo>
                                <a:lnTo>
                                  <a:pt x="1447271" y="47625"/>
                                </a:lnTo>
                                <a:lnTo>
                                  <a:pt x="1463146" y="55562"/>
                                </a:lnTo>
                                <a:lnTo>
                                  <a:pt x="1465792" y="58208"/>
                                </a:lnTo>
                                <a:lnTo>
                                  <a:pt x="1463146" y="60854"/>
                                </a:lnTo>
                                <a:lnTo>
                                  <a:pt x="1457854" y="60854"/>
                                </a:lnTo>
                                <a:lnTo>
                                  <a:pt x="1457854" y="63500"/>
                                </a:lnTo>
                                <a:lnTo>
                                  <a:pt x="1455208" y="66146"/>
                                </a:lnTo>
                                <a:lnTo>
                                  <a:pt x="1447271" y="66146"/>
                                </a:lnTo>
                                <a:lnTo>
                                  <a:pt x="1441979" y="66146"/>
                                </a:lnTo>
                                <a:lnTo>
                                  <a:pt x="1441979" y="68792"/>
                                </a:lnTo>
                                <a:lnTo>
                                  <a:pt x="1441979" y="71437"/>
                                </a:lnTo>
                                <a:lnTo>
                                  <a:pt x="1441979" y="74083"/>
                                </a:lnTo>
                                <a:lnTo>
                                  <a:pt x="1439333" y="76729"/>
                                </a:lnTo>
                                <a:lnTo>
                                  <a:pt x="1439333" y="79375"/>
                                </a:lnTo>
                                <a:lnTo>
                                  <a:pt x="1441979" y="82021"/>
                                </a:lnTo>
                                <a:lnTo>
                                  <a:pt x="1441979" y="84667"/>
                                </a:lnTo>
                                <a:lnTo>
                                  <a:pt x="1441979" y="87312"/>
                                </a:lnTo>
                                <a:lnTo>
                                  <a:pt x="1431396" y="95250"/>
                                </a:lnTo>
                                <a:lnTo>
                                  <a:pt x="1418167" y="97896"/>
                                </a:lnTo>
                                <a:lnTo>
                                  <a:pt x="1410229" y="97896"/>
                                </a:lnTo>
                                <a:lnTo>
                                  <a:pt x="1404938" y="97896"/>
                                </a:lnTo>
                                <a:lnTo>
                                  <a:pt x="1394354" y="100542"/>
                                </a:lnTo>
                                <a:lnTo>
                                  <a:pt x="1386417" y="103187"/>
                                </a:lnTo>
                                <a:lnTo>
                                  <a:pt x="1381125" y="103187"/>
                                </a:lnTo>
                                <a:lnTo>
                                  <a:pt x="1375833" y="103187"/>
                                </a:lnTo>
                                <a:lnTo>
                                  <a:pt x="1370542" y="103187"/>
                                </a:lnTo>
                                <a:lnTo>
                                  <a:pt x="1365250" y="105833"/>
                                </a:lnTo>
                                <a:lnTo>
                                  <a:pt x="1362604" y="103187"/>
                                </a:lnTo>
                                <a:lnTo>
                                  <a:pt x="1357313" y="97896"/>
                                </a:lnTo>
                                <a:lnTo>
                                  <a:pt x="1349375" y="95250"/>
                                </a:lnTo>
                                <a:lnTo>
                                  <a:pt x="1344083" y="92604"/>
                                </a:lnTo>
                                <a:lnTo>
                                  <a:pt x="1342760" y="93266"/>
                                </a:lnTo>
                                <a:lnTo>
                                  <a:pt x="1341438" y="92604"/>
                                </a:lnTo>
                                <a:lnTo>
                                  <a:pt x="1338792" y="92604"/>
                                </a:lnTo>
                                <a:lnTo>
                                  <a:pt x="1338792" y="95250"/>
                                </a:lnTo>
                                <a:lnTo>
                                  <a:pt x="1342760" y="93266"/>
                                </a:lnTo>
                                <a:lnTo>
                                  <a:pt x="1346729" y="95250"/>
                                </a:lnTo>
                                <a:lnTo>
                                  <a:pt x="1354667" y="100542"/>
                                </a:lnTo>
                                <a:lnTo>
                                  <a:pt x="1357313" y="105833"/>
                                </a:lnTo>
                                <a:lnTo>
                                  <a:pt x="1357313" y="108479"/>
                                </a:lnTo>
                                <a:lnTo>
                                  <a:pt x="1352021" y="108479"/>
                                </a:lnTo>
                                <a:lnTo>
                                  <a:pt x="1344083" y="108479"/>
                                </a:lnTo>
                                <a:lnTo>
                                  <a:pt x="1336146" y="108479"/>
                                </a:lnTo>
                                <a:lnTo>
                                  <a:pt x="1333500" y="108479"/>
                                </a:lnTo>
                                <a:lnTo>
                                  <a:pt x="1330854" y="103187"/>
                                </a:lnTo>
                                <a:lnTo>
                                  <a:pt x="1330854" y="100542"/>
                                </a:lnTo>
                                <a:lnTo>
                                  <a:pt x="1325563" y="100542"/>
                                </a:lnTo>
                                <a:lnTo>
                                  <a:pt x="1320271" y="100542"/>
                                </a:lnTo>
                                <a:lnTo>
                                  <a:pt x="1309688" y="103187"/>
                                </a:lnTo>
                                <a:lnTo>
                                  <a:pt x="1304396" y="105833"/>
                                </a:lnTo>
                                <a:lnTo>
                                  <a:pt x="1304396" y="108479"/>
                                </a:lnTo>
                                <a:lnTo>
                                  <a:pt x="1312333" y="111125"/>
                                </a:lnTo>
                                <a:lnTo>
                                  <a:pt x="1314979" y="111125"/>
                                </a:lnTo>
                                <a:lnTo>
                                  <a:pt x="1314979" y="113771"/>
                                </a:lnTo>
                                <a:lnTo>
                                  <a:pt x="1309688" y="116417"/>
                                </a:lnTo>
                                <a:lnTo>
                                  <a:pt x="1293813" y="121708"/>
                                </a:lnTo>
                                <a:lnTo>
                                  <a:pt x="1270000" y="127000"/>
                                </a:lnTo>
                                <a:lnTo>
                                  <a:pt x="1264708" y="129646"/>
                                </a:lnTo>
                                <a:lnTo>
                                  <a:pt x="1251479" y="127000"/>
                                </a:lnTo>
                                <a:lnTo>
                                  <a:pt x="1246188" y="127000"/>
                                </a:lnTo>
                                <a:lnTo>
                                  <a:pt x="1240896" y="124354"/>
                                </a:lnTo>
                                <a:lnTo>
                                  <a:pt x="1238250" y="119062"/>
                                </a:lnTo>
                                <a:lnTo>
                                  <a:pt x="1235604" y="116417"/>
                                </a:lnTo>
                                <a:lnTo>
                                  <a:pt x="1232958" y="113771"/>
                                </a:lnTo>
                                <a:lnTo>
                                  <a:pt x="1217083" y="113771"/>
                                </a:lnTo>
                                <a:lnTo>
                                  <a:pt x="1227667" y="116417"/>
                                </a:lnTo>
                                <a:lnTo>
                                  <a:pt x="1232958" y="121708"/>
                                </a:lnTo>
                                <a:lnTo>
                                  <a:pt x="1238250" y="127000"/>
                                </a:lnTo>
                                <a:lnTo>
                                  <a:pt x="1246188" y="129646"/>
                                </a:lnTo>
                                <a:lnTo>
                                  <a:pt x="1259417" y="132292"/>
                                </a:lnTo>
                                <a:lnTo>
                                  <a:pt x="1267354" y="132292"/>
                                </a:lnTo>
                                <a:lnTo>
                                  <a:pt x="1270000" y="132292"/>
                                </a:lnTo>
                                <a:lnTo>
                                  <a:pt x="1262063" y="137583"/>
                                </a:lnTo>
                                <a:lnTo>
                                  <a:pt x="1240896" y="148167"/>
                                </a:lnTo>
                                <a:lnTo>
                                  <a:pt x="1232958" y="153458"/>
                                </a:lnTo>
                                <a:lnTo>
                                  <a:pt x="1222375" y="153458"/>
                                </a:lnTo>
                                <a:lnTo>
                                  <a:pt x="1206500" y="153458"/>
                                </a:lnTo>
                                <a:lnTo>
                                  <a:pt x="1198563" y="153458"/>
                                </a:lnTo>
                                <a:lnTo>
                                  <a:pt x="1193271" y="148167"/>
                                </a:lnTo>
                                <a:lnTo>
                                  <a:pt x="1190625" y="153458"/>
                                </a:lnTo>
                                <a:lnTo>
                                  <a:pt x="1187979" y="156104"/>
                                </a:lnTo>
                                <a:lnTo>
                                  <a:pt x="1177396" y="158750"/>
                                </a:lnTo>
                                <a:lnTo>
                                  <a:pt x="1169458" y="158750"/>
                                </a:lnTo>
                                <a:lnTo>
                                  <a:pt x="1158875" y="156104"/>
                                </a:lnTo>
                                <a:lnTo>
                                  <a:pt x="1145646" y="153458"/>
                                </a:lnTo>
                                <a:lnTo>
                                  <a:pt x="1116542" y="153458"/>
                                </a:lnTo>
                                <a:lnTo>
                                  <a:pt x="1135063" y="156104"/>
                                </a:lnTo>
                                <a:lnTo>
                                  <a:pt x="1135063" y="158750"/>
                                </a:lnTo>
                                <a:lnTo>
                                  <a:pt x="1129771" y="161396"/>
                                </a:lnTo>
                                <a:lnTo>
                                  <a:pt x="1143000" y="158750"/>
                                </a:lnTo>
                                <a:lnTo>
                                  <a:pt x="1153583" y="158750"/>
                                </a:lnTo>
                                <a:lnTo>
                                  <a:pt x="1158875" y="158750"/>
                                </a:lnTo>
                                <a:lnTo>
                                  <a:pt x="1161521" y="164042"/>
                                </a:lnTo>
                                <a:lnTo>
                                  <a:pt x="1164167" y="169333"/>
                                </a:lnTo>
                                <a:lnTo>
                                  <a:pt x="1161521" y="171979"/>
                                </a:lnTo>
                                <a:lnTo>
                                  <a:pt x="1153583" y="171979"/>
                                </a:lnTo>
                                <a:lnTo>
                                  <a:pt x="1140354" y="171979"/>
                                </a:lnTo>
                                <a:lnTo>
                                  <a:pt x="1124479" y="171979"/>
                                </a:lnTo>
                                <a:lnTo>
                                  <a:pt x="1124479" y="174625"/>
                                </a:lnTo>
                                <a:lnTo>
                                  <a:pt x="1129771" y="177271"/>
                                </a:lnTo>
                                <a:lnTo>
                                  <a:pt x="1127125" y="179917"/>
                                </a:lnTo>
                                <a:lnTo>
                                  <a:pt x="1111250" y="182562"/>
                                </a:lnTo>
                                <a:lnTo>
                                  <a:pt x="1105958" y="185208"/>
                                </a:lnTo>
                                <a:lnTo>
                                  <a:pt x="1100667" y="190500"/>
                                </a:lnTo>
                                <a:lnTo>
                                  <a:pt x="1095375" y="190500"/>
                                </a:lnTo>
                                <a:lnTo>
                                  <a:pt x="1087438" y="193146"/>
                                </a:lnTo>
                                <a:lnTo>
                                  <a:pt x="1074208" y="198437"/>
                                </a:lnTo>
                                <a:lnTo>
                                  <a:pt x="1066271" y="203729"/>
                                </a:lnTo>
                                <a:lnTo>
                                  <a:pt x="1058333" y="206375"/>
                                </a:lnTo>
                                <a:lnTo>
                                  <a:pt x="1053042" y="206375"/>
                                </a:lnTo>
                                <a:lnTo>
                                  <a:pt x="1053042" y="209021"/>
                                </a:lnTo>
                                <a:lnTo>
                                  <a:pt x="1047750" y="214312"/>
                                </a:lnTo>
                                <a:lnTo>
                                  <a:pt x="1031875" y="219604"/>
                                </a:lnTo>
                                <a:lnTo>
                                  <a:pt x="1026583" y="222250"/>
                                </a:lnTo>
                                <a:lnTo>
                                  <a:pt x="1026583" y="224896"/>
                                </a:lnTo>
                                <a:lnTo>
                                  <a:pt x="1026583" y="227542"/>
                                </a:lnTo>
                                <a:lnTo>
                                  <a:pt x="1018646" y="227542"/>
                                </a:lnTo>
                                <a:lnTo>
                                  <a:pt x="1013354" y="230187"/>
                                </a:lnTo>
                                <a:lnTo>
                                  <a:pt x="1013354" y="232833"/>
                                </a:lnTo>
                                <a:lnTo>
                                  <a:pt x="1008062" y="238125"/>
                                </a:lnTo>
                                <a:lnTo>
                                  <a:pt x="1000125" y="243417"/>
                                </a:lnTo>
                                <a:lnTo>
                                  <a:pt x="997479" y="251354"/>
                                </a:lnTo>
                                <a:lnTo>
                                  <a:pt x="992187" y="256646"/>
                                </a:lnTo>
                                <a:lnTo>
                                  <a:pt x="984250" y="264583"/>
                                </a:lnTo>
                                <a:lnTo>
                                  <a:pt x="992187" y="264583"/>
                                </a:lnTo>
                                <a:lnTo>
                                  <a:pt x="992187" y="272521"/>
                                </a:lnTo>
                                <a:lnTo>
                                  <a:pt x="994833" y="269875"/>
                                </a:lnTo>
                                <a:lnTo>
                                  <a:pt x="1000125" y="269875"/>
                                </a:lnTo>
                                <a:lnTo>
                                  <a:pt x="1010708" y="267229"/>
                                </a:lnTo>
                                <a:lnTo>
                                  <a:pt x="1016000" y="269875"/>
                                </a:lnTo>
                                <a:lnTo>
                                  <a:pt x="1018646" y="272521"/>
                                </a:lnTo>
                                <a:lnTo>
                                  <a:pt x="1018646" y="277812"/>
                                </a:lnTo>
                                <a:lnTo>
                                  <a:pt x="1018646" y="280458"/>
                                </a:lnTo>
                                <a:lnTo>
                                  <a:pt x="1018646" y="285750"/>
                                </a:lnTo>
                                <a:lnTo>
                                  <a:pt x="1021292" y="291042"/>
                                </a:lnTo>
                                <a:lnTo>
                                  <a:pt x="1021292" y="296333"/>
                                </a:lnTo>
                                <a:lnTo>
                                  <a:pt x="1021292" y="298979"/>
                                </a:lnTo>
                                <a:lnTo>
                                  <a:pt x="1010708" y="304271"/>
                                </a:lnTo>
                                <a:lnTo>
                                  <a:pt x="1005417" y="304271"/>
                                </a:lnTo>
                                <a:lnTo>
                                  <a:pt x="1002771" y="304271"/>
                                </a:lnTo>
                                <a:lnTo>
                                  <a:pt x="994833" y="309562"/>
                                </a:lnTo>
                                <a:lnTo>
                                  <a:pt x="1000125" y="306917"/>
                                </a:lnTo>
                                <a:lnTo>
                                  <a:pt x="1010708" y="306917"/>
                                </a:lnTo>
                                <a:lnTo>
                                  <a:pt x="1021292" y="304271"/>
                                </a:lnTo>
                                <a:lnTo>
                                  <a:pt x="1034521" y="301625"/>
                                </a:lnTo>
                                <a:lnTo>
                                  <a:pt x="1045104" y="298979"/>
                                </a:lnTo>
                                <a:lnTo>
                                  <a:pt x="1050396" y="301625"/>
                                </a:lnTo>
                                <a:lnTo>
                                  <a:pt x="1053042" y="304271"/>
                                </a:lnTo>
                                <a:lnTo>
                                  <a:pt x="1055688" y="309562"/>
                                </a:lnTo>
                                <a:lnTo>
                                  <a:pt x="1060979" y="312208"/>
                                </a:lnTo>
                                <a:lnTo>
                                  <a:pt x="1074208" y="314854"/>
                                </a:lnTo>
                                <a:lnTo>
                                  <a:pt x="1087438" y="317500"/>
                                </a:lnTo>
                                <a:lnTo>
                                  <a:pt x="1092729" y="320146"/>
                                </a:lnTo>
                                <a:lnTo>
                                  <a:pt x="1095375" y="322792"/>
                                </a:lnTo>
                                <a:lnTo>
                                  <a:pt x="1098021" y="328083"/>
                                </a:lnTo>
                                <a:lnTo>
                                  <a:pt x="1100667" y="328083"/>
                                </a:lnTo>
                                <a:lnTo>
                                  <a:pt x="1103313" y="328083"/>
                                </a:lnTo>
                                <a:lnTo>
                                  <a:pt x="1108604" y="330729"/>
                                </a:lnTo>
                                <a:lnTo>
                                  <a:pt x="1119188" y="336021"/>
                                </a:lnTo>
                                <a:lnTo>
                                  <a:pt x="1127125" y="336021"/>
                                </a:lnTo>
                                <a:lnTo>
                                  <a:pt x="1132417" y="338667"/>
                                </a:lnTo>
                                <a:lnTo>
                                  <a:pt x="1132417" y="343958"/>
                                </a:lnTo>
                                <a:lnTo>
                                  <a:pt x="1132417" y="346604"/>
                                </a:lnTo>
                                <a:lnTo>
                                  <a:pt x="1137708" y="346604"/>
                                </a:lnTo>
                                <a:lnTo>
                                  <a:pt x="1150938" y="346604"/>
                                </a:lnTo>
                                <a:lnTo>
                                  <a:pt x="1164167" y="346604"/>
                                </a:lnTo>
                                <a:lnTo>
                                  <a:pt x="1174750" y="349250"/>
                                </a:lnTo>
                                <a:lnTo>
                                  <a:pt x="1180042" y="351896"/>
                                </a:lnTo>
                                <a:lnTo>
                                  <a:pt x="1187979" y="351896"/>
                                </a:lnTo>
                                <a:lnTo>
                                  <a:pt x="1190625" y="351896"/>
                                </a:lnTo>
                                <a:lnTo>
                                  <a:pt x="1187979" y="357188"/>
                                </a:lnTo>
                                <a:lnTo>
                                  <a:pt x="1180042" y="362479"/>
                                </a:lnTo>
                                <a:lnTo>
                                  <a:pt x="1180042" y="365125"/>
                                </a:lnTo>
                                <a:lnTo>
                                  <a:pt x="1182688" y="367771"/>
                                </a:lnTo>
                                <a:lnTo>
                                  <a:pt x="1182688" y="373063"/>
                                </a:lnTo>
                                <a:lnTo>
                                  <a:pt x="1177396" y="375708"/>
                                </a:lnTo>
                                <a:lnTo>
                                  <a:pt x="1174750" y="375708"/>
                                </a:lnTo>
                                <a:lnTo>
                                  <a:pt x="1172104" y="375708"/>
                                </a:lnTo>
                                <a:lnTo>
                                  <a:pt x="1166813" y="378354"/>
                                </a:lnTo>
                                <a:lnTo>
                                  <a:pt x="1164167" y="378354"/>
                                </a:lnTo>
                                <a:lnTo>
                                  <a:pt x="1153583" y="375708"/>
                                </a:lnTo>
                                <a:lnTo>
                                  <a:pt x="1156229" y="378354"/>
                                </a:lnTo>
                                <a:lnTo>
                                  <a:pt x="1158875" y="378354"/>
                                </a:lnTo>
                                <a:lnTo>
                                  <a:pt x="1166813" y="381000"/>
                                </a:lnTo>
                                <a:lnTo>
                                  <a:pt x="1172104" y="383646"/>
                                </a:lnTo>
                                <a:lnTo>
                                  <a:pt x="1174750" y="383646"/>
                                </a:lnTo>
                                <a:lnTo>
                                  <a:pt x="1174750" y="388938"/>
                                </a:lnTo>
                                <a:lnTo>
                                  <a:pt x="1174750" y="394229"/>
                                </a:lnTo>
                                <a:lnTo>
                                  <a:pt x="1174750" y="396875"/>
                                </a:lnTo>
                                <a:lnTo>
                                  <a:pt x="1161521" y="396875"/>
                                </a:lnTo>
                                <a:lnTo>
                                  <a:pt x="1169458" y="399521"/>
                                </a:lnTo>
                                <a:lnTo>
                                  <a:pt x="1174750" y="404813"/>
                                </a:lnTo>
                                <a:lnTo>
                                  <a:pt x="1177396" y="407458"/>
                                </a:lnTo>
                                <a:lnTo>
                                  <a:pt x="1177396" y="412750"/>
                                </a:lnTo>
                                <a:lnTo>
                                  <a:pt x="1177396" y="420688"/>
                                </a:lnTo>
                                <a:lnTo>
                                  <a:pt x="1177396" y="425979"/>
                                </a:lnTo>
                                <a:lnTo>
                                  <a:pt x="1180042" y="428625"/>
                                </a:lnTo>
                                <a:lnTo>
                                  <a:pt x="1182688" y="431271"/>
                                </a:lnTo>
                                <a:lnTo>
                                  <a:pt x="1177396" y="431271"/>
                                </a:lnTo>
                                <a:lnTo>
                                  <a:pt x="1172104" y="436563"/>
                                </a:lnTo>
                                <a:lnTo>
                                  <a:pt x="1166813" y="439208"/>
                                </a:lnTo>
                                <a:lnTo>
                                  <a:pt x="1164167" y="444500"/>
                                </a:lnTo>
                                <a:lnTo>
                                  <a:pt x="1172104" y="436563"/>
                                </a:lnTo>
                                <a:lnTo>
                                  <a:pt x="1185333" y="431271"/>
                                </a:lnTo>
                                <a:lnTo>
                                  <a:pt x="1187979" y="431271"/>
                                </a:lnTo>
                                <a:lnTo>
                                  <a:pt x="1190625" y="431271"/>
                                </a:lnTo>
                                <a:lnTo>
                                  <a:pt x="1190625" y="439208"/>
                                </a:lnTo>
                                <a:lnTo>
                                  <a:pt x="1190625" y="447146"/>
                                </a:lnTo>
                                <a:lnTo>
                                  <a:pt x="1190625" y="449792"/>
                                </a:lnTo>
                                <a:lnTo>
                                  <a:pt x="1195917" y="447146"/>
                                </a:lnTo>
                                <a:lnTo>
                                  <a:pt x="1198563" y="449792"/>
                                </a:lnTo>
                                <a:lnTo>
                                  <a:pt x="1201208" y="449792"/>
                                </a:lnTo>
                                <a:lnTo>
                                  <a:pt x="1201208" y="447146"/>
                                </a:lnTo>
                                <a:lnTo>
                                  <a:pt x="1201208" y="444500"/>
                                </a:lnTo>
                                <a:lnTo>
                                  <a:pt x="1206500" y="441854"/>
                                </a:lnTo>
                                <a:lnTo>
                                  <a:pt x="1219729" y="439208"/>
                                </a:lnTo>
                                <a:lnTo>
                                  <a:pt x="1222375" y="439208"/>
                                </a:lnTo>
                                <a:lnTo>
                                  <a:pt x="1225021" y="441854"/>
                                </a:lnTo>
                                <a:lnTo>
                                  <a:pt x="1227667" y="449792"/>
                                </a:lnTo>
                                <a:lnTo>
                                  <a:pt x="1230313" y="452438"/>
                                </a:lnTo>
                                <a:lnTo>
                                  <a:pt x="1235604" y="455083"/>
                                </a:lnTo>
                                <a:lnTo>
                                  <a:pt x="1230313" y="449792"/>
                                </a:lnTo>
                                <a:lnTo>
                                  <a:pt x="1230313" y="447146"/>
                                </a:lnTo>
                                <a:lnTo>
                                  <a:pt x="1232958" y="447146"/>
                                </a:lnTo>
                                <a:lnTo>
                                  <a:pt x="1240896" y="447146"/>
                                </a:lnTo>
                                <a:lnTo>
                                  <a:pt x="1232958" y="441854"/>
                                </a:lnTo>
                                <a:lnTo>
                                  <a:pt x="1230313" y="439208"/>
                                </a:lnTo>
                                <a:lnTo>
                                  <a:pt x="1230313" y="433917"/>
                                </a:lnTo>
                                <a:lnTo>
                                  <a:pt x="1232958" y="431271"/>
                                </a:lnTo>
                                <a:lnTo>
                                  <a:pt x="1235604" y="431271"/>
                                </a:lnTo>
                                <a:lnTo>
                                  <a:pt x="1246188" y="428625"/>
                                </a:lnTo>
                                <a:lnTo>
                                  <a:pt x="1248833" y="425979"/>
                                </a:lnTo>
                                <a:lnTo>
                                  <a:pt x="1254125" y="423333"/>
                                </a:lnTo>
                                <a:lnTo>
                                  <a:pt x="1256771" y="418042"/>
                                </a:lnTo>
                                <a:lnTo>
                                  <a:pt x="1256771" y="412750"/>
                                </a:lnTo>
                                <a:lnTo>
                                  <a:pt x="1256771" y="404813"/>
                                </a:lnTo>
                                <a:lnTo>
                                  <a:pt x="1259417" y="402167"/>
                                </a:lnTo>
                                <a:lnTo>
                                  <a:pt x="1262063" y="396875"/>
                                </a:lnTo>
                                <a:lnTo>
                                  <a:pt x="1259417" y="381000"/>
                                </a:lnTo>
                                <a:lnTo>
                                  <a:pt x="1259417" y="375708"/>
                                </a:lnTo>
                                <a:lnTo>
                                  <a:pt x="1256771" y="375708"/>
                                </a:lnTo>
                                <a:lnTo>
                                  <a:pt x="1254125" y="373063"/>
                                </a:lnTo>
                                <a:lnTo>
                                  <a:pt x="1251479" y="370417"/>
                                </a:lnTo>
                                <a:lnTo>
                                  <a:pt x="1248833" y="367771"/>
                                </a:lnTo>
                                <a:lnTo>
                                  <a:pt x="1246188" y="367771"/>
                                </a:lnTo>
                                <a:lnTo>
                                  <a:pt x="1248833" y="362479"/>
                                </a:lnTo>
                                <a:lnTo>
                                  <a:pt x="1259417" y="362479"/>
                                </a:lnTo>
                                <a:lnTo>
                                  <a:pt x="1285875" y="357188"/>
                                </a:lnTo>
                                <a:lnTo>
                                  <a:pt x="1299104" y="354542"/>
                                </a:lnTo>
                                <a:lnTo>
                                  <a:pt x="1314979" y="346604"/>
                                </a:lnTo>
                                <a:lnTo>
                                  <a:pt x="1330854" y="338667"/>
                                </a:lnTo>
                                <a:lnTo>
                                  <a:pt x="1346729" y="325438"/>
                                </a:lnTo>
                                <a:lnTo>
                                  <a:pt x="1359958" y="309562"/>
                                </a:lnTo>
                                <a:lnTo>
                                  <a:pt x="1365250" y="296333"/>
                                </a:lnTo>
                                <a:lnTo>
                                  <a:pt x="1365250" y="288396"/>
                                </a:lnTo>
                                <a:lnTo>
                                  <a:pt x="1359958" y="280458"/>
                                </a:lnTo>
                                <a:lnTo>
                                  <a:pt x="1349375" y="272521"/>
                                </a:lnTo>
                                <a:lnTo>
                                  <a:pt x="1346729" y="269875"/>
                                </a:lnTo>
                                <a:lnTo>
                                  <a:pt x="1346729" y="267229"/>
                                </a:lnTo>
                                <a:lnTo>
                                  <a:pt x="1349375" y="264583"/>
                                </a:lnTo>
                                <a:lnTo>
                                  <a:pt x="1349375" y="259292"/>
                                </a:lnTo>
                                <a:lnTo>
                                  <a:pt x="1352021" y="256646"/>
                                </a:lnTo>
                                <a:lnTo>
                                  <a:pt x="1367896" y="251354"/>
                                </a:lnTo>
                                <a:lnTo>
                                  <a:pt x="1375833" y="248708"/>
                                </a:lnTo>
                                <a:lnTo>
                                  <a:pt x="1375833" y="246062"/>
                                </a:lnTo>
                                <a:lnTo>
                                  <a:pt x="1381125" y="243417"/>
                                </a:lnTo>
                                <a:lnTo>
                                  <a:pt x="1386417" y="240771"/>
                                </a:lnTo>
                                <a:lnTo>
                                  <a:pt x="1386417" y="238125"/>
                                </a:lnTo>
                                <a:lnTo>
                                  <a:pt x="1383771" y="238125"/>
                                </a:lnTo>
                                <a:lnTo>
                                  <a:pt x="1383771" y="235479"/>
                                </a:lnTo>
                                <a:lnTo>
                                  <a:pt x="1386417" y="232833"/>
                                </a:lnTo>
                                <a:lnTo>
                                  <a:pt x="1391708" y="230187"/>
                                </a:lnTo>
                                <a:lnTo>
                                  <a:pt x="1399646" y="222250"/>
                                </a:lnTo>
                                <a:lnTo>
                                  <a:pt x="1397000" y="219604"/>
                                </a:lnTo>
                                <a:lnTo>
                                  <a:pt x="1394354" y="219604"/>
                                </a:lnTo>
                                <a:lnTo>
                                  <a:pt x="1394354" y="216958"/>
                                </a:lnTo>
                                <a:lnTo>
                                  <a:pt x="1397000" y="216958"/>
                                </a:lnTo>
                                <a:lnTo>
                                  <a:pt x="1402292" y="211667"/>
                                </a:lnTo>
                                <a:lnTo>
                                  <a:pt x="1404938" y="209021"/>
                                </a:lnTo>
                                <a:lnTo>
                                  <a:pt x="1407583" y="203729"/>
                                </a:lnTo>
                                <a:lnTo>
                                  <a:pt x="1410229" y="193146"/>
                                </a:lnTo>
                                <a:lnTo>
                                  <a:pt x="1412875" y="185208"/>
                                </a:lnTo>
                                <a:lnTo>
                                  <a:pt x="1418167" y="182562"/>
                                </a:lnTo>
                                <a:lnTo>
                                  <a:pt x="1420813" y="179917"/>
                                </a:lnTo>
                                <a:lnTo>
                                  <a:pt x="1434042" y="177271"/>
                                </a:lnTo>
                                <a:lnTo>
                                  <a:pt x="1447271" y="177271"/>
                                </a:lnTo>
                                <a:lnTo>
                                  <a:pt x="1473729" y="185208"/>
                                </a:lnTo>
                                <a:lnTo>
                                  <a:pt x="1484313" y="187854"/>
                                </a:lnTo>
                                <a:lnTo>
                                  <a:pt x="1492250" y="187854"/>
                                </a:lnTo>
                                <a:lnTo>
                                  <a:pt x="1502833" y="182562"/>
                                </a:lnTo>
                                <a:lnTo>
                                  <a:pt x="1505479" y="179917"/>
                                </a:lnTo>
                                <a:lnTo>
                                  <a:pt x="1513417" y="182562"/>
                                </a:lnTo>
                                <a:lnTo>
                                  <a:pt x="1521354" y="185208"/>
                                </a:lnTo>
                                <a:lnTo>
                                  <a:pt x="1531937" y="193146"/>
                                </a:lnTo>
                                <a:lnTo>
                                  <a:pt x="1531937" y="201083"/>
                                </a:lnTo>
                                <a:lnTo>
                                  <a:pt x="1537229" y="206375"/>
                                </a:lnTo>
                                <a:lnTo>
                                  <a:pt x="1539875" y="206375"/>
                                </a:lnTo>
                                <a:lnTo>
                                  <a:pt x="1545167" y="209021"/>
                                </a:lnTo>
                                <a:lnTo>
                                  <a:pt x="1550458" y="214312"/>
                                </a:lnTo>
                                <a:lnTo>
                                  <a:pt x="1555750" y="211667"/>
                                </a:lnTo>
                                <a:lnTo>
                                  <a:pt x="1558396" y="209021"/>
                                </a:lnTo>
                                <a:lnTo>
                                  <a:pt x="1561042" y="209021"/>
                                </a:lnTo>
                                <a:lnTo>
                                  <a:pt x="1563687" y="211667"/>
                                </a:lnTo>
                                <a:lnTo>
                                  <a:pt x="1563687" y="214312"/>
                                </a:lnTo>
                                <a:lnTo>
                                  <a:pt x="1561042" y="216958"/>
                                </a:lnTo>
                                <a:lnTo>
                                  <a:pt x="1563687" y="219604"/>
                                </a:lnTo>
                                <a:lnTo>
                                  <a:pt x="1566333" y="222250"/>
                                </a:lnTo>
                                <a:lnTo>
                                  <a:pt x="1571625" y="219604"/>
                                </a:lnTo>
                                <a:lnTo>
                                  <a:pt x="1576917" y="216958"/>
                                </a:lnTo>
                                <a:lnTo>
                                  <a:pt x="1579562" y="216958"/>
                                </a:lnTo>
                                <a:lnTo>
                                  <a:pt x="1582208" y="219604"/>
                                </a:lnTo>
                                <a:lnTo>
                                  <a:pt x="1582208" y="222250"/>
                                </a:lnTo>
                                <a:lnTo>
                                  <a:pt x="1576917" y="224896"/>
                                </a:lnTo>
                                <a:lnTo>
                                  <a:pt x="1568979" y="227542"/>
                                </a:lnTo>
                                <a:lnTo>
                                  <a:pt x="1563687" y="230187"/>
                                </a:lnTo>
                                <a:lnTo>
                                  <a:pt x="1561042" y="230187"/>
                                </a:lnTo>
                                <a:lnTo>
                                  <a:pt x="1563687" y="235479"/>
                                </a:lnTo>
                                <a:lnTo>
                                  <a:pt x="1566333" y="238125"/>
                                </a:lnTo>
                                <a:lnTo>
                                  <a:pt x="1550458" y="243417"/>
                                </a:lnTo>
                                <a:lnTo>
                                  <a:pt x="1555750" y="243417"/>
                                </a:lnTo>
                                <a:lnTo>
                                  <a:pt x="1558396" y="243417"/>
                                </a:lnTo>
                                <a:lnTo>
                                  <a:pt x="1561042" y="246062"/>
                                </a:lnTo>
                                <a:lnTo>
                                  <a:pt x="1561042" y="251354"/>
                                </a:lnTo>
                                <a:lnTo>
                                  <a:pt x="1558396" y="254000"/>
                                </a:lnTo>
                                <a:lnTo>
                                  <a:pt x="1547812" y="256646"/>
                                </a:lnTo>
                                <a:lnTo>
                                  <a:pt x="1539875" y="261937"/>
                                </a:lnTo>
                                <a:lnTo>
                                  <a:pt x="1537229" y="264583"/>
                                </a:lnTo>
                                <a:lnTo>
                                  <a:pt x="1537229" y="267229"/>
                                </a:lnTo>
                                <a:lnTo>
                                  <a:pt x="1550458" y="264583"/>
                                </a:lnTo>
                                <a:lnTo>
                                  <a:pt x="1561042" y="264583"/>
                                </a:lnTo>
                                <a:lnTo>
                                  <a:pt x="1563687" y="267229"/>
                                </a:lnTo>
                                <a:lnTo>
                                  <a:pt x="1561042" y="272521"/>
                                </a:lnTo>
                                <a:lnTo>
                                  <a:pt x="1550458" y="280458"/>
                                </a:lnTo>
                                <a:lnTo>
                                  <a:pt x="1545167" y="280458"/>
                                </a:lnTo>
                                <a:lnTo>
                                  <a:pt x="1542521" y="280458"/>
                                </a:lnTo>
                                <a:lnTo>
                                  <a:pt x="1542521" y="275167"/>
                                </a:lnTo>
                                <a:lnTo>
                                  <a:pt x="1537229" y="280458"/>
                                </a:lnTo>
                                <a:lnTo>
                                  <a:pt x="1529292" y="285750"/>
                                </a:lnTo>
                                <a:lnTo>
                                  <a:pt x="1537229" y="285750"/>
                                </a:lnTo>
                                <a:lnTo>
                                  <a:pt x="1539875" y="288396"/>
                                </a:lnTo>
                                <a:lnTo>
                                  <a:pt x="1539875" y="293687"/>
                                </a:lnTo>
                                <a:lnTo>
                                  <a:pt x="1553104" y="283104"/>
                                </a:lnTo>
                                <a:lnTo>
                                  <a:pt x="1566333" y="277812"/>
                                </a:lnTo>
                                <a:lnTo>
                                  <a:pt x="1576917" y="275167"/>
                                </a:lnTo>
                                <a:lnTo>
                                  <a:pt x="1576917" y="277812"/>
                                </a:lnTo>
                                <a:lnTo>
                                  <a:pt x="1576917" y="280458"/>
                                </a:lnTo>
                                <a:lnTo>
                                  <a:pt x="1576917" y="285750"/>
                                </a:lnTo>
                                <a:lnTo>
                                  <a:pt x="1579562" y="285750"/>
                                </a:lnTo>
                                <a:lnTo>
                                  <a:pt x="1584854" y="285750"/>
                                </a:lnTo>
                                <a:lnTo>
                                  <a:pt x="1584854" y="288396"/>
                                </a:lnTo>
                                <a:lnTo>
                                  <a:pt x="1590146" y="280458"/>
                                </a:lnTo>
                                <a:lnTo>
                                  <a:pt x="1598083" y="275167"/>
                                </a:lnTo>
                                <a:lnTo>
                                  <a:pt x="1606021" y="272521"/>
                                </a:lnTo>
                                <a:lnTo>
                                  <a:pt x="1613958" y="267229"/>
                                </a:lnTo>
                                <a:lnTo>
                                  <a:pt x="1616604" y="264583"/>
                                </a:lnTo>
                                <a:lnTo>
                                  <a:pt x="1619250" y="267229"/>
                                </a:lnTo>
                                <a:lnTo>
                                  <a:pt x="1619250" y="272521"/>
                                </a:lnTo>
                                <a:lnTo>
                                  <a:pt x="1619250" y="275167"/>
                                </a:lnTo>
                                <a:lnTo>
                                  <a:pt x="1621896" y="275167"/>
                                </a:lnTo>
                                <a:lnTo>
                                  <a:pt x="1621896" y="272521"/>
                                </a:lnTo>
                                <a:lnTo>
                                  <a:pt x="1624542" y="267229"/>
                                </a:lnTo>
                                <a:lnTo>
                                  <a:pt x="1627187" y="264583"/>
                                </a:lnTo>
                                <a:lnTo>
                                  <a:pt x="1635125" y="259292"/>
                                </a:lnTo>
                                <a:lnTo>
                                  <a:pt x="1640417" y="259292"/>
                                </a:lnTo>
                                <a:lnTo>
                                  <a:pt x="1643062" y="256646"/>
                                </a:lnTo>
                                <a:lnTo>
                                  <a:pt x="1643062" y="251354"/>
                                </a:lnTo>
                                <a:lnTo>
                                  <a:pt x="1643062" y="246062"/>
                                </a:lnTo>
                                <a:lnTo>
                                  <a:pt x="1643062" y="243417"/>
                                </a:lnTo>
                                <a:lnTo>
                                  <a:pt x="1645708" y="243417"/>
                                </a:lnTo>
                                <a:lnTo>
                                  <a:pt x="1653646" y="235479"/>
                                </a:lnTo>
                                <a:lnTo>
                                  <a:pt x="1658937" y="230187"/>
                                </a:lnTo>
                                <a:lnTo>
                                  <a:pt x="1664229" y="224896"/>
                                </a:lnTo>
                                <a:lnTo>
                                  <a:pt x="1666875" y="224896"/>
                                </a:lnTo>
                                <a:lnTo>
                                  <a:pt x="1666875" y="227542"/>
                                </a:lnTo>
                                <a:lnTo>
                                  <a:pt x="1672167" y="232833"/>
                                </a:lnTo>
                                <a:lnTo>
                                  <a:pt x="1677458" y="235479"/>
                                </a:lnTo>
                                <a:lnTo>
                                  <a:pt x="1680104" y="238125"/>
                                </a:lnTo>
                                <a:lnTo>
                                  <a:pt x="1680104" y="240771"/>
                                </a:lnTo>
                                <a:lnTo>
                                  <a:pt x="1680104" y="243417"/>
                                </a:lnTo>
                                <a:lnTo>
                                  <a:pt x="1680104" y="246062"/>
                                </a:lnTo>
                                <a:lnTo>
                                  <a:pt x="1682750" y="248708"/>
                                </a:lnTo>
                                <a:lnTo>
                                  <a:pt x="1682750" y="251354"/>
                                </a:lnTo>
                                <a:lnTo>
                                  <a:pt x="1682750" y="256646"/>
                                </a:lnTo>
                                <a:lnTo>
                                  <a:pt x="1685396" y="256646"/>
                                </a:lnTo>
                                <a:lnTo>
                                  <a:pt x="1688042" y="259292"/>
                                </a:lnTo>
                                <a:lnTo>
                                  <a:pt x="1688042" y="264583"/>
                                </a:lnTo>
                                <a:lnTo>
                                  <a:pt x="1688042" y="267229"/>
                                </a:lnTo>
                                <a:lnTo>
                                  <a:pt x="1688042" y="269875"/>
                                </a:lnTo>
                                <a:lnTo>
                                  <a:pt x="1693333" y="272521"/>
                                </a:lnTo>
                                <a:lnTo>
                                  <a:pt x="1695979" y="277812"/>
                                </a:lnTo>
                                <a:lnTo>
                                  <a:pt x="1695979" y="280458"/>
                                </a:lnTo>
                                <a:lnTo>
                                  <a:pt x="1693333" y="285750"/>
                                </a:lnTo>
                                <a:lnTo>
                                  <a:pt x="1701271" y="288396"/>
                                </a:lnTo>
                                <a:lnTo>
                                  <a:pt x="1703917" y="291042"/>
                                </a:lnTo>
                                <a:lnTo>
                                  <a:pt x="1703917" y="293687"/>
                                </a:lnTo>
                                <a:lnTo>
                                  <a:pt x="1703917" y="296333"/>
                                </a:lnTo>
                                <a:lnTo>
                                  <a:pt x="1695979" y="301625"/>
                                </a:lnTo>
                                <a:lnTo>
                                  <a:pt x="1680104" y="306917"/>
                                </a:lnTo>
                                <a:lnTo>
                                  <a:pt x="1688042" y="306917"/>
                                </a:lnTo>
                                <a:lnTo>
                                  <a:pt x="1703917" y="304271"/>
                                </a:lnTo>
                                <a:lnTo>
                                  <a:pt x="1706562" y="304271"/>
                                </a:lnTo>
                                <a:lnTo>
                                  <a:pt x="1709208" y="304271"/>
                                </a:lnTo>
                                <a:lnTo>
                                  <a:pt x="1706562" y="309562"/>
                                </a:lnTo>
                                <a:lnTo>
                                  <a:pt x="1701271" y="314854"/>
                                </a:lnTo>
                                <a:lnTo>
                                  <a:pt x="1701271" y="320146"/>
                                </a:lnTo>
                                <a:lnTo>
                                  <a:pt x="1703917" y="322792"/>
                                </a:lnTo>
                                <a:lnTo>
                                  <a:pt x="1706562" y="325438"/>
                                </a:lnTo>
                                <a:lnTo>
                                  <a:pt x="1709208" y="328083"/>
                                </a:lnTo>
                                <a:lnTo>
                                  <a:pt x="1709208" y="336021"/>
                                </a:lnTo>
                                <a:lnTo>
                                  <a:pt x="1709208" y="343958"/>
                                </a:lnTo>
                                <a:lnTo>
                                  <a:pt x="1711854" y="341313"/>
                                </a:lnTo>
                                <a:lnTo>
                                  <a:pt x="1717146" y="341313"/>
                                </a:lnTo>
                                <a:lnTo>
                                  <a:pt x="1719792" y="343958"/>
                                </a:lnTo>
                                <a:lnTo>
                                  <a:pt x="1719792" y="346604"/>
                                </a:lnTo>
                                <a:lnTo>
                                  <a:pt x="1719792" y="349250"/>
                                </a:lnTo>
                                <a:lnTo>
                                  <a:pt x="1725083" y="349250"/>
                                </a:lnTo>
                                <a:lnTo>
                                  <a:pt x="1730375" y="349250"/>
                                </a:lnTo>
                                <a:lnTo>
                                  <a:pt x="1730375" y="351896"/>
                                </a:lnTo>
                                <a:lnTo>
                                  <a:pt x="1735667" y="354542"/>
                                </a:lnTo>
                                <a:lnTo>
                                  <a:pt x="1740958" y="354542"/>
                                </a:lnTo>
                                <a:lnTo>
                                  <a:pt x="1740958" y="357188"/>
                                </a:lnTo>
                                <a:lnTo>
                                  <a:pt x="1743604" y="359833"/>
                                </a:lnTo>
                                <a:lnTo>
                                  <a:pt x="1748896" y="359833"/>
                                </a:lnTo>
                                <a:lnTo>
                                  <a:pt x="1764771" y="362479"/>
                                </a:lnTo>
                                <a:lnTo>
                                  <a:pt x="1767417" y="365125"/>
                                </a:lnTo>
                                <a:lnTo>
                                  <a:pt x="1759479" y="367771"/>
                                </a:lnTo>
                                <a:lnTo>
                                  <a:pt x="1735667" y="370417"/>
                                </a:lnTo>
                                <a:lnTo>
                                  <a:pt x="1725083" y="373063"/>
                                </a:lnTo>
                                <a:lnTo>
                                  <a:pt x="1711854" y="375708"/>
                                </a:lnTo>
                                <a:lnTo>
                                  <a:pt x="1701271" y="375708"/>
                                </a:lnTo>
                                <a:lnTo>
                                  <a:pt x="1701271" y="378354"/>
                                </a:lnTo>
                                <a:lnTo>
                                  <a:pt x="1688042" y="386292"/>
                                </a:lnTo>
                                <a:lnTo>
                                  <a:pt x="1701271" y="386292"/>
                                </a:lnTo>
                                <a:lnTo>
                                  <a:pt x="1714500" y="383646"/>
                                </a:lnTo>
                                <a:lnTo>
                                  <a:pt x="1738312" y="375708"/>
                                </a:lnTo>
                                <a:lnTo>
                                  <a:pt x="1754187" y="373063"/>
                                </a:lnTo>
                                <a:lnTo>
                                  <a:pt x="1759479" y="373063"/>
                                </a:lnTo>
                                <a:lnTo>
                                  <a:pt x="1767417" y="375708"/>
                                </a:lnTo>
                                <a:lnTo>
                                  <a:pt x="1770062" y="378354"/>
                                </a:lnTo>
                                <a:lnTo>
                                  <a:pt x="1767417" y="381000"/>
                                </a:lnTo>
                                <a:lnTo>
                                  <a:pt x="1764771" y="381000"/>
                                </a:lnTo>
                                <a:lnTo>
                                  <a:pt x="1767417" y="383646"/>
                                </a:lnTo>
                                <a:lnTo>
                                  <a:pt x="1770062" y="383646"/>
                                </a:lnTo>
                                <a:lnTo>
                                  <a:pt x="1775354" y="383646"/>
                                </a:lnTo>
                                <a:lnTo>
                                  <a:pt x="1780646" y="381000"/>
                                </a:lnTo>
                                <a:lnTo>
                                  <a:pt x="1785937" y="383646"/>
                                </a:lnTo>
                                <a:lnTo>
                                  <a:pt x="1791229" y="386292"/>
                                </a:lnTo>
                                <a:lnTo>
                                  <a:pt x="1791229" y="391583"/>
                                </a:lnTo>
                                <a:lnTo>
                                  <a:pt x="1785937" y="394229"/>
                                </a:lnTo>
                                <a:lnTo>
                                  <a:pt x="1783292" y="396875"/>
                                </a:lnTo>
                                <a:lnTo>
                                  <a:pt x="1785937" y="402167"/>
                                </a:lnTo>
                                <a:lnTo>
                                  <a:pt x="1788583" y="404813"/>
                                </a:lnTo>
                                <a:lnTo>
                                  <a:pt x="1785937" y="404813"/>
                                </a:lnTo>
                                <a:lnTo>
                                  <a:pt x="1788583" y="407458"/>
                                </a:lnTo>
                                <a:lnTo>
                                  <a:pt x="1791229" y="410104"/>
                                </a:lnTo>
                                <a:lnTo>
                                  <a:pt x="1791229" y="412750"/>
                                </a:lnTo>
                                <a:lnTo>
                                  <a:pt x="1791229" y="418042"/>
                                </a:lnTo>
                                <a:lnTo>
                                  <a:pt x="1785937" y="420688"/>
                                </a:lnTo>
                                <a:lnTo>
                                  <a:pt x="1778000" y="425979"/>
                                </a:lnTo>
                                <a:lnTo>
                                  <a:pt x="1767417" y="431271"/>
                                </a:lnTo>
                                <a:lnTo>
                                  <a:pt x="1762125" y="428625"/>
                                </a:lnTo>
                                <a:lnTo>
                                  <a:pt x="1759479" y="428625"/>
                                </a:lnTo>
                                <a:lnTo>
                                  <a:pt x="1743604" y="436563"/>
                                </a:lnTo>
                                <a:lnTo>
                                  <a:pt x="1730375" y="441854"/>
                                </a:lnTo>
                                <a:lnTo>
                                  <a:pt x="1727729" y="441854"/>
                                </a:lnTo>
                                <a:lnTo>
                                  <a:pt x="1727729" y="444500"/>
                                </a:lnTo>
                                <a:lnTo>
                                  <a:pt x="1727729" y="447146"/>
                                </a:lnTo>
                                <a:lnTo>
                                  <a:pt x="1725083" y="447146"/>
                                </a:lnTo>
                                <a:lnTo>
                                  <a:pt x="1722437" y="447146"/>
                                </a:lnTo>
                                <a:lnTo>
                                  <a:pt x="1717146" y="452438"/>
                                </a:lnTo>
                                <a:lnTo>
                                  <a:pt x="1714500" y="455083"/>
                                </a:lnTo>
                                <a:lnTo>
                                  <a:pt x="1711854" y="455083"/>
                                </a:lnTo>
                                <a:lnTo>
                                  <a:pt x="1706562" y="455083"/>
                                </a:lnTo>
                                <a:lnTo>
                                  <a:pt x="1685396" y="463021"/>
                                </a:lnTo>
                                <a:lnTo>
                                  <a:pt x="1666875" y="468313"/>
                                </a:lnTo>
                                <a:lnTo>
                                  <a:pt x="1658937" y="468313"/>
                                </a:lnTo>
                                <a:lnTo>
                                  <a:pt x="1651000" y="465667"/>
                                </a:lnTo>
                                <a:lnTo>
                                  <a:pt x="1632479" y="468313"/>
                                </a:lnTo>
                                <a:lnTo>
                                  <a:pt x="1621896" y="468313"/>
                                </a:lnTo>
                                <a:lnTo>
                                  <a:pt x="1616604" y="468313"/>
                                </a:lnTo>
                                <a:lnTo>
                                  <a:pt x="1606021" y="465667"/>
                                </a:lnTo>
                                <a:lnTo>
                                  <a:pt x="1571625" y="465667"/>
                                </a:lnTo>
                                <a:lnTo>
                                  <a:pt x="1521354" y="470959"/>
                                </a:lnTo>
                                <a:lnTo>
                                  <a:pt x="1513417" y="473604"/>
                                </a:lnTo>
                                <a:lnTo>
                                  <a:pt x="1510771" y="476250"/>
                                </a:lnTo>
                                <a:lnTo>
                                  <a:pt x="1510771" y="478896"/>
                                </a:lnTo>
                                <a:lnTo>
                                  <a:pt x="1508125" y="484188"/>
                                </a:lnTo>
                                <a:lnTo>
                                  <a:pt x="1502833" y="486834"/>
                                </a:lnTo>
                                <a:lnTo>
                                  <a:pt x="1481667" y="489479"/>
                                </a:lnTo>
                                <a:lnTo>
                                  <a:pt x="1473729" y="492125"/>
                                </a:lnTo>
                                <a:lnTo>
                                  <a:pt x="1468438" y="497417"/>
                                </a:lnTo>
                                <a:lnTo>
                                  <a:pt x="1465792" y="500063"/>
                                </a:lnTo>
                                <a:lnTo>
                                  <a:pt x="1460500" y="497417"/>
                                </a:lnTo>
                                <a:lnTo>
                                  <a:pt x="1457854" y="497417"/>
                                </a:lnTo>
                                <a:lnTo>
                                  <a:pt x="1455208" y="500063"/>
                                </a:lnTo>
                                <a:lnTo>
                                  <a:pt x="1452563" y="502709"/>
                                </a:lnTo>
                                <a:lnTo>
                                  <a:pt x="1447271" y="505354"/>
                                </a:lnTo>
                                <a:lnTo>
                                  <a:pt x="1439333" y="508000"/>
                                </a:lnTo>
                                <a:lnTo>
                                  <a:pt x="1431396" y="510646"/>
                                </a:lnTo>
                                <a:lnTo>
                                  <a:pt x="1415521" y="523875"/>
                                </a:lnTo>
                                <a:lnTo>
                                  <a:pt x="1399646" y="534459"/>
                                </a:lnTo>
                                <a:lnTo>
                                  <a:pt x="1386417" y="542396"/>
                                </a:lnTo>
                                <a:lnTo>
                                  <a:pt x="1378479" y="545042"/>
                                </a:lnTo>
                                <a:lnTo>
                                  <a:pt x="1375833" y="547688"/>
                                </a:lnTo>
                                <a:lnTo>
                                  <a:pt x="1370542" y="552979"/>
                                </a:lnTo>
                                <a:lnTo>
                                  <a:pt x="1359958" y="560917"/>
                                </a:lnTo>
                                <a:lnTo>
                                  <a:pt x="1373188" y="555625"/>
                                </a:lnTo>
                                <a:lnTo>
                                  <a:pt x="1391708" y="545042"/>
                                </a:lnTo>
                                <a:lnTo>
                                  <a:pt x="1412875" y="531813"/>
                                </a:lnTo>
                                <a:lnTo>
                                  <a:pt x="1447271" y="518584"/>
                                </a:lnTo>
                                <a:lnTo>
                                  <a:pt x="1481667" y="508000"/>
                                </a:lnTo>
                                <a:lnTo>
                                  <a:pt x="1510771" y="500063"/>
                                </a:lnTo>
                                <a:lnTo>
                                  <a:pt x="1529292" y="497417"/>
                                </a:lnTo>
                                <a:lnTo>
                                  <a:pt x="1539875" y="500063"/>
                                </a:lnTo>
                                <a:lnTo>
                                  <a:pt x="1547812" y="502709"/>
                                </a:lnTo>
                                <a:lnTo>
                                  <a:pt x="1550458" y="508000"/>
                                </a:lnTo>
                                <a:lnTo>
                                  <a:pt x="1547812" y="510646"/>
                                </a:lnTo>
                                <a:lnTo>
                                  <a:pt x="1547812" y="508000"/>
                                </a:lnTo>
                                <a:lnTo>
                                  <a:pt x="1545167" y="508000"/>
                                </a:lnTo>
                                <a:lnTo>
                                  <a:pt x="1545167" y="510646"/>
                                </a:lnTo>
                                <a:lnTo>
                                  <a:pt x="1545167" y="513292"/>
                                </a:lnTo>
                                <a:lnTo>
                                  <a:pt x="1547812" y="513292"/>
                                </a:lnTo>
                                <a:lnTo>
                                  <a:pt x="1547812" y="515938"/>
                                </a:lnTo>
                                <a:lnTo>
                                  <a:pt x="1542521" y="518584"/>
                                </a:lnTo>
                                <a:lnTo>
                                  <a:pt x="1539875" y="518584"/>
                                </a:lnTo>
                                <a:lnTo>
                                  <a:pt x="1531937" y="518584"/>
                                </a:lnTo>
                                <a:lnTo>
                                  <a:pt x="1524000" y="523875"/>
                                </a:lnTo>
                                <a:lnTo>
                                  <a:pt x="1516063" y="526521"/>
                                </a:lnTo>
                                <a:lnTo>
                                  <a:pt x="1510771" y="526521"/>
                                </a:lnTo>
                                <a:lnTo>
                                  <a:pt x="1505479" y="526521"/>
                                </a:lnTo>
                                <a:lnTo>
                                  <a:pt x="1497542" y="531813"/>
                                </a:lnTo>
                                <a:lnTo>
                                  <a:pt x="1505479" y="531813"/>
                                </a:lnTo>
                                <a:lnTo>
                                  <a:pt x="1508125" y="531813"/>
                                </a:lnTo>
                                <a:lnTo>
                                  <a:pt x="1516063" y="531813"/>
                                </a:lnTo>
                                <a:lnTo>
                                  <a:pt x="1518708" y="531813"/>
                                </a:lnTo>
                                <a:lnTo>
                                  <a:pt x="1521354" y="534459"/>
                                </a:lnTo>
                                <a:lnTo>
                                  <a:pt x="1521354" y="537104"/>
                                </a:lnTo>
                                <a:lnTo>
                                  <a:pt x="1521354" y="539750"/>
                                </a:lnTo>
                                <a:lnTo>
                                  <a:pt x="1516063" y="545042"/>
                                </a:lnTo>
                                <a:lnTo>
                                  <a:pt x="1508125" y="547688"/>
                                </a:lnTo>
                                <a:lnTo>
                                  <a:pt x="1513417" y="550334"/>
                                </a:lnTo>
                                <a:lnTo>
                                  <a:pt x="1516063" y="555625"/>
                                </a:lnTo>
                                <a:lnTo>
                                  <a:pt x="1521354" y="566209"/>
                                </a:lnTo>
                                <a:lnTo>
                                  <a:pt x="1524000" y="576792"/>
                                </a:lnTo>
                                <a:lnTo>
                                  <a:pt x="1531937" y="579438"/>
                                </a:lnTo>
                                <a:lnTo>
                                  <a:pt x="1537229" y="582084"/>
                                </a:lnTo>
                                <a:lnTo>
                                  <a:pt x="1539875" y="587375"/>
                                </a:lnTo>
                                <a:lnTo>
                                  <a:pt x="1550458" y="590021"/>
                                </a:lnTo>
                                <a:lnTo>
                                  <a:pt x="1558396" y="590021"/>
                                </a:lnTo>
                                <a:lnTo>
                                  <a:pt x="1561042" y="592667"/>
                                </a:lnTo>
                                <a:lnTo>
                                  <a:pt x="1561042" y="595313"/>
                                </a:lnTo>
                                <a:lnTo>
                                  <a:pt x="1568979" y="592667"/>
                                </a:lnTo>
                                <a:lnTo>
                                  <a:pt x="1576917" y="590021"/>
                                </a:lnTo>
                                <a:lnTo>
                                  <a:pt x="1576917" y="592667"/>
                                </a:lnTo>
                                <a:lnTo>
                                  <a:pt x="1576917" y="595313"/>
                                </a:lnTo>
                                <a:lnTo>
                                  <a:pt x="1582208" y="592667"/>
                                </a:lnTo>
                                <a:lnTo>
                                  <a:pt x="1587500" y="592667"/>
                                </a:lnTo>
                                <a:lnTo>
                                  <a:pt x="1592792" y="592667"/>
                                </a:lnTo>
                                <a:lnTo>
                                  <a:pt x="1592792" y="595313"/>
                                </a:lnTo>
                                <a:lnTo>
                                  <a:pt x="1590146" y="595313"/>
                                </a:lnTo>
                                <a:lnTo>
                                  <a:pt x="1595437" y="597959"/>
                                </a:lnTo>
                                <a:lnTo>
                                  <a:pt x="1592792" y="603250"/>
                                </a:lnTo>
                                <a:lnTo>
                                  <a:pt x="1584854" y="605896"/>
                                </a:lnTo>
                                <a:lnTo>
                                  <a:pt x="1576917" y="608542"/>
                                </a:lnTo>
                                <a:lnTo>
                                  <a:pt x="1568979" y="611188"/>
                                </a:lnTo>
                                <a:lnTo>
                                  <a:pt x="1561042" y="616479"/>
                                </a:lnTo>
                                <a:lnTo>
                                  <a:pt x="1553104" y="621771"/>
                                </a:lnTo>
                                <a:lnTo>
                                  <a:pt x="1545167" y="619125"/>
                                </a:lnTo>
                                <a:lnTo>
                                  <a:pt x="1539875" y="619125"/>
                                </a:lnTo>
                                <a:lnTo>
                                  <a:pt x="1537229" y="621771"/>
                                </a:lnTo>
                                <a:lnTo>
                                  <a:pt x="1537229" y="624417"/>
                                </a:lnTo>
                                <a:lnTo>
                                  <a:pt x="1526646" y="624417"/>
                                </a:lnTo>
                                <a:lnTo>
                                  <a:pt x="1518708" y="621771"/>
                                </a:lnTo>
                                <a:lnTo>
                                  <a:pt x="1516063" y="624417"/>
                                </a:lnTo>
                                <a:lnTo>
                                  <a:pt x="1513417" y="627063"/>
                                </a:lnTo>
                                <a:lnTo>
                                  <a:pt x="1505479" y="629709"/>
                                </a:lnTo>
                                <a:lnTo>
                                  <a:pt x="1500188" y="629709"/>
                                </a:lnTo>
                                <a:lnTo>
                                  <a:pt x="1500188" y="632354"/>
                                </a:lnTo>
                                <a:lnTo>
                                  <a:pt x="1502833" y="635000"/>
                                </a:lnTo>
                                <a:lnTo>
                                  <a:pt x="1497542" y="637646"/>
                                </a:lnTo>
                                <a:lnTo>
                                  <a:pt x="1489604" y="642938"/>
                                </a:lnTo>
                                <a:lnTo>
                                  <a:pt x="1481667" y="645584"/>
                                </a:lnTo>
                                <a:lnTo>
                                  <a:pt x="1476375" y="650875"/>
                                </a:lnTo>
                                <a:lnTo>
                                  <a:pt x="1471083" y="650875"/>
                                </a:lnTo>
                                <a:lnTo>
                                  <a:pt x="1468438" y="648229"/>
                                </a:lnTo>
                                <a:lnTo>
                                  <a:pt x="1468438" y="650875"/>
                                </a:lnTo>
                                <a:lnTo>
                                  <a:pt x="1468438" y="653521"/>
                                </a:lnTo>
                                <a:lnTo>
                                  <a:pt x="1465792" y="656167"/>
                                </a:lnTo>
                                <a:lnTo>
                                  <a:pt x="1460500" y="653521"/>
                                </a:lnTo>
                                <a:lnTo>
                                  <a:pt x="1460500" y="650875"/>
                                </a:lnTo>
                                <a:lnTo>
                                  <a:pt x="1460500" y="645584"/>
                                </a:lnTo>
                                <a:lnTo>
                                  <a:pt x="1457854" y="640292"/>
                                </a:lnTo>
                                <a:lnTo>
                                  <a:pt x="1460500" y="635000"/>
                                </a:lnTo>
                                <a:lnTo>
                                  <a:pt x="1479021" y="619125"/>
                                </a:lnTo>
                                <a:lnTo>
                                  <a:pt x="1492250" y="611188"/>
                                </a:lnTo>
                                <a:lnTo>
                                  <a:pt x="1502833" y="608542"/>
                                </a:lnTo>
                                <a:lnTo>
                                  <a:pt x="1513417" y="608542"/>
                                </a:lnTo>
                                <a:lnTo>
                                  <a:pt x="1518708" y="608542"/>
                                </a:lnTo>
                                <a:lnTo>
                                  <a:pt x="1539875" y="603250"/>
                                </a:lnTo>
                                <a:lnTo>
                                  <a:pt x="1526646" y="605896"/>
                                </a:lnTo>
                                <a:lnTo>
                                  <a:pt x="1513417" y="603250"/>
                                </a:lnTo>
                                <a:lnTo>
                                  <a:pt x="1508125" y="603250"/>
                                </a:lnTo>
                                <a:lnTo>
                                  <a:pt x="1500188" y="605896"/>
                                </a:lnTo>
                                <a:lnTo>
                                  <a:pt x="1494896" y="605896"/>
                                </a:lnTo>
                                <a:lnTo>
                                  <a:pt x="1489604" y="605896"/>
                                </a:lnTo>
                                <a:lnTo>
                                  <a:pt x="1492250" y="603250"/>
                                </a:lnTo>
                                <a:lnTo>
                                  <a:pt x="1500188" y="600604"/>
                                </a:lnTo>
                                <a:lnTo>
                                  <a:pt x="1505479" y="597959"/>
                                </a:lnTo>
                                <a:lnTo>
                                  <a:pt x="1505479" y="595313"/>
                                </a:lnTo>
                                <a:lnTo>
                                  <a:pt x="1505479" y="590021"/>
                                </a:lnTo>
                                <a:lnTo>
                                  <a:pt x="1500188" y="587375"/>
                                </a:lnTo>
                                <a:lnTo>
                                  <a:pt x="1502833" y="592667"/>
                                </a:lnTo>
                                <a:lnTo>
                                  <a:pt x="1500188" y="595313"/>
                                </a:lnTo>
                                <a:lnTo>
                                  <a:pt x="1484313" y="605896"/>
                                </a:lnTo>
                                <a:lnTo>
                                  <a:pt x="1471083" y="608542"/>
                                </a:lnTo>
                                <a:lnTo>
                                  <a:pt x="1463146" y="608542"/>
                                </a:lnTo>
                                <a:lnTo>
                                  <a:pt x="1457854" y="608542"/>
                                </a:lnTo>
                                <a:lnTo>
                                  <a:pt x="1452563" y="611188"/>
                                </a:lnTo>
                                <a:lnTo>
                                  <a:pt x="1449917" y="605896"/>
                                </a:lnTo>
                                <a:lnTo>
                                  <a:pt x="1444625" y="605896"/>
                                </a:lnTo>
                                <a:lnTo>
                                  <a:pt x="1444625" y="608542"/>
                                </a:lnTo>
                                <a:lnTo>
                                  <a:pt x="1439333" y="603250"/>
                                </a:lnTo>
                                <a:lnTo>
                                  <a:pt x="1436688" y="597959"/>
                                </a:lnTo>
                                <a:lnTo>
                                  <a:pt x="1434042" y="595313"/>
                                </a:lnTo>
                                <a:lnTo>
                                  <a:pt x="1431396" y="595313"/>
                                </a:lnTo>
                                <a:lnTo>
                                  <a:pt x="1431396" y="590021"/>
                                </a:lnTo>
                                <a:lnTo>
                                  <a:pt x="1441979" y="555625"/>
                                </a:lnTo>
                                <a:lnTo>
                                  <a:pt x="1444625" y="552979"/>
                                </a:lnTo>
                                <a:lnTo>
                                  <a:pt x="1441979" y="550334"/>
                                </a:lnTo>
                                <a:lnTo>
                                  <a:pt x="1439333" y="547688"/>
                                </a:lnTo>
                                <a:lnTo>
                                  <a:pt x="1436688" y="542396"/>
                                </a:lnTo>
                                <a:lnTo>
                                  <a:pt x="1434042" y="542396"/>
                                </a:lnTo>
                                <a:lnTo>
                                  <a:pt x="1418167" y="547688"/>
                                </a:lnTo>
                                <a:lnTo>
                                  <a:pt x="1412875" y="550334"/>
                                </a:lnTo>
                                <a:lnTo>
                                  <a:pt x="1410229" y="550334"/>
                                </a:lnTo>
                                <a:lnTo>
                                  <a:pt x="1404938" y="547688"/>
                                </a:lnTo>
                                <a:lnTo>
                                  <a:pt x="1402292" y="547688"/>
                                </a:lnTo>
                                <a:lnTo>
                                  <a:pt x="1391708" y="555625"/>
                                </a:lnTo>
                                <a:lnTo>
                                  <a:pt x="1386417" y="560917"/>
                                </a:lnTo>
                                <a:lnTo>
                                  <a:pt x="1383771" y="563563"/>
                                </a:lnTo>
                                <a:lnTo>
                                  <a:pt x="1378479" y="566209"/>
                                </a:lnTo>
                                <a:lnTo>
                                  <a:pt x="1375833" y="571500"/>
                                </a:lnTo>
                                <a:lnTo>
                                  <a:pt x="1367896" y="579438"/>
                                </a:lnTo>
                                <a:lnTo>
                                  <a:pt x="1365250" y="582084"/>
                                </a:lnTo>
                                <a:lnTo>
                                  <a:pt x="1365250" y="584729"/>
                                </a:lnTo>
                                <a:lnTo>
                                  <a:pt x="1362604" y="590021"/>
                                </a:lnTo>
                                <a:lnTo>
                                  <a:pt x="1357313" y="592667"/>
                                </a:lnTo>
                                <a:lnTo>
                                  <a:pt x="1352021" y="595313"/>
                                </a:lnTo>
                                <a:lnTo>
                                  <a:pt x="1346729" y="600604"/>
                                </a:lnTo>
                                <a:lnTo>
                                  <a:pt x="1341438" y="603250"/>
                                </a:lnTo>
                                <a:lnTo>
                                  <a:pt x="1338792" y="605896"/>
                                </a:lnTo>
                                <a:lnTo>
                                  <a:pt x="1336146" y="605896"/>
                                </a:lnTo>
                                <a:lnTo>
                                  <a:pt x="1328208" y="611188"/>
                                </a:lnTo>
                                <a:lnTo>
                                  <a:pt x="1243542" y="611188"/>
                                </a:lnTo>
                                <a:lnTo>
                                  <a:pt x="1238250" y="611188"/>
                                </a:lnTo>
                                <a:lnTo>
                                  <a:pt x="1230313" y="613834"/>
                                </a:lnTo>
                                <a:lnTo>
                                  <a:pt x="1222375" y="624417"/>
                                </a:lnTo>
                                <a:lnTo>
                                  <a:pt x="1214438" y="632354"/>
                                </a:lnTo>
                                <a:lnTo>
                                  <a:pt x="1206500" y="637646"/>
                                </a:lnTo>
                                <a:lnTo>
                                  <a:pt x="1201208" y="640292"/>
                                </a:lnTo>
                                <a:lnTo>
                                  <a:pt x="1190625" y="640292"/>
                                </a:lnTo>
                                <a:lnTo>
                                  <a:pt x="1185333" y="640292"/>
                                </a:lnTo>
                                <a:lnTo>
                                  <a:pt x="1187979" y="642938"/>
                                </a:lnTo>
                                <a:lnTo>
                                  <a:pt x="1190625" y="642938"/>
                                </a:lnTo>
                                <a:lnTo>
                                  <a:pt x="1190625" y="645584"/>
                                </a:lnTo>
                                <a:lnTo>
                                  <a:pt x="1187979" y="645584"/>
                                </a:lnTo>
                                <a:lnTo>
                                  <a:pt x="1185333" y="648229"/>
                                </a:lnTo>
                                <a:lnTo>
                                  <a:pt x="1180042" y="648229"/>
                                </a:lnTo>
                                <a:lnTo>
                                  <a:pt x="1172104" y="645584"/>
                                </a:lnTo>
                                <a:lnTo>
                                  <a:pt x="1156229" y="645584"/>
                                </a:lnTo>
                                <a:lnTo>
                                  <a:pt x="1137708" y="648229"/>
                                </a:lnTo>
                                <a:lnTo>
                                  <a:pt x="1121833" y="656167"/>
                                </a:lnTo>
                                <a:lnTo>
                                  <a:pt x="1111250" y="661459"/>
                                </a:lnTo>
                                <a:lnTo>
                                  <a:pt x="1108604" y="664104"/>
                                </a:lnTo>
                                <a:lnTo>
                                  <a:pt x="1111250" y="666750"/>
                                </a:lnTo>
                                <a:lnTo>
                                  <a:pt x="1121833" y="669396"/>
                                </a:lnTo>
                                <a:lnTo>
                                  <a:pt x="1121833" y="672042"/>
                                </a:lnTo>
                                <a:lnTo>
                                  <a:pt x="1121833" y="674688"/>
                                </a:lnTo>
                                <a:lnTo>
                                  <a:pt x="1113896" y="674688"/>
                                </a:lnTo>
                                <a:lnTo>
                                  <a:pt x="1103313" y="674688"/>
                                </a:lnTo>
                                <a:lnTo>
                                  <a:pt x="1098021" y="677334"/>
                                </a:lnTo>
                                <a:lnTo>
                                  <a:pt x="1095375" y="679979"/>
                                </a:lnTo>
                                <a:lnTo>
                                  <a:pt x="1100667" y="679979"/>
                                </a:lnTo>
                                <a:lnTo>
                                  <a:pt x="1098021" y="682625"/>
                                </a:lnTo>
                                <a:lnTo>
                                  <a:pt x="1087438" y="679979"/>
                                </a:lnTo>
                                <a:lnTo>
                                  <a:pt x="1079500" y="679979"/>
                                </a:lnTo>
                                <a:lnTo>
                                  <a:pt x="1074208" y="682625"/>
                                </a:lnTo>
                                <a:lnTo>
                                  <a:pt x="1071563" y="685271"/>
                                </a:lnTo>
                                <a:lnTo>
                                  <a:pt x="1068917" y="687917"/>
                                </a:lnTo>
                                <a:lnTo>
                                  <a:pt x="1063625" y="687917"/>
                                </a:lnTo>
                                <a:lnTo>
                                  <a:pt x="1060979" y="687917"/>
                                </a:lnTo>
                                <a:lnTo>
                                  <a:pt x="1055688" y="690563"/>
                                </a:lnTo>
                                <a:lnTo>
                                  <a:pt x="1045104" y="690563"/>
                                </a:lnTo>
                                <a:lnTo>
                                  <a:pt x="1039812" y="695854"/>
                                </a:lnTo>
                                <a:lnTo>
                                  <a:pt x="1034521" y="701146"/>
                                </a:lnTo>
                                <a:lnTo>
                                  <a:pt x="1031875" y="701146"/>
                                </a:lnTo>
                                <a:lnTo>
                                  <a:pt x="1031875" y="698500"/>
                                </a:lnTo>
                                <a:lnTo>
                                  <a:pt x="1026583" y="698500"/>
                                </a:lnTo>
                                <a:lnTo>
                                  <a:pt x="1023937" y="698500"/>
                                </a:lnTo>
                                <a:lnTo>
                                  <a:pt x="1021292" y="698500"/>
                                </a:lnTo>
                                <a:lnTo>
                                  <a:pt x="1016000" y="695854"/>
                                </a:lnTo>
                                <a:lnTo>
                                  <a:pt x="1021292" y="690563"/>
                                </a:lnTo>
                                <a:lnTo>
                                  <a:pt x="1026583" y="685271"/>
                                </a:lnTo>
                                <a:lnTo>
                                  <a:pt x="1034521" y="685271"/>
                                </a:lnTo>
                                <a:lnTo>
                                  <a:pt x="1037167" y="682625"/>
                                </a:lnTo>
                                <a:lnTo>
                                  <a:pt x="1034521" y="679979"/>
                                </a:lnTo>
                                <a:lnTo>
                                  <a:pt x="1034521" y="674688"/>
                                </a:lnTo>
                                <a:lnTo>
                                  <a:pt x="1037167" y="669396"/>
                                </a:lnTo>
                                <a:lnTo>
                                  <a:pt x="1042458" y="664104"/>
                                </a:lnTo>
                                <a:lnTo>
                                  <a:pt x="1053042" y="661459"/>
                                </a:lnTo>
                                <a:lnTo>
                                  <a:pt x="1063625" y="653521"/>
                                </a:lnTo>
                                <a:lnTo>
                                  <a:pt x="1063625" y="648229"/>
                                </a:lnTo>
                                <a:lnTo>
                                  <a:pt x="1063625" y="642938"/>
                                </a:lnTo>
                                <a:lnTo>
                                  <a:pt x="1066271" y="640292"/>
                                </a:lnTo>
                                <a:lnTo>
                                  <a:pt x="1071563" y="635000"/>
                                </a:lnTo>
                                <a:lnTo>
                                  <a:pt x="1084792" y="627063"/>
                                </a:lnTo>
                                <a:lnTo>
                                  <a:pt x="1084792" y="621771"/>
                                </a:lnTo>
                                <a:lnTo>
                                  <a:pt x="1084792" y="616479"/>
                                </a:lnTo>
                                <a:lnTo>
                                  <a:pt x="1084792" y="611188"/>
                                </a:lnTo>
                                <a:lnTo>
                                  <a:pt x="1082146" y="608542"/>
                                </a:lnTo>
                                <a:lnTo>
                                  <a:pt x="1079500" y="608542"/>
                                </a:lnTo>
                                <a:lnTo>
                                  <a:pt x="1082146" y="605896"/>
                                </a:lnTo>
                                <a:lnTo>
                                  <a:pt x="1084792" y="605896"/>
                                </a:lnTo>
                                <a:lnTo>
                                  <a:pt x="1087438" y="608542"/>
                                </a:lnTo>
                                <a:lnTo>
                                  <a:pt x="1090083" y="611188"/>
                                </a:lnTo>
                                <a:lnTo>
                                  <a:pt x="1092729" y="621771"/>
                                </a:lnTo>
                                <a:lnTo>
                                  <a:pt x="1095375" y="621771"/>
                                </a:lnTo>
                                <a:lnTo>
                                  <a:pt x="1098021" y="621771"/>
                                </a:lnTo>
                                <a:lnTo>
                                  <a:pt x="1100667" y="621771"/>
                                </a:lnTo>
                                <a:lnTo>
                                  <a:pt x="1105958" y="624417"/>
                                </a:lnTo>
                                <a:lnTo>
                                  <a:pt x="1108604" y="624417"/>
                                </a:lnTo>
                                <a:lnTo>
                                  <a:pt x="1111250" y="619125"/>
                                </a:lnTo>
                                <a:lnTo>
                                  <a:pt x="1111250" y="616479"/>
                                </a:lnTo>
                                <a:lnTo>
                                  <a:pt x="1116542" y="616479"/>
                                </a:lnTo>
                                <a:lnTo>
                                  <a:pt x="1119188" y="619125"/>
                                </a:lnTo>
                                <a:lnTo>
                                  <a:pt x="1121833" y="619125"/>
                                </a:lnTo>
                                <a:lnTo>
                                  <a:pt x="1121833" y="616479"/>
                                </a:lnTo>
                                <a:lnTo>
                                  <a:pt x="1119188" y="613834"/>
                                </a:lnTo>
                                <a:lnTo>
                                  <a:pt x="1119188" y="611188"/>
                                </a:lnTo>
                                <a:lnTo>
                                  <a:pt x="1119188" y="603250"/>
                                </a:lnTo>
                                <a:lnTo>
                                  <a:pt x="1119188" y="600604"/>
                                </a:lnTo>
                                <a:lnTo>
                                  <a:pt x="1116542" y="597959"/>
                                </a:lnTo>
                                <a:lnTo>
                                  <a:pt x="1113896" y="597959"/>
                                </a:lnTo>
                                <a:lnTo>
                                  <a:pt x="1108604" y="592667"/>
                                </a:lnTo>
                                <a:lnTo>
                                  <a:pt x="1103313" y="584729"/>
                                </a:lnTo>
                                <a:lnTo>
                                  <a:pt x="1098021" y="584729"/>
                                </a:lnTo>
                                <a:lnTo>
                                  <a:pt x="1090083" y="584729"/>
                                </a:lnTo>
                                <a:lnTo>
                                  <a:pt x="1082146" y="582084"/>
                                </a:lnTo>
                                <a:lnTo>
                                  <a:pt x="1071563" y="579438"/>
                                </a:lnTo>
                                <a:lnTo>
                                  <a:pt x="1068917" y="579438"/>
                                </a:lnTo>
                                <a:lnTo>
                                  <a:pt x="1060979" y="579438"/>
                                </a:lnTo>
                                <a:lnTo>
                                  <a:pt x="1053042" y="579438"/>
                                </a:lnTo>
                                <a:lnTo>
                                  <a:pt x="1042458" y="576792"/>
                                </a:lnTo>
                                <a:lnTo>
                                  <a:pt x="1037167" y="574146"/>
                                </a:lnTo>
                                <a:lnTo>
                                  <a:pt x="1037167" y="571500"/>
                                </a:lnTo>
                                <a:lnTo>
                                  <a:pt x="1039812" y="568854"/>
                                </a:lnTo>
                                <a:lnTo>
                                  <a:pt x="1034521" y="566209"/>
                                </a:lnTo>
                                <a:lnTo>
                                  <a:pt x="1034521" y="560917"/>
                                </a:lnTo>
                                <a:lnTo>
                                  <a:pt x="1037167" y="558271"/>
                                </a:lnTo>
                                <a:lnTo>
                                  <a:pt x="1034521" y="552979"/>
                                </a:lnTo>
                                <a:lnTo>
                                  <a:pt x="1031875" y="550334"/>
                                </a:lnTo>
                                <a:lnTo>
                                  <a:pt x="1031875" y="547688"/>
                                </a:lnTo>
                                <a:lnTo>
                                  <a:pt x="1037167" y="539750"/>
                                </a:lnTo>
                                <a:lnTo>
                                  <a:pt x="1034521" y="539750"/>
                                </a:lnTo>
                                <a:lnTo>
                                  <a:pt x="1026583" y="539750"/>
                                </a:lnTo>
                                <a:lnTo>
                                  <a:pt x="1021292" y="539750"/>
                                </a:lnTo>
                                <a:lnTo>
                                  <a:pt x="1018646" y="537104"/>
                                </a:lnTo>
                                <a:lnTo>
                                  <a:pt x="1016000" y="531813"/>
                                </a:lnTo>
                                <a:lnTo>
                                  <a:pt x="1013354" y="526521"/>
                                </a:lnTo>
                                <a:lnTo>
                                  <a:pt x="1008062" y="518584"/>
                                </a:lnTo>
                                <a:lnTo>
                                  <a:pt x="1005417" y="513292"/>
                                </a:lnTo>
                                <a:lnTo>
                                  <a:pt x="1000125" y="513292"/>
                                </a:lnTo>
                                <a:lnTo>
                                  <a:pt x="992187" y="513292"/>
                                </a:lnTo>
                                <a:lnTo>
                                  <a:pt x="986896" y="510646"/>
                                </a:lnTo>
                                <a:lnTo>
                                  <a:pt x="984250" y="510646"/>
                                </a:lnTo>
                                <a:lnTo>
                                  <a:pt x="978958" y="508000"/>
                                </a:lnTo>
                                <a:lnTo>
                                  <a:pt x="981604" y="513292"/>
                                </a:lnTo>
                                <a:lnTo>
                                  <a:pt x="978958" y="515938"/>
                                </a:lnTo>
                                <a:lnTo>
                                  <a:pt x="973667" y="518584"/>
                                </a:lnTo>
                                <a:lnTo>
                                  <a:pt x="973667" y="513292"/>
                                </a:lnTo>
                                <a:lnTo>
                                  <a:pt x="973667" y="510646"/>
                                </a:lnTo>
                                <a:lnTo>
                                  <a:pt x="971021" y="513292"/>
                                </a:lnTo>
                                <a:lnTo>
                                  <a:pt x="968375" y="515938"/>
                                </a:lnTo>
                                <a:lnTo>
                                  <a:pt x="965729" y="518584"/>
                                </a:lnTo>
                                <a:lnTo>
                                  <a:pt x="960437" y="521229"/>
                                </a:lnTo>
                                <a:lnTo>
                                  <a:pt x="957792" y="523875"/>
                                </a:lnTo>
                                <a:lnTo>
                                  <a:pt x="957792" y="521229"/>
                                </a:lnTo>
                                <a:lnTo>
                                  <a:pt x="955146" y="518584"/>
                                </a:lnTo>
                                <a:lnTo>
                                  <a:pt x="955146" y="515938"/>
                                </a:lnTo>
                                <a:lnTo>
                                  <a:pt x="949854" y="521229"/>
                                </a:lnTo>
                                <a:lnTo>
                                  <a:pt x="939271" y="529167"/>
                                </a:lnTo>
                                <a:lnTo>
                                  <a:pt x="931333" y="531813"/>
                                </a:lnTo>
                                <a:lnTo>
                                  <a:pt x="918104" y="534459"/>
                                </a:lnTo>
                                <a:lnTo>
                                  <a:pt x="910167" y="531813"/>
                                </a:lnTo>
                                <a:lnTo>
                                  <a:pt x="904875" y="529167"/>
                                </a:lnTo>
                                <a:lnTo>
                                  <a:pt x="891646" y="526521"/>
                                </a:lnTo>
                                <a:lnTo>
                                  <a:pt x="881062" y="529167"/>
                                </a:lnTo>
                                <a:lnTo>
                                  <a:pt x="875771" y="529167"/>
                                </a:lnTo>
                                <a:lnTo>
                                  <a:pt x="870479" y="526521"/>
                                </a:lnTo>
                                <a:lnTo>
                                  <a:pt x="865187" y="523875"/>
                                </a:lnTo>
                                <a:lnTo>
                                  <a:pt x="862542" y="523875"/>
                                </a:lnTo>
                                <a:lnTo>
                                  <a:pt x="857250" y="523875"/>
                                </a:lnTo>
                                <a:lnTo>
                                  <a:pt x="849312" y="521229"/>
                                </a:lnTo>
                                <a:lnTo>
                                  <a:pt x="836083" y="515938"/>
                                </a:lnTo>
                                <a:lnTo>
                                  <a:pt x="825500" y="513292"/>
                                </a:lnTo>
                                <a:lnTo>
                                  <a:pt x="817562" y="510646"/>
                                </a:lnTo>
                                <a:lnTo>
                                  <a:pt x="814917" y="510646"/>
                                </a:lnTo>
                                <a:lnTo>
                                  <a:pt x="814917" y="505354"/>
                                </a:lnTo>
                                <a:lnTo>
                                  <a:pt x="817562" y="502709"/>
                                </a:lnTo>
                                <a:lnTo>
                                  <a:pt x="820208" y="494771"/>
                                </a:lnTo>
                                <a:lnTo>
                                  <a:pt x="817562" y="492125"/>
                                </a:lnTo>
                                <a:lnTo>
                                  <a:pt x="812271" y="494771"/>
                                </a:lnTo>
                                <a:lnTo>
                                  <a:pt x="809625" y="494771"/>
                                </a:lnTo>
                                <a:lnTo>
                                  <a:pt x="804333" y="500063"/>
                                </a:lnTo>
                                <a:lnTo>
                                  <a:pt x="799042" y="508000"/>
                                </a:lnTo>
                                <a:lnTo>
                                  <a:pt x="791104" y="510646"/>
                                </a:lnTo>
                                <a:lnTo>
                                  <a:pt x="148167" y="510646"/>
                                </a:lnTo>
                                <a:lnTo>
                                  <a:pt x="132292" y="494771"/>
                                </a:lnTo>
                                <a:lnTo>
                                  <a:pt x="119063" y="481542"/>
                                </a:lnTo>
                                <a:lnTo>
                                  <a:pt x="111125" y="476250"/>
                                </a:lnTo>
                                <a:lnTo>
                                  <a:pt x="108479" y="470959"/>
                                </a:lnTo>
                                <a:lnTo>
                                  <a:pt x="103188" y="465667"/>
                                </a:lnTo>
                                <a:lnTo>
                                  <a:pt x="95250" y="463021"/>
                                </a:lnTo>
                                <a:lnTo>
                                  <a:pt x="87313" y="463021"/>
                                </a:lnTo>
                                <a:lnTo>
                                  <a:pt x="84667" y="460375"/>
                                </a:lnTo>
                                <a:lnTo>
                                  <a:pt x="79375" y="457729"/>
                                </a:lnTo>
                                <a:lnTo>
                                  <a:pt x="76729" y="452438"/>
                                </a:lnTo>
                                <a:lnTo>
                                  <a:pt x="82021" y="447146"/>
                                </a:lnTo>
                                <a:lnTo>
                                  <a:pt x="84667" y="439208"/>
                                </a:lnTo>
                                <a:lnTo>
                                  <a:pt x="87313" y="428625"/>
                                </a:lnTo>
                                <a:lnTo>
                                  <a:pt x="84667" y="415396"/>
                                </a:lnTo>
                                <a:lnTo>
                                  <a:pt x="87313" y="404813"/>
                                </a:lnTo>
                                <a:lnTo>
                                  <a:pt x="87313" y="402167"/>
                                </a:lnTo>
                                <a:lnTo>
                                  <a:pt x="87313" y="399521"/>
                                </a:lnTo>
                                <a:lnTo>
                                  <a:pt x="84667" y="396875"/>
                                </a:lnTo>
                                <a:lnTo>
                                  <a:pt x="82021" y="394229"/>
                                </a:lnTo>
                                <a:lnTo>
                                  <a:pt x="82021" y="391583"/>
                                </a:lnTo>
                                <a:lnTo>
                                  <a:pt x="89958" y="375708"/>
                                </a:lnTo>
                                <a:lnTo>
                                  <a:pt x="92604" y="373063"/>
                                </a:lnTo>
                                <a:lnTo>
                                  <a:pt x="89958" y="373063"/>
                                </a:lnTo>
                                <a:lnTo>
                                  <a:pt x="87313" y="373063"/>
                                </a:lnTo>
                                <a:lnTo>
                                  <a:pt x="95250" y="359833"/>
                                </a:lnTo>
                                <a:lnTo>
                                  <a:pt x="103188" y="357188"/>
                                </a:lnTo>
                                <a:lnTo>
                                  <a:pt x="105833" y="351896"/>
                                </a:lnTo>
                                <a:lnTo>
                                  <a:pt x="108479" y="349250"/>
                                </a:lnTo>
                                <a:lnTo>
                                  <a:pt x="113771" y="343958"/>
                                </a:lnTo>
                                <a:lnTo>
                                  <a:pt x="116417" y="341313"/>
                                </a:lnTo>
                                <a:lnTo>
                                  <a:pt x="116417" y="338667"/>
                                </a:lnTo>
                                <a:lnTo>
                                  <a:pt x="111125" y="333375"/>
                                </a:lnTo>
                                <a:lnTo>
                                  <a:pt x="105833" y="328083"/>
                                </a:lnTo>
                                <a:lnTo>
                                  <a:pt x="105833" y="325438"/>
                                </a:lnTo>
                                <a:lnTo>
                                  <a:pt x="105833" y="322792"/>
                                </a:lnTo>
                                <a:lnTo>
                                  <a:pt x="108479" y="320146"/>
                                </a:lnTo>
                                <a:lnTo>
                                  <a:pt x="108479" y="317500"/>
                                </a:lnTo>
                                <a:lnTo>
                                  <a:pt x="105833" y="317500"/>
                                </a:lnTo>
                                <a:lnTo>
                                  <a:pt x="105833" y="312208"/>
                                </a:lnTo>
                                <a:lnTo>
                                  <a:pt x="108479" y="304271"/>
                                </a:lnTo>
                                <a:lnTo>
                                  <a:pt x="108479" y="296333"/>
                                </a:lnTo>
                                <a:lnTo>
                                  <a:pt x="108479" y="277812"/>
                                </a:lnTo>
                                <a:lnTo>
                                  <a:pt x="105833" y="261937"/>
                                </a:lnTo>
                                <a:lnTo>
                                  <a:pt x="105833" y="256646"/>
                                </a:lnTo>
                                <a:lnTo>
                                  <a:pt x="105833" y="254000"/>
                                </a:lnTo>
                                <a:lnTo>
                                  <a:pt x="111125" y="248708"/>
                                </a:lnTo>
                                <a:lnTo>
                                  <a:pt x="95250" y="248708"/>
                                </a:lnTo>
                                <a:lnTo>
                                  <a:pt x="87313" y="251354"/>
                                </a:lnTo>
                                <a:lnTo>
                                  <a:pt x="84667" y="254000"/>
                                </a:lnTo>
                                <a:lnTo>
                                  <a:pt x="84667" y="256646"/>
                                </a:lnTo>
                                <a:lnTo>
                                  <a:pt x="76729" y="256646"/>
                                </a:lnTo>
                                <a:lnTo>
                                  <a:pt x="68792" y="256646"/>
                                </a:lnTo>
                                <a:lnTo>
                                  <a:pt x="63500" y="259292"/>
                                </a:lnTo>
                                <a:lnTo>
                                  <a:pt x="58208" y="261937"/>
                                </a:lnTo>
                                <a:lnTo>
                                  <a:pt x="47625" y="261937"/>
                                </a:lnTo>
                                <a:lnTo>
                                  <a:pt x="42333" y="259292"/>
                                </a:lnTo>
                                <a:lnTo>
                                  <a:pt x="37042" y="254000"/>
                                </a:lnTo>
                                <a:lnTo>
                                  <a:pt x="34396" y="243417"/>
                                </a:lnTo>
                                <a:lnTo>
                                  <a:pt x="31750" y="243417"/>
                                </a:lnTo>
                                <a:lnTo>
                                  <a:pt x="26458" y="243417"/>
                                </a:lnTo>
                                <a:lnTo>
                                  <a:pt x="23812" y="243417"/>
                                </a:lnTo>
                                <a:lnTo>
                                  <a:pt x="15875" y="240771"/>
                                </a:lnTo>
                                <a:lnTo>
                                  <a:pt x="7937" y="240771"/>
                                </a:lnTo>
                                <a:lnTo>
                                  <a:pt x="0" y="240771"/>
                                </a:lnTo>
                                <a:lnTo>
                                  <a:pt x="42333" y="209021"/>
                                </a:lnTo>
                                <a:lnTo>
                                  <a:pt x="84667" y="179917"/>
                                </a:lnTo>
                                <a:lnTo>
                                  <a:pt x="164042" y="127000"/>
                                </a:lnTo>
                                <a:lnTo>
                                  <a:pt x="232833" y="84667"/>
                                </a:lnTo>
                                <a:lnTo>
                                  <a:pt x="293688" y="50271"/>
                                </a:lnTo>
                                <a:lnTo>
                                  <a:pt x="309563" y="50271"/>
                                </a:lnTo>
                                <a:lnTo>
                                  <a:pt x="325438" y="52917"/>
                                </a:lnTo>
                                <a:lnTo>
                                  <a:pt x="357188" y="66146"/>
                                </a:lnTo>
                                <a:lnTo>
                                  <a:pt x="365125" y="68792"/>
                                </a:lnTo>
                                <a:lnTo>
                                  <a:pt x="365125" y="63500"/>
                                </a:lnTo>
                                <a:lnTo>
                                  <a:pt x="365125" y="58208"/>
                                </a:lnTo>
                                <a:lnTo>
                                  <a:pt x="367771" y="55562"/>
                                </a:lnTo>
                                <a:lnTo>
                                  <a:pt x="373063" y="52917"/>
                                </a:lnTo>
                                <a:lnTo>
                                  <a:pt x="386292" y="52917"/>
                                </a:lnTo>
                                <a:lnTo>
                                  <a:pt x="399521" y="52917"/>
                                </a:lnTo>
                                <a:lnTo>
                                  <a:pt x="407458" y="52917"/>
                                </a:lnTo>
                                <a:lnTo>
                                  <a:pt x="410104" y="52917"/>
                                </a:lnTo>
                                <a:lnTo>
                                  <a:pt x="404813" y="58208"/>
                                </a:lnTo>
                                <a:lnTo>
                                  <a:pt x="402167" y="63500"/>
                                </a:lnTo>
                                <a:lnTo>
                                  <a:pt x="404813" y="63500"/>
                                </a:lnTo>
                                <a:lnTo>
                                  <a:pt x="423333" y="52917"/>
                                </a:lnTo>
                                <a:lnTo>
                                  <a:pt x="433917" y="50271"/>
                                </a:lnTo>
                                <a:lnTo>
                                  <a:pt x="444500" y="50271"/>
                                </a:lnTo>
                                <a:lnTo>
                                  <a:pt x="455083" y="50271"/>
                                </a:lnTo>
                                <a:lnTo>
                                  <a:pt x="468313" y="47625"/>
                                </a:lnTo>
                                <a:lnTo>
                                  <a:pt x="497417" y="39687"/>
                                </a:lnTo>
                                <a:lnTo>
                                  <a:pt x="515938" y="34396"/>
                                </a:lnTo>
                                <a:lnTo>
                                  <a:pt x="523875" y="34396"/>
                                </a:lnTo>
                                <a:lnTo>
                                  <a:pt x="529167" y="37042"/>
                                </a:lnTo>
                                <a:lnTo>
                                  <a:pt x="531813" y="39687"/>
                                </a:lnTo>
                                <a:lnTo>
                                  <a:pt x="523875" y="42333"/>
                                </a:lnTo>
                                <a:lnTo>
                                  <a:pt x="497417" y="47625"/>
                                </a:lnTo>
                                <a:lnTo>
                                  <a:pt x="484188" y="50271"/>
                                </a:lnTo>
                                <a:lnTo>
                                  <a:pt x="473604" y="58208"/>
                                </a:lnTo>
                                <a:lnTo>
                                  <a:pt x="484188" y="52917"/>
                                </a:lnTo>
                                <a:lnTo>
                                  <a:pt x="497417" y="52917"/>
                                </a:lnTo>
                                <a:lnTo>
                                  <a:pt x="515938" y="50271"/>
                                </a:lnTo>
                                <a:lnTo>
                                  <a:pt x="526521" y="47625"/>
                                </a:lnTo>
                                <a:lnTo>
                                  <a:pt x="534458" y="44979"/>
                                </a:lnTo>
                                <a:lnTo>
                                  <a:pt x="537104" y="47625"/>
                                </a:lnTo>
                                <a:lnTo>
                                  <a:pt x="537104" y="50271"/>
                                </a:lnTo>
                                <a:lnTo>
                                  <a:pt x="539750" y="52917"/>
                                </a:lnTo>
                                <a:lnTo>
                                  <a:pt x="547688" y="50271"/>
                                </a:lnTo>
                                <a:lnTo>
                                  <a:pt x="563563" y="39687"/>
                                </a:lnTo>
                                <a:lnTo>
                                  <a:pt x="563563" y="34396"/>
                                </a:lnTo>
                                <a:lnTo>
                                  <a:pt x="563563" y="31750"/>
                                </a:lnTo>
                                <a:lnTo>
                                  <a:pt x="566208" y="29104"/>
                                </a:lnTo>
                                <a:lnTo>
                                  <a:pt x="568854" y="29104"/>
                                </a:lnTo>
                                <a:lnTo>
                                  <a:pt x="582083" y="34396"/>
                                </a:lnTo>
                                <a:lnTo>
                                  <a:pt x="587375" y="37042"/>
                                </a:lnTo>
                                <a:lnTo>
                                  <a:pt x="590021" y="39687"/>
                                </a:lnTo>
                                <a:lnTo>
                                  <a:pt x="590021" y="47625"/>
                                </a:lnTo>
                                <a:lnTo>
                                  <a:pt x="590021" y="52917"/>
                                </a:lnTo>
                                <a:lnTo>
                                  <a:pt x="600604" y="52917"/>
                                </a:lnTo>
                                <a:lnTo>
                                  <a:pt x="605896" y="50271"/>
                                </a:lnTo>
                                <a:lnTo>
                                  <a:pt x="605896" y="47625"/>
                                </a:lnTo>
                                <a:lnTo>
                                  <a:pt x="605896" y="44979"/>
                                </a:lnTo>
                                <a:lnTo>
                                  <a:pt x="611188" y="39687"/>
                                </a:lnTo>
                                <a:lnTo>
                                  <a:pt x="616479" y="37042"/>
                                </a:lnTo>
                                <a:lnTo>
                                  <a:pt x="616479" y="34396"/>
                                </a:lnTo>
                                <a:lnTo>
                                  <a:pt x="619125" y="31750"/>
                                </a:lnTo>
                                <a:lnTo>
                                  <a:pt x="627063" y="29104"/>
                                </a:lnTo>
                                <a:lnTo>
                                  <a:pt x="642938" y="26458"/>
                                </a:lnTo>
                                <a:lnTo>
                                  <a:pt x="645583" y="29104"/>
                                </a:lnTo>
                                <a:lnTo>
                                  <a:pt x="640292" y="34396"/>
                                </a:lnTo>
                                <a:lnTo>
                                  <a:pt x="632354" y="37042"/>
                                </a:lnTo>
                                <a:lnTo>
                                  <a:pt x="635000" y="39687"/>
                                </a:lnTo>
                                <a:lnTo>
                                  <a:pt x="635000" y="42333"/>
                                </a:lnTo>
                                <a:lnTo>
                                  <a:pt x="627063" y="50271"/>
                                </a:lnTo>
                                <a:lnTo>
                                  <a:pt x="645583" y="47625"/>
                                </a:lnTo>
                                <a:lnTo>
                                  <a:pt x="653521" y="44979"/>
                                </a:lnTo>
                                <a:lnTo>
                                  <a:pt x="658813" y="42333"/>
                                </a:lnTo>
                                <a:lnTo>
                                  <a:pt x="669396" y="39687"/>
                                </a:lnTo>
                                <a:lnTo>
                                  <a:pt x="682625" y="39687"/>
                                </a:lnTo>
                                <a:lnTo>
                                  <a:pt x="693208" y="42333"/>
                                </a:lnTo>
                                <a:lnTo>
                                  <a:pt x="703792" y="47625"/>
                                </a:lnTo>
                                <a:lnTo>
                                  <a:pt x="722313" y="50271"/>
                                </a:lnTo>
                                <a:lnTo>
                                  <a:pt x="759354" y="55562"/>
                                </a:lnTo>
                                <a:lnTo>
                                  <a:pt x="769937" y="55562"/>
                                </a:lnTo>
                                <a:lnTo>
                                  <a:pt x="772583" y="52917"/>
                                </a:lnTo>
                                <a:lnTo>
                                  <a:pt x="769937" y="52917"/>
                                </a:lnTo>
                                <a:lnTo>
                                  <a:pt x="767292" y="50271"/>
                                </a:lnTo>
                                <a:lnTo>
                                  <a:pt x="769937" y="50271"/>
                                </a:lnTo>
                                <a:lnTo>
                                  <a:pt x="785812" y="52917"/>
                                </a:lnTo>
                                <a:lnTo>
                                  <a:pt x="791104" y="55562"/>
                                </a:lnTo>
                                <a:lnTo>
                                  <a:pt x="793750" y="58208"/>
                                </a:lnTo>
                                <a:lnTo>
                                  <a:pt x="796396" y="63500"/>
                                </a:lnTo>
                                <a:lnTo>
                                  <a:pt x="796396" y="66146"/>
                                </a:lnTo>
                                <a:lnTo>
                                  <a:pt x="788458" y="66146"/>
                                </a:lnTo>
                                <a:lnTo>
                                  <a:pt x="783167" y="63500"/>
                                </a:lnTo>
                                <a:lnTo>
                                  <a:pt x="772583" y="66146"/>
                                </a:lnTo>
                                <a:lnTo>
                                  <a:pt x="769937" y="66146"/>
                                </a:lnTo>
                                <a:lnTo>
                                  <a:pt x="764646" y="71437"/>
                                </a:lnTo>
                                <a:lnTo>
                                  <a:pt x="777875" y="71437"/>
                                </a:lnTo>
                                <a:lnTo>
                                  <a:pt x="780521" y="74083"/>
                                </a:lnTo>
                                <a:lnTo>
                                  <a:pt x="783167" y="76729"/>
                                </a:lnTo>
                                <a:lnTo>
                                  <a:pt x="793750" y="76729"/>
                                </a:lnTo>
                                <a:lnTo>
                                  <a:pt x="801687" y="76729"/>
                                </a:lnTo>
                                <a:lnTo>
                                  <a:pt x="809625" y="79375"/>
                                </a:lnTo>
                                <a:lnTo>
                                  <a:pt x="814917" y="82021"/>
                                </a:lnTo>
                                <a:lnTo>
                                  <a:pt x="825500" y="79375"/>
                                </a:lnTo>
                                <a:lnTo>
                                  <a:pt x="838729" y="76729"/>
                                </a:lnTo>
                                <a:lnTo>
                                  <a:pt x="846667" y="76729"/>
                                </a:lnTo>
                                <a:lnTo>
                                  <a:pt x="854604" y="74083"/>
                                </a:lnTo>
                                <a:lnTo>
                                  <a:pt x="862542" y="71437"/>
                                </a:lnTo>
                                <a:lnTo>
                                  <a:pt x="873125" y="68792"/>
                                </a:lnTo>
                                <a:lnTo>
                                  <a:pt x="881062" y="68792"/>
                                </a:lnTo>
                                <a:lnTo>
                                  <a:pt x="896937" y="79375"/>
                                </a:lnTo>
                                <a:lnTo>
                                  <a:pt x="902229" y="84667"/>
                                </a:lnTo>
                                <a:lnTo>
                                  <a:pt x="896937" y="87312"/>
                                </a:lnTo>
                                <a:lnTo>
                                  <a:pt x="894292" y="89958"/>
                                </a:lnTo>
                                <a:lnTo>
                                  <a:pt x="889000" y="92604"/>
                                </a:lnTo>
                                <a:lnTo>
                                  <a:pt x="886354" y="100542"/>
                                </a:lnTo>
                                <a:lnTo>
                                  <a:pt x="886354" y="108479"/>
                                </a:lnTo>
                                <a:lnTo>
                                  <a:pt x="889000" y="97896"/>
                                </a:lnTo>
                                <a:lnTo>
                                  <a:pt x="891646" y="95250"/>
                                </a:lnTo>
                                <a:lnTo>
                                  <a:pt x="899583" y="92604"/>
                                </a:lnTo>
                                <a:lnTo>
                                  <a:pt x="904875" y="87312"/>
                                </a:lnTo>
                                <a:lnTo>
                                  <a:pt x="904875" y="84667"/>
                                </a:lnTo>
                                <a:lnTo>
                                  <a:pt x="904875" y="82021"/>
                                </a:lnTo>
                                <a:lnTo>
                                  <a:pt x="904875" y="79375"/>
                                </a:lnTo>
                                <a:lnTo>
                                  <a:pt x="915458" y="74083"/>
                                </a:lnTo>
                                <a:lnTo>
                                  <a:pt x="933979" y="68792"/>
                                </a:lnTo>
                                <a:lnTo>
                                  <a:pt x="947208" y="68792"/>
                                </a:lnTo>
                                <a:lnTo>
                                  <a:pt x="955146" y="66146"/>
                                </a:lnTo>
                                <a:lnTo>
                                  <a:pt x="965729" y="66146"/>
                                </a:lnTo>
                                <a:lnTo>
                                  <a:pt x="968375" y="66146"/>
                                </a:lnTo>
                                <a:lnTo>
                                  <a:pt x="971021" y="63500"/>
                                </a:lnTo>
                                <a:lnTo>
                                  <a:pt x="968375" y="60854"/>
                                </a:lnTo>
                                <a:lnTo>
                                  <a:pt x="965729" y="60854"/>
                                </a:lnTo>
                                <a:lnTo>
                                  <a:pt x="960437" y="63500"/>
                                </a:lnTo>
                                <a:lnTo>
                                  <a:pt x="957792" y="63500"/>
                                </a:lnTo>
                                <a:lnTo>
                                  <a:pt x="955146" y="60854"/>
                                </a:lnTo>
                                <a:lnTo>
                                  <a:pt x="952500" y="63500"/>
                                </a:lnTo>
                                <a:lnTo>
                                  <a:pt x="947208" y="63500"/>
                                </a:lnTo>
                                <a:lnTo>
                                  <a:pt x="944562" y="63500"/>
                                </a:lnTo>
                                <a:lnTo>
                                  <a:pt x="941917" y="63500"/>
                                </a:lnTo>
                                <a:lnTo>
                                  <a:pt x="936625" y="66146"/>
                                </a:lnTo>
                                <a:lnTo>
                                  <a:pt x="928687" y="68792"/>
                                </a:lnTo>
                                <a:lnTo>
                                  <a:pt x="926042" y="66146"/>
                                </a:lnTo>
                                <a:lnTo>
                                  <a:pt x="923396" y="66146"/>
                                </a:lnTo>
                                <a:lnTo>
                                  <a:pt x="918104" y="66146"/>
                                </a:lnTo>
                                <a:lnTo>
                                  <a:pt x="918104" y="63500"/>
                                </a:lnTo>
                                <a:lnTo>
                                  <a:pt x="918104" y="60854"/>
                                </a:lnTo>
                                <a:lnTo>
                                  <a:pt x="923396" y="58208"/>
                                </a:lnTo>
                                <a:lnTo>
                                  <a:pt x="933979" y="55562"/>
                                </a:lnTo>
                                <a:lnTo>
                                  <a:pt x="949854" y="52917"/>
                                </a:lnTo>
                                <a:lnTo>
                                  <a:pt x="960437" y="50271"/>
                                </a:lnTo>
                                <a:lnTo>
                                  <a:pt x="968375" y="47625"/>
                                </a:lnTo>
                                <a:lnTo>
                                  <a:pt x="978958" y="47625"/>
                                </a:lnTo>
                                <a:lnTo>
                                  <a:pt x="981604" y="47625"/>
                                </a:lnTo>
                                <a:lnTo>
                                  <a:pt x="981604" y="50271"/>
                                </a:lnTo>
                                <a:lnTo>
                                  <a:pt x="978958" y="52917"/>
                                </a:lnTo>
                                <a:lnTo>
                                  <a:pt x="976312" y="58208"/>
                                </a:lnTo>
                                <a:lnTo>
                                  <a:pt x="976312" y="60854"/>
                                </a:lnTo>
                                <a:lnTo>
                                  <a:pt x="981604" y="63500"/>
                                </a:lnTo>
                                <a:lnTo>
                                  <a:pt x="981604" y="66146"/>
                                </a:lnTo>
                                <a:lnTo>
                                  <a:pt x="984250" y="63500"/>
                                </a:lnTo>
                                <a:lnTo>
                                  <a:pt x="989542" y="63500"/>
                                </a:lnTo>
                                <a:lnTo>
                                  <a:pt x="989542" y="66146"/>
                                </a:lnTo>
                                <a:lnTo>
                                  <a:pt x="989542" y="68792"/>
                                </a:lnTo>
                                <a:lnTo>
                                  <a:pt x="992187" y="71437"/>
                                </a:lnTo>
                                <a:lnTo>
                                  <a:pt x="1000125" y="74083"/>
                                </a:lnTo>
                                <a:lnTo>
                                  <a:pt x="1010708" y="74083"/>
                                </a:lnTo>
                                <a:lnTo>
                                  <a:pt x="1037167" y="74083"/>
                                </a:lnTo>
                                <a:lnTo>
                                  <a:pt x="1053042" y="74083"/>
                                </a:lnTo>
                                <a:lnTo>
                                  <a:pt x="1066271" y="71437"/>
                                </a:lnTo>
                                <a:lnTo>
                                  <a:pt x="1079500" y="68792"/>
                                </a:lnTo>
                                <a:lnTo>
                                  <a:pt x="1084792" y="71437"/>
                                </a:lnTo>
                                <a:lnTo>
                                  <a:pt x="1090083" y="71437"/>
                                </a:lnTo>
                                <a:lnTo>
                                  <a:pt x="1095375" y="76729"/>
                                </a:lnTo>
                                <a:lnTo>
                                  <a:pt x="1098021" y="76729"/>
                                </a:lnTo>
                                <a:lnTo>
                                  <a:pt x="1103313" y="74083"/>
                                </a:lnTo>
                                <a:lnTo>
                                  <a:pt x="1111250" y="74083"/>
                                </a:lnTo>
                                <a:lnTo>
                                  <a:pt x="1119188" y="71437"/>
                                </a:lnTo>
                                <a:lnTo>
                                  <a:pt x="1121833" y="68792"/>
                                </a:lnTo>
                                <a:lnTo>
                                  <a:pt x="1124479" y="66146"/>
                                </a:lnTo>
                                <a:lnTo>
                                  <a:pt x="1127125" y="71437"/>
                                </a:lnTo>
                                <a:lnTo>
                                  <a:pt x="1132417" y="76729"/>
                                </a:lnTo>
                                <a:lnTo>
                                  <a:pt x="1137708" y="79375"/>
                                </a:lnTo>
                                <a:lnTo>
                                  <a:pt x="1140354" y="79375"/>
                                </a:lnTo>
                                <a:lnTo>
                                  <a:pt x="1143000" y="76729"/>
                                </a:lnTo>
                                <a:lnTo>
                                  <a:pt x="1140354" y="74083"/>
                                </a:lnTo>
                                <a:lnTo>
                                  <a:pt x="1135063" y="71437"/>
                                </a:lnTo>
                                <a:lnTo>
                                  <a:pt x="1129771" y="68792"/>
                                </a:lnTo>
                                <a:lnTo>
                                  <a:pt x="1127125" y="60854"/>
                                </a:lnTo>
                                <a:lnTo>
                                  <a:pt x="1135063" y="63500"/>
                                </a:lnTo>
                                <a:lnTo>
                                  <a:pt x="1140354" y="60854"/>
                                </a:lnTo>
                                <a:lnTo>
                                  <a:pt x="1143000" y="58208"/>
                                </a:lnTo>
                                <a:lnTo>
                                  <a:pt x="1145646" y="60854"/>
                                </a:lnTo>
                                <a:lnTo>
                                  <a:pt x="1153583" y="66146"/>
                                </a:lnTo>
                                <a:lnTo>
                                  <a:pt x="1158875" y="66146"/>
                                </a:lnTo>
                                <a:lnTo>
                                  <a:pt x="1158875" y="68792"/>
                                </a:lnTo>
                                <a:lnTo>
                                  <a:pt x="1156229" y="71437"/>
                                </a:lnTo>
                                <a:lnTo>
                                  <a:pt x="1150938" y="74083"/>
                                </a:lnTo>
                                <a:lnTo>
                                  <a:pt x="1150938" y="76729"/>
                                </a:lnTo>
                                <a:lnTo>
                                  <a:pt x="1150938" y="79375"/>
                                </a:lnTo>
                                <a:lnTo>
                                  <a:pt x="1143000" y="87312"/>
                                </a:lnTo>
                                <a:lnTo>
                                  <a:pt x="1153583" y="82021"/>
                                </a:lnTo>
                                <a:lnTo>
                                  <a:pt x="1158875" y="79375"/>
                                </a:lnTo>
                                <a:lnTo>
                                  <a:pt x="1158875" y="74083"/>
                                </a:lnTo>
                                <a:lnTo>
                                  <a:pt x="1166813" y="71437"/>
                                </a:lnTo>
                                <a:lnTo>
                                  <a:pt x="1172104" y="68792"/>
                                </a:lnTo>
                                <a:lnTo>
                                  <a:pt x="1177396" y="68792"/>
                                </a:lnTo>
                                <a:lnTo>
                                  <a:pt x="1185333" y="71437"/>
                                </a:lnTo>
                                <a:lnTo>
                                  <a:pt x="1195917" y="71437"/>
                                </a:lnTo>
                                <a:lnTo>
                                  <a:pt x="1219729" y="68792"/>
                                </a:lnTo>
                                <a:lnTo>
                                  <a:pt x="1222375" y="68792"/>
                                </a:lnTo>
                                <a:lnTo>
                                  <a:pt x="1219729" y="66146"/>
                                </a:lnTo>
                                <a:lnTo>
                                  <a:pt x="1217083" y="63500"/>
                                </a:lnTo>
                                <a:lnTo>
                                  <a:pt x="1214438" y="66146"/>
                                </a:lnTo>
                                <a:lnTo>
                                  <a:pt x="1211792" y="68792"/>
                                </a:lnTo>
                                <a:lnTo>
                                  <a:pt x="1209146" y="66146"/>
                                </a:lnTo>
                                <a:lnTo>
                                  <a:pt x="1206500" y="66146"/>
                                </a:lnTo>
                                <a:lnTo>
                                  <a:pt x="1206500" y="63500"/>
                                </a:lnTo>
                                <a:lnTo>
                                  <a:pt x="1211792" y="60854"/>
                                </a:lnTo>
                                <a:lnTo>
                                  <a:pt x="1222375" y="58208"/>
                                </a:lnTo>
                                <a:lnTo>
                                  <a:pt x="1227667" y="58208"/>
                                </a:lnTo>
                                <a:lnTo>
                                  <a:pt x="1232958" y="58208"/>
                                </a:lnTo>
                                <a:lnTo>
                                  <a:pt x="1240896" y="55562"/>
                                </a:lnTo>
                                <a:lnTo>
                                  <a:pt x="1248833" y="50271"/>
                                </a:lnTo>
                                <a:lnTo>
                                  <a:pt x="1243542" y="50271"/>
                                </a:lnTo>
                                <a:lnTo>
                                  <a:pt x="1232958" y="52917"/>
                                </a:lnTo>
                                <a:lnTo>
                                  <a:pt x="1222375" y="55562"/>
                                </a:lnTo>
                                <a:lnTo>
                                  <a:pt x="1214438" y="52917"/>
                                </a:lnTo>
                                <a:lnTo>
                                  <a:pt x="1209146" y="52917"/>
                                </a:lnTo>
                                <a:lnTo>
                                  <a:pt x="1206500" y="52917"/>
                                </a:lnTo>
                                <a:lnTo>
                                  <a:pt x="1201208" y="52917"/>
                                </a:lnTo>
                                <a:lnTo>
                                  <a:pt x="1193271" y="47625"/>
                                </a:lnTo>
                                <a:lnTo>
                                  <a:pt x="1190625" y="42333"/>
                                </a:lnTo>
                                <a:lnTo>
                                  <a:pt x="1190625" y="37042"/>
                                </a:lnTo>
                                <a:lnTo>
                                  <a:pt x="1201208" y="34396"/>
                                </a:lnTo>
                                <a:lnTo>
                                  <a:pt x="1211792" y="31750"/>
                                </a:lnTo>
                                <a:lnTo>
                                  <a:pt x="1214438" y="29104"/>
                                </a:lnTo>
                                <a:lnTo>
                                  <a:pt x="1214438" y="26458"/>
                                </a:lnTo>
                                <a:lnTo>
                                  <a:pt x="1214438" y="23812"/>
                                </a:lnTo>
                                <a:lnTo>
                                  <a:pt x="1219729" y="21167"/>
                                </a:lnTo>
                                <a:lnTo>
                                  <a:pt x="1232958" y="13229"/>
                                </a:lnTo>
                                <a:lnTo>
                                  <a:pt x="1238250" y="10583"/>
                                </a:lnTo>
                                <a:lnTo>
                                  <a:pt x="1240896" y="13229"/>
                                </a:lnTo>
                                <a:lnTo>
                                  <a:pt x="1243542" y="13229"/>
                                </a:lnTo>
                                <a:lnTo>
                                  <a:pt x="1248833" y="10583"/>
                                </a:lnTo>
                                <a:lnTo>
                                  <a:pt x="1248833" y="7937"/>
                                </a:lnTo>
                                <a:lnTo>
                                  <a:pt x="1246188" y="7937"/>
                                </a:lnTo>
                                <a:lnTo>
                                  <a:pt x="1243542" y="7937"/>
                                </a:lnTo>
                                <a:lnTo>
                                  <a:pt x="1246188" y="5292"/>
                                </a:lnTo>
                                <a:lnTo>
                                  <a:pt x="1259417" y="2646"/>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3" name="United States"/>
                          <p:cNvSpPr>
                            <a:spLocks/>
                          </p:cNvSpPr>
                          <p:nvPr/>
                        </p:nvSpPr>
                        <p:spPr bwMode="auto">
                          <a:xfrm>
                            <a:off x="1489238" y="1352064"/>
                            <a:ext cx="2421000" cy="1368710"/>
                          </a:xfrm>
                          <a:custGeom>
                            <a:avLst/>
                            <a:gdLst/>
                            <a:ahLst/>
                            <a:cxnLst/>
                            <a:rect l="l" t="t" r="r" b="b"/>
                            <a:pathLst>
                              <a:path w="2108729" h="1193271">
                                <a:moveTo>
                                  <a:pt x="1471083" y="468313"/>
                                </a:moveTo>
                                <a:lnTo>
                                  <a:pt x="1473729" y="470959"/>
                                </a:lnTo>
                                <a:lnTo>
                                  <a:pt x="1471083" y="478896"/>
                                </a:lnTo>
                                <a:lnTo>
                                  <a:pt x="1468437" y="481542"/>
                                </a:lnTo>
                                <a:lnTo>
                                  <a:pt x="1468437" y="486834"/>
                                </a:lnTo>
                                <a:lnTo>
                                  <a:pt x="1471083" y="486834"/>
                                </a:lnTo>
                                <a:lnTo>
                                  <a:pt x="1479021" y="489480"/>
                                </a:lnTo>
                                <a:lnTo>
                                  <a:pt x="1489604" y="492126"/>
                                </a:lnTo>
                                <a:lnTo>
                                  <a:pt x="1502833" y="497417"/>
                                </a:lnTo>
                                <a:lnTo>
                                  <a:pt x="1510771" y="500063"/>
                                </a:lnTo>
                                <a:lnTo>
                                  <a:pt x="1516062" y="500063"/>
                                </a:lnTo>
                                <a:lnTo>
                                  <a:pt x="1518708" y="500063"/>
                                </a:lnTo>
                                <a:lnTo>
                                  <a:pt x="1524000" y="502709"/>
                                </a:lnTo>
                                <a:lnTo>
                                  <a:pt x="1529292" y="505355"/>
                                </a:lnTo>
                                <a:lnTo>
                                  <a:pt x="1534583" y="505355"/>
                                </a:lnTo>
                                <a:lnTo>
                                  <a:pt x="1545167" y="502709"/>
                                </a:lnTo>
                                <a:lnTo>
                                  <a:pt x="1558396" y="505355"/>
                                </a:lnTo>
                                <a:lnTo>
                                  <a:pt x="1563687" y="508001"/>
                                </a:lnTo>
                                <a:lnTo>
                                  <a:pt x="1571625" y="510646"/>
                                </a:lnTo>
                                <a:lnTo>
                                  <a:pt x="1558396" y="510646"/>
                                </a:lnTo>
                                <a:lnTo>
                                  <a:pt x="1553104" y="513292"/>
                                </a:lnTo>
                                <a:lnTo>
                                  <a:pt x="1539875" y="523876"/>
                                </a:lnTo>
                                <a:lnTo>
                                  <a:pt x="1529292" y="529167"/>
                                </a:lnTo>
                                <a:lnTo>
                                  <a:pt x="1521354" y="534459"/>
                                </a:lnTo>
                                <a:lnTo>
                                  <a:pt x="1500187" y="545042"/>
                                </a:lnTo>
                                <a:lnTo>
                                  <a:pt x="1494896" y="547688"/>
                                </a:lnTo>
                                <a:lnTo>
                                  <a:pt x="1497542" y="550334"/>
                                </a:lnTo>
                                <a:lnTo>
                                  <a:pt x="1516062" y="547688"/>
                                </a:lnTo>
                                <a:lnTo>
                                  <a:pt x="1531937" y="547688"/>
                                </a:lnTo>
                                <a:lnTo>
                                  <a:pt x="1531937" y="552980"/>
                                </a:lnTo>
                                <a:lnTo>
                                  <a:pt x="1531937" y="555626"/>
                                </a:lnTo>
                                <a:lnTo>
                                  <a:pt x="1534583" y="555626"/>
                                </a:lnTo>
                                <a:lnTo>
                                  <a:pt x="1545167" y="552980"/>
                                </a:lnTo>
                                <a:lnTo>
                                  <a:pt x="1553104" y="550334"/>
                                </a:lnTo>
                                <a:lnTo>
                                  <a:pt x="1568979" y="545042"/>
                                </a:lnTo>
                                <a:lnTo>
                                  <a:pt x="1579562" y="542396"/>
                                </a:lnTo>
                                <a:lnTo>
                                  <a:pt x="1582208" y="537105"/>
                                </a:lnTo>
                                <a:lnTo>
                                  <a:pt x="1587500" y="534459"/>
                                </a:lnTo>
                                <a:lnTo>
                                  <a:pt x="1598083" y="529167"/>
                                </a:lnTo>
                                <a:lnTo>
                                  <a:pt x="1606021" y="529167"/>
                                </a:lnTo>
                                <a:lnTo>
                                  <a:pt x="1608667" y="529167"/>
                                </a:lnTo>
                                <a:lnTo>
                                  <a:pt x="1600729" y="531813"/>
                                </a:lnTo>
                                <a:lnTo>
                                  <a:pt x="1592792" y="537105"/>
                                </a:lnTo>
                                <a:lnTo>
                                  <a:pt x="1590146" y="537105"/>
                                </a:lnTo>
                                <a:lnTo>
                                  <a:pt x="1592792" y="539751"/>
                                </a:lnTo>
                                <a:lnTo>
                                  <a:pt x="1598083" y="537105"/>
                                </a:lnTo>
                                <a:lnTo>
                                  <a:pt x="1603375" y="537105"/>
                                </a:lnTo>
                                <a:lnTo>
                                  <a:pt x="1608667" y="539751"/>
                                </a:lnTo>
                                <a:lnTo>
                                  <a:pt x="1613958" y="542396"/>
                                </a:lnTo>
                                <a:lnTo>
                                  <a:pt x="1613958" y="545042"/>
                                </a:lnTo>
                                <a:lnTo>
                                  <a:pt x="1624542" y="550334"/>
                                </a:lnTo>
                                <a:lnTo>
                                  <a:pt x="1635125" y="547688"/>
                                </a:lnTo>
                                <a:lnTo>
                                  <a:pt x="1643062" y="547688"/>
                                </a:lnTo>
                                <a:lnTo>
                                  <a:pt x="1651000" y="547688"/>
                                </a:lnTo>
                                <a:lnTo>
                                  <a:pt x="1658937" y="547688"/>
                                </a:lnTo>
                                <a:lnTo>
                                  <a:pt x="1669521" y="547688"/>
                                </a:lnTo>
                                <a:lnTo>
                                  <a:pt x="1672167" y="550334"/>
                                </a:lnTo>
                                <a:lnTo>
                                  <a:pt x="1669521" y="552980"/>
                                </a:lnTo>
                                <a:lnTo>
                                  <a:pt x="1669521" y="555626"/>
                                </a:lnTo>
                                <a:lnTo>
                                  <a:pt x="1677458" y="555626"/>
                                </a:lnTo>
                                <a:lnTo>
                                  <a:pt x="1685396" y="555626"/>
                                </a:lnTo>
                                <a:lnTo>
                                  <a:pt x="1688042" y="555626"/>
                                </a:lnTo>
                                <a:lnTo>
                                  <a:pt x="1690687" y="555626"/>
                                </a:lnTo>
                                <a:lnTo>
                                  <a:pt x="1695979" y="560917"/>
                                </a:lnTo>
                                <a:lnTo>
                                  <a:pt x="1695979" y="563563"/>
                                </a:lnTo>
                                <a:lnTo>
                                  <a:pt x="1695979" y="566209"/>
                                </a:lnTo>
                                <a:lnTo>
                                  <a:pt x="1685396" y="566209"/>
                                </a:lnTo>
                                <a:lnTo>
                                  <a:pt x="1674812" y="566209"/>
                                </a:lnTo>
                                <a:lnTo>
                                  <a:pt x="1669521" y="566209"/>
                                </a:lnTo>
                                <a:lnTo>
                                  <a:pt x="1669521" y="568855"/>
                                </a:lnTo>
                                <a:lnTo>
                                  <a:pt x="1664229" y="566209"/>
                                </a:lnTo>
                                <a:lnTo>
                                  <a:pt x="1658937" y="563563"/>
                                </a:lnTo>
                                <a:lnTo>
                                  <a:pt x="1651000" y="566209"/>
                                </a:lnTo>
                                <a:lnTo>
                                  <a:pt x="1648354" y="566209"/>
                                </a:lnTo>
                                <a:lnTo>
                                  <a:pt x="1640417" y="566209"/>
                                </a:lnTo>
                                <a:lnTo>
                                  <a:pt x="1635125" y="566209"/>
                                </a:lnTo>
                                <a:lnTo>
                                  <a:pt x="1627187" y="571501"/>
                                </a:lnTo>
                                <a:lnTo>
                                  <a:pt x="1619250" y="574146"/>
                                </a:lnTo>
                                <a:lnTo>
                                  <a:pt x="1616604" y="574146"/>
                                </a:lnTo>
                                <a:lnTo>
                                  <a:pt x="1613958" y="574146"/>
                                </a:lnTo>
                                <a:lnTo>
                                  <a:pt x="1616604" y="571501"/>
                                </a:lnTo>
                                <a:lnTo>
                                  <a:pt x="1616604" y="568855"/>
                                </a:lnTo>
                                <a:lnTo>
                                  <a:pt x="1608667" y="574146"/>
                                </a:lnTo>
                                <a:lnTo>
                                  <a:pt x="1595437" y="584730"/>
                                </a:lnTo>
                                <a:lnTo>
                                  <a:pt x="1582208" y="597959"/>
                                </a:lnTo>
                                <a:lnTo>
                                  <a:pt x="1595437" y="590021"/>
                                </a:lnTo>
                                <a:lnTo>
                                  <a:pt x="1606021" y="584730"/>
                                </a:lnTo>
                                <a:lnTo>
                                  <a:pt x="1613958" y="579438"/>
                                </a:lnTo>
                                <a:lnTo>
                                  <a:pt x="1603375" y="590021"/>
                                </a:lnTo>
                                <a:lnTo>
                                  <a:pt x="1592792" y="600605"/>
                                </a:lnTo>
                                <a:lnTo>
                                  <a:pt x="1582208" y="611188"/>
                                </a:lnTo>
                                <a:lnTo>
                                  <a:pt x="1571625" y="624417"/>
                                </a:lnTo>
                                <a:lnTo>
                                  <a:pt x="1566333" y="629709"/>
                                </a:lnTo>
                                <a:lnTo>
                                  <a:pt x="1563687" y="637646"/>
                                </a:lnTo>
                                <a:lnTo>
                                  <a:pt x="1555750" y="648230"/>
                                </a:lnTo>
                                <a:lnTo>
                                  <a:pt x="1545167" y="661459"/>
                                </a:lnTo>
                                <a:lnTo>
                                  <a:pt x="1542521" y="674688"/>
                                </a:lnTo>
                                <a:lnTo>
                                  <a:pt x="1545167" y="682626"/>
                                </a:lnTo>
                                <a:lnTo>
                                  <a:pt x="1545167" y="685271"/>
                                </a:lnTo>
                                <a:lnTo>
                                  <a:pt x="1550458" y="685271"/>
                                </a:lnTo>
                                <a:lnTo>
                                  <a:pt x="1568979" y="679980"/>
                                </a:lnTo>
                                <a:lnTo>
                                  <a:pt x="1579562" y="674688"/>
                                </a:lnTo>
                                <a:lnTo>
                                  <a:pt x="1592792" y="666751"/>
                                </a:lnTo>
                                <a:lnTo>
                                  <a:pt x="1600729" y="656167"/>
                                </a:lnTo>
                                <a:lnTo>
                                  <a:pt x="1603375" y="645584"/>
                                </a:lnTo>
                                <a:lnTo>
                                  <a:pt x="1606021" y="640292"/>
                                </a:lnTo>
                                <a:lnTo>
                                  <a:pt x="1603375" y="635001"/>
                                </a:lnTo>
                                <a:lnTo>
                                  <a:pt x="1600729" y="632355"/>
                                </a:lnTo>
                                <a:lnTo>
                                  <a:pt x="1603375" y="629709"/>
                                </a:lnTo>
                                <a:lnTo>
                                  <a:pt x="1608667" y="616480"/>
                                </a:lnTo>
                                <a:lnTo>
                                  <a:pt x="1616604" y="605896"/>
                                </a:lnTo>
                                <a:lnTo>
                                  <a:pt x="1619250" y="600605"/>
                                </a:lnTo>
                                <a:lnTo>
                                  <a:pt x="1627187" y="592667"/>
                                </a:lnTo>
                                <a:lnTo>
                                  <a:pt x="1629833" y="590021"/>
                                </a:lnTo>
                                <a:lnTo>
                                  <a:pt x="1632479" y="590021"/>
                                </a:lnTo>
                                <a:lnTo>
                                  <a:pt x="1635125" y="592667"/>
                                </a:lnTo>
                                <a:lnTo>
                                  <a:pt x="1632479" y="597959"/>
                                </a:lnTo>
                                <a:lnTo>
                                  <a:pt x="1635125" y="597959"/>
                                </a:lnTo>
                                <a:lnTo>
                                  <a:pt x="1637771" y="592667"/>
                                </a:lnTo>
                                <a:lnTo>
                                  <a:pt x="1640417" y="590021"/>
                                </a:lnTo>
                                <a:lnTo>
                                  <a:pt x="1643062" y="587376"/>
                                </a:lnTo>
                                <a:lnTo>
                                  <a:pt x="1648354" y="584730"/>
                                </a:lnTo>
                                <a:lnTo>
                                  <a:pt x="1651000" y="579438"/>
                                </a:lnTo>
                                <a:lnTo>
                                  <a:pt x="1653646" y="576792"/>
                                </a:lnTo>
                                <a:lnTo>
                                  <a:pt x="1658937" y="574146"/>
                                </a:lnTo>
                                <a:lnTo>
                                  <a:pt x="1666875" y="571501"/>
                                </a:lnTo>
                                <a:lnTo>
                                  <a:pt x="1672167" y="571501"/>
                                </a:lnTo>
                                <a:lnTo>
                                  <a:pt x="1677458" y="574146"/>
                                </a:lnTo>
                                <a:lnTo>
                                  <a:pt x="1682750" y="579438"/>
                                </a:lnTo>
                                <a:lnTo>
                                  <a:pt x="1685396" y="584730"/>
                                </a:lnTo>
                                <a:lnTo>
                                  <a:pt x="1685396" y="587376"/>
                                </a:lnTo>
                                <a:lnTo>
                                  <a:pt x="1688042" y="592667"/>
                                </a:lnTo>
                                <a:lnTo>
                                  <a:pt x="1685396" y="600605"/>
                                </a:lnTo>
                                <a:lnTo>
                                  <a:pt x="1680104" y="608542"/>
                                </a:lnTo>
                                <a:lnTo>
                                  <a:pt x="1677458" y="611188"/>
                                </a:lnTo>
                                <a:lnTo>
                                  <a:pt x="1677458" y="613834"/>
                                </a:lnTo>
                                <a:lnTo>
                                  <a:pt x="1674812" y="616480"/>
                                </a:lnTo>
                                <a:lnTo>
                                  <a:pt x="1669521" y="619126"/>
                                </a:lnTo>
                                <a:lnTo>
                                  <a:pt x="1672167" y="621771"/>
                                </a:lnTo>
                                <a:lnTo>
                                  <a:pt x="1677458" y="621771"/>
                                </a:lnTo>
                                <a:lnTo>
                                  <a:pt x="1680104" y="621771"/>
                                </a:lnTo>
                                <a:lnTo>
                                  <a:pt x="1682750" y="621771"/>
                                </a:lnTo>
                                <a:lnTo>
                                  <a:pt x="1685396" y="619126"/>
                                </a:lnTo>
                                <a:lnTo>
                                  <a:pt x="1685396" y="616480"/>
                                </a:lnTo>
                                <a:lnTo>
                                  <a:pt x="1688042" y="616480"/>
                                </a:lnTo>
                                <a:lnTo>
                                  <a:pt x="1690687" y="619126"/>
                                </a:lnTo>
                                <a:lnTo>
                                  <a:pt x="1690687" y="627063"/>
                                </a:lnTo>
                                <a:lnTo>
                                  <a:pt x="1688042" y="642938"/>
                                </a:lnTo>
                                <a:lnTo>
                                  <a:pt x="1685396" y="650876"/>
                                </a:lnTo>
                                <a:lnTo>
                                  <a:pt x="1682750" y="650876"/>
                                </a:lnTo>
                                <a:lnTo>
                                  <a:pt x="1680104" y="650876"/>
                                </a:lnTo>
                                <a:lnTo>
                                  <a:pt x="1677458" y="656167"/>
                                </a:lnTo>
                                <a:lnTo>
                                  <a:pt x="1669521" y="669396"/>
                                </a:lnTo>
                                <a:lnTo>
                                  <a:pt x="1658937" y="679980"/>
                                </a:lnTo>
                                <a:lnTo>
                                  <a:pt x="1658937" y="682626"/>
                                </a:lnTo>
                                <a:lnTo>
                                  <a:pt x="1666875" y="685271"/>
                                </a:lnTo>
                                <a:lnTo>
                                  <a:pt x="1682750" y="690563"/>
                                </a:lnTo>
                                <a:lnTo>
                                  <a:pt x="1688042" y="690563"/>
                                </a:lnTo>
                                <a:lnTo>
                                  <a:pt x="1693333" y="687917"/>
                                </a:lnTo>
                                <a:lnTo>
                                  <a:pt x="1695979" y="687917"/>
                                </a:lnTo>
                                <a:lnTo>
                                  <a:pt x="1701271" y="687917"/>
                                </a:lnTo>
                                <a:lnTo>
                                  <a:pt x="1711854" y="685271"/>
                                </a:lnTo>
                                <a:lnTo>
                                  <a:pt x="1725083" y="677334"/>
                                </a:lnTo>
                                <a:lnTo>
                                  <a:pt x="1740958" y="669396"/>
                                </a:lnTo>
                                <a:lnTo>
                                  <a:pt x="1748896" y="666751"/>
                                </a:lnTo>
                                <a:lnTo>
                                  <a:pt x="1756833" y="664105"/>
                                </a:lnTo>
                                <a:lnTo>
                                  <a:pt x="1767417" y="658813"/>
                                </a:lnTo>
                                <a:lnTo>
                                  <a:pt x="1778000" y="653521"/>
                                </a:lnTo>
                                <a:lnTo>
                                  <a:pt x="1780646" y="650876"/>
                                </a:lnTo>
                                <a:lnTo>
                                  <a:pt x="1778000" y="642938"/>
                                </a:lnTo>
                                <a:lnTo>
                                  <a:pt x="1793875" y="642938"/>
                                </a:lnTo>
                                <a:lnTo>
                                  <a:pt x="1801813" y="642938"/>
                                </a:lnTo>
                                <a:lnTo>
                                  <a:pt x="1807104" y="642938"/>
                                </a:lnTo>
                                <a:lnTo>
                                  <a:pt x="1820333" y="642938"/>
                                </a:lnTo>
                                <a:lnTo>
                                  <a:pt x="1828271" y="640292"/>
                                </a:lnTo>
                                <a:lnTo>
                                  <a:pt x="1833563" y="637646"/>
                                </a:lnTo>
                                <a:lnTo>
                                  <a:pt x="1841500" y="635001"/>
                                </a:lnTo>
                                <a:lnTo>
                                  <a:pt x="1854729" y="635001"/>
                                </a:lnTo>
                                <a:lnTo>
                                  <a:pt x="1854729" y="632355"/>
                                </a:lnTo>
                                <a:lnTo>
                                  <a:pt x="1854729" y="629709"/>
                                </a:lnTo>
                                <a:lnTo>
                                  <a:pt x="1852083" y="627063"/>
                                </a:lnTo>
                                <a:lnTo>
                                  <a:pt x="1854729" y="624417"/>
                                </a:lnTo>
                                <a:lnTo>
                                  <a:pt x="1857375" y="621771"/>
                                </a:lnTo>
                                <a:lnTo>
                                  <a:pt x="1854729" y="621771"/>
                                </a:lnTo>
                                <a:lnTo>
                                  <a:pt x="1854729" y="619126"/>
                                </a:lnTo>
                                <a:lnTo>
                                  <a:pt x="1860021" y="613834"/>
                                </a:lnTo>
                                <a:lnTo>
                                  <a:pt x="1867958" y="608542"/>
                                </a:lnTo>
                                <a:lnTo>
                                  <a:pt x="1875896" y="600605"/>
                                </a:lnTo>
                                <a:lnTo>
                                  <a:pt x="1883833" y="590021"/>
                                </a:lnTo>
                                <a:lnTo>
                                  <a:pt x="1891771" y="587376"/>
                                </a:lnTo>
                                <a:lnTo>
                                  <a:pt x="1897063" y="587376"/>
                                </a:lnTo>
                                <a:lnTo>
                                  <a:pt x="1981729" y="587376"/>
                                </a:lnTo>
                                <a:lnTo>
                                  <a:pt x="1989667" y="582084"/>
                                </a:lnTo>
                                <a:lnTo>
                                  <a:pt x="1992313" y="582084"/>
                                </a:lnTo>
                                <a:lnTo>
                                  <a:pt x="1994958" y="579438"/>
                                </a:lnTo>
                                <a:lnTo>
                                  <a:pt x="2000250" y="576792"/>
                                </a:lnTo>
                                <a:lnTo>
                                  <a:pt x="2005542" y="571501"/>
                                </a:lnTo>
                                <a:lnTo>
                                  <a:pt x="2010833" y="568855"/>
                                </a:lnTo>
                                <a:lnTo>
                                  <a:pt x="2016125" y="566209"/>
                                </a:lnTo>
                                <a:lnTo>
                                  <a:pt x="2018771" y="560917"/>
                                </a:lnTo>
                                <a:lnTo>
                                  <a:pt x="2018771" y="558271"/>
                                </a:lnTo>
                                <a:lnTo>
                                  <a:pt x="2021417" y="555626"/>
                                </a:lnTo>
                                <a:lnTo>
                                  <a:pt x="2029354" y="547688"/>
                                </a:lnTo>
                                <a:lnTo>
                                  <a:pt x="2032000" y="542396"/>
                                </a:lnTo>
                                <a:lnTo>
                                  <a:pt x="2037292" y="539751"/>
                                </a:lnTo>
                                <a:lnTo>
                                  <a:pt x="2039938" y="537105"/>
                                </a:lnTo>
                                <a:lnTo>
                                  <a:pt x="2045229" y="531813"/>
                                </a:lnTo>
                                <a:lnTo>
                                  <a:pt x="2055813" y="523876"/>
                                </a:lnTo>
                                <a:lnTo>
                                  <a:pt x="2058458" y="523876"/>
                                </a:lnTo>
                                <a:lnTo>
                                  <a:pt x="2063750" y="526521"/>
                                </a:lnTo>
                                <a:lnTo>
                                  <a:pt x="2066396" y="526521"/>
                                </a:lnTo>
                                <a:lnTo>
                                  <a:pt x="2071688" y="523876"/>
                                </a:lnTo>
                                <a:lnTo>
                                  <a:pt x="2087563" y="518584"/>
                                </a:lnTo>
                                <a:lnTo>
                                  <a:pt x="2090208" y="518584"/>
                                </a:lnTo>
                                <a:lnTo>
                                  <a:pt x="2092854" y="523876"/>
                                </a:lnTo>
                                <a:lnTo>
                                  <a:pt x="2095500" y="526521"/>
                                </a:lnTo>
                                <a:lnTo>
                                  <a:pt x="2098146" y="529167"/>
                                </a:lnTo>
                                <a:lnTo>
                                  <a:pt x="2095500" y="531813"/>
                                </a:lnTo>
                                <a:lnTo>
                                  <a:pt x="2084917" y="566209"/>
                                </a:lnTo>
                                <a:lnTo>
                                  <a:pt x="2084917" y="571501"/>
                                </a:lnTo>
                                <a:lnTo>
                                  <a:pt x="2087563" y="571501"/>
                                </a:lnTo>
                                <a:lnTo>
                                  <a:pt x="2090208" y="574146"/>
                                </a:lnTo>
                                <a:lnTo>
                                  <a:pt x="2092854" y="579438"/>
                                </a:lnTo>
                                <a:lnTo>
                                  <a:pt x="2098146" y="584730"/>
                                </a:lnTo>
                                <a:lnTo>
                                  <a:pt x="2098146" y="582084"/>
                                </a:lnTo>
                                <a:lnTo>
                                  <a:pt x="2103438" y="582084"/>
                                </a:lnTo>
                                <a:lnTo>
                                  <a:pt x="2106083" y="587376"/>
                                </a:lnTo>
                                <a:lnTo>
                                  <a:pt x="2108729" y="590021"/>
                                </a:lnTo>
                                <a:lnTo>
                                  <a:pt x="2103438" y="592667"/>
                                </a:lnTo>
                                <a:lnTo>
                                  <a:pt x="2092854" y="597959"/>
                                </a:lnTo>
                                <a:lnTo>
                                  <a:pt x="2076979" y="605896"/>
                                </a:lnTo>
                                <a:lnTo>
                                  <a:pt x="2074333" y="608542"/>
                                </a:lnTo>
                                <a:lnTo>
                                  <a:pt x="2071688" y="608542"/>
                                </a:lnTo>
                                <a:lnTo>
                                  <a:pt x="2066396" y="605896"/>
                                </a:lnTo>
                                <a:lnTo>
                                  <a:pt x="2061104" y="603251"/>
                                </a:lnTo>
                                <a:lnTo>
                                  <a:pt x="2058458" y="605896"/>
                                </a:lnTo>
                                <a:lnTo>
                                  <a:pt x="2055813" y="611188"/>
                                </a:lnTo>
                                <a:lnTo>
                                  <a:pt x="2053167" y="616480"/>
                                </a:lnTo>
                                <a:lnTo>
                                  <a:pt x="2050521" y="613834"/>
                                </a:lnTo>
                                <a:lnTo>
                                  <a:pt x="2050521" y="608542"/>
                                </a:lnTo>
                                <a:lnTo>
                                  <a:pt x="2047875" y="605896"/>
                                </a:lnTo>
                                <a:lnTo>
                                  <a:pt x="2047875" y="608542"/>
                                </a:lnTo>
                                <a:lnTo>
                                  <a:pt x="2039938" y="619126"/>
                                </a:lnTo>
                                <a:lnTo>
                                  <a:pt x="2037292" y="621771"/>
                                </a:lnTo>
                                <a:lnTo>
                                  <a:pt x="2032000" y="619126"/>
                                </a:lnTo>
                                <a:lnTo>
                                  <a:pt x="2026708" y="621771"/>
                                </a:lnTo>
                                <a:lnTo>
                                  <a:pt x="2018771" y="624417"/>
                                </a:lnTo>
                                <a:lnTo>
                                  <a:pt x="2013479" y="624417"/>
                                </a:lnTo>
                                <a:lnTo>
                                  <a:pt x="2005542" y="627063"/>
                                </a:lnTo>
                                <a:lnTo>
                                  <a:pt x="1997604" y="635001"/>
                                </a:lnTo>
                                <a:lnTo>
                                  <a:pt x="1989667" y="645584"/>
                                </a:lnTo>
                                <a:lnTo>
                                  <a:pt x="1981729" y="650876"/>
                                </a:lnTo>
                                <a:lnTo>
                                  <a:pt x="1976438" y="661459"/>
                                </a:lnTo>
                                <a:lnTo>
                                  <a:pt x="1973792" y="664105"/>
                                </a:lnTo>
                                <a:lnTo>
                                  <a:pt x="1976438" y="672042"/>
                                </a:lnTo>
                                <a:lnTo>
                                  <a:pt x="1979083" y="674688"/>
                                </a:lnTo>
                                <a:lnTo>
                                  <a:pt x="1981729" y="674688"/>
                                </a:lnTo>
                                <a:lnTo>
                                  <a:pt x="1987021" y="674688"/>
                                </a:lnTo>
                                <a:lnTo>
                                  <a:pt x="1984375" y="682626"/>
                                </a:lnTo>
                                <a:lnTo>
                                  <a:pt x="1981729" y="679980"/>
                                </a:lnTo>
                                <a:lnTo>
                                  <a:pt x="1979083" y="679980"/>
                                </a:lnTo>
                                <a:lnTo>
                                  <a:pt x="1971146" y="682626"/>
                                </a:lnTo>
                                <a:lnTo>
                                  <a:pt x="1965854" y="685271"/>
                                </a:lnTo>
                                <a:lnTo>
                                  <a:pt x="1963208" y="685271"/>
                                </a:lnTo>
                                <a:lnTo>
                                  <a:pt x="1960563" y="679980"/>
                                </a:lnTo>
                                <a:lnTo>
                                  <a:pt x="1957917" y="685271"/>
                                </a:lnTo>
                                <a:lnTo>
                                  <a:pt x="1952625" y="687917"/>
                                </a:lnTo>
                                <a:lnTo>
                                  <a:pt x="1947333" y="690563"/>
                                </a:lnTo>
                                <a:lnTo>
                                  <a:pt x="1939396" y="690563"/>
                                </a:lnTo>
                                <a:lnTo>
                                  <a:pt x="1934104" y="690563"/>
                                </a:lnTo>
                                <a:lnTo>
                                  <a:pt x="1931458" y="693209"/>
                                </a:lnTo>
                                <a:lnTo>
                                  <a:pt x="1918229" y="693209"/>
                                </a:lnTo>
                                <a:lnTo>
                                  <a:pt x="1907646" y="695855"/>
                                </a:lnTo>
                                <a:lnTo>
                                  <a:pt x="1899708" y="701146"/>
                                </a:lnTo>
                                <a:lnTo>
                                  <a:pt x="1894417" y="703792"/>
                                </a:lnTo>
                                <a:lnTo>
                                  <a:pt x="1889125" y="706438"/>
                                </a:lnTo>
                                <a:lnTo>
                                  <a:pt x="1886479" y="709084"/>
                                </a:lnTo>
                                <a:lnTo>
                                  <a:pt x="1883833" y="709084"/>
                                </a:lnTo>
                                <a:lnTo>
                                  <a:pt x="1881188" y="714376"/>
                                </a:lnTo>
                                <a:lnTo>
                                  <a:pt x="1881188" y="717021"/>
                                </a:lnTo>
                                <a:lnTo>
                                  <a:pt x="1883833" y="717021"/>
                                </a:lnTo>
                                <a:lnTo>
                                  <a:pt x="1878542" y="722313"/>
                                </a:lnTo>
                                <a:lnTo>
                                  <a:pt x="1870604" y="730251"/>
                                </a:lnTo>
                                <a:lnTo>
                                  <a:pt x="1865313" y="735542"/>
                                </a:lnTo>
                                <a:lnTo>
                                  <a:pt x="1862667" y="738188"/>
                                </a:lnTo>
                                <a:lnTo>
                                  <a:pt x="1860021" y="738188"/>
                                </a:lnTo>
                                <a:lnTo>
                                  <a:pt x="1849438" y="732896"/>
                                </a:lnTo>
                                <a:lnTo>
                                  <a:pt x="1852083" y="735542"/>
                                </a:lnTo>
                                <a:lnTo>
                                  <a:pt x="1860021" y="740834"/>
                                </a:lnTo>
                                <a:lnTo>
                                  <a:pt x="1854729" y="743480"/>
                                </a:lnTo>
                                <a:lnTo>
                                  <a:pt x="1852083" y="743480"/>
                                </a:lnTo>
                                <a:lnTo>
                                  <a:pt x="1849438" y="743480"/>
                                </a:lnTo>
                                <a:lnTo>
                                  <a:pt x="1846792" y="746126"/>
                                </a:lnTo>
                                <a:lnTo>
                                  <a:pt x="1844146" y="751417"/>
                                </a:lnTo>
                                <a:lnTo>
                                  <a:pt x="1841500" y="751417"/>
                                </a:lnTo>
                                <a:lnTo>
                                  <a:pt x="1836208" y="754063"/>
                                </a:lnTo>
                                <a:lnTo>
                                  <a:pt x="1830917" y="759355"/>
                                </a:lnTo>
                                <a:lnTo>
                                  <a:pt x="1825625" y="767292"/>
                                </a:lnTo>
                                <a:lnTo>
                                  <a:pt x="1822979" y="762000"/>
                                </a:lnTo>
                                <a:lnTo>
                                  <a:pt x="1822979" y="756709"/>
                                </a:lnTo>
                                <a:lnTo>
                                  <a:pt x="1820333" y="754063"/>
                                </a:lnTo>
                                <a:lnTo>
                                  <a:pt x="1815042" y="751417"/>
                                </a:lnTo>
                                <a:lnTo>
                                  <a:pt x="1812396" y="746126"/>
                                </a:lnTo>
                                <a:lnTo>
                                  <a:pt x="1812396" y="751417"/>
                                </a:lnTo>
                                <a:lnTo>
                                  <a:pt x="1812396" y="754063"/>
                                </a:lnTo>
                                <a:lnTo>
                                  <a:pt x="1817688" y="756709"/>
                                </a:lnTo>
                                <a:lnTo>
                                  <a:pt x="1820333" y="759355"/>
                                </a:lnTo>
                                <a:lnTo>
                                  <a:pt x="1820333" y="762000"/>
                                </a:lnTo>
                                <a:lnTo>
                                  <a:pt x="1820333" y="764646"/>
                                </a:lnTo>
                                <a:lnTo>
                                  <a:pt x="1822979" y="767292"/>
                                </a:lnTo>
                                <a:lnTo>
                                  <a:pt x="1825625" y="769938"/>
                                </a:lnTo>
                                <a:lnTo>
                                  <a:pt x="1825625" y="772584"/>
                                </a:lnTo>
                                <a:lnTo>
                                  <a:pt x="1822979" y="780521"/>
                                </a:lnTo>
                                <a:lnTo>
                                  <a:pt x="1812396" y="796396"/>
                                </a:lnTo>
                                <a:lnTo>
                                  <a:pt x="1817688" y="785813"/>
                                </a:lnTo>
                                <a:lnTo>
                                  <a:pt x="1820333" y="780521"/>
                                </a:lnTo>
                                <a:lnTo>
                                  <a:pt x="1820333" y="777875"/>
                                </a:lnTo>
                                <a:lnTo>
                                  <a:pt x="1817688" y="780521"/>
                                </a:lnTo>
                                <a:lnTo>
                                  <a:pt x="1812396" y="785813"/>
                                </a:lnTo>
                                <a:lnTo>
                                  <a:pt x="1807104" y="796396"/>
                                </a:lnTo>
                                <a:lnTo>
                                  <a:pt x="1804458" y="804334"/>
                                </a:lnTo>
                                <a:lnTo>
                                  <a:pt x="1799167" y="809625"/>
                                </a:lnTo>
                                <a:lnTo>
                                  <a:pt x="1793875" y="809625"/>
                                </a:lnTo>
                                <a:lnTo>
                                  <a:pt x="1791229" y="809625"/>
                                </a:lnTo>
                                <a:lnTo>
                                  <a:pt x="1799167" y="799042"/>
                                </a:lnTo>
                                <a:lnTo>
                                  <a:pt x="1799167" y="793750"/>
                                </a:lnTo>
                                <a:lnTo>
                                  <a:pt x="1796521" y="791105"/>
                                </a:lnTo>
                                <a:lnTo>
                                  <a:pt x="1793875" y="785813"/>
                                </a:lnTo>
                                <a:lnTo>
                                  <a:pt x="1796521" y="783167"/>
                                </a:lnTo>
                                <a:lnTo>
                                  <a:pt x="1796521" y="777875"/>
                                </a:lnTo>
                                <a:lnTo>
                                  <a:pt x="1793875" y="775230"/>
                                </a:lnTo>
                                <a:lnTo>
                                  <a:pt x="1793875" y="772584"/>
                                </a:lnTo>
                                <a:lnTo>
                                  <a:pt x="1793875" y="769938"/>
                                </a:lnTo>
                                <a:lnTo>
                                  <a:pt x="1796521" y="764646"/>
                                </a:lnTo>
                                <a:lnTo>
                                  <a:pt x="1793875" y="764646"/>
                                </a:lnTo>
                                <a:lnTo>
                                  <a:pt x="1793875" y="762000"/>
                                </a:lnTo>
                                <a:lnTo>
                                  <a:pt x="1799167" y="759355"/>
                                </a:lnTo>
                                <a:lnTo>
                                  <a:pt x="1804458" y="754063"/>
                                </a:lnTo>
                                <a:lnTo>
                                  <a:pt x="1801813" y="754063"/>
                                </a:lnTo>
                                <a:lnTo>
                                  <a:pt x="1788583" y="759355"/>
                                </a:lnTo>
                                <a:lnTo>
                                  <a:pt x="1783292" y="764646"/>
                                </a:lnTo>
                                <a:lnTo>
                                  <a:pt x="1783292" y="769938"/>
                                </a:lnTo>
                                <a:lnTo>
                                  <a:pt x="1783292" y="772584"/>
                                </a:lnTo>
                                <a:lnTo>
                                  <a:pt x="1780646" y="772584"/>
                                </a:lnTo>
                                <a:lnTo>
                                  <a:pt x="1783292" y="777875"/>
                                </a:lnTo>
                                <a:lnTo>
                                  <a:pt x="1780646" y="780521"/>
                                </a:lnTo>
                                <a:lnTo>
                                  <a:pt x="1772708" y="777875"/>
                                </a:lnTo>
                                <a:lnTo>
                                  <a:pt x="1780646" y="783167"/>
                                </a:lnTo>
                                <a:lnTo>
                                  <a:pt x="1780646" y="785813"/>
                                </a:lnTo>
                                <a:lnTo>
                                  <a:pt x="1783292" y="788459"/>
                                </a:lnTo>
                                <a:lnTo>
                                  <a:pt x="1785938" y="793750"/>
                                </a:lnTo>
                                <a:lnTo>
                                  <a:pt x="1780646" y="793750"/>
                                </a:lnTo>
                                <a:lnTo>
                                  <a:pt x="1772708" y="793750"/>
                                </a:lnTo>
                                <a:lnTo>
                                  <a:pt x="1775354" y="796396"/>
                                </a:lnTo>
                                <a:lnTo>
                                  <a:pt x="1780646" y="799042"/>
                                </a:lnTo>
                                <a:lnTo>
                                  <a:pt x="1783292" y="801688"/>
                                </a:lnTo>
                                <a:lnTo>
                                  <a:pt x="1778000" y="806980"/>
                                </a:lnTo>
                                <a:lnTo>
                                  <a:pt x="1780646" y="806980"/>
                                </a:lnTo>
                                <a:lnTo>
                                  <a:pt x="1783292" y="806980"/>
                                </a:lnTo>
                                <a:lnTo>
                                  <a:pt x="1785938" y="812271"/>
                                </a:lnTo>
                                <a:lnTo>
                                  <a:pt x="1785938" y="820209"/>
                                </a:lnTo>
                                <a:lnTo>
                                  <a:pt x="1785938" y="828146"/>
                                </a:lnTo>
                                <a:lnTo>
                                  <a:pt x="1788583" y="844021"/>
                                </a:lnTo>
                                <a:lnTo>
                                  <a:pt x="1785938" y="849313"/>
                                </a:lnTo>
                                <a:lnTo>
                                  <a:pt x="1783292" y="851959"/>
                                </a:lnTo>
                                <a:lnTo>
                                  <a:pt x="1772708" y="851959"/>
                                </a:lnTo>
                                <a:lnTo>
                                  <a:pt x="1767417" y="851959"/>
                                </a:lnTo>
                                <a:lnTo>
                                  <a:pt x="1764771" y="846667"/>
                                </a:lnTo>
                                <a:lnTo>
                                  <a:pt x="1762125" y="854605"/>
                                </a:lnTo>
                                <a:lnTo>
                                  <a:pt x="1764771" y="854605"/>
                                </a:lnTo>
                                <a:lnTo>
                                  <a:pt x="1770063" y="854605"/>
                                </a:lnTo>
                                <a:lnTo>
                                  <a:pt x="1775354" y="857250"/>
                                </a:lnTo>
                                <a:lnTo>
                                  <a:pt x="1778000" y="857250"/>
                                </a:lnTo>
                                <a:lnTo>
                                  <a:pt x="1780646" y="854605"/>
                                </a:lnTo>
                                <a:lnTo>
                                  <a:pt x="1783292" y="857250"/>
                                </a:lnTo>
                                <a:lnTo>
                                  <a:pt x="1783292" y="859896"/>
                                </a:lnTo>
                                <a:lnTo>
                                  <a:pt x="1780646" y="865188"/>
                                </a:lnTo>
                                <a:lnTo>
                                  <a:pt x="1775354" y="870480"/>
                                </a:lnTo>
                                <a:lnTo>
                                  <a:pt x="1762125" y="867834"/>
                                </a:lnTo>
                                <a:lnTo>
                                  <a:pt x="1756833" y="865188"/>
                                </a:lnTo>
                                <a:lnTo>
                                  <a:pt x="1759479" y="870480"/>
                                </a:lnTo>
                                <a:lnTo>
                                  <a:pt x="1762125" y="870480"/>
                                </a:lnTo>
                                <a:lnTo>
                                  <a:pt x="1759479" y="873125"/>
                                </a:lnTo>
                                <a:lnTo>
                                  <a:pt x="1756833" y="875771"/>
                                </a:lnTo>
                                <a:lnTo>
                                  <a:pt x="1759479" y="875771"/>
                                </a:lnTo>
                                <a:lnTo>
                                  <a:pt x="1764771" y="875771"/>
                                </a:lnTo>
                                <a:lnTo>
                                  <a:pt x="1762125" y="881063"/>
                                </a:lnTo>
                                <a:lnTo>
                                  <a:pt x="1759479" y="883709"/>
                                </a:lnTo>
                                <a:lnTo>
                                  <a:pt x="1754188" y="886355"/>
                                </a:lnTo>
                                <a:lnTo>
                                  <a:pt x="1746250" y="889000"/>
                                </a:lnTo>
                                <a:lnTo>
                                  <a:pt x="1738313" y="891646"/>
                                </a:lnTo>
                                <a:lnTo>
                                  <a:pt x="1733021" y="896938"/>
                                </a:lnTo>
                                <a:lnTo>
                                  <a:pt x="1727729" y="902230"/>
                                </a:lnTo>
                                <a:lnTo>
                                  <a:pt x="1725083" y="902230"/>
                                </a:lnTo>
                                <a:lnTo>
                                  <a:pt x="1719792" y="904875"/>
                                </a:lnTo>
                                <a:lnTo>
                                  <a:pt x="1711854" y="910167"/>
                                </a:lnTo>
                                <a:lnTo>
                                  <a:pt x="1703917" y="918105"/>
                                </a:lnTo>
                                <a:lnTo>
                                  <a:pt x="1701271" y="920750"/>
                                </a:lnTo>
                                <a:lnTo>
                                  <a:pt x="1695979" y="920750"/>
                                </a:lnTo>
                                <a:lnTo>
                                  <a:pt x="1690687" y="920750"/>
                                </a:lnTo>
                                <a:lnTo>
                                  <a:pt x="1682750" y="923396"/>
                                </a:lnTo>
                                <a:lnTo>
                                  <a:pt x="1672167" y="931334"/>
                                </a:lnTo>
                                <a:lnTo>
                                  <a:pt x="1666875" y="939271"/>
                                </a:lnTo>
                                <a:lnTo>
                                  <a:pt x="1664229" y="941917"/>
                                </a:lnTo>
                                <a:lnTo>
                                  <a:pt x="1661583" y="941917"/>
                                </a:lnTo>
                                <a:lnTo>
                                  <a:pt x="1658937" y="944563"/>
                                </a:lnTo>
                                <a:lnTo>
                                  <a:pt x="1645708" y="955146"/>
                                </a:lnTo>
                                <a:lnTo>
                                  <a:pt x="1640417" y="955146"/>
                                </a:lnTo>
                                <a:lnTo>
                                  <a:pt x="1640417" y="952500"/>
                                </a:lnTo>
                                <a:lnTo>
                                  <a:pt x="1637771" y="952500"/>
                                </a:lnTo>
                                <a:lnTo>
                                  <a:pt x="1635125" y="955146"/>
                                </a:lnTo>
                                <a:lnTo>
                                  <a:pt x="1632479" y="957792"/>
                                </a:lnTo>
                                <a:lnTo>
                                  <a:pt x="1624542" y="955146"/>
                                </a:lnTo>
                                <a:lnTo>
                                  <a:pt x="1621896" y="952500"/>
                                </a:lnTo>
                                <a:lnTo>
                                  <a:pt x="1621896" y="955146"/>
                                </a:lnTo>
                                <a:lnTo>
                                  <a:pt x="1624542" y="960438"/>
                                </a:lnTo>
                                <a:lnTo>
                                  <a:pt x="1624542" y="963084"/>
                                </a:lnTo>
                                <a:lnTo>
                                  <a:pt x="1621896" y="965730"/>
                                </a:lnTo>
                                <a:lnTo>
                                  <a:pt x="1621896" y="968375"/>
                                </a:lnTo>
                                <a:lnTo>
                                  <a:pt x="1621896" y="971021"/>
                                </a:lnTo>
                                <a:lnTo>
                                  <a:pt x="1619250" y="971021"/>
                                </a:lnTo>
                                <a:lnTo>
                                  <a:pt x="1616604" y="973667"/>
                                </a:lnTo>
                                <a:lnTo>
                                  <a:pt x="1608667" y="978959"/>
                                </a:lnTo>
                                <a:lnTo>
                                  <a:pt x="1592792" y="1000125"/>
                                </a:lnTo>
                                <a:lnTo>
                                  <a:pt x="1587500" y="1013355"/>
                                </a:lnTo>
                                <a:lnTo>
                                  <a:pt x="1587500" y="1018646"/>
                                </a:lnTo>
                                <a:lnTo>
                                  <a:pt x="1584854" y="1023938"/>
                                </a:lnTo>
                                <a:lnTo>
                                  <a:pt x="1582208" y="1031875"/>
                                </a:lnTo>
                                <a:lnTo>
                                  <a:pt x="1582208" y="1045105"/>
                                </a:lnTo>
                                <a:lnTo>
                                  <a:pt x="1587500" y="1071563"/>
                                </a:lnTo>
                                <a:lnTo>
                                  <a:pt x="1587500" y="1076855"/>
                                </a:lnTo>
                                <a:lnTo>
                                  <a:pt x="1590146" y="1076855"/>
                                </a:lnTo>
                                <a:lnTo>
                                  <a:pt x="1590146" y="1079500"/>
                                </a:lnTo>
                                <a:lnTo>
                                  <a:pt x="1592792" y="1100667"/>
                                </a:lnTo>
                                <a:lnTo>
                                  <a:pt x="1592792" y="1108605"/>
                                </a:lnTo>
                                <a:lnTo>
                                  <a:pt x="1592792" y="1111250"/>
                                </a:lnTo>
                                <a:lnTo>
                                  <a:pt x="1590146" y="1108605"/>
                                </a:lnTo>
                                <a:lnTo>
                                  <a:pt x="1587500" y="1098021"/>
                                </a:lnTo>
                                <a:lnTo>
                                  <a:pt x="1587500" y="1111250"/>
                                </a:lnTo>
                                <a:lnTo>
                                  <a:pt x="1592792" y="1119188"/>
                                </a:lnTo>
                                <a:lnTo>
                                  <a:pt x="1595437" y="1127125"/>
                                </a:lnTo>
                                <a:lnTo>
                                  <a:pt x="1595437" y="1132417"/>
                                </a:lnTo>
                                <a:lnTo>
                                  <a:pt x="1598083" y="1137709"/>
                                </a:lnTo>
                                <a:lnTo>
                                  <a:pt x="1598083" y="1148292"/>
                                </a:lnTo>
                                <a:lnTo>
                                  <a:pt x="1587500" y="1172104"/>
                                </a:lnTo>
                                <a:lnTo>
                                  <a:pt x="1584854" y="1180042"/>
                                </a:lnTo>
                                <a:lnTo>
                                  <a:pt x="1584854" y="1182688"/>
                                </a:lnTo>
                                <a:lnTo>
                                  <a:pt x="1584854" y="1185334"/>
                                </a:lnTo>
                                <a:lnTo>
                                  <a:pt x="1579562" y="1187979"/>
                                </a:lnTo>
                                <a:lnTo>
                                  <a:pt x="1576917" y="1187979"/>
                                </a:lnTo>
                                <a:lnTo>
                                  <a:pt x="1574271" y="1187979"/>
                                </a:lnTo>
                                <a:lnTo>
                                  <a:pt x="1574271" y="1190625"/>
                                </a:lnTo>
                                <a:lnTo>
                                  <a:pt x="1571625" y="1190625"/>
                                </a:lnTo>
                                <a:lnTo>
                                  <a:pt x="1568979" y="1190625"/>
                                </a:lnTo>
                                <a:lnTo>
                                  <a:pt x="1566333" y="1193271"/>
                                </a:lnTo>
                                <a:lnTo>
                                  <a:pt x="1558396" y="1193271"/>
                                </a:lnTo>
                                <a:lnTo>
                                  <a:pt x="1553104" y="1190625"/>
                                </a:lnTo>
                                <a:lnTo>
                                  <a:pt x="1553104" y="1185334"/>
                                </a:lnTo>
                                <a:lnTo>
                                  <a:pt x="1555750" y="1185334"/>
                                </a:lnTo>
                                <a:lnTo>
                                  <a:pt x="1558396" y="1187979"/>
                                </a:lnTo>
                                <a:lnTo>
                                  <a:pt x="1558396" y="1185334"/>
                                </a:lnTo>
                                <a:lnTo>
                                  <a:pt x="1558396" y="1182688"/>
                                </a:lnTo>
                                <a:lnTo>
                                  <a:pt x="1561042" y="1180042"/>
                                </a:lnTo>
                                <a:lnTo>
                                  <a:pt x="1563687" y="1180042"/>
                                </a:lnTo>
                                <a:lnTo>
                                  <a:pt x="1561042" y="1177396"/>
                                </a:lnTo>
                                <a:lnTo>
                                  <a:pt x="1555750" y="1174750"/>
                                </a:lnTo>
                                <a:lnTo>
                                  <a:pt x="1553104" y="1169459"/>
                                </a:lnTo>
                                <a:lnTo>
                                  <a:pt x="1550458" y="1166813"/>
                                </a:lnTo>
                                <a:lnTo>
                                  <a:pt x="1545167" y="1166813"/>
                                </a:lnTo>
                                <a:lnTo>
                                  <a:pt x="1542521" y="1164167"/>
                                </a:lnTo>
                                <a:lnTo>
                                  <a:pt x="1542521" y="1153584"/>
                                </a:lnTo>
                                <a:lnTo>
                                  <a:pt x="1539875" y="1145646"/>
                                </a:lnTo>
                                <a:lnTo>
                                  <a:pt x="1539875" y="1143000"/>
                                </a:lnTo>
                                <a:lnTo>
                                  <a:pt x="1542521" y="1137709"/>
                                </a:lnTo>
                                <a:lnTo>
                                  <a:pt x="1542521" y="1135063"/>
                                </a:lnTo>
                                <a:lnTo>
                                  <a:pt x="1537229" y="1135063"/>
                                </a:lnTo>
                                <a:lnTo>
                                  <a:pt x="1531937" y="1119188"/>
                                </a:lnTo>
                                <a:lnTo>
                                  <a:pt x="1531937" y="1111250"/>
                                </a:lnTo>
                                <a:lnTo>
                                  <a:pt x="1531937" y="1108605"/>
                                </a:lnTo>
                                <a:lnTo>
                                  <a:pt x="1531937" y="1103313"/>
                                </a:lnTo>
                                <a:lnTo>
                                  <a:pt x="1531937" y="1100667"/>
                                </a:lnTo>
                                <a:lnTo>
                                  <a:pt x="1531937" y="1095375"/>
                                </a:lnTo>
                                <a:lnTo>
                                  <a:pt x="1539875" y="1082146"/>
                                </a:lnTo>
                                <a:lnTo>
                                  <a:pt x="1542521" y="1071563"/>
                                </a:lnTo>
                                <a:lnTo>
                                  <a:pt x="1542521" y="1066271"/>
                                </a:lnTo>
                                <a:lnTo>
                                  <a:pt x="1539875" y="1063625"/>
                                </a:lnTo>
                                <a:lnTo>
                                  <a:pt x="1534583" y="1058334"/>
                                </a:lnTo>
                                <a:lnTo>
                                  <a:pt x="1534583" y="1053042"/>
                                </a:lnTo>
                                <a:lnTo>
                                  <a:pt x="1531937" y="1047750"/>
                                </a:lnTo>
                                <a:lnTo>
                                  <a:pt x="1526646" y="1045105"/>
                                </a:lnTo>
                                <a:lnTo>
                                  <a:pt x="1521354" y="1042459"/>
                                </a:lnTo>
                                <a:lnTo>
                                  <a:pt x="1518708" y="1037167"/>
                                </a:lnTo>
                                <a:lnTo>
                                  <a:pt x="1513417" y="1037167"/>
                                </a:lnTo>
                                <a:lnTo>
                                  <a:pt x="1505479" y="1039813"/>
                                </a:lnTo>
                                <a:lnTo>
                                  <a:pt x="1494896" y="1045105"/>
                                </a:lnTo>
                                <a:lnTo>
                                  <a:pt x="1489604" y="1045105"/>
                                </a:lnTo>
                                <a:lnTo>
                                  <a:pt x="1486958" y="1045105"/>
                                </a:lnTo>
                                <a:lnTo>
                                  <a:pt x="1484312" y="1045105"/>
                                </a:lnTo>
                                <a:lnTo>
                                  <a:pt x="1479021" y="1047750"/>
                                </a:lnTo>
                                <a:lnTo>
                                  <a:pt x="1476375" y="1047750"/>
                                </a:lnTo>
                                <a:lnTo>
                                  <a:pt x="1473729" y="1045105"/>
                                </a:lnTo>
                                <a:lnTo>
                                  <a:pt x="1476375" y="1042459"/>
                                </a:lnTo>
                                <a:lnTo>
                                  <a:pt x="1479021" y="1039813"/>
                                </a:lnTo>
                                <a:lnTo>
                                  <a:pt x="1476375" y="1037167"/>
                                </a:lnTo>
                                <a:lnTo>
                                  <a:pt x="1447271" y="1031875"/>
                                </a:lnTo>
                                <a:lnTo>
                                  <a:pt x="1439333" y="1026584"/>
                                </a:lnTo>
                                <a:lnTo>
                                  <a:pt x="1447271" y="1026584"/>
                                </a:lnTo>
                                <a:lnTo>
                                  <a:pt x="1457854" y="1023938"/>
                                </a:lnTo>
                                <a:lnTo>
                                  <a:pt x="1441979" y="1023938"/>
                                </a:lnTo>
                                <a:lnTo>
                                  <a:pt x="1436687" y="1023938"/>
                                </a:lnTo>
                                <a:lnTo>
                                  <a:pt x="1434042" y="1023938"/>
                                </a:lnTo>
                                <a:lnTo>
                                  <a:pt x="1434042" y="1026584"/>
                                </a:lnTo>
                                <a:lnTo>
                                  <a:pt x="1436687" y="1026584"/>
                                </a:lnTo>
                                <a:lnTo>
                                  <a:pt x="1434042" y="1029230"/>
                                </a:lnTo>
                                <a:lnTo>
                                  <a:pt x="1426104" y="1029230"/>
                                </a:lnTo>
                                <a:lnTo>
                                  <a:pt x="1418167" y="1029230"/>
                                </a:lnTo>
                                <a:lnTo>
                                  <a:pt x="1410229" y="1023938"/>
                                </a:lnTo>
                                <a:lnTo>
                                  <a:pt x="1410229" y="1026584"/>
                                </a:lnTo>
                                <a:lnTo>
                                  <a:pt x="1399646" y="1031875"/>
                                </a:lnTo>
                                <a:lnTo>
                                  <a:pt x="1394354" y="1031875"/>
                                </a:lnTo>
                                <a:lnTo>
                                  <a:pt x="1391708" y="1029230"/>
                                </a:lnTo>
                                <a:lnTo>
                                  <a:pt x="1391708" y="1021292"/>
                                </a:lnTo>
                                <a:lnTo>
                                  <a:pt x="1389062" y="1031875"/>
                                </a:lnTo>
                                <a:lnTo>
                                  <a:pt x="1389062" y="1034521"/>
                                </a:lnTo>
                                <a:lnTo>
                                  <a:pt x="1383771" y="1034521"/>
                                </a:lnTo>
                                <a:lnTo>
                                  <a:pt x="1370542" y="1034521"/>
                                </a:lnTo>
                                <a:lnTo>
                                  <a:pt x="1365250" y="1034521"/>
                                </a:lnTo>
                                <a:lnTo>
                                  <a:pt x="1359958" y="1034521"/>
                                </a:lnTo>
                                <a:lnTo>
                                  <a:pt x="1352021" y="1031875"/>
                                </a:lnTo>
                                <a:lnTo>
                                  <a:pt x="1346729" y="1029230"/>
                                </a:lnTo>
                                <a:lnTo>
                                  <a:pt x="1344083" y="1031875"/>
                                </a:lnTo>
                                <a:lnTo>
                                  <a:pt x="1344083" y="1037167"/>
                                </a:lnTo>
                                <a:lnTo>
                                  <a:pt x="1344083" y="1039813"/>
                                </a:lnTo>
                                <a:lnTo>
                                  <a:pt x="1352021" y="1039813"/>
                                </a:lnTo>
                                <a:lnTo>
                                  <a:pt x="1359958" y="1042459"/>
                                </a:lnTo>
                                <a:lnTo>
                                  <a:pt x="1359958" y="1045105"/>
                                </a:lnTo>
                                <a:lnTo>
                                  <a:pt x="1359958" y="1047750"/>
                                </a:lnTo>
                                <a:lnTo>
                                  <a:pt x="1359958" y="1050396"/>
                                </a:lnTo>
                                <a:lnTo>
                                  <a:pt x="1362604" y="1053042"/>
                                </a:lnTo>
                                <a:lnTo>
                                  <a:pt x="1365250" y="1053042"/>
                                </a:lnTo>
                                <a:lnTo>
                                  <a:pt x="1365250" y="1055688"/>
                                </a:lnTo>
                                <a:lnTo>
                                  <a:pt x="1365250" y="1058334"/>
                                </a:lnTo>
                                <a:lnTo>
                                  <a:pt x="1367896" y="1060980"/>
                                </a:lnTo>
                                <a:lnTo>
                                  <a:pt x="1370542" y="1063625"/>
                                </a:lnTo>
                                <a:lnTo>
                                  <a:pt x="1367896" y="1066271"/>
                                </a:lnTo>
                                <a:lnTo>
                                  <a:pt x="1359958" y="1066271"/>
                                </a:lnTo>
                                <a:lnTo>
                                  <a:pt x="1357312" y="1063625"/>
                                </a:lnTo>
                                <a:lnTo>
                                  <a:pt x="1354667" y="1060980"/>
                                </a:lnTo>
                                <a:lnTo>
                                  <a:pt x="1352021" y="1063625"/>
                                </a:lnTo>
                                <a:lnTo>
                                  <a:pt x="1349375" y="1066271"/>
                                </a:lnTo>
                                <a:lnTo>
                                  <a:pt x="1344083" y="1063625"/>
                                </a:lnTo>
                                <a:lnTo>
                                  <a:pt x="1338792" y="1060980"/>
                                </a:lnTo>
                                <a:lnTo>
                                  <a:pt x="1330854" y="1060980"/>
                                </a:lnTo>
                                <a:lnTo>
                                  <a:pt x="1322917" y="1058334"/>
                                </a:lnTo>
                                <a:lnTo>
                                  <a:pt x="1320271" y="1055688"/>
                                </a:lnTo>
                                <a:lnTo>
                                  <a:pt x="1317625" y="1053042"/>
                                </a:lnTo>
                                <a:lnTo>
                                  <a:pt x="1317625" y="1055688"/>
                                </a:lnTo>
                                <a:lnTo>
                                  <a:pt x="1314979" y="1055688"/>
                                </a:lnTo>
                                <a:lnTo>
                                  <a:pt x="1312333" y="1053042"/>
                                </a:lnTo>
                                <a:lnTo>
                                  <a:pt x="1309687" y="1047750"/>
                                </a:lnTo>
                                <a:lnTo>
                                  <a:pt x="1307042" y="1047750"/>
                                </a:lnTo>
                                <a:lnTo>
                                  <a:pt x="1304396" y="1050396"/>
                                </a:lnTo>
                                <a:lnTo>
                                  <a:pt x="1299104" y="1053042"/>
                                </a:lnTo>
                                <a:lnTo>
                                  <a:pt x="1293812" y="1053042"/>
                                </a:lnTo>
                                <a:lnTo>
                                  <a:pt x="1288521" y="1053042"/>
                                </a:lnTo>
                                <a:lnTo>
                                  <a:pt x="1277937" y="1047750"/>
                                </a:lnTo>
                                <a:lnTo>
                                  <a:pt x="1272646" y="1045105"/>
                                </a:lnTo>
                                <a:lnTo>
                                  <a:pt x="1267354" y="1042459"/>
                                </a:lnTo>
                                <a:lnTo>
                                  <a:pt x="1259417" y="1045105"/>
                                </a:lnTo>
                                <a:lnTo>
                                  <a:pt x="1248833" y="1050396"/>
                                </a:lnTo>
                                <a:lnTo>
                                  <a:pt x="1232958" y="1060980"/>
                                </a:lnTo>
                                <a:lnTo>
                                  <a:pt x="1227667" y="1063625"/>
                                </a:lnTo>
                                <a:lnTo>
                                  <a:pt x="1230312" y="1060980"/>
                                </a:lnTo>
                                <a:lnTo>
                                  <a:pt x="1230312" y="1058334"/>
                                </a:lnTo>
                                <a:lnTo>
                                  <a:pt x="1230312" y="1055688"/>
                                </a:lnTo>
                                <a:lnTo>
                                  <a:pt x="1230312" y="1050396"/>
                                </a:lnTo>
                                <a:lnTo>
                                  <a:pt x="1235604" y="1045105"/>
                                </a:lnTo>
                                <a:lnTo>
                                  <a:pt x="1225021" y="1050396"/>
                                </a:lnTo>
                                <a:lnTo>
                                  <a:pt x="1225021" y="1053042"/>
                                </a:lnTo>
                                <a:lnTo>
                                  <a:pt x="1225021" y="1055688"/>
                                </a:lnTo>
                                <a:lnTo>
                                  <a:pt x="1222375" y="1058334"/>
                                </a:lnTo>
                                <a:lnTo>
                                  <a:pt x="1222375" y="1060980"/>
                                </a:lnTo>
                                <a:lnTo>
                                  <a:pt x="1225021" y="1063625"/>
                                </a:lnTo>
                                <a:lnTo>
                                  <a:pt x="1222375" y="1066271"/>
                                </a:lnTo>
                                <a:lnTo>
                                  <a:pt x="1214437" y="1068917"/>
                                </a:lnTo>
                                <a:lnTo>
                                  <a:pt x="1209146" y="1071563"/>
                                </a:lnTo>
                                <a:lnTo>
                                  <a:pt x="1203854" y="1076855"/>
                                </a:lnTo>
                                <a:lnTo>
                                  <a:pt x="1198562" y="1079500"/>
                                </a:lnTo>
                                <a:lnTo>
                                  <a:pt x="1195917" y="1079500"/>
                                </a:lnTo>
                                <a:lnTo>
                                  <a:pt x="1193271" y="1079500"/>
                                </a:lnTo>
                                <a:lnTo>
                                  <a:pt x="1190625" y="1079500"/>
                                </a:lnTo>
                                <a:lnTo>
                                  <a:pt x="1187979" y="1082146"/>
                                </a:lnTo>
                                <a:lnTo>
                                  <a:pt x="1185333" y="1082146"/>
                                </a:lnTo>
                                <a:lnTo>
                                  <a:pt x="1180042" y="1079500"/>
                                </a:lnTo>
                                <a:lnTo>
                                  <a:pt x="1180042" y="1082146"/>
                                </a:lnTo>
                                <a:lnTo>
                                  <a:pt x="1180042" y="1084792"/>
                                </a:lnTo>
                                <a:lnTo>
                                  <a:pt x="1177396" y="1084792"/>
                                </a:lnTo>
                                <a:lnTo>
                                  <a:pt x="1177396" y="1087438"/>
                                </a:lnTo>
                                <a:lnTo>
                                  <a:pt x="1177396" y="1092730"/>
                                </a:lnTo>
                                <a:lnTo>
                                  <a:pt x="1174750" y="1095375"/>
                                </a:lnTo>
                                <a:lnTo>
                                  <a:pt x="1169458" y="1092730"/>
                                </a:lnTo>
                                <a:lnTo>
                                  <a:pt x="1169458" y="1095375"/>
                                </a:lnTo>
                                <a:lnTo>
                                  <a:pt x="1166812" y="1100667"/>
                                </a:lnTo>
                                <a:lnTo>
                                  <a:pt x="1164167" y="1105959"/>
                                </a:lnTo>
                                <a:lnTo>
                                  <a:pt x="1158875" y="1108605"/>
                                </a:lnTo>
                                <a:lnTo>
                                  <a:pt x="1156229" y="1111250"/>
                                </a:lnTo>
                                <a:lnTo>
                                  <a:pt x="1150937" y="1113896"/>
                                </a:lnTo>
                                <a:lnTo>
                                  <a:pt x="1148292" y="1119188"/>
                                </a:lnTo>
                                <a:lnTo>
                                  <a:pt x="1145646" y="1119188"/>
                                </a:lnTo>
                                <a:lnTo>
                                  <a:pt x="1143000" y="1119188"/>
                                </a:lnTo>
                                <a:lnTo>
                                  <a:pt x="1143000" y="1121834"/>
                                </a:lnTo>
                                <a:lnTo>
                                  <a:pt x="1140354" y="1121834"/>
                                </a:lnTo>
                                <a:lnTo>
                                  <a:pt x="1135062" y="1121834"/>
                                </a:lnTo>
                                <a:lnTo>
                                  <a:pt x="1135062" y="1124480"/>
                                </a:lnTo>
                                <a:lnTo>
                                  <a:pt x="1135062" y="1127125"/>
                                </a:lnTo>
                                <a:lnTo>
                                  <a:pt x="1135062" y="1135063"/>
                                </a:lnTo>
                                <a:lnTo>
                                  <a:pt x="1132417" y="1143000"/>
                                </a:lnTo>
                                <a:lnTo>
                                  <a:pt x="1129771" y="1145646"/>
                                </a:lnTo>
                                <a:lnTo>
                                  <a:pt x="1127125" y="1148292"/>
                                </a:lnTo>
                                <a:lnTo>
                                  <a:pt x="1127125" y="1153584"/>
                                </a:lnTo>
                                <a:lnTo>
                                  <a:pt x="1129771" y="1156229"/>
                                </a:lnTo>
                                <a:lnTo>
                                  <a:pt x="1127125" y="1158875"/>
                                </a:lnTo>
                                <a:lnTo>
                                  <a:pt x="1127125" y="1164167"/>
                                </a:lnTo>
                                <a:lnTo>
                                  <a:pt x="1124479" y="1172104"/>
                                </a:lnTo>
                                <a:lnTo>
                                  <a:pt x="1098021" y="1166813"/>
                                </a:lnTo>
                                <a:lnTo>
                                  <a:pt x="1084791" y="1161521"/>
                                </a:lnTo>
                                <a:lnTo>
                                  <a:pt x="1082146" y="1158875"/>
                                </a:lnTo>
                                <a:lnTo>
                                  <a:pt x="1079500" y="1156229"/>
                                </a:lnTo>
                                <a:lnTo>
                                  <a:pt x="1079500" y="1145646"/>
                                </a:lnTo>
                                <a:lnTo>
                                  <a:pt x="1076854" y="1135063"/>
                                </a:lnTo>
                                <a:lnTo>
                                  <a:pt x="1074208" y="1129771"/>
                                </a:lnTo>
                                <a:lnTo>
                                  <a:pt x="1068916" y="1119188"/>
                                </a:lnTo>
                                <a:lnTo>
                                  <a:pt x="1063625" y="1092730"/>
                                </a:lnTo>
                                <a:lnTo>
                                  <a:pt x="1058333" y="1071563"/>
                                </a:lnTo>
                                <a:lnTo>
                                  <a:pt x="1050396" y="1060980"/>
                                </a:lnTo>
                                <a:lnTo>
                                  <a:pt x="1045104" y="1053042"/>
                                </a:lnTo>
                                <a:lnTo>
                                  <a:pt x="1034521" y="1050396"/>
                                </a:lnTo>
                                <a:lnTo>
                                  <a:pt x="1021291" y="1045105"/>
                                </a:lnTo>
                                <a:lnTo>
                                  <a:pt x="1018646" y="1045105"/>
                                </a:lnTo>
                                <a:lnTo>
                                  <a:pt x="1016000" y="1045105"/>
                                </a:lnTo>
                                <a:lnTo>
                                  <a:pt x="1013354" y="1047750"/>
                                </a:lnTo>
                                <a:lnTo>
                                  <a:pt x="1008062" y="1047750"/>
                                </a:lnTo>
                                <a:lnTo>
                                  <a:pt x="1005416" y="1050396"/>
                                </a:lnTo>
                                <a:lnTo>
                                  <a:pt x="1000125" y="1055688"/>
                                </a:lnTo>
                                <a:lnTo>
                                  <a:pt x="994833" y="1063625"/>
                                </a:lnTo>
                                <a:lnTo>
                                  <a:pt x="989541" y="1063625"/>
                                </a:lnTo>
                                <a:lnTo>
                                  <a:pt x="981604" y="1060980"/>
                                </a:lnTo>
                                <a:lnTo>
                                  <a:pt x="971021" y="1053042"/>
                                </a:lnTo>
                                <a:lnTo>
                                  <a:pt x="965729" y="1047750"/>
                                </a:lnTo>
                                <a:lnTo>
                                  <a:pt x="965729" y="1045105"/>
                                </a:lnTo>
                                <a:lnTo>
                                  <a:pt x="965729" y="1034521"/>
                                </a:lnTo>
                                <a:lnTo>
                                  <a:pt x="965729" y="1026584"/>
                                </a:lnTo>
                                <a:lnTo>
                                  <a:pt x="963083" y="1021292"/>
                                </a:lnTo>
                                <a:lnTo>
                                  <a:pt x="957791" y="1016000"/>
                                </a:lnTo>
                                <a:lnTo>
                                  <a:pt x="952500" y="1010709"/>
                                </a:lnTo>
                                <a:lnTo>
                                  <a:pt x="949854" y="1008063"/>
                                </a:lnTo>
                                <a:lnTo>
                                  <a:pt x="949854" y="1005417"/>
                                </a:lnTo>
                                <a:lnTo>
                                  <a:pt x="944562" y="1000125"/>
                                </a:lnTo>
                                <a:lnTo>
                                  <a:pt x="933979" y="992188"/>
                                </a:lnTo>
                                <a:lnTo>
                                  <a:pt x="931333" y="989542"/>
                                </a:lnTo>
                                <a:lnTo>
                                  <a:pt x="889000" y="989542"/>
                                </a:lnTo>
                                <a:lnTo>
                                  <a:pt x="881062" y="1000125"/>
                                </a:lnTo>
                                <a:lnTo>
                                  <a:pt x="817562" y="1000125"/>
                                </a:lnTo>
                                <a:lnTo>
                                  <a:pt x="732896" y="965730"/>
                                </a:lnTo>
                                <a:lnTo>
                                  <a:pt x="732896" y="960438"/>
                                </a:lnTo>
                                <a:lnTo>
                                  <a:pt x="706437" y="960438"/>
                                </a:lnTo>
                                <a:lnTo>
                                  <a:pt x="672041" y="960438"/>
                                </a:lnTo>
                                <a:lnTo>
                                  <a:pt x="674687" y="955146"/>
                                </a:lnTo>
                                <a:lnTo>
                                  <a:pt x="672041" y="952500"/>
                                </a:lnTo>
                                <a:lnTo>
                                  <a:pt x="669396" y="952500"/>
                                </a:lnTo>
                                <a:lnTo>
                                  <a:pt x="672041" y="947209"/>
                                </a:lnTo>
                                <a:lnTo>
                                  <a:pt x="674687" y="944563"/>
                                </a:lnTo>
                                <a:lnTo>
                                  <a:pt x="672041" y="939271"/>
                                </a:lnTo>
                                <a:lnTo>
                                  <a:pt x="656166" y="926042"/>
                                </a:lnTo>
                                <a:lnTo>
                                  <a:pt x="648229" y="920750"/>
                                </a:lnTo>
                                <a:lnTo>
                                  <a:pt x="642937" y="918105"/>
                                </a:lnTo>
                                <a:lnTo>
                                  <a:pt x="637646" y="915459"/>
                                </a:lnTo>
                                <a:lnTo>
                                  <a:pt x="637646" y="912813"/>
                                </a:lnTo>
                                <a:lnTo>
                                  <a:pt x="635000" y="907521"/>
                                </a:lnTo>
                                <a:lnTo>
                                  <a:pt x="629708" y="904875"/>
                                </a:lnTo>
                                <a:lnTo>
                                  <a:pt x="619125" y="902230"/>
                                </a:lnTo>
                                <a:lnTo>
                                  <a:pt x="611187" y="899584"/>
                                </a:lnTo>
                                <a:lnTo>
                                  <a:pt x="608541" y="896938"/>
                                </a:lnTo>
                                <a:lnTo>
                                  <a:pt x="608541" y="891646"/>
                                </a:lnTo>
                                <a:lnTo>
                                  <a:pt x="611187" y="886355"/>
                                </a:lnTo>
                                <a:lnTo>
                                  <a:pt x="608541" y="883709"/>
                                </a:lnTo>
                                <a:lnTo>
                                  <a:pt x="608541" y="881063"/>
                                </a:lnTo>
                                <a:lnTo>
                                  <a:pt x="608541" y="878417"/>
                                </a:lnTo>
                                <a:lnTo>
                                  <a:pt x="608541" y="875771"/>
                                </a:lnTo>
                                <a:lnTo>
                                  <a:pt x="605896" y="873125"/>
                                </a:lnTo>
                                <a:lnTo>
                                  <a:pt x="603250" y="870480"/>
                                </a:lnTo>
                                <a:lnTo>
                                  <a:pt x="605896" y="867834"/>
                                </a:lnTo>
                                <a:lnTo>
                                  <a:pt x="608541" y="862542"/>
                                </a:lnTo>
                                <a:lnTo>
                                  <a:pt x="608541" y="859896"/>
                                </a:lnTo>
                                <a:lnTo>
                                  <a:pt x="603250" y="851959"/>
                                </a:lnTo>
                                <a:lnTo>
                                  <a:pt x="600604" y="844021"/>
                                </a:lnTo>
                                <a:lnTo>
                                  <a:pt x="600604" y="841375"/>
                                </a:lnTo>
                                <a:lnTo>
                                  <a:pt x="605896" y="838730"/>
                                </a:lnTo>
                                <a:lnTo>
                                  <a:pt x="608541" y="833438"/>
                                </a:lnTo>
                                <a:lnTo>
                                  <a:pt x="608541" y="830792"/>
                                </a:lnTo>
                                <a:lnTo>
                                  <a:pt x="603250" y="822855"/>
                                </a:lnTo>
                                <a:lnTo>
                                  <a:pt x="597958" y="812271"/>
                                </a:lnTo>
                                <a:lnTo>
                                  <a:pt x="597958" y="809625"/>
                                </a:lnTo>
                                <a:lnTo>
                                  <a:pt x="603250" y="806980"/>
                                </a:lnTo>
                                <a:lnTo>
                                  <a:pt x="611187" y="801688"/>
                                </a:lnTo>
                                <a:lnTo>
                                  <a:pt x="613833" y="799042"/>
                                </a:lnTo>
                                <a:lnTo>
                                  <a:pt x="616479" y="796396"/>
                                </a:lnTo>
                                <a:lnTo>
                                  <a:pt x="613833" y="796396"/>
                                </a:lnTo>
                                <a:lnTo>
                                  <a:pt x="608541" y="799042"/>
                                </a:lnTo>
                                <a:lnTo>
                                  <a:pt x="605896" y="801688"/>
                                </a:lnTo>
                                <a:lnTo>
                                  <a:pt x="603250" y="801688"/>
                                </a:lnTo>
                                <a:lnTo>
                                  <a:pt x="600604" y="799042"/>
                                </a:lnTo>
                                <a:lnTo>
                                  <a:pt x="597958" y="793750"/>
                                </a:lnTo>
                                <a:lnTo>
                                  <a:pt x="597958" y="788459"/>
                                </a:lnTo>
                                <a:lnTo>
                                  <a:pt x="597958" y="783167"/>
                                </a:lnTo>
                                <a:lnTo>
                                  <a:pt x="600604" y="777875"/>
                                </a:lnTo>
                                <a:lnTo>
                                  <a:pt x="600604" y="769938"/>
                                </a:lnTo>
                                <a:lnTo>
                                  <a:pt x="600604" y="756709"/>
                                </a:lnTo>
                                <a:lnTo>
                                  <a:pt x="605896" y="743480"/>
                                </a:lnTo>
                                <a:lnTo>
                                  <a:pt x="605896" y="738188"/>
                                </a:lnTo>
                                <a:lnTo>
                                  <a:pt x="605896" y="735542"/>
                                </a:lnTo>
                                <a:lnTo>
                                  <a:pt x="603250" y="730251"/>
                                </a:lnTo>
                                <a:lnTo>
                                  <a:pt x="603250" y="727605"/>
                                </a:lnTo>
                                <a:lnTo>
                                  <a:pt x="603250" y="722313"/>
                                </a:lnTo>
                                <a:lnTo>
                                  <a:pt x="605896" y="717021"/>
                                </a:lnTo>
                                <a:lnTo>
                                  <a:pt x="613833" y="711730"/>
                                </a:lnTo>
                                <a:lnTo>
                                  <a:pt x="619125" y="706438"/>
                                </a:lnTo>
                                <a:lnTo>
                                  <a:pt x="616479" y="703792"/>
                                </a:lnTo>
                                <a:lnTo>
                                  <a:pt x="619125" y="701146"/>
                                </a:lnTo>
                                <a:lnTo>
                                  <a:pt x="629708" y="695855"/>
                                </a:lnTo>
                                <a:lnTo>
                                  <a:pt x="629708" y="690563"/>
                                </a:lnTo>
                                <a:lnTo>
                                  <a:pt x="629708" y="674688"/>
                                </a:lnTo>
                                <a:lnTo>
                                  <a:pt x="632354" y="669396"/>
                                </a:lnTo>
                                <a:lnTo>
                                  <a:pt x="635000" y="661459"/>
                                </a:lnTo>
                                <a:lnTo>
                                  <a:pt x="640291" y="653521"/>
                                </a:lnTo>
                                <a:lnTo>
                                  <a:pt x="648229" y="648230"/>
                                </a:lnTo>
                                <a:lnTo>
                                  <a:pt x="677333" y="616480"/>
                                </a:lnTo>
                                <a:lnTo>
                                  <a:pt x="695854" y="590021"/>
                                </a:lnTo>
                                <a:lnTo>
                                  <a:pt x="711729" y="568855"/>
                                </a:lnTo>
                                <a:lnTo>
                                  <a:pt x="727604" y="571501"/>
                                </a:lnTo>
                                <a:lnTo>
                                  <a:pt x="735541" y="574146"/>
                                </a:lnTo>
                                <a:lnTo>
                                  <a:pt x="730250" y="568855"/>
                                </a:lnTo>
                                <a:lnTo>
                                  <a:pt x="722312" y="566209"/>
                                </a:lnTo>
                                <a:lnTo>
                                  <a:pt x="717021" y="563563"/>
                                </a:lnTo>
                                <a:lnTo>
                                  <a:pt x="714375" y="560917"/>
                                </a:lnTo>
                                <a:lnTo>
                                  <a:pt x="717021" y="558271"/>
                                </a:lnTo>
                                <a:lnTo>
                                  <a:pt x="727604" y="542396"/>
                                </a:lnTo>
                                <a:lnTo>
                                  <a:pt x="730250" y="534459"/>
                                </a:lnTo>
                                <a:lnTo>
                                  <a:pt x="732896" y="526521"/>
                                </a:lnTo>
                                <a:lnTo>
                                  <a:pt x="732896" y="518584"/>
                                </a:lnTo>
                                <a:lnTo>
                                  <a:pt x="735541" y="508001"/>
                                </a:lnTo>
                                <a:lnTo>
                                  <a:pt x="740833" y="502709"/>
                                </a:lnTo>
                                <a:lnTo>
                                  <a:pt x="746125" y="502709"/>
                                </a:lnTo>
                                <a:lnTo>
                                  <a:pt x="751416" y="505355"/>
                                </a:lnTo>
                                <a:lnTo>
                                  <a:pt x="762000" y="508001"/>
                                </a:lnTo>
                                <a:lnTo>
                                  <a:pt x="772583" y="508001"/>
                                </a:lnTo>
                                <a:lnTo>
                                  <a:pt x="780521" y="508001"/>
                                </a:lnTo>
                                <a:lnTo>
                                  <a:pt x="783166" y="510646"/>
                                </a:lnTo>
                                <a:lnTo>
                                  <a:pt x="783166" y="513292"/>
                                </a:lnTo>
                                <a:lnTo>
                                  <a:pt x="780521" y="518584"/>
                                </a:lnTo>
                                <a:lnTo>
                                  <a:pt x="780521" y="523876"/>
                                </a:lnTo>
                                <a:lnTo>
                                  <a:pt x="783166" y="526521"/>
                                </a:lnTo>
                                <a:lnTo>
                                  <a:pt x="788458" y="515938"/>
                                </a:lnTo>
                                <a:lnTo>
                                  <a:pt x="793750" y="510646"/>
                                </a:lnTo>
                                <a:lnTo>
                                  <a:pt x="796396" y="508001"/>
                                </a:lnTo>
                                <a:lnTo>
                                  <a:pt x="804333" y="505355"/>
                                </a:lnTo>
                                <a:lnTo>
                                  <a:pt x="806979" y="505355"/>
                                </a:lnTo>
                                <a:lnTo>
                                  <a:pt x="801687" y="500063"/>
                                </a:lnTo>
                                <a:lnTo>
                                  <a:pt x="799041" y="494771"/>
                                </a:lnTo>
                                <a:lnTo>
                                  <a:pt x="801687" y="494771"/>
                                </a:lnTo>
                                <a:lnTo>
                                  <a:pt x="806979" y="492126"/>
                                </a:lnTo>
                                <a:lnTo>
                                  <a:pt x="801687" y="486834"/>
                                </a:lnTo>
                                <a:lnTo>
                                  <a:pt x="1444625" y="486834"/>
                                </a:lnTo>
                                <a:lnTo>
                                  <a:pt x="1452562" y="484188"/>
                                </a:lnTo>
                                <a:lnTo>
                                  <a:pt x="1457854" y="476251"/>
                                </a:lnTo>
                                <a:lnTo>
                                  <a:pt x="1463146" y="470959"/>
                                </a:lnTo>
                                <a:lnTo>
                                  <a:pt x="1465792" y="470959"/>
                                </a:lnTo>
                                <a:close/>
                                <a:moveTo>
                                  <a:pt x="296333" y="272521"/>
                                </a:moveTo>
                                <a:lnTo>
                                  <a:pt x="301625" y="275167"/>
                                </a:lnTo>
                                <a:lnTo>
                                  <a:pt x="306916" y="277813"/>
                                </a:lnTo>
                                <a:lnTo>
                                  <a:pt x="312208" y="277813"/>
                                </a:lnTo>
                                <a:lnTo>
                                  <a:pt x="317500" y="277813"/>
                                </a:lnTo>
                                <a:lnTo>
                                  <a:pt x="317500" y="280459"/>
                                </a:lnTo>
                                <a:lnTo>
                                  <a:pt x="320145" y="283105"/>
                                </a:lnTo>
                                <a:lnTo>
                                  <a:pt x="322791" y="285750"/>
                                </a:lnTo>
                                <a:lnTo>
                                  <a:pt x="325437" y="285750"/>
                                </a:lnTo>
                                <a:lnTo>
                                  <a:pt x="322791" y="288396"/>
                                </a:lnTo>
                                <a:lnTo>
                                  <a:pt x="320145" y="288396"/>
                                </a:lnTo>
                                <a:lnTo>
                                  <a:pt x="320145" y="291042"/>
                                </a:lnTo>
                                <a:lnTo>
                                  <a:pt x="322791" y="296334"/>
                                </a:lnTo>
                                <a:lnTo>
                                  <a:pt x="322791" y="298980"/>
                                </a:lnTo>
                                <a:lnTo>
                                  <a:pt x="317500" y="298980"/>
                                </a:lnTo>
                                <a:lnTo>
                                  <a:pt x="304270" y="298980"/>
                                </a:lnTo>
                                <a:lnTo>
                                  <a:pt x="312208" y="301626"/>
                                </a:lnTo>
                                <a:lnTo>
                                  <a:pt x="309562" y="304271"/>
                                </a:lnTo>
                                <a:lnTo>
                                  <a:pt x="304270" y="306917"/>
                                </a:lnTo>
                                <a:lnTo>
                                  <a:pt x="296333" y="306917"/>
                                </a:lnTo>
                                <a:lnTo>
                                  <a:pt x="291041" y="306917"/>
                                </a:lnTo>
                                <a:lnTo>
                                  <a:pt x="285750" y="306917"/>
                                </a:lnTo>
                                <a:lnTo>
                                  <a:pt x="283104" y="306917"/>
                                </a:lnTo>
                                <a:lnTo>
                                  <a:pt x="269875" y="312209"/>
                                </a:lnTo>
                                <a:lnTo>
                                  <a:pt x="256646" y="312209"/>
                                </a:lnTo>
                                <a:lnTo>
                                  <a:pt x="251354" y="312209"/>
                                </a:lnTo>
                                <a:lnTo>
                                  <a:pt x="259291" y="309563"/>
                                </a:lnTo>
                                <a:lnTo>
                                  <a:pt x="264583" y="304271"/>
                                </a:lnTo>
                                <a:lnTo>
                                  <a:pt x="256646" y="306917"/>
                                </a:lnTo>
                                <a:lnTo>
                                  <a:pt x="246062" y="306917"/>
                                </a:lnTo>
                                <a:lnTo>
                                  <a:pt x="246062" y="304271"/>
                                </a:lnTo>
                                <a:lnTo>
                                  <a:pt x="246062" y="301626"/>
                                </a:lnTo>
                                <a:lnTo>
                                  <a:pt x="243417" y="298980"/>
                                </a:lnTo>
                                <a:lnTo>
                                  <a:pt x="238125" y="296334"/>
                                </a:lnTo>
                                <a:lnTo>
                                  <a:pt x="235479" y="293688"/>
                                </a:lnTo>
                                <a:lnTo>
                                  <a:pt x="238125" y="293688"/>
                                </a:lnTo>
                                <a:lnTo>
                                  <a:pt x="246062" y="288396"/>
                                </a:lnTo>
                                <a:lnTo>
                                  <a:pt x="267229" y="285750"/>
                                </a:lnTo>
                                <a:lnTo>
                                  <a:pt x="269875" y="285750"/>
                                </a:lnTo>
                                <a:lnTo>
                                  <a:pt x="272521" y="285750"/>
                                </a:lnTo>
                                <a:lnTo>
                                  <a:pt x="272521" y="288396"/>
                                </a:lnTo>
                                <a:lnTo>
                                  <a:pt x="275166" y="288396"/>
                                </a:lnTo>
                                <a:lnTo>
                                  <a:pt x="277812" y="285750"/>
                                </a:lnTo>
                                <a:lnTo>
                                  <a:pt x="275166" y="285750"/>
                                </a:lnTo>
                                <a:lnTo>
                                  <a:pt x="275166" y="283105"/>
                                </a:lnTo>
                                <a:lnTo>
                                  <a:pt x="275166" y="280459"/>
                                </a:lnTo>
                                <a:lnTo>
                                  <a:pt x="280458" y="280459"/>
                                </a:lnTo>
                                <a:lnTo>
                                  <a:pt x="283104" y="280459"/>
                                </a:lnTo>
                                <a:lnTo>
                                  <a:pt x="283104" y="283105"/>
                                </a:lnTo>
                                <a:lnTo>
                                  <a:pt x="285750" y="280459"/>
                                </a:lnTo>
                                <a:lnTo>
                                  <a:pt x="291041" y="275167"/>
                                </a:lnTo>
                                <a:close/>
                                <a:moveTo>
                                  <a:pt x="669396" y="0"/>
                                </a:moveTo>
                                <a:lnTo>
                                  <a:pt x="693208" y="0"/>
                                </a:lnTo>
                                <a:lnTo>
                                  <a:pt x="706437" y="0"/>
                                </a:lnTo>
                                <a:lnTo>
                                  <a:pt x="706437" y="2646"/>
                                </a:lnTo>
                                <a:lnTo>
                                  <a:pt x="703792" y="2646"/>
                                </a:lnTo>
                                <a:lnTo>
                                  <a:pt x="701146" y="7937"/>
                                </a:lnTo>
                                <a:lnTo>
                                  <a:pt x="706437" y="7937"/>
                                </a:lnTo>
                                <a:lnTo>
                                  <a:pt x="717021" y="5292"/>
                                </a:lnTo>
                                <a:lnTo>
                                  <a:pt x="714375" y="2646"/>
                                </a:lnTo>
                                <a:lnTo>
                                  <a:pt x="711729" y="0"/>
                                </a:lnTo>
                                <a:lnTo>
                                  <a:pt x="714375" y="0"/>
                                </a:lnTo>
                                <a:lnTo>
                                  <a:pt x="722312" y="0"/>
                                </a:lnTo>
                                <a:lnTo>
                                  <a:pt x="727604" y="2646"/>
                                </a:lnTo>
                                <a:lnTo>
                                  <a:pt x="732896" y="2646"/>
                                </a:lnTo>
                                <a:lnTo>
                                  <a:pt x="748771" y="2646"/>
                                </a:lnTo>
                                <a:lnTo>
                                  <a:pt x="764646" y="2646"/>
                                </a:lnTo>
                                <a:lnTo>
                                  <a:pt x="767292" y="2646"/>
                                </a:lnTo>
                                <a:lnTo>
                                  <a:pt x="767292" y="5292"/>
                                </a:lnTo>
                                <a:lnTo>
                                  <a:pt x="762000" y="7937"/>
                                </a:lnTo>
                                <a:lnTo>
                                  <a:pt x="751417" y="13229"/>
                                </a:lnTo>
                                <a:lnTo>
                                  <a:pt x="762000" y="15875"/>
                                </a:lnTo>
                                <a:lnTo>
                                  <a:pt x="769937" y="15875"/>
                                </a:lnTo>
                                <a:lnTo>
                                  <a:pt x="780521" y="13229"/>
                                </a:lnTo>
                                <a:lnTo>
                                  <a:pt x="788458" y="10583"/>
                                </a:lnTo>
                                <a:lnTo>
                                  <a:pt x="791104" y="10583"/>
                                </a:lnTo>
                                <a:lnTo>
                                  <a:pt x="796396" y="10583"/>
                                </a:lnTo>
                                <a:lnTo>
                                  <a:pt x="804333" y="13229"/>
                                </a:lnTo>
                                <a:lnTo>
                                  <a:pt x="809625" y="13229"/>
                                </a:lnTo>
                                <a:lnTo>
                                  <a:pt x="814917" y="13229"/>
                                </a:lnTo>
                                <a:lnTo>
                                  <a:pt x="825500" y="13229"/>
                                </a:lnTo>
                                <a:lnTo>
                                  <a:pt x="833437" y="13229"/>
                                </a:lnTo>
                                <a:lnTo>
                                  <a:pt x="844021" y="13229"/>
                                </a:lnTo>
                                <a:lnTo>
                                  <a:pt x="859896" y="13229"/>
                                </a:lnTo>
                                <a:lnTo>
                                  <a:pt x="889000" y="23812"/>
                                </a:lnTo>
                                <a:lnTo>
                                  <a:pt x="891646" y="18521"/>
                                </a:lnTo>
                                <a:lnTo>
                                  <a:pt x="894291" y="13229"/>
                                </a:lnTo>
                                <a:lnTo>
                                  <a:pt x="899583" y="10583"/>
                                </a:lnTo>
                                <a:lnTo>
                                  <a:pt x="902229" y="10583"/>
                                </a:lnTo>
                                <a:lnTo>
                                  <a:pt x="907521" y="10583"/>
                                </a:lnTo>
                                <a:lnTo>
                                  <a:pt x="912812" y="13229"/>
                                </a:lnTo>
                                <a:lnTo>
                                  <a:pt x="915458" y="18521"/>
                                </a:lnTo>
                                <a:lnTo>
                                  <a:pt x="920750" y="18521"/>
                                </a:lnTo>
                                <a:lnTo>
                                  <a:pt x="928687" y="18521"/>
                                </a:lnTo>
                                <a:lnTo>
                                  <a:pt x="939271" y="21167"/>
                                </a:lnTo>
                                <a:lnTo>
                                  <a:pt x="941916" y="21167"/>
                                </a:lnTo>
                                <a:lnTo>
                                  <a:pt x="947208" y="26458"/>
                                </a:lnTo>
                                <a:lnTo>
                                  <a:pt x="886354" y="60854"/>
                                </a:lnTo>
                                <a:lnTo>
                                  <a:pt x="817562" y="103188"/>
                                </a:lnTo>
                                <a:lnTo>
                                  <a:pt x="738187" y="156104"/>
                                </a:lnTo>
                                <a:lnTo>
                                  <a:pt x="695854" y="185209"/>
                                </a:lnTo>
                                <a:lnTo>
                                  <a:pt x="653521" y="216959"/>
                                </a:lnTo>
                                <a:lnTo>
                                  <a:pt x="661458" y="216959"/>
                                </a:lnTo>
                                <a:lnTo>
                                  <a:pt x="669396" y="216959"/>
                                </a:lnTo>
                                <a:lnTo>
                                  <a:pt x="677333" y="219604"/>
                                </a:lnTo>
                                <a:lnTo>
                                  <a:pt x="679979" y="219604"/>
                                </a:lnTo>
                                <a:lnTo>
                                  <a:pt x="685271" y="219604"/>
                                </a:lnTo>
                                <a:lnTo>
                                  <a:pt x="687917" y="219604"/>
                                </a:lnTo>
                                <a:lnTo>
                                  <a:pt x="690562" y="230188"/>
                                </a:lnTo>
                                <a:lnTo>
                                  <a:pt x="695854" y="235479"/>
                                </a:lnTo>
                                <a:lnTo>
                                  <a:pt x="701146" y="238125"/>
                                </a:lnTo>
                                <a:lnTo>
                                  <a:pt x="711729" y="238125"/>
                                </a:lnTo>
                                <a:lnTo>
                                  <a:pt x="717021" y="235479"/>
                                </a:lnTo>
                                <a:lnTo>
                                  <a:pt x="722312" y="232834"/>
                                </a:lnTo>
                                <a:lnTo>
                                  <a:pt x="730250" y="232834"/>
                                </a:lnTo>
                                <a:lnTo>
                                  <a:pt x="738187" y="232834"/>
                                </a:lnTo>
                                <a:lnTo>
                                  <a:pt x="738187" y="230188"/>
                                </a:lnTo>
                                <a:lnTo>
                                  <a:pt x="740833" y="227542"/>
                                </a:lnTo>
                                <a:lnTo>
                                  <a:pt x="748771" y="224896"/>
                                </a:lnTo>
                                <a:lnTo>
                                  <a:pt x="764646" y="224896"/>
                                </a:lnTo>
                                <a:lnTo>
                                  <a:pt x="759354" y="230188"/>
                                </a:lnTo>
                                <a:lnTo>
                                  <a:pt x="759354" y="232834"/>
                                </a:lnTo>
                                <a:lnTo>
                                  <a:pt x="759354" y="238125"/>
                                </a:lnTo>
                                <a:lnTo>
                                  <a:pt x="762000" y="254000"/>
                                </a:lnTo>
                                <a:lnTo>
                                  <a:pt x="762000" y="272521"/>
                                </a:lnTo>
                                <a:lnTo>
                                  <a:pt x="762000" y="280459"/>
                                </a:lnTo>
                                <a:lnTo>
                                  <a:pt x="759354" y="288396"/>
                                </a:lnTo>
                                <a:lnTo>
                                  <a:pt x="759354" y="293688"/>
                                </a:lnTo>
                                <a:lnTo>
                                  <a:pt x="762000" y="293688"/>
                                </a:lnTo>
                                <a:lnTo>
                                  <a:pt x="762000" y="296334"/>
                                </a:lnTo>
                                <a:lnTo>
                                  <a:pt x="759354" y="298980"/>
                                </a:lnTo>
                                <a:lnTo>
                                  <a:pt x="759354" y="301625"/>
                                </a:lnTo>
                                <a:lnTo>
                                  <a:pt x="759354" y="304271"/>
                                </a:lnTo>
                                <a:lnTo>
                                  <a:pt x="764646" y="309563"/>
                                </a:lnTo>
                                <a:lnTo>
                                  <a:pt x="769937" y="314855"/>
                                </a:lnTo>
                                <a:lnTo>
                                  <a:pt x="769937" y="317500"/>
                                </a:lnTo>
                                <a:lnTo>
                                  <a:pt x="767292" y="320146"/>
                                </a:lnTo>
                                <a:lnTo>
                                  <a:pt x="762000" y="325438"/>
                                </a:lnTo>
                                <a:lnTo>
                                  <a:pt x="759354" y="328084"/>
                                </a:lnTo>
                                <a:lnTo>
                                  <a:pt x="756708" y="333375"/>
                                </a:lnTo>
                                <a:lnTo>
                                  <a:pt x="748771" y="336021"/>
                                </a:lnTo>
                                <a:lnTo>
                                  <a:pt x="751417" y="328084"/>
                                </a:lnTo>
                                <a:lnTo>
                                  <a:pt x="754062" y="322792"/>
                                </a:lnTo>
                                <a:lnTo>
                                  <a:pt x="751417" y="320146"/>
                                </a:lnTo>
                                <a:lnTo>
                                  <a:pt x="748771" y="320146"/>
                                </a:lnTo>
                                <a:lnTo>
                                  <a:pt x="746125" y="320146"/>
                                </a:lnTo>
                                <a:lnTo>
                                  <a:pt x="746125" y="317500"/>
                                </a:lnTo>
                                <a:lnTo>
                                  <a:pt x="746125" y="312209"/>
                                </a:lnTo>
                                <a:lnTo>
                                  <a:pt x="748771" y="306917"/>
                                </a:lnTo>
                                <a:lnTo>
                                  <a:pt x="751417" y="304271"/>
                                </a:lnTo>
                                <a:lnTo>
                                  <a:pt x="751417" y="301625"/>
                                </a:lnTo>
                                <a:lnTo>
                                  <a:pt x="746125" y="296334"/>
                                </a:lnTo>
                                <a:lnTo>
                                  <a:pt x="743479" y="291042"/>
                                </a:lnTo>
                                <a:lnTo>
                                  <a:pt x="746125" y="288396"/>
                                </a:lnTo>
                                <a:lnTo>
                                  <a:pt x="748771" y="280459"/>
                                </a:lnTo>
                                <a:lnTo>
                                  <a:pt x="748771" y="275167"/>
                                </a:lnTo>
                                <a:lnTo>
                                  <a:pt x="746125" y="269875"/>
                                </a:lnTo>
                                <a:lnTo>
                                  <a:pt x="743479" y="259292"/>
                                </a:lnTo>
                                <a:lnTo>
                                  <a:pt x="746125" y="256646"/>
                                </a:lnTo>
                                <a:lnTo>
                                  <a:pt x="748771" y="251354"/>
                                </a:lnTo>
                                <a:lnTo>
                                  <a:pt x="754062" y="240771"/>
                                </a:lnTo>
                                <a:lnTo>
                                  <a:pt x="751417" y="238125"/>
                                </a:lnTo>
                                <a:lnTo>
                                  <a:pt x="743479" y="240771"/>
                                </a:lnTo>
                                <a:lnTo>
                                  <a:pt x="732896" y="248709"/>
                                </a:lnTo>
                                <a:lnTo>
                                  <a:pt x="727604" y="254000"/>
                                </a:lnTo>
                                <a:lnTo>
                                  <a:pt x="724958" y="256646"/>
                                </a:lnTo>
                                <a:lnTo>
                                  <a:pt x="719667" y="254000"/>
                                </a:lnTo>
                                <a:lnTo>
                                  <a:pt x="719667" y="251354"/>
                                </a:lnTo>
                                <a:lnTo>
                                  <a:pt x="717021" y="248709"/>
                                </a:lnTo>
                                <a:lnTo>
                                  <a:pt x="714375" y="246063"/>
                                </a:lnTo>
                                <a:lnTo>
                                  <a:pt x="709083" y="248709"/>
                                </a:lnTo>
                                <a:lnTo>
                                  <a:pt x="701146" y="251354"/>
                                </a:lnTo>
                                <a:lnTo>
                                  <a:pt x="693208" y="256646"/>
                                </a:lnTo>
                                <a:lnTo>
                                  <a:pt x="687917" y="254000"/>
                                </a:lnTo>
                                <a:lnTo>
                                  <a:pt x="682625" y="251354"/>
                                </a:lnTo>
                                <a:lnTo>
                                  <a:pt x="682625" y="248709"/>
                                </a:lnTo>
                                <a:lnTo>
                                  <a:pt x="685271" y="246063"/>
                                </a:lnTo>
                                <a:lnTo>
                                  <a:pt x="687917" y="243417"/>
                                </a:lnTo>
                                <a:lnTo>
                                  <a:pt x="685271" y="243417"/>
                                </a:lnTo>
                                <a:lnTo>
                                  <a:pt x="682625" y="240771"/>
                                </a:lnTo>
                                <a:lnTo>
                                  <a:pt x="677333" y="235479"/>
                                </a:lnTo>
                                <a:lnTo>
                                  <a:pt x="679979" y="230188"/>
                                </a:lnTo>
                                <a:lnTo>
                                  <a:pt x="682625" y="227542"/>
                                </a:lnTo>
                                <a:lnTo>
                                  <a:pt x="674687" y="227542"/>
                                </a:lnTo>
                                <a:lnTo>
                                  <a:pt x="650875" y="230188"/>
                                </a:lnTo>
                                <a:lnTo>
                                  <a:pt x="629708" y="227542"/>
                                </a:lnTo>
                                <a:lnTo>
                                  <a:pt x="616479" y="222250"/>
                                </a:lnTo>
                                <a:lnTo>
                                  <a:pt x="605896" y="219604"/>
                                </a:lnTo>
                                <a:lnTo>
                                  <a:pt x="587375" y="222250"/>
                                </a:lnTo>
                                <a:lnTo>
                                  <a:pt x="568854" y="222250"/>
                                </a:lnTo>
                                <a:lnTo>
                                  <a:pt x="560916" y="219604"/>
                                </a:lnTo>
                                <a:lnTo>
                                  <a:pt x="558271" y="216959"/>
                                </a:lnTo>
                                <a:lnTo>
                                  <a:pt x="550333" y="214313"/>
                                </a:lnTo>
                                <a:lnTo>
                                  <a:pt x="542396" y="214313"/>
                                </a:lnTo>
                                <a:lnTo>
                                  <a:pt x="539750" y="211667"/>
                                </a:lnTo>
                                <a:lnTo>
                                  <a:pt x="539750" y="209021"/>
                                </a:lnTo>
                                <a:lnTo>
                                  <a:pt x="542396" y="206375"/>
                                </a:lnTo>
                                <a:lnTo>
                                  <a:pt x="550333" y="201084"/>
                                </a:lnTo>
                                <a:lnTo>
                                  <a:pt x="545041" y="201084"/>
                                </a:lnTo>
                                <a:lnTo>
                                  <a:pt x="539750" y="198438"/>
                                </a:lnTo>
                                <a:lnTo>
                                  <a:pt x="537104" y="198438"/>
                                </a:lnTo>
                                <a:lnTo>
                                  <a:pt x="531812" y="190500"/>
                                </a:lnTo>
                                <a:lnTo>
                                  <a:pt x="529166" y="187854"/>
                                </a:lnTo>
                                <a:lnTo>
                                  <a:pt x="526521" y="185209"/>
                                </a:lnTo>
                                <a:lnTo>
                                  <a:pt x="523875" y="187854"/>
                                </a:lnTo>
                                <a:lnTo>
                                  <a:pt x="508000" y="193146"/>
                                </a:lnTo>
                                <a:lnTo>
                                  <a:pt x="497416" y="193146"/>
                                </a:lnTo>
                                <a:lnTo>
                                  <a:pt x="489479" y="195792"/>
                                </a:lnTo>
                                <a:lnTo>
                                  <a:pt x="484187" y="198438"/>
                                </a:lnTo>
                                <a:lnTo>
                                  <a:pt x="481541" y="203729"/>
                                </a:lnTo>
                                <a:lnTo>
                                  <a:pt x="481541" y="209021"/>
                                </a:lnTo>
                                <a:lnTo>
                                  <a:pt x="481541" y="211667"/>
                                </a:lnTo>
                                <a:lnTo>
                                  <a:pt x="481541" y="214313"/>
                                </a:lnTo>
                                <a:lnTo>
                                  <a:pt x="486833" y="214313"/>
                                </a:lnTo>
                                <a:lnTo>
                                  <a:pt x="500062" y="214313"/>
                                </a:lnTo>
                                <a:lnTo>
                                  <a:pt x="518583" y="211667"/>
                                </a:lnTo>
                                <a:lnTo>
                                  <a:pt x="505354" y="219604"/>
                                </a:lnTo>
                                <a:lnTo>
                                  <a:pt x="494771" y="222250"/>
                                </a:lnTo>
                                <a:lnTo>
                                  <a:pt x="481541" y="222250"/>
                                </a:lnTo>
                                <a:lnTo>
                                  <a:pt x="473604" y="222250"/>
                                </a:lnTo>
                                <a:lnTo>
                                  <a:pt x="468312" y="222250"/>
                                </a:lnTo>
                                <a:lnTo>
                                  <a:pt x="463021" y="224896"/>
                                </a:lnTo>
                                <a:lnTo>
                                  <a:pt x="460375" y="224896"/>
                                </a:lnTo>
                                <a:lnTo>
                                  <a:pt x="452437" y="224896"/>
                                </a:lnTo>
                                <a:lnTo>
                                  <a:pt x="441854" y="227542"/>
                                </a:lnTo>
                                <a:lnTo>
                                  <a:pt x="425979" y="235479"/>
                                </a:lnTo>
                                <a:lnTo>
                                  <a:pt x="412750" y="238125"/>
                                </a:lnTo>
                                <a:lnTo>
                                  <a:pt x="402166" y="238125"/>
                                </a:lnTo>
                                <a:lnTo>
                                  <a:pt x="402166" y="235479"/>
                                </a:lnTo>
                                <a:lnTo>
                                  <a:pt x="399521" y="232834"/>
                                </a:lnTo>
                                <a:lnTo>
                                  <a:pt x="402166" y="230188"/>
                                </a:lnTo>
                                <a:lnTo>
                                  <a:pt x="404812" y="227542"/>
                                </a:lnTo>
                                <a:lnTo>
                                  <a:pt x="418041" y="227542"/>
                                </a:lnTo>
                                <a:lnTo>
                                  <a:pt x="428625" y="224896"/>
                                </a:lnTo>
                                <a:lnTo>
                                  <a:pt x="433916" y="222250"/>
                                </a:lnTo>
                                <a:lnTo>
                                  <a:pt x="439208" y="216959"/>
                                </a:lnTo>
                                <a:lnTo>
                                  <a:pt x="412750" y="222250"/>
                                </a:lnTo>
                                <a:lnTo>
                                  <a:pt x="404812" y="222250"/>
                                </a:lnTo>
                                <a:lnTo>
                                  <a:pt x="404812" y="219604"/>
                                </a:lnTo>
                                <a:lnTo>
                                  <a:pt x="407458" y="216959"/>
                                </a:lnTo>
                                <a:lnTo>
                                  <a:pt x="415396" y="209021"/>
                                </a:lnTo>
                                <a:lnTo>
                                  <a:pt x="431271" y="198438"/>
                                </a:lnTo>
                                <a:lnTo>
                                  <a:pt x="447146" y="190500"/>
                                </a:lnTo>
                                <a:lnTo>
                                  <a:pt x="457729" y="187854"/>
                                </a:lnTo>
                                <a:lnTo>
                                  <a:pt x="465666" y="187854"/>
                                </a:lnTo>
                                <a:lnTo>
                                  <a:pt x="457729" y="185209"/>
                                </a:lnTo>
                                <a:lnTo>
                                  <a:pt x="457729" y="179917"/>
                                </a:lnTo>
                                <a:lnTo>
                                  <a:pt x="460375" y="174625"/>
                                </a:lnTo>
                                <a:lnTo>
                                  <a:pt x="468312" y="166688"/>
                                </a:lnTo>
                                <a:lnTo>
                                  <a:pt x="444500" y="182563"/>
                                </a:lnTo>
                                <a:lnTo>
                                  <a:pt x="428625" y="190500"/>
                                </a:lnTo>
                                <a:lnTo>
                                  <a:pt x="418041" y="193146"/>
                                </a:lnTo>
                                <a:lnTo>
                                  <a:pt x="402166" y="193146"/>
                                </a:lnTo>
                                <a:lnTo>
                                  <a:pt x="399521" y="193146"/>
                                </a:lnTo>
                                <a:lnTo>
                                  <a:pt x="412750" y="195792"/>
                                </a:lnTo>
                                <a:lnTo>
                                  <a:pt x="418041" y="198438"/>
                                </a:lnTo>
                                <a:lnTo>
                                  <a:pt x="415396" y="201084"/>
                                </a:lnTo>
                                <a:lnTo>
                                  <a:pt x="407458" y="203729"/>
                                </a:lnTo>
                                <a:lnTo>
                                  <a:pt x="386292" y="206375"/>
                                </a:lnTo>
                                <a:lnTo>
                                  <a:pt x="381000" y="209021"/>
                                </a:lnTo>
                                <a:lnTo>
                                  <a:pt x="383646" y="209021"/>
                                </a:lnTo>
                                <a:lnTo>
                                  <a:pt x="391583" y="214313"/>
                                </a:lnTo>
                                <a:lnTo>
                                  <a:pt x="396875" y="216959"/>
                                </a:lnTo>
                                <a:lnTo>
                                  <a:pt x="396875" y="219604"/>
                                </a:lnTo>
                                <a:lnTo>
                                  <a:pt x="388937" y="222250"/>
                                </a:lnTo>
                                <a:lnTo>
                                  <a:pt x="373062" y="224896"/>
                                </a:lnTo>
                                <a:lnTo>
                                  <a:pt x="349250" y="227542"/>
                                </a:lnTo>
                                <a:lnTo>
                                  <a:pt x="336021" y="230188"/>
                                </a:lnTo>
                                <a:lnTo>
                                  <a:pt x="325437" y="230188"/>
                                </a:lnTo>
                                <a:lnTo>
                                  <a:pt x="320146" y="232834"/>
                                </a:lnTo>
                                <a:lnTo>
                                  <a:pt x="317500" y="235479"/>
                                </a:lnTo>
                                <a:lnTo>
                                  <a:pt x="320146" y="235479"/>
                                </a:lnTo>
                                <a:lnTo>
                                  <a:pt x="336021" y="235479"/>
                                </a:lnTo>
                                <a:lnTo>
                                  <a:pt x="346604" y="238125"/>
                                </a:lnTo>
                                <a:lnTo>
                                  <a:pt x="349250" y="240771"/>
                                </a:lnTo>
                                <a:lnTo>
                                  <a:pt x="343958" y="246063"/>
                                </a:lnTo>
                                <a:lnTo>
                                  <a:pt x="338667" y="248709"/>
                                </a:lnTo>
                                <a:lnTo>
                                  <a:pt x="336021" y="248709"/>
                                </a:lnTo>
                                <a:lnTo>
                                  <a:pt x="328083" y="248709"/>
                                </a:lnTo>
                                <a:lnTo>
                                  <a:pt x="322792" y="248709"/>
                                </a:lnTo>
                                <a:lnTo>
                                  <a:pt x="320146" y="248709"/>
                                </a:lnTo>
                                <a:lnTo>
                                  <a:pt x="322792" y="251354"/>
                                </a:lnTo>
                                <a:lnTo>
                                  <a:pt x="320146" y="254000"/>
                                </a:lnTo>
                                <a:lnTo>
                                  <a:pt x="320146" y="256646"/>
                                </a:lnTo>
                                <a:lnTo>
                                  <a:pt x="312208" y="256646"/>
                                </a:lnTo>
                                <a:lnTo>
                                  <a:pt x="304271" y="256646"/>
                                </a:lnTo>
                                <a:lnTo>
                                  <a:pt x="301625" y="256646"/>
                                </a:lnTo>
                                <a:lnTo>
                                  <a:pt x="301625" y="259292"/>
                                </a:lnTo>
                                <a:lnTo>
                                  <a:pt x="298979" y="261938"/>
                                </a:lnTo>
                                <a:lnTo>
                                  <a:pt x="288396" y="264584"/>
                                </a:lnTo>
                                <a:lnTo>
                                  <a:pt x="277812" y="267229"/>
                                </a:lnTo>
                                <a:lnTo>
                                  <a:pt x="272521" y="272521"/>
                                </a:lnTo>
                                <a:lnTo>
                                  <a:pt x="269875" y="275167"/>
                                </a:lnTo>
                                <a:lnTo>
                                  <a:pt x="267229" y="275167"/>
                                </a:lnTo>
                                <a:lnTo>
                                  <a:pt x="256646" y="277813"/>
                                </a:lnTo>
                                <a:lnTo>
                                  <a:pt x="246062" y="277813"/>
                                </a:lnTo>
                                <a:lnTo>
                                  <a:pt x="243417" y="280459"/>
                                </a:lnTo>
                                <a:lnTo>
                                  <a:pt x="238125" y="283104"/>
                                </a:lnTo>
                                <a:lnTo>
                                  <a:pt x="238125" y="285750"/>
                                </a:lnTo>
                                <a:lnTo>
                                  <a:pt x="235479" y="285750"/>
                                </a:lnTo>
                                <a:lnTo>
                                  <a:pt x="230187" y="285750"/>
                                </a:lnTo>
                                <a:lnTo>
                                  <a:pt x="224896" y="285750"/>
                                </a:lnTo>
                                <a:lnTo>
                                  <a:pt x="222250" y="288396"/>
                                </a:lnTo>
                                <a:lnTo>
                                  <a:pt x="222250" y="293688"/>
                                </a:lnTo>
                                <a:lnTo>
                                  <a:pt x="216958" y="296334"/>
                                </a:lnTo>
                                <a:lnTo>
                                  <a:pt x="206375" y="296334"/>
                                </a:lnTo>
                                <a:lnTo>
                                  <a:pt x="195792" y="296334"/>
                                </a:lnTo>
                                <a:lnTo>
                                  <a:pt x="190500" y="298980"/>
                                </a:lnTo>
                                <a:lnTo>
                                  <a:pt x="187854" y="301625"/>
                                </a:lnTo>
                                <a:lnTo>
                                  <a:pt x="185208" y="304271"/>
                                </a:lnTo>
                                <a:lnTo>
                                  <a:pt x="179917" y="306917"/>
                                </a:lnTo>
                                <a:lnTo>
                                  <a:pt x="171979" y="306917"/>
                                </a:lnTo>
                                <a:lnTo>
                                  <a:pt x="161396" y="306917"/>
                                </a:lnTo>
                                <a:lnTo>
                                  <a:pt x="156104" y="306917"/>
                                </a:lnTo>
                                <a:lnTo>
                                  <a:pt x="148167" y="309563"/>
                                </a:lnTo>
                                <a:lnTo>
                                  <a:pt x="137583" y="314855"/>
                                </a:lnTo>
                                <a:lnTo>
                                  <a:pt x="132292" y="317500"/>
                                </a:lnTo>
                                <a:lnTo>
                                  <a:pt x="116417" y="320146"/>
                                </a:lnTo>
                                <a:lnTo>
                                  <a:pt x="103187" y="322792"/>
                                </a:lnTo>
                                <a:lnTo>
                                  <a:pt x="97896" y="322792"/>
                                </a:lnTo>
                                <a:lnTo>
                                  <a:pt x="89958" y="322792"/>
                                </a:lnTo>
                                <a:lnTo>
                                  <a:pt x="79375" y="325438"/>
                                </a:lnTo>
                                <a:lnTo>
                                  <a:pt x="55562" y="333375"/>
                                </a:lnTo>
                                <a:lnTo>
                                  <a:pt x="29104" y="336021"/>
                                </a:lnTo>
                                <a:lnTo>
                                  <a:pt x="5292" y="341313"/>
                                </a:lnTo>
                                <a:lnTo>
                                  <a:pt x="0" y="338667"/>
                                </a:lnTo>
                                <a:lnTo>
                                  <a:pt x="2646" y="333375"/>
                                </a:lnTo>
                                <a:lnTo>
                                  <a:pt x="7937" y="330730"/>
                                </a:lnTo>
                                <a:lnTo>
                                  <a:pt x="18521" y="325438"/>
                                </a:lnTo>
                                <a:lnTo>
                                  <a:pt x="42333" y="320146"/>
                                </a:lnTo>
                                <a:lnTo>
                                  <a:pt x="63500" y="317500"/>
                                </a:lnTo>
                                <a:lnTo>
                                  <a:pt x="71437" y="314855"/>
                                </a:lnTo>
                                <a:lnTo>
                                  <a:pt x="71437" y="312209"/>
                                </a:lnTo>
                                <a:lnTo>
                                  <a:pt x="79375" y="320146"/>
                                </a:lnTo>
                                <a:lnTo>
                                  <a:pt x="84667" y="320146"/>
                                </a:lnTo>
                                <a:lnTo>
                                  <a:pt x="87312" y="314855"/>
                                </a:lnTo>
                                <a:lnTo>
                                  <a:pt x="87312" y="312209"/>
                                </a:lnTo>
                                <a:lnTo>
                                  <a:pt x="95250" y="309563"/>
                                </a:lnTo>
                                <a:lnTo>
                                  <a:pt x="129646" y="301625"/>
                                </a:lnTo>
                                <a:lnTo>
                                  <a:pt x="148167" y="296334"/>
                                </a:lnTo>
                                <a:lnTo>
                                  <a:pt x="156104" y="291042"/>
                                </a:lnTo>
                                <a:lnTo>
                                  <a:pt x="161396" y="285750"/>
                                </a:lnTo>
                                <a:lnTo>
                                  <a:pt x="177271" y="280459"/>
                                </a:lnTo>
                                <a:lnTo>
                                  <a:pt x="201083" y="275167"/>
                                </a:lnTo>
                                <a:lnTo>
                                  <a:pt x="216958" y="267229"/>
                                </a:lnTo>
                                <a:lnTo>
                                  <a:pt x="243417" y="256646"/>
                                </a:lnTo>
                                <a:lnTo>
                                  <a:pt x="248708" y="251354"/>
                                </a:lnTo>
                                <a:lnTo>
                                  <a:pt x="254000" y="246063"/>
                                </a:lnTo>
                                <a:lnTo>
                                  <a:pt x="240771" y="254000"/>
                                </a:lnTo>
                                <a:lnTo>
                                  <a:pt x="232833" y="256646"/>
                                </a:lnTo>
                                <a:lnTo>
                                  <a:pt x="224896" y="256646"/>
                                </a:lnTo>
                                <a:lnTo>
                                  <a:pt x="222250" y="254000"/>
                                </a:lnTo>
                                <a:lnTo>
                                  <a:pt x="216958" y="251354"/>
                                </a:lnTo>
                                <a:lnTo>
                                  <a:pt x="214312" y="251354"/>
                                </a:lnTo>
                                <a:lnTo>
                                  <a:pt x="214312" y="254000"/>
                                </a:lnTo>
                                <a:lnTo>
                                  <a:pt x="211667" y="259292"/>
                                </a:lnTo>
                                <a:lnTo>
                                  <a:pt x="209021" y="259292"/>
                                </a:lnTo>
                                <a:lnTo>
                                  <a:pt x="203729" y="256646"/>
                                </a:lnTo>
                                <a:lnTo>
                                  <a:pt x="195792" y="254000"/>
                                </a:lnTo>
                                <a:lnTo>
                                  <a:pt x="193146" y="251354"/>
                                </a:lnTo>
                                <a:lnTo>
                                  <a:pt x="190500" y="251354"/>
                                </a:lnTo>
                                <a:lnTo>
                                  <a:pt x="187854" y="251354"/>
                                </a:lnTo>
                                <a:lnTo>
                                  <a:pt x="185208" y="248709"/>
                                </a:lnTo>
                                <a:lnTo>
                                  <a:pt x="179917" y="246063"/>
                                </a:lnTo>
                                <a:lnTo>
                                  <a:pt x="166687" y="248709"/>
                                </a:lnTo>
                                <a:lnTo>
                                  <a:pt x="153458" y="254000"/>
                                </a:lnTo>
                                <a:lnTo>
                                  <a:pt x="153458" y="251354"/>
                                </a:lnTo>
                                <a:lnTo>
                                  <a:pt x="156104" y="246063"/>
                                </a:lnTo>
                                <a:lnTo>
                                  <a:pt x="164042" y="240771"/>
                                </a:lnTo>
                                <a:lnTo>
                                  <a:pt x="177271" y="235479"/>
                                </a:lnTo>
                                <a:lnTo>
                                  <a:pt x="182562" y="232834"/>
                                </a:lnTo>
                                <a:lnTo>
                                  <a:pt x="179917" y="227542"/>
                                </a:lnTo>
                                <a:lnTo>
                                  <a:pt x="177271" y="227542"/>
                                </a:lnTo>
                                <a:lnTo>
                                  <a:pt x="179917" y="224896"/>
                                </a:lnTo>
                                <a:lnTo>
                                  <a:pt x="185208" y="219604"/>
                                </a:lnTo>
                                <a:lnTo>
                                  <a:pt x="209021" y="211667"/>
                                </a:lnTo>
                                <a:lnTo>
                                  <a:pt x="198437" y="211667"/>
                                </a:lnTo>
                                <a:lnTo>
                                  <a:pt x="187854" y="211667"/>
                                </a:lnTo>
                                <a:lnTo>
                                  <a:pt x="177271" y="216959"/>
                                </a:lnTo>
                                <a:lnTo>
                                  <a:pt x="171979" y="222250"/>
                                </a:lnTo>
                                <a:lnTo>
                                  <a:pt x="166687" y="224896"/>
                                </a:lnTo>
                                <a:lnTo>
                                  <a:pt x="156104" y="227542"/>
                                </a:lnTo>
                                <a:lnTo>
                                  <a:pt x="145521" y="224896"/>
                                </a:lnTo>
                                <a:lnTo>
                                  <a:pt x="142875" y="222250"/>
                                </a:lnTo>
                                <a:lnTo>
                                  <a:pt x="140229" y="216959"/>
                                </a:lnTo>
                                <a:lnTo>
                                  <a:pt x="137583" y="214313"/>
                                </a:lnTo>
                                <a:lnTo>
                                  <a:pt x="134937" y="214313"/>
                                </a:lnTo>
                                <a:lnTo>
                                  <a:pt x="142875" y="209021"/>
                                </a:lnTo>
                                <a:lnTo>
                                  <a:pt x="150812" y="206375"/>
                                </a:lnTo>
                                <a:lnTo>
                                  <a:pt x="153458" y="206375"/>
                                </a:lnTo>
                                <a:lnTo>
                                  <a:pt x="156104" y="209021"/>
                                </a:lnTo>
                                <a:lnTo>
                                  <a:pt x="156104" y="206375"/>
                                </a:lnTo>
                                <a:lnTo>
                                  <a:pt x="156104" y="203729"/>
                                </a:lnTo>
                                <a:lnTo>
                                  <a:pt x="150812" y="203729"/>
                                </a:lnTo>
                                <a:lnTo>
                                  <a:pt x="142875" y="206375"/>
                                </a:lnTo>
                                <a:lnTo>
                                  <a:pt x="132292" y="211667"/>
                                </a:lnTo>
                                <a:lnTo>
                                  <a:pt x="129646" y="211667"/>
                                </a:lnTo>
                                <a:lnTo>
                                  <a:pt x="129646" y="206375"/>
                                </a:lnTo>
                                <a:lnTo>
                                  <a:pt x="129646" y="203729"/>
                                </a:lnTo>
                                <a:lnTo>
                                  <a:pt x="132292" y="198438"/>
                                </a:lnTo>
                                <a:lnTo>
                                  <a:pt x="137583" y="195792"/>
                                </a:lnTo>
                                <a:lnTo>
                                  <a:pt x="148167" y="193146"/>
                                </a:lnTo>
                                <a:lnTo>
                                  <a:pt x="156104" y="193146"/>
                                </a:lnTo>
                                <a:lnTo>
                                  <a:pt x="156104" y="190500"/>
                                </a:lnTo>
                                <a:lnTo>
                                  <a:pt x="140229" y="190500"/>
                                </a:lnTo>
                                <a:lnTo>
                                  <a:pt x="134937" y="190500"/>
                                </a:lnTo>
                                <a:lnTo>
                                  <a:pt x="137583" y="187854"/>
                                </a:lnTo>
                                <a:lnTo>
                                  <a:pt x="137583" y="185209"/>
                                </a:lnTo>
                                <a:lnTo>
                                  <a:pt x="134937" y="185209"/>
                                </a:lnTo>
                                <a:lnTo>
                                  <a:pt x="134937" y="182563"/>
                                </a:lnTo>
                                <a:lnTo>
                                  <a:pt x="134937" y="179917"/>
                                </a:lnTo>
                                <a:lnTo>
                                  <a:pt x="140229" y="177271"/>
                                </a:lnTo>
                                <a:lnTo>
                                  <a:pt x="145521" y="174625"/>
                                </a:lnTo>
                                <a:lnTo>
                                  <a:pt x="148167" y="174625"/>
                                </a:lnTo>
                                <a:lnTo>
                                  <a:pt x="150812" y="174625"/>
                                </a:lnTo>
                                <a:lnTo>
                                  <a:pt x="153458" y="177271"/>
                                </a:lnTo>
                                <a:lnTo>
                                  <a:pt x="156104" y="177271"/>
                                </a:lnTo>
                                <a:lnTo>
                                  <a:pt x="161396" y="174625"/>
                                </a:lnTo>
                                <a:lnTo>
                                  <a:pt x="171979" y="169334"/>
                                </a:lnTo>
                                <a:lnTo>
                                  <a:pt x="187854" y="164042"/>
                                </a:lnTo>
                                <a:lnTo>
                                  <a:pt x="193146" y="161396"/>
                                </a:lnTo>
                                <a:lnTo>
                                  <a:pt x="190500" y="161396"/>
                                </a:lnTo>
                                <a:lnTo>
                                  <a:pt x="187854" y="158750"/>
                                </a:lnTo>
                                <a:lnTo>
                                  <a:pt x="198437" y="156104"/>
                                </a:lnTo>
                                <a:lnTo>
                                  <a:pt x="211667" y="156104"/>
                                </a:lnTo>
                                <a:lnTo>
                                  <a:pt x="216958" y="158750"/>
                                </a:lnTo>
                                <a:lnTo>
                                  <a:pt x="219604" y="161396"/>
                                </a:lnTo>
                                <a:lnTo>
                                  <a:pt x="224896" y="161396"/>
                                </a:lnTo>
                                <a:lnTo>
                                  <a:pt x="232833" y="158750"/>
                                </a:lnTo>
                                <a:lnTo>
                                  <a:pt x="246062" y="161396"/>
                                </a:lnTo>
                                <a:lnTo>
                                  <a:pt x="254000" y="161396"/>
                                </a:lnTo>
                                <a:lnTo>
                                  <a:pt x="256646" y="161396"/>
                                </a:lnTo>
                                <a:lnTo>
                                  <a:pt x="256646" y="158750"/>
                                </a:lnTo>
                                <a:lnTo>
                                  <a:pt x="256646" y="156104"/>
                                </a:lnTo>
                                <a:lnTo>
                                  <a:pt x="259292" y="156104"/>
                                </a:lnTo>
                                <a:lnTo>
                                  <a:pt x="267229" y="153458"/>
                                </a:lnTo>
                                <a:lnTo>
                                  <a:pt x="275167" y="153458"/>
                                </a:lnTo>
                                <a:lnTo>
                                  <a:pt x="280458" y="156104"/>
                                </a:lnTo>
                                <a:lnTo>
                                  <a:pt x="283104" y="158750"/>
                                </a:lnTo>
                                <a:lnTo>
                                  <a:pt x="285750" y="158750"/>
                                </a:lnTo>
                                <a:lnTo>
                                  <a:pt x="291042" y="156104"/>
                                </a:lnTo>
                                <a:lnTo>
                                  <a:pt x="293687" y="156104"/>
                                </a:lnTo>
                                <a:lnTo>
                                  <a:pt x="301625" y="156104"/>
                                </a:lnTo>
                                <a:lnTo>
                                  <a:pt x="306917" y="153458"/>
                                </a:lnTo>
                                <a:lnTo>
                                  <a:pt x="306917" y="150813"/>
                                </a:lnTo>
                                <a:lnTo>
                                  <a:pt x="309562" y="145521"/>
                                </a:lnTo>
                                <a:lnTo>
                                  <a:pt x="309562" y="140229"/>
                                </a:lnTo>
                                <a:lnTo>
                                  <a:pt x="312208" y="137583"/>
                                </a:lnTo>
                                <a:lnTo>
                                  <a:pt x="314854" y="137583"/>
                                </a:lnTo>
                                <a:lnTo>
                                  <a:pt x="322792" y="140229"/>
                                </a:lnTo>
                                <a:lnTo>
                                  <a:pt x="330729" y="142875"/>
                                </a:lnTo>
                                <a:lnTo>
                                  <a:pt x="338667" y="142875"/>
                                </a:lnTo>
                                <a:lnTo>
                                  <a:pt x="351896" y="137583"/>
                                </a:lnTo>
                                <a:lnTo>
                                  <a:pt x="362479" y="132292"/>
                                </a:lnTo>
                                <a:lnTo>
                                  <a:pt x="367771" y="127000"/>
                                </a:lnTo>
                                <a:lnTo>
                                  <a:pt x="367771" y="124354"/>
                                </a:lnTo>
                                <a:lnTo>
                                  <a:pt x="365125" y="124354"/>
                                </a:lnTo>
                                <a:lnTo>
                                  <a:pt x="354542" y="121708"/>
                                </a:lnTo>
                                <a:lnTo>
                                  <a:pt x="341312" y="121708"/>
                                </a:lnTo>
                                <a:lnTo>
                                  <a:pt x="336021" y="124354"/>
                                </a:lnTo>
                                <a:lnTo>
                                  <a:pt x="333375" y="127000"/>
                                </a:lnTo>
                                <a:lnTo>
                                  <a:pt x="330729" y="129646"/>
                                </a:lnTo>
                                <a:lnTo>
                                  <a:pt x="328083" y="129646"/>
                                </a:lnTo>
                                <a:lnTo>
                                  <a:pt x="320146" y="127000"/>
                                </a:lnTo>
                                <a:lnTo>
                                  <a:pt x="306917" y="124354"/>
                                </a:lnTo>
                                <a:lnTo>
                                  <a:pt x="288396" y="127000"/>
                                </a:lnTo>
                                <a:lnTo>
                                  <a:pt x="277812" y="124354"/>
                                </a:lnTo>
                                <a:lnTo>
                                  <a:pt x="269875" y="121708"/>
                                </a:lnTo>
                                <a:lnTo>
                                  <a:pt x="267229" y="119063"/>
                                </a:lnTo>
                                <a:lnTo>
                                  <a:pt x="261937" y="113771"/>
                                </a:lnTo>
                                <a:lnTo>
                                  <a:pt x="256646" y="113771"/>
                                </a:lnTo>
                                <a:lnTo>
                                  <a:pt x="256646" y="111125"/>
                                </a:lnTo>
                                <a:lnTo>
                                  <a:pt x="267229" y="111125"/>
                                </a:lnTo>
                                <a:lnTo>
                                  <a:pt x="272521" y="111125"/>
                                </a:lnTo>
                                <a:lnTo>
                                  <a:pt x="254000" y="105833"/>
                                </a:lnTo>
                                <a:lnTo>
                                  <a:pt x="243417" y="100542"/>
                                </a:lnTo>
                                <a:lnTo>
                                  <a:pt x="240771" y="97896"/>
                                </a:lnTo>
                                <a:lnTo>
                                  <a:pt x="240771" y="95250"/>
                                </a:lnTo>
                                <a:lnTo>
                                  <a:pt x="243417" y="92604"/>
                                </a:lnTo>
                                <a:lnTo>
                                  <a:pt x="254000" y="92604"/>
                                </a:lnTo>
                                <a:lnTo>
                                  <a:pt x="264583" y="95250"/>
                                </a:lnTo>
                                <a:lnTo>
                                  <a:pt x="272521" y="92604"/>
                                </a:lnTo>
                                <a:lnTo>
                                  <a:pt x="283104" y="92604"/>
                                </a:lnTo>
                                <a:lnTo>
                                  <a:pt x="301625" y="92604"/>
                                </a:lnTo>
                                <a:lnTo>
                                  <a:pt x="314854" y="92604"/>
                                </a:lnTo>
                                <a:lnTo>
                                  <a:pt x="317500" y="89958"/>
                                </a:lnTo>
                                <a:lnTo>
                                  <a:pt x="314854" y="89958"/>
                                </a:lnTo>
                                <a:lnTo>
                                  <a:pt x="312208" y="87313"/>
                                </a:lnTo>
                                <a:lnTo>
                                  <a:pt x="312208" y="84667"/>
                                </a:lnTo>
                                <a:lnTo>
                                  <a:pt x="317500" y="84667"/>
                                </a:lnTo>
                                <a:lnTo>
                                  <a:pt x="349250" y="82021"/>
                                </a:lnTo>
                                <a:lnTo>
                                  <a:pt x="367771" y="82021"/>
                                </a:lnTo>
                                <a:lnTo>
                                  <a:pt x="386292" y="76729"/>
                                </a:lnTo>
                                <a:lnTo>
                                  <a:pt x="399521" y="76729"/>
                                </a:lnTo>
                                <a:lnTo>
                                  <a:pt x="410104" y="76729"/>
                                </a:lnTo>
                                <a:lnTo>
                                  <a:pt x="410104" y="79375"/>
                                </a:lnTo>
                                <a:lnTo>
                                  <a:pt x="410104" y="82021"/>
                                </a:lnTo>
                                <a:lnTo>
                                  <a:pt x="402166" y="89958"/>
                                </a:lnTo>
                                <a:lnTo>
                                  <a:pt x="410104" y="89958"/>
                                </a:lnTo>
                                <a:lnTo>
                                  <a:pt x="415396" y="92604"/>
                                </a:lnTo>
                                <a:lnTo>
                                  <a:pt x="420687" y="95250"/>
                                </a:lnTo>
                                <a:lnTo>
                                  <a:pt x="428625" y="95250"/>
                                </a:lnTo>
                                <a:lnTo>
                                  <a:pt x="436562" y="92604"/>
                                </a:lnTo>
                                <a:lnTo>
                                  <a:pt x="436562" y="87313"/>
                                </a:lnTo>
                                <a:lnTo>
                                  <a:pt x="433916" y="84667"/>
                                </a:lnTo>
                                <a:lnTo>
                                  <a:pt x="436562" y="84667"/>
                                </a:lnTo>
                                <a:lnTo>
                                  <a:pt x="441854" y="84667"/>
                                </a:lnTo>
                                <a:lnTo>
                                  <a:pt x="447146" y="87313"/>
                                </a:lnTo>
                                <a:lnTo>
                                  <a:pt x="455083" y="89958"/>
                                </a:lnTo>
                                <a:lnTo>
                                  <a:pt x="468312" y="89958"/>
                                </a:lnTo>
                                <a:lnTo>
                                  <a:pt x="455083" y="87313"/>
                                </a:lnTo>
                                <a:lnTo>
                                  <a:pt x="452437" y="84667"/>
                                </a:lnTo>
                                <a:lnTo>
                                  <a:pt x="457729" y="82021"/>
                                </a:lnTo>
                                <a:lnTo>
                                  <a:pt x="468312" y="76729"/>
                                </a:lnTo>
                                <a:lnTo>
                                  <a:pt x="457729" y="79375"/>
                                </a:lnTo>
                                <a:lnTo>
                                  <a:pt x="447146" y="76729"/>
                                </a:lnTo>
                                <a:lnTo>
                                  <a:pt x="439208" y="71438"/>
                                </a:lnTo>
                                <a:lnTo>
                                  <a:pt x="433916" y="71438"/>
                                </a:lnTo>
                                <a:lnTo>
                                  <a:pt x="431271" y="71438"/>
                                </a:lnTo>
                                <a:lnTo>
                                  <a:pt x="431271" y="74083"/>
                                </a:lnTo>
                                <a:lnTo>
                                  <a:pt x="431271" y="79375"/>
                                </a:lnTo>
                                <a:lnTo>
                                  <a:pt x="425979" y="76729"/>
                                </a:lnTo>
                                <a:lnTo>
                                  <a:pt x="415396" y="71438"/>
                                </a:lnTo>
                                <a:lnTo>
                                  <a:pt x="407458" y="68792"/>
                                </a:lnTo>
                                <a:lnTo>
                                  <a:pt x="399521" y="66146"/>
                                </a:lnTo>
                                <a:lnTo>
                                  <a:pt x="394229" y="60854"/>
                                </a:lnTo>
                                <a:lnTo>
                                  <a:pt x="388937" y="55563"/>
                                </a:lnTo>
                                <a:lnTo>
                                  <a:pt x="383646" y="55563"/>
                                </a:lnTo>
                                <a:lnTo>
                                  <a:pt x="373062" y="55563"/>
                                </a:lnTo>
                                <a:lnTo>
                                  <a:pt x="365125" y="55563"/>
                                </a:lnTo>
                                <a:lnTo>
                                  <a:pt x="362479" y="52917"/>
                                </a:lnTo>
                                <a:lnTo>
                                  <a:pt x="365125" y="47625"/>
                                </a:lnTo>
                                <a:lnTo>
                                  <a:pt x="367771" y="47625"/>
                                </a:lnTo>
                                <a:lnTo>
                                  <a:pt x="373062" y="47625"/>
                                </a:lnTo>
                                <a:lnTo>
                                  <a:pt x="386292" y="39687"/>
                                </a:lnTo>
                                <a:lnTo>
                                  <a:pt x="394229" y="37042"/>
                                </a:lnTo>
                                <a:lnTo>
                                  <a:pt x="399521" y="34396"/>
                                </a:lnTo>
                                <a:lnTo>
                                  <a:pt x="407458" y="37042"/>
                                </a:lnTo>
                                <a:lnTo>
                                  <a:pt x="415396" y="39687"/>
                                </a:lnTo>
                                <a:lnTo>
                                  <a:pt x="418041" y="42333"/>
                                </a:lnTo>
                                <a:lnTo>
                                  <a:pt x="423333" y="42333"/>
                                </a:lnTo>
                                <a:lnTo>
                                  <a:pt x="428625" y="42333"/>
                                </a:lnTo>
                                <a:lnTo>
                                  <a:pt x="436562" y="42333"/>
                                </a:lnTo>
                                <a:lnTo>
                                  <a:pt x="447146" y="42333"/>
                                </a:lnTo>
                                <a:lnTo>
                                  <a:pt x="473604" y="34396"/>
                                </a:lnTo>
                                <a:lnTo>
                                  <a:pt x="486833" y="31750"/>
                                </a:lnTo>
                                <a:lnTo>
                                  <a:pt x="492125" y="26458"/>
                                </a:lnTo>
                                <a:lnTo>
                                  <a:pt x="500062" y="23812"/>
                                </a:lnTo>
                                <a:lnTo>
                                  <a:pt x="518583" y="18521"/>
                                </a:lnTo>
                                <a:lnTo>
                                  <a:pt x="534458" y="15875"/>
                                </a:lnTo>
                                <a:lnTo>
                                  <a:pt x="542396" y="15875"/>
                                </a:lnTo>
                                <a:lnTo>
                                  <a:pt x="550333" y="15875"/>
                                </a:lnTo>
                                <a:lnTo>
                                  <a:pt x="566208" y="10583"/>
                                </a:lnTo>
                                <a:lnTo>
                                  <a:pt x="576791" y="7937"/>
                                </a:lnTo>
                                <a:lnTo>
                                  <a:pt x="582083" y="7937"/>
                                </a:lnTo>
                                <a:lnTo>
                                  <a:pt x="582083" y="10583"/>
                                </a:lnTo>
                                <a:lnTo>
                                  <a:pt x="579437" y="13229"/>
                                </a:lnTo>
                                <a:lnTo>
                                  <a:pt x="579437" y="15875"/>
                                </a:lnTo>
                                <a:lnTo>
                                  <a:pt x="582083" y="18521"/>
                                </a:lnTo>
                                <a:lnTo>
                                  <a:pt x="587375" y="21167"/>
                                </a:lnTo>
                                <a:lnTo>
                                  <a:pt x="590021" y="18521"/>
                                </a:lnTo>
                                <a:lnTo>
                                  <a:pt x="590021" y="15875"/>
                                </a:lnTo>
                                <a:lnTo>
                                  <a:pt x="590021" y="13229"/>
                                </a:lnTo>
                                <a:lnTo>
                                  <a:pt x="584729" y="10583"/>
                                </a:lnTo>
                                <a:lnTo>
                                  <a:pt x="587375" y="7937"/>
                                </a:lnTo>
                                <a:lnTo>
                                  <a:pt x="603250" y="7937"/>
                                </a:lnTo>
                                <a:lnTo>
                                  <a:pt x="613833" y="5292"/>
                                </a:lnTo>
                                <a:lnTo>
                                  <a:pt x="611187" y="7937"/>
                                </a:lnTo>
                                <a:lnTo>
                                  <a:pt x="605896" y="10583"/>
                                </a:lnTo>
                                <a:lnTo>
                                  <a:pt x="605896" y="13229"/>
                                </a:lnTo>
                                <a:lnTo>
                                  <a:pt x="611187" y="13229"/>
                                </a:lnTo>
                                <a:lnTo>
                                  <a:pt x="619125" y="10583"/>
                                </a:lnTo>
                                <a:lnTo>
                                  <a:pt x="642937" y="5292"/>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1031" name="Canadian Islands"/>
                          <p:cNvGrpSpPr/>
                          <p:nvPr/>
                        </p:nvGrpSpPr>
                        <p:grpSpPr>
                          <a:xfrm>
                            <a:off x="3044511" y="1171796"/>
                            <a:ext cx="1503632" cy="834579"/>
                            <a:chOff x="3196911" y="1324850"/>
                            <a:chExt cx="1503632" cy="834579"/>
                          </a:xfrm>
                          <a:grpFill/>
                        </p:grpSpPr>
                        <p:sp>
                          <p:nvSpPr>
                            <p:cNvPr id="718" name="Canada"/>
                            <p:cNvSpPr>
                              <a:spLocks/>
                            </p:cNvSpPr>
                            <p:nvPr/>
                          </p:nvSpPr>
                          <p:spPr bwMode="auto">
                            <a:xfrm>
                              <a:off x="3932019" y="1455348"/>
                              <a:ext cx="580189" cy="242787"/>
                            </a:xfrm>
                            <a:custGeom>
                              <a:avLst/>
                              <a:gdLst/>
                              <a:ahLst/>
                              <a:cxnLst>
                                <a:cxn ang="0">
                                  <a:pos x="88" y="136"/>
                                </a:cxn>
                                <a:cxn ang="0">
                                  <a:pos x="102" y="130"/>
                                </a:cxn>
                                <a:cxn ang="0">
                                  <a:pos x="128" y="132"/>
                                </a:cxn>
                                <a:cxn ang="0">
                                  <a:pos x="134" y="130"/>
                                </a:cxn>
                                <a:cxn ang="0">
                                  <a:pos x="172" y="144"/>
                                </a:cxn>
                                <a:cxn ang="0">
                                  <a:pos x="198" y="154"/>
                                </a:cxn>
                                <a:cxn ang="0">
                                  <a:pos x="224" y="158"/>
                                </a:cxn>
                                <a:cxn ang="0">
                                  <a:pos x="256" y="154"/>
                                </a:cxn>
                                <a:cxn ang="0">
                                  <a:pos x="240" y="142"/>
                                </a:cxn>
                                <a:cxn ang="0">
                                  <a:pos x="254" y="134"/>
                                </a:cxn>
                                <a:cxn ang="0">
                                  <a:pos x="280" y="136"/>
                                </a:cxn>
                                <a:cxn ang="0">
                                  <a:pos x="274" y="120"/>
                                </a:cxn>
                                <a:cxn ang="0">
                                  <a:pos x="254" y="108"/>
                                </a:cxn>
                                <a:cxn ang="0">
                                  <a:pos x="260" y="94"/>
                                </a:cxn>
                                <a:cxn ang="0">
                                  <a:pos x="282" y="102"/>
                                </a:cxn>
                                <a:cxn ang="0">
                                  <a:pos x="294" y="104"/>
                                </a:cxn>
                                <a:cxn ang="0">
                                  <a:pos x="308" y="116"/>
                                </a:cxn>
                                <a:cxn ang="0">
                                  <a:pos x="318" y="106"/>
                                </a:cxn>
                                <a:cxn ang="0">
                                  <a:pos x="332" y="102"/>
                                </a:cxn>
                                <a:cxn ang="0">
                                  <a:pos x="344" y="92"/>
                                </a:cxn>
                                <a:cxn ang="0">
                                  <a:pos x="374" y="88"/>
                                </a:cxn>
                                <a:cxn ang="0">
                                  <a:pos x="372" y="74"/>
                                </a:cxn>
                                <a:cxn ang="0">
                                  <a:pos x="348" y="74"/>
                                </a:cxn>
                                <a:cxn ang="0">
                                  <a:pos x="334" y="66"/>
                                </a:cxn>
                                <a:cxn ang="0">
                                  <a:pos x="326" y="60"/>
                                </a:cxn>
                                <a:cxn ang="0">
                                  <a:pos x="310" y="54"/>
                                </a:cxn>
                                <a:cxn ang="0">
                                  <a:pos x="306" y="38"/>
                                </a:cxn>
                                <a:cxn ang="0">
                                  <a:pos x="294" y="32"/>
                                </a:cxn>
                                <a:cxn ang="0">
                                  <a:pos x="278" y="24"/>
                                </a:cxn>
                                <a:cxn ang="0">
                                  <a:pos x="238" y="12"/>
                                </a:cxn>
                                <a:cxn ang="0">
                                  <a:pos x="210" y="24"/>
                                </a:cxn>
                                <a:cxn ang="0">
                                  <a:pos x="196" y="12"/>
                                </a:cxn>
                                <a:cxn ang="0">
                                  <a:pos x="166" y="24"/>
                                </a:cxn>
                                <a:cxn ang="0">
                                  <a:pos x="168" y="6"/>
                                </a:cxn>
                                <a:cxn ang="0">
                                  <a:pos x="110" y="6"/>
                                </a:cxn>
                                <a:cxn ang="0">
                                  <a:pos x="80" y="20"/>
                                </a:cxn>
                                <a:cxn ang="0">
                                  <a:pos x="62" y="32"/>
                                </a:cxn>
                                <a:cxn ang="0">
                                  <a:pos x="86" y="4"/>
                                </a:cxn>
                                <a:cxn ang="0">
                                  <a:pos x="20" y="18"/>
                                </a:cxn>
                                <a:cxn ang="0">
                                  <a:pos x="2" y="32"/>
                                </a:cxn>
                                <a:cxn ang="0">
                                  <a:pos x="50" y="40"/>
                                </a:cxn>
                                <a:cxn ang="0">
                                  <a:pos x="82" y="40"/>
                                </a:cxn>
                                <a:cxn ang="0">
                                  <a:pos x="96" y="48"/>
                                </a:cxn>
                                <a:cxn ang="0">
                                  <a:pos x="116" y="50"/>
                                </a:cxn>
                                <a:cxn ang="0">
                                  <a:pos x="124" y="44"/>
                                </a:cxn>
                                <a:cxn ang="0">
                                  <a:pos x="148" y="38"/>
                                </a:cxn>
                                <a:cxn ang="0">
                                  <a:pos x="168" y="46"/>
                                </a:cxn>
                                <a:cxn ang="0">
                                  <a:pos x="178" y="56"/>
                                </a:cxn>
                                <a:cxn ang="0">
                                  <a:pos x="198" y="58"/>
                                </a:cxn>
                                <a:cxn ang="0">
                                  <a:pos x="212" y="76"/>
                                </a:cxn>
                                <a:cxn ang="0">
                                  <a:pos x="202" y="92"/>
                                </a:cxn>
                                <a:cxn ang="0">
                                  <a:pos x="230" y="94"/>
                                </a:cxn>
                                <a:cxn ang="0">
                                  <a:pos x="192" y="108"/>
                                </a:cxn>
                                <a:cxn ang="0">
                                  <a:pos x="172" y="90"/>
                                </a:cxn>
                                <a:cxn ang="0">
                                  <a:pos x="172" y="106"/>
                                </a:cxn>
                                <a:cxn ang="0">
                                  <a:pos x="140" y="108"/>
                                </a:cxn>
                                <a:cxn ang="0">
                                  <a:pos x="110" y="108"/>
                                </a:cxn>
                                <a:cxn ang="0">
                                  <a:pos x="84" y="114"/>
                                </a:cxn>
                              </a:cxnLst>
                              <a:rect l="0" t="0" r="r" b="b"/>
                              <a:pathLst>
                                <a:path w="382" h="160">
                                  <a:moveTo>
                                    <a:pt x="78" y="124"/>
                                  </a:moveTo>
                                  <a:lnTo>
                                    <a:pt x="78" y="124"/>
                                  </a:lnTo>
                                  <a:lnTo>
                                    <a:pt x="78" y="128"/>
                                  </a:lnTo>
                                  <a:lnTo>
                                    <a:pt x="78" y="128"/>
                                  </a:lnTo>
                                  <a:lnTo>
                                    <a:pt x="80" y="130"/>
                                  </a:lnTo>
                                  <a:lnTo>
                                    <a:pt x="80" y="132"/>
                                  </a:lnTo>
                                  <a:lnTo>
                                    <a:pt x="80" y="132"/>
                                  </a:lnTo>
                                  <a:lnTo>
                                    <a:pt x="78" y="134"/>
                                  </a:lnTo>
                                  <a:lnTo>
                                    <a:pt x="80" y="134"/>
                                  </a:lnTo>
                                  <a:lnTo>
                                    <a:pt x="88" y="136"/>
                                  </a:lnTo>
                                  <a:lnTo>
                                    <a:pt x="88" y="136"/>
                                  </a:lnTo>
                                  <a:lnTo>
                                    <a:pt x="94" y="136"/>
                                  </a:lnTo>
                                  <a:lnTo>
                                    <a:pt x="98" y="136"/>
                                  </a:lnTo>
                                  <a:lnTo>
                                    <a:pt x="96" y="134"/>
                                  </a:lnTo>
                                  <a:lnTo>
                                    <a:pt x="96" y="134"/>
                                  </a:lnTo>
                                  <a:lnTo>
                                    <a:pt x="96" y="132"/>
                                  </a:lnTo>
                                  <a:lnTo>
                                    <a:pt x="100" y="132"/>
                                  </a:lnTo>
                                  <a:lnTo>
                                    <a:pt x="102" y="132"/>
                                  </a:lnTo>
                                  <a:lnTo>
                                    <a:pt x="102" y="132"/>
                                  </a:lnTo>
                                  <a:lnTo>
                                    <a:pt x="102" y="132"/>
                                  </a:lnTo>
                                  <a:lnTo>
                                    <a:pt x="100" y="130"/>
                                  </a:lnTo>
                                  <a:lnTo>
                                    <a:pt x="102" y="130"/>
                                  </a:lnTo>
                                  <a:lnTo>
                                    <a:pt x="106" y="132"/>
                                  </a:lnTo>
                                  <a:lnTo>
                                    <a:pt x="110" y="132"/>
                                  </a:lnTo>
                                  <a:lnTo>
                                    <a:pt x="110" y="130"/>
                                  </a:lnTo>
                                  <a:lnTo>
                                    <a:pt x="110" y="130"/>
                                  </a:lnTo>
                                  <a:lnTo>
                                    <a:pt x="110" y="130"/>
                                  </a:lnTo>
                                  <a:lnTo>
                                    <a:pt x="108" y="128"/>
                                  </a:lnTo>
                                  <a:lnTo>
                                    <a:pt x="110" y="128"/>
                                  </a:lnTo>
                                  <a:lnTo>
                                    <a:pt x="118" y="132"/>
                                  </a:lnTo>
                                  <a:lnTo>
                                    <a:pt x="126" y="134"/>
                                  </a:lnTo>
                                  <a:lnTo>
                                    <a:pt x="128" y="134"/>
                                  </a:lnTo>
                                  <a:lnTo>
                                    <a:pt x="128" y="132"/>
                                  </a:lnTo>
                                  <a:lnTo>
                                    <a:pt x="128" y="132"/>
                                  </a:lnTo>
                                  <a:lnTo>
                                    <a:pt x="122" y="124"/>
                                  </a:lnTo>
                                  <a:lnTo>
                                    <a:pt x="120" y="122"/>
                                  </a:lnTo>
                                  <a:lnTo>
                                    <a:pt x="122" y="122"/>
                                  </a:lnTo>
                                  <a:lnTo>
                                    <a:pt x="122" y="122"/>
                                  </a:lnTo>
                                  <a:lnTo>
                                    <a:pt x="128" y="128"/>
                                  </a:lnTo>
                                  <a:lnTo>
                                    <a:pt x="132" y="128"/>
                                  </a:lnTo>
                                  <a:lnTo>
                                    <a:pt x="136" y="128"/>
                                  </a:lnTo>
                                  <a:lnTo>
                                    <a:pt x="136" y="128"/>
                                  </a:lnTo>
                                  <a:lnTo>
                                    <a:pt x="138" y="128"/>
                                  </a:lnTo>
                                  <a:lnTo>
                                    <a:pt x="134" y="130"/>
                                  </a:lnTo>
                                  <a:lnTo>
                                    <a:pt x="132" y="134"/>
                                  </a:lnTo>
                                  <a:lnTo>
                                    <a:pt x="132" y="134"/>
                                  </a:lnTo>
                                  <a:lnTo>
                                    <a:pt x="136" y="136"/>
                                  </a:lnTo>
                                  <a:lnTo>
                                    <a:pt x="136" y="136"/>
                                  </a:lnTo>
                                  <a:lnTo>
                                    <a:pt x="148" y="138"/>
                                  </a:lnTo>
                                  <a:lnTo>
                                    <a:pt x="154" y="140"/>
                                  </a:lnTo>
                                  <a:lnTo>
                                    <a:pt x="158" y="142"/>
                                  </a:lnTo>
                                  <a:lnTo>
                                    <a:pt x="158" y="142"/>
                                  </a:lnTo>
                                  <a:lnTo>
                                    <a:pt x="166" y="146"/>
                                  </a:lnTo>
                                  <a:lnTo>
                                    <a:pt x="168" y="146"/>
                                  </a:lnTo>
                                  <a:lnTo>
                                    <a:pt x="172" y="144"/>
                                  </a:lnTo>
                                  <a:lnTo>
                                    <a:pt x="172" y="144"/>
                                  </a:lnTo>
                                  <a:lnTo>
                                    <a:pt x="172" y="144"/>
                                  </a:lnTo>
                                  <a:lnTo>
                                    <a:pt x="172" y="146"/>
                                  </a:lnTo>
                                  <a:lnTo>
                                    <a:pt x="174" y="150"/>
                                  </a:lnTo>
                                  <a:lnTo>
                                    <a:pt x="178" y="152"/>
                                  </a:lnTo>
                                  <a:lnTo>
                                    <a:pt x="178" y="152"/>
                                  </a:lnTo>
                                  <a:lnTo>
                                    <a:pt x="184" y="152"/>
                                  </a:lnTo>
                                  <a:lnTo>
                                    <a:pt x="190" y="154"/>
                                  </a:lnTo>
                                  <a:lnTo>
                                    <a:pt x="196" y="156"/>
                                  </a:lnTo>
                                  <a:lnTo>
                                    <a:pt x="198" y="154"/>
                                  </a:lnTo>
                                  <a:lnTo>
                                    <a:pt x="198" y="154"/>
                                  </a:lnTo>
                                  <a:lnTo>
                                    <a:pt x="200" y="148"/>
                                  </a:lnTo>
                                  <a:lnTo>
                                    <a:pt x="200" y="148"/>
                                  </a:lnTo>
                                  <a:lnTo>
                                    <a:pt x="202" y="150"/>
                                  </a:lnTo>
                                  <a:lnTo>
                                    <a:pt x="204" y="152"/>
                                  </a:lnTo>
                                  <a:lnTo>
                                    <a:pt x="204" y="152"/>
                                  </a:lnTo>
                                  <a:lnTo>
                                    <a:pt x="210" y="150"/>
                                  </a:lnTo>
                                  <a:lnTo>
                                    <a:pt x="212" y="150"/>
                                  </a:lnTo>
                                  <a:lnTo>
                                    <a:pt x="212" y="152"/>
                                  </a:lnTo>
                                  <a:lnTo>
                                    <a:pt x="212" y="152"/>
                                  </a:lnTo>
                                  <a:lnTo>
                                    <a:pt x="218" y="154"/>
                                  </a:lnTo>
                                  <a:lnTo>
                                    <a:pt x="224" y="158"/>
                                  </a:lnTo>
                                  <a:lnTo>
                                    <a:pt x="234" y="160"/>
                                  </a:lnTo>
                                  <a:lnTo>
                                    <a:pt x="240" y="158"/>
                                  </a:lnTo>
                                  <a:lnTo>
                                    <a:pt x="240" y="158"/>
                                  </a:lnTo>
                                  <a:lnTo>
                                    <a:pt x="244" y="158"/>
                                  </a:lnTo>
                                  <a:lnTo>
                                    <a:pt x="248" y="158"/>
                                  </a:lnTo>
                                  <a:lnTo>
                                    <a:pt x="252" y="160"/>
                                  </a:lnTo>
                                  <a:lnTo>
                                    <a:pt x="258" y="160"/>
                                  </a:lnTo>
                                  <a:lnTo>
                                    <a:pt x="258" y="160"/>
                                  </a:lnTo>
                                  <a:lnTo>
                                    <a:pt x="258" y="158"/>
                                  </a:lnTo>
                                  <a:lnTo>
                                    <a:pt x="258" y="156"/>
                                  </a:lnTo>
                                  <a:lnTo>
                                    <a:pt x="256" y="154"/>
                                  </a:lnTo>
                                  <a:lnTo>
                                    <a:pt x="256" y="152"/>
                                  </a:lnTo>
                                  <a:lnTo>
                                    <a:pt x="256" y="152"/>
                                  </a:lnTo>
                                  <a:lnTo>
                                    <a:pt x="258" y="152"/>
                                  </a:lnTo>
                                  <a:lnTo>
                                    <a:pt x="260" y="150"/>
                                  </a:lnTo>
                                  <a:lnTo>
                                    <a:pt x="252" y="148"/>
                                  </a:lnTo>
                                  <a:lnTo>
                                    <a:pt x="252" y="148"/>
                                  </a:lnTo>
                                  <a:lnTo>
                                    <a:pt x="248" y="148"/>
                                  </a:lnTo>
                                  <a:lnTo>
                                    <a:pt x="246" y="146"/>
                                  </a:lnTo>
                                  <a:lnTo>
                                    <a:pt x="246" y="142"/>
                                  </a:lnTo>
                                  <a:lnTo>
                                    <a:pt x="240" y="142"/>
                                  </a:lnTo>
                                  <a:lnTo>
                                    <a:pt x="240" y="142"/>
                                  </a:lnTo>
                                  <a:lnTo>
                                    <a:pt x="238" y="140"/>
                                  </a:lnTo>
                                  <a:lnTo>
                                    <a:pt x="238" y="138"/>
                                  </a:lnTo>
                                  <a:lnTo>
                                    <a:pt x="234" y="136"/>
                                  </a:lnTo>
                                  <a:lnTo>
                                    <a:pt x="226" y="132"/>
                                  </a:lnTo>
                                  <a:lnTo>
                                    <a:pt x="226" y="132"/>
                                  </a:lnTo>
                                  <a:lnTo>
                                    <a:pt x="244" y="136"/>
                                  </a:lnTo>
                                  <a:lnTo>
                                    <a:pt x="248" y="136"/>
                                  </a:lnTo>
                                  <a:lnTo>
                                    <a:pt x="252" y="134"/>
                                  </a:lnTo>
                                  <a:lnTo>
                                    <a:pt x="252" y="134"/>
                                  </a:lnTo>
                                  <a:lnTo>
                                    <a:pt x="252" y="134"/>
                                  </a:lnTo>
                                  <a:lnTo>
                                    <a:pt x="254" y="134"/>
                                  </a:lnTo>
                                  <a:lnTo>
                                    <a:pt x="258" y="136"/>
                                  </a:lnTo>
                                  <a:lnTo>
                                    <a:pt x="262" y="140"/>
                                  </a:lnTo>
                                  <a:lnTo>
                                    <a:pt x="264" y="140"/>
                                  </a:lnTo>
                                  <a:lnTo>
                                    <a:pt x="264" y="138"/>
                                  </a:lnTo>
                                  <a:lnTo>
                                    <a:pt x="264" y="138"/>
                                  </a:lnTo>
                                  <a:lnTo>
                                    <a:pt x="268" y="138"/>
                                  </a:lnTo>
                                  <a:lnTo>
                                    <a:pt x="270" y="138"/>
                                  </a:lnTo>
                                  <a:lnTo>
                                    <a:pt x="274" y="140"/>
                                  </a:lnTo>
                                  <a:lnTo>
                                    <a:pt x="276" y="138"/>
                                  </a:lnTo>
                                  <a:lnTo>
                                    <a:pt x="276" y="138"/>
                                  </a:lnTo>
                                  <a:lnTo>
                                    <a:pt x="280" y="136"/>
                                  </a:lnTo>
                                  <a:lnTo>
                                    <a:pt x="276" y="134"/>
                                  </a:lnTo>
                                  <a:lnTo>
                                    <a:pt x="276" y="134"/>
                                  </a:lnTo>
                                  <a:lnTo>
                                    <a:pt x="276" y="132"/>
                                  </a:lnTo>
                                  <a:lnTo>
                                    <a:pt x="278" y="130"/>
                                  </a:lnTo>
                                  <a:lnTo>
                                    <a:pt x="278" y="128"/>
                                  </a:lnTo>
                                  <a:lnTo>
                                    <a:pt x="276" y="126"/>
                                  </a:lnTo>
                                  <a:lnTo>
                                    <a:pt x="276" y="126"/>
                                  </a:lnTo>
                                  <a:lnTo>
                                    <a:pt x="274" y="124"/>
                                  </a:lnTo>
                                  <a:lnTo>
                                    <a:pt x="276" y="122"/>
                                  </a:lnTo>
                                  <a:lnTo>
                                    <a:pt x="278" y="122"/>
                                  </a:lnTo>
                                  <a:lnTo>
                                    <a:pt x="274" y="120"/>
                                  </a:lnTo>
                                  <a:lnTo>
                                    <a:pt x="274" y="120"/>
                                  </a:lnTo>
                                  <a:lnTo>
                                    <a:pt x="268" y="118"/>
                                  </a:lnTo>
                                  <a:lnTo>
                                    <a:pt x="266" y="114"/>
                                  </a:lnTo>
                                  <a:lnTo>
                                    <a:pt x="264" y="112"/>
                                  </a:lnTo>
                                  <a:lnTo>
                                    <a:pt x="260" y="112"/>
                                  </a:lnTo>
                                  <a:lnTo>
                                    <a:pt x="260" y="112"/>
                                  </a:lnTo>
                                  <a:lnTo>
                                    <a:pt x="254" y="112"/>
                                  </a:lnTo>
                                  <a:lnTo>
                                    <a:pt x="252" y="112"/>
                                  </a:lnTo>
                                  <a:lnTo>
                                    <a:pt x="252" y="110"/>
                                  </a:lnTo>
                                  <a:lnTo>
                                    <a:pt x="254" y="108"/>
                                  </a:lnTo>
                                  <a:lnTo>
                                    <a:pt x="254" y="108"/>
                                  </a:lnTo>
                                  <a:lnTo>
                                    <a:pt x="254" y="108"/>
                                  </a:lnTo>
                                  <a:lnTo>
                                    <a:pt x="254" y="106"/>
                                  </a:lnTo>
                                  <a:lnTo>
                                    <a:pt x="254" y="104"/>
                                  </a:lnTo>
                                  <a:lnTo>
                                    <a:pt x="252" y="100"/>
                                  </a:lnTo>
                                  <a:lnTo>
                                    <a:pt x="256" y="102"/>
                                  </a:lnTo>
                                  <a:lnTo>
                                    <a:pt x="256" y="102"/>
                                  </a:lnTo>
                                  <a:lnTo>
                                    <a:pt x="260" y="102"/>
                                  </a:lnTo>
                                  <a:lnTo>
                                    <a:pt x="262" y="102"/>
                                  </a:lnTo>
                                  <a:lnTo>
                                    <a:pt x="262" y="100"/>
                                  </a:lnTo>
                                  <a:lnTo>
                                    <a:pt x="262" y="98"/>
                                  </a:lnTo>
                                  <a:lnTo>
                                    <a:pt x="260" y="94"/>
                                  </a:lnTo>
                                  <a:lnTo>
                                    <a:pt x="260" y="94"/>
                                  </a:lnTo>
                                  <a:lnTo>
                                    <a:pt x="260" y="94"/>
                                  </a:lnTo>
                                  <a:lnTo>
                                    <a:pt x="260" y="94"/>
                                  </a:lnTo>
                                  <a:lnTo>
                                    <a:pt x="266" y="98"/>
                                  </a:lnTo>
                                  <a:lnTo>
                                    <a:pt x="270" y="98"/>
                                  </a:lnTo>
                                  <a:lnTo>
                                    <a:pt x="270" y="98"/>
                                  </a:lnTo>
                                  <a:lnTo>
                                    <a:pt x="278" y="96"/>
                                  </a:lnTo>
                                  <a:lnTo>
                                    <a:pt x="280" y="98"/>
                                  </a:lnTo>
                                  <a:lnTo>
                                    <a:pt x="282" y="100"/>
                                  </a:lnTo>
                                  <a:lnTo>
                                    <a:pt x="282" y="100"/>
                                  </a:lnTo>
                                  <a:lnTo>
                                    <a:pt x="282" y="102"/>
                                  </a:lnTo>
                                  <a:lnTo>
                                    <a:pt x="284" y="102"/>
                                  </a:lnTo>
                                  <a:lnTo>
                                    <a:pt x="286" y="102"/>
                                  </a:lnTo>
                                  <a:lnTo>
                                    <a:pt x="288" y="102"/>
                                  </a:lnTo>
                                  <a:lnTo>
                                    <a:pt x="288" y="102"/>
                                  </a:lnTo>
                                  <a:lnTo>
                                    <a:pt x="288" y="102"/>
                                  </a:lnTo>
                                  <a:lnTo>
                                    <a:pt x="290" y="102"/>
                                  </a:lnTo>
                                  <a:lnTo>
                                    <a:pt x="296" y="96"/>
                                  </a:lnTo>
                                  <a:lnTo>
                                    <a:pt x="296" y="96"/>
                                  </a:lnTo>
                                  <a:lnTo>
                                    <a:pt x="296" y="96"/>
                                  </a:lnTo>
                                  <a:lnTo>
                                    <a:pt x="296" y="100"/>
                                  </a:lnTo>
                                  <a:lnTo>
                                    <a:pt x="294" y="104"/>
                                  </a:lnTo>
                                  <a:lnTo>
                                    <a:pt x="296" y="106"/>
                                  </a:lnTo>
                                  <a:lnTo>
                                    <a:pt x="298" y="106"/>
                                  </a:lnTo>
                                  <a:lnTo>
                                    <a:pt x="298" y="106"/>
                                  </a:lnTo>
                                  <a:lnTo>
                                    <a:pt x="300" y="108"/>
                                  </a:lnTo>
                                  <a:lnTo>
                                    <a:pt x="302" y="110"/>
                                  </a:lnTo>
                                  <a:lnTo>
                                    <a:pt x="302" y="110"/>
                                  </a:lnTo>
                                  <a:lnTo>
                                    <a:pt x="304" y="110"/>
                                  </a:lnTo>
                                  <a:lnTo>
                                    <a:pt x="304" y="110"/>
                                  </a:lnTo>
                                  <a:lnTo>
                                    <a:pt x="306" y="110"/>
                                  </a:lnTo>
                                  <a:lnTo>
                                    <a:pt x="306" y="114"/>
                                  </a:lnTo>
                                  <a:lnTo>
                                    <a:pt x="308" y="116"/>
                                  </a:lnTo>
                                  <a:lnTo>
                                    <a:pt x="312" y="118"/>
                                  </a:lnTo>
                                  <a:lnTo>
                                    <a:pt x="312" y="118"/>
                                  </a:lnTo>
                                  <a:lnTo>
                                    <a:pt x="316" y="116"/>
                                  </a:lnTo>
                                  <a:lnTo>
                                    <a:pt x="316" y="114"/>
                                  </a:lnTo>
                                  <a:lnTo>
                                    <a:pt x="314" y="108"/>
                                  </a:lnTo>
                                  <a:lnTo>
                                    <a:pt x="314" y="108"/>
                                  </a:lnTo>
                                  <a:lnTo>
                                    <a:pt x="312" y="108"/>
                                  </a:lnTo>
                                  <a:lnTo>
                                    <a:pt x="314" y="108"/>
                                  </a:lnTo>
                                  <a:lnTo>
                                    <a:pt x="316" y="108"/>
                                  </a:lnTo>
                                  <a:lnTo>
                                    <a:pt x="320" y="108"/>
                                  </a:lnTo>
                                  <a:lnTo>
                                    <a:pt x="318" y="106"/>
                                  </a:lnTo>
                                  <a:lnTo>
                                    <a:pt x="318" y="106"/>
                                  </a:lnTo>
                                  <a:lnTo>
                                    <a:pt x="318" y="104"/>
                                  </a:lnTo>
                                  <a:lnTo>
                                    <a:pt x="320" y="106"/>
                                  </a:lnTo>
                                  <a:lnTo>
                                    <a:pt x="324" y="106"/>
                                  </a:lnTo>
                                  <a:lnTo>
                                    <a:pt x="324" y="106"/>
                                  </a:lnTo>
                                  <a:lnTo>
                                    <a:pt x="322" y="102"/>
                                  </a:lnTo>
                                  <a:lnTo>
                                    <a:pt x="322" y="102"/>
                                  </a:lnTo>
                                  <a:lnTo>
                                    <a:pt x="322" y="100"/>
                                  </a:lnTo>
                                  <a:lnTo>
                                    <a:pt x="322" y="98"/>
                                  </a:lnTo>
                                  <a:lnTo>
                                    <a:pt x="328" y="100"/>
                                  </a:lnTo>
                                  <a:lnTo>
                                    <a:pt x="332" y="102"/>
                                  </a:lnTo>
                                  <a:lnTo>
                                    <a:pt x="334" y="102"/>
                                  </a:lnTo>
                                  <a:lnTo>
                                    <a:pt x="334" y="100"/>
                                  </a:lnTo>
                                  <a:lnTo>
                                    <a:pt x="334" y="100"/>
                                  </a:lnTo>
                                  <a:lnTo>
                                    <a:pt x="334" y="98"/>
                                  </a:lnTo>
                                  <a:lnTo>
                                    <a:pt x="336" y="96"/>
                                  </a:lnTo>
                                  <a:lnTo>
                                    <a:pt x="340" y="96"/>
                                  </a:lnTo>
                                  <a:lnTo>
                                    <a:pt x="344" y="96"/>
                                  </a:lnTo>
                                  <a:lnTo>
                                    <a:pt x="346" y="96"/>
                                  </a:lnTo>
                                  <a:lnTo>
                                    <a:pt x="344" y="94"/>
                                  </a:lnTo>
                                  <a:lnTo>
                                    <a:pt x="344" y="94"/>
                                  </a:lnTo>
                                  <a:lnTo>
                                    <a:pt x="344" y="92"/>
                                  </a:lnTo>
                                  <a:lnTo>
                                    <a:pt x="346" y="90"/>
                                  </a:lnTo>
                                  <a:lnTo>
                                    <a:pt x="352" y="92"/>
                                  </a:lnTo>
                                  <a:lnTo>
                                    <a:pt x="356" y="92"/>
                                  </a:lnTo>
                                  <a:lnTo>
                                    <a:pt x="358" y="92"/>
                                  </a:lnTo>
                                  <a:lnTo>
                                    <a:pt x="358" y="90"/>
                                  </a:lnTo>
                                  <a:lnTo>
                                    <a:pt x="358" y="90"/>
                                  </a:lnTo>
                                  <a:lnTo>
                                    <a:pt x="358" y="88"/>
                                  </a:lnTo>
                                  <a:lnTo>
                                    <a:pt x="360" y="88"/>
                                  </a:lnTo>
                                  <a:lnTo>
                                    <a:pt x="366" y="88"/>
                                  </a:lnTo>
                                  <a:lnTo>
                                    <a:pt x="372" y="90"/>
                                  </a:lnTo>
                                  <a:lnTo>
                                    <a:pt x="374" y="88"/>
                                  </a:lnTo>
                                  <a:lnTo>
                                    <a:pt x="374" y="88"/>
                                  </a:lnTo>
                                  <a:lnTo>
                                    <a:pt x="374" y="88"/>
                                  </a:lnTo>
                                  <a:lnTo>
                                    <a:pt x="372" y="84"/>
                                  </a:lnTo>
                                  <a:lnTo>
                                    <a:pt x="374" y="84"/>
                                  </a:lnTo>
                                  <a:lnTo>
                                    <a:pt x="378" y="82"/>
                                  </a:lnTo>
                                  <a:lnTo>
                                    <a:pt x="382" y="82"/>
                                  </a:lnTo>
                                  <a:lnTo>
                                    <a:pt x="380" y="82"/>
                                  </a:lnTo>
                                  <a:lnTo>
                                    <a:pt x="380" y="82"/>
                                  </a:lnTo>
                                  <a:lnTo>
                                    <a:pt x="374" y="78"/>
                                  </a:lnTo>
                                  <a:lnTo>
                                    <a:pt x="372" y="76"/>
                                  </a:lnTo>
                                  <a:lnTo>
                                    <a:pt x="372" y="74"/>
                                  </a:lnTo>
                                  <a:lnTo>
                                    <a:pt x="368" y="76"/>
                                  </a:lnTo>
                                  <a:lnTo>
                                    <a:pt x="368" y="76"/>
                                  </a:lnTo>
                                  <a:lnTo>
                                    <a:pt x="358" y="80"/>
                                  </a:lnTo>
                                  <a:lnTo>
                                    <a:pt x="358" y="80"/>
                                  </a:lnTo>
                                  <a:lnTo>
                                    <a:pt x="358" y="78"/>
                                  </a:lnTo>
                                  <a:lnTo>
                                    <a:pt x="358" y="78"/>
                                  </a:lnTo>
                                  <a:lnTo>
                                    <a:pt x="356" y="74"/>
                                  </a:lnTo>
                                  <a:lnTo>
                                    <a:pt x="354" y="74"/>
                                  </a:lnTo>
                                  <a:lnTo>
                                    <a:pt x="352" y="74"/>
                                  </a:lnTo>
                                  <a:lnTo>
                                    <a:pt x="352" y="74"/>
                                  </a:lnTo>
                                  <a:lnTo>
                                    <a:pt x="348" y="74"/>
                                  </a:lnTo>
                                  <a:lnTo>
                                    <a:pt x="348" y="72"/>
                                  </a:lnTo>
                                  <a:lnTo>
                                    <a:pt x="346" y="70"/>
                                  </a:lnTo>
                                  <a:lnTo>
                                    <a:pt x="344" y="72"/>
                                  </a:lnTo>
                                  <a:lnTo>
                                    <a:pt x="344" y="72"/>
                                  </a:lnTo>
                                  <a:lnTo>
                                    <a:pt x="340" y="72"/>
                                  </a:lnTo>
                                  <a:lnTo>
                                    <a:pt x="338" y="70"/>
                                  </a:lnTo>
                                  <a:lnTo>
                                    <a:pt x="338" y="68"/>
                                  </a:lnTo>
                                  <a:lnTo>
                                    <a:pt x="336" y="68"/>
                                  </a:lnTo>
                                  <a:lnTo>
                                    <a:pt x="336" y="68"/>
                                  </a:lnTo>
                                  <a:lnTo>
                                    <a:pt x="334" y="68"/>
                                  </a:lnTo>
                                  <a:lnTo>
                                    <a:pt x="334" y="66"/>
                                  </a:lnTo>
                                  <a:lnTo>
                                    <a:pt x="334" y="64"/>
                                  </a:lnTo>
                                  <a:lnTo>
                                    <a:pt x="328" y="64"/>
                                  </a:lnTo>
                                  <a:lnTo>
                                    <a:pt x="328" y="64"/>
                                  </a:lnTo>
                                  <a:lnTo>
                                    <a:pt x="322" y="66"/>
                                  </a:lnTo>
                                  <a:lnTo>
                                    <a:pt x="320" y="64"/>
                                  </a:lnTo>
                                  <a:lnTo>
                                    <a:pt x="318" y="64"/>
                                  </a:lnTo>
                                  <a:lnTo>
                                    <a:pt x="312" y="64"/>
                                  </a:lnTo>
                                  <a:lnTo>
                                    <a:pt x="312" y="64"/>
                                  </a:lnTo>
                                  <a:lnTo>
                                    <a:pt x="318" y="62"/>
                                  </a:lnTo>
                                  <a:lnTo>
                                    <a:pt x="322" y="62"/>
                                  </a:lnTo>
                                  <a:lnTo>
                                    <a:pt x="326" y="60"/>
                                  </a:lnTo>
                                  <a:lnTo>
                                    <a:pt x="326" y="58"/>
                                  </a:lnTo>
                                  <a:lnTo>
                                    <a:pt x="326" y="58"/>
                                  </a:lnTo>
                                  <a:lnTo>
                                    <a:pt x="326" y="58"/>
                                  </a:lnTo>
                                  <a:lnTo>
                                    <a:pt x="320" y="56"/>
                                  </a:lnTo>
                                  <a:lnTo>
                                    <a:pt x="312" y="56"/>
                                  </a:lnTo>
                                  <a:lnTo>
                                    <a:pt x="304" y="58"/>
                                  </a:lnTo>
                                  <a:lnTo>
                                    <a:pt x="298" y="58"/>
                                  </a:lnTo>
                                  <a:lnTo>
                                    <a:pt x="298" y="58"/>
                                  </a:lnTo>
                                  <a:lnTo>
                                    <a:pt x="298" y="56"/>
                                  </a:lnTo>
                                  <a:lnTo>
                                    <a:pt x="300" y="56"/>
                                  </a:lnTo>
                                  <a:lnTo>
                                    <a:pt x="310" y="54"/>
                                  </a:lnTo>
                                  <a:lnTo>
                                    <a:pt x="320" y="52"/>
                                  </a:lnTo>
                                  <a:lnTo>
                                    <a:pt x="322" y="50"/>
                                  </a:lnTo>
                                  <a:lnTo>
                                    <a:pt x="322" y="48"/>
                                  </a:lnTo>
                                  <a:lnTo>
                                    <a:pt x="322" y="48"/>
                                  </a:lnTo>
                                  <a:lnTo>
                                    <a:pt x="320" y="46"/>
                                  </a:lnTo>
                                  <a:lnTo>
                                    <a:pt x="320" y="44"/>
                                  </a:lnTo>
                                  <a:lnTo>
                                    <a:pt x="318" y="42"/>
                                  </a:lnTo>
                                  <a:lnTo>
                                    <a:pt x="316" y="40"/>
                                  </a:lnTo>
                                  <a:lnTo>
                                    <a:pt x="316" y="40"/>
                                  </a:lnTo>
                                  <a:lnTo>
                                    <a:pt x="310" y="38"/>
                                  </a:lnTo>
                                  <a:lnTo>
                                    <a:pt x="306" y="38"/>
                                  </a:lnTo>
                                  <a:lnTo>
                                    <a:pt x="296" y="42"/>
                                  </a:lnTo>
                                  <a:lnTo>
                                    <a:pt x="296" y="42"/>
                                  </a:lnTo>
                                  <a:lnTo>
                                    <a:pt x="288" y="46"/>
                                  </a:lnTo>
                                  <a:lnTo>
                                    <a:pt x="294" y="42"/>
                                  </a:lnTo>
                                  <a:lnTo>
                                    <a:pt x="294" y="42"/>
                                  </a:lnTo>
                                  <a:lnTo>
                                    <a:pt x="304" y="36"/>
                                  </a:lnTo>
                                  <a:lnTo>
                                    <a:pt x="306" y="34"/>
                                  </a:lnTo>
                                  <a:lnTo>
                                    <a:pt x="306" y="34"/>
                                  </a:lnTo>
                                  <a:lnTo>
                                    <a:pt x="306" y="34"/>
                                  </a:lnTo>
                                  <a:lnTo>
                                    <a:pt x="298" y="32"/>
                                  </a:lnTo>
                                  <a:lnTo>
                                    <a:pt x="294" y="32"/>
                                  </a:lnTo>
                                  <a:lnTo>
                                    <a:pt x="290" y="34"/>
                                  </a:lnTo>
                                  <a:lnTo>
                                    <a:pt x="290" y="34"/>
                                  </a:lnTo>
                                  <a:lnTo>
                                    <a:pt x="288" y="34"/>
                                  </a:lnTo>
                                  <a:lnTo>
                                    <a:pt x="286" y="34"/>
                                  </a:lnTo>
                                  <a:lnTo>
                                    <a:pt x="286" y="30"/>
                                  </a:lnTo>
                                  <a:lnTo>
                                    <a:pt x="286" y="26"/>
                                  </a:lnTo>
                                  <a:lnTo>
                                    <a:pt x="286" y="24"/>
                                  </a:lnTo>
                                  <a:lnTo>
                                    <a:pt x="284" y="26"/>
                                  </a:lnTo>
                                  <a:lnTo>
                                    <a:pt x="284" y="26"/>
                                  </a:lnTo>
                                  <a:lnTo>
                                    <a:pt x="280" y="26"/>
                                  </a:lnTo>
                                  <a:lnTo>
                                    <a:pt x="278" y="24"/>
                                  </a:lnTo>
                                  <a:lnTo>
                                    <a:pt x="274" y="22"/>
                                  </a:lnTo>
                                  <a:lnTo>
                                    <a:pt x="264" y="22"/>
                                  </a:lnTo>
                                  <a:lnTo>
                                    <a:pt x="264" y="22"/>
                                  </a:lnTo>
                                  <a:lnTo>
                                    <a:pt x="260" y="22"/>
                                  </a:lnTo>
                                  <a:lnTo>
                                    <a:pt x="256" y="22"/>
                                  </a:lnTo>
                                  <a:lnTo>
                                    <a:pt x="252" y="20"/>
                                  </a:lnTo>
                                  <a:lnTo>
                                    <a:pt x="248" y="20"/>
                                  </a:lnTo>
                                  <a:lnTo>
                                    <a:pt x="248" y="20"/>
                                  </a:lnTo>
                                  <a:lnTo>
                                    <a:pt x="244" y="18"/>
                                  </a:lnTo>
                                  <a:lnTo>
                                    <a:pt x="242" y="14"/>
                                  </a:lnTo>
                                  <a:lnTo>
                                    <a:pt x="238" y="12"/>
                                  </a:lnTo>
                                  <a:lnTo>
                                    <a:pt x="230" y="10"/>
                                  </a:lnTo>
                                  <a:lnTo>
                                    <a:pt x="230" y="10"/>
                                  </a:lnTo>
                                  <a:lnTo>
                                    <a:pt x="212" y="12"/>
                                  </a:lnTo>
                                  <a:lnTo>
                                    <a:pt x="208" y="12"/>
                                  </a:lnTo>
                                  <a:lnTo>
                                    <a:pt x="208" y="14"/>
                                  </a:lnTo>
                                  <a:lnTo>
                                    <a:pt x="212" y="18"/>
                                  </a:lnTo>
                                  <a:lnTo>
                                    <a:pt x="212" y="18"/>
                                  </a:lnTo>
                                  <a:lnTo>
                                    <a:pt x="216" y="20"/>
                                  </a:lnTo>
                                  <a:lnTo>
                                    <a:pt x="212" y="20"/>
                                  </a:lnTo>
                                  <a:lnTo>
                                    <a:pt x="210" y="22"/>
                                  </a:lnTo>
                                  <a:lnTo>
                                    <a:pt x="210" y="24"/>
                                  </a:lnTo>
                                  <a:lnTo>
                                    <a:pt x="214" y="26"/>
                                  </a:lnTo>
                                  <a:lnTo>
                                    <a:pt x="214" y="26"/>
                                  </a:lnTo>
                                  <a:lnTo>
                                    <a:pt x="212" y="26"/>
                                  </a:lnTo>
                                  <a:lnTo>
                                    <a:pt x="206" y="20"/>
                                  </a:lnTo>
                                  <a:lnTo>
                                    <a:pt x="202" y="20"/>
                                  </a:lnTo>
                                  <a:lnTo>
                                    <a:pt x="202" y="20"/>
                                  </a:lnTo>
                                  <a:lnTo>
                                    <a:pt x="202" y="20"/>
                                  </a:lnTo>
                                  <a:lnTo>
                                    <a:pt x="200" y="20"/>
                                  </a:lnTo>
                                  <a:lnTo>
                                    <a:pt x="200" y="20"/>
                                  </a:lnTo>
                                  <a:lnTo>
                                    <a:pt x="198" y="14"/>
                                  </a:lnTo>
                                  <a:lnTo>
                                    <a:pt x="196" y="12"/>
                                  </a:lnTo>
                                  <a:lnTo>
                                    <a:pt x="194" y="12"/>
                                  </a:lnTo>
                                  <a:lnTo>
                                    <a:pt x="190" y="14"/>
                                  </a:lnTo>
                                  <a:lnTo>
                                    <a:pt x="190" y="14"/>
                                  </a:lnTo>
                                  <a:lnTo>
                                    <a:pt x="186" y="18"/>
                                  </a:lnTo>
                                  <a:lnTo>
                                    <a:pt x="184" y="16"/>
                                  </a:lnTo>
                                  <a:lnTo>
                                    <a:pt x="182" y="14"/>
                                  </a:lnTo>
                                  <a:lnTo>
                                    <a:pt x="178" y="16"/>
                                  </a:lnTo>
                                  <a:lnTo>
                                    <a:pt x="178" y="16"/>
                                  </a:lnTo>
                                  <a:lnTo>
                                    <a:pt x="174" y="22"/>
                                  </a:lnTo>
                                  <a:lnTo>
                                    <a:pt x="168" y="24"/>
                                  </a:lnTo>
                                  <a:lnTo>
                                    <a:pt x="166" y="24"/>
                                  </a:lnTo>
                                  <a:lnTo>
                                    <a:pt x="166" y="22"/>
                                  </a:lnTo>
                                  <a:lnTo>
                                    <a:pt x="166" y="22"/>
                                  </a:lnTo>
                                  <a:lnTo>
                                    <a:pt x="172" y="14"/>
                                  </a:lnTo>
                                  <a:lnTo>
                                    <a:pt x="172" y="12"/>
                                  </a:lnTo>
                                  <a:lnTo>
                                    <a:pt x="168" y="12"/>
                                  </a:lnTo>
                                  <a:lnTo>
                                    <a:pt x="168" y="12"/>
                                  </a:lnTo>
                                  <a:lnTo>
                                    <a:pt x="166" y="12"/>
                                  </a:lnTo>
                                  <a:lnTo>
                                    <a:pt x="166" y="10"/>
                                  </a:lnTo>
                                  <a:lnTo>
                                    <a:pt x="168" y="8"/>
                                  </a:lnTo>
                                  <a:lnTo>
                                    <a:pt x="168" y="6"/>
                                  </a:lnTo>
                                  <a:lnTo>
                                    <a:pt x="168" y="6"/>
                                  </a:lnTo>
                                  <a:lnTo>
                                    <a:pt x="166" y="4"/>
                                  </a:lnTo>
                                  <a:lnTo>
                                    <a:pt x="164" y="2"/>
                                  </a:lnTo>
                                  <a:lnTo>
                                    <a:pt x="164" y="0"/>
                                  </a:lnTo>
                                  <a:lnTo>
                                    <a:pt x="162" y="0"/>
                                  </a:lnTo>
                                  <a:lnTo>
                                    <a:pt x="162" y="0"/>
                                  </a:lnTo>
                                  <a:lnTo>
                                    <a:pt x="148" y="0"/>
                                  </a:lnTo>
                                  <a:lnTo>
                                    <a:pt x="138" y="2"/>
                                  </a:lnTo>
                                  <a:lnTo>
                                    <a:pt x="130" y="2"/>
                                  </a:lnTo>
                                  <a:lnTo>
                                    <a:pt x="130" y="2"/>
                                  </a:lnTo>
                                  <a:lnTo>
                                    <a:pt x="118" y="4"/>
                                  </a:lnTo>
                                  <a:lnTo>
                                    <a:pt x="110" y="6"/>
                                  </a:lnTo>
                                  <a:lnTo>
                                    <a:pt x="110" y="6"/>
                                  </a:lnTo>
                                  <a:lnTo>
                                    <a:pt x="104" y="8"/>
                                  </a:lnTo>
                                  <a:lnTo>
                                    <a:pt x="96" y="10"/>
                                  </a:lnTo>
                                  <a:lnTo>
                                    <a:pt x="92" y="10"/>
                                  </a:lnTo>
                                  <a:lnTo>
                                    <a:pt x="96" y="12"/>
                                  </a:lnTo>
                                  <a:lnTo>
                                    <a:pt x="96" y="12"/>
                                  </a:lnTo>
                                  <a:lnTo>
                                    <a:pt x="94" y="12"/>
                                  </a:lnTo>
                                  <a:lnTo>
                                    <a:pt x="86" y="14"/>
                                  </a:lnTo>
                                  <a:lnTo>
                                    <a:pt x="82" y="16"/>
                                  </a:lnTo>
                                  <a:lnTo>
                                    <a:pt x="80" y="18"/>
                                  </a:lnTo>
                                  <a:lnTo>
                                    <a:pt x="80" y="20"/>
                                  </a:lnTo>
                                  <a:lnTo>
                                    <a:pt x="86" y="22"/>
                                  </a:lnTo>
                                  <a:lnTo>
                                    <a:pt x="86" y="22"/>
                                  </a:lnTo>
                                  <a:lnTo>
                                    <a:pt x="88" y="24"/>
                                  </a:lnTo>
                                  <a:lnTo>
                                    <a:pt x="88" y="24"/>
                                  </a:lnTo>
                                  <a:lnTo>
                                    <a:pt x="78" y="24"/>
                                  </a:lnTo>
                                  <a:lnTo>
                                    <a:pt x="74" y="26"/>
                                  </a:lnTo>
                                  <a:lnTo>
                                    <a:pt x="68" y="28"/>
                                  </a:lnTo>
                                  <a:lnTo>
                                    <a:pt x="66" y="30"/>
                                  </a:lnTo>
                                  <a:lnTo>
                                    <a:pt x="66" y="34"/>
                                  </a:lnTo>
                                  <a:lnTo>
                                    <a:pt x="66" y="34"/>
                                  </a:lnTo>
                                  <a:lnTo>
                                    <a:pt x="62" y="32"/>
                                  </a:lnTo>
                                  <a:lnTo>
                                    <a:pt x="62" y="28"/>
                                  </a:lnTo>
                                  <a:lnTo>
                                    <a:pt x="62" y="24"/>
                                  </a:lnTo>
                                  <a:lnTo>
                                    <a:pt x="68" y="20"/>
                                  </a:lnTo>
                                  <a:lnTo>
                                    <a:pt x="68" y="20"/>
                                  </a:lnTo>
                                  <a:lnTo>
                                    <a:pt x="72" y="18"/>
                                  </a:lnTo>
                                  <a:lnTo>
                                    <a:pt x="74" y="16"/>
                                  </a:lnTo>
                                  <a:lnTo>
                                    <a:pt x="76" y="12"/>
                                  </a:lnTo>
                                  <a:lnTo>
                                    <a:pt x="80" y="10"/>
                                  </a:lnTo>
                                  <a:lnTo>
                                    <a:pt x="80" y="10"/>
                                  </a:lnTo>
                                  <a:lnTo>
                                    <a:pt x="84" y="8"/>
                                  </a:lnTo>
                                  <a:lnTo>
                                    <a:pt x="86" y="4"/>
                                  </a:lnTo>
                                  <a:lnTo>
                                    <a:pt x="84" y="2"/>
                                  </a:lnTo>
                                  <a:lnTo>
                                    <a:pt x="76" y="2"/>
                                  </a:lnTo>
                                  <a:lnTo>
                                    <a:pt x="76" y="2"/>
                                  </a:lnTo>
                                  <a:lnTo>
                                    <a:pt x="58" y="2"/>
                                  </a:lnTo>
                                  <a:lnTo>
                                    <a:pt x="44" y="4"/>
                                  </a:lnTo>
                                  <a:lnTo>
                                    <a:pt x="44" y="4"/>
                                  </a:lnTo>
                                  <a:lnTo>
                                    <a:pt x="38" y="6"/>
                                  </a:lnTo>
                                  <a:lnTo>
                                    <a:pt x="30" y="10"/>
                                  </a:lnTo>
                                  <a:lnTo>
                                    <a:pt x="30" y="10"/>
                                  </a:lnTo>
                                  <a:lnTo>
                                    <a:pt x="24" y="16"/>
                                  </a:lnTo>
                                  <a:lnTo>
                                    <a:pt x="20" y="18"/>
                                  </a:lnTo>
                                  <a:lnTo>
                                    <a:pt x="12" y="22"/>
                                  </a:lnTo>
                                  <a:lnTo>
                                    <a:pt x="12" y="22"/>
                                  </a:lnTo>
                                  <a:lnTo>
                                    <a:pt x="8" y="22"/>
                                  </a:lnTo>
                                  <a:lnTo>
                                    <a:pt x="6" y="24"/>
                                  </a:lnTo>
                                  <a:lnTo>
                                    <a:pt x="6" y="26"/>
                                  </a:lnTo>
                                  <a:lnTo>
                                    <a:pt x="8" y="28"/>
                                  </a:lnTo>
                                  <a:lnTo>
                                    <a:pt x="10" y="30"/>
                                  </a:lnTo>
                                  <a:lnTo>
                                    <a:pt x="10" y="30"/>
                                  </a:lnTo>
                                  <a:lnTo>
                                    <a:pt x="8" y="32"/>
                                  </a:lnTo>
                                  <a:lnTo>
                                    <a:pt x="8" y="32"/>
                                  </a:lnTo>
                                  <a:lnTo>
                                    <a:pt x="2" y="32"/>
                                  </a:lnTo>
                                  <a:lnTo>
                                    <a:pt x="0" y="34"/>
                                  </a:lnTo>
                                  <a:lnTo>
                                    <a:pt x="2" y="38"/>
                                  </a:lnTo>
                                  <a:lnTo>
                                    <a:pt x="4" y="40"/>
                                  </a:lnTo>
                                  <a:lnTo>
                                    <a:pt x="14" y="44"/>
                                  </a:lnTo>
                                  <a:lnTo>
                                    <a:pt x="20" y="46"/>
                                  </a:lnTo>
                                  <a:lnTo>
                                    <a:pt x="26" y="46"/>
                                  </a:lnTo>
                                  <a:lnTo>
                                    <a:pt x="26" y="46"/>
                                  </a:lnTo>
                                  <a:lnTo>
                                    <a:pt x="38" y="44"/>
                                  </a:lnTo>
                                  <a:lnTo>
                                    <a:pt x="44" y="42"/>
                                  </a:lnTo>
                                  <a:lnTo>
                                    <a:pt x="44" y="42"/>
                                  </a:lnTo>
                                  <a:lnTo>
                                    <a:pt x="50" y="40"/>
                                  </a:lnTo>
                                  <a:lnTo>
                                    <a:pt x="52" y="42"/>
                                  </a:lnTo>
                                  <a:lnTo>
                                    <a:pt x="54" y="42"/>
                                  </a:lnTo>
                                  <a:lnTo>
                                    <a:pt x="58" y="44"/>
                                  </a:lnTo>
                                  <a:lnTo>
                                    <a:pt x="58" y="44"/>
                                  </a:lnTo>
                                  <a:lnTo>
                                    <a:pt x="66" y="44"/>
                                  </a:lnTo>
                                  <a:lnTo>
                                    <a:pt x="70" y="46"/>
                                  </a:lnTo>
                                  <a:lnTo>
                                    <a:pt x="74" y="44"/>
                                  </a:lnTo>
                                  <a:lnTo>
                                    <a:pt x="74" y="44"/>
                                  </a:lnTo>
                                  <a:lnTo>
                                    <a:pt x="78" y="40"/>
                                  </a:lnTo>
                                  <a:lnTo>
                                    <a:pt x="82" y="40"/>
                                  </a:lnTo>
                                  <a:lnTo>
                                    <a:pt x="82" y="40"/>
                                  </a:lnTo>
                                  <a:lnTo>
                                    <a:pt x="78" y="44"/>
                                  </a:lnTo>
                                  <a:lnTo>
                                    <a:pt x="78" y="44"/>
                                  </a:lnTo>
                                  <a:lnTo>
                                    <a:pt x="82" y="46"/>
                                  </a:lnTo>
                                  <a:lnTo>
                                    <a:pt x="82" y="46"/>
                                  </a:lnTo>
                                  <a:lnTo>
                                    <a:pt x="86" y="46"/>
                                  </a:lnTo>
                                  <a:lnTo>
                                    <a:pt x="86" y="46"/>
                                  </a:lnTo>
                                  <a:lnTo>
                                    <a:pt x="88" y="46"/>
                                  </a:lnTo>
                                  <a:lnTo>
                                    <a:pt x="90" y="46"/>
                                  </a:lnTo>
                                  <a:lnTo>
                                    <a:pt x="90" y="46"/>
                                  </a:lnTo>
                                  <a:lnTo>
                                    <a:pt x="94" y="46"/>
                                  </a:lnTo>
                                  <a:lnTo>
                                    <a:pt x="96" y="48"/>
                                  </a:lnTo>
                                  <a:lnTo>
                                    <a:pt x="100" y="50"/>
                                  </a:lnTo>
                                  <a:lnTo>
                                    <a:pt x="102" y="50"/>
                                  </a:lnTo>
                                  <a:lnTo>
                                    <a:pt x="102" y="50"/>
                                  </a:lnTo>
                                  <a:lnTo>
                                    <a:pt x="104" y="48"/>
                                  </a:lnTo>
                                  <a:lnTo>
                                    <a:pt x="104" y="44"/>
                                  </a:lnTo>
                                  <a:lnTo>
                                    <a:pt x="104" y="42"/>
                                  </a:lnTo>
                                  <a:lnTo>
                                    <a:pt x="106" y="44"/>
                                  </a:lnTo>
                                  <a:lnTo>
                                    <a:pt x="106" y="44"/>
                                  </a:lnTo>
                                  <a:lnTo>
                                    <a:pt x="110" y="46"/>
                                  </a:lnTo>
                                  <a:lnTo>
                                    <a:pt x="112" y="50"/>
                                  </a:lnTo>
                                  <a:lnTo>
                                    <a:pt x="116" y="50"/>
                                  </a:lnTo>
                                  <a:lnTo>
                                    <a:pt x="120" y="50"/>
                                  </a:lnTo>
                                  <a:lnTo>
                                    <a:pt x="120" y="50"/>
                                  </a:lnTo>
                                  <a:lnTo>
                                    <a:pt x="122" y="50"/>
                                  </a:lnTo>
                                  <a:lnTo>
                                    <a:pt x="122" y="48"/>
                                  </a:lnTo>
                                  <a:lnTo>
                                    <a:pt x="118" y="46"/>
                                  </a:lnTo>
                                  <a:lnTo>
                                    <a:pt x="114" y="44"/>
                                  </a:lnTo>
                                  <a:lnTo>
                                    <a:pt x="114" y="42"/>
                                  </a:lnTo>
                                  <a:lnTo>
                                    <a:pt x="114" y="42"/>
                                  </a:lnTo>
                                  <a:lnTo>
                                    <a:pt x="114" y="42"/>
                                  </a:lnTo>
                                  <a:lnTo>
                                    <a:pt x="120" y="42"/>
                                  </a:lnTo>
                                  <a:lnTo>
                                    <a:pt x="124" y="44"/>
                                  </a:lnTo>
                                  <a:lnTo>
                                    <a:pt x="128" y="46"/>
                                  </a:lnTo>
                                  <a:lnTo>
                                    <a:pt x="132" y="46"/>
                                  </a:lnTo>
                                  <a:lnTo>
                                    <a:pt x="132" y="46"/>
                                  </a:lnTo>
                                  <a:lnTo>
                                    <a:pt x="136" y="44"/>
                                  </a:lnTo>
                                  <a:lnTo>
                                    <a:pt x="138" y="40"/>
                                  </a:lnTo>
                                  <a:lnTo>
                                    <a:pt x="138" y="38"/>
                                  </a:lnTo>
                                  <a:lnTo>
                                    <a:pt x="132" y="34"/>
                                  </a:lnTo>
                                  <a:lnTo>
                                    <a:pt x="132" y="34"/>
                                  </a:lnTo>
                                  <a:lnTo>
                                    <a:pt x="144" y="40"/>
                                  </a:lnTo>
                                  <a:lnTo>
                                    <a:pt x="146" y="40"/>
                                  </a:lnTo>
                                  <a:lnTo>
                                    <a:pt x="148" y="38"/>
                                  </a:lnTo>
                                  <a:lnTo>
                                    <a:pt x="148" y="38"/>
                                  </a:lnTo>
                                  <a:lnTo>
                                    <a:pt x="148" y="36"/>
                                  </a:lnTo>
                                  <a:lnTo>
                                    <a:pt x="148" y="38"/>
                                  </a:lnTo>
                                  <a:lnTo>
                                    <a:pt x="150" y="40"/>
                                  </a:lnTo>
                                  <a:lnTo>
                                    <a:pt x="154" y="40"/>
                                  </a:lnTo>
                                  <a:lnTo>
                                    <a:pt x="154" y="40"/>
                                  </a:lnTo>
                                  <a:lnTo>
                                    <a:pt x="160" y="42"/>
                                  </a:lnTo>
                                  <a:lnTo>
                                    <a:pt x="162" y="44"/>
                                  </a:lnTo>
                                  <a:lnTo>
                                    <a:pt x="164" y="46"/>
                                  </a:lnTo>
                                  <a:lnTo>
                                    <a:pt x="168" y="46"/>
                                  </a:lnTo>
                                  <a:lnTo>
                                    <a:pt x="168" y="46"/>
                                  </a:lnTo>
                                  <a:lnTo>
                                    <a:pt x="172" y="46"/>
                                  </a:lnTo>
                                  <a:lnTo>
                                    <a:pt x="172" y="48"/>
                                  </a:lnTo>
                                  <a:lnTo>
                                    <a:pt x="172" y="50"/>
                                  </a:lnTo>
                                  <a:lnTo>
                                    <a:pt x="176" y="50"/>
                                  </a:lnTo>
                                  <a:lnTo>
                                    <a:pt x="176" y="50"/>
                                  </a:lnTo>
                                  <a:lnTo>
                                    <a:pt x="180" y="50"/>
                                  </a:lnTo>
                                  <a:lnTo>
                                    <a:pt x="184" y="52"/>
                                  </a:lnTo>
                                  <a:lnTo>
                                    <a:pt x="186" y="54"/>
                                  </a:lnTo>
                                  <a:lnTo>
                                    <a:pt x="182" y="54"/>
                                  </a:lnTo>
                                  <a:lnTo>
                                    <a:pt x="182" y="54"/>
                                  </a:lnTo>
                                  <a:lnTo>
                                    <a:pt x="178" y="56"/>
                                  </a:lnTo>
                                  <a:lnTo>
                                    <a:pt x="174" y="58"/>
                                  </a:lnTo>
                                  <a:lnTo>
                                    <a:pt x="174" y="60"/>
                                  </a:lnTo>
                                  <a:lnTo>
                                    <a:pt x="178" y="62"/>
                                  </a:lnTo>
                                  <a:lnTo>
                                    <a:pt x="178" y="62"/>
                                  </a:lnTo>
                                  <a:lnTo>
                                    <a:pt x="184" y="62"/>
                                  </a:lnTo>
                                  <a:lnTo>
                                    <a:pt x="184" y="60"/>
                                  </a:lnTo>
                                  <a:lnTo>
                                    <a:pt x="186" y="58"/>
                                  </a:lnTo>
                                  <a:lnTo>
                                    <a:pt x="188" y="56"/>
                                  </a:lnTo>
                                  <a:lnTo>
                                    <a:pt x="188" y="56"/>
                                  </a:lnTo>
                                  <a:lnTo>
                                    <a:pt x="196" y="58"/>
                                  </a:lnTo>
                                  <a:lnTo>
                                    <a:pt x="198" y="58"/>
                                  </a:lnTo>
                                  <a:lnTo>
                                    <a:pt x="200" y="60"/>
                                  </a:lnTo>
                                  <a:lnTo>
                                    <a:pt x="200" y="60"/>
                                  </a:lnTo>
                                  <a:lnTo>
                                    <a:pt x="204" y="60"/>
                                  </a:lnTo>
                                  <a:lnTo>
                                    <a:pt x="206" y="62"/>
                                  </a:lnTo>
                                  <a:lnTo>
                                    <a:pt x="210" y="62"/>
                                  </a:lnTo>
                                  <a:lnTo>
                                    <a:pt x="210" y="64"/>
                                  </a:lnTo>
                                  <a:lnTo>
                                    <a:pt x="210" y="64"/>
                                  </a:lnTo>
                                  <a:lnTo>
                                    <a:pt x="212" y="68"/>
                                  </a:lnTo>
                                  <a:lnTo>
                                    <a:pt x="214" y="72"/>
                                  </a:lnTo>
                                  <a:lnTo>
                                    <a:pt x="214" y="74"/>
                                  </a:lnTo>
                                  <a:lnTo>
                                    <a:pt x="212" y="76"/>
                                  </a:lnTo>
                                  <a:lnTo>
                                    <a:pt x="212" y="76"/>
                                  </a:lnTo>
                                  <a:lnTo>
                                    <a:pt x="202" y="78"/>
                                  </a:lnTo>
                                  <a:lnTo>
                                    <a:pt x="194" y="82"/>
                                  </a:lnTo>
                                  <a:lnTo>
                                    <a:pt x="194" y="82"/>
                                  </a:lnTo>
                                  <a:lnTo>
                                    <a:pt x="182" y="86"/>
                                  </a:lnTo>
                                  <a:lnTo>
                                    <a:pt x="178" y="88"/>
                                  </a:lnTo>
                                  <a:lnTo>
                                    <a:pt x="182" y="88"/>
                                  </a:lnTo>
                                  <a:lnTo>
                                    <a:pt x="182" y="88"/>
                                  </a:lnTo>
                                  <a:lnTo>
                                    <a:pt x="192" y="92"/>
                                  </a:lnTo>
                                  <a:lnTo>
                                    <a:pt x="198" y="94"/>
                                  </a:lnTo>
                                  <a:lnTo>
                                    <a:pt x="202" y="92"/>
                                  </a:lnTo>
                                  <a:lnTo>
                                    <a:pt x="202" y="92"/>
                                  </a:lnTo>
                                  <a:lnTo>
                                    <a:pt x="212" y="86"/>
                                  </a:lnTo>
                                  <a:lnTo>
                                    <a:pt x="214" y="84"/>
                                  </a:lnTo>
                                  <a:lnTo>
                                    <a:pt x="216" y="86"/>
                                  </a:lnTo>
                                  <a:lnTo>
                                    <a:pt x="216" y="86"/>
                                  </a:lnTo>
                                  <a:lnTo>
                                    <a:pt x="216" y="90"/>
                                  </a:lnTo>
                                  <a:lnTo>
                                    <a:pt x="216" y="92"/>
                                  </a:lnTo>
                                  <a:lnTo>
                                    <a:pt x="220" y="94"/>
                                  </a:lnTo>
                                  <a:lnTo>
                                    <a:pt x="226" y="94"/>
                                  </a:lnTo>
                                  <a:lnTo>
                                    <a:pt x="226" y="94"/>
                                  </a:lnTo>
                                  <a:lnTo>
                                    <a:pt x="230" y="94"/>
                                  </a:lnTo>
                                  <a:lnTo>
                                    <a:pt x="230" y="96"/>
                                  </a:lnTo>
                                  <a:lnTo>
                                    <a:pt x="220" y="98"/>
                                  </a:lnTo>
                                  <a:lnTo>
                                    <a:pt x="220" y="98"/>
                                  </a:lnTo>
                                  <a:lnTo>
                                    <a:pt x="214" y="100"/>
                                  </a:lnTo>
                                  <a:lnTo>
                                    <a:pt x="212" y="100"/>
                                  </a:lnTo>
                                  <a:lnTo>
                                    <a:pt x="208" y="100"/>
                                  </a:lnTo>
                                  <a:lnTo>
                                    <a:pt x="202" y="104"/>
                                  </a:lnTo>
                                  <a:lnTo>
                                    <a:pt x="202" y="104"/>
                                  </a:lnTo>
                                  <a:lnTo>
                                    <a:pt x="194" y="110"/>
                                  </a:lnTo>
                                  <a:lnTo>
                                    <a:pt x="192" y="110"/>
                                  </a:lnTo>
                                  <a:lnTo>
                                    <a:pt x="192" y="108"/>
                                  </a:lnTo>
                                  <a:lnTo>
                                    <a:pt x="192" y="108"/>
                                  </a:lnTo>
                                  <a:lnTo>
                                    <a:pt x="192" y="104"/>
                                  </a:lnTo>
                                  <a:lnTo>
                                    <a:pt x="196" y="100"/>
                                  </a:lnTo>
                                  <a:lnTo>
                                    <a:pt x="196" y="100"/>
                                  </a:lnTo>
                                  <a:lnTo>
                                    <a:pt x="198" y="98"/>
                                  </a:lnTo>
                                  <a:lnTo>
                                    <a:pt x="198" y="96"/>
                                  </a:lnTo>
                                  <a:lnTo>
                                    <a:pt x="192" y="94"/>
                                  </a:lnTo>
                                  <a:lnTo>
                                    <a:pt x="192" y="94"/>
                                  </a:lnTo>
                                  <a:lnTo>
                                    <a:pt x="182" y="92"/>
                                  </a:lnTo>
                                  <a:lnTo>
                                    <a:pt x="176" y="90"/>
                                  </a:lnTo>
                                  <a:lnTo>
                                    <a:pt x="172" y="90"/>
                                  </a:lnTo>
                                  <a:lnTo>
                                    <a:pt x="172" y="90"/>
                                  </a:lnTo>
                                  <a:lnTo>
                                    <a:pt x="164" y="92"/>
                                  </a:lnTo>
                                  <a:lnTo>
                                    <a:pt x="160" y="94"/>
                                  </a:lnTo>
                                  <a:lnTo>
                                    <a:pt x="158" y="96"/>
                                  </a:lnTo>
                                  <a:lnTo>
                                    <a:pt x="158" y="96"/>
                                  </a:lnTo>
                                  <a:lnTo>
                                    <a:pt x="158" y="98"/>
                                  </a:lnTo>
                                  <a:lnTo>
                                    <a:pt x="160" y="98"/>
                                  </a:lnTo>
                                  <a:lnTo>
                                    <a:pt x="164" y="100"/>
                                  </a:lnTo>
                                  <a:lnTo>
                                    <a:pt x="170" y="104"/>
                                  </a:lnTo>
                                  <a:lnTo>
                                    <a:pt x="172" y="106"/>
                                  </a:lnTo>
                                  <a:lnTo>
                                    <a:pt x="172" y="106"/>
                                  </a:lnTo>
                                  <a:lnTo>
                                    <a:pt x="158" y="102"/>
                                  </a:lnTo>
                                  <a:lnTo>
                                    <a:pt x="154" y="102"/>
                                  </a:lnTo>
                                  <a:lnTo>
                                    <a:pt x="154" y="104"/>
                                  </a:lnTo>
                                  <a:lnTo>
                                    <a:pt x="154" y="104"/>
                                  </a:lnTo>
                                  <a:lnTo>
                                    <a:pt x="154" y="104"/>
                                  </a:lnTo>
                                  <a:lnTo>
                                    <a:pt x="154" y="106"/>
                                  </a:lnTo>
                                  <a:lnTo>
                                    <a:pt x="152" y="106"/>
                                  </a:lnTo>
                                  <a:lnTo>
                                    <a:pt x="146" y="106"/>
                                  </a:lnTo>
                                  <a:lnTo>
                                    <a:pt x="140" y="106"/>
                                  </a:lnTo>
                                  <a:lnTo>
                                    <a:pt x="140" y="106"/>
                                  </a:lnTo>
                                  <a:lnTo>
                                    <a:pt x="140" y="108"/>
                                  </a:lnTo>
                                  <a:lnTo>
                                    <a:pt x="140" y="108"/>
                                  </a:lnTo>
                                  <a:lnTo>
                                    <a:pt x="142" y="108"/>
                                  </a:lnTo>
                                  <a:lnTo>
                                    <a:pt x="140" y="108"/>
                                  </a:lnTo>
                                  <a:lnTo>
                                    <a:pt x="132" y="108"/>
                                  </a:lnTo>
                                  <a:lnTo>
                                    <a:pt x="124" y="108"/>
                                  </a:lnTo>
                                  <a:lnTo>
                                    <a:pt x="122" y="108"/>
                                  </a:lnTo>
                                  <a:lnTo>
                                    <a:pt x="124" y="108"/>
                                  </a:lnTo>
                                  <a:lnTo>
                                    <a:pt x="124" y="108"/>
                                  </a:lnTo>
                                  <a:lnTo>
                                    <a:pt x="124" y="110"/>
                                  </a:lnTo>
                                  <a:lnTo>
                                    <a:pt x="122" y="110"/>
                                  </a:lnTo>
                                  <a:lnTo>
                                    <a:pt x="110" y="108"/>
                                  </a:lnTo>
                                  <a:lnTo>
                                    <a:pt x="98" y="106"/>
                                  </a:lnTo>
                                  <a:lnTo>
                                    <a:pt x="96" y="108"/>
                                  </a:lnTo>
                                  <a:lnTo>
                                    <a:pt x="98" y="110"/>
                                  </a:lnTo>
                                  <a:lnTo>
                                    <a:pt x="98" y="110"/>
                                  </a:lnTo>
                                  <a:lnTo>
                                    <a:pt x="102" y="112"/>
                                  </a:lnTo>
                                  <a:lnTo>
                                    <a:pt x="100" y="112"/>
                                  </a:lnTo>
                                  <a:lnTo>
                                    <a:pt x="92" y="112"/>
                                  </a:lnTo>
                                  <a:lnTo>
                                    <a:pt x="82" y="112"/>
                                  </a:lnTo>
                                  <a:lnTo>
                                    <a:pt x="80" y="112"/>
                                  </a:lnTo>
                                  <a:lnTo>
                                    <a:pt x="84" y="114"/>
                                  </a:lnTo>
                                  <a:lnTo>
                                    <a:pt x="84" y="114"/>
                                  </a:lnTo>
                                  <a:lnTo>
                                    <a:pt x="88" y="116"/>
                                  </a:lnTo>
                                  <a:lnTo>
                                    <a:pt x="86" y="116"/>
                                  </a:lnTo>
                                  <a:lnTo>
                                    <a:pt x="82" y="118"/>
                                  </a:lnTo>
                                  <a:lnTo>
                                    <a:pt x="80" y="120"/>
                                  </a:lnTo>
                                  <a:lnTo>
                                    <a:pt x="78" y="124"/>
                                  </a:lnTo>
                                  <a:lnTo>
                                    <a:pt x="78" y="124"/>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9" name="Canada"/>
                            <p:cNvSpPr>
                              <a:spLocks/>
                            </p:cNvSpPr>
                            <p:nvPr/>
                          </p:nvSpPr>
                          <p:spPr bwMode="auto">
                            <a:xfrm>
                              <a:off x="3288040" y="1461418"/>
                              <a:ext cx="364517" cy="88010"/>
                            </a:xfrm>
                            <a:custGeom>
                              <a:avLst/>
                              <a:gdLst/>
                              <a:ahLst/>
                              <a:cxnLst>
                                <a:cxn ang="0">
                                  <a:pos x="2" y="46"/>
                                </a:cxn>
                                <a:cxn ang="0">
                                  <a:pos x="24" y="48"/>
                                </a:cxn>
                                <a:cxn ang="0">
                                  <a:pos x="24" y="54"/>
                                </a:cxn>
                                <a:cxn ang="0">
                                  <a:pos x="32" y="58"/>
                                </a:cxn>
                                <a:cxn ang="0">
                                  <a:pos x="66" y="56"/>
                                </a:cxn>
                                <a:cxn ang="0">
                                  <a:pos x="84" y="56"/>
                                </a:cxn>
                                <a:cxn ang="0">
                                  <a:pos x="102" y="52"/>
                                </a:cxn>
                                <a:cxn ang="0">
                                  <a:pos x="112" y="50"/>
                                </a:cxn>
                                <a:cxn ang="0">
                                  <a:pos x="136" y="46"/>
                                </a:cxn>
                                <a:cxn ang="0">
                                  <a:pos x="140" y="38"/>
                                </a:cxn>
                                <a:cxn ang="0">
                                  <a:pos x="146" y="46"/>
                                </a:cxn>
                                <a:cxn ang="0">
                                  <a:pos x="160" y="48"/>
                                </a:cxn>
                                <a:cxn ang="0">
                                  <a:pos x="180" y="52"/>
                                </a:cxn>
                                <a:cxn ang="0">
                                  <a:pos x="196" y="58"/>
                                </a:cxn>
                                <a:cxn ang="0">
                                  <a:pos x="214" y="56"/>
                                </a:cxn>
                                <a:cxn ang="0">
                                  <a:pos x="218" y="52"/>
                                </a:cxn>
                                <a:cxn ang="0">
                                  <a:pos x="196" y="46"/>
                                </a:cxn>
                                <a:cxn ang="0">
                                  <a:pos x="214" y="44"/>
                                </a:cxn>
                                <a:cxn ang="0">
                                  <a:pos x="214" y="38"/>
                                </a:cxn>
                                <a:cxn ang="0">
                                  <a:pos x="232" y="40"/>
                                </a:cxn>
                                <a:cxn ang="0">
                                  <a:pos x="236" y="32"/>
                                </a:cxn>
                                <a:cxn ang="0">
                                  <a:pos x="218" y="24"/>
                                </a:cxn>
                                <a:cxn ang="0">
                                  <a:pos x="218" y="14"/>
                                </a:cxn>
                                <a:cxn ang="0">
                                  <a:pos x="216" y="10"/>
                                </a:cxn>
                                <a:cxn ang="0">
                                  <a:pos x="202" y="0"/>
                                </a:cxn>
                                <a:cxn ang="0">
                                  <a:pos x="196" y="0"/>
                                </a:cxn>
                                <a:cxn ang="0">
                                  <a:pos x="192" y="6"/>
                                </a:cxn>
                                <a:cxn ang="0">
                                  <a:pos x="190" y="10"/>
                                </a:cxn>
                                <a:cxn ang="0">
                                  <a:pos x="188" y="14"/>
                                </a:cxn>
                                <a:cxn ang="0">
                                  <a:pos x="186" y="18"/>
                                </a:cxn>
                                <a:cxn ang="0">
                                  <a:pos x="174" y="18"/>
                                </a:cxn>
                                <a:cxn ang="0">
                                  <a:pos x="172" y="18"/>
                                </a:cxn>
                                <a:cxn ang="0">
                                  <a:pos x="184" y="6"/>
                                </a:cxn>
                                <a:cxn ang="0">
                                  <a:pos x="164" y="2"/>
                                </a:cxn>
                                <a:cxn ang="0">
                                  <a:pos x="168" y="6"/>
                                </a:cxn>
                                <a:cxn ang="0">
                                  <a:pos x="158" y="8"/>
                                </a:cxn>
                                <a:cxn ang="0">
                                  <a:pos x="154" y="8"/>
                                </a:cxn>
                                <a:cxn ang="0">
                                  <a:pos x="148" y="10"/>
                                </a:cxn>
                                <a:cxn ang="0">
                                  <a:pos x="140" y="8"/>
                                </a:cxn>
                                <a:cxn ang="0">
                                  <a:pos x="140" y="2"/>
                                </a:cxn>
                                <a:cxn ang="0">
                                  <a:pos x="122" y="2"/>
                                </a:cxn>
                                <a:cxn ang="0">
                                  <a:pos x="114" y="4"/>
                                </a:cxn>
                                <a:cxn ang="0">
                                  <a:pos x="102" y="0"/>
                                </a:cxn>
                                <a:cxn ang="0">
                                  <a:pos x="58" y="6"/>
                                </a:cxn>
                                <a:cxn ang="0">
                                  <a:pos x="56" y="12"/>
                                </a:cxn>
                                <a:cxn ang="0">
                                  <a:pos x="26" y="18"/>
                                </a:cxn>
                                <a:cxn ang="0">
                                  <a:pos x="34" y="20"/>
                                </a:cxn>
                                <a:cxn ang="0">
                                  <a:pos x="50" y="20"/>
                                </a:cxn>
                                <a:cxn ang="0">
                                  <a:pos x="20" y="24"/>
                                </a:cxn>
                                <a:cxn ang="0">
                                  <a:pos x="20" y="30"/>
                                </a:cxn>
                                <a:cxn ang="0">
                                  <a:pos x="30" y="34"/>
                                </a:cxn>
                                <a:cxn ang="0">
                                  <a:pos x="56" y="32"/>
                                </a:cxn>
                                <a:cxn ang="0">
                                  <a:pos x="62" y="36"/>
                                </a:cxn>
                                <a:cxn ang="0">
                                  <a:pos x="42" y="38"/>
                                </a:cxn>
                                <a:cxn ang="0">
                                  <a:pos x="4" y="42"/>
                                </a:cxn>
                              </a:cxnLst>
                              <a:rect l="0" t="0" r="r" b="b"/>
                              <a:pathLst>
                                <a:path w="240" h="58">
                                  <a:moveTo>
                                    <a:pt x="4" y="42"/>
                                  </a:moveTo>
                                  <a:lnTo>
                                    <a:pt x="4" y="42"/>
                                  </a:lnTo>
                                  <a:lnTo>
                                    <a:pt x="0" y="44"/>
                                  </a:lnTo>
                                  <a:lnTo>
                                    <a:pt x="2" y="46"/>
                                  </a:lnTo>
                                  <a:lnTo>
                                    <a:pt x="14" y="46"/>
                                  </a:lnTo>
                                  <a:lnTo>
                                    <a:pt x="14" y="46"/>
                                  </a:lnTo>
                                  <a:lnTo>
                                    <a:pt x="20" y="48"/>
                                  </a:lnTo>
                                  <a:lnTo>
                                    <a:pt x="24" y="48"/>
                                  </a:lnTo>
                                  <a:lnTo>
                                    <a:pt x="26" y="50"/>
                                  </a:lnTo>
                                  <a:lnTo>
                                    <a:pt x="24" y="52"/>
                                  </a:lnTo>
                                  <a:lnTo>
                                    <a:pt x="24" y="52"/>
                                  </a:lnTo>
                                  <a:lnTo>
                                    <a:pt x="24" y="54"/>
                                  </a:lnTo>
                                  <a:lnTo>
                                    <a:pt x="24" y="54"/>
                                  </a:lnTo>
                                  <a:lnTo>
                                    <a:pt x="26" y="56"/>
                                  </a:lnTo>
                                  <a:lnTo>
                                    <a:pt x="32" y="58"/>
                                  </a:lnTo>
                                  <a:lnTo>
                                    <a:pt x="32" y="58"/>
                                  </a:lnTo>
                                  <a:lnTo>
                                    <a:pt x="44" y="58"/>
                                  </a:lnTo>
                                  <a:lnTo>
                                    <a:pt x="56" y="56"/>
                                  </a:lnTo>
                                  <a:lnTo>
                                    <a:pt x="56" y="56"/>
                                  </a:lnTo>
                                  <a:lnTo>
                                    <a:pt x="66" y="56"/>
                                  </a:lnTo>
                                  <a:lnTo>
                                    <a:pt x="74" y="56"/>
                                  </a:lnTo>
                                  <a:lnTo>
                                    <a:pt x="74" y="56"/>
                                  </a:lnTo>
                                  <a:lnTo>
                                    <a:pt x="80" y="56"/>
                                  </a:lnTo>
                                  <a:lnTo>
                                    <a:pt x="84" y="56"/>
                                  </a:lnTo>
                                  <a:lnTo>
                                    <a:pt x="90" y="56"/>
                                  </a:lnTo>
                                  <a:lnTo>
                                    <a:pt x="96" y="54"/>
                                  </a:lnTo>
                                  <a:lnTo>
                                    <a:pt x="96" y="54"/>
                                  </a:lnTo>
                                  <a:lnTo>
                                    <a:pt x="102" y="52"/>
                                  </a:lnTo>
                                  <a:lnTo>
                                    <a:pt x="104" y="52"/>
                                  </a:lnTo>
                                  <a:lnTo>
                                    <a:pt x="108" y="52"/>
                                  </a:lnTo>
                                  <a:lnTo>
                                    <a:pt x="112" y="50"/>
                                  </a:lnTo>
                                  <a:lnTo>
                                    <a:pt x="112" y="50"/>
                                  </a:lnTo>
                                  <a:lnTo>
                                    <a:pt x="116" y="50"/>
                                  </a:lnTo>
                                  <a:lnTo>
                                    <a:pt x="120" y="50"/>
                                  </a:lnTo>
                                  <a:lnTo>
                                    <a:pt x="126" y="48"/>
                                  </a:lnTo>
                                  <a:lnTo>
                                    <a:pt x="136" y="46"/>
                                  </a:lnTo>
                                  <a:lnTo>
                                    <a:pt x="136" y="46"/>
                                  </a:lnTo>
                                  <a:lnTo>
                                    <a:pt x="138" y="44"/>
                                  </a:lnTo>
                                  <a:lnTo>
                                    <a:pt x="140" y="42"/>
                                  </a:lnTo>
                                  <a:lnTo>
                                    <a:pt x="140" y="38"/>
                                  </a:lnTo>
                                  <a:lnTo>
                                    <a:pt x="140" y="38"/>
                                  </a:lnTo>
                                  <a:lnTo>
                                    <a:pt x="140" y="42"/>
                                  </a:lnTo>
                                  <a:lnTo>
                                    <a:pt x="142" y="44"/>
                                  </a:lnTo>
                                  <a:lnTo>
                                    <a:pt x="146" y="46"/>
                                  </a:lnTo>
                                  <a:lnTo>
                                    <a:pt x="146" y="46"/>
                                  </a:lnTo>
                                  <a:lnTo>
                                    <a:pt x="156" y="46"/>
                                  </a:lnTo>
                                  <a:lnTo>
                                    <a:pt x="158" y="46"/>
                                  </a:lnTo>
                                  <a:lnTo>
                                    <a:pt x="160" y="48"/>
                                  </a:lnTo>
                                  <a:lnTo>
                                    <a:pt x="160" y="48"/>
                                  </a:lnTo>
                                  <a:lnTo>
                                    <a:pt x="160" y="50"/>
                                  </a:lnTo>
                                  <a:lnTo>
                                    <a:pt x="164" y="52"/>
                                  </a:lnTo>
                                  <a:lnTo>
                                    <a:pt x="180" y="52"/>
                                  </a:lnTo>
                                  <a:lnTo>
                                    <a:pt x="180" y="52"/>
                                  </a:lnTo>
                                  <a:lnTo>
                                    <a:pt x="188" y="54"/>
                                  </a:lnTo>
                                  <a:lnTo>
                                    <a:pt x="192" y="56"/>
                                  </a:lnTo>
                                  <a:lnTo>
                                    <a:pt x="196" y="58"/>
                                  </a:lnTo>
                                  <a:lnTo>
                                    <a:pt x="202" y="58"/>
                                  </a:lnTo>
                                  <a:lnTo>
                                    <a:pt x="202" y="58"/>
                                  </a:lnTo>
                                  <a:lnTo>
                                    <a:pt x="210" y="58"/>
                                  </a:lnTo>
                                  <a:lnTo>
                                    <a:pt x="214" y="56"/>
                                  </a:lnTo>
                                  <a:lnTo>
                                    <a:pt x="220" y="54"/>
                                  </a:lnTo>
                                  <a:lnTo>
                                    <a:pt x="220" y="54"/>
                                  </a:lnTo>
                                  <a:lnTo>
                                    <a:pt x="220" y="52"/>
                                  </a:lnTo>
                                  <a:lnTo>
                                    <a:pt x="218" y="52"/>
                                  </a:lnTo>
                                  <a:lnTo>
                                    <a:pt x="212" y="50"/>
                                  </a:lnTo>
                                  <a:lnTo>
                                    <a:pt x="212" y="50"/>
                                  </a:lnTo>
                                  <a:lnTo>
                                    <a:pt x="198" y="48"/>
                                  </a:lnTo>
                                  <a:lnTo>
                                    <a:pt x="196" y="46"/>
                                  </a:lnTo>
                                  <a:lnTo>
                                    <a:pt x="200" y="46"/>
                                  </a:lnTo>
                                  <a:lnTo>
                                    <a:pt x="200" y="46"/>
                                  </a:lnTo>
                                  <a:lnTo>
                                    <a:pt x="212" y="46"/>
                                  </a:lnTo>
                                  <a:lnTo>
                                    <a:pt x="214" y="44"/>
                                  </a:lnTo>
                                  <a:lnTo>
                                    <a:pt x="212" y="40"/>
                                  </a:lnTo>
                                  <a:lnTo>
                                    <a:pt x="212" y="40"/>
                                  </a:lnTo>
                                  <a:lnTo>
                                    <a:pt x="212" y="38"/>
                                  </a:lnTo>
                                  <a:lnTo>
                                    <a:pt x="214" y="38"/>
                                  </a:lnTo>
                                  <a:lnTo>
                                    <a:pt x="218" y="40"/>
                                  </a:lnTo>
                                  <a:lnTo>
                                    <a:pt x="224" y="42"/>
                                  </a:lnTo>
                                  <a:lnTo>
                                    <a:pt x="224" y="42"/>
                                  </a:lnTo>
                                  <a:lnTo>
                                    <a:pt x="232" y="40"/>
                                  </a:lnTo>
                                  <a:lnTo>
                                    <a:pt x="238" y="38"/>
                                  </a:lnTo>
                                  <a:lnTo>
                                    <a:pt x="240" y="36"/>
                                  </a:lnTo>
                                  <a:lnTo>
                                    <a:pt x="236" y="32"/>
                                  </a:lnTo>
                                  <a:lnTo>
                                    <a:pt x="236" y="32"/>
                                  </a:lnTo>
                                  <a:lnTo>
                                    <a:pt x="228" y="30"/>
                                  </a:lnTo>
                                  <a:lnTo>
                                    <a:pt x="224" y="28"/>
                                  </a:lnTo>
                                  <a:lnTo>
                                    <a:pt x="218" y="24"/>
                                  </a:lnTo>
                                  <a:lnTo>
                                    <a:pt x="218" y="24"/>
                                  </a:lnTo>
                                  <a:lnTo>
                                    <a:pt x="216" y="22"/>
                                  </a:lnTo>
                                  <a:lnTo>
                                    <a:pt x="216" y="22"/>
                                  </a:lnTo>
                                  <a:lnTo>
                                    <a:pt x="216" y="18"/>
                                  </a:lnTo>
                                  <a:lnTo>
                                    <a:pt x="218" y="14"/>
                                  </a:lnTo>
                                  <a:lnTo>
                                    <a:pt x="218" y="14"/>
                                  </a:lnTo>
                                  <a:lnTo>
                                    <a:pt x="218" y="14"/>
                                  </a:lnTo>
                                  <a:lnTo>
                                    <a:pt x="216" y="12"/>
                                  </a:lnTo>
                                  <a:lnTo>
                                    <a:pt x="216" y="10"/>
                                  </a:lnTo>
                                  <a:lnTo>
                                    <a:pt x="216" y="6"/>
                                  </a:lnTo>
                                  <a:lnTo>
                                    <a:pt x="212" y="2"/>
                                  </a:lnTo>
                                  <a:lnTo>
                                    <a:pt x="212" y="2"/>
                                  </a:lnTo>
                                  <a:lnTo>
                                    <a:pt x="202" y="0"/>
                                  </a:lnTo>
                                  <a:lnTo>
                                    <a:pt x="198" y="0"/>
                                  </a:lnTo>
                                  <a:lnTo>
                                    <a:pt x="196" y="0"/>
                                  </a:lnTo>
                                  <a:lnTo>
                                    <a:pt x="196" y="0"/>
                                  </a:lnTo>
                                  <a:lnTo>
                                    <a:pt x="196" y="0"/>
                                  </a:lnTo>
                                  <a:lnTo>
                                    <a:pt x="196" y="2"/>
                                  </a:lnTo>
                                  <a:lnTo>
                                    <a:pt x="194" y="4"/>
                                  </a:lnTo>
                                  <a:lnTo>
                                    <a:pt x="192" y="4"/>
                                  </a:lnTo>
                                  <a:lnTo>
                                    <a:pt x="192" y="6"/>
                                  </a:lnTo>
                                  <a:lnTo>
                                    <a:pt x="192" y="6"/>
                                  </a:lnTo>
                                  <a:lnTo>
                                    <a:pt x="192" y="8"/>
                                  </a:lnTo>
                                  <a:lnTo>
                                    <a:pt x="192" y="8"/>
                                  </a:lnTo>
                                  <a:lnTo>
                                    <a:pt x="190" y="10"/>
                                  </a:lnTo>
                                  <a:lnTo>
                                    <a:pt x="190" y="12"/>
                                  </a:lnTo>
                                  <a:lnTo>
                                    <a:pt x="190" y="12"/>
                                  </a:lnTo>
                                  <a:lnTo>
                                    <a:pt x="190" y="14"/>
                                  </a:lnTo>
                                  <a:lnTo>
                                    <a:pt x="188" y="14"/>
                                  </a:lnTo>
                                  <a:lnTo>
                                    <a:pt x="186" y="14"/>
                                  </a:lnTo>
                                  <a:lnTo>
                                    <a:pt x="186" y="16"/>
                                  </a:lnTo>
                                  <a:lnTo>
                                    <a:pt x="186" y="16"/>
                                  </a:lnTo>
                                  <a:lnTo>
                                    <a:pt x="186" y="18"/>
                                  </a:lnTo>
                                  <a:lnTo>
                                    <a:pt x="184" y="18"/>
                                  </a:lnTo>
                                  <a:lnTo>
                                    <a:pt x="180" y="18"/>
                                  </a:lnTo>
                                  <a:lnTo>
                                    <a:pt x="176" y="18"/>
                                  </a:lnTo>
                                  <a:lnTo>
                                    <a:pt x="174" y="18"/>
                                  </a:lnTo>
                                  <a:lnTo>
                                    <a:pt x="174" y="18"/>
                                  </a:lnTo>
                                  <a:lnTo>
                                    <a:pt x="174" y="18"/>
                                  </a:lnTo>
                                  <a:lnTo>
                                    <a:pt x="174" y="20"/>
                                  </a:lnTo>
                                  <a:lnTo>
                                    <a:pt x="172" y="18"/>
                                  </a:lnTo>
                                  <a:lnTo>
                                    <a:pt x="174" y="14"/>
                                  </a:lnTo>
                                  <a:lnTo>
                                    <a:pt x="178" y="10"/>
                                  </a:lnTo>
                                  <a:lnTo>
                                    <a:pt x="178" y="10"/>
                                  </a:lnTo>
                                  <a:lnTo>
                                    <a:pt x="184" y="6"/>
                                  </a:lnTo>
                                  <a:lnTo>
                                    <a:pt x="184" y="4"/>
                                  </a:lnTo>
                                  <a:lnTo>
                                    <a:pt x="176" y="2"/>
                                  </a:lnTo>
                                  <a:lnTo>
                                    <a:pt x="176" y="2"/>
                                  </a:lnTo>
                                  <a:lnTo>
                                    <a:pt x="164" y="2"/>
                                  </a:lnTo>
                                  <a:lnTo>
                                    <a:pt x="162" y="4"/>
                                  </a:lnTo>
                                  <a:lnTo>
                                    <a:pt x="166" y="4"/>
                                  </a:lnTo>
                                  <a:lnTo>
                                    <a:pt x="166" y="4"/>
                                  </a:lnTo>
                                  <a:lnTo>
                                    <a:pt x="168" y="6"/>
                                  </a:lnTo>
                                  <a:lnTo>
                                    <a:pt x="164" y="6"/>
                                  </a:lnTo>
                                  <a:lnTo>
                                    <a:pt x="158" y="6"/>
                                  </a:lnTo>
                                  <a:lnTo>
                                    <a:pt x="158" y="6"/>
                                  </a:lnTo>
                                  <a:lnTo>
                                    <a:pt x="158" y="8"/>
                                  </a:lnTo>
                                  <a:lnTo>
                                    <a:pt x="158" y="8"/>
                                  </a:lnTo>
                                  <a:lnTo>
                                    <a:pt x="160" y="10"/>
                                  </a:lnTo>
                                  <a:lnTo>
                                    <a:pt x="158" y="10"/>
                                  </a:lnTo>
                                  <a:lnTo>
                                    <a:pt x="154" y="8"/>
                                  </a:lnTo>
                                  <a:lnTo>
                                    <a:pt x="150" y="10"/>
                                  </a:lnTo>
                                  <a:lnTo>
                                    <a:pt x="150" y="10"/>
                                  </a:lnTo>
                                  <a:lnTo>
                                    <a:pt x="150" y="10"/>
                                  </a:lnTo>
                                  <a:lnTo>
                                    <a:pt x="148" y="10"/>
                                  </a:lnTo>
                                  <a:lnTo>
                                    <a:pt x="146" y="8"/>
                                  </a:lnTo>
                                  <a:lnTo>
                                    <a:pt x="142" y="8"/>
                                  </a:lnTo>
                                  <a:lnTo>
                                    <a:pt x="142" y="8"/>
                                  </a:lnTo>
                                  <a:lnTo>
                                    <a:pt x="140" y="8"/>
                                  </a:lnTo>
                                  <a:lnTo>
                                    <a:pt x="142" y="6"/>
                                  </a:lnTo>
                                  <a:lnTo>
                                    <a:pt x="144" y="4"/>
                                  </a:lnTo>
                                  <a:lnTo>
                                    <a:pt x="144" y="2"/>
                                  </a:lnTo>
                                  <a:lnTo>
                                    <a:pt x="140" y="2"/>
                                  </a:lnTo>
                                  <a:lnTo>
                                    <a:pt x="140" y="2"/>
                                  </a:lnTo>
                                  <a:lnTo>
                                    <a:pt x="130" y="2"/>
                                  </a:lnTo>
                                  <a:lnTo>
                                    <a:pt x="122" y="2"/>
                                  </a:lnTo>
                                  <a:lnTo>
                                    <a:pt x="122" y="2"/>
                                  </a:lnTo>
                                  <a:lnTo>
                                    <a:pt x="114" y="4"/>
                                  </a:lnTo>
                                  <a:lnTo>
                                    <a:pt x="112" y="4"/>
                                  </a:lnTo>
                                  <a:lnTo>
                                    <a:pt x="114" y="4"/>
                                  </a:lnTo>
                                  <a:lnTo>
                                    <a:pt x="114" y="4"/>
                                  </a:lnTo>
                                  <a:lnTo>
                                    <a:pt x="116" y="2"/>
                                  </a:lnTo>
                                  <a:lnTo>
                                    <a:pt x="114" y="2"/>
                                  </a:lnTo>
                                  <a:lnTo>
                                    <a:pt x="110" y="0"/>
                                  </a:lnTo>
                                  <a:lnTo>
                                    <a:pt x="102" y="0"/>
                                  </a:lnTo>
                                  <a:lnTo>
                                    <a:pt x="92" y="2"/>
                                  </a:lnTo>
                                  <a:lnTo>
                                    <a:pt x="92" y="2"/>
                                  </a:lnTo>
                                  <a:lnTo>
                                    <a:pt x="74" y="4"/>
                                  </a:lnTo>
                                  <a:lnTo>
                                    <a:pt x="58" y="6"/>
                                  </a:lnTo>
                                  <a:lnTo>
                                    <a:pt x="58" y="6"/>
                                  </a:lnTo>
                                  <a:lnTo>
                                    <a:pt x="56" y="8"/>
                                  </a:lnTo>
                                  <a:lnTo>
                                    <a:pt x="56" y="10"/>
                                  </a:lnTo>
                                  <a:lnTo>
                                    <a:pt x="56" y="12"/>
                                  </a:lnTo>
                                  <a:lnTo>
                                    <a:pt x="52" y="12"/>
                                  </a:lnTo>
                                  <a:lnTo>
                                    <a:pt x="52" y="12"/>
                                  </a:lnTo>
                                  <a:lnTo>
                                    <a:pt x="32" y="16"/>
                                  </a:lnTo>
                                  <a:lnTo>
                                    <a:pt x="26" y="18"/>
                                  </a:lnTo>
                                  <a:lnTo>
                                    <a:pt x="26" y="18"/>
                                  </a:lnTo>
                                  <a:lnTo>
                                    <a:pt x="26" y="20"/>
                                  </a:lnTo>
                                  <a:lnTo>
                                    <a:pt x="26" y="20"/>
                                  </a:lnTo>
                                  <a:lnTo>
                                    <a:pt x="34" y="20"/>
                                  </a:lnTo>
                                  <a:lnTo>
                                    <a:pt x="44" y="20"/>
                                  </a:lnTo>
                                  <a:lnTo>
                                    <a:pt x="52" y="20"/>
                                  </a:lnTo>
                                  <a:lnTo>
                                    <a:pt x="52" y="20"/>
                                  </a:lnTo>
                                  <a:lnTo>
                                    <a:pt x="50" y="20"/>
                                  </a:lnTo>
                                  <a:lnTo>
                                    <a:pt x="50" y="20"/>
                                  </a:lnTo>
                                  <a:lnTo>
                                    <a:pt x="40" y="22"/>
                                  </a:lnTo>
                                  <a:lnTo>
                                    <a:pt x="28" y="22"/>
                                  </a:lnTo>
                                  <a:lnTo>
                                    <a:pt x="20" y="24"/>
                                  </a:lnTo>
                                  <a:lnTo>
                                    <a:pt x="18" y="24"/>
                                  </a:lnTo>
                                  <a:lnTo>
                                    <a:pt x="18" y="26"/>
                                  </a:lnTo>
                                  <a:lnTo>
                                    <a:pt x="18" y="26"/>
                                  </a:lnTo>
                                  <a:lnTo>
                                    <a:pt x="20" y="30"/>
                                  </a:lnTo>
                                  <a:lnTo>
                                    <a:pt x="22" y="32"/>
                                  </a:lnTo>
                                  <a:lnTo>
                                    <a:pt x="24" y="34"/>
                                  </a:lnTo>
                                  <a:lnTo>
                                    <a:pt x="30" y="34"/>
                                  </a:lnTo>
                                  <a:lnTo>
                                    <a:pt x="30" y="34"/>
                                  </a:lnTo>
                                  <a:lnTo>
                                    <a:pt x="44" y="32"/>
                                  </a:lnTo>
                                  <a:lnTo>
                                    <a:pt x="50" y="30"/>
                                  </a:lnTo>
                                  <a:lnTo>
                                    <a:pt x="56" y="32"/>
                                  </a:lnTo>
                                  <a:lnTo>
                                    <a:pt x="56" y="32"/>
                                  </a:lnTo>
                                  <a:lnTo>
                                    <a:pt x="66" y="36"/>
                                  </a:lnTo>
                                  <a:lnTo>
                                    <a:pt x="66" y="38"/>
                                  </a:lnTo>
                                  <a:lnTo>
                                    <a:pt x="62" y="36"/>
                                  </a:lnTo>
                                  <a:lnTo>
                                    <a:pt x="62" y="36"/>
                                  </a:lnTo>
                                  <a:lnTo>
                                    <a:pt x="56" y="36"/>
                                  </a:lnTo>
                                  <a:lnTo>
                                    <a:pt x="52" y="36"/>
                                  </a:lnTo>
                                  <a:lnTo>
                                    <a:pt x="42" y="38"/>
                                  </a:lnTo>
                                  <a:lnTo>
                                    <a:pt x="42" y="38"/>
                                  </a:lnTo>
                                  <a:lnTo>
                                    <a:pt x="26" y="38"/>
                                  </a:lnTo>
                                  <a:lnTo>
                                    <a:pt x="14" y="38"/>
                                  </a:lnTo>
                                  <a:lnTo>
                                    <a:pt x="4" y="42"/>
                                  </a:lnTo>
                                  <a:lnTo>
                                    <a:pt x="4" y="42"/>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0" name="Canada"/>
                            <p:cNvSpPr>
                              <a:spLocks/>
                            </p:cNvSpPr>
                            <p:nvPr/>
                          </p:nvSpPr>
                          <p:spPr bwMode="auto">
                            <a:xfrm>
                              <a:off x="4147693" y="2119976"/>
                              <a:ext cx="54678" cy="27314"/>
                            </a:xfrm>
                            <a:custGeom>
                              <a:avLst/>
                              <a:gdLst/>
                              <a:ahLst/>
                              <a:cxnLst>
                                <a:cxn ang="0">
                                  <a:pos x="0" y="8"/>
                                </a:cxn>
                                <a:cxn ang="0">
                                  <a:pos x="0" y="8"/>
                                </a:cxn>
                                <a:cxn ang="0">
                                  <a:pos x="0" y="0"/>
                                </a:cxn>
                                <a:cxn ang="0">
                                  <a:pos x="2" y="0"/>
                                </a:cxn>
                                <a:cxn ang="0">
                                  <a:pos x="4" y="2"/>
                                </a:cxn>
                                <a:cxn ang="0">
                                  <a:pos x="4" y="2"/>
                                </a:cxn>
                                <a:cxn ang="0">
                                  <a:pos x="6" y="4"/>
                                </a:cxn>
                                <a:cxn ang="0">
                                  <a:pos x="10" y="4"/>
                                </a:cxn>
                                <a:cxn ang="0">
                                  <a:pos x="12" y="6"/>
                                </a:cxn>
                                <a:cxn ang="0">
                                  <a:pos x="12" y="8"/>
                                </a:cxn>
                                <a:cxn ang="0">
                                  <a:pos x="12" y="8"/>
                                </a:cxn>
                                <a:cxn ang="0">
                                  <a:pos x="12" y="8"/>
                                </a:cxn>
                                <a:cxn ang="0">
                                  <a:pos x="14" y="8"/>
                                </a:cxn>
                                <a:cxn ang="0">
                                  <a:pos x="18" y="8"/>
                                </a:cxn>
                                <a:cxn ang="0">
                                  <a:pos x="18" y="8"/>
                                </a:cxn>
                                <a:cxn ang="0">
                                  <a:pos x="22" y="10"/>
                                </a:cxn>
                                <a:cxn ang="0">
                                  <a:pos x="28" y="10"/>
                                </a:cxn>
                                <a:cxn ang="0">
                                  <a:pos x="28" y="10"/>
                                </a:cxn>
                                <a:cxn ang="0">
                                  <a:pos x="36" y="8"/>
                                </a:cxn>
                                <a:cxn ang="0">
                                  <a:pos x="36" y="8"/>
                                </a:cxn>
                                <a:cxn ang="0">
                                  <a:pos x="36" y="10"/>
                                </a:cxn>
                                <a:cxn ang="0">
                                  <a:pos x="36" y="10"/>
                                </a:cxn>
                                <a:cxn ang="0">
                                  <a:pos x="32" y="12"/>
                                </a:cxn>
                                <a:cxn ang="0">
                                  <a:pos x="30" y="14"/>
                                </a:cxn>
                                <a:cxn ang="0">
                                  <a:pos x="30" y="14"/>
                                </a:cxn>
                                <a:cxn ang="0">
                                  <a:pos x="28" y="14"/>
                                </a:cxn>
                                <a:cxn ang="0">
                                  <a:pos x="30" y="14"/>
                                </a:cxn>
                                <a:cxn ang="0">
                                  <a:pos x="32" y="16"/>
                                </a:cxn>
                                <a:cxn ang="0">
                                  <a:pos x="30" y="18"/>
                                </a:cxn>
                                <a:cxn ang="0">
                                  <a:pos x="30" y="18"/>
                                </a:cxn>
                                <a:cxn ang="0">
                                  <a:pos x="26" y="18"/>
                                </a:cxn>
                                <a:cxn ang="0">
                                  <a:pos x="26" y="18"/>
                                </a:cxn>
                                <a:cxn ang="0">
                                  <a:pos x="24" y="16"/>
                                </a:cxn>
                                <a:cxn ang="0">
                                  <a:pos x="24" y="16"/>
                                </a:cxn>
                                <a:cxn ang="0">
                                  <a:pos x="24" y="16"/>
                                </a:cxn>
                                <a:cxn ang="0">
                                  <a:pos x="20" y="14"/>
                                </a:cxn>
                                <a:cxn ang="0">
                                  <a:pos x="18" y="14"/>
                                </a:cxn>
                                <a:cxn ang="0">
                                  <a:pos x="18" y="14"/>
                                </a:cxn>
                                <a:cxn ang="0">
                                  <a:pos x="18" y="14"/>
                                </a:cxn>
                                <a:cxn ang="0">
                                  <a:pos x="18" y="16"/>
                                </a:cxn>
                                <a:cxn ang="0">
                                  <a:pos x="16" y="16"/>
                                </a:cxn>
                                <a:cxn ang="0">
                                  <a:pos x="16" y="16"/>
                                </a:cxn>
                                <a:cxn ang="0">
                                  <a:pos x="10" y="14"/>
                                </a:cxn>
                                <a:cxn ang="0">
                                  <a:pos x="10" y="14"/>
                                </a:cxn>
                                <a:cxn ang="0">
                                  <a:pos x="10" y="14"/>
                                </a:cxn>
                                <a:cxn ang="0">
                                  <a:pos x="10" y="14"/>
                                </a:cxn>
                                <a:cxn ang="0">
                                  <a:pos x="10" y="12"/>
                                </a:cxn>
                                <a:cxn ang="0">
                                  <a:pos x="8" y="12"/>
                                </a:cxn>
                                <a:cxn ang="0">
                                  <a:pos x="8" y="12"/>
                                </a:cxn>
                                <a:cxn ang="0">
                                  <a:pos x="4" y="12"/>
                                </a:cxn>
                                <a:cxn ang="0">
                                  <a:pos x="4" y="10"/>
                                </a:cxn>
                                <a:cxn ang="0">
                                  <a:pos x="4" y="10"/>
                                </a:cxn>
                                <a:cxn ang="0">
                                  <a:pos x="4" y="8"/>
                                </a:cxn>
                                <a:cxn ang="0">
                                  <a:pos x="4" y="8"/>
                                </a:cxn>
                                <a:cxn ang="0">
                                  <a:pos x="4" y="8"/>
                                </a:cxn>
                                <a:cxn ang="0">
                                  <a:pos x="2" y="10"/>
                                </a:cxn>
                                <a:cxn ang="0">
                                  <a:pos x="0" y="8"/>
                                </a:cxn>
                                <a:cxn ang="0">
                                  <a:pos x="0" y="8"/>
                                </a:cxn>
                              </a:cxnLst>
                              <a:rect l="0" t="0" r="r" b="b"/>
                              <a:pathLst>
                                <a:path w="36" h="18">
                                  <a:moveTo>
                                    <a:pt x="0" y="8"/>
                                  </a:moveTo>
                                  <a:lnTo>
                                    <a:pt x="0" y="8"/>
                                  </a:lnTo>
                                  <a:lnTo>
                                    <a:pt x="0" y="0"/>
                                  </a:lnTo>
                                  <a:lnTo>
                                    <a:pt x="2" y="0"/>
                                  </a:lnTo>
                                  <a:lnTo>
                                    <a:pt x="4" y="2"/>
                                  </a:lnTo>
                                  <a:lnTo>
                                    <a:pt x="4" y="2"/>
                                  </a:lnTo>
                                  <a:lnTo>
                                    <a:pt x="6" y="4"/>
                                  </a:lnTo>
                                  <a:lnTo>
                                    <a:pt x="10" y="4"/>
                                  </a:lnTo>
                                  <a:lnTo>
                                    <a:pt x="12" y="6"/>
                                  </a:lnTo>
                                  <a:lnTo>
                                    <a:pt x="12" y="8"/>
                                  </a:lnTo>
                                  <a:lnTo>
                                    <a:pt x="12" y="8"/>
                                  </a:lnTo>
                                  <a:lnTo>
                                    <a:pt x="12" y="8"/>
                                  </a:lnTo>
                                  <a:lnTo>
                                    <a:pt x="14" y="8"/>
                                  </a:lnTo>
                                  <a:lnTo>
                                    <a:pt x="18" y="8"/>
                                  </a:lnTo>
                                  <a:lnTo>
                                    <a:pt x="18" y="8"/>
                                  </a:lnTo>
                                  <a:lnTo>
                                    <a:pt x="22" y="10"/>
                                  </a:lnTo>
                                  <a:lnTo>
                                    <a:pt x="28" y="10"/>
                                  </a:lnTo>
                                  <a:lnTo>
                                    <a:pt x="28" y="10"/>
                                  </a:lnTo>
                                  <a:lnTo>
                                    <a:pt x="36" y="8"/>
                                  </a:lnTo>
                                  <a:lnTo>
                                    <a:pt x="36" y="8"/>
                                  </a:lnTo>
                                  <a:lnTo>
                                    <a:pt x="36" y="10"/>
                                  </a:lnTo>
                                  <a:lnTo>
                                    <a:pt x="36" y="10"/>
                                  </a:lnTo>
                                  <a:lnTo>
                                    <a:pt x="32" y="12"/>
                                  </a:lnTo>
                                  <a:lnTo>
                                    <a:pt x="30" y="14"/>
                                  </a:lnTo>
                                  <a:lnTo>
                                    <a:pt x="30" y="14"/>
                                  </a:lnTo>
                                  <a:lnTo>
                                    <a:pt x="28" y="14"/>
                                  </a:lnTo>
                                  <a:lnTo>
                                    <a:pt x="30" y="14"/>
                                  </a:lnTo>
                                  <a:lnTo>
                                    <a:pt x="32" y="16"/>
                                  </a:lnTo>
                                  <a:lnTo>
                                    <a:pt x="30" y="18"/>
                                  </a:lnTo>
                                  <a:lnTo>
                                    <a:pt x="30" y="18"/>
                                  </a:lnTo>
                                  <a:lnTo>
                                    <a:pt x="26" y="18"/>
                                  </a:lnTo>
                                  <a:lnTo>
                                    <a:pt x="26" y="18"/>
                                  </a:lnTo>
                                  <a:lnTo>
                                    <a:pt x="24" y="16"/>
                                  </a:lnTo>
                                  <a:lnTo>
                                    <a:pt x="24" y="16"/>
                                  </a:lnTo>
                                  <a:lnTo>
                                    <a:pt x="24" y="16"/>
                                  </a:lnTo>
                                  <a:lnTo>
                                    <a:pt x="20" y="14"/>
                                  </a:lnTo>
                                  <a:lnTo>
                                    <a:pt x="18" y="14"/>
                                  </a:lnTo>
                                  <a:lnTo>
                                    <a:pt x="18" y="14"/>
                                  </a:lnTo>
                                  <a:lnTo>
                                    <a:pt x="18" y="14"/>
                                  </a:lnTo>
                                  <a:lnTo>
                                    <a:pt x="18" y="16"/>
                                  </a:lnTo>
                                  <a:lnTo>
                                    <a:pt x="16" y="16"/>
                                  </a:lnTo>
                                  <a:lnTo>
                                    <a:pt x="16" y="16"/>
                                  </a:lnTo>
                                  <a:lnTo>
                                    <a:pt x="10" y="14"/>
                                  </a:lnTo>
                                  <a:lnTo>
                                    <a:pt x="10" y="14"/>
                                  </a:lnTo>
                                  <a:lnTo>
                                    <a:pt x="10" y="14"/>
                                  </a:lnTo>
                                  <a:lnTo>
                                    <a:pt x="10" y="14"/>
                                  </a:lnTo>
                                  <a:lnTo>
                                    <a:pt x="10" y="12"/>
                                  </a:lnTo>
                                  <a:lnTo>
                                    <a:pt x="8" y="12"/>
                                  </a:lnTo>
                                  <a:lnTo>
                                    <a:pt x="8" y="12"/>
                                  </a:lnTo>
                                  <a:lnTo>
                                    <a:pt x="4" y="12"/>
                                  </a:lnTo>
                                  <a:lnTo>
                                    <a:pt x="4" y="10"/>
                                  </a:lnTo>
                                  <a:lnTo>
                                    <a:pt x="4" y="10"/>
                                  </a:lnTo>
                                  <a:lnTo>
                                    <a:pt x="4" y="8"/>
                                  </a:lnTo>
                                  <a:lnTo>
                                    <a:pt x="4" y="8"/>
                                  </a:lnTo>
                                  <a:lnTo>
                                    <a:pt x="4" y="8"/>
                                  </a:lnTo>
                                  <a:lnTo>
                                    <a:pt x="2" y="10"/>
                                  </a:lnTo>
                                  <a:lnTo>
                                    <a:pt x="0" y="8"/>
                                  </a:lnTo>
                                  <a:lnTo>
                                    <a:pt x="0" y="8"/>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1" name="Canada"/>
                            <p:cNvSpPr>
                              <a:spLocks/>
                            </p:cNvSpPr>
                            <p:nvPr/>
                          </p:nvSpPr>
                          <p:spPr bwMode="auto">
                            <a:xfrm>
                              <a:off x="4220596" y="2126046"/>
                              <a:ext cx="42527" cy="33383"/>
                            </a:xfrm>
                            <a:custGeom>
                              <a:avLst/>
                              <a:gdLst/>
                              <a:ahLst/>
                              <a:cxnLst>
                                <a:cxn ang="0">
                                  <a:pos x="0" y="20"/>
                                </a:cxn>
                                <a:cxn ang="0">
                                  <a:pos x="0" y="20"/>
                                </a:cxn>
                                <a:cxn ang="0">
                                  <a:pos x="0" y="14"/>
                                </a:cxn>
                                <a:cxn ang="0">
                                  <a:pos x="4" y="12"/>
                                </a:cxn>
                                <a:cxn ang="0">
                                  <a:pos x="4" y="12"/>
                                </a:cxn>
                                <a:cxn ang="0">
                                  <a:pos x="12" y="6"/>
                                </a:cxn>
                                <a:cxn ang="0">
                                  <a:pos x="18" y="0"/>
                                </a:cxn>
                                <a:cxn ang="0">
                                  <a:pos x="18" y="0"/>
                                </a:cxn>
                                <a:cxn ang="0">
                                  <a:pos x="20" y="0"/>
                                </a:cxn>
                                <a:cxn ang="0">
                                  <a:pos x="20" y="2"/>
                                </a:cxn>
                                <a:cxn ang="0">
                                  <a:pos x="20" y="4"/>
                                </a:cxn>
                                <a:cxn ang="0">
                                  <a:pos x="20" y="4"/>
                                </a:cxn>
                                <a:cxn ang="0">
                                  <a:pos x="22" y="6"/>
                                </a:cxn>
                                <a:cxn ang="0">
                                  <a:pos x="20" y="8"/>
                                </a:cxn>
                                <a:cxn ang="0">
                                  <a:pos x="18" y="10"/>
                                </a:cxn>
                                <a:cxn ang="0">
                                  <a:pos x="18" y="10"/>
                                </a:cxn>
                                <a:cxn ang="0">
                                  <a:pos x="24" y="10"/>
                                </a:cxn>
                                <a:cxn ang="0">
                                  <a:pos x="26" y="10"/>
                                </a:cxn>
                                <a:cxn ang="0">
                                  <a:pos x="26" y="12"/>
                                </a:cxn>
                                <a:cxn ang="0">
                                  <a:pos x="26" y="12"/>
                                </a:cxn>
                                <a:cxn ang="0">
                                  <a:pos x="26" y="12"/>
                                </a:cxn>
                                <a:cxn ang="0">
                                  <a:pos x="26" y="14"/>
                                </a:cxn>
                                <a:cxn ang="0">
                                  <a:pos x="28" y="16"/>
                                </a:cxn>
                                <a:cxn ang="0">
                                  <a:pos x="26" y="16"/>
                                </a:cxn>
                                <a:cxn ang="0">
                                  <a:pos x="26" y="16"/>
                                </a:cxn>
                                <a:cxn ang="0">
                                  <a:pos x="20" y="18"/>
                                </a:cxn>
                                <a:cxn ang="0">
                                  <a:pos x="16" y="20"/>
                                </a:cxn>
                                <a:cxn ang="0">
                                  <a:pos x="16" y="20"/>
                                </a:cxn>
                                <a:cxn ang="0">
                                  <a:pos x="12" y="20"/>
                                </a:cxn>
                                <a:cxn ang="0">
                                  <a:pos x="8" y="22"/>
                                </a:cxn>
                                <a:cxn ang="0">
                                  <a:pos x="8" y="22"/>
                                </a:cxn>
                                <a:cxn ang="0">
                                  <a:pos x="4" y="22"/>
                                </a:cxn>
                                <a:cxn ang="0">
                                  <a:pos x="2" y="22"/>
                                </a:cxn>
                                <a:cxn ang="0">
                                  <a:pos x="0" y="20"/>
                                </a:cxn>
                                <a:cxn ang="0">
                                  <a:pos x="0" y="20"/>
                                </a:cxn>
                              </a:cxnLst>
                              <a:rect l="0" t="0" r="r" b="b"/>
                              <a:pathLst>
                                <a:path w="28" h="22">
                                  <a:moveTo>
                                    <a:pt x="0" y="20"/>
                                  </a:moveTo>
                                  <a:lnTo>
                                    <a:pt x="0" y="20"/>
                                  </a:lnTo>
                                  <a:lnTo>
                                    <a:pt x="0" y="14"/>
                                  </a:lnTo>
                                  <a:lnTo>
                                    <a:pt x="4" y="12"/>
                                  </a:lnTo>
                                  <a:lnTo>
                                    <a:pt x="4" y="12"/>
                                  </a:lnTo>
                                  <a:lnTo>
                                    <a:pt x="12" y="6"/>
                                  </a:lnTo>
                                  <a:lnTo>
                                    <a:pt x="18" y="0"/>
                                  </a:lnTo>
                                  <a:lnTo>
                                    <a:pt x="18" y="0"/>
                                  </a:lnTo>
                                  <a:lnTo>
                                    <a:pt x="20" y="0"/>
                                  </a:lnTo>
                                  <a:lnTo>
                                    <a:pt x="20" y="2"/>
                                  </a:lnTo>
                                  <a:lnTo>
                                    <a:pt x="20" y="4"/>
                                  </a:lnTo>
                                  <a:lnTo>
                                    <a:pt x="20" y="4"/>
                                  </a:lnTo>
                                  <a:lnTo>
                                    <a:pt x="22" y="6"/>
                                  </a:lnTo>
                                  <a:lnTo>
                                    <a:pt x="20" y="8"/>
                                  </a:lnTo>
                                  <a:lnTo>
                                    <a:pt x="18" y="10"/>
                                  </a:lnTo>
                                  <a:lnTo>
                                    <a:pt x="18" y="10"/>
                                  </a:lnTo>
                                  <a:lnTo>
                                    <a:pt x="24" y="10"/>
                                  </a:lnTo>
                                  <a:lnTo>
                                    <a:pt x="26" y="10"/>
                                  </a:lnTo>
                                  <a:lnTo>
                                    <a:pt x="26" y="12"/>
                                  </a:lnTo>
                                  <a:lnTo>
                                    <a:pt x="26" y="12"/>
                                  </a:lnTo>
                                  <a:lnTo>
                                    <a:pt x="26" y="12"/>
                                  </a:lnTo>
                                  <a:lnTo>
                                    <a:pt x="26" y="14"/>
                                  </a:lnTo>
                                  <a:lnTo>
                                    <a:pt x="28" y="16"/>
                                  </a:lnTo>
                                  <a:lnTo>
                                    <a:pt x="26" y="16"/>
                                  </a:lnTo>
                                  <a:lnTo>
                                    <a:pt x="26" y="16"/>
                                  </a:lnTo>
                                  <a:lnTo>
                                    <a:pt x="20" y="18"/>
                                  </a:lnTo>
                                  <a:lnTo>
                                    <a:pt x="16" y="20"/>
                                  </a:lnTo>
                                  <a:lnTo>
                                    <a:pt x="16" y="20"/>
                                  </a:lnTo>
                                  <a:lnTo>
                                    <a:pt x="12" y="20"/>
                                  </a:lnTo>
                                  <a:lnTo>
                                    <a:pt x="8" y="22"/>
                                  </a:lnTo>
                                  <a:lnTo>
                                    <a:pt x="8" y="22"/>
                                  </a:lnTo>
                                  <a:lnTo>
                                    <a:pt x="4" y="22"/>
                                  </a:lnTo>
                                  <a:lnTo>
                                    <a:pt x="2" y="22"/>
                                  </a:lnTo>
                                  <a:lnTo>
                                    <a:pt x="0" y="20"/>
                                  </a:lnTo>
                                  <a:lnTo>
                                    <a:pt x="0" y="20"/>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2" name="Canada"/>
                            <p:cNvSpPr>
                              <a:spLocks/>
                            </p:cNvSpPr>
                            <p:nvPr/>
                          </p:nvSpPr>
                          <p:spPr bwMode="auto">
                            <a:xfrm>
                              <a:off x="4293500" y="1977339"/>
                              <a:ext cx="182259" cy="142637"/>
                            </a:xfrm>
                            <a:custGeom>
                              <a:avLst/>
                              <a:gdLst/>
                              <a:ahLst/>
                              <a:cxnLst>
                                <a:cxn ang="0">
                                  <a:pos x="70" y="12"/>
                                </a:cxn>
                                <a:cxn ang="0">
                                  <a:pos x="70" y="10"/>
                                </a:cxn>
                                <a:cxn ang="0">
                                  <a:pos x="82" y="2"/>
                                </a:cxn>
                                <a:cxn ang="0">
                                  <a:pos x="90" y="0"/>
                                </a:cxn>
                                <a:cxn ang="0">
                                  <a:pos x="92" y="2"/>
                                </a:cxn>
                                <a:cxn ang="0">
                                  <a:pos x="96" y="4"/>
                                </a:cxn>
                                <a:cxn ang="0">
                                  <a:pos x="90" y="8"/>
                                </a:cxn>
                                <a:cxn ang="0">
                                  <a:pos x="94" y="8"/>
                                </a:cxn>
                                <a:cxn ang="0">
                                  <a:pos x="92" y="14"/>
                                </a:cxn>
                                <a:cxn ang="0">
                                  <a:pos x="84" y="20"/>
                                </a:cxn>
                                <a:cxn ang="0">
                                  <a:pos x="80" y="22"/>
                                </a:cxn>
                                <a:cxn ang="0">
                                  <a:pos x="76" y="24"/>
                                </a:cxn>
                                <a:cxn ang="0">
                                  <a:pos x="68" y="30"/>
                                </a:cxn>
                                <a:cxn ang="0">
                                  <a:pos x="72" y="30"/>
                                </a:cxn>
                                <a:cxn ang="0">
                                  <a:pos x="80" y="28"/>
                                </a:cxn>
                                <a:cxn ang="0">
                                  <a:pos x="82" y="30"/>
                                </a:cxn>
                                <a:cxn ang="0">
                                  <a:pos x="88" y="30"/>
                                </a:cxn>
                                <a:cxn ang="0">
                                  <a:pos x="74" y="36"/>
                                </a:cxn>
                                <a:cxn ang="0">
                                  <a:pos x="82" y="36"/>
                                </a:cxn>
                                <a:cxn ang="0">
                                  <a:pos x="86" y="38"/>
                                </a:cxn>
                                <a:cxn ang="0">
                                  <a:pos x="88" y="42"/>
                                </a:cxn>
                                <a:cxn ang="0">
                                  <a:pos x="90" y="46"/>
                                </a:cxn>
                                <a:cxn ang="0">
                                  <a:pos x="100" y="44"/>
                                </a:cxn>
                                <a:cxn ang="0">
                                  <a:pos x="114" y="44"/>
                                </a:cxn>
                                <a:cxn ang="0">
                                  <a:pos x="116" y="50"/>
                                </a:cxn>
                                <a:cxn ang="0">
                                  <a:pos x="110" y="52"/>
                                </a:cxn>
                                <a:cxn ang="0">
                                  <a:pos x="104" y="56"/>
                                </a:cxn>
                                <a:cxn ang="0">
                                  <a:pos x="114" y="56"/>
                                </a:cxn>
                                <a:cxn ang="0">
                                  <a:pos x="120" y="58"/>
                                </a:cxn>
                                <a:cxn ang="0">
                                  <a:pos x="116" y="62"/>
                                </a:cxn>
                                <a:cxn ang="0">
                                  <a:pos x="110" y="66"/>
                                </a:cxn>
                                <a:cxn ang="0">
                                  <a:pos x="114" y="68"/>
                                </a:cxn>
                                <a:cxn ang="0">
                                  <a:pos x="104" y="72"/>
                                </a:cxn>
                                <a:cxn ang="0">
                                  <a:pos x="98" y="76"/>
                                </a:cxn>
                                <a:cxn ang="0">
                                  <a:pos x="90" y="80"/>
                                </a:cxn>
                                <a:cxn ang="0">
                                  <a:pos x="84" y="86"/>
                                </a:cxn>
                                <a:cxn ang="0">
                                  <a:pos x="78" y="90"/>
                                </a:cxn>
                                <a:cxn ang="0">
                                  <a:pos x="64" y="92"/>
                                </a:cxn>
                                <a:cxn ang="0">
                                  <a:pos x="62" y="90"/>
                                </a:cxn>
                                <a:cxn ang="0">
                                  <a:pos x="72" y="84"/>
                                </a:cxn>
                                <a:cxn ang="0">
                                  <a:pos x="80" y="78"/>
                                </a:cxn>
                                <a:cxn ang="0">
                                  <a:pos x="74" y="78"/>
                                </a:cxn>
                                <a:cxn ang="0">
                                  <a:pos x="68" y="78"/>
                                </a:cxn>
                                <a:cxn ang="0">
                                  <a:pos x="64" y="76"/>
                                </a:cxn>
                                <a:cxn ang="0">
                                  <a:pos x="58" y="78"/>
                                </a:cxn>
                                <a:cxn ang="0">
                                  <a:pos x="54" y="76"/>
                                </a:cxn>
                                <a:cxn ang="0">
                                  <a:pos x="50" y="76"/>
                                </a:cxn>
                                <a:cxn ang="0">
                                  <a:pos x="40" y="80"/>
                                </a:cxn>
                                <a:cxn ang="0">
                                  <a:pos x="26" y="80"/>
                                </a:cxn>
                                <a:cxn ang="0">
                                  <a:pos x="22" y="78"/>
                                </a:cxn>
                                <a:cxn ang="0">
                                  <a:pos x="8" y="80"/>
                                </a:cxn>
                                <a:cxn ang="0">
                                  <a:pos x="2" y="78"/>
                                </a:cxn>
                                <a:cxn ang="0">
                                  <a:pos x="0" y="74"/>
                                </a:cxn>
                                <a:cxn ang="0">
                                  <a:pos x="12" y="66"/>
                                </a:cxn>
                                <a:cxn ang="0">
                                  <a:pos x="18" y="64"/>
                                </a:cxn>
                                <a:cxn ang="0">
                                  <a:pos x="8" y="64"/>
                                </a:cxn>
                                <a:cxn ang="0">
                                  <a:pos x="16" y="62"/>
                                </a:cxn>
                                <a:cxn ang="0">
                                  <a:pos x="28" y="54"/>
                                </a:cxn>
                                <a:cxn ang="0">
                                  <a:pos x="32" y="50"/>
                                </a:cxn>
                                <a:cxn ang="0">
                                  <a:pos x="36" y="46"/>
                                </a:cxn>
                                <a:cxn ang="0">
                                  <a:pos x="46" y="38"/>
                                </a:cxn>
                                <a:cxn ang="0">
                                  <a:pos x="62" y="16"/>
                                </a:cxn>
                              </a:cxnLst>
                              <a:rect l="0" t="0" r="r" b="b"/>
                              <a:pathLst>
                                <a:path w="120" h="94">
                                  <a:moveTo>
                                    <a:pt x="62" y="16"/>
                                  </a:moveTo>
                                  <a:lnTo>
                                    <a:pt x="62" y="16"/>
                                  </a:lnTo>
                                  <a:lnTo>
                                    <a:pt x="68" y="14"/>
                                  </a:lnTo>
                                  <a:lnTo>
                                    <a:pt x="70" y="12"/>
                                  </a:lnTo>
                                  <a:lnTo>
                                    <a:pt x="70" y="10"/>
                                  </a:lnTo>
                                  <a:lnTo>
                                    <a:pt x="70" y="10"/>
                                  </a:lnTo>
                                  <a:lnTo>
                                    <a:pt x="70" y="10"/>
                                  </a:lnTo>
                                  <a:lnTo>
                                    <a:pt x="70" y="10"/>
                                  </a:lnTo>
                                  <a:lnTo>
                                    <a:pt x="74" y="8"/>
                                  </a:lnTo>
                                  <a:lnTo>
                                    <a:pt x="74" y="8"/>
                                  </a:lnTo>
                                  <a:lnTo>
                                    <a:pt x="78" y="4"/>
                                  </a:lnTo>
                                  <a:lnTo>
                                    <a:pt x="82" y="2"/>
                                  </a:lnTo>
                                  <a:lnTo>
                                    <a:pt x="82" y="2"/>
                                  </a:lnTo>
                                  <a:lnTo>
                                    <a:pt x="86" y="0"/>
                                  </a:lnTo>
                                  <a:lnTo>
                                    <a:pt x="90" y="0"/>
                                  </a:lnTo>
                                  <a:lnTo>
                                    <a:pt x="90" y="0"/>
                                  </a:lnTo>
                                  <a:lnTo>
                                    <a:pt x="92" y="0"/>
                                  </a:lnTo>
                                  <a:lnTo>
                                    <a:pt x="90" y="2"/>
                                  </a:lnTo>
                                  <a:lnTo>
                                    <a:pt x="90" y="2"/>
                                  </a:lnTo>
                                  <a:lnTo>
                                    <a:pt x="92" y="2"/>
                                  </a:lnTo>
                                  <a:lnTo>
                                    <a:pt x="92" y="2"/>
                                  </a:lnTo>
                                  <a:lnTo>
                                    <a:pt x="96" y="2"/>
                                  </a:lnTo>
                                  <a:lnTo>
                                    <a:pt x="96" y="4"/>
                                  </a:lnTo>
                                  <a:lnTo>
                                    <a:pt x="96" y="4"/>
                                  </a:lnTo>
                                  <a:lnTo>
                                    <a:pt x="94" y="6"/>
                                  </a:lnTo>
                                  <a:lnTo>
                                    <a:pt x="92" y="6"/>
                                  </a:lnTo>
                                  <a:lnTo>
                                    <a:pt x="92" y="6"/>
                                  </a:lnTo>
                                  <a:lnTo>
                                    <a:pt x="90" y="8"/>
                                  </a:lnTo>
                                  <a:lnTo>
                                    <a:pt x="90" y="8"/>
                                  </a:lnTo>
                                  <a:lnTo>
                                    <a:pt x="90" y="8"/>
                                  </a:lnTo>
                                  <a:lnTo>
                                    <a:pt x="90" y="8"/>
                                  </a:lnTo>
                                  <a:lnTo>
                                    <a:pt x="94" y="8"/>
                                  </a:lnTo>
                                  <a:lnTo>
                                    <a:pt x="94" y="10"/>
                                  </a:lnTo>
                                  <a:lnTo>
                                    <a:pt x="94" y="12"/>
                                  </a:lnTo>
                                  <a:lnTo>
                                    <a:pt x="94" y="12"/>
                                  </a:lnTo>
                                  <a:lnTo>
                                    <a:pt x="92" y="14"/>
                                  </a:lnTo>
                                  <a:lnTo>
                                    <a:pt x="90" y="16"/>
                                  </a:lnTo>
                                  <a:lnTo>
                                    <a:pt x="90" y="16"/>
                                  </a:lnTo>
                                  <a:lnTo>
                                    <a:pt x="86" y="18"/>
                                  </a:lnTo>
                                  <a:lnTo>
                                    <a:pt x="84" y="20"/>
                                  </a:lnTo>
                                  <a:lnTo>
                                    <a:pt x="84" y="20"/>
                                  </a:lnTo>
                                  <a:lnTo>
                                    <a:pt x="84" y="20"/>
                                  </a:lnTo>
                                  <a:lnTo>
                                    <a:pt x="82" y="20"/>
                                  </a:lnTo>
                                  <a:lnTo>
                                    <a:pt x="80" y="22"/>
                                  </a:lnTo>
                                  <a:lnTo>
                                    <a:pt x="80" y="24"/>
                                  </a:lnTo>
                                  <a:lnTo>
                                    <a:pt x="78" y="24"/>
                                  </a:lnTo>
                                  <a:lnTo>
                                    <a:pt x="78" y="24"/>
                                  </a:lnTo>
                                  <a:lnTo>
                                    <a:pt x="76" y="24"/>
                                  </a:lnTo>
                                  <a:lnTo>
                                    <a:pt x="76" y="24"/>
                                  </a:lnTo>
                                  <a:lnTo>
                                    <a:pt x="74" y="26"/>
                                  </a:lnTo>
                                  <a:lnTo>
                                    <a:pt x="74" y="26"/>
                                  </a:lnTo>
                                  <a:lnTo>
                                    <a:pt x="68" y="30"/>
                                  </a:lnTo>
                                  <a:lnTo>
                                    <a:pt x="66" y="34"/>
                                  </a:lnTo>
                                  <a:lnTo>
                                    <a:pt x="66" y="36"/>
                                  </a:lnTo>
                                  <a:lnTo>
                                    <a:pt x="66" y="36"/>
                                  </a:lnTo>
                                  <a:lnTo>
                                    <a:pt x="72" y="30"/>
                                  </a:lnTo>
                                  <a:lnTo>
                                    <a:pt x="78" y="28"/>
                                  </a:lnTo>
                                  <a:lnTo>
                                    <a:pt x="78" y="28"/>
                                  </a:lnTo>
                                  <a:lnTo>
                                    <a:pt x="80" y="28"/>
                                  </a:lnTo>
                                  <a:lnTo>
                                    <a:pt x="80" y="28"/>
                                  </a:lnTo>
                                  <a:lnTo>
                                    <a:pt x="80" y="30"/>
                                  </a:lnTo>
                                  <a:lnTo>
                                    <a:pt x="80" y="30"/>
                                  </a:lnTo>
                                  <a:lnTo>
                                    <a:pt x="80" y="30"/>
                                  </a:lnTo>
                                  <a:lnTo>
                                    <a:pt x="82" y="30"/>
                                  </a:lnTo>
                                  <a:lnTo>
                                    <a:pt x="86" y="30"/>
                                  </a:lnTo>
                                  <a:lnTo>
                                    <a:pt x="86" y="30"/>
                                  </a:lnTo>
                                  <a:lnTo>
                                    <a:pt x="88" y="30"/>
                                  </a:lnTo>
                                  <a:lnTo>
                                    <a:pt x="88" y="30"/>
                                  </a:lnTo>
                                  <a:lnTo>
                                    <a:pt x="88" y="30"/>
                                  </a:lnTo>
                                  <a:lnTo>
                                    <a:pt x="86" y="32"/>
                                  </a:lnTo>
                                  <a:lnTo>
                                    <a:pt x="82" y="34"/>
                                  </a:lnTo>
                                  <a:lnTo>
                                    <a:pt x="74" y="36"/>
                                  </a:lnTo>
                                  <a:lnTo>
                                    <a:pt x="74" y="36"/>
                                  </a:lnTo>
                                  <a:lnTo>
                                    <a:pt x="82" y="36"/>
                                  </a:lnTo>
                                  <a:lnTo>
                                    <a:pt x="82" y="36"/>
                                  </a:lnTo>
                                  <a:lnTo>
                                    <a:pt x="82" y="36"/>
                                  </a:lnTo>
                                  <a:lnTo>
                                    <a:pt x="82" y="36"/>
                                  </a:lnTo>
                                  <a:lnTo>
                                    <a:pt x="82" y="38"/>
                                  </a:lnTo>
                                  <a:lnTo>
                                    <a:pt x="84" y="38"/>
                                  </a:lnTo>
                                  <a:lnTo>
                                    <a:pt x="86" y="38"/>
                                  </a:lnTo>
                                  <a:lnTo>
                                    <a:pt x="86" y="40"/>
                                  </a:lnTo>
                                  <a:lnTo>
                                    <a:pt x="86" y="40"/>
                                  </a:lnTo>
                                  <a:lnTo>
                                    <a:pt x="86" y="42"/>
                                  </a:lnTo>
                                  <a:lnTo>
                                    <a:pt x="88" y="42"/>
                                  </a:lnTo>
                                  <a:lnTo>
                                    <a:pt x="90" y="42"/>
                                  </a:lnTo>
                                  <a:lnTo>
                                    <a:pt x="90" y="44"/>
                                  </a:lnTo>
                                  <a:lnTo>
                                    <a:pt x="90" y="44"/>
                                  </a:lnTo>
                                  <a:lnTo>
                                    <a:pt x="90" y="46"/>
                                  </a:lnTo>
                                  <a:lnTo>
                                    <a:pt x="92" y="46"/>
                                  </a:lnTo>
                                  <a:lnTo>
                                    <a:pt x="98" y="44"/>
                                  </a:lnTo>
                                  <a:lnTo>
                                    <a:pt x="98" y="44"/>
                                  </a:lnTo>
                                  <a:lnTo>
                                    <a:pt x="100" y="44"/>
                                  </a:lnTo>
                                  <a:lnTo>
                                    <a:pt x="104" y="44"/>
                                  </a:lnTo>
                                  <a:lnTo>
                                    <a:pt x="104" y="44"/>
                                  </a:lnTo>
                                  <a:lnTo>
                                    <a:pt x="110" y="44"/>
                                  </a:lnTo>
                                  <a:lnTo>
                                    <a:pt x="114" y="44"/>
                                  </a:lnTo>
                                  <a:lnTo>
                                    <a:pt x="116" y="46"/>
                                  </a:lnTo>
                                  <a:lnTo>
                                    <a:pt x="116" y="46"/>
                                  </a:lnTo>
                                  <a:lnTo>
                                    <a:pt x="116" y="48"/>
                                  </a:lnTo>
                                  <a:lnTo>
                                    <a:pt x="116" y="50"/>
                                  </a:lnTo>
                                  <a:lnTo>
                                    <a:pt x="114" y="50"/>
                                  </a:lnTo>
                                  <a:lnTo>
                                    <a:pt x="114" y="50"/>
                                  </a:lnTo>
                                  <a:lnTo>
                                    <a:pt x="112" y="52"/>
                                  </a:lnTo>
                                  <a:lnTo>
                                    <a:pt x="110" y="52"/>
                                  </a:lnTo>
                                  <a:lnTo>
                                    <a:pt x="110" y="52"/>
                                  </a:lnTo>
                                  <a:lnTo>
                                    <a:pt x="108" y="54"/>
                                  </a:lnTo>
                                  <a:lnTo>
                                    <a:pt x="104" y="56"/>
                                  </a:lnTo>
                                  <a:lnTo>
                                    <a:pt x="104" y="56"/>
                                  </a:lnTo>
                                  <a:lnTo>
                                    <a:pt x="106" y="56"/>
                                  </a:lnTo>
                                  <a:lnTo>
                                    <a:pt x="110" y="56"/>
                                  </a:lnTo>
                                  <a:lnTo>
                                    <a:pt x="110" y="56"/>
                                  </a:lnTo>
                                  <a:lnTo>
                                    <a:pt x="114" y="56"/>
                                  </a:lnTo>
                                  <a:lnTo>
                                    <a:pt x="118" y="56"/>
                                  </a:lnTo>
                                  <a:lnTo>
                                    <a:pt x="118" y="56"/>
                                  </a:lnTo>
                                  <a:lnTo>
                                    <a:pt x="120" y="56"/>
                                  </a:lnTo>
                                  <a:lnTo>
                                    <a:pt x="120" y="58"/>
                                  </a:lnTo>
                                  <a:lnTo>
                                    <a:pt x="120" y="58"/>
                                  </a:lnTo>
                                  <a:lnTo>
                                    <a:pt x="118" y="60"/>
                                  </a:lnTo>
                                  <a:lnTo>
                                    <a:pt x="116" y="62"/>
                                  </a:lnTo>
                                  <a:lnTo>
                                    <a:pt x="116" y="62"/>
                                  </a:lnTo>
                                  <a:lnTo>
                                    <a:pt x="112" y="64"/>
                                  </a:lnTo>
                                  <a:lnTo>
                                    <a:pt x="108" y="64"/>
                                  </a:lnTo>
                                  <a:lnTo>
                                    <a:pt x="108" y="64"/>
                                  </a:lnTo>
                                  <a:lnTo>
                                    <a:pt x="110" y="66"/>
                                  </a:lnTo>
                                  <a:lnTo>
                                    <a:pt x="114" y="66"/>
                                  </a:lnTo>
                                  <a:lnTo>
                                    <a:pt x="114" y="68"/>
                                  </a:lnTo>
                                  <a:lnTo>
                                    <a:pt x="114" y="68"/>
                                  </a:lnTo>
                                  <a:lnTo>
                                    <a:pt x="114" y="68"/>
                                  </a:lnTo>
                                  <a:lnTo>
                                    <a:pt x="108" y="72"/>
                                  </a:lnTo>
                                  <a:lnTo>
                                    <a:pt x="106" y="72"/>
                                  </a:lnTo>
                                  <a:lnTo>
                                    <a:pt x="104" y="72"/>
                                  </a:lnTo>
                                  <a:lnTo>
                                    <a:pt x="104" y="72"/>
                                  </a:lnTo>
                                  <a:lnTo>
                                    <a:pt x="104" y="70"/>
                                  </a:lnTo>
                                  <a:lnTo>
                                    <a:pt x="100" y="74"/>
                                  </a:lnTo>
                                  <a:lnTo>
                                    <a:pt x="100" y="74"/>
                                  </a:lnTo>
                                  <a:lnTo>
                                    <a:pt x="98" y="76"/>
                                  </a:lnTo>
                                  <a:lnTo>
                                    <a:pt x="94" y="78"/>
                                  </a:lnTo>
                                  <a:lnTo>
                                    <a:pt x="94" y="78"/>
                                  </a:lnTo>
                                  <a:lnTo>
                                    <a:pt x="90" y="80"/>
                                  </a:lnTo>
                                  <a:lnTo>
                                    <a:pt x="90" y="80"/>
                                  </a:lnTo>
                                  <a:lnTo>
                                    <a:pt x="88" y="82"/>
                                  </a:lnTo>
                                  <a:lnTo>
                                    <a:pt x="88" y="82"/>
                                  </a:lnTo>
                                  <a:lnTo>
                                    <a:pt x="84" y="84"/>
                                  </a:lnTo>
                                  <a:lnTo>
                                    <a:pt x="84" y="86"/>
                                  </a:lnTo>
                                  <a:lnTo>
                                    <a:pt x="84" y="86"/>
                                  </a:lnTo>
                                  <a:lnTo>
                                    <a:pt x="80" y="88"/>
                                  </a:lnTo>
                                  <a:lnTo>
                                    <a:pt x="78" y="90"/>
                                  </a:lnTo>
                                  <a:lnTo>
                                    <a:pt x="78" y="90"/>
                                  </a:lnTo>
                                  <a:lnTo>
                                    <a:pt x="68" y="94"/>
                                  </a:lnTo>
                                  <a:lnTo>
                                    <a:pt x="68" y="94"/>
                                  </a:lnTo>
                                  <a:lnTo>
                                    <a:pt x="66" y="92"/>
                                  </a:lnTo>
                                  <a:lnTo>
                                    <a:pt x="64" y="92"/>
                                  </a:lnTo>
                                  <a:lnTo>
                                    <a:pt x="64" y="92"/>
                                  </a:lnTo>
                                  <a:lnTo>
                                    <a:pt x="62" y="92"/>
                                  </a:lnTo>
                                  <a:lnTo>
                                    <a:pt x="62" y="90"/>
                                  </a:lnTo>
                                  <a:lnTo>
                                    <a:pt x="62" y="90"/>
                                  </a:lnTo>
                                  <a:lnTo>
                                    <a:pt x="64" y="88"/>
                                  </a:lnTo>
                                  <a:lnTo>
                                    <a:pt x="64" y="88"/>
                                  </a:lnTo>
                                  <a:lnTo>
                                    <a:pt x="70" y="86"/>
                                  </a:lnTo>
                                  <a:lnTo>
                                    <a:pt x="72" y="84"/>
                                  </a:lnTo>
                                  <a:lnTo>
                                    <a:pt x="72" y="84"/>
                                  </a:lnTo>
                                  <a:lnTo>
                                    <a:pt x="76" y="80"/>
                                  </a:lnTo>
                                  <a:lnTo>
                                    <a:pt x="80" y="78"/>
                                  </a:lnTo>
                                  <a:lnTo>
                                    <a:pt x="80" y="78"/>
                                  </a:lnTo>
                                  <a:lnTo>
                                    <a:pt x="80" y="78"/>
                                  </a:lnTo>
                                  <a:lnTo>
                                    <a:pt x="80" y="78"/>
                                  </a:lnTo>
                                  <a:lnTo>
                                    <a:pt x="74" y="78"/>
                                  </a:lnTo>
                                  <a:lnTo>
                                    <a:pt x="74" y="78"/>
                                  </a:lnTo>
                                  <a:lnTo>
                                    <a:pt x="70" y="78"/>
                                  </a:lnTo>
                                  <a:lnTo>
                                    <a:pt x="68" y="78"/>
                                  </a:lnTo>
                                  <a:lnTo>
                                    <a:pt x="68" y="78"/>
                                  </a:lnTo>
                                  <a:lnTo>
                                    <a:pt x="68" y="78"/>
                                  </a:lnTo>
                                  <a:lnTo>
                                    <a:pt x="64" y="78"/>
                                  </a:lnTo>
                                  <a:lnTo>
                                    <a:pt x="64" y="78"/>
                                  </a:lnTo>
                                  <a:lnTo>
                                    <a:pt x="64" y="78"/>
                                  </a:lnTo>
                                  <a:lnTo>
                                    <a:pt x="64" y="76"/>
                                  </a:lnTo>
                                  <a:lnTo>
                                    <a:pt x="64" y="76"/>
                                  </a:lnTo>
                                  <a:lnTo>
                                    <a:pt x="62" y="76"/>
                                  </a:lnTo>
                                  <a:lnTo>
                                    <a:pt x="62" y="76"/>
                                  </a:lnTo>
                                  <a:lnTo>
                                    <a:pt x="58" y="78"/>
                                  </a:lnTo>
                                  <a:lnTo>
                                    <a:pt x="56" y="78"/>
                                  </a:lnTo>
                                  <a:lnTo>
                                    <a:pt x="56" y="78"/>
                                  </a:lnTo>
                                  <a:lnTo>
                                    <a:pt x="56" y="78"/>
                                  </a:lnTo>
                                  <a:lnTo>
                                    <a:pt x="54" y="76"/>
                                  </a:lnTo>
                                  <a:lnTo>
                                    <a:pt x="52" y="76"/>
                                  </a:lnTo>
                                  <a:lnTo>
                                    <a:pt x="50" y="78"/>
                                  </a:lnTo>
                                  <a:lnTo>
                                    <a:pt x="50" y="76"/>
                                  </a:lnTo>
                                  <a:lnTo>
                                    <a:pt x="50" y="76"/>
                                  </a:lnTo>
                                  <a:lnTo>
                                    <a:pt x="48" y="76"/>
                                  </a:lnTo>
                                  <a:lnTo>
                                    <a:pt x="46" y="78"/>
                                  </a:lnTo>
                                  <a:lnTo>
                                    <a:pt x="42" y="80"/>
                                  </a:lnTo>
                                  <a:lnTo>
                                    <a:pt x="40" y="80"/>
                                  </a:lnTo>
                                  <a:lnTo>
                                    <a:pt x="40" y="80"/>
                                  </a:lnTo>
                                  <a:lnTo>
                                    <a:pt x="36" y="80"/>
                                  </a:lnTo>
                                  <a:lnTo>
                                    <a:pt x="32" y="80"/>
                                  </a:lnTo>
                                  <a:lnTo>
                                    <a:pt x="26" y="80"/>
                                  </a:lnTo>
                                  <a:lnTo>
                                    <a:pt x="26" y="80"/>
                                  </a:lnTo>
                                  <a:lnTo>
                                    <a:pt x="22" y="80"/>
                                  </a:lnTo>
                                  <a:lnTo>
                                    <a:pt x="22" y="78"/>
                                  </a:lnTo>
                                  <a:lnTo>
                                    <a:pt x="22" y="78"/>
                                  </a:lnTo>
                                  <a:lnTo>
                                    <a:pt x="22" y="80"/>
                                  </a:lnTo>
                                  <a:lnTo>
                                    <a:pt x="16" y="80"/>
                                  </a:lnTo>
                                  <a:lnTo>
                                    <a:pt x="16" y="80"/>
                                  </a:lnTo>
                                  <a:lnTo>
                                    <a:pt x="8" y="80"/>
                                  </a:lnTo>
                                  <a:lnTo>
                                    <a:pt x="4" y="82"/>
                                  </a:lnTo>
                                  <a:lnTo>
                                    <a:pt x="4" y="82"/>
                                  </a:lnTo>
                                  <a:lnTo>
                                    <a:pt x="2" y="82"/>
                                  </a:lnTo>
                                  <a:lnTo>
                                    <a:pt x="2" y="78"/>
                                  </a:lnTo>
                                  <a:lnTo>
                                    <a:pt x="2" y="78"/>
                                  </a:lnTo>
                                  <a:lnTo>
                                    <a:pt x="2" y="76"/>
                                  </a:lnTo>
                                  <a:lnTo>
                                    <a:pt x="0" y="74"/>
                                  </a:lnTo>
                                  <a:lnTo>
                                    <a:pt x="0" y="74"/>
                                  </a:lnTo>
                                  <a:lnTo>
                                    <a:pt x="2" y="72"/>
                                  </a:lnTo>
                                  <a:lnTo>
                                    <a:pt x="2" y="72"/>
                                  </a:lnTo>
                                  <a:lnTo>
                                    <a:pt x="8" y="68"/>
                                  </a:lnTo>
                                  <a:lnTo>
                                    <a:pt x="12" y="66"/>
                                  </a:lnTo>
                                  <a:lnTo>
                                    <a:pt x="12" y="66"/>
                                  </a:lnTo>
                                  <a:lnTo>
                                    <a:pt x="18" y="64"/>
                                  </a:lnTo>
                                  <a:lnTo>
                                    <a:pt x="18" y="64"/>
                                  </a:lnTo>
                                  <a:lnTo>
                                    <a:pt x="18" y="64"/>
                                  </a:lnTo>
                                  <a:lnTo>
                                    <a:pt x="18" y="64"/>
                                  </a:lnTo>
                                  <a:lnTo>
                                    <a:pt x="10" y="66"/>
                                  </a:lnTo>
                                  <a:lnTo>
                                    <a:pt x="8" y="66"/>
                                  </a:lnTo>
                                  <a:lnTo>
                                    <a:pt x="8" y="64"/>
                                  </a:lnTo>
                                  <a:lnTo>
                                    <a:pt x="8" y="64"/>
                                  </a:lnTo>
                                  <a:lnTo>
                                    <a:pt x="12" y="64"/>
                                  </a:lnTo>
                                  <a:lnTo>
                                    <a:pt x="16" y="62"/>
                                  </a:lnTo>
                                  <a:lnTo>
                                    <a:pt x="16" y="62"/>
                                  </a:lnTo>
                                  <a:lnTo>
                                    <a:pt x="20" y="60"/>
                                  </a:lnTo>
                                  <a:lnTo>
                                    <a:pt x="22" y="56"/>
                                  </a:lnTo>
                                  <a:lnTo>
                                    <a:pt x="22" y="56"/>
                                  </a:lnTo>
                                  <a:lnTo>
                                    <a:pt x="28" y="54"/>
                                  </a:lnTo>
                                  <a:lnTo>
                                    <a:pt x="34" y="54"/>
                                  </a:lnTo>
                                  <a:lnTo>
                                    <a:pt x="34" y="54"/>
                                  </a:lnTo>
                                  <a:lnTo>
                                    <a:pt x="34" y="52"/>
                                  </a:lnTo>
                                  <a:lnTo>
                                    <a:pt x="32" y="50"/>
                                  </a:lnTo>
                                  <a:lnTo>
                                    <a:pt x="32" y="50"/>
                                  </a:lnTo>
                                  <a:lnTo>
                                    <a:pt x="32" y="48"/>
                                  </a:lnTo>
                                  <a:lnTo>
                                    <a:pt x="36" y="46"/>
                                  </a:lnTo>
                                  <a:lnTo>
                                    <a:pt x="36" y="46"/>
                                  </a:lnTo>
                                  <a:lnTo>
                                    <a:pt x="40" y="42"/>
                                  </a:lnTo>
                                  <a:lnTo>
                                    <a:pt x="42" y="40"/>
                                  </a:lnTo>
                                  <a:lnTo>
                                    <a:pt x="42" y="40"/>
                                  </a:lnTo>
                                  <a:lnTo>
                                    <a:pt x="46" y="38"/>
                                  </a:lnTo>
                                  <a:lnTo>
                                    <a:pt x="46" y="36"/>
                                  </a:lnTo>
                                  <a:lnTo>
                                    <a:pt x="50" y="32"/>
                                  </a:lnTo>
                                  <a:lnTo>
                                    <a:pt x="50" y="32"/>
                                  </a:lnTo>
                                  <a:lnTo>
                                    <a:pt x="62" y="16"/>
                                  </a:lnTo>
                                  <a:lnTo>
                                    <a:pt x="62" y="16"/>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3" name="Canada"/>
                            <p:cNvSpPr>
                              <a:spLocks/>
                            </p:cNvSpPr>
                            <p:nvPr/>
                          </p:nvSpPr>
                          <p:spPr bwMode="auto">
                            <a:xfrm>
                              <a:off x="4436269" y="2086593"/>
                              <a:ext cx="36452" cy="39453"/>
                            </a:xfrm>
                            <a:custGeom>
                              <a:avLst/>
                              <a:gdLst/>
                              <a:ahLst/>
                              <a:cxnLst>
                                <a:cxn ang="0">
                                  <a:pos x="4" y="8"/>
                                </a:cxn>
                                <a:cxn ang="0">
                                  <a:pos x="4" y="8"/>
                                </a:cxn>
                                <a:cxn ang="0">
                                  <a:pos x="8" y="6"/>
                                </a:cxn>
                                <a:cxn ang="0">
                                  <a:pos x="10" y="6"/>
                                </a:cxn>
                                <a:cxn ang="0">
                                  <a:pos x="10" y="6"/>
                                </a:cxn>
                                <a:cxn ang="0">
                                  <a:pos x="20" y="0"/>
                                </a:cxn>
                                <a:cxn ang="0">
                                  <a:pos x="20" y="0"/>
                                </a:cxn>
                                <a:cxn ang="0">
                                  <a:pos x="24" y="0"/>
                                </a:cxn>
                                <a:cxn ang="0">
                                  <a:pos x="24" y="0"/>
                                </a:cxn>
                                <a:cxn ang="0">
                                  <a:pos x="22" y="2"/>
                                </a:cxn>
                                <a:cxn ang="0">
                                  <a:pos x="22" y="2"/>
                                </a:cxn>
                                <a:cxn ang="0">
                                  <a:pos x="18" y="6"/>
                                </a:cxn>
                                <a:cxn ang="0">
                                  <a:pos x="16" y="6"/>
                                </a:cxn>
                                <a:cxn ang="0">
                                  <a:pos x="18" y="6"/>
                                </a:cxn>
                                <a:cxn ang="0">
                                  <a:pos x="18" y="6"/>
                                </a:cxn>
                                <a:cxn ang="0">
                                  <a:pos x="22" y="4"/>
                                </a:cxn>
                                <a:cxn ang="0">
                                  <a:pos x="24" y="4"/>
                                </a:cxn>
                                <a:cxn ang="0">
                                  <a:pos x="24" y="4"/>
                                </a:cxn>
                                <a:cxn ang="0">
                                  <a:pos x="24" y="4"/>
                                </a:cxn>
                                <a:cxn ang="0">
                                  <a:pos x="24" y="10"/>
                                </a:cxn>
                                <a:cxn ang="0">
                                  <a:pos x="22" y="14"/>
                                </a:cxn>
                                <a:cxn ang="0">
                                  <a:pos x="22" y="14"/>
                                </a:cxn>
                                <a:cxn ang="0">
                                  <a:pos x="20" y="18"/>
                                </a:cxn>
                                <a:cxn ang="0">
                                  <a:pos x="20" y="22"/>
                                </a:cxn>
                                <a:cxn ang="0">
                                  <a:pos x="20" y="22"/>
                                </a:cxn>
                                <a:cxn ang="0">
                                  <a:pos x="20" y="24"/>
                                </a:cxn>
                                <a:cxn ang="0">
                                  <a:pos x="18" y="26"/>
                                </a:cxn>
                                <a:cxn ang="0">
                                  <a:pos x="14" y="26"/>
                                </a:cxn>
                                <a:cxn ang="0">
                                  <a:pos x="14" y="26"/>
                                </a:cxn>
                                <a:cxn ang="0">
                                  <a:pos x="12" y="26"/>
                                </a:cxn>
                                <a:cxn ang="0">
                                  <a:pos x="10" y="26"/>
                                </a:cxn>
                                <a:cxn ang="0">
                                  <a:pos x="8" y="26"/>
                                </a:cxn>
                                <a:cxn ang="0">
                                  <a:pos x="8" y="26"/>
                                </a:cxn>
                                <a:cxn ang="0">
                                  <a:pos x="8" y="20"/>
                                </a:cxn>
                                <a:cxn ang="0">
                                  <a:pos x="10" y="16"/>
                                </a:cxn>
                                <a:cxn ang="0">
                                  <a:pos x="10" y="16"/>
                                </a:cxn>
                                <a:cxn ang="0">
                                  <a:pos x="10" y="16"/>
                                </a:cxn>
                                <a:cxn ang="0">
                                  <a:pos x="8" y="16"/>
                                </a:cxn>
                                <a:cxn ang="0">
                                  <a:pos x="6" y="22"/>
                                </a:cxn>
                                <a:cxn ang="0">
                                  <a:pos x="6" y="22"/>
                                </a:cxn>
                                <a:cxn ang="0">
                                  <a:pos x="2" y="26"/>
                                </a:cxn>
                                <a:cxn ang="0">
                                  <a:pos x="0" y="26"/>
                                </a:cxn>
                                <a:cxn ang="0">
                                  <a:pos x="0" y="24"/>
                                </a:cxn>
                                <a:cxn ang="0">
                                  <a:pos x="0" y="24"/>
                                </a:cxn>
                                <a:cxn ang="0">
                                  <a:pos x="0" y="18"/>
                                </a:cxn>
                                <a:cxn ang="0">
                                  <a:pos x="0" y="14"/>
                                </a:cxn>
                                <a:cxn ang="0">
                                  <a:pos x="2" y="12"/>
                                </a:cxn>
                                <a:cxn ang="0">
                                  <a:pos x="2" y="12"/>
                                </a:cxn>
                                <a:cxn ang="0">
                                  <a:pos x="2" y="10"/>
                                </a:cxn>
                                <a:cxn ang="0">
                                  <a:pos x="4" y="8"/>
                                </a:cxn>
                                <a:cxn ang="0">
                                  <a:pos x="4" y="8"/>
                                </a:cxn>
                              </a:cxnLst>
                              <a:rect l="0" t="0" r="r" b="b"/>
                              <a:pathLst>
                                <a:path w="24" h="26">
                                  <a:moveTo>
                                    <a:pt x="4" y="8"/>
                                  </a:moveTo>
                                  <a:lnTo>
                                    <a:pt x="4" y="8"/>
                                  </a:lnTo>
                                  <a:lnTo>
                                    <a:pt x="8" y="6"/>
                                  </a:lnTo>
                                  <a:lnTo>
                                    <a:pt x="10" y="6"/>
                                  </a:lnTo>
                                  <a:lnTo>
                                    <a:pt x="10" y="6"/>
                                  </a:lnTo>
                                  <a:lnTo>
                                    <a:pt x="20" y="0"/>
                                  </a:lnTo>
                                  <a:lnTo>
                                    <a:pt x="20" y="0"/>
                                  </a:lnTo>
                                  <a:lnTo>
                                    <a:pt x="24" y="0"/>
                                  </a:lnTo>
                                  <a:lnTo>
                                    <a:pt x="24" y="0"/>
                                  </a:lnTo>
                                  <a:lnTo>
                                    <a:pt x="22" y="2"/>
                                  </a:lnTo>
                                  <a:lnTo>
                                    <a:pt x="22" y="2"/>
                                  </a:lnTo>
                                  <a:lnTo>
                                    <a:pt x="18" y="6"/>
                                  </a:lnTo>
                                  <a:lnTo>
                                    <a:pt x="16" y="6"/>
                                  </a:lnTo>
                                  <a:lnTo>
                                    <a:pt x="18" y="6"/>
                                  </a:lnTo>
                                  <a:lnTo>
                                    <a:pt x="18" y="6"/>
                                  </a:lnTo>
                                  <a:lnTo>
                                    <a:pt x="22" y="4"/>
                                  </a:lnTo>
                                  <a:lnTo>
                                    <a:pt x="24" y="4"/>
                                  </a:lnTo>
                                  <a:lnTo>
                                    <a:pt x="24" y="4"/>
                                  </a:lnTo>
                                  <a:lnTo>
                                    <a:pt x="24" y="4"/>
                                  </a:lnTo>
                                  <a:lnTo>
                                    <a:pt x="24" y="10"/>
                                  </a:lnTo>
                                  <a:lnTo>
                                    <a:pt x="22" y="14"/>
                                  </a:lnTo>
                                  <a:lnTo>
                                    <a:pt x="22" y="14"/>
                                  </a:lnTo>
                                  <a:lnTo>
                                    <a:pt x="20" y="18"/>
                                  </a:lnTo>
                                  <a:lnTo>
                                    <a:pt x="20" y="22"/>
                                  </a:lnTo>
                                  <a:lnTo>
                                    <a:pt x="20" y="22"/>
                                  </a:lnTo>
                                  <a:lnTo>
                                    <a:pt x="20" y="24"/>
                                  </a:lnTo>
                                  <a:lnTo>
                                    <a:pt x="18" y="26"/>
                                  </a:lnTo>
                                  <a:lnTo>
                                    <a:pt x="14" y="26"/>
                                  </a:lnTo>
                                  <a:lnTo>
                                    <a:pt x="14" y="26"/>
                                  </a:lnTo>
                                  <a:lnTo>
                                    <a:pt x="12" y="26"/>
                                  </a:lnTo>
                                  <a:lnTo>
                                    <a:pt x="10" y="26"/>
                                  </a:lnTo>
                                  <a:lnTo>
                                    <a:pt x="8" y="26"/>
                                  </a:lnTo>
                                  <a:lnTo>
                                    <a:pt x="8" y="26"/>
                                  </a:lnTo>
                                  <a:lnTo>
                                    <a:pt x="8" y="20"/>
                                  </a:lnTo>
                                  <a:lnTo>
                                    <a:pt x="10" y="16"/>
                                  </a:lnTo>
                                  <a:lnTo>
                                    <a:pt x="10" y="16"/>
                                  </a:lnTo>
                                  <a:lnTo>
                                    <a:pt x="10" y="16"/>
                                  </a:lnTo>
                                  <a:lnTo>
                                    <a:pt x="8" y="16"/>
                                  </a:lnTo>
                                  <a:lnTo>
                                    <a:pt x="6" y="22"/>
                                  </a:lnTo>
                                  <a:lnTo>
                                    <a:pt x="6" y="22"/>
                                  </a:lnTo>
                                  <a:lnTo>
                                    <a:pt x="2" y="26"/>
                                  </a:lnTo>
                                  <a:lnTo>
                                    <a:pt x="0" y="26"/>
                                  </a:lnTo>
                                  <a:lnTo>
                                    <a:pt x="0" y="24"/>
                                  </a:lnTo>
                                  <a:lnTo>
                                    <a:pt x="0" y="24"/>
                                  </a:lnTo>
                                  <a:lnTo>
                                    <a:pt x="0" y="18"/>
                                  </a:lnTo>
                                  <a:lnTo>
                                    <a:pt x="0" y="14"/>
                                  </a:lnTo>
                                  <a:lnTo>
                                    <a:pt x="2" y="12"/>
                                  </a:lnTo>
                                  <a:lnTo>
                                    <a:pt x="2" y="12"/>
                                  </a:lnTo>
                                  <a:lnTo>
                                    <a:pt x="2" y="10"/>
                                  </a:lnTo>
                                  <a:lnTo>
                                    <a:pt x="4" y="8"/>
                                  </a:lnTo>
                                  <a:lnTo>
                                    <a:pt x="4" y="8"/>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4" name="Canada"/>
                            <p:cNvSpPr>
                              <a:spLocks/>
                            </p:cNvSpPr>
                            <p:nvPr/>
                          </p:nvSpPr>
                          <p:spPr bwMode="auto">
                            <a:xfrm>
                              <a:off x="3807476" y="1616194"/>
                              <a:ext cx="164033" cy="66766"/>
                            </a:xfrm>
                            <a:custGeom>
                              <a:avLst/>
                              <a:gdLst/>
                              <a:ahLst/>
                              <a:cxnLst>
                                <a:cxn ang="0">
                                  <a:pos x="26" y="26"/>
                                </a:cxn>
                                <a:cxn ang="0">
                                  <a:pos x="28" y="18"/>
                                </a:cxn>
                                <a:cxn ang="0">
                                  <a:pos x="40" y="12"/>
                                </a:cxn>
                                <a:cxn ang="0">
                                  <a:pos x="58" y="2"/>
                                </a:cxn>
                                <a:cxn ang="0">
                                  <a:pos x="62" y="0"/>
                                </a:cxn>
                                <a:cxn ang="0">
                                  <a:pos x="64" y="2"/>
                                </a:cxn>
                                <a:cxn ang="0">
                                  <a:pos x="64" y="4"/>
                                </a:cxn>
                                <a:cxn ang="0">
                                  <a:pos x="62" y="10"/>
                                </a:cxn>
                                <a:cxn ang="0">
                                  <a:pos x="64" y="10"/>
                                </a:cxn>
                                <a:cxn ang="0">
                                  <a:pos x="68" y="8"/>
                                </a:cxn>
                                <a:cxn ang="0">
                                  <a:pos x="74" y="6"/>
                                </a:cxn>
                                <a:cxn ang="0">
                                  <a:pos x="76" y="8"/>
                                </a:cxn>
                                <a:cxn ang="0">
                                  <a:pos x="84" y="12"/>
                                </a:cxn>
                                <a:cxn ang="0">
                                  <a:pos x="90" y="16"/>
                                </a:cxn>
                                <a:cxn ang="0">
                                  <a:pos x="90" y="20"/>
                                </a:cxn>
                                <a:cxn ang="0">
                                  <a:pos x="96" y="24"/>
                                </a:cxn>
                                <a:cxn ang="0">
                                  <a:pos x="104" y="26"/>
                                </a:cxn>
                                <a:cxn ang="0">
                                  <a:pos x="104" y="30"/>
                                </a:cxn>
                                <a:cxn ang="0">
                                  <a:pos x="102" y="30"/>
                                </a:cxn>
                                <a:cxn ang="0">
                                  <a:pos x="106" y="32"/>
                                </a:cxn>
                                <a:cxn ang="0">
                                  <a:pos x="106" y="34"/>
                                </a:cxn>
                                <a:cxn ang="0">
                                  <a:pos x="102" y="38"/>
                                </a:cxn>
                                <a:cxn ang="0">
                                  <a:pos x="94" y="34"/>
                                </a:cxn>
                                <a:cxn ang="0">
                                  <a:pos x="84" y="34"/>
                                </a:cxn>
                                <a:cxn ang="0">
                                  <a:pos x="84" y="32"/>
                                </a:cxn>
                                <a:cxn ang="0">
                                  <a:pos x="88" y="28"/>
                                </a:cxn>
                                <a:cxn ang="0">
                                  <a:pos x="76" y="28"/>
                                </a:cxn>
                                <a:cxn ang="0">
                                  <a:pos x="78" y="26"/>
                                </a:cxn>
                                <a:cxn ang="0">
                                  <a:pos x="78" y="24"/>
                                </a:cxn>
                                <a:cxn ang="0">
                                  <a:pos x="74" y="26"/>
                                </a:cxn>
                                <a:cxn ang="0">
                                  <a:pos x="66" y="26"/>
                                </a:cxn>
                                <a:cxn ang="0">
                                  <a:pos x="60" y="28"/>
                                </a:cxn>
                                <a:cxn ang="0">
                                  <a:pos x="58" y="32"/>
                                </a:cxn>
                                <a:cxn ang="0">
                                  <a:pos x="46" y="34"/>
                                </a:cxn>
                                <a:cxn ang="0">
                                  <a:pos x="42" y="34"/>
                                </a:cxn>
                                <a:cxn ang="0">
                                  <a:pos x="36" y="40"/>
                                </a:cxn>
                                <a:cxn ang="0">
                                  <a:pos x="34" y="42"/>
                                </a:cxn>
                                <a:cxn ang="0">
                                  <a:pos x="16" y="44"/>
                                </a:cxn>
                                <a:cxn ang="0">
                                  <a:pos x="14" y="44"/>
                                </a:cxn>
                                <a:cxn ang="0">
                                  <a:pos x="18" y="40"/>
                                </a:cxn>
                                <a:cxn ang="0">
                                  <a:pos x="20" y="38"/>
                                </a:cxn>
                                <a:cxn ang="0">
                                  <a:pos x="16" y="36"/>
                                </a:cxn>
                                <a:cxn ang="0">
                                  <a:pos x="4" y="36"/>
                                </a:cxn>
                                <a:cxn ang="0">
                                  <a:pos x="0" y="36"/>
                                </a:cxn>
                                <a:cxn ang="0">
                                  <a:pos x="6" y="32"/>
                                </a:cxn>
                                <a:cxn ang="0">
                                  <a:pos x="26" y="26"/>
                                </a:cxn>
                              </a:cxnLst>
                              <a:rect l="0" t="0" r="r" b="b"/>
                              <a:pathLst>
                                <a:path w="108" h="44">
                                  <a:moveTo>
                                    <a:pt x="26" y="26"/>
                                  </a:moveTo>
                                  <a:lnTo>
                                    <a:pt x="26" y="26"/>
                                  </a:lnTo>
                                  <a:lnTo>
                                    <a:pt x="26" y="22"/>
                                  </a:lnTo>
                                  <a:lnTo>
                                    <a:pt x="28" y="18"/>
                                  </a:lnTo>
                                  <a:lnTo>
                                    <a:pt x="40" y="12"/>
                                  </a:lnTo>
                                  <a:lnTo>
                                    <a:pt x="40" y="12"/>
                                  </a:lnTo>
                                  <a:lnTo>
                                    <a:pt x="48" y="6"/>
                                  </a:lnTo>
                                  <a:lnTo>
                                    <a:pt x="58" y="2"/>
                                  </a:lnTo>
                                  <a:lnTo>
                                    <a:pt x="58" y="2"/>
                                  </a:lnTo>
                                  <a:lnTo>
                                    <a:pt x="62" y="0"/>
                                  </a:lnTo>
                                  <a:lnTo>
                                    <a:pt x="64" y="2"/>
                                  </a:lnTo>
                                  <a:lnTo>
                                    <a:pt x="64" y="2"/>
                                  </a:lnTo>
                                  <a:lnTo>
                                    <a:pt x="64" y="4"/>
                                  </a:lnTo>
                                  <a:lnTo>
                                    <a:pt x="64" y="4"/>
                                  </a:lnTo>
                                  <a:lnTo>
                                    <a:pt x="62" y="6"/>
                                  </a:lnTo>
                                  <a:lnTo>
                                    <a:pt x="62" y="10"/>
                                  </a:lnTo>
                                  <a:lnTo>
                                    <a:pt x="62" y="10"/>
                                  </a:lnTo>
                                  <a:lnTo>
                                    <a:pt x="64" y="10"/>
                                  </a:lnTo>
                                  <a:lnTo>
                                    <a:pt x="64" y="10"/>
                                  </a:lnTo>
                                  <a:lnTo>
                                    <a:pt x="68" y="8"/>
                                  </a:lnTo>
                                  <a:lnTo>
                                    <a:pt x="72" y="6"/>
                                  </a:lnTo>
                                  <a:lnTo>
                                    <a:pt x="74" y="6"/>
                                  </a:lnTo>
                                  <a:lnTo>
                                    <a:pt x="76" y="8"/>
                                  </a:lnTo>
                                  <a:lnTo>
                                    <a:pt x="76" y="8"/>
                                  </a:lnTo>
                                  <a:lnTo>
                                    <a:pt x="78" y="10"/>
                                  </a:lnTo>
                                  <a:lnTo>
                                    <a:pt x="84" y="12"/>
                                  </a:lnTo>
                                  <a:lnTo>
                                    <a:pt x="88" y="14"/>
                                  </a:lnTo>
                                  <a:lnTo>
                                    <a:pt x="90" y="16"/>
                                  </a:lnTo>
                                  <a:lnTo>
                                    <a:pt x="90" y="16"/>
                                  </a:lnTo>
                                  <a:lnTo>
                                    <a:pt x="90" y="20"/>
                                  </a:lnTo>
                                  <a:lnTo>
                                    <a:pt x="90" y="22"/>
                                  </a:lnTo>
                                  <a:lnTo>
                                    <a:pt x="96" y="24"/>
                                  </a:lnTo>
                                  <a:lnTo>
                                    <a:pt x="96" y="24"/>
                                  </a:lnTo>
                                  <a:lnTo>
                                    <a:pt x="104" y="26"/>
                                  </a:lnTo>
                                  <a:lnTo>
                                    <a:pt x="104" y="28"/>
                                  </a:lnTo>
                                  <a:lnTo>
                                    <a:pt x="104" y="30"/>
                                  </a:lnTo>
                                  <a:lnTo>
                                    <a:pt x="104" y="30"/>
                                  </a:lnTo>
                                  <a:lnTo>
                                    <a:pt x="102" y="30"/>
                                  </a:lnTo>
                                  <a:lnTo>
                                    <a:pt x="104" y="30"/>
                                  </a:lnTo>
                                  <a:lnTo>
                                    <a:pt x="106" y="32"/>
                                  </a:lnTo>
                                  <a:lnTo>
                                    <a:pt x="108" y="32"/>
                                  </a:lnTo>
                                  <a:lnTo>
                                    <a:pt x="106" y="34"/>
                                  </a:lnTo>
                                  <a:lnTo>
                                    <a:pt x="106" y="34"/>
                                  </a:lnTo>
                                  <a:lnTo>
                                    <a:pt x="102" y="38"/>
                                  </a:lnTo>
                                  <a:lnTo>
                                    <a:pt x="100" y="38"/>
                                  </a:lnTo>
                                  <a:lnTo>
                                    <a:pt x="94" y="34"/>
                                  </a:lnTo>
                                  <a:lnTo>
                                    <a:pt x="94" y="34"/>
                                  </a:lnTo>
                                  <a:lnTo>
                                    <a:pt x="84" y="34"/>
                                  </a:lnTo>
                                  <a:lnTo>
                                    <a:pt x="82" y="34"/>
                                  </a:lnTo>
                                  <a:lnTo>
                                    <a:pt x="84" y="32"/>
                                  </a:lnTo>
                                  <a:lnTo>
                                    <a:pt x="84" y="32"/>
                                  </a:lnTo>
                                  <a:lnTo>
                                    <a:pt x="88" y="28"/>
                                  </a:lnTo>
                                  <a:lnTo>
                                    <a:pt x="84" y="28"/>
                                  </a:lnTo>
                                  <a:lnTo>
                                    <a:pt x="76" y="28"/>
                                  </a:lnTo>
                                  <a:lnTo>
                                    <a:pt x="76" y="28"/>
                                  </a:lnTo>
                                  <a:lnTo>
                                    <a:pt x="78" y="26"/>
                                  </a:lnTo>
                                  <a:lnTo>
                                    <a:pt x="78" y="26"/>
                                  </a:lnTo>
                                  <a:lnTo>
                                    <a:pt x="78" y="24"/>
                                  </a:lnTo>
                                  <a:lnTo>
                                    <a:pt x="74" y="26"/>
                                  </a:lnTo>
                                  <a:lnTo>
                                    <a:pt x="74" y="26"/>
                                  </a:lnTo>
                                  <a:lnTo>
                                    <a:pt x="68" y="26"/>
                                  </a:lnTo>
                                  <a:lnTo>
                                    <a:pt x="66" y="26"/>
                                  </a:lnTo>
                                  <a:lnTo>
                                    <a:pt x="62" y="26"/>
                                  </a:lnTo>
                                  <a:lnTo>
                                    <a:pt x="60" y="28"/>
                                  </a:lnTo>
                                  <a:lnTo>
                                    <a:pt x="60" y="28"/>
                                  </a:lnTo>
                                  <a:lnTo>
                                    <a:pt x="58" y="32"/>
                                  </a:lnTo>
                                  <a:lnTo>
                                    <a:pt x="54" y="32"/>
                                  </a:lnTo>
                                  <a:lnTo>
                                    <a:pt x="46" y="34"/>
                                  </a:lnTo>
                                  <a:lnTo>
                                    <a:pt x="46" y="34"/>
                                  </a:lnTo>
                                  <a:lnTo>
                                    <a:pt x="42" y="34"/>
                                  </a:lnTo>
                                  <a:lnTo>
                                    <a:pt x="40" y="36"/>
                                  </a:lnTo>
                                  <a:lnTo>
                                    <a:pt x="36" y="40"/>
                                  </a:lnTo>
                                  <a:lnTo>
                                    <a:pt x="34" y="42"/>
                                  </a:lnTo>
                                  <a:lnTo>
                                    <a:pt x="34" y="42"/>
                                  </a:lnTo>
                                  <a:lnTo>
                                    <a:pt x="24" y="44"/>
                                  </a:lnTo>
                                  <a:lnTo>
                                    <a:pt x="16" y="44"/>
                                  </a:lnTo>
                                  <a:lnTo>
                                    <a:pt x="16" y="44"/>
                                  </a:lnTo>
                                  <a:lnTo>
                                    <a:pt x="14" y="44"/>
                                  </a:lnTo>
                                  <a:lnTo>
                                    <a:pt x="14" y="42"/>
                                  </a:lnTo>
                                  <a:lnTo>
                                    <a:pt x="18" y="40"/>
                                  </a:lnTo>
                                  <a:lnTo>
                                    <a:pt x="18" y="40"/>
                                  </a:lnTo>
                                  <a:lnTo>
                                    <a:pt x="20" y="38"/>
                                  </a:lnTo>
                                  <a:lnTo>
                                    <a:pt x="20" y="36"/>
                                  </a:lnTo>
                                  <a:lnTo>
                                    <a:pt x="16" y="36"/>
                                  </a:lnTo>
                                  <a:lnTo>
                                    <a:pt x="16" y="36"/>
                                  </a:lnTo>
                                  <a:lnTo>
                                    <a:pt x="4" y="36"/>
                                  </a:lnTo>
                                  <a:lnTo>
                                    <a:pt x="2" y="36"/>
                                  </a:lnTo>
                                  <a:lnTo>
                                    <a:pt x="0" y="36"/>
                                  </a:lnTo>
                                  <a:lnTo>
                                    <a:pt x="0" y="36"/>
                                  </a:lnTo>
                                  <a:lnTo>
                                    <a:pt x="6" y="32"/>
                                  </a:lnTo>
                                  <a:lnTo>
                                    <a:pt x="26" y="26"/>
                                  </a:lnTo>
                                  <a:lnTo>
                                    <a:pt x="26" y="26"/>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5" name="Canada"/>
                            <p:cNvSpPr>
                              <a:spLocks/>
                            </p:cNvSpPr>
                            <p:nvPr/>
                          </p:nvSpPr>
                          <p:spPr bwMode="auto">
                            <a:xfrm>
                              <a:off x="3707235" y="1446243"/>
                              <a:ext cx="136694" cy="45523"/>
                            </a:xfrm>
                            <a:custGeom>
                              <a:avLst/>
                              <a:gdLst/>
                              <a:ahLst/>
                              <a:cxnLst>
                                <a:cxn ang="0">
                                  <a:pos x="54" y="26"/>
                                </a:cxn>
                                <a:cxn ang="0">
                                  <a:pos x="56" y="28"/>
                                </a:cxn>
                                <a:cxn ang="0">
                                  <a:pos x="64" y="26"/>
                                </a:cxn>
                                <a:cxn ang="0">
                                  <a:pos x="72" y="22"/>
                                </a:cxn>
                                <a:cxn ang="0">
                                  <a:pos x="76" y="18"/>
                                </a:cxn>
                                <a:cxn ang="0">
                                  <a:pos x="72" y="16"/>
                                </a:cxn>
                                <a:cxn ang="0">
                                  <a:pos x="72" y="14"/>
                                </a:cxn>
                                <a:cxn ang="0">
                                  <a:pos x="84" y="12"/>
                                </a:cxn>
                                <a:cxn ang="0">
                                  <a:pos x="88" y="10"/>
                                </a:cxn>
                                <a:cxn ang="0">
                                  <a:pos x="90" y="6"/>
                                </a:cxn>
                                <a:cxn ang="0">
                                  <a:pos x="82" y="6"/>
                                </a:cxn>
                                <a:cxn ang="0">
                                  <a:pos x="80" y="6"/>
                                </a:cxn>
                                <a:cxn ang="0">
                                  <a:pos x="88" y="4"/>
                                </a:cxn>
                                <a:cxn ang="0">
                                  <a:pos x="88" y="2"/>
                                </a:cxn>
                                <a:cxn ang="0">
                                  <a:pos x="78" y="2"/>
                                </a:cxn>
                                <a:cxn ang="0">
                                  <a:pos x="66" y="2"/>
                                </a:cxn>
                                <a:cxn ang="0">
                                  <a:pos x="52" y="2"/>
                                </a:cxn>
                                <a:cxn ang="0">
                                  <a:pos x="44" y="2"/>
                                </a:cxn>
                                <a:cxn ang="0">
                                  <a:pos x="38" y="2"/>
                                </a:cxn>
                                <a:cxn ang="0">
                                  <a:pos x="28" y="4"/>
                                </a:cxn>
                                <a:cxn ang="0">
                                  <a:pos x="28" y="6"/>
                                </a:cxn>
                                <a:cxn ang="0">
                                  <a:pos x="40" y="12"/>
                                </a:cxn>
                                <a:cxn ang="0">
                                  <a:pos x="40" y="14"/>
                                </a:cxn>
                                <a:cxn ang="0">
                                  <a:pos x="30" y="12"/>
                                </a:cxn>
                                <a:cxn ang="0">
                                  <a:pos x="14" y="10"/>
                                </a:cxn>
                                <a:cxn ang="0">
                                  <a:pos x="0" y="12"/>
                                </a:cxn>
                                <a:cxn ang="0">
                                  <a:pos x="0" y="14"/>
                                </a:cxn>
                                <a:cxn ang="0">
                                  <a:pos x="6" y="22"/>
                                </a:cxn>
                                <a:cxn ang="0">
                                  <a:pos x="10" y="22"/>
                                </a:cxn>
                                <a:cxn ang="0">
                                  <a:pos x="24" y="26"/>
                                </a:cxn>
                                <a:cxn ang="0">
                                  <a:pos x="28" y="28"/>
                                </a:cxn>
                                <a:cxn ang="0">
                                  <a:pos x="36" y="28"/>
                                </a:cxn>
                                <a:cxn ang="0">
                                  <a:pos x="44" y="30"/>
                                </a:cxn>
                                <a:cxn ang="0">
                                  <a:pos x="54" y="26"/>
                                </a:cxn>
                              </a:cxnLst>
                              <a:rect l="0" t="0" r="r" b="b"/>
                              <a:pathLst>
                                <a:path w="90" h="30">
                                  <a:moveTo>
                                    <a:pt x="54" y="26"/>
                                  </a:moveTo>
                                  <a:lnTo>
                                    <a:pt x="54" y="26"/>
                                  </a:lnTo>
                                  <a:lnTo>
                                    <a:pt x="54" y="28"/>
                                  </a:lnTo>
                                  <a:lnTo>
                                    <a:pt x="56" y="28"/>
                                  </a:lnTo>
                                  <a:lnTo>
                                    <a:pt x="60" y="28"/>
                                  </a:lnTo>
                                  <a:lnTo>
                                    <a:pt x="64" y="26"/>
                                  </a:lnTo>
                                  <a:lnTo>
                                    <a:pt x="64" y="26"/>
                                  </a:lnTo>
                                  <a:lnTo>
                                    <a:pt x="72" y="22"/>
                                  </a:lnTo>
                                  <a:lnTo>
                                    <a:pt x="72" y="22"/>
                                  </a:lnTo>
                                  <a:lnTo>
                                    <a:pt x="76" y="18"/>
                                  </a:lnTo>
                                  <a:lnTo>
                                    <a:pt x="76" y="16"/>
                                  </a:lnTo>
                                  <a:lnTo>
                                    <a:pt x="72" y="16"/>
                                  </a:lnTo>
                                  <a:lnTo>
                                    <a:pt x="72" y="14"/>
                                  </a:lnTo>
                                  <a:lnTo>
                                    <a:pt x="72" y="14"/>
                                  </a:lnTo>
                                  <a:lnTo>
                                    <a:pt x="78" y="14"/>
                                  </a:lnTo>
                                  <a:lnTo>
                                    <a:pt x="84" y="12"/>
                                  </a:lnTo>
                                  <a:lnTo>
                                    <a:pt x="88" y="10"/>
                                  </a:lnTo>
                                  <a:lnTo>
                                    <a:pt x="88" y="10"/>
                                  </a:lnTo>
                                  <a:lnTo>
                                    <a:pt x="90" y="8"/>
                                  </a:lnTo>
                                  <a:lnTo>
                                    <a:pt x="90" y="6"/>
                                  </a:lnTo>
                                  <a:lnTo>
                                    <a:pt x="86" y="6"/>
                                  </a:lnTo>
                                  <a:lnTo>
                                    <a:pt x="82" y="6"/>
                                  </a:lnTo>
                                  <a:lnTo>
                                    <a:pt x="80" y="6"/>
                                  </a:lnTo>
                                  <a:lnTo>
                                    <a:pt x="80" y="6"/>
                                  </a:lnTo>
                                  <a:lnTo>
                                    <a:pt x="86" y="4"/>
                                  </a:lnTo>
                                  <a:lnTo>
                                    <a:pt x="88" y="4"/>
                                  </a:lnTo>
                                  <a:lnTo>
                                    <a:pt x="88" y="2"/>
                                  </a:lnTo>
                                  <a:lnTo>
                                    <a:pt x="88" y="2"/>
                                  </a:lnTo>
                                  <a:lnTo>
                                    <a:pt x="84" y="0"/>
                                  </a:lnTo>
                                  <a:lnTo>
                                    <a:pt x="78" y="2"/>
                                  </a:lnTo>
                                  <a:lnTo>
                                    <a:pt x="66" y="2"/>
                                  </a:lnTo>
                                  <a:lnTo>
                                    <a:pt x="66" y="2"/>
                                  </a:lnTo>
                                  <a:lnTo>
                                    <a:pt x="60" y="2"/>
                                  </a:lnTo>
                                  <a:lnTo>
                                    <a:pt x="52" y="2"/>
                                  </a:lnTo>
                                  <a:lnTo>
                                    <a:pt x="52" y="2"/>
                                  </a:lnTo>
                                  <a:lnTo>
                                    <a:pt x="44" y="2"/>
                                  </a:lnTo>
                                  <a:lnTo>
                                    <a:pt x="38" y="2"/>
                                  </a:lnTo>
                                  <a:lnTo>
                                    <a:pt x="38" y="2"/>
                                  </a:lnTo>
                                  <a:lnTo>
                                    <a:pt x="30" y="4"/>
                                  </a:lnTo>
                                  <a:lnTo>
                                    <a:pt x="28" y="4"/>
                                  </a:lnTo>
                                  <a:lnTo>
                                    <a:pt x="28" y="6"/>
                                  </a:lnTo>
                                  <a:lnTo>
                                    <a:pt x="28" y="6"/>
                                  </a:lnTo>
                                  <a:lnTo>
                                    <a:pt x="36" y="8"/>
                                  </a:lnTo>
                                  <a:lnTo>
                                    <a:pt x="40" y="12"/>
                                  </a:lnTo>
                                  <a:lnTo>
                                    <a:pt x="40" y="12"/>
                                  </a:lnTo>
                                  <a:lnTo>
                                    <a:pt x="40" y="14"/>
                                  </a:lnTo>
                                  <a:lnTo>
                                    <a:pt x="40" y="14"/>
                                  </a:lnTo>
                                  <a:lnTo>
                                    <a:pt x="30" y="12"/>
                                  </a:lnTo>
                                  <a:lnTo>
                                    <a:pt x="30" y="12"/>
                                  </a:lnTo>
                                  <a:lnTo>
                                    <a:pt x="14" y="10"/>
                                  </a:lnTo>
                                  <a:lnTo>
                                    <a:pt x="6" y="10"/>
                                  </a:lnTo>
                                  <a:lnTo>
                                    <a:pt x="0" y="12"/>
                                  </a:lnTo>
                                  <a:lnTo>
                                    <a:pt x="0" y="12"/>
                                  </a:lnTo>
                                  <a:lnTo>
                                    <a:pt x="0" y="14"/>
                                  </a:lnTo>
                                  <a:lnTo>
                                    <a:pt x="2" y="18"/>
                                  </a:lnTo>
                                  <a:lnTo>
                                    <a:pt x="6" y="22"/>
                                  </a:lnTo>
                                  <a:lnTo>
                                    <a:pt x="10" y="22"/>
                                  </a:lnTo>
                                  <a:lnTo>
                                    <a:pt x="10" y="22"/>
                                  </a:lnTo>
                                  <a:lnTo>
                                    <a:pt x="18" y="24"/>
                                  </a:lnTo>
                                  <a:lnTo>
                                    <a:pt x="24" y="26"/>
                                  </a:lnTo>
                                  <a:lnTo>
                                    <a:pt x="24" y="26"/>
                                  </a:lnTo>
                                  <a:lnTo>
                                    <a:pt x="28" y="28"/>
                                  </a:lnTo>
                                  <a:lnTo>
                                    <a:pt x="32" y="28"/>
                                  </a:lnTo>
                                  <a:lnTo>
                                    <a:pt x="36" y="28"/>
                                  </a:lnTo>
                                  <a:lnTo>
                                    <a:pt x="36" y="28"/>
                                  </a:lnTo>
                                  <a:lnTo>
                                    <a:pt x="44" y="30"/>
                                  </a:lnTo>
                                  <a:lnTo>
                                    <a:pt x="48" y="30"/>
                                  </a:lnTo>
                                  <a:lnTo>
                                    <a:pt x="54" y="26"/>
                                  </a:lnTo>
                                  <a:lnTo>
                                    <a:pt x="54" y="26"/>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6" name="Canada"/>
                            <p:cNvSpPr>
                              <a:spLocks/>
                            </p:cNvSpPr>
                            <p:nvPr/>
                          </p:nvSpPr>
                          <p:spPr bwMode="auto">
                            <a:xfrm>
                              <a:off x="3944171" y="1406791"/>
                              <a:ext cx="300727" cy="45523"/>
                            </a:xfrm>
                            <a:custGeom>
                              <a:avLst/>
                              <a:gdLst/>
                              <a:ahLst/>
                              <a:cxnLst>
                                <a:cxn ang="0">
                                  <a:pos x="34" y="30"/>
                                </a:cxn>
                                <a:cxn ang="0">
                                  <a:pos x="48" y="26"/>
                                </a:cxn>
                                <a:cxn ang="0">
                                  <a:pos x="54" y="26"/>
                                </a:cxn>
                                <a:cxn ang="0">
                                  <a:pos x="58" y="30"/>
                                </a:cxn>
                                <a:cxn ang="0">
                                  <a:pos x="66" y="30"/>
                                </a:cxn>
                                <a:cxn ang="0">
                                  <a:pos x="78" y="28"/>
                                </a:cxn>
                                <a:cxn ang="0">
                                  <a:pos x="88" y="24"/>
                                </a:cxn>
                                <a:cxn ang="0">
                                  <a:pos x="90" y="24"/>
                                </a:cxn>
                                <a:cxn ang="0">
                                  <a:pos x="88" y="26"/>
                                </a:cxn>
                                <a:cxn ang="0">
                                  <a:pos x="90" y="30"/>
                                </a:cxn>
                                <a:cxn ang="0">
                                  <a:pos x="100" y="30"/>
                                </a:cxn>
                                <a:cxn ang="0">
                                  <a:pos x="108" y="26"/>
                                </a:cxn>
                                <a:cxn ang="0">
                                  <a:pos x="112" y="26"/>
                                </a:cxn>
                                <a:cxn ang="0">
                                  <a:pos x="138" y="26"/>
                                </a:cxn>
                                <a:cxn ang="0">
                                  <a:pos x="144" y="26"/>
                                </a:cxn>
                                <a:cxn ang="0">
                                  <a:pos x="152" y="28"/>
                                </a:cxn>
                                <a:cxn ang="0">
                                  <a:pos x="156" y="28"/>
                                </a:cxn>
                                <a:cxn ang="0">
                                  <a:pos x="158" y="26"/>
                                </a:cxn>
                                <a:cxn ang="0">
                                  <a:pos x="156" y="20"/>
                                </a:cxn>
                                <a:cxn ang="0">
                                  <a:pos x="160" y="22"/>
                                </a:cxn>
                                <a:cxn ang="0">
                                  <a:pos x="178" y="26"/>
                                </a:cxn>
                                <a:cxn ang="0">
                                  <a:pos x="194" y="24"/>
                                </a:cxn>
                                <a:cxn ang="0">
                                  <a:pos x="194" y="22"/>
                                </a:cxn>
                                <a:cxn ang="0">
                                  <a:pos x="188" y="18"/>
                                </a:cxn>
                                <a:cxn ang="0">
                                  <a:pos x="180" y="12"/>
                                </a:cxn>
                                <a:cxn ang="0">
                                  <a:pos x="174" y="10"/>
                                </a:cxn>
                                <a:cxn ang="0">
                                  <a:pos x="164" y="12"/>
                                </a:cxn>
                                <a:cxn ang="0">
                                  <a:pos x="160" y="12"/>
                                </a:cxn>
                                <a:cxn ang="0">
                                  <a:pos x="156" y="12"/>
                                </a:cxn>
                                <a:cxn ang="0">
                                  <a:pos x="142" y="14"/>
                                </a:cxn>
                                <a:cxn ang="0">
                                  <a:pos x="136" y="14"/>
                                </a:cxn>
                                <a:cxn ang="0">
                                  <a:pos x="124" y="14"/>
                                </a:cxn>
                                <a:cxn ang="0">
                                  <a:pos x="112" y="14"/>
                                </a:cxn>
                                <a:cxn ang="0">
                                  <a:pos x="104" y="12"/>
                                </a:cxn>
                                <a:cxn ang="0">
                                  <a:pos x="88" y="14"/>
                                </a:cxn>
                                <a:cxn ang="0">
                                  <a:pos x="82" y="14"/>
                                </a:cxn>
                                <a:cxn ang="0">
                                  <a:pos x="72" y="16"/>
                                </a:cxn>
                                <a:cxn ang="0">
                                  <a:pos x="62" y="16"/>
                                </a:cxn>
                                <a:cxn ang="0">
                                  <a:pos x="60" y="14"/>
                                </a:cxn>
                                <a:cxn ang="0">
                                  <a:pos x="52" y="16"/>
                                </a:cxn>
                                <a:cxn ang="0">
                                  <a:pos x="50" y="14"/>
                                </a:cxn>
                                <a:cxn ang="0">
                                  <a:pos x="42" y="12"/>
                                </a:cxn>
                                <a:cxn ang="0">
                                  <a:pos x="40" y="10"/>
                                </a:cxn>
                                <a:cxn ang="0">
                                  <a:pos x="46" y="10"/>
                                </a:cxn>
                                <a:cxn ang="0">
                                  <a:pos x="52" y="4"/>
                                </a:cxn>
                                <a:cxn ang="0">
                                  <a:pos x="46" y="2"/>
                                </a:cxn>
                                <a:cxn ang="0">
                                  <a:pos x="36" y="0"/>
                                </a:cxn>
                                <a:cxn ang="0">
                                  <a:pos x="28" y="0"/>
                                </a:cxn>
                                <a:cxn ang="0">
                                  <a:pos x="14" y="0"/>
                                </a:cxn>
                                <a:cxn ang="0">
                                  <a:pos x="2" y="2"/>
                                </a:cxn>
                                <a:cxn ang="0">
                                  <a:pos x="0" y="4"/>
                                </a:cxn>
                                <a:cxn ang="0">
                                  <a:pos x="6" y="8"/>
                                </a:cxn>
                                <a:cxn ang="0">
                                  <a:pos x="6" y="12"/>
                                </a:cxn>
                                <a:cxn ang="0">
                                  <a:pos x="6" y="12"/>
                                </a:cxn>
                                <a:cxn ang="0">
                                  <a:pos x="12" y="14"/>
                                </a:cxn>
                                <a:cxn ang="0">
                                  <a:pos x="24" y="12"/>
                                </a:cxn>
                                <a:cxn ang="0">
                                  <a:pos x="28" y="14"/>
                                </a:cxn>
                                <a:cxn ang="0">
                                  <a:pos x="28" y="18"/>
                                </a:cxn>
                                <a:cxn ang="0">
                                  <a:pos x="24" y="20"/>
                                </a:cxn>
                                <a:cxn ang="0">
                                  <a:pos x="20" y="26"/>
                                </a:cxn>
                                <a:cxn ang="0">
                                  <a:pos x="34" y="30"/>
                                </a:cxn>
                              </a:cxnLst>
                              <a:rect l="0" t="0" r="r" b="b"/>
                              <a:pathLst>
                                <a:path w="198" h="30">
                                  <a:moveTo>
                                    <a:pt x="34" y="30"/>
                                  </a:moveTo>
                                  <a:lnTo>
                                    <a:pt x="34" y="30"/>
                                  </a:lnTo>
                                  <a:lnTo>
                                    <a:pt x="42" y="28"/>
                                  </a:lnTo>
                                  <a:lnTo>
                                    <a:pt x="48" y="26"/>
                                  </a:lnTo>
                                  <a:lnTo>
                                    <a:pt x="52" y="26"/>
                                  </a:lnTo>
                                  <a:lnTo>
                                    <a:pt x="54" y="26"/>
                                  </a:lnTo>
                                  <a:lnTo>
                                    <a:pt x="54" y="26"/>
                                  </a:lnTo>
                                  <a:lnTo>
                                    <a:pt x="58" y="30"/>
                                  </a:lnTo>
                                  <a:lnTo>
                                    <a:pt x="66" y="30"/>
                                  </a:lnTo>
                                  <a:lnTo>
                                    <a:pt x="66" y="30"/>
                                  </a:lnTo>
                                  <a:lnTo>
                                    <a:pt x="74" y="30"/>
                                  </a:lnTo>
                                  <a:lnTo>
                                    <a:pt x="78" y="28"/>
                                  </a:lnTo>
                                  <a:lnTo>
                                    <a:pt x="84" y="26"/>
                                  </a:lnTo>
                                  <a:lnTo>
                                    <a:pt x="88" y="24"/>
                                  </a:lnTo>
                                  <a:lnTo>
                                    <a:pt x="88" y="24"/>
                                  </a:lnTo>
                                  <a:lnTo>
                                    <a:pt x="90" y="24"/>
                                  </a:lnTo>
                                  <a:lnTo>
                                    <a:pt x="90" y="24"/>
                                  </a:lnTo>
                                  <a:lnTo>
                                    <a:pt x="88" y="26"/>
                                  </a:lnTo>
                                  <a:lnTo>
                                    <a:pt x="86" y="28"/>
                                  </a:lnTo>
                                  <a:lnTo>
                                    <a:pt x="90" y="30"/>
                                  </a:lnTo>
                                  <a:lnTo>
                                    <a:pt x="90" y="30"/>
                                  </a:lnTo>
                                  <a:lnTo>
                                    <a:pt x="100" y="30"/>
                                  </a:lnTo>
                                  <a:lnTo>
                                    <a:pt x="106" y="28"/>
                                  </a:lnTo>
                                  <a:lnTo>
                                    <a:pt x="108" y="26"/>
                                  </a:lnTo>
                                  <a:lnTo>
                                    <a:pt x="112" y="26"/>
                                  </a:lnTo>
                                  <a:lnTo>
                                    <a:pt x="112" y="26"/>
                                  </a:lnTo>
                                  <a:lnTo>
                                    <a:pt x="126" y="28"/>
                                  </a:lnTo>
                                  <a:lnTo>
                                    <a:pt x="138" y="26"/>
                                  </a:lnTo>
                                  <a:lnTo>
                                    <a:pt x="138" y="26"/>
                                  </a:lnTo>
                                  <a:lnTo>
                                    <a:pt x="144" y="26"/>
                                  </a:lnTo>
                                  <a:lnTo>
                                    <a:pt x="148" y="26"/>
                                  </a:lnTo>
                                  <a:lnTo>
                                    <a:pt x="152" y="28"/>
                                  </a:lnTo>
                                  <a:lnTo>
                                    <a:pt x="156" y="28"/>
                                  </a:lnTo>
                                  <a:lnTo>
                                    <a:pt x="156" y="28"/>
                                  </a:lnTo>
                                  <a:lnTo>
                                    <a:pt x="158" y="26"/>
                                  </a:lnTo>
                                  <a:lnTo>
                                    <a:pt x="158" y="26"/>
                                  </a:lnTo>
                                  <a:lnTo>
                                    <a:pt x="158" y="22"/>
                                  </a:lnTo>
                                  <a:lnTo>
                                    <a:pt x="156" y="20"/>
                                  </a:lnTo>
                                  <a:lnTo>
                                    <a:pt x="160" y="22"/>
                                  </a:lnTo>
                                  <a:lnTo>
                                    <a:pt x="160" y="22"/>
                                  </a:lnTo>
                                  <a:lnTo>
                                    <a:pt x="170" y="26"/>
                                  </a:lnTo>
                                  <a:lnTo>
                                    <a:pt x="178" y="26"/>
                                  </a:lnTo>
                                  <a:lnTo>
                                    <a:pt x="178" y="26"/>
                                  </a:lnTo>
                                  <a:lnTo>
                                    <a:pt x="194" y="24"/>
                                  </a:lnTo>
                                  <a:lnTo>
                                    <a:pt x="198" y="24"/>
                                  </a:lnTo>
                                  <a:lnTo>
                                    <a:pt x="194" y="22"/>
                                  </a:lnTo>
                                  <a:lnTo>
                                    <a:pt x="194" y="22"/>
                                  </a:lnTo>
                                  <a:lnTo>
                                    <a:pt x="188" y="18"/>
                                  </a:lnTo>
                                  <a:lnTo>
                                    <a:pt x="184" y="14"/>
                                  </a:lnTo>
                                  <a:lnTo>
                                    <a:pt x="180" y="12"/>
                                  </a:lnTo>
                                  <a:lnTo>
                                    <a:pt x="174" y="10"/>
                                  </a:lnTo>
                                  <a:lnTo>
                                    <a:pt x="174" y="10"/>
                                  </a:lnTo>
                                  <a:lnTo>
                                    <a:pt x="168" y="10"/>
                                  </a:lnTo>
                                  <a:lnTo>
                                    <a:pt x="164" y="12"/>
                                  </a:lnTo>
                                  <a:lnTo>
                                    <a:pt x="164" y="12"/>
                                  </a:lnTo>
                                  <a:lnTo>
                                    <a:pt x="160" y="12"/>
                                  </a:lnTo>
                                  <a:lnTo>
                                    <a:pt x="160" y="12"/>
                                  </a:lnTo>
                                  <a:lnTo>
                                    <a:pt x="156" y="12"/>
                                  </a:lnTo>
                                  <a:lnTo>
                                    <a:pt x="150" y="14"/>
                                  </a:lnTo>
                                  <a:lnTo>
                                    <a:pt x="142" y="14"/>
                                  </a:lnTo>
                                  <a:lnTo>
                                    <a:pt x="136" y="14"/>
                                  </a:lnTo>
                                  <a:lnTo>
                                    <a:pt x="136" y="14"/>
                                  </a:lnTo>
                                  <a:lnTo>
                                    <a:pt x="130" y="14"/>
                                  </a:lnTo>
                                  <a:lnTo>
                                    <a:pt x="124" y="14"/>
                                  </a:lnTo>
                                  <a:lnTo>
                                    <a:pt x="118" y="14"/>
                                  </a:lnTo>
                                  <a:lnTo>
                                    <a:pt x="112" y="14"/>
                                  </a:lnTo>
                                  <a:lnTo>
                                    <a:pt x="112" y="14"/>
                                  </a:lnTo>
                                  <a:lnTo>
                                    <a:pt x="104" y="12"/>
                                  </a:lnTo>
                                  <a:lnTo>
                                    <a:pt x="96" y="14"/>
                                  </a:lnTo>
                                  <a:lnTo>
                                    <a:pt x="88" y="14"/>
                                  </a:lnTo>
                                  <a:lnTo>
                                    <a:pt x="82" y="14"/>
                                  </a:lnTo>
                                  <a:lnTo>
                                    <a:pt x="82" y="14"/>
                                  </a:lnTo>
                                  <a:lnTo>
                                    <a:pt x="78" y="14"/>
                                  </a:lnTo>
                                  <a:lnTo>
                                    <a:pt x="72" y="16"/>
                                  </a:lnTo>
                                  <a:lnTo>
                                    <a:pt x="66" y="16"/>
                                  </a:lnTo>
                                  <a:lnTo>
                                    <a:pt x="62" y="16"/>
                                  </a:lnTo>
                                  <a:lnTo>
                                    <a:pt x="62" y="16"/>
                                  </a:lnTo>
                                  <a:lnTo>
                                    <a:pt x="60" y="14"/>
                                  </a:lnTo>
                                  <a:lnTo>
                                    <a:pt x="56" y="14"/>
                                  </a:lnTo>
                                  <a:lnTo>
                                    <a:pt x="52" y="16"/>
                                  </a:lnTo>
                                  <a:lnTo>
                                    <a:pt x="50" y="14"/>
                                  </a:lnTo>
                                  <a:lnTo>
                                    <a:pt x="50" y="14"/>
                                  </a:lnTo>
                                  <a:lnTo>
                                    <a:pt x="46" y="12"/>
                                  </a:lnTo>
                                  <a:lnTo>
                                    <a:pt x="42" y="12"/>
                                  </a:lnTo>
                                  <a:lnTo>
                                    <a:pt x="38" y="12"/>
                                  </a:lnTo>
                                  <a:lnTo>
                                    <a:pt x="40" y="10"/>
                                  </a:lnTo>
                                  <a:lnTo>
                                    <a:pt x="40" y="10"/>
                                  </a:lnTo>
                                  <a:lnTo>
                                    <a:pt x="46" y="10"/>
                                  </a:lnTo>
                                  <a:lnTo>
                                    <a:pt x="50" y="6"/>
                                  </a:lnTo>
                                  <a:lnTo>
                                    <a:pt x="52" y="4"/>
                                  </a:lnTo>
                                  <a:lnTo>
                                    <a:pt x="46" y="2"/>
                                  </a:lnTo>
                                  <a:lnTo>
                                    <a:pt x="46" y="2"/>
                                  </a:lnTo>
                                  <a:lnTo>
                                    <a:pt x="40" y="2"/>
                                  </a:lnTo>
                                  <a:lnTo>
                                    <a:pt x="36" y="0"/>
                                  </a:lnTo>
                                  <a:lnTo>
                                    <a:pt x="34" y="0"/>
                                  </a:lnTo>
                                  <a:lnTo>
                                    <a:pt x="28" y="0"/>
                                  </a:lnTo>
                                  <a:lnTo>
                                    <a:pt x="28" y="0"/>
                                  </a:lnTo>
                                  <a:lnTo>
                                    <a:pt x="14" y="0"/>
                                  </a:lnTo>
                                  <a:lnTo>
                                    <a:pt x="2" y="2"/>
                                  </a:lnTo>
                                  <a:lnTo>
                                    <a:pt x="2" y="2"/>
                                  </a:lnTo>
                                  <a:lnTo>
                                    <a:pt x="0" y="2"/>
                                  </a:lnTo>
                                  <a:lnTo>
                                    <a:pt x="0" y="4"/>
                                  </a:lnTo>
                                  <a:lnTo>
                                    <a:pt x="4" y="6"/>
                                  </a:lnTo>
                                  <a:lnTo>
                                    <a:pt x="6" y="8"/>
                                  </a:lnTo>
                                  <a:lnTo>
                                    <a:pt x="8" y="10"/>
                                  </a:lnTo>
                                  <a:lnTo>
                                    <a:pt x="6" y="12"/>
                                  </a:lnTo>
                                  <a:lnTo>
                                    <a:pt x="6" y="12"/>
                                  </a:lnTo>
                                  <a:lnTo>
                                    <a:pt x="6" y="12"/>
                                  </a:lnTo>
                                  <a:lnTo>
                                    <a:pt x="8" y="14"/>
                                  </a:lnTo>
                                  <a:lnTo>
                                    <a:pt x="12" y="14"/>
                                  </a:lnTo>
                                  <a:lnTo>
                                    <a:pt x="18" y="14"/>
                                  </a:lnTo>
                                  <a:lnTo>
                                    <a:pt x="24" y="12"/>
                                  </a:lnTo>
                                  <a:lnTo>
                                    <a:pt x="24" y="12"/>
                                  </a:lnTo>
                                  <a:lnTo>
                                    <a:pt x="28" y="14"/>
                                  </a:lnTo>
                                  <a:lnTo>
                                    <a:pt x="28" y="16"/>
                                  </a:lnTo>
                                  <a:lnTo>
                                    <a:pt x="28" y="18"/>
                                  </a:lnTo>
                                  <a:lnTo>
                                    <a:pt x="24" y="20"/>
                                  </a:lnTo>
                                  <a:lnTo>
                                    <a:pt x="24" y="20"/>
                                  </a:lnTo>
                                  <a:lnTo>
                                    <a:pt x="20" y="22"/>
                                  </a:lnTo>
                                  <a:lnTo>
                                    <a:pt x="20" y="26"/>
                                  </a:lnTo>
                                  <a:lnTo>
                                    <a:pt x="24" y="30"/>
                                  </a:lnTo>
                                  <a:lnTo>
                                    <a:pt x="34" y="30"/>
                                  </a:lnTo>
                                  <a:lnTo>
                                    <a:pt x="34" y="30"/>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7" name="Canada"/>
                            <p:cNvSpPr>
                              <a:spLocks/>
                            </p:cNvSpPr>
                            <p:nvPr/>
                          </p:nvSpPr>
                          <p:spPr bwMode="auto">
                            <a:xfrm>
                              <a:off x="3196911" y="1449278"/>
                              <a:ext cx="212635" cy="60697"/>
                            </a:xfrm>
                            <a:custGeom>
                              <a:avLst/>
                              <a:gdLst/>
                              <a:ahLst/>
                              <a:cxnLst>
                                <a:cxn ang="0">
                                  <a:pos x="48" y="28"/>
                                </a:cxn>
                                <a:cxn ang="0">
                                  <a:pos x="48" y="28"/>
                                </a:cxn>
                                <a:cxn ang="0">
                                  <a:pos x="54" y="24"/>
                                </a:cxn>
                                <a:cxn ang="0">
                                  <a:pos x="58" y="24"/>
                                </a:cxn>
                                <a:cxn ang="0">
                                  <a:pos x="62" y="22"/>
                                </a:cxn>
                                <a:cxn ang="0">
                                  <a:pos x="70" y="20"/>
                                </a:cxn>
                                <a:cxn ang="0">
                                  <a:pos x="70" y="20"/>
                                </a:cxn>
                                <a:cxn ang="0">
                                  <a:pos x="78" y="18"/>
                                </a:cxn>
                                <a:cxn ang="0">
                                  <a:pos x="84" y="18"/>
                                </a:cxn>
                                <a:cxn ang="0">
                                  <a:pos x="92" y="18"/>
                                </a:cxn>
                                <a:cxn ang="0">
                                  <a:pos x="104" y="14"/>
                                </a:cxn>
                                <a:cxn ang="0">
                                  <a:pos x="104" y="14"/>
                                </a:cxn>
                                <a:cxn ang="0">
                                  <a:pos x="114" y="12"/>
                                </a:cxn>
                                <a:cxn ang="0">
                                  <a:pos x="120" y="12"/>
                                </a:cxn>
                                <a:cxn ang="0">
                                  <a:pos x="132" y="10"/>
                                </a:cxn>
                                <a:cxn ang="0">
                                  <a:pos x="132" y="10"/>
                                </a:cxn>
                                <a:cxn ang="0">
                                  <a:pos x="138" y="8"/>
                                </a:cxn>
                                <a:cxn ang="0">
                                  <a:pos x="140" y="6"/>
                                </a:cxn>
                                <a:cxn ang="0">
                                  <a:pos x="138" y="2"/>
                                </a:cxn>
                                <a:cxn ang="0">
                                  <a:pos x="134" y="0"/>
                                </a:cxn>
                                <a:cxn ang="0">
                                  <a:pos x="134" y="0"/>
                                </a:cxn>
                                <a:cxn ang="0">
                                  <a:pos x="124" y="2"/>
                                </a:cxn>
                                <a:cxn ang="0">
                                  <a:pos x="114" y="4"/>
                                </a:cxn>
                                <a:cxn ang="0">
                                  <a:pos x="114" y="4"/>
                                </a:cxn>
                                <a:cxn ang="0">
                                  <a:pos x="98" y="0"/>
                                </a:cxn>
                                <a:cxn ang="0">
                                  <a:pos x="86" y="0"/>
                                </a:cxn>
                                <a:cxn ang="0">
                                  <a:pos x="76" y="0"/>
                                </a:cxn>
                                <a:cxn ang="0">
                                  <a:pos x="76" y="0"/>
                                </a:cxn>
                                <a:cxn ang="0">
                                  <a:pos x="48" y="2"/>
                                </a:cxn>
                                <a:cxn ang="0">
                                  <a:pos x="48" y="2"/>
                                </a:cxn>
                                <a:cxn ang="0">
                                  <a:pos x="44" y="2"/>
                                </a:cxn>
                                <a:cxn ang="0">
                                  <a:pos x="46" y="4"/>
                                </a:cxn>
                                <a:cxn ang="0">
                                  <a:pos x="44" y="6"/>
                                </a:cxn>
                                <a:cxn ang="0">
                                  <a:pos x="38" y="10"/>
                                </a:cxn>
                                <a:cxn ang="0">
                                  <a:pos x="38" y="10"/>
                                </a:cxn>
                                <a:cxn ang="0">
                                  <a:pos x="30" y="14"/>
                                </a:cxn>
                                <a:cxn ang="0">
                                  <a:pos x="28" y="16"/>
                                </a:cxn>
                                <a:cxn ang="0">
                                  <a:pos x="30" y="16"/>
                                </a:cxn>
                                <a:cxn ang="0">
                                  <a:pos x="30" y="16"/>
                                </a:cxn>
                                <a:cxn ang="0">
                                  <a:pos x="30" y="18"/>
                                </a:cxn>
                                <a:cxn ang="0">
                                  <a:pos x="28" y="18"/>
                                </a:cxn>
                                <a:cxn ang="0">
                                  <a:pos x="18" y="22"/>
                                </a:cxn>
                                <a:cxn ang="0">
                                  <a:pos x="18" y="22"/>
                                </a:cxn>
                                <a:cxn ang="0">
                                  <a:pos x="10" y="26"/>
                                </a:cxn>
                                <a:cxn ang="0">
                                  <a:pos x="4" y="26"/>
                                </a:cxn>
                                <a:cxn ang="0">
                                  <a:pos x="0" y="26"/>
                                </a:cxn>
                                <a:cxn ang="0">
                                  <a:pos x="2" y="30"/>
                                </a:cxn>
                                <a:cxn ang="0">
                                  <a:pos x="2" y="30"/>
                                </a:cxn>
                                <a:cxn ang="0">
                                  <a:pos x="4" y="34"/>
                                </a:cxn>
                                <a:cxn ang="0">
                                  <a:pos x="4" y="38"/>
                                </a:cxn>
                                <a:cxn ang="0">
                                  <a:pos x="4" y="40"/>
                                </a:cxn>
                                <a:cxn ang="0">
                                  <a:pos x="8" y="40"/>
                                </a:cxn>
                                <a:cxn ang="0">
                                  <a:pos x="8" y="40"/>
                                </a:cxn>
                                <a:cxn ang="0">
                                  <a:pos x="16" y="40"/>
                                </a:cxn>
                                <a:cxn ang="0">
                                  <a:pos x="26" y="38"/>
                                </a:cxn>
                                <a:cxn ang="0">
                                  <a:pos x="26" y="38"/>
                                </a:cxn>
                                <a:cxn ang="0">
                                  <a:pos x="34" y="40"/>
                                </a:cxn>
                                <a:cxn ang="0">
                                  <a:pos x="38" y="38"/>
                                </a:cxn>
                                <a:cxn ang="0">
                                  <a:pos x="40" y="36"/>
                                </a:cxn>
                                <a:cxn ang="0">
                                  <a:pos x="40" y="36"/>
                                </a:cxn>
                                <a:cxn ang="0">
                                  <a:pos x="42" y="32"/>
                                </a:cxn>
                                <a:cxn ang="0">
                                  <a:pos x="48" y="28"/>
                                </a:cxn>
                                <a:cxn ang="0">
                                  <a:pos x="48" y="28"/>
                                </a:cxn>
                              </a:cxnLst>
                              <a:rect l="0" t="0" r="r" b="b"/>
                              <a:pathLst>
                                <a:path w="140" h="40">
                                  <a:moveTo>
                                    <a:pt x="48" y="28"/>
                                  </a:moveTo>
                                  <a:lnTo>
                                    <a:pt x="48" y="28"/>
                                  </a:lnTo>
                                  <a:lnTo>
                                    <a:pt x="54" y="24"/>
                                  </a:lnTo>
                                  <a:lnTo>
                                    <a:pt x="58" y="24"/>
                                  </a:lnTo>
                                  <a:lnTo>
                                    <a:pt x="62" y="22"/>
                                  </a:lnTo>
                                  <a:lnTo>
                                    <a:pt x="70" y="20"/>
                                  </a:lnTo>
                                  <a:lnTo>
                                    <a:pt x="70" y="20"/>
                                  </a:lnTo>
                                  <a:lnTo>
                                    <a:pt x="78" y="18"/>
                                  </a:lnTo>
                                  <a:lnTo>
                                    <a:pt x="84" y="18"/>
                                  </a:lnTo>
                                  <a:lnTo>
                                    <a:pt x="92" y="18"/>
                                  </a:lnTo>
                                  <a:lnTo>
                                    <a:pt x="104" y="14"/>
                                  </a:lnTo>
                                  <a:lnTo>
                                    <a:pt x="104" y="14"/>
                                  </a:lnTo>
                                  <a:lnTo>
                                    <a:pt x="114" y="12"/>
                                  </a:lnTo>
                                  <a:lnTo>
                                    <a:pt x="120" y="12"/>
                                  </a:lnTo>
                                  <a:lnTo>
                                    <a:pt x="132" y="10"/>
                                  </a:lnTo>
                                  <a:lnTo>
                                    <a:pt x="132" y="10"/>
                                  </a:lnTo>
                                  <a:lnTo>
                                    <a:pt x="138" y="8"/>
                                  </a:lnTo>
                                  <a:lnTo>
                                    <a:pt x="140" y="6"/>
                                  </a:lnTo>
                                  <a:lnTo>
                                    <a:pt x="138" y="2"/>
                                  </a:lnTo>
                                  <a:lnTo>
                                    <a:pt x="134" y="0"/>
                                  </a:lnTo>
                                  <a:lnTo>
                                    <a:pt x="134" y="0"/>
                                  </a:lnTo>
                                  <a:lnTo>
                                    <a:pt x="124" y="2"/>
                                  </a:lnTo>
                                  <a:lnTo>
                                    <a:pt x="114" y="4"/>
                                  </a:lnTo>
                                  <a:lnTo>
                                    <a:pt x="114" y="4"/>
                                  </a:lnTo>
                                  <a:lnTo>
                                    <a:pt x="98" y="0"/>
                                  </a:lnTo>
                                  <a:lnTo>
                                    <a:pt x="86" y="0"/>
                                  </a:lnTo>
                                  <a:lnTo>
                                    <a:pt x="76" y="0"/>
                                  </a:lnTo>
                                  <a:lnTo>
                                    <a:pt x="76" y="0"/>
                                  </a:lnTo>
                                  <a:lnTo>
                                    <a:pt x="48" y="2"/>
                                  </a:lnTo>
                                  <a:lnTo>
                                    <a:pt x="48" y="2"/>
                                  </a:lnTo>
                                  <a:lnTo>
                                    <a:pt x="44" y="2"/>
                                  </a:lnTo>
                                  <a:lnTo>
                                    <a:pt x="46" y="4"/>
                                  </a:lnTo>
                                  <a:lnTo>
                                    <a:pt x="44" y="6"/>
                                  </a:lnTo>
                                  <a:lnTo>
                                    <a:pt x="38" y="10"/>
                                  </a:lnTo>
                                  <a:lnTo>
                                    <a:pt x="38" y="10"/>
                                  </a:lnTo>
                                  <a:lnTo>
                                    <a:pt x="30" y="14"/>
                                  </a:lnTo>
                                  <a:lnTo>
                                    <a:pt x="28" y="16"/>
                                  </a:lnTo>
                                  <a:lnTo>
                                    <a:pt x="30" y="16"/>
                                  </a:lnTo>
                                  <a:lnTo>
                                    <a:pt x="30" y="16"/>
                                  </a:lnTo>
                                  <a:lnTo>
                                    <a:pt x="30" y="18"/>
                                  </a:lnTo>
                                  <a:lnTo>
                                    <a:pt x="28" y="18"/>
                                  </a:lnTo>
                                  <a:lnTo>
                                    <a:pt x="18" y="22"/>
                                  </a:lnTo>
                                  <a:lnTo>
                                    <a:pt x="18" y="22"/>
                                  </a:lnTo>
                                  <a:lnTo>
                                    <a:pt x="10" y="26"/>
                                  </a:lnTo>
                                  <a:lnTo>
                                    <a:pt x="4" y="26"/>
                                  </a:lnTo>
                                  <a:lnTo>
                                    <a:pt x="0" y="26"/>
                                  </a:lnTo>
                                  <a:lnTo>
                                    <a:pt x="2" y="30"/>
                                  </a:lnTo>
                                  <a:lnTo>
                                    <a:pt x="2" y="30"/>
                                  </a:lnTo>
                                  <a:lnTo>
                                    <a:pt x="4" y="34"/>
                                  </a:lnTo>
                                  <a:lnTo>
                                    <a:pt x="4" y="38"/>
                                  </a:lnTo>
                                  <a:lnTo>
                                    <a:pt x="4" y="40"/>
                                  </a:lnTo>
                                  <a:lnTo>
                                    <a:pt x="8" y="40"/>
                                  </a:lnTo>
                                  <a:lnTo>
                                    <a:pt x="8" y="40"/>
                                  </a:lnTo>
                                  <a:lnTo>
                                    <a:pt x="16" y="40"/>
                                  </a:lnTo>
                                  <a:lnTo>
                                    <a:pt x="26" y="38"/>
                                  </a:lnTo>
                                  <a:lnTo>
                                    <a:pt x="26" y="38"/>
                                  </a:lnTo>
                                  <a:lnTo>
                                    <a:pt x="34" y="40"/>
                                  </a:lnTo>
                                  <a:lnTo>
                                    <a:pt x="38" y="38"/>
                                  </a:lnTo>
                                  <a:lnTo>
                                    <a:pt x="40" y="36"/>
                                  </a:lnTo>
                                  <a:lnTo>
                                    <a:pt x="40" y="36"/>
                                  </a:lnTo>
                                  <a:lnTo>
                                    <a:pt x="42" y="32"/>
                                  </a:lnTo>
                                  <a:lnTo>
                                    <a:pt x="48" y="28"/>
                                  </a:lnTo>
                                  <a:lnTo>
                                    <a:pt x="48" y="28"/>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8" name="Canada"/>
                            <p:cNvSpPr>
                              <a:spLocks/>
                            </p:cNvSpPr>
                            <p:nvPr/>
                          </p:nvSpPr>
                          <p:spPr bwMode="auto">
                            <a:xfrm>
                              <a:off x="3400433" y="1394651"/>
                              <a:ext cx="121505" cy="30348"/>
                            </a:xfrm>
                            <a:custGeom>
                              <a:avLst/>
                              <a:gdLst/>
                              <a:ahLst/>
                              <a:cxnLst>
                                <a:cxn ang="0">
                                  <a:pos x="4" y="12"/>
                                </a:cxn>
                                <a:cxn ang="0">
                                  <a:pos x="4" y="12"/>
                                </a:cxn>
                                <a:cxn ang="0">
                                  <a:pos x="12" y="10"/>
                                </a:cxn>
                                <a:cxn ang="0">
                                  <a:pos x="18" y="8"/>
                                </a:cxn>
                                <a:cxn ang="0">
                                  <a:pos x="22" y="8"/>
                                </a:cxn>
                                <a:cxn ang="0">
                                  <a:pos x="30" y="6"/>
                                </a:cxn>
                                <a:cxn ang="0">
                                  <a:pos x="30" y="6"/>
                                </a:cxn>
                                <a:cxn ang="0">
                                  <a:pos x="54" y="0"/>
                                </a:cxn>
                                <a:cxn ang="0">
                                  <a:pos x="66" y="0"/>
                                </a:cxn>
                                <a:cxn ang="0">
                                  <a:pos x="70" y="0"/>
                                </a:cxn>
                                <a:cxn ang="0">
                                  <a:pos x="72" y="2"/>
                                </a:cxn>
                                <a:cxn ang="0">
                                  <a:pos x="72" y="2"/>
                                </a:cxn>
                                <a:cxn ang="0">
                                  <a:pos x="72" y="4"/>
                                </a:cxn>
                                <a:cxn ang="0">
                                  <a:pos x="74" y="2"/>
                                </a:cxn>
                                <a:cxn ang="0">
                                  <a:pos x="74" y="0"/>
                                </a:cxn>
                                <a:cxn ang="0">
                                  <a:pos x="78" y="2"/>
                                </a:cxn>
                                <a:cxn ang="0">
                                  <a:pos x="78" y="2"/>
                                </a:cxn>
                                <a:cxn ang="0">
                                  <a:pos x="80" y="4"/>
                                </a:cxn>
                                <a:cxn ang="0">
                                  <a:pos x="78" y="6"/>
                                </a:cxn>
                                <a:cxn ang="0">
                                  <a:pos x="66" y="10"/>
                                </a:cxn>
                                <a:cxn ang="0">
                                  <a:pos x="66" y="10"/>
                                </a:cxn>
                                <a:cxn ang="0">
                                  <a:pos x="60" y="12"/>
                                </a:cxn>
                                <a:cxn ang="0">
                                  <a:pos x="54" y="14"/>
                                </a:cxn>
                                <a:cxn ang="0">
                                  <a:pos x="50" y="12"/>
                                </a:cxn>
                                <a:cxn ang="0">
                                  <a:pos x="52" y="10"/>
                                </a:cxn>
                                <a:cxn ang="0">
                                  <a:pos x="52" y="10"/>
                                </a:cxn>
                                <a:cxn ang="0">
                                  <a:pos x="56" y="8"/>
                                </a:cxn>
                                <a:cxn ang="0">
                                  <a:pos x="56" y="8"/>
                                </a:cxn>
                                <a:cxn ang="0">
                                  <a:pos x="46" y="10"/>
                                </a:cxn>
                                <a:cxn ang="0">
                                  <a:pos x="46" y="10"/>
                                </a:cxn>
                                <a:cxn ang="0">
                                  <a:pos x="42" y="12"/>
                                </a:cxn>
                                <a:cxn ang="0">
                                  <a:pos x="40" y="14"/>
                                </a:cxn>
                                <a:cxn ang="0">
                                  <a:pos x="40" y="14"/>
                                </a:cxn>
                                <a:cxn ang="0">
                                  <a:pos x="36" y="16"/>
                                </a:cxn>
                                <a:cxn ang="0">
                                  <a:pos x="36" y="16"/>
                                </a:cxn>
                                <a:cxn ang="0">
                                  <a:pos x="22" y="20"/>
                                </a:cxn>
                                <a:cxn ang="0">
                                  <a:pos x="18" y="20"/>
                                </a:cxn>
                                <a:cxn ang="0">
                                  <a:pos x="18" y="20"/>
                                </a:cxn>
                                <a:cxn ang="0">
                                  <a:pos x="16" y="18"/>
                                </a:cxn>
                                <a:cxn ang="0">
                                  <a:pos x="16" y="18"/>
                                </a:cxn>
                                <a:cxn ang="0">
                                  <a:pos x="12" y="16"/>
                                </a:cxn>
                                <a:cxn ang="0">
                                  <a:pos x="4" y="16"/>
                                </a:cxn>
                                <a:cxn ang="0">
                                  <a:pos x="0" y="14"/>
                                </a:cxn>
                                <a:cxn ang="0">
                                  <a:pos x="0" y="14"/>
                                </a:cxn>
                                <a:cxn ang="0">
                                  <a:pos x="4" y="12"/>
                                </a:cxn>
                                <a:cxn ang="0">
                                  <a:pos x="4" y="12"/>
                                </a:cxn>
                              </a:cxnLst>
                              <a:rect l="0" t="0" r="r" b="b"/>
                              <a:pathLst>
                                <a:path w="80" h="20">
                                  <a:moveTo>
                                    <a:pt x="4" y="12"/>
                                  </a:moveTo>
                                  <a:lnTo>
                                    <a:pt x="4" y="12"/>
                                  </a:lnTo>
                                  <a:lnTo>
                                    <a:pt x="12" y="10"/>
                                  </a:lnTo>
                                  <a:lnTo>
                                    <a:pt x="18" y="8"/>
                                  </a:lnTo>
                                  <a:lnTo>
                                    <a:pt x="22" y="8"/>
                                  </a:lnTo>
                                  <a:lnTo>
                                    <a:pt x="30" y="6"/>
                                  </a:lnTo>
                                  <a:lnTo>
                                    <a:pt x="30" y="6"/>
                                  </a:lnTo>
                                  <a:lnTo>
                                    <a:pt x="54" y="0"/>
                                  </a:lnTo>
                                  <a:lnTo>
                                    <a:pt x="66" y="0"/>
                                  </a:lnTo>
                                  <a:lnTo>
                                    <a:pt x="70" y="0"/>
                                  </a:lnTo>
                                  <a:lnTo>
                                    <a:pt x="72" y="2"/>
                                  </a:lnTo>
                                  <a:lnTo>
                                    <a:pt x="72" y="2"/>
                                  </a:lnTo>
                                  <a:lnTo>
                                    <a:pt x="72" y="4"/>
                                  </a:lnTo>
                                  <a:lnTo>
                                    <a:pt x="74" y="2"/>
                                  </a:lnTo>
                                  <a:lnTo>
                                    <a:pt x="74" y="0"/>
                                  </a:lnTo>
                                  <a:lnTo>
                                    <a:pt x="78" y="2"/>
                                  </a:lnTo>
                                  <a:lnTo>
                                    <a:pt x="78" y="2"/>
                                  </a:lnTo>
                                  <a:lnTo>
                                    <a:pt x="80" y="4"/>
                                  </a:lnTo>
                                  <a:lnTo>
                                    <a:pt x="78" y="6"/>
                                  </a:lnTo>
                                  <a:lnTo>
                                    <a:pt x="66" y="10"/>
                                  </a:lnTo>
                                  <a:lnTo>
                                    <a:pt x="66" y="10"/>
                                  </a:lnTo>
                                  <a:lnTo>
                                    <a:pt x="60" y="12"/>
                                  </a:lnTo>
                                  <a:lnTo>
                                    <a:pt x="54" y="14"/>
                                  </a:lnTo>
                                  <a:lnTo>
                                    <a:pt x="50" y="12"/>
                                  </a:lnTo>
                                  <a:lnTo>
                                    <a:pt x="52" y="10"/>
                                  </a:lnTo>
                                  <a:lnTo>
                                    <a:pt x="52" y="10"/>
                                  </a:lnTo>
                                  <a:lnTo>
                                    <a:pt x="56" y="8"/>
                                  </a:lnTo>
                                  <a:lnTo>
                                    <a:pt x="56" y="8"/>
                                  </a:lnTo>
                                  <a:lnTo>
                                    <a:pt x="46" y="10"/>
                                  </a:lnTo>
                                  <a:lnTo>
                                    <a:pt x="46" y="10"/>
                                  </a:lnTo>
                                  <a:lnTo>
                                    <a:pt x="42" y="12"/>
                                  </a:lnTo>
                                  <a:lnTo>
                                    <a:pt x="40" y="14"/>
                                  </a:lnTo>
                                  <a:lnTo>
                                    <a:pt x="40" y="14"/>
                                  </a:lnTo>
                                  <a:lnTo>
                                    <a:pt x="36" y="16"/>
                                  </a:lnTo>
                                  <a:lnTo>
                                    <a:pt x="36" y="16"/>
                                  </a:lnTo>
                                  <a:lnTo>
                                    <a:pt x="22" y="20"/>
                                  </a:lnTo>
                                  <a:lnTo>
                                    <a:pt x="18" y="20"/>
                                  </a:lnTo>
                                  <a:lnTo>
                                    <a:pt x="18" y="20"/>
                                  </a:lnTo>
                                  <a:lnTo>
                                    <a:pt x="16" y="18"/>
                                  </a:lnTo>
                                  <a:lnTo>
                                    <a:pt x="16" y="18"/>
                                  </a:lnTo>
                                  <a:lnTo>
                                    <a:pt x="12" y="16"/>
                                  </a:lnTo>
                                  <a:lnTo>
                                    <a:pt x="4" y="16"/>
                                  </a:lnTo>
                                  <a:lnTo>
                                    <a:pt x="0" y="14"/>
                                  </a:lnTo>
                                  <a:lnTo>
                                    <a:pt x="0" y="14"/>
                                  </a:lnTo>
                                  <a:lnTo>
                                    <a:pt x="4" y="12"/>
                                  </a:lnTo>
                                  <a:lnTo>
                                    <a:pt x="4" y="12"/>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9" name="Canada"/>
                            <p:cNvSpPr>
                              <a:spLocks/>
                            </p:cNvSpPr>
                            <p:nvPr/>
                          </p:nvSpPr>
                          <p:spPr bwMode="auto">
                            <a:xfrm>
                              <a:off x="3479411" y="1406791"/>
                              <a:ext cx="209598" cy="48557"/>
                            </a:xfrm>
                            <a:custGeom>
                              <a:avLst/>
                              <a:gdLst/>
                              <a:ahLst/>
                              <a:cxnLst>
                                <a:cxn ang="0">
                                  <a:pos x="18" y="6"/>
                                </a:cxn>
                                <a:cxn ang="0">
                                  <a:pos x="30" y="2"/>
                                </a:cxn>
                                <a:cxn ang="0">
                                  <a:pos x="30" y="4"/>
                                </a:cxn>
                                <a:cxn ang="0">
                                  <a:pos x="36" y="4"/>
                                </a:cxn>
                                <a:cxn ang="0">
                                  <a:pos x="44" y="6"/>
                                </a:cxn>
                                <a:cxn ang="0">
                                  <a:pos x="48" y="12"/>
                                </a:cxn>
                                <a:cxn ang="0">
                                  <a:pos x="58" y="18"/>
                                </a:cxn>
                                <a:cxn ang="0">
                                  <a:pos x="64" y="18"/>
                                </a:cxn>
                                <a:cxn ang="0">
                                  <a:pos x="76" y="18"/>
                                </a:cxn>
                                <a:cxn ang="0">
                                  <a:pos x="78" y="16"/>
                                </a:cxn>
                                <a:cxn ang="0">
                                  <a:pos x="80" y="14"/>
                                </a:cxn>
                                <a:cxn ang="0">
                                  <a:pos x="84" y="12"/>
                                </a:cxn>
                                <a:cxn ang="0">
                                  <a:pos x="84" y="6"/>
                                </a:cxn>
                                <a:cxn ang="0">
                                  <a:pos x="90" y="6"/>
                                </a:cxn>
                                <a:cxn ang="0">
                                  <a:pos x="122" y="0"/>
                                </a:cxn>
                                <a:cxn ang="0">
                                  <a:pos x="120" y="4"/>
                                </a:cxn>
                                <a:cxn ang="0">
                                  <a:pos x="116" y="8"/>
                                </a:cxn>
                                <a:cxn ang="0">
                                  <a:pos x="118" y="12"/>
                                </a:cxn>
                                <a:cxn ang="0">
                                  <a:pos x="116" y="14"/>
                                </a:cxn>
                                <a:cxn ang="0">
                                  <a:pos x="118" y="12"/>
                                </a:cxn>
                                <a:cxn ang="0">
                                  <a:pos x="128" y="12"/>
                                </a:cxn>
                                <a:cxn ang="0">
                                  <a:pos x="138" y="16"/>
                                </a:cxn>
                                <a:cxn ang="0">
                                  <a:pos x="136" y="18"/>
                                </a:cxn>
                                <a:cxn ang="0">
                                  <a:pos x="126" y="20"/>
                                </a:cxn>
                                <a:cxn ang="0">
                                  <a:pos x="110" y="28"/>
                                </a:cxn>
                                <a:cxn ang="0">
                                  <a:pos x="104" y="28"/>
                                </a:cxn>
                                <a:cxn ang="0">
                                  <a:pos x="88" y="28"/>
                                </a:cxn>
                                <a:cxn ang="0">
                                  <a:pos x="78" y="26"/>
                                </a:cxn>
                                <a:cxn ang="0">
                                  <a:pos x="58" y="30"/>
                                </a:cxn>
                                <a:cxn ang="0">
                                  <a:pos x="32" y="32"/>
                                </a:cxn>
                                <a:cxn ang="0">
                                  <a:pos x="22" y="30"/>
                                </a:cxn>
                                <a:cxn ang="0">
                                  <a:pos x="16" y="26"/>
                                </a:cxn>
                                <a:cxn ang="0">
                                  <a:pos x="20" y="26"/>
                                </a:cxn>
                                <a:cxn ang="0">
                                  <a:pos x="44" y="24"/>
                                </a:cxn>
                                <a:cxn ang="0">
                                  <a:pos x="44" y="22"/>
                                </a:cxn>
                                <a:cxn ang="0">
                                  <a:pos x="38" y="22"/>
                                </a:cxn>
                                <a:cxn ang="0">
                                  <a:pos x="32" y="20"/>
                                </a:cxn>
                                <a:cxn ang="0">
                                  <a:pos x="32" y="18"/>
                                </a:cxn>
                                <a:cxn ang="0">
                                  <a:pos x="32" y="16"/>
                                </a:cxn>
                                <a:cxn ang="0">
                                  <a:pos x="30" y="16"/>
                                </a:cxn>
                                <a:cxn ang="0">
                                  <a:pos x="22" y="20"/>
                                </a:cxn>
                                <a:cxn ang="0">
                                  <a:pos x="18" y="22"/>
                                </a:cxn>
                                <a:cxn ang="0">
                                  <a:pos x="8" y="20"/>
                                </a:cxn>
                                <a:cxn ang="0">
                                  <a:pos x="2" y="16"/>
                                </a:cxn>
                                <a:cxn ang="0">
                                  <a:pos x="4" y="12"/>
                                </a:cxn>
                                <a:cxn ang="0">
                                  <a:pos x="18" y="6"/>
                                </a:cxn>
                              </a:cxnLst>
                              <a:rect l="0" t="0" r="r" b="b"/>
                              <a:pathLst>
                                <a:path w="138" h="32">
                                  <a:moveTo>
                                    <a:pt x="18" y="6"/>
                                  </a:moveTo>
                                  <a:lnTo>
                                    <a:pt x="18" y="6"/>
                                  </a:lnTo>
                                  <a:lnTo>
                                    <a:pt x="28" y="2"/>
                                  </a:lnTo>
                                  <a:lnTo>
                                    <a:pt x="30" y="2"/>
                                  </a:lnTo>
                                  <a:lnTo>
                                    <a:pt x="30" y="4"/>
                                  </a:lnTo>
                                  <a:lnTo>
                                    <a:pt x="30" y="4"/>
                                  </a:lnTo>
                                  <a:lnTo>
                                    <a:pt x="32" y="6"/>
                                  </a:lnTo>
                                  <a:lnTo>
                                    <a:pt x="36" y="4"/>
                                  </a:lnTo>
                                  <a:lnTo>
                                    <a:pt x="40" y="4"/>
                                  </a:lnTo>
                                  <a:lnTo>
                                    <a:pt x="44" y="6"/>
                                  </a:lnTo>
                                  <a:lnTo>
                                    <a:pt x="44" y="6"/>
                                  </a:lnTo>
                                  <a:lnTo>
                                    <a:pt x="48" y="12"/>
                                  </a:lnTo>
                                  <a:lnTo>
                                    <a:pt x="52" y="16"/>
                                  </a:lnTo>
                                  <a:lnTo>
                                    <a:pt x="58" y="18"/>
                                  </a:lnTo>
                                  <a:lnTo>
                                    <a:pt x="64" y="18"/>
                                  </a:lnTo>
                                  <a:lnTo>
                                    <a:pt x="64" y="18"/>
                                  </a:lnTo>
                                  <a:lnTo>
                                    <a:pt x="76" y="18"/>
                                  </a:lnTo>
                                  <a:lnTo>
                                    <a:pt x="76" y="18"/>
                                  </a:lnTo>
                                  <a:lnTo>
                                    <a:pt x="78" y="18"/>
                                  </a:lnTo>
                                  <a:lnTo>
                                    <a:pt x="78" y="16"/>
                                  </a:lnTo>
                                  <a:lnTo>
                                    <a:pt x="78" y="14"/>
                                  </a:lnTo>
                                  <a:lnTo>
                                    <a:pt x="80" y="14"/>
                                  </a:lnTo>
                                  <a:lnTo>
                                    <a:pt x="80" y="14"/>
                                  </a:lnTo>
                                  <a:lnTo>
                                    <a:pt x="84" y="12"/>
                                  </a:lnTo>
                                  <a:lnTo>
                                    <a:pt x="84" y="8"/>
                                  </a:lnTo>
                                  <a:lnTo>
                                    <a:pt x="84" y="6"/>
                                  </a:lnTo>
                                  <a:lnTo>
                                    <a:pt x="90" y="6"/>
                                  </a:lnTo>
                                  <a:lnTo>
                                    <a:pt x="90" y="6"/>
                                  </a:lnTo>
                                  <a:lnTo>
                                    <a:pt x="114" y="2"/>
                                  </a:lnTo>
                                  <a:lnTo>
                                    <a:pt x="122" y="0"/>
                                  </a:lnTo>
                                  <a:lnTo>
                                    <a:pt x="122" y="2"/>
                                  </a:lnTo>
                                  <a:lnTo>
                                    <a:pt x="120" y="4"/>
                                  </a:lnTo>
                                  <a:lnTo>
                                    <a:pt x="120" y="4"/>
                                  </a:lnTo>
                                  <a:lnTo>
                                    <a:pt x="116" y="8"/>
                                  </a:lnTo>
                                  <a:lnTo>
                                    <a:pt x="116" y="10"/>
                                  </a:lnTo>
                                  <a:lnTo>
                                    <a:pt x="118" y="12"/>
                                  </a:lnTo>
                                  <a:lnTo>
                                    <a:pt x="116" y="14"/>
                                  </a:lnTo>
                                  <a:lnTo>
                                    <a:pt x="116" y="14"/>
                                  </a:lnTo>
                                  <a:lnTo>
                                    <a:pt x="116" y="14"/>
                                  </a:lnTo>
                                  <a:lnTo>
                                    <a:pt x="118" y="12"/>
                                  </a:lnTo>
                                  <a:lnTo>
                                    <a:pt x="124" y="12"/>
                                  </a:lnTo>
                                  <a:lnTo>
                                    <a:pt x="128" y="12"/>
                                  </a:lnTo>
                                  <a:lnTo>
                                    <a:pt x="128" y="12"/>
                                  </a:lnTo>
                                  <a:lnTo>
                                    <a:pt x="138" y="16"/>
                                  </a:lnTo>
                                  <a:lnTo>
                                    <a:pt x="138" y="18"/>
                                  </a:lnTo>
                                  <a:lnTo>
                                    <a:pt x="136" y="18"/>
                                  </a:lnTo>
                                  <a:lnTo>
                                    <a:pt x="126" y="20"/>
                                  </a:lnTo>
                                  <a:lnTo>
                                    <a:pt x="126" y="20"/>
                                  </a:lnTo>
                                  <a:lnTo>
                                    <a:pt x="116" y="26"/>
                                  </a:lnTo>
                                  <a:lnTo>
                                    <a:pt x="110" y="28"/>
                                  </a:lnTo>
                                  <a:lnTo>
                                    <a:pt x="104" y="28"/>
                                  </a:lnTo>
                                  <a:lnTo>
                                    <a:pt x="104" y="28"/>
                                  </a:lnTo>
                                  <a:lnTo>
                                    <a:pt x="94" y="28"/>
                                  </a:lnTo>
                                  <a:lnTo>
                                    <a:pt x="88" y="28"/>
                                  </a:lnTo>
                                  <a:lnTo>
                                    <a:pt x="84" y="26"/>
                                  </a:lnTo>
                                  <a:lnTo>
                                    <a:pt x="78" y="26"/>
                                  </a:lnTo>
                                  <a:lnTo>
                                    <a:pt x="78" y="26"/>
                                  </a:lnTo>
                                  <a:lnTo>
                                    <a:pt x="58" y="30"/>
                                  </a:lnTo>
                                  <a:lnTo>
                                    <a:pt x="44" y="30"/>
                                  </a:lnTo>
                                  <a:lnTo>
                                    <a:pt x="32" y="32"/>
                                  </a:lnTo>
                                  <a:lnTo>
                                    <a:pt x="32" y="32"/>
                                  </a:lnTo>
                                  <a:lnTo>
                                    <a:pt x="22" y="30"/>
                                  </a:lnTo>
                                  <a:lnTo>
                                    <a:pt x="16" y="28"/>
                                  </a:lnTo>
                                  <a:lnTo>
                                    <a:pt x="16" y="26"/>
                                  </a:lnTo>
                                  <a:lnTo>
                                    <a:pt x="20" y="26"/>
                                  </a:lnTo>
                                  <a:lnTo>
                                    <a:pt x="20" y="26"/>
                                  </a:lnTo>
                                  <a:lnTo>
                                    <a:pt x="36" y="24"/>
                                  </a:lnTo>
                                  <a:lnTo>
                                    <a:pt x="44" y="24"/>
                                  </a:lnTo>
                                  <a:lnTo>
                                    <a:pt x="44" y="24"/>
                                  </a:lnTo>
                                  <a:lnTo>
                                    <a:pt x="44" y="22"/>
                                  </a:lnTo>
                                  <a:lnTo>
                                    <a:pt x="44" y="22"/>
                                  </a:lnTo>
                                  <a:lnTo>
                                    <a:pt x="38" y="22"/>
                                  </a:lnTo>
                                  <a:lnTo>
                                    <a:pt x="32" y="20"/>
                                  </a:lnTo>
                                  <a:lnTo>
                                    <a:pt x="32" y="20"/>
                                  </a:lnTo>
                                  <a:lnTo>
                                    <a:pt x="32" y="20"/>
                                  </a:lnTo>
                                  <a:lnTo>
                                    <a:pt x="32" y="18"/>
                                  </a:lnTo>
                                  <a:lnTo>
                                    <a:pt x="34" y="16"/>
                                  </a:lnTo>
                                  <a:lnTo>
                                    <a:pt x="32" y="16"/>
                                  </a:lnTo>
                                  <a:lnTo>
                                    <a:pt x="32" y="16"/>
                                  </a:lnTo>
                                  <a:lnTo>
                                    <a:pt x="30" y="16"/>
                                  </a:lnTo>
                                  <a:lnTo>
                                    <a:pt x="26" y="18"/>
                                  </a:lnTo>
                                  <a:lnTo>
                                    <a:pt x="22" y="20"/>
                                  </a:lnTo>
                                  <a:lnTo>
                                    <a:pt x="18" y="22"/>
                                  </a:lnTo>
                                  <a:lnTo>
                                    <a:pt x="18" y="22"/>
                                  </a:lnTo>
                                  <a:lnTo>
                                    <a:pt x="10" y="20"/>
                                  </a:lnTo>
                                  <a:lnTo>
                                    <a:pt x="8" y="20"/>
                                  </a:lnTo>
                                  <a:lnTo>
                                    <a:pt x="2" y="16"/>
                                  </a:lnTo>
                                  <a:lnTo>
                                    <a:pt x="2" y="16"/>
                                  </a:lnTo>
                                  <a:lnTo>
                                    <a:pt x="0" y="14"/>
                                  </a:lnTo>
                                  <a:lnTo>
                                    <a:pt x="4" y="12"/>
                                  </a:lnTo>
                                  <a:lnTo>
                                    <a:pt x="18" y="6"/>
                                  </a:lnTo>
                                  <a:lnTo>
                                    <a:pt x="18" y="6"/>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0" name="Canada"/>
                            <p:cNvSpPr>
                              <a:spLocks/>
                            </p:cNvSpPr>
                            <p:nvPr/>
                          </p:nvSpPr>
                          <p:spPr bwMode="auto">
                            <a:xfrm>
                              <a:off x="4062638" y="1324850"/>
                              <a:ext cx="637905" cy="94080"/>
                            </a:xfrm>
                            <a:custGeom>
                              <a:avLst/>
                              <a:gdLst/>
                              <a:ahLst/>
                              <a:cxnLst>
                                <a:cxn ang="0">
                                  <a:pos x="278" y="6"/>
                                </a:cxn>
                                <a:cxn ang="0">
                                  <a:pos x="260" y="4"/>
                                </a:cxn>
                                <a:cxn ang="0">
                                  <a:pos x="220" y="6"/>
                                </a:cxn>
                                <a:cxn ang="0">
                                  <a:pos x="198" y="6"/>
                                </a:cxn>
                                <a:cxn ang="0">
                                  <a:pos x="170" y="8"/>
                                </a:cxn>
                                <a:cxn ang="0">
                                  <a:pos x="154" y="6"/>
                                </a:cxn>
                                <a:cxn ang="0">
                                  <a:pos x="134" y="6"/>
                                </a:cxn>
                                <a:cxn ang="0">
                                  <a:pos x="118" y="10"/>
                                </a:cxn>
                                <a:cxn ang="0">
                                  <a:pos x="100" y="16"/>
                                </a:cxn>
                                <a:cxn ang="0">
                                  <a:pos x="126" y="14"/>
                                </a:cxn>
                                <a:cxn ang="0">
                                  <a:pos x="142" y="12"/>
                                </a:cxn>
                                <a:cxn ang="0">
                                  <a:pos x="150" y="12"/>
                                </a:cxn>
                                <a:cxn ang="0">
                                  <a:pos x="168" y="14"/>
                                </a:cxn>
                                <a:cxn ang="0">
                                  <a:pos x="184" y="14"/>
                                </a:cxn>
                                <a:cxn ang="0">
                                  <a:pos x="156" y="16"/>
                                </a:cxn>
                                <a:cxn ang="0">
                                  <a:pos x="138" y="20"/>
                                </a:cxn>
                                <a:cxn ang="0">
                                  <a:pos x="134" y="30"/>
                                </a:cxn>
                                <a:cxn ang="0">
                                  <a:pos x="130" y="30"/>
                                </a:cxn>
                                <a:cxn ang="0">
                                  <a:pos x="124" y="26"/>
                                </a:cxn>
                                <a:cxn ang="0">
                                  <a:pos x="104" y="26"/>
                                </a:cxn>
                                <a:cxn ang="0">
                                  <a:pos x="96" y="30"/>
                                </a:cxn>
                                <a:cxn ang="0">
                                  <a:pos x="68" y="34"/>
                                </a:cxn>
                                <a:cxn ang="0">
                                  <a:pos x="62" y="40"/>
                                </a:cxn>
                                <a:cxn ang="0">
                                  <a:pos x="88" y="38"/>
                                </a:cxn>
                                <a:cxn ang="0">
                                  <a:pos x="68" y="42"/>
                                </a:cxn>
                                <a:cxn ang="0">
                                  <a:pos x="84" y="46"/>
                                </a:cxn>
                                <a:cxn ang="0">
                                  <a:pos x="74" y="46"/>
                                </a:cxn>
                                <a:cxn ang="0">
                                  <a:pos x="36" y="44"/>
                                </a:cxn>
                                <a:cxn ang="0">
                                  <a:pos x="30" y="48"/>
                                </a:cxn>
                                <a:cxn ang="0">
                                  <a:pos x="4" y="52"/>
                                </a:cxn>
                                <a:cxn ang="0">
                                  <a:pos x="8" y="58"/>
                                </a:cxn>
                                <a:cxn ang="0">
                                  <a:pos x="28" y="56"/>
                                </a:cxn>
                                <a:cxn ang="0">
                                  <a:pos x="56" y="62"/>
                                </a:cxn>
                                <a:cxn ang="0">
                                  <a:pos x="72" y="58"/>
                                </a:cxn>
                                <a:cxn ang="0">
                                  <a:pos x="92" y="58"/>
                                </a:cxn>
                                <a:cxn ang="0">
                                  <a:pos x="106" y="58"/>
                                </a:cxn>
                                <a:cxn ang="0">
                                  <a:pos x="122" y="62"/>
                                </a:cxn>
                                <a:cxn ang="0">
                                  <a:pos x="142" y="56"/>
                                </a:cxn>
                                <a:cxn ang="0">
                                  <a:pos x="160" y="54"/>
                                </a:cxn>
                                <a:cxn ang="0">
                                  <a:pos x="152" y="46"/>
                                </a:cxn>
                                <a:cxn ang="0">
                                  <a:pos x="176" y="46"/>
                                </a:cxn>
                                <a:cxn ang="0">
                                  <a:pos x="178" y="40"/>
                                </a:cxn>
                                <a:cxn ang="0">
                                  <a:pos x="194" y="40"/>
                                </a:cxn>
                                <a:cxn ang="0">
                                  <a:pos x="224" y="44"/>
                                </a:cxn>
                                <a:cxn ang="0">
                                  <a:pos x="236" y="38"/>
                                </a:cxn>
                                <a:cxn ang="0">
                                  <a:pos x="256" y="40"/>
                                </a:cxn>
                                <a:cxn ang="0">
                                  <a:pos x="278" y="36"/>
                                </a:cxn>
                                <a:cxn ang="0">
                                  <a:pos x="308" y="36"/>
                                </a:cxn>
                                <a:cxn ang="0">
                                  <a:pos x="358" y="24"/>
                                </a:cxn>
                                <a:cxn ang="0">
                                  <a:pos x="398" y="16"/>
                                </a:cxn>
                                <a:cxn ang="0">
                                  <a:pos x="420" y="8"/>
                                </a:cxn>
                                <a:cxn ang="0">
                                  <a:pos x="386" y="4"/>
                                </a:cxn>
                                <a:cxn ang="0">
                                  <a:pos x="358" y="0"/>
                                </a:cxn>
                                <a:cxn ang="0">
                                  <a:pos x="306" y="6"/>
                                </a:cxn>
                              </a:cxnLst>
                              <a:rect l="0" t="0" r="r" b="b"/>
                              <a:pathLst>
                                <a:path w="420" h="62">
                                  <a:moveTo>
                                    <a:pt x="306" y="6"/>
                                  </a:moveTo>
                                  <a:lnTo>
                                    <a:pt x="306" y="6"/>
                                  </a:lnTo>
                                  <a:lnTo>
                                    <a:pt x="292" y="4"/>
                                  </a:lnTo>
                                  <a:lnTo>
                                    <a:pt x="278" y="6"/>
                                  </a:lnTo>
                                  <a:lnTo>
                                    <a:pt x="278" y="6"/>
                                  </a:lnTo>
                                  <a:lnTo>
                                    <a:pt x="272" y="6"/>
                                  </a:lnTo>
                                  <a:lnTo>
                                    <a:pt x="266" y="6"/>
                                  </a:lnTo>
                                  <a:lnTo>
                                    <a:pt x="260" y="4"/>
                                  </a:lnTo>
                                  <a:lnTo>
                                    <a:pt x="254" y="4"/>
                                  </a:lnTo>
                                  <a:lnTo>
                                    <a:pt x="254" y="4"/>
                                  </a:lnTo>
                                  <a:lnTo>
                                    <a:pt x="238" y="4"/>
                                  </a:lnTo>
                                  <a:lnTo>
                                    <a:pt x="220" y="6"/>
                                  </a:lnTo>
                                  <a:lnTo>
                                    <a:pt x="220" y="6"/>
                                  </a:lnTo>
                                  <a:lnTo>
                                    <a:pt x="212" y="6"/>
                                  </a:lnTo>
                                  <a:lnTo>
                                    <a:pt x="204" y="6"/>
                                  </a:lnTo>
                                  <a:lnTo>
                                    <a:pt x="198" y="6"/>
                                  </a:lnTo>
                                  <a:lnTo>
                                    <a:pt x="192" y="6"/>
                                  </a:lnTo>
                                  <a:lnTo>
                                    <a:pt x="192" y="6"/>
                                  </a:lnTo>
                                  <a:lnTo>
                                    <a:pt x="180" y="6"/>
                                  </a:lnTo>
                                  <a:lnTo>
                                    <a:pt x="170" y="8"/>
                                  </a:lnTo>
                                  <a:lnTo>
                                    <a:pt x="170" y="8"/>
                                  </a:lnTo>
                                  <a:lnTo>
                                    <a:pt x="164" y="8"/>
                                  </a:lnTo>
                                  <a:lnTo>
                                    <a:pt x="160" y="6"/>
                                  </a:lnTo>
                                  <a:lnTo>
                                    <a:pt x="154" y="6"/>
                                  </a:lnTo>
                                  <a:lnTo>
                                    <a:pt x="150" y="6"/>
                                  </a:lnTo>
                                  <a:lnTo>
                                    <a:pt x="150" y="6"/>
                                  </a:lnTo>
                                  <a:lnTo>
                                    <a:pt x="140" y="6"/>
                                  </a:lnTo>
                                  <a:lnTo>
                                    <a:pt x="134" y="6"/>
                                  </a:lnTo>
                                  <a:lnTo>
                                    <a:pt x="132" y="8"/>
                                  </a:lnTo>
                                  <a:lnTo>
                                    <a:pt x="132" y="8"/>
                                  </a:lnTo>
                                  <a:lnTo>
                                    <a:pt x="126" y="8"/>
                                  </a:lnTo>
                                  <a:lnTo>
                                    <a:pt x="118" y="10"/>
                                  </a:lnTo>
                                  <a:lnTo>
                                    <a:pt x="108" y="12"/>
                                  </a:lnTo>
                                  <a:lnTo>
                                    <a:pt x="102" y="14"/>
                                  </a:lnTo>
                                  <a:lnTo>
                                    <a:pt x="102" y="14"/>
                                  </a:lnTo>
                                  <a:lnTo>
                                    <a:pt x="100" y="16"/>
                                  </a:lnTo>
                                  <a:lnTo>
                                    <a:pt x="102" y="16"/>
                                  </a:lnTo>
                                  <a:lnTo>
                                    <a:pt x="110" y="16"/>
                                  </a:lnTo>
                                  <a:lnTo>
                                    <a:pt x="118" y="14"/>
                                  </a:lnTo>
                                  <a:lnTo>
                                    <a:pt x="126" y="14"/>
                                  </a:lnTo>
                                  <a:lnTo>
                                    <a:pt x="126" y="14"/>
                                  </a:lnTo>
                                  <a:lnTo>
                                    <a:pt x="130" y="16"/>
                                  </a:lnTo>
                                  <a:lnTo>
                                    <a:pt x="134" y="14"/>
                                  </a:lnTo>
                                  <a:lnTo>
                                    <a:pt x="142" y="12"/>
                                  </a:lnTo>
                                  <a:lnTo>
                                    <a:pt x="142" y="12"/>
                                  </a:lnTo>
                                  <a:lnTo>
                                    <a:pt x="148" y="14"/>
                                  </a:lnTo>
                                  <a:lnTo>
                                    <a:pt x="148" y="14"/>
                                  </a:lnTo>
                                  <a:lnTo>
                                    <a:pt x="150" y="12"/>
                                  </a:lnTo>
                                  <a:lnTo>
                                    <a:pt x="150" y="12"/>
                                  </a:lnTo>
                                  <a:lnTo>
                                    <a:pt x="158" y="12"/>
                                  </a:lnTo>
                                  <a:lnTo>
                                    <a:pt x="168" y="14"/>
                                  </a:lnTo>
                                  <a:lnTo>
                                    <a:pt x="168" y="14"/>
                                  </a:lnTo>
                                  <a:lnTo>
                                    <a:pt x="180" y="14"/>
                                  </a:lnTo>
                                  <a:lnTo>
                                    <a:pt x="184" y="14"/>
                                  </a:lnTo>
                                  <a:lnTo>
                                    <a:pt x="184" y="14"/>
                                  </a:lnTo>
                                  <a:lnTo>
                                    <a:pt x="184" y="14"/>
                                  </a:lnTo>
                                  <a:lnTo>
                                    <a:pt x="174" y="16"/>
                                  </a:lnTo>
                                  <a:lnTo>
                                    <a:pt x="162" y="16"/>
                                  </a:lnTo>
                                  <a:lnTo>
                                    <a:pt x="162" y="16"/>
                                  </a:lnTo>
                                  <a:lnTo>
                                    <a:pt x="156" y="16"/>
                                  </a:lnTo>
                                  <a:lnTo>
                                    <a:pt x="150" y="18"/>
                                  </a:lnTo>
                                  <a:lnTo>
                                    <a:pt x="146" y="20"/>
                                  </a:lnTo>
                                  <a:lnTo>
                                    <a:pt x="138" y="20"/>
                                  </a:lnTo>
                                  <a:lnTo>
                                    <a:pt x="138" y="20"/>
                                  </a:lnTo>
                                  <a:lnTo>
                                    <a:pt x="136" y="20"/>
                                  </a:lnTo>
                                  <a:lnTo>
                                    <a:pt x="134" y="22"/>
                                  </a:lnTo>
                                  <a:lnTo>
                                    <a:pt x="134" y="26"/>
                                  </a:lnTo>
                                  <a:lnTo>
                                    <a:pt x="134" y="30"/>
                                  </a:lnTo>
                                  <a:lnTo>
                                    <a:pt x="134" y="32"/>
                                  </a:lnTo>
                                  <a:lnTo>
                                    <a:pt x="134" y="30"/>
                                  </a:lnTo>
                                  <a:lnTo>
                                    <a:pt x="134" y="30"/>
                                  </a:lnTo>
                                  <a:lnTo>
                                    <a:pt x="130" y="30"/>
                                  </a:lnTo>
                                  <a:lnTo>
                                    <a:pt x="126" y="30"/>
                                  </a:lnTo>
                                  <a:lnTo>
                                    <a:pt x="124" y="28"/>
                                  </a:lnTo>
                                  <a:lnTo>
                                    <a:pt x="124" y="26"/>
                                  </a:lnTo>
                                  <a:lnTo>
                                    <a:pt x="124" y="26"/>
                                  </a:lnTo>
                                  <a:lnTo>
                                    <a:pt x="124" y="26"/>
                                  </a:lnTo>
                                  <a:lnTo>
                                    <a:pt x="122" y="26"/>
                                  </a:lnTo>
                                  <a:lnTo>
                                    <a:pt x="116" y="26"/>
                                  </a:lnTo>
                                  <a:lnTo>
                                    <a:pt x="104" y="26"/>
                                  </a:lnTo>
                                  <a:lnTo>
                                    <a:pt x="104" y="26"/>
                                  </a:lnTo>
                                  <a:lnTo>
                                    <a:pt x="94" y="28"/>
                                  </a:lnTo>
                                  <a:lnTo>
                                    <a:pt x="96" y="30"/>
                                  </a:lnTo>
                                  <a:lnTo>
                                    <a:pt x="96" y="30"/>
                                  </a:lnTo>
                                  <a:lnTo>
                                    <a:pt x="94" y="32"/>
                                  </a:lnTo>
                                  <a:lnTo>
                                    <a:pt x="76" y="32"/>
                                  </a:lnTo>
                                  <a:lnTo>
                                    <a:pt x="76" y="32"/>
                                  </a:lnTo>
                                  <a:lnTo>
                                    <a:pt x="68" y="34"/>
                                  </a:lnTo>
                                  <a:lnTo>
                                    <a:pt x="62" y="36"/>
                                  </a:lnTo>
                                  <a:lnTo>
                                    <a:pt x="60" y="38"/>
                                  </a:lnTo>
                                  <a:lnTo>
                                    <a:pt x="62" y="40"/>
                                  </a:lnTo>
                                  <a:lnTo>
                                    <a:pt x="62" y="40"/>
                                  </a:lnTo>
                                  <a:lnTo>
                                    <a:pt x="68" y="40"/>
                                  </a:lnTo>
                                  <a:lnTo>
                                    <a:pt x="74" y="40"/>
                                  </a:lnTo>
                                  <a:lnTo>
                                    <a:pt x="88" y="38"/>
                                  </a:lnTo>
                                  <a:lnTo>
                                    <a:pt x="88" y="38"/>
                                  </a:lnTo>
                                  <a:lnTo>
                                    <a:pt x="90" y="40"/>
                                  </a:lnTo>
                                  <a:lnTo>
                                    <a:pt x="86" y="40"/>
                                  </a:lnTo>
                                  <a:lnTo>
                                    <a:pt x="68" y="42"/>
                                  </a:lnTo>
                                  <a:lnTo>
                                    <a:pt x="68" y="42"/>
                                  </a:lnTo>
                                  <a:lnTo>
                                    <a:pt x="68" y="42"/>
                                  </a:lnTo>
                                  <a:lnTo>
                                    <a:pt x="68" y="42"/>
                                  </a:lnTo>
                                  <a:lnTo>
                                    <a:pt x="76" y="44"/>
                                  </a:lnTo>
                                  <a:lnTo>
                                    <a:pt x="84" y="46"/>
                                  </a:lnTo>
                                  <a:lnTo>
                                    <a:pt x="84" y="46"/>
                                  </a:lnTo>
                                  <a:lnTo>
                                    <a:pt x="84" y="46"/>
                                  </a:lnTo>
                                  <a:lnTo>
                                    <a:pt x="84" y="46"/>
                                  </a:lnTo>
                                  <a:lnTo>
                                    <a:pt x="74" y="46"/>
                                  </a:lnTo>
                                  <a:lnTo>
                                    <a:pt x="62" y="44"/>
                                  </a:lnTo>
                                  <a:lnTo>
                                    <a:pt x="62" y="44"/>
                                  </a:lnTo>
                                  <a:lnTo>
                                    <a:pt x="48" y="42"/>
                                  </a:lnTo>
                                  <a:lnTo>
                                    <a:pt x="36" y="44"/>
                                  </a:lnTo>
                                  <a:lnTo>
                                    <a:pt x="36" y="44"/>
                                  </a:lnTo>
                                  <a:lnTo>
                                    <a:pt x="32" y="44"/>
                                  </a:lnTo>
                                  <a:lnTo>
                                    <a:pt x="30" y="46"/>
                                  </a:lnTo>
                                  <a:lnTo>
                                    <a:pt x="30" y="48"/>
                                  </a:lnTo>
                                  <a:lnTo>
                                    <a:pt x="28" y="48"/>
                                  </a:lnTo>
                                  <a:lnTo>
                                    <a:pt x="28" y="48"/>
                                  </a:lnTo>
                                  <a:lnTo>
                                    <a:pt x="18" y="50"/>
                                  </a:lnTo>
                                  <a:lnTo>
                                    <a:pt x="4" y="52"/>
                                  </a:lnTo>
                                  <a:lnTo>
                                    <a:pt x="4" y="52"/>
                                  </a:lnTo>
                                  <a:lnTo>
                                    <a:pt x="0" y="54"/>
                                  </a:lnTo>
                                  <a:lnTo>
                                    <a:pt x="0" y="56"/>
                                  </a:lnTo>
                                  <a:lnTo>
                                    <a:pt x="8" y="58"/>
                                  </a:lnTo>
                                  <a:lnTo>
                                    <a:pt x="8" y="58"/>
                                  </a:lnTo>
                                  <a:lnTo>
                                    <a:pt x="18" y="58"/>
                                  </a:lnTo>
                                  <a:lnTo>
                                    <a:pt x="22" y="58"/>
                                  </a:lnTo>
                                  <a:lnTo>
                                    <a:pt x="28" y="56"/>
                                  </a:lnTo>
                                  <a:lnTo>
                                    <a:pt x="34" y="58"/>
                                  </a:lnTo>
                                  <a:lnTo>
                                    <a:pt x="34" y="58"/>
                                  </a:lnTo>
                                  <a:lnTo>
                                    <a:pt x="50" y="62"/>
                                  </a:lnTo>
                                  <a:lnTo>
                                    <a:pt x="56" y="62"/>
                                  </a:lnTo>
                                  <a:lnTo>
                                    <a:pt x="62" y="62"/>
                                  </a:lnTo>
                                  <a:lnTo>
                                    <a:pt x="62" y="62"/>
                                  </a:lnTo>
                                  <a:lnTo>
                                    <a:pt x="68" y="60"/>
                                  </a:lnTo>
                                  <a:lnTo>
                                    <a:pt x="72" y="58"/>
                                  </a:lnTo>
                                  <a:lnTo>
                                    <a:pt x="76" y="56"/>
                                  </a:lnTo>
                                  <a:lnTo>
                                    <a:pt x="80" y="56"/>
                                  </a:lnTo>
                                  <a:lnTo>
                                    <a:pt x="80" y="56"/>
                                  </a:lnTo>
                                  <a:lnTo>
                                    <a:pt x="92" y="58"/>
                                  </a:lnTo>
                                  <a:lnTo>
                                    <a:pt x="98" y="60"/>
                                  </a:lnTo>
                                  <a:lnTo>
                                    <a:pt x="102" y="60"/>
                                  </a:lnTo>
                                  <a:lnTo>
                                    <a:pt x="102" y="60"/>
                                  </a:lnTo>
                                  <a:lnTo>
                                    <a:pt x="106" y="58"/>
                                  </a:lnTo>
                                  <a:lnTo>
                                    <a:pt x="112" y="60"/>
                                  </a:lnTo>
                                  <a:lnTo>
                                    <a:pt x="116" y="62"/>
                                  </a:lnTo>
                                  <a:lnTo>
                                    <a:pt x="122" y="62"/>
                                  </a:lnTo>
                                  <a:lnTo>
                                    <a:pt x="122" y="62"/>
                                  </a:lnTo>
                                  <a:lnTo>
                                    <a:pt x="128" y="60"/>
                                  </a:lnTo>
                                  <a:lnTo>
                                    <a:pt x="132" y="58"/>
                                  </a:lnTo>
                                  <a:lnTo>
                                    <a:pt x="136" y="56"/>
                                  </a:lnTo>
                                  <a:lnTo>
                                    <a:pt x="142" y="56"/>
                                  </a:lnTo>
                                  <a:lnTo>
                                    <a:pt x="142" y="56"/>
                                  </a:lnTo>
                                  <a:lnTo>
                                    <a:pt x="154" y="56"/>
                                  </a:lnTo>
                                  <a:lnTo>
                                    <a:pt x="160" y="56"/>
                                  </a:lnTo>
                                  <a:lnTo>
                                    <a:pt x="160" y="54"/>
                                  </a:lnTo>
                                  <a:lnTo>
                                    <a:pt x="158" y="52"/>
                                  </a:lnTo>
                                  <a:lnTo>
                                    <a:pt x="158" y="52"/>
                                  </a:lnTo>
                                  <a:lnTo>
                                    <a:pt x="150" y="46"/>
                                  </a:lnTo>
                                  <a:lnTo>
                                    <a:pt x="152" y="46"/>
                                  </a:lnTo>
                                  <a:lnTo>
                                    <a:pt x="158" y="46"/>
                                  </a:lnTo>
                                  <a:lnTo>
                                    <a:pt x="158" y="46"/>
                                  </a:lnTo>
                                  <a:lnTo>
                                    <a:pt x="172" y="48"/>
                                  </a:lnTo>
                                  <a:lnTo>
                                    <a:pt x="176" y="46"/>
                                  </a:lnTo>
                                  <a:lnTo>
                                    <a:pt x="174" y="42"/>
                                  </a:lnTo>
                                  <a:lnTo>
                                    <a:pt x="174" y="42"/>
                                  </a:lnTo>
                                  <a:lnTo>
                                    <a:pt x="172" y="38"/>
                                  </a:lnTo>
                                  <a:lnTo>
                                    <a:pt x="178" y="40"/>
                                  </a:lnTo>
                                  <a:lnTo>
                                    <a:pt x="178" y="40"/>
                                  </a:lnTo>
                                  <a:lnTo>
                                    <a:pt x="186" y="42"/>
                                  </a:lnTo>
                                  <a:lnTo>
                                    <a:pt x="190" y="40"/>
                                  </a:lnTo>
                                  <a:lnTo>
                                    <a:pt x="194" y="40"/>
                                  </a:lnTo>
                                  <a:lnTo>
                                    <a:pt x="198" y="40"/>
                                  </a:lnTo>
                                  <a:lnTo>
                                    <a:pt x="198" y="40"/>
                                  </a:lnTo>
                                  <a:lnTo>
                                    <a:pt x="214" y="42"/>
                                  </a:lnTo>
                                  <a:lnTo>
                                    <a:pt x="224" y="44"/>
                                  </a:lnTo>
                                  <a:lnTo>
                                    <a:pt x="228" y="42"/>
                                  </a:lnTo>
                                  <a:lnTo>
                                    <a:pt x="230" y="40"/>
                                  </a:lnTo>
                                  <a:lnTo>
                                    <a:pt x="230" y="40"/>
                                  </a:lnTo>
                                  <a:lnTo>
                                    <a:pt x="236" y="38"/>
                                  </a:lnTo>
                                  <a:lnTo>
                                    <a:pt x="240" y="36"/>
                                  </a:lnTo>
                                  <a:lnTo>
                                    <a:pt x="248" y="38"/>
                                  </a:lnTo>
                                  <a:lnTo>
                                    <a:pt x="248" y="38"/>
                                  </a:lnTo>
                                  <a:lnTo>
                                    <a:pt x="256" y="40"/>
                                  </a:lnTo>
                                  <a:lnTo>
                                    <a:pt x="262" y="40"/>
                                  </a:lnTo>
                                  <a:lnTo>
                                    <a:pt x="268" y="38"/>
                                  </a:lnTo>
                                  <a:lnTo>
                                    <a:pt x="268" y="38"/>
                                  </a:lnTo>
                                  <a:lnTo>
                                    <a:pt x="278" y="36"/>
                                  </a:lnTo>
                                  <a:lnTo>
                                    <a:pt x="284" y="38"/>
                                  </a:lnTo>
                                  <a:lnTo>
                                    <a:pt x="294" y="38"/>
                                  </a:lnTo>
                                  <a:lnTo>
                                    <a:pt x="308" y="36"/>
                                  </a:lnTo>
                                  <a:lnTo>
                                    <a:pt x="308" y="36"/>
                                  </a:lnTo>
                                  <a:lnTo>
                                    <a:pt x="324" y="32"/>
                                  </a:lnTo>
                                  <a:lnTo>
                                    <a:pt x="336" y="30"/>
                                  </a:lnTo>
                                  <a:lnTo>
                                    <a:pt x="346" y="28"/>
                                  </a:lnTo>
                                  <a:lnTo>
                                    <a:pt x="358" y="24"/>
                                  </a:lnTo>
                                  <a:lnTo>
                                    <a:pt x="358" y="24"/>
                                  </a:lnTo>
                                  <a:lnTo>
                                    <a:pt x="370" y="20"/>
                                  </a:lnTo>
                                  <a:lnTo>
                                    <a:pt x="380" y="18"/>
                                  </a:lnTo>
                                  <a:lnTo>
                                    <a:pt x="398" y="16"/>
                                  </a:lnTo>
                                  <a:lnTo>
                                    <a:pt x="398" y="16"/>
                                  </a:lnTo>
                                  <a:lnTo>
                                    <a:pt x="408" y="14"/>
                                  </a:lnTo>
                                  <a:lnTo>
                                    <a:pt x="418" y="10"/>
                                  </a:lnTo>
                                  <a:lnTo>
                                    <a:pt x="420" y="8"/>
                                  </a:lnTo>
                                  <a:lnTo>
                                    <a:pt x="418" y="6"/>
                                  </a:lnTo>
                                  <a:lnTo>
                                    <a:pt x="404" y="6"/>
                                  </a:lnTo>
                                  <a:lnTo>
                                    <a:pt x="404" y="6"/>
                                  </a:lnTo>
                                  <a:lnTo>
                                    <a:pt x="386" y="4"/>
                                  </a:lnTo>
                                  <a:lnTo>
                                    <a:pt x="378" y="2"/>
                                  </a:lnTo>
                                  <a:lnTo>
                                    <a:pt x="372" y="0"/>
                                  </a:lnTo>
                                  <a:lnTo>
                                    <a:pt x="358" y="0"/>
                                  </a:lnTo>
                                  <a:lnTo>
                                    <a:pt x="358" y="0"/>
                                  </a:lnTo>
                                  <a:lnTo>
                                    <a:pt x="344" y="2"/>
                                  </a:lnTo>
                                  <a:lnTo>
                                    <a:pt x="330" y="6"/>
                                  </a:lnTo>
                                  <a:lnTo>
                                    <a:pt x="320" y="6"/>
                                  </a:lnTo>
                                  <a:lnTo>
                                    <a:pt x="306" y="6"/>
                                  </a:lnTo>
                                  <a:lnTo>
                                    <a:pt x="306" y="6"/>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1" name="Canada"/>
                            <p:cNvSpPr>
                              <a:spLocks/>
                            </p:cNvSpPr>
                            <p:nvPr/>
                          </p:nvSpPr>
                          <p:spPr bwMode="auto">
                            <a:xfrm>
                              <a:off x="3755837" y="1388582"/>
                              <a:ext cx="167070" cy="45523"/>
                            </a:xfrm>
                            <a:custGeom>
                              <a:avLst/>
                              <a:gdLst/>
                              <a:ahLst/>
                              <a:cxnLst>
                                <a:cxn ang="0">
                                  <a:pos x="78" y="28"/>
                                </a:cxn>
                                <a:cxn ang="0">
                                  <a:pos x="66" y="28"/>
                                </a:cxn>
                                <a:cxn ang="0">
                                  <a:pos x="60" y="26"/>
                                </a:cxn>
                                <a:cxn ang="0">
                                  <a:pos x="54" y="28"/>
                                </a:cxn>
                                <a:cxn ang="0">
                                  <a:pos x="46" y="30"/>
                                </a:cxn>
                                <a:cxn ang="0">
                                  <a:pos x="44" y="26"/>
                                </a:cxn>
                                <a:cxn ang="0">
                                  <a:pos x="40" y="22"/>
                                </a:cxn>
                                <a:cxn ang="0">
                                  <a:pos x="26" y="26"/>
                                </a:cxn>
                                <a:cxn ang="0">
                                  <a:pos x="18" y="22"/>
                                </a:cxn>
                                <a:cxn ang="0">
                                  <a:pos x="16" y="18"/>
                                </a:cxn>
                                <a:cxn ang="0">
                                  <a:pos x="20" y="16"/>
                                </a:cxn>
                                <a:cxn ang="0">
                                  <a:pos x="18" y="14"/>
                                </a:cxn>
                                <a:cxn ang="0">
                                  <a:pos x="4" y="10"/>
                                </a:cxn>
                                <a:cxn ang="0">
                                  <a:pos x="6" y="8"/>
                                </a:cxn>
                                <a:cxn ang="0">
                                  <a:pos x="22" y="8"/>
                                </a:cxn>
                                <a:cxn ang="0">
                                  <a:pos x="32" y="8"/>
                                </a:cxn>
                                <a:cxn ang="0">
                                  <a:pos x="38" y="14"/>
                                </a:cxn>
                                <a:cxn ang="0">
                                  <a:pos x="38" y="16"/>
                                </a:cxn>
                                <a:cxn ang="0">
                                  <a:pos x="38" y="8"/>
                                </a:cxn>
                                <a:cxn ang="0">
                                  <a:pos x="44" y="2"/>
                                </a:cxn>
                                <a:cxn ang="0">
                                  <a:pos x="62" y="0"/>
                                </a:cxn>
                                <a:cxn ang="0">
                                  <a:pos x="66" y="0"/>
                                </a:cxn>
                                <a:cxn ang="0">
                                  <a:pos x="66" y="2"/>
                                </a:cxn>
                                <a:cxn ang="0">
                                  <a:pos x="60" y="16"/>
                                </a:cxn>
                                <a:cxn ang="0">
                                  <a:pos x="62" y="14"/>
                                </a:cxn>
                                <a:cxn ang="0">
                                  <a:pos x="74" y="6"/>
                                </a:cxn>
                                <a:cxn ang="0">
                                  <a:pos x="80" y="4"/>
                                </a:cxn>
                                <a:cxn ang="0">
                                  <a:pos x="110" y="6"/>
                                </a:cxn>
                                <a:cxn ang="0">
                                  <a:pos x="110" y="8"/>
                                </a:cxn>
                                <a:cxn ang="0">
                                  <a:pos x="102" y="12"/>
                                </a:cxn>
                                <a:cxn ang="0">
                                  <a:pos x="90" y="14"/>
                                </a:cxn>
                                <a:cxn ang="0">
                                  <a:pos x="88" y="16"/>
                                </a:cxn>
                                <a:cxn ang="0">
                                  <a:pos x="78" y="28"/>
                                </a:cxn>
                              </a:cxnLst>
                              <a:rect l="0" t="0" r="r" b="b"/>
                              <a:pathLst>
                                <a:path w="110" h="30">
                                  <a:moveTo>
                                    <a:pt x="78" y="28"/>
                                  </a:moveTo>
                                  <a:lnTo>
                                    <a:pt x="78" y="28"/>
                                  </a:lnTo>
                                  <a:lnTo>
                                    <a:pt x="70" y="30"/>
                                  </a:lnTo>
                                  <a:lnTo>
                                    <a:pt x="66" y="28"/>
                                  </a:lnTo>
                                  <a:lnTo>
                                    <a:pt x="64" y="26"/>
                                  </a:lnTo>
                                  <a:lnTo>
                                    <a:pt x="60" y="26"/>
                                  </a:lnTo>
                                  <a:lnTo>
                                    <a:pt x="60" y="26"/>
                                  </a:lnTo>
                                  <a:lnTo>
                                    <a:pt x="54" y="28"/>
                                  </a:lnTo>
                                  <a:lnTo>
                                    <a:pt x="48" y="30"/>
                                  </a:lnTo>
                                  <a:lnTo>
                                    <a:pt x="46" y="30"/>
                                  </a:lnTo>
                                  <a:lnTo>
                                    <a:pt x="44" y="26"/>
                                  </a:lnTo>
                                  <a:lnTo>
                                    <a:pt x="44" y="26"/>
                                  </a:lnTo>
                                  <a:lnTo>
                                    <a:pt x="42" y="24"/>
                                  </a:lnTo>
                                  <a:lnTo>
                                    <a:pt x="40" y="22"/>
                                  </a:lnTo>
                                  <a:lnTo>
                                    <a:pt x="34" y="24"/>
                                  </a:lnTo>
                                  <a:lnTo>
                                    <a:pt x="26" y="26"/>
                                  </a:lnTo>
                                  <a:lnTo>
                                    <a:pt x="22" y="24"/>
                                  </a:lnTo>
                                  <a:lnTo>
                                    <a:pt x="18" y="22"/>
                                  </a:lnTo>
                                  <a:lnTo>
                                    <a:pt x="18" y="22"/>
                                  </a:lnTo>
                                  <a:lnTo>
                                    <a:pt x="16" y="18"/>
                                  </a:lnTo>
                                  <a:lnTo>
                                    <a:pt x="18" y="16"/>
                                  </a:lnTo>
                                  <a:lnTo>
                                    <a:pt x="20" y="16"/>
                                  </a:lnTo>
                                  <a:lnTo>
                                    <a:pt x="18" y="14"/>
                                  </a:lnTo>
                                  <a:lnTo>
                                    <a:pt x="18" y="14"/>
                                  </a:lnTo>
                                  <a:lnTo>
                                    <a:pt x="12" y="12"/>
                                  </a:lnTo>
                                  <a:lnTo>
                                    <a:pt x="4" y="10"/>
                                  </a:lnTo>
                                  <a:lnTo>
                                    <a:pt x="0" y="8"/>
                                  </a:lnTo>
                                  <a:lnTo>
                                    <a:pt x="6" y="8"/>
                                  </a:lnTo>
                                  <a:lnTo>
                                    <a:pt x="6" y="8"/>
                                  </a:lnTo>
                                  <a:lnTo>
                                    <a:pt x="22" y="8"/>
                                  </a:lnTo>
                                  <a:lnTo>
                                    <a:pt x="32" y="8"/>
                                  </a:lnTo>
                                  <a:lnTo>
                                    <a:pt x="32" y="8"/>
                                  </a:lnTo>
                                  <a:lnTo>
                                    <a:pt x="36" y="10"/>
                                  </a:lnTo>
                                  <a:lnTo>
                                    <a:pt x="38" y="14"/>
                                  </a:lnTo>
                                  <a:lnTo>
                                    <a:pt x="38" y="16"/>
                                  </a:lnTo>
                                  <a:lnTo>
                                    <a:pt x="38" y="16"/>
                                  </a:lnTo>
                                  <a:lnTo>
                                    <a:pt x="38" y="16"/>
                                  </a:lnTo>
                                  <a:lnTo>
                                    <a:pt x="38" y="8"/>
                                  </a:lnTo>
                                  <a:lnTo>
                                    <a:pt x="40" y="4"/>
                                  </a:lnTo>
                                  <a:lnTo>
                                    <a:pt x="44" y="2"/>
                                  </a:lnTo>
                                  <a:lnTo>
                                    <a:pt x="44" y="2"/>
                                  </a:lnTo>
                                  <a:lnTo>
                                    <a:pt x="62" y="0"/>
                                  </a:lnTo>
                                  <a:lnTo>
                                    <a:pt x="66" y="0"/>
                                  </a:lnTo>
                                  <a:lnTo>
                                    <a:pt x="66" y="0"/>
                                  </a:lnTo>
                                  <a:lnTo>
                                    <a:pt x="66" y="2"/>
                                  </a:lnTo>
                                  <a:lnTo>
                                    <a:pt x="66" y="2"/>
                                  </a:lnTo>
                                  <a:lnTo>
                                    <a:pt x="60" y="12"/>
                                  </a:lnTo>
                                  <a:lnTo>
                                    <a:pt x="60" y="16"/>
                                  </a:lnTo>
                                  <a:lnTo>
                                    <a:pt x="62" y="14"/>
                                  </a:lnTo>
                                  <a:lnTo>
                                    <a:pt x="62" y="14"/>
                                  </a:lnTo>
                                  <a:lnTo>
                                    <a:pt x="68" y="8"/>
                                  </a:lnTo>
                                  <a:lnTo>
                                    <a:pt x="74" y="6"/>
                                  </a:lnTo>
                                  <a:lnTo>
                                    <a:pt x="80" y="4"/>
                                  </a:lnTo>
                                  <a:lnTo>
                                    <a:pt x="80" y="4"/>
                                  </a:lnTo>
                                  <a:lnTo>
                                    <a:pt x="102" y="4"/>
                                  </a:lnTo>
                                  <a:lnTo>
                                    <a:pt x="110" y="6"/>
                                  </a:lnTo>
                                  <a:lnTo>
                                    <a:pt x="110" y="6"/>
                                  </a:lnTo>
                                  <a:lnTo>
                                    <a:pt x="110" y="8"/>
                                  </a:lnTo>
                                  <a:lnTo>
                                    <a:pt x="110" y="8"/>
                                  </a:lnTo>
                                  <a:lnTo>
                                    <a:pt x="102" y="12"/>
                                  </a:lnTo>
                                  <a:lnTo>
                                    <a:pt x="96" y="12"/>
                                  </a:lnTo>
                                  <a:lnTo>
                                    <a:pt x="90" y="14"/>
                                  </a:lnTo>
                                  <a:lnTo>
                                    <a:pt x="88" y="16"/>
                                  </a:lnTo>
                                  <a:lnTo>
                                    <a:pt x="88" y="16"/>
                                  </a:lnTo>
                                  <a:lnTo>
                                    <a:pt x="82" y="24"/>
                                  </a:lnTo>
                                  <a:lnTo>
                                    <a:pt x="78" y="28"/>
                                  </a:lnTo>
                                  <a:lnTo>
                                    <a:pt x="78" y="28"/>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2" name="Canada"/>
                            <p:cNvSpPr>
                              <a:spLocks/>
                            </p:cNvSpPr>
                            <p:nvPr/>
                          </p:nvSpPr>
                          <p:spPr bwMode="auto">
                            <a:xfrm>
                              <a:off x="3932019" y="1373407"/>
                              <a:ext cx="51640" cy="18209"/>
                            </a:xfrm>
                            <a:custGeom>
                              <a:avLst/>
                              <a:gdLst/>
                              <a:ahLst/>
                              <a:cxnLst>
                                <a:cxn ang="0">
                                  <a:pos x="4" y="10"/>
                                </a:cxn>
                                <a:cxn ang="0">
                                  <a:pos x="4" y="10"/>
                                </a:cxn>
                                <a:cxn ang="0">
                                  <a:pos x="12" y="4"/>
                                </a:cxn>
                                <a:cxn ang="0">
                                  <a:pos x="22" y="0"/>
                                </a:cxn>
                                <a:cxn ang="0">
                                  <a:pos x="30" y="0"/>
                                </a:cxn>
                                <a:cxn ang="0">
                                  <a:pos x="32" y="0"/>
                                </a:cxn>
                                <a:cxn ang="0">
                                  <a:pos x="32" y="0"/>
                                </a:cxn>
                                <a:cxn ang="0">
                                  <a:pos x="32" y="0"/>
                                </a:cxn>
                                <a:cxn ang="0">
                                  <a:pos x="32" y="2"/>
                                </a:cxn>
                                <a:cxn ang="0">
                                  <a:pos x="34" y="6"/>
                                </a:cxn>
                                <a:cxn ang="0">
                                  <a:pos x="34" y="8"/>
                                </a:cxn>
                                <a:cxn ang="0">
                                  <a:pos x="34" y="8"/>
                                </a:cxn>
                                <a:cxn ang="0">
                                  <a:pos x="34" y="8"/>
                                </a:cxn>
                                <a:cxn ang="0">
                                  <a:pos x="30" y="10"/>
                                </a:cxn>
                                <a:cxn ang="0">
                                  <a:pos x="26" y="8"/>
                                </a:cxn>
                                <a:cxn ang="0">
                                  <a:pos x="22" y="8"/>
                                </a:cxn>
                                <a:cxn ang="0">
                                  <a:pos x="16" y="10"/>
                                </a:cxn>
                                <a:cxn ang="0">
                                  <a:pos x="16" y="10"/>
                                </a:cxn>
                                <a:cxn ang="0">
                                  <a:pos x="2" y="12"/>
                                </a:cxn>
                                <a:cxn ang="0">
                                  <a:pos x="0" y="12"/>
                                </a:cxn>
                                <a:cxn ang="0">
                                  <a:pos x="4" y="10"/>
                                </a:cxn>
                                <a:cxn ang="0">
                                  <a:pos x="4" y="10"/>
                                </a:cxn>
                              </a:cxnLst>
                              <a:rect l="0" t="0" r="r" b="b"/>
                              <a:pathLst>
                                <a:path w="34" h="12">
                                  <a:moveTo>
                                    <a:pt x="4" y="10"/>
                                  </a:moveTo>
                                  <a:lnTo>
                                    <a:pt x="4" y="10"/>
                                  </a:lnTo>
                                  <a:lnTo>
                                    <a:pt x="12" y="4"/>
                                  </a:lnTo>
                                  <a:lnTo>
                                    <a:pt x="22" y="0"/>
                                  </a:lnTo>
                                  <a:lnTo>
                                    <a:pt x="30" y="0"/>
                                  </a:lnTo>
                                  <a:lnTo>
                                    <a:pt x="32" y="0"/>
                                  </a:lnTo>
                                  <a:lnTo>
                                    <a:pt x="32" y="0"/>
                                  </a:lnTo>
                                  <a:lnTo>
                                    <a:pt x="32" y="0"/>
                                  </a:lnTo>
                                  <a:lnTo>
                                    <a:pt x="32" y="2"/>
                                  </a:lnTo>
                                  <a:lnTo>
                                    <a:pt x="34" y="6"/>
                                  </a:lnTo>
                                  <a:lnTo>
                                    <a:pt x="34" y="8"/>
                                  </a:lnTo>
                                  <a:lnTo>
                                    <a:pt x="34" y="8"/>
                                  </a:lnTo>
                                  <a:lnTo>
                                    <a:pt x="34" y="8"/>
                                  </a:lnTo>
                                  <a:lnTo>
                                    <a:pt x="30" y="10"/>
                                  </a:lnTo>
                                  <a:lnTo>
                                    <a:pt x="26" y="8"/>
                                  </a:lnTo>
                                  <a:lnTo>
                                    <a:pt x="22" y="8"/>
                                  </a:lnTo>
                                  <a:lnTo>
                                    <a:pt x="16" y="10"/>
                                  </a:lnTo>
                                  <a:lnTo>
                                    <a:pt x="16" y="10"/>
                                  </a:lnTo>
                                  <a:lnTo>
                                    <a:pt x="2" y="12"/>
                                  </a:lnTo>
                                  <a:lnTo>
                                    <a:pt x="0" y="12"/>
                                  </a:lnTo>
                                  <a:lnTo>
                                    <a:pt x="4" y="10"/>
                                  </a:lnTo>
                                  <a:lnTo>
                                    <a:pt x="4" y="10"/>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3" name="Canada"/>
                            <p:cNvSpPr>
                              <a:spLocks/>
                            </p:cNvSpPr>
                            <p:nvPr/>
                          </p:nvSpPr>
                          <p:spPr bwMode="auto">
                            <a:xfrm>
                              <a:off x="3637369" y="1382512"/>
                              <a:ext cx="94167" cy="18209"/>
                            </a:xfrm>
                            <a:custGeom>
                              <a:avLst/>
                              <a:gdLst/>
                              <a:ahLst/>
                              <a:cxnLst>
                                <a:cxn ang="0">
                                  <a:pos x="2" y="12"/>
                                </a:cxn>
                                <a:cxn ang="0">
                                  <a:pos x="2" y="12"/>
                                </a:cxn>
                                <a:cxn ang="0">
                                  <a:pos x="12" y="12"/>
                                </a:cxn>
                                <a:cxn ang="0">
                                  <a:pos x="20" y="10"/>
                                </a:cxn>
                                <a:cxn ang="0">
                                  <a:pos x="36" y="8"/>
                                </a:cxn>
                                <a:cxn ang="0">
                                  <a:pos x="36" y="8"/>
                                </a:cxn>
                                <a:cxn ang="0">
                                  <a:pos x="56" y="4"/>
                                </a:cxn>
                                <a:cxn ang="0">
                                  <a:pos x="62" y="2"/>
                                </a:cxn>
                                <a:cxn ang="0">
                                  <a:pos x="58" y="2"/>
                                </a:cxn>
                                <a:cxn ang="0">
                                  <a:pos x="58" y="2"/>
                                </a:cxn>
                                <a:cxn ang="0">
                                  <a:pos x="46" y="2"/>
                                </a:cxn>
                                <a:cxn ang="0">
                                  <a:pos x="36" y="0"/>
                                </a:cxn>
                                <a:cxn ang="0">
                                  <a:pos x="36" y="0"/>
                                </a:cxn>
                                <a:cxn ang="0">
                                  <a:pos x="24" y="2"/>
                                </a:cxn>
                                <a:cxn ang="0">
                                  <a:pos x="22" y="4"/>
                                </a:cxn>
                                <a:cxn ang="0">
                                  <a:pos x="24" y="4"/>
                                </a:cxn>
                                <a:cxn ang="0">
                                  <a:pos x="24" y="4"/>
                                </a:cxn>
                                <a:cxn ang="0">
                                  <a:pos x="24" y="6"/>
                                </a:cxn>
                                <a:cxn ang="0">
                                  <a:pos x="22" y="6"/>
                                </a:cxn>
                                <a:cxn ang="0">
                                  <a:pos x="12" y="8"/>
                                </a:cxn>
                                <a:cxn ang="0">
                                  <a:pos x="2" y="10"/>
                                </a:cxn>
                                <a:cxn ang="0">
                                  <a:pos x="0" y="10"/>
                                </a:cxn>
                                <a:cxn ang="0">
                                  <a:pos x="2" y="12"/>
                                </a:cxn>
                                <a:cxn ang="0">
                                  <a:pos x="2" y="12"/>
                                </a:cxn>
                              </a:cxnLst>
                              <a:rect l="0" t="0" r="r" b="b"/>
                              <a:pathLst>
                                <a:path w="62" h="12">
                                  <a:moveTo>
                                    <a:pt x="2" y="12"/>
                                  </a:moveTo>
                                  <a:lnTo>
                                    <a:pt x="2" y="12"/>
                                  </a:lnTo>
                                  <a:lnTo>
                                    <a:pt x="12" y="12"/>
                                  </a:lnTo>
                                  <a:lnTo>
                                    <a:pt x="20" y="10"/>
                                  </a:lnTo>
                                  <a:lnTo>
                                    <a:pt x="36" y="8"/>
                                  </a:lnTo>
                                  <a:lnTo>
                                    <a:pt x="36" y="8"/>
                                  </a:lnTo>
                                  <a:lnTo>
                                    <a:pt x="56" y="4"/>
                                  </a:lnTo>
                                  <a:lnTo>
                                    <a:pt x="62" y="2"/>
                                  </a:lnTo>
                                  <a:lnTo>
                                    <a:pt x="58" y="2"/>
                                  </a:lnTo>
                                  <a:lnTo>
                                    <a:pt x="58" y="2"/>
                                  </a:lnTo>
                                  <a:lnTo>
                                    <a:pt x="46" y="2"/>
                                  </a:lnTo>
                                  <a:lnTo>
                                    <a:pt x="36" y="0"/>
                                  </a:lnTo>
                                  <a:lnTo>
                                    <a:pt x="36" y="0"/>
                                  </a:lnTo>
                                  <a:lnTo>
                                    <a:pt x="24" y="2"/>
                                  </a:lnTo>
                                  <a:lnTo>
                                    <a:pt x="22" y="4"/>
                                  </a:lnTo>
                                  <a:lnTo>
                                    <a:pt x="24" y="4"/>
                                  </a:lnTo>
                                  <a:lnTo>
                                    <a:pt x="24" y="4"/>
                                  </a:lnTo>
                                  <a:lnTo>
                                    <a:pt x="24" y="6"/>
                                  </a:lnTo>
                                  <a:lnTo>
                                    <a:pt x="22" y="6"/>
                                  </a:lnTo>
                                  <a:lnTo>
                                    <a:pt x="12" y="8"/>
                                  </a:lnTo>
                                  <a:lnTo>
                                    <a:pt x="2" y="10"/>
                                  </a:lnTo>
                                  <a:lnTo>
                                    <a:pt x="0" y="10"/>
                                  </a:lnTo>
                                  <a:lnTo>
                                    <a:pt x="2" y="12"/>
                                  </a:lnTo>
                                  <a:lnTo>
                                    <a:pt x="2" y="12"/>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4" name="Canada"/>
                            <p:cNvSpPr>
                              <a:spLocks/>
                            </p:cNvSpPr>
                            <p:nvPr/>
                          </p:nvSpPr>
                          <p:spPr bwMode="auto">
                            <a:xfrm>
                              <a:off x="3892531" y="1361268"/>
                              <a:ext cx="63791" cy="27314"/>
                            </a:xfrm>
                            <a:custGeom>
                              <a:avLst/>
                              <a:gdLst/>
                              <a:ahLst/>
                              <a:cxnLst>
                                <a:cxn ang="0">
                                  <a:pos x="4" y="18"/>
                                </a:cxn>
                                <a:cxn ang="0">
                                  <a:pos x="4" y="18"/>
                                </a:cxn>
                                <a:cxn ang="0">
                                  <a:pos x="12" y="18"/>
                                </a:cxn>
                                <a:cxn ang="0">
                                  <a:pos x="18" y="16"/>
                                </a:cxn>
                                <a:cxn ang="0">
                                  <a:pos x="26" y="12"/>
                                </a:cxn>
                                <a:cxn ang="0">
                                  <a:pos x="26" y="12"/>
                                </a:cxn>
                                <a:cxn ang="0">
                                  <a:pos x="36" y="10"/>
                                </a:cxn>
                                <a:cxn ang="0">
                                  <a:pos x="40" y="8"/>
                                </a:cxn>
                                <a:cxn ang="0">
                                  <a:pos x="42" y="6"/>
                                </a:cxn>
                                <a:cxn ang="0">
                                  <a:pos x="42" y="6"/>
                                </a:cxn>
                                <a:cxn ang="0">
                                  <a:pos x="42" y="4"/>
                                </a:cxn>
                                <a:cxn ang="0">
                                  <a:pos x="42" y="0"/>
                                </a:cxn>
                                <a:cxn ang="0">
                                  <a:pos x="40" y="0"/>
                                </a:cxn>
                                <a:cxn ang="0">
                                  <a:pos x="32" y="2"/>
                                </a:cxn>
                                <a:cxn ang="0">
                                  <a:pos x="32" y="2"/>
                                </a:cxn>
                                <a:cxn ang="0">
                                  <a:pos x="8" y="6"/>
                                </a:cxn>
                                <a:cxn ang="0">
                                  <a:pos x="0" y="8"/>
                                </a:cxn>
                                <a:cxn ang="0">
                                  <a:pos x="0" y="10"/>
                                </a:cxn>
                                <a:cxn ang="0">
                                  <a:pos x="0" y="10"/>
                                </a:cxn>
                                <a:cxn ang="0">
                                  <a:pos x="0" y="10"/>
                                </a:cxn>
                                <a:cxn ang="0">
                                  <a:pos x="4" y="12"/>
                                </a:cxn>
                                <a:cxn ang="0">
                                  <a:pos x="8" y="12"/>
                                </a:cxn>
                                <a:cxn ang="0">
                                  <a:pos x="10" y="12"/>
                                </a:cxn>
                                <a:cxn ang="0">
                                  <a:pos x="8" y="12"/>
                                </a:cxn>
                                <a:cxn ang="0">
                                  <a:pos x="8" y="12"/>
                                </a:cxn>
                                <a:cxn ang="0">
                                  <a:pos x="0" y="16"/>
                                </a:cxn>
                                <a:cxn ang="0">
                                  <a:pos x="0" y="18"/>
                                </a:cxn>
                                <a:cxn ang="0">
                                  <a:pos x="4" y="18"/>
                                </a:cxn>
                                <a:cxn ang="0">
                                  <a:pos x="4" y="18"/>
                                </a:cxn>
                              </a:cxnLst>
                              <a:rect l="0" t="0" r="r" b="b"/>
                              <a:pathLst>
                                <a:path w="42" h="18">
                                  <a:moveTo>
                                    <a:pt x="4" y="18"/>
                                  </a:moveTo>
                                  <a:lnTo>
                                    <a:pt x="4" y="18"/>
                                  </a:lnTo>
                                  <a:lnTo>
                                    <a:pt x="12" y="18"/>
                                  </a:lnTo>
                                  <a:lnTo>
                                    <a:pt x="18" y="16"/>
                                  </a:lnTo>
                                  <a:lnTo>
                                    <a:pt x="26" y="12"/>
                                  </a:lnTo>
                                  <a:lnTo>
                                    <a:pt x="26" y="12"/>
                                  </a:lnTo>
                                  <a:lnTo>
                                    <a:pt x="36" y="10"/>
                                  </a:lnTo>
                                  <a:lnTo>
                                    <a:pt x="40" y="8"/>
                                  </a:lnTo>
                                  <a:lnTo>
                                    <a:pt x="42" y="6"/>
                                  </a:lnTo>
                                  <a:lnTo>
                                    <a:pt x="42" y="6"/>
                                  </a:lnTo>
                                  <a:lnTo>
                                    <a:pt x="42" y="4"/>
                                  </a:lnTo>
                                  <a:lnTo>
                                    <a:pt x="42" y="0"/>
                                  </a:lnTo>
                                  <a:lnTo>
                                    <a:pt x="40" y="0"/>
                                  </a:lnTo>
                                  <a:lnTo>
                                    <a:pt x="32" y="2"/>
                                  </a:lnTo>
                                  <a:lnTo>
                                    <a:pt x="32" y="2"/>
                                  </a:lnTo>
                                  <a:lnTo>
                                    <a:pt x="8" y="6"/>
                                  </a:lnTo>
                                  <a:lnTo>
                                    <a:pt x="0" y="8"/>
                                  </a:lnTo>
                                  <a:lnTo>
                                    <a:pt x="0" y="10"/>
                                  </a:lnTo>
                                  <a:lnTo>
                                    <a:pt x="0" y="10"/>
                                  </a:lnTo>
                                  <a:lnTo>
                                    <a:pt x="0" y="10"/>
                                  </a:lnTo>
                                  <a:lnTo>
                                    <a:pt x="4" y="12"/>
                                  </a:lnTo>
                                  <a:lnTo>
                                    <a:pt x="8" y="12"/>
                                  </a:lnTo>
                                  <a:lnTo>
                                    <a:pt x="10" y="12"/>
                                  </a:lnTo>
                                  <a:lnTo>
                                    <a:pt x="8" y="12"/>
                                  </a:lnTo>
                                  <a:lnTo>
                                    <a:pt x="8" y="12"/>
                                  </a:lnTo>
                                  <a:lnTo>
                                    <a:pt x="0" y="16"/>
                                  </a:lnTo>
                                  <a:lnTo>
                                    <a:pt x="0" y="18"/>
                                  </a:lnTo>
                                  <a:lnTo>
                                    <a:pt x="4" y="18"/>
                                  </a:lnTo>
                                  <a:lnTo>
                                    <a:pt x="4" y="18"/>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5" name="Canada"/>
                            <p:cNvSpPr>
                              <a:spLocks/>
                            </p:cNvSpPr>
                            <p:nvPr/>
                          </p:nvSpPr>
                          <p:spPr bwMode="auto">
                            <a:xfrm>
                              <a:off x="4035300" y="1340024"/>
                              <a:ext cx="164033" cy="54627"/>
                            </a:xfrm>
                            <a:custGeom>
                              <a:avLst/>
                              <a:gdLst/>
                              <a:ahLst/>
                              <a:cxnLst>
                                <a:cxn ang="0">
                                  <a:pos x="10" y="36"/>
                                </a:cxn>
                                <a:cxn ang="0">
                                  <a:pos x="10" y="36"/>
                                </a:cxn>
                                <a:cxn ang="0">
                                  <a:pos x="0" y="32"/>
                                </a:cxn>
                                <a:cxn ang="0">
                                  <a:pos x="0" y="32"/>
                                </a:cxn>
                                <a:cxn ang="0">
                                  <a:pos x="4" y="30"/>
                                </a:cxn>
                                <a:cxn ang="0">
                                  <a:pos x="4" y="30"/>
                                </a:cxn>
                                <a:cxn ang="0">
                                  <a:pos x="6" y="28"/>
                                </a:cxn>
                                <a:cxn ang="0">
                                  <a:pos x="8" y="28"/>
                                </a:cxn>
                                <a:cxn ang="0">
                                  <a:pos x="14" y="26"/>
                                </a:cxn>
                                <a:cxn ang="0">
                                  <a:pos x="14" y="26"/>
                                </a:cxn>
                                <a:cxn ang="0">
                                  <a:pos x="18" y="26"/>
                                </a:cxn>
                                <a:cxn ang="0">
                                  <a:pos x="20" y="24"/>
                                </a:cxn>
                                <a:cxn ang="0">
                                  <a:pos x="18" y="22"/>
                                </a:cxn>
                                <a:cxn ang="0">
                                  <a:pos x="18" y="18"/>
                                </a:cxn>
                                <a:cxn ang="0">
                                  <a:pos x="18" y="16"/>
                                </a:cxn>
                                <a:cxn ang="0">
                                  <a:pos x="22" y="14"/>
                                </a:cxn>
                                <a:cxn ang="0">
                                  <a:pos x="22" y="14"/>
                                </a:cxn>
                                <a:cxn ang="0">
                                  <a:pos x="30" y="12"/>
                                </a:cxn>
                                <a:cxn ang="0">
                                  <a:pos x="38" y="12"/>
                                </a:cxn>
                                <a:cxn ang="0">
                                  <a:pos x="44" y="12"/>
                                </a:cxn>
                                <a:cxn ang="0">
                                  <a:pos x="50" y="10"/>
                                </a:cxn>
                                <a:cxn ang="0">
                                  <a:pos x="50" y="10"/>
                                </a:cxn>
                                <a:cxn ang="0">
                                  <a:pos x="58" y="6"/>
                                </a:cxn>
                                <a:cxn ang="0">
                                  <a:pos x="70" y="4"/>
                                </a:cxn>
                                <a:cxn ang="0">
                                  <a:pos x="70" y="4"/>
                                </a:cxn>
                                <a:cxn ang="0">
                                  <a:pos x="84" y="0"/>
                                </a:cxn>
                                <a:cxn ang="0">
                                  <a:pos x="86" y="2"/>
                                </a:cxn>
                                <a:cxn ang="0">
                                  <a:pos x="84" y="6"/>
                                </a:cxn>
                                <a:cxn ang="0">
                                  <a:pos x="84" y="6"/>
                                </a:cxn>
                                <a:cxn ang="0">
                                  <a:pos x="82" y="8"/>
                                </a:cxn>
                                <a:cxn ang="0">
                                  <a:pos x="84" y="8"/>
                                </a:cxn>
                                <a:cxn ang="0">
                                  <a:pos x="92" y="6"/>
                                </a:cxn>
                                <a:cxn ang="0">
                                  <a:pos x="104" y="6"/>
                                </a:cxn>
                                <a:cxn ang="0">
                                  <a:pos x="106" y="6"/>
                                </a:cxn>
                                <a:cxn ang="0">
                                  <a:pos x="108" y="10"/>
                                </a:cxn>
                                <a:cxn ang="0">
                                  <a:pos x="108" y="10"/>
                                </a:cxn>
                                <a:cxn ang="0">
                                  <a:pos x="104" y="14"/>
                                </a:cxn>
                                <a:cxn ang="0">
                                  <a:pos x="100" y="16"/>
                                </a:cxn>
                                <a:cxn ang="0">
                                  <a:pos x="98" y="16"/>
                                </a:cxn>
                                <a:cxn ang="0">
                                  <a:pos x="100" y="16"/>
                                </a:cxn>
                                <a:cxn ang="0">
                                  <a:pos x="100" y="16"/>
                                </a:cxn>
                                <a:cxn ang="0">
                                  <a:pos x="102" y="18"/>
                                </a:cxn>
                                <a:cxn ang="0">
                                  <a:pos x="100" y="18"/>
                                </a:cxn>
                                <a:cxn ang="0">
                                  <a:pos x="88" y="20"/>
                                </a:cxn>
                                <a:cxn ang="0">
                                  <a:pos x="88" y="20"/>
                                </a:cxn>
                                <a:cxn ang="0">
                                  <a:pos x="74" y="24"/>
                                </a:cxn>
                                <a:cxn ang="0">
                                  <a:pos x="66" y="28"/>
                                </a:cxn>
                                <a:cxn ang="0">
                                  <a:pos x="60" y="28"/>
                                </a:cxn>
                                <a:cxn ang="0">
                                  <a:pos x="60" y="28"/>
                                </a:cxn>
                                <a:cxn ang="0">
                                  <a:pos x="42" y="26"/>
                                </a:cxn>
                                <a:cxn ang="0">
                                  <a:pos x="36" y="26"/>
                                </a:cxn>
                                <a:cxn ang="0">
                                  <a:pos x="36" y="28"/>
                                </a:cxn>
                                <a:cxn ang="0">
                                  <a:pos x="36" y="28"/>
                                </a:cxn>
                                <a:cxn ang="0">
                                  <a:pos x="36" y="28"/>
                                </a:cxn>
                                <a:cxn ang="0">
                                  <a:pos x="36" y="30"/>
                                </a:cxn>
                                <a:cxn ang="0">
                                  <a:pos x="34" y="32"/>
                                </a:cxn>
                                <a:cxn ang="0">
                                  <a:pos x="26" y="34"/>
                                </a:cxn>
                                <a:cxn ang="0">
                                  <a:pos x="26" y="34"/>
                                </a:cxn>
                                <a:cxn ang="0">
                                  <a:pos x="20" y="32"/>
                                </a:cxn>
                                <a:cxn ang="0">
                                  <a:pos x="18" y="34"/>
                                </a:cxn>
                                <a:cxn ang="0">
                                  <a:pos x="16" y="36"/>
                                </a:cxn>
                                <a:cxn ang="0">
                                  <a:pos x="10" y="36"/>
                                </a:cxn>
                                <a:cxn ang="0">
                                  <a:pos x="10" y="36"/>
                                </a:cxn>
                              </a:cxnLst>
                              <a:rect l="0" t="0" r="r" b="b"/>
                              <a:pathLst>
                                <a:path w="108" h="36">
                                  <a:moveTo>
                                    <a:pt x="10" y="36"/>
                                  </a:moveTo>
                                  <a:lnTo>
                                    <a:pt x="10" y="36"/>
                                  </a:lnTo>
                                  <a:lnTo>
                                    <a:pt x="0" y="32"/>
                                  </a:lnTo>
                                  <a:lnTo>
                                    <a:pt x="0" y="32"/>
                                  </a:lnTo>
                                  <a:lnTo>
                                    <a:pt x="4" y="30"/>
                                  </a:lnTo>
                                  <a:lnTo>
                                    <a:pt x="4" y="30"/>
                                  </a:lnTo>
                                  <a:lnTo>
                                    <a:pt x="6" y="28"/>
                                  </a:lnTo>
                                  <a:lnTo>
                                    <a:pt x="8" y="28"/>
                                  </a:lnTo>
                                  <a:lnTo>
                                    <a:pt x="14" y="26"/>
                                  </a:lnTo>
                                  <a:lnTo>
                                    <a:pt x="14" y="26"/>
                                  </a:lnTo>
                                  <a:lnTo>
                                    <a:pt x="18" y="26"/>
                                  </a:lnTo>
                                  <a:lnTo>
                                    <a:pt x="20" y="24"/>
                                  </a:lnTo>
                                  <a:lnTo>
                                    <a:pt x="18" y="22"/>
                                  </a:lnTo>
                                  <a:lnTo>
                                    <a:pt x="18" y="18"/>
                                  </a:lnTo>
                                  <a:lnTo>
                                    <a:pt x="18" y="16"/>
                                  </a:lnTo>
                                  <a:lnTo>
                                    <a:pt x="22" y="14"/>
                                  </a:lnTo>
                                  <a:lnTo>
                                    <a:pt x="22" y="14"/>
                                  </a:lnTo>
                                  <a:lnTo>
                                    <a:pt x="30" y="12"/>
                                  </a:lnTo>
                                  <a:lnTo>
                                    <a:pt x="38" y="12"/>
                                  </a:lnTo>
                                  <a:lnTo>
                                    <a:pt x="44" y="12"/>
                                  </a:lnTo>
                                  <a:lnTo>
                                    <a:pt x="50" y="10"/>
                                  </a:lnTo>
                                  <a:lnTo>
                                    <a:pt x="50" y="10"/>
                                  </a:lnTo>
                                  <a:lnTo>
                                    <a:pt x="58" y="6"/>
                                  </a:lnTo>
                                  <a:lnTo>
                                    <a:pt x="70" y="4"/>
                                  </a:lnTo>
                                  <a:lnTo>
                                    <a:pt x="70" y="4"/>
                                  </a:lnTo>
                                  <a:lnTo>
                                    <a:pt x="84" y="0"/>
                                  </a:lnTo>
                                  <a:lnTo>
                                    <a:pt x="86" y="2"/>
                                  </a:lnTo>
                                  <a:lnTo>
                                    <a:pt x="84" y="6"/>
                                  </a:lnTo>
                                  <a:lnTo>
                                    <a:pt x="84" y="6"/>
                                  </a:lnTo>
                                  <a:lnTo>
                                    <a:pt x="82" y="8"/>
                                  </a:lnTo>
                                  <a:lnTo>
                                    <a:pt x="84" y="8"/>
                                  </a:lnTo>
                                  <a:lnTo>
                                    <a:pt x="92" y="6"/>
                                  </a:lnTo>
                                  <a:lnTo>
                                    <a:pt x="104" y="6"/>
                                  </a:lnTo>
                                  <a:lnTo>
                                    <a:pt x="106" y="6"/>
                                  </a:lnTo>
                                  <a:lnTo>
                                    <a:pt x="108" y="10"/>
                                  </a:lnTo>
                                  <a:lnTo>
                                    <a:pt x="108" y="10"/>
                                  </a:lnTo>
                                  <a:lnTo>
                                    <a:pt x="104" y="14"/>
                                  </a:lnTo>
                                  <a:lnTo>
                                    <a:pt x="100" y="16"/>
                                  </a:lnTo>
                                  <a:lnTo>
                                    <a:pt x="98" y="16"/>
                                  </a:lnTo>
                                  <a:lnTo>
                                    <a:pt x="100" y="16"/>
                                  </a:lnTo>
                                  <a:lnTo>
                                    <a:pt x="100" y="16"/>
                                  </a:lnTo>
                                  <a:lnTo>
                                    <a:pt x="102" y="18"/>
                                  </a:lnTo>
                                  <a:lnTo>
                                    <a:pt x="100" y="18"/>
                                  </a:lnTo>
                                  <a:lnTo>
                                    <a:pt x="88" y="20"/>
                                  </a:lnTo>
                                  <a:lnTo>
                                    <a:pt x="88" y="20"/>
                                  </a:lnTo>
                                  <a:lnTo>
                                    <a:pt x="74" y="24"/>
                                  </a:lnTo>
                                  <a:lnTo>
                                    <a:pt x="66" y="28"/>
                                  </a:lnTo>
                                  <a:lnTo>
                                    <a:pt x="60" y="28"/>
                                  </a:lnTo>
                                  <a:lnTo>
                                    <a:pt x="60" y="28"/>
                                  </a:lnTo>
                                  <a:lnTo>
                                    <a:pt x="42" y="26"/>
                                  </a:lnTo>
                                  <a:lnTo>
                                    <a:pt x="36" y="26"/>
                                  </a:lnTo>
                                  <a:lnTo>
                                    <a:pt x="36" y="28"/>
                                  </a:lnTo>
                                  <a:lnTo>
                                    <a:pt x="36" y="28"/>
                                  </a:lnTo>
                                  <a:lnTo>
                                    <a:pt x="36" y="28"/>
                                  </a:lnTo>
                                  <a:lnTo>
                                    <a:pt x="36" y="30"/>
                                  </a:lnTo>
                                  <a:lnTo>
                                    <a:pt x="34" y="32"/>
                                  </a:lnTo>
                                  <a:lnTo>
                                    <a:pt x="26" y="34"/>
                                  </a:lnTo>
                                  <a:lnTo>
                                    <a:pt x="26" y="34"/>
                                  </a:lnTo>
                                  <a:lnTo>
                                    <a:pt x="20" y="32"/>
                                  </a:lnTo>
                                  <a:lnTo>
                                    <a:pt x="18" y="34"/>
                                  </a:lnTo>
                                  <a:lnTo>
                                    <a:pt x="16" y="36"/>
                                  </a:lnTo>
                                  <a:lnTo>
                                    <a:pt x="10" y="36"/>
                                  </a:lnTo>
                                  <a:lnTo>
                                    <a:pt x="10" y="36"/>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nvGrpSpPr>
                        <p:cNvPr id="1032" name="Canadian Islands"/>
                        <p:cNvGrpSpPr/>
                        <p:nvPr/>
                      </p:nvGrpSpPr>
                      <p:grpSpPr>
                        <a:xfrm>
                          <a:off x="3703679" y="1272600"/>
                          <a:ext cx="400968" cy="57661"/>
                          <a:chOff x="3856079" y="1425000"/>
                          <a:chExt cx="400968" cy="57661"/>
                        </a:xfrm>
                        <a:grpFill/>
                      </p:grpSpPr>
                      <p:sp>
                        <p:nvSpPr>
                          <p:cNvPr id="740" name="Canada"/>
                          <p:cNvSpPr>
                            <a:spLocks/>
                          </p:cNvSpPr>
                          <p:nvPr/>
                        </p:nvSpPr>
                        <p:spPr bwMode="auto">
                          <a:xfrm>
                            <a:off x="4190219" y="1449278"/>
                            <a:ext cx="66828" cy="24279"/>
                          </a:xfrm>
                          <a:custGeom>
                            <a:avLst/>
                            <a:gdLst/>
                            <a:ahLst/>
                            <a:cxnLst>
                              <a:cxn ang="0">
                                <a:pos x="8" y="16"/>
                              </a:cxn>
                              <a:cxn ang="0">
                                <a:pos x="8" y="16"/>
                              </a:cxn>
                              <a:cxn ang="0">
                                <a:pos x="4" y="14"/>
                              </a:cxn>
                              <a:cxn ang="0">
                                <a:pos x="4" y="12"/>
                              </a:cxn>
                              <a:cxn ang="0">
                                <a:pos x="2" y="8"/>
                              </a:cxn>
                              <a:cxn ang="0">
                                <a:pos x="2" y="8"/>
                              </a:cxn>
                              <a:cxn ang="0">
                                <a:pos x="0" y="6"/>
                              </a:cxn>
                              <a:cxn ang="0">
                                <a:pos x="0" y="4"/>
                              </a:cxn>
                              <a:cxn ang="0">
                                <a:pos x="2" y="2"/>
                              </a:cxn>
                              <a:cxn ang="0">
                                <a:pos x="8" y="2"/>
                              </a:cxn>
                              <a:cxn ang="0">
                                <a:pos x="8" y="2"/>
                              </a:cxn>
                              <a:cxn ang="0">
                                <a:pos x="18" y="0"/>
                              </a:cxn>
                              <a:cxn ang="0">
                                <a:pos x="22" y="0"/>
                              </a:cxn>
                              <a:cxn ang="0">
                                <a:pos x="28" y="2"/>
                              </a:cxn>
                              <a:cxn ang="0">
                                <a:pos x="28" y="2"/>
                              </a:cxn>
                              <a:cxn ang="0">
                                <a:pos x="40" y="6"/>
                              </a:cxn>
                              <a:cxn ang="0">
                                <a:pos x="44" y="8"/>
                              </a:cxn>
                              <a:cxn ang="0">
                                <a:pos x="42" y="10"/>
                              </a:cxn>
                              <a:cxn ang="0">
                                <a:pos x="42" y="10"/>
                              </a:cxn>
                              <a:cxn ang="0">
                                <a:pos x="34" y="10"/>
                              </a:cxn>
                              <a:cxn ang="0">
                                <a:pos x="24" y="12"/>
                              </a:cxn>
                              <a:cxn ang="0">
                                <a:pos x="24" y="12"/>
                              </a:cxn>
                              <a:cxn ang="0">
                                <a:pos x="16" y="16"/>
                              </a:cxn>
                              <a:cxn ang="0">
                                <a:pos x="12" y="16"/>
                              </a:cxn>
                              <a:cxn ang="0">
                                <a:pos x="8" y="16"/>
                              </a:cxn>
                              <a:cxn ang="0">
                                <a:pos x="8" y="16"/>
                              </a:cxn>
                            </a:cxnLst>
                            <a:rect l="0" t="0" r="r" b="b"/>
                            <a:pathLst>
                              <a:path w="44" h="16">
                                <a:moveTo>
                                  <a:pt x="8" y="16"/>
                                </a:moveTo>
                                <a:lnTo>
                                  <a:pt x="8" y="16"/>
                                </a:lnTo>
                                <a:lnTo>
                                  <a:pt x="4" y="14"/>
                                </a:lnTo>
                                <a:lnTo>
                                  <a:pt x="4" y="12"/>
                                </a:lnTo>
                                <a:lnTo>
                                  <a:pt x="2" y="8"/>
                                </a:lnTo>
                                <a:lnTo>
                                  <a:pt x="2" y="8"/>
                                </a:lnTo>
                                <a:lnTo>
                                  <a:pt x="0" y="6"/>
                                </a:lnTo>
                                <a:lnTo>
                                  <a:pt x="0" y="4"/>
                                </a:lnTo>
                                <a:lnTo>
                                  <a:pt x="2" y="2"/>
                                </a:lnTo>
                                <a:lnTo>
                                  <a:pt x="8" y="2"/>
                                </a:lnTo>
                                <a:lnTo>
                                  <a:pt x="8" y="2"/>
                                </a:lnTo>
                                <a:lnTo>
                                  <a:pt x="18" y="0"/>
                                </a:lnTo>
                                <a:lnTo>
                                  <a:pt x="22" y="0"/>
                                </a:lnTo>
                                <a:lnTo>
                                  <a:pt x="28" y="2"/>
                                </a:lnTo>
                                <a:lnTo>
                                  <a:pt x="28" y="2"/>
                                </a:lnTo>
                                <a:lnTo>
                                  <a:pt x="40" y="6"/>
                                </a:lnTo>
                                <a:lnTo>
                                  <a:pt x="44" y="8"/>
                                </a:lnTo>
                                <a:lnTo>
                                  <a:pt x="42" y="10"/>
                                </a:lnTo>
                                <a:lnTo>
                                  <a:pt x="42" y="10"/>
                                </a:lnTo>
                                <a:lnTo>
                                  <a:pt x="34" y="10"/>
                                </a:lnTo>
                                <a:lnTo>
                                  <a:pt x="24" y="12"/>
                                </a:lnTo>
                                <a:lnTo>
                                  <a:pt x="24" y="12"/>
                                </a:lnTo>
                                <a:lnTo>
                                  <a:pt x="16" y="16"/>
                                </a:lnTo>
                                <a:lnTo>
                                  <a:pt x="12" y="16"/>
                                </a:lnTo>
                                <a:lnTo>
                                  <a:pt x="8" y="16"/>
                                </a:lnTo>
                                <a:lnTo>
                                  <a:pt x="8" y="16"/>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1" name="Canada"/>
                          <p:cNvSpPr>
                            <a:spLocks/>
                          </p:cNvSpPr>
                          <p:nvPr/>
                        </p:nvSpPr>
                        <p:spPr bwMode="auto">
                          <a:xfrm>
                            <a:off x="3856079" y="1449278"/>
                            <a:ext cx="103279" cy="33383"/>
                          </a:xfrm>
                          <a:custGeom>
                            <a:avLst/>
                            <a:gdLst/>
                            <a:ahLst/>
                            <a:cxnLst>
                              <a:cxn ang="0">
                                <a:pos x="2" y="18"/>
                              </a:cxn>
                              <a:cxn ang="0">
                                <a:pos x="2" y="18"/>
                              </a:cxn>
                              <a:cxn ang="0">
                                <a:pos x="6" y="22"/>
                              </a:cxn>
                              <a:cxn ang="0">
                                <a:pos x="10" y="22"/>
                              </a:cxn>
                              <a:cxn ang="0">
                                <a:pos x="12" y="22"/>
                              </a:cxn>
                              <a:cxn ang="0">
                                <a:pos x="12" y="22"/>
                              </a:cxn>
                              <a:cxn ang="0">
                                <a:pos x="16" y="20"/>
                              </a:cxn>
                              <a:cxn ang="0">
                                <a:pos x="18" y="18"/>
                              </a:cxn>
                              <a:cxn ang="0">
                                <a:pos x="18" y="16"/>
                              </a:cxn>
                              <a:cxn ang="0">
                                <a:pos x="18" y="16"/>
                              </a:cxn>
                              <a:cxn ang="0">
                                <a:pos x="12" y="14"/>
                              </a:cxn>
                              <a:cxn ang="0">
                                <a:pos x="12" y="12"/>
                              </a:cxn>
                              <a:cxn ang="0">
                                <a:pos x="18" y="14"/>
                              </a:cxn>
                              <a:cxn ang="0">
                                <a:pos x="18" y="14"/>
                              </a:cxn>
                              <a:cxn ang="0">
                                <a:pos x="36" y="16"/>
                              </a:cxn>
                              <a:cxn ang="0">
                                <a:pos x="40" y="16"/>
                              </a:cxn>
                              <a:cxn ang="0">
                                <a:pos x="44" y="16"/>
                              </a:cxn>
                              <a:cxn ang="0">
                                <a:pos x="44" y="16"/>
                              </a:cxn>
                              <a:cxn ang="0">
                                <a:pos x="48" y="12"/>
                              </a:cxn>
                              <a:cxn ang="0">
                                <a:pos x="54" y="8"/>
                              </a:cxn>
                              <a:cxn ang="0">
                                <a:pos x="66" y="4"/>
                              </a:cxn>
                              <a:cxn ang="0">
                                <a:pos x="66" y="4"/>
                              </a:cxn>
                              <a:cxn ang="0">
                                <a:pos x="68" y="4"/>
                              </a:cxn>
                              <a:cxn ang="0">
                                <a:pos x="66" y="2"/>
                              </a:cxn>
                              <a:cxn ang="0">
                                <a:pos x="52" y="2"/>
                              </a:cxn>
                              <a:cxn ang="0">
                                <a:pos x="52" y="2"/>
                              </a:cxn>
                              <a:cxn ang="0">
                                <a:pos x="36" y="0"/>
                              </a:cxn>
                              <a:cxn ang="0">
                                <a:pos x="28" y="0"/>
                              </a:cxn>
                              <a:cxn ang="0">
                                <a:pos x="22" y="0"/>
                              </a:cxn>
                              <a:cxn ang="0">
                                <a:pos x="22" y="0"/>
                              </a:cxn>
                              <a:cxn ang="0">
                                <a:pos x="12" y="4"/>
                              </a:cxn>
                              <a:cxn ang="0">
                                <a:pos x="8" y="6"/>
                              </a:cxn>
                              <a:cxn ang="0">
                                <a:pos x="6" y="10"/>
                              </a:cxn>
                              <a:cxn ang="0">
                                <a:pos x="6" y="10"/>
                              </a:cxn>
                              <a:cxn ang="0">
                                <a:pos x="6" y="12"/>
                              </a:cxn>
                              <a:cxn ang="0">
                                <a:pos x="2" y="14"/>
                              </a:cxn>
                              <a:cxn ang="0">
                                <a:pos x="0" y="16"/>
                              </a:cxn>
                              <a:cxn ang="0">
                                <a:pos x="2" y="18"/>
                              </a:cxn>
                              <a:cxn ang="0">
                                <a:pos x="2" y="18"/>
                              </a:cxn>
                            </a:cxnLst>
                            <a:rect l="0" t="0" r="r" b="b"/>
                            <a:pathLst>
                              <a:path w="68" h="22">
                                <a:moveTo>
                                  <a:pt x="2" y="18"/>
                                </a:moveTo>
                                <a:lnTo>
                                  <a:pt x="2" y="18"/>
                                </a:lnTo>
                                <a:lnTo>
                                  <a:pt x="6" y="22"/>
                                </a:lnTo>
                                <a:lnTo>
                                  <a:pt x="10" y="22"/>
                                </a:lnTo>
                                <a:lnTo>
                                  <a:pt x="12" y="22"/>
                                </a:lnTo>
                                <a:lnTo>
                                  <a:pt x="12" y="22"/>
                                </a:lnTo>
                                <a:lnTo>
                                  <a:pt x="16" y="20"/>
                                </a:lnTo>
                                <a:lnTo>
                                  <a:pt x="18" y="18"/>
                                </a:lnTo>
                                <a:lnTo>
                                  <a:pt x="18" y="16"/>
                                </a:lnTo>
                                <a:lnTo>
                                  <a:pt x="18" y="16"/>
                                </a:lnTo>
                                <a:lnTo>
                                  <a:pt x="12" y="14"/>
                                </a:lnTo>
                                <a:lnTo>
                                  <a:pt x="12" y="12"/>
                                </a:lnTo>
                                <a:lnTo>
                                  <a:pt x="18" y="14"/>
                                </a:lnTo>
                                <a:lnTo>
                                  <a:pt x="18" y="14"/>
                                </a:lnTo>
                                <a:lnTo>
                                  <a:pt x="36" y="16"/>
                                </a:lnTo>
                                <a:lnTo>
                                  <a:pt x="40" y="16"/>
                                </a:lnTo>
                                <a:lnTo>
                                  <a:pt x="44" y="16"/>
                                </a:lnTo>
                                <a:lnTo>
                                  <a:pt x="44" y="16"/>
                                </a:lnTo>
                                <a:lnTo>
                                  <a:pt x="48" y="12"/>
                                </a:lnTo>
                                <a:lnTo>
                                  <a:pt x="54" y="8"/>
                                </a:lnTo>
                                <a:lnTo>
                                  <a:pt x="66" y="4"/>
                                </a:lnTo>
                                <a:lnTo>
                                  <a:pt x="66" y="4"/>
                                </a:lnTo>
                                <a:lnTo>
                                  <a:pt x="68" y="4"/>
                                </a:lnTo>
                                <a:lnTo>
                                  <a:pt x="66" y="2"/>
                                </a:lnTo>
                                <a:lnTo>
                                  <a:pt x="52" y="2"/>
                                </a:lnTo>
                                <a:lnTo>
                                  <a:pt x="52" y="2"/>
                                </a:lnTo>
                                <a:lnTo>
                                  <a:pt x="36" y="0"/>
                                </a:lnTo>
                                <a:lnTo>
                                  <a:pt x="28" y="0"/>
                                </a:lnTo>
                                <a:lnTo>
                                  <a:pt x="22" y="0"/>
                                </a:lnTo>
                                <a:lnTo>
                                  <a:pt x="22" y="0"/>
                                </a:lnTo>
                                <a:lnTo>
                                  <a:pt x="12" y="4"/>
                                </a:lnTo>
                                <a:lnTo>
                                  <a:pt x="8" y="6"/>
                                </a:lnTo>
                                <a:lnTo>
                                  <a:pt x="6" y="10"/>
                                </a:lnTo>
                                <a:lnTo>
                                  <a:pt x="6" y="10"/>
                                </a:lnTo>
                                <a:lnTo>
                                  <a:pt x="6" y="12"/>
                                </a:lnTo>
                                <a:lnTo>
                                  <a:pt x="2" y="14"/>
                                </a:lnTo>
                                <a:lnTo>
                                  <a:pt x="0" y="16"/>
                                </a:lnTo>
                                <a:lnTo>
                                  <a:pt x="2" y="18"/>
                                </a:lnTo>
                                <a:lnTo>
                                  <a:pt x="2" y="18"/>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2" name="Canada"/>
                          <p:cNvSpPr>
                            <a:spLocks/>
                          </p:cNvSpPr>
                          <p:nvPr/>
                        </p:nvSpPr>
                        <p:spPr bwMode="auto">
                          <a:xfrm>
                            <a:off x="3895568" y="1425000"/>
                            <a:ext cx="57715" cy="21244"/>
                          </a:xfrm>
                          <a:custGeom>
                            <a:avLst/>
                            <a:gdLst/>
                            <a:ahLst/>
                            <a:cxnLst>
                              <a:cxn ang="0">
                                <a:pos x="32" y="2"/>
                              </a:cxn>
                              <a:cxn ang="0">
                                <a:pos x="32" y="2"/>
                              </a:cxn>
                              <a:cxn ang="0">
                                <a:pos x="38" y="4"/>
                              </a:cxn>
                              <a:cxn ang="0">
                                <a:pos x="38" y="6"/>
                              </a:cxn>
                              <a:cxn ang="0">
                                <a:pos x="38" y="8"/>
                              </a:cxn>
                              <a:cxn ang="0">
                                <a:pos x="36" y="10"/>
                              </a:cxn>
                              <a:cxn ang="0">
                                <a:pos x="36" y="10"/>
                              </a:cxn>
                              <a:cxn ang="0">
                                <a:pos x="26" y="12"/>
                              </a:cxn>
                              <a:cxn ang="0">
                                <a:pos x="14" y="14"/>
                              </a:cxn>
                              <a:cxn ang="0">
                                <a:pos x="14" y="14"/>
                              </a:cxn>
                              <a:cxn ang="0">
                                <a:pos x="6" y="12"/>
                              </a:cxn>
                              <a:cxn ang="0">
                                <a:pos x="0" y="12"/>
                              </a:cxn>
                              <a:cxn ang="0">
                                <a:pos x="0" y="10"/>
                              </a:cxn>
                              <a:cxn ang="0">
                                <a:pos x="4" y="8"/>
                              </a:cxn>
                              <a:cxn ang="0">
                                <a:pos x="4" y="8"/>
                              </a:cxn>
                              <a:cxn ang="0">
                                <a:pos x="22" y="8"/>
                              </a:cxn>
                              <a:cxn ang="0">
                                <a:pos x="26" y="6"/>
                              </a:cxn>
                              <a:cxn ang="0">
                                <a:pos x="24" y="6"/>
                              </a:cxn>
                              <a:cxn ang="0">
                                <a:pos x="24" y="6"/>
                              </a:cxn>
                              <a:cxn ang="0">
                                <a:pos x="14" y="6"/>
                              </a:cxn>
                              <a:cxn ang="0">
                                <a:pos x="12" y="6"/>
                              </a:cxn>
                              <a:cxn ang="0">
                                <a:pos x="12" y="6"/>
                              </a:cxn>
                              <a:cxn ang="0">
                                <a:pos x="12" y="6"/>
                              </a:cxn>
                              <a:cxn ang="0">
                                <a:pos x="18" y="2"/>
                              </a:cxn>
                              <a:cxn ang="0">
                                <a:pos x="24" y="0"/>
                              </a:cxn>
                              <a:cxn ang="0">
                                <a:pos x="32" y="2"/>
                              </a:cxn>
                              <a:cxn ang="0">
                                <a:pos x="32" y="2"/>
                              </a:cxn>
                            </a:cxnLst>
                            <a:rect l="0" t="0" r="r" b="b"/>
                            <a:pathLst>
                              <a:path w="38" h="14">
                                <a:moveTo>
                                  <a:pt x="32" y="2"/>
                                </a:moveTo>
                                <a:lnTo>
                                  <a:pt x="32" y="2"/>
                                </a:lnTo>
                                <a:lnTo>
                                  <a:pt x="38" y="4"/>
                                </a:lnTo>
                                <a:lnTo>
                                  <a:pt x="38" y="6"/>
                                </a:lnTo>
                                <a:lnTo>
                                  <a:pt x="38" y="8"/>
                                </a:lnTo>
                                <a:lnTo>
                                  <a:pt x="36" y="10"/>
                                </a:lnTo>
                                <a:lnTo>
                                  <a:pt x="36" y="10"/>
                                </a:lnTo>
                                <a:lnTo>
                                  <a:pt x="26" y="12"/>
                                </a:lnTo>
                                <a:lnTo>
                                  <a:pt x="14" y="14"/>
                                </a:lnTo>
                                <a:lnTo>
                                  <a:pt x="14" y="14"/>
                                </a:lnTo>
                                <a:lnTo>
                                  <a:pt x="6" y="12"/>
                                </a:lnTo>
                                <a:lnTo>
                                  <a:pt x="0" y="12"/>
                                </a:lnTo>
                                <a:lnTo>
                                  <a:pt x="0" y="10"/>
                                </a:lnTo>
                                <a:lnTo>
                                  <a:pt x="4" y="8"/>
                                </a:lnTo>
                                <a:lnTo>
                                  <a:pt x="4" y="8"/>
                                </a:lnTo>
                                <a:lnTo>
                                  <a:pt x="22" y="8"/>
                                </a:lnTo>
                                <a:lnTo>
                                  <a:pt x="26" y="6"/>
                                </a:lnTo>
                                <a:lnTo>
                                  <a:pt x="24" y="6"/>
                                </a:lnTo>
                                <a:lnTo>
                                  <a:pt x="24" y="6"/>
                                </a:lnTo>
                                <a:lnTo>
                                  <a:pt x="14" y="6"/>
                                </a:lnTo>
                                <a:lnTo>
                                  <a:pt x="12" y="6"/>
                                </a:lnTo>
                                <a:lnTo>
                                  <a:pt x="12" y="6"/>
                                </a:lnTo>
                                <a:lnTo>
                                  <a:pt x="12" y="6"/>
                                </a:lnTo>
                                <a:lnTo>
                                  <a:pt x="18" y="2"/>
                                </a:lnTo>
                                <a:lnTo>
                                  <a:pt x="24" y="0"/>
                                </a:lnTo>
                                <a:lnTo>
                                  <a:pt x="32" y="2"/>
                                </a:lnTo>
                                <a:lnTo>
                                  <a:pt x="32" y="2"/>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
                    <p:nvSpPr>
                      <p:cNvPr id="592" name="India"/>
                      <p:cNvSpPr>
                        <a:spLocks/>
                      </p:cNvSpPr>
                      <p:nvPr/>
                    </p:nvSpPr>
                    <p:spPr bwMode="auto">
                      <a:xfrm>
                        <a:off x="7898945" y="2319617"/>
                        <a:ext cx="893067" cy="1056122"/>
                      </a:xfrm>
                      <a:custGeom>
                        <a:avLst/>
                        <a:gdLst/>
                        <a:ahLst/>
                        <a:cxnLst>
                          <a:cxn ang="0">
                            <a:pos x="388" y="234"/>
                          </a:cxn>
                          <a:cxn ang="0">
                            <a:pos x="350" y="234"/>
                          </a:cxn>
                          <a:cxn ang="0">
                            <a:pos x="300" y="212"/>
                          </a:cxn>
                          <a:cxn ang="0">
                            <a:pos x="276" y="206"/>
                          </a:cxn>
                          <a:cxn ang="0">
                            <a:pos x="230" y="174"/>
                          </a:cxn>
                          <a:cxn ang="0">
                            <a:pos x="240" y="142"/>
                          </a:cxn>
                          <a:cxn ang="0">
                            <a:pos x="182" y="104"/>
                          </a:cxn>
                          <a:cxn ang="0">
                            <a:pos x="182" y="70"/>
                          </a:cxn>
                          <a:cxn ang="0">
                            <a:pos x="128" y="4"/>
                          </a:cxn>
                          <a:cxn ang="0">
                            <a:pos x="128" y="28"/>
                          </a:cxn>
                          <a:cxn ang="0">
                            <a:pos x="66" y="40"/>
                          </a:cxn>
                          <a:cxn ang="0">
                            <a:pos x="82" y="54"/>
                          </a:cxn>
                          <a:cxn ang="0">
                            <a:pos x="104" y="66"/>
                          </a:cxn>
                          <a:cxn ang="0">
                            <a:pos x="102" y="98"/>
                          </a:cxn>
                          <a:cxn ang="0">
                            <a:pos x="88" y="150"/>
                          </a:cxn>
                          <a:cxn ang="0">
                            <a:pos x="44" y="192"/>
                          </a:cxn>
                          <a:cxn ang="0">
                            <a:pos x="28" y="218"/>
                          </a:cxn>
                          <a:cxn ang="0">
                            <a:pos x="68" y="270"/>
                          </a:cxn>
                          <a:cxn ang="0">
                            <a:pos x="54" y="276"/>
                          </a:cxn>
                          <a:cxn ang="0">
                            <a:pos x="12" y="282"/>
                          </a:cxn>
                          <a:cxn ang="0">
                            <a:pos x="18" y="306"/>
                          </a:cxn>
                          <a:cxn ang="0">
                            <a:pos x="44" y="324"/>
                          </a:cxn>
                          <a:cxn ang="0">
                            <a:pos x="20" y="334"/>
                          </a:cxn>
                          <a:cxn ang="0">
                            <a:pos x="58" y="376"/>
                          </a:cxn>
                          <a:cxn ang="0">
                            <a:pos x="88" y="354"/>
                          </a:cxn>
                          <a:cxn ang="0">
                            <a:pos x="94" y="354"/>
                          </a:cxn>
                          <a:cxn ang="0">
                            <a:pos x="110" y="386"/>
                          </a:cxn>
                          <a:cxn ang="0">
                            <a:pos x="114" y="410"/>
                          </a:cxn>
                          <a:cxn ang="0">
                            <a:pos x="142" y="508"/>
                          </a:cxn>
                          <a:cxn ang="0">
                            <a:pos x="168" y="572"/>
                          </a:cxn>
                          <a:cxn ang="0">
                            <a:pos x="210" y="660"/>
                          </a:cxn>
                          <a:cxn ang="0">
                            <a:pos x="252" y="690"/>
                          </a:cxn>
                          <a:cxn ang="0">
                            <a:pos x="264" y="660"/>
                          </a:cxn>
                          <a:cxn ang="0">
                            <a:pos x="284" y="638"/>
                          </a:cxn>
                          <a:cxn ang="0">
                            <a:pos x="288" y="582"/>
                          </a:cxn>
                          <a:cxn ang="0">
                            <a:pos x="286" y="532"/>
                          </a:cxn>
                          <a:cxn ang="0">
                            <a:pos x="300" y="490"/>
                          </a:cxn>
                          <a:cxn ang="0">
                            <a:pos x="328" y="464"/>
                          </a:cxn>
                          <a:cxn ang="0">
                            <a:pos x="352" y="432"/>
                          </a:cxn>
                          <a:cxn ang="0">
                            <a:pos x="382" y="390"/>
                          </a:cxn>
                          <a:cxn ang="0">
                            <a:pos x="398" y="354"/>
                          </a:cxn>
                          <a:cxn ang="0">
                            <a:pos x="420" y="332"/>
                          </a:cxn>
                          <a:cxn ang="0">
                            <a:pos x="432" y="338"/>
                          </a:cxn>
                          <a:cxn ang="0">
                            <a:pos x="430" y="308"/>
                          </a:cxn>
                          <a:cxn ang="0">
                            <a:pos x="408" y="268"/>
                          </a:cxn>
                          <a:cxn ang="0">
                            <a:pos x="390" y="238"/>
                          </a:cxn>
                          <a:cxn ang="0">
                            <a:pos x="418" y="228"/>
                          </a:cxn>
                          <a:cxn ang="0">
                            <a:pos x="436" y="240"/>
                          </a:cxn>
                          <a:cxn ang="0">
                            <a:pos x="502" y="266"/>
                          </a:cxn>
                          <a:cxn ang="0">
                            <a:pos x="470" y="296"/>
                          </a:cxn>
                          <a:cxn ang="0">
                            <a:pos x="492" y="300"/>
                          </a:cxn>
                          <a:cxn ang="0">
                            <a:pos x="528" y="332"/>
                          </a:cxn>
                          <a:cxn ang="0">
                            <a:pos x="540" y="290"/>
                          </a:cxn>
                          <a:cxn ang="0">
                            <a:pos x="540" y="236"/>
                          </a:cxn>
                          <a:cxn ang="0">
                            <a:pos x="582" y="190"/>
                          </a:cxn>
                          <a:cxn ang="0">
                            <a:pos x="558" y="172"/>
                          </a:cxn>
                          <a:cxn ang="0">
                            <a:pos x="538" y="160"/>
                          </a:cxn>
                          <a:cxn ang="0">
                            <a:pos x="462" y="184"/>
                          </a:cxn>
                          <a:cxn ang="0">
                            <a:pos x="470" y="206"/>
                          </a:cxn>
                          <a:cxn ang="0">
                            <a:pos x="412" y="200"/>
                          </a:cxn>
                        </a:cxnLst>
                        <a:rect l="0" t="0" r="r" b="b"/>
                        <a:pathLst>
                          <a:path w="588" h="696">
                            <a:moveTo>
                              <a:pt x="398" y="192"/>
                            </a:moveTo>
                            <a:lnTo>
                              <a:pt x="398" y="192"/>
                            </a:lnTo>
                            <a:lnTo>
                              <a:pt x="400" y="196"/>
                            </a:lnTo>
                            <a:lnTo>
                              <a:pt x="400" y="200"/>
                            </a:lnTo>
                            <a:lnTo>
                              <a:pt x="394" y="206"/>
                            </a:lnTo>
                            <a:lnTo>
                              <a:pt x="388" y="212"/>
                            </a:lnTo>
                            <a:lnTo>
                              <a:pt x="386" y="216"/>
                            </a:lnTo>
                            <a:lnTo>
                              <a:pt x="388" y="218"/>
                            </a:lnTo>
                            <a:lnTo>
                              <a:pt x="388" y="218"/>
                            </a:lnTo>
                            <a:lnTo>
                              <a:pt x="390" y="224"/>
                            </a:lnTo>
                            <a:lnTo>
                              <a:pt x="390" y="230"/>
                            </a:lnTo>
                            <a:lnTo>
                              <a:pt x="388" y="234"/>
                            </a:lnTo>
                            <a:lnTo>
                              <a:pt x="386" y="238"/>
                            </a:lnTo>
                            <a:lnTo>
                              <a:pt x="386" y="238"/>
                            </a:lnTo>
                            <a:lnTo>
                              <a:pt x="378" y="238"/>
                            </a:lnTo>
                            <a:lnTo>
                              <a:pt x="374" y="238"/>
                            </a:lnTo>
                            <a:lnTo>
                              <a:pt x="372" y="238"/>
                            </a:lnTo>
                            <a:lnTo>
                              <a:pt x="368" y="238"/>
                            </a:lnTo>
                            <a:lnTo>
                              <a:pt x="368" y="238"/>
                            </a:lnTo>
                            <a:lnTo>
                              <a:pt x="362" y="238"/>
                            </a:lnTo>
                            <a:lnTo>
                              <a:pt x="360" y="236"/>
                            </a:lnTo>
                            <a:lnTo>
                              <a:pt x="358" y="234"/>
                            </a:lnTo>
                            <a:lnTo>
                              <a:pt x="350" y="234"/>
                            </a:lnTo>
                            <a:lnTo>
                              <a:pt x="350" y="234"/>
                            </a:lnTo>
                            <a:lnTo>
                              <a:pt x="344" y="234"/>
                            </a:lnTo>
                            <a:lnTo>
                              <a:pt x="340" y="230"/>
                            </a:lnTo>
                            <a:lnTo>
                              <a:pt x="338" y="228"/>
                            </a:lnTo>
                            <a:lnTo>
                              <a:pt x="334" y="228"/>
                            </a:lnTo>
                            <a:lnTo>
                              <a:pt x="334" y="228"/>
                            </a:lnTo>
                            <a:lnTo>
                              <a:pt x="332" y="228"/>
                            </a:lnTo>
                            <a:lnTo>
                              <a:pt x="332" y="226"/>
                            </a:lnTo>
                            <a:lnTo>
                              <a:pt x="330" y="222"/>
                            </a:lnTo>
                            <a:lnTo>
                              <a:pt x="324" y="218"/>
                            </a:lnTo>
                            <a:lnTo>
                              <a:pt x="324" y="218"/>
                            </a:lnTo>
                            <a:lnTo>
                              <a:pt x="306" y="212"/>
                            </a:lnTo>
                            <a:lnTo>
                              <a:pt x="300" y="212"/>
                            </a:lnTo>
                            <a:lnTo>
                              <a:pt x="298" y="212"/>
                            </a:lnTo>
                            <a:lnTo>
                              <a:pt x="296" y="214"/>
                            </a:lnTo>
                            <a:lnTo>
                              <a:pt x="296" y="214"/>
                            </a:lnTo>
                            <a:lnTo>
                              <a:pt x="296" y="214"/>
                            </a:lnTo>
                            <a:lnTo>
                              <a:pt x="292" y="214"/>
                            </a:lnTo>
                            <a:lnTo>
                              <a:pt x="280" y="212"/>
                            </a:lnTo>
                            <a:lnTo>
                              <a:pt x="280" y="212"/>
                            </a:lnTo>
                            <a:lnTo>
                              <a:pt x="276" y="212"/>
                            </a:lnTo>
                            <a:lnTo>
                              <a:pt x="276" y="210"/>
                            </a:lnTo>
                            <a:lnTo>
                              <a:pt x="278" y="208"/>
                            </a:lnTo>
                            <a:lnTo>
                              <a:pt x="276" y="206"/>
                            </a:lnTo>
                            <a:lnTo>
                              <a:pt x="276" y="206"/>
                            </a:lnTo>
                            <a:lnTo>
                              <a:pt x="262" y="202"/>
                            </a:lnTo>
                            <a:lnTo>
                              <a:pt x="254" y="198"/>
                            </a:lnTo>
                            <a:lnTo>
                              <a:pt x="246" y="192"/>
                            </a:lnTo>
                            <a:lnTo>
                              <a:pt x="246" y="192"/>
                            </a:lnTo>
                            <a:lnTo>
                              <a:pt x="242" y="188"/>
                            </a:lnTo>
                            <a:lnTo>
                              <a:pt x="238" y="188"/>
                            </a:lnTo>
                            <a:lnTo>
                              <a:pt x="232" y="188"/>
                            </a:lnTo>
                            <a:lnTo>
                              <a:pt x="226" y="184"/>
                            </a:lnTo>
                            <a:lnTo>
                              <a:pt x="226" y="184"/>
                            </a:lnTo>
                            <a:lnTo>
                              <a:pt x="222" y="182"/>
                            </a:lnTo>
                            <a:lnTo>
                              <a:pt x="224" y="178"/>
                            </a:lnTo>
                            <a:lnTo>
                              <a:pt x="230" y="174"/>
                            </a:lnTo>
                            <a:lnTo>
                              <a:pt x="236" y="168"/>
                            </a:lnTo>
                            <a:lnTo>
                              <a:pt x="236" y="168"/>
                            </a:lnTo>
                            <a:lnTo>
                              <a:pt x="240" y="162"/>
                            </a:lnTo>
                            <a:lnTo>
                              <a:pt x="240" y="160"/>
                            </a:lnTo>
                            <a:lnTo>
                              <a:pt x="238" y="158"/>
                            </a:lnTo>
                            <a:lnTo>
                              <a:pt x="240" y="156"/>
                            </a:lnTo>
                            <a:lnTo>
                              <a:pt x="240" y="156"/>
                            </a:lnTo>
                            <a:lnTo>
                              <a:pt x="244" y="148"/>
                            </a:lnTo>
                            <a:lnTo>
                              <a:pt x="246" y="146"/>
                            </a:lnTo>
                            <a:lnTo>
                              <a:pt x="246" y="146"/>
                            </a:lnTo>
                            <a:lnTo>
                              <a:pt x="240" y="142"/>
                            </a:lnTo>
                            <a:lnTo>
                              <a:pt x="240" y="142"/>
                            </a:lnTo>
                            <a:lnTo>
                              <a:pt x="234" y="134"/>
                            </a:lnTo>
                            <a:lnTo>
                              <a:pt x="226" y="132"/>
                            </a:lnTo>
                            <a:lnTo>
                              <a:pt x="220" y="130"/>
                            </a:lnTo>
                            <a:lnTo>
                              <a:pt x="214" y="126"/>
                            </a:lnTo>
                            <a:lnTo>
                              <a:pt x="214" y="126"/>
                            </a:lnTo>
                            <a:lnTo>
                              <a:pt x="208" y="122"/>
                            </a:lnTo>
                            <a:lnTo>
                              <a:pt x="202" y="122"/>
                            </a:lnTo>
                            <a:lnTo>
                              <a:pt x="194" y="118"/>
                            </a:lnTo>
                            <a:lnTo>
                              <a:pt x="190" y="116"/>
                            </a:lnTo>
                            <a:lnTo>
                              <a:pt x="186" y="112"/>
                            </a:lnTo>
                            <a:lnTo>
                              <a:pt x="186" y="112"/>
                            </a:lnTo>
                            <a:lnTo>
                              <a:pt x="182" y="104"/>
                            </a:lnTo>
                            <a:lnTo>
                              <a:pt x="182" y="98"/>
                            </a:lnTo>
                            <a:lnTo>
                              <a:pt x="182" y="94"/>
                            </a:lnTo>
                            <a:lnTo>
                              <a:pt x="176" y="88"/>
                            </a:lnTo>
                            <a:lnTo>
                              <a:pt x="176" y="88"/>
                            </a:lnTo>
                            <a:lnTo>
                              <a:pt x="174" y="84"/>
                            </a:lnTo>
                            <a:lnTo>
                              <a:pt x="174" y="84"/>
                            </a:lnTo>
                            <a:lnTo>
                              <a:pt x="178" y="84"/>
                            </a:lnTo>
                            <a:lnTo>
                              <a:pt x="182" y="84"/>
                            </a:lnTo>
                            <a:lnTo>
                              <a:pt x="184" y="82"/>
                            </a:lnTo>
                            <a:lnTo>
                              <a:pt x="184" y="78"/>
                            </a:lnTo>
                            <a:lnTo>
                              <a:pt x="182" y="70"/>
                            </a:lnTo>
                            <a:lnTo>
                              <a:pt x="182" y="70"/>
                            </a:lnTo>
                            <a:lnTo>
                              <a:pt x="178" y="64"/>
                            </a:lnTo>
                            <a:lnTo>
                              <a:pt x="174" y="58"/>
                            </a:lnTo>
                            <a:lnTo>
                              <a:pt x="166" y="50"/>
                            </a:lnTo>
                            <a:lnTo>
                              <a:pt x="164" y="48"/>
                            </a:lnTo>
                            <a:lnTo>
                              <a:pt x="164" y="46"/>
                            </a:lnTo>
                            <a:lnTo>
                              <a:pt x="170" y="38"/>
                            </a:lnTo>
                            <a:lnTo>
                              <a:pt x="170" y="38"/>
                            </a:lnTo>
                            <a:lnTo>
                              <a:pt x="158" y="22"/>
                            </a:lnTo>
                            <a:lnTo>
                              <a:pt x="150" y="12"/>
                            </a:lnTo>
                            <a:lnTo>
                              <a:pt x="142" y="6"/>
                            </a:lnTo>
                            <a:lnTo>
                              <a:pt x="136" y="4"/>
                            </a:lnTo>
                            <a:lnTo>
                              <a:pt x="128" y="4"/>
                            </a:lnTo>
                            <a:lnTo>
                              <a:pt x="124" y="2"/>
                            </a:lnTo>
                            <a:lnTo>
                              <a:pt x="120" y="0"/>
                            </a:lnTo>
                            <a:lnTo>
                              <a:pt x="120" y="0"/>
                            </a:lnTo>
                            <a:lnTo>
                              <a:pt x="122" y="4"/>
                            </a:lnTo>
                            <a:lnTo>
                              <a:pt x="126" y="6"/>
                            </a:lnTo>
                            <a:lnTo>
                              <a:pt x="130" y="8"/>
                            </a:lnTo>
                            <a:lnTo>
                              <a:pt x="134" y="16"/>
                            </a:lnTo>
                            <a:lnTo>
                              <a:pt x="134" y="16"/>
                            </a:lnTo>
                            <a:lnTo>
                              <a:pt x="138" y="22"/>
                            </a:lnTo>
                            <a:lnTo>
                              <a:pt x="138" y="26"/>
                            </a:lnTo>
                            <a:lnTo>
                              <a:pt x="134" y="28"/>
                            </a:lnTo>
                            <a:lnTo>
                              <a:pt x="128" y="28"/>
                            </a:lnTo>
                            <a:lnTo>
                              <a:pt x="128" y="28"/>
                            </a:lnTo>
                            <a:lnTo>
                              <a:pt x="116" y="30"/>
                            </a:lnTo>
                            <a:lnTo>
                              <a:pt x="108" y="32"/>
                            </a:lnTo>
                            <a:lnTo>
                              <a:pt x="100" y="34"/>
                            </a:lnTo>
                            <a:lnTo>
                              <a:pt x="80" y="32"/>
                            </a:lnTo>
                            <a:lnTo>
                              <a:pt x="80" y="32"/>
                            </a:lnTo>
                            <a:lnTo>
                              <a:pt x="70" y="30"/>
                            </a:lnTo>
                            <a:lnTo>
                              <a:pt x="64" y="30"/>
                            </a:lnTo>
                            <a:lnTo>
                              <a:pt x="62" y="32"/>
                            </a:lnTo>
                            <a:lnTo>
                              <a:pt x="60" y="32"/>
                            </a:lnTo>
                            <a:lnTo>
                              <a:pt x="62" y="36"/>
                            </a:lnTo>
                            <a:lnTo>
                              <a:pt x="66" y="40"/>
                            </a:lnTo>
                            <a:lnTo>
                              <a:pt x="66" y="40"/>
                            </a:lnTo>
                            <a:lnTo>
                              <a:pt x="62" y="40"/>
                            </a:lnTo>
                            <a:lnTo>
                              <a:pt x="62" y="42"/>
                            </a:lnTo>
                            <a:lnTo>
                              <a:pt x="64" y="44"/>
                            </a:lnTo>
                            <a:lnTo>
                              <a:pt x="68" y="48"/>
                            </a:lnTo>
                            <a:lnTo>
                              <a:pt x="70" y="50"/>
                            </a:lnTo>
                            <a:lnTo>
                              <a:pt x="70" y="54"/>
                            </a:lnTo>
                            <a:lnTo>
                              <a:pt x="70" y="54"/>
                            </a:lnTo>
                            <a:lnTo>
                              <a:pt x="70" y="56"/>
                            </a:lnTo>
                            <a:lnTo>
                              <a:pt x="72" y="58"/>
                            </a:lnTo>
                            <a:lnTo>
                              <a:pt x="76" y="56"/>
                            </a:lnTo>
                            <a:lnTo>
                              <a:pt x="82" y="54"/>
                            </a:lnTo>
                            <a:lnTo>
                              <a:pt x="84" y="54"/>
                            </a:lnTo>
                            <a:lnTo>
                              <a:pt x="86" y="54"/>
                            </a:lnTo>
                            <a:lnTo>
                              <a:pt x="86" y="54"/>
                            </a:lnTo>
                            <a:lnTo>
                              <a:pt x="88" y="58"/>
                            </a:lnTo>
                            <a:lnTo>
                              <a:pt x="88" y="60"/>
                            </a:lnTo>
                            <a:lnTo>
                              <a:pt x="88" y="64"/>
                            </a:lnTo>
                            <a:lnTo>
                              <a:pt x="88" y="66"/>
                            </a:lnTo>
                            <a:lnTo>
                              <a:pt x="90" y="68"/>
                            </a:lnTo>
                            <a:lnTo>
                              <a:pt x="98" y="66"/>
                            </a:lnTo>
                            <a:lnTo>
                              <a:pt x="98" y="66"/>
                            </a:lnTo>
                            <a:lnTo>
                              <a:pt x="102" y="66"/>
                            </a:lnTo>
                            <a:lnTo>
                              <a:pt x="104" y="66"/>
                            </a:lnTo>
                            <a:lnTo>
                              <a:pt x="102" y="70"/>
                            </a:lnTo>
                            <a:lnTo>
                              <a:pt x="102" y="76"/>
                            </a:lnTo>
                            <a:lnTo>
                              <a:pt x="102" y="78"/>
                            </a:lnTo>
                            <a:lnTo>
                              <a:pt x="104" y="78"/>
                            </a:lnTo>
                            <a:lnTo>
                              <a:pt x="104" y="78"/>
                            </a:lnTo>
                            <a:lnTo>
                              <a:pt x="108" y="80"/>
                            </a:lnTo>
                            <a:lnTo>
                              <a:pt x="106" y="82"/>
                            </a:lnTo>
                            <a:lnTo>
                              <a:pt x="102" y="86"/>
                            </a:lnTo>
                            <a:lnTo>
                              <a:pt x="98" y="88"/>
                            </a:lnTo>
                            <a:lnTo>
                              <a:pt x="98" y="92"/>
                            </a:lnTo>
                            <a:lnTo>
                              <a:pt x="98" y="96"/>
                            </a:lnTo>
                            <a:lnTo>
                              <a:pt x="102" y="98"/>
                            </a:lnTo>
                            <a:lnTo>
                              <a:pt x="102" y="98"/>
                            </a:lnTo>
                            <a:lnTo>
                              <a:pt x="108" y="106"/>
                            </a:lnTo>
                            <a:lnTo>
                              <a:pt x="108" y="106"/>
                            </a:lnTo>
                            <a:lnTo>
                              <a:pt x="106" y="108"/>
                            </a:lnTo>
                            <a:lnTo>
                              <a:pt x="102" y="110"/>
                            </a:lnTo>
                            <a:lnTo>
                              <a:pt x="100" y="114"/>
                            </a:lnTo>
                            <a:lnTo>
                              <a:pt x="96" y="120"/>
                            </a:lnTo>
                            <a:lnTo>
                              <a:pt x="96" y="128"/>
                            </a:lnTo>
                            <a:lnTo>
                              <a:pt x="96" y="128"/>
                            </a:lnTo>
                            <a:lnTo>
                              <a:pt x="94" y="138"/>
                            </a:lnTo>
                            <a:lnTo>
                              <a:pt x="92" y="146"/>
                            </a:lnTo>
                            <a:lnTo>
                              <a:pt x="88" y="150"/>
                            </a:lnTo>
                            <a:lnTo>
                              <a:pt x="84" y="152"/>
                            </a:lnTo>
                            <a:lnTo>
                              <a:pt x="78" y="156"/>
                            </a:lnTo>
                            <a:lnTo>
                              <a:pt x="76" y="158"/>
                            </a:lnTo>
                            <a:lnTo>
                              <a:pt x="76" y="162"/>
                            </a:lnTo>
                            <a:lnTo>
                              <a:pt x="76" y="162"/>
                            </a:lnTo>
                            <a:lnTo>
                              <a:pt x="74" y="166"/>
                            </a:lnTo>
                            <a:lnTo>
                              <a:pt x="70" y="174"/>
                            </a:lnTo>
                            <a:lnTo>
                              <a:pt x="64" y="182"/>
                            </a:lnTo>
                            <a:lnTo>
                              <a:pt x="52" y="190"/>
                            </a:lnTo>
                            <a:lnTo>
                              <a:pt x="52" y="190"/>
                            </a:lnTo>
                            <a:lnTo>
                              <a:pt x="46" y="192"/>
                            </a:lnTo>
                            <a:lnTo>
                              <a:pt x="44" y="192"/>
                            </a:lnTo>
                            <a:lnTo>
                              <a:pt x="42" y="190"/>
                            </a:lnTo>
                            <a:lnTo>
                              <a:pt x="40" y="188"/>
                            </a:lnTo>
                            <a:lnTo>
                              <a:pt x="40" y="186"/>
                            </a:lnTo>
                            <a:lnTo>
                              <a:pt x="34" y="190"/>
                            </a:lnTo>
                            <a:lnTo>
                              <a:pt x="34" y="190"/>
                            </a:lnTo>
                            <a:lnTo>
                              <a:pt x="20" y="204"/>
                            </a:lnTo>
                            <a:lnTo>
                              <a:pt x="18" y="210"/>
                            </a:lnTo>
                            <a:lnTo>
                              <a:pt x="18" y="212"/>
                            </a:lnTo>
                            <a:lnTo>
                              <a:pt x="18" y="214"/>
                            </a:lnTo>
                            <a:lnTo>
                              <a:pt x="18" y="214"/>
                            </a:lnTo>
                            <a:lnTo>
                              <a:pt x="24" y="216"/>
                            </a:lnTo>
                            <a:lnTo>
                              <a:pt x="28" y="218"/>
                            </a:lnTo>
                            <a:lnTo>
                              <a:pt x="30" y="222"/>
                            </a:lnTo>
                            <a:lnTo>
                              <a:pt x="30" y="228"/>
                            </a:lnTo>
                            <a:lnTo>
                              <a:pt x="30" y="228"/>
                            </a:lnTo>
                            <a:lnTo>
                              <a:pt x="30" y="232"/>
                            </a:lnTo>
                            <a:lnTo>
                              <a:pt x="32" y="236"/>
                            </a:lnTo>
                            <a:lnTo>
                              <a:pt x="36" y="240"/>
                            </a:lnTo>
                            <a:lnTo>
                              <a:pt x="46" y="246"/>
                            </a:lnTo>
                            <a:lnTo>
                              <a:pt x="58" y="256"/>
                            </a:lnTo>
                            <a:lnTo>
                              <a:pt x="58" y="256"/>
                            </a:lnTo>
                            <a:lnTo>
                              <a:pt x="64" y="262"/>
                            </a:lnTo>
                            <a:lnTo>
                              <a:pt x="68" y="266"/>
                            </a:lnTo>
                            <a:lnTo>
                              <a:pt x="68" y="270"/>
                            </a:lnTo>
                            <a:lnTo>
                              <a:pt x="66" y="270"/>
                            </a:lnTo>
                            <a:lnTo>
                              <a:pt x="62" y="272"/>
                            </a:lnTo>
                            <a:lnTo>
                              <a:pt x="62" y="272"/>
                            </a:lnTo>
                            <a:lnTo>
                              <a:pt x="64" y="274"/>
                            </a:lnTo>
                            <a:lnTo>
                              <a:pt x="64" y="274"/>
                            </a:lnTo>
                            <a:lnTo>
                              <a:pt x="70" y="278"/>
                            </a:lnTo>
                            <a:lnTo>
                              <a:pt x="62" y="280"/>
                            </a:lnTo>
                            <a:lnTo>
                              <a:pt x="62" y="280"/>
                            </a:lnTo>
                            <a:lnTo>
                              <a:pt x="56" y="282"/>
                            </a:lnTo>
                            <a:lnTo>
                              <a:pt x="54" y="280"/>
                            </a:lnTo>
                            <a:lnTo>
                              <a:pt x="54" y="278"/>
                            </a:lnTo>
                            <a:lnTo>
                              <a:pt x="54" y="276"/>
                            </a:lnTo>
                            <a:lnTo>
                              <a:pt x="48" y="278"/>
                            </a:lnTo>
                            <a:lnTo>
                              <a:pt x="48" y="278"/>
                            </a:lnTo>
                            <a:lnTo>
                              <a:pt x="40" y="280"/>
                            </a:lnTo>
                            <a:lnTo>
                              <a:pt x="34" y="280"/>
                            </a:lnTo>
                            <a:lnTo>
                              <a:pt x="28" y="280"/>
                            </a:lnTo>
                            <a:lnTo>
                              <a:pt x="24" y="282"/>
                            </a:lnTo>
                            <a:lnTo>
                              <a:pt x="24" y="282"/>
                            </a:lnTo>
                            <a:lnTo>
                              <a:pt x="20" y="282"/>
                            </a:lnTo>
                            <a:lnTo>
                              <a:pt x="18" y="282"/>
                            </a:lnTo>
                            <a:lnTo>
                              <a:pt x="16" y="280"/>
                            </a:lnTo>
                            <a:lnTo>
                              <a:pt x="12" y="282"/>
                            </a:lnTo>
                            <a:lnTo>
                              <a:pt x="12" y="282"/>
                            </a:lnTo>
                            <a:lnTo>
                              <a:pt x="8" y="286"/>
                            </a:lnTo>
                            <a:lnTo>
                              <a:pt x="6" y="286"/>
                            </a:lnTo>
                            <a:lnTo>
                              <a:pt x="4" y="286"/>
                            </a:lnTo>
                            <a:lnTo>
                              <a:pt x="0" y="292"/>
                            </a:lnTo>
                            <a:lnTo>
                              <a:pt x="0" y="292"/>
                            </a:lnTo>
                            <a:lnTo>
                              <a:pt x="6" y="296"/>
                            </a:lnTo>
                            <a:lnTo>
                              <a:pt x="10" y="298"/>
                            </a:lnTo>
                            <a:lnTo>
                              <a:pt x="14" y="300"/>
                            </a:lnTo>
                            <a:lnTo>
                              <a:pt x="22" y="300"/>
                            </a:lnTo>
                            <a:lnTo>
                              <a:pt x="22" y="300"/>
                            </a:lnTo>
                            <a:lnTo>
                              <a:pt x="18" y="302"/>
                            </a:lnTo>
                            <a:lnTo>
                              <a:pt x="18" y="306"/>
                            </a:lnTo>
                            <a:lnTo>
                              <a:pt x="20" y="310"/>
                            </a:lnTo>
                            <a:lnTo>
                              <a:pt x="20" y="310"/>
                            </a:lnTo>
                            <a:lnTo>
                              <a:pt x="22" y="316"/>
                            </a:lnTo>
                            <a:lnTo>
                              <a:pt x="22" y="322"/>
                            </a:lnTo>
                            <a:lnTo>
                              <a:pt x="24" y="326"/>
                            </a:lnTo>
                            <a:lnTo>
                              <a:pt x="26" y="326"/>
                            </a:lnTo>
                            <a:lnTo>
                              <a:pt x="30" y="324"/>
                            </a:lnTo>
                            <a:lnTo>
                              <a:pt x="30" y="324"/>
                            </a:lnTo>
                            <a:lnTo>
                              <a:pt x="32" y="324"/>
                            </a:lnTo>
                            <a:lnTo>
                              <a:pt x="36" y="324"/>
                            </a:lnTo>
                            <a:lnTo>
                              <a:pt x="40" y="324"/>
                            </a:lnTo>
                            <a:lnTo>
                              <a:pt x="44" y="324"/>
                            </a:lnTo>
                            <a:lnTo>
                              <a:pt x="44" y="324"/>
                            </a:lnTo>
                            <a:lnTo>
                              <a:pt x="44" y="330"/>
                            </a:lnTo>
                            <a:lnTo>
                              <a:pt x="42" y="332"/>
                            </a:lnTo>
                            <a:lnTo>
                              <a:pt x="40" y="334"/>
                            </a:lnTo>
                            <a:lnTo>
                              <a:pt x="40" y="334"/>
                            </a:lnTo>
                            <a:lnTo>
                              <a:pt x="34" y="336"/>
                            </a:lnTo>
                            <a:lnTo>
                              <a:pt x="30" y="336"/>
                            </a:lnTo>
                            <a:lnTo>
                              <a:pt x="26" y="334"/>
                            </a:lnTo>
                            <a:lnTo>
                              <a:pt x="24" y="334"/>
                            </a:lnTo>
                            <a:lnTo>
                              <a:pt x="24" y="334"/>
                            </a:lnTo>
                            <a:lnTo>
                              <a:pt x="22" y="336"/>
                            </a:lnTo>
                            <a:lnTo>
                              <a:pt x="20" y="334"/>
                            </a:lnTo>
                            <a:lnTo>
                              <a:pt x="18" y="334"/>
                            </a:lnTo>
                            <a:lnTo>
                              <a:pt x="18" y="334"/>
                            </a:lnTo>
                            <a:lnTo>
                              <a:pt x="18" y="334"/>
                            </a:lnTo>
                            <a:lnTo>
                              <a:pt x="16" y="336"/>
                            </a:lnTo>
                            <a:lnTo>
                              <a:pt x="16" y="338"/>
                            </a:lnTo>
                            <a:lnTo>
                              <a:pt x="18" y="342"/>
                            </a:lnTo>
                            <a:lnTo>
                              <a:pt x="24" y="344"/>
                            </a:lnTo>
                            <a:lnTo>
                              <a:pt x="24" y="344"/>
                            </a:lnTo>
                            <a:lnTo>
                              <a:pt x="32" y="352"/>
                            </a:lnTo>
                            <a:lnTo>
                              <a:pt x="40" y="362"/>
                            </a:lnTo>
                            <a:lnTo>
                              <a:pt x="52" y="374"/>
                            </a:lnTo>
                            <a:lnTo>
                              <a:pt x="58" y="376"/>
                            </a:lnTo>
                            <a:lnTo>
                              <a:pt x="64" y="378"/>
                            </a:lnTo>
                            <a:lnTo>
                              <a:pt x="64" y="378"/>
                            </a:lnTo>
                            <a:lnTo>
                              <a:pt x="68" y="378"/>
                            </a:lnTo>
                            <a:lnTo>
                              <a:pt x="70" y="376"/>
                            </a:lnTo>
                            <a:lnTo>
                              <a:pt x="72" y="374"/>
                            </a:lnTo>
                            <a:lnTo>
                              <a:pt x="80" y="370"/>
                            </a:lnTo>
                            <a:lnTo>
                              <a:pt x="80" y="370"/>
                            </a:lnTo>
                            <a:lnTo>
                              <a:pt x="84" y="368"/>
                            </a:lnTo>
                            <a:lnTo>
                              <a:pt x="88" y="364"/>
                            </a:lnTo>
                            <a:lnTo>
                              <a:pt x="90" y="360"/>
                            </a:lnTo>
                            <a:lnTo>
                              <a:pt x="88" y="354"/>
                            </a:lnTo>
                            <a:lnTo>
                              <a:pt x="88" y="354"/>
                            </a:lnTo>
                            <a:lnTo>
                              <a:pt x="86" y="348"/>
                            </a:lnTo>
                            <a:lnTo>
                              <a:pt x="88" y="344"/>
                            </a:lnTo>
                            <a:lnTo>
                              <a:pt x="92" y="336"/>
                            </a:lnTo>
                            <a:lnTo>
                              <a:pt x="92" y="336"/>
                            </a:lnTo>
                            <a:lnTo>
                              <a:pt x="92" y="342"/>
                            </a:lnTo>
                            <a:lnTo>
                              <a:pt x="94" y="344"/>
                            </a:lnTo>
                            <a:lnTo>
                              <a:pt x="98" y="344"/>
                            </a:lnTo>
                            <a:lnTo>
                              <a:pt x="106" y="342"/>
                            </a:lnTo>
                            <a:lnTo>
                              <a:pt x="106" y="342"/>
                            </a:lnTo>
                            <a:lnTo>
                              <a:pt x="96" y="346"/>
                            </a:lnTo>
                            <a:lnTo>
                              <a:pt x="94" y="350"/>
                            </a:lnTo>
                            <a:lnTo>
                              <a:pt x="94" y="354"/>
                            </a:lnTo>
                            <a:lnTo>
                              <a:pt x="94" y="354"/>
                            </a:lnTo>
                            <a:lnTo>
                              <a:pt x="96" y="356"/>
                            </a:lnTo>
                            <a:lnTo>
                              <a:pt x="98" y="358"/>
                            </a:lnTo>
                            <a:lnTo>
                              <a:pt x="100" y="358"/>
                            </a:lnTo>
                            <a:lnTo>
                              <a:pt x="100" y="358"/>
                            </a:lnTo>
                            <a:lnTo>
                              <a:pt x="98" y="362"/>
                            </a:lnTo>
                            <a:lnTo>
                              <a:pt x="100" y="366"/>
                            </a:lnTo>
                            <a:lnTo>
                              <a:pt x="106" y="366"/>
                            </a:lnTo>
                            <a:lnTo>
                              <a:pt x="106" y="366"/>
                            </a:lnTo>
                            <a:lnTo>
                              <a:pt x="102" y="370"/>
                            </a:lnTo>
                            <a:lnTo>
                              <a:pt x="102" y="372"/>
                            </a:lnTo>
                            <a:lnTo>
                              <a:pt x="110" y="386"/>
                            </a:lnTo>
                            <a:lnTo>
                              <a:pt x="110" y="386"/>
                            </a:lnTo>
                            <a:lnTo>
                              <a:pt x="106" y="390"/>
                            </a:lnTo>
                            <a:lnTo>
                              <a:pt x="106" y="396"/>
                            </a:lnTo>
                            <a:lnTo>
                              <a:pt x="106" y="400"/>
                            </a:lnTo>
                            <a:lnTo>
                              <a:pt x="106" y="404"/>
                            </a:lnTo>
                            <a:lnTo>
                              <a:pt x="106" y="404"/>
                            </a:lnTo>
                            <a:lnTo>
                              <a:pt x="108" y="408"/>
                            </a:lnTo>
                            <a:lnTo>
                              <a:pt x="108" y="412"/>
                            </a:lnTo>
                            <a:lnTo>
                              <a:pt x="110" y="414"/>
                            </a:lnTo>
                            <a:lnTo>
                              <a:pt x="112" y="412"/>
                            </a:lnTo>
                            <a:lnTo>
                              <a:pt x="112" y="412"/>
                            </a:lnTo>
                            <a:lnTo>
                              <a:pt x="114" y="410"/>
                            </a:lnTo>
                            <a:lnTo>
                              <a:pt x="112" y="414"/>
                            </a:lnTo>
                            <a:lnTo>
                              <a:pt x="110" y="420"/>
                            </a:lnTo>
                            <a:lnTo>
                              <a:pt x="110" y="424"/>
                            </a:lnTo>
                            <a:lnTo>
                              <a:pt x="112" y="430"/>
                            </a:lnTo>
                            <a:lnTo>
                              <a:pt x="112" y="430"/>
                            </a:lnTo>
                            <a:lnTo>
                              <a:pt x="116" y="446"/>
                            </a:lnTo>
                            <a:lnTo>
                              <a:pt x="122" y="466"/>
                            </a:lnTo>
                            <a:lnTo>
                              <a:pt x="128" y="488"/>
                            </a:lnTo>
                            <a:lnTo>
                              <a:pt x="132" y="496"/>
                            </a:lnTo>
                            <a:lnTo>
                              <a:pt x="138" y="502"/>
                            </a:lnTo>
                            <a:lnTo>
                              <a:pt x="138" y="502"/>
                            </a:lnTo>
                            <a:lnTo>
                              <a:pt x="142" y="508"/>
                            </a:lnTo>
                            <a:lnTo>
                              <a:pt x="146" y="514"/>
                            </a:lnTo>
                            <a:lnTo>
                              <a:pt x="152" y="528"/>
                            </a:lnTo>
                            <a:lnTo>
                              <a:pt x="156" y="542"/>
                            </a:lnTo>
                            <a:lnTo>
                              <a:pt x="160" y="548"/>
                            </a:lnTo>
                            <a:lnTo>
                              <a:pt x="164" y="554"/>
                            </a:lnTo>
                            <a:lnTo>
                              <a:pt x="164" y="554"/>
                            </a:lnTo>
                            <a:lnTo>
                              <a:pt x="164" y="554"/>
                            </a:lnTo>
                            <a:lnTo>
                              <a:pt x="162" y="554"/>
                            </a:lnTo>
                            <a:lnTo>
                              <a:pt x="162" y="554"/>
                            </a:lnTo>
                            <a:lnTo>
                              <a:pt x="162" y="558"/>
                            </a:lnTo>
                            <a:lnTo>
                              <a:pt x="168" y="572"/>
                            </a:lnTo>
                            <a:lnTo>
                              <a:pt x="168" y="572"/>
                            </a:lnTo>
                            <a:lnTo>
                              <a:pt x="176" y="588"/>
                            </a:lnTo>
                            <a:lnTo>
                              <a:pt x="186" y="602"/>
                            </a:lnTo>
                            <a:lnTo>
                              <a:pt x="194" y="618"/>
                            </a:lnTo>
                            <a:lnTo>
                              <a:pt x="198" y="628"/>
                            </a:lnTo>
                            <a:lnTo>
                              <a:pt x="198" y="636"/>
                            </a:lnTo>
                            <a:lnTo>
                              <a:pt x="198" y="636"/>
                            </a:lnTo>
                            <a:lnTo>
                              <a:pt x="200" y="638"/>
                            </a:lnTo>
                            <a:lnTo>
                              <a:pt x="202" y="640"/>
                            </a:lnTo>
                            <a:lnTo>
                              <a:pt x="206" y="644"/>
                            </a:lnTo>
                            <a:lnTo>
                              <a:pt x="208" y="654"/>
                            </a:lnTo>
                            <a:lnTo>
                              <a:pt x="208" y="654"/>
                            </a:lnTo>
                            <a:lnTo>
                              <a:pt x="210" y="660"/>
                            </a:lnTo>
                            <a:lnTo>
                              <a:pt x="212" y="664"/>
                            </a:lnTo>
                            <a:lnTo>
                              <a:pt x="214" y="668"/>
                            </a:lnTo>
                            <a:lnTo>
                              <a:pt x="218" y="674"/>
                            </a:lnTo>
                            <a:lnTo>
                              <a:pt x="218" y="674"/>
                            </a:lnTo>
                            <a:lnTo>
                              <a:pt x="222" y="682"/>
                            </a:lnTo>
                            <a:lnTo>
                              <a:pt x="226" y="686"/>
                            </a:lnTo>
                            <a:lnTo>
                              <a:pt x="236" y="692"/>
                            </a:lnTo>
                            <a:lnTo>
                              <a:pt x="236" y="692"/>
                            </a:lnTo>
                            <a:lnTo>
                              <a:pt x="242" y="696"/>
                            </a:lnTo>
                            <a:lnTo>
                              <a:pt x="246" y="694"/>
                            </a:lnTo>
                            <a:lnTo>
                              <a:pt x="248" y="692"/>
                            </a:lnTo>
                            <a:lnTo>
                              <a:pt x="252" y="690"/>
                            </a:lnTo>
                            <a:lnTo>
                              <a:pt x="252" y="690"/>
                            </a:lnTo>
                            <a:lnTo>
                              <a:pt x="258" y="688"/>
                            </a:lnTo>
                            <a:lnTo>
                              <a:pt x="260" y="686"/>
                            </a:lnTo>
                            <a:lnTo>
                              <a:pt x="260" y="680"/>
                            </a:lnTo>
                            <a:lnTo>
                              <a:pt x="260" y="676"/>
                            </a:lnTo>
                            <a:lnTo>
                              <a:pt x="262" y="674"/>
                            </a:lnTo>
                            <a:lnTo>
                              <a:pt x="268" y="670"/>
                            </a:lnTo>
                            <a:lnTo>
                              <a:pt x="274" y="666"/>
                            </a:lnTo>
                            <a:lnTo>
                              <a:pt x="274" y="666"/>
                            </a:lnTo>
                            <a:lnTo>
                              <a:pt x="272" y="664"/>
                            </a:lnTo>
                            <a:lnTo>
                              <a:pt x="266" y="662"/>
                            </a:lnTo>
                            <a:lnTo>
                              <a:pt x="264" y="660"/>
                            </a:lnTo>
                            <a:lnTo>
                              <a:pt x="264" y="660"/>
                            </a:lnTo>
                            <a:lnTo>
                              <a:pt x="264" y="656"/>
                            </a:lnTo>
                            <a:lnTo>
                              <a:pt x="266" y="654"/>
                            </a:lnTo>
                            <a:lnTo>
                              <a:pt x="266" y="654"/>
                            </a:lnTo>
                            <a:lnTo>
                              <a:pt x="270" y="650"/>
                            </a:lnTo>
                            <a:lnTo>
                              <a:pt x="270" y="646"/>
                            </a:lnTo>
                            <a:lnTo>
                              <a:pt x="270" y="640"/>
                            </a:lnTo>
                            <a:lnTo>
                              <a:pt x="272" y="638"/>
                            </a:lnTo>
                            <a:lnTo>
                              <a:pt x="278" y="638"/>
                            </a:lnTo>
                            <a:lnTo>
                              <a:pt x="278" y="638"/>
                            </a:lnTo>
                            <a:lnTo>
                              <a:pt x="284" y="640"/>
                            </a:lnTo>
                            <a:lnTo>
                              <a:pt x="284" y="638"/>
                            </a:lnTo>
                            <a:lnTo>
                              <a:pt x="284" y="636"/>
                            </a:lnTo>
                            <a:lnTo>
                              <a:pt x="282" y="630"/>
                            </a:lnTo>
                            <a:lnTo>
                              <a:pt x="282" y="622"/>
                            </a:lnTo>
                            <a:lnTo>
                              <a:pt x="282" y="622"/>
                            </a:lnTo>
                            <a:lnTo>
                              <a:pt x="284" y="616"/>
                            </a:lnTo>
                            <a:lnTo>
                              <a:pt x="282" y="610"/>
                            </a:lnTo>
                            <a:lnTo>
                              <a:pt x="280" y="604"/>
                            </a:lnTo>
                            <a:lnTo>
                              <a:pt x="280" y="598"/>
                            </a:lnTo>
                            <a:lnTo>
                              <a:pt x="280" y="598"/>
                            </a:lnTo>
                            <a:lnTo>
                              <a:pt x="282" y="592"/>
                            </a:lnTo>
                            <a:lnTo>
                              <a:pt x="286" y="588"/>
                            </a:lnTo>
                            <a:lnTo>
                              <a:pt x="288" y="582"/>
                            </a:lnTo>
                            <a:lnTo>
                              <a:pt x="290" y="572"/>
                            </a:lnTo>
                            <a:lnTo>
                              <a:pt x="290" y="572"/>
                            </a:lnTo>
                            <a:lnTo>
                              <a:pt x="292" y="562"/>
                            </a:lnTo>
                            <a:lnTo>
                              <a:pt x="292" y="558"/>
                            </a:lnTo>
                            <a:lnTo>
                              <a:pt x="292" y="554"/>
                            </a:lnTo>
                            <a:lnTo>
                              <a:pt x="286" y="550"/>
                            </a:lnTo>
                            <a:lnTo>
                              <a:pt x="286" y="550"/>
                            </a:lnTo>
                            <a:lnTo>
                              <a:pt x="280" y="548"/>
                            </a:lnTo>
                            <a:lnTo>
                              <a:pt x="284" y="544"/>
                            </a:lnTo>
                            <a:lnTo>
                              <a:pt x="286" y="542"/>
                            </a:lnTo>
                            <a:lnTo>
                              <a:pt x="286" y="538"/>
                            </a:lnTo>
                            <a:lnTo>
                              <a:pt x="286" y="532"/>
                            </a:lnTo>
                            <a:lnTo>
                              <a:pt x="284" y="524"/>
                            </a:lnTo>
                            <a:lnTo>
                              <a:pt x="284" y="524"/>
                            </a:lnTo>
                            <a:lnTo>
                              <a:pt x="280" y="514"/>
                            </a:lnTo>
                            <a:lnTo>
                              <a:pt x="280" y="506"/>
                            </a:lnTo>
                            <a:lnTo>
                              <a:pt x="280" y="500"/>
                            </a:lnTo>
                            <a:lnTo>
                              <a:pt x="282" y="496"/>
                            </a:lnTo>
                            <a:lnTo>
                              <a:pt x="286" y="494"/>
                            </a:lnTo>
                            <a:lnTo>
                              <a:pt x="290" y="492"/>
                            </a:lnTo>
                            <a:lnTo>
                              <a:pt x="294" y="494"/>
                            </a:lnTo>
                            <a:lnTo>
                              <a:pt x="294" y="494"/>
                            </a:lnTo>
                            <a:lnTo>
                              <a:pt x="298" y="494"/>
                            </a:lnTo>
                            <a:lnTo>
                              <a:pt x="300" y="490"/>
                            </a:lnTo>
                            <a:lnTo>
                              <a:pt x="300" y="488"/>
                            </a:lnTo>
                            <a:lnTo>
                              <a:pt x="304" y="484"/>
                            </a:lnTo>
                            <a:lnTo>
                              <a:pt x="304" y="484"/>
                            </a:lnTo>
                            <a:lnTo>
                              <a:pt x="306" y="482"/>
                            </a:lnTo>
                            <a:lnTo>
                              <a:pt x="306" y="480"/>
                            </a:lnTo>
                            <a:lnTo>
                              <a:pt x="308" y="478"/>
                            </a:lnTo>
                            <a:lnTo>
                              <a:pt x="314" y="476"/>
                            </a:lnTo>
                            <a:lnTo>
                              <a:pt x="314" y="476"/>
                            </a:lnTo>
                            <a:lnTo>
                              <a:pt x="320" y="474"/>
                            </a:lnTo>
                            <a:lnTo>
                              <a:pt x="324" y="472"/>
                            </a:lnTo>
                            <a:lnTo>
                              <a:pt x="328" y="464"/>
                            </a:lnTo>
                            <a:lnTo>
                              <a:pt x="328" y="464"/>
                            </a:lnTo>
                            <a:lnTo>
                              <a:pt x="330" y="462"/>
                            </a:lnTo>
                            <a:lnTo>
                              <a:pt x="328" y="462"/>
                            </a:lnTo>
                            <a:lnTo>
                              <a:pt x="326" y="460"/>
                            </a:lnTo>
                            <a:lnTo>
                              <a:pt x="324" y="460"/>
                            </a:lnTo>
                            <a:lnTo>
                              <a:pt x="326" y="458"/>
                            </a:lnTo>
                            <a:lnTo>
                              <a:pt x="332" y="454"/>
                            </a:lnTo>
                            <a:lnTo>
                              <a:pt x="332" y="454"/>
                            </a:lnTo>
                            <a:lnTo>
                              <a:pt x="340" y="450"/>
                            </a:lnTo>
                            <a:lnTo>
                              <a:pt x="344" y="442"/>
                            </a:lnTo>
                            <a:lnTo>
                              <a:pt x="348" y="436"/>
                            </a:lnTo>
                            <a:lnTo>
                              <a:pt x="352" y="432"/>
                            </a:lnTo>
                            <a:lnTo>
                              <a:pt x="352" y="432"/>
                            </a:lnTo>
                            <a:lnTo>
                              <a:pt x="358" y="426"/>
                            </a:lnTo>
                            <a:lnTo>
                              <a:pt x="362" y="420"/>
                            </a:lnTo>
                            <a:lnTo>
                              <a:pt x="364" y="412"/>
                            </a:lnTo>
                            <a:lnTo>
                              <a:pt x="366" y="408"/>
                            </a:lnTo>
                            <a:lnTo>
                              <a:pt x="368" y="402"/>
                            </a:lnTo>
                            <a:lnTo>
                              <a:pt x="372" y="398"/>
                            </a:lnTo>
                            <a:lnTo>
                              <a:pt x="380" y="394"/>
                            </a:lnTo>
                            <a:lnTo>
                              <a:pt x="380" y="394"/>
                            </a:lnTo>
                            <a:lnTo>
                              <a:pt x="376" y="392"/>
                            </a:lnTo>
                            <a:lnTo>
                              <a:pt x="378" y="390"/>
                            </a:lnTo>
                            <a:lnTo>
                              <a:pt x="380" y="390"/>
                            </a:lnTo>
                            <a:lnTo>
                              <a:pt x="382" y="390"/>
                            </a:lnTo>
                            <a:lnTo>
                              <a:pt x="382" y="392"/>
                            </a:lnTo>
                            <a:lnTo>
                              <a:pt x="382" y="392"/>
                            </a:lnTo>
                            <a:lnTo>
                              <a:pt x="388" y="390"/>
                            </a:lnTo>
                            <a:lnTo>
                              <a:pt x="392" y="388"/>
                            </a:lnTo>
                            <a:lnTo>
                              <a:pt x="398" y="382"/>
                            </a:lnTo>
                            <a:lnTo>
                              <a:pt x="400" y="374"/>
                            </a:lnTo>
                            <a:lnTo>
                              <a:pt x="402" y="370"/>
                            </a:lnTo>
                            <a:lnTo>
                              <a:pt x="402" y="370"/>
                            </a:lnTo>
                            <a:lnTo>
                              <a:pt x="404" y="366"/>
                            </a:lnTo>
                            <a:lnTo>
                              <a:pt x="404" y="364"/>
                            </a:lnTo>
                            <a:lnTo>
                              <a:pt x="400" y="358"/>
                            </a:lnTo>
                            <a:lnTo>
                              <a:pt x="398" y="354"/>
                            </a:lnTo>
                            <a:lnTo>
                              <a:pt x="398" y="352"/>
                            </a:lnTo>
                            <a:lnTo>
                              <a:pt x="400" y="350"/>
                            </a:lnTo>
                            <a:lnTo>
                              <a:pt x="400" y="350"/>
                            </a:lnTo>
                            <a:lnTo>
                              <a:pt x="410" y="346"/>
                            </a:lnTo>
                            <a:lnTo>
                              <a:pt x="414" y="342"/>
                            </a:lnTo>
                            <a:lnTo>
                              <a:pt x="414" y="340"/>
                            </a:lnTo>
                            <a:lnTo>
                              <a:pt x="414" y="340"/>
                            </a:lnTo>
                            <a:lnTo>
                              <a:pt x="418" y="340"/>
                            </a:lnTo>
                            <a:lnTo>
                              <a:pt x="418" y="340"/>
                            </a:lnTo>
                            <a:lnTo>
                              <a:pt x="420" y="338"/>
                            </a:lnTo>
                            <a:lnTo>
                              <a:pt x="420" y="334"/>
                            </a:lnTo>
                            <a:lnTo>
                              <a:pt x="420" y="332"/>
                            </a:lnTo>
                            <a:lnTo>
                              <a:pt x="420" y="334"/>
                            </a:lnTo>
                            <a:lnTo>
                              <a:pt x="420" y="334"/>
                            </a:lnTo>
                            <a:lnTo>
                              <a:pt x="422" y="338"/>
                            </a:lnTo>
                            <a:lnTo>
                              <a:pt x="422" y="342"/>
                            </a:lnTo>
                            <a:lnTo>
                              <a:pt x="422" y="344"/>
                            </a:lnTo>
                            <a:lnTo>
                              <a:pt x="424" y="346"/>
                            </a:lnTo>
                            <a:lnTo>
                              <a:pt x="424" y="346"/>
                            </a:lnTo>
                            <a:lnTo>
                              <a:pt x="428" y="344"/>
                            </a:lnTo>
                            <a:lnTo>
                              <a:pt x="430" y="342"/>
                            </a:lnTo>
                            <a:lnTo>
                              <a:pt x="430" y="340"/>
                            </a:lnTo>
                            <a:lnTo>
                              <a:pt x="432" y="338"/>
                            </a:lnTo>
                            <a:lnTo>
                              <a:pt x="432" y="338"/>
                            </a:lnTo>
                            <a:lnTo>
                              <a:pt x="434" y="338"/>
                            </a:lnTo>
                            <a:lnTo>
                              <a:pt x="434" y="340"/>
                            </a:lnTo>
                            <a:lnTo>
                              <a:pt x="434" y="342"/>
                            </a:lnTo>
                            <a:lnTo>
                              <a:pt x="436" y="342"/>
                            </a:lnTo>
                            <a:lnTo>
                              <a:pt x="436" y="342"/>
                            </a:lnTo>
                            <a:lnTo>
                              <a:pt x="436" y="332"/>
                            </a:lnTo>
                            <a:lnTo>
                              <a:pt x="436" y="324"/>
                            </a:lnTo>
                            <a:lnTo>
                              <a:pt x="434" y="320"/>
                            </a:lnTo>
                            <a:lnTo>
                              <a:pt x="430" y="316"/>
                            </a:lnTo>
                            <a:lnTo>
                              <a:pt x="428" y="312"/>
                            </a:lnTo>
                            <a:lnTo>
                              <a:pt x="428" y="310"/>
                            </a:lnTo>
                            <a:lnTo>
                              <a:pt x="430" y="308"/>
                            </a:lnTo>
                            <a:lnTo>
                              <a:pt x="430" y="308"/>
                            </a:lnTo>
                            <a:lnTo>
                              <a:pt x="430" y="304"/>
                            </a:lnTo>
                            <a:lnTo>
                              <a:pt x="430" y="304"/>
                            </a:lnTo>
                            <a:lnTo>
                              <a:pt x="428" y="302"/>
                            </a:lnTo>
                            <a:lnTo>
                              <a:pt x="428" y="294"/>
                            </a:lnTo>
                            <a:lnTo>
                              <a:pt x="428" y="294"/>
                            </a:lnTo>
                            <a:lnTo>
                              <a:pt x="428" y="290"/>
                            </a:lnTo>
                            <a:lnTo>
                              <a:pt x="426" y="288"/>
                            </a:lnTo>
                            <a:lnTo>
                              <a:pt x="418" y="282"/>
                            </a:lnTo>
                            <a:lnTo>
                              <a:pt x="410" y="278"/>
                            </a:lnTo>
                            <a:lnTo>
                              <a:pt x="408" y="274"/>
                            </a:lnTo>
                            <a:lnTo>
                              <a:pt x="408" y="268"/>
                            </a:lnTo>
                            <a:lnTo>
                              <a:pt x="408" y="268"/>
                            </a:lnTo>
                            <a:lnTo>
                              <a:pt x="410" y="262"/>
                            </a:lnTo>
                            <a:lnTo>
                              <a:pt x="414" y="260"/>
                            </a:lnTo>
                            <a:lnTo>
                              <a:pt x="416" y="258"/>
                            </a:lnTo>
                            <a:lnTo>
                              <a:pt x="418" y="256"/>
                            </a:lnTo>
                            <a:lnTo>
                              <a:pt x="418" y="256"/>
                            </a:lnTo>
                            <a:lnTo>
                              <a:pt x="418" y="254"/>
                            </a:lnTo>
                            <a:lnTo>
                              <a:pt x="414" y="250"/>
                            </a:lnTo>
                            <a:lnTo>
                              <a:pt x="404" y="246"/>
                            </a:lnTo>
                            <a:lnTo>
                              <a:pt x="394" y="240"/>
                            </a:lnTo>
                            <a:lnTo>
                              <a:pt x="390" y="238"/>
                            </a:lnTo>
                            <a:lnTo>
                              <a:pt x="390" y="238"/>
                            </a:lnTo>
                            <a:lnTo>
                              <a:pt x="392" y="236"/>
                            </a:lnTo>
                            <a:lnTo>
                              <a:pt x="398" y="234"/>
                            </a:lnTo>
                            <a:lnTo>
                              <a:pt x="402" y="232"/>
                            </a:lnTo>
                            <a:lnTo>
                              <a:pt x="404" y="228"/>
                            </a:lnTo>
                            <a:lnTo>
                              <a:pt x="404" y="228"/>
                            </a:lnTo>
                            <a:lnTo>
                              <a:pt x="404" y="216"/>
                            </a:lnTo>
                            <a:lnTo>
                              <a:pt x="406" y="214"/>
                            </a:lnTo>
                            <a:lnTo>
                              <a:pt x="408" y="214"/>
                            </a:lnTo>
                            <a:lnTo>
                              <a:pt x="408" y="214"/>
                            </a:lnTo>
                            <a:lnTo>
                              <a:pt x="414" y="228"/>
                            </a:lnTo>
                            <a:lnTo>
                              <a:pt x="416" y="230"/>
                            </a:lnTo>
                            <a:lnTo>
                              <a:pt x="418" y="228"/>
                            </a:lnTo>
                            <a:lnTo>
                              <a:pt x="418" y="224"/>
                            </a:lnTo>
                            <a:lnTo>
                              <a:pt x="420" y="224"/>
                            </a:lnTo>
                            <a:lnTo>
                              <a:pt x="422" y="226"/>
                            </a:lnTo>
                            <a:lnTo>
                              <a:pt x="422" y="226"/>
                            </a:lnTo>
                            <a:lnTo>
                              <a:pt x="424" y="230"/>
                            </a:lnTo>
                            <a:lnTo>
                              <a:pt x="424" y="234"/>
                            </a:lnTo>
                            <a:lnTo>
                              <a:pt x="424" y="236"/>
                            </a:lnTo>
                            <a:lnTo>
                              <a:pt x="426" y="234"/>
                            </a:lnTo>
                            <a:lnTo>
                              <a:pt x="426" y="234"/>
                            </a:lnTo>
                            <a:lnTo>
                              <a:pt x="430" y="232"/>
                            </a:lnTo>
                            <a:lnTo>
                              <a:pt x="432" y="232"/>
                            </a:lnTo>
                            <a:lnTo>
                              <a:pt x="436" y="240"/>
                            </a:lnTo>
                            <a:lnTo>
                              <a:pt x="440" y="250"/>
                            </a:lnTo>
                            <a:lnTo>
                              <a:pt x="446" y="256"/>
                            </a:lnTo>
                            <a:lnTo>
                              <a:pt x="452" y="258"/>
                            </a:lnTo>
                            <a:lnTo>
                              <a:pt x="452" y="258"/>
                            </a:lnTo>
                            <a:lnTo>
                              <a:pt x="458" y="262"/>
                            </a:lnTo>
                            <a:lnTo>
                              <a:pt x="466" y="262"/>
                            </a:lnTo>
                            <a:lnTo>
                              <a:pt x="482" y="260"/>
                            </a:lnTo>
                            <a:lnTo>
                              <a:pt x="494" y="260"/>
                            </a:lnTo>
                            <a:lnTo>
                              <a:pt x="498" y="260"/>
                            </a:lnTo>
                            <a:lnTo>
                              <a:pt x="502" y="264"/>
                            </a:lnTo>
                            <a:lnTo>
                              <a:pt x="502" y="264"/>
                            </a:lnTo>
                            <a:lnTo>
                              <a:pt x="502" y="266"/>
                            </a:lnTo>
                            <a:lnTo>
                              <a:pt x="500" y="270"/>
                            </a:lnTo>
                            <a:lnTo>
                              <a:pt x="496" y="274"/>
                            </a:lnTo>
                            <a:lnTo>
                              <a:pt x="496" y="278"/>
                            </a:lnTo>
                            <a:lnTo>
                              <a:pt x="496" y="278"/>
                            </a:lnTo>
                            <a:lnTo>
                              <a:pt x="498" y="282"/>
                            </a:lnTo>
                            <a:lnTo>
                              <a:pt x="494" y="282"/>
                            </a:lnTo>
                            <a:lnTo>
                              <a:pt x="486" y="284"/>
                            </a:lnTo>
                            <a:lnTo>
                              <a:pt x="480" y="284"/>
                            </a:lnTo>
                            <a:lnTo>
                              <a:pt x="476" y="286"/>
                            </a:lnTo>
                            <a:lnTo>
                              <a:pt x="472" y="290"/>
                            </a:lnTo>
                            <a:lnTo>
                              <a:pt x="470" y="296"/>
                            </a:lnTo>
                            <a:lnTo>
                              <a:pt x="470" y="296"/>
                            </a:lnTo>
                            <a:lnTo>
                              <a:pt x="472" y="300"/>
                            </a:lnTo>
                            <a:lnTo>
                              <a:pt x="474" y="302"/>
                            </a:lnTo>
                            <a:lnTo>
                              <a:pt x="478" y="302"/>
                            </a:lnTo>
                            <a:lnTo>
                              <a:pt x="480" y="304"/>
                            </a:lnTo>
                            <a:lnTo>
                              <a:pt x="480" y="304"/>
                            </a:lnTo>
                            <a:lnTo>
                              <a:pt x="482" y="306"/>
                            </a:lnTo>
                            <a:lnTo>
                              <a:pt x="484" y="304"/>
                            </a:lnTo>
                            <a:lnTo>
                              <a:pt x="484" y="302"/>
                            </a:lnTo>
                            <a:lnTo>
                              <a:pt x="488" y="302"/>
                            </a:lnTo>
                            <a:lnTo>
                              <a:pt x="488" y="302"/>
                            </a:lnTo>
                            <a:lnTo>
                              <a:pt x="490" y="302"/>
                            </a:lnTo>
                            <a:lnTo>
                              <a:pt x="492" y="300"/>
                            </a:lnTo>
                            <a:lnTo>
                              <a:pt x="494" y="300"/>
                            </a:lnTo>
                            <a:lnTo>
                              <a:pt x="498" y="302"/>
                            </a:lnTo>
                            <a:lnTo>
                              <a:pt x="498" y="302"/>
                            </a:lnTo>
                            <a:lnTo>
                              <a:pt x="502" y="312"/>
                            </a:lnTo>
                            <a:lnTo>
                              <a:pt x="506" y="326"/>
                            </a:lnTo>
                            <a:lnTo>
                              <a:pt x="510" y="338"/>
                            </a:lnTo>
                            <a:lnTo>
                              <a:pt x="514" y="342"/>
                            </a:lnTo>
                            <a:lnTo>
                              <a:pt x="516" y="344"/>
                            </a:lnTo>
                            <a:lnTo>
                              <a:pt x="516" y="344"/>
                            </a:lnTo>
                            <a:lnTo>
                              <a:pt x="522" y="344"/>
                            </a:lnTo>
                            <a:lnTo>
                              <a:pt x="526" y="340"/>
                            </a:lnTo>
                            <a:lnTo>
                              <a:pt x="528" y="332"/>
                            </a:lnTo>
                            <a:lnTo>
                              <a:pt x="526" y="318"/>
                            </a:lnTo>
                            <a:lnTo>
                              <a:pt x="526" y="318"/>
                            </a:lnTo>
                            <a:lnTo>
                              <a:pt x="528" y="314"/>
                            </a:lnTo>
                            <a:lnTo>
                              <a:pt x="528" y="310"/>
                            </a:lnTo>
                            <a:lnTo>
                              <a:pt x="532" y="310"/>
                            </a:lnTo>
                            <a:lnTo>
                              <a:pt x="534" y="312"/>
                            </a:lnTo>
                            <a:lnTo>
                              <a:pt x="538" y="312"/>
                            </a:lnTo>
                            <a:lnTo>
                              <a:pt x="540" y="312"/>
                            </a:lnTo>
                            <a:lnTo>
                              <a:pt x="540" y="308"/>
                            </a:lnTo>
                            <a:lnTo>
                              <a:pt x="540" y="302"/>
                            </a:lnTo>
                            <a:lnTo>
                              <a:pt x="540" y="302"/>
                            </a:lnTo>
                            <a:lnTo>
                              <a:pt x="540" y="290"/>
                            </a:lnTo>
                            <a:lnTo>
                              <a:pt x="542" y="282"/>
                            </a:lnTo>
                            <a:lnTo>
                              <a:pt x="540" y="274"/>
                            </a:lnTo>
                            <a:lnTo>
                              <a:pt x="538" y="268"/>
                            </a:lnTo>
                            <a:lnTo>
                              <a:pt x="534" y="262"/>
                            </a:lnTo>
                            <a:lnTo>
                              <a:pt x="534" y="262"/>
                            </a:lnTo>
                            <a:lnTo>
                              <a:pt x="532" y="256"/>
                            </a:lnTo>
                            <a:lnTo>
                              <a:pt x="534" y="252"/>
                            </a:lnTo>
                            <a:lnTo>
                              <a:pt x="538" y="248"/>
                            </a:lnTo>
                            <a:lnTo>
                              <a:pt x="538" y="242"/>
                            </a:lnTo>
                            <a:lnTo>
                              <a:pt x="538" y="242"/>
                            </a:lnTo>
                            <a:lnTo>
                              <a:pt x="538" y="238"/>
                            </a:lnTo>
                            <a:lnTo>
                              <a:pt x="540" y="236"/>
                            </a:lnTo>
                            <a:lnTo>
                              <a:pt x="548" y="228"/>
                            </a:lnTo>
                            <a:lnTo>
                              <a:pt x="558" y="218"/>
                            </a:lnTo>
                            <a:lnTo>
                              <a:pt x="568" y="204"/>
                            </a:lnTo>
                            <a:lnTo>
                              <a:pt x="568" y="204"/>
                            </a:lnTo>
                            <a:lnTo>
                              <a:pt x="572" y="202"/>
                            </a:lnTo>
                            <a:lnTo>
                              <a:pt x="576" y="200"/>
                            </a:lnTo>
                            <a:lnTo>
                              <a:pt x="584" y="200"/>
                            </a:lnTo>
                            <a:lnTo>
                              <a:pt x="588" y="200"/>
                            </a:lnTo>
                            <a:lnTo>
                              <a:pt x="588" y="198"/>
                            </a:lnTo>
                            <a:lnTo>
                              <a:pt x="584" y="194"/>
                            </a:lnTo>
                            <a:lnTo>
                              <a:pt x="584" y="194"/>
                            </a:lnTo>
                            <a:lnTo>
                              <a:pt x="582" y="190"/>
                            </a:lnTo>
                            <a:lnTo>
                              <a:pt x="582" y="188"/>
                            </a:lnTo>
                            <a:lnTo>
                              <a:pt x="586" y="186"/>
                            </a:lnTo>
                            <a:lnTo>
                              <a:pt x="588" y="184"/>
                            </a:lnTo>
                            <a:lnTo>
                              <a:pt x="586" y="180"/>
                            </a:lnTo>
                            <a:lnTo>
                              <a:pt x="584" y="176"/>
                            </a:lnTo>
                            <a:lnTo>
                              <a:pt x="574" y="170"/>
                            </a:lnTo>
                            <a:lnTo>
                              <a:pt x="574" y="170"/>
                            </a:lnTo>
                            <a:lnTo>
                              <a:pt x="570" y="172"/>
                            </a:lnTo>
                            <a:lnTo>
                              <a:pt x="568" y="174"/>
                            </a:lnTo>
                            <a:lnTo>
                              <a:pt x="564" y="172"/>
                            </a:lnTo>
                            <a:lnTo>
                              <a:pt x="564" y="172"/>
                            </a:lnTo>
                            <a:lnTo>
                              <a:pt x="558" y="172"/>
                            </a:lnTo>
                            <a:lnTo>
                              <a:pt x="554" y="172"/>
                            </a:lnTo>
                            <a:lnTo>
                              <a:pt x="554" y="172"/>
                            </a:lnTo>
                            <a:lnTo>
                              <a:pt x="554" y="170"/>
                            </a:lnTo>
                            <a:lnTo>
                              <a:pt x="558" y="164"/>
                            </a:lnTo>
                            <a:lnTo>
                              <a:pt x="558" y="164"/>
                            </a:lnTo>
                            <a:lnTo>
                              <a:pt x="552" y="164"/>
                            </a:lnTo>
                            <a:lnTo>
                              <a:pt x="550" y="164"/>
                            </a:lnTo>
                            <a:lnTo>
                              <a:pt x="552" y="160"/>
                            </a:lnTo>
                            <a:lnTo>
                              <a:pt x="552" y="158"/>
                            </a:lnTo>
                            <a:lnTo>
                              <a:pt x="550" y="156"/>
                            </a:lnTo>
                            <a:lnTo>
                              <a:pt x="538" y="160"/>
                            </a:lnTo>
                            <a:lnTo>
                              <a:pt x="538" y="160"/>
                            </a:lnTo>
                            <a:lnTo>
                              <a:pt x="528" y="162"/>
                            </a:lnTo>
                            <a:lnTo>
                              <a:pt x="520" y="162"/>
                            </a:lnTo>
                            <a:lnTo>
                              <a:pt x="516" y="160"/>
                            </a:lnTo>
                            <a:lnTo>
                              <a:pt x="508" y="160"/>
                            </a:lnTo>
                            <a:lnTo>
                              <a:pt x="508" y="160"/>
                            </a:lnTo>
                            <a:lnTo>
                              <a:pt x="504" y="164"/>
                            </a:lnTo>
                            <a:lnTo>
                              <a:pt x="502" y="166"/>
                            </a:lnTo>
                            <a:lnTo>
                              <a:pt x="498" y="170"/>
                            </a:lnTo>
                            <a:lnTo>
                              <a:pt x="488" y="174"/>
                            </a:lnTo>
                            <a:lnTo>
                              <a:pt x="488" y="174"/>
                            </a:lnTo>
                            <a:lnTo>
                              <a:pt x="472" y="182"/>
                            </a:lnTo>
                            <a:lnTo>
                              <a:pt x="462" y="184"/>
                            </a:lnTo>
                            <a:lnTo>
                              <a:pt x="462" y="184"/>
                            </a:lnTo>
                            <a:lnTo>
                              <a:pt x="464" y="188"/>
                            </a:lnTo>
                            <a:lnTo>
                              <a:pt x="466" y="190"/>
                            </a:lnTo>
                            <a:lnTo>
                              <a:pt x="476" y="190"/>
                            </a:lnTo>
                            <a:lnTo>
                              <a:pt x="476" y="190"/>
                            </a:lnTo>
                            <a:lnTo>
                              <a:pt x="478" y="192"/>
                            </a:lnTo>
                            <a:lnTo>
                              <a:pt x="480" y="196"/>
                            </a:lnTo>
                            <a:lnTo>
                              <a:pt x="480" y="206"/>
                            </a:lnTo>
                            <a:lnTo>
                              <a:pt x="480" y="206"/>
                            </a:lnTo>
                            <a:lnTo>
                              <a:pt x="480" y="206"/>
                            </a:lnTo>
                            <a:lnTo>
                              <a:pt x="478" y="208"/>
                            </a:lnTo>
                            <a:lnTo>
                              <a:pt x="470" y="206"/>
                            </a:lnTo>
                            <a:lnTo>
                              <a:pt x="462" y="206"/>
                            </a:lnTo>
                            <a:lnTo>
                              <a:pt x="454" y="208"/>
                            </a:lnTo>
                            <a:lnTo>
                              <a:pt x="454" y="208"/>
                            </a:lnTo>
                            <a:lnTo>
                              <a:pt x="450" y="210"/>
                            </a:lnTo>
                            <a:lnTo>
                              <a:pt x="444" y="210"/>
                            </a:lnTo>
                            <a:lnTo>
                              <a:pt x="440" y="208"/>
                            </a:lnTo>
                            <a:lnTo>
                              <a:pt x="436" y="204"/>
                            </a:lnTo>
                            <a:lnTo>
                              <a:pt x="436" y="204"/>
                            </a:lnTo>
                            <a:lnTo>
                              <a:pt x="432" y="202"/>
                            </a:lnTo>
                            <a:lnTo>
                              <a:pt x="424" y="202"/>
                            </a:lnTo>
                            <a:lnTo>
                              <a:pt x="418" y="202"/>
                            </a:lnTo>
                            <a:lnTo>
                              <a:pt x="412" y="200"/>
                            </a:lnTo>
                            <a:lnTo>
                              <a:pt x="412" y="200"/>
                            </a:lnTo>
                            <a:lnTo>
                              <a:pt x="410" y="182"/>
                            </a:lnTo>
                            <a:lnTo>
                              <a:pt x="410" y="180"/>
                            </a:lnTo>
                            <a:lnTo>
                              <a:pt x="406" y="182"/>
                            </a:lnTo>
                            <a:lnTo>
                              <a:pt x="406" y="182"/>
                            </a:lnTo>
                            <a:lnTo>
                              <a:pt x="402" y="182"/>
                            </a:lnTo>
                            <a:lnTo>
                              <a:pt x="400" y="184"/>
                            </a:lnTo>
                            <a:lnTo>
                              <a:pt x="398" y="186"/>
                            </a:lnTo>
                            <a:lnTo>
                              <a:pt x="398" y="192"/>
                            </a:lnTo>
                            <a:lnTo>
                              <a:pt x="398" y="192"/>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0" name="Brazil"/>
                      <p:cNvSpPr>
                        <a:spLocks/>
                      </p:cNvSpPr>
                      <p:nvPr/>
                    </p:nvSpPr>
                    <p:spPr bwMode="auto">
                      <a:xfrm>
                        <a:off x="3420721" y="3489092"/>
                        <a:ext cx="1242396" cy="1465825"/>
                      </a:xfrm>
                      <a:custGeom>
                        <a:avLst/>
                        <a:gdLst/>
                        <a:ahLst/>
                        <a:cxnLst>
                          <a:cxn ang="0">
                            <a:pos x="496" y="82"/>
                          </a:cxn>
                          <a:cxn ang="0">
                            <a:pos x="476" y="152"/>
                          </a:cxn>
                          <a:cxn ang="0">
                            <a:pos x="474" y="168"/>
                          </a:cxn>
                          <a:cxn ang="0">
                            <a:pos x="502" y="128"/>
                          </a:cxn>
                          <a:cxn ang="0">
                            <a:pos x="536" y="152"/>
                          </a:cxn>
                          <a:cxn ang="0">
                            <a:pos x="502" y="174"/>
                          </a:cxn>
                          <a:cxn ang="0">
                            <a:pos x="522" y="196"/>
                          </a:cxn>
                          <a:cxn ang="0">
                            <a:pos x="552" y="150"/>
                          </a:cxn>
                          <a:cxn ang="0">
                            <a:pos x="612" y="188"/>
                          </a:cxn>
                          <a:cxn ang="0">
                            <a:pos x="666" y="212"/>
                          </a:cxn>
                          <a:cxn ang="0">
                            <a:pos x="766" y="254"/>
                          </a:cxn>
                          <a:cxn ang="0">
                            <a:pos x="818" y="322"/>
                          </a:cxn>
                          <a:cxn ang="0">
                            <a:pos x="762" y="434"/>
                          </a:cxn>
                          <a:cxn ang="0">
                            <a:pos x="736" y="488"/>
                          </a:cxn>
                          <a:cxn ang="0">
                            <a:pos x="734" y="580"/>
                          </a:cxn>
                          <a:cxn ang="0">
                            <a:pos x="724" y="632"/>
                          </a:cxn>
                          <a:cxn ang="0">
                            <a:pos x="700" y="692"/>
                          </a:cxn>
                          <a:cxn ang="0">
                            <a:pos x="650" y="708"/>
                          </a:cxn>
                          <a:cxn ang="0">
                            <a:pos x="582" y="774"/>
                          </a:cxn>
                          <a:cxn ang="0">
                            <a:pos x="584" y="836"/>
                          </a:cxn>
                          <a:cxn ang="0">
                            <a:pos x="554" y="888"/>
                          </a:cxn>
                          <a:cxn ang="0">
                            <a:pos x="526" y="952"/>
                          </a:cxn>
                          <a:cxn ang="0">
                            <a:pos x="494" y="924"/>
                          </a:cxn>
                          <a:cxn ang="0">
                            <a:pos x="448" y="900"/>
                          </a:cxn>
                          <a:cxn ang="0">
                            <a:pos x="408" y="876"/>
                          </a:cxn>
                          <a:cxn ang="0">
                            <a:pos x="440" y="838"/>
                          </a:cxn>
                          <a:cxn ang="0">
                            <a:pos x="456" y="818"/>
                          </a:cxn>
                          <a:cxn ang="0">
                            <a:pos x="456" y="776"/>
                          </a:cxn>
                          <a:cxn ang="0">
                            <a:pos x="428" y="734"/>
                          </a:cxn>
                          <a:cxn ang="0">
                            <a:pos x="404" y="696"/>
                          </a:cxn>
                          <a:cxn ang="0">
                            <a:pos x="376" y="648"/>
                          </a:cxn>
                          <a:cxn ang="0">
                            <a:pos x="364" y="602"/>
                          </a:cxn>
                          <a:cxn ang="0">
                            <a:pos x="344" y="566"/>
                          </a:cxn>
                          <a:cxn ang="0">
                            <a:pos x="298" y="530"/>
                          </a:cxn>
                          <a:cxn ang="0">
                            <a:pos x="272" y="488"/>
                          </a:cxn>
                          <a:cxn ang="0">
                            <a:pos x="224" y="454"/>
                          </a:cxn>
                          <a:cxn ang="0">
                            <a:pos x="182" y="394"/>
                          </a:cxn>
                          <a:cxn ang="0">
                            <a:pos x="130" y="416"/>
                          </a:cxn>
                          <a:cxn ang="0">
                            <a:pos x="78" y="422"/>
                          </a:cxn>
                          <a:cxn ang="0">
                            <a:pos x="68" y="380"/>
                          </a:cxn>
                          <a:cxn ang="0">
                            <a:pos x="18" y="382"/>
                          </a:cxn>
                          <a:cxn ang="0">
                            <a:pos x="2" y="328"/>
                          </a:cxn>
                          <a:cxn ang="0">
                            <a:pos x="20" y="282"/>
                          </a:cxn>
                          <a:cxn ang="0">
                            <a:pos x="64" y="244"/>
                          </a:cxn>
                          <a:cxn ang="0">
                            <a:pos x="80" y="148"/>
                          </a:cxn>
                          <a:cxn ang="0">
                            <a:pos x="86" y="110"/>
                          </a:cxn>
                          <a:cxn ang="0">
                            <a:pos x="110" y="88"/>
                          </a:cxn>
                          <a:cxn ang="0">
                            <a:pos x="128" y="88"/>
                          </a:cxn>
                          <a:cxn ang="0">
                            <a:pos x="158" y="116"/>
                          </a:cxn>
                          <a:cxn ang="0">
                            <a:pos x="194" y="98"/>
                          </a:cxn>
                          <a:cxn ang="0">
                            <a:pos x="210" y="70"/>
                          </a:cxn>
                          <a:cxn ang="0">
                            <a:pos x="192" y="24"/>
                          </a:cxn>
                          <a:cxn ang="0">
                            <a:pos x="244" y="28"/>
                          </a:cxn>
                          <a:cxn ang="0">
                            <a:pos x="276" y="0"/>
                          </a:cxn>
                          <a:cxn ang="0">
                            <a:pos x="296" y="24"/>
                          </a:cxn>
                          <a:cxn ang="0">
                            <a:pos x="294" y="60"/>
                          </a:cxn>
                          <a:cxn ang="0">
                            <a:pos x="304" y="96"/>
                          </a:cxn>
                          <a:cxn ang="0">
                            <a:pos x="342" y="86"/>
                          </a:cxn>
                          <a:cxn ang="0">
                            <a:pos x="374" y="80"/>
                          </a:cxn>
                          <a:cxn ang="0">
                            <a:pos x="394" y="74"/>
                          </a:cxn>
                          <a:cxn ang="0">
                            <a:pos x="418" y="80"/>
                          </a:cxn>
                          <a:cxn ang="0">
                            <a:pos x="448" y="62"/>
                          </a:cxn>
                          <a:cxn ang="0">
                            <a:pos x="466" y="24"/>
                          </a:cxn>
                        </a:cxnLst>
                        <a:rect l="0" t="0" r="r" b="b"/>
                        <a:pathLst>
                          <a:path w="818" h="966">
                            <a:moveTo>
                              <a:pt x="468" y="20"/>
                            </a:moveTo>
                            <a:lnTo>
                              <a:pt x="468" y="20"/>
                            </a:lnTo>
                            <a:lnTo>
                              <a:pt x="470" y="20"/>
                            </a:lnTo>
                            <a:lnTo>
                              <a:pt x="472" y="22"/>
                            </a:lnTo>
                            <a:lnTo>
                              <a:pt x="476" y="28"/>
                            </a:lnTo>
                            <a:lnTo>
                              <a:pt x="476" y="28"/>
                            </a:lnTo>
                            <a:lnTo>
                              <a:pt x="480" y="30"/>
                            </a:lnTo>
                            <a:lnTo>
                              <a:pt x="480" y="30"/>
                            </a:lnTo>
                            <a:lnTo>
                              <a:pt x="482" y="34"/>
                            </a:lnTo>
                            <a:lnTo>
                              <a:pt x="482" y="34"/>
                            </a:lnTo>
                            <a:lnTo>
                              <a:pt x="490" y="64"/>
                            </a:lnTo>
                            <a:lnTo>
                              <a:pt x="496" y="82"/>
                            </a:lnTo>
                            <a:lnTo>
                              <a:pt x="496" y="82"/>
                            </a:lnTo>
                            <a:lnTo>
                              <a:pt x="504" y="86"/>
                            </a:lnTo>
                            <a:lnTo>
                              <a:pt x="508" y="92"/>
                            </a:lnTo>
                            <a:lnTo>
                              <a:pt x="506" y="98"/>
                            </a:lnTo>
                            <a:lnTo>
                              <a:pt x="502" y="104"/>
                            </a:lnTo>
                            <a:lnTo>
                              <a:pt x="502" y="104"/>
                            </a:lnTo>
                            <a:lnTo>
                              <a:pt x="498" y="110"/>
                            </a:lnTo>
                            <a:lnTo>
                              <a:pt x="496" y="114"/>
                            </a:lnTo>
                            <a:lnTo>
                              <a:pt x="492" y="118"/>
                            </a:lnTo>
                            <a:lnTo>
                              <a:pt x="488" y="122"/>
                            </a:lnTo>
                            <a:lnTo>
                              <a:pt x="488" y="122"/>
                            </a:lnTo>
                            <a:lnTo>
                              <a:pt x="482" y="128"/>
                            </a:lnTo>
                            <a:lnTo>
                              <a:pt x="480" y="134"/>
                            </a:lnTo>
                            <a:lnTo>
                              <a:pt x="476" y="152"/>
                            </a:lnTo>
                            <a:lnTo>
                              <a:pt x="476" y="152"/>
                            </a:lnTo>
                            <a:lnTo>
                              <a:pt x="474" y="156"/>
                            </a:lnTo>
                            <a:lnTo>
                              <a:pt x="472" y="160"/>
                            </a:lnTo>
                            <a:lnTo>
                              <a:pt x="464" y="168"/>
                            </a:lnTo>
                            <a:lnTo>
                              <a:pt x="460" y="170"/>
                            </a:lnTo>
                            <a:lnTo>
                              <a:pt x="462" y="168"/>
                            </a:lnTo>
                            <a:lnTo>
                              <a:pt x="462" y="168"/>
                            </a:lnTo>
                            <a:lnTo>
                              <a:pt x="464" y="166"/>
                            </a:lnTo>
                            <a:lnTo>
                              <a:pt x="468" y="166"/>
                            </a:lnTo>
                            <a:lnTo>
                              <a:pt x="472" y="172"/>
                            </a:lnTo>
                            <a:lnTo>
                              <a:pt x="476" y="184"/>
                            </a:lnTo>
                            <a:lnTo>
                              <a:pt x="476" y="184"/>
                            </a:lnTo>
                            <a:lnTo>
                              <a:pt x="474" y="168"/>
                            </a:lnTo>
                            <a:lnTo>
                              <a:pt x="474" y="168"/>
                            </a:lnTo>
                            <a:lnTo>
                              <a:pt x="474" y="166"/>
                            </a:lnTo>
                            <a:lnTo>
                              <a:pt x="476" y="164"/>
                            </a:lnTo>
                            <a:lnTo>
                              <a:pt x="482" y="160"/>
                            </a:lnTo>
                            <a:lnTo>
                              <a:pt x="488" y="158"/>
                            </a:lnTo>
                            <a:lnTo>
                              <a:pt x="492" y="152"/>
                            </a:lnTo>
                            <a:lnTo>
                              <a:pt x="492" y="152"/>
                            </a:lnTo>
                            <a:lnTo>
                              <a:pt x="492" y="148"/>
                            </a:lnTo>
                            <a:lnTo>
                              <a:pt x="492" y="144"/>
                            </a:lnTo>
                            <a:lnTo>
                              <a:pt x="492" y="140"/>
                            </a:lnTo>
                            <a:lnTo>
                              <a:pt x="496" y="134"/>
                            </a:lnTo>
                            <a:lnTo>
                              <a:pt x="496" y="134"/>
                            </a:lnTo>
                            <a:lnTo>
                              <a:pt x="502" y="128"/>
                            </a:lnTo>
                            <a:lnTo>
                              <a:pt x="506" y="128"/>
                            </a:lnTo>
                            <a:lnTo>
                              <a:pt x="510" y="130"/>
                            </a:lnTo>
                            <a:lnTo>
                              <a:pt x="520" y="130"/>
                            </a:lnTo>
                            <a:lnTo>
                              <a:pt x="520" y="130"/>
                            </a:lnTo>
                            <a:lnTo>
                              <a:pt x="540" y="128"/>
                            </a:lnTo>
                            <a:lnTo>
                              <a:pt x="544" y="130"/>
                            </a:lnTo>
                            <a:lnTo>
                              <a:pt x="546" y="132"/>
                            </a:lnTo>
                            <a:lnTo>
                              <a:pt x="544" y="134"/>
                            </a:lnTo>
                            <a:lnTo>
                              <a:pt x="544" y="134"/>
                            </a:lnTo>
                            <a:lnTo>
                              <a:pt x="542" y="140"/>
                            </a:lnTo>
                            <a:lnTo>
                              <a:pt x="542" y="142"/>
                            </a:lnTo>
                            <a:lnTo>
                              <a:pt x="540" y="146"/>
                            </a:lnTo>
                            <a:lnTo>
                              <a:pt x="536" y="152"/>
                            </a:lnTo>
                            <a:lnTo>
                              <a:pt x="536" y="152"/>
                            </a:lnTo>
                            <a:lnTo>
                              <a:pt x="530" y="158"/>
                            </a:lnTo>
                            <a:lnTo>
                              <a:pt x="530" y="160"/>
                            </a:lnTo>
                            <a:lnTo>
                              <a:pt x="532" y="164"/>
                            </a:lnTo>
                            <a:lnTo>
                              <a:pt x="528" y="166"/>
                            </a:lnTo>
                            <a:lnTo>
                              <a:pt x="528" y="166"/>
                            </a:lnTo>
                            <a:lnTo>
                              <a:pt x="524" y="168"/>
                            </a:lnTo>
                            <a:lnTo>
                              <a:pt x="520" y="168"/>
                            </a:lnTo>
                            <a:lnTo>
                              <a:pt x="516" y="170"/>
                            </a:lnTo>
                            <a:lnTo>
                              <a:pt x="510" y="172"/>
                            </a:lnTo>
                            <a:lnTo>
                              <a:pt x="510" y="172"/>
                            </a:lnTo>
                            <a:lnTo>
                              <a:pt x="506" y="174"/>
                            </a:lnTo>
                            <a:lnTo>
                              <a:pt x="502" y="174"/>
                            </a:lnTo>
                            <a:lnTo>
                              <a:pt x="500" y="174"/>
                            </a:lnTo>
                            <a:lnTo>
                              <a:pt x="492" y="176"/>
                            </a:lnTo>
                            <a:lnTo>
                              <a:pt x="492" y="176"/>
                            </a:lnTo>
                            <a:lnTo>
                              <a:pt x="498" y="176"/>
                            </a:lnTo>
                            <a:lnTo>
                              <a:pt x="500" y="178"/>
                            </a:lnTo>
                            <a:lnTo>
                              <a:pt x="504" y="180"/>
                            </a:lnTo>
                            <a:lnTo>
                              <a:pt x="512" y="176"/>
                            </a:lnTo>
                            <a:lnTo>
                              <a:pt x="512" y="176"/>
                            </a:lnTo>
                            <a:lnTo>
                              <a:pt x="518" y="174"/>
                            </a:lnTo>
                            <a:lnTo>
                              <a:pt x="518" y="176"/>
                            </a:lnTo>
                            <a:lnTo>
                              <a:pt x="518" y="184"/>
                            </a:lnTo>
                            <a:lnTo>
                              <a:pt x="518" y="190"/>
                            </a:lnTo>
                            <a:lnTo>
                              <a:pt x="522" y="196"/>
                            </a:lnTo>
                            <a:lnTo>
                              <a:pt x="522" y="196"/>
                            </a:lnTo>
                            <a:lnTo>
                              <a:pt x="522" y="184"/>
                            </a:lnTo>
                            <a:lnTo>
                              <a:pt x="524" y="176"/>
                            </a:lnTo>
                            <a:lnTo>
                              <a:pt x="528" y="172"/>
                            </a:lnTo>
                            <a:lnTo>
                              <a:pt x="534" y="172"/>
                            </a:lnTo>
                            <a:lnTo>
                              <a:pt x="534" y="172"/>
                            </a:lnTo>
                            <a:lnTo>
                              <a:pt x="536" y="170"/>
                            </a:lnTo>
                            <a:lnTo>
                              <a:pt x="536" y="168"/>
                            </a:lnTo>
                            <a:lnTo>
                              <a:pt x="538" y="162"/>
                            </a:lnTo>
                            <a:lnTo>
                              <a:pt x="542" y="156"/>
                            </a:lnTo>
                            <a:lnTo>
                              <a:pt x="546" y="152"/>
                            </a:lnTo>
                            <a:lnTo>
                              <a:pt x="552" y="150"/>
                            </a:lnTo>
                            <a:lnTo>
                              <a:pt x="552" y="150"/>
                            </a:lnTo>
                            <a:lnTo>
                              <a:pt x="558" y="148"/>
                            </a:lnTo>
                            <a:lnTo>
                              <a:pt x="564" y="148"/>
                            </a:lnTo>
                            <a:lnTo>
                              <a:pt x="572" y="152"/>
                            </a:lnTo>
                            <a:lnTo>
                              <a:pt x="582" y="160"/>
                            </a:lnTo>
                            <a:lnTo>
                              <a:pt x="598" y="168"/>
                            </a:lnTo>
                            <a:lnTo>
                              <a:pt x="598" y="168"/>
                            </a:lnTo>
                            <a:lnTo>
                              <a:pt x="614" y="176"/>
                            </a:lnTo>
                            <a:lnTo>
                              <a:pt x="618" y="182"/>
                            </a:lnTo>
                            <a:lnTo>
                              <a:pt x="618" y="184"/>
                            </a:lnTo>
                            <a:lnTo>
                              <a:pt x="618" y="184"/>
                            </a:lnTo>
                            <a:lnTo>
                              <a:pt x="614" y="186"/>
                            </a:lnTo>
                            <a:lnTo>
                              <a:pt x="614" y="186"/>
                            </a:lnTo>
                            <a:lnTo>
                              <a:pt x="612" y="188"/>
                            </a:lnTo>
                            <a:lnTo>
                              <a:pt x="612" y="188"/>
                            </a:lnTo>
                            <a:lnTo>
                              <a:pt x="616" y="190"/>
                            </a:lnTo>
                            <a:lnTo>
                              <a:pt x="618" y="196"/>
                            </a:lnTo>
                            <a:lnTo>
                              <a:pt x="618" y="198"/>
                            </a:lnTo>
                            <a:lnTo>
                              <a:pt x="618" y="204"/>
                            </a:lnTo>
                            <a:lnTo>
                              <a:pt x="618" y="204"/>
                            </a:lnTo>
                            <a:lnTo>
                              <a:pt x="624" y="198"/>
                            </a:lnTo>
                            <a:lnTo>
                              <a:pt x="626" y="196"/>
                            </a:lnTo>
                            <a:lnTo>
                              <a:pt x="632" y="196"/>
                            </a:lnTo>
                            <a:lnTo>
                              <a:pt x="640" y="200"/>
                            </a:lnTo>
                            <a:lnTo>
                              <a:pt x="640" y="200"/>
                            </a:lnTo>
                            <a:lnTo>
                              <a:pt x="654" y="208"/>
                            </a:lnTo>
                            <a:lnTo>
                              <a:pt x="666" y="212"/>
                            </a:lnTo>
                            <a:lnTo>
                              <a:pt x="678" y="216"/>
                            </a:lnTo>
                            <a:lnTo>
                              <a:pt x="684" y="216"/>
                            </a:lnTo>
                            <a:lnTo>
                              <a:pt x="684" y="216"/>
                            </a:lnTo>
                            <a:lnTo>
                              <a:pt x="694" y="212"/>
                            </a:lnTo>
                            <a:lnTo>
                              <a:pt x="704" y="214"/>
                            </a:lnTo>
                            <a:lnTo>
                              <a:pt x="712" y="218"/>
                            </a:lnTo>
                            <a:lnTo>
                              <a:pt x="724" y="226"/>
                            </a:lnTo>
                            <a:lnTo>
                              <a:pt x="724" y="226"/>
                            </a:lnTo>
                            <a:lnTo>
                              <a:pt x="736" y="234"/>
                            </a:lnTo>
                            <a:lnTo>
                              <a:pt x="746" y="242"/>
                            </a:lnTo>
                            <a:lnTo>
                              <a:pt x="756" y="248"/>
                            </a:lnTo>
                            <a:lnTo>
                              <a:pt x="766" y="254"/>
                            </a:lnTo>
                            <a:lnTo>
                              <a:pt x="766" y="254"/>
                            </a:lnTo>
                            <a:lnTo>
                              <a:pt x="770" y="256"/>
                            </a:lnTo>
                            <a:lnTo>
                              <a:pt x="776" y="258"/>
                            </a:lnTo>
                            <a:lnTo>
                              <a:pt x="786" y="258"/>
                            </a:lnTo>
                            <a:lnTo>
                              <a:pt x="792" y="258"/>
                            </a:lnTo>
                            <a:lnTo>
                              <a:pt x="798" y="258"/>
                            </a:lnTo>
                            <a:lnTo>
                              <a:pt x="802" y="262"/>
                            </a:lnTo>
                            <a:lnTo>
                              <a:pt x="806" y="266"/>
                            </a:lnTo>
                            <a:lnTo>
                              <a:pt x="806" y="266"/>
                            </a:lnTo>
                            <a:lnTo>
                              <a:pt x="814" y="286"/>
                            </a:lnTo>
                            <a:lnTo>
                              <a:pt x="818" y="298"/>
                            </a:lnTo>
                            <a:lnTo>
                              <a:pt x="818" y="310"/>
                            </a:lnTo>
                            <a:lnTo>
                              <a:pt x="818" y="310"/>
                            </a:lnTo>
                            <a:lnTo>
                              <a:pt x="818" y="322"/>
                            </a:lnTo>
                            <a:lnTo>
                              <a:pt x="818" y="338"/>
                            </a:lnTo>
                            <a:lnTo>
                              <a:pt x="816" y="352"/>
                            </a:lnTo>
                            <a:lnTo>
                              <a:pt x="814" y="358"/>
                            </a:lnTo>
                            <a:lnTo>
                              <a:pt x="810" y="364"/>
                            </a:lnTo>
                            <a:lnTo>
                              <a:pt x="810" y="364"/>
                            </a:lnTo>
                            <a:lnTo>
                              <a:pt x="802" y="372"/>
                            </a:lnTo>
                            <a:lnTo>
                              <a:pt x="798" y="382"/>
                            </a:lnTo>
                            <a:lnTo>
                              <a:pt x="790" y="390"/>
                            </a:lnTo>
                            <a:lnTo>
                              <a:pt x="782" y="402"/>
                            </a:lnTo>
                            <a:lnTo>
                              <a:pt x="782" y="402"/>
                            </a:lnTo>
                            <a:lnTo>
                              <a:pt x="774" y="408"/>
                            </a:lnTo>
                            <a:lnTo>
                              <a:pt x="770" y="416"/>
                            </a:lnTo>
                            <a:lnTo>
                              <a:pt x="762" y="434"/>
                            </a:lnTo>
                            <a:lnTo>
                              <a:pt x="756" y="450"/>
                            </a:lnTo>
                            <a:lnTo>
                              <a:pt x="752" y="458"/>
                            </a:lnTo>
                            <a:lnTo>
                              <a:pt x="746" y="464"/>
                            </a:lnTo>
                            <a:lnTo>
                              <a:pt x="746" y="464"/>
                            </a:lnTo>
                            <a:lnTo>
                              <a:pt x="744" y="464"/>
                            </a:lnTo>
                            <a:lnTo>
                              <a:pt x="740" y="464"/>
                            </a:lnTo>
                            <a:lnTo>
                              <a:pt x="734" y="460"/>
                            </a:lnTo>
                            <a:lnTo>
                              <a:pt x="732" y="460"/>
                            </a:lnTo>
                            <a:lnTo>
                              <a:pt x="732" y="460"/>
                            </a:lnTo>
                            <a:lnTo>
                              <a:pt x="736" y="470"/>
                            </a:lnTo>
                            <a:lnTo>
                              <a:pt x="736" y="470"/>
                            </a:lnTo>
                            <a:lnTo>
                              <a:pt x="738" y="478"/>
                            </a:lnTo>
                            <a:lnTo>
                              <a:pt x="736" y="488"/>
                            </a:lnTo>
                            <a:lnTo>
                              <a:pt x="736" y="500"/>
                            </a:lnTo>
                            <a:lnTo>
                              <a:pt x="738" y="508"/>
                            </a:lnTo>
                            <a:lnTo>
                              <a:pt x="740" y="516"/>
                            </a:lnTo>
                            <a:lnTo>
                              <a:pt x="740" y="516"/>
                            </a:lnTo>
                            <a:lnTo>
                              <a:pt x="742" y="522"/>
                            </a:lnTo>
                            <a:lnTo>
                              <a:pt x="744" y="526"/>
                            </a:lnTo>
                            <a:lnTo>
                              <a:pt x="742" y="536"/>
                            </a:lnTo>
                            <a:lnTo>
                              <a:pt x="738" y="546"/>
                            </a:lnTo>
                            <a:lnTo>
                              <a:pt x="738" y="562"/>
                            </a:lnTo>
                            <a:lnTo>
                              <a:pt x="738" y="562"/>
                            </a:lnTo>
                            <a:lnTo>
                              <a:pt x="738" y="570"/>
                            </a:lnTo>
                            <a:lnTo>
                              <a:pt x="738" y="574"/>
                            </a:lnTo>
                            <a:lnTo>
                              <a:pt x="734" y="580"/>
                            </a:lnTo>
                            <a:lnTo>
                              <a:pt x="732" y="584"/>
                            </a:lnTo>
                            <a:lnTo>
                              <a:pt x="732" y="586"/>
                            </a:lnTo>
                            <a:lnTo>
                              <a:pt x="732" y="590"/>
                            </a:lnTo>
                            <a:lnTo>
                              <a:pt x="734" y="596"/>
                            </a:lnTo>
                            <a:lnTo>
                              <a:pt x="734" y="596"/>
                            </a:lnTo>
                            <a:lnTo>
                              <a:pt x="736" y="604"/>
                            </a:lnTo>
                            <a:lnTo>
                              <a:pt x="736" y="608"/>
                            </a:lnTo>
                            <a:lnTo>
                              <a:pt x="732" y="610"/>
                            </a:lnTo>
                            <a:lnTo>
                              <a:pt x="730" y="614"/>
                            </a:lnTo>
                            <a:lnTo>
                              <a:pt x="726" y="616"/>
                            </a:lnTo>
                            <a:lnTo>
                              <a:pt x="724" y="620"/>
                            </a:lnTo>
                            <a:lnTo>
                              <a:pt x="722" y="624"/>
                            </a:lnTo>
                            <a:lnTo>
                              <a:pt x="724" y="632"/>
                            </a:lnTo>
                            <a:lnTo>
                              <a:pt x="724" y="632"/>
                            </a:lnTo>
                            <a:lnTo>
                              <a:pt x="724" y="640"/>
                            </a:lnTo>
                            <a:lnTo>
                              <a:pt x="724" y="646"/>
                            </a:lnTo>
                            <a:lnTo>
                              <a:pt x="720" y="652"/>
                            </a:lnTo>
                            <a:lnTo>
                              <a:pt x="716" y="656"/>
                            </a:lnTo>
                            <a:lnTo>
                              <a:pt x="710" y="660"/>
                            </a:lnTo>
                            <a:lnTo>
                              <a:pt x="708" y="664"/>
                            </a:lnTo>
                            <a:lnTo>
                              <a:pt x="704" y="670"/>
                            </a:lnTo>
                            <a:lnTo>
                              <a:pt x="704" y="678"/>
                            </a:lnTo>
                            <a:lnTo>
                              <a:pt x="704" y="678"/>
                            </a:lnTo>
                            <a:lnTo>
                              <a:pt x="704" y="688"/>
                            </a:lnTo>
                            <a:lnTo>
                              <a:pt x="702" y="690"/>
                            </a:lnTo>
                            <a:lnTo>
                              <a:pt x="700" y="692"/>
                            </a:lnTo>
                            <a:lnTo>
                              <a:pt x="696" y="694"/>
                            </a:lnTo>
                            <a:lnTo>
                              <a:pt x="690" y="698"/>
                            </a:lnTo>
                            <a:lnTo>
                              <a:pt x="690" y="698"/>
                            </a:lnTo>
                            <a:lnTo>
                              <a:pt x="680" y="708"/>
                            </a:lnTo>
                            <a:lnTo>
                              <a:pt x="676" y="710"/>
                            </a:lnTo>
                            <a:lnTo>
                              <a:pt x="674" y="710"/>
                            </a:lnTo>
                            <a:lnTo>
                              <a:pt x="670" y="708"/>
                            </a:lnTo>
                            <a:lnTo>
                              <a:pt x="668" y="708"/>
                            </a:lnTo>
                            <a:lnTo>
                              <a:pt x="668" y="708"/>
                            </a:lnTo>
                            <a:lnTo>
                              <a:pt x="668" y="708"/>
                            </a:lnTo>
                            <a:lnTo>
                              <a:pt x="664" y="710"/>
                            </a:lnTo>
                            <a:lnTo>
                              <a:pt x="658" y="710"/>
                            </a:lnTo>
                            <a:lnTo>
                              <a:pt x="650" y="708"/>
                            </a:lnTo>
                            <a:lnTo>
                              <a:pt x="642" y="708"/>
                            </a:lnTo>
                            <a:lnTo>
                              <a:pt x="640" y="708"/>
                            </a:lnTo>
                            <a:lnTo>
                              <a:pt x="636" y="712"/>
                            </a:lnTo>
                            <a:lnTo>
                              <a:pt x="636" y="712"/>
                            </a:lnTo>
                            <a:lnTo>
                              <a:pt x="630" y="718"/>
                            </a:lnTo>
                            <a:lnTo>
                              <a:pt x="622" y="722"/>
                            </a:lnTo>
                            <a:lnTo>
                              <a:pt x="612" y="730"/>
                            </a:lnTo>
                            <a:lnTo>
                              <a:pt x="596" y="746"/>
                            </a:lnTo>
                            <a:lnTo>
                              <a:pt x="596" y="746"/>
                            </a:lnTo>
                            <a:lnTo>
                              <a:pt x="588" y="754"/>
                            </a:lnTo>
                            <a:lnTo>
                              <a:pt x="584" y="762"/>
                            </a:lnTo>
                            <a:lnTo>
                              <a:pt x="582" y="768"/>
                            </a:lnTo>
                            <a:lnTo>
                              <a:pt x="582" y="774"/>
                            </a:lnTo>
                            <a:lnTo>
                              <a:pt x="584" y="784"/>
                            </a:lnTo>
                            <a:lnTo>
                              <a:pt x="586" y="788"/>
                            </a:lnTo>
                            <a:lnTo>
                              <a:pt x="586" y="788"/>
                            </a:lnTo>
                            <a:lnTo>
                              <a:pt x="584" y="796"/>
                            </a:lnTo>
                            <a:lnTo>
                              <a:pt x="586" y="802"/>
                            </a:lnTo>
                            <a:lnTo>
                              <a:pt x="588" y="812"/>
                            </a:lnTo>
                            <a:lnTo>
                              <a:pt x="590" y="820"/>
                            </a:lnTo>
                            <a:lnTo>
                              <a:pt x="590" y="824"/>
                            </a:lnTo>
                            <a:lnTo>
                              <a:pt x="586" y="828"/>
                            </a:lnTo>
                            <a:lnTo>
                              <a:pt x="586" y="828"/>
                            </a:lnTo>
                            <a:lnTo>
                              <a:pt x="584" y="830"/>
                            </a:lnTo>
                            <a:lnTo>
                              <a:pt x="584" y="832"/>
                            </a:lnTo>
                            <a:lnTo>
                              <a:pt x="584" y="836"/>
                            </a:lnTo>
                            <a:lnTo>
                              <a:pt x="584" y="840"/>
                            </a:lnTo>
                            <a:lnTo>
                              <a:pt x="582" y="842"/>
                            </a:lnTo>
                            <a:lnTo>
                              <a:pt x="578" y="846"/>
                            </a:lnTo>
                            <a:lnTo>
                              <a:pt x="570" y="852"/>
                            </a:lnTo>
                            <a:lnTo>
                              <a:pt x="570" y="852"/>
                            </a:lnTo>
                            <a:lnTo>
                              <a:pt x="564" y="858"/>
                            </a:lnTo>
                            <a:lnTo>
                              <a:pt x="558" y="862"/>
                            </a:lnTo>
                            <a:lnTo>
                              <a:pt x="556" y="866"/>
                            </a:lnTo>
                            <a:lnTo>
                              <a:pt x="556" y="870"/>
                            </a:lnTo>
                            <a:lnTo>
                              <a:pt x="558" y="878"/>
                            </a:lnTo>
                            <a:lnTo>
                              <a:pt x="556" y="882"/>
                            </a:lnTo>
                            <a:lnTo>
                              <a:pt x="554" y="888"/>
                            </a:lnTo>
                            <a:lnTo>
                              <a:pt x="554" y="888"/>
                            </a:lnTo>
                            <a:lnTo>
                              <a:pt x="552" y="892"/>
                            </a:lnTo>
                            <a:lnTo>
                              <a:pt x="550" y="898"/>
                            </a:lnTo>
                            <a:lnTo>
                              <a:pt x="550" y="908"/>
                            </a:lnTo>
                            <a:lnTo>
                              <a:pt x="550" y="914"/>
                            </a:lnTo>
                            <a:lnTo>
                              <a:pt x="548" y="918"/>
                            </a:lnTo>
                            <a:lnTo>
                              <a:pt x="544" y="924"/>
                            </a:lnTo>
                            <a:lnTo>
                              <a:pt x="536" y="928"/>
                            </a:lnTo>
                            <a:lnTo>
                              <a:pt x="536" y="928"/>
                            </a:lnTo>
                            <a:lnTo>
                              <a:pt x="532" y="934"/>
                            </a:lnTo>
                            <a:lnTo>
                              <a:pt x="528" y="936"/>
                            </a:lnTo>
                            <a:lnTo>
                              <a:pt x="528" y="942"/>
                            </a:lnTo>
                            <a:lnTo>
                              <a:pt x="528" y="946"/>
                            </a:lnTo>
                            <a:lnTo>
                              <a:pt x="526" y="952"/>
                            </a:lnTo>
                            <a:lnTo>
                              <a:pt x="520" y="958"/>
                            </a:lnTo>
                            <a:lnTo>
                              <a:pt x="510" y="966"/>
                            </a:lnTo>
                            <a:lnTo>
                              <a:pt x="510" y="966"/>
                            </a:lnTo>
                            <a:lnTo>
                              <a:pt x="506" y="958"/>
                            </a:lnTo>
                            <a:lnTo>
                              <a:pt x="508" y="950"/>
                            </a:lnTo>
                            <a:lnTo>
                              <a:pt x="508" y="950"/>
                            </a:lnTo>
                            <a:lnTo>
                              <a:pt x="510" y="942"/>
                            </a:lnTo>
                            <a:lnTo>
                              <a:pt x="510" y="940"/>
                            </a:lnTo>
                            <a:lnTo>
                              <a:pt x="506" y="938"/>
                            </a:lnTo>
                            <a:lnTo>
                              <a:pt x="502" y="932"/>
                            </a:lnTo>
                            <a:lnTo>
                              <a:pt x="502" y="932"/>
                            </a:lnTo>
                            <a:lnTo>
                              <a:pt x="496" y="926"/>
                            </a:lnTo>
                            <a:lnTo>
                              <a:pt x="494" y="924"/>
                            </a:lnTo>
                            <a:lnTo>
                              <a:pt x="492" y="924"/>
                            </a:lnTo>
                            <a:lnTo>
                              <a:pt x="486" y="918"/>
                            </a:lnTo>
                            <a:lnTo>
                              <a:pt x="486" y="918"/>
                            </a:lnTo>
                            <a:lnTo>
                              <a:pt x="478" y="910"/>
                            </a:lnTo>
                            <a:lnTo>
                              <a:pt x="470" y="906"/>
                            </a:lnTo>
                            <a:lnTo>
                              <a:pt x="464" y="906"/>
                            </a:lnTo>
                            <a:lnTo>
                              <a:pt x="460" y="902"/>
                            </a:lnTo>
                            <a:lnTo>
                              <a:pt x="460" y="902"/>
                            </a:lnTo>
                            <a:lnTo>
                              <a:pt x="456" y="898"/>
                            </a:lnTo>
                            <a:lnTo>
                              <a:pt x="454" y="900"/>
                            </a:lnTo>
                            <a:lnTo>
                              <a:pt x="450" y="900"/>
                            </a:lnTo>
                            <a:lnTo>
                              <a:pt x="450" y="900"/>
                            </a:lnTo>
                            <a:lnTo>
                              <a:pt x="448" y="900"/>
                            </a:lnTo>
                            <a:lnTo>
                              <a:pt x="448" y="898"/>
                            </a:lnTo>
                            <a:lnTo>
                              <a:pt x="446" y="894"/>
                            </a:lnTo>
                            <a:lnTo>
                              <a:pt x="446" y="888"/>
                            </a:lnTo>
                            <a:lnTo>
                              <a:pt x="444" y="882"/>
                            </a:lnTo>
                            <a:lnTo>
                              <a:pt x="444" y="882"/>
                            </a:lnTo>
                            <a:lnTo>
                              <a:pt x="438" y="874"/>
                            </a:lnTo>
                            <a:lnTo>
                              <a:pt x="436" y="870"/>
                            </a:lnTo>
                            <a:lnTo>
                              <a:pt x="434" y="868"/>
                            </a:lnTo>
                            <a:lnTo>
                              <a:pt x="434" y="868"/>
                            </a:lnTo>
                            <a:lnTo>
                              <a:pt x="426" y="870"/>
                            </a:lnTo>
                            <a:lnTo>
                              <a:pt x="420" y="872"/>
                            </a:lnTo>
                            <a:lnTo>
                              <a:pt x="416" y="876"/>
                            </a:lnTo>
                            <a:lnTo>
                              <a:pt x="408" y="876"/>
                            </a:lnTo>
                            <a:lnTo>
                              <a:pt x="408" y="876"/>
                            </a:lnTo>
                            <a:lnTo>
                              <a:pt x="410" y="874"/>
                            </a:lnTo>
                            <a:lnTo>
                              <a:pt x="414" y="870"/>
                            </a:lnTo>
                            <a:lnTo>
                              <a:pt x="414" y="870"/>
                            </a:lnTo>
                            <a:lnTo>
                              <a:pt x="416" y="868"/>
                            </a:lnTo>
                            <a:lnTo>
                              <a:pt x="418" y="866"/>
                            </a:lnTo>
                            <a:lnTo>
                              <a:pt x="420" y="860"/>
                            </a:lnTo>
                            <a:lnTo>
                              <a:pt x="428" y="846"/>
                            </a:lnTo>
                            <a:lnTo>
                              <a:pt x="428" y="846"/>
                            </a:lnTo>
                            <a:lnTo>
                              <a:pt x="434" y="840"/>
                            </a:lnTo>
                            <a:lnTo>
                              <a:pt x="436" y="840"/>
                            </a:lnTo>
                            <a:lnTo>
                              <a:pt x="438" y="840"/>
                            </a:lnTo>
                            <a:lnTo>
                              <a:pt x="440" y="838"/>
                            </a:lnTo>
                            <a:lnTo>
                              <a:pt x="440" y="838"/>
                            </a:lnTo>
                            <a:lnTo>
                              <a:pt x="440" y="834"/>
                            </a:lnTo>
                            <a:lnTo>
                              <a:pt x="438" y="834"/>
                            </a:lnTo>
                            <a:lnTo>
                              <a:pt x="438" y="832"/>
                            </a:lnTo>
                            <a:lnTo>
                              <a:pt x="438" y="830"/>
                            </a:lnTo>
                            <a:lnTo>
                              <a:pt x="438" y="830"/>
                            </a:lnTo>
                            <a:lnTo>
                              <a:pt x="440" y="828"/>
                            </a:lnTo>
                            <a:lnTo>
                              <a:pt x="442" y="828"/>
                            </a:lnTo>
                            <a:lnTo>
                              <a:pt x="446" y="826"/>
                            </a:lnTo>
                            <a:lnTo>
                              <a:pt x="448" y="824"/>
                            </a:lnTo>
                            <a:lnTo>
                              <a:pt x="448" y="824"/>
                            </a:lnTo>
                            <a:lnTo>
                              <a:pt x="452" y="818"/>
                            </a:lnTo>
                            <a:lnTo>
                              <a:pt x="456" y="818"/>
                            </a:lnTo>
                            <a:lnTo>
                              <a:pt x="460" y="816"/>
                            </a:lnTo>
                            <a:lnTo>
                              <a:pt x="464" y="810"/>
                            </a:lnTo>
                            <a:lnTo>
                              <a:pt x="464" y="810"/>
                            </a:lnTo>
                            <a:lnTo>
                              <a:pt x="470" y="800"/>
                            </a:lnTo>
                            <a:lnTo>
                              <a:pt x="468" y="796"/>
                            </a:lnTo>
                            <a:lnTo>
                              <a:pt x="466" y="794"/>
                            </a:lnTo>
                            <a:lnTo>
                              <a:pt x="466" y="792"/>
                            </a:lnTo>
                            <a:lnTo>
                              <a:pt x="466" y="792"/>
                            </a:lnTo>
                            <a:lnTo>
                              <a:pt x="466" y="786"/>
                            </a:lnTo>
                            <a:lnTo>
                              <a:pt x="464" y="780"/>
                            </a:lnTo>
                            <a:lnTo>
                              <a:pt x="462" y="778"/>
                            </a:lnTo>
                            <a:lnTo>
                              <a:pt x="460" y="776"/>
                            </a:lnTo>
                            <a:lnTo>
                              <a:pt x="456" y="776"/>
                            </a:lnTo>
                            <a:lnTo>
                              <a:pt x="450" y="778"/>
                            </a:lnTo>
                            <a:lnTo>
                              <a:pt x="450" y="778"/>
                            </a:lnTo>
                            <a:lnTo>
                              <a:pt x="452" y="762"/>
                            </a:lnTo>
                            <a:lnTo>
                              <a:pt x="452" y="754"/>
                            </a:lnTo>
                            <a:lnTo>
                              <a:pt x="450" y="750"/>
                            </a:lnTo>
                            <a:lnTo>
                              <a:pt x="448" y="744"/>
                            </a:lnTo>
                            <a:lnTo>
                              <a:pt x="448" y="744"/>
                            </a:lnTo>
                            <a:lnTo>
                              <a:pt x="448" y="736"/>
                            </a:lnTo>
                            <a:lnTo>
                              <a:pt x="446" y="734"/>
                            </a:lnTo>
                            <a:lnTo>
                              <a:pt x="440" y="732"/>
                            </a:lnTo>
                            <a:lnTo>
                              <a:pt x="434" y="734"/>
                            </a:lnTo>
                            <a:lnTo>
                              <a:pt x="434" y="734"/>
                            </a:lnTo>
                            <a:lnTo>
                              <a:pt x="428" y="734"/>
                            </a:lnTo>
                            <a:lnTo>
                              <a:pt x="426" y="732"/>
                            </a:lnTo>
                            <a:lnTo>
                              <a:pt x="426" y="728"/>
                            </a:lnTo>
                            <a:lnTo>
                              <a:pt x="424" y="720"/>
                            </a:lnTo>
                            <a:lnTo>
                              <a:pt x="424" y="720"/>
                            </a:lnTo>
                            <a:lnTo>
                              <a:pt x="422" y="714"/>
                            </a:lnTo>
                            <a:lnTo>
                              <a:pt x="424" y="708"/>
                            </a:lnTo>
                            <a:lnTo>
                              <a:pt x="424" y="704"/>
                            </a:lnTo>
                            <a:lnTo>
                              <a:pt x="422" y="702"/>
                            </a:lnTo>
                            <a:lnTo>
                              <a:pt x="418" y="700"/>
                            </a:lnTo>
                            <a:lnTo>
                              <a:pt x="418" y="700"/>
                            </a:lnTo>
                            <a:lnTo>
                              <a:pt x="412" y="696"/>
                            </a:lnTo>
                            <a:lnTo>
                              <a:pt x="408" y="696"/>
                            </a:lnTo>
                            <a:lnTo>
                              <a:pt x="404" y="696"/>
                            </a:lnTo>
                            <a:lnTo>
                              <a:pt x="404" y="696"/>
                            </a:lnTo>
                            <a:lnTo>
                              <a:pt x="396" y="696"/>
                            </a:lnTo>
                            <a:lnTo>
                              <a:pt x="390" y="694"/>
                            </a:lnTo>
                            <a:lnTo>
                              <a:pt x="384" y="692"/>
                            </a:lnTo>
                            <a:lnTo>
                              <a:pt x="376" y="690"/>
                            </a:lnTo>
                            <a:lnTo>
                              <a:pt x="376" y="690"/>
                            </a:lnTo>
                            <a:lnTo>
                              <a:pt x="370" y="690"/>
                            </a:lnTo>
                            <a:lnTo>
                              <a:pt x="370" y="686"/>
                            </a:lnTo>
                            <a:lnTo>
                              <a:pt x="376" y="668"/>
                            </a:lnTo>
                            <a:lnTo>
                              <a:pt x="376" y="668"/>
                            </a:lnTo>
                            <a:lnTo>
                              <a:pt x="378" y="658"/>
                            </a:lnTo>
                            <a:lnTo>
                              <a:pt x="378" y="654"/>
                            </a:lnTo>
                            <a:lnTo>
                              <a:pt x="376" y="648"/>
                            </a:lnTo>
                            <a:lnTo>
                              <a:pt x="370" y="640"/>
                            </a:lnTo>
                            <a:lnTo>
                              <a:pt x="370" y="640"/>
                            </a:lnTo>
                            <a:lnTo>
                              <a:pt x="364" y="632"/>
                            </a:lnTo>
                            <a:lnTo>
                              <a:pt x="364" y="630"/>
                            </a:lnTo>
                            <a:lnTo>
                              <a:pt x="364" y="626"/>
                            </a:lnTo>
                            <a:lnTo>
                              <a:pt x="362" y="620"/>
                            </a:lnTo>
                            <a:lnTo>
                              <a:pt x="362" y="620"/>
                            </a:lnTo>
                            <a:lnTo>
                              <a:pt x="366" y="618"/>
                            </a:lnTo>
                            <a:lnTo>
                              <a:pt x="362" y="612"/>
                            </a:lnTo>
                            <a:lnTo>
                              <a:pt x="362" y="612"/>
                            </a:lnTo>
                            <a:lnTo>
                              <a:pt x="362" y="610"/>
                            </a:lnTo>
                            <a:lnTo>
                              <a:pt x="362" y="606"/>
                            </a:lnTo>
                            <a:lnTo>
                              <a:pt x="364" y="602"/>
                            </a:lnTo>
                            <a:lnTo>
                              <a:pt x="364" y="598"/>
                            </a:lnTo>
                            <a:lnTo>
                              <a:pt x="364" y="598"/>
                            </a:lnTo>
                            <a:lnTo>
                              <a:pt x="362" y="596"/>
                            </a:lnTo>
                            <a:lnTo>
                              <a:pt x="362" y="592"/>
                            </a:lnTo>
                            <a:lnTo>
                              <a:pt x="366" y="588"/>
                            </a:lnTo>
                            <a:lnTo>
                              <a:pt x="366" y="582"/>
                            </a:lnTo>
                            <a:lnTo>
                              <a:pt x="364" y="580"/>
                            </a:lnTo>
                            <a:lnTo>
                              <a:pt x="362" y="578"/>
                            </a:lnTo>
                            <a:lnTo>
                              <a:pt x="362" y="578"/>
                            </a:lnTo>
                            <a:lnTo>
                              <a:pt x="358" y="574"/>
                            </a:lnTo>
                            <a:lnTo>
                              <a:pt x="356" y="570"/>
                            </a:lnTo>
                            <a:lnTo>
                              <a:pt x="352" y="568"/>
                            </a:lnTo>
                            <a:lnTo>
                              <a:pt x="344" y="566"/>
                            </a:lnTo>
                            <a:lnTo>
                              <a:pt x="344" y="566"/>
                            </a:lnTo>
                            <a:lnTo>
                              <a:pt x="338" y="564"/>
                            </a:lnTo>
                            <a:lnTo>
                              <a:pt x="338" y="562"/>
                            </a:lnTo>
                            <a:lnTo>
                              <a:pt x="338" y="560"/>
                            </a:lnTo>
                            <a:lnTo>
                              <a:pt x="342" y="556"/>
                            </a:lnTo>
                            <a:lnTo>
                              <a:pt x="342" y="552"/>
                            </a:lnTo>
                            <a:lnTo>
                              <a:pt x="342" y="548"/>
                            </a:lnTo>
                            <a:lnTo>
                              <a:pt x="308" y="548"/>
                            </a:lnTo>
                            <a:lnTo>
                              <a:pt x="308" y="548"/>
                            </a:lnTo>
                            <a:lnTo>
                              <a:pt x="298" y="534"/>
                            </a:lnTo>
                            <a:lnTo>
                              <a:pt x="296" y="530"/>
                            </a:lnTo>
                            <a:lnTo>
                              <a:pt x="298" y="530"/>
                            </a:lnTo>
                            <a:lnTo>
                              <a:pt x="298" y="530"/>
                            </a:lnTo>
                            <a:lnTo>
                              <a:pt x="298" y="528"/>
                            </a:lnTo>
                            <a:lnTo>
                              <a:pt x="298" y="528"/>
                            </a:lnTo>
                            <a:lnTo>
                              <a:pt x="296" y="524"/>
                            </a:lnTo>
                            <a:lnTo>
                              <a:pt x="298" y="522"/>
                            </a:lnTo>
                            <a:lnTo>
                              <a:pt x="298" y="518"/>
                            </a:lnTo>
                            <a:lnTo>
                              <a:pt x="296" y="514"/>
                            </a:lnTo>
                            <a:lnTo>
                              <a:pt x="296" y="514"/>
                            </a:lnTo>
                            <a:lnTo>
                              <a:pt x="296" y="506"/>
                            </a:lnTo>
                            <a:lnTo>
                              <a:pt x="296" y="502"/>
                            </a:lnTo>
                            <a:lnTo>
                              <a:pt x="294" y="498"/>
                            </a:lnTo>
                            <a:lnTo>
                              <a:pt x="284" y="492"/>
                            </a:lnTo>
                            <a:lnTo>
                              <a:pt x="284" y="492"/>
                            </a:lnTo>
                            <a:lnTo>
                              <a:pt x="272" y="488"/>
                            </a:lnTo>
                            <a:lnTo>
                              <a:pt x="270" y="484"/>
                            </a:lnTo>
                            <a:lnTo>
                              <a:pt x="268" y="482"/>
                            </a:lnTo>
                            <a:lnTo>
                              <a:pt x="260" y="478"/>
                            </a:lnTo>
                            <a:lnTo>
                              <a:pt x="260" y="478"/>
                            </a:lnTo>
                            <a:lnTo>
                              <a:pt x="250" y="474"/>
                            </a:lnTo>
                            <a:lnTo>
                              <a:pt x="248" y="470"/>
                            </a:lnTo>
                            <a:lnTo>
                              <a:pt x="246" y="466"/>
                            </a:lnTo>
                            <a:lnTo>
                              <a:pt x="240" y="464"/>
                            </a:lnTo>
                            <a:lnTo>
                              <a:pt x="240" y="464"/>
                            </a:lnTo>
                            <a:lnTo>
                              <a:pt x="238" y="464"/>
                            </a:lnTo>
                            <a:lnTo>
                              <a:pt x="234" y="462"/>
                            </a:lnTo>
                            <a:lnTo>
                              <a:pt x="230" y="458"/>
                            </a:lnTo>
                            <a:lnTo>
                              <a:pt x="224" y="454"/>
                            </a:lnTo>
                            <a:lnTo>
                              <a:pt x="220" y="454"/>
                            </a:lnTo>
                            <a:lnTo>
                              <a:pt x="214" y="454"/>
                            </a:lnTo>
                            <a:lnTo>
                              <a:pt x="214" y="454"/>
                            </a:lnTo>
                            <a:lnTo>
                              <a:pt x="206" y="454"/>
                            </a:lnTo>
                            <a:lnTo>
                              <a:pt x="202" y="452"/>
                            </a:lnTo>
                            <a:lnTo>
                              <a:pt x="198" y="448"/>
                            </a:lnTo>
                            <a:lnTo>
                              <a:pt x="196" y="444"/>
                            </a:lnTo>
                            <a:lnTo>
                              <a:pt x="192" y="440"/>
                            </a:lnTo>
                            <a:lnTo>
                              <a:pt x="192" y="440"/>
                            </a:lnTo>
                            <a:lnTo>
                              <a:pt x="188" y="438"/>
                            </a:lnTo>
                            <a:lnTo>
                              <a:pt x="186" y="434"/>
                            </a:lnTo>
                            <a:lnTo>
                              <a:pt x="182" y="420"/>
                            </a:lnTo>
                            <a:lnTo>
                              <a:pt x="182" y="394"/>
                            </a:lnTo>
                            <a:lnTo>
                              <a:pt x="182" y="394"/>
                            </a:lnTo>
                            <a:lnTo>
                              <a:pt x="180" y="390"/>
                            </a:lnTo>
                            <a:lnTo>
                              <a:pt x="176" y="390"/>
                            </a:lnTo>
                            <a:lnTo>
                              <a:pt x="166" y="390"/>
                            </a:lnTo>
                            <a:lnTo>
                              <a:pt x="154" y="394"/>
                            </a:lnTo>
                            <a:lnTo>
                              <a:pt x="148" y="398"/>
                            </a:lnTo>
                            <a:lnTo>
                              <a:pt x="148" y="398"/>
                            </a:lnTo>
                            <a:lnTo>
                              <a:pt x="142" y="404"/>
                            </a:lnTo>
                            <a:lnTo>
                              <a:pt x="136" y="406"/>
                            </a:lnTo>
                            <a:lnTo>
                              <a:pt x="132" y="408"/>
                            </a:lnTo>
                            <a:lnTo>
                              <a:pt x="132" y="412"/>
                            </a:lnTo>
                            <a:lnTo>
                              <a:pt x="132" y="412"/>
                            </a:lnTo>
                            <a:lnTo>
                              <a:pt x="130" y="416"/>
                            </a:lnTo>
                            <a:lnTo>
                              <a:pt x="128" y="418"/>
                            </a:lnTo>
                            <a:lnTo>
                              <a:pt x="124" y="418"/>
                            </a:lnTo>
                            <a:lnTo>
                              <a:pt x="118" y="420"/>
                            </a:lnTo>
                            <a:lnTo>
                              <a:pt x="118" y="420"/>
                            </a:lnTo>
                            <a:lnTo>
                              <a:pt x="114" y="424"/>
                            </a:lnTo>
                            <a:lnTo>
                              <a:pt x="110" y="424"/>
                            </a:lnTo>
                            <a:lnTo>
                              <a:pt x="104" y="420"/>
                            </a:lnTo>
                            <a:lnTo>
                              <a:pt x="98" y="420"/>
                            </a:lnTo>
                            <a:lnTo>
                              <a:pt x="90" y="420"/>
                            </a:lnTo>
                            <a:lnTo>
                              <a:pt x="90" y="420"/>
                            </a:lnTo>
                            <a:lnTo>
                              <a:pt x="84" y="422"/>
                            </a:lnTo>
                            <a:lnTo>
                              <a:pt x="80" y="424"/>
                            </a:lnTo>
                            <a:lnTo>
                              <a:pt x="78" y="422"/>
                            </a:lnTo>
                            <a:lnTo>
                              <a:pt x="76" y="422"/>
                            </a:lnTo>
                            <a:lnTo>
                              <a:pt x="74" y="414"/>
                            </a:lnTo>
                            <a:lnTo>
                              <a:pt x="72" y="406"/>
                            </a:lnTo>
                            <a:lnTo>
                              <a:pt x="72" y="406"/>
                            </a:lnTo>
                            <a:lnTo>
                              <a:pt x="70" y="394"/>
                            </a:lnTo>
                            <a:lnTo>
                              <a:pt x="70" y="390"/>
                            </a:lnTo>
                            <a:lnTo>
                              <a:pt x="72" y="386"/>
                            </a:lnTo>
                            <a:lnTo>
                              <a:pt x="72" y="386"/>
                            </a:lnTo>
                            <a:lnTo>
                              <a:pt x="74" y="382"/>
                            </a:lnTo>
                            <a:lnTo>
                              <a:pt x="72" y="380"/>
                            </a:lnTo>
                            <a:lnTo>
                              <a:pt x="70" y="378"/>
                            </a:lnTo>
                            <a:lnTo>
                              <a:pt x="68" y="380"/>
                            </a:lnTo>
                            <a:lnTo>
                              <a:pt x="68" y="380"/>
                            </a:lnTo>
                            <a:lnTo>
                              <a:pt x="56" y="390"/>
                            </a:lnTo>
                            <a:lnTo>
                              <a:pt x="52" y="392"/>
                            </a:lnTo>
                            <a:lnTo>
                              <a:pt x="42" y="392"/>
                            </a:lnTo>
                            <a:lnTo>
                              <a:pt x="42" y="392"/>
                            </a:lnTo>
                            <a:lnTo>
                              <a:pt x="36" y="392"/>
                            </a:lnTo>
                            <a:lnTo>
                              <a:pt x="32" y="390"/>
                            </a:lnTo>
                            <a:lnTo>
                              <a:pt x="30" y="390"/>
                            </a:lnTo>
                            <a:lnTo>
                              <a:pt x="28" y="388"/>
                            </a:lnTo>
                            <a:lnTo>
                              <a:pt x="28" y="384"/>
                            </a:lnTo>
                            <a:lnTo>
                              <a:pt x="26" y="382"/>
                            </a:lnTo>
                            <a:lnTo>
                              <a:pt x="24" y="382"/>
                            </a:lnTo>
                            <a:lnTo>
                              <a:pt x="24" y="382"/>
                            </a:lnTo>
                            <a:lnTo>
                              <a:pt x="18" y="382"/>
                            </a:lnTo>
                            <a:lnTo>
                              <a:pt x="20" y="378"/>
                            </a:lnTo>
                            <a:lnTo>
                              <a:pt x="22" y="374"/>
                            </a:lnTo>
                            <a:lnTo>
                              <a:pt x="20" y="372"/>
                            </a:lnTo>
                            <a:lnTo>
                              <a:pt x="18" y="368"/>
                            </a:lnTo>
                            <a:lnTo>
                              <a:pt x="18" y="368"/>
                            </a:lnTo>
                            <a:lnTo>
                              <a:pt x="14" y="362"/>
                            </a:lnTo>
                            <a:lnTo>
                              <a:pt x="10" y="354"/>
                            </a:lnTo>
                            <a:lnTo>
                              <a:pt x="8" y="346"/>
                            </a:lnTo>
                            <a:lnTo>
                              <a:pt x="4" y="340"/>
                            </a:lnTo>
                            <a:lnTo>
                              <a:pt x="4" y="340"/>
                            </a:lnTo>
                            <a:lnTo>
                              <a:pt x="0" y="332"/>
                            </a:lnTo>
                            <a:lnTo>
                              <a:pt x="0" y="330"/>
                            </a:lnTo>
                            <a:lnTo>
                              <a:pt x="2" y="328"/>
                            </a:lnTo>
                            <a:lnTo>
                              <a:pt x="2" y="328"/>
                            </a:lnTo>
                            <a:lnTo>
                              <a:pt x="2" y="328"/>
                            </a:lnTo>
                            <a:lnTo>
                              <a:pt x="0" y="324"/>
                            </a:lnTo>
                            <a:lnTo>
                              <a:pt x="0" y="320"/>
                            </a:lnTo>
                            <a:lnTo>
                              <a:pt x="2" y="316"/>
                            </a:lnTo>
                            <a:lnTo>
                              <a:pt x="4" y="314"/>
                            </a:lnTo>
                            <a:lnTo>
                              <a:pt x="10" y="308"/>
                            </a:lnTo>
                            <a:lnTo>
                              <a:pt x="12" y="306"/>
                            </a:lnTo>
                            <a:lnTo>
                              <a:pt x="14" y="300"/>
                            </a:lnTo>
                            <a:lnTo>
                              <a:pt x="14" y="300"/>
                            </a:lnTo>
                            <a:lnTo>
                              <a:pt x="16" y="292"/>
                            </a:lnTo>
                            <a:lnTo>
                              <a:pt x="18" y="286"/>
                            </a:lnTo>
                            <a:lnTo>
                              <a:pt x="20" y="282"/>
                            </a:lnTo>
                            <a:lnTo>
                              <a:pt x="22" y="278"/>
                            </a:lnTo>
                            <a:lnTo>
                              <a:pt x="22" y="278"/>
                            </a:lnTo>
                            <a:lnTo>
                              <a:pt x="24" y="274"/>
                            </a:lnTo>
                            <a:lnTo>
                              <a:pt x="28" y="270"/>
                            </a:lnTo>
                            <a:lnTo>
                              <a:pt x="32" y="266"/>
                            </a:lnTo>
                            <a:lnTo>
                              <a:pt x="38" y="262"/>
                            </a:lnTo>
                            <a:lnTo>
                              <a:pt x="38" y="262"/>
                            </a:lnTo>
                            <a:lnTo>
                              <a:pt x="46" y="254"/>
                            </a:lnTo>
                            <a:lnTo>
                              <a:pt x="52" y="250"/>
                            </a:lnTo>
                            <a:lnTo>
                              <a:pt x="58" y="250"/>
                            </a:lnTo>
                            <a:lnTo>
                              <a:pt x="60" y="246"/>
                            </a:lnTo>
                            <a:lnTo>
                              <a:pt x="60" y="246"/>
                            </a:lnTo>
                            <a:lnTo>
                              <a:pt x="64" y="244"/>
                            </a:lnTo>
                            <a:lnTo>
                              <a:pt x="66" y="244"/>
                            </a:lnTo>
                            <a:lnTo>
                              <a:pt x="68" y="244"/>
                            </a:lnTo>
                            <a:lnTo>
                              <a:pt x="72" y="240"/>
                            </a:lnTo>
                            <a:lnTo>
                              <a:pt x="72" y="240"/>
                            </a:lnTo>
                            <a:lnTo>
                              <a:pt x="74" y="230"/>
                            </a:lnTo>
                            <a:lnTo>
                              <a:pt x="76" y="220"/>
                            </a:lnTo>
                            <a:lnTo>
                              <a:pt x="80" y="196"/>
                            </a:lnTo>
                            <a:lnTo>
                              <a:pt x="82" y="172"/>
                            </a:lnTo>
                            <a:lnTo>
                              <a:pt x="84" y="160"/>
                            </a:lnTo>
                            <a:lnTo>
                              <a:pt x="84" y="160"/>
                            </a:lnTo>
                            <a:lnTo>
                              <a:pt x="84" y="158"/>
                            </a:lnTo>
                            <a:lnTo>
                              <a:pt x="84" y="156"/>
                            </a:lnTo>
                            <a:lnTo>
                              <a:pt x="80" y="148"/>
                            </a:lnTo>
                            <a:lnTo>
                              <a:pt x="76" y="138"/>
                            </a:lnTo>
                            <a:lnTo>
                              <a:pt x="72" y="130"/>
                            </a:lnTo>
                            <a:lnTo>
                              <a:pt x="72" y="130"/>
                            </a:lnTo>
                            <a:lnTo>
                              <a:pt x="70" y="126"/>
                            </a:lnTo>
                            <a:lnTo>
                              <a:pt x="72" y="124"/>
                            </a:lnTo>
                            <a:lnTo>
                              <a:pt x="76" y="120"/>
                            </a:lnTo>
                            <a:lnTo>
                              <a:pt x="80" y="120"/>
                            </a:lnTo>
                            <a:lnTo>
                              <a:pt x="86" y="120"/>
                            </a:lnTo>
                            <a:lnTo>
                              <a:pt x="86" y="120"/>
                            </a:lnTo>
                            <a:lnTo>
                              <a:pt x="88" y="120"/>
                            </a:lnTo>
                            <a:lnTo>
                              <a:pt x="88" y="120"/>
                            </a:lnTo>
                            <a:lnTo>
                              <a:pt x="88" y="114"/>
                            </a:lnTo>
                            <a:lnTo>
                              <a:pt x="86" y="110"/>
                            </a:lnTo>
                            <a:lnTo>
                              <a:pt x="84" y="108"/>
                            </a:lnTo>
                            <a:lnTo>
                              <a:pt x="82" y="108"/>
                            </a:lnTo>
                            <a:lnTo>
                              <a:pt x="82" y="108"/>
                            </a:lnTo>
                            <a:lnTo>
                              <a:pt x="78" y="106"/>
                            </a:lnTo>
                            <a:lnTo>
                              <a:pt x="76" y="104"/>
                            </a:lnTo>
                            <a:lnTo>
                              <a:pt x="76" y="98"/>
                            </a:lnTo>
                            <a:lnTo>
                              <a:pt x="76" y="98"/>
                            </a:lnTo>
                            <a:lnTo>
                              <a:pt x="92" y="96"/>
                            </a:lnTo>
                            <a:lnTo>
                              <a:pt x="106" y="94"/>
                            </a:lnTo>
                            <a:lnTo>
                              <a:pt x="106" y="94"/>
                            </a:lnTo>
                            <a:lnTo>
                              <a:pt x="112" y="92"/>
                            </a:lnTo>
                            <a:lnTo>
                              <a:pt x="112" y="90"/>
                            </a:lnTo>
                            <a:lnTo>
                              <a:pt x="110" y="88"/>
                            </a:lnTo>
                            <a:lnTo>
                              <a:pt x="112" y="88"/>
                            </a:lnTo>
                            <a:lnTo>
                              <a:pt x="112" y="88"/>
                            </a:lnTo>
                            <a:lnTo>
                              <a:pt x="116" y="88"/>
                            </a:lnTo>
                            <a:lnTo>
                              <a:pt x="118" y="90"/>
                            </a:lnTo>
                            <a:lnTo>
                              <a:pt x="118" y="92"/>
                            </a:lnTo>
                            <a:lnTo>
                              <a:pt x="120" y="92"/>
                            </a:lnTo>
                            <a:lnTo>
                              <a:pt x="120" y="92"/>
                            </a:lnTo>
                            <a:lnTo>
                              <a:pt x="122" y="92"/>
                            </a:lnTo>
                            <a:lnTo>
                              <a:pt x="122" y="90"/>
                            </a:lnTo>
                            <a:lnTo>
                              <a:pt x="124" y="88"/>
                            </a:lnTo>
                            <a:lnTo>
                              <a:pt x="126" y="88"/>
                            </a:lnTo>
                            <a:lnTo>
                              <a:pt x="126" y="88"/>
                            </a:lnTo>
                            <a:lnTo>
                              <a:pt x="128" y="88"/>
                            </a:lnTo>
                            <a:lnTo>
                              <a:pt x="128" y="90"/>
                            </a:lnTo>
                            <a:lnTo>
                              <a:pt x="128" y="96"/>
                            </a:lnTo>
                            <a:lnTo>
                              <a:pt x="128" y="102"/>
                            </a:lnTo>
                            <a:lnTo>
                              <a:pt x="130" y="104"/>
                            </a:lnTo>
                            <a:lnTo>
                              <a:pt x="134" y="104"/>
                            </a:lnTo>
                            <a:lnTo>
                              <a:pt x="134" y="104"/>
                            </a:lnTo>
                            <a:lnTo>
                              <a:pt x="138" y="108"/>
                            </a:lnTo>
                            <a:lnTo>
                              <a:pt x="140" y="108"/>
                            </a:lnTo>
                            <a:lnTo>
                              <a:pt x="142" y="108"/>
                            </a:lnTo>
                            <a:lnTo>
                              <a:pt x="142" y="108"/>
                            </a:lnTo>
                            <a:lnTo>
                              <a:pt x="146" y="110"/>
                            </a:lnTo>
                            <a:lnTo>
                              <a:pt x="152" y="114"/>
                            </a:lnTo>
                            <a:lnTo>
                              <a:pt x="158" y="116"/>
                            </a:lnTo>
                            <a:lnTo>
                              <a:pt x="160" y="116"/>
                            </a:lnTo>
                            <a:lnTo>
                              <a:pt x="162" y="116"/>
                            </a:lnTo>
                            <a:lnTo>
                              <a:pt x="162" y="116"/>
                            </a:lnTo>
                            <a:lnTo>
                              <a:pt x="168" y="114"/>
                            </a:lnTo>
                            <a:lnTo>
                              <a:pt x="170" y="114"/>
                            </a:lnTo>
                            <a:lnTo>
                              <a:pt x="174" y="114"/>
                            </a:lnTo>
                            <a:lnTo>
                              <a:pt x="178" y="110"/>
                            </a:lnTo>
                            <a:lnTo>
                              <a:pt x="178" y="110"/>
                            </a:lnTo>
                            <a:lnTo>
                              <a:pt x="186" y="102"/>
                            </a:lnTo>
                            <a:lnTo>
                              <a:pt x="190" y="100"/>
                            </a:lnTo>
                            <a:lnTo>
                              <a:pt x="192" y="100"/>
                            </a:lnTo>
                            <a:lnTo>
                              <a:pt x="194" y="98"/>
                            </a:lnTo>
                            <a:lnTo>
                              <a:pt x="194" y="98"/>
                            </a:lnTo>
                            <a:lnTo>
                              <a:pt x="196" y="96"/>
                            </a:lnTo>
                            <a:lnTo>
                              <a:pt x="198" y="96"/>
                            </a:lnTo>
                            <a:lnTo>
                              <a:pt x="200" y="96"/>
                            </a:lnTo>
                            <a:lnTo>
                              <a:pt x="202" y="90"/>
                            </a:lnTo>
                            <a:lnTo>
                              <a:pt x="202" y="90"/>
                            </a:lnTo>
                            <a:lnTo>
                              <a:pt x="202" y="84"/>
                            </a:lnTo>
                            <a:lnTo>
                              <a:pt x="206" y="82"/>
                            </a:lnTo>
                            <a:lnTo>
                              <a:pt x="210" y="82"/>
                            </a:lnTo>
                            <a:lnTo>
                              <a:pt x="218" y="78"/>
                            </a:lnTo>
                            <a:lnTo>
                              <a:pt x="218" y="78"/>
                            </a:lnTo>
                            <a:lnTo>
                              <a:pt x="216" y="70"/>
                            </a:lnTo>
                            <a:lnTo>
                              <a:pt x="210" y="70"/>
                            </a:lnTo>
                            <a:lnTo>
                              <a:pt x="210" y="70"/>
                            </a:lnTo>
                            <a:lnTo>
                              <a:pt x="206" y="70"/>
                            </a:lnTo>
                            <a:lnTo>
                              <a:pt x="202" y="68"/>
                            </a:lnTo>
                            <a:lnTo>
                              <a:pt x="198" y="62"/>
                            </a:lnTo>
                            <a:lnTo>
                              <a:pt x="196" y="54"/>
                            </a:lnTo>
                            <a:lnTo>
                              <a:pt x="198" y="46"/>
                            </a:lnTo>
                            <a:lnTo>
                              <a:pt x="198" y="46"/>
                            </a:lnTo>
                            <a:lnTo>
                              <a:pt x="198" y="42"/>
                            </a:lnTo>
                            <a:lnTo>
                              <a:pt x="198" y="38"/>
                            </a:lnTo>
                            <a:lnTo>
                              <a:pt x="192" y="32"/>
                            </a:lnTo>
                            <a:lnTo>
                              <a:pt x="188" y="28"/>
                            </a:lnTo>
                            <a:lnTo>
                              <a:pt x="188" y="26"/>
                            </a:lnTo>
                            <a:lnTo>
                              <a:pt x="192" y="24"/>
                            </a:lnTo>
                            <a:lnTo>
                              <a:pt x="192" y="24"/>
                            </a:lnTo>
                            <a:lnTo>
                              <a:pt x="198" y="24"/>
                            </a:lnTo>
                            <a:lnTo>
                              <a:pt x="202" y="24"/>
                            </a:lnTo>
                            <a:lnTo>
                              <a:pt x="210" y="28"/>
                            </a:lnTo>
                            <a:lnTo>
                              <a:pt x="216" y="30"/>
                            </a:lnTo>
                            <a:lnTo>
                              <a:pt x="218" y="30"/>
                            </a:lnTo>
                            <a:lnTo>
                              <a:pt x="224" y="30"/>
                            </a:lnTo>
                            <a:lnTo>
                              <a:pt x="224" y="30"/>
                            </a:lnTo>
                            <a:lnTo>
                              <a:pt x="232" y="28"/>
                            </a:lnTo>
                            <a:lnTo>
                              <a:pt x="238" y="30"/>
                            </a:lnTo>
                            <a:lnTo>
                              <a:pt x="240" y="30"/>
                            </a:lnTo>
                            <a:lnTo>
                              <a:pt x="242" y="30"/>
                            </a:lnTo>
                            <a:lnTo>
                              <a:pt x="242" y="30"/>
                            </a:lnTo>
                            <a:lnTo>
                              <a:pt x="244" y="28"/>
                            </a:lnTo>
                            <a:lnTo>
                              <a:pt x="244" y="28"/>
                            </a:lnTo>
                            <a:lnTo>
                              <a:pt x="242" y="26"/>
                            </a:lnTo>
                            <a:lnTo>
                              <a:pt x="244" y="26"/>
                            </a:lnTo>
                            <a:lnTo>
                              <a:pt x="244" y="26"/>
                            </a:lnTo>
                            <a:lnTo>
                              <a:pt x="250" y="24"/>
                            </a:lnTo>
                            <a:lnTo>
                              <a:pt x="256" y="22"/>
                            </a:lnTo>
                            <a:lnTo>
                              <a:pt x="264" y="16"/>
                            </a:lnTo>
                            <a:lnTo>
                              <a:pt x="264" y="16"/>
                            </a:lnTo>
                            <a:lnTo>
                              <a:pt x="268" y="12"/>
                            </a:lnTo>
                            <a:lnTo>
                              <a:pt x="272" y="10"/>
                            </a:lnTo>
                            <a:lnTo>
                              <a:pt x="274" y="8"/>
                            </a:lnTo>
                            <a:lnTo>
                              <a:pt x="276" y="0"/>
                            </a:lnTo>
                            <a:lnTo>
                              <a:pt x="276" y="0"/>
                            </a:lnTo>
                            <a:lnTo>
                              <a:pt x="282" y="2"/>
                            </a:lnTo>
                            <a:lnTo>
                              <a:pt x="286" y="2"/>
                            </a:lnTo>
                            <a:lnTo>
                              <a:pt x="288" y="2"/>
                            </a:lnTo>
                            <a:lnTo>
                              <a:pt x="288" y="8"/>
                            </a:lnTo>
                            <a:lnTo>
                              <a:pt x="288" y="8"/>
                            </a:lnTo>
                            <a:lnTo>
                              <a:pt x="286" y="12"/>
                            </a:lnTo>
                            <a:lnTo>
                              <a:pt x="290" y="12"/>
                            </a:lnTo>
                            <a:lnTo>
                              <a:pt x="294" y="12"/>
                            </a:lnTo>
                            <a:lnTo>
                              <a:pt x="294" y="14"/>
                            </a:lnTo>
                            <a:lnTo>
                              <a:pt x="294" y="16"/>
                            </a:lnTo>
                            <a:lnTo>
                              <a:pt x="294" y="16"/>
                            </a:lnTo>
                            <a:lnTo>
                              <a:pt x="296" y="20"/>
                            </a:lnTo>
                            <a:lnTo>
                              <a:pt x="296" y="24"/>
                            </a:lnTo>
                            <a:lnTo>
                              <a:pt x="300" y="26"/>
                            </a:lnTo>
                            <a:lnTo>
                              <a:pt x="300" y="26"/>
                            </a:lnTo>
                            <a:lnTo>
                              <a:pt x="300" y="28"/>
                            </a:lnTo>
                            <a:lnTo>
                              <a:pt x="294" y="36"/>
                            </a:lnTo>
                            <a:lnTo>
                              <a:pt x="294" y="36"/>
                            </a:lnTo>
                            <a:lnTo>
                              <a:pt x="290" y="42"/>
                            </a:lnTo>
                            <a:lnTo>
                              <a:pt x="290" y="46"/>
                            </a:lnTo>
                            <a:lnTo>
                              <a:pt x="292" y="48"/>
                            </a:lnTo>
                            <a:lnTo>
                              <a:pt x="290" y="50"/>
                            </a:lnTo>
                            <a:lnTo>
                              <a:pt x="290" y="50"/>
                            </a:lnTo>
                            <a:lnTo>
                              <a:pt x="290" y="54"/>
                            </a:lnTo>
                            <a:lnTo>
                              <a:pt x="292" y="56"/>
                            </a:lnTo>
                            <a:lnTo>
                              <a:pt x="294" y="60"/>
                            </a:lnTo>
                            <a:lnTo>
                              <a:pt x="292" y="62"/>
                            </a:lnTo>
                            <a:lnTo>
                              <a:pt x="292" y="62"/>
                            </a:lnTo>
                            <a:lnTo>
                              <a:pt x="290" y="66"/>
                            </a:lnTo>
                            <a:lnTo>
                              <a:pt x="292" y="68"/>
                            </a:lnTo>
                            <a:lnTo>
                              <a:pt x="294" y="70"/>
                            </a:lnTo>
                            <a:lnTo>
                              <a:pt x="296" y="76"/>
                            </a:lnTo>
                            <a:lnTo>
                              <a:pt x="296" y="76"/>
                            </a:lnTo>
                            <a:lnTo>
                              <a:pt x="298" y="84"/>
                            </a:lnTo>
                            <a:lnTo>
                              <a:pt x="300" y="86"/>
                            </a:lnTo>
                            <a:lnTo>
                              <a:pt x="302" y="88"/>
                            </a:lnTo>
                            <a:lnTo>
                              <a:pt x="302" y="90"/>
                            </a:lnTo>
                            <a:lnTo>
                              <a:pt x="302" y="90"/>
                            </a:lnTo>
                            <a:lnTo>
                              <a:pt x="304" y="96"/>
                            </a:lnTo>
                            <a:lnTo>
                              <a:pt x="308" y="98"/>
                            </a:lnTo>
                            <a:lnTo>
                              <a:pt x="310" y="100"/>
                            </a:lnTo>
                            <a:lnTo>
                              <a:pt x="314" y="102"/>
                            </a:lnTo>
                            <a:lnTo>
                              <a:pt x="314" y="102"/>
                            </a:lnTo>
                            <a:lnTo>
                              <a:pt x="316" y="100"/>
                            </a:lnTo>
                            <a:lnTo>
                              <a:pt x="318" y="98"/>
                            </a:lnTo>
                            <a:lnTo>
                              <a:pt x="322" y="100"/>
                            </a:lnTo>
                            <a:lnTo>
                              <a:pt x="322" y="100"/>
                            </a:lnTo>
                            <a:lnTo>
                              <a:pt x="322" y="96"/>
                            </a:lnTo>
                            <a:lnTo>
                              <a:pt x="326" y="92"/>
                            </a:lnTo>
                            <a:lnTo>
                              <a:pt x="334" y="90"/>
                            </a:lnTo>
                            <a:lnTo>
                              <a:pt x="334" y="90"/>
                            </a:lnTo>
                            <a:lnTo>
                              <a:pt x="342" y="86"/>
                            </a:lnTo>
                            <a:lnTo>
                              <a:pt x="344" y="84"/>
                            </a:lnTo>
                            <a:lnTo>
                              <a:pt x="346" y="82"/>
                            </a:lnTo>
                            <a:lnTo>
                              <a:pt x="348" y="82"/>
                            </a:lnTo>
                            <a:lnTo>
                              <a:pt x="348" y="82"/>
                            </a:lnTo>
                            <a:lnTo>
                              <a:pt x="348" y="82"/>
                            </a:lnTo>
                            <a:lnTo>
                              <a:pt x="350" y="84"/>
                            </a:lnTo>
                            <a:lnTo>
                              <a:pt x="352" y="86"/>
                            </a:lnTo>
                            <a:lnTo>
                              <a:pt x="360" y="84"/>
                            </a:lnTo>
                            <a:lnTo>
                              <a:pt x="360" y="84"/>
                            </a:lnTo>
                            <a:lnTo>
                              <a:pt x="374" y="86"/>
                            </a:lnTo>
                            <a:lnTo>
                              <a:pt x="378" y="84"/>
                            </a:lnTo>
                            <a:lnTo>
                              <a:pt x="378" y="82"/>
                            </a:lnTo>
                            <a:lnTo>
                              <a:pt x="374" y="80"/>
                            </a:lnTo>
                            <a:lnTo>
                              <a:pt x="372" y="78"/>
                            </a:lnTo>
                            <a:lnTo>
                              <a:pt x="376" y="76"/>
                            </a:lnTo>
                            <a:lnTo>
                              <a:pt x="376" y="76"/>
                            </a:lnTo>
                            <a:lnTo>
                              <a:pt x="378" y="78"/>
                            </a:lnTo>
                            <a:lnTo>
                              <a:pt x="380" y="78"/>
                            </a:lnTo>
                            <a:lnTo>
                              <a:pt x="384" y="78"/>
                            </a:lnTo>
                            <a:lnTo>
                              <a:pt x="384" y="78"/>
                            </a:lnTo>
                            <a:lnTo>
                              <a:pt x="386" y="78"/>
                            </a:lnTo>
                            <a:lnTo>
                              <a:pt x="388" y="76"/>
                            </a:lnTo>
                            <a:lnTo>
                              <a:pt x="388" y="74"/>
                            </a:lnTo>
                            <a:lnTo>
                              <a:pt x="392" y="72"/>
                            </a:lnTo>
                            <a:lnTo>
                              <a:pt x="392" y="72"/>
                            </a:lnTo>
                            <a:lnTo>
                              <a:pt x="394" y="74"/>
                            </a:lnTo>
                            <a:lnTo>
                              <a:pt x="396" y="74"/>
                            </a:lnTo>
                            <a:lnTo>
                              <a:pt x="396" y="76"/>
                            </a:lnTo>
                            <a:lnTo>
                              <a:pt x="400" y="76"/>
                            </a:lnTo>
                            <a:lnTo>
                              <a:pt x="400" y="76"/>
                            </a:lnTo>
                            <a:lnTo>
                              <a:pt x="404" y="78"/>
                            </a:lnTo>
                            <a:lnTo>
                              <a:pt x="406" y="78"/>
                            </a:lnTo>
                            <a:lnTo>
                              <a:pt x="406" y="78"/>
                            </a:lnTo>
                            <a:lnTo>
                              <a:pt x="410" y="78"/>
                            </a:lnTo>
                            <a:lnTo>
                              <a:pt x="410" y="80"/>
                            </a:lnTo>
                            <a:lnTo>
                              <a:pt x="412" y="80"/>
                            </a:lnTo>
                            <a:lnTo>
                              <a:pt x="414" y="80"/>
                            </a:lnTo>
                            <a:lnTo>
                              <a:pt x="414" y="80"/>
                            </a:lnTo>
                            <a:lnTo>
                              <a:pt x="418" y="80"/>
                            </a:lnTo>
                            <a:lnTo>
                              <a:pt x="420" y="84"/>
                            </a:lnTo>
                            <a:lnTo>
                              <a:pt x="422" y="84"/>
                            </a:lnTo>
                            <a:lnTo>
                              <a:pt x="430" y="82"/>
                            </a:lnTo>
                            <a:lnTo>
                              <a:pt x="430" y="82"/>
                            </a:lnTo>
                            <a:lnTo>
                              <a:pt x="438" y="80"/>
                            </a:lnTo>
                            <a:lnTo>
                              <a:pt x="440" y="78"/>
                            </a:lnTo>
                            <a:lnTo>
                              <a:pt x="440" y="74"/>
                            </a:lnTo>
                            <a:lnTo>
                              <a:pt x="440" y="74"/>
                            </a:lnTo>
                            <a:lnTo>
                              <a:pt x="442" y="70"/>
                            </a:lnTo>
                            <a:lnTo>
                              <a:pt x="444" y="70"/>
                            </a:lnTo>
                            <a:lnTo>
                              <a:pt x="446" y="68"/>
                            </a:lnTo>
                            <a:lnTo>
                              <a:pt x="448" y="62"/>
                            </a:lnTo>
                            <a:lnTo>
                              <a:pt x="448" y="62"/>
                            </a:lnTo>
                            <a:lnTo>
                              <a:pt x="450" y="54"/>
                            </a:lnTo>
                            <a:lnTo>
                              <a:pt x="454" y="50"/>
                            </a:lnTo>
                            <a:lnTo>
                              <a:pt x="456" y="48"/>
                            </a:lnTo>
                            <a:lnTo>
                              <a:pt x="456" y="46"/>
                            </a:lnTo>
                            <a:lnTo>
                              <a:pt x="456" y="46"/>
                            </a:lnTo>
                            <a:lnTo>
                              <a:pt x="458" y="40"/>
                            </a:lnTo>
                            <a:lnTo>
                              <a:pt x="460" y="38"/>
                            </a:lnTo>
                            <a:lnTo>
                              <a:pt x="462" y="36"/>
                            </a:lnTo>
                            <a:lnTo>
                              <a:pt x="462" y="32"/>
                            </a:lnTo>
                            <a:lnTo>
                              <a:pt x="462" y="32"/>
                            </a:lnTo>
                            <a:lnTo>
                              <a:pt x="462" y="26"/>
                            </a:lnTo>
                            <a:lnTo>
                              <a:pt x="464" y="26"/>
                            </a:lnTo>
                            <a:lnTo>
                              <a:pt x="466" y="24"/>
                            </a:lnTo>
                            <a:lnTo>
                              <a:pt x="468" y="20"/>
                            </a:lnTo>
                            <a:lnTo>
                              <a:pt x="468" y="20"/>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2" name="Chile"/>
                      <p:cNvSpPr>
                        <a:spLocks/>
                      </p:cNvSpPr>
                      <p:nvPr/>
                    </p:nvSpPr>
                    <p:spPr bwMode="auto">
                      <a:xfrm>
                        <a:off x="3567488" y="4383303"/>
                        <a:ext cx="370593" cy="1198759"/>
                      </a:xfrm>
                      <a:custGeom>
                        <a:avLst/>
                        <a:gdLst/>
                        <a:ahLst/>
                        <a:cxnLst>
                          <a:cxn ang="0">
                            <a:pos x="218" y="766"/>
                          </a:cxn>
                          <a:cxn ang="0">
                            <a:pos x="212" y="776"/>
                          </a:cxn>
                          <a:cxn ang="0">
                            <a:pos x="186" y="786"/>
                          </a:cxn>
                          <a:cxn ang="0">
                            <a:pos x="198" y="782"/>
                          </a:cxn>
                          <a:cxn ang="0">
                            <a:pos x="184" y="766"/>
                          </a:cxn>
                          <a:cxn ang="0">
                            <a:pos x="184" y="774"/>
                          </a:cxn>
                          <a:cxn ang="0">
                            <a:pos x="198" y="774"/>
                          </a:cxn>
                          <a:cxn ang="0">
                            <a:pos x="176" y="784"/>
                          </a:cxn>
                          <a:cxn ang="0">
                            <a:pos x="160" y="770"/>
                          </a:cxn>
                          <a:cxn ang="0">
                            <a:pos x="162" y="762"/>
                          </a:cxn>
                          <a:cxn ang="0">
                            <a:pos x="158" y="760"/>
                          </a:cxn>
                          <a:cxn ang="0">
                            <a:pos x="134" y="738"/>
                          </a:cxn>
                          <a:cxn ang="0">
                            <a:pos x="124" y="720"/>
                          </a:cxn>
                          <a:cxn ang="0">
                            <a:pos x="128" y="708"/>
                          </a:cxn>
                          <a:cxn ang="0">
                            <a:pos x="112" y="696"/>
                          </a:cxn>
                          <a:cxn ang="0">
                            <a:pos x="104" y="682"/>
                          </a:cxn>
                          <a:cxn ang="0">
                            <a:pos x="104" y="680"/>
                          </a:cxn>
                          <a:cxn ang="0">
                            <a:pos x="98" y="658"/>
                          </a:cxn>
                          <a:cxn ang="0">
                            <a:pos x="76" y="656"/>
                          </a:cxn>
                          <a:cxn ang="0">
                            <a:pos x="82" y="640"/>
                          </a:cxn>
                          <a:cxn ang="0">
                            <a:pos x="108" y="640"/>
                          </a:cxn>
                          <a:cxn ang="0">
                            <a:pos x="102" y="608"/>
                          </a:cxn>
                          <a:cxn ang="0">
                            <a:pos x="96" y="574"/>
                          </a:cxn>
                          <a:cxn ang="0">
                            <a:pos x="82" y="554"/>
                          </a:cxn>
                          <a:cxn ang="0">
                            <a:pos x="68" y="536"/>
                          </a:cxn>
                          <a:cxn ang="0">
                            <a:pos x="58" y="492"/>
                          </a:cxn>
                          <a:cxn ang="0">
                            <a:pos x="42" y="460"/>
                          </a:cxn>
                          <a:cxn ang="0">
                            <a:pos x="50" y="448"/>
                          </a:cxn>
                          <a:cxn ang="0">
                            <a:pos x="50" y="420"/>
                          </a:cxn>
                          <a:cxn ang="0">
                            <a:pos x="56" y="374"/>
                          </a:cxn>
                          <a:cxn ang="0">
                            <a:pos x="30" y="288"/>
                          </a:cxn>
                          <a:cxn ang="0">
                            <a:pos x="40" y="284"/>
                          </a:cxn>
                          <a:cxn ang="0">
                            <a:pos x="30" y="270"/>
                          </a:cxn>
                          <a:cxn ang="0">
                            <a:pos x="34" y="176"/>
                          </a:cxn>
                          <a:cxn ang="0">
                            <a:pos x="22" y="136"/>
                          </a:cxn>
                          <a:cxn ang="0">
                            <a:pos x="26" y="92"/>
                          </a:cxn>
                          <a:cxn ang="0">
                            <a:pos x="16" y="52"/>
                          </a:cxn>
                          <a:cxn ang="0">
                            <a:pos x="0" y="12"/>
                          </a:cxn>
                          <a:cxn ang="0">
                            <a:pos x="42" y="38"/>
                          </a:cxn>
                          <a:cxn ang="0">
                            <a:pos x="70" y="124"/>
                          </a:cxn>
                          <a:cxn ang="0">
                            <a:pos x="78" y="158"/>
                          </a:cxn>
                          <a:cxn ang="0">
                            <a:pos x="72" y="196"/>
                          </a:cxn>
                          <a:cxn ang="0">
                            <a:pos x="74" y="234"/>
                          </a:cxn>
                          <a:cxn ang="0">
                            <a:pos x="62" y="270"/>
                          </a:cxn>
                          <a:cxn ang="0">
                            <a:pos x="60" y="326"/>
                          </a:cxn>
                          <a:cxn ang="0">
                            <a:pos x="74" y="354"/>
                          </a:cxn>
                          <a:cxn ang="0">
                            <a:pos x="92" y="376"/>
                          </a:cxn>
                          <a:cxn ang="0">
                            <a:pos x="88" y="422"/>
                          </a:cxn>
                          <a:cxn ang="0">
                            <a:pos x="98" y="476"/>
                          </a:cxn>
                          <a:cxn ang="0">
                            <a:pos x="90" y="500"/>
                          </a:cxn>
                          <a:cxn ang="0">
                            <a:pos x="104" y="546"/>
                          </a:cxn>
                          <a:cxn ang="0">
                            <a:pos x="106" y="566"/>
                          </a:cxn>
                          <a:cxn ang="0">
                            <a:pos x="110" y="586"/>
                          </a:cxn>
                          <a:cxn ang="0">
                            <a:pos x="114" y="598"/>
                          </a:cxn>
                          <a:cxn ang="0">
                            <a:pos x="126" y="622"/>
                          </a:cxn>
                          <a:cxn ang="0">
                            <a:pos x="132" y="650"/>
                          </a:cxn>
                          <a:cxn ang="0">
                            <a:pos x="134" y="682"/>
                          </a:cxn>
                          <a:cxn ang="0">
                            <a:pos x="144" y="714"/>
                          </a:cxn>
                          <a:cxn ang="0">
                            <a:pos x="162" y="730"/>
                          </a:cxn>
                          <a:cxn ang="0">
                            <a:pos x="180" y="754"/>
                          </a:cxn>
                        </a:cxnLst>
                        <a:rect l="0" t="0" r="r" b="b"/>
                        <a:pathLst>
                          <a:path w="244" h="790">
                            <a:moveTo>
                              <a:pt x="244" y="764"/>
                            </a:moveTo>
                            <a:lnTo>
                              <a:pt x="244" y="764"/>
                            </a:lnTo>
                            <a:lnTo>
                              <a:pt x="238" y="762"/>
                            </a:lnTo>
                            <a:lnTo>
                              <a:pt x="236" y="762"/>
                            </a:lnTo>
                            <a:lnTo>
                              <a:pt x="234" y="762"/>
                            </a:lnTo>
                            <a:lnTo>
                              <a:pt x="230" y="762"/>
                            </a:lnTo>
                            <a:lnTo>
                              <a:pt x="230" y="762"/>
                            </a:lnTo>
                            <a:lnTo>
                              <a:pt x="228" y="762"/>
                            </a:lnTo>
                            <a:lnTo>
                              <a:pt x="224" y="764"/>
                            </a:lnTo>
                            <a:lnTo>
                              <a:pt x="222" y="766"/>
                            </a:lnTo>
                            <a:lnTo>
                              <a:pt x="218" y="766"/>
                            </a:lnTo>
                            <a:lnTo>
                              <a:pt x="218" y="766"/>
                            </a:lnTo>
                            <a:lnTo>
                              <a:pt x="216" y="764"/>
                            </a:lnTo>
                            <a:lnTo>
                              <a:pt x="216" y="766"/>
                            </a:lnTo>
                            <a:lnTo>
                              <a:pt x="214" y="766"/>
                            </a:lnTo>
                            <a:lnTo>
                              <a:pt x="212" y="768"/>
                            </a:lnTo>
                            <a:lnTo>
                              <a:pt x="212" y="768"/>
                            </a:lnTo>
                            <a:lnTo>
                              <a:pt x="210" y="768"/>
                            </a:lnTo>
                            <a:lnTo>
                              <a:pt x="210" y="770"/>
                            </a:lnTo>
                            <a:lnTo>
                              <a:pt x="212" y="772"/>
                            </a:lnTo>
                            <a:lnTo>
                              <a:pt x="212" y="776"/>
                            </a:lnTo>
                            <a:lnTo>
                              <a:pt x="212" y="776"/>
                            </a:lnTo>
                            <a:lnTo>
                              <a:pt x="210" y="782"/>
                            </a:lnTo>
                            <a:lnTo>
                              <a:pt x="212" y="786"/>
                            </a:lnTo>
                            <a:lnTo>
                              <a:pt x="212" y="786"/>
                            </a:lnTo>
                            <a:lnTo>
                              <a:pt x="212" y="790"/>
                            </a:lnTo>
                            <a:lnTo>
                              <a:pt x="210" y="790"/>
                            </a:lnTo>
                            <a:lnTo>
                              <a:pt x="204" y="790"/>
                            </a:lnTo>
                            <a:lnTo>
                              <a:pt x="198" y="790"/>
                            </a:lnTo>
                            <a:lnTo>
                              <a:pt x="198" y="790"/>
                            </a:lnTo>
                            <a:lnTo>
                              <a:pt x="190" y="788"/>
                            </a:lnTo>
                            <a:lnTo>
                              <a:pt x="188" y="788"/>
                            </a:lnTo>
                            <a:lnTo>
                              <a:pt x="186" y="786"/>
                            </a:lnTo>
                            <a:lnTo>
                              <a:pt x="186" y="786"/>
                            </a:lnTo>
                            <a:lnTo>
                              <a:pt x="188" y="784"/>
                            </a:lnTo>
                            <a:lnTo>
                              <a:pt x="188" y="782"/>
                            </a:lnTo>
                            <a:lnTo>
                              <a:pt x="194" y="780"/>
                            </a:lnTo>
                            <a:lnTo>
                              <a:pt x="194" y="780"/>
                            </a:lnTo>
                            <a:lnTo>
                              <a:pt x="196" y="782"/>
                            </a:lnTo>
                            <a:lnTo>
                              <a:pt x="198" y="784"/>
                            </a:lnTo>
                            <a:lnTo>
                              <a:pt x="198" y="786"/>
                            </a:lnTo>
                            <a:lnTo>
                              <a:pt x="198" y="786"/>
                            </a:lnTo>
                            <a:lnTo>
                              <a:pt x="198" y="786"/>
                            </a:lnTo>
                            <a:lnTo>
                              <a:pt x="198" y="782"/>
                            </a:lnTo>
                            <a:lnTo>
                              <a:pt x="200" y="780"/>
                            </a:lnTo>
                            <a:lnTo>
                              <a:pt x="202" y="778"/>
                            </a:lnTo>
                            <a:lnTo>
                              <a:pt x="202" y="778"/>
                            </a:lnTo>
                            <a:lnTo>
                              <a:pt x="204" y="776"/>
                            </a:lnTo>
                            <a:lnTo>
                              <a:pt x="204" y="774"/>
                            </a:lnTo>
                            <a:lnTo>
                              <a:pt x="202" y="770"/>
                            </a:lnTo>
                            <a:lnTo>
                              <a:pt x="200" y="768"/>
                            </a:lnTo>
                            <a:lnTo>
                              <a:pt x="200" y="768"/>
                            </a:lnTo>
                            <a:lnTo>
                              <a:pt x="192" y="764"/>
                            </a:lnTo>
                            <a:lnTo>
                              <a:pt x="188" y="766"/>
                            </a:lnTo>
                            <a:lnTo>
                              <a:pt x="184" y="766"/>
                            </a:lnTo>
                            <a:lnTo>
                              <a:pt x="184" y="766"/>
                            </a:lnTo>
                            <a:lnTo>
                              <a:pt x="182" y="768"/>
                            </a:lnTo>
                            <a:lnTo>
                              <a:pt x="180" y="768"/>
                            </a:lnTo>
                            <a:lnTo>
                              <a:pt x="178" y="768"/>
                            </a:lnTo>
                            <a:lnTo>
                              <a:pt x="174" y="766"/>
                            </a:lnTo>
                            <a:lnTo>
                              <a:pt x="174" y="766"/>
                            </a:lnTo>
                            <a:lnTo>
                              <a:pt x="172" y="768"/>
                            </a:lnTo>
                            <a:lnTo>
                              <a:pt x="172" y="770"/>
                            </a:lnTo>
                            <a:lnTo>
                              <a:pt x="180" y="774"/>
                            </a:lnTo>
                            <a:lnTo>
                              <a:pt x="180" y="774"/>
                            </a:lnTo>
                            <a:lnTo>
                              <a:pt x="184" y="774"/>
                            </a:lnTo>
                            <a:lnTo>
                              <a:pt x="186" y="772"/>
                            </a:lnTo>
                            <a:lnTo>
                              <a:pt x="188" y="770"/>
                            </a:lnTo>
                            <a:lnTo>
                              <a:pt x="190" y="770"/>
                            </a:lnTo>
                            <a:lnTo>
                              <a:pt x="190" y="770"/>
                            </a:lnTo>
                            <a:lnTo>
                              <a:pt x="192" y="770"/>
                            </a:lnTo>
                            <a:lnTo>
                              <a:pt x="194" y="768"/>
                            </a:lnTo>
                            <a:lnTo>
                              <a:pt x="196" y="768"/>
                            </a:lnTo>
                            <a:lnTo>
                              <a:pt x="200" y="770"/>
                            </a:lnTo>
                            <a:lnTo>
                              <a:pt x="200" y="770"/>
                            </a:lnTo>
                            <a:lnTo>
                              <a:pt x="200" y="774"/>
                            </a:lnTo>
                            <a:lnTo>
                              <a:pt x="198" y="774"/>
                            </a:lnTo>
                            <a:lnTo>
                              <a:pt x="196" y="776"/>
                            </a:lnTo>
                            <a:lnTo>
                              <a:pt x="192" y="778"/>
                            </a:lnTo>
                            <a:lnTo>
                              <a:pt x="192" y="778"/>
                            </a:lnTo>
                            <a:lnTo>
                              <a:pt x="188" y="780"/>
                            </a:lnTo>
                            <a:lnTo>
                              <a:pt x="184" y="782"/>
                            </a:lnTo>
                            <a:lnTo>
                              <a:pt x="182" y="782"/>
                            </a:lnTo>
                            <a:lnTo>
                              <a:pt x="182" y="784"/>
                            </a:lnTo>
                            <a:lnTo>
                              <a:pt x="182" y="784"/>
                            </a:lnTo>
                            <a:lnTo>
                              <a:pt x="182" y="786"/>
                            </a:lnTo>
                            <a:lnTo>
                              <a:pt x="180" y="786"/>
                            </a:lnTo>
                            <a:lnTo>
                              <a:pt x="176" y="784"/>
                            </a:lnTo>
                            <a:lnTo>
                              <a:pt x="172" y="782"/>
                            </a:lnTo>
                            <a:lnTo>
                              <a:pt x="170" y="778"/>
                            </a:lnTo>
                            <a:lnTo>
                              <a:pt x="170" y="778"/>
                            </a:lnTo>
                            <a:lnTo>
                              <a:pt x="170" y="776"/>
                            </a:lnTo>
                            <a:lnTo>
                              <a:pt x="166" y="776"/>
                            </a:lnTo>
                            <a:lnTo>
                              <a:pt x="164" y="778"/>
                            </a:lnTo>
                            <a:lnTo>
                              <a:pt x="164" y="776"/>
                            </a:lnTo>
                            <a:lnTo>
                              <a:pt x="164" y="776"/>
                            </a:lnTo>
                            <a:lnTo>
                              <a:pt x="164" y="774"/>
                            </a:lnTo>
                            <a:lnTo>
                              <a:pt x="162" y="772"/>
                            </a:lnTo>
                            <a:lnTo>
                              <a:pt x="160" y="770"/>
                            </a:lnTo>
                            <a:lnTo>
                              <a:pt x="162" y="770"/>
                            </a:lnTo>
                            <a:lnTo>
                              <a:pt x="162" y="770"/>
                            </a:lnTo>
                            <a:lnTo>
                              <a:pt x="164" y="768"/>
                            </a:lnTo>
                            <a:lnTo>
                              <a:pt x="160" y="768"/>
                            </a:lnTo>
                            <a:lnTo>
                              <a:pt x="156" y="766"/>
                            </a:lnTo>
                            <a:lnTo>
                              <a:pt x="154" y="764"/>
                            </a:lnTo>
                            <a:lnTo>
                              <a:pt x="154" y="764"/>
                            </a:lnTo>
                            <a:lnTo>
                              <a:pt x="152" y="762"/>
                            </a:lnTo>
                            <a:lnTo>
                              <a:pt x="154" y="762"/>
                            </a:lnTo>
                            <a:lnTo>
                              <a:pt x="158" y="762"/>
                            </a:lnTo>
                            <a:lnTo>
                              <a:pt x="162" y="762"/>
                            </a:lnTo>
                            <a:lnTo>
                              <a:pt x="162" y="762"/>
                            </a:lnTo>
                            <a:lnTo>
                              <a:pt x="162" y="760"/>
                            </a:lnTo>
                            <a:lnTo>
                              <a:pt x="160" y="756"/>
                            </a:lnTo>
                            <a:lnTo>
                              <a:pt x="150" y="748"/>
                            </a:lnTo>
                            <a:lnTo>
                              <a:pt x="150" y="748"/>
                            </a:lnTo>
                            <a:lnTo>
                              <a:pt x="152" y="752"/>
                            </a:lnTo>
                            <a:lnTo>
                              <a:pt x="156" y="756"/>
                            </a:lnTo>
                            <a:lnTo>
                              <a:pt x="160" y="760"/>
                            </a:lnTo>
                            <a:lnTo>
                              <a:pt x="160" y="760"/>
                            </a:lnTo>
                            <a:lnTo>
                              <a:pt x="158" y="760"/>
                            </a:lnTo>
                            <a:lnTo>
                              <a:pt x="158" y="760"/>
                            </a:lnTo>
                            <a:lnTo>
                              <a:pt x="154" y="758"/>
                            </a:lnTo>
                            <a:lnTo>
                              <a:pt x="148" y="754"/>
                            </a:lnTo>
                            <a:lnTo>
                              <a:pt x="146" y="748"/>
                            </a:lnTo>
                            <a:lnTo>
                              <a:pt x="144" y="744"/>
                            </a:lnTo>
                            <a:lnTo>
                              <a:pt x="144" y="744"/>
                            </a:lnTo>
                            <a:lnTo>
                              <a:pt x="138" y="744"/>
                            </a:lnTo>
                            <a:lnTo>
                              <a:pt x="136" y="742"/>
                            </a:lnTo>
                            <a:lnTo>
                              <a:pt x="132" y="740"/>
                            </a:lnTo>
                            <a:lnTo>
                              <a:pt x="132" y="740"/>
                            </a:lnTo>
                            <a:lnTo>
                              <a:pt x="132" y="738"/>
                            </a:lnTo>
                            <a:lnTo>
                              <a:pt x="134" y="738"/>
                            </a:lnTo>
                            <a:lnTo>
                              <a:pt x="140" y="736"/>
                            </a:lnTo>
                            <a:lnTo>
                              <a:pt x="140" y="736"/>
                            </a:lnTo>
                            <a:lnTo>
                              <a:pt x="136" y="736"/>
                            </a:lnTo>
                            <a:lnTo>
                              <a:pt x="132" y="734"/>
                            </a:lnTo>
                            <a:lnTo>
                              <a:pt x="130" y="732"/>
                            </a:lnTo>
                            <a:lnTo>
                              <a:pt x="124" y="730"/>
                            </a:lnTo>
                            <a:lnTo>
                              <a:pt x="124" y="730"/>
                            </a:lnTo>
                            <a:lnTo>
                              <a:pt x="118" y="728"/>
                            </a:lnTo>
                            <a:lnTo>
                              <a:pt x="124" y="722"/>
                            </a:lnTo>
                            <a:lnTo>
                              <a:pt x="124" y="722"/>
                            </a:lnTo>
                            <a:lnTo>
                              <a:pt x="124" y="720"/>
                            </a:lnTo>
                            <a:lnTo>
                              <a:pt x="126" y="718"/>
                            </a:lnTo>
                            <a:lnTo>
                              <a:pt x="130" y="720"/>
                            </a:lnTo>
                            <a:lnTo>
                              <a:pt x="132" y="724"/>
                            </a:lnTo>
                            <a:lnTo>
                              <a:pt x="132" y="724"/>
                            </a:lnTo>
                            <a:lnTo>
                              <a:pt x="134" y="722"/>
                            </a:lnTo>
                            <a:lnTo>
                              <a:pt x="134" y="722"/>
                            </a:lnTo>
                            <a:lnTo>
                              <a:pt x="132" y="718"/>
                            </a:lnTo>
                            <a:lnTo>
                              <a:pt x="130" y="718"/>
                            </a:lnTo>
                            <a:lnTo>
                              <a:pt x="130" y="714"/>
                            </a:lnTo>
                            <a:lnTo>
                              <a:pt x="128" y="708"/>
                            </a:lnTo>
                            <a:lnTo>
                              <a:pt x="128" y="708"/>
                            </a:lnTo>
                            <a:lnTo>
                              <a:pt x="124" y="716"/>
                            </a:lnTo>
                            <a:lnTo>
                              <a:pt x="122" y="716"/>
                            </a:lnTo>
                            <a:lnTo>
                              <a:pt x="120" y="712"/>
                            </a:lnTo>
                            <a:lnTo>
                              <a:pt x="120" y="712"/>
                            </a:lnTo>
                            <a:lnTo>
                              <a:pt x="118" y="710"/>
                            </a:lnTo>
                            <a:lnTo>
                              <a:pt x="116" y="710"/>
                            </a:lnTo>
                            <a:lnTo>
                              <a:pt x="116" y="708"/>
                            </a:lnTo>
                            <a:lnTo>
                              <a:pt x="114" y="704"/>
                            </a:lnTo>
                            <a:lnTo>
                              <a:pt x="114" y="704"/>
                            </a:lnTo>
                            <a:lnTo>
                              <a:pt x="112" y="698"/>
                            </a:lnTo>
                            <a:lnTo>
                              <a:pt x="112" y="696"/>
                            </a:lnTo>
                            <a:lnTo>
                              <a:pt x="114" y="692"/>
                            </a:lnTo>
                            <a:lnTo>
                              <a:pt x="114" y="692"/>
                            </a:lnTo>
                            <a:lnTo>
                              <a:pt x="110" y="694"/>
                            </a:lnTo>
                            <a:lnTo>
                              <a:pt x="108" y="694"/>
                            </a:lnTo>
                            <a:lnTo>
                              <a:pt x="108" y="692"/>
                            </a:lnTo>
                            <a:lnTo>
                              <a:pt x="106" y="688"/>
                            </a:lnTo>
                            <a:lnTo>
                              <a:pt x="106" y="688"/>
                            </a:lnTo>
                            <a:lnTo>
                              <a:pt x="102" y="684"/>
                            </a:lnTo>
                            <a:lnTo>
                              <a:pt x="102" y="682"/>
                            </a:lnTo>
                            <a:lnTo>
                              <a:pt x="104" y="682"/>
                            </a:lnTo>
                            <a:lnTo>
                              <a:pt x="104" y="682"/>
                            </a:lnTo>
                            <a:lnTo>
                              <a:pt x="108" y="682"/>
                            </a:lnTo>
                            <a:lnTo>
                              <a:pt x="110" y="682"/>
                            </a:lnTo>
                            <a:lnTo>
                              <a:pt x="114" y="682"/>
                            </a:lnTo>
                            <a:lnTo>
                              <a:pt x="124" y="684"/>
                            </a:lnTo>
                            <a:lnTo>
                              <a:pt x="124" y="684"/>
                            </a:lnTo>
                            <a:lnTo>
                              <a:pt x="118" y="680"/>
                            </a:lnTo>
                            <a:lnTo>
                              <a:pt x="116" y="678"/>
                            </a:lnTo>
                            <a:lnTo>
                              <a:pt x="114" y="678"/>
                            </a:lnTo>
                            <a:lnTo>
                              <a:pt x="112" y="678"/>
                            </a:lnTo>
                            <a:lnTo>
                              <a:pt x="108" y="680"/>
                            </a:lnTo>
                            <a:lnTo>
                              <a:pt x="104" y="680"/>
                            </a:lnTo>
                            <a:lnTo>
                              <a:pt x="102" y="678"/>
                            </a:lnTo>
                            <a:lnTo>
                              <a:pt x="102" y="678"/>
                            </a:lnTo>
                            <a:lnTo>
                              <a:pt x="96" y="676"/>
                            </a:lnTo>
                            <a:lnTo>
                              <a:pt x="96" y="674"/>
                            </a:lnTo>
                            <a:lnTo>
                              <a:pt x="100" y="670"/>
                            </a:lnTo>
                            <a:lnTo>
                              <a:pt x="100" y="670"/>
                            </a:lnTo>
                            <a:lnTo>
                              <a:pt x="102" y="664"/>
                            </a:lnTo>
                            <a:lnTo>
                              <a:pt x="102" y="660"/>
                            </a:lnTo>
                            <a:lnTo>
                              <a:pt x="102" y="658"/>
                            </a:lnTo>
                            <a:lnTo>
                              <a:pt x="98" y="658"/>
                            </a:lnTo>
                            <a:lnTo>
                              <a:pt x="98" y="658"/>
                            </a:lnTo>
                            <a:lnTo>
                              <a:pt x="96" y="658"/>
                            </a:lnTo>
                            <a:lnTo>
                              <a:pt x="90" y="658"/>
                            </a:lnTo>
                            <a:lnTo>
                              <a:pt x="86" y="658"/>
                            </a:lnTo>
                            <a:lnTo>
                              <a:pt x="82" y="656"/>
                            </a:lnTo>
                            <a:lnTo>
                              <a:pt x="82" y="656"/>
                            </a:lnTo>
                            <a:lnTo>
                              <a:pt x="80" y="654"/>
                            </a:lnTo>
                            <a:lnTo>
                              <a:pt x="80" y="656"/>
                            </a:lnTo>
                            <a:lnTo>
                              <a:pt x="80" y="662"/>
                            </a:lnTo>
                            <a:lnTo>
                              <a:pt x="80" y="662"/>
                            </a:lnTo>
                            <a:lnTo>
                              <a:pt x="78" y="658"/>
                            </a:lnTo>
                            <a:lnTo>
                              <a:pt x="76" y="656"/>
                            </a:lnTo>
                            <a:lnTo>
                              <a:pt x="74" y="656"/>
                            </a:lnTo>
                            <a:lnTo>
                              <a:pt x="78" y="650"/>
                            </a:lnTo>
                            <a:lnTo>
                              <a:pt x="78" y="650"/>
                            </a:lnTo>
                            <a:lnTo>
                              <a:pt x="80" y="648"/>
                            </a:lnTo>
                            <a:lnTo>
                              <a:pt x="82" y="648"/>
                            </a:lnTo>
                            <a:lnTo>
                              <a:pt x="82" y="648"/>
                            </a:lnTo>
                            <a:lnTo>
                              <a:pt x="84" y="646"/>
                            </a:lnTo>
                            <a:lnTo>
                              <a:pt x="84" y="646"/>
                            </a:lnTo>
                            <a:lnTo>
                              <a:pt x="84" y="642"/>
                            </a:lnTo>
                            <a:lnTo>
                              <a:pt x="84" y="642"/>
                            </a:lnTo>
                            <a:lnTo>
                              <a:pt x="82" y="640"/>
                            </a:lnTo>
                            <a:lnTo>
                              <a:pt x="88" y="638"/>
                            </a:lnTo>
                            <a:lnTo>
                              <a:pt x="88" y="638"/>
                            </a:lnTo>
                            <a:lnTo>
                              <a:pt x="90" y="638"/>
                            </a:lnTo>
                            <a:lnTo>
                              <a:pt x="94" y="638"/>
                            </a:lnTo>
                            <a:lnTo>
                              <a:pt x="98" y="642"/>
                            </a:lnTo>
                            <a:lnTo>
                              <a:pt x="102" y="646"/>
                            </a:lnTo>
                            <a:lnTo>
                              <a:pt x="104" y="646"/>
                            </a:lnTo>
                            <a:lnTo>
                              <a:pt x="104" y="646"/>
                            </a:lnTo>
                            <a:lnTo>
                              <a:pt x="106" y="644"/>
                            </a:lnTo>
                            <a:lnTo>
                              <a:pt x="106" y="642"/>
                            </a:lnTo>
                            <a:lnTo>
                              <a:pt x="108" y="640"/>
                            </a:lnTo>
                            <a:lnTo>
                              <a:pt x="110" y="636"/>
                            </a:lnTo>
                            <a:lnTo>
                              <a:pt x="110" y="636"/>
                            </a:lnTo>
                            <a:lnTo>
                              <a:pt x="112" y="632"/>
                            </a:lnTo>
                            <a:lnTo>
                              <a:pt x="112" y="630"/>
                            </a:lnTo>
                            <a:lnTo>
                              <a:pt x="102" y="624"/>
                            </a:lnTo>
                            <a:lnTo>
                              <a:pt x="102" y="624"/>
                            </a:lnTo>
                            <a:lnTo>
                              <a:pt x="98" y="618"/>
                            </a:lnTo>
                            <a:lnTo>
                              <a:pt x="100" y="614"/>
                            </a:lnTo>
                            <a:lnTo>
                              <a:pt x="100" y="612"/>
                            </a:lnTo>
                            <a:lnTo>
                              <a:pt x="102" y="608"/>
                            </a:lnTo>
                            <a:lnTo>
                              <a:pt x="102" y="608"/>
                            </a:lnTo>
                            <a:lnTo>
                              <a:pt x="100" y="604"/>
                            </a:lnTo>
                            <a:lnTo>
                              <a:pt x="102" y="602"/>
                            </a:lnTo>
                            <a:lnTo>
                              <a:pt x="102" y="600"/>
                            </a:lnTo>
                            <a:lnTo>
                              <a:pt x="102" y="596"/>
                            </a:lnTo>
                            <a:lnTo>
                              <a:pt x="102" y="596"/>
                            </a:lnTo>
                            <a:lnTo>
                              <a:pt x="98" y="590"/>
                            </a:lnTo>
                            <a:lnTo>
                              <a:pt x="100" y="586"/>
                            </a:lnTo>
                            <a:lnTo>
                              <a:pt x="102" y="584"/>
                            </a:lnTo>
                            <a:lnTo>
                              <a:pt x="98" y="578"/>
                            </a:lnTo>
                            <a:lnTo>
                              <a:pt x="98" y="578"/>
                            </a:lnTo>
                            <a:lnTo>
                              <a:pt x="96" y="574"/>
                            </a:lnTo>
                            <a:lnTo>
                              <a:pt x="96" y="572"/>
                            </a:lnTo>
                            <a:lnTo>
                              <a:pt x="96" y="570"/>
                            </a:lnTo>
                            <a:lnTo>
                              <a:pt x="96" y="566"/>
                            </a:lnTo>
                            <a:lnTo>
                              <a:pt x="96" y="566"/>
                            </a:lnTo>
                            <a:lnTo>
                              <a:pt x="92" y="564"/>
                            </a:lnTo>
                            <a:lnTo>
                              <a:pt x="92" y="560"/>
                            </a:lnTo>
                            <a:lnTo>
                              <a:pt x="90" y="558"/>
                            </a:lnTo>
                            <a:lnTo>
                              <a:pt x="88" y="554"/>
                            </a:lnTo>
                            <a:lnTo>
                              <a:pt x="88" y="554"/>
                            </a:lnTo>
                            <a:lnTo>
                              <a:pt x="84" y="552"/>
                            </a:lnTo>
                            <a:lnTo>
                              <a:pt x="82" y="554"/>
                            </a:lnTo>
                            <a:lnTo>
                              <a:pt x="80" y="554"/>
                            </a:lnTo>
                            <a:lnTo>
                              <a:pt x="76" y="554"/>
                            </a:lnTo>
                            <a:lnTo>
                              <a:pt x="76" y="554"/>
                            </a:lnTo>
                            <a:lnTo>
                              <a:pt x="74" y="552"/>
                            </a:lnTo>
                            <a:lnTo>
                              <a:pt x="74" y="554"/>
                            </a:lnTo>
                            <a:lnTo>
                              <a:pt x="72" y="556"/>
                            </a:lnTo>
                            <a:lnTo>
                              <a:pt x="72" y="554"/>
                            </a:lnTo>
                            <a:lnTo>
                              <a:pt x="72" y="554"/>
                            </a:lnTo>
                            <a:lnTo>
                              <a:pt x="68" y="548"/>
                            </a:lnTo>
                            <a:lnTo>
                              <a:pt x="70" y="542"/>
                            </a:lnTo>
                            <a:lnTo>
                              <a:pt x="68" y="536"/>
                            </a:lnTo>
                            <a:lnTo>
                              <a:pt x="64" y="528"/>
                            </a:lnTo>
                            <a:lnTo>
                              <a:pt x="64" y="528"/>
                            </a:lnTo>
                            <a:lnTo>
                              <a:pt x="62" y="524"/>
                            </a:lnTo>
                            <a:lnTo>
                              <a:pt x="62" y="522"/>
                            </a:lnTo>
                            <a:lnTo>
                              <a:pt x="66" y="518"/>
                            </a:lnTo>
                            <a:lnTo>
                              <a:pt x="68" y="514"/>
                            </a:lnTo>
                            <a:lnTo>
                              <a:pt x="68" y="512"/>
                            </a:lnTo>
                            <a:lnTo>
                              <a:pt x="68" y="506"/>
                            </a:lnTo>
                            <a:lnTo>
                              <a:pt x="62" y="500"/>
                            </a:lnTo>
                            <a:lnTo>
                              <a:pt x="62" y="500"/>
                            </a:lnTo>
                            <a:lnTo>
                              <a:pt x="58" y="492"/>
                            </a:lnTo>
                            <a:lnTo>
                              <a:pt x="58" y="486"/>
                            </a:lnTo>
                            <a:lnTo>
                              <a:pt x="56" y="482"/>
                            </a:lnTo>
                            <a:lnTo>
                              <a:pt x="54" y="478"/>
                            </a:lnTo>
                            <a:lnTo>
                              <a:pt x="54" y="478"/>
                            </a:lnTo>
                            <a:lnTo>
                              <a:pt x="54" y="478"/>
                            </a:lnTo>
                            <a:lnTo>
                              <a:pt x="56" y="476"/>
                            </a:lnTo>
                            <a:lnTo>
                              <a:pt x="56" y="474"/>
                            </a:lnTo>
                            <a:lnTo>
                              <a:pt x="50" y="468"/>
                            </a:lnTo>
                            <a:lnTo>
                              <a:pt x="50" y="468"/>
                            </a:lnTo>
                            <a:lnTo>
                              <a:pt x="44" y="464"/>
                            </a:lnTo>
                            <a:lnTo>
                              <a:pt x="42" y="460"/>
                            </a:lnTo>
                            <a:lnTo>
                              <a:pt x="40" y="456"/>
                            </a:lnTo>
                            <a:lnTo>
                              <a:pt x="42" y="452"/>
                            </a:lnTo>
                            <a:lnTo>
                              <a:pt x="42" y="452"/>
                            </a:lnTo>
                            <a:lnTo>
                              <a:pt x="42" y="448"/>
                            </a:lnTo>
                            <a:lnTo>
                              <a:pt x="44" y="448"/>
                            </a:lnTo>
                            <a:lnTo>
                              <a:pt x="44" y="452"/>
                            </a:lnTo>
                            <a:lnTo>
                              <a:pt x="44" y="452"/>
                            </a:lnTo>
                            <a:lnTo>
                              <a:pt x="46" y="454"/>
                            </a:lnTo>
                            <a:lnTo>
                              <a:pt x="48" y="456"/>
                            </a:lnTo>
                            <a:lnTo>
                              <a:pt x="52" y="454"/>
                            </a:lnTo>
                            <a:lnTo>
                              <a:pt x="50" y="448"/>
                            </a:lnTo>
                            <a:lnTo>
                              <a:pt x="50" y="448"/>
                            </a:lnTo>
                            <a:lnTo>
                              <a:pt x="48" y="442"/>
                            </a:lnTo>
                            <a:lnTo>
                              <a:pt x="50" y="440"/>
                            </a:lnTo>
                            <a:lnTo>
                              <a:pt x="52" y="438"/>
                            </a:lnTo>
                            <a:lnTo>
                              <a:pt x="52" y="436"/>
                            </a:lnTo>
                            <a:lnTo>
                              <a:pt x="52" y="436"/>
                            </a:lnTo>
                            <a:lnTo>
                              <a:pt x="50" y="430"/>
                            </a:lnTo>
                            <a:lnTo>
                              <a:pt x="50" y="428"/>
                            </a:lnTo>
                            <a:lnTo>
                              <a:pt x="52" y="426"/>
                            </a:lnTo>
                            <a:lnTo>
                              <a:pt x="50" y="420"/>
                            </a:lnTo>
                            <a:lnTo>
                              <a:pt x="50" y="420"/>
                            </a:lnTo>
                            <a:lnTo>
                              <a:pt x="50" y="416"/>
                            </a:lnTo>
                            <a:lnTo>
                              <a:pt x="50" y="414"/>
                            </a:lnTo>
                            <a:lnTo>
                              <a:pt x="52" y="412"/>
                            </a:lnTo>
                            <a:lnTo>
                              <a:pt x="56" y="410"/>
                            </a:lnTo>
                            <a:lnTo>
                              <a:pt x="56" y="406"/>
                            </a:lnTo>
                            <a:lnTo>
                              <a:pt x="56" y="402"/>
                            </a:lnTo>
                            <a:lnTo>
                              <a:pt x="56" y="402"/>
                            </a:lnTo>
                            <a:lnTo>
                              <a:pt x="54" y="392"/>
                            </a:lnTo>
                            <a:lnTo>
                              <a:pt x="56" y="386"/>
                            </a:lnTo>
                            <a:lnTo>
                              <a:pt x="56" y="382"/>
                            </a:lnTo>
                            <a:lnTo>
                              <a:pt x="56" y="374"/>
                            </a:lnTo>
                            <a:lnTo>
                              <a:pt x="56" y="374"/>
                            </a:lnTo>
                            <a:lnTo>
                              <a:pt x="54" y="366"/>
                            </a:lnTo>
                            <a:lnTo>
                              <a:pt x="52" y="360"/>
                            </a:lnTo>
                            <a:lnTo>
                              <a:pt x="50" y="352"/>
                            </a:lnTo>
                            <a:lnTo>
                              <a:pt x="46" y="342"/>
                            </a:lnTo>
                            <a:lnTo>
                              <a:pt x="46" y="342"/>
                            </a:lnTo>
                            <a:lnTo>
                              <a:pt x="40" y="326"/>
                            </a:lnTo>
                            <a:lnTo>
                              <a:pt x="34" y="312"/>
                            </a:lnTo>
                            <a:lnTo>
                              <a:pt x="30" y="290"/>
                            </a:lnTo>
                            <a:lnTo>
                              <a:pt x="30" y="290"/>
                            </a:lnTo>
                            <a:lnTo>
                              <a:pt x="30" y="288"/>
                            </a:lnTo>
                            <a:lnTo>
                              <a:pt x="32" y="290"/>
                            </a:lnTo>
                            <a:lnTo>
                              <a:pt x="34" y="292"/>
                            </a:lnTo>
                            <a:lnTo>
                              <a:pt x="36" y="290"/>
                            </a:lnTo>
                            <a:lnTo>
                              <a:pt x="36" y="290"/>
                            </a:lnTo>
                            <a:lnTo>
                              <a:pt x="36" y="290"/>
                            </a:lnTo>
                            <a:lnTo>
                              <a:pt x="36" y="288"/>
                            </a:lnTo>
                            <a:lnTo>
                              <a:pt x="34" y="286"/>
                            </a:lnTo>
                            <a:lnTo>
                              <a:pt x="36" y="284"/>
                            </a:lnTo>
                            <a:lnTo>
                              <a:pt x="36" y="284"/>
                            </a:lnTo>
                            <a:lnTo>
                              <a:pt x="38" y="284"/>
                            </a:lnTo>
                            <a:lnTo>
                              <a:pt x="40" y="284"/>
                            </a:lnTo>
                            <a:lnTo>
                              <a:pt x="40" y="286"/>
                            </a:lnTo>
                            <a:lnTo>
                              <a:pt x="42" y="284"/>
                            </a:lnTo>
                            <a:lnTo>
                              <a:pt x="42" y="284"/>
                            </a:lnTo>
                            <a:lnTo>
                              <a:pt x="40" y="282"/>
                            </a:lnTo>
                            <a:lnTo>
                              <a:pt x="38" y="280"/>
                            </a:lnTo>
                            <a:lnTo>
                              <a:pt x="36" y="280"/>
                            </a:lnTo>
                            <a:lnTo>
                              <a:pt x="36" y="274"/>
                            </a:lnTo>
                            <a:lnTo>
                              <a:pt x="36" y="274"/>
                            </a:lnTo>
                            <a:lnTo>
                              <a:pt x="34" y="272"/>
                            </a:lnTo>
                            <a:lnTo>
                              <a:pt x="34" y="270"/>
                            </a:lnTo>
                            <a:lnTo>
                              <a:pt x="30" y="270"/>
                            </a:lnTo>
                            <a:lnTo>
                              <a:pt x="30" y="268"/>
                            </a:lnTo>
                            <a:lnTo>
                              <a:pt x="28" y="264"/>
                            </a:lnTo>
                            <a:lnTo>
                              <a:pt x="30" y="246"/>
                            </a:lnTo>
                            <a:lnTo>
                              <a:pt x="30" y="246"/>
                            </a:lnTo>
                            <a:lnTo>
                              <a:pt x="32" y="222"/>
                            </a:lnTo>
                            <a:lnTo>
                              <a:pt x="32" y="202"/>
                            </a:lnTo>
                            <a:lnTo>
                              <a:pt x="32" y="202"/>
                            </a:lnTo>
                            <a:lnTo>
                              <a:pt x="34" y="188"/>
                            </a:lnTo>
                            <a:lnTo>
                              <a:pt x="36" y="182"/>
                            </a:lnTo>
                            <a:lnTo>
                              <a:pt x="36" y="178"/>
                            </a:lnTo>
                            <a:lnTo>
                              <a:pt x="34" y="176"/>
                            </a:lnTo>
                            <a:lnTo>
                              <a:pt x="34" y="176"/>
                            </a:lnTo>
                            <a:lnTo>
                              <a:pt x="30" y="170"/>
                            </a:lnTo>
                            <a:lnTo>
                              <a:pt x="30" y="168"/>
                            </a:lnTo>
                            <a:lnTo>
                              <a:pt x="32" y="164"/>
                            </a:lnTo>
                            <a:lnTo>
                              <a:pt x="30" y="158"/>
                            </a:lnTo>
                            <a:lnTo>
                              <a:pt x="30" y="158"/>
                            </a:lnTo>
                            <a:lnTo>
                              <a:pt x="28" y="152"/>
                            </a:lnTo>
                            <a:lnTo>
                              <a:pt x="26" y="148"/>
                            </a:lnTo>
                            <a:lnTo>
                              <a:pt x="26" y="142"/>
                            </a:lnTo>
                            <a:lnTo>
                              <a:pt x="22" y="136"/>
                            </a:lnTo>
                            <a:lnTo>
                              <a:pt x="22" y="136"/>
                            </a:lnTo>
                            <a:lnTo>
                              <a:pt x="20" y="132"/>
                            </a:lnTo>
                            <a:lnTo>
                              <a:pt x="22" y="130"/>
                            </a:lnTo>
                            <a:lnTo>
                              <a:pt x="24" y="126"/>
                            </a:lnTo>
                            <a:lnTo>
                              <a:pt x="26" y="114"/>
                            </a:lnTo>
                            <a:lnTo>
                              <a:pt x="26" y="114"/>
                            </a:lnTo>
                            <a:lnTo>
                              <a:pt x="24" y="106"/>
                            </a:lnTo>
                            <a:lnTo>
                              <a:pt x="22" y="106"/>
                            </a:lnTo>
                            <a:lnTo>
                              <a:pt x="22" y="104"/>
                            </a:lnTo>
                            <a:lnTo>
                              <a:pt x="24" y="100"/>
                            </a:lnTo>
                            <a:lnTo>
                              <a:pt x="24" y="100"/>
                            </a:lnTo>
                            <a:lnTo>
                              <a:pt x="26" y="92"/>
                            </a:lnTo>
                            <a:lnTo>
                              <a:pt x="24" y="88"/>
                            </a:lnTo>
                            <a:lnTo>
                              <a:pt x="22" y="84"/>
                            </a:lnTo>
                            <a:lnTo>
                              <a:pt x="18" y="78"/>
                            </a:lnTo>
                            <a:lnTo>
                              <a:pt x="18" y="78"/>
                            </a:lnTo>
                            <a:lnTo>
                              <a:pt x="16" y="72"/>
                            </a:lnTo>
                            <a:lnTo>
                              <a:pt x="18" y="70"/>
                            </a:lnTo>
                            <a:lnTo>
                              <a:pt x="20" y="70"/>
                            </a:lnTo>
                            <a:lnTo>
                              <a:pt x="18" y="66"/>
                            </a:lnTo>
                            <a:lnTo>
                              <a:pt x="18" y="66"/>
                            </a:lnTo>
                            <a:lnTo>
                              <a:pt x="18" y="58"/>
                            </a:lnTo>
                            <a:lnTo>
                              <a:pt x="16" y="52"/>
                            </a:lnTo>
                            <a:lnTo>
                              <a:pt x="16" y="46"/>
                            </a:lnTo>
                            <a:lnTo>
                              <a:pt x="14" y="40"/>
                            </a:lnTo>
                            <a:lnTo>
                              <a:pt x="14" y="40"/>
                            </a:lnTo>
                            <a:lnTo>
                              <a:pt x="10" y="34"/>
                            </a:lnTo>
                            <a:lnTo>
                              <a:pt x="10" y="32"/>
                            </a:lnTo>
                            <a:lnTo>
                              <a:pt x="10" y="30"/>
                            </a:lnTo>
                            <a:lnTo>
                              <a:pt x="8" y="26"/>
                            </a:lnTo>
                            <a:lnTo>
                              <a:pt x="8" y="26"/>
                            </a:lnTo>
                            <a:lnTo>
                              <a:pt x="4" y="16"/>
                            </a:lnTo>
                            <a:lnTo>
                              <a:pt x="0" y="12"/>
                            </a:lnTo>
                            <a:lnTo>
                              <a:pt x="0" y="12"/>
                            </a:lnTo>
                            <a:lnTo>
                              <a:pt x="10" y="8"/>
                            </a:lnTo>
                            <a:lnTo>
                              <a:pt x="12" y="6"/>
                            </a:lnTo>
                            <a:lnTo>
                              <a:pt x="10" y="4"/>
                            </a:lnTo>
                            <a:lnTo>
                              <a:pt x="10" y="2"/>
                            </a:lnTo>
                            <a:lnTo>
                              <a:pt x="10" y="0"/>
                            </a:lnTo>
                            <a:lnTo>
                              <a:pt x="14" y="0"/>
                            </a:lnTo>
                            <a:lnTo>
                              <a:pt x="14" y="0"/>
                            </a:lnTo>
                            <a:lnTo>
                              <a:pt x="24" y="10"/>
                            </a:lnTo>
                            <a:lnTo>
                              <a:pt x="30" y="16"/>
                            </a:lnTo>
                            <a:lnTo>
                              <a:pt x="34" y="24"/>
                            </a:lnTo>
                            <a:lnTo>
                              <a:pt x="42" y="38"/>
                            </a:lnTo>
                            <a:lnTo>
                              <a:pt x="42" y="38"/>
                            </a:lnTo>
                            <a:lnTo>
                              <a:pt x="46" y="46"/>
                            </a:lnTo>
                            <a:lnTo>
                              <a:pt x="46" y="54"/>
                            </a:lnTo>
                            <a:lnTo>
                              <a:pt x="48" y="64"/>
                            </a:lnTo>
                            <a:lnTo>
                              <a:pt x="52" y="74"/>
                            </a:lnTo>
                            <a:lnTo>
                              <a:pt x="52" y="74"/>
                            </a:lnTo>
                            <a:lnTo>
                              <a:pt x="60" y="86"/>
                            </a:lnTo>
                            <a:lnTo>
                              <a:pt x="64" y="98"/>
                            </a:lnTo>
                            <a:lnTo>
                              <a:pt x="66" y="114"/>
                            </a:lnTo>
                            <a:lnTo>
                              <a:pt x="68" y="120"/>
                            </a:lnTo>
                            <a:lnTo>
                              <a:pt x="70" y="124"/>
                            </a:lnTo>
                            <a:lnTo>
                              <a:pt x="74" y="126"/>
                            </a:lnTo>
                            <a:lnTo>
                              <a:pt x="84" y="124"/>
                            </a:lnTo>
                            <a:lnTo>
                              <a:pt x="84" y="124"/>
                            </a:lnTo>
                            <a:lnTo>
                              <a:pt x="88" y="126"/>
                            </a:lnTo>
                            <a:lnTo>
                              <a:pt x="88" y="128"/>
                            </a:lnTo>
                            <a:lnTo>
                              <a:pt x="90" y="130"/>
                            </a:lnTo>
                            <a:lnTo>
                              <a:pt x="90" y="130"/>
                            </a:lnTo>
                            <a:lnTo>
                              <a:pt x="86" y="148"/>
                            </a:lnTo>
                            <a:lnTo>
                              <a:pt x="84" y="152"/>
                            </a:lnTo>
                            <a:lnTo>
                              <a:pt x="78" y="158"/>
                            </a:lnTo>
                            <a:lnTo>
                              <a:pt x="78" y="158"/>
                            </a:lnTo>
                            <a:lnTo>
                              <a:pt x="68" y="164"/>
                            </a:lnTo>
                            <a:lnTo>
                              <a:pt x="68" y="166"/>
                            </a:lnTo>
                            <a:lnTo>
                              <a:pt x="68" y="168"/>
                            </a:lnTo>
                            <a:lnTo>
                              <a:pt x="72" y="170"/>
                            </a:lnTo>
                            <a:lnTo>
                              <a:pt x="72" y="172"/>
                            </a:lnTo>
                            <a:lnTo>
                              <a:pt x="70" y="176"/>
                            </a:lnTo>
                            <a:lnTo>
                              <a:pt x="70" y="176"/>
                            </a:lnTo>
                            <a:lnTo>
                              <a:pt x="66" y="184"/>
                            </a:lnTo>
                            <a:lnTo>
                              <a:pt x="66" y="188"/>
                            </a:lnTo>
                            <a:lnTo>
                              <a:pt x="68" y="192"/>
                            </a:lnTo>
                            <a:lnTo>
                              <a:pt x="72" y="196"/>
                            </a:lnTo>
                            <a:lnTo>
                              <a:pt x="76" y="202"/>
                            </a:lnTo>
                            <a:lnTo>
                              <a:pt x="76" y="204"/>
                            </a:lnTo>
                            <a:lnTo>
                              <a:pt x="74" y="208"/>
                            </a:lnTo>
                            <a:lnTo>
                              <a:pt x="74" y="208"/>
                            </a:lnTo>
                            <a:lnTo>
                              <a:pt x="78" y="212"/>
                            </a:lnTo>
                            <a:lnTo>
                              <a:pt x="80" y="214"/>
                            </a:lnTo>
                            <a:lnTo>
                              <a:pt x="80" y="218"/>
                            </a:lnTo>
                            <a:lnTo>
                              <a:pt x="78" y="224"/>
                            </a:lnTo>
                            <a:lnTo>
                              <a:pt x="78" y="224"/>
                            </a:lnTo>
                            <a:lnTo>
                              <a:pt x="74" y="230"/>
                            </a:lnTo>
                            <a:lnTo>
                              <a:pt x="74" y="234"/>
                            </a:lnTo>
                            <a:lnTo>
                              <a:pt x="72" y="238"/>
                            </a:lnTo>
                            <a:lnTo>
                              <a:pt x="70" y="242"/>
                            </a:lnTo>
                            <a:lnTo>
                              <a:pt x="70" y="242"/>
                            </a:lnTo>
                            <a:lnTo>
                              <a:pt x="66" y="246"/>
                            </a:lnTo>
                            <a:lnTo>
                              <a:pt x="68" y="248"/>
                            </a:lnTo>
                            <a:lnTo>
                              <a:pt x="68" y="252"/>
                            </a:lnTo>
                            <a:lnTo>
                              <a:pt x="66" y="256"/>
                            </a:lnTo>
                            <a:lnTo>
                              <a:pt x="66" y="256"/>
                            </a:lnTo>
                            <a:lnTo>
                              <a:pt x="62" y="260"/>
                            </a:lnTo>
                            <a:lnTo>
                              <a:pt x="62" y="264"/>
                            </a:lnTo>
                            <a:lnTo>
                              <a:pt x="62" y="270"/>
                            </a:lnTo>
                            <a:lnTo>
                              <a:pt x="64" y="276"/>
                            </a:lnTo>
                            <a:lnTo>
                              <a:pt x="64" y="282"/>
                            </a:lnTo>
                            <a:lnTo>
                              <a:pt x="64" y="282"/>
                            </a:lnTo>
                            <a:lnTo>
                              <a:pt x="62" y="288"/>
                            </a:lnTo>
                            <a:lnTo>
                              <a:pt x="62" y="292"/>
                            </a:lnTo>
                            <a:lnTo>
                              <a:pt x="64" y="296"/>
                            </a:lnTo>
                            <a:lnTo>
                              <a:pt x="62" y="304"/>
                            </a:lnTo>
                            <a:lnTo>
                              <a:pt x="62" y="304"/>
                            </a:lnTo>
                            <a:lnTo>
                              <a:pt x="60" y="310"/>
                            </a:lnTo>
                            <a:lnTo>
                              <a:pt x="60" y="316"/>
                            </a:lnTo>
                            <a:lnTo>
                              <a:pt x="60" y="326"/>
                            </a:lnTo>
                            <a:lnTo>
                              <a:pt x="62" y="332"/>
                            </a:lnTo>
                            <a:lnTo>
                              <a:pt x="66" y="334"/>
                            </a:lnTo>
                            <a:lnTo>
                              <a:pt x="66" y="334"/>
                            </a:lnTo>
                            <a:lnTo>
                              <a:pt x="68" y="334"/>
                            </a:lnTo>
                            <a:lnTo>
                              <a:pt x="70" y="336"/>
                            </a:lnTo>
                            <a:lnTo>
                              <a:pt x="72" y="340"/>
                            </a:lnTo>
                            <a:lnTo>
                              <a:pt x="70" y="344"/>
                            </a:lnTo>
                            <a:lnTo>
                              <a:pt x="70" y="344"/>
                            </a:lnTo>
                            <a:lnTo>
                              <a:pt x="68" y="346"/>
                            </a:lnTo>
                            <a:lnTo>
                              <a:pt x="70" y="350"/>
                            </a:lnTo>
                            <a:lnTo>
                              <a:pt x="74" y="354"/>
                            </a:lnTo>
                            <a:lnTo>
                              <a:pt x="80" y="360"/>
                            </a:lnTo>
                            <a:lnTo>
                              <a:pt x="82" y="364"/>
                            </a:lnTo>
                            <a:lnTo>
                              <a:pt x="82" y="368"/>
                            </a:lnTo>
                            <a:lnTo>
                              <a:pt x="82" y="368"/>
                            </a:lnTo>
                            <a:lnTo>
                              <a:pt x="82" y="376"/>
                            </a:lnTo>
                            <a:lnTo>
                              <a:pt x="84" y="376"/>
                            </a:lnTo>
                            <a:lnTo>
                              <a:pt x="86" y="374"/>
                            </a:lnTo>
                            <a:lnTo>
                              <a:pt x="86" y="374"/>
                            </a:lnTo>
                            <a:lnTo>
                              <a:pt x="90" y="374"/>
                            </a:lnTo>
                            <a:lnTo>
                              <a:pt x="92" y="374"/>
                            </a:lnTo>
                            <a:lnTo>
                              <a:pt x="92" y="376"/>
                            </a:lnTo>
                            <a:lnTo>
                              <a:pt x="92" y="382"/>
                            </a:lnTo>
                            <a:lnTo>
                              <a:pt x="92" y="382"/>
                            </a:lnTo>
                            <a:lnTo>
                              <a:pt x="90" y="388"/>
                            </a:lnTo>
                            <a:lnTo>
                              <a:pt x="92" y="392"/>
                            </a:lnTo>
                            <a:lnTo>
                              <a:pt x="94" y="396"/>
                            </a:lnTo>
                            <a:lnTo>
                              <a:pt x="90" y="402"/>
                            </a:lnTo>
                            <a:lnTo>
                              <a:pt x="90" y="402"/>
                            </a:lnTo>
                            <a:lnTo>
                              <a:pt x="94" y="406"/>
                            </a:lnTo>
                            <a:lnTo>
                              <a:pt x="96" y="410"/>
                            </a:lnTo>
                            <a:lnTo>
                              <a:pt x="94" y="416"/>
                            </a:lnTo>
                            <a:lnTo>
                              <a:pt x="88" y="422"/>
                            </a:lnTo>
                            <a:lnTo>
                              <a:pt x="88" y="422"/>
                            </a:lnTo>
                            <a:lnTo>
                              <a:pt x="84" y="430"/>
                            </a:lnTo>
                            <a:lnTo>
                              <a:pt x="82" y="436"/>
                            </a:lnTo>
                            <a:lnTo>
                              <a:pt x="84" y="442"/>
                            </a:lnTo>
                            <a:lnTo>
                              <a:pt x="84" y="452"/>
                            </a:lnTo>
                            <a:lnTo>
                              <a:pt x="84" y="452"/>
                            </a:lnTo>
                            <a:lnTo>
                              <a:pt x="86" y="456"/>
                            </a:lnTo>
                            <a:lnTo>
                              <a:pt x="88" y="460"/>
                            </a:lnTo>
                            <a:lnTo>
                              <a:pt x="92" y="466"/>
                            </a:lnTo>
                            <a:lnTo>
                              <a:pt x="98" y="472"/>
                            </a:lnTo>
                            <a:lnTo>
                              <a:pt x="98" y="476"/>
                            </a:lnTo>
                            <a:lnTo>
                              <a:pt x="98" y="480"/>
                            </a:lnTo>
                            <a:lnTo>
                              <a:pt x="98" y="480"/>
                            </a:lnTo>
                            <a:lnTo>
                              <a:pt x="96" y="482"/>
                            </a:lnTo>
                            <a:lnTo>
                              <a:pt x="92" y="484"/>
                            </a:lnTo>
                            <a:lnTo>
                              <a:pt x="92" y="484"/>
                            </a:lnTo>
                            <a:lnTo>
                              <a:pt x="94" y="490"/>
                            </a:lnTo>
                            <a:lnTo>
                              <a:pt x="94" y="490"/>
                            </a:lnTo>
                            <a:lnTo>
                              <a:pt x="96" y="494"/>
                            </a:lnTo>
                            <a:lnTo>
                              <a:pt x="94" y="496"/>
                            </a:lnTo>
                            <a:lnTo>
                              <a:pt x="90" y="500"/>
                            </a:lnTo>
                            <a:lnTo>
                              <a:pt x="90" y="500"/>
                            </a:lnTo>
                            <a:lnTo>
                              <a:pt x="92" y="504"/>
                            </a:lnTo>
                            <a:lnTo>
                              <a:pt x="92" y="504"/>
                            </a:lnTo>
                            <a:lnTo>
                              <a:pt x="92" y="506"/>
                            </a:lnTo>
                            <a:lnTo>
                              <a:pt x="90" y="508"/>
                            </a:lnTo>
                            <a:lnTo>
                              <a:pt x="90" y="510"/>
                            </a:lnTo>
                            <a:lnTo>
                              <a:pt x="92" y="514"/>
                            </a:lnTo>
                            <a:lnTo>
                              <a:pt x="92" y="514"/>
                            </a:lnTo>
                            <a:lnTo>
                              <a:pt x="92" y="522"/>
                            </a:lnTo>
                            <a:lnTo>
                              <a:pt x="94" y="530"/>
                            </a:lnTo>
                            <a:lnTo>
                              <a:pt x="100" y="540"/>
                            </a:lnTo>
                            <a:lnTo>
                              <a:pt x="104" y="546"/>
                            </a:lnTo>
                            <a:lnTo>
                              <a:pt x="104" y="548"/>
                            </a:lnTo>
                            <a:lnTo>
                              <a:pt x="102" y="550"/>
                            </a:lnTo>
                            <a:lnTo>
                              <a:pt x="102" y="550"/>
                            </a:lnTo>
                            <a:lnTo>
                              <a:pt x="98" y="552"/>
                            </a:lnTo>
                            <a:lnTo>
                              <a:pt x="100" y="554"/>
                            </a:lnTo>
                            <a:lnTo>
                              <a:pt x="102" y="556"/>
                            </a:lnTo>
                            <a:lnTo>
                              <a:pt x="102" y="560"/>
                            </a:lnTo>
                            <a:lnTo>
                              <a:pt x="102" y="560"/>
                            </a:lnTo>
                            <a:lnTo>
                              <a:pt x="102" y="562"/>
                            </a:lnTo>
                            <a:lnTo>
                              <a:pt x="102" y="564"/>
                            </a:lnTo>
                            <a:lnTo>
                              <a:pt x="106" y="566"/>
                            </a:lnTo>
                            <a:lnTo>
                              <a:pt x="108" y="566"/>
                            </a:lnTo>
                            <a:lnTo>
                              <a:pt x="108" y="570"/>
                            </a:lnTo>
                            <a:lnTo>
                              <a:pt x="108" y="570"/>
                            </a:lnTo>
                            <a:lnTo>
                              <a:pt x="106" y="570"/>
                            </a:lnTo>
                            <a:lnTo>
                              <a:pt x="108" y="572"/>
                            </a:lnTo>
                            <a:lnTo>
                              <a:pt x="110" y="574"/>
                            </a:lnTo>
                            <a:lnTo>
                              <a:pt x="114" y="576"/>
                            </a:lnTo>
                            <a:lnTo>
                              <a:pt x="114" y="578"/>
                            </a:lnTo>
                            <a:lnTo>
                              <a:pt x="112" y="582"/>
                            </a:lnTo>
                            <a:lnTo>
                              <a:pt x="112" y="582"/>
                            </a:lnTo>
                            <a:lnTo>
                              <a:pt x="110" y="586"/>
                            </a:lnTo>
                            <a:lnTo>
                              <a:pt x="110" y="588"/>
                            </a:lnTo>
                            <a:lnTo>
                              <a:pt x="112" y="590"/>
                            </a:lnTo>
                            <a:lnTo>
                              <a:pt x="114" y="588"/>
                            </a:lnTo>
                            <a:lnTo>
                              <a:pt x="114" y="588"/>
                            </a:lnTo>
                            <a:lnTo>
                              <a:pt x="118" y="586"/>
                            </a:lnTo>
                            <a:lnTo>
                              <a:pt x="120" y="586"/>
                            </a:lnTo>
                            <a:lnTo>
                              <a:pt x="122" y="590"/>
                            </a:lnTo>
                            <a:lnTo>
                              <a:pt x="120" y="594"/>
                            </a:lnTo>
                            <a:lnTo>
                              <a:pt x="120" y="594"/>
                            </a:lnTo>
                            <a:lnTo>
                              <a:pt x="118" y="598"/>
                            </a:lnTo>
                            <a:lnTo>
                              <a:pt x="114" y="598"/>
                            </a:lnTo>
                            <a:lnTo>
                              <a:pt x="114" y="600"/>
                            </a:lnTo>
                            <a:lnTo>
                              <a:pt x="114" y="604"/>
                            </a:lnTo>
                            <a:lnTo>
                              <a:pt x="114" y="604"/>
                            </a:lnTo>
                            <a:lnTo>
                              <a:pt x="120" y="608"/>
                            </a:lnTo>
                            <a:lnTo>
                              <a:pt x="126" y="612"/>
                            </a:lnTo>
                            <a:lnTo>
                              <a:pt x="130" y="614"/>
                            </a:lnTo>
                            <a:lnTo>
                              <a:pt x="130" y="616"/>
                            </a:lnTo>
                            <a:lnTo>
                              <a:pt x="128" y="618"/>
                            </a:lnTo>
                            <a:lnTo>
                              <a:pt x="128" y="618"/>
                            </a:lnTo>
                            <a:lnTo>
                              <a:pt x="126" y="620"/>
                            </a:lnTo>
                            <a:lnTo>
                              <a:pt x="126" y="622"/>
                            </a:lnTo>
                            <a:lnTo>
                              <a:pt x="126" y="624"/>
                            </a:lnTo>
                            <a:lnTo>
                              <a:pt x="124" y="628"/>
                            </a:lnTo>
                            <a:lnTo>
                              <a:pt x="124" y="628"/>
                            </a:lnTo>
                            <a:lnTo>
                              <a:pt x="124" y="628"/>
                            </a:lnTo>
                            <a:lnTo>
                              <a:pt x="124" y="630"/>
                            </a:lnTo>
                            <a:lnTo>
                              <a:pt x="128" y="632"/>
                            </a:lnTo>
                            <a:lnTo>
                              <a:pt x="134" y="636"/>
                            </a:lnTo>
                            <a:lnTo>
                              <a:pt x="134" y="640"/>
                            </a:lnTo>
                            <a:lnTo>
                              <a:pt x="134" y="644"/>
                            </a:lnTo>
                            <a:lnTo>
                              <a:pt x="134" y="644"/>
                            </a:lnTo>
                            <a:lnTo>
                              <a:pt x="132" y="650"/>
                            </a:lnTo>
                            <a:lnTo>
                              <a:pt x="132" y="656"/>
                            </a:lnTo>
                            <a:lnTo>
                              <a:pt x="136" y="662"/>
                            </a:lnTo>
                            <a:lnTo>
                              <a:pt x="138" y="668"/>
                            </a:lnTo>
                            <a:lnTo>
                              <a:pt x="138" y="670"/>
                            </a:lnTo>
                            <a:lnTo>
                              <a:pt x="138" y="672"/>
                            </a:lnTo>
                            <a:lnTo>
                              <a:pt x="138" y="672"/>
                            </a:lnTo>
                            <a:lnTo>
                              <a:pt x="134" y="676"/>
                            </a:lnTo>
                            <a:lnTo>
                              <a:pt x="136" y="676"/>
                            </a:lnTo>
                            <a:lnTo>
                              <a:pt x="136" y="678"/>
                            </a:lnTo>
                            <a:lnTo>
                              <a:pt x="134" y="682"/>
                            </a:lnTo>
                            <a:lnTo>
                              <a:pt x="134" y="682"/>
                            </a:lnTo>
                            <a:lnTo>
                              <a:pt x="134" y="684"/>
                            </a:lnTo>
                            <a:lnTo>
                              <a:pt x="134" y="688"/>
                            </a:lnTo>
                            <a:lnTo>
                              <a:pt x="138" y="690"/>
                            </a:lnTo>
                            <a:lnTo>
                              <a:pt x="142" y="694"/>
                            </a:lnTo>
                            <a:lnTo>
                              <a:pt x="142" y="696"/>
                            </a:lnTo>
                            <a:lnTo>
                              <a:pt x="140" y="698"/>
                            </a:lnTo>
                            <a:lnTo>
                              <a:pt x="140" y="698"/>
                            </a:lnTo>
                            <a:lnTo>
                              <a:pt x="140" y="704"/>
                            </a:lnTo>
                            <a:lnTo>
                              <a:pt x="142" y="708"/>
                            </a:lnTo>
                            <a:lnTo>
                              <a:pt x="144" y="710"/>
                            </a:lnTo>
                            <a:lnTo>
                              <a:pt x="144" y="714"/>
                            </a:lnTo>
                            <a:lnTo>
                              <a:pt x="144" y="714"/>
                            </a:lnTo>
                            <a:lnTo>
                              <a:pt x="142" y="720"/>
                            </a:lnTo>
                            <a:lnTo>
                              <a:pt x="142" y="726"/>
                            </a:lnTo>
                            <a:lnTo>
                              <a:pt x="146" y="734"/>
                            </a:lnTo>
                            <a:lnTo>
                              <a:pt x="148" y="738"/>
                            </a:lnTo>
                            <a:lnTo>
                              <a:pt x="148" y="738"/>
                            </a:lnTo>
                            <a:lnTo>
                              <a:pt x="150" y="736"/>
                            </a:lnTo>
                            <a:lnTo>
                              <a:pt x="154" y="734"/>
                            </a:lnTo>
                            <a:lnTo>
                              <a:pt x="158" y="730"/>
                            </a:lnTo>
                            <a:lnTo>
                              <a:pt x="162" y="730"/>
                            </a:lnTo>
                            <a:lnTo>
                              <a:pt x="162" y="730"/>
                            </a:lnTo>
                            <a:lnTo>
                              <a:pt x="166" y="734"/>
                            </a:lnTo>
                            <a:lnTo>
                              <a:pt x="166" y="738"/>
                            </a:lnTo>
                            <a:lnTo>
                              <a:pt x="164" y="740"/>
                            </a:lnTo>
                            <a:lnTo>
                              <a:pt x="166" y="744"/>
                            </a:lnTo>
                            <a:lnTo>
                              <a:pt x="166" y="744"/>
                            </a:lnTo>
                            <a:lnTo>
                              <a:pt x="168" y="748"/>
                            </a:lnTo>
                            <a:lnTo>
                              <a:pt x="168" y="750"/>
                            </a:lnTo>
                            <a:lnTo>
                              <a:pt x="170" y="752"/>
                            </a:lnTo>
                            <a:lnTo>
                              <a:pt x="176" y="752"/>
                            </a:lnTo>
                            <a:lnTo>
                              <a:pt x="176" y="752"/>
                            </a:lnTo>
                            <a:lnTo>
                              <a:pt x="180" y="754"/>
                            </a:lnTo>
                            <a:lnTo>
                              <a:pt x="184" y="756"/>
                            </a:lnTo>
                            <a:lnTo>
                              <a:pt x="184" y="758"/>
                            </a:lnTo>
                            <a:lnTo>
                              <a:pt x="218" y="758"/>
                            </a:lnTo>
                            <a:lnTo>
                              <a:pt x="218" y="758"/>
                            </a:lnTo>
                            <a:lnTo>
                              <a:pt x="222" y="760"/>
                            </a:lnTo>
                            <a:lnTo>
                              <a:pt x="226" y="758"/>
                            </a:lnTo>
                            <a:lnTo>
                              <a:pt x="232" y="760"/>
                            </a:lnTo>
                            <a:lnTo>
                              <a:pt x="244" y="764"/>
                            </a:lnTo>
                            <a:lnTo>
                              <a:pt x="244" y="764"/>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3" name="Colombia"/>
                      <p:cNvSpPr>
                        <a:spLocks/>
                      </p:cNvSpPr>
                      <p:nvPr/>
                    </p:nvSpPr>
                    <p:spPr bwMode="auto">
                      <a:xfrm>
                        <a:off x="3240437" y="3208822"/>
                        <a:ext cx="385781" cy="646420"/>
                      </a:xfrm>
                      <a:custGeom>
                        <a:avLst/>
                        <a:gdLst/>
                        <a:ahLst/>
                        <a:cxnLst>
                          <a:cxn ang="0">
                            <a:pos x="60" y="110"/>
                          </a:cxn>
                          <a:cxn ang="0">
                            <a:pos x="62" y="100"/>
                          </a:cxn>
                          <a:cxn ang="0">
                            <a:pos x="64" y="92"/>
                          </a:cxn>
                          <a:cxn ang="0">
                            <a:pos x="80" y="78"/>
                          </a:cxn>
                          <a:cxn ang="0">
                            <a:pos x="84" y="60"/>
                          </a:cxn>
                          <a:cxn ang="0">
                            <a:pos x="92" y="42"/>
                          </a:cxn>
                          <a:cxn ang="0">
                            <a:pos x="110" y="36"/>
                          </a:cxn>
                          <a:cxn ang="0">
                            <a:pos x="114" y="34"/>
                          </a:cxn>
                          <a:cxn ang="0">
                            <a:pos x="152" y="16"/>
                          </a:cxn>
                          <a:cxn ang="0">
                            <a:pos x="160" y="2"/>
                          </a:cxn>
                          <a:cxn ang="0">
                            <a:pos x="176" y="0"/>
                          </a:cxn>
                          <a:cxn ang="0">
                            <a:pos x="176" y="14"/>
                          </a:cxn>
                          <a:cxn ang="0">
                            <a:pos x="142" y="50"/>
                          </a:cxn>
                          <a:cxn ang="0">
                            <a:pos x="130" y="78"/>
                          </a:cxn>
                          <a:cxn ang="0">
                            <a:pos x="134" y="86"/>
                          </a:cxn>
                          <a:cxn ang="0">
                            <a:pos x="140" y="94"/>
                          </a:cxn>
                          <a:cxn ang="0">
                            <a:pos x="144" y="128"/>
                          </a:cxn>
                          <a:cxn ang="0">
                            <a:pos x="170" y="144"/>
                          </a:cxn>
                          <a:cxn ang="0">
                            <a:pos x="196" y="148"/>
                          </a:cxn>
                          <a:cxn ang="0">
                            <a:pos x="228" y="164"/>
                          </a:cxn>
                          <a:cxn ang="0">
                            <a:pos x="244" y="166"/>
                          </a:cxn>
                          <a:cxn ang="0">
                            <a:pos x="240" y="178"/>
                          </a:cxn>
                          <a:cxn ang="0">
                            <a:pos x="236" y="200"/>
                          </a:cxn>
                          <a:cxn ang="0">
                            <a:pos x="248" y="224"/>
                          </a:cxn>
                          <a:cxn ang="0">
                            <a:pos x="246" y="250"/>
                          </a:cxn>
                          <a:cxn ang="0">
                            <a:pos x="248" y="288"/>
                          </a:cxn>
                          <a:cxn ang="0">
                            <a:pos x="244" y="274"/>
                          </a:cxn>
                          <a:cxn ang="0">
                            <a:pos x="238" y="276"/>
                          </a:cxn>
                          <a:cxn ang="0">
                            <a:pos x="232" y="278"/>
                          </a:cxn>
                          <a:cxn ang="0">
                            <a:pos x="196" y="290"/>
                          </a:cxn>
                          <a:cxn ang="0">
                            <a:pos x="208" y="300"/>
                          </a:cxn>
                          <a:cxn ang="0">
                            <a:pos x="196" y="306"/>
                          </a:cxn>
                          <a:cxn ang="0">
                            <a:pos x="200" y="334"/>
                          </a:cxn>
                          <a:cxn ang="0">
                            <a:pos x="200" y="382"/>
                          </a:cxn>
                          <a:cxn ang="0">
                            <a:pos x="180" y="416"/>
                          </a:cxn>
                          <a:cxn ang="0">
                            <a:pos x="190" y="388"/>
                          </a:cxn>
                          <a:cxn ang="0">
                            <a:pos x="172" y="388"/>
                          </a:cxn>
                          <a:cxn ang="0">
                            <a:pos x="150" y="386"/>
                          </a:cxn>
                          <a:cxn ang="0">
                            <a:pos x="124" y="374"/>
                          </a:cxn>
                          <a:cxn ang="0">
                            <a:pos x="114" y="356"/>
                          </a:cxn>
                          <a:cxn ang="0">
                            <a:pos x="98" y="336"/>
                          </a:cxn>
                          <a:cxn ang="0">
                            <a:pos x="56" y="316"/>
                          </a:cxn>
                          <a:cxn ang="0">
                            <a:pos x="46" y="318"/>
                          </a:cxn>
                          <a:cxn ang="0">
                            <a:pos x="4" y="292"/>
                          </a:cxn>
                          <a:cxn ang="0">
                            <a:pos x="4" y="284"/>
                          </a:cxn>
                          <a:cxn ang="0">
                            <a:pos x="18" y="272"/>
                          </a:cxn>
                          <a:cxn ang="0">
                            <a:pos x="20" y="256"/>
                          </a:cxn>
                          <a:cxn ang="0">
                            <a:pos x="38" y="244"/>
                          </a:cxn>
                          <a:cxn ang="0">
                            <a:pos x="52" y="222"/>
                          </a:cxn>
                          <a:cxn ang="0">
                            <a:pos x="48" y="222"/>
                          </a:cxn>
                          <a:cxn ang="0">
                            <a:pos x="44" y="210"/>
                          </a:cxn>
                          <a:cxn ang="0">
                            <a:pos x="38" y="176"/>
                          </a:cxn>
                          <a:cxn ang="0">
                            <a:pos x="44" y="162"/>
                          </a:cxn>
                          <a:cxn ang="0">
                            <a:pos x="40" y="146"/>
                          </a:cxn>
                          <a:cxn ang="0">
                            <a:pos x="34" y="140"/>
                          </a:cxn>
                          <a:cxn ang="0">
                            <a:pos x="30" y="132"/>
                          </a:cxn>
                          <a:cxn ang="0">
                            <a:pos x="36" y="122"/>
                          </a:cxn>
                          <a:cxn ang="0">
                            <a:pos x="44" y="114"/>
                          </a:cxn>
                          <a:cxn ang="0">
                            <a:pos x="44" y="104"/>
                          </a:cxn>
                          <a:cxn ang="0">
                            <a:pos x="46" y="94"/>
                          </a:cxn>
                        </a:cxnLst>
                        <a:rect l="0" t="0" r="r" b="b"/>
                        <a:pathLst>
                          <a:path w="254" h="426">
                            <a:moveTo>
                              <a:pt x="46" y="94"/>
                            </a:moveTo>
                            <a:lnTo>
                              <a:pt x="46" y="94"/>
                            </a:lnTo>
                            <a:lnTo>
                              <a:pt x="48" y="96"/>
                            </a:lnTo>
                            <a:lnTo>
                              <a:pt x="50" y="98"/>
                            </a:lnTo>
                            <a:lnTo>
                              <a:pt x="54" y="102"/>
                            </a:lnTo>
                            <a:lnTo>
                              <a:pt x="60" y="110"/>
                            </a:lnTo>
                            <a:lnTo>
                              <a:pt x="60" y="110"/>
                            </a:lnTo>
                            <a:lnTo>
                              <a:pt x="58" y="106"/>
                            </a:lnTo>
                            <a:lnTo>
                              <a:pt x="58" y="106"/>
                            </a:lnTo>
                            <a:lnTo>
                              <a:pt x="60" y="104"/>
                            </a:lnTo>
                            <a:lnTo>
                              <a:pt x="60" y="104"/>
                            </a:lnTo>
                            <a:lnTo>
                              <a:pt x="62" y="100"/>
                            </a:lnTo>
                            <a:lnTo>
                              <a:pt x="58" y="98"/>
                            </a:lnTo>
                            <a:lnTo>
                              <a:pt x="56" y="98"/>
                            </a:lnTo>
                            <a:lnTo>
                              <a:pt x="56" y="96"/>
                            </a:lnTo>
                            <a:lnTo>
                              <a:pt x="56" y="96"/>
                            </a:lnTo>
                            <a:lnTo>
                              <a:pt x="60" y="94"/>
                            </a:lnTo>
                            <a:lnTo>
                              <a:pt x="64" y="92"/>
                            </a:lnTo>
                            <a:lnTo>
                              <a:pt x="68" y="86"/>
                            </a:lnTo>
                            <a:lnTo>
                              <a:pt x="68" y="86"/>
                            </a:lnTo>
                            <a:lnTo>
                              <a:pt x="72" y="80"/>
                            </a:lnTo>
                            <a:lnTo>
                              <a:pt x="76" y="78"/>
                            </a:lnTo>
                            <a:lnTo>
                              <a:pt x="80" y="78"/>
                            </a:lnTo>
                            <a:lnTo>
                              <a:pt x="80" y="78"/>
                            </a:lnTo>
                            <a:lnTo>
                              <a:pt x="84" y="74"/>
                            </a:lnTo>
                            <a:lnTo>
                              <a:pt x="82" y="72"/>
                            </a:lnTo>
                            <a:lnTo>
                              <a:pt x="82" y="70"/>
                            </a:lnTo>
                            <a:lnTo>
                              <a:pt x="82" y="66"/>
                            </a:lnTo>
                            <a:lnTo>
                              <a:pt x="82" y="66"/>
                            </a:lnTo>
                            <a:lnTo>
                              <a:pt x="84" y="60"/>
                            </a:lnTo>
                            <a:lnTo>
                              <a:pt x="84" y="56"/>
                            </a:lnTo>
                            <a:lnTo>
                              <a:pt x="84" y="52"/>
                            </a:lnTo>
                            <a:lnTo>
                              <a:pt x="86" y="50"/>
                            </a:lnTo>
                            <a:lnTo>
                              <a:pt x="86" y="50"/>
                            </a:lnTo>
                            <a:lnTo>
                              <a:pt x="88" y="46"/>
                            </a:lnTo>
                            <a:lnTo>
                              <a:pt x="92" y="42"/>
                            </a:lnTo>
                            <a:lnTo>
                              <a:pt x="96" y="38"/>
                            </a:lnTo>
                            <a:lnTo>
                              <a:pt x="102" y="36"/>
                            </a:lnTo>
                            <a:lnTo>
                              <a:pt x="102" y="36"/>
                            </a:lnTo>
                            <a:lnTo>
                              <a:pt x="110" y="34"/>
                            </a:lnTo>
                            <a:lnTo>
                              <a:pt x="110" y="34"/>
                            </a:lnTo>
                            <a:lnTo>
                              <a:pt x="110" y="36"/>
                            </a:lnTo>
                            <a:lnTo>
                              <a:pt x="108" y="40"/>
                            </a:lnTo>
                            <a:lnTo>
                              <a:pt x="108" y="40"/>
                            </a:lnTo>
                            <a:lnTo>
                              <a:pt x="112" y="42"/>
                            </a:lnTo>
                            <a:lnTo>
                              <a:pt x="112" y="42"/>
                            </a:lnTo>
                            <a:lnTo>
                              <a:pt x="112" y="38"/>
                            </a:lnTo>
                            <a:lnTo>
                              <a:pt x="114" y="34"/>
                            </a:lnTo>
                            <a:lnTo>
                              <a:pt x="120" y="30"/>
                            </a:lnTo>
                            <a:lnTo>
                              <a:pt x="124" y="28"/>
                            </a:lnTo>
                            <a:lnTo>
                              <a:pt x="124" y="28"/>
                            </a:lnTo>
                            <a:lnTo>
                              <a:pt x="128" y="28"/>
                            </a:lnTo>
                            <a:lnTo>
                              <a:pt x="132" y="26"/>
                            </a:lnTo>
                            <a:lnTo>
                              <a:pt x="152" y="16"/>
                            </a:lnTo>
                            <a:lnTo>
                              <a:pt x="152" y="16"/>
                            </a:lnTo>
                            <a:lnTo>
                              <a:pt x="156" y="12"/>
                            </a:lnTo>
                            <a:lnTo>
                              <a:pt x="160" y="10"/>
                            </a:lnTo>
                            <a:lnTo>
                              <a:pt x="160" y="8"/>
                            </a:lnTo>
                            <a:lnTo>
                              <a:pt x="160" y="6"/>
                            </a:lnTo>
                            <a:lnTo>
                              <a:pt x="160" y="2"/>
                            </a:lnTo>
                            <a:lnTo>
                              <a:pt x="162" y="2"/>
                            </a:lnTo>
                            <a:lnTo>
                              <a:pt x="162" y="2"/>
                            </a:lnTo>
                            <a:lnTo>
                              <a:pt x="168" y="2"/>
                            </a:lnTo>
                            <a:lnTo>
                              <a:pt x="168" y="0"/>
                            </a:lnTo>
                            <a:lnTo>
                              <a:pt x="170" y="0"/>
                            </a:lnTo>
                            <a:lnTo>
                              <a:pt x="176" y="0"/>
                            </a:lnTo>
                            <a:lnTo>
                              <a:pt x="176" y="0"/>
                            </a:lnTo>
                            <a:lnTo>
                              <a:pt x="180" y="2"/>
                            </a:lnTo>
                            <a:lnTo>
                              <a:pt x="182" y="6"/>
                            </a:lnTo>
                            <a:lnTo>
                              <a:pt x="182" y="10"/>
                            </a:lnTo>
                            <a:lnTo>
                              <a:pt x="176" y="14"/>
                            </a:lnTo>
                            <a:lnTo>
                              <a:pt x="176" y="14"/>
                            </a:lnTo>
                            <a:lnTo>
                              <a:pt x="162" y="22"/>
                            </a:lnTo>
                            <a:lnTo>
                              <a:pt x="150" y="44"/>
                            </a:lnTo>
                            <a:lnTo>
                              <a:pt x="150" y="44"/>
                            </a:lnTo>
                            <a:lnTo>
                              <a:pt x="148" y="44"/>
                            </a:lnTo>
                            <a:lnTo>
                              <a:pt x="142" y="50"/>
                            </a:lnTo>
                            <a:lnTo>
                              <a:pt x="142" y="50"/>
                            </a:lnTo>
                            <a:lnTo>
                              <a:pt x="140" y="56"/>
                            </a:lnTo>
                            <a:lnTo>
                              <a:pt x="140" y="58"/>
                            </a:lnTo>
                            <a:lnTo>
                              <a:pt x="140" y="62"/>
                            </a:lnTo>
                            <a:lnTo>
                              <a:pt x="138" y="66"/>
                            </a:lnTo>
                            <a:lnTo>
                              <a:pt x="138" y="66"/>
                            </a:lnTo>
                            <a:lnTo>
                              <a:pt x="130" y="78"/>
                            </a:lnTo>
                            <a:lnTo>
                              <a:pt x="128" y="84"/>
                            </a:lnTo>
                            <a:lnTo>
                              <a:pt x="128" y="84"/>
                            </a:lnTo>
                            <a:lnTo>
                              <a:pt x="128" y="84"/>
                            </a:lnTo>
                            <a:lnTo>
                              <a:pt x="130" y="84"/>
                            </a:lnTo>
                            <a:lnTo>
                              <a:pt x="132" y="84"/>
                            </a:lnTo>
                            <a:lnTo>
                              <a:pt x="134" y="86"/>
                            </a:lnTo>
                            <a:lnTo>
                              <a:pt x="134" y="86"/>
                            </a:lnTo>
                            <a:lnTo>
                              <a:pt x="136" y="88"/>
                            </a:lnTo>
                            <a:lnTo>
                              <a:pt x="138" y="86"/>
                            </a:lnTo>
                            <a:lnTo>
                              <a:pt x="140" y="88"/>
                            </a:lnTo>
                            <a:lnTo>
                              <a:pt x="140" y="94"/>
                            </a:lnTo>
                            <a:lnTo>
                              <a:pt x="140" y="94"/>
                            </a:lnTo>
                            <a:lnTo>
                              <a:pt x="144" y="110"/>
                            </a:lnTo>
                            <a:lnTo>
                              <a:pt x="144" y="116"/>
                            </a:lnTo>
                            <a:lnTo>
                              <a:pt x="144" y="122"/>
                            </a:lnTo>
                            <a:lnTo>
                              <a:pt x="144" y="122"/>
                            </a:lnTo>
                            <a:lnTo>
                              <a:pt x="144" y="124"/>
                            </a:lnTo>
                            <a:lnTo>
                              <a:pt x="144" y="128"/>
                            </a:lnTo>
                            <a:lnTo>
                              <a:pt x="150" y="132"/>
                            </a:lnTo>
                            <a:lnTo>
                              <a:pt x="156" y="136"/>
                            </a:lnTo>
                            <a:lnTo>
                              <a:pt x="162" y="140"/>
                            </a:lnTo>
                            <a:lnTo>
                              <a:pt x="162" y="140"/>
                            </a:lnTo>
                            <a:lnTo>
                              <a:pt x="166" y="142"/>
                            </a:lnTo>
                            <a:lnTo>
                              <a:pt x="170" y="144"/>
                            </a:lnTo>
                            <a:lnTo>
                              <a:pt x="176" y="142"/>
                            </a:lnTo>
                            <a:lnTo>
                              <a:pt x="182" y="140"/>
                            </a:lnTo>
                            <a:lnTo>
                              <a:pt x="186" y="142"/>
                            </a:lnTo>
                            <a:lnTo>
                              <a:pt x="190" y="144"/>
                            </a:lnTo>
                            <a:lnTo>
                              <a:pt x="190" y="144"/>
                            </a:lnTo>
                            <a:lnTo>
                              <a:pt x="196" y="148"/>
                            </a:lnTo>
                            <a:lnTo>
                              <a:pt x="200" y="148"/>
                            </a:lnTo>
                            <a:lnTo>
                              <a:pt x="206" y="156"/>
                            </a:lnTo>
                            <a:lnTo>
                              <a:pt x="206" y="156"/>
                            </a:lnTo>
                            <a:lnTo>
                              <a:pt x="214" y="162"/>
                            </a:lnTo>
                            <a:lnTo>
                              <a:pt x="220" y="164"/>
                            </a:lnTo>
                            <a:lnTo>
                              <a:pt x="228" y="164"/>
                            </a:lnTo>
                            <a:lnTo>
                              <a:pt x="238" y="160"/>
                            </a:lnTo>
                            <a:lnTo>
                              <a:pt x="238" y="160"/>
                            </a:lnTo>
                            <a:lnTo>
                              <a:pt x="244" y="160"/>
                            </a:lnTo>
                            <a:lnTo>
                              <a:pt x="246" y="160"/>
                            </a:lnTo>
                            <a:lnTo>
                              <a:pt x="246" y="162"/>
                            </a:lnTo>
                            <a:lnTo>
                              <a:pt x="244" y="166"/>
                            </a:lnTo>
                            <a:lnTo>
                              <a:pt x="244" y="166"/>
                            </a:lnTo>
                            <a:lnTo>
                              <a:pt x="242" y="170"/>
                            </a:lnTo>
                            <a:lnTo>
                              <a:pt x="242" y="172"/>
                            </a:lnTo>
                            <a:lnTo>
                              <a:pt x="242" y="176"/>
                            </a:lnTo>
                            <a:lnTo>
                              <a:pt x="240" y="178"/>
                            </a:lnTo>
                            <a:lnTo>
                              <a:pt x="240" y="178"/>
                            </a:lnTo>
                            <a:lnTo>
                              <a:pt x="238" y="180"/>
                            </a:lnTo>
                            <a:lnTo>
                              <a:pt x="240" y="184"/>
                            </a:lnTo>
                            <a:lnTo>
                              <a:pt x="240" y="188"/>
                            </a:lnTo>
                            <a:lnTo>
                              <a:pt x="238" y="194"/>
                            </a:lnTo>
                            <a:lnTo>
                              <a:pt x="238" y="194"/>
                            </a:lnTo>
                            <a:lnTo>
                              <a:pt x="236" y="200"/>
                            </a:lnTo>
                            <a:lnTo>
                              <a:pt x="238" y="204"/>
                            </a:lnTo>
                            <a:lnTo>
                              <a:pt x="238" y="212"/>
                            </a:lnTo>
                            <a:lnTo>
                              <a:pt x="240" y="218"/>
                            </a:lnTo>
                            <a:lnTo>
                              <a:pt x="246" y="218"/>
                            </a:lnTo>
                            <a:lnTo>
                              <a:pt x="246" y="218"/>
                            </a:lnTo>
                            <a:lnTo>
                              <a:pt x="248" y="224"/>
                            </a:lnTo>
                            <a:lnTo>
                              <a:pt x="248" y="230"/>
                            </a:lnTo>
                            <a:lnTo>
                              <a:pt x="246" y="236"/>
                            </a:lnTo>
                            <a:lnTo>
                              <a:pt x="240" y="248"/>
                            </a:lnTo>
                            <a:lnTo>
                              <a:pt x="240" y="248"/>
                            </a:lnTo>
                            <a:lnTo>
                              <a:pt x="242" y="248"/>
                            </a:lnTo>
                            <a:lnTo>
                              <a:pt x="246" y="250"/>
                            </a:lnTo>
                            <a:lnTo>
                              <a:pt x="250" y="258"/>
                            </a:lnTo>
                            <a:lnTo>
                              <a:pt x="252" y="272"/>
                            </a:lnTo>
                            <a:lnTo>
                              <a:pt x="254" y="290"/>
                            </a:lnTo>
                            <a:lnTo>
                              <a:pt x="254" y="290"/>
                            </a:lnTo>
                            <a:lnTo>
                              <a:pt x="250" y="290"/>
                            </a:lnTo>
                            <a:lnTo>
                              <a:pt x="248" y="288"/>
                            </a:lnTo>
                            <a:lnTo>
                              <a:pt x="248" y="282"/>
                            </a:lnTo>
                            <a:lnTo>
                              <a:pt x="248" y="276"/>
                            </a:lnTo>
                            <a:lnTo>
                              <a:pt x="248" y="274"/>
                            </a:lnTo>
                            <a:lnTo>
                              <a:pt x="246" y="274"/>
                            </a:lnTo>
                            <a:lnTo>
                              <a:pt x="246" y="274"/>
                            </a:lnTo>
                            <a:lnTo>
                              <a:pt x="244" y="274"/>
                            </a:lnTo>
                            <a:lnTo>
                              <a:pt x="242" y="276"/>
                            </a:lnTo>
                            <a:lnTo>
                              <a:pt x="242" y="278"/>
                            </a:lnTo>
                            <a:lnTo>
                              <a:pt x="240" y="278"/>
                            </a:lnTo>
                            <a:lnTo>
                              <a:pt x="240" y="278"/>
                            </a:lnTo>
                            <a:lnTo>
                              <a:pt x="238" y="278"/>
                            </a:lnTo>
                            <a:lnTo>
                              <a:pt x="238" y="276"/>
                            </a:lnTo>
                            <a:lnTo>
                              <a:pt x="236" y="274"/>
                            </a:lnTo>
                            <a:lnTo>
                              <a:pt x="232" y="274"/>
                            </a:lnTo>
                            <a:lnTo>
                              <a:pt x="232" y="274"/>
                            </a:lnTo>
                            <a:lnTo>
                              <a:pt x="230" y="274"/>
                            </a:lnTo>
                            <a:lnTo>
                              <a:pt x="232" y="276"/>
                            </a:lnTo>
                            <a:lnTo>
                              <a:pt x="232" y="278"/>
                            </a:lnTo>
                            <a:lnTo>
                              <a:pt x="226" y="280"/>
                            </a:lnTo>
                            <a:lnTo>
                              <a:pt x="226" y="280"/>
                            </a:lnTo>
                            <a:lnTo>
                              <a:pt x="212" y="282"/>
                            </a:lnTo>
                            <a:lnTo>
                              <a:pt x="196" y="284"/>
                            </a:lnTo>
                            <a:lnTo>
                              <a:pt x="196" y="284"/>
                            </a:lnTo>
                            <a:lnTo>
                              <a:pt x="196" y="290"/>
                            </a:lnTo>
                            <a:lnTo>
                              <a:pt x="198" y="292"/>
                            </a:lnTo>
                            <a:lnTo>
                              <a:pt x="202" y="294"/>
                            </a:lnTo>
                            <a:lnTo>
                              <a:pt x="202" y="294"/>
                            </a:lnTo>
                            <a:lnTo>
                              <a:pt x="204" y="294"/>
                            </a:lnTo>
                            <a:lnTo>
                              <a:pt x="206" y="296"/>
                            </a:lnTo>
                            <a:lnTo>
                              <a:pt x="208" y="300"/>
                            </a:lnTo>
                            <a:lnTo>
                              <a:pt x="208" y="306"/>
                            </a:lnTo>
                            <a:lnTo>
                              <a:pt x="208" y="306"/>
                            </a:lnTo>
                            <a:lnTo>
                              <a:pt x="206" y="306"/>
                            </a:lnTo>
                            <a:lnTo>
                              <a:pt x="206" y="306"/>
                            </a:lnTo>
                            <a:lnTo>
                              <a:pt x="200" y="306"/>
                            </a:lnTo>
                            <a:lnTo>
                              <a:pt x="196" y="306"/>
                            </a:lnTo>
                            <a:lnTo>
                              <a:pt x="192" y="310"/>
                            </a:lnTo>
                            <a:lnTo>
                              <a:pt x="190" y="312"/>
                            </a:lnTo>
                            <a:lnTo>
                              <a:pt x="192" y="316"/>
                            </a:lnTo>
                            <a:lnTo>
                              <a:pt x="192" y="316"/>
                            </a:lnTo>
                            <a:lnTo>
                              <a:pt x="196" y="324"/>
                            </a:lnTo>
                            <a:lnTo>
                              <a:pt x="200" y="334"/>
                            </a:lnTo>
                            <a:lnTo>
                              <a:pt x="204" y="342"/>
                            </a:lnTo>
                            <a:lnTo>
                              <a:pt x="204" y="344"/>
                            </a:lnTo>
                            <a:lnTo>
                              <a:pt x="204" y="346"/>
                            </a:lnTo>
                            <a:lnTo>
                              <a:pt x="204" y="346"/>
                            </a:lnTo>
                            <a:lnTo>
                              <a:pt x="202" y="358"/>
                            </a:lnTo>
                            <a:lnTo>
                              <a:pt x="200" y="382"/>
                            </a:lnTo>
                            <a:lnTo>
                              <a:pt x="196" y="406"/>
                            </a:lnTo>
                            <a:lnTo>
                              <a:pt x="194" y="416"/>
                            </a:lnTo>
                            <a:lnTo>
                              <a:pt x="192" y="426"/>
                            </a:lnTo>
                            <a:lnTo>
                              <a:pt x="192" y="426"/>
                            </a:lnTo>
                            <a:lnTo>
                              <a:pt x="182" y="420"/>
                            </a:lnTo>
                            <a:lnTo>
                              <a:pt x="180" y="416"/>
                            </a:lnTo>
                            <a:lnTo>
                              <a:pt x="182" y="412"/>
                            </a:lnTo>
                            <a:lnTo>
                              <a:pt x="186" y="402"/>
                            </a:lnTo>
                            <a:lnTo>
                              <a:pt x="186" y="402"/>
                            </a:lnTo>
                            <a:lnTo>
                              <a:pt x="190" y="398"/>
                            </a:lnTo>
                            <a:lnTo>
                              <a:pt x="190" y="392"/>
                            </a:lnTo>
                            <a:lnTo>
                              <a:pt x="190" y="388"/>
                            </a:lnTo>
                            <a:lnTo>
                              <a:pt x="188" y="386"/>
                            </a:lnTo>
                            <a:lnTo>
                              <a:pt x="184" y="384"/>
                            </a:lnTo>
                            <a:lnTo>
                              <a:pt x="182" y="384"/>
                            </a:lnTo>
                            <a:lnTo>
                              <a:pt x="176" y="386"/>
                            </a:lnTo>
                            <a:lnTo>
                              <a:pt x="176" y="386"/>
                            </a:lnTo>
                            <a:lnTo>
                              <a:pt x="172" y="388"/>
                            </a:lnTo>
                            <a:lnTo>
                              <a:pt x="170" y="386"/>
                            </a:lnTo>
                            <a:lnTo>
                              <a:pt x="164" y="384"/>
                            </a:lnTo>
                            <a:lnTo>
                              <a:pt x="158" y="382"/>
                            </a:lnTo>
                            <a:lnTo>
                              <a:pt x="156" y="384"/>
                            </a:lnTo>
                            <a:lnTo>
                              <a:pt x="150" y="386"/>
                            </a:lnTo>
                            <a:lnTo>
                              <a:pt x="150" y="386"/>
                            </a:lnTo>
                            <a:lnTo>
                              <a:pt x="142" y="388"/>
                            </a:lnTo>
                            <a:lnTo>
                              <a:pt x="138" y="388"/>
                            </a:lnTo>
                            <a:lnTo>
                              <a:pt x="132" y="386"/>
                            </a:lnTo>
                            <a:lnTo>
                              <a:pt x="128" y="386"/>
                            </a:lnTo>
                            <a:lnTo>
                              <a:pt x="128" y="386"/>
                            </a:lnTo>
                            <a:lnTo>
                              <a:pt x="124" y="374"/>
                            </a:lnTo>
                            <a:lnTo>
                              <a:pt x="122" y="368"/>
                            </a:lnTo>
                            <a:lnTo>
                              <a:pt x="118" y="366"/>
                            </a:lnTo>
                            <a:lnTo>
                              <a:pt x="116" y="362"/>
                            </a:lnTo>
                            <a:lnTo>
                              <a:pt x="116" y="362"/>
                            </a:lnTo>
                            <a:lnTo>
                              <a:pt x="114" y="358"/>
                            </a:lnTo>
                            <a:lnTo>
                              <a:pt x="114" y="356"/>
                            </a:lnTo>
                            <a:lnTo>
                              <a:pt x="108" y="354"/>
                            </a:lnTo>
                            <a:lnTo>
                              <a:pt x="104" y="352"/>
                            </a:lnTo>
                            <a:lnTo>
                              <a:pt x="102" y="348"/>
                            </a:lnTo>
                            <a:lnTo>
                              <a:pt x="100" y="344"/>
                            </a:lnTo>
                            <a:lnTo>
                              <a:pt x="100" y="344"/>
                            </a:lnTo>
                            <a:lnTo>
                              <a:pt x="98" y="336"/>
                            </a:lnTo>
                            <a:lnTo>
                              <a:pt x="92" y="330"/>
                            </a:lnTo>
                            <a:lnTo>
                              <a:pt x="86" y="328"/>
                            </a:lnTo>
                            <a:lnTo>
                              <a:pt x="80" y="328"/>
                            </a:lnTo>
                            <a:lnTo>
                              <a:pt x="80" y="328"/>
                            </a:lnTo>
                            <a:lnTo>
                              <a:pt x="62" y="318"/>
                            </a:lnTo>
                            <a:lnTo>
                              <a:pt x="56" y="316"/>
                            </a:lnTo>
                            <a:lnTo>
                              <a:pt x="54" y="316"/>
                            </a:lnTo>
                            <a:lnTo>
                              <a:pt x="56" y="318"/>
                            </a:lnTo>
                            <a:lnTo>
                              <a:pt x="56" y="318"/>
                            </a:lnTo>
                            <a:lnTo>
                              <a:pt x="54" y="318"/>
                            </a:lnTo>
                            <a:lnTo>
                              <a:pt x="54" y="320"/>
                            </a:lnTo>
                            <a:lnTo>
                              <a:pt x="46" y="318"/>
                            </a:lnTo>
                            <a:lnTo>
                              <a:pt x="38" y="314"/>
                            </a:lnTo>
                            <a:lnTo>
                              <a:pt x="32" y="310"/>
                            </a:lnTo>
                            <a:lnTo>
                              <a:pt x="32" y="310"/>
                            </a:lnTo>
                            <a:lnTo>
                              <a:pt x="28" y="304"/>
                            </a:lnTo>
                            <a:lnTo>
                              <a:pt x="22" y="300"/>
                            </a:lnTo>
                            <a:lnTo>
                              <a:pt x="4" y="292"/>
                            </a:lnTo>
                            <a:lnTo>
                              <a:pt x="4" y="292"/>
                            </a:lnTo>
                            <a:lnTo>
                              <a:pt x="4" y="288"/>
                            </a:lnTo>
                            <a:lnTo>
                              <a:pt x="2" y="290"/>
                            </a:lnTo>
                            <a:lnTo>
                              <a:pt x="0" y="288"/>
                            </a:lnTo>
                            <a:lnTo>
                              <a:pt x="4" y="284"/>
                            </a:lnTo>
                            <a:lnTo>
                              <a:pt x="4" y="284"/>
                            </a:lnTo>
                            <a:lnTo>
                              <a:pt x="10" y="278"/>
                            </a:lnTo>
                            <a:lnTo>
                              <a:pt x="14" y="276"/>
                            </a:lnTo>
                            <a:lnTo>
                              <a:pt x="16" y="276"/>
                            </a:lnTo>
                            <a:lnTo>
                              <a:pt x="18" y="276"/>
                            </a:lnTo>
                            <a:lnTo>
                              <a:pt x="18" y="276"/>
                            </a:lnTo>
                            <a:lnTo>
                              <a:pt x="18" y="272"/>
                            </a:lnTo>
                            <a:lnTo>
                              <a:pt x="16" y="268"/>
                            </a:lnTo>
                            <a:lnTo>
                              <a:pt x="14" y="266"/>
                            </a:lnTo>
                            <a:lnTo>
                              <a:pt x="14" y="260"/>
                            </a:lnTo>
                            <a:lnTo>
                              <a:pt x="14" y="260"/>
                            </a:lnTo>
                            <a:lnTo>
                              <a:pt x="18" y="258"/>
                            </a:lnTo>
                            <a:lnTo>
                              <a:pt x="20" y="256"/>
                            </a:lnTo>
                            <a:lnTo>
                              <a:pt x="28" y="254"/>
                            </a:lnTo>
                            <a:lnTo>
                              <a:pt x="34" y="252"/>
                            </a:lnTo>
                            <a:lnTo>
                              <a:pt x="36" y="250"/>
                            </a:lnTo>
                            <a:lnTo>
                              <a:pt x="36" y="248"/>
                            </a:lnTo>
                            <a:lnTo>
                              <a:pt x="36" y="248"/>
                            </a:lnTo>
                            <a:lnTo>
                              <a:pt x="38" y="244"/>
                            </a:lnTo>
                            <a:lnTo>
                              <a:pt x="42" y="238"/>
                            </a:lnTo>
                            <a:lnTo>
                              <a:pt x="48" y="232"/>
                            </a:lnTo>
                            <a:lnTo>
                              <a:pt x="54" y="226"/>
                            </a:lnTo>
                            <a:lnTo>
                              <a:pt x="54" y="226"/>
                            </a:lnTo>
                            <a:lnTo>
                              <a:pt x="52" y="224"/>
                            </a:lnTo>
                            <a:lnTo>
                              <a:pt x="52" y="222"/>
                            </a:lnTo>
                            <a:lnTo>
                              <a:pt x="54" y="222"/>
                            </a:lnTo>
                            <a:lnTo>
                              <a:pt x="52" y="220"/>
                            </a:lnTo>
                            <a:lnTo>
                              <a:pt x="52" y="220"/>
                            </a:lnTo>
                            <a:lnTo>
                              <a:pt x="50" y="222"/>
                            </a:lnTo>
                            <a:lnTo>
                              <a:pt x="50" y="222"/>
                            </a:lnTo>
                            <a:lnTo>
                              <a:pt x="48" y="222"/>
                            </a:lnTo>
                            <a:lnTo>
                              <a:pt x="44" y="222"/>
                            </a:lnTo>
                            <a:lnTo>
                              <a:pt x="44" y="222"/>
                            </a:lnTo>
                            <a:lnTo>
                              <a:pt x="42" y="220"/>
                            </a:lnTo>
                            <a:lnTo>
                              <a:pt x="40" y="216"/>
                            </a:lnTo>
                            <a:lnTo>
                              <a:pt x="44" y="210"/>
                            </a:lnTo>
                            <a:lnTo>
                              <a:pt x="44" y="210"/>
                            </a:lnTo>
                            <a:lnTo>
                              <a:pt x="44" y="204"/>
                            </a:lnTo>
                            <a:lnTo>
                              <a:pt x="44" y="198"/>
                            </a:lnTo>
                            <a:lnTo>
                              <a:pt x="42" y="182"/>
                            </a:lnTo>
                            <a:lnTo>
                              <a:pt x="42" y="182"/>
                            </a:lnTo>
                            <a:lnTo>
                              <a:pt x="40" y="178"/>
                            </a:lnTo>
                            <a:lnTo>
                              <a:pt x="38" y="176"/>
                            </a:lnTo>
                            <a:lnTo>
                              <a:pt x="38" y="176"/>
                            </a:lnTo>
                            <a:lnTo>
                              <a:pt x="38" y="174"/>
                            </a:lnTo>
                            <a:lnTo>
                              <a:pt x="38" y="174"/>
                            </a:lnTo>
                            <a:lnTo>
                              <a:pt x="44" y="170"/>
                            </a:lnTo>
                            <a:lnTo>
                              <a:pt x="46" y="168"/>
                            </a:lnTo>
                            <a:lnTo>
                              <a:pt x="44" y="162"/>
                            </a:lnTo>
                            <a:lnTo>
                              <a:pt x="44" y="162"/>
                            </a:lnTo>
                            <a:lnTo>
                              <a:pt x="40" y="154"/>
                            </a:lnTo>
                            <a:lnTo>
                              <a:pt x="42" y="154"/>
                            </a:lnTo>
                            <a:lnTo>
                              <a:pt x="42" y="152"/>
                            </a:lnTo>
                            <a:lnTo>
                              <a:pt x="42" y="152"/>
                            </a:lnTo>
                            <a:lnTo>
                              <a:pt x="40" y="146"/>
                            </a:lnTo>
                            <a:lnTo>
                              <a:pt x="40" y="144"/>
                            </a:lnTo>
                            <a:lnTo>
                              <a:pt x="38" y="144"/>
                            </a:lnTo>
                            <a:lnTo>
                              <a:pt x="38" y="144"/>
                            </a:lnTo>
                            <a:lnTo>
                              <a:pt x="38" y="144"/>
                            </a:lnTo>
                            <a:lnTo>
                              <a:pt x="36" y="140"/>
                            </a:lnTo>
                            <a:lnTo>
                              <a:pt x="34" y="140"/>
                            </a:lnTo>
                            <a:lnTo>
                              <a:pt x="32" y="140"/>
                            </a:lnTo>
                            <a:lnTo>
                              <a:pt x="32" y="138"/>
                            </a:lnTo>
                            <a:lnTo>
                              <a:pt x="32" y="138"/>
                            </a:lnTo>
                            <a:lnTo>
                              <a:pt x="30" y="134"/>
                            </a:lnTo>
                            <a:lnTo>
                              <a:pt x="30" y="134"/>
                            </a:lnTo>
                            <a:lnTo>
                              <a:pt x="30" y="132"/>
                            </a:lnTo>
                            <a:lnTo>
                              <a:pt x="30" y="132"/>
                            </a:lnTo>
                            <a:lnTo>
                              <a:pt x="32" y="128"/>
                            </a:lnTo>
                            <a:lnTo>
                              <a:pt x="34" y="124"/>
                            </a:lnTo>
                            <a:lnTo>
                              <a:pt x="34" y="124"/>
                            </a:lnTo>
                            <a:lnTo>
                              <a:pt x="34" y="122"/>
                            </a:lnTo>
                            <a:lnTo>
                              <a:pt x="36" y="122"/>
                            </a:lnTo>
                            <a:lnTo>
                              <a:pt x="38" y="122"/>
                            </a:lnTo>
                            <a:lnTo>
                              <a:pt x="44" y="120"/>
                            </a:lnTo>
                            <a:lnTo>
                              <a:pt x="44" y="120"/>
                            </a:lnTo>
                            <a:lnTo>
                              <a:pt x="46" y="116"/>
                            </a:lnTo>
                            <a:lnTo>
                              <a:pt x="46" y="114"/>
                            </a:lnTo>
                            <a:lnTo>
                              <a:pt x="44" y="114"/>
                            </a:lnTo>
                            <a:lnTo>
                              <a:pt x="46" y="110"/>
                            </a:lnTo>
                            <a:lnTo>
                              <a:pt x="46" y="110"/>
                            </a:lnTo>
                            <a:lnTo>
                              <a:pt x="48" y="108"/>
                            </a:lnTo>
                            <a:lnTo>
                              <a:pt x="46" y="108"/>
                            </a:lnTo>
                            <a:lnTo>
                              <a:pt x="44" y="106"/>
                            </a:lnTo>
                            <a:lnTo>
                              <a:pt x="44" y="104"/>
                            </a:lnTo>
                            <a:lnTo>
                              <a:pt x="44" y="104"/>
                            </a:lnTo>
                            <a:lnTo>
                              <a:pt x="44" y="102"/>
                            </a:lnTo>
                            <a:lnTo>
                              <a:pt x="44" y="100"/>
                            </a:lnTo>
                            <a:lnTo>
                              <a:pt x="44" y="98"/>
                            </a:lnTo>
                            <a:lnTo>
                              <a:pt x="46" y="94"/>
                            </a:lnTo>
                            <a:lnTo>
                              <a:pt x="46" y="94"/>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7" name="Mexico"/>
                      <p:cNvSpPr>
                        <a:spLocks/>
                      </p:cNvSpPr>
                      <p:nvPr/>
                    </p:nvSpPr>
                    <p:spPr bwMode="auto">
                      <a:xfrm>
                        <a:off x="2254724" y="2456185"/>
                        <a:ext cx="814088" cy="667663"/>
                      </a:xfrm>
                      <a:custGeom>
                        <a:avLst/>
                        <a:gdLst/>
                        <a:ahLst/>
                        <a:cxnLst>
                          <a:cxn ang="0">
                            <a:pos x="326" y="228"/>
                          </a:cxn>
                          <a:cxn ang="0">
                            <a:pos x="324" y="274"/>
                          </a:cxn>
                          <a:cxn ang="0">
                            <a:pos x="340" y="326"/>
                          </a:cxn>
                          <a:cxn ang="0">
                            <a:pos x="360" y="342"/>
                          </a:cxn>
                          <a:cxn ang="0">
                            <a:pos x="406" y="336"/>
                          </a:cxn>
                          <a:cxn ang="0">
                            <a:pos x="430" y="330"/>
                          </a:cxn>
                          <a:cxn ang="0">
                            <a:pos x="442" y="322"/>
                          </a:cxn>
                          <a:cxn ang="0">
                            <a:pos x="456" y="296"/>
                          </a:cxn>
                          <a:cxn ang="0">
                            <a:pos x="498" y="266"/>
                          </a:cxn>
                          <a:cxn ang="0">
                            <a:pos x="532" y="270"/>
                          </a:cxn>
                          <a:cxn ang="0">
                            <a:pos x="522" y="304"/>
                          </a:cxn>
                          <a:cxn ang="0">
                            <a:pos x="516" y="314"/>
                          </a:cxn>
                          <a:cxn ang="0">
                            <a:pos x="500" y="356"/>
                          </a:cxn>
                          <a:cxn ang="0">
                            <a:pos x="492" y="346"/>
                          </a:cxn>
                          <a:cxn ang="0">
                            <a:pos x="432" y="364"/>
                          </a:cxn>
                          <a:cxn ang="0">
                            <a:pos x="428" y="386"/>
                          </a:cxn>
                          <a:cxn ang="0">
                            <a:pos x="424" y="402"/>
                          </a:cxn>
                          <a:cxn ang="0">
                            <a:pos x="380" y="420"/>
                          </a:cxn>
                          <a:cxn ang="0">
                            <a:pos x="356" y="402"/>
                          </a:cxn>
                          <a:cxn ang="0">
                            <a:pos x="350" y="406"/>
                          </a:cxn>
                          <a:cxn ang="0">
                            <a:pos x="312" y="416"/>
                          </a:cxn>
                          <a:cxn ang="0">
                            <a:pos x="274" y="402"/>
                          </a:cxn>
                          <a:cxn ang="0">
                            <a:pos x="234" y="378"/>
                          </a:cxn>
                          <a:cxn ang="0">
                            <a:pos x="186" y="352"/>
                          </a:cxn>
                          <a:cxn ang="0">
                            <a:pos x="162" y="334"/>
                          </a:cxn>
                          <a:cxn ang="0">
                            <a:pos x="144" y="308"/>
                          </a:cxn>
                          <a:cxn ang="0">
                            <a:pos x="154" y="286"/>
                          </a:cxn>
                          <a:cxn ang="0">
                            <a:pos x="160" y="266"/>
                          </a:cxn>
                          <a:cxn ang="0">
                            <a:pos x="124" y="192"/>
                          </a:cxn>
                          <a:cxn ang="0">
                            <a:pos x="118" y="186"/>
                          </a:cxn>
                          <a:cxn ang="0">
                            <a:pos x="108" y="160"/>
                          </a:cxn>
                          <a:cxn ang="0">
                            <a:pos x="94" y="134"/>
                          </a:cxn>
                          <a:cxn ang="0">
                            <a:pos x="84" y="112"/>
                          </a:cxn>
                          <a:cxn ang="0">
                            <a:pos x="72" y="90"/>
                          </a:cxn>
                          <a:cxn ang="0">
                            <a:pos x="66" y="52"/>
                          </a:cxn>
                          <a:cxn ang="0">
                            <a:pos x="50" y="26"/>
                          </a:cxn>
                          <a:cxn ang="0">
                            <a:pos x="38" y="42"/>
                          </a:cxn>
                          <a:cxn ang="0">
                            <a:pos x="50" y="90"/>
                          </a:cxn>
                          <a:cxn ang="0">
                            <a:pos x="58" y="116"/>
                          </a:cxn>
                          <a:cxn ang="0">
                            <a:pos x="68" y="148"/>
                          </a:cxn>
                          <a:cxn ang="0">
                            <a:pos x="66" y="168"/>
                          </a:cxn>
                          <a:cxn ang="0">
                            <a:pos x="76" y="164"/>
                          </a:cxn>
                          <a:cxn ang="0">
                            <a:pos x="74" y="202"/>
                          </a:cxn>
                          <a:cxn ang="0">
                            <a:pos x="86" y="214"/>
                          </a:cxn>
                          <a:cxn ang="0">
                            <a:pos x="70" y="232"/>
                          </a:cxn>
                          <a:cxn ang="0">
                            <a:pos x="46" y="192"/>
                          </a:cxn>
                          <a:cxn ang="0">
                            <a:pos x="44" y="162"/>
                          </a:cxn>
                          <a:cxn ang="0">
                            <a:pos x="24" y="140"/>
                          </a:cxn>
                          <a:cxn ang="0">
                            <a:pos x="6" y="118"/>
                          </a:cxn>
                          <a:cxn ang="0">
                            <a:pos x="22" y="114"/>
                          </a:cxn>
                          <a:cxn ang="0">
                            <a:pos x="28" y="104"/>
                          </a:cxn>
                          <a:cxn ang="0">
                            <a:pos x="4" y="60"/>
                          </a:cxn>
                          <a:cxn ang="0">
                            <a:pos x="2" y="32"/>
                          </a:cxn>
                          <a:cxn ang="0">
                            <a:pos x="4" y="2"/>
                          </a:cxn>
                          <a:cxn ang="0">
                            <a:pos x="200" y="22"/>
                          </a:cxn>
                          <a:cxn ang="0">
                            <a:pos x="224" y="46"/>
                          </a:cxn>
                          <a:cxn ang="0">
                            <a:pos x="252" y="72"/>
                          </a:cxn>
                          <a:cxn ang="0">
                            <a:pos x="278" y="68"/>
                          </a:cxn>
                          <a:cxn ang="0">
                            <a:pos x="312" y="140"/>
                          </a:cxn>
                        </a:cxnLst>
                        <a:rect l="0" t="0" r="r" b="b"/>
                        <a:pathLst>
                          <a:path w="536" h="440">
                            <a:moveTo>
                              <a:pt x="346" y="160"/>
                            </a:moveTo>
                            <a:lnTo>
                              <a:pt x="346" y="160"/>
                            </a:lnTo>
                            <a:lnTo>
                              <a:pt x="346" y="168"/>
                            </a:lnTo>
                            <a:lnTo>
                              <a:pt x="344" y="174"/>
                            </a:lnTo>
                            <a:lnTo>
                              <a:pt x="338" y="182"/>
                            </a:lnTo>
                            <a:lnTo>
                              <a:pt x="338" y="182"/>
                            </a:lnTo>
                            <a:lnTo>
                              <a:pt x="334" y="188"/>
                            </a:lnTo>
                            <a:lnTo>
                              <a:pt x="332" y="196"/>
                            </a:lnTo>
                            <a:lnTo>
                              <a:pt x="328" y="212"/>
                            </a:lnTo>
                            <a:lnTo>
                              <a:pt x="326" y="228"/>
                            </a:lnTo>
                            <a:lnTo>
                              <a:pt x="324" y="236"/>
                            </a:lnTo>
                            <a:lnTo>
                              <a:pt x="322" y="242"/>
                            </a:lnTo>
                            <a:lnTo>
                              <a:pt x="322" y="242"/>
                            </a:lnTo>
                            <a:lnTo>
                              <a:pt x="320" y="246"/>
                            </a:lnTo>
                            <a:lnTo>
                              <a:pt x="318" y="252"/>
                            </a:lnTo>
                            <a:lnTo>
                              <a:pt x="320" y="260"/>
                            </a:lnTo>
                            <a:lnTo>
                              <a:pt x="324" y="266"/>
                            </a:lnTo>
                            <a:lnTo>
                              <a:pt x="324" y="270"/>
                            </a:lnTo>
                            <a:lnTo>
                              <a:pt x="324" y="274"/>
                            </a:lnTo>
                            <a:lnTo>
                              <a:pt x="324" y="274"/>
                            </a:lnTo>
                            <a:lnTo>
                              <a:pt x="322" y="278"/>
                            </a:lnTo>
                            <a:lnTo>
                              <a:pt x="322" y="282"/>
                            </a:lnTo>
                            <a:lnTo>
                              <a:pt x="324" y="292"/>
                            </a:lnTo>
                            <a:lnTo>
                              <a:pt x="334" y="312"/>
                            </a:lnTo>
                            <a:lnTo>
                              <a:pt x="334" y="312"/>
                            </a:lnTo>
                            <a:lnTo>
                              <a:pt x="336" y="318"/>
                            </a:lnTo>
                            <a:lnTo>
                              <a:pt x="336" y="322"/>
                            </a:lnTo>
                            <a:lnTo>
                              <a:pt x="336" y="324"/>
                            </a:lnTo>
                            <a:lnTo>
                              <a:pt x="340" y="326"/>
                            </a:lnTo>
                            <a:lnTo>
                              <a:pt x="340" y="326"/>
                            </a:lnTo>
                            <a:lnTo>
                              <a:pt x="342" y="328"/>
                            </a:lnTo>
                            <a:lnTo>
                              <a:pt x="342" y="330"/>
                            </a:lnTo>
                            <a:lnTo>
                              <a:pt x="342" y="334"/>
                            </a:lnTo>
                            <a:lnTo>
                              <a:pt x="344" y="338"/>
                            </a:lnTo>
                            <a:lnTo>
                              <a:pt x="346" y="338"/>
                            </a:lnTo>
                            <a:lnTo>
                              <a:pt x="348" y="338"/>
                            </a:lnTo>
                            <a:lnTo>
                              <a:pt x="348" y="338"/>
                            </a:lnTo>
                            <a:lnTo>
                              <a:pt x="352" y="338"/>
                            </a:lnTo>
                            <a:lnTo>
                              <a:pt x="356" y="340"/>
                            </a:lnTo>
                            <a:lnTo>
                              <a:pt x="360" y="342"/>
                            </a:lnTo>
                            <a:lnTo>
                              <a:pt x="360" y="342"/>
                            </a:lnTo>
                            <a:lnTo>
                              <a:pt x="366" y="346"/>
                            </a:lnTo>
                            <a:lnTo>
                              <a:pt x="372" y="346"/>
                            </a:lnTo>
                            <a:lnTo>
                              <a:pt x="378" y="344"/>
                            </a:lnTo>
                            <a:lnTo>
                              <a:pt x="378" y="344"/>
                            </a:lnTo>
                            <a:lnTo>
                              <a:pt x="386" y="340"/>
                            </a:lnTo>
                            <a:lnTo>
                              <a:pt x="392" y="340"/>
                            </a:lnTo>
                            <a:lnTo>
                              <a:pt x="398" y="338"/>
                            </a:lnTo>
                            <a:lnTo>
                              <a:pt x="406" y="336"/>
                            </a:lnTo>
                            <a:lnTo>
                              <a:pt x="406" y="336"/>
                            </a:lnTo>
                            <a:lnTo>
                              <a:pt x="412" y="334"/>
                            </a:lnTo>
                            <a:lnTo>
                              <a:pt x="416" y="332"/>
                            </a:lnTo>
                            <a:lnTo>
                              <a:pt x="420" y="332"/>
                            </a:lnTo>
                            <a:lnTo>
                              <a:pt x="424" y="330"/>
                            </a:lnTo>
                            <a:lnTo>
                              <a:pt x="424" y="330"/>
                            </a:lnTo>
                            <a:lnTo>
                              <a:pt x="428" y="328"/>
                            </a:lnTo>
                            <a:lnTo>
                              <a:pt x="432" y="328"/>
                            </a:lnTo>
                            <a:lnTo>
                              <a:pt x="432" y="330"/>
                            </a:lnTo>
                            <a:lnTo>
                              <a:pt x="430" y="330"/>
                            </a:lnTo>
                            <a:lnTo>
                              <a:pt x="430" y="330"/>
                            </a:lnTo>
                            <a:lnTo>
                              <a:pt x="426" y="332"/>
                            </a:lnTo>
                            <a:lnTo>
                              <a:pt x="426" y="334"/>
                            </a:lnTo>
                            <a:lnTo>
                              <a:pt x="428" y="334"/>
                            </a:lnTo>
                            <a:lnTo>
                              <a:pt x="434" y="332"/>
                            </a:lnTo>
                            <a:lnTo>
                              <a:pt x="434" y="332"/>
                            </a:lnTo>
                            <a:lnTo>
                              <a:pt x="438" y="330"/>
                            </a:lnTo>
                            <a:lnTo>
                              <a:pt x="436" y="328"/>
                            </a:lnTo>
                            <a:lnTo>
                              <a:pt x="436" y="326"/>
                            </a:lnTo>
                            <a:lnTo>
                              <a:pt x="436" y="326"/>
                            </a:lnTo>
                            <a:lnTo>
                              <a:pt x="442" y="322"/>
                            </a:lnTo>
                            <a:lnTo>
                              <a:pt x="442" y="322"/>
                            </a:lnTo>
                            <a:lnTo>
                              <a:pt x="444" y="320"/>
                            </a:lnTo>
                            <a:lnTo>
                              <a:pt x="446" y="318"/>
                            </a:lnTo>
                            <a:lnTo>
                              <a:pt x="446" y="312"/>
                            </a:lnTo>
                            <a:lnTo>
                              <a:pt x="448" y="308"/>
                            </a:lnTo>
                            <a:lnTo>
                              <a:pt x="450" y="306"/>
                            </a:lnTo>
                            <a:lnTo>
                              <a:pt x="452" y="304"/>
                            </a:lnTo>
                            <a:lnTo>
                              <a:pt x="452" y="304"/>
                            </a:lnTo>
                            <a:lnTo>
                              <a:pt x="454" y="302"/>
                            </a:lnTo>
                            <a:lnTo>
                              <a:pt x="456" y="296"/>
                            </a:lnTo>
                            <a:lnTo>
                              <a:pt x="456" y="280"/>
                            </a:lnTo>
                            <a:lnTo>
                              <a:pt x="456" y="280"/>
                            </a:lnTo>
                            <a:lnTo>
                              <a:pt x="456" y="276"/>
                            </a:lnTo>
                            <a:lnTo>
                              <a:pt x="460" y="274"/>
                            </a:lnTo>
                            <a:lnTo>
                              <a:pt x="470" y="268"/>
                            </a:lnTo>
                            <a:lnTo>
                              <a:pt x="482" y="266"/>
                            </a:lnTo>
                            <a:lnTo>
                              <a:pt x="488" y="266"/>
                            </a:lnTo>
                            <a:lnTo>
                              <a:pt x="488" y="266"/>
                            </a:lnTo>
                            <a:lnTo>
                              <a:pt x="492" y="268"/>
                            </a:lnTo>
                            <a:lnTo>
                              <a:pt x="498" y="266"/>
                            </a:lnTo>
                            <a:lnTo>
                              <a:pt x="504" y="264"/>
                            </a:lnTo>
                            <a:lnTo>
                              <a:pt x="514" y="264"/>
                            </a:lnTo>
                            <a:lnTo>
                              <a:pt x="514" y="264"/>
                            </a:lnTo>
                            <a:lnTo>
                              <a:pt x="520" y="264"/>
                            </a:lnTo>
                            <a:lnTo>
                              <a:pt x="524" y="264"/>
                            </a:lnTo>
                            <a:lnTo>
                              <a:pt x="526" y="264"/>
                            </a:lnTo>
                            <a:lnTo>
                              <a:pt x="528" y="266"/>
                            </a:lnTo>
                            <a:lnTo>
                              <a:pt x="528" y="266"/>
                            </a:lnTo>
                            <a:lnTo>
                              <a:pt x="532" y="270"/>
                            </a:lnTo>
                            <a:lnTo>
                              <a:pt x="532" y="270"/>
                            </a:lnTo>
                            <a:lnTo>
                              <a:pt x="534" y="272"/>
                            </a:lnTo>
                            <a:lnTo>
                              <a:pt x="536" y="274"/>
                            </a:lnTo>
                            <a:lnTo>
                              <a:pt x="536" y="274"/>
                            </a:lnTo>
                            <a:lnTo>
                              <a:pt x="536" y="280"/>
                            </a:lnTo>
                            <a:lnTo>
                              <a:pt x="534" y="284"/>
                            </a:lnTo>
                            <a:lnTo>
                              <a:pt x="530" y="288"/>
                            </a:lnTo>
                            <a:lnTo>
                              <a:pt x="526" y="292"/>
                            </a:lnTo>
                            <a:lnTo>
                              <a:pt x="526" y="292"/>
                            </a:lnTo>
                            <a:lnTo>
                              <a:pt x="524" y="300"/>
                            </a:lnTo>
                            <a:lnTo>
                              <a:pt x="522" y="304"/>
                            </a:lnTo>
                            <a:lnTo>
                              <a:pt x="518" y="304"/>
                            </a:lnTo>
                            <a:lnTo>
                              <a:pt x="518" y="304"/>
                            </a:lnTo>
                            <a:lnTo>
                              <a:pt x="516" y="306"/>
                            </a:lnTo>
                            <a:lnTo>
                              <a:pt x="516" y="306"/>
                            </a:lnTo>
                            <a:lnTo>
                              <a:pt x="518" y="306"/>
                            </a:lnTo>
                            <a:lnTo>
                              <a:pt x="518" y="306"/>
                            </a:lnTo>
                            <a:lnTo>
                              <a:pt x="518" y="306"/>
                            </a:lnTo>
                            <a:lnTo>
                              <a:pt x="520" y="308"/>
                            </a:lnTo>
                            <a:lnTo>
                              <a:pt x="520" y="310"/>
                            </a:lnTo>
                            <a:lnTo>
                              <a:pt x="516" y="314"/>
                            </a:lnTo>
                            <a:lnTo>
                              <a:pt x="516" y="314"/>
                            </a:lnTo>
                            <a:lnTo>
                              <a:pt x="512" y="322"/>
                            </a:lnTo>
                            <a:lnTo>
                              <a:pt x="508" y="330"/>
                            </a:lnTo>
                            <a:lnTo>
                              <a:pt x="506" y="338"/>
                            </a:lnTo>
                            <a:lnTo>
                              <a:pt x="504" y="342"/>
                            </a:lnTo>
                            <a:lnTo>
                              <a:pt x="504" y="342"/>
                            </a:lnTo>
                            <a:lnTo>
                              <a:pt x="502" y="344"/>
                            </a:lnTo>
                            <a:lnTo>
                              <a:pt x="502" y="350"/>
                            </a:lnTo>
                            <a:lnTo>
                              <a:pt x="502" y="354"/>
                            </a:lnTo>
                            <a:lnTo>
                              <a:pt x="500" y="356"/>
                            </a:lnTo>
                            <a:lnTo>
                              <a:pt x="500" y="356"/>
                            </a:lnTo>
                            <a:lnTo>
                              <a:pt x="500" y="350"/>
                            </a:lnTo>
                            <a:lnTo>
                              <a:pt x="498" y="346"/>
                            </a:lnTo>
                            <a:lnTo>
                              <a:pt x="498" y="344"/>
                            </a:lnTo>
                            <a:lnTo>
                              <a:pt x="498" y="338"/>
                            </a:lnTo>
                            <a:lnTo>
                              <a:pt x="498" y="338"/>
                            </a:lnTo>
                            <a:lnTo>
                              <a:pt x="494" y="344"/>
                            </a:lnTo>
                            <a:lnTo>
                              <a:pt x="492" y="346"/>
                            </a:lnTo>
                            <a:lnTo>
                              <a:pt x="492" y="346"/>
                            </a:lnTo>
                            <a:lnTo>
                              <a:pt x="492" y="346"/>
                            </a:lnTo>
                            <a:lnTo>
                              <a:pt x="484" y="354"/>
                            </a:lnTo>
                            <a:lnTo>
                              <a:pt x="480" y="358"/>
                            </a:lnTo>
                            <a:lnTo>
                              <a:pt x="478" y="358"/>
                            </a:lnTo>
                            <a:lnTo>
                              <a:pt x="476" y="358"/>
                            </a:lnTo>
                            <a:lnTo>
                              <a:pt x="474" y="356"/>
                            </a:lnTo>
                            <a:lnTo>
                              <a:pt x="472" y="356"/>
                            </a:lnTo>
                            <a:lnTo>
                              <a:pt x="468" y="360"/>
                            </a:lnTo>
                            <a:lnTo>
                              <a:pt x="434" y="360"/>
                            </a:lnTo>
                            <a:lnTo>
                              <a:pt x="434" y="360"/>
                            </a:lnTo>
                            <a:lnTo>
                              <a:pt x="432" y="364"/>
                            </a:lnTo>
                            <a:lnTo>
                              <a:pt x="434" y="368"/>
                            </a:lnTo>
                            <a:lnTo>
                              <a:pt x="436" y="370"/>
                            </a:lnTo>
                            <a:lnTo>
                              <a:pt x="438" y="374"/>
                            </a:lnTo>
                            <a:lnTo>
                              <a:pt x="438" y="374"/>
                            </a:lnTo>
                            <a:lnTo>
                              <a:pt x="436" y="378"/>
                            </a:lnTo>
                            <a:lnTo>
                              <a:pt x="432" y="378"/>
                            </a:lnTo>
                            <a:lnTo>
                              <a:pt x="428" y="380"/>
                            </a:lnTo>
                            <a:lnTo>
                              <a:pt x="426" y="384"/>
                            </a:lnTo>
                            <a:lnTo>
                              <a:pt x="426" y="384"/>
                            </a:lnTo>
                            <a:lnTo>
                              <a:pt x="428" y="386"/>
                            </a:lnTo>
                            <a:lnTo>
                              <a:pt x="432" y="388"/>
                            </a:lnTo>
                            <a:lnTo>
                              <a:pt x="436" y="390"/>
                            </a:lnTo>
                            <a:lnTo>
                              <a:pt x="436" y="392"/>
                            </a:lnTo>
                            <a:lnTo>
                              <a:pt x="436" y="392"/>
                            </a:lnTo>
                            <a:lnTo>
                              <a:pt x="436" y="396"/>
                            </a:lnTo>
                            <a:lnTo>
                              <a:pt x="438" y="398"/>
                            </a:lnTo>
                            <a:lnTo>
                              <a:pt x="440" y="400"/>
                            </a:lnTo>
                            <a:lnTo>
                              <a:pt x="440" y="404"/>
                            </a:lnTo>
                            <a:lnTo>
                              <a:pt x="440" y="404"/>
                            </a:lnTo>
                            <a:lnTo>
                              <a:pt x="424" y="402"/>
                            </a:lnTo>
                            <a:lnTo>
                              <a:pt x="418" y="404"/>
                            </a:lnTo>
                            <a:lnTo>
                              <a:pt x="412" y="406"/>
                            </a:lnTo>
                            <a:lnTo>
                              <a:pt x="408" y="410"/>
                            </a:lnTo>
                            <a:lnTo>
                              <a:pt x="402" y="416"/>
                            </a:lnTo>
                            <a:lnTo>
                              <a:pt x="400" y="426"/>
                            </a:lnTo>
                            <a:lnTo>
                              <a:pt x="396" y="440"/>
                            </a:lnTo>
                            <a:lnTo>
                              <a:pt x="396" y="440"/>
                            </a:lnTo>
                            <a:lnTo>
                              <a:pt x="392" y="434"/>
                            </a:lnTo>
                            <a:lnTo>
                              <a:pt x="388" y="428"/>
                            </a:lnTo>
                            <a:lnTo>
                              <a:pt x="380" y="420"/>
                            </a:lnTo>
                            <a:lnTo>
                              <a:pt x="380" y="420"/>
                            </a:lnTo>
                            <a:lnTo>
                              <a:pt x="368" y="412"/>
                            </a:lnTo>
                            <a:lnTo>
                              <a:pt x="362" y="408"/>
                            </a:lnTo>
                            <a:lnTo>
                              <a:pt x="358" y="408"/>
                            </a:lnTo>
                            <a:lnTo>
                              <a:pt x="354" y="406"/>
                            </a:lnTo>
                            <a:lnTo>
                              <a:pt x="354" y="406"/>
                            </a:lnTo>
                            <a:lnTo>
                              <a:pt x="358" y="404"/>
                            </a:lnTo>
                            <a:lnTo>
                              <a:pt x="358" y="402"/>
                            </a:lnTo>
                            <a:lnTo>
                              <a:pt x="358" y="400"/>
                            </a:lnTo>
                            <a:lnTo>
                              <a:pt x="356" y="402"/>
                            </a:lnTo>
                            <a:lnTo>
                              <a:pt x="356" y="402"/>
                            </a:lnTo>
                            <a:lnTo>
                              <a:pt x="352" y="402"/>
                            </a:lnTo>
                            <a:lnTo>
                              <a:pt x="350" y="402"/>
                            </a:lnTo>
                            <a:lnTo>
                              <a:pt x="348" y="402"/>
                            </a:lnTo>
                            <a:lnTo>
                              <a:pt x="346" y="404"/>
                            </a:lnTo>
                            <a:lnTo>
                              <a:pt x="346" y="404"/>
                            </a:lnTo>
                            <a:lnTo>
                              <a:pt x="344" y="404"/>
                            </a:lnTo>
                            <a:lnTo>
                              <a:pt x="346" y="406"/>
                            </a:lnTo>
                            <a:lnTo>
                              <a:pt x="348" y="406"/>
                            </a:lnTo>
                            <a:lnTo>
                              <a:pt x="350" y="406"/>
                            </a:lnTo>
                            <a:lnTo>
                              <a:pt x="346" y="408"/>
                            </a:lnTo>
                            <a:lnTo>
                              <a:pt x="346" y="408"/>
                            </a:lnTo>
                            <a:lnTo>
                              <a:pt x="340" y="408"/>
                            </a:lnTo>
                            <a:lnTo>
                              <a:pt x="338" y="410"/>
                            </a:lnTo>
                            <a:lnTo>
                              <a:pt x="334" y="412"/>
                            </a:lnTo>
                            <a:lnTo>
                              <a:pt x="328" y="412"/>
                            </a:lnTo>
                            <a:lnTo>
                              <a:pt x="328" y="412"/>
                            </a:lnTo>
                            <a:lnTo>
                              <a:pt x="322" y="414"/>
                            </a:lnTo>
                            <a:lnTo>
                              <a:pt x="318" y="416"/>
                            </a:lnTo>
                            <a:lnTo>
                              <a:pt x="312" y="416"/>
                            </a:lnTo>
                            <a:lnTo>
                              <a:pt x="304" y="412"/>
                            </a:lnTo>
                            <a:lnTo>
                              <a:pt x="304" y="412"/>
                            </a:lnTo>
                            <a:lnTo>
                              <a:pt x="300" y="412"/>
                            </a:lnTo>
                            <a:lnTo>
                              <a:pt x="294" y="412"/>
                            </a:lnTo>
                            <a:lnTo>
                              <a:pt x="290" y="410"/>
                            </a:lnTo>
                            <a:lnTo>
                              <a:pt x="284" y="406"/>
                            </a:lnTo>
                            <a:lnTo>
                              <a:pt x="284" y="406"/>
                            </a:lnTo>
                            <a:lnTo>
                              <a:pt x="282" y="404"/>
                            </a:lnTo>
                            <a:lnTo>
                              <a:pt x="278" y="404"/>
                            </a:lnTo>
                            <a:lnTo>
                              <a:pt x="274" y="402"/>
                            </a:lnTo>
                            <a:lnTo>
                              <a:pt x="270" y="396"/>
                            </a:lnTo>
                            <a:lnTo>
                              <a:pt x="270" y="396"/>
                            </a:lnTo>
                            <a:lnTo>
                              <a:pt x="266" y="394"/>
                            </a:lnTo>
                            <a:lnTo>
                              <a:pt x="260" y="392"/>
                            </a:lnTo>
                            <a:lnTo>
                              <a:pt x="256" y="392"/>
                            </a:lnTo>
                            <a:lnTo>
                              <a:pt x="250" y="386"/>
                            </a:lnTo>
                            <a:lnTo>
                              <a:pt x="250" y="386"/>
                            </a:lnTo>
                            <a:lnTo>
                              <a:pt x="248" y="384"/>
                            </a:lnTo>
                            <a:lnTo>
                              <a:pt x="242" y="382"/>
                            </a:lnTo>
                            <a:lnTo>
                              <a:pt x="234" y="378"/>
                            </a:lnTo>
                            <a:lnTo>
                              <a:pt x="224" y="374"/>
                            </a:lnTo>
                            <a:lnTo>
                              <a:pt x="220" y="370"/>
                            </a:lnTo>
                            <a:lnTo>
                              <a:pt x="216" y="366"/>
                            </a:lnTo>
                            <a:lnTo>
                              <a:pt x="216" y="366"/>
                            </a:lnTo>
                            <a:lnTo>
                              <a:pt x="214" y="360"/>
                            </a:lnTo>
                            <a:lnTo>
                              <a:pt x="212" y="360"/>
                            </a:lnTo>
                            <a:lnTo>
                              <a:pt x="208" y="360"/>
                            </a:lnTo>
                            <a:lnTo>
                              <a:pt x="200" y="358"/>
                            </a:lnTo>
                            <a:lnTo>
                              <a:pt x="200" y="358"/>
                            </a:lnTo>
                            <a:lnTo>
                              <a:pt x="186" y="352"/>
                            </a:lnTo>
                            <a:lnTo>
                              <a:pt x="182" y="348"/>
                            </a:lnTo>
                            <a:lnTo>
                              <a:pt x="182" y="346"/>
                            </a:lnTo>
                            <a:lnTo>
                              <a:pt x="178" y="344"/>
                            </a:lnTo>
                            <a:lnTo>
                              <a:pt x="178" y="344"/>
                            </a:lnTo>
                            <a:lnTo>
                              <a:pt x="174" y="342"/>
                            </a:lnTo>
                            <a:lnTo>
                              <a:pt x="170" y="340"/>
                            </a:lnTo>
                            <a:lnTo>
                              <a:pt x="168" y="338"/>
                            </a:lnTo>
                            <a:lnTo>
                              <a:pt x="164" y="336"/>
                            </a:lnTo>
                            <a:lnTo>
                              <a:pt x="164" y="336"/>
                            </a:lnTo>
                            <a:lnTo>
                              <a:pt x="162" y="334"/>
                            </a:lnTo>
                            <a:lnTo>
                              <a:pt x="162" y="332"/>
                            </a:lnTo>
                            <a:lnTo>
                              <a:pt x="162" y="330"/>
                            </a:lnTo>
                            <a:lnTo>
                              <a:pt x="158" y="328"/>
                            </a:lnTo>
                            <a:lnTo>
                              <a:pt x="158" y="328"/>
                            </a:lnTo>
                            <a:lnTo>
                              <a:pt x="154" y="324"/>
                            </a:lnTo>
                            <a:lnTo>
                              <a:pt x="152" y="320"/>
                            </a:lnTo>
                            <a:lnTo>
                              <a:pt x="148" y="314"/>
                            </a:lnTo>
                            <a:lnTo>
                              <a:pt x="146" y="310"/>
                            </a:lnTo>
                            <a:lnTo>
                              <a:pt x="146" y="310"/>
                            </a:lnTo>
                            <a:lnTo>
                              <a:pt x="144" y="308"/>
                            </a:lnTo>
                            <a:lnTo>
                              <a:pt x="146" y="308"/>
                            </a:lnTo>
                            <a:lnTo>
                              <a:pt x="148" y="304"/>
                            </a:lnTo>
                            <a:lnTo>
                              <a:pt x="152" y="302"/>
                            </a:lnTo>
                            <a:lnTo>
                              <a:pt x="148" y="300"/>
                            </a:lnTo>
                            <a:lnTo>
                              <a:pt x="148" y="300"/>
                            </a:lnTo>
                            <a:lnTo>
                              <a:pt x="144" y="300"/>
                            </a:lnTo>
                            <a:lnTo>
                              <a:pt x="146" y="296"/>
                            </a:lnTo>
                            <a:lnTo>
                              <a:pt x="150" y="292"/>
                            </a:lnTo>
                            <a:lnTo>
                              <a:pt x="154" y="286"/>
                            </a:lnTo>
                            <a:lnTo>
                              <a:pt x="154" y="286"/>
                            </a:lnTo>
                            <a:lnTo>
                              <a:pt x="156" y="282"/>
                            </a:lnTo>
                            <a:lnTo>
                              <a:pt x="158" y="282"/>
                            </a:lnTo>
                            <a:lnTo>
                              <a:pt x="160" y="282"/>
                            </a:lnTo>
                            <a:lnTo>
                              <a:pt x="158" y="278"/>
                            </a:lnTo>
                            <a:lnTo>
                              <a:pt x="158" y="278"/>
                            </a:lnTo>
                            <a:lnTo>
                              <a:pt x="158" y="274"/>
                            </a:lnTo>
                            <a:lnTo>
                              <a:pt x="160" y="274"/>
                            </a:lnTo>
                            <a:lnTo>
                              <a:pt x="162" y="274"/>
                            </a:lnTo>
                            <a:lnTo>
                              <a:pt x="160" y="266"/>
                            </a:lnTo>
                            <a:lnTo>
                              <a:pt x="160" y="266"/>
                            </a:lnTo>
                            <a:lnTo>
                              <a:pt x="158" y="260"/>
                            </a:lnTo>
                            <a:lnTo>
                              <a:pt x="158" y="258"/>
                            </a:lnTo>
                            <a:lnTo>
                              <a:pt x="156" y="252"/>
                            </a:lnTo>
                            <a:lnTo>
                              <a:pt x="150" y="242"/>
                            </a:lnTo>
                            <a:lnTo>
                              <a:pt x="150" y="242"/>
                            </a:lnTo>
                            <a:lnTo>
                              <a:pt x="140" y="222"/>
                            </a:lnTo>
                            <a:lnTo>
                              <a:pt x="134" y="210"/>
                            </a:lnTo>
                            <a:lnTo>
                              <a:pt x="124" y="194"/>
                            </a:lnTo>
                            <a:lnTo>
                              <a:pt x="124" y="194"/>
                            </a:lnTo>
                            <a:lnTo>
                              <a:pt x="124" y="192"/>
                            </a:lnTo>
                            <a:lnTo>
                              <a:pt x="126" y="192"/>
                            </a:lnTo>
                            <a:lnTo>
                              <a:pt x="128" y="194"/>
                            </a:lnTo>
                            <a:lnTo>
                              <a:pt x="130" y="194"/>
                            </a:lnTo>
                            <a:lnTo>
                              <a:pt x="126" y="188"/>
                            </a:lnTo>
                            <a:lnTo>
                              <a:pt x="126" y="188"/>
                            </a:lnTo>
                            <a:lnTo>
                              <a:pt x="122" y="186"/>
                            </a:lnTo>
                            <a:lnTo>
                              <a:pt x="122" y="186"/>
                            </a:lnTo>
                            <a:lnTo>
                              <a:pt x="122" y="188"/>
                            </a:lnTo>
                            <a:lnTo>
                              <a:pt x="118" y="186"/>
                            </a:lnTo>
                            <a:lnTo>
                              <a:pt x="118" y="186"/>
                            </a:lnTo>
                            <a:lnTo>
                              <a:pt x="112" y="180"/>
                            </a:lnTo>
                            <a:lnTo>
                              <a:pt x="110" y="178"/>
                            </a:lnTo>
                            <a:lnTo>
                              <a:pt x="110" y="174"/>
                            </a:lnTo>
                            <a:lnTo>
                              <a:pt x="110" y="174"/>
                            </a:lnTo>
                            <a:lnTo>
                              <a:pt x="108" y="172"/>
                            </a:lnTo>
                            <a:lnTo>
                              <a:pt x="108" y="172"/>
                            </a:lnTo>
                            <a:lnTo>
                              <a:pt x="106" y="172"/>
                            </a:lnTo>
                            <a:lnTo>
                              <a:pt x="106" y="166"/>
                            </a:lnTo>
                            <a:lnTo>
                              <a:pt x="106" y="166"/>
                            </a:lnTo>
                            <a:lnTo>
                              <a:pt x="108" y="160"/>
                            </a:lnTo>
                            <a:lnTo>
                              <a:pt x="110" y="156"/>
                            </a:lnTo>
                            <a:lnTo>
                              <a:pt x="110" y="152"/>
                            </a:lnTo>
                            <a:lnTo>
                              <a:pt x="110" y="152"/>
                            </a:lnTo>
                            <a:lnTo>
                              <a:pt x="104" y="144"/>
                            </a:lnTo>
                            <a:lnTo>
                              <a:pt x="102" y="142"/>
                            </a:lnTo>
                            <a:lnTo>
                              <a:pt x="100" y="142"/>
                            </a:lnTo>
                            <a:lnTo>
                              <a:pt x="100" y="142"/>
                            </a:lnTo>
                            <a:lnTo>
                              <a:pt x="98" y="142"/>
                            </a:lnTo>
                            <a:lnTo>
                              <a:pt x="96" y="140"/>
                            </a:lnTo>
                            <a:lnTo>
                              <a:pt x="94" y="134"/>
                            </a:lnTo>
                            <a:lnTo>
                              <a:pt x="94" y="134"/>
                            </a:lnTo>
                            <a:lnTo>
                              <a:pt x="94" y="130"/>
                            </a:lnTo>
                            <a:lnTo>
                              <a:pt x="90" y="126"/>
                            </a:lnTo>
                            <a:lnTo>
                              <a:pt x="86" y="124"/>
                            </a:lnTo>
                            <a:lnTo>
                              <a:pt x="86" y="118"/>
                            </a:lnTo>
                            <a:lnTo>
                              <a:pt x="86" y="118"/>
                            </a:lnTo>
                            <a:lnTo>
                              <a:pt x="88" y="114"/>
                            </a:lnTo>
                            <a:lnTo>
                              <a:pt x="86" y="112"/>
                            </a:lnTo>
                            <a:lnTo>
                              <a:pt x="86" y="110"/>
                            </a:lnTo>
                            <a:lnTo>
                              <a:pt x="84" y="112"/>
                            </a:lnTo>
                            <a:lnTo>
                              <a:pt x="84" y="112"/>
                            </a:lnTo>
                            <a:lnTo>
                              <a:pt x="84" y="114"/>
                            </a:lnTo>
                            <a:lnTo>
                              <a:pt x="82" y="112"/>
                            </a:lnTo>
                            <a:lnTo>
                              <a:pt x="78" y="106"/>
                            </a:lnTo>
                            <a:lnTo>
                              <a:pt x="78" y="106"/>
                            </a:lnTo>
                            <a:lnTo>
                              <a:pt x="72" y="98"/>
                            </a:lnTo>
                            <a:lnTo>
                              <a:pt x="72" y="96"/>
                            </a:lnTo>
                            <a:lnTo>
                              <a:pt x="72" y="94"/>
                            </a:lnTo>
                            <a:lnTo>
                              <a:pt x="72" y="94"/>
                            </a:lnTo>
                            <a:lnTo>
                              <a:pt x="72" y="90"/>
                            </a:lnTo>
                            <a:lnTo>
                              <a:pt x="72" y="88"/>
                            </a:lnTo>
                            <a:lnTo>
                              <a:pt x="70" y="84"/>
                            </a:lnTo>
                            <a:lnTo>
                              <a:pt x="70" y="76"/>
                            </a:lnTo>
                            <a:lnTo>
                              <a:pt x="70" y="76"/>
                            </a:lnTo>
                            <a:lnTo>
                              <a:pt x="70" y="66"/>
                            </a:lnTo>
                            <a:lnTo>
                              <a:pt x="70" y="62"/>
                            </a:lnTo>
                            <a:lnTo>
                              <a:pt x="68" y="58"/>
                            </a:lnTo>
                            <a:lnTo>
                              <a:pt x="68" y="58"/>
                            </a:lnTo>
                            <a:lnTo>
                              <a:pt x="66" y="54"/>
                            </a:lnTo>
                            <a:lnTo>
                              <a:pt x="66" y="52"/>
                            </a:lnTo>
                            <a:lnTo>
                              <a:pt x="68" y="44"/>
                            </a:lnTo>
                            <a:lnTo>
                              <a:pt x="68" y="42"/>
                            </a:lnTo>
                            <a:lnTo>
                              <a:pt x="66" y="38"/>
                            </a:lnTo>
                            <a:lnTo>
                              <a:pt x="64" y="34"/>
                            </a:lnTo>
                            <a:lnTo>
                              <a:pt x="58" y="32"/>
                            </a:lnTo>
                            <a:lnTo>
                              <a:pt x="58" y="32"/>
                            </a:lnTo>
                            <a:lnTo>
                              <a:pt x="58" y="28"/>
                            </a:lnTo>
                            <a:lnTo>
                              <a:pt x="56" y="26"/>
                            </a:lnTo>
                            <a:lnTo>
                              <a:pt x="54" y="24"/>
                            </a:lnTo>
                            <a:lnTo>
                              <a:pt x="50" y="26"/>
                            </a:lnTo>
                            <a:lnTo>
                              <a:pt x="50" y="26"/>
                            </a:lnTo>
                            <a:lnTo>
                              <a:pt x="48" y="28"/>
                            </a:lnTo>
                            <a:lnTo>
                              <a:pt x="46" y="26"/>
                            </a:lnTo>
                            <a:lnTo>
                              <a:pt x="44" y="22"/>
                            </a:lnTo>
                            <a:lnTo>
                              <a:pt x="40" y="20"/>
                            </a:lnTo>
                            <a:lnTo>
                              <a:pt x="40" y="20"/>
                            </a:lnTo>
                            <a:lnTo>
                              <a:pt x="42" y="24"/>
                            </a:lnTo>
                            <a:lnTo>
                              <a:pt x="42" y="28"/>
                            </a:lnTo>
                            <a:lnTo>
                              <a:pt x="40" y="36"/>
                            </a:lnTo>
                            <a:lnTo>
                              <a:pt x="38" y="42"/>
                            </a:lnTo>
                            <a:lnTo>
                              <a:pt x="38" y="44"/>
                            </a:lnTo>
                            <a:lnTo>
                              <a:pt x="40" y="46"/>
                            </a:lnTo>
                            <a:lnTo>
                              <a:pt x="40" y="46"/>
                            </a:lnTo>
                            <a:lnTo>
                              <a:pt x="40" y="52"/>
                            </a:lnTo>
                            <a:lnTo>
                              <a:pt x="38" y="62"/>
                            </a:lnTo>
                            <a:lnTo>
                              <a:pt x="40" y="72"/>
                            </a:lnTo>
                            <a:lnTo>
                              <a:pt x="42" y="78"/>
                            </a:lnTo>
                            <a:lnTo>
                              <a:pt x="42" y="78"/>
                            </a:lnTo>
                            <a:lnTo>
                              <a:pt x="46" y="84"/>
                            </a:lnTo>
                            <a:lnTo>
                              <a:pt x="50" y="90"/>
                            </a:lnTo>
                            <a:lnTo>
                              <a:pt x="54" y="98"/>
                            </a:lnTo>
                            <a:lnTo>
                              <a:pt x="54" y="104"/>
                            </a:lnTo>
                            <a:lnTo>
                              <a:pt x="54" y="106"/>
                            </a:lnTo>
                            <a:lnTo>
                              <a:pt x="56" y="106"/>
                            </a:lnTo>
                            <a:lnTo>
                              <a:pt x="56" y="106"/>
                            </a:lnTo>
                            <a:lnTo>
                              <a:pt x="56" y="106"/>
                            </a:lnTo>
                            <a:lnTo>
                              <a:pt x="58" y="110"/>
                            </a:lnTo>
                            <a:lnTo>
                              <a:pt x="58" y="114"/>
                            </a:lnTo>
                            <a:lnTo>
                              <a:pt x="58" y="116"/>
                            </a:lnTo>
                            <a:lnTo>
                              <a:pt x="58" y="116"/>
                            </a:lnTo>
                            <a:lnTo>
                              <a:pt x="60" y="118"/>
                            </a:lnTo>
                            <a:lnTo>
                              <a:pt x="58" y="122"/>
                            </a:lnTo>
                            <a:lnTo>
                              <a:pt x="58" y="126"/>
                            </a:lnTo>
                            <a:lnTo>
                              <a:pt x="62" y="130"/>
                            </a:lnTo>
                            <a:lnTo>
                              <a:pt x="62" y="130"/>
                            </a:lnTo>
                            <a:lnTo>
                              <a:pt x="66" y="136"/>
                            </a:lnTo>
                            <a:lnTo>
                              <a:pt x="66" y="140"/>
                            </a:lnTo>
                            <a:lnTo>
                              <a:pt x="66" y="144"/>
                            </a:lnTo>
                            <a:lnTo>
                              <a:pt x="68" y="148"/>
                            </a:lnTo>
                            <a:lnTo>
                              <a:pt x="68" y="148"/>
                            </a:lnTo>
                            <a:lnTo>
                              <a:pt x="70" y="150"/>
                            </a:lnTo>
                            <a:lnTo>
                              <a:pt x="68" y="150"/>
                            </a:lnTo>
                            <a:lnTo>
                              <a:pt x="68" y="152"/>
                            </a:lnTo>
                            <a:lnTo>
                              <a:pt x="68" y="156"/>
                            </a:lnTo>
                            <a:lnTo>
                              <a:pt x="68" y="156"/>
                            </a:lnTo>
                            <a:lnTo>
                              <a:pt x="66" y="162"/>
                            </a:lnTo>
                            <a:lnTo>
                              <a:pt x="64" y="166"/>
                            </a:lnTo>
                            <a:lnTo>
                              <a:pt x="66" y="168"/>
                            </a:lnTo>
                            <a:lnTo>
                              <a:pt x="66" y="168"/>
                            </a:lnTo>
                            <a:lnTo>
                              <a:pt x="66" y="168"/>
                            </a:lnTo>
                            <a:lnTo>
                              <a:pt x="68" y="166"/>
                            </a:lnTo>
                            <a:lnTo>
                              <a:pt x="70" y="164"/>
                            </a:lnTo>
                            <a:lnTo>
                              <a:pt x="68" y="162"/>
                            </a:lnTo>
                            <a:lnTo>
                              <a:pt x="68" y="160"/>
                            </a:lnTo>
                            <a:lnTo>
                              <a:pt x="68" y="160"/>
                            </a:lnTo>
                            <a:lnTo>
                              <a:pt x="70" y="154"/>
                            </a:lnTo>
                            <a:lnTo>
                              <a:pt x="70" y="154"/>
                            </a:lnTo>
                            <a:lnTo>
                              <a:pt x="74" y="160"/>
                            </a:lnTo>
                            <a:lnTo>
                              <a:pt x="74" y="160"/>
                            </a:lnTo>
                            <a:lnTo>
                              <a:pt x="76" y="164"/>
                            </a:lnTo>
                            <a:lnTo>
                              <a:pt x="76" y="168"/>
                            </a:lnTo>
                            <a:lnTo>
                              <a:pt x="74" y="174"/>
                            </a:lnTo>
                            <a:lnTo>
                              <a:pt x="74" y="174"/>
                            </a:lnTo>
                            <a:lnTo>
                              <a:pt x="74" y="184"/>
                            </a:lnTo>
                            <a:lnTo>
                              <a:pt x="74" y="188"/>
                            </a:lnTo>
                            <a:lnTo>
                              <a:pt x="72" y="192"/>
                            </a:lnTo>
                            <a:lnTo>
                              <a:pt x="72" y="192"/>
                            </a:lnTo>
                            <a:lnTo>
                              <a:pt x="70" y="194"/>
                            </a:lnTo>
                            <a:lnTo>
                              <a:pt x="72" y="198"/>
                            </a:lnTo>
                            <a:lnTo>
                              <a:pt x="74" y="202"/>
                            </a:lnTo>
                            <a:lnTo>
                              <a:pt x="76" y="202"/>
                            </a:lnTo>
                            <a:lnTo>
                              <a:pt x="78" y="202"/>
                            </a:lnTo>
                            <a:lnTo>
                              <a:pt x="78" y="202"/>
                            </a:lnTo>
                            <a:lnTo>
                              <a:pt x="80" y="202"/>
                            </a:lnTo>
                            <a:lnTo>
                              <a:pt x="82" y="204"/>
                            </a:lnTo>
                            <a:lnTo>
                              <a:pt x="82" y="208"/>
                            </a:lnTo>
                            <a:lnTo>
                              <a:pt x="84" y="210"/>
                            </a:lnTo>
                            <a:lnTo>
                              <a:pt x="84" y="210"/>
                            </a:lnTo>
                            <a:lnTo>
                              <a:pt x="86" y="210"/>
                            </a:lnTo>
                            <a:lnTo>
                              <a:pt x="86" y="214"/>
                            </a:lnTo>
                            <a:lnTo>
                              <a:pt x="86" y="218"/>
                            </a:lnTo>
                            <a:lnTo>
                              <a:pt x="86" y="220"/>
                            </a:lnTo>
                            <a:lnTo>
                              <a:pt x="86" y="220"/>
                            </a:lnTo>
                            <a:lnTo>
                              <a:pt x="88" y="222"/>
                            </a:lnTo>
                            <a:lnTo>
                              <a:pt x="88" y="226"/>
                            </a:lnTo>
                            <a:lnTo>
                              <a:pt x="84" y="230"/>
                            </a:lnTo>
                            <a:lnTo>
                              <a:pt x="76" y="234"/>
                            </a:lnTo>
                            <a:lnTo>
                              <a:pt x="76" y="234"/>
                            </a:lnTo>
                            <a:lnTo>
                              <a:pt x="72" y="234"/>
                            </a:lnTo>
                            <a:lnTo>
                              <a:pt x="70" y="232"/>
                            </a:lnTo>
                            <a:lnTo>
                              <a:pt x="68" y="228"/>
                            </a:lnTo>
                            <a:lnTo>
                              <a:pt x="66" y="220"/>
                            </a:lnTo>
                            <a:lnTo>
                              <a:pt x="64" y="216"/>
                            </a:lnTo>
                            <a:lnTo>
                              <a:pt x="60" y="214"/>
                            </a:lnTo>
                            <a:lnTo>
                              <a:pt x="60" y="214"/>
                            </a:lnTo>
                            <a:lnTo>
                              <a:pt x="54" y="210"/>
                            </a:lnTo>
                            <a:lnTo>
                              <a:pt x="50" y="204"/>
                            </a:lnTo>
                            <a:lnTo>
                              <a:pt x="48" y="198"/>
                            </a:lnTo>
                            <a:lnTo>
                              <a:pt x="48" y="198"/>
                            </a:lnTo>
                            <a:lnTo>
                              <a:pt x="46" y="192"/>
                            </a:lnTo>
                            <a:lnTo>
                              <a:pt x="44" y="190"/>
                            </a:lnTo>
                            <a:lnTo>
                              <a:pt x="42" y="190"/>
                            </a:lnTo>
                            <a:lnTo>
                              <a:pt x="42" y="190"/>
                            </a:lnTo>
                            <a:lnTo>
                              <a:pt x="42" y="192"/>
                            </a:lnTo>
                            <a:lnTo>
                              <a:pt x="40" y="190"/>
                            </a:lnTo>
                            <a:lnTo>
                              <a:pt x="40" y="186"/>
                            </a:lnTo>
                            <a:lnTo>
                              <a:pt x="42" y="176"/>
                            </a:lnTo>
                            <a:lnTo>
                              <a:pt x="42" y="176"/>
                            </a:lnTo>
                            <a:lnTo>
                              <a:pt x="44" y="168"/>
                            </a:lnTo>
                            <a:lnTo>
                              <a:pt x="44" y="162"/>
                            </a:lnTo>
                            <a:lnTo>
                              <a:pt x="42" y="158"/>
                            </a:lnTo>
                            <a:lnTo>
                              <a:pt x="40" y="154"/>
                            </a:lnTo>
                            <a:lnTo>
                              <a:pt x="34" y="148"/>
                            </a:lnTo>
                            <a:lnTo>
                              <a:pt x="32" y="144"/>
                            </a:lnTo>
                            <a:lnTo>
                              <a:pt x="32" y="140"/>
                            </a:lnTo>
                            <a:lnTo>
                              <a:pt x="32" y="140"/>
                            </a:lnTo>
                            <a:lnTo>
                              <a:pt x="30" y="142"/>
                            </a:lnTo>
                            <a:lnTo>
                              <a:pt x="28" y="140"/>
                            </a:lnTo>
                            <a:lnTo>
                              <a:pt x="26" y="138"/>
                            </a:lnTo>
                            <a:lnTo>
                              <a:pt x="24" y="140"/>
                            </a:lnTo>
                            <a:lnTo>
                              <a:pt x="24" y="140"/>
                            </a:lnTo>
                            <a:lnTo>
                              <a:pt x="20" y="140"/>
                            </a:lnTo>
                            <a:lnTo>
                              <a:pt x="20" y="138"/>
                            </a:lnTo>
                            <a:lnTo>
                              <a:pt x="16" y="132"/>
                            </a:lnTo>
                            <a:lnTo>
                              <a:pt x="10" y="128"/>
                            </a:lnTo>
                            <a:lnTo>
                              <a:pt x="10" y="128"/>
                            </a:lnTo>
                            <a:lnTo>
                              <a:pt x="8" y="126"/>
                            </a:lnTo>
                            <a:lnTo>
                              <a:pt x="10" y="124"/>
                            </a:lnTo>
                            <a:lnTo>
                              <a:pt x="10" y="122"/>
                            </a:lnTo>
                            <a:lnTo>
                              <a:pt x="6" y="118"/>
                            </a:lnTo>
                            <a:lnTo>
                              <a:pt x="6" y="118"/>
                            </a:lnTo>
                            <a:lnTo>
                              <a:pt x="4" y="116"/>
                            </a:lnTo>
                            <a:lnTo>
                              <a:pt x="4" y="114"/>
                            </a:lnTo>
                            <a:lnTo>
                              <a:pt x="12" y="114"/>
                            </a:lnTo>
                            <a:lnTo>
                              <a:pt x="12" y="114"/>
                            </a:lnTo>
                            <a:lnTo>
                              <a:pt x="16" y="114"/>
                            </a:lnTo>
                            <a:lnTo>
                              <a:pt x="20" y="112"/>
                            </a:lnTo>
                            <a:lnTo>
                              <a:pt x="20" y="112"/>
                            </a:lnTo>
                            <a:lnTo>
                              <a:pt x="22" y="114"/>
                            </a:lnTo>
                            <a:lnTo>
                              <a:pt x="22" y="114"/>
                            </a:lnTo>
                            <a:lnTo>
                              <a:pt x="24" y="116"/>
                            </a:lnTo>
                            <a:lnTo>
                              <a:pt x="26" y="116"/>
                            </a:lnTo>
                            <a:lnTo>
                              <a:pt x="26" y="114"/>
                            </a:lnTo>
                            <a:lnTo>
                              <a:pt x="26" y="112"/>
                            </a:lnTo>
                            <a:lnTo>
                              <a:pt x="26" y="112"/>
                            </a:lnTo>
                            <a:lnTo>
                              <a:pt x="24" y="112"/>
                            </a:lnTo>
                            <a:lnTo>
                              <a:pt x="22" y="110"/>
                            </a:lnTo>
                            <a:lnTo>
                              <a:pt x="26" y="106"/>
                            </a:lnTo>
                            <a:lnTo>
                              <a:pt x="26" y="106"/>
                            </a:lnTo>
                            <a:lnTo>
                              <a:pt x="28" y="104"/>
                            </a:lnTo>
                            <a:lnTo>
                              <a:pt x="30" y="98"/>
                            </a:lnTo>
                            <a:lnTo>
                              <a:pt x="26" y="92"/>
                            </a:lnTo>
                            <a:lnTo>
                              <a:pt x="20" y="84"/>
                            </a:lnTo>
                            <a:lnTo>
                              <a:pt x="20" y="84"/>
                            </a:lnTo>
                            <a:lnTo>
                              <a:pt x="8" y="72"/>
                            </a:lnTo>
                            <a:lnTo>
                              <a:pt x="6" y="68"/>
                            </a:lnTo>
                            <a:lnTo>
                              <a:pt x="6" y="64"/>
                            </a:lnTo>
                            <a:lnTo>
                              <a:pt x="6" y="64"/>
                            </a:lnTo>
                            <a:lnTo>
                              <a:pt x="6" y="60"/>
                            </a:lnTo>
                            <a:lnTo>
                              <a:pt x="4" y="60"/>
                            </a:lnTo>
                            <a:lnTo>
                              <a:pt x="2" y="60"/>
                            </a:lnTo>
                            <a:lnTo>
                              <a:pt x="4" y="54"/>
                            </a:lnTo>
                            <a:lnTo>
                              <a:pt x="4" y="54"/>
                            </a:lnTo>
                            <a:lnTo>
                              <a:pt x="4" y="48"/>
                            </a:lnTo>
                            <a:lnTo>
                              <a:pt x="2" y="46"/>
                            </a:lnTo>
                            <a:lnTo>
                              <a:pt x="0" y="44"/>
                            </a:lnTo>
                            <a:lnTo>
                              <a:pt x="2" y="38"/>
                            </a:lnTo>
                            <a:lnTo>
                              <a:pt x="2" y="38"/>
                            </a:lnTo>
                            <a:lnTo>
                              <a:pt x="2" y="34"/>
                            </a:lnTo>
                            <a:lnTo>
                              <a:pt x="2" y="32"/>
                            </a:lnTo>
                            <a:lnTo>
                              <a:pt x="0" y="28"/>
                            </a:lnTo>
                            <a:lnTo>
                              <a:pt x="2" y="24"/>
                            </a:lnTo>
                            <a:lnTo>
                              <a:pt x="2" y="24"/>
                            </a:lnTo>
                            <a:lnTo>
                              <a:pt x="4" y="18"/>
                            </a:lnTo>
                            <a:lnTo>
                              <a:pt x="2" y="14"/>
                            </a:lnTo>
                            <a:lnTo>
                              <a:pt x="0" y="12"/>
                            </a:lnTo>
                            <a:lnTo>
                              <a:pt x="2" y="8"/>
                            </a:lnTo>
                            <a:lnTo>
                              <a:pt x="2" y="8"/>
                            </a:lnTo>
                            <a:lnTo>
                              <a:pt x="4" y="4"/>
                            </a:lnTo>
                            <a:lnTo>
                              <a:pt x="4" y="2"/>
                            </a:lnTo>
                            <a:lnTo>
                              <a:pt x="2" y="2"/>
                            </a:lnTo>
                            <a:lnTo>
                              <a:pt x="4" y="0"/>
                            </a:lnTo>
                            <a:lnTo>
                              <a:pt x="4" y="0"/>
                            </a:lnTo>
                            <a:lnTo>
                              <a:pt x="30" y="0"/>
                            </a:lnTo>
                            <a:lnTo>
                              <a:pt x="50" y="0"/>
                            </a:lnTo>
                            <a:lnTo>
                              <a:pt x="50" y="4"/>
                            </a:lnTo>
                            <a:lnTo>
                              <a:pt x="114" y="30"/>
                            </a:lnTo>
                            <a:lnTo>
                              <a:pt x="162" y="30"/>
                            </a:lnTo>
                            <a:lnTo>
                              <a:pt x="168" y="22"/>
                            </a:lnTo>
                            <a:lnTo>
                              <a:pt x="200" y="22"/>
                            </a:lnTo>
                            <a:lnTo>
                              <a:pt x="200" y="22"/>
                            </a:lnTo>
                            <a:lnTo>
                              <a:pt x="202" y="24"/>
                            </a:lnTo>
                            <a:lnTo>
                              <a:pt x="210" y="30"/>
                            </a:lnTo>
                            <a:lnTo>
                              <a:pt x="210" y="30"/>
                            </a:lnTo>
                            <a:lnTo>
                              <a:pt x="214" y="34"/>
                            </a:lnTo>
                            <a:lnTo>
                              <a:pt x="214" y="36"/>
                            </a:lnTo>
                            <a:lnTo>
                              <a:pt x="216" y="38"/>
                            </a:lnTo>
                            <a:lnTo>
                              <a:pt x="220" y="42"/>
                            </a:lnTo>
                            <a:lnTo>
                              <a:pt x="220" y="42"/>
                            </a:lnTo>
                            <a:lnTo>
                              <a:pt x="224" y="46"/>
                            </a:lnTo>
                            <a:lnTo>
                              <a:pt x="226" y="50"/>
                            </a:lnTo>
                            <a:lnTo>
                              <a:pt x="226" y="56"/>
                            </a:lnTo>
                            <a:lnTo>
                              <a:pt x="226" y="64"/>
                            </a:lnTo>
                            <a:lnTo>
                              <a:pt x="226" y="66"/>
                            </a:lnTo>
                            <a:lnTo>
                              <a:pt x="230" y="70"/>
                            </a:lnTo>
                            <a:lnTo>
                              <a:pt x="230" y="70"/>
                            </a:lnTo>
                            <a:lnTo>
                              <a:pt x="238" y="76"/>
                            </a:lnTo>
                            <a:lnTo>
                              <a:pt x="244" y="78"/>
                            </a:lnTo>
                            <a:lnTo>
                              <a:pt x="248" y="78"/>
                            </a:lnTo>
                            <a:lnTo>
                              <a:pt x="252" y="72"/>
                            </a:lnTo>
                            <a:lnTo>
                              <a:pt x="252" y="72"/>
                            </a:lnTo>
                            <a:lnTo>
                              <a:pt x="256" y="68"/>
                            </a:lnTo>
                            <a:lnTo>
                              <a:pt x="258" y="66"/>
                            </a:lnTo>
                            <a:lnTo>
                              <a:pt x="262" y="66"/>
                            </a:lnTo>
                            <a:lnTo>
                              <a:pt x="264" y="64"/>
                            </a:lnTo>
                            <a:lnTo>
                              <a:pt x="264" y="64"/>
                            </a:lnTo>
                            <a:lnTo>
                              <a:pt x="266" y="64"/>
                            </a:lnTo>
                            <a:lnTo>
                              <a:pt x="268" y="64"/>
                            </a:lnTo>
                            <a:lnTo>
                              <a:pt x="278" y="68"/>
                            </a:lnTo>
                            <a:lnTo>
                              <a:pt x="278" y="68"/>
                            </a:lnTo>
                            <a:lnTo>
                              <a:pt x="286" y="70"/>
                            </a:lnTo>
                            <a:lnTo>
                              <a:pt x="290" y="76"/>
                            </a:lnTo>
                            <a:lnTo>
                              <a:pt x="296" y="84"/>
                            </a:lnTo>
                            <a:lnTo>
                              <a:pt x="300" y="100"/>
                            </a:lnTo>
                            <a:lnTo>
                              <a:pt x="300" y="100"/>
                            </a:lnTo>
                            <a:lnTo>
                              <a:pt x="304" y="120"/>
                            </a:lnTo>
                            <a:lnTo>
                              <a:pt x="308" y="128"/>
                            </a:lnTo>
                            <a:lnTo>
                              <a:pt x="310" y="132"/>
                            </a:lnTo>
                            <a:lnTo>
                              <a:pt x="312" y="140"/>
                            </a:lnTo>
                            <a:lnTo>
                              <a:pt x="312" y="140"/>
                            </a:lnTo>
                            <a:lnTo>
                              <a:pt x="312" y="148"/>
                            </a:lnTo>
                            <a:lnTo>
                              <a:pt x="314" y="150"/>
                            </a:lnTo>
                            <a:lnTo>
                              <a:pt x="316" y="152"/>
                            </a:lnTo>
                            <a:lnTo>
                              <a:pt x="326" y="156"/>
                            </a:lnTo>
                            <a:lnTo>
                              <a:pt x="346" y="160"/>
                            </a:lnTo>
                            <a:lnTo>
                              <a:pt x="346" y="160"/>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8" name="Austria"/>
                      <p:cNvSpPr>
                        <a:spLocks/>
                      </p:cNvSpPr>
                      <p:nvPr/>
                    </p:nvSpPr>
                    <p:spPr bwMode="auto">
                      <a:xfrm>
                        <a:off x="6042663" y="1900810"/>
                        <a:ext cx="221748" cy="88010"/>
                      </a:xfrm>
                      <a:custGeom>
                        <a:avLst/>
                        <a:gdLst/>
                        <a:ahLst/>
                        <a:cxnLst>
                          <a:cxn ang="0">
                            <a:pos x="76" y="12"/>
                          </a:cxn>
                          <a:cxn ang="0">
                            <a:pos x="72" y="14"/>
                          </a:cxn>
                          <a:cxn ang="0">
                            <a:pos x="68" y="20"/>
                          </a:cxn>
                          <a:cxn ang="0">
                            <a:pos x="64" y="22"/>
                          </a:cxn>
                          <a:cxn ang="0">
                            <a:pos x="66" y="24"/>
                          </a:cxn>
                          <a:cxn ang="0">
                            <a:pos x="66" y="26"/>
                          </a:cxn>
                          <a:cxn ang="0">
                            <a:pos x="66" y="30"/>
                          </a:cxn>
                          <a:cxn ang="0">
                            <a:pos x="64" y="32"/>
                          </a:cxn>
                          <a:cxn ang="0">
                            <a:pos x="60" y="28"/>
                          </a:cxn>
                          <a:cxn ang="0">
                            <a:pos x="56" y="28"/>
                          </a:cxn>
                          <a:cxn ang="0">
                            <a:pos x="52" y="28"/>
                          </a:cxn>
                          <a:cxn ang="0">
                            <a:pos x="48" y="32"/>
                          </a:cxn>
                          <a:cxn ang="0">
                            <a:pos x="40" y="34"/>
                          </a:cxn>
                          <a:cxn ang="0">
                            <a:pos x="32" y="32"/>
                          </a:cxn>
                          <a:cxn ang="0">
                            <a:pos x="30" y="32"/>
                          </a:cxn>
                          <a:cxn ang="0">
                            <a:pos x="24" y="34"/>
                          </a:cxn>
                          <a:cxn ang="0">
                            <a:pos x="22" y="38"/>
                          </a:cxn>
                          <a:cxn ang="0">
                            <a:pos x="14" y="36"/>
                          </a:cxn>
                          <a:cxn ang="0">
                            <a:pos x="0" y="36"/>
                          </a:cxn>
                          <a:cxn ang="0">
                            <a:pos x="2" y="40"/>
                          </a:cxn>
                          <a:cxn ang="0">
                            <a:pos x="4" y="44"/>
                          </a:cxn>
                          <a:cxn ang="0">
                            <a:pos x="10" y="48"/>
                          </a:cxn>
                          <a:cxn ang="0">
                            <a:pos x="16" y="46"/>
                          </a:cxn>
                          <a:cxn ang="0">
                            <a:pos x="18" y="52"/>
                          </a:cxn>
                          <a:cxn ang="0">
                            <a:pos x="26" y="52"/>
                          </a:cxn>
                          <a:cxn ang="0">
                            <a:pos x="32" y="50"/>
                          </a:cxn>
                          <a:cxn ang="0">
                            <a:pos x="40" y="48"/>
                          </a:cxn>
                          <a:cxn ang="0">
                            <a:pos x="52" y="46"/>
                          </a:cxn>
                          <a:cxn ang="0">
                            <a:pos x="54" y="48"/>
                          </a:cxn>
                          <a:cxn ang="0">
                            <a:pos x="60" y="52"/>
                          </a:cxn>
                          <a:cxn ang="0">
                            <a:pos x="66" y="54"/>
                          </a:cxn>
                          <a:cxn ang="0">
                            <a:pos x="74" y="56"/>
                          </a:cxn>
                          <a:cxn ang="0">
                            <a:pos x="78" y="56"/>
                          </a:cxn>
                          <a:cxn ang="0">
                            <a:pos x="98" y="56"/>
                          </a:cxn>
                          <a:cxn ang="0">
                            <a:pos x="108" y="50"/>
                          </a:cxn>
                          <a:cxn ang="0">
                            <a:pos x="114" y="50"/>
                          </a:cxn>
                          <a:cxn ang="0">
                            <a:pos x="122" y="50"/>
                          </a:cxn>
                          <a:cxn ang="0">
                            <a:pos x="128" y="50"/>
                          </a:cxn>
                          <a:cxn ang="0">
                            <a:pos x="132" y="44"/>
                          </a:cxn>
                          <a:cxn ang="0">
                            <a:pos x="134" y="38"/>
                          </a:cxn>
                          <a:cxn ang="0">
                            <a:pos x="134" y="32"/>
                          </a:cxn>
                          <a:cxn ang="0">
                            <a:pos x="130" y="28"/>
                          </a:cxn>
                          <a:cxn ang="0">
                            <a:pos x="140" y="30"/>
                          </a:cxn>
                          <a:cxn ang="0">
                            <a:pos x="146" y="26"/>
                          </a:cxn>
                          <a:cxn ang="0">
                            <a:pos x="146" y="16"/>
                          </a:cxn>
                          <a:cxn ang="0">
                            <a:pos x="136" y="14"/>
                          </a:cxn>
                          <a:cxn ang="0">
                            <a:pos x="118" y="4"/>
                          </a:cxn>
                          <a:cxn ang="0">
                            <a:pos x="112" y="4"/>
                          </a:cxn>
                          <a:cxn ang="0">
                            <a:pos x="108" y="4"/>
                          </a:cxn>
                          <a:cxn ang="0">
                            <a:pos x="98" y="0"/>
                          </a:cxn>
                          <a:cxn ang="0">
                            <a:pos x="96" y="6"/>
                          </a:cxn>
                          <a:cxn ang="0">
                            <a:pos x="92" y="10"/>
                          </a:cxn>
                          <a:cxn ang="0">
                            <a:pos x="86" y="10"/>
                          </a:cxn>
                          <a:cxn ang="0">
                            <a:pos x="78" y="8"/>
                          </a:cxn>
                        </a:cxnLst>
                        <a:rect l="0" t="0" r="r" b="b"/>
                        <a:pathLst>
                          <a:path w="146" h="58">
                            <a:moveTo>
                              <a:pt x="78" y="8"/>
                            </a:moveTo>
                            <a:lnTo>
                              <a:pt x="78" y="8"/>
                            </a:lnTo>
                            <a:lnTo>
                              <a:pt x="76" y="12"/>
                            </a:lnTo>
                            <a:lnTo>
                              <a:pt x="74" y="14"/>
                            </a:lnTo>
                            <a:lnTo>
                              <a:pt x="72" y="14"/>
                            </a:lnTo>
                            <a:lnTo>
                              <a:pt x="72" y="14"/>
                            </a:lnTo>
                            <a:lnTo>
                              <a:pt x="72" y="16"/>
                            </a:lnTo>
                            <a:lnTo>
                              <a:pt x="70" y="18"/>
                            </a:lnTo>
                            <a:lnTo>
                              <a:pt x="68" y="20"/>
                            </a:lnTo>
                            <a:lnTo>
                              <a:pt x="66" y="20"/>
                            </a:lnTo>
                            <a:lnTo>
                              <a:pt x="66" y="20"/>
                            </a:lnTo>
                            <a:lnTo>
                              <a:pt x="64" y="22"/>
                            </a:lnTo>
                            <a:lnTo>
                              <a:pt x="64" y="22"/>
                            </a:lnTo>
                            <a:lnTo>
                              <a:pt x="66" y="24"/>
                            </a:lnTo>
                            <a:lnTo>
                              <a:pt x="66" y="24"/>
                            </a:lnTo>
                            <a:lnTo>
                              <a:pt x="66" y="24"/>
                            </a:lnTo>
                            <a:lnTo>
                              <a:pt x="66" y="26"/>
                            </a:lnTo>
                            <a:lnTo>
                              <a:pt x="66" y="26"/>
                            </a:lnTo>
                            <a:lnTo>
                              <a:pt x="66" y="28"/>
                            </a:lnTo>
                            <a:lnTo>
                              <a:pt x="66" y="28"/>
                            </a:lnTo>
                            <a:lnTo>
                              <a:pt x="66" y="30"/>
                            </a:lnTo>
                            <a:lnTo>
                              <a:pt x="66" y="32"/>
                            </a:lnTo>
                            <a:lnTo>
                              <a:pt x="64" y="32"/>
                            </a:lnTo>
                            <a:lnTo>
                              <a:pt x="64" y="32"/>
                            </a:lnTo>
                            <a:lnTo>
                              <a:pt x="62" y="30"/>
                            </a:lnTo>
                            <a:lnTo>
                              <a:pt x="60" y="28"/>
                            </a:lnTo>
                            <a:lnTo>
                              <a:pt x="60" y="28"/>
                            </a:lnTo>
                            <a:lnTo>
                              <a:pt x="58" y="28"/>
                            </a:lnTo>
                            <a:lnTo>
                              <a:pt x="58" y="28"/>
                            </a:lnTo>
                            <a:lnTo>
                              <a:pt x="56" y="28"/>
                            </a:lnTo>
                            <a:lnTo>
                              <a:pt x="56" y="28"/>
                            </a:lnTo>
                            <a:lnTo>
                              <a:pt x="54" y="28"/>
                            </a:lnTo>
                            <a:lnTo>
                              <a:pt x="52" y="28"/>
                            </a:lnTo>
                            <a:lnTo>
                              <a:pt x="52" y="28"/>
                            </a:lnTo>
                            <a:lnTo>
                              <a:pt x="50" y="30"/>
                            </a:lnTo>
                            <a:lnTo>
                              <a:pt x="48" y="32"/>
                            </a:lnTo>
                            <a:lnTo>
                              <a:pt x="48" y="32"/>
                            </a:lnTo>
                            <a:lnTo>
                              <a:pt x="42" y="34"/>
                            </a:lnTo>
                            <a:lnTo>
                              <a:pt x="40" y="34"/>
                            </a:lnTo>
                            <a:lnTo>
                              <a:pt x="38" y="34"/>
                            </a:lnTo>
                            <a:lnTo>
                              <a:pt x="38" y="34"/>
                            </a:lnTo>
                            <a:lnTo>
                              <a:pt x="32" y="32"/>
                            </a:lnTo>
                            <a:lnTo>
                              <a:pt x="30" y="32"/>
                            </a:lnTo>
                            <a:lnTo>
                              <a:pt x="30" y="32"/>
                            </a:lnTo>
                            <a:lnTo>
                              <a:pt x="30" y="32"/>
                            </a:lnTo>
                            <a:lnTo>
                              <a:pt x="28" y="34"/>
                            </a:lnTo>
                            <a:lnTo>
                              <a:pt x="26" y="34"/>
                            </a:lnTo>
                            <a:lnTo>
                              <a:pt x="24" y="34"/>
                            </a:lnTo>
                            <a:lnTo>
                              <a:pt x="24" y="36"/>
                            </a:lnTo>
                            <a:lnTo>
                              <a:pt x="24" y="36"/>
                            </a:lnTo>
                            <a:lnTo>
                              <a:pt x="22" y="38"/>
                            </a:lnTo>
                            <a:lnTo>
                              <a:pt x="20" y="38"/>
                            </a:lnTo>
                            <a:lnTo>
                              <a:pt x="14" y="36"/>
                            </a:lnTo>
                            <a:lnTo>
                              <a:pt x="14" y="36"/>
                            </a:lnTo>
                            <a:lnTo>
                              <a:pt x="6" y="34"/>
                            </a:lnTo>
                            <a:lnTo>
                              <a:pt x="2" y="34"/>
                            </a:lnTo>
                            <a:lnTo>
                              <a:pt x="0" y="36"/>
                            </a:lnTo>
                            <a:lnTo>
                              <a:pt x="0" y="36"/>
                            </a:lnTo>
                            <a:lnTo>
                              <a:pt x="4" y="38"/>
                            </a:lnTo>
                            <a:lnTo>
                              <a:pt x="2" y="40"/>
                            </a:lnTo>
                            <a:lnTo>
                              <a:pt x="2" y="42"/>
                            </a:lnTo>
                            <a:lnTo>
                              <a:pt x="4" y="44"/>
                            </a:lnTo>
                            <a:lnTo>
                              <a:pt x="4" y="44"/>
                            </a:lnTo>
                            <a:lnTo>
                              <a:pt x="8" y="44"/>
                            </a:lnTo>
                            <a:lnTo>
                              <a:pt x="8" y="46"/>
                            </a:lnTo>
                            <a:lnTo>
                              <a:pt x="10" y="48"/>
                            </a:lnTo>
                            <a:lnTo>
                              <a:pt x="12" y="48"/>
                            </a:lnTo>
                            <a:lnTo>
                              <a:pt x="12" y="48"/>
                            </a:lnTo>
                            <a:lnTo>
                              <a:pt x="16" y="46"/>
                            </a:lnTo>
                            <a:lnTo>
                              <a:pt x="16" y="48"/>
                            </a:lnTo>
                            <a:lnTo>
                              <a:pt x="18" y="52"/>
                            </a:lnTo>
                            <a:lnTo>
                              <a:pt x="18" y="52"/>
                            </a:lnTo>
                            <a:lnTo>
                              <a:pt x="22" y="50"/>
                            </a:lnTo>
                            <a:lnTo>
                              <a:pt x="26" y="52"/>
                            </a:lnTo>
                            <a:lnTo>
                              <a:pt x="26" y="52"/>
                            </a:lnTo>
                            <a:lnTo>
                              <a:pt x="28" y="52"/>
                            </a:lnTo>
                            <a:lnTo>
                              <a:pt x="30" y="52"/>
                            </a:lnTo>
                            <a:lnTo>
                              <a:pt x="32" y="50"/>
                            </a:lnTo>
                            <a:lnTo>
                              <a:pt x="34" y="48"/>
                            </a:lnTo>
                            <a:lnTo>
                              <a:pt x="34" y="48"/>
                            </a:lnTo>
                            <a:lnTo>
                              <a:pt x="40" y="48"/>
                            </a:lnTo>
                            <a:lnTo>
                              <a:pt x="46" y="48"/>
                            </a:lnTo>
                            <a:lnTo>
                              <a:pt x="46" y="48"/>
                            </a:lnTo>
                            <a:lnTo>
                              <a:pt x="52" y="46"/>
                            </a:lnTo>
                            <a:lnTo>
                              <a:pt x="54" y="48"/>
                            </a:lnTo>
                            <a:lnTo>
                              <a:pt x="54" y="48"/>
                            </a:lnTo>
                            <a:lnTo>
                              <a:pt x="54" y="48"/>
                            </a:lnTo>
                            <a:lnTo>
                              <a:pt x="54" y="50"/>
                            </a:lnTo>
                            <a:lnTo>
                              <a:pt x="56" y="50"/>
                            </a:lnTo>
                            <a:lnTo>
                              <a:pt x="60" y="52"/>
                            </a:lnTo>
                            <a:lnTo>
                              <a:pt x="60" y="52"/>
                            </a:lnTo>
                            <a:lnTo>
                              <a:pt x="62" y="54"/>
                            </a:lnTo>
                            <a:lnTo>
                              <a:pt x="66" y="54"/>
                            </a:lnTo>
                            <a:lnTo>
                              <a:pt x="66" y="54"/>
                            </a:lnTo>
                            <a:lnTo>
                              <a:pt x="70" y="56"/>
                            </a:lnTo>
                            <a:lnTo>
                              <a:pt x="74" y="56"/>
                            </a:lnTo>
                            <a:lnTo>
                              <a:pt x="78" y="56"/>
                            </a:lnTo>
                            <a:lnTo>
                              <a:pt x="78" y="56"/>
                            </a:lnTo>
                            <a:lnTo>
                              <a:pt x="78" y="56"/>
                            </a:lnTo>
                            <a:lnTo>
                              <a:pt x="92" y="58"/>
                            </a:lnTo>
                            <a:lnTo>
                              <a:pt x="98" y="56"/>
                            </a:lnTo>
                            <a:lnTo>
                              <a:pt x="98" y="56"/>
                            </a:lnTo>
                            <a:lnTo>
                              <a:pt x="104" y="52"/>
                            </a:lnTo>
                            <a:lnTo>
                              <a:pt x="106" y="50"/>
                            </a:lnTo>
                            <a:lnTo>
                              <a:pt x="108" y="50"/>
                            </a:lnTo>
                            <a:lnTo>
                              <a:pt x="108" y="50"/>
                            </a:lnTo>
                            <a:lnTo>
                              <a:pt x="112" y="52"/>
                            </a:lnTo>
                            <a:lnTo>
                              <a:pt x="114" y="50"/>
                            </a:lnTo>
                            <a:lnTo>
                              <a:pt x="114" y="50"/>
                            </a:lnTo>
                            <a:lnTo>
                              <a:pt x="118" y="48"/>
                            </a:lnTo>
                            <a:lnTo>
                              <a:pt x="122" y="50"/>
                            </a:lnTo>
                            <a:lnTo>
                              <a:pt x="122" y="50"/>
                            </a:lnTo>
                            <a:lnTo>
                              <a:pt x="126" y="52"/>
                            </a:lnTo>
                            <a:lnTo>
                              <a:pt x="128" y="50"/>
                            </a:lnTo>
                            <a:lnTo>
                              <a:pt x="128" y="48"/>
                            </a:lnTo>
                            <a:lnTo>
                              <a:pt x="128" y="48"/>
                            </a:lnTo>
                            <a:lnTo>
                              <a:pt x="132" y="44"/>
                            </a:lnTo>
                            <a:lnTo>
                              <a:pt x="134" y="42"/>
                            </a:lnTo>
                            <a:lnTo>
                              <a:pt x="134" y="42"/>
                            </a:lnTo>
                            <a:lnTo>
                              <a:pt x="134" y="38"/>
                            </a:lnTo>
                            <a:lnTo>
                              <a:pt x="136" y="36"/>
                            </a:lnTo>
                            <a:lnTo>
                              <a:pt x="136" y="34"/>
                            </a:lnTo>
                            <a:lnTo>
                              <a:pt x="134" y="32"/>
                            </a:lnTo>
                            <a:lnTo>
                              <a:pt x="134" y="32"/>
                            </a:lnTo>
                            <a:lnTo>
                              <a:pt x="130" y="28"/>
                            </a:lnTo>
                            <a:lnTo>
                              <a:pt x="130" y="28"/>
                            </a:lnTo>
                            <a:lnTo>
                              <a:pt x="134" y="28"/>
                            </a:lnTo>
                            <a:lnTo>
                              <a:pt x="134" y="28"/>
                            </a:lnTo>
                            <a:lnTo>
                              <a:pt x="140" y="30"/>
                            </a:lnTo>
                            <a:lnTo>
                              <a:pt x="142" y="30"/>
                            </a:lnTo>
                            <a:lnTo>
                              <a:pt x="146" y="26"/>
                            </a:lnTo>
                            <a:lnTo>
                              <a:pt x="146" y="26"/>
                            </a:lnTo>
                            <a:lnTo>
                              <a:pt x="146" y="20"/>
                            </a:lnTo>
                            <a:lnTo>
                              <a:pt x="146" y="16"/>
                            </a:lnTo>
                            <a:lnTo>
                              <a:pt x="146" y="16"/>
                            </a:lnTo>
                            <a:lnTo>
                              <a:pt x="142" y="16"/>
                            </a:lnTo>
                            <a:lnTo>
                              <a:pt x="140" y="16"/>
                            </a:lnTo>
                            <a:lnTo>
                              <a:pt x="136" y="14"/>
                            </a:lnTo>
                            <a:lnTo>
                              <a:pt x="136" y="14"/>
                            </a:lnTo>
                            <a:lnTo>
                              <a:pt x="128" y="10"/>
                            </a:lnTo>
                            <a:lnTo>
                              <a:pt x="118" y="4"/>
                            </a:lnTo>
                            <a:lnTo>
                              <a:pt x="118" y="4"/>
                            </a:lnTo>
                            <a:lnTo>
                              <a:pt x="114" y="4"/>
                            </a:lnTo>
                            <a:lnTo>
                              <a:pt x="112" y="4"/>
                            </a:lnTo>
                            <a:lnTo>
                              <a:pt x="110" y="6"/>
                            </a:lnTo>
                            <a:lnTo>
                              <a:pt x="108" y="4"/>
                            </a:lnTo>
                            <a:lnTo>
                              <a:pt x="108" y="4"/>
                            </a:lnTo>
                            <a:lnTo>
                              <a:pt x="104" y="2"/>
                            </a:lnTo>
                            <a:lnTo>
                              <a:pt x="98" y="0"/>
                            </a:lnTo>
                            <a:lnTo>
                              <a:pt x="98" y="0"/>
                            </a:lnTo>
                            <a:lnTo>
                              <a:pt x="96" y="0"/>
                            </a:lnTo>
                            <a:lnTo>
                              <a:pt x="96" y="2"/>
                            </a:lnTo>
                            <a:lnTo>
                              <a:pt x="96" y="6"/>
                            </a:lnTo>
                            <a:lnTo>
                              <a:pt x="94" y="10"/>
                            </a:lnTo>
                            <a:lnTo>
                              <a:pt x="94" y="10"/>
                            </a:lnTo>
                            <a:lnTo>
                              <a:pt x="92" y="10"/>
                            </a:lnTo>
                            <a:lnTo>
                              <a:pt x="90" y="10"/>
                            </a:lnTo>
                            <a:lnTo>
                              <a:pt x="86" y="10"/>
                            </a:lnTo>
                            <a:lnTo>
                              <a:pt x="86" y="10"/>
                            </a:lnTo>
                            <a:lnTo>
                              <a:pt x="84" y="10"/>
                            </a:lnTo>
                            <a:lnTo>
                              <a:pt x="78" y="8"/>
                            </a:lnTo>
                            <a:lnTo>
                              <a:pt x="78" y="8"/>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9" name="Belgium"/>
                      <p:cNvSpPr>
                        <a:spLocks/>
                      </p:cNvSpPr>
                      <p:nvPr/>
                    </p:nvSpPr>
                    <p:spPr bwMode="auto">
                      <a:xfrm>
                        <a:off x="5857368" y="1834044"/>
                        <a:ext cx="91129" cy="57662"/>
                      </a:xfrm>
                      <a:custGeom>
                        <a:avLst/>
                        <a:gdLst/>
                        <a:ahLst/>
                        <a:cxnLst>
                          <a:cxn ang="0">
                            <a:pos x="0" y="10"/>
                          </a:cxn>
                          <a:cxn ang="0">
                            <a:pos x="10" y="8"/>
                          </a:cxn>
                          <a:cxn ang="0">
                            <a:pos x="14" y="4"/>
                          </a:cxn>
                          <a:cxn ang="0">
                            <a:pos x="20" y="0"/>
                          </a:cxn>
                          <a:cxn ang="0">
                            <a:pos x="32" y="6"/>
                          </a:cxn>
                          <a:cxn ang="0">
                            <a:pos x="38" y="4"/>
                          </a:cxn>
                          <a:cxn ang="0">
                            <a:pos x="42" y="4"/>
                          </a:cxn>
                          <a:cxn ang="0">
                            <a:pos x="46" y="4"/>
                          </a:cxn>
                          <a:cxn ang="0">
                            <a:pos x="48" y="6"/>
                          </a:cxn>
                          <a:cxn ang="0">
                            <a:pos x="48" y="8"/>
                          </a:cxn>
                          <a:cxn ang="0">
                            <a:pos x="52" y="8"/>
                          </a:cxn>
                          <a:cxn ang="0">
                            <a:pos x="52" y="10"/>
                          </a:cxn>
                          <a:cxn ang="0">
                            <a:pos x="56" y="14"/>
                          </a:cxn>
                          <a:cxn ang="0">
                            <a:pos x="58" y="16"/>
                          </a:cxn>
                          <a:cxn ang="0">
                            <a:pos x="56" y="22"/>
                          </a:cxn>
                          <a:cxn ang="0">
                            <a:pos x="60" y="26"/>
                          </a:cxn>
                          <a:cxn ang="0">
                            <a:pos x="60" y="30"/>
                          </a:cxn>
                          <a:cxn ang="0">
                            <a:pos x="52" y="38"/>
                          </a:cxn>
                          <a:cxn ang="0">
                            <a:pos x="50" y="36"/>
                          </a:cxn>
                          <a:cxn ang="0">
                            <a:pos x="48" y="36"/>
                          </a:cxn>
                          <a:cxn ang="0">
                            <a:pos x="46" y="36"/>
                          </a:cxn>
                          <a:cxn ang="0">
                            <a:pos x="44" y="38"/>
                          </a:cxn>
                          <a:cxn ang="0">
                            <a:pos x="42" y="38"/>
                          </a:cxn>
                          <a:cxn ang="0">
                            <a:pos x="40" y="36"/>
                          </a:cxn>
                          <a:cxn ang="0">
                            <a:pos x="36" y="34"/>
                          </a:cxn>
                          <a:cxn ang="0">
                            <a:pos x="34" y="32"/>
                          </a:cxn>
                          <a:cxn ang="0">
                            <a:pos x="34" y="26"/>
                          </a:cxn>
                          <a:cxn ang="0">
                            <a:pos x="34" y="24"/>
                          </a:cxn>
                          <a:cxn ang="0">
                            <a:pos x="32" y="24"/>
                          </a:cxn>
                          <a:cxn ang="0">
                            <a:pos x="30" y="28"/>
                          </a:cxn>
                          <a:cxn ang="0">
                            <a:pos x="28" y="28"/>
                          </a:cxn>
                          <a:cxn ang="0">
                            <a:pos x="24" y="26"/>
                          </a:cxn>
                          <a:cxn ang="0">
                            <a:pos x="24" y="22"/>
                          </a:cxn>
                          <a:cxn ang="0">
                            <a:pos x="20" y="20"/>
                          </a:cxn>
                          <a:cxn ang="0">
                            <a:pos x="14" y="18"/>
                          </a:cxn>
                          <a:cxn ang="0">
                            <a:pos x="12" y="16"/>
                          </a:cxn>
                          <a:cxn ang="0">
                            <a:pos x="8" y="14"/>
                          </a:cxn>
                          <a:cxn ang="0">
                            <a:pos x="2" y="12"/>
                          </a:cxn>
                          <a:cxn ang="0">
                            <a:pos x="0" y="10"/>
                          </a:cxn>
                        </a:cxnLst>
                        <a:rect l="0" t="0" r="r" b="b"/>
                        <a:pathLst>
                          <a:path w="60" h="38">
                            <a:moveTo>
                              <a:pt x="0" y="10"/>
                            </a:moveTo>
                            <a:lnTo>
                              <a:pt x="0" y="10"/>
                            </a:lnTo>
                            <a:lnTo>
                              <a:pt x="6" y="10"/>
                            </a:lnTo>
                            <a:lnTo>
                              <a:pt x="10" y="8"/>
                            </a:lnTo>
                            <a:lnTo>
                              <a:pt x="10" y="8"/>
                            </a:lnTo>
                            <a:lnTo>
                              <a:pt x="14" y="4"/>
                            </a:lnTo>
                            <a:lnTo>
                              <a:pt x="20" y="0"/>
                            </a:lnTo>
                            <a:lnTo>
                              <a:pt x="20" y="0"/>
                            </a:lnTo>
                            <a:lnTo>
                              <a:pt x="26" y="6"/>
                            </a:lnTo>
                            <a:lnTo>
                              <a:pt x="32" y="6"/>
                            </a:lnTo>
                            <a:lnTo>
                              <a:pt x="32" y="6"/>
                            </a:lnTo>
                            <a:lnTo>
                              <a:pt x="38" y="4"/>
                            </a:lnTo>
                            <a:lnTo>
                              <a:pt x="40" y="4"/>
                            </a:lnTo>
                            <a:lnTo>
                              <a:pt x="42" y="4"/>
                            </a:lnTo>
                            <a:lnTo>
                              <a:pt x="42" y="4"/>
                            </a:lnTo>
                            <a:lnTo>
                              <a:pt x="46" y="4"/>
                            </a:lnTo>
                            <a:lnTo>
                              <a:pt x="48" y="4"/>
                            </a:lnTo>
                            <a:lnTo>
                              <a:pt x="48" y="6"/>
                            </a:lnTo>
                            <a:lnTo>
                              <a:pt x="48" y="6"/>
                            </a:lnTo>
                            <a:lnTo>
                              <a:pt x="48" y="8"/>
                            </a:lnTo>
                            <a:lnTo>
                              <a:pt x="50" y="8"/>
                            </a:lnTo>
                            <a:lnTo>
                              <a:pt x="52" y="8"/>
                            </a:lnTo>
                            <a:lnTo>
                              <a:pt x="52" y="10"/>
                            </a:lnTo>
                            <a:lnTo>
                              <a:pt x="52" y="10"/>
                            </a:lnTo>
                            <a:lnTo>
                              <a:pt x="52" y="14"/>
                            </a:lnTo>
                            <a:lnTo>
                              <a:pt x="56" y="14"/>
                            </a:lnTo>
                            <a:lnTo>
                              <a:pt x="56" y="14"/>
                            </a:lnTo>
                            <a:lnTo>
                              <a:pt x="58" y="16"/>
                            </a:lnTo>
                            <a:lnTo>
                              <a:pt x="58" y="18"/>
                            </a:lnTo>
                            <a:lnTo>
                              <a:pt x="56" y="22"/>
                            </a:lnTo>
                            <a:lnTo>
                              <a:pt x="56" y="22"/>
                            </a:lnTo>
                            <a:lnTo>
                              <a:pt x="60" y="26"/>
                            </a:lnTo>
                            <a:lnTo>
                              <a:pt x="60" y="30"/>
                            </a:lnTo>
                            <a:lnTo>
                              <a:pt x="60" y="30"/>
                            </a:lnTo>
                            <a:lnTo>
                              <a:pt x="56" y="34"/>
                            </a:lnTo>
                            <a:lnTo>
                              <a:pt x="52" y="38"/>
                            </a:lnTo>
                            <a:lnTo>
                              <a:pt x="52" y="38"/>
                            </a:lnTo>
                            <a:lnTo>
                              <a:pt x="50" y="36"/>
                            </a:lnTo>
                            <a:lnTo>
                              <a:pt x="48" y="36"/>
                            </a:lnTo>
                            <a:lnTo>
                              <a:pt x="48" y="36"/>
                            </a:lnTo>
                            <a:lnTo>
                              <a:pt x="46" y="36"/>
                            </a:lnTo>
                            <a:lnTo>
                              <a:pt x="46" y="36"/>
                            </a:lnTo>
                            <a:lnTo>
                              <a:pt x="44" y="38"/>
                            </a:lnTo>
                            <a:lnTo>
                              <a:pt x="44" y="38"/>
                            </a:lnTo>
                            <a:lnTo>
                              <a:pt x="42" y="38"/>
                            </a:lnTo>
                            <a:lnTo>
                              <a:pt x="42" y="38"/>
                            </a:lnTo>
                            <a:lnTo>
                              <a:pt x="42" y="38"/>
                            </a:lnTo>
                            <a:lnTo>
                              <a:pt x="40" y="36"/>
                            </a:lnTo>
                            <a:lnTo>
                              <a:pt x="38" y="34"/>
                            </a:lnTo>
                            <a:lnTo>
                              <a:pt x="36" y="34"/>
                            </a:lnTo>
                            <a:lnTo>
                              <a:pt x="36" y="34"/>
                            </a:lnTo>
                            <a:lnTo>
                              <a:pt x="34" y="32"/>
                            </a:lnTo>
                            <a:lnTo>
                              <a:pt x="34" y="30"/>
                            </a:lnTo>
                            <a:lnTo>
                              <a:pt x="34" y="26"/>
                            </a:lnTo>
                            <a:lnTo>
                              <a:pt x="34" y="26"/>
                            </a:lnTo>
                            <a:lnTo>
                              <a:pt x="34" y="24"/>
                            </a:lnTo>
                            <a:lnTo>
                              <a:pt x="34" y="24"/>
                            </a:lnTo>
                            <a:lnTo>
                              <a:pt x="32" y="24"/>
                            </a:lnTo>
                            <a:lnTo>
                              <a:pt x="32" y="24"/>
                            </a:lnTo>
                            <a:lnTo>
                              <a:pt x="30" y="28"/>
                            </a:lnTo>
                            <a:lnTo>
                              <a:pt x="28" y="28"/>
                            </a:lnTo>
                            <a:lnTo>
                              <a:pt x="28" y="28"/>
                            </a:lnTo>
                            <a:lnTo>
                              <a:pt x="24" y="28"/>
                            </a:lnTo>
                            <a:lnTo>
                              <a:pt x="24" y="26"/>
                            </a:lnTo>
                            <a:lnTo>
                              <a:pt x="24" y="26"/>
                            </a:lnTo>
                            <a:lnTo>
                              <a:pt x="24" y="22"/>
                            </a:lnTo>
                            <a:lnTo>
                              <a:pt x="20" y="20"/>
                            </a:lnTo>
                            <a:lnTo>
                              <a:pt x="20" y="20"/>
                            </a:lnTo>
                            <a:lnTo>
                              <a:pt x="18" y="20"/>
                            </a:lnTo>
                            <a:lnTo>
                              <a:pt x="14" y="18"/>
                            </a:lnTo>
                            <a:lnTo>
                              <a:pt x="14" y="18"/>
                            </a:lnTo>
                            <a:lnTo>
                              <a:pt x="12" y="16"/>
                            </a:lnTo>
                            <a:lnTo>
                              <a:pt x="8" y="14"/>
                            </a:lnTo>
                            <a:lnTo>
                              <a:pt x="8" y="14"/>
                            </a:lnTo>
                            <a:lnTo>
                              <a:pt x="4" y="14"/>
                            </a:lnTo>
                            <a:lnTo>
                              <a:pt x="2" y="12"/>
                            </a:lnTo>
                            <a:lnTo>
                              <a:pt x="0" y="10"/>
                            </a:lnTo>
                            <a:lnTo>
                              <a:pt x="0" y="10"/>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5" name="Denmark"/>
                      <p:cNvSpPr>
                        <a:spLocks/>
                      </p:cNvSpPr>
                      <p:nvPr/>
                    </p:nvSpPr>
                    <p:spPr bwMode="auto">
                      <a:xfrm>
                        <a:off x="5991023" y="1664092"/>
                        <a:ext cx="109355" cy="78906"/>
                      </a:xfrm>
                      <a:custGeom>
                        <a:avLst/>
                        <a:gdLst/>
                        <a:ahLst/>
                        <a:cxnLst/>
                        <a:rect l="l" t="t" r="r" b="b"/>
                        <a:pathLst>
                          <a:path w="95250" h="68792">
                            <a:moveTo>
                              <a:pt x="47625" y="52918"/>
                            </a:moveTo>
                            <a:lnTo>
                              <a:pt x="50271" y="52918"/>
                            </a:lnTo>
                            <a:lnTo>
                              <a:pt x="52917" y="55564"/>
                            </a:lnTo>
                            <a:lnTo>
                              <a:pt x="55563" y="55564"/>
                            </a:lnTo>
                            <a:lnTo>
                              <a:pt x="55563" y="52918"/>
                            </a:lnTo>
                            <a:lnTo>
                              <a:pt x="58208" y="55564"/>
                            </a:lnTo>
                            <a:lnTo>
                              <a:pt x="60854" y="58210"/>
                            </a:lnTo>
                            <a:lnTo>
                              <a:pt x="58208" y="60855"/>
                            </a:lnTo>
                            <a:lnTo>
                              <a:pt x="55563" y="63501"/>
                            </a:lnTo>
                            <a:lnTo>
                              <a:pt x="50271" y="63501"/>
                            </a:lnTo>
                            <a:lnTo>
                              <a:pt x="44979" y="60855"/>
                            </a:lnTo>
                            <a:lnTo>
                              <a:pt x="37042" y="58210"/>
                            </a:lnTo>
                            <a:lnTo>
                              <a:pt x="34396" y="55564"/>
                            </a:lnTo>
                            <a:lnTo>
                              <a:pt x="37042" y="55564"/>
                            </a:lnTo>
                            <a:close/>
                            <a:moveTo>
                              <a:pt x="87313" y="34397"/>
                            </a:moveTo>
                            <a:lnTo>
                              <a:pt x="92604" y="34397"/>
                            </a:lnTo>
                            <a:lnTo>
                              <a:pt x="95250" y="34397"/>
                            </a:lnTo>
                            <a:lnTo>
                              <a:pt x="95250" y="39689"/>
                            </a:lnTo>
                            <a:lnTo>
                              <a:pt x="95250" y="44980"/>
                            </a:lnTo>
                            <a:lnTo>
                              <a:pt x="92604" y="47626"/>
                            </a:lnTo>
                            <a:lnTo>
                              <a:pt x="89959" y="50272"/>
                            </a:lnTo>
                            <a:lnTo>
                              <a:pt x="92604" y="52918"/>
                            </a:lnTo>
                            <a:lnTo>
                              <a:pt x="95250" y="52918"/>
                            </a:lnTo>
                            <a:lnTo>
                              <a:pt x="92604" y="55564"/>
                            </a:lnTo>
                            <a:lnTo>
                              <a:pt x="89959" y="58210"/>
                            </a:lnTo>
                            <a:lnTo>
                              <a:pt x="87313" y="60855"/>
                            </a:lnTo>
                            <a:lnTo>
                              <a:pt x="89959" y="66147"/>
                            </a:lnTo>
                            <a:lnTo>
                              <a:pt x="84667" y="66147"/>
                            </a:lnTo>
                            <a:lnTo>
                              <a:pt x="76729" y="63501"/>
                            </a:lnTo>
                            <a:lnTo>
                              <a:pt x="74084" y="63501"/>
                            </a:lnTo>
                            <a:lnTo>
                              <a:pt x="74084" y="60855"/>
                            </a:lnTo>
                            <a:lnTo>
                              <a:pt x="76729" y="60855"/>
                            </a:lnTo>
                            <a:lnTo>
                              <a:pt x="79375" y="58210"/>
                            </a:lnTo>
                            <a:lnTo>
                              <a:pt x="74084" y="60855"/>
                            </a:lnTo>
                            <a:lnTo>
                              <a:pt x="68792" y="60855"/>
                            </a:lnTo>
                            <a:lnTo>
                              <a:pt x="66146" y="58210"/>
                            </a:lnTo>
                            <a:lnTo>
                              <a:pt x="66146" y="52918"/>
                            </a:lnTo>
                            <a:lnTo>
                              <a:pt x="66146" y="50272"/>
                            </a:lnTo>
                            <a:lnTo>
                              <a:pt x="63500" y="47626"/>
                            </a:lnTo>
                            <a:lnTo>
                              <a:pt x="66146" y="44980"/>
                            </a:lnTo>
                            <a:lnTo>
                              <a:pt x="74084" y="44980"/>
                            </a:lnTo>
                            <a:lnTo>
                              <a:pt x="79375" y="42334"/>
                            </a:lnTo>
                            <a:lnTo>
                              <a:pt x="76729" y="39689"/>
                            </a:lnTo>
                            <a:lnTo>
                              <a:pt x="82021" y="39689"/>
                            </a:lnTo>
                            <a:lnTo>
                              <a:pt x="84667" y="44980"/>
                            </a:lnTo>
                            <a:lnTo>
                              <a:pt x="84667" y="42334"/>
                            </a:lnTo>
                            <a:lnTo>
                              <a:pt x="87313" y="42334"/>
                            </a:lnTo>
                            <a:lnTo>
                              <a:pt x="87313" y="44980"/>
                            </a:lnTo>
                            <a:lnTo>
                              <a:pt x="89959" y="42334"/>
                            </a:lnTo>
                            <a:lnTo>
                              <a:pt x="89959" y="39689"/>
                            </a:lnTo>
                            <a:lnTo>
                              <a:pt x="87313" y="39689"/>
                            </a:lnTo>
                            <a:lnTo>
                              <a:pt x="84667" y="39689"/>
                            </a:lnTo>
                            <a:lnTo>
                              <a:pt x="84667" y="37043"/>
                            </a:lnTo>
                            <a:close/>
                            <a:moveTo>
                              <a:pt x="29105" y="13229"/>
                            </a:moveTo>
                            <a:lnTo>
                              <a:pt x="34396" y="15875"/>
                            </a:lnTo>
                            <a:lnTo>
                              <a:pt x="37042" y="18521"/>
                            </a:lnTo>
                            <a:lnTo>
                              <a:pt x="39688" y="23812"/>
                            </a:lnTo>
                            <a:lnTo>
                              <a:pt x="39688" y="26458"/>
                            </a:lnTo>
                            <a:lnTo>
                              <a:pt x="42334" y="26458"/>
                            </a:lnTo>
                            <a:lnTo>
                              <a:pt x="42334" y="29104"/>
                            </a:lnTo>
                            <a:lnTo>
                              <a:pt x="47626" y="29104"/>
                            </a:lnTo>
                            <a:lnTo>
                              <a:pt x="52917" y="29104"/>
                            </a:lnTo>
                            <a:lnTo>
                              <a:pt x="55563" y="31750"/>
                            </a:lnTo>
                            <a:lnTo>
                              <a:pt x="55563" y="34396"/>
                            </a:lnTo>
                            <a:lnTo>
                              <a:pt x="50272" y="34396"/>
                            </a:lnTo>
                            <a:lnTo>
                              <a:pt x="47626" y="37042"/>
                            </a:lnTo>
                            <a:lnTo>
                              <a:pt x="44980" y="39688"/>
                            </a:lnTo>
                            <a:lnTo>
                              <a:pt x="42334" y="39688"/>
                            </a:lnTo>
                            <a:lnTo>
                              <a:pt x="39688" y="42333"/>
                            </a:lnTo>
                            <a:lnTo>
                              <a:pt x="39688" y="44979"/>
                            </a:lnTo>
                            <a:lnTo>
                              <a:pt x="37042" y="47625"/>
                            </a:lnTo>
                            <a:lnTo>
                              <a:pt x="34396" y="47625"/>
                            </a:lnTo>
                            <a:lnTo>
                              <a:pt x="34396" y="50271"/>
                            </a:lnTo>
                            <a:lnTo>
                              <a:pt x="37042" y="52917"/>
                            </a:lnTo>
                            <a:lnTo>
                              <a:pt x="34396" y="52917"/>
                            </a:lnTo>
                            <a:lnTo>
                              <a:pt x="31751" y="55563"/>
                            </a:lnTo>
                            <a:lnTo>
                              <a:pt x="29105" y="58209"/>
                            </a:lnTo>
                            <a:lnTo>
                              <a:pt x="31751" y="60854"/>
                            </a:lnTo>
                            <a:lnTo>
                              <a:pt x="31751" y="63500"/>
                            </a:lnTo>
                            <a:lnTo>
                              <a:pt x="37042" y="63500"/>
                            </a:lnTo>
                            <a:lnTo>
                              <a:pt x="39688" y="66146"/>
                            </a:lnTo>
                            <a:lnTo>
                              <a:pt x="37042" y="66146"/>
                            </a:lnTo>
                            <a:lnTo>
                              <a:pt x="31751" y="68792"/>
                            </a:lnTo>
                            <a:lnTo>
                              <a:pt x="26459" y="66146"/>
                            </a:lnTo>
                            <a:lnTo>
                              <a:pt x="21167" y="66146"/>
                            </a:lnTo>
                            <a:lnTo>
                              <a:pt x="15875" y="66146"/>
                            </a:lnTo>
                            <a:lnTo>
                              <a:pt x="15875" y="63500"/>
                            </a:lnTo>
                            <a:lnTo>
                              <a:pt x="15875" y="60854"/>
                            </a:lnTo>
                            <a:lnTo>
                              <a:pt x="15875" y="55563"/>
                            </a:lnTo>
                            <a:lnTo>
                              <a:pt x="13230" y="55563"/>
                            </a:lnTo>
                            <a:lnTo>
                              <a:pt x="10584" y="52917"/>
                            </a:lnTo>
                            <a:lnTo>
                              <a:pt x="7938" y="50271"/>
                            </a:lnTo>
                            <a:lnTo>
                              <a:pt x="10584" y="50271"/>
                            </a:lnTo>
                            <a:lnTo>
                              <a:pt x="7938" y="47625"/>
                            </a:lnTo>
                            <a:lnTo>
                              <a:pt x="7938" y="42333"/>
                            </a:lnTo>
                            <a:lnTo>
                              <a:pt x="5292" y="42333"/>
                            </a:lnTo>
                            <a:lnTo>
                              <a:pt x="2646" y="42333"/>
                            </a:lnTo>
                            <a:lnTo>
                              <a:pt x="2646" y="39688"/>
                            </a:lnTo>
                            <a:lnTo>
                              <a:pt x="2646" y="37042"/>
                            </a:lnTo>
                            <a:lnTo>
                              <a:pt x="5292" y="34396"/>
                            </a:lnTo>
                            <a:lnTo>
                              <a:pt x="5292" y="31750"/>
                            </a:lnTo>
                            <a:lnTo>
                              <a:pt x="2646" y="29104"/>
                            </a:lnTo>
                            <a:lnTo>
                              <a:pt x="0" y="26458"/>
                            </a:lnTo>
                            <a:lnTo>
                              <a:pt x="0" y="23812"/>
                            </a:lnTo>
                            <a:lnTo>
                              <a:pt x="0" y="21167"/>
                            </a:lnTo>
                            <a:lnTo>
                              <a:pt x="2646" y="18521"/>
                            </a:lnTo>
                            <a:lnTo>
                              <a:pt x="5292" y="18521"/>
                            </a:lnTo>
                            <a:lnTo>
                              <a:pt x="7938" y="23812"/>
                            </a:lnTo>
                            <a:lnTo>
                              <a:pt x="13230" y="23812"/>
                            </a:lnTo>
                            <a:lnTo>
                              <a:pt x="13230" y="21167"/>
                            </a:lnTo>
                            <a:lnTo>
                              <a:pt x="13230" y="18521"/>
                            </a:lnTo>
                            <a:lnTo>
                              <a:pt x="15875" y="15875"/>
                            </a:lnTo>
                            <a:lnTo>
                              <a:pt x="18521" y="15875"/>
                            </a:lnTo>
                            <a:lnTo>
                              <a:pt x="18521" y="18521"/>
                            </a:lnTo>
                            <a:lnTo>
                              <a:pt x="18521" y="23812"/>
                            </a:lnTo>
                            <a:lnTo>
                              <a:pt x="21167" y="23812"/>
                            </a:lnTo>
                            <a:lnTo>
                              <a:pt x="21167" y="15875"/>
                            </a:lnTo>
                            <a:lnTo>
                              <a:pt x="23813" y="15875"/>
                            </a:lnTo>
                            <a:lnTo>
                              <a:pt x="26459" y="15875"/>
                            </a:lnTo>
                            <a:close/>
                            <a:moveTo>
                              <a:pt x="10584" y="10583"/>
                            </a:moveTo>
                            <a:lnTo>
                              <a:pt x="13230" y="10583"/>
                            </a:lnTo>
                            <a:lnTo>
                              <a:pt x="15876" y="10583"/>
                            </a:lnTo>
                            <a:lnTo>
                              <a:pt x="18522" y="10583"/>
                            </a:lnTo>
                            <a:lnTo>
                              <a:pt x="21167" y="13229"/>
                            </a:lnTo>
                            <a:lnTo>
                              <a:pt x="18522" y="13229"/>
                            </a:lnTo>
                            <a:lnTo>
                              <a:pt x="13230" y="13229"/>
                            </a:lnTo>
                            <a:lnTo>
                              <a:pt x="10584" y="18521"/>
                            </a:lnTo>
                            <a:lnTo>
                              <a:pt x="10584" y="21167"/>
                            </a:lnTo>
                            <a:lnTo>
                              <a:pt x="7938" y="18521"/>
                            </a:lnTo>
                            <a:lnTo>
                              <a:pt x="5292" y="15875"/>
                            </a:lnTo>
                            <a:close/>
                            <a:moveTo>
                              <a:pt x="42334" y="0"/>
                            </a:moveTo>
                            <a:lnTo>
                              <a:pt x="44980" y="0"/>
                            </a:lnTo>
                            <a:lnTo>
                              <a:pt x="44980" y="2646"/>
                            </a:lnTo>
                            <a:lnTo>
                              <a:pt x="42334" y="2646"/>
                            </a:lnTo>
                            <a:lnTo>
                              <a:pt x="44980" y="5292"/>
                            </a:lnTo>
                            <a:lnTo>
                              <a:pt x="44980" y="7938"/>
                            </a:lnTo>
                            <a:lnTo>
                              <a:pt x="44980" y="10583"/>
                            </a:lnTo>
                            <a:lnTo>
                              <a:pt x="42334" y="13229"/>
                            </a:lnTo>
                            <a:lnTo>
                              <a:pt x="39689" y="18521"/>
                            </a:lnTo>
                            <a:lnTo>
                              <a:pt x="34397" y="13229"/>
                            </a:lnTo>
                            <a:lnTo>
                              <a:pt x="29105" y="10583"/>
                            </a:lnTo>
                            <a:lnTo>
                              <a:pt x="26459" y="10583"/>
                            </a:lnTo>
                            <a:lnTo>
                              <a:pt x="23813" y="13229"/>
                            </a:lnTo>
                            <a:lnTo>
                              <a:pt x="21167" y="13229"/>
                            </a:lnTo>
                            <a:lnTo>
                              <a:pt x="23813" y="10583"/>
                            </a:lnTo>
                            <a:lnTo>
                              <a:pt x="29105" y="5292"/>
                            </a:lnTo>
                            <a:lnTo>
                              <a:pt x="37043" y="2646"/>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8" name="Netherlands"/>
                      <p:cNvSpPr>
                        <a:spLocks/>
                      </p:cNvSpPr>
                      <p:nvPr/>
                    </p:nvSpPr>
                    <p:spPr bwMode="auto">
                      <a:xfrm>
                        <a:off x="5887744" y="1782452"/>
                        <a:ext cx="82017" cy="72836"/>
                      </a:xfrm>
                      <a:custGeom>
                        <a:avLst/>
                        <a:gdLst/>
                        <a:ahLst/>
                        <a:cxnLst>
                          <a:cxn ang="0">
                            <a:pos x="32" y="48"/>
                          </a:cxn>
                          <a:cxn ang="0">
                            <a:pos x="32" y="42"/>
                          </a:cxn>
                          <a:cxn ang="0">
                            <a:pos x="28" y="40"/>
                          </a:cxn>
                          <a:cxn ang="0">
                            <a:pos x="26" y="38"/>
                          </a:cxn>
                          <a:cxn ang="0">
                            <a:pos x="20" y="38"/>
                          </a:cxn>
                          <a:cxn ang="0">
                            <a:pos x="12" y="40"/>
                          </a:cxn>
                          <a:cxn ang="0">
                            <a:pos x="0" y="34"/>
                          </a:cxn>
                          <a:cxn ang="0">
                            <a:pos x="6" y="36"/>
                          </a:cxn>
                          <a:cxn ang="0">
                            <a:pos x="10" y="36"/>
                          </a:cxn>
                          <a:cxn ang="0">
                            <a:pos x="14" y="36"/>
                          </a:cxn>
                          <a:cxn ang="0">
                            <a:pos x="16" y="34"/>
                          </a:cxn>
                          <a:cxn ang="0">
                            <a:pos x="14" y="34"/>
                          </a:cxn>
                          <a:cxn ang="0">
                            <a:pos x="10" y="32"/>
                          </a:cxn>
                          <a:cxn ang="0">
                            <a:pos x="16" y="30"/>
                          </a:cxn>
                          <a:cxn ang="0">
                            <a:pos x="12" y="30"/>
                          </a:cxn>
                          <a:cxn ang="0">
                            <a:pos x="10" y="26"/>
                          </a:cxn>
                          <a:cxn ang="0">
                            <a:pos x="16" y="18"/>
                          </a:cxn>
                          <a:cxn ang="0">
                            <a:pos x="22" y="8"/>
                          </a:cxn>
                          <a:cxn ang="0">
                            <a:pos x="24" y="8"/>
                          </a:cxn>
                          <a:cxn ang="0">
                            <a:pos x="26" y="10"/>
                          </a:cxn>
                          <a:cxn ang="0">
                            <a:pos x="26" y="14"/>
                          </a:cxn>
                          <a:cxn ang="0">
                            <a:pos x="30" y="16"/>
                          </a:cxn>
                          <a:cxn ang="0">
                            <a:pos x="28" y="16"/>
                          </a:cxn>
                          <a:cxn ang="0">
                            <a:pos x="28" y="20"/>
                          </a:cxn>
                          <a:cxn ang="0">
                            <a:pos x="26" y="20"/>
                          </a:cxn>
                          <a:cxn ang="0">
                            <a:pos x="30" y="20"/>
                          </a:cxn>
                          <a:cxn ang="0">
                            <a:pos x="34" y="16"/>
                          </a:cxn>
                          <a:cxn ang="0">
                            <a:pos x="36" y="14"/>
                          </a:cxn>
                          <a:cxn ang="0">
                            <a:pos x="36" y="10"/>
                          </a:cxn>
                          <a:cxn ang="0">
                            <a:pos x="34" y="4"/>
                          </a:cxn>
                          <a:cxn ang="0">
                            <a:pos x="38" y="2"/>
                          </a:cxn>
                          <a:cxn ang="0">
                            <a:pos x="44" y="2"/>
                          </a:cxn>
                          <a:cxn ang="0">
                            <a:pos x="52" y="0"/>
                          </a:cxn>
                          <a:cxn ang="0">
                            <a:pos x="52" y="2"/>
                          </a:cxn>
                          <a:cxn ang="0">
                            <a:pos x="52" y="6"/>
                          </a:cxn>
                          <a:cxn ang="0">
                            <a:pos x="52" y="10"/>
                          </a:cxn>
                          <a:cxn ang="0">
                            <a:pos x="50" y="18"/>
                          </a:cxn>
                          <a:cxn ang="0">
                            <a:pos x="54" y="20"/>
                          </a:cxn>
                          <a:cxn ang="0">
                            <a:pos x="50" y="26"/>
                          </a:cxn>
                          <a:cxn ang="0">
                            <a:pos x="40" y="28"/>
                          </a:cxn>
                          <a:cxn ang="0">
                            <a:pos x="38" y="32"/>
                          </a:cxn>
                          <a:cxn ang="0">
                            <a:pos x="36" y="40"/>
                          </a:cxn>
                          <a:cxn ang="0">
                            <a:pos x="38" y="44"/>
                          </a:cxn>
                          <a:cxn ang="0">
                            <a:pos x="36" y="48"/>
                          </a:cxn>
                        </a:cxnLst>
                        <a:rect l="0" t="0" r="r" b="b"/>
                        <a:pathLst>
                          <a:path w="54" h="48">
                            <a:moveTo>
                              <a:pt x="36" y="48"/>
                            </a:moveTo>
                            <a:lnTo>
                              <a:pt x="36" y="48"/>
                            </a:lnTo>
                            <a:lnTo>
                              <a:pt x="32" y="48"/>
                            </a:lnTo>
                            <a:lnTo>
                              <a:pt x="32" y="44"/>
                            </a:lnTo>
                            <a:lnTo>
                              <a:pt x="32" y="44"/>
                            </a:lnTo>
                            <a:lnTo>
                              <a:pt x="32" y="42"/>
                            </a:lnTo>
                            <a:lnTo>
                              <a:pt x="30" y="42"/>
                            </a:lnTo>
                            <a:lnTo>
                              <a:pt x="28" y="42"/>
                            </a:lnTo>
                            <a:lnTo>
                              <a:pt x="28" y="40"/>
                            </a:lnTo>
                            <a:lnTo>
                              <a:pt x="28" y="40"/>
                            </a:lnTo>
                            <a:lnTo>
                              <a:pt x="28" y="38"/>
                            </a:lnTo>
                            <a:lnTo>
                              <a:pt x="26" y="38"/>
                            </a:lnTo>
                            <a:lnTo>
                              <a:pt x="22" y="38"/>
                            </a:lnTo>
                            <a:lnTo>
                              <a:pt x="22" y="38"/>
                            </a:lnTo>
                            <a:lnTo>
                              <a:pt x="20" y="38"/>
                            </a:lnTo>
                            <a:lnTo>
                              <a:pt x="18" y="38"/>
                            </a:lnTo>
                            <a:lnTo>
                              <a:pt x="12" y="40"/>
                            </a:lnTo>
                            <a:lnTo>
                              <a:pt x="12" y="40"/>
                            </a:lnTo>
                            <a:lnTo>
                              <a:pt x="6" y="40"/>
                            </a:lnTo>
                            <a:lnTo>
                              <a:pt x="0" y="34"/>
                            </a:lnTo>
                            <a:lnTo>
                              <a:pt x="0" y="34"/>
                            </a:lnTo>
                            <a:lnTo>
                              <a:pt x="4" y="36"/>
                            </a:lnTo>
                            <a:lnTo>
                              <a:pt x="6" y="36"/>
                            </a:lnTo>
                            <a:lnTo>
                              <a:pt x="6" y="36"/>
                            </a:lnTo>
                            <a:lnTo>
                              <a:pt x="8" y="38"/>
                            </a:lnTo>
                            <a:lnTo>
                              <a:pt x="8" y="36"/>
                            </a:lnTo>
                            <a:lnTo>
                              <a:pt x="10" y="36"/>
                            </a:lnTo>
                            <a:lnTo>
                              <a:pt x="12" y="36"/>
                            </a:lnTo>
                            <a:lnTo>
                              <a:pt x="12" y="36"/>
                            </a:lnTo>
                            <a:lnTo>
                              <a:pt x="14" y="36"/>
                            </a:lnTo>
                            <a:lnTo>
                              <a:pt x="16" y="38"/>
                            </a:lnTo>
                            <a:lnTo>
                              <a:pt x="16" y="38"/>
                            </a:lnTo>
                            <a:lnTo>
                              <a:pt x="16" y="34"/>
                            </a:lnTo>
                            <a:lnTo>
                              <a:pt x="16" y="34"/>
                            </a:lnTo>
                            <a:lnTo>
                              <a:pt x="14" y="34"/>
                            </a:lnTo>
                            <a:lnTo>
                              <a:pt x="14" y="34"/>
                            </a:lnTo>
                            <a:lnTo>
                              <a:pt x="12" y="32"/>
                            </a:lnTo>
                            <a:lnTo>
                              <a:pt x="10" y="32"/>
                            </a:lnTo>
                            <a:lnTo>
                              <a:pt x="10" y="32"/>
                            </a:lnTo>
                            <a:lnTo>
                              <a:pt x="10" y="32"/>
                            </a:lnTo>
                            <a:lnTo>
                              <a:pt x="14" y="32"/>
                            </a:lnTo>
                            <a:lnTo>
                              <a:pt x="16" y="30"/>
                            </a:lnTo>
                            <a:lnTo>
                              <a:pt x="16" y="30"/>
                            </a:lnTo>
                            <a:lnTo>
                              <a:pt x="16" y="30"/>
                            </a:lnTo>
                            <a:lnTo>
                              <a:pt x="12" y="30"/>
                            </a:lnTo>
                            <a:lnTo>
                              <a:pt x="10" y="28"/>
                            </a:lnTo>
                            <a:lnTo>
                              <a:pt x="10" y="26"/>
                            </a:lnTo>
                            <a:lnTo>
                              <a:pt x="10" y="26"/>
                            </a:lnTo>
                            <a:lnTo>
                              <a:pt x="14" y="22"/>
                            </a:lnTo>
                            <a:lnTo>
                              <a:pt x="16" y="18"/>
                            </a:lnTo>
                            <a:lnTo>
                              <a:pt x="16" y="18"/>
                            </a:lnTo>
                            <a:lnTo>
                              <a:pt x="20" y="12"/>
                            </a:lnTo>
                            <a:lnTo>
                              <a:pt x="22" y="8"/>
                            </a:lnTo>
                            <a:lnTo>
                              <a:pt x="22" y="8"/>
                            </a:lnTo>
                            <a:lnTo>
                              <a:pt x="24" y="6"/>
                            </a:lnTo>
                            <a:lnTo>
                              <a:pt x="24" y="8"/>
                            </a:lnTo>
                            <a:lnTo>
                              <a:pt x="24" y="8"/>
                            </a:lnTo>
                            <a:lnTo>
                              <a:pt x="24" y="10"/>
                            </a:lnTo>
                            <a:lnTo>
                              <a:pt x="26" y="10"/>
                            </a:lnTo>
                            <a:lnTo>
                              <a:pt x="26" y="10"/>
                            </a:lnTo>
                            <a:lnTo>
                              <a:pt x="28" y="10"/>
                            </a:lnTo>
                            <a:lnTo>
                              <a:pt x="28" y="10"/>
                            </a:lnTo>
                            <a:lnTo>
                              <a:pt x="26" y="14"/>
                            </a:lnTo>
                            <a:lnTo>
                              <a:pt x="28" y="14"/>
                            </a:lnTo>
                            <a:lnTo>
                              <a:pt x="28" y="14"/>
                            </a:lnTo>
                            <a:lnTo>
                              <a:pt x="30" y="16"/>
                            </a:lnTo>
                            <a:lnTo>
                              <a:pt x="28" y="16"/>
                            </a:lnTo>
                            <a:lnTo>
                              <a:pt x="28" y="16"/>
                            </a:lnTo>
                            <a:lnTo>
                              <a:pt x="28" y="16"/>
                            </a:lnTo>
                            <a:lnTo>
                              <a:pt x="28" y="18"/>
                            </a:lnTo>
                            <a:lnTo>
                              <a:pt x="28" y="18"/>
                            </a:lnTo>
                            <a:lnTo>
                              <a:pt x="28" y="20"/>
                            </a:lnTo>
                            <a:lnTo>
                              <a:pt x="26" y="20"/>
                            </a:lnTo>
                            <a:lnTo>
                              <a:pt x="26" y="20"/>
                            </a:lnTo>
                            <a:lnTo>
                              <a:pt x="26" y="20"/>
                            </a:lnTo>
                            <a:lnTo>
                              <a:pt x="28" y="20"/>
                            </a:lnTo>
                            <a:lnTo>
                              <a:pt x="30" y="20"/>
                            </a:lnTo>
                            <a:lnTo>
                              <a:pt x="30" y="20"/>
                            </a:lnTo>
                            <a:lnTo>
                              <a:pt x="32" y="18"/>
                            </a:lnTo>
                            <a:lnTo>
                              <a:pt x="34" y="16"/>
                            </a:lnTo>
                            <a:lnTo>
                              <a:pt x="34" y="16"/>
                            </a:lnTo>
                            <a:lnTo>
                              <a:pt x="36" y="16"/>
                            </a:lnTo>
                            <a:lnTo>
                              <a:pt x="36" y="14"/>
                            </a:lnTo>
                            <a:lnTo>
                              <a:pt x="36" y="14"/>
                            </a:lnTo>
                            <a:lnTo>
                              <a:pt x="36" y="10"/>
                            </a:lnTo>
                            <a:lnTo>
                              <a:pt x="38" y="10"/>
                            </a:lnTo>
                            <a:lnTo>
                              <a:pt x="36" y="10"/>
                            </a:lnTo>
                            <a:lnTo>
                              <a:pt x="36" y="10"/>
                            </a:lnTo>
                            <a:lnTo>
                              <a:pt x="34" y="8"/>
                            </a:lnTo>
                            <a:lnTo>
                              <a:pt x="34" y="4"/>
                            </a:lnTo>
                            <a:lnTo>
                              <a:pt x="34" y="4"/>
                            </a:lnTo>
                            <a:lnTo>
                              <a:pt x="34" y="2"/>
                            </a:lnTo>
                            <a:lnTo>
                              <a:pt x="38" y="2"/>
                            </a:lnTo>
                            <a:lnTo>
                              <a:pt x="38" y="2"/>
                            </a:lnTo>
                            <a:lnTo>
                              <a:pt x="42" y="2"/>
                            </a:lnTo>
                            <a:lnTo>
                              <a:pt x="44" y="2"/>
                            </a:lnTo>
                            <a:lnTo>
                              <a:pt x="44" y="2"/>
                            </a:lnTo>
                            <a:lnTo>
                              <a:pt x="48" y="0"/>
                            </a:lnTo>
                            <a:lnTo>
                              <a:pt x="52" y="0"/>
                            </a:lnTo>
                            <a:lnTo>
                              <a:pt x="54" y="0"/>
                            </a:lnTo>
                            <a:lnTo>
                              <a:pt x="54" y="0"/>
                            </a:lnTo>
                            <a:lnTo>
                              <a:pt x="52" y="2"/>
                            </a:lnTo>
                            <a:lnTo>
                              <a:pt x="54" y="4"/>
                            </a:lnTo>
                            <a:lnTo>
                              <a:pt x="54" y="4"/>
                            </a:lnTo>
                            <a:lnTo>
                              <a:pt x="52" y="6"/>
                            </a:lnTo>
                            <a:lnTo>
                              <a:pt x="54" y="6"/>
                            </a:lnTo>
                            <a:lnTo>
                              <a:pt x="54" y="8"/>
                            </a:lnTo>
                            <a:lnTo>
                              <a:pt x="52" y="10"/>
                            </a:lnTo>
                            <a:lnTo>
                              <a:pt x="52" y="10"/>
                            </a:lnTo>
                            <a:lnTo>
                              <a:pt x="50" y="16"/>
                            </a:lnTo>
                            <a:lnTo>
                              <a:pt x="50" y="18"/>
                            </a:lnTo>
                            <a:lnTo>
                              <a:pt x="52" y="20"/>
                            </a:lnTo>
                            <a:lnTo>
                              <a:pt x="52" y="20"/>
                            </a:lnTo>
                            <a:lnTo>
                              <a:pt x="54" y="20"/>
                            </a:lnTo>
                            <a:lnTo>
                              <a:pt x="54" y="22"/>
                            </a:lnTo>
                            <a:lnTo>
                              <a:pt x="50" y="26"/>
                            </a:lnTo>
                            <a:lnTo>
                              <a:pt x="50" y="26"/>
                            </a:lnTo>
                            <a:lnTo>
                              <a:pt x="46" y="28"/>
                            </a:lnTo>
                            <a:lnTo>
                              <a:pt x="40" y="28"/>
                            </a:lnTo>
                            <a:lnTo>
                              <a:pt x="40" y="28"/>
                            </a:lnTo>
                            <a:lnTo>
                              <a:pt x="38" y="30"/>
                            </a:lnTo>
                            <a:lnTo>
                              <a:pt x="38" y="32"/>
                            </a:lnTo>
                            <a:lnTo>
                              <a:pt x="38" y="32"/>
                            </a:lnTo>
                            <a:lnTo>
                              <a:pt x="38" y="34"/>
                            </a:lnTo>
                            <a:lnTo>
                              <a:pt x="38" y="38"/>
                            </a:lnTo>
                            <a:lnTo>
                              <a:pt x="36" y="40"/>
                            </a:lnTo>
                            <a:lnTo>
                              <a:pt x="36" y="42"/>
                            </a:lnTo>
                            <a:lnTo>
                              <a:pt x="36" y="42"/>
                            </a:lnTo>
                            <a:lnTo>
                              <a:pt x="38" y="44"/>
                            </a:lnTo>
                            <a:lnTo>
                              <a:pt x="36" y="44"/>
                            </a:lnTo>
                            <a:lnTo>
                              <a:pt x="36" y="46"/>
                            </a:lnTo>
                            <a:lnTo>
                              <a:pt x="36" y="48"/>
                            </a:lnTo>
                            <a:lnTo>
                              <a:pt x="36" y="48"/>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0" name="Switzerland"/>
                      <p:cNvSpPr>
                        <a:spLocks/>
                      </p:cNvSpPr>
                      <p:nvPr/>
                    </p:nvSpPr>
                    <p:spPr bwMode="auto">
                      <a:xfrm>
                        <a:off x="5948497" y="1949367"/>
                        <a:ext cx="121505" cy="54627"/>
                      </a:xfrm>
                      <a:custGeom>
                        <a:avLst/>
                        <a:gdLst/>
                        <a:ahLst/>
                        <a:cxnLst>
                          <a:cxn ang="0">
                            <a:pos x="20" y="36"/>
                          </a:cxn>
                          <a:cxn ang="0">
                            <a:pos x="18" y="32"/>
                          </a:cxn>
                          <a:cxn ang="0">
                            <a:pos x="16" y="28"/>
                          </a:cxn>
                          <a:cxn ang="0">
                            <a:pos x="14" y="26"/>
                          </a:cxn>
                          <a:cxn ang="0">
                            <a:pos x="10" y="26"/>
                          </a:cxn>
                          <a:cxn ang="0">
                            <a:pos x="6" y="28"/>
                          </a:cxn>
                          <a:cxn ang="0">
                            <a:pos x="2" y="32"/>
                          </a:cxn>
                          <a:cxn ang="0">
                            <a:pos x="0" y="30"/>
                          </a:cxn>
                          <a:cxn ang="0">
                            <a:pos x="4" y="14"/>
                          </a:cxn>
                          <a:cxn ang="0">
                            <a:pos x="6" y="12"/>
                          </a:cxn>
                          <a:cxn ang="0">
                            <a:pos x="14" y="8"/>
                          </a:cxn>
                          <a:cxn ang="0">
                            <a:pos x="16" y="6"/>
                          </a:cxn>
                          <a:cxn ang="0">
                            <a:pos x="16" y="4"/>
                          </a:cxn>
                          <a:cxn ang="0">
                            <a:pos x="14" y="4"/>
                          </a:cxn>
                          <a:cxn ang="0">
                            <a:pos x="18" y="2"/>
                          </a:cxn>
                          <a:cxn ang="0">
                            <a:pos x="22" y="2"/>
                          </a:cxn>
                          <a:cxn ang="0">
                            <a:pos x="26" y="0"/>
                          </a:cxn>
                          <a:cxn ang="0">
                            <a:pos x="28" y="0"/>
                          </a:cxn>
                          <a:cxn ang="0">
                            <a:pos x="38" y="2"/>
                          </a:cxn>
                          <a:cxn ang="0">
                            <a:pos x="44" y="2"/>
                          </a:cxn>
                          <a:cxn ang="0">
                            <a:pos x="44" y="0"/>
                          </a:cxn>
                          <a:cxn ang="0">
                            <a:pos x="44" y="0"/>
                          </a:cxn>
                          <a:cxn ang="0">
                            <a:pos x="62" y="4"/>
                          </a:cxn>
                          <a:cxn ang="0">
                            <a:pos x="66" y="6"/>
                          </a:cxn>
                          <a:cxn ang="0">
                            <a:pos x="64" y="10"/>
                          </a:cxn>
                          <a:cxn ang="0">
                            <a:pos x="66" y="12"/>
                          </a:cxn>
                          <a:cxn ang="0">
                            <a:pos x="70" y="14"/>
                          </a:cxn>
                          <a:cxn ang="0">
                            <a:pos x="74" y="16"/>
                          </a:cxn>
                          <a:cxn ang="0">
                            <a:pos x="78" y="14"/>
                          </a:cxn>
                          <a:cxn ang="0">
                            <a:pos x="80" y="20"/>
                          </a:cxn>
                          <a:cxn ang="0">
                            <a:pos x="80" y="22"/>
                          </a:cxn>
                          <a:cxn ang="0">
                            <a:pos x="76" y="22"/>
                          </a:cxn>
                          <a:cxn ang="0">
                            <a:pos x="74" y="22"/>
                          </a:cxn>
                          <a:cxn ang="0">
                            <a:pos x="76" y="26"/>
                          </a:cxn>
                          <a:cxn ang="0">
                            <a:pos x="76" y="28"/>
                          </a:cxn>
                          <a:cxn ang="0">
                            <a:pos x="74" y="28"/>
                          </a:cxn>
                          <a:cxn ang="0">
                            <a:pos x="70" y="26"/>
                          </a:cxn>
                          <a:cxn ang="0">
                            <a:pos x="68" y="26"/>
                          </a:cxn>
                          <a:cxn ang="0">
                            <a:pos x="66" y="24"/>
                          </a:cxn>
                          <a:cxn ang="0">
                            <a:pos x="64" y="26"/>
                          </a:cxn>
                          <a:cxn ang="0">
                            <a:pos x="60" y="30"/>
                          </a:cxn>
                          <a:cxn ang="0">
                            <a:pos x="58" y="34"/>
                          </a:cxn>
                          <a:cxn ang="0">
                            <a:pos x="56" y="34"/>
                          </a:cxn>
                          <a:cxn ang="0">
                            <a:pos x="50" y="32"/>
                          </a:cxn>
                          <a:cxn ang="0">
                            <a:pos x="48" y="28"/>
                          </a:cxn>
                          <a:cxn ang="0">
                            <a:pos x="48" y="26"/>
                          </a:cxn>
                          <a:cxn ang="0">
                            <a:pos x="44" y="26"/>
                          </a:cxn>
                          <a:cxn ang="0">
                            <a:pos x="36" y="34"/>
                          </a:cxn>
                          <a:cxn ang="0">
                            <a:pos x="34" y="36"/>
                          </a:cxn>
                          <a:cxn ang="0">
                            <a:pos x="30" y="34"/>
                          </a:cxn>
                          <a:cxn ang="0">
                            <a:pos x="20" y="36"/>
                          </a:cxn>
                        </a:cxnLst>
                        <a:rect l="0" t="0" r="r" b="b"/>
                        <a:pathLst>
                          <a:path w="80" h="36">
                            <a:moveTo>
                              <a:pt x="20" y="36"/>
                            </a:moveTo>
                            <a:lnTo>
                              <a:pt x="20" y="36"/>
                            </a:lnTo>
                            <a:lnTo>
                              <a:pt x="18" y="34"/>
                            </a:lnTo>
                            <a:lnTo>
                              <a:pt x="18" y="32"/>
                            </a:lnTo>
                            <a:lnTo>
                              <a:pt x="18" y="32"/>
                            </a:lnTo>
                            <a:lnTo>
                              <a:pt x="16" y="28"/>
                            </a:lnTo>
                            <a:lnTo>
                              <a:pt x="14" y="26"/>
                            </a:lnTo>
                            <a:lnTo>
                              <a:pt x="14" y="26"/>
                            </a:lnTo>
                            <a:lnTo>
                              <a:pt x="12" y="26"/>
                            </a:lnTo>
                            <a:lnTo>
                              <a:pt x="10" y="26"/>
                            </a:lnTo>
                            <a:lnTo>
                              <a:pt x="6" y="28"/>
                            </a:lnTo>
                            <a:lnTo>
                              <a:pt x="6" y="28"/>
                            </a:lnTo>
                            <a:lnTo>
                              <a:pt x="2" y="30"/>
                            </a:lnTo>
                            <a:lnTo>
                              <a:pt x="2" y="32"/>
                            </a:lnTo>
                            <a:lnTo>
                              <a:pt x="0" y="30"/>
                            </a:lnTo>
                            <a:lnTo>
                              <a:pt x="0" y="30"/>
                            </a:lnTo>
                            <a:lnTo>
                              <a:pt x="2" y="22"/>
                            </a:lnTo>
                            <a:lnTo>
                              <a:pt x="4" y="14"/>
                            </a:lnTo>
                            <a:lnTo>
                              <a:pt x="4" y="14"/>
                            </a:lnTo>
                            <a:lnTo>
                              <a:pt x="6" y="12"/>
                            </a:lnTo>
                            <a:lnTo>
                              <a:pt x="8" y="12"/>
                            </a:lnTo>
                            <a:lnTo>
                              <a:pt x="14" y="8"/>
                            </a:lnTo>
                            <a:lnTo>
                              <a:pt x="14" y="8"/>
                            </a:lnTo>
                            <a:lnTo>
                              <a:pt x="16" y="6"/>
                            </a:lnTo>
                            <a:lnTo>
                              <a:pt x="16" y="6"/>
                            </a:lnTo>
                            <a:lnTo>
                              <a:pt x="16" y="4"/>
                            </a:lnTo>
                            <a:lnTo>
                              <a:pt x="16" y="4"/>
                            </a:lnTo>
                            <a:lnTo>
                              <a:pt x="14" y="4"/>
                            </a:lnTo>
                            <a:lnTo>
                              <a:pt x="16" y="2"/>
                            </a:lnTo>
                            <a:lnTo>
                              <a:pt x="18" y="2"/>
                            </a:lnTo>
                            <a:lnTo>
                              <a:pt x="22" y="2"/>
                            </a:lnTo>
                            <a:lnTo>
                              <a:pt x="22" y="2"/>
                            </a:lnTo>
                            <a:lnTo>
                              <a:pt x="24" y="2"/>
                            </a:lnTo>
                            <a:lnTo>
                              <a:pt x="26" y="0"/>
                            </a:lnTo>
                            <a:lnTo>
                              <a:pt x="26" y="0"/>
                            </a:lnTo>
                            <a:lnTo>
                              <a:pt x="28" y="0"/>
                            </a:lnTo>
                            <a:lnTo>
                              <a:pt x="28" y="0"/>
                            </a:lnTo>
                            <a:lnTo>
                              <a:pt x="38" y="2"/>
                            </a:lnTo>
                            <a:lnTo>
                              <a:pt x="42" y="2"/>
                            </a:lnTo>
                            <a:lnTo>
                              <a:pt x="44" y="2"/>
                            </a:lnTo>
                            <a:lnTo>
                              <a:pt x="44" y="0"/>
                            </a:lnTo>
                            <a:lnTo>
                              <a:pt x="44" y="0"/>
                            </a:lnTo>
                            <a:lnTo>
                              <a:pt x="44" y="0"/>
                            </a:lnTo>
                            <a:lnTo>
                              <a:pt x="44" y="0"/>
                            </a:lnTo>
                            <a:lnTo>
                              <a:pt x="48" y="0"/>
                            </a:lnTo>
                            <a:lnTo>
                              <a:pt x="62" y="4"/>
                            </a:lnTo>
                            <a:lnTo>
                              <a:pt x="62" y="4"/>
                            </a:lnTo>
                            <a:lnTo>
                              <a:pt x="66" y="6"/>
                            </a:lnTo>
                            <a:lnTo>
                              <a:pt x="64" y="8"/>
                            </a:lnTo>
                            <a:lnTo>
                              <a:pt x="64" y="10"/>
                            </a:lnTo>
                            <a:lnTo>
                              <a:pt x="66" y="12"/>
                            </a:lnTo>
                            <a:lnTo>
                              <a:pt x="66" y="12"/>
                            </a:lnTo>
                            <a:lnTo>
                              <a:pt x="70" y="12"/>
                            </a:lnTo>
                            <a:lnTo>
                              <a:pt x="70" y="14"/>
                            </a:lnTo>
                            <a:lnTo>
                              <a:pt x="72" y="16"/>
                            </a:lnTo>
                            <a:lnTo>
                              <a:pt x="74" y="16"/>
                            </a:lnTo>
                            <a:lnTo>
                              <a:pt x="74" y="16"/>
                            </a:lnTo>
                            <a:lnTo>
                              <a:pt x="78" y="14"/>
                            </a:lnTo>
                            <a:lnTo>
                              <a:pt x="78" y="16"/>
                            </a:lnTo>
                            <a:lnTo>
                              <a:pt x="80" y="20"/>
                            </a:lnTo>
                            <a:lnTo>
                              <a:pt x="80" y="20"/>
                            </a:lnTo>
                            <a:lnTo>
                              <a:pt x="80" y="22"/>
                            </a:lnTo>
                            <a:lnTo>
                              <a:pt x="76" y="22"/>
                            </a:lnTo>
                            <a:lnTo>
                              <a:pt x="76" y="22"/>
                            </a:lnTo>
                            <a:lnTo>
                              <a:pt x="74" y="22"/>
                            </a:lnTo>
                            <a:lnTo>
                              <a:pt x="74" y="22"/>
                            </a:lnTo>
                            <a:lnTo>
                              <a:pt x="76" y="26"/>
                            </a:lnTo>
                            <a:lnTo>
                              <a:pt x="76" y="26"/>
                            </a:lnTo>
                            <a:lnTo>
                              <a:pt x="76" y="28"/>
                            </a:lnTo>
                            <a:lnTo>
                              <a:pt x="76" y="28"/>
                            </a:lnTo>
                            <a:lnTo>
                              <a:pt x="74" y="28"/>
                            </a:lnTo>
                            <a:lnTo>
                              <a:pt x="74" y="28"/>
                            </a:lnTo>
                            <a:lnTo>
                              <a:pt x="72" y="26"/>
                            </a:lnTo>
                            <a:lnTo>
                              <a:pt x="70" y="26"/>
                            </a:lnTo>
                            <a:lnTo>
                              <a:pt x="70" y="26"/>
                            </a:lnTo>
                            <a:lnTo>
                              <a:pt x="68" y="26"/>
                            </a:lnTo>
                            <a:lnTo>
                              <a:pt x="66" y="24"/>
                            </a:lnTo>
                            <a:lnTo>
                              <a:pt x="66" y="24"/>
                            </a:lnTo>
                            <a:lnTo>
                              <a:pt x="64" y="24"/>
                            </a:lnTo>
                            <a:lnTo>
                              <a:pt x="64" y="26"/>
                            </a:lnTo>
                            <a:lnTo>
                              <a:pt x="62" y="28"/>
                            </a:lnTo>
                            <a:lnTo>
                              <a:pt x="60" y="30"/>
                            </a:lnTo>
                            <a:lnTo>
                              <a:pt x="60" y="30"/>
                            </a:lnTo>
                            <a:lnTo>
                              <a:pt x="58" y="34"/>
                            </a:lnTo>
                            <a:lnTo>
                              <a:pt x="58" y="34"/>
                            </a:lnTo>
                            <a:lnTo>
                              <a:pt x="56" y="34"/>
                            </a:lnTo>
                            <a:lnTo>
                              <a:pt x="56" y="34"/>
                            </a:lnTo>
                            <a:lnTo>
                              <a:pt x="50" y="32"/>
                            </a:lnTo>
                            <a:lnTo>
                              <a:pt x="48" y="30"/>
                            </a:lnTo>
                            <a:lnTo>
                              <a:pt x="48" y="28"/>
                            </a:lnTo>
                            <a:lnTo>
                              <a:pt x="48" y="28"/>
                            </a:lnTo>
                            <a:lnTo>
                              <a:pt x="48" y="26"/>
                            </a:lnTo>
                            <a:lnTo>
                              <a:pt x="44" y="26"/>
                            </a:lnTo>
                            <a:lnTo>
                              <a:pt x="44" y="26"/>
                            </a:lnTo>
                            <a:lnTo>
                              <a:pt x="40" y="30"/>
                            </a:lnTo>
                            <a:lnTo>
                              <a:pt x="36" y="34"/>
                            </a:lnTo>
                            <a:lnTo>
                              <a:pt x="36" y="34"/>
                            </a:lnTo>
                            <a:lnTo>
                              <a:pt x="34" y="36"/>
                            </a:lnTo>
                            <a:lnTo>
                              <a:pt x="30" y="34"/>
                            </a:lnTo>
                            <a:lnTo>
                              <a:pt x="30" y="34"/>
                            </a:lnTo>
                            <a:lnTo>
                              <a:pt x="24" y="34"/>
                            </a:lnTo>
                            <a:lnTo>
                              <a:pt x="20" y="36"/>
                            </a:lnTo>
                            <a:lnTo>
                              <a:pt x="20" y="36"/>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66"/>
                      <p:cNvSpPr>
                        <a:spLocks/>
                      </p:cNvSpPr>
                      <p:nvPr/>
                    </p:nvSpPr>
                    <p:spPr bwMode="auto">
                      <a:xfrm>
                        <a:off x="9538989" y="1733894"/>
                        <a:ext cx="267312" cy="270100"/>
                      </a:xfrm>
                      <a:custGeom>
                        <a:avLst/>
                        <a:gdLst/>
                        <a:ahLst/>
                        <a:cxnLst>
                          <a:cxn ang="0">
                            <a:pos x="16" y="14"/>
                          </a:cxn>
                          <a:cxn ang="0">
                            <a:pos x="0" y="2"/>
                          </a:cxn>
                          <a:cxn ang="0">
                            <a:pos x="10" y="0"/>
                          </a:cxn>
                          <a:cxn ang="0">
                            <a:pos x="20" y="4"/>
                          </a:cxn>
                          <a:cxn ang="0">
                            <a:pos x="26" y="12"/>
                          </a:cxn>
                          <a:cxn ang="0">
                            <a:pos x="40" y="18"/>
                          </a:cxn>
                          <a:cxn ang="0">
                            <a:pos x="40" y="20"/>
                          </a:cxn>
                          <a:cxn ang="0">
                            <a:pos x="42" y="24"/>
                          </a:cxn>
                          <a:cxn ang="0">
                            <a:pos x="52" y="34"/>
                          </a:cxn>
                          <a:cxn ang="0">
                            <a:pos x="66" y="46"/>
                          </a:cxn>
                          <a:cxn ang="0">
                            <a:pos x="88" y="62"/>
                          </a:cxn>
                          <a:cxn ang="0">
                            <a:pos x="98" y="68"/>
                          </a:cxn>
                          <a:cxn ang="0">
                            <a:pos x="114" y="82"/>
                          </a:cxn>
                          <a:cxn ang="0">
                            <a:pos x="138" y="100"/>
                          </a:cxn>
                          <a:cxn ang="0">
                            <a:pos x="142" y="104"/>
                          </a:cxn>
                          <a:cxn ang="0">
                            <a:pos x="128" y="98"/>
                          </a:cxn>
                          <a:cxn ang="0">
                            <a:pos x="118" y="100"/>
                          </a:cxn>
                          <a:cxn ang="0">
                            <a:pos x="120" y="106"/>
                          </a:cxn>
                          <a:cxn ang="0">
                            <a:pos x="128" y="124"/>
                          </a:cxn>
                          <a:cxn ang="0">
                            <a:pos x="142" y="134"/>
                          </a:cxn>
                          <a:cxn ang="0">
                            <a:pos x="152" y="140"/>
                          </a:cxn>
                          <a:cxn ang="0">
                            <a:pos x="160" y="144"/>
                          </a:cxn>
                          <a:cxn ang="0">
                            <a:pos x="170" y="150"/>
                          </a:cxn>
                          <a:cxn ang="0">
                            <a:pos x="176" y="164"/>
                          </a:cxn>
                          <a:cxn ang="0">
                            <a:pos x="170" y="158"/>
                          </a:cxn>
                          <a:cxn ang="0">
                            <a:pos x="162" y="156"/>
                          </a:cxn>
                          <a:cxn ang="0">
                            <a:pos x="150" y="154"/>
                          </a:cxn>
                          <a:cxn ang="0">
                            <a:pos x="156" y="178"/>
                          </a:cxn>
                          <a:cxn ang="0">
                            <a:pos x="150" y="174"/>
                          </a:cxn>
                          <a:cxn ang="0">
                            <a:pos x="138" y="162"/>
                          </a:cxn>
                          <a:cxn ang="0">
                            <a:pos x="140" y="154"/>
                          </a:cxn>
                          <a:cxn ang="0">
                            <a:pos x="136" y="146"/>
                          </a:cxn>
                          <a:cxn ang="0">
                            <a:pos x="126" y="134"/>
                          </a:cxn>
                          <a:cxn ang="0">
                            <a:pos x="116" y="120"/>
                          </a:cxn>
                          <a:cxn ang="0">
                            <a:pos x="104" y="112"/>
                          </a:cxn>
                          <a:cxn ang="0">
                            <a:pos x="96" y="96"/>
                          </a:cxn>
                          <a:cxn ang="0">
                            <a:pos x="68" y="68"/>
                          </a:cxn>
                          <a:cxn ang="0">
                            <a:pos x="54" y="58"/>
                          </a:cxn>
                          <a:cxn ang="0">
                            <a:pos x="44" y="46"/>
                          </a:cxn>
                          <a:cxn ang="0">
                            <a:pos x="24" y="38"/>
                          </a:cxn>
                          <a:cxn ang="0">
                            <a:pos x="14" y="26"/>
                          </a:cxn>
                          <a:cxn ang="0">
                            <a:pos x="10" y="18"/>
                          </a:cxn>
                          <a:cxn ang="0">
                            <a:pos x="16" y="18"/>
                          </a:cxn>
                          <a:cxn ang="0">
                            <a:pos x="18" y="18"/>
                          </a:cxn>
                        </a:cxnLst>
                        <a:rect l="0" t="0" r="r" b="b"/>
                        <a:pathLst>
                          <a:path w="176" h="178">
                            <a:moveTo>
                              <a:pt x="18" y="18"/>
                            </a:moveTo>
                            <a:lnTo>
                              <a:pt x="18" y="18"/>
                            </a:lnTo>
                            <a:lnTo>
                              <a:pt x="16" y="14"/>
                            </a:lnTo>
                            <a:lnTo>
                              <a:pt x="14" y="12"/>
                            </a:lnTo>
                            <a:lnTo>
                              <a:pt x="6" y="6"/>
                            </a:lnTo>
                            <a:lnTo>
                              <a:pt x="0" y="2"/>
                            </a:lnTo>
                            <a:lnTo>
                              <a:pt x="0" y="0"/>
                            </a:lnTo>
                            <a:lnTo>
                              <a:pt x="0" y="0"/>
                            </a:lnTo>
                            <a:lnTo>
                              <a:pt x="10" y="0"/>
                            </a:lnTo>
                            <a:lnTo>
                              <a:pt x="14" y="0"/>
                            </a:lnTo>
                            <a:lnTo>
                              <a:pt x="20" y="4"/>
                            </a:lnTo>
                            <a:lnTo>
                              <a:pt x="20" y="4"/>
                            </a:lnTo>
                            <a:lnTo>
                              <a:pt x="22" y="10"/>
                            </a:lnTo>
                            <a:lnTo>
                              <a:pt x="24" y="12"/>
                            </a:lnTo>
                            <a:lnTo>
                              <a:pt x="26" y="12"/>
                            </a:lnTo>
                            <a:lnTo>
                              <a:pt x="26" y="12"/>
                            </a:lnTo>
                            <a:lnTo>
                              <a:pt x="32" y="14"/>
                            </a:lnTo>
                            <a:lnTo>
                              <a:pt x="40" y="18"/>
                            </a:lnTo>
                            <a:lnTo>
                              <a:pt x="40" y="18"/>
                            </a:lnTo>
                            <a:lnTo>
                              <a:pt x="42" y="20"/>
                            </a:lnTo>
                            <a:lnTo>
                              <a:pt x="40" y="20"/>
                            </a:lnTo>
                            <a:lnTo>
                              <a:pt x="38" y="22"/>
                            </a:lnTo>
                            <a:lnTo>
                              <a:pt x="42" y="24"/>
                            </a:lnTo>
                            <a:lnTo>
                              <a:pt x="42" y="24"/>
                            </a:lnTo>
                            <a:lnTo>
                              <a:pt x="50" y="28"/>
                            </a:lnTo>
                            <a:lnTo>
                              <a:pt x="52" y="34"/>
                            </a:lnTo>
                            <a:lnTo>
                              <a:pt x="52" y="34"/>
                            </a:lnTo>
                            <a:lnTo>
                              <a:pt x="56" y="38"/>
                            </a:lnTo>
                            <a:lnTo>
                              <a:pt x="66" y="46"/>
                            </a:lnTo>
                            <a:lnTo>
                              <a:pt x="66" y="46"/>
                            </a:lnTo>
                            <a:lnTo>
                              <a:pt x="80" y="54"/>
                            </a:lnTo>
                            <a:lnTo>
                              <a:pt x="84" y="58"/>
                            </a:lnTo>
                            <a:lnTo>
                              <a:pt x="88" y="62"/>
                            </a:lnTo>
                            <a:lnTo>
                              <a:pt x="88" y="62"/>
                            </a:lnTo>
                            <a:lnTo>
                              <a:pt x="92" y="66"/>
                            </a:lnTo>
                            <a:lnTo>
                              <a:pt x="98" y="68"/>
                            </a:lnTo>
                            <a:lnTo>
                              <a:pt x="104" y="74"/>
                            </a:lnTo>
                            <a:lnTo>
                              <a:pt x="114" y="82"/>
                            </a:lnTo>
                            <a:lnTo>
                              <a:pt x="114" y="82"/>
                            </a:lnTo>
                            <a:lnTo>
                              <a:pt x="122" y="90"/>
                            </a:lnTo>
                            <a:lnTo>
                              <a:pt x="132" y="96"/>
                            </a:lnTo>
                            <a:lnTo>
                              <a:pt x="138" y="100"/>
                            </a:lnTo>
                            <a:lnTo>
                              <a:pt x="142" y="102"/>
                            </a:lnTo>
                            <a:lnTo>
                              <a:pt x="142" y="102"/>
                            </a:lnTo>
                            <a:lnTo>
                              <a:pt x="142" y="104"/>
                            </a:lnTo>
                            <a:lnTo>
                              <a:pt x="142" y="104"/>
                            </a:lnTo>
                            <a:lnTo>
                              <a:pt x="138" y="102"/>
                            </a:lnTo>
                            <a:lnTo>
                              <a:pt x="128" y="98"/>
                            </a:lnTo>
                            <a:lnTo>
                              <a:pt x="128" y="98"/>
                            </a:lnTo>
                            <a:lnTo>
                              <a:pt x="118" y="98"/>
                            </a:lnTo>
                            <a:lnTo>
                              <a:pt x="118" y="100"/>
                            </a:lnTo>
                            <a:lnTo>
                              <a:pt x="116" y="100"/>
                            </a:lnTo>
                            <a:lnTo>
                              <a:pt x="120" y="106"/>
                            </a:lnTo>
                            <a:lnTo>
                              <a:pt x="120" y="106"/>
                            </a:lnTo>
                            <a:lnTo>
                              <a:pt x="124" y="110"/>
                            </a:lnTo>
                            <a:lnTo>
                              <a:pt x="126" y="116"/>
                            </a:lnTo>
                            <a:lnTo>
                              <a:pt x="128" y="124"/>
                            </a:lnTo>
                            <a:lnTo>
                              <a:pt x="138" y="132"/>
                            </a:lnTo>
                            <a:lnTo>
                              <a:pt x="138" y="132"/>
                            </a:lnTo>
                            <a:lnTo>
                              <a:pt x="142" y="134"/>
                            </a:lnTo>
                            <a:lnTo>
                              <a:pt x="144" y="136"/>
                            </a:lnTo>
                            <a:lnTo>
                              <a:pt x="148" y="138"/>
                            </a:lnTo>
                            <a:lnTo>
                              <a:pt x="152" y="140"/>
                            </a:lnTo>
                            <a:lnTo>
                              <a:pt x="152" y="140"/>
                            </a:lnTo>
                            <a:lnTo>
                              <a:pt x="156" y="144"/>
                            </a:lnTo>
                            <a:lnTo>
                              <a:pt x="160" y="144"/>
                            </a:lnTo>
                            <a:lnTo>
                              <a:pt x="164" y="146"/>
                            </a:lnTo>
                            <a:lnTo>
                              <a:pt x="170" y="150"/>
                            </a:lnTo>
                            <a:lnTo>
                              <a:pt x="170" y="150"/>
                            </a:lnTo>
                            <a:lnTo>
                              <a:pt x="174" y="156"/>
                            </a:lnTo>
                            <a:lnTo>
                              <a:pt x="176" y="162"/>
                            </a:lnTo>
                            <a:lnTo>
                              <a:pt x="176" y="164"/>
                            </a:lnTo>
                            <a:lnTo>
                              <a:pt x="174" y="164"/>
                            </a:lnTo>
                            <a:lnTo>
                              <a:pt x="174" y="164"/>
                            </a:lnTo>
                            <a:lnTo>
                              <a:pt x="170" y="158"/>
                            </a:lnTo>
                            <a:lnTo>
                              <a:pt x="166" y="156"/>
                            </a:lnTo>
                            <a:lnTo>
                              <a:pt x="162" y="156"/>
                            </a:lnTo>
                            <a:lnTo>
                              <a:pt x="162" y="156"/>
                            </a:lnTo>
                            <a:lnTo>
                              <a:pt x="156" y="156"/>
                            </a:lnTo>
                            <a:lnTo>
                              <a:pt x="152" y="154"/>
                            </a:lnTo>
                            <a:lnTo>
                              <a:pt x="150" y="154"/>
                            </a:lnTo>
                            <a:lnTo>
                              <a:pt x="152" y="156"/>
                            </a:lnTo>
                            <a:lnTo>
                              <a:pt x="152" y="156"/>
                            </a:lnTo>
                            <a:lnTo>
                              <a:pt x="156" y="178"/>
                            </a:lnTo>
                            <a:lnTo>
                              <a:pt x="156" y="178"/>
                            </a:lnTo>
                            <a:lnTo>
                              <a:pt x="154" y="178"/>
                            </a:lnTo>
                            <a:lnTo>
                              <a:pt x="150" y="174"/>
                            </a:lnTo>
                            <a:lnTo>
                              <a:pt x="150" y="174"/>
                            </a:lnTo>
                            <a:lnTo>
                              <a:pt x="140" y="166"/>
                            </a:lnTo>
                            <a:lnTo>
                              <a:pt x="138" y="162"/>
                            </a:lnTo>
                            <a:lnTo>
                              <a:pt x="138" y="160"/>
                            </a:lnTo>
                            <a:lnTo>
                              <a:pt x="140" y="156"/>
                            </a:lnTo>
                            <a:lnTo>
                              <a:pt x="140" y="154"/>
                            </a:lnTo>
                            <a:lnTo>
                              <a:pt x="140" y="150"/>
                            </a:lnTo>
                            <a:lnTo>
                              <a:pt x="140" y="150"/>
                            </a:lnTo>
                            <a:lnTo>
                              <a:pt x="136" y="146"/>
                            </a:lnTo>
                            <a:lnTo>
                              <a:pt x="132" y="142"/>
                            </a:lnTo>
                            <a:lnTo>
                              <a:pt x="128" y="140"/>
                            </a:lnTo>
                            <a:lnTo>
                              <a:pt x="126" y="134"/>
                            </a:lnTo>
                            <a:lnTo>
                              <a:pt x="126" y="134"/>
                            </a:lnTo>
                            <a:lnTo>
                              <a:pt x="120" y="122"/>
                            </a:lnTo>
                            <a:lnTo>
                              <a:pt x="116" y="120"/>
                            </a:lnTo>
                            <a:lnTo>
                              <a:pt x="112" y="116"/>
                            </a:lnTo>
                            <a:lnTo>
                              <a:pt x="112" y="116"/>
                            </a:lnTo>
                            <a:lnTo>
                              <a:pt x="104" y="112"/>
                            </a:lnTo>
                            <a:lnTo>
                              <a:pt x="100" y="108"/>
                            </a:lnTo>
                            <a:lnTo>
                              <a:pt x="96" y="96"/>
                            </a:lnTo>
                            <a:lnTo>
                              <a:pt x="96" y="96"/>
                            </a:lnTo>
                            <a:lnTo>
                              <a:pt x="88" y="86"/>
                            </a:lnTo>
                            <a:lnTo>
                              <a:pt x="80" y="76"/>
                            </a:lnTo>
                            <a:lnTo>
                              <a:pt x="68" y="68"/>
                            </a:lnTo>
                            <a:lnTo>
                              <a:pt x="58" y="62"/>
                            </a:lnTo>
                            <a:lnTo>
                              <a:pt x="58" y="62"/>
                            </a:lnTo>
                            <a:lnTo>
                              <a:pt x="54" y="58"/>
                            </a:lnTo>
                            <a:lnTo>
                              <a:pt x="54" y="54"/>
                            </a:lnTo>
                            <a:lnTo>
                              <a:pt x="52" y="52"/>
                            </a:lnTo>
                            <a:lnTo>
                              <a:pt x="44" y="46"/>
                            </a:lnTo>
                            <a:lnTo>
                              <a:pt x="44" y="46"/>
                            </a:lnTo>
                            <a:lnTo>
                              <a:pt x="28" y="40"/>
                            </a:lnTo>
                            <a:lnTo>
                              <a:pt x="24" y="38"/>
                            </a:lnTo>
                            <a:lnTo>
                              <a:pt x="22" y="34"/>
                            </a:lnTo>
                            <a:lnTo>
                              <a:pt x="22" y="34"/>
                            </a:lnTo>
                            <a:lnTo>
                              <a:pt x="14" y="26"/>
                            </a:lnTo>
                            <a:lnTo>
                              <a:pt x="10" y="20"/>
                            </a:lnTo>
                            <a:lnTo>
                              <a:pt x="10" y="20"/>
                            </a:lnTo>
                            <a:lnTo>
                              <a:pt x="10" y="18"/>
                            </a:lnTo>
                            <a:lnTo>
                              <a:pt x="10" y="18"/>
                            </a:lnTo>
                            <a:lnTo>
                              <a:pt x="12" y="16"/>
                            </a:lnTo>
                            <a:lnTo>
                              <a:pt x="16" y="18"/>
                            </a:lnTo>
                            <a:lnTo>
                              <a:pt x="18" y="18"/>
                            </a:lnTo>
                            <a:lnTo>
                              <a:pt x="18" y="18"/>
                            </a:lnTo>
                            <a:lnTo>
                              <a:pt x="18" y="18"/>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15"/>
                      <p:cNvSpPr>
                        <a:spLocks/>
                      </p:cNvSpPr>
                      <p:nvPr/>
                    </p:nvSpPr>
                    <p:spPr bwMode="auto">
                      <a:xfrm>
                        <a:off x="6024437" y="2152701"/>
                        <a:ext cx="36452" cy="72836"/>
                      </a:xfrm>
                      <a:custGeom>
                        <a:avLst/>
                        <a:gdLst/>
                        <a:ahLst/>
                        <a:cxnLst>
                          <a:cxn ang="0">
                            <a:pos x="14" y="0"/>
                          </a:cxn>
                          <a:cxn ang="0">
                            <a:pos x="18" y="2"/>
                          </a:cxn>
                          <a:cxn ang="0">
                            <a:pos x="20" y="4"/>
                          </a:cxn>
                          <a:cxn ang="0">
                            <a:pos x="22" y="8"/>
                          </a:cxn>
                          <a:cxn ang="0">
                            <a:pos x="24" y="14"/>
                          </a:cxn>
                          <a:cxn ang="0">
                            <a:pos x="24" y="18"/>
                          </a:cxn>
                          <a:cxn ang="0">
                            <a:pos x="22" y="20"/>
                          </a:cxn>
                          <a:cxn ang="0">
                            <a:pos x="22" y="22"/>
                          </a:cxn>
                          <a:cxn ang="0">
                            <a:pos x="22" y="28"/>
                          </a:cxn>
                          <a:cxn ang="0">
                            <a:pos x="22" y="32"/>
                          </a:cxn>
                          <a:cxn ang="0">
                            <a:pos x="22" y="34"/>
                          </a:cxn>
                          <a:cxn ang="0">
                            <a:pos x="22" y="40"/>
                          </a:cxn>
                          <a:cxn ang="0">
                            <a:pos x="22" y="44"/>
                          </a:cxn>
                          <a:cxn ang="0">
                            <a:pos x="20" y="42"/>
                          </a:cxn>
                          <a:cxn ang="0">
                            <a:pos x="14" y="40"/>
                          </a:cxn>
                          <a:cxn ang="0">
                            <a:pos x="16" y="44"/>
                          </a:cxn>
                          <a:cxn ang="0">
                            <a:pos x="14" y="46"/>
                          </a:cxn>
                          <a:cxn ang="0">
                            <a:pos x="10" y="46"/>
                          </a:cxn>
                          <a:cxn ang="0">
                            <a:pos x="8" y="46"/>
                          </a:cxn>
                          <a:cxn ang="0">
                            <a:pos x="8" y="46"/>
                          </a:cxn>
                          <a:cxn ang="0">
                            <a:pos x="4" y="42"/>
                          </a:cxn>
                          <a:cxn ang="0">
                            <a:pos x="4" y="40"/>
                          </a:cxn>
                          <a:cxn ang="0">
                            <a:pos x="4" y="28"/>
                          </a:cxn>
                          <a:cxn ang="0">
                            <a:pos x="4" y="28"/>
                          </a:cxn>
                          <a:cxn ang="0">
                            <a:pos x="4" y="26"/>
                          </a:cxn>
                          <a:cxn ang="0">
                            <a:pos x="4" y="22"/>
                          </a:cxn>
                          <a:cxn ang="0">
                            <a:pos x="6" y="20"/>
                          </a:cxn>
                          <a:cxn ang="0">
                            <a:pos x="4" y="14"/>
                          </a:cxn>
                          <a:cxn ang="0">
                            <a:pos x="0" y="12"/>
                          </a:cxn>
                          <a:cxn ang="0">
                            <a:pos x="0" y="8"/>
                          </a:cxn>
                          <a:cxn ang="0">
                            <a:pos x="0" y="4"/>
                          </a:cxn>
                          <a:cxn ang="0">
                            <a:pos x="2" y="4"/>
                          </a:cxn>
                          <a:cxn ang="0">
                            <a:pos x="8" y="4"/>
                          </a:cxn>
                          <a:cxn ang="0">
                            <a:pos x="10" y="2"/>
                          </a:cxn>
                          <a:cxn ang="0">
                            <a:pos x="14" y="0"/>
                          </a:cxn>
                        </a:cxnLst>
                        <a:rect l="0" t="0" r="r" b="b"/>
                        <a:pathLst>
                          <a:path w="24" h="48">
                            <a:moveTo>
                              <a:pt x="14" y="0"/>
                            </a:moveTo>
                            <a:lnTo>
                              <a:pt x="14" y="0"/>
                            </a:lnTo>
                            <a:lnTo>
                              <a:pt x="16" y="0"/>
                            </a:lnTo>
                            <a:lnTo>
                              <a:pt x="18" y="2"/>
                            </a:lnTo>
                            <a:lnTo>
                              <a:pt x="18" y="2"/>
                            </a:lnTo>
                            <a:lnTo>
                              <a:pt x="20" y="4"/>
                            </a:lnTo>
                            <a:lnTo>
                              <a:pt x="22" y="8"/>
                            </a:lnTo>
                            <a:lnTo>
                              <a:pt x="22" y="8"/>
                            </a:lnTo>
                            <a:lnTo>
                              <a:pt x="22" y="10"/>
                            </a:lnTo>
                            <a:lnTo>
                              <a:pt x="24" y="14"/>
                            </a:lnTo>
                            <a:lnTo>
                              <a:pt x="24" y="14"/>
                            </a:lnTo>
                            <a:lnTo>
                              <a:pt x="24" y="18"/>
                            </a:lnTo>
                            <a:lnTo>
                              <a:pt x="24" y="18"/>
                            </a:lnTo>
                            <a:lnTo>
                              <a:pt x="22" y="20"/>
                            </a:lnTo>
                            <a:lnTo>
                              <a:pt x="22" y="22"/>
                            </a:lnTo>
                            <a:lnTo>
                              <a:pt x="22" y="22"/>
                            </a:lnTo>
                            <a:lnTo>
                              <a:pt x="24" y="24"/>
                            </a:lnTo>
                            <a:lnTo>
                              <a:pt x="22" y="28"/>
                            </a:lnTo>
                            <a:lnTo>
                              <a:pt x="22" y="28"/>
                            </a:lnTo>
                            <a:lnTo>
                              <a:pt x="22" y="32"/>
                            </a:lnTo>
                            <a:lnTo>
                              <a:pt x="22" y="34"/>
                            </a:lnTo>
                            <a:lnTo>
                              <a:pt x="22" y="34"/>
                            </a:lnTo>
                            <a:lnTo>
                              <a:pt x="22" y="36"/>
                            </a:lnTo>
                            <a:lnTo>
                              <a:pt x="22" y="40"/>
                            </a:lnTo>
                            <a:lnTo>
                              <a:pt x="22" y="42"/>
                            </a:lnTo>
                            <a:lnTo>
                              <a:pt x="22" y="44"/>
                            </a:lnTo>
                            <a:lnTo>
                              <a:pt x="22" y="44"/>
                            </a:lnTo>
                            <a:lnTo>
                              <a:pt x="20" y="42"/>
                            </a:lnTo>
                            <a:lnTo>
                              <a:pt x="18" y="42"/>
                            </a:lnTo>
                            <a:lnTo>
                              <a:pt x="14" y="40"/>
                            </a:lnTo>
                            <a:lnTo>
                              <a:pt x="14" y="40"/>
                            </a:lnTo>
                            <a:lnTo>
                              <a:pt x="16" y="44"/>
                            </a:lnTo>
                            <a:lnTo>
                              <a:pt x="16" y="46"/>
                            </a:lnTo>
                            <a:lnTo>
                              <a:pt x="14" y="46"/>
                            </a:lnTo>
                            <a:lnTo>
                              <a:pt x="14" y="46"/>
                            </a:lnTo>
                            <a:lnTo>
                              <a:pt x="10" y="46"/>
                            </a:lnTo>
                            <a:lnTo>
                              <a:pt x="8" y="48"/>
                            </a:lnTo>
                            <a:lnTo>
                              <a:pt x="8" y="46"/>
                            </a:lnTo>
                            <a:lnTo>
                              <a:pt x="8" y="46"/>
                            </a:lnTo>
                            <a:lnTo>
                              <a:pt x="8" y="46"/>
                            </a:lnTo>
                            <a:lnTo>
                              <a:pt x="6" y="44"/>
                            </a:lnTo>
                            <a:lnTo>
                              <a:pt x="4" y="42"/>
                            </a:lnTo>
                            <a:lnTo>
                              <a:pt x="4" y="40"/>
                            </a:lnTo>
                            <a:lnTo>
                              <a:pt x="4" y="40"/>
                            </a:lnTo>
                            <a:lnTo>
                              <a:pt x="4" y="32"/>
                            </a:lnTo>
                            <a:lnTo>
                              <a:pt x="4" y="28"/>
                            </a:lnTo>
                            <a:lnTo>
                              <a:pt x="4" y="28"/>
                            </a:lnTo>
                            <a:lnTo>
                              <a:pt x="4" y="28"/>
                            </a:lnTo>
                            <a:lnTo>
                              <a:pt x="6" y="26"/>
                            </a:lnTo>
                            <a:lnTo>
                              <a:pt x="4" y="26"/>
                            </a:lnTo>
                            <a:lnTo>
                              <a:pt x="4" y="24"/>
                            </a:lnTo>
                            <a:lnTo>
                              <a:pt x="4" y="22"/>
                            </a:lnTo>
                            <a:lnTo>
                              <a:pt x="4" y="22"/>
                            </a:lnTo>
                            <a:lnTo>
                              <a:pt x="6" y="20"/>
                            </a:lnTo>
                            <a:lnTo>
                              <a:pt x="6" y="16"/>
                            </a:lnTo>
                            <a:lnTo>
                              <a:pt x="4" y="14"/>
                            </a:lnTo>
                            <a:lnTo>
                              <a:pt x="4" y="14"/>
                            </a:lnTo>
                            <a:lnTo>
                              <a:pt x="0" y="12"/>
                            </a:lnTo>
                            <a:lnTo>
                              <a:pt x="0" y="8"/>
                            </a:lnTo>
                            <a:lnTo>
                              <a:pt x="0" y="8"/>
                            </a:lnTo>
                            <a:lnTo>
                              <a:pt x="0" y="4"/>
                            </a:lnTo>
                            <a:lnTo>
                              <a:pt x="0" y="4"/>
                            </a:lnTo>
                            <a:lnTo>
                              <a:pt x="2" y="4"/>
                            </a:lnTo>
                            <a:lnTo>
                              <a:pt x="2" y="4"/>
                            </a:lnTo>
                            <a:lnTo>
                              <a:pt x="6" y="6"/>
                            </a:lnTo>
                            <a:lnTo>
                              <a:pt x="8" y="4"/>
                            </a:lnTo>
                            <a:lnTo>
                              <a:pt x="8" y="4"/>
                            </a:lnTo>
                            <a:lnTo>
                              <a:pt x="10" y="2"/>
                            </a:lnTo>
                            <a:lnTo>
                              <a:pt x="14" y="0"/>
                            </a:lnTo>
                            <a:lnTo>
                              <a:pt x="14" y="0"/>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6" name="Finland"/>
                      <p:cNvSpPr>
                        <a:spLocks/>
                      </p:cNvSpPr>
                      <p:nvPr/>
                    </p:nvSpPr>
                    <p:spPr bwMode="auto">
                      <a:xfrm>
                        <a:off x="6261373" y="1369714"/>
                        <a:ext cx="285538" cy="242787"/>
                      </a:xfrm>
                      <a:custGeom>
                        <a:avLst/>
                        <a:gdLst/>
                        <a:ahLst/>
                        <a:cxnLst>
                          <a:cxn ang="0">
                            <a:pos x="130" y="144"/>
                          </a:cxn>
                          <a:cxn ang="0">
                            <a:pos x="108" y="148"/>
                          </a:cxn>
                          <a:cxn ang="0">
                            <a:pos x="94" y="150"/>
                          </a:cxn>
                          <a:cxn ang="0">
                            <a:pos x="82" y="150"/>
                          </a:cxn>
                          <a:cxn ang="0">
                            <a:pos x="68" y="156"/>
                          </a:cxn>
                          <a:cxn ang="0">
                            <a:pos x="58" y="156"/>
                          </a:cxn>
                          <a:cxn ang="0">
                            <a:pos x="52" y="152"/>
                          </a:cxn>
                          <a:cxn ang="0">
                            <a:pos x="44" y="148"/>
                          </a:cxn>
                          <a:cxn ang="0">
                            <a:pos x="38" y="146"/>
                          </a:cxn>
                          <a:cxn ang="0">
                            <a:pos x="34" y="136"/>
                          </a:cxn>
                          <a:cxn ang="0">
                            <a:pos x="32" y="130"/>
                          </a:cxn>
                          <a:cxn ang="0">
                            <a:pos x="30" y="124"/>
                          </a:cxn>
                          <a:cxn ang="0">
                            <a:pos x="28" y="120"/>
                          </a:cxn>
                          <a:cxn ang="0">
                            <a:pos x="30" y="116"/>
                          </a:cxn>
                          <a:cxn ang="0">
                            <a:pos x="28" y="112"/>
                          </a:cxn>
                          <a:cxn ang="0">
                            <a:pos x="34" y="110"/>
                          </a:cxn>
                          <a:cxn ang="0">
                            <a:pos x="34" y="108"/>
                          </a:cxn>
                          <a:cxn ang="0">
                            <a:pos x="40" y="106"/>
                          </a:cxn>
                          <a:cxn ang="0">
                            <a:pos x="48" y="102"/>
                          </a:cxn>
                          <a:cxn ang="0">
                            <a:pos x="56" y="98"/>
                          </a:cxn>
                          <a:cxn ang="0">
                            <a:pos x="60" y="96"/>
                          </a:cxn>
                          <a:cxn ang="0">
                            <a:pos x="66" y="94"/>
                          </a:cxn>
                          <a:cxn ang="0">
                            <a:pos x="80" y="84"/>
                          </a:cxn>
                          <a:cxn ang="0">
                            <a:pos x="88" y="84"/>
                          </a:cxn>
                          <a:cxn ang="0">
                            <a:pos x="86" y="78"/>
                          </a:cxn>
                          <a:cxn ang="0">
                            <a:pos x="70" y="72"/>
                          </a:cxn>
                          <a:cxn ang="0">
                            <a:pos x="60" y="66"/>
                          </a:cxn>
                          <a:cxn ang="0">
                            <a:pos x="54" y="54"/>
                          </a:cxn>
                          <a:cxn ang="0">
                            <a:pos x="46" y="42"/>
                          </a:cxn>
                          <a:cxn ang="0">
                            <a:pos x="42" y="36"/>
                          </a:cxn>
                          <a:cxn ang="0">
                            <a:pos x="8" y="26"/>
                          </a:cxn>
                          <a:cxn ang="0">
                            <a:pos x="2" y="18"/>
                          </a:cxn>
                          <a:cxn ang="0">
                            <a:pos x="8" y="14"/>
                          </a:cxn>
                          <a:cxn ang="0">
                            <a:pos x="36" y="24"/>
                          </a:cxn>
                          <a:cxn ang="0">
                            <a:pos x="54" y="26"/>
                          </a:cxn>
                          <a:cxn ang="0">
                            <a:pos x="68" y="32"/>
                          </a:cxn>
                          <a:cxn ang="0">
                            <a:pos x="80" y="22"/>
                          </a:cxn>
                          <a:cxn ang="0">
                            <a:pos x="84" y="12"/>
                          </a:cxn>
                          <a:cxn ang="0">
                            <a:pos x="102" y="2"/>
                          </a:cxn>
                          <a:cxn ang="0">
                            <a:pos x="112" y="2"/>
                          </a:cxn>
                          <a:cxn ang="0">
                            <a:pos x="124" y="10"/>
                          </a:cxn>
                          <a:cxn ang="0">
                            <a:pos x="124" y="20"/>
                          </a:cxn>
                          <a:cxn ang="0">
                            <a:pos x="132" y="30"/>
                          </a:cxn>
                          <a:cxn ang="0">
                            <a:pos x="142" y="40"/>
                          </a:cxn>
                          <a:cxn ang="0">
                            <a:pos x="150" y="54"/>
                          </a:cxn>
                          <a:cxn ang="0">
                            <a:pos x="158" y="66"/>
                          </a:cxn>
                          <a:cxn ang="0">
                            <a:pos x="164" y="76"/>
                          </a:cxn>
                          <a:cxn ang="0">
                            <a:pos x="164" y="84"/>
                          </a:cxn>
                          <a:cxn ang="0">
                            <a:pos x="170" y="94"/>
                          </a:cxn>
                          <a:cxn ang="0">
                            <a:pos x="188" y="108"/>
                          </a:cxn>
                          <a:cxn ang="0">
                            <a:pos x="180" y="120"/>
                          </a:cxn>
                          <a:cxn ang="0">
                            <a:pos x="172" y="126"/>
                          </a:cxn>
                          <a:cxn ang="0">
                            <a:pos x="148" y="142"/>
                          </a:cxn>
                        </a:cxnLst>
                        <a:rect l="0" t="0" r="r" b="b"/>
                        <a:pathLst>
                          <a:path w="188" h="160">
                            <a:moveTo>
                              <a:pt x="148" y="146"/>
                            </a:moveTo>
                            <a:lnTo>
                              <a:pt x="148" y="146"/>
                            </a:lnTo>
                            <a:lnTo>
                              <a:pt x="138" y="146"/>
                            </a:lnTo>
                            <a:lnTo>
                              <a:pt x="132" y="146"/>
                            </a:lnTo>
                            <a:lnTo>
                              <a:pt x="130" y="144"/>
                            </a:lnTo>
                            <a:lnTo>
                              <a:pt x="126" y="146"/>
                            </a:lnTo>
                            <a:lnTo>
                              <a:pt x="126" y="146"/>
                            </a:lnTo>
                            <a:lnTo>
                              <a:pt x="118" y="148"/>
                            </a:lnTo>
                            <a:lnTo>
                              <a:pt x="112" y="148"/>
                            </a:lnTo>
                            <a:lnTo>
                              <a:pt x="108" y="148"/>
                            </a:lnTo>
                            <a:lnTo>
                              <a:pt x="104" y="148"/>
                            </a:lnTo>
                            <a:lnTo>
                              <a:pt x="104" y="148"/>
                            </a:lnTo>
                            <a:lnTo>
                              <a:pt x="100" y="150"/>
                            </a:lnTo>
                            <a:lnTo>
                              <a:pt x="96" y="150"/>
                            </a:lnTo>
                            <a:lnTo>
                              <a:pt x="94" y="150"/>
                            </a:lnTo>
                            <a:lnTo>
                              <a:pt x="92" y="152"/>
                            </a:lnTo>
                            <a:lnTo>
                              <a:pt x="92" y="152"/>
                            </a:lnTo>
                            <a:lnTo>
                              <a:pt x="90" y="152"/>
                            </a:lnTo>
                            <a:lnTo>
                              <a:pt x="86" y="152"/>
                            </a:lnTo>
                            <a:lnTo>
                              <a:pt x="82" y="150"/>
                            </a:lnTo>
                            <a:lnTo>
                              <a:pt x="78" y="150"/>
                            </a:lnTo>
                            <a:lnTo>
                              <a:pt x="78" y="150"/>
                            </a:lnTo>
                            <a:lnTo>
                              <a:pt x="72" y="154"/>
                            </a:lnTo>
                            <a:lnTo>
                              <a:pt x="70" y="154"/>
                            </a:lnTo>
                            <a:lnTo>
                              <a:pt x="68" y="156"/>
                            </a:lnTo>
                            <a:lnTo>
                              <a:pt x="68" y="156"/>
                            </a:lnTo>
                            <a:lnTo>
                              <a:pt x="62" y="158"/>
                            </a:lnTo>
                            <a:lnTo>
                              <a:pt x="56" y="160"/>
                            </a:lnTo>
                            <a:lnTo>
                              <a:pt x="56" y="160"/>
                            </a:lnTo>
                            <a:lnTo>
                              <a:pt x="58" y="156"/>
                            </a:lnTo>
                            <a:lnTo>
                              <a:pt x="58" y="154"/>
                            </a:lnTo>
                            <a:lnTo>
                              <a:pt x="56" y="154"/>
                            </a:lnTo>
                            <a:lnTo>
                              <a:pt x="56" y="154"/>
                            </a:lnTo>
                            <a:lnTo>
                              <a:pt x="52" y="154"/>
                            </a:lnTo>
                            <a:lnTo>
                              <a:pt x="52" y="152"/>
                            </a:lnTo>
                            <a:lnTo>
                              <a:pt x="52" y="146"/>
                            </a:lnTo>
                            <a:lnTo>
                              <a:pt x="52" y="146"/>
                            </a:lnTo>
                            <a:lnTo>
                              <a:pt x="46" y="150"/>
                            </a:lnTo>
                            <a:lnTo>
                              <a:pt x="44" y="150"/>
                            </a:lnTo>
                            <a:lnTo>
                              <a:pt x="44" y="148"/>
                            </a:lnTo>
                            <a:lnTo>
                              <a:pt x="44" y="146"/>
                            </a:lnTo>
                            <a:lnTo>
                              <a:pt x="42" y="144"/>
                            </a:lnTo>
                            <a:lnTo>
                              <a:pt x="40" y="144"/>
                            </a:lnTo>
                            <a:lnTo>
                              <a:pt x="40" y="144"/>
                            </a:lnTo>
                            <a:lnTo>
                              <a:pt x="38" y="146"/>
                            </a:lnTo>
                            <a:lnTo>
                              <a:pt x="36" y="144"/>
                            </a:lnTo>
                            <a:lnTo>
                              <a:pt x="36" y="142"/>
                            </a:lnTo>
                            <a:lnTo>
                              <a:pt x="36" y="138"/>
                            </a:lnTo>
                            <a:lnTo>
                              <a:pt x="36" y="138"/>
                            </a:lnTo>
                            <a:lnTo>
                              <a:pt x="34" y="136"/>
                            </a:lnTo>
                            <a:lnTo>
                              <a:pt x="34" y="134"/>
                            </a:lnTo>
                            <a:lnTo>
                              <a:pt x="36" y="134"/>
                            </a:lnTo>
                            <a:lnTo>
                              <a:pt x="34" y="132"/>
                            </a:lnTo>
                            <a:lnTo>
                              <a:pt x="34" y="132"/>
                            </a:lnTo>
                            <a:lnTo>
                              <a:pt x="32" y="130"/>
                            </a:lnTo>
                            <a:lnTo>
                              <a:pt x="30" y="128"/>
                            </a:lnTo>
                            <a:lnTo>
                              <a:pt x="30" y="128"/>
                            </a:lnTo>
                            <a:lnTo>
                              <a:pt x="30" y="126"/>
                            </a:lnTo>
                            <a:lnTo>
                              <a:pt x="30" y="126"/>
                            </a:lnTo>
                            <a:lnTo>
                              <a:pt x="30" y="124"/>
                            </a:lnTo>
                            <a:lnTo>
                              <a:pt x="28" y="124"/>
                            </a:lnTo>
                            <a:lnTo>
                              <a:pt x="28" y="124"/>
                            </a:lnTo>
                            <a:lnTo>
                              <a:pt x="28" y="122"/>
                            </a:lnTo>
                            <a:lnTo>
                              <a:pt x="28" y="122"/>
                            </a:lnTo>
                            <a:lnTo>
                              <a:pt x="28" y="120"/>
                            </a:lnTo>
                            <a:lnTo>
                              <a:pt x="28" y="118"/>
                            </a:lnTo>
                            <a:lnTo>
                              <a:pt x="28" y="118"/>
                            </a:lnTo>
                            <a:lnTo>
                              <a:pt x="28" y="118"/>
                            </a:lnTo>
                            <a:lnTo>
                              <a:pt x="28" y="116"/>
                            </a:lnTo>
                            <a:lnTo>
                              <a:pt x="30" y="116"/>
                            </a:lnTo>
                            <a:lnTo>
                              <a:pt x="28" y="116"/>
                            </a:lnTo>
                            <a:lnTo>
                              <a:pt x="28" y="116"/>
                            </a:lnTo>
                            <a:lnTo>
                              <a:pt x="26" y="114"/>
                            </a:lnTo>
                            <a:lnTo>
                              <a:pt x="26" y="112"/>
                            </a:lnTo>
                            <a:lnTo>
                              <a:pt x="28" y="112"/>
                            </a:lnTo>
                            <a:lnTo>
                              <a:pt x="30" y="112"/>
                            </a:lnTo>
                            <a:lnTo>
                              <a:pt x="30" y="112"/>
                            </a:lnTo>
                            <a:lnTo>
                              <a:pt x="32" y="112"/>
                            </a:lnTo>
                            <a:lnTo>
                              <a:pt x="32" y="112"/>
                            </a:lnTo>
                            <a:lnTo>
                              <a:pt x="34" y="110"/>
                            </a:lnTo>
                            <a:lnTo>
                              <a:pt x="32" y="110"/>
                            </a:lnTo>
                            <a:lnTo>
                              <a:pt x="32" y="110"/>
                            </a:lnTo>
                            <a:lnTo>
                              <a:pt x="30" y="108"/>
                            </a:lnTo>
                            <a:lnTo>
                              <a:pt x="32" y="108"/>
                            </a:lnTo>
                            <a:lnTo>
                              <a:pt x="34" y="108"/>
                            </a:lnTo>
                            <a:lnTo>
                              <a:pt x="34" y="108"/>
                            </a:lnTo>
                            <a:lnTo>
                              <a:pt x="38" y="106"/>
                            </a:lnTo>
                            <a:lnTo>
                              <a:pt x="38" y="106"/>
                            </a:lnTo>
                            <a:lnTo>
                              <a:pt x="38" y="106"/>
                            </a:lnTo>
                            <a:lnTo>
                              <a:pt x="40" y="106"/>
                            </a:lnTo>
                            <a:lnTo>
                              <a:pt x="42" y="104"/>
                            </a:lnTo>
                            <a:lnTo>
                              <a:pt x="44" y="102"/>
                            </a:lnTo>
                            <a:lnTo>
                              <a:pt x="46" y="102"/>
                            </a:lnTo>
                            <a:lnTo>
                              <a:pt x="46" y="102"/>
                            </a:lnTo>
                            <a:lnTo>
                              <a:pt x="48" y="102"/>
                            </a:lnTo>
                            <a:lnTo>
                              <a:pt x="50" y="100"/>
                            </a:lnTo>
                            <a:lnTo>
                              <a:pt x="50" y="98"/>
                            </a:lnTo>
                            <a:lnTo>
                              <a:pt x="54" y="98"/>
                            </a:lnTo>
                            <a:lnTo>
                              <a:pt x="54" y="98"/>
                            </a:lnTo>
                            <a:lnTo>
                              <a:pt x="56" y="98"/>
                            </a:lnTo>
                            <a:lnTo>
                              <a:pt x="56" y="98"/>
                            </a:lnTo>
                            <a:lnTo>
                              <a:pt x="58" y="96"/>
                            </a:lnTo>
                            <a:lnTo>
                              <a:pt x="58" y="96"/>
                            </a:lnTo>
                            <a:lnTo>
                              <a:pt x="58" y="96"/>
                            </a:lnTo>
                            <a:lnTo>
                              <a:pt x="60" y="96"/>
                            </a:lnTo>
                            <a:lnTo>
                              <a:pt x="60" y="94"/>
                            </a:lnTo>
                            <a:lnTo>
                              <a:pt x="62" y="94"/>
                            </a:lnTo>
                            <a:lnTo>
                              <a:pt x="64" y="94"/>
                            </a:lnTo>
                            <a:lnTo>
                              <a:pt x="64" y="94"/>
                            </a:lnTo>
                            <a:lnTo>
                              <a:pt x="66" y="94"/>
                            </a:lnTo>
                            <a:lnTo>
                              <a:pt x="68" y="92"/>
                            </a:lnTo>
                            <a:lnTo>
                              <a:pt x="72" y="90"/>
                            </a:lnTo>
                            <a:lnTo>
                              <a:pt x="72" y="90"/>
                            </a:lnTo>
                            <a:lnTo>
                              <a:pt x="76" y="88"/>
                            </a:lnTo>
                            <a:lnTo>
                              <a:pt x="80" y="84"/>
                            </a:lnTo>
                            <a:lnTo>
                              <a:pt x="80" y="84"/>
                            </a:lnTo>
                            <a:lnTo>
                              <a:pt x="82" y="82"/>
                            </a:lnTo>
                            <a:lnTo>
                              <a:pt x="84" y="84"/>
                            </a:lnTo>
                            <a:lnTo>
                              <a:pt x="84" y="84"/>
                            </a:lnTo>
                            <a:lnTo>
                              <a:pt x="88" y="84"/>
                            </a:lnTo>
                            <a:lnTo>
                              <a:pt x="88" y="84"/>
                            </a:lnTo>
                            <a:lnTo>
                              <a:pt x="88" y="84"/>
                            </a:lnTo>
                            <a:lnTo>
                              <a:pt x="88" y="82"/>
                            </a:lnTo>
                            <a:lnTo>
                              <a:pt x="86" y="80"/>
                            </a:lnTo>
                            <a:lnTo>
                              <a:pt x="86" y="78"/>
                            </a:lnTo>
                            <a:lnTo>
                              <a:pt x="86" y="78"/>
                            </a:lnTo>
                            <a:lnTo>
                              <a:pt x="84" y="76"/>
                            </a:lnTo>
                            <a:lnTo>
                              <a:pt x="82" y="74"/>
                            </a:lnTo>
                            <a:lnTo>
                              <a:pt x="76" y="72"/>
                            </a:lnTo>
                            <a:lnTo>
                              <a:pt x="70" y="72"/>
                            </a:lnTo>
                            <a:lnTo>
                              <a:pt x="66" y="70"/>
                            </a:lnTo>
                            <a:lnTo>
                              <a:pt x="66" y="70"/>
                            </a:lnTo>
                            <a:lnTo>
                              <a:pt x="62" y="68"/>
                            </a:lnTo>
                            <a:lnTo>
                              <a:pt x="60" y="66"/>
                            </a:lnTo>
                            <a:lnTo>
                              <a:pt x="60" y="66"/>
                            </a:lnTo>
                            <a:lnTo>
                              <a:pt x="56" y="64"/>
                            </a:lnTo>
                            <a:lnTo>
                              <a:pt x="56" y="64"/>
                            </a:lnTo>
                            <a:lnTo>
                              <a:pt x="56" y="60"/>
                            </a:lnTo>
                            <a:lnTo>
                              <a:pt x="56" y="56"/>
                            </a:lnTo>
                            <a:lnTo>
                              <a:pt x="54" y="54"/>
                            </a:lnTo>
                            <a:lnTo>
                              <a:pt x="50" y="50"/>
                            </a:lnTo>
                            <a:lnTo>
                              <a:pt x="50" y="50"/>
                            </a:lnTo>
                            <a:lnTo>
                              <a:pt x="46" y="46"/>
                            </a:lnTo>
                            <a:lnTo>
                              <a:pt x="46" y="44"/>
                            </a:lnTo>
                            <a:lnTo>
                              <a:pt x="46" y="42"/>
                            </a:lnTo>
                            <a:lnTo>
                              <a:pt x="44" y="42"/>
                            </a:lnTo>
                            <a:lnTo>
                              <a:pt x="44" y="42"/>
                            </a:lnTo>
                            <a:lnTo>
                              <a:pt x="42" y="40"/>
                            </a:lnTo>
                            <a:lnTo>
                              <a:pt x="42" y="38"/>
                            </a:lnTo>
                            <a:lnTo>
                              <a:pt x="42" y="36"/>
                            </a:lnTo>
                            <a:lnTo>
                              <a:pt x="36" y="32"/>
                            </a:lnTo>
                            <a:lnTo>
                              <a:pt x="36" y="32"/>
                            </a:lnTo>
                            <a:lnTo>
                              <a:pt x="28" y="28"/>
                            </a:lnTo>
                            <a:lnTo>
                              <a:pt x="18" y="28"/>
                            </a:lnTo>
                            <a:lnTo>
                              <a:pt x="8" y="26"/>
                            </a:lnTo>
                            <a:lnTo>
                              <a:pt x="4" y="24"/>
                            </a:lnTo>
                            <a:lnTo>
                              <a:pt x="0" y="20"/>
                            </a:lnTo>
                            <a:lnTo>
                              <a:pt x="0" y="20"/>
                            </a:lnTo>
                            <a:lnTo>
                              <a:pt x="2" y="20"/>
                            </a:lnTo>
                            <a:lnTo>
                              <a:pt x="2" y="18"/>
                            </a:lnTo>
                            <a:lnTo>
                              <a:pt x="2" y="18"/>
                            </a:lnTo>
                            <a:lnTo>
                              <a:pt x="2" y="16"/>
                            </a:lnTo>
                            <a:lnTo>
                              <a:pt x="2" y="16"/>
                            </a:lnTo>
                            <a:lnTo>
                              <a:pt x="6" y="14"/>
                            </a:lnTo>
                            <a:lnTo>
                              <a:pt x="8" y="14"/>
                            </a:lnTo>
                            <a:lnTo>
                              <a:pt x="10" y="16"/>
                            </a:lnTo>
                            <a:lnTo>
                              <a:pt x="10" y="16"/>
                            </a:lnTo>
                            <a:lnTo>
                              <a:pt x="14" y="18"/>
                            </a:lnTo>
                            <a:lnTo>
                              <a:pt x="20" y="20"/>
                            </a:lnTo>
                            <a:lnTo>
                              <a:pt x="36" y="24"/>
                            </a:lnTo>
                            <a:lnTo>
                              <a:pt x="36" y="24"/>
                            </a:lnTo>
                            <a:lnTo>
                              <a:pt x="46" y="26"/>
                            </a:lnTo>
                            <a:lnTo>
                              <a:pt x="52" y="26"/>
                            </a:lnTo>
                            <a:lnTo>
                              <a:pt x="54" y="26"/>
                            </a:lnTo>
                            <a:lnTo>
                              <a:pt x="54" y="26"/>
                            </a:lnTo>
                            <a:lnTo>
                              <a:pt x="56" y="22"/>
                            </a:lnTo>
                            <a:lnTo>
                              <a:pt x="58" y="24"/>
                            </a:lnTo>
                            <a:lnTo>
                              <a:pt x="58" y="24"/>
                            </a:lnTo>
                            <a:lnTo>
                              <a:pt x="66" y="30"/>
                            </a:lnTo>
                            <a:lnTo>
                              <a:pt x="68" y="32"/>
                            </a:lnTo>
                            <a:lnTo>
                              <a:pt x="72" y="30"/>
                            </a:lnTo>
                            <a:lnTo>
                              <a:pt x="72" y="30"/>
                            </a:lnTo>
                            <a:lnTo>
                              <a:pt x="74" y="24"/>
                            </a:lnTo>
                            <a:lnTo>
                              <a:pt x="80" y="22"/>
                            </a:lnTo>
                            <a:lnTo>
                              <a:pt x="80" y="22"/>
                            </a:lnTo>
                            <a:lnTo>
                              <a:pt x="82" y="20"/>
                            </a:lnTo>
                            <a:lnTo>
                              <a:pt x="82" y="18"/>
                            </a:lnTo>
                            <a:lnTo>
                              <a:pt x="82" y="18"/>
                            </a:lnTo>
                            <a:lnTo>
                              <a:pt x="80" y="14"/>
                            </a:lnTo>
                            <a:lnTo>
                              <a:pt x="84" y="12"/>
                            </a:lnTo>
                            <a:lnTo>
                              <a:pt x="92" y="6"/>
                            </a:lnTo>
                            <a:lnTo>
                              <a:pt x="92" y="6"/>
                            </a:lnTo>
                            <a:lnTo>
                              <a:pt x="94" y="4"/>
                            </a:lnTo>
                            <a:lnTo>
                              <a:pt x="96" y="4"/>
                            </a:lnTo>
                            <a:lnTo>
                              <a:pt x="102" y="2"/>
                            </a:lnTo>
                            <a:lnTo>
                              <a:pt x="102" y="2"/>
                            </a:lnTo>
                            <a:lnTo>
                              <a:pt x="108" y="0"/>
                            </a:lnTo>
                            <a:lnTo>
                              <a:pt x="110" y="0"/>
                            </a:lnTo>
                            <a:lnTo>
                              <a:pt x="112" y="2"/>
                            </a:lnTo>
                            <a:lnTo>
                              <a:pt x="112" y="2"/>
                            </a:lnTo>
                            <a:lnTo>
                              <a:pt x="112" y="4"/>
                            </a:lnTo>
                            <a:lnTo>
                              <a:pt x="116" y="6"/>
                            </a:lnTo>
                            <a:lnTo>
                              <a:pt x="122" y="8"/>
                            </a:lnTo>
                            <a:lnTo>
                              <a:pt x="122" y="8"/>
                            </a:lnTo>
                            <a:lnTo>
                              <a:pt x="124" y="10"/>
                            </a:lnTo>
                            <a:lnTo>
                              <a:pt x="124" y="12"/>
                            </a:lnTo>
                            <a:lnTo>
                              <a:pt x="122" y="16"/>
                            </a:lnTo>
                            <a:lnTo>
                              <a:pt x="122" y="18"/>
                            </a:lnTo>
                            <a:lnTo>
                              <a:pt x="122" y="18"/>
                            </a:lnTo>
                            <a:lnTo>
                              <a:pt x="124" y="20"/>
                            </a:lnTo>
                            <a:lnTo>
                              <a:pt x="124" y="22"/>
                            </a:lnTo>
                            <a:lnTo>
                              <a:pt x="126" y="26"/>
                            </a:lnTo>
                            <a:lnTo>
                              <a:pt x="126" y="26"/>
                            </a:lnTo>
                            <a:lnTo>
                              <a:pt x="128" y="30"/>
                            </a:lnTo>
                            <a:lnTo>
                              <a:pt x="132" y="30"/>
                            </a:lnTo>
                            <a:lnTo>
                              <a:pt x="134" y="30"/>
                            </a:lnTo>
                            <a:lnTo>
                              <a:pt x="138" y="34"/>
                            </a:lnTo>
                            <a:lnTo>
                              <a:pt x="138" y="34"/>
                            </a:lnTo>
                            <a:lnTo>
                              <a:pt x="142" y="38"/>
                            </a:lnTo>
                            <a:lnTo>
                              <a:pt x="142" y="40"/>
                            </a:lnTo>
                            <a:lnTo>
                              <a:pt x="142" y="44"/>
                            </a:lnTo>
                            <a:lnTo>
                              <a:pt x="142" y="46"/>
                            </a:lnTo>
                            <a:lnTo>
                              <a:pt x="142" y="48"/>
                            </a:lnTo>
                            <a:lnTo>
                              <a:pt x="150" y="54"/>
                            </a:lnTo>
                            <a:lnTo>
                              <a:pt x="150" y="54"/>
                            </a:lnTo>
                            <a:lnTo>
                              <a:pt x="158" y="60"/>
                            </a:lnTo>
                            <a:lnTo>
                              <a:pt x="160" y="64"/>
                            </a:lnTo>
                            <a:lnTo>
                              <a:pt x="160" y="66"/>
                            </a:lnTo>
                            <a:lnTo>
                              <a:pt x="158" y="66"/>
                            </a:lnTo>
                            <a:lnTo>
                              <a:pt x="158" y="66"/>
                            </a:lnTo>
                            <a:lnTo>
                              <a:pt x="156" y="68"/>
                            </a:lnTo>
                            <a:lnTo>
                              <a:pt x="158" y="70"/>
                            </a:lnTo>
                            <a:lnTo>
                              <a:pt x="160" y="74"/>
                            </a:lnTo>
                            <a:lnTo>
                              <a:pt x="164" y="76"/>
                            </a:lnTo>
                            <a:lnTo>
                              <a:pt x="164" y="76"/>
                            </a:lnTo>
                            <a:lnTo>
                              <a:pt x="166" y="78"/>
                            </a:lnTo>
                            <a:lnTo>
                              <a:pt x="162" y="80"/>
                            </a:lnTo>
                            <a:lnTo>
                              <a:pt x="162" y="82"/>
                            </a:lnTo>
                            <a:lnTo>
                              <a:pt x="164" y="84"/>
                            </a:lnTo>
                            <a:lnTo>
                              <a:pt x="164" y="84"/>
                            </a:lnTo>
                            <a:lnTo>
                              <a:pt x="172" y="88"/>
                            </a:lnTo>
                            <a:lnTo>
                              <a:pt x="174" y="90"/>
                            </a:lnTo>
                            <a:lnTo>
                              <a:pt x="174" y="92"/>
                            </a:lnTo>
                            <a:lnTo>
                              <a:pt x="172" y="94"/>
                            </a:lnTo>
                            <a:lnTo>
                              <a:pt x="170" y="94"/>
                            </a:lnTo>
                            <a:lnTo>
                              <a:pt x="170" y="96"/>
                            </a:lnTo>
                            <a:lnTo>
                              <a:pt x="180" y="100"/>
                            </a:lnTo>
                            <a:lnTo>
                              <a:pt x="180" y="100"/>
                            </a:lnTo>
                            <a:lnTo>
                              <a:pt x="188" y="104"/>
                            </a:lnTo>
                            <a:lnTo>
                              <a:pt x="188" y="108"/>
                            </a:lnTo>
                            <a:lnTo>
                              <a:pt x="186" y="112"/>
                            </a:lnTo>
                            <a:lnTo>
                              <a:pt x="182" y="116"/>
                            </a:lnTo>
                            <a:lnTo>
                              <a:pt x="182" y="116"/>
                            </a:lnTo>
                            <a:lnTo>
                              <a:pt x="180" y="118"/>
                            </a:lnTo>
                            <a:lnTo>
                              <a:pt x="180" y="120"/>
                            </a:lnTo>
                            <a:lnTo>
                              <a:pt x="180" y="122"/>
                            </a:lnTo>
                            <a:lnTo>
                              <a:pt x="178" y="122"/>
                            </a:lnTo>
                            <a:lnTo>
                              <a:pt x="178" y="122"/>
                            </a:lnTo>
                            <a:lnTo>
                              <a:pt x="174" y="122"/>
                            </a:lnTo>
                            <a:lnTo>
                              <a:pt x="172" y="126"/>
                            </a:lnTo>
                            <a:lnTo>
                              <a:pt x="168" y="130"/>
                            </a:lnTo>
                            <a:lnTo>
                              <a:pt x="160" y="134"/>
                            </a:lnTo>
                            <a:lnTo>
                              <a:pt x="160" y="134"/>
                            </a:lnTo>
                            <a:lnTo>
                              <a:pt x="152" y="140"/>
                            </a:lnTo>
                            <a:lnTo>
                              <a:pt x="148" y="142"/>
                            </a:lnTo>
                            <a:lnTo>
                              <a:pt x="148" y="146"/>
                            </a:lnTo>
                            <a:lnTo>
                              <a:pt x="148" y="146"/>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7" name="France"/>
                      <p:cNvSpPr>
                        <a:spLocks/>
                      </p:cNvSpPr>
                      <p:nvPr/>
                    </p:nvSpPr>
                    <p:spPr bwMode="auto">
                      <a:xfrm>
                        <a:off x="5662958" y="1849218"/>
                        <a:ext cx="337179" cy="264031"/>
                      </a:xfrm>
                      <a:custGeom>
                        <a:avLst/>
                        <a:gdLst/>
                        <a:ahLst/>
                        <a:cxnLst>
                          <a:cxn ang="0">
                            <a:pos x="210" y="152"/>
                          </a:cxn>
                          <a:cxn ang="0">
                            <a:pos x="196" y="160"/>
                          </a:cxn>
                          <a:cxn ang="0">
                            <a:pos x="180" y="152"/>
                          </a:cxn>
                          <a:cxn ang="0">
                            <a:pos x="168" y="154"/>
                          </a:cxn>
                          <a:cxn ang="0">
                            <a:pos x="146" y="164"/>
                          </a:cxn>
                          <a:cxn ang="0">
                            <a:pos x="136" y="172"/>
                          </a:cxn>
                          <a:cxn ang="0">
                            <a:pos x="120" y="172"/>
                          </a:cxn>
                          <a:cxn ang="0">
                            <a:pos x="108" y="172"/>
                          </a:cxn>
                          <a:cxn ang="0">
                            <a:pos x="94" y="172"/>
                          </a:cxn>
                          <a:cxn ang="0">
                            <a:pos x="74" y="164"/>
                          </a:cxn>
                          <a:cxn ang="0">
                            <a:pos x="60" y="160"/>
                          </a:cxn>
                          <a:cxn ang="0">
                            <a:pos x="50" y="154"/>
                          </a:cxn>
                          <a:cxn ang="0">
                            <a:pos x="62" y="132"/>
                          </a:cxn>
                          <a:cxn ang="0">
                            <a:pos x="74" y="120"/>
                          </a:cxn>
                          <a:cxn ang="0">
                            <a:pos x="68" y="100"/>
                          </a:cxn>
                          <a:cxn ang="0">
                            <a:pos x="66" y="96"/>
                          </a:cxn>
                          <a:cxn ang="0">
                            <a:pos x="48" y="82"/>
                          </a:cxn>
                          <a:cxn ang="0">
                            <a:pos x="48" y="76"/>
                          </a:cxn>
                          <a:cxn ang="0">
                            <a:pos x="44" y="72"/>
                          </a:cxn>
                          <a:cxn ang="0">
                            <a:pos x="36" y="66"/>
                          </a:cxn>
                          <a:cxn ang="0">
                            <a:pos x="26" y="66"/>
                          </a:cxn>
                          <a:cxn ang="0">
                            <a:pos x="8" y="62"/>
                          </a:cxn>
                          <a:cxn ang="0">
                            <a:pos x="4" y="56"/>
                          </a:cxn>
                          <a:cxn ang="0">
                            <a:pos x="6" y="52"/>
                          </a:cxn>
                          <a:cxn ang="0">
                            <a:pos x="0" y="46"/>
                          </a:cxn>
                          <a:cxn ang="0">
                            <a:pos x="16" y="44"/>
                          </a:cxn>
                          <a:cxn ang="0">
                            <a:pos x="30" y="44"/>
                          </a:cxn>
                          <a:cxn ang="0">
                            <a:pos x="40" y="44"/>
                          </a:cxn>
                          <a:cxn ang="0">
                            <a:pos x="54" y="46"/>
                          </a:cxn>
                          <a:cxn ang="0">
                            <a:pos x="54" y="34"/>
                          </a:cxn>
                          <a:cxn ang="0">
                            <a:pos x="54" y="24"/>
                          </a:cxn>
                          <a:cxn ang="0">
                            <a:pos x="64" y="30"/>
                          </a:cxn>
                          <a:cxn ang="0">
                            <a:pos x="72" y="32"/>
                          </a:cxn>
                          <a:cxn ang="0">
                            <a:pos x="86" y="30"/>
                          </a:cxn>
                          <a:cxn ang="0">
                            <a:pos x="92" y="22"/>
                          </a:cxn>
                          <a:cxn ang="0">
                            <a:pos x="112" y="14"/>
                          </a:cxn>
                          <a:cxn ang="0">
                            <a:pos x="116" y="4"/>
                          </a:cxn>
                          <a:cxn ang="0">
                            <a:pos x="132" y="4"/>
                          </a:cxn>
                          <a:cxn ang="0">
                            <a:pos x="148" y="10"/>
                          </a:cxn>
                          <a:cxn ang="0">
                            <a:pos x="156" y="18"/>
                          </a:cxn>
                          <a:cxn ang="0">
                            <a:pos x="162" y="16"/>
                          </a:cxn>
                          <a:cxn ang="0">
                            <a:pos x="170" y="28"/>
                          </a:cxn>
                          <a:cxn ang="0">
                            <a:pos x="176" y="26"/>
                          </a:cxn>
                          <a:cxn ang="0">
                            <a:pos x="194" y="30"/>
                          </a:cxn>
                          <a:cxn ang="0">
                            <a:pos x="214" y="38"/>
                          </a:cxn>
                          <a:cxn ang="0">
                            <a:pos x="214" y="56"/>
                          </a:cxn>
                          <a:cxn ang="0">
                            <a:pos x="212" y="68"/>
                          </a:cxn>
                          <a:cxn ang="0">
                            <a:pos x="204" y="70"/>
                          </a:cxn>
                          <a:cxn ang="0">
                            <a:pos x="192" y="80"/>
                          </a:cxn>
                          <a:cxn ang="0">
                            <a:pos x="194" y="94"/>
                          </a:cxn>
                          <a:cxn ang="0">
                            <a:pos x="206" y="98"/>
                          </a:cxn>
                          <a:cxn ang="0">
                            <a:pos x="210" y="110"/>
                          </a:cxn>
                          <a:cxn ang="0">
                            <a:pos x="206" y="118"/>
                          </a:cxn>
                          <a:cxn ang="0">
                            <a:pos x="210" y="132"/>
                          </a:cxn>
                          <a:cxn ang="0">
                            <a:pos x="222" y="140"/>
                          </a:cxn>
                        </a:cxnLst>
                        <a:rect l="0" t="0" r="r" b="b"/>
                        <a:pathLst>
                          <a:path w="222" h="174">
                            <a:moveTo>
                              <a:pt x="220" y="146"/>
                            </a:moveTo>
                            <a:lnTo>
                              <a:pt x="220" y="146"/>
                            </a:lnTo>
                            <a:lnTo>
                              <a:pt x="214" y="148"/>
                            </a:lnTo>
                            <a:lnTo>
                              <a:pt x="214" y="148"/>
                            </a:lnTo>
                            <a:lnTo>
                              <a:pt x="210" y="150"/>
                            </a:lnTo>
                            <a:lnTo>
                              <a:pt x="210" y="152"/>
                            </a:lnTo>
                            <a:lnTo>
                              <a:pt x="210" y="152"/>
                            </a:lnTo>
                            <a:lnTo>
                              <a:pt x="208" y="152"/>
                            </a:lnTo>
                            <a:lnTo>
                              <a:pt x="204" y="156"/>
                            </a:lnTo>
                            <a:lnTo>
                              <a:pt x="204" y="156"/>
                            </a:lnTo>
                            <a:lnTo>
                              <a:pt x="200" y="160"/>
                            </a:lnTo>
                            <a:lnTo>
                              <a:pt x="196" y="160"/>
                            </a:lnTo>
                            <a:lnTo>
                              <a:pt x="196" y="160"/>
                            </a:lnTo>
                            <a:lnTo>
                              <a:pt x="196" y="160"/>
                            </a:lnTo>
                            <a:lnTo>
                              <a:pt x="194" y="160"/>
                            </a:lnTo>
                            <a:lnTo>
                              <a:pt x="190" y="156"/>
                            </a:lnTo>
                            <a:lnTo>
                              <a:pt x="190" y="156"/>
                            </a:lnTo>
                            <a:lnTo>
                              <a:pt x="186" y="154"/>
                            </a:lnTo>
                            <a:lnTo>
                              <a:pt x="182" y="154"/>
                            </a:lnTo>
                            <a:lnTo>
                              <a:pt x="182" y="154"/>
                            </a:lnTo>
                            <a:lnTo>
                              <a:pt x="180" y="152"/>
                            </a:lnTo>
                            <a:lnTo>
                              <a:pt x="180" y="152"/>
                            </a:lnTo>
                            <a:lnTo>
                              <a:pt x="178" y="150"/>
                            </a:lnTo>
                            <a:lnTo>
                              <a:pt x="176" y="150"/>
                            </a:lnTo>
                            <a:lnTo>
                              <a:pt x="176" y="150"/>
                            </a:lnTo>
                            <a:lnTo>
                              <a:pt x="172" y="152"/>
                            </a:lnTo>
                            <a:lnTo>
                              <a:pt x="168" y="154"/>
                            </a:lnTo>
                            <a:lnTo>
                              <a:pt x="168" y="154"/>
                            </a:lnTo>
                            <a:lnTo>
                              <a:pt x="162" y="154"/>
                            </a:lnTo>
                            <a:lnTo>
                              <a:pt x="160" y="154"/>
                            </a:lnTo>
                            <a:lnTo>
                              <a:pt x="160" y="154"/>
                            </a:lnTo>
                            <a:lnTo>
                              <a:pt x="156" y="156"/>
                            </a:lnTo>
                            <a:lnTo>
                              <a:pt x="150" y="162"/>
                            </a:lnTo>
                            <a:lnTo>
                              <a:pt x="150" y="162"/>
                            </a:lnTo>
                            <a:lnTo>
                              <a:pt x="146" y="164"/>
                            </a:lnTo>
                            <a:lnTo>
                              <a:pt x="144" y="168"/>
                            </a:lnTo>
                            <a:lnTo>
                              <a:pt x="144" y="168"/>
                            </a:lnTo>
                            <a:lnTo>
                              <a:pt x="142" y="170"/>
                            </a:lnTo>
                            <a:lnTo>
                              <a:pt x="142" y="172"/>
                            </a:lnTo>
                            <a:lnTo>
                              <a:pt x="142" y="172"/>
                            </a:lnTo>
                            <a:lnTo>
                              <a:pt x="140" y="170"/>
                            </a:lnTo>
                            <a:lnTo>
                              <a:pt x="136" y="172"/>
                            </a:lnTo>
                            <a:lnTo>
                              <a:pt x="136" y="172"/>
                            </a:lnTo>
                            <a:lnTo>
                              <a:pt x="130" y="172"/>
                            </a:lnTo>
                            <a:lnTo>
                              <a:pt x="128" y="172"/>
                            </a:lnTo>
                            <a:lnTo>
                              <a:pt x="126" y="174"/>
                            </a:lnTo>
                            <a:lnTo>
                              <a:pt x="126" y="174"/>
                            </a:lnTo>
                            <a:lnTo>
                              <a:pt x="124" y="174"/>
                            </a:lnTo>
                            <a:lnTo>
                              <a:pt x="120" y="172"/>
                            </a:lnTo>
                            <a:lnTo>
                              <a:pt x="118" y="172"/>
                            </a:lnTo>
                            <a:lnTo>
                              <a:pt x="114" y="174"/>
                            </a:lnTo>
                            <a:lnTo>
                              <a:pt x="114" y="174"/>
                            </a:lnTo>
                            <a:lnTo>
                              <a:pt x="112" y="174"/>
                            </a:lnTo>
                            <a:lnTo>
                              <a:pt x="110" y="174"/>
                            </a:lnTo>
                            <a:lnTo>
                              <a:pt x="108" y="174"/>
                            </a:lnTo>
                            <a:lnTo>
                              <a:pt x="108" y="172"/>
                            </a:lnTo>
                            <a:lnTo>
                              <a:pt x="108" y="172"/>
                            </a:lnTo>
                            <a:lnTo>
                              <a:pt x="106" y="172"/>
                            </a:lnTo>
                            <a:lnTo>
                              <a:pt x="102" y="170"/>
                            </a:lnTo>
                            <a:lnTo>
                              <a:pt x="98" y="168"/>
                            </a:lnTo>
                            <a:lnTo>
                              <a:pt x="96" y="168"/>
                            </a:lnTo>
                            <a:lnTo>
                              <a:pt x="96" y="168"/>
                            </a:lnTo>
                            <a:lnTo>
                              <a:pt x="94" y="172"/>
                            </a:lnTo>
                            <a:lnTo>
                              <a:pt x="94" y="172"/>
                            </a:lnTo>
                            <a:lnTo>
                              <a:pt x="90" y="172"/>
                            </a:lnTo>
                            <a:lnTo>
                              <a:pt x="90" y="172"/>
                            </a:lnTo>
                            <a:lnTo>
                              <a:pt x="86" y="170"/>
                            </a:lnTo>
                            <a:lnTo>
                              <a:pt x="80" y="168"/>
                            </a:lnTo>
                            <a:lnTo>
                              <a:pt x="80" y="168"/>
                            </a:lnTo>
                            <a:lnTo>
                              <a:pt x="74" y="164"/>
                            </a:lnTo>
                            <a:lnTo>
                              <a:pt x="70" y="164"/>
                            </a:lnTo>
                            <a:lnTo>
                              <a:pt x="70" y="164"/>
                            </a:lnTo>
                            <a:lnTo>
                              <a:pt x="66" y="164"/>
                            </a:lnTo>
                            <a:lnTo>
                              <a:pt x="64" y="162"/>
                            </a:lnTo>
                            <a:lnTo>
                              <a:pt x="62" y="160"/>
                            </a:lnTo>
                            <a:lnTo>
                              <a:pt x="60" y="160"/>
                            </a:lnTo>
                            <a:lnTo>
                              <a:pt x="60" y="160"/>
                            </a:lnTo>
                            <a:lnTo>
                              <a:pt x="56" y="160"/>
                            </a:lnTo>
                            <a:lnTo>
                              <a:pt x="56" y="158"/>
                            </a:lnTo>
                            <a:lnTo>
                              <a:pt x="56" y="156"/>
                            </a:lnTo>
                            <a:lnTo>
                              <a:pt x="54" y="156"/>
                            </a:lnTo>
                            <a:lnTo>
                              <a:pt x="54" y="156"/>
                            </a:lnTo>
                            <a:lnTo>
                              <a:pt x="52" y="156"/>
                            </a:lnTo>
                            <a:lnTo>
                              <a:pt x="50" y="154"/>
                            </a:lnTo>
                            <a:lnTo>
                              <a:pt x="50" y="154"/>
                            </a:lnTo>
                            <a:lnTo>
                              <a:pt x="54" y="154"/>
                            </a:lnTo>
                            <a:lnTo>
                              <a:pt x="56" y="150"/>
                            </a:lnTo>
                            <a:lnTo>
                              <a:pt x="56" y="150"/>
                            </a:lnTo>
                            <a:lnTo>
                              <a:pt x="58" y="142"/>
                            </a:lnTo>
                            <a:lnTo>
                              <a:pt x="62" y="132"/>
                            </a:lnTo>
                            <a:lnTo>
                              <a:pt x="62" y="132"/>
                            </a:lnTo>
                            <a:lnTo>
                              <a:pt x="64" y="126"/>
                            </a:lnTo>
                            <a:lnTo>
                              <a:pt x="66" y="116"/>
                            </a:lnTo>
                            <a:lnTo>
                              <a:pt x="66" y="116"/>
                            </a:lnTo>
                            <a:lnTo>
                              <a:pt x="68" y="114"/>
                            </a:lnTo>
                            <a:lnTo>
                              <a:pt x="70" y="114"/>
                            </a:lnTo>
                            <a:lnTo>
                              <a:pt x="74" y="120"/>
                            </a:lnTo>
                            <a:lnTo>
                              <a:pt x="74" y="120"/>
                            </a:lnTo>
                            <a:lnTo>
                              <a:pt x="72" y="114"/>
                            </a:lnTo>
                            <a:lnTo>
                              <a:pt x="70" y="112"/>
                            </a:lnTo>
                            <a:lnTo>
                              <a:pt x="68" y="110"/>
                            </a:lnTo>
                            <a:lnTo>
                              <a:pt x="68" y="106"/>
                            </a:lnTo>
                            <a:lnTo>
                              <a:pt x="68" y="106"/>
                            </a:lnTo>
                            <a:lnTo>
                              <a:pt x="70" y="102"/>
                            </a:lnTo>
                            <a:lnTo>
                              <a:pt x="68" y="100"/>
                            </a:lnTo>
                            <a:lnTo>
                              <a:pt x="68" y="100"/>
                            </a:lnTo>
                            <a:lnTo>
                              <a:pt x="68" y="98"/>
                            </a:lnTo>
                            <a:lnTo>
                              <a:pt x="68" y="96"/>
                            </a:lnTo>
                            <a:lnTo>
                              <a:pt x="70" y="94"/>
                            </a:lnTo>
                            <a:lnTo>
                              <a:pt x="68" y="96"/>
                            </a:lnTo>
                            <a:lnTo>
                              <a:pt x="68" y="96"/>
                            </a:lnTo>
                            <a:lnTo>
                              <a:pt x="66" y="96"/>
                            </a:lnTo>
                            <a:lnTo>
                              <a:pt x="66" y="96"/>
                            </a:lnTo>
                            <a:lnTo>
                              <a:pt x="62" y="92"/>
                            </a:lnTo>
                            <a:lnTo>
                              <a:pt x="62" y="92"/>
                            </a:lnTo>
                            <a:lnTo>
                              <a:pt x="56" y="90"/>
                            </a:lnTo>
                            <a:lnTo>
                              <a:pt x="52" y="88"/>
                            </a:lnTo>
                            <a:lnTo>
                              <a:pt x="52" y="88"/>
                            </a:lnTo>
                            <a:lnTo>
                              <a:pt x="48" y="82"/>
                            </a:lnTo>
                            <a:lnTo>
                              <a:pt x="48" y="82"/>
                            </a:lnTo>
                            <a:lnTo>
                              <a:pt x="48" y="80"/>
                            </a:lnTo>
                            <a:lnTo>
                              <a:pt x="48" y="80"/>
                            </a:lnTo>
                            <a:lnTo>
                              <a:pt x="48" y="78"/>
                            </a:lnTo>
                            <a:lnTo>
                              <a:pt x="48" y="78"/>
                            </a:lnTo>
                            <a:lnTo>
                              <a:pt x="48" y="78"/>
                            </a:lnTo>
                            <a:lnTo>
                              <a:pt x="48" y="76"/>
                            </a:lnTo>
                            <a:lnTo>
                              <a:pt x="48" y="76"/>
                            </a:lnTo>
                            <a:lnTo>
                              <a:pt x="50" y="76"/>
                            </a:lnTo>
                            <a:lnTo>
                              <a:pt x="48" y="74"/>
                            </a:lnTo>
                            <a:lnTo>
                              <a:pt x="48" y="74"/>
                            </a:lnTo>
                            <a:lnTo>
                              <a:pt x="44" y="74"/>
                            </a:lnTo>
                            <a:lnTo>
                              <a:pt x="44" y="72"/>
                            </a:lnTo>
                            <a:lnTo>
                              <a:pt x="44" y="72"/>
                            </a:lnTo>
                            <a:lnTo>
                              <a:pt x="44" y="72"/>
                            </a:lnTo>
                            <a:lnTo>
                              <a:pt x="44" y="70"/>
                            </a:lnTo>
                            <a:lnTo>
                              <a:pt x="44" y="70"/>
                            </a:lnTo>
                            <a:lnTo>
                              <a:pt x="40" y="68"/>
                            </a:lnTo>
                            <a:lnTo>
                              <a:pt x="40" y="68"/>
                            </a:lnTo>
                            <a:lnTo>
                              <a:pt x="38" y="66"/>
                            </a:lnTo>
                            <a:lnTo>
                              <a:pt x="36" y="66"/>
                            </a:lnTo>
                            <a:lnTo>
                              <a:pt x="34" y="66"/>
                            </a:lnTo>
                            <a:lnTo>
                              <a:pt x="34" y="66"/>
                            </a:lnTo>
                            <a:lnTo>
                              <a:pt x="32" y="66"/>
                            </a:lnTo>
                            <a:lnTo>
                              <a:pt x="30" y="68"/>
                            </a:lnTo>
                            <a:lnTo>
                              <a:pt x="28" y="68"/>
                            </a:lnTo>
                            <a:lnTo>
                              <a:pt x="26" y="66"/>
                            </a:lnTo>
                            <a:lnTo>
                              <a:pt x="26" y="66"/>
                            </a:lnTo>
                            <a:lnTo>
                              <a:pt x="24" y="64"/>
                            </a:lnTo>
                            <a:lnTo>
                              <a:pt x="18" y="62"/>
                            </a:lnTo>
                            <a:lnTo>
                              <a:pt x="18" y="62"/>
                            </a:lnTo>
                            <a:lnTo>
                              <a:pt x="16" y="60"/>
                            </a:lnTo>
                            <a:lnTo>
                              <a:pt x="14" y="60"/>
                            </a:lnTo>
                            <a:lnTo>
                              <a:pt x="12" y="62"/>
                            </a:lnTo>
                            <a:lnTo>
                              <a:pt x="8" y="62"/>
                            </a:lnTo>
                            <a:lnTo>
                              <a:pt x="8" y="62"/>
                            </a:lnTo>
                            <a:lnTo>
                              <a:pt x="6" y="60"/>
                            </a:lnTo>
                            <a:lnTo>
                              <a:pt x="6" y="58"/>
                            </a:lnTo>
                            <a:lnTo>
                              <a:pt x="6" y="58"/>
                            </a:lnTo>
                            <a:lnTo>
                              <a:pt x="4" y="56"/>
                            </a:lnTo>
                            <a:lnTo>
                              <a:pt x="4" y="56"/>
                            </a:lnTo>
                            <a:lnTo>
                              <a:pt x="4" y="56"/>
                            </a:lnTo>
                            <a:lnTo>
                              <a:pt x="4" y="54"/>
                            </a:lnTo>
                            <a:lnTo>
                              <a:pt x="8" y="54"/>
                            </a:lnTo>
                            <a:lnTo>
                              <a:pt x="8" y="54"/>
                            </a:lnTo>
                            <a:lnTo>
                              <a:pt x="8" y="54"/>
                            </a:lnTo>
                            <a:lnTo>
                              <a:pt x="8" y="52"/>
                            </a:lnTo>
                            <a:lnTo>
                              <a:pt x="6" y="52"/>
                            </a:lnTo>
                            <a:lnTo>
                              <a:pt x="6" y="52"/>
                            </a:lnTo>
                            <a:lnTo>
                              <a:pt x="6" y="52"/>
                            </a:lnTo>
                            <a:lnTo>
                              <a:pt x="6" y="52"/>
                            </a:lnTo>
                            <a:lnTo>
                              <a:pt x="6" y="50"/>
                            </a:lnTo>
                            <a:lnTo>
                              <a:pt x="0" y="50"/>
                            </a:lnTo>
                            <a:lnTo>
                              <a:pt x="0" y="50"/>
                            </a:lnTo>
                            <a:lnTo>
                              <a:pt x="0" y="48"/>
                            </a:lnTo>
                            <a:lnTo>
                              <a:pt x="0" y="46"/>
                            </a:lnTo>
                            <a:lnTo>
                              <a:pt x="0" y="46"/>
                            </a:lnTo>
                            <a:lnTo>
                              <a:pt x="4" y="46"/>
                            </a:lnTo>
                            <a:lnTo>
                              <a:pt x="8" y="46"/>
                            </a:lnTo>
                            <a:lnTo>
                              <a:pt x="8" y="46"/>
                            </a:lnTo>
                            <a:lnTo>
                              <a:pt x="14" y="44"/>
                            </a:lnTo>
                            <a:lnTo>
                              <a:pt x="16" y="44"/>
                            </a:lnTo>
                            <a:lnTo>
                              <a:pt x="16" y="44"/>
                            </a:lnTo>
                            <a:lnTo>
                              <a:pt x="18" y="42"/>
                            </a:lnTo>
                            <a:lnTo>
                              <a:pt x="22" y="42"/>
                            </a:lnTo>
                            <a:lnTo>
                              <a:pt x="22" y="42"/>
                            </a:lnTo>
                            <a:lnTo>
                              <a:pt x="26" y="40"/>
                            </a:lnTo>
                            <a:lnTo>
                              <a:pt x="28" y="42"/>
                            </a:lnTo>
                            <a:lnTo>
                              <a:pt x="28" y="42"/>
                            </a:lnTo>
                            <a:lnTo>
                              <a:pt x="30" y="44"/>
                            </a:lnTo>
                            <a:lnTo>
                              <a:pt x="30" y="46"/>
                            </a:lnTo>
                            <a:lnTo>
                              <a:pt x="32" y="46"/>
                            </a:lnTo>
                            <a:lnTo>
                              <a:pt x="32" y="46"/>
                            </a:lnTo>
                            <a:lnTo>
                              <a:pt x="36" y="44"/>
                            </a:lnTo>
                            <a:lnTo>
                              <a:pt x="38" y="44"/>
                            </a:lnTo>
                            <a:lnTo>
                              <a:pt x="38" y="44"/>
                            </a:lnTo>
                            <a:lnTo>
                              <a:pt x="40" y="44"/>
                            </a:lnTo>
                            <a:lnTo>
                              <a:pt x="44" y="44"/>
                            </a:lnTo>
                            <a:lnTo>
                              <a:pt x="44" y="44"/>
                            </a:lnTo>
                            <a:lnTo>
                              <a:pt x="48" y="46"/>
                            </a:lnTo>
                            <a:lnTo>
                              <a:pt x="52" y="46"/>
                            </a:lnTo>
                            <a:lnTo>
                              <a:pt x="52" y="46"/>
                            </a:lnTo>
                            <a:lnTo>
                              <a:pt x="54" y="46"/>
                            </a:lnTo>
                            <a:lnTo>
                              <a:pt x="54" y="46"/>
                            </a:lnTo>
                            <a:lnTo>
                              <a:pt x="52" y="44"/>
                            </a:lnTo>
                            <a:lnTo>
                              <a:pt x="52" y="42"/>
                            </a:lnTo>
                            <a:lnTo>
                              <a:pt x="52" y="42"/>
                            </a:lnTo>
                            <a:lnTo>
                              <a:pt x="54" y="40"/>
                            </a:lnTo>
                            <a:lnTo>
                              <a:pt x="54" y="36"/>
                            </a:lnTo>
                            <a:lnTo>
                              <a:pt x="54" y="36"/>
                            </a:lnTo>
                            <a:lnTo>
                              <a:pt x="54" y="34"/>
                            </a:lnTo>
                            <a:lnTo>
                              <a:pt x="52" y="30"/>
                            </a:lnTo>
                            <a:lnTo>
                              <a:pt x="52" y="30"/>
                            </a:lnTo>
                            <a:lnTo>
                              <a:pt x="50" y="24"/>
                            </a:lnTo>
                            <a:lnTo>
                              <a:pt x="50" y="24"/>
                            </a:lnTo>
                            <a:lnTo>
                              <a:pt x="50" y="24"/>
                            </a:lnTo>
                            <a:lnTo>
                              <a:pt x="52" y="22"/>
                            </a:lnTo>
                            <a:lnTo>
                              <a:pt x="54" y="24"/>
                            </a:lnTo>
                            <a:lnTo>
                              <a:pt x="54" y="24"/>
                            </a:lnTo>
                            <a:lnTo>
                              <a:pt x="58" y="24"/>
                            </a:lnTo>
                            <a:lnTo>
                              <a:pt x="60" y="24"/>
                            </a:lnTo>
                            <a:lnTo>
                              <a:pt x="60" y="24"/>
                            </a:lnTo>
                            <a:lnTo>
                              <a:pt x="60" y="24"/>
                            </a:lnTo>
                            <a:lnTo>
                              <a:pt x="62" y="28"/>
                            </a:lnTo>
                            <a:lnTo>
                              <a:pt x="64" y="30"/>
                            </a:lnTo>
                            <a:lnTo>
                              <a:pt x="64" y="30"/>
                            </a:lnTo>
                            <a:lnTo>
                              <a:pt x="64" y="34"/>
                            </a:lnTo>
                            <a:lnTo>
                              <a:pt x="66" y="34"/>
                            </a:lnTo>
                            <a:lnTo>
                              <a:pt x="68" y="34"/>
                            </a:lnTo>
                            <a:lnTo>
                              <a:pt x="68" y="34"/>
                            </a:lnTo>
                            <a:lnTo>
                              <a:pt x="70" y="32"/>
                            </a:lnTo>
                            <a:lnTo>
                              <a:pt x="72" y="32"/>
                            </a:lnTo>
                            <a:lnTo>
                              <a:pt x="72" y="32"/>
                            </a:lnTo>
                            <a:lnTo>
                              <a:pt x="74" y="32"/>
                            </a:lnTo>
                            <a:lnTo>
                              <a:pt x="76" y="32"/>
                            </a:lnTo>
                            <a:lnTo>
                              <a:pt x="78" y="30"/>
                            </a:lnTo>
                            <a:lnTo>
                              <a:pt x="82" y="30"/>
                            </a:lnTo>
                            <a:lnTo>
                              <a:pt x="82" y="30"/>
                            </a:lnTo>
                            <a:lnTo>
                              <a:pt x="86" y="30"/>
                            </a:lnTo>
                            <a:lnTo>
                              <a:pt x="84" y="28"/>
                            </a:lnTo>
                            <a:lnTo>
                              <a:pt x="84" y="28"/>
                            </a:lnTo>
                            <a:lnTo>
                              <a:pt x="84" y="26"/>
                            </a:lnTo>
                            <a:lnTo>
                              <a:pt x="86" y="24"/>
                            </a:lnTo>
                            <a:lnTo>
                              <a:pt x="86" y="24"/>
                            </a:lnTo>
                            <a:lnTo>
                              <a:pt x="88" y="24"/>
                            </a:lnTo>
                            <a:lnTo>
                              <a:pt x="92" y="22"/>
                            </a:lnTo>
                            <a:lnTo>
                              <a:pt x="92" y="22"/>
                            </a:lnTo>
                            <a:lnTo>
                              <a:pt x="100" y="20"/>
                            </a:lnTo>
                            <a:lnTo>
                              <a:pt x="100" y="20"/>
                            </a:lnTo>
                            <a:lnTo>
                              <a:pt x="108" y="18"/>
                            </a:lnTo>
                            <a:lnTo>
                              <a:pt x="110" y="18"/>
                            </a:lnTo>
                            <a:lnTo>
                              <a:pt x="112" y="14"/>
                            </a:lnTo>
                            <a:lnTo>
                              <a:pt x="112" y="14"/>
                            </a:lnTo>
                            <a:lnTo>
                              <a:pt x="112" y="12"/>
                            </a:lnTo>
                            <a:lnTo>
                              <a:pt x="112" y="10"/>
                            </a:lnTo>
                            <a:lnTo>
                              <a:pt x="112" y="10"/>
                            </a:lnTo>
                            <a:lnTo>
                              <a:pt x="114" y="8"/>
                            </a:lnTo>
                            <a:lnTo>
                              <a:pt x="116" y="6"/>
                            </a:lnTo>
                            <a:lnTo>
                              <a:pt x="116" y="6"/>
                            </a:lnTo>
                            <a:lnTo>
                              <a:pt x="116" y="4"/>
                            </a:lnTo>
                            <a:lnTo>
                              <a:pt x="116" y="2"/>
                            </a:lnTo>
                            <a:lnTo>
                              <a:pt x="118" y="2"/>
                            </a:lnTo>
                            <a:lnTo>
                              <a:pt x="118" y="2"/>
                            </a:lnTo>
                            <a:lnTo>
                              <a:pt x="128" y="0"/>
                            </a:lnTo>
                            <a:lnTo>
                              <a:pt x="128" y="0"/>
                            </a:lnTo>
                            <a:lnTo>
                              <a:pt x="130" y="2"/>
                            </a:lnTo>
                            <a:lnTo>
                              <a:pt x="132" y="4"/>
                            </a:lnTo>
                            <a:lnTo>
                              <a:pt x="136" y="4"/>
                            </a:lnTo>
                            <a:lnTo>
                              <a:pt x="136" y="4"/>
                            </a:lnTo>
                            <a:lnTo>
                              <a:pt x="140" y="6"/>
                            </a:lnTo>
                            <a:lnTo>
                              <a:pt x="142" y="8"/>
                            </a:lnTo>
                            <a:lnTo>
                              <a:pt x="142" y="8"/>
                            </a:lnTo>
                            <a:lnTo>
                              <a:pt x="146" y="10"/>
                            </a:lnTo>
                            <a:lnTo>
                              <a:pt x="148" y="10"/>
                            </a:lnTo>
                            <a:lnTo>
                              <a:pt x="148" y="10"/>
                            </a:lnTo>
                            <a:lnTo>
                              <a:pt x="152" y="12"/>
                            </a:lnTo>
                            <a:lnTo>
                              <a:pt x="152" y="16"/>
                            </a:lnTo>
                            <a:lnTo>
                              <a:pt x="152" y="16"/>
                            </a:lnTo>
                            <a:lnTo>
                              <a:pt x="152" y="18"/>
                            </a:lnTo>
                            <a:lnTo>
                              <a:pt x="156" y="18"/>
                            </a:lnTo>
                            <a:lnTo>
                              <a:pt x="156" y="18"/>
                            </a:lnTo>
                            <a:lnTo>
                              <a:pt x="158" y="18"/>
                            </a:lnTo>
                            <a:lnTo>
                              <a:pt x="160" y="14"/>
                            </a:lnTo>
                            <a:lnTo>
                              <a:pt x="160" y="14"/>
                            </a:lnTo>
                            <a:lnTo>
                              <a:pt x="162" y="14"/>
                            </a:lnTo>
                            <a:lnTo>
                              <a:pt x="162" y="14"/>
                            </a:lnTo>
                            <a:lnTo>
                              <a:pt x="162" y="16"/>
                            </a:lnTo>
                            <a:lnTo>
                              <a:pt x="162" y="16"/>
                            </a:lnTo>
                            <a:lnTo>
                              <a:pt x="162" y="20"/>
                            </a:lnTo>
                            <a:lnTo>
                              <a:pt x="162" y="22"/>
                            </a:lnTo>
                            <a:lnTo>
                              <a:pt x="164" y="24"/>
                            </a:lnTo>
                            <a:lnTo>
                              <a:pt x="164" y="24"/>
                            </a:lnTo>
                            <a:lnTo>
                              <a:pt x="166" y="24"/>
                            </a:lnTo>
                            <a:lnTo>
                              <a:pt x="168" y="26"/>
                            </a:lnTo>
                            <a:lnTo>
                              <a:pt x="170" y="28"/>
                            </a:lnTo>
                            <a:lnTo>
                              <a:pt x="170" y="28"/>
                            </a:lnTo>
                            <a:lnTo>
                              <a:pt x="170" y="28"/>
                            </a:lnTo>
                            <a:lnTo>
                              <a:pt x="172" y="28"/>
                            </a:lnTo>
                            <a:lnTo>
                              <a:pt x="172" y="28"/>
                            </a:lnTo>
                            <a:lnTo>
                              <a:pt x="174" y="26"/>
                            </a:lnTo>
                            <a:lnTo>
                              <a:pt x="174" y="26"/>
                            </a:lnTo>
                            <a:lnTo>
                              <a:pt x="176" y="26"/>
                            </a:lnTo>
                            <a:lnTo>
                              <a:pt x="176" y="26"/>
                            </a:lnTo>
                            <a:lnTo>
                              <a:pt x="178" y="26"/>
                            </a:lnTo>
                            <a:lnTo>
                              <a:pt x="180" y="28"/>
                            </a:lnTo>
                            <a:lnTo>
                              <a:pt x="180" y="28"/>
                            </a:lnTo>
                            <a:lnTo>
                              <a:pt x="188" y="28"/>
                            </a:lnTo>
                            <a:lnTo>
                              <a:pt x="188" y="28"/>
                            </a:lnTo>
                            <a:lnTo>
                              <a:pt x="194" y="30"/>
                            </a:lnTo>
                            <a:lnTo>
                              <a:pt x="194" y="30"/>
                            </a:lnTo>
                            <a:lnTo>
                              <a:pt x="198" y="34"/>
                            </a:lnTo>
                            <a:lnTo>
                              <a:pt x="200" y="36"/>
                            </a:lnTo>
                            <a:lnTo>
                              <a:pt x="202" y="36"/>
                            </a:lnTo>
                            <a:lnTo>
                              <a:pt x="202" y="36"/>
                            </a:lnTo>
                            <a:lnTo>
                              <a:pt x="208" y="36"/>
                            </a:lnTo>
                            <a:lnTo>
                              <a:pt x="214" y="38"/>
                            </a:lnTo>
                            <a:lnTo>
                              <a:pt x="214" y="38"/>
                            </a:lnTo>
                            <a:lnTo>
                              <a:pt x="220" y="40"/>
                            </a:lnTo>
                            <a:lnTo>
                              <a:pt x="220" y="40"/>
                            </a:lnTo>
                            <a:lnTo>
                              <a:pt x="220" y="42"/>
                            </a:lnTo>
                            <a:lnTo>
                              <a:pt x="220" y="42"/>
                            </a:lnTo>
                            <a:lnTo>
                              <a:pt x="216" y="48"/>
                            </a:lnTo>
                            <a:lnTo>
                              <a:pt x="214" y="56"/>
                            </a:lnTo>
                            <a:lnTo>
                              <a:pt x="214" y="56"/>
                            </a:lnTo>
                            <a:lnTo>
                              <a:pt x="212" y="60"/>
                            </a:lnTo>
                            <a:lnTo>
                              <a:pt x="212" y="64"/>
                            </a:lnTo>
                            <a:lnTo>
                              <a:pt x="212" y="64"/>
                            </a:lnTo>
                            <a:lnTo>
                              <a:pt x="214" y="66"/>
                            </a:lnTo>
                            <a:lnTo>
                              <a:pt x="214" y="66"/>
                            </a:lnTo>
                            <a:lnTo>
                              <a:pt x="212" y="68"/>
                            </a:lnTo>
                            <a:lnTo>
                              <a:pt x="210" y="68"/>
                            </a:lnTo>
                            <a:lnTo>
                              <a:pt x="210" y="68"/>
                            </a:lnTo>
                            <a:lnTo>
                              <a:pt x="206" y="68"/>
                            </a:lnTo>
                            <a:lnTo>
                              <a:pt x="204" y="68"/>
                            </a:lnTo>
                            <a:lnTo>
                              <a:pt x="202" y="70"/>
                            </a:lnTo>
                            <a:lnTo>
                              <a:pt x="204" y="70"/>
                            </a:lnTo>
                            <a:lnTo>
                              <a:pt x="204" y="70"/>
                            </a:lnTo>
                            <a:lnTo>
                              <a:pt x="204" y="72"/>
                            </a:lnTo>
                            <a:lnTo>
                              <a:pt x="204" y="72"/>
                            </a:lnTo>
                            <a:lnTo>
                              <a:pt x="202" y="74"/>
                            </a:lnTo>
                            <a:lnTo>
                              <a:pt x="202" y="74"/>
                            </a:lnTo>
                            <a:lnTo>
                              <a:pt x="196" y="78"/>
                            </a:lnTo>
                            <a:lnTo>
                              <a:pt x="194" y="78"/>
                            </a:lnTo>
                            <a:lnTo>
                              <a:pt x="192" y="80"/>
                            </a:lnTo>
                            <a:lnTo>
                              <a:pt x="192" y="80"/>
                            </a:lnTo>
                            <a:lnTo>
                              <a:pt x="190" y="88"/>
                            </a:lnTo>
                            <a:lnTo>
                              <a:pt x="188" y="96"/>
                            </a:lnTo>
                            <a:lnTo>
                              <a:pt x="188" y="96"/>
                            </a:lnTo>
                            <a:lnTo>
                              <a:pt x="190" y="98"/>
                            </a:lnTo>
                            <a:lnTo>
                              <a:pt x="190" y="96"/>
                            </a:lnTo>
                            <a:lnTo>
                              <a:pt x="194" y="94"/>
                            </a:lnTo>
                            <a:lnTo>
                              <a:pt x="194" y="94"/>
                            </a:lnTo>
                            <a:lnTo>
                              <a:pt x="198" y="92"/>
                            </a:lnTo>
                            <a:lnTo>
                              <a:pt x="200" y="92"/>
                            </a:lnTo>
                            <a:lnTo>
                              <a:pt x="202" y="92"/>
                            </a:lnTo>
                            <a:lnTo>
                              <a:pt x="202" y="92"/>
                            </a:lnTo>
                            <a:lnTo>
                              <a:pt x="204" y="94"/>
                            </a:lnTo>
                            <a:lnTo>
                              <a:pt x="206" y="98"/>
                            </a:lnTo>
                            <a:lnTo>
                              <a:pt x="206" y="98"/>
                            </a:lnTo>
                            <a:lnTo>
                              <a:pt x="206" y="100"/>
                            </a:lnTo>
                            <a:lnTo>
                              <a:pt x="208" y="102"/>
                            </a:lnTo>
                            <a:lnTo>
                              <a:pt x="208" y="102"/>
                            </a:lnTo>
                            <a:lnTo>
                              <a:pt x="208" y="106"/>
                            </a:lnTo>
                            <a:lnTo>
                              <a:pt x="210" y="110"/>
                            </a:lnTo>
                            <a:lnTo>
                              <a:pt x="210" y="110"/>
                            </a:lnTo>
                            <a:lnTo>
                              <a:pt x="210" y="110"/>
                            </a:lnTo>
                            <a:lnTo>
                              <a:pt x="212" y="110"/>
                            </a:lnTo>
                            <a:lnTo>
                              <a:pt x="212" y="112"/>
                            </a:lnTo>
                            <a:lnTo>
                              <a:pt x="212" y="112"/>
                            </a:lnTo>
                            <a:lnTo>
                              <a:pt x="212" y="112"/>
                            </a:lnTo>
                            <a:lnTo>
                              <a:pt x="206" y="118"/>
                            </a:lnTo>
                            <a:lnTo>
                              <a:pt x="206" y="118"/>
                            </a:lnTo>
                            <a:lnTo>
                              <a:pt x="206" y="120"/>
                            </a:lnTo>
                            <a:lnTo>
                              <a:pt x="208" y="120"/>
                            </a:lnTo>
                            <a:lnTo>
                              <a:pt x="212" y="122"/>
                            </a:lnTo>
                            <a:lnTo>
                              <a:pt x="212" y="124"/>
                            </a:lnTo>
                            <a:lnTo>
                              <a:pt x="212" y="124"/>
                            </a:lnTo>
                            <a:lnTo>
                              <a:pt x="210" y="128"/>
                            </a:lnTo>
                            <a:lnTo>
                              <a:pt x="210" y="132"/>
                            </a:lnTo>
                            <a:lnTo>
                              <a:pt x="210" y="132"/>
                            </a:lnTo>
                            <a:lnTo>
                              <a:pt x="212" y="138"/>
                            </a:lnTo>
                            <a:lnTo>
                              <a:pt x="212" y="138"/>
                            </a:lnTo>
                            <a:lnTo>
                              <a:pt x="214" y="140"/>
                            </a:lnTo>
                            <a:lnTo>
                              <a:pt x="214" y="140"/>
                            </a:lnTo>
                            <a:lnTo>
                              <a:pt x="220" y="140"/>
                            </a:lnTo>
                            <a:lnTo>
                              <a:pt x="222" y="140"/>
                            </a:lnTo>
                            <a:lnTo>
                              <a:pt x="222" y="142"/>
                            </a:lnTo>
                            <a:lnTo>
                              <a:pt x="222" y="142"/>
                            </a:lnTo>
                            <a:lnTo>
                              <a:pt x="220" y="146"/>
                            </a:lnTo>
                            <a:lnTo>
                              <a:pt x="220" y="146"/>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8" name="Germany"/>
                      <p:cNvSpPr>
                        <a:spLocks/>
                      </p:cNvSpPr>
                      <p:nvPr/>
                    </p:nvSpPr>
                    <p:spPr bwMode="auto">
                      <a:xfrm>
                        <a:off x="5942421" y="1741723"/>
                        <a:ext cx="243012" cy="218508"/>
                      </a:xfrm>
                      <a:custGeom>
                        <a:avLst/>
                        <a:gdLst/>
                        <a:ahLst/>
                        <a:cxnLst>
                          <a:cxn ang="0">
                            <a:pos x="48" y="0"/>
                          </a:cxn>
                          <a:cxn ang="0">
                            <a:pos x="50" y="6"/>
                          </a:cxn>
                          <a:cxn ang="0">
                            <a:pos x="46" y="8"/>
                          </a:cxn>
                          <a:cxn ang="0">
                            <a:pos x="50" y="10"/>
                          </a:cxn>
                          <a:cxn ang="0">
                            <a:pos x="52" y="14"/>
                          </a:cxn>
                          <a:cxn ang="0">
                            <a:pos x="60" y="18"/>
                          </a:cxn>
                          <a:cxn ang="0">
                            <a:pos x="58" y="18"/>
                          </a:cxn>
                          <a:cxn ang="0">
                            <a:pos x="48" y="18"/>
                          </a:cxn>
                          <a:cxn ang="0">
                            <a:pos x="46" y="26"/>
                          </a:cxn>
                          <a:cxn ang="0">
                            <a:pos x="40" y="28"/>
                          </a:cxn>
                          <a:cxn ang="0">
                            <a:pos x="38" y="26"/>
                          </a:cxn>
                          <a:cxn ang="0">
                            <a:pos x="36" y="22"/>
                          </a:cxn>
                          <a:cxn ang="0">
                            <a:pos x="22" y="28"/>
                          </a:cxn>
                          <a:cxn ang="0">
                            <a:pos x="18" y="34"/>
                          </a:cxn>
                          <a:cxn ang="0">
                            <a:pos x="18" y="36"/>
                          </a:cxn>
                          <a:cxn ang="0">
                            <a:pos x="16" y="48"/>
                          </a:cxn>
                          <a:cxn ang="0">
                            <a:pos x="14" y="54"/>
                          </a:cxn>
                          <a:cxn ang="0">
                            <a:pos x="2" y="60"/>
                          </a:cxn>
                          <a:cxn ang="0">
                            <a:pos x="0" y="70"/>
                          </a:cxn>
                          <a:cxn ang="0">
                            <a:pos x="0" y="76"/>
                          </a:cxn>
                          <a:cxn ang="0">
                            <a:pos x="0" y="84"/>
                          </a:cxn>
                          <a:cxn ang="0">
                            <a:pos x="4" y="100"/>
                          </a:cxn>
                          <a:cxn ang="0">
                            <a:pos x="16" y="108"/>
                          </a:cxn>
                          <a:cxn ang="0">
                            <a:pos x="30" y="110"/>
                          </a:cxn>
                          <a:cxn ang="0">
                            <a:pos x="32" y="120"/>
                          </a:cxn>
                          <a:cxn ang="0">
                            <a:pos x="28" y="136"/>
                          </a:cxn>
                          <a:cxn ang="0">
                            <a:pos x="42" y="140"/>
                          </a:cxn>
                          <a:cxn ang="0">
                            <a:pos x="48" y="138"/>
                          </a:cxn>
                          <a:cxn ang="0">
                            <a:pos x="68" y="140"/>
                          </a:cxn>
                          <a:cxn ang="0">
                            <a:pos x="88" y="144"/>
                          </a:cxn>
                          <a:cxn ang="0">
                            <a:pos x="94" y="140"/>
                          </a:cxn>
                          <a:cxn ang="0">
                            <a:pos x="104" y="140"/>
                          </a:cxn>
                          <a:cxn ang="0">
                            <a:pos x="114" y="138"/>
                          </a:cxn>
                          <a:cxn ang="0">
                            <a:pos x="122" y="134"/>
                          </a:cxn>
                          <a:cxn ang="0">
                            <a:pos x="126" y="134"/>
                          </a:cxn>
                          <a:cxn ang="0">
                            <a:pos x="132" y="136"/>
                          </a:cxn>
                          <a:cxn ang="0">
                            <a:pos x="132" y="130"/>
                          </a:cxn>
                          <a:cxn ang="0">
                            <a:pos x="132" y="126"/>
                          </a:cxn>
                          <a:cxn ang="0">
                            <a:pos x="138" y="120"/>
                          </a:cxn>
                          <a:cxn ang="0">
                            <a:pos x="144" y="114"/>
                          </a:cxn>
                          <a:cxn ang="0">
                            <a:pos x="128" y="100"/>
                          </a:cxn>
                          <a:cxn ang="0">
                            <a:pos x="116" y="88"/>
                          </a:cxn>
                          <a:cxn ang="0">
                            <a:pos x="124" y="82"/>
                          </a:cxn>
                          <a:cxn ang="0">
                            <a:pos x="146" y="72"/>
                          </a:cxn>
                          <a:cxn ang="0">
                            <a:pos x="156" y="74"/>
                          </a:cxn>
                          <a:cxn ang="0">
                            <a:pos x="160" y="68"/>
                          </a:cxn>
                          <a:cxn ang="0">
                            <a:pos x="154" y="42"/>
                          </a:cxn>
                          <a:cxn ang="0">
                            <a:pos x="148" y="38"/>
                          </a:cxn>
                          <a:cxn ang="0">
                            <a:pos x="142" y="32"/>
                          </a:cxn>
                          <a:cxn ang="0">
                            <a:pos x="146" y="22"/>
                          </a:cxn>
                          <a:cxn ang="0">
                            <a:pos x="140" y="14"/>
                          </a:cxn>
                          <a:cxn ang="0">
                            <a:pos x="136" y="8"/>
                          </a:cxn>
                          <a:cxn ang="0">
                            <a:pos x="130" y="12"/>
                          </a:cxn>
                          <a:cxn ang="0">
                            <a:pos x="118" y="14"/>
                          </a:cxn>
                          <a:cxn ang="0">
                            <a:pos x="122" y="10"/>
                          </a:cxn>
                          <a:cxn ang="0">
                            <a:pos x="110" y="14"/>
                          </a:cxn>
                          <a:cxn ang="0">
                            <a:pos x="98" y="14"/>
                          </a:cxn>
                          <a:cxn ang="0">
                            <a:pos x="86" y="14"/>
                          </a:cxn>
                          <a:cxn ang="0">
                            <a:pos x="78" y="12"/>
                          </a:cxn>
                          <a:cxn ang="0">
                            <a:pos x="76" y="8"/>
                          </a:cxn>
                          <a:cxn ang="0">
                            <a:pos x="68" y="8"/>
                          </a:cxn>
                          <a:cxn ang="0">
                            <a:pos x="62" y="2"/>
                          </a:cxn>
                        </a:cxnLst>
                        <a:rect l="0" t="0" r="r" b="b"/>
                        <a:pathLst>
                          <a:path w="160" h="144">
                            <a:moveTo>
                              <a:pt x="60" y="0"/>
                            </a:moveTo>
                            <a:lnTo>
                              <a:pt x="60" y="0"/>
                            </a:lnTo>
                            <a:lnTo>
                              <a:pt x="56" y="2"/>
                            </a:lnTo>
                            <a:lnTo>
                              <a:pt x="52" y="0"/>
                            </a:lnTo>
                            <a:lnTo>
                              <a:pt x="48" y="0"/>
                            </a:lnTo>
                            <a:lnTo>
                              <a:pt x="44" y="0"/>
                            </a:lnTo>
                            <a:lnTo>
                              <a:pt x="44" y="0"/>
                            </a:lnTo>
                            <a:lnTo>
                              <a:pt x="48" y="6"/>
                            </a:lnTo>
                            <a:lnTo>
                              <a:pt x="48" y="6"/>
                            </a:lnTo>
                            <a:lnTo>
                              <a:pt x="50" y="6"/>
                            </a:lnTo>
                            <a:lnTo>
                              <a:pt x="48" y="6"/>
                            </a:lnTo>
                            <a:lnTo>
                              <a:pt x="48" y="6"/>
                            </a:lnTo>
                            <a:lnTo>
                              <a:pt x="46" y="8"/>
                            </a:lnTo>
                            <a:lnTo>
                              <a:pt x="46" y="8"/>
                            </a:lnTo>
                            <a:lnTo>
                              <a:pt x="46" y="8"/>
                            </a:lnTo>
                            <a:lnTo>
                              <a:pt x="48" y="8"/>
                            </a:lnTo>
                            <a:lnTo>
                              <a:pt x="50" y="8"/>
                            </a:lnTo>
                            <a:lnTo>
                              <a:pt x="50" y="10"/>
                            </a:lnTo>
                            <a:lnTo>
                              <a:pt x="50" y="10"/>
                            </a:lnTo>
                            <a:lnTo>
                              <a:pt x="50" y="10"/>
                            </a:lnTo>
                            <a:lnTo>
                              <a:pt x="52" y="12"/>
                            </a:lnTo>
                            <a:lnTo>
                              <a:pt x="52" y="12"/>
                            </a:lnTo>
                            <a:lnTo>
                              <a:pt x="54" y="12"/>
                            </a:lnTo>
                            <a:lnTo>
                              <a:pt x="54" y="12"/>
                            </a:lnTo>
                            <a:lnTo>
                              <a:pt x="52" y="14"/>
                            </a:lnTo>
                            <a:lnTo>
                              <a:pt x="52" y="14"/>
                            </a:lnTo>
                            <a:lnTo>
                              <a:pt x="54" y="16"/>
                            </a:lnTo>
                            <a:lnTo>
                              <a:pt x="56" y="16"/>
                            </a:lnTo>
                            <a:lnTo>
                              <a:pt x="56" y="16"/>
                            </a:lnTo>
                            <a:lnTo>
                              <a:pt x="60" y="18"/>
                            </a:lnTo>
                            <a:lnTo>
                              <a:pt x="64" y="22"/>
                            </a:lnTo>
                            <a:lnTo>
                              <a:pt x="64" y="22"/>
                            </a:lnTo>
                            <a:lnTo>
                              <a:pt x="60" y="20"/>
                            </a:lnTo>
                            <a:lnTo>
                              <a:pt x="58" y="18"/>
                            </a:lnTo>
                            <a:lnTo>
                              <a:pt x="58" y="18"/>
                            </a:lnTo>
                            <a:lnTo>
                              <a:pt x="54" y="18"/>
                            </a:lnTo>
                            <a:lnTo>
                              <a:pt x="50" y="16"/>
                            </a:lnTo>
                            <a:lnTo>
                              <a:pt x="50" y="16"/>
                            </a:lnTo>
                            <a:lnTo>
                              <a:pt x="48" y="16"/>
                            </a:lnTo>
                            <a:lnTo>
                              <a:pt x="48" y="18"/>
                            </a:lnTo>
                            <a:lnTo>
                              <a:pt x="46" y="22"/>
                            </a:lnTo>
                            <a:lnTo>
                              <a:pt x="46" y="22"/>
                            </a:lnTo>
                            <a:lnTo>
                              <a:pt x="46" y="24"/>
                            </a:lnTo>
                            <a:lnTo>
                              <a:pt x="46" y="26"/>
                            </a:lnTo>
                            <a:lnTo>
                              <a:pt x="46" y="26"/>
                            </a:lnTo>
                            <a:lnTo>
                              <a:pt x="44" y="24"/>
                            </a:lnTo>
                            <a:lnTo>
                              <a:pt x="40" y="26"/>
                            </a:lnTo>
                            <a:lnTo>
                              <a:pt x="40" y="26"/>
                            </a:lnTo>
                            <a:lnTo>
                              <a:pt x="40" y="26"/>
                            </a:lnTo>
                            <a:lnTo>
                              <a:pt x="40" y="28"/>
                            </a:lnTo>
                            <a:lnTo>
                              <a:pt x="40" y="28"/>
                            </a:lnTo>
                            <a:lnTo>
                              <a:pt x="38" y="28"/>
                            </a:lnTo>
                            <a:lnTo>
                              <a:pt x="38" y="26"/>
                            </a:lnTo>
                            <a:lnTo>
                              <a:pt x="38" y="26"/>
                            </a:lnTo>
                            <a:lnTo>
                              <a:pt x="38" y="26"/>
                            </a:lnTo>
                            <a:lnTo>
                              <a:pt x="38" y="26"/>
                            </a:lnTo>
                            <a:lnTo>
                              <a:pt x="38" y="26"/>
                            </a:lnTo>
                            <a:lnTo>
                              <a:pt x="38" y="24"/>
                            </a:lnTo>
                            <a:lnTo>
                              <a:pt x="38" y="24"/>
                            </a:lnTo>
                            <a:lnTo>
                              <a:pt x="36" y="22"/>
                            </a:lnTo>
                            <a:lnTo>
                              <a:pt x="30" y="24"/>
                            </a:lnTo>
                            <a:lnTo>
                              <a:pt x="30" y="24"/>
                            </a:lnTo>
                            <a:lnTo>
                              <a:pt x="28" y="24"/>
                            </a:lnTo>
                            <a:lnTo>
                              <a:pt x="22" y="28"/>
                            </a:lnTo>
                            <a:lnTo>
                              <a:pt x="22" y="28"/>
                            </a:lnTo>
                            <a:lnTo>
                              <a:pt x="20" y="30"/>
                            </a:lnTo>
                            <a:lnTo>
                              <a:pt x="18" y="30"/>
                            </a:lnTo>
                            <a:lnTo>
                              <a:pt x="18" y="30"/>
                            </a:lnTo>
                            <a:lnTo>
                              <a:pt x="18" y="32"/>
                            </a:lnTo>
                            <a:lnTo>
                              <a:pt x="18" y="34"/>
                            </a:lnTo>
                            <a:lnTo>
                              <a:pt x="18" y="32"/>
                            </a:lnTo>
                            <a:lnTo>
                              <a:pt x="18" y="32"/>
                            </a:lnTo>
                            <a:lnTo>
                              <a:pt x="16" y="34"/>
                            </a:lnTo>
                            <a:lnTo>
                              <a:pt x="18" y="34"/>
                            </a:lnTo>
                            <a:lnTo>
                              <a:pt x="18" y="36"/>
                            </a:lnTo>
                            <a:lnTo>
                              <a:pt x="16" y="38"/>
                            </a:lnTo>
                            <a:lnTo>
                              <a:pt x="16" y="38"/>
                            </a:lnTo>
                            <a:lnTo>
                              <a:pt x="14" y="44"/>
                            </a:lnTo>
                            <a:lnTo>
                              <a:pt x="14" y="46"/>
                            </a:lnTo>
                            <a:lnTo>
                              <a:pt x="16" y="48"/>
                            </a:lnTo>
                            <a:lnTo>
                              <a:pt x="16" y="48"/>
                            </a:lnTo>
                            <a:lnTo>
                              <a:pt x="18" y="48"/>
                            </a:lnTo>
                            <a:lnTo>
                              <a:pt x="18" y="50"/>
                            </a:lnTo>
                            <a:lnTo>
                              <a:pt x="14" y="54"/>
                            </a:lnTo>
                            <a:lnTo>
                              <a:pt x="14" y="54"/>
                            </a:lnTo>
                            <a:lnTo>
                              <a:pt x="10" y="56"/>
                            </a:lnTo>
                            <a:lnTo>
                              <a:pt x="4" y="56"/>
                            </a:lnTo>
                            <a:lnTo>
                              <a:pt x="4" y="56"/>
                            </a:lnTo>
                            <a:lnTo>
                              <a:pt x="2" y="58"/>
                            </a:lnTo>
                            <a:lnTo>
                              <a:pt x="2" y="60"/>
                            </a:lnTo>
                            <a:lnTo>
                              <a:pt x="2" y="60"/>
                            </a:lnTo>
                            <a:lnTo>
                              <a:pt x="2" y="62"/>
                            </a:lnTo>
                            <a:lnTo>
                              <a:pt x="2" y="66"/>
                            </a:lnTo>
                            <a:lnTo>
                              <a:pt x="0" y="68"/>
                            </a:lnTo>
                            <a:lnTo>
                              <a:pt x="0" y="70"/>
                            </a:lnTo>
                            <a:lnTo>
                              <a:pt x="0" y="70"/>
                            </a:lnTo>
                            <a:lnTo>
                              <a:pt x="2" y="72"/>
                            </a:lnTo>
                            <a:lnTo>
                              <a:pt x="0" y="72"/>
                            </a:lnTo>
                            <a:lnTo>
                              <a:pt x="0" y="74"/>
                            </a:lnTo>
                            <a:lnTo>
                              <a:pt x="0" y="76"/>
                            </a:lnTo>
                            <a:lnTo>
                              <a:pt x="0" y="76"/>
                            </a:lnTo>
                            <a:lnTo>
                              <a:pt x="2" y="78"/>
                            </a:lnTo>
                            <a:lnTo>
                              <a:pt x="2" y="80"/>
                            </a:lnTo>
                            <a:lnTo>
                              <a:pt x="0" y="84"/>
                            </a:lnTo>
                            <a:lnTo>
                              <a:pt x="0" y="84"/>
                            </a:lnTo>
                            <a:lnTo>
                              <a:pt x="4" y="88"/>
                            </a:lnTo>
                            <a:lnTo>
                              <a:pt x="4" y="92"/>
                            </a:lnTo>
                            <a:lnTo>
                              <a:pt x="4" y="92"/>
                            </a:lnTo>
                            <a:lnTo>
                              <a:pt x="6" y="94"/>
                            </a:lnTo>
                            <a:lnTo>
                              <a:pt x="4" y="100"/>
                            </a:lnTo>
                            <a:lnTo>
                              <a:pt x="4" y="100"/>
                            </a:lnTo>
                            <a:lnTo>
                              <a:pt x="10" y="102"/>
                            </a:lnTo>
                            <a:lnTo>
                              <a:pt x="10" y="102"/>
                            </a:lnTo>
                            <a:lnTo>
                              <a:pt x="14" y="106"/>
                            </a:lnTo>
                            <a:lnTo>
                              <a:pt x="16" y="108"/>
                            </a:lnTo>
                            <a:lnTo>
                              <a:pt x="18" y="108"/>
                            </a:lnTo>
                            <a:lnTo>
                              <a:pt x="18" y="108"/>
                            </a:lnTo>
                            <a:lnTo>
                              <a:pt x="24" y="108"/>
                            </a:lnTo>
                            <a:lnTo>
                              <a:pt x="30" y="110"/>
                            </a:lnTo>
                            <a:lnTo>
                              <a:pt x="30" y="110"/>
                            </a:lnTo>
                            <a:lnTo>
                              <a:pt x="36" y="112"/>
                            </a:lnTo>
                            <a:lnTo>
                              <a:pt x="36" y="112"/>
                            </a:lnTo>
                            <a:lnTo>
                              <a:pt x="36" y="114"/>
                            </a:lnTo>
                            <a:lnTo>
                              <a:pt x="36" y="114"/>
                            </a:lnTo>
                            <a:lnTo>
                              <a:pt x="32" y="120"/>
                            </a:lnTo>
                            <a:lnTo>
                              <a:pt x="30" y="128"/>
                            </a:lnTo>
                            <a:lnTo>
                              <a:pt x="30" y="128"/>
                            </a:lnTo>
                            <a:lnTo>
                              <a:pt x="28" y="132"/>
                            </a:lnTo>
                            <a:lnTo>
                              <a:pt x="28" y="136"/>
                            </a:lnTo>
                            <a:lnTo>
                              <a:pt x="28" y="136"/>
                            </a:lnTo>
                            <a:lnTo>
                              <a:pt x="30" y="138"/>
                            </a:lnTo>
                            <a:lnTo>
                              <a:pt x="30" y="138"/>
                            </a:lnTo>
                            <a:lnTo>
                              <a:pt x="32" y="138"/>
                            </a:lnTo>
                            <a:lnTo>
                              <a:pt x="32" y="138"/>
                            </a:lnTo>
                            <a:lnTo>
                              <a:pt x="42" y="140"/>
                            </a:lnTo>
                            <a:lnTo>
                              <a:pt x="46" y="140"/>
                            </a:lnTo>
                            <a:lnTo>
                              <a:pt x="48" y="140"/>
                            </a:lnTo>
                            <a:lnTo>
                              <a:pt x="48" y="138"/>
                            </a:lnTo>
                            <a:lnTo>
                              <a:pt x="48" y="138"/>
                            </a:lnTo>
                            <a:lnTo>
                              <a:pt x="48" y="138"/>
                            </a:lnTo>
                            <a:lnTo>
                              <a:pt x="48" y="138"/>
                            </a:lnTo>
                            <a:lnTo>
                              <a:pt x="52" y="138"/>
                            </a:lnTo>
                            <a:lnTo>
                              <a:pt x="66" y="142"/>
                            </a:lnTo>
                            <a:lnTo>
                              <a:pt x="66" y="142"/>
                            </a:lnTo>
                            <a:lnTo>
                              <a:pt x="68" y="140"/>
                            </a:lnTo>
                            <a:lnTo>
                              <a:pt x="72" y="140"/>
                            </a:lnTo>
                            <a:lnTo>
                              <a:pt x="80" y="142"/>
                            </a:lnTo>
                            <a:lnTo>
                              <a:pt x="80" y="142"/>
                            </a:lnTo>
                            <a:lnTo>
                              <a:pt x="86" y="144"/>
                            </a:lnTo>
                            <a:lnTo>
                              <a:pt x="88" y="144"/>
                            </a:lnTo>
                            <a:lnTo>
                              <a:pt x="90" y="142"/>
                            </a:lnTo>
                            <a:lnTo>
                              <a:pt x="90" y="142"/>
                            </a:lnTo>
                            <a:lnTo>
                              <a:pt x="90" y="140"/>
                            </a:lnTo>
                            <a:lnTo>
                              <a:pt x="92" y="140"/>
                            </a:lnTo>
                            <a:lnTo>
                              <a:pt x="94" y="140"/>
                            </a:lnTo>
                            <a:lnTo>
                              <a:pt x="96" y="138"/>
                            </a:lnTo>
                            <a:lnTo>
                              <a:pt x="96" y="138"/>
                            </a:lnTo>
                            <a:lnTo>
                              <a:pt x="96" y="138"/>
                            </a:lnTo>
                            <a:lnTo>
                              <a:pt x="98" y="138"/>
                            </a:lnTo>
                            <a:lnTo>
                              <a:pt x="104" y="140"/>
                            </a:lnTo>
                            <a:lnTo>
                              <a:pt x="104" y="140"/>
                            </a:lnTo>
                            <a:lnTo>
                              <a:pt x="106" y="140"/>
                            </a:lnTo>
                            <a:lnTo>
                              <a:pt x="108" y="140"/>
                            </a:lnTo>
                            <a:lnTo>
                              <a:pt x="114" y="138"/>
                            </a:lnTo>
                            <a:lnTo>
                              <a:pt x="114" y="138"/>
                            </a:lnTo>
                            <a:lnTo>
                              <a:pt x="116" y="136"/>
                            </a:lnTo>
                            <a:lnTo>
                              <a:pt x="118" y="134"/>
                            </a:lnTo>
                            <a:lnTo>
                              <a:pt x="118" y="134"/>
                            </a:lnTo>
                            <a:lnTo>
                              <a:pt x="120" y="134"/>
                            </a:lnTo>
                            <a:lnTo>
                              <a:pt x="122" y="134"/>
                            </a:lnTo>
                            <a:lnTo>
                              <a:pt x="122" y="134"/>
                            </a:lnTo>
                            <a:lnTo>
                              <a:pt x="124" y="134"/>
                            </a:lnTo>
                            <a:lnTo>
                              <a:pt x="124" y="134"/>
                            </a:lnTo>
                            <a:lnTo>
                              <a:pt x="126" y="134"/>
                            </a:lnTo>
                            <a:lnTo>
                              <a:pt x="126" y="134"/>
                            </a:lnTo>
                            <a:lnTo>
                              <a:pt x="128" y="136"/>
                            </a:lnTo>
                            <a:lnTo>
                              <a:pt x="130" y="138"/>
                            </a:lnTo>
                            <a:lnTo>
                              <a:pt x="130" y="138"/>
                            </a:lnTo>
                            <a:lnTo>
                              <a:pt x="132" y="138"/>
                            </a:lnTo>
                            <a:lnTo>
                              <a:pt x="132" y="136"/>
                            </a:lnTo>
                            <a:lnTo>
                              <a:pt x="132" y="134"/>
                            </a:lnTo>
                            <a:lnTo>
                              <a:pt x="132" y="134"/>
                            </a:lnTo>
                            <a:lnTo>
                              <a:pt x="132" y="132"/>
                            </a:lnTo>
                            <a:lnTo>
                              <a:pt x="132" y="132"/>
                            </a:lnTo>
                            <a:lnTo>
                              <a:pt x="132" y="130"/>
                            </a:lnTo>
                            <a:lnTo>
                              <a:pt x="132" y="130"/>
                            </a:lnTo>
                            <a:lnTo>
                              <a:pt x="132" y="130"/>
                            </a:lnTo>
                            <a:lnTo>
                              <a:pt x="130" y="128"/>
                            </a:lnTo>
                            <a:lnTo>
                              <a:pt x="130" y="128"/>
                            </a:lnTo>
                            <a:lnTo>
                              <a:pt x="132" y="126"/>
                            </a:lnTo>
                            <a:lnTo>
                              <a:pt x="132" y="126"/>
                            </a:lnTo>
                            <a:lnTo>
                              <a:pt x="134" y="126"/>
                            </a:lnTo>
                            <a:lnTo>
                              <a:pt x="136" y="124"/>
                            </a:lnTo>
                            <a:lnTo>
                              <a:pt x="138" y="122"/>
                            </a:lnTo>
                            <a:lnTo>
                              <a:pt x="138" y="120"/>
                            </a:lnTo>
                            <a:lnTo>
                              <a:pt x="138" y="120"/>
                            </a:lnTo>
                            <a:lnTo>
                              <a:pt x="140" y="120"/>
                            </a:lnTo>
                            <a:lnTo>
                              <a:pt x="142" y="118"/>
                            </a:lnTo>
                            <a:lnTo>
                              <a:pt x="144" y="114"/>
                            </a:lnTo>
                            <a:lnTo>
                              <a:pt x="144" y="114"/>
                            </a:lnTo>
                            <a:lnTo>
                              <a:pt x="144" y="110"/>
                            </a:lnTo>
                            <a:lnTo>
                              <a:pt x="140" y="108"/>
                            </a:lnTo>
                            <a:lnTo>
                              <a:pt x="140" y="108"/>
                            </a:lnTo>
                            <a:lnTo>
                              <a:pt x="136" y="106"/>
                            </a:lnTo>
                            <a:lnTo>
                              <a:pt x="128" y="100"/>
                            </a:lnTo>
                            <a:lnTo>
                              <a:pt x="128" y="100"/>
                            </a:lnTo>
                            <a:lnTo>
                              <a:pt x="124" y="98"/>
                            </a:lnTo>
                            <a:lnTo>
                              <a:pt x="120" y="94"/>
                            </a:lnTo>
                            <a:lnTo>
                              <a:pt x="120" y="94"/>
                            </a:lnTo>
                            <a:lnTo>
                              <a:pt x="116" y="88"/>
                            </a:lnTo>
                            <a:lnTo>
                              <a:pt x="112" y="84"/>
                            </a:lnTo>
                            <a:lnTo>
                              <a:pt x="112" y="84"/>
                            </a:lnTo>
                            <a:lnTo>
                              <a:pt x="112" y="82"/>
                            </a:lnTo>
                            <a:lnTo>
                              <a:pt x="116" y="82"/>
                            </a:lnTo>
                            <a:lnTo>
                              <a:pt x="124" y="82"/>
                            </a:lnTo>
                            <a:lnTo>
                              <a:pt x="124" y="82"/>
                            </a:lnTo>
                            <a:lnTo>
                              <a:pt x="136" y="78"/>
                            </a:lnTo>
                            <a:lnTo>
                              <a:pt x="136" y="78"/>
                            </a:lnTo>
                            <a:lnTo>
                              <a:pt x="142" y="76"/>
                            </a:lnTo>
                            <a:lnTo>
                              <a:pt x="146" y="72"/>
                            </a:lnTo>
                            <a:lnTo>
                              <a:pt x="146" y="72"/>
                            </a:lnTo>
                            <a:lnTo>
                              <a:pt x="150" y="68"/>
                            </a:lnTo>
                            <a:lnTo>
                              <a:pt x="152" y="70"/>
                            </a:lnTo>
                            <a:lnTo>
                              <a:pt x="152" y="70"/>
                            </a:lnTo>
                            <a:lnTo>
                              <a:pt x="156" y="74"/>
                            </a:lnTo>
                            <a:lnTo>
                              <a:pt x="160" y="74"/>
                            </a:lnTo>
                            <a:lnTo>
                              <a:pt x="160" y="74"/>
                            </a:lnTo>
                            <a:lnTo>
                              <a:pt x="160" y="72"/>
                            </a:lnTo>
                            <a:lnTo>
                              <a:pt x="160" y="68"/>
                            </a:lnTo>
                            <a:lnTo>
                              <a:pt x="160" y="68"/>
                            </a:lnTo>
                            <a:lnTo>
                              <a:pt x="158" y="60"/>
                            </a:lnTo>
                            <a:lnTo>
                              <a:pt x="154" y="50"/>
                            </a:lnTo>
                            <a:lnTo>
                              <a:pt x="154" y="50"/>
                            </a:lnTo>
                            <a:lnTo>
                              <a:pt x="154" y="46"/>
                            </a:lnTo>
                            <a:lnTo>
                              <a:pt x="154" y="42"/>
                            </a:lnTo>
                            <a:lnTo>
                              <a:pt x="154" y="42"/>
                            </a:lnTo>
                            <a:lnTo>
                              <a:pt x="152" y="40"/>
                            </a:lnTo>
                            <a:lnTo>
                              <a:pt x="150" y="40"/>
                            </a:lnTo>
                            <a:lnTo>
                              <a:pt x="148" y="38"/>
                            </a:lnTo>
                            <a:lnTo>
                              <a:pt x="148" y="38"/>
                            </a:lnTo>
                            <a:lnTo>
                              <a:pt x="144" y="36"/>
                            </a:lnTo>
                            <a:lnTo>
                              <a:pt x="142" y="36"/>
                            </a:lnTo>
                            <a:lnTo>
                              <a:pt x="142" y="34"/>
                            </a:lnTo>
                            <a:lnTo>
                              <a:pt x="142" y="34"/>
                            </a:lnTo>
                            <a:lnTo>
                              <a:pt x="142" y="32"/>
                            </a:lnTo>
                            <a:lnTo>
                              <a:pt x="144" y="28"/>
                            </a:lnTo>
                            <a:lnTo>
                              <a:pt x="146" y="26"/>
                            </a:lnTo>
                            <a:lnTo>
                              <a:pt x="146" y="26"/>
                            </a:lnTo>
                            <a:lnTo>
                              <a:pt x="146" y="26"/>
                            </a:lnTo>
                            <a:lnTo>
                              <a:pt x="146" y="22"/>
                            </a:lnTo>
                            <a:lnTo>
                              <a:pt x="146" y="18"/>
                            </a:lnTo>
                            <a:lnTo>
                              <a:pt x="146" y="18"/>
                            </a:lnTo>
                            <a:lnTo>
                              <a:pt x="142" y="16"/>
                            </a:lnTo>
                            <a:lnTo>
                              <a:pt x="140" y="14"/>
                            </a:lnTo>
                            <a:lnTo>
                              <a:pt x="140" y="14"/>
                            </a:lnTo>
                            <a:lnTo>
                              <a:pt x="138" y="12"/>
                            </a:lnTo>
                            <a:lnTo>
                              <a:pt x="138" y="10"/>
                            </a:lnTo>
                            <a:lnTo>
                              <a:pt x="138" y="10"/>
                            </a:lnTo>
                            <a:lnTo>
                              <a:pt x="136" y="8"/>
                            </a:lnTo>
                            <a:lnTo>
                              <a:pt x="136" y="8"/>
                            </a:lnTo>
                            <a:lnTo>
                              <a:pt x="134" y="8"/>
                            </a:lnTo>
                            <a:lnTo>
                              <a:pt x="132" y="10"/>
                            </a:lnTo>
                            <a:lnTo>
                              <a:pt x="132" y="12"/>
                            </a:lnTo>
                            <a:lnTo>
                              <a:pt x="130" y="12"/>
                            </a:lnTo>
                            <a:lnTo>
                              <a:pt x="130" y="12"/>
                            </a:lnTo>
                            <a:lnTo>
                              <a:pt x="128" y="10"/>
                            </a:lnTo>
                            <a:lnTo>
                              <a:pt x="124" y="10"/>
                            </a:lnTo>
                            <a:lnTo>
                              <a:pt x="124" y="10"/>
                            </a:lnTo>
                            <a:lnTo>
                              <a:pt x="118" y="14"/>
                            </a:lnTo>
                            <a:lnTo>
                              <a:pt x="118" y="14"/>
                            </a:lnTo>
                            <a:lnTo>
                              <a:pt x="116" y="14"/>
                            </a:lnTo>
                            <a:lnTo>
                              <a:pt x="118" y="12"/>
                            </a:lnTo>
                            <a:lnTo>
                              <a:pt x="118" y="12"/>
                            </a:lnTo>
                            <a:lnTo>
                              <a:pt x="122" y="10"/>
                            </a:lnTo>
                            <a:lnTo>
                              <a:pt x="122" y="10"/>
                            </a:lnTo>
                            <a:lnTo>
                              <a:pt x="122" y="10"/>
                            </a:lnTo>
                            <a:lnTo>
                              <a:pt x="118" y="10"/>
                            </a:lnTo>
                            <a:lnTo>
                              <a:pt x="118" y="10"/>
                            </a:lnTo>
                            <a:lnTo>
                              <a:pt x="114" y="12"/>
                            </a:lnTo>
                            <a:lnTo>
                              <a:pt x="110" y="14"/>
                            </a:lnTo>
                            <a:lnTo>
                              <a:pt x="110" y="14"/>
                            </a:lnTo>
                            <a:lnTo>
                              <a:pt x="104" y="14"/>
                            </a:lnTo>
                            <a:lnTo>
                              <a:pt x="100" y="14"/>
                            </a:lnTo>
                            <a:lnTo>
                              <a:pt x="100" y="14"/>
                            </a:lnTo>
                            <a:lnTo>
                              <a:pt x="98" y="14"/>
                            </a:lnTo>
                            <a:lnTo>
                              <a:pt x="94" y="16"/>
                            </a:lnTo>
                            <a:lnTo>
                              <a:pt x="94" y="16"/>
                            </a:lnTo>
                            <a:lnTo>
                              <a:pt x="92" y="16"/>
                            </a:lnTo>
                            <a:lnTo>
                              <a:pt x="90" y="16"/>
                            </a:lnTo>
                            <a:lnTo>
                              <a:pt x="86" y="14"/>
                            </a:lnTo>
                            <a:lnTo>
                              <a:pt x="86" y="14"/>
                            </a:lnTo>
                            <a:lnTo>
                              <a:pt x="82" y="14"/>
                            </a:lnTo>
                            <a:lnTo>
                              <a:pt x="78" y="14"/>
                            </a:lnTo>
                            <a:lnTo>
                              <a:pt x="78" y="14"/>
                            </a:lnTo>
                            <a:lnTo>
                              <a:pt x="78" y="12"/>
                            </a:lnTo>
                            <a:lnTo>
                              <a:pt x="80" y="12"/>
                            </a:lnTo>
                            <a:lnTo>
                              <a:pt x="82" y="10"/>
                            </a:lnTo>
                            <a:lnTo>
                              <a:pt x="78" y="8"/>
                            </a:lnTo>
                            <a:lnTo>
                              <a:pt x="78" y="8"/>
                            </a:lnTo>
                            <a:lnTo>
                              <a:pt x="76" y="8"/>
                            </a:lnTo>
                            <a:lnTo>
                              <a:pt x="74" y="6"/>
                            </a:lnTo>
                            <a:lnTo>
                              <a:pt x="74" y="6"/>
                            </a:lnTo>
                            <a:lnTo>
                              <a:pt x="70" y="6"/>
                            </a:lnTo>
                            <a:lnTo>
                              <a:pt x="68" y="8"/>
                            </a:lnTo>
                            <a:lnTo>
                              <a:pt x="68" y="8"/>
                            </a:lnTo>
                            <a:lnTo>
                              <a:pt x="66" y="4"/>
                            </a:lnTo>
                            <a:lnTo>
                              <a:pt x="62" y="6"/>
                            </a:lnTo>
                            <a:lnTo>
                              <a:pt x="62" y="6"/>
                            </a:lnTo>
                            <a:lnTo>
                              <a:pt x="64" y="4"/>
                            </a:lnTo>
                            <a:lnTo>
                              <a:pt x="62" y="2"/>
                            </a:lnTo>
                            <a:lnTo>
                              <a:pt x="60" y="0"/>
                            </a:lnTo>
                            <a:lnTo>
                              <a:pt x="60" y="0"/>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9" name="Greece"/>
                      <p:cNvSpPr>
                        <a:spLocks/>
                      </p:cNvSpPr>
                      <p:nvPr/>
                    </p:nvSpPr>
                    <p:spPr bwMode="auto">
                      <a:xfrm>
                        <a:off x="6376804" y="2131457"/>
                        <a:ext cx="173146" cy="179055"/>
                      </a:xfrm>
                      <a:custGeom>
                        <a:avLst/>
                        <a:gdLst/>
                        <a:ahLst/>
                        <a:cxnLst>
                          <a:cxn ang="0">
                            <a:pos x="6" y="50"/>
                          </a:cxn>
                          <a:cxn ang="0">
                            <a:pos x="12" y="58"/>
                          </a:cxn>
                          <a:cxn ang="0">
                            <a:pos x="20" y="66"/>
                          </a:cxn>
                          <a:cxn ang="0">
                            <a:pos x="24" y="64"/>
                          </a:cxn>
                          <a:cxn ang="0">
                            <a:pos x="28" y="64"/>
                          </a:cxn>
                          <a:cxn ang="0">
                            <a:pos x="22" y="68"/>
                          </a:cxn>
                          <a:cxn ang="0">
                            <a:pos x="30" y="74"/>
                          </a:cxn>
                          <a:cxn ang="0">
                            <a:pos x="44" y="74"/>
                          </a:cxn>
                          <a:cxn ang="0">
                            <a:pos x="58" y="78"/>
                          </a:cxn>
                          <a:cxn ang="0">
                            <a:pos x="52" y="80"/>
                          </a:cxn>
                          <a:cxn ang="0">
                            <a:pos x="36" y="78"/>
                          </a:cxn>
                          <a:cxn ang="0">
                            <a:pos x="26" y="82"/>
                          </a:cxn>
                          <a:cxn ang="0">
                            <a:pos x="28" y="92"/>
                          </a:cxn>
                          <a:cxn ang="0">
                            <a:pos x="38" y="98"/>
                          </a:cxn>
                          <a:cxn ang="0">
                            <a:pos x="46" y="110"/>
                          </a:cxn>
                          <a:cxn ang="0">
                            <a:pos x="54" y="110"/>
                          </a:cxn>
                          <a:cxn ang="0">
                            <a:pos x="58" y="114"/>
                          </a:cxn>
                          <a:cxn ang="0">
                            <a:pos x="66" y="118"/>
                          </a:cxn>
                          <a:cxn ang="0">
                            <a:pos x="60" y="102"/>
                          </a:cxn>
                          <a:cxn ang="0">
                            <a:pos x="58" y="96"/>
                          </a:cxn>
                          <a:cxn ang="0">
                            <a:pos x="64" y="98"/>
                          </a:cxn>
                          <a:cxn ang="0">
                            <a:pos x="66" y="92"/>
                          </a:cxn>
                          <a:cxn ang="0">
                            <a:pos x="64" y="86"/>
                          </a:cxn>
                          <a:cxn ang="0">
                            <a:pos x="78" y="90"/>
                          </a:cxn>
                          <a:cxn ang="0">
                            <a:pos x="80" y="80"/>
                          </a:cxn>
                          <a:cxn ang="0">
                            <a:pos x="66" y="70"/>
                          </a:cxn>
                          <a:cxn ang="0">
                            <a:pos x="56" y="64"/>
                          </a:cxn>
                          <a:cxn ang="0">
                            <a:pos x="50" y="58"/>
                          </a:cxn>
                          <a:cxn ang="0">
                            <a:pos x="50" y="50"/>
                          </a:cxn>
                          <a:cxn ang="0">
                            <a:pos x="56" y="54"/>
                          </a:cxn>
                          <a:cxn ang="0">
                            <a:pos x="56" y="46"/>
                          </a:cxn>
                          <a:cxn ang="0">
                            <a:pos x="48" y="36"/>
                          </a:cxn>
                          <a:cxn ang="0">
                            <a:pos x="48" y="30"/>
                          </a:cxn>
                          <a:cxn ang="0">
                            <a:pos x="60" y="34"/>
                          </a:cxn>
                          <a:cxn ang="0">
                            <a:pos x="64" y="36"/>
                          </a:cxn>
                          <a:cxn ang="0">
                            <a:pos x="68" y="38"/>
                          </a:cxn>
                          <a:cxn ang="0">
                            <a:pos x="70" y="36"/>
                          </a:cxn>
                          <a:cxn ang="0">
                            <a:pos x="68" y="28"/>
                          </a:cxn>
                          <a:cxn ang="0">
                            <a:pos x="76" y="24"/>
                          </a:cxn>
                          <a:cxn ang="0">
                            <a:pos x="84" y="20"/>
                          </a:cxn>
                          <a:cxn ang="0">
                            <a:pos x="90" y="22"/>
                          </a:cxn>
                          <a:cxn ang="0">
                            <a:pos x="108" y="22"/>
                          </a:cxn>
                          <a:cxn ang="0">
                            <a:pos x="112" y="10"/>
                          </a:cxn>
                          <a:cxn ang="0">
                            <a:pos x="110" y="2"/>
                          </a:cxn>
                          <a:cxn ang="0">
                            <a:pos x="106" y="6"/>
                          </a:cxn>
                          <a:cxn ang="0">
                            <a:pos x="94" y="6"/>
                          </a:cxn>
                          <a:cxn ang="0">
                            <a:pos x="78" y="4"/>
                          </a:cxn>
                          <a:cxn ang="0">
                            <a:pos x="66" y="6"/>
                          </a:cxn>
                          <a:cxn ang="0">
                            <a:pos x="48" y="10"/>
                          </a:cxn>
                          <a:cxn ang="0">
                            <a:pos x="40" y="10"/>
                          </a:cxn>
                          <a:cxn ang="0">
                            <a:pos x="20" y="18"/>
                          </a:cxn>
                          <a:cxn ang="0">
                            <a:pos x="10" y="30"/>
                          </a:cxn>
                          <a:cxn ang="0">
                            <a:pos x="2" y="44"/>
                          </a:cxn>
                        </a:cxnLst>
                        <a:rect l="0" t="0" r="r" b="b"/>
                        <a:pathLst>
                          <a:path w="114" h="118">
                            <a:moveTo>
                              <a:pt x="2" y="48"/>
                            </a:moveTo>
                            <a:lnTo>
                              <a:pt x="2" y="48"/>
                            </a:lnTo>
                            <a:lnTo>
                              <a:pt x="0" y="48"/>
                            </a:lnTo>
                            <a:lnTo>
                              <a:pt x="2" y="50"/>
                            </a:lnTo>
                            <a:lnTo>
                              <a:pt x="2" y="50"/>
                            </a:lnTo>
                            <a:lnTo>
                              <a:pt x="6" y="50"/>
                            </a:lnTo>
                            <a:lnTo>
                              <a:pt x="8" y="52"/>
                            </a:lnTo>
                            <a:lnTo>
                              <a:pt x="8" y="54"/>
                            </a:lnTo>
                            <a:lnTo>
                              <a:pt x="8" y="54"/>
                            </a:lnTo>
                            <a:lnTo>
                              <a:pt x="10" y="56"/>
                            </a:lnTo>
                            <a:lnTo>
                              <a:pt x="10" y="56"/>
                            </a:lnTo>
                            <a:lnTo>
                              <a:pt x="12" y="58"/>
                            </a:lnTo>
                            <a:lnTo>
                              <a:pt x="14" y="58"/>
                            </a:lnTo>
                            <a:lnTo>
                              <a:pt x="14" y="58"/>
                            </a:lnTo>
                            <a:lnTo>
                              <a:pt x="16" y="62"/>
                            </a:lnTo>
                            <a:lnTo>
                              <a:pt x="20" y="66"/>
                            </a:lnTo>
                            <a:lnTo>
                              <a:pt x="20" y="66"/>
                            </a:lnTo>
                            <a:lnTo>
                              <a:pt x="20" y="66"/>
                            </a:lnTo>
                            <a:lnTo>
                              <a:pt x="22" y="66"/>
                            </a:lnTo>
                            <a:lnTo>
                              <a:pt x="22" y="62"/>
                            </a:lnTo>
                            <a:lnTo>
                              <a:pt x="22" y="62"/>
                            </a:lnTo>
                            <a:lnTo>
                              <a:pt x="22" y="62"/>
                            </a:lnTo>
                            <a:lnTo>
                              <a:pt x="22" y="62"/>
                            </a:lnTo>
                            <a:lnTo>
                              <a:pt x="24" y="64"/>
                            </a:lnTo>
                            <a:lnTo>
                              <a:pt x="26" y="62"/>
                            </a:lnTo>
                            <a:lnTo>
                              <a:pt x="26" y="62"/>
                            </a:lnTo>
                            <a:lnTo>
                              <a:pt x="26" y="62"/>
                            </a:lnTo>
                            <a:lnTo>
                              <a:pt x="26" y="64"/>
                            </a:lnTo>
                            <a:lnTo>
                              <a:pt x="28" y="64"/>
                            </a:lnTo>
                            <a:lnTo>
                              <a:pt x="28" y="64"/>
                            </a:lnTo>
                            <a:lnTo>
                              <a:pt x="30" y="66"/>
                            </a:lnTo>
                            <a:lnTo>
                              <a:pt x="28" y="66"/>
                            </a:lnTo>
                            <a:lnTo>
                              <a:pt x="28" y="66"/>
                            </a:lnTo>
                            <a:lnTo>
                              <a:pt x="22" y="66"/>
                            </a:lnTo>
                            <a:lnTo>
                              <a:pt x="22" y="68"/>
                            </a:lnTo>
                            <a:lnTo>
                              <a:pt x="22" y="68"/>
                            </a:lnTo>
                            <a:lnTo>
                              <a:pt x="24" y="72"/>
                            </a:lnTo>
                            <a:lnTo>
                              <a:pt x="26" y="74"/>
                            </a:lnTo>
                            <a:lnTo>
                              <a:pt x="26" y="74"/>
                            </a:lnTo>
                            <a:lnTo>
                              <a:pt x="28" y="76"/>
                            </a:lnTo>
                            <a:lnTo>
                              <a:pt x="30" y="74"/>
                            </a:lnTo>
                            <a:lnTo>
                              <a:pt x="30" y="74"/>
                            </a:lnTo>
                            <a:lnTo>
                              <a:pt x="32" y="72"/>
                            </a:lnTo>
                            <a:lnTo>
                              <a:pt x="34" y="74"/>
                            </a:lnTo>
                            <a:lnTo>
                              <a:pt x="38" y="76"/>
                            </a:lnTo>
                            <a:lnTo>
                              <a:pt x="40" y="76"/>
                            </a:lnTo>
                            <a:lnTo>
                              <a:pt x="40" y="76"/>
                            </a:lnTo>
                            <a:lnTo>
                              <a:pt x="44" y="74"/>
                            </a:lnTo>
                            <a:lnTo>
                              <a:pt x="50" y="78"/>
                            </a:lnTo>
                            <a:lnTo>
                              <a:pt x="50" y="78"/>
                            </a:lnTo>
                            <a:lnTo>
                              <a:pt x="54" y="80"/>
                            </a:lnTo>
                            <a:lnTo>
                              <a:pt x="58" y="78"/>
                            </a:lnTo>
                            <a:lnTo>
                              <a:pt x="58" y="78"/>
                            </a:lnTo>
                            <a:lnTo>
                              <a:pt x="58" y="78"/>
                            </a:lnTo>
                            <a:lnTo>
                              <a:pt x="58" y="78"/>
                            </a:lnTo>
                            <a:lnTo>
                              <a:pt x="56" y="80"/>
                            </a:lnTo>
                            <a:lnTo>
                              <a:pt x="58" y="82"/>
                            </a:lnTo>
                            <a:lnTo>
                              <a:pt x="58" y="82"/>
                            </a:lnTo>
                            <a:lnTo>
                              <a:pt x="52" y="80"/>
                            </a:lnTo>
                            <a:lnTo>
                              <a:pt x="52" y="80"/>
                            </a:lnTo>
                            <a:lnTo>
                              <a:pt x="48" y="80"/>
                            </a:lnTo>
                            <a:lnTo>
                              <a:pt x="44" y="78"/>
                            </a:lnTo>
                            <a:lnTo>
                              <a:pt x="44" y="78"/>
                            </a:lnTo>
                            <a:lnTo>
                              <a:pt x="40" y="78"/>
                            </a:lnTo>
                            <a:lnTo>
                              <a:pt x="38" y="78"/>
                            </a:lnTo>
                            <a:lnTo>
                              <a:pt x="36" y="78"/>
                            </a:lnTo>
                            <a:lnTo>
                              <a:pt x="34" y="78"/>
                            </a:lnTo>
                            <a:lnTo>
                              <a:pt x="34" y="78"/>
                            </a:lnTo>
                            <a:lnTo>
                              <a:pt x="32" y="78"/>
                            </a:lnTo>
                            <a:lnTo>
                              <a:pt x="30" y="80"/>
                            </a:lnTo>
                            <a:lnTo>
                              <a:pt x="28" y="82"/>
                            </a:lnTo>
                            <a:lnTo>
                              <a:pt x="26" y="82"/>
                            </a:lnTo>
                            <a:lnTo>
                              <a:pt x="26" y="82"/>
                            </a:lnTo>
                            <a:lnTo>
                              <a:pt x="24" y="84"/>
                            </a:lnTo>
                            <a:lnTo>
                              <a:pt x="26" y="86"/>
                            </a:lnTo>
                            <a:lnTo>
                              <a:pt x="26" y="86"/>
                            </a:lnTo>
                            <a:lnTo>
                              <a:pt x="28" y="88"/>
                            </a:lnTo>
                            <a:lnTo>
                              <a:pt x="28" y="92"/>
                            </a:lnTo>
                            <a:lnTo>
                              <a:pt x="28" y="92"/>
                            </a:lnTo>
                            <a:lnTo>
                              <a:pt x="30" y="90"/>
                            </a:lnTo>
                            <a:lnTo>
                              <a:pt x="32" y="90"/>
                            </a:lnTo>
                            <a:lnTo>
                              <a:pt x="36" y="94"/>
                            </a:lnTo>
                            <a:lnTo>
                              <a:pt x="38" y="98"/>
                            </a:lnTo>
                            <a:lnTo>
                              <a:pt x="38" y="98"/>
                            </a:lnTo>
                            <a:lnTo>
                              <a:pt x="36" y="100"/>
                            </a:lnTo>
                            <a:lnTo>
                              <a:pt x="36" y="100"/>
                            </a:lnTo>
                            <a:lnTo>
                              <a:pt x="34" y="102"/>
                            </a:lnTo>
                            <a:lnTo>
                              <a:pt x="36" y="104"/>
                            </a:lnTo>
                            <a:lnTo>
                              <a:pt x="46" y="110"/>
                            </a:lnTo>
                            <a:lnTo>
                              <a:pt x="46" y="110"/>
                            </a:lnTo>
                            <a:lnTo>
                              <a:pt x="50" y="112"/>
                            </a:lnTo>
                            <a:lnTo>
                              <a:pt x="50" y="112"/>
                            </a:lnTo>
                            <a:lnTo>
                              <a:pt x="52" y="110"/>
                            </a:lnTo>
                            <a:lnTo>
                              <a:pt x="52" y="110"/>
                            </a:lnTo>
                            <a:lnTo>
                              <a:pt x="52" y="108"/>
                            </a:lnTo>
                            <a:lnTo>
                              <a:pt x="54" y="110"/>
                            </a:lnTo>
                            <a:lnTo>
                              <a:pt x="54" y="114"/>
                            </a:lnTo>
                            <a:lnTo>
                              <a:pt x="54" y="114"/>
                            </a:lnTo>
                            <a:lnTo>
                              <a:pt x="56" y="116"/>
                            </a:lnTo>
                            <a:lnTo>
                              <a:pt x="56" y="116"/>
                            </a:lnTo>
                            <a:lnTo>
                              <a:pt x="58" y="116"/>
                            </a:lnTo>
                            <a:lnTo>
                              <a:pt x="58" y="114"/>
                            </a:lnTo>
                            <a:lnTo>
                              <a:pt x="58" y="114"/>
                            </a:lnTo>
                            <a:lnTo>
                              <a:pt x="58" y="112"/>
                            </a:lnTo>
                            <a:lnTo>
                              <a:pt x="60" y="112"/>
                            </a:lnTo>
                            <a:lnTo>
                              <a:pt x="64" y="116"/>
                            </a:lnTo>
                            <a:lnTo>
                              <a:pt x="64" y="116"/>
                            </a:lnTo>
                            <a:lnTo>
                              <a:pt x="66" y="118"/>
                            </a:lnTo>
                            <a:lnTo>
                              <a:pt x="66" y="116"/>
                            </a:lnTo>
                            <a:lnTo>
                              <a:pt x="64" y="112"/>
                            </a:lnTo>
                            <a:lnTo>
                              <a:pt x="64" y="112"/>
                            </a:lnTo>
                            <a:lnTo>
                              <a:pt x="60" y="106"/>
                            </a:lnTo>
                            <a:lnTo>
                              <a:pt x="60" y="106"/>
                            </a:lnTo>
                            <a:lnTo>
                              <a:pt x="60" y="102"/>
                            </a:lnTo>
                            <a:lnTo>
                              <a:pt x="60" y="102"/>
                            </a:lnTo>
                            <a:lnTo>
                              <a:pt x="60" y="100"/>
                            </a:lnTo>
                            <a:lnTo>
                              <a:pt x="60" y="100"/>
                            </a:lnTo>
                            <a:lnTo>
                              <a:pt x="58" y="98"/>
                            </a:lnTo>
                            <a:lnTo>
                              <a:pt x="56" y="96"/>
                            </a:lnTo>
                            <a:lnTo>
                              <a:pt x="58" y="96"/>
                            </a:lnTo>
                            <a:lnTo>
                              <a:pt x="58" y="96"/>
                            </a:lnTo>
                            <a:lnTo>
                              <a:pt x="60" y="98"/>
                            </a:lnTo>
                            <a:lnTo>
                              <a:pt x="62" y="98"/>
                            </a:lnTo>
                            <a:lnTo>
                              <a:pt x="62" y="98"/>
                            </a:lnTo>
                            <a:lnTo>
                              <a:pt x="62" y="100"/>
                            </a:lnTo>
                            <a:lnTo>
                              <a:pt x="64" y="98"/>
                            </a:lnTo>
                            <a:lnTo>
                              <a:pt x="66" y="96"/>
                            </a:lnTo>
                            <a:lnTo>
                              <a:pt x="66" y="96"/>
                            </a:lnTo>
                            <a:lnTo>
                              <a:pt x="68" y="94"/>
                            </a:lnTo>
                            <a:lnTo>
                              <a:pt x="68" y="94"/>
                            </a:lnTo>
                            <a:lnTo>
                              <a:pt x="66" y="92"/>
                            </a:lnTo>
                            <a:lnTo>
                              <a:pt x="66" y="92"/>
                            </a:lnTo>
                            <a:lnTo>
                              <a:pt x="64" y="90"/>
                            </a:lnTo>
                            <a:lnTo>
                              <a:pt x="64" y="88"/>
                            </a:lnTo>
                            <a:lnTo>
                              <a:pt x="64" y="88"/>
                            </a:lnTo>
                            <a:lnTo>
                              <a:pt x="64" y="88"/>
                            </a:lnTo>
                            <a:lnTo>
                              <a:pt x="62" y="86"/>
                            </a:lnTo>
                            <a:lnTo>
                              <a:pt x="64" y="86"/>
                            </a:lnTo>
                            <a:lnTo>
                              <a:pt x="70" y="86"/>
                            </a:lnTo>
                            <a:lnTo>
                              <a:pt x="70" y="86"/>
                            </a:lnTo>
                            <a:lnTo>
                              <a:pt x="74" y="84"/>
                            </a:lnTo>
                            <a:lnTo>
                              <a:pt x="76" y="86"/>
                            </a:lnTo>
                            <a:lnTo>
                              <a:pt x="76" y="86"/>
                            </a:lnTo>
                            <a:lnTo>
                              <a:pt x="78" y="90"/>
                            </a:lnTo>
                            <a:lnTo>
                              <a:pt x="80" y="90"/>
                            </a:lnTo>
                            <a:lnTo>
                              <a:pt x="80" y="88"/>
                            </a:lnTo>
                            <a:lnTo>
                              <a:pt x="80" y="88"/>
                            </a:lnTo>
                            <a:lnTo>
                              <a:pt x="82" y="84"/>
                            </a:lnTo>
                            <a:lnTo>
                              <a:pt x="80" y="80"/>
                            </a:lnTo>
                            <a:lnTo>
                              <a:pt x="80" y="80"/>
                            </a:lnTo>
                            <a:lnTo>
                              <a:pt x="76" y="76"/>
                            </a:lnTo>
                            <a:lnTo>
                              <a:pt x="72" y="74"/>
                            </a:lnTo>
                            <a:lnTo>
                              <a:pt x="72" y="74"/>
                            </a:lnTo>
                            <a:lnTo>
                              <a:pt x="68" y="74"/>
                            </a:lnTo>
                            <a:lnTo>
                              <a:pt x="66" y="70"/>
                            </a:lnTo>
                            <a:lnTo>
                              <a:pt x="66" y="70"/>
                            </a:lnTo>
                            <a:lnTo>
                              <a:pt x="62" y="68"/>
                            </a:lnTo>
                            <a:lnTo>
                              <a:pt x="56" y="68"/>
                            </a:lnTo>
                            <a:lnTo>
                              <a:pt x="56" y="68"/>
                            </a:lnTo>
                            <a:lnTo>
                              <a:pt x="56" y="68"/>
                            </a:lnTo>
                            <a:lnTo>
                              <a:pt x="56" y="66"/>
                            </a:lnTo>
                            <a:lnTo>
                              <a:pt x="56" y="64"/>
                            </a:lnTo>
                            <a:lnTo>
                              <a:pt x="56" y="62"/>
                            </a:lnTo>
                            <a:lnTo>
                              <a:pt x="56" y="62"/>
                            </a:lnTo>
                            <a:lnTo>
                              <a:pt x="56" y="60"/>
                            </a:lnTo>
                            <a:lnTo>
                              <a:pt x="54" y="58"/>
                            </a:lnTo>
                            <a:lnTo>
                              <a:pt x="54" y="58"/>
                            </a:lnTo>
                            <a:lnTo>
                              <a:pt x="50" y="58"/>
                            </a:lnTo>
                            <a:lnTo>
                              <a:pt x="52" y="56"/>
                            </a:lnTo>
                            <a:lnTo>
                              <a:pt x="52" y="56"/>
                            </a:lnTo>
                            <a:lnTo>
                              <a:pt x="54" y="56"/>
                            </a:lnTo>
                            <a:lnTo>
                              <a:pt x="52" y="52"/>
                            </a:lnTo>
                            <a:lnTo>
                              <a:pt x="52" y="52"/>
                            </a:lnTo>
                            <a:lnTo>
                              <a:pt x="50" y="50"/>
                            </a:lnTo>
                            <a:lnTo>
                              <a:pt x="52" y="50"/>
                            </a:lnTo>
                            <a:lnTo>
                              <a:pt x="54" y="50"/>
                            </a:lnTo>
                            <a:lnTo>
                              <a:pt x="54" y="50"/>
                            </a:lnTo>
                            <a:lnTo>
                              <a:pt x="56" y="52"/>
                            </a:lnTo>
                            <a:lnTo>
                              <a:pt x="56" y="54"/>
                            </a:lnTo>
                            <a:lnTo>
                              <a:pt x="56" y="54"/>
                            </a:lnTo>
                            <a:lnTo>
                              <a:pt x="56" y="56"/>
                            </a:lnTo>
                            <a:lnTo>
                              <a:pt x="58" y="56"/>
                            </a:lnTo>
                            <a:lnTo>
                              <a:pt x="58" y="56"/>
                            </a:lnTo>
                            <a:lnTo>
                              <a:pt x="60" y="54"/>
                            </a:lnTo>
                            <a:lnTo>
                              <a:pt x="58" y="52"/>
                            </a:lnTo>
                            <a:lnTo>
                              <a:pt x="56" y="46"/>
                            </a:lnTo>
                            <a:lnTo>
                              <a:pt x="56" y="46"/>
                            </a:lnTo>
                            <a:lnTo>
                              <a:pt x="52" y="44"/>
                            </a:lnTo>
                            <a:lnTo>
                              <a:pt x="50" y="42"/>
                            </a:lnTo>
                            <a:lnTo>
                              <a:pt x="50" y="42"/>
                            </a:lnTo>
                            <a:lnTo>
                              <a:pt x="48" y="38"/>
                            </a:lnTo>
                            <a:lnTo>
                              <a:pt x="48" y="36"/>
                            </a:lnTo>
                            <a:lnTo>
                              <a:pt x="48" y="36"/>
                            </a:lnTo>
                            <a:lnTo>
                              <a:pt x="48" y="34"/>
                            </a:lnTo>
                            <a:lnTo>
                              <a:pt x="48" y="32"/>
                            </a:lnTo>
                            <a:lnTo>
                              <a:pt x="48" y="30"/>
                            </a:lnTo>
                            <a:lnTo>
                              <a:pt x="48" y="30"/>
                            </a:lnTo>
                            <a:lnTo>
                              <a:pt x="48" y="30"/>
                            </a:lnTo>
                            <a:lnTo>
                              <a:pt x="52" y="30"/>
                            </a:lnTo>
                            <a:lnTo>
                              <a:pt x="52" y="32"/>
                            </a:lnTo>
                            <a:lnTo>
                              <a:pt x="52" y="32"/>
                            </a:lnTo>
                            <a:lnTo>
                              <a:pt x="54" y="34"/>
                            </a:lnTo>
                            <a:lnTo>
                              <a:pt x="56" y="34"/>
                            </a:lnTo>
                            <a:lnTo>
                              <a:pt x="60" y="34"/>
                            </a:lnTo>
                            <a:lnTo>
                              <a:pt x="60" y="34"/>
                            </a:lnTo>
                            <a:lnTo>
                              <a:pt x="60" y="36"/>
                            </a:lnTo>
                            <a:lnTo>
                              <a:pt x="60" y="38"/>
                            </a:lnTo>
                            <a:lnTo>
                              <a:pt x="60" y="38"/>
                            </a:lnTo>
                            <a:lnTo>
                              <a:pt x="64" y="38"/>
                            </a:lnTo>
                            <a:lnTo>
                              <a:pt x="64" y="36"/>
                            </a:lnTo>
                            <a:lnTo>
                              <a:pt x="64" y="36"/>
                            </a:lnTo>
                            <a:lnTo>
                              <a:pt x="64" y="36"/>
                            </a:lnTo>
                            <a:lnTo>
                              <a:pt x="66" y="38"/>
                            </a:lnTo>
                            <a:lnTo>
                              <a:pt x="66" y="38"/>
                            </a:lnTo>
                            <a:lnTo>
                              <a:pt x="68" y="38"/>
                            </a:lnTo>
                            <a:lnTo>
                              <a:pt x="68" y="38"/>
                            </a:lnTo>
                            <a:lnTo>
                              <a:pt x="66" y="34"/>
                            </a:lnTo>
                            <a:lnTo>
                              <a:pt x="66" y="34"/>
                            </a:lnTo>
                            <a:lnTo>
                              <a:pt x="66" y="34"/>
                            </a:lnTo>
                            <a:lnTo>
                              <a:pt x="66" y="34"/>
                            </a:lnTo>
                            <a:lnTo>
                              <a:pt x="70" y="36"/>
                            </a:lnTo>
                            <a:lnTo>
                              <a:pt x="70" y="36"/>
                            </a:lnTo>
                            <a:lnTo>
                              <a:pt x="72" y="36"/>
                            </a:lnTo>
                            <a:lnTo>
                              <a:pt x="72" y="36"/>
                            </a:lnTo>
                            <a:lnTo>
                              <a:pt x="70" y="32"/>
                            </a:lnTo>
                            <a:lnTo>
                              <a:pt x="70" y="32"/>
                            </a:lnTo>
                            <a:lnTo>
                              <a:pt x="68" y="30"/>
                            </a:lnTo>
                            <a:lnTo>
                              <a:pt x="68" y="28"/>
                            </a:lnTo>
                            <a:lnTo>
                              <a:pt x="68" y="28"/>
                            </a:lnTo>
                            <a:lnTo>
                              <a:pt x="70" y="26"/>
                            </a:lnTo>
                            <a:lnTo>
                              <a:pt x="72" y="26"/>
                            </a:lnTo>
                            <a:lnTo>
                              <a:pt x="74" y="26"/>
                            </a:lnTo>
                            <a:lnTo>
                              <a:pt x="76" y="24"/>
                            </a:lnTo>
                            <a:lnTo>
                              <a:pt x="76" y="24"/>
                            </a:lnTo>
                            <a:lnTo>
                              <a:pt x="76" y="22"/>
                            </a:lnTo>
                            <a:lnTo>
                              <a:pt x="78" y="22"/>
                            </a:lnTo>
                            <a:lnTo>
                              <a:pt x="82" y="24"/>
                            </a:lnTo>
                            <a:lnTo>
                              <a:pt x="82" y="22"/>
                            </a:lnTo>
                            <a:lnTo>
                              <a:pt x="82" y="22"/>
                            </a:lnTo>
                            <a:lnTo>
                              <a:pt x="84" y="20"/>
                            </a:lnTo>
                            <a:lnTo>
                              <a:pt x="86" y="20"/>
                            </a:lnTo>
                            <a:lnTo>
                              <a:pt x="88" y="20"/>
                            </a:lnTo>
                            <a:lnTo>
                              <a:pt x="88" y="22"/>
                            </a:lnTo>
                            <a:lnTo>
                              <a:pt x="88" y="22"/>
                            </a:lnTo>
                            <a:lnTo>
                              <a:pt x="88" y="22"/>
                            </a:lnTo>
                            <a:lnTo>
                              <a:pt x="90" y="22"/>
                            </a:lnTo>
                            <a:lnTo>
                              <a:pt x="96" y="22"/>
                            </a:lnTo>
                            <a:lnTo>
                              <a:pt x="96" y="22"/>
                            </a:lnTo>
                            <a:lnTo>
                              <a:pt x="100" y="22"/>
                            </a:lnTo>
                            <a:lnTo>
                              <a:pt x="104" y="22"/>
                            </a:lnTo>
                            <a:lnTo>
                              <a:pt x="108" y="22"/>
                            </a:lnTo>
                            <a:lnTo>
                              <a:pt x="108" y="22"/>
                            </a:lnTo>
                            <a:lnTo>
                              <a:pt x="110" y="18"/>
                            </a:lnTo>
                            <a:lnTo>
                              <a:pt x="110" y="16"/>
                            </a:lnTo>
                            <a:lnTo>
                              <a:pt x="108" y="12"/>
                            </a:lnTo>
                            <a:lnTo>
                              <a:pt x="108" y="12"/>
                            </a:lnTo>
                            <a:lnTo>
                              <a:pt x="110" y="10"/>
                            </a:lnTo>
                            <a:lnTo>
                              <a:pt x="112" y="10"/>
                            </a:lnTo>
                            <a:lnTo>
                              <a:pt x="112" y="8"/>
                            </a:lnTo>
                            <a:lnTo>
                              <a:pt x="114" y="6"/>
                            </a:lnTo>
                            <a:lnTo>
                              <a:pt x="114" y="6"/>
                            </a:lnTo>
                            <a:lnTo>
                              <a:pt x="114" y="4"/>
                            </a:lnTo>
                            <a:lnTo>
                              <a:pt x="114" y="4"/>
                            </a:lnTo>
                            <a:lnTo>
                              <a:pt x="110" y="2"/>
                            </a:lnTo>
                            <a:lnTo>
                              <a:pt x="110" y="2"/>
                            </a:lnTo>
                            <a:lnTo>
                              <a:pt x="106" y="0"/>
                            </a:lnTo>
                            <a:lnTo>
                              <a:pt x="106" y="4"/>
                            </a:lnTo>
                            <a:lnTo>
                              <a:pt x="106" y="4"/>
                            </a:lnTo>
                            <a:lnTo>
                              <a:pt x="106" y="4"/>
                            </a:lnTo>
                            <a:lnTo>
                              <a:pt x="106" y="6"/>
                            </a:lnTo>
                            <a:lnTo>
                              <a:pt x="102" y="6"/>
                            </a:lnTo>
                            <a:lnTo>
                              <a:pt x="98" y="4"/>
                            </a:lnTo>
                            <a:lnTo>
                              <a:pt x="96" y="6"/>
                            </a:lnTo>
                            <a:lnTo>
                              <a:pt x="96" y="6"/>
                            </a:lnTo>
                            <a:lnTo>
                              <a:pt x="96" y="6"/>
                            </a:lnTo>
                            <a:lnTo>
                              <a:pt x="94" y="6"/>
                            </a:lnTo>
                            <a:lnTo>
                              <a:pt x="88" y="6"/>
                            </a:lnTo>
                            <a:lnTo>
                              <a:pt x="88" y="6"/>
                            </a:lnTo>
                            <a:lnTo>
                              <a:pt x="86" y="6"/>
                            </a:lnTo>
                            <a:lnTo>
                              <a:pt x="82" y="4"/>
                            </a:lnTo>
                            <a:lnTo>
                              <a:pt x="82" y="4"/>
                            </a:lnTo>
                            <a:lnTo>
                              <a:pt x="78" y="4"/>
                            </a:lnTo>
                            <a:lnTo>
                              <a:pt x="74" y="4"/>
                            </a:lnTo>
                            <a:lnTo>
                              <a:pt x="74" y="4"/>
                            </a:lnTo>
                            <a:lnTo>
                              <a:pt x="72" y="2"/>
                            </a:lnTo>
                            <a:lnTo>
                              <a:pt x="70" y="2"/>
                            </a:lnTo>
                            <a:lnTo>
                              <a:pt x="66" y="6"/>
                            </a:lnTo>
                            <a:lnTo>
                              <a:pt x="66" y="6"/>
                            </a:lnTo>
                            <a:lnTo>
                              <a:pt x="64" y="6"/>
                            </a:lnTo>
                            <a:lnTo>
                              <a:pt x="60" y="6"/>
                            </a:lnTo>
                            <a:lnTo>
                              <a:pt x="52" y="6"/>
                            </a:lnTo>
                            <a:lnTo>
                              <a:pt x="52" y="6"/>
                            </a:lnTo>
                            <a:lnTo>
                              <a:pt x="50" y="8"/>
                            </a:lnTo>
                            <a:lnTo>
                              <a:pt x="48" y="10"/>
                            </a:lnTo>
                            <a:lnTo>
                              <a:pt x="48" y="10"/>
                            </a:lnTo>
                            <a:lnTo>
                              <a:pt x="48" y="12"/>
                            </a:lnTo>
                            <a:lnTo>
                              <a:pt x="46" y="12"/>
                            </a:lnTo>
                            <a:lnTo>
                              <a:pt x="42" y="10"/>
                            </a:lnTo>
                            <a:lnTo>
                              <a:pt x="42" y="10"/>
                            </a:lnTo>
                            <a:lnTo>
                              <a:pt x="40" y="10"/>
                            </a:lnTo>
                            <a:lnTo>
                              <a:pt x="38" y="10"/>
                            </a:lnTo>
                            <a:lnTo>
                              <a:pt x="36" y="14"/>
                            </a:lnTo>
                            <a:lnTo>
                              <a:pt x="36" y="14"/>
                            </a:lnTo>
                            <a:lnTo>
                              <a:pt x="32" y="18"/>
                            </a:lnTo>
                            <a:lnTo>
                              <a:pt x="28" y="18"/>
                            </a:lnTo>
                            <a:lnTo>
                              <a:pt x="20" y="18"/>
                            </a:lnTo>
                            <a:lnTo>
                              <a:pt x="20" y="18"/>
                            </a:lnTo>
                            <a:lnTo>
                              <a:pt x="16" y="18"/>
                            </a:lnTo>
                            <a:lnTo>
                              <a:pt x="12" y="22"/>
                            </a:lnTo>
                            <a:lnTo>
                              <a:pt x="12" y="22"/>
                            </a:lnTo>
                            <a:lnTo>
                              <a:pt x="12" y="26"/>
                            </a:lnTo>
                            <a:lnTo>
                              <a:pt x="10" y="30"/>
                            </a:lnTo>
                            <a:lnTo>
                              <a:pt x="8" y="36"/>
                            </a:lnTo>
                            <a:lnTo>
                              <a:pt x="8" y="36"/>
                            </a:lnTo>
                            <a:lnTo>
                              <a:pt x="6" y="42"/>
                            </a:lnTo>
                            <a:lnTo>
                              <a:pt x="2" y="44"/>
                            </a:lnTo>
                            <a:lnTo>
                              <a:pt x="2" y="44"/>
                            </a:lnTo>
                            <a:lnTo>
                              <a:pt x="2" y="44"/>
                            </a:lnTo>
                            <a:lnTo>
                              <a:pt x="2" y="46"/>
                            </a:lnTo>
                            <a:lnTo>
                              <a:pt x="2" y="46"/>
                            </a:lnTo>
                            <a:lnTo>
                              <a:pt x="2" y="48"/>
                            </a:lnTo>
                            <a:lnTo>
                              <a:pt x="2" y="48"/>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1" name="Hungary"/>
                      <p:cNvSpPr>
                        <a:spLocks/>
                      </p:cNvSpPr>
                      <p:nvPr/>
                    </p:nvSpPr>
                    <p:spPr bwMode="auto">
                      <a:xfrm>
                        <a:off x="6237933" y="1913893"/>
                        <a:ext cx="170108" cy="94080"/>
                      </a:xfrm>
                      <a:custGeom>
                        <a:avLst/>
                        <a:gdLst/>
                        <a:ahLst/>
                        <a:cxnLst>
                          <a:cxn ang="0">
                            <a:pos x="112" y="14"/>
                          </a:cxn>
                          <a:cxn ang="0">
                            <a:pos x="106" y="8"/>
                          </a:cxn>
                          <a:cxn ang="0">
                            <a:pos x="106" y="4"/>
                          </a:cxn>
                          <a:cxn ang="0">
                            <a:pos x="98" y="6"/>
                          </a:cxn>
                          <a:cxn ang="0">
                            <a:pos x="90" y="2"/>
                          </a:cxn>
                          <a:cxn ang="0">
                            <a:pos x="82" y="2"/>
                          </a:cxn>
                          <a:cxn ang="0">
                            <a:pos x="76" y="4"/>
                          </a:cxn>
                          <a:cxn ang="0">
                            <a:pos x="72" y="4"/>
                          </a:cxn>
                          <a:cxn ang="0">
                            <a:pos x="62" y="10"/>
                          </a:cxn>
                          <a:cxn ang="0">
                            <a:pos x="54" y="12"/>
                          </a:cxn>
                          <a:cxn ang="0">
                            <a:pos x="44" y="14"/>
                          </a:cxn>
                          <a:cxn ang="0">
                            <a:pos x="40" y="16"/>
                          </a:cxn>
                          <a:cxn ang="0">
                            <a:pos x="42" y="18"/>
                          </a:cxn>
                          <a:cxn ang="0">
                            <a:pos x="38" y="20"/>
                          </a:cxn>
                          <a:cxn ang="0">
                            <a:pos x="30" y="20"/>
                          </a:cxn>
                          <a:cxn ang="0">
                            <a:pos x="18" y="18"/>
                          </a:cxn>
                          <a:cxn ang="0">
                            <a:pos x="14" y="22"/>
                          </a:cxn>
                          <a:cxn ang="0">
                            <a:pos x="6" y="20"/>
                          </a:cxn>
                          <a:cxn ang="0">
                            <a:pos x="2" y="20"/>
                          </a:cxn>
                          <a:cxn ang="0">
                            <a:pos x="6" y="24"/>
                          </a:cxn>
                          <a:cxn ang="0">
                            <a:pos x="8" y="26"/>
                          </a:cxn>
                          <a:cxn ang="0">
                            <a:pos x="6" y="30"/>
                          </a:cxn>
                          <a:cxn ang="0">
                            <a:pos x="6" y="34"/>
                          </a:cxn>
                          <a:cxn ang="0">
                            <a:pos x="0" y="40"/>
                          </a:cxn>
                          <a:cxn ang="0">
                            <a:pos x="4" y="42"/>
                          </a:cxn>
                          <a:cxn ang="0">
                            <a:pos x="6" y="44"/>
                          </a:cxn>
                          <a:cxn ang="0">
                            <a:pos x="6" y="44"/>
                          </a:cxn>
                          <a:cxn ang="0">
                            <a:pos x="8" y="48"/>
                          </a:cxn>
                          <a:cxn ang="0">
                            <a:pos x="10" y="50"/>
                          </a:cxn>
                          <a:cxn ang="0">
                            <a:pos x="18" y="54"/>
                          </a:cxn>
                          <a:cxn ang="0">
                            <a:pos x="22" y="56"/>
                          </a:cxn>
                          <a:cxn ang="0">
                            <a:pos x="34" y="60"/>
                          </a:cxn>
                          <a:cxn ang="0">
                            <a:pos x="36" y="62"/>
                          </a:cxn>
                          <a:cxn ang="0">
                            <a:pos x="40" y="62"/>
                          </a:cxn>
                          <a:cxn ang="0">
                            <a:pos x="46" y="56"/>
                          </a:cxn>
                          <a:cxn ang="0">
                            <a:pos x="54" y="54"/>
                          </a:cxn>
                          <a:cxn ang="0">
                            <a:pos x="60" y="54"/>
                          </a:cxn>
                          <a:cxn ang="0">
                            <a:pos x="62" y="56"/>
                          </a:cxn>
                          <a:cxn ang="0">
                            <a:pos x="70" y="54"/>
                          </a:cxn>
                          <a:cxn ang="0">
                            <a:pos x="82" y="54"/>
                          </a:cxn>
                          <a:cxn ang="0">
                            <a:pos x="86" y="54"/>
                          </a:cxn>
                          <a:cxn ang="0">
                            <a:pos x="90" y="50"/>
                          </a:cxn>
                          <a:cxn ang="0">
                            <a:pos x="98" y="38"/>
                          </a:cxn>
                          <a:cxn ang="0">
                            <a:pos x="104" y="28"/>
                          </a:cxn>
                          <a:cxn ang="0">
                            <a:pos x="102" y="24"/>
                          </a:cxn>
                          <a:cxn ang="0">
                            <a:pos x="104" y="20"/>
                          </a:cxn>
                          <a:cxn ang="0">
                            <a:pos x="112" y="14"/>
                          </a:cxn>
                        </a:cxnLst>
                        <a:rect l="0" t="0" r="r" b="b"/>
                        <a:pathLst>
                          <a:path w="112" h="62">
                            <a:moveTo>
                              <a:pt x="112" y="14"/>
                            </a:moveTo>
                            <a:lnTo>
                              <a:pt x="112" y="14"/>
                            </a:lnTo>
                            <a:lnTo>
                              <a:pt x="110" y="12"/>
                            </a:lnTo>
                            <a:lnTo>
                              <a:pt x="106" y="8"/>
                            </a:lnTo>
                            <a:lnTo>
                              <a:pt x="106" y="8"/>
                            </a:lnTo>
                            <a:lnTo>
                              <a:pt x="106" y="4"/>
                            </a:lnTo>
                            <a:lnTo>
                              <a:pt x="106" y="4"/>
                            </a:lnTo>
                            <a:lnTo>
                              <a:pt x="98" y="6"/>
                            </a:lnTo>
                            <a:lnTo>
                              <a:pt x="90" y="2"/>
                            </a:lnTo>
                            <a:lnTo>
                              <a:pt x="90" y="2"/>
                            </a:lnTo>
                            <a:lnTo>
                              <a:pt x="84" y="0"/>
                            </a:lnTo>
                            <a:lnTo>
                              <a:pt x="82" y="2"/>
                            </a:lnTo>
                            <a:lnTo>
                              <a:pt x="80" y="4"/>
                            </a:lnTo>
                            <a:lnTo>
                              <a:pt x="76" y="4"/>
                            </a:lnTo>
                            <a:lnTo>
                              <a:pt x="76" y="4"/>
                            </a:lnTo>
                            <a:lnTo>
                              <a:pt x="72" y="4"/>
                            </a:lnTo>
                            <a:lnTo>
                              <a:pt x="68" y="6"/>
                            </a:lnTo>
                            <a:lnTo>
                              <a:pt x="62" y="10"/>
                            </a:lnTo>
                            <a:lnTo>
                              <a:pt x="62" y="10"/>
                            </a:lnTo>
                            <a:lnTo>
                              <a:pt x="54" y="12"/>
                            </a:lnTo>
                            <a:lnTo>
                              <a:pt x="44" y="14"/>
                            </a:lnTo>
                            <a:lnTo>
                              <a:pt x="44" y="14"/>
                            </a:lnTo>
                            <a:lnTo>
                              <a:pt x="42" y="14"/>
                            </a:lnTo>
                            <a:lnTo>
                              <a:pt x="40" y="16"/>
                            </a:lnTo>
                            <a:lnTo>
                              <a:pt x="42" y="18"/>
                            </a:lnTo>
                            <a:lnTo>
                              <a:pt x="42" y="18"/>
                            </a:lnTo>
                            <a:lnTo>
                              <a:pt x="40" y="20"/>
                            </a:lnTo>
                            <a:lnTo>
                              <a:pt x="38" y="20"/>
                            </a:lnTo>
                            <a:lnTo>
                              <a:pt x="30" y="20"/>
                            </a:lnTo>
                            <a:lnTo>
                              <a:pt x="30" y="20"/>
                            </a:lnTo>
                            <a:lnTo>
                              <a:pt x="24" y="20"/>
                            </a:lnTo>
                            <a:lnTo>
                              <a:pt x="18" y="18"/>
                            </a:lnTo>
                            <a:lnTo>
                              <a:pt x="18" y="18"/>
                            </a:lnTo>
                            <a:lnTo>
                              <a:pt x="14" y="22"/>
                            </a:lnTo>
                            <a:lnTo>
                              <a:pt x="12" y="22"/>
                            </a:lnTo>
                            <a:lnTo>
                              <a:pt x="6" y="20"/>
                            </a:lnTo>
                            <a:lnTo>
                              <a:pt x="6" y="20"/>
                            </a:lnTo>
                            <a:lnTo>
                              <a:pt x="2" y="20"/>
                            </a:lnTo>
                            <a:lnTo>
                              <a:pt x="2" y="20"/>
                            </a:lnTo>
                            <a:lnTo>
                              <a:pt x="6" y="24"/>
                            </a:lnTo>
                            <a:lnTo>
                              <a:pt x="6" y="24"/>
                            </a:lnTo>
                            <a:lnTo>
                              <a:pt x="8" y="26"/>
                            </a:lnTo>
                            <a:lnTo>
                              <a:pt x="8" y="28"/>
                            </a:lnTo>
                            <a:lnTo>
                              <a:pt x="6" y="30"/>
                            </a:lnTo>
                            <a:lnTo>
                              <a:pt x="6" y="34"/>
                            </a:lnTo>
                            <a:lnTo>
                              <a:pt x="6" y="34"/>
                            </a:lnTo>
                            <a:lnTo>
                              <a:pt x="4" y="36"/>
                            </a:lnTo>
                            <a:lnTo>
                              <a:pt x="0" y="40"/>
                            </a:lnTo>
                            <a:lnTo>
                              <a:pt x="0" y="40"/>
                            </a:lnTo>
                            <a:lnTo>
                              <a:pt x="4" y="42"/>
                            </a:lnTo>
                            <a:lnTo>
                              <a:pt x="6" y="42"/>
                            </a:lnTo>
                            <a:lnTo>
                              <a:pt x="6" y="44"/>
                            </a:lnTo>
                            <a:lnTo>
                              <a:pt x="6" y="44"/>
                            </a:lnTo>
                            <a:lnTo>
                              <a:pt x="6" y="44"/>
                            </a:lnTo>
                            <a:lnTo>
                              <a:pt x="8" y="46"/>
                            </a:lnTo>
                            <a:lnTo>
                              <a:pt x="8" y="48"/>
                            </a:lnTo>
                            <a:lnTo>
                              <a:pt x="8" y="48"/>
                            </a:lnTo>
                            <a:lnTo>
                              <a:pt x="10" y="50"/>
                            </a:lnTo>
                            <a:lnTo>
                              <a:pt x="10" y="50"/>
                            </a:lnTo>
                            <a:lnTo>
                              <a:pt x="18" y="54"/>
                            </a:lnTo>
                            <a:lnTo>
                              <a:pt x="22" y="56"/>
                            </a:lnTo>
                            <a:lnTo>
                              <a:pt x="22" y="56"/>
                            </a:lnTo>
                            <a:lnTo>
                              <a:pt x="28" y="58"/>
                            </a:lnTo>
                            <a:lnTo>
                              <a:pt x="34" y="60"/>
                            </a:lnTo>
                            <a:lnTo>
                              <a:pt x="34" y="60"/>
                            </a:lnTo>
                            <a:lnTo>
                              <a:pt x="36" y="62"/>
                            </a:lnTo>
                            <a:lnTo>
                              <a:pt x="40" y="62"/>
                            </a:lnTo>
                            <a:lnTo>
                              <a:pt x="40" y="62"/>
                            </a:lnTo>
                            <a:lnTo>
                              <a:pt x="44" y="60"/>
                            </a:lnTo>
                            <a:lnTo>
                              <a:pt x="46" y="56"/>
                            </a:lnTo>
                            <a:lnTo>
                              <a:pt x="46" y="56"/>
                            </a:lnTo>
                            <a:lnTo>
                              <a:pt x="54" y="54"/>
                            </a:lnTo>
                            <a:lnTo>
                              <a:pt x="58" y="54"/>
                            </a:lnTo>
                            <a:lnTo>
                              <a:pt x="60" y="54"/>
                            </a:lnTo>
                            <a:lnTo>
                              <a:pt x="60" y="54"/>
                            </a:lnTo>
                            <a:lnTo>
                              <a:pt x="62" y="56"/>
                            </a:lnTo>
                            <a:lnTo>
                              <a:pt x="70" y="54"/>
                            </a:lnTo>
                            <a:lnTo>
                              <a:pt x="70" y="54"/>
                            </a:lnTo>
                            <a:lnTo>
                              <a:pt x="80" y="54"/>
                            </a:lnTo>
                            <a:lnTo>
                              <a:pt x="82" y="54"/>
                            </a:lnTo>
                            <a:lnTo>
                              <a:pt x="82" y="54"/>
                            </a:lnTo>
                            <a:lnTo>
                              <a:pt x="86" y="54"/>
                            </a:lnTo>
                            <a:lnTo>
                              <a:pt x="90" y="50"/>
                            </a:lnTo>
                            <a:lnTo>
                              <a:pt x="90" y="50"/>
                            </a:lnTo>
                            <a:lnTo>
                              <a:pt x="98" y="38"/>
                            </a:lnTo>
                            <a:lnTo>
                              <a:pt x="98" y="38"/>
                            </a:lnTo>
                            <a:lnTo>
                              <a:pt x="102" y="34"/>
                            </a:lnTo>
                            <a:lnTo>
                              <a:pt x="104" y="28"/>
                            </a:lnTo>
                            <a:lnTo>
                              <a:pt x="104" y="28"/>
                            </a:lnTo>
                            <a:lnTo>
                              <a:pt x="102" y="24"/>
                            </a:lnTo>
                            <a:lnTo>
                              <a:pt x="104" y="20"/>
                            </a:lnTo>
                            <a:lnTo>
                              <a:pt x="104" y="20"/>
                            </a:lnTo>
                            <a:lnTo>
                              <a:pt x="112" y="14"/>
                            </a:lnTo>
                            <a:lnTo>
                              <a:pt x="112" y="14"/>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3" name="Ireland"/>
                      <p:cNvSpPr>
                        <a:spLocks/>
                      </p:cNvSpPr>
                      <p:nvPr/>
                    </p:nvSpPr>
                    <p:spPr bwMode="auto">
                      <a:xfrm>
                        <a:off x="5517150" y="1721390"/>
                        <a:ext cx="115431" cy="106219"/>
                      </a:xfrm>
                      <a:custGeom>
                        <a:avLst/>
                        <a:gdLst/>
                        <a:ahLst/>
                        <a:cxnLst>
                          <a:cxn ang="0">
                            <a:pos x="66" y="2"/>
                          </a:cxn>
                          <a:cxn ang="0">
                            <a:pos x="58" y="2"/>
                          </a:cxn>
                          <a:cxn ang="0">
                            <a:pos x="56" y="4"/>
                          </a:cxn>
                          <a:cxn ang="0">
                            <a:pos x="50" y="2"/>
                          </a:cxn>
                          <a:cxn ang="0">
                            <a:pos x="44" y="4"/>
                          </a:cxn>
                          <a:cxn ang="0">
                            <a:pos x="42" y="8"/>
                          </a:cxn>
                          <a:cxn ang="0">
                            <a:pos x="36" y="10"/>
                          </a:cxn>
                          <a:cxn ang="0">
                            <a:pos x="44" y="14"/>
                          </a:cxn>
                          <a:cxn ang="0">
                            <a:pos x="42" y="16"/>
                          </a:cxn>
                          <a:cxn ang="0">
                            <a:pos x="38" y="20"/>
                          </a:cxn>
                          <a:cxn ang="0">
                            <a:pos x="32" y="18"/>
                          </a:cxn>
                          <a:cxn ang="0">
                            <a:pos x="20" y="18"/>
                          </a:cxn>
                          <a:cxn ang="0">
                            <a:pos x="16" y="20"/>
                          </a:cxn>
                          <a:cxn ang="0">
                            <a:pos x="14" y="22"/>
                          </a:cxn>
                          <a:cxn ang="0">
                            <a:pos x="14" y="24"/>
                          </a:cxn>
                          <a:cxn ang="0">
                            <a:pos x="18" y="28"/>
                          </a:cxn>
                          <a:cxn ang="0">
                            <a:pos x="16" y="30"/>
                          </a:cxn>
                          <a:cxn ang="0">
                            <a:pos x="12" y="32"/>
                          </a:cxn>
                          <a:cxn ang="0">
                            <a:pos x="10" y="34"/>
                          </a:cxn>
                          <a:cxn ang="0">
                            <a:pos x="14" y="36"/>
                          </a:cxn>
                          <a:cxn ang="0">
                            <a:pos x="20" y="38"/>
                          </a:cxn>
                          <a:cxn ang="0">
                            <a:pos x="28" y="38"/>
                          </a:cxn>
                          <a:cxn ang="0">
                            <a:pos x="22" y="42"/>
                          </a:cxn>
                          <a:cxn ang="0">
                            <a:pos x="20" y="46"/>
                          </a:cxn>
                          <a:cxn ang="0">
                            <a:pos x="14" y="48"/>
                          </a:cxn>
                          <a:cxn ang="0">
                            <a:pos x="20" y="50"/>
                          </a:cxn>
                          <a:cxn ang="0">
                            <a:pos x="28" y="46"/>
                          </a:cxn>
                          <a:cxn ang="0">
                            <a:pos x="32" y="48"/>
                          </a:cxn>
                          <a:cxn ang="0">
                            <a:pos x="14" y="52"/>
                          </a:cxn>
                          <a:cxn ang="0">
                            <a:pos x="14" y="56"/>
                          </a:cxn>
                          <a:cxn ang="0">
                            <a:pos x="8" y="56"/>
                          </a:cxn>
                          <a:cxn ang="0">
                            <a:pos x="2" y="58"/>
                          </a:cxn>
                          <a:cxn ang="0">
                            <a:pos x="14" y="58"/>
                          </a:cxn>
                          <a:cxn ang="0">
                            <a:pos x="0" y="62"/>
                          </a:cxn>
                          <a:cxn ang="0">
                            <a:pos x="6" y="64"/>
                          </a:cxn>
                          <a:cxn ang="0">
                            <a:pos x="6" y="66"/>
                          </a:cxn>
                          <a:cxn ang="0">
                            <a:pos x="10" y="66"/>
                          </a:cxn>
                          <a:cxn ang="0">
                            <a:pos x="12" y="68"/>
                          </a:cxn>
                          <a:cxn ang="0">
                            <a:pos x="12" y="70"/>
                          </a:cxn>
                          <a:cxn ang="0">
                            <a:pos x="26" y="68"/>
                          </a:cxn>
                          <a:cxn ang="0">
                            <a:pos x="36" y="66"/>
                          </a:cxn>
                          <a:cxn ang="0">
                            <a:pos x="42" y="64"/>
                          </a:cxn>
                          <a:cxn ang="0">
                            <a:pos x="48" y="60"/>
                          </a:cxn>
                          <a:cxn ang="0">
                            <a:pos x="58" y="60"/>
                          </a:cxn>
                          <a:cxn ang="0">
                            <a:pos x="60" y="60"/>
                          </a:cxn>
                          <a:cxn ang="0">
                            <a:pos x="68" y="60"/>
                          </a:cxn>
                          <a:cxn ang="0">
                            <a:pos x="70" y="56"/>
                          </a:cxn>
                          <a:cxn ang="0">
                            <a:pos x="76" y="50"/>
                          </a:cxn>
                          <a:cxn ang="0">
                            <a:pos x="76" y="44"/>
                          </a:cxn>
                          <a:cxn ang="0">
                            <a:pos x="74" y="38"/>
                          </a:cxn>
                          <a:cxn ang="0">
                            <a:pos x="76" y="34"/>
                          </a:cxn>
                          <a:cxn ang="0">
                            <a:pos x="74" y="30"/>
                          </a:cxn>
                          <a:cxn ang="0">
                            <a:pos x="74" y="26"/>
                          </a:cxn>
                          <a:cxn ang="0">
                            <a:pos x="72" y="24"/>
                          </a:cxn>
                          <a:cxn ang="0">
                            <a:pos x="66" y="20"/>
                          </a:cxn>
                          <a:cxn ang="0">
                            <a:pos x="58" y="20"/>
                          </a:cxn>
                          <a:cxn ang="0">
                            <a:pos x="52" y="12"/>
                          </a:cxn>
                          <a:cxn ang="0">
                            <a:pos x="56" y="8"/>
                          </a:cxn>
                        </a:cxnLst>
                        <a:rect l="0" t="0" r="r" b="b"/>
                        <a:pathLst>
                          <a:path w="76" h="70">
                            <a:moveTo>
                              <a:pt x="60" y="6"/>
                            </a:moveTo>
                            <a:lnTo>
                              <a:pt x="60" y="6"/>
                            </a:lnTo>
                            <a:lnTo>
                              <a:pt x="64" y="4"/>
                            </a:lnTo>
                            <a:lnTo>
                              <a:pt x="64" y="4"/>
                            </a:lnTo>
                            <a:lnTo>
                              <a:pt x="66" y="2"/>
                            </a:lnTo>
                            <a:lnTo>
                              <a:pt x="62" y="0"/>
                            </a:lnTo>
                            <a:lnTo>
                              <a:pt x="62" y="0"/>
                            </a:lnTo>
                            <a:lnTo>
                              <a:pt x="60" y="0"/>
                            </a:lnTo>
                            <a:lnTo>
                              <a:pt x="58" y="2"/>
                            </a:lnTo>
                            <a:lnTo>
                              <a:pt x="58" y="2"/>
                            </a:lnTo>
                            <a:lnTo>
                              <a:pt x="58" y="2"/>
                            </a:lnTo>
                            <a:lnTo>
                              <a:pt x="58" y="4"/>
                            </a:lnTo>
                            <a:lnTo>
                              <a:pt x="56" y="6"/>
                            </a:lnTo>
                            <a:lnTo>
                              <a:pt x="56" y="6"/>
                            </a:lnTo>
                            <a:lnTo>
                              <a:pt x="56" y="4"/>
                            </a:lnTo>
                            <a:lnTo>
                              <a:pt x="54" y="2"/>
                            </a:lnTo>
                            <a:lnTo>
                              <a:pt x="54" y="2"/>
                            </a:lnTo>
                            <a:lnTo>
                              <a:pt x="52" y="2"/>
                            </a:lnTo>
                            <a:lnTo>
                              <a:pt x="50" y="2"/>
                            </a:lnTo>
                            <a:lnTo>
                              <a:pt x="50" y="2"/>
                            </a:lnTo>
                            <a:lnTo>
                              <a:pt x="48" y="2"/>
                            </a:lnTo>
                            <a:lnTo>
                              <a:pt x="46" y="2"/>
                            </a:lnTo>
                            <a:lnTo>
                              <a:pt x="46" y="2"/>
                            </a:lnTo>
                            <a:lnTo>
                              <a:pt x="44" y="2"/>
                            </a:lnTo>
                            <a:lnTo>
                              <a:pt x="44" y="4"/>
                            </a:lnTo>
                            <a:lnTo>
                              <a:pt x="42" y="6"/>
                            </a:lnTo>
                            <a:lnTo>
                              <a:pt x="42" y="6"/>
                            </a:lnTo>
                            <a:lnTo>
                              <a:pt x="40" y="6"/>
                            </a:lnTo>
                            <a:lnTo>
                              <a:pt x="42" y="8"/>
                            </a:lnTo>
                            <a:lnTo>
                              <a:pt x="42" y="8"/>
                            </a:lnTo>
                            <a:lnTo>
                              <a:pt x="40" y="8"/>
                            </a:lnTo>
                            <a:lnTo>
                              <a:pt x="40" y="8"/>
                            </a:lnTo>
                            <a:lnTo>
                              <a:pt x="38" y="10"/>
                            </a:lnTo>
                            <a:lnTo>
                              <a:pt x="36" y="10"/>
                            </a:lnTo>
                            <a:lnTo>
                              <a:pt x="36" y="10"/>
                            </a:lnTo>
                            <a:lnTo>
                              <a:pt x="34" y="12"/>
                            </a:lnTo>
                            <a:lnTo>
                              <a:pt x="36" y="12"/>
                            </a:lnTo>
                            <a:lnTo>
                              <a:pt x="36" y="12"/>
                            </a:lnTo>
                            <a:lnTo>
                              <a:pt x="40" y="14"/>
                            </a:lnTo>
                            <a:lnTo>
                              <a:pt x="44" y="14"/>
                            </a:lnTo>
                            <a:lnTo>
                              <a:pt x="44" y="14"/>
                            </a:lnTo>
                            <a:lnTo>
                              <a:pt x="44" y="14"/>
                            </a:lnTo>
                            <a:lnTo>
                              <a:pt x="42" y="16"/>
                            </a:lnTo>
                            <a:lnTo>
                              <a:pt x="42" y="16"/>
                            </a:lnTo>
                            <a:lnTo>
                              <a:pt x="42" y="16"/>
                            </a:lnTo>
                            <a:lnTo>
                              <a:pt x="38" y="18"/>
                            </a:lnTo>
                            <a:lnTo>
                              <a:pt x="38" y="18"/>
                            </a:lnTo>
                            <a:lnTo>
                              <a:pt x="36" y="18"/>
                            </a:lnTo>
                            <a:lnTo>
                              <a:pt x="38" y="20"/>
                            </a:lnTo>
                            <a:lnTo>
                              <a:pt x="38" y="20"/>
                            </a:lnTo>
                            <a:lnTo>
                              <a:pt x="38" y="20"/>
                            </a:lnTo>
                            <a:lnTo>
                              <a:pt x="38" y="20"/>
                            </a:lnTo>
                            <a:lnTo>
                              <a:pt x="36" y="20"/>
                            </a:lnTo>
                            <a:lnTo>
                              <a:pt x="32" y="18"/>
                            </a:lnTo>
                            <a:lnTo>
                              <a:pt x="32" y="18"/>
                            </a:lnTo>
                            <a:lnTo>
                              <a:pt x="30" y="20"/>
                            </a:lnTo>
                            <a:lnTo>
                              <a:pt x="28" y="20"/>
                            </a:lnTo>
                            <a:lnTo>
                              <a:pt x="28" y="18"/>
                            </a:lnTo>
                            <a:lnTo>
                              <a:pt x="28" y="18"/>
                            </a:lnTo>
                            <a:lnTo>
                              <a:pt x="20" y="18"/>
                            </a:lnTo>
                            <a:lnTo>
                              <a:pt x="20" y="18"/>
                            </a:lnTo>
                            <a:lnTo>
                              <a:pt x="16" y="18"/>
                            </a:lnTo>
                            <a:lnTo>
                              <a:pt x="16" y="18"/>
                            </a:lnTo>
                            <a:lnTo>
                              <a:pt x="14" y="20"/>
                            </a:lnTo>
                            <a:lnTo>
                              <a:pt x="16" y="20"/>
                            </a:lnTo>
                            <a:lnTo>
                              <a:pt x="16" y="20"/>
                            </a:lnTo>
                            <a:lnTo>
                              <a:pt x="16" y="20"/>
                            </a:lnTo>
                            <a:lnTo>
                              <a:pt x="16" y="24"/>
                            </a:lnTo>
                            <a:lnTo>
                              <a:pt x="16" y="24"/>
                            </a:lnTo>
                            <a:lnTo>
                              <a:pt x="14" y="22"/>
                            </a:lnTo>
                            <a:lnTo>
                              <a:pt x="12" y="24"/>
                            </a:lnTo>
                            <a:lnTo>
                              <a:pt x="12" y="24"/>
                            </a:lnTo>
                            <a:lnTo>
                              <a:pt x="12" y="24"/>
                            </a:lnTo>
                            <a:lnTo>
                              <a:pt x="14" y="24"/>
                            </a:lnTo>
                            <a:lnTo>
                              <a:pt x="14" y="24"/>
                            </a:lnTo>
                            <a:lnTo>
                              <a:pt x="16" y="26"/>
                            </a:lnTo>
                            <a:lnTo>
                              <a:pt x="18" y="26"/>
                            </a:lnTo>
                            <a:lnTo>
                              <a:pt x="18" y="26"/>
                            </a:lnTo>
                            <a:lnTo>
                              <a:pt x="20" y="26"/>
                            </a:lnTo>
                            <a:lnTo>
                              <a:pt x="18" y="28"/>
                            </a:lnTo>
                            <a:lnTo>
                              <a:pt x="18" y="28"/>
                            </a:lnTo>
                            <a:lnTo>
                              <a:pt x="14" y="28"/>
                            </a:lnTo>
                            <a:lnTo>
                              <a:pt x="16" y="30"/>
                            </a:lnTo>
                            <a:lnTo>
                              <a:pt x="16" y="30"/>
                            </a:lnTo>
                            <a:lnTo>
                              <a:pt x="16" y="30"/>
                            </a:lnTo>
                            <a:lnTo>
                              <a:pt x="16" y="32"/>
                            </a:lnTo>
                            <a:lnTo>
                              <a:pt x="12" y="30"/>
                            </a:lnTo>
                            <a:lnTo>
                              <a:pt x="12" y="30"/>
                            </a:lnTo>
                            <a:lnTo>
                              <a:pt x="10" y="32"/>
                            </a:lnTo>
                            <a:lnTo>
                              <a:pt x="12" y="32"/>
                            </a:lnTo>
                            <a:lnTo>
                              <a:pt x="12" y="32"/>
                            </a:lnTo>
                            <a:lnTo>
                              <a:pt x="10" y="34"/>
                            </a:lnTo>
                            <a:lnTo>
                              <a:pt x="10" y="34"/>
                            </a:lnTo>
                            <a:lnTo>
                              <a:pt x="10" y="34"/>
                            </a:lnTo>
                            <a:lnTo>
                              <a:pt x="10" y="34"/>
                            </a:lnTo>
                            <a:lnTo>
                              <a:pt x="14" y="34"/>
                            </a:lnTo>
                            <a:lnTo>
                              <a:pt x="14" y="34"/>
                            </a:lnTo>
                            <a:lnTo>
                              <a:pt x="16" y="34"/>
                            </a:lnTo>
                            <a:lnTo>
                              <a:pt x="14" y="36"/>
                            </a:lnTo>
                            <a:lnTo>
                              <a:pt x="14" y="36"/>
                            </a:lnTo>
                            <a:lnTo>
                              <a:pt x="14" y="36"/>
                            </a:lnTo>
                            <a:lnTo>
                              <a:pt x="18" y="36"/>
                            </a:lnTo>
                            <a:lnTo>
                              <a:pt x="18" y="36"/>
                            </a:lnTo>
                            <a:lnTo>
                              <a:pt x="20" y="36"/>
                            </a:lnTo>
                            <a:lnTo>
                              <a:pt x="20" y="38"/>
                            </a:lnTo>
                            <a:lnTo>
                              <a:pt x="20" y="38"/>
                            </a:lnTo>
                            <a:lnTo>
                              <a:pt x="20" y="38"/>
                            </a:lnTo>
                            <a:lnTo>
                              <a:pt x="22" y="38"/>
                            </a:lnTo>
                            <a:lnTo>
                              <a:pt x="28" y="38"/>
                            </a:lnTo>
                            <a:lnTo>
                              <a:pt x="28" y="38"/>
                            </a:lnTo>
                            <a:lnTo>
                              <a:pt x="30" y="38"/>
                            </a:lnTo>
                            <a:lnTo>
                              <a:pt x="26" y="40"/>
                            </a:lnTo>
                            <a:lnTo>
                              <a:pt x="26" y="40"/>
                            </a:lnTo>
                            <a:lnTo>
                              <a:pt x="24" y="40"/>
                            </a:lnTo>
                            <a:lnTo>
                              <a:pt x="22" y="42"/>
                            </a:lnTo>
                            <a:lnTo>
                              <a:pt x="22" y="42"/>
                            </a:lnTo>
                            <a:lnTo>
                              <a:pt x="20" y="44"/>
                            </a:lnTo>
                            <a:lnTo>
                              <a:pt x="22" y="44"/>
                            </a:lnTo>
                            <a:lnTo>
                              <a:pt x="22" y="44"/>
                            </a:lnTo>
                            <a:lnTo>
                              <a:pt x="20" y="46"/>
                            </a:lnTo>
                            <a:lnTo>
                              <a:pt x="18" y="46"/>
                            </a:lnTo>
                            <a:lnTo>
                              <a:pt x="18" y="46"/>
                            </a:lnTo>
                            <a:lnTo>
                              <a:pt x="18" y="46"/>
                            </a:lnTo>
                            <a:lnTo>
                              <a:pt x="14" y="48"/>
                            </a:lnTo>
                            <a:lnTo>
                              <a:pt x="14" y="48"/>
                            </a:lnTo>
                            <a:lnTo>
                              <a:pt x="12" y="50"/>
                            </a:lnTo>
                            <a:lnTo>
                              <a:pt x="14" y="50"/>
                            </a:lnTo>
                            <a:lnTo>
                              <a:pt x="14" y="50"/>
                            </a:lnTo>
                            <a:lnTo>
                              <a:pt x="18" y="50"/>
                            </a:lnTo>
                            <a:lnTo>
                              <a:pt x="20" y="50"/>
                            </a:lnTo>
                            <a:lnTo>
                              <a:pt x="20" y="50"/>
                            </a:lnTo>
                            <a:lnTo>
                              <a:pt x="24" y="50"/>
                            </a:lnTo>
                            <a:lnTo>
                              <a:pt x="28" y="48"/>
                            </a:lnTo>
                            <a:lnTo>
                              <a:pt x="28" y="48"/>
                            </a:lnTo>
                            <a:lnTo>
                              <a:pt x="28" y="46"/>
                            </a:lnTo>
                            <a:lnTo>
                              <a:pt x="28" y="48"/>
                            </a:lnTo>
                            <a:lnTo>
                              <a:pt x="28" y="48"/>
                            </a:lnTo>
                            <a:lnTo>
                              <a:pt x="28" y="48"/>
                            </a:lnTo>
                            <a:lnTo>
                              <a:pt x="32" y="48"/>
                            </a:lnTo>
                            <a:lnTo>
                              <a:pt x="32" y="48"/>
                            </a:lnTo>
                            <a:lnTo>
                              <a:pt x="18" y="50"/>
                            </a:lnTo>
                            <a:lnTo>
                              <a:pt x="18" y="50"/>
                            </a:lnTo>
                            <a:lnTo>
                              <a:pt x="16" y="50"/>
                            </a:lnTo>
                            <a:lnTo>
                              <a:pt x="14" y="52"/>
                            </a:lnTo>
                            <a:lnTo>
                              <a:pt x="14" y="52"/>
                            </a:lnTo>
                            <a:lnTo>
                              <a:pt x="12" y="54"/>
                            </a:lnTo>
                            <a:lnTo>
                              <a:pt x="12" y="54"/>
                            </a:lnTo>
                            <a:lnTo>
                              <a:pt x="12" y="54"/>
                            </a:lnTo>
                            <a:lnTo>
                              <a:pt x="12" y="54"/>
                            </a:lnTo>
                            <a:lnTo>
                              <a:pt x="14" y="56"/>
                            </a:lnTo>
                            <a:lnTo>
                              <a:pt x="14" y="56"/>
                            </a:lnTo>
                            <a:lnTo>
                              <a:pt x="12" y="56"/>
                            </a:lnTo>
                            <a:lnTo>
                              <a:pt x="10" y="56"/>
                            </a:lnTo>
                            <a:lnTo>
                              <a:pt x="10" y="56"/>
                            </a:lnTo>
                            <a:lnTo>
                              <a:pt x="8" y="56"/>
                            </a:lnTo>
                            <a:lnTo>
                              <a:pt x="4" y="56"/>
                            </a:lnTo>
                            <a:lnTo>
                              <a:pt x="4" y="56"/>
                            </a:lnTo>
                            <a:lnTo>
                              <a:pt x="0" y="58"/>
                            </a:lnTo>
                            <a:lnTo>
                              <a:pt x="0" y="58"/>
                            </a:lnTo>
                            <a:lnTo>
                              <a:pt x="2" y="58"/>
                            </a:lnTo>
                            <a:lnTo>
                              <a:pt x="2" y="58"/>
                            </a:lnTo>
                            <a:lnTo>
                              <a:pt x="6" y="58"/>
                            </a:lnTo>
                            <a:lnTo>
                              <a:pt x="6" y="58"/>
                            </a:lnTo>
                            <a:lnTo>
                              <a:pt x="14" y="58"/>
                            </a:lnTo>
                            <a:lnTo>
                              <a:pt x="14" y="58"/>
                            </a:lnTo>
                            <a:lnTo>
                              <a:pt x="10" y="58"/>
                            </a:lnTo>
                            <a:lnTo>
                              <a:pt x="10" y="58"/>
                            </a:lnTo>
                            <a:lnTo>
                              <a:pt x="2" y="62"/>
                            </a:lnTo>
                            <a:lnTo>
                              <a:pt x="2" y="62"/>
                            </a:lnTo>
                            <a:lnTo>
                              <a:pt x="0" y="62"/>
                            </a:lnTo>
                            <a:lnTo>
                              <a:pt x="0" y="64"/>
                            </a:lnTo>
                            <a:lnTo>
                              <a:pt x="4" y="64"/>
                            </a:lnTo>
                            <a:lnTo>
                              <a:pt x="4" y="64"/>
                            </a:lnTo>
                            <a:lnTo>
                              <a:pt x="6" y="64"/>
                            </a:lnTo>
                            <a:lnTo>
                              <a:pt x="6" y="64"/>
                            </a:lnTo>
                            <a:lnTo>
                              <a:pt x="8" y="64"/>
                            </a:lnTo>
                            <a:lnTo>
                              <a:pt x="8" y="64"/>
                            </a:lnTo>
                            <a:lnTo>
                              <a:pt x="16" y="62"/>
                            </a:lnTo>
                            <a:lnTo>
                              <a:pt x="16" y="62"/>
                            </a:lnTo>
                            <a:lnTo>
                              <a:pt x="6" y="66"/>
                            </a:lnTo>
                            <a:lnTo>
                              <a:pt x="6" y="66"/>
                            </a:lnTo>
                            <a:lnTo>
                              <a:pt x="6" y="66"/>
                            </a:lnTo>
                            <a:lnTo>
                              <a:pt x="6" y="68"/>
                            </a:lnTo>
                            <a:lnTo>
                              <a:pt x="10" y="66"/>
                            </a:lnTo>
                            <a:lnTo>
                              <a:pt x="10" y="66"/>
                            </a:lnTo>
                            <a:lnTo>
                              <a:pt x="12" y="66"/>
                            </a:lnTo>
                            <a:lnTo>
                              <a:pt x="16" y="66"/>
                            </a:lnTo>
                            <a:lnTo>
                              <a:pt x="16" y="66"/>
                            </a:lnTo>
                            <a:lnTo>
                              <a:pt x="14" y="68"/>
                            </a:lnTo>
                            <a:lnTo>
                              <a:pt x="12" y="68"/>
                            </a:lnTo>
                            <a:lnTo>
                              <a:pt x="12" y="68"/>
                            </a:lnTo>
                            <a:lnTo>
                              <a:pt x="10" y="70"/>
                            </a:lnTo>
                            <a:lnTo>
                              <a:pt x="10" y="70"/>
                            </a:lnTo>
                            <a:lnTo>
                              <a:pt x="12" y="70"/>
                            </a:lnTo>
                            <a:lnTo>
                              <a:pt x="12" y="70"/>
                            </a:lnTo>
                            <a:lnTo>
                              <a:pt x="16" y="70"/>
                            </a:lnTo>
                            <a:lnTo>
                              <a:pt x="18" y="70"/>
                            </a:lnTo>
                            <a:lnTo>
                              <a:pt x="18" y="70"/>
                            </a:lnTo>
                            <a:lnTo>
                              <a:pt x="22" y="70"/>
                            </a:lnTo>
                            <a:lnTo>
                              <a:pt x="26" y="68"/>
                            </a:lnTo>
                            <a:lnTo>
                              <a:pt x="26" y="68"/>
                            </a:lnTo>
                            <a:lnTo>
                              <a:pt x="30" y="68"/>
                            </a:lnTo>
                            <a:lnTo>
                              <a:pt x="32" y="68"/>
                            </a:lnTo>
                            <a:lnTo>
                              <a:pt x="32" y="68"/>
                            </a:lnTo>
                            <a:lnTo>
                              <a:pt x="36" y="66"/>
                            </a:lnTo>
                            <a:lnTo>
                              <a:pt x="38" y="66"/>
                            </a:lnTo>
                            <a:lnTo>
                              <a:pt x="38" y="66"/>
                            </a:lnTo>
                            <a:lnTo>
                              <a:pt x="40" y="64"/>
                            </a:lnTo>
                            <a:lnTo>
                              <a:pt x="42" y="64"/>
                            </a:lnTo>
                            <a:lnTo>
                              <a:pt x="42" y="64"/>
                            </a:lnTo>
                            <a:lnTo>
                              <a:pt x="44" y="62"/>
                            </a:lnTo>
                            <a:lnTo>
                              <a:pt x="44" y="62"/>
                            </a:lnTo>
                            <a:lnTo>
                              <a:pt x="46" y="62"/>
                            </a:lnTo>
                            <a:lnTo>
                              <a:pt x="48" y="60"/>
                            </a:lnTo>
                            <a:lnTo>
                              <a:pt x="48" y="60"/>
                            </a:lnTo>
                            <a:lnTo>
                              <a:pt x="50" y="60"/>
                            </a:lnTo>
                            <a:lnTo>
                              <a:pt x="52" y="60"/>
                            </a:lnTo>
                            <a:lnTo>
                              <a:pt x="52" y="60"/>
                            </a:lnTo>
                            <a:lnTo>
                              <a:pt x="58" y="60"/>
                            </a:lnTo>
                            <a:lnTo>
                              <a:pt x="58" y="60"/>
                            </a:lnTo>
                            <a:lnTo>
                              <a:pt x="60" y="54"/>
                            </a:lnTo>
                            <a:lnTo>
                              <a:pt x="60" y="54"/>
                            </a:lnTo>
                            <a:lnTo>
                              <a:pt x="60" y="60"/>
                            </a:lnTo>
                            <a:lnTo>
                              <a:pt x="60" y="60"/>
                            </a:lnTo>
                            <a:lnTo>
                              <a:pt x="60" y="60"/>
                            </a:lnTo>
                            <a:lnTo>
                              <a:pt x="62" y="60"/>
                            </a:lnTo>
                            <a:lnTo>
                              <a:pt x="64" y="58"/>
                            </a:lnTo>
                            <a:lnTo>
                              <a:pt x="64" y="58"/>
                            </a:lnTo>
                            <a:lnTo>
                              <a:pt x="64" y="58"/>
                            </a:lnTo>
                            <a:lnTo>
                              <a:pt x="68" y="60"/>
                            </a:lnTo>
                            <a:lnTo>
                              <a:pt x="70" y="60"/>
                            </a:lnTo>
                            <a:lnTo>
                              <a:pt x="70" y="60"/>
                            </a:lnTo>
                            <a:lnTo>
                              <a:pt x="72" y="60"/>
                            </a:lnTo>
                            <a:lnTo>
                              <a:pt x="70" y="58"/>
                            </a:lnTo>
                            <a:lnTo>
                              <a:pt x="70" y="56"/>
                            </a:lnTo>
                            <a:lnTo>
                              <a:pt x="70" y="56"/>
                            </a:lnTo>
                            <a:lnTo>
                              <a:pt x="74" y="52"/>
                            </a:lnTo>
                            <a:lnTo>
                              <a:pt x="74" y="52"/>
                            </a:lnTo>
                            <a:lnTo>
                              <a:pt x="74" y="50"/>
                            </a:lnTo>
                            <a:lnTo>
                              <a:pt x="76" y="50"/>
                            </a:lnTo>
                            <a:lnTo>
                              <a:pt x="76" y="50"/>
                            </a:lnTo>
                            <a:lnTo>
                              <a:pt x="76" y="48"/>
                            </a:lnTo>
                            <a:lnTo>
                              <a:pt x="76" y="46"/>
                            </a:lnTo>
                            <a:lnTo>
                              <a:pt x="76" y="46"/>
                            </a:lnTo>
                            <a:lnTo>
                              <a:pt x="76" y="44"/>
                            </a:lnTo>
                            <a:lnTo>
                              <a:pt x="76" y="42"/>
                            </a:lnTo>
                            <a:lnTo>
                              <a:pt x="76" y="42"/>
                            </a:lnTo>
                            <a:lnTo>
                              <a:pt x="74" y="38"/>
                            </a:lnTo>
                            <a:lnTo>
                              <a:pt x="74" y="38"/>
                            </a:lnTo>
                            <a:lnTo>
                              <a:pt x="74" y="38"/>
                            </a:lnTo>
                            <a:lnTo>
                              <a:pt x="74" y="38"/>
                            </a:lnTo>
                            <a:lnTo>
                              <a:pt x="76" y="36"/>
                            </a:lnTo>
                            <a:lnTo>
                              <a:pt x="76" y="36"/>
                            </a:lnTo>
                            <a:lnTo>
                              <a:pt x="76" y="36"/>
                            </a:lnTo>
                            <a:lnTo>
                              <a:pt x="76" y="34"/>
                            </a:lnTo>
                            <a:lnTo>
                              <a:pt x="76" y="34"/>
                            </a:lnTo>
                            <a:lnTo>
                              <a:pt x="76" y="34"/>
                            </a:lnTo>
                            <a:lnTo>
                              <a:pt x="76" y="34"/>
                            </a:lnTo>
                            <a:lnTo>
                              <a:pt x="74" y="30"/>
                            </a:lnTo>
                            <a:lnTo>
                              <a:pt x="74" y="30"/>
                            </a:lnTo>
                            <a:lnTo>
                              <a:pt x="74" y="30"/>
                            </a:lnTo>
                            <a:lnTo>
                              <a:pt x="72" y="28"/>
                            </a:lnTo>
                            <a:lnTo>
                              <a:pt x="72" y="28"/>
                            </a:lnTo>
                            <a:lnTo>
                              <a:pt x="72" y="26"/>
                            </a:lnTo>
                            <a:lnTo>
                              <a:pt x="74" y="26"/>
                            </a:lnTo>
                            <a:lnTo>
                              <a:pt x="74" y="26"/>
                            </a:lnTo>
                            <a:lnTo>
                              <a:pt x="76" y="26"/>
                            </a:lnTo>
                            <a:lnTo>
                              <a:pt x="76" y="26"/>
                            </a:lnTo>
                            <a:lnTo>
                              <a:pt x="76" y="26"/>
                            </a:lnTo>
                            <a:lnTo>
                              <a:pt x="72" y="24"/>
                            </a:lnTo>
                            <a:lnTo>
                              <a:pt x="68" y="24"/>
                            </a:lnTo>
                            <a:lnTo>
                              <a:pt x="68" y="24"/>
                            </a:lnTo>
                            <a:lnTo>
                              <a:pt x="68" y="24"/>
                            </a:lnTo>
                            <a:lnTo>
                              <a:pt x="66" y="22"/>
                            </a:lnTo>
                            <a:lnTo>
                              <a:pt x="66" y="20"/>
                            </a:lnTo>
                            <a:lnTo>
                              <a:pt x="66" y="20"/>
                            </a:lnTo>
                            <a:lnTo>
                              <a:pt x="62" y="16"/>
                            </a:lnTo>
                            <a:lnTo>
                              <a:pt x="60" y="18"/>
                            </a:lnTo>
                            <a:lnTo>
                              <a:pt x="60" y="18"/>
                            </a:lnTo>
                            <a:lnTo>
                              <a:pt x="58" y="20"/>
                            </a:lnTo>
                            <a:lnTo>
                              <a:pt x="56" y="20"/>
                            </a:lnTo>
                            <a:lnTo>
                              <a:pt x="50" y="18"/>
                            </a:lnTo>
                            <a:lnTo>
                              <a:pt x="50" y="18"/>
                            </a:lnTo>
                            <a:lnTo>
                              <a:pt x="48" y="14"/>
                            </a:lnTo>
                            <a:lnTo>
                              <a:pt x="52" y="12"/>
                            </a:lnTo>
                            <a:lnTo>
                              <a:pt x="52" y="12"/>
                            </a:lnTo>
                            <a:lnTo>
                              <a:pt x="52" y="12"/>
                            </a:lnTo>
                            <a:lnTo>
                              <a:pt x="52" y="10"/>
                            </a:lnTo>
                            <a:lnTo>
                              <a:pt x="54" y="8"/>
                            </a:lnTo>
                            <a:lnTo>
                              <a:pt x="56" y="8"/>
                            </a:lnTo>
                            <a:lnTo>
                              <a:pt x="56" y="8"/>
                            </a:lnTo>
                            <a:lnTo>
                              <a:pt x="58" y="8"/>
                            </a:lnTo>
                            <a:lnTo>
                              <a:pt x="60" y="6"/>
                            </a:lnTo>
                            <a:lnTo>
                              <a:pt x="60" y="6"/>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4" name="Italy"/>
                      <p:cNvSpPr>
                        <a:spLocks/>
                      </p:cNvSpPr>
                      <p:nvPr/>
                    </p:nvSpPr>
                    <p:spPr bwMode="auto">
                      <a:xfrm>
                        <a:off x="5975835" y="1970610"/>
                        <a:ext cx="343253" cy="324727"/>
                      </a:xfrm>
                      <a:custGeom>
                        <a:avLst/>
                        <a:gdLst/>
                        <a:ahLst/>
                        <a:cxnLst/>
                        <a:rect l="l" t="t" r="r" b="b"/>
                        <a:pathLst>
                          <a:path w="298979" h="283104">
                            <a:moveTo>
                              <a:pt x="235479" y="238125"/>
                            </a:moveTo>
                            <a:lnTo>
                              <a:pt x="235479" y="240771"/>
                            </a:lnTo>
                            <a:lnTo>
                              <a:pt x="232833" y="248708"/>
                            </a:lnTo>
                            <a:lnTo>
                              <a:pt x="227542" y="254000"/>
                            </a:lnTo>
                            <a:lnTo>
                              <a:pt x="224896" y="256646"/>
                            </a:lnTo>
                            <a:lnTo>
                              <a:pt x="224896" y="259292"/>
                            </a:lnTo>
                            <a:lnTo>
                              <a:pt x="227542" y="261938"/>
                            </a:lnTo>
                            <a:lnTo>
                              <a:pt x="224896" y="261938"/>
                            </a:lnTo>
                            <a:lnTo>
                              <a:pt x="224896" y="264583"/>
                            </a:lnTo>
                            <a:lnTo>
                              <a:pt x="224896" y="267229"/>
                            </a:lnTo>
                            <a:lnTo>
                              <a:pt x="224896" y="269875"/>
                            </a:lnTo>
                            <a:lnTo>
                              <a:pt x="224896" y="275167"/>
                            </a:lnTo>
                            <a:lnTo>
                              <a:pt x="222250" y="280458"/>
                            </a:lnTo>
                            <a:lnTo>
                              <a:pt x="222250" y="283104"/>
                            </a:lnTo>
                            <a:lnTo>
                              <a:pt x="219604" y="283104"/>
                            </a:lnTo>
                            <a:lnTo>
                              <a:pt x="214313" y="280458"/>
                            </a:lnTo>
                            <a:lnTo>
                              <a:pt x="211667" y="280458"/>
                            </a:lnTo>
                            <a:lnTo>
                              <a:pt x="209021" y="280458"/>
                            </a:lnTo>
                            <a:lnTo>
                              <a:pt x="206375" y="280458"/>
                            </a:lnTo>
                            <a:lnTo>
                              <a:pt x="201083" y="275167"/>
                            </a:lnTo>
                            <a:lnTo>
                              <a:pt x="198438" y="272521"/>
                            </a:lnTo>
                            <a:lnTo>
                              <a:pt x="190500" y="272521"/>
                            </a:lnTo>
                            <a:lnTo>
                              <a:pt x="185208" y="272521"/>
                            </a:lnTo>
                            <a:lnTo>
                              <a:pt x="182562" y="269875"/>
                            </a:lnTo>
                            <a:lnTo>
                              <a:pt x="177271" y="264583"/>
                            </a:lnTo>
                            <a:lnTo>
                              <a:pt x="169333" y="261938"/>
                            </a:lnTo>
                            <a:lnTo>
                              <a:pt x="164042" y="259292"/>
                            </a:lnTo>
                            <a:lnTo>
                              <a:pt x="156104" y="256646"/>
                            </a:lnTo>
                            <a:lnTo>
                              <a:pt x="153458" y="254000"/>
                            </a:lnTo>
                            <a:lnTo>
                              <a:pt x="156104" y="248708"/>
                            </a:lnTo>
                            <a:lnTo>
                              <a:pt x="161396" y="243417"/>
                            </a:lnTo>
                            <a:lnTo>
                              <a:pt x="164042" y="243417"/>
                            </a:lnTo>
                            <a:lnTo>
                              <a:pt x="166687" y="243417"/>
                            </a:lnTo>
                            <a:lnTo>
                              <a:pt x="171979" y="246063"/>
                            </a:lnTo>
                            <a:lnTo>
                              <a:pt x="174625" y="243417"/>
                            </a:lnTo>
                            <a:lnTo>
                              <a:pt x="179917" y="243417"/>
                            </a:lnTo>
                            <a:lnTo>
                              <a:pt x="182562" y="243417"/>
                            </a:lnTo>
                            <a:lnTo>
                              <a:pt x="187854" y="246063"/>
                            </a:lnTo>
                            <a:lnTo>
                              <a:pt x="190500" y="246063"/>
                            </a:lnTo>
                            <a:lnTo>
                              <a:pt x="195792" y="248708"/>
                            </a:lnTo>
                            <a:lnTo>
                              <a:pt x="198438" y="246063"/>
                            </a:lnTo>
                            <a:lnTo>
                              <a:pt x="201083" y="246063"/>
                            </a:lnTo>
                            <a:lnTo>
                              <a:pt x="203729" y="246063"/>
                            </a:lnTo>
                            <a:lnTo>
                              <a:pt x="209021" y="246063"/>
                            </a:lnTo>
                            <a:lnTo>
                              <a:pt x="211667" y="243417"/>
                            </a:lnTo>
                            <a:lnTo>
                              <a:pt x="214313" y="240771"/>
                            </a:lnTo>
                            <a:lnTo>
                              <a:pt x="219604" y="243417"/>
                            </a:lnTo>
                            <a:lnTo>
                              <a:pt x="222250" y="243417"/>
                            </a:lnTo>
                            <a:lnTo>
                              <a:pt x="224896" y="243417"/>
                            </a:lnTo>
                            <a:lnTo>
                              <a:pt x="227542" y="240771"/>
                            </a:lnTo>
                            <a:lnTo>
                              <a:pt x="232833" y="240771"/>
                            </a:lnTo>
                            <a:close/>
                            <a:moveTo>
                              <a:pt x="127000" y="0"/>
                            </a:moveTo>
                            <a:lnTo>
                              <a:pt x="129646" y="2646"/>
                            </a:lnTo>
                            <a:lnTo>
                              <a:pt x="129646" y="5292"/>
                            </a:lnTo>
                            <a:lnTo>
                              <a:pt x="132291" y="5292"/>
                            </a:lnTo>
                            <a:lnTo>
                              <a:pt x="137583" y="7937"/>
                            </a:lnTo>
                            <a:lnTo>
                              <a:pt x="140229" y="10583"/>
                            </a:lnTo>
                            <a:lnTo>
                              <a:pt x="145521" y="10583"/>
                            </a:lnTo>
                            <a:lnTo>
                              <a:pt x="150812" y="13229"/>
                            </a:lnTo>
                            <a:lnTo>
                              <a:pt x="156104" y="13229"/>
                            </a:lnTo>
                            <a:lnTo>
                              <a:pt x="161396" y="13229"/>
                            </a:lnTo>
                            <a:lnTo>
                              <a:pt x="161396" y="15875"/>
                            </a:lnTo>
                            <a:lnTo>
                              <a:pt x="164042" y="18521"/>
                            </a:lnTo>
                            <a:lnTo>
                              <a:pt x="164042" y="21167"/>
                            </a:lnTo>
                            <a:lnTo>
                              <a:pt x="166688" y="23812"/>
                            </a:lnTo>
                            <a:lnTo>
                              <a:pt x="169333" y="26458"/>
                            </a:lnTo>
                            <a:lnTo>
                              <a:pt x="174625" y="29104"/>
                            </a:lnTo>
                            <a:lnTo>
                              <a:pt x="174625" y="34396"/>
                            </a:lnTo>
                            <a:lnTo>
                              <a:pt x="171979" y="34396"/>
                            </a:lnTo>
                            <a:lnTo>
                              <a:pt x="169333" y="31750"/>
                            </a:lnTo>
                            <a:lnTo>
                              <a:pt x="169333" y="29104"/>
                            </a:lnTo>
                            <a:lnTo>
                              <a:pt x="166688" y="31750"/>
                            </a:lnTo>
                            <a:lnTo>
                              <a:pt x="164042" y="37042"/>
                            </a:lnTo>
                            <a:lnTo>
                              <a:pt x="158750" y="39687"/>
                            </a:lnTo>
                            <a:lnTo>
                              <a:pt x="148166" y="39687"/>
                            </a:lnTo>
                            <a:lnTo>
                              <a:pt x="145521" y="42333"/>
                            </a:lnTo>
                            <a:lnTo>
                              <a:pt x="145521" y="44979"/>
                            </a:lnTo>
                            <a:lnTo>
                              <a:pt x="148166" y="50271"/>
                            </a:lnTo>
                            <a:lnTo>
                              <a:pt x="148166" y="52917"/>
                            </a:lnTo>
                            <a:lnTo>
                              <a:pt x="145521" y="52917"/>
                            </a:lnTo>
                            <a:lnTo>
                              <a:pt x="142875" y="55562"/>
                            </a:lnTo>
                            <a:lnTo>
                              <a:pt x="145521" y="60854"/>
                            </a:lnTo>
                            <a:lnTo>
                              <a:pt x="145521" y="63500"/>
                            </a:lnTo>
                            <a:lnTo>
                              <a:pt x="145521" y="68791"/>
                            </a:lnTo>
                            <a:lnTo>
                              <a:pt x="145521" y="71437"/>
                            </a:lnTo>
                            <a:lnTo>
                              <a:pt x="148166" y="74083"/>
                            </a:lnTo>
                            <a:lnTo>
                              <a:pt x="156104" y="76729"/>
                            </a:lnTo>
                            <a:lnTo>
                              <a:pt x="166688" y="82021"/>
                            </a:lnTo>
                            <a:lnTo>
                              <a:pt x="171979" y="89958"/>
                            </a:lnTo>
                            <a:lnTo>
                              <a:pt x="177271" y="97896"/>
                            </a:lnTo>
                            <a:lnTo>
                              <a:pt x="182563" y="108479"/>
                            </a:lnTo>
                            <a:lnTo>
                              <a:pt x="187854" y="113771"/>
                            </a:lnTo>
                            <a:lnTo>
                              <a:pt x="193146" y="119062"/>
                            </a:lnTo>
                            <a:lnTo>
                              <a:pt x="206375" y="132291"/>
                            </a:lnTo>
                            <a:lnTo>
                              <a:pt x="211667" y="134937"/>
                            </a:lnTo>
                            <a:lnTo>
                              <a:pt x="214313" y="134937"/>
                            </a:lnTo>
                            <a:lnTo>
                              <a:pt x="222250" y="137583"/>
                            </a:lnTo>
                            <a:lnTo>
                              <a:pt x="224896" y="137583"/>
                            </a:lnTo>
                            <a:lnTo>
                              <a:pt x="230188" y="137583"/>
                            </a:lnTo>
                            <a:lnTo>
                              <a:pt x="232833" y="137583"/>
                            </a:lnTo>
                            <a:lnTo>
                              <a:pt x="238125" y="137583"/>
                            </a:lnTo>
                            <a:lnTo>
                              <a:pt x="243417" y="142875"/>
                            </a:lnTo>
                            <a:lnTo>
                              <a:pt x="240771" y="145521"/>
                            </a:lnTo>
                            <a:lnTo>
                              <a:pt x="235479" y="148166"/>
                            </a:lnTo>
                            <a:lnTo>
                              <a:pt x="240771" y="150812"/>
                            </a:lnTo>
                            <a:lnTo>
                              <a:pt x="254000" y="156104"/>
                            </a:lnTo>
                            <a:lnTo>
                              <a:pt x="264583" y="161396"/>
                            </a:lnTo>
                            <a:lnTo>
                              <a:pt x="272521" y="166687"/>
                            </a:lnTo>
                            <a:lnTo>
                              <a:pt x="277813" y="171979"/>
                            </a:lnTo>
                            <a:lnTo>
                              <a:pt x="285750" y="171979"/>
                            </a:lnTo>
                            <a:lnTo>
                              <a:pt x="293688" y="177271"/>
                            </a:lnTo>
                            <a:lnTo>
                              <a:pt x="298979" y="182562"/>
                            </a:lnTo>
                            <a:lnTo>
                              <a:pt x="298979" y="185208"/>
                            </a:lnTo>
                            <a:lnTo>
                              <a:pt x="296333" y="187854"/>
                            </a:lnTo>
                            <a:lnTo>
                              <a:pt x="296333" y="190500"/>
                            </a:lnTo>
                            <a:lnTo>
                              <a:pt x="296333" y="193146"/>
                            </a:lnTo>
                            <a:lnTo>
                              <a:pt x="293688" y="193146"/>
                            </a:lnTo>
                            <a:lnTo>
                              <a:pt x="291042" y="187854"/>
                            </a:lnTo>
                            <a:lnTo>
                              <a:pt x="285750" y="182562"/>
                            </a:lnTo>
                            <a:lnTo>
                              <a:pt x="277813" y="182562"/>
                            </a:lnTo>
                            <a:lnTo>
                              <a:pt x="275167" y="182562"/>
                            </a:lnTo>
                            <a:lnTo>
                              <a:pt x="272521" y="179916"/>
                            </a:lnTo>
                            <a:lnTo>
                              <a:pt x="269875" y="177271"/>
                            </a:lnTo>
                            <a:lnTo>
                              <a:pt x="267229" y="179916"/>
                            </a:lnTo>
                            <a:lnTo>
                              <a:pt x="261938" y="185208"/>
                            </a:lnTo>
                            <a:lnTo>
                              <a:pt x="261938" y="187854"/>
                            </a:lnTo>
                            <a:lnTo>
                              <a:pt x="261938" y="193146"/>
                            </a:lnTo>
                            <a:lnTo>
                              <a:pt x="261938" y="195791"/>
                            </a:lnTo>
                            <a:lnTo>
                              <a:pt x="259292" y="198437"/>
                            </a:lnTo>
                            <a:lnTo>
                              <a:pt x="264583" y="198437"/>
                            </a:lnTo>
                            <a:lnTo>
                              <a:pt x="269875" y="203729"/>
                            </a:lnTo>
                            <a:lnTo>
                              <a:pt x="269875" y="206375"/>
                            </a:lnTo>
                            <a:lnTo>
                              <a:pt x="275167" y="211666"/>
                            </a:lnTo>
                            <a:lnTo>
                              <a:pt x="275167" y="214312"/>
                            </a:lnTo>
                            <a:lnTo>
                              <a:pt x="275167" y="216958"/>
                            </a:lnTo>
                            <a:lnTo>
                              <a:pt x="272521" y="216958"/>
                            </a:lnTo>
                            <a:lnTo>
                              <a:pt x="269875" y="216958"/>
                            </a:lnTo>
                            <a:lnTo>
                              <a:pt x="267229" y="216958"/>
                            </a:lnTo>
                            <a:lnTo>
                              <a:pt x="267229" y="222250"/>
                            </a:lnTo>
                            <a:lnTo>
                              <a:pt x="267229" y="227541"/>
                            </a:lnTo>
                            <a:lnTo>
                              <a:pt x="261938" y="232833"/>
                            </a:lnTo>
                            <a:lnTo>
                              <a:pt x="259292" y="235479"/>
                            </a:lnTo>
                            <a:lnTo>
                              <a:pt x="256646" y="240771"/>
                            </a:lnTo>
                            <a:lnTo>
                              <a:pt x="254000" y="246062"/>
                            </a:lnTo>
                            <a:lnTo>
                              <a:pt x="251354" y="248708"/>
                            </a:lnTo>
                            <a:lnTo>
                              <a:pt x="243417" y="251354"/>
                            </a:lnTo>
                            <a:lnTo>
                              <a:pt x="240771" y="251354"/>
                            </a:lnTo>
                            <a:lnTo>
                              <a:pt x="238125" y="248708"/>
                            </a:lnTo>
                            <a:lnTo>
                              <a:pt x="235479" y="246062"/>
                            </a:lnTo>
                            <a:lnTo>
                              <a:pt x="238125" y="243417"/>
                            </a:lnTo>
                            <a:lnTo>
                              <a:pt x="240771" y="235479"/>
                            </a:lnTo>
                            <a:lnTo>
                              <a:pt x="240771" y="232833"/>
                            </a:lnTo>
                            <a:lnTo>
                              <a:pt x="238125" y="230187"/>
                            </a:lnTo>
                            <a:lnTo>
                              <a:pt x="240771" y="227541"/>
                            </a:lnTo>
                            <a:lnTo>
                              <a:pt x="246063" y="222250"/>
                            </a:lnTo>
                            <a:lnTo>
                              <a:pt x="243417" y="216958"/>
                            </a:lnTo>
                            <a:lnTo>
                              <a:pt x="238125" y="206375"/>
                            </a:lnTo>
                            <a:lnTo>
                              <a:pt x="235479" y="201083"/>
                            </a:lnTo>
                            <a:lnTo>
                              <a:pt x="232833" y="195791"/>
                            </a:lnTo>
                            <a:lnTo>
                              <a:pt x="232833" y="190500"/>
                            </a:lnTo>
                            <a:lnTo>
                              <a:pt x="227542" y="190500"/>
                            </a:lnTo>
                            <a:lnTo>
                              <a:pt x="222250" y="190500"/>
                            </a:lnTo>
                            <a:lnTo>
                              <a:pt x="216958" y="187854"/>
                            </a:lnTo>
                            <a:lnTo>
                              <a:pt x="211667" y="185208"/>
                            </a:lnTo>
                            <a:lnTo>
                              <a:pt x="209021" y="182562"/>
                            </a:lnTo>
                            <a:lnTo>
                              <a:pt x="209021" y="179916"/>
                            </a:lnTo>
                            <a:lnTo>
                              <a:pt x="211667" y="179916"/>
                            </a:lnTo>
                            <a:lnTo>
                              <a:pt x="206375" y="177271"/>
                            </a:lnTo>
                            <a:lnTo>
                              <a:pt x="198438" y="174625"/>
                            </a:lnTo>
                            <a:lnTo>
                              <a:pt x="195792" y="171979"/>
                            </a:lnTo>
                            <a:lnTo>
                              <a:pt x="195792" y="166687"/>
                            </a:lnTo>
                            <a:lnTo>
                              <a:pt x="193146" y="169333"/>
                            </a:lnTo>
                            <a:lnTo>
                              <a:pt x="187854" y="169333"/>
                            </a:lnTo>
                            <a:lnTo>
                              <a:pt x="185208" y="166687"/>
                            </a:lnTo>
                            <a:lnTo>
                              <a:pt x="182563" y="164041"/>
                            </a:lnTo>
                            <a:lnTo>
                              <a:pt x="179917" y="161396"/>
                            </a:lnTo>
                            <a:lnTo>
                              <a:pt x="171979" y="161396"/>
                            </a:lnTo>
                            <a:lnTo>
                              <a:pt x="164042" y="158750"/>
                            </a:lnTo>
                            <a:lnTo>
                              <a:pt x="148166" y="145521"/>
                            </a:lnTo>
                            <a:lnTo>
                              <a:pt x="145521" y="142875"/>
                            </a:lnTo>
                            <a:lnTo>
                              <a:pt x="142875" y="140229"/>
                            </a:lnTo>
                            <a:lnTo>
                              <a:pt x="140229" y="137583"/>
                            </a:lnTo>
                            <a:lnTo>
                              <a:pt x="132291" y="132291"/>
                            </a:lnTo>
                            <a:lnTo>
                              <a:pt x="129646" y="127000"/>
                            </a:lnTo>
                            <a:lnTo>
                              <a:pt x="129646" y="124354"/>
                            </a:lnTo>
                            <a:lnTo>
                              <a:pt x="127000" y="124354"/>
                            </a:lnTo>
                            <a:lnTo>
                              <a:pt x="121708" y="124354"/>
                            </a:lnTo>
                            <a:lnTo>
                              <a:pt x="119062" y="124354"/>
                            </a:lnTo>
                            <a:lnTo>
                              <a:pt x="116416" y="119062"/>
                            </a:lnTo>
                            <a:lnTo>
                              <a:pt x="111125" y="111125"/>
                            </a:lnTo>
                            <a:lnTo>
                              <a:pt x="103187" y="103187"/>
                            </a:lnTo>
                            <a:lnTo>
                              <a:pt x="100541" y="100541"/>
                            </a:lnTo>
                            <a:lnTo>
                              <a:pt x="97896" y="97896"/>
                            </a:lnTo>
                            <a:lnTo>
                              <a:pt x="97896" y="95250"/>
                            </a:lnTo>
                            <a:lnTo>
                              <a:pt x="95250" y="92604"/>
                            </a:lnTo>
                            <a:lnTo>
                              <a:pt x="92604" y="89958"/>
                            </a:lnTo>
                            <a:lnTo>
                              <a:pt x="89958" y="84666"/>
                            </a:lnTo>
                            <a:lnTo>
                              <a:pt x="84666" y="79375"/>
                            </a:lnTo>
                            <a:lnTo>
                              <a:pt x="74083" y="74083"/>
                            </a:lnTo>
                            <a:lnTo>
                              <a:pt x="63500" y="71437"/>
                            </a:lnTo>
                            <a:lnTo>
                              <a:pt x="52916" y="71437"/>
                            </a:lnTo>
                            <a:lnTo>
                              <a:pt x="47625" y="71437"/>
                            </a:lnTo>
                            <a:lnTo>
                              <a:pt x="42333" y="74083"/>
                            </a:lnTo>
                            <a:lnTo>
                              <a:pt x="29104" y="82021"/>
                            </a:lnTo>
                            <a:lnTo>
                              <a:pt x="18521" y="87312"/>
                            </a:lnTo>
                            <a:lnTo>
                              <a:pt x="21166" y="82021"/>
                            </a:lnTo>
                            <a:lnTo>
                              <a:pt x="21166" y="79375"/>
                            </a:lnTo>
                            <a:lnTo>
                              <a:pt x="18521" y="79375"/>
                            </a:lnTo>
                            <a:lnTo>
                              <a:pt x="10583" y="79375"/>
                            </a:lnTo>
                            <a:lnTo>
                              <a:pt x="7937" y="76729"/>
                            </a:lnTo>
                            <a:lnTo>
                              <a:pt x="5291" y="68791"/>
                            </a:lnTo>
                            <a:lnTo>
                              <a:pt x="5291" y="63500"/>
                            </a:lnTo>
                            <a:lnTo>
                              <a:pt x="7937" y="58208"/>
                            </a:lnTo>
                            <a:lnTo>
                              <a:pt x="7937" y="55562"/>
                            </a:lnTo>
                            <a:lnTo>
                              <a:pt x="2646" y="52917"/>
                            </a:lnTo>
                            <a:lnTo>
                              <a:pt x="0" y="52917"/>
                            </a:lnTo>
                            <a:lnTo>
                              <a:pt x="0" y="50271"/>
                            </a:lnTo>
                            <a:lnTo>
                              <a:pt x="7937" y="42333"/>
                            </a:lnTo>
                            <a:lnTo>
                              <a:pt x="7937" y="39687"/>
                            </a:lnTo>
                            <a:lnTo>
                              <a:pt x="5291" y="39687"/>
                            </a:lnTo>
                            <a:lnTo>
                              <a:pt x="2646" y="34396"/>
                            </a:lnTo>
                            <a:lnTo>
                              <a:pt x="2646" y="29104"/>
                            </a:lnTo>
                            <a:lnTo>
                              <a:pt x="7937" y="26458"/>
                            </a:lnTo>
                            <a:lnTo>
                              <a:pt x="15875" y="26458"/>
                            </a:lnTo>
                            <a:lnTo>
                              <a:pt x="21166" y="29104"/>
                            </a:lnTo>
                            <a:lnTo>
                              <a:pt x="23812" y="26458"/>
                            </a:lnTo>
                            <a:lnTo>
                              <a:pt x="29104" y="21167"/>
                            </a:lnTo>
                            <a:lnTo>
                              <a:pt x="34396" y="15875"/>
                            </a:lnTo>
                            <a:lnTo>
                              <a:pt x="39687" y="15875"/>
                            </a:lnTo>
                            <a:lnTo>
                              <a:pt x="39687" y="18521"/>
                            </a:lnTo>
                            <a:lnTo>
                              <a:pt x="39687" y="21167"/>
                            </a:lnTo>
                            <a:lnTo>
                              <a:pt x="42333" y="23812"/>
                            </a:lnTo>
                            <a:lnTo>
                              <a:pt x="50271" y="26458"/>
                            </a:lnTo>
                            <a:lnTo>
                              <a:pt x="52916" y="26458"/>
                            </a:lnTo>
                            <a:lnTo>
                              <a:pt x="55562" y="21167"/>
                            </a:lnTo>
                            <a:lnTo>
                              <a:pt x="58208" y="18521"/>
                            </a:lnTo>
                            <a:lnTo>
                              <a:pt x="60854" y="15875"/>
                            </a:lnTo>
                            <a:lnTo>
                              <a:pt x="60854" y="13229"/>
                            </a:lnTo>
                            <a:lnTo>
                              <a:pt x="63500" y="13229"/>
                            </a:lnTo>
                            <a:lnTo>
                              <a:pt x="66146" y="15875"/>
                            </a:lnTo>
                            <a:lnTo>
                              <a:pt x="68791" y="15875"/>
                            </a:lnTo>
                            <a:lnTo>
                              <a:pt x="71437" y="15875"/>
                            </a:lnTo>
                            <a:lnTo>
                              <a:pt x="74083" y="18521"/>
                            </a:lnTo>
                            <a:lnTo>
                              <a:pt x="76729" y="18521"/>
                            </a:lnTo>
                            <a:lnTo>
                              <a:pt x="76729" y="15875"/>
                            </a:lnTo>
                            <a:lnTo>
                              <a:pt x="74083" y="10583"/>
                            </a:lnTo>
                            <a:lnTo>
                              <a:pt x="76729" y="10583"/>
                            </a:lnTo>
                            <a:lnTo>
                              <a:pt x="82021" y="10583"/>
                            </a:lnTo>
                            <a:lnTo>
                              <a:pt x="82021" y="7937"/>
                            </a:lnTo>
                            <a:lnTo>
                              <a:pt x="87312" y="5292"/>
                            </a:lnTo>
                            <a:lnTo>
                              <a:pt x="92604" y="7937"/>
                            </a:lnTo>
                            <a:lnTo>
                              <a:pt x="95250" y="7937"/>
                            </a:lnTo>
                            <a:lnTo>
                              <a:pt x="97896" y="7937"/>
                            </a:lnTo>
                            <a:lnTo>
                              <a:pt x="100541" y="5292"/>
                            </a:lnTo>
                            <a:lnTo>
                              <a:pt x="103187" y="2646"/>
                            </a:lnTo>
                            <a:lnTo>
                              <a:pt x="111125" y="2646"/>
                            </a:lnTo>
                            <a:lnTo>
                              <a:pt x="119062" y="2646"/>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0" name="Poland"/>
                      <p:cNvSpPr>
                        <a:spLocks/>
                      </p:cNvSpPr>
                      <p:nvPr/>
                    </p:nvSpPr>
                    <p:spPr bwMode="auto">
                      <a:xfrm>
                        <a:off x="6157887" y="1739418"/>
                        <a:ext cx="279463" cy="157811"/>
                      </a:xfrm>
                      <a:custGeom>
                        <a:avLst/>
                        <a:gdLst/>
                        <a:ahLst/>
                        <a:cxnLst>
                          <a:cxn ang="0">
                            <a:pos x="18" y="72"/>
                          </a:cxn>
                          <a:cxn ang="0">
                            <a:pos x="16" y="60"/>
                          </a:cxn>
                          <a:cxn ang="0">
                            <a:pos x="12" y="46"/>
                          </a:cxn>
                          <a:cxn ang="0">
                            <a:pos x="10" y="40"/>
                          </a:cxn>
                          <a:cxn ang="0">
                            <a:pos x="6" y="38"/>
                          </a:cxn>
                          <a:cxn ang="0">
                            <a:pos x="0" y="34"/>
                          </a:cxn>
                          <a:cxn ang="0">
                            <a:pos x="2" y="28"/>
                          </a:cxn>
                          <a:cxn ang="0">
                            <a:pos x="4" y="26"/>
                          </a:cxn>
                          <a:cxn ang="0">
                            <a:pos x="4" y="18"/>
                          </a:cxn>
                          <a:cxn ang="0">
                            <a:pos x="10" y="18"/>
                          </a:cxn>
                          <a:cxn ang="0">
                            <a:pos x="16" y="12"/>
                          </a:cxn>
                          <a:cxn ang="0">
                            <a:pos x="32" y="8"/>
                          </a:cxn>
                          <a:cxn ang="0">
                            <a:pos x="50" y="6"/>
                          </a:cxn>
                          <a:cxn ang="0">
                            <a:pos x="64" y="0"/>
                          </a:cxn>
                          <a:cxn ang="0">
                            <a:pos x="82" y="0"/>
                          </a:cxn>
                          <a:cxn ang="0">
                            <a:pos x="90" y="6"/>
                          </a:cxn>
                          <a:cxn ang="0">
                            <a:pos x="86" y="4"/>
                          </a:cxn>
                          <a:cxn ang="0">
                            <a:pos x="84" y="6"/>
                          </a:cxn>
                          <a:cxn ang="0">
                            <a:pos x="86" y="10"/>
                          </a:cxn>
                          <a:cxn ang="0">
                            <a:pos x="94" y="10"/>
                          </a:cxn>
                          <a:cxn ang="0">
                            <a:pos x="98" y="4"/>
                          </a:cxn>
                          <a:cxn ang="0">
                            <a:pos x="94" y="12"/>
                          </a:cxn>
                          <a:cxn ang="0">
                            <a:pos x="96" y="12"/>
                          </a:cxn>
                          <a:cxn ang="0">
                            <a:pos x="100" y="8"/>
                          </a:cxn>
                          <a:cxn ang="0">
                            <a:pos x="120" y="10"/>
                          </a:cxn>
                          <a:cxn ang="0">
                            <a:pos x="130" y="8"/>
                          </a:cxn>
                          <a:cxn ang="0">
                            <a:pos x="144" y="8"/>
                          </a:cxn>
                          <a:cxn ang="0">
                            <a:pos x="150" y="6"/>
                          </a:cxn>
                          <a:cxn ang="0">
                            <a:pos x="154" y="8"/>
                          </a:cxn>
                          <a:cxn ang="0">
                            <a:pos x="158" y="10"/>
                          </a:cxn>
                          <a:cxn ang="0">
                            <a:pos x="164" y="18"/>
                          </a:cxn>
                          <a:cxn ang="0">
                            <a:pos x="170" y="26"/>
                          </a:cxn>
                          <a:cxn ang="0">
                            <a:pos x="166" y="38"/>
                          </a:cxn>
                          <a:cxn ang="0">
                            <a:pos x="162" y="44"/>
                          </a:cxn>
                          <a:cxn ang="0">
                            <a:pos x="168" y="58"/>
                          </a:cxn>
                          <a:cxn ang="0">
                            <a:pos x="180" y="72"/>
                          </a:cxn>
                          <a:cxn ang="0">
                            <a:pos x="184" y="76"/>
                          </a:cxn>
                          <a:cxn ang="0">
                            <a:pos x="180" y="78"/>
                          </a:cxn>
                          <a:cxn ang="0">
                            <a:pos x="180" y="80"/>
                          </a:cxn>
                          <a:cxn ang="0">
                            <a:pos x="174" y="86"/>
                          </a:cxn>
                          <a:cxn ang="0">
                            <a:pos x="166" y="96"/>
                          </a:cxn>
                          <a:cxn ang="0">
                            <a:pos x="164" y="104"/>
                          </a:cxn>
                          <a:cxn ang="0">
                            <a:pos x="160" y="104"/>
                          </a:cxn>
                          <a:cxn ang="0">
                            <a:pos x="140" y="98"/>
                          </a:cxn>
                          <a:cxn ang="0">
                            <a:pos x="132" y="98"/>
                          </a:cxn>
                          <a:cxn ang="0">
                            <a:pos x="130" y="102"/>
                          </a:cxn>
                          <a:cxn ang="0">
                            <a:pos x="122" y="98"/>
                          </a:cxn>
                          <a:cxn ang="0">
                            <a:pos x="118" y="100"/>
                          </a:cxn>
                          <a:cxn ang="0">
                            <a:pos x="112" y="98"/>
                          </a:cxn>
                          <a:cxn ang="0">
                            <a:pos x="106" y="98"/>
                          </a:cxn>
                          <a:cxn ang="0">
                            <a:pos x="96" y="96"/>
                          </a:cxn>
                          <a:cxn ang="0">
                            <a:pos x="72" y="86"/>
                          </a:cxn>
                          <a:cxn ang="0">
                            <a:pos x="68" y="80"/>
                          </a:cxn>
                          <a:cxn ang="0">
                            <a:pos x="62" y="80"/>
                          </a:cxn>
                          <a:cxn ang="0">
                            <a:pos x="56" y="80"/>
                          </a:cxn>
                          <a:cxn ang="0">
                            <a:pos x="56" y="82"/>
                          </a:cxn>
                          <a:cxn ang="0">
                            <a:pos x="52" y="84"/>
                          </a:cxn>
                          <a:cxn ang="0">
                            <a:pos x="46" y="80"/>
                          </a:cxn>
                          <a:cxn ang="0">
                            <a:pos x="28" y="76"/>
                          </a:cxn>
                          <a:cxn ang="0">
                            <a:pos x="18" y="74"/>
                          </a:cxn>
                        </a:cxnLst>
                        <a:rect l="0" t="0" r="r" b="b"/>
                        <a:pathLst>
                          <a:path w="184" h="104">
                            <a:moveTo>
                              <a:pt x="18" y="74"/>
                            </a:moveTo>
                            <a:lnTo>
                              <a:pt x="18" y="74"/>
                            </a:lnTo>
                            <a:lnTo>
                              <a:pt x="18" y="72"/>
                            </a:lnTo>
                            <a:lnTo>
                              <a:pt x="18" y="68"/>
                            </a:lnTo>
                            <a:lnTo>
                              <a:pt x="18" y="68"/>
                            </a:lnTo>
                            <a:lnTo>
                              <a:pt x="16" y="60"/>
                            </a:lnTo>
                            <a:lnTo>
                              <a:pt x="12" y="50"/>
                            </a:lnTo>
                            <a:lnTo>
                              <a:pt x="12" y="50"/>
                            </a:lnTo>
                            <a:lnTo>
                              <a:pt x="12" y="46"/>
                            </a:lnTo>
                            <a:lnTo>
                              <a:pt x="12" y="42"/>
                            </a:lnTo>
                            <a:lnTo>
                              <a:pt x="12" y="42"/>
                            </a:lnTo>
                            <a:lnTo>
                              <a:pt x="10" y="40"/>
                            </a:lnTo>
                            <a:lnTo>
                              <a:pt x="8" y="40"/>
                            </a:lnTo>
                            <a:lnTo>
                              <a:pt x="6" y="38"/>
                            </a:lnTo>
                            <a:lnTo>
                              <a:pt x="6" y="38"/>
                            </a:lnTo>
                            <a:lnTo>
                              <a:pt x="2" y="36"/>
                            </a:lnTo>
                            <a:lnTo>
                              <a:pt x="0" y="36"/>
                            </a:lnTo>
                            <a:lnTo>
                              <a:pt x="0" y="34"/>
                            </a:lnTo>
                            <a:lnTo>
                              <a:pt x="0" y="34"/>
                            </a:lnTo>
                            <a:lnTo>
                              <a:pt x="0" y="32"/>
                            </a:lnTo>
                            <a:lnTo>
                              <a:pt x="2" y="28"/>
                            </a:lnTo>
                            <a:lnTo>
                              <a:pt x="4" y="26"/>
                            </a:lnTo>
                            <a:lnTo>
                              <a:pt x="4" y="26"/>
                            </a:lnTo>
                            <a:lnTo>
                              <a:pt x="4" y="26"/>
                            </a:lnTo>
                            <a:lnTo>
                              <a:pt x="4" y="22"/>
                            </a:lnTo>
                            <a:lnTo>
                              <a:pt x="4" y="18"/>
                            </a:lnTo>
                            <a:lnTo>
                              <a:pt x="4" y="18"/>
                            </a:lnTo>
                            <a:lnTo>
                              <a:pt x="8" y="18"/>
                            </a:lnTo>
                            <a:lnTo>
                              <a:pt x="8" y="18"/>
                            </a:lnTo>
                            <a:lnTo>
                              <a:pt x="10" y="18"/>
                            </a:lnTo>
                            <a:lnTo>
                              <a:pt x="10" y="16"/>
                            </a:lnTo>
                            <a:lnTo>
                              <a:pt x="12" y="12"/>
                            </a:lnTo>
                            <a:lnTo>
                              <a:pt x="16" y="12"/>
                            </a:lnTo>
                            <a:lnTo>
                              <a:pt x="16" y="12"/>
                            </a:lnTo>
                            <a:lnTo>
                              <a:pt x="32" y="8"/>
                            </a:lnTo>
                            <a:lnTo>
                              <a:pt x="32" y="8"/>
                            </a:lnTo>
                            <a:lnTo>
                              <a:pt x="42" y="8"/>
                            </a:lnTo>
                            <a:lnTo>
                              <a:pt x="44" y="8"/>
                            </a:lnTo>
                            <a:lnTo>
                              <a:pt x="50" y="6"/>
                            </a:lnTo>
                            <a:lnTo>
                              <a:pt x="50" y="6"/>
                            </a:lnTo>
                            <a:lnTo>
                              <a:pt x="54" y="2"/>
                            </a:lnTo>
                            <a:lnTo>
                              <a:pt x="64" y="0"/>
                            </a:lnTo>
                            <a:lnTo>
                              <a:pt x="64" y="0"/>
                            </a:lnTo>
                            <a:lnTo>
                              <a:pt x="74" y="0"/>
                            </a:lnTo>
                            <a:lnTo>
                              <a:pt x="82" y="0"/>
                            </a:lnTo>
                            <a:lnTo>
                              <a:pt x="82" y="0"/>
                            </a:lnTo>
                            <a:lnTo>
                              <a:pt x="88" y="4"/>
                            </a:lnTo>
                            <a:lnTo>
                              <a:pt x="90" y="6"/>
                            </a:lnTo>
                            <a:lnTo>
                              <a:pt x="88" y="6"/>
                            </a:lnTo>
                            <a:lnTo>
                              <a:pt x="88" y="6"/>
                            </a:lnTo>
                            <a:lnTo>
                              <a:pt x="86" y="4"/>
                            </a:lnTo>
                            <a:lnTo>
                              <a:pt x="84" y="4"/>
                            </a:lnTo>
                            <a:lnTo>
                              <a:pt x="84" y="6"/>
                            </a:lnTo>
                            <a:lnTo>
                              <a:pt x="84" y="6"/>
                            </a:lnTo>
                            <a:lnTo>
                              <a:pt x="84" y="8"/>
                            </a:lnTo>
                            <a:lnTo>
                              <a:pt x="86" y="10"/>
                            </a:lnTo>
                            <a:lnTo>
                              <a:pt x="86" y="10"/>
                            </a:lnTo>
                            <a:lnTo>
                              <a:pt x="90" y="12"/>
                            </a:lnTo>
                            <a:lnTo>
                              <a:pt x="94" y="10"/>
                            </a:lnTo>
                            <a:lnTo>
                              <a:pt x="94" y="10"/>
                            </a:lnTo>
                            <a:lnTo>
                              <a:pt x="98" y="6"/>
                            </a:lnTo>
                            <a:lnTo>
                              <a:pt x="98" y="6"/>
                            </a:lnTo>
                            <a:lnTo>
                              <a:pt x="98" y="4"/>
                            </a:lnTo>
                            <a:lnTo>
                              <a:pt x="98" y="6"/>
                            </a:lnTo>
                            <a:lnTo>
                              <a:pt x="98" y="6"/>
                            </a:lnTo>
                            <a:lnTo>
                              <a:pt x="94" y="12"/>
                            </a:lnTo>
                            <a:lnTo>
                              <a:pt x="94" y="12"/>
                            </a:lnTo>
                            <a:lnTo>
                              <a:pt x="96" y="12"/>
                            </a:lnTo>
                            <a:lnTo>
                              <a:pt x="96" y="12"/>
                            </a:lnTo>
                            <a:lnTo>
                              <a:pt x="98" y="12"/>
                            </a:lnTo>
                            <a:lnTo>
                              <a:pt x="98" y="12"/>
                            </a:lnTo>
                            <a:lnTo>
                              <a:pt x="100" y="8"/>
                            </a:lnTo>
                            <a:lnTo>
                              <a:pt x="100" y="8"/>
                            </a:lnTo>
                            <a:lnTo>
                              <a:pt x="114" y="8"/>
                            </a:lnTo>
                            <a:lnTo>
                              <a:pt x="120" y="10"/>
                            </a:lnTo>
                            <a:lnTo>
                              <a:pt x="126" y="10"/>
                            </a:lnTo>
                            <a:lnTo>
                              <a:pt x="130" y="8"/>
                            </a:lnTo>
                            <a:lnTo>
                              <a:pt x="130" y="8"/>
                            </a:lnTo>
                            <a:lnTo>
                              <a:pt x="136" y="6"/>
                            </a:lnTo>
                            <a:lnTo>
                              <a:pt x="140" y="8"/>
                            </a:lnTo>
                            <a:lnTo>
                              <a:pt x="144" y="8"/>
                            </a:lnTo>
                            <a:lnTo>
                              <a:pt x="146" y="6"/>
                            </a:lnTo>
                            <a:lnTo>
                              <a:pt x="146" y="6"/>
                            </a:lnTo>
                            <a:lnTo>
                              <a:pt x="150" y="6"/>
                            </a:lnTo>
                            <a:lnTo>
                              <a:pt x="150" y="6"/>
                            </a:lnTo>
                            <a:lnTo>
                              <a:pt x="152" y="8"/>
                            </a:lnTo>
                            <a:lnTo>
                              <a:pt x="154" y="8"/>
                            </a:lnTo>
                            <a:lnTo>
                              <a:pt x="154" y="8"/>
                            </a:lnTo>
                            <a:lnTo>
                              <a:pt x="156" y="8"/>
                            </a:lnTo>
                            <a:lnTo>
                              <a:pt x="158" y="10"/>
                            </a:lnTo>
                            <a:lnTo>
                              <a:pt x="162" y="14"/>
                            </a:lnTo>
                            <a:lnTo>
                              <a:pt x="162" y="14"/>
                            </a:lnTo>
                            <a:lnTo>
                              <a:pt x="164" y="18"/>
                            </a:lnTo>
                            <a:lnTo>
                              <a:pt x="166" y="24"/>
                            </a:lnTo>
                            <a:lnTo>
                              <a:pt x="166" y="24"/>
                            </a:lnTo>
                            <a:lnTo>
                              <a:pt x="170" y="26"/>
                            </a:lnTo>
                            <a:lnTo>
                              <a:pt x="172" y="30"/>
                            </a:lnTo>
                            <a:lnTo>
                              <a:pt x="172" y="34"/>
                            </a:lnTo>
                            <a:lnTo>
                              <a:pt x="166" y="38"/>
                            </a:lnTo>
                            <a:lnTo>
                              <a:pt x="166" y="38"/>
                            </a:lnTo>
                            <a:lnTo>
                              <a:pt x="162" y="40"/>
                            </a:lnTo>
                            <a:lnTo>
                              <a:pt x="162" y="44"/>
                            </a:lnTo>
                            <a:lnTo>
                              <a:pt x="166" y="48"/>
                            </a:lnTo>
                            <a:lnTo>
                              <a:pt x="168" y="58"/>
                            </a:lnTo>
                            <a:lnTo>
                              <a:pt x="168" y="58"/>
                            </a:lnTo>
                            <a:lnTo>
                              <a:pt x="172" y="66"/>
                            </a:lnTo>
                            <a:lnTo>
                              <a:pt x="176" y="70"/>
                            </a:lnTo>
                            <a:lnTo>
                              <a:pt x="180" y="72"/>
                            </a:lnTo>
                            <a:lnTo>
                              <a:pt x="184" y="74"/>
                            </a:lnTo>
                            <a:lnTo>
                              <a:pt x="184" y="74"/>
                            </a:lnTo>
                            <a:lnTo>
                              <a:pt x="184" y="76"/>
                            </a:lnTo>
                            <a:lnTo>
                              <a:pt x="182" y="74"/>
                            </a:lnTo>
                            <a:lnTo>
                              <a:pt x="180" y="74"/>
                            </a:lnTo>
                            <a:lnTo>
                              <a:pt x="180" y="78"/>
                            </a:lnTo>
                            <a:lnTo>
                              <a:pt x="180" y="78"/>
                            </a:lnTo>
                            <a:lnTo>
                              <a:pt x="182" y="80"/>
                            </a:lnTo>
                            <a:lnTo>
                              <a:pt x="180" y="80"/>
                            </a:lnTo>
                            <a:lnTo>
                              <a:pt x="176" y="82"/>
                            </a:lnTo>
                            <a:lnTo>
                              <a:pt x="174" y="86"/>
                            </a:lnTo>
                            <a:lnTo>
                              <a:pt x="174" y="86"/>
                            </a:lnTo>
                            <a:lnTo>
                              <a:pt x="168" y="92"/>
                            </a:lnTo>
                            <a:lnTo>
                              <a:pt x="166" y="94"/>
                            </a:lnTo>
                            <a:lnTo>
                              <a:pt x="166" y="96"/>
                            </a:lnTo>
                            <a:lnTo>
                              <a:pt x="166" y="100"/>
                            </a:lnTo>
                            <a:lnTo>
                              <a:pt x="166" y="100"/>
                            </a:lnTo>
                            <a:lnTo>
                              <a:pt x="164" y="104"/>
                            </a:lnTo>
                            <a:lnTo>
                              <a:pt x="164" y="104"/>
                            </a:lnTo>
                            <a:lnTo>
                              <a:pt x="160" y="104"/>
                            </a:lnTo>
                            <a:lnTo>
                              <a:pt x="160" y="104"/>
                            </a:lnTo>
                            <a:lnTo>
                              <a:pt x="152" y="104"/>
                            </a:lnTo>
                            <a:lnTo>
                              <a:pt x="146" y="100"/>
                            </a:lnTo>
                            <a:lnTo>
                              <a:pt x="140" y="98"/>
                            </a:lnTo>
                            <a:lnTo>
                              <a:pt x="136" y="96"/>
                            </a:lnTo>
                            <a:lnTo>
                              <a:pt x="136" y="96"/>
                            </a:lnTo>
                            <a:lnTo>
                              <a:pt x="132" y="98"/>
                            </a:lnTo>
                            <a:lnTo>
                              <a:pt x="132" y="100"/>
                            </a:lnTo>
                            <a:lnTo>
                              <a:pt x="132" y="100"/>
                            </a:lnTo>
                            <a:lnTo>
                              <a:pt x="130" y="102"/>
                            </a:lnTo>
                            <a:lnTo>
                              <a:pt x="130" y="102"/>
                            </a:lnTo>
                            <a:lnTo>
                              <a:pt x="126" y="100"/>
                            </a:lnTo>
                            <a:lnTo>
                              <a:pt x="122" y="98"/>
                            </a:lnTo>
                            <a:lnTo>
                              <a:pt x="122" y="98"/>
                            </a:lnTo>
                            <a:lnTo>
                              <a:pt x="120" y="98"/>
                            </a:lnTo>
                            <a:lnTo>
                              <a:pt x="118" y="100"/>
                            </a:lnTo>
                            <a:lnTo>
                              <a:pt x="116" y="100"/>
                            </a:lnTo>
                            <a:lnTo>
                              <a:pt x="112" y="98"/>
                            </a:lnTo>
                            <a:lnTo>
                              <a:pt x="112" y="98"/>
                            </a:lnTo>
                            <a:lnTo>
                              <a:pt x="108" y="94"/>
                            </a:lnTo>
                            <a:lnTo>
                              <a:pt x="106" y="98"/>
                            </a:lnTo>
                            <a:lnTo>
                              <a:pt x="106" y="98"/>
                            </a:lnTo>
                            <a:lnTo>
                              <a:pt x="104" y="100"/>
                            </a:lnTo>
                            <a:lnTo>
                              <a:pt x="96" y="96"/>
                            </a:lnTo>
                            <a:lnTo>
                              <a:pt x="96" y="96"/>
                            </a:lnTo>
                            <a:lnTo>
                              <a:pt x="86" y="90"/>
                            </a:lnTo>
                            <a:lnTo>
                              <a:pt x="78" y="88"/>
                            </a:lnTo>
                            <a:lnTo>
                              <a:pt x="72" y="86"/>
                            </a:lnTo>
                            <a:lnTo>
                              <a:pt x="70" y="84"/>
                            </a:lnTo>
                            <a:lnTo>
                              <a:pt x="70" y="84"/>
                            </a:lnTo>
                            <a:lnTo>
                              <a:pt x="68" y="80"/>
                            </a:lnTo>
                            <a:lnTo>
                              <a:pt x="66" y="80"/>
                            </a:lnTo>
                            <a:lnTo>
                              <a:pt x="66" y="80"/>
                            </a:lnTo>
                            <a:lnTo>
                              <a:pt x="62" y="80"/>
                            </a:lnTo>
                            <a:lnTo>
                              <a:pt x="58" y="78"/>
                            </a:lnTo>
                            <a:lnTo>
                              <a:pt x="56" y="78"/>
                            </a:lnTo>
                            <a:lnTo>
                              <a:pt x="56" y="80"/>
                            </a:lnTo>
                            <a:lnTo>
                              <a:pt x="56" y="80"/>
                            </a:lnTo>
                            <a:lnTo>
                              <a:pt x="58" y="82"/>
                            </a:lnTo>
                            <a:lnTo>
                              <a:pt x="56" y="82"/>
                            </a:lnTo>
                            <a:lnTo>
                              <a:pt x="54" y="82"/>
                            </a:lnTo>
                            <a:lnTo>
                              <a:pt x="52" y="84"/>
                            </a:lnTo>
                            <a:lnTo>
                              <a:pt x="52" y="84"/>
                            </a:lnTo>
                            <a:lnTo>
                              <a:pt x="52" y="84"/>
                            </a:lnTo>
                            <a:lnTo>
                              <a:pt x="50" y="82"/>
                            </a:lnTo>
                            <a:lnTo>
                              <a:pt x="46" y="80"/>
                            </a:lnTo>
                            <a:lnTo>
                              <a:pt x="42" y="78"/>
                            </a:lnTo>
                            <a:lnTo>
                              <a:pt x="42" y="78"/>
                            </a:lnTo>
                            <a:lnTo>
                              <a:pt x="28" y="76"/>
                            </a:lnTo>
                            <a:lnTo>
                              <a:pt x="22" y="74"/>
                            </a:lnTo>
                            <a:lnTo>
                              <a:pt x="20" y="72"/>
                            </a:lnTo>
                            <a:lnTo>
                              <a:pt x="18" y="74"/>
                            </a:lnTo>
                            <a:lnTo>
                              <a:pt x="18" y="74"/>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2" name="Russia"/>
                      <p:cNvSpPr>
                        <a:spLocks/>
                      </p:cNvSpPr>
                      <p:nvPr/>
                    </p:nvSpPr>
                    <p:spPr bwMode="auto">
                      <a:xfrm>
                        <a:off x="6451812" y="1251355"/>
                        <a:ext cx="3848692" cy="886171"/>
                      </a:xfrm>
                      <a:custGeom>
                        <a:avLst/>
                        <a:gdLst/>
                        <a:ahLst/>
                        <a:cxnLst>
                          <a:cxn ang="0">
                            <a:pos x="2058" y="364"/>
                          </a:cxn>
                          <a:cxn ang="0">
                            <a:pos x="1906" y="312"/>
                          </a:cxn>
                          <a:cxn ang="0">
                            <a:pos x="2140" y="236"/>
                          </a:cxn>
                          <a:cxn ang="0">
                            <a:pos x="2222" y="192"/>
                          </a:cxn>
                          <a:cxn ang="0">
                            <a:pos x="2226" y="266"/>
                          </a:cxn>
                          <a:cxn ang="0">
                            <a:pos x="2366" y="316"/>
                          </a:cxn>
                          <a:cxn ang="0">
                            <a:pos x="2314" y="256"/>
                          </a:cxn>
                          <a:cxn ang="0">
                            <a:pos x="2382" y="214"/>
                          </a:cxn>
                          <a:cxn ang="0">
                            <a:pos x="2382" y="142"/>
                          </a:cxn>
                          <a:cxn ang="0">
                            <a:pos x="2494" y="146"/>
                          </a:cxn>
                          <a:cxn ang="0">
                            <a:pos x="2522" y="104"/>
                          </a:cxn>
                          <a:cxn ang="0">
                            <a:pos x="2122" y="72"/>
                          </a:cxn>
                          <a:cxn ang="0">
                            <a:pos x="2002" y="74"/>
                          </a:cxn>
                          <a:cxn ang="0">
                            <a:pos x="1694" y="40"/>
                          </a:cxn>
                          <a:cxn ang="0">
                            <a:pos x="1582" y="36"/>
                          </a:cxn>
                          <a:cxn ang="0">
                            <a:pos x="1468" y="48"/>
                          </a:cxn>
                          <a:cxn ang="0">
                            <a:pos x="1302" y="42"/>
                          </a:cxn>
                          <a:cxn ang="0">
                            <a:pos x="1152" y="34"/>
                          </a:cxn>
                          <a:cxn ang="0">
                            <a:pos x="1086" y="38"/>
                          </a:cxn>
                          <a:cxn ang="0">
                            <a:pos x="1044" y="8"/>
                          </a:cxn>
                          <a:cxn ang="0">
                            <a:pos x="932" y="14"/>
                          </a:cxn>
                          <a:cxn ang="0">
                            <a:pos x="818" y="14"/>
                          </a:cxn>
                          <a:cxn ang="0">
                            <a:pos x="718" y="36"/>
                          </a:cxn>
                          <a:cxn ang="0">
                            <a:pos x="782" y="62"/>
                          </a:cxn>
                          <a:cxn ang="0">
                            <a:pos x="698" y="64"/>
                          </a:cxn>
                          <a:cxn ang="0">
                            <a:pos x="646" y="62"/>
                          </a:cxn>
                          <a:cxn ang="0">
                            <a:pos x="698" y="92"/>
                          </a:cxn>
                          <a:cxn ang="0">
                            <a:pos x="676" y="114"/>
                          </a:cxn>
                          <a:cxn ang="0">
                            <a:pos x="566" y="36"/>
                          </a:cxn>
                          <a:cxn ang="0">
                            <a:pos x="608" y="90"/>
                          </a:cxn>
                          <a:cxn ang="0">
                            <a:pos x="470" y="102"/>
                          </a:cxn>
                          <a:cxn ang="0">
                            <a:pos x="386" y="96"/>
                          </a:cxn>
                          <a:cxn ang="0">
                            <a:pos x="302" y="110"/>
                          </a:cxn>
                          <a:cxn ang="0">
                            <a:pos x="256" y="100"/>
                          </a:cxn>
                          <a:cxn ang="0">
                            <a:pos x="198" y="130"/>
                          </a:cxn>
                          <a:cxn ang="0">
                            <a:pos x="144" y="152"/>
                          </a:cxn>
                          <a:cxn ang="0">
                            <a:pos x="110" y="148"/>
                          </a:cxn>
                          <a:cxn ang="0">
                            <a:pos x="64" y="120"/>
                          </a:cxn>
                          <a:cxn ang="0">
                            <a:pos x="200" y="118"/>
                          </a:cxn>
                          <a:cxn ang="0">
                            <a:pos x="44" y="86"/>
                          </a:cxn>
                          <a:cxn ang="0">
                            <a:pos x="30" y="146"/>
                          </a:cxn>
                          <a:cxn ang="0">
                            <a:pos x="28" y="222"/>
                          </a:cxn>
                          <a:cxn ang="0">
                            <a:pos x="28" y="242"/>
                          </a:cxn>
                          <a:cxn ang="0">
                            <a:pos x="84" y="296"/>
                          </a:cxn>
                          <a:cxn ang="0">
                            <a:pos x="112" y="338"/>
                          </a:cxn>
                          <a:cxn ang="0">
                            <a:pos x="220" y="398"/>
                          </a:cxn>
                          <a:cxn ang="0">
                            <a:pos x="262" y="470"/>
                          </a:cxn>
                          <a:cxn ang="0">
                            <a:pos x="338" y="540"/>
                          </a:cxn>
                          <a:cxn ang="0">
                            <a:pos x="440" y="508"/>
                          </a:cxn>
                          <a:cxn ang="0">
                            <a:pos x="438" y="448"/>
                          </a:cxn>
                          <a:cxn ang="0">
                            <a:pos x="450" y="390"/>
                          </a:cxn>
                          <a:cxn ang="0">
                            <a:pos x="564" y="382"/>
                          </a:cxn>
                          <a:cxn ang="0">
                            <a:pos x="630" y="370"/>
                          </a:cxn>
                          <a:cxn ang="0">
                            <a:pos x="764" y="310"/>
                          </a:cxn>
                          <a:cxn ang="0">
                            <a:pos x="854" y="340"/>
                          </a:cxn>
                          <a:cxn ang="0">
                            <a:pos x="1040" y="392"/>
                          </a:cxn>
                          <a:cxn ang="0">
                            <a:pos x="1154" y="426"/>
                          </a:cxn>
                          <a:cxn ang="0">
                            <a:pos x="1234" y="388"/>
                          </a:cxn>
                          <a:cxn ang="0">
                            <a:pos x="1316" y="378"/>
                          </a:cxn>
                          <a:cxn ang="0">
                            <a:pos x="1572" y="410"/>
                          </a:cxn>
                          <a:cxn ang="0">
                            <a:pos x="1768" y="340"/>
                          </a:cxn>
                          <a:cxn ang="0">
                            <a:pos x="2032" y="470"/>
                          </a:cxn>
                        </a:cxnLst>
                        <a:rect l="0" t="0" r="r" b="b"/>
                        <a:pathLst>
                          <a:path w="2534" h="584">
                            <a:moveTo>
                              <a:pt x="2032" y="556"/>
                            </a:moveTo>
                            <a:lnTo>
                              <a:pt x="2032" y="556"/>
                            </a:lnTo>
                            <a:lnTo>
                              <a:pt x="2034" y="556"/>
                            </a:lnTo>
                            <a:lnTo>
                              <a:pt x="2036" y="554"/>
                            </a:lnTo>
                            <a:lnTo>
                              <a:pt x="2040" y="548"/>
                            </a:lnTo>
                            <a:lnTo>
                              <a:pt x="2046" y="546"/>
                            </a:lnTo>
                            <a:lnTo>
                              <a:pt x="2048" y="546"/>
                            </a:lnTo>
                            <a:lnTo>
                              <a:pt x="2050" y="550"/>
                            </a:lnTo>
                            <a:lnTo>
                              <a:pt x="2050" y="550"/>
                            </a:lnTo>
                            <a:lnTo>
                              <a:pt x="2050" y="554"/>
                            </a:lnTo>
                            <a:lnTo>
                              <a:pt x="2054" y="554"/>
                            </a:lnTo>
                            <a:lnTo>
                              <a:pt x="2056" y="554"/>
                            </a:lnTo>
                            <a:lnTo>
                              <a:pt x="2060" y="552"/>
                            </a:lnTo>
                            <a:lnTo>
                              <a:pt x="2068" y="546"/>
                            </a:lnTo>
                            <a:lnTo>
                              <a:pt x="2076" y="534"/>
                            </a:lnTo>
                            <a:lnTo>
                              <a:pt x="2084" y="522"/>
                            </a:lnTo>
                            <a:lnTo>
                              <a:pt x="2090" y="506"/>
                            </a:lnTo>
                            <a:lnTo>
                              <a:pt x="2094" y="492"/>
                            </a:lnTo>
                            <a:lnTo>
                              <a:pt x="2094" y="478"/>
                            </a:lnTo>
                            <a:lnTo>
                              <a:pt x="2094" y="478"/>
                            </a:lnTo>
                            <a:lnTo>
                              <a:pt x="2094" y="470"/>
                            </a:lnTo>
                            <a:lnTo>
                              <a:pt x="2094" y="460"/>
                            </a:lnTo>
                            <a:lnTo>
                              <a:pt x="2096" y="436"/>
                            </a:lnTo>
                            <a:lnTo>
                              <a:pt x="2096" y="426"/>
                            </a:lnTo>
                            <a:lnTo>
                              <a:pt x="2094" y="416"/>
                            </a:lnTo>
                            <a:lnTo>
                              <a:pt x="2088" y="408"/>
                            </a:lnTo>
                            <a:lnTo>
                              <a:pt x="2080" y="404"/>
                            </a:lnTo>
                            <a:lnTo>
                              <a:pt x="2080" y="404"/>
                            </a:lnTo>
                            <a:lnTo>
                              <a:pt x="2068" y="398"/>
                            </a:lnTo>
                            <a:lnTo>
                              <a:pt x="2062" y="392"/>
                            </a:lnTo>
                            <a:lnTo>
                              <a:pt x="2060" y="388"/>
                            </a:lnTo>
                            <a:lnTo>
                              <a:pt x="2062" y="384"/>
                            </a:lnTo>
                            <a:lnTo>
                              <a:pt x="2066" y="378"/>
                            </a:lnTo>
                            <a:lnTo>
                              <a:pt x="2066" y="374"/>
                            </a:lnTo>
                            <a:lnTo>
                              <a:pt x="2066" y="370"/>
                            </a:lnTo>
                            <a:lnTo>
                              <a:pt x="2058" y="364"/>
                            </a:lnTo>
                            <a:lnTo>
                              <a:pt x="2058" y="364"/>
                            </a:lnTo>
                            <a:lnTo>
                              <a:pt x="2042" y="354"/>
                            </a:lnTo>
                            <a:lnTo>
                              <a:pt x="2028" y="344"/>
                            </a:lnTo>
                            <a:lnTo>
                              <a:pt x="2014" y="334"/>
                            </a:lnTo>
                            <a:lnTo>
                              <a:pt x="1996" y="326"/>
                            </a:lnTo>
                            <a:lnTo>
                              <a:pt x="1996" y="326"/>
                            </a:lnTo>
                            <a:lnTo>
                              <a:pt x="1986" y="324"/>
                            </a:lnTo>
                            <a:lnTo>
                              <a:pt x="1980" y="324"/>
                            </a:lnTo>
                            <a:lnTo>
                              <a:pt x="1978" y="324"/>
                            </a:lnTo>
                            <a:lnTo>
                              <a:pt x="1976" y="326"/>
                            </a:lnTo>
                            <a:lnTo>
                              <a:pt x="1974" y="332"/>
                            </a:lnTo>
                            <a:lnTo>
                              <a:pt x="1972" y="332"/>
                            </a:lnTo>
                            <a:lnTo>
                              <a:pt x="1966" y="330"/>
                            </a:lnTo>
                            <a:lnTo>
                              <a:pt x="1966" y="330"/>
                            </a:lnTo>
                            <a:lnTo>
                              <a:pt x="1962" y="328"/>
                            </a:lnTo>
                            <a:lnTo>
                              <a:pt x="1958" y="328"/>
                            </a:lnTo>
                            <a:lnTo>
                              <a:pt x="1954" y="330"/>
                            </a:lnTo>
                            <a:lnTo>
                              <a:pt x="1950" y="332"/>
                            </a:lnTo>
                            <a:lnTo>
                              <a:pt x="1944" y="326"/>
                            </a:lnTo>
                            <a:lnTo>
                              <a:pt x="1944" y="326"/>
                            </a:lnTo>
                            <a:lnTo>
                              <a:pt x="1942" y="322"/>
                            </a:lnTo>
                            <a:lnTo>
                              <a:pt x="1942" y="318"/>
                            </a:lnTo>
                            <a:lnTo>
                              <a:pt x="1948" y="312"/>
                            </a:lnTo>
                            <a:lnTo>
                              <a:pt x="1952" y="310"/>
                            </a:lnTo>
                            <a:lnTo>
                              <a:pt x="1952" y="308"/>
                            </a:lnTo>
                            <a:lnTo>
                              <a:pt x="1950" y="306"/>
                            </a:lnTo>
                            <a:lnTo>
                              <a:pt x="1942" y="306"/>
                            </a:lnTo>
                            <a:lnTo>
                              <a:pt x="1942" y="306"/>
                            </a:lnTo>
                            <a:lnTo>
                              <a:pt x="1934" y="304"/>
                            </a:lnTo>
                            <a:lnTo>
                              <a:pt x="1932" y="306"/>
                            </a:lnTo>
                            <a:lnTo>
                              <a:pt x="1936" y="312"/>
                            </a:lnTo>
                            <a:lnTo>
                              <a:pt x="1938" y="314"/>
                            </a:lnTo>
                            <a:lnTo>
                              <a:pt x="1936" y="316"/>
                            </a:lnTo>
                            <a:lnTo>
                              <a:pt x="1930" y="318"/>
                            </a:lnTo>
                            <a:lnTo>
                              <a:pt x="1916" y="316"/>
                            </a:lnTo>
                            <a:lnTo>
                              <a:pt x="1916" y="316"/>
                            </a:lnTo>
                            <a:lnTo>
                              <a:pt x="1910" y="314"/>
                            </a:lnTo>
                            <a:lnTo>
                              <a:pt x="1906" y="312"/>
                            </a:lnTo>
                            <a:lnTo>
                              <a:pt x="1906" y="306"/>
                            </a:lnTo>
                            <a:lnTo>
                              <a:pt x="1906" y="300"/>
                            </a:lnTo>
                            <a:lnTo>
                              <a:pt x="1912" y="286"/>
                            </a:lnTo>
                            <a:lnTo>
                              <a:pt x="1922" y="272"/>
                            </a:lnTo>
                            <a:lnTo>
                              <a:pt x="1922" y="272"/>
                            </a:lnTo>
                            <a:lnTo>
                              <a:pt x="1926" y="262"/>
                            </a:lnTo>
                            <a:lnTo>
                              <a:pt x="1930" y="254"/>
                            </a:lnTo>
                            <a:lnTo>
                              <a:pt x="1930" y="246"/>
                            </a:lnTo>
                            <a:lnTo>
                              <a:pt x="1932" y="242"/>
                            </a:lnTo>
                            <a:lnTo>
                              <a:pt x="1934" y="240"/>
                            </a:lnTo>
                            <a:lnTo>
                              <a:pt x="1950" y="232"/>
                            </a:lnTo>
                            <a:lnTo>
                              <a:pt x="1950" y="232"/>
                            </a:lnTo>
                            <a:lnTo>
                              <a:pt x="1964" y="228"/>
                            </a:lnTo>
                            <a:lnTo>
                              <a:pt x="1976" y="228"/>
                            </a:lnTo>
                            <a:lnTo>
                              <a:pt x="1984" y="228"/>
                            </a:lnTo>
                            <a:lnTo>
                              <a:pt x="1990" y="230"/>
                            </a:lnTo>
                            <a:lnTo>
                              <a:pt x="1998" y="232"/>
                            </a:lnTo>
                            <a:lnTo>
                              <a:pt x="2006" y="234"/>
                            </a:lnTo>
                            <a:lnTo>
                              <a:pt x="2018" y="234"/>
                            </a:lnTo>
                            <a:lnTo>
                              <a:pt x="2034" y="232"/>
                            </a:lnTo>
                            <a:lnTo>
                              <a:pt x="2034" y="232"/>
                            </a:lnTo>
                            <a:lnTo>
                              <a:pt x="2058" y="228"/>
                            </a:lnTo>
                            <a:lnTo>
                              <a:pt x="2068" y="228"/>
                            </a:lnTo>
                            <a:lnTo>
                              <a:pt x="2072" y="230"/>
                            </a:lnTo>
                            <a:lnTo>
                              <a:pt x="2080" y="230"/>
                            </a:lnTo>
                            <a:lnTo>
                              <a:pt x="2080" y="230"/>
                            </a:lnTo>
                            <a:lnTo>
                              <a:pt x="2092" y="230"/>
                            </a:lnTo>
                            <a:lnTo>
                              <a:pt x="2096" y="232"/>
                            </a:lnTo>
                            <a:lnTo>
                              <a:pt x="2096" y="234"/>
                            </a:lnTo>
                            <a:lnTo>
                              <a:pt x="2094" y="238"/>
                            </a:lnTo>
                            <a:lnTo>
                              <a:pt x="2092" y="242"/>
                            </a:lnTo>
                            <a:lnTo>
                              <a:pt x="2092" y="244"/>
                            </a:lnTo>
                            <a:lnTo>
                              <a:pt x="2096" y="246"/>
                            </a:lnTo>
                            <a:lnTo>
                              <a:pt x="2106" y="244"/>
                            </a:lnTo>
                            <a:lnTo>
                              <a:pt x="2106" y="244"/>
                            </a:lnTo>
                            <a:lnTo>
                              <a:pt x="2136" y="238"/>
                            </a:lnTo>
                            <a:lnTo>
                              <a:pt x="2140" y="236"/>
                            </a:lnTo>
                            <a:lnTo>
                              <a:pt x="2142" y="234"/>
                            </a:lnTo>
                            <a:lnTo>
                              <a:pt x="2140" y="232"/>
                            </a:lnTo>
                            <a:lnTo>
                              <a:pt x="2134" y="228"/>
                            </a:lnTo>
                            <a:lnTo>
                              <a:pt x="2134" y="228"/>
                            </a:lnTo>
                            <a:lnTo>
                              <a:pt x="2126" y="222"/>
                            </a:lnTo>
                            <a:lnTo>
                              <a:pt x="2126" y="220"/>
                            </a:lnTo>
                            <a:lnTo>
                              <a:pt x="2128" y="220"/>
                            </a:lnTo>
                            <a:lnTo>
                              <a:pt x="2132" y="216"/>
                            </a:lnTo>
                            <a:lnTo>
                              <a:pt x="2136" y="212"/>
                            </a:lnTo>
                            <a:lnTo>
                              <a:pt x="2136" y="204"/>
                            </a:lnTo>
                            <a:lnTo>
                              <a:pt x="2136" y="204"/>
                            </a:lnTo>
                            <a:lnTo>
                              <a:pt x="2136" y="196"/>
                            </a:lnTo>
                            <a:lnTo>
                              <a:pt x="2136" y="194"/>
                            </a:lnTo>
                            <a:lnTo>
                              <a:pt x="2138" y="194"/>
                            </a:lnTo>
                            <a:lnTo>
                              <a:pt x="2142" y="194"/>
                            </a:lnTo>
                            <a:lnTo>
                              <a:pt x="2144" y="194"/>
                            </a:lnTo>
                            <a:lnTo>
                              <a:pt x="2148" y="192"/>
                            </a:lnTo>
                            <a:lnTo>
                              <a:pt x="2148" y="192"/>
                            </a:lnTo>
                            <a:lnTo>
                              <a:pt x="2154" y="190"/>
                            </a:lnTo>
                            <a:lnTo>
                              <a:pt x="2158" y="190"/>
                            </a:lnTo>
                            <a:lnTo>
                              <a:pt x="2164" y="188"/>
                            </a:lnTo>
                            <a:lnTo>
                              <a:pt x="2172" y="184"/>
                            </a:lnTo>
                            <a:lnTo>
                              <a:pt x="2172" y="184"/>
                            </a:lnTo>
                            <a:lnTo>
                              <a:pt x="2176" y="182"/>
                            </a:lnTo>
                            <a:lnTo>
                              <a:pt x="2178" y="184"/>
                            </a:lnTo>
                            <a:lnTo>
                              <a:pt x="2182" y="190"/>
                            </a:lnTo>
                            <a:lnTo>
                              <a:pt x="2186" y="194"/>
                            </a:lnTo>
                            <a:lnTo>
                              <a:pt x="2194" y="200"/>
                            </a:lnTo>
                            <a:lnTo>
                              <a:pt x="2194" y="200"/>
                            </a:lnTo>
                            <a:lnTo>
                              <a:pt x="2208" y="204"/>
                            </a:lnTo>
                            <a:lnTo>
                              <a:pt x="2212" y="204"/>
                            </a:lnTo>
                            <a:lnTo>
                              <a:pt x="2214" y="202"/>
                            </a:lnTo>
                            <a:lnTo>
                              <a:pt x="2214" y="198"/>
                            </a:lnTo>
                            <a:lnTo>
                              <a:pt x="2216" y="196"/>
                            </a:lnTo>
                            <a:lnTo>
                              <a:pt x="2218" y="194"/>
                            </a:lnTo>
                            <a:lnTo>
                              <a:pt x="2218" y="194"/>
                            </a:lnTo>
                            <a:lnTo>
                              <a:pt x="2222" y="192"/>
                            </a:lnTo>
                            <a:lnTo>
                              <a:pt x="2222" y="190"/>
                            </a:lnTo>
                            <a:lnTo>
                              <a:pt x="2220" y="186"/>
                            </a:lnTo>
                            <a:lnTo>
                              <a:pt x="2218" y="184"/>
                            </a:lnTo>
                            <a:lnTo>
                              <a:pt x="2218" y="182"/>
                            </a:lnTo>
                            <a:lnTo>
                              <a:pt x="2220" y="180"/>
                            </a:lnTo>
                            <a:lnTo>
                              <a:pt x="2226" y="178"/>
                            </a:lnTo>
                            <a:lnTo>
                              <a:pt x="2226" y="178"/>
                            </a:lnTo>
                            <a:lnTo>
                              <a:pt x="2238" y="176"/>
                            </a:lnTo>
                            <a:lnTo>
                              <a:pt x="2244" y="176"/>
                            </a:lnTo>
                            <a:lnTo>
                              <a:pt x="2242" y="178"/>
                            </a:lnTo>
                            <a:lnTo>
                              <a:pt x="2236" y="180"/>
                            </a:lnTo>
                            <a:lnTo>
                              <a:pt x="2236" y="180"/>
                            </a:lnTo>
                            <a:lnTo>
                              <a:pt x="2232" y="182"/>
                            </a:lnTo>
                            <a:lnTo>
                              <a:pt x="2232" y="186"/>
                            </a:lnTo>
                            <a:lnTo>
                              <a:pt x="2236" y="192"/>
                            </a:lnTo>
                            <a:lnTo>
                              <a:pt x="2244" y="198"/>
                            </a:lnTo>
                            <a:lnTo>
                              <a:pt x="2252" y="202"/>
                            </a:lnTo>
                            <a:lnTo>
                              <a:pt x="2252" y="202"/>
                            </a:lnTo>
                            <a:lnTo>
                              <a:pt x="2254" y="202"/>
                            </a:lnTo>
                            <a:lnTo>
                              <a:pt x="2252" y="204"/>
                            </a:lnTo>
                            <a:lnTo>
                              <a:pt x="2248" y="210"/>
                            </a:lnTo>
                            <a:lnTo>
                              <a:pt x="2244" y="216"/>
                            </a:lnTo>
                            <a:lnTo>
                              <a:pt x="2242" y="220"/>
                            </a:lnTo>
                            <a:lnTo>
                              <a:pt x="2244" y="224"/>
                            </a:lnTo>
                            <a:lnTo>
                              <a:pt x="2244" y="224"/>
                            </a:lnTo>
                            <a:lnTo>
                              <a:pt x="2244" y="228"/>
                            </a:lnTo>
                            <a:lnTo>
                              <a:pt x="2244" y="234"/>
                            </a:lnTo>
                            <a:lnTo>
                              <a:pt x="2238" y="242"/>
                            </a:lnTo>
                            <a:lnTo>
                              <a:pt x="2232" y="250"/>
                            </a:lnTo>
                            <a:lnTo>
                              <a:pt x="2230" y="254"/>
                            </a:lnTo>
                            <a:lnTo>
                              <a:pt x="2230" y="256"/>
                            </a:lnTo>
                            <a:lnTo>
                              <a:pt x="2230" y="256"/>
                            </a:lnTo>
                            <a:lnTo>
                              <a:pt x="2232" y="258"/>
                            </a:lnTo>
                            <a:lnTo>
                              <a:pt x="2232" y="260"/>
                            </a:lnTo>
                            <a:lnTo>
                              <a:pt x="2228" y="260"/>
                            </a:lnTo>
                            <a:lnTo>
                              <a:pt x="2226" y="264"/>
                            </a:lnTo>
                            <a:lnTo>
                              <a:pt x="2226" y="266"/>
                            </a:lnTo>
                            <a:lnTo>
                              <a:pt x="2228" y="268"/>
                            </a:lnTo>
                            <a:lnTo>
                              <a:pt x="2228" y="268"/>
                            </a:lnTo>
                            <a:lnTo>
                              <a:pt x="2232" y="276"/>
                            </a:lnTo>
                            <a:lnTo>
                              <a:pt x="2232" y="278"/>
                            </a:lnTo>
                            <a:lnTo>
                              <a:pt x="2232" y="280"/>
                            </a:lnTo>
                            <a:lnTo>
                              <a:pt x="2230" y="282"/>
                            </a:lnTo>
                            <a:lnTo>
                              <a:pt x="2232" y="288"/>
                            </a:lnTo>
                            <a:lnTo>
                              <a:pt x="2232" y="288"/>
                            </a:lnTo>
                            <a:lnTo>
                              <a:pt x="2250" y="304"/>
                            </a:lnTo>
                            <a:lnTo>
                              <a:pt x="2264" y="314"/>
                            </a:lnTo>
                            <a:lnTo>
                              <a:pt x="2278" y="320"/>
                            </a:lnTo>
                            <a:lnTo>
                              <a:pt x="2294" y="330"/>
                            </a:lnTo>
                            <a:lnTo>
                              <a:pt x="2294" y="330"/>
                            </a:lnTo>
                            <a:lnTo>
                              <a:pt x="2312" y="342"/>
                            </a:lnTo>
                            <a:lnTo>
                              <a:pt x="2330" y="352"/>
                            </a:lnTo>
                            <a:lnTo>
                              <a:pt x="2348" y="362"/>
                            </a:lnTo>
                            <a:lnTo>
                              <a:pt x="2362" y="374"/>
                            </a:lnTo>
                            <a:lnTo>
                              <a:pt x="2362" y="374"/>
                            </a:lnTo>
                            <a:lnTo>
                              <a:pt x="2372" y="380"/>
                            </a:lnTo>
                            <a:lnTo>
                              <a:pt x="2374" y="380"/>
                            </a:lnTo>
                            <a:lnTo>
                              <a:pt x="2376" y="378"/>
                            </a:lnTo>
                            <a:lnTo>
                              <a:pt x="2378" y="372"/>
                            </a:lnTo>
                            <a:lnTo>
                              <a:pt x="2376" y="362"/>
                            </a:lnTo>
                            <a:lnTo>
                              <a:pt x="2376" y="362"/>
                            </a:lnTo>
                            <a:lnTo>
                              <a:pt x="2374" y="352"/>
                            </a:lnTo>
                            <a:lnTo>
                              <a:pt x="2370" y="346"/>
                            </a:lnTo>
                            <a:lnTo>
                              <a:pt x="2370" y="342"/>
                            </a:lnTo>
                            <a:lnTo>
                              <a:pt x="2374" y="340"/>
                            </a:lnTo>
                            <a:lnTo>
                              <a:pt x="2374" y="340"/>
                            </a:lnTo>
                            <a:lnTo>
                              <a:pt x="2378" y="338"/>
                            </a:lnTo>
                            <a:lnTo>
                              <a:pt x="2376" y="336"/>
                            </a:lnTo>
                            <a:lnTo>
                              <a:pt x="2372" y="332"/>
                            </a:lnTo>
                            <a:lnTo>
                              <a:pt x="2366" y="324"/>
                            </a:lnTo>
                            <a:lnTo>
                              <a:pt x="2366" y="324"/>
                            </a:lnTo>
                            <a:lnTo>
                              <a:pt x="2364" y="320"/>
                            </a:lnTo>
                            <a:lnTo>
                              <a:pt x="2364" y="318"/>
                            </a:lnTo>
                            <a:lnTo>
                              <a:pt x="2366" y="316"/>
                            </a:lnTo>
                            <a:lnTo>
                              <a:pt x="2370" y="314"/>
                            </a:lnTo>
                            <a:lnTo>
                              <a:pt x="2370" y="312"/>
                            </a:lnTo>
                            <a:lnTo>
                              <a:pt x="2370" y="310"/>
                            </a:lnTo>
                            <a:lnTo>
                              <a:pt x="2368" y="306"/>
                            </a:lnTo>
                            <a:lnTo>
                              <a:pt x="2368" y="306"/>
                            </a:lnTo>
                            <a:lnTo>
                              <a:pt x="2364" y="298"/>
                            </a:lnTo>
                            <a:lnTo>
                              <a:pt x="2362" y="298"/>
                            </a:lnTo>
                            <a:lnTo>
                              <a:pt x="2358" y="298"/>
                            </a:lnTo>
                            <a:lnTo>
                              <a:pt x="2352" y="292"/>
                            </a:lnTo>
                            <a:lnTo>
                              <a:pt x="2352" y="292"/>
                            </a:lnTo>
                            <a:lnTo>
                              <a:pt x="2348" y="284"/>
                            </a:lnTo>
                            <a:lnTo>
                              <a:pt x="2348" y="282"/>
                            </a:lnTo>
                            <a:lnTo>
                              <a:pt x="2350" y="282"/>
                            </a:lnTo>
                            <a:lnTo>
                              <a:pt x="2352" y="284"/>
                            </a:lnTo>
                            <a:lnTo>
                              <a:pt x="2352" y="284"/>
                            </a:lnTo>
                            <a:lnTo>
                              <a:pt x="2352" y="284"/>
                            </a:lnTo>
                            <a:lnTo>
                              <a:pt x="2354" y="284"/>
                            </a:lnTo>
                            <a:lnTo>
                              <a:pt x="2358" y="280"/>
                            </a:lnTo>
                            <a:lnTo>
                              <a:pt x="2358" y="278"/>
                            </a:lnTo>
                            <a:lnTo>
                              <a:pt x="2356" y="276"/>
                            </a:lnTo>
                            <a:lnTo>
                              <a:pt x="2352" y="274"/>
                            </a:lnTo>
                            <a:lnTo>
                              <a:pt x="2344" y="270"/>
                            </a:lnTo>
                            <a:lnTo>
                              <a:pt x="2344" y="270"/>
                            </a:lnTo>
                            <a:lnTo>
                              <a:pt x="2338" y="268"/>
                            </a:lnTo>
                            <a:lnTo>
                              <a:pt x="2334" y="264"/>
                            </a:lnTo>
                            <a:lnTo>
                              <a:pt x="2334" y="262"/>
                            </a:lnTo>
                            <a:lnTo>
                              <a:pt x="2334" y="260"/>
                            </a:lnTo>
                            <a:lnTo>
                              <a:pt x="2334" y="258"/>
                            </a:lnTo>
                            <a:lnTo>
                              <a:pt x="2332" y="256"/>
                            </a:lnTo>
                            <a:lnTo>
                              <a:pt x="2330" y="254"/>
                            </a:lnTo>
                            <a:lnTo>
                              <a:pt x="2324" y="252"/>
                            </a:lnTo>
                            <a:lnTo>
                              <a:pt x="2324" y="252"/>
                            </a:lnTo>
                            <a:lnTo>
                              <a:pt x="2312" y="252"/>
                            </a:lnTo>
                            <a:lnTo>
                              <a:pt x="2310" y="252"/>
                            </a:lnTo>
                            <a:lnTo>
                              <a:pt x="2310" y="254"/>
                            </a:lnTo>
                            <a:lnTo>
                              <a:pt x="2314" y="256"/>
                            </a:lnTo>
                            <a:lnTo>
                              <a:pt x="2314" y="256"/>
                            </a:lnTo>
                            <a:lnTo>
                              <a:pt x="2312" y="258"/>
                            </a:lnTo>
                            <a:lnTo>
                              <a:pt x="2312" y="258"/>
                            </a:lnTo>
                            <a:lnTo>
                              <a:pt x="2308" y="258"/>
                            </a:lnTo>
                            <a:lnTo>
                              <a:pt x="2306" y="256"/>
                            </a:lnTo>
                            <a:lnTo>
                              <a:pt x="2300" y="250"/>
                            </a:lnTo>
                            <a:lnTo>
                              <a:pt x="2298" y="242"/>
                            </a:lnTo>
                            <a:lnTo>
                              <a:pt x="2296" y="236"/>
                            </a:lnTo>
                            <a:lnTo>
                              <a:pt x="2296" y="236"/>
                            </a:lnTo>
                            <a:lnTo>
                              <a:pt x="2294" y="230"/>
                            </a:lnTo>
                            <a:lnTo>
                              <a:pt x="2288" y="226"/>
                            </a:lnTo>
                            <a:lnTo>
                              <a:pt x="2288" y="224"/>
                            </a:lnTo>
                            <a:lnTo>
                              <a:pt x="2288" y="222"/>
                            </a:lnTo>
                            <a:lnTo>
                              <a:pt x="2298" y="222"/>
                            </a:lnTo>
                            <a:lnTo>
                              <a:pt x="2298" y="222"/>
                            </a:lnTo>
                            <a:lnTo>
                              <a:pt x="2308" y="222"/>
                            </a:lnTo>
                            <a:lnTo>
                              <a:pt x="2308" y="220"/>
                            </a:lnTo>
                            <a:lnTo>
                              <a:pt x="2308" y="218"/>
                            </a:lnTo>
                            <a:lnTo>
                              <a:pt x="2306" y="216"/>
                            </a:lnTo>
                            <a:lnTo>
                              <a:pt x="2308" y="214"/>
                            </a:lnTo>
                            <a:lnTo>
                              <a:pt x="2314" y="212"/>
                            </a:lnTo>
                            <a:lnTo>
                              <a:pt x="2314" y="212"/>
                            </a:lnTo>
                            <a:lnTo>
                              <a:pt x="2320" y="214"/>
                            </a:lnTo>
                            <a:lnTo>
                              <a:pt x="2324" y="216"/>
                            </a:lnTo>
                            <a:lnTo>
                              <a:pt x="2326" y="220"/>
                            </a:lnTo>
                            <a:lnTo>
                              <a:pt x="2328" y="222"/>
                            </a:lnTo>
                            <a:lnTo>
                              <a:pt x="2328" y="226"/>
                            </a:lnTo>
                            <a:lnTo>
                              <a:pt x="2330" y="226"/>
                            </a:lnTo>
                            <a:lnTo>
                              <a:pt x="2334" y="216"/>
                            </a:lnTo>
                            <a:lnTo>
                              <a:pt x="2334" y="216"/>
                            </a:lnTo>
                            <a:lnTo>
                              <a:pt x="2336" y="210"/>
                            </a:lnTo>
                            <a:lnTo>
                              <a:pt x="2340" y="208"/>
                            </a:lnTo>
                            <a:lnTo>
                              <a:pt x="2344" y="206"/>
                            </a:lnTo>
                            <a:lnTo>
                              <a:pt x="2350" y="206"/>
                            </a:lnTo>
                            <a:lnTo>
                              <a:pt x="2362" y="208"/>
                            </a:lnTo>
                            <a:lnTo>
                              <a:pt x="2374" y="214"/>
                            </a:lnTo>
                            <a:lnTo>
                              <a:pt x="2374" y="214"/>
                            </a:lnTo>
                            <a:lnTo>
                              <a:pt x="2382" y="214"/>
                            </a:lnTo>
                            <a:lnTo>
                              <a:pt x="2384" y="212"/>
                            </a:lnTo>
                            <a:lnTo>
                              <a:pt x="2388" y="208"/>
                            </a:lnTo>
                            <a:lnTo>
                              <a:pt x="2392" y="206"/>
                            </a:lnTo>
                            <a:lnTo>
                              <a:pt x="2392" y="206"/>
                            </a:lnTo>
                            <a:lnTo>
                              <a:pt x="2400" y="198"/>
                            </a:lnTo>
                            <a:lnTo>
                              <a:pt x="2412" y="188"/>
                            </a:lnTo>
                            <a:lnTo>
                              <a:pt x="2426" y="178"/>
                            </a:lnTo>
                            <a:lnTo>
                              <a:pt x="2432" y="176"/>
                            </a:lnTo>
                            <a:lnTo>
                              <a:pt x="2436" y="176"/>
                            </a:lnTo>
                            <a:lnTo>
                              <a:pt x="2436" y="176"/>
                            </a:lnTo>
                            <a:lnTo>
                              <a:pt x="2440" y="176"/>
                            </a:lnTo>
                            <a:lnTo>
                              <a:pt x="2444" y="176"/>
                            </a:lnTo>
                            <a:lnTo>
                              <a:pt x="2448" y="172"/>
                            </a:lnTo>
                            <a:lnTo>
                              <a:pt x="2448" y="170"/>
                            </a:lnTo>
                            <a:lnTo>
                              <a:pt x="2446" y="168"/>
                            </a:lnTo>
                            <a:lnTo>
                              <a:pt x="2442" y="166"/>
                            </a:lnTo>
                            <a:lnTo>
                              <a:pt x="2434" y="164"/>
                            </a:lnTo>
                            <a:lnTo>
                              <a:pt x="2434" y="164"/>
                            </a:lnTo>
                            <a:lnTo>
                              <a:pt x="2420" y="162"/>
                            </a:lnTo>
                            <a:lnTo>
                              <a:pt x="2412" y="158"/>
                            </a:lnTo>
                            <a:lnTo>
                              <a:pt x="2404" y="156"/>
                            </a:lnTo>
                            <a:lnTo>
                              <a:pt x="2396" y="154"/>
                            </a:lnTo>
                            <a:lnTo>
                              <a:pt x="2396" y="154"/>
                            </a:lnTo>
                            <a:lnTo>
                              <a:pt x="2388" y="152"/>
                            </a:lnTo>
                            <a:lnTo>
                              <a:pt x="2382" y="148"/>
                            </a:lnTo>
                            <a:lnTo>
                              <a:pt x="2376" y="146"/>
                            </a:lnTo>
                            <a:lnTo>
                              <a:pt x="2372" y="148"/>
                            </a:lnTo>
                            <a:lnTo>
                              <a:pt x="2370" y="150"/>
                            </a:lnTo>
                            <a:lnTo>
                              <a:pt x="2370" y="150"/>
                            </a:lnTo>
                            <a:lnTo>
                              <a:pt x="2368" y="150"/>
                            </a:lnTo>
                            <a:lnTo>
                              <a:pt x="2364" y="150"/>
                            </a:lnTo>
                            <a:lnTo>
                              <a:pt x="2362" y="150"/>
                            </a:lnTo>
                            <a:lnTo>
                              <a:pt x="2360" y="148"/>
                            </a:lnTo>
                            <a:lnTo>
                              <a:pt x="2362" y="146"/>
                            </a:lnTo>
                            <a:lnTo>
                              <a:pt x="2364" y="144"/>
                            </a:lnTo>
                            <a:lnTo>
                              <a:pt x="2370" y="142"/>
                            </a:lnTo>
                            <a:lnTo>
                              <a:pt x="2382" y="142"/>
                            </a:lnTo>
                            <a:lnTo>
                              <a:pt x="2382" y="142"/>
                            </a:lnTo>
                            <a:lnTo>
                              <a:pt x="2392" y="140"/>
                            </a:lnTo>
                            <a:lnTo>
                              <a:pt x="2400" y="138"/>
                            </a:lnTo>
                            <a:lnTo>
                              <a:pt x="2404" y="136"/>
                            </a:lnTo>
                            <a:lnTo>
                              <a:pt x="2406" y="134"/>
                            </a:lnTo>
                            <a:lnTo>
                              <a:pt x="2404" y="132"/>
                            </a:lnTo>
                            <a:lnTo>
                              <a:pt x="2404" y="130"/>
                            </a:lnTo>
                            <a:lnTo>
                              <a:pt x="2398" y="128"/>
                            </a:lnTo>
                            <a:lnTo>
                              <a:pt x="2398" y="128"/>
                            </a:lnTo>
                            <a:lnTo>
                              <a:pt x="2394" y="126"/>
                            </a:lnTo>
                            <a:lnTo>
                              <a:pt x="2394" y="124"/>
                            </a:lnTo>
                            <a:lnTo>
                              <a:pt x="2400" y="122"/>
                            </a:lnTo>
                            <a:lnTo>
                              <a:pt x="2408" y="122"/>
                            </a:lnTo>
                            <a:lnTo>
                              <a:pt x="2412" y="122"/>
                            </a:lnTo>
                            <a:lnTo>
                              <a:pt x="2414" y="126"/>
                            </a:lnTo>
                            <a:lnTo>
                              <a:pt x="2414" y="126"/>
                            </a:lnTo>
                            <a:lnTo>
                              <a:pt x="2416" y="132"/>
                            </a:lnTo>
                            <a:lnTo>
                              <a:pt x="2420" y="136"/>
                            </a:lnTo>
                            <a:lnTo>
                              <a:pt x="2424" y="136"/>
                            </a:lnTo>
                            <a:lnTo>
                              <a:pt x="2428" y="136"/>
                            </a:lnTo>
                            <a:lnTo>
                              <a:pt x="2432" y="136"/>
                            </a:lnTo>
                            <a:lnTo>
                              <a:pt x="2434" y="138"/>
                            </a:lnTo>
                            <a:lnTo>
                              <a:pt x="2432" y="140"/>
                            </a:lnTo>
                            <a:lnTo>
                              <a:pt x="2432" y="140"/>
                            </a:lnTo>
                            <a:lnTo>
                              <a:pt x="2432" y="142"/>
                            </a:lnTo>
                            <a:lnTo>
                              <a:pt x="2434" y="142"/>
                            </a:lnTo>
                            <a:lnTo>
                              <a:pt x="2442" y="142"/>
                            </a:lnTo>
                            <a:lnTo>
                              <a:pt x="2454" y="140"/>
                            </a:lnTo>
                            <a:lnTo>
                              <a:pt x="2460" y="140"/>
                            </a:lnTo>
                            <a:lnTo>
                              <a:pt x="2462" y="142"/>
                            </a:lnTo>
                            <a:lnTo>
                              <a:pt x="2462" y="142"/>
                            </a:lnTo>
                            <a:lnTo>
                              <a:pt x="2468" y="148"/>
                            </a:lnTo>
                            <a:lnTo>
                              <a:pt x="2472" y="150"/>
                            </a:lnTo>
                            <a:lnTo>
                              <a:pt x="2476" y="150"/>
                            </a:lnTo>
                            <a:lnTo>
                              <a:pt x="2480" y="148"/>
                            </a:lnTo>
                            <a:lnTo>
                              <a:pt x="2488" y="146"/>
                            </a:lnTo>
                            <a:lnTo>
                              <a:pt x="2494" y="146"/>
                            </a:lnTo>
                            <a:lnTo>
                              <a:pt x="2500" y="148"/>
                            </a:lnTo>
                            <a:lnTo>
                              <a:pt x="2500" y="148"/>
                            </a:lnTo>
                            <a:lnTo>
                              <a:pt x="2516" y="152"/>
                            </a:lnTo>
                            <a:lnTo>
                              <a:pt x="2528" y="152"/>
                            </a:lnTo>
                            <a:lnTo>
                              <a:pt x="2532" y="150"/>
                            </a:lnTo>
                            <a:lnTo>
                              <a:pt x="2534" y="150"/>
                            </a:lnTo>
                            <a:lnTo>
                              <a:pt x="2532" y="146"/>
                            </a:lnTo>
                            <a:lnTo>
                              <a:pt x="2528" y="144"/>
                            </a:lnTo>
                            <a:lnTo>
                              <a:pt x="2528" y="144"/>
                            </a:lnTo>
                            <a:lnTo>
                              <a:pt x="2522" y="140"/>
                            </a:lnTo>
                            <a:lnTo>
                              <a:pt x="2522" y="136"/>
                            </a:lnTo>
                            <a:lnTo>
                              <a:pt x="2522" y="136"/>
                            </a:lnTo>
                            <a:lnTo>
                              <a:pt x="2520" y="134"/>
                            </a:lnTo>
                            <a:lnTo>
                              <a:pt x="2512" y="130"/>
                            </a:lnTo>
                            <a:lnTo>
                              <a:pt x="2512" y="130"/>
                            </a:lnTo>
                            <a:lnTo>
                              <a:pt x="2504" y="128"/>
                            </a:lnTo>
                            <a:lnTo>
                              <a:pt x="2502" y="126"/>
                            </a:lnTo>
                            <a:lnTo>
                              <a:pt x="2510" y="126"/>
                            </a:lnTo>
                            <a:lnTo>
                              <a:pt x="2522" y="126"/>
                            </a:lnTo>
                            <a:lnTo>
                              <a:pt x="2524" y="126"/>
                            </a:lnTo>
                            <a:lnTo>
                              <a:pt x="2522" y="124"/>
                            </a:lnTo>
                            <a:lnTo>
                              <a:pt x="2522" y="124"/>
                            </a:lnTo>
                            <a:lnTo>
                              <a:pt x="2520" y="122"/>
                            </a:lnTo>
                            <a:lnTo>
                              <a:pt x="2520" y="120"/>
                            </a:lnTo>
                            <a:lnTo>
                              <a:pt x="2526" y="118"/>
                            </a:lnTo>
                            <a:lnTo>
                              <a:pt x="2532" y="118"/>
                            </a:lnTo>
                            <a:lnTo>
                              <a:pt x="2532" y="116"/>
                            </a:lnTo>
                            <a:lnTo>
                              <a:pt x="2532" y="116"/>
                            </a:lnTo>
                            <a:lnTo>
                              <a:pt x="2532" y="116"/>
                            </a:lnTo>
                            <a:lnTo>
                              <a:pt x="2530" y="114"/>
                            </a:lnTo>
                            <a:lnTo>
                              <a:pt x="2530" y="114"/>
                            </a:lnTo>
                            <a:lnTo>
                              <a:pt x="2530" y="110"/>
                            </a:lnTo>
                            <a:lnTo>
                              <a:pt x="2530" y="108"/>
                            </a:lnTo>
                            <a:lnTo>
                              <a:pt x="2530" y="106"/>
                            </a:lnTo>
                            <a:lnTo>
                              <a:pt x="2528" y="104"/>
                            </a:lnTo>
                            <a:lnTo>
                              <a:pt x="2522" y="104"/>
                            </a:lnTo>
                            <a:lnTo>
                              <a:pt x="2522" y="104"/>
                            </a:lnTo>
                            <a:lnTo>
                              <a:pt x="2490" y="100"/>
                            </a:lnTo>
                            <a:lnTo>
                              <a:pt x="2458" y="94"/>
                            </a:lnTo>
                            <a:lnTo>
                              <a:pt x="2458" y="94"/>
                            </a:lnTo>
                            <a:lnTo>
                              <a:pt x="2446" y="94"/>
                            </a:lnTo>
                            <a:lnTo>
                              <a:pt x="2442" y="94"/>
                            </a:lnTo>
                            <a:lnTo>
                              <a:pt x="2442" y="96"/>
                            </a:lnTo>
                            <a:lnTo>
                              <a:pt x="2442" y="98"/>
                            </a:lnTo>
                            <a:lnTo>
                              <a:pt x="2450" y="102"/>
                            </a:lnTo>
                            <a:lnTo>
                              <a:pt x="2450" y="102"/>
                            </a:lnTo>
                            <a:lnTo>
                              <a:pt x="2460" y="106"/>
                            </a:lnTo>
                            <a:lnTo>
                              <a:pt x="2468" y="110"/>
                            </a:lnTo>
                            <a:lnTo>
                              <a:pt x="2474" y="114"/>
                            </a:lnTo>
                            <a:lnTo>
                              <a:pt x="2474" y="114"/>
                            </a:lnTo>
                            <a:lnTo>
                              <a:pt x="2466" y="114"/>
                            </a:lnTo>
                            <a:lnTo>
                              <a:pt x="2458" y="112"/>
                            </a:lnTo>
                            <a:lnTo>
                              <a:pt x="2448" y="106"/>
                            </a:lnTo>
                            <a:lnTo>
                              <a:pt x="2448" y="106"/>
                            </a:lnTo>
                            <a:lnTo>
                              <a:pt x="2436" y="102"/>
                            </a:lnTo>
                            <a:lnTo>
                              <a:pt x="2420" y="98"/>
                            </a:lnTo>
                            <a:lnTo>
                              <a:pt x="2400" y="96"/>
                            </a:lnTo>
                            <a:lnTo>
                              <a:pt x="2370" y="90"/>
                            </a:lnTo>
                            <a:lnTo>
                              <a:pt x="2370" y="90"/>
                            </a:lnTo>
                            <a:lnTo>
                              <a:pt x="2340" y="84"/>
                            </a:lnTo>
                            <a:lnTo>
                              <a:pt x="2320" y="80"/>
                            </a:lnTo>
                            <a:lnTo>
                              <a:pt x="2304" y="80"/>
                            </a:lnTo>
                            <a:lnTo>
                              <a:pt x="2290" y="82"/>
                            </a:lnTo>
                            <a:lnTo>
                              <a:pt x="2290" y="82"/>
                            </a:lnTo>
                            <a:lnTo>
                              <a:pt x="2284" y="84"/>
                            </a:lnTo>
                            <a:lnTo>
                              <a:pt x="2276" y="84"/>
                            </a:lnTo>
                            <a:lnTo>
                              <a:pt x="2258" y="80"/>
                            </a:lnTo>
                            <a:lnTo>
                              <a:pt x="2238" y="76"/>
                            </a:lnTo>
                            <a:lnTo>
                              <a:pt x="2216" y="74"/>
                            </a:lnTo>
                            <a:lnTo>
                              <a:pt x="2216" y="74"/>
                            </a:lnTo>
                            <a:lnTo>
                              <a:pt x="2168" y="74"/>
                            </a:lnTo>
                            <a:lnTo>
                              <a:pt x="2128" y="70"/>
                            </a:lnTo>
                            <a:lnTo>
                              <a:pt x="2128" y="70"/>
                            </a:lnTo>
                            <a:lnTo>
                              <a:pt x="2122" y="72"/>
                            </a:lnTo>
                            <a:lnTo>
                              <a:pt x="2122" y="72"/>
                            </a:lnTo>
                            <a:lnTo>
                              <a:pt x="2128" y="76"/>
                            </a:lnTo>
                            <a:lnTo>
                              <a:pt x="2134" y="80"/>
                            </a:lnTo>
                            <a:lnTo>
                              <a:pt x="2136" y="84"/>
                            </a:lnTo>
                            <a:lnTo>
                              <a:pt x="2136" y="86"/>
                            </a:lnTo>
                            <a:lnTo>
                              <a:pt x="2136" y="86"/>
                            </a:lnTo>
                            <a:lnTo>
                              <a:pt x="2130" y="88"/>
                            </a:lnTo>
                            <a:lnTo>
                              <a:pt x="2124" y="86"/>
                            </a:lnTo>
                            <a:lnTo>
                              <a:pt x="2118" y="84"/>
                            </a:lnTo>
                            <a:lnTo>
                              <a:pt x="2110" y="84"/>
                            </a:lnTo>
                            <a:lnTo>
                              <a:pt x="2110" y="84"/>
                            </a:lnTo>
                            <a:lnTo>
                              <a:pt x="2104" y="82"/>
                            </a:lnTo>
                            <a:lnTo>
                              <a:pt x="2102" y="80"/>
                            </a:lnTo>
                            <a:lnTo>
                              <a:pt x="2094" y="72"/>
                            </a:lnTo>
                            <a:lnTo>
                              <a:pt x="2092" y="68"/>
                            </a:lnTo>
                            <a:lnTo>
                              <a:pt x="2090" y="66"/>
                            </a:lnTo>
                            <a:lnTo>
                              <a:pt x="2086" y="68"/>
                            </a:lnTo>
                            <a:lnTo>
                              <a:pt x="2082" y="70"/>
                            </a:lnTo>
                            <a:lnTo>
                              <a:pt x="2082" y="70"/>
                            </a:lnTo>
                            <a:lnTo>
                              <a:pt x="2078" y="74"/>
                            </a:lnTo>
                            <a:lnTo>
                              <a:pt x="2076" y="74"/>
                            </a:lnTo>
                            <a:lnTo>
                              <a:pt x="2068" y="74"/>
                            </a:lnTo>
                            <a:lnTo>
                              <a:pt x="2050" y="74"/>
                            </a:lnTo>
                            <a:lnTo>
                              <a:pt x="2050" y="74"/>
                            </a:lnTo>
                            <a:lnTo>
                              <a:pt x="2034" y="74"/>
                            </a:lnTo>
                            <a:lnTo>
                              <a:pt x="2032" y="72"/>
                            </a:lnTo>
                            <a:lnTo>
                              <a:pt x="2030" y="70"/>
                            </a:lnTo>
                            <a:lnTo>
                              <a:pt x="2030" y="70"/>
                            </a:lnTo>
                            <a:lnTo>
                              <a:pt x="2028" y="68"/>
                            </a:lnTo>
                            <a:lnTo>
                              <a:pt x="2016" y="68"/>
                            </a:lnTo>
                            <a:lnTo>
                              <a:pt x="2016" y="68"/>
                            </a:lnTo>
                            <a:lnTo>
                              <a:pt x="2006" y="70"/>
                            </a:lnTo>
                            <a:lnTo>
                              <a:pt x="2006" y="70"/>
                            </a:lnTo>
                            <a:lnTo>
                              <a:pt x="2006" y="72"/>
                            </a:lnTo>
                            <a:lnTo>
                              <a:pt x="2010" y="72"/>
                            </a:lnTo>
                            <a:lnTo>
                              <a:pt x="2002" y="74"/>
                            </a:lnTo>
                            <a:lnTo>
                              <a:pt x="2002" y="74"/>
                            </a:lnTo>
                            <a:lnTo>
                              <a:pt x="1988" y="74"/>
                            </a:lnTo>
                            <a:lnTo>
                              <a:pt x="1980" y="72"/>
                            </a:lnTo>
                            <a:lnTo>
                              <a:pt x="1970" y="68"/>
                            </a:lnTo>
                            <a:lnTo>
                              <a:pt x="1950" y="66"/>
                            </a:lnTo>
                            <a:lnTo>
                              <a:pt x="1950" y="66"/>
                            </a:lnTo>
                            <a:lnTo>
                              <a:pt x="1934" y="66"/>
                            </a:lnTo>
                            <a:lnTo>
                              <a:pt x="1924" y="62"/>
                            </a:lnTo>
                            <a:lnTo>
                              <a:pt x="1908" y="60"/>
                            </a:lnTo>
                            <a:lnTo>
                              <a:pt x="1876" y="56"/>
                            </a:lnTo>
                            <a:lnTo>
                              <a:pt x="1876" y="56"/>
                            </a:lnTo>
                            <a:lnTo>
                              <a:pt x="1844" y="56"/>
                            </a:lnTo>
                            <a:lnTo>
                              <a:pt x="1836" y="56"/>
                            </a:lnTo>
                            <a:lnTo>
                              <a:pt x="1836" y="58"/>
                            </a:lnTo>
                            <a:lnTo>
                              <a:pt x="1836" y="58"/>
                            </a:lnTo>
                            <a:lnTo>
                              <a:pt x="1836" y="58"/>
                            </a:lnTo>
                            <a:lnTo>
                              <a:pt x="1838" y="60"/>
                            </a:lnTo>
                            <a:lnTo>
                              <a:pt x="1836" y="60"/>
                            </a:lnTo>
                            <a:lnTo>
                              <a:pt x="1832" y="60"/>
                            </a:lnTo>
                            <a:lnTo>
                              <a:pt x="1824" y="60"/>
                            </a:lnTo>
                            <a:lnTo>
                              <a:pt x="1816" y="56"/>
                            </a:lnTo>
                            <a:lnTo>
                              <a:pt x="1816" y="56"/>
                            </a:lnTo>
                            <a:lnTo>
                              <a:pt x="1808" y="50"/>
                            </a:lnTo>
                            <a:lnTo>
                              <a:pt x="1796" y="48"/>
                            </a:lnTo>
                            <a:lnTo>
                              <a:pt x="1780" y="48"/>
                            </a:lnTo>
                            <a:lnTo>
                              <a:pt x="1760" y="50"/>
                            </a:lnTo>
                            <a:lnTo>
                              <a:pt x="1760" y="50"/>
                            </a:lnTo>
                            <a:lnTo>
                              <a:pt x="1752" y="52"/>
                            </a:lnTo>
                            <a:lnTo>
                              <a:pt x="1744" y="52"/>
                            </a:lnTo>
                            <a:lnTo>
                              <a:pt x="1730" y="50"/>
                            </a:lnTo>
                            <a:lnTo>
                              <a:pt x="1718" y="48"/>
                            </a:lnTo>
                            <a:lnTo>
                              <a:pt x="1704" y="46"/>
                            </a:lnTo>
                            <a:lnTo>
                              <a:pt x="1704" y="46"/>
                            </a:lnTo>
                            <a:lnTo>
                              <a:pt x="1690" y="46"/>
                            </a:lnTo>
                            <a:lnTo>
                              <a:pt x="1694" y="44"/>
                            </a:lnTo>
                            <a:lnTo>
                              <a:pt x="1698" y="42"/>
                            </a:lnTo>
                            <a:lnTo>
                              <a:pt x="1698" y="40"/>
                            </a:lnTo>
                            <a:lnTo>
                              <a:pt x="1694" y="40"/>
                            </a:lnTo>
                            <a:lnTo>
                              <a:pt x="1682" y="38"/>
                            </a:lnTo>
                            <a:lnTo>
                              <a:pt x="1682" y="38"/>
                            </a:lnTo>
                            <a:lnTo>
                              <a:pt x="1674" y="38"/>
                            </a:lnTo>
                            <a:lnTo>
                              <a:pt x="1670" y="40"/>
                            </a:lnTo>
                            <a:lnTo>
                              <a:pt x="1668" y="42"/>
                            </a:lnTo>
                            <a:lnTo>
                              <a:pt x="1668" y="44"/>
                            </a:lnTo>
                            <a:lnTo>
                              <a:pt x="1666" y="48"/>
                            </a:lnTo>
                            <a:lnTo>
                              <a:pt x="1664" y="48"/>
                            </a:lnTo>
                            <a:lnTo>
                              <a:pt x="1660" y="48"/>
                            </a:lnTo>
                            <a:lnTo>
                              <a:pt x="1660" y="48"/>
                            </a:lnTo>
                            <a:lnTo>
                              <a:pt x="1656" y="48"/>
                            </a:lnTo>
                            <a:lnTo>
                              <a:pt x="1656" y="46"/>
                            </a:lnTo>
                            <a:lnTo>
                              <a:pt x="1660" y="44"/>
                            </a:lnTo>
                            <a:lnTo>
                              <a:pt x="1664" y="40"/>
                            </a:lnTo>
                            <a:lnTo>
                              <a:pt x="1664" y="40"/>
                            </a:lnTo>
                            <a:lnTo>
                              <a:pt x="1662" y="38"/>
                            </a:lnTo>
                            <a:lnTo>
                              <a:pt x="1662" y="38"/>
                            </a:lnTo>
                            <a:lnTo>
                              <a:pt x="1654" y="38"/>
                            </a:lnTo>
                            <a:lnTo>
                              <a:pt x="1648" y="38"/>
                            </a:lnTo>
                            <a:lnTo>
                              <a:pt x="1642" y="44"/>
                            </a:lnTo>
                            <a:lnTo>
                              <a:pt x="1642" y="44"/>
                            </a:lnTo>
                            <a:lnTo>
                              <a:pt x="1638" y="44"/>
                            </a:lnTo>
                            <a:lnTo>
                              <a:pt x="1632" y="40"/>
                            </a:lnTo>
                            <a:lnTo>
                              <a:pt x="1632" y="40"/>
                            </a:lnTo>
                            <a:lnTo>
                              <a:pt x="1632" y="38"/>
                            </a:lnTo>
                            <a:lnTo>
                              <a:pt x="1636" y="36"/>
                            </a:lnTo>
                            <a:lnTo>
                              <a:pt x="1642" y="36"/>
                            </a:lnTo>
                            <a:lnTo>
                              <a:pt x="1642" y="36"/>
                            </a:lnTo>
                            <a:lnTo>
                              <a:pt x="1654" y="34"/>
                            </a:lnTo>
                            <a:lnTo>
                              <a:pt x="1656" y="34"/>
                            </a:lnTo>
                            <a:lnTo>
                              <a:pt x="1642" y="32"/>
                            </a:lnTo>
                            <a:lnTo>
                              <a:pt x="1642" y="32"/>
                            </a:lnTo>
                            <a:lnTo>
                              <a:pt x="1618" y="32"/>
                            </a:lnTo>
                            <a:lnTo>
                              <a:pt x="1590" y="32"/>
                            </a:lnTo>
                            <a:lnTo>
                              <a:pt x="1590" y="32"/>
                            </a:lnTo>
                            <a:lnTo>
                              <a:pt x="1584" y="32"/>
                            </a:lnTo>
                            <a:lnTo>
                              <a:pt x="1582" y="36"/>
                            </a:lnTo>
                            <a:lnTo>
                              <a:pt x="1582" y="38"/>
                            </a:lnTo>
                            <a:lnTo>
                              <a:pt x="1584" y="42"/>
                            </a:lnTo>
                            <a:lnTo>
                              <a:pt x="1586" y="46"/>
                            </a:lnTo>
                            <a:lnTo>
                              <a:pt x="1584" y="48"/>
                            </a:lnTo>
                            <a:lnTo>
                              <a:pt x="1580" y="50"/>
                            </a:lnTo>
                            <a:lnTo>
                              <a:pt x="1572" y="48"/>
                            </a:lnTo>
                            <a:lnTo>
                              <a:pt x="1572" y="48"/>
                            </a:lnTo>
                            <a:lnTo>
                              <a:pt x="1564" y="48"/>
                            </a:lnTo>
                            <a:lnTo>
                              <a:pt x="1556" y="50"/>
                            </a:lnTo>
                            <a:lnTo>
                              <a:pt x="1544" y="48"/>
                            </a:lnTo>
                            <a:lnTo>
                              <a:pt x="1520" y="42"/>
                            </a:lnTo>
                            <a:lnTo>
                              <a:pt x="1520" y="42"/>
                            </a:lnTo>
                            <a:lnTo>
                              <a:pt x="1514" y="40"/>
                            </a:lnTo>
                            <a:lnTo>
                              <a:pt x="1516" y="42"/>
                            </a:lnTo>
                            <a:lnTo>
                              <a:pt x="1528" y="52"/>
                            </a:lnTo>
                            <a:lnTo>
                              <a:pt x="1542" y="62"/>
                            </a:lnTo>
                            <a:lnTo>
                              <a:pt x="1544" y="64"/>
                            </a:lnTo>
                            <a:lnTo>
                              <a:pt x="1538" y="66"/>
                            </a:lnTo>
                            <a:lnTo>
                              <a:pt x="1538" y="66"/>
                            </a:lnTo>
                            <a:lnTo>
                              <a:pt x="1534" y="66"/>
                            </a:lnTo>
                            <a:lnTo>
                              <a:pt x="1534" y="68"/>
                            </a:lnTo>
                            <a:lnTo>
                              <a:pt x="1534" y="70"/>
                            </a:lnTo>
                            <a:lnTo>
                              <a:pt x="1530" y="68"/>
                            </a:lnTo>
                            <a:lnTo>
                              <a:pt x="1530" y="68"/>
                            </a:lnTo>
                            <a:lnTo>
                              <a:pt x="1510" y="64"/>
                            </a:lnTo>
                            <a:lnTo>
                              <a:pt x="1492" y="56"/>
                            </a:lnTo>
                            <a:lnTo>
                              <a:pt x="1492" y="56"/>
                            </a:lnTo>
                            <a:lnTo>
                              <a:pt x="1484" y="54"/>
                            </a:lnTo>
                            <a:lnTo>
                              <a:pt x="1484" y="54"/>
                            </a:lnTo>
                            <a:lnTo>
                              <a:pt x="1482" y="56"/>
                            </a:lnTo>
                            <a:lnTo>
                              <a:pt x="1474" y="56"/>
                            </a:lnTo>
                            <a:lnTo>
                              <a:pt x="1474" y="56"/>
                            </a:lnTo>
                            <a:lnTo>
                              <a:pt x="1468" y="54"/>
                            </a:lnTo>
                            <a:lnTo>
                              <a:pt x="1470" y="52"/>
                            </a:lnTo>
                            <a:lnTo>
                              <a:pt x="1472" y="50"/>
                            </a:lnTo>
                            <a:lnTo>
                              <a:pt x="1472" y="48"/>
                            </a:lnTo>
                            <a:lnTo>
                              <a:pt x="1468" y="48"/>
                            </a:lnTo>
                            <a:lnTo>
                              <a:pt x="1468" y="48"/>
                            </a:lnTo>
                            <a:lnTo>
                              <a:pt x="1458" y="44"/>
                            </a:lnTo>
                            <a:lnTo>
                              <a:pt x="1454" y="40"/>
                            </a:lnTo>
                            <a:lnTo>
                              <a:pt x="1452" y="38"/>
                            </a:lnTo>
                            <a:lnTo>
                              <a:pt x="1452" y="38"/>
                            </a:lnTo>
                            <a:lnTo>
                              <a:pt x="1448" y="34"/>
                            </a:lnTo>
                            <a:lnTo>
                              <a:pt x="1440" y="32"/>
                            </a:lnTo>
                            <a:lnTo>
                              <a:pt x="1418" y="28"/>
                            </a:lnTo>
                            <a:lnTo>
                              <a:pt x="1418" y="28"/>
                            </a:lnTo>
                            <a:lnTo>
                              <a:pt x="1396" y="20"/>
                            </a:lnTo>
                            <a:lnTo>
                              <a:pt x="1384" y="18"/>
                            </a:lnTo>
                            <a:lnTo>
                              <a:pt x="1380" y="18"/>
                            </a:lnTo>
                            <a:lnTo>
                              <a:pt x="1376" y="20"/>
                            </a:lnTo>
                            <a:lnTo>
                              <a:pt x="1376" y="20"/>
                            </a:lnTo>
                            <a:lnTo>
                              <a:pt x="1370" y="22"/>
                            </a:lnTo>
                            <a:lnTo>
                              <a:pt x="1366" y="22"/>
                            </a:lnTo>
                            <a:lnTo>
                              <a:pt x="1360" y="20"/>
                            </a:lnTo>
                            <a:lnTo>
                              <a:pt x="1356" y="20"/>
                            </a:lnTo>
                            <a:lnTo>
                              <a:pt x="1356" y="20"/>
                            </a:lnTo>
                            <a:lnTo>
                              <a:pt x="1344" y="20"/>
                            </a:lnTo>
                            <a:lnTo>
                              <a:pt x="1338" y="20"/>
                            </a:lnTo>
                            <a:lnTo>
                              <a:pt x="1336" y="22"/>
                            </a:lnTo>
                            <a:lnTo>
                              <a:pt x="1336" y="22"/>
                            </a:lnTo>
                            <a:lnTo>
                              <a:pt x="1332" y="24"/>
                            </a:lnTo>
                            <a:lnTo>
                              <a:pt x="1328" y="26"/>
                            </a:lnTo>
                            <a:lnTo>
                              <a:pt x="1326" y="26"/>
                            </a:lnTo>
                            <a:lnTo>
                              <a:pt x="1326" y="28"/>
                            </a:lnTo>
                            <a:lnTo>
                              <a:pt x="1336" y="32"/>
                            </a:lnTo>
                            <a:lnTo>
                              <a:pt x="1336" y="32"/>
                            </a:lnTo>
                            <a:lnTo>
                              <a:pt x="1344" y="38"/>
                            </a:lnTo>
                            <a:lnTo>
                              <a:pt x="1342" y="38"/>
                            </a:lnTo>
                            <a:lnTo>
                              <a:pt x="1340" y="38"/>
                            </a:lnTo>
                            <a:lnTo>
                              <a:pt x="1312" y="38"/>
                            </a:lnTo>
                            <a:lnTo>
                              <a:pt x="1312" y="38"/>
                            </a:lnTo>
                            <a:lnTo>
                              <a:pt x="1300" y="38"/>
                            </a:lnTo>
                            <a:lnTo>
                              <a:pt x="1300" y="40"/>
                            </a:lnTo>
                            <a:lnTo>
                              <a:pt x="1302" y="42"/>
                            </a:lnTo>
                            <a:lnTo>
                              <a:pt x="1302" y="42"/>
                            </a:lnTo>
                            <a:lnTo>
                              <a:pt x="1300" y="44"/>
                            </a:lnTo>
                            <a:lnTo>
                              <a:pt x="1298" y="44"/>
                            </a:lnTo>
                            <a:lnTo>
                              <a:pt x="1286" y="44"/>
                            </a:lnTo>
                            <a:lnTo>
                              <a:pt x="1274" y="42"/>
                            </a:lnTo>
                            <a:lnTo>
                              <a:pt x="1270" y="40"/>
                            </a:lnTo>
                            <a:lnTo>
                              <a:pt x="1270" y="38"/>
                            </a:lnTo>
                            <a:lnTo>
                              <a:pt x="1270" y="38"/>
                            </a:lnTo>
                            <a:lnTo>
                              <a:pt x="1270" y="38"/>
                            </a:lnTo>
                            <a:lnTo>
                              <a:pt x="1268" y="36"/>
                            </a:lnTo>
                            <a:lnTo>
                              <a:pt x="1266" y="36"/>
                            </a:lnTo>
                            <a:lnTo>
                              <a:pt x="1266" y="36"/>
                            </a:lnTo>
                            <a:lnTo>
                              <a:pt x="1266" y="36"/>
                            </a:lnTo>
                            <a:lnTo>
                              <a:pt x="1266" y="34"/>
                            </a:lnTo>
                            <a:lnTo>
                              <a:pt x="1268" y="32"/>
                            </a:lnTo>
                            <a:lnTo>
                              <a:pt x="1270" y="32"/>
                            </a:lnTo>
                            <a:lnTo>
                              <a:pt x="1268" y="30"/>
                            </a:lnTo>
                            <a:lnTo>
                              <a:pt x="1268" y="30"/>
                            </a:lnTo>
                            <a:lnTo>
                              <a:pt x="1264" y="30"/>
                            </a:lnTo>
                            <a:lnTo>
                              <a:pt x="1258" y="30"/>
                            </a:lnTo>
                            <a:lnTo>
                              <a:pt x="1246" y="32"/>
                            </a:lnTo>
                            <a:lnTo>
                              <a:pt x="1226" y="32"/>
                            </a:lnTo>
                            <a:lnTo>
                              <a:pt x="1226" y="32"/>
                            </a:lnTo>
                            <a:lnTo>
                              <a:pt x="1210" y="34"/>
                            </a:lnTo>
                            <a:lnTo>
                              <a:pt x="1204" y="34"/>
                            </a:lnTo>
                            <a:lnTo>
                              <a:pt x="1200" y="36"/>
                            </a:lnTo>
                            <a:lnTo>
                              <a:pt x="1192" y="38"/>
                            </a:lnTo>
                            <a:lnTo>
                              <a:pt x="1192" y="38"/>
                            </a:lnTo>
                            <a:lnTo>
                              <a:pt x="1184" y="38"/>
                            </a:lnTo>
                            <a:lnTo>
                              <a:pt x="1182" y="36"/>
                            </a:lnTo>
                            <a:lnTo>
                              <a:pt x="1182" y="34"/>
                            </a:lnTo>
                            <a:lnTo>
                              <a:pt x="1180" y="32"/>
                            </a:lnTo>
                            <a:lnTo>
                              <a:pt x="1176" y="30"/>
                            </a:lnTo>
                            <a:lnTo>
                              <a:pt x="1168" y="30"/>
                            </a:lnTo>
                            <a:lnTo>
                              <a:pt x="1168" y="30"/>
                            </a:lnTo>
                            <a:lnTo>
                              <a:pt x="1156" y="32"/>
                            </a:lnTo>
                            <a:lnTo>
                              <a:pt x="1152" y="34"/>
                            </a:lnTo>
                            <a:lnTo>
                              <a:pt x="1150" y="34"/>
                            </a:lnTo>
                            <a:lnTo>
                              <a:pt x="1148" y="34"/>
                            </a:lnTo>
                            <a:lnTo>
                              <a:pt x="1148" y="34"/>
                            </a:lnTo>
                            <a:lnTo>
                              <a:pt x="1144" y="34"/>
                            </a:lnTo>
                            <a:lnTo>
                              <a:pt x="1140" y="34"/>
                            </a:lnTo>
                            <a:lnTo>
                              <a:pt x="1136" y="34"/>
                            </a:lnTo>
                            <a:lnTo>
                              <a:pt x="1132" y="32"/>
                            </a:lnTo>
                            <a:lnTo>
                              <a:pt x="1132" y="32"/>
                            </a:lnTo>
                            <a:lnTo>
                              <a:pt x="1130" y="30"/>
                            </a:lnTo>
                            <a:lnTo>
                              <a:pt x="1126" y="30"/>
                            </a:lnTo>
                            <a:lnTo>
                              <a:pt x="1118" y="30"/>
                            </a:lnTo>
                            <a:lnTo>
                              <a:pt x="1118" y="30"/>
                            </a:lnTo>
                            <a:lnTo>
                              <a:pt x="1114" y="32"/>
                            </a:lnTo>
                            <a:lnTo>
                              <a:pt x="1112" y="34"/>
                            </a:lnTo>
                            <a:lnTo>
                              <a:pt x="1122" y="36"/>
                            </a:lnTo>
                            <a:lnTo>
                              <a:pt x="1122" y="36"/>
                            </a:lnTo>
                            <a:lnTo>
                              <a:pt x="1116" y="38"/>
                            </a:lnTo>
                            <a:lnTo>
                              <a:pt x="1112" y="36"/>
                            </a:lnTo>
                            <a:lnTo>
                              <a:pt x="1108" y="36"/>
                            </a:lnTo>
                            <a:lnTo>
                              <a:pt x="1106" y="38"/>
                            </a:lnTo>
                            <a:lnTo>
                              <a:pt x="1106" y="38"/>
                            </a:lnTo>
                            <a:lnTo>
                              <a:pt x="1102" y="40"/>
                            </a:lnTo>
                            <a:lnTo>
                              <a:pt x="1098" y="42"/>
                            </a:lnTo>
                            <a:lnTo>
                              <a:pt x="1088" y="42"/>
                            </a:lnTo>
                            <a:lnTo>
                              <a:pt x="1088" y="42"/>
                            </a:lnTo>
                            <a:lnTo>
                              <a:pt x="1088" y="42"/>
                            </a:lnTo>
                            <a:lnTo>
                              <a:pt x="1086" y="42"/>
                            </a:lnTo>
                            <a:lnTo>
                              <a:pt x="1080" y="46"/>
                            </a:lnTo>
                            <a:lnTo>
                              <a:pt x="1080" y="46"/>
                            </a:lnTo>
                            <a:lnTo>
                              <a:pt x="1070" y="48"/>
                            </a:lnTo>
                            <a:lnTo>
                              <a:pt x="1068" y="48"/>
                            </a:lnTo>
                            <a:lnTo>
                              <a:pt x="1076" y="44"/>
                            </a:lnTo>
                            <a:lnTo>
                              <a:pt x="1076" y="44"/>
                            </a:lnTo>
                            <a:lnTo>
                              <a:pt x="1082" y="42"/>
                            </a:lnTo>
                            <a:lnTo>
                              <a:pt x="1084" y="40"/>
                            </a:lnTo>
                            <a:lnTo>
                              <a:pt x="1084" y="38"/>
                            </a:lnTo>
                            <a:lnTo>
                              <a:pt x="1086" y="38"/>
                            </a:lnTo>
                            <a:lnTo>
                              <a:pt x="1086" y="38"/>
                            </a:lnTo>
                            <a:lnTo>
                              <a:pt x="1092" y="38"/>
                            </a:lnTo>
                            <a:lnTo>
                              <a:pt x="1094" y="36"/>
                            </a:lnTo>
                            <a:lnTo>
                              <a:pt x="1096" y="34"/>
                            </a:lnTo>
                            <a:lnTo>
                              <a:pt x="1102" y="32"/>
                            </a:lnTo>
                            <a:lnTo>
                              <a:pt x="1102" y="32"/>
                            </a:lnTo>
                            <a:lnTo>
                              <a:pt x="1112" y="26"/>
                            </a:lnTo>
                            <a:lnTo>
                              <a:pt x="1120" y="24"/>
                            </a:lnTo>
                            <a:lnTo>
                              <a:pt x="1120" y="24"/>
                            </a:lnTo>
                            <a:lnTo>
                              <a:pt x="1122" y="22"/>
                            </a:lnTo>
                            <a:lnTo>
                              <a:pt x="1120" y="18"/>
                            </a:lnTo>
                            <a:lnTo>
                              <a:pt x="1118" y="16"/>
                            </a:lnTo>
                            <a:lnTo>
                              <a:pt x="1114" y="16"/>
                            </a:lnTo>
                            <a:lnTo>
                              <a:pt x="1114" y="16"/>
                            </a:lnTo>
                            <a:lnTo>
                              <a:pt x="1106" y="16"/>
                            </a:lnTo>
                            <a:lnTo>
                              <a:pt x="1102" y="16"/>
                            </a:lnTo>
                            <a:lnTo>
                              <a:pt x="1100" y="14"/>
                            </a:lnTo>
                            <a:lnTo>
                              <a:pt x="1100" y="14"/>
                            </a:lnTo>
                            <a:lnTo>
                              <a:pt x="1108" y="14"/>
                            </a:lnTo>
                            <a:lnTo>
                              <a:pt x="1114" y="14"/>
                            </a:lnTo>
                            <a:lnTo>
                              <a:pt x="1116" y="14"/>
                            </a:lnTo>
                            <a:lnTo>
                              <a:pt x="1116" y="14"/>
                            </a:lnTo>
                            <a:lnTo>
                              <a:pt x="1114" y="12"/>
                            </a:lnTo>
                            <a:lnTo>
                              <a:pt x="1106" y="8"/>
                            </a:lnTo>
                            <a:lnTo>
                              <a:pt x="1096" y="6"/>
                            </a:lnTo>
                            <a:lnTo>
                              <a:pt x="1088" y="6"/>
                            </a:lnTo>
                            <a:lnTo>
                              <a:pt x="1088" y="6"/>
                            </a:lnTo>
                            <a:lnTo>
                              <a:pt x="1086" y="8"/>
                            </a:lnTo>
                            <a:lnTo>
                              <a:pt x="1080" y="6"/>
                            </a:lnTo>
                            <a:lnTo>
                              <a:pt x="1058" y="4"/>
                            </a:lnTo>
                            <a:lnTo>
                              <a:pt x="1058" y="4"/>
                            </a:lnTo>
                            <a:lnTo>
                              <a:pt x="1048" y="6"/>
                            </a:lnTo>
                            <a:lnTo>
                              <a:pt x="1046" y="6"/>
                            </a:lnTo>
                            <a:lnTo>
                              <a:pt x="1048" y="8"/>
                            </a:lnTo>
                            <a:lnTo>
                              <a:pt x="1046" y="8"/>
                            </a:lnTo>
                            <a:lnTo>
                              <a:pt x="1046" y="8"/>
                            </a:lnTo>
                            <a:lnTo>
                              <a:pt x="1044" y="8"/>
                            </a:lnTo>
                            <a:lnTo>
                              <a:pt x="1042" y="6"/>
                            </a:lnTo>
                            <a:lnTo>
                              <a:pt x="1038" y="6"/>
                            </a:lnTo>
                            <a:lnTo>
                              <a:pt x="1028" y="6"/>
                            </a:lnTo>
                            <a:lnTo>
                              <a:pt x="1028" y="6"/>
                            </a:lnTo>
                            <a:lnTo>
                              <a:pt x="1018" y="6"/>
                            </a:lnTo>
                            <a:lnTo>
                              <a:pt x="1008" y="4"/>
                            </a:lnTo>
                            <a:lnTo>
                              <a:pt x="998" y="2"/>
                            </a:lnTo>
                            <a:lnTo>
                              <a:pt x="998" y="2"/>
                            </a:lnTo>
                            <a:lnTo>
                              <a:pt x="992" y="2"/>
                            </a:lnTo>
                            <a:lnTo>
                              <a:pt x="988" y="2"/>
                            </a:lnTo>
                            <a:lnTo>
                              <a:pt x="980" y="4"/>
                            </a:lnTo>
                            <a:lnTo>
                              <a:pt x="980" y="4"/>
                            </a:lnTo>
                            <a:lnTo>
                              <a:pt x="976" y="10"/>
                            </a:lnTo>
                            <a:lnTo>
                              <a:pt x="974" y="10"/>
                            </a:lnTo>
                            <a:lnTo>
                              <a:pt x="976" y="6"/>
                            </a:lnTo>
                            <a:lnTo>
                              <a:pt x="976" y="6"/>
                            </a:lnTo>
                            <a:lnTo>
                              <a:pt x="976" y="2"/>
                            </a:lnTo>
                            <a:lnTo>
                              <a:pt x="974" y="2"/>
                            </a:lnTo>
                            <a:lnTo>
                              <a:pt x="966" y="4"/>
                            </a:lnTo>
                            <a:lnTo>
                              <a:pt x="960" y="8"/>
                            </a:lnTo>
                            <a:lnTo>
                              <a:pt x="962" y="4"/>
                            </a:lnTo>
                            <a:lnTo>
                              <a:pt x="962" y="4"/>
                            </a:lnTo>
                            <a:lnTo>
                              <a:pt x="966" y="0"/>
                            </a:lnTo>
                            <a:lnTo>
                              <a:pt x="958" y="0"/>
                            </a:lnTo>
                            <a:lnTo>
                              <a:pt x="958" y="0"/>
                            </a:lnTo>
                            <a:lnTo>
                              <a:pt x="946" y="0"/>
                            </a:lnTo>
                            <a:lnTo>
                              <a:pt x="940" y="4"/>
                            </a:lnTo>
                            <a:lnTo>
                              <a:pt x="940" y="4"/>
                            </a:lnTo>
                            <a:lnTo>
                              <a:pt x="932" y="6"/>
                            </a:lnTo>
                            <a:lnTo>
                              <a:pt x="932" y="8"/>
                            </a:lnTo>
                            <a:lnTo>
                              <a:pt x="932" y="10"/>
                            </a:lnTo>
                            <a:lnTo>
                              <a:pt x="932" y="10"/>
                            </a:lnTo>
                            <a:lnTo>
                              <a:pt x="930" y="10"/>
                            </a:lnTo>
                            <a:lnTo>
                              <a:pt x="928" y="10"/>
                            </a:lnTo>
                            <a:lnTo>
                              <a:pt x="928" y="12"/>
                            </a:lnTo>
                            <a:lnTo>
                              <a:pt x="932" y="14"/>
                            </a:lnTo>
                            <a:lnTo>
                              <a:pt x="932" y="14"/>
                            </a:lnTo>
                            <a:lnTo>
                              <a:pt x="922" y="12"/>
                            </a:lnTo>
                            <a:lnTo>
                              <a:pt x="916" y="10"/>
                            </a:lnTo>
                            <a:lnTo>
                              <a:pt x="908" y="10"/>
                            </a:lnTo>
                            <a:lnTo>
                              <a:pt x="908" y="10"/>
                            </a:lnTo>
                            <a:lnTo>
                              <a:pt x="904" y="10"/>
                            </a:lnTo>
                            <a:lnTo>
                              <a:pt x="904" y="10"/>
                            </a:lnTo>
                            <a:lnTo>
                              <a:pt x="904" y="12"/>
                            </a:lnTo>
                            <a:lnTo>
                              <a:pt x="898" y="14"/>
                            </a:lnTo>
                            <a:lnTo>
                              <a:pt x="898" y="14"/>
                            </a:lnTo>
                            <a:lnTo>
                              <a:pt x="892" y="14"/>
                            </a:lnTo>
                            <a:lnTo>
                              <a:pt x="890" y="14"/>
                            </a:lnTo>
                            <a:lnTo>
                              <a:pt x="890" y="12"/>
                            </a:lnTo>
                            <a:lnTo>
                              <a:pt x="888" y="12"/>
                            </a:lnTo>
                            <a:lnTo>
                              <a:pt x="888" y="12"/>
                            </a:lnTo>
                            <a:lnTo>
                              <a:pt x="888" y="12"/>
                            </a:lnTo>
                            <a:lnTo>
                              <a:pt x="888" y="10"/>
                            </a:lnTo>
                            <a:lnTo>
                              <a:pt x="888" y="10"/>
                            </a:lnTo>
                            <a:lnTo>
                              <a:pt x="882" y="8"/>
                            </a:lnTo>
                            <a:lnTo>
                              <a:pt x="882" y="8"/>
                            </a:lnTo>
                            <a:lnTo>
                              <a:pt x="872" y="8"/>
                            </a:lnTo>
                            <a:lnTo>
                              <a:pt x="870" y="8"/>
                            </a:lnTo>
                            <a:lnTo>
                              <a:pt x="872" y="10"/>
                            </a:lnTo>
                            <a:lnTo>
                              <a:pt x="872" y="10"/>
                            </a:lnTo>
                            <a:lnTo>
                              <a:pt x="874" y="10"/>
                            </a:lnTo>
                            <a:lnTo>
                              <a:pt x="872" y="10"/>
                            </a:lnTo>
                            <a:lnTo>
                              <a:pt x="862" y="10"/>
                            </a:lnTo>
                            <a:lnTo>
                              <a:pt x="862" y="10"/>
                            </a:lnTo>
                            <a:lnTo>
                              <a:pt x="846" y="12"/>
                            </a:lnTo>
                            <a:lnTo>
                              <a:pt x="840" y="14"/>
                            </a:lnTo>
                            <a:lnTo>
                              <a:pt x="838" y="14"/>
                            </a:lnTo>
                            <a:lnTo>
                              <a:pt x="836" y="14"/>
                            </a:lnTo>
                            <a:lnTo>
                              <a:pt x="836" y="14"/>
                            </a:lnTo>
                            <a:lnTo>
                              <a:pt x="832" y="14"/>
                            </a:lnTo>
                            <a:lnTo>
                              <a:pt x="828" y="14"/>
                            </a:lnTo>
                            <a:lnTo>
                              <a:pt x="824" y="14"/>
                            </a:lnTo>
                            <a:lnTo>
                              <a:pt x="818" y="14"/>
                            </a:lnTo>
                            <a:lnTo>
                              <a:pt x="818" y="14"/>
                            </a:lnTo>
                            <a:lnTo>
                              <a:pt x="812" y="14"/>
                            </a:lnTo>
                            <a:lnTo>
                              <a:pt x="810" y="14"/>
                            </a:lnTo>
                            <a:lnTo>
                              <a:pt x="808" y="16"/>
                            </a:lnTo>
                            <a:lnTo>
                              <a:pt x="806" y="16"/>
                            </a:lnTo>
                            <a:lnTo>
                              <a:pt x="806" y="16"/>
                            </a:lnTo>
                            <a:lnTo>
                              <a:pt x="802" y="16"/>
                            </a:lnTo>
                            <a:lnTo>
                              <a:pt x="800" y="18"/>
                            </a:lnTo>
                            <a:lnTo>
                              <a:pt x="796" y="18"/>
                            </a:lnTo>
                            <a:lnTo>
                              <a:pt x="786" y="18"/>
                            </a:lnTo>
                            <a:lnTo>
                              <a:pt x="786" y="18"/>
                            </a:lnTo>
                            <a:lnTo>
                              <a:pt x="780" y="18"/>
                            </a:lnTo>
                            <a:lnTo>
                              <a:pt x="776" y="20"/>
                            </a:lnTo>
                            <a:lnTo>
                              <a:pt x="776" y="20"/>
                            </a:lnTo>
                            <a:lnTo>
                              <a:pt x="774" y="20"/>
                            </a:lnTo>
                            <a:lnTo>
                              <a:pt x="774" y="22"/>
                            </a:lnTo>
                            <a:lnTo>
                              <a:pt x="776" y="22"/>
                            </a:lnTo>
                            <a:lnTo>
                              <a:pt x="776" y="24"/>
                            </a:lnTo>
                            <a:lnTo>
                              <a:pt x="776" y="24"/>
                            </a:lnTo>
                            <a:lnTo>
                              <a:pt x="780" y="26"/>
                            </a:lnTo>
                            <a:lnTo>
                              <a:pt x="786" y="28"/>
                            </a:lnTo>
                            <a:lnTo>
                              <a:pt x="790" y="28"/>
                            </a:lnTo>
                            <a:lnTo>
                              <a:pt x="790" y="28"/>
                            </a:lnTo>
                            <a:lnTo>
                              <a:pt x="786" y="30"/>
                            </a:lnTo>
                            <a:lnTo>
                              <a:pt x="786" y="32"/>
                            </a:lnTo>
                            <a:lnTo>
                              <a:pt x="784" y="34"/>
                            </a:lnTo>
                            <a:lnTo>
                              <a:pt x="784" y="32"/>
                            </a:lnTo>
                            <a:lnTo>
                              <a:pt x="784" y="32"/>
                            </a:lnTo>
                            <a:lnTo>
                              <a:pt x="784" y="28"/>
                            </a:lnTo>
                            <a:lnTo>
                              <a:pt x="784" y="28"/>
                            </a:lnTo>
                            <a:lnTo>
                              <a:pt x="778" y="30"/>
                            </a:lnTo>
                            <a:lnTo>
                              <a:pt x="768" y="30"/>
                            </a:lnTo>
                            <a:lnTo>
                              <a:pt x="768" y="30"/>
                            </a:lnTo>
                            <a:lnTo>
                              <a:pt x="746" y="32"/>
                            </a:lnTo>
                            <a:lnTo>
                              <a:pt x="728" y="34"/>
                            </a:lnTo>
                            <a:lnTo>
                              <a:pt x="728" y="34"/>
                            </a:lnTo>
                            <a:lnTo>
                              <a:pt x="724" y="34"/>
                            </a:lnTo>
                            <a:lnTo>
                              <a:pt x="718" y="36"/>
                            </a:lnTo>
                            <a:lnTo>
                              <a:pt x="718" y="38"/>
                            </a:lnTo>
                            <a:lnTo>
                              <a:pt x="718" y="40"/>
                            </a:lnTo>
                            <a:lnTo>
                              <a:pt x="732" y="46"/>
                            </a:lnTo>
                            <a:lnTo>
                              <a:pt x="732" y="46"/>
                            </a:lnTo>
                            <a:lnTo>
                              <a:pt x="746" y="52"/>
                            </a:lnTo>
                            <a:lnTo>
                              <a:pt x="752" y="52"/>
                            </a:lnTo>
                            <a:lnTo>
                              <a:pt x="758" y="50"/>
                            </a:lnTo>
                            <a:lnTo>
                              <a:pt x="764" y="54"/>
                            </a:lnTo>
                            <a:lnTo>
                              <a:pt x="764" y="54"/>
                            </a:lnTo>
                            <a:lnTo>
                              <a:pt x="772" y="56"/>
                            </a:lnTo>
                            <a:lnTo>
                              <a:pt x="780" y="58"/>
                            </a:lnTo>
                            <a:lnTo>
                              <a:pt x="784" y="58"/>
                            </a:lnTo>
                            <a:lnTo>
                              <a:pt x="786" y="60"/>
                            </a:lnTo>
                            <a:lnTo>
                              <a:pt x="786" y="62"/>
                            </a:lnTo>
                            <a:lnTo>
                              <a:pt x="786" y="62"/>
                            </a:lnTo>
                            <a:lnTo>
                              <a:pt x="790" y="66"/>
                            </a:lnTo>
                            <a:lnTo>
                              <a:pt x="796" y="70"/>
                            </a:lnTo>
                            <a:lnTo>
                              <a:pt x="814" y="74"/>
                            </a:lnTo>
                            <a:lnTo>
                              <a:pt x="814" y="74"/>
                            </a:lnTo>
                            <a:lnTo>
                              <a:pt x="820" y="78"/>
                            </a:lnTo>
                            <a:lnTo>
                              <a:pt x="822" y="80"/>
                            </a:lnTo>
                            <a:lnTo>
                              <a:pt x="820" y="80"/>
                            </a:lnTo>
                            <a:lnTo>
                              <a:pt x="814" y="80"/>
                            </a:lnTo>
                            <a:lnTo>
                              <a:pt x="806" y="78"/>
                            </a:lnTo>
                            <a:lnTo>
                              <a:pt x="806" y="78"/>
                            </a:lnTo>
                            <a:lnTo>
                              <a:pt x="800" y="74"/>
                            </a:lnTo>
                            <a:lnTo>
                              <a:pt x="796" y="76"/>
                            </a:lnTo>
                            <a:lnTo>
                              <a:pt x="796" y="78"/>
                            </a:lnTo>
                            <a:lnTo>
                              <a:pt x="796" y="78"/>
                            </a:lnTo>
                            <a:lnTo>
                              <a:pt x="796" y="76"/>
                            </a:lnTo>
                            <a:lnTo>
                              <a:pt x="792" y="74"/>
                            </a:lnTo>
                            <a:lnTo>
                              <a:pt x="786" y="72"/>
                            </a:lnTo>
                            <a:lnTo>
                              <a:pt x="786" y="72"/>
                            </a:lnTo>
                            <a:lnTo>
                              <a:pt x="782" y="70"/>
                            </a:lnTo>
                            <a:lnTo>
                              <a:pt x="780" y="68"/>
                            </a:lnTo>
                            <a:lnTo>
                              <a:pt x="782" y="64"/>
                            </a:lnTo>
                            <a:lnTo>
                              <a:pt x="782" y="62"/>
                            </a:lnTo>
                            <a:lnTo>
                              <a:pt x="782" y="62"/>
                            </a:lnTo>
                            <a:lnTo>
                              <a:pt x="770" y="60"/>
                            </a:lnTo>
                            <a:lnTo>
                              <a:pt x="770" y="60"/>
                            </a:lnTo>
                            <a:lnTo>
                              <a:pt x="758" y="60"/>
                            </a:lnTo>
                            <a:lnTo>
                              <a:pt x="748" y="58"/>
                            </a:lnTo>
                            <a:lnTo>
                              <a:pt x="740" y="56"/>
                            </a:lnTo>
                            <a:lnTo>
                              <a:pt x="734" y="54"/>
                            </a:lnTo>
                            <a:lnTo>
                              <a:pt x="734" y="54"/>
                            </a:lnTo>
                            <a:lnTo>
                              <a:pt x="722" y="52"/>
                            </a:lnTo>
                            <a:lnTo>
                              <a:pt x="708" y="48"/>
                            </a:lnTo>
                            <a:lnTo>
                              <a:pt x="708" y="48"/>
                            </a:lnTo>
                            <a:lnTo>
                              <a:pt x="694" y="46"/>
                            </a:lnTo>
                            <a:lnTo>
                              <a:pt x="690" y="46"/>
                            </a:lnTo>
                            <a:lnTo>
                              <a:pt x="688" y="46"/>
                            </a:lnTo>
                            <a:lnTo>
                              <a:pt x="690" y="48"/>
                            </a:lnTo>
                            <a:lnTo>
                              <a:pt x="690" y="48"/>
                            </a:lnTo>
                            <a:lnTo>
                              <a:pt x="690" y="50"/>
                            </a:lnTo>
                            <a:lnTo>
                              <a:pt x="688" y="50"/>
                            </a:lnTo>
                            <a:lnTo>
                              <a:pt x="680" y="48"/>
                            </a:lnTo>
                            <a:lnTo>
                              <a:pt x="680" y="48"/>
                            </a:lnTo>
                            <a:lnTo>
                              <a:pt x="676" y="48"/>
                            </a:lnTo>
                            <a:lnTo>
                              <a:pt x="672" y="50"/>
                            </a:lnTo>
                            <a:lnTo>
                              <a:pt x="670" y="52"/>
                            </a:lnTo>
                            <a:lnTo>
                              <a:pt x="674" y="54"/>
                            </a:lnTo>
                            <a:lnTo>
                              <a:pt x="674" y="54"/>
                            </a:lnTo>
                            <a:lnTo>
                              <a:pt x="680" y="56"/>
                            </a:lnTo>
                            <a:lnTo>
                              <a:pt x="682" y="58"/>
                            </a:lnTo>
                            <a:lnTo>
                              <a:pt x="684" y="60"/>
                            </a:lnTo>
                            <a:lnTo>
                              <a:pt x="690" y="60"/>
                            </a:lnTo>
                            <a:lnTo>
                              <a:pt x="690" y="60"/>
                            </a:lnTo>
                            <a:lnTo>
                              <a:pt x="694" y="60"/>
                            </a:lnTo>
                            <a:lnTo>
                              <a:pt x="700" y="62"/>
                            </a:lnTo>
                            <a:lnTo>
                              <a:pt x="712" y="66"/>
                            </a:lnTo>
                            <a:lnTo>
                              <a:pt x="712" y="66"/>
                            </a:lnTo>
                            <a:lnTo>
                              <a:pt x="710" y="66"/>
                            </a:lnTo>
                            <a:lnTo>
                              <a:pt x="706" y="66"/>
                            </a:lnTo>
                            <a:lnTo>
                              <a:pt x="698" y="64"/>
                            </a:lnTo>
                            <a:lnTo>
                              <a:pt x="698" y="64"/>
                            </a:lnTo>
                            <a:lnTo>
                              <a:pt x="692" y="62"/>
                            </a:lnTo>
                            <a:lnTo>
                              <a:pt x="688" y="62"/>
                            </a:lnTo>
                            <a:lnTo>
                              <a:pt x="686" y="62"/>
                            </a:lnTo>
                            <a:lnTo>
                              <a:pt x="682" y="62"/>
                            </a:lnTo>
                            <a:lnTo>
                              <a:pt x="682" y="62"/>
                            </a:lnTo>
                            <a:lnTo>
                              <a:pt x="680" y="60"/>
                            </a:lnTo>
                            <a:lnTo>
                              <a:pt x="678" y="62"/>
                            </a:lnTo>
                            <a:lnTo>
                              <a:pt x="676" y="62"/>
                            </a:lnTo>
                            <a:lnTo>
                              <a:pt x="674" y="62"/>
                            </a:lnTo>
                            <a:lnTo>
                              <a:pt x="674" y="62"/>
                            </a:lnTo>
                            <a:lnTo>
                              <a:pt x="672" y="60"/>
                            </a:lnTo>
                            <a:lnTo>
                              <a:pt x="670" y="60"/>
                            </a:lnTo>
                            <a:lnTo>
                              <a:pt x="666" y="58"/>
                            </a:lnTo>
                            <a:lnTo>
                              <a:pt x="658" y="50"/>
                            </a:lnTo>
                            <a:lnTo>
                              <a:pt x="658" y="50"/>
                            </a:lnTo>
                            <a:lnTo>
                              <a:pt x="646" y="40"/>
                            </a:lnTo>
                            <a:lnTo>
                              <a:pt x="638" y="36"/>
                            </a:lnTo>
                            <a:lnTo>
                              <a:pt x="630" y="32"/>
                            </a:lnTo>
                            <a:lnTo>
                              <a:pt x="626" y="32"/>
                            </a:lnTo>
                            <a:lnTo>
                              <a:pt x="626" y="32"/>
                            </a:lnTo>
                            <a:lnTo>
                              <a:pt x="626" y="34"/>
                            </a:lnTo>
                            <a:lnTo>
                              <a:pt x="628" y="34"/>
                            </a:lnTo>
                            <a:lnTo>
                              <a:pt x="634" y="38"/>
                            </a:lnTo>
                            <a:lnTo>
                              <a:pt x="638" y="42"/>
                            </a:lnTo>
                            <a:lnTo>
                              <a:pt x="638" y="44"/>
                            </a:lnTo>
                            <a:lnTo>
                              <a:pt x="638" y="46"/>
                            </a:lnTo>
                            <a:lnTo>
                              <a:pt x="638" y="46"/>
                            </a:lnTo>
                            <a:lnTo>
                              <a:pt x="634" y="48"/>
                            </a:lnTo>
                            <a:lnTo>
                              <a:pt x="634" y="50"/>
                            </a:lnTo>
                            <a:lnTo>
                              <a:pt x="636" y="54"/>
                            </a:lnTo>
                            <a:lnTo>
                              <a:pt x="636" y="56"/>
                            </a:lnTo>
                            <a:lnTo>
                              <a:pt x="636" y="56"/>
                            </a:lnTo>
                            <a:lnTo>
                              <a:pt x="636" y="58"/>
                            </a:lnTo>
                            <a:lnTo>
                              <a:pt x="638" y="60"/>
                            </a:lnTo>
                            <a:lnTo>
                              <a:pt x="640" y="60"/>
                            </a:lnTo>
                            <a:lnTo>
                              <a:pt x="646" y="62"/>
                            </a:lnTo>
                            <a:lnTo>
                              <a:pt x="646" y="62"/>
                            </a:lnTo>
                            <a:lnTo>
                              <a:pt x="650" y="64"/>
                            </a:lnTo>
                            <a:lnTo>
                              <a:pt x="654" y="66"/>
                            </a:lnTo>
                            <a:lnTo>
                              <a:pt x="658" y="68"/>
                            </a:lnTo>
                            <a:lnTo>
                              <a:pt x="660" y="74"/>
                            </a:lnTo>
                            <a:lnTo>
                              <a:pt x="660" y="74"/>
                            </a:lnTo>
                            <a:lnTo>
                              <a:pt x="660" y="76"/>
                            </a:lnTo>
                            <a:lnTo>
                              <a:pt x="662" y="80"/>
                            </a:lnTo>
                            <a:lnTo>
                              <a:pt x="666" y="82"/>
                            </a:lnTo>
                            <a:lnTo>
                              <a:pt x="672" y="84"/>
                            </a:lnTo>
                            <a:lnTo>
                              <a:pt x="676" y="86"/>
                            </a:lnTo>
                            <a:lnTo>
                              <a:pt x="676" y="86"/>
                            </a:lnTo>
                            <a:lnTo>
                              <a:pt x="678" y="90"/>
                            </a:lnTo>
                            <a:lnTo>
                              <a:pt x="682" y="90"/>
                            </a:lnTo>
                            <a:lnTo>
                              <a:pt x="690" y="88"/>
                            </a:lnTo>
                            <a:lnTo>
                              <a:pt x="690" y="88"/>
                            </a:lnTo>
                            <a:lnTo>
                              <a:pt x="694" y="86"/>
                            </a:lnTo>
                            <a:lnTo>
                              <a:pt x="700" y="86"/>
                            </a:lnTo>
                            <a:lnTo>
                              <a:pt x="706" y="88"/>
                            </a:lnTo>
                            <a:lnTo>
                              <a:pt x="712" y="92"/>
                            </a:lnTo>
                            <a:lnTo>
                              <a:pt x="712" y="92"/>
                            </a:lnTo>
                            <a:lnTo>
                              <a:pt x="720" y="96"/>
                            </a:lnTo>
                            <a:lnTo>
                              <a:pt x="720" y="98"/>
                            </a:lnTo>
                            <a:lnTo>
                              <a:pt x="716" y="98"/>
                            </a:lnTo>
                            <a:lnTo>
                              <a:pt x="716" y="98"/>
                            </a:lnTo>
                            <a:lnTo>
                              <a:pt x="714" y="100"/>
                            </a:lnTo>
                            <a:lnTo>
                              <a:pt x="714" y="102"/>
                            </a:lnTo>
                            <a:lnTo>
                              <a:pt x="726" y="106"/>
                            </a:lnTo>
                            <a:lnTo>
                              <a:pt x="726" y="106"/>
                            </a:lnTo>
                            <a:lnTo>
                              <a:pt x="718" y="106"/>
                            </a:lnTo>
                            <a:lnTo>
                              <a:pt x="714" y="104"/>
                            </a:lnTo>
                            <a:lnTo>
                              <a:pt x="712" y="102"/>
                            </a:lnTo>
                            <a:lnTo>
                              <a:pt x="710" y="100"/>
                            </a:lnTo>
                            <a:lnTo>
                              <a:pt x="708" y="94"/>
                            </a:lnTo>
                            <a:lnTo>
                              <a:pt x="704" y="94"/>
                            </a:lnTo>
                            <a:lnTo>
                              <a:pt x="698" y="92"/>
                            </a:lnTo>
                            <a:lnTo>
                              <a:pt x="698" y="92"/>
                            </a:lnTo>
                            <a:lnTo>
                              <a:pt x="690" y="94"/>
                            </a:lnTo>
                            <a:lnTo>
                              <a:pt x="686" y="96"/>
                            </a:lnTo>
                            <a:lnTo>
                              <a:pt x="686" y="96"/>
                            </a:lnTo>
                            <a:lnTo>
                              <a:pt x="684" y="96"/>
                            </a:lnTo>
                            <a:lnTo>
                              <a:pt x="684" y="98"/>
                            </a:lnTo>
                            <a:lnTo>
                              <a:pt x="686" y="102"/>
                            </a:lnTo>
                            <a:lnTo>
                              <a:pt x="690" y="104"/>
                            </a:lnTo>
                            <a:lnTo>
                              <a:pt x="690" y="104"/>
                            </a:lnTo>
                            <a:lnTo>
                              <a:pt x="698" y="108"/>
                            </a:lnTo>
                            <a:lnTo>
                              <a:pt x="696" y="112"/>
                            </a:lnTo>
                            <a:lnTo>
                              <a:pt x="696" y="112"/>
                            </a:lnTo>
                            <a:lnTo>
                              <a:pt x="692" y="120"/>
                            </a:lnTo>
                            <a:lnTo>
                              <a:pt x="690" y="122"/>
                            </a:lnTo>
                            <a:lnTo>
                              <a:pt x="684" y="126"/>
                            </a:lnTo>
                            <a:lnTo>
                              <a:pt x="684" y="126"/>
                            </a:lnTo>
                            <a:lnTo>
                              <a:pt x="676" y="132"/>
                            </a:lnTo>
                            <a:lnTo>
                              <a:pt x="674" y="132"/>
                            </a:lnTo>
                            <a:lnTo>
                              <a:pt x="670" y="130"/>
                            </a:lnTo>
                            <a:lnTo>
                              <a:pt x="670" y="130"/>
                            </a:lnTo>
                            <a:lnTo>
                              <a:pt x="664" y="130"/>
                            </a:lnTo>
                            <a:lnTo>
                              <a:pt x="658" y="130"/>
                            </a:lnTo>
                            <a:lnTo>
                              <a:pt x="654" y="130"/>
                            </a:lnTo>
                            <a:lnTo>
                              <a:pt x="654" y="130"/>
                            </a:lnTo>
                            <a:lnTo>
                              <a:pt x="658" y="128"/>
                            </a:lnTo>
                            <a:lnTo>
                              <a:pt x="662" y="126"/>
                            </a:lnTo>
                            <a:lnTo>
                              <a:pt x="662" y="126"/>
                            </a:lnTo>
                            <a:lnTo>
                              <a:pt x="664" y="126"/>
                            </a:lnTo>
                            <a:lnTo>
                              <a:pt x="664" y="124"/>
                            </a:lnTo>
                            <a:lnTo>
                              <a:pt x="664" y="122"/>
                            </a:lnTo>
                            <a:lnTo>
                              <a:pt x="668" y="122"/>
                            </a:lnTo>
                            <a:lnTo>
                              <a:pt x="668" y="122"/>
                            </a:lnTo>
                            <a:lnTo>
                              <a:pt x="670" y="120"/>
                            </a:lnTo>
                            <a:lnTo>
                              <a:pt x="670" y="118"/>
                            </a:lnTo>
                            <a:lnTo>
                              <a:pt x="670" y="116"/>
                            </a:lnTo>
                            <a:lnTo>
                              <a:pt x="672" y="116"/>
                            </a:lnTo>
                            <a:lnTo>
                              <a:pt x="672" y="116"/>
                            </a:lnTo>
                            <a:lnTo>
                              <a:pt x="676" y="114"/>
                            </a:lnTo>
                            <a:lnTo>
                              <a:pt x="678" y="112"/>
                            </a:lnTo>
                            <a:lnTo>
                              <a:pt x="678" y="108"/>
                            </a:lnTo>
                            <a:lnTo>
                              <a:pt x="680" y="106"/>
                            </a:lnTo>
                            <a:lnTo>
                              <a:pt x="680" y="106"/>
                            </a:lnTo>
                            <a:lnTo>
                              <a:pt x="680" y="104"/>
                            </a:lnTo>
                            <a:lnTo>
                              <a:pt x="678" y="100"/>
                            </a:lnTo>
                            <a:lnTo>
                              <a:pt x="672" y="98"/>
                            </a:lnTo>
                            <a:lnTo>
                              <a:pt x="662" y="96"/>
                            </a:lnTo>
                            <a:lnTo>
                              <a:pt x="662" y="96"/>
                            </a:lnTo>
                            <a:lnTo>
                              <a:pt x="654" y="92"/>
                            </a:lnTo>
                            <a:lnTo>
                              <a:pt x="652" y="88"/>
                            </a:lnTo>
                            <a:lnTo>
                              <a:pt x="648" y="84"/>
                            </a:lnTo>
                            <a:lnTo>
                              <a:pt x="644" y="82"/>
                            </a:lnTo>
                            <a:lnTo>
                              <a:pt x="636" y="78"/>
                            </a:lnTo>
                            <a:lnTo>
                              <a:pt x="636" y="78"/>
                            </a:lnTo>
                            <a:lnTo>
                              <a:pt x="632" y="78"/>
                            </a:lnTo>
                            <a:lnTo>
                              <a:pt x="632" y="76"/>
                            </a:lnTo>
                            <a:lnTo>
                              <a:pt x="632" y="74"/>
                            </a:lnTo>
                            <a:lnTo>
                              <a:pt x="628" y="68"/>
                            </a:lnTo>
                            <a:lnTo>
                              <a:pt x="628" y="68"/>
                            </a:lnTo>
                            <a:lnTo>
                              <a:pt x="620" y="64"/>
                            </a:lnTo>
                            <a:lnTo>
                              <a:pt x="614" y="60"/>
                            </a:lnTo>
                            <a:lnTo>
                              <a:pt x="608" y="58"/>
                            </a:lnTo>
                            <a:lnTo>
                              <a:pt x="606" y="56"/>
                            </a:lnTo>
                            <a:lnTo>
                              <a:pt x="606" y="54"/>
                            </a:lnTo>
                            <a:lnTo>
                              <a:pt x="606" y="54"/>
                            </a:lnTo>
                            <a:lnTo>
                              <a:pt x="606" y="52"/>
                            </a:lnTo>
                            <a:lnTo>
                              <a:pt x="606" y="50"/>
                            </a:lnTo>
                            <a:lnTo>
                              <a:pt x="600" y="44"/>
                            </a:lnTo>
                            <a:lnTo>
                              <a:pt x="590" y="38"/>
                            </a:lnTo>
                            <a:lnTo>
                              <a:pt x="586" y="38"/>
                            </a:lnTo>
                            <a:lnTo>
                              <a:pt x="584" y="38"/>
                            </a:lnTo>
                            <a:lnTo>
                              <a:pt x="584" y="38"/>
                            </a:lnTo>
                            <a:lnTo>
                              <a:pt x="578" y="38"/>
                            </a:lnTo>
                            <a:lnTo>
                              <a:pt x="574" y="36"/>
                            </a:lnTo>
                            <a:lnTo>
                              <a:pt x="570" y="36"/>
                            </a:lnTo>
                            <a:lnTo>
                              <a:pt x="566" y="36"/>
                            </a:lnTo>
                            <a:lnTo>
                              <a:pt x="566" y="36"/>
                            </a:lnTo>
                            <a:lnTo>
                              <a:pt x="562" y="36"/>
                            </a:lnTo>
                            <a:lnTo>
                              <a:pt x="556" y="36"/>
                            </a:lnTo>
                            <a:lnTo>
                              <a:pt x="554" y="36"/>
                            </a:lnTo>
                            <a:lnTo>
                              <a:pt x="552" y="38"/>
                            </a:lnTo>
                            <a:lnTo>
                              <a:pt x="556" y="44"/>
                            </a:lnTo>
                            <a:lnTo>
                              <a:pt x="556" y="44"/>
                            </a:lnTo>
                            <a:lnTo>
                              <a:pt x="560" y="52"/>
                            </a:lnTo>
                            <a:lnTo>
                              <a:pt x="558" y="54"/>
                            </a:lnTo>
                            <a:lnTo>
                              <a:pt x="558" y="56"/>
                            </a:lnTo>
                            <a:lnTo>
                              <a:pt x="554" y="56"/>
                            </a:lnTo>
                            <a:lnTo>
                              <a:pt x="552" y="58"/>
                            </a:lnTo>
                            <a:lnTo>
                              <a:pt x="550" y="60"/>
                            </a:lnTo>
                            <a:lnTo>
                              <a:pt x="550" y="60"/>
                            </a:lnTo>
                            <a:lnTo>
                              <a:pt x="550" y="64"/>
                            </a:lnTo>
                            <a:lnTo>
                              <a:pt x="552" y="62"/>
                            </a:lnTo>
                            <a:lnTo>
                              <a:pt x="556" y="66"/>
                            </a:lnTo>
                            <a:lnTo>
                              <a:pt x="556" y="66"/>
                            </a:lnTo>
                            <a:lnTo>
                              <a:pt x="560" y="70"/>
                            </a:lnTo>
                            <a:lnTo>
                              <a:pt x="560" y="72"/>
                            </a:lnTo>
                            <a:lnTo>
                              <a:pt x="558" y="72"/>
                            </a:lnTo>
                            <a:lnTo>
                              <a:pt x="562" y="76"/>
                            </a:lnTo>
                            <a:lnTo>
                              <a:pt x="562" y="76"/>
                            </a:lnTo>
                            <a:lnTo>
                              <a:pt x="566" y="80"/>
                            </a:lnTo>
                            <a:lnTo>
                              <a:pt x="566" y="80"/>
                            </a:lnTo>
                            <a:lnTo>
                              <a:pt x="566" y="78"/>
                            </a:lnTo>
                            <a:lnTo>
                              <a:pt x="572" y="80"/>
                            </a:lnTo>
                            <a:lnTo>
                              <a:pt x="572" y="80"/>
                            </a:lnTo>
                            <a:lnTo>
                              <a:pt x="582" y="82"/>
                            </a:lnTo>
                            <a:lnTo>
                              <a:pt x="586" y="82"/>
                            </a:lnTo>
                            <a:lnTo>
                              <a:pt x="588" y="82"/>
                            </a:lnTo>
                            <a:lnTo>
                              <a:pt x="592" y="86"/>
                            </a:lnTo>
                            <a:lnTo>
                              <a:pt x="592" y="86"/>
                            </a:lnTo>
                            <a:lnTo>
                              <a:pt x="598" y="90"/>
                            </a:lnTo>
                            <a:lnTo>
                              <a:pt x="604" y="92"/>
                            </a:lnTo>
                            <a:lnTo>
                              <a:pt x="608" y="90"/>
                            </a:lnTo>
                            <a:lnTo>
                              <a:pt x="608" y="90"/>
                            </a:lnTo>
                            <a:lnTo>
                              <a:pt x="610" y="96"/>
                            </a:lnTo>
                            <a:lnTo>
                              <a:pt x="610" y="98"/>
                            </a:lnTo>
                            <a:lnTo>
                              <a:pt x="608" y="100"/>
                            </a:lnTo>
                            <a:lnTo>
                              <a:pt x="608" y="98"/>
                            </a:lnTo>
                            <a:lnTo>
                              <a:pt x="608" y="98"/>
                            </a:lnTo>
                            <a:lnTo>
                              <a:pt x="602" y="98"/>
                            </a:lnTo>
                            <a:lnTo>
                              <a:pt x="592" y="98"/>
                            </a:lnTo>
                            <a:lnTo>
                              <a:pt x="580" y="96"/>
                            </a:lnTo>
                            <a:lnTo>
                              <a:pt x="574" y="94"/>
                            </a:lnTo>
                            <a:lnTo>
                              <a:pt x="574" y="94"/>
                            </a:lnTo>
                            <a:lnTo>
                              <a:pt x="568" y="92"/>
                            </a:lnTo>
                            <a:lnTo>
                              <a:pt x="556" y="90"/>
                            </a:lnTo>
                            <a:lnTo>
                              <a:pt x="542" y="88"/>
                            </a:lnTo>
                            <a:lnTo>
                              <a:pt x="534" y="88"/>
                            </a:lnTo>
                            <a:lnTo>
                              <a:pt x="534" y="88"/>
                            </a:lnTo>
                            <a:lnTo>
                              <a:pt x="530" y="88"/>
                            </a:lnTo>
                            <a:lnTo>
                              <a:pt x="518" y="86"/>
                            </a:lnTo>
                            <a:lnTo>
                              <a:pt x="518" y="86"/>
                            </a:lnTo>
                            <a:lnTo>
                              <a:pt x="500" y="86"/>
                            </a:lnTo>
                            <a:lnTo>
                              <a:pt x="484" y="84"/>
                            </a:lnTo>
                            <a:lnTo>
                              <a:pt x="484" y="84"/>
                            </a:lnTo>
                            <a:lnTo>
                              <a:pt x="472" y="84"/>
                            </a:lnTo>
                            <a:lnTo>
                              <a:pt x="464" y="86"/>
                            </a:lnTo>
                            <a:lnTo>
                              <a:pt x="464" y="86"/>
                            </a:lnTo>
                            <a:lnTo>
                              <a:pt x="464" y="88"/>
                            </a:lnTo>
                            <a:lnTo>
                              <a:pt x="466" y="88"/>
                            </a:lnTo>
                            <a:lnTo>
                              <a:pt x="478" y="92"/>
                            </a:lnTo>
                            <a:lnTo>
                              <a:pt x="478" y="92"/>
                            </a:lnTo>
                            <a:lnTo>
                              <a:pt x="482" y="92"/>
                            </a:lnTo>
                            <a:lnTo>
                              <a:pt x="482" y="94"/>
                            </a:lnTo>
                            <a:lnTo>
                              <a:pt x="474" y="96"/>
                            </a:lnTo>
                            <a:lnTo>
                              <a:pt x="474" y="96"/>
                            </a:lnTo>
                            <a:lnTo>
                              <a:pt x="468" y="96"/>
                            </a:lnTo>
                            <a:lnTo>
                              <a:pt x="468" y="98"/>
                            </a:lnTo>
                            <a:lnTo>
                              <a:pt x="470" y="100"/>
                            </a:lnTo>
                            <a:lnTo>
                              <a:pt x="470" y="102"/>
                            </a:lnTo>
                            <a:lnTo>
                              <a:pt x="470" y="102"/>
                            </a:lnTo>
                            <a:lnTo>
                              <a:pt x="468" y="100"/>
                            </a:lnTo>
                            <a:lnTo>
                              <a:pt x="466" y="100"/>
                            </a:lnTo>
                            <a:lnTo>
                              <a:pt x="464" y="98"/>
                            </a:lnTo>
                            <a:lnTo>
                              <a:pt x="464" y="98"/>
                            </a:lnTo>
                            <a:lnTo>
                              <a:pt x="464" y="98"/>
                            </a:lnTo>
                            <a:lnTo>
                              <a:pt x="464" y="96"/>
                            </a:lnTo>
                            <a:lnTo>
                              <a:pt x="462" y="96"/>
                            </a:lnTo>
                            <a:lnTo>
                              <a:pt x="462" y="94"/>
                            </a:lnTo>
                            <a:lnTo>
                              <a:pt x="466" y="94"/>
                            </a:lnTo>
                            <a:lnTo>
                              <a:pt x="466" y="94"/>
                            </a:lnTo>
                            <a:lnTo>
                              <a:pt x="462" y="92"/>
                            </a:lnTo>
                            <a:lnTo>
                              <a:pt x="458" y="92"/>
                            </a:lnTo>
                            <a:lnTo>
                              <a:pt x="454" y="94"/>
                            </a:lnTo>
                            <a:lnTo>
                              <a:pt x="454" y="94"/>
                            </a:lnTo>
                            <a:lnTo>
                              <a:pt x="448" y="96"/>
                            </a:lnTo>
                            <a:lnTo>
                              <a:pt x="438" y="98"/>
                            </a:lnTo>
                            <a:lnTo>
                              <a:pt x="438" y="98"/>
                            </a:lnTo>
                            <a:lnTo>
                              <a:pt x="434" y="100"/>
                            </a:lnTo>
                            <a:lnTo>
                              <a:pt x="428" y="98"/>
                            </a:lnTo>
                            <a:lnTo>
                              <a:pt x="422" y="96"/>
                            </a:lnTo>
                            <a:lnTo>
                              <a:pt x="412" y="96"/>
                            </a:lnTo>
                            <a:lnTo>
                              <a:pt x="412" y="96"/>
                            </a:lnTo>
                            <a:lnTo>
                              <a:pt x="402" y="98"/>
                            </a:lnTo>
                            <a:lnTo>
                              <a:pt x="400" y="100"/>
                            </a:lnTo>
                            <a:lnTo>
                              <a:pt x="400" y="102"/>
                            </a:lnTo>
                            <a:lnTo>
                              <a:pt x="396" y="100"/>
                            </a:lnTo>
                            <a:lnTo>
                              <a:pt x="396" y="100"/>
                            </a:lnTo>
                            <a:lnTo>
                              <a:pt x="392" y="100"/>
                            </a:lnTo>
                            <a:lnTo>
                              <a:pt x="388" y="102"/>
                            </a:lnTo>
                            <a:lnTo>
                              <a:pt x="384" y="102"/>
                            </a:lnTo>
                            <a:lnTo>
                              <a:pt x="386" y="102"/>
                            </a:lnTo>
                            <a:lnTo>
                              <a:pt x="386" y="102"/>
                            </a:lnTo>
                            <a:lnTo>
                              <a:pt x="388" y="100"/>
                            </a:lnTo>
                            <a:lnTo>
                              <a:pt x="386" y="100"/>
                            </a:lnTo>
                            <a:lnTo>
                              <a:pt x="386" y="98"/>
                            </a:lnTo>
                            <a:lnTo>
                              <a:pt x="386" y="98"/>
                            </a:lnTo>
                            <a:lnTo>
                              <a:pt x="386" y="96"/>
                            </a:lnTo>
                            <a:lnTo>
                              <a:pt x="388" y="96"/>
                            </a:lnTo>
                            <a:lnTo>
                              <a:pt x="390" y="98"/>
                            </a:lnTo>
                            <a:lnTo>
                              <a:pt x="392" y="96"/>
                            </a:lnTo>
                            <a:lnTo>
                              <a:pt x="392" y="96"/>
                            </a:lnTo>
                            <a:lnTo>
                              <a:pt x="390" y="96"/>
                            </a:lnTo>
                            <a:lnTo>
                              <a:pt x="388" y="94"/>
                            </a:lnTo>
                            <a:lnTo>
                              <a:pt x="374" y="96"/>
                            </a:lnTo>
                            <a:lnTo>
                              <a:pt x="374" y="96"/>
                            </a:lnTo>
                            <a:lnTo>
                              <a:pt x="368" y="98"/>
                            </a:lnTo>
                            <a:lnTo>
                              <a:pt x="368" y="100"/>
                            </a:lnTo>
                            <a:lnTo>
                              <a:pt x="368" y="102"/>
                            </a:lnTo>
                            <a:lnTo>
                              <a:pt x="366" y="104"/>
                            </a:lnTo>
                            <a:lnTo>
                              <a:pt x="366" y="104"/>
                            </a:lnTo>
                            <a:lnTo>
                              <a:pt x="364" y="106"/>
                            </a:lnTo>
                            <a:lnTo>
                              <a:pt x="364" y="104"/>
                            </a:lnTo>
                            <a:lnTo>
                              <a:pt x="364" y="102"/>
                            </a:lnTo>
                            <a:lnTo>
                              <a:pt x="366" y="100"/>
                            </a:lnTo>
                            <a:lnTo>
                              <a:pt x="366" y="100"/>
                            </a:lnTo>
                            <a:lnTo>
                              <a:pt x="364" y="98"/>
                            </a:lnTo>
                            <a:lnTo>
                              <a:pt x="360" y="98"/>
                            </a:lnTo>
                            <a:lnTo>
                              <a:pt x="354" y="98"/>
                            </a:lnTo>
                            <a:lnTo>
                              <a:pt x="348" y="100"/>
                            </a:lnTo>
                            <a:lnTo>
                              <a:pt x="344" y="100"/>
                            </a:lnTo>
                            <a:lnTo>
                              <a:pt x="344" y="100"/>
                            </a:lnTo>
                            <a:lnTo>
                              <a:pt x="340" y="98"/>
                            </a:lnTo>
                            <a:lnTo>
                              <a:pt x="334" y="100"/>
                            </a:lnTo>
                            <a:lnTo>
                              <a:pt x="320" y="106"/>
                            </a:lnTo>
                            <a:lnTo>
                              <a:pt x="320" y="106"/>
                            </a:lnTo>
                            <a:lnTo>
                              <a:pt x="314" y="106"/>
                            </a:lnTo>
                            <a:lnTo>
                              <a:pt x="310" y="106"/>
                            </a:lnTo>
                            <a:lnTo>
                              <a:pt x="308" y="106"/>
                            </a:lnTo>
                            <a:lnTo>
                              <a:pt x="304" y="106"/>
                            </a:lnTo>
                            <a:lnTo>
                              <a:pt x="304" y="106"/>
                            </a:lnTo>
                            <a:lnTo>
                              <a:pt x="302" y="108"/>
                            </a:lnTo>
                            <a:lnTo>
                              <a:pt x="300" y="106"/>
                            </a:lnTo>
                            <a:lnTo>
                              <a:pt x="300" y="106"/>
                            </a:lnTo>
                            <a:lnTo>
                              <a:pt x="302" y="110"/>
                            </a:lnTo>
                            <a:lnTo>
                              <a:pt x="302" y="110"/>
                            </a:lnTo>
                            <a:lnTo>
                              <a:pt x="304" y="116"/>
                            </a:lnTo>
                            <a:lnTo>
                              <a:pt x="304" y="116"/>
                            </a:lnTo>
                            <a:lnTo>
                              <a:pt x="302" y="118"/>
                            </a:lnTo>
                            <a:lnTo>
                              <a:pt x="302" y="118"/>
                            </a:lnTo>
                            <a:lnTo>
                              <a:pt x="300" y="122"/>
                            </a:lnTo>
                            <a:lnTo>
                              <a:pt x="300" y="122"/>
                            </a:lnTo>
                            <a:lnTo>
                              <a:pt x="298" y="120"/>
                            </a:lnTo>
                            <a:lnTo>
                              <a:pt x="296" y="122"/>
                            </a:lnTo>
                            <a:lnTo>
                              <a:pt x="296" y="122"/>
                            </a:lnTo>
                            <a:lnTo>
                              <a:pt x="292" y="122"/>
                            </a:lnTo>
                            <a:lnTo>
                              <a:pt x="290" y="122"/>
                            </a:lnTo>
                            <a:lnTo>
                              <a:pt x="288" y="122"/>
                            </a:lnTo>
                            <a:lnTo>
                              <a:pt x="286" y="122"/>
                            </a:lnTo>
                            <a:lnTo>
                              <a:pt x="286" y="122"/>
                            </a:lnTo>
                            <a:lnTo>
                              <a:pt x="284" y="122"/>
                            </a:lnTo>
                            <a:lnTo>
                              <a:pt x="282" y="122"/>
                            </a:lnTo>
                            <a:lnTo>
                              <a:pt x="280" y="122"/>
                            </a:lnTo>
                            <a:lnTo>
                              <a:pt x="278" y="122"/>
                            </a:lnTo>
                            <a:lnTo>
                              <a:pt x="278" y="122"/>
                            </a:lnTo>
                            <a:lnTo>
                              <a:pt x="274" y="122"/>
                            </a:lnTo>
                            <a:lnTo>
                              <a:pt x="272" y="120"/>
                            </a:lnTo>
                            <a:lnTo>
                              <a:pt x="268" y="118"/>
                            </a:lnTo>
                            <a:lnTo>
                              <a:pt x="264" y="118"/>
                            </a:lnTo>
                            <a:lnTo>
                              <a:pt x="264" y="118"/>
                            </a:lnTo>
                            <a:lnTo>
                              <a:pt x="260" y="116"/>
                            </a:lnTo>
                            <a:lnTo>
                              <a:pt x="256" y="114"/>
                            </a:lnTo>
                            <a:lnTo>
                              <a:pt x="256" y="112"/>
                            </a:lnTo>
                            <a:lnTo>
                              <a:pt x="260" y="110"/>
                            </a:lnTo>
                            <a:lnTo>
                              <a:pt x="260" y="110"/>
                            </a:lnTo>
                            <a:lnTo>
                              <a:pt x="266" y="110"/>
                            </a:lnTo>
                            <a:lnTo>
                              <a:pt x="266" y="110"/>
                            </a:lnTo>
                            <a:lnTo>
                              <a:pt x="258" y="104"/>
                            </a:lnTo>
                            <a:lnTo>
                              <a:pt x="258" y="104"/>
                            </a:lnTo>
                            <a:lnTo>
                              <a:pt x="256" y="102"/>
                            </a:lnTo>
                            <a:lnTo>
                              <a:pt x="256" y="102"/>
                            </a:lnTo>
                            <a:lnTo>
                              <a:pt x="256" y="100"/>
                            </a:lnTo>
                            <a:lnTo>
                              <a:pt x="252" y="100"/>
                            </a:lnTo>
                            <a:lnTo>
                              <a:pt x="252" y="100"/>
                            </a:lnTo>
                            <a:lnTo>
                              <a:pt x="232" y="94"/>
                            </a:lnTo>
                            <a:lnTo>
                              <a:pt x="224" y="94"/>
                            </a:lnTo>
                            <a:lnTo>
                              <a:pt x="224" y="94"/>
                            </a:lnTo>
                            <a:lnTo>
                              <a:pt x="224" y="94"/>
                            </a:lnTo>
                            <a:lnTo>
                              <a:pt x="228" y="96"/>
                            </a:lnTo>
                            <a:lnTo>
                              <a:pt x="232" y="100"/>
                            </a:lnTo>
                            <a:lnTo>
                              <a:pt x="236" y="106"/>
                            </a:lnTo>
                            <a:lnTo>
                              <a:pt x="236" y="106"/>
                            </a:lnTo>
                            <a:lnTo>
                              <a:pt x="240" y="112"/>
                            </a:lnTo>
                            <a:lnTo>
                              <a:pt x="240" y="116"/>
                            </a:lnTo>
                            <a:lnTo>
                              <a:pt x="240" y="116"/>
                            </a:lnTo>
                            <a:lnTo>
                              <a:pt x="244" y="118"/>
                            </a:lnTo>
                            <a:lnTo>
                              <a:pt x="244" y="118"/>
                            </a:lnTo>
                            <a:lnTo>
                              <a:pt x="250" y="118"/>
                            </a:lnTo>
                            <a:lnTo>
                              <a:pt x="250" y="122"/>
                            </a:lnTo>
                            <a:lnTo>
                              <a:pt x="250" y="122"/>
                            </a:lnTo>
                            <a:lnTo>
                              <a:pt x="250" y="130"/>
                            </a:lnTo>
                            <a:lnTo>
                              <a:pt x="250" y="132"/>
                            </a:lnTo>
                            <a:lnTo>
                              <a:pt x="248" y="132"/>
                            </a:lnTo>
                            <a:lnTo>
                              <a:pt x="248" y="132"/>
                            </a:lnTo>
                            <a:lnTo>
                              <a:pt x="244" y="130"/>
                            </a:lnTo>
                            <a:lnTo>
                              <a:pt x="240" y="132"/>
                            </a:lnTo>
                            <a:lnTo>
                              <a:pt x="238" y="134"/>
                            </a:lnTo>
                            <a:lnTo>
                              <a:pt x="240" y="132"/>
                            </a:lnTo>
                            <a:lnTo>
                              <a:pt x="240" y="132"/>
                            </a:lnTo>
                            <a:lnTo>
                              <a:pt x="240" y="128"/>
                            </a:lnTo>
                            <a:lnTo>
                              <a:pt x="238" y="128"/>
                            </a:lnTo>
                            <a:lnTo>
                              <a:pt x="226" y="128"/>
                            </a:lnTo>
                            <a:lnTo>
                              <a:pt x="226" y="128"/>
                            </a:lnTo>
                            <a:lnTo>
                              <a:pt x="224" y="128"/>
                            </a:lnTo>
                            <a:lnTo>
                              <a:pt x="222" y="126"/>
                            </a:lnTo>
                            <a:lnTo>
                              <a:pt x="218" y="126"/>
                            </a:lnTo>
                            <a:lnTo>
                              <a:pt x="208" y="128"/>
                            </a:lnTo>
                            <a:lnTo>
                              <a:pt x="208" y="128"/>
                            </a:lnTo>
                            <a:lnTo>
                              <a:pt x="198" y="130"/>
                            </a:lnTo>
                            <a:lnTo>
                              <a:pt x="192" y="134"/>
                            </a:lnTo>
                            <a:lnTo>
                              <a:pt x="192" y="134"/>
                            </a:lnTo>
                            <a:lnTo>
                              <a:pt x="188" y="136"/>
                            </a:lnTo>
                            <a:lnTo>
                              <a:pt x="186" y="138"/>
                            </a:lnTo>
                            <a:lnTo>
                              <a:pt x="184" y="138"/>
                            </a:lnTo>
                            <a:lnTo>
                              <a:pt x="184" y="138"/>
                            </a:lnTo>
                            <a:lnTo>
                              <a:pt x="184" y="138"/>
                            </a:lnTo>
                            <a:lnTo>
                              <a:pt x="184" y="140"/>
                            </a:lnTo>
                            <a:lnTo>
                              <a:pt x="186" y="142"/>
                            </a:lnTo>
                            <a:lnTo>
                              <a:pt x="196" y="146"/>
                            </a:lnTo>
                            <a:lnTo>
                              <a:pt x="204" y="148"/>
                            </a:lnTo>
                            <a:lnTo>
                              <a:pt x="208" y="150"/>
                            </a:lnTo>
                            <a:lnTo>
                              <a:pt x="208" y="152"/>
                            </a:lnTo>
                            <a:lnTo>
                              <a:pt x="208" y="152"/>
                            </a:lnTo>
                            <a:lnTo>
                              <a:pt x="206" y="152"/>
                            </a:lnTo>
                            <a:lnTo>
                              <a:pt x="204" y="152"/>
                            </a:lnTo>
                            <a:lnTo>
                              <a:pt x="200" y="152"/>
                            </a:lnTo>
                            <a:lnTo>
                              <a:pt x="196" y="152"/>
                            </a:lnTo>
                            <a:lnTo>
                              <a:pt x="196" y="152"/>
                            </a:lnTo>
                            <a:lnTo>
                              <a:pt x="190" y="154"/>
                            </a:lnTo>
                            <a:lnTo>
                              <a:pt x="184" y="152"/>
                            </a:lnTo>
                            <a:lnTo>
                              <a:pt x="178" y="150"/>
                            </a:lnTo>
                            <a:lnTo>
                              <a:pt x="166" y="152"/>
                            </a:lnTo>
                            <a:lnTo>
                              <a:pt x="166" y="152"/>
                            </a:lnTo>
                            <a:lnTo>
                              <a:pt x="164" y="152"/>
                            </a:lnTo>
                            <a:lnTo>
                              <a:pt x="166" y="152"/>
                            </a:lnTo>
                            <a:lnTo>
                              <a:pt x="166" y="150"/>
                            </a:lnTo>
                            <a:lnTo>
                              <a:pt x="162" y="148"/>
                            </a:lnTo>
                            <a:lnTo>
                              <a:pt x="162" y="148"/>
                            </a:lnTo>
                            <a:lnTo>
                              <a:pt x="152" y="148"/>
                            </a:lnTo>
                            <a:lnTo>
                              <a:pt x="150" y="148"/>
                            </a:lnTo>
                            <a:lnTo>
                              <a:pt x="148" y="148"/>
                            </a:lnTo>
                            <a:lnTo>
                              <a:pt x="148" y="148"/>
                            </a:lnTo>
                            <a:lnTo>
                              <a:pt x="144" y="152"/>
                            </a:lnTo>
                            <a:lnTo>
                              <a:pt x="144" y="152"/>
                            </a:lnTo>
                            <a:lnTo>
                              <a:pt x="144" y="152"/>
                            </a:lnTo>
                            <a:lnTo>
                              <a:pt x="144" y="152"/>
                            </a:lnTo>
                            <a:lnTo>
                              <a:pt x="146" y="154"/>
                            </a:lnTo>
                            <a:lnTo>
                              <a:pt x="146" y="156"/>
                            </a:lnTo>
                            <a:lnTo>
                              <a:pt x="150" y="158"/>
                            </a:lnTo>
                            <a:lnTo>
                              <a:pt x="158" y="158"/>
                            </a:lnTo>
                            <a:lnTo>
                              <a:pt x="158" y="158"/>
                            </a:lnTo>
                            <a:lnTo>
                              <a:pt x="164" y="158"/>
                            </a:lnTo>
                            <a:lnTo>
                              <a:pt x="170" y="160"/>
                            </a:lnTo>
                            <a:lnTo>
                              <a:pt x="170" y="162"/>
                            </a:lnTo>
                            <a:lnTo>
                              <a:pt x="170" y="162"/>
                            </a:lnTo>
                            <a:lnTo>
                              <a:pt x="170" y="162"/>
                            </a:lnTo>
                            <a:lnTo>
                              <a:pt x="168" y="164"/>
                            </a:lnTo>
                            <a:lnTo>
                              <a:pt x="166" y="166"/>
                            </a:lnTo>
                            <a:lnTo>
                              <a:pt x="166" y="166"/>
                            </a:lnTo>
                            <a:lnTo>
                              <a:pt x="164" y="166"/>
                            </a:lnTo>
                            <a:lnTo>
                              <a:pt x="164" y="166"/>
                            </a:lnTo>
                            <a:lnTo>
                              <a:pt x="158" y="164"/>
                            </a:lnTo>
                            <a:lnTo>
                              <a:pt x="150" y="164"/>
                            </a:lnTo>
                            <a:lnTo>
                              <a:pt x="142" y="164"/>
                            </a:lnTo>
                            <a:lnTo>
                              <a:pt x="138" y="162"/>
                            </a:lnTo>
                            <a:lnTo>
                              <a:pt x="138" y="162"/>
                            </a:lnTo>
                            <a:lnTo>
                              <a:pt x="136" y="160"/>
                            </a:lnTo>
                            <a:lnTo>
                              <a:pt x="132" y="160"/>
                            </a:lnTo>
                            <a:lnTo>
                              <a:pt x="122" y="158"/>
                            </a:lnTo>
                            <a:lnTo>
                              <a:pt x="122" y="158"/>
                            </a:lnTo>
                            <a:lnTo>
                              <a:pt x="116" y="158"/>
                            </a:lnTo>
                            <a:lnTo>
                              <a:pt x="116" y="156"/>
                            </a:lnTo>
                            <a:lnTo>
                              <a:pt x="118" y="156"/>
                            </a:lnTo>
                            <a:lnTo>
                              <a:pt x="120" y="156"/>
                            </a:lnTo>
                            <a:lnTo>
                              <a:pt x="118" y="154"/>
                            </a:lnTo>
                            <a:lnTo>
                              <a:pt x="118" y="154"/>
                            </a:lnTo>
                            <a:lnTo>
                              <a:pt x="116" y="152"/>
                            </a:lnTo>
                            <a:lnTo>
                              <a:pt x="116" y="150"/>
                            </a:lnTo>
                            <a:lnTo>
                              <a:pt x="116" y="150"/>
                            </a:lnTo>
                            <a:lnTo>
                              <a:pt x="112" y="150"/>
                            </a:lnTo>
                            <a:lnTo>
                              <a:pt x="112" y="150"/>
                            </a:lnTo>
                            <a:lnTo>
                              <a:pt x="110" y="148"/>
                            </a:lnTo>
                            <a:lnTo>
                              <a:pt x="110" y="148"/>
                            </a:lnTo>
                            <a:lnTo>
                              <a:pt x="110" y="146"/>
                            </a:lnTo>
                            <a:lnTo>
                              <a:pt x="110" y="144"/>
                            </a:lnTo>
                            <a:lnTo>
                              <a:pt x="110" y="144"/>
                            </a:lnTo>
                            <a:lnTo>
                              <a:pt x="110" y="142"/>
                            </a:lnTo>
                            <a:lnTo>
                              <a:pt x="110" y="142"/>
                            </a:lnTo>
                            <a:lnTo>
                              <a:pt x="110" y="140"/>
                            </a:lnTo>
                            <a:lnTo>
                              <a:pt x="110" y="138"/>
                            </a:lnTo>
                            <a:lnTo>
                              <a:pt x="110" y="138"/>
                            </a:lnTo>
                            <a:lnTo>
                              <a:pt x="110" y="136"/>
                            </a:lnTo>
                            <a:lnTo>
                              <a:pt x="108" y="136"/>
                            </a:lnTo>
                            <a:lnTo>
                              <a:pt x="106" y="136"/>
                            </a:lnTo>
                            <a:lnTo>
                              <a:pt x="102" y="136"/>
                            </a:lnTo>
                            <a:lnTo>
                              <a:pt x="102" y="136"/>
                            </a:lnTo>
                            <a:lnTo>
                              <a:pt x="98" y="134"/>
                            </a:lnTo>
                            <a:lnTo>
                              <a:pt x="94" y="134"/>
                            </a:lnTo>
                            <a:lnTo>
                              <a:pt x="90" y="134"/>
                            </a:lnTo>
                            <a:lnTo>
                              <a:pt x="84" y="132"/>
                            </a:lnTo>
                            <a:lnTo>
                              <a:pt x="84" y="132"/>
                            </a:lnTo>
                            <a:lnTo>
                              <a:pt x="80" y="130"/>
                            </a:lnTo>
                            <a:lnTo>
                              <a:pt x="82" y="130"/>
                            </a:lnTo>
                            <a:lnTo>
                              <a:pt x="84" y="128"/>
                            </a:lnTo>
                            <a:lnTo>
                              <a:pt x="78" y="128"/>
                            </a:lnTo>
                            <a:lnTo>
                              <a:pt x="78" y="128"/>
                            </a:lnTo>
                            <a:lnTo>
                              <a:pt x="74" y="126"/>
                            </a:lnTo>
                            <a:lnTo>
                              <a:pt x="74" y="126"/>
                            </a:lnTo>
                            <a:lnTo>
                              <a:pt x="74" y="126"/>
                            </a:lnTo>
                            <a:lnTo>
                              <a:pt x="72" y="124"/>
                            </a:lnTo>
                            <a:lnTo>
                              <a:pt x="66" y="124"/>
                            </a:lnTo>
                            <a:lnTo>
                              <a:pt x="60" y="122"/>
                            </a:lnTo>
                            <a:lnTo>
                              <a:pt x="58" y="122"/>
                            </a:lnTo>
                            <a:lnTo>
                              <a:pt x="56" y="120"/>
                            </a:lnTo>
                            <a:lnTo>
                              <a:pt x="56" y="120"/>
                            </a:lnTo>
                            <a:lnTo>
                              <a:pt x="56" y="118"/>
                            </a:lnTo>
                            <a:lnTo>
                              <a:pt x="58" y="120"/>
                            </a:lnTo>
                            <a:lnTo>
                              <a:pt x="60" y="120"/>
                            </a:lnTo>
                            <a:lnTo>
                              <a:pt x="64" y="120"/>
                            </a:lnTo>
                            <a:lnTo>
                              <a:pt x="64" y="120"/>
                            </a:lnTo>
                            <a:lnTo>
                              <a:pt x="68" y="120"/>
                            </a:lnTo>
                            <a:lnTo>
                              <a:pt x="72" y="120"/>
                            </a:lnTo>
                            <a:lnTo>
                              <a:pt x="74" y="122"/>
                            </a:lnTo>
                            <a:lnTo>
                              <a:pt x="76" y="122"/>
                            </a:lnTo>
                            <a:lnTo>
                              <a:pt x="76" y="122"/>
                            </a:lnTo>
                            <a:lnTo>
                              <a:pt x="78" y="120"/>
                            </a:lnTo>
                            <a:lnTo>
                              <a:pt x="80" y="122"/>
                            </a:lnTo>
                            <a:lnTo>
                              <a:pt x="80" y="122"/>
                            </a:lnTo>
                            <a:lnTo>
                              <a:pt x="82" y="122"/>
                            </a:lnTo>
                            <a:lnTo>
                              <a:pt x="82" y="122"/>
                            </a:lnTo>
                            <a:lnTo>
                              <a:pt x="86" y="122"/>
                            </a:lnTo>
                            <a:lnTo>
                              <a:pt x="88" y="124"/>
                            </a:lnTo>
                            <a:lnTo>
                              <a:pt x="90" y="124"/>
                            </a:lnTo>
                            <a:lnTo>
                              <a:pt x="92" y="124"/>
                            </a:lnTo>
                            <a:lnTo>
                              <a:pt x="92" y="124"/>
                            </a:lnTo>
                            <a:lnTo>
                              <a:pt x="96" y="122"/>
                            </a:lnTo>
                            <a:lnTo>
                              <a:pt x="98" y="126"/>
                            </a:lnTo>
                            <a:lnTo>
                              <a:pt x="102" y="126"/>
                            </a:lnTo>
                            <a:lnTo>
                              <a:pt x="108" y="128"/>
                            </a:lnTo>
                            <a:lnTo>
                              <a:pt x="118" y="130"/>
                            </a:lnTo>
                            <a:lnTo>
                              <a:pt x="134" y="130"/>
                            </a:lnTo>
                            <a:lnTo>
                              <a:pt x="134" y="130"/>
                            </a:lnTo>
                            <a:lnTo>
                              <a:pt x="156" y="132"/>
                            </a:lnTo>
                            <a:lnTo>
                              <a:pt x="168" y="134"/>
                            </a:lnTo>
                            <a:lnTo>
                              <a:pt x="178" y="134"/>
                            </a:lnTo>
                            <a:lnTo>
                              <a:pt x="178" y="134"/>
                            </a:lnTo>
                            <a:lnTo>
                              <a:pt x="186" y="132"/>
                            </a:lnTo>
                            <a:lnTo>
                              <a:pt x="192" y="128"/>
                            </a:lnTo>
                            <a:lnTo>
                              <a:pt x="198" y="124"/>
                            </a:lnTo>
                            <a:lnTo>
                              <a:pt x="198" y="124"/>
                            </a:lnTo>
                            <a:lnTo>
                              <a:pt x="200" y="122"/>
                            </a:lnTo>
                            <a:lnTo>
                              <a:pt x="200" y="122"/>
                            </a:lnTo>
                            <a:lnTo>
                              <a:pt x="200" y="120"/>
                            </a:lnTo>
                            <a:lnTo>
                              <a:pt x="200" y="120"/>
                            </a:lnTo>
                            <a:lnTo>
                              <a:pt x="200" y="120"/>
                            </a:lnTo>
                            <a:lnTo>
                              <a:pt x="200" y="120"/>
                            </a:lnTo>
                            <a:lnTo>
                              <a:pt x="200" y="118"/>
                            </a:lnTo>
                            <a:lnTo>
                              <a:pt x="196" y="114"/>
                            </a:lnTo>
                            <a:lnTo>
                              <a:pt x="190" y="110"/>
                            </a:lnTo>
                            <a:lnTo>
                              <a:pt x="190" y="110"/>
                            </a:lnTo>
                            <a:lnTo>
                              <a:pt x="186" y="110"/>
                            </a:lnTo>
                            <a:lnTo>
                              <a:pt x="184" y="108"/>
                            </a:lnTo>
                            <a:lnTo>
                              <a:pt x="182" y="108"/>
                            </a:lnTo>
                            <a:lnTo>
                              <a:pt x="182" y="108"/>
                            </a:lnTo>
                            <a:lnTo>
                              <a:pt x="178" y="106"/>
                            </a:lnTo>
                            <a:lnTo>
                              <a:pt x="170" y="104"/>
                            </a:lnTo>
                            <a:lnTo>
                              <a:pt x="162" y="102"/>
                            </a:lnTo>
                            <a:lnTo>
                              <a:pt x="154" y="102"/>
                            </a:lnTo>
                            <a:lnTo>
                              <a:pt x="154" y="102"/>
                            </a:lnTo>
                            <a:lnTo>
                              <a:pt x="150" y="102"/>
                            </a:lnTo>
                            <a:lnTo>
                              <a:pt x="144" y="102"/>
                            </a:lnTo>
                            <a:lnTo>
                              <a:pt x="132" y="98"/>
                            </a:lnTo>
                            <a:lnTo>
                              <a:pt x="122" y="96"/>
                            </a:lnTo>
                            <a:lnTo>
                              <a:pt x="116" y="94"/>
                            </a:lnTo>
                            <a:lnTo>
                              <a:pt x="114" y="96"/>
                            </a:lnTo>
                            <a:lnTo>
                              <a:pt x="114" y="96"/>
                            </a:lnTo>
                            <a:lnTo>
                              <a:pt x="110" y="96"/>
                            </a:lnTo>
                            <a:lnTo>
                              <a:pt x="106" y="96"/>
                            </a:lnTo>
                            <a:lnTo>
                              <a:pt x="94" y="92"/>
                            </a:lnTo>
                            <a:lnTo>
                              <a:pt x="84" y="90"/>
                            </a:lnTo>
                            <a:lnTo>
                              <a:pt x="74" y="90"/>
                            </a:lnTo>
                            <a:lnTo>
                              <a:pt x="74" y="90"/>
                            </a:lnTo>
                            <a:lnTo>
                              <a:pt x="56" y="90"/>
                            </a:lnTo>
                            <a:lnTo>
                              <a:pt x="56" y="90"/>
                            </a:lnTo>
                            <a:lnTo>
                              <a:pt x="52" y="92"/>
                            </a:lnTo>
                            <a:lnTo>
                              <a:pt x="48" y="90"/>
                            </a:lnTo>
                            <a:lnTo>
                              <a:pt x="48" y="90"/>
                            </a:lnTo>
                            <a:lnTo>
                              <a:pt x="40" y="90"/>
                            </a:lnTo>
                            <a:lnTo>
                              <a:pt x="32" y="88"/>
                            </a:lnTo>
                            <a:lnTo>
                              <a:pt x="32" y="88"/>
                            </a:lnTo>
                            <a:lnTo>
                              <a:pt x="36" y="88"/>
                            </a:lnTo>
                            <a:lnTo>
                              <a:pt x="42" y="88"/>
                            </a:lnTo>
                            <a:lnTo>
                              <a:pt x="44" y="86"/>
                            </a:lnTo>
                            <a:lnTo>
                              <a:pt x="44" y="86"/>
                            </a:lnTo>
                            <a:lnTo>
                              <a:pt x="34" y="84"/>
                            </a:lnTo>
                            <a:lnTo>
                              <a:pt x="30" y="84"/>
                            </a:lnTo>
                            <a:lnTo>
                              <a:pt x="28" y="84"/>
                            </a:lnTo>
                            <a:lnTo>
                              <a:pt x="28" y="86"/>
                            </a:lnTo>
                            <a:lnTo>
                              <a:pt x="28" y="86"/>
                            </a:lnTo>
                            <a:lnTo>
                              <a:pt x="28" y="88"/>
                            </a:lnTo>
                            <a:lnTo>
                              <a:pt x="24" y="86"/>
                            </a:lnTo>
                            <a:lnTo>
                              <a:pt x="20" y="86"/>
                            </a:lnTo>
                            <a:lnTo>
                              <a:pt x="14" y="86"/>
                            </a:lnTo>
                            <a:lnTo>
                              <a:pt x="14" y="86"/>
                            </a:lnTo>
                            <a:lnTo>
                              <a:pt x="14" y="90"/>
                            </a:lnTo>
                            <a:lnTo>
                              <a:pt x="12" y="90"/>
                            </a:lnTo>
                            <a:lnTo>
                              <a:pt x="10" y="90"/>
                            </a:lnTo>
                            <a:lnTo>
                              <a:pt x="8" y="90"/>
                            </a:lnTo>
                            <a:lnTo>
                              <a:pt x="8" y="90"/>
                            </a:lnTo>
                            <a:lnTo>
                              <a:pt x="4" y="96"/>
                            </a:lnTo>
                            <a:lnTo>
                              <a:pt x="2" y="100"/>
                            </a:lnTo>
                            <a:lnTo>
                              <a:pt x="0" y="104"/>
                            </a:lnTo>
                            <a:lnTo>
                              <a:pt x="0" y="104"/>
                            </a:lnTo>
                            <a:lnTo>
                              <a:pt x="4" y="108"/>
                            </a:lnTo>
                            <a:lnTo>
                              <a:pt x="6" y="108"/>
                            </a:lnTo>
                            <a:lnTo>
                              <a:pt x="8" y="108"/>
                            </a:lnTo>
                            <a:lnTo>
                              <a:pt x="12" y="112"/>
                            </a:lnTo>
                            <a:lnTo>
                              <a:pt x="12" y="112"/>
                            </a:lnTo>
                            <a:lnTo>
                              <a:pt x="16" y="116"/>
                            </a:lnTo>
                            <a:lnTo>
                              <a:pt x="16" y="118"/>
                            </a:lnTo>
                            <a:lnTo>
                              <a:pt x="16" y="122"/>
                            </a:lnTo>
                            <a:lnTo>
                              <a:pt x="16" y="124"/>
                            </a:lnTo>
                            <a:lnTo>
                              <a:pt x="16" y="126"/>
                            </a:lnTo>
                            <a:lnTo>
                              <a:pt x="24" y="132"/>
                            </a:lnTo>
                            <a:lnTo>
                              <a:pt x="24" y="132"/>
                            </a:lnTo>
                            <a:lnTo>
                              <a:pt x="32" y="138"/>
                            </a:lnTo>
                            <a:lnTo>
                              <a:pt x="34" y="142"/>
                            </a:lnTo>
                            <a:lnTo>
                              <a:pt x="34" y="144"/>
                            </a:lnTo>
                            <a:lnTo>
                              <a:pt x="32" y="144"/>
                            </a:lnTo>
                            <a:lnTo>
                              <a:pt x="32" y="144"/>
                            </a:lnTo>
                            <a:lnTo>
                              <a:pt x="30" y="146"/>
                            </a:lnTo>
                            <a:lnTo>
                              <a:pt x="32" y="148"/>
                            </a:lnTo>
                            <a:lnTo>
                              <a:pt x="34" y="152"/>
                            </a:lnTo>
                            <a:lnTo>
                              <a:pt x="38" y="154"/>
                            </a:lnTo>
                            <a:lnTo>
                              <a:pt x="38" y="154"/>
                            </a:lnTo>
                            <a:lnTo>
                              <a:pt x="40" y="156"/>
                            </a:lnTo>
                            <a:lnTo>
                              <a:pt x="36" y="158"/>
                            </a:lnTo>
                            <a:lnTo>
                              <a:pt x="36" y="160"/>
                            </a:lnTo>
                            <a:lnTo>
                              <a:pt x="38" y="162"/>
                            </a:lnTo>
                            <a:lnTo>
                              <a:pt x="38" y="162"/>
                            </a:lnTo>
                            <a:lnTo>
                              <a:pt x="46" y="166"/>
                            </a:lnTo>
                            <a:lnTo>
                              <a:pt x="48" y="168"/>
                            </a:lnTo>
                            <a:lnTo>
                              <a:pt x="48" y="170"/>
                            </a:lnTo>
                            <a:lnTo>
                              <a:pt x="46" y="172"/>
                            </a:lnTo>
                            <a:lnTo>
                              <a:pt x="44" y="172"/>
                            </a:lnTo>
                            <a:lnTo>
                              <a:pt x="44" y="174"/>
                            </a:lnTo>
                            <a:lnTo>
                              <a:pt x="54" y="178"/>
                            </a:lnTo>
                            <a:lnTo>
                              <a:pt x="54" y="178"/>
                            </a:lnTo>
                            <a:lnTo>
                              <a:pt x="62" y="182"/>
                            </a:lnTo>
                            <a:lnTo>
                              <a:pt x="62" y="186"/>
                            </a:lnTo>
                            <a:lnTo>
                              <a:pt x="60" y="190"/>
                            </a:lnTo>
                            <a:lnTo>
                              <a:pt x="56" y="194"/>
                            </a:lnTo>
                            <a:lnTo>
                              <a:pt x="56" y="194"/>
                            </a:lnTo>
                            <a:lnTo>
                              <a:pt x="54" y="196"/>
                            </a:lnTo>
                            <a:lnTo>
                              <a:pt x="54" y="198"/>
                            </a:lnTo>
                            <a:lnTo>
                              <a:pt x="54" y="200"/>
                            </a:lnTo>
                            <a:lnTo>
                              <a:pt x="52" y="200"/>
                            </a:lnTo>
                            <a:lnTo>
                              <a:pt x="52" y="200"/>
                            </a:lnTo>
                            <a:lnTo>
                              <a:pt x="48" y="200"/>
                            </a:lnTo>
                            <a:lnTo>
                              <a:pt x="46" y="204"/>
                            </a:lnTo>
                            <a:lnTo>
                              <a:pt x="42" y="208"/>
                            </a:lnTo>
                            <a:lnTo>
                              <a:pt x="34" y="212"/>
                            </a:lnTo>
                            <a:lnTo>
                              <a:pt x="34" y="212"/>
                            </a:lnTo>
                            <a:lnTo>
                              <a:pt x="26" y="218"/>
                            </a:lnTo>
                            <a:lnTo>
                              <a:pt x="22" y="220"/>
                            </a:lnTo>
                            <a:lnTo>
                              <a:pt x="22" y="224"/>
                            </a:lnTo>
                            <a:lnTo>
                              <a:pt x="22" y="224"/>
                            </a:lnTo>
                            <a:lnTo>
                              <a:pt x="28" y="222"/>
                            </a:lnTo>
                            <a:lnTo>
                              <a:pt x="30" y="222"/>
                            </a:lnTo>
                            <a:lnTo>
                              <a:pt x="28" y="224"/>
                            </a:lnTo>
                            <a:lnTo>
                              <a:pt x="28" y="224"/>
                            </a:lnTo>
                            <a:lnTo>
                              <a:pt x="26" y="224"/>
                            </a:lnTo>
                            <a:lnTo>
                              <a:pt x="30" y="226"/>
                            </a:lnTo>
                            <a:lnTo>
                              <a:pt x="38" y="226"/>
                            </a:lnTo>
                            <a:lnTo>
                              <a:pt x="38" y="226"/>
                            </a:lnTo>
                            <a:lnTo>
                              <a:pt x="42" y="226"/>
                            </a:lnTo>
                            <a:lnTo>
                              <a:pt x="44" y="228"/>
                            </a:lnTo>
                            <a:lnTo>
                              <a:pt x="48" y="230"/>
                            </a:lnTo>
                            <a:lnTo>
                              <a:pt x="52" y="230"/>
                            </a:lnTo>
                            <a:lnTo>
                              <a:pt x="52" y="230"/>
                            </a:lnTo>
                            <a:lnTo>
                              <a:pt x="56" y="230"/>
                            </a:lnTo>
                            <a:lnTo>
                              <a:pt x="58" y="230"/>
                            </a:lnTo>
                            <a:lnTo>
                              <a:pt x="64" y="230"/>
                            </a:lnTo>
                            <a:lnTo>
                              <a:pt x="64" y="230"/>
                            </a:lnTo>
                            <a:lnTo>
                              <a:pt x="64" y="232"/>
                            </a:lnTo>
                            <a:lnTo>
                              <a:pt x="64" y="234"/>
                            </a:lnTo>
                            <a:lnTo>
                              <a:pt x="62" y="236"/>
                            </a:lnTo>
                            <a:lnTo>
                              <a:pt x="58" y="236"/>
                            </a:lnTo>
                            <a:lnTo>
                              <a:pt x="58" y="236"/>
                            </a:lnTo>
                            <a:lnTo>
                              <a:pt x="48" y="234"/>
                            </a:lnTo>
                            <a:lnTo>
                              <a:pt x="46" y="234"/>
                            </a:lnTo>
                            <a:lnTo>
                              <a:pt x="44" y="236"/>
                            </a:lnTo>
                            <a:lnTo>
                              <a:pt x="44" y="236"/>
                            </a:lnTo>
                            <a:lnTo>
                              <a:pt x="42" y="240"/>
                            </a:lnTo>
                            <a:lnTo>
                              <a:pt x="38" y="238"/>
                            </a:lnTo>
                            <a:lnTo>
                              <a:pt x="36" y="238"/>
                            </a:lnTo>
                            <a:lnTo>
                              <a:pt x="34" y="240"/>
                            </a:lnTo>
                            <a:lnTo>
                              <a:pt x="34" y="240"/>
                            </a:lnTo>
                            <a:lnTo>
                              <a:pt x="34" y="242"/>
                            </a:lnTo>
                            <a:lnTo>
                              <a:pt x="32" y="242"/>
                            </a:lnTo>
                            <a:lnTo>
                              <a:pt x="30" y="240"/>
                            </a:lnTo>
                            <a:lnTo>
                              <a:pt x="28" y="240"/>
                            </a:lnTo>
                            <a:lnTo>
                              <a:pt x="28" y="240"/>
                            </a:lnTo>
                            <a:lnTo>
                              <a:pt x="28" y="240"/>
                            </a:lnTo>
                            <a:lnTo>
                              <a:pt x="28" y="242"/>
                            </a:lnTo>
                            <a:lnTo>
                              <a:pt x="30" y="242"/>
                            </a:lnTo>
                            <a:lnTo>
                              <a:pt x="28" y="244"/>
                            </a:lnTo>
                            <a:lnTo>
                              <a:pt x="28" y="244"/>
                            </a:lnTo>
                            <a:lnTo>
                              <a:pt x="32" y="246"/>
                            </a:lnTo>
                            <a:lnTo>
                              <a:pt x="32" y="248"/>
                            </a:lnTo>
                            <a:lnTo>
                              <a:pt x="30" y="252"/>
                            </a:lnTo>
                            <a:lnTo>
                              <a:pt x="30" y="266"/>
                            </a:lnTo>
                            <a:lnTo>
                              <a:pt x="30" y="266"/>
                            </a:lnTo>
                            <a:lnTo>
                              <a:pt x="28" y="270"/>
                            </a:lnTo>
                            <a:lnTo>
                              <a:pt x="30" y="270"/>
                            </a:lnTo>
                            <a:lnTo>
                              <a:pt x="32" y="270"/>
                            </a:lnTo>
                            <a:lnTo>
                              <a:pt x="32" y="274"/>
                            </a:lnTo>
                            <a:lnTo>
                              <a:pt x="32" y="274"/>
                            </a:lnTo>
                            <a:lnTo>
                              <a:pt x="30" y="278"/>
                            </a:lnTo>
                            <a:lnTo>
                              <a:pt x="32" y="278"/>
                            </a:lnTo>
                            <a:lnTo>
                              <a:pt x="34" y="280"/>
                            </a:lnTo>
                            <a:lnTo>
                              <a:pt x="36" y="286"/>
                            </a:lnTo>
                            <a:lnTo>
                              <a:pt x="36" y="286"/>
                            </a:lnTo>
                            <a:lnTo>
                              <a:pt x="40" y="288"/>
                            </a:lnTo>
                            <a:lnTo>
                              <a:pt x="48" y="288"/>
                            </a:lnTo>
                            <a:lnTo>
                              <a:pt x="56" y="288"/>
                            </a:lnTo>
                            <a:lnTo>
                              <a:pt x="58" y="290"/>
                            </a:lnTo>
                            <a:lnTo>
                              <a:pt x="58" y="290"/>
                            </a:lnTo>
                            <a:lnTo>
                              <a:pt x="58" y="290"/>
                            </a:lnTo>
                            <a:lnTo>
                              <a:pt x="60" y="292"/>
                            </a:lnTo>
                            <a:lnTo>
                              <a:pt x="60" y="292"/>
                            </a:lnTo>
                            <a:lnTo>
                              <a:pt x="64" y="290"/>
                            </a:lnTo>
                            <a:lnTo>
                              <a:pt x="72" y="284"/>
                            </a:lnTo>
                            <a:lnTo>
                              <a:pt x="72" y="284"/>
                            </a:lnTo>
                            <a:lnTo>
                              <a:pt x="74" y="284"/>
                            </a:lnTo>
                            <a:lnTo>
                              <a:pt x="78" y="286"/>
                            </a:lnTo>
                            <a:lnTo>
                              <a:pt x="82" y="288"/>
                            </a:lnTo>
                            <a:lnTo>
                              <a:pt x="82" y="288"/>
                            </a:lnTo>
                            <a:lnTo>
                              <a:pt x="86" y="290"/>
                            </a:lnTo>
                            <a:lnTo>
                              <a:pt x="86" y="292"/>
                            </a:lnTo>
                            <a:lnTo>
                              <a:pt x="84" y="294"/>
                            </a:lnTo>
                            <a:lnTo>
                              <a:pt x="84" y="296"/>
                            </a:lnTo>
                            <a:lnTo>
                              <a:pt x="88" y="300"/>
                            </a:lnTo>
                            <a:lnTo>
                              <a:pt x="88" y="300"/>
                            </a:lnTo>
                            <a:lnTo>
                              <a:pt x="92" y="302"/>
                            </a:lnTo>
                            <a:lnTo>
                              <a:pt x="92" y="306"/>
                            </a:lnTo>
                            <a:lnTo>
                              <a:pt x="92" y="306"/>
                            </a:lnTo>
                            <a:lnTo>
                              <a:pt x="92" y="306"/>
                            </a:lnTo>
                            <a:lnTo>
                              <a:pt x="94" y="308"/>
                            </a:lnTo>
                            <a:lnTo>
                              <a:pt x="108" y="314"/>
                            </a:lnTo>
                            <a:lnTo>
                              <a:pt x="108" y="314"/>
                            </a:lnTo>
                            <a:lnTo>
                              <a:pt x="112" y="314"/>
                            </a:lnTo>
                            <a:lnTo>
                              <a:pt x="116" y="314"/>
                            </a:lnTo>
                            <a:lnTo>
                              <a:pt x="116" y="314"/>
                            </a:lnTo>
                            <a:lnTo>
                              <a:pt x="120" y="316"/>
                            </a:lnTo>
                            <a:lnTo>
                              <a:pt x="120" y="318"/>
                            </a:lnTo>
                            <a:lnTo>
                              <a:pt x="118" y="318"/>
                            </a:lnTo>
                            <a:lnTo>
                              <a:pt x="122" y="320"/>
                            </a:lnTo>
                            <a:lnTo>
                              <a:pt x="122" y="320"/>
                            </a:lnTo>
                            <a:lnTo>
                              <a:pt x="126" y="320"/>
                            </a:lnTo>
                            <a:lnTo>
                              <a:pt x="130" y="320"/>
                            </a:lnTo>
                            <a:lnTo>
                              <a:pt x="130" y="320"/>
                            </a:lnTo>
                            <a:lnTo>
                              <a:pt x="134" y="324"/>
                            </a:lnTo>
                            <a:lnTo>
                              <a:pt x="136" y="324"/>
                            </a:lnTo>
                            <a:lnTo>
                              <a:pt x="140" y="326"/>
                            </a:lnTo>
                            <a:lnTo>
                              <a:pt x="140" y="326"/>
                            </a:lnTo>
                            <a:lnTo>
                              <a:pt x="142" y="328"/>
                            </a:lnTo>
                            <a:lnTo>
                              <a:pt x="144" y="330"/>
                            </a:lnTo>
                            <a:lnTo>
                              <a:pt x="142" y="334"/>
                            </a:lnTo>
                            <a:lnTo>
                              <a:pt x="136" y="336"/>
                            </a:lnTo>
                            <a:lnTo>
                              <a:pt x="136" y="336"/>
                            </a:lnTo>
                            <a:lnTo>
                              <a:pt x="128" y="338"/>
                            </a:lnTo>
                            <a:lnTo>
                              <a:pt x="124" y="338"/>
                            </a:lnTo>
                            <a:lnTo>
                              <a:pt x="120" y="336"/>
                            </a:lnTo>
                            <a:lnTo>
                              <a:pt x="120" y="336"/>
                            </a:lnTo>
                            <a:lnTo>
                              <a:pt x="116" y="334"/>
                            </a:lnTo>
                            <a:lnTo>
                              <a:pt x="114" y="334"/>
                            </a:lnTo>
                            <a:lnTo>
                              <a:pt x="112" y="336"/>
                            </a:lnTo>
                            <a:lnTo>
                              <a:pt x="112" y="338"/>
                            </a:lnTo>
                            <a:lnTo>
                              <a:pt x="112" y="342"/>
                            </a:lnTo>
                            <a:lnTo>
                              <a:pt x="122" y="354"/>
                            </a:lnTo>
                            <a:lnTo>
                              <a:pt x="122" y="354"/>
                            </a:lnTo>
                            <a:lnTo>
                              <a:pt x="124" y="354"/>
                            </a:lnTo>
                            <a:lnTo>
                              <a:pt x="126" y="352"/>
                            </a:lnTo>
                            <a:lnTo>
                              <a:pt x="130" y="352"/>
                            </a:lnTo>
                            <a:lnTo>
                              <a:pt x="142" y="352"/>
                            </a:lnTo>
                            <a:lnTo>
                              <a:pt x="142" y="352"/>
                            </a:lnTo>
                            <a:lnTo>
                              <a:pt x="156" y="352"/>
                            </a:lnTo>
                            <a:lnTo>
                              <a:pt x="160" y="354"/>
                            </a:lnTo>
                            <a:lnTo>
                              <a:pt x="160" y="356"/>
                            </a:lnTo>
                            <a:lnTo>
                              <a:pt x="164" y="358"/>
                            </a:lnTo>
                            <a:lnTo>
                              <a:pt x="164" y="358"/>
                            </a:lnTo>
                            <a:lnTo>
                              <a:pt x="168" y="358"/>
                            </a:lnTo>
                            <a:lnTo>
                              <a:pt x="168" y="362"/>
                            </a:lnTo>
                            <a:lnTo>
                              <a:pt x="166" y="368"/>
                            </a:lnTo>
                            <a:lnTo>
                              <a:pt x="164" y="372"/>
                            </a:lnTo>
                            <a:lnTo>
                              <a:pt x="166" y="372"/>
                            </a:lnTo>
                            <a:lnTo>
                              <a:pt x="170" y="372"/>
                            </a:lnTo>
                            <a:lnTo>
                              <a:pt x="170" y="372"/>
                            </a:lnTo>
                            <a:lnTo>
                              <a:pt x="182" y="372"/>
                            </a:lnTo>
                            <a:lnTo>
                              <a:pt x="182" y="374"/>
                            </a:lnTo>
                            <a:lnTo>
                              <a:pt x="188" y="378"/>
                            </a:lnTo>
                            <a:lnTo>
                              <a:pt x="188" y="378"/>
                            </a:lnTo>
                            <a:lnTo>
                              <a:pt x="192" y="380"/>
                            </a:lnTo>
                            <a:lnTo>
                              <a:pt x="194" y="384"/>
                            </a:lnTo>
                            <a:lnTo>
                              <a:pt x="194" y="386"/>
                            </a:lnTo>
                            <a:lnTo>
                              <a:pt x="194" y="388"/>
                            </a:lnTo>
                            <a:lnTo>
                              <a:pt x="192" y="392"/>
                            </a:lnTo>
                            <a:lnTo>
                              <a:pt x="192" y="392"/>
                            </a:lnTo>
                            <a:lnTo>
                              <a:pt x="196" y="394"/>
                            </a:lnTo>
                            <a:lnTo>
                              <a:pt x="196" y="394"/>
                            </a:lnTo>
                            <a:lnTo>
                              <a:pt x="206" y="398"/>
                            </a:lnTo>
                            <a:lnTo>
                              <a:pt x="208" y="402"/>
                            </a:lnTo>
                            <a:lnTo>
                              <a:pt x="212" y="402"/>
                            </a:lnTo>
                            <a:lnTo>
                              <a:pt x="220" y="398"/>
                            </a:lnTo>
                            <a:lnTo>
                              <a:pt x="220" y="398"/>
                            </a:lnTo>
                            <a:lnTo>
                              <a:pt x="226" y="396"/>
                            </a:lnTo>
                            <a:lnTo>
                              <a:pt x="228" y="396"/>
                            </a:lnTo>
                            <a:lnTo>
                              <a:pt x="234" y="398"/>
                            </a:lnTo>
                            <a:lnTo>
                              <a:pt x="242" y="404"/>
                            </a:lnTo>
                            <a:lnTo>
                              <a:pt x="246" y="406"/>
                            </a:lnTo>
                            <a:lnTo>
                              <a:pt x="252" y="406"/>
                            </a:lnTo>
                            <a:lnTo>
                              <a:pt x="252" y="406"/>
                            </a:lnTo>
                            <a:lnTo>
                              <a:pt x="260" y="406"/>
                            </a:lnTo>
                            <a:lnTo>
                              <a:pt x="264" y="408"/>
                            </a:lnTo>
                            <a:lnTo>
                              <a:pt x="268" y="410"/>
                            </a:lnTo>
                            <a:lnTo>
                              <a:pt x="278" y="410"/>
                            </a:lnTo>
                            <a:lnTo>
                              <a:pt x="278" y="410"/>
                            </a:lnTo>
                            <a:lnTo>
                              <a:pt x="284" y="412"/>
                            </a:lnTo>
                            <a:lnTo>
                              <a:pt x="284" y="412"/>
                            </a:lnTo>
                            <a:lnTo>
                              <a:pt x="280" y="418"/>
                            </a:lnTo>
                            <a:lnTo>
                              <a:pt x="276" y="422"/>
                            </a:lnTo>
                            <a:lnTo>
                              <a:pt x="274" y="422"/>
                            </a:lnTo>
                            <a:lnTo>
                              <a:pt x="278" y="424"/>
                            </a:lnTo>
                            <a:lnTo>
                              <a:pt x="278" y="424"/>
                            </a:lnTo>
                            <a:lnTo>
                              <a:pt x="280" y="424"/>
                            </a:lnTo>
                            <a:lnTo>
                              <a:pt x="280" y="426"/>
                            </a:lnTo>
                            <a:lnTo>
                              <a:pt x="278" y="430"/>
                            </a:lnTo>
                            <a:lnTo>
                              <a:pt x="278" y="432"/>
                            </a:lnTo>
                            <a:lnTo>
                              <a:pt x="280" y="432"/>
                            </a:lnTo>
                            <a:lnTo>
                              <a:pt x="280" y="432"/>
                            </a:lnTo>
                            <a:lnTo>
                              <a:pt x="284" y="436"/>
                            </a:lnTo>
                            <a:lnTo>
                              <a:pt x="286" y="438"/>
                            </a:lnTo>
                            <a:lnTo>
                              <a:pt x="286" y="440"/>
                            </a:lnTo>
                            <a:lnTo>
                              <a:pt x="284" y="444"/>
                            </a:lnTo>
                            <a:lnTo>
                              <a:pt x="280" y="448"/>
                            </a:lnTo>
                            <a:lnTo>
                              <a:pt x="274" y="452"/>
                            </a:lnTo>
                            <a:lnTo>
                              <a:pt x="274" y="452"/>
                            </a:lnTo>
                            <a:lnTo>
                              <a:pt x="270" y="454"/>
                            </a:lnTo>
                            <a:lnTo>
                              <a:pt x="264" y="458"/>
                            </a:lnTo>
                            <a:lnTo>
                              <a:pt x="262" y="462"/>
                            </a:lnTo>
                            <a:lnTo>
                              <a:pt x="262" y="470"/>
                            </a:lnTo>
                            <a:lnTo>
                              <a:pt x="262" y="470"/>
                            </a:lnTo>
                            <a:lnTo>
                              <a:pt x="282" y="466"/>
                            </a:lnTo>
                            <a:lnTo>
                              <a:pt x="284" y="466"/>
                            </a:lnTo>
                            <a:lnTo>
                              <a:pt x="284" y="468"/>
                            </a:lnTo>
                            <a:lnTo>
                              <a:pt x="280" y="472"/>
                            </a:lnTo>
                            <a:lnTo>
                              <a:pt x="280" y="472"/>
                            </a:lnTo>
                            <a:lnTo>
                              <a:pt x="274" y="476"/>
                            </a:lnTo>
                            <a:lnTo>
                              <a:pt x="268" y="478"/>
                            </a:lnTo>
                            <a:lnTo>
                              <a:pt x="262" y="478"/>
                            </a:lnTo>
                            <a:lnTo>
                              <a:pt x="260" y="478"/>
                            </a:lnTo>
                            <a:lnTo>
                              <a:pt x="268" y="484"/>
                            </a:lnTo>
                            <a:lnTo>
                              <a:pt x="268" y="484"/>
                            </a:lnTo>
                            <a:lnTo>
                              <a:pt x="274" y="492"/>
                            </a:lnTo>
                            <a:lnTo>
                              <a:pt x="274" y="492"/>
                            </a:lnTo>
                            <a:lnTo>
                              <a:pt x="272" y="492"/>
                            </a:lnTo>
                            <a:lnTo>
                              <a:pt x="266" y="492"/>
                            </a:lnTo>
                            <a:lnTo>
                              <a:pt x="264" y="494"/>
                            </a:lnTo>
                            <a:lnTo>
                              <a:pt x="262" y="498"/>
                            </a:lnTo>
                            <a:lnTo>
                              <a:pt x="262" y="498"/>
                            </a:lnTo>
                            <a:lnTo>
                              <a:pt x="258" y="502"/>
                            </a:lnTo>
                            <a:lnTo>
                              <a:pt x="256" y="506"/>
                            </a:lnTo>
                            <a:lnTo>
                              <a:pt x="252" y="506"/>
                            </a:lnTo>
                            <a:lnTo>
                              <a:pt x="248" y="506"/>
                            </a:lnTo>
                            <a:lnTo>
                              <a:pt x="250" y="510"/>
                            </a:lnTo>
                            <a:lnTo>
                              <a:pt x="250" y="510"/>
                            </a:lnTo>
                            <a:lnTo>
                              <a:pt x="252" y="512"/>
                            </a:lnTo>
                            <a:lnTo>
                              <a:pt x="256" y="514"/>
                            </a:lnTo>
                            <a:lnTo>
                              <a:pt x="268" y="518"/>
                            </a:lnTo>
                            <a:lnTo>
                              <a:pt x="282" y="524"/>
                            </a:lnTo>
                            <a:lnTo>
                              <a:pt x="290" y="528"/>
                            </a:lnTo>
                            <a:lnTo>
                              <a:pt x="298" y="534"/>
                            </a:lnTo>
                            <a:lnTo>
                              <a:pt x="298" y="534"/>
                            </a:lnTo>
                            <a:lnTo>
                              <a:pt x="300" y="534"/>
                            </a:lnTo>
                            <a:lnTo>
                              <a:pt x="304" y="532"/>
                            </a:lnTo>
                            <a:lnTo>
                              <a:pt x="312" y="532"/>
                            </a:lnTo>
                            <a:lnTo>
                              <a:pt x="322" y="536"/>
                            </a:lnTo>
                            <a:lnTo>
                              <a:pt x="322" y="536"/>
                            </a:lnTo>
                            <a:lnTo>
                              <a:pt x="338" y="540"/>
                            </a:lnTo>
                            <a:lnTo>
                              <a:pt x="352" y="542"/>
                            </a:lnTo>
                            <a:lnTo>
                              <a:pt x="364" y="544"/>
                            </a:lnTo>
                            <a:lnTo>
                              <a:pt x="370" y="546"/>
                            </a:lnTo>
                            <a:lnTo>
                              <a:pt x="376" y="550"/>
                            </a:lnTo>
                            <a:lnTo>
                              <a:pt x="376" y="550"/>
                            </a:lnTo>
                            <a:lnTo>
                              <a:pt x="386" y="556"/>
                            </a:lnTo>
                            <a:lnTo>
                              <a:pt x="392" y="556"/>
                            </a:lnTo>
                            <a:lnTo>
                              <a:pt x="400" y="554"/>
                            </a:lnTo>
                            <a:lnTo>
                              <a:pt x="406" y="554"/>
                            </a:lnTo>
                            <a:lnTo>
                              <a:pt x="414" y="556"/>
                            </a:lnTo>
                            <a:lnTo>
                              <a:pt x="414" y="556"/>
                            </a:lnTo>
                            <a:lnTo>
                              <a:pt x="422" y="560"/>
                            </a:lnTo>
                            <a:lnTo>
                              <a:pt x="426" y="564"/>
                            </a:lnTo>
                            <a:lnTo>
                              <a:pt x="432" y="570"/>
                            </a:lnTo>
                            <a:lnTo>
                              <a:pt x="448" y="578"/>
                            </a:lnTo>
                            <a:lnTo>
                              <a:pt x="448" y="578"/>
                            </a:lnTo>
                            <a:lnTo>
                              <a:pt x="462" y="584"/>
                            </a:lnTo>
                            <a:lnTo>
                              <a:pt x="470" y="584"/>
                            </a:lnTo>
                            <a:lnTo>
                              <a:pt x="478" y="580"/>
                            </a:lnTo>
                            <a:lnTo>
                              <a:pt x="484" y="576"/>
                            </a:lnTo>
                            <a:lnTo>
                              <a:pt x="484" y="576"/>
                            </a:lnTo>
                            <a:lnTo>
                              <a:pt x="472" y="566"/>
                            </a:lnTo>
                            <a:lnTo>
                              <a:pt x="464" y="556"/>
                            </a:lnTo>
                            <a:lnTo>
                              <a:pt x="460" y="546"/>
                            </a:lnTo>
                            <a:lnTo>
                              <a:pt x="456" y="536"/>
                            </a:lnTo>
                            <a:lnTo>
                              <a:pt x="456" y="536"/>
                            </a:lnTo>
                            <a:lnTo>
                              <a:pt x="454" y="532"/>
                            </a:lnTo>
                            <a:lnTo>
                              <a:pt x="450" y="528"/>
                            </a:lnTo>
                            <a:lnTo>
                              <a:pt x="440" y="522"/>
                            </a:lnTo>
                            <a:lnTo>
                              <a:pt x="434" y="518"/>
                            </a:lnTo>
                            <a:lnTo>
                              <a:pt x="436" y="518"/>
                            </a:lnTo>
                            <a:lnTo>
                              <a:pt x="440" y="516"/>
                            </a:lnTo>
                            <a:lnTo>
                              <a:pt x="440" y="516"/>
                            </a:lnTo>
                            <a:lnTo>
                              <a:pt x="444" y="514"/>
                            </a:lnTo>
                            <a:lnTo>
                              <a:pt x="444" y="512"/>
                            </a:lnTo>
                            <a:lnTo>
                              <a:pt x="440" y="510"/>
                            </a:lnTo>
                            <a:lnTo>
                              <a:pt x="440" y="508"/>
                            </a:lnTo>
                            <a:lnTo>
                              <a:pt x="440" y="508"/>
                            </a:lnTo>
                            <a:lnTo>
                              <a:pt x="440" y="508"/>
                            </a:lnTo>
                            <a:lnTo>
                              <a:pt x="444" y="506"/>
                            </a:lnTo>
                            <a:lnTo>
                              <a:pt x="444" y="504"/>
                            </a:lnTo>
                            <a:lnTo>
                              <a:pt x="444" y="496"/>
                            </a:lnTo>
                            <a:lnTo>
                              <a:pt x="442" y="490"/>
                            </a:lnTo>
                            <a:lnTo>
                              <a:pt x="444" y="490"/>
                            </a:lnTo>
                            <a:lnTo>
                              <a:pt x="448" y="492"/>
                            </a:lnTo>
                            <a:lnTo>
                              <a:pt x="448" y="492"/>
                            </a:lnTo>
                            <a:lnTo>
                              <a:pt x="452" y="494"/>
                            </a:lnTo>
                            <a:lnTo>
                              <a:pt x="458" y="492"/>
                            </a:lnTo>
                            <a:lnTo>
                              <a:pt x="460" y="488"/>
                            </a:lnTo>
                            <a:lnTo>
                              <a:pt x="462" y="484"/>
                            </a:lnTo>
                            <a:lnTo>
                              <a:pt x="462" y="484"/>
                            </a:lnTo>
                            <a:lnTo>
                              <a:pt x="462" y="480"/>
                            </a:lnTo>
                            <a:lnTo>
                              <a:pt x="466" y="482"/>
                            </a:lnTo>
                            <a:lnTo>
                              <a:pt x="470" y="482"/>
                            </a:lnTo>
                            <a:lnTo>
                              <a:pt x="474" y="480"/>
                            </a:lnTo>
                            <a:lnTo>
                              <a:pt x="474" y="480"/>
                            </a:lnTo>
                            <a:lnTo>
                              <a:pt x="474" y="478"/>
                            </a:lnTo>
                            <a:lnTo>
                              <a:pt x="470" y="476"/>
                            </a:lnTo>
                            <a:lnTo>
                              <a:pt x="470" y="476"/>
                            </a:lnTo>
                            <a:lnTo>
                              <a:pt x="468" y="474"/>
                            </a:lnTo>
                            <a:lnTo>
                              <a:pt x="468" y="472"/>
                            </a:lnTo>
                            <a:lnTo>
                              <a:pt x="472" y="470"/>
                            </a:lnTo>
                            <a:lnTo>
                              <a:pt x="472" y="468"/>
                            </a:lnTo>
                            <a:lnTo>
                              <a:pt x="472" y="466"/>
                            </a:lnTo>
                            <a:lnTo>
                              <a:pt x="470" y="462"/>
                            </a:lnTo>
                            <a:lnTo>
                              <a:pt x="462" y="458"/>
                            </a:lnTo>
                            <a:lnTo>
                              <a:pt x="462" y="458"/>
                            </a:lnTo>
                            <a:lnTo>
                              <a:pt x="454" y="452"/>
                            </a:lnTo>
                            <a:lnTo>
                              <a:pt x="448" y="452"/>
                            </a:lnTo>
                            <a:lnTo>
                              <a:pt x="446" y="452"/>
                            </a:lnTo>
                            <a:lnTo>
                              <a:pt x="442" y="448"/>
                            </a:lnTo>
                            <a:lnTo>
                              <a:pt x="442" y="448"/>
                            </a:lnTo>
                            <a:lnTo>
                              <a:pt x="440" y="448"/>
                            </a:lnTo>
                            <a:lnTo>
                              <a:pt x="438" y="448"/>
                            </a:lnTo>
                            <a:lnTo>
                              <a:pt x="434" y="450"/>
                            </a:lnTo>
                            <a:lnTo>
                              <a:pt x="432" y="450"/>
                            </a:lnTo>
                            <a:lnTo>
                              <a:pt x="430" y="450"/>
                            </a:lnTo>
                            <a:lnTo>
                              <a:pt x="428" y="448"/>
                            </a:lnTo>
                            <a:lnTo>
                              <a:pt x="426" y="444"/>
                            </a:lnTo>
                            <a:lnTo>
                              <a:pt x="426" y="444"/>
                            </a:lnTo>
                            <a:lnTo>
                              <a:pt x="426" y="440"/>
                            </a:lnTo>
                            <a:lnTo>
                              <a:pt x="424" y="440"/>
                            </a:lnTo>
                            <a:lnTo>
                              <a:pt x="418" y="438"/>
                            </a:lnTo>
                            <a:lnTo>
                              <a:pt x="418" y="436"/>
                            </a:lnTo>
                            <a:lnTo>
                              <a:pt x="416" y="434"/>
                            </a:lnTo>
                            <a:lnTo>
                              <a:pt x="420" y="426"/>
                            </a:lnTo>
                            <a:lnTo>
                              <a:pt x="420" y="426"/>
                            </a:lnTo>
                            <a:lnTo>
                              <a:pt x="424" y="416"/>
                            </a:lnTo>
                            <a:lnTo>
                              <a:pt x="424" y="414"/>
                            </a:lnTo>
                            <a:lnTo>
                              <a:pt x="422" y="410"/>
                            </a:lnTo>
                            <a:lnTo>
                              <a:pt x="422" y="406"/>
                            </a:lnTo>
                            <a:lnTo>
                              <a:pt x="422" y="406"/>
                            </a:lnTo>
                            <a:lnTo>
                              <a:pt x="424" y="400"/>
                            </a:lnTo>
                            <a:lnTo>
                              <a:pt x="426" y="394"/>
                            </a:lnTo>
                            <a:lnTo>
                              <a:pt x="428" y="392"/>
                            </a:lnTo>
                            <a:lnTo>
                              <a:pt x="430" y="396"/>
                            </a:lnTo>
                            <a:lnTo>
                              <a:pt x="430" y="396"/>
                            </a:lnTo>
                            <a:lnTo>
                              <a:pt x="436" y="406"/>
                            </a:lnTo>
                            <a:lnTo>
                              <a:pt x="440" y="410"/>
                            </a:lnTo>
                            <a:lnTo>
                              <a:pt x="446" y="408"/>
                            </a:lnTo>
                            <a:lnTo>
                              <a:pt x="446" y="408"/>
                            </a:lnTo>
                            <a:lnTo>
                              <a:pt x="448" y="406"/>
                            </a:lnTo>
                            <a:lnTo>
                              <a:pt x="448" y="402"/>
                            </a:lnTo>
                            <a:lnTo>
                              <a:pt x="444" y="398"/>
                            </a:lnTo>
                            <a:lnTo>
                              <a:pt x="438" y="392"/>
                            </a:lnTo>
                            <a:lnTo>
                              <a:pt x="438" y="392"/>
                            </a:lnTo>
                            <a:lnTo>
                              <a:pt x="442" y="392"/>
                            </a:lnTo>
                            <a:lnTo>
                              <a:pt x="446" y="394"/>
                            </a:lnTo>
                            <a:lnTo>
                              <a:pt x="448" y="394"/>
                            </a:lnTo>
                            <a:lnTo>
                              <a:pt x="450" y="390"/>
                            </a:lnTo>
                            <a:lnTo>
                              <a:pt x="450" y="390"/>
                            </a:lnTo>
                            <a:lnTo>
                              <a:pt x="454" y="386"/>
                            </a:lnTo>
                            <a:lnTo>
                              <a:pt x="458" y="382"/>
                            </a:lnTo>
                            <a:lnTo>
                              <a:pt x="462" y="378"/>
                            </a:lnTo>
                            <a:lnTo>
                              <a:pt x="462" y="374"/>
                            </a:lnTo>
                            <a:lnTo>
                              <a:pt x="462" y="374"/>
                            </a:lnTo>
                            <a:lnTo>
                              <a:pt x="462" y="370"/>
                            </a:lnTo>
                            <a:lnTo>
                              <a:pt x="466" y="368"/>
                            </a:lnTo>
                            <a:lnTo>
                              <a:pt x="470" y="370"/>
                            </a:lnTo>
                            <a:lnTo>
                              <a:pt x="472" y="372"/>
                            </a:lnTo>
                            <a:lnTo>
                              <a:pt x="472" y="372"/>
                            </a:lnTo>
                            <a:lnTo>
                              <a:pt x="476" y="376"/>
                            </a:lnTo>
                            <a:lnTo>
                              <a:pt x="478" y="376"/>
                            </a:lnTo>
                            <a:lnTo>
                              <a:pt x="484" y="374"/>
                            </a:lnTo>
                            <a:lnTo>
                              <a:pt x="488" y="370"/>
                            </a:lnTo>
                            <a:lnTo>
                              <a:pt x="492" y="370"/>
                            </a:lnTo>
                            <a:lnTo>
                              <a:pt x="494" y="372"/>
                            </a:lnTo>
                            <a:lnTo>
                              <a:pt x="494" y="372"/>
                            </a:lnTo>
                            <a:lnTo>
                              <a:pt x="500" y="374"/>
                            </a:lnTo>
                            <a:lnTo>
                              <a:pt x="502" y="374"/>
                            </a:lnTo>
                            <a:lnTo>
                              <a:pt x="508" y="372"/>
                            </a:lnTo>
                            <a:lnTo>
                              <a:pt x="510" y="372"/>
                            </a:lnTo>
                            <a:lnTo>
                              <a:pt x="514" y="372"/>
                            </a:lnTo>
                            <a:lnTo>
                              <a:pt x="520" y="376"/>
                            </a:lnTo>
                            <a:lnTo>
                              <a:pt x="528" y="382"/>
                            </a:lnTo>
                            <a:lnTo>
                              <a:pt x="528" y="382"/>
                            </a:lnTo>
                            <a:lnTo>
                              <a:pt x="530" y="384"/>
                            </a:lnTo>
                            <a:lnTo>
                              <a:pt x="532" y="384"/>
                            </a:lnTo>
                            <a:lnTo>
                              <a:pt x="534" y="380"/>
                            </a:lnTo>
                            <a:lnTo>
                              <a:pt x="534" y="378"/>
                            </a:lnTo>
                            <a:lnTo>
                              <a:pt x="536" y="378"/>
                            </a:lnTo>
                            <a:lnTo>
                              <a:pt x="542" y="380"/>
                            </a:lnTo>
                            <a:lnTo>
                              <a:pt x="550" y="384"/>
                            </a:lnTo>
                            <a:lnTo>
                              <a:pt x="550" y="384"/>
                            </a:lnTo>
                            <a:lnTo>
                              <a:pt x="558" y="388"/>
                            </a:lnTo>
                            <a:lnTo>
                              <a:pt x="562" y="390"/>
                            </a:lnTo>
                            <a:lnTo>
                              <a:pt x="564" y="386"/>
                            </a:lnTo>
                            <a:lnTo>
                              <a:pt x="564" y="382"/>
                            </a:lnTo>
                            <a:lnTo>
                              <a:pt x="564" y="382"/>
                            </a:lnTo>
                            <a:lnTo>
                              <a:pt x="566" y="380"/>
                            </a:lnTo>
                            <a:lnTo>
                              <a:pt x="568" y="382"/>
                            </a:lnTo>
                            <a:lnTo>
                              <a:pt x="572" y="382"/>
                            </a:lnTo>
                            <a:lnTo>
                              <a:pt x="578" y="382"/>
                            </a:lnTo>
                            <a:lnTo>
                              <a:pt x="578" y="382"/>
                            </a:lnTo>
                            <a:lnTo>
                              <a:pt x="584" y="380"/>
                            </a:lnTo>
                            <a:lnTo>
                              <a:pt x="586" y="384"/>
                            </a:lnTo>
                            <a:lnTo>
                              <a:pt x="588" y="386"/>
                            </a:lnTo>
                            <a:lnTo>
                              <a:pt x="594" y="384"/>
                            </a:lnTo>
                            <a:lnTo>
                              <a:pt x="594" y="384"/>
                            </a:lnTo>
                            <a:lnTo>
                              <a:pt x="610" y="380"/>
                            </a:lnTo>
                            <a:lnTo>
                              <a:pt x="616" y="378"/>
                            </a:lnTo>
                            <a:lnTo>
                              <a:pt x="618" y="380"/>
                            </a:lnTo>
                            <a:lnTo>
                              <a:pt x="618" y="382"/>
                            </a:lnTo>
                            <a:lnTo>
                              <a:pt x="618" y="382"/>
                            </a:lnTo>
                            <a:lnTo>
                              <a:pt x="614" y="386"/>
                            </a:lnTo>
                            <a:lnTo>
                              <a:pt x="614" y="390"/>
                            </a:lnTo>
                            <a:lnTo>
                              <a:pt x="616" y="392"/>
                            </a:lnTo>
                            <a:lnTo>
                              <a:pt x="620" y="392"/>
                            </a:lnTo>
                            <a:lnTo>
                              <a:pt x="626" y="390"/>
                            </a:lnTo>
                            <a:lnTo>
                              <a:pt x="630" y="388"/>
                            </a:lnTo>
                            <a:lnTo>
                              <a:pt x="632" y="384"/>
                            </a:lnTo>
                            <a:lnTo>
                              <a:pt x="632" y="384"/>
                            </a:lnTo>
                            <a:lnTo>
                              <a:pt x="646" y="390"/>
                            </a:lnTo>
                            <a:lnTo>
                              <a:pt x="656" y="392"/>
                            </a:lnTo>
                            <a:lnTo>
                              <a:pt x="662" y="392"/>
                            </a:lnTo>
                            <a:lnTo>
                              <a:pt x="666" y="390"/>
                            </a:lnTo>
                            <a:lnTo>
                              <a:pt x="668" y="388"/>
                            </a:lnTo>
                            <a:lnTo>
                              <a:pt x="668" y="382"/>
                            </a:lnTo>
                            <a:lnTo>
                              <a:pt x="668" y="382"/>
                            </a:lnTo>
                            <a:lnTo>
                              <a:pt x="668" y="378"/>
                            </a:lnTo>
                            <a:lnTo>
                              <a:pt x="666" y="376"/>
                            </a:lnTo>
                            <a:lnTo>
                              <a:pt x="662" y="374"/>
                            </a:lnTo>
                            <a:lnTo>
                              <a:pt x="658" y="374"/>
                            </a:lnTo>
                            <a:lnTo>
                              <a:pt x="646" y="374"/>
                            </a:lnTo>
                            <a:lnTo>
                              <a:pt x="630" y="370"/>
                            </a:lnTo>
                            <a:lnTo>
                              <a:pt x="630" y="370"/>
                            </a:lnTo>
                            <a:lnTo>
                              <a:pt x="624" y="368"/>
                            </a:lnTo>
                            <a:lnTo>
                              <a:pt x="624" y="368"/>
                            </a:lnTo>
                            <a:lnTo>
                              <a:pt x="624" y="366"/>
                            </a:lnTo>
                            <a:lnTo>
                              <a:pt x="634" y="360"/>
                            </a:lnTo>
                            <a:lnTo>
                              <a:pt x="644" y="356"/>
                            </a:lnTo>
                            <a:lnTo>
                              <a:pt x="644" y="356"/>
                            </a:lnTo>
                            <a:lnTo>
                              <a:pt x="644" y="354"/>
                            </a:lnTo>
                            <a:lnTo>
                              <a:pt x="638" y="354"/>
                            </a:lnTo>
                            <a:lnTo>
                              <a:pt x="638" y="354"/>
                            </a:lnTo>
                            <a:lnTo>
                              <a:pt x="630" y="352"/>
                            </a:lnTo>
                            <a:lnTo>
                              <a:pt x="630" y="350"/>
                            </a:lnTo>
                            <a:lnTo>
                              <a:pt x="630" y="350"/>
                            </a:lnTo>
                            <a:lnTo>
                              <a:pt x="632" y="348"/>
                            </a:lnTo>
                            <a:lnTo>
                              <a:pt x="628" y="346"/>
                            </a:lnTo>
                            <a:lnTo>
                              <a:pt x="628" y="346"/>
                            </a:lnTo>
                            <a:lnTo>
                              <a:pt x="624" y="344"/>
                            </a:lnTo>
                            <a:lnTo>
                              <a:pt x="624" y="342"/>
                            </a:lnTo>
                            <a:lnTo>
                              <a:pt x="630" y="336"/>
                            </a:lnTo>
                            <a:lnTo>
                              <a:pt x="630" y="336"/>
                            </a:lnTo>
                            <a:lnTo>
                              <a:pt x="634" y="334"/>
                            </a:lnTo>
                            <a:lnTo>
                              <a:pt x="642" y="332"/>
                            </a:lnTo>
                            <a:lnTo>
                              <a:pt x="662" y="330"/>
                            </a:lnTo>
                            <a:lnTo>
                              <a:pt x="662" y="330"/>
                            </a:lnTo>
                            <a:lnTo>
                              <a:pt x="682" y="330"/>
                            </a:lnTo>
                            <a:lnTo>
                              <a:pt x="698" y="330"/>
                            </a:lnTo>
                            <a:lnTo>
                              <a:pt x="704" y="328"/>
                            </a:lnTo>
                            <a:lnTo>
                              <a:pt x="706" y="326"/>
                            </a:lnTo>
                            <a:lnTo>
                              <a:pt x="706" y="326"/>
                            </a:lnTo>
                            <a:lnTo>
                              <a:pt x="710" y="324"/>
                            </a:lnTo>
                            <a:lnTo>
                              <a:pt x="718" y="324"/>
                            </a:lnTo>
                            <a:lnTo>
                              <a:pt x="744" y="322"/>
                            </a:lnTo>
                            <a:lnTo>
                              <a:pt x="744" y="322"/>
                            </a:lnTo>
                            <a:lnTo>
                              <a:pt x="750" y="320"/>
                            </a:lnTo>
                            <a:lnTo>
                              <a:pt x="754" y="318"/>
                            </a:lnTo>
                            <a:lnTo>
                              <a:pt x="758" y="314"/>
                            </a:lnTo>
                            <a:lnTo>
                              <a:pt x="764" y="310"/>
                            </a:lnTo>
                            <a:lnTo>
                              <a:pt x="766" y="310"/>
                            </a:lnTo>
                            <a:lnTo>
                              <a:pt x="772" y="310"/>
                            </a:lnTo>
                            <a:lnTo>
                              <a:pt x="772" y="310"/>
                            </a:lnTo>
                            <a:lnTo>
                              <a:pt x="780" y="310"/>
                            </a:lnTo>
                            <a:lnTo>
                              <a:pt x="786" y="308"/>
                            </a:lnTo>
                            <a:lnTo>
                              <a:pt x="790" y="308"/>
                            </a:lnTo>
                            <a:lnTo>
                              <a:pt x="790" y="312"/>
                            </a:lnTo>
                            <a:lnTo>
                              <a:pt x="790" y="312"/>
                            </a:lnTo>
                            <a:lnTo>
                              <a:pt x="792" y="318"/>
                            </a:lnTo>
                            <a:lnTo>
                              <a:pt x="794" y="320"/>
                            </a:lnTo>
                            <a:lnTo>
                              <a:pt x="796" y="320"/>
                            </a:lnTo>
                            <a:lnTo>
                              <a:pt x="794" y="324"/>
                            </a:lnTo>
                            <a:lnTo>
                              <a:pt x="794" y="324"/>
                            </a:lnTo>
                            <a:lnTo>
                              <a:pt x="794" y="324"/>
                            </a:lnTo>
                            <a:lnTo>
                              <a:pt x="794" y="326"/>
                            </a:lnTo>
                            <a:lnTo>
                              <a:pt x="798" y="330"/>
                            </a:lnTo>
                            <a:lnTo>
                              <a:pt x="804" y="330"/>
                            </a:lnTo>
                            <a:lnTo>
                              <a:pt x="808" y="330"/>
                            </a:lnTo>
                            <a:lnTo>
                              <a:pt x="808" y="330"/>
                            </a:lnTo>
                            <a:lnTo>
                              <a:pt x="810" y="328"/>
                            </a:lnTo>
                            <a:lnTo>
                              <a:pt x="812" y="328"/>
                            </a:lnTo>
                            <a:lnTo>
                              <a:pt x="814" y="330"/>
                            </a:lnTo>
                            <a:lnTo>
                              <a:pt x="818" y="332"/>
                            </a:lnTo>
                            <a:lnTo>
                              <a:pt x="820" y="332"/>
                            </a:lnTo>
                            <a:lnTo>
                              <a:pt x="822" y="330"/>
                            </a:lnTo>
                            <a:lnTo>
                              <a:pt x="822" y="330"/>
                            </a:lnTo>
                            <a:lnTo>
                              <a:pt x="824" y="328"/>
                            </a:lnTo>
                            <a:lnTo>
                              <a:pt x="828" y="330"/>
                            </a:lnTo>
                            <a:lnTo>
                              <a:pt x="832" y="330"/>
                            </a:lnTo>
                            <a:lnTo>
                              <a:pt x="838" y="330"/>
                            </a:lnTo>
                            <a:lnTo>
                              <a:pt x="838" y="330"/>
                            </a:lnTo>
                            <a:lnTo>
                              <a:pt x="836" y="340"/>
                            </a:lnTo>
                            <a:lnTo>
                              <a:pt x="838" y="342"/>
                            </a:lnTo>
                            <a:lnTo>
                              <a:pt x="838" y="342"/>
                            </a:lnTo>
                            <a:lnTo>
                              <a:pt x="844" y="340"/>
                            </a:lnTo>
                            <a:lnTo>
                              <a:pt x="848" y="340"/>
                            </a:lnTo>
                            <a:lnTo>
                              <a:pt x="854" y="340"/>
                            </a:lnTo>
                            <a:lnTo>
                              <a:pt x="854" y="340"/>
                            </a:lnTo>
                            <a:lnTo>
                              <a:pt x="860" y="340"/>
                            </a:lnTo>
                            <a:lnTo>
                              <a:pt x="860" y="338"/>
                            </a:lnTo>
                            <a:lnTo>
                              <a:pt x="858" y="334"/>
                            </a:lnTo>
                            <a:lnTo>
                              <a:pt x="858" y="334"/>
                            </a:lnTo>
                            <a:lnTo>
                              <a:pt x="860" y="332"/>
                            </a:lnTo>
                            <a:lnTo>
                              <a:pt x="860" y="332"/>
                            </a:lnTo>
                            <a:lnTo>
                              <a:pt x="866" y="332"/>
                            </a:lnTo>
                            <a:lnTo>
                              <a:pt x="868" y="330"/>
                            </a:lnTo>
                            <a:lnTo>
                              <a:pt x="872" y="328"/>
                            </a:lnTo>
                            <a:lnTo>
                              <a:pt x="876" y="328"/>
                            </a:lnTo>
                            <a:lnTo>
                              <a:pt x="876" y="328"/>
                            </a:lnTo>
                            <a:lnTo>
                              <a:pt x="886" y="328"/>
                            </a:lnTo>
                            <a:lnTo>
                              <a:pt x="886" y="330"/>
                            </a:lnTo>
                            <a:lnTo>
                              <a:pt x="878" y="334"/>
                            </a:lnTo>
                            <a:lnTo>
                              <a:pt x="878" y="334"/>
                            </a:lnTo>
                            <a:lnTo>
                              <a:pt x="902" y="342"/>
                            </a:lnTo>
                            <a:lnTo>
                              <a:pt x="922" y="350"/>
                            </a:lnTo>
                            <a:lnTo>
                              <a:pt x="936" y="358"/>
                            </a:lnTo>
                            <a:lnTo>
                              <a:pt x="948" y="364"/>
                            </a:lnTo>
                            <a:lnTo>
                              <a:pt x="964" y="380"/>
                            </a:lnTo>
                            <a:lnTo>
                              <a:pt x="978" y="392"/>
                            </a:lnTo>
                            <a:lnTo>
                              <a:pt x="978" y="392"/>
                            </a:lnTo>
                            <a:lnTo>
                              <a:pt x="984" y="396"/>
                            </a:lnTo>
                            <a:lnTo>
                              <a:pt x="988" y="396"/>
                            </a:lnTo>
                            <a:lnTo>
                              <a:pt x="990" y="394"/>
                            </a:lnTo>
                            <a:lnTo>
                              <a:pt x="992" y="390"/>
                            </a:lnTo>
                            <a:lnTo>
                              <a:pt x="994" y="386"/>
                            </a:lnTo>
                            <a:lnTo>
                              <a:pt x="996" y="386"/>
                            </a:lnTo>
                            <a:lnTo>
                              <a:pt x="1000" y="392"/>
                            </a:lnTo>
                            <a:lnTo>
                              <a:pt x="1000" y="392"/>
                            </a:lnTo>
                            <a:lnTo>
                              <a:pt x="1004" y="396"/>
                            </a:lnTo>
                            <a:lnTo>
                              <a:pt x="1008" y="398"/>
                            </a:lnTo>
                            <a:lnTo>
                              <a:pt x="1014" y="396"/>
                            </a:lnTo>
                            <a:lnTo>
                              <a:pt x="1022" y="396"/>
                            </a:lnTo>
                            <a:lnTo>
                              <a:pt x="1034" y="392"/>
                            </a:lnTo>
                            <a:lnTo>
                              <a:pt x="1040" y="392"/>
                            </a:lnTo>
                            <a:lnTo>
                              <a:pt x="1044" y="396"/>
                            </a:lnTo>
                            <a:lnTo>
                              <a:pt x="1044" y="396"/>
                            </a:lnTo>
                            <a:lnTo>
                              <a:pt x="1048" y="402"/>
                            </a:lnTo>
                            <a:lnTo>
                              <a:pt x="1052" y="402"/>
                            </a:lnTo>
                            <a:lnTo>
                              <a:pt x="1056" y="404"/>
                            </a:lnTo>
                            <a:lnTo>
                              <a:pt x="1062" y="410"/>
                            </a:lnTo>
                            <a:lnTo>
                              <a:pt x="1062" y="410"/>
                            </a:lnTo>
                            <a:lnTo>
                              <a:pt x="1064" y="412"/>
                            </a:lnTo>
                            <a:lnTo>
                              <a:pt x="1066" y="414"/>
                            </a:lnTo>
                            <a:lnTo>
                              <a:pt x="1070" y="412"/>
                            </a:lnTo>
                            <a:lnTo>
                              <a:pt x="1074" y="412"/>
                            </a:lnTo>
                            <a:lnTo>
                              <a:pt x="1076" y="412"/>
                            </a:lnTo>
                            <a:lnTo>
                              <a:pt x="1080" y="416"/>
                            </a:lnTo>
                            <a:lnTo>
                              <a:pt x="1080" y="416"/>
                            </a:lnTo>
                            <a:lnTo>
                              <a:pt x="1084" y="418"/>
                            </a:lnTo>
                            <a:lnTo>
                              <a:pt x="1088" y="418"/>
                            </a:lnTo>
                            <a:lnTo>
                              <a:pt x="1092" y="418"/>
                            </a:lnTo>
                            <a:lnTo>
                              <a:pt x="1094" y="416"/>
                            </a:lnTo>
                            <a:lnTo>
                              <a:pt x="1094" y="416"/>
                            </a:lnTo>
                            <a:lnTo>
                              <a:pt x="1096" y="414"/>
                            </a:lnTo>
                            <a:lnTo>
                              <a:pt x="1098" y="412"/>
                            </a:lnTo>
                            <a:lnTo>
                              <a:pt x="1106" y="412"/>
                            </a:lnTo>
                            <a:lnTo>
                              <a:pt x="1106" y="412"/>
                            </a:lnTo>
                            <a:lnTo>
                              <a:pt x="1110" y="412"/>
                            </a:lnTo>
                            <a:lnTo>
                              <a:pt x="1112" y="412"/>
                            </a:lnTo>
                            <a:lnTo>
                              <a:pt x="1116" y="410"/>
                            </a:lnTo>
                            <a:lnTo>
                              <a:pt x="1124" y="410"/>
                            </a:lnTo>
                            <a:lnTo>
                              <a:pt x="1124" y="410"/>
                            </a:lnTo>
                            <a:lnTo>
                              <a:pt x="1130" y="412"/>
                            </a:lnTo>
                            <a:lnTo>
                              <a:pt x="1134" y="416"/>
                            </a:lnTo>
                            <a:lnTo>
                              <a:pt x="1138" y="420"/>
                            </a:lnTo>
                            <a:lnTo>
                              <a:pt x="1142" y="422"/>
                            </a:lnTo>
                            <a:lnTo>
                              <a:pt x="1142" y="422"/>
                            </a:lnTo>
                            <a:lnTo>
                              <a:pt x="1144" y="422"/>
                            </a:lnTo>
                            <a:lnTo>
                              <a:pt x="1144" y="424"/>
                            </a:lnTo>
                            <a:lnTo>
                              <a:pt x="1146" y="426"/>
                            </a:lnTo>
                            <a:lnTo>
                              <a:pt x="1154" y="426"/>
                            </a:lnTo>
                            <a:lnTo>
                              <a:pt x="1154" y="426"/>
                            </a:lnTo>
                            <a:lnTo>
                              <a:pt x="1158" y="426"/>
                            </a:lnTo>
                            <a:lnTo>
                              <a:pt x="1160" y="426"/>
                            </a:lnTo>
                            <a:lnTo>
                              <a:pt x="1160" y="426"/>
                            </a:lnTo>
                            <a:lnTo>
                              <a:pt x="1162" y="424"/>
                            </a:lnTo>
                            <a:lnTo>
                              <a:pt x="1162" y="420"/>
                            </a:lnTo>
                            <a:lnTo>
                              <a:pt x="1164" y="418"/>
                            </a:lnTo>
                            <a:lnTo>
                              <a:pt x="1168" y="416"/>
                            </a:lnTo>
                            <a:lnTo>
                              <a:pt x="1168" y="416"/>
                            </a:lnTo>
                            <a:lnTo>
                              <a:pt x="1172" y="414"/>
                            </a:lnTo>
                            <a:lnTo>
                              <a:pt x="1176" y="410"/>
                            </a:lnTo>
                            <a:lnTo>
                              <a:pt x="1178" y="408"/>
                            </a:lnTo>
                            <a:lnTo>
                              <a:pt x="1182" y="410"/>
                            </a:lnTo>
                            <a:lnTo>
                              <a:pt x="1182" y="410"/>
                            </a:lnTo>
                            <a:lnTo>
                              <a:pt x="1184" y="410"/>
                            </a:lnTo>
                            <a:lnTo>
                              <a:pt x="1184" y="410"/>
                            </a:lnTo>
                            <a:lnTo>
                              <a:pt x="1184" y="406"/>
                            </a:lnTo>
                            <a:lnTo>
                              <a:pt x="1186" y="402"/>
                            </a:lnTo>
                            <a:lnTo>
                              <a:pt x="1186" y="402"/>
                            </a:lnTo>
                            <a:lnTo>
                              <a:pt x="1188" y="402"/>
                            </a:lnTo>
                            <a:lnTo>
                              <a:pt x="1188" y="402"/>
                            </a:lnTo>
                            <a:lnTo>
                              <a:pt x="1192" y="402"/>
                            </a:lnTo>
                            <a:lnTo>
                              <a:pt x="1196" y="400"/>
                            </a:lnTo>
                            <a:lnTo>
                              <a:pt x="1200" y="398"/>
                            </a:lnTo>
                            <a:lnTo>
                              <a:pt x="1204" y="398"/>
                            </a:lnTo>
                            <a:lnTo>
                              <a:pt x="1204" y="398"/>
                            </a:lnTo>
                            <a:lnTo>
                              <a:pt x="1206" y="398"/>
                            </a:lnTo>
                            <a:lnTo>
                              <a:pt x="1210" y="394"/>
                            </a:lnTo>
                            <a:lnTo>
                              <a:pt x="1214" y="392"/>
                            </a:lnTo>
                            <a:lnTo>
                              <a:pt x="1216" y="390"/>
                            </a:lnTo>
                            <a:lnTo>
                              <a:pt x="1218" y="392"/>
                            </a:lnTo>
                            <a:lnTo>
                              <a:pt x="1218" y="392"/>
                            </a:lnTo>
                            <a:lnTo>
                              <a:pt x="1220" y="392"/>
                            </a:lnTo>
                            <a:lnTo>
                              <a:pt x="1222" y="392"/>
                            </a:lnTo>
                            <a:lnTo>
                              <a:pt x="1226" y="390"/>
                            </a:lnTo>
                            <a:lnTo>
                              <a:pt x="1230" y="388"/>
                            </a:lnTo>
                            <a:lnTo>
                              <a:pt x="1234" y="388"/>
                            </a:lnTo>
                            <a:lnTo>
                              <a:pt x="1236" y="388"/>
                            </a:lnTo>
                            <a:lnTo>
                              <a:pt x="1236" y="388"/>
                            </a:lnTo>
                            <a:lnTo>
                              <a:pt x="1238" y="392"/>
                            </a:lnTo>
                            <a:lnTo>
                              <a:pt x="1240" y="392"/>
                            </a:lnTo>
                            <a:lnTo>
                              <a:pt x="1246" y="392"/>
                            </a:lnTo>
                            <a:lnTo>
                              <a:pt x="1250" y="392"/>
                            </a:lnTo>
                            <a:lnTo>
                              <a:pt x="1254" y="394"/>
                            </a:lnTo>
                            <a:lnTo>
                              <a:pt x="1256" y="398"/>
                            </a:lnTo>
                            <a:lnTo>
                              <a:pt x="1256" y="398"/>
                            </a:lnTo>
                            <a:lnTo>
                              <a:pt x="1262" y="404"/>
                            </a:lnTo>
                            <a:lnTo>
                              <a:pt x="1264" y="404"/>
                            </a:lnTo>
                            <a:lnTo>
                              <a:pt x="1268" y="404"/>
                            </a:lnTo>
                            <a:lnTo>
                              <a:pt x="1272" y="404"/>
                            </a:lnTo>
                            <a:lnTo>
                              <a:pt x="1272" y="404"/>
                            </a:lnTo>
                            <a:lnTo>
                              <a:pt x="1276" y="406"/>
                            </a:lnTo>
                            <a:lnTo>
                              <a:pt x="1280" y="408"/>
                            </a:lnTo>
                            <a:lnTo>
                              <a:pt x="1286" y="408"/>
                            </a:lnTo>
                            <a:lnTo>
                              <a:pt x="1296" y="410"/>
                            </a:lnTo>
                            <a:lnTo>
                              <a:pt x="1296" y="410"/>
                            </a:lnTo>
                            <a:lnTo>
                              <a:pt x="1308" y="410"/>
                            </a:lnTo>
                            <a:lnTo>
                              <a:pt x="1314" y="408"/>
                            </a:lnTo>
                            <a:lnTo>
                              <a:pt x="1318" y="408"/>
                            </a:lnTo>
                            <a:lnTo>
                              <a:pt x="1320" y="408"/>
                            </a:lnTo>
                            <a:lnTo>
                              <a:pt x="1320" y="408"/>
                            </a:lnTo>
                            <a:lnTo>
                              <a:pt x="1324" y="408"/>
                            </a:lnTo>
                            <a:lnTo>
                              <a:pt x="1326" y="404"/>
                            </a:lnTo>
                            <a:lnTo>
                              <a:pt x="1328" y="402"/>
                            </a:lnTo>
                            <a:lnTo>
                              <a:pt x="1328" y="400"/>
                            </a:lnTo>
                            <a:lnTo>
                              <a:pt x="1326" y="398"/>
                            </a:lnTo>
                            <a:lnTo>
                              <a:pt x="1322" y="394"/>
                            </a:lnTo>
                            <a:lnTo>
                              <a:pt x="1322" y="394"/>
                            </a:lnTo>
                            <a:lnTo>
                              <a:pt x="1310" y="388"/>
                            </a:lnTo>
                            <a:lnTo>
                              <a:pt x="1308" y="386"/>
                            </a:lnTo>
                            <a:lnTo>
                              <a:pt x="1308" y="386"/>
                            </a:lnTo>
                            <a:lnTo>
                              <a:pt x="1312" y="384"/>
                            </a:lnTo>
                            <a:lnTo>
                              <a:pt x="1316" y="378"/>
                            </a:lnTo>
                            <a:lnTo>
                              <a:pt x="1316" y="378"/>
                            </a:lnTo>
                            <a:lnTo>
                              <a:pt x="1316" y="372"/>
                            </a:lnTo>
                            <a:lnTo>
                              <a:pt x="1314" y="368"/>
                            </a:lnTo>
                            <a:lnTo>
                              <a:pt x="1312" y="364"/>
                            </a:lnTo>
                            <a:lnTo>
                              <a:pt x="1312" y="360"/>
                            </a:lnTo>
                            <a:lnTo>
                              <a:pt x="1314" y="358"/>
                            </a:lnTo>
                            <a:lnTo>
                              <a:pt x="1314" y="358"/>
                            </a:lnTo>
                            <a:lnTo>
                              <a:pt x="1326" y="362"/>
                            </a:lnTo>
                            <a:lnTo>
                              <a:pt x="1336" y="364"/>
                            </a:lnTo>
                            <a:lnTo>
                              <a:pt x="1352" y="368"/>
                            </a:lnTo>
                            <a:lnTo>
                              <a:pt x="1352" y="368"/>
                            </a:lnTo>
                            <a:lnTo>
                              <a:pt x="1362" y="372"/>
                            </a:lnTo>
                            <a:lnTo>
                              <a:pt x="1368" y="376"/>
                            </a:lnTo>
                            <a:lnTo>
                              <a:pt x="1378" y="390"/>
                            </a:lnTo>
                            <a:lnTo>
                              <a:pt x="1382" y="396"/>
                            </a:lnTo>
                            <a:lnTo>
                              <a:pt x="1388" y="402"/>
                            </a:lnTo>
                            <a:lnTo>
                              <a:pt x="1398" y="404"/>
                            </a:lnTo>
                            <a:lnTo>
                              <a:pt x="1410" y="404"/>
                            </a:lnTo>
                            <a:lnTo>
                              <a:pt x="1410" y="404"/>
                            </a:lnTo>
                            <a:lnTo>
                              <a:pt x="1434" y="400"/>
                            </a:lnTo>
                            <a:lnTo>
                              <a:pt x="1442" y="402"/>
                            </a:lnTo>
                            <a:lnTo>
                              <a:pt x="1446" y="402"/>
                            </a:lnTo>
                            <a:lnTo>
                              <a:pt x="1454" y="402"/>
                            </a:lnTo>
                            <a:lnTo>
                              <a:pt x="1454" y="402"/>
                            </a:lnTo>
                            <a:lnTo>
                              <a:pt x="1466" y="402"/>
                            </a:lnTo>
                            <a:lnTo>
                              <a:pt x="1472" y="404"/>
                            </a:lnTo>
                            <a:lnTo>
                              <a:pt x="1474" y="408"/>
                            </a:lnTo>
                            <a:lnTo>
                              <a:pt x="1478" y="410"/>
                            </a:lnTo>
                            <a:lnTo>
                              <a:pt x="1480" y="414"/>
                            </a:lnTo>
                            <a:lnTo>
                              <a:pt x="1486" y="416"/>
                            </a:lnTo>
                            <a:lnTo>
                              <a:pt x="1494" y="416"/>
                            </a:lnTo>
                            <a:lnTo>
                              <a:pt x="1506" y="414"/>
                            </a:lnTo>
                            <a:lnTo>
                              <a:pt x="1506" y="414"/>
                            </a:lnTo>
                            <a:lnTo>
                              <a:pt x="1524" y="414"/>
                            </a:lnTo>
                            <a:lnTo>
                              <a:pt x="1540" y="414"/>
                            </a:lnTo>
                            <a:lnTo>
                              <a:pt x="1554" y="414"/>
                            </a:lnTo>
                            <a:lnTo>
                              <a:pt x="1572" y="410"/>
                            </a:lnTo>
                            <a:lnTo>
                              <a:pt x="1572" y="410"/>
                            </a:lnTo>
                            <a:lnTo>
                              <a:pt x="1588" y="404"/>
                            </a:lnTo>
                            <a:lnTo>
                              <a:pt x="1600" y="402"/>
                            </a:lnTo>
                            <a:lnTo>
                              <a:pt x="1614" y="402"/>
                            </a:lnTo>
                            <a:lnTo>
                              <a:pt x="1632" y="406"/>
                            </a:lnTo>
                            <a:lnTo>
                              <a:pt x="1632" y="406"/>
                            </a:lnTo>
                            <a:lnTo>
                              <a:pt x="1656" y="412"/>
                            </a:lnTo>
                            <a:lnTo>
                              <a:pt x="1656" y="412"/>
                            </a:lnTo>
                            <a:lnTo>
                              <a:pt x="1672" y="414"/>
                            </a:lnTo>
                            <a:lnTo>
                              <a:pt x="1682" y="414"/>
                            </a:lnTo>
                            <a:lnTo>
                              <a:pt x="1690" y="410"/>
                            </a:lnTo>
                            <a:lnTo>
                              <a:pt x="1694" y="406"/>
                            </a:lnTo>
                            <a:lnTo>
                              <a:pt x="1696" y="398"/>
                            </a:lnTo>
                            <a:lnTo>
                              <a:pt x="1698" y="392"/>
                            </a:lnTo>
                            <a:lnTo>
                              <a:pt x="1700" y="380"/>
                            </a:lnTo>
                            <a:lnTo>
                              <a:pt x="1700" y="380"/>
                            </a:lnTo>
                            <a:lnTo>
                              <a:pt x="1704" y="370"/>
                            </a:lnTo>
                            <a:lnTo>
                              <a:pt x="1708" y="364"/>
                            </a:lnTo>
                            <a:lnTo>
                              <a:pt x="1708" y="360"/>
                            </a:lnTo>
                            <a:lnTo>
                              <a:pt x="1708" y="358"/>
                            </a:lnTo>
                            <a:lnTo>
                              <a:pt x="1704" y="356"/>
                            </a:lnTo>
                            <a:lnTo>
                              <a:pt x="1696" y="356"/>
                            </a:lnTo>
                            <a:lnTo>
                              <a:pt x="1696" y="356"/>
                            </a:lnTo>
                            <a:lnTo>
                              <a:pt x="1686" y="356"/>
                            </a:lnTo>
                            <a:lnTo>
                              <a:pt x="1684" y="354"/>
                            </a:lnTo>
                            <a:lnTo>
                              <a:pt x="1682" y="352"/>
                            </a:lnTo>
                            <a:lnTo>
                              <a:pt x="1684" y="350"/>
                            </a:lnTo>
                            <a:lnTo>
                              <a:pt x="1686" y="348"/>
                            </a:lnTo>
                            <a:lnTo>
                              <a:pt x="1692" y="346"/>
                            </a:lnTo>
                            <a:lnTo>
                              <a:pt x="1700" y="346"/>
                            </a:lnTo>
                            <a:lnTo>
                              <a:pt x="1700" y="346"/>
                            </a:lnTo>
                            <a:lnTo>
                              <a:pt x="1710" y="344"/>
                            </a:lnTo>
                            <a:lnTo>
                              <a:pt x="1716" y="342"/>
                            </a:lnTo>
                            <a:lnTo>
                              <a:pt x="1724" y="338"/>
                            </a:lnTo>
                            <a:lnTo>
                              <a:pt x="1742" y="338"/>
                            </a:lnTo>
                            <a:lnTo>
                              <a:pt x="1742" y="338"/>
                            </a:lnTo>
                            <a:lnTo>
                              <a:pt x="1756" y="338"/>
                            </a:lnTo>
                            <a:lnTo>
                              <a:pt x="1768" y="340"/>
                            </a:lnTo>
                            <a:lnTo>
                              <a:pt x="1782" y="344"/>
                            </a:lnTo>
                            <a:lnTo>
                              <a:pt x="1794" y="348"/>
                            </a:lnTo>
                            <a:lnTo>
                              <a:pt x="1808" y="354"/>
                            </a:lnTo>
                            <a:lnTo>
                              <a:pt x="1820" y="362"/>
                            </a:lnTo>
                            <a:lnTo>
                              <a:pt x="1834" y="372"/>
                            </a:lnTo>
                            <a:lnTo>
                              <a:pt x="1848" y="384"/>
                            </a:lnTo>
                            <a:lnTo>
                              <a:pt x="1848" y="384"/>
                            </a:lnTo>
                            <a:lnTo>
                              <a:pt x="1862" y="394"/>
                            </a:lnTo>
                            <a:lnTo>
                              <a:pt x="1874" y="402"/>
                            </a:lnTo>
                            <a:lnTo>
                              <a:pt x="1884" y="408"/>
                            </a:lnTo>
                            <a:lnTo>
                              <a:pt x="1896" y="412"/>
                            </a:lnTo>
                            <a:lnTo>
                              <a:pt x="1916" y="418"/>
                            </a:lnTo>
                            <a:lnTo>
                              <a:pt x="1926" y="422"/>
                            </a:lnTo>
                            <a:lnTo>
                              <a:pt x="1936" y="428"/>
                            </a:lnTo>
                            <a:lnTo>
                              <a:pt x="1936" y="428"/>
                            </a:lnTo>
                            <a:lnTo>
                              <a:pt x="1948" y="434"/>
                            </a:lnTo>
                            <a:lnTo>
                              <a:pt x="1956" y="438"/>
                            </a:lnTo>
                            <a:lnTo>
                              <a:pt x="1964" y="440"/>
                            </a:lnTo>
                            <a:lnTo>
                              <a:pt x="1970" y="440"/>
                            </a:lnTo>
                            <a:lnTo>
                              <a:pt x="1976" y="440"/>
                            </a:lnTo>
                            <a:lnTo>
                              <a:pt x="1980" y="436"/>
                            </a:lnTo>
                            <a:lnTo>
                              <a:pt x="1992" y="430"/>
                            </a:lnTo>
                            <a:lnTo>
                              <a:pt x="1992" y="430"/>
                            </a:lnTo>
                            <a:lnTo>
                              <a:pt x="1998" y="426"/>
                            </a:lnTo>
                            <a:lnTo>
                              <a:pt x="2006" y="426"/>
                            </a:lnTo>
                            <a:lnTo>
                              <a:pt x="2012" y="428"/>
                            </a:lnTo>
                            <a:lnTo>
                              <a:pt x="2016" y="430"/>
                            </a:lnTo>
                            <a:lnTo>
                              <a:pt x="2022" y="434"/>
                            </a:lnTo>
                            <a:lnTo>
                              <a:pt x="2024" y="440"/>
                            </a:lnTo>
                            <a:lnTo>
                              <a:pt x="2024" y="444"/>
                            </a:lnTo>
                            <a:lnTo>
                              <a:pt x="2020" y="450"/>
                            </a:lnTo>
                            <a:lnTo>
                              <a:pt x="2020" y="450"/>
                            </a:lnTo>
                            <a:lnTo>
                              <a:pt x="2018" y="454"/>
                            </a:lnTo>
                            <a:lnTo>
                              <a:pt x="2020" y="458"/>
                            </a:lnTo>
                            <a:lnTo>
                              <a:pt x="2026" y="464"/>
                            </a:lnTo>
                            <a:lnTo>
                              <a:pt x="2030" y="466"/>
                            </a:lnTo>
                            <a:lnTo>
                              <a:pt x="2032" y="470"/>
                            </a:lnTo>
                            <a:lnTo>
                              <a:pt x="2030" y="474"/>
                            </a:lnTo>
                            <a:lnTo>
                              <a:pt x="2024" y="480"/>
                            </a:lnTo>
                            <a:lnTo>
                              <a:pt x="2024" y="480"/>
                            </a:lnTo>
                            <a:lnTo>
                              <a:pt x="2022" y="482"/>
                            </a:lnTo>
                            <a:lnTo>
                              <a:pt x="2020" y="484"/>
                            </a:lnTo>
                            <a:lnTo>
                              <a:pt x="2020" y="490"/>
                            </a:lnTo>
                            <a:lnTo>
                              <a:pt x="2020" y="492"/>
                            </a:lnTo>
                            <a:lnTo>
                              <a:pt x="2018" y="496"/>
                            </a:lnTo>
                            <a:lnTo>
                              <a:pt x="2012" y="500"/>
                            </a:lnTo>
                            <a:lnTo>
                              <a:pt x="2004" y="508"/>
                            </a:lnTo>
                            <a:lnTo>
                              <a:pt x="2004" y="508"/>
                            </a:lnTo>
                            <a:lnTo>
                              <a:pt x="2000" y="510"/>
                            </a:lnTo>
                            <a:lnTo>
                              <a:pt x="2000" y="512"/>
                            </a:lnTo>
                            <a:lnTo>
                              <a:pt x="2006" y="518"/>
                            </a:lnTo>
                            <a:lnTo>
                              <a:pt x="2016" y="524"/>
                            </a:lnTo>
                            <a:lnTo>
                              <a:pt x="2020" y="530"/>
                            </a:lnTo>
                            <a:lnTo>
                              <a:pt x="2022" y="536"/>
                            </a:lnTo>
                            <a:lnTo>
                              <a:pt x="2022" y="536"/>
                            </a:lnTo>
                            <a:lnTo>
                              <a:pt x="2024" y="546"/>
                            </a:lnTo>
                            <a:lnTo>
                              <a:pt x="2028" y="552"/>
                            </a:lnTo>
                            <a:lnTo>
                              <a:pt x="2032" y="556"/>
                            </a:lnTo>
                            <a:lnTo>
                              <a:pt x="2032" y="556"/>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3" name="Freeform 129"/>
                      <p:cNvSpPr>
                        <a:spLocks/>
                      </p:cNvSpPr>
                      <p:nvPr/>
                    </p:nvSpPr>
                    <p:spPr bwMode="auto">
                      <a:xfrm>
                        <a:off x="6935167" y="1299471"/>
                        <a:ext cx="160995" cy="66766"/>
                      </a:xfrm>
                      <a:custGeom>
                        <a:avLst/>
                        <a:gdLst/>
                        <a:ahLst/>
                        <a:cxnLst>
                          <a:cxn ang="0">
                            <a:pos x="102" y="34"/>
                          </a:cxn>
                          <a:cxn ang="0">
                            <a:pos x="74" y="30"/>
                          </a:cxn>
                          <a:cxn ang="0">
                            <a:pos x="68" y="28"/>
                          </a:cxn>
                          <a:cxn ang="0">
                            <a:pos x="52" y="18"/>
                          </a:cxn>
                          <a:cxn ang="0">
                            <a:pos x="52" y="16"/>
                          </a:cxn>
                          <a:cxn ang="0">
                            <a:pos x="54" y="10"/>
                          </a:cxn>
                          <a:cxn ang="0">
                            <a:pos x="54" y="10"/>
                          </a:cxn>
                          <a:cxn ang="0">
                            <a:pos x="56" y="6"/>
                          </a:cxn>
                          <a:cxn ang="0">
                            <a:pos x="60" y="4"/>
                          </a:cxn>
                          <a:cxn ang="0">
                            <a:pos x="58" y="4"/>
                          </a:cxn>
                          <a:cxn ang="0">
                            <a:pos x="36" y="0"/>
                          </a:cxn>
                          <a:cxn ang="0">
                            <a:pos x="32" y="2"/>
                          </a:cxn>
                          <a:cxn ang="0">
                            <a:pos x="26" y="2"/>
                          </a:cxn>
                          <a:cxn ang="0">
                            <a:pos x="20" y="4"/>
                          </a:cxn>
                          <a:cxn ang="0">
                            <a:pos x="18" y="6"/>
                          </a:cxn>
                          <a:cxn ang="0">
                            <a:pos x="18" y="8"/>
                          </a:cxn>
                          <a:cxn ang="0">
                            <a:pos x="12" y="12"/>
                          </a:cxn>
                          <a:cxn ang="0">
                            <a:pos x="10" y="18"/>
                          </a:cxn>
                          <a:cxn ang="0">
                            <a:pos x="6" y="18"/>
                          </a:cxn>
                          <a:cxn ang="0">
                            <a:pos x="2" y="20"/>
                          </a:cxn>
                          <a:cxn ang="0">
                            <a:pos x="0" y="26"/>
                          </a:cxn>
                          <a:cxn ang="0">
                            <a:pos x="2" y="28"/>
                          </a:cxn>
                          <a:cxn ang="0">
                            <a:pos x="6" y="28"/>
                          </a:cxn>
                          <a:cxn ang="0">
                            <a:pos x="12" y="26"/>
                          </a:cxn>
                          <a:cxn ang="0">
                            <a:pos x="14" y="28"/>
                          </a:cxn>
                          <a:cxn ang="0">
                            <a:pos x="18" y="28"/>
                          </a:cxn>
                          <a:cxn ang="0">
                            <a:pos x="20" y="30"/>
                          </a:cxn>
                          <a:cxn ang="0">
                            <a:pos x="22" y="32"/>
                          </a:cxn>
                          <a:cxn ang="0">
                            <a:pos x="26" y="30"/>
                          </a:cxn>
                          <a:cxn ang="0">
                            <a:pos x="28" y="32"/>
                          </a:cxn>
                          <a:cxn ang="0">
                            <a:pos x="30" y="34"/>
                          </a:cxn>
                          <a:cxn ang="0">
                            <a:pos x="34" y="36"/>
                          </a:cxn>
                          <a:cxn ang="0">
                            <a:pos x="34" y="38"/>
                          </a:cxn>
                          <a:cxn ang="0">
                            <a:pos x="32" y="38"/>
                          </a:cxn>
                          <a:cxn ang="0">
                            <a:pos x="32" y="38"/>
                          </a:cxn>
                          <a:cxn ang="0">
                            <a:pos x="30" y="42"/>
                          </a:cxn>
                          <a:cxn ang="0">
                            <a:pos x="32" y="44"/>
                          </a:cxn>
                          <a:cxn ang="0">
                            <a:pos x="40" y="42"/>
                          </a:cxn>
                          <a:cxn ang="0">
                            <a:pos x="46" y="44"/>
                          </a:cxn>
                          <a:cxn ang="0">
                            <a:pos x="52" y="44"/>
                          </a:cxn>
                          <a:cxn ang="0">
                            <a:pos x="56" y="42"/>
                          </a:cxn>
                          <a:cxn ang="0">
                            <a:pos x="56" y="42"/>
                          </a:cxn>
                          <a:cxn ang="0">
                            <a:pos x="62" y="42"/>
                          </a:cxn>
                          <a:cxn ang="0">
                            <a:pos x="68" y="42"/>
                          </a:cxn>
                          <a:cxn ang="0">
                            <a:pos x="68" y="42"/>
                          </a:cxn>
                          <a:cxn ang="0">
                            <a:pos x="72" y="38"/>
                          </a:cxn>
                          <a:cxn ang="0">
                            <a:pos x="80" y="40"/>
                          </a:cxn>
                          <a:cxn ang="0">
                            <a:pos x="88" y="42"/>
                          </a:cxn>
                          <a:cxn ang="0">
                            <a:pos x="88" y="40"/>
                          </a:cxn>
                          <a:cxn ang="0">
                            <a:pos x="86" y="38"/>
                          </a:cxn>
                          <a:cxn ang="0">
                            <a:pos x="92" y="38"/>
                          </a:cxn>
                          <a:cxn ang="0">
                            <a:pos x="96" y="38"/>
                          </a:cxn>
                          <a:cxn ang="0">
                            <a:pos x="106" y="36"/>
                          </a:cxn>
                          <a:cxn ang="0">
                            <a:pos x="102" y="34"/>
                          </a:cxn>
                        </a:cxnLst>
                        <a:rect l="0" t="0" r="r" b="b"/>
                        <a:pathLst>
                          <a:path w="106" h="44">
                            <a:moveTo>
                              <a:pt x="102" y="34"/>
                            </a:moveTo>
                            <a:lnTo>
                              <a:pt x="102" y="34"/>
                            </a:lnTo>
                            <a:lnTo>
                              <a:pt x="82" y="32"/>
                            </a:lnTo>
                            <a:lnTo>
                              <a:pt x="74" y="30"/>
                            </a:lnTo>
                            <a:lnTo>
                              <a:pt x="68" y="28"/>
                            </a:lnTo>
                            <a:lnTo>
                              <a:pt x="68" y="28"/>
                            </a:lnTo>
                            <a:lnTo>
                              <a:pt x="56" y="22"/>
                            </a:lnTo>
                            <a:lnTo>
                              <a:pt x="52" y="18"/>
                            </a:lnTo>
                            <a:lnTo>
                              <a:pt x="52" y="16"/>
                            </a:lnTo>
                            <a:lnTo>
                              <a:pt x="52" y="16"/>
                            </a:lnTo>
                            <a:lnTo>
                              <a:pt x="54" y="12"/>
                            </a:lnTo>
                            <a:lnTo>
                              <a:pt x="54" y="10"/>
                            </a:lnTo>
                            <a:lnTo>
                              <a:pt x="54" y="10"/>
                            </a:lnTo>
                            <a:lnTo>
                              <a:pt x="54" y="10"/>
                            </a:lnTo>
                            <a:lnTo>
                              <a:pt x="54" y="8"/>
                            </a:lnTo>
                            <a:lnTo>
                              <a:pt x="56" y="6"/>
                            </a:lnTo>
                            <a:lnTo>
                              <a:pt x="60" y="4"/>
                            </a:lnTo>
                            <a:lnTo>
                              <a:pt x="60" y="4"/>
                            </a:lnTo>
                            <a:lnTo>
                              <a:pt x="58" y="4"/>
                            </a:lnTo>
                            <a:lnTo>
                              <a:pt x="58" y="4"/>
                            </a:lnTo>
                            <a:lnTo>
                              <a:pt x="48" y="2"/>
                            </a:lnTo>
                            <a:lnTo>
                              <a:pt x="36" y="0"/>
                            </a:lnTo>
                            <a:lnTo>
                              <a:pt x="36" y="0"/>
                            </a:lnTo>
                            <a:lnTo>
                              <a:pt x="32" y="2"/>
                            </a:lnTo>
                            <a:lnTo>
                              <a:pt x="26" y="2"/>
                            </a:lnTo>
                            <a:lnTo>
                              <a:pt x="26" y="2"/>
                            </a:lnTo>
                            <a:lnTo>
                              <a:pt x="22" y="2"/>
                            </a:lnTo>
                            <a:lnTo>
                              <a:pt x="20" y="4"/>
                            </a:lnTo>
                            <a:lnTo>
                              <a:pt x="18" y="4"/>
                            </a:lnTo>
                            <a:lnTo>
                              <a:pt x="18" y="6"/>
                            </a:lnTo>
                            <a:lnTo>
                              <a:pt x="18" y="6"/>
                            </a:lnTo>
                            <a:lnTo>
                              <a:pt x="18" y="8"/>
                            </a:lnTo>
                            <a:lnTo>
                              <a:pt x="18" y="8"/>
                            </a:lnTo>
                            <a:lnTo>
                              <a:pt x="12" y="12"/>
                            </a:lnTo>
                            <a:lnTo>
                              <a:pt x="12" y="12"/>
                            </a:lnTo>
                            <a:lnTo>
                              <a:pt x="10" y="18"/>
                            </a:lnTo>
                            <a:lnTo>
                              <a:pt x="8" y="18"/>
                            </a:lnTo>
                            <a:lnTo>
                              <a:pt x="6" y="18"/>
                            </a:lnTo>
                            <a:lnTo>
                              <a:pt x="6" y="18"/>
                            </a:lnTo>
                            <a:lnTo>
                              <a:pt x="2" y="20"/>
                            </a:lnTo>
                            <a:lnTo>
                              <a:pt x="0" y="22"/>
                            </a:lnTo>
                            <a:lnTo>
                              <a:pt x="0" y="26"/>
                            </a:lnTo>
                            <a:lnTo>
                              <a:pt x="0" y="28"/>
                            </a:lnTo>
                            <a:lnTo>
                              <a:pt x="2" y="28"/>
                            </a:lnTo>
                            <a:lnTo>
                              <a:pt x="2" y="28"/>
                            </a:lnTo>
                            <a:lnTo>
                              <a:pt x="6" y="28"/>
                            </a:lnTo>
                            <a:lnTo>
                              <a:pt x="10" y="26"/>
                            </a:lnTo>
                            <a:lnTo>
                              <a:pt x="12" y="26"/>
                            </a:lnTo>
                            <a:lnTo>
                              <a:pt x="14" y="28"/>
                            </a:lnTo>
                            <a:lnTo>
                              <a:pt x="14" y="28"/>
                            </a:lnTo>
                            <a:lnTo>
                              <a:pt x="16" y="30"/>
                            </a:lnTo>
                            <a:lnTo>
                              <a:pt x="18" y="28"/>
                            </a:lnTo>
                            <a:lnTo>
                              <a:pt x="20" y="28"/>
                            </a:lnTo>
                            <a:lnTo>
                              <a:pt x="20" y="30"/>
                            </a:lnTo>
                            <a:lnTo>
                              <a:pt x="20" y="30"/>
                            </a:lnTo>
                            <a:lnTo>
                              <a:pt x="22" y="32"/>
                            </a:lnTo>
                            <a:lnTo>
                              <a:pt x="24" y="30"/>
                            </a:lnTo>
                            <a:lnTo>
                              <a:pt x="26" y="30"/>
                            </a:lnTo>
                            <a:lnTo>
                              <a:pt x="28" y="32"/>
                            </a:lnTo>
                            <a:lnTo>
                              <a:pt x="28" y="32"/>
                            </a:lnTo>
                            <a:lnTo>
                              <a:pt x="28" y="34"/>
                            </a:lnTo>
                            <a:lnTo>
                              <a:pt x="30" y="34"/>
                            </a:lnTo>
                            <a:lnTo>
                              <a:pt x="34" y="34"/>
                            </a:lnTo>
                            <a:lnTo>
                              <a:pt x="34" y="36"/>
                            </a:lnTo>
                            <a:lnTo>
                              <a:pt x="34" y="36"/>
                            </a:lnTo>
                            <a:lnTo>
                              <a:pt x="34" y="38"/>
                            </a:lnTo>
                            <a:lnTo>
                              <a:pt x="32" y="38"/>
                            </a:lnTo>
                            <a:lnTo>
                              <a:pt x="32" y="38"/>
                            </a:lnTo>
                            <a:lnTo>
                              <a:pt x="32" y="38"/>
                            </a:lnTo>
                            <a:lnTo>
                              <a:pt x="32" y="38"/>
                            </a:lnTo>
                            <a:lnTo>
                              <a:pt x="30" y="40"/>
                            </a:lnTo>
                            <a:lnTo>
                              <a:pt x="30" y="42"/>
                            </a:lnTo>
                            <a:lnTo>
                              <a:pt x="30" y="42"/>
                            </a:lnTo>
                            <a:lnTo>
                              <a:pt x="32" y="44"/>
                            </a:lnTo>
                            <a:lnTo>
                              <a:pt x="32" y="44"/>
                            </a:lnTo>
                            <a:lnTo>
                              <a:pt x="40" y="42"/>
                            </a:lnTo>
                            <a:lnTo>
                              <a:pt x="44" y="42"/>
                            </a:lnTo>
                            <a:lnTo>
                              <a:pt x="46" y="44"/>
                            </a:lnTo>
                            <a:lnTo>
                              <a:pt x="46" y="44"/>
                            </a:lnTo>
                            <a:lnTo>
                              <a:pt x="52" y="44"/>
                            </a:lnTo>
                            <a:lnTo>
                              <a:pt x="56" y="44"/>
                            </a:lnTo>
                            <a:lnTo>
                              <a:pt x="56" y="42"/>
                            </a:lnTo>
                            <a:lnTo>
                              <a:pt x="56" y="42"/>
                            </a:lnTo>
                            <a:lnTo>
                              <a:pt x="56" y="42"/>
                            </a:lnTo>
                            <a:lnTo>
                              <a:pt x="56" y="42"/>
                            </a:lnTo>
                            <a:lnTo>
                              <a:pt x="62" y="42"/>
                            </a:lnTo>
                            <a:lnTo>
                              <a:pt x="66" y="42"/>
                            </a:lnTo>
                            <a:lnTo>
                              <a:pt x="68" y="42"/>
                            </a:lnTo>
                            <a:lnTo>
                              <a:pt x="68" y="42"/>
                            </a:lnTo>
                            <a:lnTo>
                              <a:pt x="68" y="42"/>
                            </a:lnTo>
                            <a:lnTo>
                              <a:pt x="68" y="40"/>
                            </a:lnTo>
                            <a:lnTo>
                              <a:pt x="72" y="38"/>
                            </a:lnTo>
                            <a:lnTo>
                              <a:pt x="76" y="38"/>
                            </a:lnTo>
                            <a:lnTo>
                              <a:pt x="80" y="40"/>
                            </a:lnTo>
                            <a:lnTo>
                              <a:pt x="80" y="40"/>
                            </a:lnTo>
                            <a:lnTo>
                              <a:pt x="88" y="42"/>
                            </a:lnTo>
                            <a:lnTo>
                              <a:pt x="88" y="42"/>
                            </a:lnTo>
                            <a:lnTo>
                              <a:pt x="88" y="40"/>
                            </a:lnTo>
                            <a:lnTo>
                              <a:pt x="88" y="40"/>
                            </a:lnTo>
                            <a:lnTo>
                              <a:pt x="86" y="38"/>
                            </a:lnTo>
                            <a:lnTo>
                              <a:pt x="88" y="38"/>
                            </a:lnTo>
                            <a:lnTo>
                              <a:pt x="92" y="38"/>
                            </a:lnTo>
                            <a:lnTo>
                              <a:pt x="92" y="38"/>
                            </a:lnTo>
                            <a:lnTo>
                              <a:pt x="96" y="38"/>
                            </a:lnTo>
                            <a:lnTo>
                              <a:pt x="102" y="38"/>
                            </a:lnTo>
                            <a:lnTo>
                              <a:pt x="106" y="36"/>
                            </a:lnTo>
                            <a:lnTo>
                              <a:pt x="102" y="34"/>
                            </a:lnTo>
                            <a:lnTo>
                              <a:pt x="102" y="34"/>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4" name="Freeform 130"/>
                      <p:cNvSpPr>
                        <a:spLocks/>
                      </p:cNvSpPr>
                      <p:nvPr/>
                    </p:nvSpPr>
                    <p:spPr bwMode="auto">
                      <a:xfrm>
                        <a:off x="6971619" y="1241809"/>
                        <a:ext cx="239974" cy="57662"/>
                      </a:xfrm>
                      <a:custGeom>
                        <a:avLst/>
                        <a:gdLst/>
                        <a:ahLst/>
                        <a:cxnLst>
                          <a:cxn ang="0">
                            <a:pos x="4" y="38"/>
                          </a:cxn>
                          <a:cxn ang="0">
                            <a:pos x="22" y="38"/>
                          </a:cxn>
                          <a:cxn ang="0">
                            <a:pos x="30" y="38"/>
                          </a:cxn>
                          <a:cxn ang="0">
                            <a:pos x="36" y="38"/>
                          </a:cxn>
                          <a:cxn ang="0">
                            <a:pos x="38" y="32"/>
                          </a:cxn>
                          <a:cxn ang="0">
                            <a:pos x="44" y="32"/>
                          </a:cxn>
                          <a:cxn ang="0">
                            <a:pos x="52" y="32"/>
                          </a:cxn>
                          <a:cxn ang="0">
                            <a:pos x="50" y="30"/>
                          </a:cxn>
                          <a:cxn ang="0">
                            <a:pos x="58" y="30"/>
                          </a:cxn>
                          <a:cxn ang="0">
                            <a:pos x="64" y="30"/>
                          </a:cxn>
                          <a:cxn ang="0">
                            <a:pos x="64" y="28"/>
                          </a:cxn>
                          <a:cxn ang="0">
                            <a:pos x="64" y="28"/>
                          </a:cxn>
                          <a:cxn ang="0">
                            <a:pos x="74" y="28"/>
                          </a:cxn>
                          <a:cxn ang="0">
                            <a:pos x="74" y="26"/>
                          </a:cxn>
                          <a:cxn ang="0">
                            <a:pos x="74" y="24"/>
                          </a:cxn>
                          <a:cxn ang="0">
                            <a:pos x="82" y="24"/>
                          </a:cxn>
                          <a:cxn ang="0">
                            <a:pos x="88" y="24"/>
                          </a:cxn>
                          <a:cxn ang="0">
                            <a:pos x="88" y="22"/>
                          </a:cxn>
                          <a:cxn ang="0">
                            <a:pos x="88" y="20"/>
                          </a:cxn>
                          <a:cxn ang="0">
                            <a:pos x="100" y="20"/>
                          </a:cxn>
                          <a:cxn ang="0">
                            <a:pos x="104" y="20"/>
                          </a:cxn>
                          <a:cxn ang="0">
                            <a:pos x="110" y="18"/>
                          </a:cxn>
                          <a:cxn ang="0">
                            <a:pos x="116" y="18"/>
                          </a:cxn>
                          <a:cxn ang="0">
                            <a:pos x="114" y="18"/>
                          </a:cxn>
                          <a:cxn ang="0">
                            <a:pos x="116" y="16"/>
                          </a:cxn>
                          <a:cxn ang="0">
                            <a:pos x="130" y="16"/>
                          </a:cxn>
                          <a:cxn ang="0">
                            <a:pos x="132" y="16"/>
                          </a:cxn>
                          <a:cxn ang="0">
                            <a:pos x="134" y="14"/>
                          </a:cxn>
                          <a:cxn ang="0">
                            <a:pos x="140" y="14"/>
                          </a:cxn>
                          <a:cxn ang="0">
                            <a:pos x="148" y="14"/>
                          </a:cxn>
                          <a:cxn ang="0">
                            <a:pos x="148" y="14"/>
                          </a:cxn>
                          <a:cxn ang="0">
                            <a:pos x="150" y="12"/>
                          </a:cxn>
                          <a:cxn ang="0">
                            <a:pos x="158" y="10"/>
                          </a:cxn>
                          <a:cxn ang="0">
                            <a:pos x="158" y="6"/>
                          </a:cxn>
                          <a:cxn ang="0">
                            <a:pos x="154" y="2"/>
                          </a:cxn>
                          <a:cxn ang="0">
                            <a:pos x="140" y="4"/>
                          </a:cxn>
                          <a:cxn ang="0">
                            <a:pos x="130" y="6"/>
                          </a:cxn>
                          <a:cxn ang="0">
                            <a:pos x="116" y="8"/>
                          </a:cxn>
                          <a:cxn ang="0">
                            <a:pos x="90" y="6"/>
                          </a:cxn>
                          <a:cxn ang="0">
                            <a:pos x="90" y="8"/>
                          </a:cxn>
                          <a:cxn ang="0">
                            <a:pos x="90" y="8"/>
                          </a:cxn>
                          <a:cxn ang="0">
                            <a:pos x="82" y="10"/>
                          </a:cxn>
                          <a:cxn ang="0">
                            <a:pos x="74" y="10"/>
                          </a:cxn>
                          <a:cxn ang="0">
                            <a:pos x="74" y="10"/>
                          </a:cxn>
                          <a:cxn ang="0">
                            <a:pos x="58" y="10"/>
                          </a:cxn>
                          <a:cxn ang="0">
                            <a:pos x="58" y="10"/>
                          </a:cxn>
                          <a:cxn ang="0">
                            <a:pos x="58" y="12"/>
                          </a:cxn>
                          <a:cxn ang="0">
                            <a:pos x="48" y="14"/>
                          </a:cxn>
                          <a:cxn ang="0">
                            <a:pos x="36" y="18"/>
                          </a:cxn>
                          <a:cxn ang="0">
                            <a:pos x="38" y="18"/>
                          </a:cxn>
                          <a:cxn ang="0">
                            <a:pos x="18" y="20"/>
                          </a:cxn>
                          <a:cxn ang="0">
                            <a:pos x="16" y="22"/>
                          </a:cxn>
                          <a:cxn ang="0">
                            <a:pos x="16" y="22"/>
                          </a:cxn>
                          <a:cxn ang="0">
                            <a:pos x="8" y="26"/>
                          </a:cxn>
                          <a:cxn ang="0">
                            <a:pos x="2" y="28"/>
                          </a:cxn>
                          <a:cxn ang="0">
                            <a:pos x="2" y="30"/>
                          </a:cxn>
                          <a:cxn ang="0">
                            <a:pos x="0" y="36"/>
                          </a:cxn>
                          <a:cxn ang="0">
                            <a:pos x="4" y="38"/>
                          </a:cxn>
                        </a:cxnLst>
                        <a:rect l="0" t="0" r="r" b="b"/>
                        <a:pathLst>
                          <a:path w="158" h="38">
                            <a:moveTo>
                              <a:pt x="4" y="38"/>
                            </a:moveTo>
                            <a:lnTo>
                              <a:pt x="4" y="38"/>
                            </a:lnTo>
                            <a:lnTo>
                              <a:pt x="14" y="36"/>
                            </a:lnTo>
                            <a:lnTo>
                              <a:pt x="22" y="38"/>
                            </a:lnTo>
                            <a:lnTo>
                              <a:pt x="22" y="38"/>
                            </a:lnTo>
                            <a:lnTo>
                              <a:pt x="30" y="38"/>
                            </a:lnTo>
                            <a:lnTo>
                              <a:pt x="36" y="38"/>
                            </a:lnTo>
                            <a:lnTo>
                              <a:pt x="36" y="38"/>
                            </a:lnTo>
                            <a:lnTo>
                              <a:pt x="40" y="34"/>
                            </a:lnTo>
                            <a:lnTo>
                              <a:pt x="38" y="32"/>
                            </a:lnTo>
                            <a:lnTo>
                              <a:pt x="38" y="32"/>
                            </a:lnTo>
                            <a:lnTo>
                              <a:pt x="44" y="32"/>
                            </a:lnTo>
                            <a:lnTo>
                              <a:pt x="50" y="32"/>
                            </a:lnTo>
                            <a:lnTo>
                              <a:pt x="52" y="32"/>
                            </a:lnTo>
                            <a:lnTo>
                              <a:pt x="52" y="32"/>
                            </a:lnTo>
                            <a:lnTo>
                              <a:pt x="50" y="30"/>
                            </a:lnTo>
                            <a:lnTo>
                              <a:pt x="52" y="30"/>
                            </a:lnTo>
                            <a:lnTo>
                              <a:pt x="58" y="30"/>
                            </a:lnTo>
                            <a:lnTo>
                              <a:pt x="62" y="30"/>
                            </a:lnTo>
                            <a:lnTo>
                              <a:pt x="64" y="30"/>
                            </a:lnTo>
                            <a:lnTo>
                              <a:pt x="64" y="28"/>
                            </a:lnTo>
                            <a:lnTo>
                              <a:pt x="64" y="28"/>
                            </a:lnTo>
                            <a:lnTo>
                              <a:pt x="64" y="28"/>
                            </a:lnTo>
                            <a:lnTo>
                              <a:pt x="64" y="28"/>
                            </a:lnTo>
                            <a:lnTo>
                              <a:pt x="70" y="28"/>
                            </a:lnTo>
                            <a:lnTo>
                              <a:pt x="74" y="28"/>
                            </a:lnTo>
                            <a:lnTo>
                              <a:pt x="76" y="28"/>
                            </a:lnTo>
                            <a:lnTo>
                              <a:pt x="74" y="26"/>
                            </a:lnTo>
                            <a:lnTo>
                              <a:pt x="74" y="26"/>
                            </a:lnTo>
                            <a:lnTo>
                              <a:pt x="74" y="24"/>
                            </a:lnTo>
                            <a:lnTo>
                              <a:pt x="76" y="24"/>
                            </a:lnTo>
                            <a:lnTo>
                              <a:pt x="82" y="24"/>
                            </a:lnTo>
                            <a:lnTo>
                              <a:pt x="86" y="24"/>
                            </a:lnTo>
                            <a:lnTo>
                              <a:pt x="88" y="24"/>
                            </a:lnTo>
                            <a:lnTo>
                              <a:pt x="88" y="22"/>
                            </a:lnTo>
                            <a:lnTo>
                              <a:pt x="88" y="22"/>
                            </a:lnTo>
                            <a:lnTo>
                              <a:pt x="86" y="20"/>
                            </a:lnTo>
                            <a:lnTo>
                              <a:pt x="88" y="20"/>
                            </a:lnTo>
                            <a:lnTo>
                              <a:pt x="94" y="20"/>
                            </a:lnTo>
                            <a:lnTo>
                              <a:pt x="100" y="20"/>
                            </a:lnTo>
                            <a:lnTo>
                              <a:pt x="104" y="20"/>
                            </a:lnTo>
                            <a:lnTo>
                              <a:pt x="104" y="20"/>
                            </a:lnTo>
                            <a:lnTo>
                              <a:pt x="106" y="18"/>
                            </a:lnTo>
                            <a:lnTo>
                              <a:pt x="110" y="18"/>
                            </a:lnTo>
                            <a:lnTo>
                              <a:pt x="114" y="18"/>
                            </a:lnTo>
                            <a:lnTo>
                              <a:pt x="116" y="18"/>
                            </a:lnTo>
                            <a:lnTo>
                              <a:pt x="114" y="18"/>
                            </a:lnTo>
                            <a:lnTo>
                              <a:pt x="114" y="18"/>
                            </a:lnTo>
                            <a:lnTo>
                              <a:pt x="116" y="16"/>
                            </a:lnTo>
                            <a:lnTo>
                              <a:pt x="116" y="16"/>
                            </a:lnTo>
                            <a:lnTo>
                              <a:pt x="124" y="16"/>
                            </a:lnTo>
                            <a:lnTo>
                              <a:pt x="130" y="16"/>
                            </a:lnTo>
                            <a:lnTo>
                              <a:pt x="132" y="16"/>
                            </a:lnTo>
                            <a:lnTo>
                              <a:pt x="132" y="16"/>
                            </a:lnTo>
                            <a:lnTo>
                              <a:pt x="132" y="16"/>
                            </a:lnTo>
                            <a:lnTo>
                              <a:pt x="134" y="14"/>
                            </a:lnTo>
                            <a:lnTo>
                              <a:pt x="134" y="14"/>
                            </a:lnTo>
                            <a:lnTo>
                              <a:pt x="140" y="14"/>
                            </a:lnTo>
                            <a:lnTo>
                              <a:pt x="146" y="16"/>
                            </a:lnTo>
                            <a:lnTo>
                              <a:pt x="148" y="14"/>
                            </a:lnTo>
                            <a:lnTo>
                              <a:pt x="148" y="14"/>
                            </a:lnTo>
                            <a:lnTo>
                              <a:pt x="148" y="14"/>
                            </a:lnTo>
                            <a:lnTo>
                              <a:pt x="148" y="12"/>
                            </a:lnTo>
                            <a:lnTo>
                              <a:pt x="150" y="12"/>
                            </a:lnTo>
                            <a:lnTo>
                              <a:pt x="154" y="12"/>
                            </a:lnTo>
                            <a:lnTo>
                              <a:pt x="158" y="10"/>
                            </a:lnTo>
                            <a:lnTo>
                              <a:pt x="158" y="8"/>
                            </a:lnTo>
                            <a:lnTo>
                              <a:pt x="158" y="6"/>
                            </a:lnTo>
                            <a:lnTo>
                              <a:pt x="158" y="6"/>
                            </a:lnTo>
                            <a:lnTo>
                              <a:pt x="154" y="2"/>
                            </a:lnTo>
                            <a:lnTo>
                              <a:pt x="148" y="0"/>
                            </a:lnTo>
                            <a:lnTo>
                              <a:pt x="140" y="4"/>
                            </a:lnTo>
                            <a:lnTo>
                              <a:pt x="140" y="4"/>
                            </a:lnTo>
                            <a:lnTo>
                              <a:pt x="130" y="6"/>
                            </a:lnTo>
                            <a:lnTo>
                              <a:pt x="116" y="8"/>
                            </a:lnTo>
                            <a:lnTo>
                              <a:pt x="116" y="8"/>
                            </a:lnTo>
                            <a:lnTo>
                              <a:pt x="98" y="8"/>
                            </a:lnTo>
                            <a:lnTo>
                              <a:pt x="90" y="6"/>
                            </a:lnTo>
                            <a:lnTo>
                              <a:pt x="88" y="8"/>
                            </a:lnTo>
                            <a:lnTo>
                              <a:pt x="90" y="8"/>
                            </a:lnTo>
                            <a:lnTo>
                              <a:pt x="90" y="8"/>
                            </a:lnTo>
                            <a:lnTo>
                              <a:pt x="90" y="8"/>
                            </a:lnTo>
                            <a:lnTo>
                              <a:pt x="88" y="10"/>
                            </a:lnTo>
                            <a:lnTo>
                              <a:pt x="82" y="10"/>
                            </a:lnTo>
                            <a:lnTo>
                              <a:pt x="74" y="10"/>
                            </a:lnTo>
                            <a:lnTo>
                              <a:pt x="74" y="10"/>
                            </a:lnTo>
                            <a:lnTo>
                              <a:pt x="74" y="10"/>
                            </a:lnTo>
                            <a:lnTo>
                              <a:pt x="74" y="10"/>
                            </a:lnTo>
                            <a:lnTo>
                              <a:pt x="64" y="10"/>
                            </a:lnTo>
                            <a:lnTo>
                              <a:pt x="58" y="10"/>
                            </a:lnTo>
                            <a:lnTo>
                              <a:pt x="56" y="10"/>
                            </a:lnTo>
                            <a:lnTo>
                              <a:pt x="58" y="10"/>
                            </a:lnTo>
                            <a:lnTo>
                              <a:pt x="58" y="10"/>
                            </a:lnTo>
                            <a:lnTo>
                              <a:pt x="58" y="12"/>
                            </a:lnTo>
                            <a:lnTo>
                              <a:pt x="56" y="12"/>
                            </a:lnTo>
                            <a:lnTo>
                              <a:pt x="48" y="14"/>
                            </a:lnTo>
                            <a:lnTo>
                              <a:pt x="38" y="16"/>
                            </a:lnTo>
                            <a:lnTo>
                              <a:pt x="36" y="18"/>
                            </a:lnTo>
                            <a:lnTo>
                              <a:pt x="38" y="18"/>
                            </a:lnTo>
                            <a:lnTo>
                              <a:pt x="38" y="18"/>
                            </a:lnTo>
                            <a:lnTo>
                              <a:pt x="28" y="18"/>
                            </a:lnTo>
                            <a:lnTo>
                              <a:pt x="18" y="20"/>
                            </a:lnTo>
                            <a:lnTo>
                              <a:pt x="16" y="20"/>
                            </a:lnTo>
                            <a:lnTo>
                              <a:pt x="16" y="22"/>
                            </a:lnTo>
                            <a:lnTo>
                              <a:pt x="16" y="22"/>
                            </a:lnTo>
                            <a:lnTo>
                              <a:pt x="16" y="22"/>
                            </a:lnTo>
                            <a:lnTo>
                              <a:pt x="14" y="24"/>
                            </a:lnTo>
                            <a:lnTo>
                              <a:pt x="8" y="26"/>
                            </a:lnTo>
                            <a:lnTo>
                              <a:pt x="4" y="28"/>
                            </a:lnTo>
                            <a:lnTo>
                              <a:pt x="2" y="28"/>
                            </a:lnTo>
                            <a:lnTo>
                              <a:pt x="2" y="30"/>
                            </a:lnTo>
                            <a:lnTo>
                              <a:pt x="2" y="30"/>
                            </a:lnTo>
                            <a:lnTo>
                              <a:pt x="2" y="32"/>
                            </a:lnTo>
                            <a:lnTo>
                              <a:pt x="0" y="36"/>
                            </a:lnTo>
                            <a:lnTo>
                              <a:pt x="0" y="38"/>
                            </a:lnTo>
                            <a:lnTo>
                              <a:pt x="4" y="38"/>
                            </a:lnTo>
                            <a:lnTo>
                              <a:pt x="4" y="38"/>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7" name="Spain"/>
                      <p:cNvSpPr>
                        <a:spLocks/>
                      </p:cNvSpPr>
                      <p:nvPr/>
                    </p:nvSpPr>
                    <p:spPr bwMode="auto">
                      <a:xfrm>
                        <a:off x="5529302" y="2076643"/>
                        <a:ext cx="525511" cy="248856"/>
                      </a:xfrm>
                      <a:custGeom>
                        <a:avLst/>
                        <a:gdLst/>
                        <a:ahLst/>
                        <a:cxnLst/>
                        <a:rect l="l" t="t" r="r" b="b"/>
                        <a:pathLst>
                          <a:path w="457728" h="216958">
                            <a:moveTo>
                              <a:pt x="452437" y="15875"/>
                            </a:moveTo>
                            <a:lnTo>
                              <a:pt x="452437" y="21167"/>
                            </a:lnTo>
                            <a:lnTo>
                              <a:pt x="455082" y="31750"/>
                            </a:lnTo>
                            <a:lnTo>
                              <a:pt x="457728" y="42333"/>
                            </a:lnTo>
                            <a:lnTo>
                              <a:pt x="455082" y="50271"/>
                            </a:lnTo>
                            <a:lnTo>
                              <a:pt x="452437" y="63500"/>
                            </a:lnTo>
                            <a:lnTo>
                              <a:pt x="449791" y="63500"/>
                            </a:lnTo>
                            <a:lnTo>
                              <a:pt x="449791" y="60854"/>
                            </a:lnTo>
                            <a:lnTo>
                              <a:pt x="447145" y="58208"/>
                            </a:lnTo>
                            <a:lnTo>
                              <a:pt x="444499" y="58208"/>
                            </a:lnTo>
                            <a:lnTo>
                              <a:pt x="439208" y="55563"/>
                            </a:lnTo>
                            <a:lnTo>
                              <a:pt x="439208" y="52917"/>
                            </a:lnTo>
                            <a:lnTo>
                              <a:pt x="439208" y="50271"/>
                            </a:lnTo>
                            <a:lnTo>
                              <a:pt x="436562" y="50271"/>
                            </a:lnTo>
                            <a:lnTo>
                              <a:pt x="436562" y="47625"/>
                            </a:lnTo>
                            <a:lnTo>
                              <a:pt x="436562" y="44979"/>
                            </a:lnTo>
                            <a:lnTo>
                              <a:pt x="436562" y="42333"/>
                            </a:lnTo>
                            <a:lnTo>
                              <a:pt x="433916" y="39688"/>
                            </a:lnTo>
                            <a:lnTo>
                              <a:pt x="433916" y="37042"/>
                            </a:lnTo>
                            <a:lnTo>
                              <a:pt x="433916" y="34396"/>
                            </a:lnTo>
                            <a:lnTo>
                              <a:pt x="433916" y="31750"/>
                            </a:lnTo>
                            <a:lnTo>
                              <a:pt x="433916" y="29104"/>
                            </a:lnTo>
                            <a:lnTo>
                              <a:pt x="433916" y="26458"/>
                            </a:lnTo>
                            <a:lnTo>
                              <a:pt x="436562" y="26458"/>
                            </a:lnTo>
                            <a:lnTo>
                              <a:pt x="439208" y="26458"/>
                            </a:lnTo>
                            <a:lnTo>
                              <a:pt x="439208" y="23813"/>
                            </a:lnTo>
                            <a:lnTo>
                              <a:pt x="441853" y="21167"/>
                            </a:lnTo>
                            <a:lnTo>
                              <a:pt x="444499" y="21167"/>
                            </a:lnTo>
                            <a:lnTo>
                              <a:pt x="447145" y="21167"/>
                            </a:lnTo>
                            <a:lnTo>
                              <a:pt x="449791" y="18521"/>
                            </a:lnTo>
                            <a:close/>
                            <a:moveTo>
                              <a:pt x="23812" y="0"/>
                            </a:moveTo>
                            <a:lnTo>
                              <a:pt x="29104" y="0"/>
                            </a:lnTo>
                            <a:lnTo>
                              <a:pt x="31750" y="0"/>
                            </a:lnTo>
                            <a:lnTo>
                              <a:pt x="34396" y="0"/>
                            </a:lnTo>
                            <a:lnTo>
                              <a:pt x="39687" y="2646"/>
                            </a:lnTo>
                            <a:lnTo>
                              <a:pt x="47625" y="5292"/>
                            </a:lnTo>
                            <a:lnTo>
                              <a:pt x="60854" y="5292"/>
                            </a:lnTo>
                            <a:lnTo>
                              <a:pt x="71437" y="2646"/>
                            </a:lnTo>
                            <a:lnTo>
                              <a:pt x="76729" y="2646"/>
                            </a:lnTo>
                            <a:lnTo>
                              <a:pt x="79375" y="2646"/>
                            </a:lnTo>
                            <a:lnTo>
                              <a:pt x="82021" y="2646"/>
                            </a:lnTo>
                            <a:lnTo>
                              <a:pt x="111125" y="5292"/>
                            </a:lnTo>
                            <a:lnTo>
                              <a:pt x="121708" y="5292"/>
                            </a:lnTo>
                            <a:lnTo>
                              <a:pt x="127000" y="2646"/>
                            </a:lnTo>
                            <a:lnTo>
                              <a:pt x="129646" y="2646"/>
                            </a:lnTo>
                            <a:lnTo>
                              <a:pt x="137583" y="7937"/>
                            </a:lnTo>
                            <a:lnTo>
                              <a:pt x="140229" y="7937"/>
                            </a:lnTo>
                            <a:lnTo>
                              <a:pt x="142875" y="5292"/>
                            </a:lnTo>
                            <a:lnTo>
                              <a:pt x="145521" y="5292"/>
                            </a:lnTo>
                            <a:lnTo>
                              <a:pt x="158750" y="7937"/>
                            </a:lnTo>
                            <a:lnTo>
                              <a:pt x="164042" y="7937"/>
                            </a:lnTo>
                            <a:lnTo>
                              <a:pt x="171979" y="5292"/>
                            </a:lnTo>
                            <a:lnTo>
                              <a:pt x="174625" y="5292"/>
                            </a:lnTo>
                            <a:lnTo>
                              <a:pt x="179917" y="5292"/>
                            </a:lnTo>
                            <a:lnTo>
                              <a:pt x="182563" y="5292"/>
                            </a:lnTo>
                            <a:lnTo>
                              <a:pt x="185209" y="7937"/>
                            </a:lnTo>
                            <a:lnTo>
                              <a:pt x="187854" y="7937"/>
                            </a:lnTo>
                            <a:lnTo>
                              <a:pt x="190500" y="7937"/>
                            </a:lnTo>
                            <a:lnTo>
                              <a:pt x="190500" y="10583"/>
                            </a:lnTo>
                            <a:lnTo>
                              <a:pt x="190500" y="13229"/>
                            </a:lnTo>
                            <a:lnTo>
                              <a:pt x="195792" y="13229"/>
                            </a:lnTo>
                            <a:lnTo>
                              <a:pt x="198438" y="13229"/>
                            </a:lnTo>
                            <a:lnTo>
                              <a:pt x="201084" y="15875"/>
                            </a:lnTo>
                            <a:lnTo>
                              <a:pt x="203729" y="18521"/>
                            </a:lnTo>
                            <a:lnTo>
                              <a:pt x="209021" y="18521"/>
                            </a:lnTo>
                            <a:lnTo>
                              <a:pt x="214313" y="18521"/>
                            </a:lnTo>
                            <a:lnTo>
                              <a:pt x="222250" y="23813"/>
                            </a:lnTo>
                            <a:lnTo>
                              <a:pt x="230188" y="26458"/>
                            </a:lnTo>
                            <a:lnTo>
                              <a:pt x="235479" y="29104"/>
                            </a:lnTo>
                            <a:lnTo>
                              <a:pt x="240771" y="29104"/>
                            </a:lnTo>
                            <a:lnTo>
                              <a:pt x="243417" y="23813"/>
                            </a:lnTo>
                            <a:lnTo>
                              <a:pt x="246063" y="23813"/>
                            </a:lnTo>
                            <a:lnTo>
                              <a:pt x="251354" y="26458"/>
                            </a:lnTo>
                            <a:lnTo>
                              <a:pt x="256646" y="29104"/>
                            </a:lnTo>
                            <a:lnTo>
                              <a:pt x="259292" y="29104"/>
                            </a:lnTo>
                            <a:lnTo>
                              <a:pt x="259292" y="31750"/>
                            </a:lnTo>
                            <a:lnTo>
                              <a:pt x="261938" y="31750"/>
                            </a:lnTo>
                            <a:lnTo>
                              <a:pt x="264584" y="31750"/>
                            </a:lnTo>
                            <a:lnTo>
                              <a:pt x="267229" y="31750"/>
                            </a:lnTo>
                            <a:lnTo>
                              <a:pt x="272521" y="29104"/>
                            </a:lnTo>
                            <a:lnTo>
                              <a:pt x="275167" y="29104"/>
                            </a:lnTo>
                            <a:lnTo>
                              <a:pt x="280459" y="31750"/>
                            </a:lnTo>
                            <a:lnTo>
                              <a:pt x="283104" y="31750"/>
                            </a:lnTo>
                            <a:lnTo>
                              <a:pt x="285750" y="29104"/>
                            </a:lnTo>
                            <a:lnTo>
                              <a:pt x="288396" y="29104"/>
                            </a:lnTo>
                            <a:lnTo>
                              <a:pt x="296334" y="29104"/>
                            </a:lnTo>
                            <a:lnTo>
                              <a:pt x="301625" y="26458"/>
                            </a:lnTo>
                            <a:lnTo>
                              <a:pt x="304271" y="29104"/>
                            </a:lnTo>
                            <a:lnTo>
                              <a:pt x="309563" y="31750"/>
                            </a:lnTo>
                            <a:lnTo>
                              <a:pt x="306917" y="34396"/>
                            </a:lnTo>
                            <a:lnTo>
                              <a:pt x="304271" y="34396"/>
                            </a:lnTo>
                            <a:lnTo>
                              <a:pt x="304271" y="37042"/>
                            </a:lnTo>
                            <a:lnTo>
                              <a:pt x="306917" y="37042"/>
                            </a:lnTo>
                            <a:lnTo>
                              <a:pt x="304271" y="39688"/>
                            </a:lnTo>
                            <a:lnTo>
                              <a:pt x="304271" y="44979"/>
                            </a:lnTo>
                            <a:lnTo>
                              <a:pt x="304271" y="50271"/>
                            </a:lnTo>
                            <a:lnTo>
                              <a:pt x="301625" y="50271"/>
                            </a:lnTo>
                            <a:lnTo>
                              <a:pt x="298979" y="52917"/>
                            </a:lnTo>
                            <a:lnTo>
                              <a:pt x="291042" y="55563"/>
                            </a:lnTo>
                            <a:lnTo>
                              <a:pt x="283104" y="60854"/>
                            </a:lnTo>
                            <a:lnTo>
                              <a:pt x="280459" y="63500"/>
                            </a:lnTo>
                            <a:lnTo>
                              <a:pt x="275167" y="63500"/>
                            </a:lnTo>
                            <a:lnTo>
                              <a:pt x="259292" y="71438"/>
                            </a:lnTo>
                            <a:lnTo>
                              <a:pt x="246063" y="76729"/>
                            </a:lnTo>
                            <a:lnTo>
                              <a:pt x="246063" y="79375"/>
                            </a:lnTo>
                            <a:lnTo>
                              <a:pt x="246063" y="84667"/>
                            </a:lnTo>
                            <a:lnTo>
                              <a:pt x="243417" y="87312"/>
                            </a:lnTo>
                            <a:lnTo>
                              <a:pt x="240771" y="84667"/>
                            </a:lnTo>
                            <a:lnTo>
                              <a:pt x="238125" y="89958"/>
                            </a:lnTo>
                            <a:lnTo>
                              <a:pt x="227542" y="100542"/>
                            </a:lnTo>
                            <a:lnTo>
                              <a:pt x="222250" y="103187"/>
                            </a:lnTo>
                            <a:lnTo>
                              <a:pt x="216959" y="108479"/>
                            </a:lnTo>
                            <a:lnTo>
                              <a:pt x="214313" y="113771"/>
                            </a:lnTo>
                            <a:lnTo>
                              <a:pt x="214313" y="119062"/>
                            </a:lnTo>
                            <a:lnTo>
                              <a:pt x="216959" y="127000"/>
                            </a:lnTo>
                            <a:lnTo>
                              <a:pt x="222250" y="129646"/>
                            </a:lnTo>
                            <a:lnTo>
                              <a:pt x="224896" y="132292"/>
                            </a:lnTo>
                            <a:lnTo>
                              <a:pt x="227542" y="132292"/>
                            </a:lnTo>
                            <a:lnTo>
                              <a:pt x="227542" y="134937"/>
                            </a:lnTo>
                            <a:lnTo>
                              <a:pt x="222250" y="137583"/>
                            </a:lnTo>
                            <a:lnTo>
                              <a:pt x="219604" y="142875"/>
                            </a:lnTo>
                            <a:lnTo>
                              <a:pt x="219604" y="145521"/>
                            </a:lnTo>
                            <a:lnTo>
                              <a:pt x="216959" y="148167"/>
                            </a:lnTo>
                            <a:lnTo>
                              <a:pt x="216959" y="150812"/>
                            </a:lnTo>
                            <a:lnTo>
                              <a:pt x="216959" y="153458"/>
                            </a:lnTo>
                            <a:lnTo>
                              <a:pt x="214313" y="153458"/>
                            </a:lnTo>
                            <a:lnTo>
                              <a:pt x="214313" y="156104"/>
                            </a:lnTo>
                            <a:lnTo>
                              <a:pt x="214313" y="161396"/>
                            </a:lnTo>
                            <a:lnTo>
                              <a:pt x="214313" y="164042"/>
                            </a:lnTo>
                            <a:lnTo>
                              <a:pt x="211667" y="166687"/>
                            </a:lnTo>
                            <a:lnTo>
                              <a:pt x="206375" y="166687"/>
                            </a:lnTo>
                            <a:lnTo>
                              <a:pt x="201084" y="169333"/>
                            </a:lnTo>
                            <a:lnTo>
                              <a:pt x="198438" y="171979"/>
                            </a:lnTo>
                            <a:lnTo>
                              <a:pt x="193146" y="174625"/>
                            </a:lnTo>
                            <a:lnTo>
                              <a:pt x="185209" y="179917"/>
                            </a:lnTo>
                            <a:lnTo>
                              <a:pt x="182563" y="190500"/>
                            </a:lnTo>
                            <a:lnTo>
                              <a:pt x="179917" y="193146"/>
                            </a:lnTo>
                            <a:lnTo>
                              <a:pt x="177271" y="193146"/>
                            </a:lnTo>
                            <a:lnTo>
                              <a:pt x="174625" y="193146"/>
                            </a:lnTo>
                            <a:lnTo>
                              <a:pt x="169333" y="195792"/>
                            </a:lnTo>
                            <a:lnTo>
                              <a:pt x="156104" y="195792"/>
                            </a:lnTo>
                            <a:lnTo>
                              <a:pt x="148167" y="198437"/>
                            </a:lnTo>
                            <a:lnTo>
                              <a:pt x="140229" y="201083"/>
                            </a:lnTo>
                            <a:lnTo>
                              <a:pt x="132292" y="203729"/>
                            </a:lnTo>
                            <a:lnTo>
                              <a:pt x="127000" y="203729"/>
                            </a:lnTo>
                            <a:lnTo>
                              <a:pt x="121708" y="203729"/>
                            </a:lnTo>
                            <a:lnTo>
                              <a:pt x="108479" y="209021"/>
                            </a:lnTo>
                            <a:lnTo>
                              <a:pt x="100542" y="214312"/>
                            </a:lnTo>
                            <a:lnTo>
                              <a:pt x="95250" y="216958"/>
                            </a:lnTo>
                            <a:lnTo>
                              <a:pt x="89958" y="216958"/>
                            </a:lnTo>
                            <a:lnTo>
                              <a:pt x="87313" y="216958"/>
                            </a:lnTo>
                            <a:lnTo>
                              <a:pt x="84667" y="214312"/>
                            </a:lnTo>
                            <a:lnTo>
                              <a:pt x="79375" y="214312"/>
                            </a:lnTo>
                            <a:lnTo>
                              <a:pt x="76729" y="209021"/>
                            </a:lnTo>
                            <a:lnTo>
                              <a:pt x="79375" y="206375"/>
                            </a:lnTo>
                            <a:lnTo>
                              <a:pt x="79375" y="203729"/>
                            </a:lnTo>
                            <a:lnTo>
                              <a:pt x="76729" y="203729"/>
                            </a:lnTo>
                            <a:lnTo>
                              <a:pt x="74083" y="201083"/>
                            </a:lnTo>
                            <a:lnTo>
                              <a:pt x="76729" y="198437"/>
                            </a:lnTo>
                            <a:lnTo>
                              <a:pt x="74083" y="198437"/>
                            </a:lnTo>
                            <a:lnTo>
                              <a:pt x="68792" y="195792"/>
                            </a:lnTo>
                            <a:lnTo>
                              <a:pt x="63500" y="193146"/>
                            </a:lnTo>
                            <a:lnTo>
                              <a:pt x="58208" y="190500"/>
                            </a:lnTo>
                            <a:lnTo>
                              <a:pt x="55562" y="190500"/>
                            </a:lnTo>
                            <a:lnTo>
                              <a:pt x="55562" y="187854"/>
                            </a:lnTo>
                            <a:lnTo>
                              <a:pt x="47625" y="187854"/>
                            </a:lnTo>
                            <a:lnTo>
                              <a:pt x="39687" y="187854"/>
                            </a:lnTo>
                            <a:lnTo>
                              <a:pt x="34396" y="187854"/>
                            </a:lnTo>
                            <a:lnTo>
                              <a:pt x="31750" y="185208"/>
                            </a:lnTo>
                            <a:lnTo>
                              <a:pt x="29104" y="182562"/>
                            </a:lnTo>
                            <a:lnTo>
                              <a:pt x="29104" y="179917"/>
                            </a:lnTo>
                            <a:lnTo>
                              <a:pt x="31750" y="174625"/>
                            </a:lnTo>
                            <a:lnTo>
                              <a:pt x="37042" y="166687"/>
                            </a:lnTo>
                            <a:lnTo>
                              <a:pt x="39687" y="161396"/>
                            </a:lnTo>
                            <a:lnTo>
                              <a:pt x="39687" y="158750"/>
                            </a:lnTo>
                            <a:lnTo>
                              <a:pt x="37042" y="153458"/>
                            </a:lnTo>
                            <a:lnTo>
                              <a:pt x="34396" y="150812"/>
                            </a:lnTo>
                            <a:lnTo>
                              <a:pt x="34396" y="145521"/>
                            </a:lnTo>
                            <a:lnTo>
                              <a:pt x="39687" y="140229"/>
                            </a:lnTo>
                            <a:lnTo>
                              <a:pt x="42333" y="134937"/>
                            </a:lnTo>
                            <a:lnTo>
                              <a:pt x="39687" y="129646"/>
                            </a:lnTo>
                            <a:lnTo>
                              <a:pt x="34396" y="116417"/>
                            </a:lnTo>
                            <a:lnTo>
                              <a:pt x="31750" y="113771"/>
                            </a:lnTo>
                            <a:lnTo>
                              <a:pt x="34396" y="113771"/>
                            </a:lnTo>
                            <a:lnTo>
                              <a:pt x="42333" y="113771"/>
                            </a:lnTo>
                            <a:lnTo>
                              <a:pt x="44979" y="111125"/>
                            </a:lnTo>
                            <a:lnTo>
                              <a:pt x="44979" y="108479"/>
                            </a:lnTo>
                            <a:lnTo>
                              <a:pt x="47625" y="100542"/>
                            </a:lnTo>
                            <a:lnTo>
                              <a:pt x="47625" y="95250"/>
                            </a:lnTo>
                            <a:lnTo>
                              <a:pt x="44979" y="95250"/>
                            </a:lnTo>
                            <a:lnTo>
                              <a:pt x="44979" y="92604"/>
                            </a:lnTo>
                            <a:lnTo>
                              <a:pt x="47625" y="89958"/>
                            </a:lnTo>
                            <a:lnTo>
                              <a:pt x="47625" y="87312"/>
                            </a:lnTo>
                            <a:lnTo>
                              <a:pt x="47625" y="82021"/>
                            </a:lnTo>
                            <a:lnTo>
                              <a:pt x="44979" y="76729"/>
                            </a:lnTo>
                            <a:lnTo>
                              <a:pt x="47625" y="76729"/>
                            </a:lnTo>
                            <a:lnTo>
                              <a:pt x="50271" y="74083"/>
                            </a:lnTo>
                            <a:lnTo>
                              <a:pt x="52917" y="68792"/>
                            </a:lnTo>
                            <a:lnTo>
                              <a:pt x="55562" y="63500"/>
                            </a:lnTo>
                            <a:lnTo>
                              <a:pt x="60854" y="60854"/>
                            </a:lnTo>
                            <a:lnTo>
                              <a:pt x="60854" y="58208"/>
                            </a:lnTo>
                            <a:lnTo>
                              <a:pt x="58208" y="58208"/>
                            </a:lnTo>
                            <a:lnTo>
                              <a:pt x="58208" y="55563"/>
                            </a:lnTo>
                            <a:lnTo>
                              <a:pt x="55562" y="52917"/>
                            </a:lnTo>
                            <a:lnTo>
                              <a:pt x="52917" y="50271"/>
                            </a:lnTo>
                            <a:lnTo>
                              <a:pt x="47625" y="52917"/>
                            </a:lnTo>
                            <a:lnTo>
                              <a:pt x="44979" y="52917"/>
                            </a:lnTo>
                            <a:lnTo>
                              <a:pt x="42333" y="52917"/>
                            </a:lnTo>
                            <a:lnTo>
                              <a:pt x="37042" y="50271"/>
                            </a:lnTo>
                            <a:lnTo>
                              <a:pt x="29104" y="52917"/>
                            </a:lnTo>
                            <a:lnTo>
                              <a:pt x="26458" y="52917"/>
                            </a:lnTo>
                            <a:lnTo>
                              <a:pt x="26458" y="50271"/>
                            </a:lnTo>
                            <a:lnTo>
                              <a:pt x="26458" y="47625"/>
                            </a:lnTo>
                            <a:lnTo>
                              <a:pt x="26458" y="44979"/>
                            </a:lnTo>
                            <a:lnTo>
                              <a:pt x="18521" y="44979"/>
                            </a:lnTo>
                            <a:lnTo>
                              <a:pt x="13229" y="44979"/>
                            </a:lnTo>
                            <a:lnTo>
                              <a:pt x="7937" y="47625"/>
                            </a:lnTo>
                            <a:lnTo>
                              <a:pt x="5292" y="42333"/>
                            </a:lnTo>
                            <a:lnTo>
                              <a:pt x="7937" y="39688"/>
                            </a:lnTo>
                            <a:lnTo>
                              <a:pt x="13229" y="37042"/>
                            </a:lnTo>
                            <a:lnTo>
                              <a:pt x="10583" y="37042"/>
                            </a:lnTo>
                            <a:lnTo>
                              <a:pt x="7937" y="37042"/>
                            </a:lnTo>
                            <a:lnTo>
                              <a:pt x="7937" y="34396"/>
                            </a:lnTo>
                            <a:lnTo>
                              <a:pt x="7937" y="29104"/>
                            </a:lnTo>
                            <a:lnTo>
                              <a:pt x="5292" y="26458"/>
                            </a:lnTo>
                            <a:lnTo>
                              <a:pt x="2646" y="26458"/>
                            </a:lnTo>
                            <a:lnTo>
                              <a:pt x="5292" y="23813"/>
                            </a:lnTo>
                            <a:lnTo>
                              <a:pt x="5292" y="21167"/>
                            </a:lnTo>
                            <a:lnTo>
                              <a:pt x="2646" y="18521"/>
                            </a:lnTo>
                            <a:lnTo>
                              <a:pt x="0" y="18521"/>
                            </a:lnTo>
                            <a:lnTo>
                              <a:pt x="0" y="15875"/>
                            </a:lnTo>
                            <a:lnTo>
                              <a:pt x="0" y="13229"/>
                            </a:lnTo>
                            <a:lnTo>
                              <a:pt x="7937" y="10583"/>
                            </a:lnTo>
                            <a:lnTo>
                              <a:pt x="10583" y="7937"/>
                            </a:lnTo>
                            <a:lnTo>
                              <a:pt x="15875" y="7937"/>
                            </a:lnTo>
                            <a:lnTo>
                              <a:pt x="18521" y="7937"/>
                            </a:lnTo>
                            <a:lnTo>
                              <a:pt x="23812" y="5292"/>
                            </a:lnTo>
                            <a:lnTo>
                              <a:pt x="21167" y="2646"/>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8" name="Sweden"/>
                      <p:cNvSpPr>
                        <a:spLocks/>
                      </p:cNvSpPr>
                      <p:nvPr/>
                    </p:nvSpPr>
                    <p:spPr bwMode="auto">
                      <a:xfrm>
                        <a:off x="6057852" y="1400149"/>
                        <a:ext cx="294651" cy="327762"/>
                      </a:xfrm>
                      <a:custGeom>
                        <a:avLst/>
                        <a:gdLst/>
                        <a:ahLst/>
                        <a:cxnLst>
                          <a:cxn ang="0">
                            <a:pos x="152" y="8"/>
                          </a:cxn>
                          <a:cxn ang="0">
                            <a:pos x="176" y="18"/>
                          </a:cxn>
                          <a:cxn ang="0">
                            <a:pos x="180" y="24"/>
                          </a:cxn>
                          <a:cxn ang="0">
                            <a:pos x="190" y="36"/>
                          </a:cxn>
                          <a:cxn ang="0">
                            <a:pos x="194" y="46"/>
                          </a:cxn>
                          <a:cxn ang="0">
                            <a:pos x="188" y="50"/>
                          </a:cxn>
                          <a:cxn ang="0">
                            <a:pos x="174" y="48"/>
                          </a:cxn>
                          <a:cxn ang="0">
                            <a:pos x="166" y="52"/>
                          </a:cxn>
                          <a:cxn ang="0">
                            <a:pos x="160" y="58"/>
                          </a:cxn>
                          <a:cxn ang="0">
                            <a:pos x="150" y="74"/>
                          </a:cxn>
                          <a:cxn ang="0">
                            <a:pos x="138" y="80"/>
                          </a:cxn>
                          <a:cxn ang="0">
                            <a:pos x="130" y="84"/>
                          </a:cxn>
                          <a:cxn ang="0">
                            <a:pos x="116" y="86"/>
                          </a:cxn>
                          <a:cxn ang="0">
                            <a:pos x="108" y="90"/>
                          </a:cxn>
                          <a:cxn ang="0">
                            <a:pos x="102" y="92"/>
                          </a:cxn>
                          <a:cxn ang="0">
                            <a:pos x="100" y="108"/>
                          </a:cxn>
                          <a:cxn ang="0">
                            <a:pos x="104" y="126"/>
                          </a:cxn>
                          <a:cxn ang="0">
                            <a:pos x="114" y="126"/>
                          </a:cxn>
                          <a:cxn ang="0">
                            <a:pos x="128" y="134"/>
                          </a:cxn>
                          <a:cxn ang="0">
                            <a:pos x="124" y="140"/>
                          </a:cxn>
                          <a:cxn ang="0">
                            <a:pos x="108" y="138"/>
                          </a:cxn>
                          <a:cxn ang="0">
                            <a:pos x="130" y="140"/>
                          </a:cxn>
                          <a:cxn ang="0">
                            <a:pos x="118" y="150"/>
                          </a:cxn>
                          <a:cxn ang="0">
                            <a:pos x="110" y="148"/>
                          </a:cxn>
                          <a:cxn ang="0">
                            <a:pos x="94" y="152"/>
                          </a:cxn>
                          <a:cxn ang="0">
                            <a:pos x="102" y="158"/>
                          </a:cxn>
                          <a:cxn ang="0">
                            <a:pos x="100" y="164"/>
                          </a:cxn>
                          <a:cxn ang="0">
                            <a:pos x="100" y="176"/>
                          </a:cxn>
                          <a:cxn ang="0">
                            <a:pos x="96" y="192"/>
                          </a:cxn>
                          <a:cxn ang="0">
                            <a:pos x="84" y="202"/>
                          </a:cxn>
                          <a:cxn ang="0">
                            <a:pos x="72" y="202"/>
                          </a:cxn>
                          <a:cxn ang="0">
                            <a:pos x="66" y="210"/>
                          </a:cxn>
                          <a:cxn ang="0">
                            <a:pos x="66" y="214"/>
                          </a:cxn>
                          <a:cxn ang="0">
                            <a:pos x="44" y="216"/>
                          </a:cxn>
                          <a:cxn ang="0">
                            <a:pos x="32" y="200"/>
                          </a:cxn>
                          <a:cxn ang="0">
                            <a:pos x="36" y="196"/>
                          </a:cxn>
                          <a:cxn ang="0">
                            <a:pos x="28" y="188"/>
                          </a:cxn>
                          <a:cxn ang="0">
                            <a:pos x="18" y="174"/>
                          </a:cxn>
                          <a:cxn ang="0">
                            <a:pos x="14" y="168"/>
                          </a:cxn>
                          <a:cxn ang="0">
                            <a:pos x="10" y="164"/>
                          </a:cxn>
                          <a:cxn ang="0">
                            <a:pos x="4" y="156"/>
                          </a:cxn>
                          <a:cxn ang="0">
                            <a:pos x="6" y="152"/>
                          </a:cxn>
                          <a:cxn ang="0">
                            <a:pos x="6" y="144"/>
                          </a:cxn>
                          <a:cxn ang="0">
                            <a:pos x="10" y="136"/>
                          </a:cxn>
                          <a:cxn ang="0">
                            <a:pos x="16" y="116"/>
                          </a:cxn>
                          <a:cxn ang="0">
                            <a:pos x="20" y="108"/>
                          </a:cxn>
                          <a:cxn ang="0">
                            <a:pos x="14" y="96"/>
                          </a:cxn>
                          <a:cxn ang="0">
                            <a:pos x="12" y="80"/>
                          </a:cxn>
                          <a:cxn ang="0">
                            <a:pos x="26" y="68"/>
                          </a:cxn>
                          <a:cxn ang="0">
                            <a:pos x="44" y="60"/>
                          </a:cxn>
                          <a:cxn ang="0">
                            <a:pos x="48" y="44"/>
                          </a:cxn>
                          <a:cxn ang="0">
                            <a:pos x="56" y="36"/>
                          </a:cxn>
                          <a:cxn ang="0">
                            <a:pos x="64" y="30"/>
                          </a:cxn>
                          <a:cxn ang="0">
                            <a:pos x="90" y="10"/>
                          </a:cxn>
                          <a:cxn ang="0">
                            <a:pos x="108" y="10"/>
                          </a:cxn>
                          <a:cxn ang="0">
                            <a:pos x="134" y="0"/>
                          </a:cxn>
                        </a:cxnLst>
                        <a:rect l="0" t="0" r="r" b="b"/>
                        <a:pathLst>
                          <a:path w="194" h="216">
                            <a:moveTo>
                              <a:pt x="134" y="0"/>
                            </a:moveTo>
                            <a:lnTo>
                              <a:pt x="134" y="0"/>
                            </a:lnTo>
                            <a:lnTo>
                              <a:pt x="138" y="4"/>
                            </a:lnTo>
                            <a:lnTo>
                              <a:pt x="142" y="6"/>
                            </a:lnTo>
                            <a:lnTo>
                              <a:pt x="152" y="8"/>
                            </a:lnTo>
                            <a:lnTo>
                              <a:pt x="162" y="8"/>
                            </a:lnTo>
                            <a:lnTo>
                              <a:pt x="170" y="12"/>
                            </a:lnTo>
                            <a:lnTo>
                              <a:pt x="170" y="12"/>
                            </a:lnTo>
                            <a:lnTo>
                              <a:pt x="176" y="16"/>
                            </a:lnTo>
                            <a:lnTo>
                              <a:pt x="176" y="18"/>
                            </a:lnTo>
                            <a:lnTo>
                              <a:pt x="176" y="20"/>
                            </a:lnTo>
                            <a:lnTo>
                              <a:pt x="178" y="22"/>
                            </a:lnTo>
                            <a:lnTo>
                              <a:pt x="178" y="22"/>
                            </a:lnTo>
                            <a:lnTo>
                              <a:pt x="180" y="22"/>
                            </a:lnTo>
                            <a:lnTo>
                              <a:pt x="180" y="24"/>
                            </a:lnTo>
                            <a:lnTo>
                              <a:pt x="180" y="26"/>
                            </a:lnTo>
                            <a:lnTo>
                              <a:pt x="184" y="30"/>
                            </a:lnTo>
                            <a:lnTo>
                              <a:pt x="184" y="30"/>
                            </a:lnTo>
                            <a:lnTo>
                              <a:pt x="188" y="34"/>
                            </a:lnTo>
                            <a:lnTo>
                              <a:pt x="190" y="36"/>
                            </a:lnTo>
                            <a:lnTo>
                              <a:pt x="190" y="40"/>
                            </a:lnTo>
                            <a:lnTo>
                              <a:pt x="190" y="44"/>
                            </a:lnTo>
                            <a:lnTo>
                              <a:pt x="190" y="44"/>
                            </a:lnTo>
                            <a:lnTo>
                              <a:pt x="194" y="46"/>
                            </a:lnTo>
                            <a:lnTo>
                              <a:pt x="194" y="46"/>
                            </a:lnTo>
                            <a:lnTo>
                              <a:pt x="192" y="50"/>
                            </a:lnTo>
                            <a:lnTo>
                              <a:pt x="190" y="50"/>
                            </a:lnTo>
                            <a:lnTo>
                              <a:pt x="188" y="48"/>
                            </a:lnTo>
                            <a:lnTo>
                              <a:pt x="188" y="50"/>
                            </a:lnTo>
                            <a:lnTo>
                              <a:pt x="188" y="50"/>
                            </a:lnTo>
                            <a:lnTo>
                              <a:pt x="186" y="52"/>
                            </a:lnTo>
                            <a:lnTo>
                              <a:pt x="182" y="50"/>
                            </a:lnTo>
                            <a:lnTo>
                              <a:pt x="180" y="48"/>
                            </a:lnTo>
                            <a:lnTo>
                              <a:pt x="174" y="48"/>
                            </a:lnTo>
                            <a:lnTo>
                              <a:pt x="174" y="48"/>
                            </a:lnTo>
                            <a:lnTo>
                              <a:pt x="170" y="48"/>
                            </a:lnTo>
                            <a:lnTo>
                              <a:pt x="168" y="50"/>
                            </a:lnTo>
                            <a:lnTo>
                              <a:pt x="168" y="50"/>
                            </a:lnTo>
                            <a:lnTo>
                              <a:pt x="168" y="52"/>
                            </a:lnTo>
                            <a:lnTo>
                              <a:pt x="166" y="52"/>
                            </a:lnTo>
                            <a:lnTo>
                              <a:pt x="164" y="52"/>
                            </a:lnTo>
                            <a:lnTo>
                              <a:pt x="160" y="54"/>
                            </a:lnTo>
                            <a:lnTo>
                              <a:pt x="160" y="54"/>
                            </a:lnTo>
                            <a:lnTo>
                              <a:pt x="158" y="56"/>
                            </a:lnTo>
                            <a:lnTo>
                              <a:pt x="160" y="58"/>
                            </a:lnTo>
                            <a:lnTo>
                              <a:pt x="162" y="60"/>
                            </a:lnTo>
                            <a:lnTo>
                              <a:pt x="160" y="64"/>
                            </a:lnTo>
                            <a:lnTo>
                              <a:pt x="160" y="64"/>
                            </a:lnTo>
                            <a:lnTo>
                              <a:pt x="154" y="70"/>
                            </a:lnTo>
                            <a:lnTo>
                              <a:pt x="150" y="74"/>
                            </a:lnTo>
                            <a:lnTo>
                              <a:pt x="150" y="74"/>
                            </a:lnTo>
                            <a:lnTo>
                              <a:pt x="148" y="78"/>
                            </a:lnTo>
                            <a:lnTo>
                              <a:pt x="144" y="78"/>
                            </a:lnTo>
                            <a:lnTo>
                              <a:pt x="142" y="78"/>
                            </a:lnTo>
                            <a:lnTo>
                              <a:pt x="138" y="80"/>
                            </a:lnTo>
                            <a:lnTo>
                              <a:pt x="138" y="80"/>
                            </a:lnTo>
                            <a:lnTo>
                              <a:pt x="136" y="82"/>
                            </a:lnTo>
                            <a:lnTo>
                              <a:pt x="134" y="82"/>
                            </a:lnTo>
                            <a:lnTo>
                              <a:pt x="132" y="82"/>
                            </a:lnTo>
                            <a:lnTo>
                              <a:pt x="130" y="84"/>
                            </a:lnTo>
                            <a:lnTo>
                              <a:pt x="130" y="84"/>
                            </a:lnTo>
                            <a:lnTo>
                              <a:pt x="126" y="86"/>
                            </a:lnTo>
                            <a:lnTo>
                              <a:pt x="122" y="86"/>
                            </a:lnTo>
                            <a:lnTo>
                              <a:pt x="120" y="84"/>
                            </a:lnTo>
                            <a:lnTo>
                              <a:pt x="116" y="86"/>
                            </a:lnTo>
                            <a:lnTo>
                              <a:pt x="116" y="86"/>
                            </a:lnTo>
                            <a:lnTo>
                              <a:pt x="112" y="88"/>
                            </a:lnTo>
                            <a:lnTo>
                              <a:pt x="112" y="88"/>
                            </a:lnTo>
                            <a:lnTo>
                              <a:pt x="110" y="88"/>
                            </a:lnTo>
                            <a:lnTo>
                              <a:pt x="108" y="90"/>
                            </a:lnTo>
                            <a:lnTo>
                              <a:pt x="108" y="90"/>
                            </a:lnTo>
                            <a:lnTo>
                              <a:pt x="106" y="92"/>
                            </a:lnTo>
                            <a:lnTo>
                              <a:pt x="104" y="90"/>
                            </a:lnTo>
                            <a:lnTo>
                              <a:pt x="102" y="90"/>
                            </a:lnTo>
                            <a:lnTo>
                              <a:pt x="102" y="92"/>
                            </a:lnTo>
                            <a:lnTo>
                              <a:pt x="102" y="92"/>
                            </a:lnTo>
                            <a:lnTo>
                              <a:pt x="102" y="98"/>
                            </a:lnTo>
                            <a:lnTo>
                              <a:pt x="102" y="102"/>
                            </a:lnTo>
                            <a:lnTo>
                              <a:pt x="100" y="104"/>
                            </a:lnTo>
                            <a:lnTo>
                              <a:pt x="100" y="108"/>
                            </a:lnTo>
                            <a:lnTo>
                              <a:pt x="100" y="108"/>
                            </a:lnTo>
                            <a:lnTo>
                              <a:pt x="100" y="112"/>
                            </a:lnTo>
                            <a:lnTo>
                              <a:pt x="98" y="116"/>
                            </a:lnTo>
                            <a:lnTo>
                              <a:pt x="100" y="120"/>
                            </a:lnTo>
                            <a:lnTo>
                              <a:pt x="104" y="126"/>
                            </a:lnTo>
                            <a:lnTo>
                              <a:pt x="104" y="126"/>
                            </a:lnTo>
                            <a:lnTo>
                              <a:pt x="110" y="128"/>
                            </a:lnTo>
                            <a:lnTo>
                              <a:pt x="112" y="128"/>
                            </a:lnTo>
                            <a:lnTo>
                              <a:pt x="112" y="126"/>
                            </a:lnTo>
                            <a:lnTo>
                              <a:pt x="114" y="126"/>
                            </a:lnTo>
                            <a:lnTo>
                              <a:pt x="114" y="126"/>
                            </a:lnTo>
                            <a:lnTo>
                              <a:pt x="118" y="128"/>
                            </a:lnTo>
                            <a:lnTo>
                              <a:pt x="124" y="132"/>
                            </a:lnTo>
                            <a:lnTo>
                              <a:pt x="124" y="132"/>
                            </a:lnTo>
                            <a:lnTo>
                              <a:pt x="128" y="134"/>
                            </a:lnTo>
                            <a:lnTo>
                              <a:pt x="132" y="136"/>
                            </a:lnTo>
                            <a:lnTo>
                              <a:pt x="132" y="136"/>
                            </a:lnTo>
                            <a:lnTo>
                              <a:pt x="130" y="138"/>
                            </a:lnTo>
                            <a:lnTo>
                              <a:pt x="130" y="138"/>
                            </a:lnTo>
                            <a:lnTo>
                              <a:pt x="124" y="140"/>
                            </a:lnTo>
                            <a:lnTo>
                              <a:pt x="122" y="140"/>
                            </a:lnTo>
                            <a:lnTo>
                              <a:pt x="120" y="140"/>
                            </a:lnTo>
                            <a:lnTo>
                              <a:pt x="120" y="140"/>
                            </a:lnTo>
                            <a:lnTo>
                              <a:pt x="114" y="138"/>
                            </a:lnTo>
                            <a:lnTo>
                              <a:pt x="108" y="138"/>
                            </a:lnTo>
                            <a:lnTo>
                              <a:pt x="108" y="138"/>
                            </a:lnTo>
                            <a:lnTo>
                              <a:pt x="116" y="140"/>
                            </a:lnTo>
                            <a:lnTo>
                              <a:pt x="120" y="142"/>
                            </a:lnTo>
                            <a:lnTo>
                              <a:pt x="122" y="142"/>
                            </a:lnTo>
                            <a:lnTo>
                              <a:pt x="130" y="140"/>
                            </a:lnTo>
                            <a:lnTo>
                              <a:pt x="130" y="140"/>
                            </a:lnTo>
                            <a:lnTo>
                              <a:pt x="126" y="148"/>
                            </a:lnTo>
                            <a:lnTo>
                              <a:pt x="122" y="150"/>
                            </a:lnTo>
                            <a:lnTo>
                              <a:pt x="120" y="148"/>
                            </a:lnTo>
                            <a:lnTo>
                              <a:pt x="118" y="150"/>
                            </a:lnTo>
                            <a:lnTo>
                              <a:pt x="118" y="150"/>
                            </a:lnTo>
                            <a:lnTo>
                              <a:pt x="116" y="152"/>
                            </a:lnTo>
                            <a:lnTo>
                              <a:pt x="116" y="152"/>
                            </a:lnTo>
                            <a:lnTo>
                              <a:pt x="110" y="148"/>
                            </a:lnTo>
                            <a:lnTo>
                              <a:pt x="110" y="148"/>
                            </a:lnTo>
                            <a:lnTo>
                              <a:pt x="112" y="150"/>
                            </a:lnTo>
                            <a:lnTo>
                              <a:pt x="110" y="152"/>
                            </a:lnTo>
                            <a:lnTo>
                              <a:pt x="106" y="154"/>
                            </a:lnTo>
                            <a:lnTo>
                              <a:pt x="100" y="152"/>
                            </a:lnTo>
                            <a:lnTo>
                              <a:pt x="94" y="152"/>
                            </a:lnTo>
                            <a:lnTo>
                              <a:pt x="94" y="152"/>
                            </a:lnTo>
                            <a:lnTo>
                              <a:pt x="102" y="156"/>
                            </a:lnTo>
                            <a:lnTo>
                              <a:pt x="104" y="156"/>
                            </a:lnTo>
                            <a:lnTo>
                              <a:pt x="102" y="158"/>
                            </a:lnTo>
                            <a:lnTo>
                              <a:pt x="102" y="158"/>
                            </a:lnTo>
                            <a:lnTo>
                              <a:pt x="102" y="160"/>
                            </a:lnTo>
                            <a:lnTo>
                              <a:pt x="102" y="160"/>
                            </a:lnTo>
                            <a:lnTo>
                              <a:pt x="102" y="162"/>
                            </a:lnTo>
                            <a:lnTo>
                              <a:pt x="100" y="164"/>
                            </a:lnTo>
                            <a:lnTo>
                              <a:pt x="100" y="164"/>
                            </a:lnTo>
                            <a:lnTo>
                              <a:pt x="98" y="168"/>
                            </a:lnTo>
                            <a:lnTo>
                              <a:pt x="100" y="170"/>
                            </a:lnTo>
                            <a:lnTo>
                              <a:pt x="100" y="174"/>
                            </a:lnTo>
                            <a:lnTo>
                              <a:pt x="100" y="176"/>
                            </a:lnTo>
                            <a:lnTo>
                              <a:pt x="100" y="176"/>
                            </a:lnTo>
                            <a:lnTo>
                              <a:pt x="98" y="180"/>
                            </a:lnTo>
                            <a:lnTo>
                              <a:pt x="98" y="184"/>
                            </a:lnTo>
                            <a:lnTo>
                              <a:pt x="98" y="188"/>
                            </a:lnTo>
                            <a:lnTo>
                              <a:pt x="96" y="192"/>
                            </a:lnTo>
                            <a:lnTo>
                              <a:pt x="96" y="192"/>
                            </a:lnTo>
                            <a:lnTo>
                              <a:pt x="96" y="198"/>
                            </a:lnTo>
                            <a:lnTo>
                              <a:pt x="94" y="200"/>
                            </a:lnTo>
                            <a:lnTo>
                              <a:pt x="88" y="202"/>
                            </a:lnTo>
                            <a:lnTo>
                              <a:pt x="88" y="202"/>
                            </a:lnTo>
                            <a:lnTo>
                              <a:pt x="84" y="202"/>
                            </a:lnTo>
                            <a:lnTo>
                              <a:pt x="80" y="200"/>
                            </a:lnTo>
                            <a:lnTo>
                              <a:pt x="76" y="200"/>
                            </a:lnTo>
                            <a:lnTo>
                              <a:pt x="74" y="202"/>
                            </a:lnTo>
                            <a:lnTo>
                              <a:pt x="74" y="202"/>
                            </a:lnTo>
                            <a:lnTo>
                              <a:pt x="72" y="202"/>
                            </a:lnTo>
                            <a:lnTo>
                              <a:pt x="72" y="202"/>
                            </a:lnTo>
                            <a:lnTo>
                              <a:pt x="70" y="202"/>
                            </a:lnTo>
                            <a:lnTo>
                              <a:pt x="68" y="206"/>
                            </a:lnTo>
                            <a:lnTo>
                              <a:pt x="68" y="206"/>
                            </a:lnTo>
                            <a:lnTo>
                              <a:pt x="66" y="210"/>
                            </a:lnTo>
                            <a:lnTo>
                              <a:pt x="68" y="210"/>
                            </a:lnTo>
                            <a:lnTo>
                              <a:pt x="68" y="212"/>
                            </a:lnTo>
                            <a:lnTo>
                              <a:pt x="68" y="214"/>
                            </a:lnTo>
                            <a:lnTo>
                              <a:pt x="68" y="214"/>
                            </a:lnTo>
                            <a:lnTo>
                              <a:pt x="66" y="214"/>
                            </a:lnTo>
                            <a:lnTo>
                              <a:pt x="60" y="214"/>
                            </a:lnTo>
                            <a:lnTo>
                              <a:pt x="56" y="212"/>
                            </a:lnTo>
                            <a:lnTo>
                              <a:pt x="50" y="214"/>
                            </a:lnTo>
                            <a:lnTo>
                              <a:pt x="50" y="214"/>
                            </a:lnTo>
                            <a:lnTo>
                              <a:pt x="44" y="216"/>
                            </a:lnTo>
                            <a:lnTo>
                              <a:pt x="42" y="214"/>
                            </a:lnTo>
                            <a:lnTo>
                              <a:pt x="40" y="210"/>
                            </a:lnTo>
                            <a:lnTo>
                              <a:pt x="36" y="206"/>
                            </a:lnTo>
                            <a:lnTo>
                              <a:pt x="36" y="206"/>
                            </a:lnTo>
                            <a:lnTo>
                              <a:pt x="32" y="200"/>
                            </a:lnTo>
                            <a:lnTo>
                              <a:pt x="30" y="198"/>
                            </a:lnTo>
                            <a:lnTo>
                              <a:pt x="30" y="198"/>
                            </a:lnTo>
                            <a:lnTo>
                              <a:pt x="34" y="198"/>
                            </a:lnTo>
                            <a:lnTo>
                              <a:pt x="36" y="198"/>
                            </a:lnTo>
                            <a:lnTo>
                              <a:pt x="36" y="196"/>
                            </a:lnTo>
                            <a:lnTo>
                              <a:pt x="34" y="194"/>
                            </a:lnTo>
                            <a:lnTo>
                              <a:pt x="34" y="194"/>
                            </a:lnTo>
                            <a:lnTo>
                              <a:pt x="32" y="192"/>
                            </a:lnTo>
                            <a:lnTo>
                              <a:pt x="28" y="188"/>
                            </a:lnTo>
                            <a:lnTo>
                              <a:pt x="28" y="188"/>
                            </a:lnTo>
                            <a:lnTo>
                              <a:pt x="24" y="186"/>
                            </a:lnTo>
                            <a:lnTo>
                              <a:pt x="22" y="182"/>
                            </a:lnTo>
                            <a:lnTo>
                              <a:pt x="20" y="174"/>
                            </a:lnTo>
                            <a:lnTo>
                              <a:pt x="20" y="174"/>
                            </a:lnTo>
                            <a:lnTo>
                              <a:pt x="18" y="174"/>
                            </a:lnTo>
                            <a:lnTo>
                              <a:pt x="18" y="174"/>
                            </a:lnTo>
                            <a:lnTo>
                              <a:pt x="16" y="174"/>
                            </a:lnTo>
                            <a:lnTo>
                              <a:pt x="16" y="172"/>
                            </a:lnTo>
                            <a:lnTo>
                              <a:pt x="16" y="172"/>
                            </a:lnTo>
                            <a:lnTo>
                              <a:pt x="14" y="168"/>
                            </a:lnTo>
                            <a:lnTo>
                              <a:pt x="12" y="170"/>
                            </a:lnTo>
                            <a:lnTo>
                              <a:pt x="12" y="170"/>
                            </a:lnTo>
                            <a:lnTo>
                              <a:pt x="12" y="166"/>
                            </a:lnTo>
                            <a:lnTo>
                              <a:pt x="12" y="166"/>
                            </a:lnTo>
                            <a:lnTo>
                              <a:pt x="10" y="164"/>
                            </a:lnTo>
                            <a:lnTo>
                              <a:pt x="10" y="164"/>
                            </a:lnTo>
                            <a:lnTo>
                              <a:pt x="8" y="164"/>
                            </a:lnTo>
                            <a:lnTo>
                              <a:pt x="6" y="160"/>
                            </a:lnTo>
                            <a:lnTo>
                              <a:pt x="6" y="160"/>
                            </a:lnTo>
                            <a:lnTo>
                              <a:pt x="4" y="156"/>
                            </a:lnTo>
                            <a:lnTo>
                              <a:pt x="2" y="154"/>
                            </a:lnTo>
                            <a:lnTo>
                              <a:pt x="0" y="152"/>
                            </a:lnTo>
                            <a:lnTo>
                              <a:pt x="4" y="152"/>
                            </a:lnTo>
                            <a:lnTo>
                              <a:pt x="4" y="152"/>
                            </a:lnTo>
                            <a:lnTo>
                              <a:pt x="6" y="152"/>
                            </a:lnTo>
                            <a:lnTo>
                              <a:pt x="8" y="152"/>
                            </a:lnTo>
                            <a:lnTo>
                              <a:pt x="10" y="150"/>
                            </a:lnTo>
                            <a:lnTo>
                              <a:pt x="8" y="146"/>
                            </a:lnTo>
                            <a:lnTo>
                              <a:pt x="8" y="146"/>
                            </a:lnTo>
                            <a:lnTo>
                              <a:pt x="6" y="144"/>
                            </a:lnTo>
                            <a:lnTo>
                              <a:pt x="8" y="142"/>
                            </a:lnTo>
                            <a:lnTo>
                              <a:pt x="8" y="140"/>
                            </a:lnTo>
                            <a:lnTo>
                              <a:pt x="8" y="138"/>
                            </a:lnTo>
                            <a:lnTo>
                              <a:pt x="8" y="138"/>
                            </a:lnTo>
                            <a:lnTo>
                              <a:pt x="10" y="136"/>
                            </a:lnTo>
                            <a:lnTo>
                              <a:pt x="14" y="132"/>
                            </a:lnTo>
                            <a:lnTo>
                              <a:pt x="16" y="130"/>
                            </a:lnTo>
                            <a:lnTo>
                              <a:pt x="18" y="126"/>
                            </a:lnTo>
                            <a:lnTo>
                              <a:pt x="18" y="122"/>
                            </a:lnTo>
                            <a:lnTo>
                              <a:pt x="16" y="116"/>
                            </a:lnTo>
                            <a:lnTo>
                              <a:pt x="16" y="116"/>
                            </a:lnTo>
                            <a:lnTo>
                              <a:pt x="20" y="114"/>
                            </a:lnTo>
                            <a:lnTo>
                              <a:pt x="22" y="110"/>
                            </a:lnTo>
                            <a:lnTo>
                              <a:pt x="22" y="110"/>
                            </a:lnTo>
                            <a:lnTo>
                              <a:pt x="20" y="108"/>
                            </a:lnTo>
                            <a:lnTo>
                              <a:pt x="18" y="106"/>
                            </a:lnTo>
                            <a:lnTo>
                              <a:pt x="16" y="104"/>
                            </a:lnTo>
                            <a:lnTo>
                              <a:pt x="16" y="100"/>
                            </a:lnTo>
                            <a:lnTo>
                              <a:pt x="16" y="100"/>
                            </a:lnTo>
                            <a:lnTo>
                              <a:pt x="14" y="96"/>
                            </a:lnTo>
                            <a:lnTo>
                              <a:pt x="14" y="92"/>
                            </a:lnTo>
                            <a:lnTo>
                              <a:pt x="14" y="86"/>
                            </a:lnTo>
                            <a:lnTo>
                              <a:pt x="14" y="86"/>
                            </a:lnTo>
                            <a:lnTo>
                              <a:pt x="14" y="82"/>
                            </a:lnTo>
                            <a:lnTo>
                              <a:pt x="12" y="80"/>
                            </a:lnTo>
                            <a:lnTo>
                              <a:pt x="12" y="78"/>
                            </a:lnTo>
                            <a:lnTo>
                              <a:pt x="12" y="78"/>
                            </a:lnTo>
                            <a:lnTo>
                              <a:pt x="18" y="76"/>
                            </a:lnTo>
                            <a:lnTo>
                              <a:pt x="22" y="72"/>
                            </a:lnTo>
                            <a:lnTo>
                              <a:pt x="26" y="68"/>
                            </a:lnTo>
                            <a:lnTo>
                              <a:pt x="34" y="66"/>
                            </a:lnTo>
                            <a:lnTo>
                              <a:pt x="34" y="66"/>
                            </a:lnTo>
                            <a:lnTo>
                              <a:pt x="42" y="64"/>
                            </a:lnTo>
                            <a:lnTo>
                              <a:pt x="44" y="62"/>
                            </a:lnTo>
                            <a:lnTo>
                              <a:pt x="44" y="60"/>
                            </a:lnTo>
                            <a:lnTo>
                              <a:pt x="44" y="56"/>
                            </a:lnTo>
                            <a:lnTo>
                              <a:pt x="46" y="52"/>
                            </a:lnTo>
                            <a:lnTo>
                              <a:pt x="46" y="52"/>
                            </a:lnTo>
                            <a:lnTo>
                              <a:pt x="48" y="48"/>
                            </a:lnTo>
                            <a:lnTo>
                              <a:pt x="48" y="44"/>
                            </a:lnTo>
                            <a:lnTo>
                              <a:pt x="48" y="40"/>
                            </a:lnTo>
                            <a:lnTo>
                              <a:pt x="50" y="38"/>
                            </a:lnTo>
                            <a:lnTo>
                              <a:pt x="50" y="38"/>
                            </a:lnTo>
                            <a:lnTo>
                              <a:pt x="52" y="36"/>
                            </a:lnTo>
                            <a:lnTo>
                              <a:pt x="56" y="36"/>
                            </a:lnTo>
                            <a:lnTo>
                              <a:pt x="58" y="36"/>
                            </a:lnTo>
                            <a:lnTo>
                              <a:pt x="62" y="36"/>
                            </a:lnTo>
                            <a:lnTo>
                              <a:pt x="62" y="36"/>
                            </a:lnTo>
                            <a:lnTo>
                              <a:pt x="64" y="34"/>
                            </a:lnTo>
                            <a:lnTo>
                              <a:pt x="64" y="30"/>
                            </a:lnTo>
                            <a:lnTo>
                              <a:pt x="66" y="26"/>
                            </a:lnTo>
                            <a:lnTo>
                              <a:pt x="72" y="20"/>
                            </a:lnTo>
                            <a:lnTo>
                              <a:pt x="72" y="20"/>
                            </a:lnTo>
                            <a:lnTo>
                              <a:pt x="80" y="16"/>
                            </a:lnTo>
                            <a:lnTo>
                              <a:pt x="90" y="10"/>
                            </a:lnTo>
                            <a:lnTo>
                              <a:pt x="90" y="10"/>
                            </a:lnTo>
                            <a:lnTo>
                              <a:pt x="100" y="6"/>
                            </a:lnTo>
                            <a:lnTo>
                              <a:pt x="102" y="6"/>
                            </a:lnTo>
                            <a:lnTo>
                              <a:pt x="104" y="8"/>
                            </a:lnTo>
                            <a:lnTo>
                              <a:pt x="108" y="10"/>
                            </a:lnTo>
                            <a:lnTo>
                              <a:pt x="110" y="10"/>
                            </a:lnTo>
                            <a:lnTo>
                              <a:pt x="114" y="10"/>
                            </a:lnTo>
                            <a:lnTo>
                              <a:pt x="114" y="10"/>
                            </a:lnTo>
                            <a:lnTo>
                              <a:pt x="122" y="6"/>
                            </a:lnTo>
                            <a:lnTo>
                              <a:pt x="134" y="0"/>
                            </a:lnTo>
                            <a:lnTo>
                              <a:pt x="134" y="0"/>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9" name="Norway"/>
                      <p:cNvSpPr>
                        <a:spLocks/>
                      </p:cNvSpPr>
                      <p:nvPr/>
                    </p:nvSpPr>
                    <p:spPr bwMode="auto">
                      <a:xfrm>
                        <a:off x="5901555" y="1348470"/>
                        <a:ext cx="577152" cy="312588"/>
                      </a:xfrm>
                      <a:custGeom>
                        <a:avLst/>
                        <a:gdLst/>
                        <a:ahLst/>
                        <a:cxnLst>
                          <a:cxn ang="0">
                            <a:pos x="96" y="176"/>
                          </a:cxn>
                          <a:cxn ang="0">
                            <a:pos x="94" y="184"/>
                          </a:cxn>
                          <a:cxn ang="0">
                            <a:pos x="80" y="194"/>
                          </a:cxn>
                          <a:cxn ang="0">
                            <a:pos x="60" y="204"/>
                          </a:cxn>
                          <a:cxn ang="0">
                            <a:pos x="34" y="206"/>
                          </a:cxn>
                          <a:cxn ang="0">
                            <a:pos x="18" y="196"/>
                          </a:cxn>
                          <a:cxn ang="0">
                            <a:pos x="14" y="182"/>
                          </a:cxn>
                          <a:cxn ang="0">
                            <a:pos x="26" y="170"/>
                          </a:cxn>
                          <a:cxn ang="0">
                            <a:pos x="6" y="182"/>
                          </a:cxn>
                          <a:cxn ang="0">
                            <a:pos x="16" y="168"/>
                          </a:cxn>
                          <a:cxn ang="0">
                            <a:pos x="10" y="162"/>
                          </a:cxn>
                          <a:cxn ang="0">
                            <a:pos x="0" y="158"/>
                          </a:cxn>
                          <a:cxn ang="0">
                            <a:pos x="2" y="152"/>
                          </a:cxn>
                          <a:cxn ang="0">
                            <a:pos x="16" y="148"/>
                          </a:cxn>
                          <a:cxn ang="0">
                            <a:pos x="36" y="148"/>
                          </a:cxn>
                          <a:cxn ang="0">
                            <a:pos x="24" y="146"/>
                          </a:cxn>
                          <a:cxn ang="0">
                            <a:pos x="6" y="146"/>
                          </a:cxn>
                          <a:cxn ang="0">
                            <a:pos x="6" y="134"/>
                          </a:cxn>
                          <a:cxn ang="0">
                            <a:pos x="34" y="122"/>
                          </a:cxn>
                          <a:cxn ang="0">
                            <a:pos x="52" y="118"/>
                          </a:cxn>
                          <a:cxn ang="0">
                            <a:pos x="70" y="110"/>
                          </a:cxn>
                          <a:cxn ang="0">
                            <a:pos x="90" y="110"/>
                          </a:cxn>
                          <a:cxn ang="0">
                            <a:pos x="90" y="108"/>
                          </a:cxn>
                          <a:cxn ang="0">
                            <a:pos x="90" y="100"/>
                          </a:cxn>
                          <a:cxn ang="0">
                            <a:pos x="108" y="88"/>
                          </a:cxn>
                          <a:cxn ang="0">
                            <a:pos x="126" y="72"/>
                          </a:cxn>
                          <a:cxn ang="0">
                            <a:pos x="134" y="64"/>
                          </a:cxn>
                          <a:cxn ang="0">
                            <a:pos x="148" y="56"/>
                          </a:cxn>
                          <a:cxn ang="0">
                            <a:pos x="166" y="48"/>
                          </a:cxn>
                          <a:cxn ang="0">
                            <a:pos x="182" y="38"/>
                          </a:cxn>
                          <a:cxn ang="0">
                            <a:pos x="196" y="30"/>
                          </a:cxn>
                          <a:cxn ang="0">
                            <a:pos x="220" y="26"/>
                          </a:cxn>
                          <a:cxn ang="0">
                            <a:pos x="242" y="22"/>
                          </a:cxn>
                          <a:cxn ang="0">
                            <a:pos x="260" y="16"/>
                          </a:cxn>
                          <a:cxn ang="0">
                            <a:pos x="290" y="10"/>
                          </a:cxn>
                          <a:cxn ang="0">
                            <a:pos x="310" y="12"/>
                          </a:cxn>
                          <a:cxn ang="0">
                            <a:pos x="320" y="2"/>
                          </a:cxn>
                          <a:cxn ang="0">
                            <a:pos x="324" y="16"/>
                          </a:cxn>
                          <a:cxn ang="0">
                            <a:pos x="336" y="12"/>
                          </a:cxn>
                          <a:cxn ang="0">
                            <a:pos x="348" y="4"/>
                          </a:cxn>
                          <a:cxn ang="0">
                            <a:pos x="354" y="10"/>
                          </a:cxn>
                          <a:cxn ang="0">
                            <a:pos x="372" y="12"/>
                          </a:cxn>
                          <a:cxn ang="0">
                            <a:pos x="364" y="18"/>
                          </a:cxn>
                          <a:cxn ang="0">
                            <a:pos x="368" y="32"/>
                          </a:cxn>
                          <a:cxn ang="0">
                            <a:pos x="360" y="30"/>
                          </a:cxn>
                          <a:cxn ang="0">
                            <a:pos x="350" y="16"/>
                          </a:cxn>
                          <a:cxn ang="0">
                            <a:pos x="330" y="20"/>
                          </a:cxn>
                          <a:cxn ang="0">
                            <a:pos x="312" y="38"/>
                          </a:cxn>
                          <a:cxn ang="0">
                            <a:pos x="292" y="40"/>
                          </a:cxn>
                          <a:cxn ang="0">
                            <a:pos x="248" y="30"/>
                          </a:cxn>
                          <a:cxn ang="0">
                            <a:pos x="240" y="34"/>
                          </a:cxn>
                          <a:cxn ang="0">
                            <a:pos x="208" y="42"/>
                          </a:cxn>
                          <a:cxn ang="0">
                            <a:pos x="170" y="60"/>
                          </a:cxn>
                          <a:cxn ang="0">
                            <a:pos x="154" y="72"/>
                          </a:cxn>
                          <a:cxn ang="0">
                            <a:pos x="148" y="94"/>
                          </a:cxn>
                          <a:cxn ang="0">
                            <a:pos x="116" y="112"/>
                          </a:cxn>
                          <a:cxn ang="0">
                            <a:pos x="120" y="134"/>
                          </a:cxn>
                          <a:cxn ang="0">
                            <a:pos x="120" y="150"/>
                          </a:cxn>
                          <a:cxn ang="0">
                            <a:pos x="112" y="172"/>
                          </a:cxn>
                          <a:cxn ang="0">
                            <a:pos x="110" y="186"/>
                          </a:cxn>
                        </a:cxnLst>
                        <a:rect l="0" t="0" r="r" b="b"/>
                        <a:pathLst>
                          <a:path w="380" h="206">
                            <a:moveTo>
                              <a:pt x="108" y="186"/>
                            </a:moveTo>
                            <a:lnTo>
                              <a:pt x="108" y="186"/>
                            </a:lnTo>
                            <a:lnTo>
                              <a:pt x="104" y="184"/>
                            </a:lnTo>
                            <a:lnTo>
                              <a:pt x="102" y="184"/>
                            </a:lnTo>
                            <a:lnTo>
                              <a:pt x="98" y="186"/>
                            </a:lnTo>
                            <a:lnTo>
                              <a:pt x="98" y="182"/>
                            </a:lnTo>
                            <a:lnTo>
                              <a:pt x="98" y="182"/>
                            </a:lnTo>
                            <a:lnTo>
                              <a:pt x="96" y="176"/>
                            </a:lnTo>
                            <a:lnTo>
                              <a:pt x="96" y="170"/>
                            </a:lnTo>
                            <a:lnTo>
                              <a:pt x="96" y="170"/>
                            </a:lnTo>
                            <a:lnTo>
                              <a:pt x="94" y="176"/>
                            </a:lnTo>
                            <a:lnTo>
                              <a:pt x="94" y="178"/>
                            </a:lnTo>
                            <a:lnTo>
                              <a:pt x="92" y="178"/>
                            </a:lnTo>
                            <a:lnTo>
                              <a:pt x="92" y="178"/>
                            </a:lnTo>
                            <a:lnTo>
                              <a:pt x="94" y="180"/>
                            </a:lnTo>
                            <a:lnTo>
                              <a:pt x="94" y="184"/>
                            </a:lnTo>
                            <a:lnTo>
                              <a:pt x="94" y="186"/>
                            </a:lnTo>
                            <a:lnTo>
                              <a:pt x="90" y="188"/>
                            </a:lnTo>
                            <a:lnTo>
                              <a:pt x="90" y="188"/>
                            </a:lnTo>
                            <a:lnTo>
                              <a:pt x="84" y="188"/>
                            </a:lnTo>
                            <a:lnTo>
                              <a:pt x="80" y="186"/>
                            </a:lnTo>
                            <a:lnTo>
                              <a:pt x="80" y="186"/>
                            </a:lnTo>
                            <a:lnTo>
                              <a:pt x="80" y="190"/>
                            </a:lnTo>
                            <a:lnTo>
                              <a:pt x="80" y="194"/>
                            </a:lnTo>
                            <a:lnTo>
                              <a:pt x="76" y="196"/>
                            </a:lnTo>
                            <a:lnTo>
                              <a:pt x="74" y="198"/>
                            </a:lnTo>
                            <a:lnTo>
                              <a:pt x="74" y="198"/>
                            </a:lnTo>
                            <a:lnTo>
                              <a:pt x="70" y="198"/>
                            </a:lnTo>
                            <a:lnTo>
                              <a:pt x="68" y="200"/>
                            </a:lnTo>
                            <a:lnTo>
                              <a:pt x="64" y="202"/>
                            </a:lnTo>
                            <a:lnTo>
                              <a:pt x="60" y="204"/>
                            </a:lnTo>
                            <a:lnTo>
                              <a:pt x="60" y="204"/>
                            </a:lnTo>
                            <a:lnTo>
                              <a:pt x="54" y="204"/>
                            </a:lnTo>
                            <a:lnTo>
                              <a:pt x="50" y="206"/>
                            </a:lnTo>
                            <a:lnTo>
                              <a:pt x="48" y="206"/>
                            </a:lnTo>
                            <a:lnTo>
                              <a:pt x="44" y="206"/>
                            </a:lnTo>
                            <a:lnTo>
                              <a:pt x="44" y="206"/>
                            </a:lnTo>
                            <a:lnTo>
                              <a:pt x="40" y="204"/>
                            </a:lnTo>
                            <a:lnTo>
                              <a:pt x="36" y="206"/>
                            </a:lnTo>
                            <a:lnTo>
                              <a:pt x="34" y="206"/>
                            </a:lnTo>
                            <a:lnTo>
                              <a:pt x="38" y="204"/>
                            </a:lnTo>
                            <a:lnTo>
                              <a:pt x="38" y="204"/>
                            </a:lnTo>
                            <a:lnTo>
                              <a:pt x="26" y="202"/>
                            </a:lnTo>
                            <a:lnTo>
                              <a:pt x="26" y="200"/>
                            </a:lnTo>
                            <a:lnTo>
                              <a:pt x="30" y="198"/>
                            </a:lnTo>
                            <a:lnTo>
                              <a:pt x="30" y="198"/>
                            </a:lnTo>
                            <a:lnTo>
                              <a:pt x="22" y="198"/>
                            </a:lnTo>
                            <a:lnTo>
                              <a:pt x="18" y="196"/>
                            </a:lnTo>
                            <a:lnTo>
                              <a:pt x="16" y="194"/>
                            </a:lnTo>
                            <a:lnTo>
                              <a:pt x="16" y="194"/>
                            </a:lnTo>
                            <a:lnTo>
                              <a:pt x="14" y="192"/>
                            </a:lnTo>
                            <a:lnTo>
                              <a:pt x="10" y="190"/>
                            </a:lnTo>
                            <a:lnTo>
                              <a:pt x="8" y="188"/>
                            </a:lnTo>
                            <a:lnTo>
                              <a:pt x="10" y="184"/>
                            </a:lnTo>
                            <a:lnTo>
                              <a:pt x="10" y="184"/>
                            </a:lnTo>
                            <a:lnTo>
                              <a:pt x="14" y="182"/>
                            </a:lnTo>
                            <a:lnTo>
                              <a:pt x="16" y="182"/>
                            </a:lnTo>
                            <a:lnTo>
                              <a:pt x="18" y="184"/>
                            </a:lnTo>
                            <a:lnTo>
                              <a:pt x="22" y="184"/>
                            </a:lnTo>
                            <a:lnTo>
                              <a:pt x="22" y="184"/>
                            </a:lnTo>
                            <a:lnTo>
                              <a:pt x="18" y="180"/>
                            </a:lnTo>
                            <a:lnTo>
                              <a:pt x="18" y="178"/>
                            </a:lnTo>
                            <a:lnTo>
                              <a:pt x="26" y="170"/>
                            </a:lnTo>
                            <a:lnTo>
                              <a:pt x="26" y="170"/>
                            </a:lnTo>
                            <a:lnTo>
                              <a:pt x="18" y="174"/>
                            </a:lnTo>
                            <a:lnTo>
                              <a:pt x="16" y="176"/>
                            </a:lnTo>
                            <a:lnTo>
                              <a:pt x="16" y="176"/>
                            </a:lnTo>
                            <a:lnTo>
                              <a:pt x="14" y="178"/>
                            </a:lnTo>
                            <a:lnTo>
                              <a:pt x="14" y="178"/>
                            </a:lnTo>
                            <a:lnTo>
                              <a:pt x="10" y="178"/>
                            </a:lnTo>
                            <a:lnTo>
                              <a:pt x="10" y="176"/>
                            </a:lnTo>
                            <a:lnTo>
                              <a:pt x="6" y="182"/>
                            </a:lnTo>
                            <a:lnTo>
                              <a:pt x="6" y="182"/>
                            </a:lnTo>
                            <a:lnTo>
                              <a:pt x="6" y="170"/>
                            </a:lnTo>
                            <a:lnTo>
                              <a:pt x="8" y="168"/>
                            </a:lnTo>
                            <a:lnTo>
                              <a:pt x="10" y="168"/>
                            </a:lnTo>
                            <a:lnTo>
                              <a:pt x="10" y="168"/>
                            </a:lnTo>
                            <a:lnTo>
                              <a:pt x="12" y="170"/>
                            </a:lnTo>
                            <a:lnTo>
                              <a:pt x="14" y="170"/>
                            </a:lnTo>
                            <a:lnTo>
                              <a:pt x="16" y="168"/>
                            </a:lnTo>
                            <a:lnTo>
                              <a:pt x="16" y="166"/>
                            </a:lnTo>
                            <a:lnTo>
                              <a:pt x="16" y="166"/>
                            </a:lnTo>
                            <a:lnTo>
                              <a:pt x="14" y="166"/>
                            </a:lnTo>
                            <a:lnTo>
                              <a:pt x="12" y="166"/>
                            </a:lnTo>
                            <a:lnTo>
                              <a:pt x="10" y="166"/>
                            </a:lnTo>
                            <a:lnTo>
                              <a:pt x="10" y="164"/>
                            </a:lnTo>
                            <a:lnTo>
                              <a:pt x="10" y="164"/>
                            </a:lnTo>
                            <a:lnTo>
                              <a:pt x="10" y="162"/>
                            </a:lnTo>
                            <a:lnTo>
                              <a:pt x="8" y="164"/>
                            </a:lnTo>
                            <a:lnTo>
                              <a:pt x="8" y="164"/>
                            </a:lnTo>
                            <a:lnTo>
                              <a:pt x="8" y="162"/>
                            </a:lnTo>
                            <a:lnTo>
                              <a:pt x="8" y="162"/>
                            </a:lnTo>
                            <a:lnTo>
                              <a:pt x="4" y="162"/>
                            </a:lnTo>
                            <a:lnTo>
                              <a:pt x="2" y="162"/>
                            </a:lnTo>
                            <a:lnTo>
                              <a:pt x="0" y="158"/>
                            </a:lnTo>
                            <a:lnTo>
                              <a:pt x="0" y="158"/>
                            </a:lnTo>
                            <a:lnTo>
                              <a:pt x="2" y="158"/>
                            </a:lnTo>
                            <a:lnTo>
                              <a:pt x="4" y="158"/>
                            </a:lnTo>
                            <a:lnTo>
                              <a:pt x="6" y="156"/>
                            </a:lnTo>
                            <a:lnTo>
                              <a:pt x="8" y="154"/>
                            </a:lnTo>
                            <a:lnTo>
                              <a:pt x="8" y="154"/>
                            </a:lnTo>
                            <a:lnTo>
                              <a:pt x="2" y="156"/>
                            </a:lnTo>
                            <a:lnTo>
                              <a:pt x="0" y="154"/>
                            </a:lnTo>
                            <a:lnTo>
                              <a:pt x="2" y="152"/>
                            </a:lnTo>
                            <a:lnTo>
                              <a:pt x="2" y="152"/>
                            </a:lnTo>
                            <a:lnTo>
                              <a:pt x="2" y="150"/>
                            </a:lnTo>
                            <a:lnTo>
                              <a:pt x="0" y="150"/>
                            </a:lnTo>
                            <a:lnTo>
                              <a:pt x="0" y="148"/>
                            </a:lnTo>
                            <a:lnTo>
                              <a:pt x="4" y="148"/>
                            </a:lnTo>
                            <a:lnTo>
                              <a:pt x="4" y="148"/>
                            </a:lnTo>
                            <a:lnTo>
                              <a:pt x="12" y="148"/>
                            </a:lnTo>
                            <a:lnTo>
                              <a:pt x="16" y="148"/>
                            </a:lnTo>
                            <a:lnTo>
                              <a:pt x="18" y="148"/>
                            </a:lnTo>
                            <a:lnTo>
                              <a:pt x="18" y="148"/>
                            </a:lnTo>
                            <a:lnTo>
                              <a:pt x="22" y="148"/>
                            </a:lnTo>
                            <a:lnTo>
                              <a:pt x="24" y="148"/>
                            </a:lnTo>
                            <a:lnTo>
                              <a:pt x="26" y="148"/>
                            </a:lnTo>
                            <a:lnTo>
                              <a:pt x="32" y="148"/>
                            </a:lnTo>
                            <a:lnTo>
                              <a:pt x="32" y="148"/>
                            </a:lnTo>
                            <a:lnTo>
                              <a:pt x="36" y="148"/>
                            </a:lnTo>
                            <a:lnTo>
                              <a:pt x="38" y="146"/>
                            </a:lnTo>
                            <a:lnTo>
                              <a:pt x="38" y="144"/>
                            </a:lnTo>
                            <a:lnTo>
                              <a:pt x="38" y="144"/>
                            </a:lnTo>
                            <a:lnTo>
                              <a:pt x="36" y="146"/>
                            </a:lnTo>
                            <a:lnTo>
                              <a:pt x="34" y="146"/>
                            </a:lnTo>
                            <a:lnTo>
                              <a:pt x="28" y="146"/>
                            </a:lnTo>
                            <a:lnTo>
                              <a:pt x="28" y="146"/>
                            </a:lnTo>
                            <a:lnTo>
                              <a:pt x="24" y="146"/>
                            </a:lnTo>
                            <a:lnTo>
                              <a:pt x="22" y="146"/>
                            </a:lnTo>
                            <a:lnTo>
                              <a:pt x="22" y="146"/>
                            </a:lnTo>
                            <a:lnTo>
                              <a:pt x="18" y="146"/>
                            </a:lnTo>
                            <a:lnTo>
                              <a:pt x="18" y="146"/>
                            </a:lnTo>
                            <a:lnTo>
                              <a:pt x="14" y="146"/>
                            </a:lnTo>
                            <a:lnTo>
                              <a:pt x="12" y="146"/>
                            </a:lnTo>
                            <a:lnTo>
                              <a:pt x="6" y="146"/>
                            </a:lnTo>
                            <a:lnTo>
                              <a:pt x="6" y="146"/>
                            </a:lnTo>
                            <a:lnTo>
                              <a:pt x="2" y="146"/>
                            </a:lnTo>
                            <a:lnTo>
                              <a:pt x="0" y="144"/>
                            </a:lnTo>
                            <a:lnTo>
                              <a:pt x="4" y="140"/>
                            </a:lnTo>
                            <a:lnTo>
                              <a:pt x="10" y="140"/>
                            </a:lnTo>
                            <a:lnTo>
                              <a:pt x="10" y="140"/>
                            </a:lnTo>
                            <a:lnTo>
                              <a:pt x="2" y="138"/>
                            </a:lnTo>
                            <a:lnTo>
                              <a:pt x="2" y="136"/>
                            </a:lnTo>
                            <a:lnTo>
                              <a:pt x="6" y="134"/>
                            </a:lnTo>
                            <a:lnTo>
                              <a:pt x="6" y="134"/>
                            </a:lnTo>
                            <a:lnTo>
                              <a:pt x="10" y="132"/>
                            </a:lnTo>
                            <a:lnTo>
                              <a:pt x="14" y="130"/>
                            </a:lnTo>
                            <a:lnTo>
                              <a:pt x="14" y="130"/>
                            </a:lnTo>
                            <a:lnTo>
                              <a:pt x="22" y="126"/>
                            </a:lnTo>
                            <a:lnTo>
                              <a:pt x="28" y="124"/>
                            </a:lnTo>
                            <a:lnTo>
                              <a:pt x="28" y="124"/>
                            </a:lnTo>
                            <a:lnTo>
                              <a:pt x="34" y="122"/>
                            </a:lnTo>
                            <a:lnTo>
                              <a:pt x="40" y="124"/>
                            </a:lnTo>
                            <a:lnTo>
                              <a:pt x="40" y="124"/>
                            </a:lnTo>
                            <a:lnTo>
                              <a:pt x="38" y="118"/>
                            </a:lnTo>
                            <a:lnTo>
                              <a:pt x="42" y="118"/>
                            </a:lnTo>
                            <a:lnTo>
                              <a:pt x="42" y="118"/>
                            </a:lnTo>
                            <a:lnTo>
                              <a:pt x="50" y="116"/>
                            </a:lnTo>
                            <a:lnTo>
                              <a:pt x="52" y="116"/>
                            </a:lnTo>
                            <a:lnTo>
                              <a:pt x="52" y="118"/>
                            </a:lnTo>
                            <a:lnTo>
                              <a:pt x="52" y="118"/>
                            </a:lnTo>
                            <a:lnTo>
                              <a:pt x="54" y="114"/>
                            </a:lnTo>
                            <a:lnTo>
                              <a:pt x="58" y="114"/>
                            </a:lnTo>
                            <a:lnTo>
                              <a:pt x="62" y="112"/>
                            </a:lnTo>
                            <a:lnTo>
                              <a:pt x="66" y="114"/>
                            </a:lnTo>
                            <a:lnTo>
                              <a:pt x="66" y="114"/>
                            </a:lnTo>
                            <a:lnTo>
                              <a:pt x="66" y="110"/>
                            </a:lnTo>
                            <a:lnTo>
                              <a:pt x="70" y="110"/>
                            </a:lnTo>
                            <a:lnTo>
                              <a:pt x="74" y="110"/>
                            </a:lnTo>
                            <a:lnTo>
                              <a:pt x="76" y="112"/>
                            </a:lnTo>
                            <a:lnTo>
                              <a:pt x="76" y="112"/>
                            </a:lnTo>
                            <a:lnTo>
                              <a:pt x="76" y="106"/>
                            </a:lnTo>
                            <a:lnTo>
                              <a:pt x="82" y="110"/>
                            </a:lnTo>
                            <a:lnTo>
                              <a:pt x="82" y="110"/>
                            </a:lnTo>
                            <a:lnTo>
                              <a:pt x="88" y="110"/>
                            </a:lnTo>
                            <a:lnTo>
                              <a:pt x="90" y="110"/>
                            </a:lnTo>
                            <a:lnTo>
                              <a:pt x="92" y="110"/>
                            </a:lnTo>
                            <a:lnTo>
                              <a:pt x="98" y="112"/>
                            </a:lnTo>
                            <a:lnTo>
                              <a:pt x="98" y="112"/>
                            </a:lnTo>
                            <a:lnTo>
                              <a:pt x="96" y="110"/>
                            </a:lnTo>
                            <a:lnTo>
                              <a:pt x="96" y="108"/>
                            </a:lnTo>
                            <a:lnTo>
                              <a:pt x="100" y="106"/>
                            </a:lnTo>
                            <a:lnTo>
                              <a:pt x="100" y="106"/>
                            </a:lnTo>
                            <a:lnTo>
                              <a:pt x="90" y="108"/>
                            </a:lnTo>
                            <a:lnTo>
                              <a:pt x="82" y="106"/>
                            </a:lnTo>
                            <a:lnTo>
                              <a:pt x="82" y="106"/>
                            </a:lnTo>
                            <a:lnTo>
                              <a:pt x="84" y="106"/>
                            </a:lnTo>
                            <a:lnTo>
                              <a:pt x="84" y="104"/>
                            </a:lnTo>
                            <a:lnTo>
                              <a:pt x="84" y="104"/>
                            </a:lnTo>
                            <a:lnTo>
                              <a:pt x="86" y="102"/>
                            </a:lnTo>
                            <a:lnTo>
                              <a:pt x="86" y="102"/>
                            </a:lnTo>
                            <a:lnTo>
                              <a:pt x="90" y="100"/>
                            </a:lnTo>
                            <a:lnTo>
                              <a:pt x="92" y="98"/>
                            </a:lnTo>
                            <a:lnTo>
                              <a:pt x="94" y="98"/>
                            </a:lnTo>
                            <a:lnTo>
                              <a:pt x="96" y="96"/>
                            </a:lnTo>
                            <a:lnTo>
                              <a:pt x="96" y="96"/>
                            </a:lnTo>
                            <a:lnTo>
                              <a:pt x="100" y="94"/>
                            </a:lnTo>
                            <a:lnTo>
                              <a:pt x="106" y="90"/>
                            </a:lnTo>
                            <a:lnTo>
                              <a:pt x="106" y="90"/>
                            </a:lnTo>
                            <a:lnTo>
                              <a:pt x="108" y="88"/>
                            </a:lnTo>
                            <a:lnTo>
                              <a:pt x="110" y="84"/>
                            </a:lnTo>
                            <a:lnTo>
                              <a:pt x="110" y="82"/>
                            </a:lnTo>
                            <a:lnTo>
                              <a:pt x="114" y="82"/>
                            </a:lnTo>
                            <a:lnTo>
                              <a:pt x="114" y="82"/>
                            </a:lnTo>
                            <a:lnTo>
                              <a:pt x="118" y="80"/>
                            </a:lnTo>
                            <a:lnTo>
                              <a:pt x="120" y="76"/>
                            </a:lnTo>
                            <a:lnTo>
                              <a:pt x="124" y="74"/>
                            </a:lnTo>
                            <a:lnTo>
                              <a:pt x="126" y="72"/>
                            </a:lnTo>
                            <a:lnTo>
                              <a:pt x="126" y="72"/>
                            </a:lnTo>
                            <a:lnTo>
                              <a:pt x="130" y="72"/>
                            </a:lnTo>
                            <a:lnTo>
                              <a:pt x="130" y="70"/>
                            </a:lnTo>
                            <a:lnTo>
                              <a:pt x="130" y="68"/>
                            </a:lnTo>
                            <a:lnTo>
                              <a:pt x="132" y="68"/>
                            </a:lnTo>
                            <a:lnTo>
                              <a:pt x="132" y="68"/>
                            </a:lnTo>
                            <a:lnTo>
                              <a:pt x="134" y="66"/>
                            </a:lnTo>
                            <a:lnTo>
                              <a:pt x="134" y="64"/>
                            </a:lnTo>
                            <a:lnTo>
                              <a:pt x="136" y="62"/>
                            </a:lnTo>
                            <a:lnTo>
                              <a:pt x="138" y="62"/>
                            </a:lnTo>
                            <a:lnTo>
                              <a:pt x="138" y="62"/>
                            </a:lnTo>
                            <a:lnTo>
                              <a:pt x="142" y="60"/>
                            </a:lnTo>
                            <a:lnTo>
                              <a:pt x="144" y="58"/>
                            </a:lnTo>
                            <a:lnTo>
                              <a:pt x="146" y="56"/>
                            </a:lnTo>
                            <a:lnTo>
                              <a:pt x="148" y="56"/>
                            </a:lnTo>
                            <a:lnTo>
                              <a:pt x="148" y="56"/>
                            </a:lnTo>
                            <a:lnTo>
                              <a:pt x="150" y="56"/>
                            </a:lnTo>
                            <a:lnTo>
                              <a:pt x="152" y="54"/>
                            </a:lnTo>
                            <a:lnTo>
                              <a:pt x="154" y="52"/>
                            </a:lnTo>
                            <a:lnTo>
                              <a:pt x="160" y="52"/>
                            </a:lnTo>
                            <a:lnTo>
                              <a:pt x="160" y="52"/>
                            </a:lnTo>
                            <a:lnTo>
                              <a:pt x="164" y="52"/>
                            </a:lnTo>
                            <a:lnTo>
                              <a:pt x="166" y="50"/>
                            </a:lnTo>
                            <a:lnTo>
                              <a:pt x="166" y="48"/>
                            </a:lnTo>
                            <a:lnTo>
                              <a:pt x="168" y="48"/>
                            </a:lnTo>
                            <a:lnTo>
                              <a:pt x="168" y="48"/>
                            </a:lnTo>
                            <a:lnTo>
                              <a:pt x="172" y="46"/>
                            </a:lnTo>
                            <a:lnTo>
                              <a:pt x="172" y="44"/>
                            </a:lnTo>
                            <a:lnTo>
                              <a:pt x="174" y="42"/>
                            </a:lnTo>
                            <a:lnTo>
                              <a:pt x="178" y="40"/>
                            </a:lnTo>
                            <a:lnTo>
                              <a:pt x="178" y="40"/>
                            </a:lnTo>
                            <a:lnTo>
                              <a:pt x="182" y="38"/>
                            </a:lnTo>
                            <a:lnTo>
                              <a:pt x="184" y="38"/>
                            </a:lnTo>
                            <a:lnTo>
                              <a:pt x="186" y="36"/>
                            </a:lnTo>
                            <a:lnTo>
                              <a:pt x="188" y="36"/>
                            </a:lnTo>
                            <a:lnTo>
                              <a:pt x="188" y="36"/>
                            </a:lnTo>
                            <a:lnTo>
                              <a:pt x="192" y="34"/>
                            </a:lnTo>
                            <a:lnTo>
                              <a:pt x="192" y="32"/>
                            </a:lnTo>
                            <a:lnTo>
                              <a:pt x="194" y="30"/>
                            </a:lnTo>
                            <a:lnTo>
                              <a:pt x="196" y="30"/>
                            </a:lnTo>
                            <a:lnTo>
                              <a:pt x="196" y="30"/>
                            </a:lnTo>
                            <a:lnTo>
                              <a:pt x="200" y="30"/>
                            </a:lnTo>
                            <a:lnTo>
                              <a:pt x="206" y="28"/>
                            </a:lnTo>
                            <a:lnTo>
                              <a:pt x="210" y="26"/>
                            </a:lnTo>
                            <a:lnTo>
                              <a:pt x="214" y="26"/>
                            </a:lnTo>
                            <a:lnTo>
                              <a:pt x="214" y="26"/>
                            </a:lnTo>
                            <a:lnTo>
                              <a:pt x="218" y="26"/>
                            </a:lnTo>
                            <a:lnTo>
                              <a:pt x="220" y="26"/>
                            </a:lnTo>
                            <a:lnTo>
                              <a:pt x="224" y="24"/>
                            </a:lnTo>
                            <a:lnTo>
                              <a:pt x="228" y="24"/>
                            </a:lnTo>
                            <a:lnTo>
                              <a:pt x="228" y="24"/>
                            </a:lnTo>
                            <a:lnTo>
                              <a:pt x="232" y="24"/>
                            </a:lnTo>
                            <a:lnTo>
                              <a:pt x="234" y="24"/>
                            </a:lnTo>
                            <a:lnTo>
                              <a:pt x="238" y="22"/>
                            </a:lnTo>
                            <a:lnTo>
                              <a:pt x="242" y="22"/>
                            </a:lnTo>
                            <a:lnTo>
                              <a:pt x="242" y="22"/>
                            </a:lnTo>
                            <a:lnTo>
                              <a:pt x="248" y="22"/>
                            </a:lnTo>
                            <a:lnTo>
                              <a:pt x="248" y="20"/>
                            </a:lnTo>
                            <a:lnTo>
                              <a:pt x="248" y="18"/>
                            </a:lnTo>
                            <a:lnTo>
                              <a:pt x="252" y="18"/>
                            </a:lnTo>
                            <a:lnTo>
                              <a:pt x="252" y="18"/>
                            </a:lnTo>
                            <a:lnTo>
                              <a:pt x="256" y="18"/>
                            </a:lnTo>
                            <a:lnTo>
                              <a:pt x="258" y="16"/>
                            </a:lnTo>
                            <a:lnTo>
                              <a:pt x="260" y="16"/>
                            </a:lnTo>
                            <a:lnTo>
                              <a:pt x="264" y="16"/>
                            </a:lnTo>
                            <a:lnTo>
                              <a:pt x="264" y="16"/>
                            </a:lnTo>
                            <a:lnTo>
                              <a:pt x="268" y="16"/>
                            </a:lnTo>
                            <a:lnTo>
                              <a:pt x="276" y="16"/>
                            </a:lnTo>
                            <a:lnTo>
                              <a:pt x="276" y="16"/>
                            </a:lnTo>
                            <a:lnTo>
                              <a:pt x="282" y="14"/>
                            </a:lnTo>
                            <a:lnTo>
                              <a:pt x="286" y="12"/>
                            </a:lnTo>
                            <a:lnTo>
                              <a:pt x="290" y="10"/>
                            </a:lnTo>
                            <a:lnTo>
                              <a:pt x="294" y="14"/>
                            </a:lnTo>
                            <a:lnTo>
                              <a:pt x="294" y="14"/>
                            </a:lnTo>
                            <a:lnTo>
                              <a:pt x="298" y="10"/>
                            </a:lnTo>
                            <a:lnTo>
                              <a:pt x="300" y="8"/>
                            </a:lnTo>
                            <a:lnTo>
                              <a:pt x="304" y="10"/>
                            </a:lnTo>
                            <a:lnTo>
                              <a:pt x="308" y="16"/>
                            </a:lnTo>
                            <a:lnTo>
                              <a:pt x="308" y="16"/>
                            </a:lnTo>
                            <a:lnTo>
                              <a:pt x="310" y="12"/>
                            </a:lnTo>
                            <a:lnTo>
                              <a:pt x="310" y="10"/>
                            </a:lnTo>
                            <a:lnTo>
                              <a:pt x="308" y="8"/>
                            </a:lnTo>
                            <a:lnTo>
                              <a:pt x="306" y="6"/>
                            </a:lnTo>
                            <a:lnTo>
                              <a:pt x="310" y="4"/>
                            </a:lnTo>
                            <a:lnTo>
                              <a:pt x="310" y="4"/>
                            </a:lnTo>
                            <a:lnTo>
                              <a:pt x="316" y="0"/>
                            </a:lnTo>
                            <a:lnTo>
                              <a:pt x="318" y="2"/>
                            </a:lnTo>
                            <a:lnTo>
                              <a:pt x="320" y="2"/>
                            </a:lnTo>
                            <a:lnTo>
                              <a:pt x="324" y="2"/>
                            </a:lnTo>
                            <a:lnTo>
                              <a:pt x="324" y="2"/>
                            </a:lnTo>
                            <a:lnTo>
                              <a:pt x="326" y="2"/>
                            </a:lnTo>
                            <a:lnTo>
                              <a:pt x="326" y="4"/>
                            </a:lnTo>
                            <a:lnTo>
                              <a:pt x="324" y="10"/>
                            </a:lnTo>
                            <a:lnTo>
                              <a:pt x="320" y="16"/>
                            </a:lnTo>
                            <a:lnTo>
                              <a:pt x="322" y="16"/>
                            </a:lnTo>
                            <a:lnTo>
                              <a:pt x="324" y="16"/>
                            </a:lnTo>
                            <a:lnTo>
                              <a:pt x="324" y="16"/>
                            </a:lnTo>
                            <a:lnTo>
                              <a:pt x="330" y="12"/>
                            </a:lnTo>
                            <a:lnTo>
                              <a:pt x="332" y="8"/>
                            </a:lnTo>
                            <a:lnTo>
                              <a:pt x="334" y="6"/>
                            </a:lnTo>
                            <a:lnTo>
                              <a:pt x="336" y="4"/>
                            </a:lnTo>
                            <a:lnTo>
                              <a:pt x="336" y="4"/>
                            </a:lnTo>
                            <a:lnTo>
                              <a:pt x="336" y="8"/>
                            </a:lnTo>
                            <a:lnTo>
                              <a:pt x="336" y="12"/>
                            </a:lnTo>
                            <a:lnTo>
                              <a:pt x="338" y="12"/>
                            </a:lnTo>
                            <a:lnTo>
                              <a:pt x="338" y="12"/>
                            </a:lnTo>
                            <a:lnTo>
                              <a:pt x="340" y="10"/>
                            </a:lnTo>
                            <a:lnTo>
                              <a:pt x="340" y="6"/>
                            </a:lnTo>
                            <a:lnTo>
                              <a:pt x="342" y="4"/>
                            </a:lnTo>
                            <a:lnTo>
                              <a:pt x="346" y="4"/>
                            </a:lnTo>
                            <a:lnTo>
                              <a:pt x="346" y="4"/>
                            </a:lnTo>
                            <a:lnTo>
                              <a:pt x="348" y="4"/>
                            </a:lnTo>
                            <a:lnTo>
                              <a:pt x="350" y="6"/>
                            </a:lnTo>
                            <a:lnTo>
                              <a:pt x="350" y="8"/>
                            </a:lnTo>
                            <a:lnTo>
                              <a:pt x="348" y="10"/>
                            </a:lnTo>
                            <a:lnTo>
                              <a:pt x="348" y="10"/>
                            </a:lnTo>
                            <a:lnTo>
                              <a:pt x="348" y="10"/>
                            </a:lnTo>
                            <a:lnTo>
                              <a:pt x="352" y="10"/>
                            </a:lnTo>
                            <a:lnTo>
                              <a:pt x="352" y="10"/>
                            </a:lnTo>
                            <a:lnTo>
                              <a:pt x="354" y="10"/>
                            </a:lnTo>
                            <a:lnTo>
                              <a:pt x="356" y="10"/>
                            </a:lnTo>
                            <a:lnTo>
                              <a:pt x="356" y="10"/>
                            </a:lnTo>
                            <a:lnTo>
                              <a:pt x="360" y="8"/>
                            </a:lnTo>
                            <a:lnTo>
                              <a:pt x="362" y="8"/>
                            </a:lnTo>
                            <a:lnTo>
                              <a:pt x="364" y="10"/>
                            </a:lnTo>
                            <a:lnTo>
                              <a:pt x="366" y="12"/>
                            </a:lnTo>
                            <a:lnTo>
                              <a:pt x="366" y="12"/>
                            </a:lnTo>
                            <a:lnTo>
                              <a:pt x="372" y="12"/>
                            </a:lnTo>
                            <a:lnTo>
                              <a:pt x="376" y="12"/>
                            </a:lnTo>
                            <a:lnTo>
                              <a:pt x="380" y="16"/>
                            </a:lnTo>
                            <a:lnTo>
                              <a:pt x="380" y="16"/>
                            </a:lnTo>
                            <a:lnTo>
                              <a:pt x="380" y="18"/>
                            </a:lnTo>
                            <a:lnTo>
                              <a:pt x="378" y="18"/>
                            </a:lnTo>
                            <a:lnTo>
                              <a:pt x="372" y="18"/>
                            </a:lnTo>
                            <a:lnTo>
                              <a:pt x="364" y="18"/>
                            </a:lnTo>
                            <a:lnTo>
                              <a:pt x="364" y="18"/>
                            </a:lnTo>
                            <a:lnTo>
                              <a:pt x="378" y="22"/>
                            </a:lnTo>
                            <a:lnTo>
                              <a:pt x="378" y="22"/>
                            </a:lnTo>
                            <a:lnTo>
                              <a:pt x="378" y="26"/>
                            </a:lnTo>
                            <a:lnTo>
                              <a:pt x="376" y="26"/>
                            </a:lnTo>
                            <a:lnTo>
                              <a:pt x="374" y="26"/>
                            </a:lnTo>
                            <a:lnTo>
                              <a:pt x="372" y="26"/>
                            </a:lnTo>
                            <a:lnTo>
                              <a:pt x="372" y="26"/>
                            </a:lnTo>
                            <a:lnTo>
                              <a:pt x="368" y="32"/>
                            </a:lnTo>
                            <a:lnTo>
                              <a:pt x="366" y="36"/>
                            </a:lnTo>
                            <a:lnTo>
                              <a:pt x="364" y="40"/>
                            </a:lnTo>
                            <a:lnTo>
                              <a:pt x="364" y="40"/>
                            </a:lnTo>
                            <a:lnTo>
                              <a:pt x="362" y="36"/>
                            </a:lnTo>
                            <a:lnTo>
                              <a:pt x="362" y="34"/>
                            </a:lnTo>
                            <a:lnTo>
                              <a:pt x="360" y="32"/>
                            </a:lnTo>
                            <a:lnTo>
                              <a:pt x="360" y="32"/>
                            </a:lnTo>
                            <a:lnTo>
                              <a:pt x="360" y="30"/>
                            </a:lnTo>
                            <a:lnTo>
                              <a:pt x="362" y="26"/>
                            </a:lnTo>
                            <a:lnTo>
                              <a:pt x="362" y="24"/>
                            </a:lnTo>
                            <a:lnTo>
                              <a:pt x="360" y="22"/>
                            </a:lnTo>
                            <a:lnTo>
                              <a:pt x="360" y="22"/>
                            </a:lnTo>
                            <a:lnTo>
                              <a:pt x="354" y="20"/>
                            </a:lnTo>
                            <a:lnTo>
                              <a:pt x="350" y="18"/>
                            </a:lnTo>
                            <a:lnTo>
                              <a:pt x="350" y="16"/>
                            </a:lnTo>
                            <a:lnTo>
                              <a:pt x="350" y="16"/>
                            </a:lnTo>
                            <a:lnTo>
                              <a:pt x="348" y="14"/>
                            </a:lnTo>
                            <a:lnTo>
                              <a:pt x="346" y="14"/>
                            </a:lnTo>
                            <a:lnTo>
                              <a:pt x="340" y="16"/>
                            </a:lnTo>
                            <a:lnTo>
                              <a:pt x="340" y="16"/>
                            </a:lnTo>
                            <a:lnTo>
                              <a:pt x="334" y="18"/>
                            </a:lnTo>
                            <a:lnTo>
                              <a:pt x="332" y="18"/>
                            </a:lnTo>
                            <a:lnTo>
                              <a:pt x="330" y="20"/>
                            </a:lnTo>
                            <a:lnTo>
                              <a:pt x="330" y="20"/>
                            </a:lnTo>
                            <a:lnTo>
                              <a:pt x="322" y="26"/>
                            </a:lnTo>
                            <a:lnTo>
                              <a:pt x="318" y="28"/>
                            </a:lnTo>
                            <a:lnTo>
                              <a:pt x="320" y="32"/>
                            </a:lnTo>
                            <a:lnTo>
                              <a:pt x="320" y="32"/>
                            </a:lnTo>
                            <a:lnTo>
                              <a:pt x="320" y="34"/>
                            </a:lnTo>
                            <a:lnTo>
                              <a:pt x="318" y="36"/>
                            </a:lnTo>
                            <a:lnTo>
                              <a:pt x="318" y="36"/>
                            </a:lnTo>
                            <a:lnTo>
                              <a:pt x="312" y="38"/>
                            </a:lnTo>
                            <a:lnTo>
                              <a:pt x="310" y="44"/>
                            </a:lnTo>
                            <a:lnTo>
                              <a:pt x="310" y="44"/>
                            </a:lnTo>
                            <a:lnTo>
                              <a:pt x="306" y="46"/>
                            </a:lnTo>
                            <a:lnTo>
                              <a:pt x="304" y="44"/>
                            </a:lnTo>
                            <a:lnTo>
                              <a:pt x="296" y="38"/>
                            </a:lnTo>
                            <a:lnTo>
                              <a:pt x="296" y="38"/>
                            </a:lnTo>
                            <a:lnTo>
                              <a:pt x="294" y="36"/>
                            </a:lnTo>
                            <a:lnTo>
                              <a:pt x="292" y="40"/>
                            </a:lnTo>
                            <a:lnTo>
                              <a:pt x="292" y="40"/>
                            </a:lnTo>
                            <a:lnTo>
                              <a:pt x="290" y="40"/>
                            </a:lnTo>
                            <a:lnTo>
                              <a:pt x="284" y="40"/>
                            </a:lnTo>
                            <a:lnTo>
                              <a:pt x="274" y="38"/>
                            </a:lnTo>
                            <a:lnTo>
                              <a:pt x="274" y="38"/>
                            </a:lnTo>
                            <a:lnTo>
                              <a:pt x="258" y="34"/>
                            </a:lnTo>
                            <a:lnTo>
                              <a:pt x="252" y="32"/>
                            </a:lnTo>
                            <a:lnTo>
                              <a:pt x="248" y="30"/>
                            </a:lnTo>
                            <a:lnTo>
                              <a:pt x="248" y="30"/>
                            </a:lnTo>
                            <a:lnTo>
                              <a:pt x="246" y="28"/>
                            </a:lnTo>
                            <a:lnTo>
                              <a:pt x="244" y="28"/>
                            </a:lnTo>
                            <a:lnTo>
                              <a:pt x="240" y="30"/>
                            </a:lnTo>
                            <a:lnTo>
                              <a:pt x="240" y="30"/>
                            </a:lnTo>
                            <a:lnTo>
                              <a:pt x="240" y="32"/>
                            </a:lnTo>
                            <a:lnTo>
                              <a:pt x="240" y="32"/>
                            </a:lnTo>
                            <a:lnTo>
                              <a:pt x="240" y="34"/>
                            </a:lnTo>
                            <a:lnTo>
                              <a:pt x="238" y="34"/>
                            </a:lnTo>
                            <a:lnTo>
                              <a:pt x="238" y="34"/>
                            </a:lnTo>
                            <a:lnTo>
                              <a:pt x="226" y="40"/>
                            </a:lnTo>
                            <a:lnTo>
                              <a:pt x="218" y="44"/>
                            </a:lnTo>
                            <a:lnTo>
                              <a:pt x="218" y="44"/>
                            </a:lnTo>
                            <a:lnTo>
                              <a:pt x="214" y="44"/>
                            </a:lnTo>
                            <a:lnTo>
                              <a:pt x="212" y="44"/>
                            </a:lnTo>
                            <a:lnTo>
                              <a:pt x="208" y="42"/>
                            </a:lnTo>
                            <a:lnTo>
                              <a:pt x="206" y="40"/>
                            </a:lnTo>
                            <a:lnTo>
                              <a:pt x="204" y="40"/>
                            </a:lnTo>
                            <a:lnTo>
                              <a:pt x="194" y="44"/>
                            </a:lnTo>
                            <a:lnTo>
                              <a:pt x="194" y="44"/>
                            </a:lnTo>
                            <a:lnTo>
                              <a:pt x="184" y="50"/>
                            </a:lnTo>
                            <a:lnTo>
                              <a:pt x="176" y="54"/>
                            </a:lnTo>
                            <a:lnTo>
                              <a:pt x="176" y="54"/>
                            </a:lnTo>
                            <a:lnTo>
                              <a:pt x="170" y="60"/>
                            </a:lnTo>
                            <a:lnTo>
                              <a:pt x="168" y="64"/>
                            </a:lnTo>
                            <a:lnTo>
                              <a:pt x="168" y="68"/>
                            </a:lnTo>
                            <a:lnTo>
                              <a:pt x="166" y="70"/>
                            </a:lnTo>
                            <a:lnTo>
                              <a:pt x="166" y="70"/>
                            </a:lnTo>
                            <a:lnTo>
                              <a:pt x="162" y="70"/>
                            </a:lnTo>
                            <a:lnTo>
                              <a:pt x="160" y="70"/>
                            </a:lnTo>
                            <a:lnTo>
                              <a:pt x="156" y="70"/>
                            </a:lnTo>
                            <a:lnTo>
                              <a:pt x="154" y="72"/>
                            </a:lnTo>
                            <a:lnTo>
                              <a:pt x="154" y="72"/>
                            </a:lnTo>
                            <a:lnTo>
                              <a:pt x="152" y="74"/>
                            </a:lnTo>
                            <a:lnTo>
                              <a:pt x="152" y="78"/>
                            </a:lnTo>
                            <a:lnTo>
                              <a:pt x="152" y="82"/>
                            </a:lnTo>
                            <a:lnTo>
                              <a:pt x="150" y="86"/>
                            </a:lnTo>
                            <a:lnTo>
                              <a:pt x="150" y="86"/>
                            </a:lnTo>
                            <a:lnTo>
                              <a:pt x="148" y="90"/>
                            </a:lnTo>
                            <a:lnTo>
                              <a:pt x="148" y="94"/>
                            </a:lnTo>
                            <a:lnTo>
                              <a:pt x="148" y="96"/>
                            </a:lnTo>
                            <a:lnTo>
                              <a:pt x="146" y="98"/>
                            </a:lnTo>
                            <a:lnTo>
                              <a:pt x="138" y="100"/>
                            </a:lnTo>
                            <a:lnTo>
                              <a:pt x="138" y="100"/>
                            </a:lnTo>
                            <a:lnTo>
                              <a:pt x="130" y="102"/>
                            </a:lnTo>
                            <a:lnTo>
                              <a:pt x="126" y="106"/>
                            </a:lnTo>
                            <a:lnTo>
                              <a:pt x="122" y="110"/>
                            </a:lnTo>
                            <a:lnTo>
                              <a:pt x="116" y="112"/>
                            </a:lnTo>
                            <a:lnTo>
                              <a:pt x="116" y="112"/>
                            </a:lnTo>
                            <a:lnTo>
                              <a:pt x="116" y="114"/>
                            </a:lnTo>
                            <a:lnTo>
                              <a:pt x="118" y="116"/>
                            </a:lnTo>
                            <a:lnTo>
                              <a:pt x="118" y="120"/>
                            </a:lnTo>
                            <a:lnTo>
                              <a:pt x="118" y="120"/>
                            </a:lnTo>
                            <a:lnTo>
                              <a:pt x="118" y="126"/>
                            </a:lnTo>
                            <a:lnTo>
                              <a:pt x="118" y="130"/>
                            </a:lnTo>
                            <a:lnTo>
                              <a:pt x="120" y="134"/>
                            </a:lnTo>
                            <a:lnTo>
                              <a:pt x="120" y="134"/>
                            </a:lnTo>
                            <a:lnTo>
                              <a:pt x="120" y="138"/>
                            </a:lnTo>
                            <a:lnTo>
                              <a:pt x="122" y="140"/>
                            </a:lnTo>
                            <a:lnTo>
                              <a:pt x="124" y="142"/>
                            </a:lnTo>
                            <a:lnTo>
                              <a:pt x="126" y="144"/>
                            </a:lnTo>
                            <a:lnTo>
                              <a:pt x="126" y="144"/>
                            </a:lnTo>
                            <a:lnTo>
                              <a:pt x="124" y="148"/>
                            </a:lnTo>
                            <a:lnTo>
                              <a:pt x="120" y="150"/>
                            </a:lnTo>
                            <a:lnTo>
                              <a:pt x="120" y="150"/>
                            </a:lnTo>
                            <a:lnTo>
                              <a:pt x="122" y="156"/>
                            </a:lnTo>
                            <a:lnTo>
                              <a:pt x="122" y="160"/>
                            </a:lnTo>
                            <a:lnTo>
                              <a:pt x="120" y="164"/>
                            </a:lnTo>
                            <a:lnTo>
                              <a:pt x="118" y="166"/>
                            </a:lnTo>
                            <a:lnTo>
                              <a:pt x="114" y="170"/>
                            </a:lnTo>
                            <a:lnTo>
                              <a:pt x="112" y="172"/>
                            </a:lnTo>
                            <a:lnTo>
                              <a:pt x="112" y="172"/>
                            </a:lnTo>
                            <a:lnTo>
                              <a:pt x="112" y="174"/>
                            </a:lnTo>
                            <a:lnTo>
                              <a:pt x="112" y="176"/>
                            </a:lnTo>
                            <a:lnTo>
                              <a:pt x="110" y="178"/>
                            </a:lnTo>
                            <a:lnTo>
                              <a:pt x="112" y="180"/>
                            </a:lnTo>
                            <a:lnTo>
                              <a:pt x="112" y="180"/>
                            </a:lnTo>
                            <a:lnTo>
                              <a:pt x="114" y="184"/>
                            </a:lnTo>
                            <a:lnTo>
                              <a:pt x="112" y="186"/>
                            </a:lnTo>
                            <a:lnTo>
                              <a:pt x="110" y="186"/>
                            </a:lnTo>
                            <a:lnTo>
                              <a:pt x="108" y="186"/>
                            </a:lnTo>
                            <a:lnTo>
                              <a:pt x="108" y="186"/>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2" name="United Kingdom"/>
                      <p:cNvSpPr>
                        <a:spLocks/>
                      </p:cNvSpPr>
                      <p:nvPr/>
                    </p:nvSpPr>
                    <p:spPr bwMode="auto">
                      <a:xfrm>
                        <a:off x="5590936" y="1636780"/>
                        <a:ext cx="230862" cy="233682"/>
                      </a:xfrm>
                      <a:custGeom>
                        <a:avLst/>
                        <a:gdLst/>
                        <a:ahLst/>
                        <a:cxnLst/>
                        <a:rect l="l" t="t" r="r" b="b"/>
                        <a:pathLst>
                          <a:path w="201084" h="203729">
                            <a:moveTo>
                              <a:pt x="31750" y="76729"/>
                            </a:moveTo>
                            <a:lnTo>
                              <a:pt x="37042" y="76729"/>
                            </a:lnTo>
                            <a:lnTo>
                              <a:pt x="39688" y="79375"/>
                            </a:lnTo>
                            <a:lnTo>
                              <a:pt x="42334" y="79375"/>
                            </a:lnTo>
                            <a:lnTo>
                              <a:pt x="42334" y="82021"/>
                            </a:lnTo>
                            <a:lnTo>
                              <a:pt x="42334" y="84667"/>
                            </a:lnTo>
                            <a:lnTo>
                              <a:pt x="47625" y="87312"/>
                            </a:lnTo>
                            <a:lnTo>
                              <a:pt x="47625" y="89958"/>
                            </a:lnTo>
                            <a:lnTo>
                              <a:pt x="44980" y="89958"/>
                            </a:lnTo>
                            <a:lnTo>
                              <a:pt x="42334" y="92604"/>
                            </a:lnTo>
                            <a:lnTo>
                              <a:pt x="47625" y="92604"/>
                            </a:lnTo>
                            <a:lnTo>
                              <a:pt x="50271" y="92604"/>
                            </a:lnTo>
                            <a:lnTo>
                              <a:pt x="50271" y="95250"/>
                            </a:lnTo>
                            <a:lnTo>
                              <a:pt x="52917" y="97896"/>
                            </a:lnTo>
                            <a:lnTo>
                              <a:pt x="50271" y="100542"/>
                            </a:lnTo>
                            <a:lnTo>
                              <a:pt x="47625" y="103187"/>
                            </a:lnTo>
                            <a:lnTo>
                              <a:pt x="44980" y="103187"/>
                            </a:lnTo>
                            <a:lnTo>
                              <a:pt x="42334" y="103187"/>
                            </a:lnTo>
                            <a:lnTo>
                              <a:pt x="42334" y="105833"/>
                            </a:lnTo>
                            <a:lnTo>
                              <a:pt x="37042" y="108479"/>
                            </a:lnTo>
                            <a:lnTo>
                              <a:pt x="31750" y="105833"/>
                            </a:lnTo>
                            <a:lnTo>
                              <a:pt x="26459" y="105833"/>
                            </a:lnTo>
                            <a:lnTo>
                              <a:pt x="23813" y="103187"/>
                            </a:lnTo>
                            <a:lnTo>
                              <a:pt x="23813" y="100542"/>
                            </a:lnTo>
                            <a:lnTo>
                              <a:pt x="18521" y="95250"/>
                            </a:lnTo>
                            <a:lnTo>
                              <a:pt x="15875" y="97896"/>
                            </a:lnTo>
                            <a:lnTo>
                              <a:pt x="13229" y="100542"/>
                            </a:lnTo>
                            <a:lnTo>
                              <a:pt x="10584" y="100542"/>
                            </a:lnTo>
                            <a:lnTo>
                              <a:pt x="2646" y="97896"/>
                            </a:lnTo>
                            <a:lnTo>
                              <a:pt x="0" y="92604"/>
                            </a:lnTo>
                            <a:lnTo>
                              <a:pt x="5292" y="89958"/>
                            </a:lnTo>
                            <a:lnTo>
                              <a:pt x="5292" y="87312"/>
                            </a:lnTo>
                            <a:lnTo>
                              <a:pt x="7938" y="84667"/>
                            </a:lnTo>
                            <a:lnTo>
                              <a:pt x="10584" y="84667"/>
                            </a:lnTo>
                            <a:lnTo>
                              <a:pt x="13229" y="84667"/>
                            </a:lnTo>
                            <a:lnTo>
                              <a:pt x="15875" y="82021"/>
                            </a:lnTo>
                            <a:lnTo>
                              <a:pt x="18521" y="82021"/>
                            </a:lnTo>
                            <a:lnTo>
                              <a:pt x="23813" y="79375"/>
                            </a:lnTo>
                            <a:lnTo>
                              <a:pt x="26459" y="79375"/>
                            </a:lnTo>
                            <a:close/>
                            <a:moveTo>
                              <a:pt x="68792" y="0"/>
                            </a:moveTo>
                            <a:lnTo>
                              <a:pt x="74084" y="0"/>
                            </a:lnTo>
                            <a:lnTo>
                              <a:pt x="74084" y="2646"/>
                            </a:lnTo>
                            <a:lnTo>
                              <a:pt x="76730" y="2646"/>
                            </a:lnTo>
                            <a:lnTo>
                              <a:pt x="79376" y="2646"/>
                            </a:lnTo>
                            <a:lnTo>
                              <a:pt x="82021" y="2646"/>
                            </a:lnTo>
                            <a:lnTo>
                              <a:pt x="87313" y="0"/>
                            </a:lnTo>
                            <a:lnTo>
                              <a:pt x="97896" y="0"/>
                            </a:lnTo>
                            <a:lnTo>
                              <a:pt x="103188" y="0"/>
                            </a:lnTo>
                            <a:lnTo>
                              <a:pt x="103188" y="2646"/>
                            </a:lnTo>
                            <a:lnTo>
                              <a:pt x="103188" y="5292"/>
                            </a:lnTo>
                            <a:lnTo>
                              <a:pt x="100542" y="7937"/>
                            </a:lnTo>
                            <a:lnTo>
                              <a:pt x="87313" y="15875"/>
                            </a:lnTo>
                            <a:lnTo>
                              <a:pt x="84667" y="18521"/>
                            </a:lnTo>
                            <a:lnTo>
                              <a:pt x="87313" y="18521"/>
                            </a:lnTo>
                            <a:lnTo>
                              <a:pt x="87313" y="21167"/>
                            </a:lnTo>
                            <a:lnTo>
                              <a:pt x="84667" y="23812"/>
                            </a:lnTo>
                            <a:lnTo>
                              <a:pt x="82021" y="23812"/>
                            </a:lnTo>
                            <a:lnTo>
                              <a:pt x="82021" y="26458"/>
                            </a:lnTo>
                            <a:lnTo>
                              <a:pt x="87313" y="23812"/>
                            </a:lnTo>
                            <a:lnTo>
                              <a:pt x="95251" y="23812"/>
                            </a:lnTo>
                            <a:lnTo>
                              <a:pt x="103188" y="23812"/>
                            </a:lnTo>
                            <a:lnTo>
                              <a:pt x="111126" y="23812"/>
                            </a:lnTo>
                            <a:lnTo>
                              <a:pt x="116417" y="23812"/>
                            </a:lnTo>
                            <a:lnTo>
                              <a:pt x="121709" y="23812"/>
                            </a:lnTo>
                            <a:lnTo>
                              <a:pt x="124355" y="23812"/>
                            </a:lnTo>
                            <a:lnTo>
                              <a:pt x="127001" y="26458"/>
                            </a:lnTo>
                            <a:lnTo>
                              <a:pt x="127001" y="29104"/>
                            </a:lnTo>
                            <a:lnTo>
                              <a:pt x="124355" y="31750"/>
                            </a:lnTo>
                            <a:lnTo>
                              <a:pt x="121709" y="31750"/>
                            </a:lnTo>
                            <a:lnTo>
                              <a:pt x="121709" y="34396"/>
                            </a:lnTo>
                            <a:lnTo>
                              <a:pt x="119063" y="39687"/>
                            </a:lnTo>
                            <a:lnTo>
                              <a:pt x="116417" y="44979"/>
                            </a:lnTo>
                            <a:lnTo>
                              <a:pt x="111126" y="50271"/>
                            </a:lnTo>
                            <a:lnTo>
                              <a:pt x="105834" y="52917"/>
                            </a:lnTo>
                            <a:lnTo>
                              <a:pt x="108480" y="55562"/>
                            </a:lnTo>
                            <a:lnTo>
                              <a:pt x="108480" y="58208"/>
                            </a:lnTo>
                            <a:lnTo>
                              <a:pt x="103188" y="58208"/>
                            </a:lnTo>
                            <a:lnTo>
                              <a:pt x="100542" y="60854"/>
                            </a:lnTo>
                            <a:lnTo>
                              <a:pt x="92605" y="60854"/>
                            </a:lnTo>
                            <a:lnTo>
                              <a:pt x="87313" y="60854"/>
                            </a:lnTo>
                            <a:lnTo>
                              <a:pt x="92605" y="63500"/>
                            </a:lnTo>
                            <a:lnTo>
                              <a:pt x="100542" y="63500"/>
                            </a:lnTo>
                            <a:lnTo>
                              <a:pt x="108480" y="60854"/>
                            </a:lnTo>
                            <a:lnTo>
                              <a:pt x="113771" y="63500"/>
                            </a:lnTo>
                            <a:lnTo>
                              <a:pt x="119063" y="66146"/>
                            </a:lnTo>
                            <a:lnTo>
                              <a:pt x="121709" y="68792"/>
                            </a:lnTo>
                            <a:lnTo>
                              <a:pt x="127001" y="71437"/>
                            </a:lnTo>
                            <a:lnTo>
                              <a:pt x="129646" y="74083"/>
                            </a:lnTo>
                            <a:lnTo>
                              <a:pt x="129646" y="76729"/>
                            </a:lnTo>
                            <a:lnTo>
                              <a:pt x="132292" y="84667"/>
                            </a:lnTo>
                            <a:lnTo>
                              <a:pt x="134938" y="92604"/>
                            </a:lnTo>
                            <a:lnTo>
                              <a:pt x="137584" y="95250"/>
                            </a:lnTo>
                            <a:lnTo>
                              <a:pt x="140230" y="95250"/>
                            </a:lnTo>
                            <a:lnTo>
                              <a:pt x="148167" y="97896"/>
                            </a:lnTo>
                            <a:lnTo>
                              <a:pt x="153459" y="100542"/>
                            </a:lnTo>
                            <a:lnTo>
                              <a:pt x="158751" y="105833"/>
                            </a:lnTo>
                            <a:lnTo>
                              <a:pt x="161397" y="108479"/>
                            </a:lnTo>
                            <a:lnTo>
                              <a:pt x="158751" y="108479"/>
                            </a:lnTo>
                            <a:lnTo>
                              <a:pt x="158751" y="111125"/>
                            </a:lnTo>
                            <a:lnTo>
                              <a:pt x="164042" y="116417"/>
                            </a:lnTo>
                            <a:lnTo>
                              <a:pt x="164042" y="119062"/>
                            </a:lnTo>
                            <a:lnTo>
                              <a:pt x="161397" y="119062"/>
                            </a:lnTo>
                            <a:lnTo>
                              <a:pt x="153459" y="116417"/>
                            </a:lnTo>
                            <a:lnTo>
                              <a:pt x="166688" y="121708"/>
                            </a:lnTo>
                            <a:lnTo>
                              <a:pt x="169334" y="124354"/>
                            </a:lnTo>
                            <a:lnTo>
                              <a:pt x="171980" y="127000"/>
                            </a:lnTo>
                            <a:lnTo>
                              <a:pt x="169334" y="129646"/>
                            </a:lnTo>
                            <a:lnTo>
                              <a:pt x="166688" y="132292"/>
                            </a:lnTo>
                            <a:lnTo>
                              <a:pt x="164042" y="134937"/>
                            </a:lnTo>
                            <a:lnTo>
                              <a:pt x="166688" y="137583"/>
                            </a:lnTo>
                            <a:lnTo>
                              <a:pt x="171980" y="140229"/>
                            </a:lnTo>
                            <a:lnTo>
                              <a:pt x="174626" y="137583"/>
                            </a:lnTo>
                            <a:lnTo>
                              <a:pt x="177272" y="132292"/>
                            </a:lnTo>
                            <a:lnTo>
                              <a:pt x="179917" y="132292"/>
                            </a:lnTo>
                            <a:lnTo>
                              <a:pt x="187855" y="132292"/>
                            </a:lnTo>
                            <a:lnTo>
                              <a:pt x="198438" y="137583"/>
                            </a:lnTo>
                            <a:lnTo>
                              <a:pt x="201084" y="142875"/>
                            </a:lnTo>
                            <a:lnTo>
                              <a:pt x="201084" y="148167"/>
                            </a:lnTo>
                            <a:lnTo>
                              <a:pt x="198438" y="150812"/>
                            </a:lnTo>
                            <a:lnTo>
                              <a:pt x="198438" y="153458"/>
                            </a:lnTo>
                            <a:lnTo>
                              <a:pt x="195792" y="156104"/>
                            </a:lnTo>
                            <a:lnTo>
                              <a:pt x="190501" y="158750"/>
                            </a:lnTo>
                            <a:lnTo>
                              <a:pt x="193147" y="158750"/>
                            </a:lnTo>
                            <a:lnTo>
                              <a:pt x="190501" y="161396"/>
                            </a:lnTo>
                            <a:lnTo>
                              <a:pt x="185209" y="161396"/>
                            </a:lnTo>
                            <a:lnTo>
                              <a:pt x="182563" y="161396"/>
                            </a:lnTo>
                            <a:lnTo>
                              <a:pt x="182563" y="164042"/>
                            </a:lnTo>
                            <a:lnTo>
                              <a:pt x="185209" y="164042"/>
                            </a:lnTo>
                            <a:lnTo>
                              <a:pt x="185209" y="166687"/>
                            </a:lnTo>
                            <a:lnTo>
                              <a:pt x="179917" y="169333"/>
                            </a:lnTo>
                            <a:lnTo>
                              <a:pt x="174626" y="169333"/>
                            </a:lnTo>
                            <a:lnTo>
                              <a:pt x="171980" y="169333"/>
                            </a:lnTo>
                            <a:lnTo>
                              <a:pt x="185209" y="171979"/>
                            </a:lnTo>
                            <a:lnTo>
                              <a:pt x="193147" y="171979"/>
                            </a:lnTo>
                            <a:lnTo>
                              <a:pt x="195792" y="171979"/>
                            </a:lnTo>
                            <a:lnTo>
                              <a:pt x="195792" y="174625"/>
                            </a:lnTo>
                            <a:lnTo>
                              <a:pt x="195792" y="177271"/>
                            </a:lnTo>
                            <a:lnTo>
                              <a:pt x="193147" y="179917"/>
                            </a:lnTo>
                            <a:lnTo>
                              <a:pt x="187855" y="182562"/>
                            </a:lnTo>
                            <a:lnTo>
                              <a:pt x="185209" y="182562"/>
                            </a:lnTo>
                            <a:lnTo>
                              <a:pt x="182563" y="182562"/>
                            </a:lnTo>
                            <a:lnTo>
                              <a:pt x="179917" y="182562"/>
                            </a:lnTo>
                            <a:lnTo>
                              <a:pt x="177272" y="185208"/>
                            </a:lnTo>
                            <a:lnTo>
                              <a:pt x="171980" y="187854"/>
                            </a:lnTo>
                            <a:lnTo>
                              <a:pt x="166688" y="185208"/>
                            </a:lnTo>
                            <a:lnTo>
                              <a:pt x="158751" y="185208"/>
                            </a:lnTo>
                            <a:lnTo>
                              <a:pt x="150813" y="187854"/>
                            </a:lnTo>
                            <a:lnTo>
                              <a:pt x="148167" y="187854"/>
                            </a:lnTo>
                            <a:lnTo>
                              <a:pt x="145522" y="187854"/>
                            </a:lnTo>
                            <a:lnTo>
                              <a:pt x="142876" y="187854"/>
                            </a:lnTo>
                            <a:lnTo>
                              <a:pt x="140230" y="187854"/>
                            </a:lnTo>
                            <a:lnTo>
                              <a:pt x="137584" y="185208"/>
                            </a:lnTo>
                            <a:lnTo>
                              <a:pt x="134938" y="182562"/>
                            </a:lnTo>
                            <a:lnTo>
                              <a:pt x="134938" y="185208"/>
                            </a:lnTo>
                            <a:lnTo>
                              <a:pt x="134938" y="187854"/>
                            </a:lnTo>
                            <a:lnTo>
                              <a:pt x="132292" y="187854"/>
                            </a:lnTo>
                            <a:lnTo>
                              <a:pt x="124355" y="187854"/>
                            </a:lnTo>
                            <a:lnTo>
                              <a:pt x="121709" y="187854"/>
                            </a:lnTo>
                            <a:lnTo>
                              <a:pt x="124355" y="190500"/>
                            </a:lnTo>
                            <a:lnTo>
                              <a:pt x="121709" y="193146"/>
                            </a:lnTo>
                            <a:lnTo>
                              <a:pt x="116417" y="193146"/>
                            </a:lnTo>
                            <a:lnTo>
                              <a:pt x="111126" y="190500"/>
                            </a:lnTo>
                            <a:lnTo>
                              <a:pt x="108480" y="190500"/>
                            </a:lnTo>
                            <a:lnTo>
                              <a:pt x="103188" y="187854"/>
                            </a:lnTo>
                            <a:lnTo>
                              <a:pt x="97896" y="187854"/>
                            </a:lnTo>
                            <a:lnTo>
                              <a:pt x="92605" y="187854"/>
                            </a:lnTo>
                            <a:lnTo>
                              <a:pt x="89959" y="190500"/>
                            </a:lnTo>
                            <a:lnTo>
                              <a:pt x="87313" y="195792"/>
                            </a:lnTo>
                            <a:lnTo>
                              <a:pt x="84667" y="198437"/>
                            </a:lnTo>
                            <a:lnTo>
                              <a:pt x="79376" y="198437"/>
                            </a:lnTo>
                            <a:lnTo>
                              <a:pt x="76730" y="198437"/>
                            </a:lnTo>
                            <a:lnTo>
                              <a:pt x="74084" y="195792"/>
                            </a:lnTo>
                            <a:lnTo>
                              <a:pt x="71438" y="195792"/>
                            </a:lnTo>
                            <a:lnTo>
                              <a:pt x="68792" y="195792"/>
                            </a:lnTo>
                            <a:lnTo>
                              <a:pt x="63501" y="198437"/>
                            </a:lnTo>
                            <a:lnTo>
                              <a:pt x="60855" y="195792"/>
                            </a:lnTo>
                            <a:lnTo>
                              <a:pt x="60855" y="198437"/>
                            </a:lnTo>
                            <a:lnTo>
                              <a:pt x="58209" y="198437"/>
                            </a:lnTo>
                            <a:lnTo>
                              <a:pt x="55563" y="198437"/>
                            </a:lnTo>
                            <a:lnTo>
                              <a:pt x="52917" y="201083"/>
                            </a:lnTo>
                            <a:lnTo>
                              <a:pt x="52917" y="203729"/>
                            </a:lnTo>
                            <a:lnTo>
                              <a:pt x="50271" y="203729"/>
                            </a:lnTo>
                            <a:lnTo>
                              <a:pt x="47625" y="203729"/>
                            </a:lnTo>
                            <a:lnTo>
                              <a:pt x="44980" y="201083"/>
                            </a:lnTo>
                            <a:lnTo>
                              <a:pt x="42334" y="201083"/>
                            </a:lnTo>
                            <a:lnTo>
                              <a:pt x="39688" y="201083"/>
                            </a:lnTo>
                            <a:lnTo>
                              <a:pt x="42334" y="198437"/>
                            </a:lnTo>
                            <a:lnTo>
                              <a:pt x="47625" y="198437"/>
                            </a:lnTo>
                            <a:lnTo>
                              <a:pt x="52917" y="193146"/>
                            </a:lnTo>
                            <a:lnTo>
                              <a:pt x="63501" y="185208"/>
                            </a:lnTo>
                            <a:lnTo>
                              <a:pt x="66146" y="185208"/>
                            </a:lnTo>
                            <a:lnTo>
                              <a:pt x="66146" y="182562"/>
                            </a:lnTo>
                            <a:lnTo>
                              <a:pt x="66146" y="179917"/>
                            </a:lnTo>
                            <a:lnTo>
                              <a:pt x="68792" y="179917"/>
                            </a:lnTo>
                            <a:lnTo>
                              <a:pt x="71438" y="179917"/>
                            </a:lnTo>
                            <a:lnTo>
                              <a:pt x="71438" y="177271"/>
                            </a:lnTo>
                            <a:lnTo>
                              <a:pt x="74084" y="177271"/>
                            </a:lnTo>
                            <a:lnTo>
                              <a:pt x="84667" y="174625"/>
                            </a:lnTo>
                            <a:lnTo>
                              <a:pt x="87313" y="177271"/>
                            </a:lnTo>
                            <a:lnTo>
                              <a:pt x="95251" y="177271"/>
                            </a:lnTo>
                            <a:lnTo>
                              <a:pt x="97896" y="177271"/>
                            </a:lnTo>
                            <a:lnTo>
                              <a:pt x="100542" y="174625"/>
                            </a:lnTo>
                            <a:lnTo>
                              <a:pt x="103188" y="171979"/>
                            </a:lnTo>
                            <a:lnTo>
                              <a:pt x="105834" y="169333"/>
                            </a:lnTo>
                            <a:lnTo>
                              <a:pt x="108480" y="169333"/>
                            </a:lnTo>
                            <a:lnTo>
                              <a:pt x="111126" y="164042"/>
                            </a:lnTo>
                            <a:lnTo>
                              <a:pt x="105834" y="166687"/>
                            </a:lnTo>
                            <a:lnTo>
                              <a:pt x="100542" y="169333"/>
                            </a:lnTo>
                            <a:lnTo>
                              <a:pt x="95251" y="169333"/>
                            </a:lnTo>
                            <a:lnTo>
                              <a:pt x="89959" y="171979"/>
                            </a:lnTo>
                            <a:lnTo>
                              <a:pt x="87313" y="171979"/>
                            </a:lnTo>
                            <a:lnTo>
                              <a:pt x="84667" y="169333"/>
                            </a:lnTo>
                            <a:lnTo>
                              <a:pt x="82021" y="166687"/>
                            </a:lnTo>
                            <a:lnTo>
                              <a:pt x="74084" y="166687"/>
                            </a:lnTo>
                            <a:lnTo>
                              <a:pt x="71438" y="164042"/>
                            </a:lnTo>
                            <a:lnTo>
                              <a:pt x="68792" y="164042"/>
                            </a:lnTo>
                            <a:lnTo>
                              <a:pt x="66146" y="164042"/>
                            </a:lnTo>
                            <a:lnTo>
                              <a:pt x="60855" y="164042"/>
                            </a:lnTo>
                            <a:lnTo>
                              <a:pt x="58209" y="164042"/>
                            </a:lnTo>
                            <a:lnTo>
                              <a:pt x="55563" y="164042"/>
                            </a:lnTo>
                            <a:lnTo>
                              <a:pt x="52917" y="164042"/>
                            </a:lnTo>
                            <a:lnTo>
                              <a:pt x="50271" y="164042"/>
                            </a:lnTo>
                            <a:lnTo>
                              <a:pt x="52917" y="161396"/>
                            </a:lnTo>
                            <a:lnTo>
                              <a:pt x="50271" y="158750"/>
                            </a:lnTo>
                            <a:lnTo>
                              <a:pt x="52917" y="156104"/>
                            </a:lnTo>
                            <a:lnTo>
                              <a:pt x="66146" y="153458"/>
                            </a:lnTo>
                            <a:lnTo>
                              <a:pt x="74084" y="150812"/>
                            </a:lnTo>
                            <a:lnTo>
                              <a:pt x="76730" y="148167"/>
                            </a:lnTo>
                            <a:lnTo>
                              <a:pt x="79376" y="145521"/>
                            </a:lnTo>
                            <a:lnTo>
                              <a:pt x="76730" y="142875"/>
                            </a:lnTo>
                            <a:lnTo>
                              <a:pt x="79376" y="140229"/>
                            </a:lnTo>
                            <a:lnTo>
                              <a:pt x="76730" y="140229"/>
                            </a:lnTo>
                            <a:lnTo>
                              <a:pt x="76730" y="137583"/>
                            </a:lnTo>
                            <a:lnTo>
                              <a:pt x="79376" y="134937"/>
                            </a:lnTo>
                            <a:lnTo>
                              <a:pt x="71438" y="134937"/>
                            </a:lnTo>
                            <a:lnTo>
                              <a:pt x="68792" y="137583"/>
                            </a:lnTo>
                            <a:lnTo>
                              <a:pt x="66146" y="140229"/>
                            </a:lnTo>
                            <a:lnTo>
                              <a:pt x="63501" y="137583"/>
                            </a:lnTo>
                            <a:lnTo>
                              <a:pt x="68792" y="134937"/>
                            </a:lnTo>
                            <a:lnTo>
                              <a:pt x="71438" y="132292"/>
                            </a:lnTo>
                            <a:lnTo>
                              <a:pt x="74084" y="129646"/>
                            </a:lnTo>
                            <a:lnTo>
                              <a:pt x="74084" y="127000"/>
                            </a:lnTo>
                            <a:lnTo>
                              <a:pt x="68792" y="127000"/>
                            </a:lnTo>
                            <a:lnTo>
                              <a:pt x="66146" y="127000"/>
                            </a:lnTo>
                            <a:lnTo>
                              <a:pt x="68792" y="124354"/>
                            </a:lnTo>
                            <a:lnTo>
                              <a:pt x="74084" y="124354"/>
                            </a:lnTo>
                            <a:lnTo>
                              <a:pt x="76730" y="124354"/>
                            </a:lnTo>
                            <a:lnTo>
                              <a:pt x="76730" y="127000"/>
                            </a:lnTo>
                            <a:lnTo>
                              <a:pt x="84667" y="127000"/>
                            </a:lnTo>
                            <a:lnTo>
                              <a:pt x="87313" y="127000"/>
                            </a:lnTo>
                            <a:lnTo>
                              <a:pt x="92605" y="127000"/>
                            </a:lnTo>
                            <a:lnTo>
                              <a:pt x="95251" y="127000"/>
                            </a:lnTo>
                            <a:lnTo>
                              <a:pt x="97896" y="127000"/>
                            </a:lnTo>
                            <a:lnTo>
                              <a:pt x="97896" y="124354"/>
                            </a:lnTo>
                            <a:lnTo>
                              <a:pt x="103188" y="127000"/>
                            </a:lnTo>
                            <a:lnTo>
                              <a:pt x="105834" y="127000"/>
                            </a:lnTo>
                            <a:lnTo>
                              <a:pt x="108480" y="124354"/>
                            </a:lnTo>
                            <a:lnTo>
                              <a:pt x="103188" y="124354"/>
                            </a:lnTo>
                            <a:lnTo>
                              <a:pt x="97896" y="121708"/>
                            </a:lnTo>
                            <a:lnTo>
                              <a:pt x="103188" y="116417"/>
                            </a:lnTo>
                            <a:lnTo>
                              <a:pt x="100542" y="116417"/>
                            </a:lnTo>
                            <a:lnTo>
                              <a:pt x="100542" y="113771"/>
                            </a:lnTo>
                            <a:lnTo>
                              <a:pt x="105834" y="105833"/>
                            </a:lnTo>
                            <a:lnTo>
                              <a:pt x="103188" y="105833"/>
                            </a:lnTo>
                            <a:lnTo>
                              <a:pt x="100542" y="105833"/>
                            </a:lnTo>
                            <a:lnTo>
                              <a:pt x="97896" y="103187"/>
                            </a:lnTo>
                            <a:lnTo>
                              <a:pt x="97896" y="108479"/>
                            </a:lnTo>
                            <a:lnTo>
                              <a:pt x="92605" y="103187"/>
                            </a:lnTo>
                            <a:lnTo>
                              <a:pt x="89959" y="95250"/>
                            </a:lnTo>
                            <a:lnTo>
                              <a:pt x="92605" y="92604"/>
                            </a:lnTo>
                            <a:lnTo>
                              <a:pt x="97896" y="87312"/>
                            </a:lnTo>
                            <a:lnTo>
                              <a:pt x="95251" y="87312"/>
                            </a:lnTo>
                            <a:lnTo>
                              <a:pt x="89959" y="87312"/>
                            </a:lnTo>
                            <a:lnTo>
                              <a:pt x="89959" y="89958"/>
                            </a:lnTo>
                            <a:lnTo>
                              <a:pt x="87313" y="89958"/>
                            </a:lnTo>
                            <a:lnTo>
                              <a:pt x="84667" y="89958"/>
                            </a:lnTo>
                            <a:lnTo>
                              <a:pt x="82021" y="89958"/>
                            </a:lnTo>
                            <a:lnTo>
                              <a:pt x="82021" y="92604"/>
                            </a:lnTo>
                            <a:lnTo>
                              <a:pt x="79376" y="89958"/>
                            </a:lnTo>
                            <a:lnTo>
                              <a:pt x="76730" y="89958"/>
                            </a:lnTo>
                            <a:lnTo>
                              <a:pt x="74084" y="89958"/>
                            </a:lnTo>
                            <a:lnTo>
                              <a:pt x="71438" y="92604"/>
                            </a:lnTo>
                            <a:lnTo>
                              <a:pt x="66146" y="89958"/>
                            </a:lnTo>
                            <a:lnTo>
                              <a:pt x="63501" y="89958"/>
                            </a:lnTo>
                            <a:lnTo>
                              <a:pt x="63501" y="92604"/>
                            </a:lnTo>
                            <a:lnTo>
                              <a:pt x="60855" y="89958"/>
                            </a:lnTo>
                            <a:lnTo>
                              <a:pt x="58209" y="87312"/>
                            </a:lnTo>
                            <a:lnTo>
                              <a:pt x="60855" y="87312"/>
                            </a:lnTo>
                            <a:lnTo>
                              <a:pt x="63501" y="87312"/>
                            </a:lnTo>
                            <a:lnTo>
                              <a:pt x="63501" y="84667"/>
                            </a:lnTo>
                            <a:lnTo>
                              <a:pt x="63501" y="82021"/>
                            </a:lnTo>
                            <a:lnTo>
                              <a:pt x="66146" y="76729"/>
                            </a:lnTo>
                            <a:lnTo>
                              <a:pt x="68792" y="74083"/>
                            </a:lnTo>
                            <a:lnTo>
                              <a:pt x="71438" y="74083"/>
                            </a:lnTo>
                            <a:lnTo>
                              <a:pt x="68792" y="71437"/>
                            </a:lnTo>
                            <a:lnTo>
                              <a:pt x="66146" y="68792"/>
                            </a:lnTo>
                            <a:lnTo>
                              <a:pt x="66146" y="66146"/>
                            </a:lnTo>
                            <a:lnTo>
                              <a:pt x="68792" y="63500"/>
                            </a:lnTo>
                            <a:lnTo>
                              <a:pt x="66146" y="60854"/>
                            </a:lnTo>
                            <a:lnTo>
                              <a:pt x="68792" y="58208"/>
                            </a:lnTo>
                            <a:lnTo>
                              <a:pt x="63501" y="63500"/>
                            </a:lnTo>
                            <a:lnTo>
                              <a:pt x="60855" y="66146"/>
                            </a:lnTo>
                            <a:lnTo>
                              <a:pt x="58209" y="63500"/>
                            </a:lnTo>
                            <a:lnTo>
                              <a:pt x="55563" y="60854"/>
                            </a:lnTo>
                            <a:lnTo>
                              <a:pt x="55563" y="63500"/>
                            </a:lnTo>
                            <a:lnTo>
                              <a:pt x="55563" y="66146"/>
                            </a:lnTo>
                            <a:lnTo>
                              <a:pt x="55563" y="68792"/>
                            </a:lnTo>
                            <a:lnTo>
                              <a:pt x="50271" y="74083"/>
                            </a:lnTo>
                            <a:lnTo>
                              <a:pt x="50271" y="76729"/>
                            </a:lnTo>
                            <a:lnTo>
                              <a:pt x="47625" y="76729"/>
                            </a:lnTo>
                            <a:lnTo>
                              <a:pt x="47625" y="74083"/>
                            </a:lnTo>
                            <a:lnTo>
                              <a:pt x="52917" y="68792"/>
                            </a:lnTo>
                            <a:lnTo>
                              <a:pt x="52917" y="63500"/>
                            </a:lnTo>
                            <a:lnTo>
                              <a:pt x="52917" y="58208"/>
                            </a:lnTo>
                            <a:lnTo>
                              <a:pt x="55563" y="52917"/>
                            </a:lnTo>
                            <a:lnTo>
                              <a:pt x="55563" y="50271"/>
                            </a:lnTo>
                            <a:lnTo>
                              <a:pt x="55563" y="47625"/>
                            </a:lnTo>
                            <a:lnTo>
                              <a:pt x="52917" y="47625"/>
                            </a:lnTo>
                            <a:lnTo>
                              <a:pt x="52917" y="44979"/>
                            </a:lnTo>
                            <a:lnTo>
                              <a:pt x="47625" y="44979"/>
                            </a:lnTo>
                            <a:lnTo>
                              <a:pt x="42334" y="44979"/>
                            </a:lnTo>
                            <a:lnTo>
                              <a:pt x="44980" y="42333"/>
                            </a:lnTo>
                            <a:lnTo>
                              <a:pt x="50271" y="39687"/>
                            </a:lnTo>
                            <a:lnTo>
                              <a:pt x="52917" y="37042"/>
                            </a:lnTo>
                            <a:lnTo>
                              <a:pt x="55563" y="34396"/>
                            </a:lnTo>
                            <a:lnTo>
                              <a:pt x="58209" y="34396"/>
                            </a:lnTo>
                            <a:lnTo>
                              <a:pt x="52917" y="31750"/>
                            </a:lnTo>
                            <a:lnTo>
                              <a:pt x="55563" y="29104"/>
                            </a:lnTo>
                            <a:lnTo>
                              <a:pt x="55563" y="26458"/>
                            </a:lnTo>
                            <a:lnTo>
                              <a:pt x="52917" y="26458"/>
                            </a:lnTo>
                            <a:lnTo>
                              <a:pt x="55563" y="23812"/>
                            </a:lnTo>
                            <a:lnTo>
                              <a:pt x="52917" y="21167"/>
                            </a:lnTo>
                            <a:lnTo>
                              <a:pt x="50271" y="18521"/>
                            </a:lnTo>
                            <a:lnTo>
                              <a:pt x="52917" y="18521"/>
                            </a:lnTo>
                            <a:lnTo>
                              <a:pt x="58209" y="15875"/>
                            </a:lnTo>
                            <a:lnTo>
                              <a:pt x="60855" y="15875"/>
                            </a:lnTo>
                            <a:lnTo>
                              <a:pt x="63501" y="18521"/>
                            </a:lnTo>
                            <a:lnTo>
                              <a:pt x="66146" y="18521"/>
                            </a:lnTo>
                            <a:lnTo>
                              <a:pt x="60855" y="15875"/>
                            </a:lnTo>
                            <a:lnTo>
                              <a:pt x="58209" y="13229"/>
                            </a:lnTo>
                            <a:lnTo>
                              <a:pt x="60855" y="13229"/>
                            </a:lnTo>
                            <a:lnTo>
                              <a:pt x="60855" y="10583"/>
                            </a:lnTo>
                            <a:lnTo>
                              <a:pt x="60855" y="7937"/>
                            </a:lnTo>
                            <a:lnTo>
                              <a:pt x="63501" y="5292"/>
                            </a:lnTo>
                            <a:lnTo>
                              <a:pt x="66146" y="5292"/>
                            </a:lnTo>
                            <a:lnTo>
                              <a:pt x="68792" y="5292"/>
                            </a:lnTo>
                            <a:lnTo>
                              <a:pt x="66146" y="2646"/>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7" name="Australia"/>
                      <p:cNvSpPr>
                        <a:spLocks/>
                      </p:cNvSpPr>
                      <p:nvPr/>
                    </p:nvSpPr>
                    <p:spPr bwMode="auto">
                      <a:xfrm>
                        <a:off x="9213961" y="4098028"/>
                        <a:ext cx="1300111" cy="1171446"/>
                      </a:xfrm>
                      <a:custGeom>
                        <a:avLst/>
                        <a:gdLst/>
                        <a:ahLst/>
                        <a:cxnLst/>
                        <a:rect l="l" t="t" r="r" b="b"/>
                        <a:pathLst>
                          <a:path w="1132417" h="1021292">
                            <a:moveTo>
                              <a:pt x="743479" y="936625"/>
                            </a:moveTo>
                            <a:lnTo>
                              <a:pt x="751416" y="936625"/>
                            </a:lnTo>
                            <a:lnTo>
                              <a:pt x="754062" y="939271"/>
                            </a:lnTo>
                            <a:lnTo>
                              <a:pt x="751416" y="941917"/>
                            </a:lnTo>
                            <a:lnTo>
                              <a:pt x="748771" y="944563"/>
                            </a:lnTo>
                            <a:lnTo>
                              <a:pt x="748771" y="949854"/>
                            </a:lnTo>
                            <a:lnTo>
                              <a:pt x="748771" y="952500"/>
                            </a:lnTo>
                            <a:lnTo>
                              <a:pt x="746125" y="952500"/>
                            </a:lnTo>
                            <a:lnTo>
                              <a:pt x="743479" y="955146"/>
                            </a:lnTo>
                            <a:lnTo>
                              <a:pt x="740833" y="960438"/>
                            </a:lnTo>
                            <a:lnTo>
                              <a:pt x="738187" y="965730"/>
                            </a:lnTo>
                            <a:lnTo>
                              <a:pt x="732896" y="973667"/>
                            </a:lnTo>
                            <a:lnTo>
                              <a:pt x="727604" y="978959"/>
                            </a:lnTo>
                            <a:lnTo>
                              <a:pt x="727604" y="976313"/>
                            </a:lnTo>
                            <a:lnTo>
                              <a:pt x="727604" y="973667"/>
                            </a:lnTo>
                            <a:lnTo>
                              <a:pt x="724958" y="973667"/>
                            </a:lnTo>
                            <a:lnTo>
                              <a:pt x="719666" y="978959"/>
                            </a:lnTo>
                            <a:lnTo>
                              <a:pt x="709083" y="992188"/>
                            </a:lnTo>
                            <a:lnTo>
                              <a:pt x="701145" y="997480"/>
                            </a:lnTo>
                            <a:lnTo>
                              <a:pt x="695854" y="997480"/>
                            </a:lnTo>
                            <a:lnTo>
                              <a:pt x="690562" y="1000125"/>
                            </a:lnTo>
                            <a:lnTo>
                              <a:pt x="685270" y="1002771"/>
                            </a:lnTo>
                            <a:lnTo>
                              <a:pt x="679979" y="1005417"/>
                            </a:lnTo>
                            <a:lnTo>
                              <a:pt x="674687" y="1008063"/>
                            </a:lnTo>
                            <a:lnTo>
                              <a:pt x="666749" y="1008063"/>
                            </a:lnTo>
                            <a:lnTo>
                              <a:pt x="664104" y="1013355"/>
                            </a:lnTo>
                            <a:lnTo>
                              <a:pt x="656166" y="1018646"/>
                            </a:lnTo>
                            <a:lnTo>
                              <a:pt x="650874" y="1021292"/>
                            </a:lnTo>
                            <a:lnTo>
                              <a:pt x="645583" y="1018646"/>
                            </a:lnTo>
                            <a:lnTo>
                              <a:pt x="637645" y="1016001"/>
                            </a:lnTo>
                            <a:lnTo>
                              <a:pt x="640291" y="1016001"/>
                            </a:lnTo>
                            <a:lnTo>
                              <a:pt x="640291" y="1013355"/>
                            </a:lnTo>
                            <a:lnTo>
                              <a:pt x="637645" y="1008063"/>
                            </a:lnTo>
                            <a:lnTo>
                              <a:pt x="637645" y="1002771"/>
                            </a:lnTo>
                            <a:lnTo>
                              <a:pt x="640291" y="1000125"/>
                            </a:lnTo>
                            <a:lnTo>
                              <a:pt x="640291" y="994834"/>
                            </a:lnTo>
                            <a:lnTo>
                              <a:pt x="640291" y="986896"/>
                            </a:lnTo>
                            <a:lnTo>
                              <a:pt x="642937" y="981605"/>
                            </a:lnTo>
                            <a:lnTo>
                              <a:pt x="642937" y="976313"/>
                            </a:lnTo>
                            <a:lnTo>
                              <a:pt x="645583" y="976313"/>
                            </a:lnTo>
                            <a:lnTo>
                              <a:pt x="648229" y="978959"/>
                            </a:lnTo>
                            <a:lnTo>
                              <a:pt x="648229" y="984250"/>
                            </a:lnTo>
                            <a:lnTo>
                              <a:pt x="653520" y="973667"/>
                            </a:lnTo>
                            <a:lnTo>
                              <a:pt x="656166" y="968375"/>
                            </a:lnTo>
                            <a:lnTo>
                              <a:pt x="653520" y="963084"/>
                            </a:lnTo>
                            <a:lnTo>
                              <a:pt x="653520" y="957792"/>
                            </a:lnTo>
                            <a:lnTo>
                              <a:pt x="653520" y="955146"/>
                            </a:lnTo>
                            <a:lnTo>
                              <a:pt x="656166" y="947209"/>
                            </a:lnTo>
                            <a:lnTo>
                              <a:pt x="661458" y="941917"/>
                            </a:lnTo>
                            <a:lnTo>
                              <a:pt x="664104" y="941917"/>
                            </a:lnTo>
                            <a:lnTo>
                              <a:pt x="669395" y="941917"/>
                            </a:lnTo>
                            <a:lnTo>
                              <a:pt x="674687" y="944563"/>
                            </a:lnTo>
                            <a:lnTo>
                              <a:pt x="674687" y="941917"/>
                            </a:lnTo>
                            <a:lnTo>
                              <a:pt x="677333" y="941917"/>
                            </a:lnTo>
                            <a:lnTo>
                              <a:pt x="679979" y="941917"/>
                            </a:lnTo>
                            <a:lnTo>
                              <a:pt x="687916" y="944563"/>
                            </a:lnTo>
                            <a:lnTo>
                              <a:pt x="695854" y="947209"/>
                            </a:lnTo>
                            <a:lnTo>
                              <a:pt x="706437" y="947209"/>
                            </a:lnTo>
                            <a:lnTo>
                              <a:pt x="709083" y="947209"/>
                            </a:lnTo>
                            <a:lnTo>
                              <a:pt x="714375" y="947209"/>
                            </a:lnTo>
                            <a:lnTo>
                              <a:pt x="722312" y="944563"/>
                            </a:lnTo>
                            <a:lnTo>
                              <a:pt x="727604" y="944563"/>
                            </a:lnTo>
                            <a:lnTo>
                              <a:pt x="735541" y="939271"/>
                            </a:lnTo>
                            <a:close/>
                            <a:moveTo>
                              <a:pt x="965730" y="0"/>
                            </a:moveTo>
                            <a:lnTo>
                              <a:pt x="971021" y="0"/>
                            </a:lnTo>
                            <a:lnTo>
                              <a:pt x="973667" y="0"/>
                            </a:lnTo>
                            <a:lnTo>
                              <a:pt x="973667" y="2646"/>
                            </a:lnTo>
                            <a:lnTo>
                              <a:pt x="976313" y="5292"/>
                            </a:lnTo>
                            <a:lnTo>
                              <a:pt x="978959" y="10583"/>
                            </a:lnTo>
                            <a:lnTo>
                              <a:pt x="976313" y="18521"/>
                            </a:lnTo>
                            <a:lnTo>
                              <a:pt x="973667" y="26458"/>
                            </a:lnTo>
                            <a:lnTo>
                              <a:pt x="976313" y="29104"/>
                            </a:lnTo>
                            <a:lnTo>
                              <a:pt x="978959" y="31750"/>
                            </a:lnTo>
                            <a:lnTo>
                              <a:pt x="978959" y="37042"/>
                            </a:lnTo>
                            <a:lnTo>
                              <a:pt x="978959" y="39687"/>
                            </a:lnTo>
                            <a:lnTo>
                              <a:pt x="981605" y="42333"/>
                            </a:lnTo>
                            <a:lnTo>
                              <a:pt x="984251" y="44979"/>
                            </a:lnTo>
                            <a:lnTo>
                              <a:pt x="984251" y="50271"/>
                            </a:lnTo>
                            <a:lnTo>
                              <a:pt x="981605" y="52917"/>
                            </a:lnTo>
                            <a:lnTo>
                              <a:pt x="984251" y="52917"/>
                            </a:lnTo>
                            <a:lnTo>
                              <a:pt x="986896" y="50271"/>
                            </a:lnTo>
                            <a:lnTo>
                              <a:pt x="989542" y="52917"/>
                            </a:lnTo>
                            <a:lnTo>
                              <a:pt x="989542" y="55562"/>
                            </a:lnTo>
                            <a:lnTo>
                              <a:pt x="989542" y="58208"/>
                            </a:lnTo>
                            <a:lnTo>
                              <a:pt x="989542" y="60854"/>
                            </a:lnTo>
                            <a:lnTo>
                              <a:pt x="989542" y="68792"/>
                            </a:lnTo>
                            <a:lnTo>
                              <a:pt x="989542" y="74083"/>
                            </a:lnTo>
                            <a:lnTo>
                              <a:pt x="989542" y="82021"/>
                            </a:lnTo>
                            <a:lnTo>
                              <a:pt x="986896" y="89958"/>
                            </a:lnTo>
                            <a:lnTo>
                              <a:pt x="984251" y="95250"/>
                            </a:lnTo>
                            <a:lnTo>
                              <a:pt x="986896" y="97896"/>
                            </a:lnTo>
                            <a:lnTo>
                              <a:pt x="989542" y="100542"/>
                            </a:lnTo>
                            <a:lnTo>
                              <a:pt x="989542" y="105833"/>
                            </a:lnTo>
                            <a:lnTo>
                              <a:pt x="986896" y="111125"/>
                            </a:lnTo>
                            <a:lnTo>
                              <a:pt x="989542" y="113771"/>
                            </a:lnTo>
                            <a:lnTo>
                              <a:pt x="994834" y="113771"/>
                            </a:lnTo>
                            <a:lnTo>
                              <a:pt x="1000126" y="113771"/>
                            </a:lnTo>
                            <a:lnTo>
                              <a:pt x="1002771" y="111125"/>
                            </a:lnTo>
                            <a:lnTo>
                              <a:pt x="1008063" y="108479"/>
                            </a:lnTo>
                            <a:lnTo>
                              <a:pt x="1010709" y="113771"/>
                            </a:lnTo>
                            <a:lnTo>
                              <a:pt x="1008063" y="116417"/>
                            </a:lnTo>
                            <a:lnTo>
                              <a:pt x="1010709" y="119062"/>
                            </a:lnTo>
                            <a:lnTo>
                              <a:pt x="1016001" y="124354"/>
                            </a:lnTo>
                            <a:lnTo>
                              <a:pt x="1023938" y="129646"/>
                            </a:lnTo>
                            <a:lnTo>
                              <a:pt x="1026584" y="129646"/>
                            </a:lnTo>
                            <a:lnTo>
                              <a:pt x="1029230" y="132292"/>
                            </a:lnTo>
                            <a:lnTo>
                              <a:pt x="1031876" y="134937"/>
                            </a:lnTo>
                            <a:lnTo>
                              <a:pt x="1031876" y="140229"/>
                            </a:lnTo>
                            <a:lnTo>
                              <a:pt x="1026584" y="142875"/>
                            </a:lnTo>
                            <a:lnTo>
                              <a:pt x="1026584" y="148167"/>
                            </a:lnTo>
                            <a:lnTo>
                              <a:pt x="1026584" y="156104"/>
                            </a:lnTo>
                            <a:lnTo>
                              <a:pt x="1023938" y="158750"/>
                            </a:lnTo>
                            <a:lnTo>
                              <a:pt x="1021292" y="164041"/>
                            </a:lnTo>
                            <a:lnTo>
                              <a:pt x="1021292" y="166687"/>
                            </a:lnTo>
                            <a:lnTo>
                              <a:pt x="1021292" y="171979"/>
                            </a:lnTo>
                            <a:lnTo>
                              <a:pt x="1021292" y="177271"/>
                            </a:lnTo>
                            <a:lnTo>
                              <a:pt x="1018646" y="179916"/>
                            </a:lnTo>
                            <a:lnTo>
                              <a:pt x="1021292" y="187854"/>
                            </a:lnTo>
                            <a:lnTo>
                              <a:pt x="1026584" y="198437"/>
                            </a:lnTo>
                            <a:lnTo>
                              <a:pt x="1026584" y="209021"/>
                            </a:lnTo>
                            <a:lnTo>
                              <a:pt x="1026584" y="216958"/>
                            </a:lnTo>
                            <a:lnTo>
                              <a:pt x="1023938" y="224896"/>
                            </a:lnTo>
                            <a:lnTo>
                              <a:pt x="1018646" y="238125"/>
                            </a:lnTo>
                            <a:lnTo>
                              <a:pt x="1018646" y="243416"/>
                            </a:lnTo>
                            <a:lnTo>
                              <a:pt x="1018646" y="248708"/>
                            </a:lnTo>
                            <a:lnTo>
                              <a:pt x="1021292" y="254000"/>
                            </a:lnTo>
                            <a:lnTo>
                              <a:pt x="1023938" y="259291"/>
                            </a:lnTo>
                            <a:lnTo>
                              <a:pt x="1026584" y="264583"/>
                            </a:lnTo>
                            <a:lnTo>
                              <a:pt x="1037167" y="269875"/>
                            </a:lnTo>
                            <a:lnTo>
                              <a:pt x="1045105" y="275166"/>
                            </a:lnTo>
                            <a:lnTo>
                              <a:pt x="1047751" y="280458"/>
                            </a:lnTo>
                            <a:lnTo>
                              <a:pt x="1050396" y="285750"/>
                            </a:lnTo>
                            <a:lnTo>
                              <a:pt x="1055688" y="285750"/>
                            </a:lnTo>
                            <a:lnTo>
                              <a:pt x="1060980" y="285750"/>
                            </a:lnTo>
                            <a:lnTo>
                              <a:pt x="1063626" y="288396"/>
                            </a:lnTo>
                            <a:lnTo>
                              <a:pt x="1066271" y="291041"/>
                            </a:lnTo>
                            <a:lnTo>
                              <a:pt x="1068917" y="291041"/>
                            </a:lnTo>
                            <a:lnTo>
                              <a:pt x="1071563" y="291041"/>
                            </a:lnTo>
                            <a:lnTo>
                              <a:pt x="1071563" y="293687"/>
                            </a:lnTo>
                            <a:lnTo>
                              <a:pt x="1071563" y="298979"/>
                            </a:lnTo>
                            <a:lnTo>
                              <a:pt x="1076855" y="301625"/>
                            </a:lnTo>
                            <a:lnTo>
                              <a:pt x="1079501" y="304271"/>
                            </a:lnTo>
                            <a:lnTo>
                              <a:pt x="1082146" y="309562"/>
                            </a:lnTo>
                            <a:lnTo>
                              <a:pt x="1082146" y="317500"/>
                            </a:lnTo>
                            <a:lnTo>
                              <a:pt x="1079501" y="314854"/>
                            </a:lnTo>
                            <a:lnTo>
                              <a:pt x="1076855" y="314854"/>
                            </a:lnTo>
                            <a:lnTo>
                              <a:pt x="1074209" y="314854"/>
                            </a:lnTo>
                            <a:lnTo>
                              <a:pt x="1071563" y="317500"/>
                            </a:lnTo>
                            <a:lnTo>
                              <a:pt x="1074209" y="320146"/>
                            </a:lnTo>
                            <a:lnTo>
                              <a:pt x="1076855" y="325437"/>
                            </a:lnTo>
                            <a:lnTo>
                              <a:pt x="1079501" y="333375"/>
                            </a:lnTo>
                            <a:lnTo>
                              <a:pt x="1079501" y="336021"/>
                            </a:lnTo>
                            <a:lnTo>
                              <a:pt x="1079501" y="341312"/>
                            </a:lnTo>
                            <a:lnTo>
                              <a:pt x="1076855" y="346604"/>
                            </a:lnTo>
                            <a:lnTo>
                              <a:pt x="1076855" y="349250"/>
                            </a:lnTo>
                            <a:lnTo>
                              <a:pt x="1079501" y="351896"/>
                            </a:lnTo>
                            <a:lnTo>
                              <a:pt x="1079501" y="354541"/>
                            </a:lnTo>
                            <a:lnTo>
                              <a:pt x="1076855" y="367771"/>
                            </a:lnTo>
                            <a:lnTo>
                              <a:pt x="1079501" y="370416"/>
                            </a:lnTo>
                            <a:lnTo>
                              <a:pt x="1082146" y="375708"/>
                            </a:lnTo>
                            <a:lnTo>
                              <a:pt x="1084792" y="367771"/>
                            </a:lnTo>
                            <a:lnTo>
                              <a:pt x="1090084" y="365125"/>
                            </a:lnTo>
                            <a:lnTo>
                              <a:pt x="1095376" y="370416"/>
                            </a:lnTo>
                            <a:lnTo>
                              <a:pt x="1103313" y="378354"/>
                            </a:lnTo>
                            <a:lnTo>
                              <a:pt x="1100667" y="373062"/>
                            </a:lnTo>
                            <a:lnTo>
                              <a:pt x="1100667" y="370416"/>
                            </a:lnTo>
                            <a:lnTo>
                              <a:pt x="1100667" y="367771"/>
                            </a:lnTo>
                            <a:lnTo>
                              <a:pt x="1105959" y="367771"/>
                            </a:lnTo>
                            <a:lnTo>
                              <a:pt x="1108605" y="370416"/>
                            </a:lnTo>
                            <a:lnTo>
                              <a:pt x="1108605" y="378354"/>
                            </a:lnTo>
                            <a:lnTo>
                              <a:pt x="1103313" y="391583"/>
                            </a:lnTo>
                            <a:lnTo>
                              <a:pt x="1103313" y="396875"/>
                            </a:lnTo>
                            <a:lnTo>
                              <a:pt x="1100667" y="402166"/>
                            </a:lnTo>
                            <a:lnTo>
                              <a:pt x="1105959" y="410104"/>
                            </a:lnTo>
                            <a:lnTo>
                              <a:pt x="1108605" y="415396"/>
                            </a:lnTo>
                            <a:lnTo>
                              <a:pt x="1108605" y="418041"/>
                            </a:lnTo>
                            <a:lnTo>
                              <a:pt x="1108605" y="423333"/>
                            </a:lnTo>
                            <a:lnTo>
                              <a:pt x="1111251" y="423333"/>
                            </a:lnTo>
                            <a:lnTo>
                              <a:pt x="1113896" y="425979"/>
                            </a:lnTo>
                            <a:lnTo>
                              <a:pt x="1119188" y="447146"/>
                            </a:lnTo>
                            <a:lnTo>
                              <a:pt x="1121834" y="457729"/>
                            </a:lnTo>
                            <a:lnTo>
                              <a:pt x="1124480" y="455083"/>
                            </a:lnTo>
                            <a:lnTo>
                              <a:pt x="1127126" y="444500"/>
                            </a:lnTo>
                            <a:lnTo>
                              <a:pt x="1129771" y="441854"/>
                            </a:lnTo>
                            <a:lnTo>
                              <a:pt x="1132417" y="447146"/>
                            </a:lnTo>
                            <a:lnTo>
                              <a:pt x="1132417" y="449791"/>
                            </a:lnTo>
                            <a:lnTo>
                              <a:pt x="1129771" y="455083"/>
                            </a:lnTo>
                            <a:lnTo>
                              <a:pt x="1127126" y="463020"/>
                            </a:lnTo>
                            <a:lnTo>
                              <a:pt x="1124480" y="465666"/>
                            </a:lnTo>
                            <a:lnTo>
                              <a:pt x="1124480" y="473604"/>
                            </a:lnTo>
                            <a:lnTo>
                              <a:pt x="1127126" y="478895"/>
                            </a:lnTo>
                            <a:lnTo>
                              <a:pt x="1124480" y="484187"/>
                            </a:lnTo>
                            <a:lnTo>
                              <a:pt x="1119188" y="492125"/>
                            </a:lnTo>
                            <a:lnTo>
                              <a:pt x="1116542" y="500062"/>
                            </a:lnTo>
                            <a:lnTo>
                              <a:pt x="1113896" y="502708"/>
                            </a:lnTo>
                            <a:lnTo>
                              <a:pt x="1116542" y="505354"/>
                            </a:lnTo>
                            <a:lnTo>
                              <a:pt x="1119188" y="510645"/>
                            </a:lnTo>
                            <a:lnTo>
                              <a:pt x="1119188" y="518583"/>
                            </a:lnTo>
                            <a:lnTo>
                              <a:pt x="1113896" y="539750"/>
                            </a:lnTo>
                            <a:lnTo>
                              <a:pt x="1103313" y="563562"/>
                            </a:lnTo>
                            <a:lnTo>
                              <a:pt x="1095376" y="574145"/>
                            </a:lnTo>
                            <a:lnTo>
                              <a:pt x="1087438" y="584729"/>
                            </a:lnTo>
                            <a:lnTo>
                              <a:pt x="1074209" y="600604"/>
                            </a:lnTo>
                            <a:lnTo>
                              <a:pt x="1063626" y="616479"/>
                            </a:lnTo>
                            <a:lnTo>
                              <a:pt x="1058334" y="627062"/>
                            </a:lnTo>
                            <a:lnTo>
                              <a:pt x="1053042" y="635000"/>
                            </a:lnTo>
                            <a:lnTo>
                              <a:pt x="1042459" y="645583"/>
                            </a:lnTo>
                            <a:lnTo>
                              <a:pt x="1042459" y="650875"/>
                            </a:lnTo>
                            <a:lnTo>
                              <a:pt x="1045105" y="653520"/>
                            </a:lnTo>
                            <a:lnTo>
                              <a:pt x="1045105" y="658812"/>
                            </a:lnTo>
                            <a:lnTo>
                              <a:pt x="1039813" y="664104"/>
                            </a:lnTo>
                            <a:lnTo>
                              <a:pt x="1023938" y="677333"/>
                            </a:lnTo>
                            <a:lnTo>
                              <a:pt x="1000126" y="698500"/>
                            </a:lnTo>
                            <a:lnTo>
                              <a:pt x="997480" y="703791"/>
                            </a:lnTo>
                            <a:lnTo>
                              <a:pt x="992188" y="709083"/>
                            </a:lnTo>
                            <a:lnTo>
                              <a:pt x="981605" y="711729"/>
                            </a:lnTo>
                            <a:lnTo>
                              <a:pt x="973667" y="714375"/>
                            </a:lnTo>
                            <a:lnTo>
                              <a:pt x="973667" y="717020"/>
                            </a:lnTo>
                            <a:lnTo>
                              <a:pt x="973667" y="719666"/>
                            </a:lnTo>
                            <a:lnTo>
                              <a:pt x="973667" y="722312"/>
                            </a:lnTo>
                            <a:lnTo>
                              <a:pt x="971021" y="722312"/>
                            </a:lnTo>
                            <a:lnTo>
                              <a:pt x="965730" y="722312"/>
                            </a:lnTo>
                            <a:lnTo>
                              <a:pt x="960438" y="727604"/>
                            </a:lnTo>
                            <a:lnTo>
                              <a:pt x="949855" y="743479"/>
                            </a:lnTo>
                            <a:lnTo>
                              <a:pt x="933980" y="762000"/>
                            </a:lnTo>
                            <a:lnTo>
                              <a:pt x="918105" y="777875"/>
                            </a:lnTo>
                            <a:lnTo>
                              <a:pt x="912813" y="783166"/>
                            </a:lnTo>
                            <a:lnTo>
                              <a:pt x="910167" y="791104"/>
                            </a:lnTo>
                            <a:lnTo>
                              <a:pt x="907521" y="799041"/>
                            </a:lnTo>
                            <a:lnTo>
                              <a:pt x="904876" y="799041"/>
                            </a:lnTo>
                            <a:lnTo>
                              <a:pt x="899584" y="804333"/>
                            </a:lnTo>
                            <a:lnTo>
                              <a:pt x="891646" y="812270"/>
                            </a:lnTo>
                            <a:lnTo>
                              <a:pt x="883709" y="812270"/>
                            </a:lnTo>
                            <a:lnTo>
                              <a:pt x="878417" y="812270"/>
                            </a:lnTo>
                            <a:lnTo>
                              <a:pt x="873126" y="814916"/>
                            </a:lnTo>
                            <a:lnTo>
                              <a:pt x="867834" y="822854"/>
                            </a:lnTo>
                            <a:lnTo>
                              <a:pt x="862542" y="828145"/>
                            </a:lnTo>
                            <a:lnTo>
                              <a:pt x="857251" y="833437"/>
                            </a:lnTo>
                            <a:lnTo>
                              <a:pt x="851959" y="836083"/>
                            </a:lnTo>
                            <a:lnTo>
                              <a:pt x="849313" y="838729"/>
                            </a:lnTo>
                            <a:lnTo>
                              <a:pt x="846667" y="844020"/>
                            </a:lnTo>
                            <a:lnTo>
                              <a:pt x="844021" y="849312"/>
                            </a:lnTo>
                            <a:lnTo>
                              <a:pt x="844021" y="851958"/>
                            </a:lnTo>
                            <a:lnTo>
                              <a:pt x="841376" y="849312"/>
                            </a:lnTo>
                            <a:lnTo>
                              <a:pt x="838730" y="851958"/>
                            </a:lnTo>
                            <a:lnTo>
                              <a:pt x="836084" y="854604"/>
                            </a:lnTo>
                            <a:lnTo>
                              <a:pt x="825500" y="854604"/>
                            </a:lnTo>
                            <a:lnTo>
                              <a:pt x="799042" y="851958"/>
                            </a:lnTo>
                            <a:lnTo>
                              <a:pt x="791105" y="851958"/>
                            </a:lnTo>
                            <a:lnTo>
                              <a:pt x="785813" y="854604"/>
                            </a:lnTo>
                            <a:lnTo>
                              <a:pt x="772584" y="865187"/>
                            </a:lnTo>
                            <a:lnTo>
                              <a:pt x="762000" y="875770"/>
                            </a:lnTo>
                            <a:lnTo>
                              <a:pt x="748771" y="883708"/>
                            </a:lnTo>
                            <a:lnTo>
                              <a:pt x="740834" y="886354"/>
                            </a:lnTo>
                            <a:lnTo>
                              <a:pt x="738188" y="886354"/>
                            </a:lnTo>
                            <a:lnTo>
                              <a:pt x="738188" y="881062"/>
                            </a:lnTo>
                            <a:lnTo>
                              <a:pt x="732896" y="878416"/>
                            </a:lnTo>
                            <a:lnTo>
                              <a:pt x="724959" y="878416"/>
                            </a:lnTo>
                            <a:lnTo>
                              <a:pt x="722313" y="875770"/>
                            </a:lnTo>
                            <a:lnTo>
                              <a:pt x="722313" y="873125"/>
                            </a:lnTo>
                            <a:lnTo>
                              <a:pt x="724959" y="870479"/>
                            </a:lnTo>
                            <a:lnTo>
                              <a:pt x="727605" y="867833"/>
                            </a:lnTo>
                            <a:lnTo>
                              <a:pt x="719667" y="870479"/>
                            </a:lnTo>
                            <a:lnTo>
                              <a:pt x="711730" y="870479"/>
                            </a:lnTo>
                            <a:lnTo>
                              <a:pt x="714375" y="865187"/>
                            </a:lnTo>
                            <a:lnTo>
                              <a:pt x="719667" y="862541"/>
                            </a:lnTo>
                            <a:lnTo>
                              <a:pt x="717021" y="862541"/>
                            </a:lnTo>
                            <a:lnTo>
                              <a:pt x="714375" y="862541"/>
                            </a:lnTo>
                            <a:lnTo>
                              <a:pt x="711730" y="862541"/>
                            </a:lnTo>
                            <a:lnTo>
                              <a:pt x="714375" y="854604"/>
                            </a:lnTo>
                            <a:lnTo>
                              <a:pt x="714375" y="849312"/>
                            </a:lnTo>
                            <a:lnTo>
                              <a:pt x="711730" y="849312"/>
                            </a:lnTo>
                            <a:lnTo>
                              <a:pt x="709084" y="851958"/>
                            </a:lnTo>
                            <a:lnTo>
                              <a:pt x="703792" y="857250"/>
                            </a:lnTo>
                            <a:lnTo>
                              <a:pt x="703792" y="859895"/>
                            </a:lnTo>
                            <a:lnTo>
                              <a:pt x="709084" y="859895"/>
                            </a:lnTo>
                            <a:lnTo>
                              <a:pt x="709084" y="862541"/>
                            </a:lnTo>
                            <a:lnTo>
                              <a:pt x="703792" y="865187"/>
                            </a:lnTo>
                            <a:lnTo>
                              <a:pt x="701146" y="865187"/>
                            </a:lnTo>
                            <a:lnTo>
                              <a:pt x="695855" y="865187"/>
                            </a:lnTo>
                            <a:lnTo>
                              <a:pt x="687917" y="870479"/>
                            </a:lnTo>
                            <a:lnTo>
                              <a:pt x="679980" y="875770"/>
                            </a:lnTo>
                            <a:lnTo>
                              <a:pt x="677334" y="875770"/>
                            </a:lnTo>
                            <a:lnTo>
                              <a:pt x="677334" y="873125"/>
                            </a:lnTo>
                            <a:lnTo>
                              <a:pt x="672042" y="873125"/>
                            </a:lnTo>
                            <a:lnTo>
                              <a:pt x="664105" y="875770"/>
                            </a:lnTo>
                            <a:lnTo>
                              <a:pt x="658813" y="873125"/>
                            </a:lnTo>
                            <a:lnTo>
                              <a:pt x="656167" y="870479"/>
                            </a:lnTo>
                            <a:lnTo>
                              <a:pt x="648230" y="870479"/>
                            </a:lnTo>
                            <a:lnTo>
                              <a:pt x="642938" y="870479"/>
                            </a:lnTo>
                            <a:lnTo>
                              <a:pt x="637646" y="867833"/>
                            </a:lnTo>
                            <a:lnTo>
                              <a:pt x="629708" y="862541"/>
                            </a:lnTo>
                            <a:lnTo>
                              <a:pt x="616479" y="857250"/>
                            </a:lnTo>
                            <a:lnTo>
                              <a:pt x="605896" y="851958"/>
                            </a:lnTo>
                            <a:lnTo>
                              <a:pt x="605896" y="849312"/>
                            </a:lnTo>
                            <a:lnTo>
                              <a:pt x="605896" y="846666"/>
                            </a:lnTo>
                            <a:lnTo>
                              <a:pt x="605896" y="841375"/>
                            </a:lnTo>
                            <a:lnTo>
                              <a:pt x="603250" y="836083"/>
                            </a:lnTo>
                            <a:lnTo>
                              <a:pt x="600604" y="833437"/>
                            </a:lnTo>
                            <a:lnTo>
                              <a:pt x="597958" y="828145"/>
                            </a:lnTo>
                            <a:lnTo>
                              <a:pt x="597958" y="825500"/>
                            </a:lnTo>
                            <a:lnTo>
                              <a:pt x="603250" y="820208"/>
                            </a:lnTo>
                            <a:lnTo>
                              <a:pt x="611187" y="812270"/>
                            </a:lnTo>
                            <a:lnTo>
                              <a:pt x="613833" y="806979"/>
                            </a:lnTo>
                            <a:lnTo>
                              <a:pt x="616479" y="799041"/>
                            </a:lnTo>
                            <a:lnTo>
                              <a:pt x="616479" y="793750"/>
                            </a:lnTo>
                            <a:lnTo>
                              <a:pt x="619125" y="791104"/>
                            </a:lnTo>
                            <a:lnTo>
                              <a:pt x="627062" y="788458"/>
                            </a:lnTo>
                            <a:lnTo>
                              <a:pt x="632354" y="785812"/>
                            </a:lnTo>
                            <a:lnTo>
                              <a:pt x="627062" y="783166"/>
                            </a:lnTo>
                            <a:lnTo>
                              <a:pt x="621771" y="783166"/>
                            </a:lnTo>
                            <a:lnTo>
                              <a:pt x="619125" y="785812"/>
                            </a:lnTo>
                            <a:lnTo>
                              <a:pt x="613833" y="785812"/>
                            </a:lnTo>
                            <a:lnTo>
                              <a:pt x="597958" y="783166"/>
                            </a:lnTo>
                            <a:lnTo>
                              <a:pt x="608542" y="777875"/>
                            </a:lnTo>
                            <a:lnTo>
                              <a:pt x="613833" y="772583"/>
                            </a:lnTo>
                            <a:lnTo>
                              <a:pt x="613833" y="764645"/>
                            </a:lnTo>
                            <a:lnTo>
                              <a:pt x="613833" y="754062"/>
                            </a:lnTo>
                            <a:lnTo>
                              <a:pt x="613833" y="748770"/>
                            </a:lnTo>
                            <a:lnTo>
                              <a:pt x="611187" y="748770"/>
                            </a:lnTo>
                            <a:lnTo>
                              <a:pt x="600604" y="762000"/>
                            </a:lnTo>
                            <a:lnTo>
                              <a:pt x="595312" y="769937"/>
                            </a:lnTo>
                            <a:lnTo>
                              <a:pt x="590021" y="775229"/>
                            </a:lnTo>
                            <a:lnTo>
                              <a:pt x="582083" y="775229"/>
                            </a:lnTo>
                            <a:lnTo>
                              <a:pt x="574146" y="775229"/>
                            </a:lnTo>
                            <a:lnTo>
                              <a:pt x="568854" y="775229"/>
                            </a:lnTo>
                            <a:lnTo>
                              <a:pt x="566208" y="775229"/>
                            </a:lnTo>
                            <a:lnTo>
                              <a:pt x="566208" y="772583"/>
                            </a:lnTo>
                            <a:lnTo>
                              <a:pt x="566208" y="769937"/>
                            </a:lnTo>
                            <a:lnTo>
                              <a:pt x="574146" y="764645"/>
                            </a:lnTo>
                            <a:lnTo>
                              <a:pt x="579437" y="764645"/>
                            </a:lnTo>
                            <a:lnTo>
                              <a:pt x="584729" y="762000"/>
                            </a:lnTo>
                            <a:lnTo>
                              <a:pt x="584729" y="759354"/>
                            </a:lnTo>
                            <a:lnTo>
                              <a:pt x="587375" y="754062"/>
                            </a:lnTo>
                            <a:lnTo>
                              <a:pt x="590021" y="748770"/>
                            </a:lnTo>
                            <a:lnTo>
                              <a:pt x="597958" y="743479"/>
                            </a:lnTo>
                            <a:lnTo>
                              <a:pt x="608542" y="735541"/>
                            </a:lnTo>
                            <a:lnTo>
                              <a:pt x="619125" y="727604"/>
                            </a:lnTo>
                            <a:lnTo>
                              <a:pt x="619125" y="724958"/>
                            </a:lnTo>
                            <a:lnTo>
                              <a:pt x="619125" y="722312"/>
                            </a:lnTo>
                            <a:lnTo>
                              <a:pt x="616479" y="719666"/>
                            </a:lnTo>
                            <a:lnTo>
                              <a:pt x="621771" y="717020"/>
                            </a:lnTo>
                            <a:lnTo>
                              <a:pt x="624417" y="711729"/>
                            </a:lnTo>
                            <a:lnTo>
                              <a:pt x="624417" y="706437"/>
                            </a:lnTo>
                            <a:lnTo>
                              <a:pt x="621771" y="701145"/>
                            </a:lnTo>
                            <a:lnTo>
                              <a:pt x="627062" y="695854"/>
                            </a:lnTo>
                            <a:lnTo>
                              <a:pt x="619125" y="698500"/>
                            </a:lnTo>
                            <a:lnTo>
                              <a:pt x="616479" y="703791"/>
                            </a:lnTo>
                            <a:lnTo>
                              <a:pt x="613833" y="709083"/>
                            </a:lnTo>
                            <a:lnTo>
                              <a:pt x="611187" y="711729"/>
                            </a:lnTo>
                            <a:lnTo>
                              <a:pt x="608542" y="711729"/>
                            </a:lnTo>
                            <a:lnTo>
                              <a:pt x="605896" y="714375"/>
                            </a:lnTo>
                            <a:lnTo>
                              <a:pt x="600604" y="722312"/>
                            </a:lnTo>
                            <a:lnTo>
                              <a:pt x="595312" y="730250"/>
                            </a:lnTo>
                            <a:lnTo>
                              <a:pt x="592667" y="732895"/>
                            </a:lnTo>
                            <a:lnTo>
                              <a:pt x="587375" y="732895"/>
                            </a:lnTo>
                            <a:lnTo>
                              <a:pt x="582083" y="732895"/>
                            </a:lnTo>
                            <a:lnTo>
                              <a:pt x="574146" y="738187"/>
                            </a:lnTo>
                            <a:lnTo>
                              <a:pt x="563562" y="746125"/>
                            </a:lnTo>
                            <a:lnTo>
                              <a:pt x="550333" y="751416"/>
                            </a:lnTo>
                            <a:lnTo>
                              <a:pt x="547687" y="754062"/>
                            </a:lnTo>
                            <a:lnTo>
                              <a:pt x="550333" y="756708"/>
                            </a:lnTo>
                            <a:lnTo>
                              <a:pt x="545042" y="759354"/>
                            </a:lnTo>
                            <a:lnTo>
                              <a:pt x="534458" y="762000"/>
                            </a:lnTo>
                            <a:lnTo>
                              <a:pt x="531812" y="756708"/>
                            </a:lnTo>
                            <a:lnTo>
                              <a:pt x="529167" y="751416"/>
                            </a:lnTo>
                            <a:lnTo>
                              <a:pt x="531812" y="746125"/>
                            </a:lnTo>
                            <a:lnTo>
                              <a:pt x="534458" y="735541"/>
                            </a:lnTo>
                            <a:lnTo>
                              <a:pt x="534458" y="724958"/>
                            </a:lnTo>
                            <a:lnTo>
                              <a:pt x="534458" y="714375"/>
                            </a:lnTo>
                            <a:lnTo>
                              <a:pt x="531812" y="711729"/>
                            </a:lnTo>
                            <a:lnTo>
                              <a:pt x="526521" y="709083"/>
                            </a:lnTo>
                            <a:lnTo>
                              <a:pt x="518583" y="706437"/>
                            </a:lnTo>
                            <a:lnTo>
                              <a:pt x="515937" y="701145"/>
                            </a:lnTo>
                            <a:lnTo>
                              <a:pt x="513292" y="698500"/>
                            </a:lnTo>
                            <a:lnTo>
                              <a:pt x="515937" y="695854"/>
                            </a:lnTo>
                            <a:lnTo>
                              <a:pt x="515937" y="693208"/>
                            </a:lnTo>
                            <a:lnTo>
                              <a:pt x="513292" y="687916"/>
                            </a:lnTo>
                            <a:lnTo>
                              <a:pt x="508000" y="682625"/>
                            </a:lnTo>
                            <a:lnTo>
                              <a:pt x="500062" y="682625"/>
                            </a:lnTo>
                            <a:lnTo>
                              <a:pt x="494771" y="685270"/>
                            </a:lnTo>
                            <a:lnTo>
                              <a:pt x="492125" y="682625"/>
                            </a:lnTo>
                            <a:lnTo>
                              <a:pt x="492125" y="679979"/>
                            </a:lnTo>
                            <a:lnTo>
                              <a:pt x="486833" y="679979"/>
                            </a:lnTo>
                            <a:lnTo>
                              <a:pt x="481542" y="682625"/>
                            </a:lnTo>
                            <a:lnTo>
                              <a:pt x="476250" y="679979"/>
                            </a:lnTo>
                            <a:lnTo>
                              <a:pt x="468312" y="674687"/>
                            </a:lnTo>
                            <a:lnTo>
                              <a:pt x="460375" y="666750"/>
                            </a:lnTo>
                            <a:lnTo>
                              <a:pt x="455083" y="666750"/>
                            </a:lnTo>
                            <a:lnTo>
                              <a:pt x="449792" y="666750"/>
                            </a:lnTo>
                            <a:lnTo>
                              <a:pt x="439208" y="666750"/>
                            </a:lnTo>
                            <a:lnTo>
                              <a:pt x="428625" y="664104"/>
                            </a:lnTo>
                            <a:lnTo>
                              <a:pt x="415396" y="664104"/>
                            </a:lnTo>
                            <a:lnTo>
                              <a:pt x="399521" y="666750"/>
                            </a:lnTo>
                            <a:lnTo>
                              <a:pt x="381000" y="674687"/>
                            </a:lnTo>
                            <a:lnTo>
                              <a:pt x="370417" y="679979"/>
                            </a:lnTo>
                            <a:lnTo>
                              <a:pt x="362479" y="685270"/>
                            </a:lnTo>
                            <a:lnTo>
                              <a:pt x="346604" y="687916"/>
                            </a:lnTo>
                            <a:lnTo>
                              <a:pt x="322792" y="690562"/>
                            </a:lnTo>
                            <a:lnTo>
                              <a:pt x="309562" y="690562"/>
                            </a:lnTo>
                            <a:lnTo>
                              <a:pt x="296333" y="690562"/>
                            </a:lnTo>
                            <a:lnTo>
                              <a:pt x="285750" y="693208"/>
                            </a:lnTo>
                            <a:lnTo>
                              <a:pt x="264583" y="703791"/>
                            </a:lnTo>
                            <a:lnTo>
                              <a:pt x="256646" y="709083"/>
                            </a:lnTo>
                            <a:lnTo>
                              <a:pt x="248708" y="711729"/>
                            </a:lnTo>
                            <a:lnTo>
                              <a:pt x="238125" y="714375"/>
                            </a:lnTo>
                            <a:lnTo>
                              <a:pt x="238125" y="717020"/>
                            </a:lnTo>
                            <a:lnTo>
                              <a:pt x="235479" y="724958"/>
                            </a:lnTo>
                            <a:lnTo>
                              <a:pt x="224896" y="732895"/>
                            </a:lnTo>
                            <a:lnTo>
                              <a:pt x="211666" y="738187"/>
                            </a:lnTo>
                            <a:lnTo>
                              <a:pt x="206375" y="735541"/>
                            </a:lnTo>
                            <a:lnTo>
                              <a:pt x="203729" y="732895"/>
                            </a:lnTo>
                            <a:lnTo>
                              <a:pt x="201083" y="735541"/>
                            </a:lnTo>
                            <a:lnTo>
                              <a:pt x="198437" y="738187"/>
                            </a:lnTo>
                            <a:lnTo>
                              <a:pt x="193146" y="738187"/>
                            </a:lnTo>
                            <a:lnTo>
                              <a:pt x="187854" y="738187"/>
                            </a:lnTo>
                            <a:lnTo>
                              <a:pt x="179916" y="740833"/>
                            </a:lnTo>
                            <a:lnTo>
                              <a:pt x="177271" y="740833"/>
                            </a:lnTo>
                            <a:lnTo>
                              <a:pt x="174625" y="740833"/>
                            </a:lnTo>
                            <a:lnTo>
                              <a:pt x="169333" y="738187"/>
                            </a:lnTo>
                            <a:lnTo>
                              <a:pt x="166687" y="735541"/>
                            </a:lnTo>
                            <a:lnTo>
                              <a:pt x="164041" y="735541"/>
                            </a:lnTo>
                            <a:lnTo>
                              <a:pt x="156104" y="735541"/>
                            </a:lnTo>
                            <a:lnTo>
                              <a:pt x="148166" y="735541"/>
                            </a:lnTo>
                            <a:lnTo>
                              <a:pt x="140229" y="735541"/>
                            </a:lnTo>
                            <a:lnTo>
                              <a:pt x="124354" y="740833"/>
                            </a:lnTo>
                            <a:lnTo>
                              <a:pt x="119062" y="740833"/>
                            </a:lnTo>
                            <a:lnTo>
                              <a:pt x="116416" y="740833"/>
                            </a:lnTo>
                            <a:lnTo>
                              <a:pt x="108479" y="743479"/>
                            </a:lnTo>
                            <a:lnTo>
                              <a:pt x="100541" y="748770"/>
                            </a:lnTo>
                            <a:lnTo>
                              <a:pt x="97896" y="754062"/>
                            </a:lnTo>
                            <a:lnTo>
                              <a:pt x="97896" y="756708"/>
                            </a:lnTo>
                            <a:lnTo>
                              <a:pt x="92604" y="756708"/>
                            </a:lnTo>
                            <a:lnTo>
                              <a:pt x="87312" y="756708"/>
                            </a:lnTo>
                            <a:lnTo>
                              <a:pt x="84666" y="762000"/>
                            </a:lnTo>
                            <a:lnTo>
                              <a:pt x="79375" y="764645"/>
                            </a:lnTo>
                            <a:lnTo>
                              <a:pt x="76729" y="767291"/>
                            </a:lnTo>
                            <a:lnTo>
                              <a:pt x="71437" y="767291"/>
                            </a:lnTo>
                            <a:lnTo>
                              <a:pt x="68791" y="769937"/>
                            </a:lnTo>
                            <a:lnTo>
                              <a:pt x="66146" y="769937"/>
                            </a:lnTo>
                            <a:lnTo>
                              <a:pt x="60854" y="769937"/>
                            </a:lnTo>
                            <a:lnTo>
                              <a:pt x="58208" y="769937"/>
                            </a:lnTo>
                            <a:lnTo>
                              <a:pt x="55562" y="772583"/>
                            </a:lnTo>
                            <a:lnTo>
                              <a:pt x="52916" y="775229"/>
                            </a:lnTo>
                            <a:lnTo>
                              <a:pt x="47625" y="772583"/>
                            </a:lnTo>
                            <a:lnTo>
                              <a:pt x="39687" y="769937"/>
                            </a:lnTo>
                            <a:lnTo>
                              <a:pt x="37041" y="769937"/>
                            </a:lnTo>
                            <a:lnTo>
                              <a:pt x="31750" y="769937"/>
                            </a:lnTo>
                            <a:lnTo>
                              <a:pt x="29104" y="764645"/>
                            </a:lnTo>
                            <a:lnTo>
                              <a:pt x="23812" y="759354"/>
                            </a:lnTo>
                            <a:lnTo>
                              <a:pt x="21166" y="756708"/>
                            </a:lnTo>
                            <a:lnTo>
                              <a:pt x="13229" y="756708"/>
                            </a:lnTo>
                            <a:lnTo>
                              <a:pt x="7937" y="756708"/>
                            </a:lnTo>
                            <a:lnTo>
                              <a:pt x="7937" y="754062"/>
                            </a:lnTo>
                            <a:lnTo>
                              <a:pt x="5291" y="748770"/>
                            </a:lnTo>
                            <a:lnTo>
                              <a:pt x="5291" y="743479"/>
                            </a:lnTo>
                            <a:lnTo>
                              <a:pt x="2646" y="740833"/>
                            </a:lnTo>
                            <a:lnTo>
                              <a:pt x="0" y="738187"/>
                            </a:lnTo>
                            <a:lnTo>
                              <a:pt x="2646" y="735541"/>
                            </a:lnTo>
                            <a:lnTo>
                              <a:pt x="5291" y="732895"/>
                            </a:lnTo>
                            <a:lnTo>
                              <a:pt x="7937" y="735541"/>
                            </a:lnTo>
                            <a:lnTo>
                              <a:pt x="10583" y="735541"/>
                            </a:lnTo>
                            <a:lnTo>
                              <a:pt x="18521" y="732895"/>
                            </a:lnTo>
                            <a:lnTo>
                              <a:pt x="26458" y="730250"/>
                            </a:lnTo>
                            <a:lnTo>
                              <a:pt x="26458" y="727604"/>
                            </a:lnTo>
                            <a:lnTo>
                              <a:pt x="26458" y="724958"/>
                            </a:lnTo>
                            <a:lnTo>
                              <a:pt x="29104" y="719666"/>
                            </a:lnTo>
                            <a:lnTo>
                              <a:pt x="31750" y="714375"/>
                            </a:lnTo>
                            <a:lnTo>
                              <a:pt x="31750" y="709083"/>
                            </a:lnTo>
                            <a:lnTo>
                              <a:pt x="31750" y="703791"/>
                            </a:lnTo>
                            <a:lnTo>
                              <a:pt x="31750" y="698500"/>
                            </a:lnTo>
                            <a:lnTo>
                              <a:pt x="34396" y="695854"/>
                            </a:lnTo>
                            <a:lnTo>
                              <a:pt x="37041" y="698500"/>
                            </a:lnTo>
                            <a:lnTo>
                              <a:pt x="39687" y="701145"/>
                            </a:lnTo>
                            <a:lnTo>
                              <a:pt x="42333" y="698500"/>
                            </a:lnTo>
                            <a:lnTo>
                              <a:pt x="42333" y="695854"/>
                            </a:lnTo>
                            <a:lnTo>
                              <a:pt x="42333" y="693208"/>
                            </a:lnTo>
                            <a:lnTo>
                              <a:pt x="44979" y="685270"/>
                            </a:lnTo>
                            <a:lnTo>
                              <a:pt x="47625" y="677333"/>
                            </a:lnTo>
                            <a:lnTo>
                              <a:pt x="47625" y="669395"/>
                            </a:lnTo>
                            <a:lnTo>
                              <a:pt x="47625" y="650875"/>
                            </a:lnTo>
                            <a:lnTo>
                              <a:pt x="50271" y="627062"/>
                            </a:lnTo>
                            <a:lnTo>
                              <a:pt x="50271" y="616479"/>
                            </a:lnTo>
                            <a:lnTo>
                              <a:pt x="55562" y="605895"/>
                            </a:lnTo>
                            <a:lnTo>
                              <a:pt x="58208" y="595312"/>
                            </a:lnTo>
                            <a:lnTo>
                              <a:pt x="55562" y="584729"/>
                            </a:lnTo>
                            <a:lnTo>
                              <a:pt x="52916" y="574145"/>
                            </a:lnTo>
                            <a:lnTo>
                              <a:pt x="50271" y="566208"/>
                            </a:lnTo>
                            <a:lnTo>
                              <a:pt x="42333" y="550333"/>
                            </a:lnTo>
                            <a:lnTo>
                              <a:pt x="42333" y="542395"/>
                            </a:lnTo>
                            <a:lnTo>
                              <a:pt x="42333" y="537104"/>
                            </a:lnTo>
                            <a:lnTo>
                              <a:pt x="44979" y="531812"/>
                            </a:lnTo>
                            <a:lnTo>
                              <a:pt x="44979" y="523875"/>
                            </a:lnTo>
                            <a:lnTo>
                              <a:pt x="42333" y="515937"/>
                            </a:lnTo>
                            <a:lnTo>
                              <a:pt x="39687" y="497416"/>
                            </a:lnTo>
                            <a:lnTo>
                              <a:pt x="39687" y="492125"/>
                            </a:lnTo>
                            <a:lnTo>
                              <a:pt x="42333" y="489479"/>
                            </a:lnTo>
                            <a:lnTo>
                              <a:pt x="47625" y="494770"/>
                            </a:lnTo>
                            <a:lnTo>
                              <a:pt x="55562" y="500062"/>
                            </a:lnTo>
                            <a:lnTo>
                              <a:pt x="55562" y="494770"/>
                            </a:lnTo>
                            <a:lnTo>
                              <a:pt x="55562" y="484187"/>
                            </a:lnTo>
                            <a:lnTo>
                              <a:pt x="55562" y="473604"/>
                            </a:lnTo>
                            <a:lnTo>
                              <a:pt x="55562" y="468312"/>
                            </a:lnTo>
                            <a:lnTo>
                              <a:pt x="58208" y="465666"/>
                            </a:lnTo>
                            <a:lnTo>
                              <a:pt x="60854" y="468312"/>
                            </a:lnTo>
                            <a:lnTo>
                              <a:pt x="60854" y="476250"/>
                            </a:lnTo>
                            <a:lnTo>
                              <a:pt x="60854" y="484187"/>
                            </a:lnTo>
                            <a:lnTo>
                              <a:pt x="63500" y="497416"/>
                            </a:lnTo>
                            <a:lnTo>
                              <a:pt x="66146" y="492125"/>
                            </a:lnTo>
                            <a:lnTo>
                              <a:pt x="68791" y="486833"/>
                            </a:lnTo>
                            <a:lnTo>
                              <a:pt x="71437" y="484187"/>
                            </a:lnTo>
                            <a:lnTo>
                              <a:pt x="74083" y="478895"/>
                            </a:lnTo>
                            <a:lnTo>
                              <a:pt x="71437" y="463020"/>
                            </a:lnTo>
                            <a:lnTo>
                              <a:pt x="68791" y="447146"/>
                            </a:lnTo>
                            <a:lnTo>
                              <a:pt x="68791" y="439208"/>
                            </a:lnTo>
                            <a:lnTo>
                              <a:pt x="68791" y="431271"/>
                            </a:lnTo>
                            <a:lnTo>
                              <a:pt x="76729" y="423333"/>
                            </a:lnTo>
                            <a:lnTo>
                              <a:pt x="84666" y="418041"/>
                            </a:lnTo>
                            <a:lnTo>
                              <a:pt x="84666" y="412750"/>
                            </a:lnTo>
                            <a:lnTo>
                              <a:pt x="84666" y="410104"/>
                            </a:lnTo>
                            <a:lnTo>
                              <a:pt x="84666" y="407458"/>
                            </a:lnTo>
                            <a:lnTo>
                              <a:pt x="89958" y="404812"/>
                            </a:lnTo>
                            <a:lnTo>
                              <a:pt x="92604" y="402166"/>
                            </a:lnTo>
                            <a:lnTo>
                              <a:pt x="92604" y="399521"/>
                            </a:lnTo>
                            <a:lnTo>
                              <a:pt x="89958" y="396875"/>
                            </a:lnTo>
                            <a:lnTo>
                              <a:pt x="87312" y="394229"/>
                            </a:lnTo>
                            <a:lnTo>
                              <a:pt x="87312" y="391583"/>
                            </a:lnTo>
                            <a:lnTo>
                              <a:pt x="111125" y="365125"/>
                            </a:lnTo>
                            <a:lnTo>
                              <a:pt x="108479" y="378354"/>
                            </a:lnTo>
                            <a:lnTo>
                              <a:pt x="108479" y="383646"/>
                            </a:lnTo>
                            <a:lnTo>
                              <a:pt x="108479" y="386291"/>
                            </a:lnTo>
                            <a:lnTo>
                              <a:pt x="113771" y="381000"/>
                            </a:lnTo>
                            <a:lnTo>
                              <a:pt x="119062" y="378354"/>
                            </a:lnTo>
                            <a:lnTo>
                              <a:pt x="119062" y="370416"/>
                            </a:lnTo>
                            <a:lnTo>
                              <a:pt x="119062" y="365125"/>
                            </a:lnTo>
                            <a:lnTo>
                              <a:pt x="121708" y="362479"/>
                            </a:lnTo>
                            <a:lnTo>
                              <a:pt x="127000" y="359833"/>
                            </a:lnTo>
                            <a:lnTo>
                              <a:pt x="137583" y="357187"/>
                            </a:lnTo>
                            <a:lnTo>
                              <a:pt x="145521" y="351896"/>
                            </a:lnTo>
                            <a:lnTo>
                              <a:pt x="150812" y="343958"/>
                            </a:lnTo>
                            <a:lnTo>
                              <a:pt x="158750" y="333375"/>
                            </a:lnTo>
                            <a:lnTo>
                              <a:pt x="166687" y="325437"/>
                            </a:lnTo>
                            <a:lnTo>
                              <a:pt x="169333" y="325437"/>
                            </a:lnTo>
                            <a:lnTo>
                              <a:pt x="174625" y="328083"/>
                            </a:lnTo>
                            <a:lnTo>
                              <a:pt x="187854" y="325437"/>
                            </a:lnTo>
                            <a:lnTo>
                              <a:pt x="203729" y="320146"/>
                            </a:lnTo>
                            <a:lnTo>
                              <a:pt x="222250" y="317500"/>
                            </a:lnTo>
                            <a:lnTo>
                              <a:pt x="227542" y="317500"/>
                            </a:lnTo>
                            <a:lnTo>
                              <a:pt x="227542" y="314854"/>
                            </a:lnTo>
                            <a:lnTo>
                              <a:pt x="230187" y="312208"/>
                            </a:lnTo>
                            <a:lnTo>
                              <a:pt x="238125" y="309562"/>
                            </a:lnTo>
                            <a:lnTo>
                              <a:pt x="254000" y="306916"/>
                            </a:lnTo>
                            <a:lnTo>
                              <a:pt x="261937" y="304271"/>
                            </a:lnTo>
                            <a:lnTo>
                              <a:pt x="275167" y="298979"/>
                            </a:lnTo>
                            <a:lnTo>
                              <a:pt x="301625" y="293687"/>
                            </a:lnTo>
                            <a:lnTo>
                              <a:pt x="320146" y="285750"/>
                            </a:lnTo>
                            <a:lnTo>
                              <a:pt x="330729" y="277812"/>
                            </a:lnTo>
                            <a:lnTo>
                              <a:pt x="338667" y="267229"/>
                            </a:lnTo>
                            <a:lnTo>
                              <a:pt x="354542" y="240771"/>
                            </a:lnTo>
                            <a:lnTo>
                              <a:pt x="359833" y="235479"/>
                            </a:lnTo>
                            <a:lnTo>
                              <a:pt x="370417" y="235479"/>
                            </a:lnTo>
                            <a:lnTo>
                              <a:pt x="373062" y="232833"/>
                            </a:lnTo>
                            <a:lnTo>
                              <a:pt x="370417" y="230187"/>
                            </a:lnTo>
                            <a:lnTo>
                              <a:pt x="365125" y="224896"/>
                            </a:lnTo>
                            <a:lnTo>
                              <a:pt x="365125" y="222250"/>
                            </a:lnTo>
                            <a:lnTo>
                              <a:pt x="365125" y="219604"/>
                            </a:lnTo>
                            <a:lnTo>
                              <a:pt x="367771" y="211666"/>
                            </a:lnTo>
                            <a:lnTo>
                              <a:pt x="365125" y="209021"/>
                            </a:lnTo>
                            <a:lnTo>
                              <a:pt x="370417" y="203729"/>
                            </a:lnTo>
                            <a:lnTo>
                              <a:pt x="378354" y="195791"/>
                            </a:lnTo>
                            <a:lnTo>
                              <a:pt x="386292" y="190500"/>
                            </a:lnTo>
                            <a:lnTo>
                              <a:pt x="391583" y="185208"/>
                            </a:lnTo>
                            <a:lnTo>
                              <a:pt x="394229" y="185208"/>
                            </a:lnTo>
                            <a:lnTo>
                              <a:pt x="396875" y="185208"/>
                            </a:lnTo>
                            <a:lnTo>
                              <a:pt x="396875" y="187854"/>
                            </a:lnTo>
                            <a:lnTo>
                              <a:pt x="394229" y="190500"/>
                            </a:lnTo>
                            <a:lnTo>
                              <a:pt x="399521" y="198437"/>
                            </a:lnTo>
                            <a:lnTo>
                              <a:pt x="410104" y="214312"/>
                            </a:lnTo>
                            <a:lnTo>
                              <a:pt x="410104" y="206375"/>
                            </a:lnTo>
                            <a:lnTo>
                              <a:pt x="410104" y="201083"/>
                            </a:lnTo>
                            <a:lnTo>
                              <a:pt x="412750" y="195791"/>
                            </a:lnTo>
                            <a:lnTo>
                              <a:pt x="418042" y="195791"/>
                            </a:lnTo>
                            <a:lnTo>
                              <a:pt x="407458" y="182562"/>
                            </a:lnTo>
                            <a:lnTo>
                              <a:pt x="407458" y="179916"/>
                            </a:lnTo>
                            <a:lnTo>
                              <a:pt x="412750" y="179916"/>
                            </a:lnTo>
                            <a:lnTo>
                              <a:pt x="415396" y="177271"/>
                            </a:lnTo>
                            <a:lnTo>
                              <a:pt x="415396" y="171979"/>
                            </a:lnTo>
                            <a:lnTo>
                              <a:pt x="415396" y="166687"/>
                            </a:lnTo>
                            <a:lnTo>
                              <a:pt x="423333" y="169333"/>
                            </a:lnTo>
                            <a:lnTo>
                              <a:pt x="428625" y="171979"/>
                            </a:lnTo>
                            <a:lnTo>
                              <a:pt x="433917" y="174625"/>
                            </a:lnTo>
                            <a:lnTo>
                              <a:pt x="431271" y="177271"/>
                            </a:lnTo>
                            <a:lnTo>
                              <a:pt x="428625" y="182562"/>
                            </a:lnTo>
                            <a:lnTo>
                              <a:pt x="433917" y="179916"/>
                            </a:lnTo>
                            <a:lnTo>
                              <a:pt x="447146" y="182562"/>
                            </a:lnTo>
                            <a:lnTo>
                              <a:pt x="439208" y="177271"/>
                            </a:lnTo>
                            <a:lnTo>
                              <a:pt x="439208" y="174625"/>
                            </a:lnTo>
                            <a:lnTo>
                              <a:pt x="439208" y="171979"/>
                            </a:lnTo>
                            <a:lnTo>
                              <a:pt x="449792" y="158750"/>
                            </a:lnTo>
                            <a:lnTo>
                              <a:pt x="444500" y="161396"/>
                            </a:lnTo>
                            <a:lnTo>
                              <a:pt x="439208" y="171979"/>
                            </a:lnTo>
                            <a:lnTo>
                              <a:pt x="436562" y="164041"/>
                            </a:lnTo>
                            <a:lnTo>
                              <a:pt x="436562" y="158750"/>
                            </a:lnTo>
                            <a:lnTo>
                              <a:pt x="441854" y="153458"/>
                            </a:lnTo>
                            <a:lnTo>
                              <a:pt x="447146" y="150812"/>
                            </a:lnTo>
                            <a:lnTo>
                              <a:pt x="447146" y="148167"/>
                            </a:lnTo>
                            <a:lnTo>
                              <a:pt x="447146" y="145521"/>
                            </a:lnTo>
                            <a:lnTo>
                              <a:pt x="449792" y="142875"/>
                            </a:lnTo>
                            <a:lnTo>
                              <a:pt x="452437" y="145521"/>
                            </a:lnTo>
                            <a:lnTo>
                              <a:pt x="455083" y="148167"/>
                            </a:lnTo>
                            <a:lnTo>
                              <a:pt x="457729" y="150812"/>
                            </a:lnTo>
                            <a:lnTo>
                              <a:pt x="460375" y="148167"/>
                            </a:lnTo>
                            <a:lnTo>
                              <a:pt x="463021" y="145521"/>
                            </a:lnTo>
                            <a:lnTo>
                              <a:pt x="457729" y="140229"/>
                            </a:lnTo>
                            <a:lnTo>
                              <a:pt x="455083" y="137583"/>
                            </a:lnTo>
                            <a:lnTo>
                              <a:pt x="455083" y="134937"/>
                            </a:lnTo>
                            <a:lnTo>
                              <a:pt x="460375" y="132292"/>
                            </a:lnTo>
                            <a:lnTo>
                              <a:pt x="468312" y="132292"/>
                            </a:lnTo>
                            <a:lnTo>
                              <a:pt x="468312" y="129646"/>
                            </a:lnTo>
                            <a:lnTo>
                              <a:pt x="463021" y="127000"/>
                            </a:lnTo>
                            <a:lnTo>
                              <a:pt x="468312" y="127000"/>
                            </a:lnTo>
                            <a:lnTo>
                              <a:pt x="473604" y="127000"/>
                            </a:lnTo>
                            <a:lnTo>
                              <a:pt x="476250" y="124354"/>
                            </a:lnTo>
                            <a:lnTo>
                              <a:pt x="473604" y="121708"/>
                            </a:lnTo>
                            <a:lnTo>
                              <a:pt x="468312" y="116417"/>
                            </a:lnTo>
                            <a:lnTo>
                              <a:pt x="470958" y="116417"/>
                            </a:lnTo>
                            <a:lnTo>
                              <a:pt x="476250" y="116417"/>
                            </a:lnTo>
                            <a:lnTo>
                              <a:pt x="478896" y="113771"/>
                            </a:lnTo>
                            <a:lnTo>
                              <a:pt x="478896" y="111125"/>
                            </a:lnTo>
                            <a:lnTo>
                              <a:pt x="481542" y="108479"/>
                            </a:lnTo>
                            <a:lnTo>
                              <a:pt x="489479" y="116417"/>
                            </a:lnTo>
                            <a:lnTo>
                              <a:pt x="489479" y="111125"/>
                            </a:lnTo>
                            <a:lnTo>
                              <a:pt x="492125" y="108479"/>
                            </a:lnTo>
                            <a:lnTo>
                              <a:pt x="489479" y="105833"/>
                            </a:lnTo>
                            <a:lnTo>
                              <a:pt x="489479" y="100542"/>
                            </a:lnTo>
                            <a:lnTo>
                              <a:pt x="492125" y="97896"/>
                            </a:lnTo>
                            <a:lnTo>
                              <a:pt x="500062" y="95250"/>
                            </a:lnTo>
                            <a:lnTo>
                              <a:pt x="505354" y="95250"/>
                            </a:lnTo>
                            <a:lnTo>
                              <a:pt x="505354" y="97896"/>
                            </a:lnTo>
                            <a:lnTo>
                              <a:pt x="508000" y="97896"/>
                            </a:lnTo>
                            <a:lnTo>
                              <a:pt x="510646" y="97896"/>
                            </a:lnTo>
                            <a:lnTo>
                              <a:pt x="513292" y="95250"/>
                            </a:lnTo>
                            <a:lnTo>
                              <a:pt x="515937" y="97896"/>
                            </a:lnTo>
                            <a:lnTo>
                              <a:pt x="521229" y="100542"/>
                            </a:lnTo>
                            <a:lnTo>
                              <a:pt x="526521" y="100542"/>
                            </a:lnTo>
                            <a:lnTo>
                              <a:pt x="531812" y="100542"/>
                            </a:lnTo>
                            <a:lnTo>
                              <a:pt x="537104" y="108479"/>
                            </a:lnTo>
                            <a:lnTo>
                              <a:pt x="542396" y="116417"/>
                            </a:lnTo>
                            <a:lnTo>
                              <a:pt x="547687" y="119062"/>
                            </a:lnTo>
                            <a:lnTo>
                              <a:pt x="550333" y="121708"/>
                            </a:lnTo>
                            <a:lnTo>
                              <a:pt x="547687" y="124354"/>
                            </a:lnTo>
                            <a:lnTo>
                              <a:pt x="545042" y="127000"/>
                            </a:lnTo>
                            <a:lnTo>
                              <a:pt x="545042" y="129646"/>
                            </a:lnTo>
                            <a:lnTo>
                              <a:pt x="547687" y="132292"/>
                            </a:lnTo>
                            <a:lnTo>
                              <a:pt x="542396" y="140229"/>
                            </a:lnTo>
                            <a:lnTo>
                              <a:pt x="550333" y="134937"/>
                            </a:lnTo>
                            <a:lnTo>
                              <a:pt x="552979" y="134937"/>
                            </a:lnTo>
                            <a:lnTo>
                              <a:pt x="550333" y="132292"/>
                            </a:lnTo>
                            <a:lnTo>
                              <a:pt x="550333" y="127000"/>
                            </a:lnTo>
                            <a:lnTo>
                              <a:pt x="555625" y="127000"/>
                            </a:lnTo>
                            <a:lnTo>
                              <a:pt x="563562" y="127000"/>
                            </a:lnTo>
                            <a:lnTo>
                              <a:pt x="574146" y="129646"/>
                            </a:lnTo>
                            <a:lnTo>
                              <a:pt x="582083" y="132292"/>
                            </a:lnTo>
                            <a:lnTo>
                              <a:pt x="584729" y="134937"/>
                            </a:lnTo>
                            <a:lnTo>
                              <a:pt x="587375" y="140229"/>
                            </a:lnTo>
                            <a:lnTo>
                              <a:pt x="597958" y="148167"/>
                            </a:lnTo>
                            <a:lnTo>
                              <a:pt x="590021" y="137583"/>
                            </a:lnTo>
                            <a:lnTo>
                              <a:pt x="592667" y="134937"/>
                            </a:lnTo>
                            <a:lnTo>
                              <a:pt x="595312" y="132292"/>
                            </a:lnTo>
                            <a:lnTo>
                              <a:pt x="590021" y="132292"/>
                            </a:lnTo>
                            <a:lnTo>
                              <a:pt x="587375" y="129646"/>
                            </a:lnTo>
                            <a:lnTo>
                              <a:pt x="587375" y="124354"/>
                            </a:lnTo>
                            <a:lnTo>
                              <a:pt x="590021" y="121708"/>
                            </a:lnTo>
                            <a:lnTo>
                              <a:pt x="579437" y="119062"/>
                            </a:lnTo>
                            <a:lnTo>
                              <a:pt x="576792" y="116417"/>
                            </a:lnTo>
                            <a:lnTo>
                              <a:pt x="576792" y="113771"/>
                            </a:lnTo>
                            <a:lnTo>
                              <a:pt x="582083" y="108479"/>
                            </a:lnTo>
                            <a:lnTo>
                              <a:pt x="587375" y="97896"/>
                            </a:lnTo>
                            <a:lnTo>
                              <a:pt x="590021" y="100542"/>
                            </a:lnTo>
                            <a:lnTo>
                              <a:pt x="592667" y="97896"/>
                            </a:lnTo>
                            <a:lnTo>
                              <a:pt x="592667" y="95250"/>
                            </a:lnTo>
                            <a:lnTo>
                              <a:pt x="595312" y="87312"/>
                            </a:lnTo>
                            <a:lnTo>
                              <a:pt x="600604" y="84667"/>
                            </a:lnTo>
                            <a:lnTo>
                              <a:pt x="603250" y="79375"/>
                            </a:lnTo>
                            <a:lnTo>
                              <a:pt x="605896" y="74083"/>
                            </a:lnTo>
                            <a:lnTo>
                              <a:pt x="608542" y="74083"/>
                            </a:lnTo>
                            <a:lnTo>
                              <a:pt x="616479" y="74083"/>
                            </a:lnTo>
                            <a:lnTo>
                              <a:pt x="619125" y="74083"/>
                            </a:lnTo>
                            <a:lnTo>
                              <a:pt x="616479" y="68792"/>
                            </a:lnTo>
                            <a:lnTo>
                              <a:pt x="613833" y="66146"/>
                            </a:lnTo>
                            <a:lnTo>
                              <a:pt x="613833" y="63500"/>
                            </a:lnTo>
                            <a:lnTo>
                              <a:pt x="616479" y="63500"/>
                            </a:lnTo>
                            <a:lnTo>
                              <a:pt x="619125" y="60854"/>
                            </a:lnTo>
                            <a:lnTo>
                              <a:pt x="616479" y="58208"/>
                            </a:lnTo>
                            <a:lnTo>
                              <a:pt x="619125" y="55562"/>
                            </a:lnTo>
                            <a:lnTo>
                              <a:pt x="621771" y="52917"/>
                            </a:lnTo>
                            <a:lnTo>
                              <a:pt x="624417" y="52917"/>
                            </a:lnTo>
                            <a:lnTo>
                              <a:pt x="632354" y="55562"/>
                            </a:lnTo>
                            <a:lnTo>
                              <a:pt x="627062" y="52917"/>
                            </a:lnTo>
                            <a:lnTo>
                              <a:pt x="627062" y="50271"/>
                            </a:lnTo>
                            <a:lnTo>
                              <a:pt x="640292" y="42333"/>
                            </a:lnTo>
                            <a:lnTo>
                              <a:pt x="645584" y="42333"/>
                            </a:lnTo>
                            <a:lnTo>
                              <a:pt x="648230" y="44979"/>
                            </a:lnTo>
                            <a:lnTo>
                              <a:pt x="650875" y="47625"/>
                            </a:lnTo>
                            <a:lnTo>
                              <a:pt x="656167" y="47625"/>
                            </a:lnTo>
                            <a:lnTo>
                              <a:pt x="658813" y="44979"/>
                            </a:lnTo>
                            <a:lnTo>
                              <a:pt x="661459" y="47625"/>
                            </a:lnTo>
                            <a:lnTo>
                              <a:pt x="664105" y="47625"/>
                            </a:lnTo>
                            <a:lnTo>
                              <a:pt x="669396" y="47625"/>
                            </a:lnTo>
                            <a:lnTo>
                              <a:pt x="674688" y="42333"/>
                            </a:lnTo>
                            <a:lnTo>
                              <a:pt x="677334" y="39687"/>
                            </a:lnTo>
                            <a:lnTo>
                              <a:pt x="682625" y="39687"/>
                            </a:lnTo>
                            <a:lnTo>
                              <a:pt x="690563" y="42333"/>
                            </a:lnTo>
                            <a:lnTo>
                              <a:pt x="685271" y="37042"/>
                            </a:lnTo>
                            <a:lnTo>
                              <a:pt x="685271" y="31750"/>
                            </a:lnTo>
                            <a:lnTo>
                              <a:pt x="685271" y="26458"/>
                            </a:lnTo>
                            <a:lnTo>
                              <a:pt x="685271" y="21167"/>
                            </a:lnTo>
                            <a:lnTo>
                              <a:pt x="682625" y="23812"/>
                            </a:lnTo>
                            <a:lnTo>
                              <a:pt x="677334" y="23812"/>
                            </a:lnTo>
                            <a:lnTo>
                              <a:pt x="672042" y="21167"/>
                            </a:lnTo>
                            <a:lnTo>
                              <a:pt x="669396" y="13229"/>
                            </a:lnTo>
                            <a:lnTo>
                              <a:pt x="677334" y="13229"/>
                            </a:lnTo>
                            <a:lnTo>
                              <a:pt x="682625" y="13229"/>
                            </a:lnTo>
                            <a:lnTo>
                              <a:pt x="685271" y="13229"/>
                            </a:lnTo>
                            <a:lnTo>
                              <a:pt x="690563" y="18521"/>
                            </a:lnTo>
                            <a:lnTo>
                              <a:pt x="693209" y="18521"/>
                            </a:lnTo>
                            <a:lnTo>
                              <a:pt x="693209" y="15875"/>
                            </a:lnTo>
                            <a:lnTo>
                              <a:pt x="698500" y="18521"/>
                            </a:lnTo>
                            <a:lnTo>
                              <a:pt x="703792" y="29104"/>
                            </a:lnTo>
                            <a:lnTo>
                              <a:pt x="706438" y="31750"/>
                            </a:lnTo>
                            <a:lnTo>
                              <a:pt x="711730" y="34396"/>
                            </a:lnTo>
                            <a:lnTo>
                              <a:pt x="724959" y="31750"/>
                            </a:lnTo>
                            <a:lnTo>
                              <a:pt x="724959" y="34396"/>
                            </a:lnTo>
                            <a:lnTo>
                              <a:pt x="730250" y="34396"/>
                            </a:lnTo>
                            <a:lnTo>
                              <a:pt x="732896" y="37042"/>
                            </a:lnTo>
                            <a:lnTo>
                              <a:pt x="735542" y="39687"/>
                            </a:lnTo>
                            <a:lnTo>
                              <a:pt x="738188" y="37042"/>
                            </a:lnTo>
                            <a:lnTo>
                              <a:pt x="743480" y="34396"/>
                            </a:lnTo>
                            <a:lnTo>
                              <a:pt x="746125" y="37042"/>
                            </a:lnTo>
                            <a:lnTo>
                              <a:pt x="748771" y="37042"/>
                            </a:lnTo>
                            <a:lnTo>
                              <a:pt x="751417" y="37042"/>
                            </a:lnTo>
                            <a:lnTo>
                              <a:pt x="754063" y="39687"/>
                            </a:lnTo>
                            <a:lnTo>
                              <a:pt x="756709" y="42333"/>
                            </a:lnTo>
                            <a:lnTo>
                              <a:pt x="759355" y="42333"/>
                            </a:lnTo>
                            <a:lnTo>
                              <a:pt x="764646" y="37042"/>
                            </a:lnTo>
                            <a:lnTo>
                              <a:pt x="769938" y="34396"/>
                            </a:lnTo>
                            <a:lnTo>
                              <a:pt x="772584" y="34396"/>
                            </a:lnTo>
                            <a:lnTo>
                              <a:pt x="772584" y="37042"/>
                            </a:lnTo>
                            <a:lnTo>
                              <a:pt x="772584" y="39687"/>
                            </a:lnTo>
                            <a:lnTo>
                              <a:pt x="775230" y="39687"/>
                            </a:lnTo>
                            <a:lnTo>
                              <a:pt x="775230" y="42333"/>
                            </a:lnTo>
                            <a:lnTo>
                              <a:pt x="772584" y="44979"/>
                            </a:lnTo>
                            <a:lnTo>
                              <a:pt x="772584" y="47625"/>
                            </a:lnTo>
                            <a:lnTo>
                              <a:pt x="777875" y="47625"/>
                            </a:lnTo>
                            <a:lnTo>
                              <a:pt x="783167" y="47625"/>
                            </a:lnTo>
                            <a:lnTo>
                              <a:pt x="783167" y="44979"/>
                            </a:lnTo>
                            <a:lnTo>
                              <a:pt x="780521" y="44979"/>
                            </a:lnTo>
                            <a:lnTo>
                              <a:pt x="780521" y="42333"/>
                            </a:lnTo>
                            <a:lnTo>
                              <a:pt x="780521" y="39687"/>
                            </a:lnTo>
                            <a:lnTo>
                              <a:pt x="788459" y="34396"/>
                            </a:lnTo>
                            <a:lnTo>
                              <a:pt x="791105" y="34396"/>
                            </a:lnTo>
                            <a:lnTo>
                              <a:pt x="791105" y="37042"/>
                            </a:lnTo>
                            <a:lnTo>
                              <a:pt x="793750" y="44979"/>
                            </a:lnTo>
                            <a:lnTo>
                              <a:pt x="793750" y="50271"/>
                            </a:lnTo>
                            <a:lnTo>
                              <a:pt x="796396" y="50271"/>
                            </a:lnTo>
                            <a:lnTo>
                              <a:pt x="799042" y="47625"/>
                            </a:lnTo>
                            <a:lnTo>
                              <a:pt x="801688" y="44979"/>
                            </a:lnTo>
                            <a:lnTo>
                              <a:pt x="804334" y="47625"/>
                            </a:lnTo>
                            <a:lnTo>
                              <a:pt x="804334" y="52917"/>
                            </a:lnTo>
                            <a:lnTo>
                              <a:pt x="799042" y="55562"/>
                            </a:lnTo>
                            <a:lnTo>
                              <a:pt x="796396" y="58208"/>
                            </a:lnTo>
                            <a:lnTo>
                              <a:pt x="796396" y="60854"/>
                            </a:lnTo>
                            <a:lnTo>
                              <a:pt x="796396" y="63500"/>
                            </a:lnTo>
                            <a:lnTo>
                              <a:pt x="799042" y="66146"/>
                            </a:lnTo>
                            <a:lnTo>
                              <a:pt x="791105" y="66146"/>
                            </a:lnTo>
                            <a:lnTo>
                              <a:pt x="785813" y="66146"/>
                            </a:lnTo>
                            <a:lnTo>
                              <a:pt x="788459" y="68792"/>
                            </a:lnTo>
                            <a:lnTo>
                              <a:pt x="793750" y="71437"/>
                            </a:lnTo>
                            <a:lnTo>
                              <a:pt x="791105" y="74083"/>
                            </a:lnTo>
                            <a:lnTo>
                              <a:pt x="785813" y="79375"/>
                            </a:lnTo>
                            <a:lnTo>
                              <a:pt x="783167" y="82021"/>
                            </a:lnTo>
                            <a:lnTo>
                              <a:pt x="780521" y="82021"/>
                            </a:lnTo>
                            <a:lnTo>
                              <a:pt x="772584" y="76729"/>
                            </a:lnTo>
                            <a:lnTo>
                              <a:pt x="775230" y="79375"/>
                            </a:lnTo>
                            <a:lnTo>
                              <a:pt x="775230" y="82021"/>
                            </a:lnTo>
                            <a:lnTo>
                              <a:pt x="769938" y="84667"/>
                            </a:lnTo>
                            <a:lnTo>
                              <a:pt x="764646" y="84667"/>
                            </a:lnTo>
                            <a:lnTo>
                              <a:pt x="767292" y="87312"/>
                            </a:lnTo>
                            <a:lnTo>
                              <a:pt x="769938" y="89958"/>
                            </a:lnTo>
                            <a:lnTo>
                              <a:pt x="769938" y="92604"/>
                            </a:lnTo>
                            <a:lnTo>
                              <a:pt x="764646" y="95250"/>
                            </a:lnTo>
                            <a:lnTo>
                              <a:pt x="767292" y="97896"/>
                            </a:lnTo>
                            <a:lnTo>
                              <a:pt x="772584" y="97896"/>
                            </a:lnTo>
                            <a:lnTo>
                              <a:pt x="772584" y="100542"/>
                            </a:lnTo>
                            <a:lnTo>
                              <a:pt x="769938" y="100542"/>
                            </a:lnTo>
                            <a:lnTo>
                              <a:pt x="767292" y="105833"/>
                            </a:lnTo>
                            <a:lnTo>
                              <a:pt x="764646" y="111125"/>
                            </a:lnTo>
                            <a:lnTo>
                              <a:pt x="764646" y="113771"/>
                            </a:lnTo>
                            <a:lnTo>
                              <a:pt x="762000" y="113771"/>
                            </a:lnTo>
                            <a:lnTo>
                              <a:pt x="759355" y="116417"/>
                            </a:lnTo>
                            <a:lnTo>
                              <a:pt x="759355" y="119062"/>
                            </a:lnTo>
                            <a:lnTo>
                              <a:pt x="756709" y="124354"/>
                            </a:lnTo>
                            <a:lnTo>
                              <a:pt x="751417" y="129646"/>
                            </a:lnTo>
                            <a:lnTo>
                              <a:pt x="748771" y="132292"/>
                            </a:lnTo>
                            <a:lnTo>
                              <a:pt x="751417" y="134937"/>
                            </a:lnTo>
                            <a:lnTo>
                              <a:pt x="756709" y="137583"/>
                            </a:lnTo>
                            <a:lnTo>
                              <a:pt x="759355" y="137583"/>
                            </a:lnTo>
                            <a:lnTo>
                              <a:pt x="764646" y="142875"/>
                            </a:lnTo>
                            <a:lnTo>
                              <a:pt x="769938" y="150812"/>
                            </a:lnTo>
                            <a:lnTo>
                              <a:pt x="767292" y="158750"/>
                            </a:lnTo>
                            <a:lnTo>
                              <a:pt x="772584" y="161396"/>
                            </a:lnTo>
                            <a:lnTo>
                              <a:pt x="775230" y="166687"/>
                            </a:lnTo>
                            <a:lnTo>
                              <a:pt x="777875" y="169333"/>
                            </a:lnTo>
                            <a:lnTo>
                              <a:pt x="785813" y="169333"/>
                            </a:lnTo>
                            <a:lnTo>
                              <a:pt x="791105" y="171979"/>
                            </a:lnTo>
                            <a:lnTo>
                              <a:pt x="796396" y="174625"/>
                            </a:lnTo>
                            <a:lnTo>
                              <a:pt x="799042" y="179916"/>
                            </a:lnTo>
                            <a:lnTo>
                              <a:pt x="801688" y="179916"/>
                            </a:lnTo>
                            <a:lnTo>
                              <a:pt x="804334" y="179916"/>
                            </a:lnTo>
                            <a:lnTo>
                              <a:pt x="806980" y="185208"/>
                            </a:lnTo>
                            <a:lnTo>
                              <a:pt x="809625" y="190500"/>
                            </a:lnTo>
                            <a:lnTo>
                              <a:pt x="812271" y="190500"/>
                            </a:lnTo>
                            <a:lnTo>
                              <a:pt x="814917" y="190500"/>
                            </a:lnTo>
                            <a:lnTo>
                              <a:pt x="820209" y="193146"/>
                            </a:lnTo>
                            <a:lnTo>
                              <a:pt x="820209" y="195791"/>
                            </a:lnTo>
                            <a:lnTo>
                              <a:pt x="822855" y="195791"/>
                            </a:lnTo>
                            <a:lnTo>
                              <a:pt x="830792" y="195791"/>
                            </a:lnTo>
                            <a:lnTo>
                              <a:pt x="838730" y="198437"/>
                            </a:lnTo>
                            <a:lnTo>
                              <a:pt x="841376" y="198437"/>
                            </a:lnTo>
                            <a:lnTo>
                              <a:pt x="841376" y="203729"/>
                            </a:lnTo>
                            <a:lnTo>
                              <a:pt x="844021" y="209021"/>
                            </a:lnTo>
                            <a:lnTo>
                              <a:pt x="849313" y="211666"/>
                            </a:lnTo>
                            <a:lnTo>
                              <a:pt x="854605" y="211666"/>
                            </a:lnTo>
                            <a:lnTo>
                              <a:pt x="859896" y="214312"/>
                            </a:lnTo>
                            <a:lnTo>
                              <a:pt x="862542" y="216958"/>
                            </a:lnTo>
                            <a:lnTo>
                              <a:pt x="865188" y="214312"/>
                            </a:lnTo>
                            <a:lnTo>
                              <a:pt x="873126" y="216958"/>
                            </a:lnTo>
                            <a:lnTo>
                              <a:pt x="881063" y="214312"/>
                            </a:lnTo>
                            <a:lnTo>
                              <a:pt x="889001" y="211666"/>
                            </a:lnTo>
                            <a:lnTo>
                              <a:pt x="894292" y="206375"/>
                            </a:lnTo>
                            <a:lnTo>
                              <a:pt x="896938" y="198437"/>
                            </a:lnTo>
                            <a:lnTo>
                              <a:pt x="896938" y="190500"/>
                            </a:lnTo>
                            <a:lnTo>
                              <a:pt x="902230" y="182562"/>
                            </a:lnTo>
                            <a:lnTo>
                              <a:pt x="910167" y="169333"/>
                            </a:lnTo>
                            <a:lnTo>
                              <a:pt x="915459" y="158750"/>
                            </a:lnTo>
                            <a:lnTo>
                              <a:pt x="920751" y="148167"/>
                            </a:lnTo>
                            <a:lnTo>
                              <a:pt x="920751" y="140229"/>
                            </a:lnTo>
                            <a:lnTo>
                              <a:pt x="920751" y="134937"/>
                            </a:lnTo>
                            <a:lnTo>
                              <a:pt x="918105" y="127000"/>
                            </a:lnTo>
                            <a:lnTo>
                              <a:pt x="918105" y="119062"/>
                            </a:lnTo>
                            <a:lnTo>
                              <a:pt x="920751" y="105833"/>
                            </a:lnTo>
                            <a:lnTo>
                              <a:pt x="923396" y="92604"/>
                            </a:lnTo>
                            <a:lnTo>
                              <a:pt x="923396" y="87312"/>
                            </a:lnTo>
                            <a:lnTo>
                              <a:pt x="923396" y="84667"/>
                            </a:lnTo>
                            <a:lnTo>
                              <a:pt x="926042" y="79375"/>
                            </a:lnTo>
                            <a:lnTo>
                              <a:pt x="931334" y="71437"/>
                            </a:lnTo>
                            <a:lnTo>
                              <a:pt x="939271" y="63500"/>
                            </a:lnTo>
                            <a:lnTo>
                              <a:pt x="941917" y="58208"/>
                            </a:lnTo>
                            <a:lnTo>
                              <a:pt x="941917" y="55562"/>
                            </a:lnTo>
                            <a:lnTo>
                              <a:pt x="941917" y="50271"/>
                            </a:lnTo>
                            <a:lnTo>
                              <a:pt x="947209" y="47625"/>
                            </a:lnTo>
                            <a:lnTo>
                              <a:pt x="947209" y="44979"/>
                            </a:lnTo>
                            <a:lnTo>
                              <a:pt x="941917" y="42333"/>
                            </a:lnTo>
                            <a:lnTo>
                              <a:pt x="939271" y="37042"/>
                            </a:lnTo>
                            <a:lnTo>
                              <a:pt x="941917" y="34396"/>
                            </a:lnTo>
                            <a:lnTo>
                              <a:pt x="947209" y="26458"/>
                            </a:lnTo>
                            <a:lnTo>
                              <a:pt x="955146" y="18521"/>
                            </a:lnTo>
                            <a:lnTo>
                              <a:pt x="957792" y="13229"/>
                            </a:lnTo>
                            <a:lnTo>
                              <a:pt x="957792" y="10583"/>
                            </a:lnTo>
                            <a:lnTo>
                              <a:pt x="957792" y="7937"/>
                            </a:lnTo>
                            <a:lnTo>
                              <a:pt x="957792" y="5292"/>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5" name="Japan"/>
                      <p:cNvSpPr>
                        <a:spLocks/>
                      </p:cNvSpPr>
                      <p:nvPr/>
                    </p:nvSpPr>
                    <p:spPr bwMode="auto">
                      <a:xfrm>
                        <a:off x="9666569" y="2010063"/>
                        <a:ext cx="288576" cy="479504"/>
                      </a:xfrm>
                      <a:custGeom>
                        <a:avLst/>
                        <a:gdLst/>
                        <a:ahLst/>
                        <a:cxnLst/>
                        <a:rect l="l" t="t" r="r" b="b"/>
                        <a:pathLst>
                          <a:path w="251354" h="418042">
                            <a:moveTo>
                              <a:pt x="21166" y="336021"/>
                            </a:moveTo>
                            <a:lnTo>
                              <a:pt x="29104" y="336021"/>
                            </a:lnTo>
                            <a:lnTo>
                              <a:pt x="29104" y="338667"/>
                            </a:lnTo>
                            <a:lnTo>
                              <a:pt x="29104" y="341313"/>
                            </a:lnTo>
                            <a:lnTo>
                              <a:pt x="34396" y="343959"/>
                            </a:lnTo>
                            <a:lnTo>
                              <a:pt x="39687" y="343959"/>
                            </a:lnTo>
                            <a:lnTo>
                              <a:pt x="42333" y="343959"/>
                            </a:lnTo>
                            <a:lnTo>
                              <a:pt x="44979" y="341313"/>
                            </a:lnTo>
                            <a:lnTo>
                              <a:pt x="47625" y="341313"/>
                            </a:lnTo>
                            <a:lnTo>
                              <a:pt x="52917" y="346604"/>
                            </a:lnTo>
                            <a:lnTo>
                              <a:pt x="52917" y="351896"/>
                            </a:lnTo>
                            <a:lnTo>
                              <a:pt x="55562" y="351896"/>
                            </a:lnTo>
                            <a:lnTo>
                              <a:pt x="60854" y="354542"/>
                            </a:lnTo>
                            <a:lnTo>
                              <a:pt x="63500" y="357188"/>
                            </a:lnTo>
                            <a:lnTo>
                              <a:pt x="66146" y="359834"/>
                            </a:lnTo>
                            <a:lnTo>
                              <a:pt x="66146" y="362480"/>
                            </a:lnTo>
                            <a:lnTo>
                              <a:pt x="66146" y="365125"/>
                            </a:lnTo>
                            <a:lnTo>
                              <a:pt x="63500" y="370417"/>
                            </a:lnTo>
                            <a:lnTo>
                              <a:pt x="63500" y="378355"/>
                            </a:lnTo>
                            <a:lnTo>
                              <a:pt x="66146" y="391584"/>
                            </a:lnTo>
                            <a:lnTo>
                              <a:pt x="66146" y="394230"/>
                            </a:lnTo>
                            <a:lnTo>
                              <a:pt x="66146" y="396875"/>
                            </a:lnTo>
                            <a:lnTo>
                              <a:pt x="63500" y="402167"/>
                            </a:lnTo>
                            <a:lnTo>
                              <a:pt x="63500" y="410105"/>
                            </a:lnTo>
                            <a:lnTo>
                              <a:pt x="63500" y="412750"/>
                            </a:lnTo>
                            <a:lnTo>
                              <a:pt x="60854" y="415396"/>
                            </a:lnTo>
                            <a:lnTo>
                              <a:pt x="55562" y="418042"/>
                            </a:lnTo>
                            <a:lnTo>
                              <a:pt x="55562" y="415396"/>
                            </a:lnTo>
                            <a:lnTo>
                              <a:pt x="58208" y="412750"/>
                            </a:lnTo>
                            <a:lnTo>
                              <a:pt x="58208" y="410105"/>
                            </a:lnTo>
                            <a:lnTo>
                              <a:pt x="55562" y="410105"/>
                            </a:lnTo>
                            <a:lnTo>
                              <a:pt x="52917" y="407459"/>
                            </a:lnTo>
                            <a:lnTo>
                              <a:pt x="52917" y="410105"/>
                            </a:lnTo>
                            <a:lnTo>
                              <a:pt x="52917" y="412750"/>
                            </a:lnTo>
                            <a:lnTo>
                              <a:pt x="50271" y="415396"/>
                            </a:lnTo>
                            <a:lnTo>
                              <a:pt x="47625" y="415396"/>
                            </a:lnTo>
                            <a:lnTo>
                              <a:pt x="42333" y="415396"/>
                            </a:lnTo>
                            <a:lnTo>
                              <a:pt x="42333" y="412750"/>
                            </a:lnTo>
                            <a:lnTo>
                              <a:pt x="42333" y="410105"/>
                            </a:lnTo>
                            <a:lnTo>
                              <a:pt x="39687" y="407459"/>
                            </a:lnTo>
                            <a:lnTo>
                              <a:pt x="37042" y="404813"/>
                            </a:lnTo>
                            <a:lnTo>
                              <a:pt x="31750" y="402167"/>
                            </a:lnTo>
                            <a:lnTo>
                              <a:pt x="29104" y="399521"/>
                            </a:lnTo>
                            <a:lnTo>
                              <a:pt x="29104" y="396875"/>
                            </a:lnTo>
                            <a:lnTo>
                              <a:pt x="34396" y="394230"/>
                            </a:lnTo>
                            <a:lnTo>
                              <a:pt x="34396" y="388938"/>
                            </a:lnTo>
                            <a:lnTo>
                              <a:pt x="34396" y="383646"/>
                            </a:lnTo>
                            <a:lnTo>
                              <a:pt x="29104" y="381000"/>
                            </a:lnTo>
                            <a:lnTo>
                              <a:pt x="29104" y="378355"/>
                            </a:lnTo>
                            <a:lnTo>
                              <a:pt x="29104" y="375709"/>
                            </a:lnTo>
                            <a:lnTo>
                              <a:pt x="26458" y="370417"/>
                            </a:lnTo>
                            <a:lnTo>
                              <a:pt x="18521" y="365125"/>
                            </a:lnTo>
                            <a:lnTo>
                              <a:pt x="18521" y="367771"/>
                            </a:lnTo>
                            <a:lnTo>
                              <a:pt x="21166" y="370417"/>
                            </a:lnTo>
                            <a:lnTo>
                              <a:pt x="18521" y="373063"/>
                            </a:lnTo>
                            <a:lnTo>
                              <a:pt x="15875" y="375709"/>
                            </a:lnTo>
                            <a:lnTo>
                              <a:pt x="13229" y="373063"/>
                            </a:lnTo>
                            <a:lnTo>
                              <a:pt x="13229" y="370417"/>
                            </a:lnTo>
                            <a:lnTo>
                              <a:pt x="10583" y="370417"/>
                            </a:lnTo>
                            <a:lnTo>
                              <a:pt x="5291" y="367771"/>
                            </a:lnTo>
                            <a:lnTo>
                              <a:pt x="2646" y="359834"/>
                            </a:lnTo>
                            <a:lnTo>
                              <a:pt x="0" y="357188"/>
                            </a:lnTo>
                            <a:lnTo>
                              <a:pt x="0" y="354542"/>
                            </a:lnTo>
                            <a:lnTo>
                              <a:pt x="2646" y="349250"/>
                            </a:lnTo>
                            <a:lnTo>
                              <a:pt x="5291" y="351896"/>
                            </a:lnTo>
                            <a:lnTo>
                              <a:pt x="7937" y="351896"/>
                            </a:lnTo>
                            <a:lnTo>
                              <a:pt x="7937" y="343959"/>
                            </a:lnTo>
                            <a:lnTo>
                              <a:pt x="10583" y="341313"/>
                            </a:lnTo>
                            <a:lnTo>
                              <a:pt x="13229" y="338667"/>
                            </a:lnTo>
                            <a:close/>
                            <a:moveTo>
                              <a:pt x="89959" y="325438"/>
                            </a:moveTo>
                            <a:lnTo>
                              <a:pt x="97896" y="325438"/>
                            </a:lnTo>
                            <a:lnTo>
                              <a:pt x="105834" y="325438"/>
                            </a:lnTo>
                            <a:lnTo>
                              <a:pt x="105834" y="328084"/>
                            </a:lnTo>
                            <a:lnTo>
                              <a:pt x="111126" y="328084"/>
                            </a:lnTo>
                            <a:lnTo>
                              <a:pt x="116417" y="333376"/>
                            </a:lnTo>
                            <a:lnTo>
                              <a:pt x="119063" y="336021"/>
                            </a:lnTo>
                            <a:lnTo>
                              <a:pt x="119063" y="338667"/>
                            </a:lnTo>
                            <a:lnTo>
                              <a:pt x="119063" y="341313"/>
                            </a:lnTo>
                            <a:lnTo>
                              <a:pt x="113772" y="349250"/>
                            </a:lnTo>
                            <a:lnTo>
                              <a:pt x="113772" y="351896"/>
                            </a:lnTo>
                            <a:lnTo>
                              <a:pt x="113772" y="354542"/>
                            </a:lnTo>
                            <a:lnTo>
                              <a:pt x="111126" y="354542"/>
                            </a:lnTo>
                            <a:lnTo>
                              <a:pt x="105834" y="351896"/>
                            </a:lnTo>
                            <a:lnTo>
                              <a:pt x="103188" y="349250"/>
                            </a:lnTo>
                            <a:lnTo>
                              <a:pt x="97896" y="351896"/>
                            </a:lnTo>
                            <a:lnTo>
                              <a:pt x="95251" y="354542"/>
                            </a:lnTo>
                            <a:lnTo>
                              <a:pt x="95251" y="359834"/>
                            </a:lnTo>
                            <a:lnTo>
                              <a:pt x="92605" y="365125"/>
                            </a:lnTo>
                            <a:lnTo>
                              <a:pt x="95251" y="367771"/>
                            </a:lnTo>
                            <a:lnTo>
                              <a:pt x="89959" y="367771"/>
                            </a:lnTo>
                            <a:lnTo>
                              <a:pt x="87313" y="367771"/>
                            </a:lnTo>
                            <a:lnTo>
                              <a:pt x="84667" y="365125"/>
                            </a:lnTo>
                            <a:lnTo>
                              <a:pt x="82021" y="365125"/>
                            </a:lnTo>
                            <a:lnTo>
                              <a:pt x="79375" y="359834"/>
                            </a:lnTo>
                            <a:lnTo>
                              <a:pt x="79375" y="357188"/>
                            </a:lnTo>
                            <a:lnTo>
                              <a:pt x="76729" y="354542"/>
                            </a:lnTo>
                            <a:lnTo>
                              <a:pt x="74083" y="354542"/>
                            </a:lnTo>
                            <a:lnTo>
                              <a:pt x="68792" y="354542"/>
                            </a:lnTo>
                            <a:lnTo>
                              <a:pt x="66146" y="357188"/>
                            </a:lnTo>
                            <a:lnTo>
                              <a:pt x="66146" y="354542"/>
                            </a:lnTo>
                            <a:lnTo>
                              <a:pt x="68792" y="351896"/>
                            </a:lnTo>
                            <a:lnTo>
                              <a:pt x="68792" y="343959"/>
                            </a:lnTo>
                            <a:lnTo>
                              <a:pt x="71437" y="338667"/>
                            </a:lnTo>
                            <a:lnTo>
                              <a:pt x="76729" y="330730"/>
                            </a:lnTo>
                            <a:lnTo>
                              <a:pt x="79375" y="330730"/>
                            </a:lnTo>
                            <a:lnTo>
                              <a:pt x="82021" y="330730"/>
                            </a:lnTo>
                            <a:lnTo>
                              <a:pt x="82021" y="333376"/>
                            </a:lnTo>
                            <a:lnTo>
                              <a:pt x="87313" y="330730"/>
                            </a:lnTo>
                            <a:lnTo>
                              <a:pt x="87313" y="328084"/>
                            </a:lnTo>
                            <a:close/>
                            <a:moveTo>
                              <a:pt x="150813" y="111125"/>
                            </a:moveTo>
                            <a:lnTo>
                              <a:pt x="158750" y="113771"/>
                            </a:lnTo>
                            <a:lnTo>
                              <a:pt x="164042" y="113771"/>
                            </a:lnTo>
                            <a:lnTo>
                              <a:pt x="166688" y="113771"/>
                            </a:lnTo>
                            <a:lnTo>
                              <a:pt x="169333" y="116417"/>
                            </a:lnTo>
                            <a:lnTo>
                              <a:pt x="169333" y="121708"/>
                            </a:lnTo>
                            <a:lnTo>
                              <a:pt x="169333" y="127000"/>
                            </a:lnTo>
                            <a:lnTo>
                              <a:pt x="171979" y="129646"/>
                            </a:lnTo>
                            <a:lnTo>
                              <a:pt x="182563" y="132292"/>
                            </a:lnTo>
                            <a:lnTo>
                              <a:pt x="193146" y="137584"/>
                            </a:lnTo>
                            <a:lnTo>
                              <a:pt x="203729" y="142875"/>
                            </a:lnTo>
                            <a:lnTo>
                              <a:pt x="214313" y="156104"/>
                            </a:lnTo>
                            <a:lnTo>
                              <a:pt x="216958" y="164042"/>
                            </a:lnTo>
                            <a:lnTo>
                              <a:pt x="219604" y="171979"/>
                            </a:lnTo>
                            <a:lnTo>
                              <a:pt x="224896" y="190500"/>
                            </a:lnTo>
                            <a:lnTo>
                              <a:pt x="227542" y="195792"/>
                            </a:lnTo>
                            <a:lnTo>
                              <a:pt x="224896" y="198438"/>
                            </a:lnTo>
                            <a:lnTo>
                              <a:pt x="222250" y="195792"/>
                            </a:lnTo>
                            <a:lnTo>
                              <a:pt x="219604" y="195792"/>
                            </a:lnTo>
                            <a:lnTo>
                              <a:pt x="216958" y="198438"/>
                            </a:lnTo>
                            <a:lnTo>
                              <a:pt x="216958" y="206375"/>
                            </a:lnTo>
                            <a:lnTo>
                              <a:pt x="222250" y="211667"/>
                            </a:lnTo>
                            <a:lnTo>
                              <a:pt x="230188" y="219605"/>
                            </a:lnTo>
                            <a:lnTo>
                              <a:pt x="235479" y="227542"/>
                            </a:lnTo>
                            <a:lnTo>
                              <a:pt x="235479" y="235480"/>
                            </a:lnTo>
                            <a:lnTo>
                              <a:pt x="235479" y="254000"/>
                            </a:lnTo>
                            <a:lnTo>
                              <a:pt x="238125" y="261938"/>
                            </a:lnTo>
                            <a:lnTo>
                              <a:pt x="240771" y="264584"/>
                            </a:lnTo>
                            <a:lnTo>
                              <a:pt x="248708" y="269875"/>
                            </a:lnTo>
                            <a:lnTo>
                              <a:pt x="251354" y="275167"/>
                            </a:lnTo>
                            <a:lnTo>
                              <a:pt x="248708" y="280459"/>
                            </a:lnTo>
                            <a:lnTo>
                              <a:pt x="246063" y="288396"/>
                            </a:lnTo>
                            <a:lnTo>
                              <a:pt x="246063" y="293688"/>
                            </a:lnTo>
                            <a:lnTo>
                              <a:pt x="243417" y="296334"/>
                            </a:lnTo>
                            <a:lnTo>
                              <a:pt x="238125" y="301626"/>
                            </a:lnTo>
                            <a:lnTo>
                              <a:pt x="238125" y="293688"/>
                            </a:lnTo>
                            <a:lnTo>
                              <a:pt x="235479" y="283105"/>
                            </a:lnTo>
                            <a:lnTo>
                              <a:pt x="232833" y="280459"/>
                            </a:lnTo>
                            <a:lnTo>
                              <a:pt x="230188" y="280459"/>
                            </a:lnTo>
                            <a:lnTo>
                              <a:pt x="227542" y="283105"/>
                            </a:lnTo>
                            <a:lnTo>
                              <a:pt x="227542" y="285751"/>
                            </a:lnTo>
                            <a:lnTo>
                              <a:pt x="230188" y="288396"/>
                            </a:lnTo>
                            <a:lnTo>
                              <a:pt x="230188" y="291042"/>
                            </a:lnTo>
                            <a:lnTo>
                              <a:pt x="230188" y="293688"/>
                            </a:lnTo>
                            <a:lnTo>
                              <a:pt x="230188" y="296334"/>
                            </a:lnTo>
                            <a:lnTo>
                              <a:pt x="227542" y="296334"/>
                            </a:lnTo>
                            <a:lnTo>
                              <a:pt x="222250" y="298980"/>
                            </a:lnTo>
                            <a:lnTo>
                              <a:pt x="224896" y="301626"/>
                            </a:lnTo>
                            <a:lnTo>
                              <a:pt x="224896" y="306917"/>
                            </a:lnTo>
                            <a:lnTo>
                              <a:pt x="222250" y="309563"/>
                            </a:lnTo>
                            <a:lnTo>
                              <a:pt x="219604" y="309563"/>
                            </a:lnTo>
                            <a:lnTo>
                              <a:pt x="216958" y="306917"/>
                            </a:lnTo>
                            <a:lnTo>
                              <a:pt x="214313" y="304271"/>
                            </a:lnTo>
                            <a:lnTo>
                              <a:pt x="211667" y="301626"/>
                            </a:lnTo>
                            <a:lnTo>
                              <a:pt x="209021" y="301626"/>
                            </a:lnTo>
                            <a:lnTo>
                              <a:pt x="206375" y="306917"/>
                            </a:lnTo>
                            <a:lnTo>
                              <a:pt x="203729" y="309563"/>
                            </a:lnTo>
                            <a:lnTo>
                              <a:pt x="198438" y="312209"/>
                            </a:lnTo>
                            <a:lnTo>
                              <a:pt x="190500" y="312209"/>
                            </a:lnTo>
                            <a:lnTo>
                              <a:pt x="174625" y="309563"/>
                            </a:lnTo>
                            <a:lnTo>
                              <a:pt x="171979" y="309563"/>
                            </a:lnTo>
                            <a:lnTo>
                              <a:pt x="174625" y="306917"/>
                            </a:lnTo>
                            <a:lnTo>
                              <a:pt x="171979" y="306917"/>
                            </a:lnTo>
                            <a:lnTo>
                              <a:pt x="164042" y="306917"/>
                            </a:lnTo>
                            <a:lnTo>
                              <a:pt x="161396" y="304271"/>
                            </a:lnTo>
                            <a:lnTo>
                              <a:pt x="158750" y="304271"/>
                            </a:lnTo>
                            <a:lnTo>
                              <a:pt x="158750" y="306917"/>
                            </a:lnTo>
                            <a:lnTo>
                              <a:pt x="158750" y="309563"/>
                            </a:lnTo>
                            <a:lnTo>
                              <a:pt x="161396" y="312209"/>
                            </a:lnTo>
                            <a:lnTo>
                              <a:pt x="164042" y="312209"/>
                            </a:lnTo>
                            <a:lnTo>
                              <a:pt x="166688" y="312209"/>
                            </a:lnTo>
                            <a:lnTo>
                              <a:pt x="169333" y="314855"/>
                            </a:lnTo>
                            <a:lnTo>
                              <a:pt x="171979" y="317501"/>
                            </a:lnTo>
                            <a:lnTo>
                              <a:pt x="169333" y="320146"/>
                            </a:lnTo>
                            <a:lnTo>
                              <a:pt x="166688" y="322792"/>
                            </a:lnTo>
                            <a:lnTo>
                              <a:pt x="164042" y="328084"/>
                            </a:lnTo>
                            <a:lnTo>
                              <a:pt x="164042" y="333376"/>
                            </a:lnTo>
                            <a:lnTo>
                              <a:pt x="164042" y="336021"/>
                            </a:lnTo>
                            <a:lnTo>
                              <a:pt x="166688" y="338667"/>
                            </a:lnTo>
                            <a:lnTo>
                              <a:pt x="161396" y="341313"/>
                            </a:lnTo>
                            <a:lnTo>
                              <a:pt x="153458" y="338667"/>
                            </a:lnTo>
                            <a:lnTo>
                              <a:pt x="145521" y="336021"/>
                            </a:lnTo>
                            <a:lnTo>
                              <a:pt x="140229" y="336021"/>
                            </a:lnTo>
                            <a:lnTo>
                              <a:pt x="134938" y="333376"/>
                            </a:lnTo>
                            <a:lnTo>
                              <a:pt x="132292" y="333376"/>
                            </a:lnTo>
                            <a:lnTo>
                              <a:pt x="132292" y="325438"/>
                            </a:lnTo>
                            <a:lnTo>
                              <a:pt x="132292" y="320146"/>
                            </a:lnTo>
                            <a:lnTo>
                              <a:pt x="129646" y="317501"/>
                            </a:lnTo>
                            <a:lnTo>
                              <a:pt x="127000" y="314855"/>
                            </a:lnTo>
                            <a:lnTo>
                              <a:pt x="129646" y="309563"/>
                            </a:lnTo>
                            <a:lnTo>
                              <a:pt x="119063" y="312209"/>
                            </a:lnTo>
                            <a:lnTo>
                              <a:pt x="105833" y="309563"/>
                            </a:lnTo>
                            <a:lnTo>
                              <a:pt x="100542" y="312209"/>
                            </a:lnTo>
                            <a:lnTo>
                              <a:pt x="97896" y="312209"/>
                            </a:lnTo>
                            <a:lnTo>
                              <a:pt x="97896" y="314855"/>
                            </a:lnTo>
                            <a:lnTo>
                              <a:pt x="92604" y="314855"/>
                            </a:lnTo>
                            <a:lnTo>
                              <a:pt x="87313" y="314855"/>
                            </a:lnTo>
                            <a:lnTo>
                              <a:pt x="84667" y="317501"/>
                            </a:lnTo>
                            <a:lnTo>
                              <a:pt x="82020" y="320146"/>
                            </a:lnTo>
                            <a:lnTo>
                              <a:pt x="76729" y="317501"/>
                            </a:lnTo>
                            <a:lnTo>
                              <a:pt x="74083" y="317501"/>
                            </a:lnTo>
                            <a:lnTo>
                              <a:pt x="71437" y="320146"/>
                            </a:lnTo>
                            <a:lnTo>
                              <a:pt x="71437" y="322792"/>
                            </a:lnTo>
                            <a:lnTo>
                              <a:pt x="66145" y="320146"/>
                            </a:lnTo>
                            <a:lnTo>
                              <a:pt x="63500" y="322792"/>
                            </a:lnTo>
                            <a:lnTo>
                              <a:pt x="60854" y="328084"/>
                            </a:lnTo>
                            <a:lnTo>
                              <a:pt x="58208" y="333376"/>
                            </a:lnTo>
                            <a:lnTo>
                              <a:pt x="55562" y="333376"/>
                            </a:lnTo>
                            <a:lnTo>
                              <a:pt x="52916" y="333376"/>
                            </a:lnTo>
                            <a:lnTo>
                              <a:pt x="44979" y="330730"/>
                            </a:lnTo>
                            <a:lnTo>
                              <a:pt x="37041" y="333376"/>
                            </a:lnTo>
                            <a:lnTo>
                              <a:pt x="29104" y="333376"/>
                            </a:lnTo>
                            <a:lnTo>
                              <a:pt x="23812" y="333376"/>
                            </a:lnTo>
                            <a:lnTo>
                              <a:pt x="18520" y="328084"/>
                            </a:lnTo>
                            <a:lnTo>
                              <a:pt x="13229" y="322792"/>
                            </a:lnTo>
                            <a:lnTo>
                              <a:pt x="13229" y="320146"/>
                            </a:lnTo>
                            <a:lnTo>
                              <a:pt x="15875" y="320146"/>
                            </a:lnTo>
                            <a:lnTo>
                              <a:pt x="23812" y="317501"/>
                            </a:lnTo>
                            <a:lnTo>
                              <a:pt x="26458" y="317501"/>
                            </a:lnTo>
                            <a:lnTo>
                              <a:pt x="29104" y="314855"/>
                            </a:lnTo>
                            <a:lnTo>
                              <a:pt x="34395" y="304271"/>
                            </a:lnTo>
                            <a:lnTo>
                              <a:pt x="39687" y="296334"/>
                            </a:lnTo>
                            <a:lnTo>
                              <a:pt x="44979" y="291042"/>
                            </a:lnTo>
                            <a:lnTo>
                              <a:pt x="42333" y="288396"/>
                            </a:lnTo>
                            <a:lnTo>
                              <a:pt x="50270" y="285751"/>
                            </a:lnTo>
                            <a:lnTo>
                              <a:pt x="58208" y="283105"/>
                            </a:lnTo>
                            <a:lnTo>
                              <a:pt x="63500" y="283105"/>
                            </a:lnTo>
                            <a:lnTo>
                              <a:pt x="76729" y="280459"/>
                            </a:lnTo>
                            <a:lnTo>
                              <a:pt x="95250" y="275167"/>
                            </a:lnTo>
                            <a:lnTo>
                              <a:pt x="97896" y="275167"/>
                            </a:lnTo>
                            <a:lnTo>
                              <a:pt x="100542" y="275167"/>
                            </a:lnTo>
                            <a:lnTo>
                              <a:pt x="103188" y="277813"/>
                            </a:lnTo>
                            <a:lnTo>
                              <a:pt x="105833" y="275167"/>
                            </a:lnTo>
                            <a:lnTo>
                              <a:pt x="111125" y="275167"/>
                            </a:lnTo>
                            <a:lnTo>
                              <a:pt x="113771" y="277813"/>
                            </a:lnTo>
                            <a:lnTo>
                              <a:pt x="116417" y="280459"/>
                            </a:lnTo>
                            <a:lnTo>
                              <a:pt x="121708" y="277813"/>
                            </a:lnTo>
                            <a:lnTo>
                              <a:pt x="124354" y="275167"/>
                            </a:lnTo>
                            <a:lnTo>
                              <a:pt x="121708" y="272521"/>
                            </a:lnTo>
                            <a:lnTo>
                              <a:pt x="119063" y="269875"/>
                            </a:lnTo>
                            <a:lnTo>
                              <a:pt x="119063" y="261938"/>
                            </a:lnTo>
                            <a:lnTo>
                              <a:pt x="119063" y="254000"/>
                            </a:lnTo>
                            <a:lnTo>
                              <a:pt x="116417" y="248709"/>
                            </a:lnTo>
                            <a:lnTo>
                              <a:pt x="113771" y="243417"/>
                            </a:lnTo>
                            <a:lnTo>
                              <a:pt x="116417" y="235480"/>
                            </a:lnTo>
                            <a:lnTo>
                              <a:pt x="124354" y="224896"/>
                            </a:lnTo>
                            <a:lnTo>
                              <a:pt x="127000" y="224896"/>
                            </a:lnTo>
                            <a:lnTo>
                              <a:pt x="129646" y="224896"/>
                            </a:lnTo>
                            <a:lnTo>
                              <a:pt x="129646" y="227542"/>
                            </a:lnTo>
                            <a:lnTo>
                              <a:pt x="129646" y="232834"/>
                            </a:lnTo>
                            <a:lnTo>
                              <a:pt x="127000" y="235480"/>
                            </a:lnTo>
                            <a:lnTo>
                              <a:pt x="129646" y="235480"/>
                            </a:lnTo>
                            <a:lnTo>
                              <a:pt x="132292" y="238125"/>
                            </a:lnTo>
                            <a:lnTo>
                              <a:pt x="132292" y="243417"/>
                            </a:lnTo>
                            <a:lnTo>
                              <a:pt x="137583" y="243417"/>
                            </a:lnTo>
                            <a:lnTo>
                              <a:pt x="145521" y="235480"/>
                            </a:lnTo>
                            <a:lnTo>
                              <a:pt x="158750" y="224896"/>
                            </a:lnTo>
                            <a:lnTo>
                              <a:pt x="164042" y="219605"/>
                            </a:lnTo>
                            <a:lnTo>
                              <a:pt x="164042" y="214313"/>
                            </a:lnTo>
                            <a:lnTo>
                              <a:pt x="164042" y="209021"/>
                            </a:lnTo>
                            <a:lnTo>
                              <a:pt x="166688" y="203729"/>
                            </a:lnTo>
                            <a:lnTo>
                              <a:pt x="169333" y="193146"/>
                            </a:lnTo>
                            <a:lnTo>
                              <a:pt x="166688" y="182563"/>
                            </a:lnTo>
                            <a:lnTo>
                              <a:pt x="164042" y="174625"/>
                            </a:lnTo>
                            <a:lnTo>
                              <a:pt x="158750" y="169334"/>
                            </a:lnTo>
                            <a:lnTo>
                              <a:pt x="156104" y="166688"/>
                            </a:lnTo>
                            <a:lnTo>
                              <a:pt x="153458" y="166688"/>
                            </a:lnTo>
                            <a:lnTo>
                              <a:pt x="150813" y="166688"/>
                            </a:lnTo>
                            <a:lnTo>
                              <a:pt x="148167" y="164042"/>
                            </a:lnTo>
                            <a:lnTo>
                              <a:pt x="148167" y="161396"/>
                            </a:lnTo>
                            <a:lnTo>
                              <a:pt x="150813" y="158750"/>
                            </a:lnTo>
                            <a:lnTo>
                              <a:pt x="150813" y="153459"/>
                            </a:lnTo>
                            <a:lnTo>
                              <a:pt x="140229" y="142875"/>
                            </a:lnTo>
                            <a:lnTo>
                              <a:pt x="137583" y="140229"/>
                            </a:lnTo>
                            <a:lnTo>
                              <a:pt x="137583" y="137584"/>
                            </a:lnTo>
                            <a:lnTo>
                              <a:pt x="142875" y="132292"/>
                            </a:lnTo>
                            <a:lnTo>
                              <a:pt x="140229" y="129646"/>
                            </a:lnTo>
                            <a:lnTo>
                              <a:pt x="137583" y="127000"/>
                            </a:lnTo>
                            <a:lnTo>
                              <a:pt x="137583" y="124354"/>
                            </a:lnTo>
                            <a:lnTo>
                              <a:pt x="140229" y="121708"/>
                            </a:lnTo>
                            <a:lnTo>
                              <a:pt x="142875" y="121708"/>
                            </a:lnTo>
                            <a:lnTo>
                              <a:pt x="148167" y="124354"/>
                            </a:lnTo>
                            <a:lnTo>
                              <a:pt x="153458" y="127000"/>
                            </a:lnTo>
                            <a:lnTo>
                              <a:pt x="156104" y="127000"/>
                            </a:lnTo>
                            <a:lnTo>
                              <a:pt x="158750" y="119063"/>
                            </a:lnTo>
                            <a:lnTo>
                              <a:pt x="158750" y="116417"/>
                            </a:lnTo>
                            <a:lnTo>
                              <a:pt x="153458" y="119063"/>
                            </a:lnTo>
                            <a:lnTo>
                              <a:pt x="150813" y="121708"/>
                            </a:lnTo>
                            <a:lnTo>
                              <a:pt x="148167" y="121708"/>
                            </a:lnTo>
                            <a:lnTo>
                              <a:pt x="148167" y="116417"/>
                            </a:lnTo>
                            <a:lnTo>
                              <a:pt x="148167" y="113771"/>
                            </a:lnTo>
                            <a:close/>
                            <a:moveTo>
                              <a:pt x="89958" y="0"/>
                            </a:moveTo>
                            <a:lnTo>
                              <a:pt x="92604" y="0"/>
                            </a:lnTo>
                            <a:lnTo>
                              <a:pt x="95250" y="2646"/>
                            </a:lnTo>
                            <a:lnTo>
                              <a:pt x="105833" y="10584"/>
                            </a:lnTo>
                            <a:lnTo>
                              <a:pt x="113771" y="15875"/>
                            </a:lnTo>
                            <a:lnTo>
                              <a:pt x="124354" y="21167"/>
                            </a:lnTo>
                            <a:lnTo>
                              <a:pt x="134937" y="23813"/>
                            </a:lnTo>
                            <a:lnTo>
                              <a:pt x="142875" y="29104"/>
                            </a:lnTo>
                            <a:lnTo>
                              <a:pt x="153458" y="34396"/>
                            </a:lnTo>
                            <a:lnTo>
                              <a:pt x="164042" y="37042"/>
                            </a:lnTo>
                            <a:lnTo>
                              <a:pt x="185208" y="42334"/>
                            </a:lnTo>
                            <a:lnTo>
                              <a:pt x="193146" y="44979"/>
                            </a:lnTo>
                            <a:lnTo>
                              <a:pt x="195792" y="42334"/>
                            </a:lnTo>
                            <a:lnTo>
                              <a:pt x="203729" y="37042"/>
                            </a:lnTo>
                            <a:lnTo>
                              <a:pt x="209021" y="29104"/>
                            </a:lnTo>
                            <a:lnTo>
                              <a:pt x="211667" y="29104"/>
                            </a:lnTo>
                            <a:lnTo>
                              <a:pt x="209021" y="42334"/>
                            </a:lnTo>
                            <a:lnTo>
                              <a:pt x="209021" y="47625"/>
                            </a:lnTo>
                            <a:lnTo>
                              <a:pt x="211667" y="50271"/>
                            </a:lnTo>
                            <a:lnTo>
                              <a:pt x="216958" y="50271"/>
                            </a:lnTo>
                            <a:lnTo>
                              <a:pt x="216958" y="52917"/>
                            </a:lnTo>
                            <a:lnTo>
                              <a:pt x="219604" y="58209"/>
                            </a:lnTo>
                            <a:lnTo>
                              <a:pt x="222250" y="58209"/>
                            </a:lnTo>
                            <a:lnTo>
                              <a:pt x="230188" y="58209"/>
                            </a:lnTo>
                            <a:lnTo>
                              <a:pt x="235479" y="58209"/>
                            </a:lnTo>
                            <a:lnTo>
                              <a:pt x="227542" y="63500"/>
                            </a:lnTo>
                            <a:lnTo>
                              <a:pt x="216958" y="71438"/>
                            </a:lnTo>
                            <a:lnTo>
                              <a:pt x="211667" y="71438"/>
                            </a:lnTo>
                            <a:lnTo>
                              <a:pt x="203729" y="71438"/>
                            </a:lnTo>
                            <a:lnTo>
                              <a:pt x="198437" y="74084"/>
                            </a:lnTo>
                            <a:lnTo>
                              <a:pt x="193146" y="79375"/>
                            </a:lnTo>
                            <a:lnTo>
                              <a:pt x="193146" y="84667"/>
                            </a:lnTo>
                            <a:lnTo>
                              <a:pt x="193146" y="89959"/>
                            </a:lnTo>
                            <a:lnTo>
                              <a:pt x="198437" y="95251"/>
                            </a:lnTo>
                            <a:lnTo>
                              <a:pt x="195792" y="95251"/>
                            </a:lnTo>
                            <a:lnTo>
                              <a:pt x="187854" y="95251"/>
                            </a:lnTo>
                            <a:lnTo>
                              <a:pt x="177271" y="92605"/>
                            </a:lnTo>
                            <a:lnTo>
                              <a:pt x="169333" y="89959"/>
                            </a:lnTo>
                            <a:lnTo>
                              <a:pt x="161396" y="89959"/>
                            </a:lnTo>
                            <a:lnTo>
                              <a:pt x="150812" y="84667"/>
                            </a:lnTo>
                            <a:lnTo>
                              <a:pt x="145521" y="82021"/>
                            </a:lnTo>
                            <a:lnTo>
                              <a:pt x="142875" y="82021"/>
                            </a:lnTo>
                            <a:lnTo>
                              <a:pt x="137583" y="84667"/>
                            </a:lnTo>
                            <a:lnTo>
                              <a:pt x="134937" y="87313"/>
                            </a:lnTo>
                            <a:lnTo>
                              <a:pt x="132291" y="89959"/>
                            </a:lnTo>
                            <a:lnTo>
                              <a:pt x="129646" y="87313"/>
                            </a:lnTo>
                            <a:lnTo>
                              <a:pt x="121708" y="87313"/>
                            </a:lnTo>
                            <a:lnTo>
                              <a:pt x="116416" y="89959"/>
                            </a:lnTo>
                            <a:lnTo>
                              <a:pt x="116416" y="92605"/>
                            </a:lnTo>
                            <a:lnTo>
                              <a:pt x="124354" y="95251"/>
                            </a:lnTo>
                            <a:lnTo>
                              <a:pt x="134937" y="97896"/>
                            </a:lnTo>
                            <a:lnTo>
                              <a:pt x="142875" y="103188"/>
                            </a:lnTo>
                            <a:lnTo>
                              <a:pt x="148166" y="108480"/>
                            </a:lnTo>
                            <a:lnTo>
                              <a:pt x="137583" y="111126"/>
                            </a:lnTo>
                            <a:lnTo>
                              <a:pt x="134937" y="116417"/>
                            </a:lnTo>
                            <a:lnTo>
                              <a:pt x="132291" y="119063"/>
                            </a:lnTo>
                            <a:lnTo>
                              <a:pt x="127000" y="119063"/>
                            </a:lnTo>
                            <a:lnTo>
                              <a:pt x="124354" y="119063"/>
                            </a:lnTo>
                            <a:lnTo>
                              <a:pt x="121708" y="116417"/>
                            </a:lnTo>
                            <a:lnTo>
                              <a:pt x="121708" y="108480"/>
                            </a:lnTo>
                            <a:lnTo>
                              <a:pt x="121708" y="103188"/>
                            </a:lnTo>
                            <a:lnTo>
                              <a:pt x="119062" y="103188"/>
                            </a:lnTo>
                            <a:lnTo>
                              <a:pt x="116416" y="100542"/>
                            </a:lnTo>
                            <a:lnTo>
                              <a:pt x="108479" y="97896"/>
                            </a:lnTo>
                            <a:lnTo>
                              <a:pt x="103187" y="95251"/>
                            </a:lnTo>
                            <a:lnTo>
                              <a:pt x="100541" y="89959"/>
                            </a:lnTo>
                            <a:lnTo>
                              <a:pt x="103187" y="84667"/>
                            </a:lnTo>
                            <a:lnTo>
                              <a:pt x="105833" y="82021"/>
                            </a:lnTo>
                            <a:lnTo>
                              <a:pt x="105833" y="79375"/>
                            </a:lnTo>
                            <a:lnTo>
                              <a:pt x="103187" y="74084"/>
                            </a:lnTo>
                            <a:lnTo>
                              <a:pt x="97895" y="71438"/>
                            </a:lnTo>
                            <a:lnTo>
                              <a:pt x="97895" y="68792"/>
                            </a:lnTo>
                            <a:lnTo>
                              <a:pt x="100541" y="68792"/>
                            </a:lnTo>
                            <a:lnTo>
                              <a:pt x="105833" y="68792"/>
                            </a:lnTo>
                            <a:lnTo>
                              <a:pt x="111125" y="68792"/>
                            </a:lnTo>
                            <a:lnTo>
                              <a:pt x="116416" y="63500"/>
                            </a:lnTo>
                            <a:lnTo>
                              <a:pt x="116416" y="60855"/>
                            </a:lnTo>
                            <a:lnTo>
                              <a:pt x="111125" y="55563"/>
                            </a:lnTo>
                            <a:lnTo>
                              <a:pt x="108479" y="50271"/>
                            </a:lnTo>
                            <a:lnTo>
                              <a:pt x="108479" y="47625"/>
                            </a:lnTo>
                            <a:lnTo>
                              <a:pt x="108479" y="42334"/>
                            </a:lnTo>
                            <a:lnTo>
                              <a:pt x="111125" y="39688"/>
                            </a:lnTo>
                            <a:lnTo>
                              <a:pt x="108479" y="37042"/>
                            </a:lnTo>
                            <a:lnTo>
                              <a:pt x="103187" y="34396"/>
                            </a:lnTo>
                            <a:lnTo>
                              <a:pt x="100541" y="31750"/>
                            </a:lnTo>
                            <a:lnTo>
                              <a:pt x="95250" y="21167"/>
                            </a:lnTo>
                            <a:lnTo>
                              <a:pt x="89958" y="15875"/>
                            </a:lnTo>
                            <a:lnTo>
                              <a:pt x="84666" y="13229"/>
                            </a:lnTo>
                            <a:lnTo>
                              <a:pt x="84666" y="10584"/>
                            </a:lnTo>
                            <a:lnTo>
                              <a:pt x="87312" y="7938"/>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6" name="South Korea"/>
                      <p:cNvSpPr>
                        <a:spLocks/>
                      </p:cNvSpPr>
                      <p:nvPr/>
                    </p:nvSpPr>
                    <p:spPr bwMode="auto">
                      <a:xfrm>
                        <a:off x="9493423" y="2225537"/>
                        <a:ext cx="127581" cy="163881"/>
                      </a:xfrm>
                      <a:custGeom>
                        <a:avLst/>
                        <a:gdLst/>
                        <a:ahLst/>
                        <a:cxnLst>
                          <a:cxn ang="0">
                            <a:pos x="0" y="26"/>
                          </a:cxn>
                          <a:cxn ang="0">
                            <a:pos x="6" y="28"/>
                          </a:cxn>
                          <a:cxn ang="0">
                            <a:pos x="10" y="32"/>
                          </a:cxn>
                          <a:cxn ang="0">
                            <a:pos x="8" y="34"/>
                          </a:cxn>
                          <a:cxn ang="0">
                            <a:pos x="8" y="36"/>
                          </a:cxn>
                          <a:cxn ang="0">
                            <a:pos x="16" y="42"/>
                          </a:cxn>
                          <a:cxn ang="0">
                            <a:pos x="12" y="40"/>
                          </a:cxn>
                          <a:cxn ang="0">
                            <a:pos x="8" y="40"/>
                          </a:cxn>
                          <a:cxn ang="0">
                            <a:pos x="4" y="40"/>
                          </a:cxn>
                          <a:cxn ang="0">
                            <a:pos x="2" y="44"/>
                          </a:cxn>
                          <a:cxn ang="0">
                            <a:pos x="2" y="48"/>
                          </a:cxn>
                          <a:cxn ang="0">
                            <a:pos x="8" y="48"/>
                          </a:cxn>
                          <a:cxn ang="0">
                            <a:pos x="14" y="56"/>
                          </a:cxn>
                          <a:cxn ang="0">
                            <a:pos x="16" y="60"/>
                          </a:cxn>
                          <a:cxn ang="0">
                            <a:pos x="18" y="64"/>
                          </a:cxn>
                          <a:cxn ang="0">
                            <a:pos x="20" y="64"/>
                          </a:cxn>
                          <a:cxn ang="0">
                            <a:pos x="22" y="68"/>
                          </a:cxn>
                          <a:cxn ang="0">
                            <a:pos x="24" y="70"/>
                          </a:cxn>
                          <a:cxn ang="0">
                            <a:pos x="20" y="76"/>
                          </a:cxn>
                          <a:cxn ang="0">
                            <a:pos x="24" y="76"/>
                          </a:cxn>
                          <a:cxn ang="0">
                            <a:pos x="20" y="80"/>
                          </a:cxn>
                          <a:cxn ang="0">
                            <a:pos x="20" y="90"/>
                          </a:cxn>
                          <a:cxn ang="0">
                            <a:pos x="24" y="92"/>
                          </a:cxn>
                          <a:cxn ang="0">
                            <a:pos x="24" y="98"/>
                          </a:cxn>
                          <a:cxn ang="0">
                            <a:pos x="26" y="98"/>
                          </a:cxn>
                          <a:cxn ang="0">
                            <a:pos x="28" y="100"/>
                          </a:cxn>
                          <a:cxn ang="0">
                            <a:pos x="28" y="106"/>
                          </a:cxn>
                          <a:cxn ang="0">
                            <a:pos x="30" y="108"/>
                          </a:cxn>
                          <a:cxn ang="0">
                            <a:pos x="36" y="104"/>
                          </a:cxn>
                          <a:cxn ang="0">
                            <a:pos x="42" y="102"/>
                          </a:cxn>
                          <a:cxn ang="0">
                            <a:pos x="48" y="98"/>
                          </a:cxn>
                          <a:cxn ang="0">
                            <a:pos x="46" y="100"/>
                          </a:cxn>
                          <a:cxn ang="0">
                            <a:pos x="52" y="100"/>
                          </a:cxn>
                          <a:cxn ang="0">
                            <a:pos x="52" y="98"/>
                          </a:cxn>
                          <a:cxn ang="0">
                            <a:pos x="52" y="98"/>
                          </a:cxn>
                          <a:cxn ang="0">
                            <a:pos x="58" y="98"/>
                          </a:cxn>
                          <a:cxn ang="0">
                            <a:pos x="58" y="94"/>
                          </a:cxn>
                          <a:cxn ang="0">
                            <a:pos x="62" y="92"/>
                          </a:cxn>
                          <a:cxn ang="0">
                            <a:pos x="64" y="96"/>
                          </a:cxn>
                          <a:cxn ang="0">
                            <a:pos x="68" y="96"/>
                          </a:cxn>
                          <a:cxn ang="0">
                            <a:pos x="70" y="98"/>
                          </a:cxn>
                          <a:cxn ang="0">
                            <a:pos x="74" y="96"/>
                          </a:cxn>
                          <a:cxn ang="0">
                            <a:pos x="68" y="96"/>
                          </a:cxn>
                          <a:cxn ang="0">
                            <a:pos x="68" y="94"/>
                          </a:cxn>
                          <a:cxn ang="0">
                            <a:pos x="70" y="92"/>
                          </a:cxn>
                          <a:cxn ang="0">
                            <a:pos x="78" y="90"/>
                          </a:cxn>
                          <a:cxn ang="0">
                            <a:pos x="82" y="82"/>
                          </a:cxn>
                          <a:cxn ang="0">
                            <a:pos x="84" y="76"/>
                          </a:cxn>
                          <a:cxn ang="0">
                            <a:pos x="80" y="64"/>
                          </a:cxn>
                          <a:cxn ang="0">
                            <a:pos x="78" y="62"/>
                          </a:cxn>
                          <a:cxn ang="0">
                            <a:pos x="76" y="58"/>
                          </a:cxn>
                          <a:cxn ang="0">
                            <a:pos x="74" y="46"/>
                          </a:cxn>
                          <a:cxn ang="0">
                            <a:pos x="56" y="20"/>
                          </a:cxn>
                          <a:cxn ang="0">
                            <a:pos x="44" y="12"/>
                          </a:cxn>
                          <a:cxn ang="0">
                            <a:pos x="28" y="2"/>
                          </a:cxn>
                          <a:cxn ang="0">
                            <a:pos x="20" y="6"/>
                          </a:cxn>
                          <a:cxn ang="0">
                            <a:pos x="8" y="12"/>
                          </a:cxn>
                        </a:cxnLst>
                        <a:rect l="0" t="0" r="r" b="b"/>
                        <a:pathLst>
                          <a:path w="84" h="108">
                            <a:moveTo>
                              <a:pt x="0" y="22"/>
                            </a:moveTo>
                            <a:lnTo>
                              <a:pt x="0" y="22"/>
                            </a:lnTo>
                            <a:lnTo>
                              <a:pt x="0" y="26"/>
                            </a:lnTo>
                            <a:lnTo>
                              <a:pt x="4" y="28"/>
                            </a:lnTo>
                            <a:lnTo>
                              <a:pt x="4" y="28"/>
                            </a:lnTo>
                            <a:lnTo>
                              <a:pt x="6" y="28"/>
                            </a:lnTo>
                            <a:lnTo>
                              <a:pt x="6" y="30"/>
                            </a:lnTo>
                            <a:lnTo>
                              <a:pt x="8" y="32"/>
                            </a:lnTo>
                            <a:lnTo>
                              <a:pt x="10" y="32"/>
                            </a:lnTo>
                            <a:lnTo>
                              <a:pt x="10" y="32"/>
                            </a:lnTo>
                            <a:lnTo>
                              <a:pt x="10" y="32"/>
                            </a:lnTo>
                            <a:lnTo>
                              <a:pt x="8" y="34"/>
                            </a:lnTo>
                            <a:lnTo>
                              <a:pt x="6" y="36"/>
                            </a:lnTo>
                            <a:lnTo>
                              <a:pt x="8" y="36"/>
                            </a:lnTo>
                            <a:lnTo>
                              <a:pt x="8" y="36"/>
                            </a:lnTo>
                            <a:lnTo>
                              <a:pt x="16" y="40"/>
                            </a:lnTo>
                            <a:lnTo>
                              <a:pt x="18" y="40"/>
                            </a:lnTo>
                            <a:lnTo>
                              <a:pt x="16" y="42"/>
                            </a:lnTo>
                            <a:lnTo>
                              <a:pt x="16" y="42"/>
                            </a:lnTo>
                            <a:lnTo>
                              <a:pt x="14" y="42"/>
                            </a:lnTo>
                            <a:lnTo>
                              <a:pt x="12" y="40"/>
                            </a:lnTo>
                            <a:lnTo>
                              <a:pt x="10" y="40"/>
                            </a:lnTo>
                            <a:lnTo>
                              <a:pt x="8" y="40"/>
                            </a:lnTo>
                            <a:lnTo>
                              <a:pt x="8" y="40"/>
                            </a:lnTo>
                            <a:lnTo>
                              <a:pt x="8" y="40"/>
                            </a:lnTo>
                            <a:lnTo>
                              <a:pt x="4" y="40"/>
                            </a:lnTo>
                            <a:lnTo>
                              <a:pt x="4" y="40"/>
                            </a:lnTo>
                            <a:lnTo>
                              <a:pt x="2" y="42"/>
                            </a:lnTo>
                            <a:lnTo>
                              <a:pt x="2" y="42"/>
                            </a:lnTo>
                            <a:lnTo>
                              <a:pt x="2" y="44"/>
                            </a:lnTo>
                            <a:lnTo>
                              <a:pt x="2" y="46"/>
                            </a:lnTo>
                            <a:lnTo>
                              <a:pt x="2" y="46"/>
                            </a:lnTo>
                            <a:lnTo>
                              <a:pt x="2" y="48"/>
                            </a:lnTo>
                            <a:lnTo>
                              <a:pt x="2" y="48"/>
                            </a:lnTo>
                            <a:lnTo>
                              <a:pt x="6" y="48"/>
                            </a:lnTo>
                            <a:lnTo>
                              <a:pt x="8" y="48"/>
                            </a:lnTo>
                            <a:lnTo>
                              <a:pt x="8" y="48"/>
                            </a:lnTo>
                            <a:lnTo>
                              <a:pt x="14" y="56"/>
                            </a:lnTo>
                            <a:lnTo>
                              <a:pt x="14" y="56"/>
                            </a:lnTo>
                            <a:lnTo>
                              <a:pt x="14" y="58"/>
                            </a:lnTo>
                            <a:lnTo>
                              <a:pt x="16" y="60"/>
                            </a:lnTo>
                            <a:lnTo>
                              <a:pt x="16" y="60"/>
                            </a:lnTo>
                            <a:lnTo>
                              <a:pt x="18" y="60"/>
                            </a:lnTo>
                            <a:lnTo>
                              <a:pt x="18" y="62"/>
                            </a:lnTo>
                            <a:lnTo>
                              <a:pt x="18" y="64"/>
                            </a:lnTo>
                            <a:lnTo>
                              <a:pt x="20" y="64"/>
                            </a:lnTo>
                            <a:lnTo>
                              <a:pt x="20" y="64"/>
                            </a:lnTo>
                            <a:lnTo>
                              <a:pt x="20" y="64"/>
                            </a:lnTo>
                            <a:lnTo>
                              <a:pt x="20" y="64"/>
                            </a:lnTo>
                            <a:lnTo>
                              <a:pt x="18" y="66"/>
                            </a:lnTo>
                            <a:lnTo>
                              <a:pt x="22" y="68"/>
                            </a:lnTo>
                            <a:lnTo>
                              <a:pt x="22" y="68"/>
                            </a:lnTo>
                            <a:lnTo>
                              <a:pt x="24" y="70"/>
                            </a:lnTo>
                            <a:lnTo>
                              <a:pt x="24" y="70"/>
                            </a:lnTo>
                            <a:lnTo>
                              <a:pt x="20" y="72"/>
                            </a:lnTo>
                            <a:lnTo>
                              <a:pt x="20" y="72"/>
                            </a:lnTo>
                            <a:lnTo>
                              <a:pt x="20" y="76"/>
                            </a:lnTo>
                            <a:lnTo>
                              <a:pt x="22" y="76"/>
                            </a:lnTo>
                            <a:lnTo>
                              <a:pt x="22" y="76"/>
                            </a:lnTo>
                            <a:lnTo>
                              <a:pt x="24" y="76"/>
                            </a:lnTo>
                            <a:lnTo>
                              <a:pt x="22" y="76"/>
                            </a:lnTo>
                            <a:lnTo>
                              <a:pt x="22" y="78"/>
                            </a:lnTo>
                            <a:lnTo>
                              <a:pt x="20" y="80"/>
                            </a:lnTo>
                            <a:lnTo>
                              <a:pt x="20" y="80"/>
                            </a:lnTo>
                            <a:lnTo>
                              <a:pt x="20" y="86"/>
                            </a:lnTo>
                            <a:lnTo>
                              <a:pt x="20" y="90"/>
                            </a:lnTo>
                            <a:lnTo>
                              <a:pt x="22" y="92"/>
                            </a:lnTo>
                            <a:lnTo>
                              <a:pt x="22" y="92"/>
                            </a:lnTo>
                            <a:lnTo>
                              <a:pt x="24" y="92"/>
                            </a:lnTo>
                            <a:lnTo>
                              <a:pt x="24" y="94"/>
                            </a:lnTo>
                            <a:lnTo>
                              <a:pt x="24" y="94"/>
                            </a:lnTo>
                            <a:lnTo>
                              <a:pt x="24" y="98"/>
                            </a:lnTo>
                            <a:lnTo>
                              <a:pt x="26" y="98"/>
                            </a:lnTo>
                            <a:lnTo>
                              <a:pt x="26" y="98"/>
                            </a:lnTo>
                            <a:lnTo>
                              <a:pt x="26" y="98"/>
                            </a:lnTo>
                            <a:lnTo>
                              <a:pt x="26" y="100"/>
                            </a:lnTo>
                            <a:lnTo>
                              <a:pt x="28" y="100"/>
                            </a:lnTo>
                            <a:lnTo>
                              <a:pt x="28" y="100"/>
                            </a:lnTo>
                            <a:lnTo>
                              <a:pt x="28" y="100"/>
                            </a:lnTo>
                            <a:lnTo>
                              <a:pt x="28" y="102"/>
                            </a:lnTo>
                            <a:lnTo>
                              <a:pt x="28" y="106"/>
                            </a:lnTo>
                            <a:lnTo>
                              <a:pt x="28" y="106"/>
                            </a:lnTo>
                            <a:lnTo>
                              <a:pt x="28" y="108"/>
                            </a:lnTo>
                            <a:lnTo>
                              <a:pt x="30" y="108"/>
                            </a:lnTo>
                            <a:lnTo>
                              <a:pt x="32" y="108"/>
                            </a:lnTo>
                            <a:lnTo>
                              <a:pt x="36" y="104"/>
                            </a:lnTo>
                            <a:lnTo>
                              <a:pt x="36" y="104"/>
                            </a:lnTo>
                            <a:lnTo>
                              <a:pt x="38" y="104"/>
                            </a:lnTo>
                            <a:lnTo>
                              <a:pt x="40" y="104"/>
                            </a:lnTo>
                            <a:lnTo>
                              <a:pt x="42" y="102"/>
                            </a:lnTo>
                            <a:lnTo>
                              <a:pt x="42" y="102"/>
                            </a:lnTo>
                            <a:lnTo>
                              <a:pt x="46" y="98"/>
                            </a:lnTo>
                            <a:lnTo>
                              <a:pt x="48" y="98"/>
                            </a:lnTo>
                            <a:lnTo>
                              <a:pt x="48" y="98"/>
                            </a:lnTo>
                            <a:lnTo>
                              <a:pt x="48" y="100"/>
                            </a:lnTo>
                            <a:lnTo>
                              <a:pt x="46" y="100"/>
                            </a:lnTo>
                            <a:lnTo>
                              <a:pt x="48" y="100"/>
                            </a:lnTo>
                            <a:lnTo>
                              <a:pt x="48" y="100"/>
                            </a:lnTo>
                            <a:lnTo>
                              <a:pt x="52" y="100"/>
                            </a:lnTo>
                            <a:lnTo>
                              <a:pt x="52" y="98"/>
                            </a:lnTo>
                            <a:lnTo>
                              <a:pt x="52" y="98"/>
                            </a:lnTo>
                            <a:lnTo>
                              <a:pt x="52" y="98"/>
                            </a:lnTo>
                            <a:lnTo>
                              <a:pt x="52" y="96"/>
                            </a:lnTo>
                            <a:lnTo>
                              <a:pt x="52" y="98"/>
                            </a:lnTo>
                            <a:lnTo>
                              <a:pt x="52" y="98"/>
                            </a:lnTo>
                            <a:lnTo>
                              <a:pt x="56" y="98"/>
                            </a:lnTo>
                            <a:lnTo>
                              <a:pt x="58" y="98"/>
                            </a:lnTo>
                            <a:lnTo>
                              <a:pt x="58" y="98"/>
                            </a:lnTo>
                            <a:lnTo>
                              <a:pt x="58" y="98"/>
                            </a:lnTo>
                            <a:lnTo>
                              <a:pt x="56" y="96"/>
                            </a:lnTo>
                            <a:lnTo>
                              <a:pt x="58" y="94"/>
                            </a:lnTo>
                            <a:lnTo>
                              <a:pt x="58" y="94"/>
                            </a:lnTo>
                            <a:lnTo>
                              <a:pt x="62" y="92"/>
                            </a:lnTo>
                            <a:lnTo>
                              <a:pt x="62" y="92"/>
                            </a:lnTo>
                            <a:lnTo>
                              <a:pt x="62" y="94"/>
                            </a:lnTo>
                            <a:lnTo>
                              <a:pt x="62" y="94"/>
                            </a:lnTo>
                            <a:lnTo>
                              <a:pt x="64" y="96"/>
                            </a:lnTo>
                            <a:lnTo>
                              <a:pt x="66" y="96"/>
                            </a:lnTo>
                            <a:lnTo>
                              <a:pt x="66" y="96"/>
                            </a:lnTo>
                            <a:lnTo>
                              <a:pt x="68" y="96"/>
                            </a:lnTo>
                            <a:lnTo>
                              <a:pt x="68" y="98"/>
                            </a:lnTo>
                            <a:lnTo>
                              <a:pt x="68" y="98"/>
                            </a:lnTo>
                            <a:lnTo>
                              <a:pt x="70" y="98"/>
                            </a:lnTo>
                            <a:lnTo>
                              <a:pt x="70" y="98"/>
                            </a:lnTo>
                            <a:lnTo>
                              <a:pt x="74" y="96"/>
                            </a:lnTo>
                            <a:lnTo>
                              <a:pt x="74" y="96"/>
                            </a:lnTo>
                            <a:lnTo>
                              <a:pt x="72" y="96"/>
                            </a:lnTo>
                            <a:lnTo>
                              <a:pt x="72" y="96"/>
                            </a:lnTo>
                            <a:lnTo>
                              <a:pt x="68" y="96"/>
                            </a:lnTo>
                            <a:lnTo>
                              <a:pt x="66" y="94"/>
                            </a:lnTo>
                            <a:lnTo>
                              <a:pt x="66" y="94"/>
                            </a:lnTo>
                            <a:lnTo>
                              <a:pt x="68" y="94"/>
                            </a:lnTo>
                            <a:lnTo>
                              <a:pt x="70" y="94"/>
                            </a:lnTo>
                            <a:lnTo>
                              <a:pt x="70" y="92"/>
                            </a:lnTo>
                            <a:lnTo>
                              <a:pt x="70" y="92"/>
                            </a:lnTo>
                            <a:lnTo>
                              <a:pt x="72" y="94"/>
                            </a:lnTo>
                            <a:lnTo>
                              <a:pt x="74" y="92"/>
                            </a:lnTo>
                            <a:lnTo>
                              <a:pt x="78" y="90"/>
                            </a:lnTo>
                            <a:lnTo>
                              <a:pt x="80" y="86"/>
                            </a:lnTo>
                            <a:lnTo>
                              <a:pt x="80" y="86"/>
                            </a:lnTo>
                            <a:lnTo>
                              <a:pt x="82" y="82"/>
                            </a:lnTo>
                            <a:lnTo>
                              <a:pt x="82" y="82"/>
                            </a:lnTo>
                            <a:lnTo>
                              <a:pt x="84" y="76"/>
                            </a:lnTo>
                            <a:lnTo>
                              <a:pt x="84" y="76"/>
                            </a:lnTo>
                            <a:lnTo>
                              <a:pt x="82" y="64"/>
                            </a:lnTo>
                            <a:lnTo>
                              <a:pt x="82" y="64"/>
                            </a:lnTo>
                            <a:lnTo>
                              <a:pt x="80" y="64"/>
                            </a:lnTo>
                            <a:lnTo>
                              <a:pt x="80" y="64"/>
                            </a:lnTo>
                            <a:lnTo>
                              <a:pt x="80" y="64"/>
                            </a:lnTo>
                            <a:lnTo>
                              <a:pt x="78" y="62"/>
                            </a:lnTo>
                            <a:lnTo>
                              <a:pt x="76" y="62"/>
                            </a:lnTo>
                            <a:lnTo>
                              <a:pt x="76" y="58"/>
                            </a:lnTo>
                            <a:lnTo>
                              <a:pt x="76" y="58"/>
                            </a:lnTo>
                            <a:lnTo>
                              <a:pt x="76" y="52"/>
                            </a:lnTo>
                            <a:lnTo>
                              <a:pt x="74" y="46"/>
                            </a:lnTo>
                            <a:lnTo>
                              <a:pt x="74" y="46"/>
                            </a:lnTo>
                            <a:lnTo>
                              <a:pt x="66" y="32"/>
                            </a:lnTo>
                            <a:lnTo>
                              <a:pt x="56" y="20"/>
                            </a:lnTo>
                            <a:lnTo>
                              <a:pt x="56" y="20"/>
                            </a:lnTo>
                            <a:lnTo>
                              <a:pt x="50" y="16"/>
                            </a:lnTo>
                            <a:lnTo>
                              <a:pt x="44" y="12"/>
                            </a:lnTo>
                            <a:lnTo>
                              <a:pt x="44" y="12"/>
                            </a:lnTo>
                            <a:lnTo>
                              <a:pt x="30" y="0"/>
                            </a:lnTo>
                            <a:lnTo>
                              <a:pt x="30" y="0"/>
                            </a:lnTo>
                            <a:lnTo>
                              <a:pt x="28" y="2"/>
                            </a:lnTo>
                            <a:lnTo>
                              <a:pt x="28" y="4"/>
                            </a:lnTo>
                            <a:lnTo>
                              <a:pt x="26" y="6"/>
                            </a:lnTo>
                            <a:lnTo>
                              <a:pt x="20" y="6"/>
                            </a:lnTo>
                            <a:lnTo>
                              <a:pt x="20" y="6"/>
                            </a:lnTo>
                            <a:lnTo>
                              <a:pt x="12" y="8"/>
                            </a:lnTo>
                            <a:lnTo>
                              <a:pt x="8" y="12"/>
                            </a:lnTo>
                            <a:lnTo>
                              <a:pt x="0" y="22"/>
                            </a:lnTo>
                            <a:lnTo>
                              <a:pt x="0" y="22"/>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9" name="New Zealand"/>
                      <p:cNvSpPr>
                        <a:spLocks/>
                      </p:cNvSpPr>
                      <p:nvPr/>
                    </p:nvSpPr>
                    <p:spPr bwMode="auto">
                      <a:xfrm>
                        <a:off x="10480657" y="4938676"/>
                        <a:ext cx="586265" cy="418808"/>
                      </a:xfrm>
                      <a:custGeom>
                        <a:avLst/>
                        <a:gdLst/>
                        <a:ahLst/>
                        <a:cxnLst/>
                        <a:rect l="l" t="t" r="r" b="b"/>
                        <a:pathLst>
                          <a:path w="510646" h="365126">
                            <a:moveTo>
                              <a:pt x="227542" y="275168"/>
                            </a:moveTo>
                            <a:lnTo>
                              <a:pt x="227542" y="277814"/>
                            </a:lnTo>
                            <a:lnTo>
                              <a:pt x="230188" y="277814"/>
                            </a:lnTo>
                            <a:lnTo>
                              <a:pt x="230188" y="275168"/>
                            </a:lnTo>
                            <a:close/>
                            <a:moveTo>
                              <a:pt x="293688" y="185209"/>
                            </a:moveTo>
                            <a:lnTo>
                              <a:pt x="301625" y="187855"/>
                            </a:lnTo>
                            <a:lnTo>
                              <a:pt x="296334" y="187855"/>
                            </a:lnTo>
                            <a:lnTo>
                              <a:pt x="291042" y="187855"/>
                            </a:lnTo>
                            <a:lnTo>
                              <a:pt x="291042" y="190501"/>
                            </a:lnTo>
                            <a:lnTo>
                              <a:pt x="291042" y="193147"/>
                            </a:lnTo>
                            <a:lnTo>
                              <a:pt x="293688" y="193147"/>
                            </a:lnTo>
                            <a:lnTo>
                              <a:pt x="293688" y="195793"/>
                            </a:lnTo>
                            <a:lnTo>
                              <a:pt x="291042" y="198438"/>
                            </a:lnTo>
                            <a:lnTo>
                              <a:pt x="293688" y="201084"/>
                            </a:lnTo>
                            <a:lnTo>
                              <a:pt x="296334" y="198438"/>
                            </a:lnTo>
                            <a:lnTo>
                              <a:pt x="301625" y="195793"/>
                            </a:lnTo>
                            <a:lnTo>
                              <a:pt x="304271" y="195793"/>
                            </a:lnTo>
                            <a:lnTo>
                              <a:pt x="306917" y="193147"/>
                            </a:lnTo>
                            <a:lnTo>
                              <a:pt x="309563" y="190501"/>
                            </a:lnTo>
                            <a:lnTo>
                              <a:pt x="312208" y="190501"/>
                            </a:lnTo>
                            <a:lnTo>
                              <a:pt x="312208" y="193147"/>
                            </a:lnTo>
                            <a:lnTo>
                              <a:pt x="309563" y="193147"/>
                            </a:lnTo>
                            <a:lnTo>
                              <a:pt x="309563" y="195793"/>
                            </a:lnTo>
                            <a:lnTo>
                              <a:pt x="312208" y="195793"/>
                            </a:lnTo>
                            <a:lnTo>
                              <a:pt x="314854" y="195793"/>
                            </a:lnTo>
                            <a:lnTo>
                              <a:pt x="317500" y="198438"/>
                            </a:lnTo>
                            <a:lnTo>
                              <a:pt x="314854" y="198438"/>
                            </a:lnTo>
                            <a:lnTo>
                              <a:pt x="317500" y="201084"/>
                            </a:lnTo>
                            <a:lnTo>
                              <a:pt x="320146" y="201084"/>
                            </a:lnTo>
                            <a:lnTo>
                              <a:pt x="317500" y="203730"/>
                            </a:lnTo>
                            <a:lnTo>
                              <a:pt x="314854" y="203730"/>
                            </a:lnTo>
                            <a:lnTo>
                              <a:pt x="312208" y="206376"/>
                            </a:lnTo>
                            <a:lnTo>
                              <a:pt x="309563" y="206376"/>
                            </a:lnTo>
                            <a:lnTo>
                              <a:pt x="312208" y="209022"/>
                            </a:lnTo>
                            <a:lnTo>
                              <a:pt x="312208" y="211668"/>
                            </a:lnTo>
                            <a:lnTo>
                              <a:pt x="309563" y="216959"/>
                            </a:lnTo>
                            <a:lnTo>
                              <a:pt x="296334" y="224897"/>
                            </a:lnTo>
                            <a:lnTo>
                              <a:pt x="293688" y="227543"/>
                            </a:lnTo>
                            <a:lnTo>
                              <a:pt x="291042" y="230188"/>
                            </a:lnTo>
                            <a:lnTo>
                              <a:pt x="283104" y="232834"/>
                            </a:lnTo>
                            <a:lnTo>
                              <a:pt x="280458" y="235480"/>
                            </a:lnTo>
                            <a:lnTo>
                              <a:pt x="283104" y="235480"/>
                            </a:lnTo>
                            <a:lnTo>
                              <a:pt x="283104" y="238126"/>
                            </a:lnTo>
                            <a:lnTo>
                              <a:pt x="280458" y="238126"/>
                            </a:lnTo>
                            <a:lnTo>
                              <a:pt x="277813" y="238126"/>
                            </a:lnTo>
                            <a:lnTo>
                              <a:pt x="275167" y="238126"/>
                            </a:lnTo>
                            <a:lnTo>
                              <a:pt x="275167" y="240772"/>
                            </a:lnTo>
                            <a:lnTo>
                              <a:pt x="261938" y="251355"/>
                            </a:lnTo>
                            <a:lnTo>
                              <a:pt x="259292" y="251355"/>
                            </a:lnTo>
                            <a:lnTo>
                              <a:pt x="259292" y="254001"/>
                            </a:lnTo>
                            <a:lnTo>
                              <a:pt x="256646" y="256647"/>
                            </a:lnTo>
                            <a:lnTo>
                              <a:pt x="254000" y="256647"/>
                            </a:lnTo>
                            <a:lnTo>
                              <a:pt x="251354" y="259293"/>
                            </a:lnTo>
                            <a:lnTo>
                              <a:pt x="243417" y="259293"/>
                            </a:lnTo>
                            <a:lnTo>
                              <a:pt x="235479" y="259293"/>
                            </a:lnTo>
                            <a:lnTo>
                              <a:pt x="232833" y="261939"/>
                            </a:lnTo>
                            <a:lnTo>
                              <a:pt x="230188" y="267230"/>
                            </a:lnTo>
                            <a:lnTo>
                              <a:pt x="227542" y="267230"/>
                            </a:lnTo>
                            <a:lnTo>
                              <a:pt x="227542" y="269876"/>
                            </a:lnTo>
                            <a:lnTo>
                              <a:pt x="227542" y="272522"/>
                            </a:lnTo>
                            <a:lnTo>
                              <a:pt x="230188" y="272522"/>
                            </a:lnTo>
                            <a:lnTo>
                              <a:pt x="232833" y="272522"/>
                            </a:lnTo>
                            <a:lnTo>
                              <a:pt x="232833" y="275168"/>
                            </a:lnTo>
                            <a:lnTo>
                              <a:pt x="235479" y="275168"/>
                            </a:lnTo>
                            <a:lnTo>
                              <a:pt x="235479" y="277814"/>
                            </a:lnTo>
                            <a:lnTo>
                              <a:pt x="235479" y="280459"/>
                            </a:lnTo>
                            <a:lnTo>
                              <a:pt x="232833" y="280459"/>
                            </a:lnTo>
                            <a:lnTo>
                              <a:pt x="230188" y="280459"/>
                            </a:lnTo>
                            <a:lnTo>
                              <a:pt x="232833" y="283105"/>
                            </a:lnTo>
                            <a:lnTo>
                              <a:pt x="230188" y="283105"/>
                            </a:lnTo>
                            <a:lnTo>
                              <a:pt x="227542" y="283105"/>
                            </a:lnTo>
                            <a:lnTo>
                              <a:pt x="224896" y="283105"/>
                            </a:lnTo>
                            <a:lnTo>
                              <a:pt x="222250" y="280459"/>
                            </a:lnTo>
                            <a:lnTo>
                              <a:pt x="219604" y="280459"/>
                            </a:lnTo>
                            <a:lnTo>
                              <a:pt x="219604" y="277814"/>
                            </a:lnTo>
                            <a:lnTo>
                              <a:pt x="216958" y="277814"/>
                            </a:lnTo>
                            <a:lnTo>
                              <a:pt x="209021" y="277814"/>
                            </a:lnTo>
                            <a:lnTo>
                              <a:pt x="193146" y="283105"/>
                            </a:lnTo>
                            <a:lnTo>
                              <a:pt x="174625" y="293689"/>
                            </a:lnTo>
                            <a:lnTo>
                              <a:pt x="171979" y="296334"/>
                            </a:lnTo>
                            <a:lnTo>
                              <a:pt x="169333" y="298980"/>
                            </a:lnTo>
                            <a:lnTo>
                              <a:pt x="164042" y="304272"/>
                            </a:lnTo>
                            <a:lnTo>
                              <a:pt x="161396" y="306918"/>
                            </a:lnTo>
                            <a:lnTo>
                              <a:pt x="161396" y="312209"/>
                            </a:lnTo>
                            <a:lnTo>
                              <a:pt x="158750" y="314855"/>
                            </a:lnTo>
                            <a:lnTo>
                              <a:pt x="150813" y="317501"/>
                            </a:lnTo>
                            <a:lnTo>
                              <a:pt x="142875" y="322793"/>
                            </a:lnTo>
                            <a:lnTo>
                              <a:pt x="140229" y="325439"/>
                            </a:lnTo>
                            <a:lnTo>
                              <a:pt x="137584" y="328085"/>
                            </a:lnTo>
                            <a:lnTo>
                              <a:pt x="132292" y="330730"/>
                            </a:lnTo>
                            <a:lnTo>
                              <a:pt x="124354" y="333376"/>
                            </a:lnTo>
                            <a:lnTo>
                              <a:pt x="121709" y="338668"/>
                            </a:lnTo>
                            <a:lnTo>
                              <a:pt x="119063" y="338668"/>
                            </a:lnTo>
                            <a:lnTo>
                              <a:pt x="116417" y="341314"/>
                            </a:lnTo>
                            <a:lnTo>
                              <a:pt x="108479" y="343960"/>
                            </a:lnTo>
                            <a:lnTo>
                              <a:pt x="105834" y="349251"/>
                            </a:lnTo>
                            <a:lnTo>
                              <a:pt x="103188" y="351897"/>
                            </a:lnTo>
                            <a:lnTo>
                              <a:pt x="95250" y="357189"/>
                            </a:lnTo>
                            <a:lnTo>
                              <a:pt x="92604" y="359835"/>
                            </a:lnTo>
                            <a:lnTo>
                              <a:pt x="89959" y="359835"/>
                            </a:lnTo>
                            <a:lnTo>
                              <a:pt x="84667" y="359835"/>
                            </a:lnTo>
                            <a:lnTo>
                              <a:pt x="82021" y="359835"/>
                            </a:lnTo>
                            <a:lnTo>
                              <a:pt x="79375" y="362480"/>
                            </a:lnTo>
                            <a:lnTo>
                              <a:pt x="76729" y="362480"/>
                            </a:lnTo>
                            <a:lnTo>
                              <a:pt x="71438" y="365126"/>
                            </a:lnTo>
                            <a:lnTo>
                              <a:pt x="63500" y="365126"/>
                            </a:lnTo>
                            <a:lnTo>
                              <a:pt x="58209" y="362480"/>
                            </a:lnTo>
                            <a:lnTo>
                              <a:pt x="52917" y="362480"/>
                            </a:lnTo>
                            <a:lnTo>
                              <a:pt x="42334" y="362480"/>
                            </a:lnTo>
                            <a:lnTo>
                              <a:pt x="37042" y="362480"/>
                            </a:lnTo>
                            <a:lnTo>
                              <a:pt x="37042" y="359835"/>
                            </a:lnTo>
                            <a:lnTo>
                              <a:pt x="37042" y="357189"/>
                            </a:lnTo>
                            <a:lnTo>
                              <a:pt x="34396" y="357189"/>
                            </a:lnTo>
                            <a:lnTo>
                              <a:pt x="29104" y="357189"/>
                            </a:lnTo>
                            <a:lnTo>
                              <a:pt x="26459" y="354543"/>
                            </a:lnTo>
                            <a:lnTo>
                              <a:pt x="23813" y="354543"/>
                            </a:lnTo>
                            <a:lnTo>
                              <a:pt x="21167" y="354543"/>
                            </a:lnTo>
                            <a:lnTo>
                              <a:pt x="18521" y="357189"/>
                            </a:lnTo>
                            <a:lnTo>
                              <a:pt x="18521" y="354543"/>
                            </a:lnTo>
                            <a:lnTo>
                              <a:pt x="10584" y="354543"/>
                            </a:lnTo>
                            <a:lnTo>
                              <a:pt x="5292" y="351897"/>
                            </a:lnTo>
                            <a:lnTo>
                              <a:pt x="0" y="349251"/>
                            </a:lnTo>
                            <a:lnTo>
                              <a:pt x="0" y="346605"/>
                            </a:lnTo>
                            <a:lnTo>
                              <a:pt x="2646" y="346605"/>
                            </a:lnTo>
                            <a:lnTo>
                              <a:pt x="10584" y="346605"/>
                            </a:lnTo>
                            <a:lnTo>
                              <a:pt x="10584" y="343960"/>
                            </a:lnTo>
                            <a:lnTo>
                              <a:pt x="7938" y="343960"/>
                            </a:lnTo>
                            <a:lnTo>
                              <a:pt x="5292" y="341314"/>
                            </a:lnTo>
                            <a:lnTo>
                              <a:pt x="7938" y="338668"/>
                            </a:lnTo>
                            <a:lnTo>
                              <a:pt x="2646" y="338668"/>
                            </a:lnTo>
                            <a:lnTo>
                              <a:pt x="2646" y="336022"/>
                            </a:lnTo>
                            <a:lnTo>
                              <a:pt x="7938" y="333376"/>
                            </a:lnTo>
                            <a:lnTo>
                              <a:pt x="10584" y="330730"/>
                            </a:lnTo>
                            <a:lnTo>
                              <a:pt x="18521" y="328085"/>
                            </a:lnTo>
                            <a:lnTo>
                              <a:pt x="18521" y="325439"/>
                            </a:lnTo>
                            <a:lnTo>
                              <a:pt x="23813" y="325439"/>
                            </a:lnTo>
                            <a:lnTo>
                              <a:pt x="26459" y="322793"/>
                            </a:lnTo>
                            <a:lnTo>
                              <a:pt x="26459" y="320147"/>
                            </a:lnTo>
                            <a:lnTo>
                              <a:pt x="29104" y="320147"/>
                            </a:lnTo>
                            <a:lnTo>
                              <a:pt x="39688" y="314855"/>
                            </a:lnTo>
                            <a:lnTo>
                              <a:pt x="47625" y="312209"/>
                            </a:lnTo>
                            <a:lnTo>
                              <a:pt x="55563" y="309564"/>
                            </a:lnTo>
                            <a:lnTo>
                              <a:pt x="60854" y="309564"/>
                            </a:lnTo>
                            <a:lnTo>
                              <a:pt x="66146" y="306918"/>
                            </a:lnTo>
                            <a:lnTo>
                              <a:pt x="71438" y="301626"/>
                            </a:lnTo>
                            <a:lnTo>
                              <a:pt x="74084" y="301626"/>
                            </a:lnTo>
                            <a:lnTo>
                              <a:pt x="79375" y="298980"/>
                            </a:lnTo>
                            <a:lnTo>
                              <a:pt x="87313" y="296334"/>
                            </a:lnTo>
                            <a:lnTo>
                              <a:pt x="92604" y="291043"/>
                            </a:lnTo>
                            <a:lnTo>
                              <a:pt x="97896" y="288397"/>
                            </a:lnTo>
                            <a:lnTo>
                              <a:pt x="100542" y="288397"/>
                            </a:lnTo>
                            <a:lnTo>
                              <a:pt x="108479" y="288397"/>
                            </a:lnTo>
                            <a:lnTo>
                              <a:pt x="111125" y="285751"/>
                            </a:lnTo>
                            <a:lnTo>
                              <a:pt x="116417" y="283105"/>
                            </a:lnTo>
                            <a:lnTo>
                              <a:pt x="121709" y="280459"/>
                            </a:lnTo>
                            <a:lnTo>
                              <a:pt x="127000" y="277814"/>
                            </a:lnTo>
                            <a:lnTo>
                              <a:pt x="140229" y="272522"/>
                            </a:lnTo>
                            <a:lnTo>
                              <a:pt x="142875" y="269876"/>
                            </a:lnTo>
                            <a:lnTo>
                              <a:pt x="145521" y="269876"/>
                            </a:lnTo>
                            <a:lnTo>
                              <a:pt x="145521" y="272522"/>
                            </a:lnTo>
                            <a:lnTo>
                              <a:pt x="148167" y="269876"/>
                            </a:lnTo>
                            <a:lnTo>
                              <a:pt x="156104" y="267230"/>
                            </a:lnTo>
                            <a:lnTo>
                              <a:pt x="161396" y="264584"/>
                            </a:lnTo>
                            <a:lnTo>
                              <a:pt x="166688" y="261939"/>
                            </a:lnTo>
                            <a:lnTo>
                              <a:pt x="174625" y="256647"/>
                            </a:lnTo>
                            <a:lnTo>
                              <a:pt x="182563" y="254001"/>
                            </a:lnTo>
                            <a:lnTo>
                              <a:pt x="187854" y="248709"/>
                            </a:lnTo>
                            <a:lnTo>
                              <a:pt x="193146" y="248709"/>
                            </a:lnTo>
                            <a:lnTo>
                              <a:pt x="206375" y="243418"/>
                            </a:lnTo>
                            <a:lnTo>
                              <a:pt x="214313" y="238126"/>
                            </a:lnTo>
                            <a:lnTo>
                              <a:pt x="216958" y="235480"/>
                            </a:lnTo>
                            <a:lnTo>
                              <a:pt x="219604" y="235480"/>
                            </a:lnTo>
                            <a:lnTo>
                              <a:pt x="222250" y="235480"/>
                            </a:lnTo>
                            <a:lnTo>
                              <a:pt x="227542" y="230188"/>
                            </a:lnTo>
                            <a:lnTo>
                              <a:pt x="232833" y="222251"/>
                            </a:lnTo>
                            <a:lnTo>
                              <a:pt x="238125" y="216959"/>
                            </a:lnTo>
                            <a:lnTo>
                              <a:pt x="240771" y="214313"/>
                            </a:lnTo>
                            <a:lnTo>
                              <a:pt x="248708" y="214313"/>
                            </a:lnTo>
                            <a:lnTo>
                              <a:pt x="259292" y="209022"/>
                            </a:lnTo>
                            <a:lnTo>
                              <a:pt x="264583" y="206376"/>
                            </a:lnTo>
                            <a:lnTo>
                              <a:pt x="269875" y="203730"/>
                            </a:lnTo>
                            <a:lnTo>
                              <a:pt x="275167" y="195793"/>
                            </a:lnTo>
                            <a:lnTo>
                              <a:pt x="283104" y="190501"/>
                            </a:lnTo>
                            <a:lnTo>
                              <a:pt x="288396" y="187855"/>
                            </a:lnTo>
                            <a:close/>
                            <a:moveTo>
                              <a:pt x="444500" y="37041"/>
                            </a:moveTo>
                            <a:lnTo>
                              <a:pt x="444500" y="39687"/>
                            </a:lnTo>
                            <a:lnTo>
                              <a:pt x="447146" y="39687"/>
                            </a:lnTo>
                            <a:close/>
                            <a:moveTo>
                              <a:pt x="425979" y="0"/>
                            </a:moveTo>
                            <a:lnTo>
                              <a:pt x="431271" y="0"/>
                            </a:lnTo>
                            <a:lnTo>
                              <a:pt x="431271" y="2646"/>
                            </a:lnTo>
                            <a:lnTo>
                              <a:pt x="431271" y="5291"/>
                            </a:lnTo>
                            <a:lnTo>
                              <a:pt x="433917" y="7937"/>
                            </a:lnTo>
                            <a:lnTo>
                              <a:pt x="433917" y="10583"/>
                            </a:lnTo>
                            <a:lnTo>
                              <a:pt x="433917" y="13229"/>
                            </a:lnTo>
                            <a:lnTo>
                              <a:pt x="436563" y="13229"/>
                            </a:lnTo>
                            <a:lnTo>
                              <a:pt x="439208" y="13229"/>
                            </a:lnTo>
                            <a:lnTo>
                              <a:pt x="436563" y="15875"/>
                            </a:lnTo>
                            <a:lnTo>
                              <a:pt x="439208" y="15875"/>
                            </a:lnTo>
                            <a:lnTo>
                              <a:pt x="441854" y="15875"/>
                            </a:lnTo>
                            <a:lnTo>
                              <a:pt x="444500" y="18521"/>
                            </a:lnTo>
                            <a:lnTo>
                              <a:pt x="441854" y="18521"/>
                            </a:lnTo>
                            <a:lnTo>
                              <a:pt x="444500" y="21166"/>
                            </a:lnTo>
                            <a:lnTo>
                              <a:pt x="447146" y="21166"/>
                            </a:lnTo>
                            <a:lnTo>
                              <a:pt x="447146" y="23812"/>
                            </a:lnTo>
                            <a:lnTo>
                              <a:pt x="449792" y="26458"/>
                            </a:lnTo>
                            <a:lnTo>
                              <a:pt x="449792" y="29104"/>
                            </a:lnTo>
                            <a:lnTo>
                              <a:pt x="452438" y="31750"/>
                            </a:lnTo>
                            <a:lnTo>
                              <a:pt x="452438" y="37041"/>
                            </a:lnTo>
                            <a:lnTo>
                              <a:pt x="449792" y="37041"/>
                            </a:lnTo>
                            <a:lnTo>
                              <a:pt x="449792" y="39687"/>
                            </a:lnTo>
                            <a:lnTo>
                              <a:pt x="449792" y="42333"/>
                            </a:lnTo>
                            <a:lnTo>
                              <a:pt x="447146" y="42333"/>
                            </a:lnTo>
                            <a:lnTo>
                              <a:pt x="444500" y="44979"/>
                            </a:lnTo>
                            <a:lnTo>
                              <a:pt x="444500" y="47625"/>
                            </a:lnTo>
                            <a:lnTo>
                              <a:pt x="444500" y="50271"/>
                            </a:lnTo>
                            <a:lnTo>
                              <a:pt x="444500" y="52916"/>
                            </a:lnTo>
                            <a:lnTo>
                              <a:pt x="444500" y="55562"/>
                            </a:lnTo>
                            <a:lnTo>
                              <a:pt x="447146" y="55562"/>
                            </a:lnTo>
                            <a:lnTo>
                              <a:pt x="444500" y="58208"/>
                            </a:lnTo>
                            <a:lnTo>
                              <a:pt x="441854" y="60854"/>
                            </a:lnTo>
                            <a:lnTo>
                              <a:pt x="441854" y="63500"/>
                            </a:lnTo>
                            <a:lnTo>
                              <a:pt x="441854" y="66146"/>
                            </a:lnTo>
                            <a:lnTo>
                              <a:pt x="441854" y="68791"/>
                            </a:lnTo>
                            <a:lnTo>
                              <a:pt x="441854" y="71437"/>
                            </a:lnTo>
                            <a:lnTo>
                              <a:pt x="439208" y="74083"/>
                            </a:lnTo>
                            <a:lnTo>
                              <a:pt x="436563" y="71437"/>
                            </a:lnTo>
                            <a:lnTo>
                              <a:pt x="436563" y="74083"/>
                            </a:lnTo>
                            <a:lnTo>
                              <a:pt x="439208" y="74083"/>
                            </a:lnTo>
                            <a:lnTo>
                              <a:pt x="439208" y="76729"/>
                            </a:lnTo>
                            <a:lnTo>
                              <a:pt x="441854" y="74083"/>
                            </a:lnTo>
                            <a:lnTo>
                              <a:pt x="444500" y="74083"/>
                            </a:lnTo>
                            <a:lnTo>
                              <a:pt x="444500" y="76729"/>
                            </a:lnTo>
                            <a:lnTo>
                              <a:pt x="447146" y="76729"/>
                            </a:lnTo>
                            <a:lnTo>
                              <a:pt x="447146" y="79375"/>
                            </a:lnTo>
                            <a:lnTo>
                              <a:pt x="447146" y="82021"/>
                            </a:lnTo>
                            <a:lnTo>
                              <a:pt x="447146" y="84666"/>
                            </a:lnTo>
                            <a:lnTo>
                              <a:pt x="449792" y="84666"/>
                            </a:lnTo>
                            <a:lnTo>
                              <a:pt x="452438" y="84666"/>
                            </a:lnTo>
                            <a:lnTo>
                              <a:pt x="452438" y="82021"/>
                            </a:lnTo>
                            <a:lnTo>
                              <a:pt x="452438" y="79375"/>
                            </a:lnTo>
                            <a:lnTo>
                              <a:pt x="452438" y="76729"/>
                            </a:lnTo>
                            <a:lnTo>
                              <a:pt x="452438" y="74083"/>
                            </a:lnTo>
                            <a:lnTo>
                              <a:pt x="452438" y="71437"/>
                            </a:lnTo>
                            <a:lnTo>
                              <a:pt x="452438" y="68791"/>
                            </a:lnTo>
                            <a:lnTo>
                              <a:pt x="452438" y="66146"/>
                            </a:lnTo>
                            <a:lnTo>
                              <a:pt x="455084" y="68791"/>
                            </a:lnTo>
                            <a:lnTo>
                              <a:pt x="457729" y="68791"/>
                            </a:lnTo>
                            <a:lnTo>
                              <a:pt x="455084" y="71437"/>
                            </a:lnTo>
                            <a:lnTo>
                              <a:pt x="457729" y="71437"/>
                            </a:lnTo>
                            <a:lnTo>
                              <a:pt x="460375" y="71437"/>
                            </a:lnTo>
                            <a:lnTo>
                              <a:pt x="457729" y="74083"/>
                            </a:lnTo>
                            <a:lnTo>
                              <a:pt x="455084" y="74083"/>
                            </a:lnTo>
                            <a:lnTo>
                              <a:pt x="457729" y="76729"/>
                            </a:lnTo>
                            <a:lnTo>
                              <a:pt x="457729" y="79375"/>
                            </a:lnTo>
                            <a:lnTo>
                              <a:pt x="457729" y="87312"/>
                            </a:lnTo>
                            <a:lnTo>
                              <a:pt x="455084" y="89958"/>
                            </a:lnTo>
                            <a:lnTo>
                              <a:pt x="457729" y="92604"/>
                            </a:lnTo>
                            <a:lnTo>
                              <a:pt x="457729" y="95250"/>
                            </a:lnTo>
                            <a:lnTo>
                              <a:pt x="460375" y="97896"/>
                            </a:lnTo>
                            <a:lnTo>
                              <a:pt x="468313" y="100542"/>
                            </a:lnTo>
                            <a:lnTo>
                              <a:pt x="473604" y="103187"/>
                            </a:lnTo>
                            <a:lnTo>
                              <a:pt x="478896" y="103187"/>
                            </a:lnTo>
                            <a:lnTo>
                              <a:pt x="484188" y="100542"/>
                            </a:lnTo>
                            <a:lnTo>
                              <a:pt x="489479" y="97896"/>
                            </a:lnTo>
                            <a:lnTo>
                              <a:pt x="492125" y="97896"/>
                            </a:lnTo>
                            <a:lnTo>
                              <a:pt x="500063" y="95250"/>
                            </a:lnTo>
                            <a:lnTo>
                              <a:pt x="502708" y="95250"/>
                            </a:lnTo>
                            <a:lnTo>
                              <a:pt x="508000" y="95250"/>
                            </a:lnTo>
                            <a:lnTo>
                              <a:pt x="508000" y="97896"/>
                            </a:lnTo>
                            <a:lnTo>
                              <a:pt x="510646" y="100542"/>
                            </a:lnTo>
                            <a:lnTo>
                              <a:pt x="508000" y="103187"/>
                            </a:lnTo>
                            <a:lnTo>
                              <a:pt x="505354" y="105833"/>
                            </a:lnTo>
                            <a:lnTo>
                              <a:pt x="505354" y="108479"/>
                            </a:lnTo>
                            <a:lnTo>
                              <a:pt x="502708" y="111125"/>
                            </a:lnTo>
                            <a:lnTo>
                              <a:pt x="502708" y="113771"/>
                            </a:lnTo>
                            <a:lnTo>
                              <a:pt x="500063" y="116417"/>
                            </a:lnTo>
                            <a:lnTo>
                              <a:pt x="497417" y="119062"/>
                            </a:lnTo>
                            <a:lnTo>
                              <a:pt x="497417" y="121708"/>
                            </a:lnTo>
                            <a:lnTo>
                              <a:pt x="489479" y="124354"/>
                            </a:lnTo>
                            <a:lnTo>
                              <a:pt x="486834" y="124354"/>
                            </a:lnTo>
                            <a:lnTo>
                              <a:pt x="484188" y="124354"/>
                            </a:lnTo>
                            <a:lnTo>
                              <a:pt x="481542" y="127000"/>
                            </a:lnTo>
                            <a:lnTo>
                              <a:pt x="478896" y="132292"/>
                            </a:lnTo>
                            <a:lnTo>
                              <a:pt x="476250" y="137583"/>
                            </a:lnTo>
                            <a:lnTo>
                              <a:pt x="473604" y="140229"/>
                            </a:lnTo>
                            <a:lnTo>
                              <a:pt x="476250" y="140229"/>
                            </a:lnTo>
                            <a:lnTo>
                              <a:pt x="478896" y="142875"/>
                            </a:lnTo>
                            <a:lnTo>
                              <a:pt x="476250" y="142875"/>
                            </a:lnTo>
                            <a:lnTo>
                              <a:pt x="470958" y="148167"/>
                            </a:lnTo>
                            <a:lnTo>
                              <a:pt x="470958" y="145521"/>
                            </a:lnTo>
                            <a:lnTo>
                              <a:pt x="470958" y="142875"/>
                            </a:lnTo>
                            <a:lnTo>
                              <a:pt x="473604" y="142875"/>
                            </a:lnTo>
                            <a:lnTo>
                              <a:pt x="470958" y="140229"/>
                            </a:lnTo>
                            <a:lnTo>
                              <a:pt x="455084" y="140229"/>
                            </a:lnTo>
                            <a:lnTo>
                              <a:pt x="436563" y="145521"/>
                            </a:lnTo>
                            <a:lnTo>
                              <a:pt x="433917" y="148167"/>
                            </a:lnTo>
                            <a:lnTo>
                              <a:pt x="433917" y="150812"/>
                            </a:lnTo>
                            <a:lnTo>
                              <a:pt x="428625" y="153458"/>
                            </a:lnTo>
                            <a:lnTo>
                              <a:pt x="428625" y="156104"/>
                            </a:lnTo>
                            <a:lnTo>
                              <a:pt x="425979" y="158750"/>
                            </a:lnTo>
                            <a:lnTo>
                              <a:pt x="425979" y="161396"/>
                            </a:lnTo>
                            <a:lnTo>
                              <a:pt x="428625" y="161396"/>
                            </a:lnTo>
                            <a:lnTo>
                              <a:pt x="428625" y="164042"/>
                            </a:lnTo>
                            <a:lnTo>
                              <a:pt x="425979" y="164042"/>
                            </a:lnTo>
                            <a:lnTo>
                              <a:pt x="423334" y="164042"/>
                            </a:lnTo>
                            <a:lnTo>
                              <a:pt x="420688" y="166687"/>
                            </a:lnTo>
                            <a:lnTo>
                              <a:pt x="418042" y="169333"/>
                            </a:lnTo>
                            <a:lnTo>
                              <a:pt x="415396" y="171979"/>
                            </a:lnTo>
                            <a:lnTo>
                              <a:pt x="412750" y="174625"/>
                            </a:lnTo>
                            <a:lnTo>
                              <a:pt x="410104" y="174625"/>
                            </a:lnTo>
                            <a:lnTo>
                              <a:pt x="407458" y="174625"/>
                            </a:lnTo>
                            <a:lnTo>
                              <a:pt x="404813" y="177271"/>
                            </a:lnTo>
                            <a:lnTo>
                              <a:pt x="402167" y="182562"/>
                            </a:lnTo>
                            <a:lnTo>
                              <a:pt x="396875" y="182562"/>
                            </a:lnTo>
                            <a:lnTo>
                              <a:pt x="394229" y="185208"/>
                            </a:lnTo>
                            <a:lnTo>
                              <a:pt x="391584" y="185208"/>
                            </a:lnTo>
                            <a:lnTo>
                              <a:pt x="388938" y="187855"/>
                            </a:lnTo>
                            <a:lnTo>
                              <a:pt x="381000" y="193146"/>
                            </a:lnTo>
                            <a:lnTo>
                              <a:pt x="378354" y="195792"/>
                            </a:lnTo>
                            <a:lnTo>
                              <a:pt x="375708" y="198438"/>
                            </a:lnTo>
                            <a:lnTo>
                              <a:pt x="373063" y="201084"/>
                            </a:lnTo>
                            <a:lnTo>
                              <a:pt x="367771" y="203730"/>
                            </a:lnTo>
                            <a:lnTo>
                              <a:pt x="359834" y="206375"/>
                            </a:lnTo>
                            <a:lnTo>
                              <a:pt x="354542" y="209021"/>
                            </a:lnTo>
                            <a:lnTo>
                              <a:pt x="354542" y="206375"/>
                            </a:lnTo>
                            <a:lnTo>
                              <a:pt x="351896" y="203730"/>
                            </a:lnTo>
                            <a:lnTo>
                              <a:pt x="349250" y="203730"/>
                            </a:lnTo>
                            <a:lnTo>
                              <a:pt x="346604" y="206375"/>
                            </a:lnTo>
                            <a:lnTo>
                              <a:pt x="346604" y="203730"/>
                            </a:lnTo>
                            <a:lnTo>
                              <a:pt x="346604" y="201084"/>
                            </a:lnTo>
                            <a:lnTo>
                              <a:pt x="346604" y="198438"/>
                            </a:lnTo>
                            <a:lnTo>
                              <a:pt x="343958" y="198438"/>
                            </a:lnTo>
                            <a:lnTo>
                              <a:pt x="343958" y="201084"/>
                            </a:lnTo>
                            <a:lnTo>
                              <a:pt x="341313" y="203730"/>
                            </a:lnTo>
                            <a:lnTo>
                              <a:pt x="338667" y="203730"/>
                            </a:lnTo>
                            <a:lnTo>
                              <a:pt x="336021" y="201084"/>
                            </a:lnTo>
                            <a:lnTo>
                              <a:pt x="336021" y="198438"/>
                            </a:lnTo>
                            <a:lnTo>
                              <a:pt x="338667" y="198438"/>
                            </a:lnTo>
                            <a:lnTo>
                              <a:pt x="341313" y="195792"/>
                            </a:lnTo>
                            <a:lnTo>
                              <a:pt x="343958" y="193146"/>
                            </a:lnTo>
                            <a:lnTo>
                              <a:pt x="346604" y="193146"/>
                            </a:lnTo>
                            <a:lnTo>
                              <a:pt x="349250" y="190500"/>
                            </a:lnTo>
                            <a:lnTo>
                              <a:pt x="354542" y="185208"/>
                            </a:lnTo>
                            <a:lnTo>
                              <a:pt x="359834" y="177271"/>
                            </a:lnTo>
                            <a:lnTo>
                              <a:pt x="362479" y="171979"/>
                            </a:lnTo>
                            <a:lnTo>
                              <a:pt x="362479" y="169333"/>
                            </a:lnTo>
                            <a:lnTo>
                              <a:pt x="359834" y="164042"/>
                            </a:lnTo>
                            <a:lnTo>
                              <a:pt x="357188" y="164042"/>
                            </a:lnTo>
                            <a:lnTo>
                              <a:pt x="354542" y="161396"/>
                            </a:lnTo>
                            <a:lnTo>
                              <a:pt x="351896" y="158750"/>
                            </a:lnTo>
                            <a:lnTo>
                              <a:pt x="349250" y="158750"/>
                            </a:lnTo>
                            <a:lnTo>
                              <a:pt x="346604" y="156104"/>
                            </a:lnTo>
                            <a:lnTo>
                              <a:pt x="346604" y="150812"/>
                            </a:lnTo>
                            <a:lnTo>
                              <a:pt x="349250" y="148167"/>
                            </a:lnTo>
                            <a:lnTo>
                              <a:pt x="354542" y="142875"/>
                            </a:lnTo>
                            <a:lnTo>
                              <a:pt x="359834" y="140229"/>
                            </a:lnTo>
                            <a:lnTo>
                              <a:pt x="365125" y="137583"/>
                            </a:lnTo>
                            <a:lnTo>
                              <a:pt x="370417" y="137583"/>
                            </a:lnTo>
                            <a:lnTo>
                              <a:pt x="373063" y="134937"/>
                            </a:lnTo>
                            <a:lnTo>
                              <a:pt x="381000" y="129646"/>
                            </a:lnTo>
                            <a:lnTo>
                              <a:pt x="386292" y="127000"/>
                            </a:lnTo>
                            <a:lnTo>
                              <a:pt x="388938" y="121708"/>
                            </a:lnTo>
                            <a:lnTo>
                              <a:pt x="394229" y="119062"/>
                            </a:lnTo>
                            <a:lnTo>
                              <a:pt x="396875" y="119062"/>
                            </a:lnTo>
                            <a:lnTo>
                              <a:pt x="402167" y="111125"/>
                            </a:lnTo>
                            <a:lnTo>
                              <a:pt x="404813" y="103187"/>
                            </a:lnTo>
                            <a:lnTo>
                              <a:pt x="407458" y="103187"/>
                            </a:lnTo>
                            <a:lnTo>
                              <a:pt x="407458" y="105833"/>
                            </a:lnTo>
                            <a:lnTo>
                              <a:pt x="412750" y="103187"/>
                            </a:lnTo>
                            <a:lnTo>
                              <a:pt x="410104" y="103187"/>
                            </a:lnTo>
                            <a:lnTo>
                              <a:pt x="410104" y="100542"/>
                            </a:lnTo>
                            <a:lnTo>
                              <a:pt x="412750" y="97896"/>
                            </a:lnTo>
                            <a:lnTo>
                              <a:pt x="415396" y="97896"/>
                            </a:lnTo>
                            <a:lnTo>
                              <a:pt x="418042" y="92604"/>
                            </a:lnTo>
                            <a:lnTo>
                              <a:pt x="420688" y="89958"/>
                            </a:lnTo>
                            <a:lnTo>
                              <a:pt x="423334" y="84666"/>
                            </a:lnTo>
                            <a:lnTo>
                              <a:pt x="425979" y="82021"/>
                            </a:lnTo>
                            <a:lnTo>
                              <a:pt x="425979" y="84666"/>
                            </a:lnTo>
                            <a:lnTo>
                              <a:pt x="428625" y="82021"/>
                            </a:lnTo>
                            <a:lnTo>
                              <a:pt x="433917" y="82021"/>
                            </a:lnTo>
                            <a:lnTo>
                              <a:pt x="431271" y="79375"/>
                            </a:lnTo>
                            <a:lnTo>
                              <a:pt x="431271" y="76729"/>
                            </a:lnTo>
                            <a:lnTo>
                              <a:pt x="428625" y="79375"/>
                            </a:lnTo>
                            <a:lnTo>
                              <a:pt x="425979" y="79375"/>
                            </a:lnTo>
                            <a:lnTo>
                              <a:pt x="423334" y="76729"/>
                            </a:lnTo>
                            <a:lnTo>
                              <a:pt x="425979" y="76729"/>
                            </a:lnTo>
                            <a:lnTo>
                              <a:pt x="425979" y="74083"/>
                            </a:lnTo>
                            <a:lnTo>
                              <a:pt x="428625" y="71437"/>
                            </a:lnTo>
                            <a:lnTo>
                              <a:pt x="428625" y="58208"/>
                            </a:lnTo>
                            <a:lnTo>
                              <a:pt x="428625" y="55562"/>
                            </a:lnTo>
                            <a:lnTo>
                              <a:pt x="431271" y="55562"/>
                            </a:lnTo>
                            <a:lnTo>
                              <a:pt x="431271" y="58208"/>
                            </a:lnTo>
                            <a:lnTo>
                              <a:pt x="431271" y="60854"/>
                            </a:lnTo>
                            <a:lnTo>
                              <a:pt x="433917" y="60854"/>
                            </a:lnTo>
                            <a:lnTo>
                              <a:pt x="436563" y="60854"/>
                            </a:lnTo>
                            <a:lnTo>
                              <a:pt x="436563" y="58208"/>
                            </a:lnTo>
                            <a:lnTo>
                              <a:pt x="436563" y="55562"/>
                            </a:lnTo>
                            <a:lnTo>
                              <a:pt x="433917" y="55562"/>
                            </a:lnTo>
                            <a:lnTo>
                              <a:pt x="431271" y="52916"/>
                            </a:lnTo>
                            <a:lnTo>
                              <a:pt x="433917" y="52916"/>
                            </a:lnTo>
                            <a:lnTo>
                              <a:pt x="436563" y="52916"/>
                            </a:lnTo>
                            <a:lnTo>
                              <a:pt x="439208" y="50271"/>
                            </a:lnTo>
                            <a:lnTo>
                              <a:pt x="436563" y="50271"/>
                            </a:lnTo>
                            <a:lnTo>
                              <a:pt x="433917" y="50271"/>
                            </a:lnTo>
                            <a:lnTo>
                              <a:pt x="433917" y="47625"/>
                            </a:lnTo>
                            <a:lnTo>
                              <a:pt x="431271" y="50271"/>
                            </a:lnTo>
                            <a:lnTo>
                              <a:pt x="431271" y="52916"/>
                            </a:lnTo>
                            <a:lnTo>
                              <a:pt x="428625" y="52916"/>
                            </a:lnTo>
                            <a:lnTo>
                              <a:pt x="428625" y="50271"/>
                            </a:lnTo>
                            <a:lnTo>
                              <a:pt x="428625" y="42333"/>
                            </a:lnTo>
                            <a:lnTo>
                              <a:pt x="428625" y="37041"/>
                            </a:lnTo>
                            <a:lnTo>
                              <a:pt x="425979" y="29104"/>
                            </a:lnTo>
                            <a:lnTo>
                              <a:pt x="425979" y="26458"/>
                            </a:lnTo>
                            <a:lnTo>
                              <a:pt x="428625" y="26458"/>
                            </a:lnTo>
                            <a:lnTo>
                              <a:pt x="431271" y="23812"/>
                            </a:lnTo>
                            <a:lnTo>
                              <a:pt x="428625" y="23812"/>
                            </a:lnTo>
                            <a:lnTo>
                              <a:pt x="425979" y="26458"/>
                            </a:lnTo>
                            <a:lnTo>
                              <a:pt x="425979" y="21166"/>
                            </a:lnTo>
                            <a:lnTo>
                              <a:pt x="425979" y="15875"/>
                            </a:lnTo>
                            <a:lnTo>
                              <a:pt x="428625" y="15875"/>
                            </a:lnTo>
                            <a:lnTo>
                              <a:pt x="428625" y="7937"/>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1" name="Taiwan"/>
                      <p:cNvSpPr>
                        <a:spLocks/>
                      </p:cNvSpPr>
                      <p:nvPr/>
                    </p:nvSpPr>
                    <p:spPr bwMode="auto">
                      <a:xfrm>
                        <a:off x="9511650" y="2720215"/>
                        <a:ext cx="48602" cy="118359"/>
                      </a:xfrm>
                      <a:custGeom>
                        <a:avLst/>
                        <a:gdLst/>
                        <a:ahLst/>
                        <a:cxnLst>
                          <a:cxn ang="0">
                            <a:pos x="14" y="4"/>
                          </a:cxn>
                          <a:cxn ang="0">
                            <a:pos x="14" y="4"/>
                          </a:cxn>
                          <a:cxn ang="0">
                            <a:pos x="12" y="4"/>
                          </a:cxn>
                          <a:cxn ang="0">
                            <a:pos x="10" y="6"/>
                          </a:cxn>
                          <a:cxn ang="0">
                            <a:pos x="10" y="8"/>
                          </a:cxn>
                          <a:cxn ang="0">
                            <a:pos x="10" y="10"/>
                          </a:cxn>
                          <a:cxn ang="0">
                            <a:pos x="10" y="10"/>
                          </a:cxn>
                          <a:cxn ang="0">
                            <a:pos x="6" y="20"/>
                          </a:cxn>
                          <a:cxn ang="0">
                            <a:pos x="2" y="30"/>
                          </a:cxn>
                          <a:cxn ang="0">
                            <a:pos x="2" y="30"/>
                          </a:cxn>
                          <a:cxn ang="0">
                            <a:pos x="0" y="36"/>
                          </a:cxn>
                          <a:cxn ang="0">
                            <a:pos x="0" y="42"/>
                          </a:cxn>
                          <a:cxn ang="0">
                            <a:pos x="2" y="44"/>
                          </a:cxn>
                          <a:cxn ang="0">
                            <a:pos x="4" y="50"/>
                          </a:cxn>
                          <a:cxn ang="0">
                            <a:pos x="4" y="50"/>
                          </a:cxn>
                          <a:cxn ang="0">
                            <a:pos x="4" y="54"/>
                          </a:cxn>
                          <a:cxn ang="0">
                            <a:pos x="6" y="56"/>
                          </a:cxn>
                          <a:cxn ang="0">
                            <a:pos x="10" y="58"/>
                          </a:cxn>
                          <a:cxn ang="0">
                            <a:pos x="10" y="58"/>
                          </a:cxn>
                          <a:cxn ang="0">
                            <a:pos x="14" y="66"/>
                          </a:cxn>
                          <a:cxn ang="0">
                            <a:pos x="20" y="68"/>
                          </a:cxn>
                          <a:cxn ang="0">
                            <a:pos x="20" y="68"/>
                          </a:cxn>
                          <a:cxn ang="0">
                            <a:pos x="24" y="72"/>
                          </a:cxn>
                          <a:cxn ang="0">
                            <a:pos x="24" y="76"/>
                          </a:cxn>
                          <a:cxn ang="0">
                            <a:pos x="24" y="76"/>
                          </a:cxn>
                          <a:cxn ang="0">
                            <a:pos x="24" y="76"/>
                          </a:cxn>
                          <a:cxn ang="0">
                            <a:pos x="26" y="78"/>
                          </a:cxn>
                          <a:cxn ang="0">
                            <a:pos x="30" y="76"/>
                          </a:cxn>
                          <a:cxn ang="0">
                            <a:pos x="30" y="76"/>
                          </a:cxn>
                          <a:cxn ang="0">
                            <a:pos x="28" y="70"/>
                          </a:cxn>
                          <a:cxn ang="0">
                            <a:pos x="28" y="64"/>
                          </a:cxn>
                          <a:cxn ang="0">
                            <a:pos x="28" y="64"/>
                          </a:cxn>
                          <a:cxn ang="0">
                            <a:pos x="30" y="62"/>
                          </a:cxn>
                          <a:cxn ang="0">
                            <a:pos x="32" y="60"/>
                          </a:cxn>
                          <a:cxn ang="0">
                            <a:pos x="32" y="56"/>
                          </a:cxn>
                          <a:cxn ang="0">
                            <a:pos x="32" y="52"/>
                          </a:cxn>
                          <a:cxn ang="0">
                            <a:pos x="32" y="52"/>
                          </a:cxn>
                          <a:cxn ang="0">
                            <a:pos x="32" y="42"/>
                          </a:cxn>
                          <a:cxn ang="0">
                            <a:pos x="32" y="38"/>
                          </a:cxn>
                          <a:cxn ang="0">
                            <a:pos x="30" y="34"/>
                          </a:cxn>
                          <a:cxn ang="0">
                            <a:pos x="30" y="34"/>
                          </a:cxn>
                          <a:cxn ang="0">
                            <a:pos x="28" y="30"/>
                          </a:cxn>
                          <a:cxn ang="0">
                            <a:pos x="28" y="28"/>
                          </a:cxn>
                          <a:cxn ang="0">
                            <a:pos x="28" y="28"/>
                          </a:cxn>
                          <a:cxn ang="0">
                            <a:pos x="30" y="22"/>
                          </a:cxn>
                          <a:cxn ang="0">
                            <a:pos x="28" y="14"/>
                          </a:cxn>
                          <a:cxn ang="0">
                            <a:pos x="28" y="14"/>
                          </a:cxn>
                          <a:cxn ang="0">
                            <a:pos x="28" y="10"/>
                          </a:cxn>
                          <a:cxn ang="0">
                            <a:pos x="28" y="8"/>
                          </a:cxn>
                          <a:cxn ang="0">
                            <a:pos x="28" y="8"/>
                          </a:cxn>
                          <a:cxn ang="0">
                            <a:pos x="28" y="8"/>
                          </a:cxn>
                          <a:cxn ang="0">
                            <a:pos x="30" y="6"/>
                          </a:cxn>
                          <a:cxn ang="0">
                            <a:pos x="30" y="4"/>
                          </a:cxn>
                          <a:cxn ang="0">
                            <a:pos x="22" y="0"/>
                          </a:cxn>
                          <a:cxn ang="0">
                            <a:pos x="22" y="0"/>
                          </a:cxn>
                          <a:cxn ang="0">
                            <a:pos x="20" y="0"/>
                          </a:cxn>
                          <a:cxn ang="0">
                            <a:pos x="18" y="2"/>
                          </a:cxn>
                          <a:cxn ang="0">
                            <a:pos x="16" y="2"/>
                          </a:cxn>
                          <a:cxn ang="0">
                            <a:pos x="14" y="4"/>
                          </a:cxn>
                          <a:cxn ang="0">
                            <a:pos x="14" y="4"/>
                          </a:cxn>
                        </a:cxnLst>
                        <a:rect l="0" t="0" r="r" b="b"/>
                        <a:pathLst>
                          <a:path w="32" h="78">
                            <a:moveTo>
                              <a:pt x="14" y="4"/>
                            </a:moveTo>
                            <a:lnTo>
                              <a:pt x="14" y="4"/>
                            </a:lnTo>
                            <a:lnTo>
                              <a:pt x="12" y="4"/>
                            </a:lnTo>
                            <a:lnTo>
                              <a:pt x="10" y="6"/>
                            </a:lnTo>
                            <a:lnTo>
                              <a:pt x="10" y="8"/>
                            </a:lnTo>
                            <a:lnTo>
                              <a:pt x="10" y="10"/>
                            </a:lnTo>
                            <a:lnTo>
                              <a:pt x="10" y="10"/>
                            </a:lnTo>
                            <a:lnTo>
                              <a:pt x="6" y="20"/>
                            </a:lnTo>
                            <a:lnTo>
                              <a:pt x="2" y="30"/>
                            </a:lnTo>
                            <a:lnTo>
                              <a:pt x="2" y="30"/>
                            </a:lnTo>
                            <a:lnTo>
                              <a:pt x="0" y="36"/>
                            </a:lnTo>
                            <a:lnTo>
                              <a:pt x="0" y="42"/>
                            </a:lnTo>
                            <a:lnTo>
                              <a:pt x="2" y="44"/>
                            </a:lnTo>
                            <a:lnTo>
                              <a:pt x="4" y="50"/>
                            </a:lnTo>
                            <a:lnTo>
                              <a:pt x="4" y="50"/>
                            </a:lnTo>
                            <a:lnTo>
                              <a:pt x="4" y="54"/>
                            </a:lnTo>
                            <a:lnTo>
                              <a:pt x="6" y="56"/>
                            </a:lnTo>
                            <a:lnTo>
                              <a:pt x="10" y="58"/>
                            </a:lnTo>
                            <a:lnTo>
                              <a:pt x="10" y="58"/>
                            </a:lnTo>
                            <a:lnTo>
                              <a:pt x="14" y="66"/>
                            </a:lnTo>
                            <a:lnTo>
                              <a:pt x="20" y="68"/>
                            </a:lnTo>
                            <a:lnTo>
                              <a:pt x="20" y="68"/>
                            </a:lnTo>
                            <a:lnTo>
                              <a:pt x="24" y="72"/>
                            </a:lnTo>
                            <a:lnTo>
                              <a:pt x="24" y="76"/>
                            </a:lnTo>
                            <a:lnTo>
                              <a:pt x="24" y="76"/>
                            </a:lnTo>
                            <a:lnTo>
                              <a:pt x="24" y="76"/>
                            </a:lnTo>
                            <a:lnTo>
                              <a:pt x="26" y="78"/>
                            </a:lnTo>
                            <a:lnTo>
                              <a:pt x="30" y="76"/>
                            </a:lnTo>
                            <a:lnTo>
                              <a:pt x="30" y="76"/>
                            </a:lnTo>
                            <a:lnTo>
                              <a:pt x="28" y="70"/>
                            </a:lnTo>
                            <a:lnTo>
                              <a:pt x="28" y="64"/>
                            </a:lnTo>
                            <a:lnTo>
                              <a:pt x="28" y="64"/>
                            </a:lnTo>
                            <a:lnTo>
                              <a:pt x="30" y="62"/>
                            </a:lnTo>
                            <a:lnTo>
                              <a:pt x="32" y="60"/>
                            </a:lnTo>
                            <a:lnTo>
                              <a:pt x="32" y="56"/>
                            </a:lnTo>
                            <a:lnTo>
                              <a:pt x="32" y="52"/>
                            </a:lnTo>
                            <a:lnTo>
                              <a:pt x="32" y="52"/>
                            </a:lnTo>
                            <a:lnTo>
                              <a:pt x="32" y="42"/>
                            </a:lnTo>
                            <a:lnTo>
                              <a:pt x="32" y="38"/>
                            </a:lnTo>
                            <a:lnTo>
                              <a:pt x="30" y="34"/>
                            </a:lnTo>
                            <a:lnTo>
                              <a:pt x="30" y="34"/>
                            </a:lnTo>
                            <a:lnTo>
                              <a:pt x="28" y="30"/>
                            </a:lnTo>
                            <a:lnTo>
                              <a:pt x="28" y="28"/>
                            </a:lnTo>
                            <a:lnTo>
                              <a:pt x="28" y="28"/>
                            </a:lnTo>
                            <a:lnTo>
                              <a:pt x="30" y="22"/>
                            </a:lnTo>
                            <a:lnTo>
                              <a:pt x="28" y="14"/>
                            </a:lnTo>
                            <a:lnTo>
                              <a:pt x="28" y="14"/>
                            </a:lnTo>
                            <a:lnTo>
                              <a:pt x="28" y="10"/>
                            </a:lnTo>
                            <a:lnTo>
                              <a:pt x="28" y="8"/>
                            </a:lnTo>
                            <a:lnTo>
                              <a:pt x="28" y="8"/>
                            </a:lnTo>
                            <a:lnTo>
                              <a:pt x="28" y="8"/>
                            </a:lnTo>
                            <a:lnTo>
                              <a:pt x="30" y="6"/>
                            </a:lnTo>
                            <a:lnTo>
                              <a:pt x="30" y="4"/>
                            </a:lnTo>
                            <a:lnTo>
                              <a:pt x="22" y="0"/>
                            </a:lnTo>
                            <a:lnTo>
                              <a:pt x="22" y="0"/>
                            </a:lnTo>
                            <a:lnTo>
                              <a:pt x="20" y="0"/>
                            </a:lnTo>
                            <a:lnTo>
                              <a:pt x="18" y="2"/>
                            </a:lnTo>
                            <a:lnTo>
                              <a:pt x="16" y="2"/>
                            </a:lnTo>
                            <a:lnTo>
                              <a:pt x="14" y="4"/>
                            </a:lnTo>
                            <a:lnTo>
                              <a:pt x="14" y="4"/>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7" name="Portugal"/>
                      <p:cNvSpPr>
                        <a:spLocks/>
                      </p:cNvSpPr>
                      <p:nvPr/>
                    </p:nvSpPr>
                    <p:spPr bwMode="auto">
                      <a:xfrm>
                        <a:off x="5517150" y="2125388"/>
                        <a:ext cx="85054" cy="169951"/>
                      </a:xfrm>
                      <a:custGeom>
                        <a:avLst/>
                        <a:gdLst/>
                        <a:ahLst/>
                        <a:cxnLst>
                          <a:cxn ang="0">
                            <a:pos x="32" y="110"/>
                          </a:cxn>
                          <a:cxn ang="0">
                            <a:pos x="22" y="112"/>
                          </a:cxn>
                          <a:cxn ang="0">
                            <a:pos x="18" y="110"/>
                          </a:cxn>
                          <a:cxn ang="0">
                            <a:pos x="12" y="110"/>
                          </a:cxn>
                          <a:cxn ang="0">
                            <a:pos x="4" y="110"/>
                          </a:cxn>
                          <a:cxn ang="0">
                            <a:pos x="2" y="108"/>
                          </a:cxn>
                          <a:cxn ang="0">
                            <a:pos x="6" y="104"/>
                          </a:cxn>
                          <a:cxn ang="0">
                            <a:pos x="10" y="98"/>
                          </a:cxn>
                          <a:cxn ang="0">
                            <a:pos x="10" y="94"/>
                          </a:cxn>
                          <a:cxn ang="0">
                            <a:pos x="10" y="92"/>
                          </a:cxn>
                          <a:cxn ang="0">
                            <a:pos x="10" y="80"/>
                          </a:cxn>
                          <a:cxn ang="0">
                            <a:pos x="12" y="78"/>
                          </a:cxn>
                          <a:cxn ang="0">
                            <a:pos x="4" y="80"/>
                          </a:cxn>
                          <a:cxn ang="0">
                            <a:pos x="4" y="72"/>
                          </a:cxn>
                          <a:cxn ang="0">
                            <a:pos x="2" y="72"/>
                          </a:cxn>
                          <a:cxn ang="0">
                            <a:pos x="0" y="68"/>
                          </a:cxn>
                          <a:cxn ang="0">
                            <a:pos x="0" y="62"/>
                          </a:cxn>
                          <a:cxn ang="0">
                            <a:pos x="0" y="58"/>
                          </a:cxn>
                          <a:cxn ang="0">
                            <a:pos x="6" y="52"/>
                          </a:cxn>
                          <a:cxn ang="0">
                            <a:pos x="8" y="46"/>
                          </a:cxn>
                          <a:cxn ang="0">
                            <a:pos x="12" y="32"/>
                          </a:cxn>
                          <a:cxn ang="0">
                            <a:pos x="16" y="18"/>
                          </a:cxn>
                          <a:cxn ang="0">
                            <a:pos x="16" y="12"/>
                          </a:cxn>
                          <a:cxn ang="0">
                            <a:pos x="16" y="10"/>
                          </a:cxn>
                          <a:cxn ang="0">
                            <a:pos x="16" y="6"/>
                          </a:cxn>
                          <a:cxn ang="0">
                            <a:pos x="18" y="2"/>
                          </a:cxn>
                          <a:cxn ang="0">
                            <a:pos x="20" y="0"/>
                          </a:cxn>
                          <a:cxn ang="0">
                            <a:pos x="30" y="0"/>
                          </a:cxn>
                          <a:cxn ang="0">
                            <a:pos x="30" y="4"/>
                          </a:cxn>
                          <a:cxn ang="0">
                            <a:pos x="32" y="6"/>
                          </a:cxn>
                          <a:cxn ang="0">
                            <a:pos x="42" y="6"/>
                          </a:cxn>
                          <a:cxn ang="0">
                            <a:pos x="50" y="4"/>
                          </a:cxn>
                          <a:cxn ang="0">
                            <a:pos x="54" y="8"/>
                          </a:cxn>
                          <a:cxn ang="0">
                            <a:pos x="56" y="10"/>
                          </a:cxn>
                          <a:cxn ang="0">
                            <a:pos x="52" y="14"/>
                          </a:cxn>
                          <a:cxn ang="0">
                            <a:pos x="46" y="24"/>
                          </a:cxn>
                          <a:cxn ang="0">
                            <a:pos x="44" y="24"/>
                          </a:cxn>
                          <a:cxn ang="0">
                            <a:pos x="46" y="28"/>
                          </a:cxn>
                          <a:cxn ang="0">
                            <a:pos x="44" y="36"/>
                          </a:cxn>
                          <a:cxn ang="0">
                            <a:pos x="44" y="38"/>
                          </a:cxn>
                          <a:cxn ang="0">
                            <a:pos x="46" y="42"/>
                          </a:cxn>
                          <a:cxn ang="0">
                            <a:pos x="42" y="52"/>
                          </a:cxn>
                          <a:cxn ang="0">
                            <a:pos x="34" y="52"/>
                          </a:cxn>
                          <a:cxn ang="0">
                            <a:pos x="40" y="64"/>
                          </a:cxn>
                          <a:cxn ang="0">
                            <a:pos x="40" y="72"/>
                          </a:cxn>
                          <a:cxn ang="0">
                            <a:pos x="36" y="80"/>
                          </a:cxn>
                          <a:cxn ang="0">
                            <a:pos x="40" y="86"/>
                          </a:cxn>
                          <a:cxn ang="0">
                            <a:pos x="38" y="92"/>
                          </a:cxn>
                          <a:cxn ang="0">
                            <a:pos x="32" y="102"/>
                          </a:cxn>
                          <a:cxn ang="0">
                            <a:pos x="34" y="106"/>
                          </a:cxn>
                        </a:cxnLst>
                        <a:rect l="0" t="0" r="r" b="b"/>
                        <a:pathLst>
                          <a:path w="56" h="112">
                            <a:moveTo>
                              <a:pt x="34" y="106"/>
                            </a:moveTo>
                            <a:lnTo>
                              <a:pt x="34" y="106"/>
                            </a:lnTo>
                            <a:lnTo>
                              <a:pt x="32" y="110"/>
                            </a:lnTo>
                            <a:lnTo>
                              <a:pt x="28" y="110"/>
                            </a:lnTo>
                            <a:lnTo>
                              <a:pt x="28" y="110"/>
                            </a:lnTo>
                            <a:lnTo>
                              <a:pt x="22" y="112"/>
                            </a:lnTo>
                            <a:lnTo>
                              <a:pt x="20" y="112"/>
                            </a:lnTo>
                            <a:lnTo>
                              <a:pt x="18" y="110"/>
                            </a:lnTo>
                            <a:lnTo>
                              <a:pt x="18" y="110"/>
                            </a:lnTo>
                            <a:lnTo>
                              <a:pt x="16" y="110"/>
                            </a:lnTo>
                            <a:lnTo>
                              <a:pt x="12" y="110"/>
                            </a:lnTo>
                            <a:lnTo>
                              <a:pt x="12" y="110"/>
                            </a:lnTo>
                            <a:lnTo>
                              <a:pt x="10" y="110"/>
                            </a:lnTo>
                            <a:lnTo>
                              <a:pt x="4" y="110"/>
                            </a:lnTo>
                            <a:lnTo>
                              <a:pt x="4" y="110"/>
                            </a:lnTo>
                            <a:lnTo>
                              <a:pt x="2" y="110"/>
                            </a:lnTo>
                            <a:lnTo>
                              <a:pt x="2" y="108"/>
                            </a:lnTo>
                            <a:lnTo>
                              <a:pt x="2" y="108"/>
                            </a:lnTo>
                            <a:lnTo>
                              <a:pt x="2" y="108"/>
                            </a:lnTo>
                            <a:lnTo>
                              <a:pt x="4" y="106"/>
                            </a:lnTo>
                            <a:lnTo>
                              <a:pt x="6" y="104"/>
                            </a:lnTo>
                            <a:lnTo>
                              <a:pt x="8" y="100"/>
                            </a:lnTo>
                            <a:lnTo>
                              <a:pt x="8" y="100"/>
                            </a:lnTo>
                            <a:lnTo>
                              <a:pt x="10" y="98"/>
                            </a:lnTo>
                            <a:lnTo>
                              <a:pt x="10" y="94"/>
                            </a:lnTo>
                            <a:lnTo>
                              <a:pt x="10" y="94"/>
                            </a:lnTo>
                            <a:lnTo>
                              <a:pt x="10" y="94"/>
                            </a:lnTo>
                            <a:lnTo>
                              <a:pt x="10" y="94"/>
                            </a:lnTo>
                            <a:lnTo>
                              <a:pt x="10" y="94"/>
                            </a:lnTo>
                            <a:lnTo>
                              <a:pt x="10" y="92"/>
                            </a:lnTo>
                            <a:lnTo>
                              <a:pt x="10" y="92"/>
                            </a:lnTo>
                            <a:lnTo>
                              <a:pt x="10" y="86"/>
                            </a:lnTo>
                            <a:lnTo>
                              <a:pt x="10" y="80"/>
                            </a:lnTo>
                            <a:lnTo>
                              <a:pt x="10" y="80"/>
                            </a:lnTo>
                            <a:lnTo>
                              <a:pt x="10" y="78"/>
                            </a:lnTo>
                            <a:lnTo>
                              <a:pt x="12" y="78"/>
                            </a:lnTo>
                            <a:lnTo>
                              <a:pt x="12" y="78"/>
                            </a:lnTo>
                            <a:lnTo>
                              <a:pt x="6" y="80"/>
                            </a:lnTo>
                            <a:lnTo>
                              <a:pt x="4" y="80"/>
                            </a:lnTo>
                            <a:lnTo>
                              <a:pt x="2" y="78"/>
                            </a:lnTo>
                            <a:lnTo>
                              <a:pt x="2" y="78"/>
                            </a:lnTo>
                            <a:lnTo>
                              <a:pt x="4" y="72"/>
                            </a:lnTo>
                            <a:lnTo>
                              <a:pt x="4" y="72"/>
                            </a:lnTo>
                            <a:lnTo>
                              <a:pt x="4" y="72"/>
                            </a:lnTo>
                            <a:lnTo>
                              <a:pt x="2" y="72"/>
                            </a:lnTo>
                            <a:lnTo>
                              <a:pt x="2" y="72"/>
                            </a:lnTo>
                            <a:lnTo>
                              <a:pt x="0" y="72"/>
                            </a:lnTo>
                            <a:lnTo>
                              <a:pt x="0" y="68"/>
                            </a:lnTo>
                            <a:lnTo>
                              <a:pt x="0" y="68"/>
                            </a:lnTo>
                            <a:lnTo>
                              <a:pt x="0" y="64"/>
                            </a:lnTo>
                            <a:lnTo>
                              <a:pt x="0" y="62"/>
                            </a:lnTo>
                            <a:lnTo>
                              <a:pt x="0" y="58"/>
                            </a:lnTo>
                            <a:lnTo>
                              <a:pt x="0" y="58"/>
                            </a:lnTo>
                            <a:lnTo>
                              <a:pt x="0" y="58"/>
                            </a:lnTo>
                            <a:lnTo>
                              <a:pt x="2" y="56"/>
                            </a:lnTo>
                            <a:lnTo>
                              <a:pt x="6" y="52"/>
                            </a:lnTo>
                            <a:lnTo>
                              <a:pt x="6" y="52"/>
                            </a:lnTo>
                            <a:lnTo>
                              <a:pt x="8" y="48"/>
                            </a:lnTo>
                            <a:lnTo>
                              <a:pt x="8" y="46"/>
                            </a:lnTo>
                            <a:lnTo>
                              <a:pt x="8" y="46"/>
                            </a:lnTo>
                            <a:lnTo>
                              <a:pt x="8" y="44"/>
                            </a:lnTo>
                            <a:lnTo>
                              <a:pt x="8" y="44"/>
                            </a:lnTo>
                            <a:lnTo>
                              <a:pt x="12" y="32"/>
                            </a:lnTo>
                            <a:lnTo>
                              <a:pt x="12" y="32"/>
                            </a:lnTo>
                            <a:lnTo>
                              <a:pt x="14" y="26"/>
                            </a:lnTo>
                            <a:lnTo>
                              <a:pt x="16" y="18"/>
                            </a:lnTo>
                            <a:lnTo>
                              <a:pt x="16" y="18"/>
                            </a:lnTo>
                            <a:lnTo>
                              <a:pt x="16" y="14"/>
                            </a:lnTo>
                            <a:lnTo>
                              <a:pt x="16" y="12"/>
                            </a:lnTo>
                            <a:lnTo>
                              <a:pt x="16" y="10"/>
                            </a:lnTo>
                            <a:lnTo>
                              <a:pt x="16" y="10"/>
                            </a:lnTo>
                            <a:lnTo>
                              <a:pt x="16" y="10"/>
                            </a:lnTo>
                            <a:lnTo>
                              <a:pt x="16" y="8"/>
                            </a:lnTo>
                            <a:lnTo>
                              <a:pt x="16" y="6"/>
                            </a:lnTo>
                            <a:lnTo>
                              <a:pt x="16" y="6"/>
                            </a:lnTo>
                            <a:lnTo>
                              <a:pt x="16" y="4"/>
                            </a:lnTo>
                            <a:lnTo>
                              <a:pt x="16" y="4"/>
                            </a:lnTo>
                            <a:lnTo>
                              <a:pt x="18" y="2"/>
                            </a:lnTo>
                            <a:lnTo>
                              <a:pt x="16" y="2"/>
                            </a:lnTo>
                            <a:lnTo>
                              <a:pt x="16" y="2"/>
                            </a:lnTo>
                            <a:lnTo>
                              <a:pt x="20" y="0"/>
                            </a:lnTo>
                            <a:lnTo>
                              <a:pt x="24" y="0"/>
                            </a:lnTo>
                            <a:lnTo>
                              <a:pt x="24" y="0"/>
                            </a:lnTo>
                            <a:lnTo>
                              <a:pt x="30" y="0"/>
                            </a:lnTo>
                            <a:lnTo>
                              <a:pt x="30" y="2"/>
                            </a:lnTo>
                            <a:lnTo>
                              <a:pt x="30" y="4"/>
                            </a:lnTo>
                            <a:lnTo>
                              <a:pt x="30" y="4"/>
                            </a:lnTo>
                            <a:lnTo>
                              <a:pt x="30" y="6"/>
                            </a:lnTo>
                            <a:lnTo>
                              <a:pt x="32" y="6"/>
                            </a:lnTo>
                            <a:lnTo>
                              <a:pt x="32" y="6"/>
                            </a:lnTo>
                            <a:lnTo>
                              <a:pt x="38" y="4"/>
                            </a:lnTo>
                            <a:lnTo>
                              <a:pt x="42" y="6"/>
                            </a:lnTo>
                            <a:lnTo>
                              <a:pt x="42" y="6"/>
                            </a:lnTo>
                            <a:lnTo>
                              <a:pt x="44" y="6"/>
                            </a:lnTo>
                            <a:lnTo>
                              <a:pt x="46" y="6"/>
                            </a:lnTo>
                            <a:lnTo>
                              <a:pt x="50" y="4"/>
                            </a:lnTo>
                            <a:lnTo>
                              <a:pt x="52" y="6"/>
                            </a:lnTo>
                            <a:lnTo>
                              <a:pt x="52" y="6"/>
                            </a:lnTo>
                            <a:lnTo>
                              <a:pt x="54" y="8"/>
                            </a:lnTo>
                            <a:lnTo>
                              <a:pt x="54" y="10"/>
                            </a:lnTo>
                            <a:lnTo>
                              <a:pt x="54" y="10"/>
                            </a:lnTo>
                            <a:lnTo>
                              <a:pt x="56" y="10"/>
                            </a:lnTo>
                            <a:lnTo>
                              <a:pt x="56" y="12"/>
                            </a:lnTo>
                            <a:lnTo>
                              <a:pt x="52" y="14"/>
                            </a:lnTo>
                            <a:lnTo>
                              <a:pt x="52" y="14"/>
                            </a:lnTo>
                            <a:lnTo>
                              <a:pt x="50" y="18"/>
                            </a:lnTo>
                            <a:lnTo>
                              <a:pt x="48" y="22"/>
                            </a:lnTo>
                            <a:lnTo>
                              <a:pt x="46" y="24"/>
                            </a:lnTo>
                            <a:lnTo>
                              <a:pt x="44" y="24"/>
                            </a:lnTo>
                            <a:lnTo>
                              <a:pt x="44" y="24"/>
                            </a:lnTo>
                            <a:lnTo>
                              <a:pt x="44" y="24"/>
                            </a:lnTo>
                            <a:lnTo>
                              <a:pt x="44" y="24"/>
                            </a:lnTo>
                            <a:lnTo>
                              <a:pt x="46" y="28"/>
                            </a:lnTo>
                            <a:lnTo>
                              <a:pt x="46" y="28"/>
                            </a:lnTo>
                            <a:lnTo>
                              <a:pt x="46" y="32"/>
                            </a:lnTo>
                            <a:lnTo>
                              <a:pt x="46" y="34"/>
                            </a:lnTo>
                            <a:lnTo>
                              <a:pt x="44" y="36"/>
                            </a:lnTo>
                            <a:lnTo>
                              <a:pt x="44" y="36"/>
                            </a:lnTo>
                            <a:lnTo>
                              <a:pt x="44" y="36"/>
                            </a:lnTo>
                            <a:lnTo>
                              <a:pt x="44" y="38"/>
                            </a:lnTo>
                            <a:lnTo>
                              <a:pt x="46" y="38"/>
                            </a:lnTo>
                            <a:lnTo>
                              <a:pt x="46" y="42"/>
                            </a:lnTo>
                            <a:lnTo>
                              <a:pt x="46" y="42"/>
                            </a:lnTo>
                            <a:lnTo>
                              <a:pt x="44" y="48"/>
                            </a:lnTo>
                            <a:lnTo>
                              <a:pt x="44" y="50"/>
                            </a:lnTo>
                            <a:lnTo>
                              <a:pt x="42" y="52"/>
                            </a:lnTo>
                            <a:lnTo>
                              <a:pt x="42" y="52"/>
                            </a:lnTo>
                            <a:lnTo>
                              <a:pt x="36" y="52"/>
                            </a:lnTo>
                            <a:lnTo>
                              <a:pt x="34" y="52"/>
                            </a:lnTo>
                            <a:lnTo>
                              <a:pt x="36" y="54"/>
                            </a:lnTo>
                            <a:lnTo>
                              <a:pt x="36" y="54"/>
                            </a:lnTo>
                            <a:lnTo>
                              <a:pt x="40" y="64"/>
                            </a:lnTo>
                            <a:lnTo>
                              <a:pt x="40" y="64"/>
                            </a:lnTo>
                            <a:lnTo>
                              <a:pt x="42" y="68"/>
                            </a:lnTo>
                            <a:lnTo>
                              <a:pt x="40" y="72"/>
                            </a:lnTo>
                            <a:lnTo>
                              <a:pt x="40" y="72"/>
                            </a:lnTo>
                            <a:lnTo>
                              <a:pt x="36" y="76"/>
                            </a:lnTo>
                            <a:lnTo>
                              <a:pt x="36" y="80"/>
                            </a:lnTo>
                            <a:lnTo>
                              <a:pt x="38" y="82"/>
                            </a:lnTo>
                            <a:lnTo>
                              <a:pt x="38" y="82"/>
                            </a:lnTo>
                            <a:lnTo>
                              <a:pt x="40" y="86"/>
                            </a:lnTo>
                            <a:lnTo>
                              <a:pt x="40" y="88"/>
                            </a:lnTo>
                            <a:lnTo>
                              <a:pt x="40" y="88"/>
                            </a:lnTo>
                            <a:lnTo>
                              <a:pt x="38" y="92"/>
                            </a:lnTo>
                            <a:lnTo>
                              <a:pt x="34" y="98"/>
                            </a:lnTo>
                            <a:lnTo>
                              <a:pt x="34" y="98"/>
                            </a:lnTo>
                            <a:lnTo>
                              <a:pt x="32" y="102"/>
                            </a:lnTo>
                            <a:lnTo>
                              <a:pt x="32" y="104"/>
                            </a:lnTo>
                            <a:lnTo>
                              <a:pt x="34" y="106"/>
                            </a:lnTo>
                            <a:lnTo>
                              <a:pt x="34" y="106"/>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grpSp>
          <p:sp>
            <p:nvSpPr>
              <p:cNvPr id="492" name="China"/>
              <p:cNvSpPr>
                <a:spLocks/>
              </p:cNvSpPr>
              <p:nvPr/>
            </p:nvSpPr>
            <p:spPr bwMode="auto">
              <a:xfrm>
                <a:off x="7937016" y="1762673"/>
                <a:ext cx="1600837" cy="1138063"/>
              </a:xfrm>
              <a:custGeom>
                <a:avLst/>
                <a:gdLst/>
                <a:ahLst/>
                <a:cxnLst>
                  <a:cxn ang="0">
                    <a:pos x="124" y="124"/>
                  </a:cxn>
                  <a:cxn ang="0">
                    <a:pos x="80" y="176"/>
                  </a:cxn>
                  <a:cxn ang="0">
                    <a:pos x="96" y="230"/>
                  </a:cxn>
                  <a:cxn ang="0">
                    <a:pos x="42" y="262"/>
                  </a:cxn>
                  <a:cxn ang="0">
                    <a:pos x="8" y="296"/>
                  </a:cxn>
                  <a:cxn ang="0">
                    <a:pos x="26" y="338"/>
                  </a:cxn>
                  <a:cxn ang="0">
                    <a:pos x="94" y="366"/>
                  </a:cxn>
                  <a:cxn ang="0">
                    <a:pos x="156" y="450"/>
                  </a:cxn>
                  <a:cxn ang="0">
                    <a:pos x="200" y="498"/>
                  </a:cxn>
                  <a:cxn ang="0">
                    <a:pos x="288" y="534"/>
                  </a:cxn>
                  <a:cxn ang="0">
                    <a:pos x="372" y="558"/>
                  </a:cxn>
                  <a:cxn ang="0">
                    <a:pos x="432" y="550"/>
                  </a:cxn>
                  <a:cxn ang="0">
                    <a:pos x="524" y="522"/>
                  </a:cxn>
                  <a:cxn ang="0">
                    <a:pos x="556" y="536"/>
                  </a:cxn>
                  <a:cxn ang="0">
                    <a:pos x="602" y="604"/>
                  </a:cxn>
                  <a:cxn ang="0">
                    <a:pos x="586" y="650"/>
                  </a:cxn>
                  <a:cxn ang="0">
                    <a:pos x="596" y="674"/>
                  </a:cxn>
                  <a:cxn ang="0">
                    <a:pos x="602" y="710"/>
                  </a:cxn>
                  <a:cxn ang="0">
                    <a:pos x="666" y="724"/>
                  </a:cxn>
                  <a:cxn ang="0">
                    <a:pos x="692" y="700"/>
                  </a:cxn>
                  <a:cxn ang="0">
                    <a:pos x="730" y="694"/>
                  </a:cxn>
                  <a:cxn ang="0">
                    <a:pos x="780" y="698"/>
                  </a:cxn>
                  <a:cxn ang="0">
                    <a:pos x="806" y="718"/>
                  </a:cxn>
                  <a:cxn ang="0">
                    <a:pos x="840" y="720"/>
                  </a:cxn>
                  <a:cxn ang="0">
                    <a:pos x="860" y="732"/>
                  </a:cxn>
                  <a:cxn ang="0">
                    <a:pos x="856" y="712"/>
                  </a:cxn>
                  <a:cxn ang="0">
                    <a:pos x="912" y="694"/>
                  </a:cxn>
                  <a:cxn ang="0">
                    <a:pos x="944" y="684"/>
                  </a:cxn>
                  <a:cxn ang="0">
                    <a:pos x="986" y="656"/>
                  </a:cxn>
                  <a:cxn ang="0">
                    <a:pos x="1012" y="620"/>
                  </a:cxn>
                  <a:cxn ang="0">
                    <a:pos x="1026" y="582"/>
                  </a:cxn>
                  <a:cxn ang="0">
                    <a:pos x="1034" y="530"/>
                  </a:cxn>
                  <a:cxn ang="0">
                    <a:pos x="992" y="510"/>
                  </a:cxn>
                  <a:cxn ang="0">
                    <a:pos x="1016" y="492"/>
                  </a:cxn>
                  <a:cxn ang="0">
                    <a:pos x="988" y="472"/>
                  </a:cxn>
                  <a:cxn ang="0">
                    <a:pos x="974" y="442"/>
                  </a:cxn>
                  <a:cxn ang="0">
                    <a:pos x="922" y="402"/>
                  </a:cxn>
                  <a:cxn ang="0">
                    <a:pos x="942" y="370"/>
                  </a:cxn>
                  <a:cxn ang="0">
                    <a:pos x="962" y="348"/>
                  </a:cxn>
                  <a:cxn ang="0">
                    <a:pos x="906" y="352"/>
                  </a:cxn>
                  <a:cxn ang="0">
                    <a:pos x="834" y="310"/>
                  </a:cxn>
                  <a:cxn ang="0">
                    <a:pos x="886" y="270"/>
                  </a:cxn>
                  <a:cxn ang="0">
                    <a:pos x="904" y="302"/>
                  </a:cxn>
                  <a:cxn ang="0">
                    <a:pos x="916" y="306"/>
                  </a:cxn>
                  <a:cxn ang="0">
                    <a:pos x="980" y="256"/>
                  </a:cxn>
                  <a:cxn ang="0">
                    <a:pos x="1032" y="224"/>
                  </a:cxn>
                  <a:cxn ang="0">
                    <a:pos x="1038" y="186"/>
                  </a:cxn>
                  <a:cxn ang="0">
                    <a:pos x="1042" y="120"/>
                  </a:cxn>
                  <a:cxn ang="0">
                    <a:pos x="970" y="96"/>
                  </a:cxn>
                  <a:cxn ang="0">
                    <a:pos x="764" y="0"/>
                  </a:cxn>
                  <a:cxn ang="0">
                    <a:pos x="730" y="26"/>
                  </a:cxn>
                  <a:cxn ang="0">
                    <a:pos x="644" y="90"/>
                  </a:cxn>
                  <a:cxn ang="0">
                    <a:pos x="710" y="100"/>
                  </a:cxn>
                  <a:cxn ang="0">
                    <a:pos x="750" y="132"/>
                  </a:cxn>
                  <a:cxn ang="0">
                    <a:pos x="684" y="168"/>
                  </a:cxn>
                  <a:cxn ang="0">
                    <a:pos x="678" y="206"/>
                  </a:cxn>
                  <a:cxn ang="0">
                    <a:pos x="526" y="222"/>
                  </a:cxn>
                  <a:cxn ang="0">
                    <a:pos x="412" y="210"/>
                  </a:cxn>
                  <a:cxn ang="0">
                    <a:pos x="380" y="176"/>
                  </a:cxn>
                  <a:cxn ang="0">
                    <a:pos x="276" y="156"/>
                  </a:cxn>
                  <a:cxn ang="0">
                    <a:pos x="226" y="108"/>
                  </a:cxn>
                </a:cxnLst>
                <a:rect l="0" t="0" r="r" b="b"/>
                <a:pathLst>
                  <a:path w="1054" h="750">
                    <a:moveTo>
                      <a:pt x="182" y="88"/>
                    </a:moveTo>
                    <a:lnTo>
                      <a:pt x="182" y="88"/>
                    </a:lnTo>
                    <a:lnTo>
                      <a:pt x="180" y="88"/>
                    </a:lnTo>
                    <a:lnTo>
                      <a:pt x="176" y="88"/>
                    </a:lnTo>
                    <a:lnTo>
                      <a:pt x="176" y="88"/>
                    </a:lnTo>
                    <a:lnTo>
                      <a:pt x="174" y="90"/>
                    </a:lnTo>
                    <a:lnTo>
                      <a:pt x="172" y="92"/>
                    </a:lnTo>
                    <a:lnTo>
                      <a:pt x="160" y="92"/>
                    </a:lnTo>
                    <a:lnTo>
                      <a:pt x="156" y="92"/>
                    </a:lnTo>
                    <a:lnTo>
                      <a:pt x="152" y="96"/>
                    </a:lnTo>
                    <a:lnTo>
                      <a:pt x="152" y="104"/>
                    </a:lnTo>
                    <a:lnTo>
                      <a:pt x="154" y="116"/>
                    </a:lnTo>
                    <a:lnTo>
                      <a:pt x="154" y="116"/>
                    </a:lnTo>
                    <a:lnTo>
                      <a:pt x="154" y="118"/>
                    </a:lnTo>
                    <a:lnTo>
                      <a:pt x="152" y="120"/>
                    </a:lnTo>
                    <a:lnTo>
                      <a:pt x="144" y="124"/>
                    </a:lnTo>
                    <a:lnTo>
                      <a:pt x="134" y="126"/>
                    </a:lnTo>
                    <a:lnTo>
                      <a:pt x="124" y="124"/>
                    </a:lnTo>
                    <a:lnTo>
                      <a:pt x="124" y="124"/>
                    </a:lnTo>
                    <a:lnTo>
                      <a:pt x="118" y="122"/>
                    </a:lnTo>
                    <a:lnTo>
                      <a:pt x="114" y="122"/>
                    </a:lnTo>
                    <a:lnTo>
                      <a:pt x="110" y="124"/>
                    </a:lnTo>
                    <a:lnTo>
                      <a:pt x="110" y="128"/>
                    </a:lnTo>
                    <a:lnTo>
                      <a:pt x="110" y="138"/>
                    </a:lnTo>
                    <a:lnTo>
                      <a:pt x="112" y="156"/>
                    </a:lnTo>
                    <a:lnTo>
                      <a:pt x="112" y="156"/>
                    </a:lnTo>
                    <a:lnTo>
                      <a:pt x="112" y="160"/>
                    </a:lnTo>
                    <a:lnTo>
                      <a:pt x="112" y="162"/>
                    </a:lnTo>
                    <a:lnTo>
                      <a:pt x="104" y="162"/>
                    </a:lnTo>
                    <a:lnTo>
                      <a:pt x="94" y="162"/>
                    </a:lnTo>
                    <a:lnTo>
                      <a:pt x="86" y="164"/>
                    </a:lnTo>
                    <a:lnTo>
                      <a:pt x="86" y="164"/>
                    </a:lnTo>
                    <a:lnTo>
                      <a:pt x="80" y="168"/>
                    </a:lnTo>
                    <a:lnTo>
                      <a:pt x="78" y="172"/>
                    </a:lnTo>
                    <a:lnTo>
                      <a:pt x="78" y="176"/>
                    </a:lnTo>
                    <a:lnTo>
                      <a:pt x="80" y="176"/>
                    </a:lnTo>
                    <a:lnTo>
                      <a:pt x="80" y="176"/>
                    </a:lnTo>
                    <a:lnTo>
                      <a:pt x="82" y="176"/>
                    </a:lnTo>
                    <a:lnTo>
                      <a:pt x="86" y="178"/>
                    </a:lnTo>
                    <a:lnTo>
                      <a:pt x="94" y="188"/>
                    </a:lnTo>
                    <a:lnTo>
                      <a:pt x="102" y="196"/>
                    </a:lnTo>
                    <a:lnTo>
                      <a:pt x="104" y="202"/>
                    </a:lnTo>
                    <a:lnTo>
                      <a:pt x="102" y="204"/>
                    </a:lnTo>
                    <a:lnTo>
                      <a:pt x="102" y="204"/>
                    </a:lnTo>
                    <a:lnTo>
                      <a:pt x="100" y="208"/>
                    </a:lnTo>
                    <a:lnTo>
                      <a:pt x="100" y="212"/>
                    </a:lnTo>
                    <a:lnTo>
                      <a:pt x="104" y="216"/>
                    </a:lnTo>
                    <a:lnTo>
                      <a:pt x="106" y="222"/>
                    </a:lnTo>
                    <a:lnTo>
                      <a:pt x="106" y="224"/>
                    </a:lnTo>
                    <a:lnTo>
                      <a:pt x="102" y="226"/>
                    </a:lnTo>
                    <a:lnTo>
                      <a:pt x="102" y="226"/>
                    </a:lnTo>
                    <a:lnTo>
                      <a:pt x="102" y="228"/>
                    </a:lnTo>
                    <a:lnTo>
                      <a:pt x="100" y="230"/>
                    </a:lnTo>
                    <a:lnTo>
                      <a:pt x="96" y="230"/>
                    </a:lnTo>
                    <a:lnTo>
                      <a:pt x="90" y="232"/>
                    </a:lnTo>
                    <a:lnTo>
                      <a:pt x="86" y="232"/>
                    </a:lnTo>
                    <a:lnTo>
                      <a:pt x="86" y="236"/>
                    </a:lnTo>
                    <a:lnTo>
                      <a:pt x="86" y="236"/>
                    </a:lnTo>
                    <a:lnTo>
                      <a:pt x="84" y="238"/>
                    </a:lnTo>
                    <a:lnTo>
                      <a:pt x="82" y="240"/>
                    </a:lnTo>
                    <a:lnTo>
                      <a:pt x="76" y="242"/>
                    </a:lnTo>
                    <a:lnTo>
                      <a:pt x="68" y="248"/>
                    </a:lnTo>
                    <a:lnTo>
                      <a:pt x="68" y="248"/>
                    </a:lnTo>
                    <a:lnTo>
                      <a:pt x="64" y="250"/>
                    </a:lnTo>
                    <a:lnTo>
                      <a:pt x="62" y="250"/>
                    </a:lnTo>
                    <a:lnTo>
                      <a:pt x="60" y="248"/>
                    </a:lnTo>
                    <a:lnTo>
                      <a:pt x="52" y="250"/>
                    </a:lnTo>
                    <a:lnTo>
                      <a:pt x="52" y="250"/>
                    </a:lnTo>
                    <a:lnTo>
                      <a:pt x="48" y="252"/>
                    </a:lnTo>
                    <a:lnTo>
                      <a:pt x="44" y="254"/>
                    </a:lnTo>
                    <a:lnTo>
                      <a:pt x="42" y="260"/>
                    </a:lnTo>
                    <a:lnTo>
                      <a:pt x="42" y="262"/>
                    </a:lnTo>
                    <a:lnTo>
                      <a:pt x="40" y="262"/>
                    </a:lnTo>
                    <a:lnTo>
                      <a:pt x="32" y="260"/>
                    </a:lnTo>
                    <a:lnTo>
                      <a:pt x="32" y="260"/>
                    </a:lnTo>
                    <a:lnTo>
                      <a:pt x="24" y="258"/>
                    </a:lnTo>
                    <a:lnTo>
                      <a:pt x="22" y="258"/>
                    </a:lnTo>
                    <a:lnTo>
                      <a:pt x="22" y="258"/>
                    </a:lnTo>
                    <a:lnTo>
                      <a:pt x="22" y="262"/>
                    </a:lnTo>
                    <a:lnTo>
                      <a:pt x="16" y="260"/>
                    </a:lnTo>
                    <a:lnTo>
                      <a:pt x="16" y="260"/>
                    </a:lnTo>
                    <a:lnTo>
                      <a:pt x="14" y="260"/>
                    </a:lnTo>
                    <a:lnTo>
                      <a:pt x="10" y="260"/>
                    </a:lnTo>
                    <a:lnTo>
                      <a:pt x="4" y="266"/>
                    </a:lnTo>
                    <a:lnTo>
                      <a:pt x="2" y="276"/>
                    </a:lnTo>
                    <a:lnTo>
                      <a:pt x="0" y="290"/>
                    </a:lnTo>
                    <a:lnTo>
                      <a:pt x="0" y="290"/>
                    </a:lnTo>
                    <a:lnTo>
                      <a:pt x="2" y="294"/>
                    </a:lnTo>
                    <a:lnTo>
                      <a:pt x="6" y="296"/>
                    </a:lnTo>
                    <a:lnTo>
                      <a:pt x="8" y="296"/>
                    </a:lnTo>
                    <a:lnTo>
                      <a:pt x="12" y="294"/>
                    </a:lnTo>
                    <a:lnTo>
                      <a:pt x="18" y="294"/>
                    </a:lnTo>
                    <a:lnTo>
                      <a:pt x="20" y="296"/>
                    </a:lnTo>
                    <a:lnTo>
                      <a:pt x="20" y="300"/>
                    </a:lnTo>
                    <a:lnTo>
                      <a:pt x="20" y="300"/>
                    </a:lnTo>
                    <a:lnTo>
                      <a:pt x="20" y="306"/>
                    </a:lnTo>
                    <a:lnTo>
                      <a:pt x="22" y="310"/>
                    </a:lnTo>
                    <a:lnTo>
                      <a:pt x="28" y="312"/>
                    </a:lnTo>
                    <a:lnTo>
                      <a:pt x="30" y="316"/>
                    </a:lnTo>
                    <a:lnTo>
                      <a:pt x="30" y="316"/>
                    </a:lnTo>
                    <a:lnTo>
                      <a:pt x="32" y="324"/>
                    </a:lnTo>
                    <a:lnTo>
                      <a:pt x="30" y="328"/>
                    </a:lnTo>
                    <a:lnTo>
                      <a:pt x="30" y="328"/>
                    </a:lnTo>
                    <a:lnTo>
                      <a:pt x="22" y="330"/>
                    </a:lnTo>
                    <a:lnTo>
                      <a:pt x="22" y="332"/>
                    </a:lnTo>
                    <a:lnTo>
                      <a:pt x="24" y="334"/>
                    </a:lnTo>
                    <a:lnTo>
                      <a:pt x="24" y="334"/>
                    </a:lnTo>
                    <a:lnTo>
                      <a:pt x="26" y="338"/>
                    </a:lnTo>
                    <a:lnTo>
                      <a:pt x="26" y="338"/>
                    </a:lnTo>
                    <a:lnTo>
                      <a:pt x="30" y="338"/>
                    </a:lnTo>
                    <a:lnTo>
                      <a:pt x="32" y="336"/>
                    </a:lnTo>
                    <a:lnTo>
                      <a:pt x="38" y="338"/>
                    </a:lnTo>
                    <a:lnTo>
                      <a:pt x="52" y="344"/>
                    </a:lnTo>
                    <a:lnTo>
                      <a:pt x="52" y="344"/>
                    </a:lnTo>
                    <a:lnTo>
                      <a:pt x="68" y="352"/>
                    </a:lnTo>
                    <a:lnTo>
                      <a:pt x="68" y="354"/>
                    </a:lnTo>
                    <a:lnTo>
                      <a:pt x="68" y="356"/>
                    </a:lnTo>
                    <a:lnTo>
                      <a:pt x="68" y="356"/>
                    </a:lnTo>
                    <a:lnTo>
                      <a:pt x="66" y="362"/>
                    </a:lnTo>
                    <a:lnTo>
                      <a:pt x="68" y="366"/>
                    </a:lnTo>
                    <a:lnTo>
                      <a:pt x="70" y="366"/>
                    </a:lnTo>
                    <a:lnTo>
                      <a:pt x="76" y="366"/>
                    </a:lnTo>
                    <a:lnTo>
                      <a:pt x="86" y="366"/>
                    </a:lnTo>
                    <a:lnTo>
                      <a:pt x="90" y="366"/>
                    </a:lnTo>
                    <a:lnTo>
                      <a:pt x="94" y="366"/>
                    </a:lnTo>
                    <a:lnTo>
                      <a:pt x="94" y="366"/>
                    </a:lnTo>
                    <a:lnTo>
                      <a:pt x="98" y="368"/>
                    </a:lnTo>
                    <a:lnTo>
                      <a:pt x="102" y="370"/>
                    </a:lnTo>
                    <a:lnTo>
                      <a:pt x="110" y="370"/>
                    </a:lnTo>
                    <a:lnTo>
                      <a:pt x="116" y="372"/>
                    </a:lnTo>
                    <a:lnTo>
                      <a:pt x="124" y="378"/>
                    </a:lnTo>
                    <a:lnTo>
                      <a:pt x="132" y="388"/>
                    </a:lnTo>
                    <a:lnTo>
                      <a:pt x="144" y="404"/>
                    </a:lnTo>
                    <a:lnTo>
                      <a:pt x="144" y="404"/>
                    </a:lnTo>
                    <a:lnTo>
                      <a:pt x="138" y="412"/>
                    </a:lnTo>
                    <a:lnTo>
                      <a:pt x="138" y="414"/>
                    </a:lnTo>
                    <a:lnTo>
                      <a:pt x="140" y="416"/>
                    </a:lnTo>
                    <a:lnTo>
                      <a:pt x="148" y="424"/>
                    </a:lnTo>
                    <a:lnTo>
                      <a:pt x="152" y="430"/>
                    </a:lnTo>
                    <a:lnTo>
                      <a:pt x="156" y="436"/>
                    </a:lnTo>
                    <a:lnTo>
                      <a:pt x="156" y="436"/>
                    </a:lnTo>
                    <a:lnTo>
                      <a:pt x="158" y="444"/>
                    </a:lnTo>
                    <a:lnTo>
                      <a:pt x="158" y="448"/>
                    </a:lnTo>
                    <a:lnTo>
                      <a:pt x="156" y="450"/>
                    </a:lnTo>
                    <a:lnTo>
                      <a:pt x="152" y="450"/>
                    </a:lnTo>
                    <a:lnTo>
                      <a:pt x="148" y="450"/>
                    </a:lnTo>
                    <a:lnTo>
                      <a:pt x="148" y="450"/>
                    </a:lnTo>
                    <a:lnTo>
                      <a:pt x="150" y="454"/>
                    </a:lnTo>
                    <a:lnTo>
                      <a:pt x="150" y="454"/>
                    </a:lnTo>
                    <a:lnTo>
                      <a:pt x="156" y="460"/>
                    </a:lnTo>
                    <a:lnTo>
                      <a:pt x="156" y="464"/>
                    </a:lnTo>
                    <a:lnTo>
                      <a:pt x="156" y="470"/>
                    </a:lnTo>
                    <a:lnTo>
                      <a:pt x="160" y="478"/>
                    </a:lnTo>
                    <a:lnTo>
                      <a:pt x="160" y="478"/>
                    </a:lnTo>
                    <a:lnTo>
                      <a:pt x="164" y="482"/>
                    </a:lnTo>
                    <a:lnTo>
                      <a:pt x="168" y="484"/>
                    </a:lnTo>
                    <a:lnTo>
                      <a:pt x="176" y="488"/>
                    </a:lnTo>
                    <a:lnTo>
                      <a:pt x="182" y="488"/>
                    </a:lnTo>
                    <a:lnTo>
                      <a:pt x="188" y="492"/>
                    </a:lnTo>
                    <a:lnTo>
                      <a:pt x="188" y="492"/>
                    </a:lnTo>
                    <a:lnTo>
                      <a:pt x="194" y="496"/>
                    </a:lnTo>
                    <a:lnTo>
                      <a:pt x="200" y="498"/>
                    </a:lnTo>
                    <a:lnTo>
                      <a:pt x="208" y="500"/>
                    </a:lnTo>
                    <a:lnTo>
                      <a:pt x="214" y="508"/>
                    </a:lnTo>
                    <a:lnTo>
                      <a:pt x="214" y="508"/>
                    </a:lnTo>
                    <a:lnTo>
                      <a:pt x="220" y="512"/>
                    </a:lnTo>
                    <a:lnTo>
                      <a:pt x="220" y="512"/>
                    </a:lnTo>
                    <a:lnTo>
                      <a:pt x="226" y="514"/>
                    </a:lnTo>
                    <a:lnTo>
                      <a:pt x="232" y="514"/>
                    </a:lnTo>
                    <a:lnTo>
                      <a:pt x="238" y="514"/>
                    </a:lnTo>
                    <a:lnTo>
                      <a:pt x="244" y="518"/>
                    </a:lnTo>
                    <a:lnTo>
                      <a:pt x="244" y="518"/>
                    </a:lnTo>
                    <a:lnTo>
                      <a:pt x="248" y="520"/>
                    </a:lnTo>
                    <a:lnTo>
                      <a:pt x="250" y="520"/>
                    </a:lnTo>
                    <a:lnTo>
                      <a:pt x="254" y="518"/>
                    </a:lnTo>
                    <a:lnTo>
                      <a:pt x="260" y="518"/>
                    </a:lnTo>
                    <a:lnTo>
                      <a:pt x="266" y="520"/>
                    </a:lnTo>
                    <a:lnTo>
                      <a:pt x="272" y="524"/>
                    </a:lnTo>
                    <a:lnTo>
                      <a:pt x="272" y="524"/>
                    </a:lnTo>
                    <a:lnTo>
                      <a:pt x="288" y="534"/>
                    </a:lnTo>
                    <a:lnTo>
                      <a:pt x="296" y="538"/>
                    </a:lnTo>
                    <a:lnTo>
                      <a:pt x="302" y="538"/>
                    </a:lnTo>
                    <a:lnTo>
                      <a:pt x="306" y="542"/>
                    </a:lnTo>
                    <a:lnTo>
                      <a:pt x="306" y="542"/>
                    </a:lnTo>
                    <a:lnTo>
                      <a:pt x="308" y="546"/>
                    </a:lnTo>
                    <a:lnTo>
                      <a:pt x="310" y="548"/>
                    </a:lnTo>
                    <a:lnTo>
                      <a:pt x="314" y="546"/>
                    </a:lnTo>
                    <a:lnTo>
                      <a:pt x="320" y="546"/>
                    </a:lnTo>
                    <a:lnTo>
                      <a:pt x="322" y="548"/>
                    </a:lnTo>
                    <a:lnTo>
                      <a:pt x="324" y="554"/>
                    </a:lnTo>
                    <a:lnTo>
                      <a:pt x="324" y="554"/>
                    </a:lnTo>
                    <a:lnTo>
                      <a:pt x="326" y="554"/>
                    </a:lnTo>
                    <a:lnTo>
                      <a:pt x="328" y="554"/>
                    </a:lnTo>
                    <a:lnTo>
                      <a:pt x="336" y="552"/>
                    </a:lnTo>
                    <a:lnTo>
                      <a:pt x="352" y="552"/>
                    </a:lnTo>
                    <a:lnTo>
                      <a:pt x="360" y="554"/>
                    </a:lnTo>
                    <a:lnTo>
                      <a:pt x="372" y="558"/>
                    </a:lnTo>
                    <a:lnTo>
                      <a:pt x="372" y="558"/>
                    </a:lnTo>
                    <a:lnTo>
                      <a:pt x="372" y="552"/>
                    </a:lnTo>
                    <a:lnTo>
                      <a:pt x="374" y="550"/>
                    </a:lnTo>
                    <a:lnTo>
                      <a:pt x="376" y="548"/>
                    </a:lnTo>
                    <a:lnTo>
                      <a:pt x="380" y="548"/>
                    </a:lnTo>
                    <a:lnTo>
                      <a:pt x="380" y="548"/>
                    </a:lnTo>
                    <a:lnTo>
                      <a:pt x="384" y="546"/>
                    </a:lnTo>
                    <a:lnTo>
                      <a:pt x="384" y="548"/>
                    </a:lnTo>
                    <a:lnTo>
                      <a:pt x="386" y="566"/>
                    </a:lnTo>
                    <a:lnTo>
                      <a:pt x="386" y="566"/>
                    </a:lnTo>
                    <a:lnTo>
                      <a:pt x="390" y="554"/>
                    </a:lnTo>
                    <a:lnTo>
                      <a:pt x="394" y="548"/>
                    </a:lnTo>
                    <a:lnTo>
                      <a:pt x="400" y="544"/>
                    </a:lnTo>
                    <a:lnTo>
                      <a:pt x="408" y="544"/>
                    </a:lnTo>
                    <a:lnTo>
                      <a:pt x="408" y="544"/>
                    </a:lnTo>
                    <a:lnTo>
                      <a:pt x="418" y="544"/>
                    </a:lnTo>
                    <a:lnTo>
                      <a:pt x="424" y="546"/>
                    </a:lnTo>
                    <a:lnTo>
                      <a:pt x="428" y="548"/>
                    </a:lnTo>
                    <a:lnTo>
                      <a:pt x="432" y="550"/>
                    </a:lnTo>
                    <a:lnTo>
                      <a:pt x="432" y="550"/>
                    </a:lnTo>
                    <a:lnTo>
                      <a:pt x="434" y="552"/>
                    </a:lnTo>
                    <a:lnTo>
                      <a:pt x="436" y="550"/>
                    </a:lnTo>
                    <a:lnTo>
                      <a:pt x="436" y="550"/>
                    </a:lnTo>
                    <a:lnTo>
                      <a:pt x="446" y="548"/>
                    </a:lnTo>
                    <a:lnTo>
                      <a:pt x="462" y="540"/>
                    </a:lnTo>
                    <a:lnTo>
                      <a:pt x="462" y="540"/>
                    </a:lnTo>
                    <a:lnTo>
                      <a:pt x="472" y="536"/>
                    </a:lnTo>
                    <a:lnTo>
                      <a:pt x="476" y="532"/>
                    </a:lnTo>
                    <a:lnTo>
                      <a:pt x="478" y="530"/>
                    </a:lnTo>
                    <a:lnTo>
                      <a:pt x="482" y="526"/>
                    </a:lnTo>
                    <a:lnTo>
                      <a:pt x="482" y="526"/>
                    </a:lnTo>
                    <a:lnTo>
                      <a:pt x="490" y="526"/>
                    </a:lnTo>
                    <a:lnTo>
                      <a:pt x="494" y="528"/>
                    </a:lnTo>
                    <a:lnTo>
                      <a:pt x="502" y="528"/>
                    </a:lnTo>
                    <a:lnTo>
                      <a:pt x="512" y="526"/>
                    </a:lnTo>
                    <a:lnTo>
                      <a:pt x="512" y="526"/>
                    </a:lnTo>
                    <a:lnTo>
                      <a:pt x="524" y="522"/>
                    </a:lnTo>
                    <a:lnTo>
                      <a:pt x="526" y="524"/>
                    </a:lnTo>
                    <a:lnTo>
                      <a:pt x="526" y="526"/>
                    </a:lnTo>
                    <a:lnTo>
                      <a:pt x="524" y="530"/>
                    </a:lnTo>
                    <a:lnTo>
                      <a:pt x="526" y="530"/>
                    </a:lnTo>
                    <a:lnTo>
                      <a:pt x="532" y="530"/>
                    </a:lnTo>
                    <a:lnTo>
                      <a:pt x="532" y="530"/>
                    </a:lnTo>
                    <a:lnTo>
                      <a:pt x="528" y="536"/>
                    </a:lnTo>
                    <a:lnTo>
                      <a:pt x="528" y="538"/>
                    </a:lnTo>
                    <a:lnTo>
                      <a:pt x="528" y="538"/>
                    </a:lnTo>
                    <a:lnTo>
                      <a:pt x="532" y="538"/>
                    </a:lnTo>
                    <a:lnTo>
                      <a:pt x="538" y="538"/>
                    </a:lnTo>
                    <a:lnTo>
                      <a:pt x="538" y="538"/>
                    </a:lnTo>
                    <a:lnTo>
                      <a:pt x="542" y="540"/>
                    </a:lnTo>
                    <a:lnTo>
                      <a:pt x="544" y="538"/>
                    </a:lnTo>
                    <a:lnTo>
                      <a:pt x="548" y="536"/>
                    </a:lnTo>
                    <a:lnTo>
                      <a:pt x="548" y="536"/>
                    </a:lnTo>
                    <a:lnTo>
                      <a:pt x="552" y="536"/>
                    </a:lnTo>
                    <a:lnTo>
                      <a:pt x="556" y="536"/>
                    </a:lnTo>
                    <a:lnTo>
                      <a:pt x="562" y="538"/>
                    </a:lnTo>
                    <a:lnTo>
                      <a:pt x="570" y="544"/>
                    </a:lnTo>
                    <a:lnTo>
                      <a:pt x="570" y="544"/>
                    </a:lnTo>
                    <a:lnTo>
                      <a:pt x="580" y="552"/>
                    </a:lnTo>
                    <a:lnTo>
                      <a:pt x="582" y="556"/>
                    </a:lnTo>
                    <a:lnTo>
                      <a:pt x="582" y="558"/>
                    </a:lnTo>
                    <a:lnTo>
                      <a:pt x="586" y="556"/>
                    </a:lnTo>
                    <a:lnTo>
                      <a:pt x="586" y="556"/>
                    </a:lnTo>
                    <a:lnTo>
                      <a:pt x="588" y="554"/>
                    </a:lnTo>
                    <a:lnTo>
                      <a:pt x="590" y="556"/>
                    </a:lnTo>
                    <a:lnTo>
                      <a:pt x="592" y="564"/>
                    </a:lnTo>
                    <a:lnTo>
                      <a:pt x="594" y="578"/>
                    </a:lnTo>
                    <a:lnTo>
                      <a:pt x="596" y="586"/>
                    </a:lnTo>
                    <a:lnTo>
                      <a:pt x="600" y="594"/>
                    </a:lnTo>
                    <a:lnTo>
                      <a:pt x="600" y="594"/>
                    </a:lnTo>
                    <a:lnTo>
                      <a:pt x="604" y="602"/>
                    </a:lnTo>
                    <a:lnTo>
                      <a:pt x="604" y="604"/>
                    </a:lnTo>
                    <a:lnTo>
                      <a:pt x="602" y="604"/>
                    </a:lnTo>
                    <a:lnTo>
                      <a:pt x="598" y="602"/>
                    </a:lnTo>
                    <a:lnTo>
                      <a:pt x="596" y="602"/>
                    </a:lnTo>
                    <a:lnTo>
                      <a:pt x="596" y="602"/>
                    </a:lnTo>
                    <a:lnTo>
                      <a:pt x="590" y="612"/>
                    </a:lnTo>
                    <a:lnTo>
                      <a:pt x="586" y="616"/>
                    </a:lnTo>
                    <a:lnTo>
                      <a:pt x="582" y="622"/>
                    </a:lnTo>
                    <a:lnTo>
                      <a:pt x="582" y="624"/>
                    </a:lnTo>
                    <a:lnTo>
                      <a:pt x="584" y="628"/>
                    </a:lnTo>
                    <a:lnTo>
                      <a:pt x="584" y="628"/>
                    </a:lnTo>
                    <a:lnTo>
                      <a:pt x="584" y="632"/>
                    </a:lnTo>
                    <a:lnTo>
                      <a:pt x="582" y="634"/>
                    </a:lnTo>
                    <a:lnTo>
                      <a:pt x="580" y="634"/>
                    </a:lnTo>
                    <a:lnTo>
                      <a:pt x="578" y="636"/>
                    </a:lnTo>
                    <a:lnTo>
                      <a:pt x="578" y="636"/>
                    </a:lnTo>
                    <a:lnTo>
                      <a:pt x="576" y="642"/>
                    </a:lnTo>
                    <a:lnTo>
                      <a:pt x="578" y="644"/>
                    </a:lnTo>
                    <a:lnTo>
                      <a:pt x="582" y="648"/>
                    </a:lnTo>
                    <a:lnTo>
                      <a:pt x="586" y="650"/>
                    </a:lnTo>
                    <a:lnTo>
                      <a:pt x="588" y="654"/>
                    </a:lnTo>
                    <a:lnTo>
                      <a:pt x="588" y="654"/>
                    </a:lnTo>
                    <a:lnTo>
                      <a:pt x="586" y="656"/>
                    </a:lnTo>
                    <a:lnTo>
                      <a:pt x="580" y="658"/>
                    </a:lnTo>
                    <a:lnTo>
                      <a:pt x="576" y="660"/>
                    </a:lnTo>
                    <a:lnTo>
                      <a:pt x="574" y="660"/>
                    </a:lnTo>
                    <a:lnTo>
                      <a:pt x="574" y="662"/>
                    </a:lnTo>
                    <a:lnTo>
                      <a:pt x="574" y="662"/>
                    </a:lnTo>
                    <a:lnTo>
                      <a:pt x="574" y="666"/>
                    </a:lnTo>
                    <a:lnTo>
                      <a:pt x="576" y="666"/>
                    </a:lnTo>
                    <a:lnTo>
                      <a:pt x="588" y="662"/>
                    </a:lnTo>
                    <a:lnTo>
                      <a:pt x="588" y="662"/>
                    </a:lnTo>
                    <a:lnTo>
                      <a:pt x="598" y="660"/>
                    </a:lnTo>
                    <a:lnTo>
                      <a:pt x="600" y="662"/>
                    </a:lnTo>
                    <a:lnTo>
                      <a:pt x="598" y="666"/>
                    </a:lnTo>
                    <a:lnTo>
                      <a:pt x="598" y="666"/>
                    </a:lnTo>
                    <a:lnTo>
                      <a:pt x="596" y="672"/>
                    </a:lnTo>
                    <a:lnTo>
                      <a:pt x="596" y="674"/>
                    </a:lnTo>
                    <a:lnTo>
                      <a:pt x="600" y="676"/>
                    </a:lnTo>
                    <a:lnTo>
                      <a:pt x="600" y="678"/>
                    </a:lnTo>
                    <a:lnTo>
                      <a:pt x="600" y="678"/>
                    </a:lnTo>
                    <a:lnTo>
                      <a:pt x="600" y="680"/>
                    </a:lnTo>
                    <a:lnTo>
                      <a:pt x="602" y="682"/>
                    </a:lnTo>
                    <a:lnTo>
                      <a:pt x="606" y="684"/>
                    </a:lnTo>
                    <a:lnTo>
                      <a:pt x="610" y="682"/>
                    </a:lnTo>
                    <a:lnTo>
                      <a:pt x="610" y="682"/>
                    </a:lnTo>
                    <a:lnTo>
                      <a:pt x="612" y="684"/>
                    </a:lnTo>
                    <a:lnTo>
                      <a:pt x="612" y="684"/>
                    </a:lnTo>
                    <a:lnTo>
                      <a:pt x="612" y="686"/>
                    </a:lnTo>
                    <a:lnTo>
                      <a:pt x="616" y="686"/>
                    </a:lnTo>
                    <a:lnTo>
                      <a:pt x="620" y="686"/>
                    </a:lnTo>
                    <a:lnTo>
                      <a:pt x="620" y="688"/>
                    </a:lnTo>
                    <a:lnTo>
                      <a:pt x="620" y="688"/>
                    </a:lnTo>
                    <a:lnTo>
                      <a:pt x="602" y="706"/>
                    </a:lnTo>
                    <a:lnTo>
                      <a:pt x="602" y="706"/>
                    </a:lnTo>
                    <a:lnTo>
                      <a:pt x="602" y="710"/>
                    </a:lnTo>
                    <a:lnTo>
                      <a:pt x="604" y="712"/>
                    </a:lnTo>
                    <a:lnTo>
                      <a:pt x="614" y="712"/>
                    </a:lnTo>
                    <a:lnTo>
                      <a:pt x="628" y="712"/>
                    </a:lnTo>
                    <a:lnTo>
                      <a:pt x="628" y="712"/>
                    </a:lnTo>
                    <a:lnTo>
                      <a:pt x="630" y="718"/>
                    </a:lnTo>
                    <a:lnTo>
                      <a:pt x="634" y="722"/>
                    </a:lnTo>
                    <a:lnTo>
                      <a:pt x="638" y="724"/>
                    </a:lnTo>
                    <a:lnTo>
                      <a:pt x="642" y="724"/>
                    </a:lnTo>
                    <a:lnTo>
                      <a:pt x="650" y="726"/>
                    </a:lnTo>
                    <a:lnTo>
                      <a:pt x="654" y="728"/>
                    </a:lnTo>
                    <a:lnTo>
                      <a:pt x="656" y="728"/>
                    </a:lnTo>
                    <a:lnTo>
                      <a:pt x="656" y="728"/>
                    </a:lnTo>
                    <a:lnTo>
                      <a:pt x="658" y="732"/>
                    </a:lnTo>
                    <a:lnTo>
                      <a:pt x="664" y="734"/>
                    </a:lnTo>
                    <a:lnTo>
                      <a:pt x="666" y="732"/>
                    </a:lnTo>
                    <a:lnTo>
                      <a:pt x="666" y="730"/>
                    </a:lnTo>
                    <a:lnTo>
                      <a:pt x="668" y="728"/>
                    </a:lnTo>
                    <a:lnTo>
                      <a:pt x="666" y="724"/>
                    </a:lnTo>
                    <a:lnTo>
                      <a:pt x="666" y="724"/>
                    </a:lnTo>
                    <a:lnTo>
                      <a:pt x="662" y="718"/>
                    </a:lnTo>
                    <a:lnTo>
                      <a:pt x="658" y="712"/>
                    </a:lnTo>
                    <a:lnTo>
                      <a:pt x="656" y="708"/>
                    </a:lnTo>
                    <a:lnTo>
                      <a:pt x="654" y="704"/>
                    </a:lnTo>
                    <a:lnTo>
                      <a:pt x="654" y="704"/>
                    </a:lnTo>
                    <a:lnTo>
                      <a:pt x="656" y="702"/>
                    </a:lnTo>
                    <a:lnTo>
                      <a:pt x="658" y="700"/>
                    </a:lnTo>
                    <a:lnTo>
                      <a:pt x="668" y="698"/>
                    </a:lnTo>
                    <a:lnTo>
                      <a:pt x="668" y="698"/>
                    </a:lnTo>
                    <a:lnTo>
                      <a:pt x="678" y="696"/>
                    </a:lnTo>
                    <a:lnTo>
                      <a:pt x="678" y="696"/>
                    </a:lnTo>
                    <a:lnTo>
                      <a:pt x="682" y="696"/>
                    </a:lnTo>
                    <a:lnTo>
                      <a:pt x="686" y="700"/>
                    </a:lnTo>
                    <a:lnTo>
                      <a:pt x="688" y="702"/>
                    </a:lnTo>
                    <a:lnTo>
                      <a:pt x="692" y="702"/>
                    </a:lnTo>
                    <a:lnTo>
                      <a:pt x="692" y="702"/>
                    </a:lnTo>
                    <a:lnTo>
                      <a:pt x="692" y="700"/>
                    </a:lnTo>
                    <a:lnTo>
                      <a:pt x="690" y="698"/>
                    </a:lnTo>
                    <a:lnTo>
                      <a:pt x="690" y="694"/>
                    </a:lnTo>
                    <a:lnTo>
                      <a:pt x="692" y="690"/>
                    </a:lnTo>
                    <a:lnTo>
                      <a:pt x="692" y="690"/>
                    </a:lnTo>
                    <a:lnTo>
                      <a:pt x="694" y="688"/>
                    </a:lnTo>
                    <a:lnTo>
                      <a:pt x="696" y="690"/>
                    </a:lnTo>
                    <a:lnTo>
                      <a:pt x="698" y="692"/>
                    </a:lnTo>
                    <a:lnTo>
                      <a:pt x="700" y="696"/>
                    </a:lnTo>
                    <a:lnTo>
                      <a:pt x="704" y="696"/>
                    </a:lnTo>
                    <a:lnTo>
                      <a:pt x="706" y="694"/>
                    </a:lnTo>
                    <a:lnTo>
                      <a:pt x="706" y="694"/>
                    </a:lnTo>
                    <a:lnTo>
                      <a:pt x="712" y="694"/>
                    </a:lnTo>
                    <a:lnTo>
                      <a:pt x="714" y="696"/>
                    </a:lnTo>
                    <a:lnTo>
                      <a:pt x="716" y="696"/>
                    </a:lnTo>
                    <a:lnTo>
                      <a:pt x="720" y="696"/>
                    </a:lnTo>
                    <a:lnTo>
                      <a:pt x="720" y="696"/>
                    </a:lnTo>
                    <a:lnTo>
                      <a:pt x="726" y="694"/>
                    </a:lnTo>
                    <a:lnTo>
                      <a:pt x="730" y="694"/>
                    </a:lnTo>
                    <a:lnTo>
                      <a:pt x="732" y="694"/>
                    </a:lnTo>
                    <a:lnTo>
                      <a:pt x="730" y="688"/>
                    </a:lnTo>
                    <a:lnTo>
                      <a:pt x="730" y="688"/>
                    </a:lnTo>
                    <a:lnTo>
                      <a:pt x="732" y="684"/>
                    </a:lnTo>
                    <a:lnTo>
                      <a:pt x="736" y="682"/>
                    </a:lnTo>
                    <a:lnTo>
                      <a:pt x="746" y="678"/>
                    </a:lnTo>
                    <a:lnTo>
                      <a:pt x="746" y="678"/>
                    </a:lnTo>
                    <a:lnTo>
                      <a:pt x="750" y="678"/>
                    </a:lnTo>
                    <a:lnTo>
                      <a:pt x="750" y="678"/>
                    </a:lnTo>
                    <a:lnTo>
                      <a:pt x="752" y="682"/>
                    </a:lnTo>
                    <a:lnTo>
                      <a:pt x="754" y="684"/>
                    </a:lnTo>
                    <a:lnTo>
                      <a:pt x="756" y="688"/>
                    </a:lnTo>
                    <a:lnTo>
                      <a:pt x="760" y="690"/>
                    </a:lnTo>
                    <a:lnTo>
                      <a:pt x="768" y="690"/>
                    </a:lnTo>
                    <a:lnTo>
                      <a:pt x="768" y="690"/>
                    </a:lnTo>
                    <a:lnTo>
                      <a:pt x="776" y="692"/>
                    </a:lnTo>
                    <a:lnTo>
                      <a:pt x="782" y="694"/>
                    </a:lnTo>
                    <a:lnTo>
                      <a:pt x="780" y="698"/>
                    </a:lnTo>
                    <a:lnTo>
                      <a:pt x="774" y="700"/>
                    </a:lnTo>
                    <a:lnTo>
                      <a:pt x="774" y="700"/>
                    </a:lnTo>
                    <a:lnTo>
                      <a:pt x="770" y="704"/>
                    </a:lnTo>
                    <a:lnTo>
                      <a:pt x="768" y="706"/>
                    </a:lnTo>
                    <a:lnTo>
                      <a:pt x="774" y="710"/>
                    </a:lnTo>
                    <a:lnTo>
                      <a:pt x="774" y="710"/>
                    </a:lnTo>
                    <a:lnTo>
                      <a:pt x="776" y="714"/>
                    </a:lnTo>
                    <a:lnTo>
                      <a:pt x="780" y="712"/>
                    </a:lnTo>
                    <a:lnTo>
                      <a:pt x="780" y="712"/>
                    </a:lnTo>
                    <a:lnTo>
                      <a:pt x="782" y="712"/>
                    </a:lnTo>
                    <a:lnTo>
                      <a:pt x="784" y="712"/>
                    </a:lnTo>
                    <a:lnTo>
                      <a:pt x="788" y="716"/>
                    </a:lnTo>
                    <a:lnTo>
                      <a:pt x="794" y="720"/>
                    </a:lnTo>
                    <a:lnTo>
                      <a:pt x="796" y="720"/>
                    </a:lnTo>
                    <a:lnTo>
                      <a:pt x="800" y="720"/>
                    </a:lnTo>
                    <a:lnTo>
                      <a:pt x="800" y="720"/>
                    </a:lnTo>
                    <a:lnTo>
                      <a:pt x="806" y="718"/>
                    </a:lnTo>
                    <a:lnTo>
                      <a:pt x="806" y="718"/>
                    </a:lnTo>
                    <a:lnTo>
                      <a:pt x="810" y="716"/>
                    </a:lnTo>
                    <a:lnTo>
                      <a:pt x="810" y="714"/>
                    </a:lnTo>
                    <a:lnTo>
                      <a:pt x="810" y="712"/>
                    </a:lnTo>
                    <a:lnTo>
                      <a:pt x="812" y="710"/>
                    </a:lnTo>
                    <a:lnTo>
                      <a:pt x="812" y="710"/>
                    </a:lnTo>
                    <a:lnTo>
                      <a:pt x="812" y="710"/>
                    </a:lnTo>
                    <a:lnTo>
                      <a:pt x="814" y="712"/>
                    </a:lnTo>
                    <a:lnTo>
                      <a:pt x="818" y="714"/>
                    </a:lnTo>
                    <a:lnTo>
                      <a:pt x="822" y="718"/>
                    </a:lnTo>
                    <a:lnTo>
                      <a:pt x="826" y="716"/>
                    </a:lnTo>
                    <a:lnTo>
                      <a:pt x="830" y="714"/>
                    </a:lnTo>
                    <a:lnTo>
                      <a:pt x="830" y="714"/>
                    </a:lnTo>
                    <a:lnTo>
                      <a:pt x="828" y="718"/>
                    </a:lnTo>
                    <a:lnTo>
                      <a:pt x="830" y="720"/>
                    </a:lnTo>
                    <a:lnTo>
                      <a:pt x="834" y="720"/>
                    </a:lnTo>
                    <a:lnTo>
                      <a:pt x="838" y="716"/>
                    </a:lnTo>
                    <a:lnTo>
                      <a:pt x="838" y="716"/>
                    </a:lnTo>
                    <a:lnTo>
                      <a:pt x="840" y="720"/>
                    </a:lnTo>
                    <a:lnTo>
                      <a:pt x="838" y="720"/>
                    </a:lnTo>
                    <a:lnTo>
                      <a:pt x="834" y="726"/>
                    </a:lnTo>
                    <a:lnTo>
                      <a:pt x="834" y="726"/>
                    </a:lnTo>
                    <a:lnTo>
                      <a:pt x="834" y="730"/>
                    </a:lnTo>
                    <a:lnTo>
                      <a:pt x="834" y="734"/>
                    </a:lnTo>
                    <a:lnTo>
                      <a:pt x="840" y="742"/>
                    </a:lnTo>
                    <a:lnTo>
                      <a:pt x="840" y="742"/>
                    </a:lnTo>
                    <a:lnTo>
                      <a:pt x="840" y="744"/>
                    </a:lnTo>
                    <a:lnTo>
                      <a:pt x="842" y="746"/>
                    </a:lnTo>
                    <a:lnTo>
                      <a:pt x="846" y="750"/>
                    </a:lnTo>
                    <a:lnTo>
                      <a:pt x="852" y="748"/>
                    </a:lnTo>
                    <a:lnTo>
                      <a:pt x="852" y="748"/>
                    </a:lnTo>
                    <a:lnTo>
                      <a:pt x="858" y="746"/>
                    </a:lnTo>
                    <a:lnTo>
                      <a:pt x="860" y="742"/>
                    </a:lnTo>
                    <a:lnTo>
                      <a:pt x="862" y="738"/>
                    </a:lnTo>
                    <a:lnTo>
                      <a:pt x="862" y="734"/>
                    </a:lnTo>
                    <a:lnTo>
                      <a:pt x="862" y="734"/>
                    </a:lnTo>
                    <a:lnTo>
                      <a:pt x="860" y="732"/>
                    </a:lnTo>
                    <a:lnTo>
                      <a:pt x="858" y="732"/>
                    </a:lnTo>
                    <a:lnTo>
                      <a:pt x="856" y="732"/>
                    </a:lnTo>
                    <a:lnTo>
                      <a:pt x="856" y="730"/>
                    </a:lnTo>
                    <a:lnTo>
                      <a:pt x="856" y="730"/>
                    </a:lnTo>
                    <a:lnTo>
                      <a:pt x="856" y="728"/>
                    </a:lnTo>
                    <a:lnTo>
                      <a:pt x="854" y="726"/>
                    </a:lnTo>
                    <a:lnTo>
                      <a:pt x="850" y="726"/>
                    </a:lnTo>
                    <a:lnTo>
                      <a:pt x="848" y="726"/>
                    </a:lnTo>
                    <a:lnTo>
                      <a:pt x="848" y="726"/>
                    </a:lnTo>
                    <a:lnTo>
                      <a:pt x="846" y="724"/>
                    </a:lnTo>
                    <a:lnTo>
                      <a:pt x="848" y="722"/>
                    </a:lnTo>
                    <a:lnTo>
                      <a:pt x="852" y="720"/>
                    </a:lnTo>
                    <a:lnTo>
                      <a:pt x="856" y="718"/>
                    </a:lnTo>
                    <a:lnTo>
                      <a:pt x="856" y="716"/>
                    </a:lnTo>
                    <a:lnTo>
                      <a:pt x="856" y="714"/>
                    </a:lnTo>
                    <a:lnTo>
                      <a:pt x="852" y="710"/>
                    </a:lnTo>
                    <a:lnTo>
                      <a:pt x="852" y="710"/>
                    </a:lnTo>
                    <a:lnTo>
                      <a:pt x="856" y="712"/>
                    </a:lnTo>
                    <a:lnTo>
                      <a:pt x="862" y="716"/>
                    </a:lnTo>
                    <a:lnTo>
                      <a:pt x="866" y="716"/>
                    </a:lnTo>
                    <a:lnTo>
                      <a:pt x="866" y="716"/>
                    </a:lnTo>
                    <a:lnTo>
                      <a:pt x="868" y="714"/>
                    </a:lnTo>
                    <a:lnTo>
                      <a:pt x="868" y="714"/>
                    </a:lnTo>
                    <a:lnTo>
                      <a:pt x="870" y="710"/>
                    </a:lnTo>
                    <a:lnTo>
                      <a:pt x="874" y="710"/>
                    </a:lnTo>
                    <a:lnTo>
                      <a:pt x="878" y="710"/>
                    </a:lnTo>
                    <a:lnTo>
                      <a:pt x="882" y="706"/>
                    </a:lnTo>
                    <a:lnTo>
                      <a:pt x="882" y="706"/>
                    </a:lnTo>
                    <a:lnTo>
                      <a:pt x="890" y="704"/>
                    </a:lnTo>
                    <a:lnTo>
                      <a:pt x="898" y="702"/>
                    </a:lnTo>
                    <a:lnTo>
                      <a:pt x="906" y="698"/>
                    </a:lnTo>
                    <a:lnTo>
                      <a:pt x="906" y="696"/>
                    </a:lnTo>
                    <a:lnTo>
                      <a:pt x="906" y="692"/>
                    </a:lnTo>
                    <a:lnTo>
                      <a:pt x="906" y="692"/>
                    </a:lnTo>
                    <a:lnTo>
                      <a:pt x="910" y="694"/>
                    </a:lnTo>
                    <a:lnTo>
                      <a:pt x="912" y="694"/>
                    </a:lnTo>
                    <a:lnTo>
                      <a:pt x="916" y="690"/>
                    </a:lnTo>
                    <a:lnTo>
                      <a:pt x="916" y="680"/>
                    </a:lnTo>
                    <a:lnTo>
                      <a:pt x="916" y="680"/>
                    </a:lnTo>
                    <a:lnTo>
                      <a:pt x="920" y="686"/>
                    </a:lnTo>
                    <a:lnTo>
                      <a:pt x="922" y="686"/>
                    </a:lnTo>
                    <a:lnTo>
                      <a:pt x="922" y="686"/>
                    </a:lnTo>
                    <a:lnTo>
                      <a:pt x="924" y="684"/>
                    </a:lnTo>
                    <a:lnTo>
                      <a:pt x="928" y="686"/>
                    </a:lnTo>
                    <a:lnTo>
                      <a:pt x="928" y="686"/>
                    </a:lnTo>
                    <a:lnTo>
                      <a:pt x="930" y="688"/>
                    </a:lnTo>
                    <a:lnTo>
                      <a:pt x="932" y="688"/>
                    </a:lnTo>
                    <a:lnTo>
                      <a:pt x="934" y="684"/>
                    </a:lnTo>
                    <a:lnTo>
                      <a:pt x="938" y="680"/>
                    </a:lnTo>
                    <a:lnTo>
                      <a:pt x="938" y="680"/>
                    </a:lnTo>
                    <a:lnTo>
                      <a:pt x="940" y="680"/>
                    </a:lnTo>
                    <a:lnTo>
                      <a:pt x="940" y="680"/>
                    </a:lnTo>
                    <a:lnTo>
                      <a:pt x="942" y="682"/>
                    </a:lnTo>
                    <a:lnTo>
                      <a:pt x="944" y="684"/>
                    </a:lnTo>
                    <a:lnTo>
                      <a:pt x="948" y="680"/>
                    </a:lnTo>
                    <a:lnTo>
                      <a:pt x="954" y="676"/>
                    </a:lnTo>
                    <a:lnTo>
                      <a:pt x="958" y="676"/>
                    </a:lnTo>
                    <a:lnTo>
                      <a:pt x="962" y="676"/>
                    </a:lnTo>
                    <a:lnTo>
                      <a:pt x="962" y="676"/>
                    </a:lnTo>
                    <a:lnTo>
                      <a:pt x="966" y="676"/>
                    </a:lnTo>
                    <a:lnTo>
                      <a:pt x="968" y="674"/>
                    </a:lnTo>
                    <a:lnTo>
                      <a:pt x="970" y="670"/>
                    </a:lnTo>
                    <a:lnTo>
                      <a:pt x="976" y="670"/>
                    </a:lnTo>
                    <a:lnTo>
                      <a:pt x="976" y="670"/>
                    </a:lnTo>
                    <a:lnTo>
                      <a:pt x="982" y="668"/>
                    </a:lnTo>
                    <a:lnTo>
                      <a:pt x="982" y="666"/>
                    </a:lnTo>
                    <a:lnTo>
                      <a:pt x="982" y="666"/>
                    </a:lnTo>
                    <a:lnTo>
                      <a:pt x="984" y="664"/>
                    </a:lnTo>
                    <a:lnTo>
                      <a:pt x="984" y="664"/>
                    </a:lnTo>
                    <a:lnTo>
                      <a:pt x="986" y="662"/>
                    </a:lnTo>
                    <a:lnTo>
                      <a:pt x="988" y="660"/>
                    </a:lnTo>
                    <a:lnTo>
                      <a:pt x="986" y="656"/>
                    </a:lnTo>
                    <a:lnTo>
                      <a:pt x="986" y="654"/>
                    </a:lnTo>
                    <a:lnTo>
                      <a:pt x="990" y="652"/>
                    </a:lnTo>
                    <a:lnTo>
                      <a:pt x="990" y="652"/>
                    </a:lnTo>
                    <a:lnTo>
                      <a:pt x="994" y="650"/>
                    </a:lnTo>
                    <a:lnTo>
                      <a:pt x="994" y="648"/>
                    </a:lnTo>
                    <a:lnTo>
                      <a:pt x="996" y="644"/>
                    </a:lnTo>
                    <a:lnTo>
                      <a:pt x="998" y="642"/>
                    </a:lnTo>
                    <a:lnTo>
                      <a:pt x="998" y="642"/>
                    </a:lnTo>
                    <a:lnTo>
                      <a:pt x="1002" y="640"/>
                    </a:lnTo>
                    <a:lnTo>
                      <a:pt x="1002" y="638"/>
                    </a:lnTo>
                    <a:lnTo>
                      <a:pt x="1002" y="634"/>
                    </a:lnTo>
                    <a:lnTo>
                      <a:pt x="1004" y="632"/>
                    </a:lnTo>
                    <a:lnTo>
                      <a:pt x="1008" y="632"/>
                    </a:lnTo>
                    <a:lnTo>
                      <a:pt x="1008" y="632"/>
                    </a:lnTo>
                    <a:lnTo>
                      <a:pt x="1014" y="632"/>
                    </a:lnTo>
                    <a:lnTo>
                      <a:pt x="1014" y="628"/>
                    </a:lnTo>
                    <a:lnTo>
                      <a:pt x="1012" y="622"/>
                    </a:lnTo>
                    <a:lnTo>
                      <a:pt x="1012" y="620"/>
                    </a:lnTo>
                    <a:lnTo>
                      <a:pt x="1014" y="616"/>
                    </a:lnTo>
                    <a:lnTo>
                      <a:pt x="1014" y="616"/>
                    </a:lnTo>
                    <a:lnTo>
                      <a:pt x="1018" y="610"/>
                    </a:lnTo>
                    <a:lnTo>
                      <a:pt x="1018" y="610"/>
                    </a:lnTo>
                    <a:lnTo>
                      <a:pt x="1014" y="610"/>
                    </a:lnTo>
                    <a:lnTo>
                      <a:pt x="1012" y="608"/>
                    </a:lnTo>
                    <a:lnTo>
                      <a:pt x="1012" y="608"/>
                    </a:lnTo>
                    <a:lnTo>
                      <a:pt x="1008" y="606"/>
                    </a:lnTo>
                    <a:lnTo>
                      <a:pt x="1012" y="604"/>
                    </a:lnTo>
                    <a:lnTo>
                      <a:pt x="1018" y="604"/>
                    </a:lnTo>
                    <a:lnTo>
                      <a:pt x="1020" y="602"/>
                    </a:lnTo>
                    <a:lnTo>
                      <a:pt x="1020" y="598"/>
                    </a:lnTo>
                    <a:lnTo>
                      <a:pt x="1020" y="598"/>
                    </a:lnTo>
                    <a:lnTo>
                      <a:pt x="1022" y="592"/>
                    </a:lnTo>
                    <a:lnTo>
                      <a:pt x="1024" y="590"/>
                    </a:lnTo>
                    <a:lnTo>
                      <a:pt x="1026" y="588"/>
                    </a:lnTo>
                    <a:lnTo>
                      <a:pt x="1026" y="582"/>
                    </a:lnTo>
                    <a:lnTo>
                      <a:pt x="1026" y="582"/>
                    </a:lnTo>
                    <a:lnTo>
                      <a:pt x="1026" y="566"/>
                    </a:lnTo>
                    <a:lnTo>
                      <a:pt x="1028" y="560"/>
                    </a:lnTo>
                    <a:lnTo>
                      <a:pt x="1030" y="558"/>
                    </a:lnTo>
                    <a:lnTo>
                      <a:pt x="1030" y="556"/>
                    </a:lnTo>
                    <a:lnTo>
                      <a:pt x="1030" y="556"/>
                    </a:lnTo>
                    <a:lnTo>
                      <a:pt x="1030" y="552"/>
                    </a:lnTo>
                    <a:lnTo>
                      <a:pt x="1030" y="550"/>
                    </a:lnTo>
                    <a:lnTo>
                      <a:pt x="1034" y="546"/>
                    </a:lnTo>
                    <a:lnTo>
                      <a:pt x="1036" y="544"/>
                    </a:lnTo>
                    <a:lnTo>
                      <a:pt x="1036" y="542"/>
                    </a:lnTo>
                    <a:lnTo>
                      <a:pt x="1032" y="538"/>
                    </a:lnTo>
                    <a:lnTo>
                      <a:pt x="1032" y="538"/>
                    </a:lnTo>
                    <a:lnTo>
                      <a:pt x="1028" y="536"/>
                    </a:lnTo>
                    <a:lnTo>
                      <a:pt x="1032" y="536"/>
                    </a:lnTo>
                    <a:lnTo>
                      <a:pt x="1034" y="534"/>
                    </a:lnTo>
                    <a:lnTo>
                      <a:pt x="1036" y="534"/>
                    </a:lnTo>
                    <a:lnTo>
                      <a:pt x="1034" y="530"/>
                    </a:lnTo>
                    <a:lnTo>
                      <a:pt x="1034" y="530"/>
                    </a:lnTo>
                    <a:lnTo>
                      <a:pt x="1032" y="526"/>
                    </a:lnTo>
                    <a:lnTo>
                      <a:pt x="1030" y="526"/>
                    </a:lnTo>
                    <a:lnTo>
                      <a:pt x="1028" y="528"/>
                    </a:lnTo>
                    <a:lnTo>
                      <a:pt x="1024" y="528"/>
                    </a:lnTo>
                    <a:lnTo>
                      <a:pt x="1024" y="528"/>
                    </a:lnTo>
                    <a:lnTo>
                      <a:pt x="1028" y="526"/>
                    </a:lnTo>
                    <a:lnTo>
                      <a:pt x="1032" y="520"/>
                    </a:lnTo>
                    <a:lnTo>
                      <a:pt x="1032" y="520"/>
                    </a:lnTo>
                    <a:lnTo>
                      <a:pt x="1026" y="520"/>
                    </a:lnTo>
                    <a:lnTo>
                      <a:pt x="1022" y="518"/>
                    </a:lnTo>
                    <a:lnTo>
                      <a:pt x="1016" y="514"/>
                    </a:lnTo>
                    <a:lnTo>
                      <a:pt x="1010" y="510"/>
                    </a:lnTo>
                    <a:lnTo>
                      <a:pt x="1008" y="510"/>
                    </a:lnTo>
                    <a:lnTo>
                      <a:pt x="1004" y="510"/>
                    </a:lnTo>
                    <a:lnTo>
                      <a:pt x="1004" y="510"/>
                    </a:lnTo>
                    <a:lnTo>
                      <a:pt x="998" y="512"/>
                    </a:lnTo>
                    <a:lnTo>
                      <a:pt x="994" y="510"/>
                    </a:lnTo>
                    <a:lnTo>
                      <a:pt x="992" y="510"/>
                    </a:lnTo>
                    <a:lnTo>
                      <a:pt x="984" y="514"/>
                    </a:lnTo>
                    <a:lnTo>
                      <a:pt x="984" y="514"/>
                    </a:lnTo>
                    <a:lnTo>
                      <a:pt x="988" y="512"/>
                    </a:lnTo>
                    <a:lnTo>
                      <a:pt x="990" y="508"/>
                    </a:lnTo>
                    <a:lnTo>
                      <a:pt x="996" y="508"/>
                    </a:lnTo>
                    <a:lnTo>
                      <a:pt x="1000" y="508"/>
                    </a:lnTo>
                    <a:lnTo>
                      <a:pt x="1000" y="506"/>
                    </a:lnTo>
                    <a:lnTo>
                      <a:pt x="1000" y="506"/>
                    </a:lnTo>
                    <a:lnTo>
                      <a:pt x="1000" y="504"/>
                    </a:lnTo>
                    <a:lnTo>
                      <a:pt x="1004" y="502"/>
                    </a:lnTo>
                    <a:lnTo>
                      <a:pt x="1008" y="502"/>
                    </a:lnTo>
                    <a:lnTo>
                      <a:pt x="1008" y="498"/>
                    </a:lnTo>
                    <a:lnTo>
                      <a:pt x="1008" y="498"/>
                    </a:lnTo>
                    <a:lnTo>
                      <a:pt x="1008" y="496"/>
                    </a:lnTo>
                    <a:lnTo>
                      <a:pt x="1012" y="494"/>
                    </a:lnTo>
                    <a:lnTo>
                      <a:pt x="1014" y="492"/>
                    </a:lnTo>
                    <a:lnTo>
                      <a:pt x="1016" y="492"/>
                    </a:lnTo>
                    <a:lnTo>
                      <a:pt x="1016" y="492"/>
                    </a:lnTo>
                    <a:lnTo>
                      <a:pt x="1014" y="488"/>
                    </a:lnTo>
                    <a:lnTo>
                      <a:pt x="1012" y="484"/>
                    </a:lnTo>
                    <a:lnTo>
                      <a:pt x="1004" y="480"/>
                    </a:lnTo>
                    <a:lnTo>
                      <a:pt x="998" y="478"/>
                    </a:lnTo>
                    <a:lnTo>
                      <a:pt x="996" y="478"/>
                    </a:lnTo>
                    <a:lnTo>
                      <a:pt x="996" y="478"/>
                    </a:lnTo>
                    <a:lnTo>
                      <a:pt x="994" y="476"/>
                    </a:lnTo>
                    <a:lnTo>
                      <a:pt x="990" y="476"/>
                    </a:lnTo>
                    <a:lnTo>
                      <a:pt x="984" y="478"/>
                    </a:lnTo>
                    <a:lnTo>
                      <a:pt x="978" y="478"/>
                    </a:lnTo>
                    <a:lnTo>
                      <a:pt x="974" y="476"/>
                    </a:lnTo>
                    <a:lnTo>
                      <a:pt x="972" y="472"/>
                    </a:lnTo>
                    <a:lnTo>
                      <a:pt x="972" y="472"/>
                    </a:lnTo>
                    <a:lnTo>
                      <a:pt x="976" y="476"/>
                    </a:lnTo>
                    <a:lnTo>
                      <a:pt x="980" y="476"/>
                    </a:lnTo>
                    <a:lnTo>
                      <a:pt x="984" y="474"/>
                    </a:lnTo>
                    <a:lnTo>
                      <a:pt x="984" y="474"/>
                    </a:lnTo>
                    <a:lnTo>
                      <a:pt x="988" y="472"/>
                    </a:lnTo>
                    <a:lnTo>
                      <a:pt x="990" y="472"/>
                    </a:lnTo>
                    <a:lnTo>
                      <a:pt x="998" y="474"/>
                    </a:lnTo>
                    <a:lnTo>
                      <a:pt x="1004" y="476"/>
                    </a:lnTo>
                    <a:lnTo>
                      <a:pt x="1010" y="478"/>
                    </a:lnTo>
                    <a:lnTo>
                      <a:pt x="1010" y="478"/>
                    </a:lnTo>
                    <a:lnTo>
                      <a:pt x="1010" y="474"/>
                    </a:lnTo>
                    <a:lnTo>
                      <a:pt x="1010" y="472"/>
                    </a:lnTo>
                    <a:lnTo>
                      <a:pt x="1004" y="470"/>
                    </a:lnTo>
                    <a:lnTo>
                      <a:pt x="1004" y="470"/>
                    </a:lnTo>
                    <a:lnTo>
                      <a:pt x="1000" y="466"/>
                    </a:lnTo>
                    <a:lnTo>
                      <a:pt x="998" y="464"/>
                    </a:lnTo>
                    <a:lnTo>
                      <a:pt x="998" y="462"/>
                    </a:lnTo>
                    <a:lnTo>
                      <a:pt x="994" y="462"/>
                    </a:lnTo>
                    <a:lnTo>
                      <a:pt x="994" y="462"/>
                    </a:lnTo>
                    <a:lnTo>
                      <a:pt x="988" y="460"/>
                    </a:lnTo>
                    <a:lnTo>
                      <a:pt x="982" y="456"/>
                    </a:lnTo>
                    <a:lnTo>
                      <a:pt x="978" y="450"/>
                    </a:lnTo>
                    <a:lnTo>
                      <a:pt x="974" y="442"/>
                    </a:lnTo>
                    <a:lnTo>
                      <a:pt x="974" y="442"/>
                    </a:lnTo>
                    <a:lnTo>
                      <a:pt x="972" y="436"/>
                    </a:lnTo>
                    <a:lnTo>
                      <a:pt x="970" y="434"/>
                    </a:lnTo>
                    <a:lnTo>
                      <a:pt x="966" y="434"/>
                    </a:lnTo>
                    <a:lnTo>
                      <a:pt x="964" y="430"/>
                    </a:lnTo>
                    <a:lnTo>
                      <a:pt x="964" y="430"/>
                    </a:lnTo>
                    <a:lnTo>
                      <a:pt x="962" y="424"/>
                    </a:lnTo>
                    <a:lnTo>
                      <a:pt x="962" y="424"/>
                    </a:lnTo>
                    <a:lnTo>
                      <a:pt x="958" y="422"/>
                    </a:lnTo>
                    <a:lnTo>
                      <a:pt x="956" y="420"/>
                    </a:lnTo>
                    <a:lnTo>
                      <a:pt x="956" y="420"/>
                    </a:lnTo>
                    <a:lnTo>
                      <a:pt x="950" y="414"/>
                    </a:lnTo>
                    <a:lnTo>
                      <a:pt x="946" y="410"/>
                    </a:lnTo>
                    <a:lnTo>
                      <a:pt x="936" y="406"/>
                    </a:lnTo>
                    <a:lnTo>
                      <a:pt x="928" y="404"/>
                    </a:lnTo>
                    <a:lnTo>
                      <a:pt x="924" y="404"/>
                    </a:lnTo>
                    <a:lnTo>
                      <a:pt x="922" y="402"/>
                    </a:lnTo>
                    <a:lnTo>
                      <a:pt x="922" y="402"/>
                    </a:lnTo>
                    <a:lnTo>
                      <a:pt x="922" y="400"/>
                    </a:lnTo>
                    <a:lnTo>
                      <a:pt x="924" y="396"/>
                    </a:lnTo>
                    <a:lnTo>
                      <a:pt x="930" y="392"/>
                    </a:lnTo>
                    <a:lnTo>
                      <a:pt x="932" y="390"/>
                    </a:lnTo>
                    <a:lnTo>
                      <a:pt x="932" y="388"/>
                    </a:lnTo>
                    <a:lnTo>
                      <a:pt x="928" y="386"/>
                    </a:lnTo>
                    <a:lnTo>
                      <a:pt x="928" y="386"/>
                    </a:lnTo>
                    <a:lnTo>
                      <a:pt x="926" y="386"/>
                    </a:lnTo>
                    <a:lnTo>
                      <a:pt x="926" y="386"/>
                    </a:lnTo>
                    <a:lnTo>
                      <a:pt x="932" y="384"/>
                    </a:lnTo>
                    <a:lnTo>
                      <a:pt x="936" y="382"/>
                    </a:lnTo>
                    <a:lnTo>
                      <a:pt x="938" y="380"/>
                    </a:lnTo>
                    <a:lnTo>
                      <a:pt x="938" y="378"/>
                    </a:lnTo>
                    <a:lnTo>
                      <a:pt x="938" y="378"/>
                    </a:lnTo>
                    <a:lnTo>
                      <a:pt x="936" y="374"/>
                    </a:lnTo>
                    <a:lnTo>
                      <a:pt x="938" y="374"/>
                    </a:lnTo>
                    <a:lnTo>
                      <a:pt x="940" y="372"/>
                    </a:lnTo>
                    <a:lnTo>
                      <a:pt x="942" y="370"/>
                    </a:lnTo>
                    <a:lnTo>
                      <a:pt x="942" y="370"/>
                    </a:lnTo>
                    <a:lnTo>
                      <a:pt x="944" y="368"/>
                    </a:lnTo>
                    <a:lnTo>
                      <a:pt x="944" y="368"/>
                    </a:lnTo>
                    <a:lnTo>
                      <a:pt x="946" y="368"/>
                    </a:lnTo>
                    <a:lnTo>
                      <a:pt x="948" y="364"/>
                    </a:lnTo>
                    <a:lnTo>
                      <a:pt x="948" y="364"/>
                    </a:lnTo>
                    <a:lnTo>
                      <a:pt x="950" y="362"/>
                    </a:lnTo>
                    <a:lnTo>
                      <a:pt x="952" y="360"/>
                    </a:lnTo>
                    <a:lnTo>
                      <a:pt x="956" y="360"/>
                    </a:lnTo>
                    <a:lnTo>
                      <a:pt x="958" y="360"/>
                    </a:lnTo>
                    <a:lnTo>
                      <a:pt x="960" y="360"/>
                    </a:lnTo>
                    <a:lnTo>
                      <a:pt x="960" y="358"/>
                    </a:lnTo>
                    <a:lnTo>
                      <a:pt x="960" y="358"/>
                    </a:lnTo>
                    <a:lnTo>
                      <a:pt x="962" y="356"/>
                    </a:lnTo>
                    <a:lnTo>
                      <a:pt x="962" y="354"/>
                    </a:lnTo>
                    <a:lnTo>
                      <a:pt x="962" y="354"/>
                    </a:lnTo>
                    <a:lnTo>
                      <a:pt x="964" y="350"/>
                    </a:lnTo>
                    <a:lnTo>
                      <a:pt x="962" y="348"/>
                    </a:lnTo>
                    <a:lnTo>
                      <a:pt x="956" y="348"/>
                    </a:lnTo>
                    <a:lnTo>
                      <a:pt x="956" y="348"/>
                    </a:lnTo>
                    <a:lnTo>
                      <a:pt x="948" y="346"/>
                    </a:lnTo>
                    <a:lnTo>
                      <a:pt x="942" y="348"/>
                    </a:lnTo>
                    <a:lnTo>
                      <a:pt x="940" y="348"/>
                    </a:lnTo>
                    <a:lnTo>
                      <a:pt x="938" y="346"/>
                    </a:lnTo>
                    <a:lnTo>
                      <a:pt x="938" y="346"/>
                    </a:lnTo>
                    <a:lnTo>
                      <a:pt x="934" y="342"/>
                    </a:lnTo>
                    <a:lnTo>
                      <a:pt x="926" y="342"/>
                    </a:lnTo>
                    <a:lnTo>
                      <a:pt x="920" y="342"/>
                    </a:lnTo>
                    <a:lnTo>
                      <a:pt x="918" y="342"/>
                    </a:lnTo>
                    <a:lnTo>
                      <a:pt x="918" y="344"/>
                    </a:lnTo>
                    <a:lnTo>
                      <a:pt x="918" y="344"/>
                    </a:lnTo>
                    <a:lnTo>
                      <a:pt x="916" y="346"/>
                    </a:lnTo>
                    <a:lnTo>
                      <a:pt x="914" y="348"/>
                    </a:lnTo>
                    <a:lnTo>
                      <a:pt x="908" y="348"/>
                    </a:lnTo>
                    <a:lnTo>
                      <a:pt x="908" y="348"/>
                    </a:lnTo>
                    <a:lnTo>
                      <a:pt x="906" y="352"/>
                    </a:lnTo>
                    <a:lnTo>
                      <a:pt x="902" y="354"/>
                    </a:lnTo>
                    <a:lnTo>
                      <a:pt x="894" y="354"/>
                    </a:lnTo>
                    <a:lnTo>
                      <a:pt x="886" y="350"/>
                    </a:lnTo>
                    <a:lnTo>
                      <a:pt x="884" y="348"/>
                    </a:lnTo>
                    <a:lnTo>
                      <a:pt x="884" y="346"/>
                    </a:lnTo>
                    <a:lnTo>
                      <a:pt x="884" y="346"/>
                    </a:lnTo>
                    <a:lnTo>
                      <a:pt x="886" y="342"/>
                    </a:lnTo>
                    <a:lnTo>
                      <a:pt x="884" y="338"/>
                    </a:lnTo>
                    <a:lnTo>
                      <a:pt x="882" y="336"/>
                    </a:lnTo>
                    <a:lnTo>
                      <a:pt x="880" y="334"/>
                    </a:lnTo>
                    <a:lnTo>
                      <a:pt x="868" y="332"/>
                    </a:lnTo>
                    <a:lnTo>
                      <a:pt x="856" y="334"/>
                    </a:lnTo>
                    <a:lnTo>
                      <a:pt x="856" y="334"/>
                    </a:lnTo>
                    <a:lnTo>
                      <a:pt x="852" y="328"/>
                    </a:lnTo>
                    <a:lnTo>
                      <a:pt x="850" y="324"/>
                    </a:lnTo>
                    <a:lnTo>
                      <a:pt x="842" y="318"/>
                    </a:lnTo>
                    <a:lnTo>
                      <a:pt x="836" y="314"/>
                    </a:lnTo>
                    <a:lnTo>
                      <a:pt x="834" y="310"/>
                    </a:lnTo>
                    <a:lnTo>
                      <a:pt x="834" y="304"/>
                    </a:lnTo>
                    <a:lnTo>
                      <a:pt x="834" y="304"/>
                    </a:lnTo>
                    <a:lnTo>
                      <a:pt x="836" y="298"/>
                    </a:lnTo>
                    <a:lnTo>
                      <a:pt x="840" y="296"/>
                    </a:lnTo>
                    <a:lnTo>
                      <a:pt x="844" y="296"/>
                    </a:lnTo>
                    <a:lnTo>
                      <a:pt x="850" y="296"/>
                    </a:lnTo>
                    <a:lnTo>
                      <a:pt x="856" y="298"/>
                    </a:lnTo>
                    <a:lnTo>
                      <a:pt x="860" y="298"/>
                    </a:lnTo>
                    <a:lnTo>
                      <a:pt x="864" y="296"/>
                    </a:lnTo>
                    <a:lnTo>
                      <a:pt x="866" y="290"/>
                    </a:lnTo>
                    <a:lnTo>
                      <a:pt x="866" y="290"/>
                    </a:lnTo>
                    <a:lnTo>
                      <a:pt x="868" y="286"/>
                    </a:lnTo>
                    <a:lnTo>
                      <a:pt x="870" y="282"/>
                    </a:lnTo>
                    <a:lnTo>
                      <a:pt x="876" y="280"/>
                    </a:lnTo>
                    <a:lnTo>
                      <a:pt x="884" y="276"/>
                    </a:lnTo>
                    <a:lnTo>
                      <a:pt x="886" y="274"/>
                    </a:lnTo>
                    <a:lnTo>
                      <a:pt x="886" y="270"/>
                    </a:lnTo>
                    <a:lnTo>
                      <a:pt x="886" y="270"/>
                    </a:lnTo>
                    <a:lnTo>
                      <a:pt x="888" y="268"/>
                    </a:lnTo>
                    <a:lnTo>
                      <a:pt x="888" y="266"/>
                    </a:lnTo>
                    <a:lnTo>
                      <a:pt x="892" y="266"/>
                    </a:lnTo>
                    <a:lnTo>
                      <a:pt x="896" y="266"/>
                    </a:lnTo>
                    <a:lnTo>
                      <a:pt x="894" y="260"/>
                    </a:lnTo>
                    <a:lnTo>
                      <a:pt x="894" y="260"/>
                    </a:lnTo>
                    <a:lnTo>
                      <a:pt x="900" y="264"/>
                    </a:lnTo>
                    <a:lnTo>
                      <a:pt x="904" y="268"/>
                    </a:lnTo>
                    <a:lnTo>
                      <a:pt x="914" y="270"/>
                    </a:lnTo>
                    <a:lnTo>
                      <a:pt x="918" y="272"/>
                    </a:lnTo>
                    <a:lnTo>
                      <a:pt x="918" y="274"/>
                    </a:lnTo>
                    <a:lnTo>
                      <a:pt x="916" y="280"/>
                    </a:lnTo>
                    <a:lnTo>
                      <a:pt x="910" y="286"/>
                    </a:lnTo>
                    <a:lnTo>
                      <a:pt x="910" y="286"/>
                    </a:lnTo>
                    <a:lnTo>
                      <a:pt x="904" y="294"/>
                    </a:lnTo>
                    <a:lnTo>
                      <a:pt x="902" y="298"/>
                    </a:lnTo>
                    <a:lnTo>
                      <a:pt x="902" y="300"/>
                    </a:lnTo>
                    <a:lnTo>
                      <a:pt x="904" y="302"/>
                    </a:lnTo>
                    <a:lnTo>
                      <a:pt x="910" y="300"/>
                    </a:lnTo>
                    <a:lnTo>
                      <a:pt x="912" y="300"/>
                    </a:lnTo>
                    <a:lnTo>
                      <a:pt x="910" y="300"/>
                    </a:lnTo>
                    <a:lnTo>
                      <a:pt x="910" y="300"/>
                    </a:lnTo>
                    <a:lnTo>
                      <a:pt x="908" y="302"/>
                    </a:lnTo>
                    <a:lnTo>
                      <a:pt x="908" y="304"/>
                    </a:lnTo>
                    <a:lnTo>
                      <a:pt x="910" y="304"/>
                    </a:lnTo>
                    <a:lnTo>
                      <a:pt x="908" y="306"/>
                    </a:lnTo>
                    <a:lnTo>
                      <a:pt x="908" y="306"/>
                    </a:lnTo>
                    <a:lnTo>
                      <a:pt x="904" y="310"/>
                    </a:lnTo>
                    <a:lnTo>
                      <a:pt x="904" y="312"/>
                    </a:lnTo>
                    <a:lnTo>
                      <a:pt x="906" y="312"/>
                    </a:lnTo>
                    <a:lnTo>
                      <a:pt x="912" y="312"/>
                    </a:lnTo>
                    <a:lnTo>
                      <a:pt x="912" y="312"/>
                    </a:lnTo>
                    <a:lnTo>
                      <a:pt x="914" y="310"/>
                    </a:lnTo>
                    <a:lnTo>
                      <a:pt x="914" y="308"/>
                    </a:lnTo>
                    <a:lnTo>
                      <a:pt x="914" y="308"/>
                    </a:lnTo>
                    <a:lnTo>
                      <a:pt x="916" y="306"/>
                    </a:lnTo>
                    <a:lnTo>
                      <a:pt x="916" y="306"/>
                    </a:lnTo>
                    <a:lnTo>
                      <a:pt x="922" y="302"/>
                    </a:lnTo>
                    <a:lnTo>
                      <a:pt x="928" y="294"/>
                    </a:lnTo>
                    <a:lnTo>
                      <a:pt x="936" y="288"/>
                    </a:lnTo>
                    <a:lnTo>
                      <a:pt x="942" y="286"/>
                    </a:lnTo>
                    <a:lnTo>
                      <a:pt x="948" y="284"/>
                    </a:lnTo>
                    <a:lnTo>
                      <a:pt x="948" y="284"/>
                    </a:lnTo>
                    <a:lnTo>
                      <a:pt x="954" y="284"/>
                    </a:lnTo>
                    <a:lnTo>
                      <a:pt x="956" y="282"/>
                    </a:lnTo>
                    <a:lnTo>
                      <a:pt x="962" y="278"/>
                    </a:lnTo>
                    <a:lnTo>
                      <a:pt x="962" y="278"/>
                    </a:lnTo>
                    <a:lnTo>
                      <a:pt x="964" y="276"/>
                    </a:lnTo>
                    <a:lnTo>
                      <a:pt x="964" y="276"/>
                    </a:lnTo>
                    <a:lnTo>
                      <a:pt x="972" y="270"/>
                    </a:lnTo>
                    <a:lnTo>
                      <a:pt x="976" y="266"/>
                    </a:lnTo>
                    <a:lnTo>
                      <a:pt x="978" y="262"/>
                    </a:lnTo>
                    <a:lnTo>
                      <a:pt x="980" y="256"/>
                    </a:lnTo>
                    <a:lnTo>
                      <a:pt x="980" y="256"/>
                    </a:lnTo>
                    <a:lnTo>
                      <a:pt x="984" y="250"/>
                    </a:lnTo>
                    <a:lnTo>
                      <a:pt x="988" y="244"/>
                    </a:lnTo>
                    <a:lnTo>
                      <a:pt x="992" y="242"/>
                    </a:lnTo>
                    <a:lnTo>
                      <a:pt x="996" y="240"/>
                    </a:lnTo>
                    <a:lnTo>
                      <a:pt x="1008" y="240"/>
                    </a:lnTo>
                    <a:lnTo>
                      <a:pt x="1008" y="240"/>
                    </a:lnTo>
                    <a:lnTo>
                      <a:pt x="1016" y="242"/>
                    </a:lnTo>
                    <a:lnTo>
                      <a:pt x="1022" y="240"/>
                    </a:lnTo>
                    <a:lnTo>
                      <a:pt x="1024" y="238"/>
                    </a:lnTo>
                    <a:lnTo>
                      <a:pt x="1020" y="234"/>
                    </a:lnTo>
                    <a:lnTo>
                      <a:pt x="1020" y="234"/>
                    </a:lnTo>
                    <a:lnTo>
                      <a:pt x="1018" y="232"/>
                    </a:lnTo>
                    <a:lnTo>
                      <a:pt x="1018" y="232"/>
                    </a:lnTo>
                    <a:lnTo>
                      <a:pt x="1024" y="230"/>
                    </a:lnTo>
                    <a:lnTo>
                      <a:pt x="1032" y="228"/>
                    </a:lnTo>
                    <a:lnTo>
                      <a:pt x="1032" y="226"/>
                    </a:lnTo>
                    <a:lnTo>
                      <a:pt x="1032" y="224"/>
                    </a:lnTo>
                    <a:lnTo>
                      <a:pt x="1032" y="224"/>
                    </a:lnTo>
                    <a:lnTo>
                      <a:pt x="1030" y="220"/>
                    </a:lnTo>
                    <a:lnTo>
                      <a:pt x="1032" y="218"/>
                    </a:lnTo>
                    <a:lnTo>
                      <a:pt x="1036" y="216"/>
                    </a:lnTo>
                    <a:lnTo>
                      <a:pt x="1036" y="212"/>
                    </a:lnTo>
                    <a:lnTo>
                      <a:pt x="1036" y="212"/>
                    </a:lnTo>
                    <a:lnTo>
                      <a:pt x="1036" y="212"/>
                    </a:lnTo>
                    <a:lnTo>
                      <a:pt x="1038" y="212"/>
                    </a:lnTo>
                    <a:lnTo>
                      <a:pt x="1044" y="218"/>
                    </a:lnTo>
                    <a:lnTo>
                      <a:pt x="1050" y="222"/>
                    </a:lnTo>
                    <a:lnTo>
                      <a:pt x="1052" y="220"/>
                    </a:lnTo>
                    <a:lnTo>
                      <a:pt x="1054" y="218"/>
                    </a:lnTo>
                    <a:lnTo>
                      <a:pt x="1054" y="218"/>
                    </a:lnTo>
                    <a:lnTo>
                      <a:pt x="1050" y="214"/>
                    </a:lnTo>
                    <a:lnTo>
                      <a:pt x="1046" y="208"/>
                    </a:lnTo>
                    <a:lnTo>
                      <a:pt x="1044" y="198"/>
                    </a:lnTo>
                    <a:lnTo>
                      <a:pt x="1044" y="198"/>
                    </a:lnTo>
                    <a:lnTo>
                      <a:pt x="1042" y="192"/>
                    </a:lnTo>
                    <a:lnTo>
                      <a:pt x="1038" y="186"/>
                    </a:lnTo>
                    <a:lnTo>
                      <a:pt x="1028" y="180"/>
                    </a:lnTo>
                    <a:lnTo>
                      <a:pt x="1022" y="174"/>
                    </a:lnTo>
                    <a:lnTo>
                      <a:pt x="1022" y="172"/>
                    </a:lnTo>
                    <a:lnTo>
                      <a:pt x="1026" y="170"/>
                    </a:lnTo>
                    <a:lnTo>
                      <a:pt x="1026" y="170"/>
                    </a:lnTo>
                    <a:lnTo>
                      <a:pt x="1034" y="162"/>
                    </a:lnTo>
                    <a:lnTo>
                      <a:pt x="1040" y="158"/>
                    </a:lnTo>
                    <a:lnTo>
                      <a:pt x="1042" y="154"/>
                    </a:lnTo>
                    <a:lnTo>
                      <a:pt x="1042" y="152"/>
                    </a:lnTo>
                    <a:lnTo>
                      <a:pt x="1042" y="146"/>
                    </a:lnTo>
                    <a:lnTo>
                      <a:pt x="1044" y="144"/>
                    </a:lnTo>
                    <a:lnTo>
                      <a:pt x="1046" y="142"/>
                    </a:lnTo>
                    <a:lnTo>
                      <a:pt x="1046" y="142"/>
                    </a:lnTo>
                    <a:lnTo>
                      <a:pt x="1052" y="136"/>
                    </a:lnTo>
                    <a:lnTo>
                      <a:pt x="1054" y="132"/>
                    </a:lnTo>
                    <a:lnTo>
                      <a:pt x="1052" y="128"/>
                    </a:lnTo>
                    <a:lnTo>
                      <a:pt x="1048" y="126"/>
                    </a:lnTo>
                    <a:lnTo>
                      <a:pt x="1042" y="120"/>
                    </a:lnTo>
                    <a:lnTo>
                      <a:pt x="1040" y="116"/>
                    </a:lnTo>
                    <a:lnTo>
                      <a:pt x="1042" y="112"/>
                    </a:lnTo>
                    <a:lnTo>
                      <a:pt x="1042" y="112"/>
                    </a:lnTo>
                    <a:lnTo>
                      <a:pt x="1046" y="106"/>
                    </a:lnTo>
                    <a:lnTo>
                      <a:pt x="1046" y="102"/>
                    </a:lnTo>
                    <a:lnTo>
                      <a:pt x="1044" y="96"/>
                    </a:lnTo>
                    <a:lnTo>
                      <a:pt x="1038" y="92"/>
                    </a:lnTo>
                    <a:lnTo>
                      <a:pt x="1034" y="90"/>
                    </a:lnTo>
                    <a:lnTo>
                      <a:pt x="1028" y="88"/>
                    </a:lnTo>
                    <a:lnTo>
                      <a:pt x="1020" y="88"/>
                    </a:lnTo>
                    <a:lnTo>
                      <a:pt x="1014" y="92"/>
                    </a:lnTo>
                    <a:lnTo>
                      <a:pt x="1014" y="92"/>
                    </a:lnTo>
                    <a:lnTo>
                      <a:pt x="1002" y="98"/>
                    </a:lnTo>
                    <a:lnTo>
                      <a:pt x="998" y="102"/>
                    </a:lnTo>
                    <a:lnTo>
                      <a:pt x="992" y="102"/>
                    </a:lnTo>
                    <a:lnTo>
                      <a:pt x="986" y="102"/>
                    </a:lnTo>
                    <a:lnTo>
                      <a:pt x="978" y="100"/>
                    </a:lnTo>
                    <a:lnTo>
                      <a:pt x="970" y="96"/>
                    </a:lnTo>
                    <a:lnTo>
                      <a:pt x="958" y="90"/>
                    </a:lnTo>
                    <a:lnTo>
                      <a:pt x="958" y="90"/>
                    </a:lnTo>
                    <a:lnTo>
                      <a:pt x="948" y="84"/>
                    </a:lnTo>
                    <a:lnTo>
                      <a:pt x="938" y="80"/>
                    </a:lnTo>
                    <a:lnTo>
                      <a:pt x="918" y="74"/>
                    </a:lnTo>
                    <a:lnTo>
                      <a:pt x="906" y="70"/>
                    </a:lnTo>
                    <a:lnTo>
                      <a:pt x="896" y="64"/>
                    </a:lnTo>
                    <a:lnTo>
                      <a:pt x="884" y="56"/>
                    </a:lnTo>
                    <a:lnTo>
                      <a:pt x="870" y="46"/>
                    </a:lnTo>
                    <a:lnTo>
                      <a:pt x="870" y="46"/>
                    </a:lnTo>
                    <a:lnTo>
                      <a:pt x="856" y="34"/>
                    </a:lnTo>
                    <a:lnTo>
                      <a:pt x="842" y="24"/>
                    </a:lnTo>
                    <a:lnTo>
                      <a:pt x="830" y="16"/>
                    </a:lnTo>
                    <a:lnTo>
                      <a:pt x="816" y="10"/>
                    </a:lnTo>
                    <a:lnTo>
                      <a:pt x="804" y="6"/>
                    </a:lnTo>
                    <a:lnTo>
                      <a:pt x="790" y="2"/>
                    </a:lnTo>
                    <a:lnTo>
                      <a:pt x="778" y="0"/>
                    </a:lnTo>
                    <a:lnTo>
                      <a:pt x="764" y="0"/>
                    </a:lnTo>
                    <a:lnTo>
                      <a:pt x="764" y="0"/>
                    </a:lnTo>
                    <a:lnTo>
                      <a:pt x="746" y="0"/>
                    </a:lnTo>
                    <a:lnTo>
                      <a:pt x="738" y="4"/>
                    </a:lnTo>
                    <a:lnTo>
                      <a:pt x="732" y="6"/>
                    </a:lnTo>
                    <a:lnTo>
                      <a:pt x="722" y="8"/>
                    </a:lnTo>
                    <a:lnTo>
                      <a:pt x="722" y="8"/>
                    </a:lnTo>
                    <a:lnTo>
                      <a:pt x="714" y="8"/>
                    </a:lnTo>
                    <a:lnTo>
                      <a:pt x="708" y="10"/>
                    </a:lnTo>
                    <a:lnTo>
                      <a:pt x="706" y="12"/>
                    </a:lnTo>
                    <a:lnTo>
                      <a:pt x="704" y="14"/>
                    </a:lnTo>
                    <a:lnTo>
                      <a:pt x="706" y="16"/>
                    </a:lnTo>
                    <a:lnTo>
                      <a:pt x="708" y="18"/>
                    </a:lnTo>
                    <a:lnTo>
                      <a:pt x="718" y="18"/>
                    </a:lnTo>
                    <a:lnTo>
                      <a:pt x="718" y="18"/>
                    </a:lnTo>
                    <a:lnTo>
                      <a:pt x="726" y="18"/>
                    </a:lnTo>
                    <a:lnTo>
                      <a:pt x="730" y="20"/>
                    </a:lnTo>
                    <a:lnTo>
                      <a:pt x="730" y="22"/>
                    </a:lnTo>
                    <a:lnTo>
                      <a:pt x="730" y="26"/>
                    </a:lnTo>
                    <a:lnTo>
                      <a:pt x="726" y="32"/>
                    </a:lnTo>
                    <a:lnTo>
                      <a:pt x="722" y="42"/>
                    </a:lnTo>
                    <a:lnTo>
                      <a:pt x="722" y="42"/>
                    </a:lnTo>
                    <a:lnTo>
                      <a:pt x="720" y="54"/>
                    </a:lnTo>
                    <a:lnTo>
                      <a:pt x="718" y="60"/>
                    </a:lnTo>
                    <a:lnTo>
                      <a:pt x="716" y="68"/>
                    </a:lnTo>
                    <a:lnTo>
                      <a:pt x="712" y="72"/>
                    </a:lnTo>
                    <a:lnTo>
                      <a:pt x="704" y="76"/>
                    </a:lnTo>
                    <a:lnTo>
                      <a:pt x="694" y="76"/>
                    </a:lnTo>
                    <a:lnTo>
                      <a:pt x="678" y="74"/>
                    </a:lnTo>
                    <a:lnTo>
                      <a:pt x="678" y="74"/>
                    </a:lnTo>
                    <a:lnTo>
                      <a:pt x="654" y="68"/>
                    </a:lnTo>
                    <a:lnTo>
                      <a:pt x="654" y="68"/>
                    </a:lnTo>
                    <a:lnTo>
                      <a:pt x="644" y="74"/>
                    </a:lnTo>
                    <a:lnTo>
                      <a:pt x="640" y="78"/>
                    </a:lnTo>
                    <a:lnTo>
                      <a:pt x="640" y="82"/>
                    </a:lnTo>
                    <a:lnTo>
                      <a:pt x="642" y="84"/>
                    </a:lnTo>
                    <a:lnTo>
                      <a:pt x="644" y="90"/>
                    </a:lnTo>
                    <a:lnTo>
                      <a:pt x="644" y="92"/>
                    </a:lnTo>
                    <a:lnTo>
                      <a:pt x="638" y="96"/>
                    </a:lnTo>
                    <a:lnTo>
                      <a:pt x="638" y="96"/>
                    </a:lnTo>
                    <a:lnTo>
                      <a:pt x="632" y="100"/>
                    </a:lnTo>
                    <a:lnTo>
                      <a:pt x="632" y="104"/>
                    </a:lnTo>
                    <a:lnTo>
                      <a:pt x="632" y="106"/>
                    </a:lnTo>
                    <a:lnTo>
                      <a:pt x="634" y="108"/>
                    </a:lnTo>
                    <a:lnTo>
                      <a:pt x="640" y="108"/>
                    </a:lnTo>
                    <a:lnTo>
                      <a:pt x="656" y="106"/>
                    </a:lnTo>
                    <a:lnTo>
                      <a:pt x="656" y="106"/>
                    </a:lnTo>
                    <a:lnTo>
                      <a:pt x="672" y="104"/>
                    </a:lnTo>
                    <a:lnTo>
                      <a:pt x="682" y="104"/>
                    </a:lnTo>
                    <a:lnTo>
                      <a:pt x="688" y="104"/>
                    </a:lnTo>
                    <a:lnTo>
                      <a:pt x="692" y="106"/>
                    </a:lnTo>
                    <a:lnTo>
                      <a:pt x="696" y="108"/>
                    </a:lnTo>
                    <a:lnTo>
                      <a:pt x="698" y="106"/>
                    </a:lnTo>
                    <a:lnTo>
                      <a:pt x="710" y="100"/>
                    </a:lnTo>
                    <a:lnTo>
                      <a:pt x="710" y="100"/>
                    </a:lnTo>
                    <a:lnTo>
                      <a:pt x="714" y="96"/>
                    </a:lnTo>
                    <a:lnTo>
                      <a:pt x="720" y="92"/>
                    </a:lnTo>
                    <a:lnTo>
                      <a:pt x="724" y="92"/>
                    </a:lnTo>
                    <a:lnTo>
                      <a:pt x="728" y="94"/>
                    </a:lnTo>
                    <a:lnTo>
                      <a:pt x="742" y="98"/>
                    </a:lnTo>
                    <a:lnTo>
                      <a:pt x="760" y="110"/>
                    </a:lnTo>
                    <a:lnTo>
                      <a:pt x="760" y="110"/>
                    </a:lnTo>
                    <a:lnTo>
                      <a:pt x="764" y="112"/>
                    </a:lnTo>
                    <a:lnTo>
                      <a:pt x="768" y="116"/>
                    </a:lnTo>
                    <a:lnTo>
                      <a:pt x="770" y="120"/>
                    </a:lnTo>
                    <a:lnTo>
                      <a:pt x="770" y="124"/>
                    </a:lnTo>
                    <a:lnTo>
                      <a:pt x="768" y="126"/>
                    </a:lnTo>
                    <a:lnTo>
                      <a:pt x="766" y="128"/>
                    </a:lnTo>
                    <a:lnTo>
                      <a:pt x="762" y="130"/>
                    </a:lnTo>
                    <a:lnTo>
                      <a:pt x="758" y="130"/>
                    </a:lnTo>
                    <a:lnTo>
                      <a:pt x="758" y="130"/>
                    </a:lnTo>
                    <a:lnTo>
                      <a:pt x="752" y="130"/>
                    </a:lnTo>
                    <a:lnTo>
                      <a:pt x="750" y="132"/>
                    </a:lnTo>
                    <a:lnTo>
                      <a:pt x="748" y="134"/>
                    </a:lnTo>
                    <a:lnTo>
                      <a:pt x="742" y="134"/>
                    </a:lnTo>
                    <a:lnTo>
                      <a:pt x="742" y="134"/>
                    </a:lnTo>
                    <a:lnTo>
                      <a:pt x="734" y="134"/>
                    </a:lnTo>
                    <a:lnTo>
                      <a:pt x="730" y="136"/>
                    </a:lnTo>
                    <a:lnTo>
                      <a:pt x="724" y="144"/>
                    </a:lnTo>
                    <a:lnTo>
                      <a:pt x="724" y="144"/>
                    </a:lnTo>
                    <a:lnTo>
                      <a:pt x="718" y="150"/>
                    </a:lnTo>
                    <a:lnTo>
                      <a:pt x="714" y="152"/>
                    </a:lnTo>
                    <a:lnTo>
                      <a:pt x="708" y="154"/>
                    </a:lnTo>
                    <a:lnTo>
                      <a:pt x="702" y="154"/>
                    </a:lnTo>
                    <a:lnTo>
                      <a:pt x="700" y="156"/>
                    </a:lnTo>
                    <a:lnTo>
                      <a:pt x="698" y="160"/>
                    </a:lnTo>
                    <a:lnTo>
                      <a:pt x="698" y="160"/>
                    </a:lnTo>
                    <a:lnTo>
                      <a:pt x="696" y="166"/>
                    </a:lnTo>
                    <a:lnTo>
                      <a:pt x="692" y="168"/>
                    </a:lnTo>
                    <a:lnTo>
                      <a:pt x="688" y="168"/>
                    </a:lnTo>
                    <a:lnTo>
                      <a:pt x="684" y="168"/>
                    </a:lnTo>
                    <a:lnTo>
                      <a:pt x="678" y="164"/>
                    </a:lnTo>
                    <a:lnTo>
                      <a:pt x="674" y="164"/>
                    </a:lnTo>
                    <a:lnTo>
                      <a:pt x="672" y="168"/>
                    </a:lnTo>
                    <a:lnTo>
                      <a:pt x="672" y="168"/>
                    </a:lnTo>
                    <a:lnTo>
                      <a:pt x="672" y="172"/>
                    </a:lnTo>
                    <a:lnTo>
                      <a:pt x="674" y="176"/>
                    </a:lnTo>
                    <a:lnTo>
                      <a:pt x="678" y="178"/>
                    </a:lnTo>
                    <a:lnTo>
                      <a:pt x="686" y="180"/>
                    </a:lnTo>
                    <a:lnTo>
                      <a:pt x="686" y="180"/>
                    </a:lnTo>
                    <a:lnTo>
                      <a:pt x="690" y="182"/>
                    </a:lnTo>
                    <a:lnTo>
                      <a:pt x="694" y="184"/>
                    </a:lnTo>
                    <a:lnTo>
                      <a:pt x="694" y="190"/>
                    </a:lnTo>
                    <a:lnTo>
                      <a:pt x="694" y="194"/>
                    </a:lnTo>
                    <a:lnTo>
                      <a:pt x="690" y="198"/>
                    </a:lnTo>
                    <a:lnTo>
                      <a:pt x="688" y="202"/>
                    </a:lnTo>
                    <a:lnTo>
                      <a:pt x="684" y="206"/>
                    </a:lnTo>
                    <a:lnTo>
                      <a:pt x="678" y="206"/>
                    </a:lnTo>
                    <a:lnTo>
                      <a:pt x="678" y="206"/>
                    </a:lnTo>
                    <a:lnTo>
                      <a:pt x="676" y="206"/>
                    </a:lnTo>
                    <a:lnTo>
                      <a:pt x="674" y="208"/>
                    </a:lnTo>
                    <a:lnTo>
                      <a:pt x="670" y="214"/>
                    </a:lnTo>
                    <a:lnTo>
                      <a:pt x="668" y="216"/>
                    </a:lnTo>
                    <a:lnTo>
                      <a:pt x="664" y="218"/>
                    </a:lnTo>
                    <a:lnTo>
                      <a:pt x="658" y="220"/>
                    </a:lnTo>
                    <a:lnTo>
                      <a:pt x="650" y="220"/>
                    </a:lnTo>
                    <a:lnTo>
                      <a:pt x="650" y="220"/>
                    </a:lnTo>
                    <a:lnTo>
                      <a:pt x="632" y="220"/>
                    </a:lnTo>
                    <a:lnTo>
                      <a:pt x="620" y="222"/>
                    </a:lnTo>
                    <a:lnTo>
                      <a:pt x="610" y="224"/>
                    </a:lnTo>
                    <a:lnTo>
                      <a:pt x="602" y="228"/>
                    </a:lnTo>
                    <a:lnTo>
                      <a:pt x="594" y="230"/>
                    </a:lnTo>
                    <a:lnTo>
                      <a:pt x="584" y="232"/>
                    </a:lnTo>
                    <a:lnTo>
                      <a:pt x="572" y="232"/>
                    </a:lnTo>
                    <a:lnTo>
                      <a:pt x="554" y="230"/>
                    </a:lnTo>
                    <a:lnTo>
                      <a:pt x="554" y="230"/>
                    </a:lnTo>
                    <a:lnTo>
                      <a:pt x="526" y="222"/>
                    </a:lnTo>
                    <a:lnTo>
                      <a:pt x="520" y="218"/>
                    </a:lnTo>
                    <a:lnTo>
                      <a:pt x="516" y="216"/>
                    </a:lnTo>
                    <a:lnTo>
                      <a:pt x="512" y="214"/>
                    </a:lnTo>
                    <a:lnTo>
                      <a:pt x="502" y="212"/>
                    </a:lnTo>
                    <a:lnTo>
                      <a:pt x="502" y="212"/>
                    </a:lnTo>
                    <a:lnTo>
                      <a:pt x="492" y="210"/>
                    </a:lnTo>
                    <a:lnTo>
                      <a:pt x="484" y="208"/>
                    </a:lnTo>
                    <a:lnTo>
                      <a:pt x="476" y="208"/>
                    </a:lnTo>
                    <a:lnTo>
                      <a:pt x="468" y="210"/>
                    </a:lnTo>
                    <a:lnTo>
                      <a:pt x="468" y="210"/>
                    </a:lnTo>
                    <a:lnTo>
                      <a:pt x="458" y="212"/>
                    </a:lnTo>
                    <a:lnTo>
                      <a:pt x="448" y="210"/>
                    </a:lnTo>
                    <a:lnTo>
                      <a:pt x="440" y="210"/>
                    </a:lnTo>
                    <a:lnTo>
                      <a:pt x="430" y="210"/>
                    </a:lnTo>
                    <a:lnTo>
                      <a:pt x="430" y="210"/>
                    </a:lnTo>
                    <a:lnTo>
                      <a:pt x="424" y="210"/>
                    </a:lnTo>
                    <a:lnTo>
                      <a:pt x="418" y="210"/>
                    </a:lnTo>
                    <a:lnTo>
                      <a:pt x="412" y="210"/>
                    </a:lnTo>
                    <a:lnTo>
                      <a:pt x="404" y="216"/>
                    </a:lnTo>
                    <a:lnTo>
                      <a:pt x="404" y="216"/>
                    </a:lnTo>
                    <a:lnTo>
                      <a:pt x="400" y="218"/>
                    </a:lnTo>
                    <a:lnTo>
                      <a:pt x="398" y="218"/>
                    </a:lnTo>
                    <a:lnTo>
                      <a:pt x="398" y="212"/>
                    </a:lnTo>
                    <a:lnTo>
                      <a:pt x="398" y="204"/>
                    </a:lnTo>
                    <a:lnTo>
                      <a:pt x="396" y="200"/>
                    </a:lnTo>
                    <a:lnTo>
                      <a:pt x="392" y="196"/>
                    </a:lnTo>
                    <a:lnTo>
                      <a:pt x="392" y="196"/>
                    </a:lnTo>
                    <a:lnTo>
                      <a:pt x="388" y="192"/>
                    </a:lnTo>
                    <a:lnTo>
                      <a:pt x="386" y="188"/>
                    </a:lnTo>
                    <a:lnTo>
                      <a:pt x="386" y="184"/>
                    </a:lnTo>
                    <a:lnTo>
                      <a:pt x="384" y="184"/>
                    </a:lnTo>
                    <a:lnTo>
                      <a:pt x="384" y="184"/>
                    </a:lnTo>
                    <a:lnTo>
                      <a:pt x="382" y="184"/>
                    </a:lnTo>
                    <a:lnTo>
                      <a:pt x="380" y="182"/>
                    </a:lnTo>
                    <a:lnTo>
                      <a:pt x="380" y="178"/>
                    </a:lnTo>
                    <a:lnTo>
                      <a:pt x="380" y="176"/>
                    </a:lnTo>
                    <a:lnTo>
                      <a:pt x="376" y="178"/>
                    </a:lnTo>
                    <a:lnTo>
                      <a:pt x="376" y="178"/>
                    </a:lnTo>
                    <a:lnTo>
                      <a:pt x="374" y="180"/>
                    </a:lnTo>
                    <a:lnTo>
                      <a:pt x="368" y="180"/>
                    </a:lnTo>
                    <a:lnTo>
                      <a:pt x="354" y="178"/>
                    </a:lnTo>
                    <a:lnTo>
                      <a:pt x="334" y="170"/>
                    </a:lnTo>
                    <a:lnTo>
                      <a:pt x="334" y="170"/>
                    </a:lnTo>
                    <a:lnTo>
                      <a:pt x="324" y="166"/>
                    </a:lnTo>
                    <a:lnTo>
                      <a:pt x="314" y="166"/>
                    </a:lnTo>
                    <a:lnTo>
                      <a:pt x="284" y="170"/>
                    </a:lnTo>
                    <a:lnTo>
                      <a:pt x="284" y="170"/>
                    </a:lnTo>
                    <a:lnTo>
                      <a:pt x="274" y="170"/>
                    </a:lnTo>
                    <a:lnTo>
                      <a:pt x="272" y="170"/>
                    </a:lnTo>
                    <a:lnTo>
                      <a:pt x="274" y="168"/>
                    </a:lnTo>
                    <a:lnTo>
                      <a:pt x="278" y="164"/>
                    </a:lnTo>
                    <a:lnTo>
                      <a:pt x="278" y="160"/>
                    </a:lnTo>
                    <a:lnTo>
                      <a:pt x="276" y="156"/>
                    </a:lnTo>
                    <a:lnTo>
                      <a:pt x="276" y="156"/>
                    </a:lnTo>
                    <a:lnTo>
                      <a:pt x="272" y="152"/>
                    </a:lnTo>
                    <a:lnTo>
                      <a:pt x="274" y="148"/>
                    </a:lnTo>
                    <a:lnTo>
                      <a:pt x="274" y="146"/>
                    </a:lnTo>
                    <a:lnTo>
                      <a:pt x="270" y="142"/>
                    </a:lnTo>
                    <a:lnTo>
                      <a:pt x="270" y="142"/>
                    </a:lnTo>
                    <a:lnTo>
                      <a:pt x="264" y="138"/>
                    </a:lnTo>
                    <a:lnTo>
                      <a:pt x="260" y="134"/>
                    </a:lnTo>
                    <a:lnTo>
                      <a:pt x="256" y="126"/>
                    </a:lnTo>
                    <a:lnTo>
                      <a:pt x="254" y="118"/>
                    </a:lnTo>
                    <a:lnTo>
                      <a:pt x="250" y="116"/>
                    </a:lnTo>
                    <a:lnTo>
                      <a:pt x="246" y="114"/>
                    </a:lnTo>
                    <a:lnTo>
                      <a:pt x="246" y="114"/>
                    </a:lnTo>
                    <a:lnTo>
                      <a:pt x="238" y="110"/>
                    </a:lnTo>
                    <a:lnTo>
                      <a:pt x="236" y="108"/>
                    </a:lnTo>
                    <a:lnTo>
                      <a:pt x="236" y="108"/>
                    </a:lnTo>
                    <a:lnTo>
                      <a:pt x="232" y="106"/>
                    </a:lnTo>
                    <a:lnTo>
                      <a:pt x="230" y="104"/>
                    </a:lnTo>
                    <a:lnTo>
                      <a:pt x="226" y="108"/>
                    </a:lnTo>
                    <a:lnTo>
                      <a:pt x="224" y="110"/>
                    </a:lnTo>
                    <a:lnTo>
                      <a:pt x="220" y="110"/>
                    </a:lnTo>
                    <a:lnTo>
                      <a:pt x="218" y="110"/>
                    </a:lnTo>
                    <a:lnTo>
                      <a:pt x="214" y="106"/>
                    </a:lnTo>
                    <a:lnTo>
                      <a:pt x="214" y="106"/>
                    </a:lnTo>
                    <a:lnTo>
                      <a:pt x="208" y="102"/>
                    </a:lnTo>
                    <a:lnTo>
                      <a:pt x="204" y="100"/>
                    </a:lnTo>
                    <a:lnTo>
                      <a:pt x="196" y="98"/>
                    </a:lnTo>
                    <a:lnTo>
                      <a:pt x="190" y="96"/>
                    </a:lnTo>
                    <a:lnTo>
                      <a:pt x="186" y="94"/>
                    </a:lnTo>
                    <a:lnTo>
                      <a:pt x="184" y="90"/>
                    </a:lnTo>
                    <a:lnTo>
                      <a:pt x="182" y="88"/>
                    </a:lnTo>
                    <a:lnTo>
                      <a:pt x="182" y="88"/>
                    </a:lnTo>
                    <a:close/>
                  </a:path>
                </a:pathLst>
              </a:custGeom>
              <a:solidFill>
                <a:schemeClr val="accent6">
                  <a:alpha val="99000"/>
                </a:schemeClr>
              </a:solid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96" name="Freeform 67"/>
            <p:cNvSpPr>
              <a:spLocks/>
            </p:cNvSpPr>
            <p:nvPr/>
          </p:nvSpPr>
          <p:spPr bwMode="auto">
            <a:xfrm>
              <a:off x="9187347" y="2904705"/>
              <a:ext cx="82017" cy="72836"/>
            </a:xfrm>
            <a:custGeom>
              <a:avLst/>
              <a:gdLst/>
              <a:ahLst/>
              <a:cxnLst>
                <a:cxn ang="0">
                  <a:pos x="14" y="8"/>
                </a:cxn>
                <a:cxn ang="0">
                  <a:pos x="22" y="6"/>
                </a:cxn>
                <a:cxn ang="0">
                  <a:pos x="24" y="4"/>
                </a:cxn>
                <a:cxn ang="0">
                  <a:pos x="28" y="2"/>
                </a:cxn>
                <a:cxn ang="0">
                  <a:pos x="38" y="2"/>
                </a:cxn>
                <a:cxn ang="0">
                  <a:pos x="44" y="0"/>
                </a:cxn>
                <a:cxn ang="0">
                  <a:pos x="46" y="2"/>
                </a:cxn>
                <a:cxn ang="0">
                  <a:pos x="48" y="2"/>
                </a:cxn>
                <a:cxn ang="0">
                  <a:pos x="50" y="2"/>
                </a:cxn>
                <a:cxn ang="0">
                  <a:pos x="54" y="8"/>
                </a:cxn>
                <a:cxn ang="0">
                  <a:pos x="52" y="12"/>
                </a:cxn>
                <a:cxn ang="0">
                  <a:pos x="50" y="14"/>
                </a:cxn>
                <a:cxn ang="0">
                  <a:pos x="46" y="20"/>
                </a:cxn>
                <a:cxn ang="0">
                  <a:pos x="46" y="22"/>
                </a:cxn>
                <a:cxn ang="0">
                  <a:pos x="46" y="30"/>
                </a:cxn>
                <a:cxn ang="0">
                  <a:pos x="42" y="34"/>
                </a:cxn>
                <a:cxn ang="0">
                  <a:pos x="40" y="40"/>
                </a:cxn>
                <a:cxn ang="0">
                  <a:pos x="34" y="44"/>
                </a:cxn>
                <a:cxn ang="0">
                  <a:pos x="28" y="44"/>
                </a:cxn>
                <a:cxn ang="0">
                  <a:pos x="24" y="46"/>
                </a:cxn>
                <a:cxn ang="0">
                  <a:pos x="22" y="48"/>
                </a:cxn>
                <a:cxn ang="0">
                  <a:pos x="18" y="46"/>
                </a:cxn>
                <a:cxn ang="0">
                  <a:pos x="12" y="42"/>
                </a:cxn>
                <a:cxn ang="0">
                  <a:pos x="6" y="36"/>
                </a:cxn>
                <a:cxn ang="0">
                  <a:pos x="2" y="30"/>
                </a:cxn>
                <a:cxn ang="0">
                  <a:pos x="2" y="26"/>
                </a:cxn>
                <a:cxn ang="0">
                  <a:pos x="0" y="22"/>
                </a:cxn>
                <a:cxn ang="0">
                  <a:pos x="2" y="18"/>
                </a:cxn>
                <a:cxn ang="0">
                  <a:pos x="12" y="10"/>
                </a:cxn>
                <a:cxn ang="0">
                  <a:pos x="14" y="10"/>
                </a:cxn>
                <a:cxn ang="0">
                  <a:pos x="12" y="8"/>
                </a:cxn>
                <a:cxn ang="0">
                  <a:pos x="14" y="8"/>
                </a:cxn>
              </a:cxnLst>
              <a:rect l="0" t="0" r="r" b="b"/>
              <a:pathLst>
                <a:path w="54" h="48">
                  <a:moveTo>
                    <a:pt x="14" y="8"/>
                  </a:moveTo>
                  <a:lnTo>
                    <a:pt x="14" y="8"/>
                  </a:lnTo>
                  <a:lnTo>
                    <a:pt x="18" y="6"/>
                  </a:lnTo>
                  <a:lnTo>
                    <a:pt x="22" y="6"/>
                  </a:lnTo>
                  <a:lnTo>
                    <a:pt x="22" y="6"/>
                  </a:lnTo>
                  <a:lnTo>
                    <a:pt x="24" y="4"/>
                  </a:lnTo>
                  <a:lnTo>
                    <a:pt x="28" y="2"/>
                  </a:lnTo>
                  <a:lnTo>
                    <a:pt x="28" y="2"/>
                  </a:lnTo>
                  <a:lnTo>
                    <a:pt x="38" y="2"/>
                  </a:lnTo>
                  <a:lnTo>
                    <a:pt x="38" y="2"/>
                  </a:lnTo>
                  <a:lnTo>
                    <a:pt x="42" y="0"/>
                  </a:lnTo>
                  <a:lnTo>
                    <a:pt x="44" y="0"/>
                  </a:lnTo>
                  <a:lnTo>
                    <a:pt x="46" y="2"/>
                  </a:lnTo>
                  <a:lnTo>
                    <a:pt x="46" y="2"/>
                  </a:lnTo>
                  <a:lnTo>
                    <a:pt x="46" y="2"/>
                  </a:lnTo>
                  <a:lnTo>
                    <a:pt x="48" y="2"/>
                  </a:lnTo>
                  <a:lnTo>
                    <a:pt x="50" y="0"/>
                  </a:lnTo>
                  <a:lnTo>
                    <a:pt x="50" y="2"/>
                  </a:lnTo>
                  <a:lnTo>
                    <a:pt x="50" y="2"/>
                  </a:lnTo>
                  <a:lnTo>
                    <a:pt x="54" y="8"/>
                  </a:lnTo>
                  <a:lnTo>
                    <a:pt x="54" y="10"/>
                  </a:lnTo>
                  <a:lnTo>
                    <a:pt x="52" y="12"/>
                  </a:lnTo>
                  <a:lnTo>
                    <a:pt x="52" y="12"/>
                  </a:lnTo>
                  <a:lnTo>
                    <a:pt x="50" y="14"/>
                  </a:lnTo>
                  <a:lnTo>
                    <a:pt x="48" y="16"/>
                  </a:lnTo>
                  <a:lnTo>
                    <a:pt x="46" y="20"/>
                  </a:lnTo>
                  <a:lnTo>
                    <a:pt x="46" y="20"/>
                  </a:lnTo>
                  <a:lnTo>
                    <a:pt x="46" y="22"/>
                  </a:lnTo>
                  <a:lnTo>
                    <a:pt x="46" y="24"/>
                  </a:lnTo>
                  <a:lnTo>
                    <a:pt x="46" y="30"/>
                  </a:lnTo>
                  <a:lnTo>
                    <a:pt x="46" y="30"/>
                  </a:lnTo>
                  <a:lnTo>
                    <a:pt x="42" y="34"/>
                  </a:lnTo>
                  <a:lnTo>
                    <a:pt x="40" y="40"/>
                  </a:lnTo>
                  <a:lnTo>
                    <a:pt x="40" y="40"/>
                  </a:lnTo>
                  <a:lnTo>
                    <a:pt x="36" y="42"/>
                  </a:lnTo>
                  <a:lnTo>
                    <a:pt x="34" y="44"/>
                  </a:lnTo>
                  <a:lnTo>
                    <a:pt x="28" y="44"/>
                  </a:lnTo>
                  <a:lnTo>
                    <a:pt x="28" y="44"/>
                  </a:lnTo>
                  <a:lnTo>
                    <a:pt x="26" y="44"/>
                  </a:lnTo>
                  <a:lnTo>
                    <a:pt x="24" y="46"/>
                  </a:lnTo>
                  <a:lnTo>
                    <a:pt x="24" y="46"/>
                  </a:lnTo>
                  <a:lnTo>
                    <a:pt x="22" y="48"/>
                  </a:lnTo>
                  <a:lnTo>
                    <a:pt x="18" y="46"/>
                  </a:lnTo>
                  <a:lnTo>
                    <a:pt x="18" y="46"/>
                  </a:lnTo>
                  <a:lnTo>
                    <a:pt x="16" y="44"/>
                  </a:lnTo>
                  <a:lnTo>
                    <a:pt x="12" y="42"/>
                  </a:lnTo>
                  <a:lnTo>
                    <a:pt x="12" y="42"/>
                  </a:lnTo>
                  <a:lnTo>
                    <a:pt x="6" y="36"/>
                  </a:lnTo>
                  <a:lnTo>
                    <a:pt x="2" y="34"/>
                  </a:lnTo>
                  <a:lnTo>
                    <a:pt x="2" y="30"/>
                  </a:lnTo>
                  <a:lnTo>
                    <a:pt x="2" y="30"/>
                  </a:lnTo>
                  <a:lnTo>
                    <a:pt x="2" y="26"/>
                  </a:lnTo>
                  <a:lnTo>
                    <a:pt x="2" y="24"/>
                  </a:lnTo>
                  <a:lnTo>
                    <a:pt x="0" y="22"/>
                  </a:lnTo>
                  <a:lnTo>
                    <a:pt x="2" y="18"/>
                  </a:lnTo>
                  <a:lnTo>
                    <a:pt x="2" y="18"/>
                  </a:lnTo>
                  <a:lnTo>
                    <a:pt x="8" y="12"/>
                  </a:lnTo>
                  <a:lnTo>
                    <a:pt x="12" y="10"/>
                  </a:lnTo>
                  <a:lnTo>
                    <a:pt x="12" y="10"/>
                  </a:lnTo>
                  <a:lnTo>
                    <a:pt x="14" y="10"/>
                  </a:lnTo>
                  <a:lnTo>
                    <a:pt x="14" y="10"/>
                  </a:lnTo>
                  <a:lnTo>
                    <a:pt x="12" y="8"/>
                  </a:lnTo>
                  <a:lnTo>
                    <a:pt x="14" y="8"/>
                  </a:lnTo>
                  <a:lnTo>
                    <a:pt x="14" y="8"/>
                  </a:lnTo>
                  <a:close/>
                </a:path>
              </a:pathLst>
            </a:custGeom>
            <a:solidFill>
              <a:schemeClr val="accent6">
                <a:alpha val="99000"/>
              </a:schemeClr>
            </a:solid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975" name="Group 974"/>
          <p:cNvGrpSpPr/>
          <p:nvPr/>
        </p:nvGrpSpPr>
        <p:grpSpPr>
          <a:xfrm>
            <a:off x="2140011" y="1084075"/>
            <a:ext cx="5866925" cy="3859497"/>
            <a:chOff x="2852605" y="1445433"/>
            <a:chExt cx="7820530" cy="5145996"/>
          </a:xfrm>
        </p:grpSpPr>
        <p:grpSp>
          <p:nvGrpSpPr>
            <p:cNvPr id="63" name="Group 62"/>
            <p:cNvGrpSpPr/>
            <p:nvPr/>
          </p:nvGrpSpPr>
          <p:grpSpPr>
            <a:xfrm>
              <a:off x="2852605" y="1445433"/>
              <a:ext cx="7820530" cy="5145996"/>
              <a:chOff x="2857040" y="1447800"/>
              <a:chExt cx="7820530" cy="5145996"/>
            </a:xfrm>
          </p:grpSpPr>
          <p:grpSp>
            <p:nvGrpSpPr>
              <p:cNvPr id="61" name="Group 60"/>
              <p:cNvGrpSpPr/>
              <p:nvPr/>
            </p:nvGrpSpPr>
            <p:grpSpPr>
              <a:xfrm>
                <a:off x="2857040" y="1447800"/>
                <a:ext cx="7820530" cy="5145996"/>
                <a:chOff x="2857040" y="1447800"/>
                <a:chExt cx="7820530" cy="5145996"/>
              </a:xfrm>
            </p:grpSpPr>
            <p:grpSp>
              <p:nvGrpSpPr>
                <p:cNvPr id="59" name="Group 58"/>
                <p:cNvGrpSpPr/>
                <p:nvPr/>
              </p:nvGrpSpPr>
              <p:grpSpPr>
                <a:xfrm>
                  <a:off x="2857040" y="1447800"/>
                  <a:ext cx="7820530" cy="5145996"/>
                  <a:chOff x="2857040" y="1447800"/>
                  <a:chExt cx="7820530" cy="5145996"/>
                </a:xfrm>
              </p:grpSpPr>
              <p:grpSp>
                <p:nvGrpSpPr>
                  <p:cNvPr id="34" name="Group 33"/>
                  <p:cNvGrpSpPr/>
                  <p:nvPr/>
                </p:nvGrpSpPr>
                <p:grpSpPr>
                  <a:xfrm>
                    <a:off x="2857040" y="1447800"/>
                    <a:ext cx="7820530" cy="5145996"/>
                    <a:chOff x="2857040" y="1447800"/>
                    <a:chExt cx="7820530" cy="5145996"/>
                  </a:xfrm>
                </p:grpSpPr>
                <p:grpSp>
                  <p:nvGrpSpPr>
                    <p:cNvPr id="58" name="Group 57"/>
                    <p:cNvGrpSpPr/>
                    <p:nvPr/>
                  </p:nvGrpSpPr>
                  <p:grpSpPr>
                    <a:xfrm>
                      <a:off x="2857040" y="1447800"/>
                      <a:ext cx="7820530" cy="5145996"/>
                      <a:chOff x="2857040" y="1447800"/>
                      <a:chExt cx="7820530" cy="5145996"/>
                    </a:xfrm>
                  </p:grpSpPr>
                  <p:grpSp>
                    <p:nvGrpSpPr>
                      <p:cNvPr id="57" name="Group 56"/>
                      <p:cNvGrpSpPr/>
                      <p:nvPr/>
                    </p:nvGrpSpPr>
                    <p:grpSpPr>
                      <a:xfrm>
                        <a:off x="2857040" y="1614303"/>
                        <a:ext cx="7820530" cy="4979493"/>
                        <a:chOff x="2857040" y="1614303"/>
                        <a:chExt cx="7820530" cy="4979493"/>
                      </a:xfrm>
                    </p:grpSpPr>
                    <p:grpSp>
                      <p:nvGrpSpPr>
                        <p:cNvPr id="56" name="Group 55"/>
                        <p:cNvGrpSpPr/>
                        <p:nvPr/>
                      </p:nvGrpSpPr>
                      <p:grpSpPr>
                        <a:xfrm>
                          <a:off x="2857040" y="1614303"/>
                          <a:ext cx="7820530" cy="4979493"/>
                          <a:chOff x="2857040" y="1614303"/>
                          <a:chExt cx="7820530" cy="4979493"/>
                        </a:xfrm>
                      </p:grpSpPr>
                      <p:grpSp>
                        <p:nvGrpSpPr>
                          <p:cNvPr id="53" name="Group 52"/>
                          <p:cNvGrpSpPr/>
                          <p:nvPr/>
                        </p:nvGrpSpPr>
                        <p:grpSpPr>
                          <a:xfrm>
                            <a:off x="2857040" y="1614303"/>
                            <a:ext cx="7820530" cy="4979493"/>
                            <a:chOff x="2857040" y="1614303"/>
                            <a:chExt cx="7820530" cy="4979493"/>
                          </a:xfrm>
                        </p:grpSpPr>
                        <p:sp>
                          <p:nvSpPr>
                            <p:cNvPr id="470" name="Israel"/>
                            <p:cNvSpPr>
                              <a:spLocks/>
                            </p:cNvSpPr>
                            <p:nvPr/>
                          </p:nvSpPr>
                          <p:spPr bwMode="auto">
                            <a:xfrm>
                              <a:off x="6826497" y="2429920"/>
                              <a:ext cx="45565" cy="121393"/>
                            </a:xfrm>
                            <a:custGeom>
                              <a:avLst/>
                              <a:gdLst/>
                              <a:ahLst/>
                              <a:cxnLst>
                                <a:cxn ang="0">
                                  <a:pos x="20" y="80"/>
                                </a:cxn>
                                <a:cxn ang="0">
                                  <a:pos x="20" y="80"/>
                                </a:cxn>
                                <a:cxn ang="0">
                                  <a:pos x="2" y="50"/>
                                </a:cxn>
                                <a:cxn ang="0">
                                  <a:pos x="2" y="50"/>
                                </a:cxn>
                                <a:cxn ang="0">
                                  <a:pos x="0" y="48"/>
                                </a:cxn>
                                <a:cxn ang="0">
                                  <a:pos x="0" y="44"/>
                                </a:cxn>
                                <a:cxn ang="0">
                                  <a:pos x="2" y="42"/>
                                </a:cxn>
                                <a:cxn ang="0">
                                  <a:pos x="4" y="40"/>
                                </a:cxn>
                                <a:cxn ang="0">
                                  <a:pos x="2" y="36"/>
                                </a:cxn>
                                <a:cxn ang="0">
                                  <a:pos x="2" y="36"/>
                                </a:cxn>
                                <a:cxn ang="0">
                                  <a:pos x="4" y="28"/>
                                </a:cxn>
                                <a:cxn ang="0">
                                  <a:pos x="6" y="24"/>
                                </a:cxn>
                                <a:cxn ang="0">
                                  <a:pos x="6" y="22"/>
                                </a:cxn>
                                <a:cxn ang="0">
                                  <a:pos x="8" y="16"/>
                                </a:cxn>
                                <a:cxn ang="0">
                                  <a:pos x="8" y="16"/>
                                </a:cxn>
                                <a:cxn ang="0">
                                  <a:pos x="8" y="12"/>
                                </a:cxn>
                                <a:cxn ang="0">
                                  <a:pos x="10" y="8"/>
                                </a:cxn>
                                <a:cxn ang="0">
                                  <a:pos x="12" y="4"/>
                                </a:cxn>
                                <a:cxn ang="0">
                                  <a:pos x="12" y="0"/>
                                </a:cxn>
                                <a:cxn ang="0">
                                  <a:pos x="30" y="0"/>
                                </a:cxn>
                                <a:cxn ang="0">
                                  <a:pos x="28" y="6"/>
                                </a:cxn>
                                <a:cxn ang="0">
                                  <a:pos x="28" y="6"/>
                                </a:cxn>
                                <a:cxn ang="0">
                                  <a:pos x="24" y="6"/>
                                </a:cxn>
                                <a:cxn ang="0">
                                  <a:pos x="24" y="8"/>
                                </a:cxn>
                                <a:cxn ang="0">
                                  <a:pos x="24" y="10"/>
                                </a:cxn>
                                <a:cxn ang="0">
                                  <a:pos x="22" y="12"/>
                                </a:cxn>
                                <a:cxn ang="0">
                                  <a:pos x="22" y="12"/>
                                </a:cxn>
                                <a:cxn ang="0">
                                  <a:pos x="20" y="12"/>
                                </a:cxn>
                                <a:cxn ang="0">
                                  <a:pos x="20" y="10"/>
                                </a:cxn>
                                <a:cxn ang="0">
                                  <a:pos x="18" y="8"/>
                                </a:cxn>
                                <a:cxn ang="0">
                                  <a:pos x="16" y="8"/>
                                </a:cxn>
                                <a:cxn ang="0">
                                  <a:pos x="16" y="8"/>
                                </a:cxn>
                                <a:cxn ang="0">
                                  <a:pos x="14" y="10"/>
                                </a:cxn>
                                <a:cxn ang="0">
                                  <a:pos x="12" y="12"/>
                                </a:cxn>
                                <a:cxn ang="0">
                                  <a:pos x="12" y="18"/>
                                </a:cxn>
                                <a:cxn ang="0">
                                  <a:pos x="14" y="24"/>
                                </a:cxn>
                                <a:cxn ang="0">
                                  <a:pos x="14" y="26"/>
                                </a:cxn>
                                <a:cxn ang="0">
                                  <a:pos x="14" y="26"/>
                                </a:cxn>
                                <a:cxn ang="0">
                                  <a:pos x="16" y="28"/>
                                </a:cxn>
                                <a:cxn ang="0">
                                  <a:pos x="18" y="30"/>
                                </a:cxn>
                                <a:cxn ang="0">
                                  <a:pos x="16" y="34"/>
                                </a:cxn>
                                <a:cxn ang="0">
                                  <a:pos x="12" y="36"/>
                                </a:cxn>
                                <a:cxn ang="0">
                                  <a:pos x="12" y="40"/>
                                </a:cxn>
                                <a:cxn ang="0">
                                  <a:pos x="12" y="40"/>
                                </a:cxn>
                                <a:cxn ang="0">
                                  <a:pos x="14" y="40"/>
                                </a:cxn>
                                <a:cxn ang="0">
                                  <a:pos x="16" y="40"/>
                                </a:cxn>
                                <a:cxn ang="0">
                                  <a:pos x="20" y="38"/>
                                </a:cxn>
                                <a:cxn ang="0">
                                  <a:pos x="22" y="38"/>
                                </a:cxn>
                                <a:cxn ang="0">
                                  <a:pos x="24" y="40"/>
                                </a:cxn>
                                <a:cxn ang="0">
                                  <a:pos x="24" y="46"/>
                                </a:cxn>
                                <a:cxn ang="0">
                                  <a:pos x="24" y="46"/>
                                </a:cxn>
                                <a:cxn ang="0">
                                  <a:pos x="22" y="64"/>
                                </a:cxn>
                                <a:cxn ang="0">
                                  <a:pos x="20" y="80"/>
                                </a:cxn>
                                <a:cxn ang="0">
                                  <a:pos x="20" y="80"/>
                                </a:cxn>
                              </a:cxnLst>
                              <a:rect l="0" t="0" r="r" b="b"/>
                              <a:pathLst>
                                <a:path w="30" h="80">
                                  <a:moveTo>
                                    <a:pt x="20" y="80"/>
                                  </a:moveTo>
                                  <a:lnTo>
                                    <a:pt x="20" y="80"/>
                                  </a:lnTo>
                                  <a:lnTo>
                                    <a:pt x="2" y="50"/>
                                  </a:lnTo>
                                  <a:lnTo>
                                    <a:pt x="2" y="50"/>
                                  </a:lnTo>
                                  <a:lnTo>
                                    <a:pt x="0" y="48"/>
                                  </a:lnTo>
                                  <a:lnTo>
                                    <a:pt x="0" y="44"/>
                                  </a:lnTo>
                                  <a:lnTo>
                                    <a:pt x="2" y="42"/>
                                  </a:lnTo>
                                  <a:lnTo>
                                    <a:pt x="4" y="40"/>
                                  </a:lnTo>
                                  <a:lnTo>
                                    <a:pt x="2" y="36"/>
                                  </a:lnTo>
                                  <a:lnTo>
                                    <a:pt x="2" y="36"/>
                                  </a:lnTo>
                                  <a:lnTo>
                                    <a:pt x="4" y="28"/>
                                  </a:lnTo>
                                  <a:lnTo>
                                    <a:pt x="6" y="24"/>
                                  </a:lnTo>
                                  <a:lnTo>
                                    <a:pt x="6" y="22"/>
                                  </a:lnTo>
                                  <a:lnTo>
                                    <a:pt x="8" y="16"/>
                                  </a:lnTo>
                                  <a:lnTo>
                                    <a:pt x="8" y="16"/>
                                  </a:lnTo>
                                  <a:lnTo>
                                    <a:pt x="8" y="12"/>
                                  </a:lnTo>
                                  <a:lnTo>
                                    <a:pt x="10" y="8"/>
                                  </a:lnTo>
                                  <a:lnTo>
                                    <a:pt x="12" y="4"/>
                                  </a:lnTo>
                                  <a:lnTo>
                                    <a:pt x="12" y="0"/>
                                  </a:lnTo>
                                  <a:lnTo>
                                    <a:pt x="30" y="0"/>
                                  </a:lnTo>
                                  <a:lnTo>
                                    <a:pt x="28" y="6"/>
                                  </a:lnTo>
                                  <a:lnTo>
                                    <a:pt x="28" y="6"/>
                                  </a:lnTo>
                                  <a:lnTo>
                                    <a:pt x="24" y="6"/>
                                  </a:lnTo>
                                  <a:lnTo>
                                    <a:pt x="24" y="8"/>
                                  </a:lnTo>
                                  <a:lnTo>
                                    <a:pt x="24" y="10"/>
                                  </a:lnTo>
                                  <a:lnTo>
                                    <a:pt x="22" y="12"/>
                                  </a:lnTo>
                                  <a:lnTo>
                                    <a:pt x="22" y="12"/>
                                  </a:lnTo>
                                  <a:lnTo>
                                    <a:pt x="20" y="12"/>
                                  </a:lnTo>
                                  <a:lnTo>
                                    <a:pt x="20" y="10"/>
                                  </a:lnTo>
                                  <a:lnTo>
                                    <a:pt x="18" y="8"/>
                                  </a:lnTo>
                                  <a:lnTo>
                                    <a:pt x="16" y="8"/>
                                  </a:lnTo>
                                  <a:lnTo>
                                    <a:pt x="16" y="8"/>
                                  </a:lnTo>
                                  <a:lnTo>
                                    <a:pt x="14" y="10"/>
                                  </a:lnTo>
                                  <a:lnTo>
                                    <a:pt x="12" y="12"/>
                                  </a:lnTo>
                                  <a:lnTo>
                                    <a:pt x="12" y="18"/>
                                  </a:lnTo>
                                  <a:lnTo>
                                    <a:pt x="14" y="24"/>
                                  </a:lnTo>
                                  <a:lnTo>
                                    <a:pt x="14" y="26"/>
                                  </a:lnTo>
                                  <a:lnTo>
                                    <a:pt x="14" y="26"/>
                                  </a:lnTo>
                                  <a:lnTo>
                                    <a:pt x="16" y="28"/>
                                  </a:lnTo>
                                  <a:lnTo>
                                    <a:pt x="18" y="30"/>
                                  </a:lnTo>
                                  <a:lnTo>
                                    <a:pt x="16" y="34"/>
                                  </a:lnTo>
                                  <a:lnTo>
                                    <a:pt x="12" y="36"/>
                                  </a:lnTo>
                                  <a:lnTo>
                                    <a:pt x="12" y="40"/>
                                  </a:lnTo>
                                  <a:lnTo>
                                    <a:pt x="12" y="40"/>
                                  </a:lnTo>
                                  <a:lnTo>
                                    <a:pt x="14" y="40"/>
                                  </a:lnTo>
                                  <a:lnTo>
                                    <a:pt x="16" y="40"/>
                                  </a:lnTo>
                                  <a:lnTo>
                                    <a:pt x="20" y="38"/>
                                  </a:lnTo>
                                  <a:lnTo>
                                    <a:pt x="22" y="38"/>
                                  </a:lnTo>
                                  <a:lnTo>
                                    <a:pt x="24" y="40"/>
                                  </a:lnTo>
                                  <a:lnTo>
                                    <a:pt x="24" y="46"/>
                                  </a:lnTo>
                                  <a:lnTo>
                                    <a:pt x="24" y="46"/>
                                  </a:lnTo>
                                  <a:lnTo>
                                    <a:pt x="22" y="64"/>
                                  </a:lnTo>
                                  <a:lnTo>
                                    <a:pt x="20" y="80"/>
                                  </a:lnTo>
                                  <a:lnTo>
                                    <a:pt x="20" y="80"/>
                                  </a:lnTo>
                                  <a:close/>
                                </a:path>
                              </a:pathLst>
                            </a:custGeom>
                            <a:solidFill>
                              <a:schemeClr val="accent3"/>
                            </a:solid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52" name="Group 51"/>
                            <p:cNvGrpSpPr/>
                            <p:nvPr/>
                          </p:nvGrpSpPr>
                          <p:grpSpPr>
                            <a:xfrm>
                              <a:off x="2857040" y="1614303"/>
                              <a:ext cx="7820530" cy="4979493"/>
                              <a:chOff x="2857040" y="1614303"/>
                              <a:chExt cx="7820530" cy="4979493"/>
                            </a:xfrm>
                          </p:grpSpPr>
                          <p:sp>
                            <p:nvSpPr>
                              <p:cNvPr id="453" name="Lithuania"/>
                              <p:cNvSpPr>
                                <a:spLocks/>
                              </p:cNvSpPr>
                              <p:nvPr/>
                            </p:nvSpPr>
                            <p:spPr bwMode="auto">
                              <a:xfrm>
                                <a:off x="6340352" y="1697476"/>
                                <a:ext cx="142769" cy="69801"/>
                              </a:xfrm>
                              <a:custGeom>
                                <a:avLst/>
                                <a:gdLst/>
                                <a:ahLst/>
                                <a:cxnLst>
                                  <a:cxn ang="0">
                                    <a:pos x="26" y="34"/>
                                  </a:cxn>
                                  <a:cxn ang="0">
                                    <a:pos x="30" y="34"/>
                                  </a:cxn>
                                  <a:cxn ang="0">
                                    <a:pos x="34" y="36"/>
                                  </a:cxn>
                                  <a:cxn ang="0">
                                    <a:pos x="36" y="36"/>
                                  </a:cxn>
                                  <a:cxn ang="0">
                                    <a:pos x="42" y="42"/>
                                  </a:cxn>
                                  <a:cxn ang="0">
                                    <a:pos x="50" y="44"/>
                                  </a:cxn>
                                  <a:cxn ang="0">
                                    <a:pos x="58" y="46"/>
                                  </a:cxn>
                                  <a:cxn ang="0">
                                    <a:pos x="64" y="44"/>
                                  </a:cxn>
                                  <a:cxn ang="0">
                                    <a:pos x="70" y="44"/>
                                  </a:cxn>
                                  <a:cxn ang="0">
                                    <a:pos x="74" y="44"/>
                                  </a:cxn>
                                  <a:cxn ang="0">
                                    <a:pos x="74" y="42"/>
                                  </a:cxn>
                                  <a:cxn ang="0">
                                    <a:pos x="72" y="38"/>
                                  </a:cxn>
                                  <a:cxn ang="0">
                                    <a:pos x="72" y="34"/>
                                  </a:cxn>
                                  <a:cxn ang="0">
                                    <a:pos x="76" y="28"/>
                                  </a:cxn>
                                  <a:cxn ang="0">
                                    <a:pos x="82" y="26"/>
                                  </a:cxn>
                                  <a:cxn ang="0">
                                    <a:pos x="84" y="24"/>
                                  </a:cxn>
                                  <a:cxn ang="0">
                                    <a:pos x="92" y="24"/>
                                  </a:cxn>
                                  <a:cxn ang="0">
                                    <a:pos x="94" y="22"/>
                                  </a:cxn>
                                  <a:cxn ang="0">
                                    <a:pos x="92" y="18"/>
                                  </a:cxn>
                                  <a:cxn ang="0">
                                    <a:pos x="94" y="12"/>
                                  </a:cxn>
                                  <a:cxn ang="0">
                                    <a:pos x="72" y="8"/>
                                  </a:cxn>
                                  <a:cxn ang="0">
                                    <a:pos x="60" y="2"/>
                                  </a:cxn>
                                  <a:cxn ang="0">
                                    <a:pos x="56" y="4"/>
                                  </a:cxn>
                                  <a:cxn ang="0">
                                    <a:pos x="48" y="4"/>
                                  </a:cxn>
                                  <a:cxn ang="0">
                                    <a:pos x="38" y="0"/>
                                  </a:cxn>
                                  <a:cxn ang="0">
                                    <a:pos x="30" y="0"/>
                                  </a:cxn>
                                  <a:cxn ang="0">
                                    <a:pos x="16" y="0"/>
                                  </a:cxn>
                                  <a:cxn ang="0">
                                    <a:pos x="6" y="6"/>
                                  </a:cxn>
                                  <a:cxn ang="0">
                                    <a:pos x="0" y="12"/>
                                  </a:cxn>
                                  <a:cxn ang="0">
                                    <a:pos x="2" y="20"/>
                                  </a:cxn>
                                  <a:cxn ang="0">
                                    <a:pos x="2" y="24"/>
                                  </a:cxn>
                                  <a:cxn ang="0">
                                    <a:pos x="6" y="26"/>
                                  </a:cxn>
                                  <a:cxn ang="0">
                                    <a:pos x="8" y="26"/>
                                  </a:cxn>
                                  <a:cxn ang="0">
                                    <a:pos x="22" y="24"/>
                                  </a:cxn>
                                  <a:cxn ang="0">
                                    <a:pos x="26" y="26"/>
                                  </a:cxn>
                                  <a:cxn ang="0">
                                    <a:pos x="28" y="30"/>
                                  </a:cxn>
                                  <a:cxn ang="0">
                                    <a:pos x="26" y="34"/>
                                  </a:cxn>
                                </a:cxnLst>
                                <a:rect l="0" t="0" r="r" b="b"/>
                                <a:pathLst>
                                  <a:path w="94" h="46">
                                    <a:moveTo>
                                      <a:pt x="26" y="34"/>
                                    </a:moveTo>
                                    <a:lnTo>
                                      <a:pt x="26" y="34"/>
                                    </a:lnTo>
                                    <a:lnTo>
                                      <a:pt x="30" y="34"/>
                                    </a:lnTo>
                                    <a:lnTo>
                                      <a:pt x="30" y="34"/>
                                    </a:lnTo>
                                    <a:lnTo>
                                      <a:pt x="32" y="36"/>
                                    </a:lnTo>
                                    <a:lnTo>
                                      <a:pt x="34" y="36"/>
                                    </a:lnTo>
                                    <a:lnTo>
                                      <a:pt x="34" y="36"/>
                                    </a:lnTo>
                                    <a:lnTo>
                                      <a:pt x="36" y="36"/>
                                    </a:lnTo>
                                    <a:lnTo>
                                      <a:pt x="38" y="38"/>
                                    </a:lnTo>
                                    <a:lnTo>
                                      <a:pt x="42" y="42"/>
                                    </a:lnTo>
                                    <a:lnTo>
                                      <a:pt x="42" y="42"/>
                                    </a:lnTo>
                                    <a:lnTo>
                                      <a:pt x="50" y="44"/>
                                    </a:lnTo>
                                    <a:lnTo>
                                      <a:pt x="54" y="46"/>
                                    </a:lnTo>
                                    <a:lnTo>
                                      <a:pt x="58" y="46"/>
                                    </a:lnTo>
                                    <a:lnTo>
                                      <a:pt x="64" y="44"/>
                                    </a:lnTo>
                                    <a:lnTo>
                                      <a:pt x="64" y="44"/>
                                    </a:lnTo>
                                    <a:lnTo>
                                      <a:pt x="68" y="44"/>
                                    </a:lnTo>
                                    <a:lnTo>
                                      <a:pt x="70" y="44"/>
                                    </a:lnTo>
                                    <a:lnTo>
                                      <a:pt x="72" y="44"/>
                                    </a:lnTo>
                                    <a:lnTo>
                                      <a:pt x="74" y="44"/>
                                    </a:lnTo>
                                    <a:lnTo>
                                      <a:pt x="74" y="44"/>
                                    </a:lnTo>
                                    <a:lnTo>
                                      <a:pt x="74" y="42"/>
                                    </a:lnTo>
                                    <a:lnTo>
                                      <a:pt x="72" y="40"/>
                                    </a:lnTo>
                                    <a:lnTo>
                                      <a:pt x="72" y="38"/>
                                    </a:lnTo>
                                    <a:lnTo>
                                      <a:pt x="72" y="34"/>
                                    </a:lnTo>
                                    <a:lnTo>
                                      <a:pt x="72" y="34"/>
                                    </a:lnTo>
                                    <a:lnTo>
                                      <a:pt x="74" y="30"/>
                                    </a:lnTo>
                                    <a:lnTo>
                                      <a:pt x="76" y="28"/>
                                    </a:lnTo>
                                    <a:lnTo>
                                      <a:pt x="78" y="28"/>
                                    </a:lnTo>
                                    <a:lnTo>
                                      <a:pt x="82" y="26"/>
                                    </a:lnTo>
                                    <a:lnTo>
                                      <a:pt x="82" y="26"/>
                                    </a:lnTo>
                                    <a:lnTo>
                                      <a:pt x="84" y="24"/>
                                    </a:lnTo>
                                    <a:lnTo>
                                      <a:pt x="88" y="24"/>
                                    </a:lnTo>
                                    <a:lnTo>
                                      <a:pt x="92" y="24"/>
                                    </a:lnTo>
                                    <a:lnTo>
                                      <a:pt x="94" y="22"/>
                                    </a:lnTo>
                                    <a:lnTo>
                                      <a:pt x="94" y="22"/>
                                    </a:lnTo>
                                    <a:lnTo>
                                      <a:pt x="94" y="18"/>
                                    </a:lnTo>
                                    <a:lnTo>
                                      <a:pt x="92" y="18"/>
                                    </a:lnTo>
                                    <a:lnTo>
                                      <a:pt x="92" y="16"/>
                                    </a:lnTo>
                                    <a:lnTo>
                                      <a:pt x="94" y="12"/>
                                    </a:lnTo>
                                    <a:lnTo>
                                      <a:pt x="94" y="12"/>
                                    </a:lnTo>
                                    <a:lnTo>
                                      <a:pt x="72" y="8"/>
                                    </a:lnTo>
                                    <a:lnTo>
                                      <a:pt x="64" y="6"/>
                                    </a:lnTo>
                                    <a:lnTo>
                                      <a:pt x="60" y="2"/>
                                    </a:lnTo>
                                    <a:lnTo>
                                      <a:pt x="56" y="4"/>
                                    </a:lnTo>
                                    <a:lnTo>
                                      <a:pt x="56" y="4"/>
                                    </a:lnTo>
                                    <a:lnTo>
                                      <a:pt x="52" y="4"/>
                                    </a:lnTo>
                                    <a:lnTo>
                                      <a:pt x="48" y="4"/>
                                    </a:lnTo>
                                    <a:lnTo>
                                      <a:pt x="44" y="2"/>
                                    </a:lnTo>
                                    <a:lnTo>
                                      <a:pt x="38" y="0"/>
                                    </a:lnTo>
                                    <a:lnTo>
                                      <a:pt x="38" y="0"/>
                                    </a:lnTo>
                                    <a:lnTo>
                                      <a:pt x="30" y="0"/>
                                    </a:lnTo>
                                    <a:lnTo>
                                      <a:pt x="22" y="0"/>
                                    </a:lnTo>
                                    <a:lnTo>
                                      <a:pt x="16" y="0"/>
                                    </a:lnTo>
                                    <a:lnTo>
                                      <a:pt x="10" y="2"/>
                                    </a:lnTo>
                                    <a:lnTo>
                                      <a:pt x="6" y="6"/>
                                    </a:lnTo>
                                    <a:lnTo>
                                      <a:pt x="0" y="12"/>
                                    </a:lnTo>
                                    <a:lnTo>
                                      <a:pt x="0" y="12"/>
                                    </a:lnTo>
                                    <a:lnTo>
                                      <a:pt x="0" y="18"/>
                                    </a:lnTo>
                                    <a:lnTo>
                                      <a:pt x="2" y="20"/>
                                    </a:lnTo>
                                    <a:lnTo>
                                      <a:pt x="2" y="22"/>
                                    </a:lnTo>
                                    <a:lnTo>
                                      <a:pt x="2" y="24"/>
                                    </a:lnTo>
                                    <a:lnTo>
                                      <a:pt x="2" y="24"/>
                                    </a:lnTo>
                                    <a:lnTo>
                                      <a:pt x="6" y="26"/>
                                    </a:lnTo>
                                    <a:lnTo>
                                      <a:pt x="8" y="26"/>
                                    </a:lnTo>
                                    <a:lnTo>
                                      <a:pt x="8" y="26"/>
                                    </a:lnTo>
                                    <a:lnTo>
                                      <a:pt x="16" y="26"/>
                                    </a:lnTo>
                                    <a:lnTo>
                                      <a:pt x="22" y="24"/>
                                    </a:lnTo>
                                    <a:lnTo>
                                      <a:pt x="26" y="26"/>
                                    </a:lnTo>
                                    <a:lnTo>
                                      <a:pt x="26" y="26"/>
                                    </a:lnTo>
                                    <a:lnTo>
                                      <a:pt x="28" y="28"/>
                                    </a:lnTo>
                                    <a:lnTo>
                                      <a:pt x="28" y="30"/>
                                    </a:lnTo>
                                    <a:lnTo>
                                      <a:pt x="26" y="34"/>
                                    </a:lnTo>
                                    <a:lnTo>
                                      <a:pt x="26" y="34"/>
                                    </a:lnTo>
                                    <a:close/>
                                  </a:path>
                                </a:pathLst>
                              </a:custGeom>
                              <a:solidFill>
                                <a:schemeClr val="accent3"/>
                              </a:solid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50" name="Group 49"/>
                              <p:cNvGrpSpPr/>
                              <p:nvPr/>
                            </p:nvGrpSpPr>
                            <p:grpSpPr>
                              <a:xfrm>
                                <a:off x="2857040" y="1614303"/>
                                <a:ext cx="7820530" cy="4979493"/>
                                <a:chOff x="2857040" y="1614303"/>
                                <a:chExt cx="7820530" cy="4979493"/>
                              </a:xfrm>
                            </p:grpSpPr>
                            <p:sp>
                              <p:nvSpPr>
                                <p:cNvPr id="463" name="Freeform 220"/>
                                <p:cNvSpPr>
                                  <a:spLocks/>
                                </p:cNvSpPr>
                                <p:nvPr/>
                              </p:nvSpPr>
                              <p:spPr bwMode="auto">
                                <a:xfrm>
                                  <a:off x="6340026" y="2115782"/>
                                  <a:ext cx="54678" cy="94080"/>
                                </a:xfrm>
                                <a:custGeom>
                                  <a:avLst/>
                                  <a:gdLst/>
                                  <a:ahLst/>
                                  <a:cxnLst>
                                    <a:cxn ang="0">
                                      <a:pos x="26" y="62"/>
                                    </a:cxn>
                                    <a:cxn ang="0">
                                      <a:pos x="18" y="56"/>
                                    </a:cxn>
                                    <a:cxn ang="0">
                                      <a:pos x="18" y="54"/>
                                    </a:cxn>
                                    <a:cxn ang="0">
                                      <a:pos x="14" y="52"/>
                                    </a:cxn>
                                    <a:cxn ang="0">
                                      <a:pos x="10" y="50"/>
                                    </a:cxn>
                                    <a:cxn ang="0">
                                      <a:pos x="8" y="44"/>
                                    </a:cxn>
                                    <a:cxn ang="0">
                                      <a:pos x="6" y="42"/>
                                    </a:cxn>
                                    <a:cxn ang="0">
                                      <a:pos x="8" y="42"/>
                                    </a:cxn>
                                    <a:cxn ang="0">
                                      <a:pos x="12" y="44"/>
                                    </a:cxn>
                                    <a:cxn ang="0">
                                      <a:pos x="12" y="42"/>
                                    </a:cxn>
                                    <a:cxn ang="0">
                                      <a:pos x="8" y="38"/>
                                    </a:cxn>
                                    <a:cxn ang="0">
                                      <a:pos x="6" y="36"/>
                                    </a:cxn>
                                    <a:cxn ang="0">
                                      <a:pos x="6" y="30"/>
                                    </a:cxn>
                                    <a:cxn ang="0">
                                      <a:pos x="6" y="30"/>
                                    </a:cxn>
                                    <a:cxn ang="0">
                                      <a:pos x="8" y="26"/>
                                    </a:cxn>
                                    <a:cxn ang="0">
                                      <a:pos x="8" y="26"/>
                                    </a:cxn>
                                    <a:cxn ang="0">
                                      <a:pos x="6" y="24"/>
                                    </a:cxn>
                                    <a:cxn ang="0">
                                      <a:pos x="6" y="20"/>
                                    </a:cxn>
                                    <a:cxn ang="0">
                                      <a:pos x="4" y="14"/>
                                    </a:cxn>
                                    <a:cxn ang="0">
                                      <a:pos x="2" y="12"/>
                                    </a:cxn>
                                    <a:cxn ang="0">
                                      <a:pos x="6" y="10"/>
                                    </a:cxn>
                                    <a:cxn ang="0">
                                      <a:pos x="4" y="10"/>
                                    </a:cxn>
                                    <a:cxn ang="0">
                                      <a:pos x="0" y="8"/>
                                    </a:cxn>
                                    <a:cxn ang="0">
                                      <a:pos x="2" y="6"/>
                                    </a:cxn>
                                    <a:cxn ang="0">
                                      <a:pos x="0" y="4"/>
                                    </a:cxn>
                                    <a:cxn ang="0">
                                      <a:pos x="0" y="2"/>
                                    </a:cxn>
                                    <a:cxn ang="0">
                                      <a:pos x="6" y="0"/>
                                    </a:cxn>
                                    <a:cxn ang="0">
                                      <a:pos x="12" y="0"/>
                                    </a:cxn>
                                    <a:cxn ang="0">
                                      <a:pos x="18" y="4"/>
                                    </a:cxn>
                                    <a:cxn ang="0">
                                      <a:pos x="20" y="10"/>
                                    </a:cxn>
                                    <a:cxn ang="0">
                                      <a:pos x="22" y="16"/>
                                    </a:cxn>
                                    <a:cxn ang="0">
                                      <a:pos x="24" y="18"/>
                                    </a:cxn>
                                    <a:cxn ang="0">
                                      <a:pos x="26" y="22"/>
                                    </a:cxn>
                                    <a:cxn ang="0">
                                      <a:pos x="32" y="26"/>
                                    </a:cxn>
                                    <a:cxn ang="0">
                                      <a:pos x="36" y="36"/>
                                    </a:cxn>
                                    <a:cxn ang="0">
                                      <a:pos x="36" y="40"/>
                                    </a:cxn>
                                    <a:cxn ang="0">
                                      <a:pos x="32" y="50"/>
                                    </a:cxn>
                                    <a:cxn ang="0">
                                      <a:pos x="30" y="56"/>
                                    </a:cxn>
                                    <a:cxn ang="0">
                                      <a:pos x="26" y="58"/>
                                    </a:cxn>
                                    <a:cxn ang="0">
                                      <a:pos x="26" y="60"/>
                                    </a:cxn>
                                    <a:cxn ang="0">
                                      <a:pos x="26" y="62"/>
                                    </a:cxn>
                                  </a:cxnLst>
                                  <a:rect l="0" t="0" r="r" b="b"/>
                                  <a:pathLst>
                                    <a:path w="36" h="62">
                                      <a:moveTo>
                                        <a:pt x="26" y="62"/>
                                      </a:moveTo>
                                      <a:lnTo>
                                        <a:pt x="26" y="62"/>
                                      </a:lnTo>
                                      <a:lnTo>
                                        <a:pt x="22" y="60"/>
                                      </a:lnTo>
                                      <a:lnTo>
                                        <a:pt x="18" y="56"/>
                                      </a:lnTo>
                                      <a:lnTo>
                                        <a:pt x="18" y="54"/>
                                      </a:lnTo>
                                      <a:lnTo>
                                        <a:pt x="18" y="54"/>
                                      </a:lnTo>
                                      <a:lnTo>
                                        <a:pt x="16" y="52"/>
                                      </a:lnTo>
                                      <a:lnTo>
                                        <a:pt x="14" y="52"/>
                                      </a:lnTo>
                                      <a:lnTo>
                                        <a:pt x="12" y="52"/>
                                      </a:lnTo>
                                      <a:lnTo>
                                        <a:pt x="10" y="50"/>
                                      </a:lnTo>
                                      <a:lnTo>
                                        <a:pt x="10" y="50"/>
                                      </a:lnTo>
                                      <a:lnTo>
                                        <a:pt x="8" y="44"/>
                                      </a:lnTo>
                                      <a:lnTo>
                                        <a:pt x="6" y="42"/>
                                      </a:lnTo>
                                      <a:lnTo>
                                        <a:pt x="6" y="42"/>
                                      </a:lnTo>
                                      <a:lnTo>
                                        <a:pt x="6" y="40"/>
                                      </a:lnTo>
                                      <a:lnTo>
                                        <a:pt x="8" y="42"/>
                                      </a:lnTo>
                                      <a:lnTo>
                                        <a:pt x="8" y="42"/>
                                      </a:lnTo>
                                      <a:lnTo>
                                        <a:pt x="12" y="44"/>
                                      </a:lnTo>
                                      <a:lnTo>
                                        <a:pt x="12" y="44"/>
                                      </a:lnTo>
                                      <a:lnTo>
                                        <a:pt x="12" y="42"/>
                                      </a:lnTo>
                                      <a:lnTo>
                                        <a:pt x="12" y="42"/>
                                      </a:lnTo>
                                      <a:lnTo>
                                        <a:pt x="8" y="38"/>
                                      </a:lnTo>
                                      <a:lnTo>
                                        <a:pt x="6" y="36"/>
                                      </a:lnTo>
                                      <a:lnTo>
                                        <a:pt x="6" y="36"/>
                                      </a:lnTo>
                                      <a:lnTo>
                                        <a:pt x="6" y="32"/>
                                      </a:lnTo>
                                      <a:lnTo>
                                        <a:pt x="6" y="30"/>
                                      </a:lnTo>
                                      <a:lnTo>
                                        <a:pt x="6" y="30"/>
                                      </a:lnTo>
                                      <a:lnTo>
                                        <a:pt x="6" y="30"/>
                                      </a:lnTo>
                                      <a:lnTo>
                                        <a:pt x="8" y="26"/>
                                      </a:lnTo>
                                      <a:lnTo>
                                        <a:pt x="8" y="26"/>
                                      </a:lnTo>
                                      <a:lnTo>
                                        <a:pt x="8" y="26"/>
                                      </a:lnTo>
                                      <a:lnTo>
                                        <a:pt x="8" y="26"/>
                                      </a:lnTo>
                                      <a:lnTo>
                                        <a:pt x="6" y="26"/>
                                      </a:lnTo>
                                      <a:lnTo>
                                        <a:pt x="6" y="24"/>
                                      </a:lnTo>
                                      <a:lnTo>
                                        <a:pt x="6" y="20"/>
                                      </a:lnTo>
                                      <a:lnTo>
                                        <a:pt x="6" y="20"/>
                                      </a:lnTo>
                                      <a:lnTo>
                                        <a:pt x="6" y="16"/>
                                      </a:lnTo>
                                      <a:lnTo>
                                        <a:pt x="4" y="14"/>
                                      </a:lnTo>
                                      <a:lnTo>
                                        <a:pt x="2" y="12"/>
                                      </a:lnTo>
                                      <a:lnTo>
                                        <a:pt x="2" y="12"/>
                                      </a:lnTo>
                                      <a:lnTo>
                                        <a:pt x="2" y="12"/>
                                      </a:lnTo>
                                      <a:lnTo>
                                        <a:pt x="6" y="10"/>
                                      </a:lnTo>
                                      <a:lnTo>
                                        <a:pt x="6" y="10"/>
                                      </a:lnTo>
                                      <a:lnTo>
                                        <a:pt x="4" y="10"/>
                                      </a:lnTo>
                                      <a:lnTo>
                                        <a:pt x="4" y="10"/>
                                      </a:lnTo>
                                      <a:lnTo>
                                        <a:pt x="0" y="8"/>
                                      </a:lnTo>
                                      <a:lnTo>
                                        <a:pt x="0" y="8"/>
                                      </a:lnTo>
                                      <a:lnTo>
                                        <a:pt x="2" y="6"/>
                                      </a:lnTo>
                                      <a:lnTo>
                                        <a:pt x="2" y="6"/>
                                      </a:lnTo>
                                      <a:lnTo>
                                        <a:pt x="0" y="4"/>
                                      </a:lnTo>
                                      <a:lnTo>
                                        <a:pt x="0" y="4"/>
                                      </a:lnTo>
                                      <a:lnTo>
                                        <a:pt x="0" y="2"/>
                                      </a:lnTo>
                                      <a:lnTo>
                                        <a:pt x="0" y="2"/>
                                      </a:lnTo>
                                      <a:lnTo>
                                        <a:pt x="6" y="0"/>
                                      </a:lnTo>
                                      <a:lnTo>
                                        <a:pt x="6" y="0"/>
                                      </a:lnTo>
                                      <a:lnTo>
                                        <a:pt x="12" y="0"/>
                                      </a:lnTo>
                                      <a:lnTo>
                                        <a:pt x="16" y="2"/>
                                      </a:lnTo>
                                      <a:lnTo>
                                        <a:pt x="18" y="4"/>
                                      </a:lnTo>
                                      <a:lnTo>
                                        <a:pt x="18" y="4"/>
                                      </a:lnTo>
                                      <a:lnTo>
                                        <a:pt x="20" y="10"/>
                                      </a:lnTo>
                                      <a:lnTo>
                                        <a:pt x="22" y="16"/>
                                      </a:lnTo>
                                      <a:lnTo>
                                        <a:pt x="22" y="16"/>
                                      </a:lnTo>
                                      <a:lnTo>
                                        <a:pt x="22" y="18"/>
                                      </a:lnTo>
                                      <a:lnTo>
                                        <a:pt x="24" y="18"/>
                                      </a:lnTo>
                                      <a:lnTo>
                                        <a:pt x="24" y="20"/>
                                      </a:lnTo>
                                      <a:lnTo>
                                        <a:pt x="26" y="22"/>
                                      </a:lnTo>
                                      <a:lnTo>
                                        <a:pt x="26" y="22"/>
                                      </a:lnTo>
                                      <a:lnTo>
                                        <a:pt x="32" y="26"/>
                                      </a:lnTo>
                                      <a:lnTo>
                                        <a:pt x="34" y="30"/>
                                      </a:lnTo>
                                      <a:lnTo>
                                        <a:pt x="36" y="36"/>
                                      </a:lnTo>
                                      <a:lnTo>
                                        <a:pt x="36" y="36"/>
                                      </a:lnTo>
                                      <a:lnTo>
                                        <a:pt x="36" y="40"/>
                                      </a:lnTo>
                                      <a:lnTo>
                                        <a:pt x="34" y="44"/>
                                      </a:lnTo>
                                      <a:lnTo>
                                        <a:pt x="32" y="50"/>
                                      </a:lnTo>
                                      <a:lnTo>
                                        <a:pt x="32" y="50"/>
                                      </a:lnTo>
                                      <a:lnTo>
                                        <a:pt x="30" y="56"/>
                                      </a:lnTo>
                                      <a:lnTo>
                                        <a:pt x="26" y="58"/>
                                      </a:lnTo>
                                      <a:lnTo>
                                        <a:pt x="26" y="58"/>
                                      </a:lnTo>
                                      <a:lnTo>
                                        <a:pt x="26" y="58"/>
                                      </a:lnTo>
                                      <a:lnTo>
                                        <a:pt x="26" y="60"/>
                                      </a:lnTo>
                                      <a:lnTo>
                                        <a:pt x="26" y="60"/>
                                      </a:lnTo>
                                      <a:lnTo>
                                        <a:pt x="26" y="62"/>
                                      </a:lnTo>
                                      <a:lnTo>
                                        <a:pt x="26" y="62"/>
                                      </a:lnTo>
                                      <a:close/>
                                    </a:path>
                                  </a:pathLst>
                                </a:custGeom>
                                <a:solidFill>
                                  <a:schemeClr val="accent3">
                                    <a:alpha val="99000"/>
                                  </a:schemeClr>
                                </a:solid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49" name="Group 48"/>
                                <p:cNvGrpSpPr/>
                                <p:nvPr/>
                              </p:nvGrpSpPr>
                              <p:grpSpPr>
                                <a:xfrm>
                                  <a:off x="2857040" y="1614303"/>
                                  <a:ext cx="7820530" cy="4979493"/>
                                  <a:chOff x="2857040" y="1614303"/>
                                  <a:chExt cx="7820530" cy="4979493"/>
                                </a:xfrm>
                              </p:grpSpPr>
                              <p:sp>
                                <p:nvSpPr>
                                  <p:cNvPr id="466" name="Freeform 242"/>
                                  <p:cNvSpPr>
                                    <a:spLocks/>
                                  </p:cNvSpPr>
                                  <p:nvPr/>
                                </p:nvSpPr>
                                <p:spPr bwMode="auto">
                                  <a:xfrm>
                                    <a:off x="6550665" y="2125593"/>
                                    <a:ext cx="91129" cy="63732"/>
                                  </a:xfrm>
                                  <a:custGeom>
                                    <a:avLst/>
                                    <a:gdLst/>
                                    <a:ahLst/>
                                    <a:cxnLst>
                                      <a:cxn ang="0">
                                        <a:pos x="0" y="28"/>
                                      </a:cxn>
                                      <a:cxn ang="0">
                                        <a:pos x="2" y="28"/>
                                      </a:cxn>
                                      <a:cxn ang="0">
                                        <a:pos x="6" y="30"/>
                                      </a:cxn>
                                      <a:cxn ang="0">
                                        <a:pos x="8" y="36"/>
                                      </a:cxn>
                                      <a:cxn ang="0">
                                        <a:pos x="10" y="36"/>
                                      </a:cxn>
                                      <a:cxn ang="0">
                                        <a:pos x="20" y="30"/>
                                      </a:cxn>
                                      <a:cxn ang="0">
                                        <a:pos x="24" y="30"/>
                                      </a:cxn>
                                      <a:cxn ang="0">
                                        <a:pos x="24" y="32"/>
                                      </a:cxn>
                                      <a:cxn ang="0">
                                        <a:pos x="22" y="32"/>
                                      </a:cxn>
                                      <a:cxn ang="0">
                                        <a:pos x="12" y="40"/>
                                      </a:cxn>
                                      <a:cxn ang="0">
                                        <a:pos x="10" y="42"/>
                                      </a:cxn>
                                      <a:cxn ang="0">
                                        <a:pos x="18" y="40"/>
                                      </a:cxn>
                                      <a:cxn ang="0">
                                        <a:pos x="30" y="32"/>
                                      </a:cxn>
                                      <a:cxn ang="0">
                                        <a:pos x="32" y="30"/>
                                      </a:cxn>
                                      <a:cxn ang="0">
                                        <a:pos x="34" y="28"/>
                                      </a:cxn>
                                      <a:cxn ang="0">
                                        <a:pos x="34" y="26"/>
                                      </a:cxn>
                                      <a:cxn ang="0">
                                        <a:pos x="38" y="24"/>
                                      </a:cxn>
                                      <a:cxn ang="0">
                                        <a:pos x="42" y="20"/>
                                      </a:cxn>
                                      <a:cxn ang="0">
                                        <a:pos x="44" y="22"/>
                                      </a:cxn>
                                      <a:cxn ang="0">
                                        <a:pos x="48" y="24"/>
                                      </a:cxn>
                                      <a:cxn ang="0">
                                        <a:pos x="50" y="22"/>
                                      </a:cxn>
                                      <a:cxn ang="0">
                                        <a:pos x="56" y="22"/>
                                      </a:cxn>
                                      <a:cxn ang="0">
                                        <a:pos x="60" y="18"/>
                                      </a:cxn>
                                      <a:cxn ang="0">
                                        <a:pos x="60" y="18"/>
                                      </a:cxn>
                                      <a:cxn ang="0">
                                        <a:pos x="52" y="14"/>
                                      </a:cxn>
                                      <a:cxn ang="0">
                                        <a:pos x="42" y="8"/>
                                      </a:cxn>
                                      <a:cxn ang="0">
                                        <a:pos x="36" y="2"/>
                                      </a:cxn>
                                      <a:cxn ang="0">
                                        <a:pos x="18" y="0"/>
                                      </a:cxn>
                                      <a:cxn ang="0">
                                        <a:pos x="16" y="0"/>
                                      </a:cxn>
                                      <a:cxn ang="0">
                                        <a:pos x="8" y="4"/>
                                      </a:cxn>
                                      <a:cxn ang="0">
                                        <a:pos x="4" y="4"/>
                                      </a:cxn>
                                      <a:cxn ang="0">
                                        <a:pos x="2" y="8"/>
                                      </a:cxn>
                                      <a:cxn ang="0">
                                        <a:pos x="6" y="10"/>
                                      </a:cxn>
                                      <a:cxn ang="0">
                                        <a:pos x="6" y="12"/>
                                      </a:cxn>
                                      <a:cxn ang="0">
                                        <a:pos x="4" y="16"/>
                                      </a:cxn>
                                      <a:cxn ang="0">
                                        <a:pos x="0" y="18"/>
                                      </a:cxn>
                                      <a:cxn ang="0">
                                        <a:pos x="2" y="22"/>
                                      </a:cxn>
                                      <a:cxn ang="0">
                                        <a:pos x="0" y="28"/>
                                      </a:cxn>
                                    </a:cxnLst>
                                    <a:rect l="0" t="0" r="r" b="b"/>
                                    <a:pathLst>
                                      <a:path w="60" h="42">
                                        <a:moveTo>
                                          <a:pt x="0" y="28"/>
                                        </a:moveTo>
                                        <a:lnTo>
                                          <a:pt x="0" y="28"/>
                                        </a:lnTo>
                                        <a:lnTo>
                                          <a:pt x="0" y="28"/>
                                        </a:lnTo>
                                        <a:lnTo>
                                          <a:pt x="2" y="28"/>
                                        </a:lnTo>
                                        <a:lnTo>
                                          <a:pt x="6" y="30"/>
                                        </a:lnTo>
                                        <a:lnTo>
                                          <a:pt x="6" y="30"/>
                                        </a:lnTo>
                                        <a:lnTo>
                                          <a:pt x="6" y="34"/>
                                        </a:lnTo>
                                        <a:lnTo>
                                          <a:pt x="8" y="36"/>
                                        </a:lnTo>
                                        <a:lnTo>
                                          <a:pt x="10" y="36"/>
                                        </a:lnTo>
                                        <a:lnTo>
                                          <a:pt x="10" y="36"/>
                                        </a:lnTo>
                                        <a:lnTo>
                                          <a:pt x="14" y="34"/>
                                        </a:lnTo>
                                        <a:lnTo>
                                          <a:pt x="20" y="30"/>
                                        </a:lnTo>
                                        <a:lnTo>
                                          <a:pt x="20" y="30"/>
                                        </a:lnTo>
                                        <a:lnTo>
                                          <a:pt x="24" y="30"/>
                                        </a:lnTo>
                                        <a:lnTo>
                                          <a:pt x="24" y="30"/>
                                        </a:lnTo>
                                        <a:lnTo>
                                          <a:pt x="24" y="32"/>
                                        </a:lnTo>
                                        <a:lnTo>
                                          <a:pt x="22" y="32"/>
                                        </a:lnTo>
                                        <a:lnTo>
                                          <a:pt x="22" y="32"/>
                                        </a:lnTo>
                                        <a:lnTo>
                                          <a:pt x="16" y="34"/>
                                        </a:lnTo>
                                        <a:lnTo>
                                          <a:pt x="12" y="40"/>
                                        </a:lnTo>
                                        <a:lnTo>
                                          <a:pt x="12" y="40"/>
                                        </a:lnTo>
                                        <a:lnTo>
                                          <a:pt x="10" y="42"/>
                                        </a:lnTo>
                                        <a:lnTo>
                                          <a:pt x="12" y="42"/>
                                        </a:lnTo>
                                        <a:lnTo>
                                          <a:pt x="18" y="40"/>
                                        </a:lnTo>
                                        <a:lnTo>
                                          <a:pt x="18" y="40"/>
                                        </a:lnTo>
                                        <a:lnTo>
                                          <a:pt x="30" y="32"/>
                                        </a:lnTo>
                                        <a:lnTo>
                                          <a:pt x="30" y="32"/>
                                        </a:lnTo>
                                        <a:lnTo>
                                          <a:pt x="32" y="30"/>
                                        </a:lnTo>
                                        <a:lnTo>
                                          <a:pt x="32" y="28"/>
                                        </a:lnTo>
                                        <a:lnTo>
                                          <a:pt x="34" y="28"/>
                                        </a:lnTo>
                                        <a:lnTo>
                                          <a:pt x="34" y="26"/>
                                        </a:lnTo>
                                        <a:lnTo>
                                          <a:pt x="34" y="26"/>
                                        </a:lnTo>
                                        <a:lnTo>
                                          <a:pt x="36" y="26"/>
                                        </a:lnTo>
                                        <a:lnTo>
                                          <a:pt x="38" y="24"/>
                                        </a:lnTo>
                                        <a:lnTo>
                                          <a:pt x="38" y="22"/>
                                        </a:lnTo>
                                        <a:lnTo>
                                          <a:pt x="42" y="20"/>
                                        </a:lnTo>
                                        <a:lnTo>
                                          <a:pt x="42" y="20"/>
                                        </a:lnTo>
                                        <a:lnTo>
                                          <a:pt x="44" y="22"/>
                                        </a:lnTo>
                                        <a:lnTo>
                                          <a:pt x="46" y="22"/>
                                        </a:lnTo>
                                        <a:lnTo>
                                          <a:pt x="48" y="24"/>
                                        </a:lnTo>
                                        <a:lnTo>
                                          <a:pt x="50" y="22"/>
                                        </a:lnTo>
                                        <a:lnTo>
                                          <a:pt x="50" y="22"/>
                                        </a:lnTo>
                                        <a:lnTo>
                                          <a:pt x="52" y="22"/>
                                        </a:lnTo>
                                        <a:lnTo>
                                          <a:pt x="56" y="22"/>
                                        </a:lnTo>
                                        <a:lnTo>
                                          <a:pt x="58" y="22"/>
                                        </a:lnTo>
                                        <a:lnTo>
                                          <a:pt x="60" y="18"/>
                                        </a:lnTo>
                                        <a:lnTo>
                                          <a:pt x="60" y="18"/>
                                        </a:lnTo>
                                        <a:lnTo>
                                          <a:pt x="60" y="18"/>
                                        </a:lnTo>
                                        <a:lnTo>
                                          <a:pt x="58" y="18"/>
                                        </a:lnTo>
                                        <a:lnTo>
                                          <a:pt x="52" y="14"/>
                                        </a:lnTo>
                                        <a:lnTo>
                                          <a:pt x="52" y="14"/>
                                        </a:lnTo>
                                        <a:lnTo>
                                          <a:pt x="42" y="8"/>
                                        </a:lnTo>
                                        <a:lnTo>
                                          <a:pt x="36" y="2"/>
                                        </a:lnTo>
                                        <a:lnTo>
                                          <a:pt x="36" y="2"/>
                                        </a:lnTo>
                                        <a:lnTo>
                                          <a:pt x="26" y="2"/>
                                        </a:lnTo>
                                        <a:lnTo>
                                          <a:pt x="18" y="0"/>
                                        </a:lnTo>
                                        <a:lnTo>
                                          <a:pt x="18" y="0"/>
                                        </a:lnTo>
                                        <a:lnTo>
                                          <a:pt x="16" y="0"/>
                                        </a:lnTo>
                                        <a:lnTo>
                                          <a:pt x="12" y="0"/>
                                        </a:lnTo>
                                        <a:lnTo>
                                          <a:pt x="8" y="4"/>
                                        </a:lnTo>
                                        <a:lnTo>
                                          <a:pt x="8" y="4"/>
                                        </a:lnTo>
                                        <a:lnTo>
                                          <a:pt x="4" y="4"/>
                                        </a:lnTo>
                                        <a:lnTo>
                                          <a:pt x="2" y="8"/>
                                        </a:lnTo>
                                        <a:lnTo>
                                          <a:pt x="2" y="8"/>
                                        </a:lnTo>
                                        <a:lnTo>
                                          <a:pt x="6" y="10"/>
                                        </a:lnTo>
                                        <a:lnTo>
                                          <a:pt x="6" y="10"/>
                                        </a:lnTo>
                                        <a:lnTo>
                                          <a:pt x="6" y="12"/>
                                        </a:lnTo>
                                        <a:lnTo>
                                          <a:pt x="6" y="12"/>
                                        </a:lnTo>
                                        <a:lnTo>
                                          <a:pt x="4" y="14"/>
                                        </a:lnTo>
                                        <a:lnTo>
                                          <a:pt x="4" y="16"/>
                                        </a:lnTo>
                                        <a:lnTo>
                                          <a:pt x="2" y="16"/>
                                        </a:lnTo>
                                        <a:lnTo>
                                          <a:pt x="0" y="18"/>
                                        </a:lnTo>
                                        <a:lnTo>
                                          <a:pt x="0" y="18"/>
                                        </a:lnTo>
                                        <a:lnTo>
                                          <a:pt x="2" y="22"/>
                                        </a:lnTo>
                                        <a:lnTo>
                                          <a:pt x="2" y="24"/>
                                        </a:lnTo>
                                        <a:lnTo>
                                          <a:pt x="0" y="28"/>
                                        </a:lnTo>
                                        <a:lnTo>
                                          <a:pt x="0" y="28"/>
                                        </a:lnTo>
                                        <a:close/>
                                      </a:path>
                                    </a:pathLst>
                                  </a:custGeom>
                                  <a:solidFill>
                                    <a:schemeClr val="accent3">
                                      <a:alpha val="99000"/>
                                    </a:schemeClr>
                                  </a:solid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48" name="Group 47"/>
                                  <p:cNvGrpSpPr/>
                                  <p:nvPr/>
                                </p:nvGrpSpPr>
                                <p:grpSpPr>
                                  <a:xfrm>
                                    <a:off x="2857040" y="1614303"/>
                                    <a:ext cx="7820530" cy="4979493"/>
                                    <a:chOff x="2857040" y="1614303"/>
                                    <a:chExt cx="7820530" cy="4979493"/>
                                  </a:xfrm>
                                </p:grpSpPr>
                                <p:sp>
                                  <p:nvSpPr>
                                    <p:cNvPr id="457" name="Freeform 204"/>
                                    <p:cNvSpPr>
                                      <a:spLocks/>
                                    </p:cNvSpPr>
                                    <p:nvPr/>
                                  </p:nvSpPr>
                                  <p:spPr bwMode="auto">
                                    <a:xfrm>
                                      <a:off x="7099589" y="2126333"/>
                                      <a:ext cx="154920" cy="124428"/>
                                    </a:xfrm>
                                    <a:custGeom>
                                      <a:avLst/>
                                      <a:gdLst/>
                                      <a:ahLst/>
                                      <a:cxnLst>
                                        <a:cxn ang="0">
                                          <a:pos x="46" y="56"/>
                                        </a:cxn>
                                        <a:cxn ang="0">
                                          <a:pos x="58" y="48"/>
                                        </a:cxn>
                                        <a:cxn ang="0">
                                          <a:pos x="60" y="50"/>
                                        </a:cxn>
                                        <a:cxn ang="0">
                                          <a:pos x="66" y="56"/>
                                        </a:cxn>
                                        <a:cxn ang="0">
                                          <a:pos x="64" y="58"/>
                                        </a:cxn>
                                        <a:cxn ang="0">
                                          <a:pos x="68" y="64"/>
                                        </a:cxn>
                                        <a:cxn ang="0">
                                          <a:pos x="62" y="70"/>
                                        </a:cxn>
                                        <a:cxn ang="0">
                                          <a:pos x="72" y="76"/>
                                        </a:cxn>
                                        <a:cxn ang="0">
                                          <a:pos x="82" y="82"/>
                                        </a:cxn>
                                        <a:cxn ang="0">
                                          <a:pos x="88" y="80"/>
                                        </a:cxn>
                                        <a:cxn ang="0">
                                          <a:pos x="82" y="66"/>
                                        </a:cxn>
                                        <a:cxn ang="0">
                                          <a:pos x="84" y="60"/>
                                        </a:cxn>
                                        <a:cxn ang="0">
                                          <a:pos x="86" y="64"/>
                                        </a:cxn>
                                        <a:cxn ang="0">
                                          <a:pos x="90" y="66"/>
                                        </a:cxn>
                                        <a:cxn ang="0">
                                          <a:pos x="90" y="64"/>
                                        </a:cxn>
                                        <a:cxn ang="0">
                                          <a:pos x="88" y="58"/>
                                        </a:cxn>
                                        <a:cxn ang="0">
                                          <a:pos x="90" y="54"/>
                                        </a:cxn>
                                        <a:cxn ang="0">
                                          <a:pos x="90" y="48"/>
                                        </a:cxn>
                                        <a:cxn ang="0">
                                          <a:pos x="92" y="40"/>
                                        </a:cxn>
                                        <a:cxn ang="0">
                                          <a:pos x="94" y="40"/>
                                        </a:cxn>
                                        <a:cxn ang="0">
                                          <a:pos x="102" y="40"/>
                                        </a:cxn>
                                        <a:cxn ang="0">
                                          <a:pos x="102" y="38"/>
                                        </a:cxn>
                                        <a:cxn ang="0">
                                          <a:pos x="96" y="30"/>
                                        </a:cxn>
                                        <a:cxn ang="0">
                                          <a:pos x="94" y="30"/>
                                        </a:cxn>
                                        <a:cxn ang="0">
                                          <a:pos x="90" y="30"/>
                                        </a:cxn>
                                        <a:cxn ang="0">
                                          <a:pos x="80" y="24"/>
                                        </a:cxn>
                                        <a:cxn ang="0">
                                          <a:pos x="70" y="12"/>
                                        </a:cxn>
                                        <a:cxn ang="0">
                                          <a:pos x="58" y="0"/>
                                        </a:cxn>
                                        <a:cxn ang="0">
                                          <a:pos x="52" y="4"/>
                                        </a:cxn>
                                        <a:cxn ang="0">
                                          <a:pos x="36" y="8"/>
                                        </a:cxn>
                                        <a:cxn ang="0">
                                          <a:pos x="22" y="2"/>
                                        </a:cxn>
                                        <a:cxn ang="0">
                                          <a:pos x="26" y="14"/>
                                        </a:cxn>
                                        <a:cxn ang="0">
                                          <a:pos x="26" y="16"/>
                                        </a:cxn>
                                        <a:cxn ang="0">
                                          <a:pos x="16" y="14"/>
                                        </a:cxn>
                                        <a:cxn ang="0">
                                          <a:pos x="0" y="14"/>
                                        </a:cxn>
                                        <a:cxn ang="0">
                                          <a:pos x="6" y="16"/>
                                        </a:cxn>
                                        <a:cxn ang="0">
                                          <a:pos x="12" y="20"/>
                                        </a:cxn>
                                        <a:cxn ang="0">
                                          <a:pos x="16" y="26"/>
                                        </a:cxn>
                                        <a:cxn ang="0">
                                          <a:pos x="18" y="32"/>
                                        </a:cxn>
                                        <a:cxn ang="0">
                                          <a:pos x="22" y="34"/>
                                        </a:cxn>
                                        <a:cxn ang="0">
                                          <a:pos x="24" y="38"/>
                                        </a:cxn>
                                        <a:cxn ang="0">
                                          <a:pos x="28" y="46"/>
                                        </a:cxn>
                                        <a:cxn ang="0">
                                          <a:pos x="42" y="52"/>
                                        </a:cxn>
                                        <a:cxn ang="0">
                                          <a:pos x="46" y="56"/>
                                        </a:cxn>
                                      </a:cxnLst>
                                      <a:rect l="0" t="0" r="r" b="b"/>
                                      <a:pathLst>
                                        <a:path w="102" h="82">
                                          <a:moveTo>
                                            <a:pt x="46" y="56"/>
                                          </a:moveTo>
                                          <a:lnTo>
                                            <a:pt x="46" y="56"/>
                                          </a:lnTo>
                                          <a:lnTo>
                                            <a:pt x="56" y="48"/>
                                          </a:lnTo>
                                          <a:lnTo>
                                            <a:pt x="58" y="48"/>
                                          </a:lnTo>
                                          <a:lnTo>
                                            <a:pt x="60" y="50"/>
                                          </a:lnTo>
                                          <a:lnTo>
                                            <a:pt x="60" y="50"/>
                                          </a:lnTo>
                                          <a:lnTo>
                                            <a:pt x="66" y="54"/>
                                          </a:lnTo>
                                          <a:lnTo>
                                            <a:pt x="66" y="56"/>
                                          </a:lnTo>
                                          <a:lnTo>
                                            <a:pt x="64" y="58"/>
                                          </a:lnTo>
                                          <a:lnTo>
                                            <a:pt x="64" y="58"/>
                                          </a:lnTo>
                                          <a:lnTo>
                                            <a:pt x="68" y="60"/>
                                          </a:lnTo>
                                          <a:lnTo>
                                            <a:pt x="68" y="64"/>
                                          </a:lnTo>
                                          <a:lnTo>
                                            <a:pt x="66" y="68"/>
                                          </a:lnTo>
                                          <a:lnTo>
                                            <a:pt x="62" y="70"/>
                                          </a:lnTo>
                                          <a:lnTo>
                                            <a:pt x="62" y="70"/>
                                          </a:lnTo>
                                          <a:lnTo>
                                            <a:pt x="72" y="76"/>
                                          </a:lnTo>
                                          <a:lnTo>
                                            <a:pt x="78" y="80"/>
                                          </a:lnTo>
                                          <a:lnTo>
                                            <a:pt x="82" y="82"/>
                                          </a:lnTo>
                                          <a:lnTo>
                                            <a:pt x="88" y="80"/>
                                          </a:lnTo>
                                          <a:lnTo>
                                            <a:pt x="88" y="80"/>
                                          </a:lnTo>
                                          <a:lnTo>
                                            <a:pt x="84" y="70"/>
                                          </a:lnTo>
                                          <a:lnTo>
                                            <a:pt x="82" y="66"/>
                                          </a:lnTo>
                                          <a:lnTo>
                                            <a:pt x="82" y="62"/>
                                          </a:lnTo>
                                          <a:lnTo>
                                            <a:pt x="84" y="60"/>
                                          </a:lnTo>
                                          <a:lnTo>
                                            <a:pt x="84" y="60"/>
                                          </a:lnTo>
                                          <a:lnTo>
                                            <a:pt x="86" y="64"/>
                                          </a:lnTo>
                                          <a:lnTo>
                                            <a:pt x="88" y="66"/>
                                          </a:lnTo>
                                          <a:lnTo>
                                            <a:pt x="90" y="66"/>
                                          </a:lnTo>
                                          <a:lnTo>
                                            <a:pt x="90" y="66"/>
                                          </a:lnTo>
                                          <a:lnTo>
                                            <a:pt x="90" y="64"/>
                                          </a:lnTo>
                                          <a:lnTo>
                                            <a:pt x="88" y="60"/>
                                          </a:lnTo>
                                          <a:lnTo>
                                            <a:pt x="88" y="58"/>
                                          </a:lnTo>
                                          <a:lnTo>
                                            <a:pt x="90" y="54"/>
                                          </a:lnTo>
                                          <a:lnTo>
                                            <a:pt x="90" y="54"/>
                                          </a:lnTo>
                                          <a:lnTo>
                                            <a:pt x="90" y="50"/>
                                          </a:lnTo>
                                          <a:lnTo>
                                            <a:pt x="90" y="48"/>
                                          </a:lnTo>
                                          <a:lnTo>
                                            <a:pt x="90" y="44"/>
                                          </a:lnTo>
                                          <a:lnTo>
                                            <a:pt x="92" y="40"/>
                                          </a:lnTo>
                                          <a:lnTo>
                                            <a:pt x="92" y="40"/>
                                          </a:lnTo>
                                          <a:lnTo>
                                            <a:pt x="94" y="40"/>
                                          </a:lnTo>
                                          <a:lnTo>
                                            <a:pt x="98" y="40"/>
                                          </a:lnTo>
                                          <a:lnTo>
                                            <a:pt x="102" y="40"/>
                                          </a:lnTo>
                                          <a:lnTo>
                                            <a:pt x="102" y="40"/>
                                          </a:lnTo>
                                          <a:lnTo>
                                            <a:pt x="102" y="38"/>
                                          </a:lnTo>
                                          <a:lnTo>
                                            <a:pt x="100" y="34"/>
                                          </a:lnTo>
                                          <a:lnTo>
                                            <a:pt x="96" y="30"/>
                                          </a:lnTo>
                                          <a:lnTo>
                                            <a:pt x="94" y="30"/>
                                          </a:lnTo>
                                          <a:lnTo>
                                            <a:pt x="94" y="30"/>
                                          </a:lnTo>
                                          <a:lnTo>
                                            <a:pt x="92" y="32"/>
                                          </a:lnTo>
                                          <a:lnTo>
                                            <a:pt x="90" y="30"/>
                                          </a:lnTo>
                                          <a:lnTo>
                                            <a:pt x="80" y="24"/>
                                          </a:lnTo>
                                          <a:lnTo>
                                            <a:pt x="80" y="24"/>
                                          </a:lnTo>
                                          <a:lnTo>
                                            <a:pt x="76" y="18"/>
                                          </a:lnTo>
                                          <a:lnTo>
                                            <a:pt x="70" y="12"/>
                                          </a:lnTo>
                                          <a:lnTo>
                                            <a:pt x="66" y="6"/>
                                          </a:lnTo>
                                          <a:lnTo>
                                            <a:pt x="58" y="0"/>
                                          </a:lnTo>
                                          <a:lnTo>
                                            <a:pt x="58" y="0"/>
                                          </a:lnTo>
                                          <a:lnTo>
                                            <a:pt x="52" y="4"/>
                                          </a:lnTo>
                                          <a:lnTo>
                                            <a:pt x="44" y="8"/>
                                          </a:lnTo>
                                          <a:lnTo>
                                            <a:pt x="36" y="8"/>
                                          </a:lnTo>
                                          <a:lnTo>
                                            <a:pt x="22" y="2"/>
                                          </a:lnTo>
                                          <a:lnTo>
                                            <a:pt x="22" y="2"/>
                                          </a:lnTo>
                                          <a:lnTo>
                                            <a:pt x="24" y="10"/>
                                          </a:lnTo>
                                          <a:lnTo>
                                            <a:pt x="26" y="14"/>
                                          </a:lnTo>
                                          <a:lnTo>
                                            <a:pt x="26" y="16"/>
                                          </a:lnTo>
                                          <a:lnTo>
                                            <a:pt x="26" y="16"/>
                                          </a:lnTo>
                                          <a:lnTo>
                                            <a:pt x="20" y="16"/>
                                          </a:lnTo>
                                          <a:lnTo>
                                            <a:pt x="16" y="14"/>
                                          </a:lnTo>
                                          <a:lnTo>
                                            <a:pt x="10" y="14"/>
                                          </a:lnTo>
                                          <a:lnTo>
                                            <a:pt x="0" y="14"/>
                                          </a:lnTo>
                                          <a:lnTo>
                                            <a:pt x="0" y="14"/>
                                          </a:lnTo>
                                          <a:lnTo>
                                            <a:pt x="6" y="16"/>
                                          </a:lnTo>
                                          <a:lnTo>
                                            <a:pt x="12" y="20"/>
                                          </a:lnTo>
                                          <a:lnTo>
                                            <a:pt x="12" y="20"/>
                                          </a:lnTo>
                                          <a:lnTo>
                                            <a:pt x="16" y="22"/>
                                          </a:lnTo>
                                          <a:lnTo>
                                            <a:pt x="16" y="26"/>
                                          </a:lnTo>
                                          <a:lnTo>
                                            <a:pt x="16" y="26"/>
                                          </a:lnTo>
                                          <a:lnTo>
                                            <a:pt x="18" y="32"/>
                                          </a:lnTo>
                                          <a:lnTo>
                                            <a:pt x="20" y="32"/>
                                          </a:lnTo>
                                          <a:lnTo>
                                            <a:pt x="22" y="34"/>
                                          </a:lnTo>
                                          <a:lnTo>
                                            <a:pt x="24" y="38"/>
                                          </a:lnTo>
                                          <a:lnTo>
                                            <a:pt x="24" y="38"/>
                                          </a:lnTo>
                                          <a:lnTo>
                                            <a:pt x="24" y="44"/>
                                          </a:lnTo>
                                          <a:lnTo>
                                            <a:pt x="28" y="46"/>
                                          </a:lnTo>
                                          <a:lnTo>
                                            <a:pt x="34" y="50"/>
                                          </a:lnTo>
                                          <a:lnTo>
                                            <a:pt x="42" y="52"/>
                                          </a:lnTo>
                                          <a:lnTo>
                                            <a:pt x="44" y="54"/>
                                          </a:lnTo>
                                          <a:lnTo>
                                            <a:pt x="46" y="56"/>
                                          </a:lnTo>
                                          <a:lnTo>
                                            <a:pt x="46" y="56"/>
                                          </a:lnTo>
                                          <a:close/>
                                        </a:path>
                                      </a:pathLst>
                                    </a:custGeom>
                                    <a:solidFill>
                                      <a:schemeClr val="accent3">
                                        <a:alpha val="99000"/>
                                      </a:schemeClr>
                                    </a:solid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8" name="Freeform 237"/>
                                    <p:cNvSpPr>
                                      <a:spLocks/>
                                    </p:cNvSpPr>
                                    <p:nvPr/>
                                  </p:nvSpPr>
                                  <p:spPr bwMode="auto">
                                    <a:xfrm>
                                      <a:off x="6905180" y="2059566"/>
                                      <a:ext cx="233898" cy="91045"/>
                                    </a:xfrm>
                                    <a:custGeom>
                                      <a:avLst/>
                                      <a:gdLst/>
                                      <a:ahLst/>
                                      <a:cxnLst>
                                        <a:cxn ang="0">
                                          <a:pos x="0" y="2"/>
                                        </a:cxn>
                                        <a:cxn ang="0">
                                          <a:pos x="10" y="6"/>
                                        </a:cxn>
                                        <a:cxn ang="0">
                                          <a:pos x="28" y="16"/>
                                        </a:cxn>
                                        <a:cxn ang="0">
                                          <a:pos x="36" y="20"/>
                                        </a:cxn>
                                        <a:cxn ang="0">
                                          <a:pos x="44" y="22"/>
                                        </a:cxn>
                                        <a:cxn ang="0">
                                          <a:pos x="46" y="26"/>
                                        </a:cxn>
                                        <a:cxn ang="0">
                                          <a:pos x="50" y="30"/>
                                        </a:cxn>
                                        <a:cxn ang="0">
                                          <a:pos x="54" y="38"/>
                                        </a:cxn>
                                        <a:cxn ang="0">
                                          <a:pos x="54" y="48"/>
                                        </a:cxn>
                                        <a:cxn ang="0">
                                          <a:pos x="62" y="48"/>
                                        </a:cxn>
                                        <a:cxn ang="0">
                                          <a:pos x="78" y="52"/>
                                        </a:cxn>
                                        <a:cxn ang="0">
                                          <a:pos x="88" y="50"/>
                                        </a:cxn>
                                        <a:cxn ang="0">
                                          <a:pos x="92" y="50"/>
                                        </a:cxn>
                                        <a:cxn ang="0">
                                          <a:pos x="90" y="56"/>
                                        </a:cxn>
                                        <a:cxn ang="0">
                                          <a:pos x="94" y="60"/>
                                        </a:cxn>
                                        <a:cxn ang="0">
                                          <a:pos x="100" y="60"/>
                                        </a:cxn>
                                        <a:cxn ang="0">
                                          <a:pos x="128" y="58"/>
                                        </a:cxn>
                                        <a:cxn ang="0">
                                          <a:pos x="138" y="58"/>
                                        </a:cxn>
                                        <a:cxn ang="0">
                                          <a:pos x="148" y="60"/>
                                        </a:cxn>
                                        <a:cxn ang="0">
                                          <a:pos x="154" y="60"/>
                                        </a:cxn>
                                        <a:cxn ang="0">
                                          <a:pos x="152" y="54"/>
                                        </a:cxn>
                                        <a:cxn ang="0">
                                          <a:pos x="150" y="46"/>
                                        </a:cxn>
                                        <a:cxn ang="0">
                                          <a:pos x="128" y="32"/>
                                        </a:cxn>
                                        <a:cxn ang="0">
                                          <a:pos x="116" y="24"/>
                                        </a:cxn>
                                        <a:cxn ang="0">
                                          <a:pos x="108" y="22"/>
                                        </a:cxn>
                                        <a:cxn ang="0">
                                          <a:pos x="94" y="24"/>
                                        </a:cxn>
                                        <a:cxn ang="0">
                                          <a:pos x="78" y="18"/>
                                        </a:cxn>
                                        <a:cxn ang="0">
                                          <a:pos x="72" y="14"/>
                                        </a:cxn>
                                        <a:cxn ang="0">
                                          <a:pos x="54" y="10"/>
                                        </a:cxn>
                                        <a:cxn ang="0">
                                          <a:pos x="24" y="4"/>
                                        </a:cxn>
                                        <a:cxn ang="0">
                                          <a:pos x="14" y="0"/>
                                        </a:cxn>
                                        <a:cxn ang="0">
                                          <a:pos x="2" y="2"/>
                                        </a:cxn>
                                        <a:cxn ang="0">
                                          <a:pos x="0" y="2"/>
                                        </a:cxn>
                                      </a:cxnLst>
                                      <a:rect l="0" t="0" r="r" b="b"/>
                                      <a:pathLst>
                                        <a:path w="154" h="60">
                                          <a:moveTo>
                                            <a:pt x="0" y="2"/>
                                          </a:moveTo>
                                          <a:lnTo>
                                            <a:pt x="0" y="2"/>
                                          </a:lnTo>
                                          <a:lnTo>
                                            <a:pt x="6" y="6"/>
                                          </a:lnTo>
                                          <a:lnTo>
                                            <a:pt x="10" y="6"/>
                                          </a:lnTo>
                                          <a:lnTo>
                                            <a:pt x="16" y="8"/>
                                          </a:lnTo>
                                          <a:lnTo>
                                            <a:pt x="28" y="16"/>
                                          </a:lnTo>
                                          <a:lnTo>
                                            <a:pt x="28" y="16"/>
                                          </a:lnTo>
                                          <a:lnTo>
                                            <a:pt x="36" y="20"/>
                                          </a:lnTo>
                                          <a:lnTo>
                                            <a:pt x="40" y="20"/>
                                          </a:lnTo>
                                          <a:lnTo>
                                            <a:pt x="44" y="22"/>
                                          </a:lnTo>
                                          <a:lnTo>
                                            <a:pt x="46" y="26"/>
                                          </a:lnTo>
                                          <a:lnTo>
                                            <a:pt x="46" y="26"/>
                                          </a:lnTo>
                                          <a:lnTo>
                                            <a:pt x="48" y="28"/>
                                          </a:lnTo>
                                          <a:lnTo>
                                            <a:pt x="50" y="30"/>
                                          </a:lnTo>
                                          <a:lnTo>
                                            <a:pt x="52" y="32"/>
                                          </a:lnTo>
                                          <a:lnTo>
                                            <a:pt x="54" y="38"/>
                                          </a:lnTo>
                                          <a:lnTo>
                                            <a:pt x="54" y="38"/>
                                          </a:lnTo>
                                          <a:lnTo>
                                            <a:pt x="54" y="48"/>
                                          </a:lnTo>
                                          <a:lnTo>
                                            <a:pt x="54" y="48"/>
                                          </a:lnTo>
                                          <a:lnTo>
                                            <a:pt x="62" y="48"/>
                                          </a:lnTo>
                                          <a:lnTo>
                                            <a:pt x="68" y="50"/>
                                          </a:lnTo>
                                          <a:lnTo>
                                            <a:pt x="78" y="52"/>
                                          </a:lnTo>
                                          <a:lnTo>
                                            <a:pt x="88" y="50"/>
                                          </a:lnTo>
                                          <a:lnTo>
                                            <a:pt x="88" y="50"/>
                                          </a:lnTo>
                                          <a:lnTo>
                                            <a:pt x="92" y="48"/>
                                          </a:lnTo>
                                          <a:lnTo>
                                            <a:pt x="92" y="50"/>
                                          </a:lnTo>
                                          <a:lnTo>
                                            <a:pt x="92" y="52"/>
                                          </a:lnTo>
                                          <a:lnTo>
                                            <a:pt x="90" y="56"/>
                                          </a:lnTo>
                                          <a:lnTo>
                                            <a:pt x="92" y="58"/>
                                          </a:lnTo>
                                          <a:lnTo>
                                            <a:pt x="94" y="60"/>
                                          </a:lnTo>
                                          <a:lnTo>
                                            <a:pt x="100" y="60"/>
                                          </a:lnTo>
                                          <a:lnTo>
                                            <a:pt x="100" y="60"/>
                                          </a:lnTo>
                                          <a:lnTo>
                                            <a:pt x="118" y="60"/>
                                          </a:lnTo>
                                          <a:lnTo>
                                            <a:pt x="128" y="58"/>
                                          </a:lnTo>
                                          <a:lnTo>
                                            <a:pt x="128" y="58"/>
                                          </a:lnTo>
                                          <a:lnTo>
                                            <a:pt x="138" y="58"/>
                                          </a:lnTo>
                                          <a:lnTo>
                                            <a:pt x="144" y="58"/>
                                          </a:lnTo>
                                          <a:lnTo>
                                            <a:pt x="148" y="60"/>
                                          </a:lnTo>
                                          <a:lnTo>
                                            <a:pt x="154" y="60"/>
                                          </a:lnTo>
                                          <a:lnTo>
                                            <a:pt x="154" y="60"/>
                                          </a:lnTo>
                                          <a:lnTo>
                                            <a:pt x="154" y="58"/>
                                          </a:lnTo>
                                          <a:lnTo>
                                            <a:pt x="152" y="54"/>
                                          </a:lnTo>
                                          <a:lnTo>
                                            <a:pt x="150" y="46"/>
                                          </a:lnTo>
                                          <a:lnTo>
                                            <a:pt x="150" y="46"/>
                                          </a:lnTo>
                                          <a:lnTo>
                                            <a:pt x="134" y="38"/>
                                          </a:lnTo>
                                          <a:lnTo>
                                            <a:pt x="128" y="32"/>
                                          </a:lnTo>
                                          <a:lnTo>
                                            <a:pt x="124" y="28"/>
                                          </a:lnTo>
                                          <a:lnTo>
                                            <a:pt x="116" y="24"/>
                                          </a:lnTo>
                                          <a:lnTo>
                                            <a:pt x="116" y="24"/>
                                          </a:lnTo>
                                          <a:lnTo>
                                            <a:pt x="108" y="22"/>
                                          </a:lnTo>
                                          <a:lnTo>
                                            <a:pt x="102" y="22"/>
                                          </a:lnTo>
                                          <a:lnTo>
                                            <a:pt x="94" y="24"/>
                                          </a:lnTo>
                                          <a:lnTo>
                                            <a:pt x="88" y="24"/>
                                          </a:lnTo>
                                          <a:lnTo>
                                            <a:pt x="78" y="18"/>
                                          </a:lnTo>
                                          <a:lnTo>
                                            <a:pt x="78" y="18"/>
                                          </a:lnTo>
                                          <a:lnTo>
                                            <a:pt x="72" y="14"/>
                                          </a:lnTo>
                                          <a:lnTo>
                                            <a:pt x="66" y="12"/>
                                          </a:lnTo>
                                          <a:lnTo>
                                            <a:pt x="54" y="10"/>
                                          </a:lnTo>
                                          <a:lnTo>
                                            <a:pt x="40" y="8"/>
                                          </a:lnTo>
                                          <a:lnTo>
                                            <a:pt x="24" y="4"/>
                                          </a:lnTo>
                                          <a:lnTo>
                                            <a:pt x="24" y="4"/>
                                          </a:lnTo>
                                          <a:lnTo>
                                            <a:pt x="14" y="0"/>
                                          </a:lnTo>
                                          <a:lnTo>
                                            <a:pt x="6" y="0"/>
                                          </a:lnTo>
                                          <a:lnTo>
                                            <a:pt x="2" y="2"/>
                                          </a:lnTo>
                                          <a:lnTo>
                                            <a:pt x="0" y="2"/>
                                          </a:lnTo>
                                          <a:lnTo>
                                            <a:pt x="0" y="2"/>
                                          </a:lnTo>
                                          <a:close/>
                                        </a:path>
                                      </a:pathLst>
                                    </a:custGeom>
                                    <a:solidFill>
                                      <a:schemeClr val="accent3">
                                        <a:alpha val="99000"/>
                                      </a:schemeClr>
                                    </a:solid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47" name="Group 46"/>
                                    <p:cNvGrpSpPr/>
                                    <p:nvPr/>
                                  </p:nvGrpSpPr>
                                  <p:grpSpPr>
                                    <a:xfrm>
                                      <a:off x="2857040" y="1614303"/>
                                      <a:ext cx="7820530" cy="4979493"/>
                                      <a:chOff x="2857040" y="1614303"/>
                                      <a:chExt cx="7820530" cy="4979493"/>
                                    </a:xfrm>
                                  </p:grpSpPr>
                                  <p:sp>
                                    <p:nvSpPr>
                                      <p:cNvPr id="469" name="Lebanon"/>
                                      <p:cNvSpPr>
                                        <a:spLocks/>
                                      </p:cNvSpPr>
                                      <p:nvPr/>
                                    </p:nvSpPr>
                                    <p:spPr bwMode="auto">
                                      <a:xfrm>
                                        <a:off x="6840970" y="2377399"/>
                                        <a:ext cx="54678" cy="51592"/>
                                      </a:xfrm>
                                      <a:custGeom>
                                        <a:avLst/>
                                        <a:gdLst/>
                                        <a:ahLst/>
                                        <a:cxnLst>
                                          <a:cxn ang="0">
                                            <a:pos x="14" y="4"/>
                                          </a:cxn>
                                          <a:cxn ang="0">
                                            <a:pos x="14" y="4"/>
                                          </a:cxn>
                                          <a:cxn ang="0">
                                            <a:pos x="12" y="8"/>
                                          </a:cxn>
                                          <a:cxn ang="0">
                                            <a:pos x="10" y="10"/>
                                          </a:cxn>
                                          <a:cxn ang="0">
                                            <a:pos x="8" y="12"/>
                                          </a:cxn>
                                          <a:cxn ang="0">
                                            <a:pos x="6" y="16"/>
                                          </a:cxn>
                                          <a:cxn ang="0">
                                            <a:pos x="6" y="16"/>
                                          </a:cxn>
                                          <a:cxn ang="0">
                                            <a:pos x="4" y="22"/>
                                          </a:cxn>
                                          <a:cxn ang="0">
                                            <a:pos x="2" y="24"/>
                                          </a:cxn>
                                          <a:cxn ang="0">
                                            <a:pos x="0" y="28"/>
                                          </a:cxn>
                                          <a:cxn ang="0">
                                            <a:pos x="0" y="34"/>
                                          </a:cxn>
                                          <a:cxn ang="0">
                                            <a:pos x="18" y="34"/>
                                          </a:cxn>
                                          <a:cxn ang="0">
                                            <a:pos x="18" y="34"/>
                                          </a:cxn>
                                          <a:cxn ang="0">
                                            <a:pos x="22" y="30"/>
                                          </a:cxn>
                                          <a:cxn ang="0">
                                            <a:pos x="22" y="28"/>
                                          </a:cxn>
                                          <a:cxn ang="0">
                                            <a:pos x="20" y="26"/>
                                          </a:cxn>
                                          <a:cxn ang="0">
                                            <a:pos x="22" y="24"/>
                                          </a:cxn>
                                          <a:cxn ang="0">
                                            <a:pos x="22" y="24"/>
                                          </a:cxn>
                                          <a:cxn ang="0">
                                            <a:pos x="26" y="22"/>
                                          </a:cxn>
                                          <a:cxn ang="0">
                                            <a:pos x="28" y="22"/>
                                          </a:cxn>
                                          <a:cxn ang="0">
                                            <a:pos x="30" y="22"/>
                                          </a:cxn>
                                          <a:cxn ang="0">
                                            <a:pos x="32" y="22"/>
                                          </a:cxn>
                                          <a:cxn ang="0">
                                            <a:pos x="32" y="22"/>
                                          </a:cxn>
                                          <a:cxn ang="0">
                                            <a:pos x="34" y="20"/>
                                          </a:cxn>
                                          <a:cxn ang="0">
                                            <a:pos x="32" y="18"/>
                                          </a:cxn>
                                          <a:cxn ang="0">
                                            <a:pos x="32" y="16"/>
                                          </a:cxn>
                                          <a:cxn ang="0">
                                            <a:pos x="34" y="14"/>
                                          </a:cxn>
                                          <a:cxn ang="0">
                                            <a:pos x="34" y="14"/>
                                          </a:cxn>
                                          <a:cxn ang="0">
                                            <a:pos x="36" y="12"/>
                                          </a:cxn>
                                          <a:cxn ang="0">
                                            <a:pos x="36" y="10"/>
                                          </a:cxn>
                                          <a:cxn ang="0">
                                            <a:pos x="34" y="6"/>
                                          </a:cxn>
                                          <a:cxn ang="0">
                                            <a:pos x="30" y="2"/>
                                          </a:cxn>
                                          <a:cxn ang="0">
                                            <a:pos x="26" y="0"/>
                                          </a:cxn>
                                          <a:cxn ang="0">
                                            <a:pos x="26" y="0"/>
                                          </a:cxn>
                                          <a:cxn ang="0">
                                            <a:pos x="20" y="0"/>
                                          </a:cxn>
                                          <a:cxn ang="0">
                                            <a:pos x="14" y="4"/>
                                          </a:cxn>
                                          <a:cxn ang="0">
                                            <a:pos x="14" y="4"/>
                                          </a:cxn>
                                        </a:cxnLst>
                                        <a:rect l="0" t="0" r="r" b="b"/>
                                        <a:pathLst>
                                          <a:path w="36" h="34">
                                            <a:moveTo>
                                              <a:pt x="14" y="4"/>
                                            </a:moveTo>
                                            <a:lnTo>
                                              <a:pt x="14" y="4"/>
                                            </a:lnTo>
                                            <a:lnTo>
                                              <a:pt x="12" y="8"/>
                                            </a:lnTo>
                                            <a:lnTo>
                                              <a:pt x="10" y="10"/>
                                            </a:lnTo>
                                            <a:lnTo>
                                              <a:pt x="8" y="12"/>
                                            </a:lnTo>
                                            <a:lnTo>
                                              <a:pt x="6" y="16"/>
                                            </a:lnTo>
                                            <a:lnTo>
                                              <a:pt x="6" y="16"/>
                                            </a:lnTo>
                                            <a:lnTo>
                                              <a:pt x="4" y="22"/>
                                            </a:lnTo>
                                            <a:lnTo>
                                              <a:pt x="2" y="24"/>
                                            </a:lnTo>
                                            <a:lnTo>
                                              <a:pt x="0" y="28"/>
                                            </a:lnTo>
                                            <a:lnTo>
                                              <a:pt x="0" y="34"/>
                                            </a:lnTo>
                                            <a:lnTo>
                                              <a:pt x="18" y="34"/>
                                            </a:lnTo>
                                            <a:lnTo>
                                              <a:pt x="18" y="34"/>
                                            </a:lnTo>
                                            <a:lnTo>
                                              <a:pt x="22" y="30"/>
                                            </a:lnTo>
                                            <a:lnTo>
                                              <a:pt x="22" y="28"/>
                                            </a:lnTo>
                                            <a:lnTo>
                                              <a:pt x="20" y="26"/>
                                            </a:lnTo>
                                            <a:lnTo>
                                              <a:pt x="22" y="24"/>
                                            </a:lnTo>
                                            <a:lnTo>
                                              <a:pt x="22" y="24"/>
                                            </a:lnTo>
                                            <a:lnTo>
                                              <a:pt x="26" y="22"/>
                                            </a:lnTo>
                                            <a:lnTo>
                                              <a:pt x="28" y="22"/>
                                            </a:lnTo>
                                            <a:lnTo>
                                              <a:pt x="30" y="22"/>
                                            </a:lnTo>
                                            <a:lnTo>
                                              <a:pt x="32" y="22"/>
                                            </a:lnTo>
                                            <a:lnTo>
                                              <a:pt x="32" y="22"/>
                                            </a:lnTo>
                                            <a:lnTo>
                                              <a:pt x="34" y="20"/>
                                            </a:lnTo>
                                            <a:lnTo>
                                              <a:pt x="32" y="18"/>
                                            </a:lnTo>
                                            <a:lnTo>
                                              <a:pt x="32" y="16"/>
                                            </a:lnTo>
                                            <a:lnTo>
                                              <a:pt x="34" y="14"/>
                                            </a:lnTo>
                                            <a:lnTo>
                                              <a:pt x="34" y="14"/>
                                            </a:lnTo>
                                            <a:lnTo>
                                              <a:pt x="36" y="12"/>
                                            </a:lnTo>
                                            <a:lnTo>
                                              <a:pt x="36" y="10"/>
                                            </a:lnTo>
                                            <a:lnTo>
                                              <a:pt x="34" y="6"/>
                                            </a:lnTo>
                                            <a:lnTo>
                                              <a:pt x="30" y="2"/>
                                            </a:lnTo>
                                            <a:lnTo>
                                              <a:pt x="26" y="0"/>
                                            </a:lnTo>
                                            <a:lnTo>
                                              <a:pt x="26" y="0"/>
                                            </a:lnTo>
                                            <a:lnTo>
                                              <a:pt x="20" y="0"/>
                                            </a:lnTo>
                                            <a:lnTo>
                                              <a:pt x="14" y="4"/>
                                            </a:lnTo>
                                            <a:lnTo>
                                              <a:pt x="14" y="4"/>
                                            </a:lnTo>
                                            <a:close/>
                                          </a:path>
                                        </a:pathLst>
                                      </a:custGeom>
                                      <a:solidFill>
                                        <a:schemeClr val="accent3"/>
                                      </a:solid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46" name="Group 45"/>
                                      <p:cNvGrpSpPr/>
                                      <p:nvPr/>
                                    </p:nvGrpSpPr>
                                    <p:grpSpPr>
                                      <a:xfrm>
                                        <a:off x="2857040" y="1614303"/>
                                        <a:ext cx="7820530" cy="4979493"/>
                                        <a:chOff x="2857040" y="1614303"/>
                                        <a:chExt cx="7820530" cy="4979493"/>
                                      </a:xfrm>
                                    </p:grpSpPr>
                                    <p:grpSp>
                                      <p:nvGrpSpPr>
                                        <p:cNvPr id="45" name="Group 44"/>
                                        <p:cNvGrpSpPr/>
                                        <p:nvPr/>
                                      </p:nvGrpSpPr>
                                      <p:grpSpPr>
                                        <a:xfrm>
                                          <a:off x="2857040" y="1614303"/>
                                          <a:ext cx="7820530" cy="4979493"/>
                                          <a:chOff x="2857040" y="1614303"/>
                                          <a:chExt cx="7820530" cy="4979493"/>
                                        </a:xfrm>
                                      </p:grpSpPr>
                                      <p:grpSp>
                                        <p:nvGrpSpPr>
                                          <p:cNvPr id="44" name="Group 43"/>
                                          <p:cNvGrpSpPr/>
                                          <p:nvPr/>
                                        </p:nvGrpSpPr>
                                        <p:grpSpPr>
                                          <a:xfrm>
                                            <a:off x="2857040" y="1614303"/>
                                            <a:ext cx="7820530" cy="4979493"/>
                                            <a:chOff x="2857040" y="1614303"/>
                                            <a:chExt cx="7820530" cy="4979493"/>
                                          </a:xfrm>
                                        </p:grpSpPr>
                                        <p:sp>
                                          <p:nvSpPr>
                                            <p:cNvPr id="472" name="Freeform 175"/>
                                            <p:cNvSpPr>
                                              <a:spLocks/>
                                            </p:cNvSpPr>
                                            <p:nvPr/>
                                          </p:nvSpPr>
                                          <p:spPr bwMode="auto">
                                            <a:xfrm>
                                              <a:off x="8525725" y="2592030"/>
                                              <a:ext cx="103279" cy="48557"/>
                                            </a:xfrm>
                                            <a:custGeom>
                                              <a:avLst/>
                                              <a:gdLst/>
                                              <a:ahLst/>
                                              <a:cxnLst>
                                                <a:cxn ang="0">
                                                  <a:pos x="0" y="22"/>
                                                </a:cxn>
                                                <a:cxn ang="0">
                                                  <a:pos x="0" y="22"/>
                                                </a:cxn>
                                                <a:cxn ang="0">
                                                  <a:pos x="4" y="10"/>
                                                </a:cxn>
                                                <a:cxn ang="0">
                                                  <a:pos x="8" y="4"/>
                                                </a:cxn>
                                                <a:cxn ang="0">
                                                  <a:pos x="14" y="0"/>
                                                </a:cxn>
                                                <a:cxn ang="0">
                                                  <a:pos x="22" y="0"/>
                                                </a:cxn>
                                                <a:cxn ang="0">
                                                  <a:pos x="22" y="0"/>
                                                </a:cxn>
                                                <a:cxn ang="0">
                                                  <a:pos x="32" y="0"/>
                                                </a:cxn>
                                                <a:cxn ang="0">
                                                  <a:pos x="38" y="2"/>
                                                </a:cxn>
                                                <a:cxn ang="0">
                                                  <a:pos x="42" y="4"/>
                                                </a:cxn>
                                                <a:cxn ang="0">
                                                  <a:pos x="46" y="6"/>
                                                </a:cxn>
                                                <a:cxn ang="0">
                                                  <a:pos x="46" y="6"/>
                                                </a:cxn>
                                                <a:cxn ang="0">
                                                  <a:pos x="48" y="8"/>
                                                </a:cxn>
                                                <a:cxn ang="0">
                                                  <a:pos x="50" y="6"/>
                                                </a:cxn>
                                                <a:cxn ang="0">
                                                  <a:pos x="50" y="6"/>
                                                </a:cxn>
                                                <a:cxn ang="0">
                                                  <a:pos x="52" y="10"/>
                                                </a:cxn>
                                                <a:cxn ang="0">
                                                  <a:pos x="54" y="12"/>
                                                </a:cxn>
                                                <a:cxn ang="0">
                                                  <a:pos x="64" y="12"/>
                                                </a:cxn>
                                                <a:cxn ang="0">
                                                  <a:pos x="64" y="12"/>
                                                </a:cxn>
                                                <a:cxn ang="0">
                                                  <a:pos x="66" y="14"/>
                                                </a:cxn>
                                                <a:cxn ang="0">
                                                  <a:pos x="68" y="18"/>
                                                </a:cxn>
                                                <a:cxn ang="0">
                                                  <a:pos x="68" y="28"/>
                                                </a:cxn>
                                                <a:cxn ang="0">
                                                  <a:pos x="68" y="28"/>
                                                </a:cxn>
                                                <a:cxn ang="0">
                                                  <a:pos x="68" y="28"/>
                                                </a:cxn>
                                                <a:cxn ang="0">
                                                  <a:pos x="66" y="30"/>
                                                </a:cxn>
                                                <a:cxn ang="0">
                                                  <a:pos x="58" y="28"/>
                                                </a:cxn>
                                                <a:cxn ang="0">
                                                  <a:pos x="50" y="28"/>
                                                </a:cxn>
                                                <a:cxn ang="0">
                                                  <a:pos x="42" y="30"/>
                                                </a:cxn>
                                                <a:cxn ang="0">
                                                  <a:pos x="42" y="30"/>
                                                </a:cxn>
                                                <a:cxn ang="0">
                                                  <a:pos x="38" y="32"/>
                                                </a:cxn>
                                                <a:cxn ang="0">
                                                  <a:pos x="32" y="32"/>
                                                </a:cxn>
                                                <a:cxn ang="0">
                                                  <a:pos x="28" y="30"/>
                                                </a:cxn>
                                                <a:cxn ang="0">
                                                  <a:pos x="24" y="26"/>
                                                </a:cxn>
                                                <a:cxn ang="0">
                                                  <a:pos x="24" y="26"/>
                                                </a:cxn>
                                                <a:cxn ang="0">
                                                  <a:pos x="20" y="24"/>
                                                </a:cxn>
                                                <a:cxn ang="0">
                                                  <a:pos x="12" y="24"/>
                                                </a:cxn>
                                                <a:cxn ang="0">
                                                  <a:pos x="6" y="24"/>
                                                </a:cxn>
                                                <a:cxn ang="0">
                                                  <a:pos x="0" y="22"/>
                                                </a:cxn>
                                                <a:cxn ang="0">
                                                  <a:pos x="0" y="22"/>
                                                </a:cxn>
                                              </a:cxnLst>
                                              <a:rect l="0" t="0" r="r" b="b"/>
                                              <a:pathLst>
                                                <a:path w="68" h="32">
                                                  <a:moveTo>
                                                    <a:pt x="0" y="22"/>
                                                  </a:moveTo>
                                                  <a:lnTo>
                                                    <a:pt x="0" y="22"/>
                                                  </a:lnTo>
                                                  <a:lnTo>
                                                    <a:pt x="4" y="10"/>
                                                  </a:lnTo>
                                                  <a:lnTo>
                                                    <a:pt x="8" y="4"/>
                                                  </a:lnTo>
                                                  <a:lnTo>
                                                    <a:pt x="14" y="0"/>
                                                  </a:lnTo>
                                                  <a:lnTo>
                                                    <a:pt x="22" y="0"/>
                                                  </a:lnTo>
                                                  <a:lnTo>
                                                    <a:pt x="22" y="0"/>
                                                  </a:lnTo>
                                                  <a:lnTo>
                                                    <a:pt x="32" y="0"/>
                                                  </a:lnTo>
                                                  <a:lnTo>
                                                    <a:pt x="38" y="2"/>
                                                  </a:lnTo>
                                                  <a:lnTo>
                                                    <a:pt x="42" y="4"/>
                                                  </a:lnTo>
                                                  <a:lnTo>
                                                    <a:pt x="46" y="6"/>
                                                  </a:lnTo>
                                                  <a:lnTo>
                                                    <a:pt x="46" y="6"/>
                                                  </a:lnTo>
                                                  <a:lnTo>
                                                    <a:pt x="48" y="8"/>
                                                  </a:lnTo>
                                                  <a:lnTo>
                                                    <a:pt x="50" y="6"/>
                                                  </a:lnTo>
                                                  <a:lnTo>
                                                    <a:pt x="50" y="6"/>
                                                  </a:lnTo>
                                                  <a:lnTo>
                                                    <a:pt x="52" y="10"/>
                                                  </a:lnTo>
                                                  <a:lnTo>
                                                    <a:pt x="54" y="12"/>
                                                  </a:lnTo>
                                                  <a:lnTo>
                                                    <a:pt x="64" y="12"/>
                                                  </a:lnTo>
                                                  <a:lnTo>
                                                    <a:pt x="64" y="12"/>
                                                  </a:lnTo>
                                                  <a:lnTo>
                                                    <a:pt x="66" y="14"/>
                                                  </a:lnTo>
                                                  <a:lnTo>
                                                    <a:pt x="68" y="18"/>
                                                  </a:lnTo>
                                                  <a:lnTo>
                                                    <a:pt x="68" y="28"/>
                                                  </a:lnTo>
                                                  <a:lnTo>
                                                    <a:pt x="68" y="28"/>
                                                  </a:lnTo>
                                                  <a:lnTo>
                                                    <a:pt x="68" y="28"/>
                                                  </a:lnTo>
                                                  <a:lnTo>
                                                    <a:pt x="66" y="30"/>
                                                  </a:lnTo>
                                                  <a:lnTo>
                                                    <a:pt x="58" y="28"/>
                                                  </a:lnTo>
                                                  <a:lnTo>
                                                    <a:pt x="50" y="28"/>
                                                  </a:lnTo>
                                                  <a:lnTo>
                                                    <a:pt x="42" y="30"/>
                                                  </a:lnTo>
                                                  <a:lnTo>
                                                    <a:pt x="42" y="30"/>
                                                  </a:lnTo>
                                                  <a:lnTo>
                                                    <a:pt x="38" y="32"/>
                                                  </a:lnTo>
                                                  <a:lnTo>
                                                    <a:pt x="32" y="32"/>
                                                  </a:lnTo>
                                                  <a:lnTo>
                                                    <a:pt x="28" y="30"/>
                                                  </a:lnTo>
                                                  <a:lnTo>
                                                    <a:pt x="24" y="26"/>
                                                  </a:lnTo>
                                                  <a:lnTo>
                                                    <a:pt x="24" y="26"/>
                                                  </a:lnTo>
                                                  <a:lnTo>
                                                    <a:pt x="20" y="24"/>
                                                  </a:lnTo>
                                                  <a:lnTo>
                                                    <a:pt x="12" y="24"/>
                                                  </a:lnTo>
                                                  <a:lnTo>
                                                    <a:pt x="6" y="24"/>
                                                  </a:lnTo>
                                                  <a:lnTo>
                                                    <a:pt x="0" y="22"/>
                                                  </a:lnTo>
                                                  <a:lnTo>
                                                    <a:pt x="0" y="22"/>
                                                  </a:lnTo>
                                                  <a:close/>
                                                </a:path>
                                              </a:pathLst>
                                            </a:custGeom>
                                            <a:solidFill>
                                              <a:schemeClr val="accent3">
                                                <a:alpha val="99000"/>
                                              </a:schemeClr>
                                            </a:solid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43" name="Group 42"/>
                                            <p:cNvGrpSpPr/>
                                            <p:nvPr/>
                                          </p:nvGrpSpPr>
                                          <p:grpSpPr>
                                            <a:xfrm>
                                              <a:off x="2857040" y="1614303"/>
                                              <a:ext cx="7820530" cy="4979493"/>
                                              <a:chOff x="2857040" y="1614303"/>
                                              <a:chExt cx="7820530" cy="4979493"/>
                                            </a:xfrm>
                                          </p:grpSpPr>
                                          <p:grpSp>
                                            <p:nvGrpSpPr>
                                              <p:cNvPr id="42" name="Group 41"/>
                                              <p:cNvGrpSpPr/>
                                              <p:nvPr/>
                                            </p:nvGrpSpPr>
                                            <p:grpSpPr>
                                              <a:xfrm>
                                                <a:off x="2857040" y="1614303"/>
                                                <a:ext cx="7820530" cy="4979493"/>
                                                <a:chOff x="2857040" y="1614303"/>
                                                <a:chExt cx="7820530" cy="4979493"/>
                                              </a:xfrm>
                                            </p:grpSpPr>
                                            <p:grpSp>
                                              <p:nvGrpSpPr>
                                                <p:cNvPr id="41" name="Group 40"/>
                                                <p:cNvGrpSpPr/>
                                                <p:nvPr/>
                                              </p:nvGrpSpPr>
                                              <p:grpSpPr>
                                                <a:xfrm>
                                                  <a:off x="2857040" y="1614303"/>
                                                  <a:ext cx="7820530" cy="4979493"/>
                                                  <a:chOff x="2857040" y="1614303"/>
                                                  <a:chExt cx="7820530" cy="4979493"/>
                                                </a:xfrm>
                                              </p:grpSpPr>
                                              <p:sp>
                                                <p:nvSpPr>
                                                  <p:cNvPr id="450" name="UAE"/>
                                                  <p:cNvSpPr>
                                                    <a:spLocks/>
                                                  </p:cNvSpPr>
                                                  <p:nvPr/>
                                                </p:nvSpPr>
                                                <p:spPr bwMode="auto">
                                                  <a:xfrm>
                                                    <a:off x="7386741" y="2685907"/>
                                                    <a:ext cx="157957" cy="154777"/>
                                                  </a:xfrm>
                                                  <a:custGeom>
                                                    <a:avLst/>
                                                    <a:gdLst/>
                                                    <a:ahLst/>
                                                    <a:cxnLst>
                                                      <a:cxn ang="0">
                                                        <a:pos x="104" y="32"/>
                                                      </a:cxn>
                                                      <a:cxn ang="0">
                                                        <a:pos x="100" y="18"/>
                                                      </a:cxn>
                                                      <a:cxn ang="0">
                                                        <a:pos x="98" y="14"/>
                                                      </a:cxn>
                                                      <a:cxn ang="0">
                                                        <a:pos x="96" y="14"/>
                                                      </a:cxn>
                                                      <a:cxn ang="0">
                                                        <a:pos x="96" y="8"/>
                                                      </a:cxn>
                                                      <a:cxn ang="0">
                                                        <a:pos x="96" y="2"/>
                                                      </a:cxn>
                                                      <a:cxn ang="0">
                                                        <a:pos x="94" y="0"/>
                                                      </a:cxn>
                                                      <a:cxn ang="0">
                                                        <a:pos x="88" y="4"/>
                                                      </a:cxn>
                                                      <a:cxn ang="0">
                                                        <a:pos x="82" y="10"/>
                                                      </a:cxn>
                                                      <a:cxn ang="0">
                                                        <a:pos x="78" y="16"/>
                                                      </a:cxn>
                                                      <a:cxn ang="0">
                                                        <a:pos x="72" y="26"/>
                                                      </a:cxn>
                                                      <a:cxn ang="0">
                                                        <a:pos x="60" y="36"/>
                                                      </a:cxn>
                                                      <a:cxn ang="0">
                                                        <a:pos x="58" y="42"/>
                                                      </a:cxn>
                                                      <a:cxn ang="0">
                                                        <a:pos x="56" y="44"/>
                                                      </a:cxn>
                                                      <a:cxn ang="0">
                                                        <a:pos x="54" y="44"/>
                                                      </a:cxn>
                                                      <a:cxn ang="0">
                                                        <a:pos x="52" y="46"/>
                                                      </a:cxn>
                                                      <a:cxn ang="0">
                                                        <a:pos x="50" y="46"/>
                                                      </a:cxn>
                                                      <a:cxn ang="0">
                                                        <a:pos x="46" y="46"/>
                                                      </a:cxn>
                                                      <a:cxn ang="0">
                                                        <a:pos x="40" y="48"/>
                                                      </a:cxn>
                                                      <a:cxn ang="0">
                                                        <a:pos x="36" y="48"/>
                                                      </a:cxn>
                                                      <a:cxn ang="0">
                                                        <a:pos x="30" y="48"/>
                                                      </a:cxn>
                                                      <a:cxn ang="0">
                                                        <a:pos x="16" y="48"/>
                                                      </a:cxn>
                                                      <a:cxn ang="0">
                                                        <a:pos x="12" y="50"/>
                                                      </a:cxn>
                                                      <a:cxn ang="0">
                                                        <a:pos x="6" y="42"/>
                                                      </a:cxn>
                                                      <a:cxn ang="0">
                                                        <a:pos x="2" y="38"/>
                                                      </a:cxn>
                                                      <a:cxn ang="0">
                                                        <a:pos x="0" y="44"/>
                                                      </a:cxn>
                                                      <a:cxn ang="0">
                                                        <a:pos x="4" y="54"/>
                                                      </a:cxn>
                                                      <a:cxn ang="0">
                                                        <a:pos x="12" y="66"/>
                                                      </a:cxn>
                                                      <a:cxn ang="0">
                                                        <a:pos x="14" y="78"/>
                                                      </a:cxn>
                                                      <a:cxn ang="0">
                                                        <a:pos x="66" y="102"/>
                                                      </a:cxn>
                                                      <a:cxn ang="0">
                                                        <a:pos x="78" y="96"/>
                                                      </a:cxn>
                                                      <a:cxn ang="0">
                                                        <a:pos x="80" y="86"/>
                                                      </a:cxn>
                                                      <a:cxn ang="0">
                                                        <a:pos x="86" y="78"/>
                                                      </a:cxn>
                                                      <a:cxn ang="0">
                                                        <a:pos x="86" y="74"/>
                                                      </a:cxn>
                                                      <a:cxn ang="0">
                                                        <a:pos x="82" y="68"/>
                                                      </a:cxn>
                                                      <a:cxn ang="0">
                                                        <a:pos x="82" y="68"/>
                                                      </a:cxn>
                                                      <a:cxn ang="0">
                                                        <a:pos x="90" y="64"/>
                                                      </a:cxn>
                                                      <a:cxn ang="0">
                                                        <a:pos x="96" y="60"/>
                                                      </a:cxn>
                                                      <a:cxn ang="0">
                                                        <a:pos x="96" y="58"/>
                                                      </a:cxn>
                                                      <a:cxn ang="0">
                                                        <a:pos x="90" y="52"/>
                                                      </a:cxn>
                                                      <a:cxn ang="0">
                                                        <a:pos x="90" y="44"/>
                                                      </a:cxn>
                                                      <a:cxn ang="0">
                                                        <a:pos x="92" y="36"/>
                                                      </a:cxn>
                                                      <a:cxn ang="0">
                                                        <a:pos x="100" y="34"/>
                                                      </a:cxn>
                                                      <a:cxn ang="0">
                                                        <a:pos x="104" y="32"/>
                                                      </a:cxn>
                                                    </a:cxnLst>
                                                    <a:rect l="0" t="0" r="r" b="b"/>
                                                    <a:pathLst>
                                                      <a:path w="104" h="102">
                                                        <a:moveTo>
                                                          <a:pt x="104" y="32"/>
                                                        </a:moveTo>
                                                        <a:lnTo>
                                                          <a:pt x="104" y="32"/>
                                                        </a:lnTo>
                                                        <a:lnTo>
                                                          <a:pt x="100" y="24"/>
                                                        </a:lnTo>
                                                        <a:lnTo>
                                                          <a:pt x="100" y="18"/>
                                                        </a:lnTo>
                                                        <a:lnTo>
                                                          <a:pt x="100" y="14"/>
                                                        </a:lnTo>
                                                        <a:lnTo>
                                                          <a:pt x="98" y="14"/>
                                                        </a:lnTo>
                                                        <a:lnTo>
                                                          <a:pt x="98" y="14"/>
                                                        </a:lnTo>
                                                        <a:lnTo>
                                                          <a:pt x="96" y="14"/>
                                                        </a:lnTo>
                                                        <a:lnTo>
                                                          <a:pt x="94" y="12"/>
                                                        </a:lnTo>
                                                        <a:lnTo>
                                                          <a:pt x="96" y="8"/>
                                                        </a:lnTo>
                                                        <a:lnTo>
                                                          <a:pt x="98" y="2"/>
                                                        </a:lnTo>
                                                        <a:lnTo>
                                                          <a:pt x="96" y="2"/>
                                                        </a:lnTo>
                                                        <a:lnTo>
                                                          <a:pt x="94" y="0"/>
                                                        </a:lnTo>
                                                        <a:lnTo>
                                                          <a:pt x="94" y="0"/>
                                                        </a:lnTo>
                                                        <a:lnTo>
                                                          <a:pt x="90" y="0"/>
                                                        </a:lnTo>
                                                        <a:lnTo>
                                                          <a:pt x="88" y="4"/>
                                                        </a:lnTo>
                                                        <a:lnTo>
                                                          <a:pt x="88" y="6"/>
                                                        </a:lnTo>
                                                        <a:lnTo>
                                                          <a:pt x="82" y="10"/>
                                                        </a:lnTo>
                                                        <a:lnTo>
                                                          <a:pt x="82" y="10"/>
                                                        </a:lnTo>
                                                        <a:lnTo>
                                                          <a:pt x="78" y="16"/>
                                                        </a:lnTo>
                                                        <a:lnTo>
                                                          <a:pt x="76" y="20"/>
                                                        </a:lnTo>
                                                        <a:lnTo>
                                                          <a:pt x="72" y="26"/>
                                                        </a:lnTo>
                                                        <a:lnTo>
                                                          <a:pt x="60" y="36"/>
                                                        </a:lnTo>
                                                        <a:lnTo>
                                                          <a:pt x="60" y="36"/>
                                                        </a:lnTo>
                                                        <a:lnTo>
                                                          <a:pt x="58" y="40"/>
                                                        </a:lnTo>
                                                        <a:lnTo>
                                                          <a:pt x="58" y="42"/>
                                                        </a:lnTo>
                                                        <a:lnTo>
                                                          <a:pt x="58" y="44"/>
                                                        </a:lnTo>
                                                        <a:lnTo>
                                                          <a:pt x="56" y="44"/>
                                                        </a:lnTo>
                                                        <a:lnTo>
                                                          <a:pt x="56" y="44"/>
                                                        </a:lnTo>
                                                        <a:lnTo>
                                                          <a:pt x="54" y="44"/>
                                                        </a:lnTo>
                                                        <a:lnTo>
                                                          <a:pt x="52" y="44"/>
                                                        </a:lnTo>
                                                        <a:lnTo>
                                                          <a:pt x="52" y="46"/>
                                                        </a:lnTo>
                                                        <a:lnTo>
                                                          <a:pt x="50" y="46"/>
                                                        </a:lnTo>
                                                        <a:lnTo>
                                                          <a:pt x="50" y="46"/>
                                                        </a:lnTo>
                                                        <a:lnTo>
                                                          <a:pt x="46" y="46"/>
                                                        </a:lnTo>
                                                        <a:lnTo>
                                                          <a:pt x="46" y="46"/>
                                                        </a:lnTo>
                                                        <a:lnTo>
                                                          <a:pt x="44" y="48"/>
                                                        </a:lnTo>
                                                        <a:lnTo>
                                                          <a:pt x="40" y="48"/>
                                                        </a:lnTo>
                                                        <a:lnTo>
                                                          <a:pt x="40" y="48"/>
                                                        </a:lnTo>
                                                        <a:lnTo>
                                                          <a:pt x="36" y="48"/>
                                                        </a:lnTo>
                                                        <a:lnTo>
                                                          <a:pt x="30" y="48"/>
                                                        </a:lnTo>
                                                        <a:lnTo>
                                                          <a:pt x="30" y="48"/>
                                                        </a:lnTo>
                                                        <a:lnTo>
                                                          <a:pt x="20" y="48"/>
                                                        </a:lnTo>
                                                        <a:lnTo>
                                                          <a:pt x="16" y="48"/>
                                                        </a:lnTo>
                                                        <a:lnTo>
                                                          <a:pt x="12" y="50"/>
                                                        </a:lnTo>
                                                        <a:lnTo>
                                                          <a:pt x="12" y="50"/>
                                                        </a:lnTo>
                                                        <a:lnTo>
                                                          <a:pt x="8" y="46"/>
                                                        </a:lnTo>
                                                        <a:lnTo>
                                                          <a:pt x="6" y="42"/>
                                                        </a:lnTo>
                                                        <a:lnTo>
                                                          <a:pt x="4" y="38"/>
                                                        </a:lnTo>
                                                        <a:lnTo>
                                                          <a:pt x="2" y="38"/>
                                                        </a:lnTo>
                                                        <a:lnTo>
                                                          <a:pt x="2" y="38"/>
                                                        </a:lnTo>
                                                        <a:lnTo>
                                                          <a:pt x="0" y="44"/>
                                                        </a:lnTo>
                                                        <a:lnTo>
                                                          <a:pt x="2" y="48"/>
                                                        </a:lnTo>
                                                        <a:lnTo>
                                                          <a:pt x="4" y="54"/>
                                                        </a:lnTo>
                                                        <a:lnTo>
                                                          <a:pt x="6" y="56"/>
                                                        </a:lnTo>
                                                        <a:lnTo>
                                                          <a:pt x="12" y="66"/>
                                                        </a:lnTo>
                                                        <a:lnTo>
                                                          <a:pt x="14" y="72"/>
                                                        </a:lnTo>
                                                        <a:lnTo>
                                                          <a:pt x="14" y="78"/>
                                                        </a:lnTo>
                                                        <a:lnTo>
                                                          <a:pt x="66" y="102"/>
                                                        </a:lnTo>
                                                        <a:lnTo>
                                                          <a:pt x="66" y="102"/>
                                                        </a:lnTo>
                                                        <a:lnTo>
                                                          <a:pt x="78" y="96"/>
                                                        </a:lnTo>
                                                        <a:lnTo>
                                                          <a:pt x="78" y="96"/>
                                                        </a:lnTo>
                                                        <a:lnTo>
                                                          <a:pt x="78" y="88"/>
                                                        </a:lnTo>
                                                        <a:lnTo>
                                                          <a:pt x="80" y="86"/>
                                                        </a:lnTo>
                                                        <a:lnTo>
                                                          <a:pt x="82" y="84"/>
                                                        </a:lnTo>
                                                        <a:lnTo>
                                                          <a:pt x="86" y="78"/>
                                                        </a:lnTo>
                                                        <a:lnTo>
                                                          <a:pt x="86" y="78"/>
                                                        </a:lnTo>
                                                        <a:lnTo>
                                                          <a:pt x="86" y="74"/>
                                                        </a:lnTo>
                                                        <a:lnTo>
                                                          <a:pt x="84" y="70"/>
                                                        </a:lnTo>
                                                        <a:lnTo>
                                                          <a:pt x="82" y="68"/>
                                                        </a:lnTo>
                                                        <a:lnTo>
                                                          <a:pt x="82" y="68"/>
                                                        </a:lnTo>
                                                        <a:lnTo>
                                                          <a:pt x="82" y="68"/>
                                                        </a:lnTo>
                                                        <a:lnTo>
                                                          <a:pt x="86" y="64"/>
                                                        </a:lnTo>
                                                        <a:lnTo>
                                                          <a:pt x="90" y="64"/>
                                                        </a:lnTo>
                                                        <a:lnTo>
                                                          <a:pt x="92" y="64"/>
                                                        </a:lnTo>
                                                        <a:lnTo>
                                                          <a:pt x="96" y="60"/>
                                                        </a:lnTo>
                                                        <a:lnTo>
                                                          <a:pt x="96" y="60"/>
                                                        </a:lnTo>
                                                        <a:lnTo>
                                                          <a:pt x="96" y="58"/>
                                                        </a:lnTo>
                                                        <a:lnTo>
                                                          <a:pt x="94" y="56"/>
                                                        </a:lnTo>
                                                        <a:lnTo>
                                                          <a:pt x="90" y="52"/>
                                                        </a:lnTo>
                                                        <a:lnTo>
                                                          <a:pt x="90" y="44"/>
                                                        </a:lnTo>
                                                        <a:lnTo>
                                                          <a:pt x="90" y="44"/>
                                                        </a:lnTo>
                                                        <a:lnTo>
                                                          <a:pt x="90" y="40"/>
                                                        </a:lnTo>
                                                        <a:lnTo>
                                                          <a:pt x="92" y="36"/>
                                                        </a:lnTo>
                                                        <a:lnTo>
                                                          <a:pt x="96" y="34"/>
                                                        </a:lnTo>
                                                        <a:lnTo>
                                                          <a:pt x="100" y="34"/>
                                                        </a:lnTo>
                                                        <a:lnTo>
                                                          <a:pt x="102" y="34"/>
                                                        </a:lnTo>
                                                        <a:lnTo>
                                                          <a:pt x="104" y="32"/>
                                                        </a:lnTo>
                                                        <a:lnTo>
                                                          <a:pt x="104" y="32"/>
                                                        </a:lnTo>
                                                        <a:close/>
                                                      </a:path>
                                                    </a:pathLst>
                                                  </a:custGeom>
                                                  <a:solidFill>
                                                    <a:schemeClr val="accent3"/>
                                                  </a:solid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40" name="Group 39"/>
                                                  <p:cNvGrpSpPr/>
                                                  <p:nvPr/>
                                                </p:nvGrpSpPr>
                                                <p:grpSpPr>
                                                  <a:xfrm>
                                                    <a:off x="2857040" y="1614303"/>
                                                    <a:ext cx="7820530" cy="4979493"/>
                                                    <a:chOff x="2857040" y="1614303"/>
                                                    <a:chExt cx="7820530" cy="4979493"/>
                                                  </a:xfrm>
                                                </p:grpSpPr>
                                                <p:sp>
                                                  <p:nvSpPr>
                                                    <p:cNvPr id="456" name="Slovakia"/>
                                                    <p:cNvSpPr>
                                                      <a:spLocks/>
                                                    </p:cNvSpPr>
                                                    <p:nvPr/>
                                                  </p:nvSpPr>
                                                  <p:spPr bwMode="auto">
                                                    <a:xfrm>
                                                      <a:off x="6264371" y="1884657"/>
                                                      <a:ext cx="136694" cy="60697"/>
                                                    </a:xfrm>
                                                    <a:custGeom>
                                                      <a:avLst/>
                                                      <a:gdLst/>
                                                      <a:ahLst/>
                                                      <a:cxnLst>
                                                        <a:cxn ang="0">
                                                          <a:pos x="26" y="2"/>
                                                        </a:cxn>
                                                        <a:cxn ang="0">
                                                          <a:pos x="36" y="4"/>
                                                        </a:cxn>
                                                        <a:cxn ang="0">
                                                          <a:pos x="38" y="0"/>
                                                        </a:cxn>
                                                        <a:cxn ang="0">
                                                          <a:pos x="42" y="4"/>
                                                        </a:cxn>
                                                        <a:cxn ang="0">
                                                          <a:pos x="48" y="6"/>
                                                        </a:cxn>
                                                        <a:cxn ang="0">
                                                          <a:pos x="52" y="4"/>
                                                        </a:cxn>
                                                        <a:cxn ang="0">
                                                          <a:pos x="56" y="6"/>
                                                        </a:cxn>
                                                        <a:cxn ang="0">
                                                          <a:pos x="60" y="8"/>
                                                        </a:cxn>
                                                        <a:cxn ang="0">
                                                          <a:pos x="62" y="6"/>
                                                        </a:cxn>
                                                        <a:cxn ang="0">
                                                          <a:pos x="66" y="2"/>
                                                        </a:cxn>
                                                        <a:cxn ang="0">
                                                          <a:pos x="70" y="4"/>
                                                        </a:cxn>
                                                        <a:cxn ang="0">
                                                          <a:pos x="82" y="10"/>
                                                        </a:cxn>
                                                        <a:cxn ang="0">
                                                          <a:pos x="90" y="10"/>
                                                        </a:cxn>
                                                        <a:cxn ang="0">
                                                          <a:pos x="90" y="16"/>
                                                        </a:cxn>
                                                        <a:cxn ang="0">
                                                          <a:pos x="88" y="20"/>
                                                        </a:cxn>
                                                        <a:cxn ang="0">
                                                          <a:pos x="88" y="22"/>
                                                        </a:cxn>
                                                        <a:cxn ang="0">
                                                          <a:pos x="88" y="24"/>
                                                        </a:cxn>
                                                        <a:cxn ang="0">
                                                          <a:pos x="72" y="22"/>
                                                        </a:cxn>
                                                        <a:cxn ang="0">
                                                          <a:pos x="66" y="20"/>
                                                        </a:cxn>
                                                        <a:cxn ang="0">
                                                          <a:pos x="62" y="24"/>
                                                        </a:cxn>
                                                        <a:cxn ang="0">
                                                          <a:pos x="58" y="24"/>
                                                        </a:cxn>
                                                        <a:cxn ang="0">
                                                          <a:pos x="50" y="26"/>
                                                        </a:cxn>
                                                        <a:cxn ang="0">
                                                          <a:pos x="44" y="30"/>
                                                        </a:cxn>
                                                        <a:cxn ang="0">
                                                          <a:pos x="26" y="34"/>
                                                        </a:cxn>
                                                        <a:cxn ang="0">
                                                          <a:pos x="24" y="34"/>
                                                        </a:cxn>
                                                        <a:cxn ang="0">
                                                          <a:pos x="24" y="38"/>
                                                        </a:cxn>
                                                        <a:cxn ang="0">
                                                          <a:pos x="22" y="40"/>
                                                        </a:cxn>
                                                        <a:cxn ang="0">
                                                          <a:pos x="12" y="40"/>
                                                        </a:cxn>
                                                        <a:cxn ang="0">
                                                          <a:pos x="6" y="40"/>
                                                        </a:cxn>
                                                        <a:cxn ang="0">
                                                          <a:pos x="0" y="38"/>
                                                        </a:cxn>
                                                        <a:cxn ang="0">
                                                          <a:pos x="0" y="28"/>
                                                        </a:cxn>
                                                        <a:cxn ang="0">
                                                          <a:pos x="2" y="26"/>
                                                        </a:cxn>
                                                        <a:cxn ang="0">
                                                          <a:pos x="10" y="20"/>
                                                        </a:cxn>
                                                        <a:cxn ang="0">
                                                          <a:pos x="18" y="16"/>
                                                        </a:cxn>
                                                        <a:cxn ang="0">
                                                          <a:pos x="20" y="8"/>
                                                        </a:cxn>
                                                        <a:cxn ang="0">
                                                          <a:pos x="26" y="2"/>
                                                        </a:cxn>
                                                      </a:cxnLst>
                                                      <a:rect l="0" t="0" r="r" b="b"/>
                                                      <a:pathLst>
                                                        <a:path w="90" h="40">
                                                          <a:moveTo>
                                                            <a:pt x="26" y="2"/>
                                                          </a:moveTo>
                                                          <a:lnTo>
                                                            <a:pt x="26" y="2"/>
                                                          </a:lnTo>
                                                          <a:lnTo>
                                                            <a:pt x="34" y="6"/>
                                                          </a:lnTo>
                                                          <a:lnTo>
                                                            <a:pt x="36" y="4"/>
                                                          </a:lnTo>
                                                          <a:lnTo>
                                                            <a:pt x="36" y="4"/>
                                                          </a:lnTo>
                                                          <a:lnTo>
                                                            <a:pt x="38" y="0"/>
                                                          </a:lnTo>
                                                          <a:lnTo>
                                                            <a:pt x="42" y="4"/>
                                                          </a:lnTo>
                                                          <a:lnTo>
                                                            <a:pt x="42" y="4"/>
                                                          </a:lnTo>
                                                          <a:lnTo>
                                                            <a:pt x="46" y="6"/>
                                                          </a:lnTo>
                                                          <a:lnTo>
                                                            <a:pt x="48" y="6"/>
                                                          </a:lnTo>
                                                          <a:lnTo>
                                                            <a:pt x="50" y="4"/>
                                                          </a:lnTo>
                                                          <a:lnTo>
                                                            <a:pt x="52" y="4"/>
                                                          </a:lnTo>
                                                          <a:lnTo>
                                                            <a:pt x="52" y="4"/>
                                                          </a:lnTo>
                                                          <a:lnTo>
                                                            <a:pt x="56" y="6"/>
                                                          </a:lnTo>
                                                          <a:lnTo>
                                                            <a:pt x="60" y="8"/>
                                                          </a:lnTo>
                                                          <a:lnTo>
                                                            <a:pt x="60" y="8"/>
                                                          </a:lnTo>
                                                          <a:lnTo>
                                                            <a:pt x="62" y="6"/>
                                                          </a:lnTo>
                                                          <a:lnTo>
                                                            <a:pt x="62" y="6"/>
                                                          </a:lnTo>
                                                          <a:lnTo>
                                                            <a:pt x="62" y="4"/>
                                                          </a:lnTo>
                                                          <a:lnTo>
                                                            <a:pt x="66" y="2"/>
                                                          </a:lnTo>
                                                          <a:lnTo>
                                                            <a:pt x="66" y="2"/>
                                                          </a:lnTo>
                                                          <a:lnTo>
                                                            <a:pt x="70" y="4"/>
                                                          </a:lnTo>
                                                          <a:lnTo>
                                                            <a:pt x="76" y="6"/>
                                                          </a:lnTo>
                                                          <a:lnTo>
                                                            <a:pt x="82" y="10"/>
                                                          </a:lnTo>
                                                          <a:lnTo>
                                                            <a:pt x="90" y="10"/>
                                                          </a:lnTo>
                                                          <a:lnTo>
                                                            <a:pt x="90" y="10"/>
                                                          </a:lnTo>
                                                          <a:lnTo>
                                                            <a:pt x="90" y="12"/>
                                                          </a:lnTo>
                                                          <a:lnTo>
                                                            <a:pt x="90" y="16"/>
                                                          </a:lnTo>
                                                          <a:lnTo>
                                                            <a:pt x="90" y="16"/>
                                                          </a:lnTo>
                                                          <a:lnTo>
                                                            <a:pt x="88" y="20"/>
                                                          </a:lnTo>
                                                          <a:lnTo>
                                                            <a:pt x="88" y="22"/>
                                                          </a:lnTo>
                                                          <a:lnTo>
                                                            <a:pt x="88" y="22"/>
                                                          </a:lnTo>
                                                          <a:lnTo>
                                                            <a:pt x="88" y="24"/>
                                                          </a:lnTo>
                                                          <a:lnTo>
                                                            <a:pt x="88" y="24"/>
                                                          </a:lnTo>
                                                          <a:lnTo>
                                                            <a:pt x="80" y="26"/>
                                                          </a:lnTo>
                                                          <a:lnTo>
                                                            <a:pt x="72" y="22"/>
                                                          </a:lnTo>
                                                          <a:lnTo>
                                                            <a:pt x="72" y="22"/>
                                                          </a:lnTo>
                                                          <a:lnTo>
                                                            <a:pt x="66" y="20"/>
                                                          </a:lnTo>
                                                          <a:lnTo>
                                                            <a:pt x="64" y="22"/>
                                                          </a:lnTo>
                                                          <a:lnTo>
                                                            <a:pt x="62" y="24"/>
                                                          </a:lnTo>
                                                          <a:lnTo>
                                                            <a:pt x="58" y="24"/>
                                                          </a:lnTo>
                                                          <a:lnTo>
                                                            <a:pt x="58" y="24"/>
                                                          </a:lnTo>
                                                          <a:lnTo>
                                                            <a:pt x="54" y="24"/>
                                                          </a:lnTo>
                                                          <a:lnTo>
                                                            <a:pt x="50" y="26"/>
                                                          </a:lnTo>
                                                          <a:lnTo>
                                                            <a:pt x="44" y="30"/>
                                                          </a:lnTo>
                                                          <a:lnTo>
                                                            <a:pt x="44" y="30"/>
                                                          </a:lnTo>
                                                          <a:lnTo>
                                                            <a:pt x="36" y="32"/>
                                                          </a:lnTo>
                                                          <a:lnTo>
                                                            <a:pt x="26" y="34"/>
                                                          </a:lnTo>
                                                          <a:lnTo>
                                                            <a:pt x="26" y="34"/>
                                                          </a:lnTo>
                                                          <a:lnTo>
                                                            <a:pt x="24" y="34"/>
                                                          </a:lnTo>
                                                          <a:lnTo>
                                                            <a:pt x="22" y="36"/>
                                                          </a:lnTo>
                                                          <a:lnTo>
                                                            <a:pt x="24" y="38"/>
                                                          </a:lnTo>
                                                          <a:lnTo>
                                                            <a:pt x="24" y="38"/>
                                                          </a:lnTo>
                                                          <a:lnTo>
                                                            <a:pt x="22" y="40"/>
                                                          </a:lnTo>
                                                          <a:lnTo>
                                                            <a:pt x="20" y="40"/>
                                                          </a:lnTo>
                                                          <a:lnTo>
                                                            <a:pt x="12" y="40"/>
                                                          </a:lnTo>
                                                          <a:lnTo>
                                                            <a:pt x="12" y="40"/>
                                                          </a:lnTo>
                                                          <a:lnTo>
                                                            <a:pt x="6" y="40"/>
                                                          </a:lnTo>
                                                          <a:lnTo>
                                                            <a:pt x="0" y="38"/>
                                                          </a:lnTo>
                                                          <a:lnTo>
                                                            <a:pt x="0" y="38"/>
                                                          </a:lnTo>
                                                          <a:lnTo>
                                                            <a:pt x="0" y="32"/>
                                                          </a:lnTo>
                                                          <a:lnTo>
                                                            <a:pt x="0" y="28"/>
                                                          </a:lnTo>
                                                          <a:lnTo>
                                                            <a:pt x="0" y="28"/>
                                                          </a:lnTo>
                                                          <a:lnTo>
                                                            <a:pt x="2" y="26"/>
                                                          </a:lnTo>
                                                          <a:lnTo>
                                                            <a:pt x="6" y="22"/>
                                                          </a:lnTo>
                                                          <a:lnTo>
                                                            <a:pt x="10" y="20"/>
                                                          </a:lnTo>
                                                          <a:lnTo>
                                                            <a:pt x="10" y="20"/>
                                                          </a:lnTo>
                                                          <a:lnTo>
                                                            <a:pt x="18" y="16"/>
                                                          </a:lnTo>
                                                          <a:lnTo>
                                                            <a:pt x="18" y="12"/>
                                                          </a:lnTo>
                                                          <a:lnTo>
                                                            <a:pt x="20" y="8"/>
                                                          </a:lnTo>
                                                          <a:lnTo>
                                                            <a:pt x="26" y="2"/>
                                                          </a:lnTo>
                                                          <a:lnTo>
                                                            <a:pt x="26" y="2"/>
                                                          </a:lnTo>
                                                          <a:close/>
                                                        </a:path>
                                                      </a:pathLst>
                                                    </a:custGeom>
                                                    <a:solidFill>
                                                      <a:schemeClr val="accent3"/>
                                                    </a:solid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39" name="Group 38"/>
                                                    <p:cNvGrpSpPr/>
                                                    <p:nvPr/>
                                                  </p:nvGrpSpPr>
                                                  <p:grpSpPr>
                                                    <a:xfrm>
                                                      <a:off x="2857040" y="1614303"/>
                                                      <a:ext cx="7820530" cy="4979493"/>
                                                      <a:chOff x="2857040" y="1614303"/>
                                                      <a:chExt cx="7820530" cy="4979493"/>
                                                    </a:xfrm>
                                                  </p:grpSpPr>
                                                  <p:sp>
                                                    <p:nvSpPr>
                                                      <p:cNvPr id="459" name="Turkey"/>
                                                      <p:cNvSpPr>
                                                        <a:spLocks/>
                                                      </p:cNvSpPr>
                                                      <p:nvPr/>
                                                    </p:nvSpPr>
                                                    <p:spPr bwMode="auto">
                                                      <a:xfrm>
                                                        <a:off x="6555222" y="2123888"/>
                                                        <a:ext cx="568039" cy="203334"/>
                                                      </a:xfrm>
                                                      <a:custGeom>
                                                        <a:avLst/>
                                                        <a:gdLst/>
                                                        <a:ahLst/>
                                                        <a:cxnLst>
                                                          <a:cxn ang="0">
                                                            <a:pos x="260" y="22"/>
                                                          </a:cxn>
                                                          <a:cxn ang="0">
                                                            <a:pos x="236" y="20"/>
                                                          </a:cxn>
                                                          <a:cxn ang="0">
                                                            <a:pos x="202" y="18"/>
                                                          </a:cxn>
                                                          <a:cxn ang="0">
                                                            <a:pos x="186" y="12"/>
                                                          </a:cxn>
                                                          <a:cxn ang="0">
                                                            <a:pos x="172" y="6"/>
                                                          </a:cxn>
                                                          <a:cxn ang="0">
                                                            <a:pos x="156" y="2"/>
                                                          </a:cxn>
                                                          <a:cxn ang="0">
                                                            <a:pos x="126" y="4"/>
                                                          </a:cxn>
                                                          <a:cxn ang="0">
                                                            <a:pos x="98" y="14"/>
                                                          </a:cxn>
                                                          <a:cxn ang="0">
                                                            <a:pos x="68" y="20"/>
                                                          </a:cxn>
                                                          <a:cxn ang="0">
                                                            <a:pos x="48" y="24"/>
                                                          </a:cxn>
                                                          <a:cxn ang="0">
                                                            <a:pos x="72" y="28"/>
                                                          </a:cxn>
                                                          <a:cxn ang="0">
                                                            <a:pos x="54" y="32"/>
                                                          </a:cxn>
                                                          <a:cxn ang="0">
                                                            <a:pos x="32" y="34"/>
                                                          </a:cxn>
                                                          <a:cxn ang="0">
                                                            <a:pos x="22" y="36"/>
                                                          </a:cxn>
                                                          <a:cxn ang="0">
                                                            <a:pos x="8" y="42"/>
                                                          </a:cxn>
                                                          <a:cxn ang="0">
                                                            <a:pos x="0" y="52"/>
                                                          </a:cxn>
                                                          <a:cxn ang="0">
                                                            <a:pos x="4" y="56"/>
                                                          </a:cxn>
                                                          <a:cxn ang="0">
                                                            <a:pos x="10" y="62"/>
                                                          </a:cxn>
                                                          <a:cxn ang="0">
                                                            <a:pos x="12" y="68"/>
                                                          </a:cxn>
                                                          <a:cxn ang="0">
                                                            <a:pos x="12" y="74"/>
                                                          </a:cxn>
                                                          <a:cxn ang="0">
                                                            <a:pos x="8" y="74"/>
                                                          </a:cxn>
                                                          <a:cxn ang="0">
                                                            <a:pos x="4" y="78"/>
                                                          </a:cxn>
                                                          <a:cxn ang="0">
                                                            <a:pos x="8" y="88"/>
                                                          </a:cxn>
                                                          <a:cxn ang="0">
                                                            <a:pos x="22" y="92"/>
                                                          </a:cxn>
                                                          <a:cxn ang="0">
                                                            <a:pos x="24" y="102"/>
                                                          </a:cxn>
                                                          <a:cxn ang="0">
                                                            <a:pos x="34" y="106"/>
                                                          </a:cxn>
                                                          <a:cxn ang="0">
                                                            <a:pos x="34" y="110"/>
                                                          </a:cxn>
                                                          <a:cxn ang="0">
                                                            <a:pos x="32" y="114"/>
                                                          </a:cxn>
                                                          <a:cxn ang="0">
                                                            <a:pos x="38" y="118"/>
                                                          </a:cxn>
                                                          <a:cxn ang="0">
                                                            <a:pos x="36" y="122"/>
                                                          </a:cxn>
                                                          <a:cxn ang="0">
                                                            <a:pos x="52" y="122"/>
                                                          </a:cxn>
                                                          <a:cxn ang="0">
                                                            <a:pos x="66" y="120"/>
                                                          </a:cxn>
                                                          <a:cxn ang="0">
                                                            <a:pos x="68" y="124"/>
                                                          </a:cxn>
                                                          <a:cxn ang="0">
                                                            <a:pos x="82" y="132"/>
                                                          </a:cxn>
                                                          <a:cxn ang="0">
                                                            <a:pos x="98" y="124"/>
                                                          </a:cxn>
                                                          <a:cxn ang="0">
                                                            <a:pos x="106" y="118"/>
                                                          </a:cxn>
                                                          <a:cxn ang="0">
                                                            <a:pos x="128" y="128"/>
                                                          </a:cxn>
                                                          <a:cxn ang="0">
                                                            <a:pos x="156" y="132"/>
                                                          </a:cxn>
                                                          <a:cxn ang="0">
                                                            <a:pos x="166" y="120"/>
                                                          </a:cxn>
                                                          <a:cxn ang="0">
                                                            <a:pos x="188" y="122"/>
                                                          </a:cxn>
                                                          <a:cxn ang="0">
                                                            <a:pos x="196" y="120"/>
                                                          </a:cxn>
                                                          <a:cxn ang="0">
                                                            <a:pos x="192" y="130"/>
                                                          </a:cxn>
                                                          <a:cxn ang="0">
                                                            <a:pos x="208" y="130"/>
                                                          </a:cxn>
                                                          <a:cxn ang="0">
                                                            <a:pos x="218" y="116"/>
                                                          </a:cxn>
                                                          <a:cxn ang="0">
                                                            <a:pos x="250" y="114"/>
                                                          </a:cxn>
                                                          <a:cxn ang="0">
                                                            <a:pos x="298" y="104"/>
                                                          </a:cxn>
                                                          <a:cxn ang="0">
                                                            <a:pos x="320" y="104"/>
                                                          </a:cxn>
                                                          <a:cxn ang="0">
                                                            <a:pos x="334" y="98"/>
                                                          </a:cxn>
                                                          <a:cxn ang="0">
                                                            <a:pos x="356" y="104"/>
                                                          </a:cxn>
                                                          <a:cxn ang="0">
                                                            <a:pos x="374" y="106"/>
                                                          </a:cxn>
                                                          <a:cxn ang="0">
                                                            <a:pos x="370" y="100"/>
                                                          </a:cxn>
                                                          <a:cxn ang="0">
                                                            <a:pos x="362" y="92"/>
                                                          </a:cxn>
                                                          <a:cxn ang="0">
                                                            <a:pos x="354" y="74"/>
                                                          </a:cxn>
                                                          <a:cxn ang="0">
                                                            <a:pos x="346" y="56"/>
                                                          </a:cxn>
                                                          <a:cxn ang="0">
                                                            <a:pos x="354" y="52"/>
                                                          </a:cxn>
                                                          <a:cxn ang="0">
                                                            <a:pos x="350" y="40"/>
                                                          </a:cxn>
                                                          <a:cxn ang="0">
                                                            <a:pos x="332" y="34"/>
                                                          </a:cxn>
                                                          <a:cxn ang="0">
                                                            <a:pos x="328" y="18"/>
                                                          </a:cxn>
                                                          <a:cxn ang="0">
                                                            <a:pos x="320" y="10"/>
                                                          </a:cxn>
                                                          <a:cxn ang="0">
                                                            <a:pos x="306" y="10"/>
                                                          </a:cxn>
                                                        </a:cxnLst>
                                                        <a:rect l="0" t="0" r="r" b="b"/>
                                                        <a:pathLst>
                                                          <a:path w="374" h="134">
                                                            <a:moveTo>
                                                              <a:pt x="282" y="6"/>
                                                            </a:moveTo>
                                                            <a:lnTo>
                                                              <a:pt x="282" y="6"/>
                                                            </a:lnTo>
                                                            <a:lnTo>
                                                              <a:pt x="274" y="16"/>
                                                            </a:lnTo>
                                                            <a:lnTo>
                                                              <a:pt x="268" y="20"/>
                                                            </a:lnTo>
                                                            <a:lnTo>
                                                              <a:pt x="260" y="22"/>
                                                            </a:lnTo>
                                                            <a:lnTo>
                                                              <a:pt x="254" y="22"/>
                                                            </a:lnTo>
                                                            <a:lnTo>
                                                              <a:pt x="246" y="18"/>
                                                            </a:lnTo>
                                                            <a:lnTo>
                                                              <a:pt x="240" y="18"/>
                                                            </a:lnTo>
                                                            <a:lnTo>
                                                              <a:pt x="236" y="20"/>
                                                            </a:lnTo>
                                                            <a:lnTo>
                                                              <a:pt x="236" y="20"/>
                                                            </a:lnTo>
                                                            <a:lnTo>
                                                              <a:pt x="224" y="22"/>
                                                            </a:lnTo>
                                                            <a:lnTo>
                                                              <a:pt x="216" y="22"/>
                                                            </a:lnTo>
                                                            <a:lnTo>
                                                              <a:pt x="206" y="20"/>
                                                            </a:lnTo>
                                                            <a:lnTo>
                                                              <a:pt x="206" y="20"/>
                                                            </a:lnTo>
                                                            <a:lnTo>
                                                              <a:pt x="202" y="18"/>
                                                            </a:lnTo>
                                                            <a:lnTo>
                                                              <a:pt x="202" y="16"/>
                                                            </a:lnTo>
                                                            <a:lnTo>
                                                              <a:pt x="200" y="14"/>
                                                            </a:lnTo>
                                                            <a:lnTo>
                                                              <a:pt x="194" y="14"/>
                                                            </a:lnTo>
                                                            <a:lnTo>
                                                              <a:pt x="194" y="14"/>
                                                            </a:lnTo>
                                                            <a:lnTo>
                                                              <a:pt x="186" y="12"/>
                                                            </a:lnTo>
                                                            <a:lnTo>
                                                              <a:pt x="184" y="10"/>
                                                            </a:lnTo>
                                                            <a:lnTo>
                                                              <a:pt x="182" y="8"/>
                                                            </a:lnTo>
                                                            <a:lnTo>
                                                              <a:pt x="176" y="6"/>
                                                            </a:lnTo>
                                                            <a:lnTo>
                                                              <a:pt x="176" y="6"/>
                                                            </a:lnTo>
                                                            <a:lnTo>
                                                              <a:pt x="172" y="6"/>
                                                            </a:lnTo>
                                                            <a:lnTo>
                                                              <a:pt x="170" y="6"/>
                                                            </a:lnTo>
                                                            <a:lnTo>
                                                              <a:pt x="164" y="2"/>
                                                            </a:lnTo>
                                                            <a:lnTo>
                                                              <a:pt x="162" y="0"/>
                                                            </a:lnTo>
                                                            <a:lnTo>
                                                              <a:pt x="160" y="0"/>
                                                            </a:lnTo>
                                                            <a:lnTo>
                                                              <a:pt x="156" y="2"/>
                                                            </a:lnTo>
                                                            <a:lnTo>
                                                              <a:pt x="156" y="2"/>
                                                            </a:lnTo>
                                                            <a:lnTo>
                                                              <a:pt x="150" y="4"/>
                                                            </a:lnTo>
                                                            <a:lnTo>
                                                              <a:pt x="140" y="4"/>
                                                            </a:lnTo>
                                                            <a:lnTo>
                                                              <a:pt x="130" y="4"/>
                                                            </a:lnTo>
                                                            <a:lnTo>
                                                              <a:pt x="126" y="4"/>
                                                            </a:lnTo>
                                                            <a:lnTo>
                                                              <a:pt x="122" y="8"/>
                                                            </a:lnTo>
                                                            <a:lnTo>
                                                              <a:pt x="122" y="8"/>
                                                            </a:lnTo>
                                                            <a:lnTo>
                                                              <a:pt x="112" y="10"/>
                                                            </a:lnTo>
                                                            <a:lnTo>
                                                              <a:pt x="106" y="12"/>
                                                            </a:lnTo>
                                                            <a:lnTo>
                                                              <a:pt x="98" y="14"/>
                                                            </a:lnTo>
                                                            <a:lnTo>
                                                              <a:pt x="92" y="20"/>
                                                            </a:lnTo>
                                                            <a:lnTo>
                                                              <a:pt x="92" y="20"/>
                                                            </a:lnTo>
                                                            <a:lnTo>
                                                              <a:pt x="86" y="22"/>
                                                            </a:lnTo>
                                                            <a:lnTo>
                                                              <a:pt x="82" y="22"/>
                                                            </a:lnTo>
                                                            <a:lnTo>
                                                              <a:pt x="68" y="20"/>
                                                            </a:lnTo>
                                                            <a:lnTo>
                                                              <a:pt x="58" y="18"/>
                                                            </a:lnTo>
                                                            <a:lnTo>
                                                              <a:pt x="52" y="18"/>
                                                            </a:lnTo>
                                                            <a:lnTo>
                                                              <a:pt x="50" y="20"/>
                                                            </a:lnTo>
                                                            <a:lnTo>
                                                              <a:pt x="50" y="20"/>
                                                            </a:lnTo>
                                                            <a:lnTo>
                                                              <a:pt x="48" y="24"/>
                                                            </a:lnTo>
                                                            <a:lnTo>
                                                              <a:pt x="50" y="24"/>
                                                            </a:lnTo>
                                                            <a:lnTo>
                                                              <a:pt x="54" y="26"/>
                                                            </a:lnTo>
                                                            <a:lnTo>
                                                              <a:pt x="62" y="26"/>
                                                            </a:lnTo>
                                                            <a:lnTo>
                                                              <a:pt x="72" y="28"/>
                                                            </a:lnTo>
                                                            <a:lnTo>
                                                              <a:pt x="72" y="28"/>
                                                            </a:lnTo>
                                                            <a:lnTo>
                                                              <a:pt x="56" y="30"/>
                                                            </a:lnTo>
                                                            <a:lnTo>
                                                              <a:pt x="52" y="32"/>
                                                            </a:lnTo>
                                                            <a:lnTo>
                                                              <a:pt x="52" y="32"/>
                                                            </a:lnTo>
                                                            <a:lnTo>
                                                              <a:pt x="54" y="32"/>
                                                            </a:lnTo>
                                                            <a:lnTo>
                                                              <a:pt x="54" y="32"/>
                                                            </a:lnTo>
                                                            <a:lnTo>
                                                              <a:pt x="54" y="34"/>
                                                            </a:lnTo>
                                                            <a:lnTo>
                                                              <a:pt x="54" y="34"/>
                                                            </a:lnTo>
                                                            <a:lnTo>
                                                              <a:pt x="46" y="36"/>
                                                            </a:lnTo>
                                                            <a:lnTo>
                                                              <a:pt x="38" y="36"/>
                                                            </a:lnTo>
                                                            <a:lnTo>
                                                              <a:pt x="32" y="34"/>
                                                            </a:lnTo>
                                                            <a:lnTo>
                                                              <a:pt x="32" y="34"/>
                                                            </a:lnTo>
                                                            <a:lnTo>
                                                              <a:pt x="30" y="34"/>
                                                            </a:lnTo>
                                                            <a:lnTo>
                                                              <a:pt x="28" y="36"/>
                                                            </a:lnTo>
                                                            <a:lnTo>
                                                              <a:pt x="24" y="36"/>
                                                            </a:lnTo>
                                                            <a:lnTo>
                                                              <a:pt x="22" y="36"/>
                                                            </a:lnTo>
                                                            <a:lnTo>
                                                              <a:pt x="22" y="36"/>
                                                            </a:lnTo>
                                                            <a:lnTo>
                                                              <a:pt x="20" y="34"/>
                                                            </a:lnTo>
                                                            <a:lnTo>
                                                              <a:pt x="16" y="36"/>
                                                            </a:lnTo>
                                                            <a:lnTo>
                                                              <a:pt x="8" y="42"/>
                                                            </a:lnTo>
                                                            <a:lnTo>
                                                              <a:pt x="8" y="42"/>
                                                            </a:lnTo>
                                                            <a:lnTo>
                                                              <a:pt x="0" y="42"/>
                                                            </a:lnTo>
                                                            <a:lnTo>
                                                              <a:pt x="0" y="44"/>
                                                            </a:lnTo>
                                                            <a:lnTo>
                                                              <a:pt x="0" y="46"/>
                                                            </a:lnTo>
                                                            <a:lnTo>
                                                              <a:pt x="0" y="46"/>
                                                            </a:lnTo>
                                                            <a:lnTo>
                                                              <a:pt x="0" y="52"/>
                                                            </a:lnTo>
                                                            <a:lnTo>
                                                              <a:pt x="0" y="54"/>
                                                            </a:lnTo>
                                                            <a:lnTo>
                                                              <a:pt x="2" y="54"/>
                                                            </a:lnTo>
                                                            <a:lnTo>
                                                              <a:pt x="10" y="54"/>
                                                            </a:lnTo>
                                                            <a:lnTo>
                                                              <a:pt x="10" y="54"/>
                                                            </a:lnTo>
                                                            <a:lnTo>
                                                              <a:pt x="4" y="56"/>
                                                            </a:lnTo>
                                                            <a:lnTo>
                                                              <a:pt x="6" y="60"/>
                                                            </a:lnTo>
                                                            <a:lnTo>
                                                              <a:pt x="10" y="60"/>
                                                            </a:lnTo>
                                                            <a:lnTo>
                                                              <a:pt x="10" y="62"/>
                                                            </a:lnTo>
                                                            <a:lnTo>
                                                              <a:pt x="10" y="62"/>
                                                            </a:lnTo>
                                                            <a:lnTo>
                                                              <a:pt x="10" y="62"/>
                                                            </a:lnTo>
                                                            <a:lnTo>
                                                              <a:pt x="10" y="64"/>
                                                            </a:lnTo>
                                                            <a:lnTo>
                                                              <a:pt x="12" y="66"/>
                                                            </a:lnTo>
                                                            <a:lnTo>
                                                              <a:pt x="12" y="66"/>
                                                            </a:lnTo>
                                                            <a:lnTo>
                                                              <a:pt x="12" y="68"/>
                                                            </a:lnTo>
                                                            <a:lnTo>
                                                              <a:pt x="12" y="68"/>
                                                            </a:lnTo>
                                                            <a:lnTo>
                                                              <a:pt x="10" y="68"/>
                                                            </a:lnTo>
                                                            <a:lnTo>
                                                              <a:pt x="10" y="70"/>
                                                            </a:lnTo>
                                                            <a:lnTo>
                                                              <a:pt x="12" y="72"/>
                                                            </a:lnTo>
                                                            <a:lnTo>
                                                              <a:pt x="14" y="74"/>
                                                            </a:lnTo>
                                                            <a:lnTo>
                                                              <a:pt x="12" y="74"/>
                                                            </a:lnTo>
                                                            <a:lnTo>
                                                              <a:pt x="12" y="74"/>
                                                            </a:lnTo>
                                                            <a:lnTo>
                                                              <a:pt x="10" y="76"/>
                                                            </a:lnTo>
                                                            <a:lnTo>
                                                              <a:pt x="10" y="78"/>
                                                            </a:lnTo>
                                                            <a:lnTo>
                                                              <a:pt x="8" y="74"/>
                                                            </a:lnTo>
                                                            <a:lnTo>
                                                              <a:pt x="8" y="74"/>
                                                            </a:lnTo>
                                                            <a:lnTo>
                                                              <a:pt x="6" y="72"/>
                                                            </a:lnTo>
                                                            <a:lnTo>
                                                              <a:pt x="4" y="74"/>
                                                            </a:lnTo>
                                                            <a:lnTo>
                                                              <a:pt x="2" y="76"/>
                                                            </a:lnTo>
                                                            <a:lnTo>
                                                              <a:pt x="4" y="78"/>
                                                            </a:lnTo>
                                                            <a:lnTo>
                                                              <a:pt x="4" y="78"/>
                                                            </a:lnTo>
                                                            <a:lnTo>
                                                              <a:pt x="6" y="82"/>
                                                            </a:lnTo>
                                                            <a:lnTo>
                                                              <a:pt x="6" y="86"/>
                                                            </a:lnTo>
                                                            <a:lnTo>
                                                              <a:pt x="6" y="88"/>
                                                            </a:lnTo>
                                                            <a:lnTo>
                                                              <a:pt x="8" y="88"/>
                                                            </a:lnTo>
                                                            <a:lnTo>
                                                              <a:pt x="8" y="88"/>
                                                            </a:lnTo>
                                                            <a:lnTo>
                                                              <a:pt x="10" y="86"/>
                                                            </a:lnTo>
                                                            <a:lnTo>
                                                              <a:pt x="14" y="86"/>
                                                            </a:lnTo>
                                                            <a:lnTo>
                                                              <a:pt x="18" y="90"/>
                                                            </a:lnTo>
                                                            <a:lnTo>
                                                              <a:pt x="18" y="90"/>
                                                            </a:lnTo>
                                                            <a:lnTo>
                                                              <a:pt x="22" y="92"/>
                                                            </a:lnTo>
                                                            <a:lnTo>
                                                              <a:pt x="24" y="94"/>
                                                            </a:lnTo>
                                                            <a:lnTo>
                                                              <a:pt x="22" y="98"/>
                                                            </a:lnTo>
                                                            <a:lnTo>
                                                              <a:pt x="22" y="100"/>
                                                            </a:lnTo>
                                                            <a:lnTo>
                                                              <a:pt x="22" y="102"/>
                                                            </a:lnTo>
                                                            <a:lnTo>
                                                              <a:pt x="24" y="102"/>
                                                            </a:lnTo>
                                                            <a:lnTo>
                                                              <a:pt x="24" y="102"/>
                                                            </a:lnTo>
                                                            <a:lnTo>
                                                              <a:pt x="28" y="102"/>
                                                            </a:lnTo>
                                                            <a:lnTo>
                                                              <a:pt x="30" y="104"/>
                                                            </a:lnTo>
                                                            <a:lnTo>
                                                              <a:pt x="32" y="106"/>
                                                            </a:lnTo>
                                                            <a:lnTo>
                                                              <a:pt x="34" y="106"/>
                                                            </a:lnTo>
                                                            <a:lnTo>
                                                              <a:pt x="34" y="106"/>
                                                            </a:lnTo>
                                                            <a:lnTo>
                                                              <a:pt x="36" y="106"/>
                                                            </a:lnTo>
                                                            <a:lnTo>
                                                              <a:pt x="38" y="108"/>
                                                            </a:lnTo>
                                                            <a:lnTo>
                                                              <a:pt x="36" y="110"/>
                                                            </a:lnTo>
                                                            <a:lnTo>
                                                              <a:pt x="34" y="110"/>
                                                            </a:lnTo>
                                                            <a:lnTo>
                                                              <a:pt x="34" y="110"/>
                                                            </a:lnTo>
                                                            <a:lnTo>
                                                              <a:pt x="32" y="110"/>
                                                            </a:lnTo>
                                                            <a:lnTo>
                                                              <a:pt x="32" y="112"/>
                                                            </a:lnTo>
                                                            <a:lnTo>
                                                              <a:pt x="32" y="114"/>
                                                            </a:lnTo>
                                                            <a:lnTo>
                                                              <a:pt x="32" y="114"/>
                                                            </a:lnTo>
                                                            <a:lnTo>
                                                              <a:pt x="40" y="114"/>
                                                            </a:lnTo>
                                                            <a:lnTo>
                                                              <a:pt x="46" y="114"/>
                                                            </a:lnTo>
                                                            <a:lnTo>
                                                              <a:pt x="46" y="114"/>
                                                            </a:lnTo>
                                                            <a:lnTo>
                                                              <a:pt x="44" y="116"/>
                                                            </a:lnTo>
                                                            <a:lnTo>
                                                              <a:pt x="38" y="118"/>
                                                            </a:lnTo>
                                                            <a:lnTo>
                                                              <a:pt x="34" y="118"/>
                                                            </a:lnTo>
                                                            <a:lnTo>
                                                              <a:pt x="32" y="120"/>
                                                            </a:lnTo>
                                                            <a:lnTo>
                                                              <a:pt x="34" y="120"/>
                                                            </a:lnTo>
                                                            <a:lnTo>
                                                              <a:pt x="34" y="120"/>
                                                            </a:lnTo>
                                                            <a:lnTo>
                                                              <a:pt x="36" y="122"/>
                                                            </a:lnTo>
                                                            <a:lnTo>
                                                              <a:pt x="40" y="120"/>
                                                            </a:lnTo>
                                                            <a:lnTo>
                                                              <a:pt x="42" y="120"/>
                                                            </a:lnTo>
                                                            <a:lnTo>
                                                              <a:pt x="46" y="122"/>
                                                            </a:lnTo>
                                                            <a:lnTo>
                                                              <a:pt x="46" y="122"/>
                                                            </a:lnTo>
                                                            <a:lnTo>
                                                              <a:pt x="52" y="122"/>
                                                            </a:lnTo>
                                                            <a:lnTo>
                                                              <a:pt x="56" y="120"/>
                                                            </a:lnTo>
                                                            <a:lnTo>
                                                              <a:pt x="58" y="118"/>
                                                            </a:lnTo>
                                                            <a:lnTo>
                                                              <a:pt x="58" y="118"/>
                                                            </a:lnTo>
                                                            <a:lnTo>
                                                              <a:pt x="60" y="120"/>
                                                            </a:lnTo>
                                                            <a:lnTo>
                                                              <a:pt x="66" y="120"/>
                                                            </a:lnTo>
                                                            <a:lnTo>
                                                              <a:pt x="68" y="122"/>
                                                            </a:lnTo>
                                                            <a:lnTo>
                                                              <a:pt x="70" y="122"/>
                                                            </a:lnTo>
                                                            <a:lnTo>
                                                              <a:pt x="68" y="122"/>
                                                            </a:lnTo>
                                                            <a:lnTo>
                                                              <a:pt x="68" y="122"/>
                                                            </a:lnTo>
                                                            <a:lnTo>
                                                              <a:pt x="68" y="124"/>
                                                            </a:lnTo>
                                                            <a:lnTo>
                                                              <a:pt x="68" y="126"/>
                                                            </a:lnTo>
                                                            <a:lnTo>
                                                              <a:pt x="72" y="130"/>
                                                            </a:lnTo>
                                                            <a:lnTo>
                                                              <a:pt x="78" y="134"/>
                                                            </a:lnTo>
                                                            <a:lnTo>
                                                              <a:pt x="80" y="134"/>
                                                            </a:lnTo>
                                                            <a:lnTo>
                                                              <a:pt x="82" y="132"/>
                                                            </a:lnTo>
                                                            <a:lnTo>
                                                              <a:pt x="82" y="132"/>
                                                            </a:lnTo>
                                                            <a:lnTo>
                                                              <a:pt x="84" y="130"/>
                                                            </a:lnTo>
                                                            <a:lnTo>
                                                              <a:pt x="92" y="130"/>
                                                            </a:lnTo>
                                                            <a:lnTo>
                                                              <a:pt x="96" y="126"/>
                                                            </a:lnTo>
                                                            <a:lnTo>
                                                              <a:pt x="98" y="124"/>
                                                            </a:lnTo>
                                                            <a:lnTo>
                                                              <a:pt x="98" y="122"/>
                                                            </a:lnTo>
                                                            <a:lnTo>
                                                              <a:pt x="98" y="122"/>
                                                            </a:lnTo>
                                                            <a:lnTo>
                                                              <a:pt x="98" y="118"/>
                                                            </a:lnTo>
                                                            <a:lnTo>
                                                              <a:pt x="102" y="118"/>
                                                            </a:lnTo>
                                                            <a:lnTo>
                                                              <a:pt x="106" y="118"/>
                                                            </a:lnTo>
                                                            <a:lnTo>
                                                              <a:pt x="112" y="120"/>
                                                            </a:lnTo>
                                                            <a:lnTo>
                                                              <a:pt x="112" y="120"/>
                                                            </a:lnTo>
                                                            <a:lnTo>
                                                              <a:pt x="118" y="122"/>
                                                            </a:lnTo>
                                                            <a:lnTo>
                                                              <a:pt x="122" y="124"/>
                                                            </a:lnTo>
                                                            <a:lnTo>
                                                              <a:pt x="128" y="128"/>
                                                            </a:lnTo>
                                                            <a:lnTo>
                                                              <a:pt x="134" y="134"/>
                                                            </a:lnTo>
                                                            <a:lnTo>
                                                              <a:pt x="134" y="134"/>
                                                            </a:lnTo>
                                                            <a:lnTo>
                                                              <a:pt x="140" y="134"/>
                                                            </a:lnTo>
                                                            <a:lnTo>
                                                              <a:pt x="146" y="134"/>
                                                            </a:lnTo>
                                                            <a:lnTo>
                                                              <a:pt x="156" y="132"/>
                                                            </a:lnTo>
                                                            <a:lnTo>
                                                              <a:pt x="156" y="132"/>
                                                            </a:lnTo>
                                                            <a:lnTo>
                                                              <a:pt x="158" y="132"/>
                                                            </a:lnTo>
                                                            <a:lnTo>
                                                              <a:pt x="160" y="130"/>
                                                            </a:lnTo>
                                                            <a:lnTo>
                                                              <a:pt x="160" y="126"/>
                                                            </a:lnTo>
                                                            <a:lnTo>
                                                              <a:pt x="166" y="120"/>
                                                            </a:lnTo>
                                                            <a:lnTo>
                                                              <a:pt x="166" y="120"/>
                                                            </a:lnTo>
                                                            <a:lnTo>
                                                              <a:pt x="172" y="116"/>
                                                            </a:lnTo>
                                                            <a:lnTo>
                                                              <a:pt x="176" y="118"/>
                                                            </a:lnTo>
                                                            <a:lnTo>
                                                              <a:pt x="180" y="120"/>
                                                            </a:lnTo>
                                                            <a:lnTo>
                                                              <a:pt x="188" y="122"/>
                                                            </a:lnTo>
                                                            <a:lnTo>
                                                              <a:pt x="188" y="122"/>
                                                            </a:lnTo>
                                                            <a:lnTo>
                                                              <a:pt x="190" y="120"/>
                                                            </a:lnTo>
                                                            <a:lnTo>
                                                              <a:pt x="192" y="118"/>
                                                            </a:lnTo>
                                                            <a:lnTo>
                                                              <a:pt x="194" y="118"/>
                                                            </a:lnTo>
                                                            <a:lnTo>
                                                              <a:pt x="196" y="120"/>
                                                            </a:lnTo>
                                                            <a:lnTo>
                                                              <a:pt x="196" y="120"/>
                                                            </a:lnTo>
                                                            <a:lnTo>
                                                              <a:pt x="198" y="124"/>
                                                            </a:lnTo>
                                                            <a:lnTo>
                                                              <a:pt x="196" y="126"/>
                                                            </a:lnTo>
                                                            <a:lnTo>
                                                              <a:pt x="194" y="128"/>
                                                            </a:lnTo>
                                                            <a:lnTo>
                                                              <a:pt x="192" y="130"/>
                                                            </a:lnTo>
                                                            <a:lnTo>
                                                              <a:pt x="194" y="132"/>
                                                            </a:lnTo>
                                                            <a:lnTo>
                                                              <a:pt x="194" y="132"/>
                                                            </a:lnTo>
                                                            <a:lnTo>
                                                              <a:pt x="202" y="134"/>
                                                            </a:lnTo>
                                                            <a:lnTo>
                                                              <a:pt x="208" y="130"/>
                                                            </a:lnTo>
                                                            <a:lnTo>
                                                              <a:pt x="208" y="130"/>
                                                            </a:lnTo>
                                                            <a:lnTo>
                                                              <a:pt x="206" y="124"/>
                                                            </a:lnTo>
                                                            <a:lnTo>
                                                              <a:pt x="206" y="114"/>
                                                            </a:lnTo>
                                                            <a:lnTo>
                                                              <a:pt x="206" y="114"/>
                                                            </a:lnTo>
                                                            <a:lnTo>
                                                              <a:pt x="212" y="116"/>
                                                            </a:lnTo>
                                                            <a:lnTo>
                                                              <a:pt x="218" y="116"/>
                                                            </a:lnTo>
                                                            <a:lnTo>
                                                              <a:pt x="226" y="116"/>
                                                            </a:lnTo>
                                                            <a:lnTo>
                                                              <a:pt x="234" y="112"/>
                                                            </a:lnTo>
                                                            <a:lnTo>
                                                              <a:pt x="234" y="112"/>
                                                            </a:lnTo>
                                                            <a:lnTo>
                                                              <a:pt x="242" y="114"/>
                                                            </a:lnTo>
                                                            <a:lnTo>
                                                              <a:pt x="250" y="114"/>
                                                            </a:lnTo>
                                                            <a:lnTo>
                                                              <a:pt x="258" y="114"/>
                                                            </a:lnTo>
                                                            <a:lnTo>
                                                              <a:pt x="264" y="112"/>
                                                            </a:lnTo>
                                                            <a:lnTo>
                                                              <a:pt x="278" y="106"/>
                                                            </a:lnTo>
                                                            <a:lnTo>
                                                              <a:pt x="288" y="104"/>
                                                            </a:lnTo>
                                                            <a:lnTo>
                                                              <a:pt x="298" y="104"/>
                                                            </a:lnTo>
                                                            <a:lnTo>
                                                              <a:pt x="298" y="104"/>
                                                            </a:lnTo>
                                                            <a:lnTo>
                                                              <a:pt x="308" y="102"/>
                                                            </a:lnTo>
                                                            <a:lnTo>
                                                              <a:pt x="312" y="100"/>
                                                            </a:lnTo>
                                                            <a:lnTo>
                                                              <a:pt x="316" y="100"/>
                                                            </a:lnTo>
                                                            <a:lnTo>
                                                              <a:pt x="320" y="104"/>
                                                            </a:lnTo>
                                                            <a:lnTo>
                                                              <a:pt x="320" y="104"/>
                                                            </a:lnTo>
                                                            <a:lnTo>
                                                              <a:pt x="324" y="100"/>
                                                            </a:lnTo>
                                                            <a:lnTo>
                                                              <a:pt x="328" y="98"/>
                                                            </a:lnTo>
                                                            <a:lnTo>
                                                              <a:pt x="334" y="98"/>
                                                            </a:lnTo>
                                                            <a:lnTo>
                                                              <a:pt x="334" y="98"/>
                                                            </a:lnTo>
                                                            <a:lnTo>
                                                              <a:pt x="344" y="100"/>
                                                            </a:lnTo>
                                                            <a:lnTo>
                                                              <a:pt x="348" y="102"/>
                                                            </a:lnTo>
                                                            <a:lnTo>
                                                              <a:pt x="352" y="102"/>
                                                            </a:lnTo>
                                                            <a:lnTo>
                                                              <a:pt x="356" y="104"/>
                                                            </a:lnTo>
                                                            <a:lnTo>
                                                              <a:pt x="356" y="104"/>
                                                            </a:lnTo>
                                                            <a:lnTo>
                                                              <a:pt x="360" y="104"/>
                                                            </a:lnTo>
                                                            <a:lnTo>
                                                              <a:pt x="362" y="104"/>
                                                            </a:lnTo>
                                                            <a:lnTo>
                                                              <a:pt x="364" y="108"/>
                                                            </a:lnTo>
                                                            <a:lnTo>
                                                              <a:pt x="366" y="110"/>
                                                            </a:lnTo>
                                                            <a:lnTo>
                                                              <a:pt x="374" y="106"/>
                                                            </a:lnTo>
                                                            <a:lnTo>
                                                              <a:pt x="374" y="106"/>
                                                            </a:lnTo>
                                                            <a:lnTo>
                                                              <a:pt x="374" y="104"/>
                                                            </a:lnTo>
                                                            <a:lnTo>
                                                              <a:pt x="372" y="102"/>
                                                            </a:lnTo>
                                                            <a:lnTo>
                                                              <a:pt x="372" y="102"/>
                                                            </a:lnTo>
                                                            <a:lnTo>
                                                              <a:pt x="370" y="100"/>
                                                            </a:lnTo>
                                                            <a:lnTo>
                                                              <a:pt x="368" y="96"/>
                                                            </a:lnTo>
                                                            <a:lnTo>
                                                              <a:pt x="368" y="92"/>
                                                            </a:lnTo>
                                                            <a:lnTo>
                                                              <a:pt x="366" y="92"/>
                                                            </a:lnTo>
                                                            <a:lnTo>
                                                              <a:pt x="366" y="92"/>
                                                            </a:lnTo>
                                                            <a:lnTo>
                                                              <a:pt x="362" y="92"/>
                                                            </a:lnTo>
                                                            <a:lnTo>
                                                              <a:pt x="358" y="88"/>
                                                            </a:lnTo>
                                                            <a:lnTo>
                                                              <a:pt x="354" y="82"/>
                                                            </a:lnTo>
                                                            <a:lnTo>
                                                              <a:pt x="354" y="78"/>
                                                            </a:lnTo>
                                                            <a:lnTo>
                                                              <a:pt x="354" y="78"/>
                                                            </a:lnTo>
                                                            <a:lnTo>
                                                              <a:pt x="354" y="74"/>
                                                            </a:lnTo>
                                                            <a:lnTo>
                                                              <a:pt x="352" y="72"/>
                                                            </a:lnTo>
                                                            <a:lnTo>
                                                              <a:pt x="350" y="70"/>
                                                            </a:lnTo>
                                                            <a:lnTo>
                                                              <a:pt x="348" y="66"/>
                                                            </a:lnTo>
                                                            <a:lnTo>
                                                              <a:pt x="348" y="66"/>
                                                            </a:lnTo>
                                                            <a:lnTo>
                                                              <a:pt x="346" y="56"/>
                                                            </a:lnTo>
                                                            <a:lnTo>
                                                              <a:pt x="346" y="54"/>
                                                            </a:lnTo>
                                                            <a:lnTo>
                                                              <a:pt x="350" y="54"/>
                                                            </a:lnTo>
                                                            <a:lnTo>
                                                              <a:pt x="350" y="54"/>
                                                            </a:lnTo>
                                                            <a:lnTo>
                                                              <a:pt x="354" y="54"/>
                                                            </a:lnTo>
                                                            <a:lnTo>
                                                              <a:pt x="354" y="52"/>
                                                            </a:lnTo>
                                                            <a:lnTo>
                                                              <a:pt x="354" y="50"/>
                                                            </a:lnTo>
                                                            <a:lnTo>
                                                              <a:pt x="356" y="46"/>
                                                            </a:lnTo>
                                                            <a:lnTo>
                                                              <a:pt x="356" y="46"/>
                                                            </a:lnTo>
                                                            <a:lnTo>
                                                              <a:pt x="352" y="42"/>
                                                            </a:lnTo>
                                                            <a:lnTo>
                                                              <a:pt x="350" y="40"/>
                                                            </a:lnTo>
                                                            <a:lnTo>
                                                              <a:pt x="348" y="38"/>
                                                            </a:lnTo>
                                                            <a:lnTo>
                                                              <a:pt x="340" y="36"/>
                                                            </a:lnTo>
                                                            <a:lnTo>
                                                              <a:pt x="340" y="36"/>
                                                            </a:lnTo>
                                                            <a:lnTo>
                                                              <a:pt x="334" y="34"/>
                                                            </a:lnTo>
                                                            <a:lnTo>
                                                              <a:pt x="332" y="34"/>
                                                            </a:lnTo>
                                                            <a:lnTo>
                                                              <a:pt x="332" y="32"/>
                                                            </a:lnTo>
                                                            <a:lnTo>
                                                              <a:pt x="332" y="28"/>
                                                            </a:lnTo>
                                                            <a:lnTo>
                                                              <a:pt x="332" y="24"/>
                                                            </a:lnTo>
                                                            <a:lnTo>
                                                              <a:pt x="332" y="22"/>
                                                            </a:lnTo>
                                                            <a:lnTo>
                                                              <a:pt x="328" y="18"/>
                                                            </a:lnTo>
                                                            <a:lnTo>
                                                              <a:pt x="328" y="18"/>
                                                            </a:lnTo>
                                                            <a:lnTo>
                                                              <a:pt x="322" y="18"/>
                                                            </a:lnTo>
                                                            <a:lnTo>
                                                              <a:pt x="320" y="16"/>
                                                            </a:lnTo>
                                                            <a:lnTo>
                                                              <a:pt x="318" y="14"/>
                                                            </a:lnTo>
                                                            <a:lnTo>
                                                              <a:pt x="320" y="10"/>
                                                            </a:lnTo>
                                                            <a:lnTo>
                                                              <a:pt x="320" y="8"/>
                                                            </a:lnTo>
                                                            <a:lnTo>
                                                              <a:pt x="320" y="6"/>
                                                            </a:lnTo>
                                                            <a:lnTo>
                                                              <a:pt x="316" y="8"/>
                                                            </a:lnTo>
                                                            <a:lnTo>
                                                              <a:pt x="316" y="8"/>
                                                            </a:lnTo>
                                                            <a:lnTo>
                                                              <a:pt x="306" y="10"/>
                                                            </a:lnTo>
                                                            <a:lnTo>
                                                              <a:pt x="296" y="8"/>
                                                            </a:lnTo>
                                                            <a:lnTo>
                                                              <a:pt x="290" y="6"/>
                                                            </a:lnTo>
                                                            <a:lnTo>
                                                              <a:pt x="282" y="6"/>
                                                            </a:lnTo>
                                                            <a:lnTo>
                                                              <a:pt x="282" y="6"/>
                                                            </a:lnTo>
                                                            <a:close/>
                                                          </a:path>
                                                        </a:pathLst>
                                                      </a:custGeom>
                                                      <a:solidFill>
                                                        <a:schemeClr val="accent3"/>
                                                      </a:solid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38" name="Group 37"/>
                                                      <p:cNvGrpSpPr/>
                                                      <p:nvPr/>
                                                    </p:nvGrpSpPr>
                                                    <p:grpSpPr>
                                                      <a:xfrm>
                                                        <a:off x="2857040" y="1614303"/>
                                                        <a:ext cx="7820530" cy="4979493"/>
                                                        <a:chOff x="2857040" y="1614303"/>
                                                        <a:chExt cx="7820530" cy="4979493"/>
                                                      </a:xfrm>
                                                    </p:grpSpPr>
                                                    <p:grpSp>
                                                      <p:nvGrpSpPr>
                                                        <p:cNvPr id="37" name="Group 36"/>
                                                        <p:cNvGrpSpPr/>
                                                        <p:nvPr/>
                                                      </p:nvGrpSpPr>
                                                      <p:grpSpPr>
                                                        <a:xfrm>
                                                          <a:off x="2857040" y="1614303"/>
                                                          <a:ext cx="7820530" cy="4979493"/>
                                                          <a:chOff x="2857040" y="1614303"/>
                                                          <a:chExt cx="7820530" cy="4979493"/>
                                                        </a:xfrm>
                                                      </p:grpSpPr>
                                                      <p:sp>
                                                        <p:nvSpPr>
                                                          <p:cNvPr id="454" name="Latvia"/>
                                                          <p:cNvSpPr>
                                                            <a:spLocks/>
                                                          </p:cNvSpPr>
                                                          <p:nvPr/>
                                                        </p:nvSpPr>
                                                        <p:spPr bwMode="auto">
                                                          <a:xfrm>
                                                            <a:off x="6331568" y="1651246"/>
                                                            <a:ext cx="173146" cy="63732"/>
                                                          </a:xfrm>
                                                          <a:custGeom>
                                                            <a:avLst/>
                                                            <a:gdLst/>
                                                            <a:ahLst/>
                                                            <a:cxnLst>
                                                              <a:cxn ang="0">
                                                                <a:pos x="2" y="42"/>
                                                              </a:cxn>
                                                              <a:cxn ang="0">
                                                                <a:pos x="0" y="32"/>
                                                              </a:cxn>
                                                              <a:cxn ang="0">
                                                                <a:pos x="2" y="28"/>
                                                              </a:cxn>
                                                              <a:cxn ang="0">
                                                                <a:pos x="4" y="22"/>
                                                              </a:cxn>
                                                              <a:cxn ang="0">
                                                                <a:pos x="6" y="16"/>
                                                              </a:cxn>
                                                              <a:cxn ang="0">
                                                                <a:pos x="10" y="12"/>
                                                              </a:cxn>
                                                              <a:cxn ang="0">
                                                                <a:pos x="16" y="8"/>
                                                              </a:cxn>
                                                              <a:cxn ang="0">
                                                                <a:pos x="22" y="6"/>
                                                              </a:cxn>
                                                              <a:cxn ang="0">
                                                                <a:pos x="24" y="8"/>
                                                              </a:cxn>
                                                              <a:cxn ang="0">
                                                                <a:pos x="28" y="12"/>
                                                              </a:cxn>
                                                              <a:cxn ang="0">
                                                                <a:pos x="32" y="12"/>
                                                              </a:cxn>
                                                              <a:cxn ang="0">
                                                                <a:pos x="34" y="16"/>
                                                              </a:cxn>
                                                              <a:cxn ang="0">
                                                                <a:pos x="38" y="20"/>
                                                              </a:cxn>
                                                              <a:cxn ang="0">
                                                                <a:pos x="42" y="22"/>
                                                              </a:cxn>
                                                              <a:cxn ang="0">
                                                                <a:pos x="46" y="22"/>
                                                              </a:cxn>
                                                              <a:cxn ang="0">
                                                                <a:pos x="50" y="22"/>
                                                              </a:cxn>
                                                              <a:cxn ang="0">
                                                                <a:pos x="54" y="16"/>
                                                              </a:cxn>
                                                              <a:cxn ang="0">
                                                                <a:pos x="54" y="14"/>
                                                              </a:cxn>
                                                              <a:cxn ang="0">
                                                                <a:pos x="52" y="6"/>
                                                              </a:cxn>
                                                              <a:cxn ang="0">
                                                                <a:pos x="58" y="0"/>
                                                              </a:cxn>
                                                              <a:cxn ang="0">
                                                                <a:pos x="66" y="0"/>
                                                              </a:cxn>
                                                              <a:cxn ang="0">
                                                                <a:pos x="76" y="0"/>
                                                              </a:cxn>
                                                              <a:cxn ang="0">
                                                                <a:pos x="78" y="2"/>
                                                              </a:cxn>
                                                              <a:cxn ang="0">
                                                                <a:pos x="78" y="4"/>
                                                              </a:cxn>
                                                              <a:cxn ang="0">
                                                                <a:pos x="84" y="4"/>
                                                              </a:cxn>
                                                              <a:cxn ang="0">
                                                                <a:pos x="94" y="6"/>
                                                              </a:cxn>
                                                              <a:cxn ang="0">
                                                                <a:pos x="106" y="2"/>
                                                              </a:cxn>
                                                              <a:cxn ang="0">
                                                                <a:pos x="104" y="6"/>
                                                              </a:cxn>
                                                              <a:cxn ang="0">
                                                                <a:pos x="108" y="6"/>
                                                              </a:cxn>
                                                              <a:cxn ang="0">
                                                                <a:pos x="108" y="10"/>
                                                              </a:cxn>
                                                              <a:cxn ang="0">
                                                                <a:pos x="108" y="14"/>
                                                              </a:cxn>
                                                              <a:cxn ang="0">
                                                                <a:pos x="112" y="22"/>
                                                              </a:cxn>
                                                              <a:cxn ang="0">
                                                                <a:pos x="110" y="24"/>
                                                              </a:cxn>
                                                              <a:cxn ang="0">
                                                                <a:pos x="112" y="30"/>
                                                              </a:cxn>
                                                              <a:cxn ang="0">
                                                                <a:pos x="112" y="34"/>
                                                              </a:cxn>
                                                              <a:cxn ang="0">
                                                                <a:pos x="108" y="34"/>
                                                              </a:cxn>
                                                              <a:cxn ang="0">
                                                                <a:pos x="100" y="38"/>
                                                              </a:cxn>
                                                              <a:cxn ang="0">
                                                                <a:pos x="96" y="42"/>
                                                              </a:cxn>
                                                              <a:cxn ang="0">
                                                                <a:pos x="74" y="38"/>
                                                              </a:cxn>
                                                              <a:cxn ang="0">
                                                                <a:pos x="62" y="32"/>
                                                              </a:cxn>
                                                              <a:cxn ang="0">
                                                                <a:pos x="58" y="34"/>
                                                              </a:cxn>
                                                              <a:cxn ang="0">
                                                                <a:pos x="50" y="34"/>
                                                              </a:cxn>
                                                              <a:cxn ang="0">
                                                                <a:pos x="40" y="30"/>
                                                              </a:cxn>
                                                              <a:cxn ang="0">
                                                                <a:pos x="32" y="30"/>
                                                              </a:cxn>
                                                              <a:cxn ang="0">
                                                                <a:pos x="18" y="30"/>
                                                              </a:cxn>
                                                              <a:cxn ang="0">
                                                                <a:pos x="8" y="36"/>
                                                              </a:cxn>
                                                              <a:cxn ang="0">
                                                                <a:pos x="2" y="42"/>
                                                              </a:cxn>
                                                            </a:cxnLst>
                                                            <a:rect l="0" t="0" r="r" b="b"/>
                                                            <a:pathLst>
                                                              <a:path w="114" h="42">
                                                                <a:moveTo>
                                                                  <a:pt x="2" y="42"/>
                                                                </a:moveTo>
                                                                <a:lnTo>
                                                                  <a:pt x="2" y="42"/>
                                                                </a:lnTo>
                                                                <a:lnTo>
                                                                  <a:pt x="0" y="34"/>
                                                                </a:lnTo>
                                                                <a:lnTo>
                                                                  <a:pt x="0" y="32"/>
                                                                </a:lnTo>
                                                                <a:lnTo>
                                                                  <a:pt x="2" y="28"/>
                                                                </a:lnTo>
                                                                <a:lnTo>
                                                                  <a:pt x="2" y="28"/>
                                                                </a:lnTo>
                                                                <a:lnTo>
                                                                  <a:pt x="4" y="26"/>
                                                                </a:lnTo>
                                                                <a:lnTo>
                                                                  <a:pt x="4" y="22"/>
                                                                </a:lnTo>
                                                                <a:lnTo>
                                                                  <a:pt x="4" y="20"/>
                                                                </a:lnTo>
                                                                <a:lnTo>
                                                                  <a:pt x="6" y="16"/>
                                                                </a:lnTo>
                                                                <a:lnTo>
                                                                  <a:pt x="6" y="16"/>
                                                                </a:lnTo>
                                                                <a:lnTo>
                                                                  <a:pt x="10" y="12"/>
                                                                </a:lnTo>
                                                                <a:lnTo>
                                                                  <a:pt x="16" y="8"/>
                                                                </a:lnTo>
                                                                <a:lnTo>
                                                                  <a:pt x="16" y="8"/>
                                                                </a:lnTo>
                                                                <a:lnTo>
                                                                  <a:pt x="20" y="6"/>
                                                                </a:lnTo>
                                                                <a:lnTo>
                                                                  <a:pt x="22" y="6"/>
                                                                </a:lnTo>
                                                                <a:lnTo>
                                                                  <a:pt x="24" y="8"/>
                                                                </a:lnTo>
                                                                <a:lnTo>
                                                                  <a:pt x="24" y="8"/>
                                                                </a:lnTo>
                                                                <a:lnTo>
                                                                  <a:pt x="26" y="10"/>
                                                                </a:lnTo>
                                                                <a:lnTo>
                                                                  <a:pt x="28" y="12"/>
                                                                </a:lnTo>
                                                                <a:lnTo>
                                                                  <a:pt x="32" y="12"/>
                                                                </a:lnTo>
                                                                <a:lnTo>
                                                                  <a:pt x="32" y="12"/>
                                                                </a:lnTo>
                                                                <a:lnTo>
                                                                  <a:pt x="34" y="14"/>
                                                                </a:lnTo>
                                                                <a:lnTo>
                                                                  <a:pt x="34" y="16"/>
                                                                </a:lnTo>
                                                                <a:lnTo>
                                                                  <a:pt x="36" y="18"/>
                                                                </a:lnTo>
                                                                <a:lnTo>
                                                                  <a:pt x="38" y="20"/>
                                                                </a:lnTo>
                                                                <a:lnTo>
                                                                  <a:pt x="38" y="20"/>
                                                                </a:lnTo>
                                                                <a:lnTo>
                                                                  <a:pt x="42" y="22"/>
                                                                </a:lnTo>
                                                                <a:lnTo>
                                                                  <a:pt x="44" y="22"/>
                                                                </a:lnTo>
                                                                <a:lnTo>
                                                                  <a:pt x="46" y="22"/>
                                                                </a:lnTo>
                                                                <a:lnTo>
                                                                  <a:pt x="46" y="22"/>
                                                                </a:lnTo>
                                                                <a:lnTo>
                                                                  <a:pt x="50" y="22"/>
                                                                </a:lnTo>
                                                                <a:lnTo>
                                                                  <a:pt x="52" y="20"/>
                                                                </a:lnTo>
                                                                <a:lnTo>
                                                                  <a:pt x="54" y="16"/>
                                                                </a:lnTo>
                                                                <a:lnTo>
                                                                  <a:pt x="54" y="16"/>
                                                                </a:lnTo>
                                                                <a:lnTo>
                                                                  <a:pt x="54" y="14"/>
                                                                </a:lnTo>
                                                                <a:lnTo>
                                                                  <a:pt x="54" y="10"/>
                                                                </a:lnTo>
                                                                <a:lnTo>
                                                                  <a:pt x="52" y="6"/>
                                                                </a:lnTo>
                                                                <a:lnTo>
                                                                  <a:pt x="52" y="6"/>
                                                                </a:lnTo>
                                                                <a:lnTo>
                                                                  <a:pt x="58" y="0"/>
                                                                </a:lnTo>
                                                                <a:lnTo>
                                                                  <a:pt x="62" y="0"/>
                                                                </a:lnTo>
                                                                <a:lnTo>
                                                                  <a:pt x="66" y="0"/>
                                                                </a:lnTo>
                                                                <a:lnTo>
                                                                  <a:pt x="66" y="0"/>
                                                                </a:lnTo>
                                                                <a:lnTo>
                                                                  <a:pt x="76" y="0"/>
                                                                </a:lnTo>
                                                                <a:lnTo>
                                                                  <a:pt x="78" y="0"/>
                                                                </a:lnTo>
                                                                <a:lnTo>
                                                                  <a:pt x="78" y="2"/>
                                                                </a:lnTo>
                                                                <a:lnTo>
                                                                  <a:pt x="78" y="2"/>
                                                                </a:lnTo>
                                                                <a:lnTo>
                                                                  <a:pt x="78" y="4"/>
                                                                </a:lnTo>
                                                                <a:lnTo>
                                                                  <a:pt x="80" y="4"/>
                                                                </a:lnTo>
                                                                <a:lnTo>
                                                                  <a:pt x="84" y="4"/>
                                                                </a:lnTo>
                                                                <a:lnTo>
                                                                  <a:pt x="90" y="4"/>
                                                                </a:lnTo>
                                                                <a:lnTo>
                                                                  <a:pt x="94" y="6"/>
                                                                </a:lnTo>
                                                                <a:lnTo>
                                                                  <a:pt x="94" y="6"/>
                                                                </a:lnTo>
                                                                <a:lnTo>
                                                                  <a:pt x="106" y="2"/>
                                                                </a:lnTo>
                                                                <a:lnTo>
                                                                  <a:pt x="106" y="2"/>
                                                                </a:lnTo>
                                                                <a:lnTo>
                                                                  <a:pt x="104" y="6"/>
                                                                </a:lnTo>
                                                                <a:lnTo>
                                                                  <a:pt x="106" y="6"/>
                                                                </a:lnTo>
                                                                <a:lnTo>
                                                                  <a:pt x="108" y="6"/>
                                                                </a:lnTo>
                                                                <a:lnTo>
                                                                  <a:pt x="108" y="10"/>
                                                                </a:lnTo>
                                                                <a:lnTo>
                                                                  <a:pt x="108" y="10"/>
                                                                </a:lnTo>
                                                                <a:lnTo>
                                                                  <a:pt x="106" y="14"/>
                                                                </a:lnTo>
                                                                <a:lnTo>
                                                                  <a:pt x="108" y="14"/>
                                                                </a:lnTo>
                                                                <a:lnTo>
                                                                  <a:pt x="110" y="16"/>
                                                                </a:lnTo>
                                                                <a:lnTo>
                                                                  <a:pt x="112" y="22"/>
                                                                </a:lnTo>
                                                                <a:lnTo>
                                                                  <a:pt x="112" y="22"/>
                                                                </a:lnTo>
                                                                <a:lnTo>
                                                                  <a:pt x="110" y="24"/>
                                                                </a:lnTo>
                                                                <a:lnTo>
                                                                  <a:pt x="110" y="26"/>
                                                                </a:lnTo>
                                                                <a:lnTo>
                                                                  <a:pt x="112" y="30"/>
                                                                </a:lnTo>
                                                                <a:lnTo>
                                                                  <a:pt x="114" y="34"/>
                                                                </a:lnTo>
                                                                <a:lnTo>
                                                                  <a:pt x="112" y="34"/>
                                                                </a:lnTo>
                                                                <a:lnTo>
                                                                  <a:pt x="108" y="34"/>
                                                                </a:lnTo>
                                                                <a:lnTo>
                                                                  <a:pt x="108" y="34"/>
                                                                </a:lnTo>
                                                                <a:lnTo>
                                                                  <a:pt x="102" y="36"/>
                                                                </a:lnTo>
                                                                <a:lnTo>
                                                                  <a:pt x="100" y="38"/>
                                                                </a:lnTo>
                                                                <a:lnTo>
                                                                  <a:pt x="100" y="40"/>
                                                                </a:lnTo>
                                                                <a:lnTo>
                                                                  <a:pt x="96" y="42"/>
                                                                </a:lnTo>
                                                                <a:lnTo>
                                                                  <a:pt x="96" y="42"/>
                                                                </a:lnTo>
                                                                <a:lnTo>
                                                                  <a:pt x="74" y="38"/>
                                                                </a:lnTo>
                                                                <a:lnTo>
                                                                  <a:pt x="66" y="36"/>
                                                                </a:lnTo>
                                                                <a:lnTo>
                                                                  <a:pt x="62" y="32"/>
                                                                </a:lnTo>
                                                                <a:lnTo>
                                                                  <a:pt x="58" y="34"/>
                                                                </a:lnTo>
                                                                <a:lnTo>
                                                                  <a:pt x="58" y="34"/>
                                                                </a:lnTo>
                                                                <a:lnTo>
                                                                  <a:pt x="54" y="34"/>
                                                                </a:lnTo>
                                                                <a:lnTo>
                                                                  <a:pt x="50" y="34"/>
                                                                </a:lnTo>
                                                                <a:lnTo>
                                                                  <a:pt x="46" y="32"/>
                                                                </a:lnTo>
                                                                <a:lnTo>
                                                                  <a:pt x="40" y="30"/>
                                                                </a:lnTo>
                                                                <a:lnTo>
                                                                  <a:pt x="40" y="30"/>
                                                                </a:lnTo>
                                                                <a:lnTo>
                                                                  <a:pt x="32" y="30"/>
                                                                </a:lnTo>
                                                                <a:lnTo>
                                                                  <a:pt x="24" y="30"/>
                                                                </a:lnTo>
                                                                <a:lnTo>
                                                                  <a:pt x="18" y="30"/>
                                                                </a:lnTo>
                                                                <a:lnTo>
                                                                  <a:pt x="12" y="32"/>
                                                                </a:lnTo>
                                                                <a:lnTo>
                                                                  <a:pt x="8" y="36"/>
                                                                </a:lnTo>
                                                                <a:lnTo>
                                                                  <a:pt x="2" y="42"/>
                                                                </a:lnTo>
                                                                <a:lnTo>
                                                                  <a:pt x="2" y="42"/>
                                                                </a:lnTo>
                                                                <a:close/>
                                                              </a:path>
                                                            </a:pathLst>
                                                          </a:custGeom>
                                                          <a:solidFill>
                                                            <a:schemeClr val="accent3"/>
                                                          </a:solid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36" name="Group 35"/>
                                                          <p:cNvGrpSpPr/>
                                                          <p:nvPr/>
                                                        </p:nvGrpSpPr>
                                                        <p:grpSpPr>
                                                          <a:xfrm>
                                                            <a:off x="2857040" y="1614303"/>
                                                            <a:ext cx="7820530" cy="4979493"/>
                                                            <a:chOff x="2857040" y="1614303"/>
                                                            <a:chExt cx="7820530" cy="4979493"/>
                                                          </a:xfrm>
                                                        </p:grpSpPr>
                                                        <p:sp>
                                                          <p:nvSpPr>
                                                            <p:cNvPr id="452" name="Estonia"/>
                                                            <p:cNvSpPr>
                                                              <a:spLocks/>
                                                            </p:cNvSpPr>
                                                            <p:nvPr/>
                                                          </p:nvSpPr>
                                                          <p:spPr bwMode="auto">
                                                            <a:xfrm>
                                                              <a:off x="6389222" y="1614303"/>
                                                              <a:ext cx="112393" cy="45523"/>
                                                            </a:xfrm>
                                                            <a:custGeom>
                                                              <a:avLst/>
                                                              <a:gdLst/>
                                                              <a:ahLst/>
                                                              <a:cxnLst>
                                                                <a:cxn ang="0">
                                                                  <a:pos x="18" y="30"/>
                                                                </a:cxn>
                                                                <a:cxn ang="0">
                                                                  <a:pos x="18" y="24"/>
                                                                </a:cxn>
                                                                <a:cxn ang="0">
                                                                  <a:pos x="14" y="24"/>
                                                                </a:cxn>
                                                                <a:cxn ang="0">
                                                                  <a:pos x="14" y="26"/>
                                                                </a:cxn>
                                                                <a:cxn ang="0">
                                                                  <a:pos x="10" y="24"/>
                                                                </a:cxn>
                                                                <a:cxn ang="0">
                                                                  <a:pos x="10" y="22"/>
                                                                </a:cxn>
                                                                <a:cxn ang="0">
                                                                  <a:pos x="6" y="20"/>
                                                                </a:cxn>
                                                                <a:cxn ang="0">
                                                                  <a:pos x="4" y="16"/>
                                                                </a:cxn>
                                                                <a:cxn ang="0">
                                                                  <a:pos x="6" y="16"/>
                                                                </a:cxn>
                                                                <a:cxn ang="0">
                                                                  <a:pos x="8" y="14"/>
                                                                </a:cxn>
                                                                <a:cxn ang="0">
                                                                  <a:pos x="0" y="12"/>
                                                                </a:cxn>
                                                                <a:cxn ang="0">
                                                                  <a:pos x="0" y="10"/>
                                                                </a:cxn>
                                                                <a:cxn ang="0">
                                                                  <a:pos x="0" y="8"/>
                                                                </a:cxn>
                                                                <a:cxn ang="0">
                                                                  <a:pos x="4" y="6"/>
                                                                </a:cxn>
                                                                <a:cxn ang="0">
                                                                  <a:pos x="8" y="4"/>
                                                                </a:cxn>
                                                                <a:cxn ang="0">
                                                                  <a:pos x="10" y="2"/>
                                                                </a:cxn>
                                                                <a:cxn ang="0">
                                                                  <a:pos x="14" y="2"/>
                                                                </a:cxn>
                                                                <a:cxn ang="0">
                                                                  <a:pos x="16" y="2"/>
                                                                </a:cxn>
                                                                <a:cxn ang="0">
                                                                  <a:pos x="20" y="2"/>
                                                                </a:cxn>
                                                                <a:cxn ang="0">
                                                                  <a:pos x="22" y="2"/>
                                                                </a:cxn>
                                                                <a:cxn ang="0">
                                                                  <a:pos x="24" y="0"/>
                                                                </a:cxn>
                                                                <a:cxn ang="0">
                                                                  <a:pos x="28" y="0"/>
                                                                </a:cxn>
                                                                <a:cxn ang="0">
                                                                  <a:pos x="30" y="0"/>
                                                                </a:cxn>
                                                                <a:cxn ang="0">
                                                                  <a:pos x="34" y="0"/>
                                                                </a:cxn>
                                                                <a:cxn ang="0">
                                                                  <a:pos x="38" y="2"/>
                                                                </a:cxn>
                                                                <a:cxn ang="0">
                                                                  <a:pos x="40" y="0"/>
                                                                </a:cxn>
                                                                <a:cxn ang="0">
                                                                  <a:pos x="44" y="2"/>
                                                                </a:cxn>
                                                                <a:cxn ang="0">
                                                                  <a:pos x="52" y="6"/>
                                                                </a:cxn>
                                                                <a:cxn ang="0">
                                                                  <a:pos x="62" y="6"/>
                                                                </a:cxn>
                                                                <a:cxn ang="0">
                                                                  <a:pos x="68" y="6"/>
                                                                </a:cxn>
                                                                <a:cxn ang="0">
                                                                  <a:pos x="70" y="4"/>
                                                                </a:cxn>
                                                                <a:cxn ang="0">
                                                                  <a:pos x="74" y="8"/>
                                                                </a:cxn>
                                                                <a:cxn ang="0">
                                                                  <a:pos x="72" y="26"/>
                                                                </a:cxn>
                                                                <a:cxn ang="0">
                                                                  <a:pos x="60" y="30"/>
                                                                </a:cxn>
                                                                <a:cxn ang="0">
                                                                  <a:pos x="56" y="28"/>
                                                                </a:cxn>
                                                                <a:cxn ang="0">
                                                                  <a:pos x="46" y="28"/>
                                                                </a:cxn>
                                                                <a:cxn ang="0">
                                                                  <a:pos x="44" y="26"/>
                                                                </a:cxn>
                                                                <a:cxn ang="0">
                                                                  <a:pos x="44" y="24"/>
                                                                </a:cxn>
                                                                <a:cxn ang="0">
                                                                  <a:pos x="32" y="24"/>
                                                                </a:cxn>
                                                                <a:cxn ang="0">
                                                                  <a:pos x="28" y="24"/>
                                                                </a:cxn>
                                                                <a:cxn ang="0">
                                                                  <a:pos x="18" y="30"/>
                                                                </a:cxn>
                                                              </a:cxnLst>
                                                              <a:rect l="0" t="0" r="r" b="b"/>
                                                              <a:pathLst>
                                                                <a:path w="74" h="30">
                                                                  <a:moveTo>
                                                                    <a:pt x="18" y="30"/>
                                                                  </a:moveTo>
                                                                  <a:lnTo>
                                                                    <a:pt x="18" y="30"/>
                                                                  </a:lnTo>
                                                                  <a:lnTo>
                                                                    <a:pt x="18" y="26"/>
                                                                  </a:lnTo>
                                                                  <a:lnTo>
                                                                    <a:pt x="18" y="24"/>
                                                                  </a:lnTo>
                                                                  <a:lnTo>
                                                                    <a:pt x="16" y="22"/>
                                                                  </a:lnTo>
                                                                  <a:lnTo>
                                                                    <a:pt x="14" y="24"/>
                                                                  </a:lnTo>
                                                                  <a:lnTo>
                                                                    <a:pt x="14" y="24"/>
                                                                  </a:lnTo>
                                                                  <a:lnTo>
                                                                    <a:pt x="14" y="26"/>
                                                                  </a:lnTo>
                                                                  <a:lnTo>
                                                                    <a:pt x="12" y="26"/>
                                                                  </a:lnTo>
                                                                  <a:lnTo>
                                                                    <a:pt x="10" y="24"/>
                                                                  </a:lnTo>
                                                                  <a:lnTo>
                                                                    <a:pt x="10" y="22"/>
                                                                  </a:lnTo>
                                                                  <a:lnTo>
                                                                    <a:pt x="10" y="22"/>
                                                                  </a:lnTo>
                                                                  <a:lnTo>
                                                                    <a:pt x="8" y="20"/>
                                                                  </a:lnTo>
                                                                  <a:lnTo>
                                                                    <a:pt x="6" y="20"/>
                                                                  </a:lnTo>
                                                                  <a:lnTo>
                                                                    <a:pt x="4" y="18"/>
                                                                  </a:lnTo>
                                                                  <a:lnTo>
                                                                    <a:pt x="4" y="16"/>
                                                                  </a:lnTo>
                                                                  <a:lnTo>
                                                                    <a:pt x="4" y="16"/>
                                                                  </a:lnTo>
                                                                  <a:lnTo>
                                                                    <a:pt x="6" y="16"/>
                                                                  </a:lnTo>
                                                                  <a:lnTo>
                                                                    <a:pt x="8" y="14"/>
                                                                  </a:lnTo>
                                                                  <a:lnTo>
                                                                    <a:pt x="8" y="14"/>
                                                                  </a:lnTo>
                                                                  <a:lnTo>
                                                                    <a:pt x="2" y="14"/>
                                                                  </a:lnTo>
                                                                  <a:lnTo>
                                                                    <a:pt x="0" y="12"/>
                                                                  </a:lnTo>
                                                                  <a:lnTo>
                                                                    <a:pt x="0" y="10"/>
                                                                  </a:lnTo>
                                                                  <a:lnTo>
                                                                    <a:pt x="0" y="10"/>
                                                                  </a:lnTo>
                                                                  <a:lnTo>
                                                                    <a:pt x="2" y="8"/>
                                                                  </a:lnTo>
                                                                  <a:lnTo>
                                                                    <a:pt x="0" y="8"/>
                                                                  </a:lnTo>
                                                                  <a:lnTo>
                                                                    <a:pt x="0" y="6"/>
                                                                  </a:lnTo>
                                                                  <a:lnTo>
                                                                    <a:pt x="4" y="6"/>
                                                                  </a:lnTo>
                                                                  <a:lnTo>
                                                                    <a:pt x="4" y="6"/>
                                                                  </a:lnTo>
                                                                  <a:lnTo>
                                                                    <a:pt x="8" y="4"/>
                                                                  </a:lnTo>
                                                                  <a:lnTo>
                                                                    <a:pt x="10" y="4"/>
                                                                  </a:lnTo>
                                                                  <a:lnTo>
                                                                    <a:pt x="10" y="2"/>
                                                                  </a:lnTo>
                                                                  <a:lnTo>
                                                                    <a:pt x="14" y="2"/>
                                                                  </a:lnTo>
                                                                  <a:lnTo>
                                                                    <a:pt x="14" y="2"/>
                                                                  </a:lnTo>
                                                                  <a:lnTo>
                                                                    <a:pt x="16" y="2"/>
                                                                  </a:lnTo>
                                                                  <a:lnTo>
                                                                    <a:pt x="16" y="2"/>
                                                                  </a:lnTo>
                                                                  <a:lnTo>
                                                                    <a:pt x="18" y="0"/>
                                                                  </a:lnTo>
                                                                  <a:lnTo>
                                                                    <a:pt x="20" y="2"/>
                                                                  </a:lnTo>
                                                                  <a:lnTo>
                                                                    <a:pt x="20" y="2"/>
                                                                  </a:lnTo>
                                                                  <a:lnTo>
                                                                    <a:pt x="22" y="2"/>
                                                                  </a:lnTo>
                                                                  <a:lnTo>
                                                                    <a:pt x="24" y="0"/>
                                                                  </a:lnTo>
                                                                  <a:lnTo>
                                                                    <a:pt x="24" y="0"/>
                                                                  </a:lnTo>
                                                                  <a:lnTo>
                                                                    <a:pt x="28" y="0"/>
                                                                  </a:lnTo>
                                                                  <a:lnTo>
                                                                    <a:pt x="28" y="0"/>
                                                                  </a:lnTo>
                                                                  <a:lnTo>
                                                                    <a:pt x="30" y="0"/>
                                                                  </a:lnTo>
                                                                  <a:lnTo>
                                                                    <a:pt x="30" y="0"/>
                                                                  </a:lnTo>
                                                                  <a:lnTo>
                                                                    <a:pt x="32" y="0"/>
                                                                  </a:lnTo>
                                                                  <a:lnTo>
                                                                    <a:pt x="34" y="0"/>
                                                                  </a:lnTo>
                                                                  <a:lnTo>
                                                                    <a:pt x="34" y="0"/>
                                                                  </a:lnTo>
                                                                  <a:lnTo>
                                                                    <a:pt x="38" y="2"/>
                                                                  </a:lnTo>
                                                                  <a:lnTo>
                                                                    <a:pt x="38" y="2"/>
                                                                  </a:lnTo>
                                                                  <a:lnTo>
                                                                    <a:pt x="40" y="0"/>
                                                                  </a:lnTo>
                                                                  <a:lnTo>
                                                                    <a:pt x="44" y="2"/>
                                                                  </a:lnTo>
                                                                  <a:lnTo>
                                                                    <a:pt x="44" y="2"/>
                                                                  </a:lnTo>
                                                                  <a:lnTo>
                                                                    <a:pt x="48" y="6"/>
                                                                  </a:lnTo>
                                                                  <a:lnTo>
                                                                    <a:pt x="52" y="6"/>
                                                                  </a:lnTo>
                                                                  <a:lnTo>
                                                                    <a:pt x="56" y="6"/>
                                                                  </a:lnTo>
                                                                  <a:lnTo>
                                                                    <a:pt x="62" y="6"/>
                                                                  </a:lnTo>
                                                                  <a:lnTo>
                                                                    <a:pt x="62" y="6"/>
                                                                  </a:lnTo>
                                                                  <a:lnTo>
                                                                    <a:pt x="68" y="6"/>
                                                                  </a:lnTo>
                                                                  <a:lnTo>
                                                                    <a:pt x="70" y="4"/>
                                                                  </a:lnTo>
                                                                  <a:lnTo>
                                                                    <a:pt x="70" y="4"/>
                                                                  </a:lnTo>
                                                                  <a:lnTo>
                                                                    <a:pt x="74" y="6"/>
                                                                  </a:lnTo>
                                                                  <a:lnTo>
                                                                    <a:pt x="74" y="8"/>
                                                                  </a:lnTo>
                                                                  <a:lnTo>
                                                                    <a:pt x="72" y="12"/>
                                                                  </a:lnTo>
                                                                  <a:lnTo>
                                                                    <a:pt x="72" y="26"/>
                                                                  </a:lnTo>
                                                                  <a:lnTo>
                                                                    <a:pt x="72" y="26"/>
                                                                  </a:lnTo>
                                                                  <a:lnTo>
                                                                    <a:pt x="60" y="30"/>
                                                                  </a:lnTo>
                                                                  <a:lnTo>
                                                                    <a:pt x="60" y="30"/>
                                                                  </a:lnTo>
                                                                  <a:lnTo>
                                                                    <a:pt x="56" y="28"/>
                                                                  </a:lnTo>
                                                                  <a:lnTo>
                                                                    <a:pt x="50" y="28"/>
                                                                  </a:lnTo>
                                                                  <a:lnTo>
                                                                    <a:pt x="46" y="28"/>
                                                                  </a:lnTo>
                                                                  <a:lnTo>
                                                                    <a:pt x="44" y="28"/>
                                                                  </a:lnTo>
                                                                  <a:lnTo>
                                                                    <a:pt x="44" y="26"/>
                                                                  </a:lnTo>
                                                                  <a:lnTo>
                                                                    <a:pt x="44" y="26"/>
                                                                  </a:lnTo>
                                                                  <a:lnTo>
                                                                    <a:pt x="44" y="24"/>
                                                                  </a:lnTo>
                                                                  <a:lnTo>
                                                                    <a:pt x="42" y="24"/>
                                                                  </a:lnTo>
                                                                  <a:lnTo>
                                                                    <a:pt x="32" y="24"/>
                                                                  </a:lnTo>
                                                                  <a:lnTo>
                                                                    <a:pt x="32" y="24"/>
                                                                  </a:lnTo>
                                                                  <a:lnTo>
                                                                    <a:pt x="28" y="24"/>
                                                                  </a:lnTo>
                                                                  <a:lnTo>
                                                                    <a:pt x="24" y="24"/>
                                                                  </a:lnTo>
                                                                  <a:lnTo>
                                                                    <a:pt x="18" y="30"/>
                                                                  </a:lnTo>
                                                                  <a:lnTo>
                                                                    <a:pt x="18" y="30"/>
                                                                  </a:lnTo>
                                                                  <a:close/>
                                                                </a:path>
                                                              </a:pathLst>
                                                            </a:custGeom>
                                                            <a:solidFill>
                                                              <a:schemeClr val="accent3"/>
                                                            </a:solid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35" name="Group 34"/>
                                                            <p:cNvGrpSpPr/>
                                                            <p:nvPr/>
                                                          </p:nvGrpSpPr>
                                                          <p:grpSpPr>
                                                            <a:xfrm>
                                                              <a:off x="2857040" y="1682302"/>
                                                              <a:ext cx="7820530" cy="4911494"/>
                                                              <a:chOff x="2857040" y="1682302"/>
                                                              <a:chExt cx="7820530" cy="4911494"/>
                                                            </a:xfrm>
                                                          </p:grpSpPr>
                                                          <p:grpSp>
                                                            <p:nvGrpSpPr>
                                                              <p:cNvPr id="32" name="Group 31"/>
                                                              <p:cNvGrpSpPr/>
                                                              <p:nvPr/>
                                                            </p:nvGrpSpPr>
                                                            <p:grpSpPr>
                                                              <a:xfrm>
                                                                <a:off x="2857040" y="1682302"/>
                                                                <a:ext cx="7820530" cy="4911494"/>
                                                                <a:chOff x="2857040" y="1682302"/>
                                                                <a:chExt cx="7820530" cy="4911494"/>
                                                              </a:xfrm>
                                                            </p:grpSpPr>
                                                            <p:grpSp>
                                                              <p:nvGrpSpPr>
                                                                <p:cNvPr id="31" name="Group 30"/>
                                                                <p:cNvGrpSpPr/>
                                                                <p:nvPr/>
                                                              </p:nvGrpSpPr>
                                                              <p:grpSpPr>
                                                                <a:xfrm>
                                                                  <a:off x="2857040" y="1682302"/>
                                                                  <a:ext cx="7820530" cy="4911494"/>
                                                                  <a:chOff x="2857040" y="1682302"/>
                                                                  <a:chExt cx="7820530" cy="4911494"/>
                                                                </a:xfrm>
                                                              </p:grpSpPr>
                                                              <p:grpSp>
                                                                <p:nvGrpSpPr>
                                                                  <p:cNvPr id="30" name="Group 29"/>
                                                                  <p:cNvGrpSpPr/>
                                                                  <p:nvPr/>
                                                                </p:nvGrpSpPr>
                                                                <p:grpSpPr>
                                                                  <a:xfrm>
                                                                    <a:off x="2857040" y="1682302"/>
                                                                    <a:ext cx="7820530" cy="4911494"/>
                                                                    <a:chOff x="2857040" y="1682302"/>
                                                                    <a:chExt cx="7820530" cy="4911494"/>
                                                                  </a:xfrm>
                                                                </p:grpSpPr>
                                                                <p:grpSp>
                                                                  <p:nvGrpSpPr>
                                                                    <p:cNvPr id="29" name="Group 28"/>
                                                                    <p:cNvGrpSpPr/>
                                                                    <p:nvPr/>
                                                                  </p:nvGrpSpPr>
                                                                  <p:grpSpPr>
                                                                    <a:xfrm>
                                                                      <a:off x="2857040" y="1682302"/>
                                                                      <a:ext cx="7820530" cy="4911494"/>
                                                                      <a:chOff x="2857040" y="1682302"/>
                                                                      <a:chExt cx="7820530" cy="4911494"/>
                                                                    </a:xfrm>
                                                                  </p:grpSpPr>
                                                                  <p:grpSp>
                                                                    <p:nvGrpSpPr>
                                                                      <p:cNvPr id="28" name="Group 27"/>
                                                                      <p:cNvGrpSpPr/>
                                                                      <p:nvPr/>
                                                                    </p:nvGrpSpPr>
                                                                    <p:grpSpPr>
                                                                      <a:xfrm>
                                                                        <a:off x="2857040" y="1682302"/>
                                                                        <a:ext cx="7820530" cy="4911494"/>
                                                                        <a:chOff x="2857040" y="1682302"/>
                                                                        <a:chExt cx="7820530" cy="4911494"/>
                                                                      </a:xfrm>
                                                                    </p:grpSpPr>
                                                                    <p:grpSp>
                                                                      <p:nvGrpSpPr>
                                                                        <p:cNvPr id="27" name="Group 26"/>
                                                                        <p:cNvGrpSpPr/>
                                                                        <p:nvPr/>
                                                                      </p:nvGrpSpPr>
                                                                      <p:grpSpPr>
                                                                        <a:xfrm>
                                                                          <a:off x="2857040" y="1682302"/>
                                                                          <a:ext cx="7820530" cy="4911494"/>
                                                                          <a:chOff x="2857040" y="1682302"/>
                                                                          <a:chExt cx="7820530" cy="4911494"/>
                                                                        </a:xfrm>
                                                                      </p:grpSpPr>
                                                                      <p:grpSp>
                                                                        <p:nvGrpSpPr>
                                                                          <p:cNvPr id="26" name="Group 25"/>
                                                                          <p:cNvGrpSpPr/>
                                                                          <p:nvPr/>
                                                                        </p:nvGrpSpPr>
                                                                        <p:grpSpPr>
                                                                          <a:xfrm>
                                                                            <a:off x="2857040" y="1682302"/>
                                                                            <a:ext cx="7444397" cy="4911494"/>
                                                                            <a:chOff x="2857040" y="1682302"/>
                                                                            <a:chExt cx="7444397" cy="4911494"/>
                                                                          </a:xfrm>
                                                                        </p:grpSpPr>
                                                                        <p:grpSp>
                                                                          <p:nvGrpSpPr>
                                                                            <p:cNvPr id="24" name="Group 23"/>
                                                                            <p:cNvGrpSpPr/>
                                                                            <p:nvPr/>
                                                                          </p:nvGrpSpPr>
                                                                          <p:grpSpPr>
                                                                            <a:xfrm>
                                                                              <a:off x="2857040" y="1682302"/>
                                                                              <a:ext cx="6995071" cy="4911494"/>
                                                                              <a:chOff x="2857040" y="1682302"/>
                                                                              <a:chExt cx="6995071" cy="4911494"/>
                                                                            </a:xfrm>
                                                                          </p:grpSpPr>
                                                                          <p:grpSp>
                                                                            <p:nvGrpSpPr>
                                                                              <p:cNvPr id="23" name="Group 22"/>
                                                                              <p:cNvGrpSpPr/>
                                                                              <p:nvPr/>
                                                                            </p:nvGrpSpPr>
                                                                            <p:grpSpPr>
                                                                              <a:xfrm>
                                                                                <a:off x="2857040" y="1682302"/>
                                                                                <a:ext cx="6995071" cy="4911494"/>
                                                                                <a:chOff x="2857040" y="1682302"/>
                                                                                <a:chExt cx="6995071" cy="4911494"/>
                                                                              </a:xfrm>
                                                                            </p:grpSpPr>
                                                                            <p:grpSp>
                                                                              <p:nvGrpSpPr>
                                                                                <p:cNvPr id="22" name="Group 21"/>
                                                                                <p:cNvGrpSpPr/>
                                                                                <p:nvPr/>
                                                                              </p:nvGrpSpPr>
                                                                              <p:grpSpPr>
                                                                                <a:xfrm>
                                                                                  <a:off x="2857040" y="1682302"/>
                                                                                  <a:ext cx="6995071" cy="4911494"/>
                                                                                  <a:chOff x="2857040" y="1682302"/>
                                                                                  <a:chExt cx="6995071" cy="4911494"/>
                                                                                </a:xfrm>
                                                                              </p:grpSpPr>
                                                                              <p:grpSp>
                                                                                <p:nvGrpSpPr>
                                                                                  <p:cNvPr id="21" name="Group 20"/>
                                                                                  <p:cNvGrpSpPr/>
                                                                                  <p:nvPr/>
                                                                                </p:nvGrpSpPr>
                                                                                <p:grpSpPr>
                                                                                  <a:xfrm>
                                                                                    <a:off x="2857040" y="1682302"/>
                                                                                    <a:ext cx="6995071" cy="4911494"/>
                                                                                    <a:chOff x="2857040" y="1682302"/>
                                                                                    <a:chExt cx="6995071" cy="4911494"/>
                                                                                  </a:xfrm>
                                                                                </p:grpSpPr>
                                                                                <p:grpSp>
                                                                                  <p:nvGrpSpPr>
                                                                                    <p:cNvPr id="18" name="Group 17"/>
                                                                                    <p:cNvGrpSpPr/>
                                                                                    <p:nvPr/>
                                                                                  </p:nvGrpSpPr>
                                                                                  <p:grpSpPr>
                                                                                    <a:xfrm>
                                                                                      <a:off x="2857040" y="1682302"/>
                                                                                      <a:ext cx="6995071" cy="4911494"/>
                                                                                      <a:chOff x="2857040" y="1682302"/>
                                                                                      <a:chExt cx="6995071" cy="4911494"/>
                                                                                    </a:xfrm>
                                                                                  </p:grpSpPr>
                                                                                  <p:grpSp>
                                                                                    <p:nvGrpSpPr>
                                                                                      <p:cNvPr id="16" name="Group 15"/>
                                                                                      <p:cNvGrpSpPr/>
                                                                                      <p:nvPr/>
                                                                                    </p:nvGrpSpPr>
                                                                                    <p:grpSpPr>
                                                                                      <a:xfrm>
                                                                                        <a:off x="2857040" y="1682302"/>
                                                                                        <a:ext cx="6995071" cy="4911494"/>
                                                                                        <a:chOff x="2857040" y="1682302"/>
                                                                                        <a:chExt cx="6995071" cy="4911494"/>
                                                                                      </a:xfrm>
                                                                                    </p:grpSpPr>
                                                                                    <p:grpSp>
                                                                                      <p:nvGrpSpPr>
                                                                                        <p:cNvPr id="9" name="Group 8"/>
                                                                                        <p:cNvGrpSpPr/>
                                                                                        <p:nvPr/>
                                                                                      </p:nvGrpSpPr>
                                                                                      <p:grpSpPr>
                                                                                        <a:xfrm>
                                                                                          <a:off x="2857040" y="1682302"/>
                                                                                          <a:ext cx="6995071" cy="4911494"/>
                                                                                          <a:chOff x="2857040" y="1682302"/>
                                                                                          <a:chExt cx="6995071" cy="4911494"/>
                                                                                        </a:xfrm>
                                                                                      </p:grpSpPr>
                                                                                      <p:grpSp>
                                                                                        <p:nvGrpSpPr>
                                                                                          <p:cNvPr id="7" name="Group 6"/>
                                                                                          <p:cNvGrpSpPr/>
                                                                                          <p:nvPr/>
                                                                                        </p:nvGrpSpPr>
                                                                                        <p:grpSpPr>
                                                                                          <a:xfrm>
                                                                                            <a:off x="2857040" y="1682302"/>
                                                                                            <a:ext cx="6995071" cy="4911494"/>
                                                                                            <a:chOff x="2857040" y="1682302"/>
                                                                                            <a:chExt cx="6995071" cy="4911494"/>
                                                                                          </a:xfrm>
                                                                                        </p:grpSpPr>
                                                                                        <p:grpSp>
                                                                                          <p:nvGrpSpPr>
                                                                                            <p:cNvPr id="5" name="Group 4"/>
                                                                                            <p:cNvGrpSpPr/>
                                                                                            <p:nvPr/>
                                                                                          </p:nvGrpSpPr>
                                                                                          <p:grpSpPr>
                                                                                            <a:xfrm>
                                                                                              <a:off x="2857040" y="1682302"/>
                                                                                              <a:ext cx="6995071" cy="3862580"/>
                                                                                              <a:chOff x="2857040" y="1682302"/>
                                                                                              <a:chExt cx="6995071" cy="3862580"/>
                                                                                            </a:xfrm>
                                                                                            <a:solidFill>
                                                                                              <a:schemeClr val="accent3"/>
                                                                                            </a:solidFill>
                                                                                          </p:grpSpPr>
                                                                                          <p:grpSp>
                                                                                            <p:nvGrpSpPr>
                                                                                              <p:cNvPr id="4" name="Group 3"/>
                                                                                              <p:cNvGrpSpPr/>
                                                                                              <p:nvPr/>
                                                                                            </p:nvGrpSpPr>
                                                                                            <p:grpSpPr>
                                                                                              <a:xfrm>
                                                                                                <a:off x="2857040" y="1682302"/>
                                                                                                <a:ext cx="6995071" cy="3862580"/>
                                                                                                <a:chOff x="2857040" y="1682302"/>
                                                                                                <a:chExt cx="6995071" cy="3862580"/>
                                                                                              </a:xfrm>
                                                                                              <a:grpFill/>
                                                                                            </p:grpSpPr>
                                                                                            <p:grpSp>
                                                                                              <p:nvGrpSpPr>
                                                                                                <p:cNvPr id="17" name="RED"/>
                                                                                                <p:cNvGrpSpPr/>
                                                                                                <p:nvPr/>
                                                                                              </p:nvGrpSpPr>
                                                                                              <p:grpSpPr>
                                                                                                <a:xfrm>
                                                                                                  <a:off x="2857040" y="1682302"/>
                                                                                                  <a:ext cx="6995071" cy="3298864"/>
                                                                                                  <a:chOff x="2857040" y="1682302"/>
                                                                                                  <a:chExt cx="6995071" cy="3298864"/>
                                                                                                </a:xfrm>
                                                                                                <a:grpFill/>
                                                                                              </p:grpSpPr>
                                                                                              <p:sp>
                                                                                                <p:nvSpPr>
                                                                                                  <p:cNvPr id="668" name="Kuwait"/>
                                                                                                  <p:cNvSpPr>
                                                                                                    <a:spLocks/>
                                                                                                  </p:cNvSpPr>
                                                                                                  <p:nvPr/>
                                                                                                </p:nvSpPr>
                                                                                                <p:spPr bwMode="auto">
                                                                                                  <a:xfrm>
                                                                                                    <a:off x="7212155" y="2527660"/>
                                                                                                    <a:ext cx="57715" cy="42488"/>
                                                                                                  </a:xfrm>
                                                                                                  <a:custGeom>
                                                                                                    <a:avLst/>
                                                                                                    <a:gdLst/>
                                                                                                    <a:ahLst/>
                                                                                                    <a:cxnLst>
                                                                                                      <a:cxn ang="0">
                                                                                                        <a:pos x="0" y="18"/>
                                                                                                      </a:cxn>
                                                                                                      <a:cxn ang="0">
                                                                                                        <a:pos x="0" y="18"/>
                                                                                                      </a:cxn>
                                                                                                      <a:cxn ang="0">
                                                                                                        <a:pos x="6" y="16"/>
                                                                                                      </a:cxn>
                                                                                                      <a:cxn ang="0">
                                                                                                        <a:pos x="10" y="12"/>
                                                                                                      </a:cxn>
                                                                                                      <a:cxn ang="0">
                                                                                                        <a:pos x="14" y="4"/>
                                                                                                      </a:cxn>
                                                                                                      <a:cxn ang="0">
                                                                                                        <a:pos x="16" y="2"/>
                                                                                                      </a:cxn>
                                                                                                      <a:cxn ang="0">
                                                                                                        <a:pos x="20" y="0"/>
                                                                                                      </a:cxn>
                                                                                                      <a:cxn ang="0">
                                                                                                        <a:pos x="24" y="2"/>
                                                                                                      </a:cxn>
                                                                                                      <a:cxn ang="0">
                                                                                                        <a:pos x="30" y="4"/>
                                                                                                      </a:cxn>
                                                                                                      <a:cxn ang="0">
                                                                                                        <a:pos x="30" y="4"/>
                                                                                                      </a:cxn>
                                                                                                      <a:cxn ang="0">
                                                                                                        <a:pos x="36" y="6"/>
                                                                                                      </a:cxn>
                                                                                                      <a:cxn ang="0">
                                                                                                        <a:pos x="38" y="8"/>
                                                                                                      </a:cxn>
                                                                                                      <a:cxn ang="0">
                                                                                                        <a:pos x="36" y="12"/>
                                                                                                      </a:cxn>
                                                                                                      <a:cxn ang="0">
                                                                                                        <a:pos x="38" y="12"/>
                                                                                                      </a:cxn>
                                                                                                      <a:cxn ang="0">
                                                                                                        <a:pos x="38" y="12"/>
                                                                                                      </a:cxn>
                                                                                                      <a:cxn ang="0">
                                                                                                        <a:pos x="38" y="14"/>
                                                                                                      </a:cxn>
                                                                                                      <a:cxn ang="0">
                                                                                                        <a:pos x="38" y="14"/>
                                                                                                      </a:cxn>
                                                                                                      <a:cxn ang="0">
                                                                                                        <a:pos x="34" y="16"/>
                                                                                                      </a:cxn>
                                                                                                      <a:cxn ang="0">
                                                                                                        <a:pos x="30" y="20"/>
                                                                                                      </a:cxn>
                                                                                                      <a:cxn ang="0">
                                                                                                        <a:pos x="28" y="24"/>
                                                                                                      </a:cxn>
                                                                                                      <a:cxn ang="0">
                                                                                                        <a:pos x="30" y="28"/>
                                                                                                      </a:cxn>
                                                                                                      <a:cxn ang="0">
                                                                                                        <a:pos x="30" y="28"/>
                                                                                                      </a:cxn>
                                                                                                      <a:cxn ang="0">
                                                                                                        <a:pos x="22" y="28"/>
                                                                                                      </a:cxn>
                                                                                                      <a:cxn ang="0">
                                                                                                        <a:pos x="18" y="28"/>
                                                                                                      </a:cxn>
                                                                                                      <a:cxn ang="0">
                                                                                                        <a:pos x="16" y="26"/>
                                                                                                      </a:cxn>
                                                                                                      <a:cxn ang="0">
                                                                                                        <a:pos x="16" y="24"/>
                                                                                                      </a:cxn>
                                                                                                      <a:cxn ang="0">
                                                                                                        <a:pos x="14" y="22"/>
                                                                                                      </a:cxn>
                                                                                                      <a:cxn ang="0">
                                                                                                        <a:pos x="12" y="20"/>
                                                                                                      </a:cxn>
                                                                                                      <a:cxn ang="0">
                                                                                                        <a:pos x="8" y="18"/>
                                                                                                      </a:cxn>
                                                                                                      <a:cxn ang="0">
                                                                                                        <a:pos x="0" y="18"/>
                                                                                                      </a:cxn>
                                                                                                      <a:cxn ang="0">
                                                                                                        <a:pos x="0" y="18"/>
                                                                                                      </a:cxn>
                                                                                                    </a:cxnLst>
                                                                                                    <a:rect l="0" t="0" r="r" b="b"/>
                                                                                                    <a:pathLst>
                                                                                                      <a:path w="38" h="28">
                                                                                                        <a:moveTo>
                                                                                                          <a:pt x="0" y="18"/>
                                                                                                        </a:moveTo>
                                                                                                        <a:lnTo>
                                                                                                          <a:pt x="0" y="18"/>
                                                                                                        </a:lnTo>
                                                                                                        <a:lnTo>
                                                                                                          <a:pt x="6" y="16"/>
                                                                                                        </a:lnTo>
                                                                                                        <a:lnTo>
                                                                                                          <a:pt x="10" y="12"/>
                                                                                                        </a:lnTo>
                                                                                                        <a:lnTo>
                                                                                                          <a:pt x="14" y="4"/>
                                                                                                        </a:lnTo>
                                                                                                        <a:lnTo>
                                                                                                          <a:pt x="16" y="2"/>
                                                                                                        </a:lnTo>
                                                                                                        <a:lnTo>
                                                                                                          <a:pt x="20" y="0"/>
                                                                                                        </a:lnTo>
                                                                                                        <a:lnTo>
                                                                                                          <a:pt x="24" y="2"/>
                                                                                                        </a:lnTo>
                                                                                                        <a:lnTo>
                                                                                                          <a:pt x="30" y="4"/>
                                                                                                        </a:lnTo>
                                                                                                        <a:lnTo>
                                                                                                          <a:pt x="30" y="4"/>
                                                                                                        </a:lnTo>
                                                                                                        <a:lnTo>
                                                                                                          <a:pt x="36" y="6"/>
                                                                                                        </a:lnTo>
                                                                                                        <a:lnTo>
                                                                                                          <a:pt x="38" y="8"/>
                                                                                                        </a:lnTo>
                                                                                                        <a:lnTo>
                                                                                                          <a:pt x="36" y="12"/>
                                                                                                        </a:lnTo>
                                                                                                        <a:lnTo>
                                                                                                          <a:pt x="38" y="12"/>
                                                                                                        </a:lnTo>
                                                                                                        <a:lnTo>
                                                                                                          <a:pt x="38" y="12"/>
                                                                                                        </a:lnTo>
                                                                                                        <a:lnTo>
                                                                                                          <a:pt x="38" y="14"/>
                                                                                                        </a:lnTo>
                                                                                                        <a:lnTo>
                                                                                                          <a:pt x="38" y="14"/>
                                                                                                        </a:lnTo>
                                                                                                        <a:lnTo>
                                                                                                          <a:pt x="34" y="16"/>
                                                                                                        </a:lnTo>
                                                                                                        <a:lnTo>
                                                                                                          <a:pt x="30" y="20"/>
                                                                                                        </a:lnTo>
                                                                                                        <a:lnTo>
                                                                                                          <a:pt x="28" y="24"/>
                                                                                                        </a:lnTo>
                                                                                                        <a:lnTo>
                                                                                                          <a:pt x="30" y="28"/>
                                                                                                        </a:lnTo>
                                                                                                        <a:lnTo>
                                                                                                          <a:pt x="30" y="28"/>
                                                                                                        </a:lnTo>
                                                                                                        <a:lnTo>
                                                                                                          <a:pt x="22" y="28"/>
                                                                                                        </a:lnTo>
                                                                                                        <a:lnTo>
                                                                                                          <a:pt x="18" y="28"/>
                                                                                                        </a:lnTo>
                                                                                                        <a:lnTo>
                                                                                                          <a:pt x="16" y="26"/>
                                                                                                        </a:lnTo>
                                                                                                        <a:lnTo>
                                                                                                          <a:pt x="16" y="24"/>
                                                                                                        </a:lnTo>
                                                                                                        <a:lnTo>
                                                                                                          <a:pt x="14" y="22"/>
                                                                                                        </a:lnTo>
                                                                                                        <a:lnTo>
                                                                                                          <a:pt x="12" y="20"/>
                                                                                                        </a:lnTo>
                                                                                                        <a:lnTo>
                                                                                                          <a:pt x="8" y="18"/>
                                                                                                        </a:lnTo>
                                                                                                        <a:lnTo>
                                                                                                          <a:pt x="0" y="18"/>
                                                                                                        </a:lnTo>
                                                                                                        <a:lnTo>
                                                                                                          <a:pt x="0" y="18"/>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baseline="-25000" dirty="0">
                                                                                                      <a:solidFill>
                                                                                                        <a:schemeClr val="tx1"/>
                                                                                                      </a:solidFill>
                                                                                                    </a:endParaRPr>
                                                                                                  </a:p>
                                                                                                </p:txBody>
                                                                                              </p:sp>
                                                                                              <p:sp>
                                                                                                <p:nvSpPr>
                                                                                                  <p:cNvPr id="554" name="Bangladesh"/>
                                                                                                  <p:cNvSpPr>
                                                                                                    <a:spLocks/>
                                                                                                  </p:cNvSpPr>
                                                                                                  <p:nvPr/>
                                                                                                </p:nvSpPr>
                                                                                                <p:spPr bwMode="auto">
                                                                                                  <a:xfrm>
                                                                                                    <a:off x="8490902" y="2644344"/>
                                                                                                    <a:ext cx="191372" cy="239752"/>
                                                                                                  </a:xfrm>
                                                                                                  <a:custGeom>
                                                                                                    <a:avLst/>
                                                                                                    <a:gdLst/>
                                                                                                    <a:ahLst/>
                                                                                                    <a:cxnLst>
                                                                                                      <a:cxn ang="0">
                                                                                                        <a:pos x="118" y="150"/>
                                                                                                      </a:cxn>
                                                                                                      <a:cxn ang="0">
                                                                                                        <a:pos x="122" y="144"/>
                                                                                                      </a:cxn>
                                                                                                      <a:cxn ang="0">
                                                                                                        <a:pos x="122" y="130"/>
                                                                                                      </a:cxn>
                                                                                                      <a:cxn ang="0">
                                                                                                        <a:pos x="124" y="128"/>
                                                                                                      </a:cxn>
                                                                                                      <a:cxn ang="0">
                                                                                                        <a:pos x="112" y="98"/>
                                                                                                      </a:cxn>
                                                                                                      <a:cxn ang="0">
                                                                                                        <a:pos x="104" y="86"/>
                                                                                                      </a:cxn>
                                                                                                      <a:cxn ang="0">
                                                                                                        <a:pos x="98" y="88"/>
                                                                                                      </a:cxn>
                                                                                                      <a:cxn ang="0">
                                                                                                        <a:pos x="94" y="90"/>
                                                                                                      </a:cxn>
                                                                                                      <a:cxn ang="0">
                                                                                                        <a:pos x="90" y="90"/>
                                                                                                      </a:cxn>
                                                                                                      <a:cxn ang="0">
                                                                                                        <a:pos x="82" y="86"/>
                                                                                                      </a:cxn>
                                                                                                      <a:cxn ang="0">
                                                                                                        <a:pos x="82" y="76"/>
                                                                                                      </a:cxn>
                                                                                                      <a:cxn ang="0">
                                                                                                        <a:pos x="96" y="70"/>
                                                                                                      </a:cxn>
                                                                                                      <a:cxn ang="0">
                                                                                                        <a:pos x="106" y="64"/>
                                                                                                      </a:cxn>
                                                                                                      <a:cxn ang="0">
                                                                                                        <a:pos x="110" y="56"/>
                                                                                                      </a:cxn>
                                                                                                      <a:cxn ang="0">
                                                                                                        <a:pos x="112" y="50"/>
                                                                                                      </a:cxn>
                                                                                                      <a:cxn ang="0">
                                                                                                        <a:pos x="92" y="46"/>
                                                                                                      </a:cxn>
                                                                                                      <a:cxn ang="0">
                                                                                                        <a:pos x="62" y="44"/>
                                                                                                      </a:cxn>
                                                                                                      <a:cxn ang="0">
                                                                                                        <a:pos x="50" y="36"/>
                                                                                                      </a:cxn>
                                                                                                      <a:cxn ang="0">
                                                                                                        <a:pos x="40" y="18"/>
                                                                                                      </a:cxn>
                                                                                                      <a:cxn ang="0">
                                                                                                        <a:pos x="34" y="22"/>
                                                                                                      </a:cxn>
                                                                                                      <a:cxn ang="0">
                                                                                                        <a:pos x="32" y="12"/>
                                                                                                      </a:cxn>
                                                                                                      <a:cxn ang="0">
                                                                                                        <a:pos x="28" y="10"/>
                                                                                                      </a:cxn>
                                                                                                      <a:cxn ang="0">
                                                                                                        <a:pos x="24" y="14"/>
                                                                                                      </a:cxn>
                                                                                                      <a:cxn ang="0">
                                                                                                        <a:pos x="16" y="0"/>
                                                                                                      </a:cxn>
                                                                                                      <a:cxn ang="0">
                                                                                                        <a:pos x="14" y="14"/>
                                                                                                      </a:cxn>
                                                                                                      <a:cxn ang="0">
                                                                                                        <a:pos x="2" y="22"/>
                                                                                                      </a:cxn>
                                                                                                      <a:cxn ang="0">
                                                                                                        <a:pos x="4" y="26"/>
                                                                                                      </a:cxn>
                                                                                                      <a:cxn ang="0">
                                                                                                        <a:pos x="28" y="40"/>
                                                                                                      </a:cxn>
                                                                                                      <a:cxn ang="0">
                                                                                                        <a:pos x="26" y="44"/>
                                                                                                      </a:cxn>
                                                                                                      <a:cxn ang="0">
                                                                                                        <a:pos x="18" y="54"/>
                                                                                                      </a:cxn>
                                                                                                      <a:cxn ang="0">
                                                                                                        <a:pos x="20" y="64"/>
                                                                                                      </a:cxn>
                                                                                                      <a:cxn ang="0">
                                                                                                        <a:pos x="38" y="76"/>
                                                                                                      </a:cxn>
                                                                                                      <a:cxn ang="0">
                                                                                                        <a:pos x="38" y="88"/>
                                                                                                      </a:cxn>
                                                                                                      <a:cxn ang="0">
                                                                                                        <a:pos x="40" y="94"/>
                                                                                                      </a:cxn>
                                                                                                      <a:cxn ang="0">
                                                                                                        <a:pos x="38" y="98"/>
                                                                                                      </a:cxn>
                                                                                                      <a:cxn ang="0">
                                                                                                        <a:pos x="46" y="110"/>
                                                                                                      </a:cxn>
                                                                                                      <a:cxn ang="0">
                                                                                                        <a:pos x="46" y="128"/>
                                                                                                      </a:cxn>
                                                                                                      <a:cxn ang="0">
                                                                                                        <a:pos x="50" y="130"/>
                                                                                                      </a:cxn>
                                                                                                      <a:cxn ang="0">
                                                                                                        <a:pos x="54" y="128"/>
                                                                                                      </a:cxn>
                                                                                                      <a:cxn ang="0">
                                                                                                        <a:pos x="58" y="130"/>
                                                                                                      </a:cxn>
                                                                                                      <a:cxn ang="0">
                                                                                                        <a:pos x="62" y="126"/>
                                                                                                      </a:cxn>
                                                                                                      <a:cxn ang="0">
                                                                                                        <a:pos x="64" y="126"/>
                                                                                                      </a:cxn>
                                                                                                      <a:cxn ang="0">
                                                                                                        <a:pos x="64" y="120"/>
                                                                                                      </a:cxn>
                                                                                                      <a:cxn ang="0">
                                                                                                        <a:pos x="72" y="126"/>
                                                                                                      </a:cxn>
                                                                                                      <a:cxn ang="0">
                                                                                                        <a:pos x="76" y="120"/>
                                                                                                      </a:cxn>
                                                                                                      <a:cxn ang="0">
                                                                                                        <a:pos x="78" y="116"/>
                                                                                                      </a:cxn>
                                                                                                      <a:cxn ang="0">
                                                                                                        <a:pos x="76" y="112"/>
                                                                                                      </a:cxn>
                                                                                                      <a:cxn ang="0">
                                                                                                        <a:pos x="78" y="108"/>
                                                                                                      </a:cxn>
                                                                                                      <a:cxn ang="0">
                                                                                                        <a:pos x="74" y="104"/>
                                                                                                      </a:cxn>
                                                                                                      <a:cxn ang="0">
                                                                                                        <a:pos x="74" y="102"/>
                                                                                                      </a:cxn>
                                                                                                      <a:cxn ang="0">
                                                                                                        <a:pos x="76" y="96"/>
                                                                                                      </a:cxn>
                                                                                                      <a:cxn ang="0">
                                                                                                        <a:pos x="86" y="108"/>
                                                                                                      </a:cxn>
                                                                                                      <a:cxn ang="0">
                                                                                                        <a:pos x="88" y="108"/>
                                                                                                      </a:cxn>
                                                                                                      <a:cxn ang="0">
                                                                                                        <a:pos x="98" y="128"/>
                                                                                                      </a:cxn>
                                                                                                      <a:cxn ang="0">
                                                                                                        <a:pos x="106" y="144"/>
                                                                                                      </a:cxn>
                                                                                                      <a:cxn ang="0">
                                                                                                        <a:pos x="116" y="158"/>
                                                                                                      </a:cxn>
                                                                                                    </a:cxnLst>
                                                                                                    <a:rect l="0" t="0" r="r" b="b"/>
                                                                                                    <a:pathLst>
                                                                                                      <a:path w="126" h="158">
                                                                                                        <a:moveTo>
                                                                                                          <a:pt x="116" y="158"/>
                                                                                                        </a:moveTo>
                                                                                                        <a:lnTo>
                                                                                                          <a:pt x="116" y="158"/>
                                                                                                        </a:lnTo>
                                                                                                        <a:lnTo>
                                                                                                          <a:pt x="118" y="150"/>
                                                                                                        </a:lnTo>
                                                                                                        <a:lnTo>
                                                                                                          <a:pt x="120" y="148"/>
                                                                                                        </a:lnTo>
                                                                                                        <a:lnTo>
                                                                                                          <a:pt x="122" y="148"/>
                                                                                                        </a:lnTo>
                                                                                                        <a:lnTo>
                                                                                                          <a:pt x="122" y="144"/>
                                                                                                        </a:lnTo>
                                                                                                        <a:lnTo>
                                                                                                          <a:pt x="122" y="144"/>
                                                                                                        </a:lnTo>
                                                                                                        <a:lnTo>
                                                                                                          <a:pt x="120" y="134"/>
                                                                                                        </a:lnTo>
                                                                                                        <a:lnTo>
                                                                                                          <a:pt x="122" y="130"/>
                                                                                                        </a:lnTo>
                                                                                                        <a:lnTo>
                                                                                                          <a:pt x="126" y="130"/>
                                                                                                        </a:lnTo>
                                                                                                        <a:lnTo>
                                                                                                          <a:pt x="126" y="130"/>
                                                                                                        </a:lnTo>
                                                                                                        <a:lnTo>
                                                                                                          <a:pt x="124" y="128"/>
                                                                                                        </a:lnTo>
                                                                                                        <a:lnTo>
                                                                                                          <a:pt x="120" y="124"/>
                                                                                                        </a:lnTo>
                                                                                                        <a:lnTo>
                                                                                                          <a:pt x="116" y="112"/>
                                                                                                        </a:lnTo>
                                                                                                        <a:lnTo>
                                                                                                          <a:pt x="112" y="98"/>
                                                                                                        </a:lnTo>
                                                                                                        <a:lnTo>
                                                                                                          <a:pt x="108" y="88"/>
                                                                                                        </a:lnTo>
                                                                                                        <a:lnTo>
                                                                                                          <a:pt x="108" y="88"/>
                                                                                                        </a:lnTo>
                                                                                                        <a:lnTo>
                                                                                                          <a:pt x="104" y="86"/>
                                                                                                        </a:lnTo>
                                                                                                        <a:lnTo>
                                                                                                          <a:pt x="102" y="86"/>
                                                                                                        </a:lnTo>
                                                                                                        <a:lnTo>
                                                                                                          <a:pt x="100" y="88"/>
                                                                                                        </a:lnTo>
                                                                                                        <a:lnTo>
                                                                                                          <a:pt x="98" y="88"/>
                                                                                                        </a:lnTo>
                                                                                                        <a:lnTo>
                                                                                                          <a:pt x="98" y="88"/>
                                                                                                        </a:lnTo>
                                                                                                        <a:lnTo>
                                                                                                          <a:pt x="94" y="88"/>
                                                                                                        </a:lnTo>
                                                                                                        <a:lnTo>
                                                                                                          <a:pt x="94" y="90"/>
                                                                                                        </a:lnTo>
                                                                                                        <a:lnTo>
                                                                                                          <a:pt x="92" y="92"/>
                                                                                                        </a:lnTo>
                                                                                                        <a:lnTo>
                                                                                                          <a:pt x="90" y="90"/>
                                                                                                        </a:lnTo>
                                                                                                        <a:lnTo>
                                                                                                          <a:pt x="90" y="90"/>
                                                                                                        </a:lnTo>
                                                                                                        <a:lnTo>
                                                                                                          <a:pt x="88" y="88"/>
                                                                                                        </a:lnTo>
                                                                                                        <a:lnTo>
                                                                                                          <a:pt x="84" y="88"/>
                                                                                                        </a:lnTo>
                                                                                                        <a:lnTo>
                                                                                                          <a:pt x="82" y="86"/>
                                                                                                        </a:lnTo>
                                                                                                        <a:lnTo>
                                                                                                          <a:pt x="80" y="82"/>
                                                                                                        </a:lnTo>
                                                                                                        <a:lnTo>
                                                                                                          <a:pt x="80" y="82"/>
                                                                                                        </a:lnTo>
                                                                                                        <a:lnTo>
                                                                                                          <a:pt x="82" y="76"/>
                                                                                                        </a:lnTo>
                                                                                                        <a:lnTo>
                                                                                                          <a:pt x="86" y="72"/>
                                                                                                        </a:lnTo>
                                                                                                        <a:lnTo>
                                                                                                          <a:pt x="90" y="70"/>
                                                                                                        </a:lnTo>
                                                                                                        <a:lnTo>
                                                                                                          <a:pt x="96" y="70"/>
                                                                                                        </a:lnTo>
                                                                                                        <a:lnTo>
                                                                                                          <a:pt x="104" y="68"/>
                                                                                                        </a:lnTo>
                                                                                                        <a:lnTo>
                                                                                                          <a:pt x="108" y="68"/>
                                                                                                        </a:lnTo>
                                                                                                        <a:lnTo>
                                                                                                          <a:pt x="106" y="64"/>
                                                                                                        </a:lnTo>
                                                                                                        <a:lnTo>
                                                                                                          <a:pt x="106" y="64"/>
                                                                                                        </a:lnTo>
                                                                                                        <a:lnTo>
                                                                                                          <a:pt x="106" y="60"/>
                                                                                                        </a:lnTo>
                                                                                                        <a:lnTo>
                                                                                                          <a:pt x="110" y="56"/>
                                                                                                        </a:lnTo>
                                                                                                        <a:lnTo>
                                                                                                          <a:pt x="112" y="52"/>
                                                                                                        </a:lnTo>
                                                                                                        <a:lnTo>
                                                                                                          <a:pt x="112" y="50"/>
                                                                                                        </a:lnTo>
                                                                                                        <a:lnTo>
                                                                                                          <a:pt x="112" y="50"/>
                                                                                                        </a:lnTo>
                                                                                                        <a:lnTo>
                                                                                                          <a:pt x="108" y="46"/>
                                                                                                        </a:lnTo>
                                                                                                        <a:lnTo>
                                                                                                          <a:pt x="104" y="46"/>
                                                                                                        </a:lnTo>
                                                                                                        <a:lnTo>
                                                                                                          <a:pt x="92" y="46"/>
                                                                                                        </a:lnTo>
                                                                                                        <a:lnTo>
                                                                                                          <a:pt x="76" y="48"/>
                                                                                                        </a:lnTo>
                                                                                                        <a:lnTo>
                                                                                                          <a:pt x="68" y="48"/>
                                                                                                        </a:lnTo>
                                                                                                        <a:lnTo>
                                                                                                          <a:pt x="62" y="44"/>
                                                                                                        </a:lnTo>
                                                                                                        <a:lnTo>
                                                                                                          <a:pt x="62" y="44"/>
                                                                                                        </a:lnTo>
                                                                                                        <a:lnTo>
                                                                                                          <a:pt x="56" y="42"/>
                                                                                                        </a:lnTo>
                                                                                                        <a:lnTo>
                                                                                                          <a:pt x="50" y="36"/>
                                                                                                        </a:lnTo>
                                                                                                        <a:lnTo>
                                                                                                          <a:pt x="46" y="26"/>
                                                                                                        </a:lnTo>
                                                                                                        <a:lnTo>
                                                                                                          <a:pt x="42" y="18"/>
                                                                                                        </a:lnTo>
                                                                                                        <a:lnTo>
                                                                                                          <a:pt x="40" y="18"/>
                                                                                                        </a:lnTo>
                                                                                                        <a:lnTo>
                                                                                                          <a:pt x="36" y="20"/>
                                                                                                        </a:lnTo>
                                                                                                        <a:lnTo>
                                                                                                          <a:pt x="36" y="20"/>
                                                                                                        </a:lnTo>
                                                                                                        <a:lnTo>
                                                                                                          <a:pt x="34" y="22"/>
                                                                                                        </a:lnTo>
                                                                                                        <a:lnTo>
                                                                                                          <a:pt x="34" y="20"/>
                                                                                                        </a:lnTo>
                                                                                                        <a:lnTo>
                                                                                                          <a:pt x="34" y="16"/>
                                                                                                        </a:lnTo>
                                                                                                        <a:lnTo>
                                                                                                          <a:pt x="32" y="12"/>
                                                                                                        </a:lnTo>
                                                                                                        <a:lnTo>
                                                                                                          <a:pt x="32" y="12"/>
                                                                                                        </a:lnTo>
                                                                                                        <a:lnTo>
                                                                                                          <a:pt x="30" y="10"/>
                                                                                                        </a:lnTo>
                                                                                                        <a:lnTo>
                                                                                                          <a:pt x="28" y="10"/>
                                                                                                        </a:lnTo>
                                                                                                        <a:lnTo>
                                                                                                          <a:pt x="28" y="14"/>
                                                                                                        </a:lnTo>
                                                                                                        <a:lnTo>
                                                                                                          <a:pt x="26" y="16"/>
                                                                                                        </a:lnTo>
                                                                                                        <a:lnTo>
                                                                                                          <a:pt x="24" y="14"/>
                                                                                                        </a:lnTo>
                                                                                                        <a:lnTo>
                                                                                                          <a:pt x="18" y="0"/>
                                                                                                        </a:lnTo>
                                                                                                        <a:lnTo>
                                                                                                          <a:pt x="18" y="0"/>
                                                                                                        </a:lnTo>
                                                                                                        <a:lnTo>
                                                                                                          <a:pt x="16" y="0"/>
                                                                                                        </a:lnTo>
                                                                                                        <a:lnTo>
                                                                                                          <a:pt x="14" y="2"/>
                                                                                                        </a:lnTo>
                                                                                                        <a:lnTo>
                                                                                                          <a:pt x="14" y="14"/>
                                                                                                        </a:lnTo>
                                                                                                        <a:lnTo>
                                                                                                          <a:pt x="14" y="14"/>
                                                                                                        </a:lnTo>
                                                                                                        <a:lnTo>
                                                                                                          <a:pt x="12" y="18"/>
                                                                                                        </a:lnTo>
                                                                                                        <a:lnTo>
                                                                                                          <a:pt x="8" y="20"/>
                                                                                                        </a:lnTo>
                                                                                                        <a:lnTo>
                                                                                                          <a:pt x="2" y="22"/>
                                                                                                        </a:lnTo>
                                                                                                        <a:lnTo>
                                                                                                          <a:pt x="0" y="24"/>
                                                                                                        </a:lnTo>
                                                                                                        <a:lnTo>
                                                                                                          <a:pt x="0" y="24"/>
                                                                                                        </a:lnTo>
                                                                                                        <a:lnTo>
                                                                                                          <a:pt x="4" y="26"/>
                                                                                                        </a:lnTo>
                                                                                                        <a:lnTo>
                                                                                                          <a:pt x="14" y="32"/>
                                                                                                        </a:lnTo>
                                                                                                        <a:lnTo>
                                                                                                          <a:pt x="24" y="36"/>
                                                                                                        </a:lnTo>
                                                                                                        <a:lnTo>
                                                                                                          <a:pt x="28" y="40"/>
                                                                                                        </a:lnTo>
                                                                                                        <a:lnTo>
                                                                                                          <a:pt x="28" y="42"/>
                                                                                                        </a:lnTo>
                                                                                                        <a:lnTo>
                                                                                                          <a:pt x="28" y="42"/>
                                                                                                        </a:lnTo>
                                                                                                        <a:lnTo>
                                                                                                          <a:pt x="26" y="44"/>
                                                                                                        </a:lnTo>
                                                                                                        <a:lnTo>
                                                                                                          <a:pt x="24" y="46"/>
                                                                                                        </a:lnTo>
                                                                                                        <a:lnTo>
                                                                                                          <a:pt x="20" y="48"/>
                                                                                                        </a:lnTo>
                                                                                                        <a:lnTo>
                                                                                                          <a:pt x="18" y="54"/>
                                                                                                        </a:lnTo>
                                                                                                        <a:lnTo>
                                                                                                          <a:pt x="18" y="54"/>
                                                                                                        </a:lnTo>
                                                                                                        <a:lnTo>
                                                                                                          <a:pt x="18" y="60"/>
                                                                                                        </a:lnTo>
                                                                                                        <a:lnTo>
                                                                                                          <a:pt x="20" y="64"/>
                                                                                                        </a:lnTo>
                                                                                                        <a:lnTo>
                                                                                                          <a:pt x="28" y="68"/>
                                                                                                        </a:lnTo>
                                                                                                        <a:lnTo>
                                                                                                          <a:pt x="36" y="74"/>
                                                                                                        </a:lnTo>
                                                                                                        <a:lnTo>
                                                                                                          <a:pt x="38" y="76"/>
                                                                                                        </a:lnTo>
                                                                                                        <a:lnTo>
                                                                                                          <a:pt x="38" y="80"/>
                                                                                                        </a:lnTo>
                                                                                                        <a:lnTo>
                                                                                                          <a:pt x="38" y="80"/>
                                                                                                        </a:lnTo>
                                                                                                        <a:lnTo>
                                                                                                          <a:pt x="38" y="88"/>
                                                                                                        </a:lnTo>
                                                                                                        <a:lnTo>
                                                                                                          <a:pt x="40" y="90"/>
                                                                                                        </a:lnTo>
                                                                                                        <a:lnTo>
                                                                                                          <a:pt x="40" y="90"/>
                                                                                                        </a:lnTo>
                                                                                                        <a:lnTo>
                                                                                                          <a:pt x="40" y="94"/>
                                                                                                        </a:lnTo>
                                                                                                        <a:lnTo>
                                                                                                          <a:pt x="40" y="94"/>
                                                                                                        </a:lnTo>
                                                                                                        <a:lnTo>
                                                                                                          <a:pt x="38" y="96"/>
                                                                                                        </a:lnTo>
                                                                                                        <a:lnTo>
                                                                                                          <a:pt x="38" y="98"/>
                                                                                                        </a:lnTo>
                                                                                                        <a:lnTo>
                                                                                                          <a:pt x="40" y="102"/>
                                                                                                        </a:lnTo>
                                                                                                        <a:lnTo>
                                                                                                          <a:pt x="44" y="106"/>
                                                                                                        </a:lnTo>
                                                                                                        <a:lnTo>
                                                                                                          <a:pt x="46" y="110"/>
                                                                                                        </a:lnTo>
                                                                                                        <a:lnTo>
                                                                                                          <a:pt x="46" y="118"/>
                                                                                                        </a:lnTo>
                                                                                                        <a:lnTo>
                                                                                                          <a:pt x="46" y="128"/>
                                                                                                        </a:lnTo>
                                                                                                        <a:lnTo>
                                                                                                          <a:pt x="46" y="128"/>
                                                                                                        </a:lnTo>
                                                                                                        <a:lnTo>
                                                                                                          <a:pt x="48" y="128"/>
                                                                                                        </a:lnTo>
                                                                                                        <a:lnTo>
                                                                                                          <a:pt x="50" y="130"/>
                                                                                                        </a:lnTo>
                                                                                                        <a:lnTo>
                                                                                                          <a:pt x="50" y="130"/>
                                                                                                        </a:lnTo>
                                                                                                        <a:lnTo>
                                                                                                          <a:pt x="50" y="130"/>
                                                                                                        </a:lnTo>
                                                                                                        <a:lnTo>
                                                                                                          <a:pt x="52" y="128"/>
                                                                                                        </a:lnTo>
                                                                                                        <a:lnTo>
                                                                                                          <a:pt x="54" y="128"/>
                                                                                                        </a:lnTo>
                                                                                                        <a:lnTo>
                                                                                                          <a:pt x="56" y="128"/>
                                                                                                        </a:lnTo>
                                                                                                        <a:lnTo>
                                                                                                          <a:pt x="56" y="128"/>
                                                                                                        </a:lnTo>
                                                                                                        <a:lnTo>
                                                                                                          <a:pt x="58" y="130"/>
                                                                                                        </a:lnTo>
                                                                                                        <a:lnTo>
                                                                                                          <a:pt x="58" y="128"/>
                                                                                                        </a:lnTo>
                                                                                                        <a:lnTo>
                                                                                                          <a:pt x="60" y="126"/>
                                                                                                        </a:lnTo>
                                                                                                        <a:lnTo>
                                                                                                          <a:pt x="62" y="126"/>
                                                                                                        </a:lnTo>
                                                                                                        <a:lnTo>
                                                                                                          <a:pt x="62" y="126"/>
                                                                                                        </a:lnTo>
                                                                                                        <a:lnTo>
                                                                                                          <a:pt x="64" y="128"/>
                                                                                                        </a:lnTo>
                                                                                                        <a:lnTo>
                                                                                                          <a:pt x="64" y="126"/>
                                                                                                        </a:lnTo>
                                                                                                        <a:lnTo>
                                                                                                          <a:pt x="62" y="122"/>
                                                                                                        </a:lnTo>
                                                                                                        <a:lnTo>
                                                                                                          <a:pt x="62" y="122"/>
                                                                                                        </a:lnTo>
                                                                                                        <a:lnTo>
                                                                                                          <a:pt x="64" y="120"/>
                                                                                                        </a:lnTo>
                                                                                                        <a:lnTo>
                                                                                                          <a:pt x="68" y="124"/>
                                                                                                        </a:lnTo>
                                                                                                        <a:lnTo>
                                                                                                          <a:pt x="68" y="124"/>
                                                                                                        </a:lnTo>
                                                                                                        <a:lnTo>
                                                                                                          <a:pt x="72" y="126"/>
                                                                                                        </a:lnTo>
                                                                                                        <a:lnTo>
                                                                                                          <a:pt x="72" y="124"/>
                                                                                                        </a:lnTo>
                                                                                                        <a:lnTo>
                                                                                                          <a:pt x="74" y="122"/>
                                                                                                        </a:lnTo>
                                                                                                        <a:lnTo>
                                                                                                          <a:pt x="76" y="120"/>
                                                                                                        </a:lnTo>
                                                                                                        <a:lnTo>
                                                                                                          <a:pt x="76" y="120"/>
                                                                                                        </a:lnTo>
                                                                                                        <a:lnTo>
                                                                                                          <a:pt x="78" y="118"/>
                                                                                                        </a:lnTo>
                                                                                                        <a:lnTo>
                                                                                                          <a:pt x="78" y="116"/>
                                                                                                        </a:lnTo>
                                                                                                        <a:lnTo>
                                                                                                          <a:pt x="78" y="112"/>
                                                                                                        </a:lnTo>
                                                                                                        <a:lnTo>
                                                                                                          <a:pt x="76" y="112"/>
                                                                                                        </a:lnTo>
                                                                                                        <a:lnTo>
                                                                                                          <a:pt x="76" y="112"/>
                                                                                                        </a:lnTo>
                                                                                                        <a:lnTo>
                                                                                                          <a:pt x="76" y="110"/>
                                                                                                        </a:lnTo>
                                                                                                        <a:lnTo>
                                                                                                          <a:pt x="78" y="108"/>
                                                                                                        </a:lnTo>
                                                                                                        <a:lnTo>
                                                                                                          <a:pt x="78" y="108"/>
                                                                                                        </a:lnTo>
                                                                                                        <a:lnTo>
                                                                                                          <a:pt x="76" y="106"/>
                                                                                                        </a:lnTo>
                                                                                                        <a:lnTo>
                                                                                                          <a:pt x="76" y="106"/>
                                                                                                        </a:lnTo>
                                                                                                        <a:lnTo>
                                                                                                          <a:pt x="74" y="104"/>
                                                                                                        </a:lnTo>
                                                                                                        <a:lnTo>
                                                                                                          <a:pt x="70" y="102"/>
                                                                                                        </a:lnTo>
                                                                                                        <a:lnTo>
                                                                                                          <a:pt x="70" y="102"/>
                                                                                                        </a:lnTo>
                                                                                                        <a:lnTo>
                                                                                                          <a:pt x="74" y="102"/>
                                                                                                        </a:lnTo>
                                                                                                        <a:lnTo>
                                                                                                          <a:pt x="76" y="102"/>
                                                                                                        </a:lnTo>
                                                                                                        <a:lnTo>
                                                                                                          <a:pt x="76" y="96"/>
                                                                                                        </a:lnTo>
                                                                                                        <a:lnTo>
                                                                                                          <a:pt x="76" y="96"/>
                                                                                                        </a:lnTo>
                                                                                                        <a:lnTo>
                                                                                                          <a:pt x="78" y="104"/>
                                                                                                        </a:lnTo>
                                                                                                        <a:lnTo>
                                                                                                          <a:pt x="82" y="106"/>
                                                                                                        </a:lnTo>
                                                                                                        <a:lnTo>
                                                                                                          <a:pt x="86" y="108"/>
                                                                                                        </a:lnTo>
                                                                                                        <a:lnTo>
                                                                                                          <a:pt x="90" y="108"/>
                                                                                                        </a:lnTo>
                                                                                                        <a:lnTo>
                                                                                                          <a:pt x="90" y="108"/>
                                                                                                        </a:lnTo>
                                                                                                        <a:lnTo>
                                                                                                          <a:pt x="88" y="108"/>
                                                                                                        </a:lnTo>
                                                                                                        <a:lnTo>
                                                                                                          <a:pt x="88" y="110"/>
                                                                                                        </a:lnTo>
                                                                                                        <a:lnTo>
                                                                                                          <a:pt x="92" y="118"/>
                                                                                                        </a:lnTo>
                                                                                                        <a:lnTo>
                                                                                                          <a:pt x="98" y="128"/>
                                                                                                        </a:lnTo>
                                                                                                        <a:lnTo>
                                                                                                          <a:pt x="104" y="138"/>
                                                                                                        </a:lnTo>
                                                                                                        <a:lnTo>
                                                                                                          <a:pt x="104" y="138"/>
                                                                                                        </a:lnTo>
                                                                                                        <a:lnTo>
                                                                                                          <a:pt x="106" y="144"/>
                                                                                                        </a:lnTo>
                                                                                                        <a:lnTo>
                                                                                                          <a:pt x="110" y="150"/>
                                                                                                        </a:lnTo>
                                                                                                        <a:lnTo>
                                                                                                          <a:pt x="116" y="158"/>
                                                                                                        </a:lnTo>
                                                                                                        <a:lnTo>
                                                                                                          <a:pt x="116" y="158"/>
                                                                                                        </a:lnTo>
                                                                                                        <a:close/>
                                                                                                      </a:path>
                                                                                                    </a:pathLst>
                                                                                                  </a:custGeom>
                                                                                                  <a:grpFill/>
                                                                                                  <a:ln w="63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aseline="-25000" dirty="0">
                                                                                                      <a:solidFill>
                                                                                                        <a:schemeClr val="bg1">
                                                                                                          <a:alpha val="99000"/>
                                                                                                        </a:schemeClr>
                                                                                                      </a:solidFill>
                                                                                                    </a:endParaRPr>
                                                                                                  </a:p>
                                                                                                </p:txBody>
                                                                                              </p:sp>
                                                                                              <p:sp>
                                                                                                <p:nvSpPr>
                                                                                                  <p:cNvPr id="572" name="Egypt"/>
                                                                                                  <p:cNvSpPr>
                                                                                                    <a:spLocks noEditPoints="1"/>
                                                                                                  </p:cNvSpPr>
                                                                                                  <p:nvPr/>
                                                                                                </p:nvSpPr>
                                                                                                <p:spPr bwMode="auto">
                                                                                                  <a:xfrm>
                                                                                                    <a:off x="6532662" y="2471359"/>
                                                                                                    <a:ext cx="379705" cy="358110"/>
                                                                                                  </a:xfrm>
                                                                                                  <a:custGeom>
                                                                                                    <a:avLst/>
                                                                                                    <a:gdLst/>
                                                                                                    <a:ahLst/>
                                                                                                    <a:cxnLst>
                                                                                                      <a:cxn ang="0">
                                                                                                        <a:pos x="14" y="234"/>
                                                                                                      </a:cxn>
                                                                                                      <a:cxn ang="0">
                                                                                                        <a:pos x="216" y="234"/>
                                                                                                      </a:cxn>
                                                                                                      <a:cxn ang="0">
                                                                                                        <a:pos x="228" y="236"/>
                                                                                                      </a:cxn>
                                                                                                      <a:cxn ang="0">
                                                                                                        <a:pos x="232" y="234"/>
                                                                                                      </a:cxn>
                                                                                                      <a:cxn ang="0">
                                                                                                        <a:pos x="232" y="230"/>
                                                                                                      </a:cxn>
                                                                                                      <a:cxn ang="0">
                                                                                                        <a:pos x="240" y="226"/>
                                                                                                      </a:cxn>
                                                                                                      <a:cxn ang="0">
                                                                                                        <a:pos x="248" y="224"/>
                                                                                                      </a:cxn>
                                                                                                      <a:cxn ang="0">
                                                                                                        <a:pos x="246" y="216"/>
                                                                                                      </a:cxn>
                                                                                                      <a:cxn ang="0">
                                                                                                        <a:pos x="242" y="204"/>
                                                                                                      </a:cxn>
                                                                                                      <a:cxn ang="0">
                                                                                                        <a:pos x="238" y="196"/>
                                                                                                      </a:cxn>
                                                                                                      <a:cxn ang="0">
                                                                                                        <a:pos x="244" y="194"/>
                                                                                                      </a:cxn>
                                                                                                      <a:cxn ang="0">
                                                                                                        <a:pos x="242" y="190"/>
                                                                                                      </a:cxn>
                                                                                                      <a:cxn ang="0">
                                                                                                        <a:pos x="222" y="164"/>
                                                                                                      </a:cxn>
                                                                                                      <a:cxn ang="0">
                                                                                                        <a:pos x="212" y="150"/>
                                                                                                      </a:cxn>
                                                                                                      <a:cxn ang="0">
                                                                                                        <a:pos x="194" y="122"/>
                                                                                                      </a:cxn>
                                                                                                      <a:cxn ang="0">
                                                                                                        <a:pos x="192" y="114"/>
                                                                                                      </a:cxn>
                                                                                                      <a:cxn ang="0">
                                                                                                        <a:pos x="194" y="112"/>
                                                                                                      </a:cxn>
                                                                                                      <a:cxn ang="0">
                                                                                                        <a:pos x="184" y="100"/>
                                                                                                      </a:cxn>
                                                                                                      <a:cxn ang="0">
                                                                                                        <a:pos x="182" y="92"/>
                                                                                                      </a:cxn>
                                                                                                      <a:cxn ang="0">
                                                                                                        <a:pos x="166" y="70"/>
                                                                                                      </a:cxn>
                                                                                                      <a:cxn ang="0">
                                                                                                        <a:pos x="164" y="62"/>
                                                                                                      </a:cxn>
                                                                                                      <a:cxn ang="0">
                                                                                                        <a:pos x="160" y="50"/>
                                                                                                      </a:cxn>
                                                                                                      <a:cxn ang="0">
                                                                                                        <a:pos x="156" y="34"/>
                                                                                                      </a:cxn>
                                                                                                      <a:cxn ang="0">
                                                                                                        <a:pos x="158" y="38"/>
                                                                                                      </a:cxn>
                                                                                                      <a:cxn ang="0">
                                                                                                        <a:pos x="164" y="48"/>
                                                                                                      </a:cxn>
                                                                                                      <a:cxn ang="0">
                                                                                                        <a:pos x="174" y="60"/>
                                                                                                      </a:cxn>
                                                                                                      <a:cxn ang="0">
                                                                                                        <a:pos x="182" y="72"/>
                                                                                                      </a:cxn>
                                                                                                      <a:cxn ang="0">
                                                                                                        <a:pos x="196" y="92"/>
                                                                                                      </a:cxn>
                                                                                                      <a:cxn ang="0">
                                                                                                        <a:pos x="206" y="98"/>
                                                                                                      </a:cxn>
                                                                                                      <a:cxn ang="0">
                                                                                                        <a:pos x="212" y="88"/>
                                                                                                      </a:cxn>
                                                                                                      <a:cxn ang="0">
                                                                                                        <a:pos x="210" y="74"/>
                                                                                                      </a:cxn>
                                                                                                      <a:cxn ang="0">
                                                                                                        <a:pos x="212" y="62"/>
                                                                                                      </a:cxn>
                                                                                                      <a:cxn ang="0">
                                                                                                        <a:pos x="214" y="50"/>
                                                                                                      </a:cxn>
                                                                                                      <a:cxn ang="0">
                                                                                                        <a:pos x="194" y="18"/>
                                                                                                      </a:cxn>
                                                                                                      <a:cxn ang="0">
                                                                                                        <a:pos x="198" y="10"/>
                                                                                                      </a:cxn>
                                                                                                      <a:cxn ang="0">
                                                                                                        <a:pos x="192" y="10"/>
                                                                                                      </a:cxn>
                                                                                                      <a:cxn ang="0">
                                                                                                        <a:pos x="178" y="16"/>
                                                                                                      </a:cxn>
                                                                                                      <a:cxn ang="0">
                                                                                                        <a:pos x="164" y="14"/>
                                                                                                      </a:cxn>
                                                                                                      <a:cxn ang="0">
                                                                                                        <a:pos x="138" y="8"/>
                                                                                                      </a:cxn>
                                                                                                      <a:cxn ang="0">
                                                                                                        <a:pos x="126" y="8"/>
                                                                                                      </a:cxn>
                                                                                                      <a:cxn ang="0">
                                                                                                        <a:pos x="112" y="8"/>
                                                                                                      </a:cxn>
                                                                                                      <a:cxn ang="0">
                                                                                                        <a:pos x="104" y="12"/>
                                                                                                      </a:cxn>
                                                                                                      <a:cxn ang="0">
                                                                                                        <a:pos x="100" y="16"/>
                                                                                                      </a:cxn>
                                                                                                      <a:cxn ang="0">
                                                                                                        <a:pos x="90" y="22"/>
                                                                                                      </a:cxn>
                                                                                                      <a:cxn ang="0">
                                                                                                        <a:pos x="82" y="18"/>
                                                                                                      </a:cxn>
                                                                                                      <a:cxn ang="0">
                                                                                                        <a:pos x="72" y="16"/>
                                                                                                      </a:cxn>
                                                                                                      <a:cxn ang="0">
                                                                                                        <a:pos x="68" y="14"/>
                                                                                                      </a:cxn>
                                                                                                      <a:cxn ang="0">
                                                                                                        <a:pos x="62" y="14"/>
                                                                                                      </a:cxn>
                                                                                                      <a:cxn ang="0">
                                                                                                        <a:pos x="44" y="6"/>
                                                                                                      </a:cxn>
                                                                                                      <a:cxn ang="0">
                                                                                                        <a:pos x="22" y="4"/>
                                                                                                      </a:cxn>
                                                                                                      <a:cxn ang="0">
                                                                                                        <a:pos x="10" y="6"/>
                                                                                                      </a:cxn>
                                                                                                      <a:cxn ang="0">
                                                                                                        <a:pos x="2" y="10"/>
                                                                                                      </a:cxn>
                                                                                                      <a:cxn ang="0">
                                                                                                        <a:pos x="6" y="28"/>
                                                                                                      </a:cxn>
                                                                                                      <a:cxn ang="0">
                                                                                                        <a:pos x="0" y="40"/>
                                                                                                      </a:cxn>
                                                                                                      <a:cxn ang="0">
                                                                                                        <a:pos x="2" y="44"/>
                                                                                                      </a:cxn>
                                                                                                      <a:cxn ang="0">
                                                                                                        <a:pos x="4" y="54"/>
                                                                                                      </a:cxn>
                                                                                                      <a:cxn ang="0">
                                                                                                        <a:pos x="14" y="234"/>
                                                                                                      </a:cxn>
                                                                                                    </a:cxnLst>
                                                                                                    <a:rect l="0" t="0" r="r" b="b"/>
                                                                                                    <a:pathLst>
                                                                                                      <a:path w="250" h="236">
                                                                                                        <a:moveTo>
                                                                                                          <a:pt x="14" y="234"/>
                                                                                                        </a:moveTo>
                                                                                                        <a:lnTo>
                                                                                                          <a:pt x="216" y="234"/>
                                                                                                        </a:lnTo>
                                                                                                        <a:lnTo>
                                                                                                          <a:pt x="14" y="234"/>
                                                                                                        </a:lnTo>
                                                                                                        <a:lnTo>
                                                                                                          <a:pt x="14" y="234"/>
                                                                                                        </a:lnTo>
                                                                                                        <a:close/>
                                                                                                        <a:moveTo>
                                                                                                          <a:pt x="14" y="234"/>
                                                                                                        </a:moveTo>
                                                                                                        <a:lnTo>
                                                                                                          <a:pt x="216" y="234"/>
                                                                                                        </a:lnTo>
                                                                                                        <a:lnTo>
                                                                                                          <a:pt x="216" y="234"/>
                                                                                                        </a:lnTo>
                                                                                                        <a:lnTo>
                                                                                                          <a:pt x="222" y="236"/>
                                                                                                        </a:lnTo>
                                                                                                        <a:lnTo>
                                                                                                          <a:pt x="228" y="236"/>
                                                                                                        </a:lnTo>
                                                                                                        <a:lnTo>
                                                                                                          <a:pt x="232" y="236"/>
                                                                                                        </a:lnTo>
                                                                                                        <a:lnTo>
                                                                                                          <a:pt x="232" y="234"/>
                                                                                                        </a:lnTo>
                                                                                                        <a:lnTo>
                                                                                                          <a:pt x="232" y="234"/>
                                                                                                        </a:lnTo>
                                                                                                        <a:lnTo>
                                                                                                          <a:pt x="232" y="234"/>
                                                                                                        </a:lnTo>
                                                                                                        <a:lnTo>
                                                                                                          <a:pt x="230" y="232"/>
                                                                                                        </a:lnTo>
                                                                                                        <a:lnTo>
                                                                                                          <a:pt x="232" y="230"/>
                                                                                                        </a:lnTo>
                                                                                                        <a:lnTo>
                                                                                                          <a:pt x="236" y="230"/>
                                                                                                        </a:lnTo>
                                                                                                        <a:lnTo>
                                                                                                          <a:pt x="240" y="226"/>
                                                                                                        </a:lnTo>
                                                                                                        <a:lnTo>
                                                                                                          <a:pt x="240" y="226"/>
                                                                                                        </a:lnTo>
                                                                                                        <a:lnTo>
                                                                                                          <a:pt x="242" y="224"/>
                                                                                                        </a:lnTo>
                                                                                                        <a:lnTo>
                                                                                                          <a:pt x="244" y="222"/>
                                                                                                        </a:lnTo>
                                                                                                        <a:lnTo>
                                                                                                          <a:pt x="248" y="224"/>
                                                                                                        </a:lnTo>
                                                                                                        <a:lnTo>
                                                                                                          <a:pt x="250" y="220"/>
                                                                                                        </a:lnTo>
                                                                                                        <a:lnTo>
                                                                                                          <a:pt x="250" y="220"/>
                                                                                                        </a:lnTo>
                                                                                                        <a:lnTo>
                                                                                                          <a:pt x="246" y="216"/>
                                                                                                        </a:lnTo>
                                                                                                        <a:lnTo>
                                                                                                          <a:pt x="246" y="214"/>
                                                                                                        </a:lnTo>
                                                                                                        <a:lnTo>
                                                                                                          <a:pt x="246" y="212"/>
                                                                                                        </a:lnTo>
                                                                                                        <a:lnTo>
                                                                                                          <a:pt x="242" y="204"/>
                                                                                                        </a:lnTo>
                                                                                                        <a:lnTo>
                                                                                                          <a:pt x="242" y="204"/>
                                                                                                        </a:lnTo>
                                                                                                        <a:lnTo>
                                                                                                          <a:pt x="238" y="200"/>
                                                                                                        </a:lnTo>
                                                                                                        <a:lnTo>
                                                                                                          <a:pt x="238" y="196"/>
                                                                                                        </a:lnTo>
                                                                                                        <a:lnTo>
                                                                                                          <a:pt x="238" y="196"/>
                                                                                                        </a:lnTo>
                                                                                                        <a:lnTo>
                                                                                                          <a:pt x="240" y="196"/>
                                                                                                        </a:lnTo>
                                                                                                        <a:lnTo>
                                                                                                          <a:pt x="244" y="194"/>
                                                                                                        </a:lnTo>
                                                                                                        <a:lnTo>
                                                                                                          <a:pt x="244" y="194"/>
                                                                                                        </a:lnTo>
                                                                                                        <a:lnTo>
                                                                                                          <a:pt x="242" y="190"/>
                                                                                                        </a:lnTo>
                                                                                                        <a:lnTo>
                                                                                                          <a:pt x="242" y="190"/>
                                                                                                        </a:lnTo>
                                                                                                        <a:lnTo>
                                                                                                          <a:pt x="230" y="178"/>
                                                                                                        </a:lnTo>
                                                                                                        <a:lnTo>
                                                                                                          <a:pt x="224" y="172"/>
                                                                                                        </a:lnTo>
                                                                                                        <a:lnTo>
                                                                                                          <a:pt x="222" y="164"/>
                                                                                                        </a:lnTo>
                                                                                                        <a:lnTo>
                                                                                                          <a:pt x="222" y="164"/>
                                                                                                        </a:lnTo>
                                                                                                        <a:lnTo>
                                                                                                          <a:pt x="218" y="156"/>
                                                                                                        </a:lnTo>
                                                                                                        <a:lnTo>
                                                                                                          <a:pt x="212" y="150"/>
                                                                                                        </a:lnTo>
                                                                                                        <a:lnTo>
                                                                                                          <a:pt x="204" y="140"/>
                                                                                                        </a:lnTo>
                                                                                                        <a:lnTo>
                                                                                                          <a:pt x="194" y="122"/>
                                                                                                        </a:lnTo>
                                                                                                        <a:lnTo>
                                                                                                          <a:pt x="194" y="122"/>
                                                                                                        </a:lnTo>
                                                                                                        <a:lnTo>
                                                                                                          <a:pt x="192" y="116"/>
                                                                                                        </a:lnTo>
                                                                                                        <a:lnTo>
                                                                                                          <a:pt x="192" y="114"/>
                                                                                                        </a:lnTo>
                                                                                                        <a:lnTo>
                                                                                                          <a:pt x="192" y="114"/>
                                                                                                        </a:lnTo>
                                                                                                        <a:lnTo>
                                                                                                          <a:pt x="194" y="112"/>
                                                                                                        </a:lnTo>
                                                                                                        <a:lnTo>
                                                                                                          <a:pt x="194" y="112"/>
                                                                                                        </a:lnTo>
                                                                                                        <a:lnTo>
                                                                                                          <a:pt x="194" y="112"/>
                                                                                                        </a:lnTo>
                                                                                                        <a:lnTo>
                                                                                                          <a:pt x="190" y="106"/>
                                                                                                        </a:lnTo>
                                                                                                        <a:lnTo>
                                                                                                          <a:pt x="190" y="106"/>
                                                                                                        </a:lnTo>
                                                                                                        <a:lnTo>
                                                                                                          <a:pt x="184" y="100"/>
                                                                                                        </a:lnTo>
                                                                                                        <a:lnTo>
                                                                                                          <a:pt x="184" y="98"/>
                                                                                                        </a:lnTo>
                                                                                                        <a:lnTo>
                                                                                                          <a:pt x="186" y="98"/>
                                                                                                        </a:lnTo>
                                                                                                        <a:lnTo>
                                                                                                          <a:pt x="182" y="92"/>
                                                                                                        </a:lnTo>
                                                                                                        <a:lnTo>
                                                                                                          <a:pt x="182" y="92"/>
                                                                                                        </a:lnTo>
                                                                                                        <a:lnTo>
                                                                                                          <a:pt x="172" y="80"/>
                                                                                                        </a:lnTo>
                                                                                                        <a:lnTo>
                                                                                                          <a:pt x="166" y="70"/>
                                                                                                        </a:lnTo>
                                                                                                        <a:lnTo>
                                                                                                          <a:pt x="166" y="70"/>
                                                                                                        </a:lnTo>
                                                                                                        <a:lnTo>
                                                                                                          <a:pt x="164" y="66"/>
                                                                                                        </a:lnTo>
                                                                                                        <a:lnTo>
                                                                                                          <a:pt x="164" y="62"/>
                                                                                                        </a:lnTo>
                                                                                                        <a:lnTo>
                                                                                                          <a:pt x="164" y="58"/>
                                                                                                        </a:lnTo>
                                                                                                        <a:lnTo>
                                                                                                          <a:pt x="160" y="50"/>
                                                                                                        </a:lnTo>
                                                                                                        <a:lnTo>
                                                                                                          <a:pt x="160" y="50"/>
                                                                                                        </a:lnTo>
                                                                                                        <a:lnTo>
                                                                                                          <a:pt x="156" y="44"/>
                                                                                                        </a:lnTo>
                                                                                                        <a:lnTo>
                                                                                                          <a:pt x="156" y="40"/>
                                                                                                        </a:lnTo>
                                                                                                        <a:lnTo>
                                                                                                          <a:pt x="156" y="34"/>
                                                                                                        </a:lnTo>
                                                                                                        <a:lnTo>
                                                                                                          <a:pt x="152" y="26"/>
                                                                                                        </a:lnTo>
                                                                                                        <a:lnTo>
                                                                                                          <a:pt x="152" y="26"/>
                                                                                                        </a:lnTo>
                                                                                                        <a:lnTo>
                                                                                                          <a:pt x="158" y="38"/>
                                                                                                        </a:lnTo>
                                                                                                        <a:lnTo>
                                                                                                          <a:pt x="160" y="44"/>
                                                                                                        </a:lnTo>
                                                                                                        <a:lnTo>
                                                                                                          <a:pt x="164" y="48"/>
                                                                                                        </a:lnTo>
                                                                                                        <a:lnTo>
                                                                                                          <a:pt x="164" y="48"/>
                                                                                                        </a:lnTo>
                                                                                                        <a:lnTo>
                                                                                                          <a:pt x="168" y="52"/>
                                                                                                        </a:lnTo>
                                                                                                        <a:lnTo>
                                                                                                          <a:pt x="170" y="56"/>
                                                                                                        </a:lnTo>
                                                                                                        <a:lnTo>
                                                                                                          <a:pt x="174" y="60"/>
                                                                                                        </a:lnTo>
                                                                                                        <a:lnTo>
                                                                                                          <a:pt x="178" y="66"/>
                                                                                                        </a:lnTo>
                                                                                                        <a:lnTo>
                                                                                                          <a:pt x="178" y="66"/>
                                                                                                        </a:lnTo>
                                                                                                        <a:lnTo>
                                                                                                          <a:pt x="182" y="72"/>
                                                                                                        </a:lnTo>
                                                                                                        <a:lnTo>
                                                                                                          <a:pt x="186" y="78"/>
                                                                                                        </a:lnTo>
                                                                                                        <a:lnTo>
                                                                                                          <a:pt x="190" y="84"/>
                                                                                                        </a:lnTo>
                                                                                                        <a:lnTo>
                                                                                                          <a:pt x="196" y="92"/>
                                                                                                        </a:lnTo>
                                                                                                        <a:lnTo>
                                                                                                          <a:pt x="196" y="92"/>
                                                                                                        </a:lnTo>
                                                                                                        <a:lnTo>
                                                                                                          <a:pt x="204" y="100"/>
                                                                                                        </a:lnTo>
                                                                                                        <a:lnTo>
                                                                                                          <a:pt x="206" y="98"/>
                                                                                                        </a:lnTo>
                                                                                                        <a:lnTo>
                                                                                                          <a:pt x="210" y="94"/>
                                                                                                        </a:lnTo>
                                                                                                        <a:lnTo>
                                                                                                          <a:pt x="210" y="94"/>
                                                                                                        </a:lnTo>
                                                                                                        <a:lnTo>
                                                                                                          <a:pt x="212" y="88"/>
                                                                                                        </a:lnTo>
                                                                                                        <a:lnTo>
                                                                                                          <a:pt x="212" y="84"/>
                                                                                                        </a:lnTo>
                                                                                                        <a:lnTo>
                                                                                                          <a:pt x="210" y="80"/>
                                                                                                        </a:lnTo>
                                                                                                        <a:lnTo>
                                                                                                          <a:pt x="210" y="74"/>
                                                                                                        </a:lnTo>
                                                                                                        <a:lnTo>
                                                                                                          <a:pt x="210" y="74"/>
                                                                                                        </a:lnTo>
                                                                                                        <a:lnTo>
                                                                                                          <a:pt x="212" y="66"/>
                                                                                                        </a:lnTo>
                                                                                                        <a:lnTo>
                                                                                                          <a:pt x="212" y="62"/>
                                                                                                        </a:lnTo>
                                                                                                        <a:lnTo>
                                                                                                          <a:pt x="212" y="56"/>
                                                                                                        </a:lnTo>
                                                                                                        <a:lnTo>
                                                                                                          <a:pt x="214" y="50"/>
                                                                                                        </a:lnTo>
                                                                                                        <a:lnTo>
                                                                                                          <a:pt x="214" y="50"/>
                                                                                                        </a:lnTo>
                                                                                                        <a:lnTo>
                                                                                                          <a:pt x="196" y="20"/>
                                                                                                        </a:lnTo>
                                                                                                        <a:lnTo>
                                                                                                          <a:pt x="196" y="20"/>
                                                                                                        </a:lnTo>
                                                                                                        <a:lnTo>
                                                                                                          <a:pt x="194" y="18"/>
                                                                                                        </a:lnTo>
                                                                                                        <a:lnTo>
                                                                                                          <a:pt x="194" y="14"/>
                                                                                                        </a:lnTo>
                                                                                                        <a:lnTo>
                                                                                                          <a:pt x="196" y="12"/>
                                                                                                        </a:lnTo>
                                                                                                        <a:lnTo>
                                                                                                          <a:pt x="198" y="10"/>
                                                                                                        </a:lnTo>
                                                                                                        <a:lnTo>
                                                                                                          <a:pt x="196" y="6"/>
                                                                                                        </a:lnTo>
                                                                                                        <a:lnTo>
                                                                                                          <a:pt x="196" y="6"/>
                                                                                                        </a:lnTo>
                                                                                                        <a:lnTo>
                                                                                                          <a:pt x="192" y="10"/>
                                                                                                        </a:lnTo>
                                                                                                        <a:lnTo>
                                                                                                          <a:pt x="186" y="14"/>
                                                                                                        </a:lnTo>
                                                                                                        <a:lnTo>
                                                                                                          <a:pt x="182" y="16"/>
                                                                                                        </a:lnTo>
                                                                                                        <a:lnTo>
                                                                                                          <a:pt x="178" y="16"/>
                                                                                                        </a:lnTo>
                                                                                                        <a:lnTo>
                                                                                                          <a:pt x="170" y="14"/>
                                                                                                        </a:lnTo>
                                                                                                        <a:lnTo>
                                                                                                          <a:pt x="164" y="14"/>
                                                                                                        </a:lnTo>
                                                                                                        <a:lnTo>
                                                                                                          <a:pt x="164" y="14"/>
                                                                                                        </a:lnTo>
                                                                                                        <a:lnTo>
                                                                                                          <a:pt x="150" y="12"/>
                                                                                                        </a:lnTo>
                                                                                                        <a:lnTo>
                                                                                                          <a:pt x="138" y="8"/>
                                                                                                        </a:lnTo>
                                                                                                        <a:lnTo>
                                                                                                          <a:pt x="138" y="8"/>
                                                                                                        </a:lnTo>
                                                                                                        <a:lnTo>
                                                                                                          <a:pt x="132" y="6"/>
                                                                                                        </a:lnTo>
                                                                                                        <a:lnTo>
                                                                                                          <a:pt x="130" y="8"/>
                                                                                                        </a:lnTo>
                                                                                                        <a:lnTo>
                                                                                                          <a:pt x="126" y="8"/>
                                                                                                        </a:lnTo>
                                                                                                        <a:lnTo>
                                                                                                          <a:pt x="122" y="6"/>
                                                                                                        </a:lnTo>
                                                                                                        <a:lnTo>
                                                                                                          <a:pt x="122" y="6"/>
                                                                                                        </a:lnTo>
                                                                                                        <a:lnTo>
                                                                                                          <a:pt x="112" y="8"/>
                                                                                                        </a:lnTo>
                                                                                                        <a:lnTo>
                                                                                                          <a:pt x="106" y="10"/>
                                                                                                        </a:lnTo>
                                                                                                        <a:lnTo>
                                                                                                          <a:pt x="104" y="12"/>
                                                                                                        </a:lnTo>
                                                                                                        <a:lnTo>
                                                                                                          <a:pt x="104" y="12"/>
                                                                                                        </a:lnTo>
                                                                                                        <a:lnTo>
                                                                                                          <a:pt x="104" y="12"/>
                                                                                                        </a:lnTo>
                                                                                                        <a:lnTo>
                                                                                                          <a:pt x="104" y="14"/>
                                                                                                        </a:lnTo>
                                                                                                        <a:lnTo>
                                                                                                          <a:pt x="100" y="16"/>
                                                                                                        </a:lnTo>
                                                                                                        <a:lnTo>
                                                                                                          <a:pt x="96" y="18"/>
                                                                                                        </a:lnTo>
                                                                                                        <a:lnTo>
                                                                                                          <a:pt x="90" y="22"/>
                                                                                                        </a:lnTo>
                                                                                                        <a:lnTo>
                                                                                                          <a:pt x="90" y="22"/>
                                                                                                        </a:lnTo>
                                                                                                        <a:lnTo>
                                                                                                          <a:pt x="86" y="24"/>
                                                                                                        </a:lnTo>
                                                                                                        <a:lnTo>
                                                                                                          <a:pt x="84" y="22"/>
                                                                                                        </a:lnTo>
                                                                                                        <a:lnTo>
                                                                                                          <a:pt x="82" y="18"/>
                                                                                                        </a:lnTo>
                                                                                                        <a:lnTo>
                                                                                                          <a:pt x="78" y="16"/>
                                                                                                        </a:lnTo>
                                                                                                        <a:lnTo>
                                                                                                          <a:pt x="78" y="16"/>
                                                                                                        </a:lnTo>
                                                                                                        <a:lnTo>
                                                                                                          <a:pt x="72" y="16"/>
                                                                                                        </a:lnTo>
                                                                                                        <a:lnTo>
                                                                                                          <a:pt x="72" y="12"/>
                                                                                                        </a:lnTo>
                                                                                                        <a:lnTo>
                                                                                                          <a:pt x="72" y="12"/>
                                                                                                        </a:lnTo>
                                                                                                        <a:lnTo>
                                                                                                          <a:pt x="68" y="14"/>
                                                                                                        </a:lnTo>
                                                                                                        <a:lnTo>
                                                                                                          <a:pt x="68" y="14"/>
                                                                                                        </a:lnTo>
                                                                                                        <a:lnTo>
                                                                                                          <a:pt x="66" y="14"/>
                                                                                                        </a:lnTo>
                                                                                                        <a:lnTo>
                                                                                                          <a:pt x="62" y="14"/>
                                                                                                        </a:lnTo>
                                                                                                        <a:lnTo>
                                                                                                          <a:pt x="52" y="8"/>
                                                                                                        </a:lnTo>
                                                                                                        <a:lnTo>
                                                                                                          <a:pt x="52" y="8"/>
                                                                                                        </a:lnTo>
                                                                                                        <a:lnTo>
                                                                                                          <a:pt x="44" y="6"/>
                                                                                                        </a:lnTo>
                                                                                                        <a:lnTo>
                                                                                                          <a:pt x="34" y="4"/>
                                                                                                        </a:lnTo>
                                                                                                        <a:lnTo>
                                                                                                          <a:pt x="26" y="4"/>
                                                                                                        </a:lnTo>
                                                                                                        <a:lnTo>
                                                                                                          <a:pt x="22" y="4"/>
                                                                                                        </a:lnTo>
                                                                                                        <a:lnTo>
                                                                                                          <a:pt x="22" y="4"/>
                                                                                                        </a:lnTo>
                                                                                                        <a:lnTo>
                                                                                                          <a:pt x="16" y="6"/>
                                                                                                        </a:lnTo>
                                                                                                        <a:lnTo>
                                                                                                          <a:pt x="10" y="6"/>
                                                                                                        </a:lnTo>
                                                                                                        <a:lnTo>
                                                                                                          <a:pt x="4" y="0"/>
                                                                                                        </a:lnTo>
                                                                                                        <a:lnTo>
                                                                                                          <a:pt x="4" y="0"/>
                                                                                                        </a:lnTo>
                                                                                                        <a:lnTo>
                                                                                                          <a:pt x="2" y="10"/>
                                                                                                        </a:lnTo>
                                                                                                        <a:lnTo>
                                                                                                          <a:pt x="2" y="26"/>
                                                                                                        </a:lnTo>
                                                                                                        <a:lnTo>
                                                                                                          <a:pt x="2" y="26"/>
                                                                                                        </a:lnTo>
                                                                                                        <a:lnTo>
                                                                                                          <a:pt x="6" y="28"/>
                                                                                                        </a:lnTo>
                                                                                                        <a:lnTo>
                                                                                                          <a:pt x="6" y="30"/>
                                                                                                        </a:lnTo>
                                                                                                        <a:lnTo>
                                                                                                          <a:pt x="4" y="34"/>
                                                                                                        </a:lnTo>
                                                                                                        <a:lnTo>
                                                                                                          <a:pt x="0" y="40"/>
                                                                                                        </a:lnTo>
                                                                                                        <a:lnTo>
                                                                                                          <a:pt x="0" y="42"/>
                                                                                                        </a:lnTo>
                                                                                                        <a:lnTo>
                                                                                                          <a:pt x="2" y="44"/>
                                                                                                        </a:lnTo>
                                                                                                        <a:lnTo>
                                                                                                          <a:pt x="2" y="44"/>
                                                                                                        </a:lnTo>
                                                                                                        <a:lnTo>
                                                                                                          <a:pt x="6" y="48"/>
                                                                                                        </a:lnTo>
                                                                                                        <a:lnTo>
                                                                                                          <a:pt x="4" y="50"/>
                                                                                                        </a:lnTo>
                                                                                                        <a:lnTo>
                                                                                                          <a:pt x="4" y="54"/>
                                                                                                        </a:lnTo>
                                                                                                        <a:lnTo>
                                                                                                          <a:pt x="2" y="64"/>
                                                                                                        </a:lnTo>
                                                                                                        <a:lnTo>
                                                                                                          <a:pt x="2" y="64"/>
                                                                                                        </a:lnTo>
                                                                                                        <a:lnTo>
                                                                                                          <a:pt x="14" y="234"/>
                                                                                                        </a:lnTo>
                                                                                                        <a:lnTo>
                                                                                                          <a:pt x="14" y="234"/>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baseline="-25000" dirty="0"/>
                                                                                                  </a:p>
                                                                                                </p:txBody>
                                                                                              </p:sp>
                                                                                              <p:sp>
                                                                                                <p:nvSpPr>
                                                                                                  <p:cNvPr id="658" name="Jordan"/>
                                                                                                  <p:cNvSpPr>
                                                                                                    <a:spLocks/>
                                                                                                  </p:cNvSpPr>
                                                                                                  <p:nvPr/>
                                                                                                </p:nvSpPr>
                                                                                                <p:spPr bwMode="auto">
                                                                                                  <a:xfrm>
                                                                                                    <a:off x="6844600" y="2410662"/>
                                                                                                    <a:ext cx="124543" cy="157811"/>
                                                                                                  </a:xfrm>
                                                                                                  <a:custGeom>
                                                                                                    <a:avLst/>
                                                                                                    <a:gdLst/>
                                                                                                    <a:ahLst/>
                                                                                                    <a:cxnLst>
                                                                                                      <a:cxn ang="0">
                                                                                                        <a:pos x="70" y="0"/>
                                                                                                      </a:cxn>
                                                                                                      <a:cxn ang="0">
                                                                                                        <a:pos x="80" y="26"/>
                                                                                                      </a:cxn>
                                                                                                      <a:cxn ang="0">
                                                                                                        <a:pos x="82" y="32"/>
                                                                                                      </a:cxn>
                                                                                                      <a:cxn ang="0">
                                                                                                        <a:pos x="72" y="38"/>
                                                                                                      </a:cxn>
                                                                                                      <a:cxn ang="0">
                                                                                                        <a:pos x="66" y="70"/>
                                                                                                      </a:cxn>
                                                                                                      <a:cxn ang="0">
                                                                                                        <a:pos x="58" y="74"/>
                                                                                                      </a:cxn>
                                                                                                      <a:cxn ang="0">
                                                                                                        <a:pos x="52" y="82"/>
                                                                                                      </a:cxn>
                                                                                                      <a:cxn ang="0">
                                                                                                        <a:pos x="46" y="84"/>
                                                                                                      </a:cxn>
                                                                                                      <a:cxn ang="0">
                                                                                                        <a:pos x="38" y="88"/>
                                                                                                      </a:cxn>
                                                                                                      <a:cxn ang="0">
                                                                                                        <a:pos x="32" y="100"/>
                                                                                                      </a:cxn>
                                                                                                      <a:cxn ang="0">
                                                                                                        <a:pos x="28" y="104"/>
                                                                                                      </a:cxn>
                                                                                                      <a:cxn ang="0">
                                                                                                        <a:pos x="26" y="104"/>
                                                                                                      </a:cxn>
                                                                                                      <a:cxn ang="0">
                                                                                                        <a:pos x="18" y="96"/>
                                                                                                      </a:cxn>
                                                                                                      <a:cxn ang="0">
                                                                                                        <a:pos x="10" y="90"/>
                                                                                                      </a:cxn>
                                                                                                      <a:cxn ang="0">
                                                                                                        <a:pos x="8" y="90"/>
                                                                                                      </a:cxn>
                                                                                                      <a:cxn ang="0">
                                                                                                        <a:pos x="12" y="56"/>
                                                                                                      </a:cxn>
                                                                                                      <a:cxn ang="0">
                                                                                                        <a:pos x="12" y="50"/>
                                                                                                      </a:cxn>
                                                                                                      <a:cxn ang="0">
                                                                                                        <a:pos x="8" y="48"/>
                                                                                                      </a:cxn>
                                                                                                      <a:cxn ang="0">
                                                                                                        <a:pos x="2" y="50"/>
                                                                                                      </a:cxn>
                                                                                                      <a:cxn ang="0">
                                                                                                        <a:pos x="0" y="50"/>
                                                                                                      </a:cxn>
                                                                                                      <a:cxn ang="0">
                                                                                                        <a:pos x="4" y="44"/>
                                                                                                      </a:cxn>
                                                                                                      <a:cxn ang="0">
                                                                                                        <a:pos x="4" y="38"/>
                                                                                                      </a:cxn>
                                                                                                      <a:cxn ang="0">
                                                                                                        <a:pos x="2" y="36"/>
                                                                                                      </a:cxn>
                                                                                                      <a:cxn ang="0">
                                                                                                        <a:pos x="0" y="28"/>
                                                                                                      </a:cxn>
                                                                                                      <a:cxn ang="0">
                                                                                                        <a:pos x="2" y="20"/>
                                                                                                      </a:cxn>
                                                                                                      <a:cxn ang="0">
                                                                                                        <a:pos x="4" y="18"/>
                                                                                                      </a:cxn>
                                                                                                      <a:cxn ang="0">
                                                                                                        <a:pos x="8" y="20"/>
                                                                                                      </a:cxn>
                                                                                                      <a:cxn ang="0">
                                                                                                        <a:pos x="10" y="22"/>
                                                                                                      </a:cxn>
                                                                                                      <a:cxn ang="0">
                                                                                                        <a:pos x="12" y="20"/>
                                                                                                      </a:cxn>
                                                                                                      <a:cxn ang="0">
                                                                                                        <a:pos x="12" y="16"/>
                                                                                                      </a:cxn>
                                                                                                      <a:cxn ang="0">
                                                                                                        <a:pos x="16" y="16"/>
                                                                                                      </a:cxn>
                                                                                                      <a:cxn ang="0">
                                                                                                        <a:pos x="34" y="22"/>
                                                                                                      </a:cxn>
                                                                                                      <a:cxn ang="0">
                                                                                                        <a:pos x="38" y="20"/>
                                                                                                      </a:cxn>
                                                                                                      <a:cxn ang="0">
                                                                                                        <a:pos x="70" y="0"/>
                                                                                                      </a:cxn>
                                                                                                    </a:cxnLst>
                                                                                                    <a:rect l="0" t="0" r="r" b="b"/>
                                                                                                    <a:pathLst>
                                                                                                      <a:path w="82" h="104">
                                                                                                        <a:moveTo>
                                                                                                          <a:pt x="70" y="0"/>
                                                                                                        </a:moveTo>
                                                                                                        <a:lnTo>
                                                                                                          <a:pt x="70" y="0"/>
                                                                                                        </a:lnTo>
                                                                                                        <a:lnTo>
                                                                                                          <a:pt x="78" y="18"/>
                                                                                                        </a:lnTo>
                                                                                                        <a:lnTo>
                                                                                                          <a:pt x="80" y="26"/>
                                                                                                        </a:lnTo>
                                                                                                        <a:lnTo>
                                                                                                          <a:pt x="82" y="32"/>
                                                                                                        </a:lnTo>
                                                                                                        <a:lnTo>
                                                                                                          <a:pt x="82" y="32"/>
                                                                                                        </a:lnTo>
                                                                                                        <a:lnTo>
                                                                                                          <a:pt x="78" y="36"/>
                                                                                                        </a:lnTo>
                                                                                                        <a:lnTo>
                                                                                                          <a:pt x="72" y="38"/>
                                                                                                        </a:lnTo>
                                                                                                        <a:lnTo>
                                                                                                          <a:pt x="42" y="42"/>
                                                                                                        </a:lnTo>
                                                                                                        <a:lnTo>
                                                                                                          <a:pt x="66" y="70"/>
                                                                                                        </a:lnTo>
                                                                                                        <a:lnTo>
                                                                                                          <a:pt x="66" y="70"/>
                                                                                                        </a:lnTo>
                                                                                                        <a:lnTo>
                                                                                                          <a:pt x="58" y="74"/>
                                                                                                        </a:lnTo>
                                                                                                        <a:lnTo>
                                                                                                          <a:pt x="56" y="80"/>
                                                                                                        </a:lnTo>
                                                                                                        <a:lnTo>
                                                                                                          <a:pt x="52" y="82"/>
                                                                                                        </a:lnTo>
                                                                                                        <a:lnTo>
                                                                                                          <a:pt x="46" y="84"/>
                                                                                                        </a:lnTo>
                                                                                                        <a:lnTo>
                                                                                                          <a:pt x="46" y="84"/>
                                                                                                        </a:lnTo>
                                                                                                        <a:lnTo>
                                                                                                          <a:pt x="42" y="86"/>
                                                                                                        </a:lnTo>
                                                                                                        <a:lnTo>
                                                                                                          <a:pt x="38" y="88"/>
                                                                                                        </a:lnTo>
                                                                                                        <a:lnTo>
                                                                                                          <a:pt x="34" y="94"/>
                                                                                                        </a:lnTo>
                                                                                                        <a:lnTo>
                                                                                                          <a:pt x="32" y="100"/>
                                                                                                        </a:lnTo>
                                                                                                        <a:lnTo>
                                                                                                          <a:pt x="30" y="102"/>
                                                                                                        </a:lnTo>
                                                                                                        <a:lnTo>
                                                                                                          <a:pt x="28" y="104"/>
                                                                                                        </a:lnTo>
                                                                                                        <a:lnTo>
                                                                                                          <a:pt x="28" y="104"/>
                                                                                                        </a:lnTo>
                                                                                                        <a:lnTo>
                                                                                                          <a:pt x="26" y="104"/>
                                                                                                        </a:lnTo>
                                                                                                        <a:lnTo>
                                                                                                          <a:pt x="24" y="102"/>
                                                                                                        </a:lnTo>
                                                                                                        <a:lnTo>
                                                                                                          <a:pt x="18" y="96"/>
                                                                                                        </a:lnTo>
                                                                                                        <a:lnTo>
                                                                                                          <a:pt x="14" y="92"/>
                                                                                                        </a:lnTo>
                                                                                                        <a:lnTo>
                                                                                                          <a:pt x="10" y="90"/>
                                                                                                        </a:lnTo>
                                                                                                        <a:lnTo>
                                                                                                          <a:pt x="8" y="90"/>
                                                                                                        </a:lnTo>
                                                                                                        <a:lnTo>
                                                                                                          <a:pt x="8" y="90"/>
                                                                                                        </a:lnTo>
                                                                                                        <a:lnTo>
                                                                                                          <a:pt x="10" y="74"/>
                                                                                                        </a:lnTo>
                                                                                                        <a:lnTo>
                                                                                                          <a:pt x="12" y="56"/>
                                                                                                        </a:lnTo>
                                                                                                        <a:lnTo>
                                                                                                          <a:pt x="12" y="56"/>
                                                                                                        </a:lnTo>
                                                                                                        <a:lnTo>
                                                                                                          <a:pt x="12" y="50"/>
                                                                                                        </a:lnTo>
                                                                                                        <a:lnTo>
                                                                                                          <a:pt x="10" y="48"/>
                                                                                                        </a:lnTo>
                                                                                                        <a:lnTo>
                                                                                                          <a:pt x="8" y="48"/>
                                                                                                        </a:lnTo>
                                                                                                        <a:lnTo>
                                                                                                          <a:pt x="4" y="50"/>
                                                                                                        </a:lnTo>
                                                                                                        <a:lnTo>
                                                                                                          <a:pt x="2" y="50"/>
                                                                                                        </a:lnTo>
                                                                                                        <a:lnTo>
                                                                                                          <a:pt x="0" y="50"/>
                                                                                                        </a:lnTo>
                                                                                                        <a:lnTo>
                                                                                                          <a:pt x="0" y="50"/>
                                                                                                        </a:lnTo>
                                                                                                        <a:lnTo>
                                                                                                          <a:pt x="0" y="46"/>
                                                                                                        </a:lnTo>
                                                                                                        <a:lnTo>
                                                                                                          <a:pt x="4" y="44"/>
                                                                                                        </a:lnTo>
                                                                                                        <a:lnTo>
                                                                                                          <a:pt x="6" y="40"/>
                                                                                                        </a:lnTo>
                                                                                                        <a:lnTo>
                                                                                                          <a:pt x="4" y="38"/>
                                                                                                        </a:lnTo>
                                                                                                        <a:lnTo>
                                                                                                          <a:pt x="2" y="36"/>
                                                                                                        </a:lnTo>
                                                                                                        <a:lnTo>
                                                                                                          <a:pt x="2" y="36"/>
                                                                                                        </a:lnTo>
                                                                                                        <a:lnTo>
                                                                                                          <a:pt x="2" y="34"/>
                                                                                                        </a:lnTo>
                                                                                                        <a:lnTo>
                                                                                                          <a:pt x="0" y="28"/>
                                                                                                        </a:lnTo>
                                                                                                        <a:lnTo>
                                                                                                          <a:pt x="0" y="22"/>
                                                                                                        </a:lnTo>
                                                                                                        <a:lnTo>
                                                                                                          <a:pt x="2" y="20"/>
                                                                                                        </a:lnTo>
                                                                                                        <a:lnTo>
                                                                                                          <a:pt x="4" y="18"/>
                                                                                                        </a:lnTo>
                                                                                                        <a:lnTo>
                                                                                                          <a:pt x="4" y="18"/>
                                                                                                        </a:lnTo>
                                                                                                        <a:lnTo>
                                                                                                          <a:pt x="6" y="18"/>
                                                                                                        </a:lnTo>
                                                                                                        <a:lnTo>
                                                                                                          <a:pt x="8" y="20"/>
                                                                                                        </a:lnTo>
                                                                                                        <a:lnTo>
                                                                                                          <a:pt x="8" y="22"/>
                                                                                                        </a:lnTo>
                                                                                                        <a:lnTo>
                                                                                                          <a:pt x="10" y="22"/>
                                                                                                        </a:lnTo>
                                                                                                        <a:lnTo>
                                                                                                          <a:pt x="10" y="22"/>
                                                                                                        </a:lnTo>
                                                                                                        <a:lnTo>
                                                                                                          <a:pt x="12" y="20"/>
                                                                                                        </a:lnTo>
                                                                                                        <a:lnTo>
                                                                                                          <a:pt x="12" y="18"/>
                                                                                                        </a:lnTo>
                                                                                                        <a:lnTo>
                                                                                                          <a:pt x="12" y="16"/>
                                                                                                        </a:lnTo>
                                                                                                        <a:lnTo>
                                                                                                          <a:pt x="16" y="16"/>
                                                                                                        </a:lnTo>
                                                                                                        <a:lnTo>
                                                                                                          <a:pt x="16" y="16"/>
                                                                                                        </a:lnTo>
                                                                                                        <a:lnTo>
                                                                                                          <a:pt x="30" y="22"/>
                                                                                                        </a:lnTo>
                                                                                                        <a:lnTo>
                                                                                                          <a:pt x="34" y="22"/>
                                                                                                        </a:lnTo>
                                                                                                        <a:lnTo>
                                                                                                          <a:pt x="38" y="20"/>
                                                                                                        </a:lnTo>
                                                                                                        <a:lnTo>
                                                                                                          <a:pt x="38" y="20"/>
                                                                                                        </a:lnTo>
                                                                                                        <a:lnTo>
                                                                                                          <a:pt x="70" y="0"/>
                                                                                                        </a:lnTo>
                                                                                                        <a:lnTo>
                                                                                                          <a:pt x="70" y="0"/>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baseline="-25000" dirty="0">
                                                                                                      <a:solidFill>
                                                                                                        <a:schemeClr val="tx1"/>
                                                                                                      </a:solidFill>
                                                                                                    </a:endParaRPr>
                                                                                                  </a:p>
                                                                                                </p:txBody>
                                                                                              </p:sp>
                                                                                              <p:sp>
                                                                                                <p:nvSpPr>
                                                                                                  <p:cNvPr id="739" name="Oman"/>
                                                                                                  <p:cNvSpPr>
                                                                                                    <a:spLocks/>
                                                                                                  </p:cNvSpPr>
                                                                                                  <p:nvPr/>
                                                                                                </p:nvSpPr>
                                                                                                <p:spPr bwMode="auto">
                                                                                                  <a:xfrm>
                                                                                                    <a:off x="7424791" y="2728836"/>
                                                                                                    <a:ext cx="236936" cy="312588"/>
                                                                                                  </a:xfrm>
                                                                                                  <a:custGeom>
                                                                                                    <a:avLst/>
                                                                                                    <a:gdLst/>
                                                                                                    <a:ahLst/>
                                                                                                    <a:cxnLst>
                                                                                                      <a:cxn ang="0">
                                                                                                        <a:pos x="40" y="206"/>
                                                                                                      </a:cxn>
                                                                                                      <a:cxn ang="0">
                                                                                                        <a:pos x="54" y="200"/>
                                                                                                      </a:cxn>
                                                                                                      <a:cxn ang="0">
                                                                                                        <a:pos x="58" y="198"/>
                                                                                                      </a:cxn>
                                                                                                      <a:cxn ang="0">
                                                                                                        <a:pos x="72" y="194"/>
                                                                                                      </a:cxn>
                                                                                                      <a:cxn ang="0">
                                                                                                        <a:pos x="80" y="190"/>
                                                                                                      </a:cxn>
                                                                                                      <a:cxn ang="0">
                                                                                                        <a:pos x="84" y="182"/>
                                                                                                      </a:cxn>
                                                                                                      <a:cxn ang="0">
                                                                                                        <a:pos x="84" y="176"/>
                                                                                                      </a:cxn>
                                                                                                      <a:cxn ang="0">
                                                                                                        <a:pos x="90" y="174"/>
                                                                                                      </a:cxn>
                                                                                                      <a:cxn ang="0">
                                                                                                        <a:pos x="102" y="172"/>
                                                                                                      </a:cxn>
                                                                                                      <a:cxn ang="0">
                                                                                                        <a:pos x="108" y="166"/>
                                                                                                      </a:cxn>
                                                                                                      <a:cxn ang="0">
                                                                                                        <a:pos x="108" y="162"/>
                                                                                                      </a:cxn>
                                                                                                      <a:cxn ang="0">
                                                                                                        <a:pos x="110" y="150"/>
                                                                                                      </a:cxn>
                                                                                                      <a:cxn ang="0">
                                                                                                        <a:pos x="120" y="144"/>
                                                                                                      </a:cxn>
                                                                                                      <a:cxn ang="0">
                                                                                                        <a:pos x="126" y="144"/>
                                                                                                      </a:cxn>
                                                                                                      <a:cxn ang="0">
                                                                                                        <a:pos x="134" y="146"/>
                                                                                                      </a:cxn>
                                                                                                      <a:cxn ang="0">
                                                                                                        <a:pos x="128" y="132"/>
                                                                                                      </a:cxn>
                                                                                                      <a:cxn ang="0">
                                                                                                        <a:pos x="128" y="126"/>
                                                                                                      </a:cxn>
                                                                                                      <a:cxn ang="0">
                                                                                                        <a:pos x="130" y="108"/>
                                                                                                      </a:cxn>
                                                                                                      <a:cxn ang="0">
                                                                                                        <a:pos x="136" y="100"/>
                                                                                                      </a:cxn>
                                                                                                      <a:cxn ang="0">
                                                                                                        <a:pos x="136" y="100"/>
                                                                                                      </a:cxn>
                                                                                                      <a:cxn ang="0">
                                                                                                        <a:pos x="142" y="98"/>
                                                                                                      </a:cxn>
                                                                                                      <a:cxn ang="0">
                                                                                                        <a:pos x="150" y="74"/>
                                                                                                      </a:cxn>
                                                                                                      <a:cxn ang="0">
                                                                                                        <a:pos x="154" y="66"/>
                                                                                                      </a:cxn>
                                                                                                      <a:cxn ang="0">
                                                                                                        <a:pos x="156" y="62"/>
                                                                                                      </a:cxn>
                                                                                                      <a:cxn ang="0">
                                                                                                        <a:pos x="152" y="60"/>
                                                                                                      </a:cxn>
                                                                                                      <a:cxn ang="0">
                                                                                                        <a:pos x="150" y="58"/>
                                                                                                      </a:cxn>
                                                                                                      <a:cxn ang="0">
                                                                                                        <a:pos x="144" y="52"/>
                                                                                                      </a:cxn>
                                                                                                      <a:cxn ang="0">
                                                                                                        <a:pos x="142" y="46"/>
                                                                                                      </a:cxn>
                                                                                                      <a:cxn ang="0">
                                                                                                        <a:pos x="140" y="40"/>
                                                                                                      </a:cxn>
                                                                                                      <a:cxn ang="0">
                                                                                                        <a:pos x="136" y="36"/>
                                                                                                      </a:cxn>
                                                                                                      <a:cxn ang="0">
                                                                                                        <a:pos x="132" y="34"/>
                                                                                                      </a:cxn>
                                                                                                      <a:cxn ang="0">
                                                                                                        <a:pos x="128" y="34"/>
                                                                                                      </a:cxn>
                                                                                                      <a:cxn ang="0">
                                                                                                        <a:pos x="122" y="30"/>
                                                                                                      </a:cxn>
                                                                                                      <a:cxn ang="0">
                                                                                                        <a:pos x="106" y="22"/>
                                                                                                      </a:cxn>
                                                                                                      <a:cxn ang="0">
                                                                                                        <a:pos x="96" y="14"/>
                                                                                                      </a:cxn>
                                                                                                      <a:cxn ang="0">
                                                                                                        <a:pos x="96" y="12"/>
                                                                                                      </a:cxn>
                                                                                                      <a:cxn ang="0">
                                                                                                        <a:pos x="86" y="6"/>
                                                                                                      </a:cxn>
                                                                                                      <a:cxn ang="0">
                                                                                                        <a:pos x="82" y="0"/>
                                                                                                      </a:cxn>
                                                                                                      <a:cxn ang="0">
                                                                                                        <a:pos x="78" y="2"/>
                                                                                                      </a:cxn>
                                                                                                      <a:cxn ang="0">
                                                                                                        <a:pos x="70" y="4"/>
                                                                                                      </a:cxn>
                                                                                                      <a:cxn ang="0">
                                                                                                        <a:pos x="68" y="12"/>
                                                                                                      </a:cxn>
                                                                                                      <a:cxn ang="0">
                                                                                                        <a:pos x="68" y="20"/>
                                                                                                      </a:cxn>
                                                                                                      <a:cxn ang="0">
                                                                                                        <a:pos x="74" y="26"/>
                                                                                                      </a:cxn>
                                                                                                      <a:cxn ang="0">
                                                                                                        <a:pos x="74" y="28"/>
                                                                                                      </a:cxn>
                                                                                                      <a:cxn ang="0">
                                                                                                        <a:pos x="68" y="32"/>
                                                                                                      </a:cxn>
                                                                                                      <a:cxn ang="0">
                                                                                                        <a:pos x="60" y="36"/>
                                                                                                      </a:cxn>
                                                                                                      <a:cxn ang="0">
                                                                                                        <a:pos x="60" y="36"/>
                                                                                                      </a:cxn>
                                                                                                      <a:cxn ang="0">
                                                                                                        <a:pos x="64" y="42"/>
                                                                                                      </a:cxn>
                                                                                                      <a:cxn ang="0">
                                                                                                        <a:pos x="64" y="46"/>
                                                                                                      </a:cxn>
                                                                                                      <a:cxn ang="0">
                                                                                                        <a:pos x="58" y="54"/>
                                                                                                      </a:cxn>
                                                                                                      <a:cxn ang="0">
                                                                                                        <a:pos x="56" y="64"/>
                                                                                                      </a:cxn>
                                                                                                      <a:cxn ang="0">
                                                                                                        <a:pos x="70" y="76"/>
                                                                                                      </a:cxn>
                                                                                                      <a:cxn ang="0">
                                                                                                        <a:pos x="0" y="154"/>
                                                                                                      </a:cxn>
                                                                                                      <a:cxn ang="0">
                                                                                                        <a:pos x="0" y="164"/>
                                                                                                      </a:cxn>
                                                                                                      <a:cxn ang="0">
                                                                                                        <a:pos x="4" y="176"/>
                                                                                                      </a:cxn>
                                                                                                      <a:cxn ang="0">
                                                                                                        <a:pos x="18" y="184"/>
                                                                                                      </a:cxn>
                                                                                                      <a:cxn ang="0">
                                                                                                        <a:pos x="28" y="188"/>
                                                                                                      </a:cxn>
                                                                                                      <a:cxn ang="0">
                                                                                                        <a:pos x="34" y="192"/>
                                                                                                      </a:cxn>
                                                                                                      <a:cxn ang="0">
                                                                                                        <a:pos x="30" y="198"/>
                                                                                                      </a:cxn>
                                                                                                      <a:cxn ang="0">
                                                                                                        <a:pos x="34" y="204"/>
                                                                                                      </a:cxn>
                                                                                                      <a:cxn ang="0">
                                                                                                        <a:pos x="40" y="206"/>
                                                                                                      </a:cxn>
                                                                                                    </a:cxnLst>
                                                                                                    <a:rect l="0" t="0" r="r" b="b"/>
                                                                                                    <a:pathLst>
                                                                                                      <a:path w="156" h="206">
                                                                                                        <a:moveTo>
                                                                                                          <a:pt x="40" y="206"/>
                                                                                                        </a:moveTo>
                                                                                                        <a:lnTo>
                                                                                                          <a:pt x="40" y="206"/>
                                                                                                        </a:lnTo>
                                                                                                        <a:lnTo>
                                                                                                          <a:pt x="46" y="204"/>
                                                                                                        </a:lnTo>
                                                                                                        <a:lnTo>
                                                                                                          <a:pt x="54" y="200"/>
                                                                                                        </a:lnTo>
                                                                                                        <a:lnTo>
                                                                                                          <a:pt x="54" y="200"/>
                                                                                                        </a:lnTo>
                                                                                                        <a:lnTo>
                                                                                                          <a:pt x="58" y="198"/>
                                                                                                        </a:lnTo>
                                                                                                        <a:lnTo>
                                                                                                          <a:pt x="66" y="196"/>
                                                                                                        </a:lnTo>
                                                                                                        <a:lnTo>
                                                                                                          <a:pt x="72" y="194"/>
                                                                                                        </a:lnTo>
                                                                                                        <a:lnTo>
                                                                                                          <a:pt x="80" y="190"/>
                                                                                                        </a:lnTo>
                                                                                                        <a:lnTo>
                                                                                                          <a:pt x="80" y="190"/>
                                                                                                        </a:lnTo>
                                                                                                        <a:lnTo>
                                                                                                          <a:pt x="84" y="184"/>
                                                                                                        </a:lnTo>
                                                                                                        <a:lnTo>
                                                                                                          <a:pt x="84" y="182"/>
                                                                                                        </a:lnTo>
                                                                                                        <a:lnTo>
                                                                                                          <a:pt x="84" y="180"/>
                                                                                                        </a:lnTo>
                                                                                                        <a:lnTo>
                                                                                                          <a:pt x="84" y="176"/>
                                                                                                        </a:lnTo>
                                                                                                        <a:lnTo>
                                                                                                          <a:pt x="84" y="176"/>
                                                                                                        </a:lnTo>
                                                                                                        <a:lnTo>
                                                                                                          <a:pt x="90" y="174"/>
                                                                                                        </a:lnTo>
                                                                                                        <a:lnTo>
                                                                                                          <a:pt x="98" y="172"/>
                                                                                                        </a:lnTo>
                                                                                                        <a:lnTo>
                                                                                                          <a:pt x="102" y="172"/>
                                                                                                        </a:lnTo>
                                                                                                        <a:lnTo>
                                                                                                          <a:pt x="106" y="170"/>
                                                                                                        </a:lnTo>
                                                                                                        <a:lnTo>
                                                                                                          <a:pt x="108" y="166"/>
                                                                                                        </a:lnTo>
                                                                                                        <a:lnTo>
                                                                                                          <a:pt x="108" y="162"/>
                                                                                                        </a:lnTo>
                                                                                                        <a:lnTo>
                                                                                                          <a:pt x="108" y="162"/>
                                                                                                        </a:lnTo>
                                                                                                        <a:lnTo>
                                                                                                          <a:pt x="108" y="156"/>
                                                                                                        </a:lnTo>
                                                                                                        <a:lnTo>
                                                                                                          <a:pt x="110" y="150"/>
                                                                                                        </a:lnTo>
                                                                                                        <a:lnTo>
                                                                                                          <a:pt x="116" y="144"/>
                                                                                                        </a:lnTo>
                                                                                                        <a:lnTo>
                                                                                                          <a:pt x="120" y="144"/>
                                                                                                        </a:lnTo>
                                                                                                        <a:lnTo>
                                                                                                          <a:pt x="126" y="144"/>
                                                                                                        </a:lnTo>
                                                                                                        <a:lnTo>
                                                                                                          <a:pt x="126" y="144"/>
                                                                                                        </a:lnTo>
                                                                                                        <a:lnTo>
                                                                                                          <a:pt x="132" y="146"/>
                                                                                                        </a:lnTo>
                                                                                                        <a:lnTo>
                                                                                                          <a:pt x="134" y="146"/>
                                                                                                        </a:lnTo>
                                                                                                        <a:lnTo>
                                                                                                          <a:pt x="134" y="144"/>
                                                                                                        </a:lnTo>
                                                                                                        <a:lnTo>
                                                                                                          <a:pt x="128" y="132"/>
                                                                                                        </a:lnTo>
                                                                                                        <a:lnTo>
                                                                                                          <a:pt x="128" y="132"/>
                                                                                                        </a:lnTo>
                                                                                                        <a:lnTo>
                                                                                                          <a:pt x="128" y="126"/>
                                                                                                        </a:lnTo>
                                                                                                        <a:lnTo>
                                                                                                          <a:pt x="126" y="120"/>
                                                                                                        </a:lnTo>
                                                                                                        <a:lnTo>
                                                                                                          <a:pt x="130" y="108"/>
                                                                                                        </a:lnTo>
                                                                                                        <a:lnTo>
                                                                                                          <a:pt x="134" y="100"/>
                                                                                                        </a:lnTo>
                                                                                                        <a:lnTo>
                                                                                                          <a:pt x="136" y="100"/>
                                                                                                        </a:lnTo>
                                                                                                        <a:lnTo>
                                                                                                          <a:pt x="136" y="100"/>
                                                                                                        </a:lnTo>
                                                                                                        <a:lnTo>
                                                                                                          <a:pt x="136" y="100"/>
                                                                                                        </a:lnTo>
                                                                                                        <a:lnTo>
                                                                                                          <a:pt x="140" y="102"/>
                                                                                                        </a:lnTo>
                                                                                                        <a:lnTo>
                                                                                                          <a:pt x="142" y="98"/>
                                                                                                        </a:lnTo>
                                                                                                        <a:lnTo>
                                                                                                          <a:pt x="146" y="88"/>
                                                                                                        </a:lnTo>
                                                                                                        <a:lnTo>
                                                                                                          <a:pt x="150" y="74"/>
                                                                                                        </a:lnTo>
                                                                                                        <a:lnTo>
                                                                                                          <a:pt x="154" y="66"/>
                                                                                                        </a:lnTo>
                                                                                                        <a:lnTo>
                                                                                                          <a:pt x="154" y="66"/>
                                                                                                        </a:lnTo>
                                                                                                        <a:lnTo>
                                                                                                          <a:pt x="156" y="64"/>
                                                                                                        </a:lnTo>
                                                                                                        <a:lnTo>
                                                                                                          <a:pt x="156" y="62"/>
                                                                                                        </a:lnTo>
                                                                                                        <a:lnTo>
                                                                                                          <a:pt x="154" y="60"/>
                                                                                                        </a:lnTo>
                                                                                                        <a:lnTo>
                                                                                                          <a:pt x="152" y="60"/>
                                                                                                        </a:lnTo>
                                                                                                        <a:lnTo>
                                                                                                          <a:pt x="152" y="60"/>
                                                                                                        </a:lnTo>
                                                                                                        <a:lnTo>
                                                                                                          <a:pt x="150" y="58"/>
                                                                                                        </a:lnTo>
                                                                                                        <a:lnTo>
                                                                                                          <a:pt x="146" y="56"/>
                                                                                                        </a:lnTo>
                                                                                                        <a:lnTo>
                                                                                                          <a:pt x="144" y="52"/>
                                                                                                        </a:lnTo>
                                                                                                        <a:lnTo>
                                                                                                          <a:pt x="142" y="46"/>
                                                                                                        </a:lnTo>
                                                                                                        <a:lnTo>
                                                                                                          <a:pt x="142" y="46"/>
                                                                                                        </a:lnTo>
                                                                                                        <a:lnTo>
                                                                                                          <a:pt x="140" y="40"/>
                                                                                                        </a:lnTo>
                                                                                                        <a:lnTo>
                                                                                                          <a:pt x="140" y="40"/>
                                                                                                        </a:lnTo>
                                                                                                        <a:lnTo>
                                                                                                          <a:pt x="138" y="40"/>
                                                                                                        </a:lnTo>
                                                                                                        <a:lnTo>
                                                                                                          <a:pt x="136" y="36"/>
                                                                                                        </a:lnTo>
                                                                                                        <a:lnTo>
                                                                                                          <a:pt x="136" y="36"/>
                                                                                                        </a:lnTo>
                                                                                                        <a:lnTo>
                                                                                                          <a:pt x="132" y="34"/>
                                                                                                        </a:lnTo>
                                                                                                        <a:lnTo>
                                                                                                          <a:pt x="130" y="34"/>
                                                                                                        </a:lnTo>
                                                                                                        <a:lnTo>
                                                                                                          <a:pt x="128" y="34"/>
                                                                                                        </a:lnTo>
                                                                                                        <a:lnTo>
                                                                                                          <a:pt x="122" y="30"/>
                                                                                                        </a:lnTo>
                                                                                                        <a:lnTo>
                                                                                                          <a:pt x="122" y="30"/>
                                                                                                        </a:lnTo>
                                                                                                        <a:lnTo>
                                                                                                          <a:pt x="114" y="26"/>
                                                                                                        </a:lnTo>
                                                                                                        <a:lnTo>
                                                                                                          <a:pt x="106" y="22"/>
                                                                                                        </a:lnTo>
                                                                                                        <a:lnTo>
                                                                                                          <a:pt x="100" y="18"/>
                                                                                                        </a:lnTo>
                                                                                                        <a:lnTo>
                                                                                                          <a:pt x="96" y="14"/>
                                                                                                        </a:lnTo>
                                                                                                        <a:lnTo>
                                                                                                          <a:pt x="96" y="14"/>
                                                                                                        </a:lnTo>
                                                                                                        <a:lnTo>
                                                                                                          <a:pt x="96" y="12"/>
                                                                                                        </a:lnTo>
                                                                                                        <a:lnTo>
                                                                                                          <a:pt x="92" y="8"/>
                                                                                                        </a:lnTo>
                                                                                                        <a:lnTo>
                                                                                                          <a:pt x="86" y="6"/>
                                                                                                        </a:lnTo>
                                                                                                        <a:lnTo>
                                                                                                          <a:pt x="82" y="0"/>
                                                                                                        </a:lnTo>
                                                                                                        <a:lnTo>
                                                                                                          <a:pt x="82" y="0"/>
                                                                                                        </a:lnTo>
                                                                                                        <a:lnTo>
                                                                                                          <a:pt x="80" y="2"/>
                                                                                                        </a:lnTo>
                                                                                                        <a:lnTo>
                                                                                                          <a:pt x="78" y="2"/>
                                                                                                        </a:lnTo>
                                                                                                        <a:lnTo>
                                                                                                          <a:pt x="74" y="2"/>
                                                                                                        </a:lnTo>
                                                                                                        <a:lnTo>
                                                                                                          <a:pt x="70" y="4"/>
                                                                                                        </a:lnTo>
                                                                                                        <a:lnTo>
                                                                                                          <a:pt x="68" y="8"/>
                                                                                                        </a:lnTo>
                                                                                                        <a:lnTo>
                                                                                                          <a:pt x="68" y="12"/>
                                                                                                        </a:lnTo>
                                                                                                        <a:lnTo>
                                                                                                          <a:pt x="68" y="12"/>
                                                                                                        </a:lnTo>
                                                                                                        <a:lnTo>
                                                                                                          <a:pt x="68" y="20"/>
                                                                                                        </a:lnTo>
                                                                                                        <a:lnTo>
                                                                                                          <a:pt x="72" y="24"/>
                                                                                                        </a:lnTo>
                                                                                                        <a:lnTo>
                                                                                                          <a:pt x="74" y="26"/>
                                                                                                        </a:lnTo>
                                                                                                        <a:lnTo>
                                                                                                          <a:pt x="74" y="28"/>
                                                                                                        </a:lnTo>
                                                                                                        <a:lnTo>
                                                                                                          <a:pt x="74" y="28"/>
                                                                                                        </a:lnTo>
                                                                                                        <a:lnTo>
                                                                                                          <a:pt x="70" y="32"/>
                                                                                                        </a:lnTo>
                                                                                                        <a:lnTo>
                                                                                                          <a:pt x="68" y="32"/>
                                                                                                        </a:lnTo>
                                                                                                        <a:lnTo>
                                                                                                          <a:pt x="64" y="32"/>
                                                                                                        </a:lnTo>
                                                                                                        <a:lnTo>
                                                                                                          <a:pt x="60" y="36"/>
                                                                                                        </a:lnTo>
                                                                                                        <a:lnTo>
                                                                                                          <a:pt x="60" y="36"/>
                                                                                                        </a:lnTo>
                                                                                                        <a:lnTo>
                                                                                                          <a:pt x="60" y="36"/>
                                                                                                        </a:lnTo>
                                                                                                        <a:lnTo>
                                                                                                          <a:pt x="62" y="38"/>
                                                                                                        </a:lnTo>
                                                                                                        <a:lnTo>
                                                                                                          <a:pt x="64" y="42"/>
                                                                                                        </a:lnTo>
                                                                                                        <a:lnTo>
                                                                                                          <a:pt x="64" y="46"/>
                                                                                                        </a:lnTo>
                                                                                                        <a:lnTo>
                                                                                                          <a:pt x="64" y="46"/>
                                                                                                        </a:lnTo>
                                                                                                        <a:lnTo>
                                                                                                          <a:pt x="60" y="52"/>
                                                                                                        </a:lnTo>
                                                                                                        <a:lnTo>
                                                                                                          <a:pt x="58" y="54"/>
                                                                                                        </a:lnTo>
                                                                                                        <a:lnTo>
                                                                                                          <a:pt x="56" y="56"/>
                                                                                                        </a:lnTo>
                                                                                                        <a:lnTo>
                                                                                                          <a:pt x="56" y="64"/>
                                                                                                        </a:lnTo>
                                                                                                        <a:lnTo>
                                                                                                          <a:pt x="56" y="64"/>
                                                                                                        </a:lnTo>
                                                                                                        <a:lnTo>
                                                                                                          <a:pt x="70" y="76"/>
                                                                                                        </a:lnTo>
                                                                                                        <a:lnTo>
                                                                                                          <a:pt x="60" y="126"/>
                                                                                                        </a:lnTo>
                                                                                                        <a:lnTo>
                                                                                                          <a:pt x="0" y="154"/>
                                                                                                        </a:lnTo>
                                                                                                        <a:lnTo>
                                                                                                          <a:pt x="0" y="154"/>
                                                                                                        </a:lnTo>
                                                                                                        <a:lnTo>
                                                                                                          <a:pt x="0" y="164"/>
                                                                                                        </a:lnTo>
                                                                                                        <a:lnTo>
                                                                                                          <a:pt x="2" y="172"/>
                                                                                                        </a:lnTo>
                                                                                                        <a:lnTo>
                                                                                                          <a:pt x="4" y="176"/>
                                                                                                        </a:lnTo>
                                                                                                        <a:lnTo>
                                                                                                          <a:pt x="10" y="180"/>
                                                                                                        </a:lnTo>
                                                                                                        <a:lnTo>
                                                                                                          <a:pt x="18" y="184"/>
                                                                                                        </a:lnTo>
                                                                                                        <a:lnTo>
                                                                                                          <a:pt x="28" y="188"/>
                                                                                                        </a:lnTo>
                                                                                                        <a:lnTo>
                                                                                                          <a:pt x="28" y="188"/>
                                                                                                        </a:lnTo>
                                                                                                        <a:lnTo>
                                                                                                          <a:pt x="32" y="190"/>
                                                                                                        </a:lnTo>
                                                                                                        <a:lnTo>
                                                                                                          <a:pt x="34" y="192"/>
                                                                                                        </a:lnTo>
                                                                                                        <a:lnTo>
                                                                                                          <a:pt x="32" y="196"/>
                                                                                                        </a:lnTo>
                                                                                                        <a:lnTo>
                                                                                                          <a:pt x="30" y="198"/>
                                                                                                        </a:lnTo>
                                                                                                        <a:lnTo>
                                                                                                          <a:pt x="30" y="202"/>
                                                                                                        </a:lnTo>
                                                                                                        <a:lnTo>
                                                                                                          <a:pt x="34" y="204"/>
                                                                                                        </a:lnTo>
                                                                                                        <a:lnTo>
                                                                                                          <a:pt x="40" y="206"/>
                                                                                                        </a:lnTo>
                                                                                                        <a:lnTo>
                                                                                                          <a:pt x="40" y="206"/>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baseline="-25000" dirty="0">
                                                                                                      <a:solidFill>
                                                                                                        <a:schemeClr val="tx1"/>
                                                                                                      </a:solidFill>
                                                                                                    </a:endParaRPr>
                                                                                                  </a:p>
                                                                                                </p:txBody>
                                                                                              </p:sp>
                                                                                              <p:sp>
                                                                                                <p:nvSpPr>
                                                                                                  <p:cNvPr id="743" name="Pakistan"/>
                                                                                                  <p:cNvSpPr>
                                                                                                    <a:spLocks/>
                                                                                                  </p:cNvSpPr>
                                                                                                  <p:nvPr/>
                                                                                                </p:nvSpPr>
                                                                                                <p:spPr bwMode="auto">
                                                                                                  <a:xfrm>
                                                                                                    <a:off x="7652613" y="2271887"/>
                                                                                                    <a:ext cx="455646" cy="488608"/>
                                                                                                  </a:xfrm>
                                                                                                  <a:custGeom>
                                                                                                    <a:avLst/>
                                                                                                    <a:gdLst/>
                                                                                                    <a:ahLst/>
                                                                                                    <a:cxnLst>
                                                                                                      <a:cxn ang="0">
                                                                                                        <a:pos x="152" y="314"/>
                                                                                                      </a:cxn>
                                                                                                      <a:cxn ang="0">
                                                                                                        <a:pos x="146" y="304"/>
                                                                                                      </a:cxn>
                                                                                                      <a:cxn ang="0">
                                                                                                        <a:pos x="132" y="292"/>
                                                                                                      </a:cxn>
                                                                                                      <a:cxn ang="0">
                                                                                                        <a:pos x="124" y="286"/>
                                                                                                      </a:cxn>
                                                                                                      <a:cxn ang="0">
                                                                                                        <a:pos x="116" y="286"/>
                                                                                                      </a:cxn>
                                                                                                      <a:cxn ang="0">
                                                                                                        <a:pos x="96" y="290"/>
                                                                                                      </a:cxn>
                                                                                                      <a:cxn ang="0">
                                                                                                        <a:pos x="80" y="286"/>
                                                                                                      </a:cxn>
                                                                                                      <a:cxn ang="0">
                                                                                                        <a:pos x="64" y="284"/>
                                                                                                      </a:cxn>
                                                                                                      <a:cxn ang="0">
                                                                                                        <a:pos x="44" y="282"/>
                                                                                                      </a:cxn>
                                                                                                      <a:cxn ang="0">
                                                                                                        <a:pos x="34" y="282"/>
                                                                                                      </a:cxn>
                                                                                                      <a:cxn ang="0">
                                                                                                        <a:pos x="32" y="262"/>
                                                                                                      </a:cxn>
                                                                                                      <a:cxn ang="0">
                                                                                                        <a:pos x="42" y="244"/>
                                                                                                      </a:cxn>
                                                                                                      <a:cxn ang="0">
                                                                                                        <a:pos x="52" y="242"/>
                                                                                                      </a:cxn>
                                                                                                      <a:cxn ang="0">
                                                                                                        <a:pos x="56" y="230"/>
                                                                                                      </a:cxn>
                                                                                                      <a:cxn ang="0">
                                                                                                        <a:pos x="44" y="212"/>
                                                                                                      </a:cxn>
                                                                                                      <a:cxn ang="0">
                                                                                                        <a:pos x="22" y="198"/>
                                                                                                      </a:cxn>
                                                                                                      <a:cxn ang="0">
                                                                                                        <a:pos x="14" y="170"/>
                                                                                                      </a:cxn>
                                                                                                      <a:cxn ang="0">
                                                                                                        <a:pos x="50" y="178"/>
                                                                                                      </a:cxn>
                                                                                                      <a:cxn ang="0">
                                                                                                        <a:pos x="112" y="162"/>
                                                                                                      </a:cxn>
                                                                                                      <a:cxn ang="0">
                                                                                                        <a:pos x="104" y="152"/>
                                                                                                      </a:cxn>
                                                                                                      <a:cxn ang="0">
                                                                                                        <a:pos x="118" y="136"/>
                                                                                                      </a:cxn>
                                                                                                      <a:cxn ang="0">
                                                                                                        <a:pos x="130" y="130"/>
                                                                                                      </a:cxn>
                                                                                                      <a:cxn ang="0">
                                                                                                        <a:pos x="144" y="120"/>
                                                                                                      </a:cxn>
                                                                                                      <a:cxn ang="0">
                                                                                                        <a:pos x="138" y="102"/>
                                                                                                      </a:cxn>
                                                                                                      <a:cxn ang="0">
                                                                                                        <a:pos x="154" y="86"/>
                                                                                                      </a:cxn>
                                                                                                      <a:cxn ang="0">
                                                                                                        <a:pos x="144" y="74"/>
                                                                                                      </a:cxn>
                                                                                                      <a:cxn ang="0">
                                                                                                        <a:pos x="178" y="74"/>
                                                                                                      </a:cxn>
                                                                                                      <a:cxn ang="0">
                                                                                                        <a:pos x="184" y="66"/>
                                                                                                      </a:cxn>
                                                                                                      <a:cxn ang="0">
                                                                                                        <a:pos x="182" y="44"/>
                                                                                                      </a:cxn>
                                                                                                      <a:cxn ang="0">
                                                                                                        <a:pos x="170" y="26"/>
                                                                                                      </a:cxn>
                                                                                                      <a:cxn ang="0">
                                                                                                        <a:pos x="190" y="10"/>
                                                                                                      </a:cxn>
                                                                                                      <a:cxn ang="0">
                                                                                                        <a:pos x="214" y="2"/>
                                                                                                      </a:cxn>
                                                                                                      <a:cxn ang="0">
                                                                                                        <a:pos x="256" y="16"/>
                                                                                                      </a:cxn>
                                                                                                      <a:cxn ang="0">
                                                                                                        <a:pos x="258" y="30"/>
                                                                                                      </a:cxn>
                                                                                                      <a:cxn ang="0">
                                                                                                        <a:pos x="284" y="34"/>
                                                                                                      </a:cxn>
                                                                                                      <a:cxn ang="0">
                                                                                                        <a:pos x="300" y="56"/>
                                                                                                      </a:cxn>
                                                                                                      <a:cxn ang="0">
                                                                                                        <a:pos x="262" y="64"/>
                                                                                                      </a:cxn>
                                                                                                      <a:cxn ang="0">
                                                                                                        <a:pos x="222" y="62"/>
                                                                                                      </a:cxn>
                                                                                                      <a:cxn ang="0">
                                                                                                        <a:pos x="226" y="74"/>
                                                                                                      </a:cxn>
                                                                                                      <a:cxn ang="0">
                                                                                                        <a:pos x="234" y="88"/>
                                                                                                      </a:cxn>
                                                                                                      <a:cxn ang="0">
                                                                                                        <a:pos x="250" y="88"/>
                                                                                                      </a:cxn>
                                                                                                      <a:cxn ang="0">
                                                                                                        <a:pos x="260" y="96"/>
                                                                                                      </a:cxn>
                                                                                                      <a:cxn ang="0">
                                                                                                        <a:pos x="266" y="108"/>
                                                                                                      </a:cxn>
                                                                                                      <a:cxn ang="0">
                                                                                                        <a:pos x="260" y="122"/>
                                                                                                      </a:cxn>
                                                                                                      <a:cxn ang="0">
                                                                                                        <a:pos x="268" y="138"/>
                                                                                                      </a:cxn>
                                                                                                      <a:cxn ang="0">
                                                                                                        <a:pos x="256" y="168"/>
                                                                                                      </a:cxn>
                                                                                                      <a:cxn ang="0">
                                                                                                        <a:pos x="238" y="192"/>
                                                                                                      </a:cxn>
                                                                                                      <a:cxn ang="0">
                                                                                                        <a:pos x="214" y="220"/>
                                                                                                      </a:cxn>
                                                                                                      <a:cxn ang="0">
                                                                                                        <a:pos x="196" y="220"/>
                                                                                                      </a:cxn>
                                                                                                      <a:cxn ang="0">
                                                                                                        <a:pos x="180" y="244"/>
                                                                                                      </a:cxn>
                                                                                                      <a:cxn ang="0">
                                                                                                        <a:pos x="192" y="262"/>
                                                                                                      </a:cxn>
                                                                                                      <a:cxn ang="0">
                                                                                                        <a:pos x="226" y="292"/>
                                                                                                      </a:cxn>
                                                                                                      <a:cxn ang="0">
                                                                                                        <a:pos x="226" y="304"/>
                                                                                                      </a:cxn>
                                                                                                      <a:cxn ang="0">
                                                                                                        <a:pos x="216" y="310"/>
                                                                                                      </a:cxn>
                                                                                                      <a:cxn ang="0">
                                                                                                        <a:pos x="196" y="310"/>
                                                                                                      </a:cxn>
                                                                                                      <a:cxn ang="0">
                                                                                                        <a:pos x="178" y="310"/>
                                                                                                      </a:cxn>
                                                                                                      <a:cxn ang="0">
                                                                                                        <a:pos x="162" y="322"/>
                                                                                                      </a:cxn>
                                                                                                    </a:cxnLst>
                                                                                                    <a:rect l="0" t="0" r="r" b="b"/>
                                                                                                    <a:pathLst>
                                                                                                      <a:path w="300" h="322">
                                                                                                        <a:moveTo>
                                                                                                          <a:pt x="162" y="322"/>
                                                                                                        </a:moveTo>
                                                                                                        <a:lnTo>
                                                                                                          <a:pt x="162" y="322"/>
                                                                                                        </a:lnTo>
                                                                                                        <a:lnTo>
                                                                                                          <a:pt x="152" y="320"/>
                                                                                                        </a:lnTo>
                                                                                                        <a:lnTo>
                                                                                                          <a:pt x="150" y="318"/>
                                                                                                        </a:lnTo>
                                                                                                        <a:lnTo>
                                                                                                          <a:pt x="150" y="318"/>
                                                                                                        </a:lnTo>
                                                                                                        <a:lnTo>
                                                                                                          <a:pt x="152" y="314"/>
                                                                                                        </a:lnTo>
                                                                                                        <a:lnTo>
                                                                                                          <a:pt x="152" y="312"/>
                                                                                                        </a:lnTo>
                                                                                                        <a:lnTo>
                                                                                                          <a:pt x="150" y="310"/>
                                                                                                        </a:lnTo>
                                                                                                        <a:lnTo>
                                                                                                          <a:pt x="150" y="310"/>
                                                                                                        </a:lnTo>
                                                                                                        <a:lnTo>
                                                                                                          <a:pt x="150" y="308"/>
                                                                                                        </a:lnTo>
                                                                                                        <a:lnTo>
                                                                                                          <a:pt x="148" y="306"/>
                                                                                                        </a:lnTo>
                                                                                                        <a:lnTo>
                                                                                                          <a:pt x="146" y="304"/>
                                                                                                        </a:lnTo>
                                                                                                        <a:lnTo>
                                                                                                          <a:pt x="138" y="302"/>
                                                                                                        </a:lnTo>
                                                                                                        <a:lnTo>
                                                                                                          <a:pt x="138" y="302"/>
                                                                                                        </a:lnTo>
                                                                                                        <a:lnTo>
                                                                                                          <a:pt x="132" y="302"/>
                                                                                                        </a:lnTo>
                                                                                                        <a:lnTo>
                                                                                                          <a:pt x="132" y="300"/>
                                                                                                        </a:lnTo>
                                                                                                        <a:lnTo>
                                                                                                          <a:pt x="132" y="296"/>
                                                                                                        </a:lnTo>
                                                                                                        <a:lnTo>
                                                                                                          <a:pt x="132" y="292"/>
                                                                                                        </a:lnTo>
                                                                                                        <a:lnTo>
                                                                                                          <a:pt x="132" y="292"/>
                                                                                                        </a:lnTo>
                                                                                                        <a:lnTo>
                                                                                                          <a:pt x="130" y="288"/>
                                                                                                        </a:lnTo>
                                                                                                        <a:lnTo>
                                                                                                          <a:pt x="126" y="286"/>
                                                                                                        </a:lnTo>
                                                                                                        <a:lnTo>
                                                                                                          <a:pt x="122" y="286"/>
                                                                                                        </a:lnTo>
                                                                                                        <a:lnTo>
                                                                                                          <a:pt x="122" y="286"/>
                                                                                                        </a:lnTo>
                                                                                                        <a:lnTo>
                                                                                                          <a:pt x="124" y="286"/>
                                                                                                        </a:lnTo>
                                                                                                        <a:lnTo>
                                                                                                          <a:pt x="126" y="288"/>
                                                                                                        </a:lnTo>
                                                                                                        <a:lnTo>
                                                                                                          <a:pt x="126" y="288"/>
                                                                                                        </a:lnTo>
                                                                                                        <a:lnTo>
                                                                                                          <a:pt x="126" y="288"/>
                                                                                                        </a:lnTo>
                                                                                                        <a:lnTo>
                                                                                                          <a:pt x="124" y="290"/>
                                                                                                        </a:lnTo>
                                                                                                        <a:lnTo>
                                                                                                          <a:pt x="120" y="288"/>
                                                                                                        </a:lnTo>
                                                                                                        <a:lnTo>
                                                                                                          <a:pt x="116" y="286"/>
                                                                                                        </a:lnTo>
                                                                                                        <a:lnTo>
                                                                                                          <a:pt x="114" y="288"/>
                                                                                                        </a:lnTo>
                                                                                                        <a:lnTo>
                                                                                                          <a:pt x="114" y="288"/>
                                                                                                        </a:lnTo>
                                                                                                        <a:lnTo>
                                                                                                          <a:pt x="104" y="288"/>
                                                                                                        </a:lnTo>
                                                                                                        <a:lnTo>
                                                                                                          <a:pt x="98" y="288"/>
                                                                                                        </a:lnTo>
                                                                                                        <a:lnTo>
                                                                                                          <a:pt x="98" y="288"/>
                                                                                                        </a:lnTo>
                                                                                                        <a:lnTo>
                                                                                                          <a:pt x="96" y="290"/>
                                                                                                        </a:lnTo>
                                                                                                        <a:lnTo>
                                                                                                          <a:pt x="90" y="290"/>
                                                                                                        </a:lnTo>
                                                                                                        <a:lnTo>
                                                                                                          <a:pt x="86" y="288"/>
                                                                                                        </a:lnTo>
                                                                                                        <a:lnTo>
                                                                                                          <a:pt x="84" y="284"/>
                                                                                                        </a:lnTo>
                                                                                                        <a:lnTo>
                                                                                                          <a:pt x="84" y="284"/>
                                                                                                        </a:lnTo>
                                                                                                        <a:lnTo>
                                                                                                          <a:pt x="82" y="286"/>
                                                                                                        </a:lnTo>
                                                                                                        <a:lnTo>
                                                                                                          <a:pt x="80" y="286"/>
                                                                                                        </a:lnTo>
                                                                                                        <a:lnTo>
                                                                                                          <a:pt x="76" y="284"/>
                                                                                                        </a:lnTo>
                                                                                                        <a:lnTo>
                                                                                                          <a:pt x="76" y="284"/>
                                                                                                        </a:lnTo>
                                                                                                        <a:lnTo>
                                                                                                          <a:pt x="74" y="282"/>
                                                                                                        </a:lnTo>
                                                                                                        <a:lnTo>
                                                                                                          <a:pt x="72" y="284"/>
                                                                                                        </a:lnTo>
                                                                                                        <a:lnTo>
                                                                                                          <a:pt x="70" y="286"/>
                                                                                                        </a:lnTo>
                                                                                                        <a:lnTo>
                                                                                                          <a:pt x="64" y="284"/>
                                                                                                        </a:lnTo>
                                                                                                        <a:lnTo>
                                                                                                          <a:pt x="64" y="284"/>
                                                                                                        </a:lnTo>
                                                                                                        <a:lnTo>
                                                                                                          <a:pt x="60" y="282"/>
                                                                                                        </a:lnTo>
                                                                                                        <a:lnTo>
                                                                                                          <a:pt x="56" y="284"/>
                                                                                                        </a:lnTo>
                                                                                                        <a:lnTo>
                                                                                                          <a:pt x="52" y="284"/>
                                                                                                        </a:lnTo>
                                                                                                        <a:lnTo>
                                                                                                          <a:pt x="44" y="282"/>
                                                                                                        </a:lnTo>
                                                                                                        <a:lnTo>
                                                                                                          <a:pt x="44" y="282"/>
                                                                                                        </a:lnTo>
                                                                                                        <a:lnTo>
                                                                                                          <a:pt x="38" y="282"/>
                                                                                                        </a:lnTo>
                                                                                                        <a:lnTo>
                                                                                                          <a:pt x="38" y="284"/>
                                                                                                        </a:lnTo>
                                                                                                        <a:lnTo>
                                                                                                          <a:pt x="36" y="286"/>
                                                                                                        </a:lnTo>
                                                                                                        <a:lnTo>
                                                                                                          <a:pt x="32" y="284"/>
                                                                                                        </a:lnTo>
                                                                                                        <a:lnTo>
                                                                                                          <a:pt x="32" y="284"/>
                                                                                                        </a:lnTo>
                                                                                                        <a:lnTo>
                                                                                                          <a:pt x="34" y="282"/>
                                                                                                        </a:lnTo>
                                                                                                        <a:lnTo>
                                                                                                          <a:pt x="34" y="278"/>
                                                                                                        </a:lnTo>
                                                                                                        <a:lnTo>
                                                                                                          <a:pt x="34" y="272"/>
                                                                                                        </a:lnTo>
                                                                                                        <a:lnTo>
                                                                                                          <a:pt x="32" y="266"/>
                                                                                                        </a:lnTo>
                                                                                                        <a:lnTo>
                                                                                                          <a:pt x="32" y="266"/>
                                                                                                        </a:lnTo>
                                                                                                        <a:lnTo>
                                                                                                          <a:pt x="32" y="264"/>
                                                                                                        </a:lnTo>
                                                                                                        <a:lnTo>
                                                                                                          <a:pt x="32" y="262"/>
                                                                                                        </a:lnTo>
                                                                                                        <a:lnTo>
                                                                                                          <a:pt x="36" y="256"/>
                                                                                                        </a:lnTo>
                                                                                                        <a:lnTo>
                                                                                                          <a:pt x="40" y="252"/>
                                                                                                        </a:lnTo>
                                                                                                        <a:lnTo>
                                                                                                          <a:pt x="42" y="250"/>
                                                                                                        </a:lnTo>
                                                                                                        <a:lnTo>
                                                                                                          <a:pt x="42" y="248"/>
                                                                                                        </a:lnTo>
                                                                                                        <a:lnTo>
                                                                                                          <a:pt x="42" y="248"/>
                                                                                                        </a:lnTo>
                                                                                                        <a:lnTo>
                                                                                                          <a:pt x="42" y="244"/>
                                                                                                        </a:lnTo>
                                                                                                        <a:lnTo>
                                                                                                          <a:pt x="42" y="242"/>
                                                                                                        </a:lnTo>
                                                                                                        <a:lnTo>
                                                                                                          <a:pt x="46" y="242"/>
                                                                                                        </a:lnTo>
                                                                                                        <a:lnTo>
                                                                                                          <a:pt x="50" y="244"/>
                                                                                                        </a:lnTo>
                                                                                                        <a:lnTo>
                                                                                                          <a:pt x="50" y="242"/>
                                                                                                        </a:lnTo>
                                                                                                        <a:lnTo>
                                                                                                          <a:pt x="50" y="242"/>
                                                                                                        </a:lnTo>
                                                                                                        <a:lnTo>
                                                                                                          <a:pt x="52" y="242"/>
                                                                                                        </a:lnTo>
                                                                                                        <a:lnTo>
                                                                                                          <a:pt x="54" y="240"/>
                                                                                                        </a:lnTo>
                                                                                                        <a:lnTo>
                                                                                                          <a:pt x="56" y="238"/>
                                                                                                        </a:lnTo>
                                                                                                        <a:lnTo>
                                                                                                          <a:pt x="56" y="236"/>
                                                                                                        </a:lnTo>
                                                                                                        <a:lnTo>
                                                                                                          <a:pt x="56" y="236"/>
                                                                                                        </a:lnTo>
                                                                                                        <a:lnTo>
                                                                                                          <a:pt x="56" y="234"/>
                                                                                                        </a:lnTo>
                                                                                                        <a:lnTo>
                                                                                                          <a:pt x="56" y="230"/>
                                                                                                        </a:lnTo>
                                                                                                        <a:lnTo>
                                                                                                          <a:pt x="56" y="226"/>
                                                                                                        </a:lnTo>
                                                                                                        <a:lnTo>
                                                                                                          <a:pt x="54" y="226"/>
                                                                                                        </a:lnTo>
                                                                                                        <a:lnTo>
                                                                                                          <a:pt x="54" y="226"/>
                                                                                                        </a:lnTo>
                                                                                                        <a:lnTo>
                                                                                                          <a:pt x="50" y="226"/>
                                                                                                        </a:lnTo>
                                                                                                        <a:lnTo>
                                                                                                          <a:pt x="48" y="226"/>
                                                                                                        </a:lnTo>
                                                                                                        <a:lnTo>
                                                                                                          <a:pt x="44" y="212"/>
                                                                                                        </a:lnTo>
                                                                                                        <a:lnTo>
                                                                                                          <a:pt x="44" y="212"/>
                                                                                                        </a:lnTo>
                                                                                                        <a:lnTo>
                                                                                                          <a:pt x="38" y="200"/>
                                                                                                        </a:lnTo>
                                                                                                        <a:lnTo>
                                                                                                          <a:pt x="36" y="200"/>
                                                                                                        </a:lnTo>
                                                                                                        <a:lnTo>
                                                                                                          <a:pt x="30" y="200"/>
                                                                                                        </a:lnTo>
                                                                                                        <a:lnTo>
                                                                                                          <a:pt x="30" y="200"/>
                                                                                                        </a:lnTo>
                                                                                                        <a:lnTo>
                                                                                                          <a:pt x="22" y="198"/>
                                                                                                        </a:lnTo>
                                                                                                        <a:lnTo>
                                                                                                          <a:pt x="20" y="194"/>
                                                                                                        </a:lnTo>
                                                                                                        <a:lnTo>
                                                                                                          <a:pt x="14" y="182"/>
                                                                                                        </a:lnTo>
                                                                                                        <a:lnTo>
                                                                                                          <a:pt x="0" y="162"/>
                                                                                                        </a:lnTo>
                                                                                                        <a:lnTo>
                                                                                                          <a:pt x="0" y="162"/>
                                                                                                        </a:lnTo>
                                                                                                        <a:lnTo>
                                                                                                          <a:pt x="6" y="164"/>
                                                                                                        </a:lnTo>
                                                                                                        <a:lnTo>
                                                                                                          <a:pt x="14" y="170"/>
                                                                                                        </a:lnTo>
                                                                                                        <a:lnTo>
                                                                                                          <a:pt x="14" y="170"/>
                                                                                                        </a:lnTo>
                                                                                                        <a:lnTo>
                                                                                                          <a:pt x="22" y="174"/>
                                                                                                        </a:lnTo>
                                                                                                        <a:lnTo>
                                                                                                          <a:pt x="30" y="178"/>
                                                                                                        </a:lnTo>
                                                                                                        <a:lnTo>
                                                                                                          <a:pt x="40" y="178"/>
                                                                                                        </a:lnTo>
                                                                                                        <a:lnTo>
                                                                                                          <a:pt x="50" y="178"/>
                                                                                                        </a:lnTo>
                                                                                                        <a:lnTo>
                                                                                                          <a:pt x="50" y="178"/>
                                                                                                        </a:lnTo>
                                                                                                        <a:lnTo>
                                                                                                          <a:pt x="58" y="180"/>
                                                                                                        </a:lnTo>
                                                                                                        <a:lnTo>
                                                                                                          <a:pt x="70" y="178"/>
                                                                                                        </a:lnTo>
                                                                                                        <a:lnTo>
                                                                                                          <a:pt x="94" y="172"/>
                                                                                                        </a:lnTo>
                                                                                                        <a:lnTo>
                                                                                                          <a:pt x="94" y="172"/>
                                                                                                        </a:lnTo>
                                                                                                        <a:lnTo>
                                                                                                          <a:pt x="110" y="164"/>
                                                                                                        </a:lnTo>
                                                                                                        <a:lnTo>
                                                                                                          <a:pt x="112" y="162"/>
                                                                                                        </a:lnTo>
                                                                                                        <a:lnTo>
                                                                                                          <a:pt x="108" y="160"/>
                                                                                                        </a:lnTo>
                                                                                                        <a:lnTo>
                                                                                                          <a:pt x="108" y="160"/>
                                                                                                        </a:lnTo>
                                                                                                        <a:lnTo>
                                                                                                          <a:pt x="106" y="158"/>
                                                                                                        </a:lnTo>
                                                                                                        <a:lnTo>
                                                                                                          <a:pt x="106" y="158"/>
                                                                                                        </a:lnTo>
                                                                                                        <a:lnTo>
                                                                                                          <a:pt x="106" y="156"/>
                                                                                                        </a:lnTo>
                                                                                                        <a:lnTo>
                                                                                                          <a:pt x="104" y="152"/>
                                                                                                        </a:lnTo>
                                                                                                        <a:lnTo>
                                                                                                          <a:pt x="104" y="152"/>
                                                                                                        </a:lnTo>
                                                                                                        <a:lnTo>
                                                                                                          <a:pt x="104" y="150"/>
                                                                                                        </a:lnTo>
                                                                                                        <a:lnTo>
                                                                                                          <a:pt x="104" y="146"/>
                                                                                                        </a:lnTo>
                                                                                                        <a:lnTo>
                                                                                                          <a:pt x="108" y="140"/>
                                                                                                        </a:lnTo>
                                                                                                        <a:lnTo>
                                                                                                          <a:pt x="114" y="136"/>
                                                                                                        </a:lnTo>
                                                                                                        <a:lnTo>
                                                                                                          <a:pt x="118" y="136"/>
                                                                                                        </a:lnTo>
                                                                                                        <a:lnTo>
                                                                                                          <a:pt x="122" y="136"/>
                                                                                                        </a:lnTo>
                                                                                                        <a:lnTo>
                                                                                                          <a:pt x="122" y="136"/>
                                                                                                        </a:lnTo>
                                                                                                        <a:lnTo>
                                                                                                          <a:pt x="126" y="138"/>
                                                                                                        </a:lnTo>
                                                                                                        <a:lnTo>
                                                                                                          <a:pt x="128" y="136"/>
                                                                                                        </a:lnTo>
                                                                                                        <a:lnTo>
                                                                                                          <a:pt x="132" y="134"/>
                                                                                                        </a:lnTo>
                                                                                                        <a:lnTo>
                                                                                                          <a:pt x="130" y="130"/>
                                                                                                        </a:lnTo>
                                                                                                        <a:lnTo>
                                                                                                          <a:pt x="130" y="130"/>
                                                                                                        </a:lnTo>
                                                                                                        <a:lnTo>
                                                                                                          <a:pt x="130" y="126"/>
                                                                                                        </a:lnTo>
                                                                                                        <a:lnTo>
                                                                                                          <a:pt x="132" y="126"/>
                                                                                                        </a:lnTo>
                                                                                                        <a:lnTo>
                                                                                                          <a:pt x="136" y="126"/>
                                                                                                        </a:lnTo>
                                                                                                        <a:lnTo>
                                                                                                          <a:pt x="140" y="124"/>
                                                                                                        </a:lnTo>
                                                                                                        <a:lnTo>
                                                                                                          <a:pt x="144" y="120"/>
                                                                                                        </a:lnTo>
                                                                                                        <a:lnTo>
                                                                                                          <a:pt x="144" y="120"/>
                                                                                                        </a:lnTo>
                                                                                                        <a:lnTo>
                                                                                                          <a:pt x="146" y="116"/>
                                                                                                        </a:lnTo>
                                                                                                        <a:lnTo>
                                                                                                          <a:pt x="146" y="114"/>
                                                                                                        </a:lnTo>
                                                                                                        <a:lnTo>
                                                                                                          <a:pt x="142" y="110"/>
                                                                                                        </a:lnTo>
                                                                                                        <a:lnTo>
                                                                                                          <a:pt x="140" y="104"/>
                                                                                                        </a:lnTo>
                                                                                                        <a:lnTo>
                                                                                                          <a:pt x="138" y="102"/>
                                                                                                        </a:lnTo>
                                                                                                        <a:lnTo>
                                                                                                          <a:pt x="140" y="98"/>
                                                                                                        </a:lnTo>
                                                                                                        <a:lnTo>
                                                                                                          <a:pt x="140" y="98"/>
                                                                                                        </a:lnTo>
                                                                                                        <a:lnTo>
                                                                                                          <a:pt x="142" y="92"/>
                                                                                                        </a:lnTo>
                                                                                                        <a:lnTo>
                                                                                                          <a:pt x="148" y="92"/>
                                                                                                        </a:lnTo>
                                                                                                        <a:lnTo>
                                                                                                          <a:pt x="152" y="90"/>
                                                                                                        </a:lnTo>
                                                                                                        <a:lnTo>
                                                                                                          <a:pt x="154" y="86"/>
                                                                                                        </a:lnTo>
                                                                                                        <a:lnTo>
                                                                                                          <a:pt x="154" y="86"/>
                                                                                                        </a:lnTo>
                                                                                                        <a:lnTo>
                                                                                                          <a:pt x="154" y="84"/>
                                                                                                        </a:lnTo>
                                                                                                        <a:lnTo>
                                                                                                          <a:pt x="154" y="82"/>
                                                                                                        </a:lnTo>
                                                                                                        <a:lnTo>
                                                                                                          <a:pt x="150" y="80"/>
                                                                                                        </a:lnTo>
                                                                                                        <a:lnTo>
                                                                                                          <a:pt x="144" y="76"/>
                                                                                                        </a:lnTo>
                                                                                                        <a:lnTo>
                                                                                                          <a:pt x="144" y="74"/>
                                                                                                        </a:lnTo>
                                                                                                        <a:lnTo>
                                                                                                          <a:pt x="144" y="74"/>
                                                                                                        </a:lnTo>
                                                                                                        <a:lnTo>
                                                                                                          <a:pt x="144" y="74"/>
                                                                                                        </a:lnTo>
                                                                                                        <a:lnTo>
                                                                                                          <a:pt x="146" y="72"/>
                                                                                                        </a:lnTo>
                                                                                                        <a:lnTo>
                                                                                                          <a:pt x="148" y="72"/>
                                                                                                        </a:lnTo>
                                                                                                        <a:lnTo>
                                                                                                          <a:pt x="156" y="72"/>
                                                                                                        </a:lnTo>
                                                                                                        <a:lnTo>
                                                                                                          <a:pt x="178" y="74"/>
                                                                                                        </a:lnTo>
                                                                                                        <a:lnTo>
                                                                                                          <a:pt x="178" y="74"/>
                                                                                                        </a:lnTo>
                                                                                                        <a:lnTo>
                                                                                                          <a:pt x="186" y="74"/>
                                                                                                        </a:lnTo>
                                                                                                        <a:lnTo>
                                                                                                          <a:pt x="188" y="72"/>
                                                                                                        </a:lnTo>
                                                                                                        <a:lnTo>
                                                                                                          <a:pt x="188" y="72"/>
                                                                                                        </a:lnTo>
                                                                                                        <a:lnTo>
                                                                                                          <a:pt x="186" y="68"/>
                                                                                                        </a:lnTo>
                                                                                                        <a:lnTo>
                                                                                                          <a:pt x="184" y="66"/>
                                                                                                        </a:lnTo>
                                                                                                        <a:lnTo>
                                                                                                          <a:pt x="184" y="66"/>
                                                                                                        </a:lnTo>
                                                                                                        <a:lnTo>
                                                                                                          <a:pt x="180" y="62"/>
                                                                                                        </a:lnTo>
                                                                                                        <a:lnTo>
                                                                                                          <a:pt x="178" y="58"/>
                                                                                                        </a:lnTo>
                                                                                                        <a:lnTo>
                                                                                                          <a:pt x="178" y="54"/>
                                                                                                        </a:lnTo>
                                                                                                        <a:lnTo>
                                                                                                          <a:pt x="180" y="50"/>
                                                                                                        </a:lnTo>
                                                                                                        <a:lnTo>
                                                                                                          <a:pt x="182" y="44"/>
                                                                                                        </a:lnTo>
                                                                                                        <a:lnTo>
                                                                                                          <a:pt x="180" y="42"/>
                                                                                                        </a:lnTo>
                                                                                                        <a:lnTo>
                                                                                                          <a:pt x="176" y="38"/>
                                                                                                        </a:lnTo>
                                                                                                        <a:lnTo>
                                                                                                          <a:pt x="176" y="38"/>
                                                                                                        </a:lnTo>
                                                                                                        <a:lnTo>
                                                                                                          <a:pt x="170" y="32"/>
                                                                                                        </a:lnTo>
                                                                                                        <a:lnTo>
                                                                                                          <a:pt x="168" y="28"/>
                                                                                                        </a:lnTo>
                                                                                                        <a:lnTo>
                                                                                                          <a:pt x="170" y="26"/>
                                                                                                        </a:lnTo>
                                                                                                        <a:lnTo>
                                                                                                          <a:pt x="174" y="20"/>
                                                                                                        </a:lnTo>
                                                                                                        <a:lnTo>
                                                                                                          <a:pt x="174" y="20"/>
                                                                                                        </a:lnTo>
                                                                                                        <a:lnTo>
                                                                                                          <a:pt x="178" y="16"/>
                                                                                                        </a:lnTo>
                                                                                                        <a:lnTo>
                                                                                                          <a:pt x="184" y="16"/>
                                                                                                        </a:lnTo>
                                                                                                        <a:lnTo>
                                                                                                          <a:pt x="188" y="14"/>
                                                                                                        </a:lnTo>
                                                                                                        <a:lnTo>
                                                                                                          <a:pt x="190" y="10"/>
                                                                                                        </a:lnTo>
                                                                                                        <a:lnTo>
                                                                                                          <a:pt x="190" y="10"/>
                                                                                                        </a:lnTo>
                                                                                                        <a:lnTo>
                                                                                                          <a:pt x="190" y="8"/>
                                                                                                        </a:lnTo>
                                                                                                        <a:lnTo>
                                                                                                          <a:pt x="194" y="6"/>
                                                                                                        </a:lnTo>
                                                                                                        <a:lnTo>
                                                                                                          <a:pt x="202" y="4"/>
                                                                                                        </a:lnTo>
                                                                                                        <a:lnTo>
                                                                                                          <a:pt x="214" y="2"/>
                                                                                                        </a:lnTo>
                                                                                                        <a:lnTo>
                                                                                                          <a:pt x="214" y="2"/>
                                                                                                        </a:lnTo>
                                                                                                        <a:lnTo>
                                                                                                          <a:pt x="218" y="2"/>
                                                                                                        </a:lnTo>
                                                                                                        <a:lnTo>
                                                                                                          <a:pt x="220" y="0"/>
                                                                                                        </a:lnTo>
                                                                                                        <a:lnTo>
                                                                                                          <a:pt x="226" y="2"/>
                                                                                                        </a:lnTo>
                                                                                                        <a:lnTo>
                                                                                                          <a:pt x="240" y="8"/>
                                                                                                        </a:lnTo>
                                                                                                        <a:lnTo>
                                                                                                          <a:pt x="240" y="8"/>
                                                                                                        </a:lnTo>
                                                                                                        <a:lnTo>
                                                                                                          <a:pt x="256" y="16"/>
                                                                                                        </a:lnTo>
                                                                                                        <a:lnTo>
                                                                                                          <a:pt x="256" y="18"/>
                                                                                                        </a:lnTo>
                                                                                                        <a:lnTo>
                                                                                                          <a:pt x="256" y="20"/>
                                                                                                        </a:lnTo>
                                                                                                        <a:lnTo>
                                                                                                          <a:pt x="256" y="20"/>
                                                                                                        </a:lnTo>
                                                                                                        <a:lnTo>
                                                                                                          <a:pt x="254" y="26"/>
                                                                                                        </a:lnTo>
                                                                                                        <a:lnTo>
                                                                                                          <a:pt x="256" y="30"/>
                                                                                                        </a:lnTo>
                                                                                                        <a:lnTo>
                                                                                                          <a:pt x="258" y="30"/>
                                                                                                        </a:lnTo>
                                                                                                        <a:lnTo>
                                                                                                          <a:pt x="264" y="30"/>
                                                                                                        </a:lnTo>
                                                                                                        <a:lnTo>
                                                                                                          <a:pt x="274" y="30"/>
                                                                                                        </a:lnTo>
                                                                                                        <a:lnTo>
                                                                                                          <a:pt x="278" y="30"/>
                                                                                                        </a:lnTo>
                                                                                                        <a:lnTo>
                                                                                                          <a:pt x="282" y="30"/>
                                                                                                        </a:lnTo>
                                                                                                        <a:lnTo>
                                                                                                          <a:pt x="282" y="30"/>
                                                                                                        </a:lnTo>
                                                                                                        <a:lnTo>
                                                                                                          <a:pt x="284" y="34"/>
                                                                                                        </a:lnTo>
                                                                                                        <a:lnTo>
                                                                                                          <a:pt x="288" y="36"/>
                                                                                                        </a:lnTo>
                                                                                                        <a:lnTo>
                                                                                                          <a:pt x="292" y="38"/>
                                                                                                        </a:lnTo>
                                                                                                        <a:lnTo>
                                                                                                          <a:pt x="296" y="46"/>
                                                                                                        </a:lnTo>
                                                                                                        <a:lnTo>
                                                                                                          <a:pt x="296" y="46"/>
                                                                                                        </a:lnTo>
                                                                                                        <a:lnTo>
                                                                                                          <a:pt x="300" y="52"/>
                                                                                                        </a:lnTo>
                                                                                                        <a:lnTo>
                                                                                                          <a:pt x="300" y="56"/>
                                                                                                        </a:lnTo>
                                                                                                        <a:lnTo>
                                                                                                          <a:pt x="296" y="58"/>
                                                                                                        </a:lnTo>
                                                                                                        <a:lnTo>
                                                                                                          <a:pt x="290" y="58"/>
                                                                                                        </a:lnTo>
                                                                                                        <a:lnTo>
                                                                                                          <a:pt x="290" y="58"/>
                                                                                                        </a:lnTo>
                                                                                                        <a:lnTo>
                                                                                                          <a:pt x="278" y="60"/>
                                                                                                        </a:lnTo>
                                                                                                        <a:lnTo>
                                                                                                          <a:pt x="270" y="62"/>
                                                                                                        </a:lnTo>
                                                                                                        <a:lnTo>
                                                                                                          <a:pt x="262" y="64"/>
                                                                                                        </a:lnTo>
                                                                                                        <a:lnTo>
                                                                                                          <a:pt x="242" y="62"/>
                                                                                                        </a:lnTo>
                                                                                                        <a:lnTo>
                                                                                                          <a:pt x="242" y="62"/>
                                                                                                        </a:lnTo>
                                                                                                        <a:lnTo>
                                                                                                          <a:pt x="232" y="60"/>
                                                                                                        </a:lnTo>
                                                                                                        <a:lnTo>
                                                                                                          <a:pt x="226" y="60"/>
                                                                                                        </a:lnTo>
                                                                                                        <a:lnTo>
                                                                                                          <a:pt x="224" y="62"/>
                                                                                                        </a:lnTo>
                                                                                                        <a:lnTo>
                                                                                                          <a:pt x="222" y="62"/>
                                                                                                        </a:lnTo>
                                                                                                        <a:lnTo>
                                                                                                          <a:pt x="224" y="66"/>
                                                                                                        </a:lnTo>
                                                                                                        <a:lnTo>
                                                                                                          <a:pt x="228" y="70"/>
                                                                                                        </a:lnTo>
                                                                                                        <a:lnTo>
                                                                                                          <a:pt x="228" y="70"/>
                                                                                                        </a:lnTo>
                                                                                                        <a:lnTo>
                                                                                                          <a:pt x="224" y="70"/>
                                                                                                        </a:lnTo>
                                                                                                        <a:lnTo>
                                                                                                          <a:pt x="224" y="72"/>
                                                                                                        </a:lnTo>
                                                                                                        <a:lnTo>
                                                                                                          <a:pt x="226" y="74"/>
                                                                                                        </a:lnTo>
                                                                                                        <a:lnTo>
                                                                                                          <a:pt x="230" y="78"/>
                                                                                                        </a:lnTo>
                                                                                                        <a:lnTo>
                                                                                                          <a:pt x="232" y="80"/>
                                                                                                        </a:lnTo>
                                                                                                        <a:lnTo>
                                                                                                          <a:pt x="232" y="84"/>
                                                                                                        </a:lnTo>
                                                                                                        <a:lnTo>
                                                                                                          <a:pt x="232" y="84"/>
                                                                                                        </a:lnTo>
                                                                                                        <a:lnTo>
                                                                                                          <a:pt x="232" y="86"/>
                                                                                                        </a:lnTo>
                                                                                                        <a:lnTo>
                                                                                                          <a:pt x="234" y="88"/>
                                                                                                        </a:lnTo>
                                                                                                        <a:lnTo>
                                                                                                          <a:pt x="238" y="86"/>
                                                                                                        </a:lnTo>
                                                                                                        <a:lnTo>
                                                                                                          <a:pt x="244" y="84"/>
                                                                                                        </a:lnTo>
                                                                                                        <a:lnTo>
                                                                                                          <a:pt x="246" y="84"/>
                                                                                                        </a:lnTo>
                                                                                                        <a:lnTo>
                                                                                                          <a:pt x="248" y="84"/>
                                                                                                        </a:lnTo>
                                                                                                        <a:lnTo>
                                                                                                          <a:pt x="248" y="84"/>
                                                                                                        </a:lnTo>
                                                                                                        <a:lnTo>
                                                                                                          <a:pt x="250" y="88"/>
                                                                                                        </a:lnTo>
                                                                                                        <a:lnTo>
                                                                                                          <a:pt x="250" y="90"/>
                                                                                                        </a:lnTo>
                                                                                                        <a:lnTo>
                                                                                                          <a:pt x="250" y="94"/>
                                                                                                        </a:lnTo>
                                                                                                        <a:lnTo>
                                                                                                          <a:pt x="250" y="96"/>
                                                                                                        </a:lnTo>
                                                                                                        <a:lnTo>
                                                                                                          <a:pt x="252" y="98"/>
                                                                                                        </a:lnTo>
                                                                                                        <a:lnTo>
                                                                                                          <a:pt x="260" y="96"/>
                                                                                                        </a:lnTo>
                                                                                                        <a:lnTo>
                                                                                                          <a:pt x="260" y="96"/>
                                                                                                        </a:lnTo>
                                                                                                        <a:lnTo>
                                                                                                          <a:pt x="264" y="96"/>
                                                                                                        </a:lnTo>
                                                                                                        <a:lnTo>
                                                                                                          <a:pt x="266" y="96"/>
                                                                                                        </a:lnTo>
                                                                                                        <a:lnTo>
                                                                                                          <a:pt x="264" y="100"/>
                                                                                                        </a:lnTo>
                                                                                                        <a:lnTo>
                                                                                                          <a:pt x="264" y="106"/>
                                                                                                        </a:lnTo>
                                                                                                        <a:lnTo>
                                                                                                          <a:pt x="264" y="108"/>
                                                                                                        </a:lnTo>
                                                                                                        <a:lnTo>
                                                                                                          <a:pt x="266" y="108"/>
                                                                                                        </a:lnTo>
                                                                                                        <a:lnTo>
                                                                                                          <a:pt x="266" y="108"/>
                                                                                                        </a:lnTo>
                                                                                                        <a:lnTo>
                                                                                                          <a:pt x="270" y="110"/>
                                                                                                        </a:lnTo>
                                                                                                        <a:lnTo>
                                                                                                          <a:pt x="268" y="112"/>
                                                                                                        </a:lnTo>
                                                                                                        <a:lnTo>
                                                                                                          <a:pt x="264" y="116"/>
                                                                                                        </a:lnTo>
                                                                                                        <a:lnTo>
                                                                                                          <a:pt x="260" y="118"/>
                                                                                                        </a:lnTo>
                                                                                                        <a:lnTo>
                                                                                                          <a:pt x="260" y="122"/>
                                                                                                        </a:lnTo>
                                                                                                        <a:lnTo>
                                                                                                          <a:pt x="260" y="126"/>
                                                                                                        </a:lnTo>
                                                                                                        <a:lnTo>
                                                                                                          <a:pt x="264" y="128"/>
                                                                                                        </a:lnTo>
                                                                                                        <a:lnTo>
                                                                                                          <a:pt x="264" y="128"/>
                                                                                                        </a:lnTo>
                                                                                                        <a:lnTo>
                                                                                                          <a:pt x="270" y="136"/>
                                                                                                        </a:lnTo>
                                                                                                        <a:lnTo>
                                                                                                          <a:pt x="270" y="136"/>
                                                                                                        </a:lnTo>
                                                                                                        <a:lnTo>
                                                                                                          <a:pt x="268" y="138"/>
                                                                                                        </a:lnTo>
                                                                                                        <a:lnTo>
                                                                                                          <a:pt x="264" y="140"/>
                                                                                                        </a:lnTo>
                                                                                                        <a:lnTo>
                                                                                                          <a:pt x="262" y="144"/>
                                                                                                        </a:lnTo>
                                                                                                        <a:lnTo>
                                                                                                          <a:pt x="258" y="150"/>
                                                                                                        </a:lnTo>
                                                                                                        <a:lnTo>
                                                                                                          <a:pt x="258" y="158"/>
                                                                                                        </a:lnTo>
                                                                                                        <a:lnTo>
                                                                                                          <a:pt x="258" y="158"/>
                                                                                                        </a:lnTo>
                                                                                                        <a:lnTo>
                                                                                                          <a:pt x="256" y="168"/>
                                                                                                        </a:lnTo>
                                                                                                        <a:lnTo>
                                                                                                          <a:pt x="254" y="176"/>
                                                                                                        </a:lnTo>
                                                                                                        <a:lnTo>
                                                                                                          <a:pt x="250" y="180"/>
                                                                                                        </a:lnTo>
                                                                                                        <a:lnTo>
                                                                                                          <a:pt x="246" y="182"/>
                                                                                                        </a:lnTo>
                                                                                                        <a:lnTo>
                                                                                                          <a:pt x="240" y="186"/>
                                                                                                        </a:lnTo>
                                                                                                        <a:lnTo>
                                                                                                          <a:pt x="238" y="188"/>
                                                                                                        </a:lnTo>
                                                                                                        <a:lnTo>
                                                                                                          <a:pt x="238" y="192"/>
                                                                                                        </a:lnTo>
                                                                                                        <a:lnTo>
                                                                                                          <a:pt x="238" y="192"/>
                                                                                                        </a:lnTo>
                                                                                                        <a:lnTo>
                                                                                                          <a:pt x="236" y="196"/>
                                                                                                        </a:lnTo>
                                                                                                        <a:lnTo>
                                                                                                          <a:pt x="232" y="204"/>
                                                                                                        </a:lnTo>
                                                                                                        <a:lnTo>
                                                                                                          <a:pt x="226" y="212"/>
                                                                                                        </a:lnTo>
                                                                                                        <a:lnTo>
                                                                                                          <a:pt x="214" y="220"/>
                                                                                                        </a:lnTo>
                                                                                                        <a:lnTo>
                                                                                                          <a:pt x="214" y="220"/>
                                                                                                        </a:lnTo>
                                                                                                        <a:lnTo>
                                                                                                          <a:pt x="208" y="222"/>
                                                                                                        </a:lnTo>
                                                                                                        <a:lnTo>
                                                                                                          <a:pt x="206" y="222"/>
                                                                                                        </a:lnTo>
                                                                                                        <a:lnTo>
                                                                                                          <a:pt x="204" y="220"/>
                                                                                                        </a:lnTo>
                                                                                                        <a:lnTo>
                                                                                                          <a:pt x="202" y="218"/>
                                                                                                        </a:lnTo>
                                                                                                        <a:lnTo>
                                                                                                          <a:pt x="202" y="216"/>
                                                                                                        </a:lnTo>
                                                                                                        <a:lnTo>
                                                                                                          <a:pt x="196" y="220"/>
                                                                                                        </a:lnTo>
                                                                                                        <a:lnTo>
                                                                                                          <a:pt x="196" y="220"/>
                                                                                                        </a:lnTo>
                                                                                                        <a:lnTo>
                                                                                                          <a:pt x="182" y="234"/>
                                                                                                        </a:lnTo>
                                                                                                        <a:lnTo>
                                                                                                          <a:pt x="180" y="240"/>
                                                                                                        </a:lnTo>
                                                                                                        <a:lnTo>
                                                                                                          <a:pt x="180" y="242"/>
                                                                                                        </a:lnTo>
                                                                                                        <a:lnTo>
                                                                                                          <a:pt x="180" y="244"/>
                                                                                                        </a:lnTo>
                                                                                                        <a:lnTo>
                                                                                                          <a:pt x="180" y="244"/>
                                                                                                        </a:lnTo>
                                                                                                        <a:lnTo>
                                                                                                          <a:pt x="186" y="246"/>
                                                                                                        </a:lnTo>
                                                                                                        <a:lnTo>
                                                                                                          <a:pt x="190" y="248"/>
                                                                                                        </a:lnTo>
                                                                                                        <a:lnTo>
                                                                                                          <a:pt x="192" y="252"/>
                                                                                                        </a:lnTo>
                                                                                                        <a:lnTo>
                                                                                                          <a:pt x="192" y="258"/>
                                                                                                        </a:lnTo>
                                                                                                        <a:lnTo>
                                                                                                          <a:pt x="192" y="258"/>
                                                                                                        </a:lnTo>
                                                                                                        <a:lnTo>
                                                                                                          <a:pt x="192" y="262"/>
                                                                                                        </a:lnTo>
                                                                                                        <a:lnTo>
                                                                                                          <a:pt x="194" y="266"/>
                                                                                                        </a:lnTo>
                                                                                                        <a:lnTo>
                                                                                                          <a:pt x="198" y="270"/>
                                                                                                        </a:lnTo>
                                                                                                        <a:lnTo>
                                                                                                          <a:pt x="208" y="276"/>
                                                                                                        </a:lnTo>
                                                                                                        <a:lnTo>
                                                                                                          <a:pt x="220" y="286"/>
                                                                                                        </a:lnTo>
                                                                                                        <a:lnTo>
                                                                                                          <a:pt x="220" y="286"/>
                                                                                                        </a:lnTo>
                                                                                                        <a:lnTo>
                                                                                                          <a:pt x="226" y="292"/>
                                                                                                        </a:lnTo>
                                                                                                        <a:lnTo>
                                                                                                          <a:pt x="230" y="296"/>
                                                                                                        </a:lnTo>
                                                                                                        <a:lnTo>
                                                                                                          <a:pt x="230" y="300"/>
                                                                                                        </a:lnTo>
                                                                                                        <a:lnTo>
                                                                                                          <a:pt x="228" y="300"/>
                                                                                                        </a:lnTo>
                                                                                                        <a:lnTo>
                                                                                                          <a:pt x="224" y="302"/>
                                                                                                        </a:lnTo>
                                                                                                        <a:lnTo>
                                                                                                          <a:pt x="224" y="302"/>
                                                                                                        </a:lnTo>
                                                                                                        <a:lnTo>
                                                                                                          <a:pt x="226" y="304"/>
                                                                                                        </a:lnTo>
                                                                                                        <a:lnTo>
                                                                                                          <a:pt x="226" y="304"/>
                                                                                                        </a:lnTo>
                                                                                                        <a:lnTo>
                                                                                                          <a:pt x="232" y="308"/>
                                                                                                        </a:lnTo>
                                                                                                        <a:lnTo>
                                                                                                          <a:pt x="224" y="310"/>
                                                                                                        </a:lnTo>
                                                                                                        <a:lnTo>
                                                                                                          <a:pt x="224" y="310"/>
                                                                                                        </a:lnTo>
                                                                                                        <a:lnTo>
                                                                                                          <a:pt x="218" y="312"/>
                                                                                                        </a:lnTo>
                                                                                                        <a:lnTo>
                                                                                                          <a:pt x="216" y="310"/>
                                                                                                        </a:lnTo>
                                                                                                        <a:lnTo>
                                                                                                          <a:pt x="216" y="308"/>
                                                                                                        </a:lnTo>
                                                                                                        <a:lnTo>
                                                                                                          <a:pt x="216" y="306"/>
                                                                                                        </a:lnTo>
                                                                                                        <a:lnTo>
                                                                                                          <a:pt x="210" y="308"/>
                                                                                                        </a:lnTo>
                                                                                                        <a:lnTo>
                                                                                                          <a:pt x="210" y="308"/>
                                                                                                        </a:lnTo>
                                                                                                        <a:lnTo>
                                                                                                          <a:pt x="202" y="310"/>
                                                                                                        </a:lnTo>
                                                                                                        <a:lnTo>
                                                                                                          <a:pt x="196" y="310"/>
                                                                                                        </a:lnTo>
                                                                                                        <a:lnTo>
                                                                                                          <a:pt x="190" y="310"/>
                                                                                                        </a:lnTo>
                                                                                                        <a:lnTo>
                                                                                                          <a:pt x="186" y="312"/>
                                                                                                        </a:lnTo>
                                                                                                        <a:lnTo>
                                                                                                          <a:pt x="186" y="312"/>
                                                                                                        </a:lnTo>
                                                                                                        <a:lnTo>
                                                                                                          <a:pt x="182" y="312"/>
                                                                                                        </a:lnTo>
                                                                                                        <a:lnTo>
                                                                                                          <a:pt x="180" y="312"/>
                                                                                                        </a:lnTo>
                                                                                                        <a:lnTo>
                                                                                                          <a:pt x="178" y="310"/>
                                                                                                        </a:lnTo>
                                                                                                        <a:lnTo>
                                                                                                          <a:pt x="174" y="312"/>
                                                                                                        </a:lnTo>
                                                                                                        <a:lnTo>
                                                                                                          <a:pt x="174" y="312"/>
                                                                                                        </a:lnTo>
                                                                                                        <a:lnTo>
                                                                                                          <a:pt x="170" y="316"/>
                                                                                                        </a:lnTo>
                                                                                                        <a:lnTo>
                                                                                                          <a:pt x="168" y="316"/>
                                                                                                        </a:lnTo>
                                                                                                        <a:lnTo>
                                                                                                          <a:pt x="166" y="316"/>
                                                                                                        </a:lnTo>
                                                                                                        <a:lnTo>
                                                                                                          <a:pt x="162" y="322"/>
                                                                                                        </a:lnTo>
                                                                                                        <a:lnTo>
                                                                                                          <a:pt x="162" y="322"/>
                                                                                                        </a:lnTo>
                                                                                                        <a:close/>
                                                                                                      </a:path>
                                                                                                    </a:pathLst>
                                                                                                  </a:custGeom>
                                                                                                  <a:grpFill/>
                                                                                                  <a:ln w="63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aseline="-25000" dirty="0">
                                                                                                      <a:solidFill>
                                                                                                        <a:schemeClr val="bg1">
                                                                                                          <a:alpha val="99000"/>
                                                                                                        </a:schemeClr>
                                                                                                      </a:solidFill>
                                                                                                    </a:endParaRPr>
                                                                                                  </a:p>
                                                                                                </p:txBody>
                                                                                              </p:sp>
                                                                                              <p:sp>
                                                                                                <p:nvSpPr>
                                                                                                  <p:cNvPr id="774" name="Uzbekistan"/>
                                                                                                  <p:cNvSpPr>
                                                                                                    <a:spLocks/>
                                                                                                  </p:cNvSpPr>
                                                                                                  <p:nvPr/>
                                                                                                </p:nvSpPr>
                                                                                                <p:spPr bwMode="auto">
                                                                                                  <a:xfrm>
                                                                                                    <a:off x="7393757" y="2007029"/>
                                                                                                    <a:ext cx="531587" cy="254926"/>
                                                                                                  </a:xfrm>
                                                                                                  <a:custGeom>
                                                                                                    <a:avLst/>
                                                                                                    <a:gdLst/>
                                                                                                    <a:ahLst/>
                                                                                                    <a:cxnLst>
                                                                                                      <a:cxn ang="0">
                                                                                                        <a:pos x="32" y="96"/>
                                                                                                      </a:cxn>
                                                                                                      <a:cxn ang="0">
                                                                                                        <a:pos x="32" y="84"/>
                                                                                                      </a:cxn>
                                                                                                      <a:cxn ang="0">
                                                                                                        <a:pos x="42" y="76"/>
                                                                                                      </a:cxn>
                                                                                                      <a:cxn ang="0">
                                                                                                        <a:pos x="54" y="74"/>
                                                                                                      </a:cxn>
                                                                                                      <a:cxn ang="0">
                                                                                                        <a:pos x="56" y="70"/>
                                                                                                      </a:cxn>
                                                                                                      <a:cxn ang="0">
                                                                                                        <a:pos x="80" y="82"/>
                                                                                                      </a:cxn>
                                                                                                      <a:cxn ang="0">
                                                                                                        <a:pos x="82" y="92"/>
                                                                                                      </a:cxn>
                                                                                                      <a:cxn ang="0">
                                                                                                        <a:pos x="104" y="90"/>
                                                                                                      </a:cxn>
                                                                                                      <a:cxn ang="0">
                                                                                                        <a:pos x="120" y="106"/>
                                                                                                      </a:cxn>
                                                                                                      <a:cxn ang="0">
                                                                                                        <a:pos x="160" y="130"/>
                                                                                                      </a:cxn>
                                                                                                      <a:cxn ang="0">
                                                                                                        <a:pos x="196" y="144"/>
                                                                                                      </a:cxn>
                                                                                                      <a:cxn ang="0">
                                                                                                        <a:pos x="212" y="148"/>
                                                                                                      </a:cxn>
                                                                                                      <a:cxn ang="0">
                                                                                                        <a:pos x="220" y="154"/>
                                                                                                      </a:cxn>
                                                                                                      <a:cxn ang="0">
                                                                                                        <a:pos x="232" y="168"/>
                                                                                                      </a:cxn>
                                                                                                      <a:cxn ang="0">
                                                                                                        <a:pos x="244" y="168"/>
                                                                                                      </a:cxn>
                                                                                                      <a:cxn ang="0">
                                                                                                        <a:pos x="258" y="166"/>
                                                                                                      </a:cxn>
                                                                                                      <a:cxn ang="0">
                                                                                                        <a:pos x="262" y="148"/>
                                                                                                      </a:cxn>
                                                                                                      <a:cxn ang="0">
                                                                                                        <a:pos x="258" y="144"/>
                                                                                                      </a:cxn>
                                                                                                      <a:cxn ang="0">
                                                                                                        <a:pos x="250" y="142"/>
                                                                                                      </a:cxn>
                                                                                                      <a:cxn ang="0">
                                                                                                        <a:pos x="242" y="132"/>
                                                                                                      </a:cxn>
                                                                                                      <a:cxn ang="0">
                                                                                                        <a:pos x="260" y="128"/>
                                                                                                      </a:cxn>
                                                                                                      <a:cxn ang="0">
                                                                                                        <a:pos x="256" y="122"/>
                                                                                                      </a:cxn>
                                                                                                      <a:cxn ang="0">
                                                                                                        <a:pos x="270" y="112"/>
                                                                                                      </a:cxn>
                                                                                                      <a:cxn ang="0">
                                                                                                        <a:pos x="282" y="112"/>
                                                                                                      </a:cxn>
                                                                                                      <a:cxn ang="0">
                                                                                                        <a:pos x="292" y="108"/>
                                                                                                      </a:cxn>
                                                                                                      <a:cxn ang="0">
                                                                                                        <a:pos x="292" y="114"/>
                                                                                                      </a:cxn>
                                                                                                      <a:cxn ang="0">
                                                                                                        <a:pos x="304" y="118"/>
                                                                                                      </a:cxn>
                                                                                                      <a:cxn ang="0">
                                                                                                        <a:pos x="318" y="118"/>
                                                                                                      </a:cxn>
                                                                                                      <a:cxn ang="0">
                                                                                                        <a:pos x="346" y="108"/>
                                                                                                      </a:cxn>
                                                                                                      <a:cxn ang="0">
                                                                                                        <a:pos x="336" y="104"/>
                                                                                                      </a:cxn>
                                                                                                      <a:cxn ang="0">
                                                                                                        <a:pos x="324" y="96"/>
                                                                                                      </a:cxn>
                                                                                                      <a:cxn ang="0">
                                                                                                        <a:pos x="316" y="92"/>
                                                                                                      </a:cxn>
                                                                                                      <a:cxn ang="0">
                                                                                                        <a:pos x="304" y="100"/>
                                                                                                      </a:cxn>
                                                                                                      <a:cxn ang="0">
                                                                                                        <a:pos x="288" y="98"/>
                                                                                                      </a:cxn>
                                                                                                      <a:cxn ang="0">
                                                                                                        <a:pos x="282" y="100"/>
                                                                                                      </a:cxn>
                                                                                                      <a:cxn ang="0">
                                                                                                        <a:pos x="298" y="78"/>
                                                                                                      </a:cxn>
                                                                                                      <a:cxn ang="0">
                                                                                                        <a:pos x="294" y="70"/>
                                                                                                      </a:cxn>
                                                                                                      <a:cxn ang="0">
                                                                                                        <a:pos x="280" y="86"/>
                                                                                                      </a:cxn>
                                                                                                      <a:cxn ang="0">
                                                                                                        <a:pos x="264" y="102"/>
                                                                                                      </a:cxn>
                                                                                                      <a:cxn ang="0">
                                                                                                        <a:pos x="262" y="114"/>
                                                                                                      </a:cxn>
                                                                                                      <a:cxn ang="0">
                                                                                                        <a:pos x="252" y="114"/>
                                                                                                      </a:cxn>
                                                                                                      <a:cxn ang="0">
                                                                                                        <a:pos x="252" y="108"/>
                                                                                                      </a:cxn>
                                                                                                      <a:cxn ang="0">
                                                                                                        <a:pos x="218" y="106"/>
                                                                                                      </a:cxn>
                                                                                                      <a:cxn ang="0">
                                                                                                        <a:pos x="194" y="76"/>
                                                                                                      </a:cxn>
                                                                                                      <a:cxn ang="0">
                                                                                                        <a:pos x="190" y="64"/>
                                                                                                      </a:cxn>
                                                                                                      <a:cxn ang="0">
                                                                                                        <a:pos x="166" y="44"/>
                                                                                                      </a:cxn>
                                                                                                      <a:cxn ang="0">
                                                                                                        <a:pos x="156" y="42"/>
                                                                                                      </a:cxn>
                                                                                                      <a:cxn ang="0">
                                                                                                        <a:pos x="150" y="48"/>
                                                                                                      </a:cxn>
                                                                                                      <a:cxn ang="0">
                                                                                                        <a:pos x="98" y="44"/>
                                                                                                      </a:cxn>
                                                                                                      <a:cxn ang="0">
                                                                                                        <a:pos x="94" y="26"/>
                                                                                                      </a:cxn>
                                                                                                      <a:cxn ang="0">
                                                                                                        <a:pos x="88" y="34"/>
                                                                                                      </a:cxn>
                                                                                                      <a:cxn ang="0">
                                                                                                        <a:pos x="78" y="40"/>
                                                                                                      </a:cxn>
                                                                                                      <a:cxn ang="0">
                                                                                                        <a:pos x="58" y="46"/>
                                                                                                      </a:cxn>
                                                                                                      <a:cxn ang="0">
                                                                                                        <a:pos x="46" y="44"/>
                                                                                                      </a:cxn>
                                                                                                      <a:cxn ang="0">
                                                                                                        <a:pos x="34" y="38"/>
                                                                                                      </a:cxn>
                                                                                                      <a:cxn ang="0">
                                                                                                        <a:pos x="28" y="28"/>
                                                                                                      </a:cxn>
                                                                                                      <a:cxn ang="0">
                                                                                                        <a:pos x="32" y="14"/>
                                                                                                      </a:cxn>
                                                                                                      <a:cxn ang="0">
                                                                                                        <a:pos x="30" y="0"/>
                                                                                                      </a:cxn>
                                                                                                      <a:cxn ang="0">
                                                                                                        <a:pos x="8" y="10"/>
                                                                                                      </a:cxn>
                                                                                                      <a:cxn ang="0">
                                                                                                        <a:pos x="0" y="22"/>
                                                                                                      </a:cxn>
                                                                                                    </a:cxnLst>
                                                                                                    <a:rect l="0" t="0" r="r" b="b"/>
                                                                                                    <a:pathLst>
                                                                                                      <a:path w="350" h="168">
                                                                                                        <a:moveTo>
                                                                                                          <a:pt x="22" y="98"/>
                                                                                                        </a:moveTo>
                                                                                                        <a:lnTo>
                                                                                                          <a:pt x="22" y="98"/>
                                                                                                        </a:lnTo>
                                                                                                        <a:lnTo>
                                                                                                          <a:pt x="28" y="98"/>
                                                                                                        </a:lnTo>
                                                                                                        <a:lnTo>
                                                                                                          <a:pt x="32" y="96"/>
                                                                                                        </a:lnTo>
                                                                                                        <a:lnTo>
                                                                                                          <a:pt x="32" y="96"/>
                                                                                                        </a:lnTo>
                                                                                                        <a:lnTo>
                                                                                                          <a:pt x="32" y="92"/>
                                                                                                        </a:lnTo>
                                                                                                        <a:lnTo>
                                                                                                          <a:pt x="30" y="86"/>
                                                                                                        </a:lnTo>
                                                                                                        <a:lnTo>
                                                                                                          <a:pt x="32" y="84"/>
                                                                                                        </a:lnTo>
                                                                                                        <a:lnTo>
                                                                                                          <a:pt x="36" y="80"/>
                                                                                                        </a:lnTo>
                                                                                                        <a:lnTo>
                                                                                                          <a:pt x="36" y="80"/>
                                                                                                        </a:lnTo>
                                                                                                        <a:lnTo>
                                                                                                          <a:pt x="40" y="78"/>
                                                                                                        </a:lnTo>
                                                                                                        <a:lnTo>
                                                                                                          <a:pt x="42" y="76"/>
                                                                                                        </a:lnTo>
                                                                                                        <a:lnTo>
                                                                                                          <a:pt x="44" y="74"/>
                                                                                                        </a:lnTo>
                                                                                                        <a:lnTo>
                                                                                                          <a:pt x="48" y="74"/>
                                                                                                        </a:lnTo>
                                                                                                        <a:lnTo>
                                                                                                          <a:pt x="48" y="74"/>
                                                                                                        </a:lnTo>
                                                                                                        <a:lnTo>
                                                                                                          <a:pt x="54" y="74"/>
                                                                                                        </a:lnTo>
                                                                                                        <a:lnTo>
                                                                                                          <a:pt x="54" y="72"/>
                                                                                                        </a:lnTo>
                                                                                                        <a:lnTo>
                                                                                                          <a:pt x="52" y="70"/>
                                                                                                        </a:lnTo>
                                                                                                        <a:lnTo>
                                                                                                          <a:pt x="56" y="70"/>
                                                                                                        </a:lnTo>
                                                                                                        <a:lnTo>
                                                                                                          <a:pt x="56" y="70"/>
                                                                                                        </a:lnTo>
                                                                                                        <a:lnTo>
                                                                                                          <a:pt x="64" y="72"/>
                                                                                                        </a:lnTo>
                                                                                                        <a:lnTo>
                                                                                                          <a:pt x="72" y="76"/>
                                                                                                        </a:lnTo>
                                                                                                        <a:lnTo>
                                                                                                          <a:pt x="78" y="80"/>
                                                                                                        </a:lnTo>
                                                                                                        <a:lnTo>
                                                                                                          <a:pt x="80" y="82"/>
                                                                                                        </a:lnTo>
                                                                                                        <a:lnTo>
                                                                                                          <a:pt x="80" y="84"/>
                                                                                                        </a:lnTo>
                                                                                                        <a:lnTo>
                                                                                                          <a:pt x="80" y="84"/>
                                                                                                        </a:lnTo>
                                                                                                        <a:lnTo>
                                                                                                          <a:pt x="80" y="88"/>
                                                                                                        </a:lnTo>
                                                                                                        <a:lnTo>
                                                                                                          <a:pt x="82" y="92"/>
                                                                                                        </a:lnTo>
                                                                                                        <a:lnTo>
                                                                                                          <a:pt x="86" y="94"/>
                                                                                                        </a:lnTo>
                                                                                                        <a:lnTo>
                                                                                                          <a:pt x="92" y="94"/>
                                                                                                        </a:lnTo>
                                                                                                        <a:lnTo>
                                                                                                          <a:pt x="92" y="94"/>
                                                                                                        </a:lnTo>
                                                                                                        <a:lnTo>
                                                                                                          <a:pt x="104" y="90"/>
                                                                                                        </a:lnTo>
                                                                                                        <a:lnTo>
                                                                                                          <a:pt x="106" y="90"/>
                                                                                                        </a:lnTo>
                                                                                                        <a:lnTo>
                                                                                                          <a:pt x="110" y="92"/>
                                                                                                        </a:lnTo>
                                                                                                        <a:lnTo>
                                                                                                          <a:pt x="110" y="92"/>
                                                                                                        </a:lnTo>
                                                                                                        <a:lnTo>
                                                                                                          <a:pt x="120" y="106"/>
                                                                                                        </a:lnTo>
                                                                                                        <a:lnTo>
                                                                                                          <a:pt x="128" y="114"/>
                                                                                                        </a:lnTo>
                                                                                                        <a:lnTo>
                                                                                                          <a:pt x="140" y="122"/>
                                                                                                        </a:lnTo>
                                                                                                        <a:lnTo>
                                                                                                          <a:pt x="160" y="130"/>
                                                                                                        </a:lnTo>
                                                                                                        <a:lnTo>
                                                                                                          <a:pt x="160" y="130"/>
                                                                                                        </a:lnTo>
                                                                                                        <a:lnTo>
                                                                                                          <a:pt x="176" y="136"/>
                                                                                                        </a:lnTo>
                                                                                                        <a:lnTo>
                                                                                                          <a:pt x="182" y="140"/>
                                                                                                        </a:lnTo>
                                                                                                        <a:lnTo>
                                                                                                          <a:pt x="188" y="144"/>
                                                                                                        </a:lnTo>
                                                                                                        <a:lnTo>
                                                                                                          <a:pt x="196" y="144"/>
                                                                                                        </a:lnTo>
                                                                                                        <a:lnTo>
                                                                                                          <a:pt x="196" y="144"/>
                                                                                                        </a:lnTo>
                                                                                                        <a:lnTo>
                                                                                                          <a:pt x="204" y="146"/>
                                                                                                        </a:lnTo>
                                                                                                        <a:lnTo>
                                                                                                          <a:pt x="210" y="146"/>
                                                                                                        </a:lnTo>
                                                                                                        <a:lnTo>
                                                                                                          <a:pt x="212" y="148"/>
                                                                                                        </a:lnTo>
                                                                                                        <a:lnTo>
                                                                                                          <a:pt x="216" y="148"/>
                                                                                                        </a:lnTo>
                                                                                                        <a:lnTo>
                                                                                                          <a:pt x="216" y="148"/>
                                                                                                        </a:lnTo>
                                                                                                        <a:lnTo>
                                                                                                          <a:pt x="220" y="150"/>
                                                                                                        </a:lnTo>
                                                                                                        <a:lnTo>
                                                                                                          <a:pt x="220" y="154"/>
                                                                                                        </a:lnTo>
                                                                                                        <a:lnTo>
                                                                                                          <a:pt x="220" y="160"/>
                                                                                                        </a:lnTo>
                                                                                                        <a:lnTo>
                                                                                                          <a:pt x="222" y="166"/>
                                                                                                        </a:lnTo>
                                                                                                        <a:lnTo>
                                                                                                          <a:pt x="222" y="166"/>
                                                                                                        </a:lnTo>
                                                                                                        <a:lnTo>
                                                                                                          <a:pt x="232" y="168"/>
                                                                                                        </a:lnTo>
                                                                                                        <a:lnTo>
                                                                                                          <a:pt x="238" y="168"/>
                                                                                                        </a:lnTo>
                                                                                                        <a:lnTo>
                                                                                                          <a:pt x="242" y="166"/>
                                                                                                        </a:lnTo>
                                                                                                        <a:lnTo>
                                                                                                          <a:pt x="244" y="168"/>
                                                                                                        </a:lnTo>
                                                                                                        <a:lnTo>
                                                                                                          <a:pt x="244" y="168"/>
                                                                                                        </a:lnTo>
                                                                                                        <a:lnTo>
                                                                                                          <a:pt x="248" y="168"/>
                                                                                                        </a:lnTo>
                                                                                                        <a:lnTo>
                                                                                                          <a:pt x="250" y="168"/>
                                                                                                        </a:lnTo>
                                                                                                        <a:lnTo>
                                                                                                          <a:pt x="258" y="166"/>
                                                                                                        </a:lnTo>
                                                                                                        <a:lnTo>
                                                                                                          <a:pt x="258" y="166"/>
                                                                                                        </a:lnTo>
                                                                                                        <a:lnTo>
                                                                                                          <a:pt x="258" y="158"/>
                                                                                                        </a:lnTo>
                                                                                                        <a:lnTo>
                                                                                                          <a:pt x="262" y="152"/>
                                                                                                        </a:lnTo>
                                                                                                        <a:lnTo>
                                                                                                          <a:pt x="264" y="148"/>
                                                                                                        </a:lnTo>
                                                                                                        <a:lnTo>
                                                                                                          <a:pt x="262" y="148"/>
                                                                                                        </a:lnTo>
                                                                                                        <a:lnTo>
                                                                                                          <a:pt x="260" y="146"/>
                                                                                                        </a:lnTo>
                                                                                                        <a:lnTo>
                                                                                                          <a:pt x="260" y="146"/>
                                                                                                        </a:lnTo>
                                                                                                        <a:lnTo>
                                                                                                          <a:pt x="256" y="146"/>
                                                                                                        </a:lnTo>
                                                                                                        <a:lnTo>
                                                                                                          <a:pt x="258" y="144"/>
                                                                                                        </a:lnTo>
                                                                                                        <a:lnTo>
                                                                                                          <a:pt x="258" y="144"/>
                                                                                                        </a:lnTo>
                                                                                                        <a:lnTo>
                                                                                                          <a:pt x="256" y="142"/>
                                                                                                        </a:lnTo>
                                                                                                        <a:lnTo>
                                                                                                          <a:pt x="250" y="142"/>
                                                                                                        </a:lnTo>
                                                                                                        <a:lnTo>
                                                                                                          <a:pt x="250" y="142"/>
                                                                                                        </a:lnTo>
                                                                                                        <a:lnTo>
                                                                                                          <a:pt x="244" y="140"/>
                                                                                                        </a:lnTo>
                                                                                                        <a:lnTo>
                                                                                                          <a:pt x="240" y="136"/>
                                                                                                        </a:lnTo>
                                                                                                        <a:lnTo>
                                                                                                          <a:pt x="240" y="134"/>
                                                                                                        </a:lnTo>
                                                                                                        <a:lnTo>
                                                                                                          <a:pt x="242" y="132"/>
                                                                                                        </a:lnTo>
                                                                                                        <a:lnTo>
                                                                                                          <a:pt x="246" y="130"/>
                                                                                                        </a:lnTo>
                                                                                                        <a:lnTo>
                                                                                                          <a:pt x="250" y="130"/>
                                                                                                        </a:lnTo>
                                                                                                        <a:lnTo>
                                                                                                          <a:pt x="250" y="130"/>
                                                                                                        </a:lnTo>
                                                                                                        <a:lnTo>
                                                                                                          <a:pt x="260" y="128"/>
                                                                                                        </a:lnTo>
                                                                                                        <a:lnTo>
                                                                                                          <a:pt x="264" y="126"/>
                                                                                                        </a:lnTo>
                                                                                                        <a:lnTo>
                                                                                                          <a:pt x="264" y="124"/>
                                                                                                        </a:lnTo>
                                                                                                        <a:lnTo>
                                                                                                          <a:pt x="264" y="122"/>
                                                                                                        </a:lnTo>
                                                                                                        <a:lnTo>
                                                                                                          <a:pt x="256" y="122"/>
                                                                                                        </a:lnTo>
                                                                                                        <a:lnTo>
                                                                                                          <a:pt x="256" y="122"/>
                                                                                                        </a:lnTo>
                                                                                                        <a:lnTo>
                                                                                                          <a:pt x="264" y="120"/>
                                                                                                        </a:lnTo>
                                                                                                        <a:lnTo>
                                                                                                          <a:pt x="268" y="116"/>
                                                                                                        </a:lnTo>
                                                                                                        <a:lnTo>
                                                                                                          <a:pt x="270" y="112"/>
                                                                                                        </a:lnTo>
                                                                                                        <a:lnTo>
                                                                                                          <a:pt x="270" y="112"/>
                                                                                                        </a:lnTo>
                                                                                                        <a:lnTo>
                                                                                                          <a:pt x="272" y="114"/>
                                                                                                        </a:lnTo>
                                                                                                        <a:lnTo>
                                                                                                          <a:pt x="276" y="114"/>
                                                                                                        </a:lnTo>
                                                                                                        <a:lnTo>
                                                                                                          <a:pt x="282" y="112"/>
                                                                                                        </a:lnTo>
                                                                                                        <a:lnTo>
                                                                                                          <a:pt x="288" y="108"/>
                                                                                                        </a:lnTo>
                                                                                                        <a:lnTo>
                                                                                                          <a:pt x="290" y="108"/>
                                                                                                        </a:lnTo>
                                                                                                        <a:lnTo>
                                                                                                          <a:pt x="292" y="108"/>
                                                                                                        </a:lnTo>
                                                                                                        <a:lnTo>
                                                                                                          <a:pt x="292" y="108"/>
                                                                                                        </a:lnTo>
                                                                                                        <a:lnTo>
                                                                                                          <a:pt x="296" y="112"/>
                                                                                                        </a:lnTo>
                                                                                                        <a:lnTo>
                                                                                                          <a:pt x="296" y="112"/>
                                                                                                        </a:lnTo>
                                                                                                        <a:lnTo>
                                                                                                          <a:pt x="292" y="114"/>
                                                                                                        </a:lnTo>
                                                                                                        <a:lnTo>
                                                                                                          <a:pt x="292" y="114"/>
                                                                                                        </a:lnTo>
                                                                                                        <a:lnTo>
                                                                                                          <a:pt x="292" y="116"/>
                                                                                                        </a:lnTo>
                                                                                                        <a:lnTo>
                                                                                                          <a:pt x="298" y="118"/>
                                                                                                        </a:lnTo>
                                                                                                        <a:lnTo>
                                                                                                          <a:pt x="298" y="118"/>
                                                                                                        </a:lnTo>
                                                                                                        <a:lnTo>
                                                                                                          <a:pt x="304" y="118"/>
                                                                                                        </a:lnTo>
                                                                                                        <a:lnTo>
                                                                                                          <a:pt x="308" y="118"/>
                                                                                                        </a:lnTo>
                                                                                                        <a:lnTo>
                                                                                                          <a:pt x="312" y="116"/>
                                                                                                        </a:lnTo>
                                                                                                        <a:lnTo>
                                                                                                          <a:pt x="318" y="118"/>
                                                                                                        </a:lnTo>
                                                                                                        <a:lnTo>
                                                                                                          <a:pt x="318" y="118"/>
                                                                                                        </a:lnTo>
                                                                                                        <a:lnTo>
                                                                                                          <a:pt x="324" y="118"/>
                                                                                                        </a:lnTo>
                                                                                                        <a:lnTo>
                                                                                                          <a:pt x="330" y="116"/>
                                                                                                        </a:lnTo>
                                                                                                        <a:lnTo>
                                                                                                          <a:pt x="346" y="108"/>
                                                                                                        </a:lnTo>
                                                                                                        <a:lnTo>
                                                                                                          <a:pt x="346" y="108"/>
                                                                                                        </a:lnTo>
                                                                                                        <a:lnTo>
                                                                                                          <a:pt x="350" y="106"/>
                                                                                                        </a:lnTo>
                                                                                                        <a:lnTo>
                                                                                                          <a:pt x="346" y="106"/>
                                                                                                        </a:lnTo>
                                                                                                        <a:lnTo>
                                                                                                          <a:pt x="340" y="104"/>
                                                                                                        </a:lnTo>
                                                                                                        <a:lnTo>
                                                                                                          <a:pt x="336" y="104"/>
                                                                                                        </a:lnTo>
                                                                                                        <a:lnTo>
                                                                                                          <a:pt x="336" y="104"/>
                                                                                                        </a:lnTo>
                                                                                                        <a:lnTo>
                                                                                                          <a:pt x="330" y="100"/>
                                                                                                        </a:lnTo>
                                                                                                        <a:lnTo>
                                                                                                          <a:pt x="326" y="100"/>
                                                                                                        </a:lnTo>
                                                                                                        <a:lnTo>
                                                                                                          <a:pt x="324" y="96"/>
                                                                                                        </a:lnTo>
                                                                                                        <a:lnTo>
                                                                                                          <a:pt x="324" y="96"/>
                                                                                                        </a:lnTo>
                                                                                                        <a:lnTo>
                                                                                                          <a:pt x="322" y="92"/>
                                                                                                        </a:lnTo>
                                                                                                        <a:lnTo>
                                                                                                          <a:pt x="318" y="92"/>
                                                                                                        </a:lnTo>
                                                                                                        <a:lnTo>
                                                                                                          <a:pt x="316" y="92"/>
                                                                                                        </a:lnTo>
                                                                                                        <a:lnTo>
                                                                                                          <a:pt x="310" y="98"/>
                                                                                                        </a:lnTo>
                                                                                                        <a:lnTo>
                                                                                                          <a:pt x="310" y="98"/>
                                                                                                        </a:lnTo>
                                                                                                        <a:lnTo>
                                                                                                          <a:pt x="308" y="100"/>
                                                                                                        </a:lnTo>
                                                                                                        <a:lnTo>
                                                                                                          <a:pt x="304" y="100"/>
                                                                                                        </a:lnTo>
                                                                                                        <a:lnTo>
                                                                                                          <a:pt x="300" y="98"/>
                                                                                                        </a:lnTo>
                                                                                                        <a:lnTo>
                                                                                                          <a:pt x="296" y="96"/>
                                                                                                        </a:lnTo>
                                                                                                        <a:lnTo>
                                                                                                          <a:pt x="292" y="96"/>
                                                                                                        </a:lnTo>
                                                                                                        <a:lnTo>
                                                                                                          <a:pt x="288" y="98"/>
                                                                                                        </a:lnTo>
                                                                                                        <a:lnTo>
                                                                                                          <a:pt x="288" y="98"/>
                                                                                                        </a:lnTo>
                                                                                                        <a:lnTo>
                                                                                                          <a:pt x="284" y="102"/>
                                                                                                        </a:lnTo>
                                                                                                        <a:lnTo>
                                                                                                          <a:pt x="282" y="102"/>
                                                                                                        </a:lnTo>
                                                                                                        <a:lnTo>
                                                                                                          <a:pt x="282" y="100"/>
                                                                                                        </a:lnTo>
                                                                                                        <a:lnTo>
                                                                                                          <a:pt x="284" y="96"/>
                                                                                                        </a:lnTo>
                                                                                                        <a:lnTo>
                                                                                                          <a:pt x="292" y="86"/>
                                                                                                        </a:lnTo>
                                                                                                        <a:lnTo>
                                                                                                          <a:pt x="292" y="86"/>
                                                                                                        </a:lnTo>
                                                                                                        <a:lnTo>
                                                                                                          <a:pt x="298" y="78"/>
                                                                                                        </a:lnTo>
                                                                                                        <a:lnTo>
                                                                                                          <a:pt x="300" y="72"/>
                                                                                                        </a:lnTo>
                                                                                                        <a:lnTo>
                                                                                                          <a:pt x="298" y="70"/>
                                                                                                        </a:lnTo>
                                                                                                        <a:lnTo>
                                                                                                          <a:pt x="294" y="70"/>
                                                                                                        </a:lnTo>
                                                                                                        <a:lnTo>
                                                                                                          <a:pt x="294" y="70"/>
                                                                                                        </a:lnTo>
                                                                                                        <a:lnTo>
                                                                                                          <a:pt x="288" y="74"/>
                                                                                                        </a:lnTo>
                                                                                                        <a:lnTo>
                                                                                                          <a:pt x="288" y="74"/>
                                                                                                        </a:lnTo>
                                                                                                        <a:lnTo>
                                                                                                          <a:pt x="282" y="80"/>
                                                                                                        </a:lnTo>
                                                                                                        <a:lnTo>
                                                                                                          <a:pt x="280" y="86"/>
                                                                                                        </a:lnTo>
                                                                                                        <a:lnTo>
                                                                                                          <a:pt x="276" y="92"/>
                                                                                                        </a:lnTo>
                                                                                                        <a:lnTo>
                                                                                                          <a:pt x="270" y="98"/>
                                                                                                        </a:lnTo>
                                                                                                        <a:lnTo>
                                                                                                          <a:pt x="270" y="98"/>
                                                                                                        </a:lnTo>
                                                                                                        <a:lnTo>
                                                                                                          <a:pt x="264" y="102"/>
                                                                                                        </a:lnTo>
                                                                                                        <a:lnTo>
                                                                                                          <a:pt x="262" y="106"/>
                                                                                                        </a:lnTo>
                                                                                                        <a:lnTo>
                                                                                                          <a:pt x="262" y="110"/>
                                                                                                        </a:lnTo>
                                                                                                        <a:lnTo>
                                                                                                          <a:pt x="262" y="112"/>
                                                                                                        </a:lnTo>
                                                                                                        <a:lnTo>
                                                                                                          <a:pt x="262" y="114"/>
                                                                                                        </a:lnTo>
                                                                                                        <a:lnTo>
                                                                                                          <a:pt x="258" y="114"/>
                                                                                                        </a:lnTo>
                                                                                                        <a:lnTo>
                                                                                                          <a:pt x="258" y="114"/>
                                                                                                        </a:lnTo>
                                                                                                        <a:lnTo>
                                                                                                          <a:pt x="254" y="114"/>
                                                                                                        </a:lnTo>
                                                                                                        <a:lnTo>
                                                                                                          <a:pt x="252" y="114"/>
                                                                                                        </a:lnTo>
                                                                                                        <a:lnTo>
                                                                                                          <a:pt x="254" y="110"/>
                                                                                                        </a:lnTo>
                                                                                                        <a:lnTo>
                                                                                                          <a:pt x="256" y="108"/>
                                                                                                        </a:lnTo>
                                                                                                        <a:lnTo>
                                                                                                          <a:pt x="252" y="108"/>
                                                                                                        </a:lnTo>
                                                                                                        <a:lnTo>
                                                                                                          <a:pt x="252" y="108"/>
                                                                                                        </a:lnTo>
                                                                                                        <a:lnTo>
                                                                                                          <a:pt x="234" y="110"/>
                                                                                                        </a:lnTo>
                                                                                                        <a:lnTo>
                                                                                                          <a:pt x="226" y="110"/>
                                                                                                        </a:lnTo>
                                                                                                        <a:lnTo>
                                                                                                          <a:pt x="222" y="108"/>
                                                                                                        </a:lnTo>
                                                                                                        <a:lnTo>
                                                                                                          <a:pt x="218" y="106"/>
                                                                                                        </a:lnTo>
                                                                                                        <a:lnTo>
                                                                                                          <a:pt x="216" y="102"/>
                                                                                                        </a:lnTo>
                                                                                                        <a:lnTo>
                                                                                                          <a:pt x="214" y="90"/>
                                                                                                        </a:lnTo>
                                                                                                        <a:lnTo>
                                                                                                          <a:pt x="204" y="92"/>
                                                                                                        </a:lnTo>
                                                                                                        <a:lnTo>
                                                                                                          <a:pt x="194" y="76"/>
                                                                                                        </a:lnTo>
                                                                                                        <a:lnTo>
                                                                                                          <a:pt x="202" y="76"/>
                                                                                                        </a:lnTo>
                                                                                                        <a:lnTo>
                                                                                                          <a:pt x="198" y="58"/>
                                                                                                        </a:lnTo>
                                                                                                        <a:lnTo>
                                                                                                          <a:pt x="190" y="64"/>
                                                                                                        </a:lnTo>
                                                                                                        <a:lnTo>
                                                                                                          <a:pt x="190" y="64"/>
                                                                                                        </a:lnTo>
                                                                                                        <a:lnTo>
                                                                                                          <a:pt x="178" y="50"/>
                                                                                                        </a:lnTo>
                                                                                                        <a:lnTo>
                                                                                                          <a:pt x="174" y="46"/>
                                                                                                        </a:lnTo>
                                                                                                        <a:lnTo>
                                                                                                          <a:pt x="170" y="44"/>
                                                                                                        </a:lnTo>
                                                                                                        <a:lnTo>
                                                                                                          <a:pt x="166" y="44"/>
                                                                                                        </a:lnTo>
                                                                                                        <a:lnTo>
                                                                                                          <a:pt x="160" y="42"/>
                                                                                                        </a:lnTo>
                                                                                                        <a:lnTo>
                                                                                                          <a:pt x="160" y="42"/>
                                                                                                        </a:lnTo>
                                                                                                        <a:lnTo>
                                                                                                          <a:pt x="156" y="38"/>
                                                                                                        </a:lnTo>
                                                                                                        <a:lnTo>
                                                                                                          <a:pt x="156" y="42"/>
                                                                                                        </a:lnTo>
                                                                                                        <a:lnTo>
                                                                                                          <a:pt x="154" y="46"/>
                                                                                                        </a:lnTo>
                                                                                                        <a:lnTo>
                                                                                                          <a:pt x="152" y="48"/>
                                                                                                        </a:lnTo>
                                                                                                        <a:lnTo>
                                                                                                          <a:pt x="150" y="48"/>
                                                                                                        </a:lnTo>
                                                                                                        <a:lnTo>
                                                                                                          <a:pt x="150" y="48"/>
                                                                                                        </a:lnTo>
                                                                                                        <a:lnTo>
                                                                                                          <a:pt x="104" y="46"/>
                                                                                                        </a:lnTo>
                                                                                                        <a:lnTo>
                                                                                                          <a:pt x="104" y="46"/>
                                                                                                        </a:lnTo>
                                                                                                        <a:lnTo>
                                                                                                          <a:pt x="102" y="46"/>
                                                                                                        </a:lnTo>
                                                                                                        <a:lnTo>
                                                                                                          <a:pt x="98" y="44"/>
                                                                                                        </a:lnTo>
                                                                                                        <a:lnTo>
                                                                                                          <a:pt x="94" y="36"/>
                                                                                                        </a:lnTo>
                                                                                                        <a:lnTo>
                                                                                                          <a:pt x="92" y="30"/>
                                                                                                        </a:lnTo>
                                                                                                        <a:lnTo>
                                                                                                          <a:pt x="92" y="26"/>
                                                                                                        </a:lnTo>
                                                                                                        <a:lnTo>
                                                                                                          <a:pt x="94" y="26"/>
                                                                                                        </a:lnTo>
                                                                                                        <a:lnTo>
                                                                                                          <a:pt x="94" y="26"/>
                                                                                                        </a:lnTo>
                                                                                                        <a:lnTo>
                                                                                                          <a:pt x="90" y="30"/>
                                                                                                        </a:lnTo>
                                                                                                        <a:lnTo>
                                                                                                          <a:pt x="90" y="32"/>
                                                                                                        </a:lnTo>
                                                                                                        <a:lnTo>
                                                                                                          <a:pt x="88" y="34"/>
                                                                                                        </a:lnTo>
                                                                                                        <a:lnTo>
                                                                                                          <a:pt x="86" y="36"/>
                                                                                                        </a:lnTo>
                                                                                                        <a:lnTo>
                                                                                                          <a:pt x="86" y="36"/>
                                                                                                        </a:lnTo>
                                                                                                        <a:lnTo>
                                                                                                          <a:pt x="82" y="38"/>
                                                                                                        </a:lnTo>
                                                                                                        <a:lnTo>
                                                                                                          <a:pt x="78" y="40"/>
                                                                                                        </a:lnTo>
                                                                                                        <a:lnTo>
                                                                                                          <a:pt x="76" y="44"/>
                                                                                                        </a:lnTo>
                                                                                                        <a:lnTo>
                                                                                                          <a:pt x="66" y="46"/>
                                                                                                        </a:lnTo>
                                                                                                        <a:lnTo>
                                                                                                          <a:pt x="66" y="46"/>
                                                                                                        </a:lnTo>
                                                                                                        <a:lnTo>
                                                                                                          <a:pt x="58" y="46"/>
                                                                                                        </a:lnTo>
                                                                                                        <a:lnTo>
                                                                                                          <a:pt x="54" y="46"/>
                                                                                                        </a:lnTo>
                                                                                                        <a:lnTo>
                                                                                                          <a:pt x="52" y="44"/>
                                                                                                        </a:lnTo>
                                                                                                        <a:lnTo>
                                                                                                          <a:pt x="46" y="44"/>
                                                                                                        </a:lnTo>
                                                                                                        <a:lnTo>
                                                                                                          <a:pt x="46" y="44"/>
                                                                                                        </a:lnTo>
                                                                                                        <a:lnTo>
                                                                                                          <a:pt x="40" y="44"/>
                                                                                                        </a:lnTo>
                                                                                                        <a:lnTo>
                                                                                                          <a:pt x="38" y="42"/>
                                                                                                        </a:lnTo>
                                                                                                        <a:lnTo>
                                                                                                          <a:pt x="38" y="40"/>
                                                                                                        </a:lnTo>
                                                                                                        <a:lnTo>
                                                                                                          <a:pt x="34" y="38"/>
                                                                                                        </a:lnTo>
                                                                                                        <a:lnTo>
                                                                                                          <a:pt x="34" y="38"/>
                                                                                                        </a:lnTo>
                                                                                                        <a:lnTo>
                                                                                                          <a:pt x="32" y="36"/>
                                                                                                        </a:lnTo>
                                                                                                        <a:lnTo>
                                                                                                          <a:pt x="30" y="34"/>
                                                                                                        </a:lnTo>
                                                                                                        <a:lnTo>
                                                                                                          <a:pt x="28" y="28"/>
                                                                                                        </a:lnTo>
                                                                                                        <a:lnTo>
                                                                                                          <a:pt x="28" y="22"/>
                                                                                                        </a:lnTo>
                                                                                                        <a:lnTo>
                                                                                                          <a:pt x="30" y="16"/>
                                                                                                        </a:lnTo>
                                                                                                        <a:lnTo>
                                                                                                          <a:pt x="30" y="16"/>
                                                                                                        </a:lnTo>
                                                                                                        <a:lnTo>
                                                                                                          <a:pt x="32" y="14"/>
                                                                                                        </a:lnTo>
                                                                                                        <a:lnTo>
                                                                                                          <a:pt x="32" y="12"/>
                                                                                                        </a:lnTo>
                                                                                                        <a:lnTo>
                                                                                                          <a:pt x="30" y="8"/>
                                                                                                        </a:lnTo>
                                                                                                        <a:lnTo>
                                                                                                          <a:pt x="30" y="0"/>
                                                                                                        </a:lnTo>
                                                                                                        <a:lnTo>
                                                                                                          <a:pt x="30" y="0"/>
                                                                                                        </a:lnTo>
                                                                                                        <a:lnTo>
                                                                                                          <a:pt x="30" y="2"/>
                                                                                                        </a:lnTo>
                                                                                                        <a:lnTo>
                                                                                                          <a:pt x="26" y="4"/>
                                                                                                        </a:lnTo>
                                                                                                        <a:lnTo>
                                                                                                          <a:pt x="14" y="6"/>
                                                                                                        </a:lnTo>
                                                                                                        <a:lnTo>
                                                                                                          <a:pt x="8" y="10"/>
                                                                                                        </a:lnTo>
                                                                                                        <a:lnTo>
                                                                                                          <a:pt x="2" y="12"/>
                                                                                                        </a:lnTo>
                                                                                                        <a:lnTo>
                                                                                                          <a:pt x="0" y="16"/>
                                                                                                        </a:lnTo>
                                                                                                        <a:lnTo>
                                                                                                          <a:pt x="0" y="22"/>
                                                                                                        </a:lnTo>
                                                                                                        <a:lnTo>
                                                                                                          <a:pt x="0" y="22"/>
                                                                                                        </a:lnTo>
                                                                                                        <a:lnTo>
                                                                                                          <a:pt x="22" y="98"/>
                                                                                                        </a:lnTo>
                                                                                                        <a:lnTo>
                                                                                                          <a:pt x="22" y="98"/>
                                                                                                        </a:lnTo>
                                                                                                        <a:close/>
                                                                                                      </a:path>
                                                                                                    </a:pathLst>
                                                                                                  </a:custGeom>
                                                                                                  <a:grpFill/>
                                                                                                  <a:ln w="63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aseline="-25000" dirty="0">
                                                                                                      <a:solidFill>
                                                                                                        <a:schemeClr val="bg1">
                                                                                                          <a:alpha val="99000"/>
                                                                                                        </a:schemeClr>
                                                                                                      </a:solidFill>
                                                                                                    </a:endParaRPr>
                                                                                                  </a:p>
                                                                                                </p:txBody>
                                                                                              </p:sp>
                                                                                              <p:sp>
                                                                                                <p:nvSpPr>
                                                                                                  <p:cNvPr id="558" name="Bolivia"/>
                                                                                                  <p:cNvSpPr>
                                                                                                    <a:spLocks/>
                                                                                                  </p:cNvSpPr>
                                                                                                  <p:nvPr/>
                                                                                                </p:nvSpPr>
                                                                                                <p:spPr bwMode="auto">
                                                                                                  <a:xfrm>
                                                                                                    <a:off x="3558528" y="4081127"/>
                                                                                                    <a:ext cx="419195" cy="491643"/>
                                                                                                  </a:xfrm>
                                                                                                  <a:custGeom>
                                                                                                    <a:avLst/>
                                                                                                    <a:gdLst/>
                                                                                                    <a:ahLst/>
                                                                                                    <a:cxnLst>
                                                                                                      <a:cxn ang="0">
                                                                                                        <a:pos x="14" y="30"/>
                                                                                                      </a:cxn>
                                                                                                      <a:cxn ang="0">
                                                                                                        <a:pos x="28" y="30"/>
                                                                                                      </a:cxn>
                                                                                                      <a:cxn ang="0">
                                                                                                        <a:pos x="42" y="22"/>
                                                                                                      </a:cxn>
                                                                                                      <a:cxn ang="0">
                                                                                                        <a:pos x="52" y="14"/>
                                                                                                      </a:cxn>
                                                                                                      <a:cxn ang="0">
                                                                                                        <a:pos x="76" y="0"/>
                                                                                                      </a:cxn>
                                                                                                      <a:cxn ang="0">
                                                                                                        <a:pos x="92" y="4"/>
                                                                                                      </a:cxn>
                                                                                                      <a:cxn ang="0">
                                                                                                        <a:pos x="102" y="50"/>
                                                                                                      </a:cxn>
                                                                                                      <a:cxn ang="0">
                                                                                                        <a:pos x="112" y="62"/>
                                                                                                      </a:cxn>
                                                                                                      <a:cxn ang="0">
                                                                                                        <a:pos x="130" y="64"/>
                                                                                                      </a:cxn>
                                                                                                      <a:cxn ang="0">
                                                                                                        <a:pos x="148" y="74"/>
                                                                                                      </a:cxn>
                                                                                                      <a:cxn ang="0">
                                                                                                        <a:pos x="158" y="80"/>
                                                                                                      </a:cxn>
                                                                                                      <a:cxn ang="0">
                                                                                                        <a:pos x="178" y="92"/>
                                                                                                      </a:cxn>
                                                                                                      <a:cxn ang="0">
                                                                                                        <a:pos x="194" y="102"/>
                                                                                                      </a:cxn>
                                                                                                      <a:cxn ang="0">
                                                                                                        <a:pos x="206" y="124"/>
                                                                                                      </a:cxn>
                                                                                                      <a:cxn ang="0">
                                                                                                        <a:pos x="206" y="134"/>
                                                                                                      </a:cxn>
                                                                                                      <a:cxn ang="0">
                                                                                                        <a:pos x="208" y="140"/>
                                                                                                      </a:cxn>
                                                                                                      <a:cxn ang="0">
                                                                                                        <a:pos x="252" y="158"/>
                                                                                                      </a:cxn>
                                                                                                      <a:cxn ang="0">
                                                                                                        <a:pos x="248" y="170"/>
                                                                                                      </a:cxn>
                                                                                                      <a:cxn ang="0">
                                                                                                        <a:pos x="254" y="176"/>
                                                                                                      </a:cxn>
                                                                                                      <a:cxn ang="0">
                                                                                                        <a:pos x="272" y="188"/>
                                                                                                      </a:cxn>
                                                                                                      <a:cxn ang="0">
                                                                                                        <a:pos x="276" y="198"/>
                                                                                                      </a:cxn>
                                                                                                      <a:cxn ang="0">
                                                                                                        <a:pos x="274" y="208"/>
                                                                                                      </a:cxn>
                                                                                                      <a:cxn ang="0">
                                                                                                        <a:pos x="272" y="222"/>
                                                                                                      </a:cxn>
                                                                                                      <a:cxn ang="0">
                                                                                                        <a:pos x="272" y="230"/>
                                                                                                      </a:cxn>
                                                                                                      <a:cxn ang="0">
                                                                                                        <a:pos x="250" y="218"/>
                                                                                                      </a:cxn>
                                                                                                      <a:cxn ang="0">
                                                                                                        <a:pos x="196" y="222"/>
                                                                                                      </a:cxn>
                                                                                                      <a:cxn ang="0">
                                                                                                        <a:pos x="188" y="232"/>
                                                                                                      </a:cxn>
                                                                                                      <a:cxn ang="0">
                                                                                                        <a:pos x="180" y="252"/>
                                                                                                      </a:cxn>
                                                                                                      <a:cxn ang="0">
                                                                                                        <a:pos x="184" y="284"/>
                                                                                                      </a:cxn>
                                                                                                      <a:cxn ang="0">
                                                                                                        <a:pos x="186" y="306"/>
                                                                                                      </a:cxn>
                                                                                                      <a:cxn ang="0">
                                                                                                        <a:pos x="168" y="306"/>
                                                                                                      </a:cxn>
                                                                                                      <a:cxn ang="0">
                                                                                                        <a:pos x="152" y="304"/>
                                                                                                      </a:cxn>
                                                                                                      <a:cxn ang="0">
                                                                                                        <a:pos x="150" y="316"/>
                                                                                                      </a:cxn>
                                                                                                      <a:cxn ang="0">
                                                                                                        <a:pos x="148" y="322"/>
                                                                                                      </a:cxn>
                                                                                                      <a:cxn ang="0">
                                                                                                        <a:pos x="138" y="306"/>
                                                                                                      </a:cxn>
                                                                                                      <a:cxn ang="0">
                                                                                                        <a:pos x="118" y="304"/>
                                                                                                      </a:cxn>
                                                                                                      <a:cxn ang="0">
                                                                                                        <a:pos x="114" y="298"/>
                                                                                                      </a:cxn>
                                                                                                      <a:cxn ang="0">
                                                                                                        <a:pos x="106" y="302"/>
                                                                                                      </a:cxn>
                                                                                                      <a:cxn ang="0">
                                                                                                        <a:pos x="94" y="316"/>
                                                                                                      </a:cxn>
                                                                                                      <a:cxn ang="0">
                                                                                                        <a:pos x="90" y="322"/>
                                                                                                      </a:cxn>
                                                                                                      <a:cxn ang="0">
                                                                                                        <a:pos x="74" y="318"/>
                                                                                                      </a:cxn>
                                                                                                      <a:cxn ang="0">
                                                                                                        <a:pos x="58" y="272"/>
                                                                                                      </a:cxn>
                                                                                                      <a:cxn ang="0">
                                                                                                        <a:pos x="52" y="244"/>
                                                                                                      </a:cxn>
                                                                                                      <a:cxn ang="0">
                                                                                                        <a:pos x="36" y="214"/>
                                                                                                      </a:cxn>
                                                                                                      <a:cxn ang="0">
                                                                                                        <a:pos x="22" y="190"/>
                                                                                                      </a:cxn>
                                                                                                      <a:cxn ang="0">
                                                                                                        <a:pos x="22" y="182"/>
                                                                                                      </a:cxn>
                                                                                                      <a:cxn ang="0">
                                                                                                        <a:pos x="30" y="164"/>
                                                                                                      </a:cxn>
                                                                                                      <a:cxn ang="0">
                                                                                                        <a:pos x="30" y="148"/>
                                                                                                      </a:cxn>
                                                                                                      <a:cxn ang="0">
                                                                                                        <a:pos x="28" y="136"/>
                                                                                                      </a:cxn>
                                                                                                      <a:cxn ang="0">
                                                                                                        <a:pos x="22" y="126"/>
                                                                                                      </a:cxn>
                                                                                                      <a:cxn ang="0">
                                                                                                        <a:pos x="24" y="114"/>
                                                                                                      </a:cxn>
                                                                                                      <a:cxn ang="0">
                                                                                                        <a:pos x="20" y="86"/>
                                                                                                      </a:cxn>
                                                                                                      <a:cxn ang="0">
                                                                                                        <a:pos x="24" y="70"/>
                                                                                                      </a:cxn>
                                                                                                      <a:cxn ang="0">
                                                                                                        <a:pos x="0" y="30"/>
                                                                                                      </a:cxn>
                                                                                                    </a:cxnLst>
                                                                                                    <a:rect l="0" t="0" r="r" b="b"/>
                                                                                                    <a:pathLst>
                                                                                                      <a:path w="276" h="324">
                                                                                                        <a:moveTo>
                                                                                                          <a:pt x="0" y="30"/>
                                                                                                        </a:moveTo>
                                                                                                        <a:lnTo>
                                                                                                          <a:pt x="0" y="30"/>
                                                                                                        </a:lnTo>
                                                                                                        <a:lnTo>
                                                                                                          <a:pt x="8" y="30"/>
                                                                                                        </a:lnTo>
                                                                                                        <a:lnTo>
                                                                                                          <a:pt x="14" y="30"/>
                                                                                                        </a:lnTo>
                                                                                                        <a:lnTo>
                                                                                                          <a:pt x="20" y="34"/>
                                                                                                        </a:lnTo>
                                                                                                        <a:lnTo>
                                                                                                          <a:pt x="24" y="34"/>
                                                                                                        </a:lnTo>
                                                                                                        <a:lnTo>
                                                                                                          <a:pt x="28" y="30"/>
                                                                                                        </a:lnTo>
                                                                                                        <a:lnTo>
                                                                                                          <a:pt x="28" y="30"/>
                                                                                                        </a:lnTo>
                                                                                                        <a:lnTo>
                                                                                                          <a:pt x="34" y="28"/>
                                                                                                        </a:lnTo>
                                                                                                        <a:lnTo>
                                                                                                          <a:pt x="38" y="28"/>
                                                                                                        </a:lnTo>
                                                                                                        <a:lnTo>
                                                                                                          <a:pt x="40" y="26"/>
                                                                                                        </a:lnTo>
                                                                                                        <a:lnTo>
                                                                                                          <a:pt x="42" y="22"/>
                                                                                                        </a:lnTo>
                                                                                                        <a:lnTo>
                                                                                                          <a:pt x="42" y="22"/>
                                                                                                        </a:lnTo>
                                                                                                        <a:lnTo>
                                                                                                          <a:pt x="42" y="18"/>
                                                                                                        </a:lnTo>
                                                                                                        <a:lnTo>
                                                                                                          <a:pt x="46" y="16"/>
                                                                                                        </a:lnTo>
                                                                                                        <a:lnTo>
                                                                                                          <a:pt x="52" y="14"/>
                                                                                                        </a:lnTo>
                                                                                                        <a:lnTo>
                                                                                                          <a:pt x="58" y="8"/>
                                                                                                        </a:lnTo>
                                                                                                        <a:lnTo>
                                                                                                          <a:pt x="58" y="8"/>
                                                                                                        </a:lnTo>
                                                                                                        <a:lnTo>
                                                                                                          <a:pt x="64" y="4"/>
                                                                                                        </a:lnTo>
                                                                                                        <a:lnTo>
                                                                                                          <a:pt x="76" y="0"/>
                                                                                                        </a:lnTo>
                                                                                                        <a:lnTo>
                                                                                                          <a:pt x="86" y="0"/>
                                                                                                        </a:lnTo>
                                                                                                        <a:lnTo>
                                                                                                          <a:pt x="90" y="0"/>
                                                                                                        </a:lnTo>
                                                                                                        <a:lnTo>
                                                                                                          <a:pt x="92" y="4"/>
                                                                                                        </a:lnTo>
                                                                                                        <a:lnTo>
                                                                                                          <a:pt x="92" y="4"/>
                                                                                                        </a:lnTo>
                                                                                                        <a:lnTo>
                                                                                                          <a:pt x="92" y="30"/>
                                                                                                        </a:lnTo>
                                                                                                        <a:lnTo>
                                                                                                          <a:pt x="96" y="44"/>
                                                                                                        </a:lnTo>
                                                                                                        <a:lnTo>
                                                                                                          <a:pt x="98" y="48"/>
                                                                                                        </a:lnTo>
                                                                                                        <a:lnTo>
                                                                                                          <a:pt x="102" y="50"/>
                                                                                                        </a:lnTo>
                                                                                                        <a:lnTo>
                                                                                                          <a:pt x="102" y="50"/>
                                                                                                        </a:lnTo>
                                                                                                        <a:lnTo>
                                                                                                          <a:pt x="106" y="54"/>
                                                                                                        </a:lnTo>
                                                                                                        <a:lnTo>
                                                                                                          <a:pt x="108" y="58"/>
                                                                                                        </a:lnTo>
                                                                                                        <a:lnTo>
                                                                                                          <a:pt x="112" y="62"/>
                                                                                                        </a:lnTo>
                                                                                                        <a:lnTo>
                                                                                                          <a:pt x="116" y="64"/>
                                                                                                        </a:lnTo>
                                                                                                        <a:lnTo>
                                                                                                          <a:pt x="124" y="64"/>
                                                                                                        </a:lnTo>
                                                                                                        <a:lnTo>
                                                                                                          <a:pt x="124" y="64"/>
                                                                                                        </a:lnTo>
                                                                                                        <a:lnTo>
                                                                                                          <a:pt x="130" y="64"/>
                                                                                                        </a:lnTo>
                                                                                                        <a:lnTo>
                                                                                                          <a:pt x="134" y="64"/>
                                                                                                        </a:lnTo>
                                                                                                        <a:lnTo>
                                                                                                          <a:pt x="140" y="68"/>
                                                                                                        </a:lnTo>
                                                                                                        <a:lnTo>
                                                                                                          <a:pt x="144" y="72"/>
                                                                                                        </a:lnTo>
                                                                                                        <a:lnTo>
                                                                                                          <a:pt x="148" y="74"/>
                                                                                                        </a:lnTo>
                                                                                                        <a:lnTo>
                                                                                                          <a:pt x="150" y="74"/>
                                                                                                        </a:lnTo>
                                                                                                        <a:lnTo>
                                                                                                          <a:pt x="150" y="74"/>
                                                                                                        </a:lnTo>
                                                                                                        <a:lnTo>
                                                                                                          <a:pt x="156" y="76"/>
                                                                                                        </a:lnTo>
                                                                                                        <a:lnTo>
                                                                                                          <a:pt x="158" y="80"/>
                                                                                                        </a:lnTo>
                                                                                                        <a:lnTo>
                                                                                                          <a:pt x="160" y="84"/>
                                                                                                        </a:lnTo>
                                                                                                        <a:lnTo>
                                                                                                          <a:pt x="170" y="88"/>
                                                                                                        </a:lnTo>
                                                                                                        <a:lnTo>
                                                                                                          <a:pt x="170" y="88"/>
                                                                                                        </a:lnTo>
                                                                                                        <a:lnTo>
                                                                                                          <a:pt x="178" y="92"/>
                                                                                                        </a:lnTo>
                                                                                                        <a:lnTo>
                                                                                                          <a:pt x="180" y="94"/>
                                                                                                        </a:lnTo>
                                                                                                        <a:lnTo>
                                                                                                          <a:pt x="182" y="98"/>
                                                                                                        </a:lnTo>
                                                                                                        <a:lnTo>
                                                                                                          <a:pt x="194" y="102"/>
                                                                                                        </a:lnTo>
                                                                                                        <a:lnTo>
                                                                                                          <a:pt x="194" y="102"/>
                                                                                                        </a:lnTo>
                                                                                                        <a:lnTo>
                                                                                                          <a:pt x="204" y="108"/>
                                                                                                        </a:lnTo>
                                                                                                        <a:lnTo>
                                                                                                          <a:pt x="206" y="112"/>
                                                                                                        </a:lnTo>
                                                                                                        <a:lnTo>
                                                                                                          <a:pt x="206" y="116"/>
                                                                                                        </a:lnTo>
                                                                                                        <a:lnTo>
                                                                                                          <a:pt x="206" y="124"/>
                                                                                                        </a:lnTo>
                                                                                                        <a:lnTo>
                                                                                                          <a:pt x="206" y="124"/>
                                                                                                        </a:lnTo>
                                                                                                        <a:lnTo>
                                                                                                          <a:pt x="208" y="128"/>
                                                                                                        </a:lnTo>
                                                                                                        <a:lnTo>
                                                                                                          <a:pt x="208" y="132"/>
                                                                                                        </a:lnTo>
                                                                                                        <a:lnTo>
                                                                                                          <a:pt x="206" y="134"/>
                                                                                                        </a:lnTo>
                                                                                                        <a:lnTo>
                                                                                                          <a:pt x="208" y="138"/>
                                                                                                        </a:lnTo>
                                                                                                        <a:lnTo>
                                                                                                          <a:pt x="208" y="138"/>
                                                                                                        </a:lnTo>
                                                                                                        <a:lnTo>
                                                                                                          <a:pt x="208" y="140"/>
                                                                                                        </a:lnTo>
                                                                                                        <a:lnTo>
                                                                                                          <a:pt x="208" y="140"/>
                                                                                                        </a:lnTo>
                                                                                                        <a:lnTo>
                                                                                                          <a:pt x="206" y="140"/>
                                                                                                        </a:lnTo>
                                                                                                        <a:lnTo>
                                                                                                          <a:pt x="208" y="144"/>
                                                                                                        </a:lnTo>
                                                                                                        <a:lnTo>
                                                                                                          <a:pt x="218" y="158"/>
                                                                                                        </a:lnTo>
                                                                                                        <a:lnTo>
                                                                                                          <a:pt x="252" y="158"/>
                                                                                                        </a:lnTo>
                                                                                                        <a:lnTo>
                                                                                                          <a:pt x="252" y="158"/>
                                                                                                        </a:lnTo>
                                                                                                        <a:lnTo>
                                                                                                          <a:pt x="252" y="162"/>
                                                                                                        </a:lnTo>
                                                                                                        <a:lnTo>
                                                                                                          <a:pt x="252" y="166"/>
                                                                                                        </a:lnTo>
                                                                                                        <a:lnTo>
                                                                                                          <a:pt x="248" y="170"/>
                                                                                                        </a:lnTo>
                                                                                                        <a:lnTo>
                                                                                                          <a:pt x="248" y="172"/>
                                                                                                        </a:lnTo>
                                                                                                        <a:lnTo>
                                                                                                          <a:pt x="248" y="174"/>
                                                                                                        </a:lnTo>
                                                                                                        <a:lnTo>
                                                                                                          <a:pt x="254" y="176"/>
                                                                                                        </a:lnTo>
                                                                                                        <a:lnTo>
                                                                                                          <a:pt x="254" y="176"/>
                                                                                                        </a:lnTo>
                                                                                                        <a:lnTo>
                                                                                                          <a:pt x="262" y="178"/>
                                                                                                        </a:lnTo>
                                                                                                        <a:lnTo>
                                                                                                          <a:pt x="266" y="180"/>
                                                                                                        </a:lnTo>
                                                                                                        <a:lnTo>
                                                                                                          <a:pt x="268" y="184"/>
                                                                                                        </a:lnTo>
                                                                                                        <a:lnTo>
                                                                                                          <a:pt x="272" y="188"/>
                                                                                                        </a:lnTo>
                                                                                                        <a:lnTo>
                                                                                                          <a:pt x="272" y="188"/>
                                                                                                        </a:lnTo>
                                                                                                        <a:lnTo>
                                                                                                          <a:pt x="274" y="190"/>
                                                                                                        </a:lnTo>
                                                                                                        <a:lnTo>
                                                                                                          <a:pt x="276" y="192"/>
                                                                                                        </a:lnTo>
                                                                                                        <a:lnTo>
                                                                                                          <a:pt x="276" y="198"/>
                                                                                                        </a:lnTo>
                                                                                                        <a:lnTo>
                                                                                                          <a:pt x="272" y="202"/>
                                                                                                        </a:lnTo>
                                                                                                        <a:lnTo>
                                                                                                          <a:pt x="272" y="206"/>
                                                                                                        </a:lnTo>
                                                                                                        <a:lnTo>
                                                                                                          <a:pt x="274" y="208"/>
                                                                                                        </a:lnTo>
                                                                                                        <a:lnTo>
                                                                                                          <a:pt x="274" y="208"/>
                                                                                                        </a:lnTo>
                                                                                                        <a:lnTo>
                                                                                                          <a:pt x="274" y="212"/>
                                                                                                        </a:lnTo>
                                                                                                        <a:lnTo>
                                                                                                          <a:pt x="272" y="216"/>
                                                                                                        </a:lnTo>
                                                                                                        <a:lnTo>
                                                                                                          <a:pt x="272" y="220"/>
                                                                                                        </a:lnTo>
                                                                                                        <a:lnTo>
                                                                                                          <a:pt x="272" y="222"/>
                                                                                                        </a:lnTo>
                                                                                                        <a:lnTo>
                                                                                                          <a:pt x="272" y="222"/>
                                                                                                        </a:lnTo>
                                                                                                        <a:lnTo>
                                                                                                          <a:pt x="276" y="228"/>
                                                                                                        </a:lnTo>
                                                                                                        <a:lnTo>
                                                                                                          <a:pt x="272" y="230"/>
                                                                                                        </a:lnTo>
                                                                                                        <a:lnTo>
                                                                                                          <a:pt x="272" y="230"/>
                                                                                                        </a:lnTo>
                                                                                                        <a:lnTo>
                                                                                                          <a:pt x="264" y="226"/>
                                                                                                        </a:lnTo>
                                                                                                        <a:lnTo>
                                                                                                          <a:pt x="262" y="224"/>
                                                                                                        </a:lnTo>
                                                                                                        <a:lnTo>
                                                                                                          <a:pt x="260" y="222"/>
                                                                                                        </a:lnTo>
                                                                                                        <a:lnTo>
                                                                                                          <a:pt x="250" y="218"/>
                                                                                                        </a:lnTo>
                                                                                                        <a:lnTo>
                                                                                                          <a:pt x="250" y="218"/>
                                                                                                        </a:lnTo>
                                                                                                        <a:lnTo>
                                                                                                          <a:pt x="238" y="216"/>
                                                                                                        </a:lnTo>
                                                                                                        <a:lnTo>
                                                                                                          <a:pt x="226" y="216"/>
                                                                                                        </a:lnTo>
                                                                                                        <a:lnTo>
                                                                                                          <a:pt x="196" y="222"/>
                                                                                                        </a:lnTo>
                                                                                                        <a:lnTo>
                                                                                                          <a:pt x="196" y="222"/>
                                                                                                        </a:lnTo>
                                                                                                        <a:lnTo>
                                                                                                          <a:pt x="192" y="224"/>
                                                                                                        </a:lnTo>
                                                                                                        <a:lnTo>
                                                                                                          <a:pt x="190" y="226"/>
                                                                                                        </a:lnTo>
                                                                                                        <a:lnTo>
                                                                                                          <a:pt x="188" y="232"/>
                                                                                                        </a:lnTo>
                                                                                                        <a:lnTo>
                                                                                                          <a:pt x="186" y="240"/>
                                                                                                        </a:lnTo>
                                                                                                        <a:lnTo>
                                                                                                          <a:pt x="182" y="248"/>
                                                                                                        </a:lnTo>
                                                                                                        <a:lnTo>
                                                                                                          <a:pt x="182" y="248"/>
                                                                                                        </a:lnTo>
                                                                                                        <a:lnTo>
                                                                                                          <a:pt x="180" y="252"/>
                                                                                                        </a:lnTo>
                                                                                                        <a:lnTo>
                                                                                                          <a:pt x="180" y="256"/>
                                                                                                        </a:lnTo>
                                                                                                        <a:lnTo>
                                                                                                          <a:pt x="182" y="264"/>
                                                                                                        </a:lnTo>
                                                                                                        <a:lnTo>
                                                                                                          <a:pt x="184" y="274"/>
                                                                                                        </a:lnTo>
                                                                                                        <a:lnTo>
                                                                                                          <a:pt x="184" y="284"/>
                                                                                                        </a:lnTo>
                                                                                                        <a:lnTo>
                                                                                                          <a:pt x="184" y="284"/>
                                                                                                        </a:lnTo>
                                                                                                        <a:lnTo>
                                                                                                          <a:pt x="184" y="298"/>
                                                                                                        </a:lnTo>
                                                                                                        <a:lnTo>
                                                                                                          <a:pt x="186" y="306"/>
                                                                                                        </a:lnTo>
                                                                                                        <a:lnTo>
                                                                                                          <a:pt x="186" y="306"/>
                                                                                                        </a:lnTo>
                                                                                                        <a:lnTo>
                                                                                                          <a:pt x="182" y="306"/>
                                                                                                        </a:lnTo>
                                                                                                        <a:lnTo>
                                                                                                          <a:pt x="180" y="306"/>
                                                                                                        </a:lnTo>
                                                                                                        <a:lnTo>
                                                                                                          <a:pt x="176" y="304"/>
                                                                                                        </a:lnTo>
                                                                                                        <a:lnTo>
                                                                                                          <a:pt x="168" y="306"/>
                                                                                                        </a:lnTo>
                                                                                                        <a:lnTo>
                                                                                                          <a:pt x="168" y="306"/>
                                                                                                        </a:lnTo>
                                                                                                        <a:lnTo>
                                                                                                          <a:pt x="162" y="306"/>
                                                                                                        </a:lnTo>
                                                                                                        <a:lnTo>
                                                                                                          <a:pt x="156" y="304"/>
                                                                                                        </a:lnTo>
                                                                                                        <a:lnTo>
                                                                                                          <a:pt x="152" y="304"/>
                                                                                                        </a:lnTo>
                                                                                                        <a:lnTo>
                                                                                                          <a:pt x="150" y="306"/>
                                                                                                        </a:lnTo>
                                                                                                        <a:lnTo>
                                                                                                          <a:pt x="150" y="306"/>
                                                                                                        </a:lnTo>
                                                                                                        <a:lnTo>
                                                                                                          <a:pt x="148" y="312"/>
                                                                                                        </a:lnTo>
                                                                                                        <a:lnTo>
                                                                                                          <a:pt x="150" y="316"/>
                                                                                                        </a:lnTo>
                                                                                                        <a:lnTo>
                                                                                                          <a:pt x="150" y="318"/>
                                                                                                        </a:lnTo>
                                                                                                        <a:lnTo>
                                                                                                          <a:pt x="148" y="322"/>
                                                                                                        </a:lnTo>
                                                                                                        <a:lnTo>
                                                                                                          <a:pt x="148" y="322"/>
                                                                                                        </a:lnTo>
                                                                                                        <a:lnTo>
                                                                                                          <a:pt x="148" y="322"/>
                                                                                                        </a:lnTo>
                                                                                                        <a:lnTo>
                                                                                                          <a:pt x="148" y="320"/>
                                                                                                        </a:lnTo>
                                                                                                        <a:lnTo>
                                                                                                          <a:pt x="146" y="314"/>
                                                                                                        </a:lnTo>
                                                                                                        <a:lnTo>
                                                                                                          <a:pt x="142" y="308"/>
                                                                                                        </a:lnTo>
                                                                                                        <a:lnTo>
                                                                                                          <a:pt x="138" y="306"/>
                                                                                                        </a:lnTo>
                                                                                                        <a:lnTo>
                                                                                                          <a:pt x="134" y="304"/>
                                                                                                        </a:lnTo>
                                                                                                        <a:lnTo>
                                                                                                          <a:pt x="134" y="304"/>
                                                                                                        </a:lnTo>
                                                                                                        <a:lnTo>
                                                                                                          <a:pt x="124" y="304"/>
                                                                                                        </a:lnTo>
                                                                                                        <a:lnTo>
                                                                                                          <a:pt x="118" y="304"/>
                                                                                                        </a:lnTo>
                                                                                                        <a:lnTo>
                                                                                                          <a:pt x="118" y="304"/>
                                                                                                        </a:lnTo>
                                                                                                        <a:lnTo>
                                                                                                          <a:pt x="116" y="304"/>
                                                                                                        </a:lnTo>
                                                                                                        <a:lnTo>
                                                                                                          <a:pt x="116" y="302"/>
                                                                                                        </a:lnTo>
                                                                                                        <a:lnTo>
                                                                                                          <a:pt x="114" y="298"/>
                                                                                                        </a:lnTo>
                                                                                                        <a:lnTo>
                                                                                                          <a:pt x="108" y="298"/>
                                                                                                        </a:lnTo>
                                                                                                        <a:lnTo>
                                                                                                          <a:pt x="108" y="298"/>
                                                                                                        </a:lnTo>
                                                                                                        <a:lnTo>
                                                                                                          <a:pt x="108" y="300"/>
                                                                                                        </a:lnTo>
                                                                                                        <a:lnTo>
                                                                                                          <a:pt x="106" y="302"/>
                                                                                                        </a:lnTo>
                                                                                                        <a:lnTo>
                                                                                                          <a:pt x="100" y="308"/>
                                                                                                        </a:lnTo>
                                                                                                        <a:lnTo>
                                                                                                          <a:pt x="96" y="312"/>
                                                                                                        </a:lnTo>
                                                                                                        <a:lnTo>
                                                                                                          <a:pt x="94" y="314"/>
                                                                                                        </a:lnTo>
                                                                                                        <a:lnTo>
                                                                                                          <a:pt x="94" y="316"/>
                                                                                                        </a:lnTo>
                                                                                                        <a:lnTo>
                                                                                                          <a:pt x="94" y="316"/>
                                                                                                        </a:lnTo>
                                                                                                        <a:lnTo>
                                                                                                          <a:pt x="96" y="318"/>
                                                                                                        </a:lnTo>
                                                                                                        <a:lnTo>
                                                                                                          <a:pt x="94" y="318"/>
                                                                                                        </a:lnTo>
                                                                                                        <a:lnTo>
                                                                                                          <a:pt x="90" y="322"/>
                                                                                                        </a:lnTo>
                                                                                                        <a:lnTo>
                                                                                                          <a:pt x="90" y="322"/>
                                                                                                        </a:lnTo>
                                                                                                        <a:lnTo>
                                                                                                          <a:pt x="80" y="324"/>
                                                                                                        </a:lnTo>
                                                                                                        <a:lnTo>
                                                                                                          <a:pt x="76" y="322"/>
                                                                                                        </a:lnTo>
                                                                                                        <a:lnTo>
                                                                                                          <a:pt x="74" y="318"/>
                                                                                                        </a:lnTo>
                                                                                                        <a:lnTo>
                                                                                                          <a:pt x="72" y="312"/>
                                                                                                        </a:lnTo>
                                                                                                        <a:lnTo>
                                                                                                          <a:pt x="70" y="296"/>
                                                                                                        </a:lnTo>
                                                                                                        <a:lnTo>
                                                                                                          <a:pt x="66" y="284"/>
                                                                                                        </a:lnTo>
                                                                                                        <a:lnTo>
                                                                                                          <a:pt x="58" y="272"/>
                                                                                                        </a:lnTo>
                                                                                                        <a:lnTo>
                                                                                                          <a:pt x="58" y="272"/>
                                                                                                        </a:lnTo>
                                                                                                        <a:lnTo>
                                                                                                          <a:pt x="54" y="262"/>
                                                                                                        </a:lnTo>
                                                                                                        <a:lnTo>
                                                                                                          <a:pt x="52" y="252"/>
                                                                                                        </a:lnTo>
                                                                                                        <a:lnTo>
                                                                                                          <a:pt x="52" y="244"/>
                                                                                                        </a:lnTo>
                                                                                                        <a:lnTo>
                                                                                                          <a:pt x="48" y="236"/>
                                                                                                        </a:lnTo>
                                                                                                        <a:lnTo>
                                                                                                          <a:pt x="48" y="236"/>
                                                                                                        </a:lnTo>
                                                                                                        <a:lnTo>
                                                                                                          <a:pt x="40" y="222"/>
                                                                                                        </a:lnTo>
                                                                                                        <a:lnTo>
                                                                                                          <a:pt x="36" y="214"/>
                                                                                                        </a:lnTo>
                                                                                                        <a:lnTo>
                                                                                                          <a:pt x="30" y="208"/>
                                                                                                        </a:lnTo>
                                                                                                        <a:lnTo>
                                                                                                          <a:pt x="20" y="198"/>
                                                                                                        </a:lnTo>
                                                                                                        <a:lnTo>
                                                                                                          <a:pt x="20" y="198"/>
                                                                                                        </a:lnTo>
                                                                                                        <a:lnTo>
                                                                                                          <a:pt x="22" y="190"/>
                                                                                                        </a:lnTo>
                                                                                                        <a:lnTo>
                                                                                                          <a:pt x="22" y="188"/>
                                                                                                        </a:lnTo>
                                                                                                        <a:lnTo>
                                                                                                          <a:pt x="20" y="186"/>
                                                                                                        </a:lnTo>
                                                                                                        <a:lnTo>
                                                                                                          <a:pt x="22" y="182"/>
                                                                                                        </a:lnTo>
                                                                                                        <a:lnTo>
                                                                                                          <a:pt x="22" y="182"/>
                                                                                                        </a:lnTo>
                                                                                                        <a:lnTo>
                                                                                                          <a:pt x="26" y="176"/>
                                                                                                        </a:lnTo>
                                                                                                        <a:lnTo>
                                                                                                          <a:pt x="26" y="174"/>
                                                                                                        </a:lnTo>
                                                                                                        <a:lnTo>
                                                                                                          <a:pt x="26" y="170"/>
                                                                                                        </a:lnTo>
                                                                                                        <a:lnTo>
                                                                                                          <a:pt x="30" y="164"/>
                                                                                                        </a:lnTo>
                                                                                                        <a:lnTo>
                                                                                                          <a:pt x="30" y="164"/>
                                                                                                        </a:lnTo>
                                                                                                        <a:lnTo>
                                                                                                          <a:pt x="32" y="158"/>
                                                                                                        </a:lnTo>
                                                                                                        <a:lnTo>
                                                                                                          <a:pt x="32" y="154"/>
                                                                                                        </a:lnTo>
                                                                                                        <a:lnTo>
                                                                                                          <a:pt x="30" y="148"/>
                                                                                                        </a:lnTo>
                                                                                                        <a:lnTo>
                                                                                                          <a:pt x="26" y="142"/>
                                                                                                        </a:lnTo>
                                                                                                        <a:lnTo>
                                                                                                          <a:pt x="26" y="140"/>
                                                                                                        </a:lnTo>
                                                                                                        <a:lnTo>
                                                                                                          <a:pt x="28" y="136"/>
                                                                                                        </a:lnTo>
                                                                                                        <a:lnTo>
                                                                                                          <a:pt x="28" y="136"/>
                                                                                                        </a:lnTo>
                                                                                                        <a:lnTo>
                                                                                                          <a:pt x="28" y="134"/>
                                                                                                        </a:lnTo>
                                                                                                        <a:lnTo>
                                                                                                          <a:pt x="28" y="132"/>
                                                                                                        </a:lnTo>
                                                                                                        <a:lnTo>
                                                                                                          <a:pt x="24" y="128"/>
                                                                                                        </a:lnTo>
                                                                                                        <a:lnTo>
                                                                                                          <a:pt x="22" y="126"/>
                                                                                                        </a:lnTo>
                                                                                                        <a:lnTo>
                                                                                                          <a:pt x="20" y="124"/>
                                                                                                        </a:lnTo>
                                                                                                        <a:lnTo>
                                                                                                          <a:pt x="20" y="120"/>
                                                                                                        </a:lnTo>
                                                                                                        <a:lnTo>
                                                                                                          <a:pt x="24" y="114"/>
                                                                                                        </a:lnTo>
                                                                                                        <a:lnTo>
                                                                                                          <a:pt x="24" y="114"/>
                                                                                                        </a:lnTo>
                                                                                                        <a:lnTo>
                                                                                                          <a:pt x="24" y="110"/>
                                                                                                        </a:lnTo>
                                                                                                        <a:lnTo>
                                                                                                          <a:pt x="24" y="106"/>
                                                                                                        </a:lnTo>
                                                                                                        <a:lnTo>
                                                                                                          <a:pt x="22" y="96"/>
                                                                                                        </a:lnTo>
                                                                                                        <a:lnTo>
                                                                                                          <a:pt x="20" y="86"/>
                                                                                                        </a:lnTo>
                                                                                                        <a:lnTo>
                                                                                                          <a:pt x="20" y="80"/>
                                                                                                        </a:lnTo>
                                                                                                        <a:lnTo>
                                                                                                          <a:pt x="22" y="76"/>
                                                                                                        </a:lnTo>
                                                                                                        <a:lnTo>
                                                                                                          <a:pt x="22" y="76"/>
                                                                                                        </a:lnTo>
                                                                                                        <a:lnTo>
                                                                                                          <a:pt x="24" y="70"/>
                                                                                                        </a:lnTo>
                                                                                                        <a:lnTo>
                                                                                                          <a:pt x="26" y="68"/>
                                                                                                        </a:lnTo>
                                                                                                        <a:lnTo>
                                                                                                          <a:pt x="22" y="58"/>
                                                                                                        </a:lnTo>
                                                                                                        <a:lnTo>
                                                                                                          <a:pt x="12" y="48"/>
                                                                                                        </a:lnTo>
                                                                                                        <a:lnTo>
                                                                                                          <a:pt x="0" y="30"/>
                                                                                                        </a:lnTo>
                                                                                                        <a:lnTo>
                                                                                                          <a:pt x="0" y="30"/>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baseline="-25000" dirty="0">
                                                                                                      <a:solidFill>
                                                                                                        <a:schemeClr val="tx1"/>
                                                                                                      </a:solidFill>
                                                                                                    </a:endParaRPr>
                                                                                                  </a:p>
                                                                                                </p:txBody>
                                                                                              </p:sp>
                                                                                              <p:sp>
                                                                                                <p:nvSpPr>
                                                                                                  <p:cNvPr id="567" name="Dominican Republic"/>
                                                                                                  <p:cNvSpPr>
                                                                                                    <a:spLocks/>
                                                                                                  </p:cNvSpPr>
                                                                                                  <p:nvPr/>
                                                                                                </p:nvSpPr>
                                                                                                <p:spPr bwMode="auto">
                                                                                                  <a:xfrm>
                                                                                                    <a:off x="3515344" y="2911410"/>
                                                                                                    <a:ext cx="121505" cy="84975"/>
                                                                                                  </a:xfrm>
                                                                                                  <a:custGeom>
                                                                                                    <a:avLst/>
                                                                                                    <a:gdLst/>
                                                                                                    <a:ahLst/>
                                                                                                    <a:cxnLst>
                                                                                                      <a:cxn ang="0">
                                                                                                        <a:pos x="4" y="46"/>
                                                                                                      </a:cxn>
                                                                                                      <a:cxn ang="0">
                                                                                                        <a:pos x="4" y="48"/>
                                                                                                      </a:cxn>
                                                                                                      <a:cxn ang="0">
                                                                                                        <a:pos x="2" y="54"/>
                                                                                                      </a:cxn>
                                                                                                      <a:cxn ang="0">
                                                                                                        <a:pos x="4" y="54"/>
                                                                                                      </a:cxn>
                                                                                                      <a:cxn ang="0">
                                                                                                        <a:pos x="10" y="54"/>
                                                                                                      </a:cxn>
                                                                                                      <a:cxn ang="0">
                                                                                                        <a:pos x="10" y="54"/>
                                                                                                      </a:cxn>
                                                                                                      <a:cxn ang="0">
                                                                                                        <a:pos x="12" y="56"/>
                                                                                                      </a:cxn>
                                                                                                      <a:cxn ang="0">
                                                                                                        <a:pos x="16" y="52"/>
                                                                                                      </a:cxn>
                                                                                                      <a:cxn ang="0">
                                                                                                        <a:pos x="22" y="48"/>
                                                                                                      </a:cxn>
                                                                                                      <a:cxn ang="0">
                                                                                                        <a:pos x="26" y="46"/>
                                                                                                      </a:cxn>
                                                                                                      <a:cxn ang="0">
                                                                                                        <a:pos x="24" y="42"/>
                                                                                                      </a:cxn>
                                                                                                      <a:cxn ang="0">
                                                                                                        <a:pos x="24" y="42"/>
                                                                                                      </a:cxn>
                                                                                                      <a:cxn ang="0">
                                                                                                        <a:pos x="28" y="42"/>
                                                                                                      </a:cxn>
                                                                                                      <a:cxn ang="0">
                                                                                                        <a:pos x="30" y="40"/>
                                                                                                      </a:cxn>
                                                                                                      <a:cxn ang="0">
                                                                                                        <a:pos x="32" y="40"/>
                                                                                                      </a:cxn>
                                                                                                      <a:cxn ang="0">
                                                                                                        <a:pos x="34" y="42"/>
                                                                                                      </a:cxn>
                                                                                                      <a:cxn ang="0">
                                                                                                        <a:pos x="38" y="42"/>
                                                                                                      </a:cxn>
                                                                                                      <a:cxn ang="0">
                                                                                                        <a:pos x="40" y="40"/>
                                                                                                      </a:cxn>
                                                                                                      <a:cxn ang="0">
                                                                                                        <a:pos x="42" y="38"/>
                                                                                                      </a:cxn>
                                                                                                      <a:cxn ang="0">
                                                                                                        <a:pos x="48" y="40"/>
                                                                                                      </a:cxn>
                                                                                                      <a:cxn ang="0">
                                                                                                        <a:pos x="52" y="38"/>
                                                                                                      </a:cxn>
                                                                                                      <a:cxn ang="0">
                                                                                                        <a:pos x="56" y="36"/>
                                                                                                      </a:cxn>
                                                                                                      <a:cxn ang="0">
                                                                                                        <a:pos x="66" y="44"/>
                                                                                                      </a:cxn>
                                                                                                      <a:cxn ang="0">
                                                                                                        <a:pos x="68" y="46"/>
                                                                                                      </a:cxn>
                                                                                                      <a:cxn ang="0">
                                                                                                        <a:pos x="70" y="42"/>
                                                                                                      </a:cxn>
                                                                                                      <a:cxn ang="0">
                                                                                                        <a:pos x="72" y="40"/>
                                                                                                      </a:cxn>
                                                                                                      <a:cxn ang="0">
                                                                                                        <a:pos x="74" y="40"/>
                                                                                                      </a:cxn>
                                                                                                      <a:cxn ang="0">
                                                                                                        <a:pos x="80" y="36"/>
                                                                                                      </a:cxn>
                                                                                                      <a:cxn ang="0">
                                                                                                        <a:pos x="78" y="32"/>
                                                                                                      </a:cxn>
                                                                                                      <a:cxn ang="0">
                                                                                                        <a:pos x="68" y="24"/>
                                                                                                      </a:cxn>
                                                                                                      <a:cxn ang="0">
                                                                                                        <a:pos x="60" y="20"/>
                                                                                                      </a:cxn>
                                                                                                      <a:cxn ang="0">
                                                                                                        <a:pos x="52" y="20"/>
                                                                                                      </a:cxn>
                                                                                                      <a:cxn ang="0">
                                                                                                        <a:pos x="46" y="18"/>
                                                                                                      </a:cxn>
                                                                                                      <a:cxn ang="0">
                                                                                                        <a:pos x="52" y="16"/>
                                                                                                      </a:cxn>
                                                                                                      <a:cxn ang="0">
                                                                                                        <a:pos x="56" y="16"/>
                                                                                                      </a:cxn>
                                                                                                      <a:cxn ang="0">
                                                                                                        <a:pos x="60" y="14"/>
                                                                                                      </a:cxn>
                                                                                                      <a:cxn ang="0">
                                                                                                        <a:pos x="58" y="14"/>
                                                                                                      </a:cxn>
                                                                                                      <a:cxn ang="0">
                                                                                                        <a:pos x="48" y="12"/>
                                                                                                      </a:cxn>
                                                                                                      <a:cxn ang="0">
                                                                                                        <a:pos x="48" y="10"/>
                                                                                                      </a:cxn>
                                                                                                      <a:cxn ang="0">
                                                                                                        <a:pos x="46" y="6"/>
                                                                                                      </a:cxn>
                                                                                                      <a:cxn ang="0">
                                                                                                        <a:pos x="42" y="6"/>
                                                                                                      </a:cxn>
                                                                                                      <a:cxn ang="0">
                                                                                                        <a:pos x="38" y="6"/>
                                                                                                      </a:cxn>
                                                                                                      <a:cxn ang="0">
                                                                                                        <a:pos x="32" y="4"/>
                                                                                                      </a:cxn>
                                                                                                      <a:cxn ang="0">
                                                                                                        <a:pos x="28" y="2"/>
                                                                                                      </a:cxn>
                                                                                                      <a:cxn ang="0">
                                                                                                        <a:pos x="24" y="0"/>
                                                                                                      </a:cxn>
                                                                                                      <a:cxn ang="0">
                                                                                                        <a:pos x="20" y="2"/>
                                                                                                      </a:cxn>
                                                                                                      <a:cxn ang="0">
                                                                                                        <a:pos x="14" y="0"/>
                                                                                                      </a:cxn>
                                                                                                      <a:cxn ang="0">
                                                                                                        <a:pos x="12" y="2"/>
                                                                                                      </a:cxn>
                                                                                                      <a:cxn ang="0">
                                                                                                        <a:pos x="8" y="4"/>
                                                                                                      </a:cxn>
                                                                                                      <a:cxn ang="0">
                                                                                                        <a:pos x="8" y="12"/>
                                                                                                      </a:cxn>
                                                                                                      <a:cxn ang="0">
                                                                                                        <a:pos x="8" y="14"/>
                                                                                                      </a:cxn>
                                                                                                      <a:cxn ang="0">
                                                                                                        <a:pos x="10" y="18"/>
                                                                                                      </a:cxn>
                                                                                                      <a:cxn ang="0">
                                                                                                        <a:pos x="8" y="20"/>
                                                                                                      </a:cxn>
                                                                                                      <a:cxn ang="0">
                                                                                                        <a:pos x="6" y="24"/>
                                                                                                      </a:cxn>
                                                                                                      <a:cxn ang="0">
                                                                                                        <a:pos x="8" y="32"/>
                                                                                                      </a:cxn>
                                                                                                      <a:cxn ang="0">
                                                                                                        <a:pos x="4" y="36"/>
                                                                                                      </a:cxn>
                                                                                                      <a:cxn ang="0">
                                                                                                        <a:pos x="2" y="38"/>
                                                                                                      </a:cxn>
                                                                                                      <a:cxn ang="0">
                                                                                                        <a:pos x="4" y="46"/>
                                                                                                      </a:cxn>
                                                                                                    </a:cxnLst>
                                                                                                    <a:rect l="0" t="0" r="r" b="b"/>
                                                                                                    <a:pathLst>
                                                                                                      <a:path w="80" h="56">
                                                                                                        <a:moveTo>
                                                                                                          <a:pt x="4" y="46"/>
                                                                                                        </a:moveTo>
                                                                                                        <a:lnTo>
                                                                                                          <a:pt x="4" y="46"/>
                                                                                                        </a:lnTo>
                                                                                                        <a:lnTo>
                                                                                                          <a:pt x="4" y="48"/>
                                                                                                        </a:lnTo>
                                                                                                        <a:lnTo>
                                                                                                          <a:pt x="4" y="48"/>
                                                                                                        </a:lnTo>
                                                                                                        <a:lnTo>
                                                                                                          <a:pt x="4" y="52"/>
                                                                                                        </a:lnTo>
                                                                                                        <a:lnTo>
                                                                                                          <a:pt x="2" y="54"/>
                                                                                                        </a:lnTo>
                                                                                                        <a:lnTo>
                                                                                                          <a:pt x="4" y="54"/>
                                                                                                        </a:lnTo>
                                                                                                        <a:lnTo>
                                                                                                          <a:pt x="4" y="54"/>
                                                                                                        </a:lnTo>
                                                                                                        <a:lnTo>
                                                                                                          <a:pt x="8" y="54"/>
                                                                                                        </a:lnTo>
                                                                                                        <a:lnTo>
                                                                                                          <a:pt x="10" y="54"/>
                                                                                                        </a:lnTo>
                                                                                                        <a:lnTo>
                                                                                                          <a:pt x="10" y="54"/>
                                                                                                        </a:lnTo>
                                                                                                        <a:lnTo>
                                                                                                          <a:pt x="10" y="54"/>
                                                                                                        </a:lnTo>
                                                                                                        <a:lnTo>
                                                                                                          <a:pt x="10" y="56"/>
                                                                                                        </a:lnTo>
                                                                                                        <a:lnTo>
                                                                                                          <a:pt x="12" y="56"/>
                                                                                                        </a:lnTo>
                                                                                                        <a:lnTo>
                                                                                                          <a:pt x="16" y="52"/>
                                                                                                        </a:lnTo>
                                                                                                        <a:lnTo>
                                                                                                          <a:pt x="16" y="52"/>
                                                                                                        </a:lnTo>
                                                                                                        <a:lnTo>
                                                                                                          <a:pt x="18" y="50"/>
                                                                                                        </a:lnTo>
                                                                                                        <a:lnTo>
                                                                                                          <a:pt x="22" y="48"/>
                                                                                                        </a:lnTo>
                                                                                                        <a:lnTo>
                                                                                                          <a:pt x="22" y="48"/>
                                                                                                        </a:lnTo>
                                                                                                        <a:lnTo>
                                                                                                          <a:pt x="26" y="46"/>
                                                                                                        </a:lnTo>
                                                                                                        <a:lnTo>
                                                                                                          <a:pt x="26" y="44"/>
                                                                                                        </a:lnTo>
                                                                                                        <a:lnTo>
                                                                                                          <a:pt x="24" y="42"/>
                                                                                                        </a:lnTo>
                                                                                                        <a:lnTo>
                                                                                                          <a:pt x="24" y="42"/>
                                                                                                        </a:lnTo>
                                                                                                        <a:lnTo>
                                                                                                          <a:pt x="24" y="42"/>
                                                                                                        </a:lnTo>
                                                                                                        <a:lnTo>
                                                                                                          <a:pt x="26" y="42"/>
                                                                                                        </a:lnTo>
                                                                                                        <a:lnTo>
                                                                                                          <a:pt x="28" y="42"/>
                                                                                                        </a:lnTo>
                                                                                                        <a:lnTo>
                                                                                                          <a:pt x="30" y="40"/>
                                                                                                        </a:lnTo>
                                                                                                        <a:lnTo>
                                                                                                          <a:pt x="30" y="40"/>
                                                                                                        </a:lnTo>
                                                                                                        <a:lnTo>
                                                                                                          <a:pt x="30" y="40"/>
                                                                                                        </a:lnTo>
                                                                                                        <a:lnTo>
                                                                                                          <a:pt x="32" y="40"/>
                                                                                                        </a:lnTo>
                                                                                                        <a:lnTo>
                                                                                                          <a:pt x="32" y="42"/>
                                                                                                        </a:lnTo>
                                                                                                        <a:lnTo>
                                                                                                          <a:pt x="34" y="42"/>
                                                                                                        </a:lnTo>
                                                                                                        <a:lnTo>
                                                                                                          <a:pt x="34" y="42"/>
                                                                                                        </a:lnTo>
                                                                                                        <a:lnTo>
                                                                                                          <a:pt x="38" y="42"/>
                                                                                                        </a:lnTo>
                                                                                                        <a:lnTo>
                                                                                                          <a:pt x="40" y="42"/>
                                                                                                        </a:lnTo>
                                                                                                        <a:lnTo>
                                                                                                          <a:pt x="40" y="40"/>
                                                                                                        </a:lnTo>
                                                                                                        <a:lnTo>
                                                                                                          <a:pt x="40" y="40"/>
                                                                                                        </a:lnTo>
                                                                                                        <a:lnTo>
                                                                                                          <a:pt x="42" y="38"/>
                                                                                                        </a:lnTo>
                                                                                                        <a:lnTo>
                                                                                                          <a:pt x="44" y="38"/>
                                                                                                        </a:lnTo>
                                                                                                        <a:lnTo>
                                                                                                          <a:pt x="48" y="40"/>
                                                                                                        </a:lnTo>
                                                                                                        <a:lnTo>
                                                                                                          <a:pt x="48" y="40"/>
                                                                                                        </a:lnTo>
                                                                                                        <a:lnTo>
                                                                                                          <a:pt x="52" y="38"/>
                                                                                                        </a:lnTo>
                                                                                                        <a:lnTo>
                                                                                                          <a:pt x="56" y="36"/>
                                                                                                        </a:lnTo>
                                                                                                        <a:lnTo>
                                                                                                          <a:pt x="56" y="36"/>
                                                                                                        </a:lnTo>
                                                                                                        <a:lnTo>
                                                                                                          <a:pt x="62" y="40"/>
                                                                                                        </a:lnTo>
                                                                                                        <a:lnTo>
                                                                                                          <a:pt x="66" y="44"/>
                                                                                                        </a:lnTo>
                                                                                                        <a:lnTo>
                                                                                                          <a:pt x="66" y="44"/>
                                                                                                        </a:lnTo>
                                                                                                        <a:lnTo>
                                                                                                          <a:pt x="68" y="46"/>
                                                                                                        </a:lnTo>
                                                                                                        <a:lnTo>
                                                                                                          <a:pt x="68" y="44"/>
                                                                                                        </a:lnTo>
                                                                                                        <a:lnTo>
                                                                                                          <a:pt x="70" y="42"/>
                                                                                                        </a:lnTo>
                                                                                                        <a:lnTo>
                                                                                                          <a:pt x="70" y="42"/>
                                                                                                        </a:lnTo>
                                                                                                        <a:lnTo>
                                                                                                          <a:pt x="72" y="40"/>
                                                                                                        </a:lnTo>
                                                                                                        <a:lnTo>
                                                                                                          <a:pt x="74" y="40"/>
                                                                                                        </a:lnTo>
                                                                                                        <a:lnTo>
                                                                                                          <a:pt x="74" y="40"/>
                                                                                                        </a:lnTo>
                                                                                                        <a:lnTo>
                                                                                                          <a:pt x="78" y="40"/>
                                                                                                        </a:lnTo>
                                                                                                        <a:lnTo>
                                                                                                          <a:pt x="80" y="36"/>
                                                                                                        </a:lnTo>
                                                                                                        <a:lnTo>
                                                                                                          <a:pt x="80" y="34"/>
                                                                                                        </a:lnTo>
                                                                                                        <a:lnTo>
                                                                                                          <a:pt x="78" y="32"/>
                                                                                                        </a:lnTo>
                                                                                                        <a:lnTo>
                                                                                                          <a:pt x="78" y="32"/>
                                                                                                        </a:lnTo>
                                                                                                        <a:lnTo>
                                                                                                          <a:pt x="68" y="24"/>
                                                                                                        </a:lnTo>
                                                                                                        <a:lnTo>
                                                                                                          <a:pt x="68" y="24"/>
                                                                                                        </a:lnTo>
                                                                                                        <a:lnTo>
                                                                                                          <a:pt x="60" y="20"/>
                                                                                                        </a:lnTo>
                                                                                                        <a:lnTo>
                                                                                                          <a:pt x="52" y="20"/>
                                                                                                        </a:lnTo>
                                                                                                        <a:lnTo>
                                                                                                          <a:pt x="52" y="20"/>
                                                                                                        </a:lnTo>
                                                                                                        <a:lnTo>
                                                                                                          <a:pt x="50" y="18"/>
                                                                                                        </a:lnTo>
                                                                                                        <a:lnTo>
                                                                                                          <a:pt x="46" y="18"/>
                                                                                                        </a:lnTo>
                                                                                                        <a:lnTo>
                                                                                                          <a:pt x="46" y="18"/>
                                                                                                        </a:lnTo>
                                                                                                        <a:lnTo>
                                                                                                          <a:pt x="52" y="16"/>
                                                                                                        </a:lnTo>
                                                                                                        <a:lnTo>
                                                                                                          <a:pt x="56" y="16"/>
                                                                                                        </a:lnTo>
                                                                                                        <a:lnTo>
                                                                                                          <a:pt x="56" y="16"/>
                                                                                                        </a:lnTo>
                                                                                                        <a:lnTo>
                                                                                                          <a:pt x="58" y="16"/>
                                                                                                        </a:lnTo>
                                                                                                        <a:lnTo>
                                                                                                          <a:pt x="60" y="14"/>
                                                                                                        </a:lnTo>
                                                                                                        <a:lnTo>
                                                                                                          <a:pt x="58" y="14"/>
                                                                                                        </a:lnTo>
                                                                                                        <a:lnTo>
                                                                                                          <a:pt x="58" y="14"/>
                                                                                                        </a:lnTo>
                                                                                                        <a:lnTo>
                                                                                                          <a:pt x="52" y="12"/>
                                                                                                        </a:lnTo>
                                                                                                        <a:lnTo>
                                                                                                          <a:pt x="48" y="12"/>
                                                                                                        </a:lnTo>
                                                                                                        <a:lnTo>
                                                                                                          <a:pt x="48" y="12"/>
                                                                                                        </a:lnTo>
                                                                                                        <a:lnTo>
                                                                                                          <a:pt x="48" y="10"/>
                                                                                                        </a:lnTo>
                                                                                                        <a:lnTo>
                                                                                                          <a:pt x="48" y="8"/>
                                                                                                        </a:lnTo>
                                                                                                        <a:lnTo>
                                                                                                          <a:pt x="46" y="6"/>
                                                                                                        </a:lnTo>
                                                                                                        <a:lnTo>
                                                                                                          <a:pt x="46" y="6"/>
                                                                                                        </a:lnTo>
                                                                                                        <a:lnTo>
                                                                                                          <a:pt x="42" y="6"/>
                                                                                                        </a:lnTo>
                                                                                                        <a:lnTo>
                                                                                                          <a:pt x="38" y="6"/>
                                                                                                        </a:lnTo>
                                                                                                        <a:lnTo>
                                                                                                          <a:pt x="38" y="6"/>
                                                                                                        </a:lnTo>
                                                                                                        <a:lnTo>
                                                                                                          <a:pt x="34" y="4"/>
                                                                                                        </a:lnTo>
                                                                                                        <a:lnTo>
                                                                                                          <a:pt x="32" y="4"/>
                                                                                                        </a:lnTo>
                                                                                                        <a:lnTo>
                                                                                                          <a:pt x="32" y="4"/>
                                                                                                        </a:lnTo>
                                                                                                        <a:lnTo>
                                                                                                          <a:pt x="28" y="2"/>
                                                                                                        </a:lnTo>
                                                                                                        <a:lnTo>
                                                                                                          <a:pt x="26" y="0"/>
                                                                                                        </a:lnTo>
                                                                                                        <a:lnTo>
                                                                                                          <a:pt x="24" y="0"/>
                                                                                                        </a:lnTo>
                                                                                                        <a:lnTo>
                                                                                                          <a:pt x="24" y="0"/>
                                                                                                        </a:lnTo>
                                                                                                        <a:lnTo>
                                                                                                          <a:pt x="20" y="2"/>
                                                                                                        </a:lnTo>
                                                                                                        <a:lnTo>
                                                                                                          <a:pt x="18" y="0"/>
                                                                                                        </a:lnTo>
                                                                                                        <a:lnTo>
                                                                                                          <a:pt x="14" y="0"/>
                                                                                                        </a:lnTo>
                                                                                                        <a:lnTo>
                                                                                                          <a:pt x="12" y="2"/>
                                                                                                        </a:lnTo>
                                                                                                        <a:lnTo>
                                                                                                          <a:pt x="12" y="2"/>
                                                                                                        </a:lnTo>
                                                                                                        <a:lnTo>
                                                                                                          <a:pt x="8" y="4"/>
                                                                                                        </a:lnTo>
                                                                                                        <a:lnTo>
                                                                                                          <a:pt x="8" y="4"/>
                                                                                                        </a:lnTo>
                                                                                                        <a:lnTo>
                                                                                                          <a:pt x="10" y="8"/>
                                                                                                        </a:lnTo>
                                                                                                        <a:lnTo>
                                                                                                          <a:pt x="8" y="12"/>
                                                                                                        </a:lnTo>
                                                                                                        <a:lnTo>
                                                                                                          <a:pt x="8" y="12"/>
                                                                                                        </a:lnTo>
                                                                                                        <a:lnTo>
                                                                                                          <a:pt x="8" y="14"/>
                                                                                                        </a:lnTo>
                                                                                                        <a:lnTo>
                                                                                                          <a:pt x="8" y="16"/>
                                                                                                        </a:lnTo>
                                                                                                        <a:lnTo>
                                                                                                          <a:pt x="10" y="18"/>
                                                                                                        </a:lnTo>
                                                                                                        <a:lnTo>
                                                                                                          <a:pt x="8" y="20"/>
                                                                                                        </a:lnTo>
                                                                                                        <a:lnTo>
                                                                                                          <a:pt x="8" y="20"/>
                                                                                                        </a:lnTo>
                                                                                                        <a:lnTo>
                                                                                                          <a:pt x="6" y="22"/>
                                                                                                        </a:lnTo>
                                                                                                        <a:lnTo>
                                                                                                          <a:pt x="6" y="24"/>
                                                                                                        </a:lnTo>
                                                                                                        <a:lnTo>
                                                                                                          <a:pt x="8" y="28"/>
                                                                                                        </a:lnTo>
                                                                                                        <a:lnTo>
                                                                                                          <a:pt x="8" y="32"/>
                                                                                                        </a:lnTo>
                                                                                                        <a:lnTo>
                                                                                                          <a:pt x="4" y="36"/>
                                                                                                        </a:lnTo>
                                                                                                        <a:lnTo>
                                                                                                          <a:pt x="4" y="36"/>
                                                                                                        </a:lnTo>
                                                                                                        <a:lnTo>
                                                                                                          <a:pt x="0" y="36"/>
                                                                                                        </a:lnTo>
                                                                                                        <a:lnTo>
                                                                                                          <a:pt x="2" y="38"/>
                                                                                                        </a:lnTo>
                                                                                                        <a:lnTo>
                                                                                                          <a:pt x="4" y="42"/>
                                                                                                        </a:lnTo>
                                                                                                        <a:lnTo>
                                                                                                          <a:pt x="4" y="46"/>
                                                                                                        </a:lnTo>
                                                                                                        <a:lnTo>
                                                                                                          <a:pt x="4" y="46"/>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baseline="-25000" dirty="0">
                                                                                                      <a:solidFill>
                                                                                                        <a:schemeClr val="tx1"/>
                                                                                                      </a:solidFill>
                                                                                                    </a:endParaRPr>
                                                                                                  </a:p>
                                                                                                </p:txBody>
                                                                                              </p:sp>
                                                                                              <p:sp>
                                                                                                <p:nvSpPr>
                                                                                                  <p:cNvPr id="568" name="Ecuador"/>
                                                                                                  <p:cNvSpPr>
                                                                                                    <a:spLocks/>
                                                                                                  </p:cNvSpPr>
                                                                                                  <p:nvPr/>
                                                                                                </p:nvSpPr>
                                                                                                <p:spPr bwMode="auto">
                                                                                                  <a:xfrm>
                                                                                                    <a:off x="3190318" y="3652604"/>
                                                                                                    <a:ext cx="173146" cy="215473"/>
                                                                                                  </a:xfrm>
                                                                                                  <a:custGeom>
                                                                                                    <a:avLst/>
                                                                                                    <a:gdLst/>
                                                                                                    <a:ahLst/>
                                                                                                    <a:cxnLst>
                                                                                                      <a:cxn ang="0">
                                                                                                        <a:pos x="36" y="0"/>
                                                                                                      </a:cxn>
                                                                                                      <a:cxn ang="0">
                                                                                                        <a:pos x="30" y="4"/>
                                                                                                      </a:cxn>
                                                                                                      <a:cxn ang="0">
                                                                                                        <a:pos x="22" y="8"/>
                                                                                                      </a:cxn>
                                                                                                      <a:cxn ang="0">
                                                                                                        <a:pos x="20" y="10"/>
                                                                                                      </a:cxn>
                                                                                                      <a:cxn ang="0">
                                                                                                        <a:pos x="14" y="12"/>
                                                                                                      </a:cxn>
                                                                                                      <a:cxn ang="0">
                                                                                                        <a:pos x="12" y="14"/>
                                                                                                      </a:cxn>
                                                                                                      <a:cxn ang="0">
                                                                                                        <a:pos x="14" y="18"/>
                                                                                                      </a:cxn>
                                                                                                      <a:cxn ang="0">
                                                                                                        <a:pos x="14" y="24"/>
                                                                                                      </a:cxn>
                                                                                                      <a:cxn ang="0">
                                                                                                        <a:pos x="12" y="28"/>
                                                                                                      </a:cxn>
                                                                                                      <a:cxn ang="0">
                                                                                                        <a:pos x="12" y="32"/>
                                                                                                      </a:cxn>
                                                                                                      <a:cxn ang="0">
                                                                                                        <a:pos x="10" y="40"/>
                                                                                                      </a:cxn>
                                                                                                      <a:cxn ang="0">
                                                                                                        <a:pos x="0" y="64"/>
                                                                                                      </a:cxn>
                                                                                                      <a:cxn ang="0">
                                                                                                        <a:pos x="2" y="66"/>
                                                                                                      </a:cxn>
                                                                                                      <a:cxn ang="0">
                                                                                                        <a:pos x="4" y="66"/>
                                                                                                      </a:cxn>
                                                                                                      <a:cxn ang="0">
                                                                                                        <a:pos x="2" y="70"/>
                                                                                                      </a:cxn>
                                                                                                      <a:cxn ang="0">
                                                                                                        <a:pos x="4" y="70"/>
                                                                                                      </a:cxn>
                                                                                                      <a:cxn ang="0">
                                                                                                        <a:pos x="2" y="72"/>
                                                                                                      </a:cxn>
                                                                                                      <a:cxn ang="0">
                                                                                                        <a:pos x="0" y="78"/>
                                                                                                      </a:cxn>
                                                                                                      <a:cxn ang="0">
                                                                                                        <a:pos x="0" y="80"/>
                                                                                                      </a:cxn>
                                                                                                      <a:cxn ang="0">
                                                                                                        <a:pos x="2" y="84"/>
                                                                                                      </a:cxn>
                                                                                                      <a:cxn ang="0">
                                                                                                        <a:pos x="2" y="86"/>
                                                                                                      </a:cxn>
                                                                                                      <a:cxn ang="0">
                                                                                                        <a:pos x="4" y="88"/>
                                                                                                      </a:cxn>
                                                                                                      <a:cxn ang="0">
                                                                                                        <a:pos x="4" y="92"/>
                                                                                                      </a:cxn>
                                                                                                      <a:cxn ang="0">
                                                                                                        <a:pos x="2" y="92"/>
                                                                                                      </a:cxn>
                                                                                                      <a:cxn ang="0">
                                                                                                        <a:pos x="4" y="94"/>
                                                                                                      </a:cxn>
                                                                                                      <a:cxn ang="0">
                                                                                                        <a:pos x="6" y="96"/>
                                                                                                      </a:cxn>
                                                                                                      <a:cxn ang="0">
                                                                                                        <a:pos x="10" y="100"/>
                                                                                                      </a:cxn>
                                                                                                      <a:cxn ang="0">
                                                                                                        <a:pos x="12" y="94"/>
                                                                                                      </a:cxn>
                                                                                                      <a:cxn ang="0">
                                                                                                        <a:pos x="12" y="92"/>
                                                                                                      </a:cxn>
                                                                                                      <a:cxn ang="0">
                                                                                                        <a:pos x="16" y="90"/>
                                                                                                      </a:cxn>
                                                                                                      <a:cxn ang="0">
                                                                                                        <a:pos x="18" y="92"/>
                                                                                                      </a:cxn>
                                                                                                      <a:cxn ang="0">
                                                                                                        <a:pos x="20" y="96"/>
                                                                                                      </a:cxn>
                                                                                                      <a:cxn ang="0">
                                                                                                        <a:pos x="18" y="104"/>
                                                                                                      </a:cxn>
                                                                                                      <a:cxn ang="0">
                                                                                                        <a:pos x="10" y="118"/>
                                                                                                      </a:cxn>
                                                                                                      <a:cxn ang="0">
                                                                                                        <a:pos x="4" y="122"/>
                                                                                                      </a:cxn>
                                                                                                      <a:cxn ang="0">
                                                                                                        <a:pos x="2" y="130"/>
                                                                                                      </a:cxn>
                                                                                                      <a:cxn ang="0">
                                                                                                        <a:pos x="6" y="136"/>
                                                                                                      </a:cxn>
                                                                                                      <a:cxn ang="0">
                                                                                                        <a:pos x="14" y="134"/>
                                                                                                      </a:cxn>
                                                                                                      <a:cxn ang="0">
                                                                                                        <a:pos x="18" y="134"/>
                                                                                                      </a:cxn>
                                                                                                      <a:cxn ang="0">
                                                                                                        <a:pos x="28" y="140"/>
                                                                                                      </a:cxn>
                                                                                                      <a:cxn ang="0">
                                                                                                        <a:pos x="36" y="140"/>
                                                                                                      </a:cxn>
                                                                                                      <a:cxn ang="0">
                                                                                                        <a:pos x="40" y="136"/>
                                                                                                      </a:cxn>
                                                                                                      <a:cxn ang="0">
                                                                                                        <a:pos x="46" y="128"/>
                                                                                                      </a:cxn>
                                                                                                      <a:cxn ang="0">
                                                                                                        <a:pos x="46" y="120"/>
                                                                                                      </a:cxn>
                                                                                                      <a:cxn ang="0">
                                                                                                        <a:pos x="52" y="116"/>
                                                                                                      </a:cxn>
                                                                                                      <a:cxn ang="0">
                                                                                                        <a:pos x="58" y="110"/>
                                                                                                      </a:cxn>
                                                                                                      <a:cxn ang="0">
                                                                                                        <a:pos x="70" y="104"/>
                                                                                                      </a:cxn>
                                                                                                      <a:cxn ang="0">
                                                                                                        <a:pos x="84" y="96"/>
                                                                                                      </a:cxn>
                                                                                                      <a:cxn ang="0">
                                                                                                        <a:pos x="100" y="78"/>
                                                                                                      </a:cxn>
                                                                                                      <a:cxn ang="0">
                                                                                                        <a:pos x="108" y="68"/>
                                                                                                      </a:cxn>
                                                                                                      <a:cxn ang="0">
                                                                                                        <a:pos x="114" y="52"/>
                                                                                                      </a:cxn>
                                                                                                      <a:cxn ang="0">
                                                                                                        <a:pos x="112" y="36"/>
                                                                                                      </a:cxn>
                                                                                                      <a:cxn ang="0">
                                                                                                        <a:pos x="88" y="24"/>
                                                                                                      </a:cxn>
                                                                                                      <a:cxn ang="0">
                                                                                                        <a:pos x="88" y="26"/>
                                                                                                      </a:cxn>
                                                                                                      <a:cxn ang="0">
                                                                                                        <a:pos x="86" y="26"/>
                                                                                                      </a:cxn>
                                                                                                      <a:cxn ang="0">
                                                                                                        <a:pos x="78" y="26"/>
                                                                                                      </a:cxn>
                                                                                                      <a:cxn ang="0">
                                                                                                        <a:pos x="64" y="18"/>
                                                                                                      </a:cxn>
                                                                                                      <a:cxn ang="0">
                                                                                                        <a:pos x="60" y="12"/>
                                                                                                      </a:cxn>
                                                                                                      <a:cxn ang="0">
                                                                                                        <a:pos x="36" y="0"/>
                                                                                                      </a:cxn>
                                                                                                    </a:cxnLst>
                                                                                                    <a:rect l="0" t="0" r="r" b="b"/>
                                                                                                    <a:pathLst>
                                                                                                      <a:path w="114" h="142">
                                                                                                        <a:moveTo>
                                                                                                          <a:pt x="36" y="0"/>
                                                                                                        </a:moveTo>
                                                                                                        <a:lnTo>
                                                                                                          <a:pt x="36" y="0"/>
                                                                                                        </a:lnTo>
                                                                                                        <a:lnTo>
                                                                                                          <a:pt x="32" y="2"/>
                                                                                                        </a:lnTo>
                                                                                                        <a:lnTo>
                                                                                                          <a:pt x="30" y="4"/>
                                                                                                        </a:lnTo>
                                                                                                        <a:lnTo>
                                                                                                          <a:pt x="26" y="6"/>
                                                                                                        </a:lnTo>
                                                                                                        <a:lnTo>
                                                                                                          <a:pt x="22" y="8"/>
                                                                                                        </a:lnTo>
                                                                                                        <a:lnTo>
                                                                                                          <a:pt x="22" y="8"/>
                                                                                                        </a:lnTo>
                                                                                                        <a:lnTo>
                                                                                                          <a:pt x="20" y="10"/>
                                                                                                        </a:lnTo>
                                                                                                        <a:lnTo>
                                                                                                          <a:pt x="16" y="10"/>
                                                                                                        </a:lnTo>
                                                                                                        <a:lnTo>
                                                                                                          <a:pt x="14" y="12"/>
                                                                                                        </a:lnTo>
                                                                                                        <a:lnTo>
                                                                                                          <a:pt x="12" y="14"/>
                                                                                                        </a:lnTo>
                                                                                                        <a:lnTo>
                                                                                                          <a:pt x="12" y="14"/>
                                                                                                        </a:lnTo>
                                                                                                        <a:lnTo>
                                                                                                          <a:pt x="12" y="16"/>
                                                                                                        </a:lnTo>
                                                                                                        <a:lnTo>
                                                                                                          <a:pt x="14" y="18"/>
                                                                                                        </a:lnTo>
                                                                                                        <a:lnTo>
                                                                                                          <a:pt x="16" y="18"/>
                                                                                                        </a:lnTo>
                                                                                                        <a:lnTo>
                                                                                                          <a:pt x="14" y="24"/>
                                                                                                        </a:lnTo>
                                                                                                        <a:lnTo>
                                                                                                          <a:pt x="14" y="24"/>
                                                                                                        </a:lnTo>
                                                                                                        <a:lnTo>
                                                                                                          <a:pt x="12" y="28"/>
                                                                                                        </a:lnTo>
                                                                                                        <a:lnTo>
                                                                                                          <a:pt x="12" y="30"/>
                                                                                                        </a:lnTo>
                                                                                                        <a:lnTo>
                                                                                                          <a:pt x="12" y="32"/>
                                                                                                        </a:lnTo>
                                                                                                        <a:lnTo>
                                                                                                          <a:pt x="10" y="40"/>
                                                                                                        </a:lnTo>
                                                                                                        <a:lnTo>
                                                                                                          <a:pt x="10" y="40"/>
                                                                                                        </a:lnTo>
                                                                                                        <a:lnTo>
                                                                                                          <a:pt x="0" y="58"/>
                                                                                                        </a:lnTo>
                                                                                                        <a:lnTo>
                                                                                                          <a:pt x="0" y="64"/>
                                                                                                        </a:lnTo>
                                                                                                        <a:lnTo>
                                                                                                          <a:pt x="0" y="64"/>
                                                                                                        </a:lnTo>
                                                                                                        <a:lnTo>
                                                                                                          <a:pt x="2" y="66"/>
                                                                                                        </a:lnTo>
                                                                                                        <a:lnTo>
                                                                                                          <a:pt x="2" y="66"/>
                                                                                                        </a:lnTo>
                                                                                                        <a:lnTo>
                                                                                                          <a:pt x="4" y="66"/>
                                                                                                        </a:lnTo>
                                                                                                        <a:lnTo>
                                                                                                          <a:pt x="2" y="68"/>
                                                                                                        </a:lnTo>
                                                                                                        <a:lnTo>
                                                                                                          <a:pt x="2" y="70"/>
                                                                                                        </a:lnTo>
                                                                                                        <a:lnTo>
                                                                                                          <a:pt x="4" y="70"/>
                                                                                                        </a:lnTo>
                                                                                                        <a:lnTo>
                                                                                                          <a:pt x="4" y="70"/>
                                                                                                        </a:lnTo>
                                                                                                        <a:lnTo>
                                                                                                          <a:pt x="2" y="72"/>
                                                                                                        </a:lnTo>
                                                                                                        <a:lnTo>
                                                                                                          <a:pt x="2" y="72"/>
                                                                                                        </a:lnTo>
                                                                                                        <a:lnTo>
                                                                                                          <a:pt x="2" y="74"/>
                                                                                                        </a:lnTo>
                                                                                                        <a:lnTo>
                                                                                                          <a:pt x="0" y="78"/>
                                                                                                        </a:lnTo>
                                                                                                        <a:lnTo>
                                                                                                          <a:pt x="0" y="78"/>
                                                                                                        </a:lnTo>
                                                                                                        <a:lnTo>
                                                                                                          <a:pt x="0" y="80"/>
                                                                                                        </a:lnTo>
                                                                                                        <a:lnTo>
                                                                                                          <a:pt x="0" y="82"/>
                                                                                                        </a:lnTo>
                                                                                                        <a:lnTo>
                                                                                                          <a:pt x="2" y="84"/>
                                                                                                        </a:lnTo>
                                                                                                        <a:lnTo>
                                                                                                          <a:pt x="2" y="86"/>
                                                                                                        </a:lnTo>
                                                                                                        <a:lnTo>
                                                                                                          <a:pt x="2" y="86"/>
                                                                                                        </a:lnTo>
                                                                                                        <a:lnTo>
                                                                                                          <a:pt x="2" y="88"/>
                                                                                                        </a:lnTo>
                                                                                                        <a:lnTo>
                                                                                                          <a:pt x="4" y="88"/>
                                                                                                        </a:lnTo>
                                                                                                        <a:lnTo>
                                                                                                          <a:pt x="6" y="90"/>
                                                                                                        </a:lnTo>
                                                                                                        <a:lnTo>
                                                                                                          <a:pt x="4" y="92"/>
                                                                                                        </a:lnTo>
                                                                                                        <a:lnTo>
                                                                                                          <a:pt x="4" y="92"/>
                                                                                                        </a:lnTo>
                                                                                                        <a:lnTo>
                                                                                                          <a:pt x="2" y="92"/>
                                                                                                        </a:lnTo>
                                                                                                        <a:lnTo>
                                                                                                          <a:pt x="2" y="94"/>
                                                                                                        </a:lnTo>
                                                                                                        <a:lnTo>
                                                                                                          <a:pt x="4" y="94"/>
                                                                                                        </a:lnTo>
                                                                                                        <a:lnTo>
                                                                                                          <a:pt x="6" y="96"/>
                                                                                                        </a:lnTo>
                                                                                                        <a:lnTo>
                                                                                                          <a:pt x="6" y="96"/>
                                                                                                        </a:lnTo>
                                                                                                        <a:lnTo>
                                                                                                          <a:pt x="8" y="100"/>
                                                                                                        </a:lnTo>
                                                                                                        <a:lnTo>
                                                                                                          <a:pt x="10" y="100"/>
                                                                                                        </a:lnTo>
                                                                                                        <a:lnTo>
                                                                                                          <a:pt x="12" y="98"/>
                                                                                                        </a:lnTo>
                                                                                                        <a:lnTo>
                                                                                                          <a:pt x="12" y="94"/>
                                                                                                        </a:lnTo>
                                                                                                        <a:lnTo>
                                                                                                          <a:pt x="12" y="94"/>
                                                                                                        </a:lnTo>
                                                                                                        <a:lnTo>
                                                                                                          <a:pt x="12" y="92"/>
                                                                                                        </a:lnTo>
                                                                                                        <a:lnTo>
                                                                                                          <a:pt x="14" y="90"/>
                                                                                                        </a:lnTo>
                                                                                                        <a:lnTo>
                                                                                                          <a:pt x="16" y="90"/>
                                                                                                        </a:lnTo>
                                                                                                        <a:lnTo>
                                                                                                          <a:pt x="18" y="92"/>
                                                                                                        </a:lnTo>
                                                                                                        <a:lnTo>
                                                                                                          <a:pt x="18" y="92"/>
                                                                                                        </a:lnTo>
                                                                                                        <a:lnTo>
                                                                                                          <a:pt x="18" y="94"/>
                                                                                                        </a:lnTo>
                                                                                                        <a:lnTo>
                                                                                                          <a:pt x="20" y="96"/>
                                                                                                        </a:lnTo>
                                                                                                        <a:lnTo>
                                                                                                          <a:pt x="22" y="98"/>
                                                                                                        </a:lnTo>
                                                                                                        <a:lnTo>
                                                                                                          <a:pt x="18" y="104"/>
                                                                                                        </a:lnTo>
                                                                                                        <a:lnTo>
                                                                                                          <a:pt x="18" y="104"/>
                                                                                                        </a:lnTo>
                                                                                                        <a:lnTo>
                                                                                                          <a:pt x="10" y="118"/>
                                                                                                        </a:lnTo>
                                                                                                        <a:lnTo>
                                                                                                          <a:pt x="8" y="122"/>
                                                                                                        </a:lnTo>
                                                                                                        <a:lnTo>
                                                                                                          <a:pt x="4" y="122"/>
                                                                                                        </a:lnTo>
                                                                                                        <a:lnTo>
                                                                                                          <a:pt x="4" y="122"/>
                                                                                                        </a:lnTo>
                                                                                                        <a:lnTo>
                                                                                                          <a:pt x="2" y="130"/>
                                                                                                        </a:lnTo>
                                                                                                        <a:lnTo>
                                                                                                          <a:pt x="4" y="134"/>
                                                                                                        </a:lnTo>
                                                                                                        <a:lnTo>
                                                                                                          <a:pt x="6" y="136"/>
                                                                                                        </a:lnTo>
                                                                                                        <a:lnTo>
                                                                                                          <a:pt x="14" y="134"/>
                                                                                                        </a:lnTo>
                                                                                                        <a:lnTo>
                                                                                                          <a:pt x="14" y="134"/>
                                                                                                        </a:lnTo>
                                                                                                        <a:lnTo>
                                                                                                          <a:pt x="16" y="134"/>
                                                                                                        </a:lnTo>
                                                                                                        <a:lnTo>
                                                                                                          <a:pt x="18" y="134"/>
                                                                                                        </a:lnTo>
                                                                                                        <a:lnTo>
                                                                                                          <a:pt x="24" y="138"/>
                                                                                                        </a:lnTo>
                                                                                                        <a:lnTo>
                                                                                                          <a:pt x="28" y="140"/>
                                                                                                        </a:lnTo>
                                                                                                        <a:lnTo>
                                                                                                          <a:pt x="32" y="142"/>
                                                                                                        </a:lnTo>
                                                                                                        <a:lnTo>
                                                                                                          <a:pt x="36" y="140"/>
                                                                                                        </a:lnTo>
                                                                                                        <a:lnTo>
                                                                                                          <a:pt x="40" y="136"/>
                                                                                                        </a:lnTo>
                                                                                                        <a:lnTo>
                                                                                                          <a:pt x="40" y="136"/>
                                                                                                        </a:lnTo>
                                                                                                        <a:lnTo>
                                                                                                          <a:pt x="44" y="132"/>
                                                                                                        </a:lnTo>
                                                                                                        <a:lnTo>
                                                                                                          <a:pt x="46" y="128"/>
                                                                                                        </a:lnTo>
                                                                                                        <a:lnTo>
                                                                                                          <a:pt x="46" y="124"/>
                                                                                                        </a:lnTo>
                                                                                                        <a:lnTo>
                                                                                                          <a:pt x="46" y="120"/>
                                                                                                        </a:lnTo>
                                                                                                        <a:lnTo>
                                                                                                          <a:pt x="52" y="116"/>
                                                                                                        </a:lnTo>
                                                                                                        <a:lnTo>
                                                                                                          <a:pt x="52" y="116"/>
                                                                                                        </a:lnTo>
                                                                                                        <a:lnTo>
                                                                                                          <a:pt x="56" y="112"/>
                                                                                                        </a:lnTo>
                                                                                                        <a:lnTo>
                                                                                                          <a:pt x="58" y="110"/>
                                                                                                        </a:lnTo>
                                                                                                        <a:lnTo>
                                                                                                          <a:pt x="60" y="108"/>
                                                                                                        </a:lnTo>
                                                                                                        <a:lnTo>
                                                                                                          <a:pt x="70" y="104"/>
                                                                                                        </a:lnTo>
                                                                                                        <a:lnTo>
                                                                                                          <a:pt x="70" y="104"/>
                                                                                                        </a:lnTo>
                                                                                                        <a:lnTo>
                                                                                                          <a:pt x="84" y="96"/>
                                                                                                        </a:lnTo>
                                                                                                        <a:lnTo>
                                                                                                          <a:pt x="94" y="88"/>
                                                                                                        </a:lnTo>
                                                                                                        <a:lnTo>
                                                                                                          <a:pt x="100" y="78"/>
                                                                                                        </a:lnTo>
                                                                                                        <a:lnTo>
                                                                                                          <a:pt x="108" y="68"/>
                                                                                                        </a:lnTo>
                                                                                                        <a:lnTo>
                                                                                                          <a:pt x="108" y="68"/>
                                                                                                        </a:lnTo>
                                                                                                        <a:lnTo>
                                                                                                          <a:pt x="114" y="60"/>
                                                                                                        </a:lnTo>
                                                                                                        <a:lnTo>
                                                                                                          <a:pt x="114" y="52"/>
                                                                                                        </a:lnTo>
                                                                                                        <a:lnTo>
                                                                                                          <a:pt x="112" y="36"/>
                                                                                                        </a:lnTo>
                                                                                                        <a:lnTo>
                                                                                                          <a:pt x="112" y="36"/>
                                                                                                        </a:lnTo>
                                                                                                        <a:lnTo>
                                                                                                          <a:pt x="94" y="26"/>
                                                                                                        </a:lnTo>
                                                                                                        <a:lnTo>
                                                                                                          <a:pt x="88" y="24"/>
                                                                                                        </a:lnTo>
                                                                                                        <a:lnTo>
                                                                                                          <a:pt x="86" y="24"/>
                                                                                                        </a:lnTo>
                                                                                                        <a:lnTo>
                                                                                                          <a:pt x="88" y="26"/>
                                                                                                        </a:lnTo>
                                                                                                        <a:lnTo>
                                                                                                          <a:pt x="88" y="26"/>
                                                                                                        </a:lnTo>
                                                                                                        <a:lnTo>
                                                                                                          <a:pt x="86" y="26"/>
                                                                                                        </a:lnTo>
                                                                                                        <a:lnTo>
                                                                                                          <a:pt x="86" y="28"/>
                                                                                                        </a:lnTo>
                                                                                                        <a:lnTo>
                                                                                                          <a:pt x="78" y="26"/>
                                                                                                        </a:lnTo>
                                                                                                        <a:lnTo>
                                                                                                          <a:pt x="70" y="22"/>
                                                                                                        </a:lnTo>
                                                                                                        <a:lnTo>
                                                                                                          <a:pt x="64" y="18"/>
                                                                                                        </a:lnTo>
                                                                                                        <a:lnTo>
                                                                                                          <a:pt x="64" y="18"/>
                                                                                                        </a:lnTo>
                                                                                                        <a:lnTo>
                                                                                                          <a:pt x="60" y="12"/>
                                                                                                        </a:lnTo>
                                                                                                        <a:lnTo>
                                                                                                          <a:pt x="54" y="8"/>
                                                                                                        </a:lnTo>
                                                                                                        <a:lnTo>
                                                                                                          <a:pt x="36" y="0"/>
                                                                                                        </a:lnTo>
                                                                                                        <a:lnTo>
                                                                                                          <a:pt x="36" y="0"/>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baseline="-25000" dirty="0">
                                                                                                      <a:solidFill>
                                                                                                        <a:schemeClr val="tx1"/>
                                                                                                      </a:solidFill>
                                                                                                    </a:endParaRPr>
                                                                                                  </a:p>
                                                                                                </p:txBody>
                                                                                              </p:sp>
                                                                                              <p:sp>
                                                                                                <p:nvSpPr>
                                                                                                  <p:cNvPr id="573" name="El Salvador"/>
                                                                                                  <p:cNvSpPr>
                                                                                                    <a:spLocks/>
                                                                                                  </p:cNvSpPr>
                                                                                                  <p:nvPr/>
                                                                                                </p:nvSpPr>
                                                                                                <p:spPr bwMode="auto">
                                                                                                  <a:xfrm>
                                                                                                    <a:off x="2910220" y="3135987"/>
                                                                                                    <a:ext cx="78979" cy="42488"/>
                                                                                                  </a:xfrm>
                                                                                                  <a:custGeom>
                                                                                                    <a:avLst/>
                                                                                                    <a:gdLst/>
                                                                                                    <a:ahLst/>
                                                                                                    <a:cxnLst>
                                                                                                      <a:cxn ang="0">
                                                                                                        <a:pos x="18" y="0"/>
                                                                                                      </a:cxn>
                                                                                                      <a:cxn ang="0">
                                                                                                        <a:pos x="18" y="0"/>
                                                                                                      </a:cxn>
                                                                                                      <a:cxn ang="0">
                                                                                                        <a:pos x="24" y="0"/>
                                                                                                      </a:cxn>
                                                                                                      <a:cxn ang="0">
                                                                                                        <a:pos x="24" y="2"/>
                                                                                                      </a:cxn>
                                                                                                      <a:cxn ang="0">
                                                                                                        <a:pos x="26" y="4"/>
                                                                                                      </a:cxn>
                                                                                                      <a:cxn ang="0">
                                                                                                        <a:pos x="28" y="2"/>
                                                                                                      </a:cxn>
                                                                                                      <a:cxn ang="0">
                                                                                                        <a:pos x="28" y="2"/>
                                                                                                      </a:cxn>
                                                                                                      <a:cxn ang="0">
                                                                                                        <a:pos x="32" y="4"/>
                                                                                                      </a:cxn>
                                                                                                      <a:cxn ang="0">
                                                                                                        <a:pos x="34" y="6"/>
                                                                                                      </a:cxn>
                                                                                                      <a:cxn ang="0">
                                                                                                        <a:pos x="36" y="10"/>
                                                                                                      </a:cxn>
                                                                                                      <a:cxn ang="0">
                                                                                                        <a:pos x="40" y="12"/>
                                                                                                      </a:cxn>
                                                                                                      <a:cxn ang="0">
                                                                                                        <a:pos x="40" y="12"/>
                                                                                                      </a:cxn>
                                                                                                      <a:cxn ang="0">
                                                                                                        <a:pos x="46" y="12"/>
                                                                                                      </a:cxn>
                                                                                                      <a:cxn ang="0">
                                                                                                        <a:pos x="48" y="14"/>
                                                                                                      </a:cxn>
                                                                                                      <a:cxn ang="0">
                                                                                                        <a:pos x="48" y="16"/>
                                                                                                      </a:cxn>
                                                                                                      <a:cxn ang="0">
                                                                                                        <a:pos x="50" y="18"/>
                                                                                                      </a:cxn>
                                                                                                      <a:cxn ang="0">
                                                                                                        <a:pos x="50" y="18"/>
                                                                                                      </a:cxn>
                                                                                                      <a:cxn ang="0">
                                                                                                        <a:pos x="50" y="18"/>
                                                                                                      </a:cxn>
                                                                                                      <a:cxn ang="0">
                                                                                                        <a:pos x="50" y="20"/>
                                                                                                      </a:cxn>
                                                                                                      <a:cxn ang="0">
                                                                                                        <a:pos x="50" y="22"/>
                                                                                                      </a:cxn>
                                                                                                      <a:cxn ang="0">
                                                                                                        <a:pos x="52" y="24"/>
                                                                                                      </a:cxn>
                                                                                                      <a:cxn ang="0">
                                                                                                        <a:pos x="52" y="24"/>
                                                                                                      </a:cxn>
                                                                                                      <a:cxn ang="0">
                                                                                                        <a:pos x="38" y="28"/>
                                                                                                      </a:cxn>
                                                                                                      <a:cxn ang="0">
                                                                                                        <a:pos x="30" y="26"/>
                                                                                                      </a:cxn>
                                                                                                      <a:cxn ang="0">
                                                                                                        <a:pos x="24" y="24"/>
                                                                                                      </a:cxn>
                                                                                                      <a:cxn ang="0">
                                                                                                        <a:pos x="16" y="22"/>
                                                                                                      </a:cxn>
                                                                                                      <a:cxn ang="0">
                                                                                                        <a:pos x="16" y="22"/>
                                                                                                      </a:cxn>
                                                                                                      <a:cxn ang="0">
                                                                                                        <a:pos x="6" y="18"/>
                                                                                                      </a:cxn>
                                                                                                      <a:cxn ang="0">
                                                                                                        <a:pos x="0" y="16"/>
                                                                                                      </a:cxn>
                                                                                                      <a:cxn ang="0">
                                                                                                        <a:pos x="0" y="16"/>
                                                                                                      </a:cxn>
                                                                                                      <a:cxn ang="0">
                                                                                                        <a:pos x="4" y="10"/>
                                                                                                      </a:cxn>
                                                                                                      <a:cxn ang="0">
                                                                                                        <a:pos x="6" y="8"/>
                                                                                                      </a:cxn>
                                                                                                      <a:cxn ang="0">
                                                                                                        <a:pos x="10" y="8"/>
                                                                                                      </a:cxn>
                                                                                                      <a:cxn ang="0">
                                                                                                        <a:pos x="12" y="4"/>
                                                                                                      </a:cxn>
                                                                                                      <a:cxn ang="0">
                                                                                                        <a:pos x="12" y="4"/>
                                                                                                      </a:cxn>
                                                                                                      <a:cxn ang="0">
                                                                                                        <a:pos x="14" y="0"/>
                                                                                                      </a:cxn>
                                                                                                      <a:cxn ang="0">
                                                                                                        <a:pos x="18" y="0"/>
                                                                                                      </a:cxn>
                                                                                                      <a:cxn ang="0">
                                                                                                        <a:pos x="18" y="0"/>
                                                                                                      </a:cxn>
                                                                                                    </a:cxnLst>
                                                                                                    <a:rect l="0" t="0" r="r" b="b"/>
                                                                                                    <a:pathLst>
                                                                                                      <a:path w="52" h="28">
                                                                                                        <a:moveTo>
                                                                                                          <a:pt x="18" y="0"/>
                                                                                                        </a:moveTo>
                                                                                                        <a:lnTo>
                                                                                                          <a:pt x="18" y="0"/>
                                                                                                        </a:lnTo>
                                                                                                        <a:lnTo>
                                                                                                          <a:pt x="24" y="0"/>
                                                                                                        </a:lnTo>
                                                                                                        <a:lnTo>
                                                                                                          <a:pt x="24" y="2"/>
                                                                                                        </a:lnTo>
                                                                                                        <a:lnTo>
                                                                                                          <a:pt x="26" y="4"/>
                                                                                                        </a:lnTo>
                                                                                                        <a:lnTo>
                                                                                                          <a:pt x="28" y="2"/>
                                                                                                        </a:lnTo>
                                                                                                        <a:lnTo>
                                                                                                          <a:pt x="28" y="2"/>
                                                                                                        </a:lnTo>
                                                                                                        <a:lnTo>
                                                                                                          <a:pt x="32" y="4"/>
                                                                                                        </a:lnTo>
                                                                                                        <a:lnTo>
                                                                                                          <a:pt x="34" y="6"/>
                                                                                                        </a:lnTo>
                                                                                                        <a:lnTo>
                                                                                                          <a:pt x="36" y="10"/>
                                                                                                        </a:lnTo>
                                                                                                        <a:lnTo>
                                                                                                          <a:pt x="40" y="12"/>
                                                                                                        </a:lnTo>
                                                                                                        <a:lnTo>
                                                                                                          <a:pt x="40" y="12"/>
                                                                                                        </a:lnTo>
                                                                                                        <a:lnTo>
                                                                                                          <a:pt x="46" y="12"/>
                                                                                                        </a:lnTo>
                                                                                                        <a:lnTo>
                                                                                                          <a:pt x="48" y="14"/>
                                                                                                        </a:lnTo>
                                                                                                        <a:lnTo>
                                                                                                          <a:pt x="48" y="16"/>
                                                                                                        </a:lnTo>
                                                                                                        <a:lnTo>
                                                                                                          <a:pt x="50" y="18"/>
                                                                                                        </a:lnTo>
                                                                                                        <a:lnTo>
                                                                                                          <a:pt x="50" y="18"/>
                                                                                                        </a:lnTo>
                                                                                                        <a:lnTo>
                                                                                                          <a:pt x="50" y="18"/>
                                                                                                        </a:lnTo>
                                                                                                        <a:lnTo>
                                                                                                          <a:pt x="50" y="20"/>
                                                                                                        </a:lnTo>
                                                                                                        <a:lnTo>
                                                                                                          <a:pt x="50" y="22"/>
                                                                                                        </a:lnTo>
                                                                                                        <a:lnTo>
                                                                                                          <a:pt x="52" y="24"/>
                                                                                                        </a:lnTo>
                                                                                                        <a:lnTo>
                                                                                                          <a:pt x="52" y="24"/>
                                                                                                        </a:lnTo>
                                                                                                        <a:lnTo>
                                                                                                          <a:pt x="38" y="28"/>
                                                                                                        </a:lnTo>
                                                                                                        <a:lnTo>
                                                                                                          <a:pt x="30" y="26"/>
                                                                                                        </a:lnTo>
                                                                                                        <a:lnTo>
                                                                                                          <a:pt x="24" y="24"/>
                                                                                                        </a:lnTo>
                                                                                                        <a:lnTo>
                                                                                                          <a:pt x="16" y="22"/>
                                                                                                        </a:lnTo>
                                                                                                        <a:lnTo>
                                                                                                          <a:pt x="16" y="22"/>
                                                                                                        </a:lnTo>
                                                                                                        <a:lnTo>
                                                                                                          <a:pt x="6" y="18"/>
                                                                                                        </a:lnTo>
                                                                                                        <a:lnTo>
                                                                                                          <a:pt x="0" y="16"/>
                                                                                                        </a:lnTo>
                                                                                                        <a:lnTo>
                                                                                                          <a:pt x="0" y="16"/>
                                                                                                        </a:lnTo>
                                                                                                        <a:lnTo>
                                                                                                          <a:pt x="4" y="10"/>
                                                                                                        </a:lnTo>
                                                                                                        <a:lnTo>
                                                                                                          <a:pt x="6" y="8"/>
                                                                                                        </a:lnTo>
                                                                                                        <a:lnTo>
                                                                                                          <a:pt x="10" y="8"/>
                                                                                                        </a:lnTo>
                                                                                                        <a:lnTo>
                                                                                                          <a:pt x="12" y="4"/>
                                                                                                        </a:lnTo>
                                                                                                        <a:lnTo>
                                                                                                          <a:pt x="12" y="4"/>
                                                                                                        </a:lnTo>
                                                                                                        <a:lnTo>
                                                                                                          <a:pt x="14" y="0"/>
                                                                                                        </a:lnTo>
                                                                                                        <a:lnTo>
                                                                                                          <a:pt x="18" y="0"/>
                                                                                                        </a:lnTo>
                                                                                                        <a:lnTo>
                                                                                                          <a:pt x="18" y="0"/>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baseline="-25000" dirty="0">
                                                                                                      <a:solidFill>
                                                                                                        <a:schemeClr val="tx1"/>
                                                                                                      </a:solidFill>
                                                                                                    </a:endParaRPr>
                                                                                                  </a:p>
                                                                                                </p:txBody>
                                                                                              </p:sp>
                                                                                              <p:sp>
                                                                                                <p:nvSpPr>
                                                                                                  <p:cNvPr id="645" name="Guatemala"/>
                                                                                                  <p:cNvSpPr>
                                                                                                    <a:spLocks/>
                                                                                                  </p:cNvSpPr>
                                                                                                  <p:nvPr/>
                                                                                                </p:nvSpPr>
                                                                                                <p:spPr bwMode="auto">
                                                                                                  <a:xfrm>
                                                                                                    <a:off x="2857040" y="3002455"/>
                                                                                                    <a:ext cx="127581" cy="157811"/>
                                                                                                  </a:xfrm>
                                                                                                  <a:custGeom>
                                                                                                    <a:avLst/>
                                                                                                    <a:gdLst/>
                                                                                                    <a:ahLst/>
                                                                                                    <a:cxnLst>
                                                                                                      <a:cxn ang="0">
                                                                                                        <a:pos x="36" y="104"/>
                                                                                                      </a:cxn>
                                                                                                      <a:cxn ang="0">
                                                                                                        <a:pos x="42" y="96"/>
                                                                                                      </a:cxn>
                                                                                                      <a:cxn ang="0">
                                                                                                        <a:pos x="48" y="92"/>
                                                                                                      </a:cxn>
                                                                                                      <a:cxn ang="0">
                                                                                                        <a:pos x="50" y="88"/>
                                                                                                      </a:cxn>
                                                                                                      <a:cxn ang="0">
                                                                                                        <a:pos x="54" y="88"/>
                                                                                                      </a:cxn>
                                                                                                      <a:cxn ang="0">
                                                                                                        <a:pos x="62" y="80"/>
                                                                                                      </a:cxn>
                                                                                                      <a:cxn ang="0">
                                                                                                        <a:pos x="64" y="76"/>
                                                                                                      </a:cxn>
                                                                                                      <a:cxn ang="0">
                                                                                                        <a:pos x="60" y="74"/>
                                                                                                      </a:cxn>
                                                                                                      <a:cxn ang="0">
                                                                                                        <a:pos x="64" y="70"/>
                                                                                                      </a:cxn>
                                                                                                      <a:cxn ang="0">
                                                                                                        <a:pos x="76" y="60"/>
                                                                                                      </a:cxn>
                                                                                                      <a:cxn ang="0">
                                                                                                        <a:pos x="84" y="48"/>
                                                                                                      </a:cxn>
                                                                                                      <a:cxn ang="0">
                                                                                                        <a:pos x="80" y="46"/>
                                                                                                      </a:cxn>
                                                                                                      <a:cxn ang="0">
                                                                                                        <a:pos x="76" y="46"/>
                                                                                                      </a:cxn>
                                                                                                      <a:cxn ang="0">
                                                                                                        <a:pos x="66" y="44"/>
                                                                                                      </a:cxn>
                                                                                                      <a:cxn ang="0">
                                                                                                        <a:pos x="38" y="0"/>
                                                                                                      </a:cxn>
                                                                                                      <a:cxn ang="0">
                                                                                                        <a:pos x="36" y="4"/>
                                                                                                      </a:cxn>
                                                                                                      <a:cxn ang="0">
                                                                                                        <a:pos x="40" y="10"/>
                                                                                                      </a:cxn>
                                                                                                      <a:cxn ang="0">
                                                                                                        <a:pos x="42" y="14"/>
                                                                                                      </a:cxn>
                                                                                                      <a:cxn ang="0">
                                                                                                        <a:pos x="36" y="18"/>
                                                                                                      </a:cxn>
                                                                                                      <a:cxn ang="0">
                                                                                                        <a:pos x="30" y="24"/>
                                                                                                      </a:cxn>
                                                                                                      <a:cxn ang="0">
                                                                                                        <a:pos x="32" y="26"/>
                                                                                                      </a:cxn>
                                                                                                      <a:cxn ang="0">
                                                                                                        <a:pos x="40" y="30"/>
                                                                                                      </a:cxn>
                                                                                                      <a:cxn ang="0">
                                                                                                        <a:pos x="40" y="32"/>
                                                                                                      </a:cxn>
                                                                                                      <a:cxn ang="0">
                                                                                                        <a:pos x="42" y="38"/>
                                                                                                      </a:cxn>
                                                                                                      <a:cxn ang="0">
                                                                                                        <a:pos x="44" y="44"/>
                                                                                                      </a:cxn>
                                                                                                      <a:cxn ang="0">
                                                                                                        <a:pos x="28" y="42"/>
                                                                                                      </a:cxn>
                                                                                                      <a:cxn ang="0">
                                                                                                        <a:pos x="16" y="46"/>
                                                                                                      </a:cxn>
                                                                                                      <a:cxn ang="0">
                                                                                                        <a:pos x="6" y="56"/>
                                                                                                      </a:cxn>
                                                                                                      <a:cxn ang="0">
                                                                                                        <a:pos x="0" y="80"/>
                                                                                                      </a:cxn>
                                                                                                      <a:cxn ang="0">
                                                                                                        <a:pos x="8" y="92"/>
                                                                                                      </a:cxn>
                                                                                                      <a:cxn ang="0">
                                                                                                        <a:pos x="24" y="102"/>
                                                                                                      </a:cxn>
                                                                                                      <a:cxn ang="0">
                                                                                                        <a:pos x="36" y="104"/>
                                                                                                      </a:cxn>
                                                                                                    </a:cxnLst>
                                                                                                    <a:rect l="0" t="0" r="r" b="b"/>
                                                                                                    <a:pathLst>
                                                                                                      <a:path w="84" h="104">
                                                                                                        <a:moveTo>
                                                                                                          <a:pt x="36" y="104"/>
                                                                                                        </a:moveTo>
                                                                                                        <a:lnTo>
                                                                                                          <a:pt x="36" y="104"/>
                                                                                                        </a:lnTo>
                                                                                                        <a:lnTo>
                                                                                                          <a:pt x="40" y="98"/>
                                                                                                        </a:lnTo>
                                                                                                        <a:lnTo>
                                                                                                          <a:pt x="42" y="96"/>
                                                                                                        </a:lnTo>
                                                                                                        <a:lnTo>
                                                                                                          <a:pt x="46" y="96"/>
                                                                                                        </a:lnTo>
                                                                                                        <a:lnTo>
                                                                                                          <a:pt x="48" y="92"/>
                                                                                                        </a:lnTo>
                                                                                                        <a:lnTo>
                                                                                                          <a:pt x="48" y="92"/>
                                                                                                        </a:lnTo>
                                                                                                        <a:lnTo>
                                                                                                          <a:pt x="50" y="88"/>
                                                                                                        </a:lnTo>
                                                                                                        <a:lnTo>
                                                                                                          <a:pt x="54" y="88"/>
                                                                                                        </a:lnTo>
                                                                                                        <a:lnTo>
                                                                                                          <a:pt x="54" y="88"/>
                                                                                                        </a:lnTo>
                                                                                                        <a:lnTo>
                                                                                                          <a:pt x="56" y="84"/>
                                                                                                        </a:lnTo>
                                                                                                        <a:lnTo>
                                                                                                          <a:pt x="62" y="80"/>
                                                                                                        </a:lnTo>
                                                                                                        <a:lnTo>
                                                                                                          <a:pt x="62" y="80"/>
                                                                                                        </a:lnTo>
                                                                                                        <a:lnTo>
                                                                                                          <a:pt x="64" y="76"/>
                                                                                                        </a:lnTo>
                                                                                                        <a:lnTo>
                                                                                                          <a:pt x="62" y="76"/>
                                                                                                        </a:lnTo>
                                                                                                        <a:lnTo>
                                                                                                          <a:pt x="60" y="74"/>
                                                                                                        </a:lnTo>
                                                                                                        <a:lnTo>
                                                                                                          <a:pt x="64" y="70"/>
                                                                                                        </a:lnTo>
                                                                                                        <a:lnTo>
                                                                                                          <a:pt x="64" y="70"/>
                                                                                                        </a:lnTo>
                                                                                                        <a:lnTo>
                                                                                                          <a:pt x="70" y="64"/>
                                                                                                        </a:lnTo>
                                                                                                        <a:lnTo>
                                                                                                          <a:pt x="76" y="60"/>
                                                                                                        </a:lnTo>
                                                                                                        <a:lnTo>
                                                                                                          <a:pt x="80" y="56"/>
                                                                                                        </a:lnTo>
                                                                                                        <a:lnTo>
                                                                                                          <a:pt x="84" y="48"/>
                                                                                                        </a:lnTo>
                                                                                                        <a:lnTo>
                                                                                                          <a:pt x="84" y="48"/>
                                                                                                        </a:lnTo>
                                                                                                        <a:lnTo>
                                                                                                          <a:pt x="80" y="46"/>
                                                                                                        </a:lnTo>
                                                                                                        <a:lnTo>
                                                                                                          <a:pt x="78" y="46"/>
                                                                                                        </a:lnTo>
                                                                                                        <a:lnTo>
                                                                                                          <a:pt x="76" y="46"/>
                                                                                                        </a:lnTo>
                                                                                                        <a:lnTo>
                                                                                                          <a:pt x="76" y="44"/>
                                                                                                        </a:lnTo>
                                                                                                        <a:lnTo>
                                                                                                          <a:pt x="66" y="44"/>
                                                                                                        </a:lnTo>
                                                                                                        <a:lnTo>
                                                                                                          <a:pt x="72" y="0"/>
                                                                                                        </a:lnTo>
                                                                                                        <a:lnTo>
                                                                                                          <a:pt x="38" y="0"/>
                                                                                                        </a:lnTo>
                                                                                                        <a:lnTo>
                                                                                                          <a:pt x="38" y="0"/>
                                                                                                        </a:lnTo>
                                                                                                        <a:lnTo>
                                                                                                          <a:pt x="36" y="4"/>
                                                                                                        </a:lnTo>
                                                                                                        <a:lnTo>
                                                                                                          <a:pt x="38" y="8"/>
                                                                                                        </a:lnTo>
                                                                                                        <a:lnTo>
                                                                                                          <a:pt x="40" y="10"/>
                                                                                                        </a:lnTo>
                                                                                                        <a:lnTo>
                                                                                                          <a:pt x="42" y="14"/>
                                                                                                        </a:lnTo>
                                                                                                        <a:lnTo>
                                                                                                          <a:pt x="42" y="14"/>
                                                                                                        </a:lnTo>
                                                                                                        <a:lnTo>
                                                                                                          <a:pt x="40" y="18"/>
                                                                                                        </a:lnTo>
                                                                                                        <a:lnTo>
                                                                                                          <a:pt x="36" y="18"/>
                                                                                                        </a:lnTo>
                                                                                                        <a:lnTo>
                                                                                                          <a:pt x="32" y="20"/>
                                                                                                        </a:lnTo>
                                                                                                        <a:lnTo>
                                                                                                          <a:pt x="30" y="24"/>
                                                                                                        </a:lnTo>
                                                                                                        <a:lnTo>
                                                                                                          <a:pt x="30" y="24"/>
                                                                                                        </a:lnTo>
                                                                                                        <a:lnTo>
                                                                                                          <a:pt x="32" y="26"/>
                                                                                                        </a:lnTo>
                                                                                                        <a:lnTo>
                                                                                                          <a:pt x="36" y="28"/>
                                                                                                        </a:lnTo>
                                                                                                        <a:lnTo>
                                                                                                          <a:pt x="40" y="30"/>
                                                                                                        </a:lnTo>
                                                                                                        <a:lnTo>
                                                                                                          <a:pt x="40" y="32"/>
                                                                                                        </a:lnTo>
                                                                                                        <a:lnTo>
                                                                                                          <a:pt x="40" y="32"/>
                                                                                                        </a:lnTo>
                                                                                                        <a:lnTo>
                                                                                                          <a:pt x="40" y="36"/>
                                                                                                        </a:lnTo>
                                                                                                        <a:lnTo>
                                                                                                          <a:pt x="42" y="38"/>
                                                                                                        </a:lnTo>
                                                                                                        <a:lnTo>
                                                                                                          <a:pt x="44" y="40"/>
                                                                                                        </a:lnTo>
                                                                                                        <a:lnTo>
                                                                                                          <a:pt x="44" y="44"/>
                                                                                                        </a:lnTo>
                                                                                                        <a:lnTo>
                                                                                                          <a:pt x="44" y="44"/>
                                                                                                        </a:lnTo>
                                                                                                        <a:lnTo>
                                                                                                          <a:pt x="28" y="42"/>
                                                                                                        </a:lnTo>
                                                                                                        <a:lnTo>
                                                                                                          <a:pt x="22" y="44"/>
                                                                                                        </a:lnTo>
                                                                                                        <a:lnTo>
                                                                                                          <a:pt x="16" y="46"/>
                                                                                                        </a:lnTo>
                                                                                                        <a:lnTo>
                                                                                                          <a:pt x="12" y="50"/>
                                                                                                        </a:lnTo>
                                                                                                        <a:lnTo>
                                                                                                          <a:pt x="6" y="56"/>
                                                                                                        </a:lnTo>
                                                                                                        <a:lnTo>
                                                                                                          <a:pt x="4" y="66"/>
                                                                                                        </a:lnTo>
                                                                                                        <a:lnTo>
                                                                                                          <a:pt x="0" y="80"/>
                                                                                                        </a:lnTo>
                                                                                                        <a:lnTo>
                                                                                                          <a:pt x="0" y="80"/>
                                                                                                        </a:lnTo>
                                                                                                        <a:lnTo>
                                                                                                          <a:pt x="8" y="92"/>
                                                                                                        </a:lnTo>
                                                                                                        <a:lnTo>
                                                                                                          <a:pt x="16" y="98"/>
                                                                                                        </a:lnTo>
                                                                                                        <a:lnTo>
                                                                                                          <a:pt x="24" y="102"/>
                                                                                                        </a:lnTo>
                                                                                                        <a:lnTo>
                                                                                                          <a:pt x="36" y="104"/>
                                                                                                        </a:lnTo>
                                                                                                        <a:lnTo>
                                                                                                          <a:pt x="36" y="104"/>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baseline="-25000" dirty="0">
                                                                                                      <a:solidFill>
                                                                                                        <a:schemeClr val="tx1"/>
                                                                                                      </a:solidFill>
                                                                                                    </a:endParaRPr>
                                                                                                  </a:p>
                                                                                                </p:txBody>
                                                                                              </p:sp>
                                                                                              <p:sp>
                                                                                                <p:nvSpPr>
                                                                                                  <p:cNvPr id="655" name="Haiti"/>
                                                                                                  <p:cNvSpPr>
                                                                                                    <a:spLocks/>
                                                                                                  </p:cNvSpPr>
                                                                                                  <p:nvPr/>
                                                                                                </p:nvSpPr>
                                                                                                <p:spPr bwMode="auto">
                                                                                                  <a:xfrm>
                                                                                                    <a:off x="3440575" y="2914444"/>
                                                                                                    <a:ext cx="88091" cy="66766"/>
                                                                                                  </a:xfrm>
                                                                                                  <a:custGeom>
                                                                                                    <a:avLst/>
                                                                                                    <a:gdLst/>
                                                                                                    <a:ahLst/>
                                                                                                    <a:cxnLst>
                                                                                                      <a:cxn ang="0">
                                                                                                        <a:pos x="52" y="44"/>
                                                                                                      </a:cxn>
                                                                                                      <a:cxn ang="0">
                                                                                                        <a:pos x="46" y="42"/>
                                                                                                      </a:cxn>
                                                                                                      <a:cxn ang="0">
                                                                                                        <a:pos x="30" y="42"/>
                                                                                                      </a:cxn>
                                                                                                      <a:cxn ang="0">
                                                                                                        <a:pos x="24" y="42"/>
                                                                                                      </a:cxn>
                                                                                                      <a:cxn ang="0">
                                                                                                        <a:pos x="20" y="40"/>
                                                                                                      </a:cxn>
                                                                                                      <a:cxn ang="0">
                                                                                                        <a:pos x="12" y="42"/>
                                                                                                      </a:cxn>
                                                                                                      <a:cxn ang="0">
                                                                                                        <a:pos x="10" y="44"/>
                                                                                                      </a:cxn>
                                                                                                      <a:cxn ang="0">
                                                                                                        <a:pos x="8" y="42"/>
                                                                                                      </a:cxn>
                                                                                                      <a:cxn ang="0">
                                                                                                        <a:pos x="0" y="40"/>
                                                                                                      </a:cxn>
                                                                                                      <a:cxn ang="0">
                                                                                                        <a:pos x="0" y="38"/>
                                                                                                      </a:cxn>
                                                                                                      <a:cxn ang="0">
                                                                                                        <a:pos x="0" y="36"/>
                                                                                                      </a:cxn>
                                                                                                      <a:cxn ang="0">
                                                                                                        <a:pos x="0" y="34"/>
                                                                                                      </a:cxn>
                                                                                                      <a:cxn ang="0">
                                                                                                        <a:pos x="2" y="32"/>
                                                                                                      </a:cxn>
                                                                                                      <a:cxn ang="0">
                                                                                                        <a:pos x="8" y="32"/>
                                                                                                      </a:cxn>
                                                                                                      <a:cxn ang="0">
                                                                                                        <a:pos x="16" y="32"/>
                                                                                                      </a:cxn>
                                                                                                      <a:cxn ang="0">
                                                                                                        <a:pos x="18" y="32"/>
                                                                                                      </a:cxn>
                                                                                                      <a:cxn ang="0">
                                                                                                        <a:pos x="24" y="32"/>
                                                                                                      </a:cxn>
                                                                                                      <a:cxn ang="0">
                                                                                                        <a:pos x="32" y="30"/>
                                                                                                      </a:cxn>
                                                                                                      <a:cxn ang="0">
                                                                                                        <a:pos x="38" y="30"/>
                                                                                                      </a:cxn>
                                                                                                      <a:cxn ang="0">
                                                                                                        <a:pos x="42" y="30"/>
                                                                                                      </a:cxn>
                                                                                                      <a:cxn ang="0">
                                                                                                        <a:pos x="34" y="26"/>
                                                                                                      </a:cxn>
                                                                                                      <a:cxn ang="0">
                                                                                                        <a:pos x="34" y="22"/>
                                                                                                      </a:cxn>
                                                                                                      <a:cxn ang="0">
                                                                                                        <a:pos x="32" y="20"/>
                                                                                                      </a:cxn>
                                                                                                      <a:cxn ang="0">
                                                                                                        <a:pos x="30" y="18"/>
                                                                                                      </a:cxn>
                                                                                                      <a:cxn ang="0">
                                                                                                        <a:pos x="32" y="14"/>
                                                                                                      </a:cxn>
                                                                                                      <a:cxn ang="0">
                                                                                                        <a:pos x="30" y="12"/>
                                                                                                      </a:cxn>
                                                                                                      <a:cxn ang="0">
                                                                                                        <a:pos x="32" y="10"/>
                                                                                                      </a:cxn>
                                                                                                      <a:cxn ang="0">
                                                                                                        <a:pos x="30" y="8"/>
                                                                                                      </a:cxn>
                                                                                                      <a:cxn ang="0">
                                                                                                        <a:pos x="26" y="6"/>
                                                                                                      </a:cxn>
                                                                                                      <a:cxn ang="0">
                                                                                                        <a:pos x="22" y="0"/>
                                                                                                      </a:cxn>
                                                                                                      <a:cxn ang="0">
                                                                                                        <a:pos x="26" y="0"/>
                                                                                                      </a:cxn>
                                                                                                      <a:cxn ang="0">
                                                                                                        <a:pos x="32" y="0"/>
                                                                                                      </a:cxn>
                                                                                                      <a:cxn ang="0">
                                                                                                        <a:pos x="38" y="0"/>
                                                                                                      </a:cxn>
                                                                                                      <a:cxn ang="0">
                                                                                                        <a:pos x="46" y="2"/>
                                                                                                      </a:cxn>
                                                                                                      <a:cxn ang="0">
                                                                                                        <a:pos x="46" y="2"/>
                                                                                                      </a:cxn>
                                                                                                      <a:cxn ang="0">
                                                                                                        <a:pos x="50" y="2"/>
                                                                                                      </a:cxn>
                                                                                                      <a:cxn ang="0">
                                                                                                        <a:pos x="56" y="2"/>
                                                                                                      </a:cxn>
                                                                                                      <a:cxn ang="0">
                                                                                                        <a:pos x="58" y="6"/>
                                                                                                      </a:cxn>
                                                                                                      <a:cxn ang="0">
                                                                                                        <a:pos x="56" y="10"/>
                                                                                                      </a:cxn>
                                                                                                      <a:cxn ang="0">
                                                                                                        <a:pos x="56" y="14"/>
                                                                                                      </a:cxn>
                                                                                                      <a:cxn ang="0">
                                                                                                        <a:pos x="56" y="18"/>
                                                                                                      </a:cxn>
                                                                                                      <a:cxn ang="0">
                                                                                                        <a:pos x="54" y="20"/>
                                                                                                      </a:cxn>
                                                                                                      <a:cxn ang="0">
                                                                                                        <a:pos x="56" y="26"/>
                                                                                                      </a:cxn>
                                                                                                      <a:cxn ang="0">
                                                                                                        <a:pos x="52" y="34"/>
                                                                                                      </a:cxn>
                                                                                                      <a:cxn ang="0">
                                                                                                        <a:pos x="48" y="34"/>
                                                                                                      </a:cxn>
                                                                                                      <a:cxn ang="0">
                                                                                                        <a:pos x="52" y="40"/>
                                                                                                      </a:cxn>
                                                                                                      <a:cxn ang="0">
                                                                                                        <a:pos x="52" y="44"/>
                                                                                                      </a:cxn>
                                                                                                    </a:cxnLst>
                                                                                                    <a:rect l="0" t="0" r="r" b="b"/>
                                                                                                    <a:pathLst>
                                                                                                      <a:path w="58" h="44">
                                                                                                        <a:moveTo>
                                                                                                          <a:pt x="52" y="44"/>
                                                                                                        </a:moveTo>
                                                                                                        <a:lnTo>
                                                                                                          <a:pt x="52" y="44"/>
                                                                                                        </a:lnTo>
                                                                                                        <a:lnTo>
                                                                                                          <a:pt x="46" y="42"/>
                                                                                                        </a:lnTo>
                                                                                                        <a:lnTo>
                                                                                                          <a:pt x="46" y="42"/>
                                                                                                        </a:lnTo>
                                                                                                        <a:lnTo>
                                                                                                          <a:pt x="38" y="42"/>
                                                                                                        </a:lnTo>
                                                                                                        <a:lnTo>
                                                                                                          <a:pt x="30" y="42"/>
                                                                                                        </a:lnTo>
                                                                                                        <a:lnTo>
                                                                                                          <a:pt x="30" y="42"/>
                                                                                                        </a:lnTo>
                                                                                                        <a:lnTo>
                                                                                                          <a:pt x="24" y="42"/>
                                                                                                        </a:lnTo>
                                                                                                        <a:lnTo>
                                                                                                          <a:pt x="20" y="40"/>
                                                                                                        </a:lnTo>
                                                                                                        <a:lnTo>
                                                                                                          <a:pt x="20" y="40"/>
                                                                                                        </a:lnTo>
                                                                                                        <a:lnTo>
                                                                                                          <a:pt x="14" y="40"/>
                                                                                                        </a:lnTo>
                                                                                                        <a:lnTo>
                                                                                                          <a:pt x="12" y="42"/>
                                                                                                        </a:lnTo>
                                                                                                        <a:lnTo>
                                                                                                          <a:pt x="12" y="42"/>
                                                                                                        </a:lnTo>
                                                                                                        <a:lnTo>
                                                                                                          <a:pt x="10" y="44"/>
                                                                                                        </a:lnTo>
                                                                                                        <a:lnTo>
                                                                                                          <a:pt x="8" y="42"/>
                                                                                                        </a:lnTo>
                                                                                                        <a:lnTo>
                                                                                                          <a:pt x="8" y="42"/>
                                                                                                        </a:lnTo>
                                                                                                        <a:lnTo>
                                                                                                          <a:pt x="6" y="40"/>
                                                                                                        </a:lnTo>
                                                                                                        <a:lnTo>
                                                                                                          <a:pt x="0" y="40"/>
                                                                                                        </a:lnTo>
                                                                                                        <a:lnTo>
                                                                                                          <a:pt x="0" y="40"/>
                                                                                                        </a:lnTo>
                                                                                                        <a:lnTo>
                                                                                                          <a:pt x="0" y="38"/>
                                                                                                        </a:lnTo>
                                                                                                        <a:lnTo>
                                                                                                          <a:pt x="0" y="38"/>
                                                                                                        </a:lnTo>
                                                                                                        <a:lnTo>
                                                                                                          <a:pt x="0" y="36"/>
                                                                                                        </a:lnTo>
                                                                                                        <a:lnTo>
                                                                                                          <a:pt x="0" y="34"/>
                                                                                                        </a:lnTo>
                                                                                                        <a:lnTo>
                                                                                                          <a:pt x="0" y="34"/>
                                                                                                        </a:lnTo>
                                                                                                        <a:lnTo>
                                                                                                          <a:pt x="0" y="32"/>
                                                                                                        </a:lnTo>
                                                                                                        <a:lnTo>
                                                                                                          <a:pt x="2" y="32"/>
                                                                                                        </a:lnTo>
                                                                                                        <a:lnTo>
                                                                                                          <a:pt x="8" y="32"/>
                                                                                                        </a:lnTo>
                                                                                                        <a:lnTo>
                                                                                                          <a:pt x="8" y="32"/>
                                                                                                        </a:lnTo>
                                                                                                        <a:lnTo>
                                                                                                          <a:pt x="12" y="32"/>
                                                                                                        </a:lnTo>
                                                                                                        <a:lnTo>
                                                                                                          <a:pt x="16" y="32"/>
                                                                                                        </a:lnTo>
                                                                                                        <a:lnTo>
                                                                                                          <a:pt x="16" y="32"/>
                                                                                                        </a:lnTo>
                                                                                                        <a:lnTo>
                                                                                                          <a:pt x="18" y="32"/>
                                                                                                        </a:lnTo>
                                                                                                        <a:lnTo>
                                                                                                          <a:pt x="24" y="32"/>
                                                                                                        </a:lnTo>
                                                                                                        <a:lnTo>
                                                                                                          <a:pt x="24" y="32"/>
                                                                                                        </a:lnTo>
                                                                                                        <a:lnTo>
                                                                                                          <a:pt x="28" y="32"/>
                                                                                                        </a:lnTo>
                                                                                                        <a:lnTo>
                                                                                                          <a:pt x="32" y="30"/>
                                                                                                        </a:lnTo>
                                                                                                        <a:lnTo>
                                                                                                          <a:pt x="32" y="30"/>
                                                                                                        </a:lnTo>
                                                                                                        <a:lnTo>
                                                                                                          <a:pt x="38" y="30"/>
                                                                                                        </a:lnTo>
                                                                                                        <a:lnTo>
                                                                                                          <a:pt x="42" y="30"/>
                                                                                                        </a:lnTo>
                                                                                                        <a:lnTo>
                                                                                                          <a:pt x="42" y="30"/>
                                                                                                        </a:lnTo>
                                                                                                        <a:lnTo>
                                                                                                          <a:pt x="34" y="26"/>
                                                                                                        </a:lnTo>
                                                                                                        <a:lnTo>
                                                                                                          <a:pt x="34" y="26"/>
                                                                                                        </a:lnTo>
                                                                                                        <a:lnTo>
                                                                                                          <a:pt x="34" y="24"/>
                                                                                                        </a:lnTo>
                                                                                                        <a:lnTo>
                                                                                                          <a:pt x="34" y="22"/>
                                                                                                        </a:lnTo>
                                                                                                        <a:lnTo>
                                                                                                          <a:pt x="34" y="22"/>
                                                                                                        </a:lnTo>
                                                                                                        <a:lnTo>
                                                                                                          <a:pt x="32" y="20"/>
                                                                                                        </a:lnTo>
                                                                                                        <a:lnTo>
                                                                                                          <a:pt x="32" y="20"/>
                                                                                                        </a:lnTo>
                                                                                                        <a:lnTo>
                                                                                                          <a:pt x="30" y="18"/>
                                                                                                        </a:lnTo>
                                                                                                        <a:lnTo>
                                                                                                          <a:pt x="30" y="16"/>
                                                                                                        </a:lnTo>
                                                                                                        <a:lnTo>
                                                                                                          <a:pt x="32" y="14"/>
                                                                                                        </a:lnTo>
                                                                                                        <a:lnTo>
                                                                                                          <a:pt x="32" y="14"/>
                                                                                                        </a:lnTo>
                                                                                                        <a:lnTo>
                                                                                                          <a:pt x="30" y="12"/>
                                                                                                        </a:lnTo>
                                                                                                        <a:lnTo>
                                                                                                          <a:pt x="32" y="10"/>
                                                                                                        </a:lnTo>
                                                                                                        <a:lnTo>
                                                                                                          <a:pt x="32" y="10"/>
                                                                                                        </a:lnTo>
                                                                                                        <a:lnTo>
                                                                                                          <a:pt x="32" y="8"/>
                                                                                                        </a:lnTo>
                                                                                                        <a:lnTo>
                                                                                                          <a:pt x="30" y="8"/>
                                                                                                        </a:lnTo>
                                                                                                        <a:lnTo>
                                                                                                          <a:pt x="26" y="6"/>
                                                                                                        </a:lnTo>
                                                                                                        <a:lnTo>
                                                                                                          <a:pt x="26" y="6"/>
                                                                                                        </a:lnTo>
                                                                                                        <a:lnTo>
                                                                                                          <a:pt x="22" y="4"/>
                                                                                                        </a:lnTo>
                                                                                                        <a:lnTo>
                                                                                                          <a:pt x="22" y="0"/>
                                                                                                        </a:lnTo>
                                                                                                        <a:lnTo>
                                                                                                          <a:pt x="22" y="0"/>
                                                                                                        </a:lnTo>
                                                                                                        <a:lnTo>
                                                                                                          <a:pt x="26" y="0"/>
                                                                                                        </a:lnTo>
                                                                                                        <a:lnTo>
                                                                                                          <a:pt x="32" y="0"/>
                                                                                                        </a:lnTo>
                                                                                                        <a:lnTo>
                                                                                                          <a:pt x="32" y="0"/>
                                                                                                        </a:lnTo>
                                                                                                        <a:lnTo>
                                                                                                          <a:pt x="36" y="0"/>
                                                                                                        </a:lnTo>
                                                                                                        <a:lnTo>
                                                                                                          <a:pt x="38" y="0"/>
                                                                                                        </a:lnTo>
                                                                                                        <a:lnTo>
                                                                                                          <a:pt x="38" y="0"/>
                                                                                                        </a:lnTo>
                                                                                                        <a:lnTo>
                                                                                                          <a:pt x="46" y="2"/>
                                                                                                        </a:lnTo>
                                                                                                        <a:lnTo>
                                                                                                          <a:pt x="46" y="2"/>
                                                                                                        </a:lnTo>
                                                                                                        <a:lnTo>
                                                                                                          <a:pt x="46" y="2"/>
                                                                                                        </a:lnTo>
                                                                                                        <a:lnTo>
                                                                                                          <a:pt x="50" y="2"/>
                                                                                                        </a:lnTo>
                                                                                                        <a:lnTo>
                                                                                                          <a:pt x="50" y="2"/>
                                                                                                        </a:lnTo>
                                                                                                        <a:lnTo>
                                                                                                          <a:pt x="52" y="0"/>
                                                                                                        </a:lnTo>
                                                                                                        <a:lnTo>
                                                                                                          <a:pt x="56" y="2"/>
                                                                                                        </a:lnTo>
                                                                                                        <a:lnTo>
                                                                                                          <a:pt x="56" y="2"/>
                                                                                                        </a:lnTo>
                                                                                                        <a:lnTo>
                                                                                                          <a:pt x="58" y="6"/>
                                                                                                        </a:lnTo>
                                                                                                        <a:lnTo>
                                                                                                          <a:pt x="56" y="10"/>
                                                                                                        </a:lnTo>
                                                                                                        <a:lnTo>
                                                                                                          <a:pt x="56" y="10"/>
                                                                                                        </a:lnTo>
                                                                                                        <a:lnTo>
                                                                                                          <a:pt x="56" y="12"/>
                                                                                                        </a:lnTo>
                                                                                                        <a:lnTo>
                                                                                                          <a:pt x="56" y="14"/>
                                                                                                        </a:lnTo>
                                                                                                        <a:lnTo>
                                                                                                          <a:pt x="58" y="16"/>
                                                                                                        </a:lnTo>
                                                                                                        <a:lnTo>
                                                                                                          <a:pt x="56" y="18"/>
                                                                                                        </a:lnTo>
                                                                                                        <a:lnTo>
                                                                                                          <a:pt x="56" y="18"/>
                                                                                                        </a:lnTo>
                                                                                                        <a:lnTo>
                                                                                                          <a:pt x="54" y="20"/>
                                                                                                        </a:lnTo>
                                                                                                        <a:lnTo>
                                                                                                          <a:pt x="54" y="22"/>
                                                                                                        </a:lnTo>
                                                                                                        <a:lnTo>
                                                                                                          <a:pt x="56" y="26"/>
                                                                                                        </a:lnTo>
                                                                                                        <a:lnTo>
                                                                                                          <a:pt x="56" y="30"/>
                                                                                                        </a:lnTo>
                                                                                                        <a:lnTo>
                                                                                                          <a:pt x="52" y="34"/>
                                                                                                        </a:lnTo>
                                                                                                        <a:lnTo>
                                                                                                          <a:pt x="52" y="34"/>
                                                                                                        </a:lnTo>
                                                                                                        <a:lnTo>
                                                                                                          <a:pt x="48" y="34"/>
                                                                                                        </a:lnTo>
                                                                                                        <a:lnTo>
                                                                                                          <a:pt x="50" y="36"/>
                                                                                                        </a:lnTo>
                                                                                                        <a:lnTo>
                                                                                                          <a:pt x="52" y="40"/>
                                                                                                        </a:lnTo>
                                                                                                        <a:lnTo>
                                                                                                          <a:pt x="52" y="44"/>
                                                                                                        </a:lnTo>
                                                                                                        <a:lnTo>
                                                                                                          <a:pt x="52" y="44"/>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baseline="-25000" dirty="0">
                                                                                                      <a:solidFill>
                                                                                                        <a:schemeClr val="tx1"/>
                                                                                                      </a:solidFill>
                                                                                                    </a:endParaRPr>
                                                                                                  </a:p>
                                                                                                </p:txBody>
                                                                                              </p:sp>
                                                                                              <p:sp>
                                                                                                <p:nvSpPr>
                                                                                                  <p:cNvPr id="656" name="Honduras"/>
                                                                                                  <p:cNvSpPr>
                                                                                                    <a:spLocks/>
                                                                                                  </p:cNvSpPr>
                                                                                                  <p:nvPr/>
                                                                                                </p:nvSpPr>
                                                                                                <p:spPr bwMode="auto">
                                                                                                  <a:xfrm>
                                                                                                    <a:off x="2938194" y="3069221"/>
                                                                                                    <a:ext cx="206560" cy="115324"/>
                                                                                                  </a:xfrm>
                                                                                                  <a:custGeom>
                                                                                                    <a:avLst/>
                                                                                                    <a:gdLst/>
                                                                                                    <a:ahLst/>
                                                                                                    <a:cxnLst>
                                                                                                      <a:cxn ang="0">
                                                                                                        <a:pos x="32" y="66"/>
                                                                                                      </a:cxn>
                                                                                                      <a:cxn ang="0">
                                                                                                        <a:pos x="32" y="62"/>
                                                                                                      </a:cxn>
                                                                                                      <a:cxn ang="0">
                                                                                                        <a:pos x="30" y="58"/>
                                                                                                      </a:cxn>
                                                                                                      <a:cxn ang="0">
                                                                                                        <a:pos x="22" y="56"/>
                                                                                                      </a:cxn>
                                                                                                      <a:cxn ang="0">
                                                                                                        <a:pos x="14" y="48"/>
                                                                                                      </a:cxn>
                                                                                                      <a:cxn ang="0">
                                                                                                        <a:pos x="8" y="48"/>
                                                                                                      </a:cxn>
                                                                                                      <a:cxn ang="0">
                                                                                                        <a:pos x="0" y="44"/>
                                                                                                      </a:cxn>
                                                                                                      <a:cxn ang="0">
                                                                                                        <a:pos x="8" y="36"/>
                                                                                                      </a:cxn>
                                                                                                      <a:cxn ang="0">
                                                                                                        <a:pos x="8" y="32"/>
                                                                                                      </a:cxn>
                                                                                                      <a:cxn ang="0">
                                                                                                        <a:pos x="10" y="26"/>
                                                                                                      </a:cxn>
                                                                                                      <a:cxn ang="0">
                                                                                                        <a:pos x="26" y="12"/>
                                                                                                      </a:cxn>
                                                                                                      <a:cxn ang="0">
                                                                                                        <a:pos x="32" y="6"/>
                                                                                                      </a:cxn>
                                                                                                      <a:cxn ang="0">
                                                                                                        <a:pos x="40" y="4"/>
                                                                                                      </a:cxn>
                                                                                                      <a:cxn ang="0">
                                                                                                        <a:pos x="44" y="0"/>
                                                                                                      </a:cxn>
                                                                                                      <a:cxn ang="0">
                                                                                                        <a:pos x="54" y="4"/>
                                                                                                      </a:cxn>
                                                                                                      <a:cxn ang="0">
                                                                                                        <a:pos x="82" y="0"/>
                                                                                                      </a:cxn>
                                                                                                      <a:cxn ang="0">
                                                                                                        <a:pos x="92" y="0"/>
                                                                                                      </a:cxn>
                                                                                                      <a:cxn ang="0">
                                                                                                        <a:pos x="96" y="0"/>
                                                                                                      </a:cxn>
                                                                                                      <a:cxn ang="0">
                                                                                                        <a:pos x="102" y="0"/>
                                                                                                      </a:cxn>
                                                                                                      <a:cxn ang="0">
                                                                                                        <a:pos x="112" y="4"/>
                                                                                                      </a:cxn>
                                                                                                      <a:cxn ang="0">
                                                                                                        <a:pos x="110" y="8"/>
                                                                                                      </a:cxn>
                                                                                                      <a:cxn ang="0">
                                                                                                        <a:pos x="112" y="10"/>
                                                                                                      </a:cxn>
                                                                                                      <a:cxn ang="0">
                                                                                                        <a:pos x="122" y="14"/>
                                                                                                      </a:cxn>
                                                                                                      <a:cxn ang="0">
                                                                                                        <a:pos x="124" y="10"/>
                                                                                                      </a:cxn>
                                                                                                      <a:cxn ang="0">
                                                                                                        <a:pos x="134" y="18"/>
                                                                                                      </a:cxn>
                                                                                                      <a:cxn ang="0">
                                                                                                        <a:pos x="136" y="22"/>
                                                                                                      </a:cxn>
                                                                                                      <a:cxn ang="0">
                                                                                                        <a:pos x="124" y="28"/>
                                                                                                      </a:cxn>
                                                                                                      <a:cxn ang="0">
                                                                                                        <a:pos x="110" y="32"/>
                                                                                                      </a:cxn>
                                                                                                      <a:cxn ang="0">
                                                                                                        <a:pos x="104" y="30"/>
                                                                                                      </a:cxn>
                                                                                                      <a:cxn ang="0">
                                                                                                        <a:pos x="100" y="32"/>
                                                                                                      </a:cxn>
                                                                                                      <a:cxn ang="0">
                                                                                                        <a:pos x="94" y="34"/>
                                                                                                      </a:cxn>
                                                                                                      <a:cxn ang="0">
                                                                                                        <a:pos x="94" y="42"/>
                                                                                                      </a:cxn>
                                                                                                      <a:cxn ang="0">
                                                                                                        <a:pos x="82" y="48"/>
                                                                                                      </a:cxn>
                                                                                                      <a:cxn ang="0">
                                                                                                        <a:pos x="72" y="52"/>
                                                                                                      </a:cxn>
                                                                                                      <a:cxn ang="0">
                                                                                                        <a:pos x="66" y="54"/>
                                                                                                      </a:cxn>
                                                                                                      <a:cxn ang="0">
                                                                                                        <a:pos x="64" y="60"/>
                                                                                                      </a:cxn>
                                                                                                      <a:cxn ang="0">
                                                                                                        <a:pos x="60" y="62"/>
                                                                                                      </a:cxn>
                                                                                                      <a:cxn ang="0">
                                                                                                        <a:pos x="54" y="62"/>
                                                                                                      </a:cxn>
                                                                                                      <a:cxn ang="0">
                                                                                                        <a:pos x="54" y="66"/>
                                                                                                      </a:cxn>
                                                                                                      <a:cxn ang="0">
                                                                                                        <a:pos x="44" y="76"/>
                                                                                                      </a:cxn>
                                                                                                      <a:cxn ang="0">
                                                                                                        <a:pos x="42" y="72"/>
                                                                                                      </a:cxn>
                                                                                                      <a:cxn ang="0">
                                                                                                        <a:pos x="38" y="66"/>
                                                                                                      </a:cxn>
                                                                                                    </a:cxnLst>
                                                                                                    <a:rect l="0" t="0" r="r" b="b"/>
                                                                                                    <a:pathLst>
                                                                                                      <a:path w="136" h="76">
                                                                                                        <a:moveTo>
                                                                                                          <a:pt x="34" y="68"/>
                                                                                                        </a:moveTo>
                                                                                                        <a:lnTo>
                                                                                                          <a:pt x="34" y="68"/>
                                                                                                        </a:lnTo>
                                                                                                        <a:lnTo>
                                                                                                          <a:pt x="32" y="66"/>
                                                                                                        </a:lnTo>
                                                                                                        <a:lnTo>
                                                                                                          <a:pt x="32" y="64"/>
                                                                                                        </a:lnTo>
                                                                                                        <a:lnTo>
                                                                                                          <a:pt x="32" y="62"/>
                                                                                                        </a:lnTo>
                                                                                                        <a:lnTo>
                                                                                                          <a:pt x="32" y="62"/>
                                                                                                        </a:lnTo>
                                                                                                        <a:lnTo>
                                                                                                          <a:pt x="32" y="62"/>
                                                                                                        </a:lnTo>
                                                                                                        <a:lnTo>
                                                                                                          <a:pt x="30" y="60"/>
                                                                                                        </a:lnTo>
                                                                                                        <a:lnTo>
                                                                                                          <a:pt x="30" y="58"/>
                                                                                                        </a:lnTo>
                                                                                                        <a:lnTo>
                                                                                                          <a:pt x="28" y="56"/>
                                                                                                        </a:lnTo>
                                                                                                        <a:lnTo>
                                                                                                          <a:pt x="22" y="56"/>
                                                                                                        </a:lnTo>
                                                                                                        <a:lnTo>
                                                                                                          <a:pt x="22" y="56"/>
                                                                                                        </a:lnTo>
                                                                                                        <a:lnTo>
                                                                                                          <a:pt x="18" y="54"/>
                                                                                                        </a:lnTo>
                                                                                                        <a:lnTo>
                                                                                                          <a:pt x="16" y="50"/>
                                                                                                        </a:lnTo>
                                                                                                        <a:lnTo>
                                                                                                          <a:pt x="14" y="48"/>
                                                                                                        </a:lnTo>
                                                                                                        <a:lnTo>
                                                                                                          <a:pt x="10" y="46"/>
                                                                                                        </a:lnTo>
                                                                                                        <a:lnTo>
                                                                                                          <a:pt x="10" y="46"/>
                                                                                                        </a:lnTo>
                                                                                                        <a:lnTo>
                                                                                                          <a:pt x="8" y="48"/>
                                                                                                        </a:lnTo>
                                                                                                        <a:lnTo>
                                                                                                          <a:pt x="6" y="46"/>
                                                                                                        </a:lnTo>
                                                                                                        <a:lnTo>
                                                                                                          <a:pt x="6" y="44"/>
                                                                                                        </a:lnTo>
                                                                                                        <a:lnTo>
                                                                                                          <a:pt x="0" y="44"/>
                                                                                                        </a:lnTo>
                                                                                                        <a:lnTo>
                                                                                                          <a:pt x="0" y="44"/>
                                                                                                        </a:lnTo>
                                                                                                        <a:lnTo>
                                                                                                          <a:pt x="2" y="40"/>
                                                                                                        </a:lnTo>
                                                                                                        <a:lnTo>
                                                                                                          <a:pt x="8" y="36"/>
                                                                                                        </a:lnTo>
                                                                                                        <a:lnTo>
                                                                                                          <a:pt x="8" y="36"/>
                                                                                                        </a:lnTo>
                                                                                                        <a:lnTo>
                                                                                                          <a:pt x="10" y="32"/>
                                                                                                        </a:lnTo>
                                                                                                        <a:lnTo>
                                                                                                          <a:pt x="8" y="32"/>
                                                                                                        </a:lnTo>
                                                                                                        <a:lnTo>
                                                                                                          <a:pt x="6" y="30"/>
                                                                                                        </a:lnTo>
                                                                                                        <a:lnTo>
                                                                                                          <a:pt x="10" y="26"/>
                                                                                                        </a:lnTo>
                                                                                                        <a:lnTo>
                                                                                                          <a:pt x="10" y="26"/>
                                                                                                        </a:lnTo>
                                                                                                        <a:lnTo>
                                                                                                          <a:pt x="16" y="20"/>
                                                                                                        </a:lnTo>
                                                                                                        <a:lnTo>
                                                                                                          <a:pt x="22" y="16"/>
                                                                                                        </a:lnTo>
                                                                                                        <a:lnTo>
                                                                                                          <a:pt x="26" y="12"/>
                                                                                                        </a:lnTo>
                                                                                                        <a:lnTo>
                                                                                                          <a:pt x="30" y="4"/>
                                                                                                        </a:lnTo>
                                                                                                        <a:lnTo>
                                                                                                          <a:pt x="30" y="4"/>
                                                                                                        </a:lnTo>
                                                                                                        <a:lnTo>
                                                                                                          <a:pt x="32" y="6"/>
                                                                                                        </a:lnTo>
                                                                                                        <a:lnTo>
                                                                                                          <a:pt x="34" y="6"/>
                                                                                                        </a:lnTo>
                                                                                                        <a:lnTo>
                                                                                                          <a:pt x="36" y="4"/>
                                                                                                        </a:lnTo>
                                                                                                        <a:lnTo>
                                                                                                          <a:pt x="40" y="4"/>
                                                                                                        </a:lnTo>
                                                                                                        <a:lnTo>
                                                                                                          <a:pt x="40" y="4"/>
                                                                                                        </a:lnTo>
                                                                                                        <a:lnTo>
                                                                                                          <a:pt x="40" y="0"/>
                                                                                                        </a:lnTo>
                                                                                                        <a:lnTo>
                                                                                                          <a:pt x="44" y="0"/>
                                                                                                        </a:lnTo>
                                                                                                        <a:lnTo>
                                                                                                          <a:pt x="50" y="2"/>
                                                                                                        </a:lnTo>
                                                                                                        <a:lnTo>
                                                                                                          <a:pt x="50" y="2"/>
                                                                                                        </a:lnTo>
                                                                                                        <a:lnTo>
                                                                                                          <a:pt x="54" y="4"/>
                                                                                                        </a:lnTo>
                                                                                                        <a:lnTo>
                                                                                                          <a:pt x="60" y="4"/>
                                                                                                        </a:lnTo>
                                                                                                        <a:lnTo>
                                                                                                          <a:pt x="70" y="2"/>
                                                                                                        </a:lnTo>
                                                                                                        <a:lnTo>
                                                                                                          <a:pt x="82" y="0"/>
                                                                                                        </a:lnTo>
                                                                                                        <a:lnTo>
                                                                                                          <a:pt x="88" y="0"/>
                                                                                                        </a:lnTo>
                                                                                                        <a:lnTo>
                                                                                                          <a:pt x="92" y="0"/>
                                                                                                        </a:lnTo>
                                                                                                        <a:lnTo>
                                                                                                          <a:pt x="92" y="0"/>
                                                                                                        </a:lnTo>
                                                                                                        <a:lnTo>
                                                                                                          <a:pt x="96" y="2"/>
                                                                                                        </a:lnTo>
                                                                                                        <a:lnTo>
                                                                                                          <a:pt x="96" y="2"/>
                                                                                                        </a:lnTo>
                                                                                                        <a:lnTo>
                                                                                                          <a:pt x="96" y="0"/>
                                                                                                        </a:lnTo>
                                                                                                        <a:lnTo>
                                                                                                          <a:pt x="96" y="0"/>
                                                                                                        </a:lnTo>
                                                                                                        <a:lnTo>
                                                                                                          <a:pt x="96" y="0"/>
                                                                                                        </a:lnTo>
                                                                                                        <a:lnTo>
                                                                                                          <a:pt x="102" y="0"/>
                                                                                                        </a:lnTo>
                                                                                                        <a:lnTo>
                                                                                                          <a:pt x="104" y="2"/>
                                                                                                        </a:lnTo>
                                                                                                        <a:lnTo>
                                                                                                          <a:pt x="112" y="4"/>
                                                                                                        </a:lnTo>
                                                                                                        <a:lnTo>
                                                                                                          <a:pt x="112" y="4"/>
                                                                                                        </a:lnTo>
                                                                                                        <a:lnTo>
                                                                                                          <a:pt x="118" y="6"/>
                                                                                                        </a:lnTo>
                                                                                                        <a:lnTo>
                                                                                                          <a:pt x="114" y="6"/>
                                                                                                        </a:lnTo>
                                                                                                        <a:lnTo>
                                                                                                          <a:pt x="110" y="8"/>
                                                                                                        </a:lnTo>
                                                                                                        <a:lnTo>
                                                                                                          <a:pt x="110" y="8"/>
                                                                                                        </a:lnTo>
                                                                                                        <a:lnTo>
                                                                                                          <a:pt x="108" y="8"/>
                                                                                                        </a:lnTo>
                                                                                                        <a:lnTo>
                                                                                                          <a:pt x="112" y="10"/>
                                                                                                        </a:lnTo>
                                                                                                        <a:lnTo>
                                                                                                          <a:pt x="116" y="12"/>
                                                                                                        </a:lnTo>
                                                                                                        <a:lnTo>
                                                                                                          <a:pt x="116" y="12"/>
                                                                                                        </a:lnTo>
                                                                                                        <a:lnTo>
                                                                                                          <a:pt x="122" y="14"/>
                                                                                                        </a:lnTo>
                                                                                                        <a:lnTo>
                                                                                                          <a:pt x="120" y="12"/>
                                                                                                        </a:lnTo>
                                                                                                        <a:lnTo>
                                                                                                          <a:pt x="120" y="8"/>
                                                                                                        </a:lnTo>
                                                                                                        <a:lnTo>
                                                                                                          <a:pt x="124" y="10"/>
                                                                                                        </a:lnTo>
                                                                                                        <a:lnTo>
                                                                                                          <a:pt x="124" y="10"/>
                                                                                                        </a:lnTo>
                                                                                                        <a:lnTo>
                                                                                                          <a:pt x="130" y="14"/>
                                                                                                        </a:lnTo>
                                                                                                        <a:lnTo>
                                                                                                          <a:pt x="134" y="18"/>
                                                                                                        </a:lnTo>
                                                                                                        <a:lnTo>
                                                                                                          <a:pt x="134" y="20"/>
                                                                                                        </a:lnTo>
                                                                                                        <a:lnTo>
                                                                                                          <a:pt x="136" y="22"/>
                                                                                                        </a:lnTo>
                                                                                                        <a:lnTo>
                                                                                                          <a:pt x="136" y="22"/>
                                                                                                        </a:lnTo>
                                                                                                        <a:lnTo>
                                                                                                          <a:pt x="130" y="24"/>
                                                                                                        </a:lnTo>
                                                                                                        <a:lnTo>
                                                                                                          <a:pt x="124" y="28"/>
                                                                                                        </a:lnTo>
                                                                                                        <a:lnTo>
                                                                                                          <a:pt x="124" y="28"/>
                                                                                                        </a:lnTo>
                                                                                                        <a:lnTo>
                                                                                                          <a:pt x="120" y="30"/>
                                                                                                        </a:lnTo>
                                                                                                        <a:lnTo>
                                                                                                          <a:pt x="116" y="32"/>
                                                                                                        </a:lnTo>
                                                                                                        <a:lnTo>
                                                                                                          <a:pt x="110" y="32"/>
                                                                                                        </a:lnTo>
                                                                                                        <a:lnTo>
                                                                                                          <a:pt x="110" y="32"/>
                                                                                                        </a:lnTo>
                                                                                                        <a:lnTo>
                                                                                                          <a:pt x="106" y="32"/>
                                                                                                        </a:lnTo>
                                                                                                        <a:lnTo>
                                                                                                          <a:pt x="104" y="30"/>
                                                                                                        </a:lnTo>
                                                                                                        <a:lnTo>
                                                                                                          <a:pt x="100" y="30"/>
                                                                                                        </a:lnTo>
                                                                                                        <a:lnTo>
                                                                                                          <a:pt x="100" y="32"/>
                                                                                                        </a:lnTo>
                                                                                                        <a:lnTo>
                                                                                                          <a:pt x="100" y="32"/>
                                                                                                        </a:lnTo>
                                                                                                        <a:lnTo>
                                                                                                          <a:pt x="98" y="34"/>
                                                                                                        </a:lnTo>
                                                                                                        <a:lnTo>
                                                                                                          <a:pt x="96" y="34"/>
                                                                                                        </a:lnTo>
                                                                                                        <a:lnTo>
                                                                                                          <a:pt x="94" y="34"/>
                                                                                                        </a:lnTo>
                                                                                                        <a:lnTo>
                                                                                                          <a:pt x="94" y="38"/>
                                                                                                        </a:lnTo>
                                                                                                        <a:lnTo>
                                                                                                          <a:pt x="94" y="38"/>
                                                                                                        </a:lnTo>
                                                                                                        <a:lnTo>
                                                                                                          <a:pt x="94" y="42"/>
                                                                                                        </a:lnTo>
                                                                                                        <a:lnTo>
                                                                                                          <a:pt x="92" y="42"/>
                                                                                                        </a:lnTo>
                                                                                                        <a:lnTo>
                                                                                                          <a:pt x="86" y="42"/>
                                                                                                        </a:lnTo>
                                                                                                        <a:lnTo>
                                                                                                          <a:pt x="82" y="48"/>
                                                                                                        </a:lnTo>
                                                                                                        <a:lnTo>
                                                                                                          <a:pt x="82" y="48"/>
                                                                                                        </a:lnTo>
                                                                                                        <a:lnTo>
                                                                                                          <a:pt x="76" y="52"/>
                                                                                                        </a:lnTo>
                                                                                                        <a:lnTo>
                                                                                                          <a:pt x="72" y="52"/>
                                                                                                        </a:lnTo>
                                                                                                        <a:lnTo>
                                                                                                          <a:pt x="70" y="52"/>
                                                                                                        </a:lnTo>
                                                                                                        <a:lnTo>
                                                                                                          <a:pt x="66" y="54"/>
                                                                                                        </a:lnTo>
                                                                                                        <a:lnTo>
                                                                                                          <a:pt x="66" y="54"/>
                                                                                                        </a:lnTo>
                                                                                                        <a:lnTo>
                                                                                                          <a:pt x="64" y="56"/>
                                                                                                        </a:lnTo>
                                                                                                        <a:lnTo>
                                                                                                          <a:pt x="64" y="58"/>
                                                                                                        </a:lnTo>
                                                                                                        <a:lnTo>
                                                                                                          <a:pt x="64" y="60"/>
                                                                                                        </a:lnTo>
                                                                                                        <a:lnTo>
                                                                                                          <a:pt x="62" y="62"/>
                                                                                                        </a:lnTo>
                                                                                                        <a:lnTo>
                                                                                                          <a:pt x="62" y="62"/>
                                                                                                        </a:lnTo>
                                                                                                        <a:lnTo>
                                                                                                          <a:pt x="60" y="62"/>
                                                                                                        </a:lnTo>
                                                                                                        <a:lnTo>
                                                                                                          <a:pt x="58" y="62"/>
                                                                                                        </a:lnTo>
                                                                                                        <a:lnTo>
                                                                                                          <a:pt x="56" y="60"/>
                                                                                                        </a:lnTo>
                                                                                                        <a:lnTo>
                                                                                                          <a:pt x="54" y="62"/>
                                                                                                        </a:lnTo>
                                                                                                        <a:lnTo>
                                                                                                          <a:pt x="54" y="62"/>
                                                                                                        </a:lnTo>
                                                                                                        <a:lnTo>
                                                                                                          <a:pt x="52" y="64"/>
                                                                                                        </a:lnTo>
                                                                                                        <a:lnTo>
                                                                                                          <a:pt x="54" y="66"/>
                                                                                                        </a:lnTo>
                                                                                                        <a:lnTo>
                                                                                                          <a:pt x="52" y="70"/>
                                                                                                        </a:lnTo>
                                                                                                        <a:lnTo>
                                                                                                          <a:pt x="44" y="76"/>
                                                                                                        </a:lnTo>
                                                                                                        <a:lnTo>
                                                                                                          <a:pt x="44" y="76"/>
                                                                                                        </a:lnTo>
                                                                                                        <a:lnTo>
                                                                                                          <a:pt x="44" y="74"/>
                                                                                                        </a:lnTo>
                                                                                                        <a:lnTo>
                                                                                                          <a:pt x="42" y="72"/>
                                                                                                        </a:lnTo>
                                                                                                        <a:lnTo>
                                                                                                          <a:pt x="42" y="72"/>
                                                                                                        </a:lnTo>
                                                                                                        <a:lnTo>
                                                                                                          <a:pt x="40" y="70"/>
                                                                                                        </a:lnTo>
                                                                                                        <a:lnTo>
                                                                                                          <a:pt x="40" y="68"/>
                                                                                                        </a:lnTo>
                                                                                                        <a:lnTo>
                                                                                                          <a:pt x="38" y="66"/>
                                                                                                        </a:lnTo>
                                                                                                        <a:lnTo>
                                                                                                          <a:pt x="34" y="68"/>
                                                                                                        </a:lnTo>
                                                                                                        <a:lnTo>
                                                                                                          <a:pt x="34" y="68"/>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baseline="-25000" dirty="0">
                                                                                                      <a:solidFill>
                                                                                                        <a:schemeClr val="tx1"/>
                                                                                                      </a:solidFill>
                                                                                                    </a:endParaRPr>
                                                                                                  </a:p>
                                                                                                </p:txBody>
                                                                                              </p:sp>
                                                                                              <p:sp>
                                                                                                <p:nvSpPr>
                                                                                                  <p:cNvPr id="657" name="Jamaica"/>
                                                                                                  <p:cNvSpPr>
                                                                                                    <a:spLocks/>
                                                                                                  </p:cNvSpPr>
                                                                                                  <p:nvPr/>
                                                                                                </p:nvSpPr>
                                                                                                <p:spPr bwMode="auto">
                                                                                                  <a:xfrm>
                                                                                                    <a:off x="3308785" y="2966037"/>
                                                                                                    <a:ext cx="75941" cy="33383"/>
                                                                                                  </a:xfrm>
                                                                                                  <a:custGeom>
                                                                                                    <a:avLst/>
                                                                                                    <a:gdLst/>
                                                                                                    <a:ahLst/>
                                                                                                    <a:cxnLst>
                                                                                                      <a:cxn ang="0">
                                                                                                        <a:pos x="24" y="22"/>
                                                                                                      </a:cxn>
                                                                                                      <a:cxn ang="0">
                                                                                                        <a:pos x="24" y="22"/>
                                                                                                      </a:cxn>
                                                                                                      <a:cxn ang="0">
                                                                                                        <a:pos x="22" y="18"/>
                                                                                                      </a:cxn>
                                                                                                      <a:cxn ang="0">
                                                                                                        <a:pos x="18" y="16"/>
                                                                                                      </a:cxn>
                                                                                                      <a:cxn ang="0">
                                                                                                        <a:pos x="18" y="16"/>
                                                                                                      </a:cxn>
                                                                                                      <a:cxn ang="0">
                                                                                                        <a:pos x="16" y="16"/>
                                                                                                      </a:cxn>
                                                                                                      <a:cxn ang="0">
                                                                                                        <a:pos x="14" y="14"/>
                                                                                                      </a:cxn>
                                                                                                      <a:cxn ang="0">
                                                                                                        <a:pos x="12" y="10"/>
                                                                                                      </a:cxn>
                                                                                                      <a:cxn ang="0">
                                                                                                        <a:pos x="12" y="10"/>
                                                                                                      </a:cxn>
                                                                                                      <a:cxn ang="0">
                                                                                                        <a:pos x="10" y="8"/>
                                                                                                      </a:cxn>
                                                                                                      <a:cxn ang="0">
                                                                                                        <a:pos x="6" y="6"/>
                                                                                                      </a:cxn>
                                                                                                      <a:cxn ang="0">
                                                                                                        <a:pos x="6" y="6"/>
                                                                                                      </a:cxn>
                                                                                                      <a:cxn ang="0">
                                                                                                        <a:pos x="2" y="4"/>
                                                                                                      </a:cxn>
                                                                                                      <a:cxn ang="0">
                                                                                                        <a:pos x="0" y="4"/>
                                                                                                      </a:cxn>
                                                                                                      <a:cxn ang="0">
                                                                                                        <a:pos x="2" y="2"/>
                                                                                                      </a:cxn>
                                                                                                      <a:cxn ang="0">
                                                                                                        <a:pos x="2" y="2"/>
                                                                                                      </a:cxn>
                                                                                                      <a:cxn ang="0">
                                                                                                        <a:pos x="10" y="0"/>
                                                                                                      </a:cxn>
                                                                                                      <a:cxn ang="0">
                                                                                                        <a:pos x="14" y="0"/>
                                                                                                      </a:cxn>
                                                                                                      <a:cxn ang="0">
                                                                                                        <a:pos x="14" y="0"/>
                                                                                                      </a:cxn>
                                                                                                      <a:cxn ang="0">
                                                                                                        <a:pos x="16" y="0"/>
                                                                                                      </a:cxn>
                                                                                                      <a:cxn ang="0">
                                                                                                        <a:pos x="22" y="0"/>
                                                                                                      </a:cxn>
                                                                                                      <a:cxn ang="0">
                                                                                                        <a:pos x="22" y="0"/>
                                                                                                      </a:cxn>
                                                                                                      <a:cxn ang="0">
                                                                                                        <a:pos x="34" y="2"/>
                                                                                                      </a:cxn>
                                                                                                      <a:cxn ang="0">
                                                                                                        <a:pos x="34" y="2"/>
                                                                                                      </a:cxn>
                                                                                                      <a:cxn ang="0">
                                                                                                        <a:pos x="38" y="6"/>
                                                                                                      </a:cxn>
                                                                                                      <a:cxn ang="0">
                                                                                                        <a:pos x="40" y="8"/>
                                                                                                      </a:cxn>
                                                                                                      <a:cxn ang="0">
                                                                                                        <a:pos x="44" y="10"/>
                                                                                                      </a:cxn>
                                                                                                      <a:cxn ang="0">
                                                                                                        <a:pos x="44" y="10"/>
                                                                                                      </a:cxn>
                                                                                                      <a:cxn ang="0">
                                                                                                        <a:pos x="48" y="12"/>
                                                                                                      </a:cxn>
                                                                                                      <a:cxn ang="0">
                                                                                                        <a:pos x="50" y="14"/>
                                                                                                      </a:cxn>
                                                                                                      <a:cxn ang="0">
                                                                                                        <a:pos x="50" y="14"/>
                                                                                                      </a:cxn>
                                                                                                      <a:cxn ang="0">
                                                                                                        <a:pos x="48" y="16"/>
                                                                                                      </a:cxn>
                                                                                                      <a:cxn ang="0">
                                                                                                        <a:pos x="44" y="16"/>
                                                                                                      </a:cxn>
                                                                                                      <a:cxn ang="0">
                                                                                                        <a:pos x="44" y="16"/>
                                                                                                      </a:cxn>
                                                                                                      <a:cxn ang="0">
                                                                                                        <a:pos x="40" y="18"/>
                                                                                                      </a:cxn>
                                                                                                      <a:cxn ang="0">
                                                                                                        <a:pos x="34" y="18"/>
                                                                                                      </a:cxn>
                                                                                                      <a:cxn ang="0">
                                                                                                        <a:pos x="34" y="18"/>
                                                                                                      </a:cxn>
                                                                                                      <a:cxn ang="0">
                                                                                                        <a:pos x="32" y="16"/>
                                                                                                      </a:cxn>
                                                                                                      <a:cxn ang="0">
                                                                                                        <a:pos x="32" y="18"/>
                                                                                                      </a:cxn>
                                                                                                      <a:cxn ang="0">
                                                                                                        <a:pos x="32" y="18"/>
                                                                                                      </a:cxn>
                                                                                                      <a:cxn ang="0">
                                                                                                        <a:pos x="30" y="20"/>
                                                                                                      </a:cxn>
                                                                                                      <a:cxn ang="0">
                                                                                                        <a:pos x="28" y="18"/>
                                                                                                      </a:cxn>
                                                                                                      <a:cxn ang="0">
                                                                                                        <a:pos x="28" y="18"/>
                                                                                                      </a:cxn>
                                                                                                      <a:cxn ang="0">
                                                                                                        <a:pos x="26" y="18"/>
                                                                                                      </a:cxn>
                                                                                                      <a:cxn ang="0">
                                                                                                        <a:pos x="26" y="20"/>
                                                                                                      </a:cxn>
                                                                                                      <a:cxn ang="0">
                                                                                                        <a:pos x="26" y="20"/>
                                                                                                      </a:cxn>
                                                                                                      <a:cxn ang="0">
                                                                                                        <a:pos x="26" y="22"/>
                                                                                                      </a:cxn>
                                                                                                      <a:cxn ang="0">
                                                                                                        <a:pos x="24" y="22"/>
                                                                                                      </a:cxn>
                                                                                                      <a:cxn ang="0">
                                                                                                        <a:pos x="24" y="22"/>
                                                                                                      </a:cxn>
                                                                                                    </a:cxnLst>
                                                                                                    <a:rect l="0" t="0" r="r" b="b"/>
                                                                                                    <a:pathLst>
                                                                                                      <a:path w="50" h="22">
                                                                                                        <a:moveTo>
                                                                                                          <a:pt x="24" y="22"/>
                                                                                                        </a:moveTo>
                                                                                                        <a:lnTo>
                                                                                                          <a:pt x="24" y="22"/>
                                                                                                        </a:lnTo>
                                                                                                        <a:lnTo>
                                                                                                          <a:pt x="22" y="18"/>
                                                                                                        </a:lnTo>
                                                                                                        <a:lnTo>
                                                                                                          <a:pt x="18" y="16"/>
                                                                                                        </a:lnTo>
                                                                                                        <a:lnTo>
                                                                                                          <a:pt x="18" y="16"/>
                                                                                                        </a:lnTo>
                                                                                                        <a:lnTo>
                                                                                                          <a:pt x="16" y="16"/>
                                                                                                        </a:lnTo>
                                                                                                        <a:lnTo>
                                                                                                          <a:pt x="14" y="14"/>
                                                                                                        </a:lnTo>
                                                                                                        <a:lnTo>
                                                                                                          <a:pt x="12" y="10"/>
                                                                                                        </a:lnTo>
                                                                                                        <a:lnTo>
                                                                                                          <a:pt x="12" y="10"/>
                                                                                                        </a:lnTo>
                                                                                                        <a:lnTo>
                                                                                                          <a:pt x="10" y="8"/>
                                                                                                        </a:lnTo>
                                                                                                        <a:lnTo>
                                                                                                          <a:pt x="6" y="6"/>
                                                                                                        </a:lnTo>
                                                                                                        <a:lnTo>
                                                                                                          <a:pt x="6" y="6"/>
                                                                                                        </a:lnTo>
                                                                                                        <a:lnTo>
                                                                                                          <a:pt x="2" y="4"/>
                                                                                                        </a:lnTo>
                                                                                                        <a:lnTo>
                                                                                                          <a:pt x="0" y="4"/>
                                                                                                        </a:lnTo>
                                                                                                        <a:lnTo>
                                                                                                          <a:pt x="2" y="2"/>
                                                                                                        </a:lnTo>
                                                                                                        <a:lnTo>
                                                                                                          <a:pt x="2" y="2"/>
                                                                                                        </a:lnTo>
                                                                                                        <a:lnTo>
                                                                                                          <a:pt x="10" y="0"/>
                                                                                                        </a:lnTo>
                                                                                                        <a:lnTo>
                                                                                                          <a:pt x="14" y="0"/>
                                                                                                        </a:lnTo>
                                                                                                        <a:lnTo>
                                                                                                          <a:pt x="14" y="0"/>
                                                                                                        </a:lnTo>
                                                                                                        <a:lnTo>
                                                                                                          <a:pt x="16" y="0"/>
                                                                                                        </a:lnTo>
                                                                                                        <a:lnTo>
                                                                                                          <a:pt x="22" y="0"/>
                                                                                                        </a:lnTo>
                                                                                                        <a:lnTo>
                                                                                                          <a:pt x="22" y="0"/>
                                                                                                        </a:lnTo>
                                                                                                        <a:lnTo>
                                                                                                          <a:pt x="34" y="2"/>
                                                                                                        </a:lnTo>
                                                                                                        <a:lnTo>
                                                                                                          <a:pt x="34" y="2"/>
                                                                                                        </a:lnTo>
                                                                                                        <a:lnTo>
                                                                                                          <a:pt x="38" y="6"/>
                                                                                                        </a:lnTo>
                                                                                                        <a:lnTo>
                                                                                                          <a:pt x="40" y="8"/>
                                                                                                        </a:lnTo>
                                                                                                        <a:lnTo>
                                                                                                          <a:pt x="44" y="10"/>
                                                                                                        </a:lnTo>
                                                                                                        <a:lnTo>
                                                                                                          <a:pt x="44" y="10"/>
                                                                                                        </a:lnTo>
                                                                                                        <a:lnTo>
                                                                                                          <a:pt x="48" y="12"/>
                                                                                                        </a:lnTo>
                                                                                                        <a:lnTo>
                                                                                                          <a:pt x="50" y="14"/>
                                                                                                        </a:lnTo>
                                                                                                        <a:lnTo>
                                                                                                          <a:pt x="50" y="14"/>
                                                                                                        </a:lnTo>
                                                                                                        <a:lnTo>
                                                                                                          <a:pt x="48" y="16"/>
                                                                                                        </a:lnTo>
                                                                                                        <a:lnTo>
                                                                                                          <a:pt x="44" y="16"/>
                                                                                                        </a:lnTo>
                                                                                                        <a:lnTo>
                                                                                                          <a:pt x="44" y="16"/>
                                                                                                        </a:lnTo>
                                                                                                        <a:lnTo>
                                                                                                          <a:pt x="40" y="18"/>
                                                                                                        </a:lnTo>
                                                                                                        <a:lnTo>
                                                                                                          <a:pt x="34" y="18"/>
                                                                                                        </a:lnTo>
                                                                                                        <a:lnTo>
                                                                                                          <a:pt x="34" y="18"/>
                                                                                                        </a:lnTo>
                                                                                                        <a:lnTo>
                                                                                                          <a:pt x="32" y="16"/>
                                                                                                        </a:lnTo>
                                                                                                        <a:lnTo>
                                                                                                          <a:pt x="32" y="18"/>
                                                                                                        </a:lnTo>
                                                                                                        <a:lnTo>
                                                                                                          <a:pt x="32" y="18"/>
                                                                                                        </a:lnTo>
                                                                                                        <a:lnTo>
                                                                                                          <a:pt x="30" y="20"/>
                                                                                                        </a:lnTo>
                                                                                                        <a:lnTo>
                                                                                                          <a:pt x="28" y="18"/>
                                                                                                        </a:lnTo>
                                                                                                        <a:lnTo>
                                                                                                          <a:pt x="28" y="18"/>
                                                                                                        </a:lnTo>
                                                                                                        <a:lnTo>
                                                                                                          <a:pt x="26" y="18"/>
                                                                                                        </a:lnTo>
                                                                                                        <a:lnTo>
                                                                                                          <a:pt x="26" y="20"/>
                                                                                                        </a:lnTo>
                                                                                                        <a:lnTo>
                                                                                                          <a:pt x="26" y="20"/>
                                                                                                        </a:lnTo>
                                                                                                        <a:lnTo>
                                                                                                          <a:pt x="26" y="22"/>
                                                                                                        </a:lnTo>
                                                                                                        <a:lnTo>
                                                                                                          <a:pt x="24" y="22"/>
                                                                                                        </a:lnTo>
                                                                                                        <a:lnTo>
                                                                                                          <a:pt x="24" y="22"/>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baseline="-25000" dirty="0">
                                                                                                      <a:solidFill>
                                                                                                        <a:schemeClr val="tx1"/>
                                                                                                      </a:solidFill>
                                                                                                    </a:endParaRPr>
                                                                                                  </a:p>
                                                                                                </p:txBody>
                                                                                              </p:sp>
                                                                                              <p:sp>
                                                                                                <p:nvSpPr>
                                                                                                  <p:cNvPr id="736" name="Nicaragua"/>
                                                                                                  <p:cNvSpPr>
                                                                                                    <a:spLocks/>
                                                                                                  </p:cNvSpPr>
                                                                                                  <p:nvPr/>
                                                                                                </p:nvSpPr>
                                                                                                <p:spPr bwMode="auto">
                                                                                                  <a:xfrm>
                                                                                                    <a:off x="2995908" y="3102604"/>
                                                                                                    <a:ext cx="148845" cy="172986"/>
                                                                                                  </a:xfrm>
                                                                                                  <a:custGeom>
                                                                                                    <a:avLst/>
                                                                                                    <a:gdLst/>
                                                                                                    <a:ahLst/>
                                                                                                    <a:cxnLst>
                                                                                                      <a:cxn ang="0">
                                                                                                        <a:pos x="6" y="54"/>
                                                                                                      </a:cxn>
                                                                                                      <a:cxn ang="0">
                                                                                                        <a:pos x="16" y="44"/>
                                                                                                      </a:cxn>
                                                                                                      <a:cxn ang="0">
                                                                                                        <a:pos x="16" y="40"/>
                                                                                                      </a:cxn>
                                                                                                      <a:cxn ang="0">
                                                                                                        <a:pos x="18" y="38"/>
                                                                                                      </a:cxn>
                                                                                                      <a:cxn ang="0">
                                                                                                        <a:pos x="22" y="40"/>
                                                                                                      </a:cxn>
                                                                                                      <a:cxn ang="0">
                                                                                                        <a:pos x="24" y="40"/>
                                                                                                      </a:cxn>
                                                                                                      <a:cxn ang="0">
                                                                                                        <a:pos x="26" y="36"/>
                                                                                                      </a:cxn>
                                                                                                      <a:cxn ang="0">
                                                                                                        <a:pos x="28" y="32"/>
                                                                                                      </a:cxn>
                                                                                                      <a:cxn ang="0">
                                                                                                        <a:pos x="32" y="30"/>
                                                                                                      </a:cxn>
                                                                                                      <a:cxn ang="0">
                                                                                                        <a:pos x="38" y="30"/>
                                                                                                      </a:cxn>
                                                                                                      <a:cxn ang="0">
                                                                                                        <a:pos x="44" y="26"/>
                                                                                                      </a:cxn>
                                                                                                      <a:cxn ang="0">
                                                                                                        <a:pos x="54" y="20"/>
                                                                                                      </a:cxn>
                                                                                                      <a:cxn ang="0">
                                                                                                        <a:pos x="56" y="16"/>
                                                                                                      </a:cxn>
                                                                                                      <a:cxn ang="0">
                                                                                                        <a:pos x="56" y="12"/>
                                                                                                      </a:cxn>
                                                                                                      <a:cxn ang="0">
                                                                                                        <a:pos x="60" y="12"/>
                                                                                                      </a:cxn>
                                                                                                      <a:cxn ang="0">
                                                                                                        <a:pos x="62" y="10"/>
                                                                                                      </a:cxn>
                                                                                                      <a:cxn ang="0">
                                                                                                        <a:pos x="66" y="8"/>
                                                                                                      </a:cxn>
                                                                                                      <a:cxn ang="0">
                                                                                                        <a:pos x="72" y="10"/>
                                                                                                      </a:cxn>
                                                                                                      <a:cxn ang="0">
                                                                                                        <a:pos x="78" y="10"/>
                                                                                                      </a:cxn>
                                                                                                      <a:cxn ang="0">
                                                                                                        <a:pos x="86" y="6"/>
                                                                                                      </a:cxn>
                                                                                                      <a:cxn ang="0">
                                                                                                        <a:pos x="92" y="2"/>
                                                                                                      </a:cxn>
                                                                                                      <a:cxn ang="0">
                                                                                                        <a:pos x="98" y="0"/>
                                                                                                      </a:cxn>
                                                                                                      <a:cxn ang="0">
                                                                                                        <a:pos x="98" y="2"/>
                                                                                                      </a:cxn>
                                                                                                      <a:cxn ang="0">
                                                                                                        <a:pos x="94" y="6"/>
                                                                                                      </a:cxn>
                                                                                                      <a:cxn ang="0">
                                                                                                        <a:pos x="96" y="10"/>
                                                                                                      </a:cxn>
                                                                                                      <a:cxn ang="0">
                                                                                                        <a:pos x="96" y="10"/>
                                                                                                      </a:cxn>
                                                                                                      <a:cxn ang="0">
                                                                                                        <a:pos x="96" y="18"/>
                                                                                                      </a:cxn>
                                                                                                      <a:cxn ang="0">
                                                                                                        <a:pos x="90" y="28"/>
                                                                                                      </a:cxn>
                                                                                                      <a:cxn ang="0">
                                                                                                        <a:pos x="92" y="28"/>
                                                                                                      </a:cxn>
                                                                                                      <a:cxn ang="0">
                                                                                                        <a:pos x="88" y="42"/>
                                                                                                      </a:cxn>
                                                                                                      <a:cxn ang="0">
                                                                                                        <a:pos x="86" y="52"/>
                                                                                                      </a:cxn>
                                                                                                      <a:cxn ang="0">
                                                                                                        <a:pos x="86" y="58"/>
                                                                                                      </a:cxn>
                                                                                                      <a:cxn ang="0">
                                                                                                        <a:pos x="84" y="64"/>
                                                                                                      </a:cxn>
                                                                                                      <a:cxn ang="0">
                                                                                                        <a:pos x="82" y="64"/>
                                                                                                      </a:cxn>
                                                                                                      <a:cxn ang="0">
                                                                                                        <a:pos x="84" y="68"/>
                                                                                                      </a:cxn>
                                                                                                      <a:cxn ang="0">
                                                                                                        <a:pos x="84" y="72"/>
                                                                                                      </a:cxn>
                                                                                                      <a:cxn ang="0">
                                                                                                        <a:pos x="84" y="74"/>
                                                                                                      </a:cxn>
                                                                                                      <a:cxn ang="0">
                                                                                                        <a:pos x="82" y="74"/>
                                                                                                      </a:cxn>
                                                                                                      <a:cxn ang="0">
                                                                                                        <a:pos x="82" y="78"/>
                                                                                                      </a:cxn>
                                                                                                      <a:cxn ang="0">
                                                                                                        <a:pos x="84" y="80"/>
                                                                                                      </a:cxn>
                                                                                                      <a:cxn ang="0">
                                                                                                        <a:pos x="84" y="84"/>
                                                                                                      </a:cxn>
                                                                                                      <a:cxn ang="0">
                                                                                                        <a:pos x="82" y="90"/>
                                                                                                      </a:cxn>
                                                                                                      <a:cxn ang="0">
                                                                                                        <a:pos x="80" y="92"/>
                                                                                                      </a:cxn>
                                                                                                      <a:cxn ang="0">
                                                                                                        <a:pos x="78" y="100"/>
                                                                                                      </a:cxn>
                                                                                                      <a:cxn ang="0">
                                                                                                        <a:pos x="82" y="112"/>
                                                                                                      </a:cxn>
                                                                                                      <a:cxn ang="0">
                                                                                                        <a:pos x="74" y="114"/>
                                                                                                      </a:cxn>
                                                                                                      <a:cxn ang="0">
                                                                                                        <a:pos x="68" y="114"/>
                                                                                                      </a:cxn>
                                                                                                      <a:cxn ang="0">
                                                                                                        <a:pos x="64" y="114"/>
                                                                                                      </a:cxn>
                                                                                                      <a:cxn ang="0">
                                                                                                        <a:pos x="54" y="108"/>
                                                                                                      </a:cxn>
                                                                                                      <a:cxn ang="0">
                                                                                                        <a:pos x="48" y="110"/>
                                                                                                      </a:cxn>
                                                                                                      <a:cxn ang="0">
                                                                                                        <a:pos x="40" y="108"/>
                                                                                                      </a:cxn>
                                                                                                      <a:cxn ang="0">
                                                                                                        <a:pos x="32" y="110"/>
                                                                                                      </a:cxn>
                                                                                                      <a:cxn ang="0">
                                                                                                        <a:pos x="28" y="106"/>
                                                                                                      </a:cxn>
                                                                                                      <a:cxn ang="0">
                                                                                                        <a:pos x="28" y="100"/>
                                                                                                      </a:cxn>
                                                                                                      <a:cxn ang="0">
                                                                                                        <a:pos x="22" y="94"/>
                                                                                                      </a:cxn>
                                                                                                      <a:cxn ang="0">
                                                                                                        <a:pos x="14" y="86"/>
                                                                                                      </a:cxn>
                                                                                                      <a:cxn ang="0">
                                                                                                        <a:pos x="8" y="68"/>
                                                                                                      </a:cxn>
                                                                                                      <a:cxn ang="0">
                                                                                                        <a:pos x="2" y="60"/>
                                                                                                      </a:cxn>
                                                                                                      <a:cxn ang="0">
                                                                                                        <a:pos x="0" y="52"/>
                                                                                                      </a:cxn>
                                                                                                      <a:cxn ang="0">
                                                                                                        <a:pos x="6" y="54"/>
                                                                                                      </a:cxn>
                                                                                                    </a:cxnLst>
                                                                                                    <a:rect l="0" t="0" r="r" b="b"/>
                                                                                                    <a:pathLst>
                                                                                                      <a:path w="98" h="114">
                                                                                                        <a:moveTo>
                                                                                                          <a:pt x="6" y="54"/>
                                                                                                        </a:moveTo>
                                                                                                        <a:lnTo>
                                                                                                          <a:pt x="6" y="54"/>
                                                                                                        </a:lnTo>
                                                                                                        <a:lnTo>
                                                                                                          <a:pt x="14" y="48"/>
                                                                                                        </a:lnTo>
                                                                                                        <a:lnTo>
                                                                                                          <a:pt x="16" y="44"/>
                                                                                                        </a:lnTo>
                                                                                                        <a:lnTo>
                                                                                                          <a:pt x="14" y="42"/>
                                                                                                        </a:lnTo>
                                                                                                        <a:lnTo>
                                                                                                          <a:pt x="16" y="40"/>
                                                                                                        </a:lnTo>
                                                                                                        <a:lnTo>
                                                                                                          <a:pt x="16" y="40"/>
                                                                                                        </a:lnTo>
                                                                                                        <a:lnTo>
                                                                                                          <a:pt x="18" y="38"/>
                                                                                                        </a:lnTo>
                                                                                                        <a:lnTo>
                                                                                                          <a:pt x="20" y="40"/>
                                                                                                        </a:lnTo>
                                                                                                        <a:lnTo>
                                                                                                          <a:pt x="22" y="40"/>
                                                                                                        </a:lnTo>
                                                                                                        <a:lnTo>
                                                                                                          <a:pt x="24" y="40"/>
                                                                                                        </a:lnTo>
                                                                                                        <a:lnTo>
                                                                                                          <a:pt x="24" y="40"/>
                                                                                                        </a:lnTo>
                                                                                                        <a:lnTo>
                                                                                                          <a:pt x="26" y="38"/>
                                                                                                        </a:lnTo>
                                                                                                        <a:lnTo>
                                                                                                          <a:pt x="26" y="36"/>
                                                                                                        </a:lnTo>
                                                                                                        <a:lnTo>
                                                                                                          <a:pt x="26" y="34"/>
                                                                                                        </a:lnTo>
                                                                                                        <a:lnTo>
                                                                                                          <a:pt x="28" y="32"/>
                                                                                                        </a:lnTo>
                                                                                                        <a:lnTo>
                                                                                                          <a:pt x="28" y="32"/>
                                                                                                        </a:lnTo>
                                                                                                        <a:lnTo>
                                                                                                          <a:pt x="32" y="30"/>
                                                                                                        </a:lnTo>
                                                                                                        <a:lnTo>
                                                                                                          <a:pt x="34" y="30"/>
                                                                                                        </a:lnTo>
                                                                                                        <a:lnTo>
                                                                                                          <a:pt x="38" y="30"/>
                                                                                                        </a:lnTo>
                                                                                                        <a:lnTo>
                                                                                                          <a:pt x="44" y="26"/>
                                                                                                        </a:lnTo>
                                                                                                        <a:lnTo>
                                                                                                          <a:pt x="44" y="26"/>
                                                                                                        </a:lnTo>
                                                                                                        <a:lnTo>
                                                                                                          <a:pt x="48" y="20"/>
                                                                                                        </a:lnTo>
                                                                                                        <a:lnTo>
                                                                                                          <a:pt x="54" y="20"/>
                                                                                                        </a:lnTo>
                                                                                                        <a:lnTo>
                                                                                                          <a:pt x="56" y="20"/>
                                                                                                        </a:lnTo>
                                                                                                        <a:lnTo>
                                                                                                          <a:pt x="56" y="16"/>
                                                                                                        </a:lnTo>
                                                                                                        <a:lnTo>
                                                                                                          <a:pt x="56" y="16"/>
                                                                                                        </a:lnTo>
                                                                                                        <a:lnTo>
                                                                                                          <a:pt x="56" y="12"/>
                                                                                                        </a:lnTo>
                                                                                                        <a:lnTo>
                                                                                                          <a:pt x="58" y="12"/>
                                                                                                        </a:lnTo>
                                                                                                        <a:lnTo>
                                                                                                          <a:pt x="60" y="12"/>
                                                                                                        </a:lnTo>
                                                                                                        <a:lnTo>
                                                                                                          <a:pt x="62" y="10"/>
                                                                                                        </a:lnTo>
                                                                                                        <a:lnTo>
                                                                                                          <a:pt x="62" y="10"/>
                                                                                                        </a:lnTo>
                                                                                                        <a:lnTo>
                                                                                                          <a:pt x="62" y="8"/>
                                                                                                        </a:lnTo>
                                                                                                        <a:lnTo>
                                                                                                          <a:pt x="66" y="8"/>
                                                                                                        </a:lnTo>
                                                                                                        <a:lnTo>
                                                                                                          <a:pt x="68" y="10"/>
                                                                                                        </a:lnTo>
                                                                                                        <a:lnTo>
                                                                                                          <a:pt x="72" y="10"/>
                                                                                                        </a:lnTo>
                                                                                                        <a:lnTo>
                                                                                                          <a:pt x="72" y="10"/>
                                                                                                        </a:lnTo>
                                                                                                        <a:lnTo>
                                                                                                          <a:pt x="78" y="10"/>
                                                                                                        </a:lnTo>
                                                                                                        <a:lnTo>
                                                                                                          <a:pt x="82" y="8"/>
                                                                                                        </a:lnTo>
                                                                                                        <a:lnTo>
                                                                                                          <a:pt x="86" y="6"/>
                                                                                                        </a:lnTo>
                                                                                                        <a:lnTo>
                                                                                                          <a:pt x="86" y="6"/>
                                                                                                        </a:lnTo>
                                                                                                        <a:lnTo>
                                                                                                          <a:pt x="92" y="2"/>
                                                                                                        </a:lnTo>
                                                                                                        <a:lnTo>
                                                                                                          <a:pt x="98" y="0"/>
                                                                                                        </a:lnTo>
                                                                                                        <a:lnTo>
                                                                                                          <a:pt x="98" y="0"/>
                                                                                                        </a:lnTo>
                                                                                                        <a:lnTo>
                                                                                                          <a:pt x="98" y="0"/>
                                                                                                        </a:lnTo>
                                                                                                        <a:lnTo>
                                                                                                          <a:pt x="98" y="2"/>
                                                                                                        </a:lnTo>
                                                                                                        <a:lnTo>
                                                                                                          <a:pt x="96" y="4"/>
                                                                                                        </a:lnTo>
                                                                                                        <a:lnTo>
                                                                                                          <a:pt x="94" y="6"/>
                                                                                                        </a:lnTo>
                                                                                                        <a:lnTo>
                                                                                                          <a:pt x="94" y="8"/>
                                                                                                        </a:lnTo>
                                                                                                        <a:lnTo>
                                                                                                          <a:pt x="96" y="10"/>
                                                                                                        </a:lnTo>
                                                                                                        <a:lnTo>
                                                                                                          <a:pt x="96" y="10"/>
                                                                                                        </a:lnTo>
                                                                                                        <a:lnTo>
                                                                                                          <a:pt x="96" y="10"/>
                                                                                                        </a:lnTo>
                                                                                                        <a:lnTo>
                                                                                                          <a:pt x="98" y="12"/>
                                                                                                        </a:lnTo>
                                                                                                        <a:lnTo>
                                                                                                          <a:pt x="96" y="18"/>
                                                                                                        </a:lnTo>
                                                                                                        <a:lnTo>
                                                                                                          <a:pt x="94" y="24"/>
                                                                                                        </a:lnTo>
                                                                                                        <a:lnTo>
                                                                                                          <a:pt x="90" y="28"/>
                                                                                                        </a:lnTo>
                                                                                                        <a:lnTo>
                                                                                                          <a:pt x="90" y="28"/>
                                                                                                        </a:lnTo>
                                                                                                        <a:lnTo>
                                                                                                          <a:pt x="92" y="28"/>
                                                                                                        </a:lnTo>
                                                                                                        <a:lnTo>
                                                                                                          <a:pt x="92" y="32"/>
                                                                                                        </a:lnTo>
                                                                                                        <a:lnTo>
                                                                                                          <a:pt x="88" y="42"/>
                                                                                                        </a:lnTo>
                                                                                                        <a:lnTo>
                                                                                                          <a:pt x="88" y="42"/>
                                                                                                        </a:lnTo>
                                                                                                        <a:lnTo>
                                                                                                          <a:pt x="86" y="52"/>
                                                                                                        </a:lnTo>
                                                                                                        <a:lnTo>
                                                                                                          <a:pt x="86" y="58"/>
                                                                                                        </a:lnTo>
                                                                                                        <a:lnTo>
                                                                                                          <a:pt x="86" y="58"/>
                                                                                                        </a:lnTo>
                                                                                                        <a:lnTo>
                                                                                                          <a:pt x="86" y="60"/>
                                                                                                        </a:lnTo>
                                                                                                        <a:lnTo>
                                                                                                          <a:pt x="84" y="64"/>
                                                                                                        </a:lnTo>
                                                                                                        <a:lnTo>
                                                                                                          <a:pt x="82" y="64"/>
                                                                                                        </a:lnTo>
                                                                                                        <a:lnTo>
                                                                                                          <a:pt x="82" y="64"/>
                                                                                                        </a:lnTo>
                                                                                                        <a:lnTo>
                                                                                                          <a:pt x="84" y="64"/>
                                                                                                        </a:lnTo>
                                                                                                        <a:lnTo>
                                                                                                          <a:pt x="84" y="68"/>
                                                                                                        </a:lnTo>
                                                                                                        <a:lnTo>
                                                                                                          <a:pt x="84" y="68"/>
                                                                                                        </a:lnTo>
                                                                                                        <a:lnTo>
                                                                                                          <a:pt x="84" y="72"/>
                                                                                                        </a:lnTo>
                                                                                                        <a:lnTo>
                                                                                                          <a:pt x="84" y="74"/>
                                                                                                        </a:lnTo>
                                                                                                        <a:lnTo>
                                                                                                          <a:pt x="84" y="74"/>
                                                                                                        </a:lnTo>
                                                                                                        <a:lnTo>
                                                                                                          <a:pt x="84" y="74"/>
                                                                                                        </a:lnTo>
                                                                                                        <a:lnTo>
                                                                                                          <a:pt x="82" y="74"/>
                                                                                                        </a:lnTo>
                                                                                                        <a:lnTo>
                                                                                                          <a:pt x="80" y="76"/>
                                                                                                        </a:lnTo>
                                                                                                        <a:lnTo>
                                                                                                          <a:pt x="82" y="78"/>
                                                                                                        </a:lnTo>
                                                                                                        <a:lnTo>
                                                                                                          <a:pt x="84" y="80"/>
                                                                                                        </a:lnTo>
                                                                                                        <a:lnTo>
                                                                                                          <a:pt x="84" y="80"/>
                                                                                                        </a:lnTo>
                                                                                                        <a:lnTo>
                                                                                                          <a:pt x="84" y="82"/>
                                                                                                        </a:lnTo>
                                                                                                        <a:lnTo>
                                                                                                          <a:pt x="84" y="84"/>
                                                                                                        </a:lnTo>
                                                                                                        <a:lnTo>
                                                                                                          <a:pt x="84" y="88"/>
                                                                                                        </a:lnTo>
                                                                                                        <a:lnTo>
                                                                                                          <a:pt x="82" y="90"/>
                                                                                                        </a:lnTo>
                                                                                                        <a:lnTo>
                                                                                                          <a:pt x="82" y="90"/>
                                                                                                        </a:lnTo>
                                                                                                        <a:lnTo>
                                                                                                          <a:pt x="80" y="92"/>
                                                                                                        </a:lnTo>
                                                                                                        <a:lnTo>
                                                                                                          <a:pt x="78" y="94"/>
                                                                                                        </a:lnTo>
                                                                                                        <a:lnTo>
                                                                                                          <a:pt x="78" y="100"/>
                                                                                                        </a:lnTo>
                                                                                                        <a:lnTo>
                                                                                                          <a:pt x="82" y="112"/>
                                                                                                        </a:lnTo>
                                                                                                        <a:lnTo>
                                                                                                          <a:pt x="82" y="112"/>
                                                                                                        </a:lnTo>
                                                                                                        <a:lnTo>
                                                                                                          <a:pt x="76" y="114"/>
                                                                                                        </a:lnTo>
                                                                                                        <a:lnTo>
                                                                                                          <a:pt x="74" y="114"/>
                                                                                                        </a:lnTo>
                                                                                                        <a:lnTo>
                                                                                                          <a:pt x="72" y="112"/>
                                                                                                        </a:lnTo>
                                                                                                        <a:lnTo>
                                                                                                          <a:pt x="68" y="114"/>
                                                                                                        </a:lnTo>
                                                                                                        <a:lnTo>
                                                                                                          <a:pt x="68" y="114"/>
                                                                                                        </a:lnTo>
                                                                                                        <a:lnTo>
                                                                                                          <a:pt x="64" y="114"/>
                                                                                                        </a:lnTo>
                                                                                                        <a:lnTo>
                                                                                                          <a:pt x="60" y="110"/>
                                                                                                        </a:lnTo>
                                                                                                        <a:lnTo>
                                                                                                          <a:pt x="54" y="108"/>
                                                                                                        </a:lnTo>
                                                                                                        <a:lnTo>
                                                                                                          <a:pt x="48" y="110"/>
                                                                                                        </a:lnTo>
                                                                                                        <a:lnTo>
                                                                                                          <a:pt x="48" y="110"/>
                                                                                                        </a:lnTo>
                                                                                                        <a:lnTo>
                                                                                                          <a:pt x="44" y="110"/>
                                                                                                        </a:lnTo>
                                                                                                        <a:lnTo>
                                                                                                          <a:pt x="40" y="108"/>
                                                                                                        </a:lnTo>
                                                                                                        <a:lnTo>
                                                                                                          <a:pt x="36" y="108"/>
                                                                                                        </a:lnTo>
                                                                                                        <a:lnTo>
                                                                                                          <a:pt x="32" y="110"/>
                                                                                                        </a:lnTo>
                                                                                                        <a:lnTo>
                                                                                                          <a:pt x="32" y="110"/>
                                                                                                        </a:lnTo>
                                                                                                        <a:lnTo>
                                                                                                          <a:pt x="28" y="106"/>
                                                                                                        </a:lnTo>
                                                                                                        <a:lnTo>
                                                                                                          <a:pt x="28" y="102"/>
                                                                                                        </a:lnTo>
                                                                                                        <a:lnTo>
                                                                                                          <a:pt x="28" y="100"/>
                                                                                                        </a:lnTo>
                                                                                                        <a:lnTo>
                                                                                                          <a:pt x="22" y="94"/>
                                                                                                        </a:lnTo>
                                                                                                        <a:lnTo>
                                                                                                          <a:pt x="22" y="94"/>
                                                                                                        </a:lnTo>
                                                                                                        <a:lnTo>
                                                                                                          <a:pt x="18" y="90"/>
                                                                                                        </a:lnTo>
                                                                                                        <a:lnTo>
                                                                                                          <a:pt x="14" y="86"/>
                                                                                                        </a:lnTo>
                                                                                                        <a:lnTo>
                                                                                                          <a:pt x="10" y="78"/>
                                                                                                        </a:lnTo>
                                                                                                        <a:lnTo>
                                                                                                          <a:pt x="8" y="68"/>
                                                                                                        </a:lnTo>
                                                                                                        <a:lnTo>
                                                                                                          <a:pt x="2" y="60"/>
                                                                                                        </a:lnTo>
                                                                                                        <a:lnTo>
                                                                                                          <a:pt x="2" y="60"/>
                                                                                                        </a:lnTo>
                                                                                                        <a:lnTo>
                                                                                                          <a:pt x="0" y="54"/>
                                                                                                        </a:lnTo>
                                                                                                        <a:lnTo>
                                                                                                          <a:pt x="0" y="52"/>
                                                                                                        </a:lnTo>
                                                                                                        <a:lnTo>
                                                                                                          <a:pt x="4" y="52"/>
                                                                                                        </a:lnTo>
                                                                                                        <a:lnTo>
                                                                                                          <a:pt x="6" y="54"/>
                                                                                                        </a:lnTo>
                                                                                                        <a:lnTo>
                                                                                                          <a:pt x="6" y="54"/>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baseline="-25000" dirty="0">
                                                                                                      <a:solidFill>
                                                                                                        <a:schemeClr val="tx1"/>
                                                                                                      </a:solidFill>
                                                                                                    </a:endParaRPr>
                                                                                                  </a:p>
                                                                                                </p:txBody>
                                                                                              </p:sp>
                                                                                              <p:sp>
                                                                                                <p:nvSpPr>
                                                                                                  <p:cNvPr id="747" name="Panama"/>
                                                                                                  <p:cNvSpPr>
                                                                                                    <a:spLocks/>
                                                                                                  </p:cNvSpPr>
                                                                                                  <p:nvPr/>
                                                                                                </p:nvSpPr>
                                                                                                <p:spPr bwMode="auto">
                                                                                                  <a:xfrm>
                                                                                                    <a:off x="3126275" y="3315041"/>
                                                                                                    <a:ext cx="185296" cy="94080"/>
                                                                                                  </a:xfrm>
                                                                                                  <a:custGeom>
                                                                                                    <a:avLst/>
                                                                                                    <a:gdLst/>
                                                                                                    <a:ahLst/>
                                                                                                    <a:cxnLst>
                                                                                                      <a:cxn ang="0">
                                                                                                        <a:pos x="116" y="20"/>
                                                                                                      </a:cxn>
                                                                                                      <a:cxn ang="0">
                                                                                                        <a:pos x="110" y="16"/>
                                                                                                      </a:cxn>
                                                                                                      <a:cxn ang="0">
                                                                                                        <a:pos x="110" y="14"/>
                                                                                                      </a:cxn>
                                                                                                      <a:cxn ang="0">
                                                                                                        <a:pos x="94" y="4"/>
                                                                                                      </a:cxn>
                                                                                                      <a:cxn ang="0">
                                                                                                        <a:pos x="84" y="2"/>
                                                                                                      </a:cxn>
                                                                                                      <a:cxn ang="0">
                                                                                                        <a:pos x="74" y="8"/>
                                                                                                      </a:cxn>
                                                                                                      <a:cxn ang="0">
                                                                                                        <a:pos x="72" y="12"/>
                                                                                                      </a:cxn>
                                                                                                      <a:cxn ang="0">
                                                                                                        <a:pos x="74" y="18"/>
                                                                                                      </a:cxn>
                                                                                                      <a:cxn ang="0">
                                                                                                        <a:pos x="66" y="20"/>
                                                                                                      </a:cxn>
                                                                                                      <a:cxn ang="0">
                                                                                                        <a:pos x="70" y="12"/>
                                                                                                      </a:cxn>
                                                                                                      <a:cxn ang="0">
                                                                                                        <a:pos x="66" y="12"/>
                                                                                                      </a:cxn>
                                                                                                      <a:cxn ang="0">
                                                                                                        <a:pos x="60" y="16"/>
                                                                                                      </a:cxn>
                                                                                                      <a:cxn ang="0">
                                                                                                        <a:pos x="50" y="18"/>
                                                                                                      </a:cxn>
                                                                                                      <a:cxn ang="0">
                                                                                                        <a:pos x="32" y="20"/>
                                                                                                      </a:cxn>
                                                                                                      <a:cxn ang="0">
                                                                                                        <a:pos x="26" y="14"/>
                                                                                                      </a:cxn>
                                                                                                      <a:cxn ang="0">
                                                                                                        <a:pos x="22" y="14"/>
                                                                                                      </a:cxn>
                                                                                                      <a:cxn ang="0">
                                                                                                        <a:pos x="20" y="16"/>
                                                                                                      </a:cxn>
                                                                                                      <a:cxn ang="0">
                                                                                                        <a:pos x="16" y="12"/>
                                                                                                      </a:cxn>
                                                                                                      <a:cxn ang="0">
                                                                                                        <a:pos x="18" y="10"/>
                                                                                                      </a:cxn>
                                                                                                      <a:cxn ang="0">
                                                                                                        <a:pos x="18" y="6"/>
                                                                                                      </a:cxn>
                                                                                                      <a:cxn ang="0">
                                                                                                        <a:pos x="12" y="0"/>
                                                                                                      </a:cxn>
                                                                                                      <a:cxn ang="0">
                                                                                                        <a:pos x="4" y="4"/>
                                                                                                      </a:cxn>
                                                                                                      <a:cxn ang="0">
                                                                                                        <a:pos x="6" y="12"/>
                                                                                                      </a:cxn>
                                                                                                      <a:cxn ang="0">
                                                                                                        <a:pos x="6" y="18"/>
                                                                                                      </a:cxn>
                                                                                                      <a:cxn ang="0">
                                                                                                        <a:pos x="4" y="28"/>
                                                                                                      </a:cxn>
                                                                                                      <a:cxn ang="0">
                                                                                                        <a:pos x="0" y="32"/>
                                                                                                      </a:cxn>
                                                                                                      <a:cxn ang="0">
                                                                                                        <a:pos x="2" y="40"/>
                                                                                                      </a:cxn>
                                                                                                      <a:cxn ang="0">
                                                                                                        <a:pos x="4" y="36"/>
                                                                                                      </a:cxn>
                                                                                                      <a:cxn ang="0">
                                                                                                        <a:pos x="6" y="36"/>
                                                                                                      </a:cxn>
                                                                                                      <a:cxn ang="0">
                                                                                                        <a:pos x="12" y="36"/>
                                                                                                      </a:cxn>
                                                                                                      <a:cxn ang="0">
                                                                                                        <a:pos x="14" y="36"/>
                                                                                                      </a:cxn>
                                                                                                      <a:cxn ang="0">
                                                                                                        <a:pos x="24" y="40"/>
                                                                                                      </a:cxn>
                                                                                                      <a:cxn ang="0">
                                                                                                        <a:pos x="30" y="46"/>
                                                                                                      </a:cxn>
                                                                                                      <a:cxn ang="0">
                                                                                                        <a:pos x="34" y="52"/>
                                                                                                      </a:cxn>
                                                                                                      <a:cxn ang="0">
                                                                                                        <a:pos x="38" y="54"/>
                                                                                                      </a:cxn>
                                                                                                      <a:cxn ang="0">
                                                                                                        <a:pos x="40" y="50"/>
                                                                                                      </a:cxn>
                                                                                                      <a:cxn ang="0">
                                                                                                        <a:pos x="42" y="50"/>
                                                                                                      </a:cxn>
                                                                                                      <a:cxn ang="0">
                                                                                                        <a:pos x="44" y="58"/>
                                                                                                      </a:cxn>
                                                                                                      <a:cxn ang="0">
                                                                                                        <a:pos x="56" y="62"/>
                                                                                                      </a:cxn>
                                                                                                      <a:cxn ang="0">
                                                                                                        <a:pos x="62" y="54"/>
                                                                                                      </a:cxn>
                                                                                                      <a:cxn ang="0">
                                                                                                        <a:pos x="58" y="48"/>
                                                                                                      </a:cxn>
                                                                                                      <a:cxn ang="0">
                                                                                                        <a:pos x="56" y="46"/>
                                                                                                      </a:cxn>
                                                                                                      <a:cxn ang="0">
                                                                                                        <a:pos x="58" y="40"/>
                                                                                                      </a:cxn>
                                                                                                      <a:cxn ang="0">
                                                                                                        <a:pos x="70" y="28"/>
                                                                                                      </a:cxn>
                                                                                                      <a:cxn ang="0">
                                                                                                        <a:pos x="70" y="26"/>
                                                                                                      </a:cxn>
                                                                                                      <a:cxn ang="0">
                                                                                                        <a:pos x="80" y="24"/>
                                                                                                      </a:cxn>
                                                                                                      <a:cxn ang="0">
                                                                                                        <a:pos x="94" y="30"/>
                                                                                                      </a:cxn>
                                                                                                      <a:cxn ang="0">
                                                                                                        <a:pos x="100" y="30"/>
                                                                                                      </a:cxn>
                                                                                                      <a:cxn ang="0">
                                                                                                        <a:pos x="100" y="38"/>
                                                                                                      </a:cxn>
                                                                                                      <a:cxn ang="0">
                                                                                                        <a:pos x="112" y="28"/>
                                                                                                      </a:cxn>
                                                                                                      <a:cxn ang="0">
                                                                                                        <a:pos x="110" y="38"/>
                                                                                                      </a:cxn>
                                                                                                      <a:cxn ang="0">
                                                                                                        <a:pos x="104" y="40"/>
                                                                                                      </a:cxn>
                                                                                                      <a:cxn ang="0">
                                                                                                        <a:pos x="100" y="48"/>
                                                                                                      </a:cxn>
                                                                                                      <a:cxn ang="0">
                                                                                                        <a:pos x="102" y="54"/>
                                                                                                      </a:cxn>
                                                                                                      <a:cxn ang="0">
                                                                                                        <a:pos x="104" y="60"/>
                                                                                                      </a:cxn>
                                                                                                      <a:cxn ang="0">
                                                                                                        <a:pos x="106" y="58"/>
                                                                                                      </a:cxn>
                                                                                                      <a:cxn ang="0">
                                                                                                        <a:pos x="108" y="52"/>
                                                                                                      </a:cxn>
                                                                                                      <a:cxn ang="0">
                                                                                                        <a:pos x="118" y="50"/>
                                                                                                      </a:cxn>
                                                                                                      <a:cxn ang="0">
                                                                                                        <a:pos x="120" y="44"/>
                                                                                                      </a:cxn>
                                                                                                      <a:cxn ang="0">
                                                                                                        <a:pos x="120" y="40"/>
                                                                                                      </a:cxn>
                                                                                                      <a:cxn ang="0">
                                                                                                        <a:pos x="118" y="36"/>
                                                                                                      </a:cxn>
                                                                                                      <a:cxn ang="0">
                                                                                                        <a:pos x="118" y="32"/>
                                                                                                      </a:cxn>
                                                                                                      <a:cxn ang="0">
                                                                                                        <a:pos x="120" y="24"/>
                                                                                                      </a:cxn>
                                                                                                    </a:cxnLst>
                                                                                                    <a:rect l="0" t="0" r="r" b="b"/>
                                                                                                    <a:pathLst>
                                                                                                      <a:path w="122" h="62">
                                                                                                        <a:moveTo>
                                                                                                          <a:pt x="120" y="24"/>
                                                                                                        </a:moveTo>
                                                                                                        <a:lnTo>
                                                                                                          <a:pt x="120" y="24"/>
                                                                                                        </a:lnTo>
                                                                                                        <a:lnTo>
                                                                                                          <a:pt x="116" y="20"/>
                                                                                                        </a:lnTo>
                                                                                                        <a:lnTo>
                                                                                                          <a:pt x="114" y="20"/>
                                                                                                        </a:lnTo>
                                                                                                        <a:lnTo>
                                                                                                          <a:pt x="112" y="18"/>
                                                                                                        </a:lnTo>
                                                                                                        <a:lnTo>
                                                                                                          <a:pt x="110" y="16"/>
                                                                                                        </a:lnTo>
                                                                                                        <a:lnTo>
                                                                                                          <a:pt x="110" y="16"/>
                                                                                                        </a:lnTo>
                                                                                                        <a:lnTo>
                                                                                                          <a:pt x="108" y="14"/>
                                                                                                        </a:lnTo>
                                                                                                        <a:lnTo>
                                                                                                          <a:pt x="110" y="14"/>
                                                                                                        </a:lnTo>
                                                                                                        <a:lnTo>
                                                                                                          <a:pt x="104" y="10"/>
                                                                                                        </a:lnTo>
                                                                                                        <a:lnTo>
                                                                                                          <a:pt x="104" y="10"/>
                                                                                                        </a:lnTo>
                                                                                                        <a:lnTo>
                                                                                                          <a:pt x="94" y="4"/>
                                                                                                        </a:lnTo>
                                                                                                        <a:lnTo>
                                                                                                          <a:pt x="90" y="4"/>
                                                                                                        </a:lnTo>
                                                                                                        <a:lnTo>
                                                                                                          <a:pt x="90" y="4"/>
                                                                                                        </a:lnTo>
                                                                                                        <a:lnTo>
                                                                                                          <a:pt x="84" y="2"/>
                                                                                                        </a:lnTo>
                                                                                                        <a:lnTo>
                                                                                                          <a:pt x="78" y="4"/>
                                                                                                        </a:lnTo>
                                                                                                        <a:lnTo>
                                                                                                          <a:pt x="78" y="4"/>
                                                                                                        </a:lnTo>
                                                                                                        <a:lnTo>
                                                                                                          <a:pt x="74" y="8"/>
                                                                                                        </a:lnTo>
                                                                                                        <a:lnTo>
                                                                                                          <a:pt x="72" y="10"/>
                                                                                                        </a:lnTo>
                                                                                                        <a:lnTo>
                                                                                                          <a:pt x="72" y="12"/>
                                                                                                        </a:lnTo>
                                                                                                        <a:lnTo>
                                                                                                          <a:pt x="72" y="12"/>
                                                                                                        </a:lnTo>
                                                                                                        <a:lnTo>
                                                                                                          <a:pt x="78" y="16"/>
                                                                                                        </a:lnTo>
                                                                                                        <a:lnTo>
                                                                                                          <a:pt x="78" y="16"/>
                                                                                                        </a:lnTo>
                                                                                                        <a:lnTo>
                                                                                                          <a:pt x="74" y="18"/>
                                                                                                        </a:lnTo>
                                                                                                        <a:lnTo>
                                                                                                          <a:pt x="74" y="18"/>
                                                                                                        </a:lnTo>
                                                                                                        <a:lnTo>
                                                                                                          <a:pt x="68" y="20"/>
                                                                                                        </a:lnTo>
                                                                                                        <a:lnTo>
                                                                                                          <a:pt x="66" y="20"/>
                                                                                                        </a:lnTo>
                                                                                                        <a:lnTo>
                                                                                                          <a:pt x="68" y="16"/>
                                                                                                        </a:lnTo>
                                                                                                        <a:lnTo>
                                                                                                          <a:pt x="68" y="16"/>
                                                                                                        </a:lnTo>
                                                                                                        <a:lnTo>
                                                                                                          <a:pt x="70" y="12"/>
                                                                                                        </a:lnTo>
                                                                                                        <a:lnTo>
                                                                                                          <a:pt x="70" y="10"/>
                                                                                                        </a:lnTo>
                                                                                                        <a:lnTo>
                                                                                                          <a:pt x="68" y="10"/>
                                                                                                        </a:lnTo>
                                                                                                        <a:lnTo>
                                                                                                          <a:pt x="66" y="12"/>
                                                                                                        </a:lnTo>
                                                                                                        <a:lnTo>
                                                                                                          <a:pt x="66" y="12"/>
                                                                                                        </a:lnTo>
                                                                                                        <a:lnTo>
                                                                                                          <a:pt x="64" y="14"/>
                                                                                                        </a:lnTo>
                                                                                                        <a:lnTo>
                                                                                                          <a:pt x="60" y="16"/>
                                                                                                        </a:lnTo>
                                                                                                        <a:lnTo>
                                                                                                          <a:pt x="54" y="16"/>
                                                                                                        </a:lnTo>
                                                                                                        <a:lnTo>
                                                                                                          <a:pt x="50" y="18"/>
                                                                                                        </a:lnTo>
                                                                                                        <a:lnTo>
                                                                                                          <a:pt x="50" y="18"/>
                                                                                                        </a:lnTo>
                                                                                                        <a:lnTo>
                                                                                                          <a:pt x="46" y="20"/>
                                                                                                        </a:lnTo>
                                                                                                        <a:lnTo>
                                                                                                          <a:pt x="40" y="20"/>
                                                                                                        </a:lnTo>
                                                                                                        <a:lnTo>
                                                                                                          <a:pt x="32" y="20"/>
                                                                                                        </a:lnTo>
                                                                                                        <a:lnTo>
                                                                                                          <a:pt x="30" y="18"/>
                                                                                                        </a:lnTo>
                                                                                                        <a:lnTo>
                                                                                                          <a:pt x="30" y="18"/>
                                                                                                        </a:lnTo>
                                                                                                        <a:lnTo>
                                                                                                          <a:pt x="26" y="14"/>
                                                                                                        </a:lnTo>
                                                                                                        <a:lnTo>
                                                                                                          <a:pt x="22" y="10"/>
                                                                                                        </a:lnTo>
                                                                                                        <a:lnTo>
                                                                                                          <a:pt x="22" y="10"/>
                                                                                                        </a:lnTo>
                                                                                                        <a:lnTo>
                                                                                                          <a:pt x="22" y="14"/>
                                                                                                        </a:lnTo>
                                                                                                        <a:lnTo>
                                                                                                          <a:pt x="22" y="16"/>
                                                                                                        </a:lnTo>
                                                                                                        <a:lnTo>
                                                                                                          <a:pt x="22" y="16"/>
                                                                                                        </a:lnTo>
                                                                                                        <a:lnTo>
                                                                                                          <a:pt x="20" y="16"/>
                                                                                                        </a:lnTo>
                                                                                                        <a:lnTo>
                                                                                                          <a:pt x="20" y="16"/>
                                                                                                        </a:lnTo>
                                                                                                        <a:lnTo>
                                                                                                          <a:pt x="16" y="14"/>
                                                                                                        </a:lnTo>
                                                                                                        <a:lnTo>
                                                                                                          <a:pt x="16" y="12"/>
                                                                                                        </a:lnTo>
                                                                                                        <a:lnTo>
                                                                                                          <a:pt x="18" y="10"/>
                                                                                                        </a:lnTo>
                                                                                                        <a:lnTo>
                                                                                                          <a:pt x="18" y="10"/>
                                                                                                        </a:lnTo>
                                                                                                        <a:lnTo>
                                                                                                          <a:pt x="18" y="10"/>
                                                                                                        </a:lnTo>
                                                                                                        <a:lnTo>
                                                                                                          <a:pt x="16" y="8"/>
                                                                                                        </a:lnTo>
                                                                                                        <a:lnTo>
                                                                                                          <a:pt x="18" y="6"/>
                                                                                                        </a:lnTo>
                                                                                                        <a:lnTo>
                                                                                                          <a:pt x="18" y="6"/>
                                                                                                        </a:lnTo>
                                                                                                        <a:lnTo>
                                                                                                          <a:pt x="18" y="6"/>
                                                                                                        </a:lnTo>
                                                                                                        <a:lnTo>
                                                                                                          <a:pt x="16" y="4"/>
                                                                                                        </a:lnTo>
                                                                                                        <a:lnTo>
                                                                                                          <a:pt x="12" y="0"/>
                                                                                                        </a:lnTo>
                                                                                                        <a:lnTo>
                                                                                                          <a:pt x="12" y="0"/>
                                                                                                        </a:lnTo>
                                                                                                        <a:lnTo>
                                                                                                          <a:pt x="8" y="2"/>
                                                                                                        </a:lnTo>
                                                                                                        <a:lnTo>
                                                                                                          <a:pt x="4" y="4"/>
                                                                                                        </a:lnTo>
                                                                                                        <a:lnTo>
                                                                                                          <a:pt x="4" y="6"/>
                                                                                                        </a:lnTo>
                                                                                                        <a:lnTo>
                                                                                                          <a:pt x="4" y="8"/>
                                                                                                        </a:lnTo>
                                                                                                        <a:lnTo>
                                                                                                          <a:pt x="6" y="12"/>
                                                                                                        </a:lnTo>
                                                                                                        <a:lnTo>
                                                                                                          <a:pt x="8" y="16"/>
                                                                                                        </a:lnTo>
                                                                                                        <a:lnTo>
                                                                                                          <a:pt x="6" y="18"/>
                                                                                                        </a:lnTo>
                                                                                                        <a:lnTo>
                                                                                                          <a:pt x="6" y="18"/>
                                                                                                        </a:lnTo>
                                                                                                        <a:lnTo>
                                                                                                          <a:pt x="4" y="22"/>
                                                                                                        </a:lnTo>
                                                                                                        <a:lnTo>
                                                                                                          <a:pt x="4" y="26"/>
                                                                                                        </a:lnTo>
                                                                                                        <a:lnTo>
                                                                                                          <a:pt x="4" y="28"/>
                                                                                                        </a:lnTo>
                                                                                                        <a:lnTo>
                                                                                                          <a:pt x="2" y="30"/>
                                                                                                        </a:lnTo>
                                                                                                        <a:lnTo>
                                                                                                          <a:pt x="2" y="30"/>
                                                                                                        </a:lnTo>
                                                                                                        <a:lnTo>
                                                                                                          <a:pt x="0" y="32"/>
                                                                                                        </a:lnTo>
                                                                                                        <a:lnTo>
                                                                                                          <a:pt x="2" y="34"/>
                                                                                                        </a:lnTo>
                                                                                                        <a:lnTo>
                                                                                                          <a:pt x="2" y="36"/>
                                                                                                        </a:lnTo>
                                                                                                        <a:lnTo>
                                                                                                          <a:pt x="2" y="40"/>
                                                                                                        </a:lnTo>
                                                                                                        <a:lnTo>
                                                                                                          <a:pt x="2" y="40"/>
                                                                                                        </a:lnTo>
                                                                                                        <a:lnTo>
                                                                                                          <a:pt x="4" y="40"/>
                                                                                                        </a:lnTo>
                                                                                                        <a:lnTo>
                                                                                                          <a:pt x="4" y="36"/>
                                                                                                        </a:lnTo>
                                                                                                        <a:lnTo>
                                                                                                          <a:pt x="4" y="36"/>
                                                                                                        </a:lnTo>
                                                                                                        <a:lnTo>
                                                                                                          <a:pt x="6" y="36"/>
                                                                                                        </a:lnTo>
                                                                                                        <a:lnTo>
                                                                                                          <a:pt x="6" y="36"/>
                                                                                                        </a:lnTo>
                                                                                                        <a:lnTo>
                                                                                                          <a:pt x="8" y="36"/>
                                                                                                        </a:lnTo>
                                                                                                        <a:lnTo>
                                                                                                          <a:pt x="12" y="36"/>
                                                                                                        </a:lnTo>
                                                                                                        <a:lnTo>
                                                                                                          <a:pt x="12" y="36"/>
                                                                                                        </a:lnTo>
                                                                                                        <a:lnTo>
                                                                                                          <a:pt x="12" y="34"/>
                                                                                                        </a:lnTo>
                                                                                                        <a:lnTo>
                                                                                                          <a:pt x="12" y="34"/>
                                                                                                        </a:lnTo>
                                                                                                        <a:lnTo>
                                                                                                          <a:pt x="14" y="36"/>
                                                                                                        </a:lnTo>
                                                                                                        <a:lnTo>
                                                                                                          <a:pt x="18" y="38"/>
                                                                                                        </a:lnTo>
                                                                                                        <a:lnTo>
                                                                                                          <a:pt x="18" y="38"/>
                                                                                                        </a:lnTo>
                                                                                                        <a:lnTo>
                                                                                                          <a:pt x="24" y="40"/>
                                                                                                        </a:lnTo>
                                                                                                        <a:lnTo>
                                                                                                          <a:pt x="26" y="42"/>
                                                                                                        </a:lnTo>
                                                                                                        <a:lnTo>
                                                                                                          <a:pt x="28" y="44"/>
                                                                                                        </a:lnTo>
                                                                                                        <a:lnTo>
                                                                                                          <a:pt x="30" y="46"/>
                                                                                                        </a:lnTo>
                                                                                                        <a:lnTo>
                                                                                                          <a:pt x="30" y="46"/>
                                                                                                        </a:lnTo>
                                                                                                        <a:lnTo>
                                                                                                          <a:pt x="32" y="50"/>
                                                                                                        </a:lnTo>
                                                                                                        <a:lnTo>
                                                                                                          <a:pt x="34" y="52"/>
                                                                                                        </a:lnTo>
                                                                                                        <a:lnTo>
                                                                                                          <a:pt x="34" y="54"/>
                                                                                                        </a:lnTo>
                                                                                                        <a:lnTo>
                                                                                                          <a:pt x="38" y="54"/>
                                                                                                        </a:lnTo>
                                                                                                        <a:lnTo>
                                                                                                          <a:pt x="38" y="54"/>
                                                                                                        </a:lnTo>
                                                                                                        <a:lnTo>
                                                                                                          <a:pt x="40" y="54"/>
                                                                                                        </a:lnTo>
                                                                                                        <a:lnTo>
                                                                                                          <a:pt x="40" y="52"/>
                                                                                                        </a:lnTo>
                                                                                                        <a:lnTo>
                                                                                                          <a:pt x="40" y="50"/>
                                                                                                        </a:lnTo>
                                                                                                        <a:lnTo>
                                                                                                          <a:pt x="44" y="48"/>
                                                                                                        </a:lnTo>
                                                                                                        <a:lnTo>
                                                                                                          <a:pt x="44" y="48"/>
                                                                                                        </a:lnTo>
                                                                                                        <a:lnTo>
                                                                                                          <a:pt x="42" y="50"/>
                                                                                                        </a:lnTo>
                                                                                                        <a:lnTo>
                                                                                                          <a:pt x="42" y="52"/>
                                                                                                        </a:lnTo>
                                                                                                        <a:lnTo>
                                                                                                          <a:pt x="44" y="58"/>
                                                                                                        </a:lnTo>
                                                                                                        <a:lnTo>
                                                                                                          <a:pt x="44" y="58"/>
                                                                                                        </a:lnTo>
                                                                                                        <a:lnTo>
                                                                                                          <a:pt x="48" y="62"/>
                                                                                                        </a:lnTo>
                                                                                                        <a:lnTo>
                                                                                                          <a:pt x="52" y="62"/>
                                                                                                        </a:lnTo>
                                                                                                        <a:lnTo>
                                                                                                          <a:pt x="56" y="62"/>
                                                                                                        </a:lnTo>
                                                                                                        <a:lnTo>
                                                                                                          <a:pt x="60" y="58"/>
                                                                                                        </a:lnTo>
                                                                                                        <a:lnTo>
                                                                                                          <a:pt x="60" y="58"/>
                                                                                                        </a:lnTo>
                                                                                                        <a:lnTo>
                                                                                                          <a:pt x="62" y="54"/>
                                                                                                        </a:lnTo>
                                                                                                        <a:lnTo>
                                                                                                          <a:pt x="60" y="52"/>
                                                                                                        </a:lnTo>
                                                                                                        <a:lnTo>
                                                                                                          <a:pt x="58" y="50"/>
                                                                                                        </a:lnTo>
                                                                                                        <a:lnTo>
                                                                                                          <a:pt x="58" y="48"/>
                                                                                                        </a:lnTo>
                                                                                                        <a:lnTo>
                                                                                                          <a:pt x="58" y="48"/>
                                                                                                        </a:lnTo>
                                                                                                        <a:lnTo>
                                                                                                          <a:pt x="58" y="46"/>
                                                                                                        </a:lnTo>
                                                                                                        <a:lnTo>
                                                                                                          <a:pt x="56" y="46"/>
                                                                                                        </a:lnTo>
                                                                                                        <a:lnTo>
                                                                                                          <a:pt x="56" y="44"/>
                                                                                                        </a:lnTo>
                                                                                                        <a:lnTo>
                                                                                                          <a:pt x="58" y="40"/>
                                                                                                        </a:lnTo>
                                                                                                        <a:lnTo>
                                                                                                          <a:pt x="58" y="40"/>
                                                                                                        </a:lnTo>
                                                                                                        <a:lnTo>
                                                                                                          <a:pt x="64" y="34"/>
                                                                                                        </a:lnTo>
                                                                                                        <a:lnTo>
                                                                                                          <a:pt x="68" y="30"/>
                                                                                                        </a:lnTo>
                                                                                                        <a:lnTo>
                                                                                                          <a:pt x="70" y="28"/>
                                                                                                        </a:lnTo>
                                                                                                        <a:lnTo>
                                                                                                          <a:pt x="70" y="26"/>
                                                                                                        </a:lnTo>
                                                                                                        <a:lnTo>
                                                                                                          <a:pt x="70" y="26"/>
                                                                                                        </a:lnTo>
                                                                                                        <a:lnTo>
                                                                                                          <a:pt x="70" y="26"/>
                                                                                                        </a:lnTo>
                                                                                                        <a:lnTo>
                                                                                                          <a:pt x="72" y="24"/>
                                                                                                        </a:lnTo>
                                                                                                        <a:lnTo>
                                                                                                          <a:pt x="80" y="24"/>
                                                                                                        </a:lnTo>
                                                                                                        <a:lnTo>
                                                                                                          <a:pt x="80" y="24"/>
                                                                                                        </a:lnTo>
                                                                                                        <a:lnTo>
                                                                                                          <a:pt x="88" y="24"/>
                                                                                                        </a:lnTo>
                                                                                                        <a:lnTo>
                                                                                                          <a:pt x="92" y="26"/>
                                                                                                        </a:lnTo>
                                                                                                        <a:lnTo>
                                                                                                          <a:pt x="94" y="30"/>
                                                                                                        </a:lnTo>
                                                                                                        <a:lnTo>
                                                                                                          <a:pt x="96" y="30"/>
                                                                                                        </a:lnTo>
                                                                                                        <a:lnTo>
                                                                                                          <a:pt x="96" y="30"/>
                                                                                                        </a:lnTo>
                                                                                                        <a:lnTo>
                                                                                                          <a:pt x="100" y="30"/>
                                                                                                        </a:lnTo>
                                                                                                        <a:lnTo>
                                                                                                          <a:pt x="100" y="32"/>
                                                                                                        </a:lnTo>
                                                                                                        <a:lnTo>
                                                                                                          <a:pt x="100" y="38"/>
                                                                                                        </a:lnTo>
                                                                                                        <a:lnTo>
                                                                                                          <a:pt x="100" y="38"/>
                                                                                                        </a:lnTo>
                                                                                                        <a:lnTo>
                                                                                                          <a:pt x="108" y="34"/>
                                                                                                        </a:lnTo>
                                                                                                        <a:lnTo>
                                                                                                          <a:pt x="112" y="28"/>
                                                                                                        </a:lnTo>
                                                                                                        <a:lnTo>
                                                                                                          <a:pt x="112" y="28"/>
                                                                                                        </a:lnTo>
                                                                                                        <a:lnTo>
                                                                                                          <a:pt x="112" y="36"/>
                                                                                                        </a:lnTo>
                                                                                                        <a:lnTo>
                                                                                                          <a:pt x="112" y="38"/>
                                                                                                        </a:lnTo>
                                                                                                        <a:lnTo>
                                                                                                          <a:pt x="110" y="38"/>
                                                                                                        </a:lnTo>
                                                                                                        <a:lnTo>
                                                                                                          <a:pt x="110" y="38"/>
                                                                                                        </a:lnTo>
                                                                                                        <a:lnTo>
                                                                                                          <a:pt x="106" y="38"/>
                                                                                                        </a:lnTo>
                                                                                                        <a:lnTo>
                                                                                                          <a:pt x="104" y="40"/>
                                                                                                        </a:lnTo>
                                                                                                        <a:lnTo>
                                                                                                          <a:pt x="104" y="40"/>
                                                                                                        </a:lnTo>
                                                                                                        <a:lnTo>
                                                                                                          <a:pt x="102" y="44"/>
                                                                                                        </a:lnTo>
                                                                                                        <a:lnTo>
                                                                                                          <a:pt x="100" y="48"/>
                                                                                                        </a:lnTo>
                                                                                                        <a:lnTo>
                                                                                                          <a:pt x="102" y="52"/>
                                                                                                        </a:lnTo>
                                                                                                        <a:lnTo>
                                                                                                          <a:pt x="102" y="54"/>
                                                                                                        </a:lnTo>
                                                                                                        <a:lnTo>
                                                                                                          <a:pt x="102" y="54"/>
                                                                                                        </a:lnTo>
                                                                                                        <a:lnTo>
                                                                                                          <a:pt x="100" y="58"/>
                                                                                                        </a:lnTo>
                                                                                                        <a:lnTo>
                                                                                                          <a:pt x="102" y="58"/>
                                                                                                        </a:lnTo>
                                                                                                        <a:lnTo>
                                                                                                          <a:pt x="104" y="60"/>
                                                                                                        </a:lnTo>
                                                                                                        <a:lnTo>
                                                                                                          <a:pt x="104" y="62"/>
                                                                                                        </a:lnTo>
                                                                                                        <a:lnTo>
                                                                                                          <a:pt x="104" y="62"/>
                                                                                                        </a:lnTo>
                                                                                                        <a:lnTo>
                                                                                                          <a:pt x="106" y="58"/>
                                                                                                        </a:lnTo>
                                                                                                        <a:lnTo>
                                                                                                          <a:pt x="108" y="54"/>
                                                                                                        </a:lnTo>
                                                                                                        <a:lnTo>
                                                                                                          <a:pt x="108" y="54"/>
                                                                                                        </a:lnTo>
                                                                                                        <a:lnTo>
                                                                                                          <a:pt x="108" y="52"/>
                                                                                                        </a:lnTo>
                                                                                                        <a:lnTo>
                                                                                                          <a:pt x="110" y="52"/>
                                                                                                        </a:lnTo>
                                                                                                        <a:lnTo>
                                                                                                          <a:pt x="112" y="52"/>
                                                                                                        </a:lnTo>
                                                                                                        <a:lnTo>
                                                                                                          <a:pt x="118" y="50"/>
                                                                                                        </a:lnTo>
                                                                                                        <a:lnTo>
                                                                                                          <a:pt x="118" y="50"/>
                                                                                                        </a:lnTo>
                                                                                                        <a:lnTo>
                                                                                                          <a:pt x="120" y="46"/>
                                                                                                        </a:lnTo>
                                                                                                        <a:lnTo>
                                                                                                          <a:pt x="120" y="44"/>
                                                                                                        </a:lnTo>
                                                                                                        <a:lnTo>
                                                                                                          <a:pt x="118" y="44"/>
                                                                                                        </a:lnTo>
                                                                                                        <a:lnTo>
                                                                                                          <a:pt x="120" y="40"/>
                                                                                                        </a:lnTo>
                                                                                                        <a:lnTo>
                                                                                                          <a:pt x="120" y="40"/>
                                                                                                        </a:lnTo>
                                                                                                        <a:lnTo>
                                                                                                          <a:pt x="122" y="38"/>
                                                                                                        </a:lnTo>
                                                                                                        <a:lnTo>
                                                                                                          <a:pt x="120" y="38"/>
                                                                                                        </a:lnTo>
                                                                                                        <a:lnTo>
                                                                                                          <a:pt x="118" y="36"/>
                                                                                                        </a:lnTo>
                                                                                                        <a:lnTo>
                                                                                                          <a:pt x="118" y="34"/>
                                                                                                        </a:lnTo>
                                                                                                        <a:lnTo>
                                                                                                          <a:pt x="118" y="34"/>
                                                                                                        </a:lnTo>
                                                                                                        <a:lnTo>
                                                                                                          <a:pt x="118" y="32"/>
                                                                                                        </a:lnTo>
                                                                                                        <a:lnTo>
                                                                                                          <a:pt x="118" y="30"/>
                                                                                                        </a:lnTo>
                                                                                                        <a:lnTo>
                                                                                                          <a:pt x="118" y="28"/>
                                                                                                        </a:lnTo>
                                                                                                        <a:lnTo>
                                                                                                          <a:pt x="120" y="24"/>
                                                                                                        </a:lnTo>
                                                                                                        <a:lnTo>
                                                                                                          <a:pt x="120" y="24"/>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baseline="-25000" dirty="0">
                                                                                                      <a:solidFill>
                                                                                                        <a:schemeClr val="tx1"/>
                                                                                                      </a:solidFill>
                                                                                                    </a:endParaRPr>
                                                                                                  </a:p>
                                                                                                </p:txBody>
                                                                                              </p:sp>
                                                                                              <p:sp>
                                                                                                <p:nvSpPr>
                                                                                                  <p:cNvPr id="757" name="Paraguay"/>
                                                                                                  <p:cNvSpPr>
                                                                                                    <a:spLocks/>
                                                                                                  </p:cNvSpPr>
                                                                                                  <p:nvPr/>
                                                                                                </p:nvSpPr>
                                                                                                <p:spPr bwMode="auto">
                                                                                                  <a:xfrm>
                                                                                                    <a:off x="3831260" y="4410616"/>
                                                                                                    <a:ext cx="276426" cy="321692"/>
                                                                                                  </a:xfrm>
                                                                                                  <a:custGeom>
                                                                                                    <a:avLst/>
                                                                                                    <a:gdLst/>
                                                                                                    <a:ahLst/>
                                                                                                    <a:cxnLst>
                                                                                                      <a:cxn ang="0">
                                                                                                        <a:pos x="4" y="82"/>
                                                                                                      </a:cxn>
                                                                                                      <a:cxn ang="0">
                                                                                                        <a:pos x="4" y="58"/>
                                                                                                      </a:cxn>
                                                                                                      <a:cxn ang="0">
                                                                                                        <a:pos x="0" y="36"/>
                                                                                                      </a:cxn>
                                                                                                      <a:cxn ang="0">
                                                                                                        <a:pos x="6" y="24"/>
                                                                                                      </a:cxn>
                                                                                                      <a:cxn ang="0">
                                                                                                        <a:pos x="12" y="8"/>
                                                                                                      </a:cxn>
                                                                                                      <a:cxn ang="0">
                                                                                                        <a:pos x="46" y="0"/>
                                                                                                      </a:cxn>
                                                                                                      <a:cxn ang="0">
                                                                                                        <a:pos x="70" y="2"/>
                                                                                                      </a:cxn>
                                                                                                      <a:cxn ang="0">
                                                                                                        <a:pos x="84" y="10"/>
                                                                                                      </a:cxn>
                                                                                                      <a:cxn ang="0">
                                                                                                        <a:pos x="94" y="20"/>
                                                                                                      </a:cxn>
                                                                                                      <a:cxn ang="0">
                                                                                                        <a:pos x="100" y="34"/>
                                                                                                      </a:cxn>
                                                                                                      <a:cxn ang="0">
                                                                                                        <a:pos x="108" y="48"/>
                                                                                                      </a:cxn>
                                                                                                      <a:cxn ang="0">
                                                                                                        <a:pos x="106" y="62"/>
                                                                                                      </a:cxn>
                                                                                                      <a:cxn ang="0">
                                                                                                        <a:pos x="106" y="84"/>
                                                                                                      </a:cxn>
                                                                                                      <a:cxn ang="0">
                                                                                                        <a:pos x="120" y="88"/>
                                                                                                      </a:cxn>
                                                                                                      <a:cxn ang="0">
                                                                                                        <a:pos x="134" y="90"/>
                                                                                                      </a:cxn>
                                                                                                      <a:cxn ang="0">
                                                                                                        <a:pos x="148" y="94"/>
                                                                                                      </a:cxn>
                                                                                                      <a:cxn ang="0">
                                                                                                        <a:pos x="154" y="98"/>
                                                                                                      </a:cxn>
                                                                                                      <a:cxn ang="0">
                                                                                                        <a:pos x="154" y="114"/>
                                                                                                      </a:cxn>
                                                                                                      <a:cxn ang="0">
                                                                                                        <a:pos x="156" y="126"/>
                                                                                                      </a:cxn>
                                                                                                      <a:cxn ang="0">
                                                                                                        <a:pos x="164" y="128"/>
                                                                                                      </a:cxn>
                                                                                                      <a:cxn ang="0">
                                                                                                        <a:pos x="178" y="130"/>
                                                                                                      </a:cxn>
                                                                                                      <a:cxn ang="0">
                                                                                                        <a:pos x="180" y="144"/>
                                                                                                      </a:cxn>
                                                                                                      <a:cxn ang="0">
                                                                                                        <a:pos x="180" y="172"/>
                                                                                                      </a:cxn>
                                                                                                      <a:cxn ang="0">
                                                                                                        <a:pos x="178" y="182"/>
                                                                                                      </a:cxn>
                                                                                                      <a:cxn ang="0">
                                                                                                        <a:pos x="176" y="188"/>
                                                                                                      </a:cxn>
                                                                                                      <a:cxn ang="0">
                                                                                                        <a:pos x="172" y="192"/>
                                                                                                      </a:cxn>
                                                                                                      <a:cxn ang="0">
                                                                                                        <a:pos x="166" y="202"/>
                                                                                                      </a:cxn>
                                                                                                      <a:cxn ang="0">
                                                                                                        <a:pos x="154" y="206"/>
                                                                                                      </a:cxn>
                                                                                                      <a:cxn ang="0">
                                                                                                        <a:pos x="146" y="210"/>
                                                                                                      </a:cxn>
                                                                                                      <a:cxn ang="0">
                                                                                                        <a:pos x="138" y="212"/>
                                                                                                      </a:cxn>
                                                                                                      <a:cxn ang="0">
                                                                                                        <a:pos x="134" y="210"/>
                                                                                                      </a:cxn>
                                                                                                      <a:cxn ang="0">
                                                                                                        <a:pos x="112" y="202"/>
                                                                                                      </a:cxn>
                                                                                                      <a:cxn ang="0">
                                                                                                        <a:pos x="100" y="202"/>
                                                                                                      </a:cxn>
                                                                                                      <a:cxn ang="0">
                                                                                                        <a:pos x="104" y="190"/>
                                                                                                      </a:cxn>
                                                                                                      <a:cxn ang="0">
                                                                                                        <a:pos x="108" y="178"/>
                                                                                                      </a:cxn>
                                                                                                      <a:cxn ang="0">
                                                                                                        <a:pos x="112" y="170"/>
                                                                                                      </a:cxn>
                                                                                                      <a:cxn ang="0">
                                                                                                        <a:pos x="104" y="162"/>
                                                                                                      </a:cxn>
                                                                                                      <a:cxn ang="0">
                                                                                                        <a:pos x="96" y="154"/>
                                                                                                      </a:cxn>
                                                                                                      <a:cxn ang="0">
                                                                                                        <a:pos x="78" y="142"/>
                                                                                                      </a:cxn>
                                                                                                      <a:cxn ang="0">
                                                                                                        <a:pos x="66" y="138"/>
                                                                                                      </a:cxn>
                                                                                                      <a:cxn ang="0">
                                                                                                        <a:pos x="50" y="132"/>
                                                                                                      </a:cxn>
                                                                                                      <a:cxn ang="0">
                                                                                                        <a:pos x="44" y="128"/>
                                                                                                      </a:cxn>
                                                                                                      <a:cxn ang="0">
                                                                                                        <a:pos x="18" y="106"/>
                                                                                                      </a:cxn>
                                                                                                      <a:cxn ang="0">
                                                                                                        <a:pos x="12" y="100"/>
                                                                                                      </a:cxn>
                                                                                                      <a:cxn ang="0">
                                                                                                        <a:pos x="6" y="90"/>
                                                                                                      </a:cxn>
                                                                                                    </a:cxnLst>
                                                                                                    <a:rect l="0" t="0" r="r" b="b"/>
                                                                                                    <a:pathLst>
                                                                                                      <a:path w="182" h="212">
                                                                                                        <a:moveTo>
                                                                                                          <a:pt x="6" y="90"/>
                                                                                                        </a:moveTo>
                                                                                                        <a:lnTo>
                                                                                                          <a:pt x="6" y="90"/>
                                                                                                        </a:lnTo>
                                                                                                        <a:lnTo>
                                                                                                          <a:pt x="4" y="82"/>
                                                                                                        </a:lnTo>
                                                                                                        <a:lnTo>
                                                                                                          <a:pt x="4" y="68"/>
                                                                                                        </a:lnTo>
                                                                                                        <a:lnTo>
                                                                                                          <a:pt x="4" y="68"/>
                                                                                                        </a:lnTo>
                                                                                                        <a:lnTo>
                                                                                                          <a:pt x="4" y="58"/>
                                                                                                        </a:lnTo>
                                                                                                        <a:lnTo>
                                                                                                          <a:pt x="2" y="48"/>
                                                                                                        </a:lnTo>
                                                                                                        <a:lnTo>
                                                                                                          <a:pt x="0" y="40"/>
                                                                                                        </a:lnTo>
                                                                                                        <a:lnTo>
                                                                                                          <a:pt x="0" y="36"/>
                                                                                                        </a:lnTo>
                                                                                                        <a:lnTo>
                                                                                                          <a:pt x="2" y="32"/>
                                                                                                        </a:lnTo>
                                                                                                        <a:lnTo>
                                                                                                          <a:pt x="2" y="32"/>
                                                                                                        </a:lnTo>
                                                                                                        <a:lnTo>
                                                                                                          <a:pt x="6" y="24"/>
                                                                                                        </a:lnTo>
                                                                                                        <a:lnTo>
                                                                                                          <a:pt x="8" y="16"/>
                                                                                                        </a:lnTo>
                                                                                                        <a:lnTo>
                                                                                                          <a:pt x="10" y="10"/>
                                                                                                        </a:lnTo>
                                                                                                        <a:lnTo>
                                                                                                          <a:pt x="12" y="8"/>
                                                                                                        </a:lnTo>
                                                                                                        <a:lnTo>
                                                                                                          <a:pt x="16" y="6"/>
                                                                                                        </a:lnTo>
                                                                                                        <a:lnTo>
                                                                                                          <a:pt x="16" y="6"/>
                                                                                                        </a:lnTo>
                                                                                                        <a:lnTo>
                                                                                                          <a:pt x="46" y="0"/>
                                                                                                        </a:lnTo>
                                                                                                        <a:lnTo>
                                                                                                          <a:pt x="58" y="0"/>
                                                                                                        </a:lnTo>
                                                                                                        <a:lnTo>
                                                                                                          <a:pt x="70" y="2"/>
                                                                                                        </a:lnTo>
                                                                                                        <a:lnTo>
                                                                                                          <a:pt x="70" y="2"/>
                                                                                                        </a:lnTo>
                                                                                                        <a:lnTo>
                                                                                                          <a:pt x="80" y="6"/>
                                                                                                        </a:lnTo>
                                                                                                        <a:lnTo>
                                                                                                          <a:pt x="82" y="8"/>
                                                                                                        </a:lnTo>
                                                                                                        <a:lnTo>
                                                                                                          <a:pt x="84" y="10"/>
                                                                                                        </a:lnTo>
                                                                                                        <a:lnTo>
                                                                                                          <a:pt x="92" y="14"/>
                                                                                                        </a:lnTo>
                                                                                                        <a:lnTo>
                                                                                                          <a:pt x="92" y="14"/>
                                                                                                        </a:lnTo>
                                                                                                        <a:lnTo>
                                                                                                          <a:pt x="94" y="20"/>
                                                                                                        </a:lnTo>
                                                                                                        <a:lnTo>
                                                                                                          <a:pt x="94" y="24"/>
                                                                                                        </a:lnTo>
                                                                                                        <a:lnTo>
                                                                                                          <a:pt x="94" y="26"/>
                                                                                                        </a:lnTo>
                                                                                                        <a:lnTo>
                                                                                                          <a:pt x="100" y="34"/>
                                                                                                        </a:lnTo>
                                                                                                        <a:lnTo>
                                                                                                          <a:pt x="100" y="34"/>
                                                                                                        </a:lnTo>
                                                                                                        <a:lnTo>
                                                                                                          <a:pt x="106" y="42"/>
                                                                                                        </a:lnTo>
                                                                                                        <a:lnTo>
                                                                                                          <a:pt x="108" y="48"/>
                                                                                                        </a:lnTo>
                                                                                                        <a:lnTo>
                                                                                                          <a:pt x="108" y="52"/>
                                                                                                        </a:lnTo>
                                                                                                        <a:lnTo>
                                                                                                          <a:pt x="106" y="62"/>
                                                                                                        </a:lnTo>
                                                                                                        <a:lnTo>
                                                                                                          <a:pt x="106" y="62"/>
                                                                                                        </a:lnTo>
                                                                                                        <a:lnTo>
                                                                                                          <a:pt x="100" y="80"/>
                                                                                                        </a:lnTo>
                                                                                                        <a:lnTo>
                                                                                                          <a:pt x="100" y="84"/>
                                                                                                        </a:lnTo>
                                                                                                        <a:lnTo>
                                                                                                          <a:pt x="106" y="84"/>
                                                                                                        </a:lnTo>
                                                                                                        <a:lnTo>
                                                                                                          <a:pt x="106" y="84"/>
                                                                                                        </a:lnTo>
                                                                                                        <a:lnTo>
                                                                                                          <a:pt x="114" y="86"/>
                                                                                                        </a:lnTo>
                                                                                                        <a:lnTo>
                                                                                                          <a:pt x="120" y="88"/>
                                                                                                        </a:lnTo>
                                                                                                        <a:lnTo>
                                                                                                          <a:pt x="126" y="90"/>
                                                                                                        </a:lnTo>
                                                                                                        <a:lnTo>
                                                                                                          <a:pt x="134" y="90"/>
                                                                                                        </a:lnTo>
                                                                                                        <a:lnTo>
                                                                                                          <a:pt x="134" y="90"/>
                                                                                                        </a:lnTo>
                                                                                                        <a:lnTo>
                                                                                                          <a:pt x="138" y="90"/>
                                                                                                        </a:lnTo>
                                                                                                        <a:lnTo>
                                                                                                          <a:pt x="142" y="90"/>
                                                                                                        </a:lnTo>
                                                                                                        <a:lnTo>
                                                                                                          <a:pt x="148" y="94"/>
                                                                                                        </a:lnTo>
                                                                                                        <a:lnTo>
                                                                                                          <a:pt x="148" y="94"/>
                                                                                                        </a:lnTo>
                                                                                                        <a:lnTo>
                                                                                                          <a:pt x="152" y="96"/>
                                                                                                        </a:lnTo>
                                                                                                        <a:lnTo>
                                                                                                          <a:pt x="154" y="98"/>
                                                                                                        </a:lnTo>
                                                                                                        <a:lnTo>
                                                                                                          <a:pt x="154" y="102"/>
                                                                                                        </a:lnTo>
                                                                                                        <a:lnTo>
                                                                                                          <a:pt x="152" y="108"/>
                                                                                                        </a:lnTo>
                                                                                                        <a:lnTo>
                                                                                                          <a:pt x="154" y="114"/>
                                                                                                        </a:lnTo>
                                                                                                        <a:lnTo>
                                                                                                          <a:pt x="154" y="114"/>
                                                                                                        </a:lnTo>
                                                                                                        <a:lnTo>
                                                                                                          <a:pt x="156" y="122"/>
                                                                                                        </a:lnTo>
                                                                                                        <a:lnTo>
                                                                                                          <a:pt x="156" y="126"/>
                                                                                                        </a:lnTo>
                                                                                                        <a:lnTo>
                                                                                                          <a:pt x="158" y="128"/>
                                                                                                        </a:lnTo>
                                                                                                        <a:lnTo>
                                                                                                          <a:pt x="164" y="128"/>
                                                                                                        </a:lnTo>
                                                                                                        <a:lnTo>
                                                                                                          <a:pt x="164" y="128"/>
                                                                                                        </a:lnTo>
                                                                                                        <a:lnTo>
                                                                                                          <a:pt x="170" y="126"/>
                                                                                                        </a:lnTo>
                                                                                                        <a:lnTo>
                                                                                                          <a:pt x="176" y="128"/>
                                                                                                        </a:lnTo>
                                                                                                        <a:lnTo>
                                                                                                          <a:pt x="178" y="130"/>
                                                                                                        </a:lnTo>
                                                                                                        <a:lnTo>
                                                                                                          <a:pt x="178" y="138"/>
                                                                                                        </a:lnTo>
                                                                                                        <a:lnTo>
                                                                                                          <a:pt x="178" y="138"/>
                                                                                                        </a:lnTo>
                                                                                                        <a:lnTo>
                                                                                                          <a:pt x="180" y="144"/>
                                                                                                        </a:lnTo>
                                                                                                        <a:lnTo>
                                                                                                          <a:pt x="182" y="148"/>
                                                                                                        </a:lnTo>
                                                                                                        <a:lnTo>
                                                                                                          <a:pt x="182" y="156"/>
                                                                                                        </a:lnTo>
                                                                                                        <a:lnTo>
                                                                                                          <a:pt x="180" y="172"/>
                                                                                                        </a:lnTo>
                                                                                                        <a:lnTo>
                                                                                                          <a:pt x="180" y="172"/>
                                                                                                        </a:lnTo>
                                                                                                        <a:lnTo>
                                                                                                          <a:pt x="180" y="178"/>
                                                                                                        </a:lnTo>
                                                                                                        <a:lnTo>
                                                                                                          <a:pt x="178" y="182"/>
                                                                                                        </a:lnTo>
                                                                                                        <a:lnTo>
                                                                                                          <a:pt x="178" y="182"/>
                                                                                                        </a:lnTo>
                                                                                                        <a:lnTo>
                                                                                                          <a:pt x="178" y="186"/>
                                                                                                        </a:lnTo>
                                                                                                        <a:lnTo>
                                                                                                          <a:pt x="176" y="188"/>
                                                                                                        </a:lnTo>
                                                                                                        <a:lnTo>
                                                                                                          <a:pt x="174" y="190"/>
                                                                                                        </a:lnTo>
                                                                                                        <a:lnTo>
                                                                                                          <a:pt x="172" y="192"/>
                                                                                                        </a:lnTo>
                                                                                                        <a:lnTo>
                                                                                                          <a:pt x="172" y="192"/>
                                                                                                        </a:lnTo>
                                                                                                        <a:lnTo>
                                                                                                          <a:pt x="170" y="198"/>
                                                                                                        </a:lnTo>
                                                                                                        <a:lnTo>
                                                                                                          <a:pt x="166" y="202"/>
                                                                                                        </a:lnTo>
                                                                                                        <a:lnTo>
                                                                                                          <a:pt x="166" y="202"/>
                                                                                                        </a:lnTo>
                                                                                                        <a:lnTo>
                                                                                                          <a:pt x="162" y="208"/>
                                                                                                        </a:lnTo>
                                                                                                        <a:lnTo>
                                                                                                          <a:pt x="158" y="208"/>
                                                                                                        </a:lnTo>
                                                                                                        <a:lnTo>
                                                                                                          <a:pt x="154" y="206"/>
                                                                                                        </a:lnTo>
                                                                                                        <a:lnTo>
                                                                                                          <a:pt x="150" y="208"/>
                                                                                                        </a:lnTo>
                                                                                                        <a:lnTo>
                                                                                                          <a:pt x="150" y="208"/>
                                                                                                        </a:lnTo>
                                                                                                        <a:lnTo>
                                                                                                          <a:pt x="146" y="210"/>
                                                                                                        </a:lnTo>
                                                                                                        <a:lnTo>
                                                                                                          <a:pt x="144" y="210"/>
                                                                                                        </a:lnTo>
                                                                                                        <a:lnTo>
                                                                                                          <a:pt x="142" y="210"/>
                                                                                                        </a:lnTo>
                                                                                                        <a:lnTo>
                                                                                                          <a:pt x="138" y="212"/>
                                                                                                        </a:lnTo>
                                                                                                        <a:lnTo>
                                                                                                          <a:pt x="138" y="212"/>
                                                                                                        </a:lnTo>
                                                                                                        <a:lnTo>
                                                                                                          <a:pt x="136" y="212"/>
                                                                                                        </a:lnTo>
                                                                                                        <a:lnTo>
                                                                                                          <a:pt x="134" y="210"/>
                                                                                                        </a:lnTo>
                                                                                                        <a:lnTo>
                                                                                                          <a:pt x="126" y="208"/>
                                                                                                        </a:lnTo>
                                                                                                        <a:lnTo>
                                                                                                          <a:pt x="116" y="204"/>
                                                                                                        </a:lnTo>
                                                                                                        <a:lnTo>
                                                                                                          <a:pt x="112" y="202"/>
                                                                                                        </a:lnTo>
                                                                                                        <a:lnTo>
                                                                                                          <a:pt x="104" y="204"/>
                                                                                                        </a:lnTo>
                                                                                                        <a:lnTo>
                                                                                                          <a:pt x="104" y="204"/>
                                                                                                        </a:lnTo>
                                                                                                        <a:lnTo>
                                                                                                          <a:pt x="100" y="202"/>
                                                                                                        </a:lnTo>
                                                                                                        <a:lnTo>
                                                                                                          <a:pt x="100" y="200"/>
                                                                                                        </a:lnTo>
                                                                                                        <a:lnTo>
                                                                                                          <a:pt x="104" y="190"/>
                                                                                                        </a:lnTo>
                                                                                                        <a:lnTo>
                                                                                                          <a:pt x="104" y="190"/>
                                                                                                        </a:lnTo>
                                                                                                        <a:lnTo>
                                                                                                          <a:pt x="108" y="186"/>
                                                                                                        </a:lnTo>
                                                                                                        <a:lnTo>
                                                                                                          <a:pt x="108" y="182"/>
                                                                                                        </a:lnTo>
                                                                                                        <a:lnTo>
                                                                                                          <a:pt x="108" y="178"/>
                                                                                                        </a:lnTo>
                                                                                                        <a:lnTo>
                                                                                                          <a:pt x="112" y="174"/>
                                                                                                        </a:lnTo>
                                                                                                        <a:lnTo>
                                                                                                          <a:pt x="112" y="174"/>
                                                                                                        </a:lnTo>
                                                                                                        <a:lnTo>
                                                                                                          <a:pt x="112" y="170"/>
                                                                                                        </a:lnTo>
                                                                                                        <a:lnTo>
                                                                                                          <a:pt x="112" y="168"/>
                                                                                                        </a:lnTo>
                                                                                                        <a:lnTo>
                                                                                                          <a:pt x="108" y="166"/>
                                                                                                        </a:lnTo>
                                                                                                        <a:lnTo>
                                                                                                          <a:pt x="104" y="162"/>
                                                                                                        </a:lnTo>
                                                                                                        <a:lnTo>
                                                                                                          <a:pt x="104" y="162"/>
                                                                                                        </a:lnTo>
                                                                                                        <a:lnTo>
                                                                                                          <a:pt x="100" y="156"/>
                                                                                                        </a:lnTo>
                                                                                                        <a:lnTo>
                                                                                                          <a:pt x="96" y="154"/>
                                                                                                        </a:lnTo>
                                                                                                        <a:lnTo>
                                                                                                          <a:pt x="84" y="146"/>
                                                                                                        </a:lnTo>
                                                                                                        <a:lnTo>
                                                                                                          <a:pt x="84" y="146"/>
                                                                                                        </a:lnTo>
                                                                                                        <a:lnTo>
                                                                                                          <a:pt x="78" y="142"/>
                                                                                                        </a:lnTo>
                                                                                                        <a:lnTo>
                                                                                                          <a:pt x="74" y="142"/>
                                                                                                        </a:lnTo>
                                                                                                        <a:lnTo>
                                                                                                          <a:pt x="72" y="142"/>
                                                                                                        </a:lnTo>
                                                                                                        <a:lnTo>
                                                                                                          <a:pt x="66" y="138"/>
                                                                                                        </a:lnTo>
                                                                                                        <a:lnTo>
                                                                                                          <a:pt x="66" y="138"/>
                                                                                                        </a:lnTo>
                                                                                                        <a:lnTo>
                                                                                                          <a:pt x="56" y="134"/>
                                                                                                        </a:lnTo>
                                                                                                        <a:lnTo>
                                                                                                          <a:pt x="50" y="132"/>
                                                                                                        </a:lnTo>
                                                                                                        <a:lnTo>
                                                                                                          <a:pt x="48" y="132"/>
                                                                                                        </a:lnTo>
                                                                                                        <a:lnTo>
                                                                                                          <a:pt x="44" y="128"/>
                                                                                                        </a:lnTo>
                                                                                                        <a:lnTo>
                                                                                                          <a:pt x="44" y="128"/>
                                                                                                        </a:lnTo>
                                                                                                        <a:lnTo>
                                                                                                          <a:pt x="30" y="116"/>
                                                                                                        </a:lnTo>
                                                                                                        <a:lnTo>
                                                                                                          <a:pt x="18" y="106"/>
                                                                                                        </a:lnTo>
                                                                                                        <a:lnTo>
                                                                                                          <a:pt x="18" y="106"/>
                                                                                                        </a:lnTo>
                                                                                                        <a:lnTo>
                                                                                                          <a:pt x="14" y="104"/>
                                                                                                        </a:lnTo>
                                                                                                        <a:lnTo>
                                                                                                          <a:pt x="12" y="102"/>
                                                                                                        </a:lnTo>
                                                                                                        <a:lnTo>
                                                                                                          <a:pt x="12" y="100"/>
                                                                                                        </a:lnTo>
                                                                                                        <a:lnTo>
                                                                                                          <a:pt x="12" y="94"/>
                                                                                                        </a:lnTo>
                                                                                                        <a:lnTo>
                                                                                                          <a:pt x="10" y="92"/>
                                                                                                        </a:lnTo>
                                                                                                        <a:lnTo>
                                                                                                          <a:pt x="6" y="90"/>
                                                                                                        </a:lnTo>
                                                                                                        <a:lnTo>
                                                                                                          <a:pt x="6" y="90"/>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baseline="-25000" dirty="0">
                                                                                                      <a:solidFill>
                                                                                                        <a:schemeClr val="tx1"/>
                                                                                                      </a:solidFill>
                                                                                                    </a:endParaRPr>
                                                                                                  </a:p>
                                                                                                </p:txBody>
                                                                                              </p:sp>
                                                                                              <p:sp>
                                                                                                <p:nvSpPr>
                                                                                                  <p:cNvPr id="773" name="Uruguay"/>
                                                                                                  <p:cNvSpPr>
                                                                                                    <a:spLocks/>
                                                                                                  </p:cNvSpPr>
                                                                                                  <p:nvPr/>
                                                                                                </p:nvSpPr>
                                                                                                <p:spPr bwMode="auto">
                                                                                                  <a:xfrm>
                                                                                                    <a:off x="4034781" y="4808180"/>
                                                                                                    <a:ext cx="160995" cy="172986"/>
                                                                                                  </a:xfrm>
                                                                                                  <a:custGeom>
                                                                                                    <a:avLst/>
                                                                                                    <a:gdLst/>
                                                                                                    <a:ahLst/>
                                                                                                    <a:cxnLst>
                                                                                                      <a:cxn ang="0">
                                                                                                        <a:pos x="6" y="78"/>
                                                                                                      </a:cxn>
                                                                                                      <a:cxn ang="0">
                                                                                                        <a:pos x="10" y="96"/>
                                                                                                      </a:cxn>
                                                                                                      <a:cxn ang="0">
                                                                                                        <a:pos x="20" y="102"/>
                                                                                                      </a:cxn>
                                                                                                      <a:cxn ang="0">
                                                                                                        <a:pos x="36" y="104"/>
                                                                                                      </a:cxn>
                                                                                                      <a:cxn ang="0">
                                                                                                        <a:pos x="38" y="106"/>
                                                                                                      </a:cxn>
                                                                                                      <a:cxn ang="0">
                                                                                                        <a:pos x="48" y="108"/>
                                                                                                      </a:cxn>
                                                                                                      <a:cxn ang="0">
                                                                                                        <a:pos x="58" y="110"/>
                                                                                                      </a:cxn>
                                                                                                      <a:cxn ang="0">
                                                                                                        <a:pos x="62" y="112"/>
                                                                                                      </a:cxn>
                                                                                                      <a:cxn ang="0">
                                                                                                        <a:pos x="82" y="114"/>
                                                                                                      </a:cxn>
                                                                                                      <a:cxn ang="0">
                                                                                                        <a:pos x="94" y="108"/>
                                                                                                      </a:cxn>
                                                                                                      <a:cxn ang="0">
                                                                                                        <a:pos x="106" y="98"/>
                                                                                                      </a:cxn>
                                                                                                      <a:cxn ang="0">
                                                                                                        <a:pos x="102" y="90"/>
                                                                                                      </a:cxn>
                                                                                                      <a:cxn ang="0">
                                                                                                        <a:pos x="104" y="82"/>
                                                                                                      </a:cxn>
                                                                                                      <a:cxn ang="0">
                                                                                                        <a:pos x="106" y="72"/>
                                                                                                      </a:cxn>
                                                                                                      <a:cxn ang="0">
                                                                                                        <a:pos x="98" y="64"/>
                                                                                                      </a:cxn>
                                                                                                      <a:cxn ang="0">
                                                                                                        <a:pos x="92" y="58"/>
                                                                                                      </a:cxn>
                                                                                                      <a:cxn ang="0">
                                                                                                        <a:pos x="88" y="56"/>
                                                                                                      </a:cxn>
                                                                                                      <a:cxn ang="0">
                                                                                                        <a:pos x="82" y="50"/>
                                                                                                      </a:cxn>
                                                                                                      <a:cxn ang="0">
                                                                                                        <a:pos x="66" y="38"/>
                                                                                                      </a:cxn>
                                                                                                      <a:cxn ang="0">
                                                                                                        <a:pos x="56" y="34"/>
                                                                                                      </a:cxn>
                                                                                                      <a:cxn ang="0">
                                                                                                        <a:pos x="52" y="30"/>
                                                                                                      </a:cxn>
                                                                                                      <a:cxn ang="0">
                                                                                                        <a:pos x="46" y="32"/>
                                                                                                      </a:cxn>
                                                                                                      <a:cxn ang="0">
                                                                                                        <a:pos x="44" y="32"/>
                                                                                                      </a:cxn>
                                                                                                      <a:cxn ang="0">
                                                                                                        <a:pos x="42" y="26"/>
                                                                                                      </a:cxn>
                                                                                                      <a:cxn ang="0">
                                                                                                        <a:pos x="40" y="14"/>
                                                                                                      </a:cxn>
                                                                                                      <a:cxn ang="0">
                                                                                                        <a:pos x="34" y="6"/>
                                                                                                      </a:cxn>
                                                                                                      <a:cxn ang="0">
                                                                                                        <a:pos x="30" y="0"/>
                                                                                                      </a:cxn>
                                                                                                      <a:cxn ang="0">
                                                                                                        <a:pos x="22" y="2"/>
                                                                                                      </a:cxn>
                                                                                                      <a:cxn ang="0">
                                                                                                        <a:pos x="12" y="8"/>
                                                                                                      </a:cxn>
                                                                                                      <a:cxn ang="0">
                                                                                                        <a:pos x="4" y="8"/>
                                                                                                      </a:cxn>
                                                                                                      <a:cxn ang="0">
                                                                                                        <a:pos x="2" y="24"/>
                                                                                                      </a:cxn>
                                                                                                      <a:cxn ang="0">
                                                                                                        <a:pos x="2" y="38"/>
                                                                                                      </a:cxn>
                                                                                                      <a:cxn ang="0">
                                                                                                        <a:pos x="0" y="44"/>
                                                                                                      </a:cxn>
                                                                                                      <a:cxn ang="0">
                                                                                                        <a:pos x="4" y="62"/>
                                                                                                      </a:cxn>
                                                                                                      <a:cxn ang="0">
                                                                                                        <a:pos x="6" y="74"/>
                                                                                                      </a:cxn>
                                                                                                      <a:cxn ang="0">
                                                                                                        <a:pos x="6" y="78"/>
                                                                                                      </a:cxn>
                                                                                                    </a:cxnLst>
                                                                                                    <a:rect l="0" t="0" r="r" b="b"/>
                                                                                                    <a:pathLst>
                                                                                                      <a:path w="106" h="114">
                                                                                                        <a:moveTo>
                                                                                                          <a:pt x="6" y="78"/>
                                                                                                        </a:moveTo>
                                                                                                        <a:lnTo>
                                                                                                          <a:pt x="6" y="78"/>
                                                                                                        </a:lnTo>
                                                                                                        <a:lnTo>
                                                                                                          <a:pt x="8" y="88"/>
                                                                                                        </a:lnTo>
                                                                                                        <a:lnTo>
                                                                                                          <a:pt x="10" y="96"/>
                                                                                                        </a:lnTo>
                                                                                                        <a:lnTo>
                                                                                                          <a:pt x="16" y="100"/>
                                                                                                        </a:lnTo>
                                                                                                        <a:lnTo>
                                                                                                          <a:pt x="20" y="102"/>
                                                                                                        </a:lnTo>
                                                                                                        <a:lnTo>
                                                                                                          <a:pt x="30" y="104"/>
                                                                                                        </a:lnTo>
                                                                                                        <a:lnTo>
                                                                                                          <a:pt x="36" y="104"/>
                                                                                                        </a:lnTo>
                                                                                                        <a:lnTo>
                                                                                                          <a:pt x="38" y="106"/>
                                                                                                        </a:lnTo>
                                                                                                        <a:lnTo>
                                                                                                          <a:pt x="38" y="106"/>
                                                                                                        </a:lnTo>
                                                                                                        <a:lnTo>
                                                                                                          <a:pt x="42" y="108"/>
                                                                                                        </a:lnTo>
                                                                                                        <a:lnTo>
                                                                                                          <a:pt x="48" y="108"/>
                                                                                                        </a:lnTo>
                                                                                                        <a:lnTo>
                                                                                                          <a:pt x="52" y="108"/>
                                                                                                        </a:lnTo>
                                                                                                        <a:lnTo>
                                                                                                          <a:pt x="58" y="110"/>
                                                                                                        </a:lnTo>
                                                                                                        <a:lnTo>
                                                                                                          <a:pt x="58" y="110"/>
                                                                                                        </a:lnTo>
                                                                                                        <a:lnTo>
                                                                                                          <a:pt x="62" y="112"/>
                                                                                                        </a:lnTo>
                                                                                                        <a:lnTo>
                                                                                                          <a:pt x="68" y="114"/>
                                                                                                        </a:lnTo>
                                                                                                        <a:lnTo>
                                                                                                          <a:pt x="82" y="114"/>
                                                                                                        </a:lnTo>
                                                                                                        <a:lnTo>
                                                                                                          <a:pt x="88" y="112"/>
                                                                                                        </a:lnTo>
                                                                                                        <a:lnTo>
                                                                                                          <a:pt x="94" y="108"/>
                                                                                                        </a:lnTo>
                                                                                                        <a:lnTo>
                                                                                                          <a:pt x="100" y="102"/>
                                                                                                        </a:lnTo>
                                                                                                        <a:lnTo>
                                                                                                          <a:pt x="106" y="98"/>
                                                                                                        </a:lnTo>
                                                                                                        <a:lnTo>
                                                                                                          <a:pt x="106" y="98"/>
                                                                                                        </a:lnTo>
                                                                                                        <a:lnTo>
                                                                                                          <a:pt x="102" y="90"/>
                                                                                                        </a:lnTo>
                                                                                                        <a:lnTo>
                                                                                                          <a:pt x="104" y="82"/>
                                                                                                        </a:lnTo>
                                                                                                        <a:lnTo>
                                                                                                          <a:pt x="104" y="82"/>
                                                                                                        </a:lnTo>
                                                                                                        <a:lnTo>
                                                                                                          <a:pt x="106" y="74"/>
                                                                                                        </a:lnTo>
                                                                                                        <a:lnTo>
                                                                                                          <a:pt x="106" y="72"/>
                                                                                                        </a:lnTo>
                                                                                                        <a:lnTo>
                                                                                                          <a:pt x="102" y="70"/>
                                                                                                        </a:lnTo>
                                                                                                        <a:lnTo>
                                                                                                          <a:pt x="98" y="64"/>
                                                                                                        </a:lnTo>
                                                                                                        <a:lnTo>
                                                                                                          <a:pt x="98" y="64"/>
                                                                                                        </a:lnTo>
                                                                                                        <a:lnTo>
                                                                                                          <a:pt x="92" y="58"/>
                                                                                                        </a:lnTo>
                                                                                                        <a:lnTo>
                                                                                                          <a:pt x="90" y="56"/>
                                                                                                        </a:lnTo>
                                                                                                        <a:lnTo>
                                                                                                          <a:pt x="88" y="56"/>
                                                                                                        </a:lnTo>
                                                                                                        <a:lnTo>
                                                                                                          <a:pt x="82" y="50"/>
                                                                                                        </a:lnTo>
                                                                                                        <a:lnTo>
                                                                                                          <a:pt x="82" y="50"/>
                                                                                                        </a:lnTo>
                                                                                                        <a:lnTo>
                                                                                                          <a:pt x="74" y="42"/>
                                                                                                        </a:lnTo>
                                                                                                        <a:lnTo>
                                                                                                          <a:pt x="66" y="38"/>
                                                                                                        </a:lnTo>
                                                                                                        <a:lnTo>
                                                                                                          <a:pt x="60" y="38"/>
                                                                                                        </a:lnTo>
                                                                                                        <a:lnTo>
                                                                                                          <a:pt x="56" y="34"/>
                                                                                                        </a:lnTo>
                                                                                                        <a:lnTo>
                                                                                                          <a:pt x="56" y="34"/>
                                                                                                        </a:lnTo>
                                                                                                        <a:lnTo>
                                                                                                          <a:pt x="52" y="30"/>
                                                                                                        </a:lnTo>
                                                                                                        <a:lnTo>
                                                                                                          <a:pt x="50" y="32"/>
                                                                                                        </a:lnTo>
                                                                                                        <a:lnTo>
                                                                                                          <a:pt x="46" y="32"/>
                                                                                                        </a:lnTo>
                                                                                                        <a:lnTo>
                                                                                                          <a:pt x="46" y="32"/>
                                                                                                        </a:lnTo>
                                                                                                        <a:lnTo>
                                                                                                          <a:pt x="44" y="32"/>
                                                                                                        </a:lnTo>
                                                                                                        <a:lnTo>
                                                                                                          <a:pt x="44" y="30"/>
                                                                                                        </a:lnTo>
                                                                                                        <a:lnTo>
                                                                                                          <a:pt x="42" y="26"/>
                                                                                                        </a:lnTo>
                                                                                                        <a:lnTo>
                                                                                                          <a:pt x="42" y="20"/>
                                                                                                        </a:lnTo>
                                                                                                        <a:lnTo>
                                                                                                          <a:pt x="40" y="14"/>
                                                                                                        </a:lnTo>
                                                                                                        <a:lnTo>
                                                                                                          <a:pt x="40" y="14"/>
                                                                                                        </a:lnTo>
                                                                                                        <a:lnTo>
                                                                                                          <a:pt x="34" y="6"/>
                                                                                                        </a:lnTo>
                                                                                                        <a:lnTo>
                                                                                                          <a:pt x="32" y="2"/>
                                                                                                        </a:lnTo>
                                                                                                        <a:lnTo>
                                                                                                          <a:pt x="30" y="0"/>
                                                                                                        </a:lnTo>
                                                                                                        <a:lnTo>
                                                                                                          <a:pt x="30" y="0"/>
                                                                                                        </a:lnTo>
                                                                                                        <a:lnTo>
                                                                                                          <a:pt x="22" y="2"/>
                                                                                                        </a:lnTo>
                                                                                                        <a:lnTo>
                                                                                                          <a:pt x="16" y="4"/>
                                                                                                        </a:lnTo>
                                                                                                        <a:lnTo>
                                                                                                          <a:pt x="12" y="8"/>
                                                                                                        </a:lnTo>
                                                                                                        <a:lnTo>
                                                                                                          <a:pt x="4" y="8"/>
                                                                                                        </a:lnTo>
                                                                                                        <a:lnTo>
                                                                                                          <a:pt x="4" y="8"/>
                                                                                                        </a:lnTo>
                                                                                                        <a:lnTo>
                                                                                                          <a:pt x="2" y="18"/>
                                                                                                        </a:lnTo>
                                                                                                        <a:lnTo>
                                                                                                          <a:pt x="2" y="24"/>
                                                                                                        </a:lnTo>
                                                                                                        <a:lnTo>
                                                                                                          <a:pt x="2" y="28"/>
                                                                                                        </a:lnTo>
                                                                                                        <a:lnTo>
                                                                                                          <a:pt x="2" y="38"/>
                                                                                                        </a:lnTo>
                                                                                                        <a:lnTo>
                                                                                                          <a:pt x="2" y="38"/>
                                                                                                        </a:lnTo>
                                                                                                        <a:lnTo>
                                                                                                          <a:pt x="0" y="44"/>
                                                                                                        </a:lnTo>
                                                                                                        <a:lnTo>
                                                                                                          <a:pt x="0" y="50"/>
                                                                                                        </a:lnTo>
                                                                                                        <a:lnTo>
                                                                                                          <a:pt x="4" y="62"/>
                                                                                                        </a:lnTo>
                                                                                                        <a:lnTo>
                                                                                                          <a:pt x="6" y="70"/>
                                                                                                        </a:lnTo>
                                                                                                        <a:lnTo>
                                                                                                          <a:pt x="6" y="74"/>
                                                                                                        </a:lnTo>
                                                                                                        <a:lnTo>
                                                                                                          <a:pt x="6" y="78"/>
                                                                                                        </a:lnTo>
                                                                                                        <a:lnTo>
                                                                                                          <a:pt x="6" y="78"/>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baseline="-25000" dirty="0">
                                                                                                      <a:solidFill>
                                                                                                        <a:schemeClr val="tx1"/>
                                                                                                      </a:solidFill>
                                                                                                    </a:endParaRPr>
                                                                                                  </a:p>
                                                                                                </p:txBody>
                                                                                              </p:sp>
                                                                                              <p:sp>
                                                                                                <p:nvSpPr>
                                                                                                  <p:cNvPr id="553" name="Armenia"/>
                                                                                                  <p:cNvSpPr>
                                                                                                    <a:spLocks/>
                                                                                                  </p:cNvSpPr>
                                                                                                  <p:nvPr/>
                                                                                                </p:nvSpPr>
                                                                                                <p:spPr bwMode="auto">
                                                                                                  <a:xfrm>
                                                                                                    <a:off x="7057236" y="2148427"/>
                                                                                                    <a:ext cx="112393" cy="72836"/>
                                                                                                  </a:xfrm>
                                                                                                  <a:custGeom>
                                                                                                    <a:avLst/>
                                                                                                    <a:gdLst/>
                                                                                                    <a:ahLst/>
                                                                                                    <a:cxnLst>
                                                                                                      <a:cxn ang="0">
                                                                                                        <a:pos x="28" y="0"/>
                                                                                                      </a:cxn>
                                                                                                      <a:cxn ang="0">
                                                                                                        <a:pos x="28" y="0"/>
                                                                                                      </a:cxn>
                                                                                                      <a:cxn ang="0">
                                                                                                        <a:pos x="34" y="2"/>
                                                                                                      </a:cxn>
                                                                                                      <a:cxn ang="0">
                                                                                                        <a:pos x="40" y="6"/>
                                                                                                      </a:cxn>
                                                                                                      <a:cxn ang="0">
                                                                                                        <a:pos x="40" y="6"/>
                                                                                                      </a:cxn>
                                                                                                      <a:cxn ang="0">
                                                                                                        <a:pos x="44" y="8"/>
                                                                                                      </a:cxn>
                                                                                                      <a:cxn ang="0">
                                                                                                        <a:pos x="44" y="12"/>
                                                                                                      </a:cxn>
                                                                                                      <a:cxn ang="0">
                                                                                                        <a:pos x="44" y="12"/>
                                                                                                      </a:cxn>
                                                                                                      <a:cxn ang="0">
                                                                                                        <a:pos x="46" y="18"/>
                                                                                                      </a:cxn>
                                                                                                      <a:cxn ang="0">
                                                                                                        <a:pos x="48" y="18"/>
                                                                                                      </a:cxn>
                                                                                                      <a:cxn ang="0">
                                                                                                        <a:pos x="50" y="20"/>
                                                                                                      </a:cxn>
                                                                                                      <a:cxn ang="0">
                                                                                                        <a:pos x="52" y="24"/>
                                                                                                      </a:cxn>
                                                                                                      <a:cxn ang="0">
                                                                                                        <a:pos x="52" y="24"/>
                                                                                                      </a:cxn>
                                                                                                      <a:cxn ang="0">
                                                                                                        <a:pos x="52" y="30"/>
                                                                                                      </a:cxn>
                                                                                                      <a:cxn ang="0">
                                                                                                        <a:pos x="56" y="32"/>
                                                                                                      </a:cxn>
                                                                                                      <a:cxn ang="0">
                                                                                                        <a:pos x="62" y="36"/>
                                                                                                      </a:cxn>
                                                                                                      <a:cxn ang="0">
                                                                                                        <a:pos x="70" y="38"/>
                                                                                                      </a:cxn>
                                                                                                      <a:cxn ang="0">
                                                                                                        <a:pos x="72" y="40"/>
                                                                                                      </a:cxn>
                                                                                                      <a:cxn ang="0">
                                                                                                        <a:pos x="74" y="42"/>
                                                                                                      </a:cxn>
                                                                                                      <a:cxn ang="0">
                                                                                                        <a:pos x="74" y="42"/>
                                                                                                      </a:cxn>
                                                                                                      <a:cxn ang="0">
                                                                                                        <a:pos x="64" y="48"/>
                                                                                                      </a:cxn>
                                                                                                      <a:cxn ang="0">
                                                                                                        <a:pos x="64" y="48"/>
                                                                                                      </a:cxn>
                                                                                                      <a:cxn ang="0">
                                                                                                        <a:pos x="58" y="42"/>
                                                                                                      </a:cxn>
                                                                                                      <a:cxn ang="0">
                                                                                                        <a:pos x="52" y="40"/>
                                                                                                      </a:cxn>
                                                                                                      <a:cxn ang="0">
                                                                                                        <a:pos x="46" y="38"/>
                                                                                                      </a:cxn>
                                                                                                      <a:cxn ang="0">
                                                                                                        <a:pos x="40" y="38"/>
                                                                                                      </a:cxn>
                                                                                                      <a:cxn ang="0">
                                                                                                        <a:pos x="40" y="38"/>
                                                                                                      </a:cxn>
                                                                                                      <a:cxn ang="0">
                                                                                                        <a:pos x="38" y="36"/>
                                                                                                      </a:cxn>
                                                                                                      <a:cxn ang="0">
                                                                                                        <a:pos x="34" y="34"/>
                                                                                                      </a:cxn>
                                                                                                      <a:cxn ang="0">
                                                                                                        <a:pos x="28" y="30"/>
                                                                                                      </a:cxn>
                                                                                                      <a:cxn ang="0">
                                                                                                        <a:pos x="28" y="30"/>
                                                                                                      </a:cxn>
                                                                                                      <a:cxn ang="0">
                                                                                                        <a:pos x="24" y="26"/>
                                                                                                      </a:cxn>
                                                                                                      <a:cxn ang="0">
                                                                                                        <a:pos x="22" y="24"/>
                                                                                                      </a:cxn>
                                                                                                      <a:cxn ang="0">
                                                                                                        <a:pos x="20" y="22"/>
                                                                                                      </a:cxn>
                                                                                                      <a:cxn ang="0">
                                                                                                        <a:pos x="12" y="20"/>
                                                                                                      </a:cxn>
                                                                                                      <a:cxn ang="0">
                                                                                                        <a:pos x="12" y="20"/>
                                                                                                      </a:cxn>
                                                                                                      <a:cxn ang="0">
                                                                                                        <a:pos x="6" y="18"/>
                                                                                                      </a:cxn>
                                                                                                      <a:cxn ang="0">
                                                                                                        <a:pos x="4" y="18"/>
                                                                                                      </a:cxn>
                                                                                                      <a:cxn ang="0">
                                                                                                        <a:pos x="4" y="16"/>
                                                                                                      </a:cxn>
                                                                                                      <a:cxn ang="0">
                                                                                                        <a:pos x="4" y="12"/>
                                                                                                      </a:cxn>
                                                                                                      <a:cxn ang="0">
                                                                                                        <a:pos x="4" y="8"/>
                                                                                                      </a:cxn>
                                                                                                      <a:cxn ang="0">
                                                                                                        <a:pos x="4" y="6"/>
                                                                                                      </a:cxn>
                                                                                                      <a:cxn ang="0">
                                                                                                        <a:pos x="0" y="2"/>
                                                                                                      </a:cxn>
                                                                                                      <a:cxn ang="0">
                                                                                                        <a:pos x="0" y="2"/>
                                                                                                      </a:cxn>
                                                                                                      <a:cxn ang="0">
                                                                                                        <a:pos x="18" y="2"/>
                                                                                                      </a:cxn>
                                                                                                      <a:cxn ang="0">
                                                                                                        <a:pos x="28" y="0"/>
                                                                                                      </a:cxn>
                                                                                                      <a:cxn ang="0">
                                                                                                        <a:pos x="28" y="0"/>
                                                                                                      </a:cxn>
                                                                                                    </a:cxnLst>
                                                                                                    <a:rect l="0" t="0" r="r" b="b"/>
                                                                                                    <a:pathLst>
                                                                                                      <a:path w="74" h="48">
                                                                                                        <a:moveTo>
                                                                                                          <a:pt x="28" y="0"/>
                                                                                                        </a:moveTo>
                                                                                                        <a:lnTo>
                                                                                                          <a:pt x="28" y="0"/>
                                                                                                        </a:lnTo>
                                                                                                        <a:lnTo>
                                                                                                          <a:pt x="34" y="2"/>
                                                                                                        </a:lnTo>
                                                                                                        <a:lnTo>
                                                                                                          <a:pt x="40" y="6"/>
                                                                                                        </a:lnTo>
                                                                                                        <a:lnTo>
                                                                                                          <a:pt x="40" y="6"/>
                                                                                                        </a:lnTo>
                                                                                                        <a:lnTo>
                                                                                                          <a:pt x="44" y="8"/>
                                                                                                        </a:lnTo>
                                                                                                        <a:lnTo>
                                                                                                          <a:pt x="44" y="12"/>
                                                                                                        </a:lnTo>
                                                                                                        <a:lnTo>
                                                                                                          <a:pt x="44" y="12"/>
                                                                                                        </a:lnTo>
                                                                                                        <a:lnTo>
                                                                                                          <a:pt x="46" y="18"/>
                                                                                                        </a:lnTo>
                                                                                                        <a:lnTo>
                                                                                                          <a:pt x="48" y="18"/>
                                                                                                        </a:lnTo>
                                                                                                        <a:lnTo>
                                                                                                          <a:pt x="50" y="20"/>
                                                                                                        </a:lnTo>
                                                                                                        <a:lnTo>
                                                                                                          <a:pt x="52" y="24"/>
                                                                                                        </a:lnTo>
                                                                                                        <a:lnTo>
                                                                                                          <a:pt x="52" y="24"/>
                                                                                                        </a:lnTo>
                                                                                                        <a:lnTo>
                                                                                                          <a:pt x="52" y="30"/>
                                                                                                        </a:lnTo>
                                                                                                        <a:lnTo>
                                                                                                          <a:pt x="56" y="32"/>
                                                                                                        </a:lnTo>
                                                                                                        <a:lnTo>
                                                                                                          <a:pt x="62" y="36"/>
                                                                                                        </a:lnTo>
                                                                                                        <a:lnTo>
                                                                                                          <a:pt x="70" y="38"/>
                                                                                                        </a:lnTo>
                                                                                                        <a:lnTo>
                                                                                                          <a:pt x="72" y="40"/>
                                                                                                        </a:lnTo>
                                                                                                        <a:lnTo>
                                                                                                          <a:pt x="74" y="42"/>
                                                                                                        </a:lnTo>
                                                                                                        <a:lnTo>
                                                                                                          <a:pt x="74" y="42"/>
                                                                                                        </a:lnTo>
                                                                                                        <a:lnTo>
                                                                                                          <a:pt x="64" y="48"/>
                                                                                                        </a:lnTo>
                                                                                                        <a:lnTo>
                                                                                                          <a:pt x="64" y="48"/>
                                                                                                        </a:lnTo>
                                                                                                        <a:lnTo>
                                                                                                          <a:pt x="58" y="42"/>
                                                                                                        </a:lnTo>
                                                                                                        <a:lnTo>
                                                                                                          <a:pt x="52" y="40"/>
                                                                                                        </a:lnTo>
                                                                                                        <a:lnTo>
                                                                                                          <a:pt x="46" y="38"/>
                                                                                                        </a:lnTo>
                                                                                                        <a:lnTo>
                                                                                                          <a:pt x="40" y="38"/>
                                                                                                        </a:lnTo>
                                                                                                        <a:lnTo>
                                                                                                          <a:pt x="40" y="38"/>
                                                                                                        </a:lnTo>
                                                                                                        <a:lnTo>
                                                                                                          <a:pt x="38" y="36"/>
                                                                                                        </a:lnTo>
                                                                                                        <a:lnTo>
                                                                                                          <a:pt x="34" y="34"/>
                                                                                                        </a:lnTo>
                                                                                                        <a:lnTo>
                                                                                                          <a:pt x="28" y="30"/>
                                                                                                        </a:lnTo>
                                                                                                        <a:lnTo>
                                                                                                          <a:pt x="28" y="30"/>
                                                                                                        </a:lnTo>
                                                                                                        <a:lnTo>
                                                                                                          <a:pt x="24" y="26"/>
                                                                                                        </a:lnTo>
                                                                                                        <a:lnTo>
                                                                                                          <a:pt x="22" y="24"/>
                                                                                                        </a:lnTo>
                                                                                                        <a:lnTo>
                                                                                                          <a:pt x="20" y="22"/>
                                                                                                        </a:lnTo>
                                                                                                        <a:lnTo>
                                                                                                          <a:pt x="12" y="20"/>
                                                                                                        </a:lnTo>
                                                                                                        <a:lnTo>
                                                                                                          <a:pt x="12" y="20"/>
                                                                                                        </a:lnTo>
                                                                                                        <a:lnTo>
                                                                                                          <a:pt x="6" y="18"/>
                                                                                                        </a:lnTo>
                                                                                                        <a:lnTo>
                                                                                                          <a:pt x="4" y="18"/>
                                                                                                        </a:lnTo>
                                                                                                        <a:lnTo>
                                                                                                          <a:pt x="4" y="16"/>
                                                                                                        </a:lnTo>
                                                                                                        <a:lnTo>
                                                                                                          <a:pt x="4" y="12"/>
                                                                                                        </a:lnTo>
                                                                                                        <a:lnTo>
                                                                                                          <a:pt x="4" y="8"/>
                                                                                                        </a:lnTo>
                                                                                                        <a:lnTo>
                                                                                                          <a:pt x="4" y="6"/>
                                                                                                        </a:lnTo>
                                                                                                        <a:lnTo>
                                                                                                          <a:pt x="0" y="2"/>
                                                                                                        </a:lnTo>
                                                                                                        <a:lnTo>
                                                                                                          <a:pt x="0" y="2"/>
                                                                                                        </a:lnTo>
                                                                                                        <a:lnTo>
                                                                                                          <a:pt x="18" y="2"/>
                                                                                                        </a:lnTo>
                                                                                                        <a:lnTo>
                                                                                                          <a:pt x="28" y="0"/>
                                                                                                        </a:lnTo>
                                                                                                        <a:lnTo>
                                                                                                          <a:pt x="28" y="0"/>
                                                                                                        </a:lnTo>
                                                                                                        <a:close/>
                                                                                                      </a:path>
                                                                                                    </a:pathLst>
                                                                                                  </a:custGeom>
                                                                                                  <a:grpFill/>
                                                                                                  <a:ln w="63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aseline="-25000" dirty="0">
                                                                                                      <a:solidFill>
                                                                                                        <a:schemeClr val="bg1">
                                                                                                          <a:alpha val="99000"/>
                                                                                                        </a:schemeClr>
                                                                                                      </a:solidFill>
                                                                                                    </a:endParaRPr>
                                                                                                  </a:p>
                                                                                                </p:txBody>
                                                                                              </p:sp>
                                                                                              <p:sp>
                                                                                                <p:nvSpPr>
                                                                                                  <p:cNvPr id="555" name="Belarus"/>
                                                                                                  <p:cNvSpPr>
                                                                                                    <a:spLocks/>
                                                                                                  </p:cNvSpPr>
                                                                                                  <p:nvPr/>
                                                                                                </p:nvSpPr>
                                                                                                <p:spPr bwMode="auto">
                                                                                                  <a:xfrm>
                                                                                                    <a:off x="6403486" y="1682302"/>
                                                                                                    <a:ext cx="267312" cy="148707"/>
                                                                                                  </a:xfrm>
                                                                                                  <a:custGeom>
                                                                                                    <a:avLst/>
                                                                                                    <a:gdLst/>
                                                                                                    <a:ahLst/>
                                                                                                    <a:cxnLst>
                                                                                                      <a:cxn ang="0">
                                                                                                        <a:pos x="144" y="58"/>
                                                                                                      </a:cxn>
                                                                                                      <a:cxn ang="0">
                                                                                                        <a:pos x="146" y="50"/>
                                                                                                      </a:cxn>
                                                                                                      <a:cxn ang="0">
                                                                                                        <a:pos x="152" y="52"/>
                                                                                                      </a:cxn>
                                                                                                      <a:cxn ang="0">
                                                                                                        <a:pos x="168" y="52"/>
                                                                                                      </a:cxn>
                                                                                                      <a:cxn ang="0">
                                                                                                        <a:pos x="176" y="46"/>
                                                                                                      </a:cxn>
                                                                                                      <a:cxn ang="0">
                                                                                                        <a:pos x="172" y="42"/>
                                                                                                      </a:cxn>
                                                                                                      <a:cxn ang="0">
                                                                                                        <a:pos x="162" y="36"/>
                                                                                                      </a:cxn>
                                                                                                      <a:cxn ang="0">
                                                                                                        <a:pos x="154" y="36"/>
                                                                                                      </a:cxn>
                                                                                                      <a:cxn ang="0">
                                                                                                        <a:pos x="152" y="34"/>
                                                                                                      </a:cxn>
                                                                                                      <a:cxn ang="0">
                                                                                                        <a:pos x="148" y="30"/>
                                                                                                      </a:cxn>
                                                                                                      <a:cxn ang="0">
                                                                                                        <a:pos x="140" y="30"/>
                                                                                                      </a:cxn>
                                                                                                      <a:cxn ang="0">
                                                                                                        <a:pos x="124" y="22"/>
                                                                                                      </a:cxn>
                                                                                                      <a:cxn ang="0">
                                                                                                        <a:pos x="120" y="16"/>
                                                                                                      </a:cxn>
                                                                                                      <a:cxn ang="0">
                                                                                                        <a:pos x="116" y="10"/>
                                                                                                      </a:cxn>
                                                                                                      <a:cxn ang="0">
                                                                                                        <a:pos x="114" y="4"/>
                                                                                                      </a:cxn>
                                                                                                      <a:cxn ang="0">
                                                                                                        <a:pos x="106" y="0"/>
                                                                                                      </a:cxn>
                                                                                                      <a:cxn ang="0">
                                                                                                        <a:pos x="96" y="6"/>
                                                                                                      </a:cxn>
                                                                                                      <a:cxn ang="0">
                                                                                                        <a:pos x="90" y="6"/>
                                                                                                      </a:cxn>
                                                                                                      <a:cxn ang="0">
                                                                                                        <a:pos x="88" y="4"/>
                                                                                                      </a:cxn>
                                                                                                      <a:cxn ang="0">
                                                                                                        <a:pos x="68" y="2"/>
                                                                                                      </a:cxn>
                                                                                                      <a:cxn ang="0">
                                                                                                        <a:pos x="66" y="6"/>
                                                                                                      </a:cxn>
                                                                                                      <a:cxn ang="0">
                                                                                                        <a:pos x="68" y="14"/>
                                                                                                      </a:cxn>
                                                                                                      <a:cxn ang="0">
                                                                                                        <a:pos x="58" y="16"/>
                                                                                                      </a:cxn>
                                                                                                      <a:cxn ang="0">
                                                                                                        <a:pos x="52" y="22"/>
                                                                                                      </a:cxn>
                                                                                                      <a:cxn ang="0">
                                                                                                        <a:pos x="50" y="28"/>
                                                                                                      </a:cxn>
                                                                                                      <a:cxn ang="0">
                                                                                                        <a:pos x="52" y="32"/>
                                                                                                      </a:cxn>
                                                                                                      <a:cxn ang="0">
                                                                                                        <a:pos x="42" y="34"/>
                                                                                                      </a:cxn>
                                                                                                      <a:cxn ang="0">
                                                                                                        <a:pos x="36" y="38"/>
                                                                                                      </a:cxn>
                                                                                                      <a:cxn ang="0">
                                                                                                        <a:pos x="30" y="44"/>
                                                                                                      </a:cxn>
                                                                                                      <a:cxn ang="0">
                                                                                                        <a:pos x="30" y="50"/>
                                                                                                      </a:cxn>
                                                                                                      <a:cxn ang="0">
                                                                                                        <a:pos x="32" y="54"/>
                                                                                                      </a:cxn>
                                                                                                      <a:cxn ang="0">
                                                                                                        <a:pos x="26" y="54"/>
                                                                                                      </a:cxn>
                                                                                                      <a:cxn ang="0">
                                                                                                        <a:pos x="16" y="56"/>
                                                                                                      </a:cxn>
                                                                                                      <a:cxn ang="0">
                                                                                                        <a:pos x="0" y="52"/>
                                                                                                      </a:cxn>
                                                                                                      <a:cxn ang="0">
                                                                                                        <a:pos x="4" y="62"/>
                                                                                                      </a:cxn>
                                                                                                      <a:cxn ang="0">
                                                                                                        <a:pos x="10" y="68"/>
                                                                                                      </a:cxn>
                                                                                                      <a:cxn ang="0">
                                                                                                        <a:pos x="4" y="76"/>
                                                                                                      </a:cxn>
                                                                                                      <a:cxn ang="0">
                                                                                                        <a:pos x="4" y="86"/>
                                                                                                      </a:cxn>
                                                                                                      <a:cxn ang="0">
                                                                                                        <a:pos x="12" y="92"/>
                                                                                                      </a:cxn>
                                                                                                      <a:cxn ang="0">
                                                                                                        <a:pos x="26" y="90"/>
                                                                                                      </a:cxn>
                                                                                                      <a:cxn ang="0">
                                                                                                        <a:pos x="44" y="88"/>
                                                                                                      </a:cxn>
                                                                                                      <a:cxn ang="0">
                                                                                                        <a:pos x="76" y="98"/>
                                                                                                      </a:cxn>
                                                                                                      <a:cxn ang="0">
                                                                                                        <a:pos x="92" y="92"/>
                                                                                                      </a:cxn>
                                                                                                      <a:cxn ang="0">
                                                                                                        <a:pos x="96" y="96"/>
                                                                                                      </a:cxn>
                                                                                                      <a:cxn ang="0">
                                                                                                        <a:pos x="106" y="94"/>
                                                                                                      </a:cxn>
                                                                                                      <a:cxn ang="0">
                                                                                                        <a:pos x="112" y="92"/>
                                                                                                      </a:cxn>
                                                                                                      <a:cxn ang="0">
                                                                                                        <a:pos x="118" y="88"/>
                                                                                                      </a:cxn>
                                                                                                      <a:cxn ang="0">
                                                                                                        <a:pos x="126" y="90"/>
                                                                                                      </a:cxn>
                                                                                                      <a:cxn ang="0">
                                                                                                        <a:pos x="142" y="92"/>
                                                                                                      </a:cxn>
                                                                                                      <a:cxn ang="0">
                                                                                                        <a:pos x="144" y="88"/>
                                                                                                      </a:cxn>
                                                                                                      <a:cxn ang="0">
                                                                                                        <a:pos x="140" y="72"/>
                                                                                                      </a:cxn>
                                                                                                      <a:cxn ang="0">
                                                                                                        <a:pos x="154" y="70"/>
                                                                                                      </a:cxn>
                                                                                                    </a:cxnLst>
                                                                                                    <a:rect l="0" t="0" r="r" b="b"/>
                                                                                                    <a:pathLst>
                                                                                                      <a:path w="176" h="98">
                                                                                                        <a:moveTo>
                                                                                                          <a:pt x="154" y="70"/>
                                                                                                        </a:moveTo>
                                                                                                        <a:lnTo>
                                                                                                          <a:pt x="154" y="70"/>
                                                                                                        </a:lnTo>
                                                                                                        <a:lnTo>
                                                                                                          <a:pt x="144" y="58"/>
                                                                                                        </a:lnTo>
                                                                                                        <a:lnTo>
                                                                                                          <a:pt x="144" y="54"/>
                                                                                                        </a:lnTo>
                                                                                                        <a:lnTo>
                                                                                                          <a:pt x="144" y="52"/>
                                                                                                        </a:lnTo>
                                                                                                        <a:lnTo>
                                                                                                          <a:pt x="146" y="50"/>
                                                                                                        </a:lnTo>
                                                                                                        <a:lnTo>
                                                                                                          <a:pt x="148" y="50"/>
                                                                                                        </a:lnTo>
                                                                                                        <a:lnTo>
                                                                                                          <a:pt x="152" y="52"/>
                                                                                                        </a:lnTo>
                                                                                                        <a:lnTo>
                                                                                                          <a:pt x="152" y="52"/>
                                                                                                        </a:lnTo>
                                                                                                        <a:lnTo>
                                                                                                          <a:pt x="156" y="54"/>
                                                                                                        </a:lnTo>
                                                                                                        <a:lnTo>
                                                                                                          <a:pt x="160" y="54"/>
                                                                                                        </a:lnTo>
                                                                                                        <a:lnTo>
                                                                                                          <a:pt x="168" y="52"/>
                                                                                                        </a:lnTo>
                                                                                                        <a:lnTo>
                                                                                                          <a:pt x="168" y="52"/>
                                                                                                        </a:lnTo>
                                                                                                        <a:lnTo>
                                                                                                          <a:pt x="174" y="50"/>
                                                                                                        </a:lnTo>
                                                                                                        <a:lnTo>
                                                                                                          <a:pt x="176" y="46"/>
                                                                                                        </a:lnTo>
                                                                                                        <a:lnTo>
                                                                                                          <a:pt x="174" y="44"/>
                                                                                                        </a:lnTo>
                                                                                                        <a:lnTo>
                                                                                                          <a:pt x="172" y="42"/>
                                                                                                        </a:lnTo>
                                                                                                        <a:lnTo>
                                                                                                          <a:pt x="172" y="42"/>
                                                                                                        </a:lnTo>
                                                                                                        <a:lnTo>
                                                                                                          <a:pt x="168" y="40"/>
                                                                                                        </a:lnTo>
                                                                                                        <a:lnTo>
                                                                                                          <a:pt x="166" y="40"/>
                                                                                                        </a:lnTo>
                                                                                                        <a:lnTo>
                                                                                                          <a:pt x="162" y="36"/>
                                                                                                        </a:lnTo>
                                                                                                        <a:lnTo>
                                                                                                          <a:pt x="162" y="36"/>
                                                                                                        </a:lnTo>
                                                                                                        <a:lnTo>
                                                                                                          <a:pt x="158" y="36"/>
                                                                                                        </a:lnTo>
                                                                                                        <a:lnTo>
                                                                                                          <a:pt x="154" y="36"/>
                                                                                                        </a:lnTo>
                                                                                                        <a:lnTo>
                                                                                                          <a:pt x="154" y="36"/>
                                                                                                        </a:lnTo>
                                                                                                        <a:lnTo>
                                                                                                          <a:pt x="150" y="34"/>
                                                                                                        </a:lnTo>
                                                                                                        <a:lnTo>
                                                                                                          <a:pt x="152" y="34"/>
                                                                                                        </a:lnTo>
                                                                                                        <a:lnTo>
                                                                                                          <a:pt x="152" y="32"/>
                                                                                                        </a:lnTo>
                                                                                                        <a:lnTo>
                                                                                                          <a:pt x="148" y="30"/>
                                                                                                        </a:lnTo>
                                                                                                        <a:lnTo>
                                                                                                          <a:pt x="148" y="30"/>
                                                                                                        </a:lnTo>
                                                                                                        <a:lnTo>
                                                                                                          <a:pt x="144" y="30"/>
                                                                                                        </a:lnTo>
                                                                                                        <a:lnTo>
                                                                                                          <a:pt x="140" y="30"/>
                                                                                                        </a:lnTo>
                                                                                                        <a:lnTo>
                                                                                                          <a:pt x="140" y="30"/>
                                                                                                        </a:lnTo>
                                                                                                        <a:lnTo>
                                                                                                          <a:pt x="126" y="24"/>
                                                                                                        </a:lnTo>
                                                                                                        <a:lnTo>
                                                                                                          <a:pt x="124" y="22"/>
                                                                                                        </a:lnTo>
                                                                                                        <a:lnTo>
                                                                                                          <a:pt x="124" y="22"/>
                                                                                                        </a:lnTo>
                                                                                                        <a:lnTo>
                                                                                                          <a:pt x="124" y="22"/>
                                                                                                        </a:lnTo>
                                                                                                        <a:lnTo>
                                                                                                          <a:pt x="124" y="18"/>
                                                                                                        </a:lnTo>
                                                                                                        <a:lnTo>
                                                                                                          <a:pt x="120" y="16"/>
                                                                                                        </a:lnTo>
                                                                                                        <a:lnTo>
                                                                                                          <a:pt x="120" y="16"/>
                                                                                                        </a:lnTo>
                                                                                                        <a:lnTo>
                                                                                                          <a:pt x="116" y="12"/>
                                                                                                        </a:lnTo>
                                                                                                        <a:lnTo>
                                                                                                          <a:pt x="116" y="10"/>
                                                                                                        </a:lnTo>
                                                                                                        <a:lnTo>
                                                                                                          <a:pt x="118" y="8"/>
                                                                                                        </a:lnTo>
                                                                                                        <a:lnTo>
                                                                                                          <a:pt x="118" y="6"/>
                                                                                                        </a:lnTo>
                                                                                                        <a:lnTo>
                                                                                                          <a:pt x="114" y="4"/>
                                                                                                        </a:lnTo>
                                                                                                        <a:lnTo>
                                                                                                          <a:pt x="114" y="4"/>
                                                                                                        </a:lnTo>
                                                                                                        <a:lnTo>
                                                                                                          <a:pt x="110" y="2"/>
                                                                                                        </a:lnTo>
                                                                                                        <a:lnTo>
                                                                                                          <a:pt x="106" y="0"/>
                                                                                                        </a:lnTo>
                                                                                                        <a:lnTo>
                                                                                                          <a:pt x="104" y="0"/>
                                                                                                        </a:lnTo>
                                                                                                        <a:lnTo>
                                                                                                          <a:pt x="104" y="0"/>
                                                                                                        </a:lnTo>
                                                                                                        <a:lnTo>
                                                                                                          <a:pt x="96" y="6"/>
                                                                                                        </a:lnTo>
                                                                                                        <a:lnTo>
                                                                                                          <a:pt x="92" y="8"/>
                                                                                                        </a:lnTo>
                                                                                                        <a:lnTo>
                                                                                                          <a:pt x="92" y="8"/>
                                                                                                        </a:lnTo>
                                                                                                        <a:lnTo>
                                                                                                          <a:pt x="90" y="6"/>
                                                                                                        </a:lnTo>
                                                                                                        <a:lnTo>
                                                                                                          <a:pt x="90" y="6"/>
                                                                                                        </a:lnTo>
                                                                                                        <a:lnTo>
                                                                                                          <a:pt x="90" y="6"/>
                                                                                                        </a:lnTo>
                                                                                                        <a:lnTo>
                                                                                                          <a:pt x="88" y="4"/>
                                                                                                        </a:lnTo>
                                                                                                        <a:lnTo>
                                                                                                          <a:pt x="80" y="4"/>
                                                                                                        </a:lnTo>
                                                                                                        <a:lnTo>
                                                                                                          <a:pt x="72" y="4"/>
                                                                                                        </a:lnTo>
                                                                                                        <a:lnTo>
                                                                                                          <a:pt x="68" y="2"/>
                                                                                                        </a:lnTo>
                                                                                                        <a:lnTo>
                                                                                                          <a:pt x="68" y="2"/>
                                                                                                        </a:lnTo>
                                                                                                        <a:lnTo>
                                                                                                          <a:pt x="66" y="4"/>
                                                                                                        </a:lnTo>
                                                                                                        <a:lnTo>
                                                                                                          <a:pt x="66" y="6"/>
                                                                                                        </a:lnTo>
                                                                                                        <a:lnTo>
                                                                                                          <a:pt x="68" y="10"/>
                                                                                                        </a:lnTo>
                                                                                                        <a:lnTo>
                                                                                                          <a:pt x="70" y="14"/>
                                                                                                        </a:lnTo>
                                                                                                        <a:lnTo>
                                                                                                          <a:pt x="68" y="14"/>
                                                                                                        </a:lnTo>
                                                                                                        <a:lnTo>
                                                                                                          <a:pt x="64" y="14"/>
                                                                                                        </a:lnTo>
                                                                                                        <a:lnTo>
                                                                                                          <a:pt x="64" y="14"/>
                                                                                                        </a:lnTo>
                                                                                                        <a:lnTo>
                                                                                                          <a:pt x="58" y="16"/>
                                                                                                        </a:lnTo>
                                                                                                        <a:lnTo>
                                                                                                          <a:pt x="56" y="18"/>
                                                                                                        </a:lnTo>
                                                                                                        <a:lnTo>
                                                                                                          <a:pt x="56" y="20"/>
                                                                                                        </a:lnTo>
                                                                                                        <a:lnTo>
                                                                                                          <a:pt x="52" y="22"/>
                                                                                                        </a:lnTo>
                                                                                                        <a:lnTo>
                                                                                                          <a:pt x="52" y="22"/>
                                                                                                        </a:lnTo>
                                                                                                        <a:lnTo>
                                                                                                          <a:pt x="50" y="26"/>
                                                                                                        </a:lnTo>
                                                                                                        <a:lnTo>
                                                                                                          <a:pt x="50" y="28"/>
                                                                                                        </a:lnTo>
                                                                                                        <a:lnTo>
                                                                                                          <a:pt x="52" y="28"/>
                                                                                                        </a:lnTo>
                                                                                                        <a:lnTo>
                                                                                                          <a:pt x="52" y="32"/>
                                                                                                        </a:lnTo>
                                                                                                        <a:lnTo>
                                                                                                          <a:pt x="52" y="32"/>
                                                                                                        </a:lnTo>
                                                                                                        <a:lnTo>
                                                                                                          <a:pt x="50" y="34"/>
                                                                                                        </a:lnTo>
                                                                                                        <a:lnTo>
                                                                                                          <a:pt x="46" y="34"/>
                                                                                                        </a:lnTo>
                                                                                                        <a:lnTo>
                                                                                                          <a:pt x="42" y="34"/>
                                                                                                        </a:lnTo>
                                                                                                        <a:lnTo>
                                                                                                          <a:pt x="40" y="36"/>
                                                                                                        </a:lnTo>
                                                                                                        <a:lnTo>
                                                                                                          <a:pt x="40" y="36"/>
                                                                                                        </a:lnTo>
                                                                                                        <a:lnTo>
                                                                                                          <a:pt x="36" y="38"/>
                                                                                                        </a:lnTo>
                                                                                                        <a:lnTo>
                                                                                                          <a:pt x="34" y="38"/>
                                                                                                        </a:lnTo>
                                                                                                        <a:lnTo>
                                                                                                          <a:pt x="32" y="40"/>
                                                                                                        </a:lnTo>
                                                                                                        <a:lnTo>
                                                                                                          <a:pt x="30" y="44"/>
                                                                                                        </a:lnTo>
                                                                                                        <a:lnTo>
                                                                                                          <a:pt x="30" y="44"/>
                                                                                                        </a:lnTo>
                                                                                                        <a:lnTo>
                                                                                                          <a:pt x="30" y="48"/>
                                                                                                        </a:lnTo>
                                                                                                        <a:lnTo>
                                                                                                          <a:pt x="30" y="50"/>
                                                                                                        </a:lnTo>
                                                                                                        <a:lnTo>
                                                                                                          <a:pt x="32" y="52"/>
                                                                                                        </a:lnTo>
                                                                                                        <a:lnTo>
                                                                                                          <a:pt x="32" y="54"/>
                                                                                                        </a:lnTo>
                                                                                                        <a:lnTo>
                                                                                                          <a:pt x="32" y="54"/>
                                                                                                        </a:lnTo>
                                                                                                        <a:lnTo>
                                                                                                          <a:pt x="30" y="54"/>
                                                                                                        </a:lnTo>
                                                                                                        <a:lnTo>
                                                                                                          <a:pt x="28" y="54"/>
                                                                                                        </a:lnTo>
                                                                                                        <a:lnTo>
                                                                                                          <a:pt x="26" y="54"/>
                                                                                                        </a:lnTo>
                                                                                                        <a:lnTo>
                                                                                                          <a:pt x="22" y="54"/>
                                                                                                        </a:lnTo>
                                                                                                        <a:lnTo>
                                                                                                          <a:pt x="22" y="54"/>
                                                                                                        </a:lnTo>
                                                                                                        <a:lnTo>
                                                                                                          <a:pt x="16" y="56"/>
                                                                                                        </a:lnTo>
                                                                                                        <a:lnTo>
                                                                                                          <a:pt x="12" y="56"/>
                                                                                                        </a:lnTo>
                                                                                                        <a:lnTo>
                                                                                                          <a:pt x="8" y="54"/>
                                                                                                        </a:lnTo>
                                                                                                        <a:lnTo>
                                                                                                          <a:pt x="0" y="52"/>
                                                                                                        </a:lnTo>
                                                                                                        <a:lnTo>
                                                                                                          <a:pt x="0" y="52"/>
                                                                                                        </a:lnTo>
                                                                                                        <a:lnTo>
                                                                                                          <a:pt x="2" y="56"/>
                                                                                                        </a:lnTo>
                                                                                                        <a:lnTo>
                                                                                                          <a:pt x="4" y="62"/>
                                                                                                        </a:lnTo>
                                                                                                        <a:lnTo>
                                                                                                          <a:pt x="4" y="62"/>
                                                                                                        </a:lnTo>
                                                                                                        <a:lnTo>
                                                                                                          <a:pt x="8" y="64"/>
                                                                                                        </a:lnTo>
                                                                                                        <a:lnTo>
                                                                                                          <a:pt x="10" y="68"/>
                                                                                                        </a:lnTo>
                                                                                                        <a:lnTo>
                                                                                                          <a:pt x="10" y="72"/>
                                                                                                        </a:lnTo>
                                                                                                        <a:lnTo>
                                                                                                          <a:pt x="4" y="76"/>
                                                                                                        </a:lnTo>
                                                                                                        <a:lnTo>
                                                                                                          <a:pt x="4" y="76"/>
                                                                                                        </a:lnTo>
                                                                                                        <a:lnTo>
                                                                                                          <a:pt x="0" y="78"/>
                                                                                                        </a:lnTo>
                                                                                                        <a:lnTo>
                                                                                                          <a:pt x="0" y="82"/>
                                                                                                        </a:lnTo>
                                                                                                        <a:lnTo>
                                                                                                          <a:pt x="4" y="86"/>
                                                                                                        </a:lnTo>
                                                                                                        <a:lnTo>
                                                                                                          <a:pt x="6" y="96"/>
                                                                                                        </a:lnTo>
                                                                                                        <a:lnTo>
                                                                                                          <a:pt x="6" y="96"/>
                                                                                                        </a:lnTo>
                                                                                                        <a:lnTo>
                                                                                                          <a:pt x="12" y="92"/>
                                                                                                        </a:lnTo>
                                                                                                        <a:lnTo>
                                                                                                          <a:pt x="14" y="92"/>
                                                                                                        </a:lnTo>
                                                                                                        <a:lnTo>
                                                                                                          <a:pt x="16" y="94"/>
                                                                                                        </a:lnTo>
                                                                                                        <a:lnTo>
                                                                                                          <a:pt x="26" y="90"/>
                                                                                                        </a:lnTo>
                                                                                                        <a:lnTo>
                                                                                                          <a:pt x="26" y="90"/>
                                                                                                        </a:lnTo>
                                                                                                        <a:lnTo>
                                                                                                          <a:pt x="36" y="88"/>
                                                                                                        </a:lnTo>
                                                                                                        <a:lnTo>
                                                                                                          <a:pt x="44" y="88"/>
                                                                                                        </a:lnTo>
                                                                                                        <a:lnTo>
                                                                                                          <a:pt x="58" y="92"/>
                                                                                                        </a:lnTo>
                                                                                                        <a:lnTo>
                                                                                                          <a:pt x="70" y="96"/>
                                                                                                        </a:lnTo>
                                                                                                        <a:lnTo>
                                                                                                          <a:pt x="76" y="98"/>
                                                                                                        </a:lnTo>
                                                                                                        <a:lnTo>
                                                                                                          <a:pt x="84" y="96"/>
                                                                                                        </a:lnTo>
                                                                                                        <a:lnTo>
                                                                                                          <a:pt x="84" y="96"/>
                                                                                                        </a:lnTo>
                                                                                                        <a:lnTo>
                                                                                                          <a:pt x="92" y="92"/>
                                                                                                        </a:lnTo>
                                                                                                        <a:lnTo>
                                                                                                          <a:pt x="94" y="94"/>
                                                                                                        </a:lnTo>
                                                                                                        <a:lnTo>
                                                                                                          <a:pt x="94" y="94"/>
                                                                                                        </a:lnTo>
                                                                                                        <a:lnTo>
                                                                                                          <a:pt x="96" y="96"/>
                                                                                                        </a:lnTo>
                                                                                                        <a:lnTo>
                                                                                                          <a:pt x="100" y="96"/>
                                                                                                        </a:lnTo>
                                                                                                        <a:lnTo>
                                                                                                          <a:pt x="100" y="96"/>
                                                                                                        </a:lnTo>
                                                                                                        <a:lnTo>
                                                                                                          <a:pt x="106" y="94"/>
                                                                                                        </a:lnTo>
                                                                                                        <a:lnTo>
                                                                                                          <a:pt x="106" y="94"/>
                                                                                                        </a:lnTo>
                                                                                                        <a:lnTo>
                                                                                                          <a:pt x="108" y="96"/>
                                                                                                        </a:lnTo>
                                                                                                        <a:lnTo>
                                                                                                          <a:pt x="112" y="92"/>
                                                                                                        </a:lnTo>
                                                                                                        <a:lnTo>
                                                                                                          <a:pt x="112" y="92"/>
                                                                                                        </a:lnTo>
                                                                                                        <a:lnTo>
                                                                                                          <a:pt x="116" y="88"/>
                                                                                                        </a:lnTo>
                                                                                                        <a:lnTo>
                                                                                                          <a:pt x="118" y="88"/>
                                                                                                        </a:lnTo>
                                                                                                        <a:lnTo>
                                                                                                          <a:pt x="120" y="90"/>
                                                                                                        </a:lnTo>
                                                                                                        <a:lnTo>
                                                                                                          <a:pt x="126" y="90"/>
                                                                                                        </a:lnTo>
                                                                                                        <a:lnTo>
                                                                                                          <a:pt x="126" y="90"/>
                                                                                                        </a:lnTo>
                                                                                                        <a:lnTo>
                                                                                                          <a:pt x="132" y="90"/>
                                                                                                        </a:lnTo>
                                                                                                        <a:lnTo>
                                                                                                          <a:pt x="138" y="92"/>
                                                                                                        </a:lnTo>
                                                                                                        <a:lnTo>
                                                                                                          <a:pt x="142" y="92"/>
                                                                                                        </a:lnTo>
                                                                                                        <a:lnTo>
                                                                                                          <a:pt x="144" y="90"/>
                                                                                                        </a:lnTo>
                                                                                                        <a:lnTo>
                                                                                                          <a:pt x="144" y="88"/>
                                                                                                        </a:lnTo>
                                                                                                        <a:lnTo>
                                                                                                          <a:pt x="144" y="88"/>
                                                                                                        </a:lnTo>
                                                                                                        <a:lnTo>
                                                                                                          <a:pt x="142" y="82"/>
                                                                                                        </a:lnTo>
                                                                                                        <a:lnTo>
                                                                                                          <a:pt x="140" y="76"/>
                                                                                                        </a:lnTo>
                                                                                                        <a:lnTo>
                                                                                                          <a:pt x="140" y="72"/>
                                                                                                        </a:lnTo>
                                                                                                        <a:lnTo>
                                                                                                          <a:pt x="142" y="70"/>
                                                                                                        </a:lnTo>
                                                                                                        <a:lnTo>
                                                                                                          <a:pt x="146" y="70"/>
                                                                                                        </a:lnTo>
                                                                                                        <a:lnTo>
                                                                                                          <a:pt x="154" y="70"/>
                                                                                                        </a:lnTo>
                                                                                                        <a:lnTo>
                                                                                                          <a:pt x="154" y="70"/>
                                                                                                        </a:lnTo>
                                                                                                        <a:close/>
                                                                                                      </a:path>
                                                                                                    </a:pathLst>
                                                                                                  </a:custGeom>
                                                                                                  <a:grpFill/>
                                                                                                  <a:ln w="63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aseline="-25000" dirty="0">
                                                                                                      <a:solidFill>
                                                                                                        <a:schemeClr val="bg1">
                                                                                                          <a:alpha val="99000"/>
                                                                                                        </a:schemeClr>
                                                                                                      </a:solidFill>
                                                                                                    </a:endParaRPr>
                                                                                                  </a:p>
                                                                                                </p:txBody>
                                                                                              </p:sp>
                                                                                              <p:sp>
                                                                                                <p:nvSpPr>
                                                                                                  <p:cNvPr id="676" name="Macedonia (FYROM)"/>
                                                                                                  <p:cNvSpPr>
                                                                                                    <a:spLocks/>
                                                                                                  </p:cNvSpPr>
                                                                                                  <p:nvPr/>
                                                                                                </p:nvSpPr>
                                                                                                <p:spPr bwMode="auto">
                                                                                                  <a:xfrm>
                                                                                                    <a:off x="6373067" y="2104728"/>
                                                                                                    <a:ext cx="85026" cy="63730"/>
                                                                                                  </a:xfrm>
                                                                                                  <a:custGeom>
                                                                                                    <a:avLst/>
                                                                                                    <a:gdLst>
                                                                                                      <a:gd name="T0" fmla="*/ 78 w 1066"/>
                                                                                                      <a:gd name="T1" fmla="*/ 577 h 799"/>
                                                                                                      <a:gd name="T2" fmla="*/ 123 w 1066"/>
                                                                                                      <a:gd name="T3" fmla="*/ 667 h 799"/>
                                                                                                      <a:gd name="T4" fmla="*/ 168 w 1066"/>
                                                                                                      <a:gd name="T5" fmla="*/ 799 h 799"/>
                                                                                                      <a:gd name="T6" fmla="*/ 258 w 1066"/>
                                                                                                      <a:gd name="T7" fmla="*/ 712 h 799"/>
                                                                                                      <a:gd name="T8" fmla="*/ 348 w 1066"/>
                                                                                                      <a:gd name="T9" fmla="*/ 712 h 799"/>
                                                                                                      <a:gd name="T10" fmla="*/ 527 w 1066"/>
                                                                                                      <a:gd name="T11" fmla="*/ 712 h 799"/>
                                                                                                      <a:gd name="T12" fmla="*/ 617 w 1066"/>
                                                                                                      <a:gd name="T13" fmla="*/ 712 h 799"/>
                                                                                                      <a:gd name="T14" fmla="*/ 707 w 1066"/>
                                                                                                      <a:gd name="T15" fmla="*/ 622 h 799"/>
                                                                                                      <a:gd name="T16" fmla="*/ 752 w 1066"/>
                                                                                                      <a:gd name="T17" fmla="*/ 532 h 799"/>
                                                                                                      <a:gd name="T18" fmla="*/ 796 w 1066"/>
                                                                                                      <a:gd name="T19" fmla="*/ 532 h 799"/>
                                                                                                      <a:gd name="T20" fmla="*/ 841 w 1066"/>
                                                                                                      <a:gd name="T21" fmla="*/ 532 h 799"/>
                                                                                                      <a:gd name="T22" fmla="*/ 931 w 1066"/>
                                                                                                      <a:gd name="T23" fmla="*/ 577 h 799"/>
                                                                                                      <a:gd name="T24" fmla="*/ 976 w 1066"/>
                                                                                                      <a:gd name="T25" fmla="*/ 577 h 799"/>
                                                                                                      <a:gd name="T26" fmla="*/ 976 w 1066"/>
                                                                                                      <a:gd name="T27" fmla="*/ 532 h 799"/>
                                                                                                      <a:gd name="T28" fmla="*/ 1021 w 1066"/>
                                                                                                      <a:gd name="T29" fmla="*/ 489 h 799"/>
                                                                                                      <a:gd name="T30" fmla="*/ 1066 w 1066"/>
                                                                                                      <a:gd name="T31" fmla="*/ 445 h 799"/>
                                                                                                      <a:gd name="T32" fmla="*/ 1066 w 1066"/>
                                                                                                      <a:gd name="T33" fmla="*/ 355 h 799"/>
                                                                                                      <a:gd name="T34" fmla="*/ 1021 w 1066"/>
                                                                                                      <a:gd name="T35" fmla="*/ 222 h 799"/>
                                                                                                      <a:gd name="T36" fmla="*/ 841 w 1066"/>
                                                                                                      <a:gd name="T37" fmla="*/ 88 h 799"/>
                                                                                                      <a:gd name="T38" fmla="*/ 752 w 1066"/>
                                                                                                      <a:gd name="T39" fmla="*/ 45 h 799"/>
                                                                                                      <a:gd name="T40" fmla="*/ 707 w 1066"/>
                                                                                                      <a:gd name="T41" fmla="*/ 0 h 799"/>
                                                                                                      <a:gd name="T42" fmla="*/ 610 w 1066"/>
                                                                                                      <a:gd name="T43" fmla="*/ 38 h 799"/>
                                                                                                      <a:gd name="T44" fmla="*/ 340 w 1066"/>
                                                                                                      <a:gd name="T45" fmla="*/ 95 h 799"/>
                                                                                                      <a:gd name="T46" fmla="*/ 307 w 1066"/>
                                                                                                      <a:gd name="T47" fmla="*/ 152 h 799"/>
                                                                                                      <a:gd name="T48" fmla="*/ 251 w 1066"/>
                                                                                                      <a:gd name="T49" fmla="*/ 95 h 799"/>
                                                                                                      <a:gd name="T50" fmla="*/ 57 w 1066"/>
                                                                                                      <a:gd name="T51" fmla="*/ 201 h 799"/>
                                                                                                      <a:gd name="T52" fmla="*/ 0 w 1066"/>
                                                                                                      <a:gd name="T53" fmla="*/ 428 h 799"/>
                                                                                                      <a:gd name="T54" fmla="*/ 31 w 1066"/>
                                                                                                      <a:gd name="T55" fmla="*/ 525 h 799"/>
                                                                                                      <a:gd name="T56" fmla="*/ 0 w 1066"/>
                                                                                                      <a:gd name="T57" fmla="*/ 525 h 799"/>
                                                                                                      <a:gd name="T58" fmla="*/ 78 w 1066"/>
                                                                                                      <a:gd name="T59" fmla="*/ 577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66" h="799">
                                                                                                        <a:moveTo>
                                                                                                          <a:pt x="78" y="577"/>
                                                                                                        </a:moveTo>
                                                                                                        <a:lnTo>
                                                                                                          <a:pt x="123" y="667"/>
                                                                                                        </a:lnTo>
                                                                                                        <a:lnTo>
                                                                                                          <a:pt x="168" y="799"/>
                                                                                                        </a:lnTo>
                                                                                                        <a:lnTo>
                                                                                                          <a:pt x="258" y="712"/>
                                                                                                        </a:lnTo>
                                                                                                        <a:lnTo>
                                                                                                          <a:pt x="348" y="712"/>
                                                                                                        </a:lnTo>
                                                                                                        <a:lnTo>
                                                                                                          <a:pt x="527" y="712"/>
                                                                                                        </a:lnTo>
                                                                                                        <a:lnTo>
                                                                                                          <a:pt x="617" y="712"/>
                                                                                                        </a:lnTo>
                                                                                                        <a:lnTo>
                                                                                                          <a:pt x="707" y="622"/>
                                                                                                        </a:lnTo>
                                                                                                        <a:lnTo>
                                                                                                          <a:pt x="752" y="532"/>
                                                                                                        </a:lnTo>
                                                                                                        <a:lnTo>
                                                                                                          <a:pt x="796" y="532"/>
                                                                                                        </a:lnTo>
                                                                                                        <a:lnTo>
                                                                                                          <a:pt x="841" y="532"/>
                                                                                                        </a:lnTo>
                                                                                                        <a:lnTo>
                                                                                                          <a:pt x="931" y="577"/>
                                                                                                        </a:lnTo>
                                                                                                        <a:lnTo>
                                                                                                          <a:pt x="976" y="577"/>
                                                                                                        </a:lnTo>
                                                                                                        <a:lnTo>
                                                                                                          <a:pt x="976" y="532"/>
                                                                                                        </a:lnTo>
                                                                                                        <a:lnTo>
                                                                                                          <a:pt x="1021" y="489"/>
                                                                                                        </a:lnTo>
                                                                                                        <a:lnTo>
                                                                                                          <a:pt x="1066" y="445"/>
                                                                                                        </a:lnTo>
                                                                                                        <a:lnTo>
                                                                                                          <a:pt x="1066" y="355"/>
                                                                                                        </a:lnTo>
                                                                                                        <a:lnTo>
                                                                                                          <a:pt x="1021" y="222"/>
                                                                                                        </a:lnTo>
                                                                                                        <a:lnTo>
                                                                                                          <a:pt x="841" y="88"/>
                                                                                                        </a:lnTo>
                                                                                                        <a:lnTo>
                                                                                                          <a:pt x="752" y="45"/>
                                                                                                        </a:lnTo>
                                                                                                        <a:lnTo>
                                                                                                          <a:pt x="707" y="0"/>
                                                                                                        </a:lnTo>
                                                                                                        <a:lnTo>
                                                                                                          <a:pt x="610" y="38"/>
                                                                                                        </a:lnTo>
                                                                                                        <a:lnTo>
                                                                                                          <a:pt x="340" y="95"/>
                                                                                                        </a:lnTo>
                                                                                                        <a:lnTo>
                                                                                                          <a:pt x="307" y="152"/>
                                                                                                        </a:lnTo>
                                                                                                        <a:lnTo>
                                                                                                          <a:pt x="251" y="95"/>
                                                                                                        </a:lnTo>
                                                                                                        <a:lnTo>
                                                                                                          <a:pt x="57" y="201"/>
                                                                                                        </a:lnTo>
                                                                                                        <a:lnTo>
                                                                                                          <a:pt x="0" y="428"/>
                                                                                                        </a:lnTo>
                                                                                                        <a:lnTo>
                                                                                                          <a:pt x="31" y="525"/>
                                                                                                        </a:lnTo>
                                                                                                        <a:lnTo>
                                                                                                          <a:pt x="0" y="525"/>
                                                                                                        </a:lnTo>
                                                                                                        <a:lnTo>
                                                                                                          <a:pt x="78" y="577"/>
                                                                                                        </a:lnTo>
                                                                                                        <a:close/>
                                                                                                      </a:path>
                                                                                                    </a:pathLst>
                                                                                                  </a:custGeom>
                                                                                                  <a:grpFill/>
                                                                                                  <a:ln w="63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aseline="-25000" dirty="0">
                                                                                                      <a:solidFill>
                                                                                                        <a:schemeClr val="bg1">
                                                                                                          <a:alpha val="99000"/>
                                                                                                        </a:schemeClr>
                                                                                                      </a:solidFill>
                                                                                                    </a:endParaRPr>
                                                                                                  </a:p>
                                                                                                </p:txBody>
                                                                                              </p:sp>
                                                                                              <p:sp>
                                                                                                <p:nvSpPr>
                                                                                                  <p:cNvPr id="691" name="Montenegro"/>
                                                                                                  <p:cNvSpPr>
                                                                                                    <a:spLocks/>
                                                                                                  </p:cNvSpPr>
                                                                                                  <p:nvPr/>
                                                                                                </p:nvSpPr>
                                                                                                <p:spPr bwMode="auto">
                                                                                                  <a:xfrm>
                                                                                                    <a:off x="6325962" y="2078252"/>
                                                                                                    <a:ext cx="45719" cy="51250"/>
                                                                                                  </a:xfrm>
                                                                                                  <a:custGeom>
                                                                                                    <a:avLst/>
                                                                                                    <a:gdLst>
                                                                                                      <a:gd name="T0" fmla="*/ 744 w 744"/>
                                                                                                      <a:gd name="T1" fmla="*/ 364 h 834"/>
                                                                                                      <a:gd name="T2" fmla="*/ 654 w 744"/>
                                                                                                      <a:gd name="T3" fmla="*/ 258 h 834"/>
                                                                                                      <a:gd name="T4" fmla="*/ 586 w 744"/>
                                                                                                      <a:gd name="T5" fmla="*/ 208 h 834"/>
                                                                                                      <a:gd name="T6" fmla="*/ 529 w 744"/>
                                                                                                      <a:gd name="T7" fmla="*/ 208 h 834"/>
                                                                                                      <a:gd name="T8" fmla="*/ 517 w 744"/>
                                                                                                      <a:gd name="T9" fmla="*/ 178 h 834"/>
                                                                                                      <a:gd name="T10" fmla="*/ 435 w 744"/>
                                                                                                      <a:gd name="T11" fmla="*/ 133 h 834"/>
                                                                                                      <a:gd name="T12" fmla="*/ 317 w 744"/>
                                                                                                      <a:gd name="T13" fmla="*/ 0 h 834"/>
                                                                                                      <a:gd name="T14" fmla="*/ 220 w 744"/>
                                                                                                      <a:gd name="T15" fmla="*/ 0 h 834"/>
                                                                                                      <a:gd name="T16" fmla="*/ 272 w 744"/>
                                                                                                      <a:gd name="T17" fmla="*/ 114 h 834"/>
                                                                                                      <a:gd name="T18" fmla="*/ 208 w 744"/>
                                                                                                      <a:gd name="T19" fmla="*/ 126 h 834"/>
                                                                                                      <a:gd name="T20" fmla="*/ 182 w 744"/>
                                                                                                      <a:gd name="T21" fmla="*/ 55 h 834"/>
                                                                                                      <a:gd name="T22" fmla="*/ 102 w 744"/>
                                                                                                      <a:gd name="T23" fmla="*/ 107 h 834"/>
                                                                                                      <a:gd name="T24" fmla="*/ 106 w 744"/>
                                                                                                      <a:gd name="T25" fmla="*/ 234 h 834"/>
                                                                                                      <a:gd name="T26" fmla="*/ 57 w 744"/>
                                                                                                      <a:gd name="T27" fmla="*/ 234 h 834"/>
                                                                                                      <a:gd name="T28" fmla="*/ 19 w 744"/>
                                                                                                      <a:gd name="T29" fmla="*/ 364 h 834"/>
                                                                                                      <a:gd name="T30" fmla="*/ 87 w 744"/>
                                                                                                      <a:gd name="T31" fmla="*/ 447 h 834"/>
                                                                                                      <a:gd name="T32" fmla="*/ 7 w 744"/>
                                                                                                      <a:gd name="T33" fmla="*/ 473 h 834"/>
                                                                                                      <a:gd name="T34" fmla="*/ 26 w 744"/>
                                                                                                      <a:gd name="T35" fmla="*/ 579 h 834"/>
                                                                                                      <a:gd name="T36" fmla="*/ 0 w 744"/>
                                                                                                      <a:gd name="T37" fmla="*/ 603 h 834"/>
                                                                                                      <a:gd name="T38" fmla="*/ 0 w 744"/>
                                                                                                      <a:gd name="T39" fmla="*/ 612 h 834"/>
                                                                                                      <a:gd name="T40" fmla="*/ 45 w 744"/>
                                                                                                      <a:gd name="T41" fmla="*/ 612 h 834"/>
                                                                                                      <a:gd name="T42" fmla="*/ 135 w 744"/>
                                                                                                      <a:gd name="T43" fmla="*/ 699 h 834"/>
                                                                                                      <a:gd name="T44" fmla="*/ 224 w 744"/>
                                                                                                      <a:gd name="T45" fmla="*/ 744 h 834"/>
                                                                                                      <a:gd name="T46" fmla="*/ 314 w 744"/>
                                                                                                      <a:gd name="T47" fmla="*/ 789 h 834"/>
                                                                                                      <a:gd name="T48" fmla="*/ 359 w 744"/>
                                                                                                      <a:gd name="T49" fmla="*/ 834 h 834"/>
                                                                                                      <a:gd name="T50" fmla="*/ 366 w 744"/>
                                                                                                      <a:gd name="T51" fmla="*/ 827 h 834"/>
                                                                                                      <a:gd name="T52" fmla="*/ 361 w 744"/>
                                                                                                      <a:gd name="T53" fmla="*/ 747 h 834"/>
                                                                                                      <a:gd name="T54" fmla="*/ 359 w 744"/>
                                                                                                      <a:gd name="T55" fmla="*/ 744 h 834"/>
                                                                                                      <a:gd name="T56" fmla="*/ 359 w 744"/>
                                                                                                      <a:gd name="T57" fmla="*/ 699 h 834"/>
                                                                                                      <a:gd name="T58" fmla="*/ 340 w 744"/>
                                                                                                      <a:gd name="T59" fmla="*/ 699 h 834"/>
                                                                                                      <a:gd name="T60" fmla="*/ 503 w 744"/>
                                                                                                      <a:gd name="T61" fmla="*/ 409 h 834"/>
                                                                                                      <a:gd name="T62" fmla="*/ 529 w 744"/>
                                                                                                      <a:gd name="T63" fmla="*/ 536 h 834"/>
                                                                                                      <a:gd name="T64" fmla="*/ 616 w 744"/>
                                                                                                      <a:gd name="T65" fmla="*/ 492 h 834"/>
                                                                                                      <a:gd name="T66" fmla="*/ 616 w 744"/>
                                                                                                      <a:gd name="T67" fmla="*/ 435 h 834"/>
                                                                                                      <a:gd name="T68" fmla="*/ 616 w 744"/>
                                                                                                      <a:gd name="T69" fmla="*/ 364 h 834"/>
                                                                                                      <a:gd name="T70" fmla="*/ 706 w 744"/>
                                                                                                      <a:gd name="T71" fmla="*/ 364 h 834"/>
                                                                                                      <a:gd name="T72" fmla="*/ 744 w 744"/>
                                                                                                      <a:gd name="T73" fmla="*/ 364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4" h="834">
                                                                                                        <a:moveTo>
                                                                                                          <a:pt x="744" y="364"/>
                                                                                                        </a:moveTo>
                                                                                                        <a:lnTo>
                                                                                                          <a:pt x="654" y="258"/>
                                                                                                        </a:lnTo>
                                                                                                        <a:lnTo>
                                                                                                          <a:pt x="586" y="208"/>
                                                                                                        </a:lnTo>
                                                                                                        <a:lnTo>
                                                                                                          <a:pt x="529" y="208"/>
                                                                                                        </a:lnTo>
                                                                                                        <a:lnTo>
                                                                                                          <a:pt x="517" y="178"/>
                                                                                                        </a:lnTo>
                                                                                                        <a:lnTo>
                                                                                                          <a:pt x="435" y="133"/>
                                                                                                        </a:lnTo>
                                                                                                        <a:lnTo>
                                                                                                          <a:pt x="317" y="0"/>
                                                                                                        </a:lnTo>
                                                                                                        <a:lnTo>
                                                                                                          <a:pt x="220" y="0"/>
                                                                                                        </a:lnTo>
                                                                                                        <a:lnTo>
                                                                                                          <a:pt x="272" y="114"/>
                                                                                                        </a:lnTo>
                                                                                                        <a:lnTo>
                                                                                                          <a:pt x="208" y="126"/>
                                                                                                        </a:lnTo>
                                                                                                        <a:lnTo>
                                                                                                          <a:pt x="182" y="55"/>
                                                                                                        </a:lnTo>
                                                                                                        <a:lnTo>
                                                                                                          <a:pt x="102" y="107"/>
                                                                                                        </a:lnTo>
                                                                                                        <a:lnTo>
                                                                                                          <a:pt x="106" y="234"/>
                                                                                                        </a:lnTo>
                                                                                                        <a:lnTo>
                                                                                                          <a:pt x="57" y="234"/>
                                                                                                        </a:lnTo>
                                                                                                        <a:lnTo>
                                                                                                          <a:pt x="19" y="364"/>
                                                                                                        </a:lnTo>
                                                                                                        <a:lnTo>
                                                                                                          <a:pt x="87" y="447"/>
                                                                                                        </a:lnTo>
                                                                                                        <a:lnTo>
                                                                                                          <a:pt x="7" y="473"/>
                                                                                                        </a:lnTo>
                                                                                                        <a:lnTo>
                                                                                                          <a:pt x="26" y="579"/>
                                                                                                        </a:lnTo>
                                                                                                        <a:lnTo>
                                                                                                          <a:pt x="0" y="603"/>
                                                                                                        </a:lnTo>
                                                                                                        <a:lnTo>
                                                                                                          <a:pt x="0" y="612"/>
                                                                                                        </a:lnTo>
                                                                                                        <a:lnTo>
                                                                                                          <a:pt x="45" y="612"/>
                                                                                                        </a:lnTo>
                                                                                                        <a:lnTo>
                                                                                                          <a:pt x="135" y="699"/>
                                                                                                        </a:lnTo>
                                                                                                        <a:lnTo>
                                                                                                          <a:pt x="224" y="744"/>
                                                                                                        </a:lnTo>
                                                                                                        <a:lnTo>
                                                                                                          <a:pt x="314" y="789"/>
                                                                                                        </a:lnTo>
                                                                                                        <a:lnTo>
                                                                                                          <a:pt x="359" y="834"/>
                                                                                                        </a:lnTo>
                                                                                                        <a:lnTo>
                                                                                                          <a:pt x="366" y="827"/>
                                                                                                        </a:lnTo>
                                                                                                        <a:lnTo>
                                                                                                          <a:pt x="361" y="747"/>
                                                                                                        </a:lnTo>
                                                                                                        <a:lnTo>
                                                                                                          <a:pt x="359" y="744"/>
                                                                                                        </a:lnTo>
                                                                                                        <a:lnTo>
                                                                                                          <a:pt x="359" y="699"/>
                                                                                                        </a:lnTo>
                                                                                                        <a:lnTo>
                                                                                                          <a:pt x="340" y="699"/>
                                                                                                        </a:lnTo>
                                                                                                        <a:lnTo>
                                                                                                          <a:pt x="503" y="409"/>
                                                                                                        </a:lnTo>
                                                                                                        <a:lnTo>
                                                                                                          <a:pt x="529" y="536"/>
                                                                                                        </a:lnTo>
                                                                                                        <a:lnTo>
                                                                                                          <a:pt x="616" y="492"/>
                                                                                                        </a:lnTo>
                                                                                                        <a:lnTo>
                                                                                                          <a:pt x="616" y="435"/>
                                                                                                        </a:lnTo>
                                                                                                        <a:lnTo>
                                                                                                          <a:pt x="616" y="364"/>
                                                                                                        </a:lnTo>
                                                                                                        <a:lnTo>
                                                                                                          <a:pt x="706" y="364"/>
                                                                                                        </a:lnTo>
                                                                                                        <a:lnTo>
                                                                                                          <a:pt x="744" y="364"/>
                                                                                                        </a:lnTo>
                                                                                                        <a:close/>
                                                                                                      </a:path>
                                                                                                    </a:pathLst>
                                                                                                  </a:custGeom>
                                                                                                  <a:grpFill/>
                                                                                                  <a:ln w="63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aseline="-25000" dirty="0">
                                                                                                      <a:solidFill>
                                                                                                        <a:schemeClr val="bg1">
                                                                                                          <a:alpha val="99000"/>
                                                                                                        </a:schemeClr>
                                                                                                      </a:solidFill>
                                                                                                    </a:endParaRPr>
                                                                                                  </a:p>
                                                                                                </p:txBody>
                                                                                              </p:sp>
                                                                                              <p:sp>
                                                                                                <p:nvSpPr>
                                                                                                  <p:cNvPr id="561" name="Cambodia"/>
                                                                                                  <p:cNvSpPr>
                                                                                                    <a:spLocks/>
                                                                                                  </p:cNvSpPr>
                                                                                                  <p:nvPr/>
                                                                                                </p:nvSpPr>
                                                                                                <p:spPr bwMode="auto">
                                                                                                  <a:xfrm>
                                                                                                    <a:off x="9040816" y="3111709"/>
                                                                                                    <a:ext cx="185296" cy="176020"/>
                                                                                                  </a:xfrm>
                                                                                                  <a:custGeom>
                                                                                                    <a:avLst/>
                                                                                                    <a:gdLst/>
                                                                                                    <a:ahLst/>
                                                                                                    <a:cxnLst>
                                                                                                      <a:cxn ang="0">
                                                                                                        <a:pos x="50" y="114"/>
                                                                                                      </a:cxn>
                                                                                                      <a:cxn ang="0">
                                                                                                        <a:pos x="46" y="116"/>
                                                                                                      </a:cxn>
                                                                                                      <a:cxn ang="0">
                                                                                                        <a:pos x="46" y="112"/>
                                                                                                      </a:cxn>
                                                                                                      <a:cxn ang="0">
                                                                                                        <a:pos x="42" y="106"/>
                                                                                                      </a:cxn>
                                                                                                      <a:cxn ang="0">
                                                                                                        <a:pos x="34" y="108"/>
                                                                                                      </a:cxn>
                                                                                                      <a:cxn ang="0">
                                                                                                        <a:pos x="32" y="108"/>
                                                                                                      </a:cxn>
                                                                                                      <a:cxn ang="0">
                                                                                                        <a:pos x="26" y="106"/>
                                                                                                      </a:cxn>
                                                                                                      <a:cxn ang="0">
                                                                                                        <a:pos x="28" y="102"/>
                                                                                                      </a:cxn>
                                                                                                      <a:cxn ang="0">
                                                                                                        <a:pos x="30" y="102"/>
                                                                                                      </a:cxn>
                                                                                                      <a:cxn ang="0">
                                                                                                        <a:pos x="32" y="96"/>
                                                                                                      </a:cxn>
                                                                                                      <a:cxn ang="0">
                                                                                                        <a:pos x="26" y="90"/>
                                                                                                      </a:cxn>
                                                                                                      <a:cxn ang="0">
                                                                                                        <a:pos x="24" y="92"/>
                                                                                                      </a:cxn>
                                                                                                      <a:cxn ang="0">
                                                                                                        <a:pos x="24" y="96"/>
                                                                                                      </a:cxn>
                                                                                                      <a:cxn ang="0">
                                                                                                        <a:pos x="22" y="98"/>
                                                                                                      </a:cxn>
                                                                                                      <a:cxn ang="0">
                                                                                                        <a:pos x="18" y="96"/>
                                                                                                      </a:cxn>
                                                                                                      <a:cxn ang="0">
                                                                                                        <a:pos x="18" y="88"/>
                                                                                                      </a:cxn>
                                                                                                      <a:cxn ang="0">
                                                                                                        <a:pos x="18" y="72"/>
                                                                                                      </a:cxn>
                                                                                                      <a:cxn ang="0">
                                                                                                        <a:pos x="10" y="60"/>
                                                                                                      </a:cxn>
                                                                                                      <a:cxn ang="0">
                                                                                                        <a:pos x="0" y="44"/>
                                                                                                      </a:cxn>
                                                                                                      <a:cxn ang="0">
                                                                                                        <a:pos x="0" y="40"/>
                                                                                                      </a:cxn>
                                                                                                      <a:cxn ang="0">
                                                                                                        <a:pos x="16" y="18"/>
                                                                                                      </a:cxn>
                                                                                                      <a:cxn ang="0">
                                                                                                        <a:pos x="20" y="16"/>
                                                                                                      </a:cxn>
                                                                                                      <a:cxn ang="0">
                                                                                                        <a:pos x="28" y="18"/>
                                                                                                      </a:cxn>
                                                                                                      <a:cxn ang="0">
                                                                                                        <a:pos x="30" y="16"/>
                                                                                                      </a:cxn>
                                                                                                      <a:cxn ang="0">
                                                                                                        <a:pos x="36" y="16"/>
                                                                                                      </a:cxn>
                                                                                                      <a:cxn ang="0">
                                                                                                        <a:pos x="40" y="16"/>
                                                                                                      </a:cxn>
                                                                                                      <a:cxn ang="0">
                                                                                                        <a:pos x="44" y="16"/>
                                                                                                      </a:cxn>
                                                                                                      <a:cxn ang="0">
                                                                                                        <a:pos x="52" y="16"/>
                                                                                                      </a:cxn>
                                                                                                      <a:cxn ang="0">
                                                                                                        <a:pos x="60" y="12"/>
                                                                                                      </a:cxn>
                                                                                                      <a:cxn ang="0">
                                                                                                        <a:pos x="78" y="16"/>
                                                                                                      </a:cxn>
                                                                                                      <a:cxn ang="0">
                                                                                                        <a:pos x="82" y="22"/>
                                                                                                      </a:cxn>
                                                                                                      <a:cxn ang="0">
                                                                                                        <a:pos x="84" y="20"/>
                                                                                                      </a:cxn>
                                                                                                      <a:cxn ang="0">
                                                                                                        <a:pos x="84" y="12"/>
                                                                                                      </a:cxn>
                                                                                                      <a:cxn ang="0">
                                                                                                        <a:pos x="84" y="2"/>
                                                                                                      </a:cxn>
                                                                                                      <a:cxn ang="0">
                                                                                                        <a:pos x="86" y="0"/>
                                                                                                      </a:cxn>
                                                                                                      <a:cxn ang="0">
                                                                                                        <a:pos x="92" y="2"/>
                                                                                                      </a:cxn>
                                                                                                      <a:cxn ang="0">
                                                                                                        <a:pos x="110" y="16"/>
                                                                                                      </a:cxn>
                                                                                                      <a:cxn ang="0">
                                                                                                        <a:pos x="122" y="22"/>
                                                                                                      </a:cxn>
                                                                                                      <a:cxn ang="0">
                                                                                                        <a:pos x="120" y="30"/>
                                                                                                      </a:cxn>
                                                                                                      <a:cxn ang="0">
                                                                                                        <a:pos x="114" y="50"/>
                                                                                                      </a:cxn>
                                                                                                      <a:cxn ang="0">
                                                                                                        <a:pos x="116" y="60"/>
                                                                                                      </a:cxn>
                                                                                                      <a:cxn ang="0">
                                                                                                        <a:pos x="122" y="66"/>
                                                                                                      </a:cxn>
                                                                                                      <a:cxn ang="0">
                                                                                                        <a:pos x="116" y="74"/>
                                                                                                      </a:cxn>
                                                                                                      <a:cxn ang="0">
                                                                                                        <a:pos x="110" y="74"/>
                                                                                                      </a:cxn>
                                                                                                      <a:cxn ang="0">
                                                                                                        <a:pos x="102" y="74"/>
                                                                                                      </a:cxn>
                                                                                                      <a:cxn ang="0">
                                                                                                        <a:pos x="94" y="82"/>
                                                                                                      </a:cxn>
                                                                                                      <a:cxn ang="0">
                                                                                                        <a:pos x="82" y="90"/>
                                                                                                      </a:cxn>
                                                                                                      <a:cxn ang="0">
                                                                                                        <a:pos x="76" y="90"/>
                                                                                                      </a:cxn>
                                                                                                      <a:cxn ang="0">
                                                                                                        <a:pos x="76" y="92"/>
                                                                                                      </a:cxn>
                                                                                                      <a:cxn ang="0">
                                                                                                        <a:pos x="82" y="98"/>
                                                                                                      </a:cxn>
                                                                                                      <a:cxn ang="0">
                                                                                                        <a:pos x="88" y="104"/>
                                                                                                      </a:cxn>
                                                                                                      <a:cxn ang="0">
                                                                                                        <a:pos x="88" y="106"/>
                                                                                                      </a:cxn>
                                                                                                      <a:cxn ang="0">
                                                                                                        <a:pos x="84" y="106"/>
                                                                                                      </a:cxn>
                                                                                                      <a:cxn ang="0">
                                                                                                        <a:pos x="78" y="100"/>
                                                                                                      </a:cxn>
                                                                                                      <a:cxn ang="0">
                                                                                                        <a:pos x="72" y="102"/>
                                                                                                      </a:cxn>
                                                                                                      <a:cxn ang="0">
                                                                                                        <a:pos x="62" y="106"/>
                                                                                                      </a:cxn>
                                                                                                      <a:cxn ang="0">
                                                                                                        <a:pos x="54" y="110"/>
                                                                                                      </a:cxn>
                                                                                                      <a:cxn ang="0">
                                                                                                        <a:pos x="50" y="114"/>
                                                                                                      </a:cxn>
                                                                                                    </a:cxnLst>
                                                                                                    <a:rect l="0" t="0" r="r" b="b"/>
                                                                                                    <a:pathLst>
                                                                                                      <a:path w="122" h="116">
                                                                                                        <a:moveTo>
                                                                                                          <a:pt x="50" y="114"/>
                                                                                                        </a:moveTo>
                                                                                                        <a:lnTo>
                                                                                                          <a:pt x="50" y="114"/>
                                                                                                        </a:lnTo>
                                                                                                        <a:lnTo>
                                                                                                          <a:pt x="48" y="116"/>
                                                                                                        </a:lnTo>
                                                                                                        <a:lnTo>
                                                                                                          <a:pt x="46" y="116"/>
                                                                                                        </a:lnTo>
                                                                                                        <a:lnTo>
                                                                                                          <a:pt x="46" y="112"/>
                                                                                                        </a:lnTo>
                                                                                                        <a:lnTo>
                                                                                                          <a:pt x="46" y="112"/>
                                                                                                        </a:lnTo>
                                                                                                        <a:lnTo>
                                                                                                          <a:pt x="44" y="108"/>
                                                                                                        </a:lnTo>
                                                                                                        <a:lnTo>
                                                                                                          <a:pt x="42" y="106"/>
                                                                                                        </a:lnTo>
                                                                                                        <a:lnTo>
                                                                                                          <a:pt x="38" y="106"/>
                                                                                                        </a:lnTo>
                                                                                                        <a:lnTo>
                                                                                                          <a:pt x="34" y="108"/>
                                                                                                        </a:lnTo>
                                                                                                        <a:lnTo>
                                                                                                          <a:pt x="34" y="108"/>
                                                                                                        </a:lnTo>
                                                                                                        <a:lnTo>
                                                                                                          <a:pt x="32" y="108"/>
                                                                                                        </a:lnTo>
                                                                                                        <a:lnTo>
                                                                                                          <a:pt x="30" y="108"/>
                                                                                                        </a:lnTo>
                                                                                                        <a:lnTo>
                                                                                                          <a:pt x="26" y="106"/>
                                                                                                        </a:lnTo>
                                                                                                        <a:lnTo>
                                                                                                          <a:pt x="26" y="102"/>
                                                                                                        </a:lnTo>
                                                                                                        <a:lnTo>
                                                                                                          <a:pt x="28" y="102"/>
                                                                                                        </a:lnTo>
                                                                                                        <a:lnTo>
                                                                                                          <a:pt x="30" y="102"/>
                                                                                                        </a:lnTo>
                                                                                                        <a:lnTo>
                                                                                                          <a:pt x="30" y="102"/>
                                                                                                        </a:lnTo>
                                                                                                        <a:lnTo>
                                                                                                          <a:pt x="32" y="100"/>
                                                                                                        </a:lnTo>
                                                                                                        <a:lnTo>
                                                                                                          <a:pt x="32" y="96"/>
                                                                                                        </a:lnTo>
                                                                                                        <a:lnTo>
                                                                                                          <a:pt x="30" y="92"/>
                                                                                                        </a:lnTo>
                                                                                                        <a:lnTo>
                                                                                                          <a:pt x="26" y="90"/>
                                                                                                        </a:lnTo>
                                                                                                        <a:lnTo>
                                                                                                          <a:pt x="26" y="90"/>
                                                                                                        </a:lnTo>
                                                                                                        <a:lnTo>
                                                                                                          <a:pt x="24" y="92"/>
                                                                                                        </a:lnTo>
                                                                                                        <a:lnTo>
                                                                                                          <a:pt x="24" y="94"/>
                                                                                                        </a:lnTo>
                                                                                                        <a:lnTo>
                                                                                                          <a:pt x="24" y="96"/>
                                                                                                        </a:lnTo>
                                                                                                        <a:lnTo>
                                                                                                          <a:pt x="22" y="98"/>
                                                                                                        </a:lnTo>
                                                                                                        <a:lnTo>
                                                                                                          <a:pt x="22" y="98"/>
                                                                                                        </a:lnTo>
                                                                                                        <a:lnTo>
                                                                                                          <a:pt x="18" y="98"/>
                                                                                                        </a:lnTo>
                                                                                                        <a:lnTo>
                                                                                                          <a:pt x="18" y="96"/>
                                                                                                        </a:lnTo>
                                                                                                        <a:lnTo>
                                                                                                          <a:pt x="18" y="88"/>
                                                                                                        </a:lnTo>
                                                                                                        <a:lnTo>
                                                                                                          <a:pt x="18" y="88"/>
                                                                                                        </a:lnTo>
                                                                                                        <a:lnTo>
                                                                                                          <a:pt x="20" y="80"/>
                                                                                                        </a:lnTo>
                                                                                                        <a:lnTo>
                                                                                                          <a:pt x="18" y="72"/>
                                                                                                        </a:lnTo>
                                                                                                        <a:lnTo>
                                                                                                          <a:pt x="16" y="66"/>
                                                                                                        </a:lnTo>
                                                                                                        <a:lnTo>
                                                                                                          <a:pt x="10" y="60"/>
                                                                                                        </a:lnTo>
                                                                                                        <a:lnTo>
                                                                                                          <a:pt x="2" y="50"/>
                                                                                                        </a:lnTo>
                                                                                                        <a:lnTo>
                                                                                                          <a:pt x="0" y="44"/>
                                                                                                        </a:lnTo>
                                                                                                        <a:lnTo>
                                                                                                          <a:pt x="0" y="40"/>
                                                                                                        </a:lnTo>
                                                                                                        <a:lnTo>
                                                                                                          <a:pt x="0" y="40"/>
                                                                                                        </a:lnTo>
                                                                                                        <a:lnTo>
                                                                                                          <a:pt x="10" y="28"/>
                                                                                                        </a:lnTo>
                                                                                                        <a:lnTo>
                                                                                                          <a:pt x="16" y="18"/>
                                                                                                        </a:lnTo>
                                                                                                        <a:lnTo>
                                                                                                          <a:pt x="16" y="18"/>
                                                                                                        </a:lnTo>
                                                                                                        <a:lnTo>
                                                                                                          <a:pt x="20" y="16"/>
                                                                                                        </a:lnTo>
                                                                                                        <a:lnTo>
                                                                                                          <a:pt x="24" y="16"/>
                                                                                                        </a:lnTo>
                                                                                                        <a:lnTo>
                                                                                                          <a:pt x="28" y="18"/>
                                                                                                        </a:lnTo>
                                                                                                        <a:lnTo>
                                                                                                          <a:pt x="30" y="16"/>
                                                                                                        </a:lnTo>
                                                                                                        <a:lnTo>
                                                                                                          <a:pt x="30" y="16"/>
                                                                                                        </a:lnTo>
                                                                                                        <a:lnTo>
                                                                                                          <a:pt x="34" y="16"/>
                                                                                                        </a:lnTo>
                                                                                                        <a:lnTo>
                                                                                                          <a:pt x="36" y="16"/>
                                                                                                        </a:lnTo>
                                                                                                        <a:lnTo>
                                                                                                          <a:pt x="38" y="18"/>
                                                                                                        </a:lnTo>
                                                                                                        <a:lnTo>
                                                                                                          <a:pt x="40" y="16"/>
                                                                                                        </a:lnTo>
                                                                                                        <a:lnTo>
                                                                                                          <a:pt x="40" y="16"/>
                                                                                                        </a:lnTo>
                                                                                                        <a:lnTo>
                                                                                                          <a:pt x="44" y="16"/>
                                                                                                        </a:lnTo>
                                                                                                        <a:lnTo>
                                                                                                          <a:pt x="46" y="16"/>
                                                                                                        </a:lnTo>
                                                                                                        <a:lnTo>
                                                                                                          <a:pt x="52" y="16"/>
                                                                                                        </a:lnTo>
                                                                                                        <a:lnTo>
                                                                                                          <a:pt x="60" y="12"/>
                                                                                                        </a:lnTo>
                                                                                                        <a:lnTo>
                                                                                                          <a:pt x="60" y="12"/>
                                                                                                        </a:lnTo>
                                                                                                        <a:lnTo>
                                                                                                          <a:pt x="74" y="14"/>
                                                                                                        </a:lnTo>
                                                                                                        <a:lnTo>
                                                                                                          <a:pt x="78" y="16"/>
                                                                                                        </a:lnTo>
                                                                                                        <a:lnTo>
                                                                                                          <a:pt x="80" y="20"/>
                                                                                                        </a:lnTo>
                                                                                                        <a:lnTo>
                                                                                                          <a:pt x="82" y="22"/>
                                                                                                        </a:lnTo>
                                                                                                        <a:lnTo>
                                                                                                          <a:pt x="82" y="22"/>
                                                                                                        </a:lnTo>
                                                                                                        <a:lnTo>
                                                                                                          <a:pt x="84" y="20"/>
                                                                                                        </a:lnTo>
                                                                                                        <a:lnTo>
                                                                                                          <a:pt x="84" y="18"/>
                                                                                                        </a:lnTo>
                                                                                                        <a:lnTo>
                                                                                                          <a:pt x="84" y="12"/>
                                                                                                        </a:lnTo>
                                                                                                        <a:lnTo>
                                                                                                          <a:pt x="82" y="6"/>
                                                                                                        </a:lnTo>
                                                                                                        <a:lnTo>
                                                                                                          <a:pt x="84" y="2"/>
                                                                                                        </a:lnTo>
                                                                                                        <a:lnTo>
                                                                                                          <a:pt x="86" y="0"/>
                                                                                                        </a:lnTo>
                                                                                                        <a:lnTo>
                                                                                                          <a:pt x="86" y="0"/>
                                                                                                        </a:lnTo>
                                                                                                        <a:lnTo>
                                                                                                          <a:pt x="88" y="0"/>
                                                                                                        </a:lnTo>
                                                                                                        <a:lnTo>
                                                                                                          <a:pt x="92" y="2"/>
                                                                                                        </a:lnTo>
                                                                                                        <a:lnTo>
                                                                                                          <a:pt x="100" y="8"/>
                                                                                                        </a:lnTo>
                                                                                                        <a:lnTo>
                                                                                                          <a:pt x="110" y="16"/>
                                                                                                        </a:lnTo>
                                                                                                        <a:lnTo>
                                                                                                          <a:pt x="116" y="20"/>
                                                                                                        </a:lnTo>
                                                                                                        <a:lnTo>
                                                                                                          <a:pt x="122" y="22"/>
                                                                                                        </a:lnTo>
                                                                                                        <a:lnTo>
                                                                                                          <a:pt x="122" y="22"/>
                                                                                                        </a:lnTo>
                                                                                                        <a:lnTo>
                                                                                                          <a:pt x="120" y="30"/>
                                                                                                        </a:lnTo>
                                                                                                        <a:lnTo>
                                                                                                          <a:pt x="116" y="40"/>
                                                                                                        </a:lnTo>
                                                                                                        <a:lnTo>
                                                                                                          <a:pt x="114" y="50"/>
                                                                                                        </a:lnTo>
                                                                                                        <a:lnTo>
                                                                                                          <a:pt x="114" y="56"/>
                                                                                                        </a:lnTo>
                                                                                                        <a:lnTo>
                                                                                                          <a:pt x="116" y="60"/>
                                                                                                        </a:lnTo>
                                                                                                        <a:lnTo>
                                                                                                          <a:pt x="116" y="60"/>
                                                                                                        </a:lnTo>
                                                                                                        <a:lnTo>
                                                                                                          <a:pt x="122" y="66"/>
                                                                                                        </a:lnTo>
                                                                                                        <a:lnTo>
                                                                                                          <a:pt x="120" y="72"/>
                                                                                                        </a:lnTo>
                                                                                                        <a:lnTo>
                                                                                                          <a:pt x="116" y="74"/>
                                                                                                        </a:lnTo>
                                                                                                        <a:lnTo>
                                                                                                          <a:pt x="110" y="74"/>
                                                                                                        </a:lnTo>
                                                                                                        <a:lnTo>
                                                                                                          <a:pt x="110" y="74"/>
                                                                                                        </a:lnTo>
                                                                                                        <a:lnTo>
                                                                                                          <a:pt x="106" y="72"/>
                                                                                                        </a:lnTo>
                                                                                                        <a:lnTo>
                                                                                                          <a:pt x="102" y="74"/>
                                                                                                        </a:lnTo>
                                                                                                        <a:lnTo>
                                                                                                          <a:pt x="94" y="82"/>
                                                                                                        </a:lnTo>
                                                                                                        <a:lnTo>
                                                                                                          <a:pt x="94" y="82"/>
                                                                                                        </a:lnTo>
                                                                                                        <a:lnTo>
                                                                                                          <a:pt x="86" y="88"/>
                                                                                                        </a:lnTo>
                                                                                                        <a:lnTo>
                                                                                                          <a:pt x="82" y="90"/>
                                                                                                        </a:lnTo>
                                                                                                        <a:lnTo>
                                                                                                          <a:pt x="80" y="88"/>
                                                                                                        </a:lnTo>
                                                                                                        <a:lnTo>
                                                                                                          <a:pt x="76" y="90"/>
                                                                                                        </a:lnTo>
                                                                                                        <a:lnTo>
                                                                                                          <a:pt x="76" y="90"/>
                                                                                                        </a:lnTo>
                                                                                                        <a:lnTo>
                                                                                                          <a:pt x="76" y="92"/>
                                                                                                        </a:lnTo>
                                                                                                        <a:lnTo>
                                                                                                          <a:pt x="78" y="94"/>
                                                                                                        </a:lnTo>
                                                                                                        <a:lnTo>
                                                                                                          <a:pt x="82" y="98"/>
                                                                                                        </a:lnTo>
                                                                                                        <a:lnTo>
                                                                                                          <a:pt x="88" y="102"/>
                                                                                                        </a:lnTo>
                                                                                                        <a:lnTo>
                                                                                                          <a:pt x="88" y="104"/>
                                                                                                        </a:lnTo>
                                                                                                        <a:lnTo>
                                                                                                          <a:pt x="88" y="106"/>
                                                                                                        </a:lnTo>
                                                                                                        <a:lnTo>
                                                                                                          <a:pt x="88" y="106"/>
                                                                                                        </a:lnTo>
                                                                                                        <a:lnTo>
                                                                                                          <a:pt x="86" y="106"/>
                                                                                                        </a:lnTo>
                                                                                                        <a:lnTo>
                                                                                                          <a:pt x="84" y="106"/>
                                                                                                        </a:lnTo>
                                                                                                        <a:lnTo>
                                                                                                          <a:pt x="82" y="102"/>
                                                                                                        </a:lnTo>
                                                                                                        <a:lnTo>
                                                                                                          <a:pt x="78" y="100"/>
                                                                                                        </a:lnTo>
                                                                                                        <a:lnTo>
                                                                                                          <a:pt x="74" y="100"/>
                                                                                                        </a:lnTo>
                                                                                                        <a:lnTo>
                                                                                                          <a:pt x="72" y="102"/>
                                                                                                        </a:lnTo>
                                                                                                        <a:lnTo>
                                                                                                          <a:pt x="72" y="102"/>
                                                                                                        </a:lnTo>
                                                                                                        <a:lnTo>
                                                                                                          <a:pt x="62" y="106"/>
                                                                                                        </a:lnTo>
                                                                                                        <a:lnTo>
                                                                                                          <a:pt x="56" y="108"/>
                                                                                                        </a:lnTo>
                                                                                                        <a:lnTo>
                                                                                                          <a:pt x="54" y="110"/>
                                                                                                        </a:lnTo>
                                                                                                        <a:lnTo>
                                                                                                          <a:pt x="50" y="114"/>
                                                                                                        </a:lnTo>
                                                                                                        <a:lnTo>
                                                                                                          <a:pt x="50" y="114"/>
                                                                                                        </a:lnTo>
                                                                                                        <a:close/>
                                                                                                      </a:path>
                                                                                                    </a:pathLst>
                                                                                                  </a:custGeom>
                                                                                                  <a:grpFill/>
                                                                                                  <a:ln w="63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aseline="-25000" dirty="0">
                                                                                                      <a:solidFill>
                                                                                                        <a:schemeClr val="bg1">
                                                                                                          <a:alpha val="99000"/>
                                                                                                        </a:schemeClr>
                                                                                                      </a:solidFill>
                                                                                                    </a:endParaRPr>
                                                                                                  </a:p>
                                                                                                </p:txBody>
                                                                                              </p:sp>
                                                                                              <p:sp>
                                                                                                <p:nvSpPr>
                                                                                                  <p:cNvPr id="673" name="Laos"/>
                                                                                                  <p:cNvSpPr>
                                                                                                    <a:spLocks/>
                                                                                                  </p:cNvSpPr>
                                                                                                  <p:nvPr/>
                                                                                                </p:nvSpPr>
                                                                                                <p:spPr bwMode="auto">
                                                                                                  <a:xfrm>
                                                                                                    <a:off x="8925385" y="2823399"/>
                                                                                                    <a:ext cx="300727" cy="321692"/>
                                                                                                  </a:xfrm>
                                                                                                  <a:custGeom>
                                                                                                    <a:avLst/>
                                                                                                    <a:gdLst/>
                                                                                                    <a:ahLst/>
                                                                                                    <a:cxnLst>
                                                                                                      <a:cxn ang="0">
                                                                                                        <a:pos x="8" y="2"/>
                                                                                                      </a:cxn>
                                                                                                      <a:cxn ang="0">
                                                                                                        <a:pos x="4" y="6"/>
                                                                                                      </a:cxn>
                                                                                                      <a:cxn ang="0">
                                                                                                        <a:pos x="12" y="20"/>
                                                                                                      </a:cxn>
                                                                                                      <a:cxn ang="0">
                                                                                                        <a:pos x="18" y="30"/>
                                                                                                      </a:cxn>
                                                                                                      <a:cxn ang="0">
                                                                                                        <a:pos x="14" y="36"/>
                                                                                                      </a:cxn>
                                                                                                      <a:cxn ang="0">
                                                                                                        <a:pos x="6" y="30"/>
                                                                                                      </a:cxn>
                                                                                                      <a:cxn ang="0">
                                                                                                        <a:pos x="0" y="42"/>
                                                                                                      </a:cxn>
                                                                                                      <a:cxn ang="0">
                                                                                                        <a:pos x="0" y="52"/>
                                                                                                      </a:cxn>
                                                                                                      <a:cxn ang="0">
                                                                                                        <a:pos x="4" y="56"/>
                                                                                                      </a:cxn>
                                                                                                      <a:cxn ang="0">
                                                                                                        <a:pos x="6" y="60"/>
                                                                                                      </a:cxn>
                                                                                                      <a:cxn ang="0">
                                                                                                        <a:pos x="18" y="64"/>
                                                                                                      </a:cxn>
                                                                                                      <a:cxn ang="0">
                                                                                                        <a:pos x="28" y="66"/>
                                                                                                      </a:cxn>
                                                                                                      <a:cxn ang="0">
                                                                                                        <a:pos x="22" y="84"/>
                                                                                                      </a:cxn>
                                                                                                      <a:cxn ang="0">
                                                                                                        <a:pos x="20" y="110"/>
                                                                                                      </a:cxn>
                                                                                                      <a:cxn ang="0">
                                                                                                        <a:pos x="24" y="110"/>
                                                                                                      </a:cxn>
                                                                                                      <a:cxn ang="0">
                                                                                                        <a:pos x="38" y="102"/>
                                                                                                      </a:cxn>
                                                                                                      <a:cxn ang="0">
                                                                                                        <a:pos x="46" y="106"/>
                                                                                                      </a:cxn>
                                                                                                      <a:cxn ang="0">
                                                                                                        <a:pos x="60" y="110"/>
                                                                                                      </a:cxn>
                                                                                                      <a:cxn ang="0">
                                                                                                        <a:pos x="76" y="106"/>
                                                                                                      </a:cxn>
                                                                                                      <a:cxn ang="0">
                                                                                                        <a:pos x="86" y="114"/>
                                                                                                      </a:cxn>
                                                                                                      <a:cxn ang="0">
                                                                                                        <a:pos x="108" y="132"/>
                                                                                                      </a:cxn>
                                                                                                      <a:cxn ang="0">
                                                                                                        <a:pos x="108" y="142"/>
                                                                                                      </a:cxn>
                                                                                                      <a:cxn ang="0">
                                                                                                        <a:pos x="122" y="162"/>
                                                                                                      </a:cxn>
                                                                                                      <a:cxn ang="0">
                                                                                                        <a:pos x="130" y="162"/>
                                                                                                      </a:cxn>
                                                                                                      <a:cxn ang="0">
                                                                                                        <a:pos x="138" y="170"/>
                                                                                                      </a:cxn>
                                                                                                      <a:cxn ang="0">
                                                                                                        <a:pos x="140" y="178"/>
                                                                                                      </a:cxn>
                                                                                                      <a:cxn ang="0">
                                                                                                        <a:pos x="142" y="188"/>
                                                                                                      </a:cxn>
                                                                                                      <a:cxn ang="0">
                                                                                                        <a:pos x="140" y="196"/>
                                                                                                      </a:cxn>
                                                                                                      <a:cxn ang="0">
                                                                                                        <a:pos x="136" y="202"/>
                                                                                                      </a:cxn>
                                                                                                      <a:cxn ang="0">
                                                                                                        <a:pos x="156" y="210"/>
                                                                                                      </a:cxn>
                                                                                                      <a:cxn ang="0">
                                                                                                        <a:pos x="160" y="210"/>
                                                                                                      </a:cxn>
                                                                                                      <a:cxn ang="0">
                                                                                                        <a:pos x="158" y="196"/>
                                                                                                      </a:cxn>
                                                                                                      <a:cxn ang="0">
                                                                                                        <a:pos x="162" y="190"/>
                                                                                                      </a:cxn>
                                                                                                      <a:cxn ang="0">
                                                                                                        <a:pos x="176" y="198"/>
                                                                                                      </a:cxn>
                                                                                                      <a:cxn ang="0">
                                                                                                        <a:pos x="198" y="212"/>
                                                                                                      </a:cxn>
                                                                                                      <a:cxn ang="0">
                                                                                                        <a:pos x="192" y="194"/>
                                                                                                      </a:cxn>
                                                                                                      <a:cxn ang="0">
                                                                                                        <a:pos x="182" y="176"/>
                                                                                                      </a:cxn>
                                                                                                      <a:cxn ang="0">
                                                                                                        <a:pos x="180" y="162"/>
                                                                                                      </a:cxn>
                                                                                                      <a:cxn ang="0">
                                                                                                        <a:pos x="160" y="154"/>
                                                                                                      </a:cxn>
                                                                                                      <a:cxn ang="0">
                                                                                                        <a:pos x="146" y="148"/>
                                                                                                      </a:cxn>
                                                                                                      <a:cxn ang="0">
                                                                                                        <a:pos x="140" y="130"/>
                                                                                                      </a:cxn>
                                                                                                      <a:cxn ang="0">
                                                                                                        <a:pos x="132" y="122"/>
                                                                                                      </a:cxn>
                                                                                                      <a:cxn ang="0">
                                                                                                        <a:pos x="118" y="108"/>
                                                                                                      </a:cxn>
                                                                                                      <a:cxn ang="0">
                                                                                                        <a:pos x="114" y="96"/>
                                                                                                      </a:cxn>
                                                                                                      <a:cxn ang="0">
                                                                                                        <a:pos x="110" y="92"/>
                                                                                                      </a:cxn>
                                                                                                      <a:cxn ang="0">
                                                                                                        <a:pos x="90" y="82"/>
                                                                                                      </a:cxn>
                                                                                                      <a:cxn ang="0">
                                                                                                        <a:pos x="80" y="74"/>
                                                                                                      </a:cxn>
                                                                                                      <a:cxn ang="0">
                                                                                                        <a:pos x="94" y="68"/>
                                                                                                      </a:cxn>
                                                                                                      <a:cxn ang="0">
                                                                                                        <a:pos x="102" y="68"/>
                                                                                                      </a:cxn>
                                                                                                      <a:cxn ang="0">
                                                                                                        <a:pos x="106" y="58"/>
                                                                                                      </a:cxn>
                                                                                                      <a:cxn ang="0">
                                                                                                        <a:pos x="98" y="46"/>
                                                                                                      </a:cxn>
                                                                                                      <a:cxn ang="0">
                                                                                                        <a:pos x="68" y="42"/>
                                                                                                      </a:cxn>
                                                                                                      <a:cxn ang="0">
                                                                                                        <a:pos x="50" y="38"/>
                                                                                                      </a:cxn>
                                                                                                      <a:cxn ang="0">
                                                                                                        <a:pos x="44" y="30"/>
                                                                                                      </a:cxn>
                                                                                                      <a:cxn ang="0">
                                                                                                        <a:pos x="44" y="24"/>
                                                                                                      </a:cxn>
                                                                                                      <a:cxn ang="0">
                                                                                                        <a:pos x="22" y="6"/>
                                                                                                      </a:cxn>
                                                                                                    </a:cxnLst>
                                                                                                    <a:rect l="0" t="0" r="r" b="b"/>
                                                                                                    <a:pathLst>
                                                                                                      <a:path w="198" h="212">
                                                                                                        <a:moveTo>
                                                                                                          <a:pt x="18" y="0"/>
                                                                                                        </a:moveTo>
                                                                                                        <a:lnTo>
                                                                                                          <a:pt x="18" y="0"/>
                                                                                                        </a:lnTo>
                                                                                                        <a:lnTo>
                                                                                                          <a:pt x="8" y="2"/>
                                                                                                        </a:lnTo>
                                                                                                        <a:lnTo>
                                                                                                          <a:pt x="6" y="4"/>
                                                                                                        </a:lnTo>
                                                                                                        <a:lnTo>
                                                                                                          <a:pt x="4" y="6"/>
                                                                                                        </a:lnTo>
                                                                                                        <a:lnTo>
                                                                                                          <a:pt x="4" y="6"/>
                                                                                                        </a:lnTo>
                                                                                                        <a:lnTo>
                                                                                                          <a:pt x="6" y="10"/>
                                                                                                        </a:lnTo>
                                                                                                        <a:lnTo>
                                                                                                          <a:pt x="8" y="14"/>
                                                                                                        </a:lnTo>
                                                                                                        <a:lnTo>
                                                                                                          <a:pt x="12" y="20"/>
                                                                                                        </a:lnTo>
                                                                                                        <a:lnTo>
                                                                                                          <a:pt x="16" y="26"/>
                                                                                                        </a:lnTo>
                                                                                                        <a:lnTo>
                                                                                                          <a:pt x="16" y="26"/>
                                                                                                        </a:lnTo>
                                                                                                        <a:lnTo>
                                                                                                          <a:pt x="18" y="30"/>
                                                                                                        </a:lnTo>
                                                                                                        <a:lnTo>
                                                                                                          <a:pt x="16" y="32"/>
                                                                                                        </a:lnTo>
                                                                                                        <a:lnTo>
                                                                                                          <a:pt x="16" y="34"/>
                                                                                                        </a:lnTo>
                                                                                                        <a:lnTo>
                                                                                                          <a:pt x="14" y="36"/>
                                                                                                        </a:lnTo>
                                                                                                        <a:lnTo>
                                                                                                          <a:pt x="8" y="34"/>
                                                                                                        </a:lnTo>
                                                                                                        <a:lnTo>
                                                                                                          <a:pt x="6" y="30"/>
                                                                                                        </a:lnTo>
                                                                                                        <a:lnTo>
                                                                                                          <a:pt x="6" y="30"/>
                                                                                                        </a:lnTo>
                                                                                                        <a:lnTo>
                                                                                                          <a:pt x="2" y="34"/>
                                                                                                        </a:lnTo>
                                                                                                        <a:lnTo>
                                                                                                          <a:pt x="0" y="38"/>
                                                                                                        </a:lnTo>
                                                                                                        <a:lnTo>
                                                                                                          <a:pt x="0" y="42"/>
                                                                                                        </a:lnTo>
                                                                                                        <a:lnTo>
                                                                                                          <a:pt x="2" y="48"/>
                                                                                                        </a:lnTo>
                                                                                                        <a:lnTo>
                                                                                                          <a:pt x="2" y="50"/>
                                                                                                        </a:lnTo>
                                                                                                        <a:lnTo>
                                                                                                          <a:pt x="0" y="52"/>
                                                                                                        </a:lnTo>
                                                                                                        <a:lnTo>
                                                                                                          <a:pt x="0" y="52"/>
                                                                                                        </a:lnTo>
                                                                                                        <a:lnTo>
                                                                                                          <a:pt x="2" y="56"/>
                                                                                                        </a:lnTo>
                                                                                                        <a:lnTo>
                                                                                                          <a:pt x="4" y="56"/>
                                                                                                        </a:lnTo>
                                                                                                        <a:lnTo>
                                                                                                          <a:pt x="4" y="56"/>
                                                                                                        </a:lnTo>
                                                                                                        <a:lnTo>
                                                                                                          <a:pt x="6" y="60"/>
                                                                                                        </a:lnTo>
                                                                                                        <a:lnTo>
                                                                                                          <a:pt x="6" y="60"/>
                                                                                                        </a:lnTo>
                                                                                                        <a:lnTo>
                                                                                                          <a:pt x="8" y="64"/>
                                                                                                        </a:lnTo>
                                                                                                        <a:lnTo>
                                                                                                          <a:pt x="10" y="66"/>
                                                                                                        </a:lnTo>
                                                                                                        <a:lnTo>
                                                                                                          <a:pt x="18" y="64"/>
                                                                                                        </a:lnTo>
                                                                                                        <a:lnTo>
                                                                                                          <a:pt x="24" y="64"/>
                                                                                                        </a:lnTo>
                                                                                                        <a:lnTo>
                                                                                                          <a:pt x="26" y="64"/>
                                                                                                        </a:lnTo>
                                                                                                        <a:lnTo>
                                                                                                          <a:pt x="28" y="66"/>
                                                                                                        </a:lnTo>
                                                                                                        <a:lnTo>
                                                                                                          <a:pt x="28" y="66"/>
                                                                                                        </a:lnTo>
                                                                                                        <a:lnTo>
                                                                                                          <a:pt x="28" y="72"/>
                                                                                                        </a:lnTo>
                                                                                                        <a:lnTo>
                                                                                                          <a:pt x="22" y="84"/>
                                                                                                        </a:lnTo>
                                                                                                        <a:lnTo>
                                                                                                          <a:pt x="20" y="98"/>
                                                                                                        </a:lnTo>
                                                                                                        <a:lnTo>
                                                                                                          <a:pt x="20" y="104"/>
                                                                                                        </a:lnTo>
                                                                                                        <a:lnTo>
                                                                                                          <a:pt x="20" y="110"/>
                                                                                                        </a:lnTo>
                                                                                                        <a:lnTo>
                                                                                                          <a:pt x="20" y="110"/>
                                                                                                        </a:lnTo>
                                                                                                        <a:lnTo>
                                                                                                          <a:pt x="22" y="112"/>
                                                                                                        </a:lnTo>
                                                                                                        <a:lnTo>
                                                                                                          <a:pt x="24" y="110"/>
                                                                                                        </a:lnTo>
                                                                                                        <a:lnTo>
                                                                                                          <a:pt x="30" y="106"/>
                                                                                                        </a:lnTo>
                                                                                                        <a:lnTo>
                                                                                                          <a:pt x="34" y="104"/>
                                                                                                        </a:lnTo>
                                                                                                        <a:lnTo>
                                                                                                          <a:pt x="38" y="102"/>
                                                                                                        </a:lnTo>
                                                                                                        <a:lnTo>
                                                                                                          <a:pt x="42" y="102"/>
                                                                                                        </a:lnTo>
                                                                                                        <a:lnTo>
                                                                                                          <a:pt x="46" y="106"/>
                                                                                                        </a:lnTo>
                                                                                                        <a:lnTo>
                                                                                                          <a:pt x="46" y="106"/>
                                                                                                        </a:lnTo>
                                                                                                        <a:lnTo>
                                                                                                          <a:pt x="52" y="110"/>
                                                                                                        </a:lnTo>
                                                                                                        <a:lnTo>
                                                                                                          <a:pt x="56" y="112"/>
                                                                                                        </a:lnTo>
                                                                                                        <a:lnTo>
                                                                                                          <a:pt x="60" y="110"/>
                                                                                                        </a:lnTo>
                                                                                                        <a:lnTo>
                                                                                                          <a:pt x="64" y="108"/>
                                                                                                        </a:lnTo>
                                                                                                        <a:lnTo>
                                                                                                          <a:pt x="70" y="108"/>
                                                                                                        </a:lnTo>
                                                                                                        <a:lnTo>
                                                                                                          <a:pt x="76" y="106"/>
                                                                                                        </a:lnTo>
                                                                                                        <a:lnTo>
                                                                                                          <a:pt x="80" y="108"/>
                                                                                                        </a:lnTo>
                                                                                                        <a:lnTo>
                                                                                                          <a:pt x="86" y="114"/>
                                                                                                        </a:lnTo>
                                                                                                        <a:lnTo>
                                                                                                          <a:pt x="86" y="114"/>
                                                                                                        </a:lnTo>
                                                                                                        <a:lnTo>
                                                                                                          <a:pt x="98" y="124"/>
                                                                                                        </a:lnTo>
                                                                                                        <a:lnTo>
                                                                                                          <a:pt x="104" y="128"/>
                                                                                                        </a:lnTo>
                                                                                                        <a:lnTo>
                                                                                                          <a:pt x="108" y="132"/>
                                                                                                        </a:lnTo>
                                                                                                        <a:lnTo>
                                                                                                          <a:pt x="108" y="138"/>
                                                                                                        </a:lnTo>
                                                                                                        <a:lnTo>
                                                                                                          <a:pt x="108" y="138"/>
                                                                                                        </a:lnTo>
                                                                                                        <a:lnTo>
                                                                                                          <a:pt x="108" y="142"/>
                                                                                                        </a:lnTo>
                                                                                                        <a:lnTo>
                                                                                                          <a:pt x="108" y="146"/>
                                                                                                        </a:lnTo>
                                                                                                        <a:lnTo>
                                                                                                          <a:pt x="114" y="156"/>
                                                                                                        </a:lnTo>
                                                                                                        <a:lnTo>
                                                                                                          <a:pt x="122" y="162"/>
                                                                                                        </a:lnTo>
                                                                                                        <a:lnTo>
                                                                                                          <a:pt x="126" y="162"/>
                                                                                                        </a:lnTo>
                                                                                                        <a:lnTo>
                                                                                                          <a:pt x="130" y="162"/>
                                                                                                        </a:lnTo>
                                                                                                        <a:lnTo>
                                                                                                          <a:pt x="130" y="162"/>
                                                                                                        </a:lnTo>
                                                                                                        <a:lnTo>
                                                                                                          <a:pt x="132" y="166"/>
                                                                                                        </a:lnTo>
                                                                                                        <a:lnTo>
                                                                                                          <a:pt x="136" y="168"/>
                                                                                                        </a:lnTo>
                                                                                                        <a:lnTo>
                                                                                                          <a:pt x="138" y="170"/>
                                                                                                        </a:lnTo>
                                                                                                        <a:lnTo>
                                                                                                          <a:pt x="138" y="174"/>
                                                                                                        </a:lnTo>
                                                                                                        <a:lnTo>
                                                                                                          <a:pt x="138" y="174"/>
                                                                                                        </a:lnTo>
                                                                                                        <a:lnTo>
                                                                                                          <a:pt x="140" y="178"/>
                                                                                                        </a:lnTo>
                                                                                                        <a:lnTo>
                                                                                                          <a:pt x="142" y="182"/>
                                                                                                        </a:lnTo>
                                                                                                        <a:lnTo>
                                                                                                          <a:pt x="144" y="184"/>
                                                                                                        </a:lnTo>
                                                                                                        <a:lnTo>
                                                                                                          <a:pt x="142" y="188"/>
                                                                                                        </a:lnTo>
                                                                                                        <a:lnTo>
                                                                                                          <a:pt x="142" y="188"/>
                                                                                                        </a:lnTo>
                                                                                                        <a:lnTo>
                                                                                                          <a:pt x="140" y="192"/>
                                                                                                        </a:lnTo>
                                                                                                        <a:lnTo>
                                                                                                          <a:pt x="140" y="196"/>
                                                                                                        </a:lnTo>
                                                                                                        <a:lnTo>
                                                                                                          <a:pt x="138" y="198"/>
                                                                                                        </a:lnTo>
                                                                                                        <a:lnTo>
                                                                                                          <a:pt x="136" y="202"/>
                                                                                                        </a:lnTo>
                                                                                                        <a:lnTo>
                                                                                                          <a:pt x="136" y="202"/>
                                                                                                        </a:lnTo>
                                                                                                        <a:lnTo>
                                                                                                          <a:pt x="150" y="204"/>
                                                                                                        </a:lnTo>
                                                                                                        <a:lnTo>
                                                                                                          <a:pt x="154" y="206"/>
                                                                                                        </a:lnTo>
                                                                                                        <a:lnTo>
                                                                                                          <a:pt x="156" y="210"/>
                                                                                                        </a:lnTo>
                                                                                                        <a:lnTo>
                                                                                                          <a:pt x="158" y="212"/>
                                                                                                        </a:lnTo>
                                                                                                        <a:lnTo>
                                                                                                          <a:pt x="158" y="212"/>
                                                                                                        </a:lnTo>
                                                                                                        <a:lnTo>
                                                                                                          <a:pt x="160" y="210"/>
                                                                                                        </a:lnTo>
                                                                                                        <a:lnTo>
                                                                                                          <a:pt x="160" y="208"/>
                                                                                                        </a:lnTo>
                                                                                                        <a:lnTo>
                                                                                                          <a:pt x="160" y="202"/>
                                                                                                        </a:lnTo>
                                                                                                        <a:lnTo>
                                                                                                          <a:pt x="158" y="196"/>
                                                                                                        </a:lnTo>
                                                                                                        <a:lnTo>
                                                                                                          <a:pt x="160" y="192"/>
                                                                                                        </a:lnTo>
                                                                                                        <a:lnTo>
                                                                                                          <a:pt x="162" y="190"/>
                                                                                                        </a:lnTo>
                                                                                                        <a:lnTo>
                                                                                                          <a:pt x="162" y="190"/>
                                                                                                        </a:lnTo>
                                                                                                        <a:lnTo>
                                                                                                          <a:pt x="164" y="190"/>
                                                                                                        </a:lnTo>
                                                                                                        <a:lnTo>
                                                                                                          <a:pt x="168" y="192"/>
                                                                                                        </a:lnTo>
                                                                                                        <a:lnTo>
                                                                                                          <a:pt x="176" y="198"/>
                                                                                                        </a:lnTo>
                                                                                                        <a:lnTo>
                                                                                                          <a:pt x="186" y="206"/>
                                                                                                        </a:lnTo>
                                                                                                        <a:lnTo>
                                                                                                          <a:pt x="192" y="210"/>
                                                                                                        </a:lnTo>
                                                                                                        <a:lnTo>
                                                                                                          <a:pt x="198" y="212"/>
                                                                                                        </a:lnTo>
                                                                                                        <a:lnTo>
                                                                                                          <a:pt x="198" y="212"/>
                                                                                                        </a:lnTo>
                                                                                                        <a:lnTo>
                                                                                                          <a:pt x="196" y="204"/>
                                                                                                        </a:lnTo>
                                                                                                        <a:lnTo>
                                                                                                          <a:pt x="192" y="194"/>
                                                                                                        </a:lnTo>
                                                                                                        <a:lnTo>
                                                                                                          <a:pt x="184" y="180"/>
                                                                                                        </a:lnTo>
                                                                                                        <a:lnTo>
                                                                                                          <a:pt x="184" y="180"/>
                                                                                                        </a:lnTo>
                                                                                                        <a:lnTo>
                                                                                                          <a:pt x="182" y="176"/>
                                                                                                        </a:lnTo>
                                                                                                        <a:lnTo>
                                                                                                          <a:pt x="182" y="174"/>
                                                                                                        </a:lnTo>
                                                                                                        <a:lnTo>
                                                                                                          <a:pt x="182" y="166"/>
                                                                                                        </a:lnTo>
                                                                                                        <a:lnTo>
                                                                                                          <a:pt x="180" y="162"/>
                                                                                                        </a:lnTo>
                                                                                                        <a:lnTo>
                                                                                                          <a:pt x="176" y="160"/>
                                                                                                        </a:lnTo>
                                                                                                        <a:lnTo>
                                                                                                          <a:pt x="170" y="156"/>
                                                                                                        </a:lnTo>
                                                                                                        <a:lnTo>
                                                                                                          <a:pt x="160" y="154"/>
                                                                                                        </a:lnTo>
                                                                                                        <a:lnTo>
                                                                                                          <a:pt x="160" y="154"/>
                                                                                                        </a:lnTo>
                                                                                                        <a:lnTo>
                                                                                                          <a:pt x="152" y="150"/>
                                                                                                        </a:lnTo>
                                                                                                        <a:lnTo>
                                                                                                          <a:pt x="146" y="148"/>
                                                                                                        </a:lnTo>
                                                                                                        <a:lnTo>
                                                                                                          <a:pt x="144" y="142"/>
                                                                                                        </a:lnTo>
                                                                                                        <a:lnTo>
                                                                                                          <a:pt x="142" y="138"/>
                                                                                                        </a:lnTo>
                                                                                                        <a:lnTo>
                                                                                                          <a:pt x="140" y="130"/>
                                                                                                        </a:lnTo>
                                                                                                        <a:lnTo>
                                                                                                          <a:pt x="138" y="126"/>
                                                                                                        </a:lnTo>
                                                                                                        <a:lnTo>
                                                                                                          <a:pt x="132" y="122"/>
                                                                                                        </a:lnTo>
                                                                                                        <a:lnTo>
                                                                                                          <a:pt x="132" y="122"/>
                                                                                                        </a:lnTo>
                                                                                                        <a:lnTo>
                                                                                                          <a:pt x="126" y="120"/>
                                                                                                        </a:lnTo>
                                                                                                        <a:lnTo>
                                                                                                          <a:pt x="122" y="116"/>
                                                                                                        </a:lnTo>
                                                                                                        <a:lnTo>
                                                                                                          <a:pt x="118" y="108"/>
                                                                                                        </a:lnTo>
                                                                                                        <a:lnTo>
                                                                                                          <a:pt x="116" y="100"/>
                                                                                                        </a:lnTo>
                                                                                                        <a:lnTo>
                                                                                                          <a:pt x="116" y="98"/>
                                                                                                        </a:lnTo>
                                                                                                        <a:lnTo>
                                                                                                          <a:pt x="114" y="96"/>
                                                                                                        </a:lnTo>
                                                                                                        <a:lnTo>
                                                                                                          <a:pt x="114" y="96"/>
                                                                                                        </a:lnTo>
                                                                                                        <a:lnTo>
                                                                                                          <a:pt x="112" y="94"/>
                                                                                                        </a:lnTo>
                                                                                                        <a:lnTo>
                                                                                                          <a:pt x="110" y="92"/>
                                                                                                        </a:lnTo>
                                                                                                        <a:lnTo>
                                                                                                          <a:pt x="106" y="88"/>
                                                                                                        </a:lnTo>
                                                                                                        <a:lnTo>
                                                                                                          <a:pt x="90" y="82"/>
                                                                                                        </a:lnTo>
                                                                                                        <a:lnTo>
                                                                                                          <a:pt x="90" y="82"/>
                                                                                                        </a:lnTo>
                                                                                                        <a:lnTo>
                                                                                                          <a:pt x="84" y="80"/>
                                                                                                        </a:lnTo>
                                                                                                        <a:lnTo>
                                                                                                          <a:pt x="80" y="76"/>
                                                                                                        </a:lnTo>
                                                                                                        <a:lnTo>
                                                                                                          <a:pt x="80" y="74"/>
                                                                                                        </a:lnTo>
                                                                                                        <a:lnTo>
                                                                                                          <a:pt x="82" y="72"/>
                                                                                                        </a:lnTo>
                                                                                                        <a:lnTo>
                                                                                                          <a:pt x="88" y="68"/>
                                                                                                        </a:lnTo>
                                                                                                        <a:lnTo>
                                                                                                          <a:pt x="94" y="68"/>
                                                                                                        </a:lnTo>
                                                                                                        <a:lnTo>
                                                                                                          <a:pt x="94" y="68"/>
                                                                                                        </a:lnTo>
                                                                                                        <a:lnTo>
                                                                                                          <a:pt x="98" y="68"/>
                                                                                                        </a:lnTo>
                                                                                                        <a:lnTo>
                                                                                                          <a:pt x="102" y="68"/>
                                                                                                        </a:lnTo>
                                                                                                        <a:lnTo>
                                                                                                          <a:pt x="104" y="64"/>
                                                                                                        </a:lnTo>
                                                                                                        <a:lnTo>
                                                                                                          <a:pt x="106" y="58"/>
                                                                                                        </a:lnTo>
                                                                                                        <a:lnTo>
                                                                                                          <a:pt x="106" y="58"/>
                                                                                                        </a:lnTo>
                                                                                                        <a:lnTo>
                                                                                                          <a:pt x="104" y="54"/>
                                                                                                        </a:lnTo>
                                                                                                        <a:lnTo>
                                                                                                          <a:pt x="98" y="46"/>
                                                                                                        </a:lnTo>
                                                                                                        <a:lnTo>
                                                                                                          <a:pt x="98" y="46"/>
                                                                                                        </a:lnTo>
                                                                                                        <a:lnTo>
                                                                                                          <a:pt x="94" y="44"/>
                                                                                                        </a:lnTo>
                                                                                                        <a:lnTo>
                                                                                                          <a:pt x="88" y="42"/>
                                                                                                        </a:lnTo>
                                                                                                        <a:lnTo>
                                                                                                          <a:pt x="68" y="42"/>
                                                                                                        </a:lnTo>
                                                                                                        <a:lnTo>
                                                                                                          <a:pt x="68" y="42"/>
                                                                                                        </a:lnTo>
                                                                                                        <a:lnTo>
                                                                                                          <a:pt x="58" y="40"/>
                                                                                                        </a:lnTo>
                                                                                                        <a:lnTo>
                                                                                                          <a:pt x="50" y="38"/>
                                                                                                        </a:lnTo>
                                                                                                        <a:lnTo>
                                                                                                          <a:pt x="46" y="34"/>
                                                                                                        </a:lnTo>
                                                                                                        <a:lnTo>
                                                                                                          <a:pt x="44" y="32"/>
                                                                                                        </a:lnTo>
                                                                                                        <a:lnTo>
                                                                                                          <a:pt x="44" y="30"/>
                                                                                                        </a:lnTo>
                                                                                                        <a:lnTo>
                                                                                                          <a:pt x="44" y="30"/>
                                                                                                        </a:lnTo>
                                                                                                        <a:lnTo>
                                                                                                          <a:pt x="44" y="26"/>
                                                                                                        </a:lnTo>
                                                                                                        <a:lnTo>
                                                                                                          <a:pt x="44" y="24"/>
                                                                                                        </a:lnTo>
                                                                                                        <a:lnTo>
                                                                                                          <a:pt x="36" y="20"/>
                                                                                                        </a:lnTo>
                                                                                                        <a:lnTo>
                                                                                                          <a:pt x="26" y="12"/>
                                                                                                        </a:lnTo>
                                                                                                        <a:lnTo>
                                                                                                          <a:pt x="22" y="6"/>
                                                                                                        </a:lnTo>
                                                                                                        <a:lnTo>
                                                                                                          <a:pt x="18" y="0"/>
                                                                                                        </a:lnTo>
                                                                                                        <a:lnTo>
                                                                                                          <a:pt x="18" y="0"/>
                                                                                                        </a:lnTo>
                                                                                                        <a:close/>
                                                                                                      </a:path>
                                                                                                    </a:pathLst>
                                                                                                  </a:custGeom>
                                                                                                  <a:grpFill/>
                                                                                                  <a:ln w="63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aseline="-25000" dirty="0">
                                                                                                      <a:solidFill>
                                                                                                        <a:schemeClr val="bg1">
                                                                                                          <a:alpha val="99000"/>
                                                                                                        </a:schemeClr>
                                                                                                      </a:solidFill>
                                                                                                    </a:endParaRPr>
                                                                                                  </a:p>
                                                                                                </p:txBody>
                                                                                              </p:sp>
                                                                                              <p:sp>
                                                                                                <p:nvSpPr>
                                                                                                  <p:cNvPr id="716" name="Nepal"/>
                                                                                                  <p:cNvSpPr>
                                                                                                    <a:spLocks/>
                                                                                                  </p:cNvSpPr>
                                                                                                  <p:nvPr/>
                                                                                                </p:nvSpPr>
                                                                                                <p:spPr bwMode="auto">
                                                                                                  <a:xfrm>
                                                                                                    <a:off x="8237329" y="2541160"/>
                                                                                                    <a:ext cx="270350" cy="139602"/>
                                                                                                  </a:xfrm>
                                                                                                  <a:custGeom>
                                                                                                    <a:avLst/>
                                                                                                    <a:gdLst/>
                                                                                                    <a:ahLst/>
                                                                                                    <a:cxnLst>
                                                                                                      <a:cxn ang="0">
                                                                                                        <a:pos x="24" y="0"/>
                                                                                                      </a:cxn>
                                                                                                      <a:cxn ang="0">
                                                                                                        <a:pos x="36" y="2"/>
                                                                                                      </a:cxn>
                                                                                                      <a:cxn ang="0">
                                                                                                        <a:pos x="48" y="6"/>
                                                                                                      </a:cxn>
                                                                                                      <a:cxn ang="0">
                                                                                                        <a:pos x="52" y="8"/>
                                                                                                      </a:cxn>
                                                                                                      <a:cxn ang="0">
                                                                                                        <a:pos x="58" y="6"/>
                                                                                                      </a:cxn>
                                                                                                      <a:cxn ang="0">
                                                                                                        <a:pos x="70" y="8"/>
                                                                                                      </a:cxn>
                                                                                                      <a:cxn ang="0">
                                                                                                        <a:pos x="76" y="12"/>
                                                                                                      </a:cxn>
                                                                                                      <a:cxn ang="0">
                                                                                                        <a:pos x="100" y="26"/>
                                                                                                      </a:cxn>
                                                                                                      <a:cxn ang="0">
                                                                                                        <a:pos x="110" y="30"/>
                                                                                                      </a:cxn>
                                                                                                      <a:cxn ang="0">
                                                                                                        <a:pos x="112" y="34"/>
                                                                                                      </a:cxn>
                                                                                                      <a:cxn ang="0">
                                                                                                        <a:pos x="118" y="34"/>
                                                                                                      </a:cxn>
                                                                                                      <a:cxn ang="0">
                                                                                                        <a:pos x="126" y="36"/>
                                                                                                      </a:cxn>
                                                                                                      <a:cxn ang="0">
                                                                                                        <a:pos x="128" y="42"/>
                                                                                                      </a:cxn>
                                                                                                      <a:cxn ang="0">
                                                                                                        <a:pos x="132" y="42"/>
                                                                                                      </a:cxn>
                                                                                                      <a:cxn ang="0">
                                                                                                        <a:pos x="156" y="40"/>
                                                                                                      </a:cxn>
                                                                                                      <a:cxn ang="0">
                                                                                                        <a:pos x="176" y="46"/>
                                                                                                      </a:cxn>
                                                                                                      <a:cxn ang="0">
                                                                                                        <a:pos x="178" y="50"/>
                                                                                                      </a:cxn>
                                                                                                      <a:cxn ang="0">
                                                                                                        <a:pos x="172" y="60"/>
                                                                                                      </a:cxn>
                                                                                                      <a:cxn ang="0">
                                                                                                        <a:pos x="164" y="70"/>
                                                                                                      </a:cxn>
                                                                                                      <a:cxn ang="0">
                                                                                                        <a:pos x="166" y="72"/>
                                                                                                      </a:cxn>
                                                                                                      <a:cxn ang="0">
                                                                                                        <a:pos x="168" y="84"/>
                                                                                                      </a:cxn>
                                                                                                      <a:cxn ang="0">
                                                                                                        <a:pos x="164" y="92"/>
                                                                                                      </a:cxn>
                                                                                                      <a:cxn ang="0">
                                                                                                        <a:pos x="156" y="92"/>
                                                                                                      </a:cxn>
                                                                                                      <a:cxn ang="0">
                                                                                                        <a:pos x="150" y="92"/>
                                                                                                      </a:cxn>
                                                                                                      <a:cxn ang="0">
                                                                                                        <a:pos x="146" y="92"/>
                                                                                                      </a:cxn>
                                                                                                      <a:cxn ang="0">
                                                                                                        <a:pos x="138" y="90"/>
                                                                                                      </a:cxn>
                                                                                                      <a:cxn ang="0">
                                                                                                        <a:pos x="128" y="88"/>
                                                                                                      </a:cxn>
                                                                                                      <a:cxn ang="0">
                                                                                                        <a:pos x="122" y="88"/>
                                                                                                      </a:cxn>
                                                                                                      <a:cxn ang="0">
                                                                                                        <a:pos x="116" y="82"/>
                                                                                                      </a:cxn>
                                                                                                      <a:cxn ang="0">
                                                                                                        <a:pos x="112" y="82"/>
                                                                                                      </a:cxn>
                                                                                                      <a:cxn ang="0">
                                                                                                        <a:pos x="110" y="80"/>
                                                                                                      </a:cxn>
                                                                                                      <a:cxn ang="0">
                                                                                                        <a:pos x="102" y="72"/>
                                                                                                      </a:cxn>
                                                                                                      <a:cxn ang="0">
                                                                                                        <a:pos x="84" y="66"/>
                                                                                                      </a:cxn>
                                                                                                      <a:cxn ang="0">
                                                                                                        <a:pos x="76" y="66"/>
                                                                                                      </a:cxn>
                                                                                                      <a:cxn ang="0">
                                                                                                        <a:pos x="74" y="68"/>
                                                                                                      </a:cxn>
                                                                                                      <a:cxn ang="0">
                                                                                                        <a:pos x="70" y="68"/>
                                                                                                      </a:cxn>
                                                                                                      <a:cxn ang="0">
                                                                                                        <a:pos x="58" y="66"/>
                                                                                                      </a:cxn>
                                                                                                      <a:cxn ang="0">
                                                                                                        <a:pos x="54" y="64"/>
                                                                                                      </a:cxn>
                                                                                                      <a:cxn ang="0">
                                                                                                        <a:pos x="54" y="60"/>
                                                                                                      </a:cxn>
                                                                                                      <a:cxn ang="0">
                                                                                                        <a:pos x="40" y="56"/>
                                                                                                      </a:cxn>
                                                                                                      <a:cxn ang="0">
                                                                                                        <a:pos x="24" y="46"/>
                                                                                                      </a:cxn>
                                                                                                      <a:cxn ang="0">
                                                                                                        <a:pos x="20" y="42"/>
                                                                                                      </a:cxn>
                                                                                                      <a:cxn ang="0">
                                                                                                        <a:pos x="10" y="42"/>
                                                                                                      </a:cxn>
                                                                                                      <a:cxn ang="0">
                                                                                                        <a:pos x="4" y="38"/>
                                                                                                      </a:cxn>
                                                                                                      <a:cxn ang="0">
                                                                                                        <a:pos x="2" y="32"/>
                                                                                                      </a:cxn>
                                                                                                      <a:cxn ang="0">
                                                                                                        <a:pos x="14" y="22"/>
                                                                                                      </a:cxn>
                                                                                                      <a:cxn ang="0">
                                                                                                        <a:pos x="18" y="16"/>
                                                                                                      </a:cxn>
                                                                                                      <a:cxn ang="0">
                                                                                                        <a:pos x="16" y="12"/>
                                                                                                      </a:cxn>
                                                                                                      <a:cxn ang="0">
                                                                                                        <a:pos x="18" y="10"/>
                                                                                                      </a:cxn>
                                                                                                      <a:cxn ang="0">
                                                                                                        <a:pos x="24" y="0"/>
                                                                                                      </a:cxn>
                                                                                                    </a:cxnLst>
                                                                                                    <a:rect l="0" t="0" r="r" b="b"/>
                                                                                                    <a:pathLst>
                                                                                                      <a:path w="178" h="92">
                                                                                                        <a:moveTo>
                                                                                                          <a:pt x="24" y="0"/>
                                                                                                        </a:moveTo>
                                                                                                        <a:lnTo>
                                                                                                          <a:pt x="24" y="0"/>
                                                                                                        </a:lnTo>
                                                                                                        <a:lnTo>
                                                                                                          <a:pt x="30" y="2"/>
                                                                                                        </a:lnTo>
                                                                                                        <a:lnTo>
                                                                                                          <a:pt x="36" y="2"/>
                                                                                                        </a:lnTo>
                                                                                                        <a:lnTo>
                                                                                                          <a:pt x="42" y="2"/>
                                                                                                        </a:lnTo>
                                                                                                        <a:lnTo>
                                                                                                          <a:pt x="48" y="6"/>
                                                                                                        </a:lnTo>
                                                                                                        <a:lnTo>
                                                                                                          <a:pt x="48" y="6"/>
                                                                                                        </a:lnTo>
                                                                                                        <a:lnTo>
                                                                                                          <a:pt x="52" y="8"/>
                                                                                                        </a:lnTo>
                                                                                                        <a:lnTo>
                                                                                                          <a:pt x="54" y="8"/>
                                                                                                        </a:lnTo>
                                                                                                        <a:lnTo>
                                                                                                          <a:pt x="58" y="6"/>
                                                                                                        </a:lnTo>
                                                                                                        <a:lnTo>
                                                                                                          <a:pt x="64" y="6"/>
                                                                                                        </a:lnTo>
                                                                                                        <a:lnTo>
                                                                                                          <a:pt x="70" y="8"/>
                                                                                                        </a:lnTo>
                                                                                                        <a:lnTo>
                                                                                                          <a:pt x="76" y="12"/>
                                                                                                        </a:lnTo>
                                                                                                        <a:lnTo>
                                                                                                          <a:pt x="76" y="12"/>
                                                                                                        </a:lnTo>
                                                                                                        <a:lnTo>
                                                                                                          <a:pt x="92" y="22"/>
                                                                                                        </a:lnTo>
                                                                                                        <a:lnTo>
                                                                                                          <a:pt x="100" y="26"/>
                                                                                                        </a:lnTo>
                                                                                                        <a:lnTo>
                                                                                                          <a:pt x="106" y="26"/>
                                                                                                        </a:lnTo>
                                                                                                        <a:lnTo>
                                                                                                          <a:pt x="110" y="30"/>
                                                                                                        </a:lnTo>
                                                                                                        <a:lnTo>
                                                                                                          <a:pt x="110" y="30"/>
                                                                                                        </a:lnTo>
                                                                                                        <a:lnTo>
                                                                                                          <a:pt x="112" y="34"/>
                                                                                                        </a:lnTo>
                                                                                                        <a:lnTo>
                                                                                                          <a:pt x="114" y="36"/>
                                                                                                        </a:lnTo>
                                                                                                        <a:lnTo>
                                                                                                          <a:pt x="118" y="34"/>
                                                                                                        </a:lnTo>
                                                                                                        <a:lnTo>
                                                                                                          <a:pt x="124" y="34"/>
                                                                                                        </a:lnTo>
                                                                                                        <a:lnTo>
                                                                                                          <a:pt x="126" y="36"/>
                                                                                                        </a:lnTo>
                                                                                                        <a:lnTo>
                                                                                                          <a:pt x="128" y="42"/>
                                                                                                        </a:lnTo>
                                                                                                        <a:lnTo>
                                                                                                          <a:pt x="128" y="42"/>
                                                                                                        </a:lnTo>
                                                                                                        <a:lnTo>
                                                                                                          <a:pt x="130" y="42"/>
                                                                                                        </a:lnTo>
                                                                                                        <a:lnTo>
                                                                                                          <a:pt x="132" y="42"/>
                                                                                                        </a:lnTo>
                                                                                                        <a:lnTo>
                                                                                                          <a:pt x="140" y="40"/>
                                                                                                        </a:lnTo>
                                                                                                        <a:lnTo>
                                                                                                          <a:pt x="156" y="40"/>
                                                                                                        </a:lnTo>
                                                                                                        <a:lnTo>
                                                                                                          <a:pt x="164" y="42"/>
                                                                                                        </a:lnTo>
                                                                                                        <a:lnTo>
                                                                                                          <a:pt x="176" y="46"/>
                                                                                                        </a:lnTo>
                                                                                                        <a:lnTo>
                                                                                                          <a:pt x="176" y="46"/>
                                                                                                        </a:lnTo>
                                                                                                        <a:lnTo>
                                                                                                          <a:pt x="178" y="50"/>
                                                                                                        </a:lnTo>
                                                                                                        <a:lnTo>
                                                                                                          <a:pt x="178" y="54"/>
                                                                                                        </a:lnTo>
                                                                                                        <a:lnTo>
                                                                                                          <a:pt x="172" y="60"/>
                                                                                                        </a:lnTo>
                                                                                                        <a:lnTo>
                                                                                                          <a:pt x="166" y="66"/>
                                                                                                        </a:lnTo>
                                                                                                        <a:lnTo>
                                                                                                          <a:pt x="164" y="70"/>
                                                                                                        </a:lnTo>
                                                                                                        <a:lnTo>
                                                                                                          <a:pt x="166" y="72"/>
                                                                                                        </a:lnTo>
                                                                                                        <a:lnTo>
                                                                                                          <a:pt x="166" y="72"/>
                                                                                                        </a:lnTo>
                                                                                                        <a:lnTo>
                                                                                                          <a:pt x="168" y="78"/>
                                                                                                        </a:lnTo>
                                                                                                        <a:lnTo>
                                                                                                          <a:pt x="168" y="84"/>
                                                                                                        </a:lnTo>
                                                                                                        <a:lnTo>
                                                                                                          <a:pt x="166" y="88"/>
                                                                                                        </a:lnTo>
                                                                                                        <a:lnTo>
                                                                                                          <a:pt x="164" y="92"/>
                                                                                                        </a:lnTo>
                                                                                                        <a:lnTo>
                                                                                                          <a:pt x="164" y="92"/>
                                                                                                        </a:lnTo>
                                                                                                        <a:lnTo>
                                                                                                          <a:pt x="156" y="92"/>
                                                                                                        </a:lnTo>
                                                                                                        <a:lnTo>
                                                                                                          <a:pt x="152" y="92"/>
                                                                                                        </a:lnTo>
                                                                                                        <a:lnTo>
                                                                                                          <a:pt x="150" y="92"/>
                                                                                                        </a:lnTo>
                                                                                                        <a:lnTo>
                                                                                                          <a:pt x="146" y="92"/>
                                                                                                        </a:lnTo>
                                                                                                        <a:lnTo>
                                                                                                          <a:pt x="146" y="92"/>
                                                                                                        </a:lnTo>
                                                                                                        <a:lnTo>
                                                                                                          <a:pt x="140" y="92"/>
                                                                                                        </a:lnTo>
                                                                                                        <a:lnTo>
                                                                                                          <a:pt x="138" y="90"/>
                                                                                                        </a:lnTo>
                                                                                                        <a:lnTo>
                                                                                                          <a:pt x="136" y="88"/>
                                                                                                        </a:lnTo>
                                                                                                        <a:lnTo>
                                                                                                          <a:pt x="128" y="88"/>
                                                                                                        </a:lnTo>
                                                                                                        <a:lnTo>
                                                                                                          <a:pt x="128" y="88"/>
                                                                                                        </a:lnTo>
                                                                                                        <a:lnTo>
                                                                                                          <a:pt x="122" y="88"/>
                                                                                                        </a:lnTo>
                                                                                                        <a:lnTo>
                                                                                                          <a:pt x="118" y="84"/>
                                                                                                        </a:lnTo>
                                                                                                        <a:lnTo>
                                                                                                          <a:pt x="116" y="82"/>
                                                                                                        </a:lnTo>
                                                                                                        <a:lnTo>
                                                                                                          <a:pt x="112" y="82"/>
                                                                                                        </a:lnTo>
                                                                                                        <a:lnTo>
                                                                                                          <a:pt x="112" y="82"/>
                                                                                                        </a:lnTo>
                                                                                                        <a:lnTo>
                                                                                                          <a:pt x="110" y="82"/>
                                                                                                        </a:lnTo>
                                                                                                        <a:lnTo>
                                                                                                          <a:pt x="110" y="80"/>
                                                                                                        </a:lnTo>
                                                                                                        <a:lnTo>
                                                                                                          <a:pt x="108" y="76"/>
                                                                                                        </a:lnTo>
                                                                                                        <a:lnTo>
                                                                                                          <a:pt x="102" y="72"/>
                                                                                                        </a:lnTo>
                                                                                                        <a:lnTo>
                                                                                                          <a:pt x="102" y="72"/>
                                                                                                        </a:lnTo>
                                                                                                        <a:lnTo>
                                                                                                          <a:pt x="84" y="66"/>
                                                                                                        </a:lnTo>
                                                                                                        <a:lnTo>
                                                                                                          <a:pt x="78" y="66"/>
                                                                                                        </a:lnTo>
                                                                                                        <a:lnTo>
                                                                                                          <a:pt x="76" y="66"/>
                                                                                                        </a:lnTo>
                                                                                                        <a:lnTo>
                                                                                                          <a:pt x="74" y="68"/>
                                                                                                        </a:lnTo>
                                                                                                        <a:lnTo>
                                                                                                          <a:pt x="74" y="68"/>
                                                                                                        </a:lnTo>
                                                                                                        <a:lnTo>
                                                                                                          <a:pt x="74" y="68"/>
                                                                                                        </a:lnTo>
                                                                                                        <a:lnTo>
                                                                                                          <a:pt x="70" y="68"/>
                                                                                                        </a:lnTo>
                                                                                                        <a:lnTo>
                                                                                                          <a:pt x="58" y="66"/>
                                                                                                        </a:lnTo>
                                                                                                        <a:lnTo>
                                                                                                          <a:pt x="58" y="66"/>
                                                                                                        </a:lnTo>
                                                                                                        <a:lnTo>
                                                                                                          <a:pt x="54" y="66"/>
                                                                                                        </a:lnTo>
                                                                                                        <a:lnTo>
                                                                                                          <a:pt x="54" y="64"/>
                                                                                                        </a:lnTo>
                                                                                                        <a:lnTo>
                                                                                                          <a:pt x="56" y="62"/>
                                                                                                        </a:lnTo>
                                                                                                        <a:lnTo>
                                                                                                          <a:pt x="54" y="60"/>
                                                                                                        </a:lnTo>
                                                                                                        <a:lnTo>
                                                                                                          <a:pt x="54" y="60"/>
                                                                                                        </a:lnTo>
                                                                                                        <a:lnTo>
                                                                                                          <a:pt x="40" y="56"/>
                                                                                                        </a:lnTo>
                                                                                                        <a:lnTo>
                                                                                                          <a:pt x="32" y="52"/>
                                                                                                        </a:lnTo>
                                                                                                        <a:lnTo>
                                                                                                          <a:pt x="24" y="46"/>
                                                                                                        </a:lnTo>
                                                                                                        <a:lnTo>
                                                                                                          <a:pt x="24" y="46"/>
                                                                                                        </a:lnTo>
                                                                                                        <a:lnTo>
                                                                                                          <a:pt x="20" y="42"/>
                                                                                                        </a:lnTo>
                                                                                                        <a:lnTo>
                                                                                                          <a:pt x="16" y="42"/>
                                                                                                        </a:lnTo>
                                                                                                        <a:lnTo>
                                                                                                          <a:pt x="10" y="42"/>
                                                                                                        </a:lnTo>
                                                                                                        <a:lnTo>
                                                                                                          <a:pt x="4" y="38"/>
                                                                                                        </a:lnTo>
                                                                                                        <a:lnTo>
                                                                                                          <a:pt x="4" y="38"/>
                                                                                                        </a:lnTo>
                                                                                                        <a:lnTo>
                                                                                                          <a:pt x="0" y="36"/>
                                                                                                        </a:lnTo>
                                                                                                        <a:lnTo>
                                                                                                          <a:pt x="2" y="32"/>
                                                                                                        </a:lnTo>
                                                                                                        <a:lnTo>
                                                                                                          <a:pt x="8" y="28"/>
                                                                                                        </a:lnTo>
                                                                                                        <a:lnTo>
                                                                                                          <a:pt x="14" y="22"/>
                                                                                                        </a:lnTo>
                                                                                                        <a:lnTo>
                                                                                                          <a:pt x="14" y="22"/>
                                                                                                        </a:lnTo>
                                                                                                        <a:lnTo>
                                                                                                          <a:pt x="18" y="16"/>
                                                                                                        </a:lnTo>
                                                                                                        <a:lnTo>
                                                                                                          <a:pt x="18" y="14"/>
                                                                                                        </a:lnTo>
                                                                                                        <a:lnTo>
                                                                                                          <a:pt x="16" y="12"/>
                                                                                                        </a:lnTo>
                                                                                                        <a:lnTo>
                                                                                                          <a:pt x="18" y="10"/>
                                                                                                        </a:lnTo>
                                                                                                        <a:lnTo>
                                                                                                          <a:pt x="18" y="10"/>
                                                                                                        </a:lnTo>
                                                                                                        <a:lnTo>
                                                                                                          <a:pt x="22" y="2"/>
                                                                                                        </a:lnTo>
                                                                                                        <a:lnTo>
                                                                                                          <a:pt x="24" y="0"/>
                                                                                                        </a:lnTo>
                                                                                                        <a:lnTo>
                                                                                                          <a:pt x="24" y="0"/>
                                                                                                        </a:lnTo>
                                                                                                        <a:close/>
                                                                                                      </a:path>
                                                                                                    </a:pathLst>
                                                                                                  </a:custGeom>
                                                                                                  <a:grpFill/>
                                                                                                  <a:ln w="63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aseline="-25000" dirty="0">
                                                                                                      <a:solidFill>
                                                                                                        <a:schemeClr val="bg1">
                                                                                                          <a:alpha val="99000"/>
                                                                                                        </a:schemeClr>
                                                                                                      </a:solidFill>
                                                                                                    </a:endParaRPr>
                                                                                                  </a:p>
                                                                                                </p:txBody>
                                                                                              </p:sp>
                                                                                              <p:sp>
                                                                                                <p:nvSpPr>
                                                                                                  <p:cNvPr id="763" name="Sri Lanka"/>
                                                                                                  <p:cNvSpPr>
                                                                                                    <a:spLocks/>
                                                                                                  </p:cNvSpPr>
                                                                                                  <p:nvPr/>
                                                                                                </p:nvSpPr>
                                                                                                <p:spPr bwMode="auto">
                                                                                                  <a:xfrm>
                                                                                                    <a:off x="8336083" y="3296262"/>
                                                                                                    <a:ext cx="78979" cy="142637"/>
                                                                                                  </a:xfrm>
                                                                                                  <a:custGeom>
                                                                                                    <a:avLst/>
                                                                                                    <a:gdLst/>
                                                                                                    <a:ahLst/>
                                                                                                    <a:cxnLst>
                                                                                                      <a:cxn ang="0">
                                                                                                        <a:pos x="2" y="2"/>
                                                                                                      </a:cxn>
                                                                                                      <a:cxn ang="0">
                                                                                                        <a:pos x="12" y="2"/>
                                                                                                      </a:cxn>
                                                                                                      <a:cxn ang="0">
                                                                                                        <a:pos x="14" y="2"/>
                                                                                                      </a:cxn>
                                                                                                      <a:cxn ang="0">
                                                                                                        <a:pos x="16" y="6"/>
                                                                                                      </a:cxn>
                                                                                                      <a:cxn ang="0">
                                                                                                        <a:pos x="28" y="18"/>
                                                                                                      </a:cxn>
                                                                                                      <a:cxn ang="0">
                                                                                                        <a:pos x="38" y="34"/>
                                                                                                      </a:cxn>
                                                                                                      <a:cxn ang="0">
                                                                                                        <a:pos x="46" y="46"/>
                                                                                                      </a:cxn>
                                                                                                      <a:cxn ang="0">
                                                                                                        <a:pos x="48" y="48"/>
                                                                                                      </a:cxn>
                                                                                                      <a:cxn ang="0">
                                                                                                        <a:pos x="52" y="66"/>
                                                                                                      </a:cxn>
                                                                                                      <a:cxn ang="0">
                                                                                                        <a:pos x="48" y="82"/>
                                                                                                      </a:cxn>
                                                                                                      <a:cxn ang="0">
                                                                                                        <a:pos x="44" y="84"/>
                                                                                                      </a:cxn>
                                                                                                      <a:cxn ang="0">
                                                                                                        <a:pos x="28" y="94"/>
                                                                                                      </a:cxn>
                                                                                                      <a:cxn ang="0">
                                                                                                        <a:pos x="22" y="94"/>
                                                                                                      </a:cxn>
                                                                                                      <a:cxn ang="0">
                                                                                                        <a:pos x="8" y="86"/>
                                                                                                      </a:cxn>
                                                                                                      <a:cxn ang="0">
                                                                                                        <a:pos x="2" y="76"/>
                                                                                                      </a:cxn>
                                                                                                      <a:cxn ang="0">
                                                                                                        <a:pos x="2" y="74"/>
                                                                                                      </a:cxn>
                                                                                                      <a:cxn ang="0">
                                                                                                        <a:pos x="0" y="60"/>
                                                                                                      </a:cxn>
                                                                                                      <a:cxn ang="0">
                                                                                                        <a:pos x="0" y="46"/>
                                                                                                      </a:cxn>
                                                                                                      <a:cxn ang="0">
                                                                                                        <a:pos x="0" y="46"/>
                                                                                                      </a:cxn>
                                                                                                      <a:cxn ang="0">
                                                                                                        <a:pos x="4" y="50"/>
                                                                                                      </a:cxn>
                                                                                                      <a:cxn ang="0">
                                                                                                        <a:pos x="2" y="46"/>
                                                                                                      </a:cxn>
                                                                                                      <a:cxn ang="0">
                                                                                                        <a:pos x="4" y="40"/>
                                                                                                      </a:cxn>
                                                                                                      <a:cxn ang="0">
                                                                                                        <a:pos x="4" y="36"/>
                                                                                                      </a:cxn>
                                                                                                      <a:cxn ang="0">
                                                                                                        <a:pos x="2" y="30"/>
                                                                                                      </a:cxn>
                                                                                                      <a:cxn ang="0">
                                                                                                        <a:pos x="4" y="28"/>
                                                                                                      </a:cxn>
                                                                                                      <a:cxn ang="0">
                                                                                                        <a:pos x="6" y="22"/>
                                                                                                      </a:cxn>
                                                                                                      <a:cxn ang="0">
                                                                                                        <a:pos x="6" y="18"/>
                                                                                                      </a:cxn>
                                                                                                      <a:cxn ang="0">
                                                                                                        <a:pos x="8" y="16"/>
                                                                                                      </a:cxn>
                                                                                                      <a:cxn ang="0">
                                                                                                        <a:pos x="6" y="12"/>
                                                                                                      </a:cxn>
                                                                                                      <a:cxn ang="0">
                                                                                                        <a:pos x="6" y="10"/>
                                                                                                      </a:cxn>
                                                                                                      <a:cxn ang="0">
                                                                                                        <a:pos x="8" y="6"/>
                                                                                                      </a:cxn>
                                                                                                      <a:cxn ang="0">
                                                                                                        <a:pos x="10" y="6"/>
                                                                                                      </a:cxn>
                                                                                                      <a:cxn ang="0">
                                                                                                        <a:pos x="8" y="4"/>
                                                                                                      </a:cxn>
                                                                                                      <a:cxn ang="0">
                                                                                                        <a:pos x="4" y="6"/>
                                                                                                      </a:cxn>
                                                                                                      <a:cxn ang="0">
                                                                                                        <a:pos x="0" y="6"/>
                                                                                                      </a:cxn>
                                                                                                      <a:cxn ang="0">
                                                                                                        <a:pos x="0" y="4"/>
                                                                                                      </a:cxn>
                                                                                                      <a:cxn ang="0">
                                                                                                        <a:pos x="2" y="2"/>
                                                                                                      </a:cxn>
                                                                                                    </a:cxnLst>
                                                                                                    <a:rect l="0" t="0" r="r" b="b"/>
                                                                                                    <a:pathLst>
                                                                                                      <a:path w="52" h="94">
                                                                                                        <a:moveTo>
                                                                                                          <a:pt x="2" y="2"/>
                                                                                                        </a:moveTo>
                                                                                                        <a:lnTo>
                                                                                                          <a:pt x="2" y="2"/>
                                                                                                        </a:lnTo>
                                                                                                        <a:lnTo>
                                                                                                          <a:pt x="10" y="0"/>
                                                                                                        </a:lnTo>
                                                                                                        <a:lnTo>
                                                                                                          <a:pt x="12" y="2"/>
                                                                                                        </a:lnTo>
                                                                                                        <a:lnTo>
                                                                                                          <a:pt x="14" y="2"/>
                                                                                                        </a:lnTo>
                                                                                                        <a:lnTo>
                                                                                                          <a:pt x="14" y="2"/>
                                                                                                        </a:lnTo>
                                                                                                        <a:lnTo>
                                                                                                          <a:pt x="14" y="4"/>
                                                                                                        </a:lnTo>
                                                                                                        <a:lnTo>
                                                                                                          <a:pt x="16" y="6"/>
                                                                                                        </a:lnTo>
                                                                                                        <a:lnTo>
                                                                                                          <a:pt x="20" y="8"/>
                                                                                                        </a:lnTo>
                                                                                                        <a:lnTo>
                                                                                                          <a:pt x="28" y="18"/>
                                                                                                        </a:lnTo>
                                                                                                        <a:lnTo>
                                                                                                          <a:pt x="28" y="18"/>
                                                                                                        </a:lnTo>
                                                                                                        <a:lnTo>
                                                                                                          <a:pt x="38" y="34"/>
                                                                                                        </a:lnTo>
                                                                                                        <a:lnTo>
                                                                                                          <a:pt x="42" y="40"/>
                                                                                                        </a:lnTo>
                                                                                                        <a:lnTo>
                                                                                                          <a:pt x="46" y="46"/>
                                                                                                        </a:lnTo>
                                                                                                        <a:lnTo>
                                                                                                          <a:pt x="46" y="46"/>
                                                                                                        </a:lnTo>
                                                                                                        <a:lnTo>
                                                                                                          <a:pt x="48" y="48"/>
                                                                                                        </a:lnTo>
                                                                                                        <a:lnTo>
                                                                                                          <a:pt x="50" y="54"/>
                                                                                                        </a:lnTo>
                                                                                                        <a:lnTo>
                                                                                                          <a:pt x="52" y="66"/>
                                                                                                        </a:lnTo>
                                                                                                        <a:lnTo>
                                                                                                          <a:pt x="50" y="78"/>
                                                                                                        </a:lnTo>
                                                                                                        <a:lnTo>
                                                                                                          <a:pt x="48" y="82"/>
                                                                                                        </a:lnTo>
                                                                                                        <a:lnTo>
                                                                                                          <a:pt x="44" y="84"/>
                                                                                                        </a:lnTo>
                                                                                                        <a:lnTo>
                                                                                                          <a:pt x="44" y="84"/>
                                                                                                        </a:lnTo>
                                                                                                        <a:lnTo>
                                                                                                          <a:pt x="32" y="90"/>
                                                                                                        </a:lnTo>
                                                                                                        <a:lnTo>
                                                                                                          <a:pt x="28" y="94"/>
                                                                                                        </a:lnTo>
                                                                                                        <a:lnTo>
                                                                                                          <a:pt x="22" y="94"/>
                                                                                                        </a:lnTo>
                                                                                                        <a:lnTo>
                                                                                                          <a:pt x="22" y="94"/>
                                                                                                        </a:lnTo>
                                                                                                        <a:lnTo>
                                                                                                          <a:pt x="16" y="92"/>
                                                                                                        </a:lnTo>
                                                                                                        <a:lnTo>
                                                                                                          <a:pt x="8" y="86"/>
                                                                                                        </a:lnTo>
                                                                                                        <a:lnTo>
                                                                                                          <a:pt x="4" y="78"/>
                                                                                                        </a:lnTo>
                                                                                                        <a:lnTo>
                                                                                                          <a:pt x="2" y="76"/>
                                                                                                        </a:lnTo>
                                                                                                        <a:lnTo>
                                                                                                          <a:pt x="2" y="74"/>
                                                                                                        </a:lnTo>
                                                                                                        <a:lnTo>
                                                                                                          <a:pt x="2" y="74"/>
                                                                                                        </a:lnTo>
                                                                                                        <a:lnTo>
                                                                                                          <a:pt x="2" y="68"/>
                                                                                                        </a:lnTo>
                                                                                                        <a:lnTo>
                                                                                                          <a:pt x="0" y="60"/>
                                                                                                        </a:lnTo>
                                                                                                        <a:lnTo>
                                                                                                          <a:pt x="0" y="50"/>
                                                                                                        </a:lnTo>
                                                                                                        <a:lnTo>
                                                                                                          <a:pt x="0" y="46"/>
                                                                                                        </a:lnTo>
                                                                                                        <a:lnTo>
                                                                                                          <a:pt x="0" y="46"/>
                                                                                                        </a:lnTo>
                                                                                                        <a:lnTo>
                                                                                                          <a:pt x="0" y="46"/>
                                                                                                        </a:lnTo>
                                                                                                        <a:lnTo>
                                                                                                          <a:pt x="2" y="48"/>
                                                                                                        </a:lnTo>
                                                                                                        <a:lnTo>
                                                                                                          <a:pt x="4" y="50"/>
                                                                                                        </a:lnTo>
                                                                                                        <a:lnTo>
                                                                                                          <a:pt x="4" y="50"/>
                                                                                                        </a:lnTo>
                                                                                                        <a:lnTo>
                                                                                                          <a:pt x="2" y="46"/>
                                                                                                        </a:lnTo>
                                                                                                        <a:lnTo>
                                                                                                          <a:pt x="2" y="42"/>
                                                                                                        </a:lnTo>
                                                                                                        <a:lnTo>
                                                                                                          <a:pt x="4" y="40"/>
                                                                                                        </a:lnTo>
                                                                                                        <a:lnTo>
                                                                                                          <a:pt x="4" y="40"/>
                                                                                                        </a:lnTo>
                                                                                                        <a:lnTo>
                                                                                                          <a:pt x="4" y="36"/>
                                                                                                        </a:lnTo>
                                                                                                        <a:lnTo>
                                                                                                          <a:pt x="4" y="34"/>
                                                                                                        </a:lnTo>
                                                                                                        <a:lnTo>
                                                                                                          <a:pt x="2" y="30"/>
                                                                                                        </a:lnTo>
                                                                                                        <a:lnTo>
                                                                                                          <a:pt x="4" y="28"/>
                                                                                                        </a:lnTo>
                                                                                                        <a:lnTo>
                                                                                                          <a:pt x="4" y="28"/>
                                                                                                        </a:lnTo>
                                                                                                        <a:lnTo>
                                                                                                          <a:pt x="6" y="26"/>
                                                                                                        </a:lnTo>
                                                                                                        <a:lnTo>
                                                                                                          <a:pt x="6" y="22"/>
                                                                                                        </a:lnTo>
                                                                                                        <a:lnTo>
                                                                                                          <a:pt x="6" y="20"/>
                                                                                                        </a:lnTo>
                                                                                                        <a:lnTo>
                                                                                                          <a:pt x="6" y="18"/>
                                                                                                        </a:lnTo>
                                                                                                        <a:lnTo>
                                                                                                          <a:pt x="6" y="18"/>
                                                                                                        </a:lnTo>
                                                                                                        <a:lnTo>
                                                                                                          <a:pt x="8" y="16"/>
                                                                                                        </a:lnTo>
                                                                                                        <a:lnTo>
                                                                                                          <a:pt x="8" y="14"/>
                                                                                                        </a:lnTo>
                                                                                                        <a:lnTo>
                                                                                                          <a:pt x="6" y="12"/>
                                                                                                        </a:lnTo>
                                                                                                        <a:lnTo>
                                                                                                          <a:pt x="6" y="10"/>
                                                                                                        </a:lnTo>
                                                                                                        <a:lnTo>
                                                                                                          <a:pt x="6" y="10"/>
                                                                                                        </a:lnTo>
                                                                                                        <a:lnTo>
                                                                                                          <a:pt x="8" y="8"/>
                                                                                                        </a:lnTo>
                                                                                                        <a:lnTo>
                                                                                                          <a:pt x="8" y="6"/>
                                                                                                        </a:lnTo>
                                                                                                        <a:lnTo>
                                                                                                          <a:pt x="10" y="6"/>
                                                                                                        </a:lnTo>
                                                                                                        <a:lnTo>
                                                                                                          <a:pt x="10" y="6"/>
                                                                                                        </a:lnTo>
                                                                                                        <a:lnTo>
                                                                                                          <a:pt x="12" y="6"/>
                                                                                                        </a:lnTo>
                                                                                                        <a:lnTo>
                                                                                                          <a:pt x="8" y="4"/>
                                                                                                        </a:lnTo>
                                                                                                        <a:lnTo>
                                                                                                          <a:pt x="8" y="4"/>
                                                                                                        </a:lnTo>
                                                                                                        <a:lnTo>
                                                                                                          <a:pt x="4" y="6"/>
                                                                                                        </a:lnTo>
                                                                                                        <a:lnTo>
                                                                                                          <a:pt x="0" y="6"/>
                                                                                                        </a:lnTo>
                                                                                                        <a:lnTo>
                                                                                                          <a:pt x="0" y="6"/>
                                                                                                        </a:lnTo>
                                                                                                        <a:lnTo>
                                                                                                          <a:pt x="0" y="6"/>
                                                                                                        </a:lnTo>
                                                                                                        <a:lnTo>
                                                                                                          <a:pt x="0" y="4"/>
                                                                                                        </a:lnTo>
                                                                                                        <a:lnTo>
                                                                                                          <a:pt x="2" y="2"/>
                                                                                                        </a:lnTo>
                                                                                                        <a:lnTo>
                                                                                                          <a:pt x="2" y="2"/>
                                                                                                        </a:lnTo>
                                                                                                        <a:close/>
                                                                                                      </a:path>
                                                                                                    </a:pathLst>
                                                                                                  </a:custGeom>
                                                                                                  <a:grpFill/>
                                                                                                  <a:ln w="63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aseline="-25000" dirty="0">
                                                                                                      <a:solidFill>
                                                                                                        <a:schemeClr val="bg1">
                                                                                                          <a:alpha val="99000"/>
                                                                                                        </a:schemeClr>
                                                                                                      </a:solidFill>
                                                                                                    </a:endParaRPr>
                                                                                                  </a:p>
                                                                                                </p:txBody>
                                                                                              </p:sp>
                                                                                              <p:sp>
                                                                                                <p:nvSpPr>
                                                                                                  <p:cNvPr id="33" name="Freeform 42"/>
                                                                                                  <p:cNvSpPr>
                                                                                                    <a:spLocks/>
                                                                                                  </p:cNvSpPr>
                                                                                                  <p:nvPr/>
                                                                                                </p:nvSpPr>
                                                                                                <p:spPr bwMode="auto">
                                                                                                  <a:xfrm>
                                                                                                    <a:off x="6158094" y="3855242"/>
                                                                                                    <a:ext cx="42527" cy="63732"/>
                                                                                                  </a:xfrm>
                                                                                                  <a:custGeom>
                                                                                                    <a:avLst/>
                                                                                                    <a:gdLst/>
                                                                                                    <a:ahLst/>
                                                                                                    <a:cxnLst>
                                                                                                      <a:cxn ang="0">
                                                                                                        <a:pos x="0" y="6"/>
                                                                                                      </a:cxn>
                                                                                                      <a:cxn ang="0">
                                                                                                        <a:pos x="0" y="6"/>
                                                                                                      </a:cxn>
                                                                                                      <a:cxn ang="0">
                                                                                                        <a:pos x="2" y="12"/>
                                                                                                      </a:cxn>
                                                                                                      <a:cxn ang="0">
                                                                                                        <a:pos x="4" y="12"/>
                                                                                                      </a:cxn>
                                                                                                      <a:cxn ang="0">
                                                                                                        <a:pos x="6" y="12"/>
                                                                                                      </a:cxn>
                                                                                                      <a:cxn ang="0">
                                                                                                        <a:pos x="6" y="12"/>
                                                                                                      </a:cxn>
                                                                                                      <a:cxn ang="0">
                                                                                                        <a:pos x="10" y="12"/>
                                                                                                      </a:cxn>
                                                                                                      <a:cxn ang="0">
                                                                                                        <a:pos x="10" y="14"/>
                                                                                                      </a:cxn>
                                                                                                      <a:cxn ang="0">
                                                                                                        <a:pos x="10" y="14"/>
                                                                                                      </a:cxn>
                                                                                                      <a:cxn ang="0">
                                                                                                        <a:pos x="6" y="16"/>
                                                                                                      </a:cxn>
                                                                                                      <a:cxn ang="0">
                                                                                                        <a:pos x="6" y="16"/>
                                                                                                      </a:cxn>
                                                                                                      <a:cxn ang="0">
                                                                                                        <a:pos x="4" y="14"/>
                                                                                                      </a:cxn>
                                                                                                      <a:cxn ang="0">
                                                                                                        <a:pos x="2" y="16"/>
                                                                                                      </a:cxn>
                                                                                                      <a:cxn ang="0">
                                                                                                        <a:pos x="4" y="18"/>
                                                                                                      </a:cxn>
                                                                                                      <a:cxn ang="0">
                                                                                                        <a:pos x="8" y="24"/>
                                                                                                      </a:cxn>
                                                                                                      <a:cxn ang="0">
                                                                                                        <a:pos x="8" y="26"/>
                                                                                                      </a:cxn>
                                                                                                      <a:cxn ang="0">
                                                                                                        <a:pos x="8" y="26"/>
                                                                                                      </a:cxn>
                                                                                                      <a:cxn ang="0">
                                                                                                        <a:pos x="8" y="28"/>
                                                                                                      </a:cxn>
                                                                                                      <a:cxn ang="0">
                                                                                                        <a:pos x="10" y="32"/>
                                                                                                      </a:cxn>
                                                                                                      <a:cxn ang="0">
                                                                                                        <a:pos x="10" y="34"/>
                                                                                                      </a:cxn>
                                                                                                      <a:cxn ang="0">
                                                                                                        <a:pos x="10" y="36"/>
                                                                                                      </a:cxn>
                                                                                                      <a:cxn ang="0">
                                                                                                        <a:pos x="10" y="36"/>
                                                                                                      </a:cxn>
                                                                                                      <a:cxn ang="0">
                                                                                                        <a:pos x="8" y="36"/>
                                                                                                      </a:cxn>
                                                                                                      <a:cxn ang="0">
                                                                                                        <a:pos x="8" y="38"/>
                                                                                                      </a:cxn>
                                                                                                      <a:cxn ang="0">
                                                                                                        <a:pos x="12" y="42"/>
                                                                                                      </a:cxn>
                                                                                                      <a:cxn ang="0">
                                                                                                        <a:pos x="12" y="42"/>
                                                                                                      </a:cxn>
                                                                                                      <a:cxn ang="0">
                                                                                                        <a:pos x="18" y="40"/>
                                                                                                      </a:cxn>
                                                                                                      <a:cxn ang="0">
                                                                                                        <a:pos x="22" y="38"/>
                                                                                                      </a:cxn>
                                                                                                      <a:cxn ang="0">
                                                                                                        <a:pos x="18" y="24"/>
                                                                                                      </a:cxn>
                                                                                                      <a:cxn ang="0">
                                                                                                        <a:pos x="18" y="24"/>
                                                                                                      </a:cxn>
                                                                                                      <a:cxn ang="0">
                                                                                                        <a:pos x="18" y="14"/>
                                                                                                      </a:cxn>
                                                                                                      <a:cxn ang="0">
                                                                                                        <a:pos x="22" y="8"/>
                                                                                                      </a:cxn>
                                                                                                      <a:cxn ang="0">
                                                                                                        <a:pos x="24" y="6"/>
                                                                                                      </a:cxn>
                                                                                                      <a:cxn ang="0">
                                                                                                        <a:pos x="28" y="2"/>
                                                                                                      </a:cxn>
                                                                                                      <a:cxn ang="0">
                                                                                                        <a:pos x="28" y="2"/>
                                                                                                      </a:cxn>
                                                                                                      <a:cxn ang="0">
                                                                                                        <a:pos x="24" y="0"/>
                                                                                                      </a:cxn>
                                                                                                      <a:cxn ang="0">
                                                                                                        <a:pos x="20" y="0"/>
                                                                                                      </a:cxn>
                                                                                                      <a:cxn ang="0">
                                                                                                        <a:pos x="18" y="2"/>
                                                                                                      </a:cxn>
                                                                                                      <a:cxn ang="0">
                                                                                                        <a:pos x="18" y="2"/>
                                                                                                      </a:cxn>
                                                                                                      <a:cxn ang="0">
                                                                                                        <a:pos x="16" y="4"/>
                                                                                                      </a:cxn>
                                                                                                      <a:cxn ang="0">
                                                                                                        <a:pos x="14" y="4"/>
                                                                                                      </a:cxn>
                                                                                                      <a:cxn ang="0">
                                                                                                        <a:pos x="12" y="4"/>
                                                                                                      </a:cxn>
                                                                                                      <a:cxn ang="0">
                                                                                                        <a:pos x="10" y="8"/>
                                                                                                      </a:cxn>
                                                                                                      <a:cxn ang="0">
                                                                                                        <a:pos x="10" y="8"/>
                                                                                                      </a:cxn>
                                                                                                      <a:cxn ang="0">
                                                                                                        <a:pos x="8" y="10"/>
                                                                                                      </a:cxn>
                                                                                                      <a:cxn ang="0">
                                                                                                        <a:pos x="8" y="8"/>
                                                                                                      </a:cxn>
                                                                                                      <a:cxn ang="0">
                                                                                                        <a:pos x="6" y="6"/>
                                                                                                      </a:cxn>
                                                                                                      <a:cxn ang="0">
                                                                                                        <a:pos x="0" y="6"/>
                                                                                                      </a:cxn>
                                                                                                      <a:cxn ang="0">
                                                                                                        <a:pos x="0" y="6"/>
                                                                                                      </a:cxn>
                                                                                                    </a:cxnLst>
                                                                                                    <a:rect l="0" t="0" r="r" b="b"/>
                                                                                                    <a:pathLst>
                                                                                                      <a:path w="28" h="42">
                                                                                                        <a:moveTo>
                                                                                                          <a:pt x="0" y="6"/>
                                                                                                        </a:moveTo>
                                                                                                        <a:lnTo>
                                                                                                          <a:pt x="0" y="6"/>
                                                                                                        </a:lnTo>
                                                                                                        <a:lnTo>
                                                                                                          <a:pt x="2" y="12"/>
                                                                                                        </a:lnTo>
                                                                                                        <a:lnTo>
                                                                                                          <a:pt x="4" y="12"/>
                                                                                                        </a:lnTo>
                                                                                                        <a:lnTo>
                                                                                                          <a:pt x="6" y="12"/>
                                                                                                        </a:lnTo>
                                                                                                        <a:lnTo>
                                                                                                          <a:pt x="6" y="12"/>
                                                                                                        </a:lnTo>
                                                                                                        <a:lnTo>
                                                                                                          <a:pt x="10" y="12"/>
                                                                                                        </a:lnTo>
                                                                                                        <a:lnTo>
                                                                                                          <a:pt x="10" y="14"/>
                                                                                                        </a:lnTo>
                                                                                                        <a:lnTo>
                                                                                                          <a:pt x="10" y="14"/>
                                                                                                        </a:lnTo>
                                                                                                        <a:lnTo>
                                                                                                          <a:pt x="6" y="16"/>
                                                                                                        </a:lnTo>
                                                                                                        <a:lnTo>
                                                                                                          <a:pt x="6" y="16"/>
                                                                                                        </a:lnTo>
                                                                                                        <a:lnTo>
                                                                                                          <a:pt x="4" y="14"/>
                                                                                                        </a:lnTo>
                                                                                                        <a:lnTo>
                                                                                                          <a:pt x="2" y="16"/>
                                                                                                        </a:lnTo>
                                                                                                        <a:lnTo>
                                                                                                          <a:pt x="4" y="18"/>
                                                                                                        </a:lnTo>
                                                                                                        <a:lnTo>
                                                                                                          <a:pt x="8" y="24"/>
                                                                                                        </a:lnTo>
                                                                                                        <a:lnTo>
                                                                                                          <a:pt x="8" y="26"/>
                                                                                                        </a:lnTo>
                                                                                                        <a:lnTo>
                                                                                                          <a:pt x="8" y="26"/>
                                                                                                        </a:lnTo>
                                                                                                        <a:lnTo>
                                                                                                          <a:pt x="8" y="28"/>
                                                                                                        </a:lnTo>
                                                                                                        <a:lnTo>
                                                                                                          <a:pt x="10" y="32"/>
                                                                                                        </a:lnTo>
                                                                                                        <a:lnTo>
                                                                                                          <a:pt x="10" y="34"/>
                                                                                                        </a:lnTo>
                                                                                                        <a:lnTo>
                                                                                                          <a:pt x="10" y="36"/>
                                                                                                        </a:lnTo>
                                                                                                        <a:lnTo>
                                                                                                          <a:pt x="10" y="36"/>
                                                                                                        </a:lnTo>
                                                                                                        <a:lnTo>
                                                                                                          <a:pt x="8" y="36"/>
                                                                                                        </a:lnTo>
                                                                                                        <a:lnTo>
                                                                                                          <a:pt x="8" y="38"/>
                                                                                                        </a:lnTo>
                                                                                                        <a:lnTo>
                                                                                                          <a:pt x="12" y="42"/>
                                                                                                        </a:lnTo>
                                                                                                        <a:lnTo>
                                                                                                          <a:pt x="12" y="42"/>
                                                                                                        </a:lnTo>
                                                                                                        <a:lnTo>
                                                                                                          <a:pt x="18" y="40"/>
                                                                                                        </a:lnTo>
                                                                                                        <a:lnTo>
                                                                                                          <a:pt x="22" y="38"/>
                                                                                                        </a:lnTo>
                                                                                                        <a:lnTo>
                                                                                                          <a:pt x="18" y="24"/>
                                                                                                        </a:lnTo>
                                                                                                        <a:lnTo>
                                                                                                          <a:pt x="18" y="24"/>
                                                                                                        </a:lnTo>
                                                                                                        <a:lnTo>
                                                                                                          <a:pt x="18" y="14"/>
                                                                                                        </a:lnTo>
                                                                                                        <a:lnTo>
                                                                                                          <a:pt x="22" y="8"/>
                                                                                                        </a:lnTo>
                                                                                                        <a:lnTo>
                                                                                                          <a:pt x="24" y="6"/>
                                                                                                        </a:lnTo>
                                                                                                        <a:lnTo>
                                                                                                          <a:pt x="28" y="2"/>
                                                                                                        </a:lnTo>
                                                                                                        <a:lnTo>
                                                                                                          <a:pt x="28" y="2"/>
                                                                                                        </a:lnTo>
                                                                                                        <a:lnTo>
                                                                                                          <a:pt x="24" y="0"/>
                                                                                                        </a:lnTo>
                                                                                                        <a:lnTo>
                                                                                                          <a:pt x="20" y="0"/>
                                                                                                        </a:lnTo>
                                                                                                        <a:lnTo>
                                                                                                          <a:pt x="18" y="2"/>
                                                                                                        </a:lnTo>
                                                                                                        <a:lnTo>
                                                                                                          <a:pt x="18" y="2"/>
                                                                                                        </a:lnTo>
                                                                                                        <a:lnTo>
                                                                                                          <a:pt x="16" y="4"/>
                                                                                                        </a:lnTo>
                                                                                                        <a:lnTo>
                                                                                                          <a:pt x="14" y="4"/>
                                                                                                        </a:lnTo>
                                                                                                        <a:lnTo>
                                                                                                          <a:pt x="12" y="4"/>
                                                                                                        </a:lnTo>
                                                                                                        <a:lnTo>
                                                                                                          <a:pt x="10" y="8"/>
                                                                                                        </a:lnTo>
                                                                                                        <a:lnTo>
                                                                                                          <a:pt x="10" y="8"/>
                                                                                                        </a:lnTo>
                                                                                                        <a:lnTo>
                                                                                                          <a:pt x="8" y="10"/>
                                                                                                        </a:lnTo>
                                                                                                        <a:lnTo>
                                                                                                          <a:pt x="8" y="8"/>
                                                                                                        </a:lnTo>
                                                                                                        <a:lnTo>
                                                                                                          <a:pt x="6" y="6"/>
                                                                                                        </a:lnTo>
                                                                                                        <a:lnTo>
                                                                                                          <a:pt x="0" y="6"/>
                                                                                                        </a:lnTo>
                                                                                                        <a:lnTo>
                                                                                                          <a:pt x="0" y="6"/>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baseline="-25000" dirty="0"/>
                                                                                                  </a:p>
                                                                                                </p:txBody>
                                                                                              </p:sp>
                                                                                              <p:sp>
                                                                                                <p:nvSpPr>
                                                                                                  <p:cNvPr id="746" name="Guinea-Bissau"/>
                                                                                                  <p:cNvSpPr>
                                                                                                    <a:spLocks/>
                                                                                                  </p:cNvSpPr>
                                                                                                  <p:nvPr/>
                                                                                                </p:nvSpPr>
                                                                                                <p:spPr bwMode="auto">
                                                                                                  <a:xfrm>
                                                                                                    <a:off x="5261989" y="3196684"/>
                                                                                                    <a:ext cx="82017" cy="57662"/>
                                                                                                  </a:xfrm>
                                                                                                  <a:custGeom>
                                                                                                    <a:avLst/>
                                                                                                    <a:gdLst/>
                                                                                                    <a:ahLst/>
                                                                                                    <a:cxnLst>
                                                                                                      <a:cxn ang="0">
                                                                                                        <a:pos x="28" y="38"/>
                                                                                                      </a:cxn>
                                                                                                      <a:cxn ang="0">
                                                                                                        <a:pos x="34" y="32"/>
                                                                                                      </a:cxn>
                                                                                                      <a:cxn ang="0">
                                                                                                        <a:pos x="38" y="28"/>
                                                                                                      </a:cxn>
                                                                                                      <a:cxn ang="0">
                                                                                                        <a:pos x="44" y="26"/>
                                                                                                      </a:cxn>
                                                                                                      <a:cxn ang="0">
                                                                                                        <a:pos x="48" y="26"/>
                                                                                                      </a:cxn>
                                                                                                      <a:cxn ang="0">
                                                                                                        <a:pos x="54" y="18"/>
                                                                                                      </a:cxn>
                                                                                                      <a:cxn ang="0">
                                                                                                        <a:pos x="52" y="14"/>
                                                                                                      </a:cxn>
                                                                                                      <a:cxn ang="0">
                                                                                                        <a:pos x="52" y="10"/>
                                                                                                      </a:cxn>
                                                                                                      <a:cxn ang="0">
                                                                                                        <a:pos x="54" y="2"/>
                                                                                                      </a:cxn>
                                                                                                      <a:cxn ang="0">
                                                                                                        <a:pos x="38" y="0"/>
                                                                                                      </a:cxn>
                                                                                                      <a:cxn ang="0">
                                                                                                        <a:pos x="32" y="0"/>
                                                                                                      </a:cxn>
                                                                                                      <a:cxn ang="0">
                                                                                                        <a:pos x="14" y="4"/>
                                                                                                      </a:cxn>
                                                                                                      <a:cxn ang="0">
                                                                                                        <a:pos x="6" y="4"/>
                                                                                                      </a:cxn>
                                                                                                      <a:cxn ang="0">
                                                                                                        <a:pos x="4" y="8"/>
                                                                                                      </a:cxn>
                                                                                                      <a:cxn ang="0">
                                                                                                        <a:pos x="0" y="10"/>
                                                                                                      </a:cxn>
                                                                                                      <a:cxn ang="0">
                                                                                                        <a:pos x="8" y="10"/>
                                                                                                      </a:cxn>
                                                                                                      <a:cxn ang="0">
                                                                                                        <a:pos x="2" y="14"/>
                                                                                                      </a:cxn>
                                                                                                      <a:cxn ang="0">
                                                                                                        <a:pos x="6" y="16"/>
                                                                                                      </a:cxn>
                                                                                                      <a:cxn ang="0">
                                                                                                        <a:pos x="10" y="18"/>
                                                                                                      </a:cxn>
                                                                                                      <a:cxn ang="0">
                                                                                                        <a:pos x="12" y="16"/>
                                                                                                      </a:cxn>
                                                                                                      <a:cxn ang="0">
                                                                                                        <a:pos x="14" y="16"/>
                                                                                                      </a:cxn>
                                                                                                      <a:cxn ang="0">
                                                                                                        <a:pos x="14" y="18"/>
                                                                                                      </a:cxn>
                                                                                                      <a:cxn ang="0">
                                                                                                        <a:pos x="12" y="20"/>
                                                                                                      </a:cxn>
                                                                                                      <a:cxn ang="0">
                                                                                                        <a:pos x="16" y="20"/>
                                                                                                      </a:cxn>
                                                                                                      <a:cxn ang="0">
                                                                                                        <a:pos x="26" y="16"/>
                                                                                                      </a:cxn>
                                                                                                      <a:cxn ang="0">
                                                                                                        <a:pos x="30" y="18"/>
                                                                                                      </a:cxn>
                                                                                                      <a:cxn ang="0">
                                                                                                        <a:pos x="26" y="18"/>
                                                                                                      </a:cxn>
                                                                                                      <a:cxn ang="0">
                                                                                                        <a:pos x="14" y="22"/>
                                                                                                      </a:cxn>
                                                                                                      <a:cxn ang="0">
                                                                                                        <a:pos x="16" y="24"/>
                                                                                                      </a:cxn>
                                                                                                      <a:cxn ang="0">
                                                                                                        <a:pos x="18" y="26"/>
                                                                                                      </a:cxn>
                                                                                                      <a:cxn ang="0">
                                                                                                        <a:pos x="20" y="26"/>
                                                                                                      </a:cxn>
                                                                                                      <a:cxn ang="0">
                                                                                                        <a:pos x="22" y="24"/>
                                                                                                      </a:cxn>
                                                                                                      <a:cxn ang="0">
                                                                                                        <a:pos x="28" y="20"/>
                                                                                                      </a:cxn>
                                                                                                      <a:cxn ang="0">
                                                                                                        <a:pos x="26" y="24"/>
                                                                                                      </a:cxn>
                                                                                                      <a:cxn ang="0">
                                                                                                        <a:pos x="28" y="28"/>
                                                                                                      </a:cxn>
                                                                                                      <a:cxn ang="0">
                                                                                                        <a:pos x="26" y="26"/>
                                                                                                      </a:cxn>
                                                                                                      <a:cxn ang="0">
                                                                                                        <a:pos x="22" y="28"/>
                                                                                                      </a:cxn>
                                                                                                      <a:cxn ang="0">
                                                                                                        <a:pos x="22" y="32"/>
                                                                                                      </a:cxn>
                                                                                                      <a:cxn ang="0">
                                                                                                        <a:pos x="24" y="34"/>
                                                                                                      </a:cxn>
                                                                                                      <a:cxn ang="0">
                                                                                                        <a:pos x="28" y="38"/>
                                                                                                      </a:cxn>
                                                                                                    </a:cxnLst>
                                                                                                    <a:rect l="0" t="0" r="r" b="b"/>
                                                                                                    <a:pathLst>
                                                                                                      <a:path w="54" h="38">
                                                                                                        <a:moveTo>
                                                                                                          <a:pt x="28" y="38"/>
                                                                                                        </a:moveTo>
                                                                                                        <a:lnTo>
                                                                                                          <a:pt x="28" y="38"/>
                                                                                                        </a:lnTo>
                                                                                                        <a:lnTo>
                                                                                                          <a:pt x="30" y="34"/>
                                                                                                        </a:lnTo>
                                                                                                        <a:lnTo>
                                                                                                          <a:pt x="34" y="32"/>
                                                                                                        </a:lnTo>
                                                                                                        <a:lnTo>
                                                                                                          <a:pt x="34" y="32"/>
                                                                                                        </a:lnTo>
                                                                                                        <a:lnTo>
                                                                                                          <a:pt x="38" y="28"/>
                                                                                                        </a:lnTo>
                                                                                                        <a:lnTo>
                                                                                                          <a:pt x="42" y="26"/>
                                                                                                        </a:lnTo>
                                                                                                        <a:lnTo>
                                                                                                          <a:pt x="44" y="26"/>
                                                                                                        </a:lnTo>
                                                                                                        <a:lnTo>
                                                                                                          <a:pt x="44" y="26"/>
                                                                                                        </a:lnTo>
                                                                                                        <a:lnTo>
                                                                                                          <a:pt x="48" y="26"/>
                                                                                                        </a:lnTo>
                                                                                                        <a:lnTo>
                                                                                                          <a:pt x="52" y="22"/>
                                                                                                        </a:lnTo>
                                                                                                        <a:lnTo>
                                                                                                          <a:pt x="54" y="18"/>
                                                                                                        </a:lnTo>
                                                                                                        <a:lnTo>
                                                                                                          <a:pt x="52" y="14"/>
                                                                                                        </a:lnTo>
                                                                                                        <a:lnTo>
                                                                                                          <a:pt x="52" y="14"/>
                                                                                                        </a:lnTo>
                                                                                                        <a:lnTo>
                                                                                                          <a:pt x="50" y="12"/>
                                                                                                        </a:lnTo>
                                                                                                        <a:lnTo>
                                                                                                          <a:pt x="52" y="10"/>
                                                                                                        </a:lnTo>
                                                                                                        <a:lnTo>
                                                                                                          <a:pt x="54" y="8"/>
                                                                                                        </a:lnTo>
                                                                                                        <a:lnTo>
                                                                                                          <a:pt x="54" y="2"/>
                                                                                                        </a:lnTo>
                                                                                                        <a:lnTo>
                                                                                                          <a:pt x="54" y="2"/>
                                                                                                        </a:lnTo>
                                                                                                        <a:lnTo>
                                                                                                          <a:pt x="38" y="0"/>
                                                                                                        </a:lnTo>
                                                                                                        <a:lnTo>
                                                                                                          <a:pt x="38" y="0"/>
                                                                                                        </a:lnTo>
                                                                                                        <a:lnTo>
                                                                                                          <a:pt x="32" y="0"/>
                                                                                                        </a:lnTo>
                                                                                                        <a:lnTo>
                                                                                                          <a:pt x="26" y="2"/>
                                                                                                        </a:lnTo>
                                                                                                        <a:lnTo>
                                                                                                          <a:pt x="14" y="4"/>
                                                                                                        </a:lnTo>
                                                                                                        <a:lnTo>
                                                                                                          <a:pt x="14" y="4"/>
                                                                                                        </a:lnTo>
                                                                                                        <a:lnTo>
                                                                                                          <a:pt x="6" y="4"/>
                                                                                                        </a:lnTo>
                                                                                                        <a:lnTo>
                                                                                                          <a:pt x="4" y="6"/>
                                                                                                        </a:lnTo>
                                                                                                        <a:lnTo>
                                                                                                          <a:pt x="4" y="8"/>
                                                                                                        </a:lnTo>
                                                                                                        <a:lnTo>
                                                                                                          <a:pt x="0" y="10"/>
                                                                                                        </a:lnTo>
                                                                                                        <a:lnTo>
                                                                                                          <a:pt x="0" y="10"/>
                                                                                                        </a:lnTo>
                                                                                                        <a:lnTo>
                                                                                                          <a:pt x="2" y="12"/>
                                                                                                        </a:lnTo>
                                                                                                        <a:lnTo>
                                                                                                          <a:pt x="8" y="10"/>
                                                                                                        </a:lnTo>
                                                                                                        <a:lnTo>
                                                                                                          <a:pt x="8" y="10"/>
                                                                                                        </a:lnTo>
                                                                                                        <a:lnTo>
                                                                                                          <a:pt x="2" y="14"/>
                                                                                                        </a:lnTo>
                                                                                                        <a:lnTo>
                                                                                                          <a:pt x="4" y="14"/>
                                                                                                        </a:lnTo>
                                                                                                        <a:lnTo>
                                                                                                          <a:pt x="6" y="16"/>
                                                                                                        </a:lnTo>
                                                                                                        <a:lnTo>
                                                                                                          <a:pt x="6" y="16"/>
                                                                                                        </a:lnTo>
                                                                                                        <a:lnTo>
                                                                                                          <a:pt x="10" y="18"/>
                                                                                                        </a:lnTo>
                                                                                                        <a:lnTo>
                                                                                                          <a:pt x="12" y="16"/>
                                                                                                        </a:lnTo>
                                                                                                        <a:lnTo>
                                                                                                          <a:pt x="12" y="16"/>
                                                                                                        </a:lnTo>
                                                                                                        <a:lnTo>
                                                                                                          <a:pt x="14" y="16"/>
                                                                                                        </a:lnTo>
                                                                                                        <a:lnTo>
                                                                                                          <a:pt x="14" y="16"/>
                                                                                                        </a:lnTo>
                                                                                                        <a:lnTo>
                                                                                                          <a:pt x="14" y="16"/>
                                                                                                        </a:lnTo>
                                                                                                        <a:lnTo>
                                                                                                          <a:pt x="14" y="18"/>
                                                                                                        </a:lnTo>
                                                                                                        <a:lnTo>
                                                                                                          <a:pt x="12" y="18"/>
                                                                                                        </a:lnTo>
                                                                                                        <a:lnTo>
                                                                                                          <a:pt x="12" y="20"/>
                                                                                                        </a:lnTo>
                                                                                                        <a:lnTo>
                                                                                                          <a:pt x="12" y="20"/>
                                                                                                        </a:lnTo>
                                                                                                        <a:lnTo>
                                                                                                          <a:pt x="16" y="20"/>
                                                                                                        </a:lnTo>
                                                                                                        <a:lnTo>
                                                                                                          <a:pt x="20" y="18"/>
                                                                                                        </a:lnTo>
                                                                                                        <a:lnTo>
                                                                                                          <a:pt x="26" y="16"/>
                                                                                                        </a:lnTo>
                                                                                                        <a:lnTo>
                                                                                                          <a:pt x="30" y="18"/>
                                                                                                        </a:lnTo>
                                                                                                        <a:lnTo>
                                                                                                          <a:pt x="30" y="18"/>
                                                                                                        </a:lnTo>
                                                                                                        <a:lnTo>
                                                                                                          <a:pt x="30" y="18"/>
                                                                                                        </a:lnTo>
                                                                                                        <a:lnTo>
                                                                                                          <a:pt x="26" y="18"/>
                                                                                                        </a:lnTo>
                                                                                                        <a:lnTo>
                                                                                                          <a:pt x="22" y="20"/>
                                                                                                        </a:lnTo>
                                                                                                        <a:lnTo>
                                                                                                          <a:pt x="14" y="22"/>
                                                                                                        </a:lnTo>
                                                                                                        <a:lnTo>
                                                                                                          <a:pt x="14" y="22"/>
                                                                                                        </a:lnTo>
                                                                                                        <a:lnTo>
                                                                                                          <a:pt x="16" y="24"/>
                                                                                                        </a:lnTo>
                                                                                                        <a:lnTo>
                                                                                                          <a:pt x="16" y="26"/>
                                                                                                        </a:lnTo>
                                                                                                        <a:lnTo>
                                                                                                          <a:pt x="18" y="26"/>
                                                                                                        </a:lnTo>
                                                                                                        <a:lnTo>
                                                                                                          <a:pt x="20" y="26"/>
                                                                                                        </a:lnTo>
                                                                                                        <a:lnTo>
                                                                                                          <a:pt x="20" y="26"/>
                                                                                                        </a:lnTo>
                                                                                                        <a:lnTo>
                                                                                                          <a:pt x="20" y="26"/>
                                                                                                        </a:lnTo>
                                                                                                        <a:lnTo>
                                                                                                          <a:pt x="22" y="24"/>
                                                                                                        </a:lnTo>
                                                                                                        <a:lnTo>
                                                                                                          <a:pt x="24" y="22"/>
                                                                                                        </a:lnTo>
                                                                                                        <a:lnTo>
                                                                                                          <a:pt x="28" y="20"/>
                                                                                                        </a:lnTo>
                                                                                                        <a:lnTo>
                                                                                                          <a:pt x="28" y="20"/>
                                                                                                        </a:lnTo>
                                                                                                        <a:lnTo>
                                                                                                          <a:pt x="26" y="24"/>
                                                                                                        </a:lnTo>
                                                                                                        <a:lnTo>
                                                                                                          <a:pt x="26" y="26"/>
                                                                                                        </a:lnTo>
                                                                                                        <a:lnTo>
                                                                                                          <a:pt x="28" y="28"/>
                                                                                                        </a:lnTo>
                                                                                                        <a:lnTo>
                                                                                                          <a:pt x="26" y="26"/>
                                                                                                        </a:lnTo>
                                                                                                        <a:lnTo>
                                                                                                          <a:pt x="26" y="26"/>
                                                                                                        </a:lnTo>
                                                                                                        <a:lnTo>
                                                                                                          <a:pt x="24" y="26"/>
                                                                                                        </a:lnTo>
                                                                                                        <a:lnTo>
                                                                                                          <a:pt x="22" y="28"/>
                                                                                                        </a:lnTo>
                                                                                                        <a:lnTo>
                                                                                                          <a:pt x="22" y="32"/>
                                                                                                        </a:lnTo>
                                                                                                        <a:lnTo>
                                                                                                          <a:pt x="22" y="32"/>
                                                                                                        </a:lnTo>
                                                                                                        <a:lnTo>
                                                                                                          <a:pt x="24" y="32"/>
                                                                                                        </a:lnTo>
                                                                                                        <a:lnTo>
                                                                                                          <a:pt x="24" y="34"/>
                                                                                                        </a:lnTo>
                                                                                                        <a:lnTo>
                                                                                                          <a:pt x="24" y="36"/>
                                                                                                        </a:lnTo>
                                                                                                        <a:lnTo>
                                                                                                          <a:pt x="28" y="38"/>
                                                                                                        </a:lnTo>
                                                                                                        <a:lnTo>
                                                                                                          <a:pt x="28" y="38"/>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baseline="-25000" dirty="0"/>
                                                                                                  </a:p>
                                                                                                </p:txBody>
                                                                                              </p:sp>
                                                                                              <p:sp>
                                                                                                <p:nvSpPr>
                                                                                                  <p:cNvPr id="559" name="Burkina Faso"/>
                                                                                                  <p:cNvSpPr>
                                                                                                    <a:spLocks/>
                                                                                                  </p:cNvSpPr>
                                                                                                  <p:nvPr/>
                                                                                                </p:nvSpPr>
                                                                                                <p:spPr bwMode="auto">
                                                                                                  <a:xfrm>
                                                                                                    <a:off x="5614356" y="3108674"/>
                                                                                                    <a:ext cx="243012" cy="203334"/>
                                                                                                  </a:xfrm>
                                                                                                  <a:custGeom>
                                                                                                    <a:avLst/>
                                                                                                    <a:gdLst/>
                                                                                                    <a:ahLst/>
                                                                                                    <a:cxnLst>
                                                                                                      <a:cxn ang="0">
                                                                                                        <a:pos x="116" y="14"/>
                                                                                                      </a:cxn>
                                                                                                      <a:cxn ang="0">
                                                                                                        <a:pos x="124" y="32"/>
                                                                                                      </a:cxn>
                                                                                                      <a:cxn ang="0">
                                                                                                        <a:pos x="132" y="34"/>
                                                                                                      </a:cxn>
                                                                                                      <a:cxn ang="0">
                                                                                                        <a:pos x="128" y="40"/>
                                                                                                      </a:cxn>
                                                                                                      <a:cxn ang="0">
                                                                                                        <a:pos x="134" y="50"/>
                                                                                                      </a:cxn>
                                                                                                      <a:cxn ang="0">
                                                                                                        <a:pos x="150" y="58"/>
                                                                                                      </a:cxn>
                                                                                                      <a:cxn ang="0">
                                                                                                        <a:pos x="156" y="60"/>
                                                                                                      </a:cxn>
                                                                                                      <a:cxn ang="0">
                                                                                                        <a:pos x="156" y="62"/>
                                                                                                      </a:cxn>
                                                                                                      <a:cxn ang="0">
                                                                                                        <a:pos x="160" y="72"/>
                                                                                                      </a:cxn>
                                                                                                      <a:cxn ang="0">
                                                                                                        <a:pos x="144" y="78"/>
                                                                                                      </a:cxn>
                                                                                                      <a:cxn ang="0">
                                                                                                        <a:pos x="140" y="86"/>
                                                                                                      </a:cxn>
                                                                                                      <a:cxn ang="0">
                                                                                                        <a:pos x="134" y="90"/>
                                                                                                      </a:cxn>
                                                                                                      <a:cxn ang="0">
                                                                                                        <a:pos x="132" y="96"/>
                                                                                                      </a:cxn>
                                                                                                      <a:cxn ang="0">
                                                                                                        <a:pos x="128" y="96"/>
                                                                                                      </a:cxn>
                                                                                                      <a:cxn ang="0">
                                                                                                        <a:pos x="120" y="96"/>
                                                                                                      </a:cxn>
                                                                                                      <a:cxn ang="0">
                                                                                                        <a:pos x="106" y="94"/>
                                                                                                      </a:cxn>
                                                                                                      <a:cxn ang="0">
                                                                                                        <a:pos x="100" y="96"/>
                                                                                                      </a:cxn>
                                                                                                      <a:cxn ang="0">
                                                                                                        <a:pos x="84" y="98"/>
                                                                                                      </a:cxn>
                                                                                                      <a:cxn ang="0">
                                                                                                        <a:pos x="54" y="100"/>
                                                                                                      </a:cxn>
                                                                                                      <a:cxn ang="0">
                                                                                                        <a:pos x="52" y="110"/>
                                                                                                      </a:cxn>
                                                                                                      <a:cxn ang="0">
                                                                                                        <a:pos x="54" y="116"/>
                                                                                                      </a:cxn>
                                                                                                      <a:cxn ang="0">
                                                                                                        <a:pos x="56" y="122"/>
                                                                                                      </a:cxn>
                                                                                                      <a:cxn ang="0">
                                                                                                        <a:pos x="56" y="134"/>
                                                                                                      </a:cxn>
                                                                                                      <a:cxn ang="0">
                                                                                                        <a:pos x="48" y="128"/>
                                                                                                      </a:cxn>
                                                                                                      <a:cxn ang="0">
                                                                                                        <a:pos x="44" y="128"/>
                                                                                                      </a:cxn>
                                                                                                      <a:cxn ang="0">
                                                                                                        <a:pos x="34" y="128"/>
                                                                                                      </a:cxn>
                                                                                                      <a:cxn ang="0">
                                                                                                        <a:pos x="18" y="130"/>
                                                                                                      </a:cxn>
                                                                                                      <a:cxn ang="0">
                                                                                                        <a:pos x="8" y="126"/>
                                                                                                      </a:cxn>
                                                                                                      <a:cxn ang="0">
                                                                                                        <a:pos x="0" y="114"/>
                                                                                                      </a:cxn>
                                                                                                      <a:cxn ang="0">
                                                                                                        <a:pos x="6" y="92"/>
                                                                                                      </a:cxn>
                                                                                                      <a:cxn ang="0">
                                                                                                        <a:pos x="10" y="86"/>
                                                                                                      </a:cxn>
                                                                                                      <a:cxn ang="0">
                                                                                                        <a:pos x="6" y="82"/>
                                                                                                      </a:cxn>
                                                                                                      <a:cxn ang="0">
                                                                                                        <a:pos x="12" y="76"/>
                                                                                                      </a:cxn>
                                                                                                      <a:cxn ang="0">
                                                                                                        <a:pos x="32" y="58"/>
                                                                                                      </a:cxn>
                                                                                                      <a:cxn ang="0">
                                                                                                        <a:pos x="30" y="54"/>
                                                                                                      </a:cxn>
                                                                                                      <a:cxn ang="0">
                                                                                                        <a:pos x="38" y="48"/>
                                                                                                      </a:cxn>
                                                                                                      <a:cxn ang="0">
                                                                                                        <a:pos x="38" y="44"/>
                                                                                                      </a:cxn>
                                                                                                      <a:cxn ang="0">
                                                                                                        <a:pos x="46" y="30"/>
                                                                                                      </a:cxn>
                                                                                                      <a:cxn ang="0">
                                                                                                        <a:pos x="52" y="30"/>
                                                                                                      </a:cxn>
                                                                                                      <a:cxn ang="0">
                                                                                                        <a:pos x="70" y="24"/>
                                                                                                      </a:cxn>
                                                                                                      <a:cxn ang="0">
                                                                                                        <a:pos x="70" y="22"/>
                                                                                                      </a:cxn>
                                                                                                      <a:cxn ang="0">
                                                                                                        <a:pos x="74" y="18"/>
                                                                                                      </a:cxn>
                                                                                                      <a:cxn ang="0">
                                                                                                        <a:pos x="86" y="6"/>
                                                                                                      </a:cxn>
                                                                                                      <a:cxn ang="0">
                                                                                                        <a:pos x="98" y="2"/>
                                                                                                      </a:cxn>
                                                                                                      <a:cxn ang="0">
                                                                                                        <a:pos x="102" y="0"/>
                                                                                                      </a:cxn>
                                                                                                    </a:cxnLst>
                                                                                                    <a:rect l="0" t="0" r="r" b="b"/>
                                                                                                    <a:pathLst>
                                                                                                      <a:path w="160" h="134">
                                                                                                        <a:moveTo>
                                                                                                          <a:pt x="116" y="4"/>
                                                                                                        </a:moveTo>
                                                                                                        <a:lnTo>
                                                                                                          <a:pt x="116" y="4"/>
                                                                                                        </a:lnTo>
                                                                                                        <a:lnTo>
                                                                                                          <a:pt x="116" y="14"/>
                                                                                                        </a:lnTo>
                                                                                                        <a:lnTo>
                                                                                                          <a:pt x="118" y="22"/>
                                                                                                        </a:lnTo>
                                                                                                        <a:lnTo>
                                                                                                          <a:pt x="122" y="30"/>
                                                                                                        </a:lnTo>
                                                                                                        <a:lnTo>
                                                                                                          <a:pt x="124" y="32"/>
                                                                                                        </a:lnTo>
                                                                                                        <a:lnTo>
                                                                                                          <a:pt x="128" y="34"/>
                                                                                                        </a:lnTo>
                                                                                                        <a:lnTo>
                                                                                                          <a:pt x="128" y="34"/>
                                                                                                        </a:lnTo>
                                                                                                        <a:lnTo>
                                                                                                          <a:pt x="132" y="34"/>
                                                                                                        </a:lnTo>
                                                                                                        <a:lnTo>
                                                                                                          <a:pt x="132" y="36"/>
                                                                                                        </a:lnTo>
                                                                                                        <a:lnTo>
                                                                                                          <a:pt x="128" y="40"/>
                                                                                                        </a:lnTo>
                                                                                                        <a:lnTo>
                                                                                                          <a:pt x="128" y="40"/>
                                                                                                        </a:lnTo>
                                                                                                        <a:lnTo>
                                                                                                          <a:pt x="126" y="42"/>
                                                                                                        </a:lnTo>
                                                                                                        <a:lnTo>
                                                                                                          <a:pt x="126" y="44"/>
                                                                                                        </a:lnTo>
                                                                                                        <a:lnTo>
                                                                                                          <a:pt x="134" y="50"/>
                                                                                                        </a:lnTo>
                                                                                                        <a:lnTo>
                                                                                                          <a:pt x="134" y="50"/>
                                                                                                        </a:lnTo>
                                                                                                        <a:lnTo>
                                                                                                          <a:pt x="144" y="56"/>
                                                                                                        </a:lnTo>
                                                                                                        <a:lnTo>
                                                                                                          <a:pt x="150" y="58"/>
                                                                                                        </a:lnTo>
                                                                                                        <a:lnTo>
                                                                                                          <a:pt x="152" y="58"/>
                                                                                                        </a:lnTo>
                                                                                                        <a:lnTo>
                                                                                                          <a:pt x="156" y="60"/>
                                                                                                        </a:lnTo>
                                                                                                        <a:lnTo>
                                                                                                          <a:pt x="156" y="60"/>
                                                                                                        </a:lnTo>
                                                                                                        <a:lnTo>
                                                                                                          <a:pt x="158" y="62"/>
                                                                                                        </a:lnTo>
                                                                                                        <a:lnTo>
                                                                                                          <a:pt x="156" y="62"/>
                                                                                                        </a:lnTo>
                                                                                                        <a:lnTo>
                                                                                                          <a:pt x="156" y="62"/>
                                                                                                        </a:lnTo>
                                                                                                        <a:lnTo>
                                                                                                          <a:pt x="154" y="64"/>
                                                                                                        </a:lnTo>
                                                                                                        <a:lnTo>
                                                                                                          <a:pt x="160" y="72"/>
                                                                                                        </a:lnTo>
                                                                                                        <a:lnTo>
                                                                                                          <a:pt x="160" y="72"/>
                                                                                                        </a:lnTo>
                                                                                                        <a:lnTo>
                                                                                                          <a:pt x="154" y="76"/>
                                                                                                        </a:lnTo>
                                                                                                        <a:lnTo>
                                                                                                          <a:pt x="150" y="76"/>
                                                                                                        </a:lnTo>
                                                                                                        <a:lnTo>
                                                                                                          <a:pt x="144" y="78"/>
                                                                                                        </a:lnTo>
                                                                                                        <a:lnTo>
                                                                                                          <a:pt x="142" y="82"/>
                                                                                                        </a:lnTo>
                                                                                                        <a:lnTo>
                                                                                                          <a:pt x="142" y="82"/>
                                                                                                        </a:lnTo>
                                                                                                        <a:lnTo>
                                                                                                          <a:pt x="140" y="86"/>
                                                                                                        </a:lnTo>
                                                                                                        <a:lnTo>
                                                                                                          <a:pt x="136" y="88"/>
                                                                                                        </a:lnTo>
                                                                                                        <a:lnTo>
                                                                                                          <a:pt x="136" y="90"/>
                                                                                                        </a:lnTo>
                                                                                                        <a:lnTo>
                                                                                                          <a:pt x="134" y="90"/>
                                                                                                        </a:lnTo>
                                                                                                        <a:lnTo>
                                                                                                          <a:pt x="134" y="90"/>
                                                                                                        </a:lnTo>
                                                                                                        <a:lnTo>
                                                                                                          <a:pt x="134" y="98"/>
                                                                                                        </a:lnTo>
                                                                                                        <a:lnTo>
                                                                                                          <a:pt x="132" y="96"/>
                                                                                                        </a:lnTo>
                                                                                                        <a:lnTo>
                                                                                                          <a:pt x="132" y="96"/>
                                                                                                        </a:lnTo>
                                                                                                        <a:lnTo>
                                                                                                          <a:pt x="128" y="96"/>
                                                                                                        </a:lnTo>
                                                                                                        <a:lnTo>
                                                                                                          <a:pt x="128" y="96"/>
                                                                                                        </a:lnTo>
                                                                                                        <a:lnTo>
                                                                                                          <a:pt x="126" y="98"/>
                                                                                                        </a:lnTo>
                                                                                                        <a:lnTo>
                                                                                                          <a:pt x="124" y="98"/>
                                                                                                        </a:lnTo>
                                                                                                        <a:lnTo>
                                                                                                          <a:pt x="120" y="96"/>
                                                                                                        </a:lnTo>
                                                                                                        <a:lnTo>
                                                                                                          <a:pt x="110" y="96"/>
                                                                                                        </a:lnTo>
                                                                                                        <a:lnTo>
                                                                                                          <a:pt x="110" y="96"/>
                                                                                                        </a:lnTo>
                                                                                                        <a:lnTo>
                                                                                                          <a:pt x="106" y="94"/>
                                                                                                        </a:lnTo>
                                                                                                        <a:lnTo>
                                                                                                          <a:pt x="104" y="94"/>
                                                                                                        </a:lnTo>
                                                                                                        <a:lnTo>
                                                                                                          <a:pt x="102" y="94"/>
                                                                                                        </a:lnTo>
                                                                                                        <a:lnTo>
                                                                                                          <a:pt x="100" y="96"/>
                                                                                                        </a:lnTo>
                                                                                                        <a:lnTo>
                                                                                                          <a:pt x="100" y="96"/>
                                                                                                        </a:lnTo>
                                                                                                        <a:lnTo>
                                                                                                          <a:pt x="94" y="98"/>
                                                                                                        </a:lnTo>
                                                                                                        <a:lnTo>
                                                                                                          <a:pt x="84" y="98"/>
                                                                                                        </a:lnTo>
                                                                                                        <a:lnTo>
                                                                                                          <a:pt x="58" y="98"/>
                                                                                                        </a:lnTo>
                                                                                                        <a:lnTo>
                                                                                                          <a:pt x="58" y="98"/>
                                                                                                        </a:lnTo>
                                                                                                        <a:lnTo>
                                                                                                          <a:pt x="54" y="100"/>
                                                                                                        </a:lnTo>
                                                                                                        <a:lnTo>
                                                                                                          <a:pt x="52" y="104"/>
                                                                                                        </a:lnTo>
                                                                                                        <a:lnTo>
                                                                                                          <a:pt x="52" y="108"/>
                                                                                                        </a:lnTo>
                                                                                                        <a:lnTo>
                                                                                                          <a:pt x="52" y="110"/>
                                                                                                        </a:lnTo>
                                                                                                        <a:lnTo>
                                                                                                          <a:pt x="52" y="110"/>
                                                                                                        </a:lnTo>
                                                                                                        <a:lnTo>
                                                                                                          <a:pt x="54" y="114"/>
                                                                                                        </a:lnTo>
                                                                                                        <a:lnTo>
                                                                                                          <a:pt x="54" y="116"/>
                                                                                                        </a:lnTo>
                                                                                                        <a:lnTo>
                                                                                                          <a:pt x="54" y="118"/>
                                                                                                        </a:lnTo>
                                                                                                        <a:lnTo>
                                                                                                          <a:pt x="56" y="122"/>
                                                                                                        </a:lnTo>
                                                                                                        <a:lnTo>
                                                                                                          <a:pt x="56" y="122"/>
                                                                                                        </a:lnTo>
                                                                                                        <a:lnTo>
                                                                                                          <a:pt x="60" y="130"/>
                                                                                                        </a:lnTo>
                                                                                                        <a:lnTo>
                                                                                                          <a:pt x="60" y="132"/>
                                                                                                        </a:lnTo>
                                                                                                        <a:lnTo>
                                                                                                          <a:pt x="56" y="134"/>
                                                                                                        </a:lnTo>
                                                                                                        <a:lnTo>
                                                                                                          <a:pt x="56" y="134"/>
                                                                                                        </a:lnTo>
                                                                                                        <a:lnTo>
                                                                                                          <a:pt x="52" y="132"/>
                                                                                                        </a:lnTo>
                                                                                                        <a:lnTo>
                                                                                                          <a:pt x="48" y="128"/>
                                                                                                        </a:lnTo>
                                                                                                        <a:lnTo>
                                                                                                          <a:pt x="46" y="128"/>
                                                                                                        </a:lnTo>
                                                                                                        <a:lnTo>
                                                                                                          <a:pt x="44" y="128"/>
                                                                                                        </a:lnTo>
                                                                                                        <a:lnTo>
                                                                                                          <a:pt x="44" y="128"/>
                                                                                                        </a:lnTo>
                                                                                                        <a:lnTo>
                                                                                                          <a:pt x="42" y="130"/>
                                                                                                        </a:lnTo>
                                                                                                        <a:lnTo>
                                                                                                          <a:pt x="38" y="128"/>
                                                                                                        </a:lnTo>
                                                                                                        <a:lnTo>
                                                                                                          <a:pt x="34" y="128"/>
                                                                                                        </a:lnTo>
                                                                                                        <a:lnTo>
                                                                                                          <a:pt x="30" y="128"/>
                                                                                                        </a:lnTo>
                                                                                                        <a:lnTo>
                                                                                                          <a:pt x="30" y="128"/>
                                                                                                        </a:lnTo>
                                                                                                        <a:lnTo>
                                                                                                          <a:pt x="18" y="130"/>
                                                                                                        </a:lnTo>
                                                                                                        <a:lnTo>
                                                                                                          <a:pt x="12" y="130"/>
                                                                                                        </a:lnTo>
                                                                                                        <a:lnTo>
                                                                                                          <a:pt x="12" y="130"/>
                                                                                                        </a:lnTo>
                                                                                                        <a:lnTo>
                                                                                                          <a:pt x="8" y="126"/>
                                                                                                        </a:lnTo>
                                                                                                        <a:lnTo>
                                                                                                          <a:pt x="8" y="122"/>
                                                                                                        </a:lnTo>
                                                                                                        <a:lnTo>
                                                                                                          <a:pt x="6" y="118"/>
                                                                                                        </a:lnTo>
                                                                                                        <a:lnTo>
                                                                                                          <a:pt x="0" y="114"/>
                                                                                                        </a:lnTo>
                                                                                                        <a:lnTo>
                                                                                                          <a:pt x="0" y="114"/>
                                                                                                        </a:lnTo>
                                                                                                        <a:lnTo>
                                                                                                          <a:pt x="4" y="98"/>
                                                                                                        </a:lnTo>
                                                                                                        <a:lnTo>
                                                                                                          <a:pt x="6" y="92"/>
                                                                                                        </a:lnTo>
                                                                                                        <a:lnTo>
                                                                                                          <a:pt x="10" y="90"/>
                                                                                                        </a:lnTo>
                                                                                                        <a:lnTo>
                                                                                                          <a:pt x="10" y="86"/>
                                                                                                        </a:lnTo>
                                                                                                        <a:lnTo>
                                                                                                          <a:pt x="10" y="86"/>
                                                                                                        </a:lnTo>
                                                                                                        <a:lnTo>
                                                                                                          <a:pt x="8" y="82"/>
                                                                                                        </a:lnTo>
                                                                                                        <a:lnTo>
                                                                                                          <a:pt x="6" y="82"/>
                                                                                                        </a:lnTo>
                                                                                                        <a:lnTo>
                                                                                                          <a:pt x="6" y="82"/>
                                                                                                        </a:lnTo>
                                                                                                        <a:lnTo>
                                                                                                          <a:pt x="6" y="80"/>
                                                                                                        </a:lnTo>
                                                                                                        <a:lnTo>
                                                                                                          <a:pt x="12" y="76"/>
                                                                                                        </a:lnTo>
                                                                                                        <a:lnTo>
                                                                                                          <a:pt x="12" y="76"/>
                                                                                                        </a:lnTo>
                                                                                                        <a:lnTo>
                                                                                                          <a:pt x="28" y="66"/>
                                                                                                        </a:lnTo>
                                                                                                        <a:lnTo>
                                                                                                          <a:pt x="32" y="60"/>
                                                                                                        </a:lnTo>
                                                                                                        <a:lnTo>
                                                                                                          <a:pt x="32" y="58"/>
                                                                                                        </a:lnTo>
                                                                                                        <a:lnTo>
                                                                                                          <a:pt x="32" y="56"/>
                                                                                                        </a:lnTo>
                                                                                                        <a:lnTo>
                                                                                                          <a:pt x="32" y="56"/>
                                                                                                        </a:lnTo>
                                                                                                        <a:lnTo>
                                                                                                          <a:pt x="30" y="54"/>
                                                                                                        </a:lnTo>
                                                                                                        <a:lnTo>
                                                                                                          <a:pt x="30" y="52"/>
                                                                                                        </a:lnTo>
                                                                                                        <a:lnTo>
                                                                                                          <a:pt x="34" y="52"/>
                                                                                                        </a:lnTo>
                                                                                                        <a:lnTo>
                                                                                                          <a:pt x="38" y="48"/>
                                                                                                        </a:lnTo>
                                                                                                        <a:lnTo>
                                                                                                          <a:pt x="38" y="46"/>
                                                                                                        </a:lnTo>
                                                                                                        <a:lnTo>
                                                                                                          <a:pt x="38" y="44"/>
                                                                                                        </a:lnTo>
                                                                                                        <a:lnTo>
                                                                                                          <a:pt x="38" y="44"/>
                                                                                                        </a:lnTo>
                                                                                                        <a:lnTo>
                                                                                                          <a:pt x="38" y="40"/>
                                                                                                        </a:lnTo>
                                                                                                        <a:lnTo>
                                                                                                          <a:pt x="40" y="34"/>
                                                                                                        </a:lnTo>
                                                                                                        <a:lnTo>
                                                                                                          <a:pt x="46" y="30"/>
                                                                                                        </a:lnTo>
                                                                                                        <a:lnTo>
                                                                                                          <a:pt x="50" y="30"/>
                                                                                                        </a:lnTo>
                                                                                                        <a:lnTo>
                                                                                                          <a:pt x="52" y="30"/>
                                                                                                        </a:lnTo>
                                                                                                        <a:lnTo>
                                                                                                          <a:pt x="52" y="30"/>
                                                                                                        </a:lnTo>
                                                                                                        <a:lnTo>
                                                                                                          <a:pt x="60" y="30"/>
                                                                                                        </a:lnTo>
                                                                                                        <a:lnTo>
                                                                                                          <a:pt x="68" y="28"/>
                                                                                                        </a:lnTo>
                                                                                                        <a:lnTo>
                                                                                                          <a:pt x="70" y="24"/>
                                                                                                        </a:lnTo>
                                                                                                        <a:lnTo>
                                                                                                          <a:pt x="72" y="24"/>
                                                                                                        </a:lnTo>
                                                                                                        <a:lnTo>
                                                                                                          <a:pt x="70" y="22"/>
                                                                                                        </a:lnTo>
                                                                                                        <a:lnTo>
                                                                                                          <a:pt x="70" y="22"/>
                                                                                                        </a:lnTo>
                                                                                                        <a:lnTo>
                                                                                                          <a:pt x="66" y="20"/>
                                                                                                        </a:lnTo>
                                                                                                        <a:lnTo>
                                                                                                          <a:pt x="70" y="20"/>
                                                                                                        </a:lnTo>
                                                                                                        <a:lnTo>
                                                                                                          <a:pt x="74" y="18"/>
                                                                                                        </a:lnTo>
                                                                                                        <a:lnTo>
                                                                                                          <a:pt x="80" y="14"/>
                                                                                                        </a:lnTo>
                                                                                                        <a:lnTo>
                                                                                                          <a:pt x="80" y="14"/>
                                                                                                        </a:lnTo>
                                                                                                        <a:lnTo>
                                                                                                          <a:pt x="86" y="6"/>
                                                                                                        </a:lnTo>
                                                                                                        <a:lnTo>
                                                                                                          <a:pt x="90" y="6"/>
                                                                                                        </a:lnTo>
                                                                                                        <a:lnTo>
                                                                                                          <a:pt x="94" y="6"/>
                                                                                                        </a:lnTo>
                                                                                                        <a:lnTo>
                                                                                                          <a:pt x="98" y="2"/>
                                                                                                        </a:lnTo>
                                                                                                        <a:lnTo>
                                                                                                          <a:pt x="98" y="2"/>
                                                                                                        </a:lnTo>
                                                                                                        <a:lnTo>
                                                                                                          <a:pt x="100" y="0"/>
                                                                                                        </a:lnTo>
                                                                                                        <a:lnTo>
                                                                                                          <a:pt x="102" y="0"/>
                                                                                                        </a:lnTo>
                                                                                                        <a:lnTo>
                                                                                                          <a:pt x="116" y="4"/>
                                                                                                        </a:lnTo>
                                                                                                        <a:lnTo>
                                                                                                          <a:pt x="116" y="4"/>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baseline="-25000" dirty="0">
                                                                                                      <a:solidFill>
                                                                                                        <a:schemeClr val="tx1"/>
                                                                                                      </a:solidFill>
                                                                                                    </a:endParaRPr>
                                                                                                  </a:p>
                                                                                                </p:txBody>
                                                                                              </p:sp>
                                                                                              <p:sp>
                                                                                                <p:nvSpPr>
                                                                                                  <p:cNvPr id="560" name="Burundi"/>
                                                                                                  <p:cNvSpPr>
                                                                                                    <a:spLocks/>
                                                                                                  </p:cNvSpPr>
                                                                                                  <p:nvPr/>
                                                                                                </p:nvSpPr>
                                                                                                <p:spPr bwMode="auto">
                                                                                                  <a:xfrm>
                                                                                                    <a:off x="6723095" y="3776336"/>
                                                                                                    <a:ext cx="63791" cy="91045"/>
                                                                                                  </a:xfrm>
                                                                                                  <a:custGeom>
                                                                                                    <a:avLst/>
                                                                                                    <a:gdLst/>
                                                                                                    <a:ahLst/>
                                                                                                    <a:cxnLst>
                                                                                                      <a:cxn ang="0">
                                                                                                        <a:pos x="14" y="42"/>
                                                                                                      </a:cxn>
                                                                                                      <a:cxn ang="0">
                                                                                                        <a:pos x="14" y="42"/>
                                                                                                      </a:cxn>
                                                                                                      <a:cxn ang="0">
                                                                                                        <a:pos x="16" y="56"/>
                                                                                                      </a:cxn>
                                                                                                      <a:cxn ang="0">
                                                                                                        <a:pos x="20" y="60"/>
                                                                                                      </a:cxn>
                                                                                                      <a:cxn ang="0">
                                                                                                        <a:pos x="20" y="60"/>
                                                                                                      </a:cxn>
                                                                                                      <a:cxn ang="0">
                                                                                                        <a:pos x="28" y="50"/>
                                                                                                      </a:cxn>
                                                                                                      <a:cxn ang="0">
                                                                                                        <a:pos x="34" y="42"/>
                                                                                                      </a:cxn>
                                                                                                      <a:cxn ang="0">
                                                                                                        <a:pos x="36" y="36"/>
                                                                                                      </a:cxn>
                                                                                                      <a:cxn ang="0">
                                                                                                        <a:pos x="38" y="30"/>
                                                                                                      </a:cxn>
                                                                                                      <a:cxn ang="0">
                                                                                                        <a:pos x="38" y="30"/>
                                                                                                      </a:cxn>
                                                                                                      <a:cxn ang="0">
                                                                                                        <a:pos x="38" y="26"/>
                                                                                                      </a:cxn>
                                                                                                      <a:cxn ang="0">
                                                                                                        <a:pos x="40" y="24"/>
                                                                                                      </a:cxn>
                                                                                                      <a:cxn ang="0">
                                                                                                        <a:pos x="42" y="20"/>
                                                                                                      </a:cxn>
                                                                                                      <a:cxn ang="0">
                                                                                                        <a:pos x="42" y="14"/>
                                                                                                      </a:cxn>
                                                                                                      <a:cxn ang="0">
                                                                                                        <a:pos x="42" y="14"/>
                                                                                                      </a:cxn>
                                                                                                      <a:cxn ang="0">
                                                                                                        <a:pos x="40" y="14"/>
                                                                                                      </a:cxn>
                                                                                                      <a:cxn ang="0">
                                                                                                        <a:pos x="38" y="12"/>
                                                                                                      </a:cxn>
                                                                                                      <a:cxn ang="0">
                                                                                                        <a:pos x="32" y="12"/>
                                                                                                      </a:cxn>
                                                                                                      <a:cxn ang="0">
                                                                                                        <a:pos x="30" y="10"/>
                                                                                                      </a:cxn>
                                                                                                      <a:cxn ang="0">
                                                                                                        <a:pos x="28" y="8"/>
                                                                                                      </a:cxn>
                                                                                                      <a:cxn ang="0">
                                                                                                        <a:pos x="28" y="6"/>
                                                                                                      </a:cxn>
                                                                                                      <a:cxn ang="0">
                                                                                                        <a:pos x="32" y="2"/>
                                                                                                      </a:cxn>
                                                                                                      <a:cxn ang="0">
                                                                                                        <a:pos x="32" y="2"/>
                                                                                                      </a:cxn>
                                                                                                      <a:cxn ang="0">
                                                                                                        <a:pos x="26" y="0"/>
                                                                                                      </a:cxn>
                                                                                                      <a:cxn ang="0">
                                                                                                        <a:pos x="22" y="0"/>
                                                                                                      </a:cxn>
                                                                                                      <a:cxn ang="0">
                                                                                                        <a:pos x="16" y="0"/>
                                                                                                      </a:cxn>
                                                                                                      <a:cxn ang="0">
                                                                                                        <a:pos x="16" y="2"/>
                                                                                                      </a:cxn>
                                                                                                      <a:cxn ang="0">
                                                                                                        <a:pos x="16" y="6"/>
                                                                                                      </a:cxn>
                                                                                                      <a:cxn ang="0">
                                                                                                        <a:pos x="16" y="6"/>
                                                                                                      </a:cxn>
                                                                                                      <a:cxn ang="0">
                                                                                                        <a:pos x="16" y="12"/>
                                                                                                      </a:cxn>
                                                                                                      <a:cxn ang="0">
                                                                                                        <a:pos x="14" y="12"/>
                                                                                                      </a:cxn>
                                                                                                      <a:cxn ang="0">
                                                                                                        <a:pos x="8" y="10"/>
                                                                                                      </a:cxn>
                                                                                                      <a:cxn ang="0">
                                                                                                        <a:pos x="4" y="10"/>
                                                                                                      </a:cxn>
                                                                                                      <a:cxn ang="0">
                                                                                                        <a:pos x="0" y="10"/>
                                                                                                      </a:cxn>
                                                                                                      <a:cxn ang="0">
                                                                                                        <a:pos x="0" y="10"/>
                                                                                                      </a:cxn>
                                                                                                      <a:cxn ang="0">
                                                                                                        <a:pos x="6" y="34"/>
                                                                                                      </a:cxn>
                                                                                                      <a:cxn ang="0">
                                                                                                        <a:pos x="8" y="38"/>
                                                                                                      </a:cxn>
                                                                                                      <a:cxn ang="0">
                                                                                                        <a:pos x="10" y="40"/>
                                                                                                      </a:cxn>
                                                                                                      <a:cxn ang="0">
                                                                                                        <a:pos x="12" y="40"/>
                                                                                                      </a:cxn>
                                                                                                      <a:cxn ang="0">
                                                                                                        <a:pos x="12" y="40"/>
                                                                                                      </a:cxn>
                                                                                                      <a:cxn ang="0">
                                                                                                        <a:pos x="14" y="42"/>
                                                                                                      </a:cxn>
                                                                                                      <a:cxn ang="0">
                                                                                                        <a:pos x="14" y="42"/>
                                                                                                      </a:cxn>
                                                                                                    </a:cxnLst>
                                                                                                    <a:rect l="0" t="0" r="r" b="b"/>
                                                                                                    <a:pathLst>
                                                                                                      <a:path w="42" h="60">
                                                                                                        <a:moveTo>
                                                                                                          <a:pt x="14" y="42"/>
                                                                                                        </a:moveTo>
                                                                                                        <a:lnTo>
                                                                                                          <a:pt x="14" y="42"/>
                                                                                                        </a:lnTo>
                                                                                                        <a:lnTo>
                                                                                                          <a:pt x="16" y="56"/>
                                                                                                        </a:lnTo>
                                                                                                        <a:lnTo>
                                                                                                          <a:pt x="20" y="60"/>
                                                                                                        </a:lnTo>
                                                                                                        <a:lnTo>
                                                                                                          <a:pt x="20" y="60"/>
                                                                                                        </a:lnTo>
                                                                                                        <a:lnTo>
                                                                                                          <a:pt x="28" y="50"/>
                                                                                                        </a:lnTo>
                                                                                                        <a:lnTo>
                                                                                                          <a:pt x="34" y="42"/>
                                                                                                        </a:lnTo>
                                                                                                        <a:lnTo>
                                                                                                          <a:pt x="36" y="36"/>
                                                                                                        </a:lnTo>
                                                                                                        <a:lnTo>
                                                                                                          <a:pt x="38" y="30"/>
                                                                                                        </a:lnTo>
                                                                                                        <a:lnTo>
                                                                                                          <a:pt x="38" y="30"/>
                                                                                                        </a:lnTo>
                                                                                                        <a:lnTo>
                                                                                                          <a:pt x="38" y="26"/>
                                                                                                        </a:lnTo>
                                                                                                        <a:lnTo>
                                                                                                          <a:pt x="40" y="24"/>
                                                                                                        </a:lnTo>
                                                                                                        <a:lnTo>
                                                                                                          <a:pt x="42" y="20"/>
                                                                                                        </a:lnTo>
                                                                                                        <a:lnTo>
                                                                                                          <a:pt x="42" y="14"/>
                                                                                                        </a:lnTo>
                                                                                                        <a:lnTo>
                                                                                                          <a:pt x="42" y="14"/>
                                                                                                        </a:lnTo>
                                                                                                        <a:lnTo>
                                                                                                          <a:pt x="40" y="14"/>
                                                                                                        </a:lnTo>
                                                                                                        <a:lnTo>
                                                                                                          <a:pt x="38" y="12"/>
                                                                                                        </a:lnTo>
                                                                                                        <a:lnTo>
                                                                                                          <a:pt x="32" y="12"/>
                                                                                                        </a:lnTo>
                                                                                                        <a:lnTo>
                                                                                                          <a:pt x="30" y="10"/>
                                                                                                        </a:lnTo>
                                                                                                        <a:lnTo>
                                                                                                          <a:pt x="28" y="8"/>
                                                                                                        </a:lnTo>
                                                                                                        <a:lnTo>
                                                                                                          <a:pt x="28" y="6"/>
                                                                                                        </a:lnTo>
                                                                                                        <a:lnTo>
                                                                                                          <a:pt x="32" y="2"/>
                                                                                                        </a:lnTo>
                                                                                                        <a:lnTo>
                                                                                                          <a:pt x="32" y="2"/>
                                                                                                        </a:lnTo>
                                                                                                        <a:lnTo>
                                                                                                          <a:pt x="26" y="0"/>
                                                                                                        </a:lnTo>
                                                                                                        <a:lnTo>
                                                                                                          <a:pt x="22" y="0"/>
                                                                                                        </a:lnTo>
                                                                                                        <a:lnTo>
                                                                                                          <a:pt x="16" y="0"/>
                                                                                                        </a:lnTo>
                                                                                                        <a:lnTo>
                                                                                                          <a:pt x="16" y="2"/>
                                                                                                        </a:lnTo>
                                                                                                        <a:lnTo>
                                                                                                          <a:pt x="16" y="6"/>
                                                                                                        </a:lnTo>
                                                                                                        <a:lnTo>
                                                                                                          <a:pt x="16" y="6"/>
                                                                                                        </a:lnTo>
                                                                                                        <a:lnTo>
                                                                                                          <a:pt x="16" y="12"/>
                                                                                                        </a:lnTo>
                                                                                                        <a:lnTo>
                                                                                                          <a:pt x="14" y="12"/>
                                                                                                        </a:lnTo>
                                                                                                        <a:lnTo>
                                                                                                          <a:pt x="8" y="10"/>
                                                                                                        </a:lnTo>
                                                                                                        <a:lnTo>
                                                                                                          <a:pt x="4" y="10"/>
                                                                                                        </a:lnTo>
                                                                                                        <a:lnTo>
                                                                                                          <a:pt x="0" y="10"/>
                                                                                                        </a:lnTo>
                                                                                                        <a:lnTo>
                                                                                                          <a:pt x="0" y="10"/>
                                                                                                        </a:lnTo>
                                                                                                        <a:lnTo>
                                                                                                          <a:pt x="6" y="34"/>
                                                                                                        </a:lnTo>
                                                                                                        <a:lnTo>
                                                                                                          <a:pt x="8" y="38"/>
                                                                                                        </a:lnTo>
                                                                                                        <a:lnTo>
                                                                                                          <a:pt x="10" y="40"/>
                                                                                                        </a:lnTo>
                                                                                                        <a:lnTo>
                                                                                                          <a:pt x="12" y="40"/>
                                                                                                        </a:lnTo>
                                                                                                        <a:lnTo>
                                                                                                          <a:pt x="12" y="40"/>
                                                                                                        </a:lnTo>
                                                                                                        <a:lnTo>
                                                                                                          <a:pt x="14" y="42"/>
                                                                                                        </a:lnTo>
                                                                                                        <a:lnTo>
                                                                                                          <a:pt x="14" y="42"/>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baseline="-25000" dirty="0">
                                                                                                      <a:solidFill>
                                                                                                        <a:schemeClr val="tx1"/>
                                                                                                      </a:solidFill>
                                                                                                    </a:endParaRPr>
                                                                                                  </a:p>
                                                                                                </p:txBody>
                                                                                              </p:sp>
                                                                                              <p:sp>
                                                                                                <p:nvSpPr>
                                                                                                  <p:cNvPr id="646" name="Guinea"/>
                                                                                                  <p:cNvSpPr>
                                                                                                    <a:spLocks/>
                                                                                                  </p:cNvSpPr>
                                                                                                  <p:nvPr/>
                                                                                                </p:nvSpPr>
                                                                                                <p:spPr bwMode="auto">
                                                                                                  <a:xfrm>
                                                                                                    <a:off x="5304516" y="3199719"/>
                                                                                                    <a:ext cx="233898" cy="203334"/>
                                                                                                  </a:xfrm>
                                                                                                  <a:custGeom>
                                                                                                    <a:avLst/>
                                                                                                    <a:gdLst/>
                                                                                                    <a:ahLst/>
                                                                                                    <a:cxnLst>
                                                                                                      <a:cxn ang="0">
                                                                                                        <a:pos x="134" y="126"/>
                                                                                                      </a:cxn>
                                                                                                      <a:cxn ang="0">
                                                                                                        <a:pos x="126" y="134"/>
                                                                                                      </a:cxn>
                                                                                                      <a:cxn ang="0">
                                                                                                        <a:pos x="120" y="130"/>
                                                                                                      </a:cxn>
                                                                                                      <a:cxn ang="0">
                                                                                                        <a:pos x="114" y="108"/>
                                                                                                      </a:cxn>
                                                                                                      <a:cxn ang="0">
                                                                                                        <a:pos x="96" y="108"/>
                                                                                                      </a:cxn>
                                                                                                      <a:cxn ang="0">
                                                                                                        <a:pos x="94" y="92"/>
                                                                                                      </a:cxn>
                                                                                                      <a:cxn ang="0">
                                                                                                        <a:pos x="92" y="88"/>
                                                                                                      </a:cxn>
                                                                                                      <a:cxn ang="0">
                                                                                                        <a:pos x="84" y="84"/>
                                                                                                      </a:cxn>
                                                                                                      <a:cxn ang="0">
                                                                                                        <a:pos x="82" y="74"/>
                                                                                                      </a:cxn>
                                                                                                      <a:cxn ang="0">
                                                                                                        <a:pos x="76" y="68"/>
                                                                                                      </a:cxn>
                                                                                                      <a:cxn ang="0">
                                                                                                        <a:pos x="62" y="68"/>
                                                                                                      </a:cxn>
                                                                                                      <a:cxn ang="0">
                                                                                                        <a:pos x="50" y="72"/>
                                                                                                      </a:cxn>
                                                                                                      <a:cxn ang="0">
                                                                                                        <a:pos x="44" y="84"/>
                                                                                                      </a:cxn>
                                                                                                      <a:cxn ang="0">
                                                                                                        <a:pos x="36" y="92"/>
                                                                                                      </a:cxn>
                                                                                                      <a:cxn ang="0">
                                                                                                        <a:pos x="38" y="88"/>
                                                                                                      </a:cxn>
                                                                                                      <a:cxn ang="0">
                                                                                                        <a:pos x="28" y="78"/>
                                                                                                      </a:cxn>
                                                                                                      <a:cxn ang="0">
                                                                                                        <a:pos x="26" y="70"/>
                                                                                                      </a:cxn>
                                                                                                      <a:cxn ang="0">
                                                                                                        <a:pos x="16" y="58"/>
                                                                                                      </a:cxn>
                                                                                                      <a:cxn ang="0">
                                                                                                        <a:pos x="10" y="52"/>
                                                                                                      </a:cxn>
                                                                                                      <a:cxn ang="0">
                                                                                                        <a:pos x="2" y="44"/>
                                                                                                      </a:cxn>
                                                                                                      <a:cxn ang="0">
                                                                                                        <a:pos x="2" y="32"/>
                                                                                                      </a:cxn>
                                                                                                      <a:cxn ang="0">
                                                                                                        <a:pos x="14" y="24"/>
                                                                                                      </a:cxn>
                                                                                                      <a:cxn ang="0">
                                                                                                        <a:pos x="24" y="20"/>
                                                                                                      </a:cxn>
                                                                                                      <a:cxn ang="0">
                                                                                                        <a:pos x="22" y="10"/>
                                                                                                      </a:cxn>
                                                                                                      <a:cxn ang="0">
                                                                                                        <a:pos x="26" y="0"/>
                                                                                                      </a:cxn>
                                                                                                      <a:cxn ang="0">
                                                                                                        <a:pos x="44" y="2"/>
                                                                                                      </a:cxn>
                                                                                                      <a:cxn ang="0">
                                                                                                        <a:pos x="62" y="4"/>
                                                                                                      </a:cxn>
                                                                                                      <a:cxn ang="0">
                                                                                                        <a:pos x="76" y="8"/>
                                                                                                      </a:cxn>
                                                                                                      <a:cxn ang="0">
                                                                                                        <a:pos x="84" y="10"/>
                                                                                                      </a:cxn>
                                                                                                      <a:cxn ang="0">
                                                                                                        <a:pos x="90" y="8"/>
                                                                                                      </a:cxn>
                                                                                                      <a:cxn ang="0">
                                                                                                        <a:pos x="102" y="10"/>
                                                                                                      </a:cxn>
                                                                                                      <a:cxn ang="0">
                                                                                                        <a:pos x="108" y="10"/>
                                                                                                      </a:cxn>
                                                                                                      <a:cxn ang="0">
                                                                                                        <a:pos x="116" y="4"/>
                                                                                                      </a:cxn>
                                                                                                      <a:cxn ang="0">
                                                                                                        <a:pos x="126" y="6"/>
                                                                                                      </a:cxn>
                                                                                                      <a:cxn ang="0">
                                                                                                        <a:pos x="130" y="14"/>
                                                                                                      </a:cxn>
                                                                                                      <a:cxn ang="0">
                                                                                                        <a:pos x="134" y="24"/>
                                                                                                      </a:cxn>
                                                                                                      <a:cxn ang="0">
                                                                                                        <a:pos x="132" y="38"/>
                                                                                                      </a:cxn>
                                                                                                      <a:cxn ang="0">
                                                                                                        <a:pos x="140" y="42"/>
                                                                                                      </a:cxn>
                                                                                                      <a:cxn ang="0">
                                                                                                        <a:pos x="148" y="54"/>
                                                                                                      </a:cxn>
                                                                                                      <a:cxn ang="0">
                                                                                                        <a:pos x="150" y="58"/>
                                                                                                      </a:cxn>
                                                                                                      <a:cxn ang="0">
                                                                                                        <a:pos x="144" y="74"/>
                                                                                                      </a:cxn>
                                                                                                      <a:cxn ang="0">
                                                                                                        <a:pos x="148" y="76"/>
                                                                                                      </a:cxn>
                                                                                                      <a:cxn ang="0">
                                                                                                        <a:pos x="154" y="80"/>
                                                                                                      </a:cxn>
                                                                                                      <a:cxn ang="0">
                                                                                                        <a:pos x="152" y="88"/>
                                                                                                      </a:cxn>
                                                                                                      <a:cxn ang="0">
                                                                                                        <a:pos x="154" y="98"/>
                                                                                                      </a:cxn>
                                                                                                      <a:cxn ang="0">
                                                                                                        <a:pos x="154" y="106"/>
                                                                                                      </a:cxn>
                                                                                                      <a:cxn ang="0">
                                                                                                        <a:pos x="142" y="110"/>
                                                                                                      </a:cxn>
                                                                                                      <a:cxn ang="0">
                                                                                                        <a:pos x="146" y="116"/>
                                                                                                      </a:cxn>
                                                                                                      <a:cxn ang="0">
                                                                                                        <a:pos x="142" y="124"/>
                                                                                                      </a:cxn>
                                                                                                      <a:cxn ang="0">
                                                                                                        <a:pos x="138" y="130"/>
                                                                                                      </a:cxn>
                                                                                                    </a:cxnLst>
                                                                                                    <a:rect l="0" t="0" r="r" b="b"/>
                                                                                                    <a:pathLst>
                                                                                                      <a:path w="154" h="134">
                                                                                                        <a:moveTo>
                                                                                                          <a:pt x="138" y="130"/>
                                                                                                        </a:moveTo>
                                                                                                        <a:lnTo>
                                                                                                          <a:pt x="138" y="130"/>
                                                                                                        </a:lnTo>
                                                                                                        <a:lnTo>
                                                                                                          <a:pt x="136" y="128"/>
                                                                                                        </a:lnTo>
                                                                                                        <a:lnTo>
                                                                                                          <a:pt x="134" y="126"/>
                                                                                                        </a:lnTo>
                                                                                                        <a:lnTo>
                                                                                                          <a:pt x="132" y="130"/>
                                                                                                        </a:lnTo>
                                                                                                        <a:lnTo>
                                                                                                          <a:pt x="132" y="130"/>
                                                                                                        </a:lnTo>
                                                                                                        <a:lnTo>
                                                                                                          <a:pt x="130" y="134"/>
                                                                                                        </a:lnTo>
                                                                                                        <a:lnTo>
                                                                                                          <a:pt x="126" y="134"/>
                                                                                                        </a:lnTo>
                                                                                                        <a:lnTo>
                                                                                                          <a:pt x="122" y="134"/>
                                                                                                        </a:lnTo>
                                                                                                        <a:lnTo>
                                                                                                          <a:pt x="122" y="134"/>
                                                                                                        </a:lnTo>
                                                                                                        <a:lnTo>
                                                                                                          <a:pt x="120" y="132"/>
                                                                                                        </a:lnTo>
                                                                                                        <a:lnTo>
                                                                                                          <a:pt x="120" y="130"/>
                                                                                                        </a:lnTo>
                                                                                                        <a:lnTo>
                                                                                                          <a:pt x="122" y="126"/>
                                                                                                        </a:lnTo>
                                                                                                        <a:lnTo>
                                                                                                          <a:pt x="118" y="116"/>
                                                                                                        </a:lnTo>
                                                                                                        <a:lnTo>
                                                                                                          <a:pt x="118" y="116"/>
                                                                                                        </a:lnTo>
                                                                                                        <a:lnTo>
                                                                                                          <a:pt x="114" y="108"/>
                                                                                                        </a:lnTo>
                                                                                                        <a:lnTo>
                                                                                                          <a:pt x="110" y="104"/>
                                                                                                        </a:lnTo>
                                                                                                        <a:lnTo>
                                                                                                          <a:pt x="104" y="104"/>
                                                                                                        </a:lnTo>
                                                                                                        <a:lnTo>
                                                                                                          <a:pt x="96" y="108"/>
                                                                                                        </a:lnTo>
                                                                                                        <a:lnTo>
                                                                                                          <a:pt x="96" y="108"/>
                                                                                                        </a:lnTo>
                                                                                                        <a:lnTo>
                                                                                                          <a:pt x="94" y="102"/>
                                                                                                        </a:lnTo>
                                                                                                        <a:lnTo>
                                                                                                          <a:pt x="94" y="98"/>
                                                                                                        </a:lnTo>
                                                                                                        <a:lnTo>
                                                                                                          <a:pt x="94" y="96"/>
                                                                                                        </a:lnTo>
                                                                                                        <a:lnTo>
                                                                                                          <a:pt x="94" y="92"/>
                                                                                                        </a:lnTo>
                                                                                                        <a:lnTo>
                                                                                                          <a:pt x="94" y="92"/>
                                                                                                        </a:lnTo>
                                                                                                        <a:lnTo>
                                                                                                          <a:pt x="92" y="90"/>
                                                                                                        </a:lnTo>
                                                                                                        <a:lnTo>
                                                                                                          <a:pt x="94" y="90"/>
                                                                                                        </a:lnTo>
                                                                                                        <a:lnTo>
                                                                                                          <a:pt x="92" y="88"/>
                                                                                                        </a:lnTo>
                                                                                                        <a:lnTo>
                                                                                                          <a:pt x="88" y="86"/>
                                                                                                        </a:lnTo>
                                                                                                        <a:lnTo>
                                                                                                          <a:pt x="88" y="86"/>
                                                                                                        </a:lnTo>
                                                                                                        <a:lnTo>
                                                                                                          <a:pt x="86" y="84"/>
                                                                                                        </a:lnTo>
                                                                                                        <a:lnTo>
                                                                                                          <a:pt x="84" y="84"/>
                                                                                                        </a:lnTo>
                                                                                                        <a:lnTo>
                                                                                                          <a:pt x="86" y="80"/>
                                                                                                        </a:lnTo>
                                                                                                        <a:lnTo>
                                                                                                          <a:pt x="86" y="76"/>
                                                                                                        </a:lnTo>
                                                                                                        <a:lnTo>
                                                                                                          <a:pt x="86" y="74"/>
                                                                                                        </a:lnTo>
                                                                                                        <a:lnTo>
                                                                                                          <a:pt x="82" y="74"/>
                                                                                                        </a:lnTo>
                                                                                                        <a:lnTo>
                                                                                                          <a:pt x="82" y="74"/>
                                                                                                        </a:lnTo>
                                                                                                        <a:lnTo>
                                                                                                          <a:pt x="80" y="72"/>
                                                                                                        </a:lnTo>
                                                                                                        <a:lnTo>
                                                                                                          <a:pt x="78" y="70"/>
                                                                                                        </a:lnTo>
                                                                                                        <a:lnTo>
                                                                                                          <a:pt x="76" y="68"/>
                                                                                                        </a:lnTo>
                                                                                                        <a:lnTo>
                                                                                                          <a:pt x="72" y="68"/>
                                                                                                        </a:lnTo>
                                                                                                        <a:lnTo>
                                                                                                          <a:pt x="72" y="68"/>
                                                                                                        </a:lnTo>
                                                                                                        <a:lnTo>
                                                                                                          <a:pt x="66" y="66"/>
                                                                                                        </a:lnTo>
                                                                                                        <a:lnTo>
                                                                                                          <a:pt x="62" y="68"/>
                                                                                                        </a:lnTo>
                                                                                                        <a:lnTo>
                                                                                                          <a:pt x="58" y="70"/>
                                                                                                        </a:lnTo>
                                                                                                        <a:lnTo>
                                                                                                          <a:pt x="54" y="72"/>
                                                                                                        </a:lnTo>
                                                                                                        <a:lnTo>
                                                                                                          <a:pt x="54" y="72"/>
                                                                                                        </a:lnTo>
                                                                                                        <a:lnTo>
                                                                                                          <a:pt x="50" y="72"/>
                                                                                                        </a:lnTo>
                                                                                                        <a:lnTo>
                                                                                                          <a:pt x="48" y="76"/>
                                                                                                        </a:lnTo>
                                                                                                        <a:lnTo>
                                                                                                          <a:pt x="46" y="80"/>
                                                                                                        </a:lnTo>
                                                                                                        <a:lnTo>
                                                                                                          <a:pt x="44" y="84"/>
                                                                                                        </a:lnTo>
                                                                                                        <a:lnTo>
                                                                                                          <a:pt x="44" y="84"/>
                                                                                                        </a:lnTo>
                                                                                                        <a:lnTo>
                                                                                                          <a:pt x="42" y="86"/>
                                                                                                        </a:lnTo>
                                                                                                        <a:lnTo>
                                                                                                          <a:pt x="40" y="88"/>
                                                                                                        </a:lnTo>
                                                                                                        <a:lnTo>
                                                                                                          <a:pt x="40" y="90"/>
                                                                                                        </a:lnTo>
                                                                                                        <a:lnTo>
                                                                                                          <a:pt x="36" y="92"/>
                                                                                                        </a:lnTo>
                                                                                                        <a:lnTo>
                                                                                                          <a:pt x="36" y="92"/>
                                                                                                        </a:lnTo>
                                                                                                        <a:lnTo>
                                                                                                          <a:pt x="34" y="92"/>
                                                                                                        </a:lnTo>
                                                                                                        <a:lnTo>
                                                                                                          <a:pt x="34" y="90"/>
                                                                                                        </a:lnTo>
                                                                                                        <a:lnTo>
                                                                                                          <a:pt x="38" y="88"/>
                                                                                                        </a:lnTo>
                                                                                                        <a:lnTo>
                                                                                                          <a:pt x="38" y="86"/>
                                                                                                        </a:lnTo>
                                                                                                        <a:lnTo>
                                                                                                          <a:pt x="38" y="86"/>
                                                                                                        </a:lnTo>
                                                                                                        <a:lnTo>
                                                                                                          <a:pt x="34" y="84"/>
                                                                                                        </a:lnTo>
                                                                                                        <a:lnTo>
                                                                                                          <a:pt x="28" y="78"/>
                                                                                                        </a:lnTo>
                                                                                                        <a:lnTo>
                                                                                                          <a:pt x="24" y="74"/>
                                                                                                        </a:lnTo>
                                                                                                        <a:lnTo>
                                                                                                          <a:pt x="24" y="72"/>
                                                                                                        </a:lnTo>
                                                                                                        <a:lnTo>
                                                                                                          <a:pt x="26" y="70"/>
                                                                                                        </a:lnTo>
                                                                                                        <a:lnTo>
                                                                                                          <a:pt x="26" y="70"/>
                                                                                                        </a:lnTo>
                                                                                                        <a:lnTo>
                                                                                                          <a:pt x="20" y="70"/>
                                                                                                        </a:lnTo>
                                                                                                        <a:lnTo>
                                                                                                          <a:pt x="16" y="66"/>
                                                                                                        </a:lnTo>
                                                                                                        <a:lnTo>
                                                                                                          <a:pt x="16" y="62"/>
                                                                                                        </a:lnTo>
                                                                                                        <a:lnTo>
                                                                                                          <a:pt x="16" y="58"/>
                                                                                                        </a:lnTo>
                                                                                                        <a:lnTo>
                                                                                                          <a:pt x="16" y="58"/>
                                                                                                        </a:lnTo>
                                                                                                        <a:lnTo>
                                                                                                          <a:pt x="16" y="56"/>
                                                                                                        </a:lnTo>
                                                                                                        <a:lnTo>
                                                                                                          <a:pt x="12" y="54"/>
                                                                                                        </a:lnTo>
                                                                                                        <a:lnTo>
                                                                                                          <a:pt x="10" y="52"/>
                                                                                                        </a:lnTo>
                                                                                                        <a:lnTo>
                                                                                                          <a:pt x="10" y="48"/>
                                                                                                        </a:lnTo>
                                                                                                        <a:lnTo>
                                                                                                          <a:pt x="10" y="48"/>
                                                                                                        </a:lnTo>
                                                                                                        <a:lnTo>
                                                                                                          <a:pt x="6" y="48"/>
                                                                                                        </a:lnTo>
                                                                                                        <a:lnTo>
                                                                                                          <a:pt x="2" y="44"/>
                                                                                                        </a:lnTo>
                                                                                                        <a:lnTo>
                                                                                                          <a:pt x="0" y="40"/>
                                                                                                        </a:lnTo>
                                                                                                        <a:lnTo>
                                                                                                          <a:pt x="0" y="36"/>
                                                                                                        </a:lnTo>
                                                                                                        <a:lnTo>
                                                                                                          <a:pt x="0" y="36"/>
                                                                                                        </a:lnTo>
                                                                                                        <a:lnTo>
                                                                                                          <a:pt x="2" y="32"/>
                                                                                                        </a:lnTo>
                                                                                                        <a:lnTo>
                                                                                                          <a:pt x="6" y="30"/>
                                                                                                        </a:lnTo>
                                                                                                        <a:lnTo>
                                                                                                          <a:pt x="6" y="30"/>
                                                                                                        </a:lnTo>
                                                                                                        <a:lnTo>
                                                                                                          <a:pt x="10" y="26"/>
                                                                                                        </a:lnTo>
                                                                                                        <a:lnTo>
                                                                                                          <a:pt x="14" y="24"/>
                                                                                                        </a:lnTo>
                                                                                                        <a:lnTo>
                                                                                                          <a:pt x="16" y="24"/>
                                                                                                        </a:lnTo>
                                                                                                        <a:lnTo>
                                                                                                          <a:pt x="16" y="24"/>
                                                                                                        </a:lnTo>
                                                                                                        <a:lnTo>
                                                                                                          <a:pt x="20" y="24"/>
                                                                                                        </a:lnTo>
                                                                                                        <a:lnTo>
                                                                                                          <a:pt x="24" y="20"/>
                                                                                                        </a:lnTo>
                                                                                                        <a:lnTo>
                                                                                                          <a:pt x="26" y="16"/>
                                                                                                        </a:lnTo>
                                                                                                        <a:lnTo>
                                                                                                          <a:pt x="24" y="12"/>
                                                                                                        </a:lnTo>
                                                                                                        <a:lnTo>
                                                                                                          <a:pt x="24" y="12"/>
                                                                                                        </a:lnTo>
                                                                                                        <a:lnTo>
                                                                                                          <a:pt x="22" y="10"/>
                                                                                                        </a:lnTo>
                                                                                                        <a:lnTo>
                                                                                                          <a:pt x="24" y="8"/>
                                                                                                        </a:lnTo>
                                                                                                        <a:lnTo>
                                                                                                          <a:pt x="26" y="6"/>
                                                                                                        </a:lnTo>
                                                                                                        <a:lnTo>
                                                                                                          <a:pt x="26" y="0"/>
                                                                                                        </a:lnTo>
                                                                                                        <a:lnTo>
                                                                                                          <a:pt x="26" y="0"/>
                                                                                                        </a:lnTo>
                                                                                                        <a:lnTo>
                                                                                                          <a:pt x="32" y="0"/>
                                                                                                        </a:lnTo>
                                                                                                        <a:lnTo>
                                                                                                          <a:pt x="36" y="2"/>
                                                                                                        </a:lnTo>
                                                                                                        <a:lnTo>
                                                                                                          <a:pt x="40" y="2"/>
                                                                                                        </a:lnTo>
                                                                                                        <a:lnTo>
                                                                                                          <a:pt x="44" y="2"/>
                                                                                                        </a:lnTo>
                                                                                                        <a:lnTo>
                                                                                                          <a:pt x="44" y="2"/>
                                                                                                        </a:lnTo>
                                                                                                        <a:lnTo>
                                                                                                          <a:pt x="50" y="2"/>
                                                                                                        </a:lnTo>
                                                                                                        <a:lnTo>
                                                                                                          <a:pt x="56" y="4"/>
                                                                                                        </a:lnTo>
                                                                                                        <a:lnTo>
                                                                                                          <a:pt x="62" y="4"/>
                                                                                                        </a:lnTo>
                                                                                                        <a:lnTo>
                                                                                                          <a:pt x="74" y="4"/>
                                                                                                        </a:lnTo>
                                                                                                        <a:lnTo>
                                                                                                          <a:pt x="74" y="4"/>
                                                                                                        </a:lnTo>
                                                                                                        <a:lnTo>
                                                                                                          <a:pt x="74" y="6"/>
                                                                                                        </a:lnTo>
                                                                                                        <a:lnTo>
                                                                                                          <a:pt x="76" y="8"/>
                                                                                                        </a:lnTo>
                                                                                                        <a:lnTo>
                                                                                                          <a:pt x="80" y="8"/>
                                                                                                        </a:lnTo>
                                                                                                        <a:lnTo>
                                                                                                          <a:pt x="82" y="6"/>
                                                                                                        </a:lnTo>
                                                                                                        <a:lnTo>
                                                                                                          <a:pt x="82" y="6"/>
                                                                                                        </a:lnTo>
                                                                                                        <a:lnTo>
                                                                                                          <a:pt x="84" y="10"/>
                                                                                                        </a:lnTo>
                                                                                                        <a:lnTo>
                                                                                                          <a:pt x="86" y="10"/>
                                                                                                        </a:lnTo>
                                                                                                        <a:lnTo>
                                                                                                          <a:pt x="88" y="8"/>
                                                                                                        </a:lnTo>
                                                                                                        <a:lnTo>
                                                                                                          <a:pt x="90" y="8"/>
                                                                                                        </a:lnTo>
                                                                                                        <a:lnTo>
                                                                                                          <a:pt x="90" y="8"/>
                                                                                                        </a:lnTo>
                                                                                                        <a:lnTo>
                                                                                                          <a:pt x="94" y="8"/>
                                                                                                        </a:lnTo>
                                                                                                        <a:lnTo>
                                                                                                          <a:pt x="96" y="10"/>
                                                                                                        </a:lnTo>
                                                                                                        <a:lnTo>
                                                                                                          <a:pt x="98" y="12"/>
                                                                                                        </a:lnTo>
                                                                                                        <a:lnTo>
                                                                                                          <a:pt x="102" y="10"/>
                                                                                                        </a:lnTo>
                                                                                                        <a:lnTo>
                                                                                                          <a:pt x="102" y="10"/>
                                                                                                        </a:lnTo>
                                                                                                        <a:lnTo>
                                                                                                          <a:pt x="104" y="8"/>
                                                                                                        </a:lnTo>
                                                                                                        <a:lnTo>
                                                                                                          <a:pt x="106" y="10"/>
                                                                                                        </a:lnTo>
                                                                                                        <a:lnTo>
                                                                                                          <a:pt x="108" y="10"/>
                                                                                                        </a:lnTo>
                                                                                                        <a:lnTo>
                                                                                                          <a:pt x="114" y="8"/>
                                                                                                        </a:lnTo>
                                                                                                        <a:lnTo>
                                                                                                          <a:pt x="114" y="8"/>
                                                                                                        </a:lnTo>
                                                                                                        <a:lnTo>
                                                                                                          <a:pt x="114" y="6"/>
                                                                                                        </a:lnTo>
                                                                                                        <a:lnTo>
                                                                                                          <a:pt x="116" y="4"/>
                                                                                                        </a:lnTo>
                                                                                                        <a:lnTo>
                                                                                                          <a:pt x="118" y="2"/>
                                                                                                        </a:lnTo>
                                                                                                        <a:lnTo>
                                                                                                          <a:pt x="122" y="4"/>
                                                                                                        </a:lnTo>
                                                                                                        <a:lnTo>
                                                                                                          <a:pt x="122" y="4"/>
                                                                                                        </a:lnTo>
                                                                                                        <a:lnTo>
                                                                                                          <a:pt x="126" y="6"/>
                                                                                                        </a:lnTo>
                                                                                                        <a:lnTo>
                                                                                                          <a:pt x="126" y="8"/>
                                                                                                        </a:lnTo>
                                                                                                        <a:lnTo>
                                                                                                          <a:pt x="126" y="10"/>
                                                                                                        </a:lnTo>
                                                                                                        <a:lnTo>
                                                                                                          <a:pt x="130" y="14"/>
                                                                                                        </a:lnTo>
                                                                                                        <a:lnTo>
                                                                                                          <a:pt x="130" y="14"/>
                                                                                                        </a:lnTo>
                                                                                                        <a:lnTo>
                                                                                                          <a:pt x="132" y="18"/>
                                                                                                        </a:lnTo>
                                                                                                        <a:lnTo>
                                                                                                          <a:pt x="132" y="20"/>
                                                                                                        </a:lnTo>
                                                                                                        <a:lnTo>
                                                                                                          <a:pt x="132" y="22"/>
                                                                                                        </a:lnTo>
                                                                                                        <a:lnTo>
                                                                                                          <a:pt x="134" y="24"/>
                                                                                                        </a:lnTo>
                                                                                                        <a:lnTo>
                                                                                                          <a:pt x="134" y="24"/>
                                                                                                        </a:lnTo>
                                                                                                        <a:lnTo>
                                                                                                          <a:pt x="138" y="26"/>
                                                                                                        </a:lnTo>
                                                                                                        <a:lnTo>
                                                                                                          <a:pt x="138" y="28"/>
                                                                                                        </a:lnTo>
                                                                                                        <a:lnTo>
                                                                                                          <a:pt x="132" y="38"/>
                                                                                                        </a:lnTo>
                                                                                                        <a:lnTo>
                                                                                                          <a:pt x="132" y="38"/>
                                                                                                        </a:lnTo>
                                                                                                        <a:lnTo>
                                                                                                          <a:pt x="136" y="36"/>
                                                                                                        </a:lnTo>
                                                                                                        <a:lnTo>
                                                                                                          <a:pt x="140" y="38"/>
                                                                                                        </a:lnTo>
                                                                                                        <a:lnTo>
                                                                                                          <a:pt x="140" y="42"/>
                                                                                                        </a:lnTo>
                                                                                                        <a:lnTo>
                                                                                                          <a:pt x="142" y="48"/>
                                                                                                        </a:lnTo>
                                                                                                        <a:lnTo>
                                                                                                          <a:pt x="142" y="48"/>
                                                                                                        </a:lnTo>
                                                                                                        <a:lnTo>
                                                                                                          <a:pt x="144" y="52"/>
                                                                                                        </a:lnTo>
                                                                                                        <a:lnTo>
                                                                                                          <a:pt x="148" y="54"/>
                                                                                                        </a:lnTo>
                                                                                                        <a:lnTo>
                                                                                                          <a:pt x="150" y="56"/>
                                                                                                        </a:lnTo>
                                                                                                        <a:lnTo>
                                                                                                          <a:pt x="152" y="58"/>
                                                                                                        </a:lnTo>
                                                                                                        <a:lnTo>
                                                                                                          <a:pt x="152" y="58"/>
                                                                                                        </a:lnTo>
                                                                                                        <a:lnTo>
                                                                                                          <a:pt x="150" y="58"/>
                                                                                                        </a:lnTo>
                                                                                                        <a:lnTo>
                                                                                                          <a:pt x="148" y="62"/>
                                                                                                        </a:lnTo>
                                                                                                        <a:lnTo>
                                                                                                          <a:pt x="144" y="68"/>
                                                                                                        </a:lnTo>
                                                                                                        <a:lnTo>
                                                                                                          <a:pt x="144" y="68"/>
                                                                                                        </a:lnTo>
                                                                                                        <a:lnTo>
                                                                                                          <a:pt x="144" y="74"/>
                                                                                                        </a:lnTo>
                                                                                                        <a:lnTo>
                                                                                                          <a:pt x="144" y="74"/>
                                                                                                        </a:lnTo>
                                                                                                        <a:lnTo>
                                                                                                          <a:pt x="146" y="74"/>
                                                                                                        </a:lnTo>
                                                                                                        <a:lnTo>
                                                                                                          <a:pt x="148" y="76"/>
                                                                                                        </a:lnTo>
                                                                                                        <a:lnTo>
                                                                                                          <a:pt x="148" y="76"/>
                                                                                                        </a:lnTo>
                                                                                                        <a:lnTo>
                                                                                                          <a:pt x="150" y="80"/>
                                                                                                        </a:lnTo>
                                                                                                        <a:lnTo>
                                                                                                          <a:pt x="150" y="78"/>
                                                                                                        </a:lnTo>
                                                                                                        <a:lnTo>
                                                                                                          <a:pt x="152" y="78"/>
                                                                                                        </a:lnTo>
                                                                                                        <a:lnTo>
                                                                                                          <a:pt x="154" y="80"/>
                                                                                                        </a:lnTo>
                                                                                                        <a:lnTo>
                                                                                                          <a:pt x="154" y="80"/>
                                                                                                        </a:lnTo>
                                                                                                        <a:lnTo>
                                                                                                          <a:pt x="154" y="82"/>
                                                                                                        </a:lnTo>
                                                                                                        <a:lnTo>
                                                                                                          <a:pt x="154" y="84"/>
                                                                                                        </a:lnTo>
                                                                                                        <a:lnTo>
                                                                                                          <a:pt x="152" y="88"/>
                                                                                                        </a:lnTo>
                                                                                                        <a:lnTo>
                                                                                                          <a:pt x="154" y="92"/>
                                                                                                        </a:lnTo>
                                                                                                        <a:lnTo>
                                                                                                          <a:pt x="154" y="92"/>
                                                                                                        </a:lnTo>
                                                                                                        <a:lnTo>
                                                                                                          <a:pt x="154" y="94"/>
                                                                                                        </a:lnTo>
                                                                                                        <a:lnTo>
                                                                                                          <a:pt x="154" y="98"/>
                                                                                                        </a:lnTo>
                                                                                                        <a:lnTo>
                                                                                                          <a:pt x="152" y="100"/>
                                                                                                        </a:lnTo>
                                                                                                        <a:lnTo>
                                                                                                          <a:pt x="154" y="104"/>
                                                                                                        </a:lnTo>
                                                                                                        <a:lnTo>
                                                                                                          <a:pt x="154" y="104"/>
                                                                                                        </a:lnTo>
                                                                                                        <a:lnTo>
                                                                                                          <a:pt x="154" y="106"/>
                                                                                                        </a:lnTo>
                                                                                                        <a:lnTo>
                                                                                                          <a:pt x="154" y="108"/>
                                                                                                        </a:lnTo>
                                                                                                        <a:lnTo>
                                                                                                          <a:pt x="148" y="106"/>
                                                                                                        </a:lnTo>
                                                                                                        <a:lnTo>
                                                                                                          <a:pt x="144" y="108"/>
                                                                                                        </a:lnTo>
                                                                                                        <a:lnTo>
                                                                                                          <a:pt x="142" y="110"/>
                                                                                                        </a:lnTo>
                                                                                                        <a:lnTo>
                                                                                                          <a:pt x="142" y="112"/>
                                                                                                        </a:lnTo>
                                                                                                        <a:lnTo>
                                                                                                          <a:pt x="142" y="112"/>
                                                                                                        </a:lnTo>
                                                                                                        <a:lnTo>
                                                                                                          <a:pt x="144" y="116"/>
                                                                                                        </a:lnTo>
                                                                                                        <a:lnTo>
                                                                                                          <a:pt x="146" y="116"/>
                                                                                                        </a:lnTo>
                                                                                                        <a:lnTo>
                                                                                                          <a:pt x="148" y="118"/>
                                                                                                        </a:lnTo>
                                                                                                        <a:lnTo>
                                                                                                          <a:pt x="146" y="120"/>
                                                                                                        </a:lnTo>
                                                                                                        <a:lnTo>
                                                                                                          <a:pt x="146" y="120"/>
                                                                                                        </a:lnTo>
                                                                                                        <a:lnTo>
                                                                                                          <a:pt x="142" y="124"/>
                                                                                                        </a:lnTo>
                                                                                                        <a:lnTo>
                                                                                                          <a:pt x="142" y="126"/>
                                                                                                        </a:lnTo>
                                                                                                        <a:lnTo>
                                                                                                          <a:pt x="142" y="128"/>
                                                                                                        </a:lnTo>
                                                                                                        <a:lnTo>
                                                                                                          <a:pt x="138" y="130"/>
                                                                                                        </a:lnTo>
                                                                                                        <a:lnTo>
                                                                                                          <a:pt x="138" y="130"/>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baseline="-25000" dirty="0">
                                                                                                      <a:solidFill>
                                                                                                        <a:schemeClr val="tx1"/>
                                                                                                      </a:solidFill>
                                                                                                    </a:endParaRPr>
                                                                                                  </a:p>
                                                                                                </p:txBody>
                                                                                              </p:sp>
                                                                                              <p:sp>
                                                                                                <p:nvSpPr>
                                                                                                  <p:cNvPr id="689" name="Malawi"/>
                                                                                                  <p:cNvSpPr>
                                                                                                    <a:spLocks/>
                                                                                                  </p:cNvSpPr>
                                                                                                  <p:nvPr/>
                                                                                                </p:nvSpPr>
                                                                                                <p:spPr bwMode="auto">
                                                                                                  <a:xfrm>
                                                                                                    <a:off x="6826374" y="4064646"/>
                                                                                                    <a:ext cx="106317" cy="288309"/>
                                                                                                  </a:xfrm>
                                                                                                  <a:custGeom>
                                                                                                    <a:avLst/>
                                                                                                    <a:gdLst/>
                                                                                                    <a:ahLst/>
                                                                                                    <a:cxnLst>
                                                                                                      <a:cxn ang="0">
                                                                                                        <a:pos x="6" y="116"/>
                                                                                                      </a:cxn>
                                                                                                      <a:cxn ang="0">
                                                                                                        <a:pos x="0" y="114"/>
                                                                                                      </a:cxn>
                                                                                                      <a:cxn ang="0">
                                                                                                        <a:pos x="0" y="110"/>
                                                                                                      </a:cxn>
                                                                                                      <a:cxn ang="0">
                                                                                                        <a:pos x="4" y="98"/>
                                                                                                      </a:cxn>
                                                                                                      <a:cxn ang="0">
                                                                                                        <a:pos x="16" y="84"/>
                                                                                                      </a:cxn>
                                                                                                      <a:cxn ang="0">
                                                                                                        <a:pos x="22" y="78"/>
                                                                                                      </a:cxn>
                                                                                                      <a:cxn ang="0">
                                                                                                        <a:pos x="20" y="76"/>
                                                                                                      </a:cxn>
                                                                                                      <a:cxn ang="0">
                                                                                                        <a:pos x="16" y="56"/>
                                                                                                      </a:cxn>
                                                                                                      <a:cxn ang="0">
                                                                                                        <a:pos x="20" y="38"/>
                                                                                                      </a:cxn>
                                                                                                      <a:cxn ang="0">
                                                                                                        <a:pos x="26" y="32"/>
                                                                                                      </a:cxn>
                                                                                                      <a:cxn ang="0">
                                                                                                        <a:pos x="22" y="20"/>
                                                                                                      </a:cxn>
                                                                                                      <a:cxn ang="0">
                                                                                                        <a:pos x="24" y="14"/>
                                                                                                      </a:cxn>
                                                                                                      <a:cxn ang="0">
                                                                                                        <a:pos x="18" y="2"/>
                                                                                                      </a:cxn>
                                                                                                      <a:cxn ang="0">
                                                                                                        <a:pos x="36" y="6"/>
                                                                                                      </a:cxn>
                                                                                                      <a:cxn ang="0">
                                                                                                        <a:pos x="36" y="12"/>
                                                                                                      </a:cxn>
                                                                                                      <a:cxn ang="0">
                                                                                                        <a:pos x="40" y="26"/>
                                                                                                      </a:cxn>
                                                                                                      <a:cxn ang="0">
                                                                                                        <a:pos x="40" y="44"/>
                                                                                                      </a:cxn>
                                                                                                      <a:cxn ang="0">
                                                                                                        <a:pos x="44" y="50"/>
                                                                                                      </a:cxn>
                                                                                                      <a:cxn ang="0">
                                                                                                        <a:pos x="36" y="66"/>
                                                                                                      </a:cxn>
                                                                                                      <a:cxn ang="0">
                                                                                                        <a:pos x="36" y="72"/>
                                                                                                      </a:cxn>
                                                                                                      <a:cxn ang="0">
                                                                                                        <a:pos x="38" y="84"/>
                                                                                                      </a:cxn>
                                                                                                      <a:cxn ang="0">
                                                                                                        <a:pos x="38" y="92"/>
                                                                                                      </a:cxn>
                                                                                                      <a:cxn ang="0">
                                                                                                        <a:pos x="36" y="106"/>
                                                                                                      </a:cxn>
                                                                                                      <a:cxn ang="0">
                                                                                                        <a:pos x="42" y="110"/>
                                                                                                      </a:cxn>
                                                                                                      <a:cxn ang="0">
                                                                                                        <a:pos x="44" y="120"/>
                                                                                                      </a:cxn>
                                                                                                      <a:cxn ang="0">
                                                                                                        <a:pos x="52" y="120"/>
                                                                                                      </a:cxn>
                                                                                                      <a:cxn ang="0">
                                                                                                        <a:pos x="54" y="120"/>
                                                                                                      </a:cxn>
                                                                                                      <a:cxn ang="0">
                                                                                                        <a:pos x="58" y="114"/>
                                                                                                      </a:cxn>
                                                                                                      <a:cxn ang="0">
                                                                                                        <a:pos x="70" y="126"/>
                                                                                                      </a:cxn>
                                                                                                      <a:cxn ang="0">
                                                                                                        <a:pos x="68" y="140"/>
                                                                                                      </a:cxn>
                                                                                                      <a:cxn ang="0">
                                                                                                        <a:pos x="68" y="154"/>
                                                                                                      </a:cxn>
                                                                                                      <a:cxn ang="0">
                                                                                                        <a:pos x="62" y="164"/>
                                                                                                      </a:cxn>
                                                                                                      <a:cxn ang="0">
                                                                                                        <a:pos x="58" y="172"/>
                                                                                                      </a:cxn>
                                                                                                      <a:cxn ang="0">
                                                                                                        <a:pos x="58" y="188"/>
                                                                                                      </a:cxn>
                                                                                                      <a:cxn ang="0">
                                                                                                        <a:pos x="54" y="190"/>
                                                                                                      </a:cxn>
                                                                                                      <a:cxn ang="0">
                                                                                                        <a:pos x="46" y="180"/>
                                                                                                      </a:cxn>
                                                                                                      <a:cxn ang="0">
                                                                                                        <a:pos x="40" y="176"/>
                                                                                                      </a:cxn>
                                                                                                      <a:cxn ang="0">
                                                                                                        <a:pos x="34" y="152"/>
                                                                                                      </a:cxn>
                                                                                                      <a:cxn ang="0">
                                                                                                        <a:pos x="38" y="148"/>
                                                                                                      </a:cxn>
                                                                                                      <a:cxn ang="0">
                                                                                                        <a:pos x="36" y="128"/>
                                                                                                      </a:cxn>
                                                                                                      <a:cxn ang="0">
                                                                                                        <a:pos x="30" y="130"/>
                                                                                                      </a:cxn>
                                                                                                      <a:cxn ang="0">
                                                                                                        <a:pos x="22" y="132"/>
                                                                                                      </a:cxn>
                                                                                                      <a:cxn ang="0">
                                                                                                        <a:pos x="14" y="122"/>
                                                                                                      </a:cxn>
                                                                                                    </a:cxnLst>
                                                                                                    <a:rect l="0" t="0" r="r" b="b"/>
                                                                                                    <a:pathLst>
                                                                                                      <a:path w="70" h="190">
                                                                                                        <a:moveTo>
                                                                                                          <a:pt x="10" y="116"/>
                                                                                                        </a:moveTo>
                                                                                                        <a:lnTo>
                                                                                                          <a:pt x="10" y="116"/>
                                                                                                        </a:lnTo>
                                                                                                        <a:lnTo>
                                                                                                          <a:pt x="6" y="116"/>
                                                                                                        </a:lnTo>
                                                                                                        <a:lnTo>
                                                                                                          <a:pt x="4" y="116"/>
                                                                                                        </a:lnTo>
                                                                                                        <a:lnTo>
                                                                                                          <a:pt x="2" y="116"/>
                                                                                                        </a:lnTo>
                                                                                                        <a:lnTo>
                                                                                                          <a:pt x="0" y="114"/>
                                                                                                        </a:lnTo>
                                                                                                        <a:lnTo>
                                                                                                          <a:pt x="0" y="114"/>
                                                                                                        </a:lnTo>
                                                                                                        <a:lnTo>
                                                                                                          <a:pt x="0" y="112"/>
                                                                                                        </a:lnTo>
                                                                                                        <a:lnTo>
                                                                                                          <a:pt x="0" y="110"/>
                                                                                                        </a:lnTo>
                                                                                                        <a:lnTo>
                                                                                                          <a:pt x="2" y="106"/>
                                                                                                        </a:lnTo>
                                                                                                        <a:lnTo>
                                                                                                          <a:pt x="4" y="98"/>
                                                                                                        </a:lnTo>
                                                                                                        <a:lnTo>
                                                                                                          <a:pt x="4" y="98"/>
                                                                                                        </a:lnTo>
                                                                                                        <a:lnTo>
                                                                                                          <a:pt x="6" y="92"/>
                                                                                                        </a:lnTo>
                                                                                                        <a:lnTo>
                                                                                                          <a:pt x="8" y="88"/>
                                                                                                        </a:lnTo>
                                                                                                        <a:lnTo>
                                                                                                          <a:pt x="16" y="84"/>
                                                                                                        </a:lnTo>
                                                                                                        <a:lnTo>
                                                                                                          <a:pt x="16" y="84"/>
                                                                                                        </a:lnTo>
                                                                                                        <a:lnTo>
                                                                                                          <a:pt x="20" y="80"/>
                                                                                                        </a:lnTo>
                                                                                                        <a:lnTo>
                                                                                                          <a:pt x="22" y="78"/>
                                                                                                        </a:lnTo>
                                                                                                        <a:lnTo>
                                                                                                          <a:pt x="22" y="76"/>
                                                                                                        </a:lnTo>
                                                                                                        <a:lnTo>
                                                                                                          <a:pt x="20" y="76"/>
                                                                                                        </a:lnTo>
                                                                                                        <a:lnTo>
                                                                                                          <a:pt x="20" y="76"/>
                                                                                                        </a:lnTo>
                                                                                                        <a:lnTo>
                                                                                                          <a:pt x="18" y="76"/>
                                                                                                        </a:lnTo>
                                                                                                        <a:lnTo>
                                                                                                          <a:pt x="18" y="72"/>
                                                                                                        </a:lnTo>
                                                                                                        <a:lnTo>
                                                                                                          <a:pt x="16" y="56"/>
                                                                                                        </a:lnTo>
                                                                                                        <a:lnTo>
                                                                                                          <a:pt x="16" y="56"/>
                                                                                                        </a:lnTo>
                                                                                                        <a:lnTo>
                                                                                                          <a:pt x="18" y="42"/>
                                                                                                        </a:lnTo>
                                                                                                        <a:lnTo>
                                                                                                          <a:pt x="20" y="38"/>
                                                                                                        </a:lnTo>
                                                                                                        <a:lnTo>
                                                                                                          <a:pt x="24" y="36"/>
                                                                                                        </a:lnTo>
                                                                                                        <a:lnTo>
                                                                                                          <a:pt x="24" y="36"/>
                                                                                                        </a:lnTo>
                                                                                                        <a:lnTo>
                                                                                                          <a:pt x="26" y="32"/>
                                                                                                        </a:lnTo>
                                                                                                        <a:lnTo>
                                                                                                          <a:pt x="24" y="30"/>
                                                                                                        </a:lnTo>
                                                                                                        <a:lnTo>
                                                                                                          <a:pt x="22" y="26"/>
                                                                                                        </a:lnTo>
                                                                                                        <a:lnTo>
                                                                                                          <a:pt x="22" y="20"/>
                                                                                                        </a:lnTo>
                                                                                                        <a:lnTo>
                                                                                                          <a:pt x="22" y="20"/>
                                                                                                        </a:lnTo>
                                                                                                        <a:lnTo>
                                                                                                          <a:pt x="24" y="16"/>
                                                                                                        </a:lnTo>
                                                                                                        <a:lnTo>
                                                                                                          <a:pt x="24" y="14"/>
                                                                                                        </a:lnTo>
                                                                                                        <a:lnTo>
                                                                                                          <a:pt x="20" y="10"/>
                                                                                                        </a:lnTo>
                                                                                                        <a:lnTo>
                                                                                                          <a:pt x="18" y="6"/>
                                                                                                        </a:lnTo>
                                                                                                        <a:lnTo>
                                                                                                          <a:pt x="18" y="2"/>
                                                                                                        </a:lnTo>
                                                                                                        <a:lnTo>
                                                                                                          <a:pt x="20" y="0"/>
                                                                                                        </a:lnTo>
                                                                                                        <a:lnTo>
                                                                                                          <a:pt x="20" y="0"/>
                                                                                                        </a:lnTo>
                                                                                                        <a:lnTo>
                                                                                                          <a:pt x="36" y="6"/>
                                                                                                        </a:lnTo>
                                                                                                        <a:lnTo>
                                                                                                          <a:pt x="36" y="6"/>
                                                                                                        </a:lnTo>
                                                                                                        <a:lnTo>
                                                                                                          <a:pt x="36" y="8"/>
                                                                                                        </a:lnTo>
                                                                                                        <a:lnTo>
                                                                                                          <a:pt x="36" y="12"/>
                                                                                                        </a:lnTo>
                                                                                                        <a:lnTo>
                                                                                                          <a:pt x="40" y="20"/>
                                                                                                        </a:lnTo>
                                                                                                        <a:lnTo>
                                                                                                          <a:pt x="40" y="20"/>
                                                                                                        </a:lnTo>
                                                                                                        <a:lnTo>
                                                                                                          <a:pt x="40" y="26"/>
                                                                                                        </a:lnTo>
                                                                                                        <a:lnTo>
                                                                                                          <a:pt x="40" y="32"/>
                                                                                                        </a:lnTo>
                                                                                                        <a:lnTo>
                                                                                                          <a:pt x="38" y="40"/>
                                                                                                        </a:lnTo>
                                                                                                        <a:lnTo>
                                                                                                          <a:pt x="40" y="44"/>
                                                                                                        </a:lnTo>
                                                                                                        <a:lnTo>
                                                                                                          <a:pt x="42" y="46"/>
                                                                                                        </a:lnTo>
                                                                                                        <a:lnTo>
                                                                                                          <a:pt x="42" y="46"/>
                                                                                                        </a:lnTo>
                                                                                                        <a:lnTo>
                                                                                                          <a:pt x="44" y="50"/>
                                                                                                        </a:lnTo>
                                                                                                        <a:lnTo>
                                                                                                          <a:pt x="44" y="52"/>
                                                                                                        </a:lnTo>
                                                                                                        <a:lnTo>
                                                                                                          <a:pt x="40" y="60"/>
                                                                                                        </a:lnTo>
                                                                                                        <a:lnTo>
                                                                                                          <a:pt x="36" y="66"/>
                                                                                                        </a:lnTo>
                                                                                                        <a:lnTo>
                                                                                                          <a:pt x="34" y="70"/>
                                                                                                        </a:lnTo>
                                                                                                        <a:lnTo>
                                                                                                          <a:pt x="36" y="72"/>
                                                                                                        </a:lnTo>
                                                                                                        <a:lnTo>
                                                                                                          <a:pt x="36" y="72"/>
                                                                                                        </a:lnTo>
                                                                                                        <a:lnTo>
                                                                                                          <a:pt x="40" y="76"/>
                                                                                                        </a:lnTo>
                                                                                                        <a:lnTo>
                                                                                                          <a:pt x="40" y="80"/>
                                                                                                        </a:lnTo>
                                                                                                        <a:lnTo>
                                                                                                          <a:pt x="38" y="84"/>
                                                                                                        </a:lnTo>
                                                                                                        <a:lnTo>
                                                                                                          <a:pt x="38" y="88"/>
                                                                                                        </a:lnTo>
                                                                                                        <a:lnTo>
                                                                                                          <a:pt x="38" y="88"/>
                                                                                                        </a:lnTo>
                                                                                                        <a:lnTo>
                                                                                                          <a:pt x="38" y="92"/>
                                                                                                        </a:lnTo>
                                                                                                        <a:lnTo>
                                                                                                          <a:pt x="36" y="98"/>
                                                                                                        </a:lnTo>
                                                                                                        <a:lnTo>
                                                                                                          <a:pt x="36" y="102"/>
                                                                                                        </a:lnTo>
                                                                                                        <a:lnTo>
                                                                                                          <a:pt x="36" y="106"/>
                                                                                                        </a:lnTo>
                                                                                                        <a:lnTo>
                                                                                                          <a:pt x="38" y="108"/>
                                                                                                        </a:lnTo>
                                                                                                        <a:lnTo>
                                                                                                          <a:pt x="38" y="108"/>
                                                                                                        </a:lnTo>
                                                                                                        <a:lnTo>
                                                                                                          <a:pt x="42" y="110"/>
                                                                                                        </a:lnTo>
                                                                                                        <a:lnTo>
                                                                                                          <a:pt x="40" y="112"/>
                                                                                                        </a:lnTo>
                                                                                                        <a:lnTo>
                                                                                                          <a:pt x="40" y="114"/>
                                                                                                        </a:lnTo>
                                                                                                        <a:lnTo>
                                                                                                          <a:pt x="44" y="120"/>
                                                                                                        </a:lnTo>
                                                                                                        <a:lnTo>
                                                                                                          <a:pt x="44" y="120"/>
                                                                                                        </a:lnTo>
                                                                                                        <a:lnTo>
                                                                                                          <a:pt x="50" y="122"/>
                                                                                                        </a:lnTo>
                                                                                                        <a:lnTo>
                                                                                                          <a:pt x="52" y="120"/>
                                                                                                        </a:lnTo>
                                                                                                        <a:lnTo>
                                                                                                          <a:pt x="54" y="120"/>
                                                                                                        </a:lnTo>
                                                                                                        <a:lnTo>
                                                                                                          <a:pt x="54" y="120"/>
                                                                                                        </a:lnTo>
                                                                                                        <a:lnTo>
                                                                                                          <a:pt x="54" y="120"/>
                                                                                                        </a:lnTo>
                                                                                                        <a:lnTo>
                                                                                                          <a:pt x="58" y="126"/>
                                                                                                        </a:lnTo>
                                                                                                        <a:lnTo>
                                                                                                          <a:pt x="58" y="122"/>
                                                                                                        </a:lnTo>
                                                                                                        <a:lnTo>
                                                                                                          <a:pt x="58" y="114"/>
                                                                                                        </a:lnTo>
                                                                                                        <a:lnTo>
                                                                                                          <a:pt x="58" y="114"/>
                                                                                                        </a:lnTo>
                                                                                                        <a:lnTo>
                                                                                                          <a:pt x="66" y="122"/>
                                                                                                        </a:lnTo>
                                                                                                        <a:lnTo>
                                                                                                          <a:pt x="70" y="126"/>
                                                                                                        </a:lnTo>
                                                                                                        <a:lnTo>
                                                                                                          <a:pt x="70" y="132"/>
                                                                                                        </a:lnTo>
                                                                                                        <a:lnTo>
                                                                                                          <a:pt x="68" y="140"/>
                                                                                                        </a:lnTo>
                                                                                                        <a:lnTo>
                                                                                                          <a:pt x="68" y="140"/>
                                                                                                        </a:lnTo>
                                                                                                        <a:lnTo>
                                                                                                          <a:pt x="66" y="144"/>
                                                                                                        </a:lnTo>
                                                                                                        <a:lnTo>
                                                                                                          <a:pt x="66" y="148"/>
                                                                                                        </a:lnTo>
                                                                                                        <a:lnTo>
                                                                                                          <a:pt x="68" y="154"/>
                                                                                                        </a:lnTo>
                                                                                                        <a:lnTo>
                                                                                                          <a:pt x="68" y="158"/>
                                                                                                        </a:lnTo>
                                                                                                        <a:lnTo>
                                                                                                          <a:pt x="66" y="162"/>
                                                                                                        </a:lnTo>
                                                                                                        <a:lnTo>
                                                                                                          <a:pt x="62" y="164"/>
                                                                                                        </a:lnTo>
                                                                                                        <a:lnTo>
                                                                                                          <a:pt x="62" y="164"/>
                                                                                                        </a:lnTo>
                                                                                                        <a:lnTo>
                                                                                                          <a:pt x="60" y="168"/>
                                                                                                        </a:lnTo>
                                                                                                        <a:lnTo>
                                                                                                          <a:pt x="58" y="172"/>
                                                                                                        </a:lnTo>
                                                                                                        <a:lnTo>
                                                                                                          <a:pt x="56" y="180"/>
                                                                                                        </a:lnTo>
                                                                                                        <a:lnTo>
                                                                                                          <a:pt x="58" y="186"/>
                                                                                                        </a:lnTo>
                                                                                                        <a:lnTo>
                                                                                                          <a:pt x="58" y="188"/>
                                                                                                        </a:lnTo>
                                                                                                        <a:lnTo>
                                                                                                          <a:pt x="56" y="190"/>
                                                                                                        </a:lnTo>
                                                                                                        <a:lnTo>
                                                                                                          <a:pt x="56" y="190"/>
                                                                                                        </a:lnTo>
                                                                                                        <a:lnTo>
                                                                                                          <a:pt x="54" y="190"/>
                                                                                                        </a:lnTo>
                                                                                                        <a:lnTo>
                                                                                                          <a:pt x="52" y="188"/>
                                                                                                        </a:lnTo>
                                                                                                        <a:lnTo>
                                                                                                          <a:pt x="50" y="184"/>
                                                                                                        </a:lnTo>
                                                                                                        <a:lnTo>
                                                                                                          <a:pt x="46" y="180"/>
                                                                                                        </a:lnTo>
                                                                                                        <a:lnTo>
                                                                                                          <a:pt x="46" y="180"/>
                                                                                                        </a:lnTo>
                                                                                                        <a:lnTo>
                                                                                                          <a:pt x="42" y="180"/>
                                                                                                        </a:lnTo>
                                                                                                        <a:lnTo>
                                                                                                          <a:pt x="40" y="176"/>
                                                                                                        </a:lnTo>
                                                                                                        <a:lnTo>
                                                                                                          <a:pt x="34" y="164"/>
                                                                                                        </a:lnTo>
                                                                                                        <a:lnTo>
                                                                                                          <a:pt x="32" y="154"/>
                                                                                                        </a:lnTo>
                                                                                                        <a:lnTo>
                                                                                                          <a:pt x="34" y="152"/>
                                                                                                        </a:lnTo>
                                                                                                        <a:lnTo>
                                                                                                          <a:pt x="36" y="150"/>
                                                                                                        </a:lnTo>
                                                                                                        <a:lnTo>
                                                                                                          <a:pt x="36" y="150"/>
                                                                                                        </a:lnTo>
                                                                                                        <a:lnTo>
                                                                                                          <a:pt x="38" y="148"/>
                                                                                                        </a:lnTo>
                                                                                                        <a:lnTo>
                                                                                                          <a:pt x="38" y="140"/>
                                                                                                        </a:lnTo>
                                                                                                        <a:lnTo>
                                                                                                          <a:pt x="38" y="132"/>
                                                                                                        </a:lnTo>
                                                                                                        <a:lnTo>
                                                                                                          <a:pt x="36" y="128"/>
                                                                                                        </a:lnTo>
                                                                                                        <a:lnTo>
                                                                                                          <a:pt x="36" y="128"/>
                                                                                                        </a:lnTo>
                                                                                                        <a:lnTo>
                                                                                                          <a:pt x="34" y="128"/>
                                                                                                        </a:lnTo>
                                                                                                        <a:lnTo>
                                                                                                          <a:pt x="30" y="130"/>
                                                                                                        </a:lnTo>
                                                                                                        <a:lnTo>
                                                                                                          <a:pt x="26" y="132"/>
                                                                                                        </a:lnTo>
                                                                                                        <a:lnTo>
                                                                                                          <a:pt x="22" y="132"/>
                                                                                                        </a:lnTo>
                                                                                                        <a:lnTo>
                                                                                                          <a:pt x="22" y="132"/>
                                                                                                        </a:lnTo>
                                                                                                        <a:lnTo>
                                                                                                          <a:pt x="20" y="130"/>
                                                                                                        </a:lnTo>
                                                                                                        <a:lnTo>
                                                                                                          <a:pt x="18" y="126"/>
                                                                                                        </a:lnTo>
                                                                                                        <a:lnTo>
                                                                                                          <a:pt x="14" y="122"/>
                                                                                                        </a:lnTo>
                                                                                                        <a:lnTo>
                                                                                                          <a:pt x="10" y="116"/>
                                                                                                        </a:lnTo>
                                                                                                        <a:lnTo>
                                                                                                          <a:pt x="10" y="116"/>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baseline="-25000" dirty="0">
                                                                                                      <a:solidFill>
                                                                                                        <a:schemeClr val="tx1"/>
                                                                                                      </a:solidFill>
                                                                                                    </a:endParaRPr>
                                                                                                  </a:p>
                                                                                                </p:txBody>
                                                                                              </p:sp>
                                                                                              <p:sp>
                                                                                                <p:nvSpPr>
                                                                                                  <p:cNvPr id="758" name="Rwanda"/>
                                                                                                  <p:cNvSpPr>
                                                                                                    <a:spLocks/>
                                                                                                  </p:cNvSpPr>
                                                                                                  <p:nvPr/>
                                                                                                </p:nvSpPr>
                                                                                                <p:spPr bwMode="auto">
                                                                                                  <a:xfrm>
                                                                                                    <a:off x="6720057" y="3715640"/>
                                                                                                    <a:ext cx="78979" cy="78906"/>
                                                                                                  </a:xfrm>
                                                                                                  <a:custGeom>
                                                                                                    <a:avLst/>
                                                                                                    <a:gdLst/>
                                                                                                    <a:ahLst/>
                                                                                                    <a:cxnLst>
                                                                                                      <a:cxn ang="0">
                                                                                                        <a:pos x="20" y="6"/>
                                                                                                      </a:cxn>
                                                                                                      <a:cxn ang="0">
                                                                                                        <a:pos x="20" y="6"/>
                                                                                                      </a:cxn>
                                                                                                      <a:cxn ang="0">
                                                                                                        <a:pos x="26" y="4"/>
                                                                                                      </a:cxn>
                                                                                                      <a:cxn ang="0">
                                                                                                        <a:pos x="28" y="4"/>
                                                                                                      </a:cxn>
                                                                                                      <a:cxn ang="0">
                                                                                                        <a:pos x="30" y="6"/>
                                                                                                      </a:cxn>
                                                                                                      <a:cxn ang="0">
                                                                                                        <a:pos x="40" y="2"/>
                                                                                                      </a:cxn>
                                                                                                      <a:cxn ang="0">
                                                                                                        <a:pos x="40" y="2"/>
                                                                                                      </a:cxn>
                                                                                                      <a:cxn ang="0">
                                                                                                        <a:pos x="46" y="0"/>
                                                                                                      </a:cxn>
                                                                                                      <a:cxn ang="0">
                                                                                                        <a:pos x="50" y="0"/>
                                                                                                      </a:cxn>
                                                                                                      <a:cxn ang="0">
                                                                                                        <a:pos x="50" y="0"/>
                                                                                                      </a:cxn>
                                                                                                      <a:cxn ang="0">
                                                                                                        <a:pos x="48" y="4"/>
                                                                                                      </a:cxn>
                                                                                                      <a:cxn ang="0">
                                                                                                        <a:pos x="48" y="8"/>
                                                                                                      </a:cxn>
                                                                                                      <a:cxn ang="0">
                                                                                                        <a:pos x="48" y="16"/>
                                                                                                      </a:cxn>
                                                                                                      <a:cxn ang="0">
                                                                                                        <a:pos x="52" y="22"/>
                                                                                                      </a:cxn>
                                                                                                      <a:cxn ang="0">
                                                                                                        <a:pos x="52" y="26"/>
                                                                                                      </a:cxn>
                                                                                                      <a:cxn ang="0">
                                                                                                        <a:pos x="50" y="32"/>
                                                                                                      </a:cxn>
                                                                                                      <a:cxn ang="0">
                                                                                                        <a:pos x="50" y="32"/>
                                                                                                      </a:cxn>
                                                                                                      <a:cxn ang="0">
                                                                                                        <a:pos x="48" y="38"/>
                                                                                                      </a:cxn>
                                                                                                      <a:cxn ang="0">
                                                                                                        <a:pos x="46" y="42"/>
                                                                                                      </a:cxn>
                                                                                                      <a:cxn ang="0">
                                                                                                        <a:pos x="42" y="44"/>
                                                                                                      </a:cxn>
                                                                                                      <a:cxn ang="0">
                                                                                                        <a:pos x="34" y="42"/>
                                                                                                      </a:cxn>
                                                                                                      <a:cxn ang="0">
                                                                                                        <a:pos x="34" y="42"/>
                                                                                                      </a:cxn>
                                                                                                      <a:cxn ang="0">
                                                                                                        <a:pos x="28" y="40"/>
                                                                                                      </a:cxn>
                                                                                                      <a:cxn ang="0">
                                                                                                        <a:pos x="24" y="40"/>
                                                                                                      </a:cxn>
                                                                                                      <a:cxn ang="0">
                                                                                                        <a:pos x="18" y="40"/>
                                                                                                      </a:cxn>
                                                                                                      <a:cxn ang="0">
                                                                                                        <a:pos x="18" y="42"/>
                                                                                                      </a:cxn>
                                                                                                      <a:cxn ang="0">
                                                                                                        <a:pos x="18" y="46"/>
                                                                                                      </a:cxn>
                                                                                                      <a:cxn ang="0">
                                                                                                        <a:pos x="18" y="46"/>
                                                                                                      </a:cxn>
                                                                                                      <a:cxn ang="0">
                                                                                                        <a:pos x="18" y="52"/>
                                                                                                      </a:cxn>
                                                                                                      <a:cxn ang="0">
                                                                                                        <a:pos x="16" y="52"/>
                                                                                                      </a:cxn>
                                                                                                      <a:cxn ang="0">
                                                                                                        <a:pos x="10" y="50"/>
                                                                                                      </a:cxn>
                                                                                                      <a:cxn ang="0">
                                                                                                        <a:pos x="6" y="50"/>
                                                                                                      </a:cxn>
                                                                                                      <a:cxn ang="0">
                                                                                                        <a:pos x="2" y="50"/>
                                                                                                      </a:cxn>
                                                                                                      <a:cxn ang="0">
                                                                                                        <a:pos x="2" y="50"/>
                                                                                                      </a:cxn>
                                                                                                      <a:cxn ang="0">
                                                                                                        <a:pos x="0" y="42"/>
                                                                                                      </a:cxn>
                                                                                                      <a:cxn ang="0">
                                                                                                        <a:pos x="2" y="38"/>
                                                                                                      </a:cxn>
                                                                                                      <a:cxn ang="0">
                                                                                                        <a:pos x="4" y="36"/>
                                                                                                      </a:cxn>
                                                                                                      <a:cxn ang="0">
                                                                                                        <a:pos x="6" y="36"/>
                                                                                                      </a:cxn>
                                                                                                      <a:cxn ang="0">
                                                                                                        <a:pos x="6" y="36"/>
                                                                                                      </a:cxn>
                                                                                                      <a:cxn ang="0">
                                                                                                        <a:pos x="12" y="32"/>
                                                                                                      </a:cxn>
                                                                                                      <a:cxn ang="0">
                                                                                                        <a:pos x="14" y="28"/>
                                                                                                      </a:cxn>
                                                                                                      <a:cxn ang="0">
                                                                                                        <a:pos x="14" y="26"/>
                                                                                                      </a:cxn>
                                                                                                      <a:cxn ang="0">
                                                                                                        <a:pos x="14" y="22"/>
                                                                                                      </a:cxn>
                                                                                                      <a:cxn ang="0">
                                                                                                        <a:pos x="14" y="14"/>
                                                                                                      </a:cxn>
                                                                                                      <a:cxn ang="0">
                                                                                                        <a:pos x="16" y="10"/>
                                                                                                      </a:cxn>
                                                                                                      <a:cxn ang="0">
                                                                                                        <a:pos x="20" y="6"/>
                                                                                                      </a:cxn>
                                                                                                      <a:cxn ang="0">
                                                                                                        <a:pos x="20" y="6"/>
                                                                                                      </a:cxn>
                                                                                                    </a:cxnLst>
                                                                                                    <a:rect l="0" t="0" r="r" b="b"/>
                                                                                                    <a:pathLst>
                                                                                                      <a:path w="52" h="52">
                                                                                                        <a:moveTo>
                                                                                                          <a:pt x="20" y="6"/>
                                                                                                        </a:moveTo>
                                                                                                        <a:lnTo>
                                                                                                          <a:pt x="20" y="6"/>
                                                                                                        </a:lnTo>
                                                                                                        <a:lnTo>
                                                                                                          <a:pt x="26" y="4"/>
                                                                                                        </a:lnTo>
                                                                                                        <a:lnTo>
                                                                                                          <a:pt x="28" y="4"/>
                                                                                                        </a:lnTo>
                                                                                                        <a:lnTo>
                                                                                                          <a:pt x="30" y="6"/>
                                                                                                        </a:lnTo>
                                                                                                        <a:lnTo>
                                                                                                          <a:pt x="40" y="2"/>
                                                                                                        </a:lnTo>
                                                                                                        <a:lnTo>
                                                                                                          <a:pt x="40" y="2"/>
                                                                                                        </a:lnTo>
                                                                                                        <a:lnTo>
                                                                                                          <a:pt x="46" y="0"/>
                                                                                                        </a:lnTo>
                                                                                                        <a:lnTo>
                                                                                                          <a:pt x="50" y="0"/>
                                                                                                        </a:lnTo>
                                                                                                        <a:lnTo>
                                                                                                          <a:pt x="50" y="0"/>
                                                                                                        </a:lnTo>
                                                                                                        <a:lnTo>
                                                                                                          <a:pt x="48" y="4"/>
                                                                                                        </a:lnTo>
                                                                                                        <a:lnTo>
                                                                                                          <a:pt x="48" y="8"/>
                                                                                                        </a:lnTo>
                                                                                                        <a:lnTo>
                                                                                                          <a:pt x="48" y="16"/>
                                                                                                        </a:lnTo>
                                                                                                        <a:lnTo>
                                                                                                          <a:pt x="52" y="22"/>
                                                                                                        </a:lnTo>
                                                                                                        <a:lnTo>
                                                                                                          <a:pt x="52" y="26"/>
                                                                                                        </a:lnTo>
                                                                                                        <a:lnTo>
                                                                                                          <a:pt x="50" y="32"/>
                                                                                                        </a:lnTo>
                                                                                                        <a:lnTo>
                                                                                                          <a:pt x="50" y="32"/>
                                                                                                        </a:lnTo>
                                                                                                        <a:lnTo>
                                                                                                          <a:pt x="48" y="38"/>
                                                                                                        </a:lnTo>
                                                                                                        <a:lnTo>
                                                                                                          <a:pt x="46" y="42"/>
                                                                                                        </a:lnTo>
                                                                                                        <a:lnTo>
                                                                                                          <a:pt x="42" y="44"/>
                                                                                                        </a:lnTo>
                                                                                                        <a:lnTo>
                                                                                                          <a:pt x="34" y="42"/>
                                                                                                        </a:lnTo>
                                                                                                        <a:lnTo>
                                                                                                          <a:pt x="34" y="42"/>
                                                                                                        </a:lnTo>
                                                                                                        <a:lnTo>
                                                                                                          <a:pt x="28" y="40"/>
                                                                                                        </a:lnTo>
                                                                                                        <a:lnTo>
                                                                                                          <a:pt x="24" y="40"/>
                                                                                                        </a:lnTo>
                                                                                                        <a:lnTo>
                                                                                                          <a:pt x="18" y="40"/>
                                                                                                        </a:lnTo>
                                                                                                        <a:lnTo>
                                                                                                          <a:pt x="18" y="42"/>
                                                                                                        </a:lnTo>
                                                                                                        <a:lnTo>
                                                                                                          <a:pt x="18" y="46"/>
                                                                                                        </a:lnTo>
                                                                                                        <a:lnTo>
                                                                                                          <a:pt x="18" y="46"/>
                                                                                                        </a:lnTo>
                                                                                                        <a:lnTo>
                                                                                                          <a:pt x="18" y="52"/>
                                                                                                        </a:lnTo>
                                                                                                        <a:lnTo>
                                                                                                          <a:pt x="16" y="52"/>
                                                                                                        </a:lnTo>
                                                                                                        <a:lnTo>
                                                                                                          <a:pt x="10" y="50"/>
                                                                                                        </a:lnTo>
                                                                                                        <a:lnTo>
                                                                                                          <a:pt x="6" y="50"/>
                                                                                                        </a:lnTo>
                                                                                                        <a:lnTo>
                                                                                                          <a:pt x="2" y="50"/>
                                                                                                        </a:lnTo>
                                                                                                        <a:lnTo>
                                                                                                          <a:pt x="2" y="50"/>
                                                                                                        </a:lnTo>
                                                                                                        <a:lnTo>
                                                                                                          <a:pt x="0" y="42"/>
                                                                                                        </a:lnTo>
                                                                                                        <a:lnTo>
                                                                                                          <a:pt x="2" y="38"/>
                                                                                                        </a:lnTo>
                                                                                                        <a:lnTo>
                                                                                                          <a:pt x="4" y="36"/>
                                                                                                        </a:lnTo>
                                                                                                        <a:lnTo>
                                                                                                          <a:pt x="6" y="36"/>
                                                                                                        </a:lnTo>
                                                                                                        <a:lnTo>
                                                                                                          <a:pt x="6" y="36"/>
                                                                                                        </a:lnTo>
                                                                                                        <a:lnTo>
                                                                                                          <a:pt x="12" y="32"/>
                                                                                                        </a:lnTo>
                                                                                                        <a:lnTo>
                                                                                                          <a:pt x="14" y="28"/>
                                                                                                        </a:lnTo>
                                                                                                        <a:lnTo>
                                                                                                          <a:pt x="14" y="26"/>
                                                                                                        </a:lnTo>
                                                                                                        <a:lnTo>
                                                                                                          <a:pt x="14" y="22"/>
                                                                                                        </a:lnTo>
                                                                                                        <a:lnTo>
                                                                                                          <a:pt x="14" y="14"/>
                                                                                                        </a:lnTo>
                                                                                                        <a:lnTo>
                                                                                                          <a:pt x="16" y="10"/>
                                                                                                        </a:lnTo>
                                                                                                        <a:lnTo>
                                                                                                          <a:pt x="20" y="6"/>
                                                                                                        </a:lnTo>
                                                                                                        <a:lnTo>
                                                                                                          <a:pt x="20" y="6"/>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baseline="-25000" dirty="0">
                                                                                                      <a:solidFill>
                                                                                                        <a:schemeClr val="tx1"/>
                                                                                                      </a:solidFill>
                                                                                                    </a:endParaRPr>
                                                                                                  </a:p>
                                                                                                </p:txBody>
                                                                                              </p:sp>
                                                                                              <p:sp>
                                                                                                <p:nvSpPr>
                                                                                                  <p:cNvPr id="769" name="Togo"/>
                                                                                                  <p:cNvSpPr>
                                                                                                    <a:spLocks/>
                                                                                                  </p:cNvSpPr>
                                                                                                  <p:nvPr/>
                                                                                                </p:nvSpPr>
                                                                                                <p:spPr bwMode="auto">
                                                                                                  <a:xfrm>
                                                                                                    <a:off x="5778803" y="3254480"/>
                                                                                                    <a:ext cx="75941" cy="206369"/>
                                                                                                  </a:xfrm>
                                                                                                  <a:custGeom>
                                                                                                    <a:avLst/>
                                                                                                    <a:gdLst/>
                                                                                                    <a:ahLst/>
                                                                                                    <a:cxnLst>
                                                                                                      <a:cxn ang="0">
                                                                                                        <a:pos x="20" y="0"/>
                                                                                                      </a:cxn>
                                                                                                      <a:cxn ang="0">
                                                                                                        <a:pos x="16" y="2"/>
                                                                                                      </a:cxn>
                                                                                                      <a:cxn ang="0">
                                                                                                        <a:pos x="2" y="0"/>
                                                                                                      </a:cxn>
                                                                                                      <a:cxn ang="0">
                                                                                                        <a:pos x="0" y="8"/>
                                                                                                      </a:cxn>
                                                                                                      <a:cxn ang="0">
                                                                                                        <a:pos x="2" y="14"/>
                                                                                                      </a:cxn>
                                                                                                      <a:cxn ang="0">
                                                                                                        <a:pos x="2" y="18"/>
                                                                                                      </a:cxn>
                                                                                                      <a:cxn ang="0">
                                                                                                        <a:pos x="2" y="20"/>
                                                                                                      </a:cxn>
                                                                                                      <a:cxn ang="0">
                                                                                                        <a:pos x="8" y="20"/>
                                                                                                      </a:cxn>
                                                                                                      <a:cxn ang="0">
                                                                                                        <a:pos x="8" y="24"/>
                                                                                                      </a:cxn>
                                                                                                      <a:cxn ang="0">
                                                                                                        <a:pos x="8" y="30"/>
                                                                                                      </a:cxn>
                                                                                                      <a:cxn ang="0">
                                                                                                        <a:pos x="12" y="36"/>
                                                                                                      </a:cxn>
                                                                                                      <a:cxn ang="0">
                                                                                                        <a:pos x="12" y="44"/>
                                                                                                      </a:cxn>
                                                                                                      <a:cxn ang="0">
                                                                                                        <a:pos x="12" y="48"/>
                                                                                                      </a:cxn>
                                                                                                      <a:cxn ang="0">
                                                                                                        <a:pos x="14" y="54"/>
                                                                                                      </a:cxn>
                                                                                                      <a:cxn ang="0">
                                                                                                        <a:pos x="18" y="58"/>
                                                                                                      </a:cxn>
                                                                                                      <a:cxn ang="0">
                                                                                                        <a:pos x="20" y="58"/>
                                                                                                      </a:cxn>
                                                                                                      <a:cxn ang="0">
                                                                                                        <a:pos x="20" y="68"/>
                                                                                                      </a:cxn>
                                                                                                      <a:cxn ang="0">
                                                                                                        <a:pos x="20" y="74"/>
                                                                                                      </a:cxn>
                                                                                                      <a:cxn ang="0">
                                                                                                        <a:pos x="20" y="76"/>
                                                                                                      </a:cxn>
                                                                                                      <a:cxn ang="0">
                                                                                                        <a:pos x="18" y="78"/>
                                                                                                      </a:cxn>
                                                                                                      <a:cxn ang="0">
                                                                                                        <a:pos x="20" y="84"/>
                                                                                                      </a:cxn>
                                                                                                      <a:cxn ang="0">
                                                                                                        <a:pos x="20" y="86"/>
                                                                                                      </a:cxn>
                                                                                                      <a:cxn ang="0">
                                                                                                        <a:pos x="18" y="94"/>
                                                                                                      </a:cxn>
                                                                                                      <a:cxn ang="0">
                                                                                                        <a:pos x="16" y="108"/>
                                                                                                      </a:cxn>
                                                                                                      <a:cxn ang="0">
                                                                                                        <a:pos x="16" y="114"/>
                                                                                                      </a:cxn>
                                                                                                      <a:cxn ang="0">
                                                                                                        <a:pos x="22" y="120"/>
                                                                                                      </a:cxn>
                                                                                                      <a:cxn ang="0">
                                                                                                        <a:pos x="24" y="124"/>
                                                                                                      </a:cxn>
                                                                                                      <a:cxn ang="0">
                                                                                                        <a:pos x="28" y="128"/>
                                                                                                      </a:cxn>
                                                                                                      <a:cxn ang="0">
                                                                                                        <a:pos x="32" y="136"/>
                                                                                                      </a:cxn>
                                                                                                      <a:cxn ang="0">
                                                                                                        <a:pos x="42" y="134"/>
                                                                                                      </a:cxn>
                                                                                                      <a:cxn ang="0">
                                                                                                        <a:pos x="50" y="130"/>
                                                                                                      </a:cxn>
                                                                                                      <a:cxn ang="0">
                                                                                                        <a:pos x="48" y="124"/>
                                                                                                      </a:cxn>
                                                                                                      <a:cxn ang="0">
                                                                                                        <a:pos x="42" y="118"/>
                                                                                                      </a:cxn>
                                                                                                      <a:cxn ang="0">
                                                                                                        <a:pos x="40" y="112"/>
                                                                                                      </a:cxn>
                                                                                                      <a:cxn ang="0">
                                                                                                        <a:pos x="42" y="108"/>
                                                                                                      </a:cxn>
                                                                                                      <a:cxn ang="0">
                                                                                                        <a:pos x="44" y="104"/>
                                                                                                      </a:cxn>
                                                                                                      <a:cxn ang="0">
                                                                                                        <a:pos x="42" y="62"/>
                                                                                                      </a:cxn>
                                                                                                      <a:cxn ang="0">
                                                                                                        <a:pos x="42" y="56"/>
                                                                                                      </a:cxn>
                                                                                                      <a:cxn ang="0">
                                                                                                        <a:pos x="38" y="54"/>
                                                                                                      </a:cxn>
                                                                                                      <a:cxn ang="0">
                                                                                                        <a:pos x="34" y="48"/>
                                                                                                      </a:cxn>
                                                                                                      <a:cxn ang="0">
                                                                                                        <a:pos x="34" y="34"/>
                                                                                                      </a:cxn>
                                                                                                      <a:cxn ang="0">
                                                                                                        <a:pos x="30" y="28"/>
                                                                                                      </a:cxn>
                                                                                                      <a:cxn ang="0">
                                                                                                        <a:pos x="22" y="24"/>
                                                                                                      </a:cxn>
                                                                                                      <a:cxn ang="0">
                                                                                                        <a:pos x="18" y="12"/>
                                                                                                      </a:cxn>
                                                                                                      <a:cxn ang="0">
                                                                                                        <a:pos x="20" y="0"/>
                                                                                                      </a:cxn>
                                                                                                    </a:cxnLst>
                                                                                                    <a:rect l="0" t="0" r="r" b="b"/>
                                                                                                    <a:pathLst>
                                                                                                      <a:path w="50" h="136">
                                                                                                        <a:moveTo>
                                                                                                          <a:pt x="20" y="0"/>
                                                                                                        </a:moveTo>
                                                                                                        <a:lnTo>
                                                                                                          <a:pt x="20" y="0"/>
                                                                                                        </a:lnTo>
                                                                                                        <a:lnTo>
                                                                                                          <a:pt x="18" y="2"/>
                                                                                                        </a:lnTo>
                                                                                                        <a:lnTo>
                                                                                                          <a:pt x="16" y="2"/>
                                                                                                        </a:lnTo>
                                                                                                        <a:lnTo>
                                                                                                          <a:pt x="12" y="0"/>
                                                                                                        </a:lnTo>
                                                                                                        <a:lnTo>
                                                                                                          <a:pt x="2" y="0"/>
                                                                                                        </a:lnTo>
                                                                                                        <a:lnTo>
                                                                                                          <a:pt x="2" y="0"/>
                                                                                                        </a:lnTo>
                                                                                                        <a:lnTo>
                                                                                                          <a:pt x="0" y="8"/>
                                                                                                        </a:lnTo>
                                                                                                        <a:lnTo>
                                                                                                          <a:pt x="0" y="12"/>
                                                                                                        </a:lnTo>
                                                                                                        <a:lnTo>
                                                                                                          <a:pt x="2" y="14"/>
                                                                                                        </a:lnTo>
                                                                                                        <a:lnTo>
                                                                                                          <a:pt x="2" y="18"/>
                                                                                                        </a:lnTo>
                                                                                                        <a:lnTo>
                                                                                                          <a:pt x="2" y="18"/>
                                                                                                        </a:lnTo>
                                                                                                        <a:lnTo>
                                                                                                          <a:pt x="2" y="20"/>
                                                                                                        </a:lnTo>
                                                                                                        <a:lnTo>
                                                                                                          <a:pt x="2" y="20"/>
                                                                                                        </a:lnTo>
                                                                                                        <a:lnTo>
                                                                                                          <a:pt x="6" y="20"/>
                                                                                                        </a:lnTo>
                                                                                                        <a:lnTo>
                                                                                                          <a:pt x="8" y="20"/>
                                                                                                        </a:lnTo>
                                                                                                        <a:lnTo>
                                                                                                          <a:pt x="8" y="24"/>
                                                                                                        </a:lnTo>
                                                                                                        <a:lnTo>
                                                                                                          <a:pt x="8" y="24"/>
                                                                                                        </a:lnTo>
                                                                                                        <a:lnTo>
                                                                                                          <a:pt x="8" y="28"/>
                                                                                                        </a:lnTo>
                                                                                                        <a:lnTo>
                                                                                                          <a:pt x="8" y="30"/>
                                                                                                        </a:lnTo>
                                                                                                        <a:lnTo>
                                                                                                          <a:pt x="10" y="32"/>
                                                                                                        </a:lnTo>
                                                                                                        <a:lnTo>
                                                                                                          <a:pt x="12" y="36"/>
                                                                                                        </a:lnTo>
                                                                                                        <a:lnTo>
                                                                                                          <a:pt x="12" y="36"/>
                                                                                                        </a:lnTo>
                                                                                                        <a:lnTo>
                                                                                                          <a:pt x="12" y="44"/>
                                                                                                        </a:lnTo>
                                                                                                        <a:lnTo>
                                                                                                          <a:pt x="12" y="46"/>
                                                                                                        </a:lnTo>
                                                                                                        <a:lnTo>
                                                                                                          <a:pt x="12" y="48"/>
                                                                                                        </a:lnTo>
                                                                                                        <a:lnTo>
                                                                                                          <a:pt x="12" y="48"/>
                                                                                                        </a:lnTo>
                                                                                                        <a:lnTo>
                                                                                                          <a:pt x="14" y="54"/>
                                                                                                        </a:lnTo>
                                                                                                        <a:lnTo>
                                                                                                          <a:pt x="16" y="58"/>
                                                                                                        </a:lnTo>
                                                                                                        <a:lnTo>
                                                                                                          <a:pt x="18" y="58"/>
                                                                                                        </a:lnTo>
                                                                                                        <a:lnTo>
                                                                                                          <a:pt x="18" y="58"/>
                                                                                                        </a:lnTo>
                                                                                                        <a:lnTo>
                                                                                                          <a:pt x="20" y="58"/>
                                                                                                        </a:lnTo>
                                                                                                        <a:lnTo>
                                                                                                          <a:pt x="20" y="60"/>
                                                                                                        </a:lnTo>
                                                                                                        <a:lnTo>
                                                                                                          <a:pt x="20" y="68"/>
                                                                                                        </a:lnTo>
                                                                                                        <a:lnTo>
                                                                                                          <a:pt x="20" y="68"/>
                                                                                                        </a:lnTo>
                                                                                                        <a:lnTo>
                                                                                                          <a:pt x="20" y="74"/>
                                                                                                        </a:lnTo>
                                                                                                        <a:lnTo>
                                                                                                          <a:pt x="20" y="76"/>
                                                                                                        </a:lnTo>
                                                                                                        <a:lnTo>
                                                                                                          <a:pt x="20" y="76"/>
                                                                                                        </a:lnTo>
                                                                                                        <a:lnTo>
                                                                                                          <a:pt x="20" y="76"/>
                                                                                                        </a:lnTo>
                                                                                                        <a:lnTo>
                                                                                                          <a:pt x="18" y="78"/>
                                                                                                        </a:lnTo>
                                                                                                        <a:lnTo>
                                                                                                          <a:pt x="20" y="82"/>
                                                                                                        </a:lnTo>
                                                                                                        <a:lnTo>
                                                                                                          <a:pt x="20" y="84"/>
                                                                                                        </a:lnTo>
                                                                                                        <a:lnTo>
                                                                                                          <a:pt x="20" y="86"/>
                                                                                                        </a:lnTo>
                                                                                                        <a:lnTo>
                                                                                                          <a:pt x="20" y="86"/>
                                                                                                        </a:lnTo>
                                                                                                        <a:lnTo>
                                                                                                          <a:pt x="18" y="90"/>
                                                                                                        </a:lnTo>
                                                                                                        <a:lnTo>
                                                                                                          <a:pt x="18" y="94"/>
                                                                                                        </a:lnTo>
                                                                                                        <a:lnTo>
                                                                                                          <a:pt x="18" y="100"/>
                                                                                                        </a:lnTo>
                                                                                                        <a:lnTo>
                                                                                                          <a:pt x="16" y="108"/>
                                                                                                        </a:lnTo>
                                                                                                        <a:lnTo>
                                                                                                          <a:pt x="16" y="108"/>
                                                                                                        </a:lnTo>
                                                                                                        <a:lnTo>
                                                                                                          <a:pt x="16" y="114"/>
                                                                                                        </a:lnTo>
                                                                                                        <a:lnTo>
                                                                                                          <a:pt x="18" y="116"/>
                                                                                                        </a:lnTo>
                                                                                                        <a:lnTo>
                                                                                                          <a:pt x="22" y="120"/>
                                                                                                        </a:lnTo>
                                                                                                        <a:lnTo>
                                                                                                          <a:pt x="24" y="124"/>
                                                                                                        </a:lnTo>
                                                                                                        <a:lnTo>
                                                                                                          <a:pt x="24" y="124"/>
                                                                                                        </a:lnTo>
                                                                                                        <a:lnTo>
                                                                                                          <a:pt x="26" y="128"/>
                                                                                                        </a:lnTo>
                                                                                                        <a:lnTo>
                                                                                                          <a:pt x="28" y="128"/>
                                                                                                        </a:lnTo>
                                                                                                        <a:lnTo>
                                                                                                          <a:pt x="30" y="130"/>
                                                                                                        </a:lnTo>
                                                                                                        <a:lnTo>
                                                                                                          <a:pt x="32" y="136"/>
                                                                                                        </a:lnTo>
                                                                                                        <a:lnTo>
                                                                                                          <a:pt x="32" y="136"/>
                                                                                                        </a:lnTo>
                                                                                                        <a:lnTo>
                                                                                                          <a:pt x="42" y="134"/>
                                                                                                        </a:lnTo>
                                                                                                        <a:lnTo>
                                                                                                          <a:pt x="46" y="134"/>
                                                                                                        </a:lnTo>
                                                                                                        <a:lnTo>
                                                                                                          <a:pt x="50" y="130"/>
                                                                                                        </a:lnTo>
                                                                                                        <a:lnTo>
                                                                                                          <a:pt x="50" y="130"/>
                                                                                                        </a:lnTo>
                                                                                                        <a:lnTo>
                                                                                                          <a:pt x="48" y="124"/>
                                                                                                        </a:lnTo>
                                                                                                        <a:lnTo>
                                                                                                          <a:pt x="44" y="122"/>
                                                                                                        </a:lnTo>
                                                                                                        <a:lnTo>
                                                                                                          <a:pt x="42" y="118"/>
                                                                                                        </a:lnTo>
                                                                                                        <a:lnTo>
                                                                                                          <a:pt x="40" y="112"/>
                                                                                                        </a:lnTo>
                                                                                                        <a:lnTo>
                                                                                                          <a:pt x="40" y="112"/>
                                                                                                        </a:lnTo>
                                                                                                        <a:lnTo>
                                                                                                          <a:pt x="42" y="108"/>
                                                                                                        </a:lnTo>
                                                                                                        <a:lnTo>
                                                                                                          <a:pt x="42" y="108"/>
                                                                                                        </a:lnTo>
                                                                                                        <a:lnTo>
                                                                                                          <a:pt x="44" y="106"/>
                                                                                                        </a:lnTo>
                                                                                                        <a:lnTo>
                                                                                                          <a:pt x="44" y="104"/>
                                                                                                        </a:lnTo>
                                                                                                        <a:lnTo>
                                                                                                          <a:pt x="44" y="104"/>
                                                                                                        </a:lnTo>
                                                                                                        <a:lnTo>
                                                                                                          <a:pt x="42" y="62"/>
                                                                                                        </a:lnTo>
                                                                                                        <a:lnTo>
                                                                                                          <a:pt x="42" y="62"/>
                                                                                                        </a:lnTo>
                                                                                                        <a:lnTo>
                                                                                                          <a:pt x="42" y="56"/>
                                                                                                        </a:lnTo>
                                                                                                        <a:lnTo>
                                                                                                          <a:pt x="38" y="54"/>
                                                                                                        </a:lnTo>
                                                                                                        <a:lnTo>
                                                                                                          <a:pt x="38" y="54"/>
                                                                                                        </a:lnTo>
                                                                                                        <a:lnTo>
                                                                                                          <a:pt x="36" y="50"/>
                                                                                                        </a:lnTo>
                                                                                                        <a:lnTo>
                                                                                                          <a:pt x="34" y="48"/>
                                                                                                        </a:lnTo>
                                                                                                        <a:lnTo>
                                                                                                          <a:pt x="34" y="40"/>
                                                                                                        </a:lnTo>
                                                                                                        <a:lnTo>
                                                                                                          <a:pt x="34" y="34"/>
                                                                                                        </a:lnTo>
                                                                                                        <a:lnTo>
                                                                                                          <a:pt x="32" y="30"/>
                                                                                                        </a:lnTo>
                                                                                                        <a:lnTo>
                                                                                                          <a:pt x="30" y="28"/>
                                                                                                        </a:lnTo>
                                                                                                        <a:lnTo>
                                                                                                          <a:pt x="30" y="28"/>
                                                                                                        </a:lnTo>
                                                                                                        <a:lnTo>
                                                                                                          <a:pt x="22" y="24"/>
                                                                                                        </a:lnTo>
                                                                                                        <a:lnTo>
                                                                                                          <a:pt x="20" y="20"/>
                                                                                                        </a:lnTo>
                                                                                                        <a:lnTo>
                                                                                                          <a:pt x="18" y="12"/>
                                                                                                        </a:lnTo>
                                                                                                        <a:lnTo>
                                                                                                          <a:pt x="20" y="0"/>
                                                                                                        </a:lnTo>
                                                                                                        <a:lnTo>
                                                                                                          <a:pt x="20" y="0"/>
                                                                                                        </a:lnTo>
                                                                                                        <a:close/>
                                                                                                      </a:path>
                                                                                                    </a:pathLst>
                                                                                                  </a:custGeom>
                                                                                                  <a:grpFill/>
                                                                                                  <a:ln w="63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aseline="-25000" dirty="0">
                                                                                                      <a:solidFill>
                                                                                                        <a:schemeClr val="bg1">
                                                                                                          <a:alpha val="99000"/>
                                                                                                        </a:schemeClr>
                                                                                                      </a:solidFill>
                                                                                                    </a:endParaRPr>
                                                                                                  </a:p>
                                                                                                </p:txBody>
                                                                                              </p:sp>
                                                                                              <p:sp>
                                                                                                <p:nvSpPr>
                                                                                                  <p:cNvPr id="51" name="Freeform 61"/>
                                                                                                  <p:cNvSpPr>
                                                                                                    <a:spLocks/>
                                                                                                  </p:cNvSpPr>
                                                                                                  <p:nvPr/>
                                                                                                </p:nvSpPr>
                                                                                                <p:spPr bwMode="auto">
                                                                                                  <a:xfrm>
                                                                                                    <a:off x="5260678" y="2621794"/>
                                                                                                    <a:ext cx="258200" cy="245822"/>
                                                                                                  </a:xfrm>
                                                                                                  <a:custGeom>
                                                                                                    <a:avLst/>
                                                                                                    <a:gdLst/>
                                                                                                    <a:ahLst/>
                                                                                                    <a:cxnLst>
                                                                                                      <a:cxn ang="0">
                                                                                                        <a:pos x="4" y="162"/>
                                                                                                      </a:cxn>
                                                                                                      <a:cxn ang="0">
                                                                                                        <a:pos x="4" y="162"/>
                                                                                                      </a:cxn>
                                                                                                      <a:cxn ang="0">
                                                                                                        <a:pos x="6" y="160"/>
                                                                                                      </a:cxn>
                                                                                                      <a:cxn ang="0">
                                                                                                        <a:pos x="4" y="160"/>
                                                                                                      </a:cxn>
                                                                                                      <a:cxn ang="0">
                                                                                                        <a:pos x="2" y="162"/>
                                                                                                      </a:cxn>
                                                                                                      <a:cxn ang="0">
                                                                                                        <a:pos x="0" y="162"/>
                                                                                                      </a:cxn>
                                                                                                      <a:cxn ang="0">
                                                                                                        <a:pos x="0" y="162"/>
                                                                                                      </a:cxn>
                                                                                                      <a:cxn ang="0">
                                                                                                        <a:pos x="2" y="154"/>
                                                                                                      </a:cxn>
                                                                                                      <a:cxn ang="0">
                                                                                                        <a:pos x="2" y="154"/>
                                                                                                      </a:cxn>
                                                                                                      <a:cxn ang="0">
                                                                                                        <a:pos x="6" y="144"/>
                                                                                                      </a:cxn>
                                                                                                      <a:cxn ang="0">
                                                                                                        <a:pos x="12" y="136"/>
                                                                                                      </a:cxn>
                                                                                                      <a:cxn ang="0">
                                                                                                        <a:pos x="16" y="128"/>
                                                                                                      </a:cxn>
                                                                                                      <a:cxn ang="0">
                                                                                                        <a:pos x="20" y="112"/>
                                                                                                      </a:cxn>
                                                                                                      <a:cxn ang="0">
                                                                                                        <a:pos x="20" y="112"/>
                                                                                                      </a:cxn>
                                                                                                      <a:cxn ang="0">
                                                                                                        <a:pos x="22" y="104"/>
                                                                                                      </a:cxn>
                                                                                                      <a:cxn ang="0">
                                                                                                        <a:pos x="26" y="96"/>
                                                                                                      </a:cxn>
                                                                                                      <a:cxn ang="0">
                                                                                                        <a:pos x="34" y="84"/>
                                                                                                      </a:cxn>
                                                                                                      <a:cxn ang="0">
                                                                                                        <a:pos x="44" y="72"/>
                                                                                                      </a:cxn>
                                                                                                      <a:cxn ang="0">
                                                                                                        <a:pos x="48" y="64"/>
                                                                                                      </a:cxn>
                                                                                                      <a:cxn ang="0">
                                                                                                        <a:pos x="52" y="54"/>
                                                                                                      </a:cxn>
                                                                                                      <a:cxn ang="0">
                                                                                                        <a:pos x="52" y="54"/>
                                                                                                      </a:cxn>
                                                                                                      <a:cxn ang="0">
                                                                                                        <a:pos x="56" y="44"/>
                                                                                                      </a:cxn>
                                                                                                      <a:cxn ang="0">
                                                                                                        <a:pos x="60" y="38"/>
                                                                                                      </a:cxn>
                                                                                                      <a:cxn ang="0">
                                                                                                        <a:pos x="64" y="34"/>
                                                                                                      </a:cxn>
                                                                                                      <a:cxn ang="0">
                                                                                                        <a:pos x="66" y="34"/>
                                                                                                      </a:cxn>
                                                                                                      <a:cxn ang="0">
                                                                                                        <a:pos x="70" y="34"/>
                                                                                                      </a:cxn>
                                                                                                      <a:cxn ang="0">
                                                                                                        <a:pos x="72" y="32"/>
                                                                                                      </a:cxn>
                                                                                                      <a:cxn ang="0">
                                                                                                        <a:pos x="74" y="28"/>
                                                                                                      </a:cxn>
                                                                                                      <a:cxn ang="0">
                                                                                                        <a:pos x="78" y="20"/>
                                                                                                      </a:cxn>
                                                                                                      <a:cxn ang="0">
                                                                                                        <a:pos x="78" y="20"/>
                                                                                                      </a:cxn>
                                                                                                      <a:cxn ang="0">
                                                                                                        <a:pos x="82" y="8"/>
                                                                                                      </a:cxn>
                                                                                                      <a:cxn ang="0">
                                                                                                        <a:pos x="88" y="0"/>
                                                                                                      </a:cxn>
                                                                                                      <a:cxn ang="0">
                                                                                                        <a:pos x="170" y="0"/>
                                                                                                      </a:cxn>
                                                                                                      <a:cxn ang="0">
                                                                                                        <a:pos x="170" y="12"/>
                                                                                                      </a:cxn>
                                                                                                      <a:cxn ang="0">
                                                                                                        <a:pos x="170" y="46"/>
                                                                                                      </a:cxn>
                                                                                                      <a:cxn ang="0">
                                                                                                        <a:pos x="102" y="46"/>
                                                                                                      </a:cxn>
                                                                                                      <a:cxn ang="0">
                                                                                                        <a:pos x="102" y="46"/>
                                                                                                      </a:cxn>
                                                                                                      <a:cxn ang="0">
                                                                                                        <a:pos x="100" y="104"/>
                                                                                                      </a:cxn>
                                                                                                      <a:cxn ang="0">
                                                                                                        <a:pos x="100" y="104"/>
                                                                                                      </a:cxn>
                                                                                                      <a:cxn ang="0">
                                                                                                        <a:pos x="98" y="108"/>
                                                                                                      </a:cxn>
                                                                                                      <a:cxn ang="0">
                                                                                                        <a:pos x="96" y="110"/>
                                                                                                      </a:cxn>
                                                                                                      <a:cxn ang="0">
                                                                                                        <a:pos x="90" y="110"/>
                                                                                                      </a:cxn>
                                                                                                      <a:cxn ang="0">
                                                                                                        <a:pos x="86" y="112"/>
                                                                                                      </a:cxn>
                                                                                                      <a:cxn ang="0">
                                                                                                        <a:pos x="82" y="114"/>
                                                                                                      </a:cxn>
                                                                                                      <a:cxn ang="0">
                                                                                                        <a:pos x="80" y="120"/>
                                                                                                      </a:cxn>
                                                                                                      <a:cxn ang="0">
                                                                                                        <a:pos x="80" y="128"/>
                                                                                                      </a:cxn>
                                                                                                      <a:cxn ang="0">
                                                                                                        <a:pos x="80" y="128"/>
                                                                                                      </a:cxn>
                                                                                                      <a:cxn ang="0">
                                                                                                        <a:pos x="80" y="156"/>
                                                                                                      </a:cxn>
                                                                                                      <a:cxn ang="0">
                                                                                                        <a:pos x="80" y="156"/>
                                                                                                      </a:cxn>
                                                                                                      <a:cxn ang="0">
                                                                                                        <a:pos x="18" y="156"/>
                                                                                                      </a:cxn>
                                                                                                      <a:cxn ang="0">
                                                                                                        <a:pos x="18" y="156"/>
                                                                                                      </a:cxn>
                                                                                                      <a:cxn ang="0">
                                                                                                        <a:pos x="12" y="156"/>
                                                                                                      </a:cxn>
                                                                                                      <a:cxn ang="0">
                                                                                                        <a:pos x="8" y="156"/>
                                                                                                      </a:cxn>
                                                                                                      <a:cxn ang="0">
                                                                                                        <a:pos x="4" y="162"/>
                                                                                                      </a:cxn>
                                                                                                      <a:cxn ang="0">
                                                                                                        <a:pos x="4" y="162"/>
                                                                                                      </a:cxn>
                                                                                                    </a:cxnLst>
                                                                                                    <a:rect l="0" t="0" r="r" b="b"/>
                                                                                                    <a:pathLst>
                                                                                                      <a:path w="170" h="162">
                                                                                                        <a:moveTo>
                                                                                                          <a:pt x="4" y="162"/>
                                                                                                        </a:moveTo>
                                                                                                        <a:lnTo>
                                                                                                          <a:pt x="4" y="162"/>
                                                                                                        </a:lnTo>
                                                                                                        <a:lnTo>
                                                                                                          <a:pt x="6" y="160"/>
                                                                                                        </a:lnTo>
                                                                                                        <a:lnTo>
                                                                                                          <a:pt x="4" y="160"/>
                                                                                                        </a:lnTo>
                                                                                                        <a:lnTo>
                                                                                                          <a:pt x="2" y="162"/>
                                                                                                        </a:lnTo>
                                                                                                        <a:lnTo>
                                                                                                          <a:pt x="0" y="162"/>
                                                                                                        </a:lnTo>
                                                                                                        <a:lnTo>
                                                                                                          <a:pt x="0" y="162"/>
                                                                                                        </a:lnTo>
                                                                                                        <a:lnTo>
                                                                                                          <a:pt x="2" y="154"/>
                                                                                                        </a:lnTo>
                                                                                                        <a:lnTo>
                                                                                                          <a:pt x="2" y="154"/>
                                                                                                        </a:lnTo>
                                                                                                        <a:lnTo>
                                                                                                          <a:pt x="6" y="144"/>
                                                                                                        </a:lnTo>
                                                                                                        <a:lnTo>
                                                                                                          <a:pt x="12" y="136"/>
                                                                                                        </a:lnTo>
                                                                                                        <a:lnTo>
                                                                                                          <a:pt x="16" y="128"/>
                                                                                                        </a:lnTo>
                                                                                                        <a:lnTo>
                                                                                                          <a:pt x="20" y="112"/>
                                                                                                        </a:lnTo>
                                                                                                        <a:lnTo>
                                                                                                          <a:pt x="20" y="112"/>
                                                                                                        </a:lnTo>
                                                                                                        <a:lnTo>
                                                                                                          <a:pt x="22" y="104"/>
                                                                                                        </a:lnTo>
                                                                                                        <a:lnTo>
                                                                                                          <a:pt x="26" y="96"/>
                                                                                                        </a:lnTo>
                                                                                                        <a:lnTo>
                                                                                                          <a:pt x="34" y="84"/>
                                                                                                        </a:lnTo>
                                                                                                        <a:lnTo>
                                                                                                          <a:pt x="44" y="72"/>
                                                                                                        </a:lnTo>
                                                                                                        <a:lnTo>
                                                                                                          <a:pt x="48" y="64"/>
                                                                                                        </a:lnTo>
                                                                                                        <a:lnTo>
                                                                                                          <a:pt x="52" y="54"/>
                                                                                                        </a:lnTo>
                                                                                                        <a:lnTo>
                                                                                                          <a:pt x="52" y="54"/>
                                                                                                        </a:lnTo>
                                                                                                        <a:lnTo>
                                                                                                          <a:pt x="56" y="44"/>
                                                                                                        </a:lnTo>
                                                                                                        <a:lnTo>
                                                                                                          <a:pt x="60" y="38"/>
                                                                                                        </a:lnTo>
                                                                                                        <a:lnTo>
                                                                                                          <a:pt x="64" y="34"/>
                                                                                                        </a:lnTo>
                                                                                                        <a:lnTo>
                                                                                                          <a:pt x="66" y="34"/>
                                                                                                        </a:lnTo>
                                                                                                        <a:lnTo>
                                                                                                          <a:pt x="70" y="34"/>
                                                                                                        </a:lnTo>
                                                                                                        <a:lnTo>
                                                                                                          <a:pt x="72" y="32"/>
                                                                                                        </a:lnTo>
                                                                                                        <a:lnTo>
                                                                                                          <a:pt x="74" y="28"/>
                                                                                                        </a:lnTo>
                                                                                                        <a:lnTo>
                                                                                                          <a:pt x="78" y="20"/>
                                                                                                        </a:lnTo>
                                                                                                        <a:lnTo>
                                                                                                          <a:pt x="78" y="20"/>
                                                                                                        </a:lnTo>
                                                                                                        <a:lnTo>
                                                                                                          <a:pt x="82" y="8"/>
                                                                                                        </a:lnTo>
                                                                                                        <a:lnTo>
                                                                                                          <a:pt x="88" y="0"/>
                                                                                                        </a:lnTo>
                                                                                                        <a:lnTo>
                                                                                                          <a:pt x="170" y="0"/>
                                                                                                        </a:lnTo>
                                                                                                        <a:lnTo>
                                                                                                          <a:pt x="170" y="12"/>
                                                                                                        </a:lnTo>
                                                                                                        <a:lnTo>
                                                                                                          <a:pt x="170" y="46"/>
                                                                                                        </a:lnTo>
                                                                                                        <a:lnTo>
                                                                                                          <a:pt x="102" y="46"/>
                                                                                                        </a:lnTo>
                                                                                                        <a:lnTo>
                                                                                                          <a:pt x="102" y="46"/>
                                                                                                        </a:lnTo>
                                                                                                        <a:lnTo>
                                                                                                          <a:pt x="100" y="104"/>
                                                                                                        </a:lnTo>
                                                                                                        <a:lnTo>
                                                                                                          <a:pt x="100" y="104"/>
                                                                                                        </a:lnTo>
                                                                                                        <a:lnTo>
                                                                                                          <a:pt x="98" y="108"/>
                                                                                                        </a:lnTo>
                                                                                                        <a:lnTo>
                                                                                                          <a:pt x="96" y="110"/>
                                                                                                        </a:lnTo>
                                                                                                        <a:lnTo>
                                                                                                          <a:pt x="90" y="110"/>
                                                                                                        </a:lnTo>
                                                                                                        <a:lnTo>
                                                                                                          <a:pt x="86" y="112"/>
                                                                                                        </a:lnTo>
                                                                                                        <a:lnTo>
                                                                                                          <a:pt x="82" y="114"/>
                                                                                                        </a:lnTo>
                                                                                                        <a:lnTo>
                                                                                                          <a:pt x="80" y="120"/>
                                                                                                        </a:lnTo>
                                                                                                        <a:lnTo>
                                                                                                          <a:pt x="80" y="128"/>
                                                                                                        </a:lnTo>
                                                                                                        <a:lnTo>
                                                                                                          <a:pt x="80" y="128"/>
                                                                                                        </a:lnTo>
                                                                                                        <a:lnTo>
                                                                                                          <a:pt x="80" y="156"/>
                                                                                                        </a:lnTo>
                                                                                                        <a:lnTo>
                                                                                                          <a:pt x="80" y="156"/>
                                                                                                        </a:lnTo>
                                                                                                        <a:lnTo>
                                                                                                          <a:pt x="18" y="156"/>
                                                                                                        </a:lnTo>
                                                                                                        <a:lnTo>
                                                                                                          <a:pt x="18" y="156"/>
                                                                                                        </a:lnTo>
                                                                                                        <a:lnTo>
                                                                                                          <a:pt x="12" y="156"/>
                                                                                                        </a:lnTo>
                                                                                                        <a:lnTo>
                                                                                                          <a:pt x="8" y="156"/>
                                                                                                        </a:lnTo>
                                                                                                        <a:lnTo>
                                                                                                          <a:pt x="4" y="162"/>
                                                                                                        </a:lnTo>
                                                                                                        <a:lnTo>
                                                                                                          <a:pt x="4" y="162"/>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baseline="-25000" dirty="0"/>
                                                                                                  </a:p>
                                                                                                </p:txBody>
                                                                                              </p:sp>
                                                                                              <p:sp>
                                                                                                <p:nvSpPr>
                                                                                                  <p:cNvPr id="393" name="Kenya"/>
                                                                                                  <p:cNvSpPr>
                                                                                                    <a:spLocks/>
                                                                                                  </p:cNvSpPr>
                                                                                                  <p:nvPr/>
                                                                                                </p:nvSpPr>
                                                                                                <p:spPr bwMode="auto">
                                                                                                  <a:xfrm>
                                                                                                    <a:off x="6879988" y="3497133"/>
                                                                                                    <a:ext cx="264275" cy="382389"/>
                                                                                                  </a:xfrm>
                                                                                                  <a:custGeom>
                                                                                                    <a:avLst/>
                                                                                                    <a:gdLst/>
                                                                                                    <a:ahLst/>
                                                                                                    <a:cxnLst>
                                                                                                      <a:cxn ang="0">
                                                                                                        <a:pos x="126" y="252"/>
                                                                                                      </a:cxn>
                                                                                                      <a:cxn ang="0">
                                                                                                        <a:pos x="132" y="242"/>
                                                                                                      </a:cxn>
                                                                                                      <a:cxn ang="0">
                                                                                                        <a:pos x="134" y="236"/>
                                                                                                      </a:cxn>
                                                                                                      <a:cxn ang="0">
                                                                                                        <a:pos x="138" y="228"/>
                                                                                                      </a:cxn>
                                                                                                      <a:cxn ang="0">
                                                                                                        <a:pos x="140" y="222"/>
                                                                                                      </a:cxn>
                                                                                                      <a:cxn ang="0">
                                                                                                        <a:pos x="142" y="210"/>
                                                                                                      </a:cxn>
                                                                                                      <a:cxn ang="0">
                                                                                                        <a:pos x="142" y="200"/>
                                                                                                      </a:cxn>
                                                                                                      <a:cxn ang="0">
                                                                                                        <a:pos x="144" y="194"/>
                                                                                                      </a:cxn>
                                                                                                      <a:cxn ang="0">
                                                                                                        <a:pos x="148" y="186"/>
                                                                                                      </a:cxn>
                                                                                                      <a:cxn ang="0">
                                                                                                        <a:pos x="160" y="178"/>
                                                                                                      </a:cxn>
                                                                                                      <a:cxn ang="0">
                                                                                                        <a:pos x="174" y="168"/>
                                                                                                      </a:cxn>
                                                                                                      <a:cxn ang="0">
                                                                                                        <a:pos x="152" y="144"/>
                                                                                                      </a:cxn>
                                                                                                      <a:cxn ang="0">
                                                                                                        <a:pos x="150" y="140"/>
                                                                                                      </a:cxn>
                                                                                                      <a:cxn ang="0">
                                                                                                        <a:pos x="150" y="54"/>
                                                                                                      </a:cxn>
                                                                                                      <a:cxn ang="0">
                                                                                                        <a:pos x="154" y="44"/>
                                                                                                      </a:cxn>
                                                                                                      <a:cxn ang="0">
                                                                                                        <a:pos x="164" y="34"/>
                                                                                                      </a:cxn>
                                                                                                      <a:cxn ang="0">
                                                                                                        <a:pos x="170" y="22"/>
                                                                                                      </a:cxn>
                                                                                                      <a:cxn ang="0">
                                                                                                        <a:pos x="158" y="20"/>
                                                                                                      </a:cxn>
                                                                                                      <a:cxn ang="0">
                                                                                                        <a:pos x="150" y="16"/>
                                                                                                      </a:cxn>
                                                                                                      <a:cxn ang="0">
                                                                                                        <a:pos x="140" y="18"/>
                                                                                                      </a:cxn>
                                                                                                      <a:cxn ang="0">
                                                                                                        <a:pos x="134" y="22"/>
                                                                                                      </a:cxn>
                                                                                                      <a:cxn ang="0">
                                                                                                        <a:pos x="134" y="28"/>
                                                                                                      </a:cxn>
                                                                                                      <a:cxn ang="0">
                                                                                                        <a:pos x="110" y="30"/>
                                                                                                      </a:cxn>
                                                                                                      <a:cxn ang="0">
                                                                                                        <a:pos x="96" y="28"/>
                                                                                                      </a:cxn>
                                                                                                      <a:cxn ang="0">
                                                                                                        <a:pos x="82" y="22"/>
                                                                                                      </a:cxn>
                                                                                                      <a:cxn ang="0">
                                                                                                        <a:pos x="72" y="12"/>
                                                                                                      </a:cxn>
                                                                                                      <a:cxn ang="0">
                                                                                                        <a:pos x="56" y="4"/>
                                                                                                      </a:cxn>
                                                                                                      <a:cxn ang="0">
                                                                                                        <a:pos x="42" y="0"/>
                                                                                                      </a:cxn>
                                                                                                      <a:cxn ang="0">
                                                                                                        <a:pos x="32" y="8"/>
                                                                                                      </a:cxn>
                                                                                                      <a:cxn ang="0">
                                                                                                        <a:pos x="26" y="4"/>
                                                                                                      </a:cxn>
                                                                                                      <a:cxn ang="0">
                                                                                                        <a:pos x="18" y="4"/>
                                                                                                      </a:cxn>
                                                                                                      <a:cxn ang="0">
                                                                                                        <a:pos x="0" y="16"/>
                                                                                                      </a:cxn>
                                                                                                      <a:cxn ang="0">
                                                                                                        <a:pos x="6" y="24"/>
                                                                                                      </a:cxn>
                                                                                                      <a:cxn ang="0">
                                                                                                        <a:pos x="8" y="34"/>
                                                                                                      </a:cxn>
                                                                                                      <a:cxn ang="0">
                                                                                                        <a:pos x="12" y="42"/>
                                                                                                      </a:cxn>
                                                                                                      <a:cxn ang="0">
                                                                                                        <a:pos x="20" y="44"/>
                                                                                                      </a:cxn>
                                                                                                      <a:cxn ang="0">
                                                                                                        <a:pos x="20" y="50"/>
                                                                                                      </a:cxn>
                                                                                                      <a:cxn ang="0">
                                                                                                        <a:pos x="20" y="52"/>
                                                                                                      </a:cxn>
                                                                                                      <a:cxn ang="0">
                                                                                                        <a:pos x="24" y="62"/>
                                                                                                      </a:cxn>
                                                                                                      <a:cxn ang="0">
                                                                                                        <a:pos x="26" y="74"/>
                                                                                                      </a:cxn>
                                                                                                      <a:cxn ang="0">
                                                                                                        <a:pos x="26" y="78"/>
                                                                                                      </a:cxn>
                                                                                                      <a:cxn ang="0">
                                                                                                        <a:pos x="24" y="94"/>
                                                                                                      </a:cxn>
                                                                                                      <a:cxn ang="0">
                                                                                                        <a:pos x="20" y="100"/>
                                                                                                      </a:cxn>
                                                                                                      <a:cxn ang="0">
                                                                                                        <a:pos x="16" y="102"/>
                                                                                                      </a:cxn>
                                                                                                      <a:cxn ang="0">
                                                                                                        <a:pos x="4" y="120"/>
                                                                                                      </a:cxn>
                                                                                                      <a:cxn ang="0">
                                                                                                        <a:pos x="8" y="122"/>
                                                                                                      </a:cxn>
                                                                                                      <a:cxn ang="0">
                                                                                                        <a:pos x="6" y="128"/>
                                                                                                      </a:cxn>
                                                                                                      <a:cxn ang="0">
                                                                                                        <a:pos x="4" y="132"/>
                                                                                                      </a:cxn>
                                                                                                      <a:cxn ang="0">
                                                                                                        <a:pos x="8" y="134"/>
                                                                                                      </a:cxn>
                                                                                                      <a:cxn ang="0">
                                                                                                        <a:pos x="10" y="132"/>
                                                                                                      </a:cxn>
                                                                                                      <a:cxn ang="0">
                                                                                                        <a:pos x="16" y="130"/>
                                                                                                      </a:cxn>
                                                                                                      <a:cxn ang="0">
                                                                                                        <a:pos x="20" y="132"/>
                                                                                                      </a:cxn>
                                                                                                      <a:cxn ang="0">
                                                                                                        <a:pos x="20" y="134"/>
                                                                                                      </a:cxn>
                                                                                                      <a:cxn ang="0">
                                                                                                        <a:pos x="14" y="136"/>
                                                                                                      </a:cxn>
                                                                                                      <a:cxn ang="0">
                                                                                                        <a:pos x="10" y="142"/>
                                                                                                      </a:cxn>
                                                                                                      <a:cxn ang="0">
                                                                                                        <a:pos x="12" y="146"/>
                                                                                                      </a:cxn>
                                                                                                      <a:cxn ang="0">
                                                                                                        <a:pos x="12" y="150"/>
                                                                                                      </a:cxn>
                                                                                                      <a:cxn ang="0">
                                                                                                        <a:pos x="80" y="196"/>
                                                                                                      </a:cxn>
                                                                                                      <a:cxn ang="0">
                                                                                                        <a:pos x="84" y="198"/>
                                                                                                      </a:cxn>
                                                                                                      <a:cxn ang="0">
                                                                                                        <a:pos x="86" y="210"/>
                                                                                                      </a:cxn>
                                                                                                      <a:cxn ang="0">
                                                                                                        <a:pos x="88" y="220"/>
                                                                                                      </a:cxn>
                                                                                                      <a:cxn ang="0">
                                                                                                        <a:pos x="92" y="224"/>
                                                                                                      </a:cxn>
                                                                                                      <a:cxn ang="0">
                                                                                                        <a:pos x="126" y="252"/>
                                                                                                      </a:cxn>
                                                                                                    </a:cxnLst>
                                                                                                    <a:rect l="0" t="0" r="r" b="b"/>
                                                                                                    <a:pathLst>
                                                                                                      <a:path w="174" h="252">
                                                                                                        <a:moveTo>
                                                                                                          <a:pt x="126" y="252"/>
                                                                                                        </a:moveTo>
                                                                                                        <a:lnTo>
                                                                                                          <a:pt x="126" y="252"/>
                                                                                                        </a:lnTo>
                                                                                                        <a:lnTo>
                                                                                                          <a:pt x="130" y="250"/>
                                                                                                        </a:lnTo>
                                                                                                        <a:lnTo>
                                                                                                          <a:pt x="132" y="242"/>
                                                                                                        </a:lnTo>
                                                                                                        <a:lnTo>
                                                                                                          <a:pt x="132" y="242"/>
                                                                                                        </a:lnTo>
                                                                                                        <a:lnTo>
                                                                                                          <a:pt x="134" y="236"/>
                                                                                                        </a:lnTo>
                                                                                                        <a:lnTo>
                                                                                                          <a:pt x="136" y="232"/>
                                                                                                        </a:lnTo>
                                                                                                        <a:lnTo>
                                                                                                          <a:pt x="138" y="228"/>
                                                                                                        </a:lnTo>
                                                                                                        <a:lnTo>
                                                                                                          <a:pt x="140" y="222"/>
                                                                                                        </a:lnTo>
                                                                                                        <a:lnTo>
                                                                                                          <a:pt x="140" y="222"/>
                                                                                                        </a:lnTo>
                                                                                                        <a:lnTo>
                                                                                                          <a:pt x="140" y="214"/>
                                                                                                        </a:lnTo>
                                                                                                        <a:lnTo>
                                                                                                          <a:pt x="142" y="210"/>
                                                                                                        </a:lnTo>
                                                                                                        <a:lnTo>
                                                                                                          <a:pt x="142" y="208"/>
                                                                                                        </a:lnTo>
                                                                                                        <a:lnTo>
                                                                                                          <a:pt x="142" y="200"/>
                                                                                                        </a:lnTo>
                                                                                                        <a:lnTo>
                                                                                                          <a:pt x="142" y="200"/>
                                                                                                        </a:lnTo>
                                                                                                        <a:lnTo>
                                                                                                          <a:pt x="144" y="194"/>
                                                                                                        </a:lnTo>
                                                                                                        <a:lnTo>
                                                                                                          <a:pt x="144" y="190"/>
                                                                                                        </a:lnTo>
                                                                                                        <a:lnTo>
                                                                                                          <a:pt x="148" y="186"/>
                                                                                                        </a:lnTo>
                                                                                                        <a:lnTo>
                                                                                                          <a:pt x="150" y="184"/>
                                                                                                        </a:lnTo>
                                                                                                        <a:lnTo>
                                                                                                          <a:pt x="160" y="178"/>
                                                                                                        </a:lnTo>
                                                                                                        <a:lnTo>
                                                                                                          <a:pt x="174" y="168"/>
                                                                                                        </a:lnTo>
                                                                                                        <a:lnTo>
                                                                                                          <a:pt x="174" y="168"/>
                                                                                                        </a:lnTo>
                                                                                                        <a:lnTo>
                                                                                                          <a:pt x="154" y="148"/>
                                                                                                        </a:lnTo>
                                                                                                        <a:lnTo>
                                                                                                          <a:pt x="152" y="144"/>
                                                                                                        </a:lnTo>
                                                                                                        <a:lnTo>
                                                                                                          <a:pt x="150" y="140"/>
                                                                                                        </a:lnTo>
                                                                                                        <a:lnTo>
                                                                                                          <a:pt x="150" y="140"/>
                                                                                                        </a:lnTo>
                                                                                                        <a:lnTo>
                                                                                                          <a:pt x="150" y="54"/>
                                                                                                        </a:lnTo>
                                                                                                        <a:lnTo>
                                                                                                          <a:pt x="150" y="54"/>
                                                                                                        </a:lnTo>
                                                                                                        <a:lnTo>
                                                                                                          <a:pt x="152" y="48"/>
                                                                                                        </a:lnTo>
                                                                                                        <a:lnTo>
                                                                                                          <a:pt x="154" y="44"/>
                                                                                                        </a:lnTo>
                                                                                                        <a:lnTo>
                                                                                                          <a:pt x="158" y="40"/>
                                                                                                        </a:lnTo>
                                                                                                        <a:lnTo>
                                                                                                          <a:pt x="164" y="34"/>
                                                                                                        </a:lnTo>
                                                                                                        <a:lnTo>
                                                                                                          <a:pt x="168" y="28"/>
                                                                                                        </a:lnTo>
                                                                                                        <a:lnTo>
                                                                                                          <a:pt x="170" y="22"/>
                                                                                                        </a:lnTo>
                                                                                                        <a:lnTo>
                                                                                                          <a:pt x="170" y="22"/>
                                                                                                        </a:lnTo>
                                                                                                        <a:lnTo>
                                                                                                          <a:pt x="158" y="20"/>
                                                                                                        </a:lnTo>
                                                                                                        <a:lnTo>
                                                                                                          <a:pt x="154" y="18"/>
                                                                                                        </a:lnTo>
                                                                                                        <a:lnTo>
                                                                                                          <a:pt x="150" y="16"/>
                                                                                                        </a:lnTo>
                                                                                                        <a:lnTo>
                                                                                                          <a:pt x="140" y="18"/>
                                                                                                        </a:lnTo>
                                                                                                        <a:lnTo>
                                                                                                          <a:pt x="140" y="18"/>
                                                                                                        </a:lnTo>
                                                                                                        <a:lnTo>
                                                                                                          <a:pt x="136" y="20"/>
                                                                                                        </a:lnTo>
                                                                                                        <a:lnTo>
                                                                                                          <a:pt x="134" y="22"/>
                                                                                                        </a:lnTo>
                                                                                                        <a:lnTo>
                                                                                                          <a:pt x="134" y="26"/>
                                                                                                        </a:lnTo>
                                                                                                        <a:lnTo>
                                                                                                          <a:pt x="134" y="28"/>
                                                                                                        </a:lnTo>
                                                                                                        <a:lnTo>
                                                                                                          <a:pt x="130" y="28"/>
                                                                                                        </a:lnTo>
                                                                                                        <a:lnTo>
                                                                                                          <a:pt x="110" y="30"/>
                                                                                                        </a:lnTo>
                                                                                                        <a:lnTo>
                                                                                                          <a:pt x="110" y="30"/>
                                                                                                        </a:lnTo>
                                                                                                        <a:lnTo>
                                                                                                          <a:pt x="96" y="28"/>
                                                                                                        </a:lnTo>
                                                                                                        <a:lnTo>
                                                                                                          <a:pt x="88" y="26"/>
                                                                                                        </a:lnTo>
                                                                                                        <a:lnTo>
                                                                                                          <a:pt x="82" y="22"/>
                                                                                                        </a:lnTo>
                                                                                                        <a:lnTo>
                                                                                                          <a:pt x="76" y="16"/>
                                                                                                        </a:lnTo>
                                                                                                        <a:lnTo>
                                                                                                          <a:pt x="72" y="12"/>
                                                                                                        </a:lnTo>
                                                                                                        <a:lnTo>
                                                                                                          <a:pt x="66" y="6"/>
                                                                                                        </a:lnTo>
                                                                                                        <a:lnTo>
                                                                                                          <a:pt x="56" y="4"/>
                                                                                                        </a:lnTo>
                                                                                                        <a:lnTo>
                                                                                                          <a:pt x="42" y="0"/>
                                                                                                        </a:lnTo>
                                                                                                        <a:lnTo>
                                                                                                          <a:pt x="42" y="0"/>
                                                                                                        </a:lnTo>
                                                                                                        <a:lnTo>
                                                                                                          <a:pt x="36" y="6"/>
                                                                                                        </a:lnTo>
                                                                                                        <a:lnTo>
                                                                                                          <a:pt x="32" y="8"/>
                                                                                                        </a:lnTo>
                                                                                                        <a:lnTo>
                                                                                                          <a:pt x="28" y="6"/>
                                                                                                        </a:lnTo>
                                                                                                        <a:lnTo>
                                                                                                          <a:pt x="26" y="4"/>
                                                                                                        </a:lnTo>
                                                                                                        <a:lnTo>
                                                                                                          <a:pt x="22" y="4"/>
                                                                                                        </a:lnTo>
                                                                                                        <a:lnTo>
                                                                                                          <a:pt x="18" y="4"/>
                                                                                                        </a:lnTo>
                                                                                                        <a:lnTo>
                                                                                                          <a:pt x="10" y="8"/>
                                                                                                        </a:lnTo>
                                                                                                        <a:lnTo>
                                                                                                          <a:pt x="0" y="16"/>
                                                                                                        </a:lnTo>
                                                                                                        <a:lnTo>
                                                                                                          <a:pt x="0" y="16"/>
                                                                                                        </a:lnTo>
                                                                                                        <a:lnTo>
                                                                                                          <a:pt x="6" y="24"/>
                                                                                                        </a:lnTo>
                                                                                                        <a:lnTo>
                                                                                                          <a:pt x="8" y="30"/>
                                                                                                        </a:lnTo>
                                                                                                        <a:lnTo>
                                                                                                          <a:pt x="8" y="34"/>
                                                                                                        </a:lnTo>
                                                                                                        <a:lnTo>
                                                                                                          <a:pt x="12" y="42"/>
                                                                                                        </a:lnTo>
                                                                                                        <a:lnTo>
                                                                                                          <a:pt x="12" y="42"/>
                                                                                                        </a:lnTo>
                                                                                                        <a:lnTo>
                                                                                                          <a:pt x="18" y="44"/>
                                                                                                        </a:lnTo>
                                                                                                        <a:lnTo>
                                                                                                          <a:pt x="20" y="44"/>
                                                                                                        </a:lnTo>
                                                                                                        <a:lnTo>
                                                                                                          <a:pt x="20" y="46"/>
                                                                                                        </a:lnTo>
                                                                                                        <a:lnTo>
                                                                                                          <a:pt x="20" y="50"/>
                                                                                                        </a:lnTo>
                                                                                                        <a:lnTo>
                                                                                                          <a:pt x="20" y="50"/>
                                                                                                        </a:lnTo>
                                                                                                        <a:lnTo>
                                                                                                          <a:pt x="20" y="52"/>
                                                                                                        </a:lnTo>
                                                                                                        <a:lnTo>
                                                                                                          <a:pt x="20" y="56"/>
                                                                                                        </a:lnTo>
                                                                                                        <a:lnTo>
                                                                                                          <a:pt x="24" y="62"/>
                                                                                                        </a:lnTo>
                                                                                                        <a:lnTo>
                                                                                                          <a:pt x="26" y="70"/>
                                                                                                        </a:lnTo>
                                                                                                        <a:lnTo>
                                                                                                          <a:pt x="26" y="74"/>
                                                                                                        </a:lnTo>
                                                                                                        <a:lnTo>
                                                                                                          <a:pt x="26" y="78"/>
                                                                                                        </a:lnTo>
                                                                                                        <a:lnTo>
                                                                                                          <a:pt x="26" y="78"/>
                                                                                                        </a:lnTo>
                                                                                                        <a:lnTo>
                                                                                                          <a:pt x="22" y="88"/>
                                                                                                        </a:lnTo>
                                                                                                        <a:lnTo>
                                                                                                          <a:pt x="24" y="94"/>
                                                                                                        </a:lnTo>
                                                                                                        <a:lnTo>
                                                                                                          <a:pt x="24" y="98"/>
                                                                                                        </a:lnTo>
                                                                                                        <a:lnTo>
                                                                                                          <a:pt x="20" y="100"/>
                                                                                                        </a:lnTo>
                                                                                                        <a:lnTo>
                                                                                                          <a:pt x="20" y="100"/>
                                                                                                        </a:lnTo>
                                                                                                        <a:lnTo>
                                                                                                          <a:pt x="16" y="102"/>
                                                                                                        </a:lnTo>
                                                                                                        <a:lnTo>
                                                                                                          <a:pt x="14" y="104"/>
                                                                                                        </a:lnTo>
                                                                                                        <a:lnTo>
                                                                                                          <a:pt x="4" y="120"/>
                                                                                                        </a:lnTo>
                                                                                                        <a:lnTo>
                                                                                                          <a:pt x="4" y="120"/>
                                                                                                        </a:lnTo>
                                                                                                        <a:lnTo>
                                                                                                          <a:pt x="8" y="122"/>
                                                                                                        </a:lnTo>
                                                                                                        <a:lnTo>
                                                                                                          <a:pt x="8" y="124"/>
                                                                                                        </a:lnTo>
                                                                                                        <a:lnTo>
                                                                                                          <a:pt x="6" y="128"/>
                                                                                                        </a:lnTo>
                                                                                                        <a:lnTo>
                                                                                                          <a:pt x="6" y="128"/>
                                                                                                        </a:lnTo>
                                                                                                        <a:lnTo>
                                                                                                          <a:pt x="4" y="132"/>
                                                                                                        </a:lnTo>
                                                                                                        <a:lnTo>
                                                                                                          <a:pt x="6" y="134"/>
                                                                                                        </a:lnTo>
                                                                                                        <a:lnTo>
                                                                                                          <a:pt x="8" y="134"/>
                                                                                                        </a:lnTo>
                                                                                                        <a:lnTo>
                                                                                                          <a:pt x="10" y="132"/>
                                                                                                        </a:lnTo>
                                                                                                        <a:lnTo>
                                                                                                          <a:pt x="10" y="132"/>
                                                                                                        </a:lnTo>
                                                                                                        <a:lnTo>
                                                                                                          <a:pt x="12" y="130"/>
                                                                                                        </a:lnTo>
                                                                                                        <a:lnTo>
                                                                                                          <a:pt x="16" y="130"/>
                                                                                                        </a:lnTo>
                                                                                                        <a:lnTo>
                                                                                                          <a:pt x="18" y="130"/>
                                                                                                        </a:lnTo>
                                                                                                        <a:lnTo>
                                                                                                          <a:pt x="20" y="132"/>
                                                                                                        </a:lnTo>
                                                                                                        <a:lnTo>
                                                                                                          <a:pt x="20" y="132"/>
                                                                                                        </a:lnTo>
                                                                                                        <a:lnTo>
                                                                                                          <a:pt x="20" y="134"/>
                                                                                                        </a:lnTo>
                                                                                                        <a:lnTo>
                                                                                                          <a:pt x="18" y="134"/>
                                                                                                        </a:lnTo>
                                                                                                        <a:lnTo>
                                                                                                          <a:pt x="14" y="136"/>
                                                                                                        </a:lnTo>
                                                                                                        <a:lnTo>
                                                                                                          <a:pt x="10" y="142"/>
                                                                                                        </a:lnTo>
                                                                                                        <a:lnTo>
                                                                                                          <a:pt x="10" y="142"/>
                                                                                                        </a:lnTo>
                                                                                                        <a:lnTo>
                                                                                                          <a:pt x="10" y="144"/>
                                                                                                        </a:lnTo>
                                                                                                        <a:lnTo>
                                                                                                          <a:pt x="12" y="146"/>
                                                                                                        </a:lnTo>
                                                                                                        <a:lnTo>
                                                                                                          <a:pt x="12" y="146"/>
                                                                                                        </a:lnTo>
                                                                                                        <a:lnTo>
                                                                                                          <a:pt x="12" y="150"/>
                                                                                                        </a:lnTo>
                                                                                                        <a:lnTo>
                                                                                                          <a:pt x="12" y="150"/>
                                                                                                        </a:lnTo>
                                                                                                        <a:lnTo>
                                                                                                          <a:pt x="80" y="196"/>
                                                                                                        </a:lnTo>
                                                                                                        <a:lnTo>
                                                                                                          <a:pt x="80" y="196"/>
                                                                                                        </a:lnTo>
                                                                                                        <a:lnTo>
                                                                                                          <a:pt x="84" y="198"/>
                                                                                                        </a:lnTo>
                                                                                                        <a:lnTo>
                                                                                                          <a:pt x="86" y="202"/>
                                                                                                        </a:lnTo>
                                                                                                        <a:lnTo>
                                                                                                          <a:pt x="86" y="210"/>
                                                                                                        </a:lnTo>
                                                                                                        <a:lnTo>
                                                                                                          <a:pt x="86" y="216"/>
                                                                                                        </a:lnTo>
                                                                                                        <a:lnTo>
                                                                                                          <a:pt x="88" y="220"/>
                                                                                                        </a:lnTo>
                                                                                                        <a:lnTo>
                                                                                                          <a:pt x="92" y="224"/>
                                                                                                        </a:lnTo>
                                                                                                        <a:lnTo>
                                                                                                          <a:pt x="92" y="224"/>
                                                                                                        </a:lnTo>
                                                                                                        <a:lnTo>
                                                                                                          <a:pt x="110" y="238"/>
                                                                                                        </a:lnTo>
                                                                                                        <a:lnTo>
                                                                                                          <a:pt x="126" y="252"/>
                                                                                                        </a:lnTo>
                                                                                                        <a:lnTo>
                                                                                                          <a:pt x="126" y="252"/>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baseline="-25000" dirty="0"/>
                                                                                                  </a:p>
                                                                                                </p:txBody>
                                                                                              </p:sp>
                                                                                              <p:sp>
                                                                                                <p:nvSpPr>
                                                                                                  <p:cNvPr id="551" name="Algeria"/>
                                                                                                  <p:cNvSpPr>
                                                                                                    <a:spLocks/>
                                                                                                  </p:cNvSpPr>
                                                                                                  <p:nvPr/>
                                                                                                </p:nvSpPr>
                                                                                                <p:spPr bwMode="auto">
                                                                                                  <a:xfrm>
                                                                                                    <a:off x="5513835" y="2280164"/>
                                                                                                    <a:ext cx="634867" cy="679803"/>
                                                                                                  </a:xfrm>
                                                                                                  <a:custGeom>
                                                                                                    <a:avLst/>
                                                                                                    <a:gdLst/>
                                                                                                    <a:ahLst/>
                                                                                                    <a:cxnLst>
                                                                                                      <a:cxn ang="0">
                                                                                                        <a:pos x="292" y="432"/>
                                                                                                      </a:cxn>
                                                                                                      <a:cxn ang="0">
                                                                                                        <a:pos x="316" y="408"/>
                                                                                                      </a:cxn>
                                                                                                      <a:cxn ang="0">
                                                                                                        <a:pos x="418" y="302"/>
                                                                                                      </a:cxn>
                                                                                                      <a:cxn ang="0">
                                                                                                        <a:pos x="394" y="286"/>
                                                                                                      </a:cxn>
                                                                                                      <a:cxn ang="0">
                                                                                                        <a:pos x="378" y="278"/>
                                                                                                      </a:cxn>
                                                                                                      <a:cxn ang="0">
                                                                                                        <a:pos x="374" y="268"/>
                                                                                                      </a:cxn>
                                                                                                      <a:cxn ang="0">
                                                                                                        <a:pos x="360" y="256"/>
                                                                                                      </a:cxn>
                                                                                                      <a:cxn ang="0">
                                                                                                        <a:pos x="372" y="244"/>
                                                                                                      </a:cxn>
                                                                                                      <a:cxn ang="0">
                                                                                                        <a:pos x="372" y="232"/>
                                                                                                      </a:cxn>
                                                                                                      <a:cxn ang="0">
                                                                                                        <a:pos x="374" y="224"/>
                                                                                                      </a:cxn>
                                                                                                      <a:cxn ang="0">
                                                                                                        <a:pos x="362" y="192"/>
                                                                                                      </a:cxn>
                                                                                                      <a:cxn ang="0">
                                                                                                        <a:pos x="354" y="168"/>
                                                                                                      </a:cxn>
                                                                                                      <a:cxn ang="0">
                                                                                                        <a:pos x="348" y="128"/>
                                                                                                      </a:cxn>
                                                                                                      <a:cxn ang="0">
                                                                                                        <a:pos x="336" y="116"/>
                                                                                                      </a:cxn>
                                                                                                      <a:cxn ang="0">
                                                                                                        <a:pos x="324" y="94"/>
                                                                                                      </a:cxn>
                                                                                                      <a:cxn ang="0">
                                                                                                        <a:pos x="320" y="70"/>
                                                                                                      </a:cxn>
                                                                                                      <a:cxn ang="0">
                                                                                                        <a:pos x="330" y="60"/>
                                                                                                      </a:cxn>
                                                                                                      <a:cxn ang="0">
                                                                                                        <a:pos x="334" y="48"/>
                                                                                                      </a:cxn>
                                                                                                      <a:cxn ang="0">
                                                                                                        <a:pos x="332" y="34"/>
                                                                                                      </a:cxn>
                                                                                                      <a:cxn ang="0">
                                                                                                        <a:pos x="330" y="18"/>
                                                                                                      </a:cxn>
                                                                                                      <a:cxn ang="0">
                                                                                                        <a:pos x="338" y="6"/>
                                                                                                      </a:cxn>
                                                                                                      <a:cxn ang="0">
                                                                                                        <a:pos x="326" y="2"/>
                                                                                                      </a:cxn>
                                                                                                      <a:cxn ang="0">
                                                                                                        <a:pos x="314" y="4"/>
                                                                                                      </a:cxn>
                                                                                                      <a:cxn ang="0">
                                                                                                        <a:pos x="306" y="6"/>
                                                                                                      </a:cxn>
                                                                                                      <a:cxn ang="0">
                                                                                                        <a:pos x="290" y="10"/>
                                                                                                      </a:cxn>
                                                                                                      <a:cxn ang="0">
                                                                                                        <a:pos x="276" y="6"/>
                                                                                                      </a:cxn>
                                                                                                      <a:cxn ang="0">
                                                                                                        <a:pos x="256" y="8"/>
                                                                                                      </a:cxn>
                                                                                                      <a:cxn ang="0">
                                                                                                        <a:pos x="242" y="12"/>
                                                                                                      </a:cxn>
                                                                                                      <a:cxn ang="0">
                                                                                                        <a:pos x="214" y="16"/>
                                                                                                      </a:cxn>
                                                                                                      <a:cxn ang="0">
                                                                                                        <a:pos x="192" y="28"/>
                                                                                                      </a:cxn>
                                                                                                      <a:cxn ang="0">
                                                                                                        <a:pos x="176" y="38"/>
                                                                                                      </a:cxn>
                                                                                                      <a:cxn ang="0">
                                                                                                        <a:pos x="166" y="34"/>
                                                                                                      </a:cxn>
                                                                                                      <a:cxn ang="0">
                                                                                                        <a:pos x="152" y="44"/>
                                                                                                      </a:cxn>
                                                                                                      <a:cxn ang="0">
                                                                                                        <a:pos x="142" y="48"/>
                                                                                                      </a:cxn>
                                                                                                      <a:cxn ang="0">
                                                                                                        <a:pos x="140" y="58"/>
                                                                                                      </a:cxn>
                                                                                                      <a:cxn ang="0">
                                                                                                        <a:pos x="140" y="90"/>
                                                                                                      </a:cxn>
                                                                                                      <a:cxn ang="0">
                                                                                                        <a:pos x="160" y="104"/>
                                                                                                      </a:cxn>
                                                                                                      <a:cxn ang="0">
                                                                                                        <a:pos x="158" y="116"/>
                                                                                                      </a:cxn>
                                                                                                      <a:cxn ang="0">
                                                                                                        <a:pos x="132" y="118"/>
                                                                                                      </a:cxn>
                                                                                                      <a:cxn ang="0">
                                                                                                        <a:pos x="106" y="128"/>
                                                                                                      </a:cxn>
                                                                                                      <a:cxn ang="0">
                                                                                                        <a:pos x="110" y="140"/>
                                                                                                      </a:cxn>
                                                                                                      <a:cxn ang="0">
                                                                                                        <a:pos x="68" y="166"/>
                                                                                                      </a:cxn>
                                                                                                      <a:cxn ang="0">
                                                                                                        <a:pos x="44" y="178"/>
                                                                                                      </a:cxn>
                                                                                                      <a:cxn ang="0">
                                                                                                        <a:pos x="32" y="182"/>
                                                                                                      </a:cxn>
                                                                                                      <a:cxn ang="0">
                                                                                                        <a:pos x="20" y="184"/>
                                                                                                      </a:cxn>
                                                                                                      <a:cxn ang="0">
                                                                                                        <a:pos x="10" y="194"/>
                                                                                                      </a:cxn>
                                                                                                      <a:cxn ang="0">
                                                                                                        <a:pos x="0" y="234"/>
                                                                                                      </a:cxn>
                                                                                                      <a:cxn ang="0">
                                                                                                        <a:pos x="224" y="408"/>
                                                                                                      </a:cxn>
                                                                                                      <a:cxn ang="0">
                                                                                                        <a:pos x="232" y="412"/>
                                                                                                      </a:cxn>
                                                                                                      <a:cxn ang="0">
                                                                                                        <a:pos x="236" y="416"/>
                                                                                                      </a:cxn>
                                                                                                      <a:cxn ang="0">
                                                                                                        <a:pos x="244" y="424"/>
                                                                                                      </a:cxn>
                                                                                                      <a:cxn ang="0">
                                                                                                        <a:pos x="246" y="436"/>
                                                                                                      </a:cxn>
                                                                                                      <a:cxn ang="0">
                                                                                                        <a:pos x="248" y="446"/>
                                                                                                      </a:cxn>
                                                                                                    </a:cxnLst>
                                                                                                    <a:rect l="0" t="0" r="r" b="b"/>
                                                                                                    <a:pathLst>
                                                                                                      <a:path w="418" h="448">
                                                                                                        <a:moveTo>
                                                                                                          <a:pt x="266" y="440"/>
                                                                                                        </a:moveTo>
                                                                                                        <a:lnTo>
                                                                                                          <a:pt x="266" y="440"/>
                                                                                                        </a:lnTo>
                                                                                                        <a:lnTo>
                                                                                                          <a:pt x="288" y="432"/>
                                                                                                        </a:lnTo>
                                                                                                        <a:lnTo>
                                                                                                          <a:pt x="288" y="432"/>
                                                                                                        </a:lnTo>
                                                                                                        <a:lnTo>
                                                                                                          <a:pt x="292" y="432"/>
                                                                                                        </a:lnTo>
                                                                                                        <a:lnTo>
                                                                                                          <a:pt x="294" y="430"/>
                                                                                                        </a:lnTo>
                                                                                                        <a:lnTo>
                                                                                                          <a:pt x="304" y="420"/>
                                                                                                        </a:lnTo>
                                                                                                        <a:lnTo>
                                                                                                          <a:pt x="304" y="420"/>
                                                                                                        </a:lnTo>
                                                                                                        <a:lnTo>
                                                                                                          <a:pt x="312" y="412"/>
                                                                                                        </a:lnTo>
                                                                                                        <a:lnTo>
                                                                                                          <a:pt x="316" y="408"/>
                                                                                                        </a:lnTo>
                                                                                                        <a:lnTo>
                                                                                                          <a:pt x="322" y="404"/>
                                                                                                        </a:lnTo>
                                                                                                        <a:lnTo>
                                                                                                          <a:pt x="330" y="396"/>
                                                                                                        </a:lnTo>
                                                                                                        <a:lnTo>
                                                                                                          <a:pt x="330" y="396"/>
                                                                                                        </a:lnTo>
                                                                                                        <a:lnTo>
                                                                                                          <a:pt x="382" y="340"/>
                                                                                                        </a:lnTo>
                                                                                                        <a:lnTo>
                                                                                                          <a:pt x="418" y="302"/>
                                                                                                        </a:lnTo>
                                                                                                        <a:lnTo>
                                                                                                          <a:pt x="418" y="302"/>
                                                                                                        </a:lnTo>
                                                                                                        <a:lnTo>
                                                                                                          <a:pt x="414" y="300"/>
                                                                                                        </a:lnTo>
                                                                                                        <a:lnTo>
                                                                                                          <a:pt x="400" y="290"/>
                                                                                                        </a:lnTo>
                                                                                                        <a:lnTo>
                                                                                                          <a:pt x="400" y="290"/>
                                                                                                        </a:lnTo>
                                                                                                        <a:lnTo>
                                                                                                          <a:pt x="394" y="286"/>
                                                                                                        </a:lnTo>
                                                                                                        <a:lnTo>
                                                                                                          <a:pt x="390" y="286"/>
                                                                                                        </a:lnTo>
                                                                                                        <a:lnTo>
                                                                                                          <a:pt x="386" y="286"/>
                                                                                                        </a:lnTo>
                                                                                                        <a:lnTo>
                                                                                                          <a:pt x="382" y="282"/>
                                                                                                        </a:lnTo>
                                                                                                        <a:lnTo>
                                                                                                          <a:pt x="382" y="282"/>
                                                                                                        </a:lnTo>
                                                                                                        <a:lnTo>
                                                                                                          <a:pt x="378" y="278"/>
                                                                                                        </a:lnTo>
                                                                                                        <a:lnTo>
                                                                                                          <a:pt x="376" y="276"/>
                                                                                                        </a:lnTo>
                                                                                                        <a:lnTo>
                                                                                                          <a:pt x="374" y="276"/>
                                                                                                        </a:lnTo>
                                                                                                        <a:lnTo>
                                                                                                          <a:pt x="374" y="272"/>
                                                                                                        </a:lnTo>
                                                                                                        <a:lnTo>
                                                                                                          <a:pt x="374" y="272"/>
                                                                                                        </a:lnTo>
                                                                                                        <a:lnTo>
                                                                                                          <a:pt x="374" y="268"/>
                                                                                                        </a:lnTo>
                                                                                                        <a:lnTo>
                                                                                                          <a:pt x="372" y="266"/>
                                                                                                        </a:lnTo>
                                                                                                        <a:lnTo>
                                                                                                          <a:pt x="368" y="264"/>
                                                                                                        </a:lnTo>
                                                                                                        <a:lnTo>
                                                                                                          <a:pt x="360" y="258"/>
                                                                                                        </a:lnTo>
                                                                                                        <a:lnTo>
                                                                                                          <a:pt x="360" y="258"/>
                                                                                                        </a:lnTo>
                                                                                                        <a:lnTo>
                                                                                                          <a:pt x="360" y="256"/>
                                                                                                        </a:lnTo>
                                                                                                        <a:lnTo>
                                                                                                          <a:pt x="360" y="254"/>
                                                                                                        </a:lnTo>
                                                                                                        <a:lnTo>
                                                                                                          <a:pt x="362" y="252"/>
                                                                                                        </a:lnTo>
                                                                                                        <a:lnTo>
                                                                                                          <a:pt x="368" y="250"/>
                                                                                                        </a:lnTo>
                                                                                                        <a:lnTo>
                                                                                                          <a:pt x="370" y="248"/>
                                                                                                        </a:lnTo>
                                                                                                        <a:lnTo>
                                                                                                          <a:pt x="372" y="244"/>
                                                                                                        </a:lnTo>
                                                                                                        <a:lnTo>
                                                                                                          <a:pt x="372" y="244"/>
                                                                                                        </a:lnTo>
                                                                                                        <a:lnTo>
                                                                                                          <a:pt x="374" y="240"/>
                                                                                                        </a:lnTo>
                                                                                                        <a:lnTo>
                                                                                                          <a:pt x="376" y="238"/>
                                                                                                        </a:lnTo>
                                                                                                        <a:lnTo>
                                                                                                          <a:pt x="376" y="236"/>
                                                                                                        </a:lnTo>
                                                                                                        <a:lnTo>
                                                                                                          <a:pt x="372" y="232"/>
                                                                                                        </a:lnTo>
                                                                                                        <a:lnTo>
                                                                                                          <a:pt x="372" y="232"/>
                                                                                                        </a:lnTo>
                                                                                                        <a:lnTo>
                                                                                                          <a:pt x="370" y="228"/>
                                                                                                        </a:lnTo>
                                                                                                        <a:lnTo>
                                                                                                          <a:pt x="372" y="226"/>
                                                                                                        </a:lnTo>
                                                                                                        <a:lnTo>
                                                                                                          <a:pt x="372" y="226"/>
                                                                                                        </a:lnTo>
                                                                                                        <a:lnTo>
                                                                                                          <a:pt x="374" y="224"/>
                                                                                                        </a:lnTo>
                                                                                                        <a:lnTo>
                                                                                                          <a:pt x="376" y="220"/>
                                                                                                        </a:lnTo>
                                                                                                        <a:lnTo>
                                                                                                          <a:pt x="374" y="214"/>
                                                                                                        </a:lnTo>
                                                                                                        <a:lnTo>
                                                                                                          <a:pt x="368" y="202"/>
                                                                                                        </a:lnTo>
                                                                                                        <a:lnTo>
                                                                                                          <a:pt x="368" y="202"/>
                                                                                                        </a:lnTo>
                                                                                                        <a:lnTo>
                                                                                                          <a:pt x="362" y="192"/>
                                                                                                        </a:lnTo>
                                                                                                        <a:lnTo>
                                                                                                          <a:pt x="360" y="184"/>
                                                                                                        </a:lnTo>
                                                                                                        <a:lnTo>
                                                                                                          <a:pt x="360" y="178"/>
                                                                                                        </a:lnTo>
                                                                                                        <a:lnTo>
                                                                                                          <a:pt x="358" y="172"/>
                                                                                                        </a:lnTo>
                                                                                                        <a:lnTo>
                                                                                                          <a:pt x="358" y="172"/>
                                                                                                        </a:lnTo>
                                                                                                        <a:lnTo>
                                                                                                          <a:pt x="354" y="168"/>
                                                                                                        </a:lnTo>
                                                                                                        <a:lnTo>
                                                                                                          <a:pt x="354" y="166"/>
                                                                                                        </a:lnTo>
                                                                                                        <a:lnTo>
                                                                                                          <a:pt x="356" y="166"/>
                                                                                                        </a:lnTo>
                                                                                                        <a:lnTo>
                                                                                                          <a:pt x="356" y="166"/>
                                                                                                        </a:lnTo>
                                                                                                        <a:lnTo>
                                                                                                          <a:pt x="350" y="138"/>
                                                                                                        </a:lnTo>
                                                                                                        <a:lnTo>
                                                                                                          <a:pt x="348" y="128"/>
                                                                                                        </a:lnTo>
                                                                                                        <a:lnTo>
                                                                                                          <a:pt x="346" y="124"/>
                                                                                                        </a:lnTo>
                                                                                                        <a:lnTo>
                                                                                                          <a:pt x="342" y="122"/>
                                                                                                        </a:lnTo>
                                                                                                        <a:lnTo>
                                                                                                          <a:pt x="342" y="122"/>
                                                                                                        </a:lnTo>
                                                                                                        <a:lnTo>
                                                                                                          <a:pt x="338" y="120"/>
                                                                                                        </a:lnTo>
                                                                                                        <a:lnTo>
                                                                                                          <a:pt x="336" y="116"/>
                                                                                                        </a:lnTo>
                                                                                                        <a:lnTo>
                                                                                                          <a:pt x="332" y="108"/>
                                                                                                        </a:lnTo>
                                                                                                        <a:lnTo>
                                                                                                          <a:pt x="330" y="102"/>
                                                                                                        </a:lnTo>
                                                                                                        <a:lnTo>
                                                                                                          <a:pt x="328" y="98"/>
                                                                                                        </a:lnTo>
                                                                                                        <a:lnTo>
                                                                                                          <a:pt x="324" y="94"/>
                                                                                                        </a:lnTo>
                                                                                                        <a:lnTo>
                                                                                                          <a:pt x="324" y="94"/>
                                                                                                        </a:lnTo>
                                                                                                        <a:lnTo>
                                                                                                          <a:pt x="320" y="92"/>
                                                                                                        </a:lnTo>
                                                                                                        <a:lnTo>
                                                                                                          <a:pt x="318" y="88"/>
                                                                                                        </a:lnTo>
                                                                                                        <a:lnTo>
                                                                                                          <a:pt x="316" y="80"/>
                                                                                                        </a:lnTo>
                                                                                                        <a:lnTo>
                                                                                                          <a:pt x="316" y="74"/>
                                                                                                        </a:lnTo>
                                                                                                        <a:lnTo>
                                                                                                          <a:pt x="320" y="70"/>
                                                                                                        </a:lnTo>
                                                                                                        <a:lnTo>
                                                                                                          <a:pt x="320" y="70"/>
                                                                                                        </a:lnTo>
                                                                                                        <a:lnTo>
                                                                                                          <a:pt x="324" y="68"/>
                                                                                                        </a:lnTo>
                                                                                                        <a:lnTo>
                                                                                                          <a:pt x="326" y="66"/>
                                                                                                        </a:lnTo>
                                                                                                        <a:lnTo>
                                                                                                          <a:pt x="326" y="62"/>
                                                                                                        </a:lnTo>
                                                                                                        <a:lnTo>
                                                                                                          <a:pt x="330" y="60"/>
                                                                                                        </a:lnTo>
                                                                                                        <a:lnTo>
                                                                                                          <a:pt x="330" y="60"/>
                                                                                                        </a:lnTo>
                                                                                                        <a:lnTo>
                                                                                                          <a:pt x="334" y="58"/>
                                                                                                        </a:lnTo>
                                                                                                        <a:lnTo>
                                                                                                          <a:pt x="334" y="56"/>
                                                                                                        </a:lnTo>
                                                                                                        <a:lnTo>
                                                                                                          <a:pt x="334" y="52"/>
                                                                                                        </a:lnTo>
                                                                                                        <a:lnTo>
                                                                                                          <a:pt x="334" y="48"/>
                                                                                                        </a:lnTo>
                                                                                                        <a:lnTo>
                                                                                                          <a:pt x="334" y="48"/>
                                                                                                        </a:lnTo>
                                                                                                        <a:lnTo>
                                                                                                          <a:pt x="336" y="46"/>
                                                                                                        </a:lnTo>
                                                                                                        <a:lnTo>
                                                                                                          <a:pt x="334" y="44"/>
                                                                                                        </a:lnTo>
                                                                                                        <a:lnTo>
                                                                                                          <a:pt x="334" y="40"/>
                                                                                                        </a:lnTo>
                                                                                                        <a:lnTo>
                                                                                                          <a:pt x="332" y="34"/>
                                                                                                        </a:lnTo>
                                                                                                        <a:lnTo>
                                                                                                          <a:pt x="332" y="34"/>
                                                                                                        </a:lnTo>
                                                                                                        <a:lnTo>
                                                                                                          <a:pt x="332" y="22"/>
                                                                                                        </a:lnTo>
                                                                                                        <a:lnTo>
                                                                                                          <a:pt x="332" y="20"/>
                                                                                                        </a:lnTo>
                                                                                                        <a:lnTo>
                                                                                                          <a:pt x="330" y="18"/>
                                                                                                        </a:lnTo>
                                                                                                        <a:lnTo>
                                                                                                          <a:pt x="330" y="18"/>
                                                                                                        </a:lnTo>
                                                                                                        <a:lnTo>
                                                                                                          <a:pt x="328" y="18"/>
                                                                                                        </a:lnTo>
                                                                                                        <a:lnTo>
                                                                                                          <a:pt x="330" y="16"/>
                                                                                                        </a:lnTo>
                                                                                                        <a:lnTo>
                                                                                                          <a:pt x="334" y="12"/>
                                                                                                        </a:lnTo>
                                                                                                        <a:lnTo>
                                                                                                          <a:pt x="338" y="6"/>
                                                                                                        </a:lnTo>
                                                                                                        <a:lnTo>
                                                                                                          <a:pt x="338" y="6"/>
                                                                                                        </a:lnTo>
                                                                                                        <a:lnTo>
                                                                                                          <a:pt x="330" y="4"/>
                                                                                                        </a:lnTo>
                                                                                                        <a:lnTo>
                                                                                                          <a:pt x="328" y="4"/>
                                                                                                        </a:lnTo>
                                                                                                        <a:lnTo>
                                                                                                          <a:pt x="328" y="4"/>
                                                                                                        </a:lnTo>
                                                                                                        <a:lnTo>
                                                                                                          <a:pt x="326" y="2"/>
                                                                                                        </a:lnTo>
                                                                                                        <a:lnTo>
                                                                                                          <a:pt x="326" y="2"/>
                                                                                                        </a:lnTo>
                                                                                                        <a:lnTo>
                                                                                                          <a:pt x="318" y="0"/>
                                                                                                        </a:lnTo>
                                                                                                        <a:lnTo>
                                                                                                          <a:pt x="320" y="2"/>
                                                                                                        </a:lnTo>
                                                                                                        <a:lnTo>
                                                                                                          <a:pt x="318" y="4"/>
                                                                                                        </a:lnTo>
                                                                                                        <a:lnTo>
                                                                                                          <a:pt x="318" y="4"/>
                                                                                                        </a:lnTo>
                                                                                                        <a:lnTo>
                                                                                                          <a:pt x="314" y="4"/>
                                                                                                        </a:lnTo>
                                                                                                        <a:lnTo>
                                                                                                          <a:pt x="312" y="2"/>
                                                                                                        </a:lnTo>
                                                                                                        <a:lnTo>
                                                                                                          <a:pt x="310" y="0"/>
                                                                                                        </a:lnTo>
                                                                                                        <a:lnTo>
                                                                                                          <a:pt x="308" y="4"/>
                                                                                                        </a:lnTo>
                                                                                                        <a:lnTo>
                                                                                                          <a:pt x="308" y="4"/>
                                                                                                        </a:lnTo>
                                                                                                        <a:lnTo>
                                                                                                          <a:pt x="306" y="6"/>
                                                                                                        </a:lnTo>
                                                                                                        <a:lnTo>
                                                                                                          <a:pt x="302" y="6"/>
                                                                                                        </a:lnTo>
                                                                                                        <a:lnTo>
                                                                                                          <a:pt x="298" y="6"/>
                                                                                                        </a:lnTo>
                                                                                                        <a:lnTo>
                                                                                                          <a:pt x="294" y="8"/>
                                                                                                        </a:lnTo>
                                                                                                        <a:lnTo>
                                                                                                          <a:pt x="294" y="8"/>
                                                                                                        </a:lnTo>
                                                                                                        <a:lnTo>
                                                                                                          <a:pt x="290" y="10"/>
                                                                                                        </a:lnTo>
                                                                                                        <a:lnTo>
                                                                                                          <a:pt x="290" y="8"/>
                                                                                                        </a:lnTo>
                                                                                                        <a:lnTo>
                                                                                                          <a:pt x="288" y="6"/>
                                                                                                        </a:lnTo>
                                                                                                        <a:lnTo>
                                                                                                          <a:pt x="284" y="6"/>
                                                                                                        </a:lnTo>
                                                                                                        <a:lnTo>
                                                                                                          <a:pt x="284" y="6"/>
                                                                                                        </a:lnTo>
                                                                                                        <a:lnTo>
                                                                                                          <a:pt x="276" y="6"/>
                                                                                                        </a:lnTo>
                                                                                                        <a:lnTo>
                                                                                                          <a:pt x="272" y="6"/>
                                                                                                        </a:lnTo>
                                                                                                        <a:lnTo>
                                                                                                          <a:pt x="266" y="6"/>
                                                                                                        </a:lnTo>
                                                                                                        <a:lnTo>
                                                                                                          <a:pt x="262" y="6"/>
                                                                                                        </a:lnTo>
                                                                                                        <a:lnTo>
                                                                                                          <a:pt x="262" y="6"/>
                                                                                                        </a:lnTo>
                                                                                                        <a:lnTo>
                                                                                                          <a:pt x="256" y="8"/>
                                                                                                        </a:lnTo>
                                                                                                        <a:lnTo>
                                                                                                          <a:pt x="250" y="12"/>
                                                                                                        </a:lnTo>
                                                                                                        <a:lnTo>
                                                                                                          <a:pt x="250" y="12"/>
                                                                                                        </a:lnTo>
                                                                                                        <a:lnTo>
                                                                                                          <a:pt x="248" y="14"/>
                                                                                                        </a:lnTo>
                                                                                                        <a:lnTo>
                                                                                                          <a:pt x="246" y="12"/>
                                                                                                        </a:lnTo>
                                                                                                        <a:lnTo>
                                                                                                          <a:pt x="242" y="12"/>
                                                                                                        </a:lnTo>
                                                                                                        <a:lnTo>
                                                                                                          <a:pt x="230" y="12"/>
                                                                                                        </a:lnTo>
                                                                                                        <a:lnTo>
                                                                                                          <a:pt x="230" y="12"/>
                                                                                                        </a:lnTo>
                                                                                                        <a:lnTo>
                                                                                                          <a:pt x="220" y="12"/>
                                                                                                        </a:lnTo>
                                                                                                        <a:lnTo>
                                                                                                          <a:pt x="216" y="14"/>
                                                                                                        </a:lnTo>
                                                                                                        <a:lnTo>
                                                                                                          <a:pt x="214" y="16"/>
                                                                                                        </a:lnTo>
                                                                                                        <a:lnTo>
                                                                                                          <a:pt x="210" y="16"/>
                                                                                                        </a:lnTo>
                                                                                                        <a:lnTo>
                                                                                                          <a:pt x="210" y="16"/>
                                                                                                        </a:lnTo>
                                                                                                        <a:lnTo>
                                                                                                          <a:pt x="204" y="18"/>
                                                                                                        </a:lnTo>
                                                                                                        <a:lnTo>
                                                                                                          <a:pt x="198" y="22"/>
                                                                                                        </a:lnTo>
                                                                                                        <a:lnTo>
                                                                                                          <a:pt x="192" y="28"/>
                                                                                                        </a:lnTo>
                                                                                                        <a:lnTo>
                                                                                                          <a:pt x="186" y="30"/>
                                                                                                        </a:lnTo>
                                                                                                        <a:lnTo>
                                                                                                          <a:pt x="186" y="30"/>
                                                                                                        </a:lnTo>
                                                                                                        <a:lnTo>
                                                                                                          <a:pt x="184" y="32"/>
                                                                                                        </a:lnTo>
                                                                                                        <a:lnTo>
                                                                                                          <a:pt x="180" y="36"/>
                                                                                                        </a:lnTo>
                                                                                                        <a:lnTo>
                                                                                                          <a:pt x="176" y="38"/>
                                                                                                        </a:lnTo>
                                                                                                        <a:lnTo>
                                                                                                          <a:pt x="174" y="38"/>
                                                                                                        </a:lnTo>
                                                                                                        <a:lnTo>
                                                                                                          <a:pt x="170" y="34"/>
                                                                                                        </a:lnTo>
                                                                                                        <a:lnTo>
                                                                                                          <a:pt x="170" y="34"/>
                                                                                                        </a:lnTo>
                                                                                                        <a:lnTo>
                                                                                                          <a:pt x="166" y="32"/>
                                                                                                        </a:lnTo>
                                                                                                        <a:lnTo>
                                                                                                          <a:pt x="166" y="34"/>
                                                                                                        </a:lnTo>
                                                                                                        <a:lnTo>
                                                                                                          <a:pt x="164" y="38"/>
                                                                                                        </a:lnTo>
                                                                                                        <a:lnTo>
                                                                                                          <a:pt x="160" y="38"/>
                                                                                                        </a:lnTo>
                                                                                                        <a:lnTo>
                                                                                                          <a:pt x="160" y="38"/>
                                                                                                        </a:lnTo>
                                                                                                        <a:lnTo>
                                                                                                          <a:pt x="154" y="40"/>
                                                                                                        </a:lnTo>
                                                                                                        <a:lnTo>
                                                                                                          <a:pt x="152" y="44"/>
                                                                                                        </a:lnTo>
                                                                                                        <a:lnTo>
                                                                                                          <a:pt x="152" y="46"/>
                                                                                                        </a:lnTo>
                                                                                                        <a:lnTo>
                                                                                                          <a:pt x="148" y="48"/>
                                                                                                        </a:lnTo>
                                                                                                        <a:lnTo>
                                                                                                          <a:pt x="148" y="48"/>
                                                                                                        </a:lnTo>
                                                                                                        <a:lnTo>
                                                                                                          <a:pt x="144" y="48"/>
                                                                                                        </a:lnTo>
                                                                                                        <a:lnTo>
                                                                                                          <a:pt x="142" y="48"/>
                                                                                                        </a:lnTo>
                                                                                                        <a:lnTo>
                                                                                                          <a:pt x="142" y="50"/>
                                                                                                        </a:lnTo>
                                                                                                        <a:lnTo>
                                                                                                          <a:pt x="138" y="50"/>
                                                                                                        </a:lnTo>
                                                                                                        <a:lnTo>
                                                                                                          <a:pt x="138" y="50"/>
                                                                                                        </a:lnTo>
                                                                                                        <a:lnTo>
                                                                                                          <a:pt x="140" y="54"/>
                                                                                                        </a:lnTo>
                                                                                                        <a:lnTo>
                                                                                                          <a:pt x="140" y="58"/>
                                                                                                        </a:lnTo>
                                                                                                        <a:lnTo>
                                                                                                          <a:pt x="142" y="70"/>
                                                                                                        </a:lnTo>
                                                                                                        <a:lnTo>
                                                                                                          <a:pt x="142" y="70"/>
                                                                                                        </a:lnTo>
                                                                                                        <a:lnTo>
                                                                                                          <a:pt x="140" y="78"/>
                                                                                                        </a:lnTo>
                                                                                                        <a:lnTo>
                                                                                                          <a:pt x="140" y="86"/>
                                                                                                        </a:lnTo>
                                                                                                        <a:lnTo>
                                                                                                          <a:pt x="140" y="90"/>
                                                                                                        </a:lnTo>
                                                                                                        <a:lnTo>
                                                                                                          <a:pt x="142" y="94"/>
                                                                                                        </a:lnTo>
                                                                                                        <a:lnTo>
                                                                                                          <a:pt x="146" y="96"/>
                                                                                                        </a:lnTo>
                                                                                                        <a:lnTo>
                                                                                                          <a:pt x="152" y="100"/>
                                                                                                        </a:lnTo>
                                                                                                        <a:lnTo>
                                                                                                          <a:pt x="152" y="100"/>
                                                                                                        </a:lnTo>
                                                                                                        <a:lnTo>
                                                                                                          <a:pt x="160" y="104"/>
                                                                                                        </a:lnTo>
                                                                                                        <a:lnTo>
                                                                                                          <a:pt x="162" y="108"/>
                                                                                                        </a:lnTo>
                                                                                                        <a:lnTo>
                                                                                                          <a:pt x="160" y="110"/>
                                                                                                        </a:lnTo>
                                                                                                        <a:lnTo>
                                                                                                          <a:pt x="158" y="112"/>
                                                                                                        </a:lnTo>
                                                                                                        <a:lnTo>
                                                                                                          <a:pt x="158" y="112"/>
                                                                                                        </a:lnTo>
                                                                                                        <a:lnTo>
                                                                                                          <a:pt x="158" y="116"/>
                                                                                                        </a:lnTo>
                                                                                                        <a:lnTo>
                                                                                                          <a:pt x="160" y="118"/>
                                                                                                        </a:lnTo>
                                                                                                        <a:lnTo>
                                                                                                          <a:pt x="156" y="120"/>
                                                                                                        </a:lnTo>
                                                                                                        <a:lnTo>
                                                                                                          <a:pt x="142" y="118"/>
                                                                                                        </a:lnTo>
                                                                                                        <a:lnTo>
                                                                                                          <a:pt x="142" y="118"/>
                                                                                                        </a:lnTo>
                                                                                                        <a:lnTo>
                                                                                                          <a:pt x="132" y="118"/>
                                                                                                        </a:lnTo>
                                                                                                        <a:lnTo>
                                                                                                          <a:pt x="124" y="120"/>
                                                                                                        </a:lnTo>
                                                                                                        <a:lnTo>
                                                                                                          <a:pt x="120" y="122"/>
                                                                                                        </a:lnTo>
                                                                                                        <a:lnTo>
                                                                                                          <a:pt x="112" y="124"/>
                                                                                                        </a:lnTo>
                                                                                                        <a:lnTo>
                                                                                                          <a:pt x="112" y="124"/>
                                                                                                        </a:lnTo>
                                                                                                        <a:lnTo>
                                                                                                          <a:pt x="106" y="128"/>
                                                                                                        </a:lnTo>
                                                                                                        <a:lnTo>
                                                                                                          <a:pt x="102" y="132"/>
                                                                                                        </a:lnTo>
                                                                                                        <a:lnTo>
                                                                                                          <a:pt x="102" y="136"/>
                                                                                                        </a:lnTo>
                                                                                                        <a:lnTo>
                                                                                                          <a:pt x="106" y="140"/>
                                                                                                        </a:lnTo>
                                                                                                        <a:lnTo>
                                                                                                          <a:pt x="106" y="140"/>
                                                                                                        </a:lnTo>
                                                                                                        <a:lnTo>
                                                                                                          <a:pt x="110" y="140"/>
                                                                                                        </a:lnTo>
                                                                                                        <a:lnTo>
                                                                                                          <a:pt x="108" y="142"/>
                                                                                                        </a:lnTo>
                                                                                                        <a:lnTo>
                                                                                                          <a:pt x="92" y="150"/>
                                                                                                        </a:lnTo>
                                                                                                        <a:lnTo>
                                                                                                          <a:pt x="92" y="150"/>
                                                                                                        </a:lnTo>
                                                                                                        <a:lnTo>
                                                                                                          <a:pt x="76" y="158"/>
                                                                                                        </a:lnTo>
                                                                                                        <a:lnTo>
                                                                                                          <a:pt x="68" y="166"/>
                                                                                                        </a:lnTo>
                                                                                                        <a:lnTo>
                                                                                                          <a:pt x="68" y="166"/>
                                                                                                        </a:lnTo>
                                                                                                        <a:lnTo>
                                                                                                          <a:pt x="60" y="174"/>
                                                                                                        </a:lnTo>
                                                                                                        <a:lnTo>
                                                                                                          <a:pt x="52" y="178"/>
                                                                                                        </a:lnTo>
                                                                                                        <a:lnTo>
                                                                                                          <a:pt x="52" y="178"/>
                                                                                                        </a:lnTo>
                                                                                                        <a:lnTo>
                                                                                                          <a:pt x="44" y="178"/>
                                                                                                        </a:lnTo>
                                                                                                        <a:lnTo>
                                                                                                          <a:pt x="42" y="176"/>
                                                                                                        </a:lnTo>
                                                                                                        <a:lnTo>
                                                                                                          <a:pt x="42" y="176"/>
                                                                                                        </a:lnTo>
                                                                                                        <a:lnTo>
                                                                                                          <a:pt x="40" y="174"/>
                                                                                                        </a:lnTo>
                                                                                                        <a:lnTo>
                                                                                                          <a:pt x="36" y="176"/>
                                                                                                        </a:lnTo>
                                                                                                        <a:lnTo>
                                                                                                          <a:pt x="32" y="182"/>
                                                                                                        </a:lnTo>
                                                                                                        <a:lnTo>
                                                                                                          <a:pt x="28" y="188"/>
                                                                                                        </a:lnTo>
                                                                                                        <a:lnTo>
                                                                                                          <a:pt x="26" y="188"/>
                                                                                                        </a:lnTo>
                                                                                                        <a:lnTo>
                                                                                                          <a:pt x="22" y="184"/>
                                                                                                        </a:lnTo>
                                                                                                        <a:lnTo>
                                                                                                          <a:pt x="22" y="184"/>
                                                                                                        </a:lnTo>
                                                                                                        <a:lnTo>
                                                                                                          <a:pt x="20" y="184"/>
                                                                                                        </a:lnTo>
                                                                                                        <a:lnTo>
                                                                                                          <a:pt x="18" y="184"/>
                                                                                                        </a:lnTo>
                                                                                                        <a:lnTo>
                                                                                                          <a:pt x="14" y="188"/>
                                                                                                        </a:lnTo>
                                                                                                        <a:lnTo>
                                                                                                          <a:pt x="12" y="190"/>
                                                                                                        </a:lnTo>
                                                                                                        <a:lnTo>
                                                                                                          <a:pt x="12" y="190"/>
                                                                                                        </a:lnTo>
                                                                                                        <a:lnTo>
                                                                                                          <a:pt x="10" y="194"/>
                                                                                                        </a:lnTo>
                                                                                                        <a:lnTo>
                                                                                                          <a:pt x="6" y="198"/>
                                                                                                        </a:lnTo>
                                                                                                        <a:lnTo>
                                                                                                          <a:pt x="2" y="200"/>
                                                                                                        </a:lnTo>
                                                                                                        <a:lnTo>
                                                                                                          <a:pt x="0" y="206"/>
                                                                                                        </a:lnTo>
                                                                                                        <a:lnTo>
                                                                                                          <a:pt x="0" y="222"/>
                                                                                                        </a:lnTo>
                                                                                                        <a:lnTo>
                                                                                                          <a:pt x="0" y="234"/>
                                                                                                        </a:lnTo>
                                                                                                        <a:lnTo>
                                                                                                          <a:pt x="78" y="296"/>
                                                                                                        </a:lnTo>
                                                                                                        <a:lnTo>
                                                                                                          <a:pt x="78" y="296"/>
                                                                                                        </a:lnTo>
                                                                                                        <a:lnTo>
                                                                                                          <a:pt x="220" y="404"/>
                                                                                                        </a:lnTo>
                                                                                                        <a:lnTo>
                                                                                                          <a:pt x="220" y="404"/>
                                                                                                        </a:lnTo>
                                                                                                        <a:lnTo>
                                                                                                          <a:pt x="224" y="408"/>
                                                                                                        </a:lnTo>
                                                                                                        <a:lnTo>
                                                                                                          <a:pt x="228" y="408"/>
                                                                                                        </a:lnTo>
                                                                                                        <a:lnTo>
                                                                                                          <a:pt x="230" y="408"/>
                                                                                                        </a:lnTo>
                                                                                                        <a:lnTo>
                                                                                                          <a:pt x="232" y="410"/>
                                                                                                        </a:lnTo>
                                                                                                        <a:lnTo>
                                                                                                          <a:pt x="232" y="410"/>
                                                                                                        </a:lnTo>
                                                                                                        <a:lnTo>
                                                                                                          <a:pt x="232" y="412"/>
                                                                                                        </a:lnTo>
                                                                                                        <a:lnTo>
                                                                                                          <a:pt x="232" y="412"/>
                                                                                                        </a:lnTo>
                                                                                                        <a:lnTo>
                                                                                                          <a:pt x="230" y="414"/>
                                                                                                        </a:lnTo>
                                                                                                        <a:lnTo>
                                                                                                          <a:pt x="232" y="416"/>
                                                                                                        </a:lnTo>
                                                                                                        <a:lnTo>
                                                                                                          <a:pt x="232" y="416"/>
                                                                                                        </a:lnTo>
                                                                                                        <a:lnTo>
                                                                                                          <a:pt x="236" y="416"/>
                                                                                                        </a:lnTo>
                                                                                                        <a:lnTo>
                                                                                                          <a:pt x="238" y="418"/>
                                                                                                        </a:lnTo>
                                                                                                        <a:lnTo>
                                                                                                          <a:pt x="240" y="418"/>
                                                                                                        </a:lnTo>
                                                                                                        <a:lnTo>
                                                                                                          <a:pt x="242" y="420"/>
                                                                                                        </a:lnTo>
                                                                                                        <a:lnTo>
                                                                                                          <a:pt x="242" y="420"/>
                                                                                                        </a:lnTo>
                                                                                                        <a:lnTo>
                                                                                                          <a:pt x="244" y="424"/>
                                                                                                        </a:lnTo>
                                                                                                        <a:lnTo>
                                                                                                          <a:pt x="246" y="424"/>
                                                                                                        </a:lnTo>
                                                                                                        <a:lnTo>
                                                                                                          <a:pt x="248" y="426"/>
                                                                                                        </a:lnTo>
                                                                                                        <a:lnTo>
                                                                                                          <a:pt x="248" y="426"/>
                                                                                                        </a:lnTo>
                                                                                                        <a:lnTo>
                                                                                                          <a:pt x="250" y="430"/>
                                                                                                        </a:lnTo>
                                                                                                        <a:lnTo>
                                                                                                          <a:pt x="246" y="436"/>
                                                                                                        </a:lnTo>
                                                                                                        <a:lnTo>
                                                                                                          <a:pt x="244" y="440"/>
                                                                                                        </a:lnTo>
                                                                                                        <a:lnTo>
                                                                                                          <a:pt x="242" y="446"/>
                                                                                                        </a:lnTo>
                                                                                                        <a:lnTo>
                                                                                                          <a:pt x="242" y="446"/>
                                                                                                        </a:lnTo>
                                                                                                        <a:lnTo>
                                                                                                          <a:pt x="244" y="448"/>
                                                                                                        </a:lnTo>
                                                                                                        <a:lnTo>
                                                                                                          <a:pt x="248" y="446"/>
                                                                                                        </a:lnTo>
                                                                                                        <a:lnTo>
                                                                                                          <a:pt x="266" y="440"/>
                                                                                                        </a:lnTo>
                                                                                                        <a:lnTo>
                                                                                                          <a:pt x="266" y="440"/>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baseline="-25000" dirty="0">
                                                                                                      <a:solidFill>
                                                                                                        <a:schemeClr val="tx1"/>
                                                                                                      </a:solidFill>
                                                                                                    </a:endParaRPr>
                                                                                                  </a:p>
                                                                                                </p:txBody>
                                                                                              </p:sp>
                                                                                              <p:sp>
                                                                                                <p:nvSpPr>
                                                                                                  <p:cNvPr id="552" name="Angola"/>
                                                                                                  <p:cNvSpPr>
                                                                                                    <a:spLocks/>
                                                                                                  </p:cNvSpPr>
                                                                                                  <p:nvPr/>
                                                                                                </p:nvSpPr>
                                                                                                <p:spPr bwMode="auto">
                                                                                                  <a:xfrm>
                                                                                                    <a:off x="6155056" y="3915939"/>
                                                                                                    <a:ext cx="407044" cy="473434"/>
                                                                                                  </a:xfrm>
                                                                                                  <a:custGeom>
                                                                                                    <a:avLst/>
                                                                                                    <a:gdLst/>
                                                                                                    <a:ahLst/>
                                                                                                    <a:cxnLst>
                                                                                                      <a:cxn ang="0">
                                                                                                        <a:pos x="252" y="136"/>
                                                                                                      </a:cxn>
                                                                                                      <a:cxn ang="0">
                                                                                                        <a:pos x="224" y="142"/>
                                                                                                      </a:cxn>
                                                                                                      <a:cxn ang="0">
                                                                                                        <a:pos x="222" y="114"/>
                                                                                                      </a:cxn>
                                                                                                      <a:cxn ang="0">
                                                                                                        <a:pos x="216" y="106"/>
                                                                                                      </a:cxn>
                                                                                                      <a:cxn ang="0">
                                                                                                        <a:pos x="216" y="86"/>
                                                                                                      </a:cxn>
                                                                                                      <a:cxn ang="0">
                                                                                                        <a:pos x="212" y="56"/>
                                                                                                      </a:cxn>
                                                                                                      <a:cxn ang="0">
                                                                                                        <a:pos x="216" y="42"/>
                                                                                                      </a:cxn>
                                                                                                      <a:cxn ang="0">
                                                                                                        <a:pos x="202" y="36"/>
                                                                                                      </a:cxn>
                                                                                                      <a:cxn ang="0">
                                                                                                        <a:pos x="196" y="34"/>
                                                                                                      </a:cxn>
                                                                                                      <a:cxn ang="0">
                                                                                                        <a:pos x="192" y="30"/>
                                                                                                      </a:cxn>
                                                                                                      <a:cxn ang="0">
                                                                                                        <a:pos x="182" y="32"/>
                                                                                                      </a:cxn>
                                                                                                      <a:cxn ang="0">
                                                                                                        <a:pos x="168" y="36"/>
                                                                                                      </a:cxn>
                                                                                                      <a:cxn ang="0">
                                                                                                        <a:pos x="166" y="44"/>
                                                                                                      </a:cxn>
                                                                                                      <a:cxn ang="0">
                                                                                                        <a:pos x="162" y="54"/>
                                                                                                      </a:cxn>
                                                                                                      <a:cxn ang="0">
                                                                                                        <a:pos x="154" y="54"/>
                                                                                                      </a:cxn>
                                                                                                      <a:cxn ang="0">
                                                                                                        <a:pos x="142" y="56"/>
                                                                                                      </a:cxn>
                                                                                                      <a:cxn ang="0">
                                                                                                        <a:pos x="130" y="58"/>
                                                                                                      </a:cxn>
                                                                                                      <a:cxn ang="0">
                                                                                                        <a:pos x="122" y="42"/>
                                                                                                      </a:cxn>
                                                                                                      <a:cxn ang="0">
                                                                                                        <a:pos x="116" y="34"/>
                                                                                                      </a:cxn>
                                                                                                      <a:cxn ang="0">
                                                                                                        <a:pos x="110" y="14"/>
                                                                                                      </a:cxn>
                                                                                                      <a:cxn ang="0">
                                                                                                        <a:pos x="104" y="2"/>
                                                                                                      </a:cxn>
                                                                                                      <a:cxn ang="0">
                                                                                                        <a:pos x="90" y="0"/>
                                                                                                      </a:cxn>
                                                                                                      <a:cxn ang="0">
                                                                                                        <a:pos x="78" y="0"/>
                                                                                                      </a:cxn>
                                                                                                      <a:cxn ang="0">
                                                                                                        <a:pos x="36" y="2"/>
                                                                                                      </a:cxn>
                                                                                                      <a:cxn ang="0">
                                                                                                        <a:pos x="28" y="6"/>
                                                                                                      </a:cxn>
                                                                                                      <a:cxn ang="0">
                                                                                                        <a:pos x="16" y="12"/>
                                                                                                      </a:cxn>
                                                                                                      <a:cxn ang="0">
                                                                                                        <a:pos x="24" y="22"/>
                                                                                                      </a:cxn>
                                                                                                      <a:cxn ang="0">
                                                                                                        <a:pos x="30" y="40"/>
                                                                                                      </a:cxn>
                                                                                                      <a:cxn ang="0">
                                                                                                        <a:pos x="36" y="68"/>
                                                                                                      </a:cxn>
                                                                                                      <a:cxn ang="0">
                                                                                                        <a:pos x="34" y="82"/>
                                                                                                      </a:cxn>
                                                                                                      <a:cxn ang="0">
                                                                                                        <a:pos x="36" y="92"/>
                                                                                                      </a:cxn>
                                                                                                      <a:cxn ang="0">
                                                                                                        <a:pos x="36" y="102"/>
                                                                                                      </a:cxn>
                                                                                                      <a:cxn ang="0">
                                                                                                        <a:pos x="46" y="136"/>
                                                                                                      </a:cxn>
                                                                                                      <a:cxn ang="0">
                                                                                                        <a:pos x="42" y="156"/>
                                                                                                      </a:cxn>
                                                                                                      <a:cxn ang="0">
                                                                                                        <a:pos x="30" y="168"/>
                                                                                                      </a:cxn>
                                                                                                      <a:cxn ang="0">
                                                                                                        <a:pos x="22" y="178"/>
                                                                                                      </a:cxn>
                                                                                                      <a:cxn ang="0">
                                                                                                        <a:pos x="14" y="192"/>
                                                                                                      </a:cxn>
                                                                                                      <a:cxn ang="0">
                                                                                                        <a:pos x="8" y="236"/>
                                                                                                      </a:cxn>
                                                                                                      <a:cxn ang="0">
                                                                                                        <a:pos x="4" y="264"/>
                                                                                                      </a:cxn>
                                                                                                      <a:cxn ang="0">
                                                                                                        <a:pos x="0" y="268"/>
                                                                                                      </a:cxn>
                                                                                                      <a:cxn ang="0">
                                                                                                        <a:pos x="0" y="298"/>
                                                                                                      </a:cxn>
                                                                                                      <a:cxn ang="0">
                                                                                                        <a:pos x="18" y="294"/>
                                                                                                      </a:cxn>
                                                                                                      <a:cxn ang="0">
                                                                                                        <a:pos x="30" y="288"/>
                                                                                                      </a:cxn>
                                                                                                      <a:cxn ang="0">
                                                                                                        <a:pos x="48" y="294"/>
                                                                                                      </a:cxn>
                                                                                                      <a:cxn ang="0">
                                                                                                        <a:pos x="134" y="296"/>
                                                                                                      </a:cxn>
                                                                                                      <a:cxn ang="0">
                                                                                                        <a:pos x="134" y="298"/>
                                                                                                      </a:cxn>
                                                                                                      <a:cxn ang="0">
                                                                                                        <a:pos x="160" y="308"/>
                                                                                                      </a:cxn>
                                                                                                      <a:cxn ang="0">
                                                                                                        <a:pos x="176" y="308"/>
                                                                                                      </a:cxn>
                                                                                                      <a:cxn ang="0">
                                                                                                        <a:pos x="190" y="312"/>
                                                                                                      </a:cxn>
                                                                                                      <a:cxn ang="0">
                                                                                                        <a:pos x="234" y="300"/>
                                                                                                      </a:cxn>
                                                                                                      <a:cxn ang="0">
                                                                                                        <a:pos x="222" y="290"/>
                                                                                                      </a:cxn>
                                                                                                      <a:cxn ang="0">
                                                                                                        <a:pos x="218" y="282"/>
                                                                                                      </a:cxn>
                                                                                                      <a:cxn ang="0">
                                                                                                        <a:pos x="218" y="186"/>
                                                                                                      </a:cxn>
                                                                                                      <a:cxn ang="0">
                                                                                                        <a:pos x="266" y="182"/>
                                                                                                      </a:cxn>
                                                                                                      <a:cxn ang="0">
                                                                                                        <a:pos x="266" y="162"/>
                                                                                                      </a:cxn>
                                                                                                      <a:cxn ang="0">
                                                                                                        <a:pos x="264" y="142"/>
                                                                                                      </a:cxn>
                                                                                                    </a:cxnLst>
                                                                                                    <a:rect l="0" t="0" r="r" b="b"/>
                                                                                                    <a:pathLst>
                                                                                                      <a:path w="268" h="312">
                                                                                                        <a:moveTo>
                                                                                                          <a:pt x="266" y="134"/>
                                                                                                        </a:moveTo>
                                                                                                        <a:lnTo>
                                                                                                          <a:pt x="266" y="134"/>
                                                                                                        </a:lnTo>
                                                                                                        <a:lnTo>
                                                                                                          <a:pt x="252" y="136"/>
                                                                                                        </a:lnTo>
                                                                                                        <a:lnTo>
                                                                                                          <a:pt x="250" y="134"/>
                                                                                                        </a:lnTo>
                                                                                                        <a:lnTo>
                                                                                                          <a:pt x="224" y="142"/>
                                                                                                        </a:lnTo>
                                                                                                        <a:lnTo>
                                                                                                          <a:pt x="224" y="142"/>
                                                                                                        </a:lnTo>
                                                                                                        <a:lnTo>
                                                                                                          <a:pt x="224" y="128"/>
                                                                                                        </a:lnTo>
                                                                                                        <a:lnTo>
                                                                                                          <a:pt x="224" y="120"/>
                                                                                                        </a:lnTo>
                                                                                                        <a:lnTo>
                                                                                                          <a:pt x="222" y="114"/>
                                                                                                        </a:lnTo>
                                                                                                        <a:lnTo>
                                                                                                          <a:pt x="220" y="112"/>
                                                                                                        </a:lnTo>
                                                                                                        <a:lnTo>
                                                                                                          <a:pt x="218" y="110"/>
                                                                                                        </a:lnTo>
                                                                                                        <a:lnTo>
                                                                                                          <a:pt x="216" y="106"/>
                                                                                                        </a:lnTo>
                                                                                                        <a:lnTo>
                                                                                                          <a:pt x="216" y="98"/>
                                                                                                        </a:lnTo>
                                                                                                        <a:lnTo>
                                                                                                          <a:pt x="216" y="86"/>
                                                                                                        </a:lnTo>
                                                                                                        <a:lnTo>
                                                                                                          <a:pt x="216" y="86"/>
                                                                                                        </a:lnTo>
                                                                                                        <a:lnTo>
                                                                                                          <a:pt x="214" y="74"/>
                                                                                                        </a:lnTo>
                                                                                                        <a:lnTo>
                                                                                                          <a:pt x="214" y="64"/>
                                                                                                        </a:lnTo>
                                                                                                        <a:lnTo>
                                                                                                          <a:pt x="212" y="56"/>
                                                                                                        </a:lnTo>
                                                                                                        <a:lnTo>
                                                                                                          <a:pt x="214" y="48"/>
                                                                                                        </a:lnTo>
                                                                                                        <a:lnTo>
                                                                                                          <a:pt x="214" y="48"/>
                                                                                                        </a:lnTo>
                                                                                                        <a:lnTo>
                                                                                                          <a:pt x="216" y="42"/>
                                                                                                        </a:lnTo>
                                                                                                        <a:lnTo>
                                                                                                          <a:pt x="214" y="38"/>
                                                                                                        </a:lnTo>
                                                                                                        <a:lnTo>
                                                                                                          <a:pt x="210" y="36"/>
                                                                                                        </a:lnTo>
                                                                                                        <a:lnTo>
                                                                                                          <a:pt x="202" y="36"/>
                                                                                                        </a:lnTo>
                                                                                                        <a:lnTo>
                                                                                                          <a:pt x="202" y="36"/>
                                                                                                        </a:lnTo>
                                                                                                        <a:lnTo>
                                                                                                          <a:pt x="196" y="36"/>
                                                                                                        </a:lnTo>
                                                                                                        <a:lnTo>
                                                                                                          <a:pt x="196" y="34"/>
                                                                                                        </a:lnTo>
                                                                                                        <a:lnTo>
                                                                                                          <a:pt x="196" y="32"/>
                                                                                                        </a:lnTo>
                                                                                                        <a:lnTo>
                                                                                                          <a:pt x="192" y="30"/>
                                                                                                        </a:lnTo>
                                                                                                        <a:lnTo>
                                                                                                          <a:pt x="192" y="30"/>
                                                                                                        </a:lnTo>
                                                                                                        <a:lnTo>
                                                                                                          <a:pt x="186" y="30"/>
                                                                                                        </a:lnTo>
                                                                                                        <a:lnTo>
                                                                                                          <a:pt x="184" y="32"/>
                                                                                                        </a:lnTo>
                                                                                                        <a:lnTo>
                                                                                                          <a:pt x="182" y="32"/>
                                                                                                        </a:lnTo>
                                                                                                        <a:lnTo>
                                                                                                          <a:pt x="174" y="34"/>
                                                                                                        </a:lnTo>
                                                                                                        <a:lnTo>
                                                                                                          <a:pt x="174" y="34"/>
                                                                                                        </a:lnTo>
                                                                                                        <a:lnTo>
                                                                                                          <a:pt x="168" y="36"/>
                                                                                                        </a:lnTo>
                                                                                                        <a:lnTo>
                                                                                                          <a:pt x="166" y="38"/>
                                                                                                        </a:lnTo>
                                                                                                        <a:lnTo>
                                                                                                          <a:pt x="166" y="42"/>
                                                                                                        </a:lnTo>
                                                                                                        <a:lnTo>
                                                                                                          <a:pt x="166" y="44"/>
                                                                                                        </a:lnTo>
                                                                                                        <a:lnTo>
                                                                                                          <a:pt x="166" y="44"/>
                                                                                                        </a:lnTo>
                                                                                                        <a:lnTo>
                                                                                                          <a:pt x="164" y="48"/>
                                                                                                        </a:lnTo>
                                                                                                        <a:lnTo>
                                                                                                          <a:pt x="162" y="54"/>
                                                                                                        </a:lnTo>
                                                                                                        <a:lnTo>
                                                                                                          <a:pt x="160" y="56"/>
                                                                                                        </a:lnTo>
                                                                                                        <a:lnTo>
                                                                                                          <a:pt x="154" y="54"/>
                                                                                                        </a:lnTo>
                                                                                                        <a:lnTo>
                                                                                                          <a:pt x="154" y="54"/>
                                                                                                        </a:lnTo>
                                                                                                        <a:lnTo>
                                                                                                          <a:pt x="150" y="52"/>
                                                                                                        </a:lnTo>
                                                                                                        <a:lnTo>
                                                                                                          <a:pt x="146" y="54"/>
                                                                                                        </a:lnTo>
                                                                                                        <a:lnTo>
                                                                                                          <a:pt x="142" y="56"/>
                                                                                                        </a:lnTo>
                                                                                                        <a:lnTo>
                                                                                                          <a:pt x="134" y="58"/>
                                                                                                        </a:lnTo>
                                                                                                        <a:lnTo>
                                                                                                          <a:pt x="134" y="58"/>
                                                                                                        </a:lnTo>
                                                                                                        <a:lnTo>
                                                                                                          <a:pt x="130" y="58"/>
                                                                                                        </a:lnTo>
                                                                                                        <a:lnTo>
                                                                                                          <a:pt x="126" y="56"/>
                                                                                                        </a:lnTo>
                                                                                                        <a:lnTo>
                                                                                                          <a:pt x="124" y="50"/>
                                                                                                        </a:lnTo>
                                                                                                        <a:lnTo>
                                                                                                          <a:pt x="122" y="42"/>
                                                                                                        </a:lnTo>
                                                                                                        <a:lnTo>
                                                                                                          <a:pt x="120" y="38"/>
                                                                                                        </a:lnTo>
                                                                                                        <a:lnTo>
                                                                                                          <a:pt x="116" y="34"/>
                                                                                                        </a:lnTo>
                                                                                                        <a:lnTo>
                                                                                                          <a:pt x="116" y="34"/>
                                                                                                        </a:lnTo>
                                                                                                        <a:lnTo>
                                                                                                          <a:pt x="112" y="30"/>
                                                                                                        </a:lnTo>
                                                                                                        <a:lnTo>
                                                                                                          <a:pt x="112" y="24"/>
                                                                                                        </a:lnTo>
                                                                                                        <a:lnTo>
                                                                                                          <a:pt x="110" y="14"/>
                                                                                                        </a:lnTo>
                                                                                                        <a:lnTo>
                                                                                                          <a:pt x="110" y="6"/>
                                                                                                        </a:lnTo>
                                                                                                        <a:lnTo>
                                                                                                          <a:pt x="108" y="2"/>
                                                                                                        </a:lnTo>
                                                                                                        <a:lnTo>
                                                                                                          <a:pt x="104" y="2"/>
                                                                                                        </a:lnTo>
                                                                                                        <a:lnTo>
                                                                                                          <a:pt x="104" y="2"/>
                                                                                                        </a:lnTo>
                                                                                                        <a:lnTo>
                                                                                                          <a:pt x="96" y="2"/>
                                                                                                        </a:lnTo>
                                                                                                        <a:lnTo>
                                                                                                          <a:pt x="90" y="0"/>
                                                                                                        </a:lnTo>
                                                                                                        <a:lnTo>
                                                                                                          <a:pt x="86" y="0"/>
                                                                                                        </a:lnTo>
                                                                                                        <a:lnTo>
                                                                                                          <a:pt x="78" y="0"/>
                                                                                                        </a:lnTo>
                                                                                                        <a:lnTo>
                                                                                                          <a:pt x="78" y="0"/>
                                                                                                        </a:lnTo>
                                                                                                        <a:lnTo>
                                                                                                          <a:pt x="52" y="0"/>
                                                                                                        </a:lnTo>
                                                                                                        <a:lnTo>
                                                                                                          <a:pt x="44" y="0"/>
                                                                                                        </a:lnTo>
                                                                                                        <a:lnTo>
                                                                                                          <a:pt x="36" y="2"/>
                                                                                                        </a:lnTo>
                                                                                                        <a:lnTo>
                                                                                                          <a:pt x="36" y="2"/>
                                                                                                        </a:lnTo>
                                                                                                        <a:lnTo>
                                                                                                          <a:pt x="32" y="4"/>
                                                                                                        </a:lnTo>
                                                                                                        <a:lnTo>
                                                                                                          <a:pt x="28" y="6"/>
                                                                                                        </a:lnTo>
                                                                                                        <a:lnTo>
                                                                                                          <a:pt x="18" y="10"/>
                                                                                                        </a:lnTo>
                                                                                                        <a:lnTo>
                                                                                                          <a:pt x="18" y="10"/>
                                                                                                        </a:lnTo>
                                                                                                        <a:lnTo>
                                                                                                          <a:pt x="16" y="12"/>
                                                                                                        </a:lnTo>
                                                                                                        <a:lnTo>
                                                                                                          <a:pt x="16" y="12"/>
                                                                                                        </a:lnTo>
                                                                                                        <a:lnTo>
                                                                                                          <a:pt x="18" y="16"/>
                                                                                                        </a:lnTo>
                                                                                                        <a:lnTo>
                                                                                                          <a:pt x="24" y="22"/>
                                                                                                        </a:lnTo>
                                                                                                        <a:lnTo>
                                                                                                          <a:pt x="26" y="30"/>
                                                                                                        </a:lnTo>
                                                                                                        <a:lnTo>
                                                                                                          <a:pt x="26" y="30"/>
                                                                                                        </a:lnTo>
                                                                                                        <a:lnTo>
                                                                                                          <a:pt x="30" y="40"/>
                                                                                                        </a:lnTo>
                                                                                                        <a:lnTo>
                                                                                                          <a:pt x="34" y="52"/>
                                                                                                        </a:lnTo>
                                                                                                        <a:lnTo>
                                                                                                          <a:pt x="36" y="62"/>
                                                                                                        </a:lnTo>
                                                                                                        <a:lnTo>
                                                                                                          <a:pt x="36" y="68"/>
                                                                                                        </a:lnTo>
                                                                                                        <a:lnTo>
                                                                                                          <a:pt x="36" y="72"/>
                                                                                                        </a:lnTo>
                                                                                                        <a:lnTo>
                                                                                                          <a:pt x="36" y="72"/>
                                                                                                        </a:lnTo>
                                                                                                        <a:lnTo>
                                                                                                          <a:pt x="34" y="82"/>
                                                                                                        </a:lnTo>
                                                                                                        <a:lnTo>
                                                                                                          <a:pt x="34" y="86"/>
                                                                                                        </a:lnTo>
                                                                                                        <a:lnTo>
                                                                                                          <a:pt x="36" y="88"/>
                                                                                                        </a:lnTo>
                                                                                                        <a:lnTo>
                                                                                                          <a:pt x="36" y="92"/>
                                                                                                        </a:lnTo>
                                                                                                        <a:lnTo>
                                                                                                          <a:pt x="36" y="92"/>
                                                                                                        </a:lnTo>
                                                                                                        <a:lnTo>
                                                                                                          <a:pt x="34" y="98"/>
                                                                                                        </a:lnTo>
                                                                                                        <a:lnTo>
                                                                                                          <a:pt x="36" y="102"/>
                                                                                                        </a:lnTo>
                                                                                                        <a:lnTo>
                                                                                                          <a:pt x="42" y="114"/>
                                                                                                        </a:lnTo>
                                                                                                        <a:lnTo>
                                                                                                          <a:pt x="46" y="128"/>
                                                                                                        </a:lnTo>
                                                                                                        <a:lnTo>
                                                                                                          <a:pt x="46" y="136"/>
                                                                                                        </a:lnTo>
                                                                                                        <a:lnTo>
                                                                                                          <a:pt x="46" y="144"/>
                                                                                                        </a:lnTo>
                                                                                                        <a:lnTo>
                                                                                                          <a:pt x="46" y="144"/>
                                                                                                        </a:lnTo>
                                                                                                        <a:lnTo>
                                                                                                          <a:pt x="42" y="156"/>
                                                                                                        </a:lnTo>
                                                                                                        <a:lnTo>
                                                                                                          <a:pt x="38" y="160"/>
                                                                                                        </a:lnTo>
                                                                                                        <a:lnTo>
                                                                                                          <a:pt x="34" y="162"/>
                                                                                                        </a:lnTo>
                                                                                                        <a:lnTo>
                                                                                                          <a:pt x="30" y="168"/>
                                                                                                        </a:lnTo>
                                                                                                        <a:lnTo>
                                                                                                          <a:pt x="30" y="168"/>
                                                                                                        </a:lnTo>
                                                                                                        <a:lnTo>
                                                                                                          <a:pt x="26" y="176"/>
                                                                                                        </a:lnTo>
                                                                                                        <a:lnTo>
                                                                                                          <a:pt x="22" y="178"/>
                                                                                                        </a:lnTo>
                                                                                                        <a:lnTo>
                                                                                                          <a:pt x="20" y="180"/>
                                                                                                        </a:lnTo>
                                                                                                        <a:lnTo>
                                                                                                          <a:pt x="14" y="192"/>
                                                                                                        </a:lnTo>
                                                                                                        <a:lnTo>
                                                                                                          <a:pt x="14" y="192"/>
                                                                                                        </a:lnTo>
                                                                                                        <a:lnTo>
                                                                                                          <a:pt x="10" y="202"/>
                                                                                                        </a:lnTo>
                                                                                                        <a:lnTo>
                                                                                                          <a:pt x="8" y="214"/>
                                                                                                        </a:lnTo>
                                                                                                        <a:lnTo>
                                                                                                          <a:pt x="8" y="236"/>
                                                                                                        </a:lnTo>
                                                                                                        <a:lnTo>
                                                                                                          <a:pt x="8" y="254"/>
                                                                                                        </a:lnTo>
                                                                                                        <a:lnTo>
                                                                                                          <a:pt x="6" y="260"/>
                                                                                                        </a:lnTo>
                                                                                                        <a:lnTo>
                                                                                                          <a:pt x="4" y="264"/>
                                                                                                        </a:lnTo>
                                                                                                        <a:lnTo>
                                                                                                          <a:pt x="4" y="264"/>
                                                                                                        </a:lnTo>
                                                                                                        <a:lnTo>
                                                                                                          <a:pt x="0" y="266"/>
                                                                                                        </a:lnTo>
                                                                                                        <a:lnTo>
                                                                                                          <a:pt x="0" y="268"/>
                                                                                                        </a:lnTo>
                                                                                                        <a:lnTo>
                                                                                                          <a:pt x="0" y="276"/>
                                                                                                        </a:lnTo>
                                                                                                        <a:lnTo>
                                                                                                          <a:pt x="0" y="298"/>
                                                                                                        </a:lnTo>
                                                                                                        <a:lnTo>
                                                                                                          <a:pt x="0" y="298"/>
                                                                                                        </a:lnTo>
                                                                                                        <a:lnTo>
                                                                                                          <a:pt x="12" y="294"/>
                                                                                                        </a:lnTo>
                                                                                                        <a:lnTo>
                                                                                                          <a:pt x="16" y="292"/>
                                                                                                        </a:lnTo>
                                                                                                        <a:lnTo>
                                                                                                          <a:pt x="18" y="294"/>
                                                                                                        </a:lnTo>
                                                                                                        <a:lnTo>
                                                                                                          <a:pt x="24" y="290"/>
                                                                                                        </a:lnTo>
                                                                                                        <a:lnTo>
                                                                                                          <a:pt x="24" y="290"/>
                                                                                                        </a:lnTo>
                                                                                                        <a:lnTo>
                                                                                                          <a:pt x="30" y="288"/>
                                                                                                        </a:lnTo>
                                                                                                        <a:lnTo>
                                                                                                          <a:pt x="32" y="290"/>
                                                                                                        </a:lnTo>
                                                                                                        <a:lnTo>
                                                                                                          <a:pt x="40" y="294"/>
                                                                                                        </a:lnTo>
                                                                                                        <a:lnTo>
                                                                                                          <a:pt x="48" y="294"/>
                                                                                                        </a:lnTo>
                                                                                                        <a:lnTo>
                                                                                                          <a:pt x="60" y="296"/>
                                                                                                        </a:lnTo>
                                                                                                        <a:lnTo>
                                                                                                          <a:pt x="60" y="296"/>
                                                                                                        </a:lnTo>
                                                                                                        <a:lnTo>
                                                                                                          <a:pt x="134" y="296"/>
                                                                                                        </a:lnTo>
                                                                                                        <a:lnTo>
                                                                                                          <a:pt x="134" y="296"/>
                                                                                                        </a:lnTo>
                                                                                                        <a:lnTo>
                                                                                                          <a:pt x="134" y="296"/>
                                                                                                        </a:lnTo>
                                                                                                        <a:lnTo>
                                                                                                          <a:pt x="134" y="298"/>
                                                                                                        </a:lnTo>
                                                                                                        <a:lnTo>
                                                                                                          <a:pt x="142" y="302"/>
                                                                                                        </a:lnTo>
                                                                                                        <a:lnTo>
                                                                                                          <a:pt x="160" y="308"/>
                                                                                                        </a:lnTo>
                                                                                                        <a:lnTo>
                                                                                                          <a:pt x="160" y="308"/>
                                                                                                        </a:lnTo>
                                                                                                        <a:lnTo>
                                                                                                          <a:pt x="160" y="310"/>
                                                                                                        </a:lnTo>
                                                                                                        <a:lnTo>
                                                                                                          <a:pt x="162" y="310"/>
                                                                                                        </a:lnTo>
                                                                                                        <a:lnTo>
                                                                                                          <a:pt x="176" y="308"/>
                                                                                                        </a:lnTo>
                                                                                                        <a:lnTo>
                                                                                                          <a:pt x="176" y="308"/>
                                                                                                        </a:lnTo>
                                                                                                        <a:lnTo>
                                                                                                          <a:pt x="184" y="310"/>
                                                                                                        </a:lnTo>
                                                                                                        <a:lnTo>
                                                                                                          <a:pt x="190" y="312"/>
                                                                                                        </a:lnTo>
                                                                                                        <a:lnTo>
                                                                                                          <a:pt x="204" y="310"/>
                                                                                                        </a:lnTo>
                                                                                                        <a:lnTo>
                                                                                                          <a:pt x="234" y="300"/>
                                                                                                        </a:lnTo>
                                                                                                        <a:lnTo>
                                                                                                          <a:pt x="234" y="300"/>
                                                                                                        </a:lnTo>
                                                                                                        <a:lnTo>
                                                                                                          <a:pt x="228" y="292"/>
                                                                                                        </a:lnTo>
                                                                                                        <a:lnTo>
                                                                                                          <a:pt x="224" y="290"/>
                                                                                                        </a:lnTo>
                                                                                                        <a:lnTo>
                                                                                                          <a:pt x="222" y="290"/>
                                                                                                        </a:lnTo>
                                                                                                        <a:lnTo>
                                                                                                          <a:pt x="222" y="288"/>
                                                                                                        </a:lnTo>
                                                                                                        <a:lnTo>
                                                                                                          <a:pt x="222" y="288"/>
                                                                                                        </a:lnTo>
                                                                                                        <a:lnTo>
                                                                                                          <a:pt x="218" y="282"/>
                                                                                                        </a:lnTo>
                                                                                                        <a:lnTo>
                                                                                                          <a:pt x="218" y="280"/>
                                                                                                        </a:lnTo>
                                                                                                        <a:lnTo>
                                                                                                          <a:pt x="218" y="280"/>
                                                                                                        </a:lnTo>
                                                                                                        <a:lnTo>
                                                                                                          <a:pt x="218" y="186"/>
                                                                                                        </a:lnTo>
                                                                                                        <a:lnTo>
                                                                                                          <a:pt x="268" y="186"/>
                                                                                                        </a:lnTo>
                                                                                                        <a:lnTo>
                                                                                                          <a:pt x="268" y="186"/>
                                                                                                        </a:lnTo>
                                                                                                        <a:lnTo>
                                                                                                          <a:pt x="266" y="182"/>
                                                                                                        </a:lnTo>
                                                                                                        <a:lnTo>
                                                                                                          <a:pt x="264" y="178"/>
                                                                                                        </a:lnTo>
                                                                                                        <a:lnTo>
                                                                                                          <a:pt x="266" y="162"/>
                                                                                                        </a:lnTo>
                                                                                                        <a:lnTo>
                                                                                                          <a:pt x="266" y="162"/>
                                                                                                        </a:lnTo>
                                                                                                        <a:lnTo>
                                                                                                          <a:pt x="264" y="152"/>
                                                                                                        </a:lnTo>
                                                                                                        <a:lnTo>
                                                                                                          <a:pt x="264" y="148"/>
                                                                                                        </a:lnTo>
                                                                                                        <a:lnTo>
                                                                                                          <a:pt x="264" y="142"/>
                                                                                                        </a:lnTo>
                                                                                                        <a:lnTo>
                                                                                                          <a:pt x="266" y="134"/>
                                                                                                        </a:lnTo>
                                                                                                        <a:lnTo>
                                                                                                          <a:pt x="266" y="134"/>
                                                                                                        </a:lnTo>
                                                                                                        <a:close/>
                                                                                                      </a:path>
                                                                                                    </a:pathLst>
                                                                                                  </a:custGeom>
                                                                                                  <a:grp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baseline="-25000" dirty="0">
                                                                                                      <a:solidFill>
                                                                                                        <a:schemeClr val="tx1"/>
                                                                                                      </a:solidFill>
                                                                                                    </a:endParaRPr>
                                                                                                  </a:p>
                                                                                                </p:txBody>
                                                                                              </p:sp>
                                                                                              <p:sp>
                                                                                                <p:nvSpPr>
                                                                                                  <p:cNvPr id="557" name="Benin"/>
                                                                                                  <p:cNvSpPr>
                                                                                                    <a:spLocks/>
                                                                                                  </p:cNvSpPr>
                                                                                                  <p:nvPr/>
                                                                                                </p:nvSpPr>
                                                                                                <p:spPr bwMode="auto">
                                                                                                  <a:xfrm>
                                                                                                    <a:off x="5805727" y="3208822"/>
                                                                                                    <a:ext cx="103279" cy="242787"/>
                                                                                                  </a:xfrm>
                                                                                                  <a:custGeom>
                                                                                                    <a:avLst/>
                                                                                                    <a:gdLst/>
                                                                                                    <a:ahLst/>
                                                                                                    <a:cxnLst>
                                                                                                      <a:cxn ang="0">
                                                                                                        <a:pos x="50" y="158"/>
                                                                                                      </a:cxn>
                                                                                                      <a:cxn ang="0">
                                                                                                        <a:pos x="50" y="132"/>
                                                                                                      </a:cxn>
                                                                                                      <a:cxn ang="0">
                                                                                                        <a:pos x="48" y="120"/>
                                                                                                      </a:cxn>
                                                                                                      <a:cxn ang="0">
                                                                                                        <a:pos x="50" y="118"/>
                                                                                                      </a:cxn>
                                                                                                      <a:cxn ang="0">
                                                                                                        <a:pos x="48" y="88"/>
                                                                                                      </a:cxn>
                                                                                                      <a:cxn ang="0">
                                                                                                        <a:pos x="52" y="86"/>
                                                                                                      </a:cxn>
                                                                                                      <a:cxn ang="0">
                                                                                                        <a:pos x="50" y="80"/>
                                                                                                      </a:cxn>
                                                                                                      <a:cxn ang="0">
                                                                                                        <a:pos x="52" y="78"/>
                                                                                                      </a:cxn>
                                                                                                      <a:cxn ang="0">
                                                                                                        <a:pos x="54" y="72"/>
                                                                                                      </a:cxn>
                                                                                                      <a:cxn ang="0">
                                                                                                        <a:pos x="58" y="68"/>
                                                                                                      </a:cxn>
                                                                                                      <a:cxn ang="0">
                                                                                                        <a:pos x="62" y="64"/>
                                                                                                      </a:cxn>
                                                                                                      <a:cxn ang="0">
                                                                                                        <a:pos x="64" y="56"/>
                                                                                                      </a:cxn>
                                                                                                      <a:cxn ang="0">
                                                                                                        <a:pos x="62" y="54"/>
                                                                                                      </a:cxn>
                                                                                                      <a:cxn ang="0">
                                                                                                        <a:pos x="62" y="52"/>
                                                                                                      </a:cxn>
                                                                                                      <a:cxn ang="0">
                                                                                                        <a:pos x="64" y="50"/>
                                                                                                      </a:cxn>
                                                                                                      <a:cxn ang="0">
                                                                                                        <a:pos x="68" y="44"/>
                                                                                                      </a:cxn>
                                                                                                      <a:cxn ang="0">
                                                                                                        <a:pos x="66" y="34"/>
                                                                                                      </a:cxn>
                                                                                                      <a:cxn ang="0">
                                                                                                        <a:pos x="64" y="30"/>
                                                                                                      </a:cxn>
                                                                                                      <a:cxn ang="0">
                                                                                                        <a:pos x="64" y="22"/>
                                                                                                      </a:cxn>
                                                                                                      <a:cxn ang="0">
                                                                                                        <a:pos x="62" y="20"/>
                                                                                                      </a:cxn>
                                                                                                      <a:cxn ang="0">
                                                                                                        <a:pos x="62" y="10"/>
                                                                                                      </a:cxn>
                                                                                                      <a:cxn ang="0">
                                                                                                        <a:pos x="52" y="2"/>
                                                                                                      </a:cxn>
                                                                                                      <a:cxn ang="0">
                                                                                                        <a:pos x="42" y="2"/>
                                                                                                      </a:cxn>
                                                                                                      <a:cxn ang="0">
                                                                                                        <a:pos x="34" y="6"/>
                                                                                                      </a:cxn>
                                                                                                      <a:cxn ang="0">
                                                                                                        <a:pos x="24" y="10"/>
                                                                                                      </a:cxn>
                                                                                                      <a:cxn ang="0">
                                                                                                        <a:pos x="16" y="16"/>
                                                                                                      </a:cxn>
                                                                                                      <a:cxn ang="0">
                                                                                                        <a:pos x="14" y="20"/>
                                                                                                      </a:cxn>
                                                                                                      <a:cxn ang="0">
                                                                                                        <a:pos x="10" y="24"/>
                                                                                                      </a:cxn>
                                                                                                      <a:cxn ang="0">
                                                                                                        <a:pos x="8" y="24"/>
                                                                                                      </a:cxn>
                                                                                                      <a:cxn ang="0">
                                                                                                        <a:pos x="6" y="30"/>
                                                                                                      </a:cxn>
                                                                                                      <a:cxn ang="0">
                                                                                                        <a:pos x="2" y="30"/>
                                                                                                      </a:cxn>
                                                                                                      <a:cxn ang="0">
                                                                                                        <a:pos x="0" y="42"/>
                                                                                                      </a:cxn>
                                                                                                      <a:cxn ang="0">
                                                                                                        <a:pos x="4" y="54"/>
                                                                                                      </a:cxn>
                                                                                                      <a:cxn ang="0">
                                                                                                        <a:pos x="12" y="58"/>
                                                                                                      </a:cxn>
                                                                                                      <a:cxn ang="0">
                                                                                                        <a:pos x="16" y="64"/>
                                                                                                      </a:cxn>
                                                                                                      <a:cxn ang="0">
                                                                                                        <a:pos x="16" y="78"/>
                                                                                                      </a:cxn>
                                                                                                      <a:cxn ang="0">
                                                                                                        <a:pos x="20" y="84"/>
                                                                                                      </a:cxn>
                                                                                                      <a:cxn ang="0">
                                                                                                        <a:pos x="24" y="86"/>
                                                                                                      </a:cxn>
                                                                                                      <a:cxn ang="0">
                                                                                                        <a:pos x="24" y="92"/>
                                                                                                      </a:cxn>
                                                                                                      <a:cxn ang="0">
                                                                                                        <a:pos x="26" y="134"/>
                                                                                                      </a:cxn>
                                                                                                      <a:cxn ang="0">
                                                                                                        <a:pos x="24" y="138"/>
                                                                                                      </a:cxn>
                                                                                                      <a:cxn ang="0">
                                                                                                        <a:pos x="22" y="142"/>
                                                                                                      </a:cxn>
                                                                                                      <a:cxn ang="0">
                                                                                                        <a:pos x="24" y="148"/>
                                                                                                      </a:cxn>
                                                                                                      <a:cxn ang="0">
                                                                                                        <a:pos x="30" y="154"/>
                                                                                                      </a:cxn>
                                                                                                      <a:cxn ang="0">
                                                                                                        <a:pos x="32" y="160"/>
                                                                                                      </a:cxn>
                                                                                                      <a:cxn ang="0">
                                                                                                        <a:pos x="40" y="160"/>
                                                                                                      </a:cxn>
                                                                                                      <a:cxn ang="0">
                                                                                                        <a:pos x="40" y="158"/>
                                                                                                      </a:cxn>
                                                                                                      <a:cxn ang="0">
                                                                                                        <a:pos x="40" y="156"/>
                                                                                                      </a:cxn>
                                                                                                      <a:cxn ang="0">
                                                                                                        <a:pos x="44" y="158"/>
                                                                                                      </a:cxn>
                                                                                                      <a:cxn ang="0">
                                                                                                        <a:pos x="44" y="158"/>
                                                                                                      </a:cxn>
                                                                                                      <a:cxn ang="0">
                                                                                                        <a:pos x="50" y="158"/>
                                                                                                      </a:cxn>
                                                                                                    </a:cxnLst>
                                                                                                    <a:rect l="0" t="0" r="r" b="b"/>
                                                                                                    <a:pathLst>
                                                                                                      <a:path w="68" h="160">
                                                                                                        <a:moveTo>
                                                                                                          <a:pt x="50" y="158"/>
                                                                                                        </a:moveTo>
                                                                                                        <a:lnTo>
                                                                                                          <a:pt x="50" y="158"/>
                                                                                                        </a:lnTo>
                                                                                                        <a:lnTo>
                                                                                                          <a:pt x="50" y="144"/>
                                                                                                        </a:lnTo>
                                                                                                        <a:lnTo>
                                                                                                          <a:pt x="50" y="132"/>
                                                                                                        </a:lnTo>
                                                                                                        <a:lnTo>
                                                                                                          <a:pt x="50" y="124"/>
                                                                                                        </a:lnTo>
                                                                                                        <a:lnTo>
                                                                                                          <a:pt x="48" y="120"/>
                                                                                                        </a:lnTo>
                                                                                                        <a:lnTo>
                                                                                                          <a:pt x="48" y="120"/>
                                                                                                        </a:lnTo>
                                                                                                        <a:lnTo>
                                                                                                          <a:pt x="50" y="118"/>
                                                                                                        </a:lnTo>
                                                                                                        <a:lnTo>
                                                                                                          <a:pt x="50" y="110"/>
                                                                                                        </a:lnTo>
                                                                                                        <a:lnTo>
                                                                                                          <a:pt x="48" y="88"/>
                                                                                                        </a:lnTo>
                                                                                                        <a:lnTo>
                                                                                                          <a:pt x="48" y="88"/>
                                                                                                        </a:lnTo>
                                                                                                        <a:lnTo>
                                                                                                          <a:pt x="52" y="86"/>
                                                                                                        </a:lnTo>
                                                                                                        <a:lnTo>
                                                                                                          <a:pt x="52" y="82"/>
                                                                                                        </a:lnTo>
                                                                                                        <a:lnTo>
                                                                                                          <a:pt x="50" y="80"/>
                                                                                                        </a:lnTo>
                                                                                                        <a:lnTo>
                                                                                                          <a:pt x="52" y="78"/>
                                                                                                        </a:lnTo>
                                                                                                        <a:lnTo>
                                                                                                          <a:pt x="52" y="78"/>
                                                                                                        </a:lnTo>
                                                                                                        <a:lnTo>
                                                                                                          <a:pt x="54" y="74"/>
                                                                                                        </a:lnTo>
                                                                                                        <a:lnTo>
                                                                                                          <a:pt x="54" y="72"/>
                                                                                                        </a:lnTo>
                                                                                                        <a:lnTo>
                                                                                                          <a:pt x="56" y="70"/>
                                                                                                        </a:lnTo>
                                                                                                        <a:lnTo>
                                                                                                          <a:pt x="58" y="68"/>
                                                                                                        </a:lnTo>
                                                                                                        <a:lnTo>
                                                                                                          <a:pt x="58" y="68"/>
                                                                                                        </a:lnTo>
                                                                                                        <a:lnTo>
                                                                                                          <a:pt x="62" y="64"/>
                                                                                                        </a:lnTo>
                                                                                                        <a:lnTo>
                                                                                                          <a:pt x="64" y="60"/>
                                                                                                        </a:lnTo>
                                                                                                        <a:lnTo>
                                                                                                          <a:pt x="64" y="56"/>
                                                                                                        </a:lnTo>
                                                                                                        <a:lnTo>
                                                                                                          <a:pt x="62" y="54"/>
                                                                                                        </a:lnTo>
                                                                                                        <a:lnTo>
                                                                                                          <a:pt x="62" y="54"/>
                                                                                                        </a:lnTo>
                                                                                                        <a:lnTo>
                                                                                                          <a:pt x="62" y="52"/>
                                                                                                        </a:lnTo>
                                                                                                        <a:lnTo>
                                                                                                          <a:pt x="62" y="52"/>
                                                                                                        </a:lnTo>
                                                                                                        <a:lnTo>
                                                                                                          <a:pt x="64" y="50"/>
                                                                                                        </a:lnTo>
                                                                                                        <a:lnTo>
                                                                                                          <a:pt x="64" y="50"/>
                                                                                                        </a:lnTo>
                                                                                                        <a:lnTo>
                                                                                                          <a:pt x="66" y="48"/>
                                                                                                        </a:lnTo>
                                                                                                        <a:lnTo>
                                                                                                          <a:pt x="68" y="44"/>
                                                                                                        </a:lnTo>
                                                                                                        <a:lnTo>
                                                                                                          <a:pt x="68" y="40"/>
                                                                                                        </a:lnTo>
                                                                                                        <a:lnTo>
                                                                                                          <a:pt x="66" y="34"/>
                                                                                                        </a:lnTo>
                                                                                                        <a:lnTo>
                                                                                                          <a:pt x="66" y="34"/>
                                                                                                        </a:lnTo>
                                                                                                        <a:lnTo>
                                                                                                          <a:pt x="64" y="30"/>
                                                                                                        </a:lnTo>
                                                                                                        <a:lnTo>
                                                                                                          <a:pt x="64" y="26"/>
                                                                                                        </a:lnTo>
                                                                                                        <a:lnTo>
                                                                                                          <a:pt x="64" y="22"/>
                                                                                                        </a:lnTo>
                                                                                                        <a:lnTo>
                                                                                                          <a:pt x="62" y="20"/>
                                                                                                        </a:lnTo>
                                                                                                        <a:lnTo>
                                                                                                          <a:pt x="62" y="20"/>
                                                                                                        </a:lnTo>
                                                                                                        <a:lnTo>
                                                                                                          <a:pt x="60" y="18"/>
                                                                                                        </a:lnTo>
                                                                                                        <a:lnTo>
                                                                                                          <a:pt x="62" y="10"/>
                                                                                                        </a:lnTo>
                                                                                                        <a:lnTo>
                                                                                                          <a:pt x="62" y="10"/>
                                                                                                        </a:lnTo>
                                                                                                        <a:lnTo>
                                                                                                          <a:pt x="52" y="2"/>
                                                                                                        </a:lnTo>
                                                                                                        <a:lnTo>
                                                                                                          <a:pt x="46" y="0"/>
                                                                                                        </a:lnTo>
                                                                                                        <a:lnTo>
                                                                                                          <a:pt x="42" y="2"/>
                                                                                                        </a:lnTo>
                                                                                                        <a:lnTo>
                                                                                                          <a:pt x="34" y="6"/>
                                                                                                        </a:lnTo>
                                                                                                        <a:lnTo>
                                                                                                          <a:pt x="34" y="6"/>
                                                                                                        </a:lnTo>
                                                                                                        <a:lnTo>
                                                                                                          <a:pt x="28" y="10"/>
                                                                                                        </a:lnTo>
                                                                                                        <a:lnTo>
                                                                                                          <a:pt x="24" y="10"/>
                                                                                                        </a:lnTo>
                                                                                                        <a:lnTo>
                                                                                                          <a:pt x="18" y="12"/>
                                                                                                        </a:lnTo>
                                                                                                        <a:lnTo>
                                                                                                          <a:pt x="16" y="16"/>
                                                                                                        </a:lnTo>
                                                                                                        <a:lnTo>
                                                                                                          <a:pt x="16" y="16"/>
                                                                                                        </a:lnTo>
                                                                                                        <a:lnTo>
                                                                                                          <a:pt x="14" y="20"/>
                                                                                                        </a:lnTo>
                                                                                                        <a:lnTo>
                                                                                                          <a:pt x="10" y="22"/>
                                                                                                        </a:lnTo>
                                                                                                        <a:lnTo>
                                                                                                          <a:pt x="10" y="24"/>
                                                                                                        </a:lnTo>
                                                                                                        <a:lnTo>
                                                                                                          <a:pt x="8" y="24"/>
                                                                                                        </a:lnTo>
                                                                                                        <a:lnTo>
                                                                                                          <a:pt x="8" y="24"/>
                                                                                                        </a:lnTo>
                                                                                                        <a:lnTo>
                                                                                                          <a:pt x="8" y="32"/>
                                                                                                        </a:lnTo>
                                                                                                        <a:lnTo>
                                                                                                          <a:pt x="6" y="30"/>
                                                                                                        </a:lnTo>
                                                                                                        <a:lnTo>
                                                                                                          <a:pt x="6" y="30"/>
                                                                                                        </a:lnTo>
                                                                                                        <a:lnTo>
                                                                                                          <a:pt x="2" y="30"/>
                                                                                                        </a:lnTo>
                                                                                                        <a:lnTo>
                                                                                                          <a:pt x="2" y="30"/>
                                                                                                        </a:lnTo>
                                                                                                        <a:lnTo>
                                                                                                          <a:pt x="0" y="42"/>
                                                                                                        </a:lnTo>
                                                                                                        <a:lnTo>
                                                                                                          <a:pt x="2" y="50"/>
                                                                                                        </a:lnTo>
                                                                                                        <a:lnTo>
                                                                                                          <a:pt x="4" y="54"/>
                                                                                                        </a:lnTo>
                                                                                                        <a:lnTo>
                                                                                                          <a:pt x="12" y="58"/>
                                                                                                        </a:lnTo>
                                                                                                        <a:lnTo>
                                                                                                          <a:pt x="12" y="58"/>
                                                                                                        </a:lnTo>
                                                                                                        <a:lnTo>
                                                                                                          <a:pt x="14" y="60"/>
                                                                                                        </a:lnTo>
                                                                                                        <a:lnTo>
                                                                                                          <a:pt x="16" y="64"/>
                                                                                                        </a:lnTo>
                                                                                                        <a:lnTo>
                                                                                                          <a:pt x="16" y="70"/>
                                                                                                        </a:lnTo>
                                                                                                        <a:lnTo>
                                                                                                          <a:pt x="16" y="78"/>
                                                                                                        </a:lnTo>
                                                                                                        <a:lnTo>
                                                                                                          <a:pt x="18" y="80"/>
                                                                                                        </a:lnTo>
                                                                                                        <a:lnTo>
                                                                                                          <a:pt x="20" y="84"/>
                                                                                                        </a:lnTo>
                                                                                                        <a:lnTo>
                                                                                                          <a:pt x="20" y="84"/>
                                                                                                        </a:lnTo>
                                                                                                        <a:lnTo>
                                                                                                          <a:pt x="24" y="86"/>
                                                                                                        </a:lnTo>
                                                                                                        <a:lnTo>
                                                                                                          <a:pt x="24" y="92"/>
                                                                                                        </a:lnTo>
                                                                                                        <a:lnTo>
                                                                                                          <a:pt x="24" y="92"/>
                                                                                                        </a:lnTo>
                                                                                                        <a:lnTo>
                                                                                                          <a:pt x="26" y="134"/>
                                                                                                        </a:lnTo>
                                                                                                        <a:lnTo>
                                                                                                          <a:pt x="26" y="134"/>
                                                                                                        </a:lnTo>
                                                                                                        <a:lnTo>
                                                                                                          <a:pt x="26" y="136"/>
                                                                                                        </a:lnTo>
                                                                                                        <a:lnTo>
                                                                                                          <a:pt x="24" y="138"/>
                                                                                                        </a:lnTo>
                                                                                                        <a:lnTo>
                                                                                                          <a:pt x="24" y="138"/>
                                                                                                        </a:lnTo>
                                                                                                        <a:lnTo>
                                                                                                          <a:pt x="22" y="142"/>
                                                                                                        </a:lnTo>
                                                                                                        <a:lnTo>
                                                                                                          <a:pt x="22" y="142"/>
                                                                                                        </a:lnTo>
                                                                                                        <a:lnTo>
                                                                                                          <a:pt x="24" y="148"/>
                                                                                                        </a:lnTo>
                                                                                                        <a:lnTo>
                                                                                                          <a:pt x="26" y="152"/>
                                                                                                        </a:lnTo>
                                                                                                        <a:lnTo>
                                                                                                          <a:pt x="30" y="154"/>
                                                                                                        </a:lnTo>
                                                                                                        <a:lnTo>
                                                                                                          <a:pt x="32" y="160"/>
                                                                                                        </a:lnTo>
                                                                                                        <a:lnTo>
                                                                                                          <a:pt x="32" y="160"/>
                                                                                                        </a:lnTo>
                                                                                                        <a:lnTo>
                                                                                                          <a:pt x="38" y="160"/>
                                                                                                        </a:lnTo>
                                                                                                        <a:lnTo>
                                                                                                          <a:pt x="40" y="160"/>
                                                                                                        </a:lnTo>
                                                                                                        <a:lnTo>
                                                                                                          <a:pt x="40" y="158"/>
                                                                                                        </a:lnTo>
                                                                                                        <a:lnTo>
                                                                                                          <a:pt x="40" y="158"/>
                                                                                                        </a:lnTo>
                                                                                                        <a:lnTo>
                                                                                                          <a:pt x="38" y="158"/>
                                                                                                        </a:lnTo>
                                                                                                        <a:lnTo>
                                                                                                          <a:pt x="40" y="156"/>
                                                                                                        </a:lnTo>
                                                                                                        <a:lnTo>
                                                                                                          <a:pt x="44" y="158"/>
                                                                                                        </a:lnTo>
                                                                                                        <a:lnTo>
                                                                                                          <a:pt x="44" y="158"/>
                                                                                                        </a:lnTo>
                                                                                                        <a:lnTo>
                                                                                                          <a:pt x="44" y="158"/>
                                                                                                        </a:lnTo>
                                                                                                        <a:lnTo>
                                                                                                          <a:pt x="44" y="158"/>
                                                                                                        </a:lnTo>
                                                                                                        <a:lnTo>
                                                                                                          <a:pt x="50" y="158"/>
                                                                                                        </a:lnTo>
                                                                                                        <a:lnTo>
                                                                                                          <a:pt x="50" y="158"/>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baseline="-25000" dirty="0">
                                                                                                      <a:solidFill>
                                                                                                        <a:schemeClr val="tx1"/>
                                                                                                      </a:solidFill>
                                                                                                    </a:endParaRPr>
                                                                                                  </a:p>
                                                                                                </p:txBody>
                                                                                              </p:sp>
                                                                                              <p:sp>
                                                                                                <p:nvSpPr>
                                                                                                  <p:cNvPr id="562" name="Cameroon"/>
                                                                                                  <p:cNvSpPr>
                                                                                                    <a:spLocks/>
                                                                                                  </p:cNvSpPr>
                                                                                                  <p:nvPr/>
                                                                                                </p:nvSpPr>
                                                                                                <p:spPr bwMode="auto">
                                                                                                  <a:xfrm>
                                                                                                    <a:off x="6054814" y="3190613"/>
                                                                                                    <a:ext cx="249086" cy="421842"/>
                                                                                                  </a:xfrm>
                                                                                                  <a:custGeom>
                                                                                                    <a:avLst/>
                                                                                                    <a:gdLst/>
                                                                                                    <a:ahLst/>
                                                                                                    <a:cxnLst>
                                                                                                      <a:cxn ang="0">
                                                                                                        <a:pos x="2" y="196"/>
                                                                                                      </a:cxn>
                                                                                                      <a:cxn ang="0">
                                                                                                        <a:pos x="8" y="184"/>
                                                                                                      </a:cxn>
                                                                                                      <a:cxn ang="0">
                                                                                                        <a:pos x="22" y="160"/>
                                                                                                      </a:cxn>
                                                                                                      <a:cxn ang="0">
                                                                                                        <a:pos x="34" y="150"/>
                                                                                                      </a:cxn>
                                                                                                      <a:cxn ang="0">
                                                                                                        <a:pos x="46" y="154"/>
                                                                                                      </a:cxn>
                                                                                                      <a:cxn ang="0">
                                                                                                        <a:pos x="52" y="158"/>
                                                                                                      </a:cxn>
                                                                                                      <a:cxn ang="0">
                                                                                                        <a:pos x="60" y="158"/>
                                                                                                      </a:cxn>
                                                                                                      <a:cxn ang="0">
                                                                                                        <a:pos x="66" y="150"/>
                                                                                                      </a:cxn>
                                                                                                      <a:cxn ang="0">
                                                                                                        <a:pos x="74" y="134"/>
                                                                                                      </a:cxn>
                                                                                                      <a:cxn ang="0">
                                                                                                        <a:pos x="76" y="120"/>
                                                                                                      </a:cxn>
                                                                                                      <a:cxn ang="0">
                                                                                                        <a:pos x="86" y="110"/>
                                                                                                      </a:cxn>
                                                                                                      <a:cxn ang="0">
                                                                                                        <a:pos x="90" y="98"/>
                                                                                                      </a:cxn>
                                                                                                      <a:cxn ang="0">
                                                                                                        <a:pos x="96" y="90"/>
                                                                                                      </a:cxn>
                                                                                                      <a:cxn ang="0">
                                                                                                        <a:pos x="94" y="84"/>
                                                                                                      </a:cxn>
                                                                                                      <a:cxn ang="0">
                                                                                                        <a:pos x="100" y="78"/>
                                                                                                      </a:cxn>
                                                                                                      <a:cxn ang="0">
                                                                                                        <a:pos x="100" y="64"/>
                                                                                                      </a:cxn>
                                                                                                      <a:cxn ang="0">
                                                                                                        <a:pos x="116" y="30"/>
                                                                                                      </a:cxn>
                                                                                                      <a:cxn ang="0">
                                                                                                        <a:pos x="126" y="12"/>
                                                                                                      </a:cxn>
                                                                                                      <a:cxn ang="0">
                                                                                                        <a:pos x="122" y="2"/>
                                                                                                      </a:cxn>
                                                                                                      <a:cxn ang="0">
                                                                                                        <a:pos x="130" y="0"/>
                                                                                                      </a:cxn>
                                                                                                      <a:cxn ang="0">
                                                                                                        <a:pos x="134" y="30"/>
                                                                                                      </a:cxn>
                                                                                                      <a:cxn ang="0">
                                                                                                        <a:pos x="152" y="66"/>
                                                                                                      </a:cxn>
                                                                                                      <a:cxn ang="0">
                                                                                                        <a:pos x="138" y="66"/>
                                                                                                      </a:cxn>
                                                                                                      <a:cxn ang="0">
                                                                                                        <a:pos x="128" y="68"/>
                                                                                                      </a:cxn>
                                                                                                      <a:cxn ang="0">
                                                                                                        <a:pos x="118" y="72"/>
                                                                                                      </a:cxn>
                                                                                                      <a:cxn ang="0">
                                                                                                        <a:pos x="126" y="90"/>
                                                                                                      </a:cxn>
                                                                                                      <a:cxn ang="0">
                                                                                                        <a:pos x="148" y="122"/>
                                                                                                      </a:cxn>
                                                                                                      <a:cxn ang="0">
                                                                                                        <a:pos x="142" y="142"/>
                                                                                                      </a:cxn>
                                                                                                      <a:cxn ang="0">
                                                                                                        <a:pos x="128" y="184"/>
                                                                                                      </a:cxn>
                                                                                                      <a:cxn ang="0">
                                                                                                        <a:pos x="128" y="204"/>
                                                                                                      </a:cxn>
                                                                                                      <a:cxn ang="0">
                                                                                                        <a:pos x="146" y="228"/>
                                                                                                      </a:cxn>
                                                                                                      <a:cxn ang="0">
                                                                                                        <a:pos x="164" y="244"/>
                                                                                                      </a:cxn>
                                                                                                      <a:cxn ang="0">
                                                                                                        <a:pos x="162" y="260"/>
                                                                                                      </a:cxn>
                                                                                                      <a:cxn ang="0">
                                                                                                        <a:pos x="162" y="278"/>
                                                                                                      </a:cxn>
                                                                                                      <a:cxn ang="0">
                                                                                                        <a:pos x="144" y="274"/>
                                                                                                      </a:cxn>
                                                                                                      <a:cxn ang="0">
                                                                                                        <a:pos x="128" y="272"/>
                                                                                                      </a:cxn>
                                                                                                      <a:cxn ang="0">
                                                                                                        <a:pos x="108" y="270"/>
                                                                                                      </a:cxn>
                                                                                                      <a:cxn ang="0">
                                                                                                        <a:pos x="80" y="266"/>
                                                                                                      </a:cxn>
                                                                                                      <a:cxn ang="0">
                                                                                                        <a:pos x="48" y="272"/>
                                                                                                      </a:cxn>
                                                                                                      <a:cxn ang="0">
                                                                                                        <a:pos x="28" y="272"/>
                                                                                                      </a:cxn>
                                                                                                      <a:cxn ang="0">
                                                                                                        <a:pos x="28" y="250"/>
                                                                                                      </a:cxn>
                                                                                                      <a:cxn ang="0">
                                                                                                        <a:pos x="26" y="236"/>
                                                                                                      </a:cxn>
                                                                                                      <a:cxn ang="0">
                                                                                                        <a:pos x="20" y="230"/>
                                                                                                      </a:cxn>
                                                                                                      <a:cxn ang="0">
                                                                                                        <a:pos x="28" y="228"/>
                                                                                                      </a:cxn>
                                                                                                      <a:cxn ang="0">
                                                                                                        <a:pos x="26" y="224"/>
                                                                                                      </a:cxn>
                                                                                                      <a:cxn ang="0">
                                                                                                        <a:pos x="22" y="222"/>
                                                                                                      </a:cxn>
                                                                                                      <a:cxn ang="0">
                                                                                                        <a:pos x="16" y="224"/>
                                                                                                      </a:cxn>
                                                                                                      <a:cxn ang="0">
                                                                                                        <a:pos x="8" y="212"/>
                                                                                                      </a:cxn>
                                                                                                      <a:cxn ang="0">
                                                                                                        <a:pos x="4" y="212"/>
                                                                                                      </a:cxn>
                                                                                                    </a:cxnLst>
                                                                                                    <a:rect l="0" t="0" r="r" b="b"/>
                                                                                                    <a:pathLst>
                                                                                                      <a:path w="164" h="278">
                                                                                                        <a:moveTo>
                                                                                                          <a:pt x="4" y="212"/>
                                                                                                        </a:moveTo>
                                                                                                        <a:lnTo>
                                                                                                          <a:pt x="4" y="212"/>
                                                                                                        </a:lnTo>
                                                                                                        <a:lnTo>
                                                                                                          <a:pt x="0" y="200"/>
                                                                                                        </a:lnTo>
                                                                                                        <a:lnTo>
                                                                                                          <a:pt x="2" y="196"/>
                                                                                                        </a:lnTo>
                                                                                                        <a:lnTo>
                                                                                                          <a:pt x="6" y="192"/>
                                                                                                        </a:lnTo>
                                                                                                        <a:lnTo>
                                                                                                          <a:pt x="6" y="192"/>
                                                                                                        </a:lnTo>
                                                                                                        <a:lnTo>
                                                                                                          <a:pt x="10" y="188"/>
                                                                                                        </a:lnTo>
                                                                                                        <a:lnTo>
                                                                                                          <a:pt x="8" y="184"/>
                                                                                                        </a:lnTo>
                                                                                                        <a:lnTo>
                                                                                                          <a:pt x="10" y="178"/>
                                                                                                        </a:lnTo>
                                                                                                        <a:lnTo>
                                                                                                          <a:pt x="18" y="168"/>
                                                                                                        </a:lnTo>
                                                                                                        <a:lnTo>
                                                                                                          <a:pt x="18" y="168"/>
                                                                                                        </a:lnTo>
                                                                                                        <a:lnTo>
                                                                                                          <a:pt x="22" y="160"/>
                                                                                                        </a:lnTo>
                                                                                                        <a:lnTo>
                                                                                                          <a:pt x="24" y="156"/>
                                                                                                        </a:lnTo>
                                                                                                        <a:lnTo>
                                                                                                          <a:pt x="28" y="152"/>
                                                                                                        </a:lnTo>
                                                                                                        <a:lnTo>
                                                                                                          <a:pt x="34" y="150"/>
                                                                                                        </a:lnTo>
                                                                                                        <a:lnTo>
                                                                                                          <a:pt x="34" y="150"/>
                                                                                                        </a:lnTo>
                                                                                                        <a:lnTo>
                                                                                                          <a:pt x="40" y="150"/>
                                                                                                        </a:lnTo>
                                                                                                        <a:lnTo>
                                                                                                          <a:pt x="42" y="152"/>
                                                                                                        </a:lnTo>
                                                                                                        <a:lnTo>
                                                                                                          <a:pt x="44" y="154"/>
                                                                                                        </a:lnTo>
                                                                                                        <a:lnTo>
                                                                                                          <a:pt x="46" y="154"/>
                                                                                                        </a:lnTo>
                                                                                                        <a:lnTo>
                                                                                                          <a:pt x="46" y="154"/>
                                                                                                        </a:lnTo>
                                                                                                        <a:lnTo>
                                                                                                          <a:pt x="50" y="154"/>
                                                                                                        </a:lnTo>
                                                                                                        <a:lnTo>
                                                                                                          <a:pt x="50" y="156"/>
                                                                                                        </a:lnTo>
                                                                                                        <a:lnTo>
                                                                                                          <a:pt x="52" y="158"/>
                                                                                                        </a:lnTo>
                                                                                                        <a:lnTo>
                                                                                                          <a:pt x="56" y="160"/>
                                                                                                        </a:lnTo>
                                                                                                        <a:lnTo>
                                                                                                          <a:pt x="56" y="160"/>
                                                                                                        </a:lnTo>
                                                                                                        <a:lnTo>
                                                                                                          <a:pt x="58" y="160"/>
                                                                                                        </a:lnTo>
                                                                                                        <a:lnTo>
                                                                                                          <a:pt x="60" y="158"/>
                                                                                                        </a:lnTo>
                                                                                                        <a:lnTo>
                                                                                                          <a:pt x="60" y="154"/>
                                                                                                        </a:lnTo>
                                                                                                        <a:lnTo>
                                                                                                          <a:pt x="64" y="152"/>
                                                                                                        </a:lnTo>
                                                                                                        <a:lnTo>
                                                                                                          <a:pt x="64" y="152"/>
                                                                                                        </a:lnTo>
                                                                                                        <a:lnTo>
                                                                                                          <a:pt x="66" y="150"/>
                                                                                                        </a:lnTo>
                                                                                                        <a:lnTo>
                                                                                                          <a:pt x="66" y="148"/>
                                                                                                        </a:lnTo>
                                                                                                        <a:lnTo>
                                                                                                          <a:pt x="68" y="144"/>
                                                                                                        </a:lnTo>
                                                                                                        <a:lnTo>
                                                                                                          <a:pt x="74" y="134"/>
                                                                                                        </a:lnTo>
                                                                                                        <a:lnTo>
                                                                                                          <a:pt x="74" y="134"/>
                                                                                                        </a:lnTo>
                                                                                                        <a:lnTo>
                                                                                                          <a:pt x="80" y="128"/>
                                                                                                        </a:lnTo>
                                                                                                        <a:lnTo>
                                                                                                          <a:pt x="80" y="124"/>
                                                                                                        </a:lnTo>
                                                                                                        <a:lnTo>
                                                                                                          <a:pt x="78" y="124"/>
                                                                                                        </a:lnTo>
                                                                                                        <a:lnTo>
                                                                                                          <a:pt x="76" y="120"/>
                                                                                                        </a:lnTo>
                                                                                                        <a:lnTo>
                                                                                                          <a:pt x="76" y="120"/>
                                                                                                        </a:lnTo>
                                                                                                        <a:lnTo>
                                                                                                          <a:pt x="80" y="116"/>
                                                                                                        </a:lnTo>
                                                                                                        <a:lnTo>
                                                                                                          <a:pt x="82" y="112"/>
                                                                                                        </a:lnTo>
                                                                                                        <a:lnTo>
                                                                                                          <a:pt x="86" y="110"/>
                                                                                                        </a:lnTo>
                                                                                                        <a:lnTo>
                                                                                                          <a:pt x="88" y="106"/>
                                                                                                        </a:lnTo>
                                                                                                        <a:lnTo>
                                                                                                          <a:pt x="88" y="106"/>
                                                                                                        </a:lnTo>
                                                                                                        <a:lnTo>
                                                                                                          <a:pt x="88" y="100"/>
                                                                                                        </a:lnTo>
                                                                                                        <a:lnTo>
                                                                                                          <a:pt x="90" y="98"/>
                                                                                                        </a:lnTo>
                                                                                                        <a:lnTo>
                                                                                                          <a:pt x="92" y="98"/>
                                                                                                        </a:lnTo>
                                                                                                        <a:lnTo>
                                                                                                          <a:pt x="96" y="94"/>
                                                                                                        </a:lnTo>
                                                                                                        <a:lnTo>
                                                                                                          <a:pt x="96" y="94"/>
                                                                                                        </a:lnTo>
                                                                                                        <a:lnTo>
                                                                                                          <a:pt x="96" y="90"/>
                                                                                                        </a:lnTo>
                                                                                                        <a:lnTo>
                                                                                                          <a:pt x="94" y="88"/>
                                                                                                        </a:lnTo>
                                                                                                        <a:lnTo>
                                                                                                          <a:pt x="94" y="86"/>
                                                                                                        </a:lnTo>
                                                                                                        <a:lnTo>
                                                                                                          <a:pt x="94" y="84"/>
                                                                                                        </a:lnTo>
                                                                                                        <a:lnTo>
                                                                                                          <a:pt x="94" y="84"/>
                                                                                                        </a:lnTo>
                                                                                                        <a:lnTo>
                                                                                                          <a:pt x="96" y="80"/>
                                                                                                        </a:lnTo>
                                                                                                        <a:lnTo>
                                                                                                          <a:pt x="98" y="80"/>
                                                                                                        </a:lnTo>
                                                                                                        <a:lnTo>
                                                                                                          <a:pt x="98" y="80"/>
                                                                                                        </a:lnTo>
                                                                                                        <a:lnTo>
                                                                                                          <a:pt x="100" y="78"/>
                                                                                                        </a:lnTo>
                                                                                                        <a:lnTo>
                                                                                                          <a:pt x="100" y="78"/>
                                                                                                        </a:lnTo>
                                                                                                        <a:lnTo>
                                                                                                          <a:pt x="100" y="74"/>
                                                                                                        </a:lnTo>
                                                                                                        <a:lnTo>
                                                                                                          <a:pt x="100" y="72"/>
                                                                                                        </a:lnTo>
                                                                                                        <a:lnTo>
                                                                                                          <a:pt x="100" y="64"/>
                                                                                                        </a:lnTo>
                                                                                                        <a:lnTo>
                                                                                                          <a:pt x="110" y="42"/>
                                                                                                        </a:lnTo>
                                                                                                        <a:lnTo>
                                                                                                          <a:pt x="110" y="42"/>
                                                                                                        </a:lnTo>
                                                                                                        <a:lnTo>
                                                                                                          <a:pt x="114" y="32"/>
                                                                                                        </a:lnTo>
                                                                                                        <a:lnTo>
                                                                                                          <a:pt x="116" y="30"/>
                                                                                                        </a:lnTo>
                                                                                                        <a:lnTo>
                                                                                                          <a:pt x="120" y="28"/>
                                                                                                        </a:lnTo>
                                                                                                        <a:lnTo>
                                                                                                          <a:pt x="124" y="20"/>
                                                                                                        </a:lnTo>
                                                                                                        <a:lnTo>
                                                                                                          <a:pt x="124" y="20"/>
                                                                                                        </a:lnTo>
                                                                                                        <a:lnTo>
                                                                                                          <a:pt x="126" y="12"/>
                                                                                                        </a:lnTo>
                                                                                                        <a:lnTo>
                                                                                                          <a:pt x="124" y="10"/>
                                                                                                        </a:lnTo>
                                                                                                        <a:lnTo>
                                                                                                          <a:pt x="124" y="10"/>
                                                                                                        </a:lnTo>
                                                                                                        <a:lnTo>
                                                                                                          <a:pt x="122" y="8"/>
                                                                                                        </a:lnTo>
                                                                                                        <a:lnTo>
                                                                                                          <a:pt x="122" y="2"/>
                                                                                                        </a:lnTo>
                                                                                                        <a:lnTo>
                                                                                                          <a:pt x="122" y="2"/>
                                                                                                        </a:lnTo>
                                                                                                        <a:lnTo>
                                                                                                          <a:pt x="126" y="2"/>
                                                                                                        </a:lnTo>
                                                                                                        <a:lnTo>
                                                                                                          <a:pt x="130" y="0"/>
                                                                                                        </a:lnTo>
                                                                                                        <a:lnTo>
                                                                                                          <a:pt x="130" y="0"/>
                                                                                                        </a:lnTo>
                                                                                                        <a:lnTo>
                                                                                                          <a:pt x="130" y="12"/>
                                                                                                        </a:lnTo>
                                                                                                        <a:lnTo>
                                                                                                          <a:pt x="132" y="16"/>
                                                                                                        </a:lnTo>
                                                                                                        <a:lnTo>
                                                                                                          <a:pt x="134" y="18"/>
                                                                                                        </a:lnTo>
                                                                                                        <a:lnTo>
                                                                                                          <a:pt x="134" y="30"/>
                                                                                                        </a:lnTo>
                                                                                                        <a:lnTo>
                                                                                                          <a:pt x="134" y="30"/>
                                                                                                        </a:lnTo>
                                                                                                        <a:lnTo>
                                                                                                          <a:pt x="134" y="40"/>
                                                                                                        </a:lnTo>
                                                                                                        <a:lnTo>
                                                                                                          <a:pt x="136" y="50"/>
                                                                                                        </a:lnTo>
                                                                                                        <a:lnTo>
                                                                                                          <a:pt x="152" y="66"/>
                                                                                                        </a:lnTo>
                                                                                                        <a:lnTo>
                                                                                                          <a:pt x="152" y="66"/>
                                                                                                        </a:lnTo>
                                                                                                        <a:lnTo>
                                                                                                          <a:pt x="148" y="68"/>
                                                                                                        </a:lnTo>
                                                                                                        <a:lnTo>
                                                                                                          <a:pt x="146" y="68"/>
                                                                                                        </a:lnTo>
                                                                                                        <a:lnTo>
                                                                                                          <a:pt x="138" y="66"/>
                                                                                                        </a:lnTo>
                                                                                                        <a:lnTo>
                                                                                                          <a:pt x="138" y="66"/>
                                                                                                        </a:lnTo>
                                                                                                        <a:lnTo>
                                                                                                          <a:pt x="140" y="68"/>
                                                                                                        </a:lnTo>
                                                                                                        <a:lnTo>
                                                                                                          <a:pt x="138" y="70"/>
                                                                                                        </a:lnTo>
                                                                                                        <a:lnTo>
                                                                                                          <a:pt x="128" y="68"/>
                                                                                                        </a:lnTo>
                                                                                                        <a:lnTo>
                                                                                                          <a:pt x="128" y="68"/>
                                                                                                        </a:lnTo>
                                                                                                        <a:lnTo>
                                                                                                          <a:pt x="122" y="68"/>
                                                                                                        </a:lnTo>
                                                                                                        <a:lnTo>
                                                                                                          <a:pt x="118" y="70"/>
                                                                                                        </a:lnTo>
                                                                                                        <a:lnTo>
                                                                                                          <a:pt x="118" y="72"/>
                                                                                                        </a:lnTo>
                                                                                                        <a:lnTo>
                                                                                                          <a:pt x="120" y="78"/>
                                                                                                        </a:lnTo>
                                                                                                        <a:lnTo>
                                                                                                          <a:pt x="120" y="78"/>
                                                                                                        </a:lnTo>
                                                                                                        <a:lnTo>
                                                                                                          <a:pt x="124" y="86"/>
                                                                                                        </a:lnTo>
                                                                                                        <a:lnTo>
                                                                                                          <a:pt x="126" y="90"/>
                                                                                                        </a:lnTo>
                                                                                                        <a:lnTo>
                                                                                                          <a:pt x="130" y="92"/>
                                                                                                        </a:lnTo>
                                                                                                        <a:lnTo>
                                                                                                          <a:pt x="136" y="102"/>
                                                                                                        </a:lnTo>
                                                                                                        <a:lnTo>
                                                                                                          <a:pt x="136" y="102"/>
                                                                                                        </a:lnTo>
                                                                                                        <a:lnTo>
                                                                                                          <a:pt x="148" y="122"/>
                                                                                                        </a:lnTo>
                                                                                                        <a:lnTo>
                                                                                                          <a:pt x="150" y="128"/>
                                                                                                        </a:lnTo>
                                                                                                        <a:lnTo>
                                                                                                          <a:pt x="148" y="134"/>
                                                                                                        </a:lnTo>
                                                                                                        <a:lnTo>
                                                                                                          <a:pt x="148" y="134"/>
                                                                                                        </a:lnTo>
                                                                                                        <a:lnTo>
                                                                                                          <a:pt x="142" y="142"/>
                                                                                                        </a:lnTo>
                                                                                                        <a:lnTo>
                                                                                                          <a:pt x="138" y="150"/>
                                                                                                        </a:lnTo>
                                                                                                        <a:lnTo>
                                                                                                          <a:pt x="134" y="170"/>
                                                                                                        </a:lnTo>
                                                                                                        <a:lnTo>
                                                                                                          <a:pt x="134" y="170"/>
                                                                                                        </a:lnTo>
                                                                                                        <a:lnTo>
                                                                                                          <a:pt x="128" y="184"/>
                                                                                                        </a:lnTo>
                                                                                                        <a:lnTo>
                                                                                                          <a:pt x="124" y="190"/>
                                                                                                        </a:lnTo>
                                                                                                        <a:lnTo>
                                                                                                          <a:pt x="124" y="194"/>
                                                                                                        </a:lnTo>
                                                                                                        <a:lnTo>
                                                                                                          <a:pt x="128" y="204"/>
                                                                                                        </a:lnTo>
                                                                                                        <a:lnTo>
                                                                                                          <a:pt x="128" y="204"/>
                                                                                                        </a:lnTo>
                                                                                                        <a:lnTo>
                                                                                                          <a:pt x="132" y="214"/>
                                                                                                        </a:lnTo>
                                                                                                        <a:lnTo>
                                                                                                          <a:pt x="136" y="216"/>
                                                                                                        </a:lnTo>
                                                                                                        <a:lnTo>
                                                                                                          <a:pt x="140" y="220"/>
                                                                                                        </a:lnTo>
                                                                                                        <a:lnTo>
                                                                                                          <a:pt x="146" y="228"/>
                                                                                                        </a:lnTo>
                                                                                                        <a:lnTo>
                                                                                                          <a:pt x="146" y="228"/>
                                                                                                        </a:lnTo>
                                                                                                        <a:lnTo>
                                                                                                          <a:pt x="154" y="238"/>
                                                                                                        </a:lnTo>
                                                                                                        <a:lnTo>
                                                                                                          <a:pt x="160" y="242"/>
                                                                                                        </a:lnTo>
                                                                                                        <a:lnTo>
                                                                                                          <a:pt x="164" y="244"/>
                                                                                                        </a:lnTo>
                                                                                                        <a:lnTo>
                                                                                                          <a:pt x="162" y="250"/>
                                                                                                        </a:lnTo>
                                                                                                        <a:lnTo>
                                                                                                          <a:pt x="162" y="250"/>
                                                                                                        </a:lnTo>
                                                                                                        <a:lnTo>
                                                                                                          <a:pt x="162" y="254"/>
                                                                                                        </a:lnTo>
                                                                                                        <a:lnTo>
                                                                                                          <a:pt x="162" y="260"/>
                                                                                                        </a:lnTo>
                                                                                                        <a:lnTo>
                                                                                                          <a:pt x="162" y="260"/>
                                                                                                        </a:lnTo>
                                                                                                        <a:lnTo>
                                                                                                          <a:pt x="164" y="274"/>
                                                                                                        </a:lnTo>
                                                                                                        <a:lnTo>
                                                                                                          <a:pt x="164" y="276"/>
                                                                                                        </a:lnTo>
                                                                                                        <a:lnTo>
                                                                                                          <a:pt x="162" y="278"/>
                                                                                                        </a:lnTo>
                                                                                                        <a:lnTo>
                                                                                                          <a:pt x="158" y="276"/>
                                                                                                        </a:lnTo>
                                                                                                        <a:lnTo>
                                                                                                          <a:pt x="152" y="274"/>
                                                                                                        </a:lnTo>
                                                                                                        <a:lnTo>
                                                                                                          <a:pt x="152" y="274"/>
                                                                                                        </a:lnTo>
                                                                                                        <a:lnTo>
                                                                                                          <a:pt x="144" y="274"/>
                                                                                                        </a:lnTo>
                                                                                                        <a:lnTo>
                                                                                                          <a:pt x="138" y="274"/>
                                                                                                        </a:lnTo>
                                                                                                        <a:lnTo>
                                                                                                          <a:pt x="138" y="274"/>
                                                                                                        </a:lnTo>
                                                                                                        <a:lnTo>
                                                                                                          <a:pt x="132" y="274"/>
                                                                                                        </a:lnTo>
                                                                                                        <a:lnTo>
                                                                                                          <a:pt x="128" y="272"/>
                                                                                                        </a:lnTo>
                                                                                                        <a:lnTo>
                                                                                                          <a:pt x="122" y="272"/>
                                                                                                        </a:lnTo>
                                                                                                        <a:lnTo>
                                                                                                          <a:pt x="114" y="272"/>
                                                                                                        </a:lnTo>
                                                                                                        <a:lnTo>
                                                                                                          <a:pt x="114" y="272"/>
                                                                                                        </a:lnTo>
                                                                                                        <a:lnTo>
                                                                                                          <a:pt x="108" y="270"/>
                                                                                                        </a:lnTo>
                                                                                                        <a:lnTo>
                                                                                                          <a:pt x="100" y="270"/>
                                                                                                        </a:lnTo>
                                                                                                        <a:lnTo>
                                                                                                          <a:pt x="100" y="270"/>
                                                                                                        </a:lnTo>
                                                                                                        <a:lnTo>
                                                                                                          <a:pt x="88" y="268"/>
                                                                                                        </a:lnTo>
                                                                                                        <a:lnTo>
                                                                                                          <a:pt x="80" y="266"/>
                                                                                                        </a:lnTo>
                                                                                                        <a:lnTo>
                                                                                                          <a:pt x="72" y="266"/>
                                                                                                        </a:lnTo>
                                                                                                        <a:lnTo>
                                                                                                          <a:pt x="54" y="272"/>
                                                                                                        </a:lnTo>
                                                                                                        <a:lnTo>
                                                                                                          <a:pt x="54" y="272"/>
                                                                                                        </a:lnTo>
                                                                                                        <a:lnTo>
                                                                                                          <a:pt x="48" y="272"/>
                                                                                                        </a:lnTo>
                                                                                                        <a:lnTo>
                                                                                                          <a:pt x="44" y="270"/>
                                                                                                        </a:lnTo>
                                                                                                        <a:lnTo>
                                                                                                          <a:pt x="38" y="270"/>
                                                                                                        </a:lnTo>
                                                                                                        <a:lnTo>
                                                                                                          <a:pt x="28" y="272"/>
                                                                                                        </a:lnTo>
                                                                                                        <a:lnTo>
                                                                                                          <a:pt x="28" y="272"/>
                                                                                                        </a:lnTo>
                                                                                                        <a:lnTo>
                                                                                                          <a:pt x="28" y="258"/>
                                                                                                        </a:lnTo>
                                                                                                        <a:lnTo>
                                                                                                          <a:pt x="28" y="254"/>
                                                                                                        </a:lnTo>
                                                                                                        <a:lnTo>
                                                                                                          <a:pt x="28" y="250"/>
                                                                                                        </a:lnTo>
                                                                                                        <a:lnTo>
                                                                                                          <a:pt x="28" y="250"/>
                                                                                                        </a:lnTo>
                                                                                                        <a:lnTo>
                                                                                                          <a:pt x="30" y="244"/>
                                                                                                        </a:lnTo>
                                                                                                        <a:lnTo>
                                                                                                          <a:pt x="28" y="240"/>
                                                                                                        </a:lnTo>
                                                                                                        <a:lnTo>
                                                                                                          <a:pt x="26" y="238"/>
                                                                                                        </a:lnTo>
                                                                                                        <a:lnTo>
                                                                                                          <a:pt x="26" y="236"/>
                                                                                                        </a:lnTo>
                                                                                                        <a:lnTo>
                                                                                                          <a:pt x="26" y="236"/>
                                                                                                        </a:lnTo>
                                                                                                        <a:lnTo>
                                                                                                          <a:pt x="26" y="234"/>
                                                                                                        </a:lnTo>
                                                                                                        <a:lnTo>
                                                                                                          <a:pt x="22" y="232"/>
                                                                                                        </a:lnTo>
                                                                                                        <a:lnTo>
                                                                                                          <a:pt x="20" y="230"/>
                                                                                                        </a:lnTo>
                                                                                                        <a:lnTo>
                                                                                                          <a:pt x="24" y="230"/>
                                                                                                        </a:lnTo>
                                                                                                        <a:lnTo>
                                                                                                          <a:pt x="24" y="230"/>
                                                                                                        </a:lnTo>
                                                                                                        <a:lnTo>
                                                                                                          <a:pt x="28" y="230"/>
                                                                                                        </a:lnTo>
                                                                                                        <a:lnTo>
                                                                                                          <a:pt x="28" y="228"/>
                                                                                                        </a:lnTo>
                                                                                                        <a:lnTo>
                                                                                                          <a:pt x="26" y="226"/>
                                                                                                        </a:lnTo>
                                                                                                        <a:lnTo>
                                                                                                          <a:pt x="26" y="226"/>
                                                                                                        </a:lnTo>
                                                                                                        <a:lnTo>
                                                                                                          <a:pt x="26" y="224"/>
                                                                                                        </a:lnTo>
                                                                                                        <a:lnTo>
                                                                                                          <a:pt x="26" y="224"/>
                                                                                                        </a:lnTo>
                                                                                                        <a:lnTo>
                                                                                                          <a:pt x="28" y="222"/>
                                                                                                        </a:lnTo>
                                                                                                        <a:lnTo>
                                                                                                          <a:pt x="26" y="224"/>
                                                                                                        </a:lnTo>
                                                                                                        <a:lnTo>
                                                                                                          <a:pt x="24" y="224"/>
                                                                                                        </a:lnTo>
                                                                                                        <a:lnTo>
                                                                                                          <a:pt x="22" y="222"/>
                                                                                                        </a:lnTo>
                                                                                                        <a:lnTo>
                                                                                                          <a:pt x="22" y="222"/>
                                                                                                        </a:lnTo>
                                                                                                        <a:lnTo>
                                                                                                          <a:pt x="22" y="224"/>
                                                                                                        </a:lnTo>
                                                                                                        <a:lnTo>
                                                                                                          <a:pt x="20" y="226"/>
                                                                                                        </a:lnTo>
                                                                                                        <a:lnTo>
                                                                                                          <a:pt x="16" y="224"/>
                                                                                                        </a:lnTo>
                                                                                                        <a:lnTo>
                                                                                                          <a:pt x="16" y="224"/>
                                                                                                        </a:lnTo>
                                                                                                        <a:lnTo>
                                                                                                          <a:pt x="10" y="218"/>
                                                                                                        </a:lnTo>
                                                                                                        <a:lnTo>
                                                                                                          <a:pt x="8" y="214"/>
                                                                                                        </a:lnTo>
                                                                                                        <a:lnTo>
                                                                                                          <a:pt x="8" y="212"/>
                                                                                                        </a:lnTo>
                                                                                                        <a:lnTo>
                                                                                                          <a:pt x="6" y="214"/>
                                                                                                        </a:lnTo>
                                                                                                        <a:lnTo>
                                                                                                          <a:pt x="6" y="214"/>
                                                                                                        </a:lnTo>
                                                                                                        <a:lnTo>
                                                                                                          <a:pt x="6" y="214"/>
                                                                                                        </a:lnTo>
                                                                                                        <a:lnTo>
                                                                                                          <a:pt x="4" y="212"/>
                                                                                                        </a:lnTo>
                                                                                                        <a:lnTo>
                                                                                                          <a:pt x="4" y="212"/>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baseline="-25000" dirty="0">
                                                                                                      <a:solidFill>
                                                                                                        <a:schemeClr val="tx1"/>
                                                                                                      </a:solidFill>
                                                                                                    </a:endParaRPr>
                                                                                                  </a:p>
                                                                                                </p:txBody>
                                                                                              </p:sp>
                                                                                              <p:sp>
                                                                                                <p:nvSpPr>
                                                                                                  <p:cNvPr id="563" name="Central African Republic"/>
                                                                                                  <p:cNvSpPr>
                                                                                                    <a:spLocks/>
                                                                                                  </p:cNvSpPr>
                                                                                                  <p:nvPr/>
                                                                                                </p:nvSpPr>
                                                                                                <p:spPr bwMode="auto">
                                                                                                  <a:xfrm>
                                                                                                    <a:off x="6243147" y="3248276"/>
                                                                                                    <a:ext cx="425270" cy="336867"/>
                                                                                                  </a:xfrm>
                                                                                                  <a:custGeom>
                                                                                                    <a:avLst/>
                                                                                                    <a:gdLst/>
                                                                                                    <a:ahLst/>
                                                                                                    <a:cxnLst>
                                                                                                      <a:cxn ang="0">
                                                                                                        <a:pos x="276" y="146"/>
                                                                                                      </a:cxn>
                                                                                                      <a:cxn ang="0">
                                                                                                        <a:pos x="270" y="136"/>
                                                                                                      </a:cxn>
                                                                                                      <a:cxn ang="0">
                                                                                                        <a:pos x="266" y="126"/>
                                                                                                      </a:cxn>
                                                                                                      <a:cxn ang="0">
                                                                                                        <a:pos x="260" y="122"/>
                                                                                                      </a:cxn>
                                                                                                      <a:cxn ang="0">
                                                                                                        <a:pos x="256" y="114"/>
                                                                                                      </a:cxn>
                                                                                                      <a:cxn ang="0">
                                                                                                        <a:pos x="250" y="106"/>
                                                                                                      </a:cxn>
                                                                                                      <a:cxn ang="0">
                                                                                                        <a:pos x="244" y="102"/>
                                                                                                      </a:cxn>
                                                                                                      <a:cxn ang="0">
                                                                                                        <a:pos x="236" y="92"/>
                                                                                                      </a:cxn>
                                                                                                      <a:cxn ang="0">
                                                                                                        <a:pos x="234" y="82"/>
                                                                                                      </a:cxn>
                                                                                                      <a:cxn ang="0">
                                                                                                        <a:pos x="220" y="74"/>
                                                                                                      </a:cxn>
                                                                                                      <a:cxn ang="0">
                                                                                                        <a:pos x="212" y="68"/>
                                                                                                      </a:cxn>
                                                                                                      <a:cxn ang="0">
                                                                                                        <a:pos x="206" y="64"/>
                                                                                                      </a:cxn>
                                                                                                      <a:cxn ang="0">
                                                                                                        <a:pos x="206" y="56"/>
                                                                                                      </a:cxn>
                                                                                                      <a:cxn ang="0">
                                                                                                        <a:pos x="198" y="52"/>
                                                                                                      </a:cxn>
                                                                                                      <a:cxn ang="0">
                                                                                                        <a:pos x="192" y="44"/>
                                                                                                      </a:cxn>
                                                                                                      <a:cxn ang="0">
                                                                                                        <a:pos x="196" y="32"/>
                                                                                                      </a:cxn>
                                                                                                      <a:cxn ang="0">
                                                                                                        <a:pos x="192" y="24"/>
                                                                                                      </a:cxn>
                                                                                                      <a:cxn ang="0">
                                                                                                        <a:pos x="186" y="14"/>
                                                                                                      </a:cxn>
                                                                                                      <a:cxn ang="0">
                                                                                                        <a:pos x="182" y="2"/>
                                                                                                      </a:cxn>
                                                                                                      <a:cxn ang="0">
                                                                                                        <a:pos x="176" y="2"/>
                                                                                                      </a:cxn>
                                                                                                      <a:cxn ang="0">
                                                                                                        <a:pos x="162" y="8"/>
                                                                                                      </a:cxn>
                                                                                                      <a:cxn ang="0">
                                                                                                        <a:pos x="156" y="18"/>
                                                                                                      </a:cxn>
                                                                                                      <a:cxn ang="0">
                                                                                                        <a:pos x="152" y="26"/>
                                                                                                      </a:cxn>
                                                                                                      <a:cxn ang="0">
                                                                                                        <a:pos x="146" y="32"/>
                                                                                                      </a:cxn>
                                                                                                      <a:cxn ang="0">
                                                                                                        <a:pos x="140" y="40"/>
                                                                                                      </a:cxn>
                                                                                                      <a:cxn ang="0">
                                                                                                        <a:pos x="114" y="50"/>
                                                                                                      </a:cxn>
                                                                                                      <a:cxn ang="0">
                                                                                                        <a:pos x="104" y="52"/>
                                                                                                      </a:cxn>
                                                                                                      <a:cxn ang="0">
                                                                                                        <a:pos x="96" y="54"/>
                                                                                                      </a:cxn>
                                                                                                      <a:cxn ang="0">
                                                                                                        <a:pos x="98" y="62"/>
                                                                                                      </a:cxn>
                                                                                                      <a:cxn ang="0">
                                                                                                        <a:pos x="98" y="66"/>
                                                                                                      </a:cxn>
                                                                                                      <a:cxn ang="0">
                                                                                                        <a:pos x="92" y="72"/>
                                                                                                      </a:cxn>
                                                                                                      <a:cxn ang="0">
                                                                                                        <a:pos x="80" y="78"/>
                                                                                                      </a:cxn>
                                                                                                      <a:cxn ang="0">
                                                                                                        <a:pos x="42" y="92"/>
                                                                                                      </a:cxn>
                                                                                                      <a:cxn ang="0">
                                                                                                        <a:pos x="36" y="94"/>
                                                                                                      </a:cxn>
                                                                                                      <a:cxn ang="0">
                                                                                                        <a:pos x="24" y="96"/>
                                                                                                      </a:cxn>
                                                                                                      <a:cxn ang="0">
                                                                                                        <a:pos x="10" y="132"/>
                                                                                                      </a:cxn>
                                                                                                      <a:cxn ang="0">
                                                                                                        <a:pos x="0" y="152"/>
                                                                                                      </a:cxn>
                                                                                                      <a:cxn ang="0">
                                                                                                        <a:pos x="4" y="166"/>
                                                                                                      </a:cxn>
                                                                                                      <a:cxn ang="0">
                                                                                                        <a:pos x="16" y="182"/>
                                                                                                      </a:cxn>
                                                                                                      <a:cxn ang="0">
                                                                                                        <a:pos x="30" y="200"/>
                                                                                                      </a:cxn>
                                                                                                      <a:cxn ang="0">
                                                                                                        <a:pos x="38" y="212"/>
                                                                                                      </a:cxn>
                                                                                                      <a:cxn ang="0">
                                                                                                        <a:pos x="38" y="222"/>
                                                                                                      </a:cxn>
                                                                                                      <a:cxn ang="0">
                                                                                                        <a:pos x="48" y="210"/>
                                                                                                      </a:cxn>
                                                                                                      <a:cxn ang="0">
                                                                                                        <a:pos x="54" y="190"/>
                                                                                                      </a:cxn>
                                                                                                      <a:cxn ang="0">
                                                                                                        <a:pos x="76" y="190"/>
                                                                                                      </a:cxn>
                                                                                                      <a:cxn ang="0">
                                                                                                        <a:pos x="98" y="170"/>
                                                                                                      </a:cxn>
                                                                                                      <a:cxn ang="0">
                                                                                                        <a:pos x="110" y="154"/>
                                                                                                      </a:cxn>
                                                                                                      <a:cxn ang="0">
                                                                                                        <a:pos x="124" y="152"/>
                                                                                                      </a:cxn>
                                                                                                      <a:cxn ang="0">
                                                                                                        <a:pos x="140" y="162"/>
                                                                                                      </a:cxn>
                                                                                                      <a:cxn ang="0">
                                                                                                        <a:pos x="146" y="162"/>
                                                                                                      </a:cxn>
                                                                                                      <a:cxn ang="0">
                                                                                                        <a:pos x="162" y="166"/>
                                                                                                      </a:cxn>
                                                                                                      <a:cxn ang="0">
                                                                                                        <a:pos x="186" y="170"/>
                                                                                                      </a:cxn>
                                                                                                      <a:cxn ang="0">
                                                                                                        <a:pos x="192" y="164"/>
                                                                                                      </a:cxn>
                                                                                                      <a:cxn ang="0">
                                                                                                        <a:pos x="206" y="158"/>
                                                                                                      </a:cxn>
                                                                                                      <a:cxn ang="0">
                                                                                                        <a:pos x="224" y="152"/>
                                                                                                      </a:cxn>
                                                                                                      <a:cxn ang="0">
                                                                                                        <a:pos x="228" y="148"/>
                                                                                                      </a:cxn>
                                                                                                      <a:cxn ang="0">
                                                                                                        <a:pos x="234" y="150"/>
                                                                                                      </a:cxn>
                                                                                                      <a:cxn ang="0">
                                                                                                        <a:pos x="280" y="154"/>
                                                                                                      </a:cxn>
                                                                                                    </a:cxnLst>
                                                                                                    <a:rect l="0" t="0" r="r" b="b"/>
                                                                                                    <a:pathLst>
                                                                                                      <a:path w="280" h="222">
                                                                                                        <a:moveTo>
                                                                                                          <a:pt x="280" y="154"/>
                                                                                                        </a:moveTo>
                                                                                                        <a:lnTo>
                                                                                                          <a:pt x="280" y="154"/>
                                                                                                        </a:lnTo>
                                                                                                        <a:lnTo>
                                                                                                          <a:pt x="276" y="146"/>
                                                                                                        </a:lnTo>
                                                                                                        <a:lnTo>
                                                                                                          <a:pt x="274" y="144"/>
                                                                                                        </a:lnTo>
                                                                                                        <a:lnTo>
                                                                                                          <a:pt x="270" y="142"/>
                                                                                                        </a:lnTo>
                                                                                                        <a:lnTo>
                                                                                                          <a:pt x="270" y="136"/>
                                                                                                        </a:lnTo>
                                                                                                        <a:lnTo>
                                                                                                          <a:pt x="270" y="136"/>
                                                                                                        </a:lnTo>
                                                                                                        <a:lnTo>
                                                                                                          <a:pt x="268" y="132"/>
                                                                                                        </a:lnTo>
                                                                                                        <a:lnTo>
                                                                                                          <a:pt x="266" y="126"/>
                                                                                                        </a:lnTo>
                                                                                                        <a:lnTo>
                                                                                                          <a:pt x="262" y="124"/>
                                                                                                        </a:lnTo>
                                                                                                        <a:lnTo>
                                                                                                          <a:pt x="260" y="122"/>
                                                                                                        </a:lnTo>
                                                                                                        <a:lnTo>
                                                                                                          <a:pt x="260" y="122"/>
                                                                                                        </a:lnTo>
                                                                                                        <a:lnTo>
                                                                                                          <a:pt x="258" y="120"/>
                                                                                                        </a:lnTo>
                                                                                                        <a:lnTo>
                                                                                                          <a:pt x="258" y="120"/>
                                                                                                        </a:lnTo>
                                                                                                        <a:lnTo>
                                                                                                          <a:pt x="256" y="114"/>
                                                                                                        </a:lnTo>
                                                                                                        <a:lnTo>
                                                                                                          <a:pt x="254" y="108"/>
                                                                                                        </a:lnTo>
                                                                                                        <a:lnTo>
                                                                                                          <a:pt x="252" y="106"/>
                                                                                                        </a:lnTo>
                                                                                                        <a:lnTo>
                                                                                                          <a:pt x="250" y="106"/>
                                                                                                        </a:lnTo>
                                                                                                        <a:lnTo>
                                                                                                          <a:pt x="250" y="106"/>
                                                                                                        </a:lnTo>
                                                                                                        <a:lnTo>
                                                                                                          <a:pt x="246" y="104"/>
                                                                                                        </a:lnTo>
                                                                                                        <a:lnTo>
                                                                                                          <a:pt x="244" y="102"/>
                                                                                                        </a:lnTo>
                                                                                                        <a:lnTo>
                                                                                                          <a:pt x="242" y="98"/>
                                                                                                        </a:lnTo>
                                                                                                        <a:lnTo>
                                                                                                          <a:pt x="236" y="92"/>
                                                                                                        </a:lnTo>
                                                                                                        <a:lnTo>
                                                                                                          <a:pt x="236" y="92"/>
                                                                                                        </a:lnTo>
                                                                                                        <a:lnTo>
                                                                                                          <a:pt x="232" y="88"/>
                                                                                                        </a:lnTo>
                                                                                                        <a:lnTo>
                                                                                                          <a:pt x="234" y="84"/>
                                                                                                        </a:lnTo>
                                                                                                        <a:lnTo>
                                                                                                          <a:pt x="234" y="82"/>
                                                                                                        </a:lnTo>
                                                                                                        <a:lnTo>
                                                                                                          <a:pt x="226" y="78"/>
                                                                                                        </a:lnTo>
                                                                                                        <a:lnTo>
                                                                                                          <a:pt x="226" y="78"/>
                                                                                                        </a:lnTo>
                                                                                                        <a:lnTo>
                                                                                                          <a:pt x="220" y="74"/>
                                                                                                        </a:lnTo>
                                                                                                        <a:lnTo>
                                                                                                          <a:pt x="220" y="72"/>
                                                                                                        </a:lnTo>
                                                                                                        <a:lnTo>
                                                                                                          <a:pt x="220" y="70"/>
                                                                                                        </a:lnTo>
                                                                                                        <a:lnTo>
                                                                                                          <a:pt x="212" y="68"/>
                                                                                                        </a:lnTo>
                                                                                                        <a:lnTo>
                                                                                                          <a:pt x="212" y="68"/>
                                                                                                        </a:lnTo>
                                                                                                        <a:lnTo>
                                                                                                          <a:pt x="208" y="66"/>
                                                                                                        </a:lnTo>
                                                                                                        <a:lnTo>
                                                                                                          <a:pt x="206" y="64"/>
                                                                                                        </a:lnTo>
                                                                                                        <a:lnTo>
                                                                                                          <a:pt x="206" y="60"/>
                                                                                                        </a:lnTo>
                                                                                                        <a:lnTo>
                                                                                                          <a:pt x="206" y="58"/>
                                                                                                        </a:lnTo>
                                                                                                        <a:lnTo>
                                                                                                          <a:pt x="206" y="56"/>
                                                                                                        </a:lnTo>
                                                                                                        <a:lnTo>
                                                                                                          <a:pt x="204" y="54"/>
                                                                                                        </a:lnTo>
                                                                                                        <a:lnTo>
                                                                                                          <a:pt x="198" y="52"/>
                                                                                                        </a:lnTo>
                                                                                                        <a:lnTo>
                                                                                                          <a:pt x="198" y="52"/>
                                                                                                        </a:lnTo>
                                                                                                        <a:lnTo>
                                                                                                          <a:pt x="194" y="50"/>
                                                                                                        </a:lnTo>
                                                                                                        <a:lnTo>
                                                                                                          <a:pt x="192" y="46"/>
                                                                                                        </a:lnTo>
                                                                                                        <a:lnTo>
                                                                                                          <a:pt x="192" y="44"/>
                                                                                                        </a:lnTo>
                                                                                                        <a:lnTo>
                                                                                                          <a:pt x="194" y="42"/>
                                                                                                        </a:lnTo>
                                                                                                        <a:lnTo>
                                                                                                          <a:pt x="196" y="34"/>
                                                                                                        </a:lnTo>
                                                                                                        <a:lnTo>
                                                                                                          <a:pt x="196" y="32"/>
                                                                                                        </a:lnTo>
                                                                                                        <a:lnTo>
                                                                                                          <a:pt x="194" y="28"/>
                                                                                                        </a:lnTo>
                                                                                                        <a:lnTo>
                                                                                                          <a:pt x="194" y="28"/>
                                                                                                        </a:lnTo>
                                                                                                        <a:lnTo>
                                                                                                          <a:pt x="192" y="24"/>
                                                                                                        </a:lnTo>
                                                                                                        <a:lnTo>
                                                                                                          <a:pt x="192" y="22"/>
                                                                                                        </a:lnTo>
                                                                                                        <a:lnTo>
                                                                                                          <a:pt x="190" y="18"/>
                                                                                                        </a:lnTo>
                                                                                                        <a:lnTo>
                                                                                                          <a:pt x="186" y="14"/>
                                                                                                        </a:lnTo>
                                                                                                        <a:lnTo>
                                                                                                          <a:pt x="186" y="14"/>
                                                                                                        </a:lnTo>
                                                                                                        <a:lnTo>
                                                                                                          <a:pt x="182" y="6"/>
                                                                                                        </a:lnTo>
                                                                                                        <a:lnTo>
                                                                                                          <a:pt x="182" y="2"/>
                                                                                                        </a:lnTo>
                                                                                                        <a:lnTo>
                                                                                                          <a:pt x="182" y="2"/>
                                                                                                        </a:lnTo>
                                                                                                        <a:lnTo>
                                                                                                          <a:pt x="178" y="0"/>
                                                                                                        </a:lnTo>
                                                                                                        <a:lnTo>
                                                                                                          <a:pt x="176" y="2"/>
                                                                                                        </a:lnTo>
                                                                                                        <a:lnTo>
                                                                                                          <a:pt x="172" y="4"/>
                                                                                                        </a:lnTo>
                                                                                                        <a:lnTo>
                                                                                                          <a:pt x="162" y="8"/>
                                                                                                        </a:lnTo>
                                                                                                        <a:lnTo>
                                                                                                          <a:pt x="162" y="8"/>
                                                                                                        </a:lnTo>
                                                                                                        <a:lnTo>
                                                                                                          <a:pt x="158" y="10"/>
                                                                                                        </a:lnTo>
                                                                                                        <a:lnTo>
                                                                                                          <a:pt x="156" y="12"/>
                                                                                                        </a:lnTo>
                                                                                                        <a:lnTo>
                                                                                                          <a:pt x="156" y="18"/>
                                                                                                        </a:lnTo>
                                                                                                        <a:lnTo>
                                                                                                          <a:pt x="156" y="22"/>
                                                                                                        </a:lnTo>
                                                                                                        <a:lnTo>
                                                                                                          <a:pt x="154" y="24"/>
                                                                                                        </a:lnTo>
                                                                                                        <a:lnTo>
                                                                                                          <a:pt x="152" y="26"/>
                                                                                                        </a:lnTo>
                                                                                                        <a:lnTo>
                                                                                                          <a:pt x="152" y="26"/>
                                                                                                        </a:lnTo>
                                                                                                        <a:lnTo>
                                                                                                          <a:pt x="148" y="28"/>
                                                                                                        </a:lnTo>
                                                                                                        <a:lnTo>
                                                                                                          <a:pt x="146" y="32"/>
                                                                                                        </a:lnTo>
                                                                                                        <a:lnTo>
                                                                                                          <a:pt x="144" y="36"/>
                                                                                                        </a:lnTo>
                                                                                                        <a:lnTo>
                                                                                                          <a:pt x="140" y="40"/>
                                                                                                        </a:lnTo>
                                                                                                        <a:lnTo>
                                                                                                          <a:pt x="140" y="40"/>
                                                                                                        </a:lnTo>
                                                                                                        <a:lnTo>
                                                                                                          <a:pt x="136" y="42"/>
                                                                                                        </a:lnTo>
                                                                                                        <a:lnTo>
                                                                                                          <a:pt x="130" y="44"/>
                                                                                                        </a:lnTo>
                                                                                                        <a:lnTo>
                                                                                                          <a:pt x="114" y="50"/>
                                                                                                        </a:lnTo>
                                                                                                        <a:lnTo>
                                                                                                          <a:pt x="114" y="50"/>
                                                                                                        </a:lnTo>
                                                                                                        <a:lnTo>
                                                                                                          <a:pt x="108" y="52"/>
                                                                                                        </a:lnTo>
                                                                                                        <a:lnTo>
                                                                                                          <a:pt x="104" y="52"/>
                                                                                                        </a:lnTo>
                                                                                                        <a:lnTo>
                                                                                                          <a:pt x="102" y="52"/>
                                                                                                        </a:lnTo>
                                                                                                        <a:lnTo>
                                                                                                          <a:pt x="96" y="54"/>
                                                                                                        </a:lnTo>
                                                                                                        <a:lnTo>
                                                                                                          <a:pt x="96" y="54"/>
                                                                                                        </a:lnTo>
                                                                                                        <a:lnTo>
                                                                                                          <a:pt x="92" y="58"/>
                                                                                                        </a:lnTo>
                                                                                                        <a:lnTo>
                                                                                                          <a:pt x="94" y="60"/>
                                                                                                        </a:lnTo>
                                                                                                        <a:lnTo>
                                                                                                          <a:pt x="98" y="62"/>
                                                                                                        </a:lnTo>
                                                                                                        <a:lnTo>
                                                                                                          <a:pt x="98" y="64"/>
                                                                                                        </a:lnTo>
                                                                                                        <a:lnTo>
                                                                                                          <a:pt x="98" y="66"/>
                                                                                                        </a:lnTo>
                                                                                                        <a:lnTo>
                                                                                                          <a:pt x="98" y="66"/>
                                                                                                        </a:lnTo>
                                                                                                        <a:lnTo>
                                                                                                          <a:pt x="98" y="70"/>
                                                                                                        </a:lnTo>
                                                                                                        <a:lnTo>
                                                                                                          <a:pt x="96" y="72"/>
                                                                                                        </a:lnTo>
                                                                                                        <a:lnTo>
                                                                                                          <a:pt x="92" y="72"/>
                                                                                                        </a:lnTo>
                                                                                                        <a:lnTo>
                                                                                                          <a:pt x="88" y="76"/>
                                                                                                        </a:lnTo>
                                                                                                        <a:lnTo>
                                                                                                          <a:pt x="88" y="76"/>
                                                                                                        </a:lnTo>
                                                                                                        <a:lnTo>
                                                                                                          <a:pt x="80" y="78"/>
                                                                                                        </a:lnTo>
                                                                                                        <a:lnTo>
                                                                                                          <a:pt x="68" y="82"/>
                                                                                                        </a:lnTo>
                                                                                                        <a:lnTo>
                                                                                                          <a:pt x="54" y="86"/>
                                                                                                        </a:lnTo>
                                                                                                        <a:lnTo>
                                                                                                          <a:pt x="42" y="92"/>
                                                                                                        </a:lnTo>
                                                                                                        <a:lnTo>
                                                                                                          <a:pt x="42" y="92"/>
                                                                                                        </a:lnTo>
                                                                                                        <a:lnTo>
                                                                                                          <a:pt x="38" y="94"/>
                                                                                                        </a:lnTo>
                                                                                                        <a:lnTo>
                                                                                                          <a:pt x="36" y="94"/>
                                                                                                        </a:lnTo>
                                                                                                        <a:lnTo>
                                                                                                          <a:pt x="34" y="94"/>
                                                                                                        </a:lnTo>
                                                                                                        <a:lnTo>
                                                                                                          <a:pt x="24" y="96"/>
                                                                                                        </a:lnTo>
                                                                                                        <a:lnTo>
                                                                                                          <a:pt x="24" y="96"/>
                                                                                                        </a:lnTo>
                                                                                                        <a:lnTo>
                                                                                                          <a:pt x="18" y="104"/>
                                                                                                        </a:lnTo>
                                                                                                        <a:lnTo>
                                                                                                          <a:pt x="14" y="112"/>
                                                                                                        </a:lnTo>
                                                                                                        <a:lnTo>
                                                                                                          <a:pt x="10" y="132"/>
                                                                                                        </a:lnTo>
                                                                                                        <a:lnTo>
                                                                                                          <a:pt x="10" y="132"/>
                                                                                                        </a:lnTo>
                                                                                                        <a:lnTo>
                                                                                                          <a:pt x="4" y="146"/>
                                                                                                        </a:lnTo>
                                                                                                        <a:lnTo>
                                                                                                          <a:pt x="0" y="152"/>
                                                                                                        </a:lnTo>
                                                                                                        <a:lnTo>
                                                                                                          <a:pt x="0" y="156"/>
                                                                                                        </a:lnTo>
                                                                                                        <a:lnTo>
                                                                                                          <a:pt x="4" y="166"/>
                                                                                                        </a:lnTo>
                                                                                                        <a:lnTo>
                                                                                                          <a:pt x="4" y="166"/>
                                                                                                        </a:lnTo>
                                                                                                        <a:lnTo>
                                                                                                          <a:pt x="8" y="176"/>
                                                                                                        </a:lnTo>
                                                                                                        <a:lnTo>
                                                                                                          <a:pt x="12" y="178"/>
                                                                                                        </a:lnTo>
                                                                                                        <a:lnTo>
                                                                                                          <a:pt x="16" y="182"/>
                                                                                                        </a:lnTo>
                                                                                                        <a:lnTo>
                                                                                                          <a:pt x="22" y="190"/>
                                                                                                        </a:lnTo>
                                                                                                        <a:lnTo>
                                                                                                          <a:pt x="22" y="190"/>
                                                                                                        </a:lnTo>
                                                                                                        <a:lnTo>
                                                                                                          <a:pt x="30" y="200"/>
                                                                                                        </a:lnTo>
                                                                                                        <a:lnTo>
                                                                                                          <a:pt x="36" y="204"/>
                                                                                                        </a:lnTo>
                                                                                                        <a:lnTo>
                                                                                                          <a:pt x="40" y="206"/>
                                                                                                        </a:lnTo>
                                                                                                        <a:lnTo>
                                                                                                          <a:pt x="38" y="212"/>
                                                                                                        </a:lnTo>
                                                                                                        <a:lnTo>
                                                                                                          <a:pt x="38" y="212"/>
                                                                                                        </a:lnTo>
                                                                                                        <a:lnTo>
                                                                                                          <a:pt x="38" y="216"/>
                                                                                                        </a:lnTo>
                                                                                                        <a:lnTo>
                                                                                                          <a:pt x="38" y="222"/>
                                                                                                        </a:lnTo>
                                                                                                        <a:lnTo>
                                                                                                          <a:pt x="38" y="222"/>
                                                                                                        </a:lnTo>
                                                                                                        <a:lnTo>
                                                                                                          <a:pt x="44" y="216"/>
                                                                                                        </a:lnTo>
                                                                                                        <a:lnTo>
                                                                                                          <a:pt x="48" y="210"/>
                                                                                                        </a:lnTo>
                                                                                                        <a:lnTo>
                                                                                                          <a:pt x="50" y="200"/>
                                                                                                        </a:lnTo>
                                                                                                        <a:lnTo>
                                                                                                          <a:pt x="52" y="192"/>
                                                                                                        </a:lnTo>
                                                                                                        <a:lnTo>
                                                                                                          <a:pt x="54" y="190"/>
                                                                                                        </a:lnTo>
                                                                                                        <a:lnTo>
                                                                                                          <a:pt x="56" y="190"/>
                                                                                                        </a:lnTo>
                                                                                                        <a:lnTo>
                                                                                                          <a:pt x="56" y="190"/>
                                                                                                        </a:lnTo>
                                                                                                        <a:lnTo>
                                                                                                          <a:pt x="76" y="190"/>
                                                                                                        </a:lnTo>
                                                                                                        <a:lnTo>
                                                                                                          <a:pt x="94" y="190"/>
                                                                                                        </a:lnTo>
                                                                                                        <a:lnTo>
                                                                                                          <a:pt x="94" y="190"/>
                                                                                                        </a:lnTo>
                                                                                                        <a:lnTo>
                                                                                                          <a:pt x="98" y="170"/>
                                                                                                        </a:lnTo>
                                                                                                        <a:lnTo>
                                                                                                          <a:pt x="102" y="160"/>
                                                                                                        </a:lnTo>
                                                                                                        <a:lnTo>
                                                                                                          <a:pt x="106" y="156"/>
                                                                                                        </a:lnTo>
                                                                                                        <a:lnTo>
                                                                                                          <a:pt x="110" y="154"/>
                                                                                                        </a:lnTo>
                                                                                                        <a:lnTo>
                                                                                                          <a:pt x="118" y="152"/>
                                                                                                        </a:lnTo>
                                                                                                        <a:lnTo>
                                                                                                          <a:pt x="118" y="152"/>
                                                                                                        </a:lnTo>
                                                                                                        <a:lnTo>
                                                                                                          <a:pt x="124" y="152"/>
                                                                                                        </a:lnTo>
                                                                                                        <a:lnTo>
                                                                                                          <a:pt x="128" y="154"/>
                                                                                                        </a:lnTo>
                                                                                                        <a:lnTo>
                                                                                                          <a:pt x="134" y="158"/>
                                                                                                        </a:lnTo>
                                                                                                        <a:lnTo>
                                                                                                          <a:pt x="140" y="162"/>
                                                                                                        </a:lnTo>
                                                                                                        <a:lnTo>
                                                                                                          <a:pt x="142" y="164"/>
                                                                                                        </a:lnTo>
                                                                                                        <a:lnTo>
                                                                                                          <a:pt x="146" y="162"/>
                                                                                                        </a:lnTo>
                                                                                                        <a:lnTo>
                                                                                                          <a:pt x="146" y="162"/>
                                                                                                        </a:lnTo>
                                                                                                        <a:lnTo>
                                                                                                          <a:pt x="150" y="162"/>
                                                                                                        </a:lnTo>
                                                                                                        <a:lnTo>
                                                                                                          <a:pt x="154" y="164"/>
                                                                                                        </a:lnTo>
                                                                                                        <a:lnTo>
                                                                                                          <a:pt x="162" y="166"/>
                                                                                                        </a:lnTo>
                                                                                                        <a:lnTo>
                                                                                                          <a:pt x="172" y="170"/>
                                                                                                        </a:lnTo>
                                                                                                        <a:lnTo>
                                                                                                          <a:pt x="178" y="172"/>
                                                                                                        </a:lnTo>
                                                                                                        <a:lnTo>
                                                                                                          <a:pt x="186" y="170"/>
                                                                                                        </a:lnTo>
                                                                                                        <a:lnTo>
                                                                                                          <a:pt x="186" y="170"/>
                                                                                                        </a:lnTo>
                                                                                                        <a:lnTo>
                                                                                                          <a:pt x="188" y="168"/>
                                                                                                        </a:lnTo>
                                                                                                        <a:lnTo>
                                                                                                          <a:pt x="192" y="164"/>
                                                                                                        </a:lnTo>
                                                                                                        <a:lnTo>
                                                                                                          <a:pt x="196" y="160"/>
                                                                                                        </a:lnTo>
                                                                                                        <a:lnTo>
                                                                                                          <a:pt x="206" y="158"/>
                                                                                                        </a:lnTo>
                                                                                                        <a:lnTo>
                                                                                                          <a:pt x="206" y="158"/>
                                                                                                        </a:lnTo>
                                                                                                        <a:lnTo>
                                                                                                          <a:pt x="220" y="156"/>
                                                                                                        </a:lnTo>
                                                                                                        <a:lnTo>
                                                                                                          <a:pt x="222" y="154"/>
                                                                                                        </a:lnTo>
                                                                                                        <a:lnTo>
                                                                                                          <a:pt x="224" y="152"/>
                                                                                                        </a:lnTo>
                                                                                                        <a:lnTo>
                                                                                                          <a:pt x="224" y="150"/>
                                                                                                        </a:lnTo>
                                                                                                        <a:lnTo>
                                                                                                          <a:pt x="224" y="148"/>
                                                                                                        </a:lnTo>
                                                                                                        <a:lnTo>
                                                                                                          <a:pt x="228" y="148"/>
                                                                                                        </a:lnTo>
                                                                                                        <a:lnTo>
                                                                                                          <a:pt x="228" y="148"/>
                                                                                                        </a:lnTo>
                                                                                                        <a:lnTo>
                                                                                                          <a:pt x="230" y="148"/>
                                                                                                        </a:lnTo>
                                                                                                        <a:lnTo>
                                                                                                          <a:pt x="234" y="150"/>
                                                                                                        </a:lnTo>
                                                                                                        <a:lnTo>
                                                                                                          <a:pt x="246" y="152"/>
                                                                                                        </a:lnTo>
                                                                                                        <a:lnTo>
                                                                                                          <a:pt x="280" y="154"/>
                                                                                                        </a:lnTo>
                                                                                                        <a:lnTo>
                                                                                                          <a:pt x="280" y="154"/>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baseline="-25000" dirty="0">
                                                                                                      <a:solidFill>
                                                                                                        <a:schemeClr val="tx1"/>
                                                                                                      </a:solidFill>
                                                                                                    </a:endParaRPr>
                                                                                                  </a:p>
                                                                                                </p:txBody>
                                                                                              </p:sp>
                                                                                              <p:sp>
                                                                                                <p:nvSpPr>
                                                                                                  <p:cNvPr id="564" name="Chad"/>
                                                                                                  <p:cNvSpPr>
                                                                                                    <a:spLocks/>
                                                                                                  </p:cNvSpPr>
                                                                                                  <p:nvPr/>
                                                                                                </p:nvSpPr>
                                                                                                <p:spPr bwMode="auto">
                                                                                                  <a:xfrm>
                                                                                                    <a:off x="6218847" y="2738424"/>
                                                                                                    <a:ext cx="318953" cy="655524"/>
                                                                                                  </a:xfrm>
                                                                                                  <a:custGeom>
                                                                                                    <a:avLst/>
                                                                                                    <a:gdLst/>
                                                                                                    <a:ahLst/>
                                                                                                    <a:cxnLst>
                                                                                                      <a:cxn ang="0">
                                                                                                        <a:pos x="196" y="330"/>
                                                                                                      </a:cxn>
                                                                                                      <a:cxn ang="0">
                                                                                                        <a:pos x="190" y="320"/>
                                                                                                      </a:cxn>
                                                                                                      <a:cxn ang="0">
                                                                                                        <a:pos x="184" y="300"/>
                                                                                                      </a:cxn>
                                                                                                      <a:cxn ang="0">
                                                                                                        <a:pos x="186" y="296"/>
                                                                                                      </a:cxn>
                                                                                                      <a:cxn ang="0">
                                                                                                        <a:pos x="170" y="294"/>
                                                                                                      </a:cxn>
                                                                                                      <a:cxn ang="0">
                                                                                                        <a:pos x="166" y="286"/>
                                                                                                      </a:cxn>
                                                                                                      <a:cxn ang="0">
                                                                                                        <a:pos x="174" y="268"/>
                                                                                                      </a:cxn>
                                                                                                      <a:cxn ang="0">
                                                                                                        <a:pos x="178" y="258"/>
                                                                                                      </a:cxn>
                                                                                                      <a:cxn ang="0">
                                                                                                        <a:pos x="176" y="250"/>
                                                                                                      </a:cxn>
                                                                                                      <a:cxn ang="0">
                                                                                                        <a:pos x="178" y="240"/>
                                                                                                      </a:cxn>
                                                                                                      <a:cxn ang="0">
                                                                                                        <a:pos x="192" y="214"/>
                                                                                                      </a:cxn>
                                                                                                      <a:cxn ang="0">
                                                                                                        <a:pos x="210" y="212"/>
                                                                                                      </a:cxn>
                                                                                                      <a:cxn ang="0">
                                                                                                        <a:pos x="66" y="6"/>
                                                                                                      </a:cxn>
                                                                                                      <a:cxn ang="0">
                                                                                                        <a:pos x="44" y="2"/>
                                                                                                      </a:cxn>
                                                                                                      <a:cxn ang="0">
                                                                                                        <a:pos x="24" y="50"/>
                                                                                                      </a:cxn>
                                                                                                      <a:cxn ang="0">
                                                                                                        <a:pos x="26" y="70"/>
                                                                                                      </a:cxn>
                                                                                                      <a:cxn ang="0">
                                                                                                        <a:pos x="30" y="88"/>
                                                                                                      </a:cxn>
                                                                                                      <a:cxn ang="0">
                                                                                                        <a:pos x="44" y="98"/>
                                                                                                      </a:cxn>
                                                                                                      <a:cxn ang="0">
                                                                                                        <a:pos x="40" y="108"/>
                                                                                                      </a:cxn>
                                                                                                      <a:cxn ang="0">
                                                                                                        <a:pos x="34" y="180"/>
                                                                                                      </a:cxn>
                                                                                                      <a:cxn ang="0">
                                                                                                        <a:pos x="18" y="222"/>
                                                                                                      </a:cxn>
                                                                                                      <a:cxn ang="0">
                                                                                                        <a:pos x="4" y="236"/>
                                                                                                      </a:cxn>
                                                                                                      <a:cxn ang="0">
                                                                                                        <a:pos x="2" y="248"/>
                                                                                                      </a:cxn>
                                                                                                      <a:cxn ang="0">
                                                                                                        <a:pos x="4" y="260"/>
                                                                                                      </a:cxn>
                                                                                                      <a:cxn ang="0">
                                                                                                        <a:pos x="12" y="264"/>
                                                                                                      </a:cxn>
                                                                                                      <a:cxn ang="0">
                                                                                                        <a:pos x="14" y="274"/>
                                                                                                      </a:cxn>
                                                                                                      <a:cxn ang="0">
                                                                                                        <a:pos x="28" y="280"/>
                                                                                                      </a:cxn>
                                                                                                      <a:cxn ang="0">
                                                                                                        <a:pos x="34" y="288"/>
                                                                                                      </a:cxn>
                                                                                                      <a:cxn ang="0">
                                                                                                        <a:pos x="42" y="294"/>
                                                                                                      </a:cxn>
                                                                                                      <a:cxn ang="0">
                                                                                                        <a:pos x="22" y="298"/>
                                                                                                      </a:cxn>
                                                                                                      <a:cxn ang="0">
                                                                                                        <a:pos x="26" y="316"/>
                                                                                                      </a:cxn>
                                                                                                      <a:cxn ang="0">
                                                                                                        <a:pos x="28" y="348"/>
                                                                                                      </a:cxn>
                                                                                                      <a:cxn ang="0">
                                                                                                        <a:pos x="38" y="366"/>
                                                                                                      </a:cxn>
                                                                                                      <a:cxn ang="0">
                                                                                                        <a:pos x="30" y="368"/>
                                                                                                      </a:cxn>
                                                                                                      <a:cxn ang="0">
                                                                                                        <a:pos x="10" y="368"/>
                                                                                                      </a:cxn>
                                                                                                      <a:cxn ang="0">
                                                                                                        <a:pos x="16" y="384"/>
                                                                                                      </a:cxn>
                                                                                                      <a:cxn ang="0">
                                                                                                        <a:pos x="28" y="400"/>
                                                                                                      </a:cxn>
                                                                                                      <a:cxn ang="0">
                                                                                                        <a:pos x="40" y="432"/>
                                                                                                      </a:cxn>
                                                                                                      <a:cxn ang="0">
                                                                                                        <a:pos x="58" y="428"/>
                                                                                                      </a:cxn>
                                                                                                      <a:cxn ang="0">
                                                                                                        <a:pos x="96" y="414"/>
                                                                                                      </a:cxn>
                                                                                                      <a:cxn ang="0">
                                                                                                        <a:pos x="112" y="408"/>
                                                                                                      </a:cxn>
                                                                                                      <a:cxn ang="0">
                                                                                                        <a:pos x="114" y="400"/>
                                                                                                      </a:cxn>
                                                                                                      <a:cxn ang="0">
                                                                                                        <a:pos x="112" y="390"/>
                                                                                                      </a:cxn>
                                                                                                      <a:cxn ang="0">
                                                                                                        <a:pos x="124" y="388"/>
                                                                                                      </a:cxn>
                                                                                                      <a:cxn ang="0">
                                                                                                        <a:pos x="152" y="378"/>
                                                                                                      </a:cxn>
                                                                                                      <a:cxn ang="0">
                                                                                                        <a:pos x="162" y="368"/>
                                                                                                      </a:cxn>
                                                                                                      <a:cxn ang="0">
                                                                                                        <a:pos x="170" y="360"/>
                                                                                                      </a:cxn>
                                                                                                      <a:cxn ang="0">
                                                                                                        <a:pos x="174" y="346"/>
                                                                                                      </a:cxn>
                                                                                                      <a:cxn ang="0">
                                                                                                        <a:pos x="192" y="338"/>
                                                                                                      </a:cxn>
                                                                                                    </a:cxnLst>
                                                                                                    <a:rect l="0" t="0" r="r" b="b"/>
                                                                                                    <a:pathLst>
                                                                                                      <a:path w="210" h="432">
                                                                                                        <a:moveTo>
                                                                                                          <a:pt x="198" y="338"/>
                                                                                                        </a:moveTo>
                                                                                                        <a:lnTo>
                                                                                                          <a:pt x="198" y="338"/>
                                                                                                        </a:lnTo>
                                                                                                        <a:lnTo>
                                                                                                          <a:pt x="198" y="332"/>
                                                                                                        </a:lnTo>
                                                                                                        <a:lnTo>
                                                                                                          <a:pt x="196" y="330"/>
                                                                                                        </a:lnTo>
                                                                                                        <a:lnTo>
                                                                                                          <a:pt x="194" y="328"/>
                                                                                                        </a:lnTo>
                                                                                                        <a:lnTo>
                                                                                                          <a:pt x="194" y="328"/>
                                                                                                        </a:lnTo>
                                                                                                        <a:lnTo>
                                                                                                          <a:pt x="190" y="326"/>
                                                                                                        </a:lnTo>
                                                                                                        <a:lnTo>
                                                                                                          <a:pt x="190" y="320"/>
                                                                                                        </a:lnTo>
                                                                                                        <a:lnTo>
                                                                                                          <a:pt x="188" y="314"/>
                                                                                                        </a:lnTo>
                                                                                                        <a:lnTo>
                                                                                                          <a:pt x="186" y="306"/>
                                                                                                        </a:lnTo>
                                                                                                        <a:lnTo>
                                                                                                          <a:pt x="186" y="306"/>
                                                                                                        </a:lnTo>
                                                                                                        <a:lnTo>
                                                                                                          <a:pt x="184" y="300"/>
                                                                                                        </a:lnTo>
                                                                                                        <a:lnTo>
                                                                                                          <a:pt x="184" y="298"/>
                                                                                                        </a:lnTo>
                                                                                                        <a:lnTo>
                                                                                                          <a:pt x="186" y="298"/>
                                                                                                        </a:lnTo>
                                                                                                        <a:lnTo>
                                                                                                          <a:pt x="186" y="296"/>
                                                                                                        </a:lnTo>
                                                                                                        <a:lnTo>
                                                                                                          <a:pt x="186" y="296"/>
                                                                                                        </a:lnTo>
                                                                                                        <a:lnTo>
                                                                                                          <a:pt x="182" y="292"/>
                                                                                                        </a:lnTo>
                                                                                                        <a:lnTo>
                                                                                                          <a:pt x="180" y="292"/>
                                                                                                        </a:lnTo>
                                                                                                        <a:lnTo>
                                                                                                          <a:pt x="174" y="292"/>
                                                                                                        </a:lnTo>
                                                                                                        <a:lnTo>
                                                                                                          <a:pt x="170" y="294"/>
                                                                                                        </a:lnTo>
                                                                                                        <a:lnTo>
                                                                                                          <a:pt x="168" y="294"/>
                                                                                                        </a:lnTo>
                                                                                                        <a:lnTo>
                                                                                                          <a:pt x="166" y="292"/>
                                                                                                        </a:lnTo>
                                                                                                        <a:lnTo>
                                                                                                          <a:pt x="166" y="292"/>
                                                                                                        </a:lnTo>
                                                                                                        <a:lnTo>
                                                                                                          <a:pt x="166" y="286"/>
                                                                                                        </a:lnTo>
                                                                                                        <a:lnTo>
                                                                                                          <a:pt x="166" y="280"/>
                                                                                                        </a:lnTo>
                                                                                                        <a:lnTo>
                                                                                                          <a:pt x="168" y="274"/>
                                                                                                        </a:lnTo>
                                                                                                        <a:lnTo>
                                                                                                          <a:pt x="174" y="270"/>
                                                                                                        </a:lnTo>
                                                                                                        <a:lnTo>
                                                                                                          <a:pt x="174" y="268"/>
                                                                                                        </a:lnTo>
                                                                                                        <a:lnTo>
                                                                                                          <a:pt x="174" y="266"/>
                                                                                                        </a:lnTo>
                                                                                                        <a:lnTo>
                                                                                                          <a:pt x="174" y="266"/>
                                                                                                        </a:lnTo>
                                                                                                        <a:lnTo>
                                                                                                          <a:pt x="174" y="262"/>
                                                                                                        </a:lnTo>
                                                                                                        <a:lnTo>
                                                                                                          <a:pt x="178" y="258"/>
                                                                                                        </a:lnTo>
                                                                                                        <a:lnTo>
                                                                                                          <a:pt x="180" y="256"/>
                                                                                                        </a:lnTo>
                                                                                                        <a:lnTo>
                                                                                                          <a:pt x="180" y="254"/>
                                                                                                        </a:lnTo>
                                                                                                        <a:lnTo>
                                                                                                          <a:pt x="180" y="254"/>
                                                                                                        </a:lnTo>
                                                                                                        <a:lnTo>
                                                                                                          <a:pt x="176" y="250"/>
                                                                                                        </a:lnTo>
                                                                                                        <a:lnTo>
                                                                                                          <a:pt x="176" y="248"/>
                                                                                                        </a:lnTo>
                                                                                                        <a:lnTo>
                                                                                                          <a:pt x="178" y="246"/>
                                                                                                        </a:lnTo>
                                                                                                        <a:lnTo>
                                                                                                          <a:pt x="178" y="240"/>
                                                                                                        </a:lnTo>
                                                                                                        <a:lnTo>
                                                                                                          <a:pt x="178" y="240"/>
                                                                                                        </a:lnTo>
                                                                                                        <a:lnTo>
                                                                                                          <a:pt x="180" y="232"/>
                                                                                                        </a:lnTo>
                                                                                                        <a:lnTo>
                                                                                                          <a:pt x="182" y="226"/>
                                                                                                        </a:lnTo>
                                                                                                        <a:lnTo>
                                                                                                          <a:pt x="192" y="214"/>
                                                                                                        </a:lnTo>
                                                                                                        <a:lnTo>
                                                                                                          <a:pt x="192" y="214"/>
                                                                                                        </a:lnTo>
                                                                                                        <a:lnTo>
                                                                                                          <a:pt x="196" y="210"/>
                                                                                                        </a:lnTo>
                                                                                                        <a:lnTo>
                                                                                                          <a:pt x="200" y="212"/>
                                                                                                        </a:lnTo>
                                                                                                        <a:lnTo>
                                                                                                          <a:pt x="202" y="214"/>
                                                                                                        </a:lnTo>
                                                                                                        <a:lnTo>
                                                                                                          <a:pt x="210" y="212"/>
                                                                                                        </a:lnTo>
                                                                                                        <a:lnTo>
                                                                                                          <a:pt x="206" y="114"/>
                                                                                                        </a:lnTo>
                                                                                                        <a:lnTo>
                                                                                                          <a:pt x="206" y="114"/>
                                                                                                        </a:lnTo>
                                                                                                        <a:lnTo>
                                                                                                          <a:pt x="66" y="6"/>
                                                                                                        </a:lnTo>
                                                                                                        <a:lnTo>
                                                                                                          <a:pt x="66" y="6"/>
                                                                                                        </a:lnTo>
                                                                                                        <a:lnTo>
                                                                                                          <a:pt x="56" y="0"/>
                                                                                                        </a:lnTo>
                                                                                                        <a:lnTo>
                                                                                                          <a:pt x="50" y="0"/>
                                                                                                        </a:lnTo>
                                                                                                        <a:lnTo>
                                                                                                          <a:pt x="44" y="2"/>
                                                                                                        </a:lnTo>
                                                                                                        <a:lnTo>
                                                                                                          <a:pt x="44" y="2"/>
                                                                                                        </a:lnTo>
                                                                                                        <a:lnTo>
                                                                                                          <a:pt x="20" y="14"/>
                                                                                                        </a:lnTo>
                                                                                                        <a:lnTo>
                                                                                                          <a:pt x="20" y="14"/>
                                                                                                        </a:lnTo>
                                                                                                        <a:lnTo>
                                                                                                          <a:pt x="24" y="36"/>
                                                                                                        </a:lnTo>
                                                                                                        <a:lnTo>
                                                                                                          <a:pt x="24" y="50"/>
                                                                                                        </a:lnTo>
                                                                                                        <a:lnTo>
                                                                                                          <a:pt x="24" y="64"/>
                                                                                                        </a:lnTo>
                                                                                                        <a:lnTo>
                                                                                                          <a:pt x="24" y="64"/>
                                                                                                        </a:lnTo>
                                                                                                        <a:lnTo>
                                                                                                          <a:pt x="24" y="66"/>
                                                                                                        </a:lnTo>
                                                                                                        <a:lnTo>
                                                                                                          <a:pt x="26" y="70"/>
                                                                                                        </a:lnTo>
                                                                                                        <a:lnTo>
                                                                                                          <a:pt x="28" y="74"/>
                                                                                                        </a:lnTo>
                                                                                                        <a:lnTo>
                                                                                                          <a:pt x="28" y="82"/>
                                                                                                        </a:lnTo>
                                                                                                        <a:lnTo>
                                                                                                          <a:pt x="28" y="82"/>
                                                                                                        </a:lnTo>
                                                                                                        <a:lnTo>
                                                                                                          <a:pt x="30" y="88"/>
                                                                                                        </a:lnTo>
                                                                                                        <a:lnTo>
                                                                                                          <a:pt x="32" y="90"/>
                                                                                                        </a:lnTo>
                                                                                                        <a:lnTo>
                                                                                                          <a:pt x="36" y="94"/>
                                                                                                        </a:lnTo>
                                                                                                        <a:lnTo>
                                                                                                          <a:pt x="42" y="98"/>
                                                                                                        </a:lnTo>
                                                                                                        <a:lnTo>
                                                                                                          <a:pt x="44" y="98"/>
                                                                                                        </a:lnTo>
                                                                                                        <a:lnTo>
                                                                                                          <a:pt x="44" y="102"/>
                                                                                                        </a:lnTo>
                                                                                                        <a:lnTo>
                                                                                                          <a:pt x="44" y="102"/>
                                                                                                        </a:lnTo>
                                                                                                        <a:lnTo>
                                                                                                          <a:pt x="42" y="106"/>
                                                                                                        </a:lnTo>
                                                                                                        <a:lnTo>
                                                                                                          <a:pt x="40" y="108"/>
                                                                                                        </a:lnTo>
                                                                                                        <a:lnTo>
                                                                                                          <a:pt x="36" y="114"/>
                                                                                                        </a:lnTo>
                                                                                                        <a:lnTo>
                                                                                                          <a:pt x="34" y="120"/>
                                                                                                        </a:lnTo>
                                                                                                        <a:lnTo>
                                                                                                          <a:pt x="34" y="120"/>
                                                                                                        </a:lnTo>
                                                                                                        <a:lnTo>
                                                                                                          <a:pt x="34" y="180"/>
                                                                                                        </a:lnTo>
                                                                                                        <a:lnTo>
                                                                                                          <a:pt x="34" y="180"/>
                                                                                                        </a:lnTo>
                                                                                                        <a:lnTo>
                                                                                                          <a:pt x="32" y="190"/>
                                                                                                        </a:lnTo>
                                                                                                        <a:lnTo>
                                                                                                          <a:pt x="30" y="200"/>
                                                                                                        </a:lnTo>
                                                                                                        <a:lnTo>
                                                                                                          <a:pt x="18" y="222"/>
                                                                                                        </a:lnTo>
                                                                                                        <a:lnTo>
                                                                                                          <a:pt x="18" y="222"/>
                                                                                                        </a:lnTo>
                                                                                                        <a:lnTo>
                                                                                                          <a:pt x="12" y="230"/>
                                                                                                        </a:lnTo>
                                                                                                        <a:lnTo>
                                                                                                          <a:pt x="8" y="234"/>
                                                                                                        </a:lnTo>
                                                                                                        <a:lnTo>
                                                                                                          <a:pt x="4" y="236"/>
                                                                                                        </a:lnTo>
                                                                                                        <a:lnTo>
                                                                                                          <a:pt x="4" y="240"/>
                                                                                                        </a:lnTo>
                                                                                                        <a:lnTo>
                                                                                                          <a:pt x="4" y="240"/>
                                                                                                        </a:lnTo>
                                                                                                        <a:lnTo>
                                                                                                          <a:pt x="4" y="246"/>
                                                                                                        </a:lnTo>
                                                                                                        <a:lnTo>
                                                                                                          <a:pt x="2" y="248"/>
                                                                                                        </a:lnTo>
                                                                                                        <a:lnTo>
                                                                                                          <a:pt x="0" y="252"/>
                                                                                                        </a:lnTo>
                                                                                                        <a:lnTo>
                                                                                                          <a:pt x="0" y="256"/>
                                                                                                        </a:lnTo>
                                                                                                        <a:lnTo>
                                                                                                          <a:pt x="0" y="256"/>
                                                                                                        </a:lnTo>
                                                                                                        <a:lnTo>
                                                                                                          <a:pt x="4" y="260"/>
                                                                                                        </a:lnTo>
                                                                                                        <a:lnTo>
                                                                                                          <a:pt x="6" y="262"/>
                                                                                                        </a:lnTo>
                                                                                                        <a:lnTo>
                                                                                                          <a:pt x="8" y="262"/>
                                                                                                        </a:lnTo>
                                                                                                        <a:lnTo>
                                                                                                          <a:pt x="12" y="264"/>
                                                                                                        </a:lnTo>
                                                                                                        <a:lnTo>
                                                                                                          <a:pt x="12" y="264"/>
                                                                                                        </a:lnTo>
                                                                                                        <a:lnTo>
                                                                                                          <a:pt x="16" y="264"/>
                                                                                                        </a:lnTo>
                                                                                                        <a:lnTo>
                                                                                                          <a:pt x="16" y="266"/>
                                                                                                        </a:lnTo>
                                                                                                        <a:lnTo>
                                                                                                          <a:pt x="16" y="270"/>
                                                                                                        </a:lnTo>
                                                                                                        <a:lnTo>
                                                                                                          <a:pt x="14" y="274"/>
                                                                                                        </a:lnTo>
                                                                                                        <a:lnTo>
                                                                                                          <a:pt x="16" y="276"/>
                                                                                                        </a:lnTo>
                                                                                                        <a:lnTo>
                                                                                                          <a:pt x="20" y="278"/>
                                                                                                        </a:lnTo>
                                                                                                        <a:lnTo>
                                                                                                          <a:pt x="20" y="278"/>
                                                                                                        </a:lnTo>
                                                                                                        <a:lnTo>
                                                                                                          <a:pt x="28" y="280"/>
                                                                                                        </a:lnTo>
                                                                                                        <a:lnTo>
                                                                                                          <a:pt x="34" y="282"/>
                                                                                                        </a:lnTo>
                                                                                                        <a:lnTo>
                                                                                                          <a:pt x="34" y="284"/>
                                                                                                        </a:lnTo>
                                                                                                        <a:lnTo>
                                                                                                          <a:pt x="34" y="286"/>
                                                                                                        </a:lnTo>
                                                                                                        <a:lnTo>
                                                                                                          <a:pt x="34" y="288"/>
                                                                                                        </a:lnTo>
                                                                                                        <a:lnTo>
                                                                                                          <a:pt x="34" y="290"/>
                                                                                                        </a:lnTo>
                                                                                                        <a:lnTo>
                                                                                                          <a:pt x="36" y="292"/>
                                                                                                        </a:lnTo>
                                                                                                        <a:lnTo>
                                                                                                          <a:pt x="42" y="294"/>
                                                                                                        </a:lnTo>
                                                                                                        <a:lnTo>
                                                                                                          <a:pt x="42" y="294"/>
                                                                                                        </a:lnTo>
                                                                                                        <a:lnTo>
                                                                                                          <a:pt x="38" y="296"/>
                                                                                                        </a:lnTo>
                                                                                                        <a:lnTo>
                                                                                                          <a:pt x="34" y="294"/>
                                                                                                        </a:lnTo>
                                                                                                        <a:lnTo>
                                                                                                          <a:pt x="30" y="294"/>
                                                                                                        </a:lnTo>
                                                                                                        <a:lnTo>
                                                                                                          <a:pt x="22" y="298"/>
                                                                                                        </a:lnTo>
                                                                                                        <a:lnTo>
                                                                                                          <a:pt x="22" y="298"/>
                                                                                                        </a:lnTo>
                                                                                                        <a:lnTo>
                                                                                                          <a:pt x="22" y="310"/>
                                                                                                        </a:lnTo>
                                                                                                        <a:lnTo>
                                                                                                          <a:pt x="24" y="314"/>
                                                                                                        </a:lnTo>
                                                                                                        <a:lnTo>
                                                                                                          <a:pt x="26" y="316"/>
                                                                                                        </a:lnTo>
                                                                                                        <a:lnTo>
                                                                                                          <a:pt x="26" y="328"/>
                                                                                                        </a:lnTo>
                                                                                                        <a:lnTo>
                                                                                                          <a:pt x="26" y="328"/>
                                                                                                        </a:lnTo>
                                                                                                        <a:lnTo>
                                                                                                          <a:pt x="26" y="338"/>
                                                                                                        </a:lnTo>
                                                                                                        <a:lnTo>
                                                                                                          <a:pt x="28" y="348"/>
                                                                                                        </a:lnTo>
                                                                                                        <a:lnTo>
                                                                                                          <a:pt x="44" y="364"/>
                                                                                                        </a:lnTo>
                                                                                                        <a:lnTo>
                                                                                                          <a:pt x="44" y="364"/>
                                                                                                        </a:lnTo>
                                                                                                        <a:lnTo>
                                                                                                          <a:pt x="40" y="366"/>
                                                                                                        </a:lnTo>
                                                                                                        <a:lnTo>
                                                                                                          <a:pt x="38" y="366"/>
                                                                                                        </a:lnTo>
                                                                                                        <a:lnTo>
                                                                                                          <a:pt x="30" y="364"/>
                                                                                                        </a:lnTo>
                                                                                                        <a:lnTo>
                                                                                                          <a:pt x="30" y="364"/>
                                                                                                        </a:lnTo>
                                                                                                        <a:lnTo>
                                                                                                          <a:pt x="32" y="366"/>
                                                                                                        </a:lnTo>
                                                                                                        <a:lnTo>
                                                                                                          <a:pt x="30" y="368"/>
                                                                                                        </a:lnTo>
                                                                                                        <a:lnTo>
                                                                                                          <a:pt x="20" y="366"/>
                                                                                                        </a:lnTo>
                                                                                                        <a:lnTo>
                                                                                                          <a:pt x="20" y="366"/>
                                                                                                        </a:lnTo>
                                                                                                        <a:lnTo>
                                                                                                          <a:pt x="14" y="366"/>
                                                                                                        </a:lnTo>
                                                                                                        <a:lnTo>
                                                                                                          <a:pt x="10" y="368"/>
                                                                                                        </a:lnTo>
                                                                                                        <a:lnTo>
                                                                                                          <a:pt x="10" y="370"/>
                                                                                                        </a:lnTo>
                                                                                                        <a:lnTo>
                                                                                                          <a:pt x="12" y="376"/>
                                                                                                        </a:lnTo>
                                                                                                        <a:lnTo>
                                                                                                          <a:pt x="12" y="376"/>
                                                                                                        </a:lnTo>
                                                                                                        <a:lnTo>
                                                                                                          <a:pt x="16" y="384"/>
                                                                                                        </a:lnTo>
                                                                                                        <a:lnTo>
                                                                                                          <a:pt x="18" y="388"/>
                                                                                                        </a:lnTo>
                                                                                                        <a:lnTo>
                                                                                                          <a:pt x="22" y="390"/>
                                                                                                        </a:lnTo>
                                                                                                        <a:lnTo>
                                                                                                          <a:pt x="28" y="400"/>
                                                                                                        </a:lnTo>
                                                                                                        <a:lnTo>
                                                                                                          <a:pt x="28" y="400"/>
                                                                                                        </a:lnTo>
                                                                                                        <a:lnTo>
                                                                                                          <a:pt x="40" y="420"/>
                                                                                                        </a:lnTo>
                                                                                                        <a:lnTo>
                                                                                                          <a:pt x="42" y="426"/>
                                                                                                        </a:lnTo>
                                                                                                        <a:lnTo>
                                                                                                          <a:pt x="40" y="432"/>
                                                                                                        </a:lnTo>
                                                                                                        <a:lnTo>
                                                                                                          <a:pt x="40" y="432"/>
                                                                                                        </a:lnTo>
                                                                                                        <a:lnTo>
                                                                                                          <a:pt x="50" y="430"/>
                                                                                                        </a:lnTo>
                                                                                                        <a:lnTo>
                                                                                                          <a:pt x="52" y="430"/>
                                                                                                        </a:lnTo>
                                                                                                        <a:lnTo>
                                                                                                          <a:pt x="54" y="430"/>
                                                                                                        </a:lnTo>
                                                                                                        <a:lnTo>
                                                                                                          <a:pt x="58" y="428"/>
                                                                                                        </a:lnTo>
                                                                                                        <a:lnTo>
                                                                                                          <a:pt x="58" y="428"/>
                                                                                                        </a:lnTo>
                                                                                                        <a:lnTo>
                                                                                                          <a:pt x="70" y="422"/>
                                                                                                        </a:lnTo>
                                                                                                        <a:lnTo>
                                                                                                          <a:pt x="84" y="418"/>
                                                                                                        </a:lnTo>
                                                                                                        <a:lnTo>
                                                                                                          <a:pt x="96" y="414"/>
                                                                                                        </a:lnTo>
                                                                                                        <a:lnTo>
                                                                                                          <a:pt x="104" y="412"/>
                                                                                                        </a:lnTo>
                                                                                                        <a:lnTo>
                                                                                                          <a:pt x="104" y="412"/>
                                                                                                        </a:lnTo>
                                                                                                        <a:lnTo>
                                                                                                          <a:pt x="108" y="408"/>
                                                                                                        </a:lnTo>
                                                                                                        <a:lnTo>
                                                                                                          <a:pt x="112" y="408"/>
                                                                                                        </a:lnTo>
                                                                                                        <a:lnTo>
                                                                                                          <a:pt x="114" y="406"/>
                                                                                                        </a:lnTo>
                                                                                                        <a:lnTo>
                                                                                                          <a:pt x="114" y="402"/>
                                                                                                        </a:lnTo>
                                                                                                        <a:lnTo>
                                                                                                          <a:pt x="114" y="402"/>
                                                                                                        </a:lnTo>
                                                                                                        <a:lnTo>
                                                                                                          <a:pt x="114" y="400"/>
                                                                                                        </a:lnTo>
                                                                                                        <a:lnTo>
                                                                                                          <a:pt x="114" y="398"/>
                                                                                                        </a:lnTo>
                                                                                                        <a:lnTo>
                                                                                                          <a:pt x="110" y="396"/>
                                                                                                        </a:lnTo>
                                                                                                        <a:lnTo>
                                                                                                          <a:pt x="108" y="394"/>
                                                                                                        </a:lnTo>
                                                                                                        <a:lnTo>
                                                                                                          <a:pt x="112" y="390"/>
                                                                                                        </a:lnTo>
                                                                                                        <a:lnTo>
                                                                                                          <a:pt x="112" y="390"/>
                                                                                                        </a:lnTo>
                                                                                                        <a:lnTo>
                                                                                                          <a:pt x="118" y="388"/>
                                                                                                        </a:lnTo>
                                                                                                        <a:lnTo>
                                                                                                          <a:pt x="120" y="388"/>
                                                                                                        </a:lnTo>
                                                                                                        <a:lnTo>
                                                                                                          <a:pt x="124" y="388"/>
                                                                                                        </a:lnTo>
                                                                                                        <a:lnTo>
                                                                                                          <a:pt x="130" y="386"/>
                                                                                                        </a:lnTo>
                                                                                                        <a:lnTo>
                                                                                                          <a:pt x="130" y="386"/>
                                                                                                        </a:lnTo>
                                                                                                        <a:lnTo>
                                                                                                          <a:pt x="146" y="380"/>
                                                                                                        </a:lnTo>
                                                                                                        <a:lnTo>
                                                                                                          <a:pt x="152" y="378"/>
                                                                                                        </a:lnTo>
                                                                                                        <a:lnTo>
                                                                                                          <a:pt x="156" y="376"/>
                                                                                                        </a:lnTo>
                                                                                                        <a:lnTo>
                                                                                                          <a:pt x="156" y="376"/>
                                                                                                        </a:lnTo>
                                                                                                        <a:lnTo>
                                                                                                          <a:pt x="160" y="372"/>
                                                                                                        </a:lnTo>
                                                                                                        <a:lnTo>
                                                                                                          <a:pt x="162" y="368"/>
                                                                                                        </a:lnTo>
                                                                                                        <a:lnTo>
                                                                                                          <a:pt x="164" y="364"/>
                                                                                                        </a:lnTo>
                                                                                                        <a:lnTo>
                                                                                                          <a:pt x="168" y="362"/>
                                                                                                        </a:lnTo>
                                                                                                        <a:lnTo>
                                                                                                          <a:pt x="168" y="362"/>
                                                                                                        </a:lnTo>
                                                                                                        <a:lnTo>
                                                                                                          <a:pt x="170" y="360"/>
                                                                                                        </a:lnTo>
                                                                                                        <a:lnTo>
                                                                                                          <a:pt x="172" y="358"/>
                                                                                                        </a:lnTo>
                                                                                                        <a:lnTo>
                                                                                                          <a:pt x="172" y="354"/>
                                                                                                        </a:lnTo>
                                                                                                        <a:lnTo>
                                                                                                          <a:pt x="172" y="348"/>
                                                                                                        </a:lnTo>
                                                                                                        <a:lnTo>
                                                                                                          <a:pt x="174" y="346"/>
                                                                                                        </a:lnTo>
                                                                                                        <a:lnTo>
                                                                                                          <a:pt x="178" y="344"/>
                                                                                                        </a:lnTo>
                                                                                                        <a:lnTo>
                                                                                                          <a:pt x="178" y="344"/>
                                                                                                        </a:lnTo>
                                                                                                        <a:lnTo>
                                                                                                          <a:pt x="188" y="340"/>
                                                                                                        </a:lnTo>
                                                                                                        <a:lnTo>
                                                                                                          <a:pt x="192" y="338"/>
                                                                                                        </a:lnTo>
                                                                                                        <a:lnTo>
                                                                                                          <a:pt x="194" y="336"/>
                                                                                                        </a:lnTo>
                                                                                                        <a:lnTo>
                                                                                                          <a:pt x="198" y="338"/>
                                                                                                        </a:lnTo>
                                                                                                        <a:lnTo>
                                                                                                          <a:pt x="198" y="338"/>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baseline="-25000" dirty="0">
                                                                                                      <a:solidFill>
                                                                                                        <a:schemeClr val="tx1"/>
                                                                                                      </a:solidFill>
                                                                                                    </a:endParaRPr>
                                                                                                  </a:p>
                                                                                                </p:txBody>
                                                                                              </p:sp>
                                                                                              <p:sp>
                                                                                                <p:nvSpPr>
                                                                                                  <p:cNvPr id="565" name="Congo"/>
                                                                                                  <p:cNvSpPr>
                                                                                                    <a:spLocks/>
                                                                                                  </p:cNvSpPr>
                                                                                                  <p:nvPr/>
                                                                                                </p:nvSpPr>
                                                                                                <p:spPr bwMode="auto">
                                                                                                  <a:xfrm>
                                                                                                    <a:off x="6133905" y="3536584"/>
                                                                                                    <a:ext cx="252124" cy="339901"/>
                                                                                                  </a:xfrm>
                                                                                                  <a:custGeom>
                                                                                                    <a:avLst/>
                                                                                                    <a:gdLst/>
                                                                                                    <a:ahLst/>
                                                                                                    <a:cxnLst>
                                                                                                      <a:cxn ang="0">
                                                                                                        <a:pos x="70" y="44"/>
                                                                                                      </a:cxn>
                                                                                                      <a:cxn ang="0">
                                                                                                        <a:pos x="86" y="46"/>
                                                                                                      </a:cxn>
                                                                                                      <a:cxn ang="0">
                                                                                                        <a:pos x="100" y="46"/>
                                                                                                      </a:cxn>
                                                                                                      <a:cxn ang="0">
                                                                                                        <a:pos x="110" y="50"/>
                                                                                                      </a:cxn>
                                                                                                      <a:cxn ang="0">
                                                                                                        <a:pos x="110" y="32"/>
                                                                                                      </a:cxn>
                                                                                                      <a:cxn ang="0">
                                                                                                        <a:pos x="120" y="20"/>
                                                                                                      </a:cxn>
                                                                                                      <a:cxn ang="0">
                                                                                                        <a:pos x="126" y="0"/>
                                                                                                      </a:cxn>
                                                                                                      <a:cxn ang="0">
                                                                                                        <a:pos x="148" y="0"/>
                                                                                                      </a:cxn>
                                                                                                      <a:cxn ang="0">
                                                                                                        <a:pos x="164" y="16"/>
                                                                                                      </a:cxn>
                                                                                                      <a:cxn ang="0">
                                                                                                        <a:pos x="160" y="34"/>
                                                                                                      </a:cxn>
                                                                                                      <a:cxn ang="0">
                                                                                                        <a:pos x="158" y="42"/>
                                                                                                      </a:cxn>
                                                                                                      <a:cxn ang="0">
                                                                                                        <a:pos x="154" y="70"/>
                                                                                                      </a:cxn>
                                                                                                      <a:cxn ang="0">
                                                                                                        <a:pos x="152" y="98"/>
                                                                                                      </a:cxn>
                                                                                                      <a:cxn ang="0">
                                                                                                        <a:pos x="138" y="124"/>
                                                                                                      </a:cxn>
                                                                                                      <a:cxn ang="0">
                                                                                                        <a:pos x="126" y="134"/>
                                                                                                      </a:cxn>
                                                                                                      <a:cxn ang="0">
                                                                                                        <a:pos x="120" y="160"/>
                                                                                                      </a:cxn>
                                                                                                      <a:cxn ang="0">
                                                                                                        <a:pos x="112" y="188"/>
                                                                                                      </a:cxn>
                                                                                                      <a:cxn ang="0">
                                                                                                        <a:pos x="100" y="200"/>
                                                                                                      </a:cxn>
                                                                                                      <a:cxn ang="0">
                                                                                                        <a:pos x="86" y="216"/>
                                                                                                      </a:cxn>
                                                                                                      <a:cxn ang="0">
                                                                                                        <a:pos x="80" y="224"/>
                                                                                                      </a:cxn>
                                                                                                      <a:cxn ang="0">
                                                                                                        <a:pos x="74" y="214"/>
                                                                                                      </a:cxn>
                                                                                                      <a:cxn ang="0">
                                                                                                        <a:pos x="66" y="214"/>
                                                                                                      </a:cxn>
                                                                                                      <a:cxn ang="0">
                                                                                                        <a:pos x="60" y="216"/>
                                                                                                      </a:cxn>
                                                                                                      <a:cxn ang="0">
                                                                                                        <a:pos x="52" y="218"/>
                                                                                                      </a:cxn>
                                                                                                      <a:cxn ang="0">
                                                                                                        <a:pos x="40" y="210"/>
                                                                                                      </a:cxn>
                                                                                                      <a:cxn ang="0">
                                                                                                        <a:pos x="34" y="212"/>
                                                                                                      </a:cxn>
                                                                                                      <a:cxn ang="0">
                                                                                                        <a:pos x="28" y="214"/>
                                                                                                      </a:cxn>
                                                                                                      <a:cxn ang="0">
                                                                                                        <a:pos x="24" y="220"/>
                                                                                                      </a:cxn>
                                                                                                      <a:cxn ang="0">
                                                                                                        <a:pos x="16" y="216"/>
                                                                                                      </a:cxn>
                                                                                                      <a:cxn ang="0">
                                                                                                        <a:pos x="2" y="200"/>
                                                                                                      </a:cxn>
                                                                                                      <a:cxn ang="0">
                                                                                                        <a:pos x="0" y="196"/>
                                                                                                      </a:cxn>
                                                                                                      <a:cxn ang="0">
                                                                                                        <a:pos x="12" y="188"/>
                                                                                                      </a:cxn>
                                                                                                      <a:cxn ang="0">
                                                                                                        <a:pos x="14" y="194"/>
                                                                                                      </a:cxn>
                                                                                                      <a:cxn ang="0">
                                                                                                        <a:pos x="18" y="188"/>
                                                                                                      </a:cxn>
                                                                                                      <a:cxn ang="0">
                                                                                                        <a:pos x="12" y="168"/>
                                                                                                      </a:cxn>
                                                                                                      <a:cxn ang="0">
                                                                                                        <a:pos x="12" y="164"/>
                                                                                                      </a:cxn>
                                                                                                      <a:cxn ang="0">
                                                                                                        <a:pos x="16" y="162"/>
                                                                                                      </a:cxn>
                                                                                                      <a:cxn ang="0">
                                                                                                        <a:pos x="22" y="162"/>
                                                                                                      </a:cxn>
                                                                                                      <a:cxn ang="0">
                                                                                                        <a:pos x="28" y="160"/>
                                                                                                      </a:cxn>
                                                                                                      <a:cxn ang="0">
                                                                                                        <a:pos x="30" y="148"/>
                                                                                                      </a:cxn>
                                                                                                      <a:cxn ang="0">
                                                                                                        <a:pos x="32" y="150"/>
                                                                                                      </a:cxn>
                                                                                                      <a:cxn ang="0">
                                                                                                        <a:pos x="38" y="160"/>
                                                                                                      </a:cxn>
                                                                                                      <a:cxn ang="0">
                                                                                                        <a:pos x="42" y="158"/>
                                                                                                      </a:cxn>
                                                                                                      <a:cxn ang="0">
                                                                                                        <a:pos x="52" y="158"/>
                                                                                                      </a:cxn>
                                                                                                      <a:cxn ang="0">
                                                                                                        <a:pos x="58" y="158"/>
                                                                                                      </a:cxn>
                                                                                                      <a:cxn ang="0">
                                                                                                        <a:pos x="68" y="164"/>
                                                                                                      </a:cxn>
                                                                                                      <a:cxn ang="0">
                                                                                                        <a:pos x="72" y="152"/>
                                                                                                      </a:cxn>
                                                                                                      <a:cxn ang="0">
                                                                                                        <a:pos x="80" y="142"/>
                                                                                                      </a:cxn>
                                                                                                      <a:cxn ang="0">
                                                                                                        <a:pos x="78" y="134"/>
                                                                                                      </a:cxn>
                                                                                                      <a:cxn ang="0">
                                                                                                        <a:pos x="78" y="126"/>
                                                                                                      </a:cxn>
                                                                                                      <a:cxn ang="0">
                                                                                                        <a:pos x="80" y="118"/>
                                                                                                      </a:cxn>
                                                                                                      <a:cxn ang="0">
                                                                                                        <a:pos x="78" y="114"/>
                                                                                                      </a:cxn>
                                                                                                      <a:cxn ang="0">
                                                                                                        <a:pos x="74" y="108"/>
                                                                                                      </a:cxn>
                                                                                                      <a:cxn ang="0">
                                                                                                        <a:pos x="68" y="96"/>
                                                                                                      </a:cxn>
                                                                                                      <a:cxn ang="0">
                                                                                                        <a:pos x="76" y="96"/>
                                                                                                      </a:cxn>
                                                                                                      <a:cxn ang="0">
                                                                                                        <a:pos x="74" y="88"/>
                                                                                                      </a:cxn>
                                                                                                      <a:cxn ang="0">
                                                                                                        <a:pos x="82" y="82"/>
                                                                                                      </a:cxn>
                                                                                                      <a:cxn ang="0">
                                                                                                        <a:pos x="82" y="74"/>
                                                                                                      </a:cxn>
                                                                                                      <a:cxn ang="0">
                                                                                                        <a:pos x="82" y="64"/>
                                                                                                      </a:cxn>
                                                                                                      <a:cxn ang="0">
                                                                                                        <a:pos x="68" y="62"/>
                                                                                                      </a:cxn>
                                                                                                      <a:cxn ang="0">
                                                                                                        <a:pos x="58" y="62"/>
                                                                                                      </a:cxn>
                                                                                                      <a:cxn ang="0">
                                                                                                        <a:pos x="62" y="44"/>
                                                                                                      </a:cxn>
                                                                                                    </a:cxnLst>
                                                                                                    <a:rect l="0" t="0" r="r" b="b"/>
                                                                                                    <a:pathLst>
                                                                                                      <a:path w="166" h="224">
                                                                                                        <a:moveTo>
                                                                                                          <a:pt x="62" y="44"/>
                                                                                                        </a:moveTo>
                                                                                                        <a:lnTo>
                                                                                                          <a:pt x="62" y="44"/>
                                                                                                        </a:lnTo>
                                                                                                        <a:lnTo>
                                                                                                          <a:pt x="70" y="44"/>
                                                                                                        </a:lnTo>
                                                                                                        <a:lnTo>
                                                                                                          <a:pt x="76" y="44"/>
                                                                                                        </a:lnTo>
                                                                                                        <a:lnTo>
                                                                                                          <a:pt x="80" y="46"/>
                                                                                                        </a:lnTo>
                                                                                                        <a:lnTo>
                                                                                                          <a:pt x="86" y="46"/>
                                                                                                        </a:lnTo>
                                                                                                        <a:lnTo>
                                                                                                          <a:pt x="86" y="46"/>
                                                                                                        </a:lnTo>
                                                                                                        <a:lnTo>
                                                                                                          <a:pt x="92" y="46"/>
                                                                                                        </a:lnTo>
                                                                                                        <a:lnTo>
                                                                                                          <a:pt x="100" y="46"/>
                                                                                                        </a:lnTo>
                                                                                                        <a:lnTo>
                                                                                                          <a:pt x="100" y="46"/>
                                                                                                        </a:lnTo>
                                                                                                        <a:lnTo>
                                                                                                          <a:pt x="106" y="48"/>
                                                                                                        </a:lnTo>
                                                                                                        <a:lnTo>
                                                                                                          <a:pt x="110" y="50"/>
                                                                                                        </a:lnTo>
                                                                                                        <a:lnTo>
                                                                                                          <a:pt x="112" y="48"/>
                                                                                                        </a:lnTo>
                                                                                                        <a:lnTo>
                                                                                                          <a:pt x="112" y="46"/>
                                                                                                        </a:lnTo>
                                                                                                        <a:lnTo>
                                                                                                          <a:pt x="110" y="32"/>
                                                                                                        </a:lnTo>
                                                                                                        <a:lnTo>
                                                                                                          <a:pt x="110" y="32"/>
                                                                                                        </a:lnTo>
                                                                                                        <a:lnTo>
                                                                                                          <a:pt x="116" y="26"/>
                                                                                                        </a:lnTo>
                                                                                                        <a:lnTo>
                                                                                                          <a:pt x="120" y="20"/>
                                                                                                        </a:lnTo>
                                                                                                        <a:lnTo>
                                                                                                          <a:pt x="122" y="10"/>
                                                                                                        </a:lnTo>
                                                                                                        <a:lnTo>
                                                                                                          <a:pt x="124" y="2"/>
                                                                                                        </a:lnTo>
                                                                                                        <a:lnTo>
                                                                                                          <a:pt x="126" y="0"/>
                                                                                                        </a:lnTo>
                                                                                                        <a:lnTo>
                                                                                                          <a:pt x="128" y="0"/>
                                                                                                        </a:lnTo>
                                                                                                        <a:lnTo>
                                                                                                          <a:pt x="128" y="0"/>
                                                                                                        </a:lnTo>
                                                                                                        <a:lnTo>
                                                                                                          <a:pt x="148" y="0"/>
                                                                                                        </a:lnTo>
                                                                                                        <a:lnTo>
                                                                                                          <a:pt x="166" y="0"/>
                                                                                                        </a:lnTo>
                                                                                                        <a:lnTo>
                                                                                                          <a:pt x="166" y="0"/>
                                                                                                        </a:lnTo>
                                                                                                        <a:lnTo>
                                                                                                          <a:pt x="164" y="16"/>
                                                                                                        </a:lnTo>
                                                                                                        <a:lnTo>
                                                                                                          <a:pt x="160" y="24"/>
                                                                                                        </a:lnTo>
                                                                                                        <a:lnTo>
                                                                                                          <a:pt x="158" y="28"/>
                                                                                                        </a:lnTo>
                                                                                                        <a:lnTo>
                                                                                                          <a:pt x="160" y="34"/>
                                                                                                        </a:lnTo>
                                                                                                        <a:lnTo>
                                                                                                          <a:pt x="160" y="34"/>
                                                                                                        </a:lnTo>
                                                                                                        <a:lnTo>
                                                                                                          <a:pt x="160" y="38"/>
                                                                                                        </a:lnTo>
                                                                                                        <a:lnTo>
                                                                                                          <a:pt x="158" y="42"/>
                                                                                                        </a:lnTo>
                                                                                                        <a:lnTo>
                                                                                                          <a:pt x="156" y="50"/>
                                                                                                        </a:lnTo>
                                                                                                        <a:lnTo>
                                                                                                          <a:pt x="154" y="70"/>
                                                                                                        </a:lnTo>
                                                                                                        <a:lnTo>
                                                                                                          <a:pt x="154" y="70"/>
                                                                                                        </a:lnTo>
                                                                                                        <a:lnTo>
                                                                                                          <a:pt x="152" y="84"/>
                                                                                                        </a:lnTo>
                                                                                                        <a:lnTo>
                                                                                                          <a:pt x="154" y="92"/>
                                                                                                        </a:lnTo>
                                                                                                        <a:lnTo>
                                                                                                          <a:pt x="152" y="98"/>
                                                                                                        </a:lnTo>
                                                                                                        <a:lnTo>
                                                                                                          <a:pt x="148" y="108"/>
                                                                                                        </a:lnTo>
                                                                                                        <a:lnTo>
                                                                                                          <a:pt x="148" y="108"/>
                                                                                                        </a:lnTo>
                                                                                                        <a:lnTo>
                                                                                                          <a:pt x="138" y="124"/>
                                                                                                        </a:lnTo>
                                                                                                        <a:lnTo>
                                                                                                          <a:pt x="134" y="128"/>
                                                                                                        </a:lnTo>
                                                                                                        <a:lnTo>
                                                                                                          <a:pt x="130" y="130"/>
                                                                                                        </a:lnTo>
                                                                                                        <a:lnTo>
                                                                                                          <a:pt x="126" y="134"/>
                                                                                                        </a:lnTo>
                                                                                                        <a:lnTo>
                                                                                                          <a:pt x="126" y="134"/>
                                                                                                        </a:lnTo>
                                                                                                        <a:lnTo>
                                                                                                          <a:pt x="122" y="146"/>
                                                                                                        </a:lnTo>
                                                                                                        <a:lnTo>
                                                                                                          <a:pt x="120" y="160"/>
                                                                                                        </a:lnTo>
                                                                                                        <a:lnTo>
                                                                                                          <a:pt x="118" y="174"/>
                                                                                                        </a:lnTo>
                                                                                                        <a:lnTo>
                                                                                                          <a:pt x="112" y="188"/>
                                                                                                        </a:lnTo>
                                                                                                        <a:lnTo>
                                                                                                          <a:pt x="112" y="188"/>
                                                                                                        </a:lnTo>
                                                                                                        <a:lnTo>
                                                                                                          <a:pt x="108" y="194"/>
                                                                                                        </a:lnTo>
                                                                                                        <a:lnTo>
                                                                                                          <a:pt x="106" y="198"/>
                                                                                                        </a:lnTo>
                                                                                                        <a:lnTo>
                                                                                                          <a:pt x="100" y="200"/>
                                                                                                        </a:lnTo>
                                                                                                        <a:lnTo>
                                                                                                          <a:pt x="94" y="204"/>
                                                                                                        </a:lnTo>
                                                                                                        <a:lnTo>
                                                                                                          <a:pt x="90" y="208"/>
                                                                                                        </a:lnTo>
                                                                                                        <a:lnTo>
                                                                                                          <a:pt x="86" y="216"/>
                                                                                                        </a:lnTo>
                                                                                                        <a:lnTo>
                                                                                                          <a:pt x="86" y="216"/>
                                                                                                        </a:lnTo>
                                                                                                        <a:lnTo>
                                                                                                          <a:pt x="80" y="224"/>
                                                                                                        </a:lnTo>
                                                                                                        <a:lnTo>
                                                                                                          <a:pt x="80" y="224"/>
                                                                                                        </a:lnTo>
                                                                                                        <a:lnTo>
                                                                                                          <a:pt x="78" y="222"/>
                                                                                                        </a:lnTo>
                                                                                                        <a:lnTo>
                                                                                                          <a:pt x="76" y="216"/>
                                                                                                        </a:lnTo>
                                                                                                        <a:lnTo>
                                                                                                          <a:pt x="74" y="214"/>
                                                                                                        </a:lnTo>
                                                                                                        <a:lnTo>
                                                                                                          <a:pt x="70" y="214"/>
                                                                                                        </a:lnTo>
                                                                                                        <a:lnTo>
                                                                                                          <a:pt x="70" y="214"/>
                                                                                                        </a:lnTo>
                                                                                                        <a:lnTo>
                                                                                                          <a:pt x="66" y="214"/>
                                                                                                        </a:lnTo>
                                                                                                        <a:lnTo>
                                                                                                          <a:pt x="66" y="212"/>
                                                                                                        </a:lnTo>
                                                                                                        <a:lnTo>
                                                                                                          <a:pt x="64" y="212"/>
                                                                                                        </a:lnTo>
                                                                                                        <a:lnTo>
                                                                                                          <a:pt x="60" y="216"/>
                                                                                                        </a:lnTo>
                                                                                                        <a:lnTo>
                                                                                                          <a:pt x="60" y="216"/>
                                                                                                        </a:lnTo>
                                                                                                        <a:lnTo>
                                                                                                          <a:pt x="56" y="218"/>
                                                                                                        </a:lnTo>
                                                                                                        <a:lnTo>
                                                                                                          <a:pt x="52" y="218"/>
                                                                                                        </a:lnTo>
                                                                                                        <a:lnTo>
                                                                                                          <a:pt x="44" y="212"/>
                                                                                                        </a:lnTo>
                                                                                                        <a:lnTo>
                                                                                                          <a:pt x="44" y="212"/>
                                                                                                        </a:lnTo>
                                                                                                        <a:lnTo>
                                                                                                          <a:pt x="40" y="210"/>
                                                                                                        </a:lnTo>
                                                                                                        <a:lnTo>
                                                                                                          <a:pt x="36" y="210"/>
                                                                                                        </a:lnTo>
                                                                                                        <a:lnTo>
                                                                                                          <a:pt x="34" y="212"/>
                                                                                                        </a:lnTo>
                                                                                                        <a:lnTo>
                                                                                                          <a:pt x="34" y="212"/>
                                                                                                        </a:lnTo>
                                                                                                        <a:lnTo>
                                                                                                          <a:pt x="32" y="214"/>
                                                                                                        </a:lnTo>
                                                                                                        <a:lnTo>
                                                                                                          <a:pt x="30" y="214"/>
                                                                                                        </a:lnTo>
                                                                                                        <a:lnTo>
                                                                                                          <a:pt x="28" y="214"/>
                                                                                                        </a:lnTo>
                                                                                                        <a:lnTo>
                                                                                                          <a:pt x="26" y="218"/>
                                                                                                        </a:lnTo>
                                                                                                        <a:lnTo>
                                                                                                          <a:pt x="26" y="218"/>
                                                                                                        </a:lnTo>
                                                                                                        <a:lnTo>
                                                                                                          <a:pt x="24" y="220"/>
                                                                                                        </a:lnTo>
                                                                                                        <a:lnTo>
                                                                                                          <a:pt x="24" y="218"/>
                                                                                                        </a:lnTo>
                                                                                                        <a:lnTo>
                                                                                                          <a:pt x="22" y="216"/>
                                                                                                        </a:lnTo>
                                                                                                        <a:lnTo>
                                                                                                          <a:pt x="16" y="216"/>
                                                                                                        </a:lnTo>
                                                                                                        <a:lnTo>
                                                                                                          <a:pt x="16" y="216"/>
                                                                                                        </a:lnTo>
                                                                                                        <a:lnTo>
                                                                                                          <a:pt x="8" y="206"/>
                                                                                                        </a:lnTo>
                                                                                                        <a:lnTo>
                                                                                                          <a:pt x="2" y="200"/>
                                                                                                        </a:lnTo>
                                                                                                        <a:lnTo>
                                                                                                          <a:pt x="0" y="198"/>
                                                                                                        </a:lnTo>
                                                                                                        <a:lnTo>
                                                                                                          <a:pt x="0" y="196"/>
                                                                                                        </a:lnTo>
                                                                                                        <a:lnTo>
                                                                                                          <a:pt x="0" y="196"/>
                                                                                                        </a:lnTo>
                                                                                                        <a:lnTo>
                                                                                                          <a:pt x="6" y="190"/>
                                                                                                        </a:lnTo>
                                                                                                        <a:lnTo>
                                                                                                          <a:pt x="8" y="188"/>
                                                                                                        </a:lnTo>
                                                                                                        <a:lnTo>
                                                                                                          <a:pt x="12" y="188"/>
                                                                                                        </a:lnTo>
                                                                                                        <a:lnTo>
                                                                                                          <a:pt x="12" y="190"/>
                                                                                                        </a:lnTo>
                                                                                                        <a:lnTo>
                                                                                                          <a:pt x="14" y="194"/>
                                                                                                        </a:lnTo>
                                                                                                        <a:lnTo>
                                                                                                          <a:pt x="14" y="194"/>
                                                                                                        </a:lnTo>
                                                                                                        <a:lnTo>
                                                                                                          <a:pt x="16" y="192"/>
                                                                                                        </a:lnTo>
                                                                                                        <a:lnTo>
                                                                                                          <a:pt x="16" y="192"/>
                                                                                                        </a:lnTo>
                                                                                                        <a:lnTo>
                                                                                                          <a:pt x="18" y="188"/>
                                                                                                        </a:lnTo>
                                                                                                        <a:lnTo>
                                                                                                          <a:pt x="18" y="182"/>
                                                                                                        </a:lnTo>
                                                                                                        <a:lnTo>
                                                                                                          <a:pt x="14" y="176"/>
                                                                                                        </a:lnTo>
                                                                                                        <a:lnTo>
                                                                                                          <a:pt x="12" y="168"/>
                                                                                                        </a:lnTo>
                                                                                                        <a:lnTo>
                                                                                                          <a:pt x="10" y="162"/>
                                                                                                        </a:lnTo>
                                                                                                        <a:lnTo>
                                                                                                          <a:pt x="10" y="162"/>
                                                                                                        </a:lnTo>
                                                                                                        <a:lnTo>
                                                                                                          <a:pt x="12" y="164"/>
                                                                                                        </a:lnTo>
                                                                                                        <a:lnTo>
                                                                                                          <a:pt x="14" y="164"/>
                                                                                                        </a:lnTo>
                                                                                                        <a:lnTo>
                                                                                                          <a:pt x="16" y="162"/>
                                                                                                        </a:lnTo>
                                                                                                        <a:lnTo>
                                                                                                          <a:pt x="16" y="162"/>
                                                                                                        </a:lnTo>
                                                                                                        <a:lnTo>
                                                                                                          <a:pt x="20" y="160"/>
                                                                                                        </a:lnTo>
                                                                                                        <a:lnTo>
                                                                                                          <a:pt x="22" y="162"/>
                                                                                                        </a:lnTo>
                                                                                                        <a:lnTo>
                                                                                                          <a:pt x="22" y="162"/>
                                                                                                        </a:lnTo>
                                                                                                        <a:lnTo>
                                                                                                          <a:pt x="24" y="162"/>
                                                                                                        </a:lnTo>
                                                                                                        <a:lnTo>
                                                                                                          <a:pt x="24" y="162"/>
                                                                                                        </a:lnTo>
                                                                                                        <a:lnTo>
                                                                                                          <a:pt x="28" y="160"/>
                                                                                                        </a:lnTo>
                                                                                                        <a:lnTo>
                                                                                                          <a:pt x="28" y="156"/>
                                                                                                        </a:lnTo>
                                                                                                        <a:lnTo>
                                                                                                          <a:pt x="26" y="150"/>
                                                                                                        </a:lnTo>
                                                                                                        <a:lnTo>
                                                                                                          <a:pt x="30" y="148"/>
                                                                                                        </a:lnTo>
                                                                                                        <a:lnTo>
                                                                                                          <a:pt x="30" y="148"/>
                                                                                                        </a:lnTo>
                                                                                                        <a:lnTo>
                                                                                                          <a:pt x="30" y="148"/>
                                                                                                        </a:lnTo>
                                                                                                        <a:lnTo>
                                                                                                          <a:pt x="32" y="150"/>
                                                                                                        </a:lnTo>
                                                                                                        <a:lnTo>
                                                                                                          <a:pt x="34" y="154"/>
                                                                                                        </a:lnTo>
                                                                                                        <a:lnTo>
                                                                                                          <a:pt x="38" y="158"/>
                                                                                                        </a:lnTo>
                                                                                                        <a:lnTo>
                                                                                                          <a:pt x="38" y="160"/>
                                                                                                        </a:lnTo>
                                                                                                        <a:lnTo>
                                                                                                          <a:pt x="40" y="160"/>
                                                                                                        </a:lnTo>
                                                                                                        <a:lnTo>
                                                                                                          <a:pt x="40" y="160"/>
                                                                                                        </a:lnTo>
                                                                                                        <a:lnTo>
                                                                                                          <a:pt x="42" y="158"/>
                                                                                                        </a:lnTo>
                                                                                                        <a:lnTo>
                                                                                                          <a:pt x="46" y="158"/>
                                                                                                        </a:lnTo>
                                                                                                        <a:lnTo>
                                                                                                          <a:pt x="50" y="158"/>
                                                                                                        </a:lnTo>
                                                                                                        <a:lnTo>
                                                                                                          <a:pt x="52" y="158"/>
                                                                                                        </a:lnTo>
                                                                                                        <a:lnTo>
                                                                                                          <a:pt x="52" y="158"/>
                                                                                                        </a:lnTo>
                                                                                                        <a:lnTo>
                                                                                                          <a:pt x="56" y="156"/>
                                                                                                        </a:lnTo>
                                                                                                        <a:lnTo>
                                                                                                          <a:pt x="58" y="158"/>
                                                                                                        </a:lnTo>
                                                                                                        <a:lnTo>
                                                                                                          <a:pt x="66" y="164"/>
                                                                                                        </a:lnTo>
                                                                                                        <a:lnTo>
                                                                                                          <a:pt x="66" y="164"/>
                                                                                                        </a:lnTo>
                                                                                                        <a:lnTo>
                                                                                                          <a:pt x="68" y="164"/>
                                                                                                        </a:lnTo>
                                                                                                        <a:lnTo>
                                                                                                          <a:pt x="70" y="162"/>
                                                                                                        </a:lnTo>
                                                                                                        <a:lnTo>
                                                                                                          <a:pt x="72" y="152"/>
                                                                                                        </a:lnTo>
                                                                                                        <a:lnTo>
                                                                                                          <a:pt x="72" y="152"/>
                                                                                                        </a:lnTo>
                                                                                                        <a:lnTo>
                                                                                                          <a:pt x="74" y="146"/>
                                                                                                        </a:lnTo>
                                                                                                        <a:lnTo>
                                                                                                          <a:pt x="78" y="144"/>
                                                                                                        </a:lnTo>
                                                                                                        <a:lnTo>
                                                                                                          <a:pt x="80" y="142"/>
                                                                                                        </a:lnTo>
                                                                                                        <a:lnTo>
                                                                                                          <a:pt x="80" y="138"/>
                                                                                                        </a:lnTo>
                                                                                                        <a:lnTo>
                                                                                                          <a:pt x="80" y="138"/>
                                                                                                        </a:lnTo>
                                                                                                        <a:lnTo>
                                                                                                          <a:pt x="78" y="134"/>
                                                                                                        </a:lnTo>
                                                                                                        <a:lnTo>
                                                                                                          <a:pt x="80" y="132"/>
                                                                                                        </a:lnTo>
                                                                                                        <a:lnTo>
                                                                                                          <a:pt x="80" y="130"/>
                                                                                                        </a:lnTo>
                                                                                                        <a:lnTo>
                                                                                                          <a:pt x="78" y="126"/>
                                                                                                        </a:lnTo>
                                                                                                        <a:lnTo>
                                                                                                          <a:pt x="78" y="126"/>
                                                                                                        </a:lnTo>
                                                                                                        <a:lnTo>
                                                                                                          <a:pt x="78" y="120"/>
                                                                                                        </a:lnTo>
                                                                                                        <a:lnTo>
                                                                                                          <a:pt x="80" y="118"/>
                                                                                                        </a:lnTo>
                                                                                                        <a:lnTo>
                                                                                                          <a:pt x="80" y="116"/>
                                                                                                        </a:lnTo>
                                                                                                        <a:lnTo>
                                                                                                          <a:pt x="78" y="114"/>
                                                                                                        </a:lnTo>
                                                                                                        <a:lnTo>
                                                                                                          <a:pt x="78" y="114"/>
                                                                                                        </a:lnTo>
                                                                                                        <a:lnTo>
                                                                                                          <a:pt x="76" y="112"/>
                                                                                                        </a:lnTo>
                                                                                                        <a:lnTo>
                                                                                                          <a:pt x="76" y="110"/>
                                                                                                        </a:lnTo>
                                                                                                        <a:lnTo>
                                                                                                          <a:pt x="74" y="108"/>
                                                                                                        </a:lnTo>
                                                                                                        <a:lnTo>
                                                                                                          <a:pt x="72" y="102"/>
                                                                                                        </a:lnTo>
                                                                                                        <a:lnTo>
                                                                                                          <a:pt x="72" y="102"/>
                                                                                                        </a:lnTo>
                                                                                                        <a:lnTo>
                                                                                                          <a:pt x="68" y="96"/>
                                                                                                        </a:lnTo>
                                                                                                        <a:lnTo>
                                                                                                          <a:pt x="72" y="98"/>
                                                                                                        </a:lnTo>
                                                                                                        <a:lnTo>
                                                                                                          <a:pt x="76" y="98"/>
                                                                                                        </a:lnTo>
                                                                                                        <a:lnTo>
                                                                                                          <a:pt x="76" y="96"/>
                                                                                                        </a:lnTo>
                                                                                                        <a:lnTo>
                                                                                                          <a:pt x="74" y="92"/>
                                                                                                        </a:lnTo>
                                                                                                        <a:lnTo>
                                                                                                          <a:pt x="74" y="92"/>
                                                                                                        </a:lnTo>
                                                                                                        <a:lnTo>
                                                                                                          <a:pt x="74" y="88"/>
                                                                                                        </a:lnTo>
                                                                                                        <a:lnTo>
                                                                                                          <a:pt x="74" y="86"/>
                                                                                                        </a:lnTo>
                                                                                                        <a:lnTo>
                                                                                                          <a:pt x="78" y="84"/>
                                                                                                        </a:lnTo>
                                                                                                        <a:lnTo>
                                                                                                          <a:pt x="82" y="82"/>
                                                                                                        </a:lnTo>
                                                                                                        <a:lnTo>
                                                                                                          <a:pt x="82" y="78"/>
                                                                                                        </a:lnTo>
                                                                                                        <a:lnTo>
                                                                                                          <a:pt x="82" y="74"/>
                                                                                                        </a:lnTo>
                                                                                                        <a:lnTo>
                                                                                                          <a:pt x="82" y="74"/>
                                                                                                        </a:lnTo>
                                                                                                        <a:lnTo>
                                                                                                          <a:pt x="82" y="70"/>
                                                                                                        </a:lnTo>
                                                                                                        <a:lnTo>
                                                                                                          <a:pt x="82" y="66"/>
                                                                                                        </a:lnTo>
                                                                                                        <a:lnTo>
                                                                                                          <a:pt x="82" y="64"/>
                                                                                                        </a:lnTo>
                                                                                                        <a:lnTo>
                                                                                                          <a:pt x="78" y="62"/>
                                                                                                        </a:lnTo>
                                                                                                        <a:lnTo>
                                                                                                          <a:pt x="78" y="62"/>
                                                                                                        </a:lnTo>
                                                                                                        <a:lnTo>
                                                                                                          <a:pt x="68" y="62"/>
                                                                                                        </a:lnTo>
                                                                                                        <a:lnTo>
                                                                                                          <a:pt x="60" y="62"/>
                                                                                                        </a:lnTo>
                                                                                                        <a:lnTo>
                                                                                                          <a:pt x="60" y="62"/>
                                                                                                        </a:lnTo>
                                                                                                        <a:lnTo>
                                                                                                          <a:pt x="58" y="62"/>
                                                                                                        </a:lnTo>
                                                                                                        <a:lnTo>
                                                                                                          <a:pt x="56" y="60"/>
                                                                                                        </a:lnTo>
                                                                                                        <a:lnTo>
                                                                                                          <a:pt x="56" y="54"/>
                                                                                                        </a:lnTo>
                                                                                                        <a:lnTo>
                                                                                                          <a:pt x="62" y="44"/>
                                                                                                        </a:lnTo>
                                                                                                        <a:lnTo>
                                                                                                          <a:pt x="62" y="44"/>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baseline="-25000" dirty="0">
                                                                                                      <a:solidFill>
                                                                                                        <a:schemeClr val="tx1"/>
                                                                                                      </a:solidFill>
                                                                                                    </a:endParaRPr>
                                                                                                  </a:p>
                                                                                                </p:txBody>
                                                                                              </p:sp>
                                                                                              <p:sp>
                                                                                                <p:nvSpPr>
                                                                                                  <p:cNvPr id="566" name="Ivory Coast (Cote D'Ivoire)"/>
                                                                                                  <p:cNvSpPr>
                                                                                                    <a:spLocks/>
                                                                                                  </p:cNvSpPr>
                                                                                                  <p:nvPr/>
                                                                                                </p:nvSpPr>
                                                                                                <p:spPr bwMode="auto">
                                                                                                  <a:xfrm>
                                                                                                    <a:off x="5514113" y="3272555"/>
                                                                                                    <a:ext cx="197447" cy="242787"/>
                                                                                                  </a:xfrm>
                                                                                                  <a:custGeom>
                                                                                                    <a:avLst/>
                                                                                                    <a:gdLst/>
                                                                                                    <a:ahLst/>
                                                                                                    <a:cxnLst>
                                                                                                      <a:cxn ang="0">
                                                                                                        <a:pos x="112" y="140"/>
                                                                                                      </a:cxn>
                                                                                                      <a:cxn ang="0">
                                                                                                        <a:pos x="104" y="136"/>
                                                                                                      </a:cxn>
                                                                                                      <a:cxn ang="0">
                                                                                                        <a:pos x="94" y="136"/>
                                                                                                      </a:cxn>
                                                                                                      <a:cxn ang="0">
                                                                                                        <a:pos x="98" y="138"/>
                                                                                                      </a:cxn>
                                                                                                      <a:cxn ang="0">
                                                                                                        <a:pos x="108" y="140"/>
                                                                                                      </a:cxn>
                                                                                                      <a:cxn ang="0">
                                                                                                        <a:pos x="86" y="142"/>
                                                                                                      </a:cxn>
                                                                                                      <a:cxn ang="0">
                                                                                                        <a:pos x="60" y="146"/>
                                                                                                      </a:cxn>
                                                                                                      <a:cxn ang="0">
                                                                                                        <a:pos x="52" y="144"/>
                                                                                                      </a:cxn>
                                                                                                      <a:cxn ang="0">
                                                                                                        <a:pos x="48" y="148"/>
                                                                                                      </a:cxn>
                                                                                                      <a:cxn ang="0">
                                                                                                        <a:pos x="24" y="160"/>
                                                                                                      </a:cxn>
                                                                                                      <a:cxn ang="0">
                                                                                                        <a:pos x="16" y="160"/>
                                                                                                      </a:cxn>
                                                                                                      <a:cxn ang="0">
                                                                                                        <a:pos x="16" y="156"/>
                                                                                                      </a:cxn>
                                                                                                      <a:cxn ang="0">
                                                                                                        <a:pos x="18" y="138"/>
                                                                                                      </a:cxn>
                                                                                                      <a:cxn ang="0">
                                                                                                        <a:pos x="24" y="134"/>
                                                                                                      </a:cxn>
                                                                                                      <a:cxn ang="0">
                                                                                                        <a:pos x="22" y="126"/>
                                                                                                      </a:cxn>
                                                                                                      <a:cxn ang="0">
                                                                                                        <a:pos x="16" y="120"/>
                                                                                                      </a:cxn>
                                                                                                      <a:cxn ang="0">
                                                                                                        <a:pos x="8" y="114"/>
                                                                                                      </a:cxn>
                                                                                                      <a:cxn ang="0">
                                                                                                        <a:pos x="4" y="114"/>
                                                                                                      </a:cxn>
                                                                                                      <a:cxn ang="0">
                                                                                                        <a:pos x="0" y="106"/>
                                                                                                      </a:cxn>
                                                                                                      <a:cxn ang="0">
                                                                                                        <a:pos x="2" y="96"/>
                                                                                                      </a:cxn>
                                                                                                      <a:cxn ang="0">
                                                                                                        <a:pos x="2" y="88"/>
                                                                                                      </a:cxn>
                                                                                                      <a:cxn ang="0">
                                                                                                        <a:pos x="4" y="80"/>
                                                                                                      </a:cxn>
                                                                                                      <a:cxn ang="0">
                                                                                                        <a:pos x="8" y="72"/>
                                                                                                      </a:cxn>
                                                                                                      <a:cxn ang="0">
                                                                                                        <a:pos x="8" y="68"/>
                                                                                                      </a:cxn>
                                                                                                      <a:cxn ang="0">
                                                                                                        <a:pos x="4" y="64"/>
                                                                                                      </a:cxn>
                                                                                                      <a:cxn ang="0">
                                                                                                        <a:pos x="10" y="58"/>
                                                                                                      </a:cxn>
                                                                                                      <a:cxn ang="0">
                                                                                                        <a:pos x="16" y="56"/>
                                                                                                      </a:cxn>
                                                                                                      <a:cxn ang="0">
                                                                                                        <a:pos x="16" y="50"/>
                                                                                                      </a:cxn>
                                                                                                      <a:cxn ang="0">
                                                                                                        <a:pos x="16" y="44"/>
                                                                                                      </a:cxn>
                                                                                                      <a:cxn ang="0">
                                                                                                        <a:pos x="16" y="34"/>
                                                                                                      </a:cxn>
                                                                                                      <a:cxn ang="0">
                                                                                                        <a:pos x="14" y="30"/>
                                                                                                      </a:cxn>
                                                                                                      <a:cxn ang="0">
                                                                                                        <a:pos x="10" y="28"/>
                                                                                                      </a:cxn>
                                                                                                      <a:cxn ang="0">
                                                                                                        <a:pos x="6" y="26"/>
                                                                                                      </a:cxn>
                                                                                                      <a:cxn ang="0">
                                                                                                        <a:pos x="6" y="20"/>
                                                                                                      </a:cxn>
                                                                                                      <a:cxn ang="0">
                                                                                                        <a:pos x="14" y="10"/>
                                                                                                      </a:cxn>
                                                                                                      <a:cxn ang="0">
                                                                                                        <a:pos x="20" y="4"/>
                                                                                                      </a:cxn>
                                                                                                      <a:cxn ang="0">
                                                                                                        <a:pos x="28" y="10"/>
                                                                                                      </a:cxn>
                                                                                                      <a:cxn ang="0">
                                                                                                        <a:pos x="34" y="6"/>
                                                                                                      </a:cxn>
                                                                                                      <a:cxn ang="0">
                                                                                                        <a:pos x="42" y="2"/>
                                                                                                      </a:cxn>
                                                                                                      <a:cxn ang="0">
                                                                                                        <a:pos x="50" y="6"/>
                                                                                                      </a:cxn>
                                                                                                      <a:cxn ang="0">
                                                                                                        <a:pos x="56" y="2"/>
                                                                                                      </a:cxn>
                                                                                                      <a:cxn ang="0">
                                                                                                        <a:pos x="66" y="6"/>
                                                                                                      </a:cxn>
                                                                                                      <a:cxn ang="0">
                                                                                                        <a:pos x="74" y="18"/>
                                                                                                      </a:cxn>
                                                                                                      <a:cxn ang="0">
                                                                                                        <a:pos x="84" y="22"/>
                                                                                                      </a:cxn>
                                                                                                      <a:cxn ang="0">
                                                                                                        <a:pos x="100" y="20"/>
                                                                                                      </a:cxn>
                                                                                                      <a:cxn ang="0">
                                                                                                        <a:pos x="110" y="20"/>
                                                                                                      </a:cxn>
                                                                                                      <a:cxn ang="0">
                                                                                                        <a:pos x="114" y="20"/>
                                                                                                      </a:cxn>
                                                                                                      <a:cxn ang="0">
                                                                                                        <a:pos x="122" y="26"/>
                                                                                                      </a:cxn>
                                                                                                      <a:cxn ang="0">
                                                                                                        <a:pos x="126" y="34"/>
                                                                                                      </a:cxn>
                                                                                                      <a:cxn ang="0">
                                                                                                        <a:pos x="128" y="46"/>
                                                                                                      </a:cxn>
                                                                                                      <a:cxn ang="0">
                                                                                                        <a:pos x="124" y="72"/>
                                                                                                      </a:cxn>
                                                                                                      <a:cxn ang="0">
                                                                                                        <a:pos x="120" y="86"/>
                                                                                                      </a:cxn>
                                                                                                      <a:cxn ang="0">
                                                                                                        <a:pos x="118" y="98"/>
                                                                                                      </a:cxn>
                                                                                                      <a:cxn ang="0">
                                                                                                        <a:pos x="116" y="116"/>
                                                                                                      </a:cxn>
                                                                                                      <a:cxn ang="0">
                                                                                                        <a:pos x="120" y="128"/>
                                                                                                      </a:cxn>
                                                                                                      <a:cxn ang="0">
                                                                                                        <a:pos x="124" y="134"/>
                                                                                                      </a:cxn>
                                                                                                      <a:cxn ang="0">
                                                                                                        <a:pos x="122" y="138"/>
                                                                                                      </a:cxn>
                                                                                                    </a:cxnLst>
                                                                                                    <a:rect l="0" t="0" r="r" b="b"/>
                                                                                                    <a:pathLst>
                                                                                                      <a:path w="130" h="160">
                                                                                                        <a:moveTo>
                                                                                                          <a:pt x="120" y="140"/>
                                                                                                        </a:moveTo>
                                                                                                        <a:lnTo>
                                                                                                          <a:pt x="120" y="140"/>
                                                                                                        </a:lnTo>
                                                                                                        <a:lnTo>
                                                                                                          <a:pt x="112" y="140"/>
                                                                                                        </a:lnTo>
                                                                                                        <a:lnTo>
                                                                                                          <a:pt x="110" y="138"/>
                                                                                                        </a:lnTo>
                                                                                                        <a:lnTo>
                                                                                                          <a:pt x="108" y="136"/>
                                                                                                        </a:lnTo>
                                                                                                        <a:lnTo>
                                                                                                          <a:pt x="104" y="136"/>
                                                                                                        </a:lnTo>
                                                                                                        <a:lnTo>
                                                                                                          <a:pt x="104" y="136"/>
                                                                                                        </a:lnTo>
                                                                                                        <a:lnTo>
                                                                                                          <a:pt x="98" y="136"/>
                                                                                                        </a:lnTo>
                                                                                                        <a:lnTo>
                                                                                                          <a:pt x="94" y="136"/>
                                                                                                        </a:lnTo>
                                                                                                        <a:lnTo>
                                                                                                          <a:pt x="94" y="136"/>
                                                                                                        </a:lnTo>
                                                                                                        <a:lnTo>
                                                                                                          <a:pt x="94" y="136"/>
                                                                                                        </a:lnTo>
                                                                                                        <a:lnTo>
                                                                                                          <a:pt x="98" y="138"/>
                                                                                                        </a:lnTo>
                                                                                                        <a:lnTo>
                                                                                                          <a:pt x="102" y="138"/>
                                                                                                        </a:lnTo>
                                                                                                        <a:lnTo>
                                                                                                          <a:pt x="104" y="138"/>
                                                                                                        </a:lnTo>
                                                                                                        <a:lnTo>
                                                                                                          <a:pt x="108" y="140"/>
                                                                                                        </a:lnTo>
                                                                                                        <a:lnTo>
                                                                                                          <a:pt x="108" y="140"/>
                                                                                                        </a:lnTo>
                                                                                                        <a:lnTo>
                                                                                                          <a:pt x="100" y="140"/>
                                                                                                        </a:lnTo>
                                                                                                        <a:lnTo>
                                                                                                          <a:pt x="86" y="142"/>
                                                                                                        </a:lnTo>
                                                                                                        <a:lnTo>
                                                                                                          <a:pt x="86" y="142"/>
                                                                                                        </a:lnTo>
                                                                                                        <a:lnTo>
                                                                                                          <a:pt x="70" y="144"/>
                                                                                                        </a:lnTo>
                                                                                                        <a:lnTo>
                                                                                                          <a:pt x="60" y="146"/>
                                                                                                        </a:lnTo>
                                                                                                        <a:lnTo>
                                                                                                          <a:pt x="56" y="148"/>
                                                                                                        </a:lnTo>
                                                                                                        <a:lnTo>
                                                                                                          <a:pt x="54" y="146"/>
                                                                                                        </a:lnTo>
                                                                                                        <a:lnTo>
                                                                                                          <a:pt x="52" y="144"/>
                                                                                                        </a:lnTo>
                                                                                                        <a:lnTo>
                                                                                                          <a:pt x="48" y="140"/>
                                                                                                        </a:lnTo>
                                                                                                        <a:lnTo>
                                                                                                          <a:pt x="48" y="140"/>
                                                                                                        </a:lnTo>
                                                                                                        <a:lnTo>
                                                                                                          <a:pt x="48" y="148"/>
                                                                                                        </a:lnTo>
                                                                                                        <a:lnTo>
                                                                                                          <a:pt x="42" y="152"/>
                                                                                                        </a:lnTo>
                                                                                                        <a:lnTo>
                                                                                                          <a:pt x="34" y="156"/>
                                                                                                        </a:lnTo>
                                                                                                        <a:lnTo>
                                                                                                          <a:pt x="24" y="160"/>
                                                                                                        </a:lnTo>
                                                                                                        <a:lnTo>
                                                                                                          <a:pt x="24" y="160"/>
                                                                                                        </a:lnTo>
                                                                                                        <a:lnTo>
                                                                                                          <a:pt x="18" y="160"/>
                                                                                                        </a:lnTo>
                                                                                                        <a:lnTo>
                                                                                                          <a:pt x="16" y="160"/>
                                                                                                        </a:lnTo>
                                                                                                        <a:lnTo>
                                                                                                          <a:pt x="14" y="158"/>
                                                                                                        </a:lnTo>
                                                                                                        <a:lnTo>
                                                                                                          <a:pt x="16" y="156"/>
                                                                                                        </a:lnTo>
                                                                                                        <a:lnTo>
                                                                                                          <a:pt x="16" y="156"/>
                                                                                                        </a:lnTo>
                                                                                                        <a:lnTo>
                                                                                                          <a:pt x="16" y="148"/>
                                                                                                        </a:lnTo>
                                                                                                        <a:lnTo>
                                                                                                          <a:pt x="16" y="142"/>
                                                                                                        </a:lnTo>
                                                                                                        <a:lnTo>
                                                                                                          <a:pt x="18" y="138"/>
                                                                                                        </a:lnTo>
                                                                                                        <a:lnTo>
                                                                                                          <a:pt x="20" y="138"/>
                                                                                                        </a:lnTo>
                                                                                                        <a:lnTo>
                                                                                                          <a:pt x="24" y="136"/>
                                                                                                        </a:lnTo>
                                                                                                        <a:lnTo>
                                                                                                          <a:pt x="24" y="134"/>
                                                                                                        </a:lnTo>
                                                                                                        <a:lnTo>
                                                                                                          <a:pt x="22" y="130"/>
                                                                                                        </a:lnTo>
                                                                                                        <a:lnTo>
                                                                                                          <a:pt x="22" y="130"/>
                                                                                                        </a:lnTo>
                                                                                                        <a:lnTo>
                                                                                                          <a:pt x="22" y="126"/>
                                                                                                        </a:lnTo>
                                                                                                        <a:lnTo>
                                                                                                          <a:pt x="22" y="122"/>
                                                                                                        </a:lnTo>
                                                                                                        <a:lnTo>
                                                                                                          <a:pt x="22" y="122"/>
                                                                                                        </a:lnTo>
                                                                                                        <a:lnTo>
                                                                                                          <a:pt x="16" y="120"/>
                                                                                                        </a:lnTo>
                                                                                                        <a:lnTo>
                                                                                                          <a:pt x="16" y="120"/>
                                                                                                        </a:lnTo>
                                                                                                        <a:lnTo>
                                                                                                          <a:pt x="10" y="116"/>
                                                                                                        </a:lnTo>
                                                                                                        <a:lnTo>
                                                                                                          <a:pt x="8" y="114"/>
                                                                                                        </a:lnTo>
                                                                                                        <a:lnTo>
                                                                                                          <a:pt x="8" y="114"/>
                                                                                                        </a:lnTo>
                                                                                                        <a:lnTo>
                                                                                                          <a:pt x="4" y="114"/>
                                                                                                        </a:lnTo>
                                                                                                        <a:lnTo>
                                                                                                          <a:pt x="4" y="114"/>
                                                                                                        </a:lnTo>
                                                                                                        <a:lnTo>
                                                                                                          <a:pt x="2" y="112"/>
                                                                                                        </a:lnTo>
                                                                                                        <a:lnTo>
                                                                                                          <a:pt x="0" y="112"/>
                                                                                                        </a:lnTo>
                                                                                                        <a:lnTo>
                                                                                                          <a:pt x="0" y="106"/>
                                                                                                        </a:lnTo>
                                                                                                        <a:lnTo>
                                                                                                          <a:pt x="2" y="100"/>
                                                                                                        </a:lnTo>
                                                                                                        <a:lnTo>
                                                                                                          <a:pt x="2" y="96"/>
                                                                                                        </a:lnTo>
                                                                                                        <a:lnTo>
                                                                                                          <a:pt x="2" y="96"/>
                                                                                                        </a:lnTo>
                                                                                                        <a:lnTo>
                                                                                                          <a:pt x="2" y="94"/>
                                                                                                        </a:lnTo>
                                                                                                        <a:lnTo>
                                                                                                          <a:pt x="2" y="90"/>
                                                                                                        </a:lnTo>
                                                                                                        <a:lnTo>
                                                                                                          <a:pt x="2" y="88"/>
                                                                                                        </a:lnTo>
                                                                                                        <a:lnTo>
                                                                                                          <a:pt x="0" y="82"/>
                                                                                                        </a:lnTo>
                                                                                                        <a:lnTo>
                                                                                                          <a:pt x="0" y="82"/>
                                                                                                        </a:lnTo>
                                                                                                        <a:lnTo>
                                                                                                          <a:pt x="4" y="80"/>
                                                                                                        </a:lnTo>
                                                                                                        <a:lnTo>
                                                                                                          <a:pt x="4" y="78"/>
                                                                                                        </a:lnTo>
                                                                                                        <a:lnTo>
                                                                                                          <a:pt x="4" y="76"/>
                                                                                                        </a:lnTo>
                                                                                                        <a:lnTo>
                                                                                                          <a:pt x="8" y="72"/>
                                                                                                        </a:lnTo>
                                                                                                        <a:lnTo>
                                                                                                          <a:pt x="8" y="72"/>
                                                                                                        </a:lnTo>
                                                                                                        <a:lnTo>
                                                                                                          <a:pt x="10" y="70"/>
                                                                                                        </a:lnTo>
                                                                                                        <a:lnTo>
                                                                                                          <a:pt x="8" y="68"/>
                                                                                                        </a:lnTo>
                                                                                                        <a:lnTo>
                                                                                                          <a:pt x="6" y="68"/>
                                                                                                        </a:lnTo>
                                                                                                        <a:lnTo>
                                                                                                          <a:pt x="4" y="64"/>
                                                                                                        </a:lnTo>
                                                                                                        <a:lnTo>
                                                                                                          <a:pt x="4" y="64"/>
                                                                                                        </a:lnTo>
                                                                                                        <a:lnTo>
                                                                                                          <a:pt x="4" y="62"/>
                                                                                                        </a:lnTo>
                                                                                                        <a:lnTo>
                                                                                                          <a:pt x="6" y="60"/>
                                                                                                        </a:lnTo>
                                                                                                        <a:lnTo>
                                                                                                          <a:pt x="10" y="58"/>
                                                                                                        </a:lnTo>
                                                                                                        <a:lnTo>
                                                                                                          <a:pt x="16" y="60"/>
                                                                                                        </a:lnTo>
                                                                                                        <a:lnTo>
                                                                                                          <a:pt x="16" y="58"/>
                                                                                                        </a:lnTo>
                                                                                                        <a:lnTo>
                                                                                                          <a:pt x="16" y="56"/>
                                                                                                        </a:lnTo>
                                                                                                        <a:lnTo>
                                                                                                          <a:pt x="16" y="56"/>
                                                                                                        </a:lnTo>
                                                                                                        <a:lnTo>
                                                                                                          <a:pt x="14" y="52"/>
                                                                                                        </a:lnTo>
                                                                                                        <a:lnTo>
                                                                                                          <a:pt x="16" y="50"/>
                                                                                                        </a:lnTo>
                                                                                                        <a:lnTo>
                                                                                                          <a:pt x="16" y="46"/>
                                                                                                        </a:lnTo>
                                                                                                        <a:lnTo>
                                                                                                          <a:pt x="16" y="44"/>
                                                                                                        </a:lnTo>
                                                                                                        <a:lnTo>
                                                                                                          <a:pt x="16" y="44"/>
                                                                                                        </a:lnTo>
                                                                                                        <a:lnTo>
                                                                                                          <a:pt x="14" y="40"/>
                                                                                                        </a:lnTo>
                                                                                                        <a:lnTo>
                                                                                                          <a:pt x="16" y="36"/>
                                                                                                        </a:lnTo>
                                                                                                        <a:lnTo>
                                                                                                          <a:pt x="16" y="34"/>
                                                                                                        </a:lnTo>
                                                                                                        <a:lnTo>
                                                                                                          <a:pt x="16" y="32"/>
                                                                                                        </a:lnTo>
                                                                                                        <a:lnTo>
                                                                                                          <a:pt x="16" y="32"/>
                                                                                                        </a:lnTo>
                                                                                                        <a:lnTo>
                                                                                                          <a:pt x="14" y="30"/>
                                                                                                        </a:lnTo>
                                                                                                        <a:lnTo>
                                                                                                          <a:pt x="12" y="30"/>
                                                                                                        </a:lnTo>
                                                                                                        <a:lnTo>
                                                                                                          <a:pt x="12" y="32"/>
                                                                                                        </a:lnTo>
                                                                                                        <a:lnTo>
                                                                                                          <a:pt x="10" y="28"/>
                                                                                                        </a:lnTo>
                                                                                                        <a:lnTo>
                                                                                                          <a:pt x="10" y="28"/>
                                                                                                        </a:lnTo>
                                                                                                        <a:lnTo>
                                                                                                          <a:pt x="8" y="26"/>
                                                                                                        </a:lnTo>
                                                                                                        <a:lnTo>
                                                                                                          <a:pt x="6" y="26"/>
                                                                                                        </a:lnTo>
                                                                                                        <a:lnTo>
                                                                                                          <a:pt x="6" y="26"/>
                                                                                                        </a:lnTo>
                                                                                                        <a:lnTo>
                                                                                                          <a:pt x="6" y="20"/>
                                                                                                        </a:lnTo>
                                                                                                        <a:lnTo>
                                                                                                          <a:pt x="6" y="20"/>
                                                                                                        </a:lnTo>
                                                                                                        <a:lnTo>
                                                                                                          <a:pt x="10" y="14"/>
                                                                                                        </a:lnTo>
                                                                                                        <a:lnTo>
                                                                                                          <a:pt x="12" y="10"/>
                                                                                                        </a:lnTo>
                                                                                                        <a:lnTo>
                                                                                                          <a:pt x="14" y="10"/>
                                                                                                        </a:lnTo>
                                                                                                        <a:lnTo>
                                                                                                          <a:pt x="14" y="10"/>
                                                                                                        </a:lnTo>
                                                                                                        <a:lnTo>
                                                                                                          <a:pt x="18" y="6"/>
                                                                                                        </a:lnTo>
                                                                                                        <a:lnTo>
                                                                                                          <a:pt x="20" y="4"/>
                                                                                                        </a:lnTo>
                                                                                                        <a:lnTo>
                                                                                                          <a:pt x="24" y="6"/>
                                                                                                        </a:lnTo>
                                                                                                        <a:lnTo>
                                                                                                          <a:pt x="24" y="6"/>
                                                                                                        </a:lnTo>
                                                                                                        <a:lnTo>
                                                                                                          <a:pt x="28" y="10"/>
                                                                                                        </a:lnTo>
                                                                                                        <a:lnTo>
                                                                                                          <a:pt x="30" y="8"/>
                                                                                                        </a:lnTo>
                                                                                                        <a:lnTo>
                                                                                                          <a:pt x="34" y="6"/>
                                                                                                        </a:lnTo>
                                                                                                        <a:lnTo>
                                                                                                          <a:pt x="34" y="6"/>
                                                                                                        </a:lnTo>
                                                                                                        <a:lnTo>
                                                                                                          <a:pt x="36" y="2"/>
                                                                                                        </a:lnTo>
                                                                                                        <a:lnTo>
                                                                                                          <a:pt x="40" y="0"/>
                                                                                                        </a:lnTo>
                                                                                                        <a:lnTo>
                                                                                                          <a:pt x="42" y="2"/>
                                                                                                        </a:lnTo>
                                                                                                        <a:lnTo>
                                                                                                          <a:pt x="44" y="2"/>
                                                                                                        </a:lnTo>
                                                                                                        <a:lnTo>
                                                                                                          <a:pt x="48" y="6"/>
                                                                                                        </a:lnTo>
                                                                                                        <a:lnTo>
                                                                                                          <a:pt x="50" y="6"/>
                                                                                                        </a:lnTo>
                                                                                                        <a:lnTo>
                                                                                                          <a:pt x="52" y="4"/>
                                                                                                        </a:lnTo>
                                                                                                        <a:lnTo>
                                                                                                          <a:pt x="52" y="4"/>
                                                                                                        </a:lnTo>
                                                                                                        <a:lnTo>
                                                                                                          <a:pt x="56" y="2"/>
                                                                                                        </a:lnTo>
                                                                                                        <a:lnTo>
                                                                                                          <a:pt x="60" y="4"/>
                                                                                                        </a:lnTo>
                                                                                                        <a:lnTo>
                                                                                                          <a:pt x="66" y="6"/>
                                                                                                        </a:lnTo>
                                                                                                        <a:lnTo>
                                                                                                          <a:pt x="66" y="6"/>
                                                                                                        </a:lnTo>
                                                                                                        <a:lnTo>
                                                                                                          <a:pt x="72" y="10"/>
                                                                                                        </a:lnTo>
                                                                                                        <a:lnTo>
                                                                                                          <a:pt x="74" y="14"/>
                                                                                                        </a:lnTo>
                                                                                                        <a:lnTo>
                                                                                                          <a:pt x="74" y="18"/>
                                                                                                        </a:lnTo>
                                                                                                        <a:lnTo>
                                                                                                          <a:pt x="78" y="22"/>
                                                                                                        </a:lnTo>
                                                                                                        <a:lnTo>
                                                                                                          <a:pt x="78" y="22"/>
                                                                                                        </a:lnTo>
                                                                                                        <a:lnTo>
                                                                                                          <a:pt x="84" y="22"/>
                                                                                                        </a:lnTo>
                                                                                                        <a:lnTo>
                                                                                                          <a:pt x="96" y="20"/>
                                                                                                        </a:lnTo>
                                                                                                        <a:lnTo>
                                                                                                          <a:pt x="96" y="20"/>
                                                                                                        </a:lnTo>
                                                                                                        <a:lnTo>
                                                                                                          <a:pt x="100" y="20"/>
                                                                                                        </a:lnTo>
                                                                                                        <a:lnTo>
                                                                                                          <a:pt x="104" y="20"/>
                                                                                                        </a:lnTo>
                                                                                                        <a:lnTo>
                                                                                                          <a:pt x="108" y="22"/>
                                                                                                        </a:lnTo>
                                                                                                        <a:lnTo>
                                                                                                          <a:pt x="110" y="20"/>
                                                                                                        </a:lnTo>
                                                                                                        <a:lnTo>
                                                                                                          <a:pt x="110" y="20"/>
                                                                                                        </a:lnTo>
                                                                                                        <a:lnTo>
                                                                                                          <a:pt x="112" y="20"/>
                                                                                                        </a:lnTo>
                                                                                                        <a:lnTo>
                                                                                                          <a:pt x="114" y="20"/>
                                                                                                        </a:lnTo>
                                                                                                        <a:lnTo>
                                                                                                          <a:pt x="118" y="24"/>
                                                                                                        </a:lnTo>
                                                                                                        <a:lnTo>
                                                                                                          <a:pt x="122" y="26"/>
                                                                                                        </a:lnTo>
                                                                                                        <a:lnTo>
                                                                                                          <a:pt x="122" y="26"/>
                                                                                                        </a:lnTo>
                                                                                                        <a:lnTo>
                                                                                                          <a:pt x="126" y="30"/>
                                                                                                        </a:lnTo>
                                                                                                        <a:lnTo>
                                                                                                          <a:pt x="126" y="32"/>
                                                                                                        </a:lnTo>
                                                                                                        <a:lnTo>
                                                                                                          <a:pt x="126" y="34"/>
                                                                                                        </a:lnTo>
                                                                                                        <a:lnTo>
                                                                                                          <a:pt x="126" y="40"/>
                                                                                                        </a:lnTo>
                                                                                                        <a:lnTo>
                                                                                                          <a:pt x="126" y="40"/>
                                                                                                        </a:lnTo>
                                                                                                        <a:lnTo>
                                                                                                          <a:pt x="128" y="46"/>
                                                                                                        </a:lnTo>
                                                                                                        <a:lnTo>
                                                                                                          <a:pt x="130" y="54"/>
                                                                                                        </a:lnTo>
                                                                                                        <a:lnTo>
                                                                                                          <a:pt x="128" y="62"/>
                                                                                                        </a:lnTo>
                                                                                                        <a:lnTo>
                                                                                                          <a:pt x="124" y="72"/>
                                                                                                        </a:lnTo>
                                                                                                        <a:lnTo>
                                                                                                          <a:pt x="124" y="72"/>
                                                                                                        </a:lnTo>
                                                                                                        <a:lnTo>
                                                                                                          <a:pt x="122" y="80"/>
                                                                                                        </a:lnTo>
                                                                                                        <a:lnTo>
                                                                                                          <a:pt x="120" y="86"/>
                                                                                                        </a:lnTo>
                                                                                                        <a:lnTo>
                                                                                                          <a:pt x="120" y="90"/>
                                                                                                        </a:lnTo>
                                                                                                        <a:lnTo>
                                                                                                          <a:pt x="118" y="98"/>
                                                                                                        </a:lnTo>
                                                                                                        <a:lnTo>
                                                                                                          <a:pt x="118" y="98"/>
                                                                                                        </a:lnTo>
                                                                                                        <a:lnTo>
                                                                                                          <a:pt x="114" y="104"/>
                                                                                                        </a:lnTo>
                                                                                                        <a:lnTo>
                                                                                                          <a:pt x="114" y="110"/>
                                                                                                        </a:lnTo>
                                                                                                        <a:lnTo>
                                                                                                          <a:pt x="116" y="116"/>
                                                                                                        </a:lnTo>
                                                                                                        <a:lnTo>
                                                                                                          <a:pt x="118" y="122"/>
                                                                                                        </a:lnTo>
                                                                                                        <a:lnTo>
                                                                                                          <a:pt x="118" y="122"/>
                                                                                                        </a:lnTo>
                                                                                                        <a:lnTo>
                                                                                                          <a:pt x="120" y="128"/>
                                                                                                        </a:lnTo>
                                                                                                        <a:lnTo>
                                                                                                          <a:pt x="122" y="130"/>
                                                                                                        </a:lnTo>
                                                                                                        <a:lnTo>
                                                                                                          <a:pt x="124" y="130"/>
                                                                                                        </a:lnTo>
                                                                                                        <a:lnTo>
                                                                                                          <a:pt x="124" y="134"/>
                                                                                                        </a:lnTo>
                                                                                                        <a:lnTo>
                                                                                                          <a:pt x="124" y="134"/>
                                                                                                        </a:lnTo>
                                                                                                        <a:lnTo>
                                                                                                          <a:pt x="124" y="136"/>
                                                                                                        </a:lnTo>
                                                                                                        <a:lnTo>
                                                                                                          <a:pt x="122" y="138"/>
                                                                                                        </a:lnTo>
                                                                                                        <a:lnTo>
                                                                                                          <a:pt x="120" y="140"/>
                                                                                                        </a:lnTo>
                                                                                                        <a:lnTo>
                                                                                                          <a:pt x="120" y="140"/>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baseline="-25000" dirty="0">
                                                                                                      <a:solidFill>
                                                                                                        <a:schemeClr val="tx1"/>
                                                                                                      </a:solidFill>
                                                                                                    </a:endParaRPr>
                                                                                                  </a:p>
                                                                                                </p:txBody>
                                                                                              </p:sp>
                                                                                              <p:sp>
                                                                                                <p:nvSpPr>
                                                                                                  <p:cNvPr id="574" name="Eritrea"/>
                                                                                                  <p:cNvSpPr>
                                                                                                    <a:spLocks/>
                                                                                                  </p:cNvSpPr>
                                                                                                  <p:nvPr/>
                                                                                                </p:nvSpPr>
                                                                                                <p:spPr bwMode="auto">
                                                                                                  <a:xfrm>
                                                                                                    <a:off x="6939549" y="2978176"/>
                                                                                                    <a:ext cx="243012" cy="234798"/>
                                                                                                  </a:xfrm>
                                                                                                  <a:custGeom>
                                                                                                    <a:avLst/>
                                                                                                    <a:gdLst/>
                                                                                                    <a:ahLst/>
                                                                                                    <a:cxnLst/>
                                                                                                    <a:rect l="l" t="t" r="r" b="b"/>
                                                                                                    <a:pathLst>
                                                                                                      <a:path w="243012" h="234798">
                                                                                                        <a:moveTo>
                                                                                                          <a:pt x="238480" y="223855"/>
                                                                                                        </a:moveTo>
                                                                                                        <a:lnTo>
                                                                                                          <a:pt x="243012" y="230648"/>
                                                                                                        </a:lnTo>
                                                                                                        <a:lnTo>
                                                                                                          <a:pt x="243012" y="234798"/>
                                                                                                        </a:lnTo>
                                                                                                        <a:close/>
                                                                                                        <a:moveTo>
                                                                                                          <a:pt x="60753" y="0"/>
                                                                                                        </a:moveTo>
                                                                                                        <a:lnTo>
                                                                                                          <a:pt x="85054" y="36418"/>
                                                                                                        </a:lnTo>
                                                                                                        <a:lnTo>
                                                                                                          <a:pt x="91130" y="51592"/>
                                                                                                        </a:lnTo>
                                                                                                        <a:lnTo>
                                                                                                          <a:pt x="97205" y="75871"/>
                                                                                                        </a:lnTo>
                                                                                                        <a:lnTo>
                                                                                                          <a:pt x="103280" y="97115"/>
                                                                                                        </a:lnTo>
                                                                                                        <a:lnTo>
                                                                                                          <a:pt x="109356" y="109254"/>
                                                                                                        </a:lnTo>
                                                                                                        <a:lnTo>
                                                                                                          <a:pt x="112393" y="109254"/>
                                                                                                        </a:lnTo>
                                                                                                        <a:lnTo>
                                                                                                          <a:pt x="115431" y="109254"/>
                                                                                                        </a:lnTo>
                                                                                                        <a:lnTo>
                                                                                                          <a:pt x="118469" y="106219"/>
                                                                                                        </a:lnTo>
                                                                                                        <a:lnTo>
                                                                                                          <a:pt x="121506" y="112289"/>
                                                                                                        </a:lnTo>
                                                                                                        <a:lnTo>
                                                                                                          <a:pt x="127582" y="118359"/>
                                                                                                        </a:lnTo>
                                                                                                        <a:lnTo>
                                                                                                          <a:pt x="130619" y="121394"/>
                                                                                                        </a:lnTo>
                                                                                                        <a:lnTo>
                                                                                                          <a:pt x="136694" y="124428"/>
                                                                                                        </a:lnTo>
                                                                                                        <a:lnTo>
                                                                                                          <a:pt x="142770" y="127463"/>
                                                                                                        </a:lnTo>
                                                                                                        <a:lnTo>
                                                                                                          <a:pt x="148845" y="130498"/>
                                                                                                        </a:lnTo>
                                                                                                        <a:lnTo>
                                                                                                          <a:pt x="151883" y="133533"/>
                                                                                                        </a:lnTo>
                                                                                                        <a:lnTo>
                                                                                                          <a:pt x="157958" y="133533"/>
                                                                                                        </a:lnTo>
                                                                                                        <a:lnTo>
                                                                                                          <a:pt x="160996" y="136568"/>
                                                                                                        </a:lnTo>
                                                                                                        <a:lnTo>
                                                                                                          <a:pt x="167071" y="139603"/>
                                                                                                        </a:lnTo>
                                                                                                        <a:lnTo>
                                                                                                          <a:pt x="176184" y="151742"/>
                                                                                                        </a:lnTo>
                                                                                                        <a:lnTo>
                                                                                                          <a:pt x="185297" y="163881"/>
                                                                                                        </a:lnTo>
                                                                                                        <a:lnTo>
                                                                                                          <a:pt x="197447" y="176021"/>
                                                                                                        </a:lnTo>
                                                                                                        <a:lnTo>
                                                                                                          <a:pt x="206560" y="185125"/>
                                                                                                        </a:lnTo>
                                                                                                        <a:lnTo>
                                                                                                          <a:pt x="209598" y="194230"/>
                                                                                                        </a:lnTo>
                                                                                                        <a:lnTo>
                                                                                                          <a:pt x="209598" y="197264"/>
                                                                                                        </a:lnTo>
                                                                                                        <a:lnTo>
                                                                                                          <a:pt x="212636" y="200299"/>
                                                                                                        </a:lnTo>
                                                                                                        <a:lnTo>
                                                                                                          <a:pt x="218711" y="200299"/>
                                                                                                        </a:lnTo>
                                                                                                        <a:lnTo>
                                                                                                          <a:pt x="218711" y="203334"/>
                                                                                                        </a:lnTo>
                                                                                                        <a:lnTo>
                                                                                                          <a:pt x="227824" y="215473"/>
                                                                                                        </a:lnTo>
                                                                                                        <a:lnTo>
                                                                                                          <a:pt x="231091" y="217649"/>
                                                                                                        </a:lnTo>
                                                                                                        <a:lnTo>
                                                                                                          <a:pt x="210412" y="209084"/>
                                                                                                        </a:lnTo>
                                                                                                        <a:cubicBezTo>
                                                                                                          <a:pt x="207930" y="209084"/>
                                                                                                          <a:pt x="205505" y="209325"/>
                                                                                                          <a:pt x="203576" y="211916"/>
                                                                                                        </a:cubicBezTo>
                                                                                                        <a:lnTo>
                                                                                                          <a:pt x="194410" y="197264"/>
                                                                                                        </a:lnTo>
                                                                                                        <a:lnTo>
                                                                                                          <a:pt x="173146" y="176021"/>
                                                                                                        </a:lnTo>
                                                                                                        <a:lnTo>
                                                                                                          <a:pt x="164033" y="166916"/>
                                                                                                        </a:lnTo>
                                                                                                        <a:lnTo>
                                                                                                          <a:pt x="151883" y="157812"/>
                                                                                                        </a:lnTo>
                                                                                                        <a:lnTo>
                                                                                                          <a:pt x="139732" y="154777"/>
                                                                                                        </a:lnTo>
                                                                                                        <a:lnTo>
                                                                                                          <a:pt x="124544" y="154777"/>
                                                                                                        </a:lnTo>
                                                                                                        <a:lnTo>
                                                                                                          <a:pt x="112393" y="154777"/>
                                                                                                        </a:lnTo>
                                                                                                        <a:lnTo>
                                                                                                          <a:pt x="106318" y="154777"/>
                                                                                                        </a:lnTo>
                                                                                                        <a:lnTo>
                                                                                                          <a:pt x="100243" y="154777"/>
                                                                                                        </a:lnTo>
                                                                                                        <a:lnTo>
                                                                                                          <a:pt x="91130" y="157812"/>
                                                                                                        </a:lnTo>
                                                                                                        <a:lnTo>
                                                                                                          <a:pt x="82017" y="157812"/>
                                                                                                        </a:lnTo>
                                                                                                        <a:lnTo>
                                                                                                          <a:pt x="72904" y="157812"/>
                                                                                                        </a:lnTo>
                                                                                                        <a:lnTo>
                                                                                                          <a:pt x="66829" y="154777"/>
                                                                                                        </a:lnTo>
                                                                                                        <a:lnTo>
                                                                                                          <a:pt x="63791" y="151742"/>
                                                                                                        </a:lnTo>
                                                                                                        <a:lnTo>
                                                                                                          <a:pt x="57716" y="145672"/>
                                                                                                        </a:lnTo>
                                                                                                        <a:lnTo>
                                                                                                          <a:pt x="57716" y="142637"/>
                                                                                                        </a:lnTo>
                                                                                                        <a:lnTo>
                                                                                                          <a:pt x="51640" y="142637"/>
                                                                                                        </a:lnTo>
                                                                                                        <a:lnTo>
                                                                                                          <a:pt x="48603" y="145672"/>
                                                                                                        </a:lnTo>
                                                                                                        <a:lnTo>
                                                                                                          <a:pt x="45565" y="151742"/>
                                                                                                        </a:lnTo>
                                                                                                        <a:lnTo>
                                                                                                          <a:pt x="42527" y="160846"/>
                                                                                                        </a:lnTo>
                                                                                                        <a:lnTo>
                                                                                                          <a:pt x="36452" y="163881"/>
                                                                                                        </a:lnTo>
                                                                                                        <a:lnTo>
                                                                                                          <a:pt x="33414" y="163881"/>
                                                                                                        </a:lnTo>
                                                                                                        <a:lnTo>
                                                                                                          <a:pt x="33414" y="160846"/>
                                                                                                        </a:lnTo>
                                                                                                        <a:lnTo>
                                                                                                          <a:pt x="30377" y="157812"/>
                                                                                                        </a:lnTo>
                                                                                                        <a:lnTo>
                                                                                                          <a:pt x="27339" y="154777"/>
                                                                                                        </a:lnTo>
                                                                                                        <a:lnTo>
                                                                                                          <a:pt x="21264" y="154777"/>
                                                                                                        </a:lnTo>
                                                                                                        <a:lnTo>
                                                                                                          <a:pt x="0" y="160846"/>
                                                                                                        </a:lnTo>
                                                                                                        <a:lnTo>
                                                                                                          <a:pt x="6076" y="121394"/>
                                                                                                        </a:lnTo>
                                                                                                        <a:lnTo>
                                                                                                          <a:pt x="15188" y="66767"/>
                                                                                                        </a:lnTo>
                                                                                                        <a:lnTo>
                                                                                                          <a:pt x="18226" y="48557"/>
                                                                                                        </a:lnTo>
                                                                                                        <a:lnTo>
                                                                                                          <a:pt x="21264" y="39453"/>
                                                                                                        </a:lnTo>
                                                                                                        <a:lnTo>
                                                                                                          <a:pt x="27339" y="30348"/>
                                                                                                        </a:lnTo>
                                                                                                        <a:lnTo>
                                                                                                          <a:pt x="33414" y="27314"/>
                                                                                                        </a:lnTo>
                                                                                                        <a:lnTo>
                                                                                                          <a:pt x="45565" y="18209"/>
                                                                                                        </a:lnTo>
                                                                                                        <a:lnTo>
                                                                                                          <a:pt x="54678" y="9105"/>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baseline="-25000" dirty="0">
                                                                                                      <a:solidFill>
                                                                                                        <a:schemeClr val="tx1"/>
                                                                                                      </a:solidFill>
                                                                                                    </a:endParaRPr>
                                                                                                  </a:p>
                                                                                                </p:txBody>
                                                                                              </p:sp>
                                                                                              <p:sp>
                                                                                                <p:nvSpPr>
                                                                                                  <p:cNvPr id="614" name="Ethiopia"/>
                                                                                                  <p:cNvSpPr>
                                                                                                    <a:spLocks/>
                                                                                                  </p:cNvSpPr>
                                                                                                  <p:nvPr/>
                                                                                                </p:nvSpPr>
                                                                                                <p:spPr bwMode="auto">
                                                                                                  <a:xfrm>
                                                                                                    <a:off x="6850676" y="3120813"/>
                                                                                                    <a:ext cx="482986" cy="421842"/>
                                                                                                  </a:xfrm>
                                                                                                  <a:custGeom>
                                                                                                    <a:avLst/>
                                                                                                    <a:gdLst/>
                                                                                                    <a:ahLst/>
                                                                                                    <a:cxnLst>
                                                                                                      <a:cxn ang="0">
                                                                                                        <a:pos x="60" y="248"/>
                                                                                                      </a:cxn>
                                                                                                      <a:cxn ang="0">
                                                                                                        <a:pos x="62" y="240"/>
                                                                                                      </a:cxn>
                                                                                                      <a:cxn ang="0">
                                                                                                        <a:pos x="50" y="230"/>
                                                                                                      </a:cxn>
                                                                                                      <a:cxn ang="0">
                                                                                                        <a:pos x="44" y="220"/>
                                                                                                      </a:cxn>
                                                                                                      <a:cxn ang="0">
                                                                                                        <a:pos x="40" y="214"/>
                                                                                                      </a:cxn>
                                                                                                      <a:cxn ang="0">
                                                                                                        <a:pos x="36" y="208"/>
                                                                                                      </a:cxn>
                                                                                                      <a:cxn ang="0">
                                                                                                        <a:pos x="30" y="198"/>
                                                                                                      </a:cxn>
                                                                                                      <a:cxn ang="0">
                                                                                                        <a:pos x="22" y="186"/>
                                                                                                      </a:cxn>
                                                                                                      <a:cxn ang="0">
                                                                                                        <a:pos x="0" y="166"/>
                                                                                                      </a:cxn>
                                                                                                      <a:cxn ang="0">
                                                                                                        <a:pos x="6" y="152"/>
                                                                                                      </a:cxn>
                                                                                                      <a:cxn ang="0">
                                                                                                        <a:pos x="16" y="148"/>
                                                                                                      </a:cxn>
                                                                                                      <a:cxn ang="0">
                                                                                                        <a:pos x="22" y="138"/>
                                                                                                      </a:cxn>
                                                                                                      <a:cxn ang="0">
                                                                                                        <a:pos x="24" y="118"/>
                                                                                                      </a:cxn>
                                                                                                      <a:cxn ang="0">
                                                                                                        <a:pos x="24" y="104"/>
                                                                                                      </a:cxn>
                                                                                                      <a:cxn ang="0">
                                                                                                        <a:pos x="28" y="88"/>
                                                                                                      </a:cxn>
                                                                                                      <a:cxn ang="0">
                                                                                                        <a:pos x="34" y="78"/>
                                                                                                      </a:cxn>
                                                                                                      <a:cxn ang="0">
                                                                                                        <a:pos x="36" y="66"/>
                                                                                                      </a:cxn>
                                                                                                      <a:cxn ang="0">
                                                                                                        <a:pos x="38" y="58"/>
                                                                                                      </a:cxn>
                                                                                                      <a:cxn ang="0">
                                                                                                        <a:pos x="46" y="44"/>
                                                                                                      </a:cxn>
                                                                                                      <a:cxn ang="0">
                                                                                                        <a:pos x="56" y="22"/>
                                                                                                      </a:cxn>
                                                                                                      <a:cxn ang="0">
                                                                                                        <a:pos x="58" y="12"/>
                                                                                                      </a:cxn>
                                                                                                      <a:cxn ang="0">
                                                                                                        <a:pos x="76" y="8"/>
                                                                                                      </a:cxn>
                                                                                                      <a:cxn ang="0">
                                                                                                        <a:pos x="80" y="12"/>
                                                                                                      </a:cxn>
                                                                                                      <a:cxn ang="0">
                                                                                                        <a:pos x="82" y="14"/>
                                                                                                      </a:cxn>
                                                                                                      <a:cxn ang="0">
                                                                                                        <a:pos x="86" y="12"/>
                                                                                                      </a:cxn>
                                                                                                      <a:cxn ang="0">
                                                                                                        <a:pos x="88" y="6"/>
                                                                                                      </a:cxn>
                                                                                                      <a:cxn ang="0">
                                                                                                        <a:pos x="90" y="2"/>
                                                                                                      </a:cxn>
                                                                                                      <a:cxn ang="0">
                                                                                                        <a:pos x="92" y="0"/>
                                                                                                      </a:cxn>
                                                                                                      <a:cxn ang="0">
                                                                                                        <a:pos x="96" y="2"/>
                                                                                                      </a:cxn>
                                                                                                      <a:cxn ang="0">
                                                                                                        <a:pos x="102" y="8"/>
                                                                                                      </a:cxn>
                                                                                                      <a:cxn ang="0">
                                                                                                        <a:pos x="112" y="10"/>
                                                                                                      </a:cxn>
                                                                                                      <a:cxn ang="0">
                                                                                                        <a:pos x="118" y="10"/>
                                                                                                      </a:cxn>
                                                                                                      <a:cxn ang="0">
                                                                                                        <a:pos x="128" y="8"/>
                                                                                                      </a:cxn>
                                                                                                      <a:cxn ang="0">
                                                                                                        <a:pos x="140" y="8"/>
                                                                                                      </a:cxn>
                                                                                                      <a:cxn ang="0">
                                                                                                        <a:pos x="150" y="8"/>
                                                                                                      </a:cxn>
                                                                                                      <a:cxn ang="0">
                                                                                                        <a:pos x="166" y="16"/>
                                                                                                      </a:cxn>
                                                                                                      <a:cxn ang="0">
                                                                                                        <a:pos x="186" y="36"/>
                                                                                                      </a:cxn>
                                                                                                      <a:cxn ang="0">
                                                                                                        <a:pos x="196" y="52"/>
                                                                                                      </a:cxn>
                                                                                                      <a:cxn ang="0">
                                                                                                        <a:pos x="188" y="54"/>
                                                                                                      </a:cxn>
                                                                                                      <a:cxn ang="0">
                                                                                                        <a:pos x="186" y="60"/>
                                                                                                      </a:cxn>
                                                                                                      <a:cxn ang="0">
                                                                                                        <a:pos x="182" y="82"/>
                                                                                                      </a:cxn>
                                                                                                      <a:cxn ang="0">
                                                                                                        <a:pos x="184" y="84"/>
                                                                                                      </a:cxn>
                                                                                                      <a:cxn ang="0">
                                                                                                        <a:pos x="188" y="88"/>
                                                                                                      </a:cxn>
                                                                                                      <a:cxn ang="0">
                                                                                                        <a:pos x="196" y="86"/>
                                                                                                      </a:cxn>
                                                                                                      <a:cxn ang="0">
                                                                                                        <a:pos x="204" y="88"/>
                                                                                                      </a:cxn>
                                                                                                      <a:cxn ang="0">
                                                                                                        <a:pos x="210" y="114"/>
                                                                                                      </a:cxn>
                                                                                                      <a:cxn ang="0">
                                                                                                        <a:pos x="286" y="158"/>
                                                                                                      </a:cxn>
                                                                                                      <a:cxn ang="0">
                                                                                                        <a:pos x="318" y="166"/>
                                                                                                      </a:cxn>
                                                                                                      <a:cxn ang="0">
                                                                                                        <a:pos x="248" y="240"/>
                                                                                                      </a:cxn>
                                                                                                      <a:cxn ang="0">
                                                                                                        <a:pos x="244" y="242"/>
                                                                                                      </a:cxn>
                                                                                                      <a:cxn ang="0">
                                                                                                        <a:pos x="236" y="242"/>
                                                                                                      </a:cxn>
                                                                                                      <a:cxn ang="0">
                                                                                                        <a:pos x="216" y="248"/>
                                                                                                      </a:cxn>
                                                                                                      <a:cxn ang="0">
                                                                                                        <a:pos x="188" y="270"/>
                                                                                                      </a:cxn>
                                                                                                      <a:cxn ang="0">
                                                                                                        <a:pos x="172" y="266"/>
                                                                                                      </a:cxn>
                                                                                                      <a:cxn ang="0">
                                                                                                        <a:pos x="158" y="266"/>
                                                                                                      </a:cxn>
                                                                                                      <a:cxn ang="0">
                                                                                                        <a:pos x="154" y="268"/>
                                                                                                      </a:cxn>
                                                                                                      <a:cxn ang="0">
                                                                                                        <a:pos x="152" y="274"/>
                                                                                                      </a:cxn>
                                                                                                      <a:cxn ang="0">
                                                                                                        <a:pos x="148" y="276"/>
                                                                                                      </a:cxn>
                                                                                                      <a:cxn ang="0">
                                                                                                        <a:pos x="128" y="278"/>
                                                                                                      </a:cxn>
                                                                                                      <a:cxn ang="0">
                                                                                                        <a:pos x="106" y="274"/>
                                                                                                      </a:cxn>
                                                                                                      <a:cxn ang="0">
                                                                                                        <a:pos x="94" y="264"/>
                                                                                                      </a:cxn>
                                                                                                      <a:cxn ang="0">
                                                                                                        <a:pos x="84" y="254"/>
                                                                                                      </a:cxn>
                                                                                                      <a:cxn ang="0">
                                                                                                        <a:pos x="60" y="248"/>
                                                                                                      </a:cxn>
                                                                                                    </a:cxnLst>
                                                                                                    <a:rect l="0" t="0" r="r" b="b"/>
                                                                                                    <a:pathLst>
                                                                                                      <a:path w="318" h="278">
                                                                                                        <a:moveTo>
                                                                                                          <a:pt x="60" y="248"/>
                                                                                                        </a:moveTo>
                                                                                                        <a:lnTo>
                                                                                                          <a:pt x="60" y="248"/>
                                                                                                        </a:lnTo>
                                                                                                        <a:lnTo>
                                                                                                          <a:pt x="62" y="244"/>
                                                                                                        </a:lnTo>
                                                                                                        <a:lnTo>
                                                                                                          <a:pt x="62" y="240"/>
                                                                                                        </a:lnTo>
                                                                                                        <a:lnTo>
                                                                                                          <a:pt x="56" y="234"/>
                                                                                                        </a:lnTo>
                                                                                                        <a:lnTo>
                                                                                                          <a:pt x="50" y="230"/>
                                                                                                        </a:lnTo>
                                                                                                        <a:lnTo>
                                                                                                          <a:pt x="48" y="226"/>
                                                                                                        </a:lnTo>
                                                                                                        <a:lnTo>
                                                                                                          <a:pt x="44" y="220"/>
                                                                                                        </a:lnTo>
                                                                                                        <a:lnTo>
                                                                                                          <a:pt x="44" y="220"/>
                                                                                                        </a:lnTo>
                                                                                                        <a:lnTo>
                                                                                                          <a:pt x="40" y="214"/>
                                                                                                        </a:lnTo>
                                                                                                        <a:lnTo>
                                                                                                          <a:pt x="38" y="210"/>
                                                                                                        </a:lnTo>
                                                                                                        <a:lnTo>
                                                                                                          <a:pt x="36" y="208"/>
                                                                                                        </a:lnTo>
                                                                                                        <a:lnTo>
                                                                                                          <a:pt x="30" y="198"/>
                                                                                                        </a:lnTo>
                                                                                                        <a:lnTo>
                                                                                                          <a:pt x="30" y="198"/>
                                                                                                        </a:lnTo>
                                                                                                        <a:lnTo>
                                                                                                          <a:pt x="28" y="192"/>
                                                                                                        </a:lnTo>
                                                                                                        <a:lnTo>
                                                                                                          <a:pt x="22" y="186"/>
                                                                                                        </a:lnTo>
                                                                                                        <a:lnTo>
                                                                                                          <a:pt x="12" y="176"/>
                                                                                                        </a:lnTo>
                                                                                                        <a:lnTo>
                                                                                                          <a:pt x="0" y="166"/>
                                                                                                        </a:lnTo>
                                                                                                        <a:lnTo>
                                                                                                          <a:pt x="6" y="152"/>
                                                                                                        </a:lnTo>
                                                                                                        <a:lnTo>
                                                                                                          <a:pt x="6" y="152"/>
                                                                                                        </a:lnTo>
                                                                                                        <a:lnTo>
                                                                                                          <a:pt x="10" y="152"/>
                                                                                                        </a:lnTo>
                                                                                                        <a:lnTo>
                                                                                                          <a:pt x="16" y="148"/>
                                                                                                        </a:lnTo>
                                                                                                        <a:lnTo>
                                                                                                          <a:pt x="20" y="144"/>
                                                                                                        </a:lnTo>
                                                                                                        <a:lnTo>
                                                                                                          <a:pt x="22" y="138"/>
                                                                                                        </a:lnTo>
                                                                                                        <a:lnTo>
                                                                                                          <a:pt x="24" y="130"/>
                                                                                                        </a:lnTo>
                                                                                                        <a:lnTo>
                                                                                                          <a:pt x="24" y="118"/>
                                                                                                        </a:lnTo>
                                                                                                        <a:lnTo>
                                                                                                          <a:pt x="24" y="118"/>
                                                                                                        </a:lnTo>
                                                                                                        <a:lnTo>
                                                                                                          <a:pt x="24" y="104"/>
                                                                                                        </a:lnTo>
                                                                                                        <a:lnTo>
                                                                                                          <a:pt x="26" y="94"/>
                                                                                                        </a:lnTo>
                                                                                                        <a:lnTo>
                                                                                                          <a:pt x="28" y="88"/>
                                                                                                        </a:lnTo>
                                                                                                        <a:lnTo>
                                                                                                          <a:pt x="30" y="84"/>
                                                                                                        </a:lnTo>
                                                                                                        <a:lnTo>
                                                                                                          <a:pt x="34" y="78"/>
                                                                                                        </a:lnTo>
                                                                                                        <a:lnTo>
                                                                                                          <a:pt x="36" y="74"/>
                                                                                                        </a:lnTo>
                                                                                                        <a:lnTo>
                                                                                                          <a:pt x="36" y="66"/>
                                                                                                        </a:lnTo>
                                                                                                        <a:lnTo>
                                                                                                          <a:pt x="36" y="66"/>
                                                                                                        </a:lnTo>
                                                                                                        <a:lnTo>
                                                                                                          <a:pt x="38" y="58"/>
                                                                                                        </a:lnTo>
                                                                                                        <a:lnTo>
                                                                                                          <a:pt x="40" y="52"/>
                                                                                                        </a:lnTo>
                                                                                                        <a:lnTo>
                                                                                                          <a:pt x="46" y="44"/>
                                                                                                        </a:lnTo>
                                                                                                        <a:lnTo>
                                                                                                          <a:pt x="54" y="32"/>
                                                                                                        </a:lnTo>
                                                                                                        <a:lnTo>
                                                                                                          <a:pt x="56" y="22"/>
                                                                                                        </a:lnTo>
                                                                                                        <a:lnTo>
                                                                                                          <a:pt x="58" y="12"/>
                                                                                                        </a:lnTo>
                                                                                                        <a:lnTo>
                                                                                                          <a:pt x="58" y="12"/>
                                                                                                        </a:lnTo>
                                                                                                        <a:lnTo>
                                                                                                          <a:pt x="72" y="8"/>
                                                                                                        </a:lnTo>
                                                                                                        <a:lnTo>
                                                                                                          <a:pt x="76" y="8"/>
                                                                                                        </a:lnTo>
                                                                                                        <a:lnTo>
                                                                                                          <a:pt x="78" y="10"/>
                                                                                                        </a:lnTo>
                                                                                                        <a:lnTo>
                                                                                                          <a:pt x="80" y="12"/>
                                                                                                        </a:lnTo>
                                                                                                        <a:lnTo>
                                                                                                          <a:pt x="80" y="14"/>
                                                                                                        </a:lnTo>
                                                                                                        <a:lnTo>
                                                                                                          <a:pt x="82" y="14"/>
                                                                                                        </a:lnTo>
                                                                                                        <a:lnTo>
                                                                                                          <a:pt x="82" y="14"/>
                                                                                                        </a:lnTo>
                                                                                                        <a:lnTo>
                                                                                                          <a:pt x="86" y="12"/>
                                                                                                        </a:lnTo>
                                                                                                        <a:lnTo>
                                                                                                          <a:pt x="86" y="12"/>
                                                                                                        </a:lnTo>
                                                                                                        <a:lnTo>
                                                                                                          <a:pt x="88" y="6"/>
                                                                                                        </a:lnTo>
                                                                                                        <a:lnTo>
                                                                                                          <a:pt x="90" y="2"/>
                                                                                                        </a:lnTo>
                                                                                                        <a:lnTo>
                                                                                                          <a:pt x="90" y="2"/>
                                                                                                        </a:lnTo>
                                                                                                        <a:lnTo>
                                                                                                          <a:pt x="92" y="0"/>
                                                                                                        </a:lnTo>
                                                                                                        <a:lnTo>
                                                                                                          <a:pt x="92" y="0"/>
                                                                                                        </a:lnTo>
                                                                                                        <a:lnTo>
                                                                                                          <a:pt x="96" y="0"/>
                                                                                                        </a:lnTo>
                                                                                                        <a:lnTo>
                                                                                                          <a:pt x="96" y="2"/>
                                                                                                        </a:lnTo>
                                                                                                        <a:lnTo>
                                                                                                          <a:pt x="100" y="6"/>
                                                                                                        </a:lnTo>
                                                                                                        <a:lnTo>
                                                                                                          <a:pt x="102" y="8"/>
                                                                                                        </a:lnTo>
                                                                                                        <a:lnTo>
                                                                                                          <a:pt x="106" y="10"/>
                                                                                                        </a:lnTo>
                                                                                                        <a:lnTo>
                                                                                                          <a:pt x="112" y="10"/>
                                                                                                        </a:lnTo>
                                                                                                        <a:lnTo>
                                                                                                          <a:pt x="118" y="10"/>
                                                                                                        </a:lnTo>
                                                                                                        <a:lnTo>
                                                                                                          <a:pt x="118" y="10"/>
                                                                                                        </a:lnTo>
                                                                                                        <a:lnTo>
                                                                                                          <a:pt x="124" y="8"/>
                                                                                                        </a:lnTo>
                                                                                                        <a:lnTo>
                                                                                                          <a:pt x="128" y="8"/>
                                                                                                        </a:lnTo>
                                                                                                        <a:lnTo>
                                                                                                          <a:pt x="132" y="8"/>
                                                                                                        </a:lnTo>
                                                                                                        <a:lnTo>
                                                                                                          <a:pt x="140" y="8"/>
                                                                                                        </a:lnTo>
                                                                                                        <a:lnTo>
                                                                                                          <a:pt x="140" y="8"/>
                                                                                                        </a:lnTo>
                                                                                                        <a:lnTo>
                                                                                                          <a:pt x="150" y="8"/>
                                                                                                        </a:lnTo>
                                                                                                        <a:lnTo>
                                                                                                          <a:pt x="158" y="10"/>
                                                                                                        </a:lnTo>
                                                                                                        <a:lnTo>
                                                                                                          <a:pt x="166" y="16"/>
                                                                                                        </a:lnTo>
                                                                                                        <a:lnTo>
                                                                                                          <a:pt x="172" y="22"/>
                                                                                                        </a:lnTo>
                                                                                                        <a:lnTo>
                                                                                                          <a:pt x="186" y="36"/>
                                                                                                        </a:lnTo>
                                                                                                        <a:lnTo>
                                                                                                          <a:pt x="196" y="52"/>
                                                                                                        </a:lnTo>
                                                                                                        <a:lnTo>
                                                                                                          <a:pt x="196" y="52"/>
                                                                                                        </a:lnTo>
                                                                                                        <a:lnTo>
                                                                                                          <a:pt x="192" y="52"/>
                                                                                                        </a:lnTo>
                                                                                                        <a:lnTo>
                                                                                                          <a:pt x="188" y="54"/>
                                                                                                        </a:lnTo>
                                                                                                        <a:lnTo>
                                                                                                          <a:pt x="186" y="60"/>
                                                                                                        </a:lnTo>
                                                                                                        <a:lnTo>
                                                                                                          <a:pt x="186" y="60"/>
                                                                                                        </a:lnTo>
                                                                                                        <a:lnTo>
                                                                                                          <a:pt x="182" y="74"/>
                                                                                                        </a:lnTo>
                                                                                                        <a:lnTo>
                                                                                                          <a:pt x="182" y="82"/>
                                                                                                        </a:lnTo>
                                                                                                        <a:lnTo>
                                                                                                          <a:pt x="184" y="84"/>
                                                                                                        </a:lnTo>
                                                                                                        <a:lnTo>
                                                                                                          <a:pt x="184" y="84"/>
                                                                                                        </a:lnTo>
                                                                                                        <a:lnTo>
                                                                                                          <a:pt x="186" y="88"/>
                                                                                                        </a:lnTo>
                                                                                                        <a:lnTo>
                                                                                                          <a:pt x="188" y="88"/>
                                                                                                        </a:lnTo>
                                                                                                        <a:lnTo>
                                                                                                          <a:pt x="192" y="86"/>
                                                                                                        </a:lnTo>
                                                                                                        <a:lnTo>
                                                                                                          <a:pt x="196" y="86"/>
                                                                                                        </a:lnTo>
                                                                                                        <a:lnTo>
                                                                                                          <a:pt x="200" y="86"/>
                                                                                                        </a:lnTo>
                                                                                                        <a:lnTo>
                                                                                                          <a:pt x="204" y="88"/>
                                                                                                        </a:lnTo>
                                                                                                        <a:lnTo>
                                                                                                          <a:pt x="196" y="94"/>
                                                                                                        </a:lnTo>
                                                                                                        <a:lnTo>
                                                                                                          <a:pt x="210" y="114"/>
                                                                                                        </a:lnTo>
                                                                                                        <a:lnTo>
                                                                                                          <a:pt x="216" y="128"/>
                                                                                                        </a:lnTo>
                                                                                                        <a:lnTo>
                                                                                                          <a:pt x="286" y="158"/>
                                                                                                        </a:lnTo>
                                                                                                        <a:lnTo>
                                                                                                          <a:pt x="318" y="166"/>
                                                                                                        </a:lnTo>
                                                                                                        <a:lnTo>
                                                                                                          <a:pt x="318" y="166"/>
                                                                                                        </a:lnTo>
                                                                                                        <a:lnTo>
                                                                                                          <a:pt x="260" y="230"/>
                                                                                                        </a:lnTo>
                                                                                                        <a:lnTo>
                                                                                                          <a:pt x="248" y="240"/>
                                                                                                        </a:lnTo>
                                                                                                        <a:lnTo>
                                                                                                          <a:pt x="246" y="242"/>
                                                                                                        </a:lnTo>
                                                                                                        <a:lnTo>
                                                                                                          <a:pt x="244" y="242"/>
                                                                                                        </a:lnTo>
                                                                                                        <a:lnTo>
                                                                                                          <a:pt x="244" y="242"/>
                                                                                                        </a:lnTo>
                                                                                                        <a:lnTo>
                                                                                                          <a:pt x="236" y="242"/>
                                                                                                        </a:lnTo>
                                                                                                        <a:lnTo>
                                                                                                          <a:pt x="230" y="242"/>
                                                                                                        </a:lnTo>
                                                                                                        <a:lnTo>
                                                                                                          <a:pt x="216" y="248"/>
                                                                                                        </a:lnTo>
                                                                                                        <a:lnTo>
                                                                                                          <a:pt x="188" y="270"/>
                                                                                                        </a:lnTo>
                                                                                                        <a:lnTo>
                                                                                                          <a:pt x="188" y="270"/>
                                                                                                        </a:lnTo>
                                                                                                        <a:lnTo>
                                                                                                          <a:pt x="176" y="268"/>
                                                                                                        </a:lnTo>
                                                                                                        <a:lnTo>
                                                                                                          <a:pt x="172" y="266"/>
                                                                                                        </a:lnTo>
                                                                                                        <a:lnTo>
                                                                                                          <a:pt x="168" y="264"/>
                                                                                                        </a:lnTo>
                                                                                                        <a:lnTo>
                                                                                                          <a:pt x="158" y="266"/>
                                                                                                        </a:lnTo>
                                                                                                        <a:lnTo>
                                                                                                          <a:pt x="158" y="266"/>
                                                                                                        </a:lnTo>
                                                                                                        <a:lnTo>
                                                                                                          <a:pt x="154" y="268"/>
                                                                                                        </a:lnTo>
                                                                                                        <a:lnTo>
                                                                                                          <a:pt x="152" y="270"/>
                                                                                                        </a:lnTo>
                                                                                                        <a:lnTo>
                                                                                                          <a:pt x="152" y="274"/>
                                                                                                        </a:lnTo>
                                                                                                        <a:lnTo>
                                                                                                          <a:pt x="152" y="276"/>
                                                                                                        </a:lnTo>
                                                                                                        <a:lnTo>
                                                                                                          <a:pt x="148" y="276"/>
                                                                                                        </a:lnTo>
                                                                                                        <a:lnTo>
                                                                                                          <a:pt x="128" y="278"/>
                                                                                                        </a:lnTo>
                                                                                                        <a:lnTo>
                                                                                                          <a:pt x="128" y="278"/>
                                                                                                        </a:lnTo>
                                                                                                        <a:lnTo>
                                                                                                          <a:pt x="114" y="276"/>
                                                                                                        </a:lnTo>
                                                                                                        <a:lnTo>
                                                                                                          <a:pt x="106" y="274"/>
                                                                                                        </a:lnTo>
                                                                                                        <a:lnTo>
                                                                                                          <a:pt x="100" y="270"/>
                                                                                                        </a:lnTo>
                                                                                                        <a:lnTo>
                                                                                                          <a:pt x="94" y="264"/>
                                                                                                        </a:lnTo>
                                                                                                        <a:lnTo>
                                                                                                          <a:pt x="90" y="260"/>
                                                                                                        </a:lnTo>
                                                                                                        <a:lnTo>
                                                                                                          <a:pt x="84" y="254"/>
                                                                                                        </a:lnTo>
                                                                                                        <a:lnTo>
                                                                                                          <a:pt x="74" y="252"/>
                                                                                                        </a:lnTo>
                                                                                                        <a:lnTo>
                                                                                                          <a:pt x="60" y="248"/>
                                                                                                        </a:lnTo>
                                                                                                        <a:lnTo>
                                                                                                          <a:pt x="60" y="248"/>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baseline="-25000" dirty="0">
                                                                                                      <a:solidFill>
                                                                                                        <a:schemeClr val="tx1"/>
                                                                                                      </a:solidFill>
                                                                                                    </a:endParaRPr>
                                                                                                  </a:p>
                                                                                                </p:txBody>
                                                                                              </p:sp>
                                                                                              <p:sp>
                                                                                                <p:nvSpPr>
                                                                                                  <p:cNvPr id="616" name="Ghana"/>
                                                                                                  <p:cNvSpPr>
                                                                                                    <a:spLocks/>
                                                                                                  </p:cNvSpPr>
                                                                                                  <p:nvPr/>
                                                                                                </p:nvSpPr>
                                                                                                <p:spPr bwMode="auto">
                                                                                                  <a:xfrm>
                                                                                                    <a:off x="5687259" y="3250657"/>
                                                                                                    <a:ext cx="139731" cy="245822"/>
                                                                                                  </a:xfrm>
                                                                                                  <a:custGeom>
                                                                                                    <a:avLst/>
                                                                                                    <a:gdLst/>
                                                                                                    <a:ahLst/>
                                                                                                    <a:cxnLst>
                                                                                                      <a:cxn ang="0">
                                                                                                        <a:pos x="12" y="38"/>
                                                                                                      </a:cxn>
                                                                                                      <a:cxn ang="0">
                                                                                                        <a:pos x="8" y="28"/>
                                                                                                      </a:cxn>
                                                                                                      <a:cxn ang="0">
                                                                                                        <a:pos x="6" y="20"/>
                                                                                                      </a:cxn>
                                                                                                      <a:cxn ang="0">
                                                                                                        <a:pos x="4" y="14"/>
                                                                                                      </a:cxn>
                                                                                                      <a:cxn ang="0">
                                                                                                        <a:pos x="10" y="4"/>
                                                                                                      </a:cxn>
                                                                                                      <a:cxn ang="0">
                                                                                                        <a:pos x="46" y="4"/>
                                                                                                      </a:cxn>
                                                                                                      <a:cxn ang="0">
                                                                                                        <a:pos x="54" y="0"/>
                                                                                                      </a:cxn>
                                                                                                      <a:cxn ang="0">
                                                                                                        <a:pos x="62" y="2"/>
                                                                                                      </a:cxn>
                                                                                                      <a:cxn ang="0">
                                                                                                        <a:pos x="60" y="14"/>
                                                                                                      </a:cxn>
                                                                                                      <a:cxn ang="0">
                                                                                                        <a:pos x="62" y="20"/>
                                                                                                      </a:cxn>
                                                                                                      <a:cxn ang="0">
                                                                                                        <a:pos x="66" y="22"/>
                                                                                                      </a:cxn>
                                                                                                      <a:cxn ang="0">
                                                                                                        <a:pos x="68" y="26"/>
                                                                                                      </a:cxn>
                                                                                                      <a:cxn ang="0">
                                                                                                        <a:pos x="70" y="34"/>
                                                                                                      </a:cxn>
                                                                                                      <a:cxn ang="0">
                                                                                                        <a:pos x="72" y="46"/>
                                                                                                      </a:cxn>
                                                                                                      <a:cxn ang="0">
                                                                                                        <a:pos x="72" y="50"/>
                                                                                                      </a:cxn>
                                                                                                      <a:cxn ang="0">
                                                                                                        <a:pos x="78" y="60"/>
                                                                                                      </a:cxn>
                                                                                                      <a:cxn ang="0">
                                                                                                        <a:pos x="80" y="62"/>
                                                                                                      </a:cxn>
                                                                                                      <a:cxn ang="0">
                                                                                                        <a:pos x="80" y="76"/>
                                                                                                      </a:cxn>
                                                                                                      <a:cxn ang="0">
                                                                                                        <a:pos x="80" y="78"/>
                                                                                                      </a:cxn>
                                                                                                      <a:cxn ang="0">
                                                                                                        <a:pos x="80" y="86"/>
                                                                                                      </a:cxn>
                                                                                                      <a:cxn ang="0">
                                                                                                        <a:pos x="78" y="92"/>
                                                                                                      </a:cxn>
                                                                                                      <a:cxn ang="0">
                                                                                                        <a:pos x="76" y="110"/>
                                                                                                      </a:cxn>
                                                                                                      <a:cxn ang="0">
                                                                                                        <a:pos x="78" y="118"/>
                                                                                                      </a:cxn>
                                                                                                      <a:cxn ang="0">
                                                                                                        <a:pos x="84" y="126"/>
                                                                                                      </a:cxn>
                                                                                                      <a:cxn ang="0">
                                                                                                        <a:pos x="90" y="132"/>
                                                                                                      </a:cxn>
                                                                                                      <a:cxn ang="0">
                                                                                                        <a:pos x="88" y="146"/>
                                                                                                      </a:cxn>
                                                                                                      <a:cxn ang="0">
                                                                                                        <a:pos x="82" y="144"/>
                                                                                                      </a:cxn>
                                                                                                      <a:cxn ang="0">
                                                                                                        <a:pos x="80" y="146"/>
                                                                                                      </a:cxn>
                                                                                                      <a:cxn ang="0">
                                                                                                        <a:pos x="74" y="150"/>
                                                                                                      </a:cxn>
                                                                                                      <a:cxn ang="0">
                                                                                                        <a:pos x="52" y="158"/>
                                                                                                      </a:cxn>
                                                                                                      <a:cxn ang="0">
                                                                                                        <a:pos x="40" y="162"/>
                                                                                                      </a:cxn>
                                                                                                      <a:cxn ang="0">
                                                                                                        <a:pos x="32" y="162"/>
                                                                                                      </a:cxn>
                                                                                                      <a:cxn ang="0">
                                                                                                        <a:pos x="20" y="156"/>
                                                                                                      </a:cxn>
                                                                                                      <a:cxn ang="0">
                                                                                                        <a:pos x="6" y="154"/>
                                                                                                      </a:cxn>
                                                                                                      <a:cxn ang="0">
                                                                                                        <a:pos x="10" y="150"/>
                                                                                                      </a:cxn>
                                                                                                      <a:cxn ang="0">
                                                                                                        <a:pos x="10" y="144"/>
                                                                                                      </a:cxn>
                                                                                                      <a:cxn ang="0">
                                                                                                        <a:pos x="4" y="136"/>
                                                                                                      </a:cxn>
                                                                                                      <a:cxn ang="0">
                                                                                                        <a:pos x="0" y="124"/>
                                                                                                      </a:cxn>
                                                                                                      <a:cxn ang="0">
                                                                                                        <a:pos x="4" y="112"/>
                                                                                                      </a:cxn>
                                                                                                      <a:cxn ang="0">
                                                                                                        <a:pos x="8" y="94"/>
                                                                                                      </a:cxn>
                                                                                                      <a:cxn ang="0">
                                                                                                        <a:pos x="14" y="76"/>
                                                                                                      </a:cxn>
                                                                                                      <a:cxn ang="0">
                                                                                                        <a:pos x="12" y="54"/>
                                                                                                      </a:cxn>
                                                                                                      <a:cxn ang="0">
                                                                                                        <a:pos x="12" y="46"/>
                                                                                                      </a:cxn>
                                                                                                      <a:cxn ang="0">
                                                                                                        <a:pos x="8" y="40"/>
                                                                                                      </a:cxn>
                                                                                                    </a:cxnLst>
                                                                                                    <a:rect l="0" t="0" r="r" b="b"/>
                                                                                                    <a:pathLst>
                                                                                                      <a:path w="92" h="162">
                                                                                                        <a:moveTo>
                                                                                                          <a:pt x="8" y="40"/>
                                                                                                        </a:moveTo>
                                                                                                        <a:lnTo>
                                                                                                          <a:pt x="8" y="40"/>
                                                                                                        </a:lnTo>
                                                                                                        <a:lnTo>
                                                                                                          <a:pt x="12" y="38"/>
                                                                                                        </a:lnTo>
                                                                                                        <a:lnTo>
                                                                                                          <a:pt x="12" y="36"/>
                                                                                                        </a:lnTo>
                                                                                                        <a:lnTo>
                                                                                                          <a:pt x="8" y="28"/>
                                                                                                        </a:lnTo>
                                                                                                        <a:lnTo>
                                                                                                          <a:pt x="8" y="28"/>
                                                                                                        </a:lnTo>
                                                                                                        <a:lnTo>
                                                                                                          <a:pt x="6" y="24"/>
                                                                                                        </a:lnTo>
                                                                                                        <a:lnTo>
                                                                                                          <a:pt x="6" y="22"/>
                                                                                                        </a:lnTo>
                                                                                                        <a:lnTo>
                                                                                                          <a:pt x="6" y="20"/>
                                                                                                        </a:lnTo>
                                                                                                        <a:lnTo>
                                                                                                          <a:pt x="4" y="16"/>
                                                                                                        </a:lnTo>
                                                                                                        <a:lnTo>
                                                                                                          <a:pt x="4" y="16"/>
                                                                                                        </a:lnTo>
                                                                                                        <a:lnTo>
                                                                                                          <a:pt x="4" y="14"/>
                                                                                                        </a:lnTo>
                                                                                                        <a:lnTo>
                                                                                                          <a:pt x="4" y="10"/>
                                                                                                        </a:lnTo>
                                                                                                        <a:lnTo>
                                                                                                          <a:pt x="6" y="6"/>
                                                                                                        </a:lnTo>
                                                                                                        <a:lnTo>
                                                                                                          <a:pt x="10" y="4"/>
                                                                                                        </a:lnTo>
                                                                                                        <a:lnTo>
                                                                                                          <a:pt x="10" y="4"/>
                                                                                                        </a:lnTo>
                                                                                                        <a:lnTo>
                                                                                                          <a:pt x="36" y="4"/>
                                                                                                        </a:lnTo>
                                                                                                        <a:lnTo>
                                                                                                          <a:pt x="46" y="4"/>
                                                                                                        </a:lnTo>
                                                                                                        <a:lnTo>
                                                                                                          <a:pt x="52" y="2"/>
                                                                                                        </a:lnTo>
                                                                                                        <a:lnTo>
                                                                                                          <a:pt x="52" y="2"/>
                                                                                                        </a:lnTo>
                                                                                                        <a:lnTo>
                                                                                                          <a:pt x="54" y="0"/>
                                                                                                        </a:lnTo>
                                                                                                        <a:lnTo>
                                                                                                          <a:pt x="56" y="0"/>
                                                                                                        </a:lnTo>
                                                                                                        <a:lnTo>
                                                                                                          <a:pt x="58" y="0"/>
                                                                                                        </a:lnTo>
                                                                                                        <a:lnTo>
                                                                                                          <a:pt x="62" y="2"/>
                                                                                                        </a:lnTo>
                                                                                                        <a:lnTo>
                                                                                                          <a:pt x="62" y="2"/>
                                                                                                        </a:lnTo>
                                                                                                        <a:lnTo>
                                                                                                          <a:pt x="60" y="10"/>
                                                                                                        </a:lnTo>
                                                                                                        <a:lnTo>
                                                                                                          <a:pt x="60" y="14"/>
                                                                                                        </a:lnTo>
                                                                                                        <a:lnTo>
                                                                                                          <a:pt x="62" y="16"/>
                                                                                                        </a:lnTo>
                                                                                                        <a:lnTo>
                                                                                                          <a:pt x="62" y="20"/>
                                                                                                        </a:lnTo>
                                                                                                        <a:lnTo>
                                                                                                          <a:pt x="62" y="20"/>
                                                                                                        </a:lnTo>
                                                                                                        <a:lnTo>
                                                                                                          <a:pt x="62" y="22"/>
                                                                                                        </a:lnTo>
                                                                                                        <a:lnTo>
                                                                                                          <a:pt x="62" y="22"/>
                                                                                                        </a:lnTo>
                                                                                                        <a:lnTo>
                                                                                                          <a:pt x="66" y="22"/>
                                                                                                        </a:lnTo>
                                                                                                        <a:lnTo>
                                                                                                          <a:pt x="68" y="22"/>
                                                                                                        </a:lnTo>
                                                                                                        <a:lnTo>
                                                                                                          <a:pt x="68" y="26"/>
                                                                                                        </a:lnTo>
                                                                                                        <a:lnTo>
                                                                                                          <a:pt x="68" y="26"/>
                                                                                                        </a:lnTo>
                                                                                                        <a:lnTo>
                                                                                                          <a:pt x="68" y="30"/>
                                                                                                        </a:lnTo>
                                                                                                        <a:lnTo>
                                                                                                          <a:pt x="68" y="32"/>
                                                                                                        </a:lnTo>
                                                                                                        <a:lnTo>
                                                                                                          <a:pt x="70" y="34"/>
                                                                                                        </a:lnTo>
                                                                                                        <a:lnTo>
                                                                                                          <a:pt x="72" y="38"/>
                                                                                                        </a:lnTo>
                                                                                                        <a:lnTo>
                                                                                                          <a:pt x="72" y="38"/>
                                                                                                        </a:lnTo>
                                                                                                        <a:lnTo>
                                                                                                          <a:pt x="72" y="46"/>
                                                                                                        </a:lnTo>
                                                                                                        <a:lnTo>
                                                                                                          <a:pt x="72" y="48"/>
                                                                                                        </a:lnTo>
                                                                                                        <a:lnTo>
                                                                                                          <a:pt x="72" y="50"/>
                                                                                                        </a:lnTo>
                                                                                                        <a:lnTo>
                                                                                                          <a:pt x="72" y="50"/>
                                                                                                        </a:lnTo>
                                                                                                        <a:lnTo>
                                                                                                          <a:pt x="74" y="56"/>
                                                                                                        </a:lnTo>
                                                                                                        <a:lnTo>
                                                                                                          <a:pt x="76" y="60"/>
                                                                                                        </a:lnTo>
                                                                                                        <a:lnTo>
                                                                                                          <a:pt x="78" y="60"/>
                                                                                                        </a:lnTo>
                                                                                                        <a:lnTo>
                                                                                                          <a:pt x="78" y="60"/>
                                                                                                        </a:lnTo>
                                                                                                        <a:lnTo>
                                                                                                          <a:pt x="80" y="60"/>
                                                                                                        </a:lnTo>
                                                                                                        <a:lnTo>
                                                                                                          <a:pt x="80" y="62"/>
                                                                                                        </a:lnTo>
                                                                                                        <a:lnTo>
                                                                                                          <a:pt x="80" y="70"/>
                                                                                                        </a:lnTo>
                                                                                                        <a:lnTo>
                                                                                                          <a:pt x="80" y="70"/>
                                                                                                        </a:lnTo>
                                                                                                        <a:lnTo>
                                                                                                          <a:pt x="80" y="76"/>
                                                                                                        </a:lnTo>
                                                                                                        <a:lnTo>
                                                                                                          <a:pt x="80" y="78"/>
                                                                                                        </a:lnTo>
                                                                                                        <a:lnTo>
                                                                                                          <a:pt x="80" y="78"/>
                                                                                                        </a:lnTo>
                                                                                                        <a:lnTo>
                                                                                                          <a:pt x="80" y="78"/>
                                                                                                        </a:lnTo>
                                                                                                        <a:lnTo>
                                                                                                          <a:pt x="78" y="80"/>
                                                                                                        </a:lnTo>
                                                                                                        <a:lnTo>
                                                                                                          <a:pt x="80" y="84"/>
                                                                                                        </a:lnTo>
                                                                                                        <a:lnTo>
                                                                                                          <a:pt x="80" y="86"/>
                                                                                                        </a:lnTo>
                                                                                                        <a:lnTo>
                                                                                                          <a:pt x="80" y="88"/>
                                                                                                        </a:lnTo>
                                                                                                        <a:lnTo>
                                                                                                          <a:pt x="80" y="88"/>
                                                                                                        </a:lnTo>
                                                                                                        <a:lnTo>
                                                                                                          <a:pt x="78" y="92"/>
                                                                                                        </a:lnTo>
                                                                                                        <a:lnTo>
                                                                                                          <a:pt x="78" y="96"/>
                                                                                                        </a:lnTo>
                                                                                                        <a:lnTo>
                                                                                                          <a:pt x="78" y="102"/>
                                                                                                        </a:lnTo>
                                                                                                        <a:lnTo>
                                                                                                          <a:pt x="76" y="110"/>
                                                                                                        </a:lnTo>
                                                                                                        <a:lnTo>
                                                                                                          <a:pt x="76" y="110"/>
                                                                                                        </a:lnTo>
                                                                                                        <a:lnTo>
                                                                                                          <a:pt x="76" y="116"/>
                                                                                                        </a:lnTo>
                                                                                                        <a:lnTo>
                                                                                                          <a:pt x="78" y="118"/>
                                                                                                        </a:lnTo>
                                                                                                        <a:lnTo>
                                                                                                          <a:pt x="82" y="122"/>
                                                                                                        </a:lnTo>
                                                                                                        <a:lnTo>
                                                                                                          <a:pt x="84" y="126"/>
                                                                                                        </a:lnTo>
                                                                                                        <a:lnTo>
                                                                                                          <a:pt x="84" y="126"/>
                                                                                                        </a:lnTo>
                                                                                                        <a:lnTo>
                                                                                                          <a:pt x="86" y="130"/>
                                                                                                        </a:lnTo>
                                                                                                        <a:lnTo>
                                                                                                          <a:pt x="88" y="130"/>
                                                                                                        </a:lnTo>
                                                                                                        <a:lnTo>
                                                                                                          <a:pt x="90" y="132"/>
                                                                                                        </a:lnTo>
                                                                                                        <a:lnTo>
                                                                                                          <a:pt x="92" y="138"/>
                                                                                                        </a:lnTo>
                                                                                                        <a:lnTo>
                                                                                                          <a:pt x="92" y="138"/>
                                                                                                        </a:lnTo>
                                                                                                        <a:lnTo>
                                                                                                          <a:pt x="88" y="146"/>
                                                                                                        </a:lnTo>
                                                                                                        <a:lnTo>
                                                                                                          <a:pt x="86" y="146"/>
                                                                                                        </a:lnTo>
                                                                                                        <a:lnTo>
                                                                                                          <a:pt x="84" y="146"/>
                                                                                                        </a:lnTo>
                                                                                                        <a:lnTo>
                                                                                                          <a:pt x="82" y="144"/>
                                                                                                        </a:lnTo>
                                                                                                        <a:lnTo>
                                                                                                          <a:pt x="78" y="144"/>
                                                                                                        </a:lnTo>
                                                                                                        <a:lnTo>
                                                                                                          <a:pt x="78" y="144"/>
                                                                                                        </a:lnTo>
                                                                                                        <a:lnTo>
                                                                                                          <a:pt x="80" y="146"/>
                                                                                                        </a:lnTo>
                                                                                                        <a:lnTo>
                                                                                                          <a:pt x="80" y="146"/>
                                                                                                        </a:lnTo>
                                                                                                        <a:lnTo>
                                                                                                          <a:pt x="74" y="150"/>
                                                                                                        </a:lnTo>
                                                                                                        <a:lnTo>
                                                                                                          <a:pt x="74" y="150"/>
                                                                                                        </a:lnTo>
                                                                                                        <a:lnTo>
                                                                                                          <a:pt x="66" y="156"/>
                                                                                                        </a:lnTo>
                                                                                                        <a:lnTo>
                                                                                                          <a:pt x="52" y="158"/>
                                                                                                        </a:lnTo>
                                                                                                        <a:lnTo>
                                                                                                          <a:pt x="52" y="158"/>
                                                                                                        </a:lnTo>
                                                                                                        <a:lnTo>
                                                                                                          <a:pt x="44" y="160"/>
                                                                                                        </a:lnTo>
                                                                                                        <a:lnTo>
                                                                                                          <a:pt x="42" y="160"/>
                                                                                                        </a:lnTo>
                                                                                                        <a:lnTo>
                                                                                                          <a:pt x="40" y="162"/>
                                                                                                        </a:lnTo>
                                                                                                        <a:lnTo>
                                                                                                          <a:pt x="36" y="162"/>
                                                                                                        </a:lnTo>
                                                                                                        <a:lnTo>
                                                                                                          <a:pt x="36" y="162"/>
                                                                                                        </a:lnTo>
                                                                                                        <a:lnTo>
                                                                                                          <a:pt x="32" y="162"/>
                                                                                                        </a:lnTo>
                                                                                                        <a:lnTo>
                                                                                                          <a:pt x="30" y="160"/>
                                                                                                        </a:lnTo>
                                                                                                        <a:lnTo>
                                                                                                          <a:pt x="28" y="158"/>
                                                                                                        </a:lnTo>
                                                                                                        <a:lnTo>
                                                                                                          <a:pt x="20" y="156"/>
                                                                                                        </a:lnTo>
                                                                                                        <a:lnTo>
                                                                                                          <a:pt x="20" y="156"/>
                                                                                                        </a:lnTo>
                                                                                                        <a:lnTo>
                                                                                                          <a:pt x="10" y="156"/>
                                                                                                        </a:lnTo>
                                                                                                        <a:lnTo>
                                                                                                          <a:pt x="6" y="154"/>
                                                                                                        </a:lnTo>
                                                                                                        <a:lnTo>
                                                                                                          <a:pt x="6" y="154"/>
                                                                                                        </a:lnTo>
                                                                                                        <a:lnTo>
                                                                                                          <a:pt x="8" y="152"/>
                                                                                                        </a:lnTo>
                                                                                                        <a:lnTo>
                                                                                                          <a:pt x="10" y="150"/>
                                                                                                        </a:lnTo>
                                                                                                        <a:lnTo>
                                                                                                          <a:pt x="10" y="148"/>
                                                                                                        </a:lnTo>
                                                                                                        <a:lnTo>
                                                                                                          <a:pt x="10" y="148"/>
                                                                                                        </a:lnTo>
                                                                                                        <a:lnTo>
                                                                                                          <a:pt x="10" y="144"/>
                                                                                                        </a:lnTo>
                                                                                                        <a:lnTo>
                                                                                                          <a:pt x="8" y="144"/>
                                                                                                        </a:lnTo>
                                                                                                        <a:lnTo>
                                                                                                          <a:pt x="6" y="142"/>
                                                                                                        </a:lnTo>
                                                                                                        <a:lnTo>
                                                                                                          <a:pt x="4" y="136"/>
                                                                                                        </a:lnTo>
                                                                                                        <a:lnTo>
                                                                                                          <a:pt x="4" y="136"/>
                                                                                                        </a:lnTo>
                                                                                                        <a:lnTo>
                                                                                                          <a:pt x="2" y="130"/>
                                                                                                        </a:lnTo>
                                                                                                        <a:lnTo>
                                                                                                          <a:pt x="0" y="124"/>
                                                                                                        </a:lnTo>
                                                                                                        <a:lnTo>
                                                                                                          <a:pt x="0" y="118"/>
                                                                                                        </a:lnTo>
                                                                                                        <a:lnTo>
                                                                                                          <a:pt x="4" y="112"/>
                                                                                                        </a:lnTo>
                                                                                                        <a:lnTo>
                                                                                                          <a:pt x="4" y="112"/>
                                                                                                        </a:lnTo>
                                                                                                        <a:lnTo>
                                                                                                          <a:pt x="6" y="104"/>
                                                                                                        </a:lnTo>
                                                                                                        <a:lnTo>
                                                                                                          <a:pt x="6" y="100"/>
                                                                                                        </a:lnTo>
                                                                                                        <a:lnTo>
                                                                                                          <a:pt x="8" y="94"/>
                                                                                                        </a:lnTo>
                                                                                                        <a:lnTo>
                                                                                                          <a:pt x="10" y="86"/>
                                                                                                        </a:lnTo>
                                                                                                        <a:lnTo>
                                                                                                          <a:pt x="10" y="86"/>
                                                                                                        </a:lnTo>
                                                                                                        <a:lnTo>
                                                                                                          <a:pt x="14" y="76"/>
                                                                                                        </a:lnTo>
                                                                                                        <a:lnTo>
                                                                                                          <a:pt x="16" y="68"/>
                                                                                                        </a:lnTo>
                                                                                                        <a:lnTo>
                                                                                                          <a:pt x="14" y="60"/>
                                                                                                        </a:lnTo>
                                                                                                        <a:lnTo>
                                                                                                          <a:pt x="12" y="54"/>
                                                                                                        </a:lnTo>
                                                                                                        <a:lnTo>
                                                                                                          <a:pt x="12" y="54"/>
                                                                                                        </a:lnTo>
                                                                                                        <a:lnTo>
                                                                                                          <a:pt x="12" y="48"/>
                                                                                                        </a:lnTo>
                                                                                                        <a:lnTo>
                                                                                                          <a:pt x="12" y="46"/>
                                                                                                        </a:lnTo>
                                                                                                        <a:lnTo>
                                                                                                          <a:pt x="12" y="44"/>
                                                                                                        </a:lnTo>
                                                                                                        <a:lnTo>
                                                                                                          <a:pt x="8" y="40"/>
                                                                                                        </a:lnTo>
                                                                                                        <a:lnTo>
                                                                                                          <a:pt x="8" y="40"/>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baseline="-25000" dirty="0">
                                                                                                      <a:solidFill>
                                                                                                        <a:schemeClr val="tx1"/>
                                                                                                      </a:solidFill>
                                                                                                    </a:endParaRPr>
                                                                                                  </a:p>
                                                                                                </p:txBody>
                                                                                              </p:sp>
                                                                                              <p:sp>
                                                                                                <p:nvSpPr>
                                                                                                  <p:cNvPr id="667" name="DR Congo"/>
                                                                                                  <p:cNvSpPr>
                                                                                                    <a:spLocks/>
                                                                                                  </p:cNvSpPr>
                                                                                                  <p:nvPr/>
                                                                                                </p:nvSpPr>
                                                                                                <p:spPr bwMode="auto">
                                                                                                  <a:xfrm>
                                                                                                    <a:off x="6176737" y="3472835"/>
                                                                                                    <a:ext cx="631829" cy="731395"/>
                                                                                                  </a:xfrm>
                                                                                                  <a:custGeom>
                                                                                                    <a:avLst/>
                                                                                                    <a:gdLst/>
                                                                                                    <a:ahLst/>
                                                                                                    <a:cxnLst>
                                                                                                      <a:cxn ang="0">
                                                                                                        <a:pos x="154" y="6"/>
                                                                                                      </a:cxn>
                                                                                                      <a:cxn ang="0">
                                                                                                        <a:pos x="184" y="14"/>
                                                                                                      </a:cxn>
                                                                                                      <a:cxn ang="0">
                                                                                                        <a:pos x="206" y="18"/>
                                                                                                      </a:cxn>
                                                                                                      <a:cxn ang="0">
                                                                                                        <a:pos x="236" y="16"/>
                                                                                                      </a:cxn>
                                                                                                      <a:cxn ang="0">
                                                                                                        <a:pos x="268" y="4"/>
                                                                                                      </a:cxn>
                                                                                                      <a:cxn ang="0">
                                                                                                        <a:pos x="278" y="2"/>
                                                                                                      </a:cxn>
                                                                                                      <a:cxn ang="0">
                                                                                                        <a:pos x="334" y="16"/>
                                                                                                      </a:cxn>
                                                                                                      <a:cxn ang="0">
                                                                                                        <a:pos x="358" y="24"/>
                                                                                                      </a:cxn>
                                                                                                      <a:cxn ang="0">
                                                                                                        <a:pos x="374" y="24"/>
                                                                                                      </a:cxn>
                                                                                                      <a:cxn ang="0">
                                                                                                        <a:pos x="398" y="54"/>
                                                                                                      </a:cxn>
                                                                                                      <a:cxn ang="0">
                                                                                                        <a:pos x="404" y="76"/>
                                                                                                      </a:cxn>
                                                                                                      <a:cxn ang="0">
                                                                                                        <a:pos x="414" y="82"/>
                                                                                                      </a:cxn>
                                                                                                      <a:cxn ang="0">
                                                                                                        <a:pos x="390" y="118"/>
                                                                                                      </a:cxn>
                                                                                                      <a:cxn ang="0">
                                                                                                        <a:pos x="374" y="154"/>
                                                                                                      </a:cxn>
                                                                                                      <a:cxn ang="0">
                                                                                                        <a:pos x="372" y="186"/>
                                                                                                      </a:cxn>
                                                                                                      <a:cxn ang="0">
                                                                                                        <a:pos x="360" y="198"/>
                                                                                                      </a:cxn>
                                                                                                      <a:cxn ang="0">
                                                                                                        <a:pos x="370" y="240"/>
                                                                                                      </a:cxn>
                                                                                                      <a:cxn ang="0">
                                                                                                        <a:pos x="368" y="270"/>
                                                                                                      </a:cxn>
                                                                                                      <a:cxn ang="0">
                                                                                                        <a:pos x="368" y="306"/>
                                                                                                      </a:cxn>
                                                                                                      <a:cxn ang="0">
                                                                                                        <a:pos x="388" y="354"/>
                                                                                                      </a:cxn>
                                                                                                      <a:cxn ang="0">
                                                                                                        <a:pos x="352" y="384"/>
                                                                                                      </a:cxn>
                                                                                                      <a:cxn ang="0">
                                                                                                        <a:pos x="358" y="398"/>
                                                                                                      </a:cxn>
                                                                                                      <a:cxn ang="0">
                                                                                                        <a:pos x="348" y="418"/>
                                                                                                      </a:cxn>
                                                                                                      <a:cxn ang="0">
                                                                                                        <a:pos x="346" y="442"/>
                                                                                                      </a:cxn>
                                                                                                      <a:cxn ang="0">
                                                                                                        <a:pos x="364" y="456"/>
                                                                                                      </a:cxn>
                                                                                                      <a:cxn ang="0">
                                                                                                        <a:pos x="360" y="476"/>
                                                                                                      </a:cxn>
                                                                                                      <a:cxn ang="0">
                                                                                                        <a:pos x="342" y="466"/>
                                                                                                      </a:cxn>
                                                                                                      <a:cxn ang="0">
                                                                                                        <a:pos x="312" y="446"/>
                                                                                                      </a:cxn>
                                                                                                      <a:cxn ang="0">
                                                                                                        <a:pos x="286" y="446"/>
                                                                                                      </a:cxn>
                                                                                                      <a:cxn ang="0">
                                                                                                        <a:pos x="276" y="432"/>
                                                                                                      </a:cxn>
                                                                                                      <a:cxn ang="0">
                                                                                                        <a:pos x="256" y="430"/>
                                                                                                      </a:cxn>
                                                                                                      <a:cxn ang="0">
                                                                                                        <a:pos x="210" y="434"/>
                                                                                                      </a:cxn>
                                                                                                      <a:cxn ang="0">
                                                                                                        <a:pos x="204" y="402"/>
                                                                                                      </a:cxn>
                                                                                                      <a:cxn ang="0">
                                                                                                        <a:pos x="200" y="356"/>
                                                                                                      </a:cxn>
                                                                                                      <a:cxn ang="0">
                                                                                                        <a:pos x="196" y="328"/>
                                                                                                      </a:cxn>
                                                                                                      <a:cxn ang="0">
                                                                                                        <a:pos x="178" y="322"/>
                                                                                                      </a:cxn>
                                                                                                      <a:cxn ang="0">
                                                                                                        <a:pos x="160" y="326"/>
                                                                                                      </a:cxn>
                                                                                                      <a:cxn ang="0">
                                                                                                        <a:pos x="150" y="340"/>
                                                                                                      </a:cxn>
                                                                                                      <a:cxn ang="0">
                                                                                                        <a:pos x="132" y="346"/>
                                                                                                      </a:cxn>
                                                                                                      <a:cxn ang="0">
                                                                                                        <a:pos x="110" y="342"/>
                                                                                                      </a:cxn>
                                                                                                      <a:cxn ang="0">
                                                                                                        <a:pos x="98" y="316"/>
                                                                                                      </a:cxn>
                                                                                                      <a:cxn ang="0">
                                                                                                        <a:pos x="82" y="294"/>
                                                                                                      </a:cxn>
                                                                                                      <a:cxn ang="0">
                                                                                                        <a:pos x="30" y="292"/>
                                                                                                      </a:cxn>
                                                                                                      <a:cxn ang="0">
                                                                                                        <a:pos x="10" y="298"/>
                                                                                                      </a:cxn>
                                                                                                      <a:cxn ang="0">
                                                                                                        <a:pos x="6" y="292"/>
                                                                                                      </a:cxn>
                                                                                                      <a:cxn ang="0">
                                                                                                        <a:pos x="12" y="258"/>
                                                                                                      </a:cxn>
                                                                                                      <a:cxn ang="0">
                                                                                                        <a:pos x="32" y="258"/>
                                                                                                      </a:cxn>
                                                                                                      <a:cxn ang="0">
                                                                                                        <a:pos x="46" y="256"/>
                                                                                                      </a:cxn>
                                                                                                      <a:cxn ang="0">
                                                                                                        <a:pos x="58" y="258"/>
                                                                                                      </a:cxn>
                                                                                                      <a:cxn ang="0">
                                                                                                        <a:pos x="84" y="230"/>
                                                                                                      </a:cxn>
                                                                                                      <a:cxn ang="0">
                                                                                                        <a:pos x="98" y="176"/>
                                                                                                      </a:cxn>
                                                                                                      <a:cxn ang="0">
                                                                                                        <a:pos x="124" y="140"/>
                                                                                                      </a:cxn>
                                                                                                      <a:cxn ang="0">
                                                                                                        <a:pos x="130" y="84"/>
                                                                                                      </a:cxn>
                                                                                                      <a:cxn ang="0">
                                                                                                        <a:pos x="136" y="58"/>
                                                                                                      </a:cxn>
                                                                                                    </a:cxnLst>
                                                                                                    <a:rect l="0" t="0" r="r" b="b"/>
                                                                                                    <a:pathLst>
                                                                                                      <a:path w="416" h="482">
                                                                                                        <a:moveTo>
                                                                                                          <a:pt x="138" y="42"/>
                                                                                                        </a:moveTo>
                                                                                                        <a:lnTo>
                                                                                                          <a:pt x="138" y="42"/>
                                                                                                        </a:lnTo>
                                                                                                        <a:lnTo>
                                                                                                          <a:pt x="142" y="22"/>
                                                                                                        </a:lnTo>
                                                                                                        <a:lnTo>
                                                                                                          <a:pt x="146" y="12"/>
                                                                                                        </a:lnTo>
                                                                                                        <a:lnTo>
                                                                                                          <a:pt x="150" y="8"/>
                                                                                                        </a:lnTo>
                                                                                                        <a:lnTo>
                                                                                                          <a:pt x="154" y="6"/>
                                                                                                        </a:lnTo>
                                                                                                        <a:lnTo>
                                                                                                          <a:pt x="162" y="4"/>
                                                                                                        </a:lnTo>
                                                                                                        <a:lnTo>
                                                                                                          <a:pt x="162" y="4"/>
                                                                                                        </a:lnTo>
                                                                                                        <a:lnTo>
                                                                                                          <a:pt x="168" y="4"/>
                                                                                                        </a:lnTo>
                                                                                                        <a:lnTo>
                                                                                                          <a:pt x="172" y="6"/>
                                                                                                        </a:lnTo>
                                                                                                        <a:lnTo>
                                                                                                          <a:pt x="178" y="10"/>
                                                                                                        </a:lnTo>
                                                                                                        <a:lnTo>
                                                                                                          <a:pt x="184" y="14"/>
                                                                                                        </a:lnTo>
                                                                                                        <a:lnTo>
                                                                                                          <a:pt x="186" y="16"/>
                                                                                                        </a:lnTo>
                                                                                                        <a:lnTo>
                                                                                                          <a:pt x="190" y="14"/>
                                                                                                        </a:lnTo>
                                                                                                        <a:lnTo>
                                                                                                          <a:pt x="190" y="14"/>
                                                                                                        </a:lnTo>
                                                                                                        <a:lnTo>
                                                                                                          <a:pt x="194" y="14"/>
                                                                                                        </a:lnTo>
                                                                                                        <a:lnTo>
                                                                                                          <a:pt x="198" y="16"/>
                                                                                                        </a:lnTo>
                                                                                                        <a:lnTo>
                                                                                                          <a:pt x="206" y="18"/>
                                                                                                        </a:lnTo>
                                                                                                        <a:lnTo>
                                                                                                          <a:pt x="216" y="22"/>
                                                                                                        </a:lnTo>
                                                                                                        <a:lnTo>
                                                                                                          <a:pt x="222" y="24"/>
                                                                                                        </a:lnTo>
                                                                                                        <a:lnTo>
                                                                                                          <a:pt x="230" y="22"/>
                                                                                                        </a:lnTo>
                                                                                                        <a:lnTo>
                                                                                                          <a:pt x="230" y="22"/>
                                                                                                        </a:lnTo>
                                                                                                        <a:lnTo>
                                                                                                          <a:pt x="232" y="20"/>
                                                                                                        </a:lnTo>
                                                                                                        <a:lnTo>
                                                                                                          <a:pt x="236" y="16"/>
                                                                                                        </a:lnTo>
                                                                                                        <a:lnTo>
                                                                                                          <a:pt x="240" y="12"/>
                                                                                                        </a:lnTo>
                                                                                                        <a:lnTo>
                                                                                                          <a:pt x="250" y="10"/>
                                                                                                        </a:lnTo>
                                                                                                        <a:lnTo>
                                                                                                          <a:pt x="250" y="10"/>
                                                                                                        </a:lnTo>
                                                                                                        <a:lnTo>
                                                                                                          <a:pt x="264" y="8"/>
                                                                                                        </a:lnTo>
                                                                                                        <a:lnTo>
                                                                                                          <a:pt x="266" y="6"/>
                                                                                                        </a:lnTo>
                                                                                                        <a:lnTo>
                                                                                                          <a:pt x="268" y="4"/>
                                                                                                        </a:lnTo>
                                                                                                        <a:lnTo>
                                                                                                          <a:pt x="268" y="2"/>
                                                                                                        </a:lnTo>
                                                                                                        <a:lnTo>
                                                                                                          <a:pt x="268" y="0"/>
                                                                                                        </a:lnTo>
                                                                                                        <a:lnTo>
                                                                                                          <a:pt x="272" y="0"/>
                                                                                                        </a:lnTo>
                                                                                                        <a:lnTo>
                                                                                                          <a:pt x="272" y="0"/>
                                                                                                        </a:lnTo>
                                                                                                        <a:lnTo>
                                                                                                          <a:pt x="274" y="0"/>
                                                                                                        </a:lnTo>
                                                                                                        <a:lnTo>
                                                                                                          <a:pt x="278" y="2"/>
                                                                                                        </a:lnTo>
                                                                                                        <a:lnTo>
                                                                                                          <a:pt x="290" y="4"/>
                                                                                                        </a:lnTo>
                                                                                                        <a:lnTo>
                                                                                                          <a:pt x="324" y="6"/>
                                                                                                        </a:lnTo>
                                                                                                        <a:lnTo>
                                                                                                          <a:pt x="324" y="6"/>
                                                                                                        </a:lnTo>
                                                                                                        <a:lnTo>
                                                                                                          <a:pt x="328" y="12"/>
                                                                                                        </a:lnTo>
                                                                                                        <a:lnTo>
                                                                                                          <a:pt x="330" y="14"/>
                                                                                                        </a:lnTo>
                                                                                                        <a:lnTo>
                                                                                                          <a:pt x="334" y="16"/>
                                                                                                        </a:lnTo>
                                                                                                        <a:lnTo>
                                                                                                          <a:pt x="338" y="20"/>
                                                                                                        </a:lnTo>
                                                                                                        <a:lnTo>
                                                                                                          <a:pt x="338" y="20"/>
                                                                                                        </a:lnTo>
                                                                                                        <a:lnTo>
                                                                                                          <a:pt x="342" y="24"/>
                                                                                                        </a:lnTo>
                                                                                                        <a:lnTo>
                                                                                                          <a:pt x="346" y="24"/>
                                                                                                        </a:lnTo>
                                                                                                        <a:lnTo>
                                                                                                          <a:pt x="350" y="24"/>
                                                                                                        </a:lnTo>
                                                                                                        <a:lnTo>
                                                                                                          <a:pt x="358" y="24"/>
                                                                                                        </a:lnTo>
                                                                                                        <a:lnTo>
                                                                                                          <a:pt x="358" y="24"/>
                                                                                                        </a:lnTo>
                                                                                                        <a:lnTo>
                                                                                                          <a:pt x="362" y="24"/>
                                                                                                        </a:lnTo>
                                                                                                        <a:lnTo>
                                                                                                          <a:pt x="364" y="22"/>
                                                                                                        </a:lnTo>
                                                                                                        <a:lnTo>
                                                                                                          <a:pt x="368" y="20"/>
                                                                                                        </a:lnTo>
                                                                                                        <a:lnTo>
                                                                                                          <a:pt x="374" y="24"/>
                                                                                                        </a:lnTo>
                                                                                                        <a:lnTo>
                                                                                                          <a:pt x="374" y="24"/>
                                                                                                        </a:lnTo>
                                                                                                        <a:lnTo>
                                                                                                          <a:pt x="392" y="38"/>
                                                                                                        </a:lnTo>
                                                                                                        <a:lnTo>
                                                                                                          <a:pt x="398" y="42"/>
                                                                                                        </a:lnTo>
                                                                                                        <a:lnTo>
                                                                                                          <a:pt x="404" y="42"/>
                                                                                                        </a:lnTo>
                                                                                                        <a:lnTo>
                                                                                                          <a:pt x="404" y="42"/>
                                                                                                        </a:lnTo>
                                                                                                        <a:lnTo>
                                                                                                          <a:pt x="398" y="52"/>
                                                                                                        </a:lnTo>
                                                                                                        <a:lnTo>
                                                                                                          <a:pt x="398" y="54"/>
                                                                                                        </a:lnTo>
                                                                                                        <a:lnTo>
                                                                                                          <a:pt x="400" y="56"/>
                                                                                                        </a:lnTo>
                                                                                                        <a:lnTo>
                                                                                                          <a:pt x="400" y="64"/>
                                                                                                        </a:lnTo>
                                                                                                        <a:lnTo>
                                                                                                          <a:pt x="400" y="64"/>
                                                                                                        </a:lnTo>
                                                                                                        <a:lnTo>
                                                                                                          <a:pt x="400" y="70"/>
                                                                                                        </a:lnTo>
                                                                                                        <a:lnTo>
                                                                                                          <a:pt x="402" y="74"/>
                                                                                                        </a:lnTo>
                                                                                                        <a:lnTo>
                                                                                                          <a:pt x="404" y="76"/>
                                                                                                        </a:lnTo>
                                                                                                        <a:lnTo>
                                                                                                          <a:pt x="406" y="76"/>
                                                                                                        </a:lnTo>
                                                                                                        <a:lnTo>
                                                                                                          <a:pt x="412" y="78"/>
                                                                                                        </a:lnTo>
                                                                                                        <a:lnTo>
                                                                                                          <a:pt x="414" y="78"/>
                                                                                                        </a:lnTo>
                                                                                                        <a:lnTo>
                                                                                                          <a:pt x="416" y="80"/>
                                                                                                        </a:lnTo>
                                                                                                        <a:lnTo>
                                                                                                          <a:pt x="416" y="80"/>
                                                                                                        </a:lnTo>
                                                                                                        <a:lnTo>
                                                                                                          <a:pt x="414" y="82"/>
                                                                                                        </a:lnTo>
                                                                                                        <a:lnTo>
                                                                                                          <a:pt x="412" y="82"/>
                                                                                                        </a:lnTo>
                                                                                                        <a:lnTo>
                                                                                                          <a:pt x="410" y="86"/>
                                                                                                        </a:lnTo>
                                                                                                        <a:lnTo>
                                                                                                          <a:pt x="406" y="94"/>
                                                                                                        </a:lnTo>
                                                                                                        <a:lnTo>
                                                                                                          <a:pt x="406" y="94"/>
                                                                                                        </a:lnTo>
                                                                                                        <a:lnTo>
                                                                                                          <a:pt x="398" y="110"/>
                                                                                                        </a:lnTo>
                                                                                                        <a:lnTo>
                                                                                                          <a:pt x="390" y="118"/>
                                                                                                        </a:lnTo>
                                                                                                        <a:lnTo>
                                                                                                          <a:pt x="384" y="124"/>
                                                                                                        </a:lnTo>
                                                                                                        <a:lnTo>
                                                                                                          <a:pt x="382" y="132"/>
                                                                                                        </a:lnTo>
                                                                                                        <a:lnTo>
                                                                                                          <a:pt x="382" y="132"/>
                                                                                                        </a:lnTo>
                                                                                                        <a:lnTo>
                                                                                                          <a:pt x="378" y="142"/>
                                                                                                        </a:lnTo>
                                                                                                        <a:lnTo>
                                                                                                          <a:pt x="376" y="148"/>
                                                                                                        </a:lnTo>
                                                                                                        <a:lnTo>
                                                                                                          <a:pt x="374" y="154"/>
                                                                                                        </a:lnTo>
                                                                                                        <a:lnTo>
                                                                                                          <a:pt x="378" y="166"/>
                                                                                                        </a:lnTo>
                                                                                                        <a:lnTo>
                                                                                                          <a:pt x="378" y="166"/>
                                                                                                        </a:lnTo>
                                                                                                        <a:lnTo>
                                                                                                          <a:pt x="374" y="170"/>
                                                                                                        </a:lnTo>
                                                                                                        <a:lnTo>
                                                                                                          <a:pt x="372" y="174"/>
                                                                                                        </a:lnTo>
                                                                                                        <a:lnTo>
                                                                                                          <a:pt x="372" y="182"/>
                                                                                                        </a:lnTo>
                                                                                                        <a:lnTo>
                                                                                                          <a:pt x="372" y="186"/>
                                                                                                        </a:lnTo>
                                                                                                        <a:lnTo>
                                                                                                          <a:pt x="372" y="188"/>
                                                                                                        </a:lnTo>
                                                                                                        <a:lnTo>
                                                                                                          <a:pt x="370" y="192"/>
                                                                                                        </a:lnTo>
                                                                                                        <a:lnTo>
                                                                                                          <a:pt x="364" y="196"/>
                                                                                                        </a:lnTo>
                                                                                                        <a:lnTo>
                                                                                                          <a:pt x="364" y="196"/>
                                                                                                        </a:lnTo>
                                                                                                        <a:lnTo>
                                                                                                          <a:pt x="362" y="196"/>
                                                                                                        </a:lnTo>
                                                                                                        <a:lnTo>
                                                                                                          <a:pt x="360" y="198"/>
                                                                                                        </a:lnTo>
                                                                                                        <a:lnTo>
                                                                                                          <a:pt x="358" y="202"/>
                                                                                                        </a:lnTo>
                                                                                                        <a:lnTo>
                                                                                                          <a:pt x="360" y="210"/>
                                                                                                        </a:lnTo>
                                                                                                        <a:lnTo>
                                                                                                          <a:pt x="360" y="210"/>
                                                                                                        </a:lnTo>
                                                                                                        <a:lnTo>
                                                                                                          <a:pt x="366" y="234"/>
                                                                                                        </a:lnTo>
                                                                                                        <a:lnTo>
                                                                                                          <a:pt x="368" y="238"/>
                                                                                                        </a:lnTo>
                                                                                                        <a:lnTo>
                                                                                                          <a:pt x="370" y="240"/>
                                                                                                        </a:lnTo>
                                                                                                        <a:lnTo>
                                                                                                          <a:pt x="372" y="240"/>
                                                                                                        </a:lnTo>
                                                                                                        <a:lnTo>
                                                                                                          <a:pt x="372" y="240"/>
                                                                                                        </a:lnTo>
                                                                                                        <a:lnTo>
                                                                                                          <a:pt x="374" y="242"/>
                                                                                                        </a:lnTo>
                                                                                                        <a:lnTo>
                                                                                                          <a:pt x="374" y="242"/>
                                                                                                        </a:lnTo>
                                                                                                        <a:lnTo>
                                                                                                          <a:pt x="370" y="258"/>
                                                                                                        </a:lnTo>
                                                                                                        <a:lnTo>
                                                                                                          <a:pt x="368" y="270"/>
                                                                                                        </a:lnTo>
                                                                                                        <a:lnTo>
                                                                                                          <a:pt x="368" y="280"/>
                                                                                                        </a:lnTo>
                                                                                                        <a:lnTo>
                                                                                                          <a:pt x="368" y="288"/>
                                                                                                        </a:lnTo>
                                                                                                        <a:lnTo>
                                                                                                          <a:pt x="370" y="298"/>
                                                                                                        </a:lnTo>
                                                                                                        <a:lnTo>
                                                                                                          <a:pt x="370" y="302"/>
                                                                                                        </a:lnTo>
                                                                                                        <a:lnTo>
                                                                                                          <a:pt x="368" y="306"/>
                                                                                                        </a:lnTo>
                                                                                                        <a:lnTo>
                                                                                                          <a:pt x="368" y="306"/>
                                                                                                        </a:lnTo>
                                                                                                        <a:lnTo>
                                                                                                          <a:pt x="366" y="310"/>
                                                                                                        </a:lnTo>
                                                                                                        <a:lnTo>
                                                                                                          <a:pt x="368" y="314"/>
                                                                                                        </a:lnTo>
                                                                                                        <a:lnTo>
                                                                                                          <a:pt x="374" y="326"/>
                                                                                                        </a:lnTo>
                                                                                                        <a:lnTo>
                                                                                                          <a:pt x="384" y="340"/>
                                                                                                        </a:lnTo>
                                                                                                        <a:lnTo>
                                                                                                          <a:pt x="386" y="346"/>
                                                                                                        </a:lnTo>
                                                                                                        <a:lnTo>
                                                                                                          <a:pt x="388" y="354"/>
                                                                                                        </a:lnTo>
                                                                                                        <a:lnTo>
                                                                                                          <a:pt x="358" y="364"/>
                                                                                                        </a:lnTo>
                                                                                                        <a:lnTo>
                                                                                                          <a:pt x="358" y="364"/>
                                                                                                        </a:lnTo>
                                                                                                        <a:lnTo>
                                                                                                          <a:pt x="360" y="368"/>
                                                                                                        </a:lnTo>
                                                                                                        <a:lnTo>
                                                                                                          <a:pt x="360" y="374"/>
                                                                                                        </a:lnTo>
                                                                                                        <a:lnTo>
                                                                                                          <a:pt x="358" y="380"/>
                                                                                                        </a:lnTo>
                                                                                                        <a:lnTo>
                                                                                                          <a:pt x="352" y="384"/>
                                                                                                        </a:lnTo>
                                                                                                        <a:lnTo>
                                                                                                          <a:pt x="352" y="384"/>
                                                                                                        </a:lnTo>
                                                                                                        <a:lnTo>
                                                                                                          <a:pt x="354" y="390"/>
                                                                                                        </a:lnTo>
                                                                                                        <a:lnTo>
                                                                                                          <a:pt x="356" y="392"/>
                                                                                                        </a:lnTo>
                                                                                                        <a:lnTo>
                                                                                                          <a:pt x="358" y="394"/>
                                                                                                        </a:lnTo>
                                                                                                        <a:lnTo>
                                                                                                          <a:pt x="358" y="398"/>
                                                                                                        </a:lnTo>
                                                                                                        <a:lnTo>
                                                                                                          <a:pt x="358" y="398"/>
                                                                                                        </a:lnTo>
                                                                                                        <a:lnTo>
                                                                                                          <a:pt x="356" y="402"/>
                                                                                                        </a:lnTo>
                                                                                                        <a:lnTo>
                                                                                                          <a:pt x="356" y="406"/>
                                                                                                        </a:lnTo>
                                                                                                        <a:lnTo>
                                                                                                          <a:pt x="354" y="410"/>
                                                                                                        </a:lnTo>
                                                                                                        <a:lnTo>
                                                                                                          <a:pt x="350" y="414"/>
                                                                                                        </a:lnTo>
                                                                                                        <a:lnTo>
                                                                                                          <a:pt x="350" y="414"/>
                                                                                                        </a:lnTo>
                                                                                                        <a:lnTo>
                                                                                                          <a:pt x="348" y="418"/>
                                                                                                        </a:lnTo>
                                                                                                        <a:lnTo>
                                                                                                          <a:pt x="346" y="422"/>
                                                                                                        </a:lnTo>
                                                                                                        <a:lnTo>
                                                                                                          <a:pt x="346" y="430"/>
                                                                                                        </a:lnTo>
                                                                                                        <a:lnTo>
                                                                                                          <a:pt x="346" y="436"/>
                                                                                                        </a:lnTo>
                                                                                                        <a:lnTo>
                                                                                                          <a:pt x="348" y="440"/>
                                                                                                        </a:lnTo>
                                                                                                        <a:lnTo>
                                                                                                          <a:pt x="348" y="440"/>
                                                                                                        </a:lnTo>
                                                                                                        <a:lnTo>
                                                                                                          <a:pt x="346" y="442"/>
                                                                                                        </a:lnTo>
                                                                                                        <a:lnTo>
                                                                                                          <a:pt x="346" y="446"/>
                                                                                                        </a:lnTo>
                                                                                                        <a:lnTo>
                                                                                                          <a:pt x="356" y="454"/>
                                                                                                        </a:lnTo>
                                                                                                        <a:lnTo>
                                                                                                          <a:pt x="356" y="454"/>
                                                                                                        </a:lnTo>
                                                                                                        <a:lnTo>
                                                                                                          <a:pt x="362" y="458"/>
                                                                                                        </a:lnTo>
                                                                                                        <a:lnTo>
                                                                                                          <a:pt x="364" y="458"/>
                                                                                                        </a:lnTo>
                                                                                                        <a:lnTo>
                                                                                                          <a:pt x="364" y="456"/>
                                                                                                        </a:lnTo>
                                                                                                        <a:lnTo>
                                                                                                          <a:pt x="368" y="456"/>
                                                                                                        </a:lnTo>
                                                                                                        <a:lnTo>
                                                                                                          <a:pt x="368" y="482"/>
                                                                                                        </a:lnTo>
                                                                                                        <a:lnTo>
                                                                                                          <a:pt x="368" y="482"/>
                                                                                                        </a:lnTo>
                                                                                                        <a:lnTo>
                                                                                                          <a:pt x="364" y="480"/>
                                                                                                        </a:lnTo>
                                                                                                        <a:lnTo>
                                                                                                          <a:pt x="362" y="480"/>
                                                                                                        </a:lnTo>
                                                                                                        <a:lnTo>
                                                                                                          <a:pt x="360" y="476"/>
                                                                                                        </a:lnTo>
                                                                                                        <a:lnTo>
                                                                                                          <a:pt x="360" y="476"/>
                                                                                                        </a:lnTo>
                                                                                                        <a:lnTo>
                                                                                                          <a:pt x="358" y="474"/>
                                                                                                        </a:lnTo>
                                                                                                        <a:lnTo>
                                                                                                          <a:pt x="354" y="474"/>
                                                                                                        </a:lnTo>
                                                                                                        <a:lnTo>
                                                                                                          <a:pt x="348" y="472"/>
                                                                                                        </a:lnTo>
                                                                                                        <a:lnTo>
                                                                                                          <a:pt x="342" y="466"/>
                                                                                                        </a:lnTo>
                                                                                                        <a:lnTo>
                                                                                                          <a:pt x="342" y="466"/>
                                                                                                        </a:lnTo>
                                                                                                        <a:lnTo>
                                                                                                          <a:pt x="334" y="458"/>
                                                                                                        </a:lnTo>
                                                                                                        <a:lnTo>
                                                                                                          <a:pt x="328" y="456"/>
                                                                                                        </a:lnTo>
                                                                                                        <a:lnTo>
                                                                                                          <a:pt x="322" y="454"/>
                                                                                                        </a:lnTo>
                                                                                                        <a:lnTo>
                                                                                                          <a:pt x="318" y="450"/>
                                                                                                        </a:lnTo>
                                                                                                        <a:lnTo>
                                                                                                          <a:pt x="318" y="450"/>
                                                                                                        </a:lnTo>
                                                                                                        <a:lnTo>
                                                                                                          <a:pt x="312" y="446"/>
                                                                                                        </a:lnTo>
                                                                                                        <a:lnTo>
                                                                                                          <a:pt x="308" y="448"/>
                                                                                                        </a:lnTo>
                                                                                                        <a:lnTo>
                                                                                                          <a:pt x="304" y="448"/>
                                                                                                        </a:lnTo>
                                                                                                        <a:lnTo>
                                                                                                          <a:pt x="296" y="448"/>
                                                                                                        </a:lnTo>
                                                                                                        <a:lnTo>
                                                                                                          <a:pt x="296" y="448"/>
                                                                                                        </a:lnTo>
                                                                                                        <a:lnTo>
                                                                                                          <a:pt x="288" y="446"/>
                                                                                                        </a:lnTo>
                                                                                                        <a:lnTo>
                                                                                                          <a:pt x="286" y="446"/>
                                                                                                        </a:lnTo>
                                                                                                        <a:lnTo>
                                                                                                          <a:pt x="284" y="446"/>
                                                                                                        </a:lnTo>
                                                                                                        <a:lnTo>
                                                                                                          <a:pt x="280" y="444"/>
                                                                                                        </a:lnTo>
                                                                                                        <a:lnTo>
                                                                                                          <a:pt x="280" y="444"/>
                                                                                                        </a:lnTo>
                                                                                                        <a:lnTo>
                                                                                                          <a:pt x="276" y="440"/>
                                                                                                        </a:lnTo>
                                                                                                        <a:lnTo>
                                                                                                          <a:pt x="276" y="436"/>
                                                                                                        </a:lnTo>
                                                                                                        <a:lnTo>
                                                                                                          <a:pt x="276" y="432"/>
                                                                                                        </a:lnTo>
                                                                                                        <a:lnTo>
                                                                                                          <a:pt x="276" y="432"/>
                                                                                                        </a:lnTo>
                                                                                                        <a:lnTo>
                                                                                                          <a:pt x="274" y="430"/>
                                                                                                        </a:lnTo>
                                                                                                        <a:lnTo>
                                                                                                          <a:pt x="264" y="432"/>
                                                                                                        </a:lnTo>
                                                                                                        <a:lnTo>
                                                                                                          <a:pt x="264" y="432"/>
                                                                                                        </a:lnTo>
                                                                                                        <a:lnTo>
                                                                                                          <a:pt x="258" y="432"/>
                                                                                                        </a:lnTo>
                                                                                                        <a:lnTo>
                                                                                                          <a:pt x="256" y="430"/>
                                                                                                        </a:lnTo>
                                                                                                        <a:lnTo>
                                                                                                          <a:pt x="254" y="428"/>
                                                                                                        </a:lnTo>
                                                                                                        <a:lnTo>
                                                                                                          <a:pt x="252" y="426"/>
                                                                                                        </a:lnTo>
                                                                                                        <a:lnTo>
                                                                                                          <a:pt x="252" y="426"/>
                                                                                                        </a:lnTo>
                                                                                                        <a:lnTo>
                                                                                                          <a:pt x="238" y="428"/>
                                                                                                        </a:lnTo>
                                                                                                        <a:lnTo>
                                                                                                          <a:pt x="236" y="426"/>
                                                                                                        </a:lnTo>
                                                                                                        <a:lnTo>
                                                                                                          <a:pt x="210" y="434"/>
                                                                                                        </a:lnTo>
                                                                                                        <a:lnTo>
                                                                                                          <a:pt x="210" y="434"/>
                                                                                                        </a:lnTo>
                                                                                                        <a:lnTo>
                                                                                                          <a:pt x="210" y="420"/>
                                                                                                        </a:lnTo>
                                                                                                        <a:lnTo>
                                                                                                          <a:pt x="210" y="412"/>
                                                                                                        </a:lnTo>
                                                                                                        <a:lnTo>
                                                                                                          <a:pt x="208" y="406"/>
                                                                                                        </a:lnTo>
                                                                                                        <a:lnTo>
                                                                                                          <a:pt x="206" y="404"/>
                                                                                                        </a:lnTo>
                                                                                                        <a:lnTo>
                                                                                                          <a:pt x="204" y="402"/>
                                                                                                        </a:lnTo>
                                                                                                        <a:lnTo>
                                                                                                          <a:pt x="202" y="398"/>
                                                                                                        </a:lnTo>
                                                                                                        <a:lnTo>
                                                                                                          <a:pt x="202" y="390"/>
                                                                                                        </a:lnTo>
                                                                                                        <a:lnTo>
                                                                                                          <a:pt x="202" y="378"/>
                                                                                                        </a:lnTo>
                                                                                                        <a:lnTo>
                                                                                                          <a:pt x="202" y="378"/>
                                                                                                        </a:lnTo>
                                                                                                        <a:lnTo>
                                                                                                          <a:pt x="200" y="366"/>
                                                                                                        </a:lnTo>
                                                                                                        <a:lnTo>
                                                                                                          <a:pt x="200" y="356"/>
                                                                                                        </a:lnTo>
                                                                                                        <a:lnTo>
                                                                                                          <a:pt x="198" y="348"/>
                                                                                                        </a:lnTo>
                                                                                                        <a:lnTo>
                                                                                                          <a:pt x="200" y="340"/>
                                                                                                        </a:lnTo>
                                                                                                        <a:lnTo>
                                                                                                          <a:pt x="200" y="340"/>
                                                                                                        </a:lnTo>
                                                                                                        <a:lnTo>
                                                                                                          <a:pt x="202" y="334"/>
                                                                                                        </a:lnTo>
                                                                                                        <a:lnTo>
                                                                                                          <a:pt x="200" y="330"/>
                                                                                                        </a:lnTo>
                                                                                                        <a:lnTo>
                                                                                                          <a:pt x="196" y="328"/>
                                                                                                        </a:lnTo>
                                                                                                        <a:lnTo>
                                                                                                          <a:pt x="188" y="328"/>
                                                                                                        </a:lnTo>
                                                                                                        <a:lnTo>
                                                                                                          <a:pt x="188" y="328"/>
                                                                                                        </a:lnTo>
                                                                                                        <a:lnTo>
                                                                                                          <a:pt x="182" y="328"/>
                                                                                                        </a:lnTo>
                                                                                                        <a:lnTo>
                                                                                                          <a:pt x="182" y="326"/>
                                                                                                        </a:lnTo>
                                                                                                        <a:lnTo>
                                                                                                          <a:pt x="182" y="324"/>
                                                                                                        </a:lnTo>
                                                                                                        <a:lnTo>
                                                                                                          <a:pt x="178" y="322"/>
                                                                                                        </a:lnTo>
                                                                                                        <a:lnTo>
                                                                                                          <a:pt x="178" y="322"/>
                                                                                                        </a:lnTo>
                                                                                                        <a:lnTo>
                                                                                                          <a:pt x="172" y="322"/>
                                                                                                        </a:lnTo>
                                                                                                        <a:lnTo>
                                                                                                          <a:pt x="170" y="324"/>
                                                                                                        </a:lnTo>
                                                                                                        <a:lnTo>
                                                                                                          <a:pt x="168" y="324"/>
                                                                                                        </a:lnTo>
                                                                                                        <a:lnTo>
                                                                                                          <a:pt x="160" y="326"/>
                                                                                                        </a:lnTo>
                                                                                                        <a:lnTo>
                                                                                                          <a:pt x="160" y="326"/>
                                                                                                        </a:lnTo>
                                                                                                        <a:lnTo>
                                                                                                          <a:pt x="154" y="328"/>
                                                                                                        </a:lnTo>
                                                                                                        <a:lnTo>
                                                                                                          <a:pt x="152" y="330"/>
                                                                                                        </a:lnTo>
                                                                                                        <a:lnTo>
                                                                                                          <a:pt x="152" y="334"/>
                                                                                                        </a:lnTo>
                                                                                                        <a:lnTo>
                                                                                                          <a:pt x="152" y="336"/>
                                                                                                        </a:lnTo>
                                                                                                        <a:lnTo>
                                                                                                          <a:pt x="152" y="336"/>
                                                                                                        </a:lnTo>
                                                                                                        <a:lnTo>
                                                                                                          <a:pt x="150" y="340"/>
                                                                                                        </a:lnTo>
                                                                                                        <a:lnTo>
                                                                                                          <a:pt x="148" y="346"/>
                                                                                                        </a:lnTo>
                                                                                                        <a:lnTo>
                                                                                                          <a:pt x="146" y="348"/>
                                                                                                        </a:lnTo>
                                                                                                        <a:lnTo>
                                                                                                          <a:pt x="140" y="346"/>
                                                                                                        </a:lnTo>
                                                                                                        <a:lnTo>
                                                                                                          <a:pt x="140" y="346"/>
                                                                                                        </a:lnTo>
                                                                                                        <a:lnTo>
                                                                                                          <a:pt x="136" y="344"/>
                                                                                                        </a:lnTo>
                                                                                                        <a:lnTo>
                                                                                                          <a:pt x="132" y="346"/>
                                                                                                        </a:lnTo>
                                                                                                        <a:lnTo>
                                                                                                          <a:pt x="128" y="348"/>
                                                                                                        </a:lnTo>
                                                                                                        <a:lnTo>
                                                                                                          <a:pt x="120" y="350"/>
                                                                                                        </a:lnTo>
                                                                                                        <a:lnTo>
                                                                                                          <a:pt x="120" y="350"/>
                                                                                                        </a:lnTo>
                                                                                                        <a:lnTo>
                                                                                                          <a:pt x="116" y="350"/>
                                                                                                        </a:lnTo>
                                                                                                        <a:lnTo>
                                                                                                          <a:pt x="112" y="348"/>
                                                                                                        </a:lnTo>
                                                                                                        <a:lnTo>
                                                                                                          <a:pt x="110" y="342"/>
                                                                                                        </a:lnTo>
                                                                                                        <a:lnTo>
                                                                                                          <a:pt x="108" y="334"/>
                                                                                                        </a:lnTo>
                                                                                                        <a:lnTo>
                                                                                                          <a:pt x="106" y="330"/>
                                                                                                        </a:lnTo>
                                                                                                        <a:lnTo>
                                                                                                          <a:pt x="102" y="326"/>
                                                                                                        </a:lnTo>
                                                                                                        <a:lnTo>
                                                                                                          <a:pt x="102" y="326"/>
                                                                                                        </a:lnTo>
                                                                                                        <a:lnTo>
                                                                                                          <a:pt x="98" y="322"/>
                                                                                                        </a:lnTo>
                                                                                                        <a:lnTo>
                                                                                                          <a:pt x="98" y="316"/>
                                                                                                        </a:lnTo>
                                                                                                        <a:lnTo>
                                                                                                          <a:pt x="96" y="306"/>
                                                                                                        </a:lnTo>
                                                                                                        <a:lnTo>
                                                                                                          <a:pt x="96" y="298"/>
                                                                                                        </a:lnTo>
                                                                                                        <a:lnTo>
                                                                                                          <a:pt x="94" y="294"/>
                                                                                                        </a:lnTo>
                                                                                                        <a:lnTo>
                                                                                                          <a:pt x="90" y="294"/>
                                                                                                        </a:lnTo>
                                                                                                        <a:lnTo>
                                                                                                          <a:pt x="90" y="294"/>
                                                                                                        </a:lnTo>
                                                                                                        <a:lnTo>
                                                                                                          <a:pt x="82" y="294"/>
                                                                                                        </a:lnTo>
                                                                                                        <a:lnTo>
                                                                                                          <a:pt x="76" y="292"/>
                                                                                                        </a:lnTo>
                                                                                                        <a:lnTo>
                                                                                                          <a:pt x="72" y="292"/>
                                                                                                        </a:lnTo>
                                                                                                        <a:lnTo>
                                                                                                          <a:pt x="64" y="292"/>
                                                                                                        </a:lnTo>
                                                                                                        <a:lnTo>
                                                                                                          <a:pt x="64" y="292"/>
                                                                                                        </a:lnTo>
                                                                                                        <a:lnTo>
                                                                                                          <a:pt x="38" y="292"/>
                                                                                                        </a:lnTo>
                                                                                                        <a:lnTo>
                                                                                                          <a:pt x="30" y="292"/>
                                                                                                        </a:lnTo>
                                                                                                        <a:lnTo>
                                                                                                          <a:pt x="22" y="294"/>
                                                                                                        </a:lnTo>
                                                                                                        <a:lnTo>
                                                                                                          <a:pt x="22" y="294"/>
                                                                                                        </a:lnTo>
                                                                                                        <a:lnTo>
                                                                                                          <a:pt x="18" y="296"/>
                                                                                                        </a:lnTo>
                                                                                                        <a:lnTo>
                                                                                                          <a:pt x="14" y="296"/>
                                                                                                        </a:lnTo>
                                                                                                        <a:lnTo>
                                                                                                          <a:pt x="12" y="296"/>
                                                                                                        </a:lnTo>
                                                                                                        <a:lnTo>
                                                                                                          <a:pt x="10" y="298"/>
                                                                                                        </a:lnTo>
                                                                                                        <a:lnTo>
                                                                                                          <a:pt x="10" y="298"/>
                                                                                                        </a:lnTo>
                                                                                                        <a:lnTo>
                                                                                                          <a:pt x="6" y="298"/>
                                                                                                        </a:lnTo>
                                                                                                        <a:lnTo>
                                                                                                          <a:pt x="2" y="298"/>
                                                                                                        </a:lnTo>
                                                                                                        <a:lnTo>
                                                                                                          <a:pt x="0" y="294"/>
                                                                                                        </a:lnTo>
                                                                                                        <a:lnTo>
                                                                                                          <a:pt x="0" y="294"/>
                                                                                                        </a:lnTo>
                                                                                                        <a:lnTo>
                                                                                                          <a:pt x="6" y="292"/>
                                                                                                        </a:lnTo>
                                                                                                        <a:lnTo>
                                                                                                          <a:pt x="10" y="290"/>
                                                                                                        </a:lnTo>
                                                                                                        <a:lnTo>
                                                                                                          <a:pt x="6" y="276"/>
                                                                                                        </a:lnTo>
                                                                                                        <a:lnTo>
                                                                                                          <a:pt x="6" y="276"/>
                                                                                                        </a:lnTo>
                                                                                                        <a:lnTo>
                                                                                                          <a:pt x="6" y="266"/>
                                                                                                        </a:lnTo>
                                                                                                        <a:lnTo>
                                                                                                          <a:pt x="10" y="260"/>
                                                                                                        </a:lnTo>
                                                                                                        <a:lnTo>
                                                                                                          <a:pt x="12" y="258"/>
                                                                                                        </a:lnTo>
                                                                                                        <a:lnTo>
                                                                                                          <a:pt x="16" y="254"/>
                                                                                                        </a:lnTo>
                                                                                                        <a:lnTo>
                                                                                                          <a:pt x="16" y="254"/>
                                                                                                        </a:lnTo>
                                                                                                        <a:lnTo>
                                                                                                          <a:pt x="24" y="260"/>
                                                                                                        </a:lnTo>
                                                                                                        <a:lnTo>
                                                                                                          <a:pt x="28" y="260"/>
                                                                                                        </a:lnTo>
                                                                                                        <a:lnTo>
                                                                                                          <a:pt x="32" y="258"/>
                                                                                                        </a:lnTo>
                                                                                                        <a:lnTo>
                                                                                                          <a:pt x="32" y="258"/>
                                                                                                        </a:lnTo>
                                                                                                        <a:lnTo>
                                                                                                          <a:pt x="36" y="254"/>
                                                                                                        </a:lnTo>
                                                                                                        <a:lnTo>
                                                                                                          <a:pt x="38" y="254"/>
                                                                                                        </a:lnTo>
                                                                                                        <a:lnTo>
                                                                                                          <a:pt x="38" y="256"/>
                                                                                                        </a:lnTo>
                                                                                                        <a:lnTo>
                                                                                                          <a:pt x="42" y="256"/>
                                                                                                        </a:lnTo>
                                                                                                        <a:lnTo>
                                                                                                          <a:pt x="42" y="256"/>
                                                                                                        </a:lnTo>
                                                                                                        <a:lnTo>
                                                                                                          <a:pt x="46" y="256"/>
                                                                                                        </a:lnTo>
                                                                                                        <a:lnTo>
                                                                                                          <a:pt x="48" y="258"/>
                                                                                                        </a:lnTo>
                                                                                                        <a:lnTo>
                                                                                                          <a:pt x="50" y="264"/>
                                                                                                        </a:lnTo>
                                                                                                        <a:lnTo>
                                                                                                          <a:pt x="52" y="266"/>
                                                                                                        </a:lnTo>
                                                                                                        <a:lnTo>
                                                                                                          <a:pt x="52" y="266"/>
                                                                                                        </a:lnTo>
                                                                                                        <a:lnTo>
                                                                                                          <a:pt x="58" y="258"/>
                                                                                                        </a:lnTo>
                                                                                                        <a:lnTo>
                                                                                                          <a:pt x="58" y="258"/>
                                                                                                        </a:lnTo>
                                                                                                        <a:lnTo>
                                                                                                          <a:pt x="62" y="250"/>
                                                                                                        </a:lnTo>
                                                                                                        <a:lnTo>
                                                                                                          <a:pt x="66" y="246"/>
                                                                                                        </a:lnTo>
                                                                                                        <a:lnTo>
                                                                                                          <a:pt x="72" y="242"/>
                                                                                                        </a:lnTo>
                                                                                                        <a:lnTo>
                                                                                                          <a:pt x="78" y="240"/>
                                                                                                        </a:lnTo>
                                                                                                        <a:lnTo>
                                                                                                          <a:pt x="80" y="236"/>
                                                                                                        </a:lnTo>
                                                                                                        <a:lnTo>
                                                                                                          <a:pt x="84" y="230"/>
                                                                                                        </a:lnTo>
                                                                                                        <a:lnTo>
                                                                                                          <a:pt x="84" y="230"/>
                                                                                                        </a:lnTo>
                                                                                                        <a:lnTo>
                                                                                                          <a:pt x="90" y="216"/>
                                                                                                        </a:lnTo>
                                                                                                        <a:lnTo>
                                                                                                          <a:pt x="92" y="202"/>
                                                                                                        </a:lnTo>
                                                                                                        <a:lnTo>
                                                                                                          <a:pt x="94" y="188"/>
                                                                                                        </a:lnTo>
                                                                                                        <a:lnTo>
                                                                                                          <a:pt x="98" y="176"/>
                                                                                                        </a:lnTo>
                                                                                                        <a:lnTo>
                                                                                                          <a:pt x="98" y="176"/>
                                                                                                        </a:lnTo>
                                                                                                        <a:lnTo>
                                                                                                          <a:pt x="102" y="172"/>
                                                                                                        </a:lnTo>
                                                                                                        <a:lnTo>
                                                                                                          <a:pt x="106" y="170"/>
                                                                                                        </a:lnTo>
                                                                                                        <a:lnTo>
                                                                                                          <a:pt x="110" y="166"/>
                                                                                                        </a:lnTo>
                                                                                                        <a:lnTo>
                                                                                                          <a:pt x="120" y="150"/>
                                                                                                        </a:lnTo>
                                                                                                        <a:lnTo>
                                                                                                          <a:pt x="120" y="150"/>
                                                                                                        </a:lnTo>
                                                                                                        <a:lnTo>
                                                                                                          <a:pt x="124" y="140"/>
                                                                                                        </a:lnTo>
                                                                                                        <a:lnTo>
                                                                                                          <a:pt x="126" y="134"/>
                                                                                                        </a:lnTo>
                                                                                                        <a:lnTo>
                                                                                                          <a:pt x="124" y="126"/>
                                                                                                        </a:lnTo>
                                                                                                        <a:lnTo>
                                                                                                          <a:pt x="126" y="112"/>
                                                                                                        </a:lnTo>
                                                                                                        <a:lnTo>
                                                                                                          <a:pt x="126" y="112"/>
                                                                                                        </a:lnTo>
                                                                                                        <a:lnTo>
                                                                                                          <a:pt x="128" y="92"/>
                                                                                                        </a:lnTo>
                                                                                                        <a:lnTo>
                                                                                                          <a:pt x="130" y="84"/>
                                                                                                        </a:lnTo>
                                                                                                        <a:lnTo>
                                                                                                          <a:pt x="132" y="80"/>
                                                                                                        </a:lnTo>
                                                                                                        <a:lnTo>
                                                                                                          <a:pt x="132" y="76"/>
                                                                                                        </a:lnTo>
                                                                                                        <a:lnTo>
                                                                                                          <a:pt x="132" y="76"/>
                                                                                                        </a:lnTo>
                                                                                                        <a:lnTo>
                                                                                                          <a:pt x="130" y="70"/>
                                                                                                        </a:lnTo>
                                                                                                        <a:lnTo>
                                                                                                          <a:pt x="132" y="66"/>
                                                                                                        </a:lnTo>
                                                                                                        <a:lnTo>
                                                                                                          <a:pt x="136" y="58"/>
                                                                                                        </a:lnTo>
                                                                                                        <a:lnTo>
                                                                                                          <a:pt x="138" y="42"/>
                                                                                                        </a:lnTo>
                                                                                                        <a:lnTo>
                                                                                                          <a:pt x="138" y="42"/>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baseline="-25000" dirty="0">
                                                                                                      <a:solidFill>
                                                                                                        <a:schemeClr val="tx1"/>
                                                                                                      </a:solidFill>
                                                                                                    </a:endParaRPr>
                                                                                                  </a:p>
                                                                                                </p:txBody>
                                                                                              </p:sp>
                                                                                              <p:sp>
                                                                                                <p:nvSpPr>
                                                                                                  <p:cNvPr id="674" name="Sierra Leone"/>
                                                                                                  <p:cNvSpPr>
                                                                                                    <a:spLocks/>
                                                                                                  </p:cNvSpPr>
                                                                                                  <p:nvPr/>
                                                                                                </p:nvSpPr>
                                                                                                <p:spPr bwMode="auto">
                                                                                                  <a:xfrm>
                                                                                                    <a:off x="5359194" y="3299867"/>
                                                                                                    <a:ext cx="91129" cy="115324"/>
                                                                                                  </a:xfrm>
                                                                                                  <a:custGeom>
                                                                                                    <a:avLst/>
                                                                                                    <a:gdLst/>
                                                                                                    <a:ahLst/>
                                                                                                    <a:cxnLst>
                                                                                                      <a:cxn ang="0">
                                                                                                        <a:pos x="38" y="76"/>
                                                                                                      </a:cxn>
                                                                                                      <a:cxn ang="0">
                                                                                                        <a:pos x="38" y="70"/>
                                                                                                      </a:cxn>
                                                                                                      <a:cxn ang="0">
                                                                                                        <a:pos x="52" y="58"/>
                                                                                                      </a:cxn>
                                                                                                      <a:cxn ang="0">
                                                                                                        <a:pos x="60" y="46"/>
                                                                                                      </a:cxn>
                                                                                                      <a:cxn ang="0">
                                                                                                        <a:pos x="60" y="42"/>
                                                                                                      </a:cxn>
                                                                                                      <a:cxn ang="0">
                                                                                                        <a:pos x="58" y="36"/>
                                                                                                      </a:cxn>
                                                                                                      <a:cxn ang="0">
                                                                                                        <a:pos x="58" y="30"/>
                                                                                                      </a:cxn>
                                                                                                      <a:cxn ang="0">
                                                                                                        <a:pos x="58" y="26"/>
                                                                                                      </a:cxn>
                                                                                                      <a:cxn ang="0">
                                                                                                        <a:pos x="58" y="24"/>
                                                                                                      </a:cxn>
                                                                                                      <a:cxn ang="0">
                                                                                                        <a:pos x="52" y="20"/>
                                                                                                      </a:cxn>
                                                                                                      <a:cxn ang="0">
                                                                                                        <a:pos x="50" y="18"/>
                                                                                                      </a:cxn>
                                                                                                      <a:cxn ang="0">
                                                                                                        <a:pos x="50" y="14"/>
                                                                                                      </a:cxn>
                                                                                                      <a:cxn ang="0">
                                                                                                        <a:pos x="50" y="8"/>
                                                                                                      </a:cxn>
                                                                                                      <a:cxn ang="0">
                                                                                                        <a:pos x="46" y="8"/>
                                                                                                      </a:cxn>
                                                                                                      <a:cxn ang="0">
                                                                                                        <a:pos x="42" y="4"/>
                                                                                                      </a:cxn>
                                                                                                      <a:cxn ang="0">
                                                                                                        <a:pos x="36" y="2"/>
                                                                                                      </a:cxn>
                                                                                                      <a:cxn ang="0">
                                                                                                        <a:pos x="30" y="0"/>
                                                                                                      </a:cxn>
                                                                                                      <a:cxn ang="0">
                                                                                                        <a:pos x="22" y="4"/>
                                                                                                      </a:cxn>
                                                                                                      <a:cxn ang="0">
                                                                                                        <a:pos x="18" y="6"/>
                                                                                                      </a:cxn>
                                                                                                      <a:cxn ang="0">
                                                                                                        <a:pos x="12" y="10"/>
                                                                                                      </a:cxn>
                                                                                                      <a:cxn ang="0">
                                                                                                        <a:pos x="8" y="18"/>
                                                                                                      </a:cxn>
                                                                                                      <a:cxn ang="0">
                                                                                                        <a:pos x="6" y="20"/>
                                                                                                      </a:cxn>
                                                                                                      <a:cxn ang="0">
                                                                                                        <a:pos x="4" y="24"/>
                                                                                                      </a:cxn>
                                                                                                      <a:cxn ang="0">
                                                                                                        <a:pos x="0" y="26"/>
                                                                                                      </a:cxn>
                                                                                                      <a:cxn ang="0">
                                                                                                        <a:pos x="2" y="30"/>
                                                                                                      </a:cxn>
                                                                                                      <a:cxn ang="0">
                                                                                                        <a:pos x="2" y="32"/>
                                                                                                      </a:cxn>
                                                                                                      <a:cxn ang="0">
                                                                                                        <a:pos x="0" y="34"/>
                                                                                                      </a:cxn>
                                                                                                      <a:cxn ang="0">
                                                                                                        <a:pos x="4" y="36"/>
                                                                                                      </a:cxn>
                                                                                                      <a:cxn ang="0">
                                                                                                        <a:pos x="4" y="36"/>
                                                                                                      </a:cxn>
                                                                                                      <a:cxn ang="0">
                                                                                                        <a:pos x="4" y="38"/>
                                                                                                      </a:cxn>
                                                                                                      <a:cxn ang="0">
                                                                                                        <a:pos x="2" y="40"/>
                                                                                                      </a:cxn>
                                                                                                      <a:cxn ang="0">
                                                                                                        <a:pos x="0" y="40"/>
                                                                                                      </a:cxn>
                                                                                                      <a:cxn ang="0">
                                                                                                        <a:pos x="6" y="46"/>
                                                                                                      </a:cxn>
                                                                                                      <a:cxn ang="0">
                                                                                                        <a:pos x="8" y="50"/>
                                                                                                      </a:cxn>
                                                                                                      <a:cxn ang="0">
                                                                                                        <a:pos x="10" y="52"/>
                                                                                                      </a:cxn>
                                                                                                      <a:cxn ang="0">
                                                                                                        <a:pos x="8" y="54"/>
                                                                                                      </a:cxn>
                                                                                                      <a:cxn ang="0">
                                                                                                        <a:pos x="12" y="58"/>
                                                                                                      </a:cxn>
                                                                                                      <a:cxn ang="0">
                                                                                                        <a:pos x="16" y="60"/>
                                                                                                      </a:cxn>
                                                                                                      <a:cxn ang="0">
                                                                                                        <a:pos x="20" y="58"/>
                                                                                                      </a:cxn>
                                                                                                      <a:cxn ang="0">
                                                                                                        <a:pos x="20" y="60"/>
                                                                                                      </a:cxn>
                                                                                                      <a:cxn ang="0">
                                                                                                        <a:pos x="22" y="62"/>
                                                                                                      </a:cxn>
                                                                                                      <a:cxn ang="0">
                                                                                                        <a:pos x="22" y="62"/>
                                                                                                      </a:cxn>
                                                                                                      <a:cxn ang="0">
                                                                                                        <a:pos x="22" y="64"/>
                                                                                                      </a:cxn>
                                                                                                      <a:cxn ang="0">
                                                                                                        <a:pos x="22" y="66"/>
                                                                                                      </a:cxn>
                                                                                                      <a:cxn ang="0">
                                                                                                        <a:pos x="18" y="66"/>
                                                                                                      </a:cxn>
                                                                                                      <a:cxn ang="0">
                                                                                                        <a:pos x="18" y="66"/>
                                                                                                      </a:cxn>
                                                                                                      <a:cxn ang="0">
                                                                                                        <a:pos x="32" y="74"/>
                                                                                                      </a:cxn>
                                                                                                      <a:cxn ang="0">
                                                                                                        <a:pos x="38" y="76"/>
                                                                                                      </a:cxn>
                                                                                                    </a:cxnLst>
                                                                                                    <a:rect l="0" t="0" r="r" b="b"/>
                                                                                                    <a:pathLst>
                                                                                                      <a:path w="60" h="76">
                                                                                                        <a:moveTo>
                                                                                                          <a:pt x="38" y="76"/>
                                                                                                        </a:moveTo>
                                                                                                        <a:lnTo>
                                                                                                          <a:pt x="38" y="76"/>
                                                                                                        </a:lnTo>
                                                                                                        <a:lnTo>
                                                                                                          <a:pt x="36" y="72"/>
                                                                                                        </a:lnTo>
                                                                                                        <a:lnTo>
                                                                                                          <a:pt x="38" y="70"/>
                                                                                                        </a:lnTo>
                                                                                                        <a:lnTo>
                                                                                                          <a:pt x="52" y="58"/>
                                                                                                        </a:lnTo>
                                                                                                        <a:lnTo>
                                                                                                          <a:pt x="52" y="58"/>
                                                                                                        </a:lnTo>
                                                                                                        <a:lnTo>
                                                                                                          <a:pt x="58" y="50"/>
                                                                                                        </a:lnTo>
                                                                                                        <a:lnTo>
                                                                                                          <a:pt x="60" y="46"/>
                                                                                                        </a:lnTo>
                                                                                                        <a:lnTo>
                                                                                                          <a:pt x="60" y="44"/>
                                                                                                        </a:lnTo>
                                                                                                        <a:lnTo>
                                                                                                          <a:pt x="60" y="42"/>
                                                                                                        </a:lnTo>
                                                                                                        <a:lnTo>
                                                                                                          <a:pt x="60" y="42"/>
                                                                                                        </a:lnTo>
                                                                                                        <a:lnTo>
                                                                                                          <a:pt x="58" y="36"/>
                                                                                                        </a:lnTo>
                                                                                                        <a:lnTo>
                                                                                                          <a:pt x="58" y="32"/>
                                                                                                        </a:lnTo>
                                                                                                        <a:lnTo>
                                                                                                          <a:pt x="58" y="30"/>
                                                                                                        </a:lnTo>
                                                                                                        <a:lnTo>
                                                                                                          <a:pt x="58" y="26"/>
                                                                                                        </a:lnTo>
                                                                                                        <a:lnTo>
                                                                                                          <a:pt x="58" y="26"/>
                                                                                                        </a:lnTo>
                                                                                                        <a:lnTo>
                                                                                                          <a:pt x="56" y="24"/>
                                                                                                        </a:lnTo>
                                                                                                        <a:lnTo>
                                                                                                          <a:pt x="58" y="24"/>
                                                                                                        </a:lnTo>
                                                                                                        <a:lnTo>
                                                                                                          <a:pt x="56" y="22"/>
                                                                                                        </a:lnTo>
                                                                                                        <a:lnTo>
                                                                                                          <a:pt x="52" y="20"/>
                                                                                                        </a:lnTo>
                                                                                                        <a:lnTo>
                                                                                                          <a:pt x="52" y="20"/>
                                                                                                        </a:lnTo>
                                                                                                        <a:lnTo>
                                                                                                          <a:pt x="50" y="18"/>
                                                                                                        </a:lnTo>
                                                                                                        <a:lnTo>
                                                                                                          <a:pt x="48" y="18"/>
                                                                                                        </a:lnTo>
                                                                                                        <a:lnTo>
                                                                                                          <a:pt x="50" y="14"/>
                                                                                                        </a:lnTo>
                                                                                                        <a:lnTo>
                                                                                                          <a:pt x="50" y="10"/>
                                                                                                        </a:lnTo>
                                                                                                        <a:lnTo>
                                                                                                          <a:pt x="50" y="8"/>
                                                                                                        </a:lnTo>
                                                                                                        <a:lnTo>
                                                                                                          <a:pt x="46" y="8"/>
                                                                                                        </a:lnTo>
                                                                                                        <a:lnTo>
                                                                                                          <a:pt x="46" y="8"/>
                                                                                                        </a:lnTo>
                                                                                                        <a:lnTo>
                                                                                                          <a:pt x="44" y="6"/>
                                                                                                        </a:lnTo>
                                                                                                        <a:lnTo>
                                                                                                          <a:pt x="42" y="4"/>
                                                                                                        </a:lnTo>
                                                                                                        <a:lnTo>
                                                                                                          <a:pt x="40" y="2"/>
                                                                                                        </a:lnTo>
                                                                                                        <a:lnTo>
                                                                                                          <a:pt x="36" y="2"/>
                                                                                                        </a:lnTo>
                                                                                                        <a:lnTo>
                                                                                                          <a:pt x="36" y="2"/>
                                                                                                        </a:lnTo>
                                                                                                        <a:lnTo>
                                                                                                          <a:pt x="30" y="0"/>
                                                                                                        </a:lnTo>
                                                                                                        <a:lnTo>
                                                                                                          <a:pt x="26" y="2"/>
                                                                                                        </a:lnTo>
                                                                                                        <a:lnTo>
                                                                                                          <a:pt x="22" y="4"/>
                                                                                                        </a:lnTo>
                                                                                                        <a:lnTo>
                                                                                                          <a:pt x="18" y="6"/>
                                                                                                        </a:lnTo>
                                                                                                        <a:lnTo>
                                                                                                          <a:pt x="18" y="6"/>
                                                                                                        </a:lnTo>
                                                                                                        <a:lnTo>
                                                                                                          <a:pt x="14" y="6"/>
                                                                                                        </a:lnTo>
                                                                                                        <a:lnTo>
                                                                                                          <a:pt x="12" y="10"/>
                                                                                                        </a:lnTo>
                                                                                                        <a:lnTo>
                                                                                                          <a:pt x="10" y="14"/>
                                                                                                        </a:lnTo>
                                                                                                        <a:lnTo>
                                                                                                          <a:pt x="8" y="18"/>
                                                                                                        </a:lnTo>
                                                                                                        <a:lnTo>
                                                                                                          <a:pt x="8" y="18"/>
                                                                                                        </a:lnTo>
                                                                                                        <a:lnTo>
                                                                                                          <a:pt x="6" y="20"/>
                                                                                                        </a:lnTo>
                                                                                                        <a:lnTo>
                                                                                                          <a:pt x="4" y="22"/>
                                                                                                        </a:lnTo>
                                                                                                        <a:lnTo>
                                                                                                          <a:pt x="4" y="24"/>
                                                                                                        </a:lnTo>
                                                                                                        <a:lnTo>
                                                                                                          <a:pt x="0" y="26"/>
                                                                                                        </a:lnTo>
                                                                                                        <a:lnTo>
                                                                                                          <a:pt x="0" y="26"/>
                                                                                                        </a:lnTo>
                                                                                                        <a:lnTo>
                                                                                                          <a:pt x="0" y="28"/>
                                                                                                        </a:lnTo>
                                                                                                        <a:lnTo>
                                                                                                          <a:pt x="2" y="30"/>
                                                                                                        </a:lnTo>
                                                                                                        <a:lnTo>
                                                                                                          <a:pt x="2" y="30"/>
                                                                                                        </a:lnTo>
                                                                                                        <a:lnTo>
                                                                                                          <a:pt x="2" y="32"/>
                                                                                                        </a:lnTo>
                                                                                                        <a:lnTo>
                                                                                                          <a:pt x="2" y="32"/>
                                                                                                        </a:lnTo>
                                                                                                        <a:lnTo>
                                                                                                          <a:pt x="0" y="34"/>
                                                                                                        </a:lnTo>
                                                                                                        <a:lnTo>
                                                                                                          <a:pt x="2" y="34"/>
                                                                                                        </a:lnTo>
                                                                                                        <a:lnTo>
                                                                                                          <a:pt x="4" y="36"/>
                                                                                                        </a:lnTo>
                                                                                                        <a:lnTo>
                                                                                                          <a:pt x="4" y="36"/>
                                                                                                        </a:lnTo>
                                                                                                        <a:lnTo>
                                                                                                          <a:pt x="4" y="36"/>
                                                                                                        </a:lnTo>
                                                                                                        <a:lnTo>
                                                                                                          <a:pt x="4" y="38"/>
                                                                                                        </a:lnTo>
                                                                                                        <a:lnTo>
                                                                                                          <a:pt x="4" y="38"/>
                                                                                                        </a:lnTo>
                                                                                                        <a:lnTo>
                                                                                                          <a:pt x="4" y="40"/>
                                                                                                        </a:lnTo>
                                                                                                        <a:lnTo>
                                                                                                          <a:pt x="2" y="40"/>
                                                                                                        </a:lnTo>
                                                                                                        <a:lnTo>
                                                                                                          <a:pt x="2" y="40"/>
                                                                                                        </a:lnTo>
                                                                                                        <a:lnTo>
                                                                                                          <a:pt x="0" y="40"/>
                                                                                                        </a:lnTo>
                                                                                                        <a:lnTo>
                                                                                                          <a:pt x="0" y="42"/>
                                                                                                        </a:lnTo>
                                                                                                        <a:lnTo>
                                                                                                          <a:pt x="6" y="46"/>
                                                                                                        </a:lnTo>
                                                                                                        <a:lnTo>
                                                                                                          <a:pt x="6" y="46"/>
                                                                                                        </a:lnTo>
                                                                                                        <a:lnTo>
                                                                                                          <a:pt x="8" y="50"/>
                                                                                                        </a:lnTo>
                                                                                                        <a:lnTo>
                                                                                                          <a:pt x="10" y="52"/>
                                                                                                        </a:lnTo>
                                                                                                        <a:lnTo>
                                                                                                          <a:pt x="10" y="52"/>
                                                                                                        </a:lnTo>
                                                                                                        <a:lnTo>
                                                                                                          <a:pt x="10" y="52"/>
                                                                                                        </a:lnTo>
                                                                                                        <a:lnTo>
                                                                                                          <a:pt x="8" y="54"/>
                                                                                                        </a:lnTo>
                                                                                                        <a:lnTo>
                                                                                                          <a:pt x="6" y="54"/>
                                                                                                        </a:lnTo>
                                                                                                        <a:lnTo>
                                                                                                          <a:pt x="12" y="58"/>
                                                                                                        </a:lnTo>
                                                                                                        <a:lnTo>
                                                                                                          <a:pt x="12" y="58"/>
                                                                                                        </a:lnTo>
                                                                                                        <a:lnTo>
                                                                                                          <a:pt x="16" y="60"/>
                                                                                                        </a:lnTo>
                                                                                                        <a:lnTo>
                                                                                                          <a:pt x="18" y="60"/>
                                                                                                        </a:lnTo>
                                                                                                        <a:lnTo>
                                                                                                          <a:pt x="20" y="58"/>
                                                                                                        </a:lnTo>
                                                                                                        <a:lnTo>
                                                                                                          <a:pt x="20" y="60"/>
                                                                                                        </a:lnTo>
                                                                                                        <a:lnTo>
                                                                                                          <a:pt x="20" y="60"/>
                                                                                                        </a:lnTo>
                                                                                                        <a:lnTo>
                                                                                                          <a:pt x="20" y="62"/>
                                                                                                        </a:lnTo>
                                                                                                        <a:lnTo>
                                                                                                          <a:pt x="22" y="62"/>
                                                                                                        </a:lnTo>
                                                                                                        <a:lnTo>
                                                                                                          <a:pt x="24" y="62"/>
                                                                                                        </a:lnTo>
                                                                                                        <a:lnTo>
                                                                                                          <a:pt x="22" y="62"/>
                                                                                                        </a:lnTo>
                                                                                                        <a:lnTo>
                                                                                                          <a:pt x="22" y="62"/>
                                                                                                        </a:lnTo>
                                                                                                        <a:lnTo>
                                                                                                          <a:pt x="22" y="64"/>
                                                                                                        </a:lnTo>
                                                                                                        <a:lnTo>
                                                                                                          <a:pt x="24" y="66"/>
                                                                                                        </a:lnTo>
                                                                                                        <a:lnTo>
                                                                                                          <a:pt x="22" y="66"/>
                                                                                                        </a:lnTo>
                                                                                                        <a:lnTo>
                                                                                                          <a:pt x="18" y="66"/>
                                                                                                        </a:lnTo>
                                                                                                        <a:lnTo>
                                                                                                          <a:pt x="18" y="66"/>
                                                                                                        </a:lnTo>
                                                                                                        <a:lnTo>
                                                                                                          <a:pt x="18" y="66"/>
                                                                                                        </a:lnTo>
                                                                                                        <a:lnTo>
                                                                                                          <a:pt x="18" y="66"/>
                                                                                                        </a:lnTo>
                                                                                                        <a:lnTo>
                                                                                                          <a:pt x="24" y="70"/>
                                                                                                        </a:lnTo>
                                                                                                        <a:lnTo>
                                                                                                          <a:pt x="32" y="74"/>
                                                                                                        </a:lnTo>
                                                                                                        <a:lnTo>
                                                                                                          <a:pt x="38" y="76"/>
                                                                                                        </a:lnTo>
                                                                                                        <a:lnTo>
                                                                                                          <a:pt x="38" y="76"/>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baseline="-25000" dirty="0">
                                                                                                      <a:solidFill>
                                                                                                        <a:schemeClr val="tx1"/>
                                                                                                      </a:solidFill>
                                                                                                    </a:endParaRPr>
                                                                                                  </a:p>
                                                                                                </p:txBody>
                                                                                              </p:sp>
                                                                                              <p:sp>
                                                                                                <p:nvSpPr>
                                                                                                  <p:cNvPr id="687" name="Madagascar"/>
                                                                                                  <p:cNvSpPr>
                                                                                                    <a:spLocks/>
                                                                                                  </p:cNvSpPr>
                                                                                                  <p:nvPr/>
                                                                                                </p:nvSpPr>
                                                                                                <p:spPr bwMode="auto">
                                                                                                  <a:xfrm>
                                                                                                    <a:off x="7124655" y="4135024"/>
                                                                                                    <a:ext cx="255162" cy="491643"/>
                                                                                                  </a:xfrm>
                                                                                                  <a:custGeom>
                                                                                                    <a:avLst/>
                                                                                                    <a:gdLst/>
                                                                                                    <a:ahLst/>
                                                                                                    <a:cxnLst>
                                                                                                      <a:cxn ang="0">
                                                                                                        <a:pos x="146" y="2"/>
                                                                                                      </a:cxn>
                                                                                                      <a:cxn ang="0">
                                                                                                        <a:pos x="150" y="4"/>
                                                                                                      </a:cxn>
                                                                                                      <a:cxn ang="0">
                                                                                                        <a:pos x="154" y="10"/>
                                                                                                      </a:cxn>
                                                                                                      <a:cxn ang="0">
                                                                                                        <a:pos x="162" y="46"/>
                                                                                                      </a:cxn>
                                                                                                      <a:cxn ang="0">
                                                                                                        <a:pos x="166" y="86"/>
                                                                                                      </a:cxn>
                                                                                                      <a:cxn ang="0">
                                                                                                        <a:pos x="158" y="86"/>
                                                                                                      </a:cxn>
                                                                                                      <a:cxn ang="0">
                                                                                                        <a:pos x="152" y="84"/>
                                                                                                      </a:cxn>
                                                                                                      <a:cxn ang="0">
                                                                                                        <a:pos x="152" y="100"/>
                                                                                                      </a:cxn>
                                                                                                      <a:cxn ang="0">
                                                                                                        <a:pos x="154" y="112"/>
                                                                                                      </a:cxn>
                                                                                                      <a:cxn ang="0">
                                                                                                        <a:pos x="146" y="126"/>
                                                                                                      </a:cxn>
                                                                                                      <a:cxn ang="0">
                                                                                                        <a:pos x="136" y="164"/>
                                                                                                      </a:cxn>
                                                                                                      <a:cxn ang="0">
                                                                                                        <a:pos x="122" y="192"/>
                                                                                                      </a:cxn>
                                                                                                      <a:cxn ang="0">
                                                                                                        <a:pos x="110" y="232"/>
                                                                                                      </a:cxn>
                                                                                                      <a:cxn ang="0">
                                                                                                        <a:pos x="94" y="282"/>
                                                                                                      </a:cxn>
                                                                                                      <a:cxn ang="0">
                                                                                                        <a:pos x="84" y="300"/>
                                                                                                      </a:cxn>
                                                                                                      <a:cxn ang="0">
                                                                                                        <a:pos x="60" y="318"/>
                                                                                                      </a:cxn>
                                                                                                      <a:cxn ang="0">
                                                                                                        <a:pos x="44" y="324"/>
                                                                                                      </a:cxn>
                                                                                                      <a:cxn ang="0">
                                                                                                        <a:pos x="20" y="316"/>
                                                                                                      </a:cxn>
                                                                                                      <a:cxn ang="0">
                                                                                                        <a:pos x="8" y="294"/>
                                                                                                      </a:cxn>
                                                                                                      <a:cxn ang="0">
                                                                                                        <a:pos x="6" y="278"/>
                                                                                                      </a:cxn>
                                                                                                      <a:cxn ang="0">
                                                                                                        <a:pos x="0" y="258"/>
                                                                                                      </a:cxn>
                                                                                                      <a:cxn ang="0">
                                                                                                        <a:pos x="2" y="242"/>
                                                                                                      </a:cxn>
                                                                                                      <a:cxn ang="0">
                                                                                                        <a:pos x="14" y="220"/>
                                                                                                      </a:cxn>
                                                                                                      <a:cxn ang="0">
                                                                                                        <a:pos x="22" y="210"/>
                                                                                                      </a:cxn>
                                                                                                      <a:cxn ang="0">
                                                                                                        <a:pos x="28" y="196"/>
                                                                                                      </a:cxn>
                                                                                                      <a:cxn ang="0">
                                                                                                        <a:pos x="30" y="182"/>
                                                                                                      </a:cxn>
                                                                                                      <a:cxn ang="0">
                                                                                                        <a:pos x="30" y="158"/>
                                                                                                      </a:cxn>
                                                                                                      <a:cxn ang="0">
                                                                                                        <a:pos x="30" y="132"/>
                                                                                                      </a:cxn>
                                                                                                      <a:cxn ang="0">
                                                                                                        <a:pos x="40" y="110"/>
                                                                                                      </a:cxn>
                                                                                                      <a:cxn ang="0">
                                                                                                        <a:pos x="46" y="100"/>
                                                                                                      </a:cxn>
                                                                                                      <a:cxn ang="0">
                                                                                                        <a:pos x="54" y="96"/>
                                                                                                      </a:cxn>
                                                                                                      <a:cxn ang="0">
                                                                                                        <a:pos x="60" y="90"/>
                                                                                                      </a:cxn>
                                                                                                      <a:cxn ang="0">
                                                                                                        <a:pos x="82" y="92"/>
                                                                                                      </a:cxn>
                                                                                                      <a:cxn ang="0">
                                                                                                        <a:pos x="86" y="82"/>
                                                                                                      </a:cxn>
                                                                                                      <a:cxn ang="0">
                                                                                                        <a:pos x="94" y="72"/>
                                                                                                      </a:cxn>
                                                                                                      <a:cxn ang="0">
                                                                                                        <a:pos x="98" y="74"/>
                                                                                                      </a:cxn>
                                                                                                      <a:cxn ang="0">
                                                                                                        <a:pos x="104" y="68"/>
                                                                                                      </a:cxn>
                                                                                                      <a:cxn ang="0">
                                                                                                        <a:pos x="110" y="54"/>
                                                                                                      </a:cxn>
                                                                                                      <a:cxn ang="0">
                                                                                                        <a:pos x="114" y="52"/>
                                                                                                      </a:cxn>
                                                                                                      <a:cxn ang="0">
                                                                                                        <a:pos x="112" y="42"/>
                                                                                                      </a:cxn>
                                                                                                      <a:cxn ang="0">
                                                                                                        <a:pos x="114" y="38"/>
                                                                                                      </a:cxn>
                                                                                                      <a:cxn ang="0">
                                                                                                        <a:pos x="120" y="40"/>
                                                                                                      </a:cxn>
                                                                                                      <a:cxn ang="0">
                                                                                                        <a:pos x="124" y="38"/>
                                                                                                      </a:cxn>
                                                                                                      <a:cxn ang="0">
                                                                                                        <a:pos x="136" y="20"/>
                                                                                                      </a:cxn>
                                                                                                      <a:cxn ang="0">
                                                                                                        <a:pos x="134" y="12"/>
                                                                                                      </a:cxn>
                                                                                                      <a:cxn ang="0">
                                                                                                        <a:pos x="140" y="6"/>
                                                                                                      </a:cxn>
                                                                                                    </a:cxnLst>
                                                                                                    <a:rect l="0" t="0" r="r" b="b"/>
                                                                                                    <a:pathLst>
                                                                                                      <a:path w="168" h="324">
                                                                                                        <a:moveTo>
                                                                                                          <a:pt x="140" y="6"/>
                                                                                                        </a:moveTo>
                                                                                                        <a:lnTo>
                                                                                                          <a:pt x="140" y="6"/>
                                                                                                        </a:lnTo>
                                                                                                        <a:lnTo>
                                                                                                          <a:pt x="146" y="2"/>
                                                                                                        </a:lnTo>
                                                                                                        <a:lnTo>
                                                                                                          <a:pt x="148" y="0"/>
                                                                                                        </a:lnTo>
                                                                                                        <a:lnTo>
                                                                                                          <a:pt x="150" y="2"/>
                                                                                                        </a:lnTo>
                                                                                                        <a:lnTo>
                                                                                                          <a:pt x="150" y="4"/>
                                                                                                        </a:lnTo>
                                                                                                        <a:lnTo>
                                                                                                          <a:pt x="150" y="8"/>
                                                                                                        </a:lnTo>
                                                                                                        <a:lnTo>
                                                                                                          <a:pt x="152" y="10"/>
                                                                                                        </a:lnTo>
                                                                                                        <a:lnTo>
                                                                                                          <a:pt x="154" y="10"/>
                                                                                                        </a:lnTo>
                                                                                                        <a:lnTo>
                                                                                                          <a:pt x="154" y="10"/>
                                                                                                        </a:lnTo>
                                                                                                        <a:lnTo>
                                                                                                          <a:pt x="158" y="20"/>
                                                                                                        </a:lnTo>
                                                                                                        <a:lnTo>
                                                                                                          <a:pt x="162" y="46"/>
                                                                                                        </a:lnTo>
                                                                                                        <a:lnTo>
                                                                                                          <a:pt x="166" y="72"/>
                                                                                                        </a:lnTo>
                                                                                                        <a:lnTo>
                                                                                                          <a:pt x="168" y="82"/>
                                                                                                        </a:lnTo>
                                                                                                        <a:lnTo>
                                                                                                          <a:pt x="166" y="86"/>
                                                                                                        </a:lnTo>
                                                                                                        <a:lnTo>
                                                                                                          <a:pt x="166" y="86"/>
                                                                                                        </a:lnTo>
                                                                                                        <a:lnTo>
                                                                                                          <a:pt x="162" y="88"/>
                                                                                                        </a:lnTo>
                                                                                                        <a:lnTo>
                                                                                                          <a:pt x="158" y="86"/>
                                                                                                        </a:lnTo>
                                                                                                        <a:lnTo>
                                                                                                          <a:pt x="156" y="84"/>
                                                                                                        </a:lnTo>
                                                                                                        <a:lnTo>
                                                                                                          <a:pt x="152" y="84"/>
                                                                                                        </a:lnTo>
                                                                                                        <a:lnTo>
                                                                                                          <a:pt x="152" y="84"/>
                                                                                                        </a:lnTo>
                                                                                                        <a:lnTo>
                                                                                                          <a:pt x="152" y="88"/>
                                                                                                        </a:lnTo>
                                                                                                        <a:lnTo>
                                                                                                          <a:pt x="150" y="92"/>
                                                                                                        </a:lnTo>
                                                                                                        <a:lnTo>
                                                                                                          <a:pt x="152" y="100"/>
                                                                                                        </a:lnTo>
                                                                                                        <a:lnTo>
                                                                                                          <a:pt x="156" y="106"/>
                                                                                                        </a:lnTo>
                                                                                                        <a:lnTo>
                                                                                                          <a:pt x="156" y="110"/>
                                                                                                        </a:lnTo>
                                                                                                        <a:lnTo>
                                                                                                          <a:pt x="154" y="112"/>
                                                                                                        </a:lnTo>
                                                                                                        <a:lnTo>
                                                                                                          <a:pt x="154" y="112"/>
                                                                                                        </a:lnTo>
                                                                                                        <a:lnTo>
                                                                                                          <a:pt x="150" y="120"/>
                                                                                                        </a:lnTo>
                                                                                                        <a:lnTo>
                                                                                                          <a:pt x="146" y="126"/>
                                                                                                        </a:lnTo>
                                                                                                        <a:lnTo>
                                                                                                          <a:pt x="142" y="140"/>
                                                                                                        </a:lnTo>
                                                                                                        <a:lnTo>
                                                                                                          <a:pt x="140" y="154"/>
                                                                                                        </a:lnTo>
                                                                                                        <a:lnTo>
                                                                                                          <a:pt x="136" y="164"/>
                                                                                                        </a:lnTo>
                                                                                                        <a:lnTo>
                                                                                                          <a:pt x="132" y="172"/>
                                                                                                        </a:lnTo>
                                                                                                        <a:lnTo>
                                                                                                          <a:pt x="132" y="172"/>
                                                                                                        </a:lnTo>
                                                                                                        <a:lnTo>
                                                                                                          <a:pt x="122" y="192"/>
                                                                                                        </a:lnTo>
                                                                                                        <a:lnTo>
                                                                                                          <a:pt x="116" y="208"/>
                                                                                                        </a:lnTo>
                                                                                                        <a:lnTo>
                                                                                                          <a:pt x="112" y="220"/>
                                                                                                        </a:lnTo>
                                                                                                        <a:lnTo>
                                                                                                          <a:pt x="110" y="232"/>
                                                                                                        </a:lnTo>
                                                                                                        <a:lnTo>
                                                                                                          <a:pt x="106" y="254"/>
                                                                                                        </a:lnTo>
                                                                                                        <a:lnTo>
                                                                                                          <a:pt x="102" y="266"/>
                                                                                                        </a:lnTo>
                                                                                                        <a:lnTo>
                                                                                                          <a:pt x="94" y="282"/>
                                                                                                        </a:lnTo>
                                                                                                        <a:lnTo>
                                                                                                          <a:pt x="94" y="282"/>
                                                                                                        </a:lnTo>
                                                                                                        <a:lnTo>
                                                                                                          <a:pt x="90" y="294"/>
                                                                                                        </a:lnTo>
                                                                                                        <a:lnTo>
                                                                                                          <a:pt x="84" y="300"/>
                                                                                                        </a:lnTo>
                                                                                                        <a:lnTo>
                                                                                                          <a:pt x="74" y="310"/>
                                                                                                        </a:lnTo>
                                                                                                        <a:lnTo>
                                                                                                          <a:pt x="64" y="316"/>
                                                                                                        </a:lnTo>
                                                                                                        <a:lnTo>
                                                                                                          <a:pt x="60" y="318"/>
                                                                                                        </a:lnTo>
                                                                                                        <a:lnTo>
                                                                                                          <a:pt x="60" y="318"/>
                                                                                                        </a:lnTo>
                                                                                                        <a:lnTo>
                                                                                                          <a:pt x="52" y="322"/>
                                                                                                        </a:lnTo>
                                                                                                        <a:lnTo>
                                                                                                          <a:pt x="44" y="324"/>
                                                                                                        </a:lnTo>
                                                                                                        <a:lnTo>
                                                                                                          <a:pt x="36" y="324"/>
                                                                                                        </a:lnTo>
                                                                                                        <a:lnTo>
                                                                                                          <a:pt x="28" y="322"/>
                                                                                                        </a:lnTo>
                                                                                                        <a:lnTo>
                                                                                                          <a:pt x="20" y="316"/>
                                                                                                        </a:lnTo>
                                                                                                        <a:lnTo>
                                                                                                          <a:pt x="14" y="310"/>
                                                                                                        </a:lnTo>
                                                                                                        <a:lnTo>
                                                                                                          <a:pt x="10" y="302"/>
                                                                                                        </a:lnTo>
                                                                                                        <a:lnTo>
                                                                                                          <a:pt x="8" y="294"/>
                                                                                                        </a:lnTo>
                                                                                                        <a:lnTo>
                                                                                                          <a:pt x="8" y="294"/>
                                                                                                        </a:lnTo>
                                                                                                        <a:lnTo>
                                                                                                          <a:pt x="8" y="286"/>
                                                                                                        </a:lnTo>
                                                                                                        <a:lnTo>
                                                                                                          <a:pt x="6" y="278"/>
                                                                                                        </a:lnTo>
                                                                                                        <a:lnTo>
                                                                                                          <a:pt x="2" y="268"/>
                                                                                                        </a:lnTo>
                                                                                                        <a:lnTo>
                                                                                                          <a:pt x="0" y="264"/>
                                                                                                        </a:lnTo>
                                                                                                        <a:lnTo>
                                                                                                          <a:pt x="0" y="258"/>
                                                                                                        </a:lnTo>
                                                                                                        <a:lnTo>
                                                                                                          <a:pt x="0" y="250"/>
                                                                                                        </a:lnTo>
                                                                                                        <a:lnTo>
                                                                                                          <a:pt x="2" y="242"/>
                                                                                                        </a:lnTo>
                                                                                                        <a:lnTo>
                                                                                                          <a:pt x="2" y="242"/>
                                                                                                        </a:lnTo>
                                                                                                        <a:lnTo>
                                                                                                          <a:pt x="4" y="232"/>
                                                                                                        </a:lnTo>
                                                                                                        <a:lnTo>
                                                                                                          <a:pt x="8" y="226"/>
                                                                                                        </a:lnTo>
                                                                                                        <a:lnTo>
                                                                                                          <a:pt x="14" y="220"/>
                                                                                                        </a:lnTo>
                                                                                                        <a:lnTo>
                                                                                                          <a:pt x="18" y="218"/>
                                                                                                        </a:lnTo>
                                                                                                        <a:lnTo>
                                                                                                          <a:pt x="20" y="214"/>
                                                                                                        </a:lnTo>
                                                                                                        <a:lnTo>
                                                                                                          <a:pt x="22" y="210"/>
                                                                                                        </a:lnTo>
                                                                                                        <a:lnTo>
                                                                                                          <a:pt x="22" y="210"/>
                                                                                                        </a:lnTo>
                                                                                                        <a:lnTo>
                                                                                                          <a:pt x="26" y="200"/>
                                                                                                        </a:lnTo>
                                                                                                        <a:lnTo>
                                                                                                          <a:pt x="28" y="196"/>
                                                                                                        </a:lnTo>
                                                                                                        <a:lnTo>
                                                                                                          <a:pt x="30" y="190"/>
                                                                                                        </a:lnTo>
                                                                                                        <a:lnTo>
                                                                                                          <a:pt x="30" y="182"/>
                                                                                                        </a:lnTo>
                                                                                                        <a:lnTo>
                                                                                                          <a:pt x="30" y="182"/>
                                                                                                        </a:lnTo>
                                                                                                        <a:lnTo>
                                                                                                          <a:pt x="28" y="172"/>
                                                                                                        </a:lnTo>
                                                                                                        <a:lnTo>
                                                                                                          <a:pt x="28" y="164"/>
                                                                                                        </a:lnTo>
                                                                                                        <a:lnTo>
                                                                                                          <a:pt x="30" y="158"/>
                                                                                                        </a:lnTo>
                                                                                                        <a:lnTo>
                                                                                                          <a:pt x="28" y="144"/>
                                                                                                        </a:lnTo>
                                                                                                        <a:lnTo>
                                                                                                          <a:pt x="28" y="144"/>
                                                                                                        </a:lnTo>
                                                                                                        <a:lnTo>
                                                                                                          <a:pt x="30" y="132"/>
                                                                                                        </a:lnTo>
                                                                                                        <a:lnTo>
                                                                                                          <a:pt x="32" y="126"/>
                                                                                                        </a:lnTo>
                                                                                                        <a:lnTo>
                                                                                                          <a:pt x="36" y="118"/>
                                                                                                        </a:lnTo>
                                                                                                        <a:lnTo>
                                                                                                          <a:pt x="40" y="110"/>
                                                                                                        </a:lnTo>
                                                                                                        <a:lnTo>
                                                                                                          <a:pt x="40" y="110"/>
                                                                                                        </a:lnTo>
                                                                                                        <a:lnTo>
                                                                                                          <a:pt x="42" y="102"/>
                                                                                                        </a:lnTo>
                                                                                                        <a:lnTo>
                                                                                                          <a:pt x="46" y="100"/>
                                                                                                        </a:lnTo>
                                                                                                        <a:lnTo>
                                                                                                          <a:pt x="50" y="100"/>
                                                                                                        </a:lnTo>
                                                                                                        <a:lnTo>
                                                                                                          <a:pt x="52" y="100"/>
                                                                                                        </a:lnTo>
                                                                                                        <a:lnTo>
                                                                                                          <a:pt x="54" y="96"/>
                                                                                                        </a:lnTo>
                                                                                                        <a:lnTo>
                                                                                                          <a:pt x="54" y="96"/>
                                                                                                        </a:lnTo>
                                                                                                        <a:lnTo>
                                                                                                          <a:pt x="56" y="92"/>
                                                                                                        </a:lnTo>
                                                                                                        <a:lnTo>
                                                                                                          <a:pt x="60" y="90"/>
                                                                                                        </a:lnTo>
                                                                                                        <a:lnTo>
                                                                                                          <a:pt x="70" y="92"/>
                                                                                                        </a:lnTo>
                                                                                                        <a:lnTo>
                                                                                                          <a:pt x="80" y="92"/>
                                                                                                        </a:lnTo>
                                                                                                        <a:lnTo>
                                                                                                          <a:pt x="82" y="92"/>
                                                                                                        </a:lnTo>
                                                                                                        <a:lnTo>
                                                                                                          <a:pt x="84" y="88"/>
                                                                                                        </a:lnTo>
                                                                                                        <a:lnTo>
                                                                                                          <a:pt x="84" y="88"/>
                                                                                                        </a:lnTo>
                                                                                                        <a:lnTo>
                                                                                                          <a:pt x="86" y="82"/>
                                                                                                        </a:lnTo>
                                                                                                        <a:lnTo>
                                                                                                          <a:pt x="88" y="78"/>
                                                                                                        </a:lnTo>
                                                                                                        <a:lnTo>
                                                                                                          <a:pt x="94" y="72"/>
                                                                                                        </a:lnTo>
                                                                                                        <a:lnTo>
                                                                                                          <a:pt x="94" y="72"/>
                                                                                                        </a:lnTo>
                                                                                                        <a:lnTo>
                                                                                                          <a:pt x="96" y="70"/>
                                                                                                        </a:lnTo>
                                                                                                        <a:lnTo>
                                                                                                          <a:pt x="96" y="74"/>
                                                                                                        </a:lnTo>
                                                                                                        <a:lnTo>
                                                                                                          <a:pt x="98" y="74"/>
                                                                                                        </a:lnTo>
                                                                                                        <a:lnTo>
                                                                                                          <a:pt x="98" y="74"/>
                                                                                                        </a:lnTo>
                                                                                                        <a:lnTo>
                                                                                                          <a:pt x="104" y="68"/>
                                                                                                        </a:lnTo>
                                                                                                        <a:lnTo>
                                                                                                          <a:pt x="104" y="68"/>
                                                                                                        </a:lnTo>
                                                                                                        <a:lnTo>
                                                                                                          <a:pt x="110" y="60"/>
                                                                                                        </a:lnTo>
                                                                                                        <a:lnTo>
                                                                                                          <a:pt x="110" y="54"/>
                                                                                                        </a:lnTo>
                                                                                                        <a:lnTo>
                                                                                                          <a:pt x="110" y="54"/>
                                                                                                        </a:lnTo>
                                                                                                        <a:lnTo>
                                                                                                          <a:pt x="114" y="52"/>
                                                                                                        </a:lnTo>
                                                                                                        <a:lnTo>
                                                                                                          <a:pt x="114" y="52"/>
                                                                                                        </a:lnTo>
                                                                                                        <a:lnTo>
                                                                                                          <a:pt x="114" y="52"/>
                                                                                                        </a:lnTo>
                                                                                                        <a:lnTo>
                                                                                                          <a:pt x="116" y="50"/>
                                                                                                        </a:lnTo>
                                                                                                        <a:lnTo>
                                                                                                          <a:pt x="114" y="46"/>
                                                                                                        </a:lnTo>
                                                                                                        <a:lnTo>
                                                                                                          <a:pt x="112" y="42"/>
                                                                                                        </a:lnTo>
                                                                                                        <a:lnTo>
                                                                                                          <a:pt x="112" y="40"/>
                                                                                                        </a:lnTo>
                                                                                                        <a:lnTo>
                                                                                                          <a:pt x="114" y="38"/>
                                                                                                        </a:lnTo>
                                                                                                        <a:lnTo>
                                                                                                          <a:pt x="114" y="38"/>
                                                                                                        </a:lnTo>
                                                                                                        <a:lnTo>
                                                                                                          <a:pt x="116" y="36"/>
                                                                                                        </a:lnTo>
                                                                                                        <a:lnTo>
                                                                                                          <a:pt x="118" y="36"/>
                                                                                                        </a:lnTo>
                                                                                                        <a:lnTo>
                                                                                                          <a:pt x="120" y="40"/>
                                                                                                        </a:lnTo>
                                                                                                        <a:lnTo>
                                                                                                          <a:pt x="122" y="40"/>
                                                                                                        </a:lnTo>
                                                                                                        <a:lnTo>
                                                                                                          <a:pt x="124" y="38"/>
                                                                                                        </a:lnTo>
                                                                                                        <a:lnTo>
                                                                                                          <a:pt x="124" y="38"/>
                                                                                                        </a:lnTo>
                                                                                                        <a:lnTo>
                                                                                                          <a:pt x="128" y="30"/>
                                                                                                        </a:lnTo>
                                                                                                        <a:lnTo>
                                                                                                          <a:pt x="132" y="26"/>
                                                                                                        </a:lnTo>
                                                                                                        <a:lnTo>
                                                                                                          <a:pt x="136" y="20"/>
                                                                                                        </a:lnTo>
                                                                                                        <a:lnTo>
                                                                                                          <a:pt x="136" y="18"/>
                                                                                                        </a:lnTo>
                                                                                                        <a:lnTo>
                                                                                                          <a:pt x="136" y="18"/>
                                                                                                        </a:lnTo>
                                                                                                        <a:lnTo>
                                                                                                          <a:pt x="134" y="12"/>
                                                                                                        </a:lnTo>
                                                                                                        <a:lnTo>
                                                                                                          <a:pt x="136" y="10"/>
                                                                                                        </a:lnTo>
                                                                                                        <a:lnTo>
                                                                                                          <a:pt x="140" y="6"/>
                                                                                                        </a:lnTo>
                                                                                                        <a:lnTo>
                                                                                                          <a:pt x="140" y="6"/>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baseline="-25000" dirty="0">
                                                                                                      <a:solidFill>
                                                                                                        <a:schemeClr val="tx1"/>
                                                                                                      </a:solidFill>
                                                                                                    </a:endParaRPr>
                                                                                                  </a:p>
                                                                                                </p:txBody>
                                                                                              </p:sp>
                                                                                              <p:sp>
                                                                                                <p:nvSpPr>
                                                                                                  <p:cNvPr id="690" name="Mali"/>
                                                                                                  <p:cNvSpPr>
                                                                                                    <a:spLocks/>
                                                                                                  </p:cNvSpPr>
                                                                                                  <p:nvPr/>
                                                                                                </p:nvSpPr>
                                                                                                <p:spPr bwMode="auto">
                                                                                                  <a:xfrm>
                                                                                                    <a:off x="5395512" y="2727897"/>
                                                                                                    <a:ext cx="522474" cy="558409"/>
                                                                                                  </a:xfrm>
                                                                                                  <a:custGeom>
                                                                                                    <a:avLst/>
                                                                                                    <a:gdLst/>
                                                                                                    <a:ahLst/>
                                                                                                    <a:cxnLst>
                                                                                                      <a:cxn ang="0">
                                                                                                        <a:pos x="150" y="342"/>
                                                                                                      </a:cxn>
                                                                                                      <a:cxn ang="0">
                                                                                                        <a:pos x="152" y="332"/>
                                                                                                      </a:cxn>
                                                                                                      <a:cxn ang="0">
                                                                                                        <a:pos x="156" y="326"/>
                                                                                                      </a:cxn>
                                                                                                      <a:cxn ang="0">
                                                                                                        <a:pos x="176" y="308"/>
                                                                                                      </a:cxn>
                                                                                                      <a:cxn ang="0">
                                                                                                        <a:pos x="174" y="302"/>
                                                                                                      </a:cxn>
                                                                                                      <a:cxn ang="0">
                                                                                                        <a:pos x="182" y="294"/>
                                                                                                      </a:cxn>
                                                                                                      <a:cxn ang="0">
                                                                                                        <a:pos x="190" y="280"/>
                                                                                                      </a:cxn>
                                                                                                      <a:cxn ang="0">
                                                                                                        <a:pos x="204" y="280"/>
                                                                                                      </a:cxn>
                                                                                                      <a:cxn ang="0">
                                                                                                        <a:pos x="214" y="272"/>
                                                                                                      </a:cxn>
                                                                                                      <a:cxn ang="0">
                                                                                                        <a:pos x="218" y="268"/>
                                                                                                      </a:cxn>
                                                                                                      <a:cxn ang="0">
                                                                                                        <a:pos x="234" y="256"/>
                                                                                                      </a:cxn>
                                                                                                      <a:cxn ang="0">
                                                                                                        <a:pos x="244" y="250"/>
                                                                                                      </a:cxn>
                                                                                                      <a:cxn ang="0">
                                                                                                        <a:pos x="264" y="254"/>
                                                                                                      </a:cxn>
                                                                                                      <a:cxn ang="0">
                                                                                                        <a:pos x="270" y="250"/>
                                                                                                      </a:cxn>
                                                                                                      <a:cxn ang="0">
                                                                                                        <a:pos x="284" y="244"/>
                                                                                                      </a:cxn>
                                                                                                      <a:cxn ang="0">
                                                                                                        <a:pos x="308" y="238"/>
                                                                                                      </a:cxn>
                                                                                                      <a:cxn ang="0">
                                                                                                        <a:pos x="322" y="232"/>
                                                                                                      </a:cxn>
                                                                                                      <a:cxn ang="0">
                                                                                                        <a:pos x="338" y="222"/>
                                                                                                      </a:cxn>
                                                                                                      <a:cxn ang="0">
                                                                                                        <a:pos x="342" y="204"/>
                                                                                                      </a:cxn>
                                                                                                      <a:cxn ang="0">
                                                                                                        <a:pos x="344" y="198"/>
                                                                                                      </a:cxn>
                                                                                                      <a:cxn ang="0">
                                                                                                        <a:pos x="344" y="144"/>
                                                                                                      </a:cxn>
                                                                                                      <a:cxn ang="0">
                                                                                                        <a:pos x="320" y="150"/>
                                                                                                      </a:cxn>
                                                                                                      <a:cxn ang="0">
                                                                                                        <a:pos x="326" y="130"/>
                                                                                                      </a:cxn>
                                                                                                      <a:cxn ang="0">
                                                                                                        <a:pos x="320" y="124"/>
                                                                                                      </a:cxn>
                                                                                                      <a:cxn ang="0">
                                                                                                        <a:pos x="314" y="120"/>
                                                                                                      </a:cxn>
                                                                                                      <a:cxn ang="0">
                                                                                                        <a:pos x="310" y="116"/>
                                                                                                      </a:cxn>
                                                                                                      <a:cxn ang="0">
                                                                                                        <a:pos x="308" y="112"/>
                                                                                                      </a:cxn>
                                                                                                      <a:cxn ang="0">
                                                                                                        <a:pos x="298" y="108"/>
                                                                                                      </a:cxn>
                                                                                                      <a:cxn ang="0">
                                                                                                        <a:pos x="134" y="196"/>
                                                                                                      </a:cxn>
                                                                                                      <a:cxn ang="0">
                                                                                                        <a:pos x="146" y="212"/>
                                                                                                      </a:cxn>
                                                                                                      <a:cxn ang="0">
                                                                                                        <a:pos x="68" y="238"/>
                                                                                                      </a:cxn>
                                                                                                      <a:cxn ang="0">
                                                                                                        <a:pos x="64" y="232"/>
                                                                                                      </a:cxn>
                                                                                                      <a:cxn ang="0">
                                                                                                        <a:pos x="58" y="238"/>
                                                                                                      </a:cxn>
                                                                                                      <a:cxn ang="0">
                                                                                                        <a:pos x="38" y="238"/>
                                                                                                      </a:cxn>
                                                                                                      <a:cxn ang="0">
                                                                                                        <a:pos x="26" y="234"/>
                                                                                                      </a:cxn>
                                                                                                      <a:cxn ang="0">
                                                                                                        <a:pos x="18" y="230"/>
                                                                                                      </a:cxn>
                                                                                                      <a:cxn ang="0">
                                                                                                        <a:pos x="14" y="234"/>
                                                                                                      </a:cxn>
                                                                                                      <a:cxn ang="0">
                                                                                                        <a:pos x="0" y="250"/>
                                                                                                      </a:cxn>
                                                                                                      <a:cxn ang="0">
                                                                                                        <a:pos x="4" y="260"/>
                                                                                                      </a:cxn>
                                                                                                      <a:cxn ang="0">
                                                                                                        <a:pos x="4" y="280"/>
                                                                                                      </a:cxn>
                                                                                                      <a:cxn ang="0">
                                                                                                        <a:pos x="10" y="282"/>
                                                                                                      </a:cxn>
                                                                                                      <a:cxn ang="0">
                                                                                                        <a:pos x="14" y="314"/>
                                                                                                      </a:cxn>
                                                                                                      <a:cxn ang="0">
                                                                                                        <a:pos x="20" y="318"/>
                                                                                                      </a:cxn>
                                                                                                      <a:cxn ang="0">
                                                                                                        <a:pos x="26" y="320"/>
                                                                                                      </a:cxn>
                                                                                                      <a:cxn ang="0">
                                                                                                        <a:pos x="34" y="318"/>
                                                                                                      </a:cxn>
                                                                                                      <a:cxn ang="0">
                                                                                                        <a:pos x="42" y="320"/>
                                                                                                      </a:cxn>
                                                                                                      <a:cxn ang="0">
                                                                                                        <a:pos x="54" y="318"/>
                                                                                                      </a:cxn>
                                                                                                      <a:cxn ang="0">
                                                                                                        <a:pos x="58" y="312"/>
                                                                                                      </a:cxn>
                                                                                                      <a:cxn ang="0">
                                                                                                        <a:pos x="66" y="318"/>
                                                                                                      </a:cxn>
                                                                                                      <a:cxn ang="0">
                                                                                                        <a:pos x="72" y="328"/>
                                                                                                      </a:cxn>
                                                                                                      <a:cxn ang="0">
                                                                                                        <a:pos x="74" y="334"/>
                                                                                                      </a:cxn>
                                                                                                      <a:cxn ang="0">
                                                                                                        <a:pos x="72" y="348"/>
                                                                                                      </a:cxn>
                                                                                                      <a:cxn ang="0">
                                                                                                        <a:pos x="82" y="358"/>
                                                                                                      </a:cxn>
                                                                                                      <a:cxn ang="0">
                                                                                                        <a:pos x="90" y="366"/>
                                                                                                      </a:cxn>
                                                                                                      <a:cxn ang="0">
                                                                                                        <a:pos x="98" y="362"/>
                                                                                                      </a:cxn>
                                                                                                      <a:cxn ang="0">
                                                                                                        <a:pos x="108" y="366"/>
                                                                                                      </a:cxn>
                                                                                                      <a:cxn ang="0">
                                                                                                        <a:pos x="118" y="358"/>
                                                                                                      </a:cxn>
                                                                                                      <a:cxn ang="0">
                                                                                                        <a:pos x="128" y="364"/>
                                                                                                      </a:cxn>
                                                                                                      <a:cxn ang="0">
                                                                                                        <a:pos x="138" y="362"/>
                                                                                                      </a:cxn>
                                                                                                    </a:cxnLst>
                                                                                                    <a:rect l="0" t="0" r="r" b="b"/>
                                                                                                    <a:pathLst>
                                                                                                      <a:path w="344" h="368">
                                                                                                        <a:moveTo>
                                                                                                          <a:pt x="144" y="364"/>
                                                                                                        </a:moveTo>
                                                                                                        <a:lnTo>
                                                                                                          <a:pt x="144" y="364"/>
                                                                                                        </a:lnTo>
                                                                                                        <a:lnTo>
                                                                                                          <a:pt x="148" y="348"/>
                                                                                                        </a:lnTo>
                                                                                                        <a:lnTo>
                                                                                                          <a:pt x="150" y="342"/>
                                                                                                        </a:lnTo>
                                                                                                        <a:lnTo>
                                                                                                          <a:pt x="154" y="340"/>
                                                                                                        </a:lnTo>
                                                                                                        <a:lnTo>
                                                                                                          <a:pt x="154" y="336"/>
                                                                                                        </a:lnTo>
                                                                                                        <a:lnTo>
                                                                                                          <a:pt x="154" y="336"/>
                                                                                                        </a:lnTo>
                                                                                                        <a:lnTo>
                                                                                                          <a:pt x="152" y="332"/>
                                                                                                        </a:lnTo>
                                                                                                        <a:lnTo>
                                                                                                          <a:pt x="150" y="332"/>
                                                                                                        </a:lnTo>
                                                                                                        <a:lnTo>
                                                                                                          <a:pt x="150" y="332"/>
                                                                                                        </a:lnTo>
                                                                                                        <a:lnTo>
                                                                                                          <a:pt x="150" y="330"/>
                                                                                                        </a:lnTo>
                                                                                                        <a:lnTo>
                                                                                                          <a:pt x="156" y="326"/>
                                                                                                        </a:lnTo>
                                                                                                        <a:lnTo>
                                                                                                          <a:pt x="156" y="326"/>
                                                                                                        </a:lnTo>
                                                                                                        <a:lnTo>
                                                                                                          <a:pt x="172" y="316"/>
                                                                                                        </a:lnTo>
                                                                                                        <a:lnTo>
                                                                                                          <a:pt x="176" y="310"/>
                                                                                                        </a:lnTo>
                                                                                                        <a:lnTo>
                                                                                                          <a:pt x="176" y="308"/>
                                                                                                        </a:lnTo>
                                                                                                        <a:lnTo>
                                                                                                          <a:pt x="176" y="306"/>
                                                                                                        </a:lnTo>
                                                                                                        <a:lnTo>
                                                                                                          <a:pt x="176" y="306"/>
                                                                                                        </a:lnTo>
                                                                                                        <a:lnTo>
                                                                                                          <a:pt x="174" y="304"/>
                                                                                                        </a:lnTo>
                                                                                                        <a:lnTo>
                                                                                                          <a:pt x="174" y="302"/>
                                                                                                        </a:lnTo>
                                                                                                        <a:lnTo>
                                                                                                          <a:pt x="178" y="302"/>
                                                                                                        </a:lnTo>
                                                                                                        <a:lnTo>
                                                                                                          <a:pt x="182" y="298"/>
                                                                                                        </a:lnTo>
                                                                                                        <a:lnTo>
                                                                                                          <a:pt x="182" y="296"/>
                                                                                                        </a:lnTo>
                                                                                                        <a:lnTo>
                                                                                                          <a:pt x="182" y="294"/>
                                                                                                        </a:lnTo>
                                                                                                        <a:lnTo>
                                                                                                          <a:pt x="182" y="294"/>
                                                                                                        </a:lnTo>
                                                                                                        <a:lnTo>
                                                                                                          <a:pt x="182" y="290"/>
                                                                                                        </a:lnTo>
                                                                                                        <a:lnTo>
                                                                                                          <a:pt x="184" y="284"/>
                                                                                                        </a:lnTo>
                                                                                                        <a:lnTo>
                                                                                                          <a:pt x="190" y="280"/>
                                                                                                        </a:lnTo>
                                                                                                        <a:lnTo>
                                                                                                          <a:pt x="194" y="280"/>
                                                                                                        </a:lnTo>
                                                                                                        <a:lnTo>
                                                                                                          <a:pt x="196" y="280"/>
                                                                                                        </a:lnTo>
                                                                                                        <a:lnTo>
                                                                                                          <a:pt x="196" y="280"/>
                                                                                                        </a:lnTo>
                                                                                                        <a:lnTo>
                                                                                                          <a:pt x="204" y="280"/>
                                                                                                        </a:lnTo>
                                                                                                        <a:lnTo>
                                                                                                          <a:pt x="212" y="278"/>
                                                                                                        </a:lnTo>
                                                                                                        <a:lnTo>
                                                                                                          <a:pt x="214" y="274"/>
                                                                                                        </a:lnTo>
                                                                                                        <a:lnTo>
                                                                                                          <a:pt x="216" y="274"/>
                                                                                                        </a:lnTo>
                                                                                                        <a:lnTo>
                                                                                                          <a:pt x="214" y="272"/>
                                                                                                        </a:lnTo>
                                                                                                        <a:lnTo>
                                                                                                          <a:pt x="214" y="272"/>
                                                                                                        </a:lnTo>
                                                                                                        <a:lnTo>
                                                                                                          <a:pt x="210" y="270"/>
                                                                                                        </a:lnTo>
                                                                                                        <a:lnTo>
                                                                                                          <a:pt x="214" y="270"/>
                                                                                                        </a:lnTo>
                                                                                                        <a:lnTo>
                                                                                                          <a:pt x="218" y="268"/>
                                                                                                        </a:lnTo>
                                                                                                        <a:lnTo>
                                                                                                          <a:pt x="224" y="264"/>
                                                                                                        </a:lnTo>
                                                                                                        <a:lnTo>
                                                                                                          <a:pt x="224" y="264"/>
                                                                                                        </a:lnTo>
                                                                                                        <a:lnTo>
                                                                                                          <a:pt x="230" y="256"/>
                                                                                                        </a:lnTo>
                                                                                                        <a:lnTo>
                                                                                                          <a:pt x="234" y="256"/>
                                                                                                        </a:lnTo>
                                                                                                        <a:lnTo>
                                                                                                          <a:pt x="238" y="256"/>
                                                                                                        </a:lnTo>
                                                                                                        <a:lnTo>
                                                                                                          <a:pt x="242" y="252"/>
                                                                                                        </a:lnTo>
                                                                                                        <a:lnTo>
                                                                                                          <a:pt x="242" y="252"/>
                                                                                                        </a:lnTo>
                                                                                                        <a:lnTo>
                                                                                                          <a:pt x="244" y="250"/>
                                                                                                        </a:lnTo>
                                                                                                        <a:lnTo>
                                                                                                          <a:pt x="246" y="250"/>
                                                                                                        </a:lnTo>
                                                                                                        <a:lnTo>
                                                                                                          <a:pt x="260" y="254"/>
                                                                                                        </a:lnTo>
                                                                                                        <a:lnTo>
                                                                                                          <a:pt x="260" y="254"/>
                                                                                                        </a:lnTo>
                                                                                                        <a:lnTo>
                                                                                                          <a:pt x="264" y="254"/>
                                                                                                        </a:lnTo>
                                                                                                        <a:lnTo>
                                                                                                          <a:pt x="266" y="254"/>
                                                                                                        </a:lnTo>
                                                                                                        <a:lnTo>
                                                                                                          <a:pt x="268" y="252"/>
                                                                                                        </a:lnTo>
                                                                                                        <a:lnTo>
                                                                                                          <a:pt x="268" y="252"/>
                                                                                                        </a:lnTo>
                                                                                                        <a:lnTo>
                                                                                                          <a:pt x="270" y="250"/>
                                                                                                        </a:lnTo>
                                                                                                        <a:lnTo>
                                                                                                          <a:pt x="274" y="250"/>
                                                                                                        </a:lnTo>
                                                                                                        <a:lnTo>
                                                                                                          <a:pt x="278" y="248"/>
                                                                                                        </a:lnTo>
                                                                                                        <a:lnTo>
                                                                                                          <a:pt x="284" y="244"/>
                                                                                                        </a:lnTo>
                                                                                                        <a:lnTo>
                                                                                                          <a:pt x="284" y="244"/>
                                                                                                        </a:lnTo>
                                                                                                        <a:lnTo>
                                                                                                          <a:pt x="288" y="240"/>
                                                                                                        </a:lnTo>
                                                                                                        <a:lnTo>
                                                                                                          <a:pt x="290" y="238"/>
                                                                                                        </a:lnTo>
                                                                                                        <a:lnTo>
                                                                                                          <a:pt x="298" y="238"/>
                                                                                                        </a:lnTo>
                                                                                                        <a:lnTo>
                                                                                                          <a:pt x="308" y="238"/>
                                                                                                        </a:lnTo>
                                                                                                        <a:lnTo>
                                                                                                          <a:pt x="312" y="238"/>
                                                                                                        </a:lnTo>
                                                                                                        <a:lnTo>
                                                                                                          <a:pt x="316" y="234"/>
                                                                                                        </a:lnTo>
                                                                                                        <a:lnTo>
                                                                                                          <a:pt x="316" y="234"/>
                                                                                                        </a:lnTo>
                                                                                                        <a:lnTo>
                                                                                                          <a:pt x="322" y="232"/>
                                                                                                        </a:lnTo>
                                                                                                        <a:lnTo>
                                                                                                          <a:pt x="330" y="228"/>
                                                                                                        </a:lnTo>
                                                                                                        <a:lnTo>
                                                                                                          <a:pt x="336" y="226"/>
                                                                                                        </a:lnTo>
                                                                                                        <a:lnTo>
                                                                                                          <a:pt x="336" y="224"/>
                                                                                                        </a:lnTo>
                                                                                                        <a:lnTo>
                                                                                                          <a:pt x="338" y="222"/>
                                                                                                        </a:lnTo>
                                                                                                        <a:lnTo>
                                                                                                          <a:pt x="338" y="222"/>
                                                                                                        </a:lnTo>
                                                                                                        <a:lnTo>
                                                                                                          <a:pt x="340" y="216"/>
                                                                                                        </a:lnTo>
                                                                                                        <a:lnTo>
                                                                                                          <a:pt x="340" y="212"/>
                                                                                                        </a:lnTo>
                                                                                                        <a:lnTo>
                                                                                                          <a:pt x="342" y="204"/>
                                                                                                        </a:lnTo>
                                                                                                        <a:lnTo>
                                                                                                          <a:pt x="342" y="204"/>
                                                                                                        </a:lnTo>
                                                                                                        <a:lnTo>
                                                                                                          <a:pt x="342" y="200"/>
                                                                                                        </a:lnTo>
                                                                                                        <a:lnTo>
                                                                                                          <a:pt x="342" y="198"/>
                                                                                                        </a:lnTo>
                                                                                                        <a:lnTo>
                                                                                                          <a:pt x="344" y="198"/>
                                                                                                        </a:lnTo>
                                                                                                        <a:lnTo>
                                                                                                          <a:pt x="344" y="194"/>
                                                                                                        </a:lnTo>
                                                                                                        <a:lnTo>
                                                                                                          <a:pt x="344" y="194"/>
                                                                                                        </a:lnTo>
                                                                                                        <a:lnTo>
                                                                                                          <a:pt x="344" y="144"/>
                                                                                                        </a:lnTo>
                                                                                                        <a:lnTo>
                                                                                                          <a:pt x="344" y="144"/>
                                                                                                        </a:lnTo>
                                                                                                        <a:lnTo>
                                                                                                          <a:pt x="326" y="150"/>
                                                                                                        </a:lnTo>
                                                                                                        <a:lnTo>
                                                                                                          <a:pt x="322" y="152"/>
                                                                                                        </a:lnTo>
                                                                                                        <a:lnTo>
                                                                                                          <a:pt x="320" y="150"/>
                                                                                                        </a:lnTo>
                                                                                                        <a:lnTo>
                                                                                                          <a:pt x="320" y="150"/>
                                                                                                        </a:lnTo>
                                                                                                        <a:lnTo>
                                                                                                          <a:pt x="322" y="144"/>
                                                                                                        </a:lnTo>
                                                                                                        <a:lnTo>
                                                                                                          <a:pt x="324" y="140"/>
                                                                                                        </a:lnTo>
                                                                                                        <a:lnTo>
                                                                                                          <a:pt x="328" y="134"/>
                                                                                                        </a:lnTo>
                                                                                                        <a:lnTo>
                                                                                                          <a:pt x="326" y="130"/>
                                                                                                        </a:lnTo>
                                                                                                        <a:lnTo>
                                                                                                          <a:pt x="326" y="130"/>
                                                                                                        </a:lnTo>
                                                                                                        <a:lnTo>
                                                                                                          <a:pt x="324" y="128"/>
                                                                                                        </a:lnTo>
                                                                                                        <a:lnTo>
                                                                                                          <a:pt x="322" y="128"/>
                                                                                                        </a:lnTo>
                                                                                                        <a:lnTo>
                                                                                                          <a:pt x="320" y="124"/>
                                                                                                        </a:lnTo>
                                                                                                        <a:lnTo>
                                                                                                          <a:pt x="320" y="124"/>
                                                                                                        </a:lnTo>
                                                                                                        <a:lnTo>
                                                                                                          <a:pt x="318" y="122"/>
                                                                                                        </a:lnTo>
                                                                                                        <a:lnTo>
                                                                                                          <a:pt x="316" y="122"/>
                                                                                                        </a:lnTo>
                                                                                                        <a:lnTo>
                                                                                                          <a:pt x="314" y="120"/>
                                                                                                        </a:lnTo>
                                                                                                        <a:lnTo>
                                                                                                          <a:pt x="310" y="120"/>
                                                                                                        </a:lnTo>
                                                                                                        <a:lnTo>
                                                                                                          <a:pt x="310" y="120"/>
                                                                                                        </a:lnTo>
                                                                                                        <a:lnTo>
                                                                                                          <a:pt x="308" y="118"/>
                                                                                                        </a:lnTo>
                                                                                                        <a:lnTo>
                                                                                                          <a:pt x="310" y="116"/>
                                                                                                        </a:lnTo>
                                                                                                        <a:lnTo>
                                                                                                          <a:pt x="310" y="116"/>
                                                                                                        </a:lnTo>
                                                                                                        <a:lnTo>
                                                                                                          <a:pt x="310" y="114"/>
                                                                                                        </a:lnTo>
                                                                                                        <a:lnTo>
                                                                                                          <a:pt x="310" y="114"/>
                                                                                                        </a:lnTo>
                                                                                                        <a:lnTo>
                                                                                                          <a:pt x="308" y="112"/>
                                                                                                        </a:lnTo>
                                                                                                        <a:lnTo>
                                                                                                          <a:pt x="306" y="112"/>
                                                                                                        </a:lnTo>
                                                                                                        <a:lnTo>
                                                                                                          <a:pt x="302" y="112"/>
                                                                                                        </a:lnTo>
                                                                                                        <a:lnTo>
                                                                                                          <a:pt x="298" y="108"/>
                                                                                                        </a:lnTo>
                                                                                                        <a:lnTo>
                                                                                                          <a:pt x="298" y="108"/>
                                                                                                        </a:lnTo>
                                                                                                        <a:lnTo>
                                                                                                          <a:pt x="156" y="0"/>
                                                                                                        </a:lnTo>
                                                                                                        <a:lnTo>
                                                                                                          <a:pt x="130" y="0"/>
                                                                                                        </a:lnTo>
                                                                                                        <a:lnTo>
                                                                                                          <a:pt x="130" y="0"/>
                                                                                                        </a:lnTo>
                                                                                                        <a:lnTo>
                                                                                                          <a:pt x="134" y="196"/>
                                                                                                        </a:lnTo>
                                                                                                        <a:lnTo>
                                                                                                          <a:pt x="134" y="196"/>
                                                                                                        </a:lnTo>
                                                                                                        <a:lnTo>
                                                                                                          <a:pt x="134" y="202"/>
                                                                                                        </a:lnTo>
                                                                                                        <a:lnTo>
                                                                                                          <a:pt x="138" y="206"/>
                                                                                                        </a:lnTo>
                                                                                                        <a:lnTo>
                                                                                                          <a:pt x="146" y="212"/>
                                                                                                        </a:lnTo>
                                                                                                        <a:lnTo>
                                                                                                          <a:pt x="136" y="238"/>
                                                                                                        </a:lnTo>
                                                                                                        <a:lnTo>
                                                                                                          <a:pt x="136" y="238"/>
                                                                                                        </a:lnTo>
                                                                                                        <a:lnTo>
                                                                                                          <a:pt x="68" y="238"/>
                                                                                                        </a:lnTo>
                                                                                                        <a:lnTo>
                                                                                                          <a:pt x="68" y="238"/>
                                                                                                        </a:lnTo>
                                                                                                        <a:lnTo>
                                                                                                          <a:pt x="66" y="236"/>
                                                                                                        </a:lnTo>
                                                                                                        <a:lnTo>
                                                                                                          <a:pt x="66" y="236"/>
                                                                                                        </a:lnTo>
                                                                                                        <a:lnTo>
                                                                                                          <a:pt x="66" y="234"/>
                                                                                                        </a:lnTo>
                                                                                                        <a:lnTo>
                                                                                                          <a:pt x="64" y="232"/>
                                                                                                        </a:lnTo>
                                                                                                        <a:lnTo>
                                                                                                          <a:pt x="64" y="232"/>
                                                                                                        </a:lnTo>
                                                                                                        <a:lnTo>
                                                                                                          <a:pt x="60" y="234"/>
                                                                                                        </a:lnTo>
                                                                                                        <a:lnTo>
                                                                                                          <a:pt x="58" y="236"/>
                                                                                                        </a:lnTo>
                                                                                                        <a:lnTo>
                                                                                                          <a:pt x="58" y="238"/>
                                                                                                        </a:lnTo>
                                                                                                        <a:lnTo>
                                                                                                          <a:pt x="54" y="238"/>
                                                                                                        </a:lnTo>
                                                                                                        <a:lnTo>
                                                                                                          <a:pt x="54" y="238"/>
                                                                                                        </a:lnTo>
                                                                                                        <a:lnTo>
                                                                                                          <a:pt x="44" y="238"/>
                                                                                                        </a:lnTo>
                                                                                                        <a:lnTo>
                                                                                                          <a:pt x="38" y="238"/>
                                                                                                        </a:lnTo>
                                                                                                        <a:lnTo>
                                                                                                          <a:pt x="34" y="240"/>
                                                                                                        </a:lnTo>
                                                                                                        <a:lnTo>
                                                                                                          <a:pt x="34" y="240"/>
                                                                                                        </a:lnTo>
                                                                                                        <a:lnTo>
                                                                                                          <a:pt x="28" y="238"/>
                                                                                                        </a:lnTo>
                                                                                                        <a:lnTo>
                                                                                                          <a:pt x="26" y="234"/>
                                                                                                        </a:lnTo>
                                                                                                        <a:lnTo>
                                                                                                          <a:pt x="24" y="230"/>
                                                                                                        </a:lnTo>
                                                                                                        <a:lnTo>
                                                                                                          <a:pt x="20" y="230"/>
                                                                                                        </a:lnTo>
                                                                                                        <a:lnTo>
                                                                                                          <a:pt x="20" y="230"/>
                                                                                                        </a:lnTo>
                                                                                                        <a:lnTo>
                                                                                                          <a:pt x="18" y="230"/>
                                                                                                        </a:lnTo>
                                                                                                        <a:lnTo>
                                                                                                          <a:pt x="16" y="232"/>
                                                                                                        </a:lnTo>
                                                                                                        <a:lnTo>
                                                                                                          <a:pt x="16" y="232"/>
                                                                                                        </a:lnTo>
                                                                                                        <a:lnTo>
                                                                                                          <a:pt x="14" y="234"/>
                                                                                                        </a:lnTo>
                                                                                                        <a:lnTo>
                                                                                                          <a:pt x="14" y="234"/>
                                                                                                        </a:lnTo>
                                                                                                        <a:lnTo>
                                                                                                          <a:pt x="10" y="236"/>
                                                                                                        </a:lnTo>
                                                                                                        <a:lnTo>
                                                                                                          <a:pt x="8" y="242"/>
                                                                                                        </a:lnTo>
                                                                                                        <a:lnTo>
                                                                                                          <a:pt x="4" y="246"/>
                                                                                                        </a:lnTo>
                                                                                                        <a:lnTo>
                                                                                                          <a:pt x="0" y="250"/>
                                                                                                        </a:lnTo>
                                                                                                        <a:lnTo>
                                                                                                          <a:pt x="0" y="250"/>
                                                                                                        </a:lnTo>
                                                                                                        <a:lnTo>
                                                                                                          <a:pt x="0" y="256"/>
                                                                                                        </a:lnTo>
                                                                                                        <a:lnTo>
                                                                                                          <a:pt x="2" y="258"/>
                                                                                                        </a:lnTo>
                                                                                                        <a:lnTo>
                                                                                                          <a:pt x="4" y="260"/>
                                                                                                        </a:lnTo>
                                                                                                        <a:lnTo>
                                                                                                          <a:pt x="2" y="268"/>
                                                                                                        </a:lnTo>
                                                                                                        <a:lnTo>
                                                                                                          <a:pt x="2" y="268"/>
                                                                                                        </a:lnTo>
                                                                                                        <a:lnTo>
                                                                                                          <a:pt x="2" y="274"/>
                                                                                                        </a:lnTo>
                                                                                                        <a:lnTo>
                                                                                                          <a:pt x="4" y="280"/>
                                                                                                        </a:lnTo>
                                                                                                        <a:lnTo>
                                                                                                          <a:pt x="6" y="284"/>
                                                                                                        </a:lnTo>
                                                                                                        <a:lnTo>
                                                                                                          <a:pt x="8" y="284"/>
                                                                                                        </a:lnTo>
                                                                                                        <a:lnTo>
                                                                                                          <a:pt x="10" y="282"/>
                                                                                                        </a:lnTo>
                                                                                                        <a:lnTo>
                                                                                                          <a:pt x="10" y="282"/>
                                                                                                        </a:lnTo>
                                                                                                        <a:lnTo>
                                                                                                          <a:pt x="14" y="290"/>
                                                                                                        </a:lnTo>
                                                                                                        <a:lnTo>
                                                                                                          <a:pt x="16" y="298"/>
                                                                                                        </a:lnTo>
                                                                                                        <a:lnTo>
                                                                                                          <a:pt x="16" y="308"/>
                                                                                                        </a:lnTo>
                                                                                                        <a:lnTo>
                                                                                                          <a:pt x="14" y="314"/>
                                                                                                        </a:lnTo>
                                                                                                        <a:lnTo>
                                                                                                          <a:pt x="14" y="314"/>
                                                                                                        </a:lnTo>
                                                                                                        <a:lnTo>
                                                                                                          <a:pt x="14" y="316"/>
                                                                                                        </a:lnTo>
                                                                                                        <a:lnTo>
                                                                                                          <a:pt x="16" y="318"/>
                                                                                                        </a:lnTo>
                                                                                                        <a:lnTo>
                                                                                                          <a:pt x="20" y="318"/>
                                                                                                        </a:lnTo>
                                                                                                        <a:lnTo>
                                                                                                          <a:pt x="22" y="316"/>
                                                                                                        </a:lnTo>
                                                                                                        <a:lnTo>
                                                                                                          <a:pt x="22" y="316"/>
                                                                                                        </a:lnTo>
                                                                                                        <a:lnTo>
                                                                                                          <a:pt x="24" y="320"/>
                                                                                                        </a:lnTo>
                                                                                                        <a:lnTo>
                                                                                                          <a:pt x="26" y="320"/>
                                                                                                        </a:lnTo>
                                                                                                        <a:lnTo>
                                                                                                          <a:pt x="28" y="318"/>
                                                                                                        </a:lnTo>
                                                                                                        <a:lnTo>
                                                                                                          <a:pt x="30" y="318"/>
                                                                                                        </a:lnTo>
                                                                                                        <a:lnTo>
                                                                                                          <a:pt x="30" y="318"/>
                                                                                                        </a:lnTo>
                                                                                                        <a:lnTo>
                                                                                                          <a:pt x="34" y="318"/>
                                                                                                        </a:lnTo>
                                                                                                        <a:lnTo>
                                                                                                          <a:pt x="36" y="320"/>
                                                                                                        </a:lnTo>
                                                                                                        <a:lnTo>
                                                                                                          <a:pt x="38" y="322"/>
                                                                                                        </a:lnTo>
                                                                                                        <a:lnTo>
                                                                                                          <a:pt x="42" y="320"/>
                                                                                                        </a:lnTo>
                                                                                                        <a:lnTo>
                                                                                                          <a:pt x="42" y="320"/>
                                                                                                        </a:lnTo>
                                                                                                        <a:lnTo>
                                                                                                          <a:pt x="44" y="318"/>
                                                                                                        </a:lnTo>
                                                                                                        <a:lnTo>
                                                                                                          <a:pt x="46" y="320"/>
                                                                                                        </a:lnTo>
                                                                                                        <a:lnTo>
                                                                                                          <a:pt x="48" y="320"/>
                                                                                                        </a:lnTo>
                                                                                                        <a:lnTo>
                                                                                                          <a:pt x="54" y="318"/>
                                                                                                        </a:lnTo>
                                                                                                        <a:lnTo>
                                                                                                          <a:pt x="54" y="318"/>
                                                                                                        </a:lnTo>
                                                                                                        <a:lnTo>
                                                                                                          <a:pt x="54" y="316"/>
                                                                                                        </a:lnTo>
                                                                                                        <a:lnTo>
                                                                                                          <a:pt x="56" y="314"/>
                                                                                                        </a:lnTo>
                                                                                                        <a:lnTo>
                                                                                                          <a:pt x="58" y="312"/>
                                                                                                        </a:lnTo>
                                                                                                        <a:lnTo>
                                                                                                          <a:pt x="62" y="314"/>
                                                                                                        </a:lnTo>
                                                                                                        <a:lnTo>
                                                                                                          <a:pt x="62" y="314"/>
                                                                                                        </a:lnTo>
                                                                                                        <a:lnTo>
                                                                                                          <a:pt x="66" y="316"/>
                                                                                                        </a:lnTo>
                                                                                                        <a:lnTo>
                                                                                                          <a:pt x="66" y="318"/>
                                                                                                        </a:lnTo>
                                                                                                        <a:lnTo>
                                                                                                          <a:pt x="66" y="320"/>
                                                                                                        </a:lnTo>
                                                                                                        <a:lnTo>
                                                                                                          <a:pt x="70" y="324"/>
                                                                                                        </a:lnTo>
                                                                                                        <a:lnTo>
                                                                                                          <a:pt x="70" y="324"/>
                                                                                                        </a:lnTo>
                                                                                                        <a:lnTo>
                                                                                                          <a:pt x="72" y="328"/>
                                                                                                        </a:lnTo>
                                                                                                        <a:lnTo>
                                                                                                          <a:pt x="72" y="330"/>
                                                                                                        </a:lnTo>
                                                                                                        <a:lnTo>
                                                                                                          <a:pt x="72" y="332"/>
                                                                                                        </a:lnTo>
                                                                                                        <a:lnTo>
                                                                                                          <a:pt x="74" y="334"/>
                                                                                                        </a:lnTo>
                                                                                                        <a:lnTo>
                                                                                                          <a:pt x="74" y="334"/>
                                                                                                        </a:lnTo>
                                                                                                        <a:lnTo>
                                                                                                          <a:pt x="78" y="336"/>
                                                                                                        </a:lnTo>
                                                                                                        <a:lnTo>
                                                                                                          <a:pt x="78" y="338"/>
                                                                                                        </a:lnTo>
                                                                                                        <a:lnTo>
                                                                                                          <a:pt x="72" y="348"/>
                                                                                                        </a:lnTo>
                                                                                                        <a:lnTo>
                                                                                                          <a:pt x="72" y="348"/>
                                                                                                        </a:lnTo>
                                                                                                        <a:lnTo>
                                                                                                          <a:pt x="76" y="346"/>
                                                                                                        </a:lnTo>
                                                                                                        <a:lnTo>
                                                                                                          <a:pt x="80" y="348"/>
                                                                                                        </a:lnTo>
                                                                                                        <a:lnTo>
                                                                                                          <a:pt x="80" y="352"/>
                                                                                                        </a:lnTo>
                                                                                                        <a:lnTo>
                                                                                                          <a:pt x="82" y="358"/>
                                                                                                        </a:lnTo>
                                                                                                        <a:lnTo>
                                                                                                          <a:pt x="82" y="358"/>
                                                                                                        </a:lnTo>
                                                                                                        <a:lnTo>
                                                                                                          <a:pt x="84" y="362"/>
                                                                                                        </a:lnTo>
                                                                                                        <a:lnTo>
                                                                                                          <a:pt x="88" y="364"/>
                                                                                                        </a:lnTo>
                                                                                                        <a:lnTo>
                                                                                                          <a:pt x="90" y="366"/>
                                                                                                        </a:lnTo>
                                                                                                        <a:lnTo>
                                                                                                          <a:pt x="92" y="368"/>
                                                                                                        </a:lnTo>
                                                                                                        <a:lnTo>
                                                                                                          <a:pt x="92" y="368"/>
                                                                                                        </a:lnTo>
                                                                                                        <a:lnTo>
                                                                                                          <a:pt x="96" y="364"/>
                                                                                                        </a:lnTo>
                                                                                                        <a:lnTo>
                                                                                                          <a:pt x="98" y="362"/>
                                                                                                        </a:lnTo>
                                                                                                        <a:lnTo>
                                                                                                          <a:pt x="102" y="364"/>
                                                                                                        </a:lnTo>
                                                                                                        <a:lnTo>
                                                                                                          <a:pt x="102" y="364"/>
                                                                                                        </a:lnTo>
                                                                                                        <a:lnTo>
                                                                                                          <a:pt x="106" y="368"/>
                                                                                                        </a:lnTo>
                                                                                                        <a:lnTo>
                                                                                                          <a:pt x="108" y="366"/>
                                                                                                        </a:lnTo>
                                                                                                        <a:lnTo>
                                                                                                          <a:pt x="112" y="364"/>
                                                                                                        </a:lnTo>
                                                                                                        <a:lnTo>
                                                                                                          <a:pt x="112" y="364"/>
                                                                                                        </a:lnTo>
                                                                                                        <a:lnTo>
                                                                                                          <a:pt x="114" y="360"/>
                                                                                                        </a:lnTo>
                                                                                                        <a:lnTo>
                                                                                                          <a:pt x="118" y="358"/>
                                                                                                        </a:lnTo>
                                                                                                        <a:lnTo>
                                                                                                          <a:pt x="120" y="360"/>
                                                                                                        </a:lnTo>
                                                                                                        <a:lnTo>
                                                                                                          <a:pt x="122" y="360"/>
                                                                                                        </a:lnTo>
                                                                                                        <a:lnTo>
                                                                                                          <a:pt x="126" y="364"/>
                                                                                                        </a:lnTo>
                                                                                                        <a:lnTo>
                                                                                                          <a:pt x="128" y="364"/>
                                                                                                        </a:lnTo>
                                                                                                        <a:lnTo>
                                                                                                          <a:pt x="130" y="362"/>
                                                                                                        </a:lnTo>
                                                                                                        <a:lnTo>
                                                                                                          <a:pt x="130" y="362"/>
                                                                                                        </a:lnTo>
                                                                                                        <a:lnTo>
                                                                                                          <a:pt x="134" y="360"/>
                                                                                                        </a:lnTo>
                                                                                                        <a:lnTo>
                                                                                                          <a:pt x="138" y="362"/>
                                                                                                        </a:lnTo>
                                                                                                        <a:lnTo>
                                                                                                          <a:pt x="144" y="364"/>
                                                                                                        </a:lnTo>
                                                                                                        <a:lnTo>
                                                                                                          <a:pt x="144" y="364"/>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baseline="-25000" dirty="0">
                                                                                                      <a:solidFill>
                                                                                                        <a:schemeClr val="tx1"/>
                                                                                                      </a:solidFill>
                                                                                                    </a:endParaRPr>
                                                                                                  </a:p>
                                                                                                </p:txBody>
                                                                                              </p:sp>
                                                                                              <p:sp>
                                                                                                <p:nvSpPr>
                                                                                                  <p:cNvPr id="698" name="Morocco"/>
                                                                                                  <p:cNvSpPr>
                                                                                                    <a:spLocks/>
                                                                                                  </p:cNvSpPr>
                                                                                                  <p:nvPr/>
                                                                                                </p:nvSpPr>
                                                                                                <p:spPr bwMode="auto">
                                                                                                  <a:xfrm>
                                                                                                    <a:off x="5389570" y="2328722"/>
                                                                                                    <a:ext cx="370593" cy="288309"/>
                                                                                                  </a:xfrm>
                                                                                                  <a:custGeom>
                                                                                                    <a:avLst/>
                                                                                                    <a:gdLst/>
                                                                                                    <a:ahLst/>
                                                                                                    <a:cxnLst>
                                                                                                      <a:cxn ang="0">
                                                                                                        <a:pos x="4" y="184"/>
                                                                                                      </a:cxn>
                                                                                                      <a:cxn ang="0">
                                                                                                        <a:pos x="22" y="178"/>
                                                                                                      </a:cxn>
                                                                                                      <a:cxn ang="0">
                                                                                                        <a:pos x="40" y="170"/>
                                                                                                      </a:cxn>
                                                                                                      <a:cxn ang="0">
                                                                                                        <a:pos x="48" y="162"/>
                                                                                                      </a:cxn>
                                                                                                      <a:cxn ang="0">
                                                                                                        <a:pos x="72" y="140"/>
                                                                                                      </a:cxn>
                                                                                                      <a:cxn ang="0">
                                                                                                        <a:pos x="76" y="130"/>
                                                                                                      </a:cxn>
                                                                                                      <a:cxn ang="0">
                                                                                                        <a:pos x="66" y="120"/>
                                                                                                      </a:cxn>
                                                                                                      <a:cxn ang="0">
                                                                                                        <a:pos x="66" y="110"/>
                                                                                                      </a:cxn>
                                                                                                      <a:cxn ang="0">
                                                                                                        <a:pos x="84" y="84"/>
                                                                                                      </a:cxn>
                                                                                                      <a:cxn ang="0">
                                                                                                        <a:pos x="92" y="66"/>
                                                                                                      </a:cxn>
                                                                                                      <a:cxn ang="0">
                                                                                                        <a:pos x="112" y="56"/>
                                                                                                      </a:cxn>
                                                                                                      <a:cxn ang="0">
                                                                                                        <a:pos x="136" y="28"/>
                                                                                                      </a:cxn>
                                                                                                      <a:cxn ang="0">
                                                                                                        <a:pos x="146" y="14"/>
                                                                                                      </a:cxn>
                                                                                                      <a:cxn ang="0">
                                                                                                        <a:pos x="154" y="6"/>
                                                                                                      </a:cxn>
                                                                                                      <a:cxn ang="0">
                                                                                                        <a:pos x="164" y="2"/>
                                                                                                      </a:cxn>
                                                                                                      <a:cxn ang="0">
                                                                                                        <a:pos x="166" y="6"/>
                                                                                                      </a:cxn>
                                                                                                      <a:cxn ang="0">
                                                                                                        <a:pos x="174" y="8"/>
                                                                                                      </a:cxn>
                                                                                                      <a:cxn ang="0">
                                                                                                        <a:pos x="188" y="14"/>
                                                                                                      </a:cxn>
                                                                                                      <a:cxn ang="0">
                                                                                                        <a:pos x="196" y="14"/>
                                                                                                      </a:cxn>
                                                                                                      <a:cxn ang="0">
                                                                                                        <a:pos x="208" y="10"/>
                                                                                                      </a:cxn>
                                                                                                      <a:cxn ang="0">
                                                                                                        <a:pos x="208" y="12"/>
                                                                                                      </a:cxn>
                                                                                                      <a:cxn ang="0">
                                                                                                        <a:pos x="214" y="16"/>
                                                                                                      </a:cxn>
                                                                                                      <a:cxn ang="0">
                                                                                                        <a:pos x="220" y="18"/>
                                                                                                      </a:cxn>
                                                                                                      <a:cxn ang="0">
                                                                                                        <a:pos x="224" y="38"/>
                                                                                                      </a:cxn>
                                                                                                      <a:cxn ang="0">
                                                                                                        <a:pos x="222" y="54"/>
                                                                                                      </a:cxn>
                                                                                                      <a:cxn ang="0">
                                                                                                        <a:pos x="228" y="64"/>
                                                                                                      </a:cxn>
                                                                                                      <a:cxn ang="0">
                                                                                                        <a:pos x="242" y="72"/>
                                                                                                      </a:cxn>
                                                                                                      <a:cxn ang="0">
                                                                                                        <a:pos x="240" y="80"/>
                                                                                                      </a:cxn>
                                                                                                      <a:cxn ang="0">
                                                                                                        <a:pos x="242" y="86"/>
                                                                                                      </a:cxn>
                                                                                                      <a:cxn ang="0">
                                                                                                        <a:pos x="224" y="86"/>
                                                                                                      </a:cxn>
                                                                                                      <a:cxn ang="0">
                                                                                                        <a:pos x="202" y="90"/>
                                                                                                      </a:cxn>
                                                                                                      <a:cxn ang="0">
                                                                                                        <a:pos x="188" y="96"/>
                                                                                                      </a:cxn>
                                                                                                      <a:cxn ang="0">
                                                                                                        <a:pos x="188" y="108"/>
                                                                                                      </a:cxn>
                                                                                                      <a:cxn ang="0">
                                                                                                        <a:pos x="190" y="110"/>
                                                                                                      </a:cxn>
                                                                                                      <a:cxn ang="0">
                                                                                                        <a:pos x="158" y="126"/>
                                                                                                      </a:cxn>
                                                                                                      <a:cxn ang="0">
                                                                                                        <a:pos x="142" y="142"/>
                                                                                                      </a:cxn>
                                                                                                      <a:cxn ang="0">
                                                                                                        <a:pos x="126" y="146"/>
                                                                                                      </a:cxn>
                                                                                                      <a:cxn ang="0">
                                                                                                        <a:pos x="122" y="142"/>
                                                                                                      </a:cxn>
                                                                                                      <a:cxn ang="0">
                                                                                                        <a:pos x="110" y="156"/>
                                                                                                      </a:cxn>
                                                                                                      <a:cxn ang="0">
                                                                                                        <a:pos x="104" y="152"/>
                                                                                                      </a:cxn>
                                                                                                      <a:cxn ang="0">
                                                                                                        <a:pos x="96" y="156"/>
                                                                                                      </a:cxn>
                                                                                                      <a:cxn ang="0">
                                                                                                        <a:pos x="92" y="162"/>
                                                                                                      </a:cxn>
                                                                                                      <a:cxn ang="0">
                                                                                                        <a:pos x="82" y="174"/>
                                                                                                      </a:cxn>
                                                                                                      <a:cxn ang="0">
                                                                                                        <a:pos x="0" y="190"/>
                                                                                                      </a:cxn>
                                                                                                    </a:cxnLst>
                                                                                                    <a:rect l="0" t="0" r="r" b="b"/>
                                                                                                    <a:pathLst>
                                                                                                      <a:path w="244" h="190">
                                                                                                        <a:moveTo>
                                                                                                          <a:pt x="0" y="190"/>
                                                                                                        </a:moveTo>
                                                                                                        <a:lnTo>
                                                                                                          <a:pt x="0" y="190"/>
                                                                                                        </a:lnTo>
                                                                                                        <a:lnTo>
                                                                                                          <a:pt x="4" y="184"/>
                                                                                                        </a:lnTo>
                                                                                                        <a:lnTo>
                                                                                                          <a:pt x="10" y="180"/>
                                                                                                        </a:lnTo>
                                                                                                        <a:lnTo>
                                                                                                          <a:pt x="16" y="180"/>
                                                                                                        </a:lnTo>
                                                                                                        <a:lnTo>
                                                                                                          <a:pt x="22" y="178"/>
                                                                                                        </a:lnTo>
                                                                                                        <a:lnTo>
                                                                                                          <a:pt x="32" y="176"/>
                                                                                                        </a:lnTo>
                                                                                                        <a:lnTo>
                                                                                                          <a:pt x="36" y="174"/>
                                                                                                        </a:lnTo>
                                                                                                        <a:lnTo>
                                                                                                          <a:pt x="40" y="170"/>
                                                                                                        </a:lnTo>
                                                                                                        <a:lnTo>
                                                                                                          <a:pt x="40" y="170"/>
                                                                                                        </a:lnTo>
                                                                                                        <a:lnTo>
                                                                                                          <a:pt x="42" y="166"/>
                                                                                                        </a:lnTo>
                                                                                                        <a:lnTo>
                                                                                                          <a:pt x="48" y="162"/>
                                                                                                        </a:lnTo>
                                                                                                        <a:lnTo>
                                                                                                          <a:pt x="58" y="154"/>
                                                                                                        </a:lnTo>
                                                                                                        <a:lnTo>
                                                                                                          <a:pt x="68" y="146"/>
                                                                                                        </a:lnTo>
                                                                                                        <a:lnTo>
                                                                                                          <a:pt x="72" y="140"/>
                                                                                                        </a:lnTo>
                                                                                                        <a:lnTo>
                                                                                                          <a:pt x="76" y="134"/>
                                                                                                        </a:lnTo>
                                                                                                        <a:lnTo>
                                                                                                          <a:pt x="76" y="134"/>
                                                                                                        </a:lnTo>
                                                                                                        <a:lnTo>
                                                                                                          <a:pt x="76" y="130"/>
                                                                                                        </a:lnTo>
                                                                                                        <a:lnTo>
                                                                                                          <a:pt x="74" y="128"/>
                                                                                                        </a:lnTo>
                                                                                                        <a:lnTo>
                                                                                                          <a:pt x="70" y="124"/>
                                                                                                        </a:lnTo>
                                                                                                        <a:lnTo>
                                                                                                          <a:pt x="66" y="120"/>
                                                                                                        </a:lnTo>
                                                                                                        <a:lnTo>
                                                                                                          <a:pt x="66" y="116"/>
                                                                                                        </a:lnTo>
                                                                                                        <a:lnTo>
                                                                                                          <a:pt x="66" y="110"/>
                                                                                                        </a:lnTo>
                                                                                                        <a:lnTo>
                                                                                                          <a:pt x="66" y="110"/>
                                                                                                        </a:lnTo>
                                                                                                        <a:lnTo>
                                                                                                          <a:pt x="74" y="96"/>
                                                                                                        </a:lnTo>
                                                                                                        <a:lnTo>
                                                                                                          <a:pt x="80" y="90"/>
                                                                                                        </a:lnTo>
                                                                                                        <a:lnTo>
                                                                                                          <a:pt x="84" y="84"/>
                                                                                                        </a:lnTo>
                                                                                                        <a:lnTo>
                                                                                                          <a:pt x="88" y="70"/>
                                                                                                        </a:lnTo>
                                                                                                        <a:lnTo>
                                                                                                          <a:pt x="88" y="70"/>
                                                                                                        </a:lnTo>
                                                                                                        <a:lnTo>
                                                                                                          <a:pt x="92" y="66"/>
                                                                                                        </a:lnTo>
                                                                                                        <a:lnTo>
                                                                                                          <a:pt x="94" y="62"/>
                                                                                                        </a:lnTo>
                                                                                                        <a:lnTo>
                                                                                                          <a:pt x="106" y="58"/>
                                                                                                        </a:lnTo>
                                                                                                        <a:lnTo>
                                                                                                          <a:pt x="112" y="56"/>
                                                                                                        </a:lnTo>
                                                                                                        <a:lnTo>
                                                                                                          <a:pt x="120" y="50"/>
                                                                                                        </a:lnTo>
                                                                                                        <a:lnTo>
                                                                                                          <a:pt x="128" y="42"/>
                                                                                                        </a:lnTo>
                                                                                                        <a:lnTo>
                                                                                                          <a:pt x="136" y="28"/>
                                                                                                        </a:lnTo>
                                                                                                        <a:lnTo>
                                                                                                          <a:pt x="136" y="28"/>
                                                                                                        </a:lnTo>
                                                                                                        <a:lnTo>
                                                                                                          <a:pt x="142" y="18"/>
                                                                                                        </a:lnTo>
                                                                                                        <a:lnTo>
                                                                                                          <a:pt x="146" y="14"/>
                                                                                                        </a:lnTo>
                                                                                                        <a:lnTo>
                                                                                                          <a:pt x="150" y="10"/>
                                                                                                        </a:lnTo>
                                                                                                        <a:lnTo>
                                                                                                          <a:pt x="154" y="6"/>
                                                                                                        </a:lnTo>
                                                                                                        <a:lnTo>
                                                                                                          <a:pt x="154" y="6"/>
                                                                                                        </a:lnTo>
                                                                                                        <a:lnTo>
                                                                                                          <a:pt x="158" y="0"/>
                                                                                                        </a:lnTo>
                                                                                                        <a:lnTo>
                                                                                                          <a:pt x="162" y="0"/>
                                                                                                        </a:lnTo>
                                                                                                        <a:lnTo>
                                                                                                          <a:pt x="164" y="2"/>
                                                                                                        </a:lnTo>
                                                                                                        <a:lnTo>
                                                                                                          <a:pt x="164" y="4"/>
                                                                                                        </a:lnTo>
                                                                                                        <a:lnTo>
                                                                                                          <a:pt x="164" y="4"/>
                                                                                                        </a:lnTo>
                                                                                                        <a:lnTo>
                                                                                                          <a:pt x="166" y="6"/>
                                                                                                        </a:lnTo>
                                                                                                        <a:lnTo>
                                                                                                          <a:pt x="170" y="8"/>
                                                                                                        </a:lnTo>
                                                                                                        <a:lnTo>
                                                                                                          <a:pt x="174" y="8"/>
                                                                                                        </a:lnTo>
                                                                                                        <a:lnTo>
                                                                                                          <a:pt x="174" y="8"/>
                                                                                                        </a:lnTo>
                                                                                                        <a:lnTo>
                                                                                                          <a:pt x="178" y="10"/>
                                                                                                        </a:lnTo>
                                                                                                        <a:lnTo>
                                                                                                          <a:pt x="182" y="12"/>
                                                                                                        </a:lnTo>
                                                                                                        <a:lnTo>
                                                                                                          <a:pt x="188" y="14"/>
                                                                                                        </a:lnTo>
                                                                                                        <a:lnTo>
                                                                                                          <a:pt x="194" y="14"/>
                                                                                                        </a:lnTo>
                                                                                                        <a:lnTo>
                                                                                                          <a:pt x="194" y="14"/>
                                                                                                        </a:lnTo>
                                                                                                        <a:lnTo>
                                                                                                          <a:pt x="196" y="14"/>
                                                                                                        </a:lnTo>
                                                                                                        <a:lnTo>
                                                                                                          <a:pt x="198" y="16"/>
                                                                                                        </a:lnTo>
                                                                                                        <a:lnTo>
                                                                                                          <a:pt x="202" y="16"/>
                                                                                                        </a:lnTo>
                                                                                                        <a:lnTo>
                                                                                                          <a:pt x="208" y="10"/>
                                                                                                        </a:lnTo>
                                                                                                        <a:lnTo>
                                                                                                          <a:pt x="208" y="10"/>
                                                                                                        </a:lnTo>
                                                                                                        <a:lnTo>
                                                                                                          <a:pt x="208" y="8"/>
                                                                                                        </a:lnTo>
                                                                                                        <a:lnTo>
                                                                                                          <a:pt x="208" y="12"/>
                                                                                                        </a:lnTo>
                                                                                                        <a:lnTo>
                                                                                                          <a:pt x="208" y="14"/>
                                                                                                        </a:lnTo>
                                                                                                        <a:lnTo>
                                                                                                          <a:pt x="210" y="16"/>
                                                                                                        </a:lnTo>
                                                                                                        <a:lnTo>
                                                                                                          <a:pt x="214" y="16"/>
                                                                                                        </a:lnTo>
                                                                                                        <a:lnTo>
                                                                                                          <a:pt x="214" y="16"/>
                                                                                                        </a:lnTo>
                                                                                                        <a:lnTo>
                                                                                                          <a:pt x="220" y="18"/>
                                                                                                        </a:lnTo>
                                                                                                        <a:lnTo>
                                                                                                          <a:pt x="220" y="18"/>
                                                                                                        </a:lnTo>
                                                                                                        <a:lnTo>
                                                                                                          <a:pt x="222" y="22"/>
                                                                                                        </a:lnTo>
                                                                                                        <a:lnTo>
                                                                                                          <a:pt x="222" y="26"/>
                                                                                                        </a:lnTo>
                                                                                                        <a:lnTo>
                                                                                                          <a:pt x="224" y="38"/>
                                                                                                        </a:lnTo>
                                                                                                        <a:lnTo>
                                                                                                          <a:pt x="224" y="38"/>
                                                                                                        </a:lnTo>
                                                                                                        <a:lnTo>
                                                                                                          <a:pt x="222" y="46"/>
                                                                                                        </a:lnTo>
                                                                                                        <a:lnTo>
                                                                                                          <a:pt x="222" y="54"/>
                                                                                                        </a:lnTo>
                                                                                                        <a:lnTo>
                                                                                                          <a:pt x="222" y="58"/>
                                                                                                        </a:lnTo>
                                                                                                        <a:lnTo>
                                                                                                          <a:pt x="224" y="62"/>
                                                                                                        </a:lnTo>
                                                                                                        <a:lnTo>
                                                                                                          <a:pt x="228" y="64"/>
                                                                                                        </a:lnTo>
                                                                                                        <a:lnTo>
                                                                                                          <a:pt x="234" y="68"/>
                                                                                                        </a:lnTo>
                                                                                                        <a:lnTo>
                                                                                                          <a:pt x="234" y="68"/>
                                                                                                        </a:lnTo>
                                                                                                        <a:lnTo>
                                                                                                          <a:pt x="242" y="72"/>
                                                                                                        </a:lnTo>
                                                                                                        <a:lnTo>
                                                                                                          <a:pt x="244" y="76"/>
                                                                                                        </a:lnTo>
                                                                                                        <a:lnTo>
                                                                                                          <a:pt x="242" y="78"/>
                                                                                                        </a:lnTo>
                                                                                                        <a:lnTo>
                                                                                                          <a:pt x="240" y="80"/>
                                                                                                        </a:lnTo>
                                                                                                        <a:lnTo>
                                                                                                          <a:pt x="240" y="80"/>
                                                                                                        </a:lnTo>
                                                                                                        <a:lnTo>
                                                                                                          <a:pt x="240" y="84"/>
                                                                                                        </a:lnTo>
                                                                                                        <a:lnTo>
                                                                                                          <a:pt x="242" y="86"/>
                                                                                                        </a:lnTo>
                                                                                                        <a:lnTo>
                                                                                                          <a:pt x="238" y="88"/>
                                                                                                        </a:lnTo>
                                                                                                        <a:lnTo>
                                                                                                          <a:pt x="224" y="86"/>
                                                                                                        </a:lnTo>
                                                                                                        <a:lnTo>
                                                                                                          <a:pt x="224" y="86"/>
                                                                                                        </a:lnTo>
                                                                                                        <a:lnTo>
                                                                                                          <a:pt x="214" y="86"/>
                                                                                                        </a:lnTo>
                                                                                                        <a:lnTo>
                                                                                                          <a:pt x="206" y="88"/>
                                                                                                        </a:lnTo>
                                                                                                        <a:lnTo>
                                                                                                          <a:pt x="202" y="90"/>
                                                                                                        </a:lnTo>
                                                                                                        <a:lnTo>
                                                                                                          <a:pt x="194" y="92"/>
                                                                                                        </a:lnTo>
                                                                                                        <a:lnTo>
                                                                                                          <a:pt x="194" y="92"/>
                                                                                                        </a:lnTo>
                                                                                                        <a:lnTo>
                                                                                                          <a:pt x="188" y="96"/>
                                                                                                        </a:lnTo>
                                                                                                        <a:lnTo>
                                                                                                          <a:pt x="184" y="100"/>
                                                                                                        </a:lnTo>
                                                                                                        <a:lnTo>
                                                                                                          <a:pt x="184" y="104"/>
                                                                                                        </a:lnTo>
                                                                                                        <a:lnTo>
                                                                                                          <a:pt x="188" y="108"/>
                                                                                                        </a:lnTo>
                                                                                                        <a:lnTo>
                                                                                                          <a:pt x="188" y="108"/>
                                                                                                        </a:lnTo>
                                                                                                        <a:lnTo>
                                                                                                          <a:pt x="192" y="108"/>
                                                                                                        </a:lnTo>
                                                                                                        <a:lnTo>
                                                                                                          <a:pt x="190" y="110"/>
                                                                                                        </a:lnTo>
                                                                                                        <a:lnTo>
                                                                                                          <a:pt x="174" y="118"/>
                                                                                                        </a:lnTo>
                                                                                                        <a:lnTo>
                                                                                                          <a:pt x="174" y="118"/>
                                                                                                        </a:lnTo>
                                                                                                        <a:lnTo>
                                                                                                          <a:pt x="158" y="126"/>
                                                                                                        </a:lnTo>
                                                                                                        <a:lnTo>
                                                                                                          <a:pt x="150" y="134"/>
                                                                                                        </a:lnTo>
                                                                                                        <a:lnTo>
                                                                                                          <a:pt x="150" y="134"/>
                                                                                                        </a:lnTo>
                                                                                                        <a:lnTo>
                                                                                                          <a:pt x="142" y="142"/>
                                                                                                        </a:lnTo>
                                                                                                        <a:lnTo>
                                                                                                          <a:pt x="134" y="146"/>
                                                                                                        </a:lnTo>
                                                                                                        <a:lnTo>
                                                                                                          <a:pt x="134" y="146"/>
                                                                                                        </a:lnTo>
                                                                                                        <a:lnTo>
                                                                                                          <a:pt x="126" y="146"/>
                                                                                                        </a:lnTo>
                                                                                                        <a:lnTo>
                                                                                                          <a:pt x="124" y="144"/>
                                                                                                        </a:lnTo>
                                                                                                        <a:lnTo>
                                                                                                          <a:pt x="124" y="144"/>
                                                                                                        </a:lnTo>
                                                                                                        <a:lnTo>
                                                                                                          <a:pt x="122" y="142"/>
                                                                                                        </a:lnTo>
                                                                                                        <a:lnTo>
                                                                                                          <a:pt x="118" y="144"/>
                                                                                                        </a:lnTo>
                                                                                                        <a:lnTo>
                                                                                                          <a:pt x="114" y="150"/>
                                                                                                        </a:lnTo>
                                                                                                        <a:lnTo>
                                                                                                          <a:pt x="110" y="156"/>
                                                                                                        </a:lnTo>
                                                                                                        <a:lnTo>
                                                                                                          <a:pt x="108" y="156"/>
                                                                                                        </a:lnTo>
                                                                                                        <a:lnTo>
                                                                                                          <a:pt x="104" y="152"/>
                                                                                                        </a:lnTo>
                                                                                                        <a:lnTo>
                                                                                                          <a:pt x="104" y="152"/>
                                                                                                        </a:lnTo>
                                                                                                        <a:lnTo>
                                                                                                          <a:pt x="102" y="152"/>
                                                                                                        </a:lnTo>
                                                                                                        <a:lnTo>
                                                                                                          <a:pt x="100" y="152"/>
                                                                                                        </a:lnTo>
                                                                                                        <a:lnTo>
                                                                                                          <a:pt x="96" y="156"/>
                                                                                                        </a:lnTo>
                                                                                                        <a:lnTo>
                                                                                                          <a:pt x="94" y="158"/>
                                                                                                        </a:lnTo>
                                                                                                        <a:lnTo>
                                                                                                          <a:pt x="94" y="158"/>
                                                                                                        </a:lnTo>
                                                                                                        <a:lnTo>
                                                                                                          <a:pt x="92" y="162"/>
                                                                                                        </a:lnTo>
                                                                                                        <a:lnTo>
                                                                                                          <a:pt x="88" y="166"/>
                                                                                                        </a:lnTo>
                                                                                                        <a:lnTo>
                                                                                                          <a:pt x="84" y="168"/>
                                                                                                        </a:lnTo>
                                                                                                        <a:lnTo>
                                                                                                          <a:pt x="82" y="174"/>
                                                                                                        </a:lnTo>
                                                                                                        <a:lnTo>
                                                                                                          <a:pt x="82" y="190"/>
                                                                                                        </a:lnTo>
                                                                                                        <a:lnTo>
                                                                                                          <a:pt x="0" y="190"/>
                                                                                                        </a:lnTo>
                                                                                                        <a:lnTo>
                                                                                                          <a:pt x="0" y="190"/>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baseline="-25000" dirty="0">
                                                                                                      <a:solidFill>
                                                                                                        <a:schemeClr val="tx1"/>
                                                                                                      </a:solidFill>
                                                                                                    </a:endParaRPr>
                                                                                                  </a:p>
                                                                                                </p:txBody>
                                                                                              </p:sp>
                                                                                              <p:sp>
                                                                                                <p:nvSpPr>
                                                                                                  <p:cNvPr id="714" name="Mozambique"/>
                                                                                                  <p:cNvSpPr>
                                                                                                    <a:spLocks/>
                                                                                                  </p:cNvSpPr>
                                                                                                  <p:nvPr/>
                                                                                                </p:nvSpPr>
                                                                                                <p:spPr bwMode="auto">
                                                                                                  <a:xfrm>
                                                                                                    <a:off x="6741912" y="4106059"/>
                                                                                                    <a:ext cx="352367" cy="613036"/>
                                                                                                  </a:xfrm>
                                                                                                  <a:custGeom>
                                                                                                    <a:avLst/>
                                                                                                    <a:gdLst/>
                                                                                                    <a:ahLst/>
                                                                                                    <a:cxnLst>
                                                                                                      <a:cxn ang="0">
                                                                                                        <a:pos x="36" y="274"/>
                                                                                                      </a:cxn>
                                                                                                      <a:cxn ang="0">
                                                                                                        <a:pos x="36" y="266"/>
                                                                                                      </a:cxn>
                                                                                                      <a:cxn ang="0">
                                                                                                        <a:pos x="40" y="262"/>
                                                                                                      </a:cxn>
                                                                                                      <a:cxn ang="0">
                                                                                                        <a:pos x="54" y="244"/>
                                                                                                      </a:cxn>
                                                                                                      <a:cxn ang="0">
                                                                                                        <a:pos x="52" y="234"/>
                                                                                                      </a:cxn>
                                                                                                      <a:cxn ang="0">
                                                                                                        <a:pos x="46" y="224"/>
                                                                                                      </a:cxn>
                                                                                                      <a:cxn ang="0">
                                                                                                        <a:pos x="58" y="202"/>
                                                                                                      </a:cxn>
                                                                                                      <a:cxn ang="0">
                                                                                                        <a:pos x="58" y="186"/>
                                                                                                      </a:cxn>
                                                                                                      <a:cxn ang="0">
                                                                                                        <a:pos x="60" y="168"/>
                                                                                                      </a:cxn>
                                                                                                      <a:cxn ang="0">
                                                                                                        <a:pos x="52" y="152"/>
                                                                                                      </a:cxn>
                                                                                                      <a:cxn ang="0">
                                                                                                        <a:pos x="30" y="146"/>
                                                                                                      </a:cxn>
                                                                                                      <a:cxn ang="0">
                                                                                                        <a:pos x="10" y="140"/>
                                                                                                      </a:cxn>
                                                                                                      <a:cxn ang="0">
                                                                                                        <a:pos x="2" y="124"/>
                                                                                                      </a:cxn>
                                                                                                      <a:cxn ang="0">
                                                                                                        <a:pos x="0" y="116"/>
                                                                                                      </a:cxn>
                                                                                                      <a:cxn ang="0">
                                                                                                        <a:pos x="52" y="98"/>
                                                                                                      </a:cxn>
                                                                                                      <a:cxn ang="0">
                                                                                                        <a:pos x="76" y="100"/>
                                                                                                      </a:cxn>
                                                                                                      <a:cxn ang="0">
                                                                                                        <a:pos x="84" y="106"/>
                                                                                                      </a:cxn>
                                                                                                      <a:cxn ang="0">
                                                                                                        <a:pos x="94" y="102"/>
                                                                                                      </a:cxn>
                                                                                                      <a:cxn ang="0">
                                                                                                        <a:pos x="94" y="124"/>
                                                                                                      </a:cxn>
                                                                                                      <a:cxn ang="0">
                                                                                                        <a:pos x="92" y="138"/>
                                                                                                      </a:cxn>
                                                                                                      <a:cxn ang="0">
                                                                                                        <a:pos x="104" y="154"/>
                                                                                                      </a:cxn>
                                                                                                      <a:cxn ang="0">
                                                                                                        <a:pos x="114" y="164"/>
                                                                                                      </a:cxn>
                                                                                                      <a:cxn ang="0">
                                                                                                        <a:pos x="114" y="154"/>
                                                                                                      </a:cxn>
                                                                                                      <a:cxn ang="0">
                                                                                                        <a:pos x="120" y="138"/>
                                                                                                      </a:cxn>
                                                                                                      <a:cxn ang="0">
                                                                                                        <a:pos x="124" y="122"/>
                                                                                                      </a:cxn>
                                                                                                      <a:cxn ang="0">
                                                                                                        <a:pos x="128" y="106"/>
                                                                                                      </a:cxn>
                                                                                                      <a:cxn ang="0">
                                                                                                        <a:pos x="116" y="88"/>
                                                                                                      </a:cxn>
                                                                                                      <a:cxn ang="0">
                                                                                                        <a:pos x="108" y="78"/>
                                                                                                      </a:cxn>
                                                                                                      <a:cxn ang="0">
                                                                                                        <a:pos x="112" y="52"/>
                                                                                                      </a:cxn>
                                                                                                      <a:cxn ang="0">
                                                                                                        <a:pos x="110" y="38"/>
                                                                                                      </a:cxn>
                                                                                                      <a:cxn ang="0">
                                                                                                        <a:pos x="122" y="26"/>
                                                                                                      </a:cxn>
                                                                                                      <a:cxn ang="0">
                                                                                                        <a:pos x="138" y="26"/>
                                                                                                      </a:cxn>
                                                                                                      <a:cxn ang="0">
                                                                                                        <a:pos x="154" y="28"/>
                                                                                                      </a:cxn>
                                                                                                      <a:cxn ang="0">
                                                                                                        <a:pos x="164" y="26"/>
                                                                                                      </a:cxn>
                                                                                                      <a:cxn ang="0">
                                                                                                        <a:pos x="180" y="20"/>
                                                                                                      </a:cxn>
                                                                                                      <a:cxn ang="0">
                                                                                                        <a:pos x="184" y="14"/>
                                                                                                      </a:cxn>
                                                                                                      <a:cxn ang="0">
                                                                                                        <a:pos x="202" y="14"/>
                                                                                                      </a:cxn>
                                                                                                      <a:cxn ang="0">
                                                                                                        <a:pos x="228" y="0"/>
                                                                                                      </a:cxn>
                                                                                                      <a:cxn ang="0">
                                                                                                        <a:pos x="230" y="20"/>
                                                                                                      </a:cxn>
                                                                                                      <a:cxn ang="0">
                                                                                                        <a:pos x="228" y="36"/>
                                                                                                      </a:cxn>
                                                                                                      <a:cxn ang="0">
                                                                                                        <a:pos x="228" y="62"/>
                                                                                                      </a:cxn>
                                                                                                      <a:cxn ang="0">
                                                                                                        <a:pos x="228" y="94"/>
                                                                                                      </a:cxn>
                                                                                                      <a:cxn ang="0">
                                                                                                        <a:pos x="224" y="132"/>
                                                                                                      </a:cxn>
                                                                                                      <a:cxn ang="0">
                                                                                                        <a:pos x="214" y="142"/>
                                                                                                      </a:cxn>
                                                                                                      <a:cxn ang="0">
                                                                                                        <a:pos x="194" y="166"/>
                                                                                                      </a:cxn>
                                                                                                      <a:cxn ang="0">
                                                                                                        <a:pos x="174" y="174"/>
                                                                                                      </a:cxn>
                                                                                                      <a:cxn ang="0">
                                                                                                        <a:pos x="158" y="184"/>
                                                                                                      </a:cxn>
                                                                                                      <a:cxn ang="0">
                                                                                                        <a:pos x="130" y="204"/>
                                                                                                      </a:cxn>
                                                                                                      <a:cxn ang="0">
                                                                                                        <a:pos x="108" y="226"/>
                                                                                                      </a:cxn>
                                                                                                      <a:cxn ang="0">
                                                                                                        <a:pos x="88" y="252"/>
                                                                                                      </a:cxn>
                                                                                                      <a:cxn ang="0">
                                                                                                        <a:pos x="92" y="262"/>
                                                                                                      </a:cxn>
                                                                                                      <a:cxn ang="0">
                                                                                                        <a:pos x="100" y="288"/>
                                                                                                      </a:cxn>
                                                                                                      <a:cxn ang="0">
                                                                                                        <a:pos x="102" y="312"/>
                                                                                                      </a:cxn>
                                                                                                      <a:cxn ang="0">
                                                                                                        <a:pos x="98" y="324"/>
                                                                                                      </a:cxn>
                                                                                                      <a:cxn ang="0">
                                                                                                        <a:pos x="92" y="344"/>
                                                                                                      </a:cxn>
                                                                                                      <a:cxn ang="0">
                                                                                                        <a:pos x="68" y="370"/>
                                                                                                      </a:cxn>
                                                                                                      <a:cxn ang="0">
                                                                                                        <a:pos x="36" y="386"/>
                                                                                                      </a:cxn>
                                                                                                      <a:cxn ang="0">
                                                                                                        <a:pos x="38" y="404"/>
                                                                                                      </a:cxn>
                                                                                                      <a:cxn ang="0">
                                                                                                        <a:pos x="24" y="390"/>
                                                                                                      </a:cxn>
                                                                                                      <a:cxn ang="0">
                                                                                                        <a:pos x="22" y="368"/>
                                                                                                      </a:cxn>
                                                                                                      <a:cxn ang="0">
                                                                                                        <a:pos x="28" y="338"/>
                                                                                                      </a:cxn>
                                                                                                      <a:cxn ang="0">
                                                                                                        <a:pos x="22" y="300"/>
                                                                                                      </a:cxn>
                                                                                                    </a:cxnLst>
                                                                                                    <a:rect l="0" t="0" r="r" b="b"/>
                                                                                                    <a:pathLst>
                                                                                                      <a:path w="232" h="404">
                                                                                                        <a:moveTo>
                                                                                                          <a:pt x="22" y="300"/>
                                                                                                        </a:moveTo>
                                                                                                        <a:lnTo>
                                                                                                          <a:pt x="22" y="300"/>
                                                                                                        </a:lnTo>
                                                                                                        <a:lnTo>
                                                                                                          <a:pt x="36" y="274"/>
                                                                                                        </a:lnTo>
                                                                                                        <a:lnTo>
                                                                                                          <a:pt x="36" y="274"/>
                                                                                                        </a:lnTo>
                                                                                                        <a:lnTo>
                                                                                                          <a:pt x="36" y="272"/>
                                                                                                        </a:lnTo>
                                                                                                        <a:lnTo>
                                                                                                          <a:pt x="36" y="270"/>
                                                                                                        </a:lnTo>
                                                                                                        <a:lnTo>
                                                                                                          <a:pt x="36" y="270"/>
                                                                                                        </a:lnTo>
                                                                                                        <a:lnTo>
                                                                                                          <a:pt x="36" y="266"/>
                                                                                                        </a:lnTo>
                                                                                                        <a:lnTo>
                                                                                                          <a:pt x="36" y="266"/>
                                                                                                        </a:lnTo>
                                                                                                        <a:lnTo>
                                                                                                          <a:pt x="36" y="262"/>
                                                                                                        </a:lnTo>
                                                                                                        <a:lnTo>
                                                                                                          <a:pt x="38" y="262"/>
                                                                                                        </a:lnTo>
                                                                                                        <a:lnTo>
                                                                                                          <a:pt x="40" y="262"/>
                                                                                                        </a:lnTo>
                                                                                                        <a:lnTo>
                                                                                                          <a:pt x="44" y="254"/>
                                                                                                        </a:lnTo>
                                                                                                        <a:lnTo>
                                                                                                          <a:pt x="44" y="254"/>
                                                                                                        </a:lnTo>
                                                                                                        <a:lnTo>
                                                                                                          <a:pt x="50" y="246"/>
                                                                                                        </a:lnTo>
                                                                                                        <a:lnTo>
                                                                                                          <a:pt x="54" y="244"/>
                                                                                                        </a:lnTo>
                                                                                                        <a:lnTo>
                                                                                                          <a:pt x="56" y="244"/>
                                                                                                        </a:lnTo>
                                                                                                        <a:lnTo>
                                                                                                          <a:pt x="54" y="238"/>
                                                                                                        </a:lnTo>
                                                                                                        <a:lnTo>
                                                                                                          <a:pt x="54" y="238"/>
                                                                                                        </a:lnTo>
                                                                                                        <a:lnTo>
                                                                                                          <a:pt x="52" y="234"/>
                                                                                                        </a:lnTo>
                                                                                                        <a:lnTo>
                                                                                                          <a:pt x="54" y="232"/>
                                                                                                        </a:lnTo>
                                                                                                        <a:lnTo>
                                                                                                          <a:pt x="52" y="230"/>
                                                                                                        </a:lnTo>
                                                                                                        <a:lnTo>
                                                                                                          <a:pt x="46" y="224"/>
                                                                                                        </a:lnTo>
                                                                                                        <a:lnTo>
                                                                                                          <a:pt x="46" y="224"/>
                                                                                                        </a:lnTo>
                                                                                                        <a:lnTo>
                                                                                                          <a:pt x="54" y="214"/>
                                                                                                        </a:lnTo>
                                                                                                        <a:lnTo>
                                                                                                          <a:pt x="56" y="208"/>
                                                                                                        </a:lnTo>
                                                                                                        <a:lnTo>
                                                                                                          <a:pt x="56" y="204"/>
                                                                                                        </a:lnTo>
                                                                                                        <a:lnTo>
                                                                                                          <a:pt x="58" y="202"/>
                                                                                                        </a:lnTo>
                                                                                                        <a:lnTo>
                                                                                                          <a:pt x="58" y="202"/>
                                                                                                        </a:lnTo>
                                                                                                        <a:lnTo>
                                                                                                          <a:pt x="62" y="198"/>
                                                                                                        </a:lnTo>
                                                                                                        <a:lnTo>
                                                                                                          <a:pt x="60" y="192"/>
                                                                                                        </a:lnTo>
                                                                                                        <a:lnTo>
                                                                                                          <a:pt x="58" y="186"/>
                                                                                                        </a:lnTo>
                                                                                                        <a:lnTo>
                                                                                                          <a:pt x="58" y="180"/>
                                                                                                        </a:lnTo>
                                                                                                        <a:lnTo>
                                                                                                          <a:pt x="58" y="180"/>
                                                                                                        </a:lnTo>
                                                                                                        <a:lnTo>
                                                                                                          <a:pt x="58" y="172"/>
                                                                                                        </a:lnTo>
                                                                                                        <a:lnTo>
                                                                                                          <a:pt x="60" y="168"/>
                                                                                                        </a:lnTo>
                                                                                                        <a:lnTo>
                                                                                                          <a:pt x="62" y="166"/>
                                                                                                        </a:lnTo>
                                                                                                        <a:lnTo>
                                                                                                          <a:pt x="58" y="160"/>
                                                                                                        </a:lnTo>
                                                                                                        <a:lnTo>
                                                                                                          <a:pt x="58" y="160"/>
                                                                                                        </a:lnTo>
                                                                                                        <a:lnTo>
                                                                                                          <a:pt x="52" y="152"/>
                                                                                                        </a:lnTo>
                                                                                                        <a:lnTo>
                                                                                                          <a:pt x="44" y="152"/>
                                                                                                        </a:lnTo>
                                                                                                        <a:lnTo>
                                                                                                          <a:pt x="44" y="152"/>
                                                                                                        </a:lnTo>
                                                                                                        <a:lnTo>
                                                                                                          <a:pt x="36" y="148"/>
                                                                                                        </a:lnTo>
                                                                                                        <a:lnTo>
                                                                                                          <a:pt x="30" y="146"/>
                                                                                                        </a:lnTo>
                                                                                                        <a:lnTo>
                                                                                                          <a:pt x="26" y="142"/>
                                                                                                        </a:lnTo>
                                                                                                        <a:lnTo>
                                                                                                          <a:pt x="16" y="140"/>
                                                                                                        </a:lnTo>
                                                                                                        <a:lnTo>
                                                                                                          <a:pt x="16" y="140"/>
                                                                                                        </a:lnTo>
                                                                                                        <a:lnTo>
                                                                                                          <a:pt x="10" y="140"/>
                                                                                                        </a:lnTo>
                                                                                                        <a:lnTo>
                                                                                                          <a:pt x="8" y="138"/>
                                                                                                        </a:lnTo>
                                                                                                        <a:lnTo>
                                                                                                          <a:pt x="4" y="128"/>
                                                                                                        </a:lnTo>
                                                                                                        <a:lnTo>
                                                                                                          <a:pt x="4" y="128"/>
                                                                                                        </a:lnTo>
                                                                                                        <a:lnTo>
                                                                                                          <a:pt x="2" y="124"/>
                                                                                                        </a:lnTo>
                                                                                                        <a:lnTo>
                                                                                                          <a:pt x="2" y="120"/>
                                                                                                        </a:lnTo>
                                                                                                        <a:lnTo>
                                                                                                          <a:pt x="2" y="120"/>
                                                                                                        </a:lnTo>
                                                                                                        <a:lnTo>
                                                                                                          <a:pt x="0" y="116"/>
                                                                                                        </a:lnTo>
                                                                                                        <a:lnTo>
                                                                                                          <a:pt x="0" y="116"/>
                                                                                                        </a:lnTo>
                                                                                                        <a:lnTo>
                                                                                                          <a:pt x="16" y="110"/>
                                                                                                        </a:lnTo>
                                                                                                        <a:lnTo>
                                                                                                          <a:pt x="36" y="104"/>
                                                                                                        </a:lnTo>
                                                                                                        <a:lnTo>
                                                                                                          <a:pt x="36" y="104"/>
                                                                                                        </a:lnTo>
                                                                                                        <a:lnTo>
                                                                                                          <a:pt x="52" y="98"/>
                                                                                                        </a:lnTo>
                                                                                                        <a:lnTo>
                                                                                                          <a:pt x="68" y="90"/>
                                                                                                        </a:lnTo>
                                                                                                        <a:lnTo>
                                                                                                          <a:pt x="68" y="90"/>
                                                                                                        </a:lnTo>
                                                                                                        <a:lnTo>
                                                                                                          <a:pt x="72" y="96"/>
                                                                                                        </a:lnTo>
                                                                                                        <a:lnTo>
                                                                                                          <a:pt x="76" y="100"/>
                                                                                                        </a:lnTo>
                                                                                                        <a:lnTo>
                                                                                                          <a:pt x="78" y="104"/>
                                                                                                        </a:lnTo>
                                                                                                        <a:lnTo>
                                                                                                          <a:pt x="80" y="106"/>
                                                                                                        </a:lnTo>
                                                                                                        <a:lnTo>
                                                                                                          <a:pt x="80" y="106"/>
                                                                                                        </a:lnTo>
                                                                                                        <a:lnTo>
                                                                                                          <a:pt x="84" y="106"/>
                                                                                                        </a:lnTo>
                                                                                                        <a:lnTo>
                                                                                                          <a:pt x="88" y="104"/>
                                                                                                        </a:lnTo>
                                                                                                        <a:lnTo>
                                                                                                          <a:pt x="92" y="102"/>
                                                                                                        </a:lnTo>
                                                                                                        <a:lnTo>
                                                                                                          <a:pt x="94" y="102"/>
                                                                                                        </a:lnTo>
                                                                                                        <a:lnTo>
                                                                                                          <a:pt x="94" y="102"/>
                                                                                                        </a:lnTo>
                                                                                                        <a:lnTo>
                                                                                                          <a:pt x="96" y="106"/>
                                                                                                        </a:lnTo>
                                                                                                        <a:lnTo>
                                                                                                          <a:pt x="96" y="114"/>
                                                                                                        </a:lnTo>
                                                                                                        <a:lnTo>
                                                                                                          <a:pt x="96" y="122"/>
                                                                                                        </a:lnTo>
                                                                                                        <a:lnTo>
                                                                                                          <a:pt x="94" y="124"/>
                                                                                                        </a:lnTo>
                                                                                                        <a:lnTo>
                                                                                                          <a:pt x="94" y="124"/>
                                                                                                        </a:lnTo>
                                                                                                        <a:lnTo>
                                                                                                          <a:pt x="92" y="126"/>
                                                                                                        </a:lnTo>
                                                                                                        <a:lnTo>
                                                                                                          <a:pt x="90" y="128"/>
                                                                                                        </a:lnTo>
                                                                                                        <a:lnTo>
                                                                                                          <a:pt x="92" y="138"/>
                                                                                                        </a:lnTo>
                                                                                                        <a:lnTo>
                                                                                                          <a:pt x="98" y="150"/>
                                                                                                        </a:lnTo>
                                                                                                        <a:lnTo>
                                                                                                          <a:pt x="100" y="154"/>
                                                                                                        </a:lnTo>
                                                                                                        <a:lnTo>
                                                                                                          <a:pt x="104" y="154"/>
                                                                                                        </a:lnTo>
                                                                                                        <a:lnTo>
                                                                                                          <a:pt x="104" y="154"/>
                                                                                                        </a:lnTo>
                                                                                                        <a:lnTo>
                                                                                                          <a:pt x="108" y="158"/>
                                                                                                        </a:lnTo>
                                                                                                        <a:lnTo>
                                                                                                          <a:pt x="110" y="162"/>
                                                                                                        </a:lnTo>
                                                                                                        <a:lnTo>
                                                                                                          <a:pt x="112" y="164"/>
                                                                                                        </a:lnTo>
                                                                                                        <a:lnTo>
                                                                                                          <a:pt x="114" y="164"/>
                                                                                                        </a:lnTo>
                                                                                                        <a:lnTo>
                                                                                                          <a:pt x="114" y="164"/>
                                                                                                        </a:lnTo>
                                                                                                        <a:lnTo>
                                                                                                          <a:pt x="116" y="162"/>
                                                                                                        </a:lnTo>
                                                                                                        <a:lnTo>
                                                                                                          <a:pt x="116" y="160"/>
                                                                                                        </a:lnTo>
                                                                                                        <a:lnTo>
                                                                                                          <a:pt x="114" y="154"/>
                                                                                                        </a:lnTo>
                                                                                                        <a:lnTo>
                                                                                                          <a:pt x="116" y="146"/>
                                                                                                        </a:lnTo>
                                                                                                        <a:lnTo>
                                                                                                          <a:pt x="118" y="142"/>
                                                                                                        </a:lnTo>
                                                                                                        <a:lnTo>
                                                                                                          <a:pt x="120" y="138"/>
                                                                                                        </a:lnTo>
                                                                                                        <a:lnTo>
                                                                                                          <a:pt x="120" y="138"/>
                                                                                                        </a:lnTo>
                                                                                                        <a:lnTo>
                                                                                                          <a:pt x="124" y="136"/>
                                                                                                        </a:lnTo>
                                                                                                        <a:lnTo>
                                                                                                          <a:pt x="126" y="132"/>
                                                                                                        </a:lnTo>
                                                                                                        <a:lnTo>
                                                                                                          <a:pt x="126" y="128"/>
                                                                                                        </a:lnTo>
                                                                                                        <a:lnTo>
                                                                                                          <a:pt x="124" y="122"/>
                                                                                                        </a:lnTo>
                                                                                                        <a:lnTo>
                                                                                                          <a:pt x="124" y="118"/>
                                                                                                        </a:lnTo>
                                                                                                        <a:lnTo>
                                                                                                          <a:pt x="126" y="114"/>
                                                                                                        </a:lnTo>
                                                                                                        <a:lnTo>
                                                                                                          <a:pt x="126" y="114"/>
                                                                                                        </a:lnTo>
                                                                                                        <a:lnTo>
                                                                                                          <a:pt x="128" y="106"/>
                                                                                                        </a:lnTo>
                                                                                                        <a:lnTo>
                                                                                                          <a:pt x="128" y="100"/>
                                                                                                        </a:lnTo>
                                                                                                        <a:lnTo>
                                                                                                          <a:pt x="124" y="96"/>
                                                                                                        </a:lnTo>
                                                                                                        <a:lnTo>
                                                                                                          <a:pt x="116" y="88"/>
                                                                                                        </a:lnTo>
                                                                                                        <a:lnTo>
                                                                                                          <a:pt x="116" y="88"/>
                                                                                                        </a:lnTo>
                                                                                                        <a:lnTo>
                                                                                                          <a:pt x="114" y="84"/>
                                                                                                        </a:lnTo>
                                                                                                        <a:lnTo>
                                                                                                          <a:pt x="112" y="80"/>
                                                                                                        </a:lnTo>
                                                                                                        <a:lnTo>
                                                                                                          <a:pt x="112" y="80"/>
                                                                                                        </a:lnTo>
                                                                                                        <a:lnTo>
                                                                                                          <a:pt x="108" y="78"/>
                                                                                                        </a:lnTo>
                                                                                                        <a:lnTo>
                                                                                                          <a:pt x="108" y="74"/>
                                                                                                        </a:lnTo>
                                                                                                        <a:lnTo>
                                                                                                          <a:pt x="110" y="66"/>
                                                                                                        </a:lnTo>
                                                                                                        <a:lnTo>
                                                                                                          <a:pt x="112" y="56"/>
                                                                                                        </a:lnTo>
                                                                                                        <a:lnTo>
                                                                                                          <a:pt x="112" y="52"/>
                                                                                                        </a:lnTo>
                                                                                                        <a:lnTo>
                                                                                                          <a:pt x="110" y="46"/>
                                                                                                        </a:lnTo>
                                                                                                        <a:lnTo>
                                                                                                          <a:pt x="110" y="46"/>
                                                                                                        </a:lnTo>
                                                                                                        <a:lnTo>
                                                                                                          <a:pt x="108" y="42"/>
                                                                                                        </a:lnTo>
                                                                                                        <a:lnTo>
                                                                                                          <a:pt x="110" y="38"/>
                                                                                                        </a:lnTo>
                                                                                                        <a:lnTo>
                                                                                                          <a:pt x="112" y="34"/>
                                                                                                        </a:lnTo>
                                                                                                        <a:lnTo>
                                                                                                          <a:pt x="112" y="28"/>
                                                                                                        </a:lnTo>
                                                                                                        <a:lnTo>
                                                                                                          <a:pt x="112" y="28"/>
                                                                                                        </a:lnTo>
                                                                                                        <a:lnTo>
                                                                                                          <a:pt x="122" y="26"/>
                                                                                                        </a:lnTo>
                                                                                                        <a:lnTo>
                                                                                                          <a:pt x="126" y="22"/>
                                                                                                        </a:lnTo>
                                                                                                        <a:lnTo>
                                                                                                          <a:pt x="130" y="22"/>
                                                                                                        </a:lnTo>
                                                                                                        <a:lnTo>
                                                                                                          <a:pt x="138" y="26"/>
                                                                                                        </a:lnTo>
                                                                                                        <a:lnTo>
                                                                                                          <a:pt x="138" y="26"/>
                                                                                                        </a:lnTo>
                                                                                                        <a:lnTo>
                                                                                                          <a:pt x="144" y="28"/>
                                                                                                        </a:lnTo>
                                                                                                        <a:lnTo>
                                                                                                          <a:pt x="148" y="30"/>
                                                                                                        </a:lnTo>
                                                                                                        <a:lnTo>
                                                                                                          <a:pt x="152" y="30"/>
                                                                                                        </a:lnTo>
                                                                                                        <a:lnTo>
                                                                                                          <a:pt x="154" y="28"/>
                                                                                                        </a:lnTo>
                                                                                                        <a:lnTo>
                                                                                                          <a:pt x="156" y="24"/>
                                                                                                        </a:lnTo>
                                                                                                        <a:lnTo>
                                                                                                          <a:pt x="160" y="24"/>
                                                                                                        </a:lnTo>
                                                                                                        <a:lnTo>
                                                                                                          <a:pt x="164" y="26"/>
                                                                                                        </a:lnTo>
                                                                                                        <a:lnTo>
                                                                                                          <a:pt x="164" y="26"/>
                                                                                                        </a:lnTo>
                                                                                                        <a:lnTo>
                                                                                                          <a:pt x="168" y="26"/>
                                                                                                        </a:lnTo>
                                                                                                        <a:lnTo>
                                                                                                          <a:pt x="174" y="24"/>
                                                                                                        </a:lnTo>
                                                                                                        <a:lnTo>
                                                                                                          <a:pt x="178" y="22"/>
                                                                                                        </a:lnTo>
                                                                                                        <a:lnTo>
                                                                                                          <a:pt x="180" y="20"/>
                                                                                                        </a:lnTo>
                                                                                                        <a:lnTo>
                                                                                                          <a:pt x="180" y="20"/>
                                                                                                        </a:lnTo>
                                                                                                        <a:lnTo>
                                                                                                          <a:pt x="178" y="18"/>
                                                                                                        </a:lnTo>
                                                                                                        <a:lnTo>
                                                                                                          <a:pt x="178" y="16"/>
                                                                                                        </a:lnTo>
                                                                                                        <a:lnTo>
                                                                                                          <a:pt x="184" y="14"/>
                                                                                                        </a:lnTo>
                                                                                                        <a:lnTo>
                                                                                                          <a:pt x="190" y="14"/>
                                                                                                        </a:lnTo>
                                                                                                        <a:lnTo>
                                                                                                          <a:pt x="196" y="14"/>
                                                                                                        </a:lnTo>
                                                                                                        <a:lnTo>
                                                                                                          <a:pt x="196" y="14"/>
                                                                                                        </a:lnTo>
                                                                                                        <a:lnTo>
                                                                                                          <a:pt x="202" y="14"/>
                                                                                                        </a:lnTo>
                                                                                                        <a:lnTo>
                                                                                                          <a:pt x="212" y="12"/>
                                                                                                        </a:lnTo>
                                                                                                        <a:lnTo>
                                                                                                          <a:pt x="222" y="8"/>
                                                                                                        </a:lnTo>
                                                                                                        <a:lnTo>
                                                                                                          <a:pt x="226" y="4"/>
                                                                                                        </a:lnTo>
                                                                                                        <a:lnTo>
                                                                                                          <a:pt x="228" y="0"/>
                                                                                                        </a:lnTo>
                                                                                                        <a:lnTo>
                                                                                                          <a:pt x="228" y="0"/>
                                                                                                        </a:lnTo>
                                                                                                        <a:lnTo>
                                                                                                          <a:pt x="230" y="6"/>
                                                                                                        </a:lnTo>
                                                                                                        <a:lnTo>
                                                                                                          <a:pt x="230" y="14"/>
                                                                                                        </a:lnTo>
                                                                                                        <a:lnTo>
                                                                                                          <a:pt x="230" y="20"/>
                                                                                                        </a:lnTo>
                                                                                                        <a:lnTo>
                                                                                                          <a:pt x="230" y="26"/>
                                                                                                        </a:lnTo>
                                                                                                        <a:lnTo>
                                                                                                          <a:pt x="230" y="26"/>
                                                                                                        </a:lnTo>
                                                                                                        <a:lnTo>
                                                                                                          <a:pt x="230" y="32"/>
                                                                                                        </a:lnTo>
                                                                                                        <a:lnTo>
                                                                                                          <a:pt x="228" y="36"/>
                                                                                                        </a:lnTo>
                                                                                                        <a:lnTo>
                                                                                                          <a:pt x="226" y="42"/>
                                                                                                        </a:lnTo>
                                                                                                        <a:lnTo>
                                                                                                          <a:pt x="228" y="52"/>
                                                                                                        </a:lnTo>
                                                                                                        <a:lnTo>
                                                                                                          <a:pt x="228" y="52"/>
                                                                                                        </a:lnTo>
                                                                                                        <a:lnTo>
                                                                                                          <a:pt x="228" y="62"/>
                                                                                                        </a:lnTo>
                                                                                                        <a:lnTo>
                                                                                                          <a:pt x="226" y="70"/>
                                                                                                        </a:lnTo>
                                                                                                        <a:lnTo>
                                                                                                          <a:pt x="224" y="80"/>
                                                                                                        </a:lnTo>
                                                                                                        <a:lnTo>
                                                                                                          <a:pt x="228" y="94"/>
                                                                                                        </a:lnTo>
                                                                                                        <a:lnTo>
                                                                                                          <a:pt x="228" y="94"/>
                                                                                                        </a:lnTo>
                                                                                                        <a:lnTo>
                                                                                                          <a:pt x="232" y="106"/>
                                                                                                        </a:lnTo>
                                                                                                        <a:lnTo>
                                                                                                          <a:pt x="232" y="114"/>
                                                                                                        </a:lnTo>
                                                                                                        <a:lnTo>
                                                                                                          <a:pt x="230" y="120"/>
                                                                                                        </a:lnTo>
                                                                                                        <a:lnTo>
                                                                                                          <a:pt x="224" y="132"/>
                                                                                                        </a:lnTo>
                                                                                                        <a:lnTo>
                                                                                                          <a:pt x="224" y="132"/>
                                                                                                        </a:lnTo>
                                                                                                        <a:lnTo>
                                                                                                          <a:pt x="220" y="140"/>
                                                                                                        </a:lnTo>
                                                                                                        <a:lnTo>
                                                                                                          <a:pt x="216" y="140"/>
                                                                                                        </a:lnTo>
                                                                                                        <a:lnTo>
                                                                                                          <a:pt x="214" y="142"/>
                                                                                                        </a:lnTo>
                                                                                                        <a:lnTo>
                                                                                                          <a:pt x="210" y="148"/>
                                                                                                        </a:lnTo>
                                                                                                        <a:lnTo>
                                                                                                          <a:pt x="210" y="148"/>
                                                                                                        </a:lnTo>
                                                                                                        <a:lnTo>
                                                                                                          <a:pt x="204" y="158"/>
                                                                                                        </a:lnTo>
                                                                                                        <a:lnTo>
                                                                                                          <a:pt x="194" y="166"/>
                                                                                                        </a:lnTo>
                                                                                                        <a:lnTo>
                                                                                                          <a:pt x="184" y="172"/>
                                                                                                        </a:lnTo>
                                                                                                        <a:lnTo>
                                                                                                          <a:pt x="180" y="174"/>
                                                                                                        </a:lnTo>
                                                                                                        <a:lnTo>
                                                                                                          <a:pt x="174" y="174"/>
                                                                                                        </a:lnTo>
                                                                                                        <a:lnTo>
                                                                                                          <a:pt x="174" y="174"/>
                                                                                                        </a:lnTo>
                                                                                                        <a:lnTo>
                                                                                                          <a:pt x="172" y="176"/>
                                                                                                        </a:lnTo>
                                                                                                        <a:lnTo>
                                                                                                          <a:pt x="172" y="178"/>
                                                                                                        </a:lnTo>
                                                                                                        <a:lnTo>
                                                                                                          <a:pt x="168" y="182"/>
                                                                                                        </a:lnTo>
                                                                                                        <a:lnTo>
                                                                                                          <a:pt x="158" y="184"/>
                                                                                                        </a:lnTo>
                                                                                                        <a:lnTo>
                                                                                                          <a:pt x="158" y="184"/>
                                                                                                        </a:lnTo>
                                                                                                        <a:lnTo>
                                                                                                          <a:pt x="152" y="186"/>
                                                                                                        </a:lnTo>
                                                                                                        <a:lnTo>
                                                                                                          <a:pt x="144" y="192"/>
                                                                                                        </a:lnTo>
                                                                                                        <a:lnTo>
                                                                                                          <a:pt x="130" y="204"/>
                                                                                                        </a:lnTo>
                                                                                                        <a:lnTo>
                                                                                                          <a:pt x="118" y="218"/>
                                                                                                        </a:lnTo>
                                                                                                        <a:lnTo>
                                                                                                          <a:pt x="112" y="222"/>
                                                                                                        </a:lnTo>
                                                                                                        <a:lnTo>
                                                                                                          <a:pt x="108" y="226"/>
                                                                                                        </a:lnTo>
                                                                                                        <a:lnTo>
                                                                                                          <a:pt x="108" y="226"/>
                                                                                                        </a:lnTo>
                                                                                                        <a:lnTo>
                                                                                                          <a:pt x="102" y="230"/>
                                                                                                        </a:lnTo>
                                                                                                        <a:lnTo>
                                                                                                          <a:pt x="96" y="234"/>
                                                                                                        </a:lnTo>
                                                                                                        <a:lnTo>
                                                                                                          <a:pt x="90" y="246"/>
                                                                                                        </a:lnTo>
                                                                                                        <a:lnTo>
                                                                                                          <a:pt x="88" y="252"/>
                                                                                                        </a:lnTo>
                                                                                                        <a:lnTo>
                                                                                                          <a:pt x="88" y="256"/>
                                                                                                        </a:lnTo>
                                                                                                        <a:lnTo>
                                                                                                          <a:pt x="88" y="260"/>
                                                                                                        </a:lnTo>
                                                                                                        <a:lnTo>
                                                                                                          <a:pt x="92" y="262"/>
                                                                                                        </a:lnTo>
                                                                                                        <a:lnTo>
                                                                                                          <a:pt x="92" y="262"/>
                                                                                                        </a:lnTo>
                                                                                                        <a:lnTo>
                                                                                                          <a:pt x="94" y="266"/>
                                                                                                        </a:lnTo>
                                                                                                        <a:lnTo>
                                                                                                          <a:pt x="96" y="270"/>
                                                                                                        </a:lnTo>
                                                                                                        <a:lnTo>
                                                                                                          <a:pt x="96" y="278"/>
                                                                                                        </a:lnTo>
                                                                                                        <a:lnTo>
                                                                                                          <a:pt x="100" y="288"/>
                                                                                                        </a:lnTo>
                                                                                                        <a:lnTo>
                                                                                                          <a:pt x="100" y="288"/>
                                                                                                        </a:lnTo>
                                                                                                        <a:lnTo>
                                                                                                          <a:pt x="100" y="298"/>
                                                                                                        </a:lnTo>
                                                                                                        <a:lnTo>
                                                                                                          <a:pt x="100" y="304"/>
                                                                                                        </a:lnTo>
                                                                                                        <a:lnTo>
                                                                                                          <a:pt x="102" y="312"/>
                                                                                                        </a:lnTo>
                                                                                                        <a:lnTo>
                                                                                                          <a:pt x="102" y="312"/>
                                                                                                        </a:lnTo>
                                                                                                        <a:lnTo>
                                                                                                          <a:pt x="102" y="316"/>
                                                                                                        </a:lnTo>
                                                                                                        <a:lnTo>
                                                                                                          <a:pt x="102" y="320"/>
                                                                                                        </a:lnTo>
                                                                                                        <a:lnTo>
                                                                                                          <a:pt x="98" y="324"/>
                                                                                                        </a:lnTo>
                                                                                                        <a:lnTo>
                                                                                                          <a:pt x="96" y="330"/>
                                                                                                        </a:lnTo>
                                                                                                        <a:lnTo>
                                                                                                          <a:pt x="94" y="338"/>
                                                                                                        </a:lnTo>
                                                                                                        <a:lnTo>
                                                                                                          <a:pt x="94" y="338"/>
                                                                                                        </a:lnTo>
                                                                                                        <a:lnTo>
                                                                                                          <a:pt x="92" y="344"/>
                                                                                                        </a:lnTo>
                                                                                                        <a:lnTo>
                                                                                                          <a:pt x="88" y="354"/>
                                                                                                        </a:lnTo>
                                                                                                        <a:lnTo>
                                                                                                          <a:pt x="82" y="358"/>
                                                                                                        </a:lnTo>
                                                                                                        <a:lnTo>
                                                                                                          <a:pt x="76" y="364"/>
                                                                                                        </a:lnTo>
                                                                                                        <a:lnTo>
                                                                                                          <a:pt x="68" y="370"/>
                                                                                                        </a:lnTo>
                                                                                                        <a:lnTo>
                                                                                                          <a:pt x="58" y="374"/>
                                                                                                        </a:lnTo>
                                                                                                        <a:lnTo>
                                                                                                          <a:pt x="58" y="374"/>
                                                                                                        </a:lnTo>
                                                                                                        <a:lnTo>
                                                                                                          <a:pt x="40" y="382"/>
                                                                                                        </a:lnTo>
                                                                                                        <a:lnTo>
                                                                                                          <a:pt x="36" y="386"/>
                                                                                                        </a:lnTo>
                                                                                                        <a:lnTo>
                                                                                                          <a:pt x="36" y="388"/>
                                                                                                        </a:lnTo>
                                                                                                        <a:lnTo>
                                                                                                          <a:pt x="38" y="394"/>
                                                                                                        </a:lnTo>
                                                                                                        <a:lnTo>
                                                                                                          <a:pt x="38" y="398"/>
                                                                                                        </a:lnTo>
                                                                                                        <a:lnTo>
                                                                                                          <a:pt x="38" y="404"/>
                                                                                                        </a:lnTo>
                                                                                                        <a:lnTo>
                                                                                                          <a:pt x="26" y="404"/>
                                                                                                        </a:lnTo>
                                                                                                        <a:lnTo>
                                                                                                          <a:pt x="26" y="404"/>
                                                                                                        </a:lnTo>
                                                                                                        <a:lnTo>
                                                                                                          <a:pt x="24" y="396"/>
                                                                                                        </a:lnTo>
                                                                                                        <a:lnTo>
                                                                                                          <a:pt x="24" y="390"/>
                                                                                                        </a:lnTo>
                                                                                                        <a:lnTo>
                                                                                                          <a:pt x="22" y="386"/>
                                                                                                        </a:lnTo>
                                                                                                        <a:lnTo>
                                                                                                          <a:pt x="18" y="382"/>
                                                                                                        </a:lnTo>
                                                                                                        <a:lnTo>
                                                                                                          <a:pt x="18" y="382"/>
                                                                                                        </a:lnTo>
                                                                                                        <a:lnTo>
                                                                                                          <a:pt x="22" y="368"/>
                                                                                                        </a:lnTo>
                                                                                                        <a:lnTo>
                                                                                                          <a:pt x="26" y="360"/>
                                                                                                        </a:lnTo>
                                                                                                        <a:lnTo>
                                                                                                          <a:pt x="28" y="352"/>
                                                                                                        </a:lnTo>
                                                                                                        <a:lnTo>
                                                                                                          <a:pt x="28" y="338"/>
                                                                                                        </a:lnTo>
                                                                                                        <a:lnTo>
                                                                                                          <a:pt x="28" y="338"/>
                                                                                                        </a:lnTo>
                                                                                                        <a:lnTo>
                                                                                                          <a:pt x="26" y="324"/>
                                                                                                        </a:lnTo>
                                                                                                        <a:lnTo>
                                                                                                          <a:pt x="28" y="316"/>
                                                                                                        </a:lnTo>
                                                                                                        <a:lnTo>
                                                                                                          <a:pt x="28" y="312"/>
                                                                                                        </a:lnTo>
                                                                                                        <a:lnTo>
                                                                                                          <a:pt x="22" y="300"/>
                                                                                                        </a:lnTo>
                                                                                                        <a:lnTo>
                                                                                                          <a:pt x="22" y="300"/>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baseline="-25000" dirty="0">
                                                                                                      <a:solidFill>
                                                                                                        <a:schemeClr val="tx1"/>
                                                                                                      </a:solidFill>
                                                                                                    </a:endParaRPr>
                                                                                                  </a:p>
                                                                                                </p:txBody>
                                                                                              </p:sp>
                                                                                              <p:sp>
                                                                                                <p:nvSpPr>
                                                                                                  <p:cNvPr id="737" name="Niger"/>
                                                                                                  <p:cNvSpPr>
                                                                                                    <a:spLocks/>
                                                                                                  </p:cNvSpPr>
                                                                                                  <p:nvPr/>
                                                                                                </p:nvSpPr>
                                                                                                <p:spPr bwMode="auto">
                                                                                                  <a:xfrm>
                                                                                                    <a:off x="5790539" y="2738424"/>
                                                                                                    <a:ext cx="495136" cy="485573"/>
                                                                                                  </a:xfrm>
                                                                                                  <a:custGeom>
                                                                                                    <a:avLst/>
                                                                                                    <a:gdLst/>
                                                                                                    <a:ahLst/>
                                                                                                    <a:cxnLst>
                                                                                                      <a:cxn ang="0">
                                                                                                        <a:pos x="4" y="248"/>
                                                                                                      </a:cxn>
                                                                                                      <a:cxn ang="0">
                                                                                                        <a:pos x="8" y="246"/>
                                                                                                      </a:cxn>
                                                                                                      <a:cxn ang="0">
                                                                                                        <a:pos x="18" y="242"/>
                                                                                                      </a:cxn>
                                                                                                      <a:cxn ang="0">
                                                                                                        <a:pos x="28" y="234"/>
                                                                                                      </a:cxn>
                                                                                                      <a:cxn ang="0">
                                                                                                        <a:pos x="48" y="232"/>
                                                                                                      </a:cxn>
                                                                                                      <a:cxn ang="0">
                                                                                                        <a:pos x="56" y="228"/>
                                                                                                      </a:cxn>
                                                                                                      <a:cxn ang="0">
                                                                                                        <a:pos x="76" y="220"/>
                                                                                                      </a:cxn>
                                                                                                      <a:cxn ang="0">
                                                                                                        <a:pos x="78" y="216"/>
                                                                                                      </a:cxn>
                                                                                                      <a:cxn ang="0">
                                                                                                        <a:pos x="82" y="198"/>
                                                                                                      </a:cxn>
                                                                                                      <a:cxn ang="0">
                                                                                                        <a:pos x="82" y="192"/>
                                                                                                      </a:cxn>
                                                                                                      <a:cxn ang="0">
                                                                                                        <a:pos x="84" y="188"/>
                                                                                                      </a:cxn>
                                                                                                      <a:cxn ang="0">
                                                                                                        <a:pos x="106" y="130"/>
                                                                                                      </a:cxn>
                                                                                                      <a:cxn ang="0">
                                                                                                        <a:pos x="112" y="128"/>
                                                                                                      </a:cxn>
                                                                                                      <a:cxn ang="0">
                                                                                                        <a:pos x="130" y="110"/>
                                                                                                      </a:cxn>
                                                                                                      <a:cxn ang="0">
                                                                                                        <a:pos x="148" y="94"/>
                                                                                                      </a:cxn>
                                                                                                      <a:cxn ang="0">
                                                                                                        <a:pos x="236" y="0"/>
                                                                                                      </a:cxn>
                                                                                                      <a:cxn ang="0">
                                                                                                        <a:pos x="302" y="14"/>
                                                                                                      </a:cxn>
                                                                                                      <a:cxn ang="0">
                                                                                                        <a:pos x="306" y="50"/>
                                                                                                      </a:cxn>
                                                                                                      <a:cxn ang="0">
                                                                                                        <a:pos x="306" y="66"/>
                                                                                                      </a:cxn>
                                                                                                      <a:cxn ang="0">
                                                                                                        <a:pos x="310" y="82"/>
                                                                                                      </a:cxn>
                                                                                                      <a:cxn ang="0">
                                                                                                        <a:pos x="314" y="90"/>
                                                                                                      </a:cxn>
                                                                                                      <a:cxn ang="0">
                                                                                                        <a:pos x="326" y="98"/>
                                                                                                      </a:cxn>
                                                                                                      <a:cxn ang="0">
                                                                                                        <a:pos x="324" y="106"/>
                                                                                                      </a:cxn>
                                                                                                      <a:cxn ang="0">
                                                                                                        <a:pos x="316" y="120"/>
                                                                                                      </a:cxn>
                                                                                                      <a:cxn ang="0">
                                                                                                        <a:pos x="316" y="180"/>
                                                                                                      </a:cxn>
                                                                                                      <a:cxn ang="0">
                                                                                                        <a:pos x="300" y="222"/>
                                                                                                      </a:cxn>
                                                                                                      <a:cxn ang="0">
                                                                                                        <a:pos x="290" y="234"/>
                                                                                                      </a:cxn>
                                                                                                      <a:cxn ang="0">
                                                                                                        <a:pos x="286" y="240"/>
                                                                                                      </a:cxn>
                                                                                                      <a:cxn ang="0">
                                                                                                        <a:pos x="282" y="252"/>
                                                                                                      </a:cxn>
                                                                                                      <a:cxn ang="0">
                                                                                                        <a:pos x="278" y="256"/>
                                                                                                      </a:cxn>
                                                                                                      <a:cxn ang="0">
                                                                                                        <a:pos x="274" y="270"/>
                                                                                                      </a:cxn>
                                                                                                      <a:cxn ang="0">
                                                                                                        <a:pos x="264" y="272"/>
                                                                                                      </a:cxn>
                                                                                                      <a:cxn ang="0">
                                                                                                        <a:pos x="264" y="278"/>
                                                                                                      </a:cxn>
                                                                                                      <a:cxn ang="0">
                                                                                                        <a:pos x="254" y="278"/>
                                                                                                      </a:cxn>
                                                                                                      <a:cxn ang="0">
                                                                                                        <a:pos x="212" y="280"/>
                                                                                                      </a:cxn>
                                                                                                      <a:cxn ang="0">
                                                                                                        <a:pos x="206" y="284"/>
                                                                                                      </a:cxn>
                                                                                                      <a:cxn ang="0">
                                                                                                        <a:pos x="190" y="290"/>
                                                                                                      </a:cxn>
                                                                                                      <a:cxn ang="0">
                                                                                                        <a:pos x="164" y="284"/>
                                                                                                      </a:cxn>
                                                                                                      <a:cxn ang="0">
                                                                                                        <a:pos x="154" y="278"/>
                                                                                                      </a:cxn>
                                                                                                      <a:cxn ang="0">
                                                                                                        <a:pos x="150" y="282"/>
                                                                                                      </a:cxn>
                                                                                                      <a:cxn ang="0">
                                                                                                        <a:pos x="144" y="280"/>
                                                                                                      </a:cxn>
                                                                                                      <a:cxn ang="0">
                                                                                                        <a:pos x="136" y="278"/>
                                                                                                      </a:cxn>
                                                                                                      <a:cxn ang="0">
                                                                                                        <a:pos x="130" y="270"/>
                                                                                                      </a:cxn>
                                                                                                      <a:cxn ang="0">
                                                                                                        <a:pos x="124" y="268"/>
                                                                                                      </a:cxn>
                                                                                                      <a:cxn ang="0">
                                                                                                        <a:pos x="114" y="268"/>
                                                                                                      </a:cxn>
                                                                                                      <a:cxn ang="0">
                                                                                                        <a:pos x="106" y="268"/>
                                                                                                      </a:cxn>
                                                                                                      <a:cxn ang="0">
                                                                                                        <a:pos x="102" y="266"/>
                                                                                                      </a:cxn>
                                                                                                      <a:cxn ang="0">
                                                                                                        <a:pos x="90" y="270"/>
                                                                                                      </a:cxn>
                                                                                                      <a:cxn ang="0">
                                                                                                        <a:pos x="80" y="286"/>
                                                                                                      </a:cxn>
                                                                                                      <a:cxn ang="0">
                                                                                                        <a:pos x="72" y="296"/>
                                                                                                      </a:cxn>
                                                                                                      <a:cxn ang="0">
                                                                                                        <a:pos x="72" y="314"/>
                                                                                                      </a:cxn>
                                                                                                      <a:cxn ang="0">
                                                                                                        <a:pos x="62" y="312"/>
                                                                                                      </a:cxn>
                                                                                                      <a:cxn ang="0">
                                                                                                        <a:pos x="44" y="316"/>
                                                                                                      </a:cxn>
                                                                                                      <a:cxn ang="0">
                                                                                                        <a:pos x="40" y="306"/>
                                                                                                      </a:cxn>
                                                                                                      <a:cxn ang="0">
                                                                                                        <a:pos x="40" y="304"/>
                                                                                                      </a:cxn>
                                                                                                      <a:cxn ang="0">
                                                                                                        <a:pos x="34" y="302"/>
                                                                                                      </a:cxn>
                                                                                                      <a:cxn ang="0">
                                                                                                        <a:pos x="18" y="294"/>
                                                                                                      </a:cxn>
                                                                                                      <a:cxn ang="0">
                                                                                                        <a:pos x="12" y="284"/>
                                                                                                      </a:cxn>
                                                                                                      <a:cxn ang="0">
                                                                                                        <a:pos x="16" y="278"/>
                                                                                                      </a:cxn>
                                                                                                      <a:cxn ang="0">
                                                                                                        <a:pos x="8" y="276"/>
                                                                                                      </a:cxn>
                                                                                                      <a:cxn ang="0">
                                                                                                        <a:pos x="0" y="258"/>
                                                                                                      </a:cxn>
                                                                                                    </a:cxnLst>
                                                                                                    <a:rect l="0" t="0" r="r" b="b"/>
                                                                                                    <a:pathLst>
                                                                                                      <a:path w="326" h="320">
                                                                                                        <a:moveTo>
                                                                                                          <a:pt x="0" y="248"/>
                                                                                                        </a:moveTo>
                                                                                                        <a:lnTo>
                                                                                                          <a:pt x="0" y="248"/>
                                                                                                        </a:lnTo>
                                                                                                        <a:lnTo>
                                                                                                          <a:pt x="4" y="248"/>
                                                                                                        </a:lnTo>
                                                                                                        <a:lnTo>
                                                                                                          <a:pt x="6" y="248"/>
                                                                                                        </a:lnTo>
                                                                                                        <a:lnTo>
                                                                                                          <a:pt x="8" y="246"/>
                                                                                                        </a:lnTo>
                                                                                                        <a:lnTo>
                                                                                                          <a:pt x="8" y="246"/>
                                                                                                        </a:lnTo>
                                                                                                        <a:lnTo>
                                                                                                          <a:pt x="10" y="244"/>
                                                                                                        </a:lnTo>
                                                                                                        <a:lnTo>
                                                                                                          <a:pt x="14" y="244"/>
                                                                                                        </a:lnTo>
                                                                                                        <a:lnTo>
                                                                                                          <a:pt x="18" y="242"/>
                                                                                                        </a:lnTo>
                                                                                                        <a:lnTo>
                                                                                                          <a:pt x="24" y="238"/>
                                                                                                        </a:lnTo>
                                                                                                        <a:lnTo>
                                                                                                          <a:pt x="24" y="238"/>
                                                                                                        </a:lnTo>
                                                                                                        <a:lnTo>
                                                                                                          <a:pt x="28" y="234"/>
                                                                                                        </a:lnTo>
                                                                                                        <a:lnTo>
                                                                                                          <a:pt x="30" y="232"/>
                                                                                                        </a:lnTo>
                                                                                                        <a:lnTo>
                                                                                                          <a:pt x="38" y="232"/>
                                                                                                        </a:lnTo>
                                                                                                        <a:lnTo>
                                                                                                          <a:pt x="48" y="232"/>
                                                                                                        </a:lnTo>
                                                                                                        <a:lnTo>
                                                                                                          <a:pt x="52" y="232"/>
                                                                                                        </a:lnTo>
                                                                                                        <a:lnTo>
                                                                                                          <a:pt x="56" y="228"/>
                                                                                                        </a:lnTo>
                                                                                                        <a:lnTo>
                                                                                                          <a:pt x="56" y="228"/>
                                                                                                        </a:lnTo>
                                                                                                        <a:lnTo>
                                                                                                          <a:pt x="62" y="226"/>
                                                                                                        </a:lnTo>
                                                                                                        <a:lnTo>
                                                                                                          <a:pt x="70" y="222"/>
                                                                                                        </a:lnTo>
                                                                                                        <a:lnTo>
                                                                                                          <a:pt x="76" y="220"/>
                                                                                                        </a:lnTo>
                                                                                                        <a:lnTo>
                                                                                                          <a:pt x="76" y="218"/>
                                                                                                        </a:lnTo>
                                                                                                        <a:lnTo>
                                                                                                          <a:pt x="78" y="216"/>
                                                                                                        </a:lnTo>
                                                                                                        <a:lnTo>
                                                                                                          <a:pt x="78" y="216"/>
                                                                                                        </a:lnTo>
                                                                                                        <a:lnTo>
                                                                                                          <a:pt x="80" y="210"/>
                                                                                                        </a:lnTo>
                                                                                                        <a:lnTo>
                                                                                                          <a:pt x="80" y="206"/>
                                                                                                        </a:lnTo>
                                                                                                        <a:lnTo>
                                                                                                          <a:pt x="82" y="198"/>
                                                                                                        </a:lnTo>
                                                                                                        <a:lnTo>
                                                                                                          <a:pt x="82" y="198"/>
                                                                                                        </a:lnTo>
                                                                                                        <a:lnTo>
                                                                                                          <a:pt x="82" y="194"/>
                                                                                                        </a:lnTo>
                                                                                                        <a:lnTo>
                                                                                                          <a:pt x="82" y="192"/>
                                                                                                        </a:lnTo>
                                                                                                        <a:lnTo>
                                                                                                          <a:pt x="84" y="192"/>
                                                                                                        </a:lnTo>
                                                                                                        <a:lnTo>
                                                                                                          <a:pt x="84" y="188"/>
                                                                                                        </a:lnTo>
                                                                                                        <a:lnTo>
                                                                                                          <a:pt x="84" y="188"/>
                                                                                                        </a:lnTo>
                                                                                                        <a:lnTo>
                                                                                                          <a:pt x="84" y="138"/>
                                                                                                        </a:lnTo>
                                                                                                        <a:lnTo>
                                                                                                          <a:pt x="84" y="138"/>
                                                                                                        </a:lnTo>
                                                                                                        <a:lnTo>
                                                                                                          <a:pt x="106" y="130"/>
                                                                                                        </a:lnTo>
                                                                                                        <a:lnTo>
                                                                                                          <a:pt x="106" y="130"/>
                                                                                                        </a:lnTo>
                                                                                                        <a:lnTo>
                                                                                                          <a:pt x="110" y="130"/>
                                                                                                        </a:lnTo>
                                                                                                        <a:lnTo>
                                                                                                          <a:pt x="112" y="128"/>
                                                                                                        </a:lnTo>
                                                                                                        <a:lnTo>
                                                                                                          <a:pt x="122" y="118"/>
                                                                                                        </a:lnTo>
                                                                                                        <a:lnTo>
                                                                                                          <a:pt x="122" y="118"/>
                                                                                                        </a:lnTo>
                                                                                                        <a:lnTo>
                                                                                                          <a:pt x="130" y="110"/>
                                                                                                        </a:lnTo>
                                                                                                        <a:lnTo>
                                                                                                          <a:pt x="134" y="106"/>
                                                                                                        </a:lnTo>
                                                                                                        <a:lnTo>
                                                                                                          <a:pt x="140" y="102"/>
                                                                                                        </a:lnTo>
                                                                                                        <a:lnTo>
                                                                                                          <a:pt x="148" y="94"/>
                                                                                                        </a:lnTo>
                                                                                                        <a:lnTo>
                                                                                                          <a:pt x="148" y="94"/>
                                                                                                        </a:lnTo>
                                                                                                        <a:lnTo>
                                                                                                          <a:pt x="200" y="38"/>
                                                                                                        </a:lnTo>
                                                                                                        <a:lnTo>
                                                                                                          <a:pt x="236" y="0"/>
                                                                                                        </a:lnTo>
                                                                                                        <a:lnTo>
                                                                                                          <a:pt x="280" y="8"/>
                                                                                                        </a:lnTo>
                                                                                                        <a:lnTo>
                                                                                                          <a:pt x="288" y="18"/>
                                                                                                        </a:lnTo>
                                                                                                        <a:lnTo>
                                                                                                          <a:pt x="302" y="14"/>
                                                                                                        </a:lnTo>
                                                                                                        <a:lnTo>
                                                                                                          <a:pt x="302" y="14"/>
                                                                                                        </a:lnTo>
                                                                                                        <a:lnTo>
                                                                                                          <a:pt x="306" y="36"/>
                                                                                                        </a:lnTo>
                                                                                                        <a:lnTo>
                                                                                                          <a:pt x="306" y="50"/>
                                                                                                        </a:lnTo>
                                                                                                        <a:lnTo>
                                                                                                          <a:pt x="306" y="64"/>
                                                                                                        </a:lnTo>
                                                                                                        <a:lnTo>
                                                                                                          <a:pt x="306" y="64"/>
                                                                                                        </a:lnTo>
                                                                                                        <a:lnTo>
                                                                                                          <a:pt x="306" y="66"/>
                                                                                                        </a:lnTo>
                                                                                                        <a:lnTo>
                                                                                                          <a:pt x="308" y="70"/>
                                                                                                        </a:lnTo>
                                                                                                        <a:lnTo>
                                                                                                          <a:pt x="310" y="74"/>
                                                                                                        </a:lnTo>
                                                                                                        <a:lnTo>
                                                                                                          <a:pt x="310" y="82"/>
                                                                                                        </a:lnTo>
                                                                                                        <a:lnTo>
                                                                                                          <a:pt x="310" y="82"/>
                                                                                                        </a:lnTo>
                                                                                                        <a:lnTo>
                                                                                                          <a:pt x="312" y="88"/>
                                                                                                        </a:lnTo>
                                                                                                        <a:lnTo>
                                                                                                          <a:pt x="314" y="90"/>
                                                                                                        </a:lnTo>
                                                                                                        <a:lnTo>
                                                                                                          <a:pt x="318" y="94"/>
                                                                                                        </a:lnTo>
                                                                                                        <a:lnTo>
                                                                                                          <a:pt x="324" y="98"/>
                                                                                                        </a:lnTo>
                                                                                                        <a:lnTo>
                                                                                                          <a:pt x="326" y="98"/>
                                                                                                        </a:lnTo>
                                                                                                        <a:lnTo>
                                                                                                          <a:pt x="326" y="102"/>
                                                                                                        </a:lnTo>
                                                                                                        <a:lnTo>
                                                                                                          <a:pt x="326" y="102"/>
                                                                                                        </a:lnTo>
                                                                                                        <a:lnTo>
                                                                                                          <a:pt x="324" y="106"/>
                                                                                                        </a:lnTo>
                                                                                                        <a:lnTo>
                                                                                                          <a:pt x="322" y="108"/>
                                                                                                        </a:lnTo>
                                                                                                        <a:lnTo>
                                                                                                          <a:pt x="318" y="114"/>
                                                                                                        </a:lnTo>
                                                                                                        <a:lnTo>
                                                                                                          <a:pt x="316" y="120"/>
                                                                                                        </a:lnTo>
                                                                                                        <a:lnTo>
                                                                                                          <a:pt x="316" y="120"/>
                                                                                                        </a:lnTo>
                                                                                                        <a:lnTo>
                                                                                                          <a:pt x="316" y="180"/>
                                                                                                        </a:lnTo>
                                                                                                        <a:lnTo>
                                                                                                          <a:pt x="316" y="180"/>
                                                                                                        </a:lnTo>
                                                                                                        <a:lnTo>
                                                                                                          <a:pt x="314" y="190"/>
                                                                                                        </a:lnTo>
                                                                                                        <a:lnTo>
                                                                                                          <a:pt x="312" y="200"/>
                                                                                                        </a:lnTo>
                                                                                                        <a:lnTo>
                                                                                                          <a:pt x="300" y="222"/>
                                                                                                        </a:lnTo>
                                                                                                        <a:lnTo>
                                                                                                          <a:pt x="300" y="222"/>
                                                                                                        </a:lnTo>
                                                                                                        <a:lnTo>
                                                                                                          <a:pt x="294" y="230"/>
                                                                                                        </a:lnTo>
                                                                                                        <a:lnTo>
                                                                                                          <a:pt x="290" y="234"/>
                                                                                                        </a:lnTo>
                                                                                                        <a:lnTo>
                                                                                                          <a:pt x="286" y="236"/>
                                                                                                        </a:lnTo>
                                                                                                        <a:lnTo>
                                                                                                          <a:pt x="286" y="240"/>
                                                                                                        </a:lnTo>
                                                                                                        <a:lnTo>
                                                                                                          <a:pt x="286" y="240"/>
                                                                                                        </a:lnTo>
                                                                                                        <a:lnTo>
                                                                                                          <a:pt x="286" y="246"/>
                                                                                                        </a:lnTo>
                                                                                                        <a:lnTo>
                                                                                                          <a:pt x="284" y="248"/>
                                                                                                        </a:lnTo>
                                                                                                        <a:lnTo>
                                                                                                          <a:pt x="282" y="252"/>
                                                                                                        </a:lnTo>
                                                                                                        <a:lnTo>
                                                                                                          <a:pt x="282" y="256"/>
                                                                                                        </a:lnTo>
                                                                                                        <a:lnTo>
                                                                                                          <a:pt x="282" y="256"/>
                                                                                                        </a:lnTo>
                                                                                                        <a:lnTo>
                                                                                                          <a:pt x="278" y="256"/>
                                                                                                        </a:lnTo>
                                                                                                        <a:lnTo>
                                                                                                          <a:pt x="276" y="258"/>
                                                                                                        </a:lnTo>
                                                                                                        <a:lnTo>
                                                                                                          <a:pt x="274" y="262"/>
                                                                                                        </a:lnTo>
                                                                                                        <a:lnTo>
                                                                                                          <a:pt x="274" y="270"/>
                                                                                                        </a:lnTo>
                                                                                                        <a:lnTo>
                                                                                                          <a:pt x="274" y="270"/>
                                                                                                        </a:lnTo>
                                                                                                        <a:lnTo>
                                                                                                          <a:pt x="266" y="270"/>
                                                                                                        </a:lnTo>
                                                                                                        <a:lnTo>
                                                                                                          <a:pt x="264" y="272"/>
                                                                                                        </a:lnTo>
                                                                                                        <a:lnTo>
                                                                                                          <a:pt x="262" y="274"/>
                                                                                                        </a:lnTo>
                                                                                                        <a:lnTo>
                                                                                                          <a:pt x="262" y="278"/>
                                                                                                        </a:lnTo>
                                                                                                        <a:lnTo>
                                                                                                          <a:pt x="264" y="278"/>
                                                                                                        </a:lnTo>
                                                                                                        <a:lnTo>
                                                                                                          <a:pt x="262" y="280"/>
                                                                                                        </a:lnTo>
                                                                                                        <a:lnTo>
                                                                                                          <a:pt x="254" y="278"/>
                                                                                                        </a:lnTo>
                                                                                                        <a:lnTo>
                                                                                                          <a:pt x="254" y="278"/>
                                                                                                        </a:lnTo>
                                                                                                        <a:lnTo>
                                                                                                          <a:pt x="238" y="276"/>
                                                                                                        </a:lnTo>
                                                                                                        <a:lnTo>
                                                                                                          <a:pt x="224" y="276"/>
                                                                                                        </a:lnTo>
                                                                                                        <a:lnTo>
                                                                                                          <a:pt x="212" y="280"/>
                                                                                                        </a:lnTo>
                                                                                                        <a:lnTo>
                                                                                                          <a:pt x="208" y="282"/>
                                                                                                        </a:lnTo>
                                                                                                        <a:lnTo>
                                                                                                          <a:pt x="206" y="284"/>
                                                                                                        </a:lnTo>
                                                                                                        <a:lnTo>
                                                                                                          <a:pt x="206" y="284"/>
                                                                                                        </a:lnTo>
                                                                                                        <a:lnTo>
                                                                                                          <a:pt x="202" y="288"/>
                                                                                                        </a:lnTo>
                                                                                                        <a:lnTo>
                                                                                                          <a:pt x="196" y="290"/>
                                                                                                        </a:lnTo>
                                                                                                        <a:lnTo>
                                                                                                          <a:pt x="190" y="290"/>
                                                                                                        </a:lnTo>
                                                                                                        <a:lnTo>
                                                                                                          <a:pt x="182" y="290"/>
                                                                                                        </a:lnTo>
                                                                                                        <a:lnTo>
                                                                                                          <a:pt x="170" y="286"/>
                                                                                                        </a:lnTo>
                                                                                                        <a:lnTo>
                                                                                                          <a:pt x="164" y="284"/>
                                                                                                        </a:lnTo>
                                                                                                        <a:lnTo>
                                                                                                          <a:pt x="164" y="284"/>
                                                                                                        </a:lnTo>
                                                                                                        <a:lnTo>
                                                                                                          <a:pt x="156" y="278"/>
                                                                                                        </a:lnTo>
                                                                                                        <a:lnTo>
                                                                                                          <a:pt x="154" y="278"/>
                                                                                                        </a:lnTo>
                                                                                                        <a:lnTo>
                                                                                                          <a:pt x="154" y="278"/>
                                                                                                        </a:lnTo>
                                                                                                        <a:lnTo>
                                                                                                          <a:pt x="152" y="282"/>
                                                                                                        </a:lnTo>
                                                                                                        <a:lnTo>
                                                                                                          <a:pt x="150" y="282"/>
                                                                                                        </a:lnTo>
                                                                                                        <a:lnTo>
                                                                                                          <a:pt x="148" y="282"/>
                                                                                                        </a:lnTo>
                                                                                                        <a:lnTo>
                                                                                                          <a:pt x="148" y="282"/>
                                                                                                        </a:lnTo>
                                                                                                        <a:lnTo>
                                                                                                          <a:pt x="144" y="280"/>
                                                                                                        </a:lnTo>
                                                                                                        <a:lnTo>
                                                                                                          <a:pt x="142" y="282"/>
                                                                                                        </a:lnTo>
                                                                                                        <a:lnTo>
                                                                                                          <a:pt x="138" y="282"/>
                                                                                                        </a:lnTo>
                                                                                                        <a:lnTo>
                                                                                                          <a:pt x="136" y="278"/>
                                                                                                        </a:lnTo>
                                                                                                        <a:lnTo>
                                                                                                          <a:pt x="136" y="278"/>
                                                                                                        </a:lnTo>
                                                                                                        <a:lnTo>
                                                                                                          <a:pt x="132" y="272"/>
                                                                                                        </a:lnTo>
                                                                                                        <a:lnTo>
                                                                                                          <a:pt x="130" y="270"/>
                                                                                                        </a:lnTo>
                                                                                                        <a:lnTo>
                                                                                                          <a:pt x="128" y="272"/>
                                                                                                        </a:lnTo>
                                                                                                        <a:lnTo>
                                                                                                          <a:pt x="124" y="268"/>
                                                                                                        </a:lnTo>
                                                                                                        <a:lnTo>
                                                                                                          <a:pt x="124" y="268"/>
                                                                                                        </a:lnTo>
                                                                                                        <a:lnTo>
                                                                                                          <a:pt x="120" y="268"/>
                                                                                                        </a:lnTo>
                                                                                                        <a:lnTo>
                                                                                                          <a:pt x="118" y="268"/>
                                                                                                        </a:lnTo>
                                                                                                        <a:lnTo>
                                                                                                          <a:pt x="114" y="268"/>
                                                                                                        </a:lnTo>
                                                                                                        <a:lnTo>
                                                                                                          <a:pt x="110" y="270"/>
                                                                                                        </a:lnTo>
                                                                                                        <a:lnTo>
                                                                                                          <a:pt x="108" y="270"/>
                                                                                                        </a:lnTo>
                                                                                                        <a:lnTo>
                                                                                                          <a:pt x="106" y="268"/>
                                                                                                        </a:lnTo>
                                                                                                        <a:lnTo>
                                                                                                          <a:pt x="106" y="268"/>
                                                                                                        </a:lnTo>
                                                                                                        <a:lnTo>
                                                                                                          <a:pt x="106" y="266"/>
                                                                                                        </a:lnTo>
                                                                                                        <a:lnTo>
                                                                                                          <a:pt x="102" y="266"/>
                                                                                                        </a:lnTo>
                                                                                                        <a:lnTo>
                                                                                                          <a:pt x="98" y="266"/>
                                                                                                        </a:lnTo>
                                                                                                        <a:lnTo>
                                                                                                          <a:pt x="90" y="270"/>
                                                                                                        </a:lnTo>
                                                                                                        <a:lnTo>
                                                                                                          <a:pt x="90" y="270"/>
                                                                                                        </a:lnTo>
                                                                                                        <a:lnTo>
                                                                                                          <a:pt x="84" y="276"/>
                                                                                                        </a:lnTo>
                                                                                                        <a:lnTo>
                                                                                                          <a:pt x="82" y="282"/>
                                                                                                        </a:lnTo>
                                                                                                        <a:lnTo>
                                                                                                          <a:pt x="80" y="286"/>
                                                                                                        </a:lnTo>
                                                                                                        <a:lnTo>
                                                                                                          <a:pt x="76" y="292"/>
                                                                                                        </a:lnTo>
                                                                                                        <a:lnTo>
                                                                                                          <a:pt x="76" y="292"/>
                                                                                                        </a:lnTo>
                                                                                                        <a:lnTo>
                                                                                                          <a:pt x="72" y="296"/>
                                                                                                        </a:lnTo>
                                                                                                        <a:lnTo>
                                                                                                          <a:pt x="72" y="300"/>
                                                                                                        </a:lnTo>
                                                                                                        <a:lnTo>
                                                                                                          <a:pt x="72" y="306"/>
                                                                                                        </a:lnTo>
                                                                                                        <a:lnTo>
                                                                                                          <a:pt x="72" y="314"/>
                                                                                                        </a:lnTo>
                                                                                                        <a:lnTo>
                                                                                                          <a:pt x="72" y="320"/>
                                                                                                        </a:lnTo>
                                                                                                        <a:lnTo>
                                                                                                          <a:pt x="72" y="320"/>
                                                                                                        </a:lnTo>
                                                                                                        <a:lnTo>
                                                                                                          <a:pt x="62" y="312"/>
                                                                                                        </a:lnTo>
                                                                                                        <a:lnTo>
                                                                                                          <a:pt x="56" y="310"/>
                                                                                                        </a:lnTo>
                                                                                                        <a:lnTo>
                                                                                                          <a:pt x="52" y="312"/>
                                                                                                        </a:lnTo>
                                                                                                        <a:lnTo>
                                                                                                          <a:pt x="44" y="316"/>
                                                                                                        </a:lnTo>
                                                                                                        <a:lnTo>
                                                                                                          <a:pt x="44" y="316"/>
                                                                                                        </a:lnTo>
                                                                                                        <a:lnTo>
                                                                                                          <a:pt x="38" y="308"/>
                                                                                                        </a:lnTo>
                                                                                                        <a:lnTo>
                                                                                                          <a:pt x="40" y="306"/>
                                                                                                        </a:lnTo>
                                                                                                        <a:lnTo>
                                                                                                          <a:pt x="40" y="306"/>
                                                                                                        </a:lnTo>
                                                                                                        <a:lnTo>
                                                                                                          <a:pt x="42" y="306"/>
                                                                                                        </a:lnTo>
                                                                                                        <a:lnTo>
                                                                                                          <a:pt x="40" y="304"/>
                                                                                                        </a:lnTo>
                                                                                                        <a:lnTo>
                                                                                                          <a:pt x="40" y="304"/>
                                                                                                        </a:lnTo>
                                                                                                        <a:lnTo>
                                                                                                          <a:pt x="36" y="302"/>
                                                                                                        </a:lnTo>
                                                                                                        <a:lnTo>
                                                                                                          <a:pt x="34" y="302"/>
                                                                                                        </a:lnTo>
                                                                                                        <a:lnTo>
                                                                                                          <a:pt x="28" y="300"/>
                                                                                                        </a:lnTo>
                                                                                                        <a:lnTo>
                                                                                                          <a:pt x="18" y="294"/>
                                                                                                        </a:lnTo>
                                                                                                        <a:lnTo>
                                                                                                          <a:pt x="18" y="294"/>
                                                                                                        </a:lnTo>
                                                                                                        <a:lnTo>
                                                                                                          <a:pt x="10" y="288"/>
                                                                                                        </a:lnTo>
                                                                                                        <a:lnTo>
                                                                                                          <a:pt x="10" y="286"/>
                                                                                                        </a:lnTo>
                                                                                                        <a:lnTo>
                                                                                                          <a:pt x="12" y="284"/>
                                                                                                        </a:lnTo>
                                                                                                        <a:lnTo>
                                                                                                          <a:pt x="12" y="284"/>
                                                                                                        </a:lnTo>
                                                                                                        <a:lnTo>
                                                                                                          <a:pt x="16" y="280"/>
                                                                                                        </a:lnTo>
                                                                                                        <a:lnTo>
                                                                                                          <a:pt x="16" y="278"/>
                                                                                                        </a:lnTo>
                                                                                                        <a:lnTo>
                                                                                                          <a:pt x="12" y="278"/>
                                                                                                        </a:lnTo>
                                                                                                        <a:lnTo>
                                                                                                          <a:pt x="12" y="278"/>
                                                                                                        </a:lnTo>
                                                                                                        <a:lnTo>
                                                                                                          <a:pt x="8" y="276"/>
                                                                                                        </a:lnTo>
                                                                                                        <a:lnTo>
                                                                                                          <a:pt x="6" y="274"/>
                                                                                                        </a:lnTo>
                                                                                                        <a:lnTo>
                                                                                                          <a:pt x="2" y="266"/>
                                                                                                        </a:lnTo>
                                                                                                        <a:lnTo>
                                                                                                          <a:pt x="0" y="258"/>
                                                                                                        </a:lnTo>
                                                                                                        <a:lnTo>
                                                                                                          <a:pt x="0" y="248"/>
                                                                                                        </a:lnTo>
                                                                                                        <a:lnTo>
                                                                                                          <a:pt x="0" y="248"/>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baseline="-25000" dirty="0">
                                                                                                      <a:solidFill>
                                                                                                        <a:schemeClr val="tx1"/>
                                                                                                      </a:solidFill>
                                                                                                    </a:endParaRPr>
                                                                                                  </a:p>
                                                                                                </p:txBody>
                                                                                              </p:sp>
                                                                                              <p:sp>
                                                                                                <p:nvSpPr>
                                                                                                  <p:cNvPr id="738" name="Nigeria"/>
                                                                                                  <p:cNvSpPr>
                                                                                                    <a:spLocks/>
                                                                                                  </p:cNvSpPr>
                                                                                                  <p:nvPr/>
                                                                                                </p:nvSpPr>
                                                                                                <p:spPr bwMode="auto">
                                                                                                  <a:xfrm>
                                                                                                    <a:off x="5880368" y="3142611"/>
                                                                                                    <a:ext cx="367555" cy="379354"/>
                                                                                                  </a:xfrm>
                                                                                                  <a:custGeom>
                                                                                                    <a:avLst/>
                                                                                                    <a:gdLst/>
                                                                                                    <a:ahLst/>
                                                                                                    <a:cxnLst>
                                                                                                      <a:cxn ang="0">
                                                                                                        <a:pos x="228" y="20"/>
                                                                                                      </a:cxn>
                                                                                                      <a:cxn ang="0">
                                                                                                        <a:pos x="230" y="30"/>
                                                                                                      </a:cxn>
                                                                                                      <a:cxn ang="0">
                                                                                                        <a:pos x="240" y="42"/>
                                                                                                      </a:cxn>
                                                                                                      <a:cxn ang="0">
                                                                                                        <a:pos x="236" y="60"/>
                                                                                                      </a:cxn>
                                                                                                      <a:cxn ang="0">
                                                                                                        <a:pos x="216" y="96"/>
                                                                                                      </a:cxn>
                                                                                                      <a:cxn ang="0">
                                                                                                        <a:pos x="214" y="112"/>
                                                                                                      </a:cxn>
                                                                                                      <a:cxn ang="0">
                                                                                                        <a:pos x="210" y="118"/>
                                                                                                      </a:cxn>
                                                                                                      <a:cxn ang="0">
                                                                                                        <a:pos x="208" y="130"/>
                                                                                                      </a:cxn>
                                                                                                      <a:cxn ang="0">
                                                                                                        <a:pos x="202" y="142"/>
                                                                                                      </a:cxn>
                                                                                                      <a:cxn ang="0">
                                                                                                        <a:pos x="194" y="156"/>
                                                                                                      </a:cxn>
                                                                                                      <a:cxn ang="0">
                                                                                                        <a:pos x="184" y="176"/>
                                                                                                      </a:cxn>
                                                                                                      <a:cxn ang="0">
                                                                                                        <a:pos x="176" y="186"/>
                                                                                                      </a:cxn>
                                                                                                      <a:cxn ang="0">
                                                                                                        <a:pos x="168" y="190"/>
                                                                                                      </a:cxn>
                                                                                                      <a:cxn ang="0">
                                                                                                        <a:pos x="160" y="186"/>
                                                                                                      </a:cxn>
                                                                                                      <a:cxn ang="0">
                                                                                                        <a:pos x="144" y="184"/>
                                                                                                      </a:cxn>
                                                                                                      <a:cxn ang="0">
                                                                                                        <a:pos x="126" y="210"/>
                                                                                                      </a:cxn>
                                                                                                      <a:cxn ang="0">
                                                                                                        <a:pos x="118" y="228"/>
                                                                                                      </a:cxn>
                                                                                                      <a:cxn ang="0">
                                                                                                        <a:pos x="110" y="240"/>
                                                                                                      </a:cxn>
                                                                                                      <a:cxn ang="0">
                                                                                                        <a:pos x="102" y="244"/>
                                                                                                      </a:cxn>
                                                                                                      <a:cxn ang="0">
                                                                                                        <a:pos x="94" y="242"/>
                                                                                                      </a:cxn>
                                                                                                      <a:cxn ang="0">
                                                                                                        <a:pos x="88" y="248"/>
                                                                                                      </a:cxn>
                                                                                                      <a:cxn ang="0">
                                                                                                        <a:pos x="82" y="250"/>
                                                                                                      </a:cxn>
                                                                                                      <a:cxn ang="0">
                                                                                                        <a:pos x="76" y="250"/>
                                                                                                      </a:cxn>
                                                                                                      <a:cxn ang="0">
                                                                                                        <a:pos x="56" y="238"/>
                                                                                                      </a:cxn>
                                                                                                      <a:cxn ang="0">
                                                                                                        <a:pos x="52" y="232"/>
                                                                                                      </a:cxn>
                                                                                                      <a:cxn ang="0">
                                                                                                        <a:pos x="56" y="226"/>
                                                                                                      </a:cxn>
                                                                                                      <a:cxn ang="0">
                                                                                                        <a:pos x="52" y="228"/>
                                                                                                      </a:cxn>
                                                                                                      <a:cxn ang="0">
                                                                                                        <a:pos x="50" y="222"/>
                                                                                                      </a:cxn>
                                                                                                      <a:cxn ang="0">
                                                                                                        <a:pos x="54" y="218"/>
                                                                                                      </a:cxn>
                                                                                                      <a:cxn ang="0">
                                                                                                        <a:pos x="50" y="214"/>
                                                                                                      </a:cxn>
                                                                                                      <a:cxn ang="0">
                                                                                                        <a:pos x="28" y="204"/>
                                                                                                      </a:cxn>
                                                                                                      <a:cxn ang="0">
                                                                                                        <a:pos x="12" y="200"/>
                                                                                                      </a:cxn>
                                                                                                      <a:cxn ang="0">
                                                                                                        <a:pos x="2" y="188"/>
                                                                                                      </a:cxn>
                                                                                                      <a:cxn ang="0">
                                                                                                        <a:pos x="2" y="162"/>
                                                                                                      </a:cxn>
                                                                                                      <a:cxn ang="0">
                                                                                                        <a:pos x="4" y="126"/>
                                                                                                      </a:cxn>
                                                                                                      <a:cxn ang="0">
                                                                                                        <a:pos x="6" y="116"/>
                                                                                                      </a:cxn>
                                                                                                      <a:cxn ang="0">
                                                                                                        <a:pos x="16" y="104"/>
                                                                                                      </a:cxn>
                                                                                                      <a:cxn ang="0">
                                                                                                        <a:pos x="14" y="96"/>
                                                                                                      </a:cxn>
                                                                                                      <a:cxn ang="0">
                                                                                                        <a:pos x="20" y="84"/>
                                                                                                      </a:cxn>
                                                                                                      <a:cxn ang="0">
                                                                                                        <a:pos x="16" y="66"/>
                                                                                                      </a:cxn>
                                                                                                      <a:cxn ang="0">
                                                                                                        <a:pos x="14" y="54"/>
                                                                                                      </a:cxn>
                                                                                                      <a:cxn ang="0">
                                                                                                        <a:pos x="18" y="26"/>
                                                                                                      </a:cxn>
                                                                                                      <a:cxn ang="0">
                                                                                                        <a:pos x="32" y="4"/>
                                                                                                      </a:cxn>
                                                                                                      <a:cxn ang="0">
                                                                                                        <a:pos x="48" y="2"/>
                                                                                                      </a:cxn>
                                                                                                      <a:cxn ang="0">
                                                                                                        <a:pos x="60" y="2"/>
                                                                                                      </a:cxn>
                                                                                                      <a:cxn ang="0">
                                                                                                        <a:pos x="72" y="4"/>
                                                                                                      </a:cxn>
                                                                                                      <a:cxn ang="0">
                                                                                                        <a:pos x="84" y="16"/>
                                                                                                      </a:cxn>
                                                                                                      <a:cxn ang="0">
                                                                                                        <a:pos x="94" y="16"/>
                                                                                                      </a:cxn>
                                                                                                      <a:cxn ang="0">
                                                                                                        <a:pos x="106" y="18"/>
                                                                                                      </a:cxn>
                                                                                                      <a:cxn ang="0">
                                                                                                        <a:pos x="144" y="22"/>
                                                                                                      </a:cxn>
                                                                                                      <a:cxn ang="0">
                                                                                                        <a:pos x="166" y="10"/>
                                                                                                      </a:cxn>
                                                                                                      <a:cxn ang="0">
                                                                                                        <a:pos x="206" y="12"/>
                                                                                                      </a:cxn>
                                                                                                      <a:cxn ang="0">
                                                                                                        <a:pos x="216" y="4"/>
                                                                                                      </a:cxn>
                                                                                                    </a:cxnLst>
                                                                                                    <a:rect l="0" t="0" r="r" b="b"/>
                                                                                                    <a:pathLst>
                                                                                                      <a:path w="242" h="250">
                                                                                                        <a:moveTo>
                                                                                                          <a:pt x="216" y="4"/>
                                                                                                        </a:moveTo>
                                                                                                        <a:lnTo>
                                                                                                          <a:pt x="216" y="4"/>
                                                                                                        </a:lnTo>
                                                                                                        <a:lnTo>
                                                                                                          <a:pt x="218" y="10"/>
                                                                                                        </a:lnTo>
                                                                                                        <a:lnTo>
                                                                                                          <a:pt x="222" y="16"/>
                                                                                                        </a:lnTo>
                                                                                                        <a:lnTo>
                                                                                                          <a:pt x="228" y="20"/>
                                                                                                        </a:lnTo>
                                                                                                        <a:lnTo>
                                                                                                          <a:pt x="232" y="22"/>
                                                                                                        </a:lnTo>
                                                                                                        <a:lnTo>
                                                                                                          <a:pt x="230" y="24"/>
                                                                                                        </a:lnTo>
                                                                                                        <a:lnTo>
                                                                                                          <a:pt x="230" y="24"/>
                                                                                                        </a:lnTo>
                                                                                                        <a:lnTo>
                                                                                                          <a:pt x="230" y="26"/>
                                                                                                        </a:lnTo>
                                                                                                        <a:lnTo>
                                                                                                          <a:pt x="230" y="30"/>
                                                                                                        </a:lnTo>
                                                                                                        <a:lnTo>
                                                                                                          <a:pt x="232" y="34"/>
                                                                                                        </a:lnTo>
                                                                                                        <a:lnTo>
                                                                                                          <a:pt x="238" y="34"/>
                                                                                                        </a:lnTo>
                                                                                                        <a:lnTo>
                                                                                                          <a:pt x="238" y="34"/>
                                                                                                        </a:lnTo>
                                                                                                        <a:lnTo>
                                                                                                          <a:pt x="238" y="40"/>
                                                                                                        </a:lnTo>
                                                                                                        <a:lnTo>
                                                                                                          <a:pt x="240" y="42"/>
                                                                                                        </a:lnTo>
                                                                                                        <a:lnTo>
                                                                                                          <a:pt x="240" y="42"/>
                                                                                                        </a:lnTo>
                                                                                                        <a:lnTo>
                                                                                                          <a:pt x="242" y="44"/>
                                                                                                        </a:lnTo>
                                                                                                        <a:lnTo>
                                                                                                          <a:pt x="240" y="52"/>
                                                                                                        </a:lnTo>
                                                                                                        <a:lnTo>
                                                                                                          <a:pt x="240" y="52"/>
                                                                                                        </a:lnTo>
                                                                                                        <a:lnTo>
                                                                                                          <a:pt x="236" y="60"/>
                                                                                                        </a:lnTo>
                                                                                                        <a:lnTo>
                                                                                                          <a:pt x="232" y="62"/>
                                                                                                        </a:lnTo>
                                                                                                        <a:lnTo>
                                                                                                          <a:pt x="230" y="64"/>
                                                                                                        </a:lnTo>
                                                                                                        <a:lnTo>
                                                                                                          <a:pt x="226" y="74"/>
                                                                                                        </a:lnTo>
                                                                                                        <a:lnTo>
                                                                                                          <a:pt x="226" y="74"/>
                                                                                                        </a:lnTo>
                                                                                                        <a:lnTo>
                                                                                                          <a:pt x="216" y="96"/>
                                                                                                        </a:lnTo>
                                                                                                        <a:lnTo>
                                                                                                          <a:pt x="216" y="104"/>
                                                                                                        </a:lnTo>
                                                                                                        <a:lnTo>
                                                                                                          <a:pt x="216" y="106"/>
                                                                                                        </a:lnTo>
                                                                                                        <a:lnTo>
                                                                                                          <a:pt x="216" y="110"/>
                                                                                                        </a:lnTo>
                                                                                                        <a:lnTo>
                                                                                                          <a:pt x="216" y="110"/>
                                                                                                        </a:lnTo>
                                                                                                        <a:lnTo>
                                                                                                          <a:pt x="214" y="112"/>
                                                                                                        </a:lnTo>
                                                                                                        <a:lnTo>
                                                                                                          <a:pt x="214" y="112"/>
                                                                                                        </a:lnTo>
                                                                                                        <a:lnTo>
                                                                                                          <a:pt x="212" y="112"/>
                                                                                                        </a:lnTo>
                                                                                                        <a:lnTo>
                                                                                                          <a:pt x="210" y="116"/>
                                                                                                        </a:lnTo>
                                                                                                        <a:lnTo>
                                                                                                          <a:pt x="210" y="116"/>
                                                                                                        </a:lnTo>
                                                                                                        <a:lnTo>
                                                                                                          <a:pt x="210" y="118"/>
                                                                                                        </a:lnTo>
                                                                                                        <a:lnTo>
                                                                                                          <a:pt x="210" y="120"/>
                                                                                                        </a:lnTo>
                                                                                                        <a:lnTo>
                                                                                                          <a:pt x="212" y="122"/>
                                                                                                        </a:lnTo>
                                                                                                        <a:lnTo>
                                                                                                          <a:pt x="212" y="126"/>
                                                                                                        </a:lnTo>
                                                                                                        <a:lnTo>
                                                                                                          <a:pt x="212" y="126"/>
                                                                                                        </a:lnTo>
                                                                                                        <a:lnTo>
                                                                                                          <a:pt x="208" y="130"/>
                                                                                                        </a:lnTo>
                                                                                                        <a:lnTo>
                                                                                                          <a:pt x="206" y="130"/>
                                                                                                        </a:lnTo>
                                                                                                        <a:lnTo>
                                                                                                          <a:pt x="204" y="132"/>
                                                                                                        </a:lnTo>
                                                                                                        <a:lnTo>
                                                                                                          <a:pt x="204" y="138"/>
                                                                                                        </a:lnTo>
                                                                                                        <a:lnTo>
                                                                                                          <a:pt x="204" y="138"/>
                                                                                                        </a:lnTo>
                                                                                                        <a:lnTo>
                                                                                                          <a:pt x="202" y="142"/>
                                                                                                        </a:lnTo>
                                                                                                        <a:lnTo>
                                                                                                          <a:pt x="198" y="144"/>
                                                                                                        </a:lnTo>
                                                                                                        <a:lnTo>
                                                                                                          <a:pt x="196" y="148"/>
                                                                                                        </a:lnTo>
                                                                                                        <a:lnTo>
                                                                                                          <a:pt x="192" y="152"/>
                                                                                                        </a:lnTo>
                                                                                                        <a:lnTo>
                                                                                                          <a:pt x="192" y="152"/>
                                                                                                        </a:lnTo>
                                                                                                        <a:lnTo>
                                                                                                          <a:pt x="194" y="156"/>
                                                                                                        </a:lnTo>
                                                                                                        <a:lnTo>
                                                                                                          <a:pt x="196" y="156"/>
                                                                                                        </a:lnTo>
                                                                                                        <a:lnTo>
                                                                                                          <a:pt x="196" y="160"/>
                                                                                                        </a:lnTo>
                                                                                                        <a:lnTo>
                                                                                                          <a:pt x="190" y="166"/>
                                                                                                        </a:lnTo>
                                                                                                        <a:lnTo>
                                                                                                          <a:pt x="190" y="166"/>
                                                                                                        </a:lnTo>
                                                                                                        <a:lnTo>
                                                                                                          <a:pt x="184" y="176"/>
                                                                                                        </a:lnTo>
                                                                                                        <a:lnTo>
                                                                                                          <a:pt x="182" y="180"/>
                                                                                                        </a:lnTo>
                                                                                                        <a:lnTo>
                                                                                                          <a:pt x="182" y="182"/>
                                                                                                        </a:lnTo>
                                                                                                        <a:lnTo>
                                                                                                          <a:pt x="180" y="184"/>
                                                                                                        </a:lnTo>
                                                                                                        <a:lnTo>
                                                                                                          <a:pt x="180" y="184"/>
                                                                                                        </a:lnTo>
                                                                                                        <a:lnTo>
                                                                                                          <a:pt x="176" y="186"/>
                                                                                                        </a:lnTo>
                                                                                                        <a:lnTo>
                                                                                                          <a:pt x="176" y="190"/>
                                                                                                        </a:lnTo>
                                                                                                        <a:lnTo>
                                                                                                          <a:pt x="174" y="192"/>
                                                                                                        </a:lnTo>
                                                                                                        <a:lnTo>
                                                                                                          <a:pt x="172" y="192"/>
                                                                                                        </a:lnTo>
                                                                                                        <a:lnTo>
                                                                                                          <a:pt x="172" y="192"/>
                                                                                                        </a:lnTo>
                                                                                                        <a:lnTo>
                                                                                                          <a:pt x="168" y="190"/>
                                                                                                        </a:lnTo>
                                                                                                        <a:lnTo>
                                                                                                          <a:pt x="166" y="188"/>
                                                                                                        </a:lnTo>
                                                                                                        <a:lnTo>
                                                                                                          <a:pt x="166" y="186"/>
                                                                                                        </a:lnTo>
                                                                                                        <a:lnTo>
                                                                                                          <a:pt x="162" y="186"/>
                                                                                                        </a:lnTo>
                                                                                                        <a:lnTo>
                                                                                                          <a:pt x="162" y="186"/>
                                                                                                        </a:lnTo>
                                                                                                        <a:lnTo>
                                                                                                          <a:pt x="160" y="186"/>
                                                                                                        </a:lnTo>
                                                                                                        <a:lnTo>
                                                                                                          <a:pt x="158" y="184"/>
                                                                                                        </a:lnTo>
                                                                                                        <a:lnTo>
                                                                                                          <a:pt x="156" y="182"/>
                                                                                                        </a:lnTo>
                                                                                                        <a:lnTo>
                                                                                                          <a:pt x="150" y="182"/>
                                                                                                        </a:lnTo>
                                                                                                        <a:lnTo>
                                                                                                          <a:pt x="150" y="182"/>
                                                                                                        </a:lnTo>
                                                                                                        <a:lnTo>
                                                                                                          <a:pt x="144" y="184"/>
                                                                                                        </a:lnTo>
                                                                                                        <a:lnTo>
                                                                                                          <a:pt x="140" y="188"/>
                                                                                                        </a:lnTo>
                                                                                                        <a:lnTo>
                                                                                                          <a:pt x="138" y="192"/>
                                                                                                        </a:lnTo>
                                                                                                        <a:lnTo>
                                                                                                          <a:pt x="134" y="200"/>
                                                                                                        </a:lnTo>
                                                                                                        <a:lnTo>
                                                                                                          <a:pt x="134" y="200"/>
                                                                                                        </a:lnTo>
                                                                                                        <a:lnTo>
                                                                                                          <a:pt x="126" y="210"/>
                                                                                                        </a:lnTo>
                                                                                                        <a:lnTo>
                                                                                                          <a:pt x="124" y="216"/>
                                                                                                        </a:lnTo>
                                                                                                        <a:lnTo>
                                                                                                          <a:pt x="126" y="220"/>
                                                                                                        </a:lnTo>
                                                                                                        <a:lnTo>
                                                                                                          <a:pt x="122" y="224"/>
                                                                                                        </a:lnTo>
                                                                                                        <a:lnTo>
                                                                                                          <a:pt x="122" y="224"/>
                                                                                                        </a:lnTo>
                                                                                                        <a:lnTo>
                                                                                                          <a:pt x="118" y="228"/>
                                                                                                        </a:lnTo>
                                                                                                        <a:lnTo>
                                                                                                          <a:pt x="116" y="232"/>
                                                                                                        </a:lnTo>
                                                                                                        <a:lnTo>
                                                                                                          <a:pt x="120" y="244"/>
                                                                                                        </a:lnTo>
                                                                                                        <a:lnTo>
                                                                                                          <a:pt x="120" y="244"/>
                                                                                                        </a:lnTo>
                                                                                                        <a:lnTo>
                                                                                                          <a:pt x="114" y="242"/>
                                                                                                        </a:lnTo>
                                                                                                        <a:lnTo>
                                                                                                          <a:pt x="110" y="240"/>
                                                                                                        </a:lnTo>
                                                                                                        <a:lnTo>
                                                                                                          <a:pt x="110" y="240"/>
                                                                                                        </a:lnTo>
                                                                                                        <a:lnTo>
                                                                                                          <a:pt x="112" y="242"/>
                                                                                                        </a:lnTo>
                                                                                                        <a:lnTo>
                                                                                                          <a:pt x="110" y="244"/>
                                                                                                        </a:lnTo>
                                                                                                        <a:lnTo>
                                                                                                          <a:pt x="106" y="246"/>
                                                                                                        </a:lnTo>
                                                                                                        <a:lnTo>
                                                                                                          <a:pt x="102" y="244"/>
                                                                                                        </a:lnTo>
                                                                                                        <a:lnTo>
                                                                                                          <a:pt x="102" y="244"/>
                                                                                                        </a:lnTo>
                                                                                                        <a:lnTo>
                                                                                                          <a:pt x="102" y="246"/>
                                                                                                        </a:lnTo>
                                                                                                        <a:lnTo>
                                                                                                          <a:pt x="100" y="246"/>
                                                                                                        </a:lnTo>
                                                                                                        <a:lnTo>
                                                                                                          <a:pt x="98" y="246"/>
                                                                                                        </a:lnTo>
                                                                                                        <a:lnTo>
                                                                                                          <a:pt x="94" y="242"/>
                                                                                                        </a:lnTo>
                                                                                                        <a:lnTo>
                                                                                                          <a:pt x="94" y="242"/>
                                                                                                        </a:lnTo>
                                                                                                        <a:lnTo>
                                                                                                          <a:pt x="90" y="244"/>
                                                                                                        </a:lnTo>
                                                                                                        <a:lnTo>
                                                                                                          <a:pt x="90" y="246"/>
                                                                                                        </a:lnTo>
                                                                                                        <a:lnTo>
                                                                                                          <a:pt x="90" y="246"/>
                                                                                                        </a:lnTo>
                                                                                                        <a:lnTo>
                                                                                                          <a:pt x="88" y="248"/>
                                                                                                        </a:lnTo>
                                                                                                        <a:lnTo>
                                                                                                          <a:pt x="88" y="248"/>
                                                                                                        </a:lnTo>
                                                                                                        <a:lnTo>
                                                                                                          <a:pt x="86" y="248"/>
                                                                                                        </a:lnTo>
                                                                                                        <a:lnTo>
                                                                                                          <a:pt x="86" y="248"/>
                                                                                                        </a:lnTo>
                                                                                                        <a:lnTo>
                                                                                                          <a:pt x="82" y="250"/>
                                                                                                        </a:lnTo>
                                                                                                        <a:lnTo>
                                                                                                          <a:pt x="82" y="250"/>
                                                                                                        </a:lnTo>
                                                                                                        <a:lnTo>
                                                                                                          <a:pt x="80" y="250"/>
                                                                                                        </a:lnTo>
                                                                                                        <a:lnTo>
                                                                                                          <a:pt x="80" y="250"/>
                                                                                                        </a:lnTo>
                                                                                                        <a:lnTo>
                                                                                                          <a:pt x="78" y="250"/>
                                                                                                        </a:lnTo>
                                                                                                        <a:lnTo>
                                                                                                          <a:pt x="76" y="250"/>
                                                                                                        </a:lnTo>
                                                                                                        <a:lnTo>
                                                                                                          <a:pt x="76" y="250"/>
                                                                                                        </a:lnTo>
                                                                                                        <a:lnTo>
                                                                                                          <a:pt x="70" y="248"/>
                                                                                                        </a:lnTo>
                                                                                                        <a:lnTo>
                                                                                                          <a:pt x="58" y="242"/>
                                                                                                        </a:lnTo>
                                                                                                        <a:lnTo>
                                                                                                          <a:pt x="58" y="242"/>
                                                                                                        </a:lnTo>
                                                                                                        <a:lnTo>
                                                                                                          <a:pt x="56" y="240"/>
                                                                                                        </a:lnTo>
                                                                                                        <a:lnTo>
                                                                                                          <a:pt x="56" y="238"/>
                                                                                                        </a:lnTo>
                                                                                                        <a:lnTo>
                                                                                                          <a:pt x="56" y="238"/>
                                                                                                        </a:lnTo>
                                                                                                        <a:lnTo>
                                                                                                          <a:pt x="54" y="236"/>
                                                                                                        </a:lnTo>
                                                                                                        <a:lnTo>
                                                                                                          <a:pt x="54" y="236"/>
                                                                                                        </a:lnTo>
                                                                                                        <a:lnTo>
                                                                                                          <a:pt x="52" y="234"/>
                                                                                                        </a:lnTo>
                                                                                                        <a:lnTo>
                                                                                                          <a:pt x="52" y="232"/>
                                                                                                        </a:lnTo>
                                                                                                        <a:lnTo>
                                                                                                          <a:pt x="54" y="230"/>
                                                                                                        </a:lnTo>
                                                                                                        <a:lnTo>
                                                                                                          <a:pt x="54" y="230"/>
                                                                                                        </a:lnTo>
                                                                                                        <a:lnTo>
                                                                                                          <a:pt x="56" y="228"/>
                                                                                                        </a:lnTo>
                                                                                                        <a:lnTo>
                                                                                                          <a:pt x="56" y="228"/>
                                                                                                        </a:lnTo>
                                                                                                        <a:lnTo>
                                                                                                          <a:pt x="56" y="226"/>
                                                                                                        </a:lnTo>
                                                                                                        <a:lnTo>
                                                                                                          <a:pt x="60" y="224"/>
                                                                                                        </a:lnTo>
                                                                                                        <a:lnTo>
                                                                                                          <a:pt x="60" y="224"/>
                                                                                                        </a:lnTo>
                                                                                                        <a:lnTo>
                                                                                                          <a:pt x="56" y="224"/>
                                                                                                        </a:lnTo>
                                                                                                        <a:lnTo>
                                                                                                          <a:pt x="56" y="224"/>
                                                                                                        </a:lnTo>
                                                                                                        <a:lnTo>
                                                                                                          <a:pt x="52" y="228"/>
                                                                                                        </a:lnTo>
                                                                                                        <a:lnTo>
                                                                                                          <a:pt x="52" y="228"/>
                                                                                                        </a:lnTo>
                                                                                                        <a:lnTo>
                                                                                                          <a:pt x="52" y="228"/>
                                                                                                        </a:lnTo>
                                                                                                        <a:lnTo>
                                                                                                          <a:pt x="52" y="226"/>
                                                                                                        </a:lnTo>
                                                                                                        <a:lnTo>
                                                                                                          <a:pt x="52" y="224"/>
                                                                                                        </a:lnTo>
                                                                                                        <a:lnTo>
                                                                                                          <a:pt x="50" y="222"/>
                                                                                                        </a:lnTo>
                                                                                                        <a:lnTo>
                                                                                                          <a:pt x="50" y="222"/>
                                                                                                        </a:lnTo>
                                                                                                        <a:lnTo>
                                                                                                          <a:pt x="50" y="222"/>
                                                                                                        </a:lnTo>
                                                                                                        <a:lnTo>
                                                                                                          <a:pt x="50" y="220"/>
                                                                                                        </a:lnTo>
                                                                                                        <a:lnTo>
                                                                                                          <a:pt x="54" y="218"/>
                                                                                                        </a:lnTo>
                                                                                                        <a:lnTo>
                                                                                                          <a:pt x="54" y="218"/>
                                                                                                        </a:lnTo>
                                                                                                        <a:lnTo>
                                                                                                          <a:pt x="50" y="220"/>
                                                                                                        </a:lnTo>
                                                                                                        <a:lnTo>
                                                                                                          <a:pt x="48" y="218"/>
                                                                                                        </a:lnTo>
                                                                                                        <a:lnTo>
                                                                                                          <a:pt x="50" y="216"/>
                                                                                                        </a:lnTo>
                                                                                                        <a:lnTo>
                                                                                                          <a:pt x="50" y="216"/>
                                                                                                        </a:lnTo>
                                                                                                        <a:lnTo>
                                                                                                          <a:pt x="50" y="214"/>
                                                                                                        </a:lnTo>
                                                                                                        <a:lnTo>
                                                                                                          <a:pt x="48" y="212"/>
                                                                                                        </a:lnTo>
                                                                                                        <a:lnTo>
                                                                                                          <a:pt x="44" y="208"/>
                                                                                                        </a:lnTo>
                                                                                                        <a:lnTo>
                                                                                                          <a:pt x="36" y="204"/>
                                                                                                        </a:lnTo>
                                                                                                        <a:lnTo>
                                                                                                          <a:pt x="28" y="204"/>
                                                                                                        </a:lnTo>
                                                                                                        <a:lnTo>
                                                                                                          <a:pt x="28" y="204"/>
                                                                                                        </a:lnTo>
                                                                                                        <a:lnTo>
                                                                                                          <a:pt x="18" y="202"/>
                                                                                                        </a:lnTo>
                                                                                                        <a:lnTo>
                                                                                                          <a:pt x="16" y="202"/>
                                                                                                        </a:lnTo>
                                                                                                        <a:lnTo>
                                                                                                          <a:pt x="20" y="200"/>
                                                                                                        </a:lnTo>
                                                                                                        <a:lnTo>
                                                                                                          <a:pt x="20" y="200"/>
                                                                                                        </a:lnTo>
                                                                                                        <a:lnTo>
                                                                                                          <a:pt x="12" y="200"/>
                                                                                                        </a:lnTo>
                                                                                                        <a:lnTo>
                                                                                                          <a:pt x="12" y="200"/>
                                                                                                        </a:lnTo>
                                                                                                        <a:lnTo>
                                                                                                          <a:pt x="10" y="202"/>
                                                                                                        </a:lnTo>
                                                                                                        <a:lnTo>
                                                                                                          <a:pt x="2" y="202"/>
                                                                                                        </a:lnTo>
                                                                                                        <a:lnTo>
                                                                                                          <a:pt x="2" y="202"/>
                                                                                                        </a:lnTo>
                                                                                                        <a:lnTo>
                                                                                                          <a:pt x="2" y="188"/>
                                                                                                        </a:lnTo>
                                                                                                        <a:lnTo>
                                                                                                          <a:pt x="2" y="176"/>
                                                                                                        </a:lnTo>
                                                                                                        <a:lnTo>
                                                                                                          <a:pt x="2" y="168"/>
                                                                                                        </a:lnTo>
                                                                                                        <a:lnTo>
                                                                                                          <a:pt x="0" y="164"/>
                                                                                                        </a:lnTo>
                                                                                                        <a:lnTo>
                                                                                                          <a:pt x="0" y="164"/>
                                                                                                        </a:lnTo>
                                                                                                        <a:lnTo>
                                                                                                          <a:pt x="2" y="162"/>
                                                                                                        </a:lnTo>
                                                                                                        <a:lnTo>
                                                                                                          <a:pt x="2" y="154"/>
                                                                                                        </a:lnTo>
                                                                                                        <a:lnTo>
                                                                                                          <a:pt x="0" y="132"/>
                                                                                                        </a:lnTo>
                                                                                                        <a:lnTo>
                                                                                                          <a:pt x="0" y="132"/>
                                                                                                        </a:lnTo>
                                                                                                        <a:lnTo>
                                                                                                          <a:pt x="4" y="130"/>
                                                                                                        </a:lnTo>
                                                                                                        <a:lnTo>
                                                                                                          <a:pt x="4" y="126"/>
                                                                                                        </a:lnTo>
                                                                                                        <a:lnTo>
                                                                                                          <a:pt x="2" y="124"/>
                                                                                                        </a:lnTo>
                                                                                                        <a:lnTo>
                                                                                                          <a:pt x="4" y="122"/>
                                                                                                        </a:lnTo>
                                                                                                        <a:lnTo>
                                                                                                          <a:pt x="4" y="122"/>
                                                                                                        </a:lnTo>
                                                                                                        <a:lnTo>
                                                                                                          <a:pt x="6" y="118"/>
                                                                                                        </a:lnTo>
                                                                                                        <a:lnTo>
                                                                                                          <a:pt x="6" y="116"/>
                                                                                                        </a:lnTo>
                                                                                                        <a:lnTo>
                                                                                                          <a:pt x="8" y="114"/>
                                                                                                        </a:lnTo>
                                                                                                        <a:lnTo>
                                                                                                          <a:pt x="10" y="112"/>
                                                                                                        </a:lnTo>
                                                                                                        <a:lnTo>
                                                                                                          <a:pt x="10" y="112"/>
                                                                                                        </a:lnTo>
                                                                                                        <a:lnTo>
                                                                                                          <a:pt x="14" y="108"/>
                                                                                                        </a:lnTo>
                                                                                                        <a:lnTo>
                                                                                                          <a:pt x="16" y="104"/>
                                                                                                        </a:lnTo>
                                                                                                        <a:lnTo>
                                                                                                          <a:pt x="16" y="100"/>
                                                                                                        </a:lnTo>
                                                                                                        <a:lnTo>
                                                                                                          <a:pt x="14" y="98"/>
                                                                                                        </a:lnTo>
                                                                                                        <a:lnTo>
                                                                                                          <a:pt x="14" y="98"/>
                                                                                                        </a:lnTo>
                                                                                                        <a:lnTo>
                                                                                                          <a:pt x="14" y="96"/>
                                                                                                        </a:lnTo>
                                                                                                        <a:lnTo>
                                                                                                          <a:pt x="14" y="96"/>
                                                                                                        </a:lnTo>
                                                                                                        <a:lnTo>
                                                                                                          <a:pt x="16" y="94"/>
                                                                                                        </a:lnTo>
                                                                                                        <a:lnTo>
                                                                                                          <a:pt x="16" y="94"/>
                                                                                                        </a:lnTo>
                                                                                                        <a:lnTo>
                                                                                                          <a:pt x="18" y="92"/>
                                                                                                        </a:lnTo>
                                                                                                        <a:lnTo>
                                                                                                          <a:pt x="20" y="88"/>
                                                                                                        </a:lnTo>
                                                                                                        <a:lnTo>
                                                                                                          <a:pt x="20" y="84"/>
                                                                                                        </a:lnTo>
                                                                                                        <a:lnTo>
                                                                                                          <a:pt x="18" y="78"/>
                                                                                                        </a:lnTo>
                                                                                                        <a:lnTo>
                                                                                                          <a:pt x="18" y="78"/>
                                                                                                        </a:lnTo>
                                                                                                        <a:lnTo>
                                                                                                          <a:pt x="16" y="74"/>
                                                                                                        </a:lnTo>
                                                                                                        <a:lnTo>
                                                                                                          <a:pt x="16" y="70"/>
                                                                                                        </a:lnTo>
                                                                                                        <a:lnTo>
                                                                                                          <a:pt x="16" y="66"/>
                                                                                                        </a:lnTo>
                                                                                                        <a:lnTo>
                                                                                                          <a:pt x="14" y="64"/>
                                                                                                        </a:lnTo>
                                                                                                        <a:lnTo>
                                                                                                          <a:pt x="14" y="64"/>
                                                                                                        </a:lnTo>
                                                                                                        <a:lnTo>
                                                                                                          <a:pt x="12" y="62"/>
                                                                                                        </a:lnTo>
                                                                                                        <a:lnTo>
                                                                                                          <a:pt x="14" y="54"/>
                                                                                                        </a:lnTo>
                                                                                                        <a:lnTo>
                                                                                                          <a:pt x="14" y="54"/>
                                                                                                        </a:lnTo>
                                                                                                        <a:lnTo>
                                                                                                          <a:pt x="14" y="48"/>
                                                                                                        </a:lnTo>
                                                                                                        <a:lnTo>
                                                                                                          <a:pt x="14" y="40"/>
                                                                                                        </a:lnTo>
                                                                                                        <a:lnTo>
                                                                                                          <a:pt x="14" y="34"/>
                                                                                                        </a:lnTo>
                                                                                                        <a:lnTo>
                                                                                                          <a:pt x="14" y="30"/>
                                                                                                        </a:lnTo>
                                                                                                        <a:lnTo>
                                                                                                          <a:pt x="18" y="26"/>
                                                                                                        </a:lnTo>
                                                                                                        <a:lnTo>
                                                                                                          <a:pt x="18" y="26"/>
                                                                                                        </a:lnTo>
                                                                                                        <a:lnTo>
                                                                                                          <a:pt x="22" y="20"/>
                                                                                                        </a:lnTo>
                                                                                                        <a:lnTo>
                                                                                                          <a:pt x="24" y="16"/>
                                                                                                        </a:lnTo>
                                                                                                        <a:lnTo>
                                                                                                          <a:pt x="26" y="10"/>
                                                                                                        </a:lnTo>
                                                                                                        <a:lnTo>
                                                                                                          <a:pt x="32" y="4"/>
                                                                                                        </a:lnTo>
                                                                                                        <a:lnTo>
                                                                                                          <a:pt x="32" y="4"/>
                                                                                                        </a:lnTo>
                                                                                                        <a:lnTo>
                                                                                                          <a:pt x="40" y="0"/>
                                                                                                        </a:lnTo>
                                                                                                        <a:lnTo>
                                                                                                          <a:pt x="44" y="0"/>
                                                                                                        </a:lnTo>
                                                                                                        <a:lnTo>
                                                                                                          <a:pt x="48" y="0"/>
                                                                                                        </a:lnTo>
                                                                                                        <a:lnTo>
                                                                                                          <a:pt x="48" y="2"/>
                                                                                                        </a:lnTo>
                                                                                                        <a:lnTo>
                                                                                                          <a:pt x="48" y="2"/>
                                                                                                        </a:lnTo>
                                                                                                        <a:lnTo>
                                                                                                          <a:pt x="50" y="4"/>
                                                                                                        </a:lnTo>
                                                                                                        <a:lnTo>
                                                                                                          <a:pt x="52" y="4"/>
                                                                                                        </a:lnTo>
                                                                                                        <a:lnTo>
                                                                                                          <a:pt x="56" y="2"/>
                                                                                                        </a:lnTo>
                                                                                                        <a:lnTo>
                                                                                                          <a:pt x="60" y="2"/>
                                                                                                        </a:lnTo>
                                                                                                        <a:lnTo>
                                                                                                          <a:pt x="62" y="2"/>
                                                                                                        </a:lnTo>
                                                                                                        <a:lnTo>
                                                                                                          <a:pt x="66" y="2"/>
                                                                                                        </a:lnTo>
                                                                                                        <a:lnTo>
                                                                                                          <a:pt x="66" y="2"/>
                                                                                                        </a:lnTo>
                                                                                                        <a:lnTo>
                                                                                                          <a:pt x="70" y="6"/>
                                                                                                        </a:lnTo>
                                                                                                        <a:lnTo>
                                                                                                          <a:pt x="72" y="4"/>
                                                                                                        </a:lnTo>
                                                                                                        <a:lnTo>
                                                                                                          <a:pt x="74" y="6"/>
                                                                                                        </a:lnTo>
                                                                                                        <a:lnTo>
                                                                                                          <a:pt x="78" y="12"/>
                                                                                                        </a:lnTo>
                                                                                                        <a:lnTo>
                                                                                                          <a:pt x="78" y="12"/>
                                                                                                        </a:lnTo>
                                                                                                        <a:lnTo>
                                                                                                          <a:pt x="80" y="16"/>
                                                                                                        </a:lnTo>
                                                                                                        <a:lnTo>
                                                                                                          <a:pt x="84" y="16"/>
                                                                                                        </a:lnTo>
                                                                                                        <a:lnTo>
                                                                                                          <a:pt x="86" y="14"/>
                                                                                                        </a:lnTo>
                                                                                                        <a:lnTo>
                                                                                                          <a:pt x="90" y="16"/>
                                                                                                        </a:lnTo>
                                                                                                        <a:lnTo>
                                                                                                          <a:pt x="90" y="16"/>
                                                                                                        </a:lnTo>
                                                                                                        <a:lnTo>
                                                                                                          <a:pt x="92" y="16"/>
                                                                                                        </a:lnTo>
                                                                                                        <a:lnTo>
                                                                                                          <a:pt x="94" y="16"/>
                                                                                                        </a:lnTo>
                                                                                                        <a:lnTo>
                                                                                                          <a:pt x="96" y="12"/>
                                                                                                        </a:lnTo>
                                                                                                        <a:lnTo>
                                                                                                          <a:pt x="96" y="12"/>
                                                                                                        </a:lnTo>
                                                                                                        <a:lnTo>
                                                                                                          <a:pt x="98" y="12"/>
                                                                                                        </a:lnTo>
                                                                                                        <a:lnTo>
                                                                                                          <a:pt x="106" y="18"/>
                                                                                                        </a:lnTo>
                                                                                                        <a:lnTo>
                                                                                                          <a:pt x="106" y="18"/>
                                                                                                        </a:lnTo>
                                                                                                        <a:lnTo>
                                                                                                          <a:pt x="112" y="20"/>
                                                                                                        </a:lnTo>
                                                                                                        <a:lnTo>
                                                                                                          <a:pt x="124" y="24"/>
                                                                                                        </a:lnTo>
                                                                                                        <a:lnTo>
                                                                                                          <a:pt x="132" y="24"/>
                                                                                                        </a:lnTo>
                                                                                                        <a:lnTo>
                                                                                                          <a:pt x="138" y="24"/>
                                                                                                        </a:lnTo>
                                                                                                        <a:lnTo>
                                                                                                          <a:pt x="144" y="22"/>
                                                                                                        </a:lnTo>
                                                                                                        <a:lnTo>
                                                                                                          <a:pt x="148" y="18"/>
                                                                                                        </a:lnTo>
                                                                                                        <a:lnTo>
                                                                                                          <a:pt x="148" y="18"/>
                                                                                                        </a:lnTo>
                                                                                                        <a:lnTo>
                                                                                                          <a:pt x="150" y="16"/>
                                                                                                        </a:lnTo>
                                                                                                        <a:lnTo>
                                                                                                          <a:pt x="154" y="14"/>
                                                                                                        </a:lnTo>
                                                                                                        <a:lnTo>
                                                                                                          <a:pt x="166" y="10"/>
                                                                                                        </a:lnTo>
                                                                                                        <a:lnTo>
                                                                                                          <a:pt x="180" y="10"/>
                                                                                                        </a:lnTo>
                                                                                                        <a:lnTo>
                                                                                                          <a:pt x="196" y="12"/>
                                                                                                        </a:lnTo>
                                                                                                        <a:lnTo>
                                                                                                          <a:pt x="196" y="12"/>
                                                                                                        </a:lnTo>
                                                                                                        <a:lnTo>
                                                                                                          <a:pt x="204" y="14"/>
                                                                                                        </a:lnTo>
                                                                                                        <a:lnTo>
                                                                                                          <a:pt x="206" y="12"/>
                                                                                                        </a:lnTo>
                                                                                                        <a:lnTo>
                                                                                                          <a:pt x="204" y="12"/>
                                                                                                        </a:lnTo>
                                                                                                        <a:lnTo>
                                                                                                          <a:pt x="204" y="8"/>
                                                                                                        </a:lnTo>
                                                                                                        <a:lnTo>
                                                                                                          <a:pt x="206" y="6"/>
                                                                                                        </a:lnTo>
                                                                                                        <a:lnTo>
                                                                                                          <a:pt x="208" y="4"/>
                                                                                                        </a:lnTo>
                                                                                                        <a:lnTo>
                                                                                                          <a:pt x="216" y="4"/>
                                                                                                        </a:lnTo>
                                                                                                        <a:lnTo>
                                                                                                          <a:pt x="216" y="4"/>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baseline="-25000" dirty="0">
                                                                                                      <a:solidFill>
                                                                                                        <a:schemeClr val="tx1"/>
                                                                                                      </a:solidFill>
                                                                                                    </a:endParaRPr>
                                                                                                  </a:p>
                                                                                                </p:txBody>
                                                                                              </p:sp>
                                                                                              <p:sp>
                                                                                                <p:nvSpPr>
                                                                                                  <p:cNvPr id="759" name="Senegal"/>
                                                                                                  <p:cNvSpPr>
                                                                                                    <a:spLocks/>
                                                                                                  </p:cNvSpPr>
                                                                                                  <p:nvPr/>
                                                                                                </p:nvSpPr>
                                                                                                <p:spPr bwMode="auto">
                                                                                                  <a:xfrm>
                                                                                                    <a:off x="5225707" y="3041907"/>
                                                                                                    <a:ext cx="194409" cy="169951"/>
                                                                                                  </a:xfrm>
                                                                                                  <a:custGeom>
                                                                                                    <a:avLst/>
                                                                                                    <a:gdLst/>
                                                                                                    <a:ahLst/>
                                                                                                    <a:cxnLst>
                                                                                                      <a:cxn ang="0">
                                                                                                        <a:pos x="106" y="40"/>
                                                                                                      </a:cxn>
                                                                                                      <a:cxn ang="0">
                                                                                                        <a:pos x="102" y="32"/>
                                                                                                      </a:cxn>
                                                                                                      <a:cxn ang="0">
                                                                                                        <a:pos x="100" y="26"/>
                                                                                                      </a:cxn>
                                                                                                      <a:cxn ang="0">
                                                                                                        <a:pos x="96" y="22"/>
                                                                                                      </a:cxn>
                                                                                                      <a:cxn ang="0">
                                                                                                        <a:pos x="94" y="14"/>
                                                                                                      </a:cxn>
                                                                                                      <a:cxn ang="0">
                                                                                                        <a:pos x="88" y="14"/>
                                                                                                      </a:cxn>
                                                                                                      <a:cxn ang="0">
                                                                                                        <a:pos x="80" y="4"/>
                                                                                                      </a:cxn>
                                                                                                      <a:cxn ang="0">
                                                                                                        <a:pos x="72" y="2"/>
                                                                                                      </a:cxn>
                                                                                                      <a:cxn ang="0">
                                                                                                        <a:pos x="66" y="0"/>
                                                                                                      </a:cxn>
                                                                                                      <a:cxn ang="0">
                                                                                                        <a:pos x="62" y="0"/>
                                                                                                      </a:cxn>
                                                                                                      <a:cxn ang="0">
                                                                                                        <a:pos x="56" y="4"/>
                                                                                                      </a:cxn>
                                                                                                      <a:cxn ang="0">
                                                                                                        <a:pos x="50" y="4"/>
                                                                                                      </a:cxn>
                                                                                                      <a:cxn ang="0">
                                                                                                        <a:pos x="44" y="4"/>
                                                                                                      </a:cxn>
                                                                                                      <a:cxn ang="0">
                                                                                                        <a:pos x="38" y="2"/>
                                                                                                      </a:cxn>
                                                                                                      <a:cxn ang="0">
                                                                                                        <a:pos x="32" y="6"/>
                                                                                                      </a:cxn>
                                                                                                      <a:cxn ang="0">
                                                                                                        <a:pos x="20" y="30"/>
                                                                                                      </a:cxn>
                                                                                                      <a:cxn ang="0">
                                                                                                        <a:pos x="6" y="46"/>
                                                                                                      </a:cxn>
                                                                                                      <a:cxn ang="0">
                                                                                                        <a:pos x="4" y="54"/>
                                                                                                      </a:cxn>
                                                                                                      <a:cxn ang="0">
                                                                                                        <a:pos x="8" y="56"/>
                                                                                                      </a:cxn>
                                                                                                      <a:cxn ang="0">
                                                                                                        <a:pos x="10" y="60"/>
                                                                                                      </a:cxn>
                                                                                                      <a:cxn ang="0">
                                                                                                        <a:pos x="12" y="62"/>
                                                                                                      </a:cxn>
                                                                                                      <a:cxn ang="0">
                                                                                                        <a:pos x="18" y="66"/>
                                                                                                      </a:cxn>
                                                                                                      <a:cxn ang="0">
                                                                                                        <a:pos x="26" y="66"/>
                                                                                                      </a:cxn>
                                                                                                      <a:cxn ang="0">
                                                                                                        <a:pos x="18" y="68"/>
                                                                                                      </a:cxn>
                                                                                                      <a:cxn ang="0">
                                                                                                        <a:pos x="22" y="74"/>
                                                                                                      </a:cxn>
                                                                                                      <a:cxn ang="0">
                                                                                                        <a:pos x="22" y="78"/>
                                                                                                      </a:cxn>
                                                                                                      <a:cxn ang="0">
                                                                                                        <a:pos x="42" y="76"/>
                                                                                                      </a:cxn>
                                                                                                      <a:cxn ang="0">
                                                                                                        <a:pos x="46" y="74"/>
                                                                                                      </a:cxn>
                                                                                                      <a:cxn ang="0">
                                                                                                        <a:pos x="70" y="78"/>
                                                                                                      </a:cxn>
                                                                                                      <a:cxn ang="0">
                                                                                                        <a:pos x="84" y="80"/>
                                                                                                      </a:cxn>
                                                                                                      <a:cxn ang="0">
                                                                                                        <a:pos x="76" y="84"/>
                                                                                                      </a:cxn>
                                                                                                      <a:cxn ang="0">
                                                                                                        <a:pos x="54" y="84"/>
                                                                                                      </a:cxn>
                                                                                                      <a:cxn ang="0">
                                                                                                        <a:pos x="42" y="86"/>
                                                                                                      </a:cxn>
                                                                                                      <a:cxn ang="0">
                                                                                                        <a:pos x="34" y="90"/>
                                                                                                      </a:cxn>
                                                                                                      <a:cxn ang="0">
                                                                                                        <a:pos x="22" y="100"/>
                                                                                                      </a:cxn>
                                                                                                      <a:cxn ang="0">
                                                                                                        <a:pos x="24" y="102"/>
                                                                                                      </a:cxn>
                                                                                                      <a:cxn ang="0">
                                                                                                        <a:pos x="32" y="100"/>
                                                                                                      </a:cxn>
                                                                                                      <a:cxn ang="0">
                                                                                                        <a:pos x="38" y="98"/>
                                                                                                      </a:cxn>
                                                                                                      <a:cxn ang="0">
                                                                                                        <a:pos x="44" y="98"/>
                                                                                                      </a:cxn>
                                                                                                      <a:cxn ang="0">
                                                                                                        <a:pos x="52" y="98"/>
                                                                                                      </a:cxn>
                                                                                                      <a:cxn ang="0">
                                                                                                        <a:pos x="58" y="100"/>
                                                                                                      </a:cxn>
                                                                                                      <a:cxn ang="0">
                                                                                                        <a:pos x="52" y="102"/>
                                                                                                      </a:cxn>
                                                                                                      <a:cxn ang="0">
                                                                                                        <a:pos x="48" y="100"/>
                                                                                                      </a:cxn>
                                                                                                      <a:cxn ang="0">
                                                                                                        <a:pos x="44" y="100"/>
                                                                                                      </a:cxn>
                                                                                                      <a:cxn ang="0">
                                                                                                        <a:pos x="34" y="102"/>
                                                                                                      </a:cxn>
                                                                                                      <a:cxn ang="0">
                                                                                                        <a:pos x="28" y="102"/>
                                                                                                      </a:cxn>
                                                                                                      <a:cxn ang="0">
                                                                                                        <a:pos x="26" y="104"/>
                                                                                                      </a:cxn>
                                                                                                      <a:cxn ang="0">
                                                                                                        <a:pos x="24" y="112"/>
                                                                                                      </a:cxn>
                                                                                                      <a:cxn ang="0">
                                                                                                        <a:pos x="28" y="108"/>
                                                                                                      </a:cxn>
                                                                                                      <a:cxn ang="0">
                                                                                                        <a:pos x="38" y="106"/>
                                                                                                      </a:cxn>
                                                                                                      <a:cxn ang="0">
                                                                                                        <a:pos x="62" y="102"/>
                                                                                                      </a:cxn>
                                                                                                      <a:cxn ang="0">
                                                                                                        <a:pos x="78" y="104"/>
                                                                                                      </a:cxn>
                                                                                                      <a:cxn ang="0">
                                                                                                        <a:pos x="92" y="106"/>
                                                                                                      </a:cxn>
                                                                                                      <a:cxn ang="0">
                                                                                                        <a:pos x="102" y="106"/>
                                                                                                      </a:cxn>
                                                                                                      <a:cxn ang="0">
                                                                                                        <a:pos x="126" y="108"/>
                                                                                                      </a:cxn>
                                                                                                      <a:cxn ang="0">
                                                                                                        <a:pos x="128" y="92"/>
                                                                                                      </a:cxn>
                                                                                                      <a:cxn ang="0">
                                                                                                        <a:pos x="122" y="76"/>
                                                                                                      </a:cxn>
                                                                                                      <a:cxn ang="0">
                                                                                                        <a:pos x="116" y="74"/>
                                                                                                      </a:cxn>
                                                                                                      <a:cxn ang="0">
                                                                                                        <a:pos x="114" y="62"/>
                                                                                                      </a:cxn>
                                                                                                      <a:cxn ang="0">
                                                                                                        <a:pos x="112" y="50"/>
                                                                                                      </a:cxn>
                                                                                                    </a:cxnLst>
                                                                                                    <a:rect l="0" t="0" r="r" b="b"/>
                                                                                                    <a:pathLst>
                                                                                                      <a:path w="128" h="112">
                                                                                                        <a:moveTo>
                                                                                                          <a:pt x="112" y="44"/>
                                                                                                        </a:moveTo>
                                                                                                        <a:lnTo>
                                                                                                          <a:pt x="112" y="44"/>
                                                                                                        </a:lnTo>
                                                                                                        <a:lnTo>
                                                                                                          <a:pt x="106" y="40"/>
                                                                                                        </a:lnTo>
                                                                                                        <a:lnTo>
                                                                                                          <a:pt x="104" y="38"/>
                                                                                                        </a:lnTo>
                                                                                                        <a:lnTo>
                                                                                                          <a:pt x="104" y="36"/>
                                                                                                        </a:lnTo>
                                                                                                        <a:lnTo>
                                                                                                          <a:pt x="102" y="32"/>
                                                                                                        </a:lnTo>
                                                                                                        <a:lnTo>
                                                                                                          <a:pt x="102" y="32"/>
                                                                                                        </a:lnTo>
                                                                                                        <a:lnTo>
                                                                                                          <a:pt x="100" y="30"/>
                                                                                                        </a:lnTo>
                                                                                                        <a:lnTo>
                                                                                                          <a:pt x="100" y="26"/>
                                                                                                        </a:lnTo>
                                                                                                        <a:lnTo>
                                                                                                          <a:pt x="100" y="24"/>
                                                                                                        </a:lnTo>
                                                                                                        <a:lnTo>
                                                                                                          <a:pt x="96" y="22"/>
                                                                                                        </a:lnTo>
                                                                                                        <a:lnTo>
                                                                                                          <a:pt x="96" y="22"/>
                                                                                                        </a:lnTo>
                                                                                                        <a:lnTo>
                                                                                                          <a:pt x="94" y="20"/>
                                                                                                        </a:lnTo>
                                                                                                        <a:lnTo>
                                                                                                          <a:pt x="94" y="16"/>
                                                                                                        </a:lnTo>
                                                                                                        <a:lnTo>
                                                                                                          <a:pt x="94" y="14"/>
                                                                                                        </a:lnTo>
                                                                                                        <a:lnTo>
                                                                                                          <a:pt x="90" y="14"/>
                                                                                                        </a:lnTo>
                                                                                                        <a:lnTo>
                                                                                                          <a:pt x="90" y="14"/>
                                                                                                        </a:lnTo>
                                                                                                        <a:lnTo>
                                                                                                          <a:pt x="88" y="14"/>
                                                                                                        </a:lnTo>
                                                                                                        <a:lnTo>
                                                                                                          <a:pt x="86" y="12"/>
                                                                                                        </a:lnTo>
                                                                                                        <a:lnTo>
                                                                                                          <a:pt x="82" y="8"/>
                                                                                                        </a:lnTo>
                                                                                                        <a:lnTo>
                                                                                                          <a:pt x="80" y="4"/>
                                                                                                        </a:lnTo>
                                                                                                        <a:lnTo>
                                                                                                          <a:pt x="76" y="4"/>
                                                                                                        </a:lnTo>
                                                                                                        <a:lnTo>
                                                                                                          <a:pt x="72" y="2"/>
                                                                                                        </a:lnTo>
                                                                                                        <a:lnTo>
                                                                                                          <a:pt x="72" y="2"/>
                                                                                                        </a:lnTo>
                                                                                                        <a:lnTo>
                                                                                                          <a:pt x="68" y="2"/>
                                                                                                        </a:lnTo>
                                                                                                        <a:lnTo>
                                                                                                          <a:pt x="66" y="0"/>
                                                                                                        </a:lnTo>
                                                                                                        <a:lnTo>
                                                                                                          <a:pt x="66" y="0"/>
                                                                                                        </a:lnTo>
                                                                                                        <a:lnTo>
                                                                                                          <a:pt x="64" y="0"/>
                                                                                                        </a:lnTo>
                                                                                                        <a:lnTo>
                                                                                                          <a:pt x="64" y="0"/>
                                                                                                        </a:lnTo>
                                                                                                        <a:lnTo>
                                                                                                          <a:pt x="62" y="0"/>
                                                                                                        </a:lnTo>
                                                                                                        <a:lnTo>
                                                                                                          <a:pt x="60" y="2"/>
                                                                                                        </a:lnTo>
                                                                                                        <a:lnTo>
                                                                                                          <a:pt x="60" y="4"/>
                                                                                                        </a:lnTo>
                                                                                                        <a:lnTo>
                                                                                                          <a:pt x="56" y="4"/>
                                                                                                        </a:lnTo>
                                                                                                        <a:lnTo>
                                                                                                          <a:pt x="56" y="4"/>
                                                                                                        </a:lnTo>
                                                                                                        <a:lnTo>
                                                                                                          <a:pt x="52" y="4"/>
                                                                                                        </a:lnTo>
                                                                                                        <a:lnTo>
                                                                                                          <a:pt x="50" y="4"/>
                                                                                                        </a:lnTo>
                                                                                                        <a:lnTo>
                                                                                                          <a:pt x="50" y="4"/>
                                                                                                        </a:lnTo>
                                                                                                        <a:lnTo>
                                                                                                          <a:pt x="46" y="4"/>
                                                                                                        </a:lnTo>
                                                                                                        <a:lnTo>
                                                                                                          <a:pt x="44" y="4"/>
                                                                                                        </a:lnTo>
                                                                                                        <a:lnTo>
                                                                                                          <a:pt x="40" y="2"/>
                                                                                                        </a:lnTo>
                                                                                                        <a:lnTo>
                                                                                                          <a:pt x="40" y="2"/>
                                                                                                        </a:lnTo>
                                                                                                        <a:lnTo>
                                                                                                          <a:pt x="38" y="2"/>
                                                                                                        </a:lnTo>
                                                                                                        <a:lnTo>
                                                                                                          <a:pt x="36" y="2"/>
                                                                                                        </a:lnTo>
                                                                                                        <a:lnTo>
                                                                                                          <a:pt x="32" y="6"/>
                                                                                                        </a:lnTo>
                                                                                                        <a:lnTo>
                                                                                                          <a:pt x="32" y="6"/>
                                                                                                        </a:lnTo>
                                                                                                        <a:lnTo>
                                                                                                          <a:pt x="28" y="16"/>
                                                                                                        </a:lnTo>
                                                                                                        <a:lnTo>
                                                                                                          <a:pt x="20" y="30"/>
                                                                                                        </a:lnTo>
                                                                                                        <a:lnTo>
                                                                                                          <a:pt x="20" y="30"/>
                                                                                                        </a:lnTo>
                                                                                                        <a:lnTo>
                                                                                                          <a:pt x="12" y="42"/>
                                                                                                        </a:lnTo>
                                                                                                        <a:lnTo>
                                                                                                          <a:pt x="6" y="46"/>
                                                                                                        </a:lnTo>
                                                                                                        <a:lnTo>
                                                                                                          <a:pt x="6" y="46"/>
                                                                                                        </a:lnTo>
                                                                                                        <a:lnTo>
                                                                                                          <a:pt x="0" y="52"/>
                                                                                                        </a:lnTo>
                                                                                                        <a:lnTo>
                                                                                                          <a:pt x="0" y="52"/>
                                                                                                        </a:lnTo>
                                                                                                        <a:lnTo>
                                                                                                          <a:pt x="4" y="54"/>
                                                                                                        </a:lnTo>
                                                                                                        <a:lnTo>
                                                                                                          <a:pt x="4" y="54"/>
                                                                                                        </a:lnTo>
                                                                                                        <a:lnTo>
                                                                                                          <a:pt x="8" y="56"/>
                                                                                                        </a:lnTo>
                                                                                                        <a:lnTo>
                                                                                                          <a:pt x="8" y="56"/>
                                                                                                        </a:lnTo>
                                                                                                        <a:lnTo>
                                                                                                          <a:pt x="6" y="58"/>
                                                                                                        </a:lnTo>
                                                                                                        <a:lnTo>
                                                                                                          <a:pt x="10" y="60"/>
                                                                                                        </a:lnTo>
                                                                                                        <a:lnTo>
                                                                                                          <a:pt x="10" y="60"/>
                                                                                                        </a:lnTo>
                                                                                                        <a:lnTo>
                                                                                                          <a:pt x="14" y="62"/>
                                                                                                        </a:lnTo>
                                                                                                        <a:lnTo>
                                                                                                          <a:pt x="14" y="62"/>
                                                                                                        </a:lnTo>
                                                                                                        <a:lnTo>
                                                                                                          <a:pt x="12" y="62"/>
                                                                                                        </a:lnTo>
                                                                                                        <a:lnTo>
                                                                                                          <a:pt x="14" y="66"/>
                                                                                                        </a:lnTo>
                                                                                                        <a:lnTo>
                                                                                                          <a:pt x="14" y="66"/>
                                                                                                        </a:lnTo>
                                                                                                        <a:lnTo>
                                                                                                          <a:pt x="18" y="66"/>
                                                                                                        </a:lnTo>
                                                                                                        <a:lnTo>
                                                                                                          <a:pt x="20" y="66"/>
                                                                                                        </a:lnTo>
                                                                                                        <a:lnTo>
                                                                                                          <a:pt x="22" y="64"/>
                                                                                                        </a:lnTo>
                                                                                                        <a:lnTo>
                                                                                                          <a:pt x="26" y="66"/>
                                                                                                        </a:lnTo>
                                                                                                        <a:lnTo>
                                                                                                          <a:pt x="26" y="66"/>
                                                                                                        </a:lnTo>
                                                                                                        <a:lnTo>
                                                                                                          <a:pt x="20" y="66"/>
                                                                                                        </a:lnTo>
                                                                                                        <a:lnTo>
                                                                                                          <a:pt x="18" y="68"/>
                                                                                                        </a:lnTo>
                                                                                                        <a:lnTo>
                                                                                                          <a:pt x="20" y="70"/>
                                                                                                        </a:lnTo>
                                                                                                        <a:lnTo>
                                                                                                          <a:pt x="20" y="70"/>
                                                                                                        </a:lnTo>
                                                                                                        <a:lnTo>
                                                                                                          <a:pt x="22" y="74"/>
                                                                                                        </a:lnTo>
                                                                                                        <a:lnTo>
                                                                                                          <a:pt x="22" y="74"/>
                                                                                                        </a:lnTo>
                                                                                                        <a:lnTo>
                                                                                                          <a:pt x="20" y="76"/>
                                                                                                        </a:lnTo>
                                                                                                        <a:lnTo>
                                                                                                          <a:pt x="22" y="78"/>
                                                                                                        </a:lnTo>
                                                                                                        <a:lnTo>
                                                                                                          <a:pt x="22" y="78"/>
                                                                                                        </a:lnTo>
                                                                                                        <a:lnTo>
                                                                                                          <a:pt x="38" y="76"/>
                                                                                                        </a:lnTo>
                                                                                                        <a:lnTo>
                                                                                                          <a:pt x="42" y="76"/>
                                                                                                        </a:lnTo>
                                                                                                        <a:lnTo>
                                                                                                          <a:pt x="42" y="74"/>
                                                                                                        </a:lnTo>
                                                                                                        <a:lnTo>
                                                                                                          <a:pt x="46" y="74"/>
                                                                                                        </a:lnTo>
                                                                                                        <a:lnTo>
                                                                                                          <a:pt x="46" y="74"/>
                                                                                                        </a:lnTo>
                                                                                                        <a:lnTo>
                                                                                                          <a:pt x="52" y="74"/>
                                                                                                        </a:lnTo>
                                                                                                        <a:lnTo>
                                                                                                          <a:pt x="60" y="76"/>
                                                                                                        </a:lnTo>
                                                                                                        <a:lnTo>
                                                                                                          <a:pt x="70" y="78"/>
                                                                                                        </a:lnTo>
                                                                                                        <a:lnTo>
                                                                                                          <a:pt x="78" y="80"/>
                                                                                                        </a:lnTo>
                                                                                                        <a:lnTo>
                                                                                                          <a:pt x="78" y="80"/>
                                                                                                        </a:lnTo>
                                                                                                        <a:lnTo>
                                                                                                          <a:pt x="84" y="80"/>
                                                                                                        </a:lnTo>
                                                                                                        <a:lnTo>
                                                                                                          <a:pt x="84" y="80"/>
                                                                                                        </a:lnTo>
                                                                                                        <a:lnTo>
                                                                                                          <a:pt x="76" y="84"/>
                                                                                                        </a:lnTo>
                                                                                                        <a:lnTo>
                                                                                                          <a:pt x="76" y="84"/>
                                                                                                        </a:lnTo>
                                                                                                        <a:lnTo>
                                                                                                          <a:pt x="66" y="84"/>
                                                                                                        </a:lnTo>
                                                                                                        <a:lnTo>
                                                                                                          <a:pt x="60" y="84"/>
                                                                                                        </a:lnTo>
                                                                                                        <a:lnTo>
                                                                                                          <a:pt x="54" y="84"/>
                                                                                                        </a:lnTo>
                                                                                                        <a:lnTo>
                                                                                                          <a:pt x="50" y="84"/>
                                                                                                        </a:lnTo>
                                                                                                        <a:lnTo>
                                                                                                          <a:pt x="50" y="84"/>
                                                                                                        </a:lnTo>
                                                                                                        <a:lnTo>
                                                                                                          <a:pt x="42" y="86"/>
                                                                                                        </a:lnTo>
                                                                                                        <a:lnTo>
                                                                                                          <a:pt x="38" y="88"/>
                                                                                                        </a:lnTo>
                                                                                                        <a:lnTo>
                                                                                                          <a:pt x="38" y="88"/>
                                                                                                        </a:lnTo>
                                                                                                        <a:lnTo>
                                                                                                          <a:pt x="34" y="90"/>
                                                                                                        </a:lnTo>
                                                                                                        <a:lnTo>
                                                                                                          <a:pt x="24" y="92"/>
                                                                                                        </a:lnTo>
                                                                                                        <a:lnTo>
                                                                                                          <a:pt x="24" y="92"/>
                                                                                                        </a:lnTo>
                                                                                                        <a:lnTo>
                                                                                                          <a:pt x="22" y="100"/>
                                                                                                        </a:lnTo>
                                                                                                        <a:lnTo>
                                                                                                          <a:pt x="22" y="102"/>
                                                                                                        </a:lnTo>
                                                                                                        <a:lnTo>
                                                                                                          <a:pt x="24" y="102"/>
                                                                                                        </a:lnTo>
                                                                                                        <a:lnTo>
                                                                                                          <a:pt x="24" y="102"/>
                                                                                                        </a:lnTo>
                                                                                                        <a:lnTo>
                                                                                                          <a:pt x="28" y="100"/>
                                                                                                        </a:lnTo>
                                                                                                        <a:lnTo>
                                                                                                          <a:pt x="30" y="98"/>
                                                                                                        </a:lnTo>
                                                                                                        <a:lnTo>
                                                                                                          <a:pt x="32" y="100"/>
                                                                                                        </a:lnTo>
                                                                                                        <a:lnTo>
                                                                                                          <a:pt x="34" y="100"/>
                                                                                                        </a:lnTo>
                                                                                                        <a:lnTo>
                                                                                                          <a:pt x="34" y="100"/>
                                                                                                        </a:lnTo>
                                                                                                        <a:lnTo>
                                                                                                          <a:pt x="38" y="98"/>
                                                                                                        </a:lnTo>
                                                                                                        <a:lnTo>
                                                                                                          <a:pt x="40" y="98"/>
                                                                                                        </a:lnTo>
                                                                                                        <a:lnTo>
                                                                                                          <a:pt x="42" y="98"/>
                                                                                                        </a:lnTo>
                                                                                                        <a:lnTo>
                                                                                                          <a:pt x="44" y="98"/>
                                                                                                        </a:lnTo>
                                                                                                        <a:lnTo>
                                                                                                          <a:pt x="44" y="98"/>
                                                                                                        </a:lnTo>
                                                                                                        <a:lnTo>
                                                                                                          <a:pt x="48" y="98"/>
                                                                                                        </a:lnTo>
                                                                                                        <a:lnTo>
                                                                                                          <a:pt x="52" y="98"/>
                                                                                                        </a:lnTo>
                                                                                                        <a:lnTo>
                                                                                                          <a:pt x="54" y="100"/>
                                                                                                        </a:lnTo>
                                                                                                        <a:lnTo>
                                                                                                          <a:pt x="58" y="100"/>
                                                                                                        </a:lnTo>
                                                                                                        <a:lnTo>
                                                                                                          <a:pt x="58" y="100"/>
                                                                                                        </a:lnTo>
                                                                                                        <a:lnTo>
                                                                                                          <a:pt x="56" y="100"/>
                                                                                                        </a:lnTo>
                                                                                                        <a:lnTo>
                                                                                                          <a:pt x="54" y="102"/>
                                                                                                        </a:lnTo>
                                                                                                        <a:lnTo>
                                                                                                          <a:pt x="52" y="102"/>
                                                                                                        </a:lnTo>
                                                                                                        <a:lnTo>
                                                                                                          <a:pt x="52" y="102"/>
                                                                                                        </a:lnTo>
                                                                                                        <a:lnTo>
                                                                                                          <a:pt x="48" y="100"/>
                                                                                                        </a:lnTo>
                                                                                                        <a:lnTo>
                                                                                                          <a:pt x="48" y="100"/>
                                                                                                        </a:lnTo>
                                                                                                        <a:lnTo>
                                                                                                          <a:pt x="46" y="100"/>
                                                                                                        </a:lnTo>
                                                                                                        <a:lnTo>
                                                                                                          <a:pt x="44" y="100"/>
                                                                                                        </a:lnTo>
                                                                                                        <a:lnTo>
                                                                                                          <a:pt x="44" y="100"/>
                                                                                                        </a:lnTo>
                                                                                                        <a:lnTo>
                                                                                                          <a:pt x="38" y="100"/>
                                                                                                        </a:lnTo>
                                                                                                        <a:lnTo>
                                                                                                          <a:pt x="36" y="102"/>
                                                                                                        </a:lnTo>
                                                                                                        <a:lnTo>
                                                                                                          <a:pt x="34" y="102"/>
                                                                                                        </a:lnTo>
                                                                                                        <a:lnTo>
                                                                                                          <a:pt x="34" y="102"/>
                                                                                                        </a:lnTo>
                                                                                                        <a:lnTo>
                                                                                                          <a:pt x="28" y="102"/>
                                                                                                        </a:lnTo>
                                                                                                        <a:lnTo>
                                                                                                          <a:pt x="28" y="102"/>
                                                                                                        </a:lnTo>
                                                                                                        <a:lnTo>
                                                                                                          <a:pt x="28" y="104"/>
                                                                                                        </a:lnTo>
                                                                                                        <a:lnTo>
                                                                                                          <a:pt x="26" y="104"/>
                                                                                                        </a:lnTo>
                                                                                                        <a:lnTo>
                                                                                                          <a:pt x="26" y="104"/>
                                                                                                        </a:lnTo>
                                                                                                        <a:lnTo>
                                                                                                          <a:pt x="22" y="106"/>
                                                                                                        </a:lnTo>
                                                                                                        <a:lnTo>
                                                                                                          <a:pt x="22" y="108"/>
                                                                                                        </a:lnTo>
                                                                                                        <a:lnTo>
                                                                                                          <a:pt x="24" y="112"/>
                                                                                                        </a:lnTo>
                                                                                                        <a:lnTo>
                                                                                                          <a:pt x="24" y="112"/>
                                                                                                        </a:lnTo>
                                                                                                        <a:lnTo>
                                                                                                          <a:pt x="28" y="110"/>
                                                                                                        </a:lnTo>
                                                                                                        <a:lnTo>
                                                                                                          <a:pt x="28" y="108"/>
                                                                                                        </a:lnTo>
                                                                                                        <a:lnTo>
                                                                                                          <a:pt x="30" y="106"/>
                                                                                                        </a:lnTo>
                                                                                                        <a:lnTo>
                                                                                                          <a:pt x="38" y="106"/>
                                                                                                        </a:lnTo>
                                                                                                        <a:lnTo>
                                                                                                          <a:pt x="38" y="106"/>
                                                                                                        </a:lnTo>
                                                                                                        <a:lnTo>
                                                                                                          <a:pt x="50" y="104"/>
                                                                                                        </a:lnTo>
                                                                                                        <a:lnTo>
                                                                                                          <a:pt x="56" y="102"/>
                                                                                                        </a:lnTo>
                                                                                                        <a:lnTo>
                                                                                                          <a:pt x="62" y="102"/>
                                                                                                        </a:lnTo>
                                                                                                        <a:lnTo>
                                                                                                          <a:pt x="62" y="102"/>
                                                                                                        </a:lnTo>
                                                                                                        <a:lnTo>
                                                                                                          <a:pt x="78" y="104"/>
                                                                                                        </a:lnTo>
                                                                                                        <a:lnTo>
                                                                                                          <a:pt x="78" y="104"/>
                                                                                                        </a:lnTo>
                                                                                                        <a:lnTo>
                                                                                                          <a:pt x="84" y="104"/>
                                                                                                        </a:lnTo>
                                                                                                        <a:lnTo>
                                                                                                          <a:pt x="88" y="106"/>
                                                                                                        </a:lnTo>
                                                                                                        <a:lnTo>
                                                                                                          <a:pt x="92" y="106"/>
                                                                                                        </a:lnTo>
                                                                                                        <a:lnTo>
                                                                                                          <a:pt x="96" y="106"/>
                                                                                                        </a:lnTo>
                                                                                                        <a:lnTo>
                                                                                                          <a:pt x="96" y="106"/>
                                                                                                        </a:lnTo>
                                                                                                        <a:lnTo>
                                                                                                          <a:pt x="102" y="106"/>
                                                                                                        </a:lnTo>
                                                                                                        <a:lnTo>
                                                                                                          <a:pt x="108" y="108"/>
                                                                                                        </a:lnTo>
                                                                                                        <a:lnTo>
                                                                                                          <a:pt x="114" y="108"/>
                                                                                                        </a:lnTo>
                                                                                                        <a:lnTo>
                                                                                                          <a:pt x="126" y="108"/>
                                                                                                        </a:lnTo>
                                                                                                        <a:lnTo>
                                                                                                          <a:pt x="126" y="108"/>
                                                                                                        </a:lnTo>
                                                                                                        <a:lnTo>
                                                                                                          <a:pt x="128" y="102"/>
                                                                                                        </a:lnTo>
                                                                                                        <a:lnTo>
                                                                                                          <a:pt x="128" y="92"/>
                                                                                                        </a:lnTo>
                                                                                                        <a:lnTo>
                                                                                                          <a:pt x="126" y="84"/>
                                                                                                        </a:lnTo>
                                                                                                        <a:lnTo>
                                                                                                          <a:pt x="122" y="76"/>
                                                                                                        </a:lnTo>
                                                                                                        <a:lnTo>
                                                                                                          <a:pt x="122" y="76"/>
                                                                                                        </a:lnTo>
                                                                                                        <a:lnTo>
                                                                                                          <a:pt x="120" y="78"/>
                                                                                                        </a:lnTo>
                                                                                                        <a:lnTo>
                                                                                                          <a:pt x="118" y="78"/>
                                                                                                        </a:lnTo>
                                                                                                        <a:lnTo>
                                                                                                          <a:pt x="116" y="74"/>
                                                                                                        </a:lnTo>
                                                                                                        <a:lnTo>
                                                                                                          <a:pt x="114" y="68"/>
                                                                                                        </a:lnTo>
                                                                                                        <a:lnTo>
                                                                                                          <a:pt x="114" y="62"/>
                                                                                                        </a:lnTo>
                                                                                                        <a:lnTo>
                                                                                                          <a:pt x="114" y="62"/>
                                                                                                        </a:lnTo>
                                                                                                        <a:lnTo>
                                                                                                          <a:pt x="116" y="54"/>
                                                                                                        </a:lnTo>
                                                                                                        <a:lnTo>
                                                                                                          <a:pt x="114" y="52"/>
                                                                                                        </a:lnTo>
                                                                                                        <a:lnTo>
                                                                                                          <a:pt x="112" y="50"/>
                                                                                                        </a:lnTo>
                                                                                                        <a:lnTo>
                                                                                                          <a:pt x="112" y="44"/>
                                                                                                        </a:lnTo>
                                                                                                        <a:lnTo>
                                                                                                          <a:pt x="112" y="44"/>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baseline="-25000" dirty="0">
                                                                                                      <a:solidFill>
                                                                                                        <a:schemeClr val="tx1"/>
                                                                                                      </a:solidFill>
                                                                                                    </a:endParaRPr>
                                                                                                  </a:p>
                                                                                                </p:txBody>
                                                                                              </p:sp>
                                                                                              <p:sp>
                                                                                                <p:nvSpPr>
                                                                                                  <p:cNvPr id="761" name="Sierra Leone Liberia"/>
                                                                                                  <p:cNvSpPr>
                                                                                                    <a:spLocks/>
                                                                                                  </p:cNvSpPr>
                                                                                                  <p:nvPr/>
                                                                                                </p:nvSpPr>
                                                                                                <p:spPr bwMode="auto">
                                                                                                  <a:xfrm>
                                                                                                    <a:off x="5413872" y="3357529"/>
                                                                                                    <a:ext cx="136694" cy="151742"/>
                                                                                                  </a:xfrm>
                                                                                                  <a:custGeom>
                                                                                                    <a:avLst/>
                                                                                                    <a:gdLst/>
                                                                                                    <a:ahLst/>
                                                                                                    <a:cxnLst>
                                                                                                      <a:cxn ang="0">
                                                                                                        <a:pos x="82" y="100"/>
                                                                                                      </a:cxn>
                                                                                                      <a:cxn ang="0">
                                                                                                        <a:pos x="82" y="86"/>
                                                                                                      </a:cxn>
                                                                                                      <a:cxn ang="0">
                                                                                                        <a:pos x="86" y="82"/>
                                                                                                      </a:cxn>
                                                                                                      <a:cxn ang="0">
                                                                                                        <a:pos x="90" y="78"/>
                                                                                                      </a:cxn>
                                                                                                      <a:cxn ang="0">
                                                                                                        <a:pos x="88" y="74"/>
                                                                                                      </a:cxn>
                                                                                                      <a:cxn ang="0">
                                                                                                        <a:pos x="88" y="66"/>
                                                                                                      </a:cxn>
                                                                                                      <a:cxn ang="0">
                                                                                                        <a:pos x="82" y="64"/>
                                                                                                      </a:cxn>
                                                                                                      <a:cxn ang="0">
                                                                                                        <a:pos x="76" y="60"/>
                                                                                                      </a:cxn>
                                                                                                      <a:cxn ang="0">
                                                                                                        <a:pos x="74" y="58"/>
                                                                                                      </a:cxn>
                                                                                                      <a:cxn ang="0">
                                                                                                        <a:pos x="70" y="58"/>
                                                                                                      </a:cxn>
                                                                                                      <a:cxn ang="0">
                                                                                                        <a:pos x="66" y="56"/>
                                                                                                      </a:cxn>
                                                                                                      <a:cxn ang="0">
                                                                                                        <a:pos x="68" y="44"/>
                                                                                                      </a:cxn>
                                                                                                      <a:cxn ang="0">
                                                                                                        <a:pos x="68" y="40"/>
                                                                                                      </a:cxn>
                                                                                                      <a:cxn ang="0">
                                                                                                        <a:pos x="68" y="34"/>
                                                                                                      </a:cxn>
                                                                                                      <a:cxn ang="0">
                                                                                                        <a:pos x="66" y="26"/>
                                                                                                      </a:cxn>
                                                                                                      <a:cxn ang="0">
                                                                                                        <a:pos x="64" y="24"/>
                                                                                                      </a:cxn>
                                                                                                      <a:cxn ang="0">
                                                                                                        <a:pos x="60" y="26"/>
                                                                                                      </a:cxn>
                                                                                                      <a:cxn ang="0">
                                                                                                        <a:pos x="58" y="30"/>
                                                                                                      </a:cxn>
                                                                                                      <a:cxn ang="0">
                                                                                                        <a:pos x="50" y="30"/>
                                                                                                      </a:cxn>
                                                                                                      <a:cxn ang="0">
                                                                                                        <a:pos x="48" y="28"/>
                                                                                                      </a:cxn>
                                                                                                      <a:cxn ang="0">
                                                                                                        <a:pos x="50" y="22"/>
                                                                                                      </a:cxn>
                                                                                                      <a:cxn ang="0">
                                                                                                        <a:pos x="46" y="12"/>
                                                                                                      </a:cxn>
                                                                                                      <a:cxn ang="0">
                                                                                                        <a:pos x="38" y="0"/>
                                                                                                      </a:cxn>
                                                                                                      <a:cxn ang="0">
                                                                                                        <a:pos x="24" y="4"/>
                                                                                                      </a:cxn>
                                                                                                      <a:cxn ang="0">
                                                                                                        <a:pos x="24" y="6"/>
                                                                                                      </a:cxn>
                                                                                                      <a:cxn ang="0">
                                                                                                        <a:pos x="22" y="12"/>
                                                                                                      </a:cxn>
                                                                                                      <a:cxn ang="0">
                                                                                                        <a:pos x="16" y="20"/>
                                                                                                      </a:cxn>
                                                                                                      <a:cxn ang="0">
                                                                                                        <a:pos x="0" y="34"/>
                                                                                                      </a:cxn>
                                                                                                      <a:cxn ang="0">
                                                                                                        <a:pos x="2" y="38"/>
                                                                                                      </a:cxn>
                                                                                                      <a:cxn ang="0">
                                                                                                        <a:pos x="8" y="42"/>
                                                                                                      </a:cxn>
                                                                                                      <a:cxn ang="0">
                                                                                                        <a:pos x="4" y="44"/>
                                                                                                      </a:cxn>
                                                                                                      <a:cxn ang="0">
                                                                                                        <a:pos x="8" y="46"/>
                                                                                                      </a:cxn>
                                                                                                      <a:cxn ang="0">
                                                                                                        <a:pos x="16" y="52"/>
                                                                                                      </a:cxn>
                                                                                                      <a:cxn ang="0">
                                                                                                        <a:pos x="22" y="56"/>
                                                                                                      </a:cxn>
                                                                                                      <a:cxn ang="0">
                                                                                                        <a:pos x="22" y="58"/>
                                                                                                      </a:cxn>
                                                                                                      <a:cxn ang="0">
                                                                                                        <a:pos x="26" y="64"/>
                                                                                                      </a:cxn>
                                                                                                      <a:cxn ang="0">
                                                                                                        <a:pos x="34" y="70"/>
                                                                                                      </a:cxn>
                                                                                                      <a:cxn ang="0">
                                                                                                        <a:pos x="44" y="78"/>
                                                                                                      </a:cxn>
                                                                                                      <a:cxn ang="0">
                                                                                                        <a:pos x="50" y="84"/>
                                                                                                      </a:cxn>
                                                                                                      <a:cxn ang="0">
                                                                                                        <a:pos x="54" y="86"/>
                                                                                                      </a:cxn>
                                                                                                      <a:cxn ang="0">
                                                                                                        <a:pos x="54" y="88"/>
                                                                                                      </a:cxn>
                                                                                                      <a:cxn ang="0">
                                                                                                        <a:pos x="58" y="90"/>
                                                                                                      </a:cxn>
                                                                                                      <a:cxn ang="0">
                                                                                                        <a:pos x="72" y="98"/>
                                                                                                      </a:cxn>
                                                                                                      <a:cxn ang="0">
                                                                                                        <a:pos x="82" y="100"/>
                                                                                                      </a:cxn>
                                                                                                    </a:cxnLst>
                                                                                                    <a:rect l="0" t="0" r="r" b="b"/>
                                                                                                    <a:pathLst>
                                                                                                      <a:path w="90" h="100">
                                                                                                        <a:moveTo>
                                                                                                          <a:pt x="82" y="100"/>
                                                                                                        </a:moveTo>
                                                                                                        <a:lnTo>
                                                                                                          <a:pt x="82" y="100"/>
                                                                                                        </a:lnTo>
                                                                                                        <a:lnTo>
                                                                                                          <a:pt x="82" y="92"/>
                                                                                                        </a:lnTo>
                                                                                                        <a:lnTo>
                                                                                                          <a:pt x="82" y="86"/>
                                                                                                        </a:lnTo>
                                                                                                        <a:lnTo>
                                                                                                          <a:pt x="84" y="82"/>
                                                                                                        </a:lnTo>
                                                                                                        <a:lnTo>
                                                                                                          <a:pt x="86" y="82"/>
                                                                                                        </a:lnTo>
                                                                                                        <a:lnTo>
                                                                                                          <a:pt x="90" y="80"/>
                                                                                                        </a:lnTo>
                                                                                                        <a:lnTo>
                                                                                                          <a:pt x="90" y="78"/>
                                                                                                        </a:lnTo>
                                                                                                        <a:lnTo>
                                                                                                          <a:pt x="88" y="74"/>
                                                                                                        </a:lnTo>
                                                                                                        <a:lnTo>
                                                                                                          <a:pt x="88" y="74"/>
                                                                                                        </a:lnTo>
                                                                                                        <a:lnTo>
                                                                                                          <a:pt x="88" y="70"/>
                                                                                                        </a:lnTo>
                                                                                                        <a:lnTo>
                                                                                                          <a:pt x="88" y="66"/>
                                                                                                        </a:lnTo>
                                                                                                        <a:lnTo>
                                                                                                          <a:pt x="88" y="66"/>
                                                                                                        </a:lnTo>
                                                                                                        <a:lnTo>
                                                                                                          <a:pt x="82" y="64"/>
                                                                                                        </a:lnTo>
                                                                                                        <a:lnTo>
                                                                                                          <a:pt x="82" y="64"/>
                                                                                                        </a:lnTo>
                                                                                                        <a:lnTo>
                                                                                                          <a:pt x="76" y="60"/>
                                                                                                        </a:lnTo>
                                                                                                        <a:lnTo>
                                                                                                          <a:pt x="74" y="58"/>
                                                                                                        </a:lnTo>
                                                                                                        <a:lnTo>
                                                                                                          <a:pt x="74" y="58"/>
                                                                                                        </a:lnTo>
                                                                                                        <a:lnTo>
                                                                                                          <a:pt x="70" y="58"/>
                                                                                                        </a:lnTo>
                                                                                                        <a:lnTo>
                                                                                                          <a:pt x="70" y="58"/>
                                                                                                        </a:lnTo>
                                                                                                        <a:lnTo>
                                                                                                          <a:pt x="68" y="56"/>
                                                                                                        </a:lnTo>
                                                                                                        <a:lnTo>
                                                                                                          <a:pt x="66" y="56"/>
                                                                                                        </a:lnTo>
                                                                                                        <a:lnTo>
                                                                                                          <a:pt x="66" y="50"/>
                                                                                                        </a:lnTo>
                                                                                                        <a:lnTo>
                                                                                                          <a:pt x="68" y="44"/>
                                                                                                        </a:lnTo>
                                                                                                        <a:lnTo>
                                                                                                          <a:pt x="68" y="40"/>
                                                                                                        </a:lnTo>
                                                                                                        <a:lnTo>
                                                                                                          <a:pt x="68" y="40"/>
                                                                                                        </a:lnTo>
                                                                                                        <a:lnTo>
                                                                                                          <a:pt x="68" y="38"/>
                                                                                                        </a:lnTo>
                                                                                                        <a:lnTo>
                                                                                                          <a:pt x="68" y="34"/>
                                                                                                        </a:lnTo>
                                                                                                        <a:lnTo>
                                                                                                          <a:pt x="68" y="32"/>
                                                                                                        </a:lnTo>
                                                                                                        <a:lnTo>
                                                                                                          <a:pt x="66" y="26"/>
                                                                                                        </a:lnTo>
                                                                                                        <a:lnTo>
                                                                                                          <a:pt x="66" y="26"/>
                                                                                                        </a:lnTo>
                                                                                                        <a:lnTo>
                                                                                                          <a:pt x="64" y="24"/>
                                                                                                        </a:lnTo>
                                                                                                        <a:lnTo>
                                                                                                          <a:pt x="62" y="22"/>
                                                                                                        </a:lnTo>
                                                                                                        <a:lnTo>
                                                                                                          <a:pt x="60" y="26"/>
                                                                                                        </a:lnTo>
                                                                                                        <a:lnTo>
                                                                                                          <a:pt x="60" y="26"/>
                                                                                                        </a:lnTo>
                                                                                                        <a:lnTo>
                                                                                                          <a:pt x="58" y="30"/>
                                                                                                        </a:lnTo>
                                                                                                        <a:lnTo>
                                                                                                          <a:pt x="54" y="30"/>
                                                                                                        </a:lnTo>
                                                                                                        <a:lnTo>
                                                                                                          <a:pt x="50" y="30"/>
                                                                                                        </a:lnTo>
                                                                                                        <a:lnTo>
                                                                                                          <a:pt x="50" y="30"/>
                                                                                                        </a:lnTo>
                                                                                                        <a:lnTo>
                                                                                                          <a:pt x="48" y="28"/>
                                                                                                        </a:lnTo>
                                                                                                        <a:lnTo>
                                                                                                          <a:pt x="48" y="26"/>
                                                                                                        </a:lnTo>
                                                                                                        <a:lnTo>
                                                                                                          <a:pt x="50" y="22"/>
                                                                                                        </a:lnTo>
                                                                                                        <a:lnTo>
                                                                                                          <a:pt x="46" y="12"/>
                                                                                                        </a:lnTo>
                                                                                                        <a:lnTo>
                                                                                                          <a:pt x="46" y="12"/>
                                                                                                        </a:lnTo>
                                                                                                        <a:lnTo>
                                                                                                          <a:pt x="42" y="4"/>
                                                                                                        </a:lnTo>
                                                                                                        <a:lnTo>
                                                                                                          <a:pt x="38" y="0"/>
                                                                                                        </a:lnTo>
                                                                                                        <a:lnTo>
                                                                                                          <a:pt x="32" y="0"/>
                                                                                                        </a:lnTo>
                                                                                                        <a:lnTo>
                                                                                                          <a:pt x="24" y="4"/>
                                                                                                        </a:lnTo>
                                                                                                        <a:lnTo>
                                                                                                          <a:pt x="24" y="4"/>
                                                                                                        </a:lnTo>
                                                                                                        <a:lnTo>
                                                                                                          <a:pt x="24" y="6"/>
                                                                                                        </a:lnTo>
                                                                                                        <a:lnTo>
                                                                                                          <a:pt x="24" y="8"/>
                                                                                                        </a:lnTo>
                                                                                                        <a:lnTo>
                                                                                                          <a:pt x="22" y="12"/>
                                                                                                        </a:lnTo>
                                                                                                        <a:lnTo>
                                                                                                          <a:pt x="16" y="20"/>
                                                                                                        </a:lnTo>
                                                                                                        <a:lnTo>
                                                                                                          <a:pt x="16" y="20"/>
                                                                                                        </a:lnTo>
                                                                                                        <a:lnTo>
                                                                                                          <a:pt x="2" y="32"/>
                                                                                                        </a:lnTo>
                                                                                                        <a:lnTo>
                                                                                                          <a:pt x="0" y="34"/>
                                                                                                        </a:lnTo>
                                                                                                        <a:lnTo>
                                                                                                          <a:pt x="2" y="38"/>
                                                                                                        </a:lnTo>
                                                                                                        <a:lnTo>
                                                                                                          <a:pt x="2" y="38"/>
                                                                                                        </a:lnTo>
                                                                                                        <a:lnTo>
                                                                                                          <a:pt x="8" y="42"/>
                                                                                                        </a:lnTo>
                                                                                                        <a:lnTo>
                                                                                                          <a:pt x="8" y="42"/>
                                                                                                        </a:lnTo>
                                                                                                        <a:lnTo>
                                                                                                          <a:pt x="6" y="44"/>
                                                                                                        </a:lnTo>
                                                                                                        <a:lnTo>
                                                                                                          <a:pt x="4" y="44"/>
                                                                                                        </a:lnTo>
                                                                                                        <a:lnTo>
                                                                                                          <a:pt x="8" y="46"/>
                                                                                                        </a:lnTo>
                                                                                                        <a:lnTo>
                                                                                                          <a:pt x="8" y="46"/>
                                                                                                        </a:lnTo>
                                                                                                        <a:lnTo>
                                                                                                          <a:pt x="12" y="50"/>
                                                                                                        </a:lnTo>
                                                                                                        <a:lnTo>
                                                                                                          <a:pt x="16" y="52"/>
                                                                                                        </a:lnTo>
                                                                                                        <a:lnTo>
                                                                                                          <a:pt x="18" y="54"/>
                                                                                                        </a:lnTo>
                                                                                                        <a:lnTo>
                                                                                                          <a:pt x="22" y="56"/>
                                                                                                        </a:lnTo>
                                                                                                        <a:lnTo>
                                                                                                          <a:pt x="22" y="56"/>
                                                                                                        </a:lnTo>
                                                                                                        <a:lnTo>
                                                                                                          <a:pt x="22" y="58"/>
                                                                                                        </a:lnTo>
                                                                                                        <a:lnTo>
                                                                                                          <a:pt x="22" y="60"/>
                                                                                                        </a:lnTo>
                                                                                                        <a:lnTo>
                                                                                                          <a:pt x="26" y="64"/>
                                                                                                        </a:lnTo>
                                                                                                        <a:lnTo>
                                                                                                          <a:pt x="34" y="70"/>
                                                                                                        </a:lnTo>
                                                                                                        <a:lnTo>
                                                                                                          <a:pt x="34" y="70"/>
                                                                                                        </a:lnTo>
                                                                                                        <a:lnTo>
                                                                                                          <a:pt x="42" y="74"/>
                                                                                                        </a:lnTo>
                                                                                                        <a:lnTo>
                                                                                                          <a:pt x="44" y="78"/>
                                                                                                        </a:lnTo>
                                                                                                        <a:lnTo>
                                                                                                          <a:pt x="46" y="82"/>
                                                                                                        </a:lnTo>
                                                                                                        <a:lnTo>
                                                                                                          <a:pt x="50" y="84"/>
                                                                                                        </a:lnTo>
                                                                                                        <a:lnTo>
                                                                                                          <a:pt x="50" y="84"/>
                                                                                                        </a:lnTo>
                                                                                                        <a:lnTo>
                                                                                                          <a:pt x="54" y="86"/>
                                                                                                        </a:lnTo>
                                                                                                        <a:lnTo>
                                                                                                          <a:pt x="54" y="86"/>
                                                                                                        </a:lnTo>
                                                                                                        <a:lnTo>
                                                                                                          <a:pt x="54" y="88"/>
                                                                                                        </a:lnTo>
                                                                                                        <a:lnTo>
                                                                                                          <a:pt x="58" y="90"/>
                                                                                                        </a:lnTo>
                                                                                                        <a:lnTo>
                                                                                                          <a:pt x="58" y="90"/>
                                                                                                        </a:lnTo>
                                                                                                        <a:lnTo>
                                                                                                          <a:pt x="68" y="94"/>
                                                                                                        </a:lnTo>
                                                                                                        <a:lnTo>
                                                                                                          <a:pt x="72" y="98"/>
                                                                                                        </a:lnTo>
                                                                                                        <a:lnTo>
                                                                                                          <a:pt x="74" y="100"/>
                                                                                                        </a:lnTo>
                                                                                                        <a:lnTo>
                                                                                                          <a:pt x="82" y="100"/>
                                                                                                        </a:lnTo>
                                                                                                        <a:lnTo>
                                                                                                          <a:pt x="82" y="100"/>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baseline="-25000" dirty="0">
                                                                                                      <a:solidFill>
                                                                                                        <a:schemeClr val="tx1"/>
                                                                                                      </a:solidFill>
                                                                                                    </a:endParaRPr>
                                                                                                  </a:p>
                                                                                                </p:txBody>
                                                                                              </p:sp>
                                                                                              <p:sp>
                                                                                                <p:nvSpPr>
                                                                                                  <p:cNvPr id="762" name="Somalia"/>
                                                                                                  <p:cNvSpPr>
                                                                                                    <a:spLocks/>
                                                                                                  </p:cNvSpPr>
                                                                                                  <p:nvPr/>
                                                                                                </p:nvSpPr>
                                                                                                <p:spPr bwMode="auto">
                                                                                                  <a:xfrm>
                                                                                                    <a:off x="7109467" y="3227064"/>
                                                                                                    <a:ext cx="325027" cy="525026"/>
                                                                                                  </a:xfrm>
                                                                                                  <a:custGeom>
                                                                                                    <a:avLst/>
                                                                                                    <a:gdLst/>
                                                                                                    <a:ahLst/>
                                                                                                    <a:cxnLst>
                                                                                                      <a:cxn ang="0">
                                                                                                        <a:pos x="24" y="346"/>
                                                                                                      </a:cxn>
                                                                                                      <a:cxn ang="0">
                                                                                                        <a:pos x="36" y="324"/>
                                                                                                      </a:cxn>
                                                                                                      <a:cxn ang="0">
                                                                                                        <a:pos x="44" y="312"/>
                                                                                                      </a:cxn>
                                                                                                      <a:cxn ang="0">
                                                                                                        <a:pos x="62" y="294"/>
                                                                                                      </a:cxn>
                                                                                                      <a:cxn ang="0">
                                                                                                        <a:pos x="72" y="282"/>
                                                                                                      </a:cxn>
                                                                                                      <a:cxn ang="0">
                                                                                                        <a:pos x="90" y="264"/>
                                                                                                      </a:cxn>
                                                                                                      <a:cxn ang="0">
                                                                                                        <a:pos x="112" y="242"/>
                                                                                                      </a:cxn>
                                                                                                      <a:cxn ang="0">
                                                                                                        <a:pos x="138" y="214"/>
                                                                                                      </a:cxn>
                                                                                                      <a:cxn ang="0">
                                                                                                        <a:pos x="150" y="188"/>
                                                                                                      </a:cxn>
                                                                                                      <a:cxn ang="0">
                                                                                                        <a:pos x="152" y="184"/>
                                                                                                      </a:cxn>
                                                                                                      <a:cxn ang="0">
                                                                                                        <a:pos x="166" y="170"/>
                                                                                                      </a:cxn>
                                                                                                      <a:cxn ang="0">
                                                                                                        <a:pos x="174" y="158"/>
                                                                                                      </a:cxn>
                                                                                                      <a:cxn ang="0">
                                                                                                        <a:pos x="178" y="140"/>
                                                                                                      </a:cxn>
                                                                                                      <a:cxn ang="0">
                                                                                                        <a:pos x="178" y="132"/>
                                                                                                      </a:cxn>
                                                                                                      <a:cxn ang="0">
                                                                                                        <a:pos x="188" y="108"/>
                                                                                                      </a:cxn>
                                                                                                      <a:cxn ang="0">
                                                                                                        <a:pos x="198" y="88"/>
                                                                                                      </a:cxn>
                                                                                                      <a:cxn ang="0">
                                                                                                        <a:pos x="198" y="82"/>
                                                                                                      </a:cxn>
                                                                                                      <a:cxn ang="0">
                                                                                                        <a:pos x="200" y="78"/>
                                                                                                      </a:cxn>
                                                                                                      <a:cxn ang="0">
                                                                                                        <a:pos x="208" y="62"/>
                                                                                                      </a:cxn>
                                                                                                      <a:cxn ang="0">
                                                                                                        <a:pos x="210" y="52"/>
                                                                                                      </a:cxn>
                                                                                                      <a:cxn ang="0">
                                                                                                        <a:pos x="210" y="50"/>
                                                                                                      </a:cxn>
                                                                                                      <a:cxn ang="0">
                                                                                                        <a:pos x="210" y="48"/>
                                                                                                      </a:cxn>
                                                                                                      <a:cxn ang="0">
                                                                                                        <a:pos x="210" y="32"/>
                                                                                                      </a:cxn>
                                                                                                      <a:cxn ang="0">
                                                                                                        <a:pos x="210" y="28"/>
                                                                                                      </a:cxn>
                                                                                                      <a:cxn ang="0">
                                                                                                        <a:pos x="212" y="28"/>
                                                                                                      </a:cxn>
                                                                                                      <a:cxn ang="0">
                                                                                                        <a:pos x="212" y="24"/>
                                                                                                      </a:cxn>
                                                                                                      <a:cxn ang="0">
                                                                                                        <a:pos x="208" y="12"/>
                                                                                                      </a:cxn>
                                                                                                      <a:cxn ang="0">
                                                                                                        <a:pos x="210" y="6"/>
                                                                                                      </a:cxn>
                                                                                                      <a:cxn ang="0">
                                                                                                        <a:pos x="206" y="0"/>
                                                                                                      </a:cxn>
                                                                                                      <a:cxn ang="0">
                                                                                                        <a:pos x="194" y="0"/>
                                                                                                      </a:cxn>
                                                                                                      <a:cxn ang="0">
                                                                                                        <a:pos x="182" y="10"/>
                                                                                                      </a:cxn>
                                                                                                      <a:cxn ang="0">
                                                                                                        <a:pos x="162" y="16"/>
                                                                                                      </a:cxn>
                                                                                                      <a:cxn ang="0">
                                                                                                        <a:pos x="156" y="16"/>
                                                                                                      </a:cxn>
                                                                                                      <a:cxn ang="0">
                                                                                                        <a:pos x="150" y="20"/>
                                                                                                      </a:cxn>
                                                                                                      <a:cxn ang="0">
                                                                                                        <a:pos x="142" y="20"/>
                                                                                                      </a:cxn>
                                                                                                      <a:cxn ang="0">
                                                                                                        <a:pos x="128" y="24"/>
                                                                                                      </a:cxn>
                                                                                                      <a:cxn ang="0">
                                                                                                        <a:pos x="110" y="28"/>
                                                                                                      </a:cxn>
                                                                                                      <a:cxn ang="0">
                                                                                                        <a:pos x="100" y="26"/>
                                                                                                      </a:cxn>
                                                                                                      <a:cxn ang="0">
                                                                                                        <a:pos x="82" y="34"/>
                                                                                                      </a:cxn>
                                                                                                      <a:cxn ang="0">
                                                                                                        <a:pos x="78" y="36"/>
                                                                                                      </a:cxn>
                                                                                                      <a:cxn ang="0">
                                                                                                        <a:pos x="60" y="26"/>
                                                                                                      </a:cxn>
                                                                                                      <a:cxn ang="0">
                                                                                                        <a:pos x="44" y="10"/>
                                                                                                      </a:cxn>
                                                                                                      <a:cxn ang="0">
                                                                                                        <a:pos x="28" y="24"/>
                                                                                                      </a:cxn>
                                                                                                      <a:cxn ang="0">
                                                                                                        <a:pos x="48" y="58"/>
                                                                                                      </a:cxn>
                                                                                                      <a:cxn ang="0">
                                                                                                        <a:pos x="150" y="96"/>
                                                                                                      </a:cxn>
                                                                                                      <a:cxn ang="0">
                                                                                                        <a:pos x="92" y="160"/>
                                                                                                      </a:cxn>
                                                                                                      <a:cxn ang="0">
                                                                                                        <a:pos x="78" y="172"/>
                                                                                                      </a:cxn>
                                                                                                      <a:cxn ang="0">
                                                                                                        <a:pos x="76" y="172"/>
                                                                                                      </a:cxn>
                                                                                                      <a:cxn ang="0">
                                                                                                        <a:pos x="62" y="172"/>
                                                                                                      </a:cxn>
                                                                                                      <a:cxn ang="0">
                                                                                                        <a:pos x="20" y="200"/>
                                                                                                      </a:cxn>
                                                                                                      <a:cxn ang="0">
                                                                                                        <a:pos x="18" y="206"/>
                                                                                                      </a:cxn>
                                                                                                      <a:cxn ang="0">
                                                                                                        <a:pos x="8" y="218"/>
                                                                                                      </a:cxn>
                                                                                                      <a:cxn ang="0">
                                                                                                        <a:pos x="2" y="226"/>
                                                                                                      </a:cxn>
                                                                                                      <a:cxn ang="0">
                                                                                                        <a:pos x="0" y="232"/>
                                                                                                      </a:cxn>
                                                                                                      <a:cxn ang="0">
                                                                                                        <a:pos x="0" y="318"/>
                                                                                                      </a:cxn>
                                                                                                      <a:cxn ang="0">
                                                                                                        <a:pos x="4" y="326"/>
                                                                                                      </a:cxn>
                                                                                                      <a:cxn ang="0">
                                                                                                        <a:pos x="24" y="346"/>
                                                                                                      </a:cxn>
                                                                                                    </a:cxnLst>
                                                                                                    <a:rect l="0" t="0" r="r" b="b"/>
                                                                                                    <a:pathLst>
                                                                                                      <a:path w="214" h="346">
                                                                                                        <a:moveTo>
                                                                                                          <a:pt x="24" y="346"/>
                                                                                                        </a:moveTo>
                                                                                                        <a:lnTo>
                                                                                                          <a:pt x="24" y="346"/>
                                                                                                        </a:lnTo>
                                                                                                        <a:lnTo>
                                                                                                          <a:pt x="28" y="340"/>
                                                                                                        </a:lnTo>
                                                                                                        <a:lnTo>
                                                                                                          <a:pt x="36" y="324"/>
                                                                                                        </a:lnTo>
                                                                                                        <a:lnTo>
                                                                                                          <a:pt x="36" y="324"/>
                                                                                                        </a:lnTo>
                                                                                                        <a:lnTo>
                                                                                                          <a:pt x="44" y="312"/>
                                                                                                        </a:lnTo>
                                                                                                        <a:lnTo>
                                                                                                          <a:pt x="52" y="304"/>
                                                                                                        </a:lnTo>
                                                                                                        <a:lnTo>
                                                                                                          <a:pt x="62" y="294"/>
                                                                                                        </a:lnTo>
                                                                                                        <a:lnTo>
                                                                                                          <a:pt x="72" y="282"/>
                                                                                                        </a:lnTo>
                                                                                                        <a:lnTo>
                                                                                                          <a:pt x="72" y="282"/>
                                                                                                        </a:lnTo>
                                                                                                        <a:lnTo>
                                                                                                          <a:pt x="80" y="270"/>
                                                                                                        </a:lnTo>
                                                                                                        <a:lnTo>
                                                                                                          <a:pt x="90" y="264"/>
                                                                                                        </a:lnTo>
                                                                                                        <a:lnTo>
                                                                                                          <a:pt x="100" y="256"/>
                                                                                                        </a:lnTo>
                                                                                                        <a:lnTo>
                                                                                                          <a:pt x="112" y="242"/>
                                                                                                        </a:lnTo>
                                                                                                        <a:lnTo>
                                                                                                          <a:pt x="112" y="242"/>
                                                                                                        </a:lnTo>
                                                                                                        <a:lnTo>
                                                                                                          <a:pt x="138" y="214"/>
                                                                                                        </a:lnTo>
                                                                                                        <a:lnTo>
                                                                                                          <a:pt x="146" y="200"/>
                                                                                                        </a:lnTo>
                                                                                                        <a:lnTo>
                                                                                                          <a:pt x="150" y="188"/>
                                                                                                        </a:lnTo>
                                                                                                        <a:lnTo>
                                                                                                          <a:pt x="150" y="188"/>
                                                                                                        </a:lnTo>
                                                                                                        <a:lnTo>
                                                                                                          <a:pt x="152" y="184"/>
                                                                                                        </a:lnTo>
                                                                                                        <a:lnTo>
                                                                                                          <a:pt x="156" y="180"/>
                                                                                                        </a:lnTo>
                                                                                                        <a:lnTo>
                                                                                                          <a:pt x="166" y="170"/>
                                                                                                        </a:lnTo>
                                                                                                        <a:lnTo>
                                                                                                          <a:pt x="170" y="164"/>
                                                                                                        </a:lnTo>
                                                                                                        <a:lnTo>
                                                                                                          <a:pt x="174" y="158"/>
                                                                                                        </a:lnTo>
                                                                                                        <a:lnTo>
                                                                                                          <a:pt x="176" y="150"/>
                                                                                                        </a:lnTo>
                                                                                                        <a:lnTo>
                                                                                                          <a:pt x="178" y="140"/>
                                                                                                        </a:lnTo>
                                                                                                        <a:lnTo>
                                                                                                          <a:pt x="178" y="140"/>
                                                                                                        </a:lnTo>
                                                                                                        <a:lnTo>
                                                                                                          <a:pt x="178" y="132"/>
                                                                                                        </a:lnTo>
                                                                                                        <a:lnTo>
                                                                                                          <a:pt x="182" y="124"/>
                                                                                                        </a:lnTo>
                                                                                                        <a:lnTo>
                                                                                                          <a:pt x="188" y="108"/>
                                                                                                        </a:lnTo>
                                                                                                        <a:lnTo>
                                                                                                          <a:pt x="196" y="94"/>
                                                                                                        </a:lnTo>
                                                                                                        <a:lnTo>
                                                                                                          <a:pt x="198" y="88"/>
                                                                                                        </a:lnTo>
                                                                                                        <a:lnTo>
                                                                                                          <a:pt x="198" y="82"/>
                                                                                                        </a:lnTo>
                                                                                                        <a:lnTo>
                                                                                                          <a:pt x="198" y="82"/>
                                                                                                        </a:lnTo>
                                                                                                        <a:lnTo>
                                                                                                          <a:pt x="198" y="80"/>
                                                                                                        </a:lnTo>
                                                                                                        <a:lnTo>
                                                                                                          <a:pt x="200" y="78"/>
                                                                                                        </a:lnTo>
                                                                                                        <a:lnTo>
                                                                                                          <a:pt x="202" y="74"/>
                                                                                                        </a:lnTo>
                                                                                                        <a:lnTo>
                                                                                                          <a:pt x="208" y="62"/>
                                                                                                        </a:lnTo>
                                                                                                        <a:lnTo>
                                                                                                          <a:pt x="208" y="62"/>
                                                                                                        </a:lnTo>
                                                                                                        <a:lnTo>
                                                                                                          <a:pt x="210" y="52"/>
                                                                                                        </a:lnTo>
                                                                                                        <a:lnTo>
                                                                                                          <a:pt x="210" y="50"/>
                                                                                                        </a:lnTo>
                                                                                                        <a:lnTo>
                                                                                                          <a:pt x="210" y="50"/>
                                                                                                        </a:lnTo>
                                                                                                        <a:lnTo>
                                                                                                          <a:pt x="210" y="48"/>
                                                                                                        </a:lnTo>
                                                                                                        <a:lnTo>
                                                                                                          <a:pt x="210" y="48"/>
                                                                                                        </a:lnTo>
                                                                                                        <a:lnTo>
                                                                                                          <a:pt x="212" y="40"/>
                                                                                                        </a:lnTo>
                                                                                                        <a:lnTo>
                                                                                                          <a:pt x="210" y="32"/>
                                                                                                        </a:lnTo>
                                                                                                        <a:lnTo>
                                                                                                          <a:pt x="210" y="28"/>
                                                                                                        </a:lnTo>
                                                                                                        <a:lnTo>
                                                                                                          <a:pt x="210" y="28"/>
                                                                                                        </a:lnTo>
                                                                                                        <a:lnTo>
                                                                                                          <a:pt x="212" y="28"/>
                                                                                                        </a:lnTo>
                                                                                                        <a:lnTo>
                                                                                                          <a:pt x="212" y="28"/>
                                                                                                        </a:lnTo>
                                                                                                        <a:lnTo>
                                                                                                          <a:pt x="214" y="28"/>
                                                                                                        </a:lnTo>
                                                                                                        <a:lnTo>
                                                                                                          <a:pt x="212" y="24"/>
                                                                                                        </a:lnTo>
                                                                                                        <a:lnTo>
                                                                                                          <a:pt x="208" y="18"/>
                                                                                                        </a:lnTo>
                                                                                                        <a:lnTo>
                                                                                                          <a:pt x="208" y="12"/>
                                                                                                        </a:lnTo>
                                                                                                        <a:lnTo>
                                                                                                          <a:pt x="210" y="6"/>
                                                                                                        </a:lnTo>
                                                                                                        <a:lnTo>
                                                                                                          <a:pt x="210" y="6"/>
                                                                                                        </a:lnTo>
                                                                                                        <a:lnTo>
                                                                                                          <a:pt x="208" y="2"/>
                                                                                                        </a:lnTo>
                                                                                                        <a:lnTo>
                                                                                                          <a:pt x="206" y="0"/>
                                                                                                        </a:lnTo>
                                                                                                        <a:lnTo>
                                                                                                          <a:pt x="200" y="0"/>
                                                                                                        </a:lnTo>
                                                                                                        <a:lnTo>
                                                                                                          <a:pt x="194" y="0"/>
                                                                                                        </a:lnTo>
                                                                                                        <a:lnTo>
                                                                                                          <a:pt x="194" y="0"/>
                                                                                                        </a:lnTo>
                                                                                                        <a:lnTo>
                                                                                                          <a:pt x="182" y="10"/>
                                                                                                        </a:lnTo>
                                                                                                        <a:lnTo>
                                                                                                          <a:pt x="172" y="14"/>
                                                                                                        </a:lnTo>
                                                                                                        <a:lnTo>
                                                                                                          <a:pt x="162" y="16"/>
                                                                                                        </a:lnTo>
                                                                                                        <a:lnTo>
                                                                                                          <a:pt x="162" y="16"/>
                                                                                                        </a:lnTo>
                                                                                                        <a:lnTo>
                                                                                                          <a:pt x="156" y="16"/>
                                                                                                        </a:lnTo>
                                                                                                        <a:lnTo>
                                                                                                          <a:pt x="154" y="18"/>
                                                                                                        </a:lnTo>
                                                                                                        <a:lnTo>
                                                                                                          <a:pt x="150" y="20"/>
                                                                                                        </a:lnTo>
                                                                                                        <a:lnTo>
                                                                                                          <a:pt x="142" y="20"/>
                                                                                                        </a:lnTo>
                                                                                                        <a:lnTo>
                                                                                                          <a:pt x="142" y="20"/>
                                                                                                        </a:lnTo>
                                                                                                        <a:lnTo>
                                                                                                          <a:pt x="132" y="20"/>
                                                                                                        </a:lnTo>
                                                                                                        <a:lnTo>
                                                                                                          <a:pt x="128" y="24"/>
                                                                                                        </a:lnTo>
                                                                                                        <a:lnTo>
                                                                                                          <a:pt x="120" y="26"/>
                                                                                                        </a:lnTo>
                                                                                                        <a:lnTo>
                                                                                                          <a:pt x="110" y="28"/>
                                                                                                        </a:lnTo>
                                                                                                        <a:lnTo>
                                                                                                          <a:pt x="110" y="28"/>
                                                                                                        </a:lnTo>
                                                                                                        <a:lnTo>
                                                                                                          <a:pt x="100" y="26"/>
                                                                                                        </a:lnTo>
                                                                                                        <a:lnTo>
                                                                                                          <a:pt x="96" y="28"/>
                                                                                                        </a:lnTo>
                                                                                                        <a:lnTo>
                                                                                                          <a:pt x="82" y="34"/>
                                                                                                        </a:lnTo>
                                                                                                        <a:lnTo>
                                                                                                          <a:pt x="82" y="34"/>
                                                                                                        </a:lnTo>
                                                                                                        <a:lnTo>
                                                                                                          <a:pt x="78" y="36"/>
                                                                                                        </a:lnTo>
                                                                                                        <a:lnTo>
                                                                                                          <a:pt x="72" y="34"/>
                                                                                                        </a:lnTo>
                                                                                                        <a:lnTo>
                                                                                                          <a:pt x="60" y="26"/>
                                                                                                        </a:lnTo>
                                                                                                        <a:lnTo>
                                                                                                          <a:pt x="50" y="18"/>
                                                                                                        </a:lnTo>
                                                                                                        <a:lnTo>
                                                                                                          <a:pt x="44" y="10"/>
                                                                                                        </a:lnTo>
                                                                                                        <a:lnTo>
                                                                                                          <a:pt x="36" y="18"/>
                                                                                                        </a:lnTo>
                                                                                                        <a:lnTo>
                                                                                                          <a:pt x="28" y="24"/>
                                                                                                        </a:lnTo>
                                                                                                        <a:lnTo>
                                                                                                          <a:pt x="42" y="44"/>
                                                                                                        </a:lnTo>
                                                                                                        <a:lnTo>
                                                                                                          <a:pt x="48" y="58"/>
                                                                                                        </a:lnTo>
                                                                                                        <a:lnTo>
                                                                                                          <a:pt x="118" y="88"/>
                                                                                                        </a:lnTo>
                                                                                                        <a:lnTo>
                                                                                                          <a:pt x="150" y="96"/>
                                                                                                        </a:lnTo>
                                                                                                        <a:lnTo>
                                                                                                          <a:pt x="150" y="96"/>
                                                                                                        </a:lnTo>
                                                                                                        <a:lnTo>
                                                                                                          <a:pt x="92" y="160"/>
                                                                                                        </a:lnTo>
                                                                                                        <a:lnTo>
                                                                                                          <a:pt x="80" y="170"/>
                                                                                                        </a:lnTo>
                                                                                                        <a:lnTo>
                                                                                                          <a:pt x="78" y="172"/>
                                                                                                        </a:lnTo>
                                                                                                        <a:lnTo>
                                                                                                          <a:pt x="76" y="172"/>
                                                                                                        </a:lnTo>
                                                                                                        <a:lnTo>
                                                                                                          <a:pt x="76" y="172"/>
                                                                                                        </a:lnTo>
                                                                                                        <a:lnTo>
                                                                                                          <a:pt x="68" y="172"/>
                                                                                                        </a:lnTo>
                                                                                                        <a:lnTo>
                                                                                                          <a:pt x="62" y="172"/>
                                                                                                        </a:lnTo>
                                                                                                        <a:lnTo>
                                                                                                          <a:pt x="48" y="178"/>
                                                                                                        </a:lnTo>
                                                                                                        <a:lnTo>
                                                                                                          <a:pt x="20" y="200"/>
                                                                                                        </a:lnTo>
                                                                                                        <a:lnTo>
                                                                                                          <a:pt x="20" y="200"/>
                                                                                                        </a:lnTo>
                                                                                                        <a:lnTo>
                                                                                                          <a:pt x="18" y="206"/>
                                                                                                        </a:lnTo>
                                                                                                        <a:lnTo>
                                                                                                          <a:pt x="14" y="212"/>
                                                                                                        </a:lnTo>
                                                                                                        <a:lnTo>
                                                                                                          <a:pt x="8" y="218"/>
                                                                                                        </a:lnTo>
                                                                                                        <a:lnTo>
                                                                                                          <a:pt x="4" y="222"/>
                                                                                                        </a:lnTo>
                                                                                                        <a:lnTo>
                                                                                                          <a:pt x="2" y="226"/>
                                                                                                        </a:lnTo>
                                                                                                        <a:lnTo>
                                                                                                          <a:pt x="0" y="232"/>
                                                                                                        </a:lnTo>
                                                                                                        <a:lnTo>
                                                                                                          <a:pt x="0" y="232"/>
                                                                                                        </a:lnTo>
                                                                                                        <a:lnTo>
                                                                                                          <a:pt x="0" y="318"/>
                                                                                                        </a:lnTo>
                                                                                                        <a:lnTo>
                                                                                                          <a:pt x="0" y="318"/>
                                                                                                        </a:lnTo>
                                                                                                        <a:lnTo>
                                                                                                          <a:pt x="2" y="322"/>
                                                                                                        </a:lnTo>
                                                                                                        <a:lnTo>
                                                                                                          <a:pt x="4" y="326"/>
                                                                                                        </a:lnTo>
                                                                                                        <a:lnTo>
                                                                                                          <a:pt x="24" y="346"/>
                                                                                                        </a:lnTo>
                                                                                                        <a:lnTo>
                                                                                                          <a:pt x="24" y="346"/>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baseline="-25000" dirty="0">
                                                                                                      <a:solidFill>
                                                                                                        <a:schemeClr val="tx1"/>
                                                                                                      </a:solidFill>
                                                                                                    </a:endParaRPr>
                                                                                                  </a:p>
                                                                                                </p:txBody>
                                                                                              </p:sp>
                                                                                              <p:sp>
                                                                                                <p:nvSpPr>
                                                                                                  <p:cNvPr id="765" name="Tanzania"/>
                                                                                                  <p:cNvSpPr>
                                                                                                    <a:spLocks/>
                                                                                                  </p:cNvSpPr>
                                                                                                  <p:nvPr/>
                                                                                                </p:nvSpPr>
                                                                                                <p:spPr bwMode="auto">
                                                                                                  <a:xfrm>
                                                                                                    <a:off x="6750434" y="3715818"/>
                                                                                                    <a:ext cx="334141" cy="433981"/>
                                                                                                  </a:xfrm>
                                                                                                  <a:custGeom>
                                                                                                    <a:avLst/>
                                                                                                    <a:gdLst/>
                                                                                                    <a:ahLst/>
                                                                                                    <a:cxnLst>
                                                                                                      <a:cxn ang="0">
                                                                                                        <a:pos x="50" y="20"/>
                                                                                                      </a:cxn>
                                                                                                      <a:cxn ang="0">
                                                                                                        <a:pos x="42" y="42"/>
                                                                                                      </a:cxn>
                                                                                                      <a:cxn ang="0">
                                                                                                        <a:pos x="42" y="48"/>
                                                                                                      </a:cxn>
                                                                                                      <a:cxn ang="0">
                                                                                                        <a:pos x="48" y="54"/>
                                                                                                      </a:cxn>
                                                                                                      <a:cxn ang="0">
                                                                                                        <a:pos x="56" y="50"/>
                                                                                                      </a:cxn>
                                                                                                      <a:cxn ang="0">
                                                                                                        <a:pos x="70" y="52"/>
                                                                                                      </a:cxn>
                                                                                                      <a:cxn ang="0">
                                                                                                        <a:pos x="82" y="44"/>
                                                                                                      </a:cxn>
                                                                                                      <a:cxn ang="0">
                                                                                                        <a:pos x="84" y="38"/>
                                                                                                      </a:cxn>
                                                                                                      <a:cxn ang="0">
                                                                                                        <a:pos x="82" y="30"/>
                                                                                                      </a:cxn>
                                                                                                      <a:cxn ang="0">
                                                                                                        <a:pos x="84" y="24"/>
                                                                                                      </a:cxn>
                                                                                                      <a:cxn ang="0">
                                                                                                        <a:pos x="96" y="10"/>
                                                                                                      </a:cxn>
                                                                                                      <a:cxn ang="0">
                                                                                                        <a:pos x="164" y="52"/>
                                                                                                      </a:cxn>
                                                                                                      <a:cxn ang="0">
                                                                                                        <a:pos x="170" y="72"/>
                                                                                                      </a:cxn>
                                                                                                      <a:cxn ang="0">
                                                                                                        <a:pos x="194" y="94"/>
                                                                                                      </a:cxn>
                                                                                                      <a:cxn ang="0">
                                                                                                        <a:pos x="206" y="120"/>
                                                                                                      </a:cxn>
                                                                                                      <a:cxn ang="0">
                                                                                                        <a:pos x="194" y="148"/>
                                                                                                      </a:cxn>
                                                                                                      <a:cxn ang="0">
                                                                                                        <a:pos x="204" y="166"/>
                                                                                                      </a:cxn>
                                                                                                      <a:cxn ang="0">
                                                                                                        <a:pos x="208" y="180"/>
                                                                                                      </a:cxn>
                                                                                                      <a:cxn ang="0">
                                                                                                        <a:pos x="202" y="198"/>
                                                                                                      </a:cxn>
                                                                                                      <a:cxn ang="0">
                                                                                                        <a:pos x="202" y="214"/>
                                                                                                      </a:cxn>
                                                                                                      <a:cxn ang="0">
                                                                                                        <a:pos x="210" y="236"/>
                                                                                                      </a:cxn>
                                                                                                      <a:cxn ang="0">
                                                                                                        <a:pos x="220" y="256"/>
                                                                                                      </a:cxn>
                                                                                                      <a:cxn ang="0">
                                                                                                        <a:pos x="194" y="270"/>
                                                                                                      </a:cxn>
                                                                                                      <a:cxn ang="0">
                                                                                                        <a:pos x="176" y="270"/>
                                                                                                      </a:cxn>
                                                                                                      <a:cxn ang="0">
                                                                                                        <a:pos x="172" y="276"/>
                                                                                                      </a:cxn>
                                                                                                      <a:cxn ang="0">
                                                                                                        <a:pos x="156" y="282"/>
                                                                                                      </a:cxn>
                                                                                                      <a:cxn ang="0">
                                                                                                        <a:pos x="146" y="284"/>
                                                                                                      </a:cxn>
                                                                                                      <a:cxn ang="0">
                                                                                                        <a:pos x="130" y="282"/>
                                                                                                      </a:cxn>
                                                                                                      <a:cxn ang="0">
                                                                                                        <a:pos x="114" y="282"/>
                                                                                                      </a:cxn>
                                                                                                      <a:cxn ang="0">
                                                                                                        <a:pos x="102" y="278"/>
                                                                                                      </a:cxn>
                                                                                                      <a:cxn ang="0">
                                                                                                        <a:pos x="102" y="258"/>
                                                                                                      </a:cxn>
                                                                                                      <a:cxn ang="0">
                                                                                                        <a:pos x="98" y="248"/>
                                                                                                      </a:cxn>
                                                                                                      <a:cxn ang="0">
                                                                                                        <a:pos x="88" y="234"/>
                                                                                                      </a:cxn>
                                                                                                      <a:cxn ang="0">
                                                                                                        <a:pos x="70" y="230"/>
                                                                                                      </a:cxn>
                                                                                                      <a:cxn ang="0">
                                                                                                        <a:pos x="26" y="208"/>
                                                                                                      </a:cxn>
                                                                                                      <a:cxn ang="0">
                                                                                                        <a:pos x="22" y="190"/>
                                                                                                      </a:cxn>
                                                                                                      <a:cxn ang="0">
                                                                                                        <a:pos x="18" y="176"/>
                                                                                                      </a:cxn>
                                                                                                      <a:cxn ang="0">
                                                                                                        <a:pos x="6" y="156"/>
                                                                                                      </a:cxn>
                                                                                                      <a:cxn ang="0">
                                                                                                        <a:pos x="10" y="148"/>
                                                                                                      </a:cxn>
                                                                                                      <a:cxn ang="0">
                                                                                                        <a:pos x="4" y="132"/>
                                                                                                      </a:cxn>
                                                                                                      <a:cxn ang="0">
                                                                                                        <a:pos x="2" y="100"/>
                                                                                                      </a:cxn>
                                                                                                      <a:cxn ang="0">
                                                                                                        <a:pos x="18" y="76"/>
                                                                                                      </a:cxn>
                                                                                                      <a:cxn ang="0">
                                                                                                        <a:pos x="22" y="64"/>
                                                                                                      </a:cxn>
                                                                                                      <a:cxn ang="0">
                                                                                                        <a:pos x="22" y="54"/>
                                                                                                      </a:cxn>
                                                                                                      <a:cxn ang="0">
                                                                                                        <a:pos x="10" y="48"/>
                                                                                                      </a:cxn>
                                                                                                      <a:cxn ang="0">
                                                                                                        <a:pos x="22" y="44"/>
                                                                                                      </a:cxn>
                                                                                                      <a:cxn ang="0">
                                                                                                        <a:pos x="30" y="32"/>
                                                                                                      </a:cxn>
                                                                                                      <a:cxn ang="0">
                                                                                                        <a:pos x="28" y="8"/>
                                                                                                      </a:cxn>
                                                                                                      <a:cxn ang="0">
                                                                                                        <a:pos x="40" y="4"/>
                                                                                                      </a:cxn>
                                                                                                    </a:cxnLst>
                                                                                                    <a:rect l="0" t="0" r="r" b="b"/>
                                                                                                    <a:pathLst>
                                                                                                      <a:path w="220" h="286">
                                                                                                        <a:moveTo>
                                                                                                          <a:pt x="48" y="0"/>
                                                                                                        </a:moveTo>
                                                                                                        <a:lnTo>
                                                                                                          <a:pt x="48" y="0"/>
                                                                                                        </a:lnTo>
                                                                                                        <a:lnTo>
                                                                                                          <a:pt x="50" y="10"/>
                                                                                                        </a:lnTo>
                                                                                                        <a:lnTo>
                                                                                                          <a:pt x="50" y="20"/>
                                                                                                        </a:lnTo>
                                                                                                        <a:lnTo>
                                                                                                          <a:pt x="46" y="30"/>
                                                                                                        </a:lnTo>
                                                                                                        <a:lnTo>
                                                                                                          <a:pt x="44" y="38"/>
                                                                                                        </a:lnTo>
                                                                                                        <a:lnTo>
                                                                                                          <a:pt x="44" y="38"/>
                                                                                                        </a:lnTo>
                                                                                                        <a:lnTo>
                                                                                                          <a:pt x="42" y="42"/>
                                                                                                        </a:lnTo>
                                                                                                        <a:lnTo>
                                                                                                          <a:pt x="42" y="44"/>
                                                                                                        </a:lnTo>
                                                                                                        <a:lnTo>
                                                                                                          <a:pt x="44" y="44"/>
                                                                                                        </a:lnTo>
                                                                                                        <a:lnTo>
                                                                                                          <a:pt x="42" y="48"/>
                                                                                                        </a:lnTo>
                                                                                                        <a:lnTo>
                                                                                                          <a:pt x="42" y="48"/>
                                                                                                        </a:lnTo>
                                                                                                        <a:lnTo>
                                                                                                          <a:pt x="42" y="50"/>
                                                                                                        </a:lnTo>
                                                                                                        <a:lnTo>
                                                                                                          <a:pt x="44" y="50"/>
                                                                                                        </a:lnTo>
                                                                                                        <a:lnTo>
                                                                                                          <a:pt x="46" y="52"/>
                                                                                                        </a:lnTo>
                                                                                                        <a:lnTo>
                                                                                                          <a:pt x="48" y="54"/>
                                                                                                        </a:lnTo>
                                                                                                        <a:lnTo>
                                                                                                          <a:pt x="48" y="54"/>
                                                                                                        </a:lnTo>
                                                                                                        <a:lnTo>
                                                                                                          <a:pt x="50" y="50"/>
                                                                                                        </a:lnTo>
                                                                                                        <a:lnTo>
                                                                                                          <a:pt x="56" y="50"/>
                                                                                                        </a:lnTo>
                                                                                                        <a:lnTo>
                                                                                                          <a:pt x="56" y="50"/>
                                                                                                        </a:lnTo>
                                                                                                        <a:lnTo>
                                                                                                          <a:pt x="60" y="50"/>
                                                                                                        </a:lnTo>
                                                                                                        <a:lnTo>
                                                                                                          <a:pt x="62" y="52"/>
                                                                                                        </a:lnTo>
                                                                                                        <a:lnTo>
                                                                                                          <a:pt x="64" y="54"/>
                                                                                                        </a:lnTo>
                                                                                                        <a:lnTo>
                                                                                                          <a:pt x="70" y="52"/>
                                                                                                        </a:lnTo>
                                                                                                        <a:lnTo>
                                                                                                          <a:pt x="70" y="52"/>
                                                                                                        </a:lnTo>
                                                                                                        <a:lnTo>
                                                                                                          <a:pt x="80" y="48"/>
                                                                                                        </a:lnTo>
                                                                                                        <a:lnTo>
                                                                                                          <a:pt x="82" y="48"/>
                                                                                                        </a:lnTo>
                                                                                                        <a:lnTo>
                                                                                                          <a:pt x="82" y="44"/>
                                                                                                        </a:lnTo>
                                                                                                        <a:lnTo>
                                                                                                          <a:pt x="82" y="44"/>
                                                                                                        </a:lnTo>
                                                                                                        <a:lnTo>
                                                                                                          <a:pt x="82" y="40"/>
                                                                                                        </a:lnTo>
                                                                                                        <a:lnTo>
                                                                                                          <a:pt x="84" y="38"/>
                                                                                                        </a:lnTo>
                                                                                                        <a:lnTo>
                                                                                                          <a:pt x="84" y="38"/>
                                                                                                        </a:lnTo>
                                                                                                        <a:lnTo>
                                                                                                          <a:pt x="82" y="36"/>
                                                                                                        </a:lnTo>
                                                                                                        <a:lnTo>
                                                                                                          <a:pt x="82" y="36"/>
                                                                                                        </a:lnTo>
                                                                                                        <a:lnTo>
                                                                                                          <a:pt x="80" y="34"/>
                                                                                                        </a:lnTo>
                                                                                                        <a:lnTo>
                                                                                                          <a:pt x="82" y="30"/>
                                                                                                        </a:lnTo>
                                                                                                        <a:lnTo>
                                                                                                          <a:pt x="84" y="28"/>
                                                                                                        </a:lnTo>
                                                                                                        <a:lnTo>
                                                                                                          <a:pt x="84" y="26"/>
                                                                                                        </a:lnTo>
                                                                                                        <a:lnTo>
                                                                                                          <a:pt x="84" y="26"/>
                                                                                                        </a:lnTo>
                                                                                                        <a:lnTo>
                                                                                                          <a:pt x="84" y="24"/>
                                                                                                        </a:lnTo>
                                                                                                        <a:lnTo>
                                                                                                          <a:pt x="86" y="22"/>
                                                                                                        </a:lnTo>
                                                                                                        <a:lnTo>
                                                                                                          <a:pt x="90" y="18"/>
                                                                                                        </a:lnTo>
                                                                                                        <a:lnTo>
                                                                                                          <a:pt x="94" y="14"/>
                                                                                                        </a:lnTo>
                                                                                                        <a:lnTo>
                                                                                                          <a:pt x="96" y="10"/>
                                                                                                        </a:lnTo>
                                                                                                        <a:lnTo>
                                                                                                          <a:pt x="96" y="6"/>
                                                                                                        </a:lnTo>
                                                                                                        <a:lnTo>
                                                                                                          <a:pt x="96" y="6"/>
                                                                                                        </a:lnTo>
                                                                                                        <a:lnTo>
                                                                                                          <a:pt x="164" y="52"/>
                                                                                                        </a:lnTo>
                                                                                                        <a:lnTo>
                                                                                                          <a:pt x="164" y="52"/>
                                                                                                        </a:lnTo>
                                                                                                        <a:lnTo>
                                                                                                          <a:pt x="168" y="54"/>
                                                                                                        </a:lnTo>
                                                                                                        <a:lnTo>
                                                                                                          <a:pt x="170" y="58"/>
                                                                                                        </a:lnTo>
                                                                                                        <a:lnTo>
                                                                                                          <a:pt x="170" y="66"/>
                                                                                                        </a:lnTo>
                                                                                                        <a:lnTo>
                                                                                                          <a:pt x="170" y="72"/>
                                                                                                        </a:lnTo>
                                                                                                        <a:lnTo>
                                                                                                          <a:pt x="172" y="76"/>
                                                                                                        </a:lnTo>
                                                                                                        <a:lnTo>
                                                                                                          <a:pt x="176" y="80"/>
                                                                                                        </a:lnTo>
                                                                                                        <a:lnTo>
                                                                                                          <a:pt x="176" y="80"/>
                                                                                                        </a:lnTo>
                                                                                                        <a:lnTo>
                                                                                                          <a:pt x="194" y="94"/>
                                                                                                        </a:lnTo>
                                                                                                        <a:lnTo>
                                                                                                          <a:pt x="210" y="108"/>
                                                                                                        </a:lnTo>
                                                                                                        <a:lnTo>
                                                                                                          <a:pt x="210" y="108"/>
                                                                                                        </a:lnTo>
                                                                                                        <a:lnTo>
                                                                                                          <a:pt x="206" y="114"/>
                                                                                                        </a:lnTo>
                                                                                                        <a:lnTo>
                                                                                                          <a:pt x="206" y="120"/>
                                                                                                        </a:lnTo>
                                                                                                        <a:lnTo>
                                                                                                          <a:pt x="204" y="128"/>
                                                                                                        </a:lnTo>
                                                                                                        <a:lnTo>
                                                                                                          <a:pt x="196" y="140"/>
                                                                                                        </a:lnTo>
                                                                                                        <a:lnTo>
                                                                                                          <a:pt x="196" y="140"/>
                                                                                                        </a:lnTo>
                                                                                                        <a:lnTo>
                                                                                                          <a:pt x="194" y="148"/>
                                                                                                        </a:lnTo>
                                                                                                        <a:lnTo>
                                                                                                          <a:pt x="194" y="154"/>
                                                                                                        </a:lnTo>
                                                                                                        <a:lnTo>
                                                                                                          <a:pt x="196" y="158"/>
                                                                                                        </a:lnTo>
                                                                                                        <a:lnTo>
                                                                                                          <a:pt x="200" y="162"/>
                                                                                                        </a:lnTo>
                                                                                                        <a:lnTo>
                                                                                                          <a:pt x="204" y="166"/>
                                                                                                        </a:lnTo>
                                                                                                        <a:lnTo>
                                                                                                          <a:pt x="208" y="170"/>
                                                                                                        </a:lnTo>
                                                                                                        <a:lnTo>
                                                                                                          <a:pt x="210" y="174"/>
                                                                                                        </a:lnTo>
                                                                                                        <a:lnTo>
                                                                                                          <a:pt x="208" y="180"/>
                                                                                                        </a:lnTo>
                                                                                                        <a:lnTo>
                                                                                                          <a:pt x="208" y="180"/>
                                                                                                        </a:lnTo>
                                                                                                        <a:lnTo>
                                                                                                          <a:pt x="206" y="186"/>
                                                                                                        </a:lnTo>
                                                                                                        <a:lnTo>
                                                                                                          <a:pt x="206" y="188"/>
                                                                                                        </a:lnTo>
                                                                                                        <a:lnTo>
                                                                                                          <a:pt x="206" y="190"/>
                                                                                                        </a:lnTo>
                                                                                                        <a:lnTo>
                                                                                                          <a:pt x="202" y="198"/>
                                                                                                        </a:lnTo>
                                                                                                        <a:lnTo>
                                                                                                          <a:pt x="202" y="198"/>
                                                                                                        </a:lnTo>
                                                                                                        <a:lnTo>
                                                                                                          <a:pt x="200" y="202"/>
                                                                                                        </a:lnTo>
                                                                                                        <a:lnTo>
                                                                                                          <a:pt x="200" y="206"/>
                                                                                                        </a:lnTo>
                                                                                                        <a:lnTo>
                                                                                                          <a:pt x="202" y="214"/>
                                                                                                        </a:lnTo>
                                                                                                        <a:lnTo>
                                                                                                          <a:pt x="208" y="222"/>
                                                                                                        </a:lnTo>
                                                                                                        <a:lnTo>
                                                                                                          <a:pt x="210" y="228"/>
                                                                                                        </a:lnTo>
                                                                                                        <a:lnTo>
                                                                                                          <a:pt x="210" y="236"/>
                                                                                                        </a:lnTo>
                                                                                                        <a:lnTo>
                                                                                                          <a:pt x="210" y="236"/>
                                                                                                        </a:lnTo>
                                                                                                        <a:lnTo>
                                                                                                          <a:pt x="210" y="242"/>
                                                                                                        </a:lnTo>
                                                                                                        <a:lnTo>
                                                                                                          <a:pt x="212" y="246"/>
                                                                                                        </a:lnTo>
                                                                                                        <a:lnTo>
                                                                                                          <a:pt x="220" y="256"/>
                                                                                                        </a:lnTo>
                                                                                                        <a:lnTo>
                                                                                                          <a:pt x="220" y="256"/>
                                                                                                        </a:lnTo>
                                                                                                        <a:lnTo>
                                                                                                          <a:pt x="218" y="260"/>
                                                                                                        </a:lnTo>
                                                                                                        <a:lnTo>
                                                                                                          <a:pt x="214" y="264"/>
                                                                                                        </a:lnTo>
                                                                                                        <a:lnTo>
                                                                                                          <a:pt x="204" y="268"/>
                                                                                                        </a:lnTo>
                                                                                                        <a:lnTo>
                                                                                                          <a:pt x="194" y="270"/>
                                                                                                        </a:lnTo>
                                                                                                        <a:lnTo>
                                                                                                          <a:pt x="188" y="270"/>
                                                                                                        </a:lnTo>
                                                                                                        <a:lnTo>
                                                                                                          <a:pt x="188" y="270"/>
                                                                                                        </a:lnTo>
                                                                                                        <a:lnTo>
                                                                                                          <a:pt x="182" y="270"/>
                                                                                                        </a:lnTo>
                                                                                                        <a:lnTo>
                                                                                                          <a:pt x="176" y="270"/>
                                                                                                        </a:lnTo>
                                                                                                        <a:lnTo>
                                                                                                          <a:pt x="170" y="272"/>
                                                                                                        </a:lnTo>
                                                                                                        <a:lnTo>
                                                                                                          <a:pt x="170" y="274"/>
                                                                                                        </a:lnTo>
                                                                                                        <a:lnTo>
                                                                                                          <a:pt x="172" y="276"/>
                                                                                                        </a:lnTo>
                                                                                                        <a:lnTo>
                                                                                                          <a:pt x="172" y="276"/>
                                                                                                        </a:lnTo>
                                                                                                        <a:lnTo>
                                                                                                          <a:pt x="170" y="278"/>
                                                                                                        </a:lnTo>
                                                                                                        <a:lnTo>
                                                                                                          <a:pt x="166" y="280"/>
                                                                                                        </a:lnTo>
                                                                                                        <a:lnTo>
                                                                                                          <a:pt x="160" y="282"/>
                                                                                                        </a:lnTo>
                                                                                                        <a:lnTo>
                                                                                                          <a:pt x="156" y="282"/>
                                                                                                        </a:lnTo>
                                                                                                        <a:lnTo>
                                                                                                          <a:pt x="156" y="282"/>
                                                                                                        </a:lnTo>
                                                                                                        <a:lnTo>
                                                                                                          <a:pt x="152" y="280"/>
                                                                                                        </a:lnTo>
                                                                                                        <a:lnTo>
                                                                                                          <a:pt x="148" y="280"/>
                                                                                                        </a:lnTo>
                                                                                                        <a:lnTo>
                                                                                                          <a:pt x="146" y="284"/>
                                                                                                        </a:lnTo>
                                                                                                        <a:lnTo>
                                                                                                          <a:pt x="144" y="286"/>
                                                                                                        </a:lnTo>
                                                                                                        <a:lnTo>
                                                                                                          <a:pt x="140" y="286"/>
                                                                                                        </a:lnTo>
                                                                                                        <a:lnTo>
                                                                                                          <a:pt x="136" y="284"/>
                                                                                                        </a:lnTo>
                                                                                                        <a:lnTo>
                                                                                                          <a:pt x="130" y="282"/>
                                                                                                        </a:lnTo>
                                                                                                        <a:lnTo>
                                                                                                          <a:pt x="130" y="282"/>
                                                                                                        </a:lnTo>
                                                                                                        <a:lnTo>
                                                                                                          <a:pt x="122" y="278"/>
                                                                                                        </a:lnTo>
                                                                                                        <a:lnTo>
                                                                                                          <a:pt x="118" y="278"/>
                                                                                                        </a:lnTo>
                                                                                                        <a:lnTo>
                                                                                                          <a:pt x="114" y="282"/>
                                                                                                        </a:lnTo>
                                                                                                        <a:lnTo>
                                                                                                          <a:pt x="104" y="284"/>
                                                                                                        </a:lnTo>
                                                                                                        <a:lnTo>
                                                                                                          <a:pt x="104" y="284"/>
                                                                                                        </a:lnTo>
                                                                                                        <a:lnTo>
                                                                                                          <a:pt x="104" y="278"/>
                                                                                                        </a:lnTo>
                                                                                                        <a:lnTo>
                                                                                                          <a:pt x="102" y="278"/>
                                                                                                        </a:lnTo>
                                                                                                        <a:lnTo>
                                                                                                          <a:pt x="100" y="274"/>
                                                                                                        </a:lnTo>
                                                                                                        <a:lnTo>
                                                                                                          <a:pt x="100" y="266"/>
                                                                                                        </a:lnTo>
                                                                                                        <a:lnTo>
                                                                                                          <a:pt x="100" y="266"/>
                                                                                                        </a:lnTo>
                                                                                                        <a:lnTo>
                                                                                                          <a:pt x="102" y="258"/>
                                                                                                        </a:lnTo>
                                                                                                        <a:lnTo>
                                                                                                          <a:pt x="100" y="256"/>
                                                                                                        </a:lnTo>
                                                                                                        <a:lnTo>
                                                                                                          <a:pt x="98" y="254"/>
                                                                                                        </a:lnTo>
                                                                                                        <a:lnTo>
                                                                                                          <a:pt x="98" y="248"/>
                                                                                                        </a:lnTo>
                                                                                                        <a:lnTo>
                                                                                                          <a:pt x="98" y="248"/>
                                                                                                        </a:lnTo>
                                                                                                        <a:lnTo>
                                                                                                          <a:pt x="96" y="240"/>
                                                                                                        </a:lnTo>
                                                                                                        <a:lnTo>
                                                                                                          <a:pt x="92" y="236"/>
                                                                                                        </a:lnTo>
                                                                                                        <a:lnTo>
                                                                                                          <a:pt x="90" y="234"/>
                                                                                                        </a:lnTo>
                                                                                                        <a:lnTo>
                                                                                                          <a:pt x="88" y="234"/>
                                                                                                        </a:lnTo>
                                                                                                        <a:lnTo>
                                                                                                          <a:pt x="86" y="236"/>
                                                                                                        </a:lnTo>
                                                                                                        <a:lnTo>
                                                                                                          <a:pt x="86" y="236"/>
                                                                                                        </a:lnTo>
                                                                                                        <a:lnTo>
                                                                                                          <a:pt x="70" y="230"/>
                                                                                                        </a:lnTo>
                                                                                                        <a:lnTo>
                                                                                                          <a:pt x="70" y="230"/>
                                                                                                        </a:lnTo>
                                                                                                        <a:lnTo>
                                                                                                          <a:pt x="52" y="224"/>
                                                                                                        </a:lnTo>
                                                                                                        <a:lnTo>
                                                                                                          <a:pt x="44" y="218"/>
                                                                                                        </a:lnTo>
                                                                                                        <a:lnTo>
                                                                                                          <a:pt x="36" y="212"/>
                                                                                                        </a:lnTo>
                                                                                                        <a:lnTo>
                                                                                                          <a:pt x="26" y="208"/>
                                                                                                        </a:lnTo>
                                                                                                        <a:lnTo>
                                                                                                          <a:pt x="26" y="208"/>
                                                                                                        </a:lnTo>
                                                                                                        <a:lnTo>
                                                                                                          <a:pt x="26" y="204"/>
                                                                                                        </a:lnTo>
                                                                                                        <a:lnTo>
                                                                                                          <a:pt x="26" y="198"/>
                                                                                                        </a:lnTo>
                                                                                                        <a:lnTo>
                                                                                                          <a:pt x="22" y="190"/>
                                                                                                        </a:lnTo>
                                                                                                        <a:lnTo>
                                                                                                          <a:pt x="18" y="182"/>
                                                                                                        </a:lnTo>
                                                                                                        <a:lnTo>
                                                                                                          <a:pt x="18" y="178"/>
                                                                                                        </a:lnTo>
                                                                                                        <a:lnTo>
                                                                                                          <a:pt x="18" y="176"/>
                                                                                                        </a:lnTo>
                                                                                                        <a:lnTo>
                                                                                                          <a:pt x="18" y="176"/>
                                                                                                        </a:lnTo>
                                                                                                        <a:lnTo>
                                                                                                          <a:pt x="18" y="172"/>
                                                                                                        </a:lnTo>
                                                                                                        <a:lnTo>
                                                                                                          <a:pt x="18" y="170"/>
                                                                                                        </a:lnTo>
                                                                                                        <a:lnTo>
                                                                                                          <a:pt x="10" y="162"/>
                                                                                                        </a:lnTo>
                                                                                                        <a:lnTo>
                                                                                                          <a:pt x="6" y="156"/>
                                                                                                        </a:lnTo>
                                                                                                        <a:lnTo>
                                                                                                          <a:pt x="6" y="154"/>
                                                                                                        </a:lnTo>
                                                                                                        <a:lnTo>
                                                                                                          <a:pt x="8" y="150"/>
                                                                                                        </a:lnTo>
                                                                                                        <a:lnTo>
                                                                                                          <a:pt x="8" y="150"/>
                                                                                                        </a:lnTo>
                                                                                                        <a:lnTo>
                                                                                                          <a:pt x="10" y="148"/>
                                                                                                        </a:lnTo>
                                                                                                        <a:lnTo>
                                                                                                          <a:pt x="8" y="144"/>
                                                                                                        </a:lnTo>
                                                                                                        <a:lnTo>
                                                                                                          <a:pt x="6" y="138"/>
                                                                                                        </a:lnTo>
                                                                                                        <a:lnTo>
                                                                                                          <a:pt x="4" y="132"/>
                                                                                                        </a:lnTo>
                                                                                                        <a:lnTo>
                                                                                                          <a:pt x="4" y="132"/>
                                                                                                        </a:lnTo>
                                                                                                        <a:lnTo>
                                                                                                          <a:pt x="4" y="124"/>
                                                                                                        </a:lnTo>
                                                                                                        <a:lnTo>
                                                                                                          <a:pt x="2" y="116"/>
                                                                                                        </a:lnTo>
                                                                                                        <a:lnTo>
                                                                                                          <a:pt x="0" y="110"/>
                                                                                                        </a:lnTo>
                                                                                                        <a:lnTo>
                                                                                                          <a:pt x="2" y="100"/>
                                                                                                        </a:lnTo>
                                                                                                        <a:lnTo>
                                                                                                          <a:pt x="2" y="100"/>
                                                                                                        </a:lnTo>
                                                                                                        <a:lnTo>
                                                                                                          <a:pt x="10" y="90"/>
                                                                                                        </a:lnTo>
                                                                                                        <a:lnTo>
                                                                                                          <a:pt x="16" y="82"/>
                                                                                                        </a:lnTo>
                                                                                                        <a:lnTo>
                                                                                                          <a:pt x="18" y="76"/>
                                                                                                        </a:lnTo>
                                                                                                        <a:lnTo>
                                                                                                          <a:pt x="20" y="70"/>
                                                                                                        </a:lnTo>
                                                                                                        <a:lnTo>
                                                                                                          <a:pt x="20" y="70"/>
                                                                                                        </a:lnTo>
                                                                                                        <a:lnTo>
                                                                                                          <a:pt x="20" y="66"/>
                                                                                                        </a:lnTo>
                                                                                                        <a:lnTo>
                                                                                                          <a:pt x="22" y="64"/>
                                                                                                        </a:lnTo>
                                                                                                        <a:lnTo>
                                                                                                          <a:pt x="24" y="60"/>
                                                                                                        </a:lnTo>
                                                                                                        <a:lnTo>
                                                                                                          <a:pt x="24" y="54"/>
                                                                                                        </a:lnTo>
                                                                                                        <a:lnTo>
                                                                                                          <a:pt x="24" y="54"/>
                                                                                                        </a:lnTo>
                                                                                                        <a:lnTo>
                                                                                                          <a:pt x="22" y="54"/>
                                                                                                        </a:lnTo>
                                                                                                        <a:lnTo>
                                                                                                          <a:pt x="20" y="52"/>
                                                                                                        </a:lnTo>
                                                                                                        <a:lnTo>
                                                                                                          <a:pt x="14" y="52"/>
                                                                                                        </a:lnTo>
                                                                                                        <a:lnTo>
                                                                                                          <a:pt x="12" y="50"/>
                                                                                                        </a:lnTo>
                                                                                                        <a:lnTo>
                                                                                                          <a:pt x="10" y="48"/>
                                                                                                        </a:lnTo>
                                                                                                        <a:lnTo>
                                                                                                          <a:pt x="10" y="46"/>
                                                                                                        </a:lnTo>
                                                                                                        <a:lnTo>
                                                                                                          <a:pt x="14" y="42"/>
                                                                                                        </a:lnTo>
                                                                                                        <a:lnTo>
                                                                                                          <a:pt x="14" y="42"/>
                                                                                                        </a:lnTo>
                                                                                                        <a:lnTo>
                                                                                                          <a:pt x="22" y="44"/>
                                                                                                        </a:lnTo>
                                                                                                        <a:lnTo>
                                                                                                          <a:pt x="26" y="42"/>
                                                                                                        </a:lnTo>
                                                                                                        <a:lnTo>
                                                                                                          <a:pt x="28" y="38"/>
                                                                                                        </a:lnTo>
                                                                                                        <a:lnTo>
                                                                                                          <a:pt x="30" y="32"/>
                                                                                                        </a:lnTo>
                                                                                                        <a:lnTo>
                                                                                                          <a:pt x="30" y="32"/>
                                                                                                        </a:lnTo>
                                                                                                        <a:lnTo>
                                                                                                          <a:pt x="32" y="26"/>
                                                                                                        </a:lnTo>
                                                                                                        <a:lnTo>
                                                                                                          <a:pt x="32" y="22"/>
                                                                                                        </a:lnTo>
                                                                                                        <a:lnTo>
                                                                                                          <a:pt x="28" y="16"/>
                                                                                                        </a:lnTo>
                                                                                                        <a:lnTo>
                                                                                                          <a:pt x="28" y="8"/>
                                                                                                        </a:lnTo>
                                                                                                        <a:lnTo>
                                                                                                          <a:pt x="28" y="4"/>
                                                                                                        </a:lnTo>
                                                                                                        <a:lnTo>
                                                                                                          <a:pt x="30" y="0"/>
                                                                                                        </a:lnTo>
                                                                                                        <a:lnTo>
                                                                                                          <a:pt x="30" y="0"/>
                                                                                                        </a:lnTo>
                                                                                                        <a:lnTo>
                                                                                                          <a:pt x="40" y="4"/>
                                                                                                        </a:lnTo>
                                                                                                        <a:lnTo>
                                                                                                          <a:pt x="44" y="2"/>
                                                                                                        </a:lnTo>
                                                                                                        <a:lnTo>
                                                                                                          <a:pt x="48" y="0"/>
                                                                                                        </a:lnTo>
                                                                                                        <a:lnTo>
                                                                                                          <a:pt x="48" y="0"/>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baseline="-25000" dirty="0">
                                                                                                      <a:solidFill>
                                                                                                        <a:schemeClr val="tx1"/>
                                                                                                      </a:solidFill>
                                                                                                    </a:endParaRPr>
                                                                                                  </a:p>
                                                                                                </p:txBody>
                                                                                              </p:sp>
                                                                                              <p:sp>
                                                                                                <p:nvSpPr>
                                                                                                  <p:cNvPr id="770" name="Tunisia"/>
                                                                                                  <p:cNvSpPr>
                                                                                                    <a:spLocks/>
                                                                                                  </p:cNvSpPr>
                                                                                                  <p:nvPr/>
                                                                                                </p:nvSpPr>
                                                                                                <p:spPr bwMode="auto">
                                                                                                  <a:xfrm>
                                                                                                    <a:off x="5993419" y="2274095"/>
                                                                                                    <a:ext cx="127581" cy="257961"/>
                                                                                                  </a:xfrm>
                                                                                                  <a:custGeom>
                                                                                                    <a:avLst/>
                                                                                                    <a:gdLst/>
                                                                                                    <a:ahLst/>
                                                                                                    <a:cxnLst>
                                                                                                      <a:cxn ang="0">
                                                                                                        <a:pos x="34" y="142"/>
                                                                                                      </a:cxn>
                                                                                                      <a:cxn ang="0">
                                                                                                        <a:pos x="26" y="126"/>
                                                                                                      </a:cxn>
                                                                                                      <a:cxn ang="0">
                                                                                                        <a:pos x="20" y="120"/>
                                                                                                      </a:cxn>
                                                                                                      <a:cxn ang="0">
                                                                                                        <a:pos x="12" y="102"/>
                                                                                                      </a:cxn>
                                                                                                      <a:cxn ang="0">
                                                                                                        <a:pos x="4" y="96"/>
                                                                                                      </a:cxn>
                                                                                                      <a:cxn ang="0">
                                                                                                        <a:pos x="0" y="78"/>
                                                                                                      </a:cxn>
                                                                                                      <a:cxn ang="0">
                                                                                                        <a:pos x="8" y="72"/>
                                                                                                      </a:cxn>
                                                                                                      <a:cxn ang="0">
                                                                                                        <a:pos x="14" y="64"/>
                                                                                                      </a:cxn>
                                                                                                      <a:cxn ang="0">
                                                                                                        <a:pos x="18" y="60"/>
                                                                                                      </a:cxn>
                                                                                                      <a:cxn ang="0">
                                                                                                        <a:pos x="18" y="52"/>
                                                                                                      </a:cxn>
                                                                                                      <a:cxn ang="0">
                                                                                                        <a:pos x="18" y="44"/>
                                                                                                      </a:cxn>
                                                                                                      <a:cxn ang="0">
                                                                                                        <a:pos x="16" y="26"/>
                                                                                                      </a:cxn>
                                                                                                      <a:cxn ang="0">
                                                                                                        <a:pos x="14" y="22"/>
                                                                                                      </a:cxn>
                                                                                                      <a:cxn ang="0">
                                                                                                        <a:pos x="18" y="16"/>
                                                                                                      </a:cxn>
                                                                                                      <a:cxn ang="0">
                                                                                                        <a:pos x="34" y="4"/>
                                                                                                      </a:cxn>
                                                                                                      <a:cxn ang="0">
                                                                                                        <a:pos x="48" y="0"/>
                                                                                                      </a:cxn>
                                                                                                      <a:cxn ang="0">
                                                                                                        <a:pos x="54" y="4"/>
                                                                                                      </a:cxn>
                                                                                                      <a:cxn ang="0">
                                                                                                        <a:pos x="56" y="4"/>
                                                                                                      </a:cxn>
                                                                                                      <a:cxn ang="0">
                                                                                                        <a:pos x="54" y="10"/>
                                                                                                      </a:cxn>
                                                                                                      <a:cxn ang="0">
                                                                                                        <a:pos x="54" y="14"/>
                                                                                                      </a:cxn>
                                                                                                      <a:cxn ang="0">
                                                                                                        <a:pos x="60" y="12"/>
                                                                                                      </a:cxn>
                                                                                                      <a:cxn ang="0">
                                                                                                        <a:pos x="70" y="12"/>
                                                                                                      </a:cxn>
                                                                                                      <a:cxn ang="0">
                                                                                                        <a:pos x="70" y="14"/>
                                                                                                      </a:cxn>
                                                                                                      <a:cxn ang="0">
                                                                                                        <a:pos x="70" y="18"/>
                                                                                                      </a:cxn>
                                                                                                      <a:cxn ang="0">
                                                                                                        <a:pos x="66" y="24"/>
                                                                                                      </a:cxn>
                                                                                                      <a:cxn ang="0">
                                                                                                        <a:pos x="68" y="36"/>
                                                                                                      </a:cxn>
                                                                                                      <a:cxn ang="0">
                                                                                                        <a:pos x="76" y="46"/>
                                                                                                      </a:cxn>
                                                                                                      <a:cxn ang="0">
                                                                                                        <a:pos x="78" y="52"/>
                                                                                                      </a:cxn>
                                                                                                      <a:cxn ang="0">
                                                                                                        <a:pos x="74" y="64"/>
                                                                                                      </a:cxn>
                                                                                                      <a:cxn ang="0">
                                                                                                        <a:pos x="58" y="72"/>
                                                                                                      </a:cxn>
                                                                                                      <a:cxn ang="0">
                                                                                                        <a:pos x="54" y="80"/>
                                                                                                      </a:cxn>
                                                                                                      <a:cxn ang="0">
                                                                                                        <a:pos x="64" y="88"/>
                                                                                                      </a:cxn>
                                                                                                      <a:cxn ang="0">
                                                                                                        <a:pos x="70" y="86"/>
                                                                                                      </a:cxn>
                                                                                                      <a:cxn ang="0">
                                                                                                        <a:pos x="72" y="86"/>
                                                                                                      </a:cxn>
                                                                                                      <a:cxn ang="0">
                                                                                                        <a:pos x="70" y="90"/>
                                                                                                      </a:cxn>
                                                                                                      <a:cxn ang="0">
                                                                                                        <a:pos x="76" y="94"/>
                                                                                                      </a:cxn>
                                                                                                      <a:cxn ang="0">
                                                                                                        <a:pos x="80" y="110"/>
                                                                                                      </a:cxn>
                                                                                                      <a:cxn ang="0">
                                                                                                        <a:pos x="84" y="112"/>
                                                                                                      </a:cxn>
                                                                                                      <a:cxn ang="0">
                                                                                                        <a:pos x="78" y="118"/>
                                                                                                      </a:cxn>
                                                                                                      <a:cxn ang="0">
                                                                                                        <a:pos x="64" y="128"/>
                                                                                                      </a:cxn>
                                                                                                      <a:cxn ang="0">
                                                                                                        <a:pos x="58" y="136"/>
                                                                                                      </a:cxn>
                                                                                                      <a:cxn ang="0">
                                                                                                        <a:pos x="58" y="146"/>
                                                                                                      </a:cxn>
                                                                                                      <a:cxn ang="0">
                                                                                                        <a:pos x="58" y="158"/>
                                                                                                      </a:cxn>
                                                                                                      <a:cxn ang="0">
                                                                                                        <a:pos x="40" y="170"/>
                                                                                                      </a:cxn>
                                                                                                    </a:cxnLst>
                                                                                                    <a:rect l="0" t="0" r="r" b="b"/>
                                                                                                    <a:pathLst>
                                                                                                      <a:path w="84" h="170">
                                                                                                        <a:moveTo>
                                                                                                          <a:pt x="40" y="170"/>
                                                                                                        </a:moveTo>
                                                                                                        <a:lnTo>
                                                                                                          <a:pt x="40" y="170"/>
                                                                                                        </a:lnTo>
                                                                                                        <a:lnTo>
                                                                                                          <a:pt x="34" y="142"/>
                                                                                                        </a:lnTo>
                                                                                                        <a:lnTo>
                                                                                                          <a:pt x="32" y="132"/>
                                                                                                        </a:lnTo>
                                                                                                        <a:lnTo>
                                                                                                          <a:pt x="30" y="128"/>
                                                                                                        </a:lnTo>
                                                                                                        <a:lnTo>
                                                                                                          <a:pt x="26" y="126"/>
                                                                                                        </a:lnTo>
                                                                                                        <a:lnTo>
                                                                                                          <a:pt x="26" y="126"/>
                                                                                                        </a:lnTo>
                                                                                                        <a:lnTo>
                                                                                                          <a:pt x="22" y="124"/>
                                                                                                        </a:lnTo>
                                                                                                        <a:lnTo>
                                                                                                          <a:pt x="20" y="120"/>
                                                                                                        </a:lnTo>
                                                                                                        <a:lnTo>
                                                                                                          <a:pt x="16" y="112"/>
                                                                                                        </a:lnTo>
                                                                                                        <a:lnTo>
                                                                                                          <a:pt x="14" y="106"/>
                                                                                                        </a:lnTo>
                                                                                                        <a:lnTo>
                                                                                                          <a:pt x="12" y="102"/>
                                                                                                        </a:lnTo>
                                                                                                        <a:lnTo>
                                                                                                          <a:pt x="8" y="98"/>
                                                                                                        </a:lnTo>
                                                                                                        <a:lnTo>
                                                                                                          <a:pt x="8" y="98"/>
                                                                                                        </a:lnTo>
                                                                                                        <a:lnTo>
                                                                                                          <a:pt x="4" y="96"/>
                                                                                                        </a:lnTo>
                                                                                                        <a:lnTo>
                                                                                                          <a:pt x="2" y="92"/>
                                                                                                        </a:lnTo>
                                                                                                        <a:lnTo>
                                                                                                          <a:pt x="0" y="84"/>
                                                                                                        </a:lnTo>
                                                                                                        <a:lnTo>
                                                                                                          <a:pt x="0" y="78"/>
                                                                                                        </a:lnTo>
                                                                                                        <a:lnTo>
                                                                                                          <a:pt x="4" y="74"/>
                                                                                                        </a:lnTo>
                                                                                                        <a:lnTo>
                                                                                                          <a:pt x="4" y="74"/>
                                                                                                        </a:lnTo>
                                                                                                        <a:lnTo>
                                                                                                          <a:pt x="8" y="72"/>
                                                                                                        </a:lnTo>
                                                                                                        <a:lnTo>
                                                                                                          <a:pt x="10" y="70"/>
                                                                                                        </a:lnTo>
                                                                                                        <a:lnTo>
                                                                                                          <a:pt x="10" y="66"/>
                                                                                                        </a:lnTo>
                                                                                                        <a:lnTo>
                                                                                                          <a:pt x="14" y="64"/>
                                                                                                        </a:lnTo>
                                                                                                        <a:lnTo>
                                                                                                          <a:pt x="14" y="64"/>
                                                                                                        </a:lnTo>
                                                                                                        <a:lnTo>
                                                                                                          <a:pt x="18" y="62"/>
                                                                                                        </a:lnTo>
                                                                                                        <a:lnTo>
                                                                                                          <a:pt x="18" y="60"/>
                                                                                                        </a:lnTo>
                                                                                                        <a:lnTo>
                                                                                                          <a:pt x="18" y="56"/>
                                                                                                        </a:lnTo>
                                                                                                        <a:lnTo>
                                                                                                          <a:pt x="18" y="52"/>
                                                                                                        </a:lnTo>
                                                                                                        <a:lnTo>
                                                                                                          <a:pt x="18" y="52"/>
                                                                                                        </a:lnTo>
                                                                                                        <a:lnTo>
                                                                                                          <a:pt x="20" y="50"/>
                                                                                                        </a:lnTo>
                                                                                                        <a:lnTo>
                                                                                                          <a:pt x="18" y="48"/>
                                                                                                        </a:lnTo>
                                                                                                        <a:lnTo>
                                                                                                          <a:pt x="18" y="44"/>
                                                                                                        </a:lnTo>
                                                                                                        <a:lnTo>
                                                                                                          <a:pt x="16" y="38"/>
                                                                                                        </a:lnTo>
                                                                                                        <a:lnTo>
                                                                                                          <a:pt x="16" y="38"/>
                                                                                                        </a:lnTo>
                                                                                                        <a:lnTo>
                                                                                                          <a:pt x="16" y="26"/>
                                                                                                        </a:lnTo>
                                                                                                        <a:lnTo>
                                                                                                          <a:pt x="16" y="24"/>
                                                                                                        </a:lnTo>
                                                                                                        <a:lnTo>
                                                                                                          <a:pt x="14" y="22"/>
                                                                                                        </a:lnTo>
                                                                                                        <a:lnTo>
                                                                                                          <a:pt x="14" y="22"/>
                                                                                                        </a:lnTo>
                                                                                                        <a:lnTo>
                                                                                                          <a:pt x="12" y="22"/>
                                                                                                        </a:lnTo>
                                                                                                        <a:lnTo>
                                                                                                          <a:pt x="14" y="20"/>
                                                                                                        </a:lnTo>
                                                                                                        <a:lnTo>
                                                                                                          <a:pt x="18" y="16"/>
                                                                                                        </a:lnTo>
                                                                                                        <a:lnTo>
                                                                                                          <a:pt x="22" y="10"/>
                                                                                                        </a:lnTo>
                                                                                                        <a:lnTo>
                                                                                                          <a:pt x="22" y="10"/>
                                                                                                        </a:lnTo>
                                                                                                        <a:lnTo>
                                                                                                          <a:pt x="34" y="4"/>
                                                                                                        </a:lnTo>
                                                                                                        <a:lnTo>
                                                                                                          <a:pt x="42" y="2"/>
                                                                                                        </a:lnTo>
                                                                                                        <a:lnTo>
                                                                                                          <a:pt x="42" y="2"/>
                                                                                                        </a:lnTo>
                                                                                                        <a:lnTo>
                                                                                                          <a:pt x="48" y="0"/>
                                                                                                        </a:lnTo>
                                                                                                        <a:lnTo>
                                                                                                          <a:pt x="50" y="0"/>
                                                                                                        </a:lnTo>
                                                                                                        <a:lnTo>
                                                                                                          <a:pt x="52" y="2"/>
                                                                                                        </a:lnTo>
                                                                                                        <a:lnTo>
                                                                                                          <a:pt x="54" y="4"/>
                                                                                                        </a:lnTo>
                                                                                                        <a:lnTo>
                                                                                                          <a:pt x="54" y="4"/>
                                                                                                        </a:lnTo>
                                                                                                        <a:lnTo>
                                                                                                          <a:pt x="56" y="4"/>
                                                                                                        </a:lnTo>
                                                                                                        <a:lnTo>
                                                                                                          <a:pt x="56" y="4"/>
                                                                                                        </a:lnTo>
                                                                                                        <a:lnTo>
                                                                                                          <a:pt x="54" y="6"/>
                                                                                                        </a:lnTo>
                                                                                                        <a:lnTo>
                                                                                                          <a:pt x="52" y="8"/>
                                                                                                        </a:lnTo>
                                                                                                        <a:lnTo>
                                                                                                          <a:pt x="54" y="10"/>
                                                                                                        </a:lnTo>
                                                                                                        <a:lnTo>
                                                                                                          <a:pt x="54" y="10"/>
                                                                                                        </a:lnTo>
                                                                                                        <a:lnTo>
                                                                                                          <a:pt x="54" y="12"/>
                                                                                                        </a:lnTo>
                                                                                                        <a:lnTo>
                                                                                                          <a:pt x="54" y="14"/>
                                                                                                        </a:lnTo>
                                                                                                        <a:lnTo>
                                                                                                          <a:pt x="54" y="14"/>
                                                                                                        </a:lnTo>
                                                                                                        <a:lnTo>
                                                                                                          <a:pt x="60" y="12"/>
                                                                                                        </a:lnTo>
                                                                                                        <a:lnTo>
                                                                                                          <a:pt x="60" y="12"/>
                                                                                                        </a:lnTo>
                                                                                                        <a:lnTo>
                                                                                                          <a:pt x="68" y="10"/>
                                                                                                        </a:lnTo>
                                                                                                        <a:lnTo>
                                                                                                          <a:pt x="70" y="10"/>
                                                                                                        </a:lnTo>
                                                                                                        <a:lnTo>
                                                                                                          <a:pt x="70" y="12"/>
                                                                                                        </a:lnTo>
                                                                                                        <a:lnTo>
                                                                                                          <a:pt x="70" y="12"/>
                                                                                                        </a:lnTo>
                                                                                                        <a:lnTo>
                                                                                                          <a:pt x="70" y="14"/>
                                                                                                        </a:lnTo>
                                                                                                        <a:lnTo>
                                                                                                          <a:pt x="70" y="14"/>
                                                                                                        </a:lnTo>
                                                                                                        <a:lnTo>
                                                                                                          <a:pt x="70" y="16"/>
                                                                                                        </a:lnTo>
                                                                                                        <a:lnTo>
                                                                                                          <a:pt x="70" y="18"/>
                                                                                                        </a:lnTo>
                                                                                                        <a:lnTo>
                                                                                                          <a:pt x="70" y="18"/>
                                                                                                        </a:lnTo>
                                                                                                        <a:lnTo>
                                                                                                          <a:pt x="68" y="22"/>
                                                                                                        </a:lnTo>
                                                                                                        <a:lnTo>
                                                                                                          <a:pt x="66" y="22"/>
                                                                                                        </a:lnTo>
                                                                                                        <a:lnTo>
                                                                                                          <a:pt x="66" y="24"/>
                                                                                                        </a:lnTo>
                                                                                                        <a:lnTo>
                                                                                                          <a:pt x="66" y="30"/>
                                                                                                        </a:lnTo>
                                                                                                        <a:lnTo>
                                                                                                          <a:pt x="66" y="30"/>
                                                                                                        </a:lnTo>
                                                                                                        <a:lnTo>
                                                                                                          <a:pt x="68" y="36"/>
                                                                                                        </a:lnTo>
                                                                                                        <a:lnTo>
                                                                                                          <a:pt x="72" y="40"/>
                                                                                                        </a:lnTo>
                                                                                                        <a:lnTo>
                                                                                                          <a:pt x="74" y="42"/>
                                                                                                        </a:lnTo>
                                                                                                        <a:lnTo>
                                                                                                          <a:pt x="76" y="46"/>
                                                                                                        </a:lnTo>
                                                                                                        <a:lnTo>
                                                                                                          <a:pt x="76" y="46"/>
                                                                                                        </a:lnTo>
                                                                                                        <a:lnTo>
                                                                                                          <a:pt x="76" y="50"/>
                                                                                                        </a:lnTo>
                                                                                                        <a:lnTo>
                                                                                                          <a:pt x="78" y="52"/>
                                                                                                        </a:lnTo>
                                                                                                        <a:lnTo>
                                                                                                          <a:pt x="78" y="56"/>
                                                                                                        </a:lnTo>
                                                                                                        <a:lnTo>
                                                                                                          <a:pt x="74" y="64"/>
                                                                                                        </a:lnTo>
                                                                                                        <a:lnTo>
                                                                                                          <a:pt x="74" y="64"/>
                                                                                                        </a:lnTo>
                                                                                                        <a:lnTo>
                                                                                                          <a:pt x="68" y="70"/>
                                                                                                        </a:lnTo>
                                                                                                        <a:lnTo>
                                                                                                          <a:pt x="62" y="72"/>
                                                                                                        </a:lnTo>
                                                                                                        <a:lnTo>
                                                                                                          <a:pt x="58" y="72"/>
                                                                                                        </a:lnTo>
                                                                                                        <a:lnTo>
                                                                                                          <a:pt x="54" y="76"/>
                                                                                                        </a:lnTo>
                                                                                                        <a:lnTo>
                                                                                                          <a:pt x="54" y="76"/>
                                                                                                        </a:lnTo>
                                                                                                        <a:lnTo>
                                                                                                          <a:pt x="54" y="80"/>
                                                                                                        </a:lnTo>
                                                                                                        <a:lnTo>
                                                                                                          <a:pt x="54" y="82"/>
                                                                                                        </a:lnTo>
                                                                                                        <a:lnTo>
                                                                                                          <a:pt x="58" y="88"/>
                                                                                                        </a:lnTo>
                                                                                                        <a:lnTo>
                                                                                                          <a:pt x="64" y="88"/>
                                                                                                        </a:lnTo>
                                                                                                        <a:lnTo>
                                                                                                          <a:pt x="68" y="88"/>
                                                                                                        </a:lnTo>
                                                                                                        <a:lnTo>
                                                                                                          <a:pt x="68" y="88"/>
                                                                                                        </a:lnTo>
                                                                                                        <a:lnTo>
                                                                                                          <a:pt x="70" y="86"/>
                                                                                                        </a:lnTo>
                                                                                                        <a:lnTo>
                                                                                                          <a:pt x="68" y="84"/>
                                                                                                        </a:lnTo>
                                                                                                        <a:lnTo>
                                                                                                          <a:pt x="72" y="86"/>
                                                                                                        </a:lnTo>
                                                                                                        <a:lnTo>
                                                                                                          <a:pt x="72" y="86"/>
                                                                                                        </a:lnTo>
                                                                                                        <a:lnTo>
                                                                                                          <a:pt x="74" y="88"/>
                                                                                                        </a:lnTo>
                                                                                                        <a:lnTo>
                                                                                                          <a:pt x="72" y="90"/>
                                                                                                        </a:lnTo>
                                                                                                        <a:lnTo>
                                                                                                          <a:pt x="70" y="90"/>
                                                                                                        </a:lnTo>
                                                                                                        <a:lnTo>
                                                                                                          <a:pt x="72" y="92"/>
                                                                                                        </a:lnTo>
                                                                                                        <a:lnTo>
                                                                                                          <a:pt x="72" y="92"/>
                                                                                                        </a:lnTo>
                                                                                                        <a:lnTo>
                                                                                                          <a:pt x="76" y="94"/>
                                                                                                        </a:lnTo>
                                                                                                        <a:lnTo>
                                                                                                          <a:pt x="78" y="96"/>
                                                                                                        </a:lnTo>
                                                                                                        <a:lnTo>
                                                                                                          <a:pt x="82" y="98"/>
                                                                                                        </a:lnTo>
                                                                                                        <a:lnTo>
                                                                                                          <a:pt x="80" y="110"/>
                                                                                                        </a:lnTo>
                                                                                                        <a:lnTo>
                                                                                                          <a:pt x="80" y="110"/>
                                                                                                        </a:lnTo>
                                                                                                        <a:lnTo>
                                                                                                          <a:pt x="82" y="110"/>
                                                                                                        </a:lnTo>
                                                                                                        <a:lnTo>
                                                                                                          <a:pt x="84" y="112"/>
                                                                                                        </a:lnTo>
                                                                                                        <a:lnTo>
                                                                                                          <a:pt x="82" y="116"/>
                                                                                                        </a:lnTo>
                                                                                                        <a:lnTo>
                                                                                                          <a:pt x="78" y="118"/>
                                                                                                        </a:lnTo>
                                                                                                        <a:lnTo>
                                                                                                          <a:pt x="78" y="118"/>
                                                                                                        </a:lnTo>
                                                                                                        <a:lnTo>
                                                                                                          <a:pt x="70" y="122"/>
                                                                                                        </a:lnTo>
                                                                                                        <a:lnTo>
                                                                                                          <a:pt x="66" y="124"/>
                                                                                                        </a:lnTo>
                                                                                                        <a:lnTo>
                                                                                                          <a:pt x="64" y="128"/>
                                                                                                        </a:lnTo>
                                                                                                        <a:lnTo>
                                                                                                          <a:pt x="64" y="128"/>
                                                                                                        </a:lnTo>
                                                                                                        <a:lnTo>
                                                                                                          <a:pt x="62" y="132"/>
                                                                                                        </a:lnTo>
                                                                                                        <a:lnTo>
                                                                                                          <a:pt x="58" y="136"/>
                                                                                                        </a:lnTo>
                                                                                                        <a:lnTo>
                                                                                                          <a:pt x="56" y="140"/>
                                                                                                        </a:lnTo>
                                                                                                        <a:lnTo>
                                                                                                          <a:pt x="58" y="146"/>
                                                                                                        </a:lnTo>
                                                                                                        <a:lnTo>
                                                                                                          <a:pt x="58" y="146"/>
                                                                                                        </a:lnTo>
                                                                                                        <a:lnTo>
                                                                                                          <a:pt x="60" y="150"/>
                                                                                                        </a:lnTo>
                                                                                                        <a:lnTo>
                                                                                                          <a:pt x="60" y="154"/>
                                                                                                        </a:lnTo>
                                                                                                        <a:lnTo>
                                                                                                          <a:pt x="58" y="158"/>
                                                                                                        </a:lnTo>
                                                                                                        <a:lnTo>
                                                                                                          <a:pt x="54" y="162"/>
                                                                                                        </a:lnTo>
                                                                                                        <a:lnTo>
                                                                                                          <a:pt x="46" y="166"/>
                                                                                                        </a:lnTo>
                                                                                                        <a:lnTo>
                                                                                                          <a:pt x="40" y="170"/>
                                                                                                        </a:lnTo>
                                                                                                        <a:lnTo>
                                                                                                          <a:pt x="40" y="170"/>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baseline="-25000" dirty="0">
                                                                                                      <a:solidFill>
                                                                                                        <a:schemeClr val="tx1"/>
                                                                                                      </a:solidFill>
                                                                                                    </a:endParaRPr>
                                                                                                  </a:p>
                                                                                                </p:txBody>
                                                                                              </p:sp>
                                                                                              <p:sp>
                                                                                                <p:nvSpPr>
                                                                                                  <p:cNvPr id="772" name="Uganda"/>
                                                                                                  <p:cNvSpPr>
                                                                                                    <a:spLocks/>
                                                                                                  </p:cNvSpPr>
                                                                                                  <p:nvPr/>
                                                                                                </p:nvSpPr>
                                                                                                <p:spPr bwMode="auto">
                                                                                                  <a:xfrm>
                                                                                                    <a:off x="6744359" y="3521410"/>
                                                                                                    <a:ext cx="173146" cy="203334"/>
                                                                                                  </a:xfrm>
                                                                                                  <a:custGeom>
                                                                                                    <a:avLst/>
                                                                                                    <a:gdLst/>
                                                                                                    <a:ahLst/>
                                                                                                    <a:cxnLst>
                                                                                                      <a:cxn ang="0">
                                                                                                        <a:pos x="92" y="104"/>
                                                                                                      </a:cxn>
                                                                                                      <a:cxn ang="0">
                                                                                                        <a:pos x="88" y="104"/>
                                                                                                      </a:cxn>
                                                                                                      <a:cxn ang="0">
                                                                                                        <a:pos x="86" y="104"/>
                                                                                                      </a:cxn>
                                                                                                      <a:cxn ang="0">
                                                                                                        <a:pos x="84" y="100"/>
                                                                                                      </a:cxn>
                                                                                                      <a:cxn ang="0">
                                                                                                        <a:pos x="80" y="104"/>
                                                                                                      </a:cxn>
                                                                                                      <a:cxn ang="0">
                                                                                                        <a:pos x="74" y="104"/>
                                                                                                      </a:cxn>
                                                                                                      <a:cxn ang="0">
                                                                                                        <a:pos x="70" y="106"/>
                                                                                                      </a:cxn>
                                                                                                      <a:cxn ang="0">
                                                                                                        <a:pos x="64" y="106"/>
                                                                                                      </a:cxn>
                                                                                                      <a:cxn ang="0">
                                                                                                        <a:pos x="62" y="110"/>
                                                                                                      </a:cxn>
                                                                                                      <a:cxn ang="0">
                                                                                                        <a:pos x="62" y="112"/>
                                                                                                      </a:cxn>
                                                                                                      <a:cxn ang="0">
                                                                                                        <a:pos x="58" y="114"/>
                                                                                                      </a:cxn>
                                                                                                      <a:cxn ang="0">
                                                                                                        <a:pos x="58" y="116"/>
                                                                                                      </a:cxn>
                                                                                                      <a:cxn ang="0">
                                                                                                        <a:pos x="52" y="124"/>
                                                                                                      </a:cxn>
                                                                                                      <a:cxn ang="0">
                                                                                                        <a:pos x="52" y="128"/>
                                                                                                      </a:cxn>
                                                                                                      <a:cxn ang="0">
                                                                                                        <a:pos x="44" y="132"/>
                                                                                                      </a:cxn>
                                                                                                      <a:cxn ang="0">
                                                                                                        <a:pos x="34" y="128"/>
                                                                                                      </a:cxn>
                                                                                                      <a:cxn ang="0">
                                                                                                        <a:pos x="24" y="130"/>
                                                                                                      </a:cxn>
                                                                                                      <a:cxn ang="0">
                                                                                                        <a:pos x="14" y="134"/>
                                                                                                      </a:cxn>
                                                                                                      <a:cxn ang="0">
                                                                                                        <a:pos x="10" y="132"/>
                                                                                                      </a:cxn>
                                                                                                      <a:cxn ang="0">
                                                                                                        <a:pos x="4" y="134"/>
                                                                                                      </a:cxn>
                                                                                                      <a:cxn ang="0">
                                                                                                        <a:pos x="2" y="116"/>
                                                                                                      </a:cxn>
                                                                                                      <a:cxn ang="0">
                                                                                                        <a:pos x="8" y="100"/>
                                                                                                      </a:cxn>
                                                                                                      <a:cxn ang="0">
                                                                                                        <a:pos x="10" y="92"/>
                                                                                                      </a:cxn>
                                                                                                      <a:cxn ang="0">
                                                                                                        <a:pos x="24" y="78"/>
                                                                                                      </a:cxn>
                                                                                                      <a:cxn ang="0">
                                                                                                        <a:pos x="32" y="62"/>
                                                                                                      </a:cxn>
                                                                                                      <a:cxn ang="0">
                                                                                                        <a:pos x="38" y="50"/>
                                                                                                      </a:cxn>
                                                                                                      <a:cxn ang="0">
                                                                                                        <a:pos x="42" y="48"/>
                                                                                                      </a:cxn>
                                                                                                      <a:cxn ang="0">
                                                                                                        <a:pos x="40" y="46"/>
                                                                                                      </a:cxn>
                                                                                                      <a:cxn ang="0">
                                                                                                        <a:pos x="32" y="44"/>
                                                                                                      </a:cxn>
                                                                                                      <a:cxn ang="0">
                                                                                                        <a:pos x="28" y="42"/>
                                                                                                      </a:cxn>
                                                                                                      <a:cxn ang="0">
                                                                                                        <a:pos x="26" y="32"/>
                                                                                                      </a:cxn>
                                                                                                      <a:cxn ang="0">
                                                                                                        <a:pos x="26" y="24"/>
                                                                                                      </a:cxn>
                                                                                                      <a:cxn ang="0">
                                                                                                        <a:pos x="24" y="20"/>
                                                                                                      </a:cxn>
                                                                                                      <a:cxn ang="0">
                                                                                                        <a:pos x="30" y="10"/>
                                                                                                      </a:cxn>
                                                                                                      <a:cxn ang="0">
                                                                                                        <a:pos x="44" y="8"/>
                                                                                                      </a:cxn>
                                                                                                      <a:cxn ang="0">
                                                                                                        <a:pos x="64" y="10"/>
                                                                                                      </a:cxn>
                                                                                                      <a:cxn ang="0">
                                                                                                        <a:pos x="78" y="6"/>
                                                                                                      </a:cxn>
                                                                                                      <a:cxn ang="0">
                                                                                                        <a:pos x="88" y="0"/>
                                                                                                      </a:cxn>
                                                                                                      <a:cxn ang="0">
                                                                                                        <a:pos x="96" y="14"/>
                                                                                                      </a:cxn>
                                                                                                      <a:cxn ang="0">
                                                                                                        <a:pos x="100" y="26"/>
                                                                                                      </a:cxn>
                                                                                                      <a:cxn ang="0">
                                                                                                        <a:pos x="106" y="28"/>
                                                                                                      </a:cxn>
                                                                                                      <a:cxn ang="0">
                                                                                                        <a:pos x="108" y="30"/>
                                                                                                      </a:cxn>
                                                                                                      <a:cxn ang="0">
                                                                                                        <a:pos x="108" y="34"/>
                                                                                                      </a:cxn>
                                                                                                      <a:cxn ang="0">
                                                                                                        <a:pos x="108" y="40"/>
                                                                                                      </a:cxn>
                                                                                                      <a:cxn ang="0">
                                                                                                        <a:pos x="114" y="54"/>
                                                                                                      </a:cxn>
                                                                                                      <a:cxn ang="0">
                                                                                                        <a:pos x="114" y="62"/>
                                                                                                      </a:cxn>
                                                                                                      <a:cxn ang="0">
                                                                                                        <a:pos x="110" y="72"/>
                                                                                                      </a:cxn>
                                                                                                      <a:cxn ang="0">
                                                                                                        <a:pos x="112" y="82"/>
                                                                                                      </a:cxn>
                                                                                                      <a:cxn ang="0">
                                                                                                        <a:pos x="108" y="84"/>
                                                                                                      </a:cxn>
                                                                                                      <a:cxn ang="0">
                                                                                                        <a:pos x="102" y="88"/>
                                                                                                      </a:cxn>
                                                                                                      <a:cxn ang="0">
                                                                                                        <a:pos x="92" y="104"/>
                                                                                                      </a:cxn>
                                                                                                    </a:cxnLst>
                                                                                                    <a:rect l="0" t="0" r="r" b="b"/>
                                                                                                    <a:pathLst>
                                                                                                      <a:path w="114" h="134">
                                                                                                        <a:moveTo>
                                                                                                          <a:pt x="92" y="104"/>
                                                                                                        </a:moveTo>
                                                                                                        <a:lnTo>
                                                                                                          <a:pt x="92" y="104"/>
                                                                                                        </a:lnTo>
                                                                                                        <a:lnTo>
                                                                                                          <a:pt x="90" y="102"/>
                                                                                                        </a:lnTo>
                                                                                                        <a:lnTo>
                                                                                                          <a:pt x="88" y="104"/>
                                                                                                        </a:lnTo>
                                                                                                        <a:lnTo>
                                                                                                          <a:pt x="88" y="104"/>
                                                                                                        </a:lnTo>
                                                                                                        <a:lnTo>
                                                                                                          <a:pt x="86" y="104"/>
                                                                                                        </a:lnTo>
                                                                                                        <a:lnTo>
                                                                                                          <a:pt x="86" y="104"/>
                                                                                                        </a:lnTo>
                                                                                                        <a:lnTo>
                                                                                                          <a:pt x="84" y="100"/>
                                                                                                        </a:lnTo>
                                                                                                        <a:lnTo>
                                                                                                          <a:pt x="80" y="104"/>
                                                                                                        </a:lnTo>
                                                                                                        <a:lnTo>
                                                                                                          <a:pt x="80" y="104"/>
                                                                                                        </a:lnTo>
                                                                                                        <a:lnTo>
                                                                                                          <a:pt x="76" y="104"/>
                                                                                                        </a:lnTo>
                                                                                                        <a:lnTo>
                                                                                                          <a:pt x="74" y="104"/>
                                                                                                        </a:lnTo>
                                                                                                        <a:lnTo>
                                                                                                          <a:pt x="72" y="104"/>
                                                                                                        </a:lnTo>
                                                                                                        <a:lnTo>
                                                                                                          <a:pt x="70" y="106"/>
                                                                                                        </a:lnTo>
                                                                                                        <a:lnTo>
                                                                                                          <a:pt x="70" y="106"/>
                                                                                                        </a:lnTo>
                                                                                                        <a:lnTo>
                                                                                                          <a:pt x="64" y="106"/>
                                                                                                        </a:lnTo>
                                                                                                        <a:lnTo>
                                                                                                          <a:pt x="62" y="106"/>
                                                                                                        </a:lnTo>
                                                                                                        <a:lnTo>
                                                                                                          <a:pt x="62" y="110"/>
                                                                                                        </a:lnTo>
                                                                                                        <a:lnTo>
                                                                                                          <a:pt x="62" y="110"/>
                                                                                                        </a:lnTo>
                                                                                                        <a:lnTo>
                                                                                                          <a:pt x="62" y="112"/>
                                                                                                        </a:lnTo>
                                                                                                        <a:lnTo>
                                                                                                          <a:pt x="60" y="112"/>
                                                                                                        </a:lnTo>
                                                                                                        <a:lnTo>
                                                                                                          <a:pt x="58" y="114"/>
                                                                                                        </a:lnTo>
                                                                                                        <a:lnTo>
                                                                                                          <a:pt x="58" y="116"/>
                                                                                                        </a:lnTo>
                                                                                                        <a:lnTo>
                                                                                                          <a:pt x="58" y="116"/>
                                                                                                        </a:lnTo>
                                                                                                        <a:lnTo>
                                                                                                          <a:pt x="54" y="122"/>
                                                                                                        </a:lnTo>
                                                                                                        <a:lnTo>
                                                                                                          <a:pt x="52" y="124"/>
                                                                                                        </a:lnTo>
                                                                                                        <a:lnTo>
                                                                                                          <a:pt x="52" y="128"/>
                                                                                                        </a:lnTo>
                                                                                                        <a:lnTo>
                                                                                                          <a:pt x="52" y="128"/>
                                                                                                        </a:lnTo>
                                                                                                        <a:lnTo>
                                                                                                          <a:pt x="48" y="130"/>
                                                                                                        </a:lnTo>
                                                                                                        <a:lnTo>
                                                                                                          <a:pt x="44" y="132"/>
                                                                                                        </a:lnTo>
                                                                                                        <a:lnTo>
                                                                                                          <a:pt x="34" y="128"/>
                                                                                                        </a:lnTo>
                                                                                                        <a:lnTo>
                                                                                                          <a:pt x="34" y="128"/>
                                                                                                        </a:lnTo>
                                                                                                        <a:lnTo>
                                                                                                          <a:pt x="30" y="128"/>
                                                                                                        </a:lnTo>
                                                                                                        <a:lnTo>
                                                                                                          <a:pt x="24" y="130"/>
                                                                                                        </a:lnTo>
                                                                                                        <a:lnTo>
                                                                                                          <a:pt x="24" y="130"/>
                                                                                                        </a:lnTo>
                                                                                                        <a:lnTo>
                                                                                                          <a:pt x="14" y="134"/>
                                                                                                        </a:lnTo>
                                                                                                        <a:lnTo>
                                                                                                          <a:pt x="12" y="132"/>
                                                                                                        </a:lnTo>
                                                                                                        <a:lnTo>
                                                                                                          <a:pt x="10" y="132"/>
                                                                                                        </a:lnTo>
                                                                                                        <a:lnTo>
                                                                                                          <a:pt x="4" y="134"/>
                                                                                                        </a:lnTo>
                                                                                                        <a:lnTo>
                                                                                                          <a:pt x="4" y="134"/>
                                                                                                        </a:lnTo>
                                                                                                        <a:lnTo>
                                                                                                          <a:pt x="0" y="122"/>
                                                                                                        </a:lnTo>
                                                                                                        <a:lnTo>
                                                                                                          <a:pt x="2" y="116"/>
                                                                                                        </a:lnTo>
                                                                                                        <a:lnTo>
                                                                                                          <a:pt x="4" y="110"/>
                                                                                                        </a:lnTo>
                                                                                                        <a:lnTo>
                                                                                                          <a:pt x="8" y="100"/>
                                                                                                        </a:lnTo>
                                                                                                        <a:lnTo>
                                                                                                          <a:pt x="8" y="100"/>
                                                                                                        </a:lnTo>
                                                                                                        <a:lnTo>
                                                                                                          <a:pt x="10" y="92"/>
                                                                                                        </a:lnTo>
                                                                                                        <a:lnTo>
                                                                                                          <a:pt x="16" y="86"/>
                                                                                                        </a:lnTo>
                                                                                                        <a:lnTo>
                                                                                                          <a:pt x="24" y="78"/>
                                                                                                        </a:lnTo>
                                                                                                        <a:lnTo>
                                                                                                          <a:pt x="32" y="62"/>
                                                                                                        </a:lnTo>
                                                                                                        <a:lnTo>
                                                                                                          <a:pt x="32" y="62"/>
                                                                                                        </a:lnTo>
                                                                                                        <a:lnTo>
                                                                                                          <a:pt x="36" y="54"/>
                                                                                                        </a:lnTo>
                                                                                                        <a:lnTo>
                                                                                                          <a:pt x="38" y="50"/>
                                                                                                        </a:lnTo>
                                                                                                        <a:lnTo>
                                                                                                          <a:pt x="40" y="50"/>
                                                                                                        </a:lnTo>
                                                                                                        <a:lnTo>
                                                                                                          <a:pt x="42" y="48"/>
                                                                                                        </a:lnTo>
                                                                                                        <a:lnTo>
                                                                                                          <a:pt x="42" y="48"/>
                                                                                                        </a:lnTo>
                                                                                                        <a:lnTo>
                                                                                                          <a:pt x="40" y="46"/>
                                                                                                        </a:lnTo>
                                                                                                        <a:lnTo>
                                                                                                          <a:pt x="38" y="46"/>
                                                                                                        </a:lnTo>
                                                                                                        <a:lnTo>
                                                                                                          <a:pt x="32" y="44"/>
                                                                                                        </a:lnTo>
                                                                                                        <a:lnTo>
                                                                                                          <a:pt x="30" y="44"/>
                                                                                                        </a:lnTo>
                                                                                                        <a:lnTo>
                                                                                                          <a:pt x="28" y="42"/>
                                                                                                        </a:lnTo>
                                                                                                        <a:lnTo>
                                                                                                          <a:pt x="26" y="38"/>
                                                                                                        </a:lnTo>
                                                                                                        <a:lnTo>
                                                                                                          <a:pt x="26" y="32"/>
                                                                                                        </a:lnTo>
                                                                                                        <a:lnTo>
                                                                                                          <a:pt x="26" y="32"/>
                                                                                                        </a:lnTo>
                                                                                                        <a:lnTo>
                                                                                                          <a:pt x="26" y="24"/>
                                                                                                        </a:lnTo>
                                                                                                        <a:lnTo>
                                                                                                          <a:pt x="24" y="22"/>
                                                                                                        </a:lnTo>
                                                                                                        <a:lnTo>
                                                                                                          <a:pt x="24" y="20"/>
                                                                                                        </a:lnTo>
                                                                                                        <a:lnTo>
                                                                                                          <a:pt x="30" y="10"/>
                                                                                                        </a:lnTo>
                                                                                                        <a:lnTo>
                                                                                                          <a:pt x="30" y="10"/>
                                                                                                        </a:lnTo>
                                                                                                        <a:lnTo>
                                                                                                          <a:pt x="38" y="8"/>
                                                                                                        </a:lnTo>
                                                                                                        <a:lnTo>
                                                                                                          <a:pt x="44" y="8"/>
                                                                                                        </a:lnTo>
                                                                                                        <a:lnTo>
                                                                                                          <a:pt x="56" y="10"/>
                                                                                                        </a:lnTo>
                                                                                                        <a:lnTo>
                                                                                                          <a:pt x="64" y="10"/>
                                                                                                        </a:lnTo>
                                                                                                        <a:lnTo>
                                                                                                          <a:pt x="70" y="10"/>
                                                                                                        </a:lnTo>
                                                                                                        <a:lnTo>
                                                                                                          <a:pt x="78" y="6"/>
                                                                                                        </a:lnTo>
                                                                                                        <a:lnTo>
                                                                                                          <a:pt x="88" y="0"/>
                                                                                                        </a:lnTo>
                                                                                                        <a:lnTo>
                                                                                                          <a:pt x="88" y="0"/>
                                                                                                        </a:lnTo>
                                                                                                        <a:lnTo>
                                                                                                          <a:pt x="94" y="8"/>
                                                                                                        </a:lnTo>
                                                                                                        <a:lnTo>
                                                                                                          <a:pt x="96" y="14"/>
                                                                                                        </a:lnTo>
                                                                                                        <a:lnTo>
                                                                                                          <a:pt x="96" y="18"/>
                                                                                                        </a:lnTo>
                                                                                                        <a:lnTo>
                                                                                                          <a:pt x="100" y="26"/>
                                                                                                        </a:lnTo>
                                                                                                        <a:lnTo>
                                                                                                          <a:pt x="100" y="26"/>
                                                                                                        </a:lnTo>
                                                                                                        <a:lnTo>
                                                                                                          <a:pt x="106" y="28"/>
                                                                                                        </a:lnTo>
                                                                                                        <a:lnTo>
                                                                                                          <a:pt x="108" y="28"/>
                                                                                                        </a:lnTo>
                                                                                                        <a:lnTo>
                                                                                                          <a:pt x="108" y="30"/>
                                                                                                        </a:lnTo>
                                                                                                        <a:lnTo>
                                                                                                          <a:pt x="108" y="34"/>
                                                                                                        </a:lnTo>
                                                                                                        <a:lnTo>
                                                                                                          <a:pt x="108" y="34"/>
                                                                                                        </a:lnTo>
                                                                                                        <a:lnTo>
                                                                                                          <a:pt x="108" y="36"/>
                                                                                                        </a:lnTo>
                                                                                                        <a:lnTo>
                                                                                                          <a:pt x="108" y="40"/>
                                                                                                        </a:lnTo>
                                                                                                        <a:lnTo>
                                                                                                          <a:pt x="112" y="46"/>
                                                                                                        </a:lnTo>
                                                                                                        <a:lnTo>
                                                                                                          <a:pt x="114" y="54"/>
                                                                                                        </a:lnTo>
                                                                                                        <a:lnTo>
                                                                                                          <a:pt x="114" y="58"/>
                                                                                                        </a:lnTo>
                                                                                                        <a:lnTo>
                                                                                                          <a:pt x="114" y="62"/>
                                                                                                        </a:lnTo>
                                                                                                        <a:lnTo>
                                                                                                          <a:pt x="114" y="62"/>
                                                                                                        </a:lnTo>
                                                                                                        <a:lnTo>
                                                                                                          <a:pt x="110" y="72"/>
                                                                                                        </a:lnTo>
                                                                                                        <a:lnTo>
                                                                                                          <a:pt x="112" y="78"/>
                                                                                                        </a:lnTo>
                                                                                                        <a:lnTo>
                                                                                                          <a:pt x="112" y="82"/>
                                                                                                        </a:lnTo>
                                                                                                        <a:lnTo>
                                                                                                          <a:pt x="108" y="84"/>
                                                                                                        </a:lnTo>
                                                                                                        <a:lnTo>
                                                                                                          <a:pt x="108" y="84"/>
                                                                                                        </a:lnTo>
                                                                                                        <a:lnTo>
                                                                                                          <a:pt x="104" y="86"/>
                                                                                                        </a:lnTo>
                                                                                                        <a:lnTo>
                                                                                                          <a:pt x="102" y="88"/>
                                                                                                        </a:lnTo>
                                                                                                        <a:lnTo>
                                                                                                          <a:pt x="92" y="104"/>
                                                                                                        </a:lnTo>
                                                                                                        <a:lnTo>
                                                                                                          <a:pt x="92" y="104"/>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baseline="-25000" dirty="0">
                                                                                                      <a:solidFill>
                                                                                                        <a:schemeClr val="tx1"/>
                                                                                                      </a:solidFill>
                                                                                                    </a:endParaRPr>
                                                                                                  </a:p>
                                                                                                </p:txBody>
                                                                                              </p:sp>
                                                                                              <p:sp>
                                                                                                <p:nvSpPr>
                                                                                                  <p:cNvPr id="775" name="Botswana &amp; Zimbabwe"/>
                                                                                                  <p:cNvSpPr>
                                                                                                    <a:spLocks/>
                                                                                                  </p:cNvSpPr>
                                                                                                  <p:nvPr/>
                                                                                                </p:nvSpPr>
                                                                                                <p:spPr bwMode="auto">
                                                                                                  <a:xfrm>
                                                                                                    <a:off x="6486159" y="4009942"/>
                                                                                                    <a:ext cx="379705" cy="373285"/>
                                                                                                  </a:xfrm>
                                                                                                  <a:custGeom>
                                                                                                    <a:avLst/>
                                                                                                    <a:gdLst/>
                                                                                                    <a:ahLst/>
                                                                                                    <a:cxnLst>
                                                                                                      <a:cxn ang="0">
                                                                                                        <a:pos x="168" y="186"/>
                                                                                                      </a:cxn>
                                                                                                      <a:cxn ang="0">
                                                                                                        <a:pos x="166" y="178"/>
                                                                                                      </a:cxn>
                                                                                                      <a:cxn ang="0">
                                                                                                        <a:pos x="202" y="166"/>
                                                                                                      </a:cxn>
                                                                                                      <a:cxn ang="0">
                                                                                                        <a:pos x="234" y="152"/>
                                                                                                      </a:cxn>
                                                                                                      <a:cxn ang="0">
                                                                                                        <a:pos x="228" y="152"/>
                                                                                                      </a:cxn>
                                                                                                      <a:cxn ang="0">
                                                                                                        <a:pos x="224" y="150"/>
                                                                                                      </a:cxn>
                                                                                                      <a:cxn ang="0">
                                                                                                        <a:pos x="226" y="142"/>
                                                                                                      </a:cxn>
                                                                                                      <a:cxn ang="0">
                                                                                                        <a:pos x="230" y="128"/>
                                                                                                      </a:cxn>
                                                                                                      <a:cxn ang="0">
                                                                                                        <a:pos x="240" y="120"/>
                                                                                                      </a:cxn>
                                                                                                      <a:cxn ang="0">
                                                                                                        <a:pos x="246" y="112"/>
                                                                                                      </a:cxn>
                                                                                                      <a:cxn ang="0">
                                                                                                        <a:pos x="242" y="112"/>
                                                                                                      </a:cxn>
                                                                                                      <a:cxn ang="0">
                                                                                                        <a:pos x="240" y="92"/>
                                                                                                      </a:cxn>
                                                                                                      <a:cxn ang="0">
                                                                                                        <a:pos x="248" y="72"/>
                                                                                                      </a:cxn>
                                                                                                      <a:cxn ang="0">
                                                                                                        <a:pos x="248" y="66"/>
                                                                                                      </a:cxn>
                                                                                                      <a:cxn ang="0">
                                                                                                        <a:pos x="246" y="56"/>
                                                                                                      </a:cxn>
                                                                                                      <a:cxn ang="0">
                                                                                                        <a:pos x="244" y="46"/>
                                                                                                      </a:cxn>
                                                                                                      <a:cxn ang="0">
                                                                                                        <a:pos x="244" y="36"/>
                                                                                                      </a:cxn>
                                                                                                      <a:cxn ang="0">
                                                                                                        <a:pos x="218" y="24"/>
                                                                                                      </a:cxn>
                                                                                                      <a:cxn ang="0">
                                                                                                        <a:pos x="200" y="14"/>
                                                                                                      </a:cxn>
                                                                                                      <a:cxn ang="0">
                                                                                                        <a:pos x="190" y="12"/>
                                                                                                      </a:cxn>
                                                                                                      <a:cxn ang="0">
                                                                                                        <a:pos x="184" y="4"/>
                                                                                                      </a:cxn>
                                                                                                      <a:cxn ang="0">
                                                                                                        <a:pos x="154" y="10"/>
                                                                                                      </a:cxn>
                                                                                                      <a:cxn ang="0">
                                                                                                        <a:pos x="156" y="20"/>
                                                                                                      </a:cxn>
                                                                                                      <a:cxn ang="0">
                                                                                                        <a:pos x="148" y="30"/>
                                                                                                      </a:cxn>
                                                                                                      <a:cxn ang="0">
                                                                                                        <a:pos x="154" y="40"/>
                                                                                                      </a:cxn>
                                                                                                      <a:cxn ang="0">
                                                                                                        <a:pos x="152" y="48"/>
                                                                                                      </a:cxn>
                                                                                                      <a:cxn ang="0">
                                                                                                        <a:pos x="146" y="60"/>
                                                                                                      </a:cxn>
                                                                                                      <a:cxn ang="0">
                                                                                                        <a:pos x="142" y="68"/>
                                                                                                      </a:cxn>
                                                                                                      <a:cxn ang="0">
                                                                                                        <a:pos x="144" y="86"/>
                                                                                                      </a:cxn>
                                                                                                      <a:cxn ang="0">
                                                                                                        <a:pos x="142" y="92"/>
                                                                                                      </a:cxn>
                                                                                                      <a:cxn ang="0">
                                                                                                        <a:pos x="158" y="104"/>
                                                                                                      </a:cxn>
                                                                                                      <a:cxn ang="0">
                                                                                                        <a:pos x="164" y="102"/>
                                                                                                      </a:cxn>
                                                                                                      <a:cxn ang="0">
                                                                                                        <a:pos x="160" y="126"/>
                                                                                                      </a:cxn>
                                                                                                      <a:cxn ang="0">
                                                                                                        <a:pos x="156" y="122"/>
                                                                                                      </a:cxn>
                                                                                                      <a:cxn ang="0">
                                                                                                        <a:pos x="144" y="118"/>
                                                                                                      </a:cxn>
                                                                                                      <a:cxn ang="0">
                                                                                                        <a:pos x="130" y="104"/>
                                                                                                      </a:cxn>
                                                                                                      <a:cxn ang="0">
                                                                                                        <a:pos x="114" y="96"/>
                                                                                                      </a:cxn>
                                                                                                      <a:cxn ang="0">
                                                                                                        <a:pos x="104" y="94"/>
                                                                                                      </a:cxn>
                                                                                                      <a:cxn ang="0">
                                                                                                        <a:pos x="92" y="94"/>
                                                                                                      </a:cxn>
                                                                                                      <a:cxn ang="0">
                                                                                                        <a:pos x="80" y="92"/>
                                                                                                      </a:cxn>
                                                                                                      <a:cxn ang="0">
                                                                                                        <a:pos x="72" y="86"/>
                                                                                                      </a:cxn>
                                                                                                      <a:cxn ang="0">
                                                                                                        <a:pos x="72" y="78"/>
                                                                                                      </a:cxn>
                                                                                                      <a:cxn ang="0">
                                                                                                        <a:pos x="60" y="78"/>
                                                                                                      </a:cxn>
                                                                                                      <a:cxn ang="0">
                                                                                                        <a:pos x="50" y="74"/>
                                                                                                      </a:cxn>
                                                                                                      <a:cxn ang="0">
                                                                                                        <a:pos x="46" y="80"/>
                                                                                                      </a:cxn>
                                                                                                      <a:cxn ang="0">
                                                                                                        <a:pos x="48" y="100"/>
                                                                                                      </a:cxn>
                                                                                                      <a:cxn ang="0">
                                                                                                        <a:pos x="48" y="120"/>
                                                                                                      </a:cxn>
                                                                                                      <a:cxn ang="0">
                                                                                                        <a:pos x="0" y="124"/>
                                                                                                      </a:cxn>
                                                                                                      <a:cxn ang="0">
                                                                                                        <a:pos x="0" y="220"/>
                                                                                                      </a:cxn>
                                                                                                      <a:cxn ang="0">
                                                                                                        <a:pos x="4" y="228"/>
                                                                                                      </a:cxn>
                                                                                                      <a:cxn ang="0">
                                                                                                        <a:pos x="16" y="238"/>
                                                                                                      </a:cxn>
                                                                                                      <a:cxn ang="0">
                                                                                                        <a:pos x="26" y="238"/>
                                                                                                      </a:cxn>
                                                                                                      <a:cxn ang="0">
                                                                                                        <a:pos x="42" y="238"/>
                                                                                                      </a:cxn>
                                                                                                      <a:cxn ang="0">
                                                                                                        <a:pos x="56" y="242"/>
                                                                                                      </a:cxn>
                                                                                                      <a:cxn ang="0">
                                                                                                        <a:pos x="76" y="244"/>
                                                                                                      </a:cxn>
                                                                                                      <a:cxn ang="0">
                                                                                                        <a:pos x="94" y="244"/>
                                                                                                      </a:cxn>
                                                                                                      <a:cxn ang="0">
                                                                                                        <a:pos x="104" y="242"/>
                                                                                                      </a:cxn>
                                                                                                      <a:cxn ang="0">
                                                                                                        <a:pos x="114" y="240"/>
                                                                                                      </a:cxn>
                                                                                                      <a:cxn ang="0">
                                                                                                        <a:pos x="126" y="216"/>
                                                                                                      </a:cxn>
                                                                                                      <a:cxn ang="0">
                                                                                                        <a:pos x="146" y="200"/>
                                                                                                      </a:cxn>
                                                                                                      <a:cxn ang="0">
                                                                                                        <a:pos x="156" y="194"/>
                                                                                                      </a:cxn>
                                                                                                      <a:cxn ang="0">
                                                                                                        <a:pos x="156" y="194"/>
                                                                                                      </a:cxn>
                                                                                                    </a:cxnLst>
                                                                                                    <a:rect l="0" t="0" r="r" b="b"/>
                                                                                                    <a:pathLst>
                                                                                                      <a:path w="250" h="246">
                                                                                                        <a:moveTo>
                                                                                                          <a:pt x="170" y="190"/>
                                                                                                        </a:moveTo>
                                                                                                        <a:lnTo>
                                                                                                          <a:pt x="170" y="190"/>
                                                                                                        </a:lnTo>
                                                                                                        <a:lnTo>
                                                                                                          <a:pt x="168" y="186"/>
                                                                                                        </a:lnTo>
                                                                                                        <a:lnTo>
                                                                                                          <a:pt x="168" y="182"/>
                                                                                                        </a:lnTo>
                                                                                                        <a:lnTo>
                                                                                                          <a:pt x="168" y="182"/>
                                                                                                        </a:lnTo>
                                                                                                        <a:lnTo>
                                                                                                          <a:pt x="166" y="178"/>
                                                                                                        </a:lnTo>
                                                                                                        <a:lnTo>
                                                                                                          <a:pt x="166" y="178"/>
                                                                                                        </a:lnTo>
                                                                                                        <a:lnTo>
                                                                                                          <a:pt x="182" y="172"/>
                                                                                                        </a:lnTo>
                                                                                                        <a:lnTo>
                                                                                                          <a:pt x="202" y="166"/>
                                                                                                        </a:lnTo>
                                                                                                        <a:lnTo>
                                                                                                          <a:pt x="202" y="166"/>
                                                                                                        </a:lnTo>
                                                                                                        <a:lnTo>
                                                                                                          <a:pt x="218" y="160"/>
                                                                                                        </a:lnTo>
                                                                                                        <a:lnTo>
                                                                                                          <a:pt x="234" y="152"/>
                                                                                                        </a:lnTo>
                                                                                                        <a:lnTo>
                                                                                                          <a:pt x="234" y="152"/>
                                                                                                        </a:lnTo>
                                                                                                        <a:lnTo>
                                                                                                          <a:pt x="230" y="152"/>
                                                                                                        </a:lnTo>
                                                                                                        <a:lnTo>
                                                                                                          <a:pt x="228" y="152"/>
                                                                                                        </a:lnTo>
                                                                                                        <a:lnTo>
                                                                                                          <a:pt x="226" y="152"/>
                                                                                                        </a:lnTo>
                                                                                                        <a:lnTo>
                                                                                                          <a:pt x="224" y="150"/>
                                                                                                        </a:lnTo>
                                                                                                        <a:lnTo>
                                                                                                          <a:pt x="224" y="150"/>
                                                                                                        </a:lnTo>
                                                                                                        <a:lnTo>
                                                                                                          <a:pt x="224" y="148"/>
                                                                                                        </a:lnTo>
                                                                                                        <a:lnTo>
                                                                                                          <a:pt x="224" y="146"/>
                                                                                                        </a:lnTo>
                                                                                                        <a:lnTo>
                                                                                                          <a:pt x="226" y="142"/>
                                                                                                        </a:lnTo>
                                                                                                        <a:lnTo>
                                                                                                          <a:pt x="228" y="134"/>
                                                                                                        </a:lnTo>
                                                                                                        <a:lnTo>
                                                                                                          <a:pt x="228" y="134"/>
                                                                                                        </a:lnTo>
                                                                                                        <a:lnTo>
                                                                                                          <a:pt x="230" y="128"/>
                                                                                                        </a:lnTo>
                                                                                                        <a:lnTo>
                                                                                                          <a:pt x="232" y="124"/>
                                                                                                        </a:lnTo>
                                                                                                        <a:lnTo>
                                                                                                          <a:pt x="240" y="120"/>
                                                                                                        </a:lnTo>
                                                                                                        <a:lnTo>
                                                                                                          <a:pt x="240" y="120"/>
                                                                                                        </a:lnTo>
                                                                                                        <a:lnTo>
                                                                                                          <a:pt x="244" y="116"/>
                                                                                                        </a:lnTo>
                                                                                                        <a:lnTo>
                                                                                                          <a:pt x="246" y="114"/>
                                                                                                        </a:lnTo>
                                                                                                        <a:lnTo>
                                                                                                          <a:pt x="246" y="112"/>
                                                                                                        </a:lnTo>
                                                                                                        <a:lnTo>
                                                                                                          <a:pt x="244" y="112"/>
                                                                                                        </a:lnTo>
                                                                                                        <a:lnTo>
                                                                                                          <a:pt x="244" y="112"/>
                                                                                                        </a:lnTo>
                                                                                                        <a:lnTo>
                                                                                                          <a:pt x="242" y="112"/>
                                                                                                        </a:lnTo>
                                                                                                        <a:lnTo>
                                                                                                          <a:pt x="242" y="108"/>
                                                                                                        </a:lnTo>
                                                                                                        <a:lnTo>
                                                                                                          <a:pt x="240" y="92"/>
                                                                                                        </a:lnTo>
                                                                                                        <a:lnTo>
                                                                                                          <a:pt x="240" y="92"/>
                                                                                                        </a:lnTo>
                                                                                                        <a:lnTo>
                                                                                                          <a:pt x="242" y="78"/>
                                                                                                        </a:lnTo>
                                                                                                        <a:lnTo>
                                                                                                          <a:pt x="244" y="74"/>
                                                                                                        </a:lnTo>
                                                                                                        <a:lnTo>
                                                                                                          <a:pt x="248" y="72"/>
                                                                                                        </a:lnTo>
                                                                                                        <a:lnTo>
                                                                                                          <a:pt x="248" y="72"/>
                                                                                                        </a:lnTo>
                                                                                                        <a:lnTo>
                                                                                                          <a:pt x="250" y="68"/>
                                                                                                        </a:lnTo>
                                                                                                        <a:lnTo>
                                                                                                          <a:pt x="248" y="66"/>
                                                                                                        </a:lnTo>
                                                                                                        <a:lnTo>
                                                                                                          <a:pt x="246" y="62"/>
                                                                                                        </a:lnTo>
                                                                                                        <a:lnTo>
                                                                                                          <a:pt x="246" y="56"/>
                                                                                                        </a:lnTo>
                                                                                                        <a:lnTo>
                                                                                                          <a:pt x="246" y="56"/>
                                                                                                        </a:lnTo>
                                                                                                        <a:lnTo>
                                                                                                          <a:pt x="248" y="52"/>
                                                                                                        </a:lnTo>
                                                                                                        <a:lnTo>
                                                                                                          <a:pt x="248" y="50"/>
                                                                                                        </a:lnTo>
                                                                                                        <a:lnTo>
                                                                                                          <a:pt x="244" y="46"/>
                                                                                                        </a:lnTo>
                                                                                                        <a:lnTo>
                                                                                                          <a:pt x="242" y="42"/>
                                                                                                        </a:lnTo>
                                                                                                        <a:lnTo>
                                                                                                          <a:pt x="242" y="38"/>
                                                                                                        </a:lnTo>
                                                                                                        <a:lnTo>
                                                                                                          <a:pt x="244" y="36"/>
                                                                                                        </a:lnTo>
                                                                                                        <a:lnTo>
                                                                                                          <a:pt x="244" y="36"/>
                                                                                                        </a:lnTo>
                                                                                                        <a:lnTo>
                                                                                                          <a:pt x="226" y="30"/>
                                                                                                        </a:lnTo>
                                                                                                        <a:lnTo>
                                                                                                          <a:pt x="218" y="24"/>
                                                                                                        </a:lnTo>
                                                                                                        <a:lnTo>
                                                                                                          <a:pt x="210" y="18"/>
                                                                                                        </a:lnTo>
                                                                                                        <a:lnTo>
                                                                                                          <a:pt x="200" y="14"/>
                                                                                                        </a:lnTo>
                                                                                                        <a:lnTo>
                                                                                                          <a:pt x="200" y="14"/>
                                                                                                        </a:lnTo>
                                                                                                        <a:lnTo>
                                                                                                          <a:pt x="194" y="14"/>
                                                                                                        </a:lnTo>
                                                                                                        <a:lnTo>
                                                                                                          <a:pt x="192" y="14"/>
                                                                                                        </a:lnTo>
                                                                                                        <a:lnTo>
                                                                                                          <a:pt x="190" y="12"/>
                                                                                                        </a:lnTo>
                                                                                                        <a:lnTo>
                                                                                                          <a:pt x="190" y="12"/>
                                                                                                        </a:lnTo>
                                                                                                        <a:lnTo>
                                                                                                          <a:pt x="186" y="4"/>
                                                                                                        </a:lnTo>
                                                                                                        <a:lnTo>
                                                                                                          <a:pt x="184" y="4"/>
                                                                                                        </a:lnTo>
                                                                                                        <a:lnTo>
                                                                                                          <a:pt x="184" y="4"/>
                                                                                                        </a:lnTo>
                                                                                                        <a:lnTo>
                                                                                                          <a:pt x="184" y="0"/>
                                                                                                        </a:lnTo>
                                                                                                        <a:lnTo>
                                                                                                          <a:pt x="154" y="10"/>
                                                                                                        </a:lnTo>
                                                                                                        <a:lnTo>
                                                                                                          <a:pt x="154" y="10"/>
                                                                                                        </a:lnTo>
                                                                                                        <a:lnTo>
                                                                                                          <a:pt x="156" y="14"/>
                                                                                                        </a:lnTo>
                                                                                                        <a:lnTo>
                                                                                                          <a:pt x="156" y="20"/>
                                                                                                        </a:lnTo>
                                                                                                        <a:lnTo>
                                                                                                          <a:pt x="154" y="26"/>
                                                                                                        </a:lnTo>
                                                                                                        <a:lnTo>
                                                                                                          <a:pt x="148" y="30"/>
                                                                                                        </a:lnTo>
                                                                                                        <a:lnTo>
                                                                                                          <a:pt x="148" y="30"/>
                                                                                                        </a:lnTo>
                                                                                                        <a:lnTo>
                                                                                                          <a:pt x="150" y="36"/>
                                                                                                        </a:lnTo>
                                                                                                        <a:lnTo>
                                                                                                          <a:pt x="152" y="38"/>
                                                                                                        </a:lnTo>
                                                                                                        <a:lnTo>
                                                                                                          <a:pt x="154" y="40"/>
                                                                                                        </a:lnTo>
                                                                                                        <a:lnTo>
                                                                                                          <a:pt x="154" y="44"/>
                                                                                                        </a:lnTo>
                                                                                                        <a:lnTo>
                                                                                                          <a:pt x="154" y="44"/>
                                                                                                        </a:lnTo>
                                                                                                        <a:lnTo>
                                                                                                          <a:pt x="152" y="48"/>
                                                                                                        </a:lnTo>
                                                                                                        <a:lnTo>
                                                                                                          <a:pt x="152" y="52"/>
                                                                                                        </a:lnTo>
                                                                                                        <a:lnTo>
                                                                                                          <a:pt x="150" y="56"/>
                                                                                                        </a:lnTo>
                                                                                                        <a:lnTo>
                                                                                                          <a:pt x="146" y="60"/>
                                                                                                        </a:lnTo>
                                                                                                        <a:lnTo>
                                                                                                          <a:pt x="146" y="60"/>
                                                                                                        </a:lnTo>
                                                                                                        <a:lnTo>
                                                                                                          <a:pt x="144" y="64"/>
                                                                                                        </a:lnTo>
                                                                                                        <a:lnTo>
                                                                                                          <a:pt x="142" y="68"/>
                                                                                                        </a:lnTo>
                                                                                                        <a:lnTo>
                                                                                                          <a:pt x="142" y="76"/>
                                                                                                        </a:lnTo>
                                                                                                        <a:lnTo>
                                                                                                          <a:pt x="142" y="82"/>
                                                                                                        </a:lnTo>
                                                                                                        <a:lnTo>
                                                                                                          <a:pt x="144" y="86"/>
                                                                                                        </a:lnTo>
                                                                                                        <a:lnTo>
                                                                                                          <a:pt x="144" y="86"/>
                                                                                                        </a:lnTo>
                                                                                                        <a:lnTo>
                                                                                                          <a:pt x="142" y="88"/>
                                                                                                        </a:lnTo>
                                                                                                        <a:lnTo>
                                                                                                          <a:pt x="142" y="92"/>
                                                                                                        </a:lnTo>
                                                                                                        <a:lnTo>
                                                                                                          <a:pt x="152" y="100"/>
                                                                                                        </a:lnTo>
                                                                                                        <a:lnTo>
                                                                                                          <a:pt x="152" y="100"/>
                                                                                                        </a:lnTo>
                                                                                                        <a:lnTo>
                                                                                                          <a:pt x="158" y="104"/>
                                                                                                        </a:lnTo>
                                                                                                        <a:lnTo>
                                                                                                          <a:pt x="160" y="104"/>
                                                                                                        </a:lnTo>
                                                                                                        <a:lnTo>
                                                                                                          <a:pt x="160" y="102"/>
                                                                                                        </a:lnTo>
                                                                                                        <a:lnTo>
                                                                                                          <a:pt x="164" y="102"/>
                                                                                                        </a:lnTo>
                                                                                                        <a:lnTo>
                                                                                                          <a:pt x="164" y="128"/>
                                                                                                        </a:lnTo>
                                                                                                        <a:lnTo>
                                                                                                          <a:pt x="164" y="128"/>
                                                                                                        </a:lnTo>
                                                                                                        <a:lnTo>
                                                                                                          <a:pt x="160" y="126"/>
                                                                                                        </a:lnTo>
                                                                                                        <a:lnTo>
                                                                                                          <a:pt x="158" y="126"/>
                                                                                                        </a:lnTo>
                                                                                                        <a:lnTo>
                                                                                                          <a:pt x="156" y="122"/>
                                                                                                        </a:lnTo>
                                                                                                        <a:lnTo>
                                                                                                          <a:pt x="156" y="122"/>
                                                                                                        </a:lnTo>
                                                                                                        <a:lnTo>
                                                                                                          <a:pt x="154" y="120"/>
                                                                                                        </a:lnTo>
                                                                                                        <a:lnTo>
                                                                                                          <a:pt x="150" y="120"/>
                                                                                                        </a:lnTo>
                                                                                                        <a:lnTo>
                                                                                                          <a:pt x="144" y="118"/>
                                                                                                        </a:lnTo>
                                                                                                        <a:lnTo>
                                                                                                          <a:pt x="138" y="112"/>
                                                                                                        </a:lnTo>
                                                                                                        <a:lnTo>
                                                                                                          <a:pt x="138" y="112"/>
                                                                                                        </a:lnTo>
                                                                                                        <a:lnTo>
                                                                                                          <a:pt x="130" y="104"/>
                                                                                                        </a:lnTo>
                                                                                                        <a:lnTo>
                                                                                                          <a:pt x="124" y="102"/>
                                                                                                        </a:lnTo>
                                                                                                        <a:lnTo>
                                                                                                          <a:pt x="118" y="100"/>
                                                                                                        </a:lnTo>
                                                                                                        <a:lnTo>
                                                                                                          <a:pt x="114" y="96"/>
                                                                                                        </a:lnTo>
                                                                                                        <a:lnTo>
                                                                                                          <a:pt x="114" y="96"/>
                                                                                                        </a:lnTo>
                                                                                                        <a:lnTo>
                                                                                                          <a:pt x="108" y="92"/>
                                                                                                        </a:lnTo>
                                                                                                        <a:lnTo>
                                                                                                          <a:pt x="104" y="94"/>
                                                                                                        </a:lnTo>
                                                                                                        <a:lnTo>
                                                                                                          <a:pt x="100" y="94"/>
                                                                                                        </a:lnTo>
                                                                                                        <a:lnTo>
                                                                                                          <a:pt x="92" y="94"/>
                                                                                                        </a:lnTo>
                                                                                                        <a:lnTo>
                                                                                                          <a:pt x="92" y="94"/>
                                                                                                        </a:lnTo>
                                                                                                        <a:lnTo>
                                                                                                          <a:pt x="84" y="92"/>
                                                                                                        </a:lnTo>
                                                                                                        <a:lnTo>
                                                                                                          <a:pt x="82" y="92"/>
                                                                                                        </a:lnTo>
                                                                                                        <a:lnTo>
                                                                                                          <a:pt x="80" y="92"/>
                                                                                                        </a:lnTo>
                                                                                                        <a:lnTo>
                                                                                                          <a:pt x="76" y="90"/>
                                                                                                        </a:lnTo>
                                                                                                        <a:lnTo>
                                                                                                          <a:pt x="76" y="90"/>
                                                                                                        </a:lnTo>
                                                                                                        <a:lnTo>
                                                                                                          <a:pt x="72" y="86"/>
                                                                                                        </a:lnTo>
                                                                                                        <a:lnTo>
                                                                                                          <a:pt x="72" y="82"/>
                                                                                                        </a:lnTo>
                                                                                                        <a:lnTo>
                                                                                                          <a:pt x="72" y="78"/>
                                                                                                        </a:lnTo>
                                                                                                        <a:lnTo>
                                                                                                          <a:pt x="72" y="78"/>
                                                                                                        </a:lnTo>
                                                                                                        <a:lnTo>
                                                                                                          <a:pt x="70" y="76"/>
                                                                                                        </a:lnTo>
                                                                                                        <a:lnTo>
                                                                                                          <a:pt x="60" y="78"/>
                                                                                                        </a:lnTo>
                                                                                                        <a:lnTo>
                                                                                                          <a:pt x="60" y="78"/>
                                                                                                        </a:lnTo>
                                                                                                        <a:lnTo>
                                                                                                          <a:pt x="54" y="78"/>
                                                                                                        </a:lnTo>
                                                                                                        <a:lnTo>
                                                                                                          <a:pt x="52" y="76"/>
                                                                                                        </a:lnTo>
                                                                                                        <a:lnTo>
                                                                                                          <a:pt x="50" y="74"/>
                                                                                                        </a:lnTo>
                                                                                                        <a:lnTo>
                                                                                                          <a:pt x="48" y="72"/>
                                                                                                        </a:lnTo>
                                                                                                        <a:lnTo>
                                                                                                          <a:pt x="48" y="72"/>
                                                                                                        </a:lnTo>
                                                                                                        <a:lnTo>
                                                                                                          <a:pt x="46" y="80"/>
                                                                                                        </a:lnTo>
                                                                                                        <a:lnTo>
                                                                                                          <a:pt x="46" y="86"/>
                                                                                                        </a:lnTo>
                                                                                                        <a:lnTo>
                                                                                                          <a:pt x="46" y="90"/>
                                                                                                        </a:lnTo>
                                                                                                        <a:lnTo>
                                                                                                          <a:pt x="48" y="100"/>
                                                                                                        </a:lnTo>
                                                                                                        <a:lnTo>
                                                                                                          <a:pt x="48" y="100"/>
                                                                                                        </a:lnTo>
                                                                                                        <a:lnTo>
                                                                                                          <a:pt x="46" y="116"/>
                                                                                                        </a:lnTo>
                                                                                                        <a:lnTo>
                                                                                                          <a:pt x="48" y="120"/>
                                                                                                        </a:lnTo>
                                                                                                        <a:lnTo>
                                                                                                          <a:pt x="50" y="124"/>
                                                                                                        </a:lnTo>
                                                                                                        <a:lnTo>
                                                                                                          <a:pt x="0" y="124"/>
                                                                                                        </a:lnTo>
                                                                                                        <a:lnTo>
                                                                                                          <a:pt x="0" y="124"/>
                                                                                                        </a:lnTo>
                                                                                                        <a:lnTo>
                                                                                                          <a:pt x="0" y="218"/>
                                                                                                        </a:lnTo>
                                                                                                        <a:lnTo>
                                                                                                          <a:pt x="0" y="218"/>
                                                                                                        </a:lnTo>
                                                                                                        <a:lnTo>
                                                                                                          <a:pt x="0" y="220"/>
                                                                                                        </a:lnTo>
                                                                                                        <a:lnTo>
                                                                                                          <a:pt x="4" y="226"/>
                                                                                                        </a:lnTo>
                                                                                                        <a:lnTo>
                                                                                                          <a:pt x="4" y="226"/>
                                                                                                        </a:lnTo>
                                                                                                        <a:lnTo>
                                                                                                          <a:pt x="4" y="228"/>
                                                                                                        </a:lnTo>
                                                                                                        <a:lnTo>
                                                                                                          <a:pt x="6" y="228"/>
                                                                                                        </a:lnTo>
                                                                                                        <a:lnTo>
                                                                                                          <a:pt x="10" y="230"/>
                                                                                                        </a:lnTo>
                                                                                                        <a:lnTo>
                                                                                                          <a:pt x="16" y="238"/>
                                                                                                        </a:lnTo>
                                                                                                        <a:lnTo>
                                                                                                          <a:pt x="16" y="238"/>
                                                                                                        </a:lnTo>
                                                                                                        <a:lnTo>
                                                                                                          <a:pt x="22" y="238"/>
                                                                                                        </a:lnTo>
                                                                                                        <a:lnTo>
                                                                                                          <a:pt x="26" y="238"/>
                                                                                                        </a:lnTo>
                                                                                                        <a:lnTo>
                                                                                                          <a:pt x="32" y="238"/>
                                                                                                        </a:lnTo>
                                                                                                        <a:lnTo>
                                                                                                          <a:pt x="42" y="238"/>
                                                                                                        </a:lnTo>
                                                                                                        <a:lnTo>
                                                                                                          <a:pt x="42" y="238"/>
                                                                                                        </a:lnTo>
                                                                                                        <a:lnTo>
                                                                                                          <a:pt x="50" y="236"/>
                                                                                                        </a:lnTo>
                                                                                                        <a:lnTo>
                                                                                                          <a:pt x="54" y="238"/>
                                                                                                        </a:lnTo>
                                                                                                        <a:lnTo>
                                                                                                          <a:pt x="56" y="242"/>
                                                                                                        </a:lnTo>
                                                                                                        <a:lnTo>
                                                                                                          <a:pt x="60" y="244"/>
                                                                                                        </a:lnTo>
                                                                                                        <a:lnTo>
                                                                                                          <a:pt x="60" y="244"/>
                                                                                                        </a:lnTo>
                                                                                                        <a:lnTo>
                                                                                                          <a:pt x="76" y="244"/>
                                                                                                        </a:lnTo>
                                                                                                        <a:lnTo>
                                                                                                          <a:pt x="86" y="244"/>
                                                                                                        </a:lnTo>
                                                                                                        <a:lnTo>
                                                                                                          <a:pt x="94" y="244"/>
                                                                                                        </a:lnTo>
                                                                                                        <a:lnTo>
                                                                                                          <a:pt x="94" y="244"/>
                                                                                                        </a:lnTo>
                                                                                                        <a:lnTo>
                                                                                                          <a:pt x="98" y="246"/>
                                                                                                        </a:lnTo>
                                                                                                        <a:lnTo>
                                                                                                          <a:pt x="100" y="244"/>
                                                                                                        </a:lnTo>
                                                                                                        <a:lnTo>
                                                                                                          <a:pt x="104" y="242"/>
                                                                                                        </a:lnTo>
                                                                                                        <a:lnTo>
                                                                                                          <a:pt x="110" y="242"/>
                                                                                                        </a:lnTo>
                                                                                                        <a:lnTo>
                                                                                                          <a:pt x="110" y="242"/>
                                                                                                        </a:lnTo>
                                                                                                        <a:lnTo>
                                                                                                          <a:pt x="114" y="240"/>
                                                                                                        </a:lnTo>
                                                                                                        <a:lnTo>
                                                                                                          <a:pt x="118" y="236"/>
                                                                                                        </a:lnTo>
                                                                                                        <a:lnTo>
                                                                                                          <a:pt x="124" y="224"/>
                                                                                                        </a:lnTo>
                                                                                                        <a:lnTo>
                                                                                                          <a:pt x="126" y="216"/>
                                                                                                        </a:lnTo>
                                                                                                        <a:lnTo>
                                                                                                          <a:pt x="132" y="210"/>
                                                                                                        </a:lnTo>
                                                                                                        <a:lnTo>
                                                                                                          <a:pt x="138" y="204"/>
                                                                                                        </a:lnTo>
                                                                                                        <a:lnTo>
                                                                                                          <a:pt x="146" y="200"/>
                                                                                                        </a:lnTo>
                                                                                                        <a:lnTo>
                                                                                                          <a:pt x="146" y="200"/>
                                                                                                        </a:lnTo>
                                                                                                        <a:lnTo>
                                                                                                          <a:pt x="154" y="196"/>
                                                                                                        </a:lnTo>
                                                                                                        <a:lnTo>
                                                                                                          <a:pt x="156" y="194"/>
                                                                                                        </a:lnTo>
                                                                                                        <a:lnTo>
                                                                                                          <a:pt x="154" y="194"/>
                                                                                                        </a:lnTo>
                                                                                                        <a:lnTo>
                                                                                                          <a:pt x="154" y="194"/>
                                                                                                        </a:lnTo>
                                                                                                        <a:lnTo>
                                                                                                          <a:pt x="156" y="194"/>
                                                                                                        </a:lnTo>
                                                                                                        <a:lnTo>
                                                                                                          <a:pt x="170" y="190"/>
                                                                                                        </a:lnTo>
                                                                                                        <a:lnTo>
                                                                                                          <a:pt x="170" y="190"/>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baseline="-25000" dirty="0">
                                                                                                      <a:solidFill>
                                                                                                        <a:schemeClr val="tx1"/>
                                                                                                      </a:solidFill>
                                                                                                    </a:endParaRPr>
                                                                                                  </a:p>
                                                                                                </p:txBody>
                                                                                              </p:sp>
                                                                                              <p:sp>
                                                                                                <p:nvSpPr>
                                                                                                  <p:cNvPr id="777" name="Zimbabwe"/>
                                                                                                  <p:cNvSpPr>
                                                                                                    <a:spLocks/>
                                                                                                  </p:cNvSpPr>
                                                                                                  <p:nvPr/>
                                                                                                </p:nvSpPr>
                                                                                                <p:spPr bwMode="auto">
                                                                                                  <a:xfrm>
                                                                                                    <a:off x="6577824" y="4298328"/>
                                                                                                    <a:ext cx="255162" cy="260996"/>
                                                                                                  </a:xfrm>
                                                                                                  <a:custGeom>
                                                                                                    <a:avLst/>
                                                                                                    <a:gdLst/>
                                                                                                    <a:ahLst/>
                                                                                                    <a:cxnLst>
                                                                                                      <a:cxn ang="0">
                                                                                                        <a:pos x="84" y="168"/>
                                                                                                      </a:cxn>
                                                                                                      <a:cxn ang="0">
                                                                                                        <a:pos x="94" y="166"/>
                                                                                                      </a:cxn>
                                                                                                      <a:cxn ang="0">
                                                                                                        <a:pos x="108" y="170"/>
                                                                                                      </a:cxn>
                                                                                                      <a:cxn ang="0">
                                                                                                        <a:pos x="114" y="170"/>
                                                                                                      </a:cxn>
                                                                                                      <a:cxn ang="0">
                                                                                                        <a:pos x="126" y="172"/>
                                                                                                      </a:cxn>
                                                                                                      <a:cxn ang="0">
                                                                                                        <a:pos x="128" y="172"/>
                                                                                                      </a:cxn>
                                                                                                      <a:cxn ang="0">
                                                                                                        <a:pos x="142" y="146"/>
                                                                                                      </a:cxn>
                                                                                                      <a:cxn ang="0">
                                                                                                        <a:pos x="142" y="142"/>
                                                                                                      </a:cxn>
                                                                                                      <a:cxn ang="0">
                                                                                                        <a:pos x="142" y="138"/>
                                                                                                      </a:cxn>
                                                                                                      <a:cxn ang="0">
                                                                                                        <a:pos x="142" y="134"/>
                                                                                                      </a:cxn>
                                                                                                      <a:cxn ang="0">
                                                                                                        <a:pos x="146" y="134"/>
                                                                                                      </a:cxn>
                                                                                                      <a:cxn ang="0">
                                                                                                        <a:pos x="150" y="126"/>
                                                                                                      </a:cxn>
                                                                                                      <a:cxn ang="0">
                                                                                                        <a:pos x="160" y="116"/>
                                                                                                      </a:cxn>
                                                                                                      <a:cxn ang="0">
                                                                                                        <a:pos x="160" y="110"/>
                                                                                                      </a:cxn>
                                                                                                      <a:cxn ang="0">
                                                                                                        <a:pos x="158" y="106"/>
                                                                                                      </a:cxn>
                                                                                                      <a:cxn ang="0">
                                                                                                        <a:pos x="158" y="102"/>
                                                                                                      </a:cxn>
                                                                                                      <a:cxn ang="0">
                                                                                                        <a:pos x="152" y="96"/>
                                                                                                      </a:cxn>
                                                                                                      <a:cxn ang="0">
                                                                                                        <a:pos x="162" y="80"/>
                                                                                                      </a:cxn>
                                                                                                      <a:cxn ang="0">
                                                                                                        <a:pos x="164" y="74"/>
                                                                                                      </a:cxn>
                                                                                                      <a:cxn ang="0">
                                                                                                        <a:pos x="168" y="70"/>
                                                                                                      </a:cxn>
                                                                                                      <a:cxn ang="0">
                                                                                                        <a:pos x="164" y="58"/>
                                                                                                      </a:cxn>
                                                                                                      <a:cxn ang="0">
                                                                                                        <a:pos x="164" y="52"/>
                                                                                                      </a:cxn>
                                                                                                      <a:cxn ang="0">
                                                                                                        <a:pos x="166" y="40"/>
                                                                                                      </a:cxn>
                                                                                                      <a:cxn ang="0">
                                                                                                        <a:pos x="164" y="32"/>
                                                                                                      </a:cxn>
                                                                                                      <a:cxn ang="0">
                                                                                                        <a:pos x="158" y="24"/>
                                                                                                      </a:cxn>
                                                                                                      <a:cxn ang="0">
                                                                                                        <a:pos x="150" y="24"/>
                                                                                                      </a:cxn>
                                                                                                      <a:cxn ang="0">
                                                                                                        <a:pos x="136" y="18"/>
                                                                                                      </a:cxn>
                                                                                                      <a:cxn ang="0">
                                                                                                        <a:pos x="122" y="12"/>
                                                                                                      </a:cxn>
                                                                                                      <a:cxn ang="0">
                                                                                                        <a:pos x="116" y="12"/>
                                                                                                      </a:cxn>
                                                                                                      <a:cxn ang="0">
                                                                                                        <a:pos x="110" y="0"/>
                                                                                                      </a:cxn>
                                                                                                      <a:cxn ang="0">
                                                                                                        <a:pos x="96" y="4"/>
                                                                                                      </a:cxn>
                                                                                                      <a:cxn ang="0">
                                                                                                        <a:pos x="94" y="4"/>
                                                                                                      </a:cxn>
                                                                                                      <a:cxn ang="0">
                                                                                                        <a:pos x="94" y="6"/>
                                                                                                      </a:cxn>
                                                                                                      <a:cxn ang="0">
                                                                                                        <a:pos x="86" y="10"/>
                                                                                                      </a:cxn>
                                                                                                      <a:cxn ang="0">
                                                                                                        <a:pos x="72" y="20"/>
                                                                                                      </a:cxn>
                                                                                                      <a:cxn ang="0">
                                                                                                        <a:pos x="64" y="34"/>
                                                                                                      </a:cxn>
                                                                                                      <a:cxn ang="0">
                                                                                                        <a:pos x="54" y="50"/>
                                                                                                      </a:cxn>
                                                                                                      <a:cxn ang="0">
                                                                                                        <a:pos x="50" y="52"/>
                                                                                                      </a:cxn>
                                                                                                      <a:cxn ang="0">
                                                                                                        <a:pos x="40" y="54"/>
                                                                                                      </a:cxn>
                                                                                                      <a:cxn ang="0">
                                                                                                        <a:pos x="34" y="54"/>
                                                                                                      </a:cxn>
                                                                                                      <a:cxn ang="0">
                                                                                                        <a:pos x="26" y="54"/>
                                                                                                      </a:cxn>
                                                                                                      <a:cxn ang="0">
                                                                                                        <a:pos x="0" y="54"/>
                                                                                                      </a:cxn>
                                                                                                      <a:cxn ang="0">
                                                                                                        <a:pos x="4" y="66"/>
                                                                                                      </a:cxn>
                                                                                                      <a:cxn ang="0">
                                                                                                        <a:pos x="10" y="72"/>
                                                                                                      </a:cxn>
                                                                                                      <a:cxn ang="0">
                                                                                                        <a:pos x="12" y="82"/>
                                                                                                      </a:cxn>
                                                                                                      <a:cxn ang="0">
                                                                                                        <a:pos x="18" y="98"/>
                                                                                                      </a:cxn>
                                                                                                      <a:cxn ang="0">
                                                                                                        <a:pos x="32" y="112"/>
                                                                                                      </a:cxn>
                                                                                                      <a:cxn ang="0">
                                                                                                        <a:pos x="42" y="126"/>
                                                                                                      </a:cxn>
                                                                                                      <a:cxn ang="0">
                                                                                                        <a:pos x="46" y="130"/>
                                                                                                      </a:cxn>
                                                                                                      <a:cxn ang="0">
                                                                                                        <a:pos x="46" y="134"/>
                                                                                                      </a:cxn>
                                                                                                      <a:cxn ang="0">
                                                                                                        <a:pos x="52" y="148"/>
                                                                                                      </a:cxn>
                                                                                                      <a:cxn ang="0">
                                                                                                        <a:pos x="60" y="156"/>
                                                                                                      </a:cxn>
                                                                                                      <a:cxn ang="0">
                                                                                                        <a:pos x="66" y="158"/>
                                                                                                      </a:cxn>
                                                                                                      <a:cxn ang="0">
                                                                                                        <a:pos x="84" y="164"/>
                                                                                                      </a:cxn>
                                                                                                      <a:cxn ang="0">
                                                                                                        <a:pos x="84" y="168"/>
                                                                                                      </a:cxn>
                                                                                                    </a:cxnLst>
                                                                                                    <a:rect l="0" t="0" r="r" b="b"/>
                                                                                                    <a:pathLst>
                                                                                                      <a:path w="168" h="172">
                                                                                                        <a:moveTo>
                                                                                                          <a:pt x="84" y="168"/>
                                                                                                        </a:moveTo>
                                                                                                        <a:lnTo>
                                                                                                          <a:pt x="84" y="168"/>
                                                                                                        </a:lnTo>
                                                                                                        <a:lnTo>
                                                                                                          <a:pt x="88" y="166"/>
                                                                                                        </a:lnTo>
                                                                                                        <a:lnTo>
                                                                                                          <a:pt x="94" y="166"/>
                                                                                                        </a:lnTo>
                                                                                                        <a:lnTo>
                                                                                                          <a:pt x="100" y="168"/>
                                                                                                        </a:lnTo>
                                                                                                        <a:lnTo>
                                                                                                          <a:pt x="108" y="170"/>
                                                                                                        </a:lnTo>
                                                                                                        <a:lnTo>
                                                                                                          <a:pt x="114" y="170"/>
                                                                                                        </a:lnTo>
                                                                                                        <a:lnTo>
                                                                                                          <a:pt x="114" y="170"/>
                                                                                                        </a:lnTo>
                                                                                                        <a:lnTo>
                                                                                                          <a:pt x="122" y="170"/>
                                                                                                        </a:lnTo>
                                                                                                        <a:lnTo>
                                                                                                          <a:pt x="126" y="172"/>
                                                                                                        </a:lnTo>
                                                                                                        <a:lnTo>
                                                                                                          <a:pt x="128" y="172"/>
                                                                                                        </a:lnTo>
                                                                                                        <a:lnTo>
                                                                                                          <a:pt x="128" y="172"/>
                                                                                                        </a:lnTo>
                                                                                                        <a:lnTo>
                                                                                                          <a:pt x="142" y="146"/>
                                                                                                        </a:lnTo>
                                                                                                        <a:lnTo>
                                                                                                          <a:pt x="142" y="146"/>
                                                                                                        </a:lnTo>
                                                                                                        <a:lnTo>
                                                                                                          <a:pt x="142" y="144"/>
                                                                                                        </a:lnTo>
                                                                                                        <a:lnTo>
                                                                                                          <a:pt x="142" y="142"/>
                                                                                                        </a:lnTo>
                                                                                                        <a:lnTo>
                                                                                                          <a:pt x="142" y="142"/>
                                                                                                        </a:lnTo>
                                                                                                        <a:lnTo>
                                                                                                          <a:pt x="142" y="138"/>
                                                                                                        </a:lnTo>
                                                                                                        <a:lnTo>
                                                                                                          <a:pt x="142" y="138"/>
                                                                                                        </a:lnTo>
                                                                                                        <a:lnTo>
                                                                                                          <a:pt x="142" y="134"/>
                                                                                                        </a:lnTo>
                                                                                                        <a:lnTo>
                                                                                                          <a:pt x="144" y="134"/>
                                                                                                        </a:lnTo>
                                                                                                        <a:lnTo>
                                                                                                          <a:pt x="146" y="134"/>
                                                                                                        </a:lnTo>
                                                                                                        <a:lnTo>
                                                                                                          <a:pt x="150" y="126"/>
                                                                                                        </a:lnTo>
                                                                                                        <a:lnTo>
                                                                                                          <a:pt x="150" y="126"/>
                                                                                                        </a:lnTo>
                                                                                                        <a:lnTo>
                                                                                                          <a:pt x="156" y="118"/>
                                                                                                        </a:lnTo>
                                                                                                        <a:lnTo>
                                                                                                          <a:pt x="160" y="116"/>
                                                                                                        </a:lnTo>
                                                                                                        <a:lnTo>
                                                                                                          <a:pt x="162" y="116"/>
                                                                                                        </a:lnTo>
                                                                                                        <a:lnTo>
                                                                                                          <a:pt x="160" y="110"/>
                                                                                                        </a:lnTo>
                                                                                                        <a:lnTo>
                                                                                                          <a:pt x="160" y="110"/>
                                                                                                        </a:lnTo>
                                                                                                        <a:lnTo>
                                                                                                          <a:pt x="158" y="106"/>
                                                                                                        </a:lnTo>
                                                                                                        <a:lnTo>
                                                                                                          <a:pt x="160" y="104"/>
                                                                                                        </a:lnTo>
                                                                                                        <a:lnTo>
                                                                                                          <a:pt x="158" y="102"/>
                                                                                                        </a:lnTo>
                                                                                                        <a:lnTo>
                                                                                                          <a:pt x="152" y="96"/>
                                                                                                        </a:lnTo>
                                                                                                        <a:lnTo>
                                                                                                          <a:pt x="152" y="96"/>
                                                                                                        </a:lnTo>
                                                                                                        <a:lnTo>
                                                                                                          <a:pt x="160" y="86"/>
                                                                                                        </a:lnTo>
                                                                                                        <a:lnTo>
                                                                                                          <a:pt x="162" y="80"/>
                                                                                                        </a:lnTo>
                                                                                                        <a:lnTo>
                                                                                                          <a:pt x="162" y="76"/>
                                                                                                        </a:lnTo>
                                                                                                        <a:lnTo>
                                                                                                          <a:pt x="164" y="74"/>
                                                                                                        </a:lnTo>
                                                                                                        <a:lnTo>
                                                                                                          <a:pt x="164" y="74"/>
                                                                                                        </a:lnTo>
                                                                                                        <a:lnTo>
                                                                                                          <a:pt x="168" y="70"/>
                                                                                                        </a:lnTo>
                                                                                                        <a:lnTo>
                                                                                                          <a:pt x="166" y="64"/>
                                                                                                        </a:lnTo>
                                                                                                        <a:lnTo>
                                                                                                          <a:pt x="164" y="58"/>
                                                                                                        </a:lnTo>
                                                                                                        <a:lnTo>
                                                                                                          <a:pt x="164" y="52"/>
                                                                                                        </a:lnTo>
                                                                                                        <a:lnTo>
                                                                                                          <a:pt x="164" y="52"/>
                                                                                                        </a:lnTo>
                                                                                                        <a:lnTo>
                                                                                                          <a:pt x="164" y="44"/>
                                                                                                        </a:lnTo>
                                                                                                        <a:lnTo>
                                                                                                          <a:pt x="166" y="40"/>
                                                                                                        </a:lnTo>
                                                                                                        <a:lnTo>
                                                                                                          <a:pt x="168" y="38"/>
                                                                                                        </a:lnTo>
                                                                                                        <a:lnTo>
                                                                                                          <a:pt x="164" y="32"/>
                                                                                                        </a:lnTo>
                                                                                                        <a:lnTo>
                                                                                                          <a:pt x="164" y="32"/>
                                                                                                        </a:lnTo>
                                                                                                        <a:lnTo>
                                                                                                          <a:pt x="158" y="24"/>
                                                                                                        </a:lnTo>
                                                                                                        <a:lnTo>
                                                                                                          <a:pt x="150" y="24"/>
                                                                                                        </a:lnTo>
                                                                                                        <a:lnTo>
                                                                                                          <a:pt x="150" y="24"/>
                                                                                                        </a:lnTo>
                                                                                                        <a:lnTo>
                                                                                                          <a:pt x="142" y="20"/>
                                                                                                        </a:lnTo>
                                                                                                        <a:lnTo>
                                                                                                          <a:pt x="136" y="18"/>
                                                                                                        </a:lnTo>
                                                                                                        <a:lnTo>
                                                                                                          <a:pt x="132" y="14"/>
                                                                                                        </a:lnTo>
                                                                                                        <a:lnTo>
                                                                                                          <a:pt x="122" y="12"/>
                                                                                                        </a:lnTo>
                                                                                                        <a:lnTo>
                                                                                                          <a:pt x="122" y="12"/>
                                                                                                        </a:lnTo>
                                                                                                        <a:lnTo>
                                                                                                          <a:pt x="116" y="12"/>
                                                                                                        </a:lnTo>
                                                                                                        <a:lnTo>
                                                                                                          <a:pt x="114" y="10"/>
                                                                                                        </a:lnTo>
                                                                                                        <a:lnTo>
                                                                                                          <a:pt x="110" y="0"/>
                                                                                                        </a:lnTo>
                                                                                                        <a:lnTo>
                                                                                                          <a:pt x="110" y="0"/>
                                                                                                        </a:lnTo>
                                                                                                        <a:lnTo>
                                                                                                          <a:pt x="96" y="4"/>
                                                                                                        </a:lnTo>
                                                                                                        <a:lnTo>
                                                                                                          <a:pt x="94" y="4"/>
                                                                                                        </a:lnTo>
                                                                                                        <a:lnTo>
                                                                                                          <a:pt x="94" y="4"/>
                                                                                                        </a:lnTo>
                                                                                                        <a:lnTo>
                                                                                                          <a:pt x="96" y="4"/>
                                                                                                        </a:lnTo>
                                                                                                        <a:lnTo>
                                                                                                          <a:pt x="94" y="6"/>
                                                                                                        </a:lnTo>
                                                                                                        <a:lnTo>
                                                                                                          <a:pt x="86" y="10"/>
                                                                                                        </a:lnTo>
                                                                                                        <a:lnTo>
                                                                                                          <a:pt x="86" y="10"/>
                                                                                                        </a:lnTo>
                                                                                                        <a:lnTo>
                                                                                                          <a:pt x="78" y="14"/>
                                                                                                        </a:lnTo>
                                                                                                        <a:lnTo>
                                                                                                          <a:pt x="72" y="20"/>
                                                                                                        </a:lnTo>
                                                                                                        <a:lnTo>
                                                                                                          <a:pt x="66" y="26"/>
                                                                                                        </a:lnTo>
                                                                                                        <a:lnTo>
                                                                                                          <a:pt x="64" y="34"/>
                                                                                                        </a:lnTo>
                                                                                                        <a:lnTo>
                                                                                                          <a:pt x="58" y="46"/>
                                                                                                        </a:lnTo>
                                                                                                        <a:lnTo>
                                                                                                          <a:pt x="54" y="50"/>
                                                                                                        </a:lnTo>
                                                                                                        <a:lnTo>
                                                                                                          <a:pt x="50" y="52"/>
                                                                                                        </a:lnTo>
                                                                                                        <a:lnTo>
                                                                                                          <a:pt x="50" y="52"/>
                                                                                                        </a:lnTo>
                                                                                                        <a:lnTo>
                                                                                                          <a:pt x="44" y="52"/>
                                                                                                        </a:lnTo>
                                                                                                        <a:lnTo>
                                                                                                          <a:pt x="40" y="54"/>
                                                                                                        </a:lnTo>
                                                                                                        <a:lnTo>
                                                                                                          <a:pt x="38" y="56"/>
                                                                                                        </a:lnTo>
                                                                                                        <a:lnTo>
                                                                                                          <a:pt x="34" y="54"/>
                                                                                                        </a:lnTo>
                                                                                                        <a:lnTo>
                                                                                                          <a:pt x="34" y="54"/>
                                                                                                        </a:lnTo>
                                                                                                        <a:lnTo>
                                                                                                          <a:pt x="26" y="54"/>
                                                                                                        </a:lnTo>
                                                                                                        <a:lnTo>
                                                                                                          <a:pt x="16" y="54"/>
                                                                                                        </a:lnTo>
                                                                                                        <a:lnTo>
                                                                                                          <a:pt x="0" y="54"/>
                                                                                                        </a:lnTo>
                                                                                                        <a:lnTo>
                                                                                                          <a:pt x="0" y="54"/>
                                                                                                        </a:lnTo>
                                                                                                        <a:lnTo>
                                                                                                          <a:pt x="4" y="66"/>
                                                                                                        </a:lnTo>
                                                                                                        <a:lnTo>
                                                                                                          <a:pt x="8" y="70"/>
                                                                                                        </a:lnTo>
                                                                                                        <a:lnTo>
                                                                                                          <a:pt x="10" y="72"/>
                                                                                                        </a:lnTo>
                                                                                                        <a:lnTo>
                                                                                                          <a:pt x="12" y="82"/>
                                                                                                        </a:lnTo>
                                                                                                        <a:lnTo>
                                                                                                          <a:pt x="12" y="82"/>
                                                                                                        </a:lnTo>
                                                                                                        <a:lnTo>
                                                                                                          <a:pt x="14" y="92"/>
                                                                                                        </a:lnTo>
                                                                                                        <a:lnTo>
                                                                                                          <a:pt x="18" y="98"/>
                                                                                                        </a:lnTo>
                                                                                                        <a:lnTo>
                                                                                                          <a:pt x="32" y="112"/>
                                                                                                        </a:lnTo>
                                                                                                        <a:lnTo>
                                                                                                          <a:pt x="32" y="112"/>
                                                                                                        </a:lnTo>
                                                                                                        <a:lnTo>
                                                                                                          <a:pt x="38" y="120"/>
                                                                                                        </a:lnTo>
                                                                                                        <a:lnTo>
                                                                                                          <a:pt x="42" y="126"/>
                                                                                                        </a:lnTo>
                                                                                                        <a:lnTo>
                                                                                                          <a:pt x="44" y="128"/>
                                                                                                        </a:lnTo>
                                                                                                        <a:lnTo>
                                                                                                          <a:pt x="46" y="130"/>
                                                                                                        </a:lnTo>
                                                                                                        <a:lnTo>
                                                                                                          <a:pt x="46" y="130"/>
                                                                                                        </a:lnTo>
                                                                                                        <a:lnTo>
                                                                                                          <a:pt x="46" y="134"/>
                                                                                                        </a:lnTo>
                                                                                                        <a:lnTo>
                                                                                                          <a:pt x="50" y="144"/>
                                                                                                        </a:lnTo>
                                                                                                        <a:lnTo>
                                                                                                          <a:pt x="52" y="148"/>
                                                                                                        </a:lnTo>
                                                                                                        <a:lnTo>
                                                                                                          <a:pt x="54" y="152"/>
                                                                                                        </a:lnTo>
                                                                                                        <a:lnTo>
                                                                                                          <a:pt x="60" y="156"/>
                                                                                                        </a:lnTo>
                                                                                                        <a:lnTo>
                                                                                                          <a:pt x="66" y="158"/>
                                                                                                        </a:lnTo>
                                                                                                        <a:lnTo>
                                                                                                          <a:pt x="66" y="158"/>
                                                                                                        </a:lnTo>
                                                                                                        <a:lnTo>
                                                                                                          <a:pt x="78" y="162"/>
                                                                                                        </a:lnTo>
                                                                                                        <a:lnTo>
                                                                                                          <a:pt x="84" y="164"/>
                                                                                                        </a:lnTo>
                                                                                                        <a:lnTo>
                                                                                                          <a:pt x="84" y="166"/>
                                                                                                        </a:lnTo>
                                                                                                        <a:lnTo>
                                                                                                          <a:pt x="84" y="168"/>
                                                                                                        </a:lnTo>
                                                                                                        <a:lnTo>
                                                                                                          <a:pt x="84" y="168"/>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baseline="-25000" dirty="0">
                                                                                                      <a:solidFill>
                                                                                                        <a:schemeClr val="tx1"/>
                                                                                                      </a:solidFill>
                                                                                                    </a:endParaRPr>
                                                                                                  </a:p>
                                                                                                </p:txBody>
                                                                                              </p:sp>
                                                                                              <p:sp>
                                                                                                <p:nvSpPr>
                                                                                                  <p:cNvPr id="439" name="Freeform 171"/>
                                                                                                  <p:cNvSpPr>
                                                                                                    <a:spLocks/>
                                                                                                  </p:cNvSpPr>
                                                                                                  <p:nvPr/>
                                                                                                </p:nvSpPr>
                                                                                                <p:spPr bwMode="auto">
                                                                                                  <a:xfrm>
                                                                                                    <a:off x="7605912" y="2229218"/>
                                                                                                    <a:ext cx="376667" cy="315623"/>
                                                                                                  </a:xfrm>
                                                                                                  <a:custGeom>
                                                                                                    <a:avLst/>
                                                                                                    <a:gdLst/>
                                                                                                    <a:ahLst/>
                                                                                                    <a:cxnLst>
                                                                                                      <a:cxn ang="0">
                                                                                                        <a:pos x="74" y="22"/>
                                                                                                      </a:cxn>
                                                                                                      <a:cxn ang="0">
                                                                                                        <a:pos x="66" y="28"/>
                                                                                                      </a:cxn>
                                                                                                      <a:cxn ang="0">
                                                                                                        <a:pos x="64" y="46"/>
                                                                                                      </a:cxn>
                                                                                                      <a:cxn ang="0">
                                                                                                        <a:pos x="42" y="56"/>
                                                                                                      </a:cxn>
                                                                                                      <a:cxn ang="0">
                                                                                                        <a:pos x="40" y="66"/>
                                                                                                      </a:cxn>
                                                                                                      <a:cxn ang="0">
                                                                                                        <a:pos x="30" y="70"/>
                                                                                                      </a:cxn>
                                                                                                      <a:cxn ang="0">
                                                                                                        <a:pos x="18" y="64"/>
                                                                                                      </a:cxn>
                                                                                                      <a:cxn ang="0">
                                                                                                        <a:pos x="6" y="58"/>
                                                                                                      </a:cxn>
                                                                                                      <a:cxn ang="0">
                                                                                                        <a:pos x="6" y="70"/>
                                                                                                      </a:cxn>
                                                                                                      <a:cxn ang="0">
                                                                                                        <a:pos x="10" y="80"/>
                                                                                                      </a:cxn>
                                                                                                      <a:cxn ang="0">
                                                                                                        <a:pos x="0" y="96"/>
                                                                                                      </a:cxn>
                                                                                                      <a:cxn ang="0">
                                                                                                        <a:pos x="6" y="108"/>
                                                                                                      </a:cxn>
                                                                                                      <a:cxn ang="0">
                                                                                                        <a:pos x="10" y="126"/>
                                                                                                      </a:cxn>
                                                                                                      <a:cxn ang="0">
                                                                                                        <a:pos x="12" y="150"/>
                                                                                                      </a:cxn>
                                                                                                      <a:cxn ang="0">
                                                                                                        <a:pos x="24" y="154"/>
                                                                                                      </a:cxn>
                                                                                                      <a:cxn ang="0">
                                                                                                        <a:pos x="40" y="164"/>
                                                                                                      </a:cxn>
                                                                                                      <a:cxn ang="0">
                                                                                                        <a:pos x="36" y="192"/>
                                                                                                      </a:cxn>
                                                                                                      <a:cxn ang="0">
                                                                                                        <a:pos x="60" y="206"/>
                                                                                                      </a:cxn>
                                                                                                      <a:cxn ang="0">
                                                                                                        <a:pos x="88" y="208"/>
                                                                                                      </a:cxn>
                                                                                                      <a:cxn ang="0">
                                                                                                        <a:pos x="140" y="192"/>
                                                                                                      </a:cxn>
                                                                                                      <a:cxn ang="0">
                                                                                                        <a:pos x="136" y="186"/>
                                                                                                      </a:cxn>
                                                                                                      <a:cxn ang="0">
                                                                                                        <a:pos x="134" y="180"/>
                                                                                                      </a:cxn>
                                                                                                      <a:cxn ang="0">
                                                                                                        <a:pos x="144" y="164"/>
                                                                                                      </a:cxn>
                                                                                                      <a:cxn ang="0">
                                                                                                        <a:pos x="156" y="166"/>
                                                                                                      </a:cxn>
                                                                                                      <a:cxn ang="0">
                                                                                                        <a:pos x="160" y="158"/>
                                                                                                      </a:cxn>
                                                                                                      <a:cxn ang="0">
                                                                                                        <a:pos x="170" y="152"/>
                                                                                                      </a:cxn>
                                                                                                      <a:cxn ang="0">
                                                                                                        <a:pos x="176" y="142"/>
                                                                                                      </a:cxn>
                                                                                                      <a:cxn ang="0">
                                                                                                        <a:pos x="170" y="126"/>
                                                                                                      </a:cxn>
                                                                                                      <a:cxn ang="0">
                                                                                                        <a:pos x="182" y="118"/>
                                                                                                      </a:cxn>
                                                                                                      <a:cxn ang="0">
                                                                                                        <a:pos x="184" y="110"/>
                                                                                                      </a:cxn>
                                                                                                      <a:cxn ang="0">
                                                                                                        <a:pos x="174" y="102"/>
                                                                                                      </a:cxn>
                                                                                                      <a:cxn ang="0">
                                                                                                        <a:pos x="186" y="100"/>
                                                                                                      </a:cxn>
                                                                                                      <a:cxn ang="0">
                                                                                                        <a:pos x="218" y="100"/>
                                                                                                      </a:cxn>
                                                                                                      <a:cxn ang="0">
                                                                                                        <a:pos x="214" y="94"/>
                                                                                                      </a:cxn>
                                                                                                      <a:cxn ang="0">
                                                                                                        <a:pos x="210" y="78"/>
                                                                                                      </a:cxn>
                                                                                                      <a:cxn ang="0">
                                                                                                        <a:pos x="206" y="66"/>
                                                                                                      </a:cxn>
                                                                                                      <a:cxn ang="0">
                                                                                                        <a:pos x="204" y="48"/>
                                                                                                      </a:cxn>
                                                                                                      <a:cxn ang="0">
                                                                                                        <a:pos x="218" y="42"/>
                                                                                                      </a:cxn>
                                                                                                      <a:cxn ang="0">
                                                                                                        <a:pos x="224" y="34"/>
                                                                                                      </a:cxn>
                                                                                                      <a:cxn ang="0">
                                                                                                        <a:pos x="242" y="26"/>
                                                                                                      </a:cxn>
                                                                                                      <a:cxn ang="0">
                                                                                                        <a:pos x="248" y="20"/>
                                                                                                      </a:cxn>
                                                                                                      <a:cxn ang="0">
                                                                                                        <a:pos x="230" y="24"/>
                                                                                                      </a:cxn>
                                                                                                      <a:cxn ang="0">
                                                                                                        <a:pos x="226" y="22"/>
                                                                                                      </a:cxn>
                                                                                                      <a:cxn ang="0">
                                                                                                        <a:pos x="224" y="20"/>
                                                                                                      </a:cxn>
                                                                                                      <a:cxn ang="0">
                                                                                                        <a:pos x="212" y="28"/>
                                                                                                      </a:cxn>
                                                                                                      <a:cxn ang="0">
                                                                                                        <a:pos x="198" y="30"/>
                                                                                                      </a:cxn>
                                                                                                      <a:cxn ang="0">
                                                                                                        <a:pos x="186" y="12"/>
                                                                                                      </a:cxn>
                                                                                                      <a:cxn ang="0">
                                                                                                        <a:pos x="180" y="10"/>
                                                                                                      </a:cxn>
                                                                                                      <a:cxn ang="0">
                                                                                                        <a:pos x="180" y="0"/>
                                                                                                      </a:cxn>
                                                                                                      <a:cxn ang="0">
                                                                                                        <a:pos x="166" y="6"/>
                                                                                                      </a:cxn>
                                                                                                      <a:cxn ang="0">
                                                                                                        <a:pos x="164" y="12"/>
                                                                                                      </a:cxn>
                                                                                                      <a:cxn ang="0">
                                                                                                        <a:pos x="156" y="14"/>
                                                                                                      </a:cxn>
                                                                                                      <a:cxn ang="0">
                                                                                                        <a:pos x="156" y="20"/>
                                                                                                      </a:cxn>
                                                                                                      <a:cxn ang="0">
                                                                                                        <a:pos x="144" y="22"/>
                                                                                                      </a:cxn>
                                                                                                      <a:cxn ang="0">
                                                                                                        <a:pos x="128" y="24"/>
                                                                                                      </a:cxn>
                                                                                                      <a:cxn ang="0">
                                                                                                        <a:pos x="118" y="18"/>
                                                                                                      </a:cxn>
                                                                                                      <a:cxn ang="0">
                                                                                                        <a:pos x="104" y="20"/>
                                                                                                      </a:cxn>
                                                                                                      <a:cxn ang="0">
                                                                                                        <a:pos x="92" y="20"/>
                                                                                                      </a:cxn>
                                                                                                    </a:cxnLst>
                                                                                                    <a:rect l="0" t="0" r="r" b="b"/>
                                                                                                    <a:pathLst>
                                                                                                      <a:path w="248" h="208">
                                                                                                        <a:moveTo>
                                                                                                          <a:pt x="82" y="18"/>
                                                                                                        </a:moveTo>
                                                                                                        <a:lnTo>
                                                                                                          <a:pt x="82" y="18"/>
                                                                                                        </a:lnTo>
                                                                                                        <a:lnTo>
                                                                                                          <a:pt x="76" y="20"/>
                                                                                                        </a:lnTo>
                                                                                                        <a:lnTo>
                                                                                                          <a:pt x="74" y="22"/>
                                                                                                        </a:lnTo>
                                                                                                        <a:lnTo>
                                                                                                          <a:pt x="72" y="24"/>
                                                                                                        </a:lnTo>
                                                                                                        <a:lnTo>
                                                                                                          <a:pt x="68" y="24"/>
                                                                                                        </a:lnTo>
                                                                                                        <a:lnTo>
                                                                                                          <a:pt x="68" y="24"/>
                                                                                                        </a:lnTo>
                                                                                                        <a:lnTo>
                                                                                                          <a:pt x="66" y="28"/>
                                                                                                        </a:lnTo>
                                                                                                        <a:lnTo>
                                                                                                          <a:pt x="64" y="32"/>
                                                                                                        </a:lnTo>
                                                                                                        <a:lnTo>
                                                                                                          <a:pt x="64" y="42"/>
                                                                                                        </a:lnTo>
                                                                                                        <a:lnTo>
                                                                                                          <a:pt x="64" y="42"/>
                                                                                                        </a:lnTo>
                                                                                                        <a:lnTo>
                                                                                                          <a:pt x="64" y="46"/>
                                                                                                        </a:lnTo>
                                                                                                        <a:lnTo>
                                                                                                          <a:pt x="60" y="48"/>
                                                                                                        </a:lnTo>
                                                                                                        <a:lnTo>
                                                                                                          <a:pt x="48" y="54"/>
                                                                                                        </a:lnTo>
                                                                                                        <a:lnTo>
                                                                                                          <a:pt x="48" y="54"/>
                                                                                                        </a:lnTo>
                                                                                                        <a:lnTo>
                                                                                                          <a:pt x="42" y="56"/>
                                                                                                        </a:lnTo>
                                                                                                        <a:lnTo>
                                                                                                          <a:pt x="42" y="60"/>
                                                                                                        </a:lnTo>
                                                                                                        <a:lnTo>
                                                                                                          <a:pt x="42" y="62"/>
                                                                                                        </a:lnTo>
                                                                                                        <a:lnTo>
                                                                                                          <a:pt x="40" y="66"/>
                                                                                                        </a:lnTo>
                                                                                                        <a:lnTo>
                                                                                                          <a:pt x="40" y="66"/>
                                                                                                        </a:lnTo>
                                                                                                        <a:lnTo>
                                                                                                          <a:pt x="34" y="72"/>
                                                                                                        </a:lnTo>
                                                                                                        <a:lnTo>
                                                                                                          <a:pt x="34" y="74"/>
                                                                                                        </a:lnTo>
                                                                                                        <a:lnTo>
                                                                                                          <a:pt x="34" y="74"/>
                                                                                                        </a:lnTo>
                                                                                                        <a:lnTo>
                                                                                                          <a:pt x="30" y="70"/>
                                                                                                        </a:lnTo>
                                                                                                        <a:lnTo>
                                                                                                          <a:pt x="26" y="66"/>
                                                                                                        </a:lnTo>
                                                                                                        <a:lnTo>
                                                                                                          <a:pt x="24" y="64"/>
                                                                                                        </a:lnTo>
                                                                                                        <a:lnTo>
                                                                                                          <a:pt x="18" y="64"/>
                                                                                                        </a:lnTo>
                                                                                                        <a:lnTo>
                                                                                                          <a:pt x="18" y="64"/>
                                                                                                        </a:lnTo>
                                                                                                        <a:lnTo>
                                                                                                          <a:pt x="14" y="64"/>
                                                                                                        </a:lnTo>
                                                                                                        <a:lnTo>
                                                                                                          <a:pt x="10" y="62"/>
                                                                                                        </a:lnTo>
                                                                                                        <a:lnTo>
                                                                                                          <a:pt x="6" y="58"/>
                                                                                                        </a:lnTo>
                                                                                                        <a:lnTo>
                                                                                                          <a:pt x="6" y="58"/>
                                                                                                        </a:lnTo>
                                                                                                        <a:lnTo>
                                                                                                          <a:pt x="6" y="62"/>
                                                                                                        </a:lnTo>
                                                                                                        <a:lnTo>
                                                                                                          <a:pt x="6" y="62"/>
                                                                                                        </a:lnTo>
                                                                                                        <a:lnTo>
                                                                                                          <a:pt x="8" y="66"/>
                                                                                                        </a:lnTo>
                                                                                                        <a:lnTo>
                                                                                                          <a:pt x="6" y="70"/>
                                                                                                        </a:lnTo>
                                                                                                        <a:lnTo>
                                                                                                          <a:pt x="6" y="70"/>
                                                                                                        </a:lnTo>
                                                                                                        <a:lnTo>
                                                                                                          <a:pt x="6" y="74"/>
                                                                                                        </a:lnTo>
                                                                                                        <a:lnTo>
                                                                                                          <a:pt x="8" y="78"/>
                                                                                                        </a:lnTo>
                                                                                                        <a:lnTo>
                                                                                                          <a:pt x="10" y="80"/>
                                                                                                        </a:lnTo>
                                                                                                        <a:lnTo>
                                                                                                          <a:pt x="8" y="86"/>
                                                                                                        </a:lnTo>
                                                                                                        <a:lnTo>
                                                                                                          <a:pt x="8" y="86"/>
                                                                                                        </a:lnTo>
                                                                                                        <a:lnTo>
                                                                                                          <a:pt x="4" y="92"/>
                                                                                                        </a:lnTo>
                                                                                                        <a:lnTo>
                                                                                                          <a:pt x="0" y="96"/>
                                                                                                        </a:lnTo>
                                                                                                        <a:lnTo>
                                                                                                          <a:pt x="0" y="98"/>
                                                                                                        </a:lnTo>
                                                                                                        <a:lnTo>
                                                                                                          <a:pt x="2" y="102"/>
                                                                                                        </a:lnTo>
                                                                                                        <a:lnTo>
                                                                                                          <a:pt x="2" y="102"/>
                                                                                                        </a:lnTo>
                                                                                                        <a:lnTo>
                                                                                                          <a:pt x="6" y="108"/>
                                                                                                        </a:lnTo>
                                                                                                        <a:lnTo>
                                                                                                          <a:pt x="6" y="114"/>
                                                                                                        </a:lnTo>
                                                                                                        <a:lnTo>
                                                                                                          <a:pt x="6" y="118"/>
                                                                                                        </a:lnTo>
                                                                                                        <a:lnTo>
                                                                                                          <a:pt x="10" y="126"/>
                                                                                                        </a:lnTo>
                                                                                                        <a:lnTo>
                                                                                                          <a:pt x="10" y="126"/>
                                                                                                        </a:lnTo>
                                                                                                        <a:lnTo>
                                                                                                          <a:pt x="12" y="130"/>
                                                                                                        </a:lnTo>
                                                                                                        <a:lnTo>
                                                                                                          <a:pt x="12" y="136"/>
                                                                                                        </a:lnTo>
                                                                                                        <a:lnTo>
                                                                                                          <a:pt x="12" y="146"/>
                                                                                                        </a:lnTo>
                                                                                                        <a:lnTo>
                                                                                                          <a:pt x="12" y="150"/>
                                                                                                        </a:lnTo>
                                                                                                        <a:lnTo>
                                                                                                          <a:pt x="14" y="152"/>
                                                                                                        </a:lnTo>
                                                                                                        <a:lnTo>
                                                                                                          <a:pt x="16" y="154"/>
                                                                                                        </a:lnTo>
                                                                                                        <a:lnTo>
                                                                                                          <a:pt x="24" y="154"/>
                                                                                                        </a:lnTo>
                                                                                                        <a:lnTo>
                                                                                                          <a:pt x="24" y="154"/>
                                                                                                        </a:lnTo>
                                                                                                        <a:lnTo>
                                                                                                          <a:pt x="32" y="154"/>
                                                                                                        </a:lnTo>
                                                                                                        <a:lnTo>
                                                                                                          <a:pt x="36" y="156"/>
                                                                                                        </a:lnTo>
                                                                                                        <a:lnTo>
                                                                                                          <a:pt x="38" y="158"/>
                                                                                                        </a:lnTo>
                                                                                                        <a:lnTo>
                                                                                                          <a:pt x="40" y="164"/>
                                                                                                        </a:lnTo>
                                                                                                        <a:lnTo>
                                                                                                          <a:pt x="36" y="176"/>
                                                                                                        </a:lnTo>
                                                                                                        <a:lnTo>
                                                                                                          <a:pt x="30" y="190"/>
                                                                                                        </a:lnTo>
                                                                                                        <a:lnTo>
                                                                                                          <a:pt x="30" y="190"/>
                                                                                                        </a:lnTo>
                                                                                                        <a:lnTo>
                                                                                                          <a:pt x="36" y="192"/>
                                                                                                        </a:lnTo>
                                                                                                        <a:lnTo>
                                                                                                          <a:pt x="44" y="198"/>
                                                                                                        </a:lnTo>
                                                                                                        <a:lnTo>
                                                                                                          <a:pt x="44" y="198"/>
                                                                                                        </a:lnTo>
                                                                                                        <a:lnTo>
                                                                                                          <a:pt x="52" y="202"/>
                                                                                                        </a:lnTo>
                                                                                                        <a:lnTo>
                                                                                                          <a:pt x="60" y="206"/>
                                                                                                        </a:lnTo>
                                                                                                        <a:lnTo>
                                                                                                          <a:pt x="70" y="206"/>
                                                                                                        </a:lnTo>
                                                                                                        <a:lnTo>
                                                                                                          <a:pt x="80" y="206"/>
                                                                                                        </a:lnTo>
                                                                                                        <a:lnTo>
                                                                                                          <a:pt x="80" y="206"/>
                                                                                                        </a:lnTo>
                                                                                                        <a:lnTo>
                                                                                                          <a:pt x="88" y="208"/>
                                                                                                        </a:lnTo>
                                                                                                        <a:lnTo>
                                                                                                          <a:pt x="100" y="206"/>
                                                                                                        </a:lnTo>
                                                                                                        <a:lnTo>
                                                                                                          <a:pt x="124" y="200"/>
                                                                                                        </a:lnTo>
                                                                                                        <a:lnTo>
                                                                                                          <a:pt x="124" y="200"/>
                                                                                                        </a:lnTo>
                                                                                                        <a:lnTo>
                                                                                                          <a:pt x="140" y="192"/>
                                                                                                        </a:lnTo>
                                                                                                        <a:lnTo>
                                                                                                          <a:pt x="142" y="190"/>
                                                                                                        </a:lnTo>
                                                                                                        <a:lnTo>
                                                                                                          <a:pt x="138" y="188"/>
                                                                                                        </a:lnTo>
                                                                                                        <a:lnTo>
                                                                                                          <a:pt x="138" y="188"/>
                                                                                                        </a:lnTo>
                                                                                                        <a:lnTo>
                                                                                                          <a:pt x="136" y="186"/>
                                                                                                        </a:lnTo>
                                                                                                        <a:lnTo>
                                                                                                          <a:pt x="136" y="186"/>
                                                                                                        </a:lnTo>
                                                                                                        <a:lnTo>
                                                                                                          <a:pt x="136" y="184"/>
                                                                                                        </a:lnTo>
                                                                                                        <a:lnTo>
                                                                                                          <a:pt x="134" y="180"/>
                                                                                                        </a:lnTo>
                                                                                                        <a:lnTo>
                                                                                                          <a:pt x="134" y="180"/>
                                                                                                        </a:lnTo>
                                                                                                        <a:lnTo>
                                                                                                          <a:pt x="134" y="178"/>
                                                                                                        </a:lnTo>
                                                                                                        <a:lnTo>
                                                                                                          <a:pt x="134" y="174"/>
                                                                                                        </a:lnTo>
                                                                                                        <a:lnTo>
                                                                                                          <a:pt x="138" y="168"/>
                                                                                                        </a:lnTo>
                                                                                                        <a:lnTo>
                                                                                                          <a:pt x="144" y="164"/>
                                                                                                        </a:lnTo>
                                                                                                        <a:lnTo>
                                                                                                          <a:pt x="148" y="164"/>
                                                                                                        </a:lnTo>
                                                                                                        <a:lnTo>
                                                                                                          <a:pt x="152" y="164"/>
                                                                                                        </a:lnTo>
                                                                                                        <a:lnTo>
                                                                                                          <a:pt x="152" y="164"/>
                                                                                                        </a:lnTo>
                                                                                                        <a:lnTo>
                                                                                                          <a:pt x="156" y="166"/>
                                                                                                        </a:lnTo>
                                                                                                        <a:lnTo>
                                                                                                          <a:pt x="158" y="164"/>
                                                                                                        </a:lnTo>
                                                                                                        <a:lnTo>
                                                                                                          <a:pt x="162" y="162"/>
                                                                                                        </a:lnTo>
                                                                                                        <a:lnTo>
                                                                                                          <a:pt x="160" y="158"/>
                                                                                                        </a:lnTo>
                                                                                                        <a:lnTo>
                                                                                                          <a:pt x="160" y="158"/>
                                                                                                        </a:lnTo>
                                                                                                        <a:lnTo>
                                                                                                          <a:pt x="160" y="154"/>
                                                                                                        </a:lnTo>
                                                                                                        <a:lnTo>
                                                                                                          <a:pt x="162" y="154"/>
                                                                                                        </a:lnTo>
                                                                                                        <a:lnTo>
                                                                                                          <a:pt x="166" y="154"/>
                                                                                                        </a:lnTo>
                                                                                                        <a:lnTo>
                                                                                                          <a:pt x="170" y="152"/>
                                                                                                        </a:lnTo>
                                                                                                        <a:lnTo>
                                                                                                          <a:pt x="174" y="148"/>
                                                                                                        </a:lnTo>
                                                                                                        <a:lnTo>
                                                                                                          <a:pt x="174" y="148"/>
                                                                                                        </a:lnTo>
                                                                                                        <a:lnTo>
                                                                                                          <a:pt x="176" y="144"/>
                                                                                                        </a:lnTo>
                                                                                                        <a:lnTo>
                                                                                                          <a:pt x="176" y="142"/>
                                                                                                        </a:lnTo>
                                                                                                        <a:lnTo>
                                                                                                          <a:pt x="172" y="138"/>
                                                                                                        </a:lnTo>
                                                                                                        <a:lnTo>
                                                                                                          <a:pt x="170" y="132"/>
                                                                                                        </a:lnTo>
                                                                                                        <a:lnTo>
                                                                                                          <a:pt x="168" y="130"/>
                                                                                                        </a:lnTo>
                                                                                                        <a:lnTo>
                                                                                                          <a:pt x="170" y="126"/>
                                                                                                        </a:lnTo>
                                                                                                        <a:lnTo>
                                                                                                          <a:pt x="170" y="126"/>
                                                                                                        </a:lnTo>
                                                                                                        <a:lnTo>
                                                                                                          <a:pt x="172" y="120"/>
                                                                                                        </a:lnTo>
                                                                                                        <a:lnTo>
                                                                                                          <a:pt x="178" y="120"/>
                                                                                                        </a:lnTo>
                                                                                                        <a:lnTo>
                                                                                                          <a:pt x="182" y="118"/>
                                                                                                        </a:lnTo>
                                                                                                        <a:lnTo>
                                                                                                          <a:pt x="184" y="114"/>
                                                                                                        </a:lnTo>
                                                                                                        <a:lnTo>
                                                                                                          <a:pt x="184" y="114"/>
                                                                                                        </a:lnTo>
                                                                                                        <a:lnTo>
                                                                                                          <a:pt x="184" y="112"/>
                                                                                                        </a:lnTo>
                                                                                                        <a:lnTo>
                                                                                                          <a:pt x="184" y="110"/>
                                                                                                        </a:lnTo>
                                                                                                        <a:lnTo>
                                                                                                          <a:pt x="180" y="108"/>
                                                                                                        </a:lnTo>
                                                                                                        <a:lnTo>
                                                                                                          <a:pt x="174" y="104"/>
                                                                                                        </a:lnTo>
                                                                                                        <a:lnTo>
                                                                                                          <a:pt x="174" y="102"/>
                                                                                                        </a:lnTo>
                                                                                                        <a:lnTo>
                                                                                                          <a:pt x="174" y="102"/>
                                                                                                        </a:lnTo>
                                                                                                        <a:lnTo>
                                                                                                          <a:pt x="174" y="102"/>
                                                                                                        </a:lnTo>
                                                                                                        <a:lnTo>
                                                                                                          <a:pt x="176" y="100"/>
                                                                                                        </a:lnTo>
                                                                                                        <a:lnTo>
                                                                                                          <a:pt x="178" y="100"/>
                                                                                                        </a:lnTo>
                                                                                                        <a:lnTo>
                                                                                                          <a:pt x="186" y="100"/>
                                                                                                        </a:lnTo>
                                                                                                        <a:lnTo>
                                                                                                          <a:pt x="208" y="102"/>
                                                                                                        </a:lnTo>
                                                                                                        <a:lnTo>
                                                                                                          <a:pt x="208" y="102"/>
                                                                                                        </a:lnTo>
                                                                                                        <a:lnTo>
                                                                                                          <a:pt x="216" y="102"/>
                                                                                                        </a:lnTo>
                                                                                                        <a:lnTo>
                                                                                                          <a:pt x="218" y="100"/>
                                                                                                        </a:lnTo>
                                                                                                        <a:lnTo>
                                                                                                          <a:pt x="218" y="100"/>
                                                                                                        </a:lnTo>
                                                                                                        <a:lnTo>
                                                                                                          <a:pt x="216" y="96"/>
                                                                                                        </a:lnTo>
                                                                                                        <a:lnTo>
                                                                                                          <a:pt x="214" y="94"/>
                                                                                                        </a:lnTo>
                                                                                                        <a:lnTo>
                                                                                                          <a:pt x="214" y="94"/>
                                                                                                        </a:lnTo>
                                                                                                        <a:lnTo>
                                                                                                          <a:pt x="210" y="90"/>
                                                                                                        </a:lnTo>
                                                                                                        <a:lnTo>
                                                                                                          <a:pt x="208" y="86"/>
                                                                                                        </a:lnTo>
                                                                                                        <a:lnTo>
                                                                                                          <a:pt x="208" y="82"/>
                                                                                                        </a:lnTo>
                                                                                                        <a:lnTo>
                                                                                                          <a:pt x="210" y="78"/>
                                                                                                        </a:lnTo>
                                                                                                        <a:lnTo>
                                                                                                          <a:pt x="212" y="72"/>
                                                                                                        </a:lnTo>
                                                                                                        <a:lnTo>
                                                                                                          <a:pt x="210" y="70"/>
                                                                                                        </a:lnTo>
                                                                                                        <a:lnTo>
                                                                                                          <a:pt x="206" y="66"/>
                                                                                                        </a:lnTo>
                                                                                                        <a:lnTo>
                                                                                                          <a:pt x="206" y="66"/>
                                                                                                        </a:lnTo>
                                                                                                        <a:lnTo>
                                                                                                          <a:pt x="200" y="60"/>
                                                                                                        </a:lnTo>
                                                                                                        <a:lnTo>
                                                                                                          <a:pt x="198" y="56"/>
                                                                                                        </a:lnTo>
                                                                                                        <a:lnTo>
                                                                                                          <a:pt x="200" y="54"/>
                                                                                                        </a:lnTo>
                                                                                                        <a:lnTo>
                                                                                                          <a:pt x="204" y="48"/>
                                                                                                        </a:lnTo>
                                                                                                        <a:lnTo>
                                                                                                          <a:pt x="204" y="48"/>
                                                                                                        </a:lnTo>
                                                                                                        <a:lnTo>
                                                                                                          <a:pt x="208" y="44"/>
                                                                                                        </a:lnTo>
                                                                                                        <a:lnTo>
                                                                                                          <a:pt x="214" y="44"/>
                                                                                                        </a:lnTo>
                                                                                                        <a:lnTo>
                                                                                                          <a:pt x="218" y="42"/>
                                                                                                        </a:lnTo>
                                                                                                        <a:lnTo>
                                                                                                          <a:pt x="220" y="38"/>
                                                                                                        </a:lnTo>
                                                                                                        <a:lnTo>
                                                                                                          <a:pt x="220" y="38"/>
                                                                                                        </a:lnTo>
                                                                                                        <a:lnTo>
                                                                                                          <a:pt x="220" y="36"/>
                                                                                                        </a:lnTo>
                                                                                                        <a:lnTo>
                                                                                                          <a:pt x="224" y="34"/>
                                                                                                        </a:lnTo>
                                                                                                        <a:lnTo>
                                                                                                          <a:pt x="232" y="32"/>
                                                                                                        </a:lnTo>
                                                                                                        <a:lnTo>
                                                                                                          <a:pt x="244" y="30"/>
                                                                                                        </a:lnTo>
                                                                                                        <a:lnTo>
                                                                                                          <a:pt x="244" y="30"/>
                                                                                                        </a:lnTo>
                                                                                                        <a:lnTo>
                                                                                                          <a:pt x="242" y="26"/>
                                                                                                        </a:lnTo>
                                                                                                        <a:lnTo>
                                                                                                          <a:pt x="242" y="26"/>
                                                                                                        </a:lnTo>
                                                                                                        <a:lnTo>
                                                                                                          <a:pt x="240" y="24"/>
                                                                                                        </a:lnTo>
                                                                                                        <a:lnTo>
                                                                                                          <a:pt x="240" y="22"/>
                                                                                                        </a:lnTo>
                                                                                                        <a:lnTo>
                                                                                                          <a:pt x="248" y="20"/>
                                                                                                        </a:lnTo>
                                                                                                        <a:lnTo>
                                                                                                          <a:pt x="248" y="20"/>
                                                                                                        </a:lnTo>
                                                                                                        <a:lnTo>
                                                                                                          <a:pt x="238" y="20"/>
                                                                                                        </a:lnTo>
                                                                                                        <a:lnTo>
                                                                                                          <a:pt x="234" y="22"/>
                                                                                                        </a:lnTo>
                                                                                                        <a:lnTo>
                                                                                                          <a:pt x="230" y="24"/>
                                                                                                        </a:lnTo>
                                                                                                        <a:lnTo>
                                                                                                          <a:pt x="228" y="24"/>
                                                                                                        </a:lnTo>
                                                                                                        <a:lnTo>
                                                                                                          <a:pt x="228" y="24"/>
                                                                                                        </a:lnTo>
                                                                                                        <a:lnTo>
                                                                                                          <a:pt x="226" y="24"/>
                                                                                                        </a:lnTo>
                                                                                                        <a:lnTo>
                                                                                                          <a:pt x="226" y="22"/>
                                                                                                        </a:lnTo>
                                                                                                        <a:lnTo>
                                                                                                          <a:pt x="228" y="20"/>
                                                                                                        </a:lnTo>
                                                                                                        <a:lnTo>
                                                                                                          <a:pt x="226" y="20"/>
                                                                                                        </a:lnTo>
                                                                                                        <a:lnTo>
                                                                                                          <a:pt x="226" y="20"/>
                                                                                                        </a:lnTo>
                                                                                                        <a:lnTo>
                                                                                                          <a:pt x="224" y="20"/>
                                                                                                        </a:lnTo>
                                                                                                        <a:lnTo>
                                                                                                          <a:pt x="222" y="22"/>
                                                                                                        </a:lnTo>
                                                                                                        <a:lnTo>
                                                                                                          <a:pt x="218" y="24"/>
                                                                                                        </a:lnTo>
                                                                                                        <a:lnTo>
                                                                                                          <a:pt x="212" y="28"/>
                                                                                                        </a:lnTo>
                                                                                                        <a:lnTo>
                                                                                                          <a:pt x="212" y="28"/>
                                                                                                        </a:lnTo>
                                                                                                        <a:lnTo>
                                                                                                          <a:pt x="204" y="34"/>
                                                                                                        </a:lnTo>
                                                                                                        <a:lnTo>
                                                                                                          <a:pt x="202" y="34"/>
                                                                                                        </a:lnTo>
                                                                                                        <a:lnTo>
                                                                                                          <a:pt x="198" y="30"/>
                                                                                                        </a:lnTo>
                                                                                                        <a:lnTo>
                                                                                                          <a:pt x="198" y="30"/>
                                                                                                        </a:lnTo>
                                                                                                        <a:lnTo>
                                                                                                          <a:pt x="192" y="22"/>
                                                                                                        </a:lnTo>
                                                                                                        <a:lnTo>
                                                                                                          <a:pt x="188" y="16"/>
                                                                                                        </a:lnTo>
                                                                                                        <a:lnTo>
                                                                                                          <a:pt x="186" y="12"/>
                                                                                                        </a:lnTo>
                                                                                                        <a:lnTo>
                                                                                                          <a:pt x="186" y="12"/>
                                                                                                        </a:lnTo>
                                                                                                        <a:lnTo>
                                                                                                          <a:pt x="186" y="10"/>
                                                                                                        </a:lnTo>
                                                                                                        <a:lnTo>
                                                                                                          <a:pt x="186" y="10"/>
                                                                                                        </a:lnTo>
                                                                                                        <a:lnTo>
                                                                                                          <a:pt x="182" y="10"/>
                                                                                                        </a:lnTo>
                                                                                                        <a:lnTo>
                                                                                                          <a:pt x="180" y="10"/>
                                                                                                        </a:lnTo>
                                                                                                        <a:lnTo>
                                                                                                          <a:pt x="182" y="6"/>
                                                                                                        </a:lnTo>
                                                                                                        <a:lnTo>
                                                                                                          <a:pt x="182" y="6"/>
                                                                                                        </a:lnTo>
                                                                                                        <a:lnTo>
                                                                                                          <a:pt x="182" y="2"/>
                                                                                                        </a:lnTo>
                                                                                                        <a:lnTo>
                                                                                                          <a:pt x="180" y="0"/>
                                                                                                        </a:lnTo>
                                                                                                        <a:lnTo>
                                                                                                          <a:pt x="174" y="0"/>
                                                                                                        </a:lnTo>
                                                                                                        <a:lnTo>
                                                                                                          <a:pt x="168" y="2"/>
                                                                                                        </a:lnTo>
                                                                                                        <a:lnTo>
                                                                                                          <a:pt x="168" y="2"/>
                                                                                                        </a:lnTo>
                                                                                                        <a:lnTo>
                                                                                                          <a:pt x="166" y="6"/>
                                                                                                        </a:lnTo>
                                                                                                        <a:lnTo>
                                                                                                          <a:pt x="164" y="8"/>
                                                                                                        </a:lnTo>
                                                                                                        <a:lnTo>
                                                                                                          <a:pt x="166" y="10"/>
                                                                                                        </a:lnTo>
                                                                                                        <a:lnTo>
                                                                                                          <a:pt x="164" y="12"/>
                                                                                                        </a:lnTo>
                                                                                                        <a:lnTo>
                                                                                                          <a:pt x="164" y="12"/>
                                                                                                        </a:lnTo>
                                                                                                        <a:lnTo>
                                                                                                          <a:pt x="162" y="12"/>
                                                                                                        </a:lnTo>
                                                                                                        <a:lnTo>
                                                                                                          <a:pt x="160" y="12"/>
                                                                                                        </a:lnTo>
                                                                                                        <a:lnTo>
                                                                                                          <a:pt x="160" y="12"/>
                                                                                                        </a:lnTo>
                                                                                                        <a:lnTo>
                                                                                                          <a:pt x="156" y="14"/>
                                                                                                        </a:lnTo>
                                                                                                        <a:lnTo>
                                                                                                          <a:pt x="156" y="14"/>
                                                                                                        </a:lnTo>
                                                                                                        <a:lnTo>
                                                                                                          <a:pt x="154" y="16"/>
                                                                                                        </a:lnTo>
                                                                                                        <a:lnTo>
                                                                                                          <a:pt x="154" y="18"/>
                                                                                                        </a:lnTo>
                                                                                                        <a:lnTo>
                                                                                                          <a:pt x="156" y="20"/>
                                                                                                        </a:lnTo>
                                                                                                        <a:lnTo>
                                                                                                          <a:pt x="154" y="22"/>
                                                                                                        </a:lnTo>
                                                                                                        <a:lnTo>
                                                                                                          <a:pt x="154" y="22"/>
                                                                                                        </a:lnTo>
                                                                                                        <a:lnTo>
                                                                                                          <a:pt x="150" y="24"/>
                                                                                                        </a:lnTo>
                                                                                                        <a:lnTo>
                                                                                                          <a:pt x="144" y="22"/>
                                                                                                        </a:lnTo>
                                                                                                        <a:lnTo>
                                                                                                          <a:pt x="140" y="22"/>
                                                                                                        </a:lnTo>
                                                                                                        <a:lnTo>
                                                                                                          <a:pt x="134" y="24"/>
                                                                                                        </a:lnTo>
                                                                                                        <a:lnTo>
                                                                                                          <a:pt x="134" y="24"/>
                                                                                                        </a:lnTo>
                                                                                                        <a:lnTo>
                                                                                                          <a:pt x="128" y="24"/>
                                                                                                        </a:lnTo>
                                                                                                        <a:lnTo>
                                                                                                          <a:pt x="126" y="22"/>
                                                                                                        </a:lnTo>
                                                                                                        <a:lnTo>
                                                                                                          <a:pt x="124" y="18"/>
                                                                                                        </a:lnTo>
                                                                                                        <a:lnTo>
                                                                                                          <a:pt x="122" y="18"/>
                                                                                                        </a:lnTo>
                                                                                                        <a:lnTo>
                                                                                                          <a:pt x="118" y="18"/>
                                                                                                        </a:lnTo>
                                                                                                        <a:lnTo>
                                                                                                          <a:pt x="118" y="18"/>
                                                                                                        </a:lnTo>
                                                                                                        <a:lnTo>
                                                                                                          <a:pt x="110" y="20"/>
                                                                                                        </a:lnTo>
                                                                                                        <a:lnTo>
                                                                                                          <a:pt x="108" y="20"/>
                                                                                                        </a:lnTo>
                                                                                                        <a:lnTo>
                                                                                                          <a:pt x="104" y="20"/>
                                                                                                        </a:lnTo>
                                                                                                        <a:lnTo>
                                                                                                          <a:pt x="104" y="20"/>
                                                                                                        </a:lnTo>
                                                                                                        <a:lnTo>
                                                                                                          <a:pt x="102" y="18"/>
                                                                                                        </a:lnTo>
                                                                                                        <a:lnTo>
                                                                                                          <a:pt x="98" y="20"/>
                                                                                                        </a:lnTo>
                                                                                                        <a:lnTo>
                                                                                                          <a:pt x="92" y="20"/>
                                                                                                        </a:lnTo>
                                                                                                        <a:lnTo>
                                                                                                          <a:pt x="82" y="18"/>
                                                                                                        </a:lnTo>
                                                                                                        <a:lnTo>
                                                                                                          <a:pt x="82" y="18"/>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baseline="-25000" dirty="0"/>
                                                                                                  </a:p>
                                                                                                </p:txBody>
                                                                                              </p:sp>
                                                                                              <p:sp>
                                                                                                <p:nvSpPr>
                                                                                                  <p:cNvPr id="440" name="Freeform 168"/>
                                                                                                  <p:cNvSpPr>
                                                                                                    <a:spLocks/>
                                                                                                  </p:cNvSpPr>
                                                                                                  <p:nvPr/>
                                                                                                </p:nvSpPr>
                                                                                                <p:spPr bwMode="auto">
                                                                                                  <a:xfrm>
                                                                                                    <a:off x="7318439" y="2113073"/>
                                                                                                    <a:ext cx="410082" cy="230647"/>
                                                                                                  </a:xfrm>
                                                                                                  <a:custGeom>
                                                                                                    <a:avLst/>
                                                                                                    <a:gdLst/>
                                                                                                    <a:ahLst/>
                                                                                                    <a:cxnLst>
                                                                                                      <a:cxn ang="0">
                                                                                                        <a:pos x="48" y="24"/>
                                                                                                      </a:cxn>
                                                                                                      <a:cxn ang="0">
                                                                                                        <a:pos x="34" y="10"/>
                                                                                                      </a:cxn>
                                                                                                      <a:cxn ang="0">
                                                                                                        <a:pos x="8" y="8"/>
                                                                                                      </a:cxn>
                                                                                                      <a:cxn ang="0">
                                                                                                        <a:pos x="6" y="28"/>
                                                                                                      </a:cxn>
                                                                                                      <a:cxn ang="0">
                                                                                                        <a:pos x="10" y="22"/>
                                                                                                      </a:cxn>
                                                                                                      <a:cxn ang="0">
                                                                                                        <a:pos x="8" y="16"/>
                                                                                                      </a:cxn>
                                                                                                      <a:cxn ang="0">
                                                                                                        <a:pos x="22" y="12"/>
                                                                                                      </a:cxn>
                                                                                                      <a:cxn ang="0">
                                                                                                        <a:pos x="32" y="20"/>
                                                                                                      </a:cxn>
                                                                                                      <a:cxn ang="0">
                                                                                                        <a:pos x="36" y="26"/>
                                                                                                      </a:cxn>
                                                                                                      <a:cxn ang="0">
                                                                                                        <a:pos x="28" y="32"/>
                                                                                                      </a:cxn>
                                                                                                      <a:cxn ang="0">
                                                                                                        <a:pos x="22" y="34"/>
                                                                                                      </a:cxn>
                                                                                                      <a:cxn ang="0">
                                                                                                        <a:pos x="12" y="34"/>
                                                                                                      </a:cxn>
                                                                                                      <a:cxn ang="0">
                                                                                                        <a:pos x="8" y="38"/>
                                                                                                      </a:cxn>
                                                                                                      <a:cxn ang="0">
                                                                                                        <a:pos x="14" y="50"/>
                                                                                                      </a:cxn>
                                                                                                      <a:cxn ang="0">
                                                                                                        <a:pos x="22" y="50"/>
                                                                                                      </a:cxn>
                                                                                                      <a:cxn ang="0">
                                                                                                        <a:pos x="24" y="54"/>
                                                                                                      </a:cxn>
                                                                                                      <a:cxn ang="0">
                                                                                                        <a:pos x="14" y="54"/>
                                                                                                      </a:cxn>
                                                                                                      <a:cxn ang="0">
                                                                                                        <a:pos x="14" y="60"/>
                                                                                                      </a:cxn>
                                                                                                      <a:cxn ang="0">
                                                                                                        <a:pos x="24" y="62"/>
                                                                                                      </a:cxn>
                                                                                                      <a:cxn ang="0">
                                                                                                        <a:pos x="32" y="66"/>
                                                                                                      </a:cxn>
                                                                                                      <a:cxn ang="0">
                                                                                                        <a:pos x="44" y="74"/>
                                                                                                      </a:cxn>
                                                                                                      <a:cxn ang="0">
                                                                                                        <a:pos x="46" y="98"/>
                                                                                                      </a:cxn>
                                                                                                      <a:cxn ang="0">
                                                                                                        <a:pos x="56" y="100"/>
                                                                                                      </a:cxn>
                                                                                                      <a:cxn ang="0">
                                                                                                        <a:pos x="66" y="82"/>
                                                                                                      </a:cxn>
                                                                                                      <a:cxn ang="0">
                                                                                                        <a:pos x="82" y="80"/>
                                                                                                      </a:cxn>
                                                                                                      <a:cxn ang="0">
                                                                                                        <a:pos x="96" y="78"/>
                                                                                                      </a:cxn>
                                                                                                      <a:cxn ang="0">
                                                                                                        <a:pos x="106" y="86"/>
                                                                                                      </a:cxn>
                                                                                                      <a:cxn ang="0">
                                                                                                        <a:pos x="146" y="98"/>
                                                                                                      </a:cxn>
                                                                                                      <a:cxn ang="0">
                                                                                                        <a:pos x="164" y="108"/>
                                                                                                      </a:cxn>
                                                                                                      <a:cxn ang="0">
                                                                                                        <a:pos x="182" y="114"/>
                                                                                                      </a:cxn>
                                                                                                      <a:cxn ang="0">
                                                                                                        <a:pos x="186" y="124"/>
                                                                                                      </a:cxn>
                                                                                                      <a:cxn ang="0">
                                                                                                        <a:pos x="198" y="140"/>
                                                                                                      </a:cxn>
                                                                                                      <a:cxn ang="0">
                                                                                                        <a:pos x="212" y="142"/>
                                                                                                      </a:cxn>
                                                                                                      <a:cxn ang="0">
                                                                                                        <a:pos x="222" y="152"/>
                                                                                                      </a:cxn>
                                                                                                      <a:cxn ang="0">
                                                                                                        <a:pos x="230" y="140"/>
                                                                                                      </a:cxn>
                                                                                                      <a:cxn ang="0">
                                                                                                        <a:pos x="236" y="132"/>
                                                                                                      </a:cxn>
                                                                                                      <a:cxn ang="0">
                                                                                                        <a:pos x="252" y="120"/>
                                                                                                      </a:cxn>
                                                                                                      <a:cxn ang="0">
                                                                                                        <a:pos x="256" y="102"/>
                                                                                                      </a:cxn>
                                                                                                      <a:cxn ang="0">
                                                                                                        <a:pos x="270" y="96"/>
                                                                                                      </a:cxn>
                                                                                                      <a:cxn ang="0">
                                                                                                        <a:pos x="268" y="80"/>
                                                                                                      </a:cxn>
                                                                                                      <a:cxn ang="0">
                                                                                                        <a:pos x="258" y="76"/>
                                                                                                      </a:cxn>
                                                                                                      <a:cxn ang="0">
                                                                                                        <a:pos x="236" y="74"/>
                                                                                                      </a:cxn>
                                                                                                      <a:cxn ang="0">
                                                                                                        <a:pos x="208" y="60"/>
                                                                                                      </a:cxn>
                                                                                                      <a:cxn ang="0">
                                                                                                        <a:pos x="158" y="22"/>
                                                                                                      </a:cxn>
                                                                                                      <a:cxn ang="0">
                                                                                                        <a:pos x="140" y="24"/>
                                                                                                      </a:cxn>
                                                                                                      <a:cxn ang="0">
                                                                                                        <a:pos x="128" y="18"/>
                                                                                                      </a:cxn>
                                                                                                      <a:cxn ang="0">
                                                                                                        <a:pos x="126" y="10"/>
                                                                                                      </a:cxn>
                                                                                                      <a:cxn ang="0">
                                                                                                        <a:pos x="104" y="0"/>
                                                                                                      </a:cxn>
                                                                                                      <a:cxn ang="0">
                                                                                                        <a:pos x="96" y="4"/>
                                                                                                      </a:cxn>
                                                                                                      <a:cxn ang="0">
                                                                                                        <a:pos x="88" y="8"/>
                                                                                                      </a:cxn>
                                                                                                      <a:cxn ang="0">
                                                                                                        <a:pos x="78" y="16"/>
                                                                                                      </a:cxn>
                                                                                                      <a:cxn ang="0">
                                                                                                        <a:pos x="76" y="28"/>
                                                                                                      </a:cxn>
                                                                                                    </a:cxnLst>
                                                                                                    <a:rect l="0" t="0" r="r" b="b"/>
                                                                                                    <a:pathLst>
                                                                                                      <a:path w="270" h="152">
                                                                                                        <a:moveTo>
                                                                                                          <a:pt x="70" y="28"/>
                                                                                                        </a:moveTo>
                                                                                                        <a:lnTo>
                                                                                                          <a:pt x="70" y="28"/>
                                                                                                        </a:lnTo>
                                                                                                        <a:lnTo>
                                                                                                          <a:pt x="54" y="28"/>
                                                                                                        </a:lnTo>
                                                                                                        <a:lnTo>
                                                                                                          <a:pt x="48" y="24"/>
                                                                                                        </a:lnTo>
                                                                                                        <a:lnTo>
                                                                                                          <a:pt x="42" y="18"/>
                                                                                                        </a:lnTo>
                                                                                                        <a:lnTo>
                                                                                                          <a:pt x="42" y="18"/>
                                                                                                        </a:lnTo>
                                                                                                        <a:lnTo>
                                                                                                          <a:pt x="40" y="14"/>
                                                                                                        </a:lnTo>
                                                                                                        <a:lnTo>
                                                                                                          <a:pt x="34" y="10"/>
                                                                                                        </a:lnTo>
                                                                                                        <a:lnTo>
                                                                                                          <a:pt x="28" y="6"/>
                                                                                                        </a:lnTo>
                                                                                                        <a:lnTo>
                                                                                                          <a:pt x="22" y="6"/>
                                                                                                        </a:lnTo>
                                                                                                        <a:lnTo>
                                                                                                          <a:pt x="16" y="6"/>
                                                                                                        </a:lnTo>
                                                                                                        <a:lnTo>
                                                                                                          <a:pt x="8" y="8"/>
                                                                                                        </a:lnTo>
                                                                                                        <a:lnTo>
                                                                                                          <a:pt x="4" y="14"/>
                                                                                                        </a:lnTo>
                                                                                                        <a:lnTo>
                                                                                                          <a:pt x="0" y="22"/>
                                                                                                        </a:lnTo>
                                                                                                        <a:lnTo>
                                                                                                          <a:pt x="0" y="22"/>
                                                                                                        </a:lnTo>
                                                                                                        <a:lnTo>
                                                                                                          <a:pt x="6" y="28"/>
                                                                                                        </a:lnTo>
                                                                                                        <a:lnTo>
                                                                                                          <a:pt x="8" y="30"/>
                                                                                                        </a:lnTo>
                                                                                                        <a:lnTo>
                                                                                                          <a:pt x="8" y="30"/>
                                                                                                        </a:lnTo>
                                                                                                        <a:lnTo>
                                                                                                          <a:pt x="10" y="26"/>
                                                                                                        </a:lnTo>
                                                                                                        <a:lnTo>
                                                                                                          <a:pt x="10" y="22"/>
                                                                                                        </a:lnTo>
                                                                                                        <a:lnTo>
                                                                                                          <a:pt x="10" y="20"/>
                                                                                                        </a:lnTo>
                                                                                                        <a:lnTo>
                                                                                                          <a:pt x="10" y="20"/>
                                                                                                        </a:lnTo>
                                                                                                        <a:lnTo>
                                                                                                          <a:pt x="8" y="18"/>
                                                                                                        </a:lnTo>
                                                                                                        <a:lnTo>
                                                                                                          <a:pt x="8" y="16"/>
                                                                                                        </a:lnTo>
                                                                                                        <a:lnTo>
                                                                                                          <a:pt x="12" y="12"/>
                                                                                                        </a:lnTo>
                                                                                                        <a:lnTo>
                                                                                                          <a:pt x="12" y="12"/>
                                                                                                        </a:lnTo>
                                                                                                        <a:lnTo>
                                                                                                          <a:pt x="20" y="12"/>
                                                                                                        </a:lnTo>
                                                                                                        <a:lnTo>
                                                                                                          <a:pt x="22" y="12"/>
                                                                                                        </a:lnTo>
                                                                                                        <a:lnTo>
                                                                                                          <a:pt x="24" y="14"/>
                                                                                                        </a:lnTo>
                                                                                                        <a:lnTo>
                                                                                                          <a:pt x="24" y="14"/>
                                                                                                        </a:lnTo>
                                                                                                        <a:lnTo>
                                                                                                          <a:pt x="26" y="18"/>
                                                                                                        </a:lnTo>
                                                                                                        <a:lnTo>
                                                                                                          <a:pt x="32" y="20"/>
                                                                                                        </a:lnTo>
                                                                                                        <a:lnTo>
                                                                                                          <a:pt x="36" y="22"/>
                                                                                                        </a:lnTo>
                                                                                                        <a:lnTo>
                                                                                                          <a:pt x="38" y="24"/>
                                                                                                        </a:lnTo>
                                                                                                        <a:lnTo>
                                                                                                          <a:pt x="36" y="26"/>
                                                                                                        </a:lnTo>
                                                                                                        <a:lnTo>
                                                                                                          <a:pt x="36" y="26"/>
                                                                                                        </a:lnTo>
                                                                                                        <a:lnTo>
                                                                                                          <a:pt x="34" y="28"/>
                                                                                                        </a:lnTo>
                                                                                                        <a:lnTo>
                                                                                                          <a:pt x="34" y="30"/>
                                                                                                        </a:lnTo>
                                                                                                        <a:lnTo>
                                                                                                          <a:pt x="32" y="32"/>
                                                                                                        </a:lnTo>
                                                                                                        <a:lnTo>
                                                                                                          <a:pt x="28" y="32"/>
                                                                                                        </a:lnTo>
                                                                                                        <a:lnTo>
                                                                                                          <a:pt x="28" y="32"/>
                                                                                                        </a:lnTo>
                                                                                                        <a:lnTo>
                                                                                                          <a:pt x="24" y="32"/>
                                                                                                        </a:lnTo>
                                                                                                        <a:lnTo>
                                                                                                          <a:pt x="24" y="32"/>
                                                                                                        </a:lnTo>
                                                                                                        <a:lnTo>
                                                                                                          <a:pt x="22" y="34"/>
                                                                                                        </a:lnTo>
                                                                                                        <a:lnTo>
                                                                                                          <a:pt x="20" y="34"/>
                                                                                                        </a:lnTo>
                                                                                                        <a:lnTo>
                                                                                                          <a:pt x="20" y="34"/>
                                                                                                        </a:lnTo>
                                                                                                        <a:lnTo>
                                                                                                          <a:pt x="16" y="36"/>
                                                                                                        </a:lnTo>
                                                                                                        <a:lnTo>
                                                                                                          <a:pt x="12" y="34"/>
                                                                                                        </a:lnTo>
                                                                                                        <a:lnTo>
                                                                                                          <a:pt x="8" y="30"/>
                                                                                                        </a:lnTo>
                                                                                                        <a:lnTo>
                                                                                                          <a:pt x="8" y="30"/>
                                                                                                        </a:lnTo>
                                                                                                        <a:lnTo>
                                                                                                          <a:pt x="8" y="34"/>
                                                                                                        </a:lnTo>
                                                                                                        <a:lnTo>
                                                                                                          <a:pt x="8" y="38"/>
                                                                                                        </a:lnTo>
                                                                                                        <a:lnTo>
                                                                                                          <a:pt x="10" y="48"/>
                                                                                                        </a:lnTo>
                                                                                                        <a:lnTo>
                                                                                                          <a:pt x="10" y="48"/>
                                                                                                        </a:lnTo>
                                                                                                        <a:lnTo>
                                                                                                          <a:pt x="12" y="48"/>
                                                                                                        </a:lnTo>
                                                                                                        <a:lnTo>
                                                                                                          <a:pt x="14" y="50"/>
                                                                                                        </a:lnTo>
                                                                                                        <a:lnTo>
                                                                                                          <a:pt x="18" y="48"/>
                                                                                                        </a:lnTo>
                                                                                                        <a:lnTo>
                                                                                                          <a:pt x="22" y="48"/>
                                                                                                        </a:lnTo>
                                                                                                        <a:lnTo>
                                                                                                          <a:pt x="22" y="48"/>
                                                                                                        </a:lnTo>
                                                                                                        <a:lnTo>
                                                                                                          <a:pt x="22" y="50"/>
                                                                                                        </a:lnTo>
                                                                                                        <a:lnTo>
                                                                                                          <a:pt x="22" y="50"/>
                                                                                                        </a:lnTo>
                                                                                                        <a:lnTo>
                                                                                                          <a:pt x="22" y="52"/>
                                                                                                        </a:lnTo>
                                                                                                        <a:lnTo>
                                                                                                          <a:pt x="24" y="54"/>
                                                                                                        </a:lnTo>
                                                                                                        <a:lnTo>
                                                                                                          <a:pt x="24" y="54"/>
                                                                                                        </a:lnTo>
                                                                                                        <a:lnTo>
                                                                                                          <a:pt x="22" y="56"/>
                                                                                                        </a:lnTo>
                                                                                                        <a:lnTo>
                                                                                                          <a:pt x="22" y="56"/>
                                                                                                        </a:lnTo>
                                                                                                        <a:lnTo>
                                                                                                          <a:pt x="16" y="56"/>
                                                                                                        </a:lnTo>
                                                                                                        <a:lnTo>
                                                                                                          <a:pt x="14" y="54"/>
                                                                                                        </a:lnTo>
                                                                                                        <a:lnTo>
                                                                                                          <a:pt x="12" y="54"/>
                                                                                                        </a:lnTo>
                                                                                                        <a:lnTo>
                                                                                                          <a:pt x="12" y="54"/>
                                                                                                        </a:lnTo>
                                                                                                        <a:lnTo>
                                                                                                          <a:pt x="14" y="60"/>
                                                                                                        </a:lnTo>
                                                                                                        <a:lnTo>
                                                                                                          <a:pt x="14" y="60"/>
                                                                                                        </a:lnTo>
                                                                                                        <a:lnTo>
                                                                                                          <a:pt x="18" y="66"/>
                                                                                                        </a:lnTo>
                                                                                                        <a:lnTo>
                                                                                                          <a:pt x="20" y="66"/>
                                                                                                        </a:lnTo>
                                                                                                        <a:lnTo>
                                                                                                          <a:pt x="20" y="64"/>
                                                                                                        </a:lnTo>
                                                                                                        <a:lnTo>
                                                                                                          <a:pt x="24" y="62"/>
                                                                                                        </a:lnTo>
                                                                                                        <a:lnTo>
                                                                                                          <a:pt x="24" y="62"/>
                                                                                                        </a:lnTo>
                                                                                                        <a:lnTo>
                                                                                                          <a:pt x="26" y="62"/>
                                                                                                        </a:lnTo>
                                                                                                        <a:lnTo>
                                                                                                          <a:pt x="30" y="64"/>
                                                                                                        </a:lnTo>
                                                                                                        <a:lnTo>
                                                                                                          <a:pt x="32" y="66"/>
                                                                                                        </a:lnTo>
                                                                                                        <a:lnTo>
                                                                                                          <a:pt x="38" y="70"/>
                                                                                                        </a:lnTo>
                                                                                                        <a:lnTo>
                                                                                                          <a:pt x="38" y="70"/>
                                                                                                        </a:lnTo>
                                                                                                        <a:lnTo>
                                                                                                          <a:pt x="42" y="72"/>
                                                                                                        </a:lnTo>
                                                                                                        <a:lnTo>
                                                                                                          <a:pt x="44" y="74"/>
                                                                                                        </a:lnTo>
                                                                                                        <a:lnTo>
                                                                                                          <a:pt x="44" y="80"/>
                                                                                                        </a:lnTo>
                                                                                                        <a:lnTo>
                                                                                                          <a:pt x="44" y="88"/>
                                                                                                        </a:lnTo>
                                                                                                        <a:lnTo>
                                                                                                          <a:pt x="46" y="98"/>
                                                                                                        </a:lnTo>
                                                                                                        <a:lnTo>
                                                                                                          <a:pt x="46" y="98"/>
                                                                                                        </a:lnTo>
                                                                                                        <a:lnTo>
                                                                                                          <a:pt x="46" y="102"/>
                                                                                                        </a:lnTo>
                                                                                                        <a:lnTo>
                                                                                                          <a:pt x="50" y="102"/>
                                                                                                        </a:lnTo>
                                                                                                        <a:lnTo>
                                                                                                          <a:pt x="56" y="100"/>
                                                                                                        </a:lnTo>
                                                                                                        <a:lnTo>
                                                                                                          <a:pt x="56" y="100"/>
                                                                                                        </a:lnTo>
                                                                                                        <a:lnTo>
                                                                                                          <a:pt x="58" y="96"/>
                                                                                                        </a:lnTo>
                                                                                                        <a:lnTo>
                                                                                                          <a:pt x="60" y="92"/>
                                                                                                        </a:lnTo>
                                                                                                        <a:lnTo>
                                                                                                          <a:pt x="60" y="86"/>
                                                                                                        </a:lnTo>
                                                                                                        <a:lnTo>
                                                                                                          <a:pt x="66" y="82"/>
                                                                                                        </a:lnTo>
                                                                                                        <a:lnTo>
                                                                                                          <a:pt x="66" y="82"/>
                                                                                                        </a:lnTo>
                                                                                                        <a:lnTo>
                                                                                                          <a:pt x="72" y="80"/>
                                                                                                        </a:lnTo>
                                                                                                        <a:lnTo>
                                                                                                          <a:pt x="78" y="80"/>
                                                                                                        </a:lnTo>
                                                                                                        <a:lnTo>
                                                                                                          <a:pt x="82" y="80"/>
                                                                                                        </a:lnTo>
                                                                                                        <a:lnTo>
                                                                                                          <a:pt x="86" y="80"/>
                                                                                                        </a:lnTo>
                                                                                                        <a:lnTo>
                                                                                                          <a:pt x="86" y="80"/>
                                                                                                        </a:lnTo>
                                                                                                        <a:lnTo>
                                                                                                          <a:pt x="90" y="78"/>
                                                                                                        </a:lnTo>
                                                                                                        <a:lnTo>
                                                                                                          <a:pt x="96" y="78"/>
                                                                                                        </a:lnTo>
                                                                                                        <a:lnTo>
                                                                                                          <a:pt x="100" y="80"/>
                                                                                                        </a:lnTo>
                                                                                                        <a:lnTo>
                                                                                                          <a:pt x="104" y="84"/>
                                                                                                        </a:lnTo>
                                                                                                        <a:lnTo>
                                                                                                          <a:pt x="104" y="84"/>
                                                                                                        </a:lnTo>
                                                                                                        <a:lnTo>
                                                                                                          <a:pt x="106" y="86"/>
                                                                                                        </a:lnTo>
                                                                                                        <a:lnTo>
                                                                                                          <a:pt x="110" y="88"/>
                                                                                                        </a:lnTo>
                                                                                                        <a:lnTo>
                                                                                                          <a:pt x="124" y="92"/>
                                                                                                        </a:lnTo>
                                                                                                        <a:lnTo>
                                                                                                          <a:pt x="140" y="96"/>
                                                                                                        </a:lnTo>
                                                                                                        <a:lnTo>
                                                                                                          <a:pt x="146" y="98"/>
                                                                                                        </a:lnTo>
                                                                                                        <a:lnTo>
                                                                                                          <a:pt x="152" y="102"/>
                                                                                                        </a:lnTo>
                                                                                                        <a:lnTo>
                                                                                                          <a:pt x="152" y="102"/>
                                                                                                        </a:lnTo>
                                                                                                        <a:lnTo>
                                                                                                          <a:pt x="160" y="108"/>
                                                                                                        </a:lnTo>
                                                                                                        <a:lnTo>
                                                                                                          <a:pt x="164" y="108"/>
                                                                                                        </a:lnTo>
                                                                                                        <a:lnTo>
                                                                                                          <a:pt x="170" y="108"/>
                                                                                                        </a:lnTo>
                                                                                                        <a:lnTo>
                                                                                                          <a:pt x="176" y="110"/>
                                                                                                        </a:lnTo>
                                                                                                        <a:lnTo>
                                                                                                          <a:pt x="176" y="110"/>
                                                                                                        </a:lnTo>
                                                                                                        <a:lnTo>
                                                                                                          <a:pt x="182" y="114"/>
                                                                                                        </a:lnTo>
                                                                                                        <a:lnTo>
                                                                                                          <a:pt x="184" y="118"/>
                                                                                                        </a:lnTo>
                                                                                                        <a:lnTo>
                                                                                                          <a:pt x="184" y="120"/>
                                                                                                        </a:lnTo>
                                                                                                        <a:lnTo>
                                                                                                          <a:pt x="186" y="124"/>
                                                                                                        </a:lnTo>
                                                                                                        <a:lnTo>
                                                                                                          <a:pt x="186" y="124"/>
                                                                                                        </a:lnTo>
                                                                                                        <a:lnTo>
                                                                                                          <a:pt x="190" y="128"/>
                                                                                                        </a:lnTo>
                                                                                                        <a:lnTo>
                                                                                                          <a:pt x="194" y="136"/>
                                                                                                        </a:lnTo>
                                                                                                        <a:lnTo>
                                                                                                          <a:pt x="194" y="136"/>
                                                                                                        </a:lnTo>
                                                                                                        <a:lnTo>
                                                                                                          <a:pt x="198" y="140"/>
                                                                                                        </a:lnTo>
                                                                                                        <a:lnTo>
                                                                                                          <a:pt x="202" y="142"/>
                                                                                                        </a:lnTo>
                                                                                                        <a:lnTo>
                                                                                                          <a:pt x="206" y="142"/>
                                                                                                        </a:lnTo>
                                                                                                        <a:lnTo>
                                                                                                          <a:pt x="206" y="142"/>
                                                                                                        </a:lnTo>
                                                                                                        <a:lnTo>
                                                                                                          <a:pt x="212" y="142"/>
                                                                                                        </a:lnTo>
                                                                                                        <a:lnTo>
                                                                                                          <a:pt x="214" y="144"/>
                                                                                                        </a:lnTo>
                                                                                                        <a:lnTo>
                                                                                                          <a:pt x="218" y="148"/>
                                                                                                        </a:lnTo>
                                                                                                        <a:lnTo>
                                                                                                          <a:pt x="222" y="152"/>
                                                                                                        </a:lnTo>
                                                                                                        <a:lnTo>
                                                                                                          <a:pt x="222" y="152"/>
                                                                                                        </a:lnTo>
                                                                                                        <a:lnTo>
                                                                                                          <a:pt x="222" y="150"/>
                                                                                                        </a:lnTo>
                                                                                                        <a:lnTo>
                                                                                                          <a:pt x="228" y="144"/>
                                                                                                        </a:lnTo>
                                                                                                        <a:lnTo>
                                                                                                          <a:pt x="228" y="144"/>
                                                                                                        </a:lnTo>
                                                                                                        <a:lnTo>
                                                                                                          <a:pt x="230" y="140"/>
                                                                                                        </a:lnTo>
                                                                                                        <a:lnTo>
                                                                                                          <a:pt x="230" y="138"/>
                                                                                                        </a:lnTo>
                                                                                                        <a:lnTo>
                                                                                                          <a:pt x="230" y="134"/>
                                                                                                        </a:lnTo>
                                                                                                        <a:lnTo>
                                                                                                          <a:pt x="236" y="132"/>
                                                                                                        </a:lnTo>
                                                                                                        <a:lnTo>
                                                                                                          <a:pt x="236" y="132"/>
                                                                                                        </a:lnTo>
                                                                                                        <a:lnTo>
                                                                                                          <a:pt x="248" y="126"/>
                                                                                                        </a:lnTo>
                                                                                                        <a:lnTo>
                                                                                                          <a:pt x="252" y="124"/>
                                                                                                        </a:lnTo>
                                                                                                        <a:lnTo>
                                                                                                          <a:pt x="252" y="120"/>
                                                                                                        </a:lnTo>
                                                                                                        <a:lnTo>
                                                                                                          <a:pt x="252" y="120"/>
                                                                                                        </a:lnTo>
                                                                                                        <a:lnTo>
                                                                                                          <a:pt x="252" y="110"/>
                                                                                                        </a:lnTo>
                                                                                                        <a:lnTo>
                                                                                                          <a:pt x="254" y="106"/>
                                                                                                        </a:lnTo>
                                                                                                        <a:lnTo>
                                                                                                          <a:pt x="256" y="102"/>
                                                                                                        </a:lnTo>
                                                                                                        <a:lnTo>
                                                                                                          <a:pt x="256" y="102"/>
                                                                                                        </a:lnTo>
                                                                                                        <a:lnTo>
                                                                                                          <a:pt x="260" y="102"/>
                                                                                                        </a:lnTo>
                                                                                                        <a:lnTo>
                                                                                                          <a:pt x="262" y="100"/>
                                                                                                        </a:lnTo>
                                                                                                        <a:lnTo>
                                                                                                          <a:pt x="264" y="98"/>
                                                                                                        </a:lnTo>
                                                                                                        <a:lnTo>
                                                                                                          <a:pt x="270" y="96"/>
                                                                                                        </a:lnTo>
                                                                                                        <a:lnTo>
                                                                                                          <a:pt x="270" y="96"/>
                                                                                                        </a:lnTo>
                                                                                                        <a:lnTo>
                                                                                                          <a:pt x="268" y="90"/>
                                                                                                        </a:lnTo>
                                                                                                        <a:lnTo>
                                                                                                          <a:pt x="268" y="84"/>
                                                                                                        </a:lnTo>
                                                                                                        <a:lnTo>
                                                                                                          <a:pt x="268" y="80"/>
                                                                                                        </a:lnTo>
                                                                                                        <a:lnTo>
                                                                                                          <a:pt x="264" y="78"/>
                                                                                                        </a:lnTo>
                                                                                                        <a:lnTo>
                                                                                                          <a:pt x="264" y="78"/>
                                                                                                        </a:lnTo>
                                                                                                        <a:lnTo>
                                                                                                          <a:pt x="260" y="78"/>
                                                                                                        </a:lnTo>
                                                                                                        <a:lnTo>
                                                                                                          <a:pt x="258" y="76"/>
                                                                                                        </a:lnTo>
                                                                                                        <a:lnTo>
                                                                                                          <a:pt x="252" y="76"/>
                                                                                                        </a:lnTo>
                                                                                                        <a:lnTo>
                                                                                                          <a:pt x="244" y="74"/>
                                                                                                        </a:lnTo>
                                                                                                        <a:lnTo>
                                                                                                          <a:pt x="244" y="74"/>
                                                                                                        </a:lnTo>
                                                                                                        <a:lnTo>
                                                                                                          <a:pt x="236" y="74"/>
                                                                                                        </a:lnTo>
                                                                                                        <a:lnTo>
                                                                                                          <a:pt x="230" y="70"/>
                                                                                                        </a:lnTo>
                                                                                                        <a:lnTo>
                                                                                                          <a:pt x="224" y="66"/>
                                                                                                        </a:lnTo>
                                                                                                        <a:lnTo>
                                                                                                          <a:pt x="208" y="60"/>
                                                                                                        </a:lnTo>
                                                                                                        <a:lnTo>
                                                                                                          <a:pt x="208" y="60"/>
                                                                                                        </a:lnTo>
                                                                                                        <a:lnTo>
                                                                                                          <a:pt x="188" y="52"/>
                                                                                                        </a:lnTo>
                                                                                                        <a:lnTo>
                                                                                                          <a:pt x="176" y="44"/>
                                                                                                        </a:lnTo>
                                                                                                        <a:lnTo>
                                                                                                          <a:pt x="168" y="36"/>
                                                                                                        </a:lnTo>
                                                                                                        <a:lnTo>
                                                                                                          <a:pt x="158" y="22"/>
                                                                                                        </a:lnTo>
                                                                                                        <a:lnTo>
                                                                                                          <a:pt x="158" y="22"/>
                                                                                                        </a:lnTo>
                                                                                                        <a:lnTo>
                                                                                                          <a:pt x="154" y="20"/>
                                                                                                        </a:lnTo>
                                                                                                        <a:lnTo>
                                                                                                          <a:pt x="152" y="20"/>
                                                                                                        </a:lnTo>
                                                                                                        <a:lnTo>
                                                                                                          <a:pt x="140" y="24"/>
                                                                                                        </a:lnTo>
                                                                                                        <a:lnTo>
                                                                                                          <a:pt x="140" y="24"/>
                                                                                                        </a:lnTo>
                                                                                                        <a:lnTo>
                                                                                                          <a:pt x="134" y="24"/>
                                                                                                        </a:lnTo>
                                                                                                        <a:lnTo>
                                                                                                          <a:pt x="130" y="22"/>
                                                                                                        </a:lnTo>
                                                                                                        <a:lnTo>
                                                                                                          <a:pt x="128" y="18"/>
                                                                                                        </a:lnTo>
                                                                                                        <a:lnTo>
                                                                                                          <a:pt x="128" y="14"/>
                                                                                                        </a:lnTo>
                                                                                                        <a:lnTo>
                                                                                                          <a:pt x="128" y="14"/>
                                                                                                        </a:lnTo>
                                                                                                        <a:lnTo>
                                                                                                          <a:pt x="128" y="12"/>
                                                                                                        </a:lnTo>
                                                                                                        <a:lnTo>
                                                                                                          <a:pt x="126" y="10"/>
                                                                                                        </a:lnTo>
                                                                                                        <a:lnTo>
                                                                                                          <a:pt x="120" y="6"/>
                                                                                                        </a:lnTo>
                                                                                                        <a:lnTo>
                                                                                                          <a:pt x="112" y="2"/>
                                                                                                        </a:lnTo>
                                                                                                        <a:lnTo>
                                                                                                          <a:pt x="104" y="0"/>
                                                                                                        </a:lnTo>
                                                                                                        <a:lnTo>
                                                                                                          <a:pt x="104" y="0"/>
                                                                                                        </a:lnTo>
                                                                                                        <a:lnTo>
                                                                                                          <a:pt x="100" y="0"/>
                                                                                                        </a:lnTo>
                                                                                                        <a:lnTo>
                                                                                                          <a:pt x="102" y="2"/>
                                                                                                        </a:lnTo>
                                                                                                        <a:lnTo>
                                                                                                          <a:pt x="102" y="4"/>
                                                                                                        </a:lnTo>
                                                                                                        <a:lnTo>
                                                                                                          <a:pt x="96" y="4"/>
                                                                                                        </a:lnTo>
                                                                                                        <a:lnTo>
                                                                                                          <a:pt x="96" y="4"/>
                                                                                                        </a:lnTo>
                                                                                                        <a:lnTo>
                                                                                                          <a:pt x="92" y="4"/>
                                                                                                        </a:lnTo>
                                                                                                        <a:lnTo>
                                                                                                          <a:pt x="90" y="6"/>
                                                                                                        </a:lnTo>
                                                                                                        <a:lnTo>
                                                                                                          <a:pt x="88" y="8"/>
                                                                                                        </a:lnTo>
                                                                                                        <a:lnTo>
                                                                                                          <a:pt x="84" y="10"/>
                                                                                                        </a:lnTo>
                                                                                                        <a:lnTo>
                                                                                                          <a:pt x="84" y="10"/>
                                                                                                        </a:lnTo>
                                                                                                        <a:lnTo>
                                                                                                          <a:pt x="80" y="14"/>
                                                                                                        </a:lnTo>
                                                                                                        <a:lnTo>
                                                                                                          <a:pt x="78" y="16"/>
                                                                                                        </a:lnTo>
                                                                                                        <a:lnTo>
                                                                                                          <a:pt x="80" y="22"/>
                                                                                                        </a:lnTo>
                                                                                                        <a:lnTo>
                                                                                                          <a:pt x="80" y="26"/>
                                                                                                        </a:lnTo>
                                                                                                        <a:lnTo>
                                                                                                          <a:pt x="80" y="26"/>
                                                                                                        </a:lnTo>
                                                                                                        <a:lnTo>
                                                                                                          <a:pt x="76" y="28"/>
                                                                                                        </a:lnTo>
                                                                                                        <a:lnTo>
                                                                                                          <a:pt x="70" y="28"/>
                                                                                                        </a:lnTo>
                                                                                                        <a:lnTo>
                                                                                                          <a:pt x="70" y="28"/>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baseline="-25000" dirty="0"/>
                                                                                                  </a:p>
                                                                                                </p:txBody>
                                                                                              </p:sp>
                                                                                              <p:sp>
                                                                                                <p:nvSpPr>
                                                                                                  <p:cNvPr id="438" name="Timor-Leste"/>
                                                                                                  <p:cNvSpPr>
                                                                                                    <a:spLocks/>
                                                                                                  </p:cNvSpPr>
                                                                                                  <p:nvPr/>
                                                                                                </p:nvSpPr>
                                                                                                <p:spPr bwMode="auto">
                                                                                                  <a:xfrm>
                                                                                                    <a:off x="9769561" y="3994142"/>
                                                                                                    <a:ext cx="82550" cy="39687"/>
                                                                                                  </a:xfrm>
                                                                                                  <a:custGeom>
                                                                                                    <a:avLst/>
                                                                                                    <a:gdLst>
                                                                                                      <a:gd name="T0" fmla="*/ 52 w 52"/>
                                                                                                      <a:gd name="T1" fmla="*/ 2 h 25"/>
                                                                                                      <a:gd name="T2" fmla="*/ 49 w 52"/>
                                                                                                      <a:gd name="T3" fmla="*/ 2 h 25"/>
                                                                                                      <a:gd name="T4" fmla="*/ 47 w 52"/>
                                                                                                      <a:gd name="T5" fmla="*/ 2 h 25"/>
                                                                                                      <a:gd name="T6" fmla="*/ 44 w 52"/>
                                                                                                      <a:gd name="T7" fmla="*/ 0 h 25"/>
                                                                                                      <a:gd name="T8" fmla="*/ 35 w 52"/>
                                                                                                      <a:gd name="T9" fmla="*/ 2 h 25"/>
                                                                                                      <a:gd name="T10" fmla="*/ 33 w 52"/>
                                                                                                      <a:gd name="T11" fmla="*/ 2 h 25"/>
                                                                                                      <a:gd name="T12" fmla="*/ 28 w 52"/>
                                                                                                      <a:gd name="T13" fmla="*/ 4 h 25"/>
                                                                                                      <a:gd name="T14" fmla="*/ 23 w 52"/>
                                                                                                      <a:gd name="T15" fmla="*/ 4 h 25"/>
                                                                                                      <a:gd name="T16" fmla="*/ 14 w 52"/>
                                                                                                      <a:gd name="T17" fmla="*/ 4 h 25"/>
                                                                                                      <a:gd name="T18" fmla="*/ 9 w 52"/>
                                                                                                      <a:gd name="T19" fmla="*/ 7 h 25"/>
                                                                                                      <a:gd name="T20" fmla="*/ 4 w 52"/>
                                                                                                      <a:gd name="T21" fmla="*/ 11 h 25"/>
                                                                                                      <a:gd name="T22" fmla="*/ 0 w 52"/>
                                                                                                      <a:gd name="T23" fmla="*/ 14 h 25"/>
                                                                                                      <a:gd name="T24" fmla="*/ 0 w 52"/>
                                                                                                      <a:gd name="T25" fmla="*/ 18 h 25"/>
                                                                                                      <a:gd name="T26" fmla="*/ 2 w 52"/>
                                                                                                      <a:gd name="T27" fmla="*/ 18 h 25"/>
                                                                                                      <a:gd name="T28" fmla="*/ 7 w 52"/>
                                                                                                      <a:gd name="T29" fmla="*/ 14 h 25"/>
                                                                                                      <a:gd name="T30" fmla="*/ 9 w 52"/>
                                                                                                      <a:gd name="T31" fmla="*/ 21 h 25"/>
                                                                                                      <a:gd name="T32" fmla="*/ 2 w 52"/>
                                                                                                      <a:gd name="T33" fmla="*/ 21 h 25"/>
                                                                                                      <a:gd name="T34" fmla="*/ 4 w 52"/>
                                                                                                      <a:gd name="T35" fmla="*/ 25 h 25"/>
                                                                                                      <a:gd name="T36" fmla="*/ 7 w 52"/>
                                                                                                      <a:gd name="T37" fmla="*/ 25 h 25"/>
                                                                                                      <a:gd name="T38" fmla="*/ 9 w 52"/>
                                                                                                      <a:gd name="T39" fmla="*/ 25 h 25"/>
                                                                                                      <a:gd name="T40" fmla="*/ 14 w 52"/>
                                                                                                      <a:gd name="T41" fmla="*/ 23 h 25"/>
                                                                                                      <a:gd name="T42" fmla="*/ 16 w 52"/>
                                                                                                      <a:gd name="T43" fmla="*/ 21 h 25"/>
                                                                                                      <a:gd name="T44" fmla="*/ 18 w 52"/>
                                                                                                      <a:gd name="T45" fmla="*/ 18 h 25"/>
                                                                                                      <a:gd name="T46" fmla="*/ 21 w 52"/>
                                                                                                      <a:gd name="T47" fmla="*/ 18 h 25"/>
                                                                                                      <a:gd name="T48" fmla="*/ 23 w 52"/>
                                                                                                      <a:gd name="T49" fmla="*/ 18 h 25"/>
                                                                                                      <a:gd name="T50" fmla="*/ 26 w 52"/>
                                                                                                      <a:gd name="T51" fmla="*/ 18 h 25"/>
                                                                                                      <a:gd name="T52" fmla="*/ 28 w 52"/>
                                                                                                      <a:gd name="T53" fmla="*/ 16 h 25"/>
                                                                                                      <a:gd name="T54" fmla="*/ 33 w 52"/>
                                                                                                      <a:gd name="T55" fmla="*/ 14 h 25"/>
                                                                                                      <a:gd name="T56" fmla="*/ 40 w 52"/>
                                                                                                      <a:gd name="T57" fmla="*/ 14 h 25"/>
                                                                                                      <a:gd name="T58" fmla="*/ 44 w 52"/>
                                                                                                      <a:gd name="T59" fmla="*/ 9 h 25"/>
                                                                                                      <a:gd name="T60" fmla="*/ 49 w 52"/>
                                                                                                      <a:gd name="T61" fmla="*/ 4 h 25"/>
                                                                                                      <a:gd name="T62" fmla="*/ 52 w 52"/>
                                                                                                      <a:gd name="T63" fmla="*/ 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 h="25">
                                                                                                        <a:moveTo>
                                                                                                          <a:pt x="52" y="2"/>
                                                                                                        </a:moveTo>
                                                                                                        <a:lnTo>
                                                                                                          <a:pt x="49" y="2"/>
                                                                                                        </a:lnTo>
                                                                                                        <a:lnTo>
                                                                                                          <a:pt x="47" y="2"/>
                                                                                                        </a:lnTo>
                                                                                                        <a:lnTo>
                                                                                                          <a:pt x="44" y="0"/>
                                                                                                        </a:lnTo>
                                                                                                        <a:lnTo>
                                                                                                          <a:pt x="35" y="2"/>
                                                                                                        </a:lnTo>
                                                                                                        <a:lnTo>
                                                                                                          <a:pt x="33" y="2"/>
                                                                                                        </a:lnTo>
                                                                                                        <a:lnTo>
                                                                                                          <a:pt x="28" y="4"/>
                                                                                                        </a:lnTo>
                                                                                                        <a:lnTo>
                                                                                                          <a:pt x="23" y="4"/>
                                                                                                        </a:lnTo>
                                                                                                        <a:lnTo>
                                                                                                          <a:pt x="14" y="4"/>
                                                                                                        </a:lnTo>
                                                                                                        <a:lnTo>
                                                                                                          <a:pt x="9" y="7"/>
                                                                                                        </a:lnTo>
                                                                                                        <a:lnTo>
                                                                                                          <a:pt x="4" y="11"/>
                                                                                                        </a:lnTo>
                                                                                                        <a:lnTo>
                                                                                                          <a:pt x="0" y="14"/>
                                                                                                        </a:lnTo>
                                                                                                        <a:lnTo>
                                                                                                          <a:pt x="0" y="18"/>
                                                                                                        </a:lnTo>
                                                                                                        <a:lnTo>
                                                                                                          <a:pt x="2" y="18"/>
                                                                                                        </a:lnTo>
                                                                                                        <a:lnTo>
                                                                                                          <a:pt x="7" y="14"/>
                                                                                                        </a:lnTo>
                                                                                                        <a:lnTo>
                                                                                                          <a:pt x="9" y="21"/>
                                                                                                        </a:lnTo>
                                                                                                        <a:lnTo>
                                                                                                          <a:pt x="2" y="21"/>
                                                                                                        </a:lnTo>
                                                                                                        <a:lnTo>
                                                                                                          <a:pt x="4" y="25"/>
                                                                                                        </a:lnTo>
                                                                                                        <a:lnTo>
                                                                                                          <a:pt x="7" y="25"/>
                                                                                                        </a:lnTo>
                                                                                                        <a:lnTo>
                                                                                                          <a:pt x="9" y="25"/>
                                                                                                        </a:lnTo>
                                                                                                        <a:lnTo>
                                                                                                          <a:pt x="14" y="23"/>
                                                                                                        </a:lnTo>
                                                                                                        <a:lnTo>
                                                                                                          <a:pt x="16" y="21"/>
                                                                                                        </a:lnTo>
                                                                                                        <a:lnTo>
                                                                                                          <a:pt x="18" y="18"/>
                                                                                                        </a:lnTo>
                                                                                                        <a:lnTo>
                                                                                                          <a:pt x="21" y="18"/>
                                                                                                        </a:lnTo>
                                                                                                        <a:lnTo>
                                                                                                          <a:pt x="23" y="18"/>
                                                                                                        </a:lnTo>
                                                                                                        <a:lnTo>
                                                                                                          <a:pt x="26" y="18"/>
                                                                                                        </a:lnTo>
                                                                                                        <a:lnTo>
                                                                                                          <a:pt x="28" y="16"/>
                                                                                                        </a:lnTo>
                                                                                                        <a:lnTo>
                                                                                                          <a:pt x="33" y="14"/>
                                                                                                        </a:lnTo>
                                                                                                        <a:lnTo>
                                                                                                          <a:pt x="40" y="14"/>
                                                                                                        </a:lnTo>
                                                                                                        <a:lnTo>
                                                                                                          <a:pt x="44" y="9"/>
                                                                                                        </a:lnTo>
                                                                                                        <a:lnTo>
                                                                                                          <a:pt x="49" y="4"/>
                                                                                                        </a:lnTo>
                                                                                                        <a:lnTo>
                                                                                                          <a:pt x="52" y="2"/>
                                                                                                        </a:lnTo>
                                                                                                        <a:close/>
                                                                                                      </a:path>
                                                                                                    </a:pathLst>
                                                                                                  </a:custGeom>
                                                                                                  <a:grpFill/>
                                                                                                  <a:ln w="6350">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US" baseline="-25000" dirty="0"/>
                                                                                                  </a:p>
                                                                                                </p:txBody>
                                                                                              </p:sp>
                                                                                              <p:sp>
                                                                                                <p:nvSpPr>
                                                                                                  <p:cNvPr id="760" name="Serbia"/>
                                                                                                  <p:cNvSpPr>
                                                                                                    <a:spLocks/>
                                                                                                  </p:cNvSpPr>
                                                                                                  <p:nvPr/>
                                                                                                </p:nvSpPr>
                                                                                                <p:spPr bwMode="auto">
                                                                                                  <a:xfrm>
                                                                                                    <a:off x="6347932" y="2005908"/>
                                                                                                    <a:ext cx="91129" cy="118917"/>
                                                                                                  </a:xfrm>
                                                                                                  <a:custGeom>
                                                                                                    <a:avLst/>
                                                                                                    <a:gdLst>
                                                                                                      <a:gd name="T0" fmla="*/ 640 w 661"/>
                                                                                                      <a:gd name="T1" fmla="*/ 696 h 862"/>
                                                                                                      <a:gd name="T2" fmla="*/ 568 w 661"/>
                                                                                                      <a:gd name="T3" fmla="*/ 611 h 862"/>
                                                                                                      <a:gd name="T4" fmla="*/ 602 w 661"/>
                                                                                                      <a:gd name="T5" fmla="*/ 475 h 862"/>
                                                                                                      <a:gd name="T6" fmla="*/ 619 w 661"/>
                                                                                                      <a:gd name="T7" fmla="*/ 445 h 862"/>
                                                                                                      <a:gd name="T8" fmla="*/ 598 w 661"/>
                                                                                                      <a:gd name="T9" fmla="*/ 403 h 862"/>
                                                                                                      <a:gd name="T10" fmla="*/ 598 w 661"/>
                                                                                                      <a:gd name="T11" fmla="*/ 361 h 862"/>
                                                                                                      <a:gd name="T12" fmla="*/ 576 w 661"/>
                                                                                                      <a:gd name="T13" fmla="*/ 341 h 862"/>
                                                                                                      <a:gd name="T14" fmla="*/ 534 w 661"/>
                                                                                                      <a:gd name="T15" fmla="*/ 361 h 862"/>
                                                                                                      <a:gd name="T16" fmla="*/ 471 w 661"/>
                                                                                                      <a:gd name="T17" fmla="*/ 320 h 862"/>
                                                                                                      <a:gd name="T18" fmla="*/ 429 w 661"/>
                                                                                                      <a:gd name="T19" fmla="*/ 299 h 862"/>
                                                                                                      <a:gd name="T20" fmla="*/ 387 w 661"/>
                                                                                                      <a:gd name="T21" fmla="*/ 299 h 862"/>
                                                                                                      <a:gd name="T22" fmla="*/ 366 w 661"/>
                                                                                                      <a:gd name="T23" fmla="*/ 236 h 862"/>
                                                                                                      <a:gd name="T24" fmla="*/ 324 w 661"/>
                                                                                                      <a:gd name="T25" fmla="*/ 173 h 862"/>
                                                                                                      <a:gd name="T26" fmla="*/ 282 w 661"/>
                                                                                                      <a:gd name="T27" fmla="*/ 132 h 862"/>
                                                                                                      <a:gd name="T28" fmla="*/ 240 w 661"/>
                                                                                                      <a:gd name="T29" fmla="*/ 111 h 862"/>
                                                                                                      <a:gd name="T30" fmla="*/ 219 w 661"/>
                                                                                                      <a:gd name="T31" fmla="*/ 69 h 862"/>
                                                                                                      <a:gd name="T32" fmla="*/ 176 w 661"/>
                                                                                                      <a:gd name="T33" fmla="*/ 27 h 862"/>
                                                                                                      <a:gd name="T34" fmla="*/ 163 w 661"/>
                                                                                                      <a:gd name="T35" fmla="*/ 0 h 862"/>
                                                                                                      <a:gd name="T36" fmla="*/ 93 w 661"/>
                                                                                                      <a:gd name="T37" fmla="*/ 8 h 862"/>
                                                                                                      <a:gd name="T38" fmla="*/ 37 w 661"/>
                                                                                                      <a:gd name="T39" fmla="*/ 35 h 862"/>
                                                                                                      <a:gd name="T40" fmla="*/ 0 w 661"/>
                                                                                                      <a:gd name="T41" fmla="*/ 72 h 862"/>
                                                                                                      <a:gd name="T42" fmla="*/ 0 w 661"/>
                                                                                                      <a:gd name="T43" fmla="*/ 147 h 862"/>
                                                                                                      <a:gd name="T44" fmla="*/ 37 w 661"/>
                                                                                                      <a:gd name="T45" fmla="*/ 238 h 862"/>
                                                                                                      <a:gd name="T46" fmla="*/ 73 w 661"/>
                                                                                                      <a:gd name="T47" fmla="*/ 302 h 862"/>
                                                                                                      <a:gd name="T48" fmla="*/ 53 w 661"/>
                                                                                                      <a:gd name="T49" fmla="*/ 427 h 862"/>
                                                                                                      <a:gd name="T50" fmla="*/ 120 w 661"/>
                                                                                                      <a:gd name="T51" fmla="*/ 478 h 862"/>
                                                                                                      <a:gd name="T52" fmla="*/ 73 w 661"/>
                                                                                                      <a:gd name="T53" fmla="*/ 497 h 862"/>
                                                                                                      <a:gd name="T54" fmla="*/ 90 w 661"/>
                                                                                                      <a:gd name="T55" fmla="*/ 592 h 862"/>
                                                                                                      <a:gd name="T56" fmla="*/ 64 w 661"/>
                                                                                                      <a:gd name="T57" fmla="*/ 592 h 862"/>
                                                                                                      <a:gd name="T58" fmla="*/ 162 w 661"/>
                                                                                                      <a:gd name="T59" fmla="*/ 680 h 862"/>
                                                                                                      <a:gd name="T60" fmla="*/ 229 w 661"/>
                                                                                                      <a:gd name="T61" fmla="*/ 757 h 862"/>
                                                                                                      <a:gd name="T62" fmla="*/ 293 w 661"/>
                                                                                                      <a:gd name="T63" fmla="*/ 654 h 862"/>
                                                                                                      <a:gd name="T64" fmla="*/ 410 w 661"/>
                                                                                                      <a:gd name="T65" fmla="*/ 757 h 862"/>
                                                                                                      <a:gd name="T66" fmla="*/ 424 w 661"/>
                                                                                                      <a:gd name="T67" fmla="*/ 862 h 862"/>
                                                                                                      <a:gd name="T68" fmla="*/ 562 w 661"/>
                                                                                                      <a:gd name="T69" fmla="*/ 862 h 862"/>
                                                                                                      <a:gd name="T70" fmla="*/ 568 w 661"/>
                                                                                                      <a:gd name="T71" fmla="*/ 757 h 862"/>
                                                                                                      <a:gd name="T72" fmla="*/ 644 w 661"/>
                                                                                                      <a:gd name="T73" fmla="*/ 700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61" h="862">
                                                                                                        <a:moveTo>
                                                                                                          <a:pt x="644" y="700"/>
                                                                                                        </a:moveTo>
                                                                                                        <a:cubicBezTo>
                                                                                                          <a:pt x="640" y="696"/>
                                                                                                          <a:pt x="640" y="696"/>
                                                                                                          <a:pt x="640" y="696"/>
                                                                                                        </a:cubicBezTo>
                                                                                                        <a:cubicBezTo>
                                                                                                          <a:pt x="661" y="675"/>
                                                                                                          <a:pt x="661" y="675"/>
                                                                                                          <a:pt x="661" y="675"/>
                                                                                                        </a:cubicBezTo>
                                                                                                        <a:cubicBezTo>
                                                                                                          <a:pt x="568" y="611"/>
                                                                                                          <a:pt x="568" y="611"/>
                                                                                                          <a:pt x="568" y="611"/>
                                                                                                        </a:cubicBezTo>
                                                                                                        <a:cubicBezTo>
                                                                                                          <a:pt x="557" y="497"/>
                                                                                                          <a:pt x="557" y="497"/>
                                                                                                          <a:pt x="557" y="497"/>
                                                                                                        </a:cubicBezTo>
                                                                                                        <a:cubicBezTo>
                                                                                                          <a:pt x="602" y="475"/>
                                                                                                          <a:pt x="602" y="475"/>
                                                                                                          <a:pt x="602" y="475"/>
                                                                                                        </a:cubicBezTo>
                                                                                                        <a:cubicBezTo>
                                                                                                          <a:pt x="598" y="466"/>
                                                                                                          <a:pt x="598" y="466"/>
                                                                                                          <a:pt x="598" y="466"/>
                                                                                                        </a:cubicBezTo>
                                                                                                        <a:cubicBezTo>
                                                                                                          <a:pt x="619" y="445"/>
                                                                                                          <a:pt x="619" y="445"/>
                                                                                                          <a:pt x="619" y="445"/>
                                                                                                        </a:cubicBezTo>
                                                                                                        <a:cubicBezTo>
                                                                                                          <a:pt x="640" y="424"/>
                                                                                                          <a:pt x="640" y="424"/>
                                                                                                          <a:pt x="640" y="424"/>
                                                                                                        </a:cubicBezTo>
                                                                                                        <a:cubicBezTo>
                                                                                                          <a:pt x="598" y="403"/>
                                                                                                          <a:pt x="598" y="403"/>
                                                                                                          <a:pt x="598" y="403"/>
                                                                                                        </a:cubicBezTo>
                                                                                                        <a:cubicBezTo>
                                                                                                          <a:pt x="555" y="382"/>
                                                                                                          <a:pt x="555" y="382"/>
                                                                                                          <a:pt x="555" y="382"/>
                                                                                                        </a:cubicBezTo>
                                                                                                        <a:cubicBezTo>
                                                                                                          <a:pt x="598" y="361"/>
                                                                                                          <a:pt x="598" y="361"/>
                                                                                                          <a:pt x="598" y="361"/>
                                                                                                        </a:cubicBezTo>
                                                                                                        <a:cubicBezTo>
                                                                                                          <a:pt x="598" y="341"/>
                                                                                                          <a:pt x="598" y="341"/>
                                                                                                          <a:pt x="598" y="341"/>
                                                                                                        </a:cubicBezTo>
                                                                                                        <a:cubicBezTo>
                                                                                                          <a:pt x="576" y="341"/>
                                                                                                          <a:pt x="576" y="341"/>
                                                                                                          <a:pt x="576" y="341"/>
                                                                                                        </a:cubicBezTo>
                                                                                                        <a:cubicBezTo>
                                                                                                          <a:pt x="555" y="341"/>
                                                                                                          <a:pt x="555" y="341"/>
                                                                                                          <a:pt x="555" y="341"/>
                                                                                                        </a:cubicBezTo>
                                                                                                        <a:cubicBezTo>
                                                                                                          <a:pt x="534" y="361"/>
                                                                                                          <a:pt x="534" y="361"/>
                                                                                                          <a:pt x="534" y="361"/>
                                                                                                        </a:cubicBezTo>
                                                                                                        <a:cubicBezTo>
                                                                                                          <a:pt x="513" y="361"/>
                                                                                                          <a:pt x="513" y="361"/>
                                                                                                          <a:pt x="513" y="361"/>
                                                                                                        </a:cubicBezTo>
                                                                                                        <a:cubicBezTo>
                                                                                                          <a:pt x="471" y="320"/>
                                                                                                          <a:pt x="471" y="320"/>
                                                                                                          <a:pt x="471" y="320"/>
                                                                                                        </a:cubicBezTo>
                                                                                                        <a:cubicBezTo>
                                                                                                          <a:pt x="450" y="299"/>
                                                                                                          <a:pt x="450" y="299"/>
                                                                                                          <a:pt x="450" y="299"/>
                                                                                                        </a:cubicBezTo>
                                                                                                        <a:cubicBezTo>
                                                                                                          <a:pt x="429" y="299"/>
                                                                                                          <a:pt x="429" y="299"/>
                                                                                                          <a:pt x="429" y="299"/>
                                                                                                        </a:cubicBezTo>
                                                                                                        <a:cubicBezTo>
                                                                                                          <a:pt x="408" y="299"/>
                                                                                                          <a:pt x="408" y="299"/>
                                                                                                          <a:pt x="408" y="299"/>
                                                                                                        </a:cubicBezTo>
                                                                                                        <a:cubicBezTo>
                                                                                                          <a:pt x="387" y="299"/>
                                                                                                          <a:pt x="387" y="299"/>
                                                                                                          <a:pt x="387" y="299"/>
                                                                                                        </a:cubicBezTo>
                                                                                                        <a:cubicBezTo>
                                                                                                          <a:pt x="345" y="257"/>
                                                                                                          <a:pt x="345" y="257"/>
                                                                                                          <a:pt x="345" y="257"/>
                                                                                                        </a:cubicBezTo>
                                                                                                        <a:cubicBezTo>
                                                                                                          <a:pt x="366" y="236"/>
                                                                                                          <a:pt x="366" y="236"/>
                                                                                                          <a:pt x="366" y="236"/>
                                                                                                        </a:cubicBezTo>
                                                                                                        <a:cubicBezTo>
                                                                                                          <a:pt x="366" y="215"/>
                                                                                                          <a:pt x="366" y="215"/>
                                                                                                          <a:pt x="366" y="215"/>
                                                                                                        </a:cubicBezTo>
                                                                                                        <a:cubicBezTo>
                                                                                                          <a:pt x="324" y="173"/>
                                                                                                          <a:pt x="324" y="173"/>
                                                                                                          <a:pt x="324" y="173"/>
                                                                                                        </a:cubicBezTo>
                                                                                                        <a:cubicBezTo>
                                                                                                          <a:pt x="303" y="153"/>
                                                                                                          <a:pt x="303" y="153"/>
                                                                                                          <a:pt x="303" y="153"/>
                                                                                                        </a:cubicBezTo>
                                                                                                        <a:cubicBezTo>
                                                                                                          <a:pt x="282" y="132"/>
                                                                                                          <a:pt x="282" y="132"/>
                                                                                                          <a:pt x="282" y="132"/>
                                                                                                        </a:cubicBezTo>
                                                                                                        <a:cubicBezTo>
                                                                                                          <a:pt x="261" y="111"/>
                                                                                                          <a:pt x="261" y="111"/>
                                                                                                          <a:pt x="261" y="111"/>
                                                                                                        </a:cubicBezTo>
                                                                                                        <a:cubicBezTo>
                                                                                                          <a:pt x="240" y="111"/>
                                                                                                          <a:pt x="240" y="111"/>
                                                                                                          <a:pt x="240" y="111"/>
                                                                                                        </a:cubicBezTo>
                                                                                                        <a:cubicBezTo>
                                                                                                          <a:pt x="219" y="90"/>
                                                                                                          <a:pt x="219" y="90"/>
                                                                                                          <a:pt x="219" y="90"/>
                                                                                                        </a:cubicBezTo>
                                                                                                        <a:cubicBezTo>
                                                                                                          <a:pt x="219" y="69"/>
                                                                                                          <a:pt x="219" y="69"/>
                                                                                                          <a:pt x="219" y="69"/>
                                                                                                        </a:cubicBezTo>
                                                                                                        <a:cubicBezTo>
                                                                                                          <a:pt x="198" y="48"/>
                                                                                                          <a:pt x="198" y="48"/>
                                                                                                          <a:pt x="198" y="48"/>
                                                                                                        </a:cubicBezTo>
                                                                                                        <a:cubicBezTo>
                                                                                                          <a:pt x="176" y="27"/>
                                                                                                          <a:pt x="176" y="27"/>
                                                                                                          <a:pt x="176" y="27"/>
                                                                                                        </a:cubicBezTo>
                                                                                                        <a:cubicBezTo>
                                                                                                          <a:pt x="167" y="9"/>
                                                                                                          <a:pt x="167" y="9"/>
                                                                                                          <a:pt x="167" y="9"/>
                                                                                                        </a:cubicBezTo>
                                                                                                        <a:cubicBezTo>
                                                                                                          <a:pt x="163" y="0"/>
                                                                                                          <a:pt x="163" y="0"/>
                                                                                                          <a:pt x="163" y="0"/>
                                                                                                        </a:cubicBezTo>
                                                                                                        <a:cubicBezTo>
                                                                                                          <a:pt x="146" y="8"/>
                                                                                                          <a:pt x="146" y="8"/>
                                                                                                          <a:pt x="146" y="8"/>
                                                                                                        </a:cubicBezTo>
                                                                                                        <a:cubicBezTo>
                                                                                                          <a:pt x="93" y="8"/>
                                                                                                          <a:pt x="93" y="8"/>
                                                                                                          <a:pt x="93" y="8"/>
                                                                                                        </a:cubicBezTo>
                                                                                                        <a:cubicBezTo>
                                                                                                          <a:pt x="72" y="35"/>
                                                                                                          <a:pt x="72" y="35"/>
                                                                                                          <a:pt x="72" y="35"/>
                                                                                                        </a:cubicBezTo>
                                                                                                        <a:cubicBezTo>
                                                                                                          <a:pt x="37" y="35"/>
                                                                                                          <a:pt x="37" y="35"/>
                                                                                                          <a:pt x="37" y="35"/>
                                                                                                        </a:cubicBezTo>
                                                                                                        <a:cubicBezTo>
                                                                                                          <a:pt x="37" y="35"/>
                                                                                                          <a:pt x="32" y="59"/>
                                                                                                          <a:pt x="18" y="59"/>
                                                                                                        </a:cubicBezTo>
                                                                                                        <a:cubicBezTo>
                                                                                                          <a:pt x="5" y="59"/>
                                                                                                          <a:pt x="0" y="72"/>
                                                                                                          <a:pt x="0" y="72"/>
                                                                                                        </a:cubicBezTo>
                                                                                                        <a:cubicBezTo>
                                                                                                          <a:pt x="26" y="131"/>
                                                                                                          <a:pt x="26" y="131"/>
                                                                                                          <a:pt x="26" y="131"/>
                                                                                                        </a:cubicBezTo>
                                                                                                        <a:cubicBezTo>
                                                                                                          <a:pt x="0" y="147"/>
                                                                                                          <a:pt x="0" y="147"/>
                                                                                                          <a:pt x="0" y="147"/>
                                                                                                        </a:cubicBezTo>
                                                                                                        <a:cubicBezTo>
                                                                                                          <a:pt x="85" y="216"/>
                                                                                                          <a:pt x="85" y="216"/>
                                                                                                          <a:pt x="85" y="216"/>
                                                                                                        </a:cubicBezTo>
                                                                                                        <a:cubicBezTo>
                                                                                                          <a:pt x="37" y="238"/>
                                                                                                          <a:pt x="37" y="238"/>
                                                                                                          <a:pt x="37" y="238"/>
                                                                                                        </a:cubicBezTo>
                                                                                                        <a:cubicBezTo>
                                                                                                          <a:pt x="40" y="283"/>
                                                                                                          <a:pt x="40" y="283"/>
                                                                                                          <a:pt x="40" y="283"/>
                                                                                                        </a:cubicBezTo>
                                                                                                        <a:cubicBezTo>
                                                                                                          <a:pt x="73" y="302"/>
                                                                                                          <a:pt x="73" y="302"/>
                                                                                                          <a:pt x="73" y="302"/>
                                                                                                        </a:cubicBezTo>
                                                                                                        <a:cubicBezTo>
                                                                                                          <a:pt x="40" y="382"/>
                                                                                                          <a:pt x="40" y="382"/>
                                                                                                          <a:pt x="40" y="382"/>
                                                                                                        </a:cubicBezTo>
                                                                                                        <a:cubicBezTo>
                                                                                                          <a:pt x="53" y="427"/>
                                                                                                          <a:pt x="53" y="427"/>
                                                                                                          <a:pt x="53" y="427"/>
                                                                                                        </a:cubicBezTo>
                                                                                                        <a:cubicBezTo>
                                                                                                          <a:pt x="73" y="427"/>
                                                                                                          <a:pt x="73" y="427"/>
                                                                                                          <a:pt x="73" y="427"/>
                                                                                                        </a:cubicBezTo>
                                                                                                        <a:cubicBezTo>
                                                                                                          <a:pt x="120" y="478"/>
                                                                                                          <a:pt x="120" y="478"/>
                                                                                                          <a:pt x="120" y="478"/>
                                                                                                        </a:cubicBezTo>
                                                                                                        <a:cubicBezTo>
                                                                                                          <a:pt x="98" y="497"/>
                                                                                                          <a:pt x="98" y="497"/>
                                                                                                          <a:pt x="98" y="497"/>
                                                                                                        </a:cubicBezTo>
                                                                                                        <a:cubicBezTo>
                                                                                                          <a:pt x="73" y="497"/>
                                                                                                          <a:pt x="73" y="497"/>
                                                                                                          <a:pt x="73" y="497"/>
                                                                                                        </a:cubicBezTo>
                                                                                                        <a:cubicBezTo>
                                                                                                          <a:pt x="114" y="566"/>
                                                                                                          <a:pt x="114" y="566"/>
                                                                                                          <a:pt x="114" y="566"/>
                                                                                                        </a:cubicBezTo>
                                                                                                        <a:cubicBezTo>
                                                                                                          <a:pt x="90" y="592"/>
                                                                                                          <a:pt x="90" y="592"/>
                                                                                                          <a:pt x="90" y="592"/>
                                                                                                        </a:cubicBezTo>
                                                                                                        <a:cubicBezTo>
                                                                                                          <a:pt x="73" y="592"/>
                                                                                                          <a:pt x="73" y="592"/>
                                                                                                          <a:pt x="73" y="592"/>
                                                                                                        </a:cubicBezTo>
                                                                                                        <a:cubicBezTo>
                                                                                                          <a:pt x="64" y="592"/>
                                                                                                          <a:pt x="64" y="592"/>
                                                                                                          <a:pt x="64" y="592"/>
                                                                                                        </a:cubicBezTo>
                                                                                                        <a:cubicBezTo>
                                                                                                          <a:pt x="112" y="654"/>
                                                                                                          <a:pt x="112" y="654"/>
                                                                                                          <a:pt x="112" y="654"/>
                                                                                                        </a:cubicBezTo>
                                                                                                        <a:cubicBezTo>
                                                                                                          <a:pt x="162" y="680"/>
                                                                                                          <a:pt x="162" y="680"/>
                                                                                                          <a:pt x="162" y="680"/>
                                                                                                        </a:cubicBezTo>
                                                                                                        <a:cubicBezTo>
                                                                                                          <a:pt x="229" y="728"/>
                                                                                                          <a:pt x="229" y="728"/>
                                                                                                          <a:pt x="229" y="728"/>
                                                                                                        </a:cubicBezTo>
                                                                                                        <a:cubicBezTo>
                                                                                                          <a:pt x="229" y="757"/>
                                                                                                          <a:pt x="229" y="757"/>
                                                                                                          <a:pt x="229" y="757"/>
                                                                                                        </a:cubicBezTo>
                                                                                                        <a:cubicBezTo>
                                                                                                          <a:pt x="272" y="715"/>
                                                                                                          <a:pt x="272" y="715"/>
                                                                                                          <a:pt x="272" y="715"/>
                                                                                                        </a:cubicBezTo>
                                                                                                        <a:cubicBezTo>
                                                                                                          <a:pt x="293" y="654"/>
                                                                                                          <a:pt x="293" y="654"/>
                                                                                                          <a:pt x="293" y="654"/>
                                                                                                        </a:cubicBezTo>
                                                                                                        <a:cubicBezTo>
                                                                                                          <a:pt x="333" y="691"/>
                                                                                                          <a:pt x="333" y="691"/>
                                                                                                          <a:pt x="333" y="691"/>
                                                                                                        </a:cubicBezTo>
                                                                                                        <a:cubicBezTo>
                                                                                                          <a:pt x="410" y="757"/>
                                                                                                          <a:pt x="410" y="757"/>
                                                                                                          <a:pt x="410" y="757"/>
                                                                                                        </a:cubicBezTo>
                                                                                                        <a:cubicBezTo>
                                                                                                          <a:pt x="456" y="795"/>
                                                                                                          <a:pt x="456" y="795"/>
                                                                                                          <a:pt x="456" y="795"/>
                                                                                                        </a:cubicBezTo>
                                                                                                        <a:cubicBezTo>
                                                                                                          <a:pt x="424" y="862"/>
                                                                                                          <a:pt x="424" y="862"/>
                                                                                                          <a:pt x="424" y="862"/>
                                                                                                        </a:cubicBezTo>
                                                                                                        <a:cubicBezTo>
                                                                                                          <a:pt x="546" y="846"/>
                                                                                                          <a:pt x="546" y="846"/>
                                                                                                          <a:pt x="546" y="846"/>
                                                                                                        </a:cubicBezTo>
                                                                                                        <a:cubicBezTo>
                                                                                                          <a:pt x="562" y="862"/>
                                                                                                          <a:pt x="562" y="862"/>
                                                                                                          <a:pt x="562" y="862"/>
                                                                                                        </a:cubicBezTo>
                                                                                                        <a:cubicBezTo>
                                                                                                          <a:pt x="586" y="827"/>
                                                                                                          <a:pt x="586" y="827"/>
                                                                                                          <a:pt x="586" y="827"/>
                                                                                                        </a:cubicBezTo>
                                                                                                        <a:cubicBezTo>
                                                                                                          <a:pt x="568" y="757"/>
                                                                                                          <a:pt x="568" y="757"/>
                                                                                                          <a:pt x="568" y="757"/>
                                                                                                        </a:cubicBezTo>
                                                                                                        <a:cubicBezTo>
                                                                                                          <a:pt x="618" y="739"/>
                                                                                                          <a:pt x="618" y="739"/>
                                                                                                          <a:pt x="618" y="739"/>
                                                                                                        </a:cubicBezTo>
                                                                                                        <a:lnTo>
                                                                                                          <a:pt x="644" y="700"/>
                                                                                                        </a:lnTo>
                                                                                                        <a:close/>
                                                                                                      </a:path>
                                                                                                    </a:pathLst>
                                                                                                  </a:custGeom>
                                                                                                  <a:grpFill/>
                                                                                                  <a:ln w="63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aseline="-25000" dirty="0">
                                                                                                      <a:solidFill>
                                                                                                        <a:schemeClr val="bg1">
                                                                                                          <a:alpha val="99000"/>
                                                                                                        </a:schemeClr>
                                                                                                      </a:solidFill>
                                                                                                    </a:endParaRPr>
                                                                                                  </a:p>
                                                                                                </p:txBody>
                                                                                              </p:sp>
                                                                                            </p:grpSp>
                                                                                            <p:sp>
                                                                                              <p:nvSpPr>
                                                                                                <p:cNvPr id="402" name="Argentina"/>
                                                                                                <p:cNvSpPr>
                                                                                                  <a:spLocks/>
                                                                                                </p:cNvSpPr>
                                                                                                <p:nvPr/>
                                                                                              </p:nvSpPr>
                                                                                              <p:spPr bwMode="auto">
                                                                                                <a:xfrm>
                                                                                                  <a:off x="3660386" y="4537317"/>
                                                                                                  <a:ext cx="476910" cy="1007565"/>
                                                                                                </a:xfrm>
                                                                                                <a:custGeom>
                                                                                                  <a:avLst/>
                                                                                                  <a:gdLst/>
                                                                                                  <a:ahLst/>
                                                                                                  <a:cxnLst>
                                                                                                    <a:cxn ang="0">
                                                                                                      <a:pos x="174" y="652"/>
                                                                                                    </a:cxn>
                                                                                                    <a:cxn ang="0">
                                                                                                      <a:pos x="164" y="640"/>
                                                                                                    </a:cxn>
                                                                                                    <a:cxn ang="0">
                                                                                                      <a:pos x="178" y="622"/>
                                                                                                    </a:cxn>
                                                                                                    <a:cxn ang="0">
                                                                                                      <a:pos x="190" y="600"/>
                                                                                                    </a:cxn>
                                                                                                    <a:cxn ang="0">
                                                                                                      <a:pos x="200" y="570"/>
                                                                                                    </a:cxn>
                                                                                                    <a:cxn ang="0">
                                                                                                      <a:pos x="162" y="548"/>
                                                                                                    </a:cxn>
                                                                                                    <a:cxn ang="0">
                                                                                                      <a:pos x="190" y="520"/>
                                                                                                    </a:cxn>
                                                                                                    <a:cxn ang="0">
                                                                                                      <a:pos x="192" y="500"/>
                                                                                                    </a:cxn>
                                                                                                    <a:cxn ang="0">
                                                                                                      <a:pos x="200" y="478"/>
                                                                                                    </a:cxn>
                                                                                                    <a:cxn ang="0">
                                                                                                      <a:pos x="202" y="472"/>
                                                                                                    </a:cxn>
                                                                                                    <a:cxn ang="0">
                                                                                                      <a:pos x="202" y="460"/>
                                                                                                    </a:cxn>
                                                                                                    <a:cxn ang="0">
                                                                                                      <a:pos x="184" y="464"/>
                                                                                                    </a:cxn>
                                                                                                    <a:cxn ang="0">
                                                                                                      <a:pos x="170" y="436"/>
                                                                                                    </a:cxn>
                                                                                                    <a:cxn ang="0">
                                                                                                      <a:pos x="192" y="438"/>
                                                                                                    </a:cxn>
                                                                                                    <a:cxn ang="0">
                                                                                                      <a:pos x="218" y="414"/>
                                                                                                    </a:cxn>
                                                                                                    <a:cxn ang="0">
                                                                                                      <a:pos x="220" y="396"/>
                                                                                                    </a:cxn>
                                                                                                    <a:cxn ang="0">
                                                                                                      <a:pos x="226" y="388"/>
                                                                                                    </a:cxn>
                                                                                                    <a:cxn ang="0">
                                                                                                      <a:pos x="296" y="372"/>
                                                                                                    </a:cxn>
                                                                                                    <a:cxn ang="0">
                                                                                                      <a:pos x="310" y="330"/>
                                                                                                    </a:cxn>
                                                                                                    <a:cxn ang="0">
                                                                                                      <a:pos x="288" y="302"/>
                                                                                                    </a:cxn>
                                                                                                    <a:cxn ang="0">
                                                                                                      <a:pos x="254" y="276"/>
                                                                                                    </a:cxn>
                                                                                                    <a:cxn ang="0">
                                                                                                      <a:pos x="250" y="218"/>
                                                                                                    </a:cxn>
                                                                                                    <a:cxn ang="0">
                                                                                                      <a:pos x="260" y="180"/>
                                                                                                    </a:cxn>
                                                                                                    <a:cxn ang="0">
                                                                                                      <a:pos x="284" y="146"/>
                                                                                                    </a:cxn>
                                                                                                    <a:cxn ang="0">
                                                                                                      <a:pos x="296" y="130"/>
                                                                                                    </a:cxn>
                                                                                                    <a:cxn ang="0">
                                                                                                      <a:pos x="310" y="98"/>
                                                                                                    </a:cxn>
                                                                                                    <a:cxn ang="0">
                                                                                                      <a:pos x="292" y="104"/>
                                                                                                    </a:cxn>
                                                                                                    <a:cxn ang="0">
                                                                                                      <a:pos x="268" y="124"/>
                                                                                                    </a:cxn>
                                                                                                    <a:cxn ang="0">
                                                                                                      <a:pos x="240" y="126"/>
                                                                                                    </a:cxn>
                                                                                                    <a:cxn ang="0">
                                                                                                      <a:pos x="222" y="100"/>
                                                                                                    </a:cxn>
                                                                                                    <a:cxn ang="0">
                                                                                                      <a:pos x="210" y="72"/>
                                                                                                    </a:cxn>
                                                                                                    <a:cxn ang="0">
                                                                                                      <a:pos x="162" y="50"/>
                                                                                                    </a:cxn>
                                                                                                    <a:cxn ang="0">
                                                                                                      <a:pos x="124" y="10"/>
                                                                                                    </a:cxn>
                                                                                                    <a:cxn ang="0">
                                                                                                      <a:pos x="86" y="6"/>
                                                                                                    </a:cxn>
                                                                                                    <a:cxn ang="0">
                                                                                                      <a:pos x="80" y="16"/>
                                                                                                    </a:cxn>
                                                                                                    <a:cxn ang="0">
                                                                                                      <a:pos x="48" y="0"/>
                                                                                                    </a:cxn>
                                                                                                    <a:cxn ang="0">
                                                                                                      <a:pos x="30" y="20"/>
                                                                                                    </a:cxn>
                                                                                                    <a:cxn ang="0">
                                                                                                      <a:pos x="18" y="58"/>
                                                                                                    </a:cxn>
                                                                                                    <a:cxn ang="0">
                                                                                                      <a:pos x="6" y="88"/>
                                                                                                    </a:cxn>
                                                                                                    <a:cxn ang="0">
                                                                                                      <a:pos x="18" y="124"/>
                                                                                                    </a:cxn>
                                                                                                    <a:cxn ang="0">
                                                                                                      <a:pos x="6" y="156"/>
                                                                                                    </a:cxn>
                                                                                                    <a:cxn ang="0">
                                                                                                      <a:pos x="4" y="196"/>
                                                                                                    </a:cxn>
                                                                                                    <a:cxn ang="0">
                                                                                                      <a:pos x="10" y="236"/>
                                                                                                    </a:cxn>
                                                                                                    <a:cxn ang="0">
                                                                                                      <a:pos x="22" y="268"/>
                                                                                                    </a:cxn>
                                                                                                    <a:cxn ang="0">
                                                                                                      <a:pos x="30" y="288"/>
                                                                                                    </a:cxn>
                                                                                                    <a:cxn ang="0">
                                                                                                      <a:pos x="24" y="330"/>
                                                                                                    </a:cxn>
                                                                                                    <a:cxn ang="0">
                                                                                                      <a:pos x="38" y="380"/>
                                                                                                    </a:cxn>
                                                                                                    <a:cxn ang="0">
                                                                                                      <a:pos x="30" y="400"/>
                                                                                                    </a:cxn>
                                                                                                    <a:cxn ang="0">
                                                                                                      <a:pos x="40" y="440"/>
                                                                                                    </a:cxn>
                                                                                                    <a:cxn ang="0">
                                                                                                      <a:pos x="42" y="462"/>
                                                                                                    </a:cxn>
                                                                                                    <a:cxn ang="0">
                                                                                                      <a:pos x="54" y="478"/>
                                                                                                    </a:cxn>
                                                                                                    <a:cxn ang="0">
                                                                                                      <a:pos x="62" y="490"/>
                                                                                                    </a:cxn>
                                                                                                    <a:cxn ang="0">
                                                                                                      <a:pos x="70" y="514"/>
                                                                                                    </a:cxn>
                                                                                                    <a:cxn ang="0">
                                                                                                      <a:pos x="64" y="530"/>
                                                                                                    </a:cxn>
                                                                                                    <a:cxn ang="0">
                                                                                                      <a:pos x="78" y="570"/>
                                                                                                    </a:cxn>
                                                                                                    <a:cxn ang="0">
                                                                                                      <a:pos x="78" y="590"/>
                                                                                                    </a:cxn>
                                                                                                    <a:cxn ang="0">
                                                                                                      <a:pos x="82" y="620"/>
                                                                                                    </a:cxn>
                                                                                                    <a:cxn ang="0">
                                                                                                      <a:pos x="106" y="634"/>
                                                                                                    </a:cxn>
                                                                                                    <a:cxn ang="0">
                                                                                                      <a:pos x="120" y="654"/>
                                                                                                    </a:cxn>
                                                                                                  </a:cxnLst>
                                                                                                  <a:rect l="0" t="0" r="r" b="b"/>
                                                                                                  <a:pathLst>
                                                                                                    <a:path w="314" h="664">
                                                                                                      <a:moveTo>
                                                                                                        <a:pt x="184" y="664"/>
                                                                                                      </a:moveTo>
                                                                                                      <a:lnTo>
                                                                                                        <a:pt x="184" y="664"/>
                                                                                                      </a:lnTo>
                                                                                                      <a:lnTo>
                                                                                                        <a:pt x="182" y="662"/>
                                                                                                      </a:lnTo>
                                                                                                      <a:lnTo>
                                                                                                        <a:pt x="182" y="662"/>
                                                                                                      </a:lnTo>
                                                                                                      <a:lnTo>
                                                                                                        <a:pt x="182" y="660"/>
                                                                                                      </a:lnTo>
                                                                                                      <a:lnTo>
                                                                                                        <a:pt x="180" y="658"/>
                                                                                                      </a:lnTo>
                                                                                                      <a:lnTo>
                                                                                                        <a:pt x="180" y="658"/>
                                                                                                      </a:lnTo>
                                                                                                      <a:lnTo>
                                                                                                        <a:pt x="176" y="656"/>
                                                                                                      </a:lnTo>
                                                                                                      <a:lnTo>
                                                                                                        <a:pt x="176" y="654"/>
                                                                                                      </a:lnTo>
                                                                                                      <a:lnTo>
                                                                                                        <a:pt x="174" y="652"/>
                                                                                                      </a:lnTo>
                                                                                                      <a:lnTo>
                                                                                                        <a:pt x="170" y="650"/>
                                                                                                      </a:lnTo>
                                                                                                      <a:lnTo>
                                                                                                        <a:pt x="170" y="650"/>
                                                                                                      </a:lnTo>
                                                                                                      <a:lnTo>
                                                                                                        <a:pt x="168" y="648"/>
                                                                                                      </a:lnTo>
                                                                                                      <a:lnTo>
                                                                                                        <a:pt x="168" y="648"/>
                                                                                                      </a:lnTo>
                                                                                                      <a:lnTo>
                                                                                                        <a:pt x="170" y="648"/>
                                                                                                      </a:lnTo>
                                                                                                      <a:lnTo>
                                                                                                        <a:pt x="168" y="646"/>
                                                                                                      </a:lnTo>
                                                                                                      <a:lnTo>
                                                                                                        <a:pt x="168" y="646"/>
                                                                                                      </a:lnTo>
                                                                                                      <a:lnTo>
                                                                                                        <a:pt x="166" y="644"/>
                                                                                                      </a:lnTo>
                                                                                                      <a:lnTo>
                                                                                                        <a:pt x="166" y="642"/>
                                                                                                      </a:lnTo>
                                                                                                      <a:lnTo>
                                                                                                        <a:pt x="164" y="640"/>
                                                                                                      </a:lnTo>
                                                                                                      <a:lnTo>
                                                                                                        <a:pt x="162" y="640"/>
                                                                                                      </a:lnTo>
                                                                                                      <a:lnTo>
                                                                                                        <a:pt x="162" y="640"/>
                                                                                                      </a:lnTo>
                                                                                                      <a:lnTo>
                                                                                                        <a:pt x="162" y="638"/>
                                                                                                      </a:lnTo>
                                                                                                      <a:lnTo>
                                                                                                        <a:pt x="162" y="634"/>
                                                                                                      </a:lnTo>
                                                                                                      <a:lnTo>
                                                                                                        <a:pt x="162" y="632"/>
                                                                                                      </a:lnTo>
                                                                                                      <a:lnTo>
                                                                                                        <a:pt x="162" y="632"/>
                                                                                                      </a:lnTo>
                                                                                                      <a:lnTo>
                                                                                                        <a:pt x="166" y="626"/>
                                                                                                      </a:lnTo>
                                                                                                      <a:lnTo>
                                                                                                        <a:pt x="172" y="626"/>
                                                                                                      </a:lnTo>
                                                                                                      <a:lnTo>
                                                                                                        <a:pt x="176" y="626"/>
                                                                                                      </a:lnTo>
                                                                                                      <a:lnTo>
                                                                                                        <a:pt x="178" y="622"/>
                                                                                                      </a:lnTo>
                                                                                                      <a:lnTo>
                                                                                                        <a:pt x="178" y="622"/>
                                                                                                      </a:lnTo>
                                                                                                      <a:lnTo>
                                                                                                        <a:pt x="184" y="614"/>
                                                                                                      </a:lnTo>
                                                                                                      <a:lnTo>
                                                                                                        <a:pt x="186" y="612"/>
                                                                                                      </a:lnTo>
                                                                                                      <a:lnTo>
                                                                                                        <a:pt x="186" y="608"/>
                                                                                                      </a:lnTo>
                                                                                                      <a:lnTo>
                                                                                                        <a:pt x="186" y="608"/>
                                                                                                      </a:lnTo>
                                                                                                      <a:lnTo>
                                                                                                        <a:pt x="186" y="604"/>
                                                                                                      </a:lnTo>
                                                                                                      <a:lnTo>
                                                                                                        <a:pt x="188" y="602"/>
                                                                                                      </a:lnTo>
                                                                                                      <a:lnTo>
                                                                                                        <a:pt x="190" y="602"/>
                                                                                                      </a:lnTo>
                                                                                                      <a:lnTo>
                                                                                                        <a:pt x="190" y="600"/>
                                                                                                      </a:lnTo>
                                                                                                      <a:lnTo>
                                                                                                        <a:pt x="190" y="600"/>
                                                                                                      </a:lnTo>
                                                                                                      <a:lnTo>
                                                                                                        <a:pt x="190" y="598"/>
                                                                                                      </a:lnTo>
                                                                                                      <a:lnTo>
                                                                                                        <a:pt x="192" y="596"/>
                                                                                                      </a:lnTo>
                                                                                                      <a:lnTo>
                                                                                                        <a:pt x="196" y="594"/>
                                                                                                      </a:lnTo>
                                                                                                      <a:lnTo>
                                                                                                        <a:pt x="202" y="584"/>
                                                                                                      </a:lnTo>
                                                                                                      <a:lnTo>
                                                                                                        <a:pt x="202" y="584"/>
                                                                                                      </a:lnTo>
                                                                                                      <a:lnTo>
                                                                                                        <a:pt x="200" y="580"/>
                                                                                                      </a:lnTo>
                                                                                                      <a:lnTo>
                                                                                                        <a:pt x="202" y="578"/>
                                                                                                      </a:lnTo>
                                                                                                      <a:lnTo>
                                                                                                        <a:pt x="202" y="576"/>
                                                                                                      </a:lnTo>
                                                                                                      <a:lnTo>
                                                                                                        <a:pt x="200" y="570"/>
                                                                                                      </a:lnTo>
                                                                                                      <a:lnTo>
                                                                                                        <a:pt x="200" y="570"/>
                                                                                                      </a:lnTo>
                                                                                                      <a:lnTo>
                                                                                                        <a:pt x="196" y="566"/>
                                                                                                      </a:lnTo>
                                                                                                      <a:lnTo>
                                                                                                        <a:pt x="194" y="564"/>
                                                                                                      </a:lnTo>
                                                                                                      <a:lnTo>
                                                                                                        <a:pt x="188" y="564"/>
                                                                                                      </a:lnTo>
                                                                                                      <a:lnTo>
                                                                                                        <a:pt x="182" y="564"/>
                                                                                                      </a:lnTo>
                                                                                                      <a:lnTo>
                                                                                                        <a:pt x="180" y="562"/>
                                                                                                      </a:lnTo>
                                                                                                      <a:lnTo>
                                                                                                        <a:pt x="174" y="558"/>
                                                                                                      </a:lnTo>
                                                                                                      <a:lnTo>
                                                                                                        <a:pt x="174" y="558"/>
                                                                                                      </a:lnTo>
                                                                                                      <a:lnTo>
                                                                                                        <a:pt x="170" y="554"/>
                                                                                                      </a:lnTo>
                                                                                                      <a:lnTo>
                                                                                                        <a:pt x="166" y="552"/>
                                                                                                      </a:lnTo>
                                                                                                      <a:lnTo>
                                                                                                        <a:pt x="162" y="548"/>
                                                                                                      </a:lnTo>
                                                                                                      <a:lnTo>
                                                                                                        <a:pt x="162" y="540"/>
                                                                                                      </a:lnTo>
                                                                                                      <a:lnTo>
                                                                                                        <a:pt x="162" y="540"/>
                                                                                                      </a:lnTo>
                                                                                                      <a:lnTo>
                                                                                                        <a:pt x="166" y="532"/>
                                                                                                      </a:lnTo>
                                                                                                      <a:lnTo>
                                                                                                        <a:pt x="168" y="530"/>
                                                                                                      </a:lnTo>
                                                                                                      <a:lnTo>
                                                                                                        <a:pt x="172" y="528"/>
                                                                                                      </a:lnTo>
                                                                                                      <a:lnTo>
                                                                                                        <a:pt x="176" y="526"/>
                                                                                                      </a:lnTo>
                                                                                                      <a:lnTo>
                                                                                                        <a:pt x="176" y="526"/>
                                                                                                      </a:lnTo>
                                                                                                      <a:lnTo>
                                                                                                        <a:pt x="180" y="522"/>
                                                                                                      </a:lnTo>
                                                                                                      <a:lnTo>
                                                                                                        <a:pt x="186" y="522"/>
                                                                                                      </a:lnTo>
                                                                                                      <a:lnTo>
                                                                                                        <a:pt x="190" y="520"/>
                                                                                                      </a:lnTo>
                                                                                                      <a:lnTo>
                                                                                                        <a:pt x="190" y="518"/>
                                                                                                      </a:lnTo>
                                                                                                      <a:lnTo>
                                                                                                        <a:pt x="190" y="516"/>
                                                                                                      </a:lnTo>
                                                                                                      <a:lnTo>
                                                                                                        <a:pt x="190" y="516"/>
                                                                                                      </a:lnTo>
                                                                                                      <a:lnTo>
                                                                                                        <a:pt x="188" y="514"/>
                                                                                                      </a:lnTo>
                                                                                                      <a:lnTo>
                                                                                                        <a:pt x="188" y="512"/>
                                                                                                      </a:lnTo>
                                                                                                      <a:lnTo>
                                                                                                        <a:pt x="192" y="508"/>
                                                                                                      </a:lnTo>
                                                                                                      <a:lnTo>
                                                                                                        <a:pt x="194" y="506"/>
                                                                                                      </a:lnTo>
                                                                                                      <a:lnTo>
                                                                                                        <a:pt x="194" y="504"/>
                                                                                                      </a:lnTo>
                                                                                                      <a:lnTo>
                                                                                                        <a:pt x="192" y="500"/>
                                                                                                      </a:lnTo>
                                                                                                      <a:lnTo>
                                                                                                        <a:pt x="192" y="500"/>
                                                                                                      </a:lnTo>
                                                                                                      <a:lnTo>
                                                                                                        <a:pt x="190" y="496"/>
                                                                                                      </a:lnTo>
                                                                                                      <a:lnTo>
                                                                                                        <a:pt x="192" y="494"/>
                                                                                                      </a:lnTo>
                                                                                                      <a:lnTo>
                                                                                                        <a:pt x="192" y="492"/>
                                                                                                      </a:lnTo>
                                                                                                      <a:lnTo>
                                                                                                        <a:pt x="192" y="486"/>
                                                                                                      </a:lnTo>
                                                                                                      <a:lnTo>
                                                                                                        <a:pt x="192" y="486"/>
                                                                                                      </a:lnTo>
                                                                                                      <a:lnTo>
                                                                                                        <a:pt x="192" y="482"/>
                                                                                                      </a:lnTo>
                                                                                                      <a:lnTo>
                                                                                                        <a:pt x="196" y="480"/>
                                                                                                      </a:lnTo>
                                                                                                      <a:lnTo>
                                                                                                        <a:pt x="200" y="480"/>
                                                                                                      </a:lnTo>
                                                                                                      <a:lnTo>
                                                                                                        <a:pt x="200" y="478"/>
                                                                                                      </a:lnTo>
                                                                                                      <a:lnTo>
                                                                                                        <a:pt x="200" y="478"/>
                                                                                                      </a:lnTo>
                                                                                                      <a:lnTo>
                                                                                                        <a:pt x="198" y="476"/>
                                                                                                      </a:lnTo>
                                                                                                      <a:lnTo>
                                                                                                        <a:pt x="192" y="476"/>
                                                                                                      </a:lnTo>
                                                                                                      <a:lnTo>
                                                                                                        <a:pt x="188" y="474"/>
                                                                                                      </a:lnTo>
                                                                                                      <a:lnTo>
                                                                                                        <a:pt x="186" y="474"/>
                                                                                                      </a:lnTo>
                                                                                                      <a:lnTo>
                                                                                                        <a:pt x="186" y="474"/>
                                                                                                      </a:lnTo>
                                                                                                      <a:lnTo>
                                                                                                        <a:pt x="188" y="472"/>
                                                                                                      </a:lnTo>
                                                                                                      <a:lnTo>
                                                                                                        <a:pt x="192" y="470"/>
                                                                                                      </a:lnTo>
                                                                                                      <a:lnTo>
                                                                                                        <a:pt x="198" y="470"/>
                                                                                                      </a:lnTo>
                                                                                                      <a:lnTo>
                                                                                                        <a:pt x="202" y="472"/>
                                                                                                      </a:lnTo>
                                                                                                      <a:lnTo>
                                                                                                        <a:pt x="202" y="472"/>
                                                                                                      </a:lnTo>
                                                                                                      <a:lnTo>
                                                                                                        <a:pt x="204" y="474"/>
                                                                                                      </a:lnTo>
                                                                                                      <a:lnTo>
                                                                                                        <a:pt x="206" y="474"/>
                                                                                                      </a:lnTo>
                                                                                                      <a:lnTo>
                                                                                                        <a:pt x="208" y="472"/>
                                                                                                      </a:lnTo>
                                                                                                      <a:lnTo>
                                                                                                        <a:pt x="208" y="470"/>
                                                                                                      </a:lnTo>
                                                                                                      <a:lnTo>
                                                                                                        <a:pt x="208" y="470"/>
                                                                                                      </a:lnTo>
                                                                                                      <a:lnTo>
                                                                                                        <a:pt x="208" y="466"/>
                                                                                                      </a:lnTo>
                                                                                                      <a:lnTo>
                                                                                                        <a:pt x="210" y="462"/>
                                                                                                      </a:lnTo>
                                                                                                      <a:lnTo>
                                                                                                        <a:pt x="208" y="460"/>
                                                                                                      </a:lnTo>
                                                                                                      <a:lnTo>
                                                                                                        <a:pt x="202" y="460"/>
                                                                                                      </a:lnTo>
                                                                                                      <a:lnTo>
                                                                                                        <a:pt x="202" y="460"/>
                                                                                                      </a:lnTo>
                                                                                                      <a:lnTo>
                                                                                                        <a:pt x="198" y="462"/>
                                                                                                      </a:lnTo>
                                                                                                      <a:lnTo>
                                                                                                        <a:pt x="200" y="462"/>
                                                                                                      </a:lnTo>
                                                                                                      <a:lnTo>
                                                                                                        <a:pt x="202" y="464"/>
                                                                                                      </a:lnTo>
                                                                                                      <a:lnTo>
                                                                                                        <a:pt x="198" y="466"/>
                                                                                                      </a:lnTo>
                                                                                                      <a:lnTo>
                                                                                                        <a:pt x="198" y="466"/>
                                                                                                      </a:lnTo>
                                                                                                      <a:lnTo>
                                                                                                        <a:pt x="194" y="468"/>
                                                                                                      </a:lnTo>
                                                                                                      <a:lnTo>
                                                                                                        <a:pt x="192" y="466"/>
                                                                                                      </a:lnTo>
                                                                                                      <a:lnTo>
                                                                                                        <a:pt x="190" y="464"/>
                                                                                                      </a:lnTo>
                                                                                                      <a:lnTo>
                                                                                                        <a:pt x="190" y="464"/>
                                                                                                      </a:lnTo>
                                                                                                      <a:lnTo>
                                                                                                        <a:pt x="184" y="464"/>
                                                                                                      </a:lnTo>
                                                                                                      <a:lnTo>
                                                                                                        <a:pt x="182" y="462"/>
                                                                                                      </a:lnTo>
                                                                                                      <a:lnTo>
                                                                                                        <a:pt x="180" y="460"/>
                                                                                                      </a:lnTo>
                                                                                                      <a:lnTo>
                                                                                                        <a:pt x="182" y="456"/>
                                                                                                      </a:lnTo>
                                                                                                      <a:lnTo>
                                                                                                        <a:pt x="182" y="454"/>
                                                                                                      </a:lnTo>
                                                                                                      <a:lnTo>
                                                                                                        <a:pt x="182" y="448"/>
                                                                                                      </a:lnTo>
                                                                                                      <a:lnTo>
                                                                                                        <a:pt x="178" y="444"/>
                                                                                                      </a:lnTo>
                                                                                                      <a:lnTo>
                                                                                                        <a:pt x="172" y="440"/>
                                                                                                      </a:lnTo>
                                                                                                      <a:lnTo>
                                                                                                        <a:pt x="172" y="440"/>
                                                                                                      </a:lnTo>
                                                                                                      <a:lnTo>
                                                                                                        <a:pt x="170" y="438"/>
                                                                                                      </a:lnTo>
                                                                                                      <a:lnTo>
                                                                                                        <a:pt x="170" y="436"/>
                                                                                                      </a:lnTo>
                                                                                                      <a:lnTo>
                                                                                                        <a:pt x="172" y="432"/>
                                                                                                      </a:lnTo>
                                                                                                      <a:lnTo>
                                                                                                        <a:pt x="178" y="432"/>
                                                                                                      </a:lnTo>
                                                                                                      <a:lnTo>
                                                                                                        <a:pt x="178" y="432"/>
                                                                                                      </a:lnTo>
                                                                                                      <a:lnTo>
                                                                                                        <a:pt x="178" y="434"/>
                                                                                                      </a:lnTo>
                                                                                                      <a:lnTo>
                                                                                                        <a:pt x="178" y="434"/>
                                                                                                      </a:lnTo>
                                                                                                      <a:lnTo>
                                                                                                        <a:pt x="178" y="436"/>
                                                                                                      </a:lnTo>
                                                                                                      <a:lnTo>
                                                                                                        <a:pt x="180" y="436"/>
                                                                                                      </a:lnTo>
                                                                                                      <a:lnTo>
                                                                                                        <a:pt x="186" y="436"/>
                                                                                                      </a:lnTo>
                                                                                                      <a:lnTo>
                                                                                                        <a:pt x="192" y="438"/>
                                                                                                      </a:lnTo>
                                                                                                      <a:lnTo>
                                                                                                        <a:pt x="192" y="438"/>
                                                                                                      </a:lnTo>
                                                                                                      <a:lnTo>
                                                                                                        <a:pt x="198" y="440"/>
                                                                                                      </a:lnTo>
                                                                                                      <a:lnTo>
                                                                                                        <a:pt x="204" y="440"/>
                                                                                                      </a:lnTo>
                                                                                                      <a:lnTo>
                                                                                                        <a:pt x="214" y="436"/>
                                                                                                      </a:lnTo>
                                                                                                      <a:lnTo>
                                                                                                        <a:pt x="222" y="430"/>
                                                                                                      </a:lnTo>
                                                                                                      <a:lnTo>
                                                                                                        <a:pt x="224" y="428"/>
                                                                                                      </a:lnTo>
                                                                                                      <a:lnTo>
                                                                                                        <a:pt x="222" y="426"/>
                                                                                                      </a:lnTo>
                                                                                                      <a:lnTo>
                                                                                                        <a:pt x="222" y="426"/>
                                                                                                      </a:lnTo>
                                                                                                      <a:lnTo>
                                                                                                        <a:pt x="220" y="424"/>
                                                                                                      </a:lnTo>
                                                                                                      <a:lnTo>
                                                                                                        <a:pt x="218" y="418"/>
                                                                                                      </a:lnTo>
                                                                                                      <a:lnTo>
                                                                                                        <a:pt x="218" y="414"/>
                                                                                                      </a:lnTo>
                                                                                                      <a:lnTo>
                                                                                                        <a:pt x="220" y="410"/>
                                                                                                      </a:lnTo>
                                                                                                      <a:lnTo>
                                                                                                        <a:pt x="220" y="410"/>
                                                                                                      </a:lnTo>
                                                                                                      <a:lnTo>
                                                                                                        <a:pt x="224" y="410"/>
                                                                                                      </a:lnTo>
                                                                                                      <a:lnTo>
                                                                                                        <a:pt x="226" y="406"/>
                                                                                                      </a:lnTo>
                                                                                                      <a:lnTo>
                                                                                                        <a:pt x="226" y="404"/>
                                                                                                      </a:lnTo>
                                                                                                      <a:lnTo>
                                                                                                        <a:pt x="222" y="402"/>
                                                                                                      </a:lnTo>
                                                                                                      <a:lnTo>
                                                                                                        <a:pt x="222" y="402"/>
                                                                                                      </a:lnTo>
                                                                                                      <a:lnTo>
                                                                                                        <a:pt x="220" y="400"/>
                                                                                                      </a:lnTo>
                                                                                                      <a:lnTo>
                                                                                                        <a:pt x="220" y="398"/>
                                                                                                      </a:lnTo>
                                                                                                      <a:lnTo>
                                                                                                        <a:pt x="220" y="396"/>
                                                                                                      </a:lnTo>
                                                                                                      <a:lnTo>
                                                                                                        <a:pt x="216" y="394"/>
                                                                                                      </a:lnTo>
                                                                                                      <a:lnTo>
                                                                                                        <a:pt x="216" y="394"/>
                                                                                                      </a:lnTo>
                                                                                                      <a:lnTo>
                                                                                                        <a:pt x="214" y="392"/>
                                                                                                      </a:lnTo>
                                                                                                      <a:lnTo>
                                                                                                        <a:pt x="214" y="388"/>
                                                                                                      </a:lnTo>
                                                                                                      <a:lnTo>
                                                                                                        <a:pt x="218" y="384"/>
                                                                                                      </a:lnTo>
                                                                                                      <a:lnTo>
                                                                                                        <a:pt x="218" y="384"/>
                                                                                                      </a:lnTo>
                                                                                                      <a:lnTo>
                                                                                                        <a:pt x="220" y="384"/>
                                                                                                      </a:lnTo>
                                                                                                      <a:lnTo>
                                                                                                        <a:pt x="220" y="386"/>
                                                                                                      </a:lnTo>
                                                                                                      <a:lnTo>
                                                                                                        <a:pt x="222" y="388"/>
                                                                                                      </a:lnTo>
                                                                                                      <a:lnTo>
                                                                                                        <a:pt x="226" y="388"/>
                                                                                                      </a:lnTo>
                                                                                                      <a:lnTo>
                                                                                                        <a:pt x="226" y="388"/>
                                                                                                      </a:lnTo>
                                                                                                      <a:lnTo>
                                                                                                        <a:pt x="230" y="388"/>
                                                                                                      </a:lnTo>
                                                                                                      <a:lnTo>
                                                                                                        <a:pt x="240" y="390"/>
                                                                                                      </a:lnTo>
                                                                                                      <a:lnTo>
                                                                                                        <a:pt x="254" y="388"/>
                                                                                                      </a:lnTo>
                                                                                                      <a:lnTo>
                                                                                                        <a:pt x="264" y="386"/>
                                                                                                      </a:lnTo>
                                                                                                      <a:lnTo>
                                                                                                        <a:pt x="274" y="382"/>
                                                                                                      </a:lnTo>
                                                                                                      <a:lnTo>
                                                                                                        <a:pt x="274" y="382"/>
                                                                                                      </a:lnTo>
                                                                                                      <a:lnTo>
                                                                                                        <a:pt x="284" y="378"/>
                                                                                                      </a:lnTo>
                                                                                                      <a:lnTo>
                                                                                                        <a:pt x="292" y="376"/>
                                                                                                      </a:lnTo>
                                                                                                      <a:lnTo>
                                                                                                        <a:pt x="296" y="372"/>
                                                                                                      </a:lnTo>
                                                                                                      <a:lnTo>
                                                                                                        <a:pt x="300" y="368"/>
                                                                                                      </a:lnTo>
                                                                                                      <a:lnTo>
                                                                                                        <a:pt x="304" y="364"/>
                                                                                                      </a:lnTo>
                                                                                                      <a:lnTo>
                                                                                                        <a:pt x="308" y="354"/>
                                                                                                      </a:lnTo>
                                                                                                      <a:lnTo>
                                                                                                        <a:pt x="308" y="354"/>
                                                                                                      </a:lnTo>
                                                                                                      <a:lnTo>
                                                                                                        <a:pt x="310" y="350"/>
                                                                                                      </a:lnTo>
                                                                                                      <a:lnTo>
                                                                                                        <a:pt x="312" y="346"/>
                                                                                                      </a:lnTo>
                                                                                                      <a:lnTo>
                                                                                                        <a:pt x="314" y="342"/>
                                                                                                      </a:lnTo>
                                                                                                      <a:lnTo>
                                                                                                        <a:pt x="312" y="332"/>
                                                                                                      </a:lnTo>
                                                                                                      <a:lnTo>
                                                                                                        <a:pt x="312" y="332"/>
                                                                                                      </a:lnTo>
                                                                                                      <a:lnTo>
                                                                                                        <a:pt x="310" y="330"/>
                                                                                                      </a:lnTo>
                                                                                                      <a:lnTo>
                                                                                                        <a:pt x="308" y="330"/>
                                                                                                      </a:lnTo>
                                                                                                      <a:lnTo>
                                                                                                        <a:pt x="302" y="330"/>
                                                                                                      </a:lnTo>
                                                                                                      <a:lnTo>
                                                                                                        <a:pt x="300" y="328"/>
                                                                                                      </a:lnTo>
                                                                                                      <a:lnTo>
                                                                                                        <a:pt x="298" y="326"/>
                                                                                                      </a:lnTo>
                                                                                                      <a:lnTo>
                                                                                                        <a:pt x="296" y="322"/>
                                                                                                      </a:lnTo>
                                                                                                      <a:lnTo>
                                                                                                        <a:pt x="296" y="314"/>
                                                                                                      </a:lnTo>
                                                                                                      <a:lnTo>
                                                                                                        <a:pt x="296" y="314"/>
                                                                                                      </a:lnTo>
                                                                                                      <a:lnTo>
                                                                                                        <a:pt x="296" y="310"/>
                                                                                                      </a:lnTo>
                                                                                                      <a:lnTo>
                                                                                                        <a:pt x="294" y="306"/>
                                                                                                      </a:lnTo>
                                                                                                      <a:lnTo>
                                                                                                        <a:pt x="288" y="302"/>
                                                                                                      </a:lnTo>
                                                                                                      <a:lnTo>
                                                                                                        <a:pt x="280" y="296"/>
                                                                                                      </a:lnTo>
                                                                                                      <a:lnTo>
                                                                                                        <a:pt x="272" y="292"/>
                                                                                                      </a:lnTo>
                                                                                                      <a:lnTo>
                                                                                                        <a:pt x="258" y="288"/>
                                                                                                      </a:lnTo>
                                                                                                      <a:lnTo>
                                                                                                        <a:pt x="254" y="286"/>
                                                                                                      </a:lnTo>
                                                                                                      <a:lnTo>
                                                                                                        <a:pt x="256" y="284"/>
                                                                                                      </a:lnTo>
                                                                                                      <a:lnTo>
                                                                                                        <a:pt x="256" y="284"/>
                                                                                                      </a:lnTo>
                                                                                                      <a:lnTo>
                                                                                                        <a:pt x="258" y="282"/>
                                                                                                      </a:lnTo>
                                                                                                      <a:lnTo>
                                                                                                        <a:pt x="258" y="282"/>
                                                                                                      </a:lnTo>
                                                                                                      <a:lnTo>
                                                                                                        <a:pt x="256" y="278"/>
                                                                                                      </a:lnTo>
                                                                                                      <a:lnTo>
                                                                                                        <a:pt x="254" y="276"/>
                                                                                                      </a:lnTo>
                                                                                                      <a:lnTo>
                                                                                                        <a:pt x="252" y="272"/>
                                                                                                      </a:lnTo>
                                                                                                      <a:lnTo>
                                                                                                        <a:pt x="252" y="266"/>
                                                                                                      </a:lnTo>
                                                                                                      <a:lnTo>
                                                                                                        <a:pt x="254" y="258"/>
                                                                                                      </a:lnTo>
                                                                                                      <a:lnTo>
                                                                                                        <a:pt x="254" y="258"/>
                                                                                                      </a:lnTo>
                                                                                                      <a:lnTo>
                                                                                                        <a:pt x="254" y="254"/>
                                                                                                      </a:lnTo>
                                                                                                      <a:lnTo>
                                                                                                        <a:pt x="254" y="250"/>
                                                                                                      </a:lnTo>
                                                                                                      <a:lnTo>
                                                                                                        <a:pt x="252" y="242"/>
                                                                                                      </a:lnTo>
                                                                                                      <a:lnTo>
                                                                                                        <a:pt x="248" y="230"/>
                                                                                                      </a:lnTo>
                                                                                                      <a:lnTo>
                                                                                                        <a:pt x="248" y="224"/>
                                                                                                      </a:lnTo>
                                                                                                      <a:lnTo>
                                                                                                        <a:pt x="250" y="218"/>
                                                                                                      </a:lnTo>
                                                                                                      <a:lnTo>
                                                                                                        <a:pt x="250" y="218"/>
                                                                                                      </a:lnTo>
                                                                                                      <a:lnTo>
                                                                                                        <a:pt x="250" y="208"/>
                                                                                                      </a:lnTo>
                                                                                                      <a:lnTo>
                                                                                                        <a:pt x="250" y="204"/>
                                                                                                      </a:lnTo>
                                                                                                      <a:lnTo>
                                                                                                        <a:pt x="250" y="198"/>
                                                                                                      </a:lnTo>
                                                                                                      <a:lnTo>
                                                                                                        <a:pt x="252" y="188"/>
                                                                                                      </a:lnTo>
                                                                                                      <a:lnTo>
                                                                                                        <a:pt x="252" y="188"/>
                                                                                                      </a:lnTo>
                                                                                                      <a:lnTo>
                                                                                                        <a:pt x="254" y="186"/>
                                                                                                      </a:lnTo>
                                                                                                      <a:lnTo>
                                                                                                        <a:pt x="258" y="182"/>
                                                                                                      </a:lnTo>
                                                                                                      <a:lnTo>
                                                                                                        <a:pt x="258" y="182"/>
                                                                                                      </a:lnTo>
                                                                                                      <a:lnTo>
                                                                                                        <a:pt x="260" y="180"/>
                                                                                                      </a:lnTo>
                                                                                                      <a:lnTo>
                                                                                                        <a:pt x="262" y="178"/>
                                                                                                      </a:lnTo>
                                                                                                      <a:lnTo>
                                                                                                        <a:pt x="264" y="172"/>
                                                                                                      </a:lnTo>
                                                                                                      <a:lnTo>
                                                                                                        <a:pt x="272" y="158"/>
                                                                                                      </a:lnTo>
                                                                                                      <a:lnTo>
                                                                                                        <a:pt x="272" y="158"/>
                                                                                                      </a:lnTo>
                                                                                                      <a:lnTo>
                                                                                                        <a:pt x="278" y="152"/>
                                                                                                      </a:lnTo>
                                                                                                      <a:lnTo>
                                                                                                        <a:pt x="280" y="152"/>
                                                                                                      </a:lnTo>
                                                                                                      <a:lnTo>
                                                                                                        <a:pt x="282" y="152"/>
                                                                                                      </a:lnTo>
                                                                                                      <a:lnTo>
                                                                                                        <a:pt x="284" y="150"/>
                                                                                                      </a:lnTo>
                                                                                                      <a:lnTo>
                                                                                                        <a:pt x="284" y="150"/>
                                                                                                      </a:lnTo>
                                                                                                      <a:lnTo>
                                                                                                        <a:pt x="284" y="146"/>
                                                                                                      </a:lnTo>
                                                                                                      <a:lnTo>
                                                                                                        <a:pt x="282" y="146"/>
                                                                                                      </a:lnTo>
                                                                                                      <a:lnTo>
                                                                                                        <a:pt x="282" y="144"/>
                                                                                                      </a:lnTo>
                                                                                                      <a:lnTo>
                                                                                                        <a:pt x="282" y="142"/>
                                                                                                      </a:lnTo>
                                                                                                      <a:lnTo>
                                                                                                        <a:pt x="282" y="142"/>
                                                                                                      </a:lnTo>
                                                                                                      <a:lnTo>
                                                                                                        <a:pt x="284" y="140"/>
                                                                                                      </a:lnTo>
                                                                                                      <a:lnTo>
                                                                                                        <a:pt x="286" y="140"/>
                                                                                                      </a:lnTo>
                                                                                                      <a:lnTo>
                                                                                                        <a:pt x="290" y="138"/>
                                                                                                      </a:lnTo>
                                                                                                      <a:lnTo>
                                                                                                        <a:pt x="292" y="136"/>
                                                                                                      </a:lnTo>
                                                                                                      <a:lnTo>
                                                                                                        <a:pt x="292" y="136"/>
                                                                                                      </a:lnTo>
                                                                                                      <a:lnTo>
                                                                                                        <a:pt x="296" y="130"/>
                                                                                                      </a:lnTo>
                                                                                                      <a:lnTo>
                                                                                                        <a:pt x="300" y="130"/>
                                                                                                      </a:lnTo>
                                                                                                      <a:lnTo>
                                                                                                        <a:pt x="304" y="128"/>
                                                                                                      </a:lnTo>
                                                                                                      <a:lnTo>
                                                                                                        <a:pt x="308" y="122"/>
                                                                                                      </a:lnTo>
                                                                                                      <a:lnTo>
                                                                                                        <a:pt x="308" y="122"/>
                                                                                                      </a:lnTo>
                                                                                                      <a:lnTo>
                                                                                                        <a:pt x="314" y="112"/>
                                                                                                      </a:lnTo>
                                                                                                      <a:lnTo>
                                                                                                        <a:pt x="312" y="108"/>
                                                                                                      </a:lnTo>
                                                                                                      <a:lnTo>
                                                                                                        <a:pt x="310" y="106"/>
                                                                                                      </a:lnTo>
                                                                                                      <a:lnTo>
                                                                                                        <a:pt x="310" y="104"/>
                                                                                                      </a:lnTo>
                                                                                                      <a:lnTo>
                                                                                                        <a:pt x="310" y="104"/>
                                                                                                      </a:lnTo>
                                                                                                      <a:lnTo>
                                                                                                        <a:pt x="310" y="98"/>
                                                                                                      </a:lnTo>
                                                                                                      <a:lnTo>
                                                                                                        <a:pt x="308" y="92"/>
                                                                                                      </a:lnTo>
                                                                                                      <a:lnTo>
                                                                                                        <a:pt x="306" y="90"/>
                                                                                                      </a:lnTo>
                                                                                                      <a:lnTo>
                                                                                                        <a:pt x="304" y="88"/>
                                                                                                      </a:lnTo>
                                                                                                      <a:lnTo>
                                                                                                        <a:pt x="300" y="88"/>
                                                                                                      </a:lnTo>
                                                                                                      <a:lnTo>
                                                                                                        <a:pt x="294" y="90"/>
                                                                                                      </a:lnTo>
                                                                                                      <a:lnTo>
                                                                                                        <a:pt x="294" y="90"/>
                                                                                                      </a:lnTo>
                                                                                                      <a:lnTo>
                                                                                                        <a:pt x="294" y="96"/>
                                                                                                      </a:lnTo>
                                                                                                      <a:lnTo>
                                                                                                        <a:pt x="292" y="100"/>
                                                                                                      </a:lnTo>
                                                                                                      <a:lnTo>
                                                                                                        <a:pt x="292" y="100"/>
                                                                                                      </a:lnTo>
                                                                                                      <a:lnTo>
                                                                                                        <a:pt x="292" y="104"/>
                                                                                                      </a:lnTo>
                                                                                                      <a:lnTo>
                                                                                                        <a:pt x="290" y="106"/>
                                                                                                      </a:lnTo>
                                                                                                      <a:lnTo>
                                                                                                        <a:pt x="288" y="108"/>
                                                                                                      </a:lnTo>
                                                                                                      <a:lnTo>
                                                                                                        <a:pt x="286" y="110"/>
                                                                                                      </a:lnTo>
                                                                                                      <a:lnTo>
                                                                                                        <a:pt x="286" y="110"/>
                                                                                                      </a:lnTo>
                                                                                                      <a:lnTo>
                                                                                                        <a:pt x="284" y="116"/>
                                                                                                      </a:lnTo>
                                                                                                      <a:lnTo>
                                                                                                        <a:pt x="280" y="120"/>
                                                                                                      </a:lnTo>
                                                                                                      <a:lnTo>
                                                                                                        <a:pt x="280" y="120"/>
                                                                                                      </a:lnTo>
                                                                                                      <a:lnTo>
                                                                                                        <a:pt x="276" y="126"/>
                                                                                                      </a:lnTo>
                                                                                                      <a:lnTo>
                                                                                                        <a:pt x="272" y="126"/>
                                                                                                      </a:lnTo>
                                                                                                      <a:lnTo>
                                                                                                        <a:pt x="268" y="124"/>
                                                                                                      </a:lnTo>
                                                                                                      <a:lnTo>
                                                                                                        <a:pt x="264" y="126"/>
                                                                                                      </a:lnTo>
                                                                                                      <a:lnTo>
                                                                                                        <a:pt x="264" y="126"/>
                                                                                                      </a:lnTo>
                                                                                                      <a:lnTo>
                                                                                                        <a:pt x="260" y="128"/>
                                                                                                      </a:lnTo>
                                                                                                      <a:lnTo>
                                                                                                        <a:pt x="258" y="128"/>
                                                                                                      </a:lnTo>
                                                                                                      <a:lnTo>
                                                                                                        <a:pt x="256" y="128"/>
                                                                                                      </a:lnTo>
                                                                                                      <a:lnTo>
                                                                                                        <a:pt x="252" y="130"/>
                                                                                                      </a:lnTo>
                                                                                                      <a:lnTo>
                                                                                                        <a:pt x="252" y="130"/>
                                                                                                      </a:lnTo>
                                                                                                      <a:lnTo>
                                                                                                        <a:pt x="250" y="130"/>
                                                                                                      </a:lnTo>
                                                                                                      <a:lnTo>
                                                                                                        <a:pt x="248" y="128"/>
                                                                                                      </a:lnTo>
                                                                                                      <a:lnTo>
                                                                                                        <a:pt x="240" y="126"/>
                                                                                                      </a:lnTo>
                                                                                                      <a:lnTo>
                                                                                                        <a:pt x="230" y="122"/>
                                                                                                      </a:lnTo>
                                                                                                      <a:lnTo>
                                                                                                        <a:pt x="226" y="120"/>
                                                                                                      </a:lnTo>
                                                                                                      <a:lnTo>
                                                                                                        <a:pt x="218" y="122"/>
                                                                                                      </a:lnTo>
                                                                                                      <a:lnTo>
                                                                                                        <a:pt x="218" y="122"/>
                                                                                                      </a:lnTo>
                                                                                                      <a:lnTo>
                                                                                                        <a:pt x="214" y="120"/>
                                                                                                      </a:lnTo>
                                                                                                      <a:lnTo>
                                                                                                        <a:pt x="214" y="118"/>
                                                                                                      </a:lnTo>
                                                                                                      <a:lnTo>
                                                                                                        <a:pt x="218" y="108"/>
                                                                                                      </a:lnTo>
                                                                                                      <a:lnTo>
                                                                                                        <a:pt x="218" y="108"/>
                                                                                                      </a:lnTo>
                                                                                                      <a:lnTo>
                                                                                                        <a:pt x="222" y="104"/>
                                                                                                      </a:lnTo>
                                                                                                      <a:lnTo>
                                                                                                        <a:pt x="222" y="100"/>
                                                                                                      </a:lnTo>
                                                                                                      <a:lnTo>
                                                                                                        <a:pt x="222" y="96"/>
                                                                                                      </a:lnTo>
                                                                                                      <a:lnTo>
                                                                                                        <a:pt x="226" y="92"/>
                                                                                                      </a:lnTo>
                                                                                                      <a:lnTo>
                                                                                                        <a:pt x="226" y="92"/>
                                                                                                      </a:lnTo>
                                                                                                      <a:lnTo>
                                                                                                        <a:pt x="226" y="88"/>
                                                                                                      </a:lnTo>
                                                                                                      <a:lnTo>
                                                                                                        <a:pt x="226" y="86"/>
                                                                                                      </a:lnTo>
                                                                                                      <a:lnTo>
                                                                                                        <a:pt x="222" y="84"/>
                                                                                                      </a:lnTo>
                                                                                                      <a:lnTo>
                                                                                                        <a:pt x="218" y="80"/>
                                                                                                      </a:lnTo>
                                                                                                      <a:lnTo>
                                                                                                        <a:pt x="218" y="80"/>
                                                                                                      </a:lnTo>
                                                                                                      <a:lnTo>
                                                                                                        <a:pt x="214" y="74"/>
                                                                                                      </a:lnTo>
                                                                                                      <a:lnTo>
                                                                                                        <a:pt x="210" y="72"/>
                                                                                                      </a:lnTo>
                                                                                                      <a:lnTo>
                                                                                                        <a:pt x="198" y="64"/>
                                                                                                      </a:lnTo>
                                                                                                      <a:lnTo>
                                                                                                        <a:pt x="198" y="64"/>
                                                                                                      </a:lnTo>
                                                                                                      <a:lnTo>
                                                                                                        <a:pt x="192" y="60"/>
                                                                                                      </a:lnTo>
                                                                                                      <a:lnTo>
                                                                                                        <a:pt x="188" y="60"/>
                                                                                                      </a:lnTo>
                                                                                                      <a:lnTo>
                                                                                                        <a:pt x="186" y="60"/>
                                                                                                      </a:lnTo>
                                                                                                      <a:lnTo>
                                                                                                        <a:pt x="180" y="56"/>
                                                                                                      </a:lnTo>
                                                                                                      <a:lnTo>
                                                                                                        <a:pt x="180" y="56"/>
                                                                                                      </a:lnTo>
                                                                                                      <a:lnTo>
                                                                                                        <a:pt x="170" y="52"/>
                                                                                                      </a:lnTo>
                                                                                                      <a:lnTo>
                                                                                                        <a:pt x="164" y="50"/>
                                                                                                      </a:lnTo>
                                                                                                      <a:lnTo>
                                                                                                        <a:pt x="162" y="50"/>
                                                                                                      </a:lnTo>
                                                                                                      <a:lnTo>
                                                                                                        <a:pt x="158" y="46"/>
                                                                                                      </a:lnTo>
                                                                                                      <a:lnTo>
                                                                                                        <a:pt x="158" y="46"/>
                                                                                                      </a:lnTo>
                                                                                                      <a:lnTo>
                                                                                                        <a:pt x="144" y="34"/>
                                                                                                      </a:lnTo>
                                                                                                      <a:lnTo>
                                                                                                        <a:pt x="132" y="24"/>
                                                                                                      </a:lnTo>
                                                                                                      <a:lnTo>
                                                                                                        <a:pt x="132" y="24"/>
                                                                                                      </a:lnTo>
                                                                                                      <a:lnTo>
                                                                                                        <a:pt x="128" y="22"/>
                                                                                                      </a:lnTo>
                                                                                                      <a:lnTo>
                                                                                                        <a:pt x="126" y="20"/>
                                                                                                      </a:lnTo>
                                                                                                      <a:lnTo>
                                                                                                        <a:pt x="126" y="18"/>
                                                                                                      </a:lnTo>
                                                                                                      <a:lnTo>
                                                                                                        <a:pt x="126" y="12"/>
                                                                                                      </a:lnTo>
                                                                                                      <a:lnTo>
                                                                                                        <a:pt x="124" y="10"/>
                                                                                                      </a:lnTo>
                                                                                                      <a:lnTo>
                                                                                                        <a:pt x="120" y="8"/>
                                                                                                      </a:lnTo>
                                                                                                      <a:lnTo>
                                                                                                        <a:pt x="120" y="8"/>
                                                                                                      </a:lnTo>
                                                                                                      <a:lnTo>
                                                                                                        <a:pt x="116" y="8"/>
                                                                                                      </a:lnTo>
                                                                                                      <a:lnTo>
                                                                                                        <a:pt x="114" y="8"/>
                                                                                                      </a:lnTo>
                                                                                                      <a:lnTo>
                                                                                                        <a:pt x="110" y="6"/>
                                                                                                      </a:lnTo>
                                                                                                      <a:lnTo>
                                                                                                        <a:pt x="102" y="8"/>
                                                                                                      </a:lnTo>
                                                                                                      <a:lnTo>
                                                                                                        <a:pt x="102" y="8"/>
                                                                                                      </a:lnTo>
                                                                                                      <a:lnTo>
                                                                                                        <a:pt x="96" y="8"/>
                                                                                                      </a:lnTo>
                                                                                                      <a:lnTo>
                                                                                                        <a:pt x="90" y="6"/>
                                                                                                      </a:lnTo>
                                                                                                      <a:lnTo>
                                                                                                        <a:pt x="86" y="6"/>
                                                                                                      </a:lnTo>
                                                                                                      <a:lnTo>
                                                                                                        <a:pt x="84" y="8"/>
                                                                                                      </a:lnTo>
                                                                                                      <a:lnTo>
                                                                                                        <a:pt x="84" y="8"/>
                                                                                                      </a:lnTo>
                                                                                                      <a:lnTo>
                                                                                                        <a:pt x="82" y="14"/>
                                                                                                      </a:lnTo>
                                                                                                      <a:lnTo>
                                                                                                        <a:pt x="84" y="18"/>
                                                                                                      </a:lnTo>
                                                                                                      <a:lnTo>
                                                                                                        <a:pt x="84" y="20"/>
                                                                                                      </a:lnTo>
                                                                                                      <a:lnTo>
                                                                                                        <a:pt x="82" y="24"/>
                                                                                                      </a:lnTo>
                                                                                                      <a:lnTo>
                                                                                                        <a:pt x="82" y="24"/>
                                                                                                      </a:lnTo>
                                                                                                      <a:lnTo>
                                                                                                        <a:pt x="82" y="24"/>
                                                                                                      </a:lnTo>
                                                                                                      <a:lnTo>
                                                                                                        <a:pt x="82" y="22"/>
                                                                                                      </a:lnTo>
                                                                                                      <a:lnTo>
                                                                                                        <a:pt x="80" y="16"/>
                                                                                                      </a:lnTo>
                                                                                                      <a:lnTo>
                                                                                                        <a:pt x="76" y="10"/>
                                                                                                      </a:lnTo>
                                                                                                      <a:lnTo>
                                                                                                        <a:pt x="72" y="8"/>
                                                                                                      </a:lnTo>
                                                                                                      <a:lnTo>
                                                                                                        <a:pt x="68" y="6"/>
                                                                                                      </a:lnTo>
                                                                                                      <a:lnTo>
                                                                                                        <a:pt x="68" y="6"/>
                                                                                                      </a:lnTo>
                                                                                                      <a:lnTo>
                                                                                                        <a:pt x="58" y="6"/>
                                                                                                      </a:lnTo>
                                                                                                      <a:lnTo>
                                                                                                        <a:pt x="52" y="6"/>
                                                                                                      </a:lnTo>
                                                                                                      <a:lnTo>
                                                                                                        <a:pt x="52" y="6"/>
                                                                                                      </a:lnTo>
                                                                                                      <a:lnTo>
                                                                                                        <a:pt x="50" y="6"/>
                                                                                                      </a:lnTo>
                                                                                                      <a:lnTo>
                                                                                                        <a:pt x="50" y="4"/>
                                                                                                      </a:lnTo>
                                                                                                      <a:lnTo>
                                                                                                        <a:pt x="48" y="0"/>
                                                                                                      </a:lnTo>
                                                                                                      <a:lnTo>
                                                                                                        <a:pt x="42" y="0"/>
                                                                                                      </a:lnTo>
                                                                                                      <a:lnTo>
                                                                                                        <a:pt x="42" y="0"/>
                                                                                                      </a:lnTo>
                                                                                                      <a:lnTo>
                                                                                                        <a:pt x="42" y="2"/>
                                                                                                      </a:lnTo>
                                                                                                      <a:lnTo>
                                                                                                        <a:pt x="40" y="4"/>
                                                                                                      </a:lnTo>
                                                                                                      <a:lnTo>
                                                                                                        <a:pt x="34" y="10"/>
                                                                                                      </a:lnTo>
                                                                                                      <a:lnTo>
                                                                                                        <a:pt x="30" y="14"/>
                                                                                                      </a:lnTo>
                                                                                                      <a:lnTo>
                                                                                                        <a:pt x="28" y="16"/>
                                                                                                      </a:lnTo>
                                                                                                      <a:lnTo>
                                                                                                        <a:pt x="28" y="18"/>
                                                                                                      </a:lnTo>
                                                                                                      <a:lnTo>
                                                                                                        <a:pt x="28" y="18"/>
                                                                                                      </a:lnTo>
                                                                                                      <a:lnTo>
                                                                                                        <a:pt x="30" y="20"/>
                                                                                                      </a:lnTo>
                                                                                                      <a:lnTo>
                                                                                                        <a:pt x="28" y="20"/>
                                                                                                      </a:lnTo>
                                                                                                      <a:lnTo>
                                                                                                        <a:pt x="24" y="24"/>
                                                                                                      </a:lnTo>
                                                                                                      <a:lnTo>
                                                                                                        <a:pt x="24" y="24"/>
                                                                                                      </a:lnTo>
                                                                                                      <a:lnTo>
                                                                                                        <a:pt x="28" y="26"/>
                                                                                                      </a:lnTo>
                                                                                                      <a:lnTo>
                                                                                                        <a:pt x="28" y="28"/>
                                                                                                      </a:lnTo>
                                                                                                      <a:lnTo>
                                                                                                        <a:pt x="30" y="30"/>
                                                                                                      </a:lnTo>
                                                                                                      <a:lnTo>
                                                                                                        <a:pt x="30" y="30"/>
                                                                                                      </a:lnTo>
                                                                                                      <a:lnTo>
                                                                                                        <a:pt x="26" y="48"/>
                                                                                                      </a:lnTo>
                                                                                                      <a:lnTo>
                                                                                                        <a:pt x="24" y="52"/>
                                                                                                      </a:lnTo>
                                                                                                      <a:lnTo>
                                                                                                        <a:pt x="18" y="58"/>
                                                                                                      </a:lnTo>
                                                                                                      <a:lnTo>
                                                                                                        <a:pt x="18" y="58"/>
                                                                                                      </a:lnTo>
                                                                                                      <a:lnTo>
                                                                                                        <a:pt x="8" y="64"/>
                                                                                                      </a:lnTo>
                                                                                                      <a:lnTo>
                                                                                                        <a:pt x="8" y="66"/>
                                                                                                      </a:lnTo>
                                                                                                      <a:lnTo>
                                                                                                        <a:pt x="8" y="68"/>
                                                                                                      </a:lnTo>
                                                                                                      <a:lnTo>
                                                                                                        <a:pt x="12" y="70"/>
                                                                                                      </a:lnTo>
                                                                                                      <a:lnTo>
                                                                                                        <a:pt x="12" y="72"/>
                                                                                                      </a:lnTo>
                                                                                                      <a:lnTo>
                                                                                                        <a:pt x="10" y="76"/>
                                                                                                      </a:lnTo>
                                                                                                      <a:lnTo>
                                                                                                        <a:pt x="10" y="76"/>
                                                                                                      </a:lnTo>
                                                                                                      <a:lnTo>
                                                                                                        <a:pt x="6" y="84"/>
                                                                                                      </a:lnTo>
                                                                                                      <a:lnTo>
                                                                                                        <a:pt x="6" y="88"/>
                                                                                                      </a:lnTo>
                                                                                                      <a:lnTo>
                                                                                                        <a:pt x="8" y="92"/>
                                                                                                      </a:lnTo>
                                                                                                      <a:lnTo>
                                                                                                        <a:pt x="12" y="96"/>
                                                                                                      </a:lnTo>
                                                                                                      <a:lnTo>
                                                                                                        <a:pt x="16" y="102"/>
                                                                                                      </a:lnTo>
                                                                                                      <a:lnTo>
                                                                                                        <a:pt x="16" y="104"/>
                                                                                                      </a:lnTo>
                                                                                                      <a:lnTo>
                                                                                                        <a:pt x="14" y="108"/>
                                                                                                      </a:lnTo>
                                                                                                      <a:lnTo>
                                                                                                        <a:pt x="14" y="108"/>
                                                                                                      </a:lnTo>
                                                                                                      <a:lnTo>
                                                                                                        <a:pt x="18" y="112"/>
                                                                                                      </a:lnTo>
                                                                                                      <a:lnTo>
                                                                                                        <a:pt x="20" y="114"/>
                                                                                                      </a:lnTo>
                                                                                                      <a:lnTo>
                                                                                                        <a:pt x="20" y="118"/>
                                                                                                      </a:lnTo>
                                                                                                      <a:lnTo>
                                                                                                        <a:pt x="18" y="124"/>
                                                                                                      </a:lnTo>
                                                                                                      <a:lnTo>
                                                                                                        <a:pt x="18" y="124"/>
                                                                                                      </a:lnTo>
                                                                                                      <a:lnTo>
                                                                                                        <a:pt x="14" y="130"/>
                                                                                                      </a:lnTo>
                                                                                                      <a:lnTo>
                                                                                                        <a:pt x="14" y="134"/>
                                                                                                      </a:lnTo>
                                                                                                      <a:lnTo>
                                                                                                        <a:pt x="12" y="138"/>
                                                                                                      </a:lnTo>
                                                                                                      <a:lnTo>
                                                                                                        <a:pt x="10" y="142"/>
                                                                                                      </a:lnTo>
                                                                                                      <a:lnTo>
                                                                                                        <a:pt x="10" y="142"/>
                                                                                                      </a:lnTo>
                                                                                                      <a:lnTo>
                                                                                                        <a:pt x="6" y="146"/>
                                                                                                      </a:lnTo>
                                                                                                      <a:lnTo>
                                                                                                        <a:pt x="8" y="148"/>
                                                                                                      </a:lnTo>
                                                                                                      <a:lnTo>
                                                                                                        <a:pt x="8" y="152"/>
                                                                                                      </a:lnTo>
                                                                                                      <a:lnTo>
                                                                                                        <a:pt x="6" y="156"/>
                                                                                                      </a:lnTo>
                                                                                                      <a:lnTo>
                                                                                                        <a:pt x="6" y="156"/>
                                                                                                      </a:lnTo>
                                                                                                      <a:lnTo>
                                                                                                        <a:pt x="2" y="160"/>
                                                                                                      </a:lnTo>
                                                                                                      <a:lnTo>
                                                                                                        <a:pt x="2" y="164"/>
                                                                                                      </a:lnTo>
                                                                                                      <a:lnTo>
                                                                                                        <a:pt x="2" y="170"/>
                                                                                                      </a:lnTo>
                                                                                                      <a:lnTo>
                                                                                                        <a:pt x="4" y="176"/>
                                                                                                      </a:lnTo>
                                                                                                      <a:lnTo>
                                                                                                        <a:pt x="4" y="182"/>
                                                                                                      </a:lnTo>
                                                                                                      <a:lnTo>
                                                                                                        <a:pt x="4" y="182"/>
                                                                                                      </a:lnTo>
                                                                                                      <a:lnTo>
                                                                                                        <a:pt x="2" y="188"/>
                                                                                                      </a:lnTo>
                                                                                                      <a:lnTo>
                                                                                                        <a:pt x="2" y="192"/>
                                                                                                      </a:lnTo>
                                                                                                      <a:lnTo>
                                                                                                        <a:pt x="4" y="196"/>
                                                                                                      </a:lnTo>
                                                                                                      <a:lnTo>
                                                                                                        <a:pt x="2" y="204"/>
                                                                                                      </a:lnTo>
                                                                                                      <a:lnTo>
                                                                                                        <a:pt x="2" y="204"/>
                                                                                                      </a:lnTo>
                                                                                                      <a:lnTo>
                                                                                                        <a:pt x="0" y="210"/>
                                                                                                      </a:lnTo>
                                                                                                      <a:lnTo>
                                                                                                        <a:pt x="0" y="216"/>
                                                                                                      </a:lnTo>
                                                                                                      <a:lnTo>
                                                                                                        <a:pt x="0" y="226"/>
                                                                                                      </a:lnTo>
                                                                                                      <a:lnTo>
                                                                                                        <a:pt x="2" y="232"/>
                                                                                                      </a:lnTo>
                                                                                                      <a:lnTo>
                                                                                                        <a:pt x="6" y="234"/>
                                                                                                      </a:lnTo>
                                                                                                      <a:lnTo>
                                                                                                        <a:pt x="6" y="234"/>
                                                                                                      </a:lnTo>
                                                                                                      <a:lnTo>
                                                                                                        <a:pt x="8" y="234"/>
                                                                                                      </a:lnTo>
                                                                                                      <a:lnTo>
                                                                                                        <a:pt x="10" y="236"/>
                                                                                                      </a:lnTo>
                                                                                                      <a:lnTo>
                                                                                                        <a:pt x="12" y="240"/>
                                                                                                      </a:lnTo>
                                                                                                      <a:lnTo>
                                                                                                        <a:pt x="10" y="244"/>
                                                                                                      </a:lnTo>
                                                                                                      <a:lnTo>
                                                                                                        <a:pt x="10" y="244"/>
                                                                                                      </a:lnTo>
                                                                                                      <a:lnTo>
                                                                                                        <a:pt x="8" y="246"/>
                                                                                                      </a:lnTo>
                                                                                                      <a:lnTo>
                                                                                                        <a:pt x="10" y="250"/>
                                                                                                      </a:lnTo>
                                                                                                      <a:lnTo>
                                                                                                        <a:pt x="14" y="254"/>
                                                                                                      </a:lnTo>
                                                                                                      <a:lnTo>
                                                                                                        <a:pt x="20" y="260"/>
                                                                                                      </a:lnTo>
                                                                                                      <a:lnTo>
                                                                                                        <a:pt x="22" y="264"/>
                                                                                                      </a:lnTo>
                                                                                                      <a:lnTo>
                                                                                                        <a:pt x="22" y="268"/>
                                                                                                      </a:lnTo>
                                                                                                      <a:lnTo>
                                                                                                        <a:pt x="22" y="268"/>
                                                                                                      </a:lnTo>
                                                                                                      <a:lnTo>
                                                                                                        <a:pt x="22" y="276"/>
                                                                                                      </a:lnTo>
                                                                                                      <a:lnTo>
                                                                                                        <a:pt x="24" y="276"/>
                                                                                                      </a:lnTo>
                                                                                                      <a:lnTo>
                                                                                                        <a:pt x="26" y="274"/>
                                                                                                      </a:lnTo>
                                                                                                      <a:lnTo>
                                                                                                        <a:pt x="26" y="274"/>
                                                                                                      </a:lnTo>
                                                                                                      <a:lnTo>
                                                                                                        <a:pt x="30" y="274"/>
                                                                                                      </a:lnTo>
                                                                                                      <a:lnTo>
                                                                                                        <a:pt x="32" y="274"/>
                                                                                                      </a:lnTo>
                                                                                                      <a:lnTo>
                                                                                                        <a:pt x="32" y="276"/>
                                                                                                      </a:lnTo>
                                                                                                      <a:lnTo>
                                                                                                        <a:pt x="32" y="282"/>
                                                                                                      </a:lnTo>
                                                                                                      <a:lnTo>
                                                                                                        <a:pt x="32" y="282"/>
                                                                                                      </a:lnTo>
                                                                                                      <a:lnTo>
                                                                                                        <a:pt x="30" y="288"/>
                                                                                                      </a:lnTo>
                                                                                                      <a:lnTo>
                                                                                                        <a:pt x="32" y="292"/>
                                                                                                      </a:lnTo>
                                                                                                      <a:lnTo>
                                                                                                        <a:pt x="34" y="296"/>
                                                                                                      </a:lnTo>
                                                                                                      <a:lnTo>
                                                                                                        <a:pt x="30" y="302"/>
                                                                                                      </a:lnTo>
                                                                                                      <a:lnTo>
                                                                                                        <a:pt x="30" y="302"/>
                                                                                                      </a:lnTo>
                                                                                                      <a:lnTo>
                                                                                                        <a:pt x="34" y="306"/>
                                                                                                      </a:lnTo>
                                                                                                      <a:lnTo>
                                                                                                        <a:pt x="36" y="310"/>
                                                                                                      </a:lnTo>
                                                                                                      <a:lnTo>
                                                                                                        <a:pt x="34" y="316"/>
                                                                                                      </a:lnTo>
                                                                                                      <a:lnTo>
                                                                                                        <a:pt x="28" y="322"/>
                                                                                                      </a:lnTo>
                                                                                                      <a:lnTo>
                                                                                                        <a:pt x="28" y="322"/>
                                                                                                      </a:lnTo>
                                                                                                      <a:lnTo>
                                                                                                        <a:pt x="24" y="330"/>
                                                                                                      </a:lnTo>
                                                                                                      <a:lnTo>
                                                                                                        <a:pt x="22" y="336"/>
                                                                                                      </a:lnTo>
                                                                                                      <a:lnTo>
                                                                                                        <a:pt x="24" y="342"/>
                                                                                                      </a:lnTo>
                                                                                                      <a:lnTo>
                                                                                                        <a:pt x="24" y="352"/>
                                                                                                      </a:lnTo>
                                                                                                      <a:lnTo>
                                                                                                        <a:pt x="24" y="352"/>
                                                                                                      </a:lnTo>
                                                                                                      <a:lnTo>
                                                                                                        <a:pt x="26" y="356"/>
                                                                                                      </a:lnTo>
                                                                                                      <a:lnTo>
                                                                                                        <a:pt x="28" y="360"/>
                                                                                                      </a:lnTo>
                                                                                                      <a:lnTo>
                                                                                                        <a:pt x="32" y="366"/>
                                                                                                      </a:lnTo>
                                                                                                      <a:lnTo>
                                                                                                        <a:pt x="38" y="372"/>
                                                                                                      </a:lnTo>
                                                                                                      <a:lnTo>
                                                                                                        <a:pt x="38" y="376"/>
                                                                                                      </a:lnTo>
                                                                                                      <a:lnTo>
                                                                                                        <a:pt x="38" y="380"/>
                                                                                                      </a:lnTo>
                                                                                                      <a:lnTo>
                                                                                                        <a:pt x="38" y="380"/>
                                                                                                      </a:lnTo>
                                                                                                      <a:lnTo>
                                                                                                        <a:pt x="36" y="382"/>
                                                                                                      </a:lnTo>
                                                                                                      <a:lnTo>
                                                                                                        <a:pt x="32" y="384"/>
                                                                                                      </a:lnTo>
                                                                                                      <a:lnTo>
                                                                                                        <a:pt x="32" y="384"/>
                                                                                                      </a:lnTo>
                                                                                                      <a:lnTo>
                                                                                                        <a:pt x="34" y="390"/>
                                                                                                      </a:lnTo>
                                                                                                      <a:lnTo>
                                                                                                        <a:pt x="34" y="390"/>
                                                                                                      </a:lnTo>
                                                                                                      <a:lnTo>
                                                                                                        <a:pt x="36" y="394"/>
                                                                                                      </a:lnTo>
                                                                                                      <a:lnTo>
                                                                                                        <a:pt x="34" y="396"/>
                                                                                                      </a:lnTo>
                                                                                                      <a:lnTo>
                                                                                                        <a:pt x="30" y="400"/>
                                                                                                      </a:lnTo>
                                                                                                      <a:lnTo>
                                                                                                        <a:pt x="30" y="400"/>
                                                                                                      </a:lnTo>
                                                                                                      <a:lnTo>
                                                                                                        <a:pt x="32" y="404"/>
                                                                                                      </a:lnTo>
                                                                                                      <a:lnTo>
                                                                                                        <a:pt x="32" y="404"/>
                                                                                                      </a:lnTo>
                                                                                                      <a:lnTo>
                                                                                                        <a:pt x="32" y="406"/>
                                                                                                      </a:lnTo>
                                                                                                      <a:lnTo>
                                                                                                        <a:pt x="30" y="408"/>
                                                                                                      </a:lnTo>
                                                                                                      <a:lnTo>
                                                                                                        <a:pt x="30" y="410"/>
                                                                                                      </a:lnTo>
                                                                                                      <a:lnTo>
                                                                                                        <a:pt x="32" y="414"/>
                                                                                                      </a:lnTo>
                                                                                                      <a:lnTo>
                                                                                                        <a:pt x="32" y="414"/>
                                                                                                      </a:lnTo>
                                                                                                      <a:lnTo>
                                                                                                        <a:pt x="32" y="422"/>
                                                                                                      </a:lnTo>
                                                                                                      <a:lnTo>
                                                                                                        <a:pt x="34" y="430"/>
                                                                                                      </a:lnTo>
                                                                                                      <a:lnTo>
                                                                                                        <a:pt x="40" y="440"/>
                                                                                                      </a:lnTo>
                                                                                                      <a:lnTo>
                                                                                                        <a:pt x="44" y="446"/>
                                                                                                      </a:lnTo>
                                                                                                      <a:lnTo>
                                                                                                        <a:pt x="44" y="448"/>
                                                                                                      </a:lnTo>
                                                                                                      <a:lnTo>
                                                                                                        <a:pt x="42" y="450"/>
                                                                                                      </a:lnTo>
                                                                                                      <a:lnTo>
                                                                                                        <a:pt x="42" y="450"/>
                                                                                                      </a:lnTo>
                                                                                                      <a:lnTo>
                                                                                                        <a:pt x="38" y="452"/>
                                                                                                      </a:lnTo>
                                                                                                      <a:lnTo>
                                                                                                        <a:pt x="40" y="454"/>
                                                                                                      </a:lnTo>
                                                                                                      <a:lnTo>
                                                                                                        <a:pt x="42" y="456"/>
                                                                                                      </a:lnTo>
                                                                                                      <a:lnTo>
                                                                                                        <a:pt x="42" y="460"/>
                                                                                                      </a:lnTo>
                                                                                                      <a:lnTo>
                                                                                                        <a:pt x="42" y="460"/>
                                                                                                      </a:lnTo>
                                                                                                      <a:lnTo>
                                                                                                        <a:pt x="42" y="462"/>
                                                                                                      </a:lnTo>
                                                                                                      <a:lnTo>
                                                                                                        <a:pt x="42" y="464"/>
                                                                                                      </a:lnTo>
                                                                                                      <a:lnTo>
                                                                                                        <a:pt x="46" y="466"/>
                                                                                                      </a:lnTo>
                                                                                                      <a:lnTo>
                                                                                                        <a:pt x="48" y="466"/>
                                                                                                      </a:lnTo>
                                                                                                      <a:lnTo>
                                                                                                        <a:pt x="48" y="470"/>
                                                                                                      </a:lnTo>
                                                                                                      <a:lnTo>
                                                                                                        <a:pt x="48" y="470"/>
                                                                                                      </a:lnTo>
                                                                                                      <a:lnTo>
                                                                                                        <a:pt x="46" y="470"/>
                                                                                                      </a:lnTo>
                                                                                                      <a:lnTo>
                                                                                                        <a:pt x="48" y="472"/>
                                                                                                      </a:lnTo>
                                                                                                      <a:lnTo>
                                                                                                        <a:pt x="50" y="474"/>
                                                                                                      </a:lnTo>
                                                                                                      <a:lnTo>
                                                                                                        <a:pt x="54" y="476"/>
                                                                                                      </a:lnTo>
                                                                                                      <a:lnTo>
                                                                                                        <a:pt x="54" y="478"/>
                                                                                                      </a:lnTo>
                                                                                                      <a:lnTo>
                                                                                                        <a:pt x="52" y="482"/>
                                                                                                      </a:lnTo>
                                                                                                      <a:lnTo>
                                                                                                        <a:pt x="52" y="482"/>
                                                                                                      </a:lnTo>
                                                                                                      <a:lnTo>
                                                                                                        <a:pt x="50" y="486"/>
                                                                                                      </a:lnTo>
                                                                                                      <a:lnTo>
                                                                                                        <a:pt x="50" y="488"/>
                                                                                                      </a:lnTo>
                                                                                                      <a:lnTo>
                                                                                                        <a:pt x="52" y="490"/>
                                                                                                      </a:lnTo>
                                                                                                      <a:lnTo>
                                                                                                        <a:pt x="54" y="488"/>
                                                                                                      </a:lnTo>
                                                                                                      <a:lnTo>
                                                                                                        <a:pt x="54" y="488"/>
                                                                                                      </a:lnTo>
                                                                                                      <a:lnTo>
                                                                                                        <a:pt x="58" y="486"/>
                                                                                                      </a:lnTo>
                                                                                                      <a:lnTo>
                                                                                                        <a:pt x="60" y="486"/>
                                                                                                      </a:lnTo>
                                                                                                      <a:lnTo>
                                                                                                        <a:pt x="62" y="490"/>
                                                                                                      </a:lnTo>
                                                                                                      <a:lnTo>
                                                                                                        <a:pt x="60" y="494"/>
                                                                                                      </a:lnTo>
                                                                                                      <a:lnTo>
                                                                                                        <a:pt x="60" y="494"/>
                                                                                                      </a:lnTo>
                                                                                                      <a:lnTo>
                                                                                                        <a:pt x="58" y="498"/>
                                                                                                      </a:lnTo>
                                                                                                      <a:lnTo>
                                                                                                        <a:pt x="54" y="498"/>
                                                                                                      </a:lnTo>
                                                                                                      <a:lnTo>
                                                                                                        <a:pt x="54" y="500"/>
                                                                                                      </a:lnTo>
                                                                                                      <a:lnTo>
                                                                                                        <a:pt x="54" y="504"/>
                                                                                                      </a:lnTo>
                                                                                                      <a:lnTo>
                                                                                                        <a:pt x="54" y="504"/>
                                                                                                      </a:lnTo>
                                                                                                      <a:lnTo>
                                                                                                        <a:pt x="60" y="508"/>
                                                                                                      </a:lnTo>
                                                                                                      <a:lnTo>
                                                                                                        <a:pt x="66" y="512"/>
                                                                                                      </a:lnTo>
                                                                                                      <a:lnTo>
                                                                                                        <a:pt x="70" y="514"/>
                                                                                                      </a:lnTo>
                                                                                                      <a:lnTo>
                                                                                                        <a:pt x="70" y="516"/>
                                                                                                      </a:lnTo>
                                                                                                      <a:lnTo>
                                                                                                        <a:pt x="68" y="518"/>
                                                                                                      </a:lnTo>
                                                                                                      <a:lnTo>
                                                                                                        <a:pt x="68" y="518"/>
                                                                                                      </a:lnTo>
                                                                                                      <a:lnTo>
                                                                                                        <a:pt x="66" y="520"/>
                                                                                                      </a:lnTo>
                                                                                                      <a:lnTo>
                                                                                                        <a:pt x="66" y="522"/>
                                                                                                      </a:lnTo>
                                                                                                      <a:lnTo>
                                                                                                        <a:pt x="66" y="524"/>
                                                                                                      </a:lnTo>
                                                                                                      <a:lnTo>
                                                                                                        <a:pt x="64" y="528"/>
                                                                                                      </a:lnTo>
                                                                                                      <a:lnTo>
                                                                                                        <a:pt x="64" y="528"/>
                                                                                                      </a:lnTo>
                                                                                                      <a:lnTo>
                                                                                                        <a:pt x="64" y="528"/>
                                                                                                      </a:lnTo>
                                                                                                      <a:lnTo>
                                                                                                        <a:pt x="64" y="530"/>
                                                                                                      </a:lnTo>
                                                                                                      <a:lnTo>
                                                                                                        <a:pt x="68" y="532"/>
                                                                                                      </a:lnTo>
                                                                                                      <a:lnTo>
                                                                                                        <a:pt x="74" y="536"/>
                                                                                                      </a:lnTo>
                                                                                                      <a:lnTo>
                                                                                                        <a:pt x="74" y="540"/>
                                                                                                      </a:lnTo>
                                                                                                      <a:lnTo>
                                                                                                        <a:pt x="74" y="544"/>
                                                                                                      </a:lnTo>
                                                                                                      <a:lnTo>
                                                                                                        <a:pt x="74" y="544"/>
                                                                                                      </a:lnTo>
                                                                                                      <a:lnTo>
                                                                                                        <a:pt x="72" y="550"/>
                                                                                                      </a:lnTo>
                                                                                                      <a:lnTo>
                                                                                                        <a:pt x="72" y="556"/>
                                                                                                      </a:lnTo>
                                                                                                      <a:lnTo>
                                                                                                        <a:pt x="76" y="562"/>
                                                                                                      </a:lnTo>
                                                                                                      <a:lnTo>
                                                                                                        <a:pt x="78" y="568"/>
                                                                                                      </a:lnTo>
                                                                                                      <a:lnTo>
                                                                                                        <a:pt x="78" y="570"/>
                                                                                                      </a:lnTo>
                                                                                                      <a:lnTo>
                                                                                                        <a:pt x="78" y="572"/>
                                                                                                      </a:lnTo>
                                                                                                      <a:lnTo>
                                                                                                        <a:pt x="78" y="572"/>
                                                                                                      </a:lnTo>
                                                                                                      <a:lnTo>
                                                                                                        <a:pt x="74" y="576"/>
                                                                                                      </a:lnTo>
                                                                                                      <a:lnTo>
                                                                                                        <a:pt x="76" y="576"/>
                                                                                                      </a:lnTo>
                                                                                                      <a:lnTo>
                                                                                                        <a:pt x="76" y="578"/>
                                                                                                      </a:lnTo>
                                                                                                      <a:lnTo>
                                                                                                        <a:pt x="74" y="582"/>
                                                                                                      </a:lnTo>
                                                                                                      <a:lnTo>
                                                                                                        <a:pt x="74" y="582"/>
                                                                                                      </a:lnTo>
                                                                                                      <a:lnTo>
                                                                                                        <a:pt x="74" y="584"/>
                                                                                                      </a:lnTo>
                                                                                                      <a:lnTo>
                                                                                                        <a:pt x="74" y="588"/>
                                                                                                      </a:lnTo>
                                                                                                      <a:lnTo>
                                                                                                        <a:pt x="78" y="590"/>
                                                                                                      </a:lnTo>
                                                                                                      <a:lnTo>
                                                                                                        <a:pt x="82" y="594"/>
                                                                                                      </a:lnTo>
                                                                                                      <a:lnTo>
                                                                                                        <a:pt x="82" y="596"/>
                                                                                                      </a:lnTo>
                                                                                                      <a:lnTo>
                                                                                                        <a:pt x="80" y="598"/>
                                                                                                      </a:lnTo>
                                                                                                      <a:lnTo>
                                                                                                        <a:pt x="80" y="598"/>
                                                                                                      </a:lnTo>
                                                                                                      <a:lnTo>
                                                                                                        <a:pt x="80" y="604"/>
                                                                                                      </a:lnTo>
                                                                                                      <a:lnTo>
                                                                                                        <a:pt x="82" y="608"/>
                                                                                                      </a:lnTo>
                                                                                                      <a:lnTo>
                                                                                                        <a:pt x="84" y="610"/>
                                                                                                      </a:lnTo>
                                                                                                      <a:lnTo>
                                                                                                        <a:pt x="84" y="614"/>
                                                                                                      </a:lnTo>
                                                                                                      <a:lnTo>
                                                                                                        <a:pt x="84" y="614"/>
                                                                                                      </a:lnTo>
                                                                                                      <a:lnTo>
                                                                                                        <a:pt x="82" y="620"/>
                                                                                                      </a:lnTo>
                                                                                                      <a:lnTo>
                                                                                                        <a:pt x="82" y="626"/>
                                                                                                      </a:lnTo>
                                                                                                      <a:lnTo>
                                                                                                        <a:pt x="86" y="634"/>
                                                                                                      </a:lnTo>
                                                                                                      <a:lnTo>
                                                                                                        <a:pt x="88" y="638"/>
                                                                                                      </a:lnTo>
                                                                                                      <a:lnTo>
                                                                                                        <a:pt x="88" y="638"/>
                                                                                                      </a:lnTo>
                                                                                                      <a:lnTo>
                                                                                                        <a:pt x="90" y="636"/>
                                                                                                      </a:lnTo>
                                                                                                      <a:lnTo>
                                                                                                        <a:pt x="94" y="634"/>
                                                                                                      </a:lnTo>
                                                                                                      <a:lnTo>
                                                                                                        <a:pt x="98" y="630"/>
                                                                                                      </a:lnTo>
                                                                                                      <a:lnTo>
                                                                                                        <a:pt x="102" y="630"/>
                                                                                                      </a:lnTo>
                                                                                                      <a:lnTo>
                                                                                                        <a:pt x="102" y="630"/>
                                                                                                      </a:lnTo>
                                                                                                      <a:lnTo>
                                                                                                        <a:pt x="106" y="634"/>
                                                                                                      </a:lnTo>
                                                                                                      <a:lnTo>
                                                                                                        <a:pt x="106" y="638"/>
                                                                                                      </a:lnTo>
                                                                                                      <a:lnTo>
                                                                                                        <a:pt x="104" y="640"/>
                                                                                                      </a:lnTo>
                                                                                                      <a:lnTo>
                                                                                                        <a:pt x="106" y="644"/>
                                                                                                      </a:lnTo>
                                                                                                      <a:lnTo>
                                                                                                        <a:pt x="106" y="644"/>
                                                                                                      </a:lnTo>
                                                                                                      <a:lnTo>
                                                                                                        <a:pt x="108" y="648"/>
                                                                                                      </a:lnTo>
                                                                                                      <a:lnTo>
                                                                                                        <a:pt x="108" y="650"/>
                                                                                                      </a:lnTo>
                                                                                                      <a:lnTo>
                                                                                                        <a:pt x="110" y="652"/>
                                                                                                      </a:lnTo>
                                                                                                      <a:lnTo>
                                                                                                        <a:pt x="116" y="652"/>
                                                                                                      </a:lnTo>
                                                                                                      <a:lnTo>
                                                                                                        <a:pt x="116" y="652"/>
                                                                                                      </a:lnTo>
                                                                                                      <a:lnTo>
                                                                                                        <a:pt x="120" y="654"/>
                                                                                                      </a:lnTo>
                                                                                                      <a:lnTo>
                                                                                                        <a:pt x="124" y="656"/>
                                                                                                      </a:lnTo>
                                                                                                      <a:lnTo>
                                                                                                        <a:pt x="124" y="658"/>
                                                                                                      </a:lnTo>
                                                                                                      <a:lnTo>
                                                                                                        <a:pt x="158" y="658"/>
                                                                                                      </a:lnTo>
                                                                                                      <a:lnTo>
                                                                                                        <a:pt x="158" y="658"/>
                                                                                                      </a:lnTo>
                                                                                                      <a:lnTo>
                                                                                                        <a:pt x="162" y="660"/>
                                                                                                      </a:lnTo>
                                                                                                      <a:lnTo>
                                                                                                        <a:pt x="166" y="658"/>
                                                                                                      </a:lnTo>
                                                                                                      <a:lnTo>
                                                                                                        <a:pt x="172" y="660"/>
                                                                                                      </a:lnTo>
                                                                                                      <a:lnTo>
                                                                                                        <a:pt x="184" y="664"/>
                                                                                                      </a:lnTo>
                                                                                                      <a:lnTo>
                                                                                                        <a:pt x="184" y="664"/>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baseline="-25000" dirty="0"/>
                                                                                                </a:p>
                                                                                              </p:txBody>
                                                                                            </p:sp>
                                                                                          </p:grpSp>
                                                                                          <p:sp>
                                                                                            <p:nvSpPr>
                                                                                              <p:cNvPr id="403" name="Peru"/>
                                                                                              <p:cNvSpPr>
                                                                                                <a:spLocks/>
                                                                                              </p:cNvSpPr>
                                                                                              <p:nvPr/>
                                                                                            </p:nvSpPr>
                                                                                            <p:spPr bwMode="auto">
                                                                                              <a:xfrm>
                                                                                                <a:off x="3169054" y="3706535"/>
                                                                                                <a:ext cx="437420" cy="694977"/>
                                                                                              </a:xfrm>
                                                                                              <a:custGeom>
                                                                                                <a:avLst/>
                                                                                                <a:gdLst/>
                                                                                                <a:ahLst/>
                                                                                                <a:cxnLst>
                                                                                                  <a:cxn ang="0">
                                                                                                    <a:pos x="6" y="96"/>
                                                                                                  </a:cxn>
                                                                                                  <a:cxn ang="0">
                                                                                                    <a:pos x="6" y="104"/>
                                                                                                  </a:cxn>
                                                                                                  <a:cxn ang="0">
                                                                                                    <a:pos x="4" y="114"/>
                                                                                                  </a:cxn>
                                                                                                  <a:cxn ang="0">
                                                                                                    <a:pos x="6" y="122"/>
                                                                                                  </a:cxn>
                                                                                                  <a:cxn ang="0">
                                                                                                    <a:pos x="14" y="140"/>
                                                                                                  </a:cxn>
                                                                                                  <a:cxn ang="0">
                                                                                                    <a:pos x="30" y="170"/>
                                                                                                  </a:cxn>
                                                                                                  <a:cxn ang="0">
                                                                                                    <a:pos x="46" y="188"/>
                                                                                                  </a:cxn>
                                                                                                  <a:cxn ang="0">
                                                                                                    <a:pos x="60" y="204"/>
                                                                                                  </a:cxn>
                                                                                                  <a:cxn ang="0">
                                                                                                    <a:pos x="76" y="234"/>
                                                                                                  </a:cxn>
                                                                                                  <a:cxn ang="0">
                                                                                                    <a:pos x="96" y="286"/>
                                                                                                  </a:cxn>
                                                                                                  <a:cxn ang="0">
                                                                                                    <a:pos x="108" y="310"/>
                                                                                                  </a:cxn>
                                                                                                  <a:cxn ang="0">
                                                                                                    <a:pos x="110" y="322"/>
                                                                                                  </a:cxn>
                                                                                                  <a:cxn ang="0">
                                                                                                    <a:pos x="124" y="350"/>
                                                                                                  </a:cxn>
                                                                                                  <a:cxn ang="0">
                                                                                                    <a:pos x="118" y="350"/>
                                                                                                  </a:cxn>
                                                                                                  <a:cxn ang="0">
                                                                                                    <a:pos x="138" y="372"/>
                                                                                                  </a:cxn>
                                                                                                  <a:cxn ang="0">
                                                                                                    <a:pos x="162" y="392"/>
                                                                                                  </a:cxn>
                                                                                                  <a:cxn ang="0">
                                                                                                    <a:pos x="196" y="410"/>
                                                                                                  </a:cxn>
                                                                                                  <a:cxn ang="0">
                                                                                                    <a:pos x="244" y="440"/>
                                                                                                  </a:cxn>
                                                                                                  <a:cxn ang="0">
                                                                                                    <a:pos x="272" y="454"/>
                                                                                                  </a:cxn>
                                                                                                  <a:cxn ang="0">
                                                                                                    <a:pos x="276" y="446"/>
                                                                                                  </a:cxn>
                                                                                                  <a:cxn ang="0">
                                                                                                    <a:pos x="278" y="430"/>
                                                                                                  </a:cxn>
                                                                                                  <a:cxn ang="0">
                                                                                                    <a:pos x="286" y="412"/>
                                                                                                  </a:cxn>
                                                                                                  <a:cxn ang="0">
                                                                                                    <a:pos x="282" y="390"/>
                                                                                                  </a:cxn>
                                                                                                  <a:cxn ang="0">
                                                                                                    <a:pos x="284" y="380"/>
                                                                                                  </a:cxn>
                                                                                                  <a:cxn ang="0">
                                                                                                    <a:pos x="280" y="362"/>
                                                                                                  </a:cxn>
                                                                                                  <a:cxn ang="0">
                                                                                                    <a:pos x="276" y="334"/>
                                                                                                  </a:cxn>
                                                                                                  <a:cxn ang="0">
                                                                                                    <a:pos x="282" y="316"/>
                                                                                                  </a:cxn>
                                                                                                  <a:cxn ang="0">
                                                                                                    <a:pos x="250" y="280"/>
                                                                                                  </a:cxn>
                                                                                                  <a:cxn ang="0">
                                                                                                    <a:pos x="238" y="264"/>
                                                                                                  </a:cxn>
                                                                                                  <a:cxn ang="0">
                                                                                                    <a:pos x="238" y="244"/>
                                                                                                  </a:cxn>
                                                                                                  <a:cxn ang="0">
                                                                                                    <a:pos x="234" y="238"/>
                                                                                                  </a:cxn>
                                                                                                  <a:cxn ang="0">
                                                                                                    <a:pos x="202" y="250"/>
                                                                                                  </a:cxn>
                                                                                                  <a:cxn ang="0">
                                                                                                    <a:pos x="192" y="240"/>
                                                                                                  </a:cxn>
                                                                                                  <a:cxn ang="0">
                                                                                                    <a:pos x="188" y="232"/>
                                                                                                  </a:cxn>
                                                                                                  <a:cxn ang="0">
                                                                                                    <a:pos x="176" y="212"/>
                                                                                                  </a:cxn>
                                                                                                  <a:cxn ang="0">
                                                                                                    <a:pos x="166" y="188"/>
                                                                                                  </a:cxn>
                                                                                                  <a:cxn ang="0">
                                                                                                    <a:pos x="166" y="178"/>
                                                                                                  </a:cxn>
                                                                                                  <a:cxn ang="0">
                                                                                                    <a:pos x="180" y="158"/>
                                                                                                  </a:cxn>
                                                                                                  <a:cxn ang="0">
                                                                                                    <a:pos x="188" y="136"/>
                                                                                                  </a:cxn>
                                                                                                  <a:cxn ang="0">
                                                                                                    <a:pos x="204" y="120"/>
                                                                                                  </a:cxn>
                                                                                                  <a:cxn ang="0">
                                                                                                    <a:pos x="226" y="104"/>
                                                                                                  </a:cxn>
                                                                                                  <a:cxn ang="0">
                                                                                                    <a:pos x="238" y="98"/>
                                                                                                  </a:cxn>
                                                                                                  <a:cxn ang="0">
                                                                                                    <a:pos x="232" y="74"/>
                                                                                                  </a:cxn>
                                                                                                  <a:cxn ang="0">
                                                                                                    <a:pos x="234" y="58"/>
                                                                                                  </a:cxn>
                                                                                                  <a:cxn ang="0">
                                                                                                    <a:pos x="218" y="60"/>
                                                                                                  </a:cxn>
                                                                                                  <a:cxn ang="0">
                                                                                                    <a:pos x="196" y="58"/>
                                                                                                  </a:cxn>
                                                                                                  <a:cxn ang="0">
                                                                                                    <a:pos x="174" y="58"/>
                                                                                                  </a:cxn>
                                                                                                  <a:cxn ang="0">
                                                                                                    <a:pos x="162" y="34"/>
                                                                                                  </a:cxn>
                                                                                                  <a:cxn ang="0">
                                                                                                    <a:pos x="150" y="24"/>
                                                                                                  </a:cxn>
                                                                                                  <a:cxn ang="0">
                                                                                                    <a:pos x="138" y="2"/>
                                                                                                  </a:cxn>
                                                                                                  <a:cxn ang="0">
                                                                                                    <a:pos x="128" y="24"/>
                                                                                                  </a:cxn>
                                                                                                  <a:cxn ang="0">
                                                                                                    <a:pos x="98" y="60"/>
                                                                                                  </a:cxn>
                                                                                                  <a:cxn ang="0">
                                                                                                    <a:pos x="70" y="76"/>
                                                                                                  </a:cxn>
                                                                                                  <a:cxn ang="0">
                                                                                                    <a:pos x="60" y="92"/>
                                                                                                  </a:cxn>
                                                                                                  <a:cxn ang="0">
                                                                                                    <a:pos x="46" y="106"/>
                                                                                                  </a:cxn>
                                                                                                  <a:cxn ang="0">
                                                                                                    <a:pos x="28" y="98"/>
                                                                                                  </a:cxn>
                                                                                                  <a:cxn ang="0">
                                                                                                    <a:pos x="18" y="86"/>
                                                                                                  </a:cxn>
                                                                                                </a:cxnLst>
                                                                                                <a:rect l="0" t="0" r="r" b="b"/>
                                                                                                <a:pathLst>
                                                                                                  <a:path w="288" h="458">
                                                                                                    <a:moveTo>
                                                                                                      <a:pt x="18" y="86"/>
                                                                                                    </a:moveTo>
                                                                                                    <a:lnTo>
                                                                                                      <a:pt x="18" y="86"/>
                                                                                                    </a:lnTo>
                                                                                                    <a:lnTo>
                                                                                                      <a:pt x="14" y="88"/>
                                                                                                    </a:lnTo>
                                                                                                    <a:lnTo>
                                                                                                      <a:pt x="10" y="92"/>
                                                                                                    </a:lnTo>
                                                                                                    <a:lnTo>
                                                                                                      <a:pt x="6" y="96"/>
                                                                                                    </a:lnTo>
                                                                                                    <a:lnTo>
                                                                                                      <a:pt x="4" y="98"/>
                                                                                                    </a:lnTo>
                                                                                                    <a:lnTo>
                                                                                                      <a:pt x="6" y="100"/>
                                                                                                    </a:lnTo>
                                                                                                    <a:lnTo>
                                                                                                      <a:pt x="6" y="100"/>
                                                                                                    </a:lnTo>
                                                                                                    <a:lnTo>
                                                                                                      <a:pt x="6" y="102"/>
                                                                                                    </a:lnTo>
                                                                                                    <a:lnTo>
                                                                                                      <a:pt x="6" y="104"/>
                                                                                                    </a:lnTo>
                                                                                                    <a:lnTo>
                                                                                                      <a:pt x="4" y="106"/>
                                                                                                    </a:lnTo>
                                                                                                    <a:lnTo>
                                                                                                      <a:pt x="6" y="112"/>
                                                                                                    </a:lnTo>
                                                                                                    <a:lnTo>
                                                                                                      <a:pt x="6" y="112"/>
                                                                                                    </a:lnTo>
                                                                                                    <a:lnTo>
                                                                                                      <a:pt x="6" y="112"/>
                                                                                                    </a:lnTo>
                                                                                                    <a:lnTo>
                                                                                                      <a:pt x="4" y="114"/>
                                                                                                    </a:lnTo>
                                                                                                    <a:lnTo>
                                                                                                      <a:pt x="2" y="114"/>
                                                                                                    </a:lnTo>
                                                                                                    <a:lnTo>
                                                                                                      <a:pt x="0" y="114"/>
                                                                                                    </a:lnTo>
                                                                                                    <a:lnTo>
                                                                                                      <a:pt x="0" y="116"/>
                                                                                                    </a:lnTo>
                                                                                                    <a:lnTo>
                                                                                                      <a:pt x="6" y="122"/>
                                                                                                    </a:lnTo>
                                                                                                    <a:lnTo>
                                                                                                      <a:pt x="6" y="122"/>
                                                                                                    </a:lnTo>
                                                                                                    <a:lnTo>
                                                                                                      <a:pt x="12" y="128"/>
                                                                                                    </a:lnTo>
                                                                                                    <a:lnTo>
                                                                                                      <a:pt x="12" y="132"/>
                                                                                                    </a:lnTo>
                                                                                                    <a:lnTo>
                                                                                                      <a:pt x="12" y="136"/>
                                                                                                    </a:lnTo>
                                                                                                    <a:lnTo>
                                                                                                      <a:pt x="14" y="140"/>
                                                                                                    </a:lnTo>
                                                                                                    <a:lnTo>
                                                                                                      <a:pt x="14" y="140"/>
                                                                                                    </a:lnTo>
                                                                                                    <a:lnTo>
                                                                                                      <a:pt x="14" y="146"/>
                                                                                                    </a:lnTo>
                                                                                                    <a:lnTo>
                                                                                                      <a:pt x="14" y="152"/>
                                                                                                    </a:lnTo>
                                                                                                    <a:lnTo>
                                                                                                      <a:pt x="20" y="160"/>
                                                                                                    </a:lnTo>
                                                                                                    <a:lnTo>
                                                                                                      <a:pt x="20" y="160"/>
                                                                                                    </a:lnTo>
                                                                                                    <a:lnTo>
                                                                                                      <a:pt x="30" y="170"/>
                                                                                                    </a:lnTo>
                                                                                                    <a:lnTo>
                                                                                                      <a:pt x="36" y="174"/>
                                                                                                    </a:lnTo>
                                                                                                    <a:lnTo>
                                                                                                      <a:pt x="40" y="178"/>
                                                                                                    </a:lnTo>
                                                                                                    <a:lnTo>
                                                                                                      <a:pt x="42" y="182"/>
                                                                                                    </a:lnTo>
                                                                                                    <a:lnTo>
                                                                                                      <a:pt x="42" y="182"/>
                                                                                                    </a:lnTo>
                                                                                                    <a:lnTo>
                                                                                                      <a:pt x="46" y="188"/>
                                                                                                    </a:lnTo>
                                                                                                    <a:lnTo>
                                                                                                      <a:pt x="50" y="192"/>
                                                                                                    </a:lnTo>
                                                                                                    <a:lnTo>
                                                                                                      <a:pt x="54" y="196"/>
                                                                                                    </a:lnTo>
                                                                                                    <a:lnTo>
                                                                                                      <a:pt x="58" y="202"/>
                                                                                                    </a:lnTo>
                                                                                                    <a:lnTo>
                                                                                                      <a:pt x="58" y="202"/>
                                                                                                    </a:lnTo>
                                                                                                    <a:lnTo>
                                                                                                      <a:pt x="60" y="204"/>
                                                                                                    </a:lnTo>
                                                                                                    <a:lnTo>
                                                                                                      <a:pt x="62" y="206"/>
                                                                                                    </a:lnTo>
                                                                                                    <a:lnTo>
                                                                                                      <a:pt x="66" y="210"/>
                                                                                                    </a:lnTo>
                                                                                                    <a:lnTo>
                                                                                                      <a:pt x="70" y="220"/>
                                                                                                    </a:lnTo>
                                                                                                    <a:lnTo>
                                                                                                      <a:pt x="70" y="220"/>
                                                                                                    </a:lnTo>
                                                                                                    <a:lnTo>
                                                                                                      <a:pt x="76" y="234"/>
                                                                                                    </a:lnTo>
                                                                                                    <a:lnTo>
                                                                                                      <a:pt x="82" y="248"/>
                                                                                                    </a:lnTo>
                                                                                                    <a:lnTo>
                                                                                                      <a:pt x="88" y="262"/>
                                                                                                    </a:lnTo>
                                                                                                    <a:lnTo>
                                                                                                      <a:pt x="92" y="274"/>
                                                                                                    </a:lnTo>
                                                                                                    <a:lnTo>
                                                                                                      <a:pt x="92" y="274"/>
                                                                                                    </a:lnTo>
                                                                                                    <a:lnTo>
                                                                                                      <a:pt x="96" y="286"/>
                                                                                                    </a:lnTo>
                                                                                                    <a:lnTo>
                                                                                                      <a:pt x="100" y="290"/>
                                                                                                    </a:lnTo>
                                                                                                    <a:lnTo>
                                                                                                      <a:pt x="104" y="296"/>
                                                                                                    </a:lnTo>
                                                                                                    <a:lnTo>
                                                                                                      <a:pt x="106" y="304"/>
                                                                                                    </a:lnTo>
                                                                                                    <a:lnTo>
                                                                                                      <a:pt x="106" y="304"/>
                                                                                                    </a:lnTo>
                                                                                                    <a:lnTo>
                                                                                                      <a:pt x="108" y="310"/>
                                                                                                    </a:lnTo>
                                                                                                    <a:lnTo>
                                                                                                      <a:pt x="110" y="314"/>
                                                                                                    </a:lnTo>
                                                                                                    <a:lnTo>
                                                                                                      <a:pt x="112" y="316"/>
                                                                                                    </a:lnTo>
                                                                                                    <a:lnTo>
                                                                                                      <a:pt x="112" y="320"/>
                                                                                                    </a:lnTo>
                                                                                                    <a:lnTo>
                                                                                                      <a:pt x="112" y="320"/>
                                                                                                    </a:lnTo>
                                                                                                    <a:lnTo>
                                                                                                      <a:pt x="110" y="322"/>
                                                                                                    </a:lnTo>
                                                                                                    <a:lnTo>
                                                                                                      <a:pt x="112" y="326"/>
                                                                                                    </a:lnTo>
                                                                                                    <a:lnTo>
                                                                                                      <a:pt x="116" y="336"/>
                                                                                                    </a:lnTo>
                                                                                                    <a:lnTo>
                                                                                                      <a:pt x="122" y="344"/>
                                                                                                    </a:lnTo>
                                                                                                    <a:lnTo>
                                                                                                      <a:pt x="124" y="350"/>
                                                                                                    </a:lnTo>
                                                                                                    <a:lnTo>
                                                                                                      <a:pt x="124" y="350"/>
                                                                                                    </a:lnTo>
                                                                                                    <a:lnTo>
                                                                                                      <a:pt x="122" y="350"/>
                                                                                                    </a:lnTo>
                                                                                                    <a:lnTo>
                                                                                                      <a:pt x="120" y="348"/>
                                                                                                    </a:lnTo>
                                                                                                    <a:lnTo>
                                                                                                      <a:pt x="118" y="348"/>
                                                                                                    </a:lnTo>
                                                                                                    <a:lnTo>
                                                                                                      <a:pt x="118" y="350"/>
                                                                                                    </a:lnTo>
                                                                                                    <a:lnTo>
                                                                                                      <a:pt x="118" y="350"/>
                                                                                                    </a:lnTo>
                                                                                                    <a:lnTo>
                                                                                                      <a:pt x="122" y="356"/>
                                                                                                    </a:lnTo>
                                                                                                    <a:lnTo>
                                                                                                      <a:pt x="128" y="360"/>
                                                                                                    </a:lnTo>
                                                                                                    <a:lnTo>
                                                                                                      <a:pt x="134" y="364"/>
                                                                                                    </a:lnTo>
                                                                                                    <a:lnTo>
                                                                                                      <a:pt x="138" y="372"/>
                                                                                                    </a:lnTo>
                                                                                                    <a:lnTo>
                                                                                                      <a:pt x="138" y="372"/>
                                                                                                    </a:lnTo>
                                                                                                    <a:lnTo>
                                                                                                      <a:pt x="144" y="376"/>
                                                                                                    </a:lnTo>
                                                                                                    <a:lnTo>
                                                                                                      <a:pt x="150" y="380"/>
                                                                                                    </a:lnTo>
                                                                                                    <a:lnTo>
                                                                                                      <a:pt x="156" y="386"/>
                                                                                                    </a:lnTo>
                                                                                                    <a:lnTo>
                                                                                                      <a:pt x="162" y="392"/>
                                                                                                    </a:lnTo>
                                                                                                    <a:lnTo>
                                                                                                      <a:pt x="162" y="392"/>
                                                                                                    </a:lnTo>
                                                                                                    <a:lnTo>
                                                                                                      <a:pt x="170" y="398"/>
                                                                                                    </a:lnTo>
                                                                                                    <a:lnTo>
                                                                                                      <a:pt x="178" y="400"/>
                                                                                                    </a:lnTo>
                                                                                                    <a:lnTo>
                                                                                                      <a:pt x="186" y="404"/>
                                                                                                    </a:lnTo>
                                                                                                    <a:lnTo>
                                                                                                      <a:pt x="196" y="410"/>
                                                                                                    </a:lnTo>
                                                                                                    <a:lnTo>
                                                                                                      <a:pt x="196" y="410"/>
                                                                                                    </a:lnTo>
                                                                                                    <a:lnTo>
                                                                                                      <a:pt x="220" y="422"/>
                                                                                                    </a:lnTo>
                                                                                                    <a:lnTo>
                                                                                                      <a:pt x="236" y="430"/>
                                                                                                    </a:lnTo>
                                                                                                    <a:lnTo>
                                                                                                      <a:pt x="242" y="436"/>
                                                                                                    </a:lnTo>
                                                                                                    <a:lnTo>
                                                                                                      <a:pt x="244" y="440"/>
                                                                                                    </a:lnTo>
                                                                                                    <a:lnTo>
                                                                                                      <a:pt x="244" y="440"/>
                                                                                                    </a:lnTo>
                                                                                                    <a:lnTo>
                                                                                                      <a:pt x="248" y="444"/>
                                                                                                    </a:lnTo>
                                                                                                    <a:lnTo>
                                                                                                      <a:pt x="252" y="448"/>
                                                                                                    </a:lnTo>
                                                                                                    <a:lnTo>
                                                                                                      <a:pt x="262" y="458"/>
                                                                                                    </a:lnTo>
                                                                                                    <a:lnTo>
                                                                                                      <a:pt x="262" y="458"/>
                                                                                                    </a:lnTo>
                                                                                                    <a:lnTo>
                                                                                                      <a:pt x="272" y="454"/>
                                                                                                    </a:lnTo>
                                                                                                    <a:lnTo>
                                                                                                      <a:pt x="274" y="452"/>
                                                                                                    </a:lnTo>
                                                                                                    <a:lnTo>
                                                                                                      <a:pt x="272" y="450"/>
                                                                                                    </a:lnTo>
                                                                                                    <a:lnTo>
                                                                                                      <a:pt x="272" y="448"/>
                                                                                                    </a:lnTo>
                                                                                                    <a:lnTo>
                                                                                                      <a:pt x="272" y="446"/>
                                                                                                    </a:lnTo>
                                                                                                    <a:lnTo>
                                                                                                      <a:pt x="276" y="446"/>
                                                                                                    </a:lnTo>
                                                                                                    <a:lnTo>
                                                                                                      <a:pt x="276" y="446"/>
                                                                                                    </a:lnTo>
                                                                                                    <a:lnTo>
                                                                                                      <a:pt x="278" y="438"/>
                                                                                                    </a:lnTo>
                                                                                                    <a:lnTo>
                                                                                                      <a:pt x="278" y="436"/>
                                                                                                    </a:lnTo>
                                                                                                    <a:lnTo>
                                                                                                      <a:pt x="276" y="434"/>
                                                                                                    </a:lnTo>
                                                                                                    <a:lnTo>
                                                                                                      <a:pt x="278" y="430"/>
                                                                                                    </a:lnTo>
                                                                                                    <a:lnTo>
                                                                                                      <a:pt x="278" y="430"/>
                                                                                                    </a:lnTo>
                                                                                                    <a:lnTo>
                                                                                                      <a:pt x="282" y="424"/>
                                                                                                    </a:lnTo>
                                                                                                    <a:lnTo>
                                                                                                      <a:pt x="282" y="422"/>
                                                                                                    </a:lnTo>
                                                                                                    <a:lnTo>
                                                                                                      <a:pt x="282" y="418"/>
                                                                                                    </a:lnTo>
                                                                                                    <a:lnTo>
                                                                                                      <a:pt x="286" y="412"/>
                                                                                                    </a:lnTo>
                                                                                                    <a:lnTo>
                                                                                                      <a:pt x="286" y="412"/>
                                                                                                    </a:lnTo>
                                                                                                    <a:lnTo>
                                                                                                      <a:pt x="288" y="406"/>
                                                                                                    </a:lnTo>
                                                                                                    <a:lnTo>
                                                                                                      <a:pt x="288" y="402"/>
                                                                                                    </a:lnTo>
                                                                                                    <a:lnTo>
                                                                                                      <a:pt x="286" y="396"/>
                                                                                                    </a:lnTo>
                                                                                                    <a:lnTo>
                                                                                                      <a:pt x="282" y="390"/>
                                                                                                    </a:lnTo>
                                                                                                    <a:lnTo>
                                                                                                      <a:pt x="282" y="388"/>
                                                                                                    </a:lnTo>
                                                                                                    <a:lnTo>
                                                                                                      <a:pt x="284" y="384"/>
                                                                                                    </a:lnTo>
                                                                                                    <a:lnTo>
                                                                                                      <a:pt x="284" y="384"/>
                                                                                                    </a:lnTo>
                                                                                                    <a:lnTo>
                                                                                                      <a:pt x="284" y="382"/>
                                                                                                    </a:lnTo>
                                                                                                    <a:lnTo>
                                                                                                      <a:pt x="284" y="380"/>
                                                                                                    </a:lnTo>
                                                                                                    <a:lnTo>
                                                                                                      <a:pt x="280" y="376"/>
                                                                                                    </a:lnTo>
                                                                                                    <a:lnTo>
                                                                                                      <a:pt x="278" y="374"/>
                                                                                                    </a:lnTo>
                                                                                                    <a:lnTo>
                                                                                                      <a:pt x="276" y="372"/>
                                                                                                    </a:lnTo>
                                                                                                    <a:lnTo>
                                                                                                      <a:pt x="276" y="368"/>
                                                                                                    </a:lnTo>
                                                                                                    <a:lnTo>
                                                                                                      <a:pt x="280" y="362"/>
                                                                                                    </a:lnTo>
                                                                                                    <a:lnTo>
                                                                                                      <a:pt x="280" y="362"/>
                                                                                                    </a:lnTo>
                                                                                                    <a:lnTo>
                                                                                                      <a:pt x="280" y="358"/>
                                                                                                    </a:lnTo>
                                                                                                    <a:lnTo>
                                                                                                      <a:pt x="280" y="354"/>
                                                                                                    </a:lnTo>
                                                                                                    <a:lnTo>
                                                                                                      <a:pt x="278" y="344"/>
                                                                                                    </a:lnTo>
                                                                                                    <a:lnTo>
                                                                                                      <a:pt x="276" y="334"/>
                                                                                                    </a:lnTo>
                                                                                                    <a:lnTo>
                                                                                                      <a:pt x="276" y="328"/>
                                                                                                    </a:lnTo>
                                                                                                    <a:lnTo>
                                                                                                      <a:pt x="278" y="324"/>
                                                                                                    </a:lnTo>
                                                                                                    <a:lnTo>
                                                                                                      <a:pt x="278" y="324"/>
                                                                                                    </a:lnTo>
                                                                                                    <a:lnTo>
                                                                                                      <a:pt x="280" y="318"/>
                                                                                                    </a:lnTo>
                                                                                                    <a:lnTo>
                                                                                                      <a:pt x="282" y="316"/>
                                                                                                    </a:lnTo>
                                                                                                    <a:lnTo>
                                                                                                      <a:pt x="278" y="306"/>
                                                                                                    </a:lnTo>
                                                                                                    <a:lnTo>
                                                                                                      <a:pt x="268" y="296"/>
                                                                                                    </a:lnTo>
                                                                                                    <a:lnTo>
                                                                                                      <a:pt x="256" y="278"/>
                                                                                                    </a:lnTo>
                                                                                                    <a:lnTo>
                                                                                                      <a:pt x="256" y="278"/>
                                                                                                    </a:lnTo>
                                                                                                    <a:lnTo>
                                                                                                      <a:pt x="250" y="280"/>
                                                                                                    </a:lnTo>
                                                                                                    <a:lnTo>
                                                                                                      <a:pt x="246" y="282"/>
                                                                                                    </a:lnTo>
                                                                                                    <a:lnTo>
                                                                                                      <a:pt x="244" y="280"/>
                                                                                                    </a:lnTo>
                                                                                                    <a:lnTo>
                                                                                                      <a:pt x="242" y="280"/>
                                                                                                    </a:lnTo>
                                                                                                    <a:lnTo>
                                                                                                      <a:pt x="240" y="272"/>
                                                                                                    </a:lnTo>
                                                                                                    <a:lnTo>
                                                                                                      <a:pt x="238" y="264"/>
                                                                                                    </a:lnTo>
                                                                                                    <a:lnTo>
                                                                                                      <a:pt x="238" y="264"/>
                                                                                                    </a:lnTo>
                                                                                                    <a:lnTo>
                                                                                                      <a:pt x="236" y="252"/>
                                                                                                    </a:lnTo>
                                                                                                    <a:lnTo>
                                                                                                      <a:pt x="236" y="248"/>
                                                                                                    </a:lnTo>
                                                                                                    <a:lnTo>
                                                                                                      <a:pt x="238" y="244"/>
                                                                                                    </a:lnTo>
                                                                                                    <a:lnTo>
                                                                                                      <a:pt x="238" y="244"/>
                                                                                                    </a:lnTo>
                                                                                                    <a:lnTo>
                                                                                                      <a:pt x="240" y="240"/>
                                                                                                    </a:lnTo>
                                                                                                    <a:lnTo>
                                                                                                      <a:pt x="238" y="238"/>
                                                                                                    </a:lnTo>
                                                                                                    <a:lnTo>
                                                                                                      <a:pt x="236" y="236"/>
                                                                                                    </a:lnTo>
                                                                                                    <a:lnTo>
                                                                                                      <a:pt x="234" y="238"/>
                                                                                                    </a:lnTo>
                                                                                                    <a:lnTo>
                                                                                                      <a:pt x="234" y="238"/>
                                                                                                    </a:lnTo>
                                                                                                    <a:lnTo>
                                                                                                      <a:pt x="222" y="248"/>
                                                                                                    </a:lnTo>
                                                                                                    <a:lnTo>
                                                                                                      <a:pt x="218" y="250"/>
                                                                                                    </a:lnTo>
                                                                                                    <a:lnTo>
                                                                                                      <a:pt x="208" y="250"/>
                                                                                                    </a:lnTo>
                                                                                                    <a:lnTo>
                                                                                                      <a:pt x="208" y="250"/>
                                                                                                    </a:lnTo>
                                                                                                    <a:lnTo>
                                                                                                      <a:pt x="202" y="250"/>
                                                                                                    </a:lnTo>
                                                                                                    <a:lnTo>
                                                                                                      <a:pt x="198" y="248"/>
                                                                                                    </a:lnTo>
                                                                                                    <a:lnTo>
                                                                                                      <a:pt x="196" y="248"/>
                                                                                                    </a:lnTo>
                                                                                                    <a:lnTo>
                                                                                                      <a:pt x="194" y="246"/>
                                                                                                    </a:lnTo>
                                                                                                    <a:lnTo>
                                                                                                      <a:pt x="194" y="242"/>
                                                                                                    </a:lnTo>
                                                                                                    <a:lnTo>
                                                                                                      <a:pt x="192" y="240"/>
                                                                                                    </a:lnTo>
                                                                                                    <a:lnTo>
                                                                                                      <a:pt x="190" y="240"/>
                                                                                                    </a:lnTo>
                                                                                                    <a:lnTo>
                                                                                                      <a:pt x="190" y="240"/>
                                                                                                    </a:lnTo>
                                                                                                    <a:lnTo>
                                                                                                      <a:pt x="184" y="240"/>
                                                                                                    </a:lnTo>
                                                                                                    <a:lnTo>
                                                                                                      <a:pt x="186" y="236"/>
                                                                                                    </a:lnTo>
                                                                                                    <a:lnTo>
                                                                                                      <a:pt x="188" y="232"/>
                                                                                                    </a:lnTo>
                                                                                                    <a:lnTo>
                                                                                                      <a:pt x="186" y="230"/>
                                                                                                    </a:lnTo>
                                                                                                    <a:lnTo>
                                                                                                      <a:pt x="184" y="226"/>
                                                                                                    </a:lnTo>
                                                                                                    <a:lnTo>
                                                                                                      <a:pt x="184" y="226"/>
                                                                                                    </a:lnTo>
                                                                                                    <a:lnTo>
                                                                                                      <a:pt x="180" y="220"/>
                                                                                                    </a:lnTo>
                                                                                                    <a:lnTo>
                                                                                                      <a:pt x="176" y="212"/>
                                                                                                    </a:lnTo>
                                                                                                    <a:lnTo>
                                                                                                      <a:pt x="174" y="204"/>
                                                                                                    </a:lnTo>
                                                                                                    <a:lnTo>
                                                                                                      <a:pt x="170" y="198"/>
                                                                                                    </a:lnTo>
                                                                                                    <a:lnTo>
                                                                                                      <a:pt x="170" y="198"/>
                                                                                                    </a:lnTo>
                                                                                                    <a:lnTo>
                                                                                                      <a:pt x="166" y="190"/>
                                                                                                    </a:lnTo>
                                                                                                    <a:lnTo>
                                                                                                      <a:pt x="166" y="188"/>
                                                                                                    </a:lnTo>
                                                                                                    <a:lnTo>
                                                                                                      <a:pt x="168" y="186"/>
                                                                                                    </a:lnTo>
                                                                                                    <a:lnTo>
                                                                                                      <a:pt x="168" y="186"/>
                                                                                                    </a:lnTo>
                                                                                                    <a:lnTo>
                                                                                                      <a:pt x="168" y="186"/>
                                                                                                    </a:lnTo>
                                                                                                    <a:lnTo>
                                                                                                      <a:pt x="166" y="182"/>
                                                                                                    </a:lnTo>
                                                                                                    <a:lnTo>
                                                                                                      <a:pt x="166" y="178"/>
                                                                                                    </a:lnTo>
                                                                                                    <a:lnTo>
                                                                                                      <a:pt x="168" y="174"/>
                                                                                                    </a:lnTo>
                                                                                                    <a:lnTo>
                                                                                                      <a:pt x="170" y="172"/>
                                                                                                    </a:lnTo>
                                                                                                    <a:lnTo>
                                                                                                      <a:pt x="176" y="166"/>
                                                                                                    </a:lnTo>
                                                                                                    <a:lnTo>
                                                                                                      <a:pt x="178" y="164"/>
                                                                                                    </a:lnTo>
                                                                                                    <a:lnTo>
                                                                                                      <a:pt x="180" y="158"/>
                                                                                                    </a:lnTo>
                                                                                                    <a:lnTo>
                                                                                                      <a:pt x="180" y="158"/>
                                                                                                    </a:lnTo>
                                                                                                    <a:lnTo>
                                                                                                      <a:pt x="182" y="150"/>
                                                                                                    </a:lnTo>
                                                                                                    <a:lnTo>
                                                                                                      <a:pt x="184" y="144"/>
                                                                                                    </a:lnTo>
                                                                                                    <a:lnTo>
                                                                                                      <a:pt x="186" y="140"/>
                                                                                                    </a:lnTo>
                                                                                                    <a:lnTo>
                                                                                                      <a:pt x="188" y="136"/>
                                                                                                    </a:lnTo>
                                                                                                    <a:lnTo>
                                                                                                      <a:pt x="188" y="136"/>
                                                                                                    </a:lnTo>
                                                                                                    <a:lnTo>
                                                                                                      <a:pt x="190" y="132"/>
                                                                                                    </a:lnTo>
                                                                                                    <a:lnTo>
                                                                                                      <a:pt x="194" y="128"/>
                                                                                                    </a:lnTo>
                                                                                                    <a:lnTo>
                                                                                                      <a:pt x="198" y="124"/>
                                                                                                    </a:lnTo>
                                                                                                    <a:lnTo>
                                                                                                      <a:pt x="204" y="120"/>
                                                                                                    </a:lnTo>
                                                                                                    <a:lnTo>
                                                                                                      <a:pt x="204" y="120"/>
                                                                                                    </a:lnTo>
                                                                                                    <a:lnTo>
                                                                                                      <a:pt x="212" y="112"/>
                                                                                                    </a:lnTo>
                                                                                                    <a:lnTo>
                                                                                                      <a:pt x="218" y="108"/>
                                                                                                    </a:lnTo>
                                                                                                    <a:lnTo>
                                                                                                      <a:pt x="224" y="108"/>
                                                                                                    </a:lnTo>
                                                                                                    <a:lnTo>
                                                                                                      <a:pt x="226" y="104"/>
                                                                                                    </a:lnTo>
                                                                                                    <a:lnTo>
                                                                                                      <a:pt x="226" y="104"/>
                                                                                                    </a:lnTo>
                                                                                                    <a:lnTo>
                                                                                                      <a:pt x="230" y="102"/>
                                                                                                    </a:lnTo>
                                                                                                    <a:lnTo>
                                                                                                      <a:pt x="232" y="102"/>
                                                                                                    </a:lnTo>
                                                                                                    <a:lnTo>
                                                                                                      <a:pt x="234" y="102"/>
                                                                                                    </a:lnTo>
                                                                                                    <a:lnTo>
                                                                                                      <a:pt x="238" y="98"/>
                                                                                                    </a:lnTo>
                                                                                                    <a:lnTo>
                                                                                                      <a:pt x="238" y="98"/>
                                                                                                    </a:lnTo>
                                                                                                    <a:lnTo>
                                                                                                      <a:pt x="228" y="92"/>
                                                                                                    </a:lnTo>
                                                                                                    <a:lnTo>
                                                                                                      <a:pt x="226" y="88"/>
                                                                                                    </a:lnTo>
                                                                                                    <a:lnTo>
                                                                                                      <a:pt x="228" y="84"/>
                                                                                                    </a:lnTo>
                                                                                                    <a:lnTo>
                                                                                                      <a:pt x="232" y="74"/>
                                                                                                    </a:lnTo>
                                                                                                    <a:lnTo>
                                                                                                      <a:pt x="232" y="74"/>
                                                                                                    </a:lnTo>
                                                                                                    <a:lnTo>
                                                                                                      <a:pt x="236" y="70"/>
                                                                                                    </a:lnTo>
                                                                                                    <a:lnTo>
                                                                                                      <a:pt x="236" y="64"/>
                                                                                                    </a:lnTo>
                                                                                                    <a:lnTo>
                                                                                                      <a:pt x="236" y="60"/>
                                                                                                    </a:lnTo>
                                                                                                    <a:lnTo>
                                                                                                      <a:pt x="234" y="58"/>
                                                                                                    </a:lnTo>
                                                                                                    <a:lnTo>
                                                                                                      <a:pt x="230" y="56"/>
                                                                                                    </a:lnTo>
                                                                                                    <a:lnTo>
                                                                                                      <a:pt x="228" y="56"/>
                                                                                                    </a:lnTo>
                                                                                                    <a:lnTo>
                                                                                                      <a:pt x="222" y="58"/>
                                                                                                    </a:lnTo>
                                                                                                    <a:lnTo>
                                                                                                      <a:pt x="222" y="58"/>
                                                                                                    </a:lnTo>
                                                                                                    <a:lnTo>
                                                                                                      <a:pt x="218" y="60"/>
                                                                                                    </a:lnTo>
                                                                                                    <a:lnTo>
                                                                                                      <a:pt x="216" y="58"/>
                                                                                                    </a:lnTo>
                                                                                                    <a:lnTo>
                                                                                                      <a:pt x="210" y="56"/>
                                                                                                    </a:lnTo>
                                                                                                    <a:lnTo>
                                                                                                      <a:pt x="204" y="54"/>
                                                                                                    </a:lnTo>
                                                                                                    <a:lnTo>
                                                                                                      <a:pt x="202" y="56"/>
                                                                                                    </a:lnTo>
                                                                                                    <a:lnTo>
                                                                                                      <a:pt x="196" y="58"/>
                                                                                                    </a:lnTo>
                                                                                                    <a:lnTo>
                                                                                                      <a:pt x="196" y="58"/>
                                                                                                    </a:lnTo>
                                                                                                    <a:lnTo>
                                                                                                      <a:pt x="188" y="60"/>
                                                                                                    </a:lnTo>
                                                                                                    <a:lnTo>
                                                                                                      <a:pt x="184" y="60"/>
                                                                                                    </a:lnTo>
                                                                                                    <a:lnTo>
                                                                                                      <a:pt x="178" y="58"/>
                                                                                                    </a:lnTo>
                                                                                                    <a:lnTo>
                                                                                                      <a:pt x="174" y="58"/>
                                                                                                    </a:lnTo>
                                                                                                    <a:lnTo>
                                                                                                      <a:pt x="174" y="58"/>
                                                                                                    </a:lnTo>
                                                                                                    <a:lnTo>
                                                                                                      <a:pt x="170" y="46"/>
                                                                                                    </a:lnTo>
                                                                                                    <a:lnTo>
                                                                                                      <a:pt x="168" y="40"/>
                                                                                                    </a:lnTo>
                                                                                                    <a:lnTo>
                                                                                                      <a:pt x="164" y="38"/>
                                                                                                    </a:lnTo>
                                                                                                    <a:lnTo>
                                                                                                      <a:pt x="162" y="34"/>
                                                                                                    </a:lnTo>
                                                                                                    <a:lnTo>
                                                                                                      <a:pt x="162" y="34"/>
                                                                                                    </a:lnTo>
                                                                                                    <a:lnTo>
                                                                                                      <a:pt x="160" y="30"/>
                                                                                                    </a:lnTo>
                                                                                                    <a:lnTo>
                                                                                                      <a:pt x="160" y="28"/>
                                                                                                    </a:lnTo>
                                                                                                    <a:lnTo>
                                                                                                      <a:pt x="154" y="26"/>
                                                                                                    </a:lnTo>
                                                                                                    <a:lnTo>
                                                                                                      <a:pt x="150" y="24"/>
                                                                                                    </a:lnTo>
                                                                                                    <a:lnTo>
                                                                                                      <a:pt x="148" y="20"/>
                                                                                                    </a:lnTo>
                                                                                                    <a:lnTo>
                                                                                                      <a:pt x="146" y="16"/>
                                                                                                    </a:lnTo>
                                                                                                    <a:lnTo>
                                                                                                      <a:pt x="146" y="16"/>
                                                                                                    </a:lnTo>
                                                                                                    <a:lnTo>
                                                                                                      <a:pt x="144" y="8"/>
                                                                                                    </a:lnTo>
                                                                                                    <a:lnTo>
                                                                                                      <a:pt x="138" y="2"/>
                                                                                                    </a:lnTo>
                                                                                                    <a:lnTo>
                                                                                                      <a:pt x="132" y="0"/>
                                                                                                    </a:lnTo>
                                                                                                    <a:lnTo>
                                                                                                      <a:pt x="126" y="0"/>
                                                                                                    </a:lnTo>
                                                                                                    <a:lnTo>
                                                                                                      <a:pt x="126" y="0"/>
                                                                                                    </a:lnTo>
                                                                                                    <a:lnTo>
                                                                                                      <a:pt x="128" y="16"/>
                                                                                                    </a:lnTo>
                                                                                                    <a:lnTo>
                                                                                                      <a:pt x="128" y="24"/>
                                                                                                    </a:lnTo>
                                                                                                    <a:lnTo>
                                                                                                      <a:pt x="122" y="32"/>
                                                                                                    </a:lnTo>
                                                                                                    <a:lnTo>
                                                                                                      <a:pt x="122" y="32"/>
                                                                                                    </a:lnTo>
                                                                                                    <a:lnTo>
                                                                                                      <a:pt x="114" y="42"/>
                                                                                                    </a:lnTo>
                                                                                                    <a:lnTo>
                                                                                                      <a:pt x="108" y="52"/>
                                                                                                    </a:lnTo>
                                                                                                    <a:lnTo>
                                                                                                      <a:pt x="98" y="60"/>
                                                                                                    </a:lnTo>
                                                                                                    <a:lnTo>
                                                                                                      <a:pt x="84" y="68"/>
                                                                                                    </a:lnTo>
                                                                                                    <a:lnTo>
                                                                                                      <a:pt x="84" y="68"/>
                                                                                                    </a:lnTo>
                                                                                                    <a:lnTo>
                                                                                                      <a:pt x="74" y="72"/>
                                                                                                    </a:lnTo>
                                                                                                    <a:lnTo>
                                                                                                      <a:pt x="72" y="74"/>
                                                                                                    </a:lnTo>
                                                                                                    <a:lnTo>
                                                                                                      <a:pt x="70" y="76"/>
                                                                                                    </a:lnTo>
                                                                                                    <a:lnTo>
                                                                                                      <a:pt x="66" y="80"/>
                                                                                                    </a:lnTo>
                                                                                                    <a:lnTo>
                                                                                                      <a:pt x="66" y="80"/>
                                                                                                    </a:lnTo>
                                                                                                    <a:lnTo>
                                                                                                      <a:pt x="60" y="84"/>
                                                                                                    </a:lnTo>
                                                                                                    <a:lnTo>
                                                                                                      <a:pt x="60" y="88"/>
                                                                                                    </a:lnTo>
                                                                                                    <a:lnTo>
                                                                                                      <a:pt x="60" y="92"/>
                                                                                                    </a:lnTo>
                                                                                                    <a:lnTo>
                                                                                                      <a:pt x="58" y="96"/>
                                                                                                    </a:lnTo>
                                                                                                    <a:lnTo>
                                                                                                      <a:pt x="54" y="100"/>
                                                                                                    </a:lnTo>
                                                                                                    <a:lnTo>
                                                                                                      <a:pt x="54" y="100"/>
                                                                                                    </a:lnTo>
                                                                                                    <a:lnTo>
                                                                                                      <a:pt x="50" y="104"/>
                                                                                                    </a:lnTo>
                                                                                                    <a:lnTo>
                                                                                                      <a:pt x="46" y="106"/>
                                                                                                    </a:lnTo>
                                                                                                    <a:lnTo>
                                                                                                      <a:pt x="42" y="104"/>
                                                                                                    </a:lnTo>
                                                                                                    <a:lnTo>
                                                                                                      <a:pt x="38" y="102"/>
                                                                                                    </a:lnTo>
                                                                                                    <a:lnTo>
                                                                                                      <a:pt x="32" y="98"/>
                                                                                                    </a:lnTo>
                                                                                                    <a:lnTo>
                                                                                                      <a:pt x="30" y="98"/>
                                                                                                    </a:lnTo>
                                                                                                    <a:lnTo>
                                                                                                      <a:pt x="28" y="98"/>
                                                                                                    </a:lnTo>
                                                                                                    <a:lnTo>
                                                                                                      <a:pt x="28" y="98"/>
                                                                                                    </a:lnTo>
                                                                                                    <a:lnTo>
                                                                                                      <a:pt x="20" y="100"/>
                                                                                                    </a:lnTo>
                                                                                                    <a:lnTo>
                                                                                                      <a:pt x="18" y="98"/>
                                                                                                    </a:lnTo>
                                                                                                    <a:lnTo>
                                                                                                      <a:pt x="16" y="94"/>
                                                                                                    </a:lnTo>
                                                                                                    <a:lnTo>
                                                                                                      <a:pt x="18" y="86"/>
                                                                                                    </a:lnTo>
                                                                                                    <a:lnTo>
                                                                                                      <a:pt x="18" y="86"/>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34" name="Red Block"/>
                                                                                            <p:cNvSpPr/>
                                                                                            <p:nvPr/>
                                                                                          </p:nvSpPr>
                                                                                          <p:spPr>
                                                                                            <a:xfrm>
                                                                                              <a:off x="6305802" y="5910674"/>
                                                                                              <a:ext cx="2665659" cy="683122"/>
                                                                                            </a:xfrm>
                                                                                            <a:prstGeom prst="rect">
                                                                                              <a:avLst/>
                                                                                            </a:prstGeom>
                                                                                            <a:solidFill>
                                                                                              <a:schemeClr val="accent3"/>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nchorCtr="0"/>
                                                                                            <a:lstStyle/>
                                                                                            <a:p>
                                                                                              <a:pPr algn="ctr"/>
                                                                                              <a:r>
                                                                                                <a:rPr lang="en-US" sz="1500" b="1" dirty="0">
                                                                                                  <a:solidFill>
                                                                                                    <a:schemeClr val="tx1"/>
                                                                                                  </a:solidFill>
                                                                                                </a:rPr>
                                                                                                <a:t>180+ Countries</a:t>
                                                                                              </a:r>
                                                                                            </a:p>
                                                                                            <a:p>
                                                                                              <a:pPr algn="ctr"/>
                                                                                              <a:r>
                                                                                                <a:rPr lang="en-US" sz="1100" dirty="0">
                                                                                                  <a:solidFill>
                                                                                                    <a:schemeClr val="tx1"/>
                                                                                                  </a:solidFill>
                                                                                                </a:rPr>
                                                                                                <a:t>Windows Phone 8.0</a:t>
                                                                                              </a:r>
                                                                                              <a:endParaRPr lang="en-US" sz="1100" dirty="0">
                                                                                                <a:solidFill>
                                                                                                  <a:schemeClr val="tx1"/>
                                                                                                </a:solidFill>
                                                                                              </a:endParaRPr>
                                                                                            </a:p>
                                                                                          </p:txBody>
                                                                                        </p:sp>
                                                                                      </p:grpSp>
                                                                                      <p:sp>
                                                                                        <p:nvSpPr>
                                                                                          <p:cNvPr id="405" name="Venezuela"/>
                                                                                          <p:cNvSpPr>
                                                                                            <a:spLocks/>
                                                                                          </p:cNvSpPr>
                                                                                          <p:nvPr/>
                                                                                        </p:nvSpPr>
                                                                                        <p:spPr bwMode="auto">
                                                                                          <a:xfrm>
                                                                                            <a:off x="3433328" y="3214893"/>
                                                                                            <a:ext cx="431345" cy="452190"/>
                                                                                          </a:xfrm>
                                                                                          <a:custGeom>
                                                                                            <a:avLst/>
                                                                                            <a:gdLst/>
                                                                                            <a:ahLst/>
                                                                                            <a:cxnLst>
                                                                                              <a:cxn ang="0">
                                                                                                <a:pos x="266" y="94"/>
                                                                                              </a:cxn>
                                                                                              <a:cxn ang="0">
                                                                                                <a:pos x="270" y="84"/>
                                                                                              </a:cxn>
                                                                                              <a:cxn ang="0">
                                                                                                <a:pos x="266" y="80"/>
                                                                                              </a:cxn>
                                                                                              <a:cxn ang="0">
                                                                                                <a:pos x="262" y="70"/>
                                                                                              </a:cxn>
                                                                                              <a:cxn ang="0">
                                                                                                <a:pos x="236" y="56"/>
                                                                                              </a:cxn>
                                                                                              <a:cxn ang="0">
                                                                                                <a:pos x="226" y="40"/>
                                                                                              </a:cxn>
                                                                                              <a:cxn ang="0">
                                                                                                <a:pos x="242" y="36"/>
                                                                                              </a:cxn>
                                                                                              <a:cxn ang="0">
                                                                                                <a:pos x="226" y="32"/>
                                                                                              </a:cxn>
                                                                                              <a:cxn ang="0">
                                                                                                <a:pos x="202" y="34"/>
                                                                                              </a:cxn>
                                                                                              <a:cxn ang="0">
                                                                                                <a:pos x="204" y="42"/>
                                                                                              </a:cxn>
                                                                                              <a:cxn ang="0">
                                                                                                <a:pos x="166" y="44"/>
                                                                                              </a:cxn>
                                                                                              <a:cxn ang="0">
                                                                                                <a:pos x="148" y="36"/>
                                                                                              </a:cxn>
                                                                                              <a:cxn ang="0">
                                                                                                <a:pos x="116" y="30"/>
                                                                                              </a:cxn>
                                                                                              <a:cxn ang="0">
                                                                                                <a:pos x="106" y="18"/>
                                                                                              </a:cxn>
                                                                                              <a:cxn ang="0">
                                                                                                <a:pos x="86" y="12"/>
                                                                                              </a:cxn>
                                                                                              <a:cxn ang="0">
                                                                                                <a:pos x="74" y="6"/>
                                                                                              </a:cxn>
                                                                                              <a:cxn ang="0">
                                                                                                <a:pos x="84" y="12"/>
                                                                                              </a:cxn>
                                                                                              <a:cxn ang="0">
                                                                                                <a:pos x="78" y="16"/>
                                                                                              </a:cxn>
                                                                                              <a:cxn ang="0">
                                                                                                <a:pos x="54" y="32"/>
                                                                                              </a:cxn>
                                                                                              <a:cxn ang="0">
                                                                                                <a:pos x="48" y="46"/>
                                                                                              </a:cxn>
                                                                                              <a:cxn ang="0">
                                                                                                <a:pos x="54" y="54"/>
                                                                                              </a:cxn>
                                                                                              <a:cxn ang="0">
                                                                                                <a:pos x="42" y="76"/>
                                                                                              </a:cxn>
                                                                                              <a:cxn ang="0">
                                                                                                <a:pos x="30" y="64"/>
                                                                                              </a:cxn>
                                                                                              <a:cxn ang="0">
                                                                                                <a:pos x="40" y="50"/>
                                                                                              </a:cxn>
                                                                                              <a:cxn ang="0">
                                                                                                <a:pos x="46" y="38"/>
                                                                                              </a:cxn>
                                                                                              <a:cxn ang="0">
                                                                                                <a:pos x="40" y="18"/>
                                                                                              </a:cxn>
                                                                                              <a:cxn ang="0">
                                                                                                <a:pos x="48" y="10"/>
                                                                                              </a:cxn>
                                                                                              <a:cxn ang="0">
                                                                                                <a:pos x="14" y="46"/>
                                                                                              </a:cxn>
                                                                                              <a:cxn ang="0">
                                                                                                <a:pos x="2" y="74"/>
                                                                                              </a:cxn>
                                                                                              <a:cxn ang="0">
                                                                                                <a:pos x="6" y="82"/>
                                                                                              </a:cxn>
                                                                                              <a:cxn ang="0">
                                                                                                <a:pos x="12" y="90"/>
                                                                                              </a:cxn>
                                                                                              <a:cxn ang="0">
                                                                                                <a:pos x="16" y="124"/>
                                                                                              </a:cxn>
                                                                                              <a:cxn ang="0">
                                                                                                <a:pos x="42" y="140"/>
                                                                                              </a:cxn>
                                                                                              <a:cxn ang="0">
                                                                                                <a:pos x="68" y="144"/>
                                                                                              </a:cxn>
                                                                                              <a:cxn ang="0">
                                                                                                <a:pos x="100" y="160"/>
                                                                                              </a:cxn>
                                                                                              <a:cxn ang="0">
                                                                                                <a:pos x="116" y="162"/>
                                                                                              </a:cxn>
                                                                                              <a:cxn ang="0">
                                                                                                <a:pos x="112" y="174"/>
                                                                                              </a:cxn>
                                                                                              <a:cxn ang="0">
                                                                                                <a:pos x="108" y="196"/>
                                                                                              </a:cxn>
                                                                                              <a:cxn ang="0">
                                                                                                <a:pos x="120" y="220"/>
                                                                                              </a:cxn>
                                                                                              <a:cxn ang="0">
                                                                                                <a:pos x="118" y="246"/>
                                                                                              </a:cxn>
                                                                                              <a:cxn ang="0">
                                                                                                <a:pos x="132" y="290"/>
                                                                                              </a:cxn>
                                                                                              <a:cxn ang="0">
                                                                                                <a:pos x="152" y="298"/>
                                                                                              </a:cxn>
                                                                                              <a:cxn ang="0">
                                                                                                <a:pos x="170" y="292"/>
                                                                                              </a:cxn>
                                                                                              <a:cxn ang="0">
                                                                                                <a:pos x="186" y="280"/>
                                                                                              </a:cxn>
                                                                                              <a:cxn ang="0">
                                                                                                <a:pos x="194" y="266"/>
                                                                                              </a:cxn>
                                                                                              <a:cxn ang="0">
                                                                                                <a:pos x="202" y="252"/>
                                                                                              </a:cxn>
                                                                                              <a:cxn ang="0">
                                                                                                <a:pos x="190" y="228"/>
                                                                                              </a:cxn>
                                                                                              <a:cxn ang="0">
                                                                                                <a:pos x="180" y="208"/>
                                                                                              </a:cxn>
                                                                                              <a:cxn ang="0">
                                                                                                <a:pos x="208" y="212"/>
                                                                                              </a:cxn>
                                                                                              <a:cxn ang="0">
                                                                                                <a:pos x="232" y="212"/>
                                                                                              </a:cxn>
                                                                                              <a:cxn ang="0">
                                                                                                <a:pos x="236" y="208"/>
                                                                                              </a:cxn>
                                                                                              <a:cxn ang="0">
                                                                                                <a:pos x="260" y="194"/>
                                                                                              </a:cxn>
                                                                                              <a:cxn ang="0">
                                                                                                <a:pos x="256" y="162"/>
                                                                                              </a:cxn>
                                                                                              <a:cxn ang="0">
                                                                                                <a:pos x="260" y="144"/>
                                                                                              </a:cxn>
                                                                                              <a:cxn ang="0">
                                                                                                <a:pos x="274" y="130"/>
                                                                                              </a:cxn>
                                                                                              <a:cxn ang="0">
                                                                                                <a:pos x="264" y="124"/>
                                                                                              </a:cxn>
                                                                                              <a:cxn ang="0">
                                                                                                <a:pos x="268" y="112"/>
                                                                                              </a:cxn>
                                                                                              <a:cxn ang="0">
                                                                                                <a:pos x="284" y="106"/>
                                                                                              </a:cxn>
                                                                                            </a:cxnLst>
                                                                                            <a:rect l="0" t="0" r="r" b="b"/>
                                                                                            <a:pathLst>
                                                                                              <a:path w="284" h="298">
                                                                                                <a:moveTo>
                                                                                                  <a:pt x="284" y="100"/>
                                                                                                </a:moveTo>
                                                                                                <a:lnTo>
                                                                                                  <a:pt x="284" y="100"/>
                                                                                                </a:lnTo>
                                                                                                <a:lnTo>
                                                                                                  <a:pt x="278" y="92"/>
                                                                                                </a:lnTo>
                                                                                                <a:lnTo>
                                                                                                  <a:pt x="274" y="92"/>
                                                                                                </a:lnTo>
                                                                                                <a:lnTo>
                                                                                                  <a:pt x="270" y="94"/>
                                                                                                </a:lnTo>
                                                                                                <a:lnTo>
                                                                                                  <a:pt x="266" y="94"/>
                                                                                                </a:lnTo>
                                                                                                <a:lnTo>
                                                                                                  <a:pt x="260" y="92"/>
                                                                                                </a:lnTo>
                                                                                                <a:lnTo>
                                                                                                  <a:pt x="260" y="92"/>
                                                                                                </a:lnTo>
                                                                                                <a:lnTo>
                                                                                                  <a:pt x="268" y="92"/>
                                                                                                </a:lnTo>
                                                                                                <a:lnTo>
                                                                                                  <a:pt x="270" y="90"/>
                                                                                                </a:lnTo>
                                                                                                <a:lnTo>
                                                                                                  <a:pt x="272" y="88"/>
                                                                                                </a:lnTo>
                                                                                                <a:lnTo>
                                                                                                  <a:pt x="270" y="84"/>
                                                                                                </a:lnTo>
                                                                                                <a:lnTo>
                                                                                                  <a:pt x="270" y="84"/>
                                                                                                </a:lnTo>
                                                                                                <a:lnTo>
                                                                                                  <a:pt x="270" y="82"/>
                                                                                                </a:lnTo>
                                                                                                <a:lnTo>
                                                                                                  <a:pt x="268" y="82"/>
                                                                                                </a:lnTo>
                                                                                                <a:lnTo>
                                                                                                  <a:pt x="266" y="82"/>
                                                                                                </a:lnTo>
                                                                                                <a:lnTo>
                                                                                                  <a:pt x="266" y="80"/>
                                                                                                </a:lnTo>
                                                                                                <a:lnTo>
                                                                                                  <a:pt x="266" y="80"/>
                                                                                                </a:lnTo>
                                                                                                <a:lnTo>
                                                                                                  <a:pt x="268" y="80"/>
                                                                                                </a:lnTo>
                                                                                                <a:lnTo>
                                                                                                  <a:pt x="266" y="78"/>
                                                                                                </a:lnTo>
                                                                                                <a:lnTo>
                                                                                                  <a:pt x="264" y="78"/>
                                                                                                </a:lnTo>
                                                                                                <a:lnTo>
                                                                                                  <a:pt x="264" y="76"/>
                                                                                                </a:lnTo>
                                                                                                <a:lnTo>
                                                                                                  <a:pt x="264" y="76"/>
                                                                                                </a:lnTo>
                                                                                                <a:lnTo>
                                                                                                  <a:pt x="262" y="70"/>
                                                                                                </a:lnTo>
                                                                                                <a:lnTo>
                                                                                                  <a:pt x="258" y="66"/>
                                                                                                </a:lnTo>
                                                                                                <a:lnTo>
                                                                                                  <a:pt x="250" y="60"/>
                                                                                                </a:lnTo>
                                                                                                <a:lnTo>
                                                                                                  <a:pt x="250" y="60"/>
                                                                                                </a:lnTo>
                                                                                                <a:lnTo>
                                                                                                  <a:pt x="244" y="54"/>
                                                                                                </a:lnTo>
                                                                                                <a:lnTo>
                                                                                                  <a:pt x="240" y="54"/>
                                                                                                </a:lnTo>
                                                                                                <a:lnTo>
                                                                                                  <a:pt x="236" y="56"/>
                                                                                                </a:lnTo>
                                                                                                <a:lnTo>
                                                                                                  <a:pt x="236" y="56"/>
                                                                                                </a:lnTo>
                                                                                                <a:lnTo>
                                                                                                  <a:pt x="232" y="48"/>
                                                                                                </a:lnTo>
                                                                                                <a:lnTo>
                                                                                                  <a:pt x="230" y="42"/>
                                                                                                </a:lnTo>
                                                                                                <a:lnTo>
                                                                                                  <a:pt x="228" y="40"/>
                                                                                                </a:lnTo>
                                                                                                <a:lnTo>
                                                                                                  <a:pt x="226" y="40"/>
                                                                                                </a:lnTo>
                                                                                                <a:lnTo>
                                                                                                  <a:pt x="226" y="40"/>
                                                                                                </a:lnTo>
                                                                                                <a:lnTo>
                                                                                                  <a:pt x="222" y="40"/>
                                                                                                </a:lnTo>
                                                                                                <a:lnTo>
                                                                                                  <a:pt x="220" y="40"/>
                                                                                                </a:lnTo>
                                                                                                <a:lnTo>
                                                                                                  <a:pt x="222" y="38"/>
                                                                                                </a:lnTo>
                                                                                                <a:lnTo>
                                                                                                  <a:pt x="228" y="38"/>
                                                                                                </a:lnTo>
                                                                                                <a:lnTo>
                                                                                                  <a:pt x="228" y="38"/>
                                                                                                </a:lnTo>
                                                                                                <a:lnTo>
                                                                                                  <a:pt x="242" y="36"/>
                                                                                                </a:lnTo>
                                                                                                <a:lnTo>
                                                                                                  <a:pt x="246" y="36"/>
                                                                                                </a:lnTo>
                                                                                                <a:lnTo>
                                                                                                  <a:pt x="248" y="34"/>
                                                                                                </a:lnTo>
                                                                                                <a:lnTo>
                                                                                                  <a:pt x="248" y="34"/>
                                                                                                </a:lnTo>
                                                                                                <a:lnTo>
                                                                                                  <a:pt x="232" y="34"/>
                                                                                                </a:lnTo>
                                                                                                <a:lnTo>
                                                                                                  <a:pt x="232" y="34"/>
                                                                                                </a:lnTo>
                                                                                                <a:lnTo>
                                                                                                  <a:pt x="226" y="32"/>
                                                                                                </a:lnTo>
                                                                                                <a:lnTo>
                                                                                                  <a:pt x="224" y="34"/>
                                                                                                </a:lnTo>
                                                                                                <a:lnTo>
                                                                                                  <a:pt x="220" y="34"/>
                                                                                                </a:lnTo>
                                                                                                <a:lnTo>
                                                                                                  <a:pt x="214" y="34"/>
                                                                                                </a:lnTo>
                                                                                                <a:lnTo>
                                                                                                  <a:pt x="214" y="34"/>
                                                                                                </a:lnTo>
                                                                                                <a:lnTo>
                                                                                                  <a:pt x="206" y="32"/>
                                                                                                </a:lnTo>
                                                                                                <a:lnTo>
                                                                                                  <a:pt x="202" y="34"/>
                                                                                                </a:lnTo>
                                                                                                <a:lnTo>
                                                                                                  <a:pt x="202" y="34"/>
                                                                                                </a:lnTo>
                                                                                                <a:lnTo>
                                                                                                  <a:pt x="204" y="34"/>
                                                                                                </a:lnTo>
                                                                                                <a:lnTo>
                                                                                                  <a:pt x="212" y="36"/>
                                                                                                </a:lnTo>
                                                                                                <a:lnTo>
                                                                                                  <a:pt x="212" y="36"/>
                                                                                                </a:lnTo>
                                                                                                <a:lnTo>
                                                                                                  <a:pt x="206" y="38"/>
                                                                                                </a:lnTo>
                                                                                                <a:lnTo>
                                                                                                  <a:pt x="204" y="42"/>
                                                                                                </a:lnTo>
                                                                                                <a:lnTo>
                                                                                                  <a:pt x="202" y="44"/>
                                                                                                </a:lnTo>
                                                                                                <a:lnTo>
                                                                                                  <a:pt x="192" y="46"/>
                                                                                                </a:lnTo>
                                                                                                <a:lnTo>
                                                                                                  <a:pt x="192" y="46"/>
                                                                                                </a:lnTo>
                                                                                                <a:lnTo>
                                                                                                  <a:pt x="178" y="48"/>
                                                                                                </a:lnTo>
                                                                                                <a:lnTo>
                                                                                                  <a:pt x="170" y="46"/>
                                                                                                </a:lnTo>
                                                                                                <a:lnTo>
                                                                                                  <a:pt x="166" y="44"/>
                                                                                                </a:lnTo>
                                                                                                <a:lnTo>
                                                                                                  <a:pt x="166" y="40"/>
                                                                                                </a:lnTo>
                                                                                                <a:lnTo>
                                                                                                  <a:pt x="166" y="40"/>
                                                                                                </a:lnTo>
                                                                                                <a:lnTo>
                                                                                                  <a:pt x="166" y="40"/>
                                                                                                </a:lnTo>
                                                                                                <a:lnTo>
                                                                                                  <a:pt x="166" y="38"/>
                                                                                                </a:lnTo>
                                                                                                <a:lnTo>
                                                                                                  <a:pt x="160" y="36"/>
                                                                                                </a:lnTo>
                                                                                                <a:lnTo>
                                                                                                  <a:pt x="148" y="36"/>
                                                                                                </a:lnTo>
                                                                                                <a:lnTo>
                                                                                                  <a:pt x="136" y="36"/>
                                                                                                </a:lnTo>
                                                                                                <a:lnTo>
                                                                                                  <a:pt x="136" y="36"/>
                                                                                                </a:lnTo>
                                                                                                <a:lnTo>
                                                                                                  <a:pt x="124" y="38"/>
                                                                                                </a:lnTo>
                                                                                                <a:lnTo>
                                                                                                  <a:pt x="116" y="36"/>
                                                                                                </a:lnTo>
                                                                                                <a:lnTo>
                                                                                                  <a:pt x="114" y="32"/>
                                                                                                </a:lnTo>
                                                                                                <a:lnTo>
                                                                                                  <a:pt x="116" y="30"/>
                                                                                                </a:lnTo>
                                                                                                <a:lnTo>
                                                                                                  <a:pt x="116" y="30"/>
                                                                                                </a:lnTo>
                                                                                                <a:lnTo>
                                                                                                  <a:pt x="118" y="28"/>
                                                                                                </a:lnTo>
                                                                                                <a:lnTo>
                                                                                                  <a:pt x="116" y="24"/>
                                                                                                </a:lnTo>
                                                                                                <a:lnTo>
                                                                                                  <a:pt x="108" y="18"/>
                                                                                                </a:lnTo>
                                                                                                <a:lnTo>
                                                                                                  <a:pt x="108" y="18"/>
                                                                                                </a:lnTo>
                                                                                                <a:lnTo>
                                                                                                  <a:pt x="106" y="18"/>
                                                                                                </a:lnTo>
                                                                                                <a:lnTo>
                                                                                                  <a:pt x="104" y="18"/>
                                                                                                </a:lnTo>
                                                                                                <a:lnTo>
                                                                                                  <a:pt x="102" y="18"/>
                                                                                                </a:lnTo>
                                                                                                <a:lnTo>
                                                                                                  <a:pt x="98" y="16"/>
                                                                                                </a:lnTo>
                                                                                                <a:lnTo>
                                                                                                  <a:pt x="98" y="16"/>
                                                                                                </a:lnTo>
                                                                                                <a:lnTo>
                                                                                                  <a:pt x="88" y="14"/>
                                                                                                </a:lnTo>
                                                                                                <a:lnTo>
                                                                                                  <a:pt x="86" y="12"/>
                                                                                                </a:lnTo>
                                                                                                <a:lnTo>
                                                                                                  <a:pt x="86" y="8"/>
                                                                                                </a:lnTo>
                                                                                                <a:lnTo>
                                                                                                  <a:pt x="86" y="8"/>
                                                                                                </a:lnTo>
                                                                                                <a:lnTo>
                                                                                                  <a:pt x="84" y="2"/>
                                                                                                </a:lnTo>
                                                                                                <a:lnTo>
                                                                                                  <a:pt x="80" y="0"/>
                                                                                                </a:lnTo>
                                                                                                <a:lnTo>
                                                                                                  <a:pt x="76" y="2"/>
                                                                                                </a:lnTo>
                                                                                                <a:lnTo>
                                                                                                  <a:pt x="74" y="6"/>
                                                                                                </a:lnTo>
                                                                                                <a:lnTo>
                                                                                                  <a:pt x="74" y="6"/>
                                                                                                </a:lnTo>
                                                                                                <a:lnTo>
                                                                                                  <a:pt x="74" y="12"/>
                                                                                                </a:lnTo>
                                                                                                <a:lnTo>
                                                                                                  <a:pt x="76" y="12"/>
                                                                                                </a:lnTo>
                                                                                                <a:lnTo>
                                                                                                  <a:pt x="80" y="12"/>
                                                                                                </a:lnTo>
                                                                                                <a:lnTo>
                                                                                                  <a:pt x="80" y="12"/>
                                                                                                </a:lnTo>
                                                                                                <a:lnTo>
                                                                                                  <a:pt x="84" y="12"/>
                                                                                                </a:lnTo>
                                                                                                <a:lnTo>
                                                                                                  <a:pt x="84" y="14"/>
                                                                                                </a:lnTo>
                                                                                                <a:lnTo>
                                                                                                  <a:pt x="84" y="16"/>
                                                                                                </a:lnTo>
                                                                                                <a:lnTo>
                                                                                                  <a:pt x="80" y="16"/>
                                                                                                </a:lnTo>
                                                                                                <a:lnTo>
                                                                                                  <a:pt x="80" y="16"/>
                                                                                                </a:lnTo>
                                                                                                <a:lnTo>
                                                                                                  <a:pt x="78" y="16"/>
                                                                                                </a:lnTo>
                                                                                                <a:lnTo>
                                                                                                  <a:pt x="78" y="16"/>
                                                                                                </a:lnTo>
                                                                                                <a:lnTo>
                                                                                                  <a:pt x="76" y="20"/>
                                                                                                </a:lnTo>
                                                                                                <a:lnTo>
                                                                                                  <a:pt x="72" y="22"/>
                                                                                                </a:lnTo>
                                                                                                <a:lnTo>
                                                                                                  <a:pt x="72" y="22"/>
                                                                                                </a:lnTo>
                                                                                                <a:lnTo>
                                                                                                  <a:pt x="62" y="24"/>
                                                                                                </a:lnTo>
                                                                                                <a:lnTo>
                                                                                                  <a:pt x="54" y="32"/>
                                                                                                </a:lnTo>
                                                                                                <a:lnTo>
                                                                                                  <a:pt x="54" y="32"/>
                                                                                                </a:lnTo>
                                                                                                <a:lnTo>
                                                                                                  <a:pt x="52" y="36"/>
                                                                                                </a:lnTo>
                                                                                                <a:lnTo>
                                                                                                  <a:pt x="50" y="40"/>
                                                                                                </a:lnTo>
                                                                                                <a:lnTo>
                                                                                                  <a:pt x="50" y="42"/>
                                                                                                </a:lnTo>
                                                                                                <a:lnTo>
                                                                                                  <a:pt x="50" y="44"/>
                                                                                                </a:lnTo>
                                                                                                <a:lnTo>
                                                                                                  <a:pt x="50" y="44"/>
                                                                                                </a:lnTo>
                                                                                                <a:lnTo>
                                                                                                  <a:pt x="48" y="46"/>
                                                                                                </a:lnTo>
                                                                                                <a:lnTo>
                                                                                                  <a:pt x="50" y="48"/>
                                                                                                </a:lnTo>
                                                                                                <a:lnTo>
                                                                                                  <a:pt x="52" y="48"/>
                                                                                                </a:lnTo>
                                                                                                <a:lnTo>
                                                                                                  <a:pt x="52" y="52"/>
                                                                                                </a:lnTo>
                                                                                                <a:lnTo>
                                                                                                  <a:pt x="52" y="52"/>
                                                                                                </a:lnTo>
                                                                                                <a:lnTo>
                                                                                                  <a:pt x="54" y="52"/>
                                                                                                </a:lnTo>
                                                                                                <a:lnTo>
                                                                                                  <a:pt x="54" y="54"/>
                                                                                                </a:lnTo>
                                                                                                <a:lnTo>
                                                                                                  <a:pt x="56" y="62"/>
                                                                                                </a:lnTo>
                                                                                                <a:lnTo>
                                                                                                  <a:pt x="56" y="70"/>
                                                                                                </a:lnTo>
                                                                                                <a:lnTo>
                                                                                                  <a:pt x="56" y="70"/>
                                                                                                </a:lnTo>
                                                                                                <a:lnTo>
                                                                                                  <a:pt x="54" y="74"/>
                                                                                                </a:lnTo>
                                                                                                <a:lnTo>
                                                                                                  <a:pt x="48" y="76"/>
                                                                                                </a:lnTo>
                                                                                                <a:lnTo>
                                                                                                  <a:pt x="42" y="76"/>
                                                                                                </a:lnTo>
                                                                                                <a:lnTo>
                                                                                                  <a:pt x="40" y="74"/>
                                                                                                </a:lnTo>
                                                                                                <a:lnTo>
                                                                                                  <a:pt x="40" y="72"/>
                                                                                                </a:lnTo>
                                                                                                <a:lnTo>
                                                                                                  <a:pt x="40" y="72"/>
                                                                                                </a:lnTo>
                                                                                                <a:lnTo>
                                                                                                  <a:pt x="38" y="68"/>
                                                                                                </a:lnTo>
                                                                                                <a:lnTo>
                                                                                                  <a:pt x="34" y="66"/>
                                                                                                </a:lnTo>
                                                                                                <a:lnTo>
                                                                                                  <a:pt x="30" y="64"/>
                                                                                                </a:lnTo>
                                                                                                <a:lnTo>
                                                                                                  <a:pt x="30" y="62"/>
                                                                                                </a:lnTo>
                                                                                                <a:lnTo>
                                                                                                  <a:pt x="30" y="58"/>
                                                                                                </a:lnTo>
                                                                                                <a:lnTo>
                                                                                                  <a:pt x="30" y="58"/>
                                                                                                </a:lnTo>
                                                                                                <a:lnTo>
                                                                                                  <a:pt x="32" y="56"/>
                                                                                                </a:lnTo>
                                                                                                <a:lnTo>
                                                                                                  <a:pt x="34" y="54"/>
                                                                                                </a:lnTo>
                                                                                                <a:lnTo>
                                                                                                  <a:pt x="40" y="50"/>
                                                                                                </a:lnTo>
                                                                                                <a:lnTo>
                                                                                                  <a:pt x="44" y="46"/>
                                                                                                </a:lnTo>
                                                                                                <a:lnTo>
                                                                                                  <a:pt x="46" y="44"/>
                                                                                                </a:lnTo>
                                                                                                <a:lnTo>
                                                                                                  <a:pt x="44" y="42"/>
                                                                                                </a:lnTo>
                                                                                                <a:lnTo>
                                                                                                  <a:pt x="44" y="42"/>
                                                                                                </a:lnTo>
                                                                                                <a:lnTo>
                                                                                                  <a:pt x="42" y="38"/>
                                                                                                </a:lnTo>
                                                                                                <a:lnTo>
                                                                                                  <a:pt x="46" y="38"/>
                                                                                                </a:lnTo>
                                                                                                <a:lnTo>
                                                                                                  <a:pt x="48" y="38"/>
                                                                                                </a:lnTo>
                                                                                                <a:lnTo>
                                                                                                  <a:pt x="46" y="32"/>
                                                                                                </a:lnTo>
                                                                                                <a:lnTo>
                                                                                                  <a:pt x="46" y="32"/>
                                                                                                </a:lnTo>
                                                                                                <a:lnTo>
                                                                                                  <a:pt x="40" y="24"/>
                                                                                                </a:lnTo>
                                                                                                <a:lnTo>
                                                                                                  <a:pt x="38" y="20"/>
                                                                                                </a:lnTo>
                                                                                                <a:lnTo>
                                                                                                  <a:pt x="40" y="18"/>
                                                                                                </a:lnTo>
                                                                                                <a:lnTo>
                                                                                                  <a:pt x="42" y="16"/>
                                                                                                </a:lnTo>
                                                                                                <a:lnTo>
                                                                                                  <a:pt x="42" y="16"/>
                                                                                                </a:lnTo>
                                                                                                <a:lnTo>
                                                                                                  <a:pt x="48" y="12"/>
                                                                                                </a:lnTo>
                                                                                                <a:lnTo>
                                                                                                  <a:pt x="48" y="12"/>
                                                                                                </a:lnTo>
                                                                                                <a:lnTo>
                                                                                                  <a:pt x="48" y="10"/>
                                                                                                </a:lnTo>
                                                                                                <a:lnTo>
                                                                                                  <a:pt x="48" y="10"/>
                                                                                                </a:lnTo>
                                                                                                <a:lnTo>
                                                                                                  <a:pt x="34" y="18"/>
                                                                                                </a:lnTo>
                                                                                                <a:lnTo>
                                                                                                  <a:pt x="22" y="40"/>
                                                                                                </a:lnTo>
                                                                                                <a:lnTo>
                                                                                                  <a:pt x="22" y="40"/>
                                                                                                </a:lnTo>
                                                                                                <a:lnTo>
                                                                                                  <a:pt x="20" y="40"/>
                                                                                                </a:lnTo>
                                                                                                <a:lnTo>
                                                                                                  <a:pt x="14" y="46"/>
                                                                                                </a:lnTo>
                                                                                                <a:lnTo>
                                                                                                  <a:pt x="14" y="46"/>
                                                                                                </a:lnTo>
                                                                                                <a:lnTo>
                                                                                                  <a:pt x="12" y="52"/>
                                                                                                </a:lnTo>
                                                                                                <a:lnTo>
                                                                                                  <a:pt x="12" y="54"/>
                                                                                                </a:lnTo>
                                                                                                <a:lnTo>
                                                                                                  <a:pt x="12" y="58"/>
                                                                                                </a:lnTo>
                                                                                                <a:lnTo>
                                                                                                  <a:pt x="10" y="62"/>
                                                                                                </a:lnTo>
                                                                                                <a:lnTo>
                                                                                                  <a:pt x="10" y="62"/>
                                                                                                </a:lnTo>
                                                                                                <a:lnTo>
                                                                                                  <a:pt x="2" y="74"/>
                                                                                                </a:lnTo>
                                                                                                <a:lnTo>
                                                                                                  <a:pt x="0" y="80"/>
                                                                                                </a:lnTo>
                                                                                                <a:lnTo>
                                                                                                  <a:pt x="0" y="80"/>
                                                                                                </a:lnTo>
                                                                                                <a:lnTo>
                                                                                                  <a:pt x="0" y="80"/>
                                                                                                </a:lnTo>
                                                                                                <a:lnTo>
                                                                                                  <a:pt x="2" y="80"/>
                                                                                                </a:lnTo>
                                                                                                <a:lnTo>
                                                                                                  <a:pt x="4" y="80"/>
                                                                                                </a:lnTo>
                                                                                                <a:lnTo>
                                                                                                  <a:pt x="6" y="82"/>
                                                                                                </a:lnTo>
                                                                                                <a:lnTo>
                                                                                                  <a:pt x="6" y="82"/>
                                                                                                </a:lnTo>
                                                                                                <a:lnTo>
                                                                                                  <a:pt x="8" y="84"/>
                                                                                                </a:lnTo>
                                                                                                <a:lnTo>
                                                                                                  <a:pt x="10" y="82"/>
                                                                                                </a:lnTo>
                                                                                                <a:lnTo>
                                                                                                  <a:pt x="12" y="84"/>
                                                                                                </a:lnTo>
                                                                                                <a:lnTo>
                                                                                                  <a:pt x="12" y="90"/>
                                                                                                </a:lnTo>
                                                                                                <a:lnTo>
                                                                                                  <a:pt x="12" y="90"/>
                                                                                                </a:lnTo>
                                                                                                <a:lnTo>
                                                                                                  <a:pt x="16" y="106"/>
                                                                                                </a:lnTo>
                                                                                                <a:lnTo>
                                                                                                  <a:pt x="16" y="112"/>
                                                                                                </a:lnTo>
                                                                                                <a:lnTo>
                                                                                                  <a:pt x="16" y="118"/>
                                                                                                </a:lnTo>
                                                                                                <a:lnTo>
                                                                                                  <a:pt x="16" y="118"/>
                                                                                                </a:lnTo>
                                                                                                <a:lnTo>
                                                                                                  <a:pt x="16" y="120"/>
                                                                                                </a:lnTo>
                                                                                                <a:lnTo>
                                                                                                  <a:pt x="16" y="124"/>
                                                                                                </a:lnTo>
                                                                                                <a:lnTo>
                                                                                                  <a:pt x="22" y="128"/>
                                                                                                </a:lnTo>
                                                                                                <a:lnTo>
                                                                                                  <a:pt x="28" y="132"/>
                                                                                                </a:lnTo>
                                                                                                <a:lnTo>
                                                                                                  <a:pt x="34" y="136"/>
                                                                                                </a:lnTo>
                                                                                                <a:lnTo>
                                                                                                  <a:pt x="34" y="136"/>
                                                                                                </a:lnTo>
                                                                                                <a:lnTo>
                                                                                                  <a:pt x="38" y="138"/>
                                                                                                </a:lnTo>
                                                                                                <a:lnTo>
                                                                                                  <a:pt x="42" y="140"/>
                                                                                                </a:lnTo>
                                                                                                <a:lnTo>
                                                                                                  <a:pt x="48" y="138"/>
                                                                                                </a:lnTo>
                                                                                                <a:lnTo>
                                                                                                  <a:pt x="54" y="136"/>
                                                                                                </a:lnTo>
                                                                                                <a:lnTo>
                                                                                                  <a:pt x="58" y="138"/>
                                                                                                </a:lnTo>
                                                                                                <a:lnTo>
                                                                                                  <a:pt x="62" y="140"/>
                                                                                                </a:lnTo>
                                                                                                <a:lnTo>
                                                                                                  <a:pt x="62" y="140"/>
                                                                                                </a:lnTo>
                                                                                                <a:lnTo>
                                                                                                  <a:pt x="68" y="144"/>
                                                                                                </a:lnTo>
                                                                                                <a:lnTo>
                                                                                                  <a:pt x="72" y="144"/>
                                                                                                </a:lnTo>
                                                                                                <a:lnTo>
                                                                                                  <a:pt x="78" y="152"/>
                                                                                                </a:lnTo>
                                                                                                <a:lnTo>
                                                                                                  <a:pt x="78" y="152"/>
                                                                                                </a:lnTo>
                                                                                                <a:lnTo>
                                                                                                  <a:pt x="86" y="158"/>
                                                                                                </a:lnTo>
                                                                                                <a:lnTo>
                                                                                                  <a:pt x="92" y="160"/>
                                                                                                </a:lnTo>
                                                                                                <a:lnTo>
                                                                                                  <a:pt x="100" y="160"/>
                                                                                                </a:lnTo>
                                                                                                <a:lnTo>
                                                                                                  <a:pt x="110" y="156"/>
                                                                                                </a:lnTo>
                                                                                                <a:lnTo>
                                                                                                  <a:pt x="110" y="156"/>
                                                                                                </a:lnTo>
                                                                                                <a:lnTo>
                                                                                                  <a:pt x="116" y="156"/>
                                                                                                </a:lnTo>
                                                                                                <a:lnTo>
                                                                                                  <a:pt x="118" y="156"/>
                                                                                                </a:lnTo>
                                                                                                <a:lnTo>
                                                                                                  <a:pt x="118" y="158"/>
                                                                                                </a:lnTo>
                                                                                                <a:lnTo>
                                                                                                  <a:pt x="116" y="162"/>
                                                                                                </a:lnTo>
                                                                                                <a:lnTo>
                                                                                                  <a:pt x="116" y="162"/>
                                                                                                </a:lnTo>
                                                                                                <a:lnTo>
                                                                                                  <a:pt x="114" y="166"/>
                                                                                                </a:lnTo>
                                                                                                <a:lnTo>
                                                                                                  <a:pt x="114" y="168"/>
                                                                                                </a:lnTo>
                                                                                                <a:lnTo>
                                                                                                  <a:pt x="114" y="172"/>
                                                                                                </a:lnTo>
                                                                                                <a:lnTo>
                                                                                                  <a:pt x="112" y="174"/>
                                                                                                </a:lnTo>
                                                                                                <a:lnTo>
                                                                                                  <a:pt x="112" y="174"/>
                                                                                                </a:lnTo>
                                                                                                <a:lnTo>
                                                                                                  <a:pt x="110" y="176"/>
                                                                                                </a:lnTo>
                                                                                                <a:lnTo>
                                                                                                  <a:pt x="112" y="180"/>
                                                                                                </a:lnTo>
                                                                                                <a:lnTo>
                                                                                                  <a:pt x="112" y="184"/>
                                                                                                </a:lnTo>
                                                                                                <a:lnTo>
                                                                                                  <a:pt x="110" y="190"/>
                                                                                                </a:lnTo>
                                                                                                <a:lnTo>
                                                                                                  <a:pt x="110" y="190"/>
                                                                                                </a:lnTo>
                                                                                                <a:lnTo>
                                                                                                  <a:pt x="108" y="196"/>
                                                                                                </a:lnTo>
                                                                                                <a:lnTo>
                                                                                                  <a:pt x="110" y="200"/>
                                                                                                </a:lnTo>
                                                                                                <a:lnTo>
                                                                                                  <a:pt x="110" y="208"/>
                                                                                                </a:lnTo>
                                                                                                <a:lnTo>
                                                                                                  <a:pt x="112" y="214"/>
                                                                                                </a:lnTo>
                                                                                                <a:lnTo>
                                                                                                  <a:pt x="118" y="214"/>
                                                                                                </a:lnTo>
                                                                                                <a:lnTo>
                                                                                                  <a:pt x="118" y="214"/>
                                                                                                </a:lnTo>
                                                                                                <a:lnTo>
                                                                                                  <a:pt x="120" y="220"/>
                                                                                                </a:lnTo>
                                                                                                <a:lnTo>
                                                                                                  <a:pt x="120" y="226"/>
                                                                                                </a:lnTo>
                                                                                                <a:lnTo>
                                                                                                  <a:pt x="118" y="232"/>
                                                                                                </a:lnTo>
                                                                                                <a:lnTo>
                                                                                                  <a:pt x="112" y="244"/>
                                                                                                </a:lnTo>
                                                                                                <a:lnTo>
                                                                                                  <a:pt x="112" y="244"/>
                                                                                                </a:lnTo>
                                                                                                <a:lnTo>
                                                                                                  <a:pt x="114" y="244"/>
                                                                                                </a:lnTo>
                                                                                                <a:lnTo>
                                                                                                  <a:pt x="118" y="246"/>
                                                                                                </a:lnTo>
                                                                                                <a:lnTo>
                                                                                                  <a:pt x="122" y="254"/>
                                                                                                </a:lnTo>
                                                                                                <a:lnTo>
                                                                                                  <a:pt x="124" y="268"/>
                                                                                                </a:lnTo>
                                                                                                <a:lnTo>
                                                                                                  <a:pt x="126" y="286"/>
                                                                                                </a:lnTo>
                                                                                                <a:lnTo>
                                                                                                  <a:pt x="126" y="286"/>
                                                                                                </a:lnTo>
                                                                                                <a:lnTo>
                                                                                                  <a:pt x="130" y="290"/>
                                                                                                </a:lnTo>
                                                                                                <a:lnTo>
                                                                                                  <a:pt x="132" y="290"/>
                                                                                                </a:lnTo>
                                                                                                <a:lnTo>
                                                                                                  <a:pt x="134" y="290"/>
                                                                                                </a:lnTo>
                                                                                                <a:lnTo>
                                                                                                  <a:pt x="134" y="290"/>
                                                                                                </a:lnTo>
                                                                                                <a:lnTo>
                                                                                                  <a:pt x="138" y="292"/>
                                                                                                </a:lnTo>
                                                                                                <a:lnTo>
                                                                                                  <a:pt x="144" y="296"/>
                                                                                                </a:lnTo>
                                                                                                <a:lnTo>
                                                                                                  <a:pt x="150" y="298"/>
                                                                                                </a:lnTo>
                                                                                                <a:lnTo>
                                                                                                  <a:pt x="152" y="298"/>
                                                                                                </a:lnTo>
                                                                                                <a:lnTo>
                                                                                                  <a:pt x="154" y="298"/>
                                                                                                </a:lnTo>
                                                                                                <a:lnTo>
                                                                                                  <a:pt x="154" y="298"/>
                                                                                                </a:lnTo>
                                                                                                <a:lnTo>
                                                                                                  <a:pt x="160" y="296"/>
                                                                                                </a:lnTo>
                                                                                                <a:lnTo>
                                                                                                  <a:pt x="162" y="296"/>
                                                                                                </a:lnTo>
                                                                                                <a:lnTo>
                                                                                                  <a:pt x="166" y="296"/>
                                                                                                </a:lnTo>
                                                                                                <a:lnTo>
                                                                                                  <a:pt x="170" y="292"/>
                                                                                                </a:lnTo>
                                                                                                <a:lnTo>
                                                                                                  <a:pt x="170" y="292"/>
                                                                                                </a:lnTo>
                                                                                                <a:lnTo>
                                                                                                  <a:pt x="178" y="284"/>
                                                                                                </a:lnTo>
                                                                                                <a:lnTo>
                                                                                                  <a:pt x="182" y="282"/>
                                                                                                </a:lnTo>
                                                                                                <a:lnTo>
                                                                                                  <a:pt x="184" y="282"/>
                                                                                                </a:lnTo>
                                                                                                <a:lnTo>
                                                                                                  <a:pt x="186" y="280"/>
                                                                                                </a:lnTo>
                                                                                                <a:lnTo>
                                                                                                  <a:pt x="186" y="280"/>
                                                                                                </a:lnTo>
                                                                                                <a:lnTo>
                                                                                                  <a:pt x="188" y="278"/>
                                                                                                </a:lnTo>
                                                                                                <a:lnTo>
                                                                                                  <a:pt x="190" y="278"/>
                                                                                                </a:lnTo>
                                                                                                <a:lnTo>
                                                                                                  <a:pt x="192" y="278"/>
                                                                                                </a:lnTo>
                                                                                                <a:lnTo>
                                                                                                  <a:pt x="194" y="272"/>
                                                                                                </a:lnTo>
                                                                                                <a:lnTo>
                                                                                                  <a:pt x="194" y="272"/>
                                                                                                </a:lnTo>
                                                                                                <a:lnTo>
                                                                                                  <a:pt x="194" y="266"/>
                                                                                                </a:lnTo>
                                                                                                <a:lnTo>
                                                                                                  <a:pt x="198" y="264"/>
                                                                                                </a:lnTo>
                                                                                                <a:lnTo>
                                                                                                  <a:pt x="202" y="264"/>
                                                                                                </a:lnTo>
                                                                                                <a:lnTo>
                                                                                                  <a:pt x="210" y="260"/>
                                                                                                </a:lnTo>
                                                                                                <a:lnTo>
                                                                                                  <a:pt x="210" y="260"/>
                                                                                                </a:lnTo>
                                                                                                <a:lnTo>
                                                                                                  <a:pt x="208" y="252"/>
                                                                                                </a:lnTo>
                                                                                                <a:lnTo>
                                                                                                  <a:pt x="202" y="252"/>
                                                                                                </a:lnTo>
                                                                                                <a:lnTo>
                                                                                                  <a:pt x="202" y="252"/>
                                                                                                </a:lnTo>
                                                                                                <a:lnTo>
                                                                                                  <a:pt x="198" y="252"/>
                                                                                                </a:lnTo>
                                                                                                <a:lnTo>
                                                                                                  <a:pt x="194" y="250"/>
                                                                                                </a:lnTo>
                                                                                                <a:lnTo>
                                                                                                  <a:pt x="190" y="244"/>
                                                                                                </a:lnTo>
                                                                                                <a:lnTo>
                                                                                                  <a:pt x="188" y="236"/>
                                                                                                </a:lnTo>
                                                                                                <a:lnTo>
                                                                                                  <a:pt x="190" y="228"/>
                                                                                                </a:lnTo>
                                                                                                <a:lnTo>
                                                                                                  <a:pt x="190" y="228"/>
                                                                                                </a:lnTo>
                                                                                                <a:lnTo>
                                                                                                  <a:pt x="190" y="224"/>
                                                                                                </a:lnTo>
                                                                                                <a:lnTo>
                                                                                                  <a:pt x="190" y="220"/>
                                                                                                </a:lnTo>
                                                                                                <a:lnTo>
                                                                                                  <a:pt x="184" y="214"/>
                                                                                                </a:lnTo>
                                                                                                <a:lnTo>
                                                                                                  <a:pt x="180" y="210"/>
                                                                                                </a:lnTo>
                                                                                                <a:lnTo>
                                                                                                  <a:pt x="180" y="208"/>
                                                                                                </a:lnTo>
                                                                                                <a:lnTo>
                                                                                                  <a:pt x="184" y="206"/>
                                                                                                </a:lnTo>
                                                                                                <a:lnTo>
                                                                                                  <a:pt x="184" y="206"/>
                                                                                                </a:lnTo>
                                                                                                <a:lnTo>
                                                                                                  <a:pt x="190" y="206"/>
                                                                                                </a:lnTo>
                                                                                                <a:lnTo>
                                                                                                  <a:pt x="194" y="206"/>
                                                                                                </a:lnTo>
                                                                                                <a:lnTo>
                                                                                                  <a:pt x="202" y="210"/>
                                                                                                </a:lnTo>
                                                                                                <a:lnTo>
                                                                                                  <a:pt x="208" y="212"/>
                                                                                                </a:lnTo>
                                                                                                <a:lnTo>
                                                                                                  <a:pt x="210" y="212"/>
                                                                                                </a:lnTo>
                                                                                                <a:lnTo>
                                                                                                  <a:pt x="216" y="212"/>
                                                                                                </a:lnTo>
                                                                                                <a:lnTo>
                                                                                                  <a:pt x="216" y="212"/>
                                                                                                </a:lnTo>
                                                                                                <a:lnTo>
                                                                                                  <a:pt x="224" y="210"/>
                                                                                                </a:lnTo>
                                                                                                <a:lnTo>
                                                                                                  <a:pt x="230" y="212"/>
                                                                                                </a:lnTo>
                                                                                                <a:lnTo>
                                                                                                  <a:pt x="232" y="212"/>
                                                                                                </a:lnTo>
                                                                                                <a:lnTo>
                                                                                                  <a:pt x="234" y="212"/>
                                                                                                </a:lnTo>
                                                                                                <a:lnTo>
                                                                                                  <a:pt x="234" y="212"/>
                                                                                                </a:lnTo>
                                                                                                <a:lnTo>
                                                                                                  <a:pt x="236" y="210"/>
                                                                                                </a:lnTo>
                                                                                                <a:lnTo>
                                                                                                  <a:pt x="236" y="210"/>
                                                                                                </a:lnTo>
                                                                                                <a:lnTo>
                                                                                                  <a:pt x="234" y="208"/>
                                                                                                </a:lnTo>
                                                                                                <a:lnTo>
                                                                                                  <a:pt x="236" y="208"/>
                                                                                                </a:lnTo>
                                                                                                <a:lnTo>
                                                                                                  <a:pt x="236" y="208"/>
                                                                                                </a:lnTo>
                                                                                                <a:lnTo>
                                                                                                  <a:pt x="242" y="206"/>
                                                                                                </a:lnTo>
                                                                                                <a:lnTo>
                                                                                                  <a:pt x="248" y="204"/>
                                                                                                </a:lnTo>
                                                                                                <a:lnTo>
                                                                                                  <a:pt x="256" y="198"/>
                                                                                                </a:lnTo>
                                                                                                <a:lnTo>
                                                                                                  <a:pt x="256" y="198"/>
                                                                                                </a:lnTo>
                                                                                                <a:lnTo>
                                                                                                  <a:pt x="260" y="194"/>
                                                                                                </a:lnTo>
                                                                                                <a:lnTo>
                                                                                                  <a:pt x="264" y="192"/>
                                                                                                </a:lnTo>
                                                                                                <a:lnTo>
                                                                                                  <a:pt x="266" y="190"/>
                                                                                                </a:lnTo>
                                                                                                <a:lnTo>
                                                                                                  <a:pt x="268" y="182"/>
                                                                                                </a:lnTo>
                                                                                                <a:lnTo>
                                                                                                  <a:pt x="268" y="182"/>
                                                                                                </a:lnTo>
                                                                                                <a:lnTo>
                                                                                                  <a:pt x="258" y="168"/>
                                                                                                </a:lnTo>
                                                                                                <a:lnTo>
                                                                                                  <a:pt x="256" y="162"/>
                                                                                                </a:lnTo>
                                                                                                <a:lnTo>
                                                                                                  <a:pt x="254" y="158"/>
                                                                                                </a:lnTo>
                                                                                                <a:lnTo>
                                                                                                  <a:pt x="254" y="158"/>
                                                                                                </a:lnTo>
                                                                                                <a:lnTo>
                                                                                                  <a:pt x="256" y="154"/>
                                                                                                </a:lnTo>
                                                                                                <a:lnTo>
                                                                                                  <a:pt x="258" y="150"/>
                                                                                                </a:lnTo>
                                                                                                <a:lnTo>
                                                                                                  <a:pt x="262" y="148"/>
                                                                                                </a:lnTo>
                                                                                                <a:lnTo>
                                                                                                  <a:pt x="260" y="144"/>
                                                                                                </a:lnTo>
                                                                                                <a:lnTo>
                                                                                                  <a:pt x="260" y="144"/>
                                                                                                </a:lnTo>
                                                                                                <a:lnTo>
                                                                                                  <a:pt x="260" y="140"/>
                                                                                                </a:lnTo>
                                                                                                <a:lnTo>
                                                                                                  <a:pt x="260" y="138"/>
                                                                                                </a:lnTo>
                                                                                                <a:lnTo>
                                                                                                  <a:pt x="270" y="132"/>
                                                                                                </a:lnTo>
                                                                                                <a:lnTo>
                                                                                                  <a:pt x="270" y="132"/>
                                                                                                </a:lnTo>
                                                                                                <a:lnTo>
                                                                                                  <a:pt x="274" y="130"/>
                                                                                                </a:lnTo>
                                                                                                <a:lnTo>
                                                                                                  <a:pt x="274" y="126"/>
                                                                                                </a:lnTo>
                                                                                                <a:lnTo>
                                                                                                  <a:pt x="272" y="124"/>
                                                                                                </a:lnTo>
                                                                                                <a:lnTo>
                                                                                                  <a:pt x="268" y="124"/>
                                                                                                </a:lnTo>
                                                                                                <a:lnTo>
                                                                                                  <a:pt x="268" y="124"/>
                                                                                                </a:lnTo>
                                                                                                <a:lnTo>
                                                                                                  <a:pt x="264" y="126"/>
                                                                                                </a:lnTo>
                                                                                                <a:lnTo>
                                                                                                  <a:pt x="264" y="124"/>
                                                                                                </a:lnTo>
                                                                                                <a:lnTo>
                                                                                                  <a:pt x="266" y="122"/>
                                                                                                </a:lnTo>
                                                                                                <a:lnTo>
                                                                                                  <a:pt x="266" y="118"/>
                                                                                                </a:lnTo>
                                                                                                <a:lnTo>
                                                                                                  <a:pt x="266" y="118"/>
                                                                                                </a:lnTo>
                                                                                                <a:lnTo>
                                                                                                  <a:pt x="266" y="116"/>
                                                                                                </a:lnTo>
                                                                                                <a:lnTo>
                                                                                                  <a:pt x="266" y="114"/>
                                                                                                </a:lnTo>
                                                                                                <a:lnTo>
                                                                                                  <a:pt x="268" y="112"/>
                                                                                                </a:lnTo>
                                                                                                <a:lnTo>
                                                                                                  <a:pt x="270" y="110"/>
                                                                                                </a:lnTo>
                                                                                                <a:lnTo>
                                                                                                  <a:pt x="270" y="110"/>
                                                                                                </a:lnTo>
                                                                                                <a:lnTo>
                                                                                                  <a:pt x="272" y="108"/>
                                                                                                </a:lnTo>
                                                                                                <a:lnTo>
                                                                                                  <a:pt x="274" y="106"/>
                                                                                                </a:lnTo>
                                                                                                <a:lnTo>
                                                                                                  <a:pt x="280" y="106"/>
                                                                                                </a:lnTo>
                                                                                                <a:lnTo>
                                                                                                  <a:pt x="284" y="106"/>
                                                                                                </a:lnTo>
                                                                                                <a:lnTo>
                                                                                                  <a:pt x="284" y="104"/>
                                                                                                </a:lnTo>
                                                                                                <a:lnTo>
                                                                                                  <a:pt x="284" y="100"/>
                                                                                                </a:lnTo>
                                                                                                <a:lnTo>
                                                                                                  <a:pt x="284" y="100"/>
                                                                                                </a:lnTo>
                                                                                                <a:close/>
                                                                                              </a:path>
                                                                                            </a:pathLst>
                                                                                          </a:custGeom>
                                                                                          <a:solidFill>
                                                                                            <a:schemeClr val="accent3"/>
                                                                                          </a:solid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07" name="Suriname"/>
                                                                                        <p:cNvSpPr>
                                                                                          <a:spLocks/>
                                                                                        </p:cNvSpPr>
                                                                                        <p:nvPr/>
                                                                                      </p:nvSpPr>
                                                                                      <p:spPr bwMode="auto">
                                                                                        <a:xfrm>
                                                                                          <a:off x="3917449" y="3454645"/>
                                                                                          <a:ext cx="139731" cy="166916"/>
                                                                                        </a:xfrm>
                                                                                        <a:custGeom>
                                                                                          <a:avLst/>
                                                                                          <a:gdLst/>
                                                                                          <a:ahLst/>
                                                                                          <a:cxnLst>
                                                                                            <a:cxn ang="0">
                                                                                              <a:pos x="72" y="100"/>
                                                                                            </a:cxn>
                                                                                            <a:cxn ang="0">
                                                                                              <a:pos x="80" y="90"/>
                                                                                            </a:cxn>
                                                                                            <a:cxn ang="0">
                                                                                              <a:pos x="82" y="82"/>
                                                                                            </a:cxn>
                                                                                            <a:cxn ang="0">
                                                                                              <a:pos x="82" y="78"/>
                                                                                            </a:cxn>
                                                                                            <a:cxn ang="0">
                                                                                              <a:pos x="86" y="70"/>
                                                                                            </a:cxn>
                                                                                            <a:cxn ang="0">
                                                                                              <a:pos x="84" y="66"/>
                                                                                            </a:cxn>
                                                                                            <a:cxn ang="0">
                                                                                              <a:pos x="80" y="52"/>
                                                                                            </a:cxn>
                                                                                            <a:cxn ang="0">
                                                                                              <a:pos x="76" y="48"/>
                                                                                            </a:cxn>
                                                                                            <a:cxn ang="0">
                                                                                              <a:pos x="78" y="42"/>
                                                                                            </a:cxn>
                                                                                            <a:cxn ang="0">
                                                                                              <a:pos x="76" y="38"/>
                                                                                            </a:cxn>
                                                                                            <a:cxn ang="0">
                                                                                              <a:pos x="78" y="24"/>
                                                                                            </a:cxn>
                                                                                            <a:cxn ang="0">
                                                                                              <a:pos x="92" y="8"/>
                                                                                            </a:cxn>
                                                                                            <a:cxn ang="0">
                                                                                              <a:pos x="90" y="4"/>
                                                                                            </a:cxn>
                                                                                            <a:cxn ang="0">
                                                                                              <a:pos x="80" y="2"/>
                                                                                            </a:cxn>
                                                                                            <a:cxn ang="0">
                                                                                              <a:pos x="76" y="2"/>
                                                                                            </a:cxn>
                                                                                            <a:cxn ang="0">
                                                                                              <a:pos x="70" y="2"/>
                                                                                            </a:cxn>
                                                                                            <a:cxn ang="0">
                                                                                              <a:pos x="62" y="4"/>
                                                                                            </a:cxn>
                                                                                            <a:cxn ang="0">
                                                                                              <a:pos x="60" y="4"/>
                                                                                            </a:cxn>
                                                                                            <a:cxn ang="0">
                                                                                              <a:pos x="56" y="4"/>
                                                                                            </a:cxn>
                                                                                            <a:cxn ang="0">
                                                                                              <a:pos x="50" y="4"/>
                                                                                            </a:cxn>
                                                                                            <a:cxn ang="0">
                                                                                              <a:pos x="44" y="4"/>
                                                                                            </a:cxn>
                                                                                            <a:cxn ang="0">
                                                                                              <a:pos x="30" y="0"/>
                                                                                            </a:cxn>
                                                                                            <a:cxn ang="0">
                                                                                              <a:pos x="24" y="4"/>
                                                                                            </a:cxn>
                                                                                            <a:cxn ang="0">
                                                                                              <a:pos x="16" y="14"/>
                                                                                            </a:cxn>
                                                                                            <a:cxn ang="0">
                                                                                              <a:pos x="12" y="20"/>
                                                                                            </a:cxn>
                                                                                            <a:cxn ang="0">
                                                                                              <a:pos x="12" y="26"/>
                                                                                            </a:cxn>
                                                                                            <a:cxn ang="0">
                                                                                              <a:pos x="8" y="28"/>
                                                                                            </a:cxn>
                                                                                            <a:cxn ang="0">
                                                                                              <a:pos x="2" y="32"/>
                                                                                            </a:cxn>
                                                                                            <a:cxn ang="0">
                                                                                              <a:pos x="2" y="42"/>
                                                                                            </a:cxn>
                                                                                            <a:cxn ang="0">
                                                                                              <a:pos x="0" y="50"/>
                                                                                            </a:cxn>
                                                                                            <a:cxn ang="0">
                                                                                              <a:pos x="4" y="60"/>
                                                                                            </a:cxn>
                                                                                            <a:cxn ang="0">
                                                                                              <a:pos x="4" y="66"/>
                                                                                            </a:cxn>
                                                                                            <a:cxn ang="0">
                                                                                              <a:pos x="6" y="68"/>
                                                                                            </a:cxn>
                                                                                            <a:cxn ang="0">
                                                                                              <a:pos x="12" y="72"/>
                                                                                            </a:cxn>
                                                                                            <a:cxn ang="0">
                                                                                              <a:pos x="16" y="80"/>
                                                                                            </a:cxn>
                                                                                            <a:cxn ang="0">
                                                                                              <a:pos x="20" y="86"/>
                                                                                            </a:cxn>
                                                                                            <a:cxn ang="0">
                                                                                              <a:pos x="24" y="96"/>
                                                                                            </a:cxn>
                                                                                            <a:cxn ang="0">
                                                                                              <a:pos x="28" y="106"/>
                                                                                            </a:cxn>
                                                                                            <a:cxn ang="0">
                                                                                              <a:pos x="32" y="108"/>
                                                                                            </a:cxn>
                                                                                            <a:cxn ang="0">
                                                                                              <a:pos x="50" y="108"/>
                                                                                            </a:cxn>
                                                                                            <a:cxn ang="0">
                                                                                              <a:pos x="46" y="104"/>
                                                                                            </a:cxn>
                                                                                            <a:cxn ang="0">
                                                                                              <a:pos x="48" y="100"/>
                                                                                            </a:cxn>
                                                                                            <a:cxn ang="0">
                                                                                              <a:pos x="50" y="102"/>
                                                                                            </a:cxn>
                                                                                            <a:cxn ang="0">
                                                                                              <a:pos x="56" y="102"/>
                                                                                            </a:cxn>
                                                                                            <a:cxn ang="0">
                                                                                              <a:pos x="58" y="102"/>
                                                                                            </a:cxn>
                                                                                            <a:cxn ang="0">
                                                                                              <a:pos x="60" y="98"/>
                                                                                            </a:cxn>
                                                                                            <a:cxn ang="0">
                                                                                              <a:pos x="64" y="96"/>
                                                                                            </a:cxn>
                                                                                            <a:cxn ang="0">
                                                                                              <a:pos x="68" y="98"/>
                                                                                            </a:cxn>
                                                                                            <a:cxn ang="0">
                                                                                              <a:pos x="72" y="100"/>
                                                                                            </a:cxn>
                                                                                          </a:cxnLst>
                                                                                          <a:rect l="0" t="0" r="r" b="b"/>
                                                                                          <a:pathLst>
                                                                                            <a:path w="92" h="110">
                                                                                              <a:moveTo>
                                                                                                <a:pt x="72" y="100"/>
                                                                                              </a:moveTo>
                                                                                              <a:lnTo>
                                                                                                <a:pt x="72" y="100"/>
                                                                                              </a:lnTo>
                                                                                              <a:lnTo>
                                                                                                <a:pt x="76" y="94"/>
                                                                                              </a:lnTo>
                                                                                              <a:lnTo>
                                                                                                <a:pt x="80" y="90"/>
                                                                                              </a:lnTo>
                                                                                              <a:lnTo>
                                                                                                <a:pt x="82" y="86"/>
                                                                                              </a:lnTo>
                                                                                              <a:lnTo>
                                                                                                <a:pt x="82" y="82"/>
                                                                                              </a:lnTo>
                                                                                              <a:lnTo>
                                                                                                <a:pt x="82" y="82"/>
                                                                                              </a:lnTo>
                                                                                              <a:lnTo>
                                                                                                <a:pt x="82" y="78"/>
                                                                                              </a:lnTo>
                                                                                              <a:lnTo>
                                                                                                <a:pt x="84" y="74"/>
                                                                                              </a:lnTo>
                                                                                              <a:lnTo>
                                                                                                <a:pt x="86" y="70"/>
                                                                                              </a:lnTo>
                                                                                              <a:lnTo>
                                                                                                <a:pt x="84" y="66"/>
                                                                                              </a:lnTo>
                                                                                              <a:lnTo>
                                                                                                <a:pt x="84" y="66"/>
                                                                                              </a:lnTo>
                                                                                              <a:lnTo>
                                                                                                <a:pt x="82" y="58"/>
                                                                                              </a:lnTo>
                                                                                              <a:lnTo>
                                                                                                <a:pt x="80" y="52"/>
                                                                                              </a:lnTo>
                                                                                              <a:lnTo>
                                                                                                <a:pt x="80" y="52"/>
                                                                                              </a:lnTo>
                                                                                              <a:lnTo>
                                                                                                <a:pt x="76" y="48"/>
                                                                                              </a:lnTo>
                                                                                              <a:lnTo>
                                                                                                <a:pt x="78" y="44"/>
                                                                                              </a:lnTo>
                                                                                              <a:lnTo>
                                                                                                <a:pt x="78" y="42"/>
                                                                                              </a:lnTo>
                                                                                              <a:lnTo>
                                                                                                <a:pt x="76" y="38"/>
                                                                                              </a:lnTo>
                                                                                              <a:lnTo>
                                                                                                <a:pt x="76" y="38"/>
                                                                                              </a:lnTo>
                                                                                              <a:lnTo>
                                                                                                <a:pt x="76" y="32"/>
                                                                                              </a:lnTo>
                                                                                              <a:lnTo>
                                                                                                <a:pt x="78" y="24"/>
                                                                                              </a:lnTo>
                                                                                              <a:lnTo>
                                                                                                <a:pt x="84" y="16"/>
                                                                                              </a:lnTo>
                                                                                              <a:lnTo>
                                                                                                <a:pt x="92" y="8"/>
                                                                                              </a:lnTo>
                                                                                              <a:lnTo>
                                                                                                <a:pt x="92" y="8"/>
                                                                                              </a:lnTo>
                                                                                              <a:lnTo>
                                                                                                <a:pt x="90" y="4"/>
                                                                                              </a:lnTo>
                                                                                              <a:lnTo>
                                                                                                <a:pt x="86" y="2"/>
                                                                                              </a:lnTo>
                                                                                              <a:lnTo>
                                                                                                <a:pt x="80" y="2"/>
                                                                                              </a:lnTo>
                                                                                              <a:lnTo>
                                                                                                <a:pt x="76" y="2"/>
                                                                                              </a:lnTo>
                                                                                              <a:lnTo>
                                                                                                <a:pt x="76" y="2"/>
                                                                                              </a:lnTo>
                                                                                              <a:lnTo>
                                                                                                <a:pt x="74" y="2"/>
                                                                                              </a:lnTo>
                                                                                              <a:lnTo>
                                                                                                <a:pt x="70" y="2"/>
                                                                                              </a:lnTo>
                                                                                              <a:lnTo>
                                                                                                <a:pt x="66" y="2"/>
                                                                                              </a:lnTo>
                                                                                              <a:lnTo>
                                                                                                <a:pt x="62" y="4"/>
                                                                                              </a:lnTo>
                                                                                              <a:lnTo>
                                                                                                <a:pt x="62" y="4"/>
                                                                                              </a:lnTo>
                                                                                              <a:lnTo>
                                                                                                <a:pt x="60" y="4"/>
                                                                                              </a:lnTo>
                                                                                              <a:lnTo>
                                                                                                <a:pt x="58" y="4"/>
                                                                                              </a:lnTo>
                                                                                              <a:lnTo>
                                                                                                <a:pt x="56" y="4"/>
                                                                                              </a:lnTo>
                                                                                              <a:lnTo>
                                                                                                <a:pt x="50" y="4"/>
                                                                                              </a:lnTo>
                                                                                              <a:lnTo>
                                                                                                <a:pt x="50" y="4"/>
                                                                                              </a:lnTo>
                                                                                              <a:lnTo>
                                                                                                <a:pt x="48" y="6"/>
                                                                                              </a:lnTo>
                                                                                              <a:lnTo>
                                                                                                <a:pt x="44" y="4"/>
                                                                                              </a:lnTo>
                                                                                              <a:lnTo>
                                                                                                <a:pt x="38" y="2"/>
                                                                                              </a:lnTo>
                                                                                              <a:lnTo>
                                                                                                <a:pt x="30" y="0"/>
                                                                                              </a:lnTo>
                                                                                              <a:lnTo>
                                                                                                <a:pt x="26" y="0"/>
                                                                                              </a:lnTo>
                                                                                              <a:lnTo>
                                                                                                <a:pt x="24" y="4"/>
                                                                                              </a:lnTo>
                                                                                              <a:lnTo>
                                                                                                <a:pt x="24" y="4"/>
                                                                                              </a:lnTo>
                                                                                              <a:lnTo>
                                                                                                <a:pt x="16" y="14"/>
                                                                                              </a:lnTo>
                                                                                              <a:lnTo>
                                                                                                <a:pt x="16" y="14"/>
                                                                                              </a:lnTo>
                                                                                              <a:lnTo>
                                                                                                <a:pt x="12" y="20"/>
                                                                                              </a:lnTo>
                                                                                              <a:lnTo>
                                                                                                <a:pt x="12" y="24"/>
                                                                                              </a:lnTo>
                                                                                              <a:lnTo>
                                                                                                <a:pt x="12" y="26"/>
                                                                                              </a:lnTo>
                                                                                              <a:lnTo>
                                                                                                <a:pt x="8" y="28"/>
                                                                                              </a:lnTo>
                                                                                              <a:lnTo>
                                                                                                <a:pt x="8" y="28"/>
                                                                                              </a:lnTo>
                                                                                              <a:lnTo>
                                                                                                <a:pt x="4" y="30"/>
                                                                                              </a:lnTo>
                                                                                              <a:lnTo>
                                                                                                <a:pt x="2" y="32"/>
                                                                                              </a:lnTo>
                                                                                              <a:lnTo>
                                                                                                <a:pt x="4" y="34"/>
                                                                                              </a:lnTo>
                                                                                              <a:lnTo>
                                                                                                <a:pt x="2" y="42"/>
                                                                                              </a:lnTo>
                                                                                              <a:lnTo>
                                                                                                <a:pt x="2" y="42"/>
                                                                                              </a:lnTo>
                                                                                              <a:lnTo>
                                                                                                <a:pt x="0" y="50"/>
                                                                                              </a:lnTo>
                                                                                              <a:lnTo>
                                                                                                <a:pt x="2" y="56"/>
                                                                                              </a:lnTo>
                                                                                              <a:lnTo>
                                                                                                <a:pt x="4" y="60"/>
                                                                                              </a:lnTo>
                                                                                              <a:lnTo>
                                                                                                <a:pt x="4" y="66"/>
                                                                                              </a:lnTo>
                                                                                              <a:lnTo>
                                                                                                <a:pt x="4" y="66"/>
                                                                                              </a:lnTo>
                                                                                              <a:lnTo>
                                                                                                <a:pt x="6" y="68"/>
                                                                                              </a:lnTo>
                                                                                              <a:lnTo>
                                                                                                <a:pt x="6" y="68"/>
                                                                                              </a:lnTo>
                                                                                              <a:lnTo>
                                                                                                <a:pt x="10" y="68"/>
                                                                                              </a:lnTo>
                                                                                              <a:lnTo>
                                                                                                <a:pt x="12" y="72"/>
                                                                                              </a:lnTo>
                                                                                              <a:lnTo>
                                                                                                <a:pt x="12" y="72"/>
                                                                                              </a:lnTo>
                                                                                              <a:lnTo>
                                                                                                <a:pt x="16" y="80"/>
                                                                                              </a:lnTo>
                                                                                              <a:lnTo>
                                                                                                <a:pt x="20" y="86"/>
                                                                                              </a:lnTo>
                                                                                              <a:lnTo>
                                                                                                <a:pt x="20" y="86"/>
                                                                                              </a:lnTo>
                                                                                              <a:lnTo>
                                                                                                <a:pt x="22" y="90"/>
                                                                                              </a:lnTo>
                                                                                              <a:lnTo>
                                                                                                <a:pt x="24" y="96"/>
                                                                                              </a:lnTo>
                                                                                              <a:lnTo>
                                                                                                <a:pt x="26" y="104"/>
                                                                                              </a:lnTo>
                                                                                              <a:lnTo>
                                                                                                <a:pt x="28" y="106"/>
                                                                                              </a:lnTo>
                                                                                              <a:lnTo>
                                                                                                <a:pt x="32" y="108"/>
                                                                                              </a:lnTo>
                                                                                              <a:lnTo>
                                                                                                <a:pt x="32" y="108"/>
                                                                                              </a:lnTo>
                                                                                              <a:lnTo>
                                                                                                <a:pt x="46" y="110"/>
                                                                                              </a:lnTo>
                                                                                              <a:lnTo>
                                                                                                <a:pt x="50" y="108"/>
                                                                                              </a:lnTo>
                                                                                              <a:lnTo>
                                                                                                <a:pt x="50" y="106"/>
                                                                                              </a:lnTo>
                                                                                              <a:lnTo>
                                                                                                <a:pt x="46" y="104"/>
                                                                                              </a:lnTo>
                                                                                              <a:lnTo>
                                                                                                <a:pt x="44" y="102"/>
                                                                                              </a:lnTo>
                                                                                              <a:lnTo>
                                                                                                <a:pt x="48" y="100"/>
                                                                                              </a:lnTo>
                                                                                              <a:lnTo>
                                                                                                <a:pt x="48" y="100"/>
                                                                                              </a:lnTo>
                                                                                              <a:lnTo>
                                                                                                <a:pt x="50" y="102"/>
                                                                                              </a:lnTo>
                                                                                              <a:lnTo>
                                                                                                <a:pt x="52" y="102"/>
                                                                                              </a:lnTo>
                                                                                              <a:lnTo>
                                                                                                <a:pt x="56" y="102"/>
                                                                                              </a:lnTo>
                                                                                              <a:lnTo>
                                                                                                <a:pt x="56" y="102"/>
                                                                                              </a:lnTo>
                                                                                              <a:lnTo>
                                                                                                <a:pt x="58" y="102"/>
                                                                                              </a:lnTo>
                                                                                              <a:lnTo>
                                                                                                <a:pt x="60" y="100"/>
                                                                                              </a:lnTo>
                                                                                              <a:lnTo>
                                                                                                <a:pt x="60" y="98"/>
                                                                                              </a:lnTo>
                                                                                              <a:lnTo>
                                                                                                <a:pt x="64" y="96"/>
                                                                                              </a:lnTo>
                                                                                              <a:lnTo>
                                                                                                <a:pt x="64" y="96"/>
                                                                                              </a:lnTo>
                                                                                              <a:lnTo>
                                                                                                <a:pt x="66" y="98"/>
                                                                                              </a:lnTo>
                                                                                              <a:lnTo>
                                                                                                <a:pt x="68" y="98"/>
                                                                                              </a:lnTo>
                                                                                              <a:lnTo>
                                                                                                <a:pt x="68" y="100"/>
                                                                                              </a:lnTo>
                                                                                              <a:lnTo>
                                                                                                <a:pt x="72" y="100"/>
                                                                                              </a:lnTo>
                                                                                              <a:lnTo>
                                                                                                <a:pt x="72" y="100"/>
                                                                                              </a:lnTo>
                                                                                              <a:close/>
                                                                                            </a:path>
                                                                                          </a:pathLst>
                                                                                        </a:custGeom>
                                                                                        <a:solidFill>
                                                                                          <a:schemeClr val="accent3"/>
                                                                                        </a:solid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09" name="Guyana"/>
                                                                                      <p:cNvSpPr>
                                                                                        <a:spLocks/>
                                                                                      </p:cNvSpPr>
                                                                                      <p:nvPr/>
                                                                                    </p:nvSpPr>
                                                                                    <p:spPr bwMode="auto">
                                                                                      <a:xfrm>
                                                                                        <a:off x="3819109" y="3361671"/>
                                                                                        <a:ext cx="148845" cy="282240"/>
                                                                                      </a:xfrm>
                                                                                      <a:custGeom>
                                                                                        <a:avLst/>
                                                                                        <a:gdLst/>
                                                                                        <a:ahLst/>
                                                                                        <a:cxnLst>
                                                                                          <a:cxn ang="0">
                                                                                            <a:pos x="36" y="0"/>
                                                                                          </a:cxn>
                                                                                          <a:cxn ang="0">
                                                                                            <a:pos x="56" y="12"/>
                                                                                          </a:cxn>
                                                                                          <a:cxn ang="0">
                                                                                            <a:pos x="66" y="30"/>
                                                                                          </a:cxn>
                                                                                          <a:cxn ang="0">
                                                                                            <a:pos x="66" y="36"/>
                                                                                          </a:cxn>
                                                                                          <a:cxn ang="0">
                                                                                            <a:pos x="76" y="40"/>
                                                                                          </a:cxn>
                                                                                          <a:cxn ang="0">
                                                                                            <a:pos x="82" y="52"/>
                                                                                          </a:cxn>
                                                                                          <a:cxn ang="0">
                                                                                            <a:pos x="88" y="54"/>
                                                                                          </a:cxn>
                                                                                          <a:cxn ang="0">
                                                                                            <a:pos x="82" y="74"/>
                                                                                          </a:cxn>
                                                                                          <a:cxn ang="0">
                                                                                            <a:pos x="78" y="84"/>
                                                                                          </a:cxn>
                                                                                          <a:cxn ang="0">
                                                                                            <a:pos x="74" y="88"/>
                                                                                          </a:cxn>
                                                                                          <a:cxn ang="0">
                                                                                            <a:pos x="70" y="94"/>
                                                                                          </a:cxn>
                                                                                          <a:cxn ang="0">
                                                                                            <a:pos x="66" y="110"/>
                                                                                          </a:cxn>
                                                                                          <a:cxn ang="0">
                                                                                            <a:pos x="70" y="126"/>
                                                                                          </a:cxn>
                                                                                          <a:cxn ang="0">
                                                                                            <a:pos x="72" y="128"/>
                                                                                          </a:cxn>
                                                                                          <a:cxn ang="0">
                                                                                            <a:pos x="78" y="132"/>
                                                                                          </a:cxn>
                                                                                          <a:cxn ang="0">
                                                                                            <a:pos x="86" y="146"/>
                                                                                          </a:cxn>
                                                                                          <a:cxn ang="0">
                                                                                            <a:pos x="92" y="164"/>
                                                                                          </a:cxn>
                                                                                          <a:cxn ang="0">
                                                                                            <a:pos x="98" y="168"/>
                                                                                          </a:cxn>
                                                                                          <a:cxn ang="0">
                                                                                            <a:pos x="86" y="166"/>
                                                                                          </a:cxn>
                                                                                          <a:cxn ang="0">
                                                                                            <a:pos x="84" y="166"/>
                                                                                          </a:cxn>
                                                                                          <a:cxn ang="0">
                                                                                            <a:pos x="72" y="174"/>
                                                                                          </a:cxn>
                                                                                          <a:cxn ang="0">
                                                                                            <a:pos x="60" y="180"/>
                                                                                          </a:cxn>
                                                                                          <a:cxn ang="0">
                                                                                            <a:pos x="56" y="182"/>
                                                                                          </a:cxn>
                                                                                          <a:cxn ang="0">
                                                                                            <a:pos x="52" y="186"/>
                                                                                          </a:cxn>
                                                                                          <a:cxn ang="0">
                                                                                            <a:pos x="42" y="180"/>
                                                                                          </a:cxn>
                                                                                          <a:cxn ang="0">
                                                                                            <a:pos x="40" y="172"/>
                                                                                          </a:cxn>
                                                                                          <a:cxn ang="0">
                                                                                            <a:pos x="34" y="160"/>
                                                                                          </a:cxn>
                                                                                          <a:cxn ang="0">
                                                                                            <a:pos x="30" y="152"/>
                                                                                          </a:cxn>
                                                                                          <a:cxn ang="0">
                                                                                            <a:pos x="30" y="146"/>
                                                                                          </a:cxn>
                                                                                          <a:cxn ang="0">
                                                                                            <a:pos x="28" y="138"/>
                                                                                          </a:cxn>
                                                                                          <a:cxn ang="0">
                                                                                            <a:pos x="30" y="132"/>
                                                                                          </a:cxn>
                                                                                          <a:cxn ang="0">
                                                                                            <a:pos x="32" y="120"/>
                                                                                          </a:cxn>
                                                                                          <a:cxn ang="0">
                                                                                            <a:pos x="38" y="110"/>
                                                                                          </a:cxn>
                                                                                          <a:cxn ang="0">
                                                                                            <a:pos x="34" y="104"/>
                                                                                          </a:cxn>
                                                                                          <a:cxn ang="0">
                                                                                            <a:pos x="32" y="98"/>
                                                                                          </a:cxn>
                                                                                          <a:cxn ang="0">
                                                                                            <a:pos x="24" y="96"/>
                                                                                          </a:cxn>
                                                                                          <a:cxn ang="0">
                                                                                            <a:pos x="26" y="86"/>
                                                                                          </a:cxn>
                                                                                          <a:cxn ang="0">
                                                                                            <a:pos x="14" y="84"/>
                                                                                          </a:cxn>
                                                                                          <a:cxn ang="0">
                                                                                            <a:pos x="2" y="64"/>
                                                                                          </a:cxn>
                                                                                          <a:cxn ang="0">
                                                                                            <a:pos x="2" y="56"/>
                                                                                          </a:cxn>
                                                                                          <a:cxn ang="0">
                                                                                            <a:pos x="6" y="46"/>
                                                                                          </a:cxn>
                                                                                          <a:cxn ang="0">
                                                                                            <a:pos x="6" y="40"/>
                                                                                          </a:cxn>
                                                                                          <a:cxn ang="0">
                                                                                            <a:pos x="20" y="32"/>
                                                                                          </a:cxn>
                                                                                          <a:cxn ang="0">
                                                                                            <a:pos x="14" y="26"/>
                                                                                          </a:cxn>
                                                                                          <a:cxn ang="0">
                                                                                            <a:pos x="10" y="26"/>
                                                                                          </a:cxn>
                                                                                          <a:cxn ang="0">
                                                                                            <a:pos x="12" y="20"/>
                                                                                          </a:cxn>
                                                                                          <a:cxn ang="0">
                                                                                            <a:pos x="14" y="14"/>
                                                                                          </a:cxn>
                                                                                          <a:cxn ang="0">
                                                                                            <a:pos x="18" y="10"/>
                                                                                          </a:cxn>
                                                                                          <a:cxn ang="0">
                                                                                            <a:pos x="30" y="8"/>
                                                                                          </a:cxn>
                                                                                          <a:cxn ang="0">
                                                                                            <a:pos x="30" y="2"/>
                                                                                          </a:cxn>
                                                                                        </a:cxnLst>
                                                                                        <a:rect l="0" t="0" r="r" b="b"/>
                                                                                        <a:pathLst>
                                                                                          <a:path w="98" h="186">
                                                                                            <a:moveTo>
                                                                                              <a:pt x="30" y="2"/>
                                                                                            </a:moveTo>
                                                                                            <a:lnTo>
                                                                                              <a:pt x="30" y="2"/>
                                                                                            </a:lnTo>
                                                                                            <a:lnTo>
                                                                                              <a:pt x="36" y="0"/>
                                                                                            </a:lnTo>
                                                                                            <a:lnTo>
                                                                                              <a:pt x="40" y="0"/>
                                                                                            </a:lnTo>
                                                                                            <a:lnTo>
                                                                                              <a:pt x="56" y="12"/>
                                                                                            </a:lnTo>
                                                                                            <a:lnTo>
                                                                                              <a:pt x="56" y="12"/>
                                                                                            </a:lnTo>
                                                                                            <a:lnTo>
                                                                                              <a:pt x="64" y="20"/>
                                                                                            </a:lnTo>
                                                                                            <a:lnTo>
                                                                                              <a:pt x="66" y="24"/>
                                                                                            </a:lnTo>
                                                                                            <a:lnTo>
                                                                                              <a:pt x="66" y="30"/>
                                                                                            </a:lnTo>
                                                                                            <a:lnTo>
                                                                                              <a:pt x="62" y="38"/>
                                                                                            </a:lnTo>
                                                                                            <a:lnTo>
                                                                                              <a:pt x="62" y="38"/>
                                                                                            </a:lnTo>
                                                                                            <a:lnTo>
                                                                                              <a:pt x="66" y="36"/>
                                                                                            </a:lnTo>
                                                                                            <a:lnTo>
                                                                                              <a:pt x="70" y="36"/>
                                                                                            </a:lnTo>
                                                                                            <a:lnTo>
                                                                                              <a:pt x="76" y="40"/>
                                                                                            </a:lnTo>
                                                                                            <a:lnTo>
                                                                                              <a:pt x="76" y="40"/>
                                                                                            </a:lnTo>
                                                                                            <a:lnTo>
                                                                                              <a:pt x="80" y="46"/>
                                                                                            </a:lnTo>
                                                                                            <a:lnTo>
                                                                                              <a:pt x="82" y="48"/>
                                                                                            </a:lnTo>
                                                                                            <a:lnTo>
                                                                                              <a:pt x="82" y="52"/>
                                                                                            </a:lnTo>
                                                                                            <a:lnTo>
                                                                                              <a:pt x="86" y="52"/>
                                                                                            </a:lnTo>
                                                                                            <a:lnTo>
                                                                                              <a:pt x="86" y="52"/>
                                                                                            </a:lnTo>
                                                                                            <a:lnTo>
                                                                                              <a:pt x="88" y="54"/>
                                                                                            </a:lnTo>
                                                                                            <a:lnTo>
                                                                                              <a:pt x="88" y="56"/>
                                                                                            </a:lnTo>
                                                                                            <a:lnTo>
                                                                                              <a:pt x="86" y="64"/>
                                                                                            </a:lnTo>
                                                                                            <a:lnTo>
                                                                                              <a:pt x="82" y="74"/>
                                                                                            </a:lnTo>
                                                                                            <a:lnTo>
                                                                                              <a:pt x="82" y="74"/>
                                                                                            </a:lnTo>
                                                                                            <a:lnTo>
                                                                                              <a:pt x="78" y="80"/>
                                                                                            </a:lnTo>
                                                                                            <a:lnTo>
                                                                                              <a:pt x="78" y="84"/>
                                                                                            </a:lnTo>
                                                                                            <a:lnTo>
                                                                                              <a:pt x="78" y="86"/>
                                                                                            </a:lnTo>
                                                                                            <a:lnTo>
                                                                                              <a:pt x="74" y="88"/>
                                                                                            </a:lnTo>
                                                                                            <a:lnTo>
                                                                                              <a:pt x="74" y="88"/>
                                                                                            </a:lnTo>
                                                                                            <a:lnTo>
                                                                                              <a:pt x="70" y="90"/>
                                                                                            </a:lnTo>
                                                                                            <a:lnTo>
                                                                                              <a:pt x="68" y="92"/>
                                                                                            </a:lnTo>
                                                                                            <a:lnTo>
                                                                                              <a:pt x="70" y="94"/>
                                                                                            </a:lnTo>
                                                                                            <a:lnTo>
                                                                                              <a:pt x="68" y="102"/>
                                                                                            </a:lnTo>
                                                                                            <a:lnTo>
                                                                                              <a:pt x="68" y="102"/>
                                                                                            </a:lnTo>
                                                                                            <a:lnTo>
                                                                                              <a:pt x="66" y="110"/>
                                                                                            </a:lnTo>
                                                                                            <a:lnTo>
                                                                                              <a:pt x="68" y="116"/>
                                                                                            </a:lnTo>
                                                                                            <a:lnTo>
                                                                                              <a:pt x="70" y="120"/>
                                                                                            </a:lnTo>
                                                                                            <a:lnTo>
                                                                                              <a:pt x="70" y="126"/>
                                                                                            </a:lnTo>
                                                                                            <a:lnTo>
                                                                                              <a:pt x="70" y="126"/>
                                                                                            </a:lnTo>
                                                                                            <a:lnTo>
                                                                                              <a:pt x="72" y="128"/>
                                                                                            </a:lnTo>
                                                                                            <a:lnTo>
                                                                                              <a:pt x="72" y="128"/>
                                                                                            </a:lnTo>
                                                                                            <a:lnTo>
                                                                                              <a:pt x="76" y="128"/>
                                                                                            </a:lnTo>
                                                                                            <a:lnTo>
                                                                                              <a:pt x="78" y="132"/>
                                                                                            </a:lnTo>
                                                                                            <a:lnTo>
                                                                                              <a:pt x="78" y="132"/>
                                                                                            </a:lnTo>
                                                                                            <a:lnTo>
                                                                                              <a:pt x="82" y="140"/>
                                                                                            </a:lnTo>
                                                                                            <a:lnTo>
                                                                                              <a:pt x="86" y="146"/>
                                                                                            </a:lnTo>
                                                                                            <a:lnTo>
                                                                                              <a:pt x="86" y="146"/>
                                                                                            </a:lnTo>
                                                                                            <a:lnTo>
                                                                                              <a:pt x="88" y="150"/>
                                                                                            </a:lnTo>
                                                                                            <a:lnTo>
                                                                                              <a:pt x="90" y="156"/>
                                                                                            </a:lnTo>
                                                                                            <a:lnTo>
                                                                                              <a:pt x="92" y="164"/>
                                                                                            </a:lnTo>
                                                                                            <a:lnTo>
                                                                                              <a:pt x="94" y="166"/>
                                                                                            </a:lnTo>
                                                                                            <a:lnTo>
                                                                                              <a:pt x="98" y="168"/>
                                                                                            </a:lnTo>
                                                                                            <a:lnTo>
                                                                                              <a:pt x="98" y="168"/>
                                                                                            </a:lnTo>
                                                                                            <a:lnTo>
                                                                                              <a:pt x="90" y="170"/>
                                                                                            </a:lnTo>
                                                                                            <a:lnTo>
                                                                                              <a:pt x="88" y="168"/>
                                                                                            </a:lnTo>
                                                                                            <a:lnTo>
                                                                                              <a:pt x="86" y="166"/>
                                                                                            </a:lnTo>
                                                                                            <a:lnTo>
                                                                                              <a:pt x="86" y="166"/>
                                                                                            </a:lnTo>
                                                                                            <a:lnTo>
                                                                                              <a:pt x="86" y="166"/>
                                                                                            </a:lnTo>
                                                                                            <a:lnTo>
                                                                                              <a:pt x="84" y="166"/>
                                                                                            </a:lnTo>
                                                                                            <a:lnTo>
                                                                                              <a:pt x="82" y="168"/>
                                                                                            </a:lnTo>
                                                                                            <a:lnTo>
                                                                                              <a:pt x="80" y="170"/>
                                                                                            </a:lnTo>
                                                                                            <a:lnTo>
                                                                                              <a:pt x="72" y="174"/>
                                                                                            </a:lnTo>
                                                                                            <a:lnTo>
                                                                                              <a:pt x="72" y="174"/>
                                                                                            </a:lnTo>
                                                                                            <a:lnTo>
                                                                                              <a:pt x="64" y="176"/>
                                                                                            </a:lnTo>
                                                                                            <a:lnTo>
                                                                                              <a:pt x="60" y="180"/>
                                                                                            </a:lnTo>
                                                                                            <a:lnTo>
                                                                                              <a:pt x="60" y="184"/>
                                                                                            </a:lnTo>
                                                                                            <a:lnTo>
                                                                                              <a:pt x="60" y="184"/>
                                                                                            </a:lnTo>
                                                                                            <a:lnTo>
                                                                                              <a:pt x="56" y="182"/>
                                                                                            </a:lnTo>
                                                                                            <a:lnTo>
                                                                                              <a:pt x="54" y="184"/>
                                                                                            </a:lnTo>
                                                                                            <a:lnTo>
                                                                                              <a:pt x="52" y="186"/>
                                                                                            </a:lnTo>
                                                                                            <a:lnTo>
                                                                                              <a:pt x="52" y="186"/>
                                                                                            </a:lnTo>
                                                                                            <a:lnTo>
                                                                                              <a:pt x="48" y="184"/>
                                                                                            </a:lnTo>
                                                                                            <a:lnTo>
                                                                                              <a:pt x="46" y="182"/>
                                                                                            </a:lnTo>
                                                                                            <a:lnTo>
                                                                                              <a:pt x="42" y="180"/>
                                                                                            </a:lnTo>
                                                                                            <a:lnTo>
                                                                                              <a:pt x="40" y="174"/>
                                                                                            </a:lnTo>
                                                                                            <a:lnTo>
                                                                                              <a:pt x="40" y="174"/>
                                                                                            </a:lnTo>
                                                                                            <a:lnTo>
                                                                                              <a:pt x="40" y="172"/>
                                                                                            </a:lnTo>
                                                                                            <a:lnTo>
                                                                                              <a:pt x="38" y="170"/>
                                                                                            </a:lnTo>
                                                                                            <a:lnTo>
                                                                                              <a:pt x="36" y="168"/>
                                                                                            </a:lnTo>
                                                                                            <a:lnTo>
                                                                                              <a:pt x="34" y="160"/>
                                                                                            </a:lnTo>
                                                                                            <a:lnTo>
                                                                                              <a:pt x="34" y="160"/>
                                                                                            </a:lnTo>
                                                                                            <a:lnTo>
                                                                                              <a:pt x="32" y="154"/>
                                                                                            </a:lnTo>
                                                                                            <a:lnTo>
                                                                                              <a:pt x="30" y="152"/>
                                                                                            </a:lnTo>
                                                                                            <a:lnTo>
                                                                                              <a:pt x="28" y="150"/>
                                                                                            </a:lnTo>
                                                                                            <a:lnTo>
                                                                                              <a:pt x="30" y="146"/>
                                                                                            </a:lnTo>
                                                                                            <a:lnTo>
                                                                                              <a:pt x="30" y="146"/>
                                                                                            </a:lnTo>
                                                                                            <a:lnTo>
                                                                                              <a:pt x="32" y="144"/>
                                                                                            </a:lnTo>
                                                                                            <a:lnTo>
                                                                                              <a:pt x="30" y="140"/>
                                                                                            </a:lnTo>
                                                                                            <a:lnTo>
                                                                                              <a:pt x="28" y="138"/>
                                                                                            </a:lnTo>
                                                                                            <a:lnTo>
                                                                                              <a:pt x="28" y="134"/>
                                                                                            </a:lnTo>
                                                                                            <a:lnTo>
                                                                                              <a:pt x="28" y="134"/>
                                                                                            </a:lnTo>
                                                                                            <a:lnTo>
                                                                                              <a:pt x="30" y="132"/>
                                                                                            </a:lnTo>
                                                                                            <a:lnTo>
                                                                                              <a:pt x="28" y="130"/>
                                                                                            </a:lnTo>
                                                                                            <a:lnTo>
                                                                                              <a:pt x="28" y="126"/>
                                                                                            </a:lnTo>
                                                                                            <a:lnTo>
                                                                                              <a:pt x="32" y="120"/>
                                                                                            </a:lnTo>
                                                                                            <a:lnTo>
                                                                                              <a:pt x="32" y="120"/>
                                                                                            </a:lnTo>
                                                                                            <a:lnTo>
                                                                                              <a:pt x="38" y="112"/>
                                                                                            </a:lnTo>
                                                                                            <a:lnTo>
                                                                                              <a:pt x="38" y="110"/>
                                                                                            </a:lnTo>
                                                                                            <a:lnTo>
                                                                                              <a:pt x="38" y="110"/>
                                                                                            </a:lnTo>
                                                                                            <a:lnTo>
                                                                                              <a:pt x="34" y="108"/>
                                                                                            </a:lnTo>
                                                                                            <a:lnTo>
                                                                                              <a:pt x="34" y="104"/>
                                                                                            </a:lnTo>
                                                                                            <a:lnTo>
                                                                                              <a:pt x="32" y="100"/>
                                                                                            </a:lnTo>
                                                                                            <a:lnTo>
                                                                                              <a:pt x="32" y="100"/>
                                                                                            </a:lnTo>
                                                                                            <a:lnTo>
                                                                                              <a:pt x="32" y="98"/>
                                                                                            </a:lnTo>
                                                                                            <a:lnTo>
                                                                                              <a:pt x="32" y="96"/>
                                                                                            </a:lnTo>
                                                                                            <a:lnTo>
                                                                                              <a:pt x="28" y="96"/>
                                                                                            </a:lnTo>
                                                                                            <a:lnTo>
                                                                                              <a:pt x="24" y="96"/>
                                                                                            </a:lnTo>
                                                                                            <a:lnTo>
                                                                                              <a:pt x="26" y="92"/>
                                                                                            </a:lnTo>
                                                                                            <a:lnTo>
                                                                                              <a:pt x="26" y="92"/>
                                                                                            </a:lnTo>
                                                                                            <a:lnTo>
                                                                                              <a:pt x="26" y="86"/>
                                                                                            </a:lnTo>
                                                                                            <a:lnTo>
                                                                                              <a:pt x="24" y="86"/>
                                                                                            </a:lnTo>
                                                                                            <a:lnTo>
                                                                                              <a:pt x="20" y="86"/>
                                                                                            </a:lnTo>
                                                                                            <a:lnTo>
                                                                                              <a:pt x="14" y="84"/>
                                                                                            </a:lnTo>
                                                                                            <a:lnTo>
                                                                                              <a:pt x="14" y="84"/>
                                                                                            </a:lnTo>
                                                                                            <a:lnTo>
                                                                                              <a:pt x="4" y="70"/>
                                                                                            </a:lnTo>
                                                                                            <a:lnTo>
                                                                                              <a:pt x="2" y="64"/>
                                                                                            </a:lnTo>
                                                                                            <a:lnTo>
                                                                                              <a:pt x="0" y="60"/>
                                                                                            </a:lnTo>
                                                                                            <a:lnTo>
                                                                                              <a:pt x="0" y="60"/>
                                                                                            </a:lnTo>
                                                                                            <a:lnTo>
                                                                                              <a:pt x="2" y="56"/>
                                                                                            </a:lnTo>
                                                                                            <a:lnTo>
                                                                                              <a:pt x="4" y="52"/>
                                                                                            </a:lnTo>
                                                                                            <a:lnTo>
                                                                                              <a:pt x="8" y="50"/>
                                                                                            </a:lnTo>
                                                                                            <a:lnTo>
                                                                                              <a:pt x="6" y="46"/>
                                                                                            </a:lnTo>
                                                                                            <a:lnTo>
                                                                                              <a:pt x="6" y="46"/>
                                                                                            </a:lnTo>
                                                                                            <a:lnTo>
                                                                                              <a:pt x="6" y="42"/>
                                                                                            </a:lnTo>
                                                                                            <a:lnTo>
                                                                                              <a:pt x="6" y="40"/>
                                                                                            </a:lnTo>
                                                                                            <a:lnTo>
                                                                                              <a:pt x="16" y="34"/>
                                                                                            </a:lnTo>
                                                                                            <a:lnTo>
                                                                                              <a:pt x="16" y="34"/>
                                                                                            </a:lnTo>
                                                                                            <a:lnTo>
                                                                                              <a:pt x="20" y="32"/>
                                                                                            </a:lnTo>
                                                                                            <a:lnTo>
                                                                                              <a:pt x="20" y="28"/>
                                                                                            </a:lnTo>
                                                                                            <a:lnTo>
                                                                                              <a:pt x="18" y="26"/>
                                                                                            </a:lnTo>
                                                                                            <a:lnTo>
                                                                                              <a:pt x="14" y="26"/>
                                                                                            </a:lnTo>
                                                                                            <a:lnTo>
                                                                                              <a:pt x="14" y="26"/>
                                                                                            </a:lnTo>
                                                                                            <a:lnTo>
                                                                                              <a:pt x="10" y="28"/>
                                                                                            </a:lnTo>
                                                                                            <a:lnTo>
                                                                                              <a:pt x="10" y="26"/>
                                                                                            </a:lnTo>
                                                                                            <a:lnTo>
                                                                                              <a:pt x="12" y="24"/>
                                                                                            </a:lnTo>
                                                                                            <a:lnTo>
                                                                                              <a:pt x="12" y="20"/>
                                                                                            </a:lnTo>
                                                                                            <a:lnTo>
                                                                                              <a:pt x="12" y="20"/>
                                                                                            </a:lnTo>
                                                                                            <a:lnTo>
                                                                                              <a:pt x="12" y="18"/>
                                                                                            </a:lnTo>
                                                                                            <a:lnTo>
                                                                                              <a:pt x="12" y="16"/>
                                                                                            </a:lnTo>
                                                                                            <a:lnTo>
                                                                                              <a:pt x="14" y="14"/>
                                                                                            </a:lnTo>
                                                                                            <a:lnTo>
                                                                                              <a:pt x="16" y="12"/>
                                                                                            </a:lnTo>
                                                                                            <a:lnTo>
                                                                                              <a:pt x="16" y="12"/>
                                                                                            </a:lnTo>
                                                                                            <a:lnTo>
                                                                                              <a:pt x="18" y="10"/>
                                                                                            </a:lnTo>
                                                                                            <a:lnTo>
                                                                                              <a:pt x="20" y="8"/>
                                                                                            </a:lnTo>
                                                                                            <a:lnTo>
                                                                                              <a:pt x="26" y="8"/>
                                                                                            </a:lnTo>
                                                                                            <a:lnTo>
                                                                                              <a:pt x="30" y="8"/>
                                                                                            </a:lnTo>
                                                                                            <a:lnTo>
                                                                                              <a:pt x="30" y="6"/>
                                                                                            </a:lnTo>
                                                                                            <a:lnTo>
                                                                                              <a:pt x="30" y="2"/>
                                                                                            </a:lnTo>
                                                                                            <a:lnTo>
                                                                                              <a:pt x="30" y="2"/>
                                                                                            </a:lnTo>
                                                                                            <a:close/>
                                                                                          </a:path>
                                                                                        </a:pathLst>
                                                                                      </a:custGeom>
                                                                                      <a:solidFill>
                                                                                        <a:schemeClr val="accent3"/>
                                                                                      </a:solid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5" name="Freeform 19"/>
                                                                                    <p:cNvSpPr>
                                                                                      <a:spLocks/>
                                                                                    </p:cNvSpPr>
                                                                                    <p:nvPr/>
                                                                                  </p:nvSpPr>
                                                                                  <p:spPr bwMode="auto">
                                                                                    <a:xfrm>
                                                                                      <a:off x="4037096" y="3473141"/>
                                                                                      <a:ext cx="103279" cy="154777"/>
                                                                                    </a:xfrm>
                                                                                    <a:custGeom>
                                                                                      <a:avLst/>
                                                                                      <a:gdLst/>
                                                                                      <a:ahLst/>
                                                                                      <a:cxnLst>
                                                                                        <a:cxn ang="0">
                                                                                          <a:pos x="68" y="38"/>
                                                                                        </a:cxn>
                                                                                        <a:cxn ang="0">
                                                                                          <a:pos x="64" y="32"/>
                                                                                        </a:cxn>
                                                                                        <a:cxn ang="0">
                                                                                          <a:pos x="62" y="26"/>
                                                                                        </a:cxn>
                                                                                        <a:cxn ang="0">
                                                                                          <a:pos x="60" y="24"/>
                                                                                        </a:cxn>
                                                                                        <a:cxn ang="0">
                                                                                          <a:pos x="56" y="22"/>
                                                                                        </a:cxn>
                                                                                        <a:cxn ang="0">
                                                                                          <a:pos x="54" y="18"/>
                                                                                        </a:cxn>
                                                                                        <a:cxn ang="0">
                                                                                          <a:pos x="50" y="16"/>
                                                                                        </a:cxn>
                                                                                        <a:cxn ang="0">
                                                                                          <a:pos x="46" y="14"/>
                                                                                        </a:cxn>
                                                                                        <a:cxn ang="0">
                                                                                          <a:pos x="42" y="10"/>
                                                                                        </a:cxn>
                                                                                        <a:cxn ang="0">
                                                                                          <a:pos x="32" y="6"/>
                                                                                        </a:cxn>
                                                                                        <a:cxn ang="0">
                                                                                          <a:pos x="28" y="4"/>
                                                                                        </a:cxn>
                                                                                        <a:cxn ang="0">
                                                                                          <a:pos x="24" y="0"/>
                                                                                        </a:cxn>
                                                                                        <a:cxn ang="0">
                                                                                          <a:pos x="20" y="2"/>
                                                                                        </a:cxn>
                                                                                        <a:cxn ang="0">
                                                                                          <a:pos x="6" y="18"/>
                                                                                        </a:cxn>
                                                                                        <a:cxn ang="0">
                                                                                          <a:pos x="4" y="32"/>
                                                                                        </a:cxn>
                                                                                        <a:cxn ang="0">
                                                                                          <a:pos x="6" y="36"/>
                                                                                        </a:cxn>
                                                                                        <a:cxn ang="0">
                                                                                          <a:pos x="4" y="42"/>
                                                                                        </a:cxn>
                                                                                        <a:cxn ang="0">
                                                                                          <a:pos x="8" y="46"/>
                                                                                        </a:cxn>
                                                                                        <a:cxn ang="0">
                                                                                          <a:pos x="12" y="60"/>
                                                                                        </a:cxn>
                                                                                        <a:cxn ang="0">
                                                                                          <a:pos x="14" y="64"/>
                                                                                        </a:cxn>
                                                                                        <a:cxn ang="0">
                                                                                          <a:pos x="10" y="72"/>
                                                                                        </a:cxn>
                                                                                        <a:cxn ang="0">
                                                                                          <a:pos x="10" y="76"/>
                                                                                        </a:cxn>
                                                                                        <a:cxn ang="0">
                                                                                          <a:pos x="8" y="84"/>
                                                                                        </a:cxn>
                                                                                        <a:cxn ang="0">
                                                                                          <a:pos x="0" y="94"/>
                                                                                        </a:cxn>
                                                                                        <a:cxn ang="0">
                                                                                          <a:pos x="4" y="96"/>
                                                                                        </a:cxn>
                                                                                        <a:cxn ang="0">
                                                                                          <a:pos x="6" y="96"/>
                                                                                        </a:cxn>
                                                                                        <a:cxn ang="0">
                                                                                          <a:pos x="10" y="98"/>
                                                                                        </a:cxn>
                                                                                        <a:cxn ang="0">
                                                                                          <a:pos x="14" y="98"/>
                                                                                        </a:cxn>
                                                                                        <a:cxn ang="0">
                                                                                          <a:pos x="18" y="98"/>
                                                                                        </a:cxn>
                                                                                        <a:cxn ang="0">
                                                                                          <a:pos x="22" y="102"/>
                                                                                        </a:cxn>
                                                                                        <a:cxn ang="0">
                                                                                          <a:pos x="30" y="100"/>
                                                                                        </a:cxn>
                                                                                        <a:cxn ang="0">
                                                                                          <a:pos x="40" y="96"/>
                                                                                        </a:cxn>
                                                                                        <a:cxn ang="0">
                                                                                          <a:pos x="40" y="92"/>
                                                                                        </a:cxn>
                                                                                        <a:cxn ang="0">
                                                                                          <a:pos x="44" y="88"/>
                                                                                        </a:cxn>
                                                                                        <a:cxn ang="0">
                                                                                          <a:pos x="48" y="80"/>
                                                                                        </a:cxn>
                                                                                        <a:cxn ang="0">
                                                                                          <a:pos x="50" y="72"/>
                                                                                        </a:cxn>
                                                                                        <a:cxn ang="0">
                                                                                          <a:pos x="56" y="66"/>
                                                                                        </a:cxn>
                                                                                        <a:cxn ang="0">
                                                                                          <a:pos x="56" y="64"/>
                                                                                        </a:cxn>
                                                                                        <a:cxn ang="0">
                                                                                          <a:pos x="60" y="56"/>
                                                                                        </a:cxn>
                                                                                        <a:cxn ang="0">
                                                                                          <a:pos x="62" y="50"/>
                                                                                        </a:cxn>
                                                                                        <a:cxn ang="0">
                                                                                          <a:pos x="62" y="44"/>
                                                                                        </a:cxn>
                                                                                        <a:cxn ang="0">
                                                                                          <a:pos x="66" y="42"/>
                                                                                        </a:cxn>
                                                                                        <a:cxn ang="0">
                                                                                          <a:pos x="68" y="38"/>
                                                                                        </a:cxn>
                                                                                      </a:cxnLst>
                                                                                      <a:rect l="0" t="0" r="r" b="b"/>
                                                                                      <a:pathLst>
                                                                                        <a:path w="68" h="102">
                                                                                          <a:moveTo>
                                                                                            <a:pt x="68" y="38"/>
                                                                                          </a:moveTo>
                                                                                          <a:lnTo>
                                                                                            <a:pt x="68" y="38"/>
                                                                                          </a:lnTo>
                                                                                          <a:lnTo>
                                                                                            <a:pt x="66" y="34"/>
                                                                                          </a:lnTo>
                                                                                          <a:lnTo>
                                                                                            <a:pt x="64" y="32"/>
                                                                                          </a:lnTo>
                                                                                          <a:lnTo>
                                                                                            <a:pt x="62" y="30"/>
                                                                                          </a:lnTo>
                                                                                          <a:lnTo>
                                                                                            <a:pt x="62" y="26"/>
                                                                                          </a:lnTo>
                                                                                          <a:lnTo>
                                                                                            <a:pt x="62" y="26"/>
                                                                                          </a:lnTo>
                                                                                          <a:lnTo>
                                                                                            <a:pt x="60" y="24"/>
                                                                                          </a:lnTo>
                                                                                          <a:lnTo>
                                                                                            <a:pt x="58" y="24"/>
                                                                                          </a:lnTo>
                                                                                          <a:lnTo>
                                                                                            <a:pt x="56" y="22"/>
                                                                                          </a:lnTo>
                                                                                          <a:lnTo>
                                                                                            <a:pt x="54" y="18"/>
                                                                                          </a:lnTo>
                                                                                          <a:lnTo>
                                                                                            <a:pt x="54" y="18"/>
                                                                                          </a:lnTo>
                                                                                          <a:lnTo>
                                                                                            <a:pt x="52" y="16"/>
                                                                                          </a:lnTo>
                                                                                          <a:lnTo>
                                                                                            <a:pt x="50" y="16"/>
                                                                                          </a:lnTo>
                                                                                          <a:lnTo>
                                                                                            <a:pt x="50" y="16"/>
                                                                                          </a:lnTo>
                                                                                          <a:lnTo>
                                                                                            <a:pt x="46" y="14"/>
                                                                                          </a:lnTo>
                                                                                          <a:lnTo>
                                                                                            <a:pt x="46" y="14"/>
                                                                                          </a:lnTo>
                                                                                          <a:lnTo>
                                                                                            <a:pt x="42" y="10"/>
                                                                                          </a:lnTo>
                                                                                          <a:lnTo>
                                                                                            <a:pt x="36" y="8"/>
                                                                                          </a:lnTo>
                                                                                          <a:lnTo>
                                                                                            <a:pt x="32" y="6"/>
                                                                                          </a:lnTo>
                                                                                          <a:lnTo>
                                                                                            <a:pt x="28" y="4"/>
                                                                                          </a:lnTo>
                                                                                          <a:lnTo>
                                                                                            <a:pt x="28" y="4"/>
                                                                                          </a:lnTo>
                                                                                          <a:lnTo>
                                                                                            <a:pt x="26" y="0"/>
                                                                                          </a:lnTo>
                                                                                          <a:lnTo>
                                                                                            <a:pt x="24" y="0"/>
                                                                                          </a:lnTo>
                                                                                          <a:lnTo>
                                                                                            <a:pt x="20" y="2"/>
                                                                                          </a:lnTo>
                                                                                          <a:lnTo>
                                                                                            <a:pt x="20" y="2"/>
                                                                                          </a:lnTo>
                                                                                          <a:lnTo>
                                                                                            <a:pt x="12" y="10"/>
                                                                                          </a:lnTo>
                                                                                          <a:lnTo>
                                                                                            <a:pt x="6" y="18"/>
                                                                                          </a:lnTo>
                                                                                          <a:lnTo>
                                                                                            <a:pt x="4" y="26"/>
                                                                                          </a:lnTo>
                                                                                          <a:lnTo>
                                                                                            <a:pt x="4" y="32"/>
                                                                                          </a:lnTo>
                                                                                          <a:lnTo>
                                                                                            <a:pt x="4" y="32"/>
                                                                                          </a:lnTo>
                                                                                          <a:lnTo>
                                                                                            <a:pt x="6" y="36"/>
                                                                                          </a:lnTo>
                                                                                          <a:lnTo>
                                                                                            <a:pt x="6" y="38"/>
                                                                                          </a:lnTo>
                                                                                          <a:lnTo>
                                                                                            <a:pt x="4" y="42"/>
                                                                                          </a:lnTo>
                                                                                          <a:lnTo>
                                                                                            <a:pt x="8" y="46"/>
                                                                                          </a:lnTo>
                                                                                          <a:lnTo>
                                                                                            <a:pt x="8" y="46"/>
                                                                                          </a:lnTo>
                                                                                          <a:lnTo>
                                                                                            <a:pt x="10" y="52"/>
                                                                                          </a:lnTo>
                                                                                          <a:lnTo>
                                                                                            <a:pt x="12" y="60"/>
                                                                                          </a:lnTo>
                                                                                          <a:lnTo>
                                                                                            <a:pt x="12" y="60"/>
                                                                                          </a:lnTo>
                                                                                          <a:lnTo>
                                                                                            <a:pt x="14" y="64"/>
                                                                                          </a:lnTo>
                                                                                          <a:lnTo>
                                                                                            <a:pt x="12" y="68"/>
                                                                                          </a:lnTo>
                                                                                          <a:lnTo>
                                                                                            <a:pt x="10" y="72"/>
                                                                                          </a:lnTo>
                                                                                          <a:lnTo>
                                                                                            <a:pt x="10" y="76"/>
                                                                                          </a:lnTo>
                                                                                          <a:lnTo>
                                                                                            <a:pt x="10" y="76"/>
                                                                                          </a:lnTo>
                                                                                          <a:lnTo>
                                                                                            <a:pt x="10" y="80"/>
                                                                                          </a:lnTo>
                                                                                          <a:lnTo>
                                                                                            <a:pt x="8" y="84"/>
                                                                                          </a:lnTo>
                                                                                          <a:lnTo>
                                                                                            <a:pt x="4" y="88"/>
                                                                                          </a:lnTo>
                                                                                          <a:lnTo>
                                                                                            <a:pt x="0" y="94"/>
                                                                                          </a:lnTo>
                                                                                          <a:lnTo>
                                                                                            <a:pt x="0" y="94"/>
                                                                                          </a:lnTo>
                                                                                          <a:lnTo>
                                                                                            <a:pt x="4" y="96"/>
                                                                                          </a:lnTo>
                                                                                          <a:lnTo>
                                                                                            <a:pt x="6" y="96"/>
                                                                                          </a:lnTo>
                                                                                          <a:lnTo>
                                                                                            <a:pt x="6" y="96"/>
                                                                                          </a:lnTo>
                                                                                          <a:lnTo>
                                                                                            <a:pt x="10" y="96"/>
                                                                                          </a:lnTo>
                                                                                          <a:lnTo>
                                                                                            <a:pt x="10" y="98"/>
                                                                                          </a:lnTo>
                                                                                          <a:lnTo>
                                                                                            <a:pt x="12" y="98"/>
                                                                                          </a:lnTo>
                                                                                          <a:lnTo>
                                                                                            <a:pt x="14" y="98"/>
                                                                                          </a:lnTo>
                                                                                          <a:lnTo>
                                                                                            <a:pt x="14" y="98"/>
                                                                                          </a:lnTo>
                                                                                          <a:lnTo>
                                                                                            <a:pt x="18" y="98"/>
                                                                                          </a:lnTo>
                                                                                          <a:lnTo>
                                                                                            <a:pt x="20" y="102"/>
                                                                                          </a:lnTo>
                                                                                          <a:lnTo>
                                                                                            <a:pt x="22" y="102"/>
                                                                                          </a:lnTo>
                                                                                          <a:lnTo>
                                                                                            <a:pt x="30" y="100"/>
                                                                                          </a:lnTo>
                                                                                          <a:lnTo>
                                                                                            <a:pt x="30" y="100"/>
                                                                                          </a:lnTo>
                                                                                          <a:lnTo>
                                                                                            <a:pt x="38" y="98"/>
                                                                                          </a:lnTo>
                                                                                          <a:lnTo>
                                                                                            <a:pt x="40" y="96"/>
                                                                                          </a:lnTo>
                                                                                          <a:lnTo>
                                                                                            <a:pt x="40" y="92"/>
                                                                                          </a:lnTo>
                                                                                          <a:lnTo>
                                                                                            <a:pt x="40" y="92"/>
                                                                                          </a:lnTo>
                                                                                          <a:lnTo>
                                                                                            <a:pt x="42" y="88"/>
                                                                                          </a:lnTo>
                                                                                          <a:lnTo>
                                                                                            <a:pt x="44" y="88"/>
                                                                                          </a:lnTo>
                                                                                          <a:lnTo>
                                                                                            <a:pt x="46" y="86"/>
                                                                                          </a:lnTo>
                                                                                          <a:lnTo>
                                                                                            <a:pt x="48" y="80"/>
                                                                                          </a:lnTo>
                                                                                          <a:lnTo>
                                                                                            <a:pt x="48" y="80"/>
                                                                                          </a:lnTo>
                                                                                          <a:lnTo>
                                                                                            <a:pt x="50" y="72"/>
                                                                                          </a:lnTo>
                                                                                          <a:lnTo>
                                                                                            <a:pt x="54" y="68"/>
                                                                                          </a:lnTo>
                                                                                          <a:lnTo>
                                                                                            <a:pt x="56" y="66"/>
                                                                                          </a:lnTo>
                                                                                          <a:lnTo>
                                                                                            <a:pt x="56" y="64"/>
                                                                                          </a:lnTo>
                                                                                          <a:lnTo>
                                                                                            <a:pt x="56" y="64"/>
                                                                                          </a:lnTo>
                                                                                          <a:lnTo>
                                                                                            <a:pt x="58" y="58"/>
                                                                                          </a:lnTo>
                                                                                          <a:lnTo>
                                                                                            <a:pt x="60" y="56"/>
                                                                                          </a:lnTo>
                                                                                          <a:lnTo>
                                                                                            <a:pt x="62" y="54"/>
                                                                                          </a:lnTo>
                                                                                          <a:lnTo>
                                                                                            <a:pt x="62" y="50"/>
                                                                                          </a:lnTo>
                                                                                          <a:lnTo>
                                                                                            <a:pt x="62" y="50"/>
                                                                                          </a:lnTo>
                                                                                          <a:lnTo>
                                                                                            <a:pt x="62" y="44"/>
                                                                                          </a:lnTo>
                                                                                          <a:lnTo>
                                                                                            <a:pt x="64" y="44"/>
                                                                                          </a:lnTo>
                                                                                          <a:lnTo>
                                                                                            <a:pt x="66" y="42"/>
                                                                                          </a:lnTo>
                                                                                          <a:lnTo>
                                                                                            <a:pt x="68" y="38"/>
                                                                                          </a:lnTo>
                                                                                          <a:lnTo>
                                                                                            <a:pt x="68" y="38"/>
                                                                                          </a:lnTo>
                                                                                          <a:close/>
                                                                                        </a:path>
                                                                                      </a:pathLst>
                                                                                    </a:custGeom>
                                                                                    <a:solidFill>
                                                                                      <a:schemeClr val="accent3">
                                                                                        <a:alpha val="99000"/>
                                                                                      </a:schemeClr>
                                                                                    </a:solid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7" name="Freeform 158"/>
                                                                                  <p:cNvSpPr>
                                                                                    <a:spLocks/>
                                                                                  </p:cNvSpPr>
                                                                                  <p:nvPr/>
                                                                                </p:nvSpPr>
                                                                                <p:spPr bwMode="auto">
                                                                                  <a:xfrm>
                                                                                    <a:off x="5261272" y="2639733"/>
                                                                                    <a:ext cx="370593" cy="473434"/>
                                                                                  </a:xfrm>
                                                                                  <a:custGeom>
                                                                                    <a:avLst/>
                                                                                    <a:gdLst/>
                                                                                    <a:ahLst/>
                                                                                    <a:cxnLst>
                                                                                      <a:cxn ang="0">
                                                                                        <a:pos x="0" y="162"/>
                                                                                      </a:cxn>
                                                                                      <a:cxn ang="0">
                                                                                        <a:pos x="4" y="164"/>
                                                                                      </a:cxn>
                                                                                      <a:cxn ang="0">
                                                                                        <a:pos x="10" y="178"/>
                                                                                      </a:cxn>
                                                                                      <a:cxn ang="0">
                                                                                        <a:pos x="8" y="188"/>
                                                                                      </a:cxn>
                                                                                      <a:cxn ang="0">
                                                                                        <a:pos x="6" y="196"/>
                                                                                      </a:cxn>
                                                                                      <a:cxn ang="0">
                                                                                        <a:pos x="10" y="196"/>
                                                                                      </a:cxn>
                                                                                      <a:cxn ang="0">
                                                                                        <a:pos x="6" y="202"/>
                                                                                      </a:cxn>
                                                                                      <a:cxn ang="0">
                                                                                        <a:pos x="14" y="216"/>
                                                                                      </a:cxn>
                                                                                      <a:cxn ang="0">
                                                                                        <a:pos x="14" y="242"/>
                                                                                      </a:cxn>
                                                                                      <a:cxn ang="0">
                                                                                        <a:pos x="8" y="264"/>
                                                                                      </a:cxn>
                                                                                      <a:cxn ang="0">
                                                                                        <a:pos x="8" y="274"/>
                                                                                      </a:cxn>
                                                                                      <a:cxn ang="0">
                                                                                        <a:pos x="16" y="270"/>
                                                                                      </a:cxn>
                                                                                      <a:cxn ang="0">
                                                                                        <a:pos x="22" y="272"/>
                                                                                      </a:cxn>
                                                                                      <a:cxn ang="0">
                                                                                        <a:pos x="28" y="272"/>
                                                                                      </a:cxn>
                                                                                      <a:cxn ang="0">
                                                                                        <a:pos x="36" y="272"/>
                                                                                      </a:cxn>
                                                                                      <a:cxn ang="0">
                                                                                        <a:pos x="40" y="268"/>
                                                                                      </a:cxn>
                                                                                      <a:cxn ang="0">
                                                                                        <a:pos x="42" y="268"/>
                                                                                      </a:cxn>
                                                                                      <a:cxn ang="0">
                                                                                        <a:pos x="48" y="270"/>
                                                                                      </a:cxn>
                                                                                      <a:cxn ang="0">
                                                                                        <a:pos x="58" y="276"/>
                                                                                      </a:cxn>
                                                                                      <a:cxn ang="0">
                                                                                        <a:pos x="66" y="282"/>
                                                                                      </a:cxn>
                                                                                      <a:cxn ang="0">
                                                                                        <a:pos x="70" y="284"/>
                                                                                      </a:cxn>
                                                                                      <a:cxn ang="0">
                                                                                        <a:pos x="72" y="290"/>
                                                                                      </a:cxn>
                                                                                      <a:cxn ang="0">
                                                                                        <a:pos x="76" y="298"/>
                                                                                      </a:cxn>
                                                                                      <a:cxn ang="0">
                                                                                        <a:pos x="80" y="304"/>
                                                                                      </a:cxn>
                                                                                      <a:cxn ang="0">
                                                                                        <a:pos x="88" y="312"/>
                                                                                      </a:cxn>
                                                                                      <a:cxn ang="0">
                                                                                        <a:pos x="96" y="304"/>
                                                                                      </a:cxn>
                                                                                      <a:cxn ang="0">
                                                                                        <a:pos x="102" y="296"/>
                                                                                      </a:cxn>
                                                                                      <a:cxn ang="0">
                                                                                        <a:pos x="106" y="292"/>
                                                                                      </a:cxn>
                                                                                      <a:cxn ang="0">
                                                                                        <a:pos x="112" y="292"/>
                                                                                      </a:cxn>
                                                                                      <a:cxn ang="0">
                                                                                        <a:pos x="122" y="302"/>
                                                                                      </a:cxn>
                                                                                      <a:cxn ang="0">
                                                                                        <a:pos x="132" y="300"/>
                                                                                      </a:cxn>
                                                                                      <a:cxn ang="0">
                                                                                        <a:pos x="146" y="300"/>
                                                                                      </a:cxn>
                                                                                      <a:cxn ang="0">
                                                                                        <a:pos x="152" y="294"/>
                                                                                      </a:cxn>
                                                                                      <a:cxn ang="0">
                                                                                        <a:pos x="154" y="298"/>
                                                                                      </a:cxn>
                                                                                      <a:cxn ang="0">
                                                                                        <a:pos x="156" y="300"/>
                                                                                      </a:cxn>
                                                                                      <a:cxn ang="0">
                                                                                        <a:pos x="234" y="274"/>
                                                                                      </a:cxn>
                                                                                      <a:cxn ang="0">
                                                                                        <a:pos x="222" y="258"/>
                                                                                      </a:cxn>
                                                                                      <a:cxn ang="0">
                                                                                        <a:pos x="244" y="62"/>
                                                                                      </a:cxn>
                                                                                      <a:cxn ang="0">
                                                                                        <a:pos x="98" y="34"/>
                                                                                      </a:cxn>
                                                                                      <a:cxn ang="0">
                                                                                        <a:pos x="96" y="92"/>
                                                                                      </a:cxn>
                                                                                      <a:cxn ang="0">
                                                                                        <a:pos x="86" y="98"/>
                                                                                      </a:cxn>
                                                                                      <a:cxn ang="0">
                                                                                        <a:pos x="76" y="108"/>
                                                                                      </a:cxn>
                                                                                      <a:cxn ang="0">
                                                                                        <a:pos x="76" y="144"/>
                                                                                      </a:cxn>
                                                                                      <a:cxn ang="0">
                                                                                        <a:pos x="14" y="144"/>
                                                                                      </a:cxn>
                                                                                      <a:cxn ang="0">
                                                                                        <a:pos x="0" y="150"/>
                                                                                      </a:cxn>
                                                                                    </a:cxnLst>
                                                                                    <a:rect l="0" t="0" r="r" b="b"/>
                                                                                    <a:pathLst>
                                                                                      <a:path w="244" h="312">
                                                                                        <a:moveTo>
                                                                                          <a:pt x="0" y="150"/>
                                                                                        </a:moveTo>
                                                                                        <a:lnTo>
                                                                                          <a:pt x="0" y="150"/>
                                                                                        </a:lnTo>
                                                                                        <a:lnTo>
                                                                                          <a:pt x="0" y="162"/>
                                                                                        </a:lnTo>
                                                                                        <a:lnTo>
                                                                                          <a:pt x="0" y="164"/>
                                                                                        </a:lnTo>
                                                                                        <a:lnTo>
                                                                                          <a:pt x="4" y="164"/>
                                                                                        </a:lnTo>
                                                                                        <a:lnTo>
                                                                                          <a:pt x="4" y="164"/>
                                                                                        </a:lnTo>
                                                                                        <a:lnTo>
                                                                                          <a:pt x="6" y="166"/>
                                                                                        </a:lnTo>
                                                                                        <a:lnTo>
                                                                                          <a:pt x="8" y="170"/>
                                                                                        </a:lnTo>
                                                                                        <a:lnTo>
                                                                                          <a:pt x="10" y="178"/>
                                                                                        </a:lnTo>
                                                                                        <a:lnTo>
                                                                                          <a:pt x="10" y="178"/>
                                                                                        </a:lnTo>
                                                                                        <a:lnTo>
                                                                                          <a:pt x="10" y="182"/>
                                                                                        </a:lnTo>
                                                                                        <a:lnTo>
                                                                                          <a:pt x="8" y="188"/>
                                                                                        </a:lnTo>
                                                                                        <a:lnTo>
                                                                                          <a:pt x="8" y="188"/>
                                                                                        </a:lnTo>
                                                                                        <a:lnTo>
                                                                                          <a:pt x="6" y="196"/>
                                                                                        </a:lnTo>
                                                                                        <a:lnTo>
                                                                                          <a:pt x="6" y="196"/>
                                                                                        </a:lnTo>
                                                                                        <a:lnTo>
                                                                                          <a:pt x="10" y="196"/>
                                                                                        </a:lnTo>
                                                                                        <a:lnTo>
                                                                                          <a:pt x="10" y="196"/>
                                                                                        </a:lnTo>
                                                                                        <a:lnTo>
                                                                                          <a:pt x="10" y="196"/>
                                                                                        </a:lnTo>
                                                                                        <a:lnTo>
                                                                                          <a:pt x="10" y="198"/>
                                                                                        </a:lnTo>
                                                                                        <a:lnTo>
                                                                                          <a:pt x="6" y="200"/>
                                                                                        </a:lnTo>
                                                                                        <a:lnTo>
                                                                                          <a:pt x="6" y="202"/>
                                                                                        </a:lnTo>
                                                                                        <a:lnTo>
                                                                                          <a:pt x="6" y="202"/>
                                                                                        </a:lnTo>
                                                                                        <a:lnTo>
                                                                                          <a:pt x="10" y="210"/>
                                                                                        </a:lnTo>
                                                                                        <a:lnTo>
                                                                                          <a:pt x="14" y="216"/>
                                                                                        </a:lnTo>
                                                                                        <a:lnTo>
                                                                                          <a:pt x="16" y="226"/>
                                                                                        </a:lnTo>
                                                                                        <a:lnTo>
                                                                                          <a:pt x="14" y="242"/>
                                                                                        </a:lnTo>
                                                                                        <a:lnTo>
                                                                                          <a:pt x="14" y="242"/>
                                                                                        </a:lnTo>
                                                                                        <a:lnTo>
                                                                                          <a:pt x="12" y="252"/>
                                                                                        </a:lnTo>
                                                                                        <a:lnTo>
                                                                                          <a:pt x="10" y="258"/>
                                                                                        </a:lnTo>
                                                                                        <a:lnTo>
                                                                                          <a:pt x="8" y="264"/>
                                                                                        </a:lnTo>
                                                                                        <a:lnTo>
                                                                                          <a:pt x="6" y="268"/>
                                                                                        </a:lnTo>
                                                                                        <a:lnTo>
                                                                                          <a:pt x="8" y="274"/>
                                                                                        </a:lnTo>
                                                                                        <a:lnTo>
                                                                                          <a:pt x="8" y="274"/>
                                                                                        </a:lnTo>
                                                                                        <a:lnTo>
                                                                                          <a:pt x="12" y="270"/>
                                                                                        </a:lnTo>
                                                                                        <a:lnTo>
                                                                                          <a:pt x="14" y="268"/>
                                                                                        </a:lnTo>
                                                                                        <a:lnTo>
                                                                                          <a:pt x="16" y="270"/>
                                                                                        </a:lnTo>
                                                                                        <a:lnTo>
                                                                                          <a:pt x="16" y="270"/>
                                                                                        </a:lnTo>
                                                                                        <a:lnTo>
                                                                                          <a:pt x="20" y="272"/>
                                                                                        </a:lnTo>
                                                                                        <a:lnTo>
                                                                                          <a:pt x="22" y="272"/>
                                                                                        </a:lnTo>
                                                                                        <a:lnTo>
                                                                                          <a:pt x="26" y="272"/>
                                                                                        </a:lnTo>
                                                                                        <a:lnTo>
                                                                                          <a:pt x="26" y="272"/>
                                                                                        </a:lnTo>
                                                                                        <a:lnTo>
                                                                                          <a:pt x="28" y="272"/>
                                                                                        </a:lnTo>
                                                                                        <a:lnTo>
                                                                                          <a:pt x="32" y="272"/>
                                                                                        </a:lnTo>
                                                                                        <a:lnTo>
                                                                                          <a:pt x="32" y="272"/>
                                                                                        </a:lnTo>
                                                                                        <a:lnTo>
                                                                                          <a:pt x="36" y="272"/>
                                                                                        </a:lnTo>
                                                                                        <a:lnTo>
                                                                                          <a:pt x="36" y="270"/>
                                                                                        </a:lnTo>
                                                                                        <a:lnTo>
                                                                                          <a:pt x="38" y="268"/>
                                                                                        </a:lnTo>
                                                                                        <a:lnTo>
                                                                                          <a:pt x="40" y="268"/>
                                                                                        </a:lnTo>
                                                                                        <a:lnTo>
                                                                                          <a:pt x="40" y="268"/>
                                                                                        </a:lnTo>
                                                                                        <a:lnTo>
                                                                                          <a:pt x="42" y="268"/>
                                                                                        </a:lnTo>
                                                                                        <a:lnTo>
                                                                                          <a:pt x="42" y="268"/>
                                                                                        </a:lnTo>
                                                                                        <a:lnTo>
                                                                                          <a:pt x="44" y="270"/>
                                                                                        </a:lnTo>
                                                                                        <a:lnTo>
                                                                                          <a:pt x="48" y="270"/>
                                                                                        </a:lnTo>
                                                                                        <a:lnTo>
                                                                                          <a:pt x="48" y="270"/>
                                                                                        </a:lnTo>
                                                                                        <a:lnTo>
                                                                                          <a:pt x="52" y="272"/>
                                                                                        </a:lnTo>
                                                                                        <a:lnTo>
                                                                                          <a:pt x="56" y="272"/>
                                                                                        </a:lnTo>
                                                                                        <a:lnTo>
                                                                                          <a:pt x="58" y="276"/>
                                                                                        </a:lnTo>
                                                                                        <a:lnTo>
                                                                                          <a:pt x="62" y="280"/>
                                                                                        </a:lnTo>
                                                                                        <a:lnTo>
                                                                                          <a:pt x="64" y="282"/>
                                                                                        </a:lnTo>
                                                                                        <a:lnTo>
                                                                                          <a:pt x="66" y="282"/>
                                                                                        </a:lnTo>
                                                                                        <a:lnTo>
                                                                                          <a:pt x="66" y="282"/>
                                                                                        </a:lnTo>
                                                                                        <a:lnTo>
                                                                                          <a:pt x="70" y="282"/>
                                                                                        </a:lnTo>
                                                                                        <a:lnTo>
                                                                                          <a:pt x="70" y="284"/>
                                                                                        </a:lnTo>
                                                                                        <a:lnTo>
                                                                                          <a:pt x="70" y="288"/>
                                                                                        </a:lnTo>
                                                                                        <a:lnTo>
                                                                                          <a:pt x="72" y="290"/>
                                                                                        </a:lnTo>
                                                                                        <a:lnTo>
                                                                                          <a:pt x="72" y="290"/>
                                                                                        </a:lnTo>
                                                                                        <a:lnTo>
                                                                                          <a:pt x="76" y="292"/>
                                                                                        </a:lnTo>
                                                                                        <a:lnTo>
                                                                                          <a:pt x="76" y="294"/>
                                                                                        </a:lnTo>
                                                                                        <a:lnTo>
                                                                                          <a:pt x="76" y="298"/>
                                                                                        </a:lnTo>
                                                                                        <a:lnTo>
                                                                                          <a:pt x="78" y="300"/>
                                                                                        </a:lnTo>
                                                                                        <a:lnTo>
                                                                                          <a:pt x="78" y="300"/>
                                                                                        </a:lnTo>
                                                                                        <a:lnTo>
                                                                                          <a:pt x="80" y="304"/>
                                                                                        </a:lnTo>
                                                                                        <a:lnTo>
                                                                                          <a:pt x="80" y="306"/>
                                                                                        </a:lnTo>
                                                                                        <a:lnTo>
                                                                                          <a:pt x="82" y="308"/>
                                                                                        </a:lnTo>
                                                                                        <a:lnTo>
                                                                                          <a:pt x="88" y="312"/>
                                                                                        </a:lnTo>
                                                                                        <a:lnTo>
                                                                                          <a:pt x="88" y="312"/>
                                                                                        </a:lnTo>
                                                                                        <a:lnTo>
                                                                                          <a:pt x="92" y="308"/>
                                                                                        </a:lnTo>
                                                                                        <a:lnTo>
                                                                                          <a:pt x="96" y="304"/>
                                                                                        </a:lnTo>
                                                                                        <a:lnTo>
                                                                                          <a:pt x="98" y="298"/>
                                                                                        </a:lnTo>
                                                                                        <a:lnTo>
                                                                                          <a:pt x="102" y="296"/>
                                                                                        </a:lnTo>
                                                                                        <a:lnTo>
                                                                                          <a:pt x="102" y="296"/>
                                                                                        </a:lnTo>
                                                                                        <a:lnTo>
                                                                                          <a:pt x="104" y="294"/>
                                                                                        </a:lnTo>
                                                                                        <a:lnTo>
                                                                                          <a:pt x="104" y="294"/>
                                                                                        </a:lnTo>
                                                                                        <a:lnTo>
                                                                                          <a:pt x="106" y="292"/>
                                                                                        </a:lnTo>
                                                                                        <a:lnTo>
                                                                                          <a:pt x="108" y="292"/>
                                                                                        </a:lnTo>
                                                                                        <a:lnTo>
                                                                                          <a:pt x="108" y="292"/>
                                                                                        </a:lnTo>
                                                                                        <a:lnTo>
                                                                                          <a:pt x="112" y="292"/>
                                                                                        </a:lnTo>
                                                                                        <a:lnTo>
                                                                                          <a:pt x="114" y="296"/>
                                                                                        </a:lnTo>
                                                                                        <a:lnTo>
                                                                                          <a:pt x="116" y="300"/>
                                                                                        </a:lnTo>
                                                                                        <a:lnTo>
                                                                                          <a:pt x="122" y="302"/>
                                                                                        </a:lnTo>
                                                                                        <a:lnTo>
                                                                                          <a:pt x="122" y="302"/>
                                                                                        </a:lnTo>
                                                                                        <a:lnTo>
                                                                                          <a:pt x="126" y="300"/>
                                                                                        </a:lnTo>
                                                                                        <a:lnTo>
                                                                                          <a:pt x="132" y="300"/>
                                                                                        </a:lnTo>
                                                                                        <a:lnTo>
                                                                                          <a:pt x="142" y="300"/>
                                                                                        </a:lnTo>
                                                                                        <a:lnTo>
                                                                                          <a:pt x="142" y="300"/>
                                                                                        </a:lnTo>
                                                                                        <a:lnTo>
                                                                                          <a:pt x="146" y="300"/>
                                                                                        </a:lnTo>
                                                                                        <a:lnTo>
                                                                                          <a:pt x="146" y="298"/>
                                                                                        </a:lnTo>
                                                                                        <a:lnTo>
                                                                                          <a:pt x="148" y="296"/>
                                                                                        </a:lnTo>
                                                                                        <a:lnTo>
                                                                                          <a:pt x="152" y="294"/>
                                                                                        </a:lnTo>
                                                                                        <a:lnTo>
                                                                                          <a:pt x="152" y="294"/>
                                                                                        </a:lnTo>
                                                                                        <a:lnTo>
                                                                                          <a:pt x="154" y="296"/>
                                                                                        </a:lnTo>
                                                                                        <a:lnTo>
                                                                                          <a:pt x="154" y="298"/>
                                                                                        </a:lnTo>
                                                                                        <a:lnTo>
                                                                                          <a:pt x="154" y="298"/>
                                                                                        </a:lnTo>
                                                                                        <a:lnTo>
                                                                                          <a:pt x="156" y="300"/>
                                                                                        </a:lnTo>
                                                                                        <a:lnTo>
                                                                                          <a:pt x="156" y="300"/>
                                                                                        </a:lnTo>
                                                                                        <a:lnTo>
                                                                                          <a:pt x="224" y="300"/>
                                                                                        </a:lnTo>
                                                                                        <a:lnTo>
                                                                                          <a:pt x="234" y="274"/>
                                                                                        </a:lnTo>
                                                                                        <a:lnTo>
                                                                                          <a:pt x="234" y="274"/>
                                                                                        </a:lnTo>
                                                                                        <a:lnTo>
                                                                                          <a:pt x="226" y="268"/>
                                                                                        </a:lnTo>
                                                                                        <a:lnTo>
                                                                                          <a:pt x="222" y="264"/>
                                                                                        </a:lnTo>
                                                                                        <a:lnTo>
                                                                                          <a:pt x="222" y="258"/>
                                                                                        </a:lnTo>
                                                                                        <a:lnTo>
                                                                                          <a:pt x="222" y="258"/>
                                                                                        </a:lnTo>
                                                                                        <a:lnTo>
                                                                                          <a:pt x="218" y="62"/>
                                                                                        </a:lnTo>
                                                                                        <a:lnTo>
                                                                                          <a:pt x="244" y="62"/>
                                                                                        </a:lnTo>
                                                                                        <a:lnTo>
                                                                                          <a:pt x="166" y="0"/>
                                                                                        </a:lnTo>
                                                                                        <a:lnTo>
                                                                                          <a:pt x="166" y="34"/>
                                                                                        </a:lnTo>
                                                                                        <a:lnTo>
                                                                                          <a:pt x="98" y="34"/>
                                                                                        </a:lnTo>
                                                                                        <a:lnTo>
                                                                                          <a:pt x="98" y="34"/>
                                                                                        </a:lnTo>
                                                                                        <a:lnTo>
                                                                                          <a:pt x="96" y="92"/>
                                                                                        </a:lnTo>
                                                                                        <a:lnTo>
                                                                                          <a:pt x="96" y="92"/>
                                                                                        </a:lnTo>
                                                                                        <a:lnTo>
                                                                                          <a:pt x="94" y="96"/>
                                                                                        </a:lnTo>
                                                                                        <a:lnTo>
                                                                                          <a:pt x="92" y="98"/>
                                                                                        </a:lnTo>
                                                                                        <a:lnTo>
                                                                                          <a:pt x="86" y="98"/>
                                                                                        </a:lnTo>
                                                                                        <a:lnTo>
                                                                                          <a:pt x="82" y="100"/>
                                                                                        </a:lnTo>
                                                                                        <a:lnTo>
                                                                                          <a:pt x="78" y="102"/>
                                                                                        </a:lnTo>
                                                                                        <a:lnTo>
                                                                                          <a:pt x="76" y="108"/>
                                                                                        </a:lnTo>
                                                                                        <a:lnTo>
                                                                                          <a:pt x="76" y="116"/>
                                                                                        </a:lnTo>
                                                                                        <a:lnTo>
                                                                                          <a:pt x="76" y="116"/>
                                                                                        </a:lnTo>
                                                                                        <a:lnTo>
                                                                                          <a:pt x="76" y="144"/>
                                                                                        </a:lnTo>
                                                                                        <a:lnTo>
                                                                                          <a:pt x="76" y="144"/>
                                                                                        </a:lnTo>
                                                                                        <a:lnTo>
                                                                                          <a:pt x="14" y="144"/>
                                                                                        </a:lnTo>
                                                                                        <a:lnTo>
                                                                                          <a:pt x="14" y="144"/>
                                                                                        </a:lnTo>
                                                                                        <a:lnTo>
                                                                                          <a:pt x="8" y="144"/>
                                                                                        </a:lnTo>
                                                                                        <a:lnTo>
                                                                                          <a:pt x="4" y="144"/>
                                                                                        </a:lnTo>
                                                                                        <a:lnTo>
                                                                                          <a:pt x="0" y="150"/>
                                                                                        </a:lnTo>
                                                                                        <a:lnTo>
                                                                                          <a:pt x="0" y="150"/>
                                                                                        </a:lnTo>
                                                                                        <a:close/>
                                                                                      </a:path>
                                                                                    </a:pathLst>
                                                                                  </a:custGeom>
                                                                                  <a:solidFill>
                                                                                    <a:schemeClr val="accent3">
                                                                                      <a:alpha val="99000"/>
                                                                                    </a:schemeClr>
                                                                                  </a:solid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9" name="Freeform 49"/>
                                                                                <p:cNvSpPr>
                                                                                  <a:spLocks/>
                                                                                </p:cNvSpPr>
                                                                                <p:nvPr/>
                                                                              </p:nvSpPr>
                                                                              <p:spPr bwMode="auto">
                                                                                <a:xfrm>
                                                                                  <a:off x="6406456" y="4370611"/>
                                                                                  <a:ext cx="306802" cy="339901"/>
                                                                                </a:xfrm>
                                                                                <a:custGeom>
                                                                                  <a:avLst/>
                                                                                  <a:gdLst/>
                                                                                  <a:ahLst/>
                                                                                  <a:cxnLst>
                                                                                    <a:cxn ang="0">
                                                                                      <a:pos x="0" y="180"/>
                                                                                    </a:cxn>
                                                                                    <a:cxn ang="0">
                                                                                      <a:pos x="24" y="106"/>
                                                                                    </a:cxn>
                                                                                    <a:cxn ang="0">
                                                                                      <a:pos x="28" y="22"/>
                                                                                    </a:cxn>
                                                                                    <a:cxn ang="0">
                                                                                      <a:pos x="68" y="10"/>
                                                                                    </a:cxn>
                                                                                    <a:cxn ang="0">
                                                                                      <a:pos x="78" y="10"/>
                                                                                    </a:cxn>
                                                                                    <a:cxn ang="0">
                                                                                      <a:pos x="88" y="18"/>
                                                                                    </a:cxn>
                                                                                    <a:cxn ang="0">
                                                                                      <a:pos x="94" y="16"/>
                                                                                    </a:cxn>
                                                                                    <a:cxn ang="0">
                                                                                      <a:pos x="102" y="8"/>
                                                                                    </a:cxn>
                                                                                    <a:cxn ang="0">
                                                                                      <a:pos x="112" y="6"/>
                                                                                    </a:cxn>
                                                                                    <a:cxn ang="0">
                                                                                      <a:pos x="118" y="0"/>
                                                                                    </a:cxn>
                                                                                    <a:cxn ang="0">
                                                                                      <a:pos x="126" y="16"/>
                                                                                    </a:cxn>
                                                                                    <a:cxn ang="0">
                                                                                      <a:pos x="130" y="28"/>
                                                                                    </a:cxn>
                                                                                    <a:cxn ang="0">
                                                                                      <a:pos x="132" y="38"/>
                                                                                    </a:cxn>
                                                                                    <a:cxn ang="0">
                                                                                      <a:pos x="150" y="58"/>
                                                                                    </a:cxn>
                                                                                    <a:cxn ang="0">
                                                                                      <a:pos x="156" y="66"/>
                                                                                    </a:cxn>
                                                                                    <a:cxn ang="0">
                                                                                      <a:pos x="162" y="74"/>
                                                                                    </a:cxn>
                                                                                    <a:cxn ang="0">
                                                                                      <a:pos x="164" y="76"/>
                                                                                    </a:cxn>
                                                                                    <a:cxn ang="0">
                                                                                      <a:pos x="168" y="90"/>
                                                                                    </a:cxn>
                                                                                    <a:cxn ang="0">
                                                                                      <a:pos x="172" y="98"/>
                                                                                    </a:cxn>
                                                                                    <a:cxn ang="0">
                                                                                      <a:pos x="184" y="104"/>
                                                                                    </a:cxn>
                                                                                    <a:cxn ang="0">
                                                                                      <a:pos x="196" y="108"/>
                                                                                    </a:cxn>
                                                                                    <a:cxn ang="0">
                                                                                      <a:pos x="202" y="112"/>
                                                                                    </a:cxn>
                                                                                    <a:cxn ang="0">
                                                                                      <a:pos x="202" y="114"/>
                                                                                    </a:cxn>
                                                                                    <a:cxn ang="0">
                                                                                      <a:pos x="196" y="118"/>
                                                                                    </a:cxn>
                                                                                    <a:cxn ang="0">
                                                                                      <a:pos x="188" y="120"/>
                                                                                    </a:cxn>
                                                                                    <a:cxn ang="0">
                                                                                      <a:pos x="182" y="122"/>
                                                                                    </a:cxn>
                                                                                    <a:cxn ang="0">
                                                                                      <a:pos x="176" y="130"/>
                                                                                    </a:cxn>
                                                                                    <a:cxn ang="0">
                                                                                      <a:pos x="166" y="136"/>
                                                                                    </a:cxn>
                                                                                    <a:cxn ang="0">
                                                                                      <a:pos x="158" y="144"/>
                                                                                    </a:cxn>
                                                                                    <a:cxn ang="0">
                                                                                      <a:pos x="150" y="158"/>
                                                                                    </a:cxn>
                                                                                    <a:cxn ang="0">
                                                                                      <a:pos x="138" y="168"/>
                                                                                    </a:cxn>
                                                                                    <a:cxn ang="0">
                                                                                      <a:pos x="126" y="190"/>
                                                                                    </a:cxn>
                                                                                    <a:cxn ang="0">
                                                                                      <a:pos x="118" y="192"/>
                                                                                    </a:cxn>
                                                                                    <a:cxn ang="0">
                                                                                      <a:pos x="104" y="198"/>
                                                                                    </a:cxn>
                                                                                    <a:cxn ang="0">
                                                                                      <a:pos x="94" y="196"/>
                                                                                    </a:cxn>
                                                                                    <a:cxn ang="0">
                                                                                      <a:pos x="88" y="194"/>
                                                                                    </a:cxn>
                                                                                    <a:cxn ang="0">
                                                                                      <a:pos x="88" y="190"/>
                                                                                    </a:cxn>
                                                                                    <a:cxn ang="0">
                                                                                      <a:pos x="84" y="190"/>
                                                                                    </a:cxn>
                                                                                    <a:cxn ang="0">
                                                                                      <a:pos x="66" y="194"/>
                                                                                    </a:cxn>
                                                                                    <a:cxn ang="0">
                                                                                      <a:pos x="60" y="202"/>
                                                                                    </a:cxn>
                                                                                    <a:cxn ang="0">
                                                                                      <a:pos x="62" y="204"/>
                                                                                    </a:cxn>
                                                                                    <a:cxn ang="0">
                                                                                      <a:pos x="62" y="206"/>
                                                                                    </a:cxn>
                                                                                    <a:cxn ang="0">
                                                                                      <a:pos x="54" y="212"/>
                                                                                    </a:cxn>
                                                                                    <a:cxn ang="0">
                                                                                      <a:pos x="50" y="218"/>
                                                                                    </a:cxn>
                                                                                    <a:cxn ang="0">
                                                                                      <a:pos x="48" y="220"/>
                                                                                    </a:cxn>
                                                                                    <a:cxn ang="0">
                                                                                      <a:pos x="42" y="222"/>
                                                                                    </a:cxn>
                                                                                    <a:cxn ang="0">
                                                                                      <a:pos x="42" y="224"/>
                                                                                    </a:cxn>
                                                                                    <a:cxn ang="0">
                                                                                      <a:pos x="34" y="224"/>
                                                                                    </a:cxn>
                                                                                    <a:cxn ang="0">
                                                                                      <a:pos x="28" y="224"/>
                                                                                    </a:cxn>
                                                                                    <a:cxn ang="0">
                                                                                      <a:pos x="22" y="222"/>
                                                                                    </a:cxn>
                                                                                    <a:cxn ang="0">
                                                                                      <a:pos x="26" y="212"/>
                                                                                    </a:cxn>
                                                                                    <a:cxn ang="0">
                                                                                      <a:pos x="24" y="198"/>
                                                                                    </a:cxn>
                                                                                    <a:cxn ang="0">
                                                                                      <a:pos x="16" y="188"/>
                                                                                    </a:cxn>
                                                                                    <a:cxn ang="0">
                                                                                      <a:pos x="0" y="180"/>
                                                                                    </a:cxn>
                                                                                  </a:cxnLst>
                                                                                  <a:rect l="0" t="0" r="r" b="b"/>
                                                                                  <a:pathLst>
                                                                                    <a:path w="202" h="224">
                                                                                      <a:moveTo>
                                                                                        <a:pt x="0" y="180"/>
                                                                                      </a:moveTo>
                                                                                      <a:lnTo>
                                                                                        <a:pt x="0" y="180"/>
                                                                                      </a:lnTo>
                                                                                      <a:lnTo>
                                                                                        <a:pt x="4" y="106"/>
                                                                                      </a:lnTo>
                                                                                      <a:lnTo>
                                                                                        <a:pt x="24" y="106"/>
                                                                                      </a:lnTo>
                                                                                      <a:lnTo>
                                                                                        <a:pt x="28" y="22"/>
                                                                                      </a:lnTo>
                                                                                      <a:lnTo>
                                                                                        <a:pt x="28" y="22"/>
                                                                                      </a:lnTo>
                                                                                      <a:lnTo>
                                                                                        <a:pt x="68" y="10"/>
                                                                                      </a:lnTo>
                                                                                      <a:lnTo>
                                                                                        <a:pt x="68" y="10"/>
                                                                                      </a:lnTo>
                                                                                      <a:lnTo>
                                                                                        <a:pt x="72" y="10"/>
                                                                                      </a:lnTo>
                                                                                      <a:lnTo>
                                                                                        <a:pt x="78" y="10"/>
                                                                                      </a:lnTo>
                                                                                      <a:lnTo>
                                                                                        <a:pt x="84" y="14"/>
                                                                                      </a:lnTo>
                                                                                      <a:lnTo>
                                                                                        <a:pt x="88" y="18"/>
                                                                                      </a:lnTo>
                                                                                      <a:lnTo>
                                                                                        <a:pt x="92" y="18"/>
                                                                                      </a:lnTo>
                                                                                      <a:lnTo>
                                                                                        <a:pt x="94" y="16"/>
                                                                                      </a:lnTo>
                                                                                      <a:lnTo>
                                                                                        <a:pt x="94" y="16"/>
                                                                                      </a:lnTo>
                                                                                      <a:lnTo>
                                                                                        <a:pt x="102" y="8"/>
                                                                                      </a:lnTo>
                                                                                      <a:lnTo>
                                                                                        <a:pt x="108" y="6"/>
                                                                                      </a:lnTo>
                                                                                      <a:lnTo>
                                                                                        <a:pt x="112" y="6"/>
                                                                                      </a:lnTo>
                                                                                      <a:lnTo>
                                                                                        <a:pt x="118" y="0"/>
                                                                                      </a:lnTo>
                                                                                      <a:lnTo>
                                                                                        <a:pt x="118" y="0"/>
                                                                                      </a:lnTo>
                                                                                      <a:lnTo>
                                                                                        <a:pt x="122" y="12"/>
                                                                                      </a:lnTo>
                                                                                      <a:lnTo>
                                                                                        <a:pt x="126" y="16"/>
                                                                                      </a:lnTo>
                                                                                      <a:lnTo>
                                                                                        <a:pt x="128" y="18"/>
                                                                                      </a:lnTo>
                                                                                      <a:lnTo>
                                                                                        <a:pt x="130" y="28"/>
                                                                                      </a:lnTo>
                                                                                      <a:lnTo>
                                                                                        <a:pt x="130" y="28"/>
                                                                                      </a:lnTo>
                                                                                      <a:lnTo>
                                                                                        <a:pt x="132" y="38"/>
                                                                                      </a:lnTo>
                                                                                      <a:lnTo>
                                                                                        <a:pt x="136" y="44"/>
                                                                                      </a:lnTo>
                                                                                      <a:lnTo>
                                                                                        <a:pt x="150" y="58"/>
                                                                                      </a:lnTo>
                                                                                      <a:lnTo>
                                                                                        <a:pt x="150" y="58"/>
                                                                                      </a:lnTo>
                                                                                      <a:lnTo>
                                                                                        <a:pt x="156" y="66"/>
                                                                                      </a:lnTo>
                                                                                      <a:lnTo>
                                                                                        <a:pt x="160" y="72"/>
                                                                                      </a:lnTo>
                                                                                      <a:lnTo>
                                                                                        <a:pt x="162" y="74"/>
                                                                                      </a:lnTo>
                                                                                      <a:lnTo>
                                                                                        <a:pt x="164" y="76"/>
                                                                                      </a:lnTo>
                                                                                      <a:lnTo>
                                                                                        <a:pt x="164" y="76"/>
                                                                                      </a:lnTo>
                                                                                      <a:lnTo>
                                                                                        <a:pt x="164" y="80"/>
                                                                                      </a:lnTo>
                                                                                      <a:lnTo>
                                                                                        <a:pt x="168" y="90"/>
                                                                                      </a:lnTo>
                                                                                      <a:lnTo>
                                                                                        <a:pt x="170" y="94"/>
                                                                                      </a:lnTo>
                                                                                      <a:lnTo>
                                                                                        <a:pt x="172" y="98"/>
                                                                                      </a:lnTo>
                                                                                      <a:lnTo>
                                                                                        <a:pt x="178" y="102"/>
                                                                                      </a:lnTo>
                                                                                      <a:lnTo>
                                                                                        <a:pt x="184" y="104"/>
                                                                                      </a:lnTo>
                                                                                      <a:lnTo>
                                                                                        <a:pt x="184" y="104"/>
                                                                                      </a:lnTo>
                                                                                      <a:lnTo>
                                                                                        <a:pt x="196" y="108"/>
                                                                                      </a:lnTo>
                                                                                      <a:lnTo>
                                                                                        <a:pt x="202" y="110"/>
                                                                                      </a:lnTo>
                                                                                      <a:lnTo>
                                                                                        <a:pt x="202" y="112"/>
                                                                                      </a:lnTo>
                                                                                      <a:lnTo>
                                                                                        <a:pt x="202" y="114"/>
                                                                                      </a:lnTo>
                                                                                      <a:lnTo>
                                                                                        <a:pt x="202" y="114"/>
                                                                                      </a:lnTo>
                                                                                      <a:lnTo>
                                                                                        <a:pt x="198" y="116"/>
                                                                                      </a:lnTo>
                                                                                      <a:lnTo>
                                                                                        <a:pt x="196" y="118"/>
                                                                                      </a:lnTo>
                                                                                      <a:lnTo>
                                                                                        <a:pt x="194" y="120"/>
                                                                                      </a:lnTo>
                                                                                      <a:lnTo>
                                                                                        <a:pt x="188" y="120"/>
                                                                                      </a:lnTo>
                                                                                      <a:lnTo>
                                                                                        <a:pt x="188" y="120"/>
                                                                                      </a:lnTo>
                                                                                      <a:lnTo>
                                                                                        <a:pt x="182" y="122"/>
                                                                                      </a:lnTo>
                                                                                      <a:lnTo>
                                                                                        <a:pt x="180" y="126"/>
                                                                                      </a:lnTo>
                                                                                      <a:lnTo>
                                                                                        <a:pt x="176" y="130"/>
                                                                                      </a:lnTo>
                                                                                      <a:lnTo>
                                                                                        <a:pt x="166" y="136"/>
                                                                                      </a:lnTo>
                                                                                      <a:lnTo>
                                                                                        <a:pt x="166" y="136"/>
                                                                                      </a:lnTo>
                                                                                      <a:lnTo>
                                                                                        <a:pt x="162" y="138"/>
                                                                                      </a:lnTo>
                                                                                      <a:lnTo>
                                                                                        <a:pt x="158" y="144"/>
                                                                                      </a:lnTo>
                                                                                      <a:lnTo>
                                                                                        <a:pt x="150" y="158"/>
                                                                                      </a:lnTo>
                                                                                      <a:lnTo>
                                                                                        <a:pt x="150" y="158"/>
                                                                                      </a:lnTo>
                                                                                      <a:lnTo>
                                                                                        <a:pt x="144" y="164"/>
                                                                                      </a:lnTo>
                                                                                      <a:lnTo>
                                                                                        <a:pt x="138" y="168"/>
                                                                                      </a:lnTo>
                                                                                      <a:lnTo>
                                                                                        <a:pt x="132" y="174"/>
                                                                                      </a:lnTo>
                                                                                      <a:lnTo>
                                                                                        <a:pt x="126" y="190"/>
                                                                                      </a:lnTo>
                                                                                      <a:lnTo>
                                                                                        <a:pt x="126" y="190"/>
                                                                                      </a:lnTo>
                                                                                      <a:lnTo>
                                                                                        <a:pt x="118" y="192"/>
                                                                                      </a:lnTo>
                                                                                      <a:lnTo>
                                                                                        <a:pt x="112" y="194"/>
                                                                                      </a:lnTo>
                                                                                      <a:lnTo>
                                                                                        <a:pt x="104" y="198"/>
                                                                                      </a:lnTo>
                                                                                      <a:lnTo>
                                                                                        <a:pt x="100" y="198"/>
                                                                                      </a:lnTo>
                                                                                      <a:lnTo>
                                                                                        <a:pt x="94" y="196"/>
                                                                                      </a:lnTo>
                                                                                      <a:lnTo>
                                                                                        <a:pt x="94" y="196"/>
                                                                                      </a:lnTo>
                                                                                      <a:lnTo>
                                                                                        <a:pt x="88" y="194"/>
                                                                                      </a:lnTo>
                                                                                      <a:lnTo>
                                                                                        <a:pt x="88" y="192"/>
                                                                                      </a:lnTo>
                                                                                      <a:lnTo>
                                                                                        <a:pt x="88" y="190"/>
                                                                                      </a:lnTo>
                                                                                      <a:lnTo>
                                                                                        <a:pt x="84" y="190"/>
                                                                                      </a:lnTo>
                                                                                      <a:lnTo>
                                                                                        <a:pt x="84" y="190"/>
                                                                                      </a:lnTo>
                                                                                      <a:lnTo>
                                                                                        <a:pt x="74" y="190"/>
                                                                                      </a:lnTo>
                                                                                      <a:lnTo>
                                                                                        <a:pt x="66" y="194"/>
                                                                                      </a:lnTo>
                                                                                      <a:lnTo>
                                                                                        <a:pt x="62" y="198"/>
                                                                                      </a:lnTo>
                                                                                      <a:lnTo>
                                                                                        <a:pt x="60" y="202"/>
                                                                                      </a:lnTo>
                                                                                      <a:lnTo>
                                                                                        <a:pt x="62" y="204"/>
                                                                                      </a:lnTo>
                                                                                      <a:lnTo>
                                                                                        <a:pt x="62" y="204"/>
                                                                                      </a:lnTo>
                                                                                      <a:lnTo>
                                                                                        <a:pt x="62" y="206"/>
                                                                                      </a:lnTo>
                                                                                      <a:lnTo>
                                                                                        <a:pt x="62" y="206"/>
                                                                                      </a:lnTo>
                                                                                      <a:lnTo>
                                                                                        <a:pt x="58" y="208"/>
                                                                                      </a:lnTo>
                                                                                      <a:lnTo>
                                                                                        <a:pt x="54" y="212"/>
                                                                                      </a:lnTo>
                                                                                      <a:lnTo>
                                                                                        <a:pt x="50" y="218"/>
                                                                                      </a:lnTo>
                                                                                      <a:lnTo>
                                                                                        <a:pt x="50" y="218"/>
                                                                                      </a:lnTo>
                                                                                      <a:lnTo>
                                                                                        <a:pt x="48" y="220"/>
                                                                                      </a:lnTo>
                                                                                      <a:lnTo>
                                                                                        <a:pt x="48" y="220"/>
                                                                                      </a:lnTo>
                                                                                      <a:lnTo>
                                                                                        <a:pt x="46" y="218"/>
                                                                                      </a:lnTo>
                                                                                      <a:lnTo>
                                                                                        <a:pt x="42" y="222"/>
                                                                                      </a:lnTo>
                                                                                      <a:lnTo>
                                                                                        <a:pt x="42" y="222"/>
                                                                                      </a:lnTo>
                                                                                      <a:lnTo>
                                                                                        <a:pt x="42" y="224"/>
                                                                                      </a:lnTo>
                                                                                      <a:lnTo>
                                                                                        <a:pt x="38" y="224"/>
                                                                                      </a:lnTo>
                                                                                      <a:lnTo>
                                                                                        <a:pt x="34" y="224"/>
                                                                                      </a:lnTo>
                                                                                      <a:lnTo>
                                                                                        <a:pt x="28" y="224"/>
                                                                                      </a:lnTo>
                                                                                      <a:lnTo>
                                                                                        <a:pt x="28" y="224"/>
                                                                                      </a:lnTo>
                                                                                      <a:lnTo>
                                                                                        <a:pt x="22" y="224"/>
                                                                                      </a:lnTo>
                                                                                      <a:lnTo>
                                                                                        <a:pt x="22" y="222"/>
                                                                                      </a:lnTo>
                                                                                      <a:lnTo>
                                                                                        <a:pt x="26" y="212"/>
                                                                                      </a:lnTo>
                                                                                      <a:lnTo>
                                                                                        <a:pt x="26" y="212"/>
                                                                                      </a:lnTo>
                                                                                      <a:lnTo>
                                                                                        <a:pt x="26" y="206"/>
                                                                                      </a:lnTo>
                                                                                      <a:lnTo>
                                                                                        <a:pt x="24" y="198"/>
                                                                                      </a:lnTo>
                                                                                      <a:lnTo>
                                                                                        <a:pt x="20" y="192"/>
                                                                                      </a:lnTo>
                                                                                      <a:lnTo>
                                                                                        <a:pt x="16" y="188"/>
                                                                                      </a:lnTo>
                                                                                      <a:lnTo>
                                                                                        <a:pt x="10" y="184"/>
                                                                                      </a:lnTo>
                                                                                      <a:lnTo>
                                                                                        <a:pt x="0" y="180"/>
                                                                                      </a:lnTo>
                                                                                      <a:lnTo>
                                                                                        <a:pt x="0" y="180"/>
                                                                                      </a:lnTo>
                                                                                      <a:close/>
                                                                                    </a:path>
                                                                                  </a:pathLst>
                                                                                </a:custGeom>
                                                                                <a:solidFill>
                                                                                  <a:schemeClr val="accent3">
                                                                                    <a:alpha val="99000"/>
                                                                                  </a:schemeClr>
                                                                                </a:solid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0" name="Freeform 50"/>
                                                                                <p:cNvSpPr>
                                                                                  <a:spLocks/>
                                                                                </p:cNvSpPr>
                                                                                <p:nvPr/>
                                                                              </p:nvSpPr>
                                                                              <p:spPr bwMode="auto">
                                                                                <a:xfrm>
                                                                                  <a:off x="6163445" y="4352823"/>
                                                                                  <a:ext cx="422232" cy="437016"/>
                                                                                </a:xfrm>
                                                                                <a:custGeom>
                                                                                  <a:avLst/>
                                                                                  <a:gdLst/>
                                                                                  <a:ahLst/>
                                                                                  <a:cxnLst>
                                                                                    <a:cxn ang="0">
                                                                                      <a:pos x="0" y="10"/>
                                                                                    </a:cxn>
                                                                                    <a:cxn ang="0">
                                                                                      <a:pos x="4" y="30"/>
                                                                                    </a:cxn>
                                                                                    <a:cxn ang="0">
                                                                                      <a:pos x="18" y="60"/>
                                                                                    </a:cxn>
                                                                                    <a:cxn ang="0">
                                                                                      <a:pos x="20" y="72"/>
                                                                                    </a:cxn>
                                                                                    <a:cxn ang="0">
                                                                                      <a:pos x="22" y="82"/>
                                                                                    </a:cxn>
                                                                                    <a:cxn ang="0">
                                                                                      <a:pos x="38" y="118"/>
                                                                                    </a:cxn>
                                                                                    <a:cxn ang="0">
                                                                                      <a:pos x="54" y="146"/>
                                                                                    </a:cxn>
                                                                                    <a:cxn ang="0">
                                                                                      <a:pos x="56" y="150"/>
                                                                                    </a:cxn>
                                                                                    <a:cxn ang="0">
                                                                                      <a:pos x="54" y="162"/>
                                                                                    </a:cxn>
                                                                                    <a:cxn ang="0">
                                                                                      <a:pos x="54" y="172"/>
                                                                                    </a:cxn>
                                                                                    <a:cxn ang="0">
                                                                                      <a:pos x="54" y="180"/>
                                                                                    </a:cxn>
                                                                                    <a:cxn ang="0">
                                                                                      <a:pos x="60" y="214"/>
                                                                                    </a:cxn>
                                                                                    <a:cxn ang="0">
                                                                                      <a:pos x="68" y="244"/>
                                                                                    </a:cxn>
                                                                                    <a:cxn ang="0">
                                                                                      <a:pos x="68" y="248"/>
                                                                                    </a:cxn>
                                                                                    <a:cxn ang="0">
                                                                                      <a:pos x="70" y="262"/>
                                                                                    </a:cxn>
                                                                                    <a:cxn ang="0">
                                                                                      <a:pos x="80" y="282"/>
                                                                                    </a:cxn>
                                                                                    <a:cxn ang="0">
                                                                                      <a:pos x="92" y="274"/>
                                                                                    </a:cxn>
                                                                                    <a:cxn ang="0">
                                                                                      <a:pos x="104" y="270"/>
                                                                                    </a:cxn>
                                                                                    <a:cxn ang="0">
                                                                                      <a:pos x="108" y="272"/>
                                                                                    </a:cxn>
                                                                                    <a:cxn ang="0">
                                                                                      <a:pos x="110" y="280"/>
                                                                                    </a:cxn>
                                                                                    <a:cxn ang="0">
                                                                                      <a:pos x="118" y="288"/>
                                                                                    </a:cxn>
                                                                                    <a:cxn ang="0">
                                                                                      <a:pos x="122" y="288"/>
                                                                                    </a:cxn>
                                                                                    <a:cxn ang="0">
                                                                                      <a:pos x="136" y="286"/>
                                                                                    </a:cxn>
                                                                                    <a:cxn ang="0">
                                                                                      <a:pos x="144" y="282"/>
                                                                                    </a:cxn>
                                                                                    <a:cxn ang="0">
                                                                                      <a:pos x="152" y="276"/>
                                                                                    </a:cxn>
                                                                                    <a:cxn ang="0">
                                                                                      <a:pos x="160" y="198"/>
                                                                                    </a:cxn>
                                                                                    <a:cxn ang="0">
                                                                                      <a:pos x="164" y="124"/>
                                                                                    </a:cxn>
                                                                                    <a:cxn ang="0">
                                                                                      <a:pos x="188" y="40"/>
                                                                                    </a:cxn>
                                                                                    <a:cxn ang="0">
                                                                                      <a:pos x="228" y="28"/>
                                                                                    </a:cxn>
                                                                                    <a:cxn ang="0">
                                                                                      <a:pos x="232" y="28"/>
                                                                                    </a:cxn>
                                                                                    <a:cxn ang="0">
                                                                                      <a:pos x="244" y="32"/>
                                                                                    </a:cxn>
                                                                                    <a:cxn ang="0">
                                                                                      <a:pos x="252" y="36"/>
                                                                                    </a:cxn>
                                                                                    <a:cxn ang="0">
                                                                                      <a:pos x="254" y="34"/>
                                                                                    </a:cxn>
                                                                                    <a:cxn ang="0">
                                                                                      <a:pos x="268" y="24"/>
                                                                                    </a:cxn>
                                                                                    <a:cxn ang="0">
                                                                                      <a:pos x="278" y="18"/>
                                                                                    </a:cxn>
                                                                                    <a:cxn ang="0">
                                                                                      <a:pos x="274" y="16"/>
                                                                                    </a:cxn>
                                                                                    <a:cxn ang="0">
                                                                                      <a:pos x="268" y="10"/>
                                                                                    </a:cxn>
                                                                                    <a:cxn ang="0">
                                                                                      <a:pos x="260" y="12"/>
                                                                                    </a:cxn>
                                                                                    <a:cxn ang="0">
                                                                                      <a:pos x="244" y="12"/>
                                                                                    </a:cxn>
                                                                                    <a:cxn ang="0">
                                                                                      <a:pos x="234" y="12"/>
                                                                                    </a:cxn>
                                                                                    <a:cxn ang="0">
                                                                                      <a:pos x="204" y="22"/>
                                                                                    </a:cxn>
                                                                                    <a:cxn ang="0">
                                                                                      <a:pos x="184" y="22"/>
                                                                                    </a:cxn>
                                                                                    <a:cxn ang="0">
                                                                                      <a:pos x="176" y="20"/>
                                                                                    </a:cxn>
                                                                                    <a:cxn ang="0">
                                                                                      <a:pos x="160" y="22"/>
                                                                                    </a:cxn>
                                                                                    <a:cxn ang="0">
                                                                                      <a:pos x="160" y="20"/>
                                                                                    </a:cxn>
                                                                                    <a:cxn ang="0">
                                                                                      <a:pos x="134" y="10"/>
                                                                                    </a:cxn>
                                                                                    <a:cxn ang="0">
                                                                                      <a:pos x="134" y="8"/>
                                                                                    </a:cxn>
                                                                                    <a:cxn ang="0">
                                                                                      <a:pos x="60" y="8"/>
                                                                                    </a:cxn>
                                                                                    <a:cxn ang="0">
                                                                                      <a:pos x="48" y="6"/>
                                                                                    </a:cxn>
                                                                                    <a:cxn ang="0">
                                                                                      <a:pos x="32" y="2"/>
                                                                                    </a:cxn>
                                                                                    <a:cxn ang="0">
                                                                                      <a:pos x="24" y="2"/>
                                                                                    </a:cxn>
                                                                                    <a:cxn ang="0">
                                                                                      <a:pos x="18" y="6"/>
                                                                                    </a:cxn>
                                                                                    <a:cxn ang="0">
                                                                                      <a:pos x="12" y="6"/>
                                                                                    </a:cxn>
                                                                                    <a:cxn ang="0">
                                                                                      <a:pos x="0" y="10"/>
                                                                                    </a:cxn>
                                                                                  </a:cxnLst>
                                                                                  <a:rect l="0" t="0" r="r" b="b"/>
                                                                                  <a:pathLst>
                                                                                    <a:path w="278" h="288">
                                                                                      <a:moveTo>
                                                                                        <a:pt x="0" y="10"/>
                                                                                      </a:moveTo>
                                                                                      <a:lnTo>
                                                                                        <a:pt x="0" y="10"/>
                                                                                      </a:lnTo>
                                                                                      <a:lnTo>
                                                                                        <a:pt x="2" y="20"/>
                                                                                      </a:lnTo>
                                                                                      <a:lnTo>
                                                                                        <a:pt x="4" y="30"/>
                                                                                      </a:lnTo>
                                                                                      <a:lnTo>
                                                                                        <a:pt x="10" y="46"/>
                                                                                      </a:lnTo>
                                                                                      <a:lnTo>
                                                                                        <a:pt x="18" y="60"/>
                                                                                      </a:lnTo>
                                                                                      <a:lnTo>
                                                                                        <a:pt x="20" y="66"/>
                                                                                      </a:lnTo>
                                                                                      <a:lnTo>
                                                                                        <a:pt x="20" y="72"/>
                                                                                      </a:lnTo>
                                                                                      <a:lnTo>
                                                                                        <a:pt x="20" y="72"/>
                                                                                      </a:lnTo>
                                                                                      <a:lnTo>
                                                                                        <a:pt x="22" y="82"/>
                                                                                      </a:lnTo>
                                                                                      <a:lnTo>
                                                                                        <a:pt x="26" y="92"/>
                                                                                      </a:lnTo>
                                                                                      <a:lnTo>
                                                                                        <a:pt x="38" y="118"/>
                                                                                      </a:lnTo>
                                                                                      <a:lnTo>
                                                                                        <a:pt x="52" y="138"/>
                                                                                      </a:lnTo>
                                                                                      <a:lnTo>
                                                                                        <a:pt x="54" y="146"/>
                                                                                      </a:lnTo>
                                                                                      <a:lnTo>
                                                                                        <a:pt x="56" y="150"/>
                                                                                      </a:lnTo>
                                                                                      <a:lnTo>
                                                                                        <a:pt x="56" y="150"/>
                                                                                      </a:lnTo>
                                                                                      <a:lnTo>
                                                                                        <a:pt x="54" y="158"/>
                                                                                      </a:lnTo>
                                                                                      <a:lnTo>
                                                                                        <a:pt x="54" y="162"/>
                                                                                      </a:lnTo>
                                                                                      <a:lnTo>
                                                                                        <a:pt x="56" y="164"/>
                                                                                      </a:lnTo>
                                                                                      <a:lnTo>
                                                                                        <a:pt x="54" y="172"/>
                                                                                      </a:lnTo>
                                                                                      <a:lnTo>
                                                                                        <a:pt x="54" y="172"/>
                                                                                      </a:lnTo>
                                                                                      <a:lnTo>
                                                                                        <a:pt x="54" y="180"/>
                                                                                      </a:lnTo>
                                                                                      <a:lnTo>
                                                                                        <a:pt x="56" y="190"/>
                                                                                      </a:lnTo>
                                                                                      <a:lnTo>
                                                                                        <a:pt x="60" y="214"/>
                                                                                      </a:lnTo>
                                                                                      <a:lnTo>
                                                                                        <a:pt x="66" y="236"/>
                                                                                      </a:lnTo>
                                                                                      <a:lnTo>
                                                                                        <a:pt x="68" y="244"/>
                                                                                      </a:lnTo>
                                                                                      <a:lnTo>
                                                                                        <a:pt x="68" y="248"/>
                                                                                      </a:lnTo>
                                                                                      <a:lnTo>
                                                                                        <a:pt x="68" y="248"/>
                                                                                      </a:lnTo>
                                                                                      <a:lnTo>
                                                                                        <a:pt x="68" y="254"/>
                                                                                      </a:lnTo>
                                                                                      <a:lnTo>
                                                                                        <a:pt x="70" y="262"/>
                                                                                      </a:lnTo>
                                                                                      <a:lnTo>
                                                                                        <a:pt x="74" y="272"/>
                                                                                      </a:lnTo>
                                                                                      <a:lnTo>
                                                                                        <a:pt x="80" y="282"/>
                                                                                      </a:lnTo>
                                                                                      <a:lnTo>
                                                                                        <a:pt x="80" y="282"/>
                                                                                      </a:lnTo>
                                                                                      <a:lnTo>
                                                                                        <a:pt x="92" y="274"/>
                                                                                      </a:lnTo>
                                                                                      <a:lnTo>
                                                                                        <a:pt x="98" y="272"/>
                                                                                      </a:lnTo>
                                                                                      <a:lnTo>
                                                                                        <a:pt x="104" y="270"/>
                                                                                      </a:lnTo>
                                                                                      <a:lnTo>
                                                                                        <a:pt x="104" y="270"/>
                                                                                      </a:lnTo>
                                                                                      <a:lnTo>
                                                                                        <a:pt x="108" y="272"/>
                                                                                      </a:lnTo>
                                                                                      <a:lnTo>
                                                                                        <a:pt x="108" y="274"/>
                                                                                      </a:lnTo>
                                                                                      <a:lnTo>
                                                                                        <a:pt x="110" y="280"/>
                                                                                      </a:lnTo>
                                                                                      <a:lnTo>
                                                                                        <a:pt x="114" y="286"/>
                                                                                      </a:lnTo>
                                                                                      <a:lnTo>
                                                                                        <a:pt x="118" y="288"/>
                                                                                      </a:lnTo>
                                                                                      <a:lnTo>
                                                                                        <a:pt x="122" y="288"/>
                                                                                      </a:lnTo>
                                                                                      <a:lnTo>
                                                                                        <a:pt x="122" y="288"/>
                                                                                      </a:lnTo>
                                                                                      <a:lnTo>
                                                                                        <a:pt x="130" y="288"/>
                                                                                      </a:lnTo>
                                                                                      <a:lnTo>
                                                                                        <a:pt x="136" y="286"/>
                                                                                      </a:lnTo>
                                                                                      <a:lnTo>
                                                                                        <a:pt x="140" y="284"/>
                                                                                      </a:lnTo>
                                                                                      <a:lnTo>
                                                                                        <a:pt x="144" y="282"/>
                                                                                      </a:lnTo>
                                                                                      <a:lnTo>
                                                                                        <a:pt x="148" y="278"/>
                                                                                      </a:lnTo>
                                                                                      <a:lnTo>
                                                                                        <a:pt x="152" y="276"/>
                                                                                      </a:lnTo>
                                                                                      <a:lnTo>
                                                                                        <a:pt x="156" y="276"/>
                                                                                      </a:lnTo>
                                                                                      <a:lnTo>
                                                                                        <a:pt x="160" y="198"/>
                                                                                      </a:lnTo>
                                                                                      <a:lnTo>
                                                                                        <a:pt x="160" y="198"/>
                                                                                      </a:lnTo>
                                                                                      <a:lnTo>
                                                                                        <a:pt x="164" y="124"/>
                                                                                      </a:lnTo>
                                                                                      <a:lnTo>
                                                                                        <a:pt x="184" y="124"/>
                                                                                      </a:lnTo>
                                                                                      <a:lnTo>
                                                                                        <a:pt x="188" y="40"/>
                                                                                      </a:lnTo>
                                                                                      <a:lnTo>
                                                                                        <a:pt x="188" y="40"/>
                                                                                      </a:lnTo>
                                                                                      <a:lnTo>
                                                                                        <a:pt x="228" y="28"/>
                                                                                      </a:lnTo>
                                                                                      <a:lnTo>
                                                                                        <a:pt x="228" y="28"/>
                                                                                      </a:lnTo>
                                                                                      <a:lnTo>
                                                                                        <a:pt x="232" y="28"/>
                                                                                      </a:lnTo>
                                                                                      <a:lnTo>
                                                                                        <a:pt x="238" y="28"/>
                                                                                      </a:lnTo>
                                                                                      <a:lnTo>
                                                                                        <a:pt x="244" y="32"/>
                                                                                      </a:lnTo>
                                                                                      <a:lnTo>
                                                                                        <a:pt x="248" y="36"/>
                                                                                      </a:lnTo>
                                                                                      <a:lnTo>
                                                                                        <a:pt x="252" y="36"/>
                                                                                      </a:lnTo>
                                                                                      <a:lnTo>
                                                                                        <a:pt x="254" y="34"/>
                                                                                      </a:lnTo>
                                                                                      <a:lnTo>
                                                                                        <a:pt x="254" y="34"/>
                                                                                      </a:lnTo>
                                                                                      <a:lnTo>
                                                                                        <a:pt x="262" y="26"/>
                                                                                      </a:lnTo>
                                                                                      <a:lnTo>
                                                                                        <a:pt x="268" y="24"/>
                                                                                      </a:lnTo>
                                                                                      <a:lnTo>
                                                                                        <a:pt x="272" y="24"/>
                                                                                      </a:lnTo>
                                                                                      <a:lnTo>
                                                                                        <a:pt x="278" y="18"/>
                                                                                      </a:lnTo>
                                                                                      <a:lnTo>
                                                                                        <a:pt x="278" y="18"/>
                                                                                      </a:lnTo>
                                                                                      <a:lnTo>
                                                                                        <a:pt x="274" y="16"/>
                                                                                      </a:lnTo>
                                                                                      <a:lnTo>
                                                                                        <a:pt x="272" y="12"/>
                                                                                      </a:lnTo>
                                                                                      <a:lnTo>
                                                                                        <a:pt x="268" y="10"/>
                                                                                      </a:lnTo>
                                                                                      <a:lnTo>
                                                                                        <a:pt x="260" y="12"/>
                                                                                      </a:lnTo>
                                                                                      <a:lnTo>
                                                                                        <a:pt x="260" y="12"/>
                                                                                      </a:lnTo>
                                                                                      <a:lnTo>
                                                                                        <a:pt x="250" y="12"/>
                                                                                      </a:lnTo>
                                                                                      <a:lnTo>
                                                                                        <a:pt x="244" y="12"/>
                                                                                      </a:lnTo>
                                                                                      <a:lnTo>
                                                                                        <a:pt x="240" y="12"/>
                                                                                      </a:lnTo>
                                                                                      <a:lnTo>
                                                                                        <a:pt x="234" y="12"/>
                                                                                      </a:lnTo>
                                                                                      <a:lnTo>
                                                                                        <a:pt x="234" y="12"/>
                                                                                      </a:lnTo>
                                                                                      <a:lnTo>
                                                                                        <a:pt x="204" y="22"/>
                                                                                      </a:lnTo>
                                                                                      <a:lnTo>
                                                                                        <a:pt x="190" y="24"/>
                                                                                      </a:lnTo>
                                                                                      <a:lnTo>
                                                                                        <a:pt x="184" y="22"/>
                                                                                      </a:lnTo>
                                                                                      <a:lnTo>
                                                                                        <a:pt x="176" y="20"/>
                                                                                      </a:lnTo>
                                                                                      <a:lnTo>
                                                                                        <a:pt x="176" y="20"/>
                                                                                      </a:lnTo>
                                                                                      <a:lnTo>
                                                                                        <a:pt x="162" y="22"/>
                                                                                      </a:lnTo>
                                                                                      <a:lnTo>
                                                                                        <a:pt x="160" y="22"/>
                                                                                      </a:lnTo>
                                                                                      <a:lnTo>
                                                                                        <a:pt x="160" y="20"/>
                                                                                      </a:lnTo>
                                                                                      <a:lnTo>
                                                                                        <a:pt x="160" y="20"/>
                                                                                      </a:lnTo>
                                                                                      <a:lnTo>
                                                                                        <a:pt x="142" y="14"/>
                                                                                      </a:lnTo>
                                                                                      <a:lnTo>
                                                                                        <a:pt x="134" y="10"/>
                                                                                      </a:lnTo>
                                                                                      <a:lnTo>
                                                                                        <a:pt x="134" y="8"/>
                                                                                      </a:lnTo>
                                                                                      <a:lnTo>
                                                                                        <a:pt x="134" y="8"/>
                                                                                      </a:lnTo>
                                                                                      <a:lnTo>
                                                                                        <a:pt x="134" y="8"/>
                                                                                      </a:lnTo>
                                                                                      <a:lnTo>
                                                                                        <a:pt x="60" y="8"/>
                                                                                      </a:lnTo>
                                                                                      <a:lnTo>
                                                                                        <a:pt x="60" y="8"/>
                                                                                      </a:lnTo>
                                                                                      <a:lnTo>
                                                                                        <a:pt x="48" y="6"/>
                                                                                      </a:lnTo>
                                                                                      <a:lnTo>
                                                                                        <a:pt x="40" y="6"/>
                                                                                      </a:lnTo>
                                                                                      <a:lnTo>
                                                                                        <a:pt x="32" y="2"/>
                                                                                      </a:lnTo>
                                                                                      <a:lnTo>
                                                                                        <a:pt x="30" y="0"/>
                                                                                      </a:lnTo>
                                                                                      <a:lnTo>
                                                                                        <a:pt x="24" y="2"/>
                                                                                      </a:lnTo>
                                                                                      <a:lnTo>
                                                                                        <a:pt x="24" y="2"/>
                                                                                      </a:lnTo>
                                                                                      <a:lnTo>
                                                                                        <a:pt x="18" y="6"/>
                                                                                      </a:lnTo>
                                                                                      <a:lnTo>
                                                                                        <a:pt x="16" y="4"/>
                                                                                      </a:lnTo>
                                                                                      <a:lnTo>
                                                                                        <a:pt x="12" y="6"/>
                                                                                      </a:lnTo>
                                                                                      <a:lnTo>
                                                                                        <a:pt x="0" y="10"/>
                                                                                      </a:lnTo>
                                                                                      <a:lnTo>
                                                                                        <a:pt x="0" y="10"/>
                                                                                      </a:lnTo>
                                                                                      <a:close/>
                                                                                    </a:path>
                                                                                  </a:pathLst>
                                                                                </a:custGeom>
                                                                                <a:solidFill>
                                                                                  <a:schemeClr val="accent3">
                                                                                    <a:alpha val="99000"/>
                                                                                  </a:schemeClr>
                                                                                </a:solid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22" name="Freeform 44"/>
                                                                              <p:cNvSpPr>
                                                                                <a:spLocks/>
                                                                              </p:cNvSpPr>
                                                                              <p:nvPr/>
                                                                            </p:nvSpPr>
                                                                            <p:spPr bwMode="auto">
                                                                              <a:xfrm>
                                                                                <a:off x="6063563" y="3596019"/>
                                                                                <a:ext cx="197447" cy="239752"/>
                                                                              </a:xfrm>
                                                                              <a:custGeom>
                                                                                <a:avLst/>
                                                                                <a:gdLst/>
                                                                                <a:ahLst/>
                                                                                <a:cxnLst>
                                                                                  <a:cxn ang="0">
                                                                                    <a:pos x="24" y="36"/>
                                                                                  </a:cxn>
                                                                                  <a:cxn ang="0">
                                                                                    <a:pos x="22" y="46"/>
                                                                                  </a:cxn>
                                                                                  <a:cxn ang="0">
                                                                                    <a:pos x="14" y="46"/>
                                                                                  </a:cxn>
                                                                                  <a:cxn ang="0">
                                                                                    <a:pos x="24" y="56"/>
                                                                                  </a:cxn>
                                                                                  <a:cxn ang="0">
                                                                                    <a:pos x="26" y="58"/>
                                                                                  </a:cxn>
                                                                                  <a:cxn ang="0">
                                                                                    <a:pos x="20" y="56"/>
                                                                                  </a:cxn>
                                                                                  <a:cxn ang="0">
                                                                                    <a:pos x="14" y="52"/>
                                                                                  </a:cxn>
                                                                                  <a:cxn ang="0">
                                                                                    <a:pos x="12" y="60"/>
                                                                                  </a:cxn>
                                                                                  <a:cxn ang="0">
                                                                                    <a:pos x="10" y="68"/>
                                                                                  </a:cxn>
                                                                                  <a:cxn ang="0">
                                                                                    <a:pos x="6" y="78"/>
                                                                                  </a:cxn>
                                                                                  <a:cxn ang="0">
                                                                                    <a:pos x="0" y="76"/>
                                                                                  </a:cxn>
                                                                                  <a:cxn ang="0">
                                                                                    <a:pos x="10" y="100"/>
                                                                                  </a:cxn>
                                                                                  <a:cxn ang="0">
                                                                                    <a:pos x="12" y="102"/>
                                                                                  </a:cxn>
                                                                                  <a:cxn ang="0">
                                                                                    <a:pos x="10" y="106"/>
                                                                                  </a:cxn>
                                                                                  <a:cxn ang="0">
                                                                                    <a:pos x="16" y="116"/>
                                                                                  </a:cxn>
                                                                                  <a:cxn ang="0">
                                                                                    <a:pos x="16" y="118"/>
                                                                                  </a:cxn>
                                                                                  <a:cxn ang="0">
                                                                                    <a:pos x="28" y="132"/>
                                                                                  </a:cxn>
                                                                                  <a:cxn ang="0">
                                                                                    <a:pos x="32" y="138"/>
                                                                                  </a:cxn>
                                                                                  <a:cxn ang="0">
                                                                                    <a:pos x="44" y="150"/>
                                                                                  </a:cxn>
                                                                                  <a:cxn ang="0">
                                                                                    <a:pos x="44" y="154"/>
                                                                                  </a:cxn>
                                                                                  <a:cxn ang="0">
                                                                                    <a:pos x="48" y="158"/>
                                                                                  </a:cxn>
                                                                                  <a:cxn ang="0">
                                                                                    <a:pos x="56" y="150"/>
                                                                                  </a:cxn>
                                                                                  <a:cxn ang="0">
                                                                                    <a:pos x="62" y="156"/>
                                                                                  </a:cxn>
                                                                                  <a:cxn ang="0">
                                                                                    <a:pos x="64" y="154"/>
                                                                                  </a:cxn>
                                                                                  <a:cxn ang="0">
                                                                                    <a:pos x="62" y="138"/>
                                                                                  </a:cxn>
                                                                                  <a:cxn ang="0">
                                                                                    <a:pos x="58" y="124"/>
                                                                                  </a:cxn>
                                                                                  <a:cxn ang="0">
                                                                                    <a:pos x="64" y="124"/>
                                                                                  </a:cxn>
                                                                                  <a:cxn ang="0">
                                                                                    <a:pos x="70" y="124"/>
                                                                                  </a:cxn>
                                                                                  <a:cxn ang="0">
                                                                                    <a:pos x="72" y="124"/>
                                                                                  </a:cxn>
                                                                                  <a:cxn ang="0">
                                                                                    <a:pos x="74" y="112"/>
                                                                                  </a:cxn>
                                                                                  <a:cxn ang="0">
                                                                                    <a:pos x="78" y="110"/>
                                                                                  </a:cxn>
                                                                                  <a:cxn ang="0">
                                                                                    <a:pos x="86" y="120"/>
                                                                                  </a:cxn>
                                                                                  <a:cxn ang="0">
                                                                                    <a:pos x="88" y="122"/>
                                                                                  </a:cxn>
                                                                                  <a:cxn ang="0">
                                                                                    <a:pos x="98" y="120"/>
                                                                                  </a:cxn>
                                                                                  <a:cxn ang="0">
                                                                                    <a:pos x="104" y="118"/>
                                                                                  </a:cxn>
                                                                                  <a:cxn ang="0">
                                                                                    <a:pos x="114" y="126"/>
                                                                                  </a:cxn>
                                                                                  <a:cxn ang="0">
                                                                                    <a:pos x="120" y="114"/>
                                                                                  </a:cxn>
                                                                                  <a:cxn ang="0">
                                                                                    <a:pos x="126" y="106"/>
                                                                                  </a:cxn>
                                                                                  <a:cxn ang="0">
                                                                                    <a:pos x="128" y="100"/>
                                                                                  </a:cxn>
                                                                                  <a:cxn ang="0">
                                                                                    <a:pos x="128" y="92"/>
                                                                                  </a:cxn>
                                                                                  <a:cxn ang="0">
                                                                                    <a:pos x="126" y="82"/>
                                                                                  </a:cxn>
                                                                                  <a:cxn ang="0">
                                                                                    <a:pos x="126" y="76"/>
                                                                                  </a:cxn>
                                                                                  <a:cxn ang="0">
                                                                                    <a:pos x="124" y="72"/>
                                                                                  </a:cxn>
                                                                                  <a:cxn ang="0">
                                                                                    <a:pos x="120" y="64"/>
                                                                                  </a:cxn>
                                                                                  <a:cxn ang="0">
                                                                                    <a:pos x="124" y="60"/>
                                                                                  </a:cxn>
                                                                                  <a:cxn ang="0">
                                                                                    <a:pos x="122" y="54"/>
                                                                                  </a:cxn>
                                                                                  <a:cxn ang="0">
                                                                                    <a:pos x="126" y="46"/>
                                                                                  </a:cxn>
                                                                                  <a:cxn ang="0">
                                                                                    <a:pos x="130" y="36"/>
                                                                                  </a:cxn>
                                                                                  <a:cxn ang="0">
                                                                                    <a:pos x="130" y="28"/>
                                                                                  </a:cxn>
                                                                                  <a:cxn ang="0">
                                                                                    <a:pos x="126" y="24"/>
                                                                                  </a:cxn>
                                                                                  <a:cxn ang="0">
                                                                                    <a:pos x="108" y="24"/>
                                                                                  </a:cxn>
                                                                                  <a:cxn ang="0">
                                                                                    <a:pos x="104" y="16"/>
                                                                                  </a:cxn>
                                                                                  <a:cxn ang="0">
                                                                                    <a:pos x="104" y="4"/>
                                                                                  </a:cxn>
                                                                                  <a:cxn ang="0">
                                                                                    <a:pos x="84" y="2"/>
                                                                                  </a:cxn>
                                                                                  <a:cxn ang="0">
                                                                                    <a:pos x="50" y="6"/>
                                                                                  </a:cxn>
                                                                                  <a:cxn ang="0">
                                                                                    <a:pos x="56" y="18"/>
                                                                                  </a:cxn>
                                                                                  <a:cxn ang="0">
                                                                                    <a:pos x="56" y="34"/>
                                                                                  </a:cxn>
                                                                                </a:cxnLst>
                                                                                <a:rect l="0" t="0" r="r" b="b"/>
                                                                                <a:pathLst>
                                                                                  <a:path w="130" h="158">
                                                                                    <a:moveTo>
                                                                                      <a:pt x="28" y="34"/>
                                                                                    </a:moveTo>
                                                                                    <a:lnTo>
                                                                                      <a:pt x="28" y="34"/>
                                                                                    </a:lnTo>
                                                                                    <a:lnTo>
                                                                                      <a:pt x="24" y="36"/>
                                                                                    </a:lnTo>
                                                                                    <a:lnTo>
                                                                                      <a:pt x="22" y="38"/>
                                                                                    </a:lnTo>
                                                                                    <a:lnTo>
                                                                                      <a:pt x="22" y="42"/>
                                                                                    </a:lnTo>
                                                                                    <a:lnTo>
                                                                                      <a:pt x="22" y="46"/>
                                                                                    </a:lnTo>
                                                                                    <a:lnTo>
                                                                                      <a:pt x="16" y="46"/>
                                                                                    </a:lnTo>
                                                                                    <a:lnTo>
                                                                                      <a:pt x="16" y="46"/>
                                                                                    </a:lnTo>
                                                                                    <a:lnTo>
                                                                                      <a:pt x="14" y="46"/>
                                                                                    </a:lnTo>
                                                                                    <a:lnTo>
                                                                                      <a:pt x="14" y="48"/>
                                                                                    </a:lnTo>
                                                                                    <a:lnTo>
                                                                                      <a:pt x="16" y="50"/>
                                                                                    </a:lnTo>
                                                                                    <a:lnTo>
                                                                                      <a:pt x="24" y="56"/>
                                                                                    </a:lnTo>
                                                                                    <a:lnTo>
                                                                                      <a:pt x="24" y="56"/>
                                                                                    </a:lnTo>
                                                                                    <a:lnTo>
                                                                                      <a:pt x="26" y="56"/>
                                                                                    </a:lnTo>
                                                                                    <a:lnTo>
                                                                                      <a:pt x="26" y="58"/>
                                                                                    </a:lnTo>
                                                                                    <a:lnTo>
                                                                                      <a:pt x="26" y="60"/>
                                                                                    </a:lnTo>
                                                                                    <a:lnTo>
                                                                                      <a:pt x="26" y="60"/>
                                                                                    </a:lnTo>
                                                                                    <a:lnTo>
                                                                                      <a:pt x="20" y="56"/>
                                                                                    </a:lnTo>
                                                                                    <a:lnTo>
                                                                                      <a:pt x="16" y="54"/>
                                                                                    </a:lnTo>
                                                                                    <a:lnTo>
                                                                                      <a:pt x="16" y="52"/>
                                                                                    </a:lnTo>
                                                                                    <a:lnTo>
                                                                                      <a:pt x="14" y="52"/>
                                                                                    </a:lnTo>
                                                                                    <a:lnTo>
                                                                                      <a:pt x="14" y="52"/>
                                                                                    </a:lnTo>
                                                                                    <a:lnTo>
                                                                                      <a:pt x="12" y="54"/>
                                                                                    </a:lnTo>
                                                                                    <a:lnTo>
                                                                                      <a:pt x="12" y="60"/>
                                                                                    </a:lnTo>
                                                                                    <a:lnTo>
                                                                                      <a:pt x="12" y="64"/>
                                                                                    </a:lnTo>
                                                                                    <a:lnTo>
                                                                                      <a:pt x="10" y="68"/>
                                                                                    </a:lnTo>
                                                                                    <a:lnTo>
                                                                                      <a:pt x="10" y="68"/>
                                                                                    </a:lnTo>
                                                                                    <a:lnTo>
                                                                                      <a:pt x="8" y="72"/>
                                                                                    </a:lnTo>
                                                                                    <a:lnTo>
                                                                                      <a:pt x="8" y="76"/>
                                                                                    </a:lnTo>
                                                                                    <a:lnTo>
                                                                                      <a:pt x="6" y="78"/>
                                                                                    </a:lnTo>
                                                                                    <a:lnTo>
                                                                                      <a:pt x="0" y="76"/>
                                                                                    </a:lnTo>
                                                                                    <a:lnTo>
                                                                                      <a:pt x="0" y="76"/>
                                                                                    </a:lnTo>
                                                                                    <a:lnTo>
                                                                                      <a:pt x="0" y="76"/>
                                                                                    </a:lnTo>
                                                                                    <a:lnTo>
                                                                                      <a:pt x="0" y="78"/>
                                                                                    </a:lnTo>
                                                                                    <a:lnTo>
                                                                                      <a:pt x="2" y="86"/>
                                                                                    </a:lnTo>
                                                                                    <a:lnTo>
                                                                                      <a:pt x="10" y="100"/>
                                                                                    </a:lnTo>
                                                                                    <a:lnTo>
                                                                                      <a:pt x="10" y="100"/>
                                                                                    </a:lnTo>
                                                                                    <a:lnTo>
                                                                                      <a:pt x="12" y="100"/>
                                                                                    </a:lnTo>
                                                                                    <a:lnTo>
                                                                                      <a:pt x="12" y="102"/>
                                                                                    </a:lnTo>
                                                                                    <a:lnTo>
                                                                                      <a:pt x="10" y="104"/>
                                                                                    </a:lnTo>
                                                                                    <a:lnTo>
                                                                                      <a:pt x="10" y="104"/>
                                                                                    </a:lnTo>
                                                                                    <a:lnTo>
                                                                                      <a:pt x="10" y="106"/>
                                                                                    </a:lnTo>
                                                                                    <a:lnTo>
                                                                                      <a:pt x="10" y="110"/>
                                                                                    </a:lnTo>
                                                                                    <a:lnTo>
                                                                                      <a:pt x="16" y="116"/>
                                                                                    </a:lnTo>
                                                                                    <a:lnTo>
                                                                                      <a:pt x="16" y="116"/>
                                                                                    </a:lnTo>
                                                                                    <a:lnTo>
                                                                                      <a:pt x="18" y="118"/>
                                                                                    </a:lnTo>
                                                                                    <a:lnTo>
                                                                                      <a:pt x="18" y="120"/>
                                                                                    </a:lnTo>
                                                                                    <a:lnTo>
                                                                                      <a:pt x="16" y="118"/>
                                                                                    </a:lnTo>
                                                                                    <a:lnTo>
                                                                                      <a:pt x="16" y="118"/>
                                                                                    </a:lnTo>
                                                                                    <a:lnTo>
                                                                                      <a:pt x="22" y="128"/>
                                                                                    </a:lnTo>
                                                                                    <a:lnTo>
                                                                                      <a:pt x="28" y="132"/>
                                                                                    </a:lnTo>
                                                                                    <a:lnTo>
                                                                                      <a:pt x="32" y="136"/>
                                                                                    </a:lnTo>
                                                                                    <a:lnTo>
                                                                                      <a:pt x="32" y="138"/>
                                                                                    </a:lnTo>
                                                                                    <a:lnTo>
                                                                                      <a:pt x="32" y="138"/>
                                                                                    </a:lnTo>
                                                                                    <a:lnTo>
                                                                                      <a:pt x="36" y="142"/>
                                                                                    </a:lnTo>
                                                                                    <a:lnTo>
                                                                                      <a:pt x="40" y="146"/>
                                                                                    </a:lnTo>
                                                                                    <a:lnTo>
                                                                                      <a:pt x="44" y="150"/>
                                                                                    </a:lnTo>
                                                                                    <a:lnTo>
                                                                                      <a:pt x="46" y="152"/>
                                                                                    </a:lnTo>
                                                                                    <a:lnTo>
                                                                                      <a:pt x="46" y="152"/>
                                                                                    </a:lnTo>
                                                                                    <a:lnTo>
                                                                                      <a:pt x="44" y="154"/>
                                                                                    </a:lnTo>
                                                                                    <a:lnTo>
                                                                                      <a:pt x="46" y="156"/>
                                                                                    </a:lnTo>
                                                                                    <a:lnTo>
                                                                                      <a:pt x="48" y="158"/>
                                                                                    </a:lnTo>
                                                                                    <a:lnTo>
                                                                                      <a:pt x="48" y="158"/>
                                                                                    </a:lnTo>
                                                                                    <a:lnTo>
                                                                                      <a:pt x="48" y="158"/>
                                                                                    </a:lnTo>
                                                                                    <a:lnTo>
                                                                                      <a:pt x="54" y="152"/>
                                                                                    </a:lnTo>
                                                                                    <a:lnTo>
                                                                                      <a:pt x="56" y="150"/>
                                                                                    </a:lnTo>
                                                                                    <a:lnTo>
                                                                                      <a:pt x="60" y="150"/>
                                                                                    </a:lnTo>
                                                                                    <a:lnTo>
                                                                                      <a:pt x="60" y="152"/>
                                                                                    </a:lnTo>
                                                                                    <a:lnTo>
                                                                                      <a:pt x="62" y="156"/>
                                                                                    </a:lnTo>
                                                                                    <a:lnTo>
                                                                                      <a:pt x="62" y="156"/>
                                                                                    </a:lnTo>
                                                                                    <a:lnTo>
                                                                                      <a:pt x="64" y="154"/>
                                                                                    </a:lnTo>
                                                                                    <a:lnTo>
                                                                                      <a:pt x="64" y="154"/>
                                                                                    </a:lnTo>
                                                                                    <a:lnTo>
                                                                                      <a:pt x="66" y="150"/>
                                                                                    </a:lnTo>
                                                                                    <a:lnTo>
                                                                                      <a:pt x="66" y="144"/>
                                                                                    </a:lnTo>
                                                                                    <a:lnTo>
                                                                                      <a:pt x="62" y="138"/>
                                                                                    </a:lnTo>
                                                                                    <a:lnTo>
                                                                                      <a:pt x="60" y="130"/>
                                                                                    </a:lnTo>
                                                                                    <a:lnTo>
                                                                                      <a:pt x="58" y="124"/>
                                                                                    </a:lnTo>
                                                                                    <a:lnTo>
                                                                                      <a:pt x="58" y="124"/>
                                                                                    </a:lnTo>
                                                                                    <a:lnTo>
                                                                                      <a:pt x="60" y="126"/>
                                                                                    </a:lnTo>
                                                                                    <a:lnTo>
                                                                                      <a:pt x="62" y="126"/>
                                                                                    </a:lnTo>
                                                                                    <a:lnTo>
                                                                                      <a:pt x="64" y="124"/>
                                                                                    </a:lnTo>
                                                                                    <a:lnTo>
                                                                                      <a:pt x="64" y="124"/>
                                                                                    </a:lnTo>
                                                                                    <a:lnTo>
                                                                                      <a:pt x="68" y="122"/>
                                                                                    </a:lnTo>
                                                                                    <a:lnTo>
                                                                                      <a:pt x="70" y="124"/>
                                                                                    </a:lnTo>
                                                                                    <a:lnTo>
                                                                                      <a:pt x="70" y="124"/>
                                                                                    </a:lnTo>
                                                                                    <a:lnTo>
                                                                                      <a:pt x="72" y="124"/>
                                                                                    </a:lnTo>
                                                                                    <a:lnTo>
                                                                                      <a:pt x="72" y="124"/>
                                                                                    </a:lnTo>
                                                                                    <a:lnTo>
                                                                                      <a:pt x="76" y="122"/>
                                                                                    </a:lnTo>
                                                                                    <a:lnTo>
                                                                                      <a:pt x="76" y="118"/>
                                                                                    </a:lnTo>
                                                                                    <a:lnTo>
                                                                                      <a:pt x="74" y="112"/>
                                                                                    </a:lnTo>
                                                                                    <a:lnTo>
                                                                                      <a:pt x="78" y="110"/>
                                                                                    </a:lnTo>
                                                                                    <a:lnTo>
                                                                                      <a:pt x="78" y="110"/>
                                                                                    </a:lnTo>
                                                                                    <a:lnTo>
                                                                                      <a:pt x="78" y="110"/>
                                                                                    </a:lnTo>
                                                                                    <a:lnTo>
                                                                                      <a:pt x="80" y="112"/>
                                                                                    </a:lnTo>
                                                                                    <a:lnTo>
                                                                                      <a:pt x="82" y="116"/>
                                                                                    </a:lnTo>
                                                                                    <a:lnTo>
                                                                                      <a:pt x="86" y="120"/>
                                                                                    </a:lnTo>
                                                                                    <a:lnTo>
                                                                                      <a:pt x="86" y="122"/>
                                                                                    </a:lnTo>
                                                                                    <a:lnTo>
                                                                                      <a:pt x="88" y="122"/>
                                                                                    </a:lnTo>
                                                                                    <a:lnTo>
                                                                                      <a:pt x="88" y="122"/>
                                                                                    </a:lnTo>
                                                                                    <a:lnTo>
                                                                                      <a:pt x="90" y="120"/>
                                                                                    </a:lnTo>
                                                                                    <a:lnTo>
                                                                                      <a:pt x="94" y="120"/>
                                                                                    </a:lnTo>
                                                                                    <a:lnTo>
                                                                                      <a:pt x="98" y="120"/>
                                                                                    </a:lnTo>
                                                                                    <a:lnTo>
                                                                                      <a:pt x="100" y="120"/>
                                                                                    </a:lnTo>
                                                                                    <a:lnTo>
                                                                                      <a:pt x="100" y="120"/>
                                                                                    </a:lnTo>
                                                                                    <a:lnTo>
                                                                                      <a:pt x="104" y="118"/>
                                                                                    </a:lnTo>
                                                                                    <a:lnTo>
                                                                                      <a:pt x="106" y="120"/>
                                                                                    </a:lnTo>
                                                                                    <a:lnTo>
                                                                                      <a:pt x="114" y="126"/>
                                                                                    </a:lnTo>
                                                                                    <a:lnTo>
                                                                                      <a:pt x="114" y="126"/>
                                                                                    </a:lnTo>
                                                                                    <a:lnTo>
                                                                                      <a:pt x="116" y="126"/>
                                                                                    </a:lnTo>
                                                                                    <a:lnTo>
                                                                                      <a:pt x="118" y="124"/>
                                                                                    </a:lnTo>
                                                                                    <a:lnTo>
                                                                                      <a:pt x="120" y="114"/>
                                                                                    </a:lnTo>
                                                                                    <a:lnTo>
                                                                                      <a:pt x="120" y="114"/>
                                                                                    </a:lnTo>
                                                                                    <a:lnTo>
                                                                                      <a:pt x="122" y="108"/>
                                                                                    </a:lnTo>
                                                                                    <a:lnTo>
                                                                                      <a:pt x="126" y="106"/>
                                                                                    </a:lnTo>
                                                                                    <a:lnTo>
                                                                                      <a:pt x="128" y="104"/>
                                                                                    </a:lnTo>
                                                                                    <a:lnTo>
                                                                                      <a:pt x="128" y="100"/>
                                                                                    </a:lnTo>
                                                                                    <a:lnTo>
                                                                                      <a:pt x="128" y="100"/>
                                                                                    </a:lnTo>
                                                                                    <a:lnTo>
                                                                                      <a:pt x="126" y="96"/>
                                                                                    </a:lnTo>
                                                                                    <a:lnTo>
                                                                                      <a:pt x="128" y="94"/>
                                                                                    </a:lnTo>
                                                                                    <a:lnTo>
                                                                                      <a:pt x="128" y="92"/>
                                                                                    </a:lnTo>
                                                                                    <a:lnTo>
                                                                                      <a:pt x="126" y="88"/>
                                                                                    </a:lnTo>
                                                                                    <a:lnTo>
                                                                                      <a:pt x="126" y="88"/>
                                                                                    </a:lnTo>
                                                                                    <a:lnTo>
                                                                                      <a:pt x="126" y="82"/>
                                                                                    </a:lnTo>
                                                                                    <a:lnTo>
                                                                                      <a:pt x="128" y="80"/>
                                                                                    </a:lnTo>
                                                                                    <a:lnTo>
                                                                                      <a:pt x="128" y="78"/>
                                                                                    </a:lnTo>
                                                                                    <a:lnTo>
                                                                                      <a:pt x="126" y="76"/>
                                                                                    </a:lnTo>
                                                                                    <a:lnTo>
                                                                                      <a:pt x="126" y="76"/>
                                                                                    </a:lnTo>
                                                                                    <a:lnTo>
                                                                                      <a:pt x="124" y="74"/>
                                                                                    </a:lnTo>
                                                                                    <a:lnTo>
                                                                                      <a:pt x="124" y="72"/>
                                                                                    </a:lnTo>
                                                                                    <a:lnTo>
                                                                                      <a:pt x="122" y="70"/>
                                                                                    </a:lnTo>
                                                                                    <a:lnTo>
                                                                                      <a:pt x="120" y="64"/>
                                                                                    </a:lnTo>
                                                                                    <a:lnTo>
                                                                                      <a:pt x="120" y="64"/>
                                                                                    </a:lnTo>
                                                                                    <a:lnTo>
                                                                                      <a:pt x="116" y="58"/>
                                                                                    </a:lnTo>
                                                                                    <a:lnTo>
                                                                                      <a:pt x="120" y="60"/>
                                                                                    </a:lnTo>
                                                                                    <a:lnTo>
                                                                                      <a:pt x="124" y="60"/>
                                                                                    </a:lnTo>
                                                                                    <a:lnTo>
                                                                                      <a:pt x="124" y="58"/>
                                                                                    </a:lnTo>
                                                                                    <a:lnTo>
                                                                                      <a:pt x="122" y="54"/>
                                                                                    </a:lnTo>
                                                                                    <a:lnTo>
                                                                                      <a:pt x="122" y="54"/>
                                                                                    </a:lnTo>
                                                                                    <a:lnTo>
                                                                                      <a:pt x="122" y="50"/>
                                                                                    </a:lnTo>
                                                                                    <a:lnTo>
                                                                                      <a:pt x="122" y="48"/>
                                                                                    </a:lnTo>
                                                                                    <a:lnTo>
                                                                                      <a:pt x="126" y="46"/>
                                                                                    </a:lnTo>
                                                                                    <a:lnTo>
                                                                                      <a:pt x="130" y="44"/>
                                                                                    </a:lnTo>
                                                                                    <a:lnTo>
                                                                                      <a:pt x="130" y="40"/>
                                                                                    </a:lnTo>
                                                                                    <a:lnTo>
                                                                                      <a:pt x="130" y="36"/>
                                                                                    </a:lnTo>
                                                                                    <a:lnTo>
                                                                                      <a:pt x="130" y="36"/>
                                                                                    </a:lnTo>
                                                                                    <a:lnTo>
                                                                                      <a:pt x="130" y="32"/>
                                                                                    </a:lnTo>
                                                                                    <a:lnTo>
                                                                                      <a:pt x="130" y="28"/>
                                                                                    </a:lnTo>
                                                                                    <a:lnTo>
                                                                                      <a:pt x="130" y="26"/>
                                                                                    </a:lnTo>
                                                                                    <a:lnTo>
                                                                                      <a:pt x="126" y="24"/>
                                                                                    </a:lnTo>
                                                                                    <a:lnTo>
                                                                                      <a:pt x="126" y="24"/>
                                                                                    </a:lnTo>
                                                                                    <a:lnTo>
                                                                                      <a:pt x="116" y="24"/>
                                                                                    </a:lnTo>
                                                                                    <a:lnTo>
                                                                                      <a:pt x="108" y="24"/>
                                                                                    </a:lnTo>
                                                                                    <a:lnTo>
                                                                                      <a:pt x="108" y="24"/>
                                                                                    </a:lnTo>
                                                                                    <a:lnTo>
                                                                                      <a:pt x="106" y="24"/>
                                                                                    </a:lnTo>
                                                                                    <a:lnTo>
                                                                                      <a:pt x="104" y="22"/>
                                                                                    </a:lnTo>
                                                                                    <a:lnTo>
                                                                                      <a:pt x="104" y="16"/>
                                                                                    </a:lnTo>
                                                                                    <a:lnTo>
                                                                                      <a:pt x="110" y="6"/>
                                                                                    </a:lnTo>
                                                                                    <a:lnTo>
                                                                                      <a:pt x="110" y="6"/>
                                                                                    </a:lnTo>
                                                                                    <a:lnTo>
                                                                                      <a:pt x="104" y="4"/>
                                                                                    </a:lnTo>
                                                                                    <a:lnTo>
                                                                                      <a:pt x="96" y="4"/>
                                                                                    </a:lnTo>
                                                                                    <a:lnTo>
                                                                                      <a:pt x="96" y="4"/>
                                                                                    </a:lnTo>
                                                                                    <a:lnTo>
                                                                                      <a:pt x="84" y="2"/>
                                                                                    </a:lnTo>
                                                                                    <a:lnTo>
                                                                                      <a:pt x="76" y="0"/>
                                                                                    </a:lnTo>
                                                                                    <a:lnTo>
                                                                                      <a:pt x="68" y="0"/>
                                                                                    </a:lnTo>
                                                                                    <a:lnTo>
                                                                                      <a:pt x="50" y="6"/>
                                                                                    </a:lnTo>
                                                                                    <a:lnTo>
                                                                                      <a:pt x="50" y="6"/>
                                                                                    </a:lnTo>
                                                                                    <a:lnTo>
                                                                                      <a:pt x="58" y="6"/>
                                                                                    </a:lnTo>
                                                                                    <a:lnTo>
                                                                                      <a:pt x="56" y="18"/>
                                                                                    </a:lnTo>
                                                                                    <a:lnTo>
                                                                                      <a:pt x="54" y="20"/>
                                                                                    </a:lnTo>
                                                                                    <a:lnTo>
                                                                                      <a:pt x="58" y="20"/>
                                                                                    </a:lnTo>
                                                                                    <a:lnTo>
                                                                                      <a:pt x="56" y="34"/>
                                                                                    </a:lnTo>
                                                                                    <a:lnTo>
                                                                                      <a:pt x="28" y="34"/>
                                                                                    </a:lnTo>
                                                                                    <a:lnTo>
                                                                                      <a:pt x="28" y="34"/>
                                                                                    </a:lnTo>
                                                                                    <a:close/>
                                                                                  </a:path>
                                                                                </a:pathLst>
                                                                              </a:custGeom>
                                                                              <a:solidFill>
                                                                                <a:schemeClr val="accent3">
                                                                                  <a:alpha val="99000"/>
                                                                                </a:schemeClr>
                                                                              </a:solid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26" name="Indonesia"/>
                                                                            <p:cNvSpPr>
                                                                              <a:spLocks/>
                                                                            </p:cNvSpPr>
                                                                            <p:nvPr/>
                                                                          </p:nvSpPr>
                                                                          <p:spPr bwMode="auto">
                                                                            <a:xfrm>
                                                                              <a:off x="8825143" y="3464078"/>
                                                                              <a:ext cx="1476294" cy="625176"/>
                                                                            </a:xfrm>
                                                                            <a:custGeom>
                                                                              <a:avLst/>
                                                                              <a:gdLst/>
                                                                              <a:ahLst/>
                                                                              <a:cxnLst/>
                                                                              <a:rect l="l" t="t" r="r" b="b"/>
                                                                              <a:pathLst>
                                                                                <a:path w="1285875" h="545042">
                                                                                  <a:moveTo>
                                                                                    <a:pt x="767292" y="529167"/>
                                                                                  </a:moveTo>
                                                                                  <a:lnTo>
                                                                                    <a:pt x="769938" y="529167"/>
                                                                                  </a:lnTo>
                                                                                  <a:lnTo>
                                                                                    <a:pt x="769938" y="531813"/>
                                                                                  </a:lnTo>
                                                                                  <a:lnTo>
                                                                                    <a:pt x="769938" y="534459"/>
                                                                                  </a:lnTo>
                                                                                  <a:lnTo>
                                                                                    <a:pt x="769938" y="537105"/>
                                                                                  </a:lnTo>
                                                                                  <a:lnTo>
                                                                                    <a:pt x="767292" y="537105"/>
                                                                                  </a:lnTo>
                                                                                  <a:lnTo>
                                                                                    <a:pt x="764646" y="539750"/>
                                                                                  </a:lnTo>
                                                                                  <a:lnTo>
                                                                                    <a:pt x="762000" y="542396"/>
                                                                                  </a:lnTo>
                                                                                  <a:lnTo>
                                                                                    <a:pt x="759354" y="542396"/>
                                                                                  </a:lnTo>
                                                                                  <a:lnTo>
                                                                                    <a:pt x="756708" y="542396"/>
                                                                                  </a:lnTo>
                                                                                  <a:lnTo>
                                                                                    <a:pt x="754063" y="545042"/>
                                                                                  </a:lnTo>
                                                                                  <a:lnTo>
                                                                                    <a:pt x="751417" y="542396"/>
                                                                                  </a:lnTo>
                                                                                  <a:lnTo>
                                                                                    <a:pt x="751417" y="539750"/>
                                                                                  </a:lnTo>
                                                                                  <a:lnTo>
                                                                                    <a:pt x="756708" y="537105"/>
                                                                                  </a:lnTo>
                                                                                  <a:lnTo>
                                                                                    <a:pt x="759354" y="534459"/>
                                                                                  </a:lnTo>
                                                                                  <a:lnTo>
                                                                                    <a:pt x="762000" y="534459"/>
                                                                                  </a:lnTo>
                                                                                  <a:lnTo>
                                                                                    <a:pt x="759354" y="531813"/>
                                                                                  </a:lnTo>
                                                                                  <a:lnTo>
                                                                                    <a:pt x="762000" y="531813"/>
                                                                                  </a:lnTo>
                                                                                  <a:close/>
                                                                                  <a:moveTo>
                                                                                    <a:pt x="669396" y="497417"/>
                                                                                  </a:moveTo>
                                                                                  <a:lnTo>
                                                                                    <a:pt x="677333" y="497417"/>
                                                                                  </a:lnTo>
                                                                                  <a:lnTo>
                                                                                    <a:pt x="685271" y="500063"/>
                                                                                  </a:lnTo>
                                                                                  <a:lnTo>
                                                                                    <a:pt x="687917" y="502709"/>
                                                                                  </a:lnTo>
                                                                                  <a:lnTo>
                                                                                    <a:pt x="690563" y="502709"/>
                                                                                  </a:lnTo>
                                                                                  <a:lnTo>
                                                                                    <a:pt x="695854" y="500063"/>
                                                                                  </a:lnTo>
                                                                                  <a:lnTo>
                                                                                    <a:pt x="695854" y="502709"/>
                                                                                  </a:lnTo>
                                                                                  <a:lnTo>
                                                                                    <a:pt x="698500" y="508000"/>
                                                                                  </a:lnTo>
                                                                                  <a:lnTo>
                                                                                    <a:pt x="701146" y="510646"/>
                                                                                  </a:lnTo>
                                                                                  <a:lnTo>
                                                                                    <a:pt x="701146" y="513292"/>
                                                                                  </a:lnTo>
                                                                                  <a:lnTo>
                                                                                    <a:pt x="703792" y="513292"/>
                                                                                  </a:lnTo>
                                                                                  <a:lnTo>
                                                                                    <a:pt x="706438" y="515938"/>
                                                                                  </a:lnTo>
                                                                                  <a:lnTo>
                                                                                    <a:pt x="706438" y="518584"/>
                                                                                  </a:lnTo>
                                                                                  <a:lnTo>
                                                                                    <a:pt x="706438" y="523875"/>
                                                                                  </a:lnTo>
                                                                                  <a:lnTo>
                                                                                    <a:pt x="701146" y="526521"/>
                                                                                  </a:lnTo>
                                                                                  <a:lnTo>
                                                                                    <a:pt x="698500" y="526521"/>
                                                                                  </a:lnTo>
                                                                                  <a:lnTo>
                                                                                    <a:pt x="693208" y="529167"/>
                                                                                  </a:lnTo>
                                                                                  <a:lnTo>
                                                                                    <a:pt x="687917" y="526521"/>
                                                                                  </a:lnTo>
                                                                                  <a:lnTo>
                                                                                    <a:pt x="685271" y="523875"/>
                                                                                  </a:lnTo>
                                                                                  <a:lnTo>
                                                                                    <a:pt x="685271" y="521230"/>
                                                                                  </a:lnTo>
                                                                                  <a:lnTo>
                                                                                    <a:pt x="679979" y="518584"/>
                                                                                  </a:lnTo>
                                                                                  <a:lnTo>
                                                                                    <a:pt x="672042" y="515938"/>
                                                                                  </a:lnTo>
                                                                                  <a:lnTo>
                                                                                    <a:pt x="666750" y="513292"/>
                                                                                  </a:lnTo>
                                                                                  <a:lnTo>
                                                                                    <a:pt x="661458" y="513292"/>
                                                                                  </a:lnTo>
                                                                                  <a:lnTo>
                                                                                    <a:pt x="653521" y="508000"/>
                                                                                  </a:lnTo>
                                                                                  <a:lnTo>
                                                                                    <a:pt x="650875" y="505355"/>
                                                                                  </a:lnTo>
                                                                                  <a:lnTo>
                                                                                    <a:pt x="653521" y="502709"/>
                                                                                  </a:lnTo>
                                                                                  <a:lnTo>
                                                                                    <a:pt x="658812" y="500063"/>
                                                                                  </a:lnTo>
                                                                                  <a:lnTo>
                                                                                    <a:pt x="664104" y="500063"/>
                                                                                  </a:lnTo>
                                                                                  <a:close/>
                                                                                  <a:moveTo>
                                                                                    <a:pt x="881063" y="463021"/>
                                                                                  </a:moveTo>
                                                                                  <a:lnTo>
                                                                                    <a:pt x="883709" y="465667"/>
                                                                                  </a:lnTo>
                                                                                  <a:lnTo>
                                                                                    <a:pt x="886354" y="465667"/>
                                                                                  </a:lnTo>
                                                                                  <a:lnTo>
                                                                                    <a:pt x="889000" y="465667"/>
                                                                                  </a:lnTo>
                                                                                  <a:lnTo>
                                                                                    <a:pt x="886354" y="468313"/>
                                                                                  </a:lnTo>
                                                                                  <a:lnTo>
                                                                                    <a:pt x="881063" y="473604"/>
                                                                                  </a:lnTo>
                                                                                  <a:lnTo>
                                                                                    <a:pt x="875771" y="478896"/>
                                                                                  </a:lnTo>
                                                                                  <a:lnTo>
                                                                                    <a:pt x="865188" y="478896"/>
                                                                                  </a:lnTo>
                                                                                  <a:lnTo>
                                                                                    <a:pt x="859896" y="481542"/>
                                                                                  </a:lnTo>
                                                                                  <a:lnTo>
                                                                                    <a:pt x="857250" y="484188"/>
                                                                                  </a:lnTo>
                                                                                  <a:lnTo>
                                                                                    <a:pt x="854604" y="484188"/>
                                                                                  </a:lnTo>
                                                                                  <a:lnTo>
                                                                                    <a:pt x="851959" y="484188"/>
                                                                                  </a:lnTo>
                                                                                  <a:lnTo>
                                                                                    <a:pt x="849313" y="484188"/>
                                                                                  </a:lnTo>
                                                                                  <a:lnTo>
                                                                                    <a:pt x="846667" y="486834"/>
                                                                                  </a:lnTo>
                                                                                  <a:lnTo>
                                                                                    <a:pt x="844021" y="489479"/>
                                                                                  </a:lnTo>
                                                                                  <a:lnTo>
                                                                                    <a:pt x="838729" y="492125"/>
                                                                                  </a:lnTo>
                                                                                  <a:lnTo>
                                                                                    <a:pt x="836084" y="494771"/>
                                                                                  </a:lnTo>
                                                                                  <a:lnTo>
                                                                                    <a:pt x="833438" y="494771"/>
                                                                                  </a:lnTo>
                                                                                  <a:lnTo>
                                                                                    <a:pt x="833438" y="497417"/>
                                                                                  </a:lnTo>
                                                                                  <a:lnTo>
                                                                                    <a:pt x="830792" y="502709"/>
                                                                                  </a:lnTo>
                                                                                  <a:lnTo>
                                                                                    <a:pt x="828146" y="505354"/>
                                                                                  </a:lnTo>
                                                                                  <a:lnTo>
                                                                                    <a:pt x="825500" y="508000"/>
                                                                                  </a:lnTo>
                                                                                  <a:lnTo>
                                                                                    <a:pt x="822854" y="508000"/>
                                                                                  </a:lnTo>
                                                                                  <a:lnTo>
                                                                                    <a:pt x="820209" y="510646"/>
                                                                                  </a:lnTo>
                                                                                  <a:lnTo>
                                                                                    <a:pt x="817563" y="513292"/>
                                                                                  </a:lnTo>
                                                                                  <a:lnTo>
                                                                                    <a:pt x="814917" y="515938"/>
                                                                                  </a:lnTo>
                                                                                  <a:lnTo>
                                                                                    <a:pt x="812271" y="518584"/>
                                                                                  </a:lnTo>
                                                                                  <a:lnTo>
                                                                                    <a:pt x="806979" y="518584"/>
                                                                                  </a:lnTo>
                                                                                  <a:lnTo>
                                                                                    <a:pt x="804334" y="518584"/>
                                                                                  </a:lnTo>
                                                                                  <a:lnTo>
                                                                                    <a:pt x="804334" y="521229"/>
                                                                                  </a:lnTo>
                                                                                  <a:lnTo>
                                                                                    <a:pt x="801688" y="521229"/>
                                                                                  </a:lnTo>
                                                                                  <a:lnTo>
                                                                                    <a:pt x="796396" y="523875"/>
                                                                                  </a:lnTo>
                                                                                  <a:lnTo>
                                                                                    <a:pt x="780521" y="526521"/>
                                                                                  </a:lnTo>
                                                                                  <a:lnTo>
                                                                                    <a:pt x="777875" y="526521"/>
                                                                                  </a:lnTo>
                                                                                  <a:lnTo>
                                                                                    <a:pt x="777875" y="523875"/>
                                                                                  </a:lnTo>
                                                                                  <a:lnTo>
                                                                                    <a:pt x="783167" y="518584"/>
                                                                                  </a:lnTo>
                                                                                  <a:lnTo>
                                                                                    <a:pt x="785813" y="518584"/>
                                                                                  </a:lnTo>
                                                                                  <a:lnTo>
                                                                                    <a:pt x="783167" y="515938"/>
                                                                                  </a:lnTo>
                                                                                  <a:lnTo>
                                                                                    <a:pt x="780521" y="513292"/>
                                                                                  </a:lnTo>
                                                                                  <a:lnTo>
                                                                                    <a:pt x="783167" y="505354"/>
                                                                                  </a:lnTo>
                                                                                  <a:lnTo>
                                                                                    <a:pt x="785813" y="502709"/>
                                                                                  </a:lnTo>
                                                                                  <a:lnTo>
                                                                                    <a:pt x="788459" y="500063"/>
                                                                                  </a:lnTo>
                                                                                  <a:lnTo>
                                                                                    <a:pt x="793750" y="497417"/>
                                                                                  </a:lnTo>
                                                                                  <a:lnTo>
                                                                                    <a:pt x="799042" y="497417"/>
                                                                                  </a:lnTo>
                                                                                  <a:lnTo>
                                                                                    <a:pt x="804334" y="494771"/>
                                                                                  </a:lnTo>
                                                                                  <a:lnTo>
                                                                                    <a:pt x="806979" y="492125"/>
                                                                                  </a:lnTo>
                                                                                  <a:lnTo>
                                                                                    <a:pt x="809625" y="489479"/>
                                                                                  </a:lnTo>
                                                                                  <a:lnTo>
                                                                                    <a:pt x="817563" y="486834"/>
                                                                                  </a:lnTo>
                                                                                  <a:lnTo>
                                                                                    <a:pt x="820209" y="484188"/>
                                                                                  </a:lnTo>
                                                                                  <a:lnTo>
                                                                                    <a:pt x="825500" y="478896"/>
                                                                                  </a:lnTo>
                                                                                  <a:lnTo>
                                                                                    <a:pt x="833438" y="476250"/>
                                                                                  </a:lnTo>
                                                                                  <a:lnTo>
                                                                                    <a:pt x="838729" y="470959"/>
                                                                                  </a:lnTo>
                                                                                  <a:lnTo>
                                                                                    <a:pt x="844021" y="468313"/>
                                                                                  </a:lnTo>
                                                                                  <a:lnTo>
                                                                                    <a:pt x="854604" y="468313"/>
                                                                                  </a:lnTo>
                                                                                  <a:lnTo>
                                                                                    <a:pt x="859896" y="468313"/>
                                                                                  </a:lnTo>
                                                                                  <a:lnTo>
                                                                                    <a:pt x="865188" y="465667"/>
                                                                                  </a:lnTo>
                                                                                  <a:lnTo>
                                                                                    <a:pt x="870479" y="465667"/>
                                                                                  </a:lnTo>
                                                                                  <a:close/>
                                                                                  <a:moveTo>
                                                                                    <a:pt x="584729" y="460375"/>
                                                                                  </a:moveTo>
                                                                                  <a:lnTo>
                                                                                    <a:pt x="590020" y="460375"/>
                                                                                  </a:lnTo>
                                                                                  <a:lnTo>
                                                                                    <a:pt x="592666" y="463021"/>
                                                                                  </a:lnTo>
                                                                                  <a:lnTo>
                                                                                    <a:pt x="597958" y="465667"/>
                                                                                  </a:lnTo>
                                                                                  <a:lnTo>
                                                                                    <a:pt x="595312" y="468313"/>
                                                                                  </a:lnTo>
                                                                                  <a:lnTo>
                                                                                    <a:pt x="592666" y="470959"/>
                                                                                  </a:lnTo>
                                                                                  <a:lnTo>
                                                                                    <a:pt x="592666" y="476250"/>
                                                                                  </a:lnTo>
                                                                                  <a:lnTo>
                                                                                    <a:pt x="592666" y="478896"/>
                                                                                  </a:lnTo>
                                                                                  <a:lnTo>
                                                                                    <a:pt x="590020" y="481542"/>
                                                                                  </a:lnTo>
                                                                                  <a:lnTo>
                                                                                    <a:pt x="587375" y="481542"/>
                                                                                  </a:lnTo>
                                                                                  <a:lnTo>
                                                                                    <a:pt x="582083" y="481542"/>
                                                                                  </a:lnTo>
                                                                                  <a:lnTo>
                                                                                    <a:pt x="576791" y="478896"/>
                                                                                  </a:lnTo>
                                                                                  <a:lnTo>
                                                                                    <a:pt x="571500" y="478896"/>
                                                                                  </a:lnTo>
                                                                                  <a:lnTo>
                                                                                    <a:pt x="571500" y="476250"/>
                                                                                  </a:lnTo>
                                                                                  <a:lnTo>
                                                                                    <a:pt x="574146" y="476250"/>
                                                                                  </a:lnTo>
                                                                                  <a:lnTo>
                                                                                    <a:pt x="576791" y="476250"/>
                                                                                  </a:lnTo>
                                                                                  <a:lnTo>
                                                                                    <a:pt x="579437" y="473605"/>
                                                                                  </a:lnTo>
                                                                                  <a:lnTo>
                                                                                    <a:pt x="579437" y="470959"/>
                                                                                  </a:lnTo>
                                                                                  <a:lnTo>
                                                                                    <a:pt x="579437" y="465667"/>
                                                                                  </a:lnTo>
                                                                                  <a:lnTo>
                                                                                    <a:pt x="579437" y="463021"/>
                                                                                  </a:lnTo>
                                                                                  <a:close/>
                                                                                  <a:moveTo>
                                                                                    <a:pt x="785813" y="457730"/>
                                                                                  </a:moveTo>
                                                                                  <a:lnTo>
                                                                                    <a:pt x="788459" y="457730"/>
                                                                                  </a:lnTo>
                                                                                  <a:lnTo>
                                                                                    <a:pt x="791104" y="457730"/>
                                                                                  </a:lnTo>
                                                                                  <a:lnTo>
                                                                                    <a:pt x="793750" y="457730"/>
                                                                                  </a:lnTo>
                                                                                  <a:lnTo>
                                                                                    <a:pt x="791104" y="460376"/>
                                                                                  </a:lnTo>
                                                                                  <a:lnTo>
                                                                                    <a:pt x="788459" y="463022"/>
                                                                                  </a:lnTo>
                                                                                  <a:lnTo>
                                                                                    <a:pt x="783167" y="463022"/>
                                                                                  </a:lnTo>
                                                                                  <a:lnTo>
                                                                                    <a:pt x="783167" y="460376"/>
                                                                                  </a:lnTo>
                                                                                  <a:close/>
                                                                                  <a:moveTo>
                                                                                    <a:pt x="822854" y="455084"/>
                                                                                  </a:moveTo>
                                                                                  <a:lnTo>
                                                                                    <a:pt x="825500" y="455084"/>
                                                                                  </a:lnTo>
                                                                                  <a:lnTo>
                                                                                    <a:pt x="825500" y="457730"/>
                                                                                  </a:lnTo>
                                                                                  <a:lnTo>
                                                                                    <a:pt x="828146" y="457730"/>
                                                                                  </a:lnTo>
                                                                                  <a:lnTo>
                                                                                    <a:pt x="833437" y="455084"/>
                                                                                  </a:lnTo>
                                                                                  <a:lnTo>
                                                                                    <a:pt x="836083" y="455084"/>
                                                                                  </a:lnTo>
                                                                                  <a:lnTo>
                                                                                    <a:pt x="836083" y="460375"/>
                                                                                  </a:lnTo>
                                                                                  <a:lnTo>
                                                                                    <a:pt x="836083" y="463021"/>
                                                                                  </a:lnTo>
                                                                                  <a:lnTo>
                                                                                    <a:pt x="828146" y="465667"/>
                                                                                  </a:lnTo>
                                                                                  <a:lnTo>
                                                                                    <a:pt x="820208" y="465667"/>
                                                                                  </a:lnTo>
                                                                                  <a:lnTo>
                                                                                    <a:pt x="817562" y="465667"/>
                                                                                  </a:lnTo>
                                                                                  <a:lnTo>
                                                                                    <a:pt x="820208" y="463021"/>
                                                                                  </a:lnTo>
                                                                                  <a:lnTo>
                                                                                    <a:pt x="822854" y="460375"/>
                                                                                  </a:lnTo>
                                                                                  <a:lnTo>
                                                                                    <a:pt x="820208" y="457730"/>
                                                                                  </a:lnTo>
                                                                                  <a:close/>
                                                                                  <a:moveTo>
                                                                                    <a:pt x="814916" y="455084"/>
                                                                                  </a:moveTo>
                                                                                  <a:lnTo>
                                                                                    <a:pt x="817562" y="457730"/>
                                                                                  </a:lnTo>
                                                                                  <a:lnTo>
                                                                                    <a:pt x="817562" y="460375"/>
                                                                                  </a:lnTo>
                                                                                  <a:lnTo>
                                                                                    <a:pt x="814916" y="465667"/>
                                                                                  </a:lnTo>
                                                                                  <a:lnTo>
                                                                                    <a:pt x="812271" y="468313"/>
                                                                                  </a:lnTo>
                                                                                  <a:lnTo>
                                                                                    <a:pt x="809625" y="468313"/>
                                                                                  </a:lnTo>
                                                                                  <a:lnTo>
                                                                                    <a:pt x="806979" y="468313"/>
                                                                                  </a:lnTo>
                                                                                  <a:lnTo>
                                                                                    <a:pt x="806979" y="463022"/>
                                                                                  </a:lnTo>
                                                                                  <a:lnTo>
                                                                                    <a:pt x="809625" y="460375"/>
                                                                                  </a:lnTo>
                                                                                  <a:lnTo>
                                                                                    <a:pt x="812271" y="460375"/>
                                                                                  </a:lnTo>
                                                                                  <a:lnTo>
                                                                                    <a:pt x="812271" y="457730"/>
                                                                                  </a:lnTo>
                                                                                  <a:close/>
                                                                                  <a:moveTo>
                                                                                    <a:pt x="801688" y="455084"/>
                                                                                  </a:moveTo>
                                                                                  <a:lnTo>
                                                                                    <a:pt x="804333" y="455084"/>
                                                                                  </a:lnTo>
                                                                                  <a:lnTo>
                                                                                    <a:pt x="806979" y="457730"/>
                                                                                  </a:lnTo>
                                                                                  <a:lnTo>
                                                                                    <a:pt x="806979" y="460376"/>
                                                                                  </a:lnTo>
                                                                                  <a:lnTo>
                                                                                    <a:pt x="804333" y="463022"/>
                                                                                  </a:lnTo>
                                                                                  <a:lnTo>
                                                                                    <a:pt x="801688" y="465667"/>
                                                                                  </a:lnTo>
                                                                                  <a:lnTo>
                                                                                    <a:pt x="801688" y="468313"/>
                                                                                  </a:lnTo>
                                                                                  <a:lnTo>
                                                                                    <a:pt x="801688" y="470959"/>
                                                                                  </a:lnTo>
                                                                                  <a:lnTo>
                                                                                    <a:pt x="799042" y="470959"/>
                                                                                  </a:lnTo>
                                                                                  <a:lnTo>
                                                                                    <a:pt x="796396" y="470959"/>
                                                                                  </a:lnTo>
                                                                                  <a:lnTo>
                                                                                    <a:pt x="791104" y="470959"/>
                                                                                  </a:lnTo>
                                                                                  <a:lnTo>
                                                                                    <a:pt x="788458" y="470959"/>
                                                                                  </a:lnTo>
                                                                                  <a:lnTo>
                                                                                    <a:pt x="791104" y="468313"/>
                                                                                  </a:lnTo>
                                                                                  <a:lnTo>
                                                                                    <a:pt x="793750" y="463022"/>
                                                                                  </a:lnTo>
                                                                                  <a:lnTo>
                                                                                    <a:pt x="796396" y="460376"/>
                                                                                  </a:lnTo>
                                                                                  <a:lnTo>
                                                                                    <a:pt x="796396" y="457730"/>
                                                                                  </a:lnTo>
                                                                                  <a:close/>
                                                                                  <a:moveTo>
                                                                                    <a:pt x="642937" y="455084"/>
                                                                                  </a:moveTo>
                                                                                  <a:lnTo>
                                                                                    <a:pt x="645583" y="457730"/>
                                                                                  </a:lnTo>
                                                                                  <a:lnTo>
                                                                                    <a:pt x="648229" y="457730"/>
                                                                                  </a:lnTo>
                                                                                  <a:lnTo>
                                                                                    <a:pt x="645583" y="463022"/>
                                                                                  </a:lnTo>
                                                                                  <a:lnTo>
                                                                                    <a:pt x="648229" y="463022"/>
                                                                                  </a:lnTo>
                                                                                  <a:lnTo>
                                                                                    <a:pt x="650875" y="463022"/>
                                                                                  </a:lnTo>
                                                                                  <a:lnTo>
                                                                                    <a:pt x="653520" y="463022"/>
                                                                                  </a:lnTo>
                                                                                  <a:lnTo>
                                                                                    <a:pt x="656166" y="463022"/>
                                                                                  </a:lnTo>
                                                                                  <a:lnTo>
                                                                                    <a:pt x="658812" y="463022"/>
                                                                                  </a:lnTo>
                                                                                  <a:lnTo>
                                                                                    <a:pt x="661458" y="463022"/>
                                                                                  </a:lnTo>
                                                                                  <a:lnTo>
                                                                                    <a:pt x="664104" y="465667"/>
                                                                                  </a:lnTo>
                                                                                  <a:lnTo>
                                                                                    <a:pt x="661458" y="468313"/>
                                                                                  </a:lnTo>
                                                                                  <a:lnTo>
                                                                                    <a:pt x="661458" y="470959"/>
                                                                                  </a:lnTo>
                                                                                  <a:lnTo>
                                                                                    <a:pt x="664104" y="470959"/>
                                                                                  </a:lnTo>
                                                                                  <a:lnTo>
                                                                                    <a:pt x="664104" y="473605"/>
                                                                                  </a:lnTo>
                                                                                  <a:lnTo>
                                                                                    <a:pt x="661458" y="473605"/>
                                                                                  </a:lnTo>
                                                                                  <a:lnTo>
                                                                                    <a:pt x="658812" y="473605"/>
                                                                                  </a:lnTo>
                                                                                  <a:lnTo>
                                                                                    <a:pt x="653520" y="473605"/>
                                                                                  </a:lnTo>
                                                                                  <a:lnTo>
                                                                                    <a:pt x="648229" y="476251"/>
                                                                                  </a:lnTo>
                                                                                  <a:lnTo>
                                                                                    <a:pt x="653520" y="476251"/>
                                                                                  </a:lnTo>
                                                                                  <a:lnTo>
                                                                                    <a:pt x="656166" y="476251"/>
                                                                                  </a:lnTo>
                                                                                  <a:lnTo>
                                                                                    <a:pt x="653520" y="478897"/>
                                                                                  </a:lnTo>
                                                                                  <a:lnTo>
                                                                                    <a:pt x="648229" y="481542"/>
                                                                                  </a:lnTo>
                                                                                  <a:lnTo>
                                                                                    <a:pt x="645583" y="481542"/>
                                                                                  </a:lnTo>
                                                                                  <a:lnTo>
                                                                                    <a:pt x="642937" y="478897"/>
                                                                                  </a:lnTo>
                                                                                  <a:lnTo>
                                                                                    <a:pt x="642937" y="476251"/>
                                                                                  </a:lnTo>
                                                                                  <a:lnTo>
                                                                                    <a:pt x="640291" y="478897"/>
                                                                                  </a:lnTo>
                                                                                  <a:lnTo>
                                                                                    <a:pt x="637645" y="481542"/>
                                                                                  </a:lnTo>
                                                                                  <a:lnTo>
                                                                                    <a:pt x="635000" y="481542"/>
                                                                                  </a:lnTo>
                                                                                  <a:lnTo>
                                                                                    <a:pt x="632354" y="481542"/>
                                                                                  </a:lnTo>
                                                                                  <a:lnTo>
                                                                                    <a:pt x="629708" y="481542"/>
                                                                                  </a:lnTo>
                                                                                  <a:lnTo>
                                                                                    <a:pt x="627062" y="484188"/>
                                                                                  </a:lnTo>
                                                                                  <a:lnTo>
                                                                                    <a:pt x="621770" y="486834"/>
                                                                                  </a:lnTo>
                                                                                  <a:lnTo>
                                                                                    <a:pt x="616479" y="486834"/>
                                                                                  </a:lnTo>
                                                                                  <a:lnTo>
                                                                                    <a:pt x="613833" y="486834"/>
                                                                                  </a:lnTo>
                                                                                  <a:lnTo>
                                                                                    <a:pt x="611187" y="486834"/>
                                                                                  </a:lnTo>
                                                                                  <a:lnTo>
                                                                                    <a:pt x="608541" y="486834"/>
                                                                                  </a:lnTo>
                                                                                  <a:lnTo>
                                                                                    <a:pt x="603250" y="484188"/>
                                                                                  </a:lnTo>
                                                                                  <a:lnTo>
                                                                                    <a:pt x="600604" y="481542"/>
                                                                                  </a:lnTo>
                                                                                  <a:lnTo>
                                                                                    <a:pt x="600604" y="478897"/>
                                                                                  </a:lnTo>
                                                                                  <a:lnTo>
                                                                                    <a:pt x="603250" y="476251"/>
                                                                                  </a:lnTo>
                                                                                  <a:lnTo>
                                                                                    <a:pt x="603250" y="473605"/>
                                                                                  </a:lnTo>
                                                                                  <a:lnTo>
                                                                                    <a:pt x="600604" y="470959"/>
                                                                                  </a:lnTo>
                                                                                  <a:lnTo>
                                                                                    <a:pt x="603250" y="468313"/>
                                                                                  </a:lnTo>
                                                                                  <a:lnTo>
                                                                                    <a:pt x="608541" y="465667"/>
                                                                                  </a:lnTo>
                                                                                  <a:lnTo>
                                                                                    <a:pt x="608541" y="463022"/>
                                                                                  </a:lnTo>
                                                                                  <a:lnTo>
                                                                                    <a:pt x="611187" y="463022"/>
                                                                                  </a:lnTo>
                                                                                  <a:lnTo>
                                                                                    <a:pt x="619125" y="463022"/>
                                                                                  </a:lnTo>
                                                                                  <a:lnTo>
                                                                                    <a:pt x="621770" y="463022"/>
                                                                                  </a:lnTo>
                                                                                  <a:lnTo>
                                                                                    <a:pt x="624416" y="465667"/>
                                                                                  </a:lnTo>
                                                                                  <a:lnTo>
                                                                                    <a:pt x="627062" y="470959"/>
                                                                                  </a:lnTo>
                                                                                  <a:lnTo>
                                                                                    <a:pt x="629708" y="473605"/>
                                                                                  </a:lnTo>
                                                                                  <a:lnTo>
                                                                                    <a:pt x="637645" y="470959"/>
                                                                                  </a:lnTo>
                                                                                  <a:lnTo>
                                                                                    <a:pt x="640291" y="470959"/>
                                                                                  </a:lnTo>
                                                                                  <a:lnTo>
                                                                                    <a:pt x="640291" y="468313"/>
                                                                                  </a:lnTo>
                                                                                  <a:lnTo>
                                                                                    <a:pt x="635000" y="465667"/>
                                                                                  </a:lnTo>
                                                                                  <a:lnTo>
                                                                                    <a:pt x="632354" y="465667"/>
                                                                                  </a:lnTo>
                                                                                  <a:lnTo>
                                                                                    <a:pt x="627062" y="463022"/>
                                                                                  </a:lnTo>
                                                                                  <a:lnTo>
                                                                                    <a:pt x="627062" y="460376"/>
                                                                                  </a:lnTo>
                                                                                  <a:lnTo>
                                                                                    <a:pt x="629708" y="457730"/>
                                                                                  </a:lnTo>
                                                                                  <a:lnTo>
                                                                                    <a:pt x="632354" y="457730"/>
                                                                                  </a:lnTo>
                                                                                  <a:lnTo>
                                                                                    <a:pt x="637645" y="457730"/>
                                                                                  </a:lnTo>
                                                                                  <a:close/>
                                                                                  <a:moveTo>
                                                                                    <a:pt x="767292" y="452438"/>
                                                                                  </a:moveTo>
                                                                                  <a:lnTo>
                                                                                    <a:pt x="772583" y="452438"/>
                                                                                  </a:lnTo>
                                                                                  <a:lnTo>
                                                                                    <a:pt x="777875" y="452438"/>
                                                                                  </a:lnTo>
                                                                                  <a:lnTo>
                                                                                    <a:pt x="777875" y="455084"/>
                                                                                  </a:lnTo>
                                                                                  <a:lnTo>
                                                                                    <a:pt x="780521" y="460375"/>
                                                                                  </a:lnTo>
                                                                                  <a:lnTo>
                                                                                    <a:pt x="777875" y="463021"/>
                                                                                  </a:lnTo>
                                                                                  <a:lnTo>
                                                                                    <a:pt x="775229" y="463021"/>
                                                                                  </a:lnTo>
                                                                                  <a:lnTo>
                                                                                    <a:pt x="775229" y="465667"/>
                                                                                  </a:lnTo>
                                                                                  <a:lnTo>
                                                                                    <a:pt x="772583" y="465667"/>
                                                                                  </a:lnTo>
                                                                                  <a:lnTo>
                                                                                    <a:pt x="769937" y="468313"/>
                                                                                  </a:lnTo>
                                                                                  <a:lnTo>
                                                                                    <a:pt x="769937" y="470959"/>
                                                                                  </a:lnTo>
                                                                                  <a:lnTo>
                                                                                    <a:pt x="767292" y="470959"/>
                                                                                  </a:lnTo>
                                                                                  <a:lnTo>
                                                                                    <a:pt x="764646" y="470959"/>
                                                                                  </a:lnTo>
                                                                                  <a:lnTo>
                                                                                    <a:pt x="764646" y="473605"/>
                                                                                  </a:lnTo>
                                                                                  <a:lnTo>
                                                                                    <a:pt x="762000" y="473605"/>
                                                                                  </a:lnTo>
                                                                                  <a:lnTo>
                                                                                    <a:pt x="759354" y="473605"/>
                                                                                  </a:lnTo>
                                                                                  <a:lnTo>
                                                                                    <a:pt x="759354" y="476250"/>
                                                                                  </a:lnTo>
                                                                                  <a:lnTo>
                                                                                    <a:pt x="756708" y="476250"/>
                                                                                  </a:lnTo>
                                                                                  <a:lnTo>
                                                                                    <a:pt x="754062" y="476250"/>
                                                                                  </a:lnTo>
                                                                                  <a:lnTo>
                                                                                    <a:pt x="751417" y="476250"/>
                                                                                  </a:lnTo>
                                                                                  <a:lnTo>
                                                                                    <a:pt x="748771" y="478896"/>
                                                                                  </a:lnTo>
                                                                                  <a:lnTo>
                                                                                    <a:pt x="743479" y="476250"/>
                                                                                  </a:lnTo>
                                                                                  <a:lnTo>
                                                                                    <a:pt x="738187" y="473605"/>
                                                                                  </a:lnTo>
                                                                                  <a:lnTo>
                                                                                    <a:pt x="732896" y="476250"/>
                                                                                  </a:lnTo>
                                                                                  <a:lnTo>
                                                                                    <a:pt x="727604" y="481542"/>
                                                                                  </a:lnTo>
                                                                                  <a:lnTo>
                                                                                    <a:pt x="724958" y="481542"/>
                                                                                  </a:lnTo>
                                                                                  <a:lnTo>
                                                                                    <a:pt x="719667" y="481542"/>
                                                                                  </a:lnTo>
                                                                                  <a:lnTo>
                                                                                    <a:pt x="717021" y="481542"/>
                                                                                  </a:lnTo>
                                                                                  <a:lnTo>
                                                                                    <a:pt x="711729" y="481542"/>
                                                                                  </a:lnTo>
                                                                                  <a:lnTo>
                                                                                    <a:pt x="706438" y="481542"/>
                                                                                  </a:lnTo>
                                                                                  <a:lnTo>
                                                                                    <a:pt x="703792" y="481542"/>
                                                                                  </a:lnTo>
                                                                                  <a:lnTo>
                                                                                    <a:pt x="693208" y="476250"/>
                                                                                  </a:lnTo>
                                                                                  <a:lnTo>
                                                                                    <a:pt x="687917" y="476250"/>
                                                                                  </a:lnTo>
                                                                                  <a:lnTo>
                                                                                    <a:pt x="682625" y="476250"/>
                                                                                  </a:lnTo>
                                                                                  <a:lnTo>
                                                                                    <a:pt x="679979" y="476250"/>
                                                                                  </a:lnTo>
                                                                                  <a:lnTo>
                                                                                    <a:pt x="677333" y="476250"/>
                                                                                  </a:lnTo>
                                                                                  <a:lnTo>
                                                                                    <a:pt x="672042" y="476250"/>
                                                                                  </a:lnTo>
                                                                                  <a:lnTo>
                                                                                    <a:pt x="674688" y="473605"/>
                                                                                  </a:lnTo>
                                                                                  <a:lnTo>
                                                                                    <a:pt x="672042" y="468313"/>
                                                                                  </a:lnTo>
                                                                                  <a:lnTo>
                                                                                    <a:pt x="672042" y="465667"/>
                                                                                  </a:lnTo>
                                                                                  <a:lnTo>
                                                                                    <a:pt x="674688" y="465667"/>
                                                                                  </a:lnTo>
                                                                                  <a:lnTo>
                                                                                    <a:pt x="674688" y="463021"/>
                                                                                  </a:lnTo>
                                                                                  <a:lnTo>
                                                                                    <a:pt x="677333" y="463021"/>
                                                                                  </a:lnTo>
                                                                                  <a:lnTo>
                                                                                    <a:pt x="679979" y="463021"/>
                                                                                  </a:lnTo>
                                                                                  <a:lnTo>
                                                                                    <a:pt x="679979" y="460375"/>
                                                                                  </a:lnTo>
                                                                                  <a:lnTo>
                                                                                    <a:pt x="682625" y="460375"/>
                                                                                  </a:lnTo>
                                                                                  <a:lnTo>
                                                                                    <a:pt x="685271" y="457730"/>
                                                                                  </a:lnTo>
                                                                                  <a:lnTo>
                                                                                    <a:pt x="687917" y="460375"/>
                                                                                  </a:lnTo>
                                                                                  <a:lnTo>
                                                                                    <a:pt x="690563" y="460375"/>
                                                                                  </a:lnTo>
                                                                                  <a:lnTo>
                                                                                    <a:pt x="693208" y="463021"/>
                                                                                  </a:lnTo>
                                                                                  <a:lnTo>
                                                                                    <a:pt x="695854" y="463021"/>
                                                                                  </a:lnTo>
                                                                                  <a:lnTo>
                                                                                    <a:pt x="698500" y="463021"/>
                                                                                  </a:lnTo>
                                                                                  <a:lnTo>
                                                                                    <a:pt x="701146" y="463021"/>
                                                                                  </a:lnTo>
                                                                                  <a:lnTo>
                                                                                    <a:pt x="703792" y="463021"/>
                                                                                  </a:lnTo>
                                                                                  <a:lnTo>
                                                                                    <a:pt x="709083" y="463021"/>
                                                                                  </a:lnTo>
                                                                                  <a:lnTo>
                                                                                    <a:pt x="711729" y="463021"/>
                                                                                  </a:lnTo>
                                                                                  <a:lnTo>
                                                                                    <a:pt x="714375" y="463021"/>
                                                                                  </a:lnTo>
                                                                                  <a:lnTo>
                                                                                    <a:pt x="719667" y="460375"/>
                                                                                  </a:lnTo>
                                                                                  <a:lnTo>
                                                                                    <a:pt x="722313" y="463021"/>
                                                                                  </a:lnTo>
                                                                                  <a:lnTo>
                                                                                    <a:pt x="727604" y="463021"/>
                                                                                  </a:lnTo>
                                                                                  <a:lnTo>
                                                                                    <a:pt x="730250" y="465667"/>
                                                                                  </a:lnTo>
                                                                                  <a:lnTo>
                                                                                    <a:pt x="732896" y="465667"/>
                                                                                  </a:lnTo>
                                                                                  <a:lnTo>
                                                                                    <a:pt x="738187" y="465667"/>
                                                                                  </a:lnTo>
                                                                                  <a:lnTo>
                                                                                    <a:pt x="740833" y="468313"/>
                                                                                  </a:lnTo>
                                                                                  <a:lnTo>
                                                                                    <a:pt x="740833" y="465667"/>
                                                                                  </a:lnTo>
                                                                                  <a:lnTo>
                                                                                    <a:pt x="743479" y="465667"/>
                                                                                  </a:lnTo>
                                                                                  <a:lnTo>
                                                                                    <a:pt x="743479" y="463021"/>
                                                                                  </a:lnTo>
                                                                                  <a:lnTo>
                                                                                    <a:pt x="748771" y="463021"/>
                                                                                  </a:lnTo>
                                                                                  <a:lnTo>
                                                                                    <a:pt x="754062" y="460375"/>
                                                                                  </a:lnTo>
                                                                                  <a:lnTo>
                                                                                    <a:pt x="762000" y="460375"/>
                                                                                  </a:lnTo>
                                                                                  <a:lnTo>
                                                                                    <a:pt x="769937" y="457730"/>
                                                                                  </a:lnTo>
                                                                                  <a:lnTo>
                                                                                    <a:pt x="772583" y="457730"/>
                                                                                  </a:lnTo>
                                                                                  <a:lnTo>
                                                                                    <a:pt x="769937" y="455084"/>
                                                                                  </a:lnTo>
                                                                                  <a:lnTo>
                                                                                    <a:pt x="767292" y="455084"/>
                                                                                  </a:lnTo>
                                                                                  <a:close/>
                                                                                  <a:moveTo>
                                                                                    <a:pt x="560917" y="452438"/>
                                                                                  </a:moveTo>
                                                                                  <a:lnTo>
                                                                                    <a:pt x="568854" y="455084"/>
                                                                                  </a:lnTo>
                                                                                  <a:lnTo>
                                                                                    <a:pt x="571500" y="460375"/>
                                                                                  </a:lnTo>
                                                                                  <a:lnTo>
                                                                                    <a:pt x="576792" y="463021"/>
                                                                                  </a:lnTo>
                                                                                  <a:lnTo>
                                                                                    <a:pt x="574146" y="465667"/>
                                                                                  </a:lnTo>
                                                                                  <a:lnTo>
                                                                                    <a:pt x="571500" y="465667"/>
                                                                                  </a:lnTo>
                                                                                  <a:lnTo>
                                                                                    <a:pt x="571500" y="468313"/>
                                                                                  </a:lnTo>
                                                                                  <a:lnTo>
                                                                                    <a:pt x="568854" y="470959"/>
                                                                                  </a:lnTo>
                                                                                  <a:lnTo>
                                                                                    <a:pt x="566208" y="468313"/>
                                                                                  </a:lnTo>
                                                                                  <a:lnTo>
                                                                                    <a:pt x="566208" y="470959"/>
                                                                                  </a:lnTo>
                                                                                  <a:lnTo>
                                                                                    <a:pt x="563562" y="473605"/>
                                                                                  </a:lnTo>
                                                                                  <a:lnTo>
                                                                                    <a:pt x="560917" y="476250"/>
                                                                                  </a:lnTo>
                                                                                  <a:lnTo>
                                                                                    <a:pt x="560917" y="478896"/>
                                                                                  </a:lnTo>
                                                                                  <a:lnTo>
                                                                                    <a:pt x="558271" y="478896"/>
                                                                                  </a:lnTo>
                                                                                  <a:lnTo>
                                                                                    <a:pt x="555625" y="478896"/>
                                                                                  </a:lnTo>
                                                                                  <a:lnTo>
                                                                                    <a:pt x="555625" y="476250"/>
                                                                                  </a:lnTo>
                                                                                  <a:lnTo>
                                                                                    <a:pt x="555625" y="473605"/>
                                                                                  </a:lnTo>
                                                                                  <a:lnTo>
                                                                                    <a:pt x="555625" y="470959"/>
                                                                                  </a:lnTo>
                                                                                  <a:lnTo>
                                                                                    <a:pt x="552979" y="468313"/>
                                                                                  </a:lnTo>
                                                                                  <a:lnTo>
                                                                                    <a:pt x="545041" y="465667"/>
                                                                                  </a:lnTo>
                                                                                  <a:lnTo>
                                                                                    <a:pt x="542396" y="463021"/>
                                                                                  </a:lnTo>
                                                                                  <a:lnTo>
                                                                                    <a:pt x="539750" y="460375"/>
                                                                                  </a:lnTo>
                                                                                  <a:lnTo>
                                                                                    <a:pt x="542396" y="457729"/>
                                                                                  </a:lnTo>
                                                                                  <a:lnTo>
                                                                                    <a:pt x="547687" y="457729"/>
                                                                                  </a:lnTo>
                                                                                  <a:lnTo>
                                                                                    <a:pt x="552979" y="455084"/>
                                                                                  </a:lnTo>
                                                                                  <a:lnTo>
                                                                                    <a:pt x="558271" y="455084"/>
                                                                                  </a:lnTo>
                                                                                  <a:close/>
                                                                                  <a:moveTo>
                                                                                    <a:pt x="867834" y="439209"/>
                                                                                  </a:moveTo>
                                                                                  <a:lnTo>
                                                                                    <a:pt x="873126" y="439209"/>
                                                                                  </a:lnTo>
                                                                                  <a:lnTo>
                                                                                    <a:pt x="878417" y="444500"/>
                                                                                  </a:lnTo>
                                                                                  <a:lnTo>
                                                                                    <a:pt x="881063" y="444500"/>
                                                                                  </a:lnTo>
                                                                                  <a:lnTo>
                                                                                    <a:pt x="881063" y="447146"/>
                                                                                  </a:lnTo>
                                                                                  <a:lnTo>
                                                                                    <a:pt x="878417" y="449792"/>
                                                                                  </a:lnTo>
                                                                                  <a:lnTo>
                                                                                    <a:pt x="870480" y="449792"/>
                                                                                  </a:lnTo>
                                                                                  <a:lnTo>
                                                                                    <a:pt x="865188" y="452438"/>
                                                                                  </a:lnTo>
                                                                                  <a:lnTo>
                                                                                    <a:pt x="862542" y="452438"/>
                                                                                  </a:lnTo>
                                                                                  <a:lnTo>
                                                                                    <a:pt x="854605" y="452438"/>
                                                                                  </a:lnTo>
                                                                                  <a:lnTo>
                                                                                    <a:pt x="846667" y="452438"/>
                                                                                  </a:lnTo>
                                                                                  <a:lnTo>
                                                                                    <a:pt x="851959" y="444500"/>
                                                                                  </a:lnTo>
                                                                                  <a:lnTo>
                                                                                    <a:pt x="854605" y="441855"/>
                                                                                  </a:lnTo>
                                                                                  <a:lnTo>
                                                                                    <a:pt x="857251" y="441855"/>
                                                                                  </a:lnTo>
                                                                                  <a:lnTo>
                                                                                    <a:pt x="862542" y="441855"/>
                                                                                  </a:lnTo>
                                                                                  <a:lnTo>
                                                                                    <a:pt x="865188" y="441855"/>
                                                                                  </a:lnTo>
                                                                                  <a:close/>
                                                                                  <a:moveTo>
                                                                                    <a:pt x="1185333" y="436563"/>
                                                                                  </a:moveTo>
                                                                                  <a:lnTo>
                                                                                    <a:pt x="1190625" y="436563"/>
                                                                                  </a:lnTo>
                                                                                  <a:lnTo>
                                                                                    <a:pt x="1195916" y="436563"/>
                                                                                  </a:lnTo>
                                                                                  <a:lnTo>
                                                                                    <a:pt x="1198562" y="439209"/>
                                                                                  </a:lnTo>
                                                                                  <a:lnTo>
                                                                                    <a:pt x="1195916" y="444501"/>
                                                                                  </a:lnTo>
                                                                                  <a:lnTo>
                                                                                    <a:pt x="1193271" y="447147"/>
                                                                                  </a:lnTo>
                                                                                  <a:lnTo>
                                                                                    <a:pt x="1195916" y="449792"/>
                                                                                  </a:lnTo>
                                                                                  <a:lnTo>
                                                                                    <a:pt x="1195916" y="463022"/>
                                                                                  </a:lnTo>
                                                                                  <a:lnTo>
                                                                                    <a:pt x="1193271" y="468313"/>
                                                                                  </a:lnTo>
                                                                                  <a:lnTo>
                                                                                    <a:pt x="1190625" y="470959"/>
                                                                                  </a:lnTo>
                                                                                  <a:lnTo>
                                                                                    <a:pt x="1187979" y="470959"/>
                                                                                  </a:lnTo>
                                                                                  <a:lnTo>
                                                                                    <a:pt x="1182687" y="470959"/>
                                                                                  </a:lnTo>
                                                                                  <a:lnTo>
                                                                                    <a:pt x="1174750" y="473605"/>
                                                                                  </a:lnTo>
                                                                                  <a:lnTo>
                                                                                    <a:pt x="1172104" y="470959"/>
                                                                                  </a:lnTo>
                                                                                  <a:lnTo>
                                                                                    <a:pt x="1172104" y="468313"/>
                                                                                  </a:lnTo>
                                                                                  <a:lnTo>
                                                                                    <a:pt x="1180042" y="444501"/>
                                                                                  </a:lnTo>
                                                                                  <a:close/>
                                                                                  <a:moveTo>
                                                                                    <a:pt x="529166" y="412750"/>
                                                                                  </a:moveTo>
                                                                                  <a:lnTo>
                                                                                    <a:pt x="534458" y="415396"/>
                                                                                  </a:lnTo>
                                                                                  <a:lnTo>
                                                                                    <a:pt x="531812" y="418042"/>
                                                                                  </a:lnTo>
                                                                                  <a:lnTo>
                                                                                    <a:pt x="529166" y="418042"/>
                                                                                  </a:lnTo>
                                                                                  <a:lnTo>
                                                                                    <a:pt x="526520" y="420687"/>
                                                                                  </a:lnTo>
                                                                                  <a:lnTo>
                                                                                    <a:pt x="526520" y="423333"/>
                                                                                  </a:lnTo>
                                                                                  <a:lnTo>
                                                                                    <a:pt x="523875" y="423333"/>
                                                                                  </a:lnTo>
                                                                                  <a:lnTo>
                                                                                    <a:pt x="518583" y="423333"/>
                                                                                  </a:lnTo>
                                                                                  <a:lnTo>
                                                                                    <a:pt x="510645" y="423333"/>
                                                                                  </a:lnTo>
                                                                                  <a:lnTo>
                                                                                    <a:pt x="508000" y="425979"/>
                                                                                  </a:lnTo>
                                                                                  <a:lnTo>
                                                                                    <a:pt x="505354" y="428625"/>
                                                                                  </a:lnTo>
                                                                                  <a:lnTo>
                                                                                    <a:pt x="500062" y="425979"/>
                                                                                  </a:lnTo>
                                                                                  <a:lnTo>
                                                                                    <a:pt x="494771" y="428625"/>
                                                                                  </a:lnTo>
                                                                                  <a:lnTo>
                                                                                    <a:pt x="492125" y="428625"/>
                                                                                  </a:lnTo>
                                                                                  <a:lnTo>
                                                                                    <a:pt x="492125" y="425979"/>
                                                                                  </a:lnTo>
                                                                                  <a:lnTo>
                                                                                    <a:pt x="494771" y="423333"/>
                                                                                  </a:lnTo>
                                                                                  <a:lnTo>
                                                                                    <a:pt x="492125" y="420687"/>
                                                                                  </a:lnTo>
                                                                                  <a:lnTo>
                                                                                    <a:pt x="494771" y="418042"/>
                                                                                  </a:lnTo>
                                                                                  <a:lnTo>
                                                                                    <a:pt x="502708" y="415396"/>
                                                                                  </a:lnTo>
                                                                                  <a:lnTo>
                                                                                    <a:pt x="513291" y="415396"/>
                                                                                  </a:lnTo>
                                                                                  <a:lnTo>
                                                                                    <a:pt x="521229" y="415396"/>
                                                                                  </a:lnTo>
                                                                                  <a:close/>
                                                                                  <a:moveTo>
                                                                                    <a:pt x="312208" y="383646"/>
                                                                                  </a:moveTo>
                                                                                  <a:lnTo>
                                                                                    <a:pt x="314854" y="386292"/>
                                                                                  </a:lnTo>
                                                                                  <a:lnTo>
                                                                                    <a:pt x="317500" y="386292"/>
                                                                                  </a:lnTo>
                                                                                  <a:lnTo>
                                                                                    <a:pt x="325438" y="383646"/>
                                                                                  </a:lnTo>
                                                                                  <a:lnTo>
                                                                                    <a:pt x="328083" y="386292"/>
                                                                                  </a:lnTo>
                                                                                  <a:lnTo>
                                                                                    <a:pt x="333375" y="388938"/>
                                                                                  </a:lnTo>
                                                                                  <a:lnTo>
                                                                                    <a:pt x="336021" y="388938"/>
                                                                                  </a:lnTo>
                                                                                  <a:lnTo>
                                                                                    <a:pt x="338667" y="386292"/>
                                                                                  </a:lnTo>
                                                                                  <a:lnTo>
                                                                                    <a:pt x="341313" y="386292"/>
                                                                                  </a:lnTo>
                                                                                  <a:lnTo>
                                                                                    <a:pt x="346604" y="386292"/>
                                                                                  </a:lnTo>
                                                                                  <a:lnTo>
                                                                                    <a:pt x="351896" y="388938"/>
                                                                                  </a:lnTo>
                                                                                  <a:lnTo>
                                                                                    <a:pt x="354542" y="388938"/>
                                                                                  </a:lnTo>
                                                                                  <a:lnTo>
                                                                                    <a:pt x="357188" y="391583"/>
                                                                                  </a:lnTo>
                                                                                  <a:lnTo>
                                                                                    <a:pt x="359833" y="391583"/>
                                                                                  </a:lnTo>
                                                                                  <a:lnTo>
                                                                                    <a:pt x="362479" y="391583"/>
                                                                                  </a:lnTo>
                                                                                  <a:lnTo>
                                                                                    <a:pt x="362479" y="394229"/>
                                                                                  </a:lnTo>
                                                                                  <a:lnTo>
                                                                                    <a:pt x="365125" y="394229"/>
                                                                                  </a:lnTo>
                                                                                  <a:lnTo>
                                                                                    <a:pt x="367771" y="394229"/>
                                                                                  </a:lnTo>
                                                                                  <a:lnTo>
                                                                                    <a:pt x="373063" y="391583"/>
                                                                                  </a:lnTo>
                                                                                  <a:lnTo>
                                                                                    <a:pt x="378354" y="394229"/>
                                                                                  </a:lnTo>
                                                                                  <a:lnTo>
                                                                                    <a:pt x="381000" y="399521"/>
                                                                                  </a:lnTo>
                                                                                  <a:lnTo>
                                                                                    <a:pt x="378354" y="402167"/>
                                                                                  </a:lnTo>
                                                                                  <a:lnTo>
                                                                                    <a:pt x="375708" y="404813"/>
                                                                                  </a:lnTo>
                                                                                  <a:lnTo>
                                                                                    <a:pt x="378354" y="404813"/>
                                                                                  </a:lnTo>
                                                                                  <a:lnTo>
                                                                                    <a:pt x="381000" y="407458"/>
                                                                                  </a:lnTo>
                                                                                  <a:lnTo>
                                                                                    <a:pt x="388938" y="407458"/>
                                                                                  </a:lnTo>
                                                                                  <a:lnTo>
                                                                                    <a:pt x="407458" y="407458"/>
                                                                                  </a:lnTo>
                                                                                  <a:lnTo>
                                                                                    <a:pt x="412750" y="410104"/>
                                                                                  </a:lnTo>
                                                                                  <a:lnTo>
                                                                                    <a:pt x="418042" y="407458"/>
                                                                                  </a:lnTo>
                                                                                  <a:lnTo>
                                                                                    <a:pt x="420688" y="407458"/>
                                                                                  </a:lnTo>
                                                                                  <a:lnTo>
                                                                                    <a:pt x="425979" y="410104"/>
                                                                                  </a:lnTo>
                                                                                  <a:lnTo>
                                                                                    <a:pt x="428625" y="407458"/>
                                                                                  </a:lnTo>
                                                                                  <a:lnTo>
                                                                                    <a:pt x="428625" y="404813"/>
                                                                                  </a:lnTo>
                                                                                  <a:lnTo>
                                                                                    <a:pt x="431271" y="396875"/>
                                                                                  </a:lnTo>
                                                                                  <a:lnTo>
                                                                                    <a:pt x="436563" y="394229"/>
                                                                                  </a:lnTo>
                                                                                  <a:lnTo>
                                                                                    <a:pt x="441854" y="394229"/>
                                                                                  </a:lnTo>
                                                                                  <a:lnTo>
                                                                                    <a:pt x="444500" y="399521"/>
                                                                                  </a:lnTo>
                                                                                  <a:lnTo>
                                                                                    <a:pt x="447146" y="404813"/>
                                                                                  </a:lnTo>
                                                                                  <a:lnTo>
                                                                                    <a:pt x="449792" y="407458"/>
                                                                                  </a:lnTo>
                                                                                  <a:lnTo>
                                                                                    <a:pt x="455083" y="407458"/>
                                                                                  </a:lnTo>
                                                                                  <a:lnTo>
                                                                                    <a:pt x="457729" y="404813"/>
                                                                                  </a:lnTo>
                                                                                  <a:lnTo>
                                                                                    <a:pt x="463021" y="407458"/>
                                                                                  </a:lnTo>
                                                                                  <a:lnTo>
                                                                                    <a:pt x="468313" y="410104"/>
                                                                                  </a:lnTo>
                                                                                  <a:lnTo>
                                                                                    <a:pt x="473604" y="415396"/>
                                                                                  </a:lnTo>
                                                                                  <a:lnTo>
                                                                                    <a:pt x="478896" y="418042"/>
                                                                                  </a:lnTo>
                                                                                  <a:lnTo>
                                                                                    <a:pt x="489479" y="420688"/>
                                                                                  </a:lnTo>
                                                                                  <a:lnTo>
                                                                                    <a:pt x="489479" y="423333"/>
                                                                                  </a:lnTo>
                                                                                  <a:lnTo>
                                                                                    <a:pt x="489479" y="428625"/>
                                                                                  </a:lnTo>
                                                                                  <a:lnTo>
                                                                                    <a:pt x="489479" y="431271"/>
                                                                                  </a:lnTo>
                                                                                  <a:lnTo>
                                                                                    <a:pt x="492125" y="431271"/>
                                                                                  </a:lnTo>
                                                                                  <a:lnTo>
                                                                                    <a:pt x="492125" y="436563"/>
                                                                                  </a:lnTo>
                                                                                  <a:lnTo>
                                                                                    <a:pt x="494771" y="439208"/>
                                                                                  </a:lnTo>
                                                                                  <a:lnTo>
                                                                                    <a:pt x="500063" y="441854"/>
                                                                                  </a:lnTo>
                                                                                  <a:lnTo>
                                                                                    <a:pt x="510646" y="444500"/>
                                                                                  </a:lnTo>
                                                                                  <a:lnTo>
                                                                                    <a:pt x="515938" y="441854"/>
                                                                                  </a:lnTo>
                                                                                  <a:lnTo>
                                                                                    <a:pt x="523875" y="441854"/>
                                                                                  </a:lnTo>
                                                                                  <a:lnTo>
                                                                                    <a:pt x="526521" y="441854"/>
                                                                                  </a:lnTo>
                                                                                  <a:lnTo>
                                                                                    <a:pt x="539750" y="447146"/>
                                                                                  </a:lnTo>
                                                                                  <a:lnTo>
                                                                                    <a:pt x="542396" y="449792"/>
                                                                                  </a:lnTo>
                                                                                  <a:lnTo>
                                                                                    <a:pt x="537104" y="457729"/>
                                                                                  </a:lnTo>
                                                                                  <a:lnTo>
                                                                                    <a:pt x="534458" y="463021"/>
                                                                                  </a:lnTo>
                                                                                  <a:lnTo>
                                                                                    <a:pt x="534458" y="465667"/>
                                                                                  </a:lnTo>
                                                                                  <a:lnTo>
                                                                                    <a:pt x="539750" y="470959"/>
                                                                                  </a:lnTo>
                                                                                  <a:lnTo>
                                                                                    <a:pt x="542396" y="476250"/>
                                                                                  </a:lnTo>
                                                                                  <a:lnTo>
                                                                                    <a:pt x="545042" y="478896"/>
                                                                                  </a:lnTo>
                                                                                  <a:lnTo>
                                                                                    <a:pt x="539750" y="478896"/>
                                                                                  </a:lnTo>
                                                                                  <a:lnTo>
                                                                                    <a:pt x="537104" y="478896"/>
                                                                                  </a:lnTo>
                                                                                  <a:lnTo>
                                                                                    <a:pt x="529167" y="476250"/>
                                                                                  </a:lnTo>
                                                                                  <a:lnTo>
                                                                                    <a:pt x="521229" y="470959"/>
                                                                                  </a:lnTo>
                                                                                  <a:lnTo>
                                                                                    <a:pt x="515938" y="470959"/>
                                                                                  </a:lnTo>
                                                                                  <a:lnTo>
                                                                                    <a:pt x="510646" y="470959"/>
                                                                                  </a:lnTo>
                                                                                  <a:lnTo>
                                                                                    <a:pt x="489479" y="470959"/>
                                                                                  </a:lnTo>
                                                                                  <a:lnTo>
                                                                                    <a:pt x="478896" y="470959"/>
                                                                                  </a:lnTo>
                                                                                  <a:lnTo>
                                                                                    <a:pt x="473604" y="468313"/>
                                                                                  </a:lnTo>
                                                                                  <a:lnTo>
                                                                                    <a:pt x="463021" y="468313"/>
                                                                                  </a:lnTo>
                                                                                  <a:lnTo>
                                                                                    <a:pt x="452438" y="465667"/>
                                                                                  </a:lnTo>
                                                                                  <a:lnTo>
                                                                                    <a:pt x="444500" y="463021"/>
                                                                                  </a:lnTo>
                                                                                  <a:lnTo>
                                                                                    <a:pt x="439208" y="457729"/>
                                                                                  </a:lnTo>
                                                                                  <a:lnTo>
                                                                                    <a:pt x="428625" y="455083"/>
                                                                                  </a:lnTo>
                                                                                  <a:lnTo>
                                                                                    <a:pt x="410104" y="455083"/>
                                                                                  </a:lnTo>
                                                                                  <a:lnTo>
                                                                                    <a:pt x="399521" y="449792"/>
                                                                                  </a:lnTo>
                                                                                  <a:lnTo>
                                                                                    <a:pt x="388938" y="447146"/>
                                                                                  </a:lnTo>
                                                                                  <a:lnTo>
                                                                                    <a:pt x="381000" y="444500"/>
                                                                                  </a:lnTo>
                                                                                  <a:lnTo>
                                                                                    <a:pt x="375708" y="447146"/>
                                                                                  </a:lnTo>
                                                                                  <a:lnTo>
                                                                                    <a:pt x="370417" y="447146"/>
                                                                                  </a:lnTo>
                                                                                  <a:lnTo>
                                                                                    <a:pt x="365125" y="444500"/>
                                                                                  </a:lnTo>
                                                                                  <a:lnTo>
                                                                                    <a:pt x="359833" y="441854"/>
                                                                                  </a:lnTo>
                                                                                  <a:lnTo>
                                                                                    <a:pt x="354542" y="441854"/>
                                                                                  </a:lnTo>
                                                                                  <a:lnTo>
                                                                                    <a:pt x="351896" y="441854"/>
                                                                                  </a:lnTo>
                                                                                  <a:lnTo>
                                                                                    <a:pt x="346604" y="439208"/>
                                                                                  </a:lnTo>
                                                                                  <a:lnTo>
                                                                                    <a:pt x="328083" y="433917"/>
                                                                                  </a:lnTo>
                                                                                  <a:lnTo>
                                                                                    <a:pt x="317500" y="433917"/>
                                                                                  </a:lnTo>
                                                                                  <a:lnTo>
                                                                                    <a:pt x="314854" y="431271"/>
                                                                                  </a:lnTo>
                                                                                  <a:lnTo>
                                                                                    <a:pt x="314854" y="428625"/>
                                                                                  </a:lnTo>
                                                                                  <a:lnTo>
                                                                                    <a:pt x="320146" y="425979"/>
                                                                                  </a:lnTo>
                                                                                  <a:lnTo>
                                                                                    <a:pt x="328083" y="420688"/>
                                                                                  </a:lnTo>
                                                                                  <a:lnTo>
                                                                                    <a:pt x="330729" y="420688"/>
                                                                                  </a:lnTo>
                                                                                  <a:lnTo>
                                                                                    <a:pt x="330729" y="418042"/>
                                                                                  </a:lnTo>
                                                                                  <a:lnTo>
                                                                                    <a:pt x="325438" y="418042"/>
                                                                                  </a:lnTo>
                                                                                  <a:lnTo>
                                                                                    <a:pt x="322792" y="418042"/>
                                                                                  </a:lnTo>
                                                                                  <a:lnTo>
                                                                                    <a:pt x="320146" y="418042"/>
                                                                                  </a:lnTo>
                                                                                  <a:lnTo>
                                                                                    <a:pt x="317500" y="418042"/>
                                                                                  </a:lnTo>
                                                                                  <a:lnTo>
                                                                                    <a:pt x="312208" y="415396"/>
                                                                                  </a:lnTo>
                                                                                  <a:lnTo>
                                                                                    <a:pt x="306917" y="415396"/>
                                                                                  </a:lnTo>
                                                                                  <a:lnTo>
                                                                                    <a:pt x="296333" y="412750"/>
                                                                                  </a:lnTo>
                                                                                  <a:lnTo>
                                                                                    <a:pt x="291042" y="412750"/>
                                                                                  </a:lnTo>
                                                                                  <a:lnTo>
                                                                                    <a:pt x="293688" y="407458"/>
                                                                                  </a:lnTo>
                                                                                  <a:lnTo>
                                                                                    <a:pt x="296333" y="407458"/>
                                                                                  </a:lnTo>
                                                                                  <a:lnTo>
                                                                                    <a:pt x="301625" y="410104"/>
                                                                                  </a:lnTo>
                                                                                  <a:lnTo>
                                                                                    <a:pt x="304271" y="407458"/>
                                                                                  </a:lnTo>
                                                                                  <a:lnTo>
                                                                                    <a:pt x="304271" y="402167"/>
                                                                                  </a:lnTo>
                                                                                  <a:lnTo>
                                                                                    <a:pt x="306917" y="402167"/>
                                                                                  </a:lnTo>
                                                                                  <a:lnTo>
                                                                                    <a:pt x="306917" y="396875"/>
                                                                                  </a:lnTo>
                                                                                  <a:lnTo>
                                                                                    <a:pt x="304271" y="391583"/>
                                                                                  </a:lnTo>
                                                                                  <a:lnTo>
                                                                                    <a:pt x="306917" y="386292"/>
                                                                                  </a:lnTo>
                                                                                  <a:close/>
                                                                                  <a:moveTo>
                                                                                    <a:pt x="756708" y="362480"/>
                                                                                  </a:moveTo>
                                                                                  <a:lnTo>
                                                                                    <a:pt x="759353" y="362480"/>
                                                                                  </a:lnTo>
                                                                                  <a:lnTo>
                                                                                    <a:pt x="764645" y="365126"/>
                                                                                  </a:lnTo>
                                                                                  <a:lnTo>
                                                                                    <a:pt x="767291" y="367772"/>
                                                                                  </a:lnTo>
                                                                                  <a:lnTo>
                                                                                    <a:pt x="767291" y="373063"/>
                                                                                  </a:lnTo>
                                                                                  <a:lnTo>
                                                                                    <a:pt x="767291" y="375709"/>
                                                                                  </a:lnTo>
                                                                                  <a:lnTo>
                                                                                    <a:pt x="764645" y="378355"/>
                                                                                  </a:lnTo>
                                                                                  <a:lnTo>
                                                                                    <a:pt x="759353" y="375709"/>
                                                                                  </a:lnTo>
                                                                                  <a:lnTo>
                                                                                    <a:pt x="756708" y="370417"/>
                                                                                  </a:lnTo>
                                                                                  <a:lnTo>
                                                                                    <a:pt x="754062" y="365126"/>
                                                                                  </a:lnTo>
                                                                                  <a:close/>
                                                                                  <a:moveTo>
                                                                                    <a:pt x="777875" y="341313"/>
                                                                                  </a:moveTo>
                                                                                  <a:lnTo>
                                                                                    <a:pt x="777875" y="346605"/>
                                                                                  </a:lnTo>
                                                                                  <a:lnTo>
                                                                                    <a:pt x="777875" y="349250"/>
                                                                                  </a:lnTo>
                                                                                  <a:lnTo>
                                                                                    <a:pt x="777875" y="351896"/>
                                                                                  </a:lnTo>
                                                                                  <a:lnTo>
                                                                                    <a:pt x="780521" y="354542"/>
                                                                                  </a:lnTo>
                                                                                  <a:lnTo>
                                                                                    <a:pt x="780521" y="357188"/>
                                                                                  </a:lnTo>
                                                                                  <a:lnTo>
                                                                                    <a:pt x="780521" y="359834"/>
                                                                                  </a:lnTo>
                                                                                  <a:lnTo>
                                                                                    <a:pt x="775229" y="362480"/>
                                                                                  </a:lnTo>
                                                                                  <a:lnTo>
                                                                                    <a:pt x="769938" y="362480"/>
                                                                                  </a:lnTo>
                                                                                  <a:lnTo>
                                                                                    <a:pt x="767292" y="359834"/>
                                                                                  </a:lnTo>
                                                                                  <a:lnTo>
                                                                                    <a:pt x="767292" y="357188"/>
                                                                                  </a:lnTo>
                                                                                  <a:lnTo>
                                                                                    <a:pt x="767292" y="354542"/>
                                                                                  </a:lnTo>
                                                                                  <a:lnTo>
                                                                                    <a:pt x="769938" y="351896"/>
                                                                                  </a:lnTo>
                                                                                  <a:lnTo>
                                                                                    <a:pt x="767292" y="349250"/>
                                                                                  </a:lnTo>
                                                                                  <a:lnTo>
                                                                                    <a:pt x="767292" y="346605"/>
                                                                                  </a:lnTo>
                                                                                  <a:lnTo>
                                                                                    <a:pt x="769938" y="343959"/>
                                                                                  </a:lnTo>
                                                                                  <a:close/>
                                                                                  <a:moveTo>
                                                                                    <a:pt x="785813" y="330730"/>
                                                                                  </a:moveTo>
                                                                                  <a:lnTo>
                                                                                    <a:pt x="791105" y="336022"/>
                                                                                  </a:lnTo>
                                                                                  <a:lnTo>
                                                                                    <a:pt x="793751" y="336022"/>
                                                                                  </a:lnTo>
                                                                                  <a:lnTo>
                                                                                    <a:pt x="796397" y="338667"/>
                                                                                  </a:lnTo>
                                                                                  <a:lnTo>
                                                                                    <a:pt x="793751" y="338667"/>
                                                                                  </a:lnTo>
                                                                                  <a:lnTo>
                                                                                    <a:pt x="791105" y="341313"/>
                                                                                  </a:lnTo>
                                                                                  <a:lnTo>
                                                                                    <a:pt x="793751" y="346605"/>
                                                                                  </a:lnTo>
                                                                                  <a:lnTo>
                                                                                    <a:pt x="796397" y="351897"/>
                                                                                  </a:lnTo>
                                                                                  <a:lnTo>
                                                                                    <a:pt x="799042" y="349251"/>
                                                                                  </a:lnTo>
                                                                                  <a:lnTo>
                                                                                    <a:pt x="801688" y="349251"/>
                                                                                  </a:lnTo>
                                                                                  <a:lnTo>
                                                                                    <a:pt x="804334" y="351897"/>
                                                                                  </a:lnTo>
                                                                                  <a:lnTo>
                                                                                    <a:pt x="801688" y="354542"/>
                                                                                  </a:lnTo>
                                                                                  <a:lnTo>
                                                                                    <a:pt x="799042" y="354542"/>
                                                                                  </a:lnTo>
                                                                                  <a:lnTo>
                                                                                    <a:pt x="796397" y="357188"/>
                                                                                  </a:lnTo>
                                                                                  <a:lnTo>
                                                                                    <a:pt x="793751" y="359834"/>
                                                                                  </a:lnTo>
                                                                                  <a:lnTo>
                                                                                    <a:pt x="793751" y="365126"/>
                                                                                  </a:lnTo>
                                                                                  <a:lnTo>
                                                                                    <a:pt x="791105" y="365126"/>
                                                                                  </a:lnTo>
                                                                                  <a:lnTo>
                                                                                    <a:pt x="785813" y="365126"/>
                                                                                  </a:lnTo>
                                                                                  <a:lnTo>
                                                                                    <a:pt x="783167" y="362480"/>
                                                                                  </a:lnTo>
                                                                                  <a:lnTo>
                                                                                    <a:pt x="783167" y="354542"/>
                                                                                  </a:lnTo>
                                                                                  <a:lnTo>
                                                                                    <a:pt x="783167" y="343959"/>
                                                                                  </a:lnTo>
                                                                                  <a:lnTo>
                                                                                    <a:pt x="780521" y="336022"/>
                                                                                  </a:lnTo>
                                                                                  <a:lnTo>
                                                                                    <a:pt x="783167" y="333376"/>
                                                                                  </a:lnTo>
                                                                                  <a:close/>
                                                                                  <a:moveTo>
                                                                                    <a:pt x="865188" y="296334"/>
                                                                                  </a:moveTo>
                                                                                  <a:lnTo>
                                                                                    <a:pt x="870480" y="296334"/>
                                                                                  </a:lnTo>
                                                                                  <a:lnTo>
                                                                                    <a:pt x="878417" y="296334"/>
                                                                                  </a:lnTo>
                                                                                  <a:lnTo>
                                                                                    <a:pt x="889001" y="298980"/>
                                                                                  </a:lnTo>
                                                                                  <a:lnTo>
                                                                                    <a:pt x="894292" y="304271"/>
                                                                                  </a:lnTo>
                                                                                  <a:lnTo>
                                                                                    <a:pt x="894292" y="306917"/>
                                                                                  </a:lnTo>
                                                                                  <a:lnTo>
                                                                                    <a:pt x="894292" y="309563"/>
                                                                                  </a:lnTo>
                                                                                  <a:lnTo>
                                                                                    <a:pt x="891647" y="314854"/>
                                                                                  </a:lnTo>
                                                                                  <a:lnTo>
                                                                                    <a:pt x="894292" y="314854"/>
                                                                                  </a:lnTo>
                                                                                  <a:lnTo>
                                                                                    <a:pt x="896938" y="317500"/>
                                                                                  </a:lnTo>
                                                                                  <a:lnTo>
                                                                                    <a:pt x="896938" y="320146"/>
                                                                                  </a:lnTo>
                                                                                  <a:lnTo>
                                                                                    <a:pt x="883709" y="322792"/>
                                                                                  </a:lnTo>
                                                                                  <a:lnTo>
                                                                                    <a:pt x="873126" y="320146"/>
                                                                                  </a:lnTo>
                                                                                  <a:lnTo>
                                                                                    <a:pt x="867834" y="317500"/>
                                                                                  </a:lnTo>
                                                                                  <a:lnTo>
                                                                                    <a:pt x="859896" y="306917"/>
                                                                                  </a:lnTo>
                                                                                  <a:lnTo>
                                                                                    <a:pt x="859896" y="304271"/>
                                                                                  </a:lnTo>
                                                                                  <a:lnTo>
                                                                                    <a:pt x="859896" y="298980"/>
                                                                                  </a:lnTo>
                                                                                  <a:lnTo>
                                                                                    <a:pt x="862542" y="298980"/>
                                                                                  </a:lnTo>
                                                                                  <a:close/>
                                                                                  <a:moveTo>
                                                                                    <a:pt x="933979" y="285750"/>
                                                                                  </a:moveTo>
                                                                                  <a:lnTo>
                                                                                    <a:pt x="941917" y="285750"/>
                                                                                  </a:lnTo>
                                                                                  <a:lnTo>
                                                                                    <a:pt x="949854" y="285750"/>
                                                                                  </a:lnTo>
                                                                                  <a:lnTo>
                                                                                    <a:pt x="955146" y="288396"/>
                                                                                  </a:lnTo>
                                                                                  <a:lnTo>
                                                                                    <a:pt x="957792" y="285750"/>
                                                                                  </a:lnTo>
                                                                                  <a:lnTo>
                                                                                    <a:pt x="960438" y="285750"/>
                                                                                  </a:lnTo>
                                                                                  <a:lnTo>
                                                                                    <a:pt x="960438" y="288396"/>
                                                                                  </a:lnTo>
                                                                                  <a:lnTo>
                                                                                    <a:pt x="963084" y="291042"/>
                                                                                  </a:lnTo>
                                                                                  <a:lnTo>
                                                                                    <a:pt x="968375" y="288396"/>
                                                                                  </a:lnTo>
                                                                                  <a:lnTo>
                                                                                    <a:pt x="973667" y="288396"/>
                                                                                  </a:lnTo>
                                                                                  <a:lnTo>
                                                                                    <a:pt x="984250" y="288396"/>
                                                                                  </a:lnTo>
                                                                                  <a:lnTo>
                                                                                    <a:pt x="989542" y="288396"/>
                                                                                  </a:lnTo>
                                                                                  <a:lnTo>
                                                                                    <a:pt x="992188" y="288396"/>
                                                                                  </a:lnTo>
                                                                                  <a:lnTo>
                                                                                    <a:pt x="994834" y="288396"/>
                                                                                  </a:lnTo>
                                                                                  <a:lnTo>
                                                                                    <a:pt x="994834" y="291042"/>
                                                                                  </a:lnTo>
                                                                                  <a:lnTo>
                                                                                    <a:pt x="997480" y="296333"/>
                                                                                  </a:lnTo>
                                                                                  <a:lnTo>
                                                                                    <a:pt x="1000125" y="296333"/>
                                                                                  </a:lnTo>
                                                                                  <a:lnTo>
                                                                                    <a:pt x="1000125" y="298979"/>
                                                                                  </a:lnTo>
                                                                                  <a:lnTo>
                                                                                    <a:pt x="1000125" y="304271"/>
                                                                                  </a:lnTo>
                                                                                  <a:lnTo>
                                                                                    <a:pt x="1000125" y="306917"/>
                                                                                  </a:lnTo>
                                                                                  <a:lnTo>
                                                                                    <a:pt x="1002771" y="309563"/>
                                                                                  </a:lnTo>
                                                                                  <a:lnTo>
                                                                                    <a:pt x="1002771" y="317500"/>
                                                                                  </a:lnTo>
                                                                                  <a:lnTo>
                                                                                    <a:pt x="1000125" y="320146"/>
                                                                                  </a:lnTo>
                                                                                  <a:lnTo>
                                                                                    <a:pt x="997480" y="322792"/>
                                                                                  </a:lnTo>
                                                                                  <a:lnTo>
                                                                                    <a:pt x="989542" y="317500"/>
                                                                                  </a:lnTo>
                                                                                  <a:lnTo>
                                                                                    <a:pt x="984250" y="314854"/>
                                                                                  </a:lnTo>
                                                                                  <a:lnTo>
                                                                                    <a:pt x="978959" y="312208"/>
                                                                                  </a:lnTo>
                                                                                  <a:lnTo>
                                                                                    <a:pt x="976313" y="304271"/>
                                                                                  </a:lnTo>
                                                                                  <a:lnTo>
                                                                                    <a:pt x="968375" y="304271"/>
                                                                                  </a:lnTo>
                                                                                  <a:lnTo>
                                                                                    <a:pt x="965729" y="304271"/>
                                                                                  </a:lnTo>
                                                                                  <a:lnTo>
                                                                                    <a:pt x="965729" y="306917"/>
                                                                                  </a:lnTo>
                                                                                  <a:lnTo>
                                                                                    <a:pt x="960438" y="306917"/>
                                                                                  </a:lnTo>
                                                                                  <a:lnTo>
                                                                                    <a:pt x="952500" y="306917"/>
                                                                                  </a:lnTo>
                                                                                  <a:lnTo>
                                                                                    <a:pt x="949854" y="309563"/>
                                                                                  </a:lnTo>
                                                                                  <a:lnTo>
                                                                                    <a:pt x="944563" y="309563"/>
                                                                                  </a:lnTo>
                                                                                  <a:lnTo>
                                                                                    <a:pt x="941917" y="306917"/>
                                                                                  </a:lnTo>
                                                                                  <a:lnTo>
                                                                                    <a:pt x="939271" y="304271"/>
                                                                                  </a:lnTo>
                                                                                  <a:lnTo>
                                                                                    <a:pt x="936625" y="306917"/>
                                                                                  </a:lnTo>
                                                                                  <a:lnTo>
                                                                                    <a:pt x="933979" y="309563"/>
                                                                                  </a:lnTo>
                                                                                  <a:lnTo>
                                                                                    <a:pt x="931333" y="312208"/>
                                                                                  </a:lnTo>
                                                                                  <a:lnTo>
                                                                                    <a:pt x="926042" y="309563"/>
                                                                                  </a:lnTo>
                                                                                  <a:lnTo>
                                                                                    <a:pt x="926042" y="306917"/>
                                                                                  </a:lnTo>
                                                                                  <a:lnTo>
                                                                                    <a:pt x="923396" y="306917"/>
                                                                                  </a:lnTo>
                                                                                  <a:lnTo>
                                                                                    <a:pt x="918104" y="309563"/>
                                                                                  </a:lnTo>
                                                                                  <a:lnTo>
                                                                                    <a:pt x="915458" y="314854"/>
                                                                                  </a:lnTo>
                                                                                  <a:lnTo>
                                                                                    <a:pt x="915458" y="306917"/>
                                                                                  </a:lnTo>
                                                                                  <a:lnTo>
                                                                                    <a:pt x="918104" y="304271"/>
                                                                                  </a:lnTo>
                                                                                  <a:lnTo>
                                                                                    <a:pt x="923396" y="301625"/>
                                                                                  </a:lnTo>
                                                                                  <a:lnTo>
                                                                                    <a:pt x="923396" y="293687"/>
                                                                                  </a:lnTo>
                                                                                  <a:lnTo>
                                                                                    <a:pt x="923396" y="291042"/>
                                                                                  </a:lnTo>
                                                                                  <a:lnTo>
                                                                                    <a:pt x="926042" y="288396"/>
                                                                                  </a:lnTo>
                                                                                  <a:close/>
                                                                                  <a:moveTo>
                                                                                    <a:pt x="973667" y="251355"/>
                                                                                  </a:moveTo>
                                                                                  <a:lnTo>
                                                                                    <a:pt x="981604" y="251355"/>
                                                                                  </a:lnTo>
                                                                                  <a:lnTo>
                                                                                    <a:pt x="981604" y="254001"/>
                                                                                  </a:lnTo>
                                                                                  <a:lnTo>
                                                                                    <a:pt x="981604" y="259292"/>
                                                                                  </a:lnTo>
                                                                                  <a:lnTo>
                                                                                    <a:pt x="976313" y="261938"/>
                                                                                  </a:lnTo>
                                                                                  <a:lnTo>
                                                                                    <a:pt x="968375" y="261938"/>
                                                                                  </a:lnTo>
                                                                                  <a:lnTo>
                                                                                    <a:pt x="963083" y="256646"/>
                                                                                  </a:lnTo>
                                                                                  <a:lnTo>
                                                                                    <a:pt x="963083" y="254001"/>
                                                                                  </a:lnTo>
                                                                                  <a:lnTo>
                                                                                    <a:pt x="965729" y="254001"/>
                                                                                  </a:lnTo>
                                                                                  <a:close/>
                                                                                  <a:moveTo>
                                                                                    <a:pt x="1037167" y="198438"/>
                                                                                  </a:moveTo>
                                                                                  <a:lnTo>
                                                                                    <a:pt x="1047751" y="201084"/>
                                                                                  </a:lnTo>
                                                                                  <a:lnTo>
                                                                                    <a:pt x="1058334" y="206375"/>
                                                                                  </a:lnTo>
                                                                                  <a:lnTo>
                                                                                    <a:pt x="1060980" y="209021"/>
                                                                                  </a:lnTo>
                                                                                  <a:lnTo>
                                                                                    <a:pt x="1063625" y="211667"/>
                                                                                  </a:lnTo>
                                                                                  <a:lnTo>
                                                                                    <a:pt x="1066271" y="214313"/>
                                                                                  </a:lnTo>
                                                                                  <a:lnTo>
                                                                                    <a:pt x="1074209" y="214313"/>
                                                                                  </a:lnTo>
                                                                                  <a:lnTo>
                                                                                    <a:pt x="1076855" y="214313"/>
                                                                                  </a:lnTo>
                                                                                  <a:lnTo>
                                                                                    <a:pt x="1079500" y="211667"/>
                                                                                  </a:lnTo>
                                                                                  <a:lnTo>
                                                                                    <a:pt x="1087438" y="216959"/>
                                                                                  </a:lnTo>
                                                                                  <a:lnTo>
                                                                                    <a:pt x="1084792" y="216959"/>
                                                                                  </a:lnTo>
                                                                                  <a:lnTo>
                                                                                    <a:pt x="1084792" y="219605"/>
                                                                                  </a:lnTo>
                                                                                  <a:lnTo>
                                                                                    <a:pt x="1087438" y="224896"/>
                                                                                  </a:lnTo>
                                                                                  <a:lnTo>
                                                                                    <a:pt x="1090084" y="230188"/>
                                                                                  </a:lnTo>
                                                                                  <a:lnTo>
                                                                                    <a:pt x="1090084" y="232834"/>
                                                                                  </a:lnTo>
                                                                                  <a:lnTo>
                                                                                    <a:pt x="1087438" y="238125"/>
                                                                                  </a:lnTo>
                                                                                  <a:lnTo>
                                                                                    <a:pt x="1084792" y="246063"/>
                                                                                  </a:lnTo>
                                                                                  <a:lnTo>
                                                                                    <a:pt x="1084792" y="254000"/>
                                                                                  </a:lnTo>
                                                                                  <a:lnTo>
                                                                                    <a:pt x="1090084" y="275167"/>
                                                                                  </a:lnTo>
                                                                                  <a:lnTo>
                                                                                    <a:pt x="1095375" y="272521"/>
                                                                                  </a:lnTo>
                                                                                  <a:lnTo>
                                                                                    <a:pt x="1095375" y="277813"/>
                                                                                  </a:lnTo>
                                                                                  <a:lnTo>
                                                                                    <a:pt x="1095375" y="283105"/>
                                                                                  </a:lnTo>
                                                                                  <a:lnTo>
                                                                                    <a:pt x="1098021" y="283105"/>
                                                                                  </a:lnTo>
                                                                                  <a:lnTo>
                                                                                    <a:pt x="1098021" y="280459"/>
                                                                                  </a:lnTo>
                                                                                  <a:lnTo>
                                                                                    <a:pt x="1100667" y="283105"/>
                                                                                  </a:lnTo>
                                                                                  <a:lnTo>
                                                                                    <a:pt x="1100667" y="285751"/>
                                                                                  </a:lnTo>
                                                                                  <a:lnTo>
                                                                                    <a:pt x="1103313" y="293688"/>
                                                                                  </a:lnTo>
                                                                                  <a:lnTo>
                                                                                    <a:pt x="1108605" y="293688"/>
                                                                                  </a:lnTo>
                                                                                  <a:lnTo>
                                                                                    <a:pt x="1113896" y="296334"/>
                                                                                  </a:lnTo>
                                                                                  <a:lnTo>
                                                                                    <a:pt x="1121834" y="293688"/>
                                                                                  </a:lnTo>
                                                                                  <a:lnTo>
                                                                                    <a:pt x="1121834" y="291042"/>
                                                                                  </a:lnTo>
                                                                                  <a:lnTo>
                                                                                    <a:pt x="1121834" y="288396"/>
                                                                                  </a:lnTo>
                                                                                  <a:lnTo>
                                                                                    <a:pt x="1124480" y="283105"/>
                                                                                  </a:lnTo>
                                                                                  <a:lnTo>
                                                                                    <a:pt x="1129771" y="280459"/>
                                                                                  </a:lnTo>
                                                                                  <a:lnTo>
                                                                                    <a:pt x="1129771" y="277813"/>
                                                                                  </a:lnTo>
                                                                                  <a:lnTo>
                                                                                    <a:pt x="1132417" y="272521"/>
                                                                                  </a:lnTo>
                                                                                  <a:lnTo>
                                                                                    <a:pt x="1135063" y="269875"/>
                                                                                  </a:lnTo>
                                                                                  <a:lnTo>
                                                                                    <a:pt x="1137709" y="267230"/>
                                                                                  </a:lnTo>
                                                                                  <a:lnTo>
                                                                                    <a:pt x="1137709" y="264584"/>
                                                                                  </a:lnTo>
                                                                                  <a:lnTo>
                                                                                    <a:pt x="1137709" y="261938"/>
                                                                                  </a:lnTo>
                                                                                  <a:lnTo>
                                                                                    <a:pt x="1140355" y="256646"/>
                                                                                  </a:lnTo>
                                                                                  <a:lnTo>
                                                                                    <a:pt x="1145646" y="254000"/>
                                                                                  </a:lnTo>
                                                                                  <a:lnTo>
                                                                                    <a:pt x="1148292" y="254000"/>
                                                                                  </a:lnTo>
                                                                                  <a:lnTo>
                                                                                    <a:pt x="1150938" y="254000"/>
                                                                                  </a:lnTo>
                                                                                  <a:lnTo>
                                                                                    <a:pt x="1150938" y="256646"/>
                                                                                  </a:lnTo>
                                                                                  <a:lnTo>
                                                                                    <a:pt x="1153584" y="254000"/>
                                                                                  </a:lnTo>
                                                                                  <a:lnTo>
                                                                                    <a:pt x="1156230" y="251355"/>
                                                                                  </a:lnTo>
                                                                                  <a:lnTo>
                                                                                    <a:pt x="1156230" y="246063"/>
                                                                                  </a:lnTo>
                                                                                  <a:lnTo>
                                                                                    <a:pt x="1158875" y="243417"/>
                                                                                  </a:lnTo>
                                                                                  <a:lnTo>
                                                                                    <a:pt x="1172105" y="232834"/>
                                                                                  </a:lnTo>
                                                                                  <a:lnTo>
                                                                                    <a:pt x="1182688" y="230188"/>
                                                                                  </a:lnTo>
                                                                                  <a:lnTo>
                                                                                    <a:pt x="1190625" y="232834"/>
                                                                                  </a:lnTo>
                                                                                  <a:lnTo>
                                                                                    <a:pt x="1219729" y="248709"/>
                                                                                  </a:lnTo>
                                                                                  <a:lnTo>
                                                                                    <a:pt x="1235604" y="254000"/>
                                                                                  </a:lnTo>
                                                                                  <a:lnTo>
                                                                                    <a:pt x="1251479" y="261938"/>
                                                                                  </a:lnTo>
                                                                                  <a:lnTo>
                                                                                    <a:pt x="1259417" y="264584"/>
                                                                                  </a:lnTo>
                                                                                  <a:lnTo>
                                                                                    <a:pt x="1262063" y="264584"/>
                                                                                  </a:lnTo>
                                                                                  <a:lnTo>
                                                                                    <a:pt x="1264709" y="264584"/>
                                                                                  </a:lnTo>
                                                                                  <a:lnTo>
                                                                                    <a:pt x="1272646" y="267230"/>
                                                                                  </a:lnTo>
                                                                                  <a:lnTo>
                                                                                    <a:pt x="1277938" y="269875"/>
                                                                                  </a:lnTo>
                                                                                  <a:lnTo>
                                                                                    <a:pt x="1280584" y="272521"/>
                                                                                  </a:lnTo>
                                                                                  <a:lnTo>
                                                                                    <a:pt x="1285875" y="275167"/>
                                                                                  </a:lnTo>
                                                                                  <a:lnTo>
                                                                                    <a:pt x="1280584" y="343959"/>
                                                                                  </a:lnTo>
                                                                                  <a:lnTo>
                                                                                    <a:pt x="1275292" y="404813"/>
                                                                                  </a:lnTo>
                                                                                  <a:lnTo>
                                                                                    <a:pt x="1264709" y="492126"/>
                                                                                  </a:lnTo>
                                                                                  <a:lnTo>
                                                                                    <a:pt x="1262063" y="492126"/>
                                                                                  </a:lnTo>
                                                                                  <a:lnTo>
                                                                                    <a:pt x="1259417" y="489480"/>
                                                                                  </a:lnTo>
                                                                                  <a:lnTo>
                                                                                    <a:pt x="1254125" y="481543"/>
                                                                                  </a:lnTo>
                                                                                  <a:lnTo>
                                                                                    <a:pt x="1248834" y="473605"/>
                                                                                  </a:lnTo>
                                                                                  <a:lnTo>
                                                                                    <a:pt x="1246188" y="470959"/>
                                                                                  </a:lnTo>
                                                                                  <a:lnTo>
                                                                                    <a:pt x="1243542" y="468314"/>
                                                                                  </a:lnTo>
                                                                                  <a:lnTo>
                                                                                    <a:pt x="1238250" y="465668"/>
                                                                                  </a:lnTo>
                                                                                  <a:lnTo>
                                                                                    <a:pt x="1238250" y="463022"/>
                                                                                  </a:lnTo>
                                                                                  <a:lnTo>
                                                                                    <a:pt x="1240896" y="460376"/>
                                                                                  </a:lnTo>
                                                                                  <a:lnTo>
                                                                                    <a:pt x="1240896" y="455084"/>
                                                                                  </a:lnTo>
                                                                                  <a:lnTo>
                                                                                    <a:pt x="1235604" y="460376"/>
                                                                                  </a:lnTo>
                                                                                  <a:lnTo>
                                                                                    <a:pt x="1232959" y="463022"/>
                                                                                  </a:lnTo>
                                                                                  <a:lnTo>
                                                                                    <a:pt x="1227667" y="463022"/>
                                                                                  </a:lnTo>
                                                                                  <a:lnTo>
                                                                                    <a:pt x="1219729" y="463022"/>
                                                                                  </a:lnTo>
                                                                                  <a:lnTo>
                                                                                    <a:pt x="1217084" y="463022"/>
                                                                                  </a:lnTo>
                                                                                  <a:lnTo>
                                                                                    <a:pt x="1214438" y="460376"/>
                                                                                  </a:lnTo>
                                                                                  <a:lnTo>
                                                                                    <a:pt x="1209146" y="463022"/>
                                                                                  </a:lnTo>
                                                                                  <a:lnTo>
                                                                                    <a:pt x="1203854" y="463022"/>
                                                                                  </a:lnTo>
                                                                                  <a:lnTo>
                                                                                    <a:pt x="1201209" y="460376"/>
                                                                                  </a:lnTo>
                                                                                  <a:lnTo>
                                                                                    <a:pt x="1201209" y="455084"/>
                                                                                  </a:lnTo>
                                                                                  <a:lnTo>
                                                                                    <a:pt x="1198563" y="449792"/>
                                                                                  </a:lnTo>
                                                                                  <a:lnTo>
                                                                                    <a:pt x="1195917" y="447147"/>
                                                                                  </a:lnTo>
                                                                                  <a:lnTo>
                                                                                    <a:pt x="1198563" y="444501"/>
                                                                                  </a:lnTo>
                                                                                  <a:lnTo>
                                                                                    <a:pt x="1201209" y="439209"/>
                                                                                  </a:lnTo>
                                                                                  <a:lnTo>
                                                                                    <a:pt x="1193271" y="433917"/>
                                                                                  </a:lnTo>
                                                                                  <a:lnTo>
                                                                                    <a:pt x="1190625" y="431272"/>
                                                                                  </a:lnTo>
                                                                                  <a:lnTo>
                                                                                    <a:pt x="1195917" y="428626"/>
                                                                                  </a:lnTo>
                                                                                  <a:lnTo>
                                                                                    <a:pt x="1206500" y="428626"/>
                                                                                  </a:lnTo>
                                                                                  <a:lnTo>
                                                                                    <a:pt x="1195917" y="423334"/>
                                                                                  </a:lnTo>
                                                                                  <a:lnTo>
                                                                                    <a:pt x="1187980" y="418042"/>
                                                                                  </a:lnTo>
                                                                                  <a:lnTo>
                                                                                    <a:pt x="1187980" y="412751"/>
                                                                                  </a:lnTo>
                                                                                  <a:lnTo>
                                                                                    <a:pt x="1190625" y="412751"/>
                                                                                  </a:lnTo>
                                                                                  <a:lnTo>
                                                                                    <a:pt x="1193271" y="410105"/>
                                                                                  </a:lnTo>
                                                                                  <a:lnTo>
                                                                                    <a:pt x="1195917" y="407459"/>
                                                                                  </a:lnTo>
                                                                                  <a:lnTo>
                                                                                    <a:pt x="1201209" y="407459"/>
                                                                                  </a:lnTo>
                                                                                  <a:lnTo>
                                                                                    <a:pt x="1211792" y="410105"/>
                                                                                  </a:lnTo>
                                                                                  <a:lnTo>
                                                                                    <a:pt x="1203854" y="404813"/>
                                                                                  </a:lnTo>
                                                                                  <a:lnTo>
                                                                                    <a:pt x="1193271" y="402167"/>
                                                                                  </a:lnTo>
                                                                                  <a:lnTo>
                                                                                    <a:pt x="1187980" y="396876"/>
                                                                                  </a:lnTo>
                                                                                  <a:lnTo>
                                                                                    <a:pt x="1185334" y="394230"/>
                                                                                  </a:lnTo>
                                                                                  <a:lnTo>
                                                                                    <a:pt x="1187980" y="394230"/>
                                                                                  </a:lnTo>
                                                                                  <a:lnTo>
                                                                                    <a:pt x="1190625" y="391584"/>
                                                                                  </a:lnTo>
                                                                                  <a:lnTo>
                                                                                    <a:pt x="1193271" y="391584"/>
                                                                                  </a:lnTo>
                                                                                  <a:lnTo>
                                                                                    <a:pt x="1193271" y="388938"/>
                                                                                  </a:lnTo>
                                                                                  <a:lnTo>
                                                                                    <a:pt x="1187980" y="383647"/>
                                                                                  </a:lnTo>
                                                                                  <a:lnTo>
                                                                                    <a:pt x="1182688" y="378355"/>
                                                                                  </a:lnTo>
                                                                                  <a:lnTo>
                                                                                    <a:pt x="1182688" y="375709"/>
                                                                                  </a:lnTo>
                                                                                  <a:lnTo>
                                                                                    <a:pt x="1193271" y="373063"/>
                                                                                  </a:lnTo>
                                                                                  <a:lnTo>
                                                                                    <a:pt x="1185334" y="373063"/>
                                                                                  </a:lnTo>
                                                                                  <a:lnTo>
                                                                                    <a:pt x="1182688" y="373063"/>
                                                                                  </a:lnTo>
                                                                                  <a:lnTo>
                                                                                    <a:pt x="1193271" y="367771"/>
                                                                                  </a:lnTo>
                                                                                  <a:lnTo>
                                                                                    <a:pt x="1182688" y="367771"/>
                                                                                  </a:lnTo>
                                                                                  <a:lnTo>
                                                                                    <a:pt x="1177396" y="365126"/>
                                                                                  </a:lnTo>
                                                                                  <a:lnTo>
                                                                                    <a:pt x="1180042" y="362480"/>
                                                                                  </a:lnTo>
                                                                                  <a:lnTo>
                                                                                    <a:pt x="1182688" y="357188"/>
                                                                                  </a:lnTo>
                                                                                  <a:lnTo>
                                                                                    <a:pt x="1177396" y="359834"/>
                                                                                  </a:lnTo>
                                                                                  <a:lnTo>
                                                                                    <a:pt x="1174750" y="357188"/>
                                                                                  </a:lnTo>
                                                                                  <a:lnTo>
                                                                                    <a:pt x="1172105" y="351896"/>
                                                                                  </a:lnTo>
                                                                                  <a:lnTo>
                                                                                    <a:pt x="1169459" y="349251"/>
                                                                                  </a:lnTo>
                                                                                  <a:lnTo>
                                                                                    <a:pt x="1164167" y="349251"/>
                                                                                  </a:lnTo>
                                                                                  <a:lnTo>
                                                                                    <a:pt x="1156230" y="349251"/>
                                                                                  </a:lnTo>
                                                                                  <a:lnTo>
                                                                                    <a:pt x="1145646" y="343959"/>
                                                                                  </a:lnTo>
                                                                                  <a:lnTo>
                                                                                    <a:pt x="1135063" y="338667"/>
                                                                                  </a:lnTo>
                                                                                  <a:lnTo>
                                                                                    <a:pt x="1124480" y="338667"/>
                                                                                  </a:lnTo>
                                                                                  <a:lnTo>
                                                                                    <a:pt x="1119188" y="341313"/>
                                                                                  </a:lnTo>
                                                                                  <a:lnTo>
                                                                                    <a:pt x="1116542" y="338667"/>
                                                                                  </a:lnTo>
                                                                                  <a:lnTo>
                                                                                    <a:pt x="1116542" y="336021"/>
                                                                                  </a:lnTo>
                                                                                  <a:lnTo>
                                                                                    <a:pt x="1111250" y="336021"/>
                                                                                  </a:lnTo>
                                                                                  <a:lnTo>
                                                                                    <a:pt x="1108605" y="333376"/>
                                                                                  </a:lnTo>
                                                                                  <a:lnTo>
                                                                                    <a:pt x="1108605" y="330730"/>
                                                                                  </a:lnTo>
                                                                                  <a:lnTo>
                                                                                    <a:pt x="1105959" y="330730"/>
                                                                                  </a:lnTo>
                                                                                  <a:lnTo>
                                                                                    <a:pt x="1100667" y="328084"/>
                                                                                  </a:lnTo>
                                                                                  <a:lnTo>
                                                                                    <a:pt x="1098021" y="325438"/>
                                                                                  </a:lnTo>
                                                                                  <a:lnTo>
                                                                                    <a:pt x="1095375" y="320146"/>
                                                                                  </a:lnTo>
                                                                                  <a:lnTo>
                                                                                    <a:pt x="1090084" y="317501"/>
                                                                                  </a:lnTo>
                                                                                  <a:lnTo>
                                                                                    <a:pt x="1082146" y="314855"/>
                                                                                  </a:lnTo>
                                                                                  <a:lnTo>
                                                                                    <a:pt x="1082146" y="312209"/>
                                                                                  </a:lnTo>
                                                                                  <a:lnTo>
                                                                                    <a:pt x="1084792" y="312209"/>
                                                                                  </a:lnTo>
                                                                                  <a:lnTo>
                                                                                    <a:pt x="1090084" y="309563"/>
                                                                                  </a:lnTo>
                                                                                  <a:lnTo>
                                                                                    <a:pt x="1084792" y="309563"/>
                                                                                  </a:lnTo>
                                                                                  <a:lnTo>
                                                                                    <a:pt x="1082146" y="312209"/>
                                                                                  </a:lnTo>
                                                                                  <a:lnTo>
                                                                                    <a:pt x="1079500" y="312209"/>
                                                                                  </a:lnTo>
                                                                                  <a:lnTo>
                                                                                    <a:pt x="1076855" y="312209"/>
                                                                                  </a:lnTo>
                                                                                  <a:lnTo>
                                                                                    <a:pt x="1074209" y="309563"/>
                                                                                  </a:lnTo>
                                                                                  <a:lnTo>
                                                                                    <a:pt x="1074209" y="306917"/>
                                                                                  </a:lnTo>
                                                                                  <a:lnTo>
                                                                                    <a:pt x="1074209" y="304271"/>
                                                                                  </a:lnTo>
                                                                                  <a:lnTo>
                                                                                    <a:pt x="1074209" y="301626"/>
                                                                                  </a:lnTo>
                                                                                  <a:lnTo>
                                                                                    <a:pt x="1074209" y="298980"/>
                                                                                  </a:lnTo>
                                                                                  <a:lnTo>
                                                                                    <a:pt x="1074209" y="296334"/>
                                                                                  </a:lnTo>
                                                                                  <a:lnTo>
                                                                                    <a:pt x="1076855" y="296334"/>
                                                                                  </a:lnTo>
                                                                                  <a:lnTo>
                                                                                    <a:pt x="1076855" y="293688"/>
                                                                                  </a:lnTo>
                                                                                  <a:lnTo>
                                                                                    <a:pt x="1071563" y="296334"/>
                                                                                  </a:lnTo>
                                                                                  <a:lnTo>
                                                                                    <a:pt x="1071563" y="301626"/>
                                                                                  </a:lnTo>
                                                                                  <a:lnTo>
                                                                                    <a:pt x="1068917" y="301626"/>
                                                                                  </a:lnTo>
                                                                                  <a:lnTo>
                                                                                    <a:pt x="1068917" y="304271"/>
                                                                                  </a:lnTo>
                                                                                  <a:lnTo>
                                                                                    <a:pt x="1071563" y="306917"/>
                                                                                  </a:lnTo>
                                                                                  <a:lnTo>
                                                                                    <a:pt x="1071563" y="309563"/>
                                                                                  </a:lnTo>
                                                                                  <a:lnTo>
                                                                                    <a:pt x="1066271" y="312209"/>
                                                                                  </a:lnTo>
                                                                                  <a:lnTo>
                                                                                    <a:pt x="1063625" y="314855"/>
                                                                                  </a:lnTo>
                                                                                  <a:lnTo>
                                                                                    <a:pt x="1063625" y="320146"/>
                                                                                  </a:lnTo>
                                                                                  <a:lnTo>
                                                                                    <a:pt x="1063625" y="322792"/>
                                                                                  </a:lnTo>
                                                                                  <a:lnTo>
                                                                                    <a:pt x="1055688" y="325438"/>
                                                                                  </a:lnTo>
                                                                                  <a:lnTo>
                                                                                    <a:pt x="1050396" y="325438"/>
                                                                                  </a:lnTo>
                                                                                  <a:lnTo>
                                                                                    <a:pt x="1047751" y="322792"/>
                                                                                  </a:lnTo>
                                                                                  <a:lnTo>
                                                                                    <a:pt x="1047751" y="314855"/>
                                                                                  </a:lnTo>
                                                                                  <a:lnTo>
                                                                                    <a:pt x="1042459" y="309563"/>
                                                                                  </a:lnTo>
                                                                                  <a:lnTo>
                                                                                    <a:pt x="1042459" y="306917"/>
                                                                                  </a:lnTo>
                                                                                  <a:lnTo>
                                                                                    <a:pt x="1047751" y="304271"/>
                                                                                  </a:lnTo>
                                                                                  <a:lnTo>
                                                                                    <a:pt x="1050396" y="304271"/>
                                                                                  </a:lnTo>
                                                                                  <a:lnTo>
                                                                                    <a:pt x="1050396" y="301626"/>
                                                                                  </a:lnTo>
                                                                                  <a:lnTo>
                                                                                    <a:pt x="1047751" y="301626"/>
                                                                                  </a:lnTo>
                                                                                  <a:lnTo>
                                                                                    <a:pt x="1047751" y="296334"/>
                                                                                  </a:lnTo>
                                                                                  <a:lnTo>
                                                                                    <a:pt x="1047751" y="293688"/>
                                                                                  </a:lnTo>
                                                                                  <a:lnTo>
                                                                                    <a:pt x="1045105" y="293688"/>
                                                                                  </a:lnTo>
                                                                                  <a:lnTo>
                                                                                    <a:pt x="1042459" y="293688"/>
                                                                                  </a:lnTo>
                                                                                  <a:lnTo>
                                                                                    <a:pt x="1039813" y="288396"/>
                                                                                  </a:lnTo>
                                                                                  <a:lnTo>
                                                                                    <a:pt x="1034521" y="285751"/>
                                                                                  </a:lnTo>
                                                                                  <a:lnTo>
                                                                                    <a:pt x="1031876" y="283105"/>
                                                                                  </a:lnTo>
                                                                                  <a:lnTo>
                                                                                    <a:pt x="1029230" y="280459"/>
                                                                                  </a:lnTo>
                                                                                  <a:lnTo>
                                                                                    <a:pt x="1023938" y="277813"/>
                                                                                  </a:lnTo>
                                                                                  <a:lnTo>
                                                                                    <a:pt x="1021292" y="277813"/>
                                                                                  </a:lnTo>
                                                                                  <a:lnTo>
                                                                                    <a:pt x="1018646" y="277813"/>
                                                                                  </a:lnTo>
                                                                                  <a:lnTo>
                                                                                    <a:pt x="1016001" y="275167"/>
                                                                                  </a:lnTo>
                                                                                  <a:lnTo>
                                                                                    <a:pt x="1018646" y="272521"/>
                                                                                  </a:lnTo>
                                                                                  <a:lnTo>
                                                                                    <a:pt x="1026584" y="267230"/>
                                                                                  </a:lnTo>
                                                                                  <a:lnTo>
                                                                                    <a:pt x="1037167" y="267230"/>
                                                                                  </a:lnTo>
                                                                                  <a:lnTo>
                                                                                    <a:pt x="1045105" y="267230"/>
                                                                                  </a:lnTo>
                                                                                  <a:lnTo>
                                                                                    <a:pt x="1047751" y="269875"/>
                                                                                  </a:lnTo>
                                                                                  <a:lnTo>
                                                                                    <a:pt x="1047751" y="267230"/>
                                                                                  </a:lnTo>
                                                                                  <a:lnTo>
                                                                                    <a:pt x="1050396" y="264584"/>
                                                                                  </a:lnTo>
                                                                                  <a:lnTo>
                                                                                    <a:pt x="1053042" y="261938"/>
                                                                                  </a:lnTo>
                                                                                  <a:lnTo>
                                                                                    <a:pt x="1060980" y="261938"/>
                                                                                  </a:lnTo>
                                                                                  <a:lnTo>
                                                                                    <a:pt x="1060980" y="267230"/>
                                                                                  </a:lnTo>
                                                                                  <a:lnTo>
                                                                                    <a:pt x="1066271" y="264584"/>
                                                                                  </a:lnTo>
                                                                                  <a:lnTo>
                                                                                    <a:pt x="1074209" y="264584"/>
                                                                                  </a:lnTo>
                                                                                  <a:lnTo>
                                                                                    <a:pt x="1076855" y="264584"/>
                                                                                  </a:lnTo>
                                                                                  <a:lnTo>
                                                                                    <a:pt x="1076855" y="261938"/>
                                                                                  </a:lnTo>
                                                                                  <a:lnTo>
                                                                                    <a:pt x="1074209" y="259292"/>
                                                                                  </a:lnTo>
                                                                                  <a:lnTo>
                                                                                    <a:pt x="1074209" y="254000"/>
                                                                                  </a:lnTo>
                                                                                  <a:lnTo>
                                                                                    <a:pt x="1074209" y="251355"/>
                                                                                  </a:lnTo>
                                                                                  <a:lnTo>
                                                                                    <a:pt x="1071563" y="254000"/>
                                                                                  </a:lnTo>
                                                                                  <a:lnTo>
                                                                                    <a:pt x="1068917" y="256646"/>
                                                                                  </a:lnTo>
                                                                                  <a:lnTo>
                                                                                    <a:pt x="1060980" y="256646"/>
                                                                                  </a:lnTo>
                                                                                  <a:lnTo>
                                                                                    <a:pt x="1055688" y="254000"/>
                                                                                  </a:lnTo>
                                                                                  <a:lnTo>
                                                                                    <a:pt x="1050396" y="256646"/>
                                                                                  </a:lnTo>
                                                                                  <a:lnTo>
                                                                                    <a:pt x="1047751" y="256646"/>
                                                                                  </a:lnTo>
                                                                                  <a:lnTo>
                                                                                    <a:pt x="1045105" y="256646"/>
                                                                                  </a:lnTo>
                                                                                  <a:lnTo>
                                                                                    <a:pt x="1039813" y="256646"/>
                                                                                  </a:lnTo>
                                                                                  <a:lnTo>
                                                                                    <a:pt x="1037167" y="256646"/>
                                                                                  </a:lnTo>
                                                                                  <a:lnTo>
                                                                                    <a:pt x="1034521" y="259292"/>
                                                                                  </a:lnTo>
                                                                                  <a:lnTo>
                                                                                    <a:pt x="1029230" y="256646"/>
                                                                                  </a:lnTo>
                                                                                  <a:lnTo>
                                                                                    <a:pt x="1023938" y="254000"/>
                                                                                  </a:lnTo>
                                                                                  <a:lnTo>
                                                                                    <a:pt x="1023938" y="251355"/>
                                                                                  </a:lnTo>
                                                                                  <a:lnTo>
                                                                                    <a:pt x="1026584" y="251355"/>
                                                                                  </a:lnTo>
                                                                                  <a:lnTo>
                                                                                    <a:pt x="1026584" y="248709"/>
                                                                                  </a:lnTo>
                                                                                  <a:lnTo>
                                                                                    <a:pt x="1023938" y="243417"/>
                                                                                  </a:lnTo>
                                                                                  <a:lnTo>
                                                                                    <a:pt x="1026584" y="243417"/>
                                                                                  </a:lnTo>
                                                                                  <a:lnTo>
                                                                                    <a:pt x="1029230" y="240771"/>
                                                                                  </a:lnTo>
                                                                                  <a:lnTo>
                                                                                    <a:pt x="1026584" y="240771"/>
                                                                                  </a:lnTo>
                                                                                  <a:lnTo>
                                                                                    <a:pt x="1023938" y="238125"/>
                                                                                  </a:lnTo>
                                                                                  <a:lnTo>
                                                                                    <a:pt x="1021292" y="235480"/>
                                                                                  </a:lnTo>
                                                                                  <a:lnTo>
                                                                                    <a:pt x="1016001" y="238125"/>
                                                                                  </a:lnTo>
                                                                                  <a:lnTo>
                                                                                    <a:pt x="1013355" y="238125"/>
                                                                                  </a:lnTo>
                                                                                  <a:lnTo>
                                                                                    <a:pt x="1010709" y="235480"/>
                                                                                  </a:lnTo>
                                                                                  <a:lnTo>
                                                                                    <a:pt x="1010709" y="232834"/>
                                                                                  </a:lnTo>
                                                                                  <a:lnTo>
                                                                                    <a:pt x="1005417" y="232834"/>
                                                                                  </a:lnTo>
                                                                                  <a:lnTo>
                                                                                    <a:pt x="1002771" y="235480"/>
                                                                                  </a:lnTo>
                                                                                  <a:lnTo>
                                                                                    <a:pt x="1000126" y="235480"/>
                                                                                  </a:lnTo>
                                                                                  <a:lnTo>
                                                                                    <a:pt x="989542" y="230188"/>
                                                                                  </a:lnTo>
                                                                                  <a:lnTo>
                                                                                    <a:pt x="994834" y="227542"/>
                                                                                  </a:lnTo>
                                                                                  <a:lnTo>
                                                                                    <a:pt x="994834" y="224896"/>
                                                                                  </a:lnTo>
                                                                                  <a:lnTo>
                                                                                    <a:pt x="997480" y="222250"/>
                                                                                  </a:lnTo>
                                                                                  <a:lnTo>
                                                                                    <a:pt x="1002771" y="222250"/>
                                                                                  </a:lnTo>
                                                                                  <a:lnTo>
                                                                                    <a:pt x="1002771" y="219605"/>
                                                                                  </a:lnTo>
                                                                                  <a:lnTo>
                                                                                    <a:pt x="1005417" y="214313"/>
                                                                                  </a:lnTo>
                                                                                  <a:lnTo>
                                                                                    <a:pt x="1010709" y="214313"/>
                                                                                  </a:lnTo>
                                                                                  <a:lnTo>
                                                                                    <a:pt x="1013355" y="211667"/>
                                                                                  </a:lnTo>
                                                                                  <a:lnTo>
                                                                                    <a:pt x="1016001" y="209021"/>
                                                                                  </a:lnTo>
                                                                                  <a:lnTo>
                                                                                    <a:pt x="1018646" y="206375"/>
                                                                                  </a:lnTo>
                                                                                  <a:lnTo>
                                                                                    <a:pt x="1023938" y="203730"/>
                                                                                  </a:lnTo>
                                                                                  <a:lnTo>
                                                                                    <a:pt x="1029230" y="201084"/>
                                                                                  </a:lnTo>
                                                                                  <a:close/>
                                                                                  <a:moveTo>
                                                                                    <a:pt x="825500" y="132292"/>
                                                                                  </a:moveTo>
                                                                                  <a:lnTo>
                                                                                    <a:pt x="828146" y="132292"/>
                                                                                  </a:lnTo>
                                                                                  <a:lnTo>
                                                                                    <a:pt x="833438" y="132292"/>
                                                                                  </a:lnTo>
                                                                                  <a:lnTo>
                                                                                    <a:pt x="838729" y="132292"/>
                                                                                  </a:lnTo>
                                                                                  <a:lnTo>
                                                                                    <a:pt x="838729" y="134938"/>
                                                                                  </a:lnTo>
                                                                                  <a:lnTo>
                                                                                    <a:pt x="836083" y="140229"/>
                                                                                  </a:lnTo>
                                                                                  <a:lnTo>
                                                                                    <a:pt x="833438" y="145521"/>
                                                                                  </a:lnTo>
                                                                                  <a:lnTo>
                                                                                    <a:pt x="830792" y="153459"/>
                                                                                  </a:lnTo>
                                                                                  <a:lnTo>
                                                                                    <a:pt x="825500" y="156104"/>
                                                                                  </a:lnTo>
                                                                                  <a:lnTo>
                                                                                    <a:pt x="817563" y="161396"/>
                                                                                  </a:lnTo>
                                                                                  <a:lnTo>
                                                                                    <a:pt x="817563" y="164042"/>
                                                                                  </a:lnTo>
                                                                                  <a:lnTo>
                                                                                    <a:pt x="814917" y="166688"/>
                                                                                  </a:lnTo>
                                                                                  <a:lnTo>
                                                                                    <a:pt x="814917" y="169334"/>
                                                                                  </a:lnTo>
                                                                                  <a:lnTo>
                                                                                    <a:pt x="809625" y="174625"/>
                                                                                  </a:lnTo>
                                                                                  <a:lnTo>
                                                                                    <a:pt x="796396" y="179917"/>
                                                                                  </a:lnTo>
                                                                                  <a:lnTo>
                                                                                    <a:pt x="783167" y="182563"/>
                                                                                  </a:lnTo>
                                                                                  <a:lnTo>
                                                                                    <a:pt x="777875" y="179917"/>
                                                                                  </a:lnTo>
                                                                                  <a:lnTo>
                                                                                    <a:pt x="775229" y="177271"/>
                                                                                  </a:lnTo>
                                                                                  <a:lnTo>
                                                                                    <a:pt x="772583" y="177271"/>
                                                                                  </a:lnTo>
                                                                                  <a:lnTo>
                                                                                    <a:pt x="769937" y="174625"/>
                                                                                  </a:lnTo>
                                                                                  <a:lnTo>
                                                                                    <a:pt x="762000" y="174625"/>
                                                                                  </a:lnTo>
                                                                                  <a:lnTo>
                                                                                    <a:pt x="751416" y="174625"/>
                                                                                  </a:lnTo>
                                                                                  <a:lnTo>
                                                                                    <a:pt x="748770" y="174625"/>
                                                                                  </a:lnTo>
                                                                                  <a:lnTo>
                                                                                    <a:pt x="746125" y="174625"/>
                                                                                  </a:lnTo>
                                                                                  <a:lnTo>
                                                                                    <a:pt x="743479" y="171979"/>
                                                                                  </a:lnTo>
                                                                                  <a:lnTo>
                                                                                    <a:pt x="732895" y="171979"/>
                                                                                  </a:lnTo>
                                                                                  <a:lnTo>
                                                                                    <a:pt x="722312" y="174625"/>
                                                                                  </a:lnTo>
                                                                                  <a:lnTo>
                                                                                    <a:pt x="717020" y="177271"/>
                                                                                  </a:lnTo>
                                                                                  <a:lnTo>
                                                                                    <a:pt x="709083" y="185209"/>
                                                                                  </a:lnTo>
                                                                                  <a:lnTo>
                                                                                    <a:pt x="703791" y="193146"/>
                                                                                  </a:lnTo>
                                                                                  <a:lnTo>
                                                                                    <a:pt x="703791" y="201084"/>
                                                                                  </a:lnTo>
                                                                                  <a:lnTo>
                                                                                    <a:pt x="706437" y="209021"/>
                                                                                  </a:lnTo>
                                                                                  <a:lnTo>
                                                                                    <a:pt x="711729" y="216959"/>
                                                                                  </a:lnTo>
                                                                                  <a:lnTo>
                                                                                    <a:pt x="717020" y="219604"/>
                                                                                  </a:lnTo>
                                                                                  <a:lnTo>
                                                                                    <a:pt x="719666" y="224896"/>
                                                                                  </a:lnTo>
                                                                                  <a:lnTo>
                                                                                    <a:pt x="719666" y="232834"/>
                                                                                  </a:lnTo>
                                                                                  <a:lnTo>
                                                                                    <a:pt x="727604" y="232834"/>
                                                                                  </a:lnTo>
                                                                                  <a:lnTo>
                                                                                    <a:pt x="730250" y="230188"/>
                                                                                  </a:lnTo>
                                                                                  <a:lnTo>
                                                                                    <a:pt x="730250" y="227542"/>
                                                                                  </a:lnTo>
                                                                                  <a:lnTo>
                                                                                    <a:pt x="735541" y="222250"/>
                                                                                  </a:lnTo>
                                                                                  <a:lnTo>
                                                                                    <a:pt x="743479" y="216959"/>
                                                                                  </a:lnTo>
                                                                                  <a:lnTo>
                                                                                    <a:pt x="746125" y="219604"/>
                                                                                  </a:lnTo>
                                                                                  <a:lnTo>
                                                                                    <a:pt x="748770" y="219604"/>
                                                                                  </a:lnTo>
                                                                                  <a:lnTo>
                                                                                    <a:pt x="756708" y="216959"/>
                                                                                  </a:lnTo>
                                                                                  <a:lnTo>
                                                                                    <a:pt x="762000" y="214313"/>
                                                                                  </a:lnTo>
                                                                                  <a:lnTo>
                                                                                    <a:pt x="767291" y="214313"/>
                                                                                  </a:lnTo>
                                                                                  <a:lnTo>
                                                                                    <a:pt x="772583" y="214313"/>
                                                                                  </a:lnTo>
                                                                                  <a:lnTo>
                                                                                    <a:pt x="777875" y="211667"/>
                                                                                  </a:lnTo>
                                                                                  <a:lnTo>
                                                                                    <a:pt x="777875" y="209021"/>
                                                                                  </a:lnTo>
                                                                                  <a:lnTo>
                                                                                    <a:pt x="780521" y="206375"/>
                                                                                  </a:lnTo>
                                                                                  <a:lnTo>
                                                                                    <a:pt x="788458" y="206375"/>
                                                                                  </a:lnTo>
                                                                                  <a:lnTo>
                                                                                    <a:pt x="796396" y="209021"/>
                                                                                  </a:lnTo>
                                                                                  <a:lnTo>
                                                                                    <a:pt x="796396" y="214313"/>
                                                                                  </a:lnTo>
                                                                                  <a:lnTo>
                                                                                    <a:pt x="793750" y="222250"/>
                                                                                  </a:lnTo>
                                                                                  <a:lnTo>
                                                                                    <a:pt x="788458" y="227542"/>
                                                                                  </a:lnTo>
                                                                                  <a:lnTo>
                                                                                    <a:pt x="785813" y="224896"/>
                                                                                  </a:lnTo>
                                                                                  <a:lnTo>
                                                                                    <a:pt x="783167" y="222250"/>
                                                                                  </a:lnTo>
                                                                                  <a:lnTo>
                                                                                    <a:pt x="777875" y="219604"/>
                                                                                  </a:lnTo>
                                                                                  <a:lnTo>
                                                                                    <a:pt x="775229" y="224896"/>
                                                                                  </a:lnTo>
                                                                                  <a:lnTo>
                                                                                    <a:pt x="772583" y="232834"/>
                                                                                  </a:lnTo>
                                                                                  <a:lnTo>
                                                                                    <a:pt x="769937" y="240771"/>
                                                                                  </a:lnTo>
                                                                                  <a:lnTo>
                                                                                    <a:pt x="764645" y="246063"/>
                                                                                  </a:lnTo>
                                                                                  <a:lnTo>
                                                                                    <a:pt x="759354" y="246063"/>
                                                                                  </a:lnTo>
                                                                                  <a:lnTo>
                                                                                    <a:pt x="754062" y="251354"/>
                                                                                  </a:lnTo>
                                                                                  <a:lnTo>
                                                                                    <a:pt x="748770" y="256646"/>
                                                                                  </a:lnTo>
                                                                                  <a:lnTo>
                                                                                    <a:pt x="746125" y="256646"/>
                                                                                  </a:lnTo>
                                                                                  <a:lnTo>
                                                                                    <a:pt x="740833" y="256646"/>
                                                                                  </a:lnTo>
                                                                                  <a:lnTo>
                                                                                    <a:pt x="746125" y="259292"/>
                                                                                  </a:lnTo>
                                                                                  <a:lnTo>
                                                                                    <a:pt x="748770" y="261938"/>
                                                                                  </a:lnTo>
                                                                                  <a:lnTo>
                                                                                    <a:pt x="748770" y="267229"/>
                                                                                  </a:lnTo>
                                                                                  <a:lnTo>
                                                                                    <a:pt x="746125" y="269875"/>
                                                                                  </a:lnTo>
                                                                                  <a:lnTo>
                                                                                    <a:pt x="748770" y="269875"/>
                                                                                  </a:lnTo>
                                                                                  <a:lnTo>
                                                                                    <a:pt x="754062" y="272521"/>
                                                                                  </a:lnTo>
                                                                                  <a:lnTo>
                                                                                    <a:pt x="756708" y="283104"/>
                                                                                  </a:lnTo>
                                                                                  <a:lnTo>
                                                                                    <a:pt x="759354" y="285750"/>
                                                                                  </a:lnTo>
                                                                                  <a:lnTo>
                                                                                    <a:pt x="762000" y="288396"/>
                                                                                  </a:lnTo>
                                                                                  <a:lnTo>
                                                                                    <a:pt x="764645" y="293688"/>
                                                                                  </a:lnTo>
                                                                                  <a:lnTo>
                                                                                    <a:pt x="764645" y="304271"/>
                                                                                  </a:lnTo>
                                                                                  <a:lnTo>
                                                                                    <a:pt x="767291" y="312209"/>
                                                                                  </a:lnTo>
                                                                                  <a:lnTo>
                                                                                    <a:pt x="769937" y="314854"/>
                                                                                  </a:lnTo>
                                                                                  <a:lnTo>
                                                                                    <a:pt x="772583" y="314854"/>
                                                                                  </a:lnTo>
                                                                                  <a:lnTo>
                                                                                    <a:pt x="772583" y="320146"/>
                                                                                  </a:lnTo>
                                                                                  <a:lnTo>
                                                                                    <a:pt x="772583" y="325438"/>
                                                                                  </a:lnTo>
                                                                                  <a:lnTo>
                                                                                    <a:pt x="775229" y="325438"/>
                                                                                  </a:lnTo>
                                                                                  <a:lnTo>
                                                                                    <a:pt x="777875" y="325438"/>
                                                                                  </a:lnTo>
                                                                                  <a:lnTo>
                                                                                    <a:pt x="777875" y="330729"/>
                                                                                  </a:lnTo>
                                                                                  <a:lnTo>
                                                                                    <a:pt x="777875" y="336021"/>
                                                                                  </a:lnTo>
                                                                                  <a:lnTo>
                                                                                    <a:pt x="775229" y="338667"/>
                                                                                  </a:lnTo>
                                                                                  <a:lnTo>
                                                                                    <a:pt x="767291" y="338667"/>
                                                                                  </a:lnTo>
                                                                                  <a:lnTo>
                                                                                    <a:pt x="762000" y="341313"/>
                                                                                  </a:lnTo>
                                                                                  <a:lnTo>
                                                                                    <a:pt x="759354" y="341313"/>
                                                                                  </a:lnTo>
                                                                                  <a:lnTo>
                                                                                    <a:pt x="756708" y="346604"/>
                                                                                  </a:lnTo>
                                                                                  <a:lnTo>
                                                                                    <a:pt x="756708" y="351896"/>
                                                                                  </a:lnTo>
                                                                                  <a:lnTo>
                                                                                    <a:pt x="759354" y="357188"/>
                                                                                  </a:lnTo>
                                                                                  <a:lnTo>
                                                                                    <a:pt x="756708" y="357188"/>
                                                                                  </a:lnTo>
                                                                                  <a:lnTo>
                                                                                    <a:pt x="746125" y="354542"/>
                                                                                  </a:lnTo>
                                                                                  <a:lnTo>
                                                                                    <a:pt x="740833" y="351896"/>
                                                                                  </a:lnTo>
                                                                                  <a:lnTo>
                                                                                    <a:pt x="738187" y="346604"/>
                                                                                  </a:lnTo>
                                                                                  <a:lnTo>
                                                                                    <a:pt x="738187" y="343959"/>
                                                                                  </a:lnTo>
                                                                                  <a:lnTo>
                                                                                    <a:pt x="738187" y="338667"/>
                                                                                  </a:lnTo>
                                                                                  <a:lnTo>
                                                                                    <a:pt x="743479" y="333375"/>
                                                                                  </a:lnTo>
                                                                                  <a:lnTo>
                                                                                    <a:pt x="743479" y="330729"/>
                                                                                  </a:lnTo>
                                                                                  <a:lnTo>
                                                                                    <a:pt x="743479" y="328084"/>
                                                                                  </a:lnTo>
                                                                                  <a:lnTo>
                                                                                    <a:pt x="735541" y="325438"/>
                                                                                  </a:lnTo>
                                                                                  <a:lnTo>
                                                                                    <a:pt x="727604" y="317500"/>
                                                                                  </a:lnTo>
                                                                                  <a:lnTo>
                                                                                    <a:pt x="724958" y="309563"/>
                                                                                  </a:lnTo>
                                                                                  <a:lnTo>
                                                                                    <a:pt x="724958" y="306917"/>
                                                                                  </a:lnTo>
                                                                                  <a:lnTo>
                                                                                    <a:pt x="727604" y="304271"/>
                                                                                  </a:lnTo>
                                                                                  <a:lnTo>
                                                                                    <a:pt x="730250" y="296334"/>
                                                                                  </a:lnTo>
                                                                                  <a:lnTo>
                                                                                    <a:pt x="732895" y="291042"/>
                                                                                  </a:lnTo>
                                                                                  <a:lnTo>
                                                                                    <a:pt x="727604" y="283104"/>
                                                                                  </a:lnTo>
                                                                                  <a:lnTo>
                                                                                    <a:pt x="724958" y="280459"/>
                                                                                  </a:lnTo>
                                                                                  <a:lnTo>
                                                                                    <a:pt x="719666" y="280459"/>
                                                                                  </a:lnTo>
                                                                                  <a:lnTo>
                                                                                    <a:pt x="719666" y="285750"/>
                                                                                  </a:lnTo>
                                                                                  <a:lnTo>
                                                                                    <a:pt x="717020" y="288396"/>
                                                                                  </a:lnTo>
                                                                                  <a:lnTo>
                                                                                    <a:pt x="711729" y="296334"/>
                                                                                  </a:lnTo>
                                                                                  <a:lnTo>
                                                                                    <a:pt x="706437" y="301625"/>
                                                                                  </a:lnTo>
                                                                                  <a:lnTo>
                                                                                    <a:pt x="706437" y="304271"/>
                                                                                  </a:lnTo>
                                                                                  <a:lnTo>
                                                                                    <a:pt x="709083" y="306917"/>
                                                                                  </a:lnTo>
                                                                                  <a:lnTo>
                                                                                    <a:pt x="711729" y="309563"/>
                                                                                  </a:lnTo>
                                                                                  <a:lnTo>
                                                                                    <a:pt x="714375" y="312209"/>
                                                                                  </a:lnTo>
                                                                                  <a:lnTo>
                                                                                    <a:pt x="711729" y="322792"/>
                                                                                  </a:lnTo>
                                                                                  <a:lnTo>
                                                                                    <a:pt x="709083" y="330729"/>
                                                                                  </a:lnTo>
                                                                                  <a:lnTo>
                                                                                    <a:pt x="709083" y="333375"/>
                                                                                  </a:lnTo>
                                                                                  <a:lnTo>
                                                                                    <a:pt x="711729" y="336021"/>
                                                                                  </a:lnTo>
                                                                                  <a:lnTo>
                                                                                    <a:pt x="714375" y="343959"/>
                                                                                  </a:lnTo>
                                                                                  <a:lnTo>
                                                                                    <a:pt x="714375" y="354542"/>
                                                                                  </a:lnTo>
                                                                                  <a:lnTo>
                                                                                    <a:pt x="714375" y="359834"/>
                                                                                  </a:lnTo>
                                                                                  <a:lnTo>
                                                                                    <a:pt x="711729" y="362479"/>
                                                                                  </a:lnTo>
                                                                                  <a:lnTo>
                                                                                    <a:pt x="709083" y="367771"/>
                                                                                  </a:lnTo>
                                                                                  <a:lnTo>
                                                                                    <a:pt x="706437" y="370417"/>
                                                                                  </a:lnTo>
                                                                                  <a:lnTo>
                                                                                    <a:pt x="711729" y="378354"/>
                                                                                  </a:lnTo>
                                                                                  <a:lnTo>
                                                                                    <a:pt x="711729" y="381000"/>
                                                                                  </a:lnTo>
                                                                                  <a:lnTo>
                                                                                    <a:pt x="701145" y="383646"/>
                                                                                  </a:lnTo>
                                                                                  <a:lnTo>
                                                                                    <a:pt x="693208" y="386292"/>
                                                                                  </a:lnTo>
                                                                                  <a:lnTo>
                                                                                    <a:pt x="685270" y="383646"/>
                                                                                  </a:lnTo>
                                                                                  <a:lnTo>
                                                                                    <a:pt x="682625" y="381000"/>
                                                                                  </a:lnTo>
                                                                                  <a:lnTo>
                                                                                    <a:pt x="679979" y="378354"/>
                                                                                  </a:lnTo>
                                                                                  <a:lnTo>
                                                                                    <a:pt x="679979" y="370417"/>
                                                                                  </a:lnTo>
                                                                                  <a:lnTo>
                                                                                    <a:pt x="682625" y="365125"/>
                                                                                  </a:lnTo>
                                                                                  <a:lnTo>
                                                                                    <a:pt x="682625" y="359834"/>
                                                                                  </a:lnTo>
                                                                                  <a:lnTo>
                                                                                    <a:pt x="682625" y="354542"/>
                                                                                  </a:lnTo>
                                                                                  <a:lnTo>
                                                                                    <a:pt x="685270" y="346604"/>
                                                                                  </a:lnTo>
                                                                                  <a:lnTo>
                                                                                    <a:pt x="687916" y="341313"/>
                                                                                  </a:lnTo>
                                                                                  <a:lnTo>
                                                                                    <a:pt x="690562" y="333375"/>
                                                                                  </a:lnTo>
                                                                                  <a:lnTo>
                                                                                    <a:pt x="685270" y="322792"/>
                                                                                  </a:lnTo>
                                                                                  <a:lnTo>
                                                                                    <a:pt x="677333" y="314854"/>
                                                                                  </a:lnTo>
                                                                                  <a:lnTo>
                                                                                    <a:pt x="674687" y="312209"/>
                                                                                  </a:lnTo>
                                                                                  <a:lnTo>
                                                                                    <a:pt x="672041" y="312209"/>
                                                                                  </a:lnTo>
                                                                                  <a:lnTo>
                                                                                    <a:pt x="666750" y="312209"/>
                                                                                  </a:lnTo>
                                                                                  <a:lnTo>
                                                                                    <a:pt x="664104" y="309563"/>
                                                                                  </a:lnTo>
                                                                                  <a:lnTo>
                                                                                    <a:pt x="664104" y="306917"/>
                                                                                  </a:lnTo>
                                                                                  <a:lnTo>
                                                                                    <a:pt x="666750" y="301625"/>
                                                                                  </a:lnTo>
                                                                                  <a:lnTo>
                                                                                    <a:pt x="672041" y="298979"/>
                                                                                  </a:lnTo>
                                                                                  <a:lnTo>
                                                                                    <a:pt x="672041" y="293688"/>
                                                                                  </a:lnTo>
                                                                                  <a:lnTo>
                                                                                    <a:pt x="672041" y="285750"/>
                                                                                  </a:lnTo>
                                                                                  <a:lnTo>
                                                                                    <a:pt x="669395" y="275167"/>
                                                                                  </a:lnTo>
                                                                                  <a:lnTo>
                                                                                    <a:pt x="672041" y="272521"/>
                                                                                  </a:lnTo>
                                                                                  <a:lnTo>
                                                                                    <a:pt x="677333" y="269875"/>
                                                                                  </a:lnTo>
                                                                                  <a:lnTo>
                                                                                    <a:pt x="674687" y="259292"/>
                                                                                  </a:lnTo>
                                                                                  <a:lnTo>
                                                                                    <a:pt x="674687" y="251354"/>
                                                                                  </a:lnTo>
                                                                                  <a:lnTo>
                                                                                    <a:pt x="677333" y="243417"/>
                                                                                  </a:lnTo>
                                                                                  <a:lnTo>
                                                                                    <a:pt x="679979" y="235479"/>
                                                                                  </a:lnTo>
                                                                                  <a:lnTo>
                                                                                    <a:pt x="685270" y="230188"/>
                                                                                  </a:lnTo>
                                                                                  <a:lnTo>
                                                                                    <a:pt x="687916" y="230188"/>
                                                                                  </a:lnTo>
                                                                                  <a:lnTo>
                                                                                    <a:pt x="690562" y="235479"/>
                                                                                  </a:lnTo>
                                                                                  <a:lnTo>
                                                                                    <a:pt x="690562" y="230188"/>
                                                                                  </a:lnTo>
                                                                                  <a:lnTo>
                                                                                    <a:pt x="687916" y="227542"/>
                                                                                  </a:lnTo>
                                                                                  <a:lnTo>
                                                                                    <a:pt x="685270" y="224896"/>
                                                                                  </a:lnTo>
                                                                                  <a:lnTo>
                                                                                    <a:pt x="687916" y="214313"/>
                                                                                  </a:lnTo>
                                                                                  <a:lnTo>
                                                                                    <a:pt x="687916" y="206375"/>
                                                                                  </a:lnTo>
                                                                                  <a:lnTo>
                                                                                    <a:pt x="687916" y="203729"/>
                                                                                  </a:lnTo>
                                                                                  <a:lnTo>
                                                                                    <a:pt x="687916" y="201084"/>
                                                                                  </a:lnTo>
                                                                                  <a:lnTo>
                                                                                    <a:pt x="690562" y="195792"/>
                                                                                  </a:lnTo>
                                                                                  <a:lnTo>
                                                                                    <a:pt x="690562" y="190500"/>
                                                                                  </a:lnTo>
                                                                                  <a:lnTo>
                                                                                    <a:pt x="687916" y="182563"/>
                                                                                  </a:lnTo>
                                                                                  <a:lnTo>
                                                                                    <a:pt x="687916" y="174625"/>
                                                                                  </a:lnTo>
                                                                                  <a:lnTo>
                                                                                    <a:pt x="690562" y="171979"/>
                                                                                  </a:lnTo>
                                                                                  <a:lnTo>
                                                                                    <a:pt x="693208" y="169334"/>
                                                                                  </a:lnTo>
                                                                                  <a:lnTo>
                                                                                    <a:pt x="695854" y="166688"/>
                                                                                  </a:lnTo>
                                                                                  <a:lnTo>
                                                                                    <a:pt x="695854" y="164042"/>
                                                                                  </a:lnTo>
                                                                                  <a:lnTo>
                                                                                    <a:pt x="693208" y="164042"/>
                                                                                  </a:lnTo>
                                                                                  <a:lnTo>
                                                                                    <a:pt x="695854" y="161396"/>
                                                                                  </a:lnTo>
                                                                                  <a:lnTo>
                                                                                    <a:pt x="698500" y="158750"/>
                                                                                  </a:lnTo>
                                                                                  <a:lnTo>
                                                                                    <a:pt x="701145" y="164042"/>
                                                                                  </a:lnTo>
                                                                                  <a:lnTo>
                                                                                    <a:pt x="703791" y="166688"/>
                                                                                  </a:lnTo>
                                                                                  <a:lnTo>
                                                                                    <a:pt x="709083" y="164042"/>
                                                                                  </a:lnTo>
                                                                                  <a:lnTo>
                                                                                    <a:pt x="714375" y="158750"/>
                                                                                  </a:lnTo>
                                                                                  <a:lnTo>
                                                                                    <a:pt x="714375" y="153459"/>
                                                                                  </a:lnTo>
                                                                                  <a:lnTo>
                                                                                    <a:pt x="717020" y="148167"/>
                                                                                  </a:lnTo>
                                                                                  <a:lnTo>
                                                                                    <a:pt x="722312" y="145521"/>
                                                                                  </a:lnTo>
                                                                                  <a:lnTo>
                                                                                    <a:pt x="727604" y="145521"/>
                                                                                  </a:lnTo>
                                                                                  <a:lnTo>
                                                                                    <a:pt x="730250" y="150813"/>
                                                                                  </a:lnTo>
                                                                                  <a:lnTo>
                                                                                    <a:pt x="735541" y="153459"/>
                                                                                  </a:lnTo>
                                                                                  <a:lnTo>
                                                                                    <a:pt x="740833" y="153459"/>
                                                                                  </a:lnTo>
                                                                                  <a:lnTo>
                                                                                    <a:pt x="748770" y="153459"/>
                                                                                  </a:lnTo>
                                                                                  <a:lnTo>
                                                                                    <a:pt x="756708" y="156104"/>
                                                                                  </a:lnTo>
                                                                                  <a:lnTo>
                                                                                    <a:pt x="762000" y="158750"/>
                                                                                  </a:lnTo>
                                                                                  <a:lnTo>
                                                                                    <a:pt x="769937" y="158750"/>
                                                                                  </a:lnTo>
                                                                                  <a:lnTo>
                                                                                    <a:pt x="775229" y="156104"/>
                                                                                  </a:lnTo>
                                                                                  <a:lnTo>
                                                                                    <a:pt x="783167" y="158750"/>
                                                                                  </a:lnTo>
                                                                                  <a:lnTo>
                                                                                    <a:pt x="791104" y="158750"/>
                                                                                  </a:lnTo>
                                                                                  <a:lnTo>
                                                                                    <a:pt x="801688" y="153459"/>
                                                                                  </a:lnTo>
                                                                                  <a:lnTo>
                                                                                    <a:pt x="812271" y="148167"/>
                                                                                  </a:lnTo>
                                                                                  <a:lnTo>
                                                                                    <a:pt x="817563" y="142875"/>
                                                                                  </a:lnTo>
                                                                                  <a:lnTo>
                                                                                    <a:pt x="817563" y="140229"/>
                                                                                  </a:lnTo>
                                                                                  <a:lnTo>
                                                                                    <a:pt x="820208" y="137584"/>
                                                                                  </a:lnTo>
                                                                                  <a:lnTo>
                                                                                    <a:pt x="825500" y="134938"/>
                                                                                  </a:lnTo>
                                                                                  <a:close/>
                                                                                  <a:moveTo>
                                                                                    <a:pt x="907521" y="116417"/>
                                                                                  </a:moveTo>
                                                                                  <a:lnTo>
                                                                                    <a:pt x="910166" y="116417"/>
                                                                                  </a:lnTo>
                                                                                  <a:lnTo>
                                                                                    <a:pt x="912812" y="119063"/>
                                                                                  </a:lnTo>
                                                                                  <a:lnTo>
                                                                                    <a:pt x="910166" y="121709"/>
                                                                                  </a:lnTo>
                                                                                  <a:lnTo>
                                                                                    <a:pt x="907521" y="127000"/>
                                                                                  </a:lnTo>
                                                                                  <a:lnTo>
                                                                                    <a:pt x="907521" y="129646"/>
                                                                                  </a:lnTo>
                                                                                  <a:lnTo>
                                                                                    <a:pt x="910166" y="132292"/>
                                                                                  </a:lnTo>
                                                                                  <a:lnTo>
                                                                                    <a:pt x="912812" y="134938"/>
                                                                                  </a:lnTo>
                                                                                  <a:lnTo>
                                                                                    <a:pt x="912812" y="140229"/>
                                                                                  </a:lnTo>
                                                                                  <a:lnTo>
                                                                                    <a:pt x="910166" y="145521"/>
                                                                                  </a:lnTo>
                                                                                  <a:lnTo>
                                                                                    <a:pt x="907521" y="150813"/>
                                                                                  </a:lnTo>
                                                                                  <a:lnTo>
                                                                                    <a:pt x="904875" y="153459"/>
                                                                                  </a:lnTo>
                                                                                  <a:lnTo>
                                                                                    <a:pt x="907521" y="156105"/>
                                                                                  </a:lnTo>
                                                                                  <a:lnTo>
                                                                                    <a:pt x="912812" y="158750"/>
                                                                                  </a:lnTo>
                                                                                  <a:lnTo>
                                                                                    <a:pt x="912812" y="156105"/>
                                                                                  </a:lnTo>
                                                                                  <a:lnTo>
                                                                                    <a:pt x="912812" y="153459"/>
                                                                                  </a:lnTo>
                                                                                  <a:lnTo>
                                                                                    <a:pt x="918104" y="150813"/>
                                                                                  </a:lnTo>
                                                                                  <a:lnTo>
                                                                                    <a:pt x="920750" y="150813"/>
                                                                                  </a:lnTo>
                                                                                  <a:lnTo>
                                                                                    <a:pt x="918104" y="148167"/>
                                                                                  </a:lnTo>
                                                                                  <a:lnTo>
                                                                                    <a:pt x="920750" y="142875"/>
                                                                                  </a:lnTo>
                                                                                  <a:lnTo>
                                                                                    <a:pt x="931333" y="140229"/>
                                                                                  </a:lnTo>
                                                                                  <a:lnTo>
                                                                                    <a:pt x="933979" y="145521"/>
                                                                                  </a:lnTo>
                                                                                  <a:lnTo>
                                                                                    <a:pt x="933979" y="150813"/>
                                                                                  </a:lnTo>
                                                                                  <a:lnTo>
                                                                                    <a:pt x="931333" y="156105"/>
                                                                                  </a:lnTo>
                                                                                  <a:lnTo>
                                                                                    <a:pt x="928687" y="158750"/>
                                                                                  </a:lnTo>
                                                                                  <a:lnTo>
                                                                                    <a:pt x="920750" y="161396"/>
                                                                                  </a:lnTo>
                                                                                  <a:lnTo>
                                                                                    <a:pt x="920750" y="164042"/>
                                                                                  </a:lnTo>
                                                                                  <a:lnTo>
                                                                                    <a:pt x="926041" y="164042"/>
                                                                                  </a:lnTo>
                                                                                  <a:lnTo>
                                                                                    <a:pt x="933979" y="166688"/>
                                                                                  </a:lnTo>
                                                                                  <a:lnTo>
                                                                                    <a:pt x="933979" y="171980"/>
                                                                                  </a:lnTo>
                                                                                  <a:lnTo>
                                                                                    <a:pt x="933979" y="177271"/>
                                                                                  </a:lnTo>
                                                                                  <a:lnTo>
                                                                                    <a:pt x="936625" y="179917"/>
                                                                                  </a:lnTo>
                                                                                  <a:lnTo>
                                                                                    <a:pt x="941916" y="185209"/>
                                                                                  </a:lnTo>
                                                                                  <a:lnTo>
                                                                                    <a:pt x="920750" y="174625"/>
                                                                                  </a:lnTo>
                                                                                  <a:lnTo>
                                                                                    <a:pt x="915458" y="174625"/>
                                                                                  </a:lnTo>
                                                                                  <a:lnTo>
                                                                                    <a:pt x="912812" y="177271"/>
                                                                                  </a:lnTo>
                                                                                  <a:lnTo>
                                                                                    <a:pt x="912812" y="179917"/>
                                                                                  </a:lnTo>
                                                                                  <a:lnTo>
                                                                                    <a:pt x="915458" y="182563"/>
                                                                                  </a:lnTo>
                                                                                  <a:lnTo>
                                                                                    <a:pt x="915458" y="185209"/>
                                                                                  </a:lnTo>
                                                                                  <a:lnTo>
                                                                                    <a:pt x="915458" y="187855"/>
                                                                                  </a:lnTo>
                                                                                  <a:lnTo>
                                                                                    <a:pt x="915458" y="193146"/>
                                                                                  </a:lnTo>
                                                                                  <a:lnTo>
                                                                                    <a:pt x="918104" y="198438"/>
                                                                                  </a:lnTo>
                                                                                  <a:lnTo>
                                                                                    <a:pt x="926041" y="216959"/>
                                                                                  </a:lnTo>
                                                                                  <a:lnTo>
                                                                                    <a:pt x="918104" y="211667"/>
                                                                                  </a:lnTo>
                                                                                  <a:lnTo>
                                                                                    <a:pt x="910166" y="206376"/>
                                                                                  </a:lnTo>
                                                                                  <a:lnTo>
                                                                                    <a:pt x="907521" y="203730"/>
                                                                                  </a:lnTo>
                                                                                  <a:lnTo>
                                                                                    <a:pt x="907521" y="201084"/>
                                                                                  </a:lnTo>
                                                                                  <a:lnTo>
                                                                                    <a:pt x="904875" y="198438"/>
                                                                                  </a:lnTo>
                                                                                  <a:lnTo>
                                                                                    <a:pt x="902229" y="195792"/>
                                                                                  </a:lnTo>
                                                                                  <a:lnTo>
                                                                                    <a:pt x="902229" y="190500"/>
                                                                                  </a:lnTo>
                                                                                  <a:lnTo>
                                                                                    <a:pt x="904875" y="182563"/>
                                                                                  </a:lnTo>
                                                                                  <a:lnTo>
                                                                                    <a:pt x="902229" y="177271"/>
                                                                                  </a:lnTo>
                                                                                  <a:lnTo>
                                                                                    <a:pt x="902229" y="174625"/>
                                                                                  </a:lnTo>
                                                                                  <a:lnTo>
                                                                                    <a:pt x="899583" y="171980"/>
                                                                                  </a:lnTo>
                                                                                  <a:lnTo>
                                                                                    <a:pt x="896937" y="169334"/>
                                                                                  </a:lnTo>
                                                                                  <a:lnTo>
                                                                                    <a:pt x="896937" y="166688"/>
                                                                                  </a:lnTo>
                                                                                  <a:lnTo>
                                                                                    <a:pt x="904875" y="164042"/>
                                                                                  </a:lnTo>
                                                                                  <a:lnTo>
                                                                                    <a:pt x="899583" y="161396"/>
                                                                                  </a:lnTo>
                                                                                  <a:lnTo>
                                                                                    <a:pt x="896937" y="161396"/>
                                                                                  </a:lnTo>
                                                                                  <a:lnTo>
                                                                                    <a:pt x="896937" y="156105"/>
                                                                                  </a:lnTo>
                                                                                  <a:lnTo>
                                                                                    <a:pt x="896937" y="148167"/>
                                                                                  </a:lnTo>
                                                                                  <a:lnTo>
                                                                                    <a:pt x="896937" y="132292"/>
                                                                                  </a:lnTo>
                                                                                  <a:lnTo>
                                                                                    <a:pt x="904875" y="121709"/>
                                                                                  </a:lnTo>
                                                                                  <a:close/>
                                                                                  <a:moveTo>
                                                                                    <a:pt x="584729" y="39688"/>
                                                                                  </a:moveTo>
                                                                                  <a:lnTo>
                                                                                    <a:pt x="590021" y="39688"/>
                                                                                  </a:lnTo>
                                                                                  <a:lnTo>
                                                                                    <a:pt x="592666" y="39688"/>
                                                                                  </a:lnTo>
                                                                                  <a:lnTo>
                                                                                    <a:pt x="597958" y="42334"/>
                                                                                  </a:lnTo>
                                                                                  <a:lnTo>
                                                                                    <a:pt x="605896" y="39688"/>
                                                                                  </a:lnTo>
                                                                                  <a:lnTo>
                                                                                    <a:pt x="621771" y="42334"/>
                                                                                  </a:lnTo>
                                                                                  <a:lnTo>
                                                                                    <a:pt x="627062" y="52917"/>
                                                                                  </a:lnTo>
                                                                                  <a:lnTo>
                                                                                    <a:pt x="629708" y="58209"/>
                                                                                  </a:lnTo>
                                                                                  <a:lnTo>
                                                                                    <a:pt x="632354" y="63500"/>
                                                                                  </a:lnTo>
                                                                                  <a:lnTo>
                                                                                    <a:pt x="627062" y="66146"/>
                                                                                  </a:lnTo>
                                                                                  <a:lnTo>
                                                                                    <a:pt x="624416" y="68792"/>
                                                                                  </a:lnTo>
                                                                                  <a:lnTo>
                                                                                    <a:pt x="624416" y="71438"/>
                                                                                  </a:lnTo>
                                                                                  <a:lnTo>
                                                                                    <a:pt x="619125" y="74084"/>
                                                                                  </a:lnTo>
                                                                                  <a:lnTo>
                                                                                    <a:pt x="621771" y="76730"/>
                                                                                  </a:lnTo>
                                                                                  <a:lnTo>
                                                                                    <a:pt x="627062" y="79375"/>
                                                                                  </a:lnTo>
                                                                                  <a:lnTo>
                                                                                    <a:pt x="629708" y="82021"/>
                                                                                  </a:lnTo>
                                                                                  <a:lnTo>
                                                                                    <a:pt x="632354" y="87313"/>
                                                                                  </a:lnTo>
                                                                                  <a:lnTo>
                                                                                    <a:pt x="632354" y="95250"/>
                                                                                  </a:lnTo>
                                                                                  <a:lnTo>
                                                                                    <a:pt x="635000" y="100542"/>
                                                                                  </a:lnTo>
                                                                                  <a:lnTo>
                                                                                    <a:pt x="640291" y="108480"/>
                                                                                  </a:lnTo>
                                                                                  <a:lnTo>
                                                                                    <a:pt x="645583" y="113771"/>
                                                                                  </a:lnTo>
                                                                                  <a:lnTo>
                                                                                    <a:pt x="648229" y="116417"/>
                                                                                  </a:lnTo>
                                                                                  <a:lnTo>
                                                                                    <a:pt x="645583" y="119063"/>
                                                                                  </a:lnTo>
                                                                                  <a:lnTo>
                                                                                    <a:pt x="635000" y="119063"/>
                                                                                  </a:lnTo>
                                                                                  <a:lnTo>
                                                                                    <a:pt x="640291" y="127000"/>
                                                                                  </a:lnTo>
                                                                                  <a:lnTo>
                                                                                    <a:pt x="645583" y="127000"/>
                                                                                  </a:lnTo>
                                                                                  <a:lnTo>
                                                                                    <a:pt x="650875" y="129646"/>
                                                                                  </a:lnTo>
                                                                                  <a:lnTo>
                                                                                    <a:pt x="658812" y="137584"/>
                                                                                  </a:lnTo>
                                                                                  <a:lnTo>
                                                                                    <a:pt x="664104" y="142875"/>
                                                                                  </a:lnTo>
                                                                                  <a:lnTo>
                                                                                    <a:pt x="666750" y="145521"/>
                                                                                  </a:lnTo>
                                                                                  <a:lnTo>
                                                                                    <a:pt x="666750" y="148167"/>
                                                                                  </a:lnTo>
                                                                                  <a:lnTo>
                                                                                    <a:pt x="666750" y="150813"/>
                                                                                  </a:lnTo>
                                                                                  <a:lnTo>
                                                                                    <a:pt x="664104" y="153459"/>
                                                                                  </a:lnTo>
                                                                                  <a:lnTo>
                                                                                    <a:pt x="653521" y="153459"/>
                                                                                  </a:lnTo>
                                                                                  <a:lnTo>
                                                                                    <a:pt x="645583" y="153459"/>
                                                                                  </a:lnTo>
                                                                                  <a:lnTo>
                                                                                    <a:pt x="645583" y="156105"/>
                                                                                  </a:lnTo>
                                                                                  <a:lnTo>
                                                                                    <a:pt x="640291" y="156105"/>
                                                                                  </a:lnTo>
                                                                                  <a:lnTo>
                                                                                    <a:pt x="637646" y="158750"/>
                                                                                  </a:lnTo>
                                                                                  <a:lnTo>
                                                                                    <a:pt x="635000" y="158750"/>
                                                                                  </a:lnTo>
                                                                                  <a:lnTo>
                                                                                    <a:pt x="637646" y="161396"/>
                                                                                  </a:lnTo>
                                                                                  <a:lnTo>
                                                                                    <a:pt x="635000" y="161396"/>
                                                                                  </a:lnTo>
                                                                                  <a:lnTo>
                                                                                    <a:pt x="635000" y="169334"/>
                                                                                  </a:lnTo>
                                                                                  <a:lnTo>
                                                                                    <a:pt x="632354" y="182563"/>
                                                                                  </a:lnTo>
                                                                                  <a:lnTo>
                                                                                    <a:pt x="632354" y="187855"/>
                                                                                  </a:lnTo>
                                                                                  <a:lnTo>
                                                                                    <a:pt x="629708" y="190500"/>
                                                                                  </a:lnTo>
                                                                                  <a:lnTo>
                                                                                    <a:pt x="627062" y="193146"/>
                                                                                  </a:lnTo>
                                                                                  <a:lnTo>
                                                                                    <a:pt x="629708" y="198438"/>
                                                                                  </a:lnTo>
                                                                                  <a:lnTo>
                                                                                    <a:pt x="632354" y="201084"/>
                                                                                  </a:lnTo>
                                                                                  <a:lnTo>
                                                                                    <a:pt x="635000" y="201084"/>
                                                                                  </a:lnTo>
                                                                                  <a:lnTo>
                                                                                    <a:pt x="637646" y="201084"/>
                                                                                  </a:lnTo>
                                                                                  <a:lnTo>
                                                                                    <a:pt x="635000" y="209021"/>
                                                                                  </a:lnTo>
                                                                                  <a:lnTo>
                                                                                    <a:pt x="632354" y="211667"/>
                                                                                  </a:lnTo>
                                                                                  <a:lnTo>
                                                                                    <a:pt x="627062" y="211667"/>
                                                                                  </a:lnTo>
                                                                                  <a:lnTo>
                                                                                    <a:pt x="621771" y="211667"/>
                                                                                  </a:lnTo>
                                                                                  <a:lnTo>
                                                                                    <a:pt x="621771" y="216959"/>
                                                                                  </a:lnTo>
                                                                                  <a:lnTo>
                                                                                    <a:pt x="619125" y="219605"/>
                                                                                  </a:lnTo>
                                                                                  <a:lnTo>
                                                                                    <a:pt x="613833" y="222250"/>
                                                                                  </a:lnTo>
                                                                                  <a:lnTo>
                                                                                    <a:pt x="608541" y="224896"/>
                                                                                  </a:lnTo>
                                                                                  <a:lnTo>
                                                                                    <a:pt x="605896" y="222250"/>
                                                                                  </a:lnTo>
                                                                                  <a:lnTo>
                                                                                    <a:pt x="605896" y="224896"/>
                                                                                  </a:lnTo>
                                                                                  <a:lnTo>
                                                                                    <a:pt x="608541" y="224896"/>
                                                                                  </a:lnTo>
                                                                                  <a:lnTo>
                                                                                    <a:pt x="608541" y="227542"/>
                                                                                  </a:lnTo>
                                                                                  <a:lnTo>
                                                                                    <a:pt x="603250" y="230188"/>
                                                                                  </a:lnTo>
                                                                                  <a:lnTo>
                                                                                    <a:pt x="597958" y="235480"/>
                                                                                  </a:lnTo>
                                                                                  <a:lnTo>
                                                                                    <a:pt x="600604" y="235480"/>
                                                                                  </a:lnTo>
                                                                                  <a:lnTo>
                                                                                    <a:pt x="603250" y="238125"/>
                                                                                  </a:lnTo>
                                                                                  <a:lnTo>
                                                                                    <a:pt x="600604" y="240771"/>
                                                                                  </a:lnTo>
                                                                                  <a:lnTo>
                                                                                    <a:pt x="597958" y="246063"/>
                                                                                  </a:lnTo>
                                                                                  <a:lnTo>
                                                                                    <a:pt x="600604" y="246063"/>
                                                                                  </a:lnTo>
                                                                                  <a:lnTo>
                                                                                    <a:pt x="592666" y="251355"/>
                                                                                  </a:lnTo>
                                                                                  <a:lnTo>
                                                                                    <a:pt x="595312" y="251355"/>
                                                                                  </a:lnTo>
                                                                                  <a:lnTo>
                                                                                    <a:pt x="597958" y="251355"/>
                                                                                  </a:lnTo>
                                                                                  <a:lnTo>
                                                                                    <a:pt x="597958" y="256646"/>
                                                                                  </a:lnTo>
                                                                                  <a:lnTo>
                                                                                    <a:pt x="597958" y="261938"/>
                                                                                  </a:lnTo>
                                                                                  <a:lnTo>
                                                                                    <a:pt x="603250" y="261938"/>
                                                                                  </a:lnTo>
                                                                                  <a:lnTo>
                                                                                    <a:pt x="605896" y="264584"/>
                                                                                  </a:lnTo>
                                                                                  <a:lnTo>
                                                                                    <a:pt x="597958" y="280459"/>
                                                                                  </a:lnTo>
                                                                                  <a:lnTo>
                                                                                    <a:pt x="592666" y="275167"/>
                                                                                  </a:lnTo>
                                                                                  <a:lnTo>
                                                                                    <a:pt x="595312" y="283105"/>
                                                                                  </a:lnTo>
                                                                                  <a:lnTo>
                                                                                    <a:pt x="597958" y="288396"/>
                                                                                  </a:lnTo>
                                                                                  <a:lnTo>
                                                                                    <a:pt x="595312" y="296334"/>
                                                                                  </a:lnTo>
                                                                                  <a:lnTo>
                                                                                    <a:pt x="582083" y="312209"/>
                                                                                  </a:lnTo>
                                                                                  <a:lnTo>
                                                                                    <a:pt x="574146" y="317501"/>
                                                                                  </a:lnTo>
                                                                                  <a:lnTo>
                                                                                    <a:pt x="563562" y="325438"/>
                                                                                  </a:lnTo>
                                                                                  <a:lnTo>
                                                                                    <a:pt x="555625" y="328084"/>
                                                                                  </a:lnTo>
                                                                                  <a:lnTo>
                                                                                    <a:pt x="552979" y="325438"/>
                                                                                  </a:lnTo>
                                                                                  <a:lnTo>
                                                                                    <a:pt x="552979" y="322792"/>
                                                                                  </a:lnTo>
                                                                                  <a:lnTo>
                                                                                    <a:pt x="550333" y="314855"/>
                                                                                  </a:lnTo>
                                                                                  <a:lnTo>
                                                                                    <a:pt x="547687" y="309563"/>
                                                                                  </a:lnTo>
                                                                                  <a:lnTo>
                                                                                    <a:pt x="542396" y="304271"/>
                                                                                  </a:lnTo>
                                                                                  <a:lnTo>
                                                                                    <a:pt x="539750" y="301626"/>
                                                                                  </a:lnTo>
                                                                                  <a:lnTo>
                                                                                    <a:pt x="534458" y="304271"/>
                                                                                  </a:lnTo>
                                                                                  <a:lnTo>
                                                                                    <a:pt x="529166" y="304271"/>
                                                                                  </a:lnTo>
                                                                                  <a:lnTo>
                                                                                    <a:pt x="526521" y="301626"/>
                                                                                  </a:lnTo>
                                                                                  <a:lnTo>
                                                                                    <a:pt x="529166" y="301626"/>
                                                                                  </a:lnTo>
                                                                                  <a:lnTo>
                                                                                    <a:pt x="529166" y="298980"/>
                                                                                  </a:lnTo>
                                                                                  <a:lnTo>
                                                                                    <a:pt x="526521" y="296334"/>
                                                                                  </a:lnTo>
                                                                                  <a:lnTo>
                                                                                    <a:pt x="521229" y="296334"/>
                                                                                  </a:lnTo>
                                                                                  <a:lnTo>
                                                                                    <a:pt x="518583" y="296334"/>
                                                                                  </a:lnTo>
                                                                                  <a:lnTo>
                                                                                    <a:pt x="518583" y="298980"/>
                                                                                  </a:lnTo>
                                                                                  <a:lnTo>
                                                                                    <a:pt x="513291" y="296334"/>
                                                                                  </a:lnTo>
                                                                                  <a:lnTo>
                                                                                    <a:pt x="510645" y="296334"/>
                                                                                  </a:lnTo>
                                                                                  <a:lnTo>
                                                                                    <a:pt x="505354" y="296334"/>
                                                                                  </a:lnTo>
                                                                                  <a:lnTo>
                                                                                    <a:pt x="502708" y="301626"/>
                                                                                  </a:lnTo>
                                                                                  <a:lnTo>
                                                                                    <a:pt x="500062" y="301626"/>
                                                                                  </a:lnTo>
                                                                                  <a:lnTo>
                                                                                    <a:pt x="494770" y="298980"/>
                                                                                  </a:lnTo>
                                                                                  <a:lnTo>
                                                                                    <a:pt x="489479" y="296334"/>
                                                                                  </a:lnTo>
                                                                                  <a:lnTo>
                                                                                    <a:pt x="484187" y="296334"/>
                                                                                  </a:lnTo>
                                                                                  <a:lnTo>
                                                                                    <a:pt x="481541" y="296334"/>
                                                                                  </a:lnTo>
                                                                                  <a:lnTo>
                                                                                    <a:pt x="470958" y="301626"/>
                                                                                  </a:lnTo>
                                                                                  <a:lnTo>
                                                                                    <a:pt x="470958" y="298980"/>
                                                                                  </a:lnTo>
                                                                                  <a:lnTo>
                                                                                    <a:pt x="468312" y="298980"/>
                                                                                  </a:lnTo>
                                                                                  <a:lnTo>
                                                                                    <a:pt x="468312" y="291042"/>
                                                                                  </a:lnTo>
                                                                                  <a:lnTo>
                                                                                    <a:pt x="468312" y="288396"/>
                                                                                  </a:lnTo>
                                                                                  <a:lnTo>
                                                                                    <a:pt x="465666" y="293688"/>
                                                                                  </a:lnTo>
                                                                                  <a:lnTo>
                                                                                    <a:pt x="463020" y="291042"/>
                                                                                  </a:lnTo>
                                                                                  <a:lnTo>
                                                                                    <a:pt x="460375" y="288396"/>
                                                                                  </a:lnTo>
                                                                                  <a:lnTo>
                                                                                    <a:pt x="457729" y="288396"/>
                                                                                  </a:lnTo>
                                                                                  <a:lnTo>
                                                                                    <a:pt x="455083" y="291042"/>
                                                                                  </a:lnTo>
                                                                                  <a:lnTo>
                                                                                    <a:pt x="452437" y="293688"/>
                                                                                  </a:lnTo>
                                                                                  <a:lnTo>
                                                                                    <a:pt x="449791" y="291042"/>
                                                                                  </a:lnTo>
                                                                                  <a:lnTo>
                                                                                    <a:pt x="444500" y="291042"/>
                                                                                  </a:lnTo>
                                                                                  <a:lnTo>
                                                                                    <a:pt x="441854" y="291042"/>
                                                                                  </a:lnTo>
                                                                                  <a:lnTo>
                                                                                    <a:pt x="439208" y="291042"/>
                                                                                  </a:lnTo>
                                                                                  <a:lnTo>
                                                                                    <a:pt x="436562" y="288396"/>
                                                                                  </a:lnTo>
                                                                                  <a:lnTo>
                                                                                    <a:pt x="433916" y="288396"/>
                                                                                  </a:lnTo>
                                                                                  <a:lnTo>
                                                                                    <a:pt x="428625" y="291042"/>
                                                                                  </a:lnTo>
                                                                                  <a:lnTo>
                                                                                    <a:pt x="425979" y="291042"/>
                                                                                  </a:lnTo>
                                                                                  <a:lnTo>
                                                                                    <a:pt x="423333" y="280459"/>
                                                                                  </a:lnTo>
                                                                                  <a:lnTo>
                                                                                    <a:pt x="423333" y="267230"/>
                                                                                  </a:lnTo>
                                                                                  <a:lnTo>
                                                                                    <a:pt x="423333" y="256646"/>
                                                                                  </a:lnTo>
                                                                                  <a:lnTo>
                                                                                    <a:pt x="423333" y="251355"/>
                                                                                  </a:lnTo>
                                                                                  <a:lnTo>
                                                                                    <a:pt x="420687" y="248709"/>
                                                                                  </a:lnTo>
                                                                                  <a:lnTo>
                                                                                    <a:pt x="418041" y="246063"/>
                                                                                  </a:lnTo>
                                                                                  <a:lnTo>
                                                                                    <a:pt x="423333" y="240771"/>
                                                                                  </a:lnTo>
                                                                                  <a:lnTo>
                                                                                    <a:pt x="423333" y="235480"/>
                                                                                  </a:lnTo>
                                                                                  <a:lnTo>
                                                                                    <a:pt x="420687" y="230188"/>
                                                                                  </a:lnTo>
                                                                                  <a:lnTo>
                                                                                    <a:pt x="418041" y="227542"/>
                                                                                  </a:lnTo>
                                                                                  <a:lnTo>
                                                                                    <a:pt x="415395" y="222250"/>
                                                                                  </a:lnTo>
                                                                                  <a:lnTo>
                                                                                    <a:pt x="415395" y="219605"/>
                                                                                  </a:lnTo>
                                                                                  <a:lnTo>
                                                                                    <a:pt x="410104" y="222250"/>
                                                                                  </a:lnTo>
                                                                                  <a:lnTo>
                                                                                    <a:pt x="404812" y="222250"/>
                                                                                  </a:lnTo>
                                                                                  <a:lnTo>
                                                                                    <a:pt x="404812" y="219605"/>
                                                                                  </a:lnTo>
                                                                                  <a:lnTo>
                                                                                    <a:pt x="404812" y="216959"/>
                                                                                  </a:lnTo>
                                                                                  <a:lnTo>
                                                                                    <a:pt x="407458" y="209021"/>
                                                                                  </a:lnTo>
                                                                                  <a:lnTo>
                                                                                    <a:pt x="404812" y="209021"/>
                                                                                  </a:lnTo>
                                                                                  <a:lnTo>
                                                                                    <a:pt x="399520" y="209021"/>
                                                                                  </a:lnTo>
                                                                                  <a:lnTo>
                                                                                    <a:pt x="396875" y="209021"/>
                                                                                  </a:lnTo>
                                                                                  <a:lnTo>
                                                                                    <a:pt x="396875" y="203730"/>
                                                                                  </a:lnTo>
                                                                                  <a:lnTo>
                                                                                    <a:pt x="396875" y="195792"/>
                                                                                  </a:lnTo>
                                                                                  <a:lnTo>
                                                                                    <a:pt x="399520" y="195792"/>
                                                                                  </a:lnTo>
                                                                                  <a:lnTo>
                                                                                    <a:pt x="402166" y="198438"/>
                                                                                  </a:lnTo>
                                                                                  <a:lnTo>
                                                                                    <a:pt x="404812" y="195792"/>
                                                                                  </a:lnTo>
                                                                                  <a:lnTo>
                                                                                    <a:pt x="402166" y="193146"/>
                                                                                  </a:lnTo>
                                                                                  <a:lnTo>
                                                                                    <a:pt x="399520" y="193146"/>
                                                                                  </a:lnTo>
                                                                                  <a:lnTo>
                                                                                    <a:pt x="396875" y="193146"/>
                                                                                  </a:lnTo>
                                                                                  <a:lnTo>
                                                                                    <a:pt x="394229" y="187855"/>
                                                                                  </a:lnTo>
                                                                                  <a:lnTo>
                                                                                    <a:pt x="396875" y="182563"/>
                                                                                  </a:lnTo>
                                                                                  <a:lnTo>
                                                                                    <a:pt x="399520" y="179917"/>
                                                                                  </a:lnTo>
                                                                                  <a:lnTo>
                                                                                    <a:pt x="399520" y="177271"/>
                                                                                  </a:lnTo>
                                                                                  <a:lnTo>
                                                                                    <a:pt x="396875" y="171980"/>
                                                                                  </a:lnTo>
                                                                                  <a:lnTo>
                                                                                    <a:pt x="394229" y="169334"/>
                                                                                  </a:lnTo>
                                                                                  <a:lnTo>
                                                                                    <a:pt x="396875" y="164042"/>
                                                                                  </a:lnTo>
                                                                                  <a:lnTo>
                                                                                    <a:pt x="396875" y="158750"/>
                                                                                  </a:lnTo>
                                                                                  <a:lnTo>
                                                                                    <a:pt x="399520" y="153459"/>
                                                                                  </a:lnTo>
                                                                                  <a:lnTo>
                                                                                    <a:pt x="396875" y="142875"/>
                                                                                  </a:lnTo>
                                                                                  <a:lnTo>
                                                                                    <a:pt x="396875" y="137584"/>
                                                                                  </a:lnTo>
                                                                                  <a:lnTo>
                                                                                    <a:pt x="399520" y="132292"/>
                                                                                  </a:lnTo>
                                                                                  <a:lnTo>
                                                                                    <a:pt x="402166" y="129646"/>
                                                                                  </a:lnTo>
                                                                                  <a:lnTo>
                                                                                    <a:pt x="402166" y="127000"/>
                                                                                  </a:lnTo>
                                                                                  <a:lnTo>
                                                                                    <a:pt x="402166" y="124355"/>
                                                                                  </a:lnTo>
                                                                                  <a:lnTo>
                                                                                    <a:pt x="407458" y="121709"/>
                                                                                  </a:lnTo>
                                                                                  <a:lnTo>
                                                                                    <a:pt x="410104" y="124355"/>
                                                                                  </a:lnTo>
                                                                                  <a:lnTo>
                                                                                    <a:pt x="410104" y="127000"/>
                                                                                  </a:lnTo>
                                                                                  <a:lnTo>
                                                                                    <a:pt x="412750" y="127000"/>
                                                                                  </a:lnTo>
                                                                                  <a:lnTo>
                                                                                    <a:pt x="415395" y="132292"/>
                                                                                  </a:lnTo>
                                                                                  <a:lnTo>
                                                                                    <a:pt x="420687" y="134938"/>
                                                                                  </a:lnTo>
                                                                                  <a:lnTo>
                                                                                    <a:pt x="420687" y="140230"/>
                                                                                  </a:lnTo>
                                                                                  <a:lnTo>
                                                                                    <a:pt x="420687" y="142875"/>
                                                                                  </a:lnTo>
                                                                                  <a:lnTo>
                                                                                    <a:pt x="423333" y="145521"/>
                                                                                  </a:lnTo>
                                                                                  <a:lnTo>
                                                                                    <a:pt x="428625" y="148167"/>
                                                                                  </a:lnTo>
                                                                                  <a:lnTo>
                                                                                    <a:pt x="428625" y="150813"/>
                                                                                  </a:lnTo>
                                                                                  <a:lnTo>
                                                                                    <a:pt x="431270" y="156105"/>
                                                                                  </a:lnTo>
                                                                                  <a:lnTo>
                                                                                    <a:pt x="436562" y="158750"/>
                                                                                  </a:lnTo>
                                                                                  <a:lnTo>
                                                                                    <a:pt x="447145" y="156105"/>
                                                                                  </a:lnTo>
                                                                                  <a:lnTo>
                                                                                    <a:pt x="457729" y="153459"/>
                                                                                  </a:lnTo>
                                                                                  <a:lnTo>
                                                                                    <a:pt x="465666" y="153459"/>
                                                                                  </a:lnTo>
                                                                                  <a:lnTo>
                                                                                    <a:pt x="468312" y="153459"/>
                                                                                  </a:lnTo>
                                                                                  <a:lnTo>
                                                                                    <a:pt x="473604" y="150813"/>
                                                                                  </a:lnTo>
                                                                                  <a:lnTo>
                                                                                    <a:pt x="478895" y="148167"/>
                                                                                  </a:lnTo>
                                                                                  <a:lnTo>
                                                                                    <a:pt x="481541" y="145521"/>
                                                                                  </a:lnTo>
                                                                                  <a:lnTo>
                                                                                    <a:pt x="481541" y="142875"/>
                                                                                  </a:lnTo>
                                                                                  <a:lnTo>
                                                                                    <a:pt x="486833" y="140230"/>
                                                                                  </a:lnTo>
                                                                                  <a:lnTo>
                                                                                    <a:pt x="492125" y="137584"/>
                                                                                  </a:lnTo>
                                                                                  <a:lnTo>
                                                                                    <a:pt x="497416" y="137584"/>
                                                                                  </a:lnTo>
                                                                                  <a:lnTo>
                                                                                    <a:pt x="500062" y="137584"/>
                                                                                  </a:lnTo>
                                                                                  <a:lnTo>
                                                                                    <a:pt x="500062" y="140230"/>
                                                                                  </a:lnTo>
                                                                                  <a:lnTo>
                                                                                    <a:pt x="502708" y="142875"/>
                                                                                  </a:lnTo>
                                                                                  <a:lnTo>
                                                                                    <a:pt x="508000" y="145521"/>
                                                                                  </a:lnTo>
                                                                                  <a:lnTo>
                                                                                    <a:pt x="518583" y="145521"/>
                                                                                  </a:lnTo>
                                                                                  <a:lnTo>
                                                                                    <a:pt x="531812" y="140230"/>
                                                                                  </a:lnTo>
                                                                                  <a:lnTo>
                                                                                    <a:pt x="537104" y="137584"/>
                                                                                  </a:lnTo>
                                                                                  <a:lnTo>
                                                                                    <a:pt x="539750" y="134938"/>
                                                                                  </a:lnTo>
                                                                                  <a:lnTo>
                                                                                    <a:pt x="545041" y="129646"/>
                                                                                  </a:lnTo>
                                                                                  <a:lnTo>
                                                                                    <a:pt x="547687" y="124355"/>
                                                                                  </a:lnTo>
                                                                                  <a:lnTo>
                                                                                    <a:pt x="550333" y="119063"/>
                                                                                  </a:lnTo>
                                                                                  <a:lnTo>
                                                                                    <a:pt x="552979" y="108480"/>
                                                                                  </a:lnTo>
                                                                                  <a:lnTo>
                                                                                    <a:pt x="555625" y="95250"/>
                                                                                  </a:lnTo>
                                                                                  <a:lnTo>
                                                                                    <a:pt x="558271" y="89959"/>
                                                                                  </a:lnTo>
                                                                                  <a:lnTo>
                                                                                    <a:pt x="563562" y="84667"/>
                                                                                  </a:lnTo>
                                                                                  <a:lnTo>
                                                                                    <a:pt x="568854" y="79375"/>
                                                                                  </a:lnTo>
                                                                                  <a:lnTo>
                                                                                    <a:pt x="574146" y="74084"/>
                                                                                  </a:lnTo>
                                                                                  <a:lnTo>
                                                                                    <a:pt x="574146" y="63500"/>
                                                                                  </a:lnTo>
                                                                                  <a:lnTo>
                                                                                    <a:pt x="574146" y="52917"/>
                                                                                  </a:lnTo>
                                                                                  <a:lnTo>
                                                                                    <a:pt x="574146" y="50271"/>
                                                                                  </a:lnTo>
                                                                                  <a:lnTo>
                                                                                    <a:pt x="576791" y="47625"/>
                                                                                  </a:lnTo>
                                                                                  <a:lnTo>
                                                                                    <a:pt x="576791" y="44980"/>
                                                                                  </a:lnTo>
                                                                                  <a:lnTo>
                                                                                    <a:pt x="579437" y="42334"/>
                                                                                  </a:lnTo>
                                                                                  <a:close/>
                                                                                  <a:moveTo>
                                                                                    <a:pt x="10583" y="0"/>
                                                                                  </a:moveTo>
                                                                                  <a:lnTo>
                                                                                    <a:pt x="13229" y="0"/>
                                                                                  </a:lnTo>
                                                                                  <a:lnTo>
                                                                                    <a:pt x="23812" y="5292"/>
                                                                                  </a:lnTo>
                                                                                  <a:lnTo>
                                                                                    <a:pt x="34396" y="10583"/>
                                                                                  </a:lnTo>
                                                                                  <a:lnTo>
                                                                                    <a:pt x="42333" y="13229"/>
                                                                                  </a:lnTo>
                                                                                  <a:lnTo>
                                                                                    <a:pt x="47625" y="13229"/>
                                                                                  </a:lnTo>
                                                                                  <a:lnTo>
                                                                                    <a:pt x="55562" y="10583"/>
                                                                                  </a:lnTo>
                                                                                  <a:lnTo>
                                                                                    <a:pt x="60854" y="10583"/>
                                                                                  </a:lnTo>
                                                                                  <a:lnTo>
                                                                                    <a:pt x="63500" y="10583"/>
                                                                                  </a:lnTo>
                                                                                  <a:lnTo>
                                                                                    <a:pt x="68791" y="13229"/>
                                                                                  </a:lnTo>
                                                                                  <a:lnTo>
                                                                                    <a:pt x="71437" y="13229"/>
                                                                                  </a:lnTo>
                                                                                  <a:lnTo>
                                                                                    <a:pt x="74083" y="15875"/>
                                                                                  </a:lnTo>
                                                                                  <a:lnTo>
                                                                                    <a:pt x="76729" y="21167"/>
                                                                                  </a:lnTo>
                                                                                  <a:lnTo>
                                                                                    <a:pt x="79375" y="29104"/>
                                                                                  </a:lnTo>
                                                                                  <a:lnTo>
                                                                                    <a:pt x="82021" y="31750"/>
                                                                                  </a:lnTo>
                                                                                  <a:lnTo>
                                                                                    <a:pt x="87312" y="34396"/>
                                                                                  </a:lnTo>
                                                                                  <a:lnTo>
                                                                                    <a:pt x="89958" y="37042"/>
                                                                                  </a:lnTo>
                                                                                  <a:lnTo>
                                                                                    <a:pt x="92604" y="39687"/>
                                                                                  </a:lnTo>
                                                                                  <a:lnTo>
                                                                                    <a:pt x="92604" y="44979"/>
                                                                                  </a:lnTo>
                                                                                  <a:lnTo>
                                                                                    <a:pt x="89958" y="47625"/>
                                                                                  </a:lnTo>
                                                                                  <a:lnTo>
                                                                                    <a:pt x="97895" y="52917"/>
                                                                                  </a:lnTo>
                                                                                  <a:lnTo>
                                                                                    <a:pt x="105833" y="55562"/>
                                                                                  </a:lnTo>
                                                                                  <a:lnTo>
                                                                                    <a:pt x="105833" y="58208"/>
                                                                                  </a:lnTo>
                                                                                  <a:lnTo>
                                                                                    <a:pt x="108479" y="60854"/>
                                                                                  </a:lnTo>
                                                                                  <a:lnTo>
                                                                                    <a:pt x="116416" y="63500"/>
                                                                                  </a:lnTo>
                                                                                  <a:lnTo>
                                                                                    <a:pt x="129645" y="71437"/>
                                                                                  </a:lnTo>
                                                                                  <a:lnTo>
                                                                                    <a:pt x="137583" y="79375"/>
                                                                                  </a:lnTo>
                                                                                  <a:lnTo>
                                                                                    <a:pt x="140229" y="87312"/>
                                                                                  </a:lnTo>
                                                                                  <a:lnTo>
                                                                                    <a:pt x="142875" y="92604"/>
                                                                                  </a:lnTo>
                                                                                  <a:lnTo>
                                                                                    <a:pt x="145520" y="92604"/>
                                                                                  </a:lnTo>
                                                                                  <a:lnTo>
                                                                                    <a:pt x="148166" y="95250"/>
                                                                                  </a:lnTo>
                                                                                  <a:lnTo>
                                                                                    <a:pt x="150812" y="103187"/>
                                                                                  </a:lnTo>
                                                                                  <a:lnTo>
                                                                                    <a:pt x="153458" y="108479"/>
                                                                                  </a:lnTo>
                                                                                  <a:lnTo>
                                                                                    <a:pt x="158750" y="108479"/>
                                                                                  </a:lnTo>
                                                                                  <a:lnTo>
                                                                                    <a:pt x="161395" y="113771"/>
                                                                                  </a:lnTo>
                                                                                  <a:lnTo>
                                                                                    <a:pt x="169333" y="124354"/>
                                                                                  </a:lnTo>
                                                                                  <a:lnTo>
                                                                                    <a:pt x="169333" y="119062"/>
                                                                                  </a:lnTo>
                                                                                  <a:lnTo>
                                                                                    <a:pt x="166687" y="113771"/>
                                                                                  </a:lnTo>
                                                                                  <a:lnTo>
                                                                                    <a:pt x="166687" y="111125"/>
                                                                                  </a:lnTo>
                                                                                  <a:lnTo>
                                                                                    <a:pt x="169333" y="111125"/>
                                                                                  </a:lnTo>
                                                                                  <a:lnTo>
                                                                                    <a:pt x="171979" y="111125"/>
                                                                                  </a:lnTo>
                                                                                  <a:lnTo>
                                                                                    <a:pt x="174625" y="113771"/>
                                                                                  </a:lnTo>
                                                                                  <a:lnTo>
                                                                                    <a:pt x="177270" y="119062"/>
                                                                                  </a:lnTo>
                                                                                  <a:lnTo>
                                                                                    <a:pt x="179916" y="124354"/>
                                                                                  </a:lnTo>
                                                                                  <a:lnTo>
                                                                                    <a:pt x="182562" y="127000"/>
                                                                                  </a:lnTo>
                                                                                  <a:lnTo>
                                                                                    <a:pt x="185208" y="127000"/>
                                                                                  </a:lnTo>
                                                                                  <a:lnTo>
                                                                                    <a:pt x="190500" y="127000"/>
                                                                                  </a:lnTo>
                                                                                  <a:lnTo>
                                                                                    <a:pt x="193145" y="129646"/>
                                                                                  </a:lnTo>
                                                                                  <a:lnTo>
                                                                                    <a:pt x="201083" y="142875"/>
                                                                                  </a:lnTo>
                                                                                  <a:lnTo>
                                                                                    <a:pt x="209020" y="156104"/>
                                                                                  </a:lnTo>
                                                                                  <a:lnTo>
                                                                                    <a:pt x="211666" y="158750"/>
                                                                                  </a:lnTo>
                                                                                  <a:lnTo>
                                                                                    <a:pt x="216958" y="161396"/>
                                                                                  </a:lnTo>
                                                                                  <a:lnTo>
                                                                                    <a:pt x="222250" y="164042"/>
                                                                                  </a:lnTo>
                                                                                  <a:lnTo>
                                                                                    <a:pt x="227541" y="166687"/>
                                                                                  </a:lnTo>
                                                                                  <a:lnTo>
                                                                                    <a:pt x="230187" y="171979"/>
                                                                                  </a:lnTo>
                                                                                  <a:lnTo>
                                                                                    <a:pt x="230187" y="174625"/>
                                                                                  </a:lnTo>
                                                                                  <a:lnTo>
                                                                                    <a:pt x="219604" y="179917"/>
                                                                                  </a:lnTo>
                                                                                  <a:lnTo>
                                                                                    <a:pt x="211666" y="185208"/>
                                                                                  </a:lnTo>
                                                                                  <a:lnTo>
                                                                                    <a:pt x="232833" y="177271"/>
                                                                                  </a:lnTo>
                                                                                  <a:lnTo>
                                                                                    <a:pt x="238125" y="174625"/>
                                                                                  </a:lnTo>
                                                                                  <a:lnTo>
                                                                                    <a:pt x="240770" y="174625"/>
                                                                                  </a:lnTo>
                                                                                  <a:lnTo>
                                                                                    <a:pt x="246062" y="177271"/>
                                                                                  </a:lnTo>
                                                                                  <a:lnTo>
                                                                                    <a:pt x="251354" y="182562"/>
                                                                                  </a:lnTo>
                                                                                  <a:lnTo>
                                                                                    <a:pt x="253999" y="185208"/>
                                                                                  </a:lnTo>
                                                                                  <a:lnTo>
                                                                                    <a:pt x="251354" y="187854"/>
                                                                                  </a:lnTo>
                                                                                  <a:lnTo>
                                                                                    <a:pt x="240770" y="193146"/>
                                                                                  </a:lnTo>
                                                                                  <a:lnTo>
                                                                                    <a:pt x="232833" y="198437"/>
                                                                                  </a:lnTo>
                                                                                  <a:lnTo>
                                                                                    <a:pt x="230187" y="198437"/>
                                                                                  </a:lnTo>
                                                                                  <a:lnTo>
                                                                                    <a:pt x="232833" y="201083"/>
                                                                                  </a:lnTo>
                                                                                  <a:lnTo>
                                                                                    <a:pt x="238125" y="203729"/>
                                                                                  </a:lnTo>
                                                                                  <a:lnTo>
                                                                                    <a:pt x="238125" y="206375"/>
                                                                                  </a:lnTo>
                                                                                  <a:lnTo>
                                                                                    <a:pt x="238125" y="209021"/>
                                                                                  </a:lnTo>
                                                                                  <a:lnTo>
                                                                                    <a:pt x="238125" y="214312"/>
                                                                                  </a:lnTo>
                                                                                  <a:lnTo>
                                                                                    <a:pt x="238125" y="216958"/>
                                                                                  </a:lnTo>
                                                                                  <a:lnTo>
                                                                                    <a:pt x="243416" y="219604"/>
                                                                                  </a:lnTo>
                                                                                  <a:lnTo>
                                                                                    <a:pt x="248708" y="224896"/>
                                                                                  </a:lnTo>
                                                                                  <a:lnTo>
                                                                                    <a:pt x="251354" y="224896"/>
                                                                                  </a:lnTo>
                                                                                  <a:lnTo>
                                                                                    <a:pt x="259291" y="224896"/>
                                                                                  </a:lnTo>
                                                                                  <a:lnTo>
                                                                                    <a:pt x="264583" y="224896"/>
                                                                                  </a:lnTo>
                                                                                  <a:lnTo>
                                                                                    <a:pt x="267229" y="224896"/>
                                                                                  </a:lnTo>
                                                                                  <a:lnTo>
                                                                                    <a:pt x="269874" y="232833"/>
                                                                                  </a:lnTo>
                                                                                  <a:lnTo>
                                                                                    <a:pt x="267229" y="240771"/>
                                                                                  </a:lnTo>
                                                                                  <a:lnTo>
                                                                                    <a:pt x="267229" y="248708"/>
                                                                                  </a:lnTo>
                                                                                  <a:lnTo>
                                                                                    <a:pt x="269874" y="251354"/>
                                                                                  </a:lnTo>
                                                                                  <a:lnTo>
                                                                                    <a:pt x="275166" y="251354"/>
                                                                                  </a:lnTo>
                                                                                  <a:lnTo>
                                                                                    <a:pt x="277812" y="251354"/>
                                                                                  </a:lnTo>
                                                                                  <a:lnTo>
                                                                                    <a:pt x="280458" y="251354"/>
                                                                                  </a:lnTo>
                                                                                  <a:lnTo>
                                                                                    <a:pt x="280458" y="256646"/>
                                                                                  </a:lnTo>
                                                                                  <a:lnTo>
                                                                                    <a:pt x="277812" y="267229"/>
                                                                                  </a:lnTo>
                                                                                  <a:lnTo>
                                                                                    <a:pt x="277812" y="275167"/>
                                                                                  </a:lnTo>
                                                                                  <a:lnTo>
                                                                                    <a:pt x="280458" y="267229"/>
                                                                                  </a:lnTo>
                                                                                  <a:lnTo>
                                                                                    <a:pt x="280458" y="264583"/>
                                                                                  </a:lnTo>
                                                                                  <a:lnTo>
                                                                                    <a:pt x="291041" y="267229"/>
                                                                                  </a:lnTo>
                                                                                  <a:lnTo>
                                                                                    <a:pt x="298979" y="269875"/>
                                                                                  </a:lnTo>
                                                                                  <a:lnTo>
                                                                                    <a:pt x="301624" y="275167"/>
                                                                                  </a:lnTo>
                                                                                  <a:lnTo>
                                                                                    <a:pt x="301624" y="277812"/>
                                                                                  </a:lnTo>
                                                                                  <a:lnTo>
                                                                                    <a:pt x="304270" y="277812"/>
                                                                                  </a:lnTo>
                                                                                  <a:lnTo>
                                                                                    <a:pt x="306916" y="280458"/>
                                                                                  </a:lnTo>
                                                                                  <a:lnTo>
                                                                                    <a:pt x="309562" y="283104"/>
                                                                                  </a:lnTo>
                                                                                  <a:lnTo>
                                                                                    <a:pt x="306916" y="283104"/>
                                                                                  </a:lnTo>
                                                                                  <a:lnTo>
                                                                                    <a:pt x="309562" y="285750"/>
                                                                                  </a:lnTo>
                                                                                  <a:lnTo>
                                                                                    <a:pt x="312208" y="285750"/>
                                                                                  </a:lnTo>
                                                                                  <a:lnTo>
                                                                                    <a:pt x="312208" y="288396"/>
                                                                                  </a:lnTo>
                                                                                  <a:lnTo>
                                                                                    <a:pt x="306916" y="291042"/>
                                                                                  </a:lnTo>
                                                                                  <a:lnTo>
                                                                                    <a:pt x="304270" y="296333"/>
                                                                                  </a:lnTo>
                                                                                  <a:lnTo>
                                                                                    <a:pt x="304270" y="298979"/>
                                                                                  </a:lnTo>
                                                                                  <a:lnTo>
                                                                                    <a:pt x="304270" y="304271"/>
                                                                                  </a:lnTo>
                                                                                  <a:lnTo>
                                                                                    <a:pt x="306916" y="306917"/>
                                                                                  </a:lnTo>
                                                                                  <a:lnTo>
                                                                                    <a:pt x="306916" y="309562"/>
                                                                                  </a:lnTo>
                                                                                  <a:lnTo>
                                                                                    <a:pt x="304270" y="317500"/>
                                                                                  </a:lnTo>
                                                                                  <a:lnTo>
                                                                                    <a:pt x="301624" y="328083"/>
                                                                                  </a:lnTo>
                                                                                  <a:lnTo>
                                                                                    <a:pt x="301624" y="330729"/>
                                                                                  </a:lnTo>
                                                                                  <a:lnTo>
                                                                                    <a:pt x="304270" y="336021"/>
                                                                                  </a:lnTo>
                                                                                  <a:lnTo>
                                                                                    <a:pt x="301624" y="351896"/>
                                                                                  </a:lnTo>
                                                                                  <a:lnTo>
                                                                                    <a:pt x="304270" y="378354"/>
                                                                                  </a:lnTo>
                                                                                  <a:lnTo>
                                                                                    <a:pt x="304270" y="381000"/>
                                                                                  </a:lnTo>
                                                                                  <a:lnTo>
                                                                                    <a:pt x="301624" y="383646"/>
                                                                                  </a:lnTo>
                                                                                  <a:lnTo>
                                                                                    <a:pt x="296333" y="378354"/>
                                                                                  </a:lnTo>
                                                                                  <a:lnTo>
                                                                                    <a:pt x="293687" y="373063"/>
                                                                                  </a:lnTo>
                                                                                  <a:lnTo>
                                                                                    <a:pt x="291041" y="373063"/>
                                                                                  </a:lnTo>
                                                                                  <a:lnTo>
                                                                                    <a:pt x="291041" y="375708"/>
                                                                                  </a:lnTo>
                                                                                  <a:lnTo>
                                                                                    <a:pt x="291041" y="381000"/>
                                                                                  </a:lnTo>
                                                                                  <a:lnTo>
                                                                                    <a:pt x="285749" y="381000"/>
                                                                                  </a:lnTo>
                                                                                  <a:lnTo>
                                                                                    <a:pt x="280458" y="378354"/>
                                                                                  </a:lnTo>
                                                                                  <a:lnTo>
                                                                                    <a:pt x="275166" y="375708"/>
                                                                                  </a:lnTo>
                                                                                  <a:lnTo>
                                                                                    <a:pt x="272520" y="375708"/>
                                                                                  </a:lnTo>
                                                                                  <a:lnTo>
                                                                                    <a:pt x="269874" y="375708"/>
                                                                                  </a:lnTo>
                                                                                  <a:lnTo>
                                                                                    <a:pt x="267229" y="373063"/>
                                                                                  </a:lnTo>
                                                                                  <a:lnTo>
                                                                                    <a:pt x="264583" y="373063"/>
                                                                                  </a:lnTo>
                                                                                  <a:lnTo>
                                                                                    <a:pt x="267229" y="378354"/>
                                                                                  </a:lnTo>
                                                                                  <a:lnTo>
                                                                                    <a:pt x="272520" y="381000"/>
                                                                                  </a:lnTo>
                                                                                  <a:lnTo>
                                                                                    <a:pt x="269874" y="383646"/>
                                                                                  </a:lnTo>
                                                                                  <a:lnTo>
                                                                                    <a:pt x="264583" y="378354"/>
                                                                                  </a:lnTo>
                                                                                  <a:lnTo>
                                                                                    <a:pt x="261937" y="373063"/>
                                                                                  </a:lnTo>
                                                                                  <a:lnTo>
                                                                                    <a:pt x="259291" y="367771"/>
                                                                                  </a:lnTo>
                                                                                  <a:lnTo>
                                                                                    <a:pt x="253999" y="365125"/>
                                                                                  </a:lnTo>
                                                                                  <a:lnTo>
                                                                                    <a:pt x="251354" y="359833"/>
                                                                                  </a:lnTo>
                                                                                  <a:lnTo>
                                                                                    <a:pt x="248708" y="357188"/>
                                                                                  </a:lnTo>
                                                                                  <a:lnTo>
                                                                                    <a:pt x="246062" y="351896"/>
                                                                                  </a:lnTo>
                                                                                  <a:lnTo>
                                                                                    <a:pt x="240770" y="351896"/>
                                                                                  </a:lnTo>
                                                                                  <a:lnTo>
                                                                                    <a:pt x="232833" y="349250"/>
                                                                                  </a:lnTo>
                                                                                  <a:lnTo>
                                                                                    <a:pt x="227541" y="341313"/>
                                                                                  </a:lnTo>
                                                                                  <a:lnTo>
                                                                                    <a:pt x="222250" y="333375"/>
                                                                                  </a:lnTo>
                                                                                  <a:lnTo>
                                                                                    <a:pt x="211666" y="325437"/>
                                                                                  </a:lnTo>
                                                                                  <a:lnTo>
                                                                                    <a:pt x="206375" y="317500"/>
                                                                                  </a:lnTo>
                                                                                  <a:lnTo>
                                                                                    <a:pt x="201083" y="312208"/>
                                                                                  </a:lnTo>
                                                                                  <a:lnTo>
                                                                                    <a:pt x="198437" y="304271"/>
                                                                                  </a:lnTo>
                                                                                  <a:lnTo>
                                                                                    <a:pt x="195791" y="296333"/>
                                                                                  </a:lnTo>
                                                                                  <a:lnTo>
                                                                                    <a:pt x="193145" y="293687"/>
                                                                                  </a:lnTo>
                                                                                  <a:lnTo>
                                                                                    <a:pt x="187854" y="291042"/>
                                                                                  </a:lnTo>
                                                                                  <a:lnTo>
                                                                                    <a:pt x="177270" y="285750"/>
                                                                                  </a:lnTo>
                                                                                  <a:lnTo>
                                                                                    <a:pt x="174625" y="277812"/>
                                                                                  </a:lnTo>
                                                                                  <a:lnTo>
                                                                                    <a:pt x="169333" y="269875"/>
                                                                                  </a:lnTo>
                                                                                  <a:lnTo>
                                                                                    <a:pt x="164041" y="259292"/>
                                                                                  </a:lnTo>
                                                                                  <a:lnTo>
                                                                                    <a:pt x="161395" y="256646"/>
                                                                                  </a:lnTo>
                                                                                  <a:lnTo>
                                                                                    <a:pt x="161395" y="254000"/>
                                                                                  </a:lnTo>
                                                                                  <a:lnTo>
                                                                                    <a:pt x="164041" y="251354"/>
                                                                                  </a:lnTo>
                                                                                  <a:lnTo>
                                                                                    <a:pt x="158750" y="240771"/>
                                                                                  </a:lnTo>
                                                                                  <a:lnTo>
                                                                                    <a:pt x="142875" y="216958"/>
                                                                                  </a:lnTo>
                                                                                  <a:lnTo>
                                                                                    <a:pt x="137583" y="198437"/>
                                                                                  </a:lnTo>
                                                                                  <a:lnTo>
                                                                                    <a:pt x="134937" y="190500"/>
                                                                                  </a:lnTo>
                                                                                  <a:lnTo>
                                                                                    <a:pt x="134937" y="187854"/>
                                                                                  </a:lnTo>
                                                                                  <a:lnTo>
                                                                                    <a:pt x="132291" y="185208"/>
                                                                                  </a:lnTo>
                                                                                  <a:lnTo>
                                                                                    <a:pt x="124354" y="182562"/>
                                                                                  </a:lnTo>
                                                                                  <a:lnTo>
                                                                                    <a:pt x="119062" y="179917"/>
                                                                                  </a:lnTo>
                                                                                  <a:lnTo>
                                                                                    <a:pt x="116416" y="179917"/>
                                                                                  </a:lnTo>
                                                                                  <a:lnTo>
                                                                                    <a:pt x="116416" y="174625"/>
                                                                                  </a:lnTo>
                                                                                  <a:lnTo>
                                                                                    <a:pt x="116416" y="169333"/>
                                                                                  </a:lnTo>
                                                                                  <a:lnTo>
                                                                                    <a:pt x="113770" y="166687"/>
                                                                                  </a:lnTo>
                                                                                  <a:lnTo>
                                                                                    <a:pt x="113770" y="161396"/>
                                                                                  </a:lnTo>
                                                                                  <a:lnTo>
                                                                                    <a:pt x="113770" y="156104"/>
                                                                                  </a:lnTo>
                                                                                  <a:lnTo>
                                                                                    <a:pt x="113770" y="150812"/>
                                                                                  </a:lnTo>
                                                                                  <a:lnTo>
                                                                                    <a:pt x="111125" y="145521"/>
                                                                                  </a:lnTo>
                                                                                  <a:lnTo>
                                                                                    <a:pt x="108479" y="137583"/>
                                                                                  </a:lnTo>
                                                                                  <a:lnTo>
                                                                                    <a:pt x="111125" y="132292"/>
                                                                                  </a:lnTo>
                                                                                  <a:lnTo>
                                                                                    <a:pt x="92604" y="116417"/>
                                                                                  </a:lnTo>
                                                                                  <a:lnTo>
                                                                                    <a:pt x="84666" y="113771"/>
                                                                                  </a:lnTo>
                                                                                  <a:lnTo>
                                                                                    <a:pt x="79375" y="111125"/>
                                                                                  </a:lnTo>
                                                                                  <a:lnTo>
                                                                                    <a:pt x="76729" y="113771"/>
                                                                                  </a:lnTo>
                                                                                  <a:lnTo>
                                                                                    <a:pt x="74083" y="111125"/>
                                                                                  </a:lnTo>
                                                                                  <a:lnTo>
                                                                                    <a:pt x="76729" y="100542"/>
                                                                                  </a:lnTo>
                                                                                  <a:lnTo>
                                                                                    <a:pt x="74083" y="95250"/>
                                                                                  </a:lnTo>
                                                                                  <a:lnTo>
                                                                                    <a:pt x="71437" y="89958"/>
                                                                                  </a:lnTo>
                                                                                  <a:lnTo>
                                                                                    <a:pt x="68791" y="87312"/>
                                                                                  </a:lnTo>
                                                                                  <a:lnTo>
                                                                                    <a:pt x="66146" y="82021"/>
                                                                                  </a:lnTo>
                                                                                  <a:lnTo>
                                                                                    <a:pt x="63500" y="76729"/>
                                                                                  </a:lnTo>
                                                                                  <a:lnTo>
                                                                                    <a:pt x="60854" y="74083"/>
                                                                                  </a:lnTo>
                                                                                  <a:lnTo>
                                                                                    <a:pt x="55562" y="71437"/>
                                                                                  </a:lnTo>
                                                                                  <a:lnTo>
                                                                                    <a:pt x="50271" y="66146"/>
                                                                                  </a:lnTo>
                                                                                  <a:lnTo>
                                                                                    <a:pt x="47625" y="60854"/>
                                                                                  </a:lnTo>
                                                                                  <a:lnTo>
                                                                                    <a:pt x="44979" y="60854"/>
                                                                                  </a:lnTo>
                                                                                  <a:lnTo>
                                                                                    <a:pt x="39687" y="60854"/>
                                                                                  </a:lnTo>
                                                                                  <a:lnTo>
                                                                                    <a:pt x="34396" y="60854"/>
                                                                                  </a:lnTo>
                                                                                  <a:lnTo>
                                                                                    <a:pt x="34396" y="52917"/>
                                                                                  </a:lnTo>
                                                                                  <a:lnTo>
                                                                                    <a:pt x="31750" y="47625"/>
                                                                                  </a:lnTo>
                                                                                  <a:lnTo>
                                                                                    <a:pt x="29104" y="44979"/>
                                                                                  </a:lnTo>
                                                                                  <a:lnTo>
                                                                                    <a:pt x="23812" y="37042"/>
                                                                                  </a:lnTo>
                                                                                  <a:lnTo>
                                                                                    <a:pt x="15875" y="31750"/>
                                                                                  </a:lnTo>
                                                                                  <a:lnTo>
                                                                                    <a:pt x="10583" y="23812"/>
                                                                                  </a:lnTo>
                                                                                  <a:lnTo>
                                                                                    <a:pt x="7937" y="15875"/>
                                                                                  </a:lnTo>
                                                                                  <a:lnTo>
                                                                                    <a:pt x="2646" y="10583"/>
                                                                                  </a:lnTo>
                                                                                  <a:lnTo>
                                                                                    <a:pt x="0" y="10583"/>
                                                                                  </a:lnTo>
                                                                                  <a:lnTo>
                                                                                    <a:pt x="5291" y="2646"/>
                                                                                  </a:lnTo>
                                                                                  <a:close/>
                                                                                </a:path>
                                                                              </a:pathLst>
                                                                            </a:custGeom>
                                                                            <a:solidFill>
                                                                              <a:schemeClr val="accent3"/>
                                                                            </a:solid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28" name="Freeform 132"/>
                                                                          <p:cNvSpPr>
                                                                            <a:spLocks/>
                                                                          </p:cNvSpPr>
                                                                          <p:nvPr/>
                                                                        </p:nvSpPr>
                                                                        <p:spPr bwMode="auto">
                                                                          <a:xfrm>
                                                                            <a:off x="10540876" y="3850838"/>
                                                                            <a:ext cx="136694" cy="78906"/>
                                                                          </a:xfrm>
                                                                          <a:custGeom>
                                                                            <a:avLst/>
                                                                            <a:gdLst/>
                                                                            <a:ahLst/>
                                                                            <a:cxnLst>
                                                                              <a:cxn ang="0">
                                                                                <a:pos x="10" y="42"/>
                                                                              </a:cxn>
                                                                              <a:cxn ang="0">
                                                                                <a:pos x="0" y="34"/>
                                                                              </a:cxn>
                                                                              <a:cxn ang="0">
                                                                                <a:pos x="2" y="30"/>
                                                                              </a:cxn>
                                                                              <a:cxn ang="0">
                                                                                <a:pos x="10" y="28"/>
                                                                              </a:cxn>
                                                                              <a:cxn ang="0">
                                                                                <a:pos x="18" y="28"/>
                                                                              </a:cxn>
                                                                              <a:cxn ang="0">
                                                                                <a:pos x="22" y="26"/>
                                                                              </a:cxn>
                                                                              <a:cxn ang="0">
                                                                                <a:pos x="24" y="28"/>
                                                                              </a:cxn>
                                                                              <a:cxn ang="0">
                                                                                <a:pos x="26" y="26"/>
                                                                              </a:cxn>
                                                                              <a:cxn ang="0">
                                                                                <a:pos x="30" y="22"/>
                                                                              </a:cxn>
                                                                              <a:cxn ang="0">
                                                                                <a:pos x="32" y="20"/>
                                                                              </a:cxn>
                                                                              <a:cxn ang="0">
                                                                                <a:pos x="34" y="20"/>
                                                                              </a:cxn>
                                                                              <a:cxn ang="0">
                                                                                <a:pos x="34" y="24"/>
                                                                              </a:cxn>
                                                                              <a:cxn ang="0">
                                                                                <a:pos x="36" y="26"/>
                                                                              </a:cxn>
                                                                              <a:cxn ang="0">
                                                                                <a:pos x="42" y="24"/>
                                                                              </a:cxn>
                                                                              <a:cxn ang="0">
                                                                                <a:pos x="48" y="26"/>
                                                                              </a:cxn>
                                                                              <a:cxn ang="0">
                                                                                <a:pos x="54" y="22"/>
                                                                              </a:cxn>
                                                                              <a:cxn ang="0">
                                                                                <a:pos x="64" y="18"/>
                                                                              </a:cxn>
                                                                              <a:cxn ang="0">
                                                                                <a:pos x="66" y="16"/>
                                                                              </a:cxn>
                                                                              <a:cxn ang="0">
                                                                                <a:pos x="66" y="14"/>
                                                                              </a:cxn>
                                                                              <a:cxn ang="0">
                                                                                <a:pos x="72" y="12"/>
                                                                              </a:cxn>
                                                                              <a:cxn ang="0">
                                                                                <a:pos x="70" y="8"/>
                                                                              </a:cxn>
                                                                              <a:cxn ang="0">
                                                                                <a:pos x="66" y="0"/>
                                                                              </a:cxn>
                                                                              <a:cxn ang="0">
                                                                                <a:pos x="70" y="0"/>
                                                                              </a:cxn>
                                                                              <a:cxn ang="0">
                                                                                <a:pos x="76" y="2"/>
                                                                              </a:cxn>
                                                                              <a:cxn ang="0">
                                                                                <a:pos x="80" y="2"/>
                                                                              </a:cxn>
                                                                              <a:cxn ang="0">
                                                                                <a:pos x="82" y="0"/>
                                                                              </a:cxn>
                                                                              <a:cxn ang="0">
                                                                                <a:pos x="86" y="2"/>
                                                                              </a:cxn>
                                                                              <a:cxn ang="0">
                                                                                <a:pos x="86" y="4"/>
                                                                              </a:cxn>
                                                                              <a:cxn ang="0">
                                                                                <a:pos x="88" y="6"/>
                                                                              </a:cxn>
                                                                              <a:cxn ang="0">
                                                                                <a:pos x="90" y="12"/>
                                                                              </a:cxn>
                                                                              <a:cxn ang="0">
                                                                                <a:pos x="88" y="16"/>
                                                                              </a:cxn>
                                                                              <a:cxn ang="0">
                                                                                <a:pos x="84" y="20"/>
                                                                              </a:cxn>
                                                                              <a:cxn ang="0">
                                                                                <a:pos x="86" y="26"/>
                                                                              </a:cxn>
                                                                              <a:cxn ang="0">
                                                                                <a:pos x="80" y="32"/>
                                                                              </a:cxn>
                                                                              <a:cxn ang="0">
                                                                                <a:pos x="80" y="32"/>
                                                                              </a:cxn>
                                                                              <a:cxn ang="0">
                                                                                <a:pos x="76" y="28"/>
                                                                              </a:cxn>
                                                                              <a:cxn ang="0">
                                                                                <a:pos x="74" y="30"/>
                                                                              </a:cxn>
                                                                              <a:cxn ang="0">
                                                                                <a:pos x="76" y="32"/>
                                                                              </a:cxn>
                                                                              <a:cxn ang="0">
                                                                                <a:pos x="74" y="36"/>
                                                                              </a:cxn>
                                                                              <a:cxn ang="0">
                                                                                <a:pos x="66" y="44"/>
                                                                              </a:cxn>
                                                                              <a:cxn ang="0">
                                                                                <a:pos x="58" y="46"/>
                                                                              </a:cxn>
                                                                              <a:cxn ang="0">
                                                                                <a:pos x="54" y="48"/>
                                                                              </a:cxn>
                                                                              <a:cxn ang="0">
                                                                                <a:pos x="46" y="52"/>
                                                                              </a:cxn>
                                                                              <a:cxn ang="0">
                                                                                <a:pos x="38" y="52"/>
                                                                              </a:cxn>
                                                                              <a:cxn ang="0">
                                                                                <a:pos x="34" y="52"/>
                                                                              </a:cxn>
                                                                              <a:cxn ang="0">
                                                                                <a:pos x="26" y="48"/>
                                                                              </a:cxn>
                                                                              <a:cxn ang="0">
                                                                                <a:pos x="22" y="50"/>
                                                                              </a:cxn>
                                                                              <a:cxn ang="0">
                                                                                <a:pos x="16" y="50"/>
                                                                              </a:cxn>
                                                                              <a:cxn ang="0">
                                                                                <a:pos x="10" y="42"/>
                                                                              </a:cxn>
                                                                            </a:cxnLst>
                                                                            <a:rect l="0" t="0" r="r" b="b"/>
                                                                            <a:pathLst>
                                                                              <a:path w="90" h="52">
                                                                                <a:moveTo>
                                                                                  <a:pt x="10" y="42"/>
                                                                                </a:moveTo>
                                                                                <a:lnTo>
                                                                                  <a:pt x="10" y="42"/>
                                                                                </a:lnTo>
                                                                                <a:lnTo>
                                                                                  <a:pt x="2" y="36"/>
                                                                                </a:lnTo>
                                                                                <a:lnTo>
                                                                                  <a:pt x="0" y="34"/>
                                                                                </a:lnTo>
                                                                                <a:lnTo>
                                                                                  <a:pt x="2" y="30"/>
                                                                                </a:lnTo>
                                                                                <a:lnTo>
                                                                                  <a:pt x="2" y="30"/>
                                                                                </a:lnTo>
                                                                                <a:lnTo>
                                                                                  <a:pt x="6" y="28"/>
                                                                                </a:lnTo>
                                                                                <a:lnTo>
                                                                                  <a:pt x="10" y="28"/>
                                                                                </a:lnTo>
                                                                                <a:lnTo>
                                                                                  <a:pt x="14" y="30"/>
                                                                                </a:lnTo>
                                                                                <a:lnTo>
                                                                                  <a:pt x="18" y="28"/>
                                                                                </a:lnTo>
                                                                                <a:lnTo>
                                                                                  <a:pt x="18" y="28"/>
                                                                                </a:lnTo>
                                                                                <a:lnTo>
                                                                                  <a:pt x="22" y="26"/>
                                                                                </a:lnTo>
                                                                                <a:lnTo>
                                                                                  <a:pt x="22" y="28"/>
                                                                                </a:lnTo>
                                                                                <a:lnTo>
                                                                                  <a:pt x="24" y="28"/>
                                                                                </a:lnTo>
                                                                                <a:lnTo>
                                                                                  <a:pt x="26" y="26"/>
                                                                                </a:lnTo>
                                                                                <a:lnTo>
                                                                                  <a:pt x="26" y="26"/>
                                                                                </a:lnTo>
                                                                                <a:lnTo>
                                                                                  <a:pt x="30" y="24"/>
                                                                                </a:lnTo>
                                                                                <a:lnTo>
                                                                                  <a:pt x="30" y="22"/>
                                                                                </a:lnTo>
                                                                                <a:lnTo>
                                                                                  <a:pt x="28" y="22"/>
                                                                                </a:lnTo>
                                                                                <a:lnTo>
                                                                                  <a:pt x="32" y="20"/>
                                                                                </a:lnTo>
                                                                                <a:lnTo>
                                                                                  <a:pt x="32" y="20"/>
                                                                                </a:lnTo>
                                                                                <a:lnTo>
                                                                                  <a:pt x="34" y="20"/>
                                                                                </a:lnTo>
                                                                                <a:lnTo>
                                                                                  <a:pt x="34" y="20"/>
                                                                                </a:lnTo>
                                                                                <a:lnTo>
                                                                                  <a:pt x="34" y="24"/>
                                                                                </a:lnTo>
                                                                                <a:lnTo>
                                                                                  <a:pt x="34" y="28"/>
                                                                                </a:lnTo>
                                                                                <a:lnTo>
                                                                                  <a:pt x="36" y="26"/>
                                                                                </a:lnTo>
                                                                                <a:lnTo>
                                                                                  <a:pt x="36" y="26"/>
                                                                                </a:lnTo>
                                                                                <a:lnTo>
                                                                                  <a:pt x="42" y="24"/>
                                                                                </a:lnTo>
                                                                                <a:lnTo>
                                                                                  <a:pt x="44" y="24"/>
                                                                                </a:lnTo>
                                                                                <a:lnTo>
                                                                                  <a:pt x="48" y="26"/>
                                                                                </a:lnTo>
                                                                                <a:lnTo>
                                                                                  <a:pt x="54" y="22"/>
                                                                                </a:lnTo>
                                                                                <a:lnTo>
                                                                                  <a:pt x="54" y="22"/>
                                                                                </a:lnTo>
                                                                                <a:lnTo>
                                                                                  <a:pt x="60" y="20"/>
                                                                                </a:lnTo>
                                                                                <a:lnTo>
                                                                                  <a:pt x="64" y="18"/>
                                                                                </a:lnTo>
                                                                                <a:lnTo>
                                                                                  <a:pt x="66" y="18"/>
                                                                                </a:lnTo>
                                                                                <a:lnTo>
                                                                                  <a:pt x="66" y="16"/>
                                                                                </a:lnTo>
                                                                                <a:lnTo>
                                                                                  <a:pt x="66" y="16"/>
                                                                                </a:lnTo>
                                                                                <a:lnTo>
                                                                                  <a:pt x="66" y="14"/>
                                                                                </a:lnTo>
                                                                                <a:lnTo>
                                                                                  <a:pt x="70" y="14"/>
                                                                                </a:lnTo>
                                                                                <a:lnTo>
                                                                                  <a:pt x="72" y="12"/>
                                                                                </a:lnTo>
                                                                                <a:lnTo>
                                                                                  <a:pt x="70" y="8"/>
                                                                                </a:lnTo>
                                                                                <a:lnTo>
                                                                                  <a:pt x="70" y="8"/>
                                                                                </a:lnTo>
                                                                                <a:lnTo>
                                                                                  <a:pt x="68" y="2"/>
                                                                                </a:lnTo>
                                                                                <a:lnTo>
                                                                                  <a:pt x="66" y="0"/>
                                                                                </a:lnTo>
                                                                                <a:lnTo>
                                                                                  <a:pt x="70" y="0"/>
                                                                                </a:lnTo>
                                                                                <a:lnTo>
                                                                                  <a:pt x="70" y="0"/>
                                                                                </a:lnTo>
                                                                                <a:lnTo>
                                                                                  <a:pt x="74" y="0"/>
                                                                                </a:lnTo>
                                                                                <a:lnTo>
                                                                                  <a:pt x="76" y="2"/>
                                                                                </a:lnTo>
                                                                                <a:lnTo>
                                                                                  <a:pt x="78" y="2"/>
                                                                                </a:lnTo>
                                                                                <a:lnTo>
                                                                                  <a:pt x="80" y="2"/>
                                                                                </a:lnTo>
                                                                                <a:lnTo>
                                                                                  <a:pt x="80" y="2"/>
                                                                                </a:lnTo>
                                                                                <a:lnTo>
                                                                                  <a:pt x="82" y="0"/>
                                                                                </a:lnTo>
                                                                                <a:lnTo>
                                                                                  <a:pt x="84" y="2"/>
                                                                                </a:lnTo>
                                                                                <a:lnTo>
                                                                                  <a:pt x="86" y="2"/>
                                                                                </a:lnTo>
                                                                                <a:lnTo>
                                                                                  <a:pt x="86" y="4"/>
                                                                                </a:lnTo>
                                                                                <a:lnTo>
                                                                                  <a:pt x="86" y="4"/>
                                                                                </a:lnTo>
                                                                                <a:lnTo>
                                                                                  <a:pt x="88" y="4"/>
                                                                                </a:lnTo>
                                                                                <a:lnTo>
                                                                                  <a:pt x="88" y="6"/>
                                                                                </a:lnTo>
                                                                                <a:lnTo>
                                                                                  <a:pt x="90" y="12"/>
                                                                                </a:lnTo>
                                                                                <a:lnTo>
                                                                                  <a:pt x="90" y="12"/>
                                                                                </a:lnTo>
                                                                                <a:lnTo>
                                                                                  <a:pt x="90" y="16"/>
                                                                                </a:lnTo>
                                                                                <a:lnTo>
                                                                                  <a:pt x="88" y="16"/>
                                                                                </a:lnTo>
                                                                                <a:lnTo>
                                                                                  <a:pt x="84" y="16"/>
                                                                                </a:lnTo>
                                                                                <a:lnTo>
                                                                                  <a:pt x="84" y="20"/>
                                                                                </a:lnTo>
                                                                                <a:lnTo>
                                                                                  <a:pt x="84" y="20"/>
                                                                                </a:lnTo>
                                                                                <a:lnTo>
                                                                                  <a:pt x="86" y="26"/>
                                                                                </a:lnTo>
                                                                                <a:lnTo>
                                                                                  <a:pt x="84" y="28"/>
                                                                                </a:lnTo>
                                                                                <a:lnTo>
                                                                                  <a:pt x="80" y="32"/>
                                                                                </a:lnTo>
                                                                                <a:lnTo>
                                                                                  <a:pt x="80" y="32"/>
                                                                                </a:lnTo>
                                                                                <a:lnTo>
                                                                                  <a:pt x="80" y="32"/>
                                                                                </a:lnTo>
                                                                                <a:lnTo>
                                                                                  <a:pt x="78" y="30"/>
                                                                                </a:lnTo>
                                                                                <a:lnTo>
                                                                                  <a:pt x="76" y="28"/>
                                                                                </a:lnTo>
                                                                                <a:lnTo>
                                                                                  <a:pt x="74" y="30"/>
                                                                                </a:lnTo>
                                                                                <a:lnTo>
                                                                                  <a:pt x="74" y="30"/>
                                                                                </a:lnTo>
                                                                                <a:lnTo>
                                                                                  <a:pt x="72" y="32"/>
                                                                                </a:lnTo>
                                                                                <a:lnTo>
                                                                                  <a:pt x="76" y="32"/>
                                                                                </a:lnTo>
                                                                                <a:lnTo>
                                                                                  <a:pt x="78" y="32"/>
                                                                                </a:lnTo>
                                                                                <a:lnTo>
                                                                                  <a:pt x="74" y="36"/>
                                                                                </a:lnTo>
                                                                                <a:lnTo>
                                                                                  <a:pt x="74" y="36"/>
                                                                                </a:lnTo>
                                                                                <a:lnTo>
                                                                                  <a:pt x="66" y="44"/>
                                                                                </a:lnTo>
                                                                                <a:lnTo>
                                                                                  <a:pt x="60" y="46"/>
                                                                                </a:lnTo>
                                                                                <a:lnTo>
                                                                                  <a:pt x="58" y="46"/>
                                                                                </a:lnTo>
                                                                                <a:lnTo>
                                                                                  <a:pt x="54" y="48"/>
                                                                                </a:lnTo>
                                                                                <a:lnTo>
                                                                                  <a:pt x="54" y="48"/>
                                                                                </a:lnTo>
                                                                                <a:lnTo>
                                                                                  <a:pt x="48" y="52"/>
                                                                                </a:lnTo>
                                                                                <a:lnTo>
                                                                                  <a:pt x="46" y="52"/>
                                                                                </a:lnTo>
                                                                                <a:lnTo>
                                                                                  <a:pt x="44" y="50"/>
                                                                                </a:lnTo>
                                                                                <a:lnTo>
                                                                                  <a:pt x="38" y="52"/>
                                                                                </a:lnTo>
                                                                                <a:lnTo>
                                                                                  <a:pt x="38" y="52"/>
                                                                                </a:lnTo>
                                                                                <a:lnTo>
                                                                                  <a:pt x="34" y="52"/>
                                                                                </a:lnTo>
                                                                                <a:lnTo>
                                                                                  <a:pt x="30" y="50"/>
                                                                                </a:lnTo>
                                                                                <a:lnTo>
                                                                                  <a:pt x="26" y="48"/>
                                                                                </a:lnTo>
                                                                                <a:lnTo>
                                                                                  <a:pt x="22" y="50"/>
                                                                                </a:lnTo>
                                                                                <a:lnTo>
                                                                                  <a:pt x="22" y="50"/>
                                                                                </a:lnTo>
                                                                                <a:lnTo>
                                                                                  <a:pt x="18" y="52"/>
                                                                                </a:lnTo>
                                                                                <a:lnTo>
                                                                                  <a:pt x="16" y="50"/>
                                                                                </a:lnTo>
                                                                                <a:lnTo>
                                                                                  <a:pt x="14" y="46"/>
                                                                                </a:lnTo>
                                                                                <a:lnTo>
                                                                                  <a:pt x="10" y="42"/>
                                                                                </a:lnTo>
                                                                                <a:lnTo>
                                                                                  <a:pt x="10" y="42"/>
                                                                                </a:lnTo>
                                                                                <a:close/>
                                                                              </a:path>
                                                                            </a:pathLst>
                                                                          </a:custGeom>
                                                                          <a:solidFill>
                                                                            <a:schemeClr val="accent3">
                                                                              <a:alpha val="99000"/>
                                                                            </a:schemeClr>
                                                                          </a:solid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9" name="Freeform 195"/>
                                                                          <p:cNvSpPr>
                                                                            <a:spLocks/>
                                                                          </p:cNvSpPr>
                                                                          <p:nvPr/>
                                                                        </p:nvSpPr>
                                                                        <p:spPr bwMode="auto">
                                                                          <a:xfrm>
                                                                            <a:off x="10276978" y="3781195"/>
                                                                            <a:ext cx="306802" cy="306518"/>
                                                                          </a:xfrm>
                                                                          <a:custGeom>
                                                                            <a:avLst/>
                                                                            <a:gdLst/>
                                                                            <a:ahLst/>
                                                                            <a:cxnLst>
                                                                              <a:cxn ang="0">
                                                                                <a:pos x="10" y="168"/>
                                                                              </a:cxn>
                                                                              <a:cxn ang="0">
                                                                                <a:pos x="22" y="162"/>
                                                                              </a:cxn>
                                                                              <a:cxn ang="0">
                                                                                <a:pos x="38" y="164"/>
                                                                              </a:cxn>
                                                                              <a:cxn ang="0">
                                                                                <a:pos x="50" y="154"/>
                                                                              </a:cxn>
                                                                              <a:cxn ang="0">
                                                                                <a:pos x="24" y="150"/>
                                                                              </a:cxn>
                                                                              <a:cxn ang="0">
                                                                                <a:pos x="16" y="140"/>
                                                                              </a:cxn>
                                                                              <a:cxn ang="0">
                                                                                <a:pos x="26" y="146"/>
                                                                              </a:cxn>
                                                                              <a:cxn ang="0">
                                                                                <a:pos x="40" y="148"/>
                                                                              </a:cxn>
                                                                              <a:cxn ang="0">
                                                                                <a:pos x="42" y="142"/>
                                                                              </a:cxn>
                                                                              <a:cxn ang="0">
                                                                                <a:pos x="56" y="142"/>
                                                                              </a:cxn>
                                                                              <a:cxn ang="0">
                                                                                <a:pos x="48" y="130"/>
                                                                              </a:cxn>
                                                                              <a:cxn ang="0">
                                                                                <a:pos x="54" y="134"/>
                                                                              </a:cxn>
                                                                              <a:cxn ang="0">
                                                                                <a:pos x="52" y="128"/>
                                                                              </a:cxn>
                                                                              <a:cxn ang="0">
                                                                                <a:pos x="66" y="126"/>
                                                                              </a:cxn>
                                                                              <a:cxn ang="0">
                                                                                <a:pos x="74" y="126"/>
                                                                              </a:cxn>
                                                                              <a:cxn ang="0">
                                                                                <a:pos x="82" y="128"/>
                                                                              </a:cxn>
                                                                              <a:cxn ang="0">
                                                                                <a:pos x="102" y="140"/>
                                                                              </a:cxn>
                                                                              <a:cxn ang="0">
                                                                                <a:pos x="110" y="156"/>
                                                                              </a:cxn>
                                                                              <a:cxn ang="0">
                                                                                <a:pos x="114" y="160"/>
                                                                              </a:cxn>
                                                                              <a:cxn ang="0">
                                                                                <a:pos x="116" y="162"/>
                                                                              </a:cxn>
                                                                              <a:cxn ang="0">
                                                                                <a:pos x="124" y="172"/>
                                                                              </a:cxn>
                                                                              <a:cxn ang="0">
                                                                                <a:pos x="128" y="176"/>
                                                                              </a:cxn>
                                                                              <a:cxn ang="0">
                                                                                <a:pos x="138" y="188"/>
                                                                              </a:cxn>
                                                                              <a:cxn ang="0">
                                                                                <a:pos x="164" y="192"/>
                                                                              </a:cxn>
                                                                              <a:cxn ang="0">
                                                                                <a:pos x="184" y="198"/>
                                                                              </a:cxn>
                                                                              <a:cxn ang="0">
                                                                                <a:pos x="194" y="198"/>
                                                                              </a:cxn>
                                                                              <a:cxn ang="0">
                                                                                <a:pos x="198" y="196"/>
                                                                              </a:cxn>
                                                                              <a:cxn ang="0">
                                                                                <a:pos x="194" y="192"/>
                                                                              </a:cxn>
                                                                              <a:cxn ang="0">
                                                                                <a:pos x="180" y="184"/>
                                                                              </a:cxn>
                                                                              <a:cxn ang="0">
                                                                                <a:pos x="186" y="178"/>
                                                                              </a:cxn>
                                                                              <a:cxn ang="0">
                                                                                <a:pos x="172" y="170"/>
                                                                              </a:cxn>
                                                                              <a:cxn ang="0">
                                                                                <a:pos x="170" y="160"/>
                                                                              </a:cxn>
                                                                              <a:cxn ang="0">
                                                                                <a:pos x="162" y="156"/>
                                                                              </a:cxn>
                                                                              <a:cxn ang="0">
                                                                                <a:pos x="160" y="150"/>
                                                                              </a:cxn>
                                                                              <a:cxn ang="0">
                                                                                <a:pos x="156" y="138"/>
                                                                              </a:cxn>
                                                                              <a:cxn ang="0">
                                                                                <a:pos x="150" y="134"/>
                                                                              </a:cxn>
                                                                              <a:cxn ang="0">
                                                                                <a:pos x="146" y="122"/>
                                                                              </a:cxn>
                                                                              <a:cxn ang="0">
                                                                                <a:pos x="142" y="116"/>
                                                                              </a:cxn>
                                                                              <a:cxn ang="0">
                                                                                <a:pos x="136" y="110"/>
                                                                              </a:cxn>
                                                                              <a:cxn ang="0">
                                                                                <a:pos x="136" y="98"/>
                                                                              </a:cxn>
                                                                              <a:cxn ang="0">
                                                                                <a:pos x="144" y="96"/>
                                                                              </a:cxn>
                                                                              <a:cxn ang="0">
                                                                                <a:pos x="152" y="96"/>
                                                                              </a:cxn>
                                                                              <a:cxn ang="0">
                                                                                <a:pos x="148" y="84"/>
                                                                              </a:cxn>
                                                                              <a:cxn ang="0">
                                                                                <a:pos x="118" y="70"/>
                                                                              </a:cxn>
                                                                              <a:cxn ang="0">
                                                                                <a:pos x="114" y="66"/>
                                                                              </a:cxn>
                                                                              <a:cxn ang="0">
                                                                                <a:pos x="106" y="64"/>
                                                                              </a:cxn>
                                                                              <a:cxn ang="0">
                                                                                <a:pos x="106" y="58"/>
                                                                              </a:cxn>
                                                                              <a:cxn ang="0">
                                                                                <a:pos x="104" y="48"/>
                                                                              </a:cxn>
                                                                              <a:cxn ang="0">
                                                                                <a:pos x="94" y="40"/>
                                                                              </a:cxn>
                                                                              <a:cxn ang="0">
                                                                                <a:pos x="90" y="36"/>
                                                                              </a:cxn>
                                                                              <a:cxn ang="0">
                                                                                <a:pos x="72" y="28"/>
                                                                              </a:cxn>
                                                                              <a:cxn ang="0">
                                                                                <a:pos x="50" y="16"/>
                                                                              </a:cxn>
                                                                              <a:cxn ang="0">
                                                                                <a:pos x="16" y="0"/>
                                                                              </a:cxn>
                                                                              <a:cxn ang="0">
                                                                                <a:pos x="0" y="164"/>
                                                                              </a:cxn>
                                                                            </a:cxnLst>
                                                                            <a:rect l="0" t="0" r="r" b="b"/>
                                                                            <a:pathLst>
                                                                              <a:path w="202" h="202">
                                                                                <a:moveTo>
                                                                                  <a:pt x="0" y="164"/>
                                                                                </a:moveTo>
                                                                                <a:lnTo>
                                                                                  <a:pt x="0" y="164"/>
                                                                                </a:lnTo>
                                                                                <a:lnTo>
                                                                                  <a:pt x="4" y="164"/>
                                                                                </a:lnTo>
                                                                                <a:lnTo>
                                                                                  <a:pt x="8" y="166"/>
                                                                                </a:lnTo>
                                                                                <a:lnTo>
                                                                                  <a:pt x="10" y="168"/>
                                                                                </a:lnTo>
                                                                                <a:lnTo>
                                                                                  <a:pt x="16" y="168"/>
                                                                                </a:lnTo>
                                                                                <a:lnTo>
                                                                                  <a:pt x="16" y="168"/>
                                                                                </a:lnTo>
                                                                                <a:lnTo>
                                                                                  <a:pt x="20" y="166"/>
                                                                                </a:lnTo>
                                                                                <a:lnTo>
                                                                                  <a:pt x="20" y="164"/>
                                                                                </a:lnTo>
                                                                                <a:lnTo>
                                                                                  <a:pt x="22" y="162"/>
                                                                                </a:lnTo>
                                                                                <a:lnTo>
                                                                                  <a:pt x="26" y="166"/>
                                                                                </a:lnTo>
                                                                                <a:lnTo>
                                                                                  <a:pt x="26" y="166"/>
                                                                                </a:lnTo>
                                                                                <a:lnTo>
                                                                                  <a:pt x="32" y="168"/>
                                                                                </a:lnTo>
                                                                                <a:lnTo>
                                                                                  <a:pt x="36" y="166"/>
                                                                                </a:lnTo>
                                                                                <a:lnTo>
                                                                                  <a:pt x="38" y="164"/>
                                                                                </a:lnTo>
                                                                                <a:lnTo>
                                                                                  <a:pt x="44" y="162"/>
                                                                                </a:lnTo>
                                                                                <a:lnTo>
                                                                                  <a:pt x="44" y="162"/>
                                                                                </a:lnTo>
                                                                                <a:lnTo>
                                                                                  <a:pt x="48" y="160"/>
                                                                                </a:lnTo>
                                                                                <a:lnTo>
                                                                                  <a:pt x="50" y="156"/>
                                                                                </a:lnTo>
                                                                                <a:lnTo>
                                                                                  <a:pt x="50" y="154"/>
                                                                                </a:lnTo>
                                                                                <a:lnTo>
                                                                                  <a:pt x="48" y="152"/>
                                                                                </a:lnTo>
                                                                                <a:lnTo>
                                                                                  <a:pt x="40" y="152"/>
                                                                                </a:lnTo>
                                                                                <a:lnTo>
                                                                                  <a:pt x="40" y="152"/>
                                                                                </a:lnTo>
                                                                                <a:lnTo>
                                                                                  <a:pt x="28" y="152"/>
                                                                                </a:lnTo>
                                                                                <a:lnTo>
                                                                                  <a:pt x="24" y="150"/>
                                                                                </a:lnTo>
                                                                                <a:lnTo>
                                                                                  <a:pt x="22" y="146"/>
                                                                                </a:lnTo>
                                                                                <a:lnTo>
                                                                                  <a:pt x="22" y="146"/>
                                                                                </a:lnTo>
                                                                                <a:lnTo>
                                                                                  <a:pt x="20" y="144"/>
                                                                                </a:lnTo>
                                                                                <a:lnTo>
                                                                                  <a:pt x="18" y="142"/>
                                                                                </a:lnTo>
                                                                                <a:lnTo>
                                                                                  <a:pt x="16" y="140"/>
                                                                                </a:lnTo>
                                                                                <a:lnTo>
                                                                                  <a:pt x="14" y="138"/>
                                                                                </a:lnTo>
                                                                                <a:lnTo>
                                                                                  <a:pt x="14" y="138"/>
                                                                                </a:lnTo>
                                                                                <a:lnTo>
                                                                                  <a:pt x="22" y="142"/>
                                                                                </a:lnTo>
                                                                                <a:lnTo>
                                                                                  <a:pt x="24" y="142"/>
                                                                                </a:lnTo>
                                                                                <a:lnTo>
                                                                                  <a:pt x="26" y="146"/>
                                                                                </a:lnTo>
                                                                                <a:lnTo>
                                                                                  <a:pt x="26" y="146"/>
                                                                                </a:lnTo>
                                                                                <a:lnTo>
                                                                                  <a:pt x="28" y="148"/>
                                                                                </a:lnTo>
                                                                                <a:lnTo>
                                                                                  <a:pt x="32" y="148"/>
                                                                                </a:lnTo>
                                                                                <a:lnTo>
                                                                                  <a:pt x="40" y="148"/>
                                                                                </a:lnTo>
                                                                                <a:lnTo>
                                                                                  <a:pt x="40" y="148"/>
                                                                                </a:lnTo>
                                                                                <a:lnTo>
                                                                                  <a:pt x="50" y="150"/>
                                                                                </a:lnTo>
                                                                                <a:lnTo>
                                                                                  <a:pt x="48" y="148"/>
                                                                                </a:lnTo>
                                                                                <a:lnTo>
                                                                                  <a:pt x="48" y="148"/>
                                                                                </a:lnTo>
                                                                                <a:lnTo>
                                                                                  <a:pt x="42" y="144"/>
                                                                                </a:lnTo>
                                                                                <a:lnTo>
                                                                                  <a:pt x="42" y="142"/>
                                                                                </a:lnTo>
                                                                                <a:lnTo>
                                                                                  <a:pt x="44" y="144"/>
                                                                                </a:lnTo>
                                                                                <a:lnTo>
                                                                                  <a:pt x="44" y="144"/>
                                                                                </a:lnTo>
                                                                                <a:lnTo>
                                                                                  <a:pt x="50" y="144"/>
                                                                                </a:lnTo>
                                                                                <a:lnTo>
                                                                                  <a:pt x="54" y="144"/>
                                                                                </a:lnTo>
                                                                                <a:lnTo>
                                                                                  <a:pt x="56" y="142"/>
                                                                                </a:lnTo>
                                                                                <a:lnTo>
                                                                                  <a:pt x="52" y="138"/>
                                                                                </a:lnTo>
                                                                                <a:lnTo>
                                                                                  <a:pt x="52" y="138"/>
                                                                                </a:lnTo>
                                                                                <a:lnTo>
                                                                                  <a:pt x="50" y="134"/>
                                                                                </a:lnTo>
                                                                                <a:lnTo>
                                                                                  <a:pt x="48" y="132"/>
                                                                                </a:lnTo>
                                                                                <a:lnTo>
                                                                                  <a:pt x="48" y="130"/>
                                                                                </a:lnTo>
                                                                                <a:lnTo>
                                                                                  <a:pt x="44" y="130"/>
                                                                                </a:lnTo>
                                                                                <a:lnTo>
                                                                                  <a:pt x="44" y="130"/>
                                                                                </a:lnTo>
                                                                                <a:lnTo>
                                                                                  <a:pt x="50" y="130"/>
                                                                                </a:lnTo>
                                                                                <a:lnTo>
                                                                                  <a:pt x="52" y="132"/>
                                                                                </a:lnTo>
                                                                                <a:lnTo>
                                                                                  <a:pt x="54" y="134"/>
                                                                                </a:lnTo>
                                                                                <a:lnTo>
                                                                                  <a:pt x="58" y="136"/>
                                                                                </a:lnTo>
                                                                                <a:lnTo>
                                                                                  <a:pt x="58" y="136"/>
                                                                                </a:lnTo>
                                                                                <a:lnTo>
                                                                                  <a:pt x="60" y="134"/>
                                                                                </a:lnTo>
                                                                                <a:lnTo>
                                                                                  <a:pt x="58" y="132"/>
                                                                                </a:lnTo>
                                                                                <a:lnTo>
                                                                                  <a:pt x="52" y="128"/>
                                                                                </a:lnTo>
                                                                                <a:lnTo>
                                                                                  <a:pt x="52" y="128"/>
                                                                                </a:lnTo>
                                                                                <a:lnTo>
                                                                                  <a:pt x="60" y="130"/>
                                                                                </a:lnTo>
                                                                                <a:lnTo>
                                                                                  <a:pt x="60" y="126"/>
                                                                                </a:lnTo>
                                                                                <a:lnTo>
                                                                                  <a:pt x="60" y="126"/>
                                                                                </a:lnTo>
                                                                                <a:lnTo>
                                                                                  <a:pt x="66" y="126"/>
                                                                                </a:lnTo>
                                                                                <a:lnTo>
                                                                                  <a:pt x="68" y="124"/>
                                                                                </a:lnTo>
                                                                                <a:lnTo>
                                                                                  <a:pt x="68" y="124"/>
                                                                                </a:lnTo>
                                                                                <a:lnTo>
                                                                                  <a:pt x="72" y="128"/>
                                                                                </a:lnTo>
                                                                                <a:lnTo>
                                                                                  <a:pt x="74" y="126"/>
                                                                                </a:lnTo>
                                                                                <a:lnTo>
                                                                                  <a:pt x="74" y="126"/>
                                                                                </a:lnTo>
                                                                                <a:lnTo>
                                                                                  <a:pt x="78" y="124"/>
                                                                                </a:lnTo>
                                                                                <a:lnTo>
                                                                                  <a:pt x="78" y="124"/>
                                                                                </a:lnTo>
                                                                                <a:lnTo>
                                                                                  <a:pt x="80" y="126"/>
                                                                                </a:lnTo>
                                                                                <a:lnTo>
                                                                                  <a:pt x="82" y="128"/>
                                                                                </a:lnTo>
                                                                                <a:lnTo>
                                                                                  <a:pt x="82" y="128"/>
                                                                                </a:lnTo>
                                                                                <a:lnTo>
                                                                                  <a:pt x="88" y="134"/>
                                                                                </a:lnTo>
                                                                                <a:lnTo>
                                                                                  <a:pt x="90" y="134"/>
                                                                                </a:lnTo>
                                                                                <a:lnTo>
                                                                                  <a:pt x="96" y="136"/>
                                                                                </a:lnTo>
                                                                                <a:lnTo>
                                                                                  <a:pt x="96" y="136"/>
                                                                                </a:lnTo>
                                                                                <a:lnTo>
                                                                                  <a:pt x="102" y="140"/>
                                                                                </a:lnTo>
                                                                                <a:lnTo>
                                                                                  <a:pt x="108" y="146"/>
                                                                                </a:lnTo>
                                                                                <a:lnTo>
                                                                                  <a:pt x="110" y="152"/>
                                                                                </a:lnTo>
                                                                                <a:lnTo>
                                                                                  <a:pt x="110" y="154"/>
                                                                                </a:lnTo>
                                                                                <a:lnTo>
                                                                                  <a:pt x="110" y="156"/>
                                                                                </a:lnTo>
                                                                                <a:lnTo>
                                                                                  <a:pt x="110" y="156"/>
                                                                                </a:lnTo>
                                                                                <a:lnTo>
                                                                                  <a:pt x="108" y="158"/>
                                                                                </a:lnTo>
                                                                                <a:lnTo>
                                                                                  <a:pt x="110" y="160"/>
                                                                                </a:lnTo>
                                                                                <a:lnTo>
                                                                                  <a:pt x="112" y="162"/>
                                                                                </a:lnTo>
                                                                                <a:lnTo>
                                                                                  <a:pt x="114" y="160"/>
                                                                                </a:lnTo>
                                                                                <a:lnTo>
                                                                                  <a:pt x="114" y="160"/>
                                                                                </a:lnTo>
                                                                                <a:lnTo>
                                                                                  <a:pt x="116" y="160"/>
                                                                                </a:lnTo>
                                                                                <a:lnTo>
                                                                                  <a:pt x="118" y="160"/>
                                                                                </a:lnTo>
                                                                                <a:lnTo>
                                                                                  <a:pt x="118" y="160"/>
                                                                                </a:lnTo>
                                                                                <a:lnTo>
                                                                                  <a:pt x="116" y="162"/>
                                                                                </a:lnTo>
                                                                                <a:lnTo>
                                                                                  <a:pt x="116" y="162"/>
                                                                                </a:lnTo>
                                                                                <a:lnTo>
                                                                                  <a:pt x="116" y="164"/>
                                                                                </a:lnTo>
                                                                                <a:lnTo>
                                                                                  <a:pt x="116" y="168"/>
                                                                                </a:lnTo>
                                                                                <a:lnTo>
                                                                                  <a:pt x="118" y="172"/>
                                                                                </a:lnTo>
                                                                                <a:lnTo>
                                                                                  <a:pt x="124" y="172"/>
                                                                                </a:lnTo>
                                                                                <a:lnTo>
                                                                                  <a:pt x="124" y="172"/>
                                                                                </a:lnTo>
                                                                                <a:lnTo>
                                                                                  <a:pt x="126" y="170"/>
                                                                                </a:lnTo>
                                                                                <a:lnTo>
                                                                                  <a:pt x="126" y="170"/>
                                                                                </a:lnTo>
                                                                                <a:lnTo>
                                                                                  <a:pt x="126" y="172"/>
                                                                                </a:lnTo>
                                                                                <a:lnTo>
                                                                                  <a:pt x="128" y="176"/>
                                                                                </a:lnTo>
                                                                                <a:lnTo>
                                                                                  <a:pt x="128" y="176"/>
                                                                                </a:lnTo>
                                                                                <a:lnTo>
                                                                                  <a:pt x="130" y="182"/>
                                                                                </a:lnTo>
                                                                                <a:lnTo>
                                                                                  <a:pt x="130" y="186"/>
                                                                                </a:lnTo>
                                                                                <a:lnTo>
                                                                                  <a:pt x="132" y="186"/>
                                                                                </a:lnTo>
                                                                                <a:lnTo>
                                                                                  <a:pt x="138" y="188"/>
                                                                                </a:lnTo>
                                                                                <a:lnTo>
                                                                                  <a:pt x="138" y="188"/>
                                                                                </a:lnTo>
                                                                                <a:lnTo>
                                                                                  <a:pt x="150" y="190"/>
                                                                                </a:lnTo>
                                                                                <a:lnTo>
                                                                                  <a:pt x="156" y="190"/>
                                                                                </a:lnTo>
                                                                                <a:lnTo>
                                                                                  <a:pt x="160" y="190"/>
                                                                                </a:lnTo>
                                                                                <a:lnTo>
                                                                                  <a:pt x="164" y="192"/>
                                                                                </a:lnTo>
                                                                                <a:lnTo>
                                                                                  <a:pt x="164" y="192"/>
                                                                                </a:lnTo>
                                                                                <a:lnTo>
                                                                                  <a:pt x="168" y="194"/>
                                                                                </a:lnTo>
                                                                                <a:lnTo>
                                                                                  <a:pt x="172" y="196"/>
                                                                                </a:lnTo>
                                                                                <a:lnTo>
                                                                                  <a:pt x="186" y="196"/>
                                                                                </a:lnTo>
                                                                                <a:lnTo>
                                                                                  <a:pt x="186" y="196"/>
                                                                                </a:lnTo>
                                                                                <a:lnTo>
                                                                                  <a:pt x="184" y="198"/>
                                                                                </a:lnTo>
                                                                                <a:lnTo>
                                                                                  <a:pt x="186" y="200"/>
                                                                                </a:lnTo>
                                                                                <a:lnTo>
                                                                                  <a:pt x="196" y="202"/>
                                                                                </a:lnTo>
                                                                                <a:lnTo>
                                                                                  <a:pt x="196" y="202"/>
                                                                                </a:lnTo>
                                                                                <a:lnTo>
                                                                                  <a:pt x="196" y="200"/>
                                                                                </a:lnTo>
                                                                                <a:lnTo>
                                                                                  <a:pt x="194" y="198"/>
                                                                                </a:lnTo>
                                                                                <a:lnTo>
                                                                                  <a:pt x="192" y="198"/>
                                                                                </a:lnTo>
                                                                                <a:lnTo>
                                                                                  <a:pt x="192" y="196"/>
                                                                                </a:lnTo>
                                                                                <a:lnTo>
                                                                                  <a:pt x="192" y="196"/>
                                                                                </a:lnTo>
                                                                                <a:lnTo>
                                                                                  <a:pt x="192" y="196"/>
                                                                                </a:lnTo>
                                                                                <a:lnTo>
                                                                                  <a:pt x="198" y="196"/>
                                                                                </a:lnTo>
                                                                                <a:lnTo>
                                                                                  <a:pt x="202" y="194"/>
                                                                                </a:lnTo>
                                                                                <a:lnTo>
                                                                                  <a:pt x="202" y="194"/>
                                                                                </a:lnTo>
                                                                                <a:lnTo>
                                                                                  <a:pt x="202" y="194"/>
                                                                                </a:lnTo>
                                                                                <a:lnTo>
                                                                                  <a:pt x="198" y="194"/>
                                                                                </a:lnTo>
                                                                                <a:lnTo>
                                                                                  <a:pt x="194" y="192"/>
                                                                                </a:lnTo>
                                                                                <a:lnTo>
                                                                                  <a:pt x="190" y="190"/>
                                                                                </a:lnTo>
                                                                                <a:lnTo>
                                                                                  <a:pt x="190" y="190"/>
                                                                                </a:lnTo>
                                                                                <a:lnTo>
                                                                                  <a:pt x="186" y="188"/>
                                                                                </a:lnTo>
                                                                                <a:lnTo>
                                                                                  <a:pt x="182" y="186"/>
                                                                                </a:lnTo>
                                                                                <a:lnTo>
                                                                                  <a:pt x="180" y="184"/>
                                                                                </a:lnTo>
                                                                                <a:lnTo>
                                                                                  <a:pt x="184" y="182"/>
                                                                                </a:lnTo>
                                                                                <a:lnTo>
                                                                                  <a:pt x="184" y="182"/>
                                                                                </a:lnTo>
                                                                                <a:lnTo>
                                                                                  <a:pt x="188" y="182"/>
                                                                                </a:lnTo>
                                                                                <a:lnTo>
                                                                                  <a:pt x="188" y="180"/>
                                                                                </a:lnTo>
                                                                                <a:lnTo>
                                                                                  <a:pt x="186" y="178"/>
                                                                                </a:lnTo>
                                                                                <a:lnTo>
                                                                                  <a:pt x="180" y="176"/>
                                                                                </a:lnTo>
                                                                                <a:lnTo>
                                                                                  <a:pt x="180" y="176"/>
                                                                                </a:lnTo>
                                                                                <a:lnTo>
                                                                                  <a:pt x="176" y="176"/>
                                                                                </a:lnTo>
                                                                                <a:lnTo>
                                                                                  <a:pt x="172" y="174"/>
                                                                                </a:lnTo>
                                                                                <a:lnTo>
                                                                                  <a:pt x="172" y="170"/>
                                                                                </a:lnTo>
                                                                                <a:lnTo>
                                                                                  <a:pt x="174" y="166"/>
                                                                                </a:lnTo>
                                                                                <a:lnTo>
                                                                                  <a:pt x="174" y="166"/>
                                                                                </a:lnTo>
                                                                                <a:lnTo>
                                                                                  <a:pt x="174" y="164"/>
                                                                                </a:lnTo>
                                                                                <a:lnTo>
                                                                                  <a:pt x="174" y="162"/>
                                                                                </a:lnTo>
                                                                                <a:lnTo>
                                                                                  <a:pt x="170" y="160"/>
                                                                                </a:lnTo>
                                                                                <a:lnTo>
                                                                                  <a:pt x="166" y="162"/>
                                                                                </a:lnTo>
                                                                                <a:lnTo>
                                                                                  <a:pt x="166" y="162"/>
                                                                                </a:lnTo>
                                                                                <a:lnTo>
                                                                                  <a:pt x="164" y="162"/>
                                                                                </a:lnTo>
                                                                                <a:lnTo>
                                                                                  <a:pt x="164" y="158"/>
                                                                                </a:lnTo>
                                                                                <a:lnTo>
                                                                                  <a:pt x="162" y="156"/>
                                                                                </a:lnTo>
                                                                                <a:lnTo>
                                                                                  <a:pt x="160" y="154"/>
                                                                                </a:lnTo>
                                                                                <a:lnTo>
                                                                                  <a:pt x="160" y="154"/>
                                                                                </a:lnTo>
                                                                                <a:lnTo>
                                                                                  <a:pt x="158" y="152"/>
                                                                                </a:lnTo>
                                                                                <a:lnTo>
                                                                                  <a:pt x="158" y="152"/>
                                                                                </a:lnTo>
                                                                                <a:lnTo>
                                                                                  <a:pt x="160" y="150"/>
                                                                                </a:lnTo>
                                                                                <a:lnTo>
                                                                                  <a:pt x="158" y="148"/>
                                                                                </a:lnTo>
                                                                                <a:lnTo>
                                                                                  <a:pt x="158" y="148"/>
                                                                                </a:lnTo>
                                                                                <a:lnTo>
                                                                                  <a:pt x="158" y="144"/>
                                                                                </a:lnTo>
                                                                                <a:lnTo>
                                                                                  <a:pt x="158" y="140"/>
                                                                                </a:lnTo>
                                                                                <a:lnTo>
                                                                                  <a:pt x="156" y="138"/>
                                                                                </a:lnTo>
                                                                                <a:lnTo>
                                                                                  <a:pt x="154" y="138"/>
                                                                                </a:lnTo>
                                                                                <a:lnTo>
                                                                                  <a:pt x="154" y="138"/>
                                                                                </a:lnTo>
                                                                                <a:lnTo>
                                                                                  <a:pt x="152" y="136"/>
                                                                                </a:lnTo>
                                                                                <a:lnTo>
                                                                                  <a:pt x="150" y="134"/>
                                                                                </a:lnTo>
                                                                                <a:lnTo>
                                                                                  <a:pt x="150" y="134"/>
                                                                                </a:lnTo>
                                                                                <a:lnTo>
                                                                                  <a:pt x="148" y="132"/>
                                                                                </a:lnTo>
                                                                                <a:lnTo>
                                                                                  <a:pt x="148" y="132"/>
                                                                                </a:lnTo>
                                                                                <a:lnTo>
                                                                                  <a:pt x="146" y="128"/>
                                                                                </a:lnTo>
                                                                                <a:lnTo>
                                                                                  <a:pt x="146" y="124"/>
                                                                                </a:lnTo>
                                                                                <a:lnTo>
                                                                                  <a:pt x="146" y="122"/>
                                                                                </a:lnTo>
                                                                                <a:lnTo>
                                                                                  <a:pt x="144" y="120"/>
                                                                                </a:lnTo>
                                                                                <a:lnTo>
                                                                                  <a:pt x="144" y="120"/>
                                                                                </a:lnTo>
                                                                                <a:lnTo>
                                                                                  <a:pt x="144" y="122"/>
                                                                                </a:lnTo>
                                                                                <a:lnTo>
                                                                                  <a:pt x="142" y="120"/>
                                                                                </a:lnTo>
                                                                                <a:lnTo>
                                                                                  <a:pt x="142" y="116"/>
                                                                                </a:lnTo>
                                                                                <a:lnTo>
                                                                                  <a:pt x="142" y="112"/>
                                                                                </a:lnTo>
                                                                                <a:lnTo>
                                                                                  <a:pt x="140" y="110"/>
                                                                                </a:lnTo>
                                                                                <a:lnTo>
                                                                                  <a:pt x="138" y="110"/>
                                                                                </a:lnTo>
                                                                                <a:lnTo>
                                                                                  <a:pt x="138" y="110"/>
                                                                                </a:lnTo>
                                                                                <a:lnTo>
                                                                                  <a:pt x="136" y="110"/>
                                                                                </a:lnTo>
                                                                                <a:lnTo>
                                                                                  <a:pt x="136" y="106"/>
                                                                                </a:lnTo>
                                                                                <a:lnTo>
                                                                                  <a:pt x="136" y="102"/>
                                                                                </a:lnTo>
                                                                                <a:lnTo>
                                                                                  <a:pt x="136" y="98"/>
                                                                                </a:lnTo>
                                                                                <a:lnTo>
                                                                                  <a:pt x="136" y="98"/>
                                                                                </a:lnTo>
                                                                                <a:lnTo>
                                                                                  <a:pt x="136" y="98"/>
                                                                                </a:lnTo>
                                                                                <a:lnTo>
                                                                                  <a:pt x="136" y="98"/>
                                                                                </a:lnTo>
                                                                                <a:lnTo>
                                                                                  <a:pt x="140" y="98"/>
                                                                                </a:lnTo>
                                                                                <a:lnTo>
                                                                                  <a:pt x="144" y="98"/>
                                                                                </a:lnTo>
                                                                                <a:lnTo>
                                                                                  <a:pt x="144" y="98"/>
                                                                                </a:lnTo>
                                                                                <a:lnTo>
                                                                                  <a:pt x="144" y="96"/>
                                                                                </a:lnTo>
                                                                                <a:lnTo>
                                                                                  <a:pt x="144" y="96"/>
                                                                                </a:lnTo>
                                                                                <a:lnTo>
                                                                                  <a:pt x="144" y="96"/>
                                                                                </a:lnTo>
                                                                                <a:lnTo>
                                                                                  <a:pt x="146" y="96"/>
                                                                                </a:lnTo>
                                                                                <a:lnTo>
                                                                                  <a:pt x="148" y="98"/>
                                                                                </a:lnTo>
                                                                                <a:lnTo>
                                                                                  <a:pt x="152" y="96"/>
                                                                                </a:lnTo>
                                                                                <a:lnTo>
                                                                                  <a:pt x="152" y="94"/>
                                                                                </a:lnTo>
                                                                                <a:lnTo>
                                                                                  <a:pt x="152" y="90"/>
                                                                                </a:lnTo>
                                                                                <a:lnTo>
                                                                                  <a:pt x="152" y="90"/>
                                                                                </a:lnTo>
                                                                                <a:lnTo>
                                                                                  <a:pt x="150" y="86"/>
                                                                                </a:lnTo>
                                                                                <a:lnTo>
                                                                                  <a:pt x="148" y="84"/>
                                                                                </a:lnTo>
                                                                                <a:lnTo>
                                                                                  <a:pt x="138" y="80"/>
                                                                                </a:lnTo>
                                                                                <a:lnTo>
                                                                                  <a:pt x="130" y="76"/>
                                                                                </a:lnTo>
                                                                                <a:lnTo>
                                                                                  <a:pt x="122" y="72"/>
                                                                                </a:lnTo>
                                                                                <a:lnTo>
                                                                                  <a:pt x="122" y="72"/>
                                                                                </a:lnTo>
                                                                                <a:lnTo>
                                                                                  <a:pt x="118" y="70"/>
                                                                                </a:lnTo>
                                                                                <a:lnTo>
                                                                                  <a:pt x="116" y="70"/>
                                                                                </a:lnTo>
                                                                                <a:lnTo>
                                                                                  <a:pt x="114" y="70"/>
                                                                                </a:lnTo>
                                                                                <a:lnTo>
                                                                                  <a:pt x="114" y="68"/>
                                                                                </a:lnTo>
                                                                                <a:lnTo>
                                                                                  <a:pt x="114" y="68"/>
                                                                                </a:lnTo>
                                                                                <a:lnTo>
                                                                                  <a:pt x="114" y="66"/>
                                                                                </a:lnTo>
                                                                                <a:lnTo>
                                                                                  <a:pt x="112" y="66"/>
                                                                                </a:lnTo>
                                                                                <a:lnTo>
                                                                                  <a:pt x="110" y="66"/>
                                                                                </a:lnTo>
                                                                                <a:lnTo>
                                                                                  <a:pt x="108" y="66"/>
                                                                                </a:lnTo>
                                                                                <a:lnTo>
                                                                                  <a:pt x="108" y="66"/>
                                                                                </a:lnTo>
                                                                                <a:lnTo>
                                                                                  <a:pt x="106" y="64"/>
                                                                                </a:lnTo>
                                                                                <a:lnTo>
                                                                                  <a:pt x="104" y="64"/>
                                                                                </a:lnTo>
                                                                                <a:lnTo>
                                                                                  <a:pt x="102" y="64"/>
                                                                                </a:lnTo>
                                                                                <a:lnTo>
                                                                                  <a:pt x="104" y="60"/>
                                                                                </a:lnTo>
                                                                                <a:lnTo>
                                                                                  <a:pt x="104" y="60"/>
                                                                                </a:lnTo>
                                                                                <a:lnTo>
                                                                                  <a:pt x="106" y="58"/>
                                                                                </a:lnTo>
                                                                                <a:lnTo>
                                                                                  <a:pt x="106" y="56"/>
                                                                                </a:lnTo>
                                                                                <a:lnTo>
                                                                                  <a:pt x="106" y="54"/>
                                                                                </a:lnTo>
                                                                                <a:lnTo>
                                                                                  <a:pt x="104" y="50"/>
                                                                                </a:lnTo>
                                                                                <a:lnTo>
                                                                                  <a:pt x="104" y="50"/>
                                                                                </a:lnTo>
                                                                                <a:lnTo>
                                                                                  <a:pt x="104" y="48"/>
                                                                                </a:lnTo>
                                                                                <a:lnTo>
                                                                                  <a:pt x="102" y="48"/>
                                                                                </a:lnTo>
                                                                                <a:lnTo>
                                                                                  <a:pt x="100" y="46"/>
                                                                                </a:lnTo>
                                                                                <a:lnTo>
                                                                                  <a:pt x="96" y="44"/>
                                                                                </a:lnTo>
                                                                                <a:lnTo>
                                                                                  <a:pt x="96" y="44"/>
                                                                                </a:lnTo>
                                                                                <a:lnTo>
                                                                                  <a:pt x="94" y="40"/>
                                                                                </a:lnTo>
                                                                                <a:lnTo>
                                                                                  <a:pt x="92" y="40"/>
                                                                                </a:lnTo>
                                                                                <a:lnTo>
                                                                                  <a:pt x="92" y="40"/>
                                                                                </a:lnTo>
                                                                                <a:lnTo>
                                                                                  <a:pt x="90" y="38"/>
                                                                                </a:lnTo>
                                                                                <a:lnTo>
                                                                                  <a:pt x="90" y="38"/>
                                                                                </a:lnTo>
                                                                                <a:lnTo>
                                                                                  <a:pt x="90" y="36"/>
                                                                                </a:lnTo>
                                                                                <a:lnTo>
                                                                                  <a:pt x="88" y="34"/>
                                                                                </a:lnTo>
                                                                                <a:lnTo>
                                                                                  <a:pt x="84" y="34"/>
                                                                                </a:lnTo>
                                                                                <a:lnTo>
                                                                                  <a:pt x="78" y="32"/>
                                                                                </a:lnTo>
                                                                                <a:lnTo>
                                                                                  <a:pt x="76" y="32"/>
                                                                                </a:lnTo>
                                                                                <a:lnTo>
                                                                                  <a:pt x="72" y="28"/>
                                                                                </a:lnTo>
                                                                                <a:lnTo>
                                                                                  <a:pt x="72" y="28"/>
                                                                                </a:lnTo>
                                                                                <a:lnTo>
                                                                                  <a:pt x="68" y="22"/>
                                                                                </a:lnTo>
                                                                                <a:lnTo>
                                                                                  <a:pt x="64" y="20"/>
                                                                                </a:lnTo>
                                                                                <a:lnTo>
                                                                                  <a:pt x="56" y="16"/>
                                                                                </a:lnTo>
                                                                                <a:lnTo>
                                                                                  <a:pt x="50" y="16"/>
                                                                                </a:lnTo>
                                                                                <a:lnTo>
                                                                                  <a:pt x="46" y="14"/>
                                                                                </a:lnTo>
                                                                                <a:lnTo>
                                                                                  <a:pt x="46" y="14"/>
                                                                                </a:lnTo>
                                                                                <a:lnTo>
                                                                                  <a:pt x="40" y="10"/>
                                                                                </a:lnTo>
                                                                                <a:lnTo>
                                                                                  <a:pt x="32" y="6"/>
                                                                                </a:lnTo>
                                                                                <a:lnTo>
                                                                                  <a:pt x="16" y="0"/>
                                                                                </a:lnTo>
                                                                                <a:lnTo>
                                                                                  <a:pt x="16" y="0"/>
                                                                                </a:lnTo>
                                                                                <a:lnTo>
                                                                                  <a:pt x="12" y="52"/>
                                                                                </a:lnTo>
                                                                                <a:lnTo>
                                                                                  <a:pt x="8" y="98"/>
                                                                                </a:lnTo>
                                                                                <a:lnTo>
                                                                                  <a:pt x="0" y="164"/>
                                                                                </a:lnTo>
                                                                                <a:lnTo>
                                                                                  <a:pt x="0" y="164"/>
                                                                                </a:lnTo>
                                                                                <a:close/>
                                                                              </a:path>
                                                                            </a:pathLst>
                                                                          </a:custGeom>
                                                                          <a:solidFill>
                                                                            <a:schemeClr val="accent3">
                                                                              <a:alpha val="99000"/>
                                                                            </a:schemeClr>
                                                                          </a:solid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31" name="Saudi Arabia"/>
                                                                        <p:cNvSpPr>
                                                                          <a:spLocks/>
                                                                        </p:cNvSpPr>
                                                                        <p:nvPr/>
                                                                      </p:nvSpPr>
                                                                      <p:spPr bwMode="auto">
                                                                        <a:xfrm>
                                                                          <a:off x="6853123" y="2461486"/>
                                                                          <a:ext cx="674356" cy="625176"/>
                                                                        </a:xfrm>
                                                                        <a:custGeom>
                                                                          <a:avLst/>
                                                                          <a:gdLst/>
                                                                          <a:ahLst/>
                                                                          <a:cxnLst>
                                                                            <a:cxn ang="0">
                                                                              <a:pos x="354" y="182"/>
                                                                            </a:cxn>
                                                                            <a:cxn ang="0">
                                                                              <a:pos x="352" y="180"/>
                                                                            </a:cxn>
                                                                            <a:cxn ang="0">
                                                                              <a:pos x="336" y="170"/>
                                                                            </a:cxn>
                                                                            <a:cxn ang="0">
                                                                              <a:pos x="326" y="156"/>
                                                                            </a:cxn>
                                                                            <a:cxn ang="0">
                                                                              <a:pos x="320" y="140"/>
                                                                            </a:cxn>
                                                                            <a:cxn ang="0">
                                                                              <a:pos x="316" y="130"/>
                                                                            </a:cxn>
                                                                            <a:cxn ang="0">
                                                                              <a:pos x="310" y="124"/>
                                                                            </a:cxn>
                                                                            <a:cxn ang="0">
                                                                              <a:pos x="296" y="114"/>
                                                                            </a:cxn>
                                                                            <a:cxn ang="0">
                                                                              <a:pos x="296" y="110"/>
                                                                            </a:cxn>
                                                                            <a:cxn ang="0">
                                                                              <a:pos x="288" y="104"/>
                                                                            </a:cxn>
                                                                            <a:cxn ang="0">
                                                                              <a:pos x="266" y="70"/>
                                                                            </a:cxn>
                                                                            <a:cxn ang="0">
                                                                              <a:pos x="252" y="72"/>
                                                                            </a:cxn>
                                                                            <a:cxn ang="0">
                                                                              <a:pos x="246" y="64"/>
                                                                            </a:cxn>
                                                                            <a:cxn ang="0">
                                                                              <a:pos x="210" y="62"/>
                                                                            </a:cxn>
                                                                            <a:cxn ang="0">
                                                                              <a:pos x="170" y="46"/>
                                                                            </a:cxn>
                                                                            <a:cxn ang="0">
                                                                              <a:pos x="134" y="18"/>
                                                                            </a:cxn>
                                                                            <a:cxn ang="0">
                                                                              <a:pos x="74" y="0"/>
                                                                            </a:cxn>
                                                                            <a:cxn ang="0">
                                                                              <a:pos x="34" y="10"/>
                                                                            </a:cxn>
                                                                            <a:cxn ang="0">
                                                                              <a:pos x="48" y="48"/>
                                                                            </a:cxn>
                                                                            <a:cxn ang="0">
                                                                              <a:pos x="34" y="54"/>
                                                                            </a:cxn>
                                                                            <a:cxn ang="0">
                                                                              <a:pos x="22" y="70"/>
                                                                            </a:cxn>
                                                                            <a:cxn ang="0">
                                                                              <a:pos x="16" y="70"/>
                                                                            </a:cxn>
                                                                            <a:cxn ang="0">
                                                                              <a:pos x="0" y="58"/>
                                                                            </a:cxn>
                                                                            <a:cxn ang="0">
                                                                              <a:pos x="2" y="68"/>
                                                                            </a:cxn>
                                                                            <a:cxn ang="0">
                                                                              <a:pos x="4" y="80"/>
                                                                            </a:cxn>
                                                                            <a:cxn ang="0">
                                                                              <a:pos x="4" y="90"/>
                                                                            </a:cxn>
                                                                            <a:cxn ang="0">
                                                                              <a:pos x="10" y="98"/>
                                                                            </a:cxn>
                                                                            <a:cxn ang="0">
                                                                              <a:pos x="24" y="116"/>
                                                                            </a:cxn>
                                                                            <a:cxn ang="0">
                                                                              <a:pos x="24" y="122"/>
                                                                            </a:cxn>
                                                                            <a:cxn ang="0">
                                                                              <a:pos x="50" y="160"/>
                                                                            </a:cxn>
                                                                            <a:cxn ang="0">
                                                                              <a:pos x="60" y="186"/>
                                                                            </a:cxn>
                                                                            <a:cxn ang="0">
                                                                              <a:pos x="76" y="194"/>
                                                                            </a:cxn>
                                                                            <a:cxn ang="0">
                                                                              <a:pos x="86" y="204"/>
                                                                            </a:cxn>
                                                                            <a:cxn ang="0">
                                                                              <a:pos x="90" y="220"/>
                                                                            </a:cxn>
                                                                            <a:cxn ang="0">
                                                                              <a:pos x="110" y="260"/>
                                                                            </a:cxn>
                                                                            <a:cxn ang="0">
                                                                              <a:pos x="104" y="266"/>
                                                                            </a:cxn>
                                                                            <a:cxn ang="0">
                                                                              <a:pos x="108" y="278"/>
                                                                            </a:cxn>
                                                                            <a:cxn ang="0">
                                                                              <a:pos x="132" y="298"/>
                                                                            </a:cxn>
                                                                            <a:cxn ang="0">
                                                                              <a:pos x="150" y="328"/>
                                                                            </a:cxn>
                                                                            <a:cxn ang="0">
                                                                              <a:pos x="172" y="352"/>
                                                                            </a:cxn>
                                                                            <a:cxn ang="0">
                                                                              <a:pos x="186" y="382"/>
                                                                            </a:cxn>
                                                                            <a:cxn ang="0">
                                                                              <a:pos x="192" y="390"/>
                                                                            </a:cxn>
                                                                            <a:cxn ang="0">
                                                                              <a:pos x="192" y="394"/>
                                                                            </a:cxn>
                                                                            <a:cxn ang="0">
                                                                              <a:pos x="204" y="386"/>
                                                                            </a:cxn>
                                                                            <a:cxn ang="0">
                                                                              <a:pos x="210" y="380"/>
                                                                            </a:cxn>
                                                                            <a:cxn ang="0">
                                                                              <a:pos x="226" y="378"/>
                                                                            </a:cxn>
                                                                            <a:cxn ang="0">
                                                                              <a:pos x="258" y="388"/>
                                                                            </a:cxn>
                                                                            <a:cxn ang="0">
                                                                              <a:pos x="270" y="396"/>
                                                                            </a:cxn>
                                                                            <a:cxn ang="0">
                                                                              <a:pos x="286" y="396"/>
                                                                            </a:cxn>
                                                                            <a:cxn ang="0">
                                                                              <a:pos x="374" y="332"/>
                                                                            </a:cxn>
                                                                            <a:cxn ang="0">
                                                                              <a:pos x="430" y="242"/>
                                                                            </a:cxn>
                                                                            <a:cxn ang="0">
                                                                              <a:pos x="366" y="224"/>
                                                                            </a:cxn>
                                                                            <a:cxn ang="0">
                                                                              <a:pos x="356" y="200"/>
                                                                            </a:cxn>
                                                                            <a:cxn ang="0">
                                                                              <a:pos x="354" y="184"/>
                                                                            </a:cxn>
                                                                          </a:cxnLst>
                                                                          <a:rect l="0" t="0" r="r" b="b"/>
                                                                          <a:pathLst>
                                                                            <a:path w="444" h="412">
                                                                              <a:moveTo>
                                                                                <a:pt x="354" y="184"/>
                                                                              </a:moveTo>
                                                                              <a:lnTo>
                                                                                <a:pt x="354" y="184"/>
                                                                              </a:lnTo>
                                                                              <a:lnTo>
                                                                                <a:pt x="352" y="184"/>
                                                                              </a:lnTo>
                                                                              <a:lnTo>
                                                                                <a:pt x="354" y="182"/>
                                                                              </a:lnTo>
                                                                              <a:lnTo>
                                                                                <a:pt x="354" y="182"/>
                                                                              </a:lnTo>
                                                                              <a:lnTo>
                                                                                <a:pt x="354" y="180"/>
                                                                              </a:lnTo>
                                                                              <a:lnTo>
                                                                                <a:pt x="352" y="180"/>
                                                                              </a:lnTo>
                                                                              <a:lnTo>
                                                                                <a:pt x="352" y="180"/>
                                                                              </a:lnTo>
                                                                              <a:lnTo>
                                                                                <a:pt x="352" y="178"/>
                                                                              </a:lnTo>
                                                                              <a:lnTo>
                                                                                <a:pt x="352" y="178"/>
                                                                              </a:lnTo>
                                                                              <a:lnTo>
                                                                                <a:pt x="344" y="176"/>
                                                                              </a:lnTo>
                                                                              <a:lnTo>
                                                                                <a:pt x="336" y="170"/>
                                                                              </a:lnTo>
                                                                              <a:lnTo>
                                                                                <a:pt x="336" y="170"/>
                                                                              </a:lnTo>
                                                                              <a:lnTo>
                                                                                <a:pt x="330" y="164"/>
                                                                              </a:lnTo>
                                                                              <a:lnTo>
                                                                                <a:pt x="326" y="156"/>
                                                                              </a:lnTo>
                                                                              <a:lnTo>
                                                                                <a:pt x="326" y="156"/>
                                                                              </a:lnTo>
                                                                              <a:lnTo>
                                                                                <a:pt x="322" y="148"/>
                                                                              </a:lnTo>
                                                                              <a:lnTo>
                                                                                <a:pt x="320" y="144"/>
                                                                              </a:lnTo>
                                                                              <a:lnTo>
                                                                                <a:pt x="320" y="140"/>
                                                                              </a:lnTo>
                                                                              <a:lnTo>
                                                                                <a:pt x="320" y="140"/>
                                                                              </a:lnTo>
                                                                              <a:lnTo>
                                                                                <a:pt x="320" y="134"/>
                                                                              </a:lnTo>
                                                                              <a:lnTo>
                                                                                <a:pt x="318" y="132"/>
                                                                              </a:lnTo>
                                                                              <a:lnTo>
                                                                                <a:pt x="316" y="132"/>
                                                                              </a:lnTo>
                                                                              <a:lnTo>
                                                                                <a:pt x="316" y="130"/>
                                                                              </a:lnTo>
                                                                              <a:lnTo>
                                                                                <a:pt x="316" y="130"/>
                                                                              </a:lnTo>
                                                                              <a:lnTo>
                                                                                <a:pt x="314" y="126"/>
                                                                              </a:lnTo>
                                                                              <a:lnTo>
                                                                                <a:pt x="312" y="126"/>
                                                                              </a:lnTo>
                                                                              <a:lnTo>
                                                                                <a:pt x="310" y="124"/>
                                                                              </a:lnTo>
                                                                              <a:lnTo>
                                                                                <a:pt x="304" y="120"/>
                                                                              </a:lnTo>
                                                                              <a:lnTo>
                                                                                <a:pt x="304" y="120"/>
                                                                              </a:lnTo>
                                                                              <a:lnTo>
                                                                                <a:pt x="298" y="114"/>
                                                                              </a:lnTo>
                                                                              <a:lnTo>
                                                                                <a:pt x="296" y="114"/>
                                                                              </a:lnTo>
                                                                              <a:lnTo>
                                                                                <a:pt x="298" y="112"/>
                                                                              </a:lnTo>
                                                                              <a:lnTo>
                                                                                <a:pt x="298" y="112"/>
                                                                              </a:lnTo>
                                                                              <a:lnTo>
                                                                                <a:pt x="298" y="110"/>
                                                                              </a:lnTo>
                                                                              <a:lnTo>
                                                                                <a:pt x="296" y="110"/>
                                                                              </a:lnTo>
                                                                              <a:lnTo>
                                                                                <a:pt x="292" y="110"/>
                                                                              </a:lnTo>
                                                                              <a:lnTo>
                                                                                <a:pt x="288" y="112"/>
                                                                              </a:lnTo>
                                                                              <a:lnTo>
                                                                                <a:pt x="288" y="112"/>
                                                                              </a:lnTo>
                                                                              <a:lnTo>
                                                                                <a:pt x="288" y="104"/>
                                                                              </a:lnTo>
                                                                              <a:lnTo>
                                                                                <a:pt x="280" y="88"/>
                                                                              </a:lnTo>
                                                                              <a:lnTo>
                                                                                <a:pt x="280" y="88"/>
                                                                              </a:lnTo>
                                                                              <a:lnTo>
                                                                                <a:pt x="270" y="72"/>
                                                                              </a:lnTo>
                                                                              <a:lnTo>
                                                                                <a:pt x="266" y="70"/>
                                                                              </a:lnTo>
                                                                              <a:lnTo>
                                                                                <a:pt x="264" y="72"/>
                                                                              </a:lnTo>
                                                                              <a:lnTo>
                                                                                <a:pt x="264" y="72"/>
                                                                              </a:lnTo>
                                                                              <a:lnTo>
                                                                                <a:pt x="256" y="72"/>
                                                                              </a:lnTo>
                                                                              <a:lnTo>
                                                                                <a:pt x="252" y="72"/>
                                                                              </a:lnTo>
                                                                              <a:lnTo>
                                                                                <a:pt x="250" y="70"/>
                                                                              </a:lnTo>
                                                                              <a:lnTo>
                                                                                <a:pt x="250" y="68"/>
                                                                              </a:lnTo>
                                                                              <a:lnTo>
                                                                                <a:pt x="248" y="66"/>
                                                                              </a:lnTo>
                                                                              <a:lnTo>
                                                                                <a:pt x="246" y="64"/>
                                                                              </a:lnTo>
                                                                              <a:lnTo>
                                                                                <a:pt x="242" y="62"/>
                                                                              </a:lnTo>
                                                                              <a:lnTo>
                                                                                <a:pt x="234" y="62"/>
                                                                              </a:lnTo>
                                                                              <a:lnTo>
                                                                                <a:pt x="234" y="62"/>
                                                                              </a:lnTo>
                                                                              <a:lnTo>
                                                                                <a:pt x="210" y="62"/>
                                                                              </a:lnTo>
                                                                              <a:lnTo>
                                                                                <a:pt x="194" y="60"/>
                                                                              </a:lnTo>
                                                                              <a:lnTo>
                                                                                <a:pt x="182" y="56"/>
                                                                              </a:lnTo>
                                                                              <a:lnTo>
                                                                                <a:pt x="170" y="46"/>
                                                                              </a:lnTo>
                                                                              <a:lnTo>
                                                                                <a:pt x="170" y="46"/>
                                                                              </a:lnTo>
                                                                              <a:lnTo>
                                                                                <a:pt x="156" y="34"/>
                                                                              </a:lnTo>
                                                                              <a:lnTo>
                                                                                <a:pt x="150" y="26"/>
                                                                              </a:lnTo>
                                                                              <a:lnTo>
                                                                                <a:pt x="146" y="22"/>
                                                                              </a:lnTo>
                                                                              <a:lnTo>
                                                                                <a:pt x="134" y="18"/>
                                                                              </a:lnTo>
                                                                              <a:lnTo>
                                                                                <a:pt x="134" y="18"/>
                                                                              </a:lnTo>
                                                                              <a:lnTo>
                                                                                <a:pt x="108" y="4"/>
                                                                              </a:lnTo>
                                                                              <a:lnTo>
                                                                                <a:pt x="96" y="2"/>
                                                                              </a:lnTo>
                                                                              <a:lnTo>
                                                                                <a:pt x="74" y="0"/>
                                                                              </a:lnTo>
                                                                              <a:lnTo>
                                                                                <a:pt x="74" y="0"/>
                                                                              </a:lnTo>
                                                                              <a:lnTo>
                                                                                <a:pt x="70" y="4"/>
                                                                              </a:lnTo>
                                                                              <a:lnTo>
                                                                                <a:pt x="64" y="6"/>
                                                                              </a:lnTo>
                                                                              <a:lnTo>
                                                                                <a:pt x="34" y="10"/>
                                                                              </a:lnTo>
                                                                              <a:lnTo>
                                                                                <a:pt x="58" y="38"/>
                                                                              </a:lnTo>
                                                                              <a:lnTo>
                                                                                <a:pt x="58" y="38"/>
                                                                              </a:lnTo>
                                                                              <a:lnTo>
                                                                                <a:pt x="50" y="42"/>
                                                                              </a:lnTo>
                                                                              <a:lnTo>
                                                                                <a:pt x="48" y="48"/>
                                                                              </a:lnTo>
                                                                              <a:lnTo>
                                                                                <a:pt x="44" y="50"/>
                                                                              </a:lnTo>
                                                                              <a:lnTo>
                                                                                <a:pt x="38" y="52"/>
                                                                              </a:lnTo>
                                                                              <a:lnTo>
                                                                                <a:pt x="38" y="52"/>
                                                                              </a:lnTo>
                                                                              <a:lnTo>
                                                                                <a:pt x="34" y="54"/>
                                                                              </a:lnTo>
                                                                              <a:lnTo>
                                                                                <a:pt x="30" y="56"/>
                                                                              </a:lnTo>
                                                                              <a:lnTo>
                                                                                <a:pt x="26" y="62"/>
                                                                              </a:lnTo>
                                                                              <a:lnTo>
                                                                                <a:pt x="24" y="68"/>
                                                                              </a:lnTo>
                                                                              <a:lnTo>
                                                                                <a:pt x="22" y="70"/>
                                                                              </a:lnTo>
                                                                              <a:lnTo>
                                                                                <a:pt x="20" y="72"/>
                                                                              </a:lnTo>
                                                                              <a:lnTo>
                                                                                <a:pt x="20" y="72"/>
                                                                              </a:lnTo>
                                                                              <a:lnTo>
                                                                                <a:pt x="18" y="72"/>
                                                                              </a:lnTo>
                                                                              <a:lnTo>
                                                                                <a:pt x="16" y="70"/>
                                                                              </a:lnTo>
                                                                              <a:lnTo>
                                                                                <a:pt x="10" y="64"/>
                                                                              </a:lnTo>
                                                                              <a:lnTo>
                                                                                <a:pt x="6" y="60"/>
                                                                              </a:lnTo>
                                                                              <a:lnTo>
                                                                                <a:pt x="2" y="58"/>
                                                                              </a:lnTo>
                                                                              <a:lnTo>
                                                                                <a:pt x="0" y="58"/>
                                                                              </a:lnTo>
                                                                              <a:lnTo>
                                                                                <a:pt x="0" y="58"/>
                                                                              </a:lnTo>
                                                                              <a:lnTo>
                                                                                <a:pt x="2" y="62"/>
                                                                              </a:lnTo>
                                                                              <a:lnTo>
                                                                                <a:pt x="4" y="64"/>
                                                                              </a:lnTo>
                                                                              <a:lnTo>
                                                                                <a:pt x="2" y="68"/>
                                                                              </a:lnTo>
                                                                              <a:lnTo>
                                                                                <a:pt x="2" y="68"/>
                                                                              </a:lnTo>
                                                                              <a:lnTo>
                                                                                <a:pt x="0" y="72"/>
                                                                              </a:lnTo>
                                                                              <a:lnTo>
                                                                                <a:pt x="2" y="76"/>
                                                                              </a:lnTo>
                                                                              <a:lnTo>
                                                                                <a:pt x="4" y="80"/>
                                                                              </a:lnTo>
                                                                              <a:lnTo>
                                                                                <a:pt x="2" y="86"/>
                                                                              </a:lnTo>
                                                                              <a:lnTo>
                                                                                <a:pt x="2" y="86"/>
                                                                              </a:lnTo>
                                                                              <a:lnTo>
                                                                                <a:pt x="2" y="90"/>
                                                                              </a:lnTo>
                                                                              <a:lnTo>
                                                                                <a:pt x="4" y="90"/>
                                                                              </a:lnTo>
                                                                              <a:lnTo>
                                                                                <a:pt x="8" y="92"/>
                                                                              </a:lnTo>
                                                                              <a:lnTo>
                                                                                <a:pt x="10" y="94"/>
                                                                              </a:lnTo>
                                                                              <a:lnTo>
                                                                                <a:pt x="10" y="98"/>
                                                                              </a:lnTo>
                                                                              <a:lnTo>
                                                                                <a:pt x="10" y="98"/>
                                                                              </a:lnTo>
                                                                              <a:lnTo>
                                                                                <a:pt x="14" y="106"/>
                                                                              </a:lnTo>
                                                                              <a:lnTo>
                                                                                <a:pt x="20" y="112"/>
                                                                              </a:lnTo>
                                                                              <a:lnTo>
                                                                                <a:pt x="24" y="114"/>
                                                                              </a:lnTo>
                                                                              <a:lnTo>
                                                                                <a:pt x="24" y="116"/>
                                                                              </a:lnTo>
                                                                              <a:lnTo>
                                                                                <a:pt x="24" y="118"/>
                                                                              </a:lnTo>
                                                                              <a:lnTo>
                                                                                <a:pt x="24" y="118"/>
                                                                              </a:lnTo>
                                                                              <a:lnTo>
                                                                                <a:pt x="24" y="120"/>
                                                                              </a:lnTo>
                                                                              <a:lnTo>
                                                                                <a:pt x="24" y="122"/>
                                                                              </a:lnTo>
                                                                              <a:lnTo>
                                                                                <a:pt x="28" y="128"/>
                                                                              </a:lnTo>
                                                                              <a:lnTo>
                                                                                <a:pt x="38" y="140"/>
                                                                              </a:lnTo>
                                                                              <a:lnTo>
                                                                                <a:pt x="50" y="160"/>
                                                                              </a:lnTo>
                                                                              <a:lnTo>
                                                                                <a:pt x="50" y="160"/>
                                                                              </a:lnTo>
                                                                              <a:lnTo>
                                                                                <a:pt x="54" y="170"/>
                                                                              </a:lnTo>
                                                                              <a:lnTo>
                                                                                <a:pt x="54" y="172"/>
                                                                              </a:lnTo>
                                                                              <a:lnTo>
                                                                                <a:pt x="54" y="176"/>
                                                                              </a:lnTo>
                                                                              <a:lnTo>
                                                                                <a:pt x="60" y="186"/>
                                                                              </a:lnTo>
                                                                              <a:lnTo>
                                                                                <a:pt x="60" y="186"/>
                                                                              </a:lnTo>
                                                                              <a:lnTo>
                                                                                <a:pt x="64" y="190"/>
                                                                              </a:lnTo>
                                                                              <a:lnTo>
                                                                                <a:pt x="70" y="192"/>
                                                                              </a:lnTo>
                                                                              <a:lnTo>
                                                                                <a:pt x="76" y="194"/>
                                                                              </a:lnTo>
                                                                              <a:lnTo>
                                                                                <a:pt x="80" y="198"/>
                                                                              </a:lnTo>
                                                                              <a:lnTo>
                                                                                <a:pt x="80" y="198"/>
                                                                              </a:lnTo>
                                                                              <a:lnTo>
                                                                                <a:pt x="84" y="202"/>
                                                                              </a:lnTo>
                                                                              <a:lnTo>
                                                                                <a:pt x="86" y="204"/>
                                                                              </a:lnTo>
                                                                              <a:lnTo>
                                                                                <a:pt x="88" y="206"/>
                                                                              </a:lnTo>
                                                                              <a:lnTo>
                                                                                <a:pt x="88" y="210"/>
                                                                              </a:lnTo>
                                                                              <a:lnTo>
                                                                                <a:pt x="88" y="210"/>
                                                                              </a:lnTo>
                                                                              <a:lnTo>
                                                                                <a:pt x="90" y="220"/>
                                                                              </a:lnTo>
                                                                              <a:lnTo>
                                                                                <a:pt x="96" y="232"/>
                                                                              </a:lnTo>
                                                                              <a:lnTo>
                                                                                <a:pt x="108" y="256"/>
                                                                              </a:lnTo>
                                                                              <a:lnTo>
                                                                                <a:pt x="108" y="256"/>
                                                                              </a:lnTo>
                                                                              <a:lnTo>
                                                                                <a:pt x="110" y="260"/>
                                                                              </a:lnTo>
                                                                              <a:lnTo>
                                                                                <a:pt x="110" y="264"/>
                                                                              </a:lnTo>
                                                                              <a:lnTo>
                                                                                <a:pt x="108" y="264"/>
                                                                              </a:lnTo>
                                                                              <a:lnTo>
                                                                                <a:pt x="106" y="266"/>
                                                                              </a:lnTo>
                                                                              <a:lnTo>
                                                                                <a:pt x="104" y="266"/>
                                                                              </a:lnTo>
                                                                              <a:lnTo>
                                                                                <a:pt x="106" y="270"/>
                                                                              </a:lnTo>
                                                                              <a:lnTo>
                                                                                <a:pt x="106" y="270"/>
                                                                              </a:lnTo>
                                                                              <a:lnTo>
                                                                                <a:pt x="108" y="274"/>
                                                                              </a:lnTo>
                                                                              <a:lnTo>
                                                                                <a:pt x="108" y="278"/>
                                                                              </a:lnTo>
                                                                              <a:lnTo>
                                                                                <a:pt x="112" y="282"/>
                                                                              </a:lnTo>
                                                                              <a:lnTo>
                                                                                <a:pt x="122" y="290"/>
                                                                              </a:lnTo>
                                                                              <a:lnTo>
                                                                                <a:pt x="122" y="290"/>
                                                                              </a:lnTo>
                                                                              <a:lnTo>
                                                                                <a:pt x="132" y="298"/>
                                                                              </a:lnTo>
                                                                              <a:lnTo>
                                                                                <a:pt x="140" y="306"/>
                                                                              </a:lnTo>
                                                                              <a:lnTo>
                                                                                <a:pt x="144" y="312"/>
                                                                              </a:lnTo>
                                                                              <a:lnTo>
                                                                                <a:pt x="146" y="318"/>
                                                                              </a:lnTo>
                                                                              <a:lnTo>
                                                                                <a:pt x="150" y="328"/>
                                                                              </a:lnTo>
                                                                              <a:lnTo>
                                                                                <a:pt x="154" y="332"/>
                                                                              </a:lnTo>
                                                                              <a:lnTo>
                                                                                <a:pt x="158" y="338"/>
                                                                              </a:lnTo>
                                                                              <a:lnTo>
                                                                                <a:pt x="158" y="338"/>
                                                                              </a:lnTo>
                                                                              <a:lnTo>
                                                                                <a:pt x="172" y="352"/>
                                                                              </a:lnTo>
                                                                              <a:lnTo>
                                                                                <a:pt x="180" y="368"/>
                                                                              </a:lnTo>
                                                                              <a:lnTo>
                                                                                <a:pt x="180" y="368"/>
                                                                              </a:lnTo>
                                                                              <a:lnTo>
                                                                                <a:pt x="186" y="378"/>
                                                                              </a:lnTo>
                                                                              <a:lnTo>
                                                                                <a:pt x="186" y="382"/>
                                                                              </a:lnTo>
                                                                              <a:lnTo>
                                                                                <a:pt x="186" y="384"/>
                                                                              </a:lnTo>
                                                                              <a:lnTo>
                                                                                <a:pt x="190" y="386"/>
                                                                              </a:lnTo>
                                                                              <a:lnTo>
                                                                                <a:pt x="190" y="386"/>
                                                                              </a:lnTo>
                                                                              <a:lnTo>
                                                                                <a:pt x="192" y="390"/>
                                                                              </a:lnTo>
                                                                              <a:lnTo>
                                                                                <a:pt x="190" y="390"/>
                                                                              </a:lnTo>
                                                                              <a:lnTo>
                                                                                <a:pt x="190" y="392"/>
                                                                              </a:lnTo>
                                                                              <a:lnTo>
                                                                                <a:pt x="192" y="394"/>
                                                                              </a:lnTo>
                                                                              <a:lnTo>
                                                                                <a:pt x="192" y="394"/>
                                                                              </a:lnTo>
                                                                              <a:lnTo>
                                                                                <a:pt x="202" y="392"/>
                                                                              </a:lnTo>
                                                                              <a:lnTo>
                                                                                <a:pt x="204" y="390"/>
                                                                              </a:lnTo>
                                                                              <a:lnTo>
                                                                                <a:pt x="204" y="388"/>
                                                                              </a:lnTo>
                                                                              <a:lnTo>
                                                                                <a:pt x="204" y="386"/>
                                                                              </a:lnTo>
                                                                              <a:lnTo>
                                                                                <a:pt x="204" y="384"/>
                                                                              </a:lnTo>
                                                                              <a:lnTo>
                                                                                <a:pt x="206" y="382"/>
                                                                              </a:lnTo>
                                                                              <a:lnTo>
                                                                                <a:pt x="206" y="382"/>
                                                                              </a:lnTo>
                                                                              <a:lnTo>
                                                                                <a:pt x="210" y="380"/>
                                                                              </a:lnTo>
                                                                              <a:lnTo>
                                                                                <a:pt x="210" y="378"/>
                                                                              </a:lnTo>
                                                                              <a:lnTo>
                                                                                <a:pt x="210" y="376"/>
                                                                              </a:lnTo>
                                                                              <a:lnTo>
                                                                                <a:pt x="214" y="376"/>
                                                                              </a:lnTo>
                                                                              <a:lnTo>
                                                                                <a:pt x="226" y="378"/>
                                                                              </a:lnTo>
                                                                              <a:lnTo>
                                                                                <a:pt x="226" y="378"/>
                                                                              </a:lnTo>
                                                                              <a:lnTo>
                                                                                <a:pt x="244" y="382"/>
                                                                              </a:lnTo>
                                                                              <a:lnTo>
                                                                                <a:pt x="252" y="386"/>
                                                                              </a:lnTo>
                                                                              <a:lnTo>
                                                                                <a:pt x="258" y="388"/>
                                                                              </a:lnTo>
                                                                              <a:lnTo>
                                                                                <a:pt x="262" y="392"/>
                                                                              </a:lnTo>
                                                                              <a:lnTo>
                                                                                <a:pt x="262" y="392"/>
                                                                              </a:lnTo>
                                                                              <a:lnTo>
                                                                                <a:pt x="268" y="394"/>
                                                                              </a:lnTo>
                                                                              <a:lnTo>
                                                                                <a:pt x="270" y="396"/>
                                                                              </a:lnTo>
                                                                              <a:lnTo>
                                                                                <a:pt x="272" y="402"/>
                                                                              </a:lnTo>
                                                                              <a:lnTo>
                                                                                <a:pt x="270" y="412"/>
                                                                              </a:lnTo>
                                                                              <a:lnTo>
                                                                                <a:pt x="270" y="412"/>
                                                                              </a:lnTo>
                                                                              <a:lnTo>
                                                                                <a:pt x="286" y="396"/>
                                                                              </a:lnTo>
                                                                              <a:lnTo>
                                                                                <a:pt x="306" y="376"/>
                                                                              </a:lnTo>
                                                                              <a:lnTo>
                                                                                <a:pt x="326" y="352"/>
                                                                              </a:lnTo>
                                                                              <a:lnTo>
                                                                                <a:pt x="326" y="352"/>
                                                                              </a:lnTo>
                                                                              <a:lnTo>
                                                                                <a:pt x="374" y="332"/>
                                                                              </a:lnTo>
                                                                              <a:lnTo>
                                                                                <a:pt x="434" y="304"/>
                                                                              </a:lnTo>
                                                                              <a:lnTo>
                                                                                <a:pt x="444" y="254"/>
                                                                              </a:lnTo>
                                                                              <a:lnTo>
                                                                                <a:pt x="444" y="254"/>
                                                                              </a:lnTo>
                                                                              <a:lnTo>
                                                                                <a:pt x="430" y="242"/>
                                                                              </a:lnTo>
                                                                              <a:lnTo>
                                                                                <a:pt x="430" y="242"/>
                                                                              </a:lnTo>
                                                                              <a:lnTo>
                                                                                <a:pt x="418" y="248"/>
                                                                              </a:lnTo>
                                                                              <a:lnTo>
                                                                                <a:pt x="366" y="224"/>
                                                                              </a:lnTo>
                                                                              <a:lnTo>
                                                                                <a:pt x="366" y="224"/>
                                                                              </a:lnTo>
                                                                              <a:lnTo>
                                                                                <a:pt x="366" y="218"/>
                                                                              </a:lnTo>
                                                                              <a:lnTo>
                                                                                <a:pt x="364" y="212"/>
                                                                              </a:lnTo>
                                                                              <a:lnTo>
                                                                                <a:pt x="358" y="202"/>
                                                                              </a:lnTo>
                                                                              <a:lnTo>
                                                                                <a:pt x="356" y="200"/>
                                                                              </a:lnTo>
                                                                              <a:lnTo>
                                                                                <a:pt x="354" y="194"/>
                                                                              </a:lnTo>
                                                                              <a:lnTo>
                                                                                <a:pt x="352" y="190"/>
                                                                              </a:lnTo>
                                                                              <a:lnTo>
                                                                                <a:pt x="354" y="184"/>
                                                                              </a:lnTo>
                                                                              <a:lnTo>
                                                                                <a:pt x="354" y="184"/>
                                                                              </a:lnTo>
                                                                              <a:close/>
                                                                            </a:path>
                                                                          </a:pathLst>
                                                                        </a:custGeom>
                                                                        <a:solidFill>
                                                                          <a:schemeClr val="accent3"/>
                                                                        </a:solid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33" name="Yemen"/>
                                                                      <p:cNvSpPr>
                                                                        <a:spLocks/>
                                                                      </p:cNvSpPr>
                                                                      <p:nvPr/>
                                                                    </p:nvSpPr>
                                                                    <p:spPr bwMode="auto">
                                                                      <a:xfrm>
                                                                        <a:off x="7150425" y="2966066"/>
                                                                        <a:ext cx="337179" cy="230647"/>
                                                                      </a:xfrm>
                                                                      <a:custGeom>
                                                                        <a:avLst/>
                                                                        <a:gdLst/>
                                                                        <a:ahLst/>
                                                                        <a:cxnLst>
                                                                          <a:cxn ang="0">
                                                                            <a:pos x="0" y="62"/>
                                                                          </a:cxn>
                                                                          <a:cxn ang="0">
                                                                            <a:pos x="6" y="94"/>
                                                                          </a:cxn>
                                                                          <a:cxn ang="0">
                                                                            <a:pos x="8" y="100"/>
                                                                          </a:cxn>
                                                                          <a:cxn ang="0">
                                                                            <a:pos x="10" y="110"/>
                                                                          </a:cxn>
                                                                          <a:cxn ang="0">
                                                                            <a:pos x="16" y="124"/>
                                                                          </a:cxn>
                                                                          <a:cxn ang="0">
                                                                            <a:pos x="16" y="130"/>
                                                                          </a:cxn>
                                                                          <a:cxn ang="0">
                                                                            <a:pos x="16" y="138"/>
                                                                          </a:cxn>
                                                                          <a:cxn ang="0">
                                                                            <a:pos x="20" y="146"/>
                                                                          </a:cxn>
                                                                          <a:cxn ang="0">
                                                                            <a:pos x="36" y="152"/>
                                                                          </a:cxn>
                                                                          <a:cxn ang="0">
                                                                            <a:pos x="50" y="148"/>
                                                                          </a:cxn>
                                                                          <a:cxn ang="0">
                                                                            <a:pos x="52" y="146"/>
                                                                          </a:cxn>
                                                                          <a:cxn ang="0">
                                                                            <a:pos x="56" y="144"/>
                                                                          </a:cxn>
                                                                          <a:cxn ang="0">
                                                                            <a:pos x="66" y="138"/>
                                                                          </a:cxn>
                                                                          <a:cxn ang="0">
                                                                            <a:pos x="70" y="136"/>
                                                                          </a:cxn>
                                                                          <a:cxn ang="0">
                                                                            <a:pos x="84" y="132"/>
                                                                          </a:cxn>
                                                                          <a:cxn ang="0">
                                                                            <a:pos x="98" y="128"/>
                                                                          </a:cxn>
                                                                          <a:cxn ang="0">
                                                                            <a:pos x="102" y="124"/>
                                                                          </a:cxn>
                                                                          <a:cxn ang="0">
                                                                            <a:pos x="110" y="120"/>
                                                                          </a:cxn>
                                                                          <a:cxn ang="0">
                                                                            <a:pos x="130" y="116"/>
                                                                          </a:cxn>
                                                                          <a:cxn ang="0">
                                                                            <a:pos x="138" y="108"/>
                                                                          </a:cxn>
                                                                          <a:cxn ang="0">
                                                                            <a:pos x="142" y="104"/>
                                                                          </a:cxn>
                                                                          <a:cxn ang="0">
                                                                            <a:pos x="162" y="94"/>
                                                                          </a:cxn>
                                                                          <a:cxn ang="0">
                                                                            <a:pos x="184" y="86"/>
                                                                          </a:cxn>
                                                                          <a:cxn ang="0">
                                                                            <a:pos x="190" y="82"/>
                                                                          </a:cxn>
                                                                          <a:cxn ang="0">
                                                                            <a:pos x="204" y="78"/>
                                                                          </a:cxn>
                                                                          <a:cxn ang="0">
                                                                            <a:pos x="204" y="74"/>
                                                                          </a:cxn>
                                                                          <a:cxn ang="0">
                                                                            <a:pos x="202" y="70"/>
                                                                          </a:cxn>
                                                                          <a:cxn ang="0">
                                                                            <a:pos x="202" y="64"/>
                                                                          </a:cxn>
                                                                          <a:cxn ang="0">
                                                                            <a:pos x="214" y="56"/>
                                                                          </a:cxn>
                                                                          <a:cxn ang="0">
                                                                            <a:pos x="222" y="52"/>
                                                                          </a:cxn>
                                                                          <a:cxn ang="0">
                                                                            <a:pos x="212" y="48"/>
                                                                          </a:cxn>
                                                                          <a:cxn ang="0">
                                                                            <a:pos x="214" y="42"/>
                                                                          </a:cxn>
                                                                          <a:cxn ang="0">
                                                                            <a:pos x="214" y="36"/>
                                                                          </a:cxn>
                                                                          <a:cxn ang="0">
                                                                            <a:pos x="210" y="34"/>
                                                                          </a:cxn>
                                                                          <a:cxn ang="0">
                                                                            <a:pos x="192" y="26"/>
                                                                          </a:cxn>
                                                                          <a:cxn ang="0">
                                                                            <a:pos x="184" y="18"/>
                                                                          </a:cxn>
                                                                          <a:cxn ang="0">
                                                                            <a:pos x="182" y="0"/>
                                                                          </a:cxn>
                                                                          <a:cxn ang="0">
                                                                            <a:pos x="134" y="20"/>
                                                                          </a:cxn>
                                                                          <a:cxn ang="0">
                                                                            <a:pos x="114" y="44"/>
                                                                          </a:cxn>
                                                                          <a:cxn ang="0">
                                                                            <a:pos x="78" y="80"/>
                                                                          </a:cxn>
                                                                          <a:cxn ang="0">
                                                                            <a:pos x="80" y="70"/>
                                                                          </a:cxn>
                                                                          <a:cxn ang="0">
                                                                            <a:pos x="76" y="62"/>
                                                                          </a:cxn>
                                                                          <a:cxn ang="0">
                                                                            <a:pos x="70" y="60"/>
                                                                          </a:cxn>
                                                                          <a:cxn ang="0">
                                                                            <a:pos x="60" y="54"/>
                                                                          </a:cxn>
                                                                          <a:cxn ang="0">
                                                                            <a:pos x="34" y="46"/>
                                                                          </a:cxn>
                                                                          <a:cxn ang="0">
                                                                            <a:pos x="22" y="44"/>
                                                                          </a:cxn>
                                                                          <a:cxn ang="0">
                                                                            <a:pos x="18" y="46"/>
                                                                          </a:cxn>
                                                                          <a:cxn ang="0">
                                                                            <a:pos x="14" y="50"/>
                                                                          </a:cxn>
                                                                          <a:cxn ang="0">
                                                                            <a:pos x="12" y="52"/>
                                                                          </a:cxn>
                                                                          <a:cxn ang="0">
                                                                            <a:pos x="12" y="56"/>
                                                                          </a:cxn>
                                                                          <a:cxn ang="0">
                                                                            <a:pos x="10" y="60"/>
                                                                          </a:cxn>
                                                                          <a:cxn ang="0">
                                                                            <a:pos x="0" y="62"/>
                                                                          </a:cxn>
                                                                        </a:cxnLst>
                                                                        <a:rect l="0" t="0" r="r" b="b"/>
                                                                        <a:pathLst>
                                                                          <a:path w="222" h="152">
                                                                            <a:moveTo>
                                                                              <a:pt x="0" y="62"/>
                                                                            </a:moveTo>
                                                                            <a:lnTo>
                                                                              <a:pt x="0" y="62"/>
                                                                            </a:lnTo>
                                                                            <a:lnTo>
                                                                              <a:pt x="4" y="84"/>
                                                                            </a:lnTo>
                                                                            <a:lnTo>
                                                                              <a:pt x="6" y="94"/>
                                                                            </a:lnTo>
                                                                            <a:lnTo>
                                                                              <a:pt x="8" y="98"/>
                                                                            </a:lnTo>
                                                                            <a:lnTo>
                                                                              <a:pt x="8" y="100"/>
                                                                            </a:lnTo>
                                                                            <a:lnTo>
                                                                              <a:pt x="8" y="100"/>
                                                                            </a:lnTo>
                                                                            <a:lnTo>
                                                                              <a:pt x="10" y="110"/>
                                                                            </a:lnTo>
                                                                            <a:lnTo>
                                                                              <a:pt x="14" y="118"/>
                                                                            </a:lnTo>
                                                                            <a:lnTo>
                                                                              <a:pt x="16" y="124"/>
                                                                            </a:lnTo>
                                                                            <a:lnTo>
                                                                              <a:pt x="16" y="130"/>
                                                                            </a:lnTo>
                                                                            <a:lnTo>
                                                                              <a:pt x="16" y="130"/>
                                                                            </a:lnTo>
                                                                            <a:lnTo>
                                                                              <a:pt x="14" y="134"/>
                                                                            </a:lnTo>
                                                                            <a:lnTo>
                                                                              <a:pt x="16" y="138"/>
                                                                            </a:lnTo>
                                                                            <a:lnTo>
                                                                              <a:pt x="20" y="146"/>
                                                                            </a:lnTo>
                                                                            <a:lnTo>
                                                                              <a:pt x="20" y="146"/>
                                                                            </a:lnTo>
                                                                            <a:lnTo>
                                                                              <a:pt x="26" y="150"/>
                                                                            </a:lnTo>
                                                                            <a:lnTo>
                                                                              <a:pt x="36" y="152"/>
                                                                            </a:lnTo>
                                                                            <a:lnTo>
                                                                              <a:pt x="46" y="150"/>
                                                                            </a:lnTo>
                                                                            <a:lnTo>
                                                                              <a:pt x="50" y="148"/>
                                                                            </a:lnTo>
                                                                            <a:lnTo>
                                                                              <a:pt x="52" y="146"/>
                                                                            </a:lnTo>
                                                                            <a:lnTo>
                                                                              <a:pt x="52" y="146"/>
                                                                            </a:lnTo>
                                                                            <a:lnTo>
                                                                              <a:pt x="54" y="144"/>
                                                                            </a:lnTo>
                                                                            <a:lnTo>
                                                                              <a:pt x="56" y="144"/>
                                                                            </a:lnTo>
                                                                            <a:lnTo>
                                                                              <a:pt x="60" y="144"/>
                                                                            </a:lnTo>
                                                                            <a:lnTo>
                                                                              <a:pt x="66" y="138"/>
                                                                            </a:lnTo>
                                                                            <a:lnTo>
                                                                              <a:pt x="66" y="138"/>
                                                                            </a:lnTo>
                                                                            <a:lnTo>
                                                                              <a:pt x="70" y="136"/>
                                                                            </a:lnTo>
                                                                            <a:lnTo>
                                                                              <a:pt x="74" y="134"/>
                                                                            </a:lnTo>
                                                                            <a:lnTo>
                                                                              <a:pt x="84" y="132"/>
                                                                            </a:lnTo>
                                                                            <a:lnTo>
                                                                              <a:pt x="94" y="132"/>
                                                                            </a:lnTo>
                                                                            <a:lnTo>
                                                                              <a:pt x="98" y="128"/>
                                                                            </a:lnTo>
                                                                            <a:lnTo>
                                                                              <a:pt x="102" y="124"/>
                                                                            </a:lnTo>
                                                                            <a:lnTo>
                                                                              <a:pt x="102" y="124"/>
                                                                            </a:lnTo>
                                                                            <a:lnTo>
                                                                              <a:pt x="106" y="122"/>
                                                                            </a:lnTo>
                                                                            <a:lnTo>
                                                                              <a:pt x="110" y="120"/>
                                                                            </a:lnTo>
                                                                            <a:lnTo>
                                                                              <a:pt x="120" y="118"/>
                                                                            </a:lnTo>
                                                                            <a:lnTo>
                                                                              <a:pt x="130" y="116"/>
                                                                            </a:lnTo>
                                                                            <a:lnTo>
                                                                              <a:pt x="134" y="112"/>
                                                                            </a:lnTo>
                                                                            <a:lnTo>
                                                                              <a:pt x="138" y="108"/>
                                                                            </a:lnTo>
                                                                            <a:lnTo>
                                                                              <a:pt x="138" y="108"/>
                                                                            </a:lnTo>
                                                                            <a:lnTo>
                                                                              <a:pt x="142" y="104"/>
                                                                            </a:lnTo>
                                                                            <a:lnTo>
                                                                              <a:pt x="148" y="100"/>
                                                                            </a:lnTo>
                                                                            <a:lnTo>
                                                                              <a:pt x="162" y="94"/>
                                                                            </a:lnTo>
                                                                            <a:lnTo>
                                                                              <a:pt x="176" y="90"/>
                                                                            </a:lnTo>
                                                                            <a:lnTo>
                                                                              <a:pt x="184" y="86"/>
                                                                            </a:lnTo>
                                                                            <a:lnTo>
                                                                              <a:pt x="184" y="86"/>
                                                                            </a:lnTo>
                                                                            <a:lnTo>
                                                                              <a:pt x="190" y="82"/>
                                                                            </a:lnTo>
                                                                            <a:lnTo>
                                                                              <a:pt x="198" y="80"/>
                                                                            </a:lnTo>
                                                                            <a:lnTo>
                                                                              <a:pt x="204" y="78"/>
                                                                            </a:lnTo>
                                                                            <a:lnTo>
                                                                              <a:pt x="206" y="76"/>
                                                                            </a:lnTo>
                                                                            <a:lnTo>
                                                                              <a:pt x="204" y="74"/>
                                                                            </a:lnTo>
                                                                            <a:lnTo>
                                                                              <a:pt x="204" y="74"/>
                                                                            </a:lnTo>
                                                                            <a:lnTo>
                                                                              <a:pt x="202" y="70"/>
                                                                            </a:lnTo>
                                                                            <a:lnTo>
                                                                              <a:pt x="202" y="68"/>
                                                                            </a:lnTo>
                                                                            <a:lnTo>
                                                                              <a:pt x="202" y="64"/>
                                                                            </a:lnTo>
                                                                            <a:lnTo>
                                                                              <a:pt x="206" y="62"/>
                                                                            </a:lnTo>
                                                                            <a:lnTo>
                                                                              <a:pt x="214" y="56"/>
                                                                            </a:lnTo>
                                                                            <a:lnTo>
                                                                              <a:pt x="222" y="52"/>
                                                                            </a:lnTo>
                                                                            <a:lnTo>
                                                                              <a:pt x="222" y="52"/>
                                                                            </a:lnTo>
                                                                            <a:lnTo>
                                                                              <a:pt x="216" y="50"/>
                                                                            </a:lnTo>
                                                                            <a:lnTo>
                                                                              <a:pt x="212" y="48"/>
                                                                            </a:lnTo>
                                                                            <a:lnTo>
                                                                              <a:pt x="212" y="44"/>
                                                                            </a:lnTo>
                                                                            <a:lnTo>
                                                                              <a:pt x="214" y="42"/>
                                                                            </a:lnTo>
                                                                            <a:lnTo>
                                                                              <a:pt x="216" y="38"/>
                                                                            </a:lnTo>
                                                                            <a:lnTo>
                                                                              <a:pt x="214" y="36"/>
                                                                            </a:lnTo>
                                                                            <a:lnTo>
                                                                              <a:pt x="210" y="34"/>
                                                                            </a:lnTo>
                                                                            <a:lnTo>
                                                                              <a:pt x="210" y="34"/>
                                                                            </a:lnTo>
                                                                            <a:lnTo>
                                                                              <a:pt x="200" y="30"/>
                                                                            </a:lnTo>
                                                                            <a:lnTo>
                                                                              <a:pt x="192" y="26"/>
                                                                            </a:lnTo>
                                                                            <a:lnTo>
                                                                              <a:pt x="186" y="22"/>
                                                                            </a:lnTo>
                                                                            <a:lnTo>
                                                                              <a:pt x="184" y="18"/>
                                                                            </a:lnTo>
                                                                            <a:lnTo>
                                                                              <a:pt x="182" y="10"/>
                                                                            </a:lnTo>
                                                                            <a:lnTo>
                                                                              <a:pt x="182" y="0"/>
                                                                            </a:lnTo>
                                                                            <a:lnTo>
                                                                              <a:pt x="182" y="0"/>
                                                                            </a:lnTo>
                                                                            <a:lnTo>
                                                                              <a:pt x="134" y="20"/>
                                                                            </a:lnTo>
                                                                            <a:lnTo>
                                                                              <a:pt x="134" y="20"/>
                                                                            </a:lnTo>
                                                                            <a:lnTo>
                                                                              <a:pt x="114" y="44"/>
                                                                            </a:lnTo>
                                                                            <a:lnTo>
                                                                              <a:pt x="94" y="64"/>
                                                                            </a:lnTo>
                                                                            <a:lnTo>
                                                                              <a:pt x="78" y="80"/>
                                                                            </a:lnTo>
                                                                            <a:lnTo>
                                                                              <a:pt x="78" y="80"/>
                                                                            </a:lnTo>
                                                                            <a:lnTo>
                                                                              <a:pt x="80" y="70"/>
                                                                            </a:lnTo>
                                                                            <a:lnTo>
                                                                              <a:pt x="78" y="64"/>
                                                                            </a:lnTo>
                                                                            <a:lnTo>
                                                                              <a:pt x="76" y="62"/>
                                                                            </a:lnTo>
                                                                            <a:lnTo>
                                                                              <a:pt x="70" y="60"/>
                                                                            </a:lnTo>
                                                                            <a:lnTo>
                                                                              <a:pt x="70" y="60"/>
                                                                            </a:lnTo>
                                                                            <a:lnTo>
                                                                              <a:pt x="66" y="56"/>
                                                                            </a:lnTo>
                                                                            <a:lnTo>
                                                                              <a:pt x="60" y="54"/>
                                                                            </a:lnTo>
                                                                            <a:lnTo>
                                                                              <a:pt x="52" y="50"/>
                                                                            </a:lnTo>
                                                                            <a:lnTo>
                                                                              <a:pt x="34" y="46"/>
                                                                            </a:lnTo>
                                                                            <a:lnTo>
                                                                              <a:pt x="34" y="46"/>
                                                                            </a:lnTo>
                                                                            <a:lnTo>
                                                                              <a:pt x="22" y="44"/>
                                                                            </a:lnTo>
                                                                            <a:lnTo>
                                                                              <a:pt x="18" y="44"/>
                                                                            </a:lnTo>
                                                                            <a:lnTo>
                                                                              <a:pt x="18" y="46"/>
                                                                            </a:lnTo>
                                                                            <a:lnTo>
                                                                              <a:pt x="18" y="48"/>
                                                                            </a:lnTo>
                                                                            <a:lnTo>
                                                                              <a:pt x="14" y="50"/>
                                                                            </a:lnTo>
                                                                            <a:lnTo>
                                                                              <a:pt x="14" y="50"/>
                                                                            </a:lnTo>
                                                                            <a:lnTo>
                                                                              <a:pt x="12" y="52"/>
                                                                            </a:lnTo>
                                                                            <a:lnTo>
                                                                              <a:pt x="12" y="54"/>
                                                                            </a:lnTo>
                                                                            <a:lnTo>
                                                                              <a:pt x="12" y="56"/>
                                                                            </a:lnTo>
                                                                            <a:lnTo>
                                                                              <a:pt x="12" y="58"/>
                                                                            </a:lnTo>
                                                                            <a:lnTo>
                                                                              <a:pt x="10" y="60"/>
                                                                            </a:lnTo>
                                                                            <a:lnTo>
                                                                              <a:pt x="0" y="62"/>
                                                                            </a:lnTo>
                                                                            <a:lnTo>
                                                                              <a:pt x="0" y="62"/>
                                                                            </a:lnTo>
                                                                            <a:close/>
                                                                          </a:path>
                                                                        </a:pathLst>
                                                                      </a:custGeom>
                                                                      <a:solidFill>
                                                                        <a:schemeClr val="accent3">
                                                                          <a:alpha val="99000"/>
                                                                        </a:schemeClr>
                                                                      </a:solid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42" name="Kazakhstan"/>
                                                                    <p:cNvSpPr>
                                                                      <a:spLocks/>
                                                                    </p:cNvSpPr>
                                                                    <p:nvPr/>
                                                                  </p:nvSpPr>
                                                                  <p:spPr bwMode="auto">
                                                                    <a:xfrm>
                                                                      <a:off x="7083469" y="1717152"/>
                                                                      <a:ext cx="1120890" cy="461295"/>
                                                                    </a:xfrm>
                                                                    <a:custGeom>
                                                                      <a:avLst/>
                                                                      <a:gdLst/>
                                                                      <a:ahLst/>
                                                                      <a:cxnLst>
                                                                        <a:cxn ang="0">
                                                                          <a:pos x="474" y="288"/>
                                                                        </a:cxn>
                                                                        <a:cxn ang="0">
                                                                          <a:pos x="456" y="304"/>
                                                                        </a:cxn>
                                                                        <a:cxn ang="0">
                                                                          <a:pos x="420" y="292"/>
                                                                        </a:cxn>
                                                                        <a:cxn ang="0">
                                                                          <a:pos x="378" y="236"/>
                                                                        </a:cxn>
                                                                        <a:cxn ang="0">
                                                                          <a:pos x="354" y="238"/>
                                                                        </a:cxn>
                                                                        <a:cxn ang="0">
                                                                          <a:pos x="298" y="216"/>
                                                                        </a:cxn>
                                                                        <a:cxn ang="0">
                                                                          <a:pos x="288" y="192"/>
                                                                        </a:cxn>
                                                                        <a:cxn ang="0">
                                                                          <a:pos x="276" y="178"/>
                                                                        </a:cxn>
                                                                        <a:cxn ang="0">
                                                                          <a:pos x="252" y="176"/>
                                                                        </a:cxn>
                                                                        <a:cxn ang="0">
                                                                          <a:pos x="240" y="186"/>
                                                                        </a:cxn>
                                                                        <a:cxn ang="0">
                                                                          <a:pos x="206" y="202"/>
                                                                        </a:cxn>
                                                                        <a:cxn ang="0">
                                                                          <a:pos x="198" y="278"/>
                                                                        </a:cxn>
                                                                        <a:cxn ang="0">
                                                                          <a:pos x="156" y="282"/>
                                                                        </a:cxn>
                                                                        <a:cxn ang="0">
                                                                          <a:pos x="150" y="250"/>
                                                                        </a:cxn>
                                                                        <a:cxn ang="0">
                                                                          <a:pos x="128" y="240"/>
                                                                        </a:cxn>
                                                                        <a:cxn ang="0">
                                                                          <a:pos x="98" y="222"/>
                                                                        </a:cxn>
                                                                        <a:cxn ang="0">
                                                                          <a:pos x="102" y="214"/>
                                                                        </a:cxn>
                                                                        <a:cxn ang="0">
                                                                          <a:pos x="96" y="204"/>
                                                                        </a:cxn>
                                                                        <a:cxn ang="0">
                                                                          <a:pos x="120" y="192"/>
                                                                        </a:cxn>
                                                                        <a:cxn ang="0">
                                                                          <a:pos x="134" y="192"/>
                                                                        </a:cxn>
                                                                        <a:cxn ang="0">
                                                                          <a:pos x="132" y="172"/>
                                                                        </a:cxn>
                                                                        <a:cxn ang="0">
                                                                          <a:pos x="122" y="152"/>
                                                                        </a:cxn>
                                                                        <a:cxn ang="0">
                                                                          <a:pos x="82" y="160"/>
                                                                        </a:cxn>
                                                                        <a:cxn ang="0">
                                                                          <a:pos x="54" y="168"/>
                                                                        </a:cxn>
                                                                        <a:cxn ang="0">
                                                                          <a:pos x="46" y="150"/>
                                                                        </a:cxn>
                                                                        <a:cxn ang="0">
                                                                          <a:pos x="16" y="142"/>
                                                                        </a:cxn>
                                                                        <a:cxn ang="0">
                                                                          <a:pos x="0" y="126"/>
                                                                        </a:cxn>
                                                                        <a:cxn ang="0">
                                                                          <a:pos x="10" y="86"/>
                                                                        </a:cxn>
                                                                        <a:cxn ang="0">
                                                                          <a:pos x="32" y="94"/>
                                                                        </a:cxn>
                                                                        <a:cxn ang="0">
                                                                          <a:pos x="38" y="78"/>
                                                                        </a:cxn>
                                                                        <a:cxn ang="0">
                                                                          <a:pos x="56" y="64"/>
                                                                        </a:cxn>
                                                                        <a:cxn ang="0">
                                                                          <a:pos x="86" y="66"/>
                                                                        </a:cxn>
                                                                        <a:cxn ang="0">
                                                                          <a:pos x="118" y="72"/>
                                                                        </a:cxn>
                                                                        <a:cxn ang="0">
                                                                          <a:pos x="148" y="74"/>
                                                                        </a:cxn>
                                                                        <a:cxn ang="0">
                                                                          <a:pos x="172" y="78"/>
                                                                        </a:cxn>
                                                                        <a:cxn ang="0">
                                                                          <a:pos x="198" y="82"/>
                                                                        </a:cxn>
                                                                        <a:cxn ang="0">
                                                                          <a:pos x="246" y="84"/>
                                                                        </a:cxn>
                                                                        <a:cxn ang="0">
                                                                          <a:pos x="230" y="66"/>
                                                                        </a:cxn>
                                                                        <a:cxn ang="0">
                                                                          <a:pos x="228" y="46"/>
                                                                        </a:cxn>
                                                                        <a:cxn ang="0">
                                                                          <a:pos x="208" y="36"/>
                                                                        </a:cxn>
                                                                        <a:cxn ang="0">
                                                                          <a:pos x="282" y="22"/>
                                                                        </a:cxn>
                                                                        <a:cxn ang="0">
                                                                          <a:pos x="338" y="10"/>
                                                                        </a:cxn>
                                                                        <a:cxn ang="0">
                                                                          <a:pos x="374" y="4"/>
                                                                        </a:cxn>
                                                                        <a:cxn ang="0">
                                                                          <a:pos x="382" y="22"/>
                                                                        </a:cxn>
                                                                        <a:cxn ang="0">
                                                                          <a:pos x="406" y="22"/>
                                                                        </a:cxn>
                                                                        <a:cxn ang="0">
                                                                          <a:pos x="422" y="34"/>
                                                                        </a:cxn>
                                                                        <a:cxn ang="0">
                                                                          <a:pos x="444" y="24"/>
                                                                        </a:cxn>
                                                                        <a:cxn ang="0">
                                                                          <a:pos x="462" y="26"/>
                                                                        </a:cxn>
                                                                        <a:cxn ang="0">
                                                                          <a:pos x="568" y="88"/>
                                                                        </a:cxn>
                                                                        <a:cxn ang="0">
                                                                          <a:pos x="592" y="90"/>
                                                                        </a:cxn>
                                                                        <a:cxn ang="0">
                                                                          <a:pos x="640" y="96"/>
                                                                        </a:cxn>
                                                                        <a:cxn ang="0">
                                                                          <a:pos x="664" y="108"/>
                                                                        </a:cxn>
                                                                        <a:cxn ang="0">
                                                                          <a:pos x="690" y="104"/>
                                                                        </a:cxn>
                                                                        <a:cxn ang="0">
                                                                          <a:pos x="726" y="114"/>
                                                                        </a:cxn>
                                                                        <a:cxn ang="0">
                                                                          <a:pos x="722" y="122"/>
                                                                        </a:cxn>
                                                                        <a:cxn ang="0">
                                                                          <a:pos x="696" y="156"/>
                                                                        </a:cxn>
                                                                        <a:cxn ang="0">
                                                                          <a:pos x="674" y="186"/>
                                                                        </a:cxn>
                                                                        <a:cxn ang="0">
                                                                          <a:pos x="640" y="206"/>
                                                                        </a:cxn>
                                                                        <a:cxn ang="0">
                                                                          <a:pos x="664" y="234"/>
                                                                        </a:cxn>
                                                                        <a:cxn ang="0">
                                                                          <a:pos x="658" y="258"/>
                                                                        </a:cxn>
                                                                        <a:cxn ang="0">
                                                                          <a:pos x="634" y="250"/>
                                                                        </a:cxn>
                                                                        <a:cxn ang="0">
                                                                          <a:pos x="544" y="250"/>
                                                                        </a:cxn>
                                                                        <a:cxn ang="0">
                                                                          <a:pos x="512" y="252"/>
                                                                        </a:cxn>
                                                                      </a:cxnLst>
                                                                      <a:rect l="0" t="0" r="r" b="b"/>
                                                                      <a:pathLst>
                                                                        <a:path w="738" h="304">
                                                                          <a:moveTo>
                                                                            <a:pt x="498" y="260"/>
                                                                          </a:moveTo>
                                                                          <a:lnTo>
                                                                            <a:pt x="498" y="260"/>
                                                                          </a:lnTo>
                                                                          <a:lnTo>
                                                                            <a:pt x="492" y="264"/>
                                                                          </a:lnTo>
                                                                          <a:lnTo>
                                                                            <a:pt x="492" y="264"/>
                                                                          </a:lnTo>
                                                                          <a:lnTo>
                                                                            <a:pt x="486" y="270"/>
                                                                          </a:lnTo>
                                                                          <a:lnTo>
                                                                            <a:pt x="484" y="276"/>
                                                                          </a:lnTo>
                                                                          <a:lnTo>
                                                                            <a:pt x="480" y="282"/>
                                                                          </a:lnTo>
                                                                          <a:lnTo>
                                                                            <a:pt x="474" y="288"/>
                                                                          </a:lnTo>
                                                                          <a:lnTo>
                                                                            <a:pt x="474" y="288"/>
                                                                          </a:lnTo>
                                                                          <a:lnTo>
                                                                            <a:pt x="468" y="292"/>
                                                                          </a:lnTo>
                                                                          <a:lnTo>
                                                                            <a:pt x="466" y="296"/>
                                                                          </a:lnTo>
                                                                          <a:lnTo>
                                                                            <a:pt x="466" y="300"/>
                                                                          </a:lnTo>
                                                                          <a:lnTo>
                                                                            <a:pt x="466" y="302"/>
                                                                          </a:lnTo>
                                                                          <a:lnTo>
                                                                            <a:pt x="466" y="304"/>
                                                                          </a:lnTo>
                                                                          <a:lnTo>
                                                                            <a:pt x="462" y="304"/>
                                                                          </a:lnTo>
                                                                          <a:lnTo>
                                                                            <a:pt x="462" y="304"/>
                                                                          </a:lnTo>
                                                                          <a:lnTo>
                                                                            <a:pt x="458" y="304"/>
                                                                          </a:lnTo>
                                                                          <a:lnTo>
                                                                            <a:pt x="456" y="304"/>
                                                                          </a:lnTo>
                                                                          <a:lnTo>
                                                                            <a:pt x="458" y="300"/>
                                                                          </a:lnTo>
                                                                          <a:lnTo>
                                                                            <a:pt x="460" y="298"/>
                                                                          </a:lnTo>
                                                                          <a:lnTo>
                                                                            <a:pt x="456" y="298"/>
                                                                          </a:lnTo>
                                                                          <a:lnTo>
                                                                            <a:pt x="456" y="298"/>
                                                                          </a:lnTo>
                                                                          <a:lnTo>
                                                                            <a:pt x="438" y="300"/>
                                                                          </a:lnTo>
                                                                          <a:lnTo>
                                                                            <a:pt x="430" y="300"/>
                                                                          </a:lnTo>
                                                                          <a:lnTo>
                                                                            <a:pt x="426" y="298"/>
                                                                          </a:lnTo>
                                                                          <a:lnTo>
                                                                            <a:pt x="422" y="296"/>
                                                                          </a:lnTo>
                                                                          <a:lnTo>
                                                                            <a:pt x="420" y="292"/>
                                                                          </a:lnTo>
                                                                          <a:lnTo>
                                                                            <a:pt x="418" y="280"/>
                                                                          </a:lnTo>
                                                                          <a:lnTo>
                                                                            <a:pt x="408" y="282"/>
                                                                          </a:lnTo>
                                                                          <a:lnTo>
                                                                            <a:pt x="398" y="266"/>
                                                                          </a:lnTo>
                                                                          <a:lnTo>
                                                                            <a:pt x="406" y="266"/>
                                                                          </a:lnTo>
                                                                          <a:lnTo>
                                                                            <a:pt x="402" y="248"/>
                                                                          </a:lnTo>
                                                                          <a:lnTo>
                                                                            <a:pt x="394" y="254"/>
                                                                          </a:lnTo>
                                                                          <a:lnTo>
                                                                            <a:pt x="394" y="254"/>
                                                                          </a:lnTo>
                                                                          <a:lnTo>
                                                                            <a:pt x="382" y="240"/>
                                                                          </a:lnTo>
                                                                          <a:lnTo>
                                                                            <a:pt x="378" y="236"/>
                                                                          </a:lnTo>
                                                                          <a:lnTo>
                                                                            <a:pt x="374" y="234"/>
                                                                          </a:lnTo>
                                                                          <a:lnTo>
                                                                            <a:pt x="370" y="234"/>
                                                                          </a:lnTo>
                                                                          <a:lnTo>
                                                                            <a:pt x="364" y="232"/>
                                                                          </a:lnTo>
                                                                          <a:lnTo>
                                                                            <a:pt x="364" y="232"/>
                                                                          </a:lnTo>
                                                                          <a:lnTo>
                                                                            <a:pt x="360" y="228"/>
                                                                          </a:lnTo>
                                                                          <a:lnTo>
                                                                            <a:pt x="360" y="232"/>
                                                                          </a:lnTo>
                                                                          <a:lnTo>
                                                                            <a:pt x="358" y="236"/>
                                                                          </a:lnTo>
                                                                          <a:lnTo>
                                                                            <a:pt x="356" y="238"/>
                                                                          </a:lnTo>
                                                                          <a:lnTo>
                                                                            <a:pt x="354" y="238"/>
                                                                          </a:lnTo>
                                                                          <a:lnTo>
                                                                            <a:pt x="354" y="238"/>
                                                                          </a:lnTo>
                                                                          <a:lnTo>
                                                                            <a:pt x="308" y="236"/>
                                                                          </a:lnTo>
                                                                          <a:lnTo>
                                                                            <a:pt x="308" y="236"/>
                                                                          </a:lnTo>
                                                                          <a:lnTo>
                                                                            <a:pt x="306" y="236"/>
                                                                          </a:lnTo>
                                                                          <a:lnTo>
                                                                            <a:pt x="302" y="234"/>
                                                                          </a:lnTo>
                                                                          <a:lnTo>
                                                                            <a:pt x="298" y="226"/>
                                                                          </a:lnTo>
                                                                          <a:lnTo>
                                                                            <a:pt x="296" y="220"/>
                                                                          </a:lnTo>
                                                                          <a:lnTo>
                                                                            <a:pt x="296" y="216"/>
                                                                          </a:lnTo>
                                                                          <a:lnTo>
                                                                            <a:pt x="298" y="216"/>
                                                                          </a:lnTo>
                                                                          <a:lnTo>
                                                                            <a:pt x="298" y="216"/>
                                                                          </a:lnTo>
                                                                          <a:lnTo>
                                                                            <a:pt x="298" y="214"/>
                                                                          </a:lnTo>
                                                                          <a:lnTo>
                                                                            <a:pt x="298" y="212"/>
                                                                          </a:lnTo>
                                                                          <a:lnTo>
                                                                            <a:pt x="296" y="206"/>
                                                                          </a:lnTo>
                                                                          <a:lnTo>
                                                                            <a:pt x="292" y="198"/>
                                                                          </a:lnTo>
                                                                          <a:lnTo>
                                                                            <a:pt x="290" y="196"/>
                                                                          </a:lnTo>
                                                                          <a:lnTo>
                                                                            <a:pt x="286" y="194"/>
                                                                          </a:lnTo>
                                                                          <a:lnTo>
                                                                            <a:pt x="286" y="194"/>
                                                                          </a:lnTo>
                                                                          <a:lnTo>
                                                                            <a:pt x="288" y="192"/>
                                                                          </a:lnTo>
                                                                          <a:lnTo>
                                                                            <a:pt x="288" y="192"/>
                                                                          </a:lnTo>
                                                                          <a:lnTo>
                                                                            <a:pt x="286" y="190"/>
                                                                          </a:lnTo>
                                                                          <a:lnTo>
                                                                            <a:pt x="286" y="190"/>
                                                                          </a:lnTo>
                                                                          <a:lnTo>
                                                                            <a:pt x="284" y="190"/>
                                                                          </a:lnTo>
                                                                          <a:lnTo>
                                                                            <a:pt x="282" y="188"/>
                                                                          </a:lnTo>
                                                                          <a:lnTo>
                                                                            <a:pt x="282" y="182"/>
                                                                          </a:lnTo>
                                                                          <a:lnTo>
                                                                            <a:pt x="280" y="180"/>
                                                                          </a:lnTo>
                                                                          <a:lnTo>
                                                                            <a:pt x="280" y="178"/>
                                                                          </a:lnTo>
                                                                          <a:lnTo>
                                                                            <a:pt x="276" y="178"/>
                                                                          </a:lnTo>
                                                                          <a:lnTo>
                                                                            <a:pt x="270" y="178"/>
                                                                          </a:lnTo>
                                                                          <a:lnTo>
                                                                            <a:pt x="270" y="178"/>
                                                                          </a:lnTo>
                                                                          <a:lnTo>
                                                                            <a:pt x="264" y="180"/>
                                                                          </a:lnTo>
                                                                          <a:lnTo>
                                                                            <a:pt x="260" y="178"/>
                                                                          </a:lnTo>
                                                                          <a:lnTo>
                                                                            <a:pt x="258" y="178"/>
                                                                          </a:lnTo>
                                                                          <a:lnTo>
                                                                            <a:pt x="258" y="176"/>
                                                                          </a:lnTo>
                                                                          <a:lnTo>
                                                                            <a:pt x="256" y="174"/>
                                                                          </a:lnTo>
                                                                          <a:lnTo>
                                                                            <a:pt x="252" y="176"/>
                                                                          </a:lnTo>
                                                                          <a:lnTo>
                                                                            <a:pt x="252" y="176"/>
                                                                          </a:lnTo>
                                                                          <a:lnTo>
                                                                            <a:pt x="250" y="178"/>
                                                                          </a:lnTo>
                                                                          <a:lnTo>
                                                                            <a:pt x="248" y="178"/>
                                                                          </a:lnTo>
                                                                          <a:lnTo>
                                                                            <a:pt x="246" y="174"/>
                                                                          </a:lnTo>
                                                                          <a:lnTo>
                                                                            <a:pt x="244" y="172"/>
                                                                          </a:lnTo>
                                                                          <a:lnTo>
                                                                            <a:pt x="244" y="180"/>
                                                                          </a:lnTo>
                                                                          <a:lnTo>
                                                                            <a:pt x="244" y="180"/>
                                                                          </a:lnTo>
                                                                          <a:lnTo>
                                                                            <a:pt x="244" y="188"/>
                                                                          </a:lnTo>
                                                                          <a:lnTo>
                                                                            <a:pt x="244" y="192"/>
                                                                          </a:lnTo>
                                                                          <a:lnTo>
                                                                            <a:pt x="240" y="186"/>
                                                                          </a:lnTo>
                                                                          <a:lnTo>
                                                                            <a:pt x="236" y="182"/>
                                                                          </a:lnTo>
                                                                          <a:lnTo>
                                                                            <a:pt x="236" y="182"/>
                                                                          </a:lnTo>
                                                                          <a:lnTo>
                                                                            <a:pt x="234" y="190"/>
                                                                          </a:lnTo>
                                                                          <a:lnTo>
                                                                            <a:pt x="234" y="190"/>
                                                                          </a:lnTo>
                                                                          <a:lnTo>
                                                                            <a:pt x="234" y="192"/>
                                                                          </a:lnTo>
                                                                          <a:lnTo>
                                                                            <a:pt x="230" y="194"/>
                                                                          </a:lnTo>
                                                                          <a:lnTo>
                                                                            <a:pt x="218" y="196"/>
                                                                          </a:lnTo>
                                                                          <a:lnTo>
                                                                            <a:pt x="212" y="200"/>
                                                                          </a:lnTo>
                                                                          <a:lnTo>
                                                                            <a:pt x="206" y="202"/>
                                                                          </a:lnTo>
                                                                          <a:lnTo>
                                                                            <a:pt x="204" y="206"/>
                                                                          </a:lnTo>
                                                                          <a:lnTo>
                                                                            <a:pt x="204" y="212"/>
                                                                          </a:lnTo>
                                                                          <a:lnTo>
                                                                            <a:pt x="204" y="212"/>
                                                                          </a:lnTo>
                                                                          <a:lnTo>
                                                                            <a:pt x="226" y="288"/>
                                                                          </a:lnTo>
                                                                          <a:lnTo>
                                                                            <a:pt x="226" y="288"/>
                                                                          </a:lnTo>
                                                                          <a:lnTo>
                                                                            <a:pt x="210" y="288"/>
                                                                          </a:lnTo>
                                                                          <a:lnTo>
                                                                            <a:pt x="204" y="284"/>
                                                                          </a:lnTo>
                                                                          <a:lnTo>
                                                                            <a:pt x="198" y="278"/>
                                                                          </a:lnTo>
                                                                          <a:lnTo>
                                                                            <a:pt x="198" y="278"/>
                                                                          </a:lnTo>
                                                                          <a:lnTo>
                                                                            <a:pt x="196" y="274"/>
                                                                          </a:lnTo>
                                                                          <a:lnTo>
                                                                            <a:pt x="190" y="270"/>
                                                                          </a:lnTo>
                                                                          <a:lnTo>
                                                                            <a:pt x="184" y="266"/>
                                                                          </a:lnTo>
                                                                          <a:lnTo>
                                                                            <a:pt x="178" y="266"/>
                                                                          </a:lnTo>
                                                                          <a:lnTo>
                                                                            <a:pt x="172" y="266"/>
                                                                          </a:lnTo>
                                                                          <a:lnTo>
                                                                            <a:pt x="164" y="268"/>
                                                                          </a:lnTo>
                                                                          <a:lnTo>
                                                                            <a:pt x="160" y="274"/>
                                                                          </a:lnTo>
                                                                          <a:lnTo>
                                                                            <a:pt x="156" y="282"/>
                                                                          </a:lnTo>
                                                                          <a:lnTo>
                                                                            <a:pt x="156" y="282"/>
                                                                          </a:lnTo>
                                                                          <a:lnTo>
                                                                            <a:pt x="152" y="280"/>
                                                                          </a:lnTo>
                                                                          <a:lnTo>
                                                                            <a:pt x="148" y="278"/>
                                                                          </a:lnTo>
                                                                          <a:lnTo>
                                                                            <a:pt x="146" y="272"/>
                                                                          </a:lnTo>
                                                                          <a:lnTo>
                                                                            <a:pt x="146" y="266"/>
                                                                          </a:lnTo>
                                                                          <a:lnTo>
                                                                            <a:pt x="148" y="264"/>
                                                                          </a:lnTo>
                                                                          <a:lnTo>
                                                                            <a:pt x="148" y="264"/>
                                                                          </a:lnTo>
                                                                          <a:lnTo>
                                                                            <a:pt x="150" y="260"/>
                                                                          </a:lnTo>
                                                                          <a:lnTo>
                                                                            <a:pt x="150" y="256"/>
                                                                          </a:lnTo>
                                                                          <a:lnTo>
                                                                            <a:pt x="150" y="250"/>
                                                                          </a:lnTo>
                                                                          <a:lnTo>
                                                                            <a:pt x="150" y="250"/>
                                                                          </a:lnTo>
                                                                          <a:lnTo>
                                                                            <a:pt x="150" y="246"/>
                                                                          </a:lnTo>
                                                                          <a:lnTo>
                                                                            <a:pt x="148" y="246"/>
                                                                          </a:lnTo>
                                                                          <a:lnTo>
                                                                            <a:pt x="138" y="248"/>
                                                                          </a:lnTo>
                                                                          <a:lnTo>
                                                                            <a:pt x="128" y="248"/>
                                                                          </a:lnTo>
                                                                          <a:lnTo>
                                                                            <a:pt x="126" y="248"/>
                                                                          </a:lnTo>
                                                                          <a:lnTo>
                                                                            <a:pt x="126" y="244"/>
                                                                          </a:lnTo>
                                                                          <a:lnTo>
                                                                            <a:pt x="126" y="244"/>
                                                                          </a:lnTo>
                                                                          <a:lnTo>
                                                                            <a:pt x="128" y="240"/>
                                                                          </a:lnTo>
                                                                          <a:lnTo>
                                                                            <a:pt x="126" y="240"/>
                                                                          </a:lnTo>
                                                                          <a:lnTo>
                                                                            <a:pt x="120" y="238"/>
                                                                          </a:lnTo>
                                                                          <a:lnTo>
                                                                            <a:pt x="114" y="238"/>
                                                                          </a:lnTo>
                                                                          <a:lnTo>
                                                                            <a:pt x="112" y="236"/>
                                                                          </a:lnTo>
                                                                          <a:lnTo>
                                                                            <a:pt x="110" y="232"/>
                                                                          </a:lnTo>
                                                                          <a:lnTo>
                                                                            <a:pt x="110" y="232"/>
                                                                          </a:lnTo>
                                                                          <a:lnTo>
                                                                            <a:pt x="106" y="226"/>
                                                                          </a:lnTo>
                                                                          <a:lnTo>
                                                                            <a:pt x="102" y="224"/>
                                                                          </a:lnTo>
                                                                          <a:lnTo>
                                                                            <a:pt x="98" y="222"/>
                                                                          </a:lnTo>
                                                                          <a:lnTo>
                                                                            <a:pt x="94" y="222"/>
                                                                          </a:lnTo>
                                                                          <a:lnTo>
                                                                            <a:pt x="86" y="222"/>
                                                                          </a:lnTo>
                                                                          <a:lnTo>
                                                                            <a:pt x="82" y="220"/>
                                                                          </a:lnTo>
                                                                          <a:lnTo>
                                                                            <a:pt x="80" y="216"/>
                                                                          </a:lnTo>
                                                                          <a:lnTo>
                                                                            <a:pt x="80" y="216"/>
                                                                          </a:lnTo>
                                                                          <a:lnTo>
                                                                            <a:pt x="80" y="214"/>
                                                                          </a:lnTo>
                                                                          <a:lnTo>
                                                                            <a:pt x="84" y="214"/>
                                                                          </a:lnTo>
                                                                          <a:lnTo>
                                                                            <a:pt x="92" y="212"/>
                                                                          </a:lnTo>
                                                                          <a:lnTo>
                                                                            <a:pt x="102" y="214"/>
                                                                          </a:lnTo>
                                                                          <a:lnTo>
                                                                            <a:pt x="106" y="212"/>
                                                                          </a:lnTo>
                                                                          <a:lnTo>
                                                                            <a:pt x="108" y="212"/>
                                                                          </a:lnTo>
                                                                          <a:lnTo>
                                                                            <a:pt x="108" y="212"/>
                                                                          </a:lnTo>
                                                                          <a:lnTo>
                                                                            <a:pt x="110" y="210"/>
                                                                          </a:lnTo>
                                                                          <a:lnTo>
                                                                            <a:pt x="106" y="210"/>
                                                                          </a:lnTo>
                                                                          <a:lnTo>
                                                                            <a:pt x="102" y="208"/>
                                                                          </a:lnTo>
                                                                          <a:lnTo>
                                                                            <a:pt x="96" y="206"/>
                                                                          </a:lnTo>
                                                                          <a:lnTo>
                                                                            <a:pt x="96" y="206"/>
                                                                          </a:lnTo>
                                                                          <a:lnTo>
                                                                            <a:pt x="96" y="204"/>
                                                                          </a:lnTo>
                                                                          <a:lnTo>
                                                                            <a:pt x="94" y="202"/>
                                                                          </a:lnTo>
                                                                          <a:lnTo>
                                                                            <a:pt x="98" y="196"/>
                                                                          </a:lnTo>
                                                                          <a:lnTo>
                                                                            <a:pt x="102" y="192"/>
                                                                          </a:lnTo>
                                                                          <a:lnTo>
                                                                            <a:pt x="106" y="192"/>
                                                                          </a:lnTo>
                                                                          <a:lnTo>
                                                                            <a:pt x="108" y="192"/>
                                                                          </a:lnTo>
                                                                          <a:lnTo>
                                                                            <a:pt x="108" y="192"/>
                                                                          </a:lnTo>
                                                                          <a:lnTo>
                                                                            <a:pt x="112" y="194"/>
                                                                          </a:lnTo>
                                                                          <a:lnTo>
                                                                            <a:pt x="116" y="192"/>
                                                                          </a:lnTo>
                                                                          <a:lnTo>
                                                                            <a:pt x="120" y="192"/>
                                                                          </a:lnTo>
                                                                          <a:lnTo>
                                                                            <a:pt x="126" y="196"/>
                                                                          </a:lnTo>
                                                                          <a:lnTo>
                                                                            <a:pt x="126" y="196"/>
                                                                          </a:lnTo>
                                                                          <a:lnTo>
                                                                            <a:pt x="130" y="198"/>
                                                                          </a:lnTo>
                                                                          <a:lnTo>
                                                                            <a:pt x="134" y="200"/>
                                                                          </a:lnTo>
                                                                          <a:lnTo>
                                                                            <a:pt x="138" y="198"/>
                                                                          </a:lnTo>
                                                                          <a:lnTo>
                                                                            <a:pt x="136" y="196"/>
                                                                          </a:lnTo>
                                                                          <a:lnTo>
                                                                            <a:pt x="136" y="196"/>
                                                                          </a:lnTo>
                                                                          <a:lnTo>
                                                                            <a:pt x="134" y="194"/>
                                                                          </a:lnTo>
                                                                          <a:lnTo>
                                                                            <a:pt x="134" y="192"/>
                                                                          </a:lnTo>
                                                                          <a:lnTo>
                                                                            <a:pt x="138" y="190"/>
                                                                          </a:lnTo>
                                                                          <a:lnTo>
                                                                            <a:pt x="140" y="188"/>
                                                                          </a:lnTo>
                                                                          <a:lnTo>
                                                                            <a:pt x="140" y="186"/>
                                                                          </a:lnTo>
                                                                          <a:lnTo>
                                                                            <a:pt x="138" y="184"/>
                                                                          </a:lnTo>
                                                                          <a:lnTo>
                                                                            <a:pt x="138" y="184"/>
                                                                          </a:lnTo>
                                                                          <a:lnTo>
                                                                            <a:pt x="136" y="180"/>
                                                                          </a:lnTo>
                                                                          <a:lnTo>
                                                                            <a:pt x="136" y="178"/>
                                                                          </a:lnTo>
                                                                          <a:lnTo>
                                                                            <a:pt x="136" y="174"/>
                                                                          </a:lnTo>
                                                                          <a:lnTo>
                                                                            <a:pt x="132" y="172"/>
                                                                          </a:lnTo>
                                                                          <a:lnTo>
                                                                            <a:pt x="132" y="172"/>
                                                                          </a:lnTo>
                                                                          <a:lnTo>
                                                                            <a:pt x="130" y="172"/>
                                                                          </a:lnTo>
                                                                          <a:lnTo>
                                                                            <a:pt x="130" y="168"/>
                                                                          </a:lnTo>
                                                                          <a:lnTo>
                                                                            <a:pt x="130" y="166"/>
                                                                          </a:lnTo>
                                                                          <a:lnTo>
                                                                            <a:pt x="128" y="162"/>
                                                                          </a:lnTo>
                                                                          <a:lnTo>
                                                                            <a:pt x="128" y="162"/>
                                                                          </a:lnTo>
                                                                          <a:lnTo>
                                                                            <a:pt x="124" y="160"/>
                                                                          </a:lnTo>
                                                                          <a:lnTo>
                                                                            <a:pt x="124" y="154"/>
                                                                          </a:lnTo>
                                                                          <a:lnTo>
                                                                            <a:pt x="122" y="152"/>
                                                                          </a:lnTo>
                                                                          <a:lnTo>
                                                                            <a:pt x="120" y="152"/>
                                                                          </a:lnTo>
                                                                          <a:lnTo>
                                                                            <a:pt x="116" y="150"/>
                                                                          </a:lnTo>
                                                                          <a:lnTo>
                                                                            <a:pt x="110" y="150"/>
                                                                          </a:lnTo>
                                                                          <a:lnTo>
                                                                            <a:pt x="110" y="150"/>
                                                                          </a:lnTo>
                                                                          <a:lnTo>
                                                                            <a:pt x="90" y="154"/>
                                                                          </a:lnTo>
                                                                          <a:lnTo>
                                                                            <a:pt x="88" y="154"/>
                                                                          </a:lnTo>
                                                                          <a:lnTo>
                                                                            <a:pt x="86" y="156"/>
                                                                          </a:lnTo>
                                                                          <a:lnTo>
                                                                            <a:pt x="86" y="156"/>
                                                                          </a:lnTo>
                                                                          <a:lnTo>
                                                                            <a:pt x="82" y="160"/>
                                                                          </a:lnTo>
                                                                          <a:lnTo>
                                                                            <a:pt x="78" y="162"/>
                                                                          </a:lnTo>
                                                                          <a:lnTo>
                                                                            <a:pt x="74" y="162"/>
                                                                          </a:lnTo>
                                                                          <a:lnTo>
                                                                            <a:pt x="68" y="166"/>
                                                                          </a:lnTo>
                                                                          <a:lnTo>
                                                                            <a:pt x="68" y="166"/>
                                                                          </a:lnTo>
                                                                          <a:lnTo>
                                                                            <a:pt x="60" y="170"/>
                                                                          </a:lnTo>
                                                                          <a:lnTo>
                                                                            <a:pt x="58" y="172"/>
                                                                          </a:lnTo>
                                                                          <a:lnTo>
                                                                            <a:pt x="58" y="172"/>
                                                                          </a:lnTo>
                                                                          <a:lnTo>
                                                                            <a:pt x="58" y="170"/>
                                                                          </a:lnTo>
                                                                          <a:lnTo>
                                                                            <a:pt x="54" y="168"/>
                                                                          </a:lnTo>
                                                                          <a:lnTo>
                                                                            <a:pt x="54" y="168"/>
                                                                          </a:lnTo>
                                                                          <a:lnTo>
                                                                            <a:pt x="52" y="166"/>
                                                                          </a:lnTo>
                                                                          <a:lnTo>
                                                                            <a:pt x="52" y="164"/>
                                                                          </a:lnTo>
                                                                          <a:lnTo>
                                                                            <a:pt x="56" y="162"/>
                                                                          </a:lnTo>
                                                                          <a:lnTo>
                                                                            <a:pt x="56" y="160"/>
                                                                          </a:lnTo>
                                                                          <a:lnTo>
                                                                            <a:pt x="56" y="158"/>
                                                                          </a:lnTo>
                                                                          <a:lnTo>
                                                                            <a:pt x="54" y="154"/>
                                                                          </a:lnTo>
                                                                          <a:lnTo>
                                                                            <a:pt x="46" y="150"/>
                                                                          </a:lnTo>
                                                                          <a:lnTo>
                                                                            <a:pt x="46" y="150"/>
                                                                          </a:lnTo>
                                                                          <a:lnTo>
                                                                            <a:pt x="38" y="144"/>
                                                                          </a:lnTo>
                                                                          <a:lnTo>
                                                                            <a:pt x="32" y="144"/>
                                                                          </a:lnTo>
                                                                          <a:lnTo>
                                                                            <a:pt x="30" y="144"/>
                                                                          </a:lnTo>
                                                                          <a:lnTo>
                                                                            <a:pt x="26" y="140"/>
                                                                          </a:lnTo>
                                                                          <a:lnTo>
                                                                            <a:pt x="26" y="140"/>
                                                                          </a:lnTo>
                                                                          <a:lnTo>
                                                                            <a:pt x="24" y="140"/>
                                                                          </a:lnTo>
                                                                          <a:lnTo>
                                                                            <a:pt x="22" y="140"/>
                                                                          </a:lnTo>
                                                                          <a:lnTo>
                                                                            <a:pt x="18" y="142"/>
                                                                          </a:lnTo>
                                                                          <a:lnTo>
                                                                            <a:pt x="16" y="142"/>
                                                                          </a:lnTo>
                                                                          <a:lnTo>
                                                                            <a:pt x="14" y="142"/>
                                                                          </a:lnTo>
                                                                          <a:lnTo>
                                                                            <a:pt x="12" y="140"/>
                                                                          </a:lnTo>
                                                                          <a:lnTo>
                                                                            <a:pt x="10" y="136"/>
                                                                          </a:lnTo>
                                                                          <a:lnTo>
                                                                            <a:pt x="10" y="136"/>
                                                                          </a:lnTo>
                                                                          <a:lnTo>
                                                                            <a:pt x="10" y="132"/>
                                                                          </a:lnTo>
                                                                          <a:lnTo>
                                                                            <a:pt x="8" y="132"/>
                                                                          </a:lnTo>
                                                                          <a:lnTo>
                                                                            <a:pt x="2" y="130"/>
                                                                          </a:lnTo>
                                                                          <a:lnTo>
                                                                            <a:pt x="2" y="128"/>
                                                                          </a:lnTo>
                                                                          <a:lnTo>
                                                                            <a:pt x="0" y="126"/>
                                                                          </a:lnTo>
                                                                          <a:lnTo>
                                                                            <a:pt x="4" y="118"/>
                                                                          </a:lnTo>
                                                                          <a:lnTo>
                                                                            <a:pt x="4" y="118"/>
                                                                          </a:lnTo>
                                                                          <a:lnTo>
                                                                            <a:pt x="8" y="108"/>
                                                                          </a:lnTo>
                                                                          <a:lnTo>
                                                                            <a:pt x="8" y="106"/>
                                                                          </a:lnTo>
                                                                          <a:lnTo>
                                                                            <a:pt x="6" y="102"/>
                                                                          </a:lnTo>
                                                                          <a:lnTo>
                                                                            <a:pt x="6" y="98"/>
                                                                          </a:lnTo>
                                                                          <a:lnTo>
                                                                            <a:pt x="6" y="98"/>
                                                                          </a:lnTo>
                                                                          <a:lnTo>
                                                                            <a:pt x="8" y="92"/>
                                                                          </a:lnTo>
                                                                          <a:lnTo>
                                                                            <a:pt x="10" y="86"/>
                                                                          </a:lnTo>
                                                                          <a:lnTo>
                                                                            <a:pt x="12" y="84"/>
                                                                          </a:lnTo>
                                                                          <a:lnTo>
                                                                            <a:pt x="14" y="88"/>
                                                                          </a:lnTo>
                                                                          <a:lnTo>
                                                                            <a:pt x="14" y="88"/>
                                                                          </a:lnTo>
                                                                          <a:lnTo>
                                                                            <a:pt x="20" y="98"/>
                                                                          </a:lnTo>
                                                                          <a:lnTo>
                                                                            <a:pt x="24" y="102"/>
                                                                          </a:lnTo>
                                                                          <a:lnTo>
                                                                            <a:pt x="30" y="100"/>
                                                                          </a:lnTo>
                                                                          <a:lnTo>
                                                                            <a:pt x="30" y="100"/>
                                                                          </a:lnTo>
                                                                          <a:lnTo>
                                                                            <a:pt x="32" y="98"/>
                                                                          </a:lnTo>
                                                                          <a:lnTo>
                                                                            <a:pt x="32" y="94"/>
                                                                          </a:lnTo>
                                                                          <a:lnTo>
                                                                            <a:pt x="28" y="90"/>
                                                                          </a:lnTo>
                                                                          <a:lnTo>
                                                                            <a:pt x="22" y="84"/>
                                                                          </a:lnTo>
                                                                          <a:lnTo>
                                                                            <a:pt x="22" y="84"/>
                                                                          </a:lnTo>
                                                                          <a:lnTo>
                                                                            <a:pt x="26" y="84"/>
                                                                          </a:lnTo>
                                                                          <a:lnTo>
                                                                            <a:pt x="30" y="86"/>
                                                                          </a:lnTo>
                                                                          <a:lnTo>
                                                                            <a:pt x="32" y="86"/>
                                                                          </a:lnTo>
                                                                          <a:lnTo>
                                                                            <a:pt x="34" y="82"/>
                                                                          </a:lnTo>
                                                                          <a:lnTo>
                                                                            <a:pt x="34" y="82"/>
                                                                          </a:lnTo>
                                                                          <a:lnTo>
                                                                            <a:pt x="38" y="78"/>
                                                                          </a:lnTo>
                                                                          <a:lnTo>
                                                                            <a:pt x="42" y="74"/>
                                                                          </a:lnTo>
                                                                          <a:lnTo>
                                                                            <a:pt x="46" y="70"/>
                                                                          </a:lnTo>
                                                                          <a:lnTo>
                                                                            <a:pt x="46" y="66"/>
                                                                          </a:lnTo>
                                                                          <a:lnTo>
                                                                            <a:pt x="46" y="66"/>
                                                                          </a:lnTo>
                                                                          <a:lnTo>
                                                                            <a:pt x="46" y="62"/>
                                                                          </a:lnTo>
                                                                          <a:lnTo>
                                                                            <a:pt x="50" y="60"/>
                                                                          </a:lnTo>
                                                                          <a:lnTo>
                                                                            <a:pt x="54" y="62"/>
                                                                          </a:lnTo>
                                                                          <a:lnTo>
                                                                            <a:pt x="56" y="64"/>
                                                                          </a:lnTo>
                                                                          <a:lnTo>
                                                                            <a:pt x="56" y="64"/>
                                                                          </a:lnTo>
                                                                          <a:lnTo>
                                                                            <a:pt x="60" y="68"/>
                                                                          </a:lnTo>
                                                                          <a:lnTo>
                                                                            <a:pt x="62" y="68"/>
                                                                          </a:lnTo>
                                                                          <a:lnTo>
                                                                            <a:pt x="68" y="66"/>
                                                                          </a:lnTo>
                                                                          <a:lnTo>
                                                                            <a:pt x="72" y="62"/>
                                                                          </a:lnTo>
                                                                          <a:lnTo>
                                                                            <a:pt x="76" y="62"/>
                                                                          </a:lnTo>
                                                                          <a:lnTo>
                                                                            <a:pt x="78" y="64"/>
                                                                          </a:lnTo>
                                                                          <a:lnTo>
                                                                            <a:pt x="78" y="64"/>
                                                                          </a:lnTo>
                                                                          <a:lnTo>
                                                                            <a:pt x="84" y="66"/>
                                                                          </a:lnTo>
                                                                          <a:lnTo>
                                                                            <a:pt x="86" y="66"/>
                                                                          </a:lnTo>
                                                                          <a:lnTo>
                                                                            <a:pt x="92" y="64"/>
                                                                          </a:lnTo>
                                                                          <a:lnTo>
                                                                            <a:pt x="94" y="64"/>
                                                                          </a:lnTo>
                                                                          <a:lnTo>
                                                                            <a:pt x="98" y="64"/>
                                                                          </a:lnTo>
                                                                          <a:lnTo>
                                                                            <a:pt x="104" y="68"/>
                                                                          </a:lnTo>
                                                                          <a:lnTo>
                                                                            <a:pt x="112" y="74"/>
                                                                          </a:lnTo>
                                                                          <a:lnTo>
                                                                            <a:pt x="112" y="74"/>
                                                                          </a:lnTo>
                                                                          <a:lnTo>
                                                                            <a:pt x="114" y="76"/>
                                                                          </a:lnTo>
                                                                          <a:lnTo>
                                                                            <a:pt x="116" y="76"/>
                                                                          </a:lnTo>
                                                                          <a:lnTo>
                                                                            <a:pt x="118" y="72"/>
                                                                          </a:lnTo>
                                                                          <a:lnTo>
                                                                            <a:pt x="118" y="70"/>
                                                                          </a:lnTo>
                                                                          <a:lnTo>
                                                                            <a:pt x="120" y="70"/>
                                                                          </a:lnTo>
                                                                          <a:lnTo>
                                                                            <a:pt x="126" y="72"/>
                                                                          </a:lnTo>
                                                                          <a:lnTo>
                                                                            <a:pt x="134" y="76"/>
                                                                          </a:lnTo>
                                                                          <a:lnTo>
                                                                            <a:pt x="134" y="76"/>
                                                                          </a:lnTo>
                                                                          <a:lnTo>
                                                                            <a:pt x="142" y="80"/>
                                                                          </a:lnTo>
                                                                          <a:lnTo>
                                                                            <a:pt x="146" y="82"/>
                                                                          </a:lnTo>
                                                                          <a:lnTo>
                                                                            <a:pt x="148" y="78"/>
                                                                          </a:lnTo>
                                                                          <a:lnTo>
                                                                            <a:pt x="148" y="74"/>
                                                                          </a:lnTo>
                                                                          <a:lnTo>
                                                                            <a:pt x="148" y="74"/>
                                                                          </a:lnTo>
                                                                          <a:lnTo>
                                                                            <a:pt x="150" y="72"/>
                                                                          </a:lnTo>
                                                                          <a:lnTo>
                                                                            <a:pt x="152" y="74"/>
                                                                          </a:lnTo>
                                                                          <a:lnTo>
                                                                            <a:pt x="156" y="74"/>
                                                                          </a:lnTo>
                                                                          <a:lnTo>
                                                                            <a:pt x="162" y="74"/>
                                                                          </a:lnTo>
                                                                          <a:lnTo>
                                                                            <a:pt x="162" y="74"/>
                                                                          </a:lnTo>
                                                                          <a:lnTo>
                                                                            <a:pt x="168" y="72"/>
                                                                          </a:lnTo>
                                                                          <a:lnTo>
                                                                            <a:pt x="170" y="76"/>
                                                                          </a:lnTo>
                                                                          <a:lnTo>
                                                                            <a:pt x="172" y="78"/>
                                                                          </a:lnTo>
                                                                          <a:lnTo>
                                                                            <a:pt x="178" y="76"/>
                                                                          </a:lnTo>
                                                                          <a:lnTo>
                                                                            <a:pt x="178" y="76"/>
                                                                          </a:lnTo>
                                                                          <a:lnTo>
                                                                            <a:pt x="194" y="72"/>
                                                                          </a:lnTo>
                                                                          <a:lnTo>
                                                                            <a:pt x="200" y="70"/>
                                                                          </a:lnTo>
                                                                          <a:lnTo>
                                                                            <a:pt x="202" y="72"/>
                                                                          </a:lnTo>
                                                                          <a:lnTo>
                                                                            <a:pt x="202" y="74"/>
                                                                          </a:lnTo>
                                                                          <a:lnTo>
                                                                            <a:pt x="202" y="74"/>
                                                                          </a:lnTo>
                                                                          <a:lnTo>
                                                                            <a:pt x="198" y="78"/>
                                                                          </a:lnTo>
                                                                          <a:lnTo>
                                                                            <a:pt x="198" y="82"/>
                                                                          </a:lnTo>
                                                                          <a:lnTo>
                                                                            <a:pt x="200" y="84"/>
                                                                          </a:lnTo>
                                                                          <a:lnTo>
                                                                            <a:pt x="204" y="84"/>
                                                                          </a:lnTo>
                                                                          <a:lnTo>
                                                                            <a:pt x="210" y="82"/>
                                                                          </a:lnTo>
                                                                          <a:lnTo>
                                                                            <a:pt x="214" y="80"/>
                                                                          </a:lnTo>
                                                                          <a:lnTo>
                                                                            <a:pt x="216" y="76"/>
                                                                          </a:lnTo>
                                                                          <a:lnTo>
                                                                            <a:pt x="216" y="76"/>
                                                                          </a:lnTo>
                                                                          <a:lnTo>
                                                                            <a:pt x="230" y="82"/>
                                                                          </a:lnTo>
                                                                          <a:lnTo>
                                                                            <a:pt x="240" y="84"/>
                                                                          </a:lnTo>
                                                                          <a:lnTo>
                                                                            <a:pt x="246" y="84"/>
                                                                          </a:lnTo>
                                                                          <a:lnTo>
                                                                            <a:pt x="250" y="82"/>
                                                                          </a:lnTo>
                                                                          <a:lnTo>
                                                                            <a:pt x="252" y="80"/>
                                                                          </a:lnTo>
                                                                          <a:lnTo>
                                                                            <a:pt x="252" y="74"/>
                                                                          </a:lnTo>
                                                                          <a:lnTo>
                                                                            <a:pt x="252" y="74"/>
                                                                          </a:lnTo>
                                                                          <a:lnTo>
                                                                            <a:pt x="252" y="70"/>
                                                                          </a:lnTo>
                                                                          <a:lnTo>
                                                                            <a:pt x="250" y="68"/>
                                                                          </a:lnTo>
                                                                          <a:lnTo>
                                                                            <a:pt x="246" y="66"/>
                                                                          </a:lnTo>
                                                                          <a:lnTo>
                                                                            <a:pt x="242" y="66"/>
                                                                          </a:lnTo>
                                                                          <a:lnTo>
                                                                            <a:pt x="230" y="66"/>
                                                                          </a:lnTo>
                                                                          <a:lnTo>
                                                                            <a:pt x="214" y="62"/>
                                                                          </a:lnTo>
                                                                          <a:lnTo>
                                                                            <a:pt x="214" y="62"/>
                                                                          </a:lnTo>
                                                                          <a:lnTo>
                                                                            <a:pt x="208" y="60"/>
                                                                          </a:lnTo>
                                                                          <a:lnTo>
                                                                            <a:pt x="208" y="60"/>
                                                                          </a:lnTo>
                                                                          <a:lnTo>
                                                                            <a:pt x="208" y="58"/>
                                                                          </a:lnTo>
                                                                          <a:lnTo>
                                                                            <a:pt x="218" y="52"/>
                                                                          </a:lnTo>
                                                                          <a:lnTo>
                                                                            <a:pt x="228" y="48"/>
                                                                          </a:lnTo>
                                                                          <a:lnTo>
                                                                            <a:pt x="228" y="48"/>
                                                                          </a:lnTo>
                                                                          <a:lnTo>
                                                                            <a:pt x="228" y="46"/>
                                                                          </a:lnTo>
                                                                          <a:lnTo>
                                                                            <a:pt x="222" y="46"/>
                                                                          </a:lnTo>
                                                                          <a:lnTo>
                                                                            <a:pt x="222" y="46"/>
                                                                          </a:lnTo>
                                                                          <a:lnTo>
                                                                            <a:pt x="214" y="44"/>
                                                                          </a:lnTo>
                                                                          <a:lnTo>
                                                                            <a:pt x="214" y="42"/>
                                                                          </a:lnTo>
                                                                          <a:lnTo>
                                                                            <a:pt x="214" y="42"/>
                                                                          </a:lnTo>
                                                                          <a:lnTo>
                                                                            <a:pt x="216" y="40"/>
                                                                          </a:lnTo>
                                                                          <a:lnTo>
                                                                            <a:pt x="212" y="38"/>
                                                                          </a:lnTo>
                                                                          <a:lnTo>
                                                                            <a:pt x="212" y="38"/>
                                                                          </a:lnTo>
                                                                          <a:lnTo>
                                                                            <a:pt x="208" y="36"/>
                                                                          </a:lnTo>
                                                                          <a:lnTo>
                                                                            <a:pt x="208" y="34"/>
                                                                          </a:lnTo>
                                                                          <a:lnTo>
                                                                            <a:pt x="214" y="28"/>
                                                                          </a:lnTo>
                                                                          <a:lnTo>
                                                                            <a:pt x="214" y="28"/>
                                                                          </a:lnTo>
                                                                          <a:lnTo>
                                                                            <a:pt x="218" y="26"/>
                                                                          </a:lnTo>
                                                                          <a:lnTo>
                                                                            <a:pt x="226" y="24"/>
                                                                          </a:lnTo>
                                                                          <a:lnTo>
                                                                            <a:pt x="246" y="22"/>
                                                                          </a:lnTo>
                                                                          <a:lnTo>
                                                                            <a:pt x="246" y="22"/>
                                                                          </a:lnTo>
                                                                          <a:lnTo>
                                                                            <a:pt x="266" y="22"/>
                                                                          </a:lnTo>
                                                                          <a:lnTo>
                                                                            <a:pt x="282" y="22"/>
                                                                          </a:lnTo>
                                                                          <a:lnTo>
                                                                            <a:pt x="288" y="20"/>
                                                                          </a:lnTo>
                                                                          <a:lnTo>
                                                                            <a:pt x="290" y="18"/>
                                                                          </a:lnTo>
                                                                          <a:lnTo>
                                                                            <a:pt x="290" y="18"/>
                                                                          </a:lnTo>
                                                                          <a:lnTo>
                                                                            <a:pt x="294" y="16"/>
                                                                          </a:lnTo>
                                                                          <a:lnTo>
                                                                            <a:pt x="302" y="16"/>
                                                                          </a:lnTo>
                                                                          <a:lnTo>
                                                                            <a:pt x="328" y="14"/>
                                                                          </a:lnTo>
                                                                          <a:lnTo>
                                                                            <a:pt x="328" y="14"/>
                                                                          </a:lnTo>
                                                                          <a:lnTo>
                                                                            <a:pt x="334" y="12"/>
                                                                          </a:lnTo>
                                                                          <a:lnTo>
                                                                            <a:pt x="338" y="10"/>
                                                                          </a:lnTo>
                                                                          <a:lnTo>
                                                                            <a:pt x="342" y="6"/>
                                                                          </a:lnTo>
                                                                          <a:lnTo>
                                                                            <a:pt x="348" y="2"/>
                                                                          </a:lnTo>
                                                                          <a:lnTo>
                                                                            <a:pt x="350" y="2"/>
                                                                          </a:lnTo>
                                                                          <a:lnTo>
                                                                            <a:pt x="356" y="2"/>
                                                                          </a:lnTo>
                                                                          <a:lnTo>
                                                                            <a:pt x="356" y="2"/>
                                                                          </a:lnTo>
                                                                          <a:lnTo>
                                                                            <a:pt x="364" y="2"/>
                                                                          </a:lnTo>
                                                                          <a:lnTo>
                                                                            <a:pt x="370" y="0"/>
                                                                          </a:lnTo>
                                                                          <a:lnTo>
                                                                            <a:pt x="374" y="0"/>
                                                                          </a:lnTo>
                                                                          <a:lnTo>
                                                                            <a:pt x="374" y="4"/>
                                                                          </a:lnTo>
                                                                          <a:lnTo>
                                                                            <a:pt x="374" y="4"/>
                                                                          </a:lnTo>
                                                                          <a:lnTo>
                                                                            <a:pt x="376" y="10"/>
                                                                          </a:lnTo>
                                                                          <a:lnTo>
                                                                            <a:pt x="378" y="12"/>
                                                                          </a:lnTo>
                                                                          <a:lnTo>
                                                                            <a:pt x="380" y="12"/>
                                                                          </a:lnTo>
                                                                          <a:lnTo>
                                                                            <a:pt x="378" y="16"/>
                                                                          </a:lnTo>
                                                                          <a:lnTo>
                                                                            <a:pt x="378" y="16"/>
                                                                          </a:lnTo>
                                                                          <a:lnTo>
                                                                            <a:pt x="378" y="16"/>
                                                                          </a:lnTo>
                                                                          <a:lnTo>
                                                                            <a:pt x="378" y="18"/>
                                                                          </a:lnTo>
                                                                          <a:lnTo>
                                                                            <a:pt x="382" y="22"/>
                                                                          </a:lnTo>
                                                                          <a:lnTo>
                                                                            <a:pt x="388" y="22"/>
                                                                          </a:lnTo>
                                                                          <a:lnTo>
                                                                            <a:pt x="392" y="22"/>
                                                                          </a:lnTo>
                                                                          <a:lnTo>
                                                                            <a:pt x="392" y="22"/>
                                                                          </a:lnTo>
                                                                          <a:lnTo>
                                                                            <a:pt x="394" y="20"/>
                                                                          </a:lnTo>
                                                                          <a:lnTo>
                                                                            <a:pt x="396" y="20"/>
                                                                          </a:lnTo>
                                                                          <a:lnTo>
                                                                            <a:pt x="398" y="22"/>
                                                                          </a:lnTo>
                                                                          <a:lnTo>
                                                                            <a:pt x="402" y="24"/>
                                                                          </a:lnTo>
                                                                          <a:lnTo>
                                                                            <a:pt x="404" y="24"/>
                                                                          </a:lnTo>
                                                                          <a:lnTo>
                                                                            <a:pt x="406" y="22"/>
                                                                          </a:lnTo>
                                                                          <a:lnTo>
                                                                            <a:pt x="406" y="22"/>
                                                                          </a:lnTo>
                                                                          <a:lnTo>
                                                                            <a:pt x="408" y="20"/>
                                                                          </a:lnTo>
                                                                          <a:lnTo>
                                                                            <a:pt x="412" y="22"/>
                                                                          </a:lnTo>
                                                                          <a:lnTo>
                                                                            <a:pt x="416" y="22"/>
                                                                          </a:lnTo>
                                                                          <a:lnTo>
                                                                            <a:pt x="422" y="22"/>
                                                                          </a:lnTo>
                                                                          <a:lnTo>
                                                                            <a:pt x="422" y="22"/>
                                                                          </a:lnTo>
                                                                          <a:lnTo>
                                                                            <a:pt x="420" y="32"/>
                                                                          </a:lnTo>
                                                                          <a:lnTo>
                                                                            <a:pt x="422" y="34"/>
                                                                          </a:lnTo>
                                                                          <a:lnTo>
                                                                            <a:pt x="422" y="34"/>
                                                                          </a:lnTo>
                                                                          <a:lnTo>
                                                                            <a:pt x="428" y="32"/>
                                                                          </a:lnTo>
                                                                          <a:lnTo>
                                                                            <a:pt x="432" y="32"/>
                                                                          </a:lnTo>
                                                                          <a:lnTo>
                                                                            <a:pt x="438" y="32"/>
                                                                          </a:lnTo>
                                                                          <a:lnTo>
                                                                            <a:pt x="438" y="32"/>
                                                                          </a:lnTo>
                                                                          <a:lnTo>
                                                                            <a:pt x="444" y="32"/>
                                                                          </a:lnTo>
                                                                          <a:lnTo>
                                                                            <a:pt x="444" y="30"/>
                                                                          </a:lnTo>
                                                                          <a:lnTo>
                                                                            <a:pt x="442" y="26"/>
                                                                          </a:lnTo>
                                                                          <a:lnTo>
                                                                            <a:pt x="442" y="26"/>
                                                                          </a:lnTo>
                                                                          <a:lnTo>
                                                                            <a:pt x="444" y="24"/>
                                                                          </a:lnTo>
                                                                          <a:lnTo>
                                                                            <a:pt x="444" y="24"/>
                                                                          </a:lnTo>
                                                                          <a:lnTo>
                                                                            <a:pt x="450" y="24"/>
                                                                          </a:lnTo>
                                                                          <a:lnTo>
                                                                            <a:pt x="452" y="22"/>
                                                                          </a:lnTo>
                                                                          <a:lnTo>
                                                                            <a:pt x="456" y="20"/>
                                                                          </a:lnTo>
                                                                          <a:lnTo>
                                                                            <a:pt x="460" y="20"/>
                                                                          </a:lnTo>
                                                                          <a:lnTo>
                                                                            <a:pt x="460" y="20"/>
                                                                          </a:lnTo>
                                                                          <a:lnTo>
                                                                            <a:pt x="470" y="20"/>
                                                                          </a:lnTo>
                                                                          <a:lnTo>
                                                                            <a:pt x="470" y="22"/>
                                                                          </a:lnTo>
                                                                          <a:lnTo>
                                                                            <a:pt x="462" y="26"/>
                                                                          </a:lnTo>
                                                                          <a:lnTo>
                                                                            <a:pt x="462" y="26"/>
                                                                          </a:lnTo>
                                                                          <a:lnTo>
                                                                            <a:pt x="486" y="34"/>
                                                                          </a:lnTo>
                                                                          <a:lnTo>
                                                                            <a:pt x="506" y="42"/>
                                                                          </a:lnTo>
                                                                          <a:lnTo>
                                                                            <a:pt x="520" y="50"/>
                                                                          </a:lnTo>
                                                                          <a:lnTo>
                                                                            <a:pt x="532" y="56"/>
                                                                          </a:lnTo>
                                                                          <a:lnTo>
                                                                            <a:pt x="548" y="72"/>
                                                                          </a:lnTo>
                                                                          <a:lnTo>
                                                                            <a:pt x="562" y="84"/>
                                                                          </a:lnTo>
                                                                          <a:lnTo>
                                                                            <a:pt x="562" y="84"/>
                                                                          </a:lnTo>
                                                                          <a:lnTo>
                                                                            <a:pt x="568" y="88"/>
                                                                          </a:lnTo>
                                                                          <a:lnTo>
                                                                            <a:pt x="572" y="88"/>
                                                                          </a:lnTo>
                                                                          <a:lnTo>
                                                                            <a:pt x="574" y="86"/>
                                                                          </a:lnTo>
                                                                          <a:lnTo>
                                                                            <a:pt x="576" y="82"/>
                                                                          </a:lnTo>
                                                                          <a:lnTo>
                                                                            <a:pt x="578" y="78"/>
                                                                          </a:lnTo>
                                                                          <a:lnTo>
                                                                            <a:pt x="580" y="78"/>
                                                                          </a:lnTo>
                                                                          <a:lnTo>
                                                                            <a:pt x="584" y="84"/>
                                                                          </a:lnTo>
                                                                          <a:lnTo>
                                                                            <a:pt x="584" y="84"/>
                                                                          </a:lnTo>
                                                                          <a:lnTo>
                                                                            <a:pt x="588" y="88"/>
                                                                          </a:lnTo>
                                                                          <a:lnTo>
                                                                            <a:pt x="592" y="90"/>
                                                                          </a:lnTo>
                                                                          <a:lnTo>
                                                                            <a:pt x="598" y="88"/>
                                                                          </a:lnTo>
                                                                          <a:lnTo>
                                                                            <a:pt x="606" y="88"/>
                                                                          </a:lnTo>
                                                                          <a:lnTo>
                                                                            <a:pt x="618" y="84"/>
                                                                          </a:lnTo>
                                                                          <a:lnTo>
                                                                            <a:pt x="624" y="84"/>
                                                                          </a:lnTo>
                                                                          <a:lnTo>
                                                                            <a:pt x="628" y="88"/>
                                                                          </a:lnTo>
                                                                          <a:lnTo>
                                                                            <a:pt x="628" y="88"/>
                                                                          </a:lnTo>
                                                                          <a:lnTo>
                                                                            <a:pt x="632" y="94"/>
                                                                          </a:lnTo>
                                                                          <a:lnTo>
                                                                            <a:pt x="636" y="94"/>
                                                                          </a:lnTo>
                                                                          <a:lnTo>
                                                                            <a:pt x="640" y="96"/>
                                                                          </a:lnTo>
                                                                          <a:lnTo>
                                                                            <a:pt x="646" y="102"/>
                                                                          </a:lnTo>
                                                                          <a:lnTo>
                                                                            <a:pt x="646" y="102"/>
                                                                          </a:lnTo>
                                                                          <a:lnTo>
                                                                            <a:pt x="648" y="104"/>
                                                                          </a:lnTo>
                                                                          <a:lnTo>
                                                                            <a:pt x="650" y="106"/>
                                                                          </a:lnTo>
                                                                          <a:lnTo>
                                                                            <a:pt x="654" y="104"/>
                                                                          </a:lnTo>
                                                                          <a:lnTo>
                                                                            <a:pt x="658" y="104"/>
                                                                          </a:lnTo>
                                                                          <a:lnTo>
                                                                            <a:pt x="660" y="104"/>
                                                                          </a:lnTo>
                                                                          <a:lnTo>
                                                                            <a:pt x="664" y="108"/>
                                                                          </a:lnTo>
                                                                          <a:lnTo>
                                                                            <a:pt x="664" y="108"/>
                                                                          </a:lnTo>
                                                                          <a:lnTo>
                                                                            <a:pt x="668" y="110"/>
                                                                          </a:lnTo>
                                                                          <a:lnTo>
                                                                            <a:pt x="672" y="110"/>
                                                                          </a:lnTo>
                                                                          <a:lnTo>
                                                                            <a:pt x="676" y="110"/>
                                                                          </a:lnTo>
                                                                          <a:lnTo>
                                                                            <a:pt x="678" y="108"/>
                                                                          </a:lnTo>
                                                                          <a:lnTo>
                                                                            <a:pt x="678" y="108"/>
                                                                          </a:lnTo>
                                                                          <a:lnTo>
                                                                            <a:pt x="680" y="106"/>
                                                                          </a:lnTo>
                                                                          <a:lnTo>
                                                                            <a:pt x="682" y="104"/>
                                                                          </a:lnTo>
                                                                          <a:lnTo>
                                                                            <a:pt x="690" y="104"/>
                                                                          </a:lnTo>
                                                                          <a:lnTo>
                                                                            <a:pt x="690" y="104"/>
                                                                          </a:lnTo>
                                                                          <a:lnTo>
                                                                            <a:pt x="694" y="104"/>
                                                                          </a:lnTo>
                                                                          <a:lnTo>
                                                                            <a:pt x="696" y="104"/>
                                                                          </a:lnTo>
                                                                          <a:lnTo>
                                                                            <a:pt x="700" y="102"/>
                                                                          </a:lnTo>
                                                                          <a:lnTo>
                                                                            <a:pt x="708" y="102"/>
                                                                          </a:lnTo>
                                                                          <a:lnTo>
                                                                            <a:pt x="708" y="102"/>
                                                                          </a:lnTo>
                                                                          <a:lnTo>
                                                                            <a:pt x="714" y="104"/>
                                                                          </a:lnTo>
                                                                          <a:lnTo>
                                                                            <a:pt x="718" y="108"/>
                                                                          </a:lnTo>
                                                                          <a:lnTo>
                                                                            <a:pt x="722" y="112"/>
                                                                          </a:lnTo>
                                                                          <a:lnTo>
                                                                            <a:pt x="726" y="114"/>
                                                                          </a:lnTo>
                                                                          <a:lnTo>
                                                                            <a:pt x="726" y="114"/>
                                                                          </a:lnTo>
                                                                          <a:lnTo>
                                                                            <a:pt x="728" y="114"/>
                                                                          </a:lnTo>
                                                                          <a:lnTo>
                                                                            <a:pt x="728" y="116"/>
                                                                          </a:lnTo>
                                                                          <a:lnTo>
                                                                            <a:pt x="730" y="118"/>
                                                                          </a:lnTo>
                                                                          <a:lnTo>
                                                                            <a:pt x="738" y="118"/>
                                                                          </a:lnTo>
                                                                          <a:lnTo>
                                                                            <a:pt x="738" y="118"/>
                                                                          </a:lnTo>
                                                                          <a:lnTo>
                                                                            <a:pt x="736" y="120"/>
                                                                          </a:lnTo>
                                                                          <a:lnTo>
                                                                            <a:pt x="734" y="122"/>
                                                                          </a:lnTo>
                                                                          <a:lnTo>
                                                                            <a:pt x="722" y="122"/>
                                                                          </a:lnTo>
                                                                          <a:lnTo>
                                                                            <a:pt x="718" y="122"/>
                                                                          </a:lnTo>
                                                                          <a:lnTo>
                                                                            <a:pt x="714" y="126"/>
                                                                          </a:lnTo>
                                                                          <a:lnTo>
                                                                            <a:pt x="714" y="134"/>
                                                                          </a:lnTo>
                                                                          <a:lnTo>
                                                                            <a:pt x="716" y="146"/>
                                                                          </a:lnTo>
                                                                          <a:lnTo>
                                                                            <a:pt x="716" y="146"/>
                                                                          </a:lnTo>
                                                                          <a:lnTo>
                                                                            <a:pt x="716" y="148"/>
                                                                          </a:lnTo>
                                                                          <a:lnTo>
                                                                            <a:pt x="714" y="150"/>
                                                                          </a:lnTo>
                                                                          <a:lnTo>
                                                                            <a:pt x="706" y="154"/>
                                                                          </a:lnTo>
                                                                          <a:lnTo>
                                                                            <a:pt x="696" y="156"/>
                                                                          </a:lnTo>
                                                                          <a:lnTo>
                                                                            <a:pt x="686" y="154"/>
                                                                          </a:lnTo>
                                                                          <a:lnTo>
                                                                            <a:pt x="686" y="154"/>
                                                                          </a:lnTo>
                                                                          <a:lnTo>
                                                                            <a:pt x="680" y="152"/>
                                                                          </a:lnTo>
                                                                          <a:lnTo>
                                                                            <a:pt x="676" y="152"/>
                                                                          </a:lnTo>
                                                                          <a:lnTo>
                                                                            <a:pt x="672" y="154"/>
                                                                          </a:lnTo>
                                                                          <a:lnTo>
                                                                            <a:pt x="672" y="158"/>
                                                                          </a:lnTo>
                                                                          <a:lnTo>
                                                                            <a:pt x="672" y="168"/>
                                                                          </a:lnTo>
                                                                          <a:lnTo>
                                                                            <a:pt x="674" y="186"/>
                                                                          </a:lnTo>
                                                                          <a:lnTo>
                                                                            <a:pt x="674" y="186"/>
                                                                          </a:lnTo>
                                                                          <a:lnTo>
                                                                            <a:pt x="674" y="190"/>
                                                                          </a:lnTo>
                                                                          <a:lnTo>
                                                                            <a:pt x="674" y="192"/>
                                                                          </a:lnTo>
                                                                          <a:lnTo>
                                                                            <a:pt x="666" y="192"/>
                                                                          </a:lnTo>
                                                                          <a:lnTo>
                                                                            <a:pt x="656" y="192"/>
                                                                          </a:lnTo>
                                                                          <a:lnTo>
                                                                            <a:pt x="648" y="194"/>
                                                                          </a:lnTo>
                                                                          <a:lnTo>
                                                                            <a:pt x="648" y="194"/>
                                                                          </a:lnTo>
                                                                          <a:lnTo>
                                                                            <a:pt x="642" y="198"/>
                                                                          </a:lnTo>
                                                                          <a:lnTo>
                                                                            <a:pt x="640" y="202"/>
                                                                          </a:lnTo>
                                                                          <a:lnTo>
                                                                            <a:pt x="640" y="206"/>
                                                                          </a:lnTo>
                                                                          <a:lnTo>
                                                                            <a:pt x="642" y="206"/>
                                                                          </a:lnTo>
                                                                          <a:lnTo>
                                                                            <a:pt x="642" y="206"/>
                                                                          </a:lnTo>
                                                                          <a:lnTo>
                                                                            <a:pt x="644" y="206"/>
                                                                          </a:lnTo>
                                                                          <a:lnTo>
                                                                            <a:pt x="648" y="208"/>
                                                                          </a:lnTo>
                                                                          <a:lnTo>
                                                                            <a:pt x="656" y="218"/>
                                                                          </a:lnTo>
                                                                          <a:lnTo>
                                                                            <a:pt x="664" y="226"/>
                                                                          </a:lnTo>
                                                                          <a:lnTo>
                                                                            <a:pt x="666" y="232"/>
                                                                          </a:lnTo>
                                                                          <a:lnTo>
                                                                            <a:pt x="664" y="234"/>
                                                                          </a:lnTo>
                                                                          <a:lnTo>
                                                                            <a:pt x="664" y="234"/>
                                                                          </a:lnTo>
                                                                          <a:lnTo>
                                                                            <a:pt x="662" y="238"/>
                                                                          </a:lnTo>
                                                                          <a:lnTo>
                                                                            <a:pt x="662" y="242"/>
                                                                          </a:lnTo>
                                                                          <a:lnTo>
                                                                            <a:pt x="666" y="246"/>
                                                                          </a:lnTo>
                                                                          <a:lnTo>
                                                                            <a:pt x="668" y="252"/>
                                                                          </a:lnTo>
                                                                          <a:lnTo>
                                                                            <a:pt x="668" y="254"/>
                                                                          </a:lnTo>
                                                                          <a:lnTo>
                                                                            <a:pt x="664" y="256"/>
                                                                          </a:lnTo>
                                                                          <a:lnTo>
                                                                            <a:pt x="664" y="256"/>
                                                                          </a:lnTo>
                                                                          <a:lnTo>
                                                                            <a:pt x="660" y="260"/>
                                                                          </a:lnTo>
                                                                          <a:lnTo>
                                                                            <a:pt x="658" y="258"/>
                                                                          </a:lnTo>
                                                                          <a:lnTo>
                                                                            <a:pt x="656" y="254"/>
                                                                          </a:lnTo>
                                                                          <a:lnTo>
                                                                            <a:pt x="654" y="254"/>
                                                                          </a:lnTo>
                                                                          <a:lnTo>
                                                                            <a:pt x="650" y="254"/>
                                                                          </a:lnTo>
                                                                          <a:lnTo>
                                                                            <a:pt x="650" y="254"/>
                                                                          </a:lnTo>
                                                                          <a:lnTo>
                                                                            <a:pt x="642" y="254"/>
                                                                          </a:lnTo>
                                                                          <a:lnTo>
                                                                            <a:pt x="638" y="252"/>
                                                                          </a:lnTo>
                                                                          <a:lnTo>
                                                                            <a:pt x="638" y="250"/>
                                                                          </a:lnTo>
                                                                          <a:lnTo>
                                                                            <a:pt x="634" y="250"/>
                                                                          </a:lnTo>
                                                                          <a:lnTo>
                                                                            <a:pt x="634" y="250"/>
                                                                          </a:lnTo>
                                                                          <a:lnTo>
                                                                            <a:pt x="624" y="250"/>
                                                                          </a:lnTo>
                                                                          <a:lnTo>
                                                                            <a:pt x="608" y="250"/>
                                                                          </a:lnTo>
                                                                          <a:lnTo>
                                                                            <a:pt x="576" y="250"/>
                                                                          </a:lnTo>
                                                                          <a:lnTo>
                                                                            <a:pt x="576" y="250"/>
                                                                          </a:lnTo>
                                                                          <a:lnTo>
                                                                            <a:pt x="564" y="248"/>
                                                                          </a:lnTo>
                                                                          <a:lnTo>
                                                                            <a:pt x="554" y="244"/>
                                                                          </a:lnTo>
                                                                          <a:lnTo>
                                                                            <a:pt x="546" y="244"/>
                                                                          </a:lnTo>
                                                                          <a:lnTo>
                                                                            <a:pt x="544" y="246"/>
                                                                          </a:lnTo>
                                                                          <a:lnTo>
                                                                            <a:pt x="544" y="250"/>
                                                                          </a:lnTo>
                                                                          <a:lnTo>
                                                                            <a:pt x="544" y="250"/>
                                                                          </a:lnTo>
                                                                          <a:lnTo>
                                                                            <a:pt x="542" y="254"/>
                                                                          </a:lnTo>
                                                                          <a:lnTo>
                                                                            <a:pt x="542" y="254"/>
                                                                          </a:lnTo>
                                                                          <a:lnTo>
                                                                            <a:pt x="536" y="254"/>
                                                                          </a:lnTo>
                                                                          <a:lnTo>
                                                                            <a:pt x="528" y="252"/>
                                                                          </a:lnTo>
                                                                          <a:lnTo>
                                                                            <a:pt x="524" y="250"/>
                                                                          </a:lnTo>
                                                                          <a:lnTo>
                                                                            <a:pt x="520" y="252"/>
                                                                          </a:lnTo>
                                                                          <a:lnTo>
                                                                            <a:pt x="520" y="252"/>
                                                                          </a:lnTo>
                                                                          <a:lnTo>
                                                                            <a:pt x="512" y="252"/>
                                                                          </a:lnTo>
                                                                          <a:lnTo>
                                                                            <a:pt x="510" y="252"/>
                                                                          </a:lnTo>
                                                                          <a:lnTo>
                                                                            <a:pt x="506" y="252"/>
                                                                          </a:lnTo>
                                                                          <a:lnTo>
                                                                            <a:pt x="498" y="260"/>
                                                                          </a:lnTo>
                                                                          <a:lnTo>
                                                                            <a:pt x="498" y="260"/>
                                                                          </a:lnTo>
                                                                          <a:close/>
                                                                        </a:path>
                                                                      </a:pathLst>
                                                                    </a:custGeom>
                                                                    <a:solidFill>
                                                                      <a:schemeClr val="accent3"/>
                                                                    </a:solid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5" name="Freeform 64"/>
                                                                    <p:cNvSpPr>
                                                                      <a:spLocks/>
                                                                    </p:cNvSpPr>
                                                                    <p:nvPr/>
                                                                  </p:nvSpPr>
                                                                  <p:spPr bwMode="auto">
                                                                    <a:xfrm>
                                                                      <a:off x="8213441" y="1793391"/>
                                                                      <a:ext cx="893067" cy="321692"/>
                                                                    </a:xfrm>
                                                                    <a:custGeom>
                                                                      <a:avLst/>
                                                                      <a:gdLst/>
                                                                      <a:ahLst/>
                                                                      <a:cxnLst>
                                                                        <a:cxn ang="0">
                                                                          <a:pos x="4" y="60"/>
                                                                        </a:cxn>
                                                                        <a:cxn ang="0">
                                                                          <a:pos x="18" y="50"/>
                                                                        </a:cxn>
                                                                        <a:cxn ang="0">
                                                                          <a:pos x="24" y="48"/>
                                                                        </a:cxn>
                                                                        <a:cxn ang="0">
                                                                          <a:pos x="32" y="44"/>
                                                                        </a:cxn>
                                                                        <a:cxn ang="0">
                                                                          <a:pos x="46" y="40"/>
                                                                        </a:cxn>
                                                                        <a:cxn ang="0">
                                                                          <a:pos x="58" y="34"/>
                                                                        </a:cxn>
                                                                        <a:cxn ang="0">
                                                                          <a:pos x="74" y="30"/>
                                                                        </a:cxn>
                                                                        <a:cxn ang="0">
                                                                          <a:pos x="86" y="34"/>
                                                                        </a:cxn>
                                                                        <a:cxn ang="0">
                                                                          <a:pos x="102" y="46"/>
                                                                        </a:cxn>
                                                                        <a:cxn ang="0">
                                                                          <a:pos x="116" y="48"/>
                                                                        </a:cxn>
                                                                        <a:cxn ang="0">
                                                                          <a:pos x="148" y="52"/>
                                                                        </a:cxn>
                                                                        <a:cxn ang="0">
                                                                          <a:pos x="164" y="50"/>
                                                                        </a:cxn>
                                                                        <a:cxn ang="0">
                                                                          <a:pos x="162" y="36"/>
                                                                        </a:cxn>
                                                                        <a:cxn ang="0">
                                                                          <a:pos x="152" y="26"/>
                                                                        </a:cxn>
                                                                        <a:cxn ang="0">
                                                                          <a:pos x="152" y="6"/>
                                                                        </a:cxn>
                                                                        <a:cxn ang="0">
                                                                          <a:pos x="176" y="6"/>
                                                                        </a:cxn>
                                                                        <a:cxn ang="0">
                                                                          <a:pos x="218" y="32"/>
                                                                        </a:cxn>
                                                                        <a:cxn ang="0">
                                                                          <a:pos x="250" y="46"/>
                                                                        </a:cxn>
                                                                        <a:cxn ang="0">
                                                                          <a:pos x="294" y="44"/>
                                                                        </a:cxn>
                                                                        <a:cxn ang="0">
                                                                          <a:pos x="320" y="56"/>
                                                                        </a:cxn>
                                                                        <a:cxn ang="0">
                                                                          <a:pos x="364" y="56"/>
                                                                        </a:cxn>
                                                                        <a:cxn ang="0">
                                                                          <a:pos x="428" y="46"/>
                                                                        </a:cxn>
                                                                        <a:cxn ang="0">
                                                                          <a:pos x="462" y="54"/>
                                                                        </a:cxn>
                                                                        <a:cxn ang="0">
                                                                          <a:pos x="462" y="72"/>
                                                                        </a:cxn>
                                                                        <a:cxn ang="0">
                                                                          <a:pos x="450" y="86"/>
                                                                        </a:cxn>
                                                                        <a:cxn ang="0">
                                                                          <a:pos x="490" y="84"/>
                                                                        </a:cxn>
                                                                        <a:cxn ang="0">
                                                                          <a:pos x="516" y="86"/>
                                                                        </a:cxn>
                                                                        <a:cxn ang="0">
                                                                          <a:pos x="542" y="72"/>
                                                                        </a:cxn>
                                                                        <a:cxn ang="0">
                                                                          <a:pos x="582" y="92"/>
                                                                        </a:cxn>
                                                                        <a:cxn ang="0">
                                                                          <a:pos x="584" y="108"/>
                                                                        </a:cxn>
                                                                        <a:cxn ang="0">
                                                                          <a:pos x="568" y="112"/>
                                                                        </a:cxn>
                                                                        <a:cxn ang="0">
                                                                          <a:pos x="548" y="116"/>
                                                                        </a:cxn>
                                                                        <a:cxn ang="0">
                                                                          <a:pos x="526" y="134"/>
                                                                        </a:cxn>
                                                                        <a:cxn ang="0">
                                                                          <a:pos x="514" y="146"/>
                                                                        </a:cxn>
                                                                        <a:cxn ang="0">
                                                                          <a:pos x="492" y="144"/>
                                                                        </a:cxn>
                                                                        <a:cxn ang="0">
                                                                          <a:pos x="496" y="158"/>
                                                                        </a:cxn>
                                                                        <a:cxn ang="0">
                                                                          <a:pos x="512" y="170"/>
                                                                        </a:cxn>
                                                                        <a:cxn ang="0">
                                                                          <a:pos x="496" y="186"/>
                                                                        </a:cxn>
                                                                        <a:cxn ang="0">
                                                                          <a:pos x="486" y="196"/>
                                                                        </a:cxn>
                                                                        <a:cxn ang="0">
                                                                          <a:pos x="450" y="200"/>
                                                                        </a:cxn>
                                                                        <a:cxn ang="0">
                                                                          <a:pos x="402" y="212"/>
                                                                        </a:cxn>
                                                                        <a:cxn ang="0">
                                                                          <a:pos x="338" y="198"/>
                                                                        </a:cxn>
                                                                        <a:cxn ang="0">
                                                                          <a:pos x="310" y="190"/>
                                                                        </a:cxn>
                                                                        <a:cxn ang="0">
                                                                          <a:pos x="276" y="192"/>
                                                                        </a:cxn>
                                                                        <a:cxn ang="0">
                                                                          <a:pos x="242" y="190"/>
                                                                        </a:cxn>
                                                                        <a:cxn ang="0">
                                                                          <a:pos x="218" y="198"/>
                                                                        </a:cxn>
                                                                        <a:cxn ang="0">
                                                                          <a:pos x="210" y="176"/>
                                                                        </a:cxn>
                                                                        <a:cxn ang="0">
                                                                          <a:pos x="202" y="164"/>
                                                                        </a:cxn>
                                                                        <a:cxn ang="0">
                                                                          <a:pos x="198" y="156"/>
                                                                        </a:cxn>
                                                                        <a:cxn ang="0">
                                                                          <a:pos x="172" y="158"/>
                                                                        </a:cxn>
                                                                        <a:cxn ang="0">
                                                                          <a:pos x="102" y="150"/>
                                                                        </a:cxn>
                                                                        <a:cxn ang="0">
                                                                          <a:pos x="96" y="144"/>
                                                                        </a:cxn>
                                                                        <a:cxn ang="0">
                                                                          <a:pos x="92" y="128"/>
                                                                        </a:cxn>
                                                                        <a:cxn ang="0">
                                                                          <a:pos x="78" y="114"/>
                                                                        </a:cxn>
                                                                        <a:cxn ang="0">
                                                                          <a:pos x="64" y="94"/>
                                                                        </a:cxn>
                                                                        <a:cxn ang="0">
                                                                          <a:pos x="48" y="84"/>
                                                                        </a:cxn>
                                                                        <a:cxn ang="0">
                                                                          <a:pos x="32" y="86"/>
                                                                        </a:cxn>
                                                                        <a:cxn ang="0">
                                                                          <a:pos x="8" y="76"/>
                                                                        </a:cxn>
                                                                      </a:cxnLst>
                                                                      <a:rect l="0" t="0" r="r" b="b"/>
                                                                      <a:pathLst>
                                                                        <a:path w="588" h="212">
                                                                          <a:moveTo>
                                                                            <a:pt x="0" y="68"/>
                                                                          </a:moveTo>
                                                                          <a:lnTo>
                                                                            <a:pt x="0" y="68"/>
                                                                          </a:lnTo>
                                                                          <a:lnTo>
                                                                            <a:pt x="2" y="66"/>
                                                                          </a:lnTo>
                                                                          <a:lnTo>
                                                                            <a:pt x="2" y="62"/>
                                                                          </a:lnTo>
                                                                          <a:lnTo>
                                                                            <a:pt x="4" y="60"/>
                                                                          </a:lnTo>
                                                                          <a:lnTo>
                                                                            <a:pt x="8" y="58"/>
                                                                          </a:lnTo>
                                                                          <a:lnTo>
                                                                            <a:pt x="8" y="58"/>
                                                                          </a:lnTo>
                                                                          <a:lnTo>
                                                                            <a:pt x="12" y="56"/>
                                                                          </a:lnTo>
                                                                          <a:lnTo>
                                                                            <a:pt x="16" y="52"/>
                                                                          </a:lnTo>
                                                                          <a:lnTo>
                                                                            <a:pt x="18" y="50"/>
                                                                          </a:lnTo>
                                                                          <a:lnTo>
                                                                            <a:pt x="22" y="52"/>
                                                                          </a:lnTo>
                                                                          <a:lnTo>
                                                                            <a:pt x="22" y="52"/>
                                                                          </a:lnTo>
                                                                          <a:lnTo>
                                                                            <a:pt x="24" y="52"/>
                                                                          </a:lnTo>
                                                                          <a:lnTo>
                                                                            <a:pt x="24" y="52"/>
                                                                          </a:lnTo>
                                                                          <a:lnTo>
                                                                            <a:pt x="24" y="48"/>
                                                                          </a:lnTo>
                                                                          <a:lnTo>
                                                                            <a:pt x="26" y="44"/>
                                                                          </a:lnTo>
                                                                          <a:lnTo>
                                                                            <a:pt x="26" y="44"/>
                                                                          </a:lnTo>
                                                                          <a:lnTo>
                                                                            <a:pt x="28" y="44"/>
                                                                          </a:lnTo>
                                                                          <a:lnTo>
                                                                            <a:pt x="28" y="44"/>
                                                                          </a:lnTo>
                                                                          <a:lnTo>
                                                                            <a:pt x="32" y="44"/>
                                                                          </a:lnTo>
                                                                          <a:lnTo>
                                                                            <a:pt x="36" y="42"/>
                                                                          </a:lnTo>
                                                                          <a:lnTo>
                                                                            <a:pt x="40" y="40"/>
                                                                          </a:lnTo>
                                                                          <a:lnTo>
                                                                            <a:pt x="44" y="40"/>
                                                                          </a:lnTo>
                                                                          <a:lnTo>
                                                                            <a:pt x="44" y="40"/>
                                                                          </a:lnTo>
                                                                          <a:lnTo>
                                                                            <a:pt x="46" y="40"/>
                                                                          </a:lnTo>
                                                                          <a:lnTo>
                                                                            <a:pt x="50" y="36"/>
                                                                          </a:lnTo>
                                                                          <a:lnTo>
                                                                            <a:pt x="54" y="34"/>
                                                                          </a:lnTo>
                                                                          <a:lnTo>
                                                                            <a:pt x="56" y="32"/>
                                                                          </a:lnTo>
                                                                          <a:lnTo>
                                                                            <a:pt x="58" y="34"/>
                                                                          </a:lnTo>
                                                                          <a:lnTo>
                                                                            <a:pt x="58" y="34"/>
                                                                          </a:lnTo>
                                                                          <a:lnTo>
                                                                            <a:pt x="60" y="34"/>
                                                                          </a:lnTo>
                                                                          <a:lnTo>
                                                                            <a:pt x="62" y="34"/>
                                                                          </a:lnTo>
                                                                          <a:lnTo>
                                                                            <a:pt x="66" y="32"/>
                                                                          </a:lnTo>
                                                                          <a:lnTo>
                                                                            <a:pt x="70" y="30"/>
                                                                          </a:lnTo>
                                                                          <a:lnTo>
                                                                            <a:pt x="74" y="30"/>
                                                                          </a:lnTo>
                                                                          <a:lnTo>
                                                                            <a:pt x="76" y="30"/>
                                                                          </a:lnTo>
                                                                          <a:lnTo>
                                                                            <a:pt x="76" y="30"/>
                                                                          </a:lnTo>
                                                                          <a:lnTo>
                                                                            <a:pt x="78" y="34"/>
                                                                          </a:lnTo>
                                                                          <a:lnTo>
                                                                            <a:pt x="80" y="34"/>
                                                                          </a:lnTo>
                                                                          <a:lnTo>
                                                                            <a:pt x="86" y="34"/>
                                                                          </a:lnTo>
                                                                          <a:lnTo>
                                                                            <a:pt x="90" y="34"/>
                                                                          </a:lnTo>
                                                                          <a:lnTo>
                                                                            <a:pt x="94" y="36"/>
                                                                          </a:lnTo>
                                                                          <a:lnTo>
                                                                            <a:pt x="96" y="40"/>
                                                                          </a:lnTo>
                                                                          <a:lnTo>
                                                                            <a:pt x="96" y="40"/>
                                                                          </a:lnTo>
                                                                          <a:lnTo>
                                                                            <a:pt x="102" y="46"/>
                                                                          </a:lnTo>
                                                                          <a:lnTo>
                                                                            <a:pt x="104" y="46"/>
                                                                          </a:lnTo>
                                                                          <a:lnTo>
                                                                            <a:pt x="108" y="46"/>
                                                                          </a:lnTo>
                                                                          <a:lnTo>
                                                                            <a:pt x="112" y="46"/>
                                                                          </a:lnTo>
                                                                          <a:lnTo>
                                                                            <a:pt x="112" y="46"/>
                                                                          </a:lnTo>
                                                                          <a:lnTo>
                                                                            <a:pt x="116" y="48"/>
                                                                          </a:lnTo>
                                                                          <a:lnTo>
                                                                            <a:pt x="120" y="50"/>
                                                                          </a:lnTo>
                                                                          <a:lnTo>
                                                                            <a:pt x="126" y="50"/>
                                                                          </a:lnTo>
                                                                          <a:lnTo>
                                                                            <a:pt x="136" y="52"/>
                                                                          </a:lnTo>
                                                                          <a:lnTo>
                                                                            <a:pt x="136" y="52"/>
                                                                          </a:lnTo>
                                                                          <a:lnTo>
                                                                            <a:pt x="148" y="52"/>
                                                                          </a:lnTo>
                                                                          <a:lnTo>
                                                                            <a:pt x="154" y="50"/>
                                                                          </a:lnTo>
                                                                          <a:lnTo>
                                                                            <a:pt x="158" y="50"/>
                                                                          </a:lnTo>
                                                                          <a:lnTo>
                                                                            <a:pt x="160" y="50"/>
                                                                          </a:lnTo>
                                                                          <a:lnTo>
                                                                            <a:pt x="160" y="50"/>
                                                                          </a:lnTo>
                                                                          <a:lnTo>
                                                                            <a:pt x="164" y="50"/>
                                                                          </a:lnTo>
                                                                          <a:lnTo>
                                                                            <a:pt x="166" y="46"/>
                                                                          </a:lnTo>
                                                                          <a:lnTo>
                                                                            <a:pt x="168" y="44"/>
                                                                          </a:lnTo>
                                                                          <a:lnTo>
                                                                            <a:pt x="168" y="42"/>
                                                                          </a:lnTo>
                                                                          <a:lnTo>
                                                                            <a:pt x="166" y="40"/>
                                                                          </a:lnTo>
                                                                          <a:lnTo>
                                                                            <a:pt x="162" y="36"/>
                                                                          </a:lnTo>
                                                                          <a:lnTo>
                                                                            <a:pt x="162" y="36"/>
                                                                          </a:lnTo>
                                                                          <a:lnTo>
                                                                            <a:pt x="150" y="30"/>
                                                                          </a:lnTo>
                                                                          <a:lnTo>
                                                                            <a:pt x="148" y="28"/>
                                                                          </a:lnTo>
                                                                          <a:lnTo>
                                                                            <a:pt x="148" y="28"/>
                                                                          </a:lnTo>
                                                                          <a:lnTo>
                                                                            <a:pt x="152" y="26"/>
                                                                          </a:lnTo>
                                                                          <a:lnTo>
                                                                            <a:pt x="156" y="20"/>
                                                                          </a:lnTo>
                                                                          <a:lnTo>
                                                                            <a:pt x="156" y="20"/>
                                                                          </a:lnTo>
                                                                          <a:lnTo>
                                                                            <a:pt x="156" y="14"/>
                                                                          </a:lnTo>
                                                                          <a:lnTo>
                                                                            <a:pt x="154" y="10"/>
                                                                          </a:lnTo>
                                                                          <a:lnTo>
                                                                            <a:pt x="152" y="6"/>
                                                                          </a:lnTo>
                                                                          <a:lnTo>
                                                                            <a:pt x="152" y="2"/>
                                                                          </a:lnTo>
                                                                          <a:lnTo>
                                                                            <a:pt x="154" y="0"/>
                                                                          </a:lnTo>
                                                                          <a:lnTo>
                                                                            <a:pt x="154" y="0"/>
                                                                          </a:lnTo>
                                                                          <a:lnTo>
                                                                            <a:pt x="166" y="4"/>
                                                                          </a:lnTo>
                                                                          <a:lnTo>
                                                                            <a:pt x="176" y="6"/>
                                                                          </a:lnTo>
                                                                          <a:lnTo>
                                                                            <a:pt x="192" y="10"/>
                                                                          </a:lnTo>
                                                                          <a:lnTo>
                                                                            <a:pt x="192" y="10"/>
                                                                          </a:lnTo>
                                                                          <a:lnTo>
                                                                            <a:pt x="202" y="14"/>
                                                                          </a:lnTo>
                                                                          <a:lnTo>
                                                                            <a:pt x="208" y="18"/>
                                                                          </a:lnTo>
                                                                          <a:lnTo>
                                                                            <a:pt x="218" y="32"/>
                                                                          </a:lnTo>
                                                                          <a:lnTo>
                                                                            <a:pt x="222" y="38"/>
                                                                          </a:lnTo>
                                                                          <a:lnTo>
                                                                            <a:pt x="228" y="44"/>
                                                                          </a:lnTo>
                                                                          <a:lnTo>
                                                                            <a:pt x="238" y="46"/>
                                                                          </a:lnTo>
                                                                          <a:lnTo>
                                                                            <a:pt x="250" y="46"/>
                                                                          </a:lnTo>
                                                                          <a:lnTo>
                                                                            <a:pt x="250" y="46"/>
                                                                          </a:lnTo>
                                                                          <a:lnTo>
                                                                            <a:pt x="274" y="42"/>
                                                                          </a:lnTo>
                                                                          <a:lnTo>
                                                                            <a:pt x="282" y="44"/>
                                                                          </a:lnTo>
                                                                          <a:lnTo>
                                                                            <a:pt x="286" y="44"/>
                                                                          </a:lnTo>
                                                                          <a:lnTo>
                                                                            <a:pt x="294" y="44"/>
                                                                          </a:lnTo>
                                                                          <a:lnTo>
                                                                            <a:pt x="294" y="44"/>
                                                                          </a:lnTo>
                                                                          <a:lnTo>
                                                                            <a:pt x="306" y="44"/>
                                                                          </a:lnTo>
                                                                          <a:lnTo>
                                                                            <a:pt x="312" y="46"/>
                                                                          </a:lnTo>
                                                                          <a:lnTo>
                                                                            <a:pt x="314" y="50"/>
                                                                          </a:lnTo>
                                                                          <a:lnTo>
                                                                            <a:pt x="318" y="52"/>
                                                                          </a:lnTo>
                                                                          <a:lnTo>
                                                                            <a:pt x="320" y="56"/>
                                                                          </a:lnTo>
                                                                          <a:lnTo>
                                                                            <a:pt x="326" y="58"/>
                                                                          </a:lnTo>
                                                                          <a:lnTo>
                                                                            <a:pt x="334" y="58"/>
                                                                          </a:lnTo>
                                                                          <a:lnTo>
                                                                            <a:pt x="346" y="56"/>
                                                                          </a:lnTo>
                                                                          <a:lnTo>
                                                                            <a:pt x="346" y="56"/>
                                                                          </a:lnTo>
                                                                          <a:lnTo>
                                                                            <a:pt x="364" y="56"/>
                                                                          </a:lnTo>
                                                                          <a:lnTo>
                                                                            <a:pt x="380" y="56"/>
                                                                          </a:lnTo>
                                                                          <a:lnTo>
                                                                            <a:pt x="394" y="56"/>
                                                                          </a:lnTo>
                                                                          <a:lnTo>
                                                                            <a:pt x="412" y="52"/>
                                                                          </a:lnTo>
                                                                          <a:lnTo>
                                                                            <a:pt x="412" y="52"/>
                                                                          </a:lnTo>
                                                                          <a:lnTo>
                                                                            <a:pt x="428" y="46"/>
                                                                          </a:lnTo>
                                                                          <a:lnTo>
                                                                            <a:pt x="440" y="44"/>
                                                                          </a:lnTo>
                                                                          <a:lnTo>
                                                                            <a:pt x="454" y="44"/>
                                                                          </a:lnTo>
                                                                          <a:lnTo>
                                                                            <a:pt x="472" y="48"/>
                                                                          </a:lnTo>
                                                                          <a:lnTo>
                                                                            <a:pt x="472" y="48"/>
                                                                          </a:lnTo>
                                                                          <a:lnTo>
                                                                            <a:pt x="462" y="54"/>
                                                                          </a:lnTo>
                                                                          <a:lnTo>
                                                                            <a:pt x="458" y="58"/>
                                                                          </a:lnTo>
                                                                          <a:lnTo>
                                                                            <a:pt x="458" y="62"/>
                                                                          </a:lnTo>
                                                                          <a:lnTo>
                                                                            <a:pt x="460" y="64"/>
                                                                          </a:lnTo>
                                                                          <a:lnTo>
                                                                            <a:pt x="462" y="70"/>
                                                                          </a:lnTo>
                                                                          <a:lnTo>
                                                                            <a:pt x="462" y="72"/>
                                                                          </a:lnTo>
                                                                          <a:lnTo>
                                                                            <a:pt x="456" y="76"/>
                                                                          </a:lnTo>
                                                                          <a:lnTo>
                                                                            <a:pt x="456" y="76"/>
                                                                          </a:lnTo>
                                                                          <a:lnTo>
                                                                            <a:pt x="450" y="80"/>
                                                                          </a:lnTo>
                                                                          <a:lnTo>
                                                                            <a:pt x="450" y="84"/>
                                                                          </a:lnTo>
                                                                          <a:lnTo>
                                                                            <a:pt x="450" y="86"/>
                                                                          </a:lnTo>
                                                                          <a:lnTo>
                                                                            <a:pt x="452" y="88"/>
                                                                          </a:lnTo>
                                                                          <a:lnTo>
                                                                            <a:pt x="458" y="88"/>
                                                                          </a:lnTo>
                                                                          <a:lnTo>
                                                                            <a:pt x="474" y="86"/>
                                                                          </a:lnTo>
                                                                          <a:lnTo>
                                                                            <a:pt x="474" y="86"/>
                                                                          </a:lnTo>
                                                                          <a:lnTo>
                                                                            <a:pt x="490" y="84"/>
                                                                          </a:lnTo>
                                                                          <a:lnTo>
                                                                            <a:pt x="500" y="84"/>
                                                                          </a:lnTo>
                                                                          <a:lnTo>
                                                                            <a:pt x="506" y="84"/>
                                                                          </a:lnTo>
                                                                          <a:lnTo>
                                                                            <a:pt x="510" y="86"/>
                                                                          </a:lnTo>
                                                                          <a:lnTo>
                                                                            <a:pt x="514" y="88"/>
                                                                          </a:lnTo>
                                                                          <a:lnTo>
                                                                            <a:pt x="516" y="86"/>
                                                                          </a:lnTo>
                                                                          <a:lnTo>
                                                                            <a:pt x="528" y="80"/>
                                                                          </a:lnTo>
                                                                          <a:lnTo>
                                                                            <a:pt x="528" y="80"/>
                                                                          </a:lnTo>
                                                                          <a:lnTo>
                                                                            <a:pt x="532" y="76"/>
                                                                          </a:lnTo>
                                                                          <a:lnTo>
                                                                            <a:pt x="538" y="72"/>
                                                                          </a:lnTo>
                                                                          <a:lnTo>
                                                                            <a:pt x="542" y="72"/>
                                                                          </a:lnTo>
                                                                          <a:lnTo>
                                                                            <a:pt x="546" y="74"/>
                                                                          </a:lnTo>
                                                                          <a:lnTo>
                                                                            <a:pt x="560" y="78"/>
                                                                          </a:lnTo>
                                                                          <a:lnTo>
                                                                            <a:pt x="578" y="90"/>
                                                                          </a:lnTo>
                                                                          <a:lnTo>
                                                                            <a:pt x="578" y="90"/>
                                                                          </a:lnTo>
                                                                          <a:lnTo>
                                                                            <a:pt x="582" y="92"/>
                                                                          </a:lnTo>
                                                                          <a:lnTo>
                                                                            <a:pt x="586" y="96"/>
                                                                          </a:lnTo>
                                                                          <a:lnTo>
                                                                            <a:pt x="588" y="100"/>
                                                                          </a:lnTo>
                                                                          <a:lnTo>
                                                                            <a:pt x="588" y="104"/>
                                                                          </a:lnTo>
                                                                          <a:lnTo>
                                                                            <a:pt x="586" y="106"/>
                                                                          </a:lnTo>
                                                                          <a:lnTo>
                                                                            <a:pt x="584" y="108"/>
                                                                          </a:lnTo>
                                                                          <a:lnTo>
                                                                            <a:pt x="580" y="110"/>
                                                                          </a:lnTo>
                                                                          <a:lnTo>
                                                                            <a:pt x="576" y="110"/>
                                                                          </a:lnTo>
                                                                          <a:lnTo>
                                                                            <a:pt x="576" y="110"/>
                                                                          </a:lnTo>
                                                                          <a:lnTo>
                                                                            <a:pt x="570" y="110"/>
                                                                          </a:lnTo>
                                                                          <a:lnTo>
                                                                            <a:pt x="568" y="112"/>
                                                                          </a:lnTo>
                                                                          <a:lnTo>
                                                                            <a:pt x="566" y="114"/>
                                                                          </a:lnTo>
                                                                          <a:lnTo>
                                                                            <a:pt x="560" y="114"/>
                                                                          </a:lnTo>
                                                                          <a:lnTo>
                                                                            <a:pt x="560" y="114"/>
                                                                          </a:lnTo>
                                                                          <a:lnTo>
                                                                            <a:pt x="552" y="114"/>
                                                                          </a:lnTo>
                                                                          <a:lnTo>
                                                                            <a:pt x="548" y="116"/>
                                                                          </a:lnTo>
                                                                          <a:lnTo>
                                                                            <a:pt x="542" y="124"/>
                                                                          </a:lnTo>
                                                                          <a:lnTo>
                                                                            <a:pt x="542" y="124"/>
                                                                          </a:lnTo>
                                                                          <a:lnTo>
                                                                            <a:pt x="536" y="130"/>
                                                                          </a:lnTo>
                                                                          <a:lnTo>
                                                                            <a:pt x="532" y="132"/>
                                                                          </a:lnTo>
                                                                          <a:lnTo>
                                                                            <a:pt x="526" y="134"/>
                                                                          </a:lnTo>
                                                                          <a:lnTo>
                                                                            <a:pt x="520" y="134"/>
                                                                          </a:lnTo>
                                                                          <a:lnTo>
                                                                            <a:pt x="518" y="136"/>
                                                                          </a:lnTo>
                                                                          <a:lnTo>
                                                                            <a:pt x="516" y="140"/>
                                                                          </a:lnTo>
                                                                          <a:lnTo>
                                                                            <a:pt x="516" y="140"/>
                                                                          </a:lnTo>
                                                                          <a:lnTo>
                                                                            <a:pt x="514" y="146"/>
                                                                          </a:lnTo>
                                                                          <a:lnTo>
                                                                            <a:pt x="510" y="148"/>
                                                                          </a:lnTo>
                                                                          <a:lnTo>
                                                                            <a:pt x="506" y="148"/>
                                                                          </a:lnTo>
                                                                          <a:lnTo>
                                                                            <a:pt x="502" y="148"/>
                                                                          </a:lnTo>
                                                                          <a:lnTo>
                                                                            <a:pt x="496" y="144"/>
                                                                          </a:lnTo>
                                                                          <a:lnTo>
                                                                            <a:pt x="492" y="144"/>
                                                                          </a:lnTo>
                                                                          <a:lnTo>
                                                                            <a:pt x="490" y="148"/>
                                                                          </a:lnTo>
                                                                          <a:lnTo>
                                                                            <a:pt x="490" y="148"/>
                                                                          </a:lnTo>
                                                                          <a:lnTo>
                                                                            <a:pt x="490" y="152"/>
                                                                          </a:lnTo>
                                                                          <a:lnTo>
                                                                            <a:pt x="492" y="156"/>
                                                                          </a:lnTo>
                                                                          <a:lnTo>
                                                                            <a:pt x="496" y="158"/>
                                                                          </a:lnTo>
                                                                          <a:lnTo>
                                                                            <a:pt x="504" y="160"/>
                                                                          </a:lnTo>
                                                                          <a:lnTo>
                                                                            <a:pt x="504" y="160"/>
                                                                          </a:lnTo>
                                                                          <a:lnTo>
                                                                            <a:pt x="508" y="162"/>
                                                                          </a:lnTo>
                                                                          <a:lnTo>
                                                                            <a:pt x="512" y="164"/>
                                                                          </a:lnTo>
                                                                          <a:lnTo>
                                                                            <a:pt x="512" y="170"/>
                                                                          </a:lnTo>
                                                                          <a:lnTo>
                                                                            <a:pt x="512" y="174"/>
                                                                          </a:lnTo>
                                                                          <a:lnTo>
                                                                            <a:pt x="508" y="178"/>
                                                                          </a:lnTo>
                                                                          <a:lnTo>
                                                                            <a:pt x="506" y="182"/>
                                                                          </a:lnTo>
                                                                          <a:lnTo>
                                                                            <a:pt x="502" y="186"/>
                                                                          </a:lnTo>
                                                                          <a:lnTo>
                                                                            <a:pt x="496" y="186"/>
                                                                          </a:lnTo>
                                                                          <a:lnTo>
                                                                            <a:pt x="496" y="186"/>
                                                                          </a:lnTo>
                                                                          <a:lnTo>
                                                                            <a:pt x="494" y="186"/>
                                                                          </a:lnTo>
                                                                          <a:lnTo>
                                                                            <a:pt x="492" y="188"/>
                                                                          </a:lnTo>
                                                                          <a:lnTo>
                                                                            <a:pt x="488" y="194"/>
                                                                          </a:lnTo>
                                                                          <a:lnTo>
                                                                            <a:pt x="486" y="196"/>
                                                                          </a:lnTo>
                                                                          <a:lnTo>
                                                                            <a:pt x="482" y="198"/>
                                                                          </a:lnTo>
                                                                          <a:lnTo>
                                                                            <a:pt x="476" y="200"/>
                                                                          </a:lnTo>
                                                                          <a:lnTo>
                                                                            <a:pt x="468" y="200"/>
                                                                          </a:lnTo>
                                                                          <a:lnTo>
                                                                            <a:pt x="468" y="200"/>
                                                                          </a:lnTo>
                                                                          <a:lnTo>
                                                                            <a:pt x="450" y="200"/>
                                                                          </a:lnTo>
                                                                          <a:lnTo>
                                                                            <a:pt x="438" y="202"/>
                                                                          </a:lnTo>
                                                                          <a:lnTo>
                                                                            <a:pt x="428" y="204"/>
                                                                          </a:lnTo>
                                                                          <a:lnTo>
                                                                            <a:pt x="420" y="208"/>
                                                                          </a:lnTo>
                                                                          <a:lnTo>
                                                                            <a:pt x="412" y="210"/>
                                                                          </a:lnTo>
                                                                          <a:lnTo>
                                                                            <a:pt x="402" y="212"/>
                                                                          </a:lnTo>
                                                                          <a:lnTo>
                                                                            <a:pt x="390" y="212"/>
                                                                          </a:lnTo>
                                                                          <a:lnTo>
                                                                            <a:pt x="372" y="210"/>
                                                                          </a:lnTo>
                                                                          <a:lnTo>
                                                                            <a:pt x="372" y="210"/>
                                                                          </a:lnTo>
                                                                          <a:lnTo>
                                                                            <a:pt x="344" y="202"/>
                                                                          </a:lnTo>
                                                                          <a:lnTo>
                                                                            <a:pt x="338" y="198"/>
                                                                          </a:lnTo>
                                                                          <a:lnTo>
                                                                            <a:pt x="334" y="196"/>
                                                                          </a:lnTo>
                                                                          <a:lnTo>
                                                                            <a:pt x="330" y="194"/>
                                                                          </a:lnTo>
                                                                          <a:lnTo>
                                                                            <a:pt x="320" y="192"/>
                                                                          </a:lnTo>
                                                                          <a:lnTo>
                                                                            <a:pt x="320" y="192"/>
                                                                          </a:lnTo>
                                                                          <a:lnTo>
                                                                            <a:pt x="310" y="190"/>
                                                                          </a:lnTo>
                                                                          <a:lnTo>
                                                                            <a:pt x="302" y="188"/>
                                                                          </a:lnTo>
                                                                          <a:lnTo>
                                                                            <a:pt x="294" y="188"/>
                                                                          </a:lnTo>
                                                                          <a:lnTo>
                                                                            <a:pt x="286" y="190"/>
                                                                          </a:lnTo>
                                                                          <a:lnTo>
                                                                            <a:pt x="286" y="190"/>
                                                                          </a:lnTo>
                                                                          <a:lnTo>
                                                                            <a:pt x="276" y="192"/>
                                                                          </a:lnTo>
                                                                          <a:lnTo>
                                                                            <a:pt x="266" y="190"/>
                                                                          </a:lnTo>
                                                                          <a:lnTo>
                                                                            <a:pt x="258" y="190"/>
                                                                          </a:lnTo>
                                                                          <a:lnTo>
                                                                            <a:pt x="248" y="190"/>
                                                                          </a:lnTo>
                                                                          <a:lnTo>
                                                                            <a:pt x="248" y="190"/>
                                                                          </a:lnTo>
                                                                          <a:lnTo>
                                                                            <a:pt x="242" y="190"/>
                                                                          </a:lnTo>
                                                                          <a:lnTo>
                                                                            <a:pt x="236" y="190"/>
                                                                          </a:lnTo>
                                                                          <a:lnTo>
                                                                            <a:pt x="230" y="190"/>
                                                                          </a:lnTo>
                                                                          <a:lnTo>
                                                                            <a:pt x="222" y="196"/>
                                                                          </a:lnTo>
                                                                          <a:lnTo>
                                                                            <a:pt x="222" y="196"/>
                                                                          </a:lnTo>
                                                                          <a:lnTo>
                                                                            <a:pt x="218" y="198"/>
                                                                          </a:lnTo>
                                                                          <a:lnTo>
                                                                            <a:pt x="216" y="198"/>
                                                                          </a:lnTo>
                                                                          <a:lnTo>
                                                                            <a:pt x="216" y="192"/>
                                                                          </a:lnTo>
                                                                          <a:lnTo>
                                                                            <a:pt x="216" y="184"/>
                                                                          </a:lnTo>
                                                                          <a:lnTo>
                                                                            <a:pt x="214" y="180"/>
                                                                          </a:lnTo>
                                                                          <a:lnTo>
                                                                            <a:pt x="210" y="176"/>
                                                                          </a:lnTo>
                                                                          <a:lnTo>
                                                                            <a:pt x="210" y="176"/>
                                                                          </a:lnTo>
                                                                          <a:lnTo>
                                                                            <a:pt x="206" y="172"/>
                                                                          </a:lnTo>
                                                                          <a:lnTo>
                                                                            <a:pt x="204" y="168"/>
                                                                          </a:lnTo>
                                                                          <a:lnTo>
                                                                            <a:pt x="204" y="164"/>
                                                                          </a:lnTo>
                                                                          <a:lnTo>
                                                                            <a:pt x="202" y="164"/>
                                                                          </a:lnTo>
                                                                          <a:lnTo>
                                                                            <a:pt x="202" y="164"/>
                                                                          </a:lnTo>
                                                                          <a:lnTo>
                                                                            <a:pt x="200" y="164"/>
                                                                          </a:lnTo>
                                                                          <a:lnTo>
                                                                            <a:pt x="198" y="162"/>
                                                                          </a:lnTo>
                                                                          <a:lnTo>
                                                                            <a:pt x="198" y="158"/>
                                                                          </a:lnTo>
                                                                          <a:lnTo>
                                                                            <a:pt x="198" y="156"/>
                                                                          </a:lnTo>
                                                                          <a:lnTo>
                                                                            <a:pt x="194" y="158"/>
                                                                          </a:lnTo>
                                                                          <a:lnTo>
                                                                            <a:pt x="194" y="158"/>
                                                                          </a:lnTo>
                                                                          <a:lnTo>
                                                                            <a:pt x="192" y="160"/>
                                                                          </a:lnTo>
                                                                          <a:lnTo>
                                                                            <a:pt x="186" y="160"/>
                                                                          </a:lnTo>
                                                                          <a:lnTo>
                                                                            <a:pt x="172" y="158"/>
                                                                          </a:lnTo>
                                                                          <a:lnTo>
                                                                            <a:pt x="152" y="150"/>
                                                                          </a:lnTo>
                                                                          <a:lnTo>
                                                                            <a:pt x="152" y="150"/>
                                                                          </a:lnTo>
                                                                          <a:lnTo>
                                                                            <a:pt x="142" y="146"/>
                                                                          </a:lnTo>
                                                                          <a:lnTo>
                                                                            <a:pt x="132" y="146"/>
                                                                          </a:lnTo>
                                                                          <a:lnTo>
                                                                            <a:pt x="102" y="150"/>
                                                                          </a:lnTo>
                                                                          <a:lnTo>
                                                                            <a:pt x="102" y="150"/>
                                                                          </a:lnTo>
                                                                          <a:lnTo>
                                                                            <a:pt x="92" y="150"/>
                                                                          </a:lnTo>
                                                                          <a:lnTo>
                                                                            <a:pt x="90" y="150"/>
                                                                          </a:lnTo>
                                                                          <a:lnTo>
                                                                            <a:pt x="92" y="148"/>
                                                                          </a:lnTo>
                                                                          <a:lnTo>
                                                                            <a:pt x="96" y="144"/>
                                                                          </a:lnTo>
                                                                          <a:lnTo>
                                                                            <a:pt x="96" y="140"/>
                                                                          </a:lnTo>
                                                                          <a:lnTo>
                                                                            <a:pt x="94" y="136"/>
                                                                          </a:lnTo>
                                                                          <a:lnTo>
                                                                            <a:pt x="94" y="136"/>
                                                                          </a:lnTo>
                                                                          <a:lnTo>
                                                                            <a:pt x="90" y="132"/>
                                                                          </a:lnTo>
                                                                          <a:lnTo>
                                                                            <a:pt x="92" y="128"/>
                                                                          </a:lnTo>
                                                                          <a:lnTo>
                                                                            <a:pt x="92" y="126"/>
                                                                          </a:lnTo>
                                                                          <a:lnTo>
                                                                            <a:pt x="88" y="122"/>
                                                                          </a:lnTo>
                                                                          <a:lnTo>
                                                                            <a:pt x="88" y="122"/>
                                                                          </a:lnTo>
                                                                          <a:lnTo>
                                                                            <a:pt x="82" y="118"/>
                                                                          </a:lnTo>
                                                                          <a:lnTo>
                                                                            <a:pt x="78" y="114"/>
                                                                          </a:lnTo>
                                                                          <a:lnTo>
                                                                            <a:pt x="74" y="106"/>
                                                                          </a:lnTo>
                                                                          <a:lnTo>
                                                                            <a:pt x="72" y="98"/>
                                                                          </a:lnTo>
                                                                          <a:lnTo>
                                                                            <a:pt x="68" y="96"/>
                                                                          </a:lnTo>
                                                                          <a:lnTo>
                                                                            <a:pt x="64" y="94"/>
                                                                          </a:lnTo>
                                                                          <a:lnTo>
                                                                            <a:pt x="64" y="94"/>
                                                                          </a:lnTo>
                                                                          <a:lnTo>
                                                                            <a:pt x="56" y="90"/>
                                                                          </a:lnTo>
                                                                          <a:lnTo>
                                                                            <a:pt x="54" y="88"/>
                                                                          </a:lnTo>
                                                                          <a:lnTo>
                                                                            <a:pt x="54" y="88"/>
                                                                          </a:lnTo>
                                                                          <a:lnTo>
                                                                            <a:pt x="50" y="86"/>
                                                                          </a:lnTo>
                                                                          <a:lnTo>
                                                                            <a:pt x="48" y="84"/>
                                                                          </a:lnTo>
                                                                          <a:lnTo>
                                                                            <a:pt x="44" y="88"/>
                                                                          </a:lnTo>
                                                                          <a:lnTo>
                                                                            <a:pt x="42" y="90"/>
                                                                          </a:lnTo>
                                                                          <a:lnTo>
                                                                            <a:pt x="38" y="90"/>
                                                                          </a:lnTo>
                                                                          <a:lnTo>
                                                                            <a:pt x="36" y="90"/>
                                                                          </a:lnTo>
                                                                          <a:lnTo>
                                                                            <a:pt x="32" y="86"/>
                                                                          </a:lnTo>
                                                                          <a:lnTo>
                                                                            <a:pt x="32" y="86"/>
                                                                          </a:lnTo>
                                                                          <a:lnTo>
                                                                            <a:pt x="26" y="82"/>
                                                                          </a:lnTo>
                                                                          <a:lnTo>
                                                                            <a:pt x="22" y="80"/>
                                                                          </a:lnTo>
                                                                          <a:lnTo>
                                                                            <a:pt x="14" y="78"/>
                                                                          </a:lnTo>
                                                                          <a:lnTo>
                                                                            <a:pt x="8" y="76"/>
                                                                          </a:lnTo>
                                                                          <a:lnTo>
                                                                            <a:pt x="4" y="74"/>
                                                                          </a:lnTo>
                                                                          <a:lnTo>
                                                                            <a:pt x="2" y="70"/>
                                                                          </a:lnTo>
                                                                          <a:lnTo>
                                                                            <a:pt x="0" y="68"/>
                                                                          </a:lnTo>
                                                                          <a:lnTo>
                                                                            <a:pt x="0" y="68"/>
                                                                          </a:lnTo>
                                                                          <a:close/>
                                                                        </a:path>
                                                                      </a:pathLst>
                                                                    </a:custGeom>
                                                                    <a:solidFill>
                                                                      <a:schemeClr val="accent3">
                                                                        <a:alpha val="99000"/>
                                                                      </a:schemeClr>
                                                                    </a:solid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46" name="Freeform 184"/>
                                                                  <p:cNvSpPr>
                                                                    <a:spLocks/>
                                                                  </p:cNvSpPr>
                                                                  <p:nvPr/>
                                                                </p:nvSpPr>
                                                                <p:spPr bwMode="auto">
                                                                  <a:xfrm>
                                                                    <a:off x="8672726" y="2577446"/>
                                                                    <a:ext cx="285538" cy="725325"/>
                                                                  </a:xfrm>
                                                                  <a:custGeom>
                                                                    <a:avLst/>
                                                                    <a:gdLst/>
                                                                    <a:ahLst/>
                                                                    <a:cxnLst>
                                                                      <a:cxn ang="0">
                                                                        <a:pos x="150" y="220"/>
                                                                      </a:cxn>
                                                                      <a:cxn ang="0">
                                                                        <a:pos x="132" y="226"/>
                                                                      </a:cxn>
                                                                      <a:cxn ang="0">
                                                                        <a:pos x="132" y="248"/>
                                                                      </a:cxn>
                                                                      <a:cxn ang="0">
                                                                        <a:pos x="120" y="256"/>
                                                                      </a:cxn>
                                                                      <a:cxn ang="0">
                                                                        <a:pos x="126" y="268"/>
                                                                      </a:cxn>
                                                                      <a:cxn ang="0">
                                                                        <a:pos x="142" y="288"/>
                                                                      </a:cxn>
                                                                      <a:cxn ang="0">
                                                                        <a:pos x="170" y="312"/>
                                                                      </a:cxn>
                                                                      <a:cxn ang="0">
                                                                        <a:pos x="158" y="318"/>
                                                                      </a:cxn>
                                                                      <a:cxn ang="0">
                                                                        <a:pos x="158" y="336"/>
                                                                      </a:cxn>
                                                                      <a:cxn ang="0">
                                                                        <a:pos x="154" y="352"/>
                                                                      </a:cxn>
                                                                      <a:cxn ang="0">
                                                                        <a:pos x="178" y="378"/>
                                                                      </a:cxn>
                                                                      <a:cxn ang="0">
                                                                        <a:pos x="188" y="428"/>
                                                                      </a:cxn>
                                                                      <a:cxn ang="0">
                                                                        <a:pos x="176" y="462"/>
                                                                      </a:cxn>
                                                                      <a:cxn ang="0">
                                                                        <a:pos x="174" y="478"/>
                                                                      </a:cxn>
                                                                      <a:cxn ang="0">
                                                                        <a:pos x="174" y="440"/>
                                                                      </a:cxn>
                                                                      <a:cxn ang="0">
                                                                        <a:pos x="170" y="420"/>
                                                                      </a:cxn>
                                                                      <a:cxn ang="0">
                                                                        <a:pos x="158" y="378"/>
                                                                      </a:cxn>
                                                                      <a:cxn ang="0">
                                                                        <a:pos x="148" y="352"/>
                                                                      </a:cxn>
                                                                      <a:cxn ang="0">
                                                                        <a:pos x="134" y="314"/>
                                                                      </a:cxn>
                                                                      <a:cxn ang="0">
                                                                        <a:pos x="116" y="290"/>
                                                                      </a:cxn>
                                                                      <a:cxn ang="0">
                                                                        <a:pos x="114" y="320"/>
                                                                      </a:cxn>
                                                                      <a:cxn ang="0">
                                                                        <a:pos x="100" y="332"/>
                                                                      </a:cxn>
                                                                      <a:cxn ang="0">
                                                                        <a:pos x="84" y="330"/>
                                                                      </a:cxn>
                                                                      <a:cxn ang="0">
                                                                        <a:pos x="68" y="330"/>
                                                                      </a:cxn>
                                                                      <a:cxn ang="0">
                                                                        <a:pos x="62" y="314"/>
                                                                      </a:cxn>
                                                                      <a:cxn ang="0">
                                                                        <a:pos x="60" y="266"/>
                                                                      </a:cxn>
                                                                      <a:cxn ang="0">
                                                                        <a:pos x="24" y="220"/>
                                                                      </a:cxn>
                                                                      <a:cxn ang="0">
                                                                        <a:pos x="12" y="214"/>
                                                                      </a:cxn>
                                                                      <a:cxn ang="0">
                                                                        <a:pos x="4" y="192"/>
                                                                      </a:cxn>
                                                                      <a:cxn ang="0">
                                                                        <a:pos x="10" y="174"/>
                                                                      </a:cxn>
                                                                      <a:cxn ang="0">
                                                                        <a:pos x="20" y="148"/>
                                                                      </a:cxn>
                                                                      <a:cxn ang="0">
                                                                        <a:pos x="34" y="142"/>
                                                                      </a:cxn>
                                                                      <a:cxn ang="0">
                                                                        <a:pos x="34" y="104"/>
                                                                      </a:cxn>
                                                                      <a:cxn ang="0">
                                                                        <a:pos x="32" y="78"/>
                                                                      </a:cxn>
                                                                      <a:cxn ang="0">
                                                                        <a:pos x="52" y="48"/>
                                                                      </a:cxn>
                                                                      <a:cxn ang="0">
                                                                        <a:pos x="82" y="30"/>
                                                                      </a:cxn>
                                                                      <a:cxn ang="0">
                                                                        <a:pos x="80" y="16"/>
                                                                      </a:cxn>
                                                                      <a:cxn ang="0">
                                                                        <a:pos x="72" y="0"/>
                                                                      </a:cxn>
                                                                      <a:cxn ang="0">
                                                                        <a:pos x="102" y="20"/>
                                                                      </a:cxn>
                                                                      <a:cxn ang="0">
                                                                        <a:pos x="112" y="28"/>
                                                                      </a:cxn>
                                                                      <a:cxn ang="0">
                                                                        <a:pos x="124" y="68"/>
                                                                      </a:cxn>
                                                                      <a:cxn ang="0">
                                                                        <a:pos x="106" y="80"/>
                                                                      </a:cxn>
                                                                      <a:cxn ang="0">
                                                                        <a:pos x="102" y="98"/>
                                                                      </a:cxn>
                                                                      <a:cxn ang="0">
                                                                        <a:pos x="102" y="112"/>
                                                                      </a:cxn>
                                                                      <a:cxn ang="0">
                                                                        <a:pos x="96" y="124"/>
                                                                      </a:cxn>
                                                                      <a:cxn ang="0">
                                                                        <a:pos x="108" y="126"/>
                                                                      </a:cxn>
                                                                      <a:cxn ang="0">
                                                                        <a:pos x="116" y="136"/>
                                                                      </a:cxn>
                                                                      <a:cxn ang="0">
                                                                        <a:pos x="122" y="146"/>
                                                                      </a:cxn>
                                                                      <a:cxn ang="0">
                                                                        <a:pos x="132" y="150"/>
                                                                      </a:cxn>
                                                                      <a:cxn ang="0">
                                                                        <a:pos x="122" y="170"/>
                                                                      </a:cxn>
                                                                      <a:cxn ang="0">
                                                                        <a:pos x="150" y="182"/>
                                                                      </a:cxn>
                                                                      <a:cxn ang="0">
                                                                        <a:pos x="176" y="192"/>
                                                                      </a:cxn>
                                                                      <a:cxn ang="0">
                                                                        <a:pos x="172" y="212"/>
                                                                      </a:cxn>
                                                                    </a:cxnLst>
                                                                    <a:rect l="0" t="0" r="r" b="b"/>
                                                                    <a:pathLst>
                                                                      <a:path w="188" h="478">
                                                                        <a:moveTo>
                                                                          <a:pt x="170" y="214"/>
                                                                        </a:moveTo>
                                                                        <a:lnTo>
                                                                          <a:pt x="170" y="214"/>
                                                                        </a:lnTo>
                                                                        <a:lnTo>
                                                                          <a:pt x="154" y="216"/>
                                                                        </a:lnTo>
                                                                        <a:lnTo>
                                                                          <a:pt x="152" y="216"/>
                                                                        </a:lnTo>
                                                                        <a:lnTo>
                                                                          <a:pt x="150" y="220"/>
                                                                        </a:lnTo>
                                                                        <a:lnTo>
                                                                          <a:pt x="150" y="220"/>
                                                                        </a:lnTo>
                                                                        <a:lnTo>
                                                                          <a:pt x="150" y="222"/>
                                                                        </a:lnTo>
                                                                        <a:lnTo>
                                                                          <a:pt x="148" y="222"/>
                                                                        </a:lnTo>
                                                                        <a:lnTo>
                                                                          <a:pt x="144" y="222"/>
                                                                        </a:lnTo>
                                                                        <a:lnTo>
                                                                          <a:pt x="138" y="222"/>
                                                                        </a:lnTo>
                                                                        <a:lnTo>
                                                                          <a:pt x="134" y="224"/>
                                                                        </a:lnTo>
                                                                        <a:lnTo>
                                                                          <a:pt x="132" y="226"/>
                                                                        </a:lnTo>
                                                                        <a:lnTo>
                                                                          <a:pt x="132" y="226"/>
                                                                        </a:lnTo>
                                                                        <a:lnTo>
                                                                          <a:pt x="130" y="230"/>
                                                                        </a:lnTo>
                                                                        <a:lnTo>
                                                                          <a:pt x="128" y="234"/>
                                                                        </a:lnTo>
                                                                        <a:lnTo>
                                                                          <a:pt x="130" y="240"/>
                                                                        </a:lnTo>
                                                                        <a:lnTo>
                                                                          <a:pt x="132" y="244"/>
                                                                        </a:lnTo>
                                                                        <a:lnTo>
                                                                          <a:pt x="132" y="248"/>
                                                                        </a:lnTo>
                                                                        <a:lnTo>
                                                                          <a:pt x="130" y="250"/>
                                                                        </a:lnTo>
                                                                        <a:lnTo>
                                                                          <a:pt x="130" y="250"/>
                                                                        </a:lnTo>
                                                                        <a:lnTo>
                                                                          <a:pt x="128" y="254"/>
                                                                        </a:lnTo>
                                                                        <a:lnTo>
                                                                          <a:pt x="124" y="254"/>
                                                                        </a:lnTo>
                                                                        <a:lnTo>
                                                                          <a:pt x="122" y="254"/>
                                                                        </a:lnTo>
                                                                        <a:lnTo>
                                                                          <a:pt x="120" y="256"/>
                                                                        </a:lnTo>
                                                                        <a:lnTo>
                                                                          <a:pt x="120" y="256"/>
                                                                        </a:lnTo>
                                                                        <a:lnTo>
                                                                          <a:pt x="120" y="260"/>
                                                                        </a:lnTo>
                                                                        <a:lnTo>
                                                                          <a:pt x="122" y="262"/>
                                                                        </a:lnTo>
                                                                        <a:lnTo>
                                                                          <a:pt x="124" y="266"/>
                                                                        </a:lnTo>
                                                                        <a:lnTo>
                                                                          <a:pt x="126" y="268"/>
                                                                        </a:lnTo>
                                                                        <a:lnTo>
                                                                          <a:pt x="126" y="268"/>
                                                                        </a:lnTo>
                                                                        <a:lnTo>
                                                                          <a:pt x="124" y="270"/>
                                                                        </a:lnTo>
                                                                        <a:lnTo>
                                                                          <a:pt x="124" y="272"/>
                                                                        </a:lnTo>
                                                                        <a:lnTo>
                                                                          <a:pt x="130" y="276"/>
                                                                        </a:lnTo>
                                                                        <a:lnTo>
                                                                          <a:pt x="136" y="282"/>
                                                                        </a:lnTo>
                                                                        <a:lnTo>
                                                                          <a:pt x="142" y="288"/>
                                                                        </a:lnTo>
                                                                        <a:lnTo>
                                                                          <a:pt x="142" y="288"/>
                                                                        </a:lnTo>
                                                                        <a:lnTo>
                                                                          <a:pt x="150" y="296"/>
                                                                        </a:lnTo>
                                                                        <a:lnTo>
                                                                          <a:pt x="158" y="302"/>
                                                                        </a:lnTo>
                                                                        <a:lnTo>
                                                                          <a:pt x="166" y="306"/>
                                                                        </a:lnTo>
                                                                        <a:lnTo>
                                                                          <a:pt x="170" y="310"/>
                                                                        </a:lnTo>
                                                                        <a:lnTo>
                                                                          <a:pt x="170" y="310"/>
                                                                        </a:lnTo>
                                                                        <a:lnTo>
                                                                          <a:pt x="170" y="312"/>
                                                                        </a:lnTo>
                                                                        <a:lnTo>
                                                                          <a:pt x="168" y="312"/>
                                                                        </a:lnTo>
                                                                        <a:lnTo>
                                                                          <a:pt x="164" y="312"/>
                                                                        </a:lnTo>
                                                                        <a:lnTo>
                                                                          <a:pt x="160" y="314"/>
                                                                        </a:lnTo>
                                                                        <a:lnTo>
                                                                          <a:pt x="160" y="316"/>
                                                                        </a:lnTo>
                                                                        <a:lnTo>
                                                                          <a:pt x="158" y="318"/>
                                                                        </a:lnTo>
                                                                        <a:lnTo>
                                                                          <a:pt x="158" y="318"/>
                                                                        </a:lnTo>
                                                                        <a:lnTo>
                                                                          <a:pt x="158" y="322"/>
                                                                        </a:lnTo>
                                                                        <a:lnTo>
                                                                          <a:pt x="160" y="324"/>
                                                                        </a:lnTo>
                                                                        <a:lnTo>
                                                                          <a:pt x="160" y="326"/>
                                                                        </a:lnTo>
                                                                        <a:lnTo>
                                                                          <a:pt x="158" y="332"/>
                                                                        </a:lnTo>
                                                                        <a:lnTo>
                                                                          <a:pt x="158" y="332"/>
                                                                        </a:lnTo>
                                                                        <a:lnTo>
                                                                          <a:pt x="158" y="336"/>
                                                                        </a:lnTo>
                                                                        <a:lnTo>
                                                                          <a:pt x="158" y="340"/>
                                                                        </a:lnTo>
                                                                        <a:lnTo>
                                                                          <a:pt x="160" y="344"/>
                                                                        </a:lnTo>
                                                                        <a:lnTo>
                                                                          <a:pt x="158" y="346"/>
                                                                        </a:lnTo>
                                                                        <a:lnTo>
                                                                          <a:pt x="158" y="346"/>
                                                                        </a:lnTo>
                                                                        <a:lnTo>
                                                                          <a:pt x="156" y="348"/>
                                                                        </a:lnTo>
                                                                        <a:lnTo>
                                                                          <a:pt x="154" y="352"/>
                                                                        </a:lnTo>
                                                                        <a:lnTo>
                                                                          <a:pt x="156" y="356"/>
                                                                        </a:lnTo>
                                                                        <a:lnTo>
                                                                          <a:pt x="162" y="364"/>
                                                                        </a:lnTo>
                                                                        <a:lnTo>
                                                                          <a:pt x="172" y="372"/>
                                                                        </a:lnTo>
                                                                        <a:lnTo>
                                                                          <a:pt x="172" y="372"/>
                                                                        </a:lnTo>
                                                                        <a:lnTo>
                                                                          <a:pt x="176" y="374"/>
                                                                        </a:lnTo>
                                                                        <a:lnTo>
                                                                          <a:pt x="178" y="378"/>
                                                                        </a:lnTo>
                                                                        <a:lnTo>
                                                                          <a:pt x="178" y="386"/>
                                                                        </a:lnTo>
                                                                        <a:lnTo>
                                                                          <a:pt x="178" y="398"/>
                                                                        </a:lnTo>
                                                                        <a:lnTo>
                                                                          <a:pt x="180" y="406"/>
                                                                        </a:lnTo>
                                                                        <a:lnTo>
                                                                          <a:pt x="184" y="418"/>
                                                                        </a:lnTo>
                                                                        <a:lnTo>
                                                                          <a:pt x="184" y="418"/>
                                                                        </a:lnTo>
                                                                        <a:lnTo>
                                                                          <a:pt x="188" y="428"/>
                                                                        </a:lnTo>
                                                                        <a:lnTo>
                                                                          <a:pt x="188" y="434"/>
                                                                        </a:lnTo>
                                                                        <a:lnTo>
                                                                          <a:pt x="186" y="440"/>
                                                                        </a:lnTo>
                                                                        <a:lnTo>
                                                                          <a:pt x="184" y="446"/>
                                                                        </a:lnTo>
                                                                        <a:lnTo>
                                                                          <a:pt x="178" y="454"/>
                                                                        </a:lnTo>
                                                                        <a:lnTo>
                                                                          <a:pt x="176" y="458"/>
                                                                        </a:lnTo>
                                                                        <a:lnTo>
                                                                          <a:pt x="176" y="462"/>
                                                                        </a:lnTo>
                                                                        <a:lnTo>
                                                                          <a:pt x="176" y="462"/>
                                                                        </a:lnTo>
                                                                        <a:lnTo>
                                                                          <a:pt x="176" y="470"/>
                                                                        </a:lnTo>
                                                                        <a:lnTo>
                                                                          <a:pt x="176" y="472"/>
                                                                        </a:lnTo>
                                                                        <a:lnTo>
                                                                          <a:pt x="174" y="474"/>
                                                                        </a:lnTo>
                                                                        <a:lnTo>
                                                                          <a:pt x="174" y="478"/>
                                                                        </a:lnTo>
                                                                        <a:lnTo>
                                                                          <a:pt x="174" y="478"/>
                                                                        </a:lnTo>
                                                                        <a:lnTo>
                                                                          <a:pt x="168" y="468"/>
                                                                        </a:lnTo>
                                                                        <a:lnTo>
                                                                          <a:pt x="168" y="460"/>
                                                                        </a:lnTo>
                                                                        <a:lnTo>
                                                                          <a:pt x="168" y="452"/>
                                                                        </a:lnTo>
                                                                        <a:lnTo>
                                                                          <a:pt x="170" y="448"/>
                                                                        </a:lnTo>
                                                                        <a:lnTo>
                                                                          <a:pt x="174" y="444"/>
                                                                        </a:lnTo>
                                                                        <a:lnTo>
                                                                          <a:pt x="174" y="440"/>
                                                                        </a:lnTo>
                                                                        <a:lnTo>
                                                                          <a:pt x="174" y="434"/>
                                                                        </a:lnTo>
                                                                        <a:lnTo>
                                                                          <a:pt x="170" y="430"/>
                                                                        </a:lnTo>
                                                                        <a:lnTo>
                                                                          <a:pt x="170" y="430"/>
                                                                        </a:lnTo>
                                                                        <a:lnTo>
                                                                          <a:pt x="166" y="426"/>
                                                                        </a:lnTo>
                                                                        <a:lnTo>
                                                                          <a:pt x="168" y="424"/>
                                                                        </a:lnTo>
                                                                        <a:lnTo>
                                                                          <a:pt x="170" y="420"/>
                                                                        </a:lnTo>
                                                                        <a:lnTo>
                                                                          <a:pt x="170" y="416"/>
                                                                        </a:lnTo>
                                                                        <a:lnTo>
                                                                          <a:pt x="170" y="410"/>
                                                                        </a:lnTo>
                                                                        <a:lnTo>
                                                                          <a:pt x="170" y="410"/>
                                                                        </a:lnTo>
                                                                        <a:lnTo>
                                                                          <a:pt x="162" y="386"/>
                                                                        </a:lnTo>
                                                                        <a:lnTo>
                                                                          <a:pt x="160" y="378"/>
                                                                        </a:lnTo>
                                                                        <a:lnTo>
                                                                          <a:pt x="158" y="378"/>
                                                                        </a:lnTo>
                                                                        <a:lnTo>
                                                                          <a:pt x="156" y="378"/>
                                                                        </a:lnTo>
                                                                        <a:lnTo>
                                                                          <a:pt x="156" y="378"/>
                                                                        </a:lnTo>
                                                                        <a:lnTo>
                                                                          <a:pt x="156" y="378"/>
                                                                        </a:lnTo>
                                                                        <a:lnTo>
                                                                          <a:pt x="154" y="376"/>
                                                                        </a:lnTo>
                                                                        <a:lnTo>
                                                                          <a:pt x="152" y="368"/>
                                                                        </a:lnTo>
                                                                        <a:lnTo>
                                                                          <a:pt x="148" y="352"/>
                                                                        </a:lnTo>
                                                                        <a:lnTo>
                                                                          <a:pt x="148" y="352"/>
                                                                        </a:lnTo>
                                                                        <a:lnTo>
                                                                          <a:pt x="142" y="334"/>
                                                                        </a:lnTo>
                                                                        <a:lnTo>
                                                                          <a:pt x="138" y="322"/>
                                                                        </a:lnTo>
                                                                        <a:lnTo>
                                                                          <a:pt x="138" y="322"/>
                                                                        </a:lnTo>
                                                                        <a:lnTo>
                                                                          <a:pt x="136" y="318"/>
                                                                        </a:lnTo>
                                                                        <a:lnTo>
                                                                          <a:pt x="134" y="314"/>
                                                                        </a:lnTo>
                                                                        <a:lnTo>
                                                                          <a:pt x="132" y="312"/>
                                                                        </a:lnTo>
                                                                        <a:lnTo>
                                                                          <a:pt x="132" y="306"/>
                                                                        </a:lnTo>
                                                                        <a:lnTo>
                                                                          <a:pt x="132" y="306"/>
                                                                        </a:lnTo>
                                                                        <a:lnTo>
                                                                          <a:pt x="128" y="308"/>
                                                                        </a:lnTo>
                                                                        <a:lnTo>
                                                                          <a:pt x="126" y="306"/>
                                                                        </a:lnTo>
                                                                        <a:lnTo>
                                                                          <a:pt x="116" y="290"/>
                                                                        </a:lnTo>
                                                                        <a:lnTo>
                                                                          <a:pt x="116" y="290"/>
                                                                        </a:lnTo>
                                                                        <a:lnTo>
                                                                          <a:pt x="120" y="310"/>
                                                                        </a:lnTo>
                                                                        <a:lnTo>
                                                                          <a:pt x="120" y="316"/>
                                                                        </a:lnTo>
                                                                        <a:lnTo>
                                                                          <a:pt x="118" y="318"/>
                                                                        </a:lnTo>
                                                                        <a:lnTo>
                                                                          <a:pt x="114" y="320"/>
                                                                        </a:lnTo>
                                                                        <a:lnTo>
                                                                          <a:pt x="114" y="320"/>
                                                                        </a:lnTo>
                                                                        <a:lnTo>
                                                                          <a:pt x="110" y="324"/>
                                                                        </a:lnTo>
                                                                        <a:lnTo>
                                                                          <a:pt x="106" y="330"/>
                                                                        </a:lnTo>
                                                                        <a:lnTo>
                                                                          <a:pt x="104" y="332"/>
                                                                        </a:lnTo>
                                                                        <a:lnTo>
                                                                          <a:pt x="102" y="332"/>
                                                                        </a:lnTo>
                                                                        <a:lnTo>
                                                                          <a:pt x="100" y="332"/>
                                                                        </a:lnTo>
                                                                        <a:lnTo>
                                                                          <a:pt x="100" y="332"/>
                                                                        </a:lnTo>
                                                                        <a:lnTo>
                                                                          <a:pt x="98" y="330"/>
                                                                        </a:lnTo>
                                                                        <a:lnTo>
                                                                          <a:pt x="94" y="332"/>
                                                                        </a:lnTo>
                                                                        <a:lnTo>
                                                                          <a:pt x="92" y="334"/>
                                                                        </a:lnTo>
                                                                        <a:lnTo>
                                                                          <a:pt x="88" y="332"/>
                                                                        </a:lnTo>
                                                                        <a:lnTo>
                                                                          <a:pt x="88" y="332"/>
                                                                        </a:lnTo>
                                                                        <a:lnTo>
                                                                          <a:pt x="84" y="330"/>
                                                                        </a:lnTo>
                                                                        <a:lnTo>
                                                                          <a:pt x="80" y="332"/>
                                                                        </a:lnTo>
                                                                        <a:lnTo>
                                                                          <a:pt x="76" y="334"/>
                                                                        </a:lnTo>
                                                                        <a:lnTo>
                                                                          <a:pt x="72" y="330"/>
                                                                        </a:lnTo>
                                                                        <a:lnTo>
                                                                          <a:pt x="72" y="330"/>
                                                                        </a:lnTo>
                                                                        <a:lnTo>
                                                                          <a:pt x="70" y="328"/>
                                                                        </a:lnTo>
                                                                        <a:lnTo>
                                                                          <a:pt x="68" y="330"/>
                                                                        </a:lnTo>
                                                                        <a:lnTo>
                                                                          <a:pt x="66" y="330"/>
                                                                        </a:lnTo>
                                                                        <a:lnTo>
                                                                          <a:pt x="62" y="330"/>
                                                                        </a:lnTo>
                                                                        <a:lnTo>
                                                                          <a:pt x="62" y="330"/>
                                                                        </a:lnTo>
                                                                        <a:lnTo>
                                                                          <a:pt x="60" y="328"/>
                                                                        </a:lnTo>
                                                                        <a:lnTo>
                                                                          <a:pt x="60" y="324"/>
                                                                        </a:lnTo>
                                                                        <a:lnTo>
                                                                          <a:pt x="62" y="314"/>
                                                                        </a:lnTo>
                                                                        <a:lnTo>
                                                                          <a:pt x="64" y="308"/>
                                                                        </a:lnTo>
                                                                        <a:lnTo>
                                                                          <a:pt x="66" y="300"/>
                                                                        </a:lnTo>
                                                                        <a:lnTo>
                                                                          <a:pt x="66" y="288"/>
                                                                        </a:lnTo>
                                                                        <a:lnTo>
                                                                          <a:pt x="64" y="276"/>
                                                                        </a:lnTo>
                                                                        <a:lnTo>
                                                                          <a:pt x="64" y="276"/>
                                                                        </a:lnTo>
                                                                        <a:lnTo>
                                                                          <a:pt x="60" y="266"/>
                                                                        </a:lnTo>
                                                                        <a:lnTo>
                                                                          <a:pt x="56" y="258"/>
                                                                        </a:lnTo>
                                                                        <a:lnTo>
                                                                          <a:pt x="48" y="248"/>
                                                                        </a:lnTo>
                                                                        <a:lnTo>
                                                                          <a:pt x="34" y="230"/>
                                                                        </a:lnTo>
                                                                        <a:lnTo>
                                                                          <a:pt x="34" y="230"/>
                                                                        </a:lnTo>
                                                                        <a:lnTo>
                                                                          <a:pt x="26" y="220"/>
                                                                        </a:lnTo>
                                                                        <a:lnTo>
                                                                          <a:pt x="24" y="220"/>
                                                                        </a:lnTo>
                                                                        <a:lnTo>
                                                                          <a:pt x="24" y="220"/>
                                                                        </a:lnTo>
                                                                        <a:lnTo>
                                                                          <a:pt x="22" y="222"/>
                                                                        </a:lnTo>
                                                                        <a:lnTo>
                                                                          <a:pt x="16" y="216"/>
                                                                        </a:lnTo>
                                                                        <a:lnTo>
                                                                          <a:pt x="16" y="216"/>
                                                                        </a:lnTo>
                                                                        <a:lnTo>
                                                                          <a:pt x="12" y="212"/>
                                                                        </a:lnTo>
                                                                        <a:lnTo>
                                                                          <a:pt x="12" y="214"/>
                                                                        </a:lnTo>
                                                                        <a:lnTo>
                                                                          <a:pt x="10" y="214"/>
                                                                        </a:lnTo>
                                                                        <a:lnTo>
                                                                          <a:pt x="8" y="214"/>
                                                                        </a:lnTo>
                                                                        <a:lnTo>
                                                                          <a:pt x="0" y="202"/>
                                                                        </a:lnTo>
                                                                        <a:lnTo>
                                                                          <a:pt x="0" y="202"/>
                                                                        </a:lnTo>
                                                                        <a:lnTo>
                                                                          <a:pt x="2" y="194"/>
                                                                        </a:lnTo>
                                                                        <a:lnTo>
                                                                          <a:pt x="4" y="192"/>
                                                                        </a:lnTo>
                                                                        <a:lnTo>
                                                                          <a:pt x="6" y="192"/>
                                                                        </a:lnTo>
                                                                        <a:lnTo>
                                                                          <a:pt x="6" y="188"/>
                                                                        </a:lnTo>
                                                                        <a:lnTo>
                                                                          <a:pt x="6" y="188"/>
                                                                        </a:lnTo>
                                                                        <a:lnTo>
                                                                          <a:pt x="4" y="178"/>
                                                                        </a:lnTo>
                                                                        <a:lnTo>
                                                                          <a:pt x="6" y="174"/>
                                                                        </a:lnTo>
                                                                        <a:lnTo>
                                                                          <a:pt x="10" y="174"/>
                                                                        </a:lnTo>
                                                                        <a:lnTo>
                                                                          <a:pt x="10" y="174"/>
                                                                        </a:lnTo>
                                                                        <a:lnTo>
                                                                          <a:pt x="16" y="174"/>
                                                                        </a:lnTo>
                                                                        <a:lnTo>
                                                                          <a:pt x="20" y="170"/>
                                                                        </a:lnTo>
                                                                        <a:lnTo>
                                                                          <a:pt x="22" y="162"/>
                                                                        </a:lnTo>
                                                                        <a:lnTo>
                                                                          <a:pt x="20" y="148"/>
                                                                        </a:lnTo>
                                                                        <a:lnTo>
                                                                          <a:pt x="20" y="148"/>
                                                                        </a:lnTo>
                                                                        <a:lnTo>
                                                                          <a:pt x="22" y="144"/>
                                                                        </a:lnTo>
                                                                        <a:lnTo>
                                                                          <a:pt x="22" y="140"/>
                                                                        </a:lnTo>
                                                                        <a:lnTo>
                                                                          <a:pt x="26" y="140"/>
                                                                        </a:lnTo>
                                                                        <a:lnTo>
                                                                          <a:pt x="28" y="142"/>
                                                                        </a:lnTo>
                                                                        <a:lnTo>
                                                                          <a:pt x="32" y="142"/>
                                                                        </a:lnTo>
                                                                        <a:lnTo>
                                                                          <a:pt x="34" y="142"/>
                                                                        </a:lnTo>
                                                                        <a:lnTo>
                                                                          <a:pt x="34" y="138"/>
                                                                        </a:lnTo>
                                                                        <a:lnTo>
                                                                          <a:pt x="34" y="132"/>
                                                                        </a:lnTo>
                                                                        <a:lnTo>
                                                                          <a:pt x="34" y="132"/>
                                                                        </a:lnTo>
                                                                        <a:lnTo>
                                                                          <a:pt x="34" y="120"/>
                                                                        </a:lnTo>
                                                                        <a:lnTo>
                                                                          <a:pt x="36" y="112"/>
                                                                        </a:lnTo>
                                                                        <a:lnTo>
                                                                          <a:pt x="34" y="104"/>
                                                                        </a:lnTo>
                                                                        <a:lnTo>
                                                                          <a:pt x="32" y="98"/>
                                                                        </a:lnTo>
                                                                        <a:lnTo>
                                                                          <a:pt x="28" y="92"/>
                                                                        </a:lnTo>
                                                                        <a:lnTo>
                                                                          <a:pt x="28" y="92"/>
                                                                        </a:lnTo>
                                                                        <a:lnTo>
                                                                          <a:pt x="26" y="86"/>
                                                                        </a:lnTo>
                                                                        <a:lnTo>
                                                                          <a:pt x="28" y="82"/>
                                                                        </a:lnTo>
                                                                        <a:lnTo>
                                                                          <a:pt x="32" y="78"/>
                                                                        </a:lnTo>
                                                                        <a:lnTo>
                                                                          <a:pt x="32" y="72"/>
                                                                        </a:lnTo>
                                                                        <a:lnTo>
                                                                          <a:pt x="32" y="72"/>
                                                                        </a:lnTo>
                                                                        <a:lnTo>
                                                                          <a:pt x="32" y="68"/>
                                                                        </a:lnTo>
                                                                        <a:lnTo>
                                                                          <a:pt x="34" y="66"/>
                                                                        </a:lnTo>
                                                                        <a:lnTo>
                                                                          <a:pt x="42" y="58"/>
                                                                        </a:lnTo>
                                                                        <a:lnTo>
                                                                          <a:pt x="52" y="48"/>
                                                                        </a:lnTo>
                                                                        <a:lnTo>
                                                                          <a:pt x="62" y="34"/>
                                                                        </a:lnTo>
                                                                        <a:lnTo>
                                                                          <a:pt x="62" y="34"/>
                                                                        </a:lnTo>
                                                                        <a:lnTo>
                                                                          <a:pt x="66" y="32"/>
                                                                        </a:lnTo>
                                                                        <a:lnTo>
                                                                          <a:pt x="70" y="30"/>
                                                                        </a:lnTo>
                                                                        <a:lnTo>
                                                                          <a:pt x="78" y="30"/>
                                                                        </a:lnTo>
                                                                        <a:lnTo>
                                                                          <a:pt x="82" y="30"/>
                                                                        </a:lnTo>
                                                                        <a:lnTo>
                                                                          <a:pt x="82" y="28"/>
                                                                        </a:lnTo>
                                                                        <a:lnTo>
                                                                          <a:pt x="78" y="24"/>
                                                                        </a:lnTo>
                                                                        <a:lnTo>
                                                                          <a:pt x="78" y="24"/>
                                                                        </a:lnTo>
                                                                        <a:lnTo>
                                                                          <a:pt x="76" y="20"/>
                                                                        </a:lnTo>
                                                                        <a:lnTo>
                                                                          <a:pt x="76" y="18"/>
                                                                        </a:lnTo>
                                                                        <a:lnTo>
                                                                          <a:pt x="80" y="16"/>
                                                                        </a:lnTo>
                                                                        <a:lnTo>
                                                                          <a:pt x="82" y="14"/>
                                                                        </a:lnTo>
                                                                        <a:lnTo>
                                                                          <a:pt x="80" y="10"/>
                                                                        </a:lnTo>
                                                                        <a:lnTo>
                                                                          <a:pt x="78" y="6"/>
                                                                        </a:lnTo>
                                                                        <a:lnTo>
                                                                          <a:pt x="68" y="0"/>
                                                                        </a:lnTo>
                                                                        <a:lnTo>
                                                                          <a:pt x="68" y="0"/>
                                                                        </a:lnTo>
                                                                        <a:lnTo>
                                                                          <a:pt x="72" y="0"/>
                                                                        </a:lnTo>
                                                                        <a:lnTo>
                                                                          <a:pt x="76" y="0"/>
                                                                        </a:lnTo>
                                                                        <a:lnTo>
                                                                          <a:pt x="82" y="2"/>
                                                                        </a:lnTo>
                                                                        <a:lnTo>
                                                                          <a:pt x="90" y="8"/>
                                                                        </a:lnTo>
                                                                        <a:lnTo>
                                                                          <a:pt x="90" y="8"/>
                                                                        </a:lnTo>
                                                                        <a:lnTo>
                                                                          <a:pt x="100" y="16"/>
                                                                        </a:lnTo>
                                                                        <a:lnTo>
                                                                          <a:pt x="102" y="20"/>
                                                                        </a:lnTo>
                                                                        <a:lnTo>
                                                                          <a:pt x="102" y="22"/>
                                                                        </a:lnTo>
                                                                        <a:lnTo>
                                                                          <a:pt x="106" y="20"/>
                                                                        </a:lnTo>
                                                                        <a:lnTo>
                                                                          <a:pt x="106" y="20"/>
                                                                        </a:lnTo>
                                                                        <a:lnTo>
                                                                          <a:pt x="108" y="18"/>
                                                                        </a:lnTo>
                                                                        <a:lnTo>
                                                                          <a:pt x="110" y="20"/>
                                                                        </a:lnTo>
                                                                        <a:lnTo>
                                                                          <a:pt x="112" y="28"/>
                                                                        </a:lnTo>
                                                                        <a:lnTo>
                                                                          <a:pt x="114" y="42"/>
                                                                        </a:lnTo>
                                                                        <a:lnTo>
                                                                          <a:pt x="116" y="50"/>
                                                                        </a:lnTo>
                                                                        <a:lnTo>
                                                                          <a:pt x="120" y="58"/>
                                                                        </a:lnTo>
                                                                        <a:lnTo>
                                                                          <a:pt x="120" y="58"/>
                                                                        </a:lnTo>
                                                                        <a:lnTo>
                                                                          <a:pt x="124" y="66"/>
                                                                        </a:lnTo>
                                                                        <a:lnTo>
                                                                          <a:pt x="124" y="68"/>
                                                                        </a:lnTo>
                                                                        <a:lnTo>
                                                                          <a:pt x="122" y="68"/>
                                                                        </a:lnTo>
                                                                        <a:lnTo>
                                                                          <a:pt x="118" y="66"/>
                                                                        </a:lnTo>
                                                                        <a:lnTo>
                                                                          <a:pt x="116" y="66"/>
                                                                        </a:lnTo>
                                                                        <a:lnTo>
                                                                          <a:pt x="116" y="66"/>
                                                                        </a:lnTo>
                                                                        <a:lnTo>
                                                                          <a:pt x="110" y="76"/>
                                                                        </a:lnTo>
                                                                        <a:lnTo>
                                                                          <a:pt x="106" y="80"/>
                                                                        </a:lnTo>
                                                                        <a:lnTo>
                                                                          <a:pt x="102" y="86"/>
                                                                        </a:lnTo>
                                                                        <a:lnTo>
                                                                          <a:pt x="102" y="88"/>
                                                                        </a:lnTo>
                                                                        <a:lnTo>
                                                                          <a:pt x="104" y="92"/>
                                                                        </a:lnTo>
                                                                        <a:lnTo>
                                                                          <a:pt x="104" y="92"/>
                                                                        </a:lnTo>
                                                                        <a:lnTo>
                                                                          <a:pt x="104" y="96"/>
                                                                        </a:lnTo>
                                                                        <a:lnTo>
                                                                          <a:pt x="102" y="98"/>
                                                                        </a:lnTo>
                                                                        <a:lnTo>
                                                                          <a:pt x="100" y="98"/>
                                                                        </a:lnTo>
                                                                        <a:lnTo>
                                                                          <a:pt x="98" y="100"/>
                                                                        </a:lnTo>
                                                                        <a:lnTo>
                                                                          <a:pt x="98" y="100"/>
                                                                        </a:lnTo>
                                                                        <a:lnTo>
                                                                          <a:pt x="96" y="106"/>
                                                                        </a:lnTo>
                                                                        <a:lnTo>
                                                                          <a:pt x="98" y="108"/>
                                                                        </a:lnTo>
                                                                        <a:lnTo>
                                                                          <a:pt x="102" y="112"/>
                                                                        </a:lnTo>
                                                                        <a:lnTo>
                                                                          <a:pt x="106" y="114"/>
                                                                        </a:lnTo>
                                                                        <a:lnTo>
                                                                          <a:pt x="108" y="118"/>
                                                                        </a:lnTo>
                                                                        <a:lnTo>
                                                                          <a:pt x="108" y="118"/>
                                                                        </a:lnTo>
                                                                        <a:lnTo>
                                                                          <a:pt x="106" y="120"/>
                                                                        </a:lnTo>
                                                                        <a:lnTo>
                                                                          <a:pt x="100" y="122"/>
                                                                        </a:lnTo>
                                                                        <a:lnTo>
                                                                          <a:pt x="96" y="124"/>
                                                                        </a:lnTo>
                                                                        <a:lnTo>
                                                                          <a:pt x="94" y="124"/>
                                                                        </a:lnTo>
                                                                        <a:lnTo>
                                                                          <a:pt x="94" y="126"/>
                                                                        </a:lnTo>
                                                                        <a:lnTo>
                                                                          <a:pt x="94" y="126"/>
                                                                        </a:lnTo>
                                                                        <a:lnTo>
                                                                          <a:pt x="94" y="130"/>
                                                                        </a:lnTo>
                                                                        <a:lnTo>
                                                                          <a:pt x="96" y="130"/>
                                                                        </a:lnTo>
                                                                        <a:lnTo>
                                                                          <a:pt x="108" y="126"/>
                                                                        </a:lnTo>
                                                                        <a:lnTo>
                                                                          <a:pt x="108" y="126"/>
                                                                        </a:lnTo>
                                                                        <a:lnTo>
                                                                          <a:pt x="118" y="124"/>
                                                                        </a:lnTo>
                                                                        <a:lnTo>
                                                                          <a:pt x="120" y="126"/>
                                                                        </a:lnTo>
                                                                        <a:lnTo>
                                                                          <a:pt x="118" y="130"/>
                                                                        </a:lnTo>
                                                                        <a:lnTo>
                                                                          <a:pt x="118" y="130"/>
                                                                        </a:lnTo>
                                                                        <a:lnTo>
                                                                          <a:pt x="116" y="136"/>
                                                                        </a:lnTo>
                                                                        <a:lnTo>
                                                                          <a:pt x="116" y="138"/>
                                                                        </a:lnTo>
                                                                        <a:lnTo>
                                                                          <a:pt x="120" y="140"/>
                                                                        </a:lnTo>
                                                                        <a:lnTo>
                                                                          <a:pt x="120" y="142"/>
                                                                        </a:lnTo>
                                                                        <a:lnTo>
                                                                          <a:pt x="120" y="142"/>
                                                                        </a:lnTo>
                                                                        <a:lnTo>
                                                                          <a:pt x="120" y="144"/>
                                                                        </a:lnTo>
                                                                        <a:lnTo>
                                                                          <a:pt x="122" y="146"/>
                                                                        </a:lnTo>
                                                                        <a:lnTo>
                                                                          <a:pt x="126" y="148"/>
                                                                        </a:lnTo>
                                                                        <a:lnTo>
                                                                          <a:pt x="130" y="146"/>
                                                                        </a:lnTo>
                                                                        <a:lnTo>
                                                                          <a:pt x="130" y="146"/>
                                                                        </a:lnTo>
                                                                        <a:lnTo>
                                                                          <a:pt x="132" y="148"/>
                                                                        </a:lnTo>
                                                                        <a:lnTo>
                                                                          <a:pt x="132" y="148"/>
                                                                        </a:lnTo>
                                                                        <a:lnTo>
                                                                          <a:pt x="132" y="150"/>
                                                                        </a:lnTo>
                                                                        <a:lnTo>
                                                                          <a:pt x="136" y="150"/>
                                                                        </a:lnTo>
                                                                        <a:lnTo>
                                                                          <a:pt x="140" y="150"/>
                                                                        </a:lnTo>
                                                                        <a:lnTo>
                                                                          <a:pt x="140" y="152"/>
                                                                        </a:lnTo>
                                                                        <a:lnTo>
                                                                          <a:pt x="140" y="152"/>
                                                                        </a:lnTo>
                                                                        <a:lnTo>
                                                                          <a:pt x="122" y="170"/>
                                                                        </a:lnTo>
                                                                        <a:lnTo>
                                                                          <a:pt x="122" y="170"/>
                                                                        </a:lnTo>
                                                                        <a:lnTo>
                                                                          <a:pt x="122" y="174"/>
                                                                        </a:lnTo>
                                                                        <a:lnTo>
                                                                          <a:pt x="124" y="176"/>
                                                                        </a:lnTo>
                                                                        <a:lnTo>
                                                                          <a:pt x="134" y="176"/>
                                                                        </a:lnTo>
                                                                        <a:lnTo>
                                                                          <a:pt x="148" y="176"/>
                                                                        </a:lnTo>
                                                                        <a:lnTo>
                                                                          <a:pt x="148" y="176"/>
                                                                        </a:lnTo>
                                                                        <a:lnTo>
                                                                          <a:pt x="150" y="182"/>
                                                                        </a:lnTo>
                                                                        <a:lnTo>
                                                                          <a:pt x="154" y="186"/>
                                                                        </a:lnTo>
                                                                        <a:lnTo>
                                                                          <a:pt x="158" y="188"/>
                                                                        </a:lnTo>
                                                                        <a:lnTo>
                                                                          <a:pt x="162" y="188"/>
                                                                        </a:lnTo>
                                                                        <a:lnTo>
                                                                          <a:pt x="170" y="190"/>
                                                                        </a:lnTo>
                                                                        <a:lnTo>
                                                                          <a:pt x="174" y="192"/>
                                                                        </a:lnTo>
                                                                        <a:lnTo>
                                                                          <a:pt x="176" y="192"/>
                                                                        </a:lnTo>
                                                                        <a:lnTo>
                                                                          <a:pt x="176" y="192"/>
                                                                        </a:lnTo>
                                                                        <a:lnTo>
                                                                          <a:pt x="172" y="196"/>
                                                                        </a:lnTo>
                                                                        <a:lnTo>
                                                                          <a:pt x="170" y="200"/>
                                                                        </a:lnTo>
                                                                        <a:lnTo>
                                                                          <a:pt x="170" y="204"/>
                                                                        </a:lnTo>
                                                                        <a:lnTo>
                                                                          <a:pt x="172" y="210"/>
                                                                        </a:lnTo>
                                                                        <a:lnTo>
                                                                          <a:pt x="172" y="212"/>
                                                                        </a:lnTo>
                                                                        <a:lnTo>
                                                                          <a:pt x="170" y="214"/>
                                                                        </a:lnTo>
                                                                        <a:lnTo>
                                                                          <a:pt x="170" y="214"/>
                                                                        </a:lnTo>
                                                                        <a:close/>
                                                                      </a:path>
                                                                    </a:pathLst>
                                                                  </a:custGeom>
                                                                  <a:solidFill>
                                                                    <a:schemeClr val="accent3">
                                                                      <a:alpha val="99000"/>
                                                                    </a:schemeClr>
                                                                  </a:solid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7" name="Thailand"/>
                                                                  <p:cNvSpPr>
                                                                    <a:spLocks/>
                                                                  </p:cNvSpPr>
                                                                  <p:nvPr/>
                                                                </p:nvSpPr>
                                                                <p:spPr bwMode="auto">
                                                                  <a:xfrm>
                                                                    <a:off x="8852311" y="2903249"/>
                                                                    <a:ext cx="294651" cy="546270"/>
                                                                  </a:xfrm>
                                                                  <a:custGeom>
                                                                    <a:avLst/>
                                                                    <a:gdLst/>
                                                                    <a:ahLst/>
                                                                    <a:cxnLst>
                                                                      <a:cxn ang="0">
                                                                        <a:pos x="114" y="336"/>
                                                                      </a:cxn>
                                                                      <a:cxn ang="0">
                                                                        <a:pos x="100" y="312"/>
                                                                      </a:cxn>
                                                                      <a:cxn ang="0">
                                                                        <a:pos x="86" y="290"/>
                                                                      </a:cxn>
                                                                      <a:cxn ang="0">
                                                                        <a:pos x="72" y="276"/>
                                                                      </a:cxn>
                                                                      <a:cxn ang="0">
                                                                        <a:pos x="68" y="246"/>
                                                                      </a:cxn>
                                                                      <a:cxn ang="0">
                                                                        <a:pos x="76" y="216"/>
                                                                      </a:cxn>
                                                                      <a:cxn ang="0">
                                                                        <a:pos x="72" y="184"/>
                                                                      </a:cxn>
                                                                      <a:cxn ang="0">
                                                                        <a:pos x="70" y="160"/>
                                                                      </a:cxn>
                                                                      <a:cxn ang="0">
                                                                        <a:pos x="80" y="158"/>
                                                                      </a:cxn>
                                                                      <a:cxn ang="0">
                                                                        <a:pos x="94" y="162"/>
                                                                      </a:cxn>
                                                                      <a:cxn ang="0">
                                                                        <a:pos x="94" y="182"/>
                                                                      </a:cxn>
                                                                      <a:cxn ang="0">
                                                                        <a:pos x="110" y="186"/>
                                                                      </a:cxn>
                                                                      <a:cxn ang="0">
                                                                        <a:pos x="124" y="204"/>
                                                                      </a:cxn>
                                                                      <a:cxn ang="0">
                                                                        <a:pos x="130" y="204"/>
                                                                      </a:cxn>
                                                                      <a:cxn ang="0">
                                                                        <a:pos x="136" y="214"/>
                                                                      </a:cxn>
                                                                      <a:cxn ang="0">
                                                                        <a:pos x="144" y="210"/>
                                                                      </a:cxn>
                                                                      <a:cxn ang="0">
                                                                        <a:pos x="126" y="178"/>
                                                                      </a:cxn>
                                                                      <a:cxn ang="0">
                                                                        <a:pos x="154" y="156"/>
                                                                      </a:cxn>
                                                                      <a:cxn ang="0">
                                                                        <a:pos x="166" y="154"/>
                                                                      </a:cxn>
                                                                      <a:cxn ang="0">
                                                                        <a:pos x="186" y="150"/>
                                                                      </a:cxn>
                                                                      <a:cxn ang="0">
                                                                        <a:pos x="194" y="132"/>
                                                                      </a:cxn>
                                                                      <a:cxn ang="0">
                                                                        <a:pos x="186" y="116"/>
                                                                      </a:cxn>
                                                                      <a:cxn ang="0">
                                                                        <a:pos x="164" y="104"/>
                                                                      </a:cxn>
                                                                      <a:cxn ang="0">
                                                                        <a:pos x="154" y="76"/>
                                                                      </a:cxn>
                                                                      <a:cxn ang="0">
                                                                        <a:pos x="120" y="56"/>
                                                                      </a:cxn>
                                                                      <a:cxn ang="0">
                                                                        <a:pos x="96" y="54"/>
                                                                      </a:cxn>
                                                                      <a:cxn ang="0">
                                                                        <a:pos x="72" y="60"/>
                                                                      </a:cxn>
                                                                      <a:cxn ang="0">
                                                                        <a:pos x="78" y="20"/>
                                                                      </a:cxn>
                                                                      <a:cxn ang="0">
                                                                        <a:pos x="60" y="14"/>
                                                                      </a:cxn>
                                                                      <a:cxn ang="0">
                                                                        <a:pos x="52" y="4"/>
                                                                      </a:cxn>
                                                                      <a:cxn ang="0">
                                                                        <a:pos x="30" y="6"/>
                                                                      </a:cxn>
                                                                      <a:cxn ang="0">
                                                                        <a:pos x="12" y="12"/>
                                                                      </a:cxn>
                                                                      <a:cxn ang="0">
                                                                        <a:pos x="12" y="34"/>
                                                                      </a:cxn>
                                                                      <a:cxn ang="0">
                                                                        <a:pos x="0" y="42"/>
                                                                      </a:cxn>
                                                                      <a:cxn ang="0">
                                                                        <a:pos x="6" y="54"/>
                                                                      </a:cxn>
                                                                      <a:cxn ang="0">
                                                                        <a:pos x="22" y="74"/>
                                                                      </a:cxn>
                                                                      <a:cxn ang="0">
                                                                        <a:pos x="50" y="98"/>
                                                                      </a:cxn>
                                                                      <a:cxn ang="0">
                                                                        <a:pos x="38" y="104"/>
                                                                      </a:cxn>
                                                                      <a:cxn ang="0">
                                                                        <a:pos x="38" y="122"/>
                                                                      </a:cxn>
                                                                      <a:cxn ang="0">
                                                                        <a:pos x="34" y="138"/>
                                                                      </a:cxn>
                                                                      <a:cxn ang="0">
                                                                        <a:pos x="58" y="164"/>
                                                                      </a:cxn>
                                                                      <a:cxn ang="0">
                                                                        <a:pos x="68" y="214"/>
                                                                      </a:cxn>
                                                                      <a:cxn ang="0">
                                                                        <a:pos x="56" y="248"/>
                                                                      </a:cxn>
                                                                      <a:cxn ang="0">
                                                                        <a:pos x="54" y="264"/>
                                                                      </a:cxn>
                                                                      <a:cxn ang="0">
                                                                        <a:pos x="50" y="284"/>
                                                                      </a:cxn>
                                                                      <a:cxn ang="0">
                                                                        <a:pos x="44" y="302"/>
                                                                      </a:cxn>
                                                                      <a:cxn ang="0">
                                                                        <a:pos x="52" y="304"/>
                                                                      </a:cxn>
                                                                      <a:cxn ang="0">
                                                                        <a:pos x="58" y="310"/>
                                                                      </a:cxn>
                                                                      <a:cxn ang="0">
                                                                        <a:pos x="66" y="322"/>
                                                                      </a:cxn>
                                                                      <a:cxn ang="0">
                                                                        <a:pos x="70" y="320"/>
                                                                      </a:cxn>
                                                                      <a:cxn ang="0">
                                                                        <a:pos x="76" y="338"/>
                                                                      </a:cxn>
                                                                      <a:cxn ang="0">
                                                                        <a:pos x="98" y="350"/>
                                                                      </a:cxn>
                                                                      <a:cxn ang="0">
                                                                        <a:pos x="124" y="356"/>
                                                                      </a:cxn>
                                                                    </a:cxnLst>
                                                                    <a:rect l="0" t="0" r="r" b="b"/>
                                                                    <a:pathLst>
                                                                      <a:path w="194" h="360">
                                                                        <a:moveTo>
                                                                          <a:pt x="130" y="350"/>
                                                                        </a:moveTo>
                                                                        <a:lnTo>
                                                                          <a:pt x="130" y="350"/>
                                                                        </a:lnTo>
                                                                        <a:lnTo>
                                                                          <a:pt x="126" y="342"/>
                                                                        </a:lnTo>
                                                                        <a:lnTo>
                                                                          <a:pt x="120" y="338"/>
                                                                        </a:lnTo>
                                                                        <a:lnTo>
                                                                          <a:pt x="118" y="336"/>
                                                                        </a:lnTo>
                                                                        <a:lnTo>
                                                                          <a:pt x="114" y="336"/>
                                                                        </a:lnTo>
                                                                        <a:lnTo>
                                                                          <a:pt x="110" y="336"/>
                                                                        </a:lnTo>
                                                                        <a:lnTo>
                                                                          <a:pt x="108" y="334"/>
                                                                        </a:lnTo>
                                                                        <a:lnTo>
                                                                          <a:pt x="104" y="328"/>
                                                                        </a:lnTo>
                                                                        <a:lnTo>
                                                                          <a:pt x="102" y="320"/>
                                                                        </a:lnTo>
                                                                        <a:lnTo>
                                                                          <a:pt x="102" y="320"/>
                                                                        </a:lnTo>
                                                                        <a:lnTo>
                                                                          <a:pt x="100" y="312"/>
                                                                        </a:lnTo>
                                                                        <a:lnTo>
                                                                          <a:pt x="98" y="306"/>
                                                                        </a:lnTo>
                                                                        <a:lnTo>
                                                                          <a:pt x="96" y="304"/>
                                                                        </a:lnTo>
                                                                        <a:lnTo>
                                                                          <a:pt x="94" y="302"/>
                                                                        </a:lnTo>
                                                                        <a:lnTo>
                                                                          <a:pt x="90" y="300"/>
                                                                        </a:lnTo>
                                                                        <a:lnTo>
                                                                          <a:pt x="86" y="290"/>
                                                                        </a:lnTo>
                                                                        <a:lnTo>
                                                                          <a:pt x="86" y="290"/>
                                                                        </a:lnTo>
                                                                        <a:lnTo>
                                                                          <a:pt x="84" y="280"/>
                                                                        </a:lnTo>
                                                                        <a:lnTo>
                                                                          <a:pt x="82" y="276"/>
                                                                        </a:lnTo>
                                                                        <a:lnTo>
                                                                          <a:pt x="78" y="278"/>
                                                                        </a:lnTo>
                                                                        <a:lnTo>
                                                                          <a:pt x="70" y="280"/>
                                                                        </a:lnTo>
                                                                        <a:lnTo>
                                                                          <a:pt x="70" y="280"/>
                                                                        </a:lnTo>
                                                                        <a:lnTo>
                                                                          <a:pt x="72" y="276"/>
                                                                        </a:lnTo>
                                                                        <a:lnTo>
                                                                          <a:pt x="70" y="274"/>
                                                                        </a:lnTo>
                                                                        <a:lnTo>
                                                                          <a:pt x="68" y="266"/>
                                                                        </a:lnTo>
                                                                        <a:lnTo>
                                                                          <a:pt x="66" y="256"/>
                                                                        </a:lnTo>
                                                                        <a:lnTo>
                                                                          <a:pt x="66" y="252"/>
                                                                        </a:lnTo>
                                                                        <a:lnTo>
                                                                          <a:pt x="68" y="246"/>
                                                                        </a:lnTo>
                                                                        <a:lnTo>
                                                                          <a:pt x="68" y="246"/>
                                                                        </a:lnTo>
                                                                        <a:lnTo>
                                                                          <a:pt x="70" y="236"/>
                                                                        </a:lnTo>
                                                                        <a:lnTo>
                                                                          <a:pt x="68" y="232"/>
                                                                        </a:lnTo>
                                                                        <a:lnTo>
                                                                          <a:pt x="68" y="228"/>
                                                                        </a:lnTo>
                                                                        <a:lnTo>
                                                                          <a:pt x="72" y="220"/>
                                                                        </a:lnTo>
                                                                        <a:lnTo>
                                                                          <a:pt x="72" y="220"/>
                                                                        </a:lnTo>
                                                                        <a:lnTo>
                                                                          <a:pt x="76" y="216"/>
                                                                        </a:lnTo>
                                                                        <a:lnTo>
                                                                          <a:pt x="78" y="210"/>
                                                                        </a:lnTo>
                                                                        <a:lnTo>
                                                                          <a:pt x="76" y="206"/>
                                                                        </a:lnTo>
                                                                        <a:lnTo>
                                                                          <a:pt x="76" y="202"/>
                                                                        </a:lnTo>
                                                                        <a:lnTo>
                                                                          <a:pt x="72" y="194"/>
                                                                        </a:lnTo>
                                                                        <a:lnTo>
                                                                          <a:pt x="72" y="190"/>
                                                                        </a:lnTo>
                                                                        <a:lnTo>
                                                                          <a:pt x="72" y="184"/>
                                                                        </a:lnTo>
                                                                        <a:lnTo>
                                                                          <a:pt x="72" y="184"/>
                                                                        </a:lnTo>
                                                                        <a:lnTo>
                                                                          <a:pt x="74" y="178"/>
                                                                        </a:lnTo>
                                                                        <a:lnTo>
                                                                          <a:pt x="72" y="174"/>
                                                                        </a:lnTo>
                                                                        <a:lnTo>
                                                                          <a:pt x="70" y="166"/>
                                                                        </a:lnTo>
                                                                        <a:lnTo>
                                                                          <a:pt x="68" y="162"/>
                                                                        </a:lnTo>
                                                                        <a:lnTo>
                                                                          <a:pt x="70" y="160"/>
                                                                        </a:lnTo>
                                                                        <a:lnTo>
                                                                          <a:pt x="72" y="160"/>
                                                                        </a:lnTo>
                                                                        <a:lnTo>
                                                                          <a:pt x="72" y="160"/>
                                                                        </a:lnTo>
                                                                        <a:lnTo>
                                                                          <a:pt x="78" y="160"/>
                                                                        </a:lnTo>
                                                                        <a:lnTo>
                                                                          <a:pt x="82" y="158"/>
                                                                        </a:lnTo>
                                                                        <a:lnTo>
                                                                          <a:pt x="82" y="158"/>
                                                                        </a:lnTo>
                                                                        <a:lnTo>
                                                                          <a:pt x="80" y="158"/>
                                                                        </a:lnTo>
                                                                        <a:lnTo>
                                                                          <a:pt x="80" y="158"/>
                                                                        </a:lnTo>
                                                                        <a:lnTo>
                                                                          <a:pt x="82" y="160"/>
                                                                        </a:lnTo>
                                                                        <a:lnTo>
                                                                          <a:pt x="84" y="162"/>
                                                                        </a:lnTo>
                                                                        <a:lnTo>
                                                                          <a:pt x="90" y="162"/>
                                                                        </a:lnTo>
                                                                        <a:lnTo>
                                                                          <a:pt x="92" y="160"/>
                                                                        </a:lnTo>
                                                                        <a:lnTo>
                                                                          <a:pt x="94" y="162"/>
                                                                        </a:lnTo>
                                                                        <a:lnTo>
                                                                          <a:pt x="94" y="164"/>
                                                                        </a:lnTo>
                                                                        <a:lnTo>
                                                                          <a:pt x="92" y="168"/>
                                                                        </a:lnTo>
                                                                        <a:lnTo>
                                                                          <a:pt x="92" y="168"/>
                                                                        </a:lnTo>
                                                                        <a:lnTo>
                                                                          <a:pt x="90" y="176"/>
                                                                        </a:lnTo>
                                                                        <a:lnTo>
                                                                          <a:pt x="92" y="180"/>
                                                                        </a:lnTo>
                                                                        <a:lnTo>
                                                                          <a:pt x="94" y="182"/>
                                                                        </a:lnTo>
                                                                        <a:lnTo>
                                                                          <a:pt x="98" y="182"/>
                                                                        </a:lnTo>
                                                                        <a:lnTo>
                                                                          <a:pt x="98" y="182"/>
                                                                        </a:lnTo>
                                                                        <a:lnTo>
                                                                          <a:pt x="100" y="182"/>
                                                                        </a:lnTo>
                                                                        <a:lnTo>
                                                                          <a:pt x="102" y="184"/>
                                                                        </a:lnTo>
                                                                        <a:lnTo>
                                                                          <a:pt x="106" y="186"/>
                                                                        </a:lnTo>
                                                                        <a:lnTo>
                                                                          <a:pt x="110" y="186"/>
                                                                        </a:lnTo>
                                                                        <a:lnTo>
                                                                          <a:pt x="110" y="186"/>
                                                                        </a:lnTo>
                                                                        <a:lnTo>
                                                                          <a:pt x="112" y="186"/>
                                                                        </a:lnTo>
                                                                        <a:lnTo>
                                                                          <a:pt x="114" y="186"/>
                                                                        </a:lnTo>
                                                                        <a:lnTo>
                                                                          <a:pt x="116" y="192"/>
                                                                        </a:lnTo>
                                                                        <a:lnTo>
                                                                          <a:pt x="118" y="198"/>
                                                                        </a:lnTo>
                                                                        <a:lnTo>
                                                                          <a:pt x="124" y="204"/>
                                                                        </a:lnTo>
                                                                        <a:lnTo>
                                                                          <a:pt x="124" y="204"/>
                                                                        </a:lnTo>
                                                                        <a:lnTo>
                                                                          <a:pt x="128" y="206"/>
                                                                        </a:lnTo>
                                                                        <a:lnTo>
                                                                          <a:pt x="128" y="206"/>
                                                                        </a:lnTo>
                                                                        <a:lnTo>
                                                                          <a:pt x="130" y="204"/>
                                                                        </a:lnTo>
                                                                        <a:lnTo>
                                                                          <a:pt x="130" y="204"/>
                                                                        </a:lnTo>
                                                                        <a:lnTo>
                                                                          <a:pt x="130" y="204"/>
                                                                        </a:lnTo>
                                                                        <a:lnTo>
                                                                          <a:pt x="132" y="204"/>
                                                                        </a:lnTo>
                                                                        <a:lnTo>
                                                                          <a:pt x="132" y="206"/>
                                                                        </a:lnTo>
                                                                        <a:lnTo>
                                                                          <a:pt x="132" y="208"/>
                                                                        </a:lnTo>
                                                                        <a:lnTo>
                                                                          <a:pt x="134" y="210"/>
                                                                        </a:lnTo>
                                                                        <a:lnTo>
                                                                          <a:pt x="134" y="210"/>
                                                                        </a:lnTo>
                                                                        <a:lnTo>
                                                                          <a:pt x="136" y="214"/>
                                                                        </a:lnTo>
                                                                        <a:lnTo>
                                                                          <a:pt x="138" y="218"/>
                                                                        </a:lnTo>
                                                                        <a:lnTo>
                                                                          <a:pt x="140" y="222"/>
                                                                        </a:lnTo>
                                                                        <a:lnTo>
                                                                          <a:pt x="144" y="226"/>
                                                                        </a:lnTo>
                                                                        <a:lnTo>
                                                                          <a:pt x="144" y="226"/>
                                                                        </a:lnTo>
                                                                        <a:lnTo>
                                                                          <a:pt x="146" y="218"/>
                                                                        </a:lnTo>
                                                                        <a:lnTo>
                                                                          <a:pt x="144" y="210"/>
                                                                        </a:lnTo>
                                                                        <a:lnTo>
                                                                          <a:pt x="142" y="204"/>
                                                                        </a:lnTo>
                                                                        <a:lnTo>
                                                                          <a:pt x="136" y="198"/>
                                                                        </a:lnTo>
                                                                        <a:lnTo>
                                                                          <a:pt x="128" y="188"/>
                                                                        </a:lnTo>
                                                                        <a:lnTo>
                                                                          <a:pt x="126" y="182"/>
                                                                        </a:lnTo>
                                                                        <a:lnTo>
                                                                          <a:pt x="126" y="178"/>
                                                                        </a:lnTo>
                                                                        <a:lnTo>
                                                                          <a:pt x="126" y="178"/>
                                                                        </a:lnTo>
                                                                        <a:lnTo>
                                                                          <a:pt x="136" y="166"/>
                                                                        </a:lnTo>
                                                                        <a:lnTo>
                                                                          <a:pt x="142" y="156"/>
                                                                        </a:lnTo>
                                                                        <a:lnTo>
                                                                          <a:pt x="142" y="156"/>
                                                                        </a:lnTo>
                                                                        <a:lnTo>
                                                                          <a:pt x="146" y="154"/>
                                                                        </a:lnTo>
                                                                        <a:lnTo>
                                                                          <a:pt x="150" y="154"/>
                                                                        </a:lnTo>
                                                                        <a:lnTo>
                                                                          <a:pt x="154" y="156"/>
                                                                        </a:lnTo>
                                                                        <a:lnTo>
                                                                          <a:pt x="156" y="154"/>
                                                                        </a:lnTo>
                                                                        <a:lnTo>
                                                                          <a:pt x="156" y="154"/>
                                                                        </a:lnTo>
                                                                        <a:lnTo>
                                                                          <a:pt x="160" y="154"/>
                                                                        </a:lnTo>
                                                                        <a:lnTo>
                                                                          <a:pt x="162" y="154"/>
                                                                        </a:lnTo>
                                                                        <a:lnTo>
                                                                          <a:pt x="164" y="156"/>
                                                                        </a:lnTo>
                                                                        <a:lnTo>
                                                                          <a:pt x="166" y="154"/>
                                                                        </a:lnTo>
                                                                        <a:lnTo>
                                                                          <a:pt x="166" y="154"/>
                                                                        </a:lnTo>
                                                                        <a:lnTo>
                                                                          <a:pt x="170" y="154"/>
                                                                        </a:lnTo>
                                                                        <a:lnTo>
                                                                          <a:pt x="172" y="154"/>
                                                                        </a:lnTo>
                                                                        <a:lnTo>
                                                                          <a:pt x="178" y="154"/>
                                                                        </a:lnTo>
                                                                        <a:lnTo>
                                                                          <a:pt x="186" y="150"/>
                                                                        </a:lnTo>
                                                                        <a:lnTo>
                                                                          <a:pt x="186" y="150"/>
                                                                        </a:lnTo>
                                                                        <a:lnTo>
                                                                          <a:pt x="188" y="146"/>
                                                                        </a:lnTo>
                                                                        <a:lnTo>
                                                                          <a:pt x="190" y="144"/>
                                                                        </a:lnTo>
                                                                        <a:lnTo>
                                                                          <a:pt x="190" y="140"/>
                                                                        </a:lnTo>
                                                                        <a:lnTo>
                                                                          <a:pt x="192" y="136"/>
                                                                        </a:lnTo>
                                                                        <a:lnTo>
                                                                          <a:pt x="192" y="136"/>
                                                                        </a:lnTo>
                                                                        <a:lnTo>
                                                                          <a:pt x="194" y="132"/>
                                                                        </a:lnTo>
                                                                        <a:lnTo>
                                                                          <a:pt x="192" y="130"/>
                                                                        </a:lnTo>
                                                                        <a:lnTo>
                                                                          <a:pt x="190" y="126"/>
                                                                        </a:lnTo>
                                                                        <a:lnTo>
                                                                          <a:pt x="188" y="122"/>
                                                                        </a:lnTo>
                                                                        <a:lnTo>
                                                                          <a:pt x="188" y="122"/>
                                                                        </a:lnTo>
                                                                        <a:lnTo>
                                                                          <a:pt x="188" y="118"/>
                                                                        </a:lnTo>
                                                                        <a:lnTo>
                                                                          <a:pt x="186" y="116"/>
                                                                        </a:lnTo>
                                                                        <a:lnTo>
                                                                          <a:pt x="182" y="114"/>
                                                                        </a:lnTo>
                                                                        <a:lnTo>
                                                                          <a:pt x="180" y="110"/>
                                                                        </a:lnTo>
                                                                        <a:lnTo>
                                                                          <a:pt x="180" y="110"/>
                                                                        </a:lnTo>
                                                                        <a:lnTo>
                                                                          <a:pt x="176" y="110"/>
                                                                        </a:lnTo>
                                                                        <a:lnTo>
                                                                          <a:pt x="172" y="110"/>
                                                                        </a:lnTo>
                                                                        <a:lnTo>
                                                                          <a:pt x="164" y="104"/>
                                                                        </a:lnTo>
                                                                        <a:lnTo>
                                                                          <a:pt x="158" y="94"/>
                                                                        </a:lnTo>
                                                                        <a:lnTo>
                                                                          <a:pt x="158" y="90"/>
                                                                        </a:lnTo>
                                                                        <a:lnTo>
                                                                          <a:pt x="158" y="86"/>
                                                                        </a:lnTo>
                                                                        <a:lnTo>
                                                                          <a:pt x="158" y="86"/>
                                                                        </a:lnTo>
                                                                        <a:lnTo>
                                                                          <a:pt x="158" y="80"/>
                                                                        </a:lnTo>
                                                                        <a:lnTo>
                                                                          <a:pt x="154" y="76"/>
                                                                        </a:lnTo>
                                                                        <a:lnTo>
                                                                          <a:pt x="148" y="72"/>
                                                                        </a:lnTo>
                                                                        <a:lnTo>
                                                                          <a:pt x="136" y="62"/>
                                                                        </a:lnTo>
                                                                        <a:lnTo>
                                                                          <a:pt x="136" y="62"/>
                                                                        </a:lnTo>
                                                                        <a:lnTo>
                                                                          <a:pt x="130" y="56"/>
                                                                        </a:lnTo>
                                                                        <a:lnTo>
                                                                          <a:pt x="126" y="54"/>
                                                                        </a:lnTo>
                                                                        <a:lnTo>
                                                                          <a:pt x="120" y="56"/>
                                                                        </a:lnTo>
                                                                        <a:lnTo>
                                                                          <a:pt x="114" y="56"/>
                                                                        </a:lnTo>
                                                                        <a:lnTo>
                                                                          <a:pt x="110" y="58"/>
                                                                        </a:lnTo>
                                                                        <a:lnTo>
                                                                          <a:pt x="106" y="60"/>
                                                                        </a:lnTo>
                                                                        <a:lnTo>
                                                                          <a:pt x="102" y="58"/>
                                                                        </a:lnTo>
                                                                        <a:lnTo>
                                                                          <a:pt x="96" y="54"/>
                                                                        </a:lnTo>
                                                                        <a:lnTo>
                                                                          <a:pt x="96" y="54"/>
                                                                        </a:lnTo>
                                                                        <a:lnTo>
                                                                          <a:pt x="92" y="50"/>
                                                                        </a:lnTo>
                                                                        <a:lnTo>
                                                                          <a:pt x="88" y="50"/>
                                                                        </a:lnTo>
                                                                        <a:lnTo>
                                                                          <a:pt x="84" y="52"/>
                                                                        </a:lnTo>
                                                                        <a:lnTo>
                                                                          <a:pt x="80" y="54"/>
                                                                        </a:lnTo>
                                                                        <a:lnTo>
                                                                          <a:pt x="74" y="58"/>
                                                                        </a:lnTo>
                                                                        <a:lnTo>
                                                                          <a:pt x="72" y="60"/>
                                                                        </a:lnTo>
                                                                        <a:lnTo>
                                                                          <a:pt x="70" y="58"/>
                                                                        </a:lnTo>
                                                                        <a:lnTo>
                                                                          <a:pt x="70" y="58"/>
                                                                        </a:lnTo>
                                                                        <a:lnTo>
                                                                          <a:pt x="70" y="52"/>
                                                                        </a:lnTo>
                                                                        <a:lnTo>
                                                                          <a:pt x="70" y="46"/>
                                                                        </a:lnTo>
                                                                        <a:lnTo>
                                                                          <a:pt x="72" y="32"/>
                                                                        </a:lnTo>
                                                                        <a:lnTo>
                                                                          <a:pt x="78" y="20"/>
                                                                        </a:lnTo>
                                                                        <a:lnTo>
                                                                          <a:pt x="78" y="14"/>
                                                                        </a:lnTo>
                                                                        <a:lnTo>
                                                                          <a:pt x="78" y="14"/>
                                                                        </a:lnTo>
                                                                        <a:lnTo>
                                                                          <a:pt x="76" y="12"/>
                                                                        </a:lnTo>
                                                                        <a:lnTo>
                                                                          <a:pt x="74" y="12"/>
                                                                        </a:lnTo>
                                                                        <a:lnTo>
                                                                          <a:pt x="68" y="12"/>
                                                                        </a:lnTo>
                                                                        <a:lnTo>
                                                                          <a:pt x="60" y="14"/>
                                                                        </a:lnTo>
                                                                        <a:lnTo>
                                                                          <a:pt x="58" y="12"/>
                                                                        </a:lnTo>
                                                                        <a:lnTo>
                                                                          <a:pt x="56" y="8"/>
                                                                        </a:lnTo>
                                                                        <a:lnTo>
                                                                          <a:pt x="56" y="8"/>
                                                                        </a:lnTo>
                                                                        <a:lnTo>
                                                                          <a:pt x="54" y="4"/>
                                                                        </a:lnTo>
                                                                        <a:lnTo>
                                                                          <a:pt x="54" y="4"/>
                                                                        </a:lnTo>
                                                                        <a:lnTo>
                                                                          <a:pt x="52" y="4"/>
                                                                        </a:lnTo>
                                                                        <a:lnTo>
                                                                          <a:pt x="50" y="0"/>
                                                                        </a:lnTo>
                                                                        <a:lnTo>
                                                                          <a:pt x="50" y="0"/>
                                                                        </a:lnTo>
                                                                        <a:lnTo>
                                                                          <a:pt x="34" y="2"/>
                                                                        </a:lnTo>
                                                                        <a:lnTo>
                                                                          <a:pt x="32" y="2"/>
                                                                        </a:lnTo>
                                                                        <a:lnTo>
                                                                          <a:pt x="30" y="6"/>
                                                                        </a:lnTo>
                                                                        <a:lnTo>
                                                                          <a:pt x="30" y="6"/>
                                                                        </a:lnTo>
                                                                        <a:lnTo>
                                                                          <a:pt x="30" y="8"/>
                                                                        </a:lnTo>
                                                                        <a:lnTo>
                                                                          <a:pt x="28" y="8"/>
                                                                        </a:lnTo>
                                                                        <a:lnTo>
                                                                          <a:pt x="24" y="8"/>
                                                                        </a:lnTo>
                                                                        <a:lnTo>
                                                                          <a:pt x="18" y="8"/>
                                                                        </a:lnTo>
                                                                        <a:lnTo>
                                                                          <a:pt x="14" y="10"/>
                                                                        </a:lnTo>
                                                                        <a:lnTo>
                                                                          <a:pt x="12" y="12"/>
                                                                        </a:lnTo>
                                                                        <a:lnTo>
                                                                          <a:pt x="12" y="12"/>
                                                                        </a:lnTo>
                                                                        <a:lnTo>
                                                                          <a:pt x="10" y="16"/>
                                                                        </a:lnTo>
                                                                        <a:lnTo>
                                                                          <a:pt x="8" y="20"/>
                                                                        </a:lnTo>
                                                                        <a:lnTo>
                                                                          <a:pt x="10" y="26"/>
                                                                        </a:lnTo>
                                                                        <a:lnTo>
                                                                          <a:pt x="12" y="30"/>
                                                                        </a:lnTo>
                                                                        <a:lnTo>
                                                                          <a:pt x="12" y="34"/>
                                                                        </a:lnTo>
                                                                        <a:lnTo>
                                                                          <a:pt x="10" y="36"/>
                                                                        </a:lnTo>
                                                                        <a:lnTo>
                                                                          <a:pt x="10" y="36"/>
                                                                        </a:lnTo>
                                                                        <a:lnTo>
                                                                          <a:pt x="8" y="40"/>
                                                                        </a:lnTo>
                                                                        <a:lnTo>
                                                                          <a:pt x="4" y="40"/>
                                                                        </a:lnTo>
                                                                        <a:lnTo>
                                                                          <a:pt x="2" y="40"/>
                                                                        </a:lnTo>
                                                                        <a:lnTo>
                                                                          <a:pt x="0" y="42"/>
                                                                        </a:lnTo>
                                                                        <a:lnTo>
                                                                          <a:pt x="0" y="42"/>
                                                                        </a:lnTo>
                                                                        <a:lnTo>
                                                                          <a:pt x="0" y="46"/>
                                                                        </a:lnTo>
                                                                        <a:lnTo>
                                                                          <a:pt x="2" y="48"/>
                                                                        </a:lnTo>
                                                                        <a:lnTo>
                                                                          <a:pt x="4" y="52"/>
                                                                        </a:lnTo>
                                                                        <a:lnTo>
                                                                          <a:pt x="6" y="54"/>
                                                                        </a:lnTo>
                                                                        <a:lnTo>
                                                                          <a:pt x="6" y="54"/>
                                                                        </a:lnTo>
                                                                        <a:lnTo>
                                                                          <a:pt x="4" y="56"/>
                                                                        </a:lnTo>
                                                                        <a:lnTo>
                                                                          <a:pt x="4" y="58"/>
                                                                        </a:lnTo>
                                                                        <a:lnTo>
                                                                          <a:pt x="10" y="62"/>
                                                                        </a:lnTo>
                                                                        <a:lnTo>
                                                                          <a:pt x="16" y="68"/>
                                                                        </a:lnTo>
                                                                        <a:lnTo>
                                                                          <a:pt x="22" y="74"/>
                                                                        </a:lnTo>
                                                                        <a:lnTo>
                                                                          <a:pt x="22" y="74"/>
                                                                        </a:lnTo>
                                                                        <a:lnTo>
                                                                          <a:pt x="30" y="82"/>
                                                                        </a:lnTo>
                                                                        <a:lnTo>
                                                                          <a:pt x="38" y="88"/>
                                                                        </a:lnTo>
                                                                        <a:lnTo>
                                                                          <a:pt x="46" y="92"/>
                                                                        </a:lnTo>
                                                                        <a:lnTo>
                                                                          <a:pt x="50" y="96"/>
                                                                        </a:lnTo>
                                                                        <a:lnTo>
                                                                          <a:pt x="50" y="96"/>
                                                                        </a:lnTo>
                                                                        <a:lnTo>
                                                                          <a:pt x="50" y="98"/>
                                                                        </a:lnTo>
                                                                        <a:lnTo>
                                                                          <a:pt x="48" y="98"/>
                                                                        </a:lnTo>
                                                                        <a:lnTo>
                                                                          <a:pt x="44" y="98"/>
                                                                        </a:lnTo>
                                                                        <a:lnTo>
                                                                          <a:pt x="40" y="100"/>
                                                                        </a:lnTo>
                                                                        <a:lnTo>
                                                                          <a:pt x="40" y="102"/>
                                                                        </a:lnTo>
                                                                        <a:lnTo>
                                                                          <a:pt x="38" y="104"/>
                                                                        </a:lnTo>
                                                                        <a:lnTo>
                                                                          <a:pt x="38" y="104"/>
                                                                        </a:lnTo>
                                                                        <a:lnTo>
                                                                          <a:pt x="38" y="108"/>
                                                                        </a:lnTo>
                                                                        <a:lnTo>
                                                                          <a:pt x="40" y="110"/>
                                                                        </a:lnTo>
                                                                        <a:lnTo>
                                                                          <a:pt x="40" y="112"/>
                                                                        </a:lnTo>
                                                                        <a:lnTo>
                                                                          <a:pt x="38" y="118"/>
                                                                        </a:lnTo>
                                                                        <a:lnTo>
                                                                          <a:pt x="38" y="118"/>
                                                                        </a:lnTo>
                                                                        <a:lnTo>
                                                                          <a:pt x="38" y="122"/>
                                                                        </a:lnTo>
                                                                        <a:lnTo>
                                                                          <a:pt x="38" y="126"/>
                                                                        </a:lnTo>
                                                                        <a:lnTo>
                                                                          <a:pt x="40" y="130"/>
                                                                        </a:lnTo>
                                                                        <a:lnTo>
                                                                          <a:pt x="38" y="132"/>
                                                                        </a:lnTo>
                                                                        <a:lnTo>
                                                                          <a:pt x="38" y="132"/>
                                                                        </a:lnTo>
                                                                        <a:lnTo>
                                                                          <a:pt x="36" y="134"/>
                                                                        </a:lnTo>
                                                                        <a:lnTo>
                                                                          <a:pt x="34" y="138"/>
                                                                        </a:lnTo>
                                                                        <a:lnTo>
                                                                          <a:pt x="36" y="142"/>
                                                                        </a:lnTo>
                                                                        <a:lnTo>
                                                                          <a:pt x="42" y="150"/>
                                                                        </a:lnTo>
                                                                        <a:lnTo>
                                                                          <a:pt x="52" y="158"/>
                                                                        </a:lnTo>
                                                                        <a:lnTo>
                                                                          <a:pt x="52" y="158"/>
                                                                        </a:lnTo>
                                                                        <a:lnTo>
                                                                          <a:pt x="56" y="160"/>
                                                                        </a:lnTo>
                                                                        <a:lnTo>
                                                                          <a:pt x="58" y="164"/>
                                                                        </a:lnTo>
                                                                        <a:lnTo>
                                                                          <a:pt x="58" y="172"/>
                                                                        </a:lnTo>
                                                                        <a:lnTo>
                                                                          <a:pt x="58" y="184"/>
                                                                        </a:lnTo>
                                                                        <a:lnTo>
                                                                          <a:pt x="60" y="192"/>
                                                                        </a:lnTo>
                                                                        <a:lnTo>
                                                                          <a:pt x="64" y="204"/>
                                                                        </a:lnTo>
                                                                        <a:lnTo>
                                                                          <a:pt x="64" y="204"/>
                                                                        </a:lnTo>
                                                                        <a:lnTo>
                                                                          <a:pt x="68" y="214"/>
                                                                        </a:lnTo>
                                                                        <a:lnTo>
                                                                          <a:pt x="68" y="220"/>
                                                                        </a:lnTo>
                                                                        <a:lnTo>
                                                                          <a:pt x="66" y="226"/>
                                                                        </a:lnTo>
                                                                        <a:lnTo>
                                                                          <a:pt x="64" y="232"/>
                                                                        </a:lnTo>
                                                                        <a:lnTo>
                                                                          <a:pt x="58" y="240"/>
                                                                        </a:lnTo>
                                                                        <a:lnTo>
                                                                          <a:pt x="56" y="244"/>
                                                                        </a:lnTo>
                                                                        <a:lnTo>
                                                                          <a:pt x="56" y="248"/>
                                                                        </a:lnTo>
                                                                        <a:lnTo>
                                                                          <a:pt x="56" y="248"/>
                                                                        </a:lnTo>
                                                                        <a:lnTo>
                                                                          <a:pt x="56" y="256"/>
                                                                        </a:lnTo>
                                                                        <a:lnTo>
                                                                          <a:pt x="56" y="258"/>
                                                                        </a:lnTo>
                                                                        <a:lnTo>
                                                                          <a:pt x="54" y="260"/>
                                                                        </a:lnTo>
                                                                        <a:lnTo>
                                                                          <a:pt x="54" y="264"/>
                                                                        </a:lnTo>
                                                                        <a:lnTo>
                                                                          <a:pt x="54" y="264"/>
                                                                        </a:lnTo>
                                                                        <a:lnTo>
                                                                          <a:pt x="50" y="270"/>
                                                                        </a:lnTo>
                                                                        <a:lnTo>
                                                                          <a:pt x="48" y="274"/>
                                                                        </a:lnTo>
                                                                        <a:lnTo>
                                                                          <a:pt x="46" y="278"/>
                                                                        </a:lnTo>
                                                                        <a:lnTo>
                                                                          <a:pt x="46" y="282"/>
                                                                        </a:lnTo>
                                                                        <a:lnTo>
                                                                          <a:pt x="50" y="284"/>
                                                                        </a:lnTo>
                                                                        <a:lnTo>
                                                                          <a:pt x="50" y="284"/>
                                                                        </a:lnTo>
                                                                        <a:lnTo>
                                                                          <a:pt x="46" y="288"/>
                                                                        </a:lnTo>
                                                                        <a:lnTo>
                                                                          <a:pt x="44" y="290"/>
                                                                        </a:lnTo>
                                                                        <a:lnTo>
                                                                          <a:pt x="46" y="292"/>
                                                                        </a:lnTo>
                                                                        <a:lnTo>
                                                                          <a:pt x="44" y="298"/>
                                                                        </a:lnTo>
                                                                        <a:lnTo>
                                                                          <a:pt x="44" y="298"/>
                                                                        </a:lnTo>
                                                                        <a:lnTo>
                                                                          <a:pt x="44" y="302"/>
                                                                        </a:lnTo>
                                                                        <a:lnTo>
                                                                          <a:pt x="46" y="304"/>
                                                                        </a:lnTo>
                                                                        <a:lnTo>
                                                                          <a:pt x="48" y="306"/>
                                                                        </a:lnTo>
                                                                        <a:lnTo>
                                                                          <a:pt x="50" y="308"/>
                                                                        </a:lnTo>
                                                                        <a:lnTo>
                                                                          <a:pt x="50" y="308"/>
                                                                        </a:lnTo>
                                                                        <a:lnTo>
                                                                          <a:pt x="52" y="306"/>
                                                                        </a:lnTo>
                                                                        <a:lnTo>
                                                                          <a:pt x="52" y="304"/>
                                                                        </a:lnTo>
                                                                        <a:lnTo>
                                                                          <a:pt x="52" y="302"/>
                                                                        </a:lnTo>
                                                                        <a:lnTo>
                                                                          <a:pt x="56" y="304"/>
                                                                        </a:lnTo>
                                                                        <a:lnTo>
                                                                          <a:pt x="56" y="304"/>
                                                                        </a:lnTo>
                                                                        <a:lnTo>
                                                                          <a:pt x="58" y="306"/>
                                                                        </a:lnTo>
                                                                        <a:lnTo>
                                                                          <a:pt x="58" y="308"/>
                                                                        </a:lnTo>
                                                                        <a:lnTo>
                                                                          <a:pt x="58" y="310"/>
                                                                        </a:lnTo>
                                                                        <a:lnTo>
                                                                          <a:pt x="62" y="310"/>
                                                                        </a:lnTo>
                                                                        <a:lnTo>
                                                                          <a:pt x="62" y="310"/>
                                                                        </a:lnTo>
                                                                        <a:lnTo>
                                                                          <a:pt x="66" y="312"/>
                                                                        </a:lnTo>
                                                                        <a:lnTo>
                                                                          <a:pt x="64" y="316"/>
                                                                        </a:lnTo>
                                                                        <a:lnTo>
                                                                          <a:pt x="64" y="318"/>
                                                                        </a:lnTo>
                                                                        <a:lnTo>
                                                                          <a:pt x="66" y="322"/>
                                                                        </a:lnTo>
                                                                        <a:lnTo>
                                                                          <a:pt x="66" y="322"/>
                                                                        </a:lnTo>
                                                                        <a:lnTo>
                                                                          <a:pt x="66" y="322"/>
                                                                        </a:lnTo>
                                                                        <a:lnTo>
                                                                          <a:pt x="68" y="320"/>
                                                                        </a:lnTo>
                                                                        <a:lnTo>
                                                                          <a:pt x="68" y="316"/>
                                                                        </a:lnTo>
                                                                        <a:lnTo>
                                                                          <a:pt x="68" y="316"/>
                                                                        </a:lnTo>
                                                                        <a:lnTo>
                                                                          <a:pt x="70" y="320"/>
                                                                        </a:lnTo>
                                                                        <a:lnTo>
                                                                          <a:pt x="70" y="324"/>
                                                                        </a:lnTo>
                                                                        <a:lnTo>
                                                                          <a:pt x="72" y="328"/>
                                                                        </a:lnTo>
                                                                        <a:lnTo>
                                                                          <a:pt x="78" y="330"/>
                                                                        </a:lnTo>
                                                                        <a:lnTo>
                                                                          <a:pt x="78" y="330"/>
                                                                        </a:lnTo>
                                                                        <a:lnTo>
                                                                          <a:pt x="74" y="336"/>
                                                                        </a:lnTo>
                                                                        <a:lnTo>
                                                                          <a:pt x="76" y="338"/>
                                                                        </a:lnTo>
                                                                        <a:lnTo>
                                                                          <a:pt x="76" y="340"/>
                                                                        </a:lnTo>
                                                                        <a:lnTo>
                                                                          <a:pt x="82" y="342"/>
                                                                        </a:lnTo>
                                                                        <a:lnTo>
                                                                          <a:pt x="90" y="352"/>
                                                                        </a:lnTo>
                                                                        <a:lnTo>
                                                                          <a:pt x="90" y="352"/>
                                                                        </a:lnTo>
                                                                        <a:lnTo>
                                                                          <a:pt x="94" y="350"/>
                                                                        </a:lnTo>
                                                                        <a:lnTo>
                                                                          <a:pt x="98" y="350"/>
                                                                        </a:lnTo>
                                                                        <a:lnTo>
                                                                          <a:pt x="106" y="354"/>
                                                                        </a:lnTo>
                                                                        <a:lnTo>
                                                                          <a:pt x="110" y="358"/>
                                                                        </a:lnTo>
                                                                        <a:lnTo>
                                                                          <a:pt x="116" y="360"/>
                                                                        </a:lnTo>
                                                                        <a:lnTo>
                                                                          <a:pt x="116" y="360"/>
                                                                        </a:lnTo>
                                                                        <a:lnTo>
                                                                          <a:pt x="122" y="358"/>
                                                                        </a:lnTo>
                                                                        <a:lnTo>
                                                                          <a:pt x="124" y="356"/>
                                                                        </a:lnTo>
                                                                        <a:lnTo>
                                                                          <a:pt x="126" y="354"/>
                                                                        </a:lnTo>
                                                                        <a:lnTo>
                                                                          <a:pt x="130" y="350"/>
                                                                        </a:lnTo>
                                                                        <a:lnTo>
                                                                          <a:pt x="130" y="350"/>
                                                                        </a:lnTo>
                                                                        <a:close/>
                                                                      </a:path>
                                                                    </a:pathLst>
                                                                  </a:custGeom>
                                                                  <a:solidFill>
                                                                    <a:schemeClr val="accent3"/>
                                                                  </a:solid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8" name="Vietnam"/>
                                                                  <p:cNvSpPr>
                                                                    <a:spLocks/>
                                                                  </p:cNvSpPr>
                                                                  <p:nvPr/>
                                                                </p:nvSpPr>
                                                                <p:spPr bwMode="auto">
                                                                  <a:xfrm>
                                                                    <a:off x="8952724" y="2793051"/>
                                                                    <a:ext cx="321990" cy="552340"/>
                                                                  </a:xfrm>
                                                                  <a:custGeom>
                                                                    <a:avLst/>
                                                                    <a:gdLst/>
                                                                    <a:ahLst/>
                                                                    <a:cxnLst>
                                                                      <a:cxn ang="0">
                                                                        <a:pos x="118" y="330"/>
                                                                      </a:cxn>
                                                                      <a:cxn ang="0">
                                                                        <a:pos x="118" y="356"/>
                                                                      </a:cxn>
                                                                      <a:cxn ang="0">
                                                                        <a:pos x="118" y="364"/>
                                                                      </a:cxn>
                                                                      <a:cxn ang="0">
                                                                        <a:pos x="130" y="362"/>
                                                                      </a:cxn>
                                                                      <a:cxn ang="0">
                                                                        <a:pos x="136" y="354"/>
                                                                      </a:cxn>
                                                                      <a:cxn ang="0">
                                                                        <a:pos x="146" y="350"/>
                                                                      </a:cxn>
                                                                      <a:cxn ang="0">
                                                                        <a:pos x="152" y="344"/>
                                                                      </a:cxn>
                                                                      <a:cxn ang="0">
                                                                        <a:pos x="148" y="332"/>
                                                                      </a:cxn>
                                                                      <a:cxn ang="0">
                                                                        <a:pos x="158" y="344"/>
                                                                      </a:cxn>
                                                                      <a:cxn ang="0">
                                                                        <a:pos x="162" y="330"/>
                                                                      </a:cxn>
                                                                      <a:cxn ang="0">
                                                                        <a:pos x="162" y="326"/>
                                                                      </a:cxn>
                                                                      <a:cxn ang="0">
                                                                        <a:pos x="182" y="312"/>
                                                                      </a:cxn>
                                                                      <a:cxn ang="0">
                                                                        <a:pos x="198" y="300"/>
                                                                      </a:cxn>
                                                                      <a:cxn ang="0">
                                                                        <a:pos x="206" y="290"/>
                                                                      </a:cxn>
                                                                      <a:cxn ang="0">
                                                                        <a:pos x="210" y="280"/>
                                                                      </a:cxn>
                                                                      <a:cxn ang="0">
                                                                        <a:pos x="208" y="274"/>
                                                                      </a:cxn>
                                                                      <a:cxn ang="0">
                                                                        <a:pos x="208" y="260"/>
                                                                      </a:cxn>
                                                                      <a:cxn ang="0">
                                                                        <a:pos x="208" y="254"/>
                                                                      </a:cxn>
                                                                      <a:cxn ang="0">
                                                                        <a:pos x="206" y="242"/>
                                                                      </a:cxn>
                                                                      <a:cxn ang="0">
                                                                        <a:pos x="202" y="230"/>
                                                                      </a:cxn>
                                                                      <a:cxn ang="0">
                                                                        <a:pos x="188" y="198"/>
                                                                      </a:cxn>
                                                                      <a:cxn ang="0">
                                                                        <a:pos x="184" y="190"/>
                                                                      </a:cxn>
                                                                      <a:cxn ang="0">
                                                                        <a:pos x="168" y="178"/>
                                                                      </a:cxn>
                                                                      <a:cxn ang="0">
                                                                        <a:pos x="136" y="148"/>
                                                                      </a:cxn>
                                                                      <a:cxn ang="0">
                                                                        <a:pos x="118" y="124"/>
                                                                      </a:cxn>
                                                                      <a:cxn ang="0">
                                                                        <a:pos x="104" y="108"/>
                                                                      </a:cxn>
                                                                      <a:cxn ang="0">
                                                                        <a:pos x="106" y="78"/>
                                                                      </a:cxn>
                                                                      <a:cxn ang="0">
                                                                        <a:pos x="116" y="62"/>
                                                                      </a:cxn>
                                                                      <a:cxn ang="0">
                                                                        <a:pos x="124" y="56"/>
                                                                      </a:cxn>
                                                                      <a:cxn ang="0">
                                                                        <a:pos x="132" y="44"/>
                                                                      </a:cxn>
                                                                      <a:cxn ang="0">
                                                                        <a:pos x="120" y="38"/>
                                                                      </a:cxn>
                                                                      <a:cxn ang="0">
                                                                        <a:pos x="108" y="36"/>
                                                                      </a:cxn>
                                                                      <a:cxn ang="0">
                                                                        <a:pos x="106" y="22"/>
                                                                      </a:cxn>
                                                                      <a:cxn ang="0">
                                                                        <a:pos x="100" y="12"/>
                                                                      </a:cxn>
                                                                      <a:cxn ang="0">
                                                                        <a:pos x="84" y="4"/>
                                                                      </a:cxn>
                                                                      <a:cxn ang="0">
                                                                        <a:pos x="68" y="4"/>
                                                                      </a:cxn>
                                                                      <a:cxn ang="0">
                                                                        <a:pos x="62" y="16"/>
                                                                      </a:cxn>
                                                                      <a:cxn ang="0">
                                                                        <a:pos x="46" y="18"/>
                                                                      </a:cxn>
                                                                      <a:cxn ang="0">
                                                                        <a:pos x="32" y="18"/>
                                                                      </a:cxn>
                                                                      <a:cxn ang="0">
                                                                        <a:pos x="24" y="12"/>
                                                                      </a:cxn>
                                                                      <a:cxn ang="0">
                                                                        <a:pos x="24" y="24"/>
                                                                      </a:cxn>
                                                                      <a:cxn ang="0">
                                                                        <a:pos x="10" y="18"/>
                                                                      </a:cxn>
                                                                      <a:cxn ang="0">
                                                                        <a:pos x="18" y="40"/>
                                                                      </a:cxn>
                                                                      <a:cxn ang="0">
                                                                        <a:pos x="26" y="52"/>
                                                                      </a:cxn>
                                                                      <a:cxn ang="0">
                                                                        <a:pos x="50" y="62"/>
                                                                      </a:cxn>
                                                                      <a:cxn ang="0">
                                                                        <a:pos x="86" y="74"/>
                                                                      </a:cxn>
                                                                      <a:cxn ang="0">
                                                                        <a:pos x="80" y="88"/>
                                                                      </a:cxn>
                                                                      <a:cxn ang="0">
                                                                        <a:pos x="62" y="94"/>
                                                                      </a:cxn>
                                                                      <a:cxn ang="0">
                                                                        <a:pos x="88" y="108"/>
                                                                      </a:cxn>
                                                                      <a:cxn ang="0">
                                                                        <a:pos x="98" y="118"/>
                                                                      </a:cxn>
                                                                      <a:cxn ang="0">
                                                                        <a:pos x="114" y="142"/>
                                                                      </a:cxn>
                                                                      <a:cxn ang="0">
                                                                        <a:pos x="126" y="162"/>
                                                                      </a:cxn>
                                                                      <a:cxn ang="0">
                                                                        <a:pos x="152" y="176"/>
                                                                      </a:cxn>
                                                                      <a:cxn ang="0">
                                                                        <a:pos x="164" y="196"/>
                                                                      </a:cxn>
                                                                      <a:cxn ang="0">
                                                                        <a:pos x="180" y="232"/>
                                                                      </a:cxn>
                                                                      <a:cxn ang="0">
                                                                        <a:pos x="172" y="266"/>
                                                                      </a:cxn>
                                                                      <a:cxn ang="0">
                                                                        <a:pos x="174" y="284"/>
                                                                      </a:cxn>
                                                                      <a:cxn ang="0">
                                                                        <a:pos x="152" y="292"/>
                                                                      </a:cxn>
                                                                      <a:cxn ang="0">
                                                                        <a:pos x="134" y="300"/>
                                                                      </a:cxn>
                                                                      <a:cxn ang="0">
                                                                        <a:pos x="146" y="312"/>
                                                                      </a:cxn>
                                                                      <a:cxn ang="0">
                                                                        <a:pos x="142" y="316"/>
                                                                      </a:cxn>
                                                                      <a:cxn ang="0">
                                                                        <a:pos x="130" y="312"/>
                                                                      </a:cxn>
                                                                      <a:cxn ang="0">
                                                                        <a:pos x="108" y="324"/>
                                                                      </a:cxn>
                                                                    </a:cxnLst>
                                                                    <a:rect l="0" t="0" r="r" b="b"/>
                                                                    <a:pathLst>
                                                                      <a:path w="212" h="364">
                                                                        <a:moveTo>
                                                                          <a:pt x="108" y="324"/>
                                                                        </a:moveTo>
                                                                        <a:lnTo>
                                                                          <a:pt x="108" y="324"/>
                                                                        </a:lnTo>
                                                                        <a:lnTo>
                                                                          <a:pt x="114" y="326"/>
                                                                        </a:lnTo>
                                                                        <a:lnTo>
                                                                          <a:pt x="116" y="328"/>
                                                                        </a:lnTo>
                                                                        <a:lnTo>
                                                                          <a:pt x="118" y="330"/>
                                                                        </a:lnTo>
                                                                        <a:lnTo>
                                                                          <a:pt x="122" y="330"/>
                                                                        </a:lnTo>
                                                                        <a:lnTo>
                                                                          <a:pt x="122" y="330"/>
                                                                        </a:lnTo>
                                                                        <a:lnTo>
                                                                          <a:pt x="118" y="340"/>
                                                                        </a:lnTo>
                                                                        <a:lnTo>
                                                                          <a:pt x="118" y="346"/>
                                                                        </a:lnTo>
                                                                        <a:lnTo>
                                                                          <a:pt x="118" y="356"/>
                                                                        </a:lnTo>
                                                                        <a:lnTo>
                                                                          <a:pt x="120" y="360"/>
                                                                        </a:lnTo>
                                                                        <a:lnTo>
                                                                          <a:pt x="120" y="362"/>
                                                                        </a:lnTo>
                                                                        <a:lnTo>
                                                                          <a:pt x="120" y="362"/>
                                                                        </a:lnTo>
                                                                        <a:lnTo>
                                                                          <a:pt x="120" y="362"/>
                                                                        </a:lnTo>
                                                                        <a:lnTo>
                                                                          <a:pt x="118" y="364"/>
                                                                        </a:lnTo>
                                                                        <a:lnTo>
                                                                          <a:pt x="124" y="364"/>
                                                                        </a:lnTo>
                                                                        <a:lnTo>
                                                                          <a:pt x="124" y="364"/>
                                                                        </a:lnTo>
                                                                        <a:lnTo>
                                                                          <a:pt x="128" y="364"/>
                                                                        </a:lnTo>
                                                                        <a:lnTo>
                                                                          <a:pt x="128" y="362"/>
                                                                        </a:lnTo>
                                                                        <a:lnTo>
                                                                          <a:pt x="130" y="362"/>
                                                                        </a:lnTo>
                                                                        <a:lnTo>
                                                                          <a:pt x="132" y="360"/>
                                                                        </a:lnTo>
                                                                        <a:lnTo>
                                                                          <a:pt x="132" y="360"/>
                                                                        </a:lnTo>
                                                                        <a:lnTo>
                                                                          <a:pt x="134" y="360"/>
                                                                        </a:lnTo>
                                                                        <a:lnTo>
                                                                          <a:pt x="134" y="356"/>
                                                                        </a:lnTo>
                                                                        <a:lnTo>
                                                                          <a:pt x="136" y="354"/>
                                                                        </a:lnTo>
                                                                        <a:lnTo>
                                                                          <a:pt x="142" y="354"/>
                                                                        </a:lnTo>
                                                                        <a:lnTo>
                                                                          <a:pt x="142" y="354"/>
                                                                        </a:lnTo>
                                                                        <a:lnTo>
                                                                          <a:pt x="146" y="352"/>
                                                                        </a:lnTo>
                                                                        <a:lnTo>
                                                                          <a:pt x="146" y="352"/>
                                                                        </a:lnTo>
                                                                        <a:lnTo>
                                                                          <a:pt x="146" y="350"/>
                                                                        </a:lnTo>
                                                                        <a:lnTo>
                                                                          <a:pt x="148" y="350"/>
                                                                        </a:lnTo>
                                                                        <a:lnTo>
                                                                          <a:pt x="148" y="350"/>
                                                                        </a:lnTo>
                                                                        <a:lnTo>
                                                                          <a:pt x="152" y="350"/>
                                                                        </a:lnTo>
                                                                        <a:lnTo>
                                                                          <a:pt x="152" y="348"/>
                                                                        </a:lnTo>
                                                                        <a:lnTo>
                                                                          <a:pt x="152" y="344"/>
                                                                        </a:lnTo>
                                                                        <a:lnTo>
                                                                          <a:pt x="148" y="340"/>
                                                                        </a:lnTo>
                                                                        <a:lnTo>
                                                                          <a:pt x="148" y="340"/>
                                                                        </a:lnTo>
                                                                        <a:lnTo>
                                                                          <a:pt x="146" y="336"/>
                                                                        </a:lnTo>
                                                                        <a:lnTo>
                                                                          <a:pt x="146" y="334"/>
                                                                        </a:lnTo>
                                                                        <a:lnTo>
                                                                          <a:pt x="148" y="332"/>
                                                                        </a:lnTo>
                                                                        <a:lnTo>
                                                                          <a:pt x="148" y="334"/>
                                                                        </a:lnTo>
                                                                        <a:lnTo>
                                                                          <a:pt x="148" y="334"/>
                                                                        </a:lnTo>
                                                                        <a:lnTo>
                                                                          <a:pt x="152" y="342"/>
                                                                        </a:lnTo>
                                                                        <a:lnTo>
                                                                          <a:pt x="156" y="344"/>
                                                                        </a:lnTo>
                                                                        <a:lnTo>
                                                                          <a:pt x="158" y="344"/>
                                                                        </a:lnTo>
                                                                        <a:lnTo>
                                                                          <a:pt x="158" y="344"/>
                                                                        </a:lnTo>
                                                                        <a:lnTo>
                                                                          <a:pt x="158" y="340"/>
                                                                        </a:lnTo>
                                                                        <a:lnTo>
                                                                          <a:pt x="158" y="338"/>
                                                                        </a:lnTo>
                                                                        <a:lnTo>
                                                                          <a:pt x="160" y="334"/>
                                                                        </a:lnTo>
                                                                        <a:lnTo>
                                                                          <a:pt x="162" y="330"/>
                                                                        </a:lnTo>
                                                                        <a:lnTo>
                                                                          <a:pt x="162" y="330"/>
                                                                        </a:lnTo>
                                                                        <a:lnTo>
                                                                          <a:pt x="162" y="328"/>
                                                                        </a:lnTo>
                                                                        <a:lnTo>
                                                                          <a:pt x="162" y="326"/>
                                                                        </a:lnTo>
                                                                        <a:lnTo>
                                                                          <a:pt x="160" y="326"/>
                                                                        </a:lnTo>
                                                                        <a:lnTo>
                                                                          <a:pt x="162" y="326"/>
                                                                        </a:lnTo>
                                                                        <a:lnTo>
                                                                          <a:pt x="162" y="326"/>
                                                                        </a:lnTo>
                                                                        <a:lnTo>
                                                                          <a:pt x="166" y="324"/>
                                                                        </a:lnTo>
                                                                        <a:lnTo>
                                                                          <a:pt x="174" y="320"/>
                                                                        </a:lnTo>
                                                                        <a:lnTo>
                                                                          <a:pt x="182" y="312"/>
                                                                        </a:lnTo>
                                                                        <a:lnTo>
                                                                          <a:pt x="182" y="312"/>
                                                                        </a:lnTo>
                                                                        <a:lnTo>
                                                                          <a:pt x="186" y="312"/>
                                                                        </a:lnTo>
                                                                        <a:lnTo>
                                                                          <a:pt x="190" y="308"/>
                                                                        </a:lnTo>
                                                                        <a:lnTo>
                                                                          <a:pt x="190" y="308"/>
                                                                        </a:lnTo>
                                                                        <a:lnTo>
                                                                          <a:pt x="196" y="304"/>
                                                                        </a:lnTo>
                                                                        <a:lnTo>
                                                                          <a:pt x="198" y="300"/>
                                                                        </a:lnTo>
                                                                        <a:lnTo>
                                                                          <a:pt x="200" y="296"/>
                                                                        </a:lnTo>
                                                                        <a:lnTo>
                                                                          <a:pt x="200" y="296"/>
                                                                        </a:lnTo>
                                                                        <a:lnTo>
                                                                          <a:pt x="200" y="292"/>
                                                                        </a:lnTo>
                                                                        <a:lnTo>
                                                                          <a:pt x="202" y="290"/>
                                                                        </a:lnTo>
                                                                        <a:lnTo>
                                                                          <a:pt x="206" y="290"/>
                                                                        </a:lnTo>
                                                                        <a:lnTo>
                                                                          <a:pt x="208" y="292"/>
                                                                        </a:lnTo>
                                                                        <a:lnTo>
                                                                          <a:pt x="208" y="288"/>
                                                                        </a:lnTo>
                                                                        <a:lnTo>
                                                                          <a:pt x="208" y="288"/>
                                                                        </a:lnTo>
                                                                        <a:lnTo>
                                                                          <a:pt x="210" y="284"/>
                                                                        </a:lnTo>
                                                                        <a:lnTo>
                                                                          <a:pt x="210" y="280"/>
                                                                        </a:lnTo>
                                                                        <a:lnTo>
                                                                          <a:pt x="212" y="278"/>
                                                                        </a:lnTo>
                                                                        <a:lnTo>
                                                                          <a:pt x="208" y="278"/>
                                                                        </a:lnTo>
                                                                        <a:lnTo>
                                                                          <a:pt x="208" y="278"/>
                                                                        </a:lnTo>
                                                                        <a:lnTo>
                                                                          <a:pt x="204" y="278"/>
                                                                        </a:lnTo>
                                                                        <a:lnTo>
                                                                          <a:pt x="208" y="274"/>
                                                                        </a:lnTo>
                                                                        <a:lnTo>
                                                                          <a:pt x="208" y="274"/>
                                                                        </a:lnTo>
                                                                        <a:lnTo>
                                                                          <a:pt x="208" y="270"/>
                                                                        </a:lnTo>
                                                                        <a:lnTo>
                                                                          <a:pt x="208" y="264"/>
                                                                        </a:lnTo>
                                                                        <a:lnTo>
                                                                          <a:pt x="206" y="262"/>
                                                                        </a:lnTo>
                                                                        <a:lnTo>
                                                                          <a:pt x="208" y="260"/>
                                                                        </a:lnTo>
                                                                        <a:lnTo>
                                                                          <a:pt x="208" y="260"/>
                                                                        </a:lnTo>
                                                                        <a:lnTo>
                                                                          <a:pt x="212" y="260"/>
                                                                        </a:lnTo>
                                                                        <a:lnTo>
                                                                          <a:pt x="212" y="260"/>
                                                                        </a:lnTo>
                                                                        <a:lnTo>
                                                                          <a:pt x="208" y="254"/>
                                                                        </a:lnTo>
                                                                        <a:lnTo>
                                                                          <a:pt x="208" y="254"/>
                                                                        </a:lnTo>
                                                                        <a:lnTo>
                                                                          <a:pt x="206" y="250"/>
                                                                        </a:lnTo>
                                                                        <a:lnTo>
                                                                          <a:pt x="208" y="248"/>
                                                                        </a:lnTo>
                                                                        <a:lnTo>
                                                                          <a:pt x="208" y="246"/>
                                                                        </a:lnTo>
                                                                        <a:lnTo>
                                                                          <a:pt x="206" y="242"/>
                                                                        </a:lnTo>
                                                                        <a:lnTo>
                                                                          <a:pt x="206" y="242"/>
                                                                        </a:lnTo>
                                                                        <a:lnTo>
                                                                          <a:pt x="202" y="238"/>
                                                                        </a:lnTo>
                                                                        <a:lnTo>
                                                                          <a:pt x="202" y="236"/>
                                                                        </a:lnTo>
                                                                        <a:lnTo>
                                                                          <a:pt x="204" y="234"/>
                                                                        </a:lnTo>
                                                                        <a:lnTo>
                                                                          <a:pt x="202" y="230"/>
                                                                        </a:lnTo>
                                                                        <a:lnTo>
                                                                          <a:pt x="202" y="230"/>
                                                                        </a:lnTo>
                                                                        <a:lnTo>
                                                                          <a:pt x="200" y="226"/>
                                                                        </a:lnTo>
                                                                        <a:lnTo>
                                                                          <a:pt x="200" y="220"/>
                                                                        </a:lnTo>
                                                                        <a:lnTo>
                                                                          <a:pt x="196" y="212"/>
                                                                        </a:lnTo>
                                                                        <a:lnTo>
                                                                          <a:pt x="188" y="198"/>
                                                                        </a:lnTo>
                                                                        <a:lnTo>
                                                                          <a:pt x="188" y="198"/>
                                                                        </a:lnTo>
                                                                        <a:lnTo>
                                                                          <a:pt x="186" y="194"/>
                                                                        </a:lnTo>
                                                                        <a:lnTo>
                                                                          <a:pt x="186" y="192"/>
                                                                        </a:lnTo>
                                                                        <a:lnTo>
                                                                          <a:pt x="186" y="190"/>
                                                                        </a:lnTo>
                                                                        <a:lnTo>
                                                                          <a:pt x="184" y="190"/>
                                                                        </a:lnTo>
                                                                        <a:lnTo>
                                                                          <a:pt x="184" y="190"/>
                                                                        </a:lnTo>
                                                                        <a:lnTo>
                                                                          <a:pt x="182" y="190"/>
                                                                        </a:lnTo>
                                                                        <a:lnTo>
                                                                          <a:pt x="180" y="190"/>
                                                                        </a:lnTo>
                                                                        <a:lnTo>
                                                                          <a:pt x="174" y="182"/>
                                                                        </a:lnTo>
                                                                        <a:lnTo>
                                                                          <a:pt x="174" y="182"/>
                                                                        </a:lnTo>
                                                                        <a:lnTo>
                                                                          <a:pt x="168" y="178"/>
                                                                        </a:lnTo>
                                                                        <a:lnTo>
                                                                          <a:pt x="160" y="172"/>
                                                                        </a:lnTo>
                                                                        <a:lnTo>
                                                                          <a:pt x="154" y="168"/>
                                                                        </a:lnTo>
                                                                        <a:lnTo>
                                                                          <a:pt x="146" y="158"/>
                                                                        </a:lnTo>
                                                                        <a:lnTo>
                                                                          <a:pt x="146" y="158"/>
                                                                        </a:lnTo>
                                                                        <a:lnTo>
                                                                          <a:pt x="136" y="148"/>
                                                                        </a:lnTo>
                                                                        <a:lnTo>
                                                                          <a:pt x="128" y="140"/>
                                                                        </a:lnTo>
                                                                        <a:lnTo>
                                                                          <a:pt x="120" y="132"/>
                                                                        </a:lnTo>
                                                                        <a:lnTo>
                                                                          <a:pt x="118" y="128"/>
                                                                        </a:lnTo>
                                                                        <a:lnTo>
                                                                          <a:pt x="118" y="124"/>
                                                                        </a:lnTo>
                                                                        <a:lnTo>
                                                                          <a:pt x="118" y="124"/>
                                                                        </a:lnTo>
                                                                        <a:lnTo>
                                                                          <a:pt x="118" y="120"/>
                                                                        </a:lnTo>
                                                                        <a:lnTo>
                                                                          <a:pt x="116" y="118"/>
                                                                        </a:lnTo>
                                                                        <a:lnTo>
                                                                          <a:pt x="110" y="116"/>
                                                                        </a:lnTo>
                                                                        <a:lnTo>
                                                                          <a:pt x="104" y="108"/>
                                                                        </a:lnTo>
                                                                        <a:lnTo>
                                                                          <a:pt x="104" y="108"/>
                                                                        </a:lnTo>
                                                                        <a:lnTo>
                                                                          <a:pt x="96" y="96"/>
                                                                        </a:lnTo>
                                                                        <a:lnTo>
                                                                          <a:pt x="96" y="92"/>
                                                                        </a:lnTo>
                                                                        <a:lnTo>
                                                                          <a:pt x="100" y="88"/>
                                                                        </a:lnTo>
                                                                        <a:lnTo>
                                                                          <a:pt x="100" y="88"/>
                                                                        </a:lnTo>
                                                                        <a:lnTo>
                                                                          <a:pt x="106" y="78"/>
                                                                        </a:lnTo>
                                                                        <a:lnTo>
                                                                          <a:pt x="112" y="74"/>
                                                                        </a:lnTo>
                                                                        <a:lnTo>
                                                                          <a:pt x="114" y="72"/>
                                                                        </a:lnTo>
                                                                        <a:lnTo>
                                                                          <a:pt x="116" y="66"/>
                                                                        </a:lnTo>
                                                                        <a:lnTo>
                                                                          <a:pt x="116" y="66"/>
                                                                        </a:lnTo>
                                                                        <a:lnTo>
                                                                          <a:pt x="116" y="62"/>
                                                                        </a:lnTo>
                                                                        <a:lnTo>
                                                                          <a:pt x="118" y="60"/>
                                                                        </a:lnTo>
                                                                        <a:lnTo>
                                                                          <a:pt x="120" y="60"/>
                                                                        </a:lnTo>
                                                                        <a:lnTo>
                                                                          <a:pt x="124" y="60"/>
                                                                        </a:lnTo>
                                                                        <a:lnTo>
                                                                          <a:pt x="126" y="58"/>
                                                                        </a:lnTo>
                                                                        <a:lnTo>
                                                                          <a:pt x="124" y="56"/>
                                                                        </a:lnTo>
                                                                        <a:lnTo>
                                                                          <a:pt x="124" y="56"/>
                                                                        </a:lnTo>
                                                                        <a:lnTo>
                                                                          <a:pt x="124" y="54"/>
                                                                        </a:lnTo>
                                                                        <a:lnTo>
                                                                          <a:pt x="126" y="54"/>
                                                                        </a:lnTo>
                                                                        <a:lnTo>
                                                                          <a:pt x="130" y="52"/>
                                                                        </a:lnTo>
                                                                        <a:lnTo>
                                                                          <a:pt x="132" y="44"/>
                                                                        </a:lnTo>
                                                                        <a:lnTo>
                                                                          <a:pt x="132" y="42"/>
                                                                        </a:lnTo>
                                                                        <a:lnTo>
                                                                          <a:pt x="132" y="42"/>
                                                                        </a:lnTo>
                                                                        <a:lnTo>
                                                                          <a:pt x="128" y="42"/>
                                                                        </a:lnTo>
                                                                        <a:lnTo>
                                                                          <a:pt x="126" y="42"/>
                                                                        </a:lnTo>
                                                                        <a:lnTo>
                                                                          <a:pt x="120" y="38"/>
                                                                        </a:lnTo>
                                                                        <a:lnTo>
                                                                          <a:pt x="116" y="34"/>
                                                                        </a:lnTo>
                                                                        <a:lnTo>
                                                                          <a:pt x="114" y="34"/>
                                                                        </a:lnTo>
                                                                        <a:lnTo>
                                                                          <a:pt x="112" y="34"/>
                                                                        </a:lnTo>
                                                                        <a:lnTo>
                                                                          <a:pt x="112" y="34"/>
                                                                        </a:lnTo>
                                                                        <a:lnTo>
                                                                          <a:pt x="108" y="36"/>
                                                                        </a:lnTo>
                                                                        <a:lnTo>
                                                                          <a:pt x="106" y="32"/>
                                                                        </a:lnTo>
                                                                        <a:lnTo>
                                                                          <a:pt x="106" y="32"/>
                                                                        </a:lnTo>
                                                                        <a:lnTo>
                                                                          <a:pt x="100" y="28"/>
                                                                        </a:lnTo>
                                                                        <a:lnTo>
                                                                          <a:pt x="102" y="26"/>
                                                                        </a:lnTo>
                                                                        <a:lnTo>
                                                                          <a:pt x="106" y="22"/>
                                                                        </a:lnTo>
                                                                        <a:lnTo>
                                                                          <a:pt x="106" y="22"/>
                                                                        </a:lnTo>
                                                                        <a:lnTo>
                                                                          <a:pt x="112" y="20"/>
                                                                        </a:lnTo>
                                                                        <a:lnTo>
                                                                          <a:pt x="114" y="16"/>
                                                                        </a:lnTo>
                                                                        <a:lnTo>
                                                                          <a:pt x="108" y="14"/>
                                                                        </a:lnTo>
                                                                        <a:lnTo>
                                                                          <a:pt x="100" y="12"/>
                                                                        </a:lnTo>
                                                                        <a:lnTo>
                                                                          <a:pt x="100" y="12"/>
                                                                        </a:lnTo>
                                                                        <a:lnTo>
                                                                          <a:pt x="92" y="12"/>
                                                                        </a:lnTo>
                                                                        <a:lnTo>
                                                                          <a:pt x="88" y="10"/>
                                                                        </a:lnTo>
                                                                        <a:lnTo>
                                                                          <a:pt x="86" y="6"/>
                                                                        </a:lnTo>
                                                                        <a:lnTo>
                                                                          <a:pt x="84" y="4"/>
                                                                        </a:lnTo>
                                                                        <a:lnTo>
                                                                          <a:pt x="82" y="0"/>
                                                                        </a:lnTo>
                                                                        <a:lnTo>
                                                                          <a:pt x="82" y="0"/>
                                                                        </a:lnTo>
                                                                        <a:lnTo>
                                                                          <a:pt x="78" y="0"/>
                                                                        </a:lnTo>
                                                                        <a:lnTo>
                                                                          <a:pt x="78" y="0"/>
                                                                        </a:lnTo>
                                                                        <a:lnTo>
                                                                          <a:pt x="68" y="4"/>
                                                                        </a:lnTo>
                                                                        <a:lnTo>
                                                                          <a:pt x="64" y="6"/>
                                                                        </a:lnTo>
                                                                        <a:lnTo>
                                                                          <a:pt x="62" y="10"/>
                                                                        </a:lnTo>
                                                                        <a:lnTo>
                                                                          <a:pt x="62" y="10"/>
                                                                        </a:lnTo>
                                                                        <a:lnTo>
                                                                          <a:pt x="64" y="16"/>
                                                                        </a:lnTo>
                                                                        <a:lnTo>
                                                                          <a:pt x="62" y="16"/>
                                                                        </a:lnTo>
                                                                        <a:lnTo>
                                                                          <a:pt x="58" y="16"/>
                                                                        </a:lnTo>
                                                                        <a:lnTo>
                                                                          <a:pt x="52" y="18"/>
                                                                        </a:lnTo>
                                                                        <a:lnTo>
                                                                          <a:pt x="52" y="18"/>
                                                                        </a:lnTo>
                                                                        <a:lnTo>
                                                                          <a:pt x="48" y="18"/>
                                                                        </a:lnTo>
                                                                        <a:lnTo>
                                                                          <a:pt x="46" y="18"/>
                                                                        </a:lnTo>
                                                                        <a:lnTo>
                                                                          <a:pt x="44" y="16"/>
                                                                        </a:lnTo>
                                                                        <a:lnTo>
                                                                          <a:pt x="38" y="16"/>
                                                                        </a:lnTo>
                                                                        <a:lnTo>
                                                                          <a:pt x="38" y="16"/>
                                                                        </a:lnTo>
                                                                        <a:lnTo>
                                                                          <a:pt x="36" y="18"/>
                                                                        </a:lnTo>
                                                                        <a:lnTo>
                                                                          <a:pt x="32" y="18"/>
                                                                        </a:lnTo>
                                                                        <a:lnTo>
                                                                          <a:pt x="30" y="14"/>
                                                                        </a:lnTo>
                                                                        <a:lnTo>
                                                                          <a:pt x="28" y="12"/>
                                                                        </a:lnTo>
                                                                        <a:lnTo>
                                                                          <a:pt x="26" y="10"/>
                                                                        </a:lnTo>
                                                                        <a:lnTo>
                                                                          <a:pt x="24" y="12"/>
                                                                        </a:lnTo>
                                                                        <a:lnTo>
                                                                          <a:pt x="24" y="12"/>
                                                                        </a:lnTo>
                                                                        <a:lnTo>
                                                                          <a:pt x="22" y="16"/>
                                                                        </a:lnTo>
                                                                        <a:lnTo>
                                                                          <a:pt x="22" y="20"/>
                                                                        </a:lnTo>
                                                                        <a:lnTo>
                                                                          <a:pt x="24" y="22"/>
                                                                        </a:lnTo>
                                                                        <a:lnTo>
                                                                          <a:pt x="24" y="24"/>
                                                                        </a:lnTo>
                                                                        <a:lnTo>
                                                                          <a:pt x="24" y="24"/>
                                                                        </a:lnTo>
                                                                        <a:lnTo>
                                                                          <a:pt x="20" y="24"/>
                                                                        </a:lnTo>
                                                                        <a:lnTo>
                                                                          <a:pt x="18" y="22"/>
                                                                        </a:lnTo>
                                                                        <a:lnTo>
                                                                          <a:pt x="14" y="18"/>
                                                                        </a:lnTo>
                                                                        <a:lnTo>
                                                                          <a:pt x="10" y="18"/>
                                                                        </a:lnTo>
                                                                        <a:lnTo>
                                                                          <a:pt x="10" y="18"/>
                                                                        </a:lnTo>
                                                                        <a:lnTo>
                                                                          <a:pt x="0" y="20"/>
                                                                        </a:lnTo>
                                                                        <a:lnTo>
                                                                          <a:pt x="0" y="20"/>
                                                                        </a:lnTo>
                                                                        <a:lnTo>
                                                                          <a:pt x="4" y="26"/>
                                                                        </a:lnTo>
                                                                        <a:lnTo>
                                                                          <a:pt x="8" y="32"/>
                                                                        </a:lnTo>
                                                                        <a:lnTo>
                                                                          <a:pt x="18" y="40"/>
                                                                        </a:lnTo>
                                                                        <a:lnTo>
                                                                          <a:pt x="26" y="44"/>
                                                                        </a:lnTo>
                                                                        <a:lnTo>
                                                                          <a:pt x="26" y="46"/>
                                                                        </a:lnTo>
                                                                        <a:lnTo>
                                                                          <a:pt x="26" y="50"/>
                                                                        </a:lnTo>
                                                                        <a:lnTo>
                                                                          <a:pt x="26" y="50"/>
                                                                        </a:lnTo>
                                                                        <a:lnTo>
                                                                          <a:pt x="26" y="52"/>
                                                                        </a:lnTo>
                                                                        <a:lnTo>
                                                                          <a:pt x="28" y="54"/>
                                                                        </a:lnTo>
                                                                        <a:lnTo>
                                                                          <a:pt x="32" y="58"/>
                                                                        </a:lnTo>
                                                                        <a:lnTo>
                                                                          <a:pt x="40" y="60"/>
                                                                        </a:lnTo>
                                                                        <a:lnTo>
                                                                          <a:pt x="50" y="62"/>
                                                                        </a:lnTo>
                                                                        <a:lnTo>
                                                                          <a:pt x="50" y="62"/>
                                                                        </a:lnTo>
                                                                        <a:lnTo>
                                                                          <a:pt x="70" y="62"/>
                                                                        </a:lnTo>
                                                                        <a:lnTo>
                                                                          <a:pt x="76" y="64"/>
                                                                        </a:lnTo>
                                                                        <a:lnTo>
                                                                          <a:pt x="80" y="66"/>
                                                                        </a:lnTo>
                                                                        <a:lnTo>
                                                                          <a:pt x="80" y="66"/>
                                                                        </a:lnTo>
                                                                        <a:lnTo>
                                                                          <a:pt x="86" y="74"/>
                                                                        </a:lnTo>
                                                                        <a:lnTo>
                                                                          <a:pt x="88" y="78"/>
                                                                        </a:lnTo>
                                                                        <a:lnTo>
                                                                          <a:pt x="88" y="78"/>
                                                                        </a:lnTo>
                                                                        <a:lnTo>
                                                                          <a:pt x="86" y="84"/>
                                                                        </a:lnTo>
                                                                        <a:lnTo>
                                                                          <a:pt x="84" y="88"/>
                                                                        </a:lnTo>
                                                                        <a:lnTo>
                                                                          <a:pt x="80" y="88"/>
                                                                        </a:lnTo>
                                                                        <a:lnTo>
                                                                          <a:pt x="76" y="88"/>
                                                                        </a:lnTo>
                                                                        <a:lnTo>
                                                                          <a:pt x="76" y="88"/>
                                                                        </a:lnTo>
                                                                        <a:lnTo>
                                                                          <a:pt x="70" y="88"/>
                                                                        </a:lnTo>
                                                                        <a:lnTo>
                                                                          <a:pt x="64" y="92"/>
                                                                        </a:lnTo>
                                                                        <a:lnTo>
                                                                          <a:pt x="62" y="94"/>
                                                                        </a:lnTo>
                                                                        <a:lnTo>
                                                                          <a:pt x="62" y="96"/>
                                                                        </a:lnTo>
                                                                        <a:lnTo>
                                                                          <a:pt x="66" y="100"/>
                                                                        </a:lnTo>
                                                                        <a:lnTo>
                                                                          <a:pt x="72" y="102"/>
                                                                        </a:lnTo>
                                                                        <a:lnTo>
                                                                          <a:pt x="72" y="102"/>
                                                                        </a:lnTo>
                                                                        <a:lnTo>
                                                                          <a:pt x="88" y="108"/>
                                                                        </a:lnTo>
                                                                        <a:lnTo>
                                                                          <a:pt x="92" y="112"/>
                                                                        </a:lnTo>
                                                                        <a:lnTo>
                                                                          <a:pt x="94" y="114"/>
                                                                        </a:lnTo>
                                                                        <a:lnTo>
                                                                          <a:pt x="96" y="116"/>
                                                                        </a:lnTo>
                                                                        <a:lnTo>
                                                                          <a:pt x="96" y="116"/>
                                                                        </a:lnTo>
                                                                        <a:lnTo>
                                                                          <a:pt x="98" y="118"/>
                                                                        </a:lnTo>
                                                                        <a:lnTo>
                                                                          <a:pt x="98" y="120"/>
                                                                        </a:lnTo>
                                                                        <a:lnTo>
                                                                          <a:pt x="100" y="128"/>
                                                                        </a:lnTo>
                                                                        <a:lnTo>
                                                                          <a:pt x="104" y="136"/>
                                                                        </a:lnTo>
                                                                        <a:lnTo>
                                                                          <a:pt x="108" y="140"/>
                                                                        </a:lnTo>
                                                                        <a:lnTo>
                                                                          <a:pt x="114" y="142"/>
                                                                        </a:lnTo>
                                                                        <a:lnTo>
                                                                          <a:pt x="114" y="142"/>
                                                                        </a:lnTo>
                                                                        <a:lnTo>
                                                                          <a:pt x="120" y="146"/>
                                                                        </a:lnTo>
                                                                        <a:lnTo>
                                                                          <a:pt x="122" y="150"/>
                                                                        </a:lnTo>
                                                                        <a:lnTo>
                                                                          <a:pt x="124" y="158"/>
                                                                        </a:lnTo>
                                                                        <a:lnTo>
                                                                          <a:pt x="126" y="162"/>
                                                                        </a:lnTo>
                                                                        <a:lnTo>
                                                                          <a:pt x="128" y="168"/>
                                                                        </a:lnTo>
                                                                        <a:lnTo>
                                                                          <a:pt x="134" y="170"/>
                                                                        </a:lnTo>
                                                                        <a:lnTo>
                                                                          <a:pt x="142" y="174"/>
                                                                        </a:lnTo>
                                                                        <a:lnTo>
                                                                          <a:pt x="142" y="174"/>
                                                                        </a:lnTo>
                                                                        <a:lnTo>
                                                                          <a:pt x="152" y="176"/>
                                                                        </a:lnTo>
                                                                        <a:lnTo>
                                                                          <a:pt x="158" y="180"/>
                                                                        </a:lnTo>
                                                                        <a:lnTo>
                                                                          <a:pt x="162" y="182"/>
                                                                        </a:lnTo>
                                                                        <a:lnTo>
                                                                          <a:pt x="164" y="186"/>
                                                                        </a:lnTo>
                                                                        <a:lnTo>
                                                                          <a:pt x="164" y="194"/>
                                                                        </a:lnTo>
                                                                        <a:lnTo>
                                                                          <a:pt x="164" y="196"/>
                                                                        </a:lnTo>
                                                                        <a:lnTo>
                                                                          <a:pt x="166" y="200"/>
                                                                        </a:lnTo>
                                                                        <a:lnTo>
                                                                          <a:pt x="166" y="200"/>
                                                                        </a:lnTo>
                                                                        <a:lnTo>
                                                                          <a:pt x="174" y="214"/>
                                                                        </a:lnTo>
                                                                        <a:lnTo>
                                                                          <a:pt x="178" y="224"/>
                                                                        </a:lnTo>
                                                                        <a:lnTo>
                                                                          <a:pt x="180" y="232"/>
                                                                        </a:lnTo>
                                                                        <a:lnTo>
                                                                          <a:pt x="180" y="232"/>
                                                                        </a:lnTo>
                                                                        <a:lnTo>
                                                                          <a:pt x="178" y="240"/>
                                                                        </a:lnTo>
                                                                        <a:lnTo>
                                                                          <a:pt x="174" y="250"/>
                                                                        </a:lnTo>
                                                                        <a:lnTo>
                                                                          <a:pt x="172" y="260"/>
                                                                        </a:lnTo>
                                                                        <a:lnTo>
                                                                          <a:pt x="172" y="266"/>
                                                                        </a:lnTo>
                                                                        <a:lnTo>
                                                                          <a:pt x="174" y="270"/>
                                                                        </a:lnTo>
                                                                        <a:lnTo>
                                                                          <a:pt x="174" y="270"/>
                                                                        </a:lnTo>
                                                                        <a:lnTo>
                                                                          <a:pt x="180" y="276"/>
                                                                        </a:lnTo>
                                                                        <a:lnTo>
                                                                          <a:pt x="178" y="282"/>
                                                                        </a:lnTo>
                                                                        <a:lnTo>
                                                                          <a:pt x="174" y="284"/>
                                                                        </a:lnTo>
                                                                        <a:lnTo>
                                                                          <a:pt x="168" y="284"/>
                                                                        </a:lnTo>
                                                                        <a:lnTo>
                                                                          <a:pt x="168" y="284"/>
                                                                        </a:lnTo>
                                                                        <a:lnTo>
                                                                          <a:pt x="164" y="282"/>
                                                                        </a:lnTo>
                                                                        <a:lnTo>
                                                                          <a:pt x="160" y="284"/>
                                                                        </a:lnTo>
                                                                        <a:lnTo>
                                                                          <a:pt x="152" y="292"/>
                                                                        </a:lnTo>
                                                                        <a:lnTo>
                                                                          <a:pt x="152" y="292"/>
                                                                        </a:lnTo>
                                                                        <a:lnTo>
                                                                          <a:pt x="144" y="298"/>
                                                                        </a:lnTo>
                                                                        <a:lnTo>
                                                                          <a:pt x="140" y="300"/>
                                                                        </a:lnTo>
                                                                        <a:lnTo>
                                                                          <a:pt x="138" y="298"/>
                                                                        </a:lnTo>
                                                                        <a:lnTo>
                                                                          <a:pt x="134" y="300"/>
                                                                        </a:lnTo>
                                                                        <a:lnTo>
                                                                          <a:pt x="134" y="300"/>
                                                                        </a:lnTo>
                                                                        <a:lnTo>
                                                                          <a:pt x="134" y="302"/>
                                                                        </a:lnTo>
                                                                        <a:lnTo>
                                                                          <a:pt x="136" y="304"/>
                                                                        </a:lnTo>
                                                                        <a:lnTo>
                                                                          <a:pt x="140" y="308"/>
                                                                        </a:lnTo>
                                                                        <a:lnTo>
                                                                          <a:pt x="146" y="312"/>
                                                                        </a:lnTo>
                                                                        <a:lnTo>
                                                                          <a:pt x="146" y="314"/>
                                                                        </a:lnTo>
                                                                        <a:lnTo>
                                                                          <a:pt x="146" y="316"/>
                                                                        </a:lnTo>
                                                                        <a:lnTo>
                                                                          <a:pt x="146" y="316"/>
                                                                        </a:lnTo>
                                                                        <a:lnTo>
                                                                          <a:pt x="144" y="316"/>
                                                                        </a:lnTo>
                                                                        <a:lnTo>
                                                                          <a:pt x="142" y="316"/>
                                                                        </a:lnTo>
                                                                        <a:lnTo>
                                                                          <a:pt x="140" y="312"/>
                                                                        </a:lnTo>
                                                                        <a:lnTo>
                                                                          <a:pt x="136" y="310"/>
                                                                        </a:lnTo>
                                                                        <a:lnTo>
                                                                          <a:pt x="132" y="310"/>
                                                                        </a:lnTo>
                                                                        <a:lnTo>
                                                                          <a:pt x="130" y="312"/>
                                                                        </a:lnTo>
                                                                        <a:lnTo>
                                                                          <a:pt x="130" y="312"/>
                                                                        </a:lnTo>
                                                                        <a:lnTo>
                                                                          <a:pt x="120" y="316"/>
                                                                        </a:lnTo>
                                                                        <a:lnTo>
                                                                          <a:pt x="114" y="318"/>
                                                                        </a:lnTo>
                                                                        <a:lnTo>
                                                                          <a:pt x="112" y="320"/>
                                                                        </a:lnTo>
                                                                        <a:lnTo>
                                                                          <a:pt x="108" y="324"/>
                                                                        </a:lnTo>
                                                                        <a:lnTo>
                                                                          <a:pt x="108" y="324"/>
                                                                        </a:lnTo>
                                                                        <a:close/>
                                                                      </a:path>
                                                                    </a:pathLst>
                                                                  </a:custGeom>
                                                                  <a:solidFill>
                                                                    <a:schemeClr val="accent3"/>
                                                                  </a:solid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49" name="Costa Rica"/>
                                                                <p:cNvSpPr>
                                                                  <a:spLocks/>
                                                                </p:cNvSpPr>
                                                                <p:nvPr/>
                                                              </p:nvSpPr>
                                                              <p:spPr bwMode="auto">
                                                                <a:xfrm>
                                                                  <a:off x="3043786" y="3275878"/>
                                                                  <a:ext cx="109355" cy="109254"/>
                                                                </a:xfrm>
                                                                <a:custGeom>
                                                                  <a:avLst/>
                                                                  <a:gdLst/>
                                                                  <a:ahLst/>
                                                                  <a:cxnLst>
                                                                    <a:cxn ang="0">
                                                                      <a:pos x="6" y="2"/>
                                                                    </a:cxn>
                                                                    <a:cxn ang="0">
                                                                      <a:pos x="14" y="0"/>
                                                                    </a:cxn>
                                                                    <a:cxn ang="0">
                                                                      <a:pos x="22" y="2"/>
                                                                    </a:cxn>
                                                                    <a:cxn ang="0">
                                                                      <a:pos x="28" y="0"/>
                                                                    </a:cxn>
                                                                    <a:cxn ang="0">
                                                                      <a:pos x="38" y="6"/>
                                                                    </a:cxn>
                                                                    <a:cxn ang="0">
                                                                      <a:pos x="42" y="6"/>
                                                                    </a:cxn>
                                                                    <a:cxn ang="0">
                                                                      <a:pos x="48" y="6"/>
                                                                    </a:cxn>
                                                                    <a:cxn ang="0">
                                                                      <a:pos x="56" y="4"/>
                                                                    </a:cxn>
                                                                    <a:cxn ang="0">
                                                                      <a:pos x="56" y="4"/>
                                                                    </a:cxn>
                                                                    <a:cxn ang="0">
                                                                      <a:pos x="58" y="10"/>
                                                                    </a:cxn>
                                                                    <a:cxn ang="0">
                                                                      <a:pos x="60" y="16"/>
                                                                    </a:cxn>
                                                                    <a:cxn ang="0">
                                                                      <a:pos x="72" y="32"/>
                                                                    </a:cxn>
                                                                    <a:cxn ang="0">
                                                                      <a:pos x="68" y="34"/>
                                                                    </a:cxn>
                                                                    <a:cxn ang="0">
                                                                      <a:pos x="64" y="38"/>
                                                                    </a:cxn>
                                                                    <a:cxn ang="0">
                                                                      <a:pos x="66" y="44"/>
                                                                    </a:cxn>
                                                                    <a:cxn ang="0">
                                                                      <a:pos x="66" y="50"/>
                                                                    </a:cxn>
                                                                    <a:cxn ang="0">
                                                                      <a:pos x="64" y="54"/>
                                                                    </a:cxn>
                                                                    <a:cxn ang="0">
                                                                      <a:pos x="64" y="60"/>
                                                                    </a:cxn>
                                                                    <a:cxn ang="0">
                                                                      <a:pos x="62" y="62"/>
                                                                    </a:cxn>
                                                                    <a:cxn ang="0">
                                                                      <a:pos x="62" y="66"/>
                                                                    </a:cxn>
                                                                    <a:cxn ang="0">
                                                                      <a:pos x="62" y="72"/>
                                                                    </a:cxn>
                                                                    <a:cxn ang="0">
                                                                      <a:pos x="60" y="70"/>
                                                                    </a:cxn>
                                                                    <a:cxn ang="0">
                                                                      <a:pos x="58" y="66"/>
                                                                    </a:cxn>
                                                                    <a:cxn ang="0">
                                                                      <a:pos x="56" y="66"/>
                                                                    </a:cxn>
                                                                    <a:cxn ang="0">
                                                                      <a:pos x="58" y="62"/>
                                                                    </a:cxn>
                                                                    <a:cxn ang="0">
                                                                      <a:pos x="56" y="60"/>
                                                                    </a:cxn>
                                                                    <a:cxn ang="0">
                                                                      <a:pos x="52" y="60"/>
                                                                    </a:cxn>
                                                                    <a:cxn ang="0">
                                                                      <a:pos x="52" y="62"/>
                                                                    </a:cxn>
                                                                    <a:cxn ang="0">
                                                                      <a:pos x="54" y="64"/>
                                                                    </a:cxn>
                                                                    <a:cxn ang="0">
                                                                      <a:pos x="48" y="62"/>
                                                                    </a:cxn>
                                                                    <a:cxn ang="0">
                                                                      <a:pos x="48" y="56"/>
                                                                    </a:cxn>
                                                                    <a:cxn ang="0">
                                                                      <a:pos x="46" y="54"/>
                                                                    </a:cxn>
                                                                    <a:cxn ang="0">
                                                                      <a:pos x="48" y="50"/>
                                                                    </a:cxn>
                                                                    <a:cxn ang="0">
                                                                      <a:pos x="36" y="42"/>
                                                                    </a:cxn>
                                                                    <a:cxn ang="0">
                                                                      <a:pos x="26" y="36"/>
                                                                    </a:cxn>
                                                                    <a:cxn ang="0">
                                                                      <a:pos x="24" y="32"/>
                                                                    </a:cxn>
                                                                    <a:cxn ang="0">
                                                                      <a:pos x="22" y="26"/>
                                                                    </a:cxn>
                                                                    <a:cxn ang="0">
                                                                      <a:pos x="16" y="24"/>
                                                                    </a:cxn>
                                                                    <a:cxn ang="0">
                                                                      <a:pos x="18" y="28"/>
                                                                    </a:cxn>
                                                                    <a:cxn ang="0">
                                                                      <a:pos x="20" y="30"/>
                                                                    </a:cxn>
                                                                    <a:cxn ang="0">
                                                                      <a:pos x="18" y="34"/>
                                                                    </a:cxn>
                                                                    <a:cxn ang="0">
                                                                      <a:pos x="14" y="32"/>
                                                                    </a:cxn>
                                                                    <a:cxn ang="0">
                                                                      <a:pos x="6" y="24"/>
                                                                    </a:cxn>
                                                                    <a:cxn ang="0">
                                                                      <a:pos x="8" y="20"/>
                                                                    </a:cxn>
                                                                    <a:cxn ang="0">
                                                                      <a:pos x="6" y="14"/>
                                                                    </a:cxn>
                                                                    <a:cxn ang="0">
                                                                      <a:pos x="6" y="10"/>
                                                                    </a:cxn>
                                                                    <a:cxn ang="0">
                                                                      <a:pos x="2" y="8"/>
                                                                    </a:cxn>
                                                                    <a:cxn ang="0">
                                                                      <a:pos x="0" y="6"/>
                                                                    </a:cxn>
                                                                    <a:cxn ang="0">
                                                                      <a:pos x="6" y="4"/>
                                                                    </a:cxn>
                                                                    <a:cxn ang="0">
                                                                      <a:pos x="6" y="2"/>
                                                                    </a:cxn>
                                                                  </a:cxnLst>
                                                                  <a:rect l="0" t="0" r="r" b="b"/>
                                                                  <a:pathLst>
                                                                    <a:path w="72" h="72">
                                                                      <a:moveTo>
                                                                        <a:pt x="6" y="2"/>
                                                                      </a:moveTo>
                                                                      <a:lnTo>
                                                                        <a:pt x="6" y="2"/>
                                                                      </a:lnTo>
                                                                      <a:lnTo>
                                                                        <a:pt x="10" y="0"/>
                                                                      </a:lnTo>
                                                                      <a:lnTo>
                                                                        <a:pt x="14" y="0"/>
                                                                      </a:lnTo>
                                                                      <a:lnTo>
                                                                        <a:pt x="18" y="2"/>
                                                                      </a:lnTo>
                                                                      <a:lnTo>
                                                                        <a:pt x="22" y="2"/>
                                                                      </a:lnTo>
                                                                      <a:lnTo>
                                                                        <a:pt x="22" y="2"/>
                                                                      </a:lnTo>
                                                                      <a:lnTo>
                                                                        <a:pt x="28" y="0"/>
                                                                      </a:lnTo>
                                                                      <a:lnTo>
                                                                        <a:pt x="34" y="2"/>
                                                                      </a:lnTo>
                                                                      <a:lnTo>
                                                                        <a:pt x="38" y="6"/>
                                                                      </a:lnTo>
                                                                      <a:lnTo>
                                                                        <a:pt x="42" y="6"/>
                                                                      </a:lnTo>
                                                                      <a:lnTo>
                                                                        <a:pt x="42" y="6"/>
                                                                      </a:lnTo>
                                                                      <a:lnTo>
                                                                        <a:pt x="46" y="4"/>
                                                                      </a:lnTo>
                                                                      <a:lnTo>
                                                                        <a:pt x="48" y="6"/>
                                                                      </a:lnTo>
                                                                      <a:lnTo>
                                                                        <a:pt x="50" y="6"/>
                                                                      </a:lnTo>
                                                                      <a:lnTo>
                                                                        <a:pt x="56" y="4"/>
                                                                      </a:lnTo>
                                                                      <a:lnTo>
                                                                        <a:pt x="56" y="4"/>
                                                                      </a:lnTo>
                                                                      <a:lnTo>
                                                                        <a:pt x="56" y="4"/>
                                                                      </a:lnTo>
                                                                      <a:lnTo>
                                                                        <a:pt x="58" y="6"/>
                                                                      </a:lnTo>
                                                                      <a:lnTo>
                                                                        <a:pt x="58" y="10"/>
                                                                      </a:lnTo>
                                                                      <a:lnTo>
                                                                        <a:pt x="58" y="10"/>
                                                                      </a:lnTo>
                                                                      <a:lnTo>
                                                                        <a:pt x="60" y="16"/>
                                                                      </a:lnTo>
                                                                      <a:lnTo>
                                                                        <a:pt x="62" y="22"/>
                                                                      </a:lnTo>
                                                                      <a:lnTo>
                                                                        <a:pt x="72" y="32"/>
                                                                      </a:lnTo>
                                                                      <a:lnTo>
                                                                        <a:pt x="72" y="32"/>
                                                                      </a:lnTo>
                                                                      <a:lnTo>
                                                                        <a:pt x="68" y="34"/>
                                                                      </a:lnTo>
                                                                      <a:lnTo>
                                                                        <a:pt x="64" y="36"/>
                                                                      </a:lnTo>
                                                                      <a:lnTo>
                                                                        <a:pt x="64" y="38"/>
                                                                      </a:lnTo>
                                                                      <a:lnTo>
                                                                        <a:pt x="64" y="40"/>
                                                                      </a:lnTo>
                                                                      <a:lnTo>
                                                                        <a:pt x="66" y="44"/>
                                                                      </a:lnTo>
                                                                      <a:lnTo>
                                                                        <a:pt x="68" y="48"/>
                                                                      </a:lnTo>
                                                                      <a:lnTo>
                                                                        <a:pt x="66" y="50"/>
                                                                      </a:lnTo>
                                                                      <a:lnTo>
                                                                        <a:pt x="66" y="50"/>
                                                                      </a:lnTo>
                                                                      <a:lnTo>
                                                                        <a:pt x="64" y="54"/>
                                                                      </a:lnTo>
                                                                      <a:lnTo>
                                                                        <a:pt x="64" y="58"/>
                                                                      </a:lnTo>
                                                                      <a:lnTo>
                                                                        <a:pt x="64" y="60"/>
                                                                      </a:lnTo>
                                                                      <a:lnTo>
                                                                        <a:pt x="62" y="62"/>
                                                                      </a:lnTo>
                                                                      <a:lnTo>
                                                                        <a:pt x="62" y="62"/>
                                                                      </a:lnTo>
                                                                      <a:lnTo>
                                                                        <a:pt x="60" y="64"/>
                                                                      </a:lnTo>
                                                                      <a:lnTo>
                                                                        <a:pt x="62" y="66"/>
                                                                      </a:lnTo>
                                                                      <a:lnTo>
                                                                        <a:pt x="62" y="68"/>
                                                                      </a:lnTo>
                                                                      <a:lnTo>
                                                                        <a:pt x="62" y="72"/>
                                                                      </a:lnTo>
                                                                      <a:lnTo>
                                                                        <a:pt x="62" y="72"/>
                                                                      </a:lnTo>
                                                                      <a:lnTo>
                                                                        <a:pt x="60" y="70"/>
                                                                      </a:lnTo>
                                                                      <a:lnTo>
                                                                        <a:pt x="60" y="68"/>
                                                                      </a:lnTo>
                                                                      <a:lnTo>
                                                                        <a:pt x="58" y="66"/>
                                                                      </a:lnTo>
                                                                      <a:lnTo>
                                                                        <a:pt x="58" y="66"/>
                                                                      </a:lnTo>
                                                                      <a:lnTo>
                                                                        <a:pt x="56" y="66"/>
                                                                      </a:lnTo>
                                                                      <a:lnTo>
                                                                        <a:pt x="56" y="64"/>
                                                                      </a:lnTo>
                                                                      <a:lnTo>
                                                                        <a:pt x="58" y="62"/>
                                                                      </a:lnTo>
                                                                      <a:lnTo>
                                                                        <a:pt x="56" y="60"/>
                                                                      </a:lnTo>
                                                                      <a:lnTo>
                                                                        <a:pt x="56" y="60"/>
                                                                      </a:lnTo>
                                                                      <a:lnTo>
                                                                        <a:pt x="52" y="58"/>
                                                                      </a:lnTo>
                                                                      <a:lnTo>
                                                                        <a:pt x="52" y="60"/>
                                                                      </a:lnTo>
                                                                      <a:lnTo>
                                                                        <a:pt x="52" y="62"/>
                                                                      </a:lnTo>
                                                                      <a:lnTo>
                                                                        <a:pt x="52" y="62"/>
                                                                      </a:lnTo>
                                                                      <a:lnTo>
                                                                        <a:pt x="54" y="62"/>
                                                                      </a:lnTo>
                                                                      <a:lnTo>
                                                                        <a:pt x="54" y="64"/>
                                                                      </a:lnTo>
                                                                      <a:lnTo>
                                                                        <a:pt x="48" y="62"/>
                                                                      </a:lnTo>
                                                                      <a:lnTo>
                                                                        <a:pt x="48" y="62"/>
                                                                      </a:lnTo>
                                                                      <a:lnTo>
                                                                        <a:pt x="44" y="60"/>
                                                                      </a:lnTo>
                                                                      <a:lnTo>
                                                                        <a:pt x="48" y="56"/>
                                                                      </a:lnTo>
                                                                      <a:lnTo>
                                                                        <a:pt x="48" y="56"/>
                                                                      </a:lnTo>
                                                                      <a:lnTo>
                                                                        <a:pt x="46" y="54"/>
                                                                      </a:lnTo>
                                                                      <a:lnTo>
                                                                        <a:pt x="46" y="52"/>
                                                                      </a:lnTo>
                                                                      <a:lnTo>
                                                                        <a:pt x="48" y="50"/>
                                                                      </a:lnTo>
                                                                      <a:lnTo>
                                                                        <a:pt x="48" y="50"/>
                                                                      </a:lnTo>
                                                                      <a:lnTo>
                                                                        <a:pt x="36" y="42"/>
                                                                      </a:lnTo>
                                                                      <a:lnTo>
                                                                        <a:pt x="26" y="36"/>
                                                                      </a:lnTo>
                                                                      <a:lnTo>
                                                                        <a:pt x="26" y="36"/>
                                                                      </a:lnTo>
                                                                      <a:lnTo>
                                                                        <a:pt x="24" y="32"/>
                                                                      </a:lnTo>
                                                                      <a:lnTo>
                                                                        <a:pt x="24" y="32"/>
                                                                      </a:lnTo>
                                                                      <a:lnTo>
                                                                        <a:pt x="26" y="30"/>
                                                                      </a:lnTo>
                                                                      <a:lnTo>
                                                                        <a:pt x="22" y="26"/>
                                                                      </a:lnTo>
                                                                      <a:lnTo>
                                                                        <a:pt x="22" y="26"/>
                                                                      </a:lnTo>
                                                                      <a:lnTo>
                                                                        <a:pt x="16" y="24"/>
                                                                      </a:lnTo>
                                                                      <a:lnTo>
                                                                        <a:pt x="16" y="24"/>
                                                                      </a:lnTo>
                                                                      <a:lnTo>
                                                                        <a:pt x="18" y="28"/>
                                                                      </a:lnTo>
                                                                      <a:lnTo>
                                                                        <a:pt x="18" y="28"/>
                                                                      </a:lnTo>
                                                                      <a:lnTo>
                                                                        <a:pt x="20" y="30"/>
                                                                      </a:lnTo>
                                                                      <a:lnTo>
                                                                        <a:pt x="20" y="32"/>
                                                                      </a:lnTo>
                                                                      <a:lnTo>
                                                                        <a:pt x="18" y="34"/>
                                                                      </a:lnTo>
                                                                      <a:lnTo>
                                                                        <a:pt x="14" y="32"/>
                                                                      </a:lnTo>
                                                                      <a:lnTo>
                                                                        <a:pt x="14" y="32"/>
                                                                      </a:lnTo>
                                                                      <a:lnTo>
                                                                        <a:pt x="6" y="26"/>
                                                                      </a:lnTo>
                                                                      <a:lnTo>
                                                                        <a:pt x="6" y="24"/>
                                                                      </a:lnTo>
                                                                      <a:lnTo>
                                                                        <a:pt x="8" y="20"/>
                                                                      </a:lnTo>
                                                                      <a:lnTo>
                                                                        <a:pt x="8" y="20"/>
                                                                      </a:lnTo>
                                                                      <a:lnTo>
                                                                        <a:pt x="6" y="16"/>
                                                                      </a:lnTo>
                                                                      <a:lnTo>
                                                                        <a:pt x="6" y="14"/>
                                                                      </a:lnTo>
                                                                      <a:lnTo>
                                                                        <a:pt x="6" y="10"/>
                                                                      </a:lnTo>
                                                                      <a:lnTo>
                                                                        <a:pt x="6" y="10"/>
                                                                      </a:lnTo>
                                                                      <a:lnTo>
                                                                        <a:pt x="4" y="8"/>
                                                                      </a:lnTo>
                                                                      <a:lnTo>
                                                                        <a:pt x="2" y="8"/>
                                                                      </a:lnTo>
                                                                      <a:lnTo>
                                                                        <a:pt x="0" y="6"/>
                                                                      </a:lnTo>
                                                                      <a:lnTo>
                                                                        <a:pt x="0" y="6"/>
                                                                      </a:lnTo>
                                                                      <a:lnTo>
                                                                        <a:pt x="0" y="6"/>
                                                                      </a:lnTo>
                                                                      <a:lnTo>
                                                                        <a:pt x="6" y="4"/>
                                                                      </a:lnTo>
                                                                      <a:lnTo>
                                                                        <a:pt x="6" y="4"/>
                                                                      </a:lnTo>
                                                                      <a:lnTo>
                                                                        <a:pt x="6" y="2"/>
                                                                      </a:lnTo>
                                                                      <a:lnTo>
                                                                        <a:pt x="6" y="2"/>
                                                                      </a:lnTo>
                                                                      <a:close/>
                                                                    </a:path>
                                                                  </a:pathLst>
                                                                </a:custGeom>
                                                                <a:solidFill>
                                                                  <a:schemeClr val="accent3">
                                                                    <a:alpha val="99000"/>
                                                                  </a:schemeClr>
                                                                </a:solid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55" name="Ukraine"/>
                                                              <p:cNvSpPr>
                                                                <a:spLocks/>
                                                              </p:cNvSpPr>
                                                              <p:nvPr/>
                                                            </p:nvSpPr>
                                                            <p:spPr bwMode="auto">
                                                              <a:xfrm>
                                                                <a:off x="6399968" y="1788731"/>
                                                                <a:ext cx="489060" cy="260996"/>
                                                              </a:xfrm>
                                                              <a:custGeom>
                                                                <a:avLst/>
                                                                <a:gdLst/>
                                                                <a:ahLst/>
                                                                <a:cxnLst>
                                                                  <a:cxn ang="0">
                                                                    <a:pos x="0" y="88"/>
                                                                  </a:cxn>
                                                                  <a:cxn ang="0">
                                                                    <a:pos x="2" y="74"/>
                                                                  </a:cxn>
                                                                  <a:cxn ang="0">
                                                                    <a:pos x="8" y="64"/>
                                                                  </a:cxn>
                                                                  <a:cxn ang="0">
                                                                    <a:pos x="22" y="48"/>
                                                                  </a:cxn>
                                                                  <a:cxn ang="0">
                                                                    <a:pos x="22" y="42"/>
                                                                  </a:cxn>
                                                                  <a:cxn ang="0">
                                                                    <a:pos x="20" y="26"/>
                                                                  </a:cxn>
                                                                  <a:cxn ang="0">
                                                                    <a:pos x="80" y="30"/>
                                                                  </a:cxn>
                                                                  <a:cxn ang="0">
                                                                    <a:pos x="104" y="28"/>
                                                                  </a:cxn>
                                                                  <a:cxn ang="0">
                                                                    <a:pos x="120" y="20"/>
                                                                  </a:cxn>
                                                                  <a:cxn ang="0">
                                                                    <a:pos x="146" y="24"/>
                                                                  </a:cxn>
                                                                  <a:cxn ang="0">
                                                                    <a:pos x="146" y="2"/>
                                                                  </a:cxn>
                                                                  <a:cxn ang="0">
                                                                    <a:pos x="178" y="0"/>
                                                                  </a:cxn>
                                                                  <a:cxn ang="0">
                                                                    <a:pos x="204" y="6"/>
                                                                  </a:cxn>
                                                                  <a:cxn ang="0">
                                                                    <a:pos x="218" y="20"/>
                                                                  </a:cxn>
                                                                  <a:cxn ang="0">
                                                                    <a:pos x="230" y="36"/>
                                                                  </a:cxn>
                                                                  <a:cxn ang="0">
                                                                    <a:pos x="248" y="50"/>
                                                                  </a:cxn>
                                                                  <a:cxn ang="0">
                                                                    <a:pos x="282" y="54"/>
                                                                  </a:cxn>
                                                                  <a:cxn ang="0">
                                                                    <a:pos x="314" y="58"/>
                                                                  </a:cxn>
                                                                  <a:cxn ang="0">
                                                                    <a:pos x="314" y="72"/>
                                                                  </a:cxn>
                                                                  <a:cxn ang="0">
                                                                    <a:pos x="320" y="84"/>
                                                                  </a:cxn>
                                                                  <a:cxn ang="0">
                                                                    <a:pos x="306" y="102"/>
                                                                  </a:cxn>
                                                                  <a:cxn ang="0">
                                                                    <a:pos x="292" y="120"/>
                                                                  </a:cxn>
                                                                  <a:cxn ang="0">
                                                                    <a:pos x="274" y="128"/>
                                                                  </a:cxn>
                                                                  <a:cxn ang="0">
                                                                    <a:pos x="252" y="134"/>
                                                                  </a:cxn>
                                                                  <a:cxn ang="0">
                                                                    <a:pos x="244" y="136"/>
                                                                  </a:cxn>
                                                                  <a:cxn ang="0">
                                                                    <a:pos x="230" y="138"/>
                                                                  </a:cxn>
                                                                  <a:cxn ang="0">
                                                                    <a:pos x="232" y="140"/>
                                                                  </a:cxn>
                                                                  <a:cxn ang="0">
                                                                    <a:pos x="248" y="152"/>
                                                                  </a:cxn>
                                                                  <a:cxn ang="0">
                                                                    <a:pos x="272" y="152"/>
                                                                  </a:cxn>
                                                                  <a:cxn ang="0">
                                                                    <a:pos x="280" y="156"/>
                                                                  </a:cxn>
                                                                  <a:cxn ang="0">
                                                                    <a:pos x="262" y="158"/>
                                                                  </a:cxn>
                                                                  <a:cxn ang="0">
                                                                    <a:pos x="246" y="164"/>
                                                                  </a:cxn>
                                                                  <a:cxn ang="0">
                                                                    <a:pos x="226" y="168"/>
                                                                  </a:cxn>
                                                                  <a:cxn ang="0">
                                                                    <a:pos x="224" y="158"/>
                                                                  </a:cxn>
                                                                  <a:cxn ang="0">
                                                                    <a:pos x="208" y="152"/>
                                                                  </a:cxn>
                                                                  <a:cxn ang="0">
                                                                    <a:pos x="220" y="138"/>
                                                                  </a:cxn>
                                                                  <a:cxn ang="0">
                                                                    <a:pos x="212" y="138"/>
                                                                  </a:cxn>
                                                                  <a:cxn ang="0">
                                                                    <a:pos x="192" y="134"/>
                                                                  </a:cxn>
                                                                  <a:cxn ang="0">
                                                                    <a:pos x="190" y="128"/>
                                                                  </a:cxn>
                                                                  <a:cxn ang="0">
                                                                    <a:pos x="196" y="126"/>
                                                                  </a:cxn>
                                                                  <a:cxn ang="0">
                                                                    <a:pos x="176" y="130"/>
                                                                  </a:cxn>
                                                                  <a:cxn ang="0">
                                                                    <a:pos x="160" y="130"/>
                                                                  </a:cxn>
                                                                  <a:cxn ang="0">
                                                                    <a:pos x="158" y="140"/>
                                                                  </a:cxn>
                                                                  <a:cxn ang="0">
                                                                    <a:pos x="152" y="150"/>
                                                                  </a:cxn>
                                                                  <a:cxn ang="0">
                                                                    <a:pos x="132" y="156"/>
                                                                  </a:cxn>
                                                                  <a:cxn ang="0">
                                                                    <a:pos x="126" y="150"/>
                                                                  </a:cxn>
                                                                  <a:cxn ang="0">
                                                                    <a:pos x="138" y="138"/>
                                                                  </a:cxn>
                                                                  <a:cxn ang="0">
                                                                    <a:pos x="146" y="140"/>
                                                                  </a:cxn>
                                                                  <a:cxn ang="0">
                                                                    <a:pos x="146" y="128"/>
                                                                  </a:cxn>
                                                                  <a:cxn ang="0">
                                                                    <a:pos x="140" y="114"/>
                                                                  </a:cxn>
                                                                  <a:cxn ang="0">
                                                                    <a:pos x="138" y="100"/>
                                                                  </a:cxn>
                                                                  <a:cxn ang="0">
                                                                    <a:pos x="126" y="94"/>
                                                                  </a:cxn>
                                                                  <a:cxn ang="0">
                                                                    <a:pos x="116" y="90"/>
                                                                  </a:cxn>
                                                                  <a:cxn ang="0">
                                                                    <a:pos x="92" y="92"/>
                                                                  </a:cxn>
                                                                  <a:cxn ang="0">
                                                                    <a:pos x="70" y="92"/>
                                                                  </a:cxn>
                                                                  <a:cxn ang="0">
                                                                    <a:pos x="46" y="94"/>
                                                                  </a:cxn>
                                                                  <a:cxn ang="0">
                                                                    <a:pos x="30" y="98"/>
                                                                  </a:cxn>
                                                                  <a:cxn ang="0">
                                                                    <a:pos x="18" y="98"/>
                                                                  </a:cxn>
                                                                </a:cxnLst>
                                                                <a:rect l="0" t="0" r="r" b="b"/>
                                                                <a:pathLst>
                                                                  <a:path w="322" h="172">
                                                                    <a:moveTo>
                                                                      <a:pt x="6" y="98"/>
                                                                    </a:moveTo>
                                                                    <a:lnTo>
                                                                      <a:pt x="6" y="98"/>
                                                                    </a:lnTo>
                                                                    <a:lnTo>
                                                                      <a:pt x="4" y="96"/>
                                                                    </a:lnTo>
                                                                    <a:lnTo>
                                                                      <a:pt x="0" y="92"/>
                                                                    </a:lnTo>
                                                                    <a:lnTo>
                                                                      <a:pt x="0" y="92"/>
                                                                    </a:lnTo>
                                                                    <a:lnTo>
                                                                      <a:pt x="0" y="88"/>
                                                                    </a:lnTo>
                                                                    <a:lnTo>
                                                                      <a:pt x="0" y="88"/>
                                                                    </a:lnTo>
                                                                    <a:lnTo>
                                                                      <a:pt x="0" y="86"/>
                                                                    </a:lnTo>
                                                                    <a:lnTo>
                                                                      <a:pt x="0" y="86"/>
                                                                    </a:lnTo>
                                                                    <a:lnTo>
                                                                      <a:pt x="0" y="84"/>
                                                                    </a:lnTo>
                                                                    <a:lnTo>
                                                                      <a:pt x="2" y="80"/>
                                                                    </a:lnTo>
                                                                    <a:lnTo>
                                                                      <a:pt x="2" y="80"/>
                                                                    </a:lnTo>
                                                                    <a:lnTo>
                                                                      <a:pt x="2" y="76"/>
                                                                    </a:lnTo>
                                                                    <a:lnTo>
                                                                      <a:pt x="2" y="74"/>
                                                                    </a:lnTo>
                                                                    <a:lnTo>
                                                                      <a:pt x="2" y="74"/>
                                                                    </a:lnTo>
                                                                    <a:lnTo>
                                                                      <a:pt x="6" y="74"/>
                                                                    </a:lnTo>
                                                                    <a:lnTo>
                                                                      <a:pt x="6" y="74"/>
                                                                    </a:lnTo>
                                                                    <a:lnTo>
                                                                      <a:pt x="8" y="70"/>
                                                                    </a:lnTo>
                                                                    <a:lnTo>
                                                                      <a:pt x="8" y="70"/>
                                                                    </a:lnTo>
                                                                    <a:lnTo>
                                                                      <a:pt x="8" y="66"/>
                                                                    </a:lnTo>
                                                                    <a:lnTo>
                                                                      <a:pt x="8" y="64"/>
                                                                    </a:lnTo>
                                                                    <a:lnTo>
                                                                      <a:pt x="10" y="62"/>
                                                                    </a:lnTo>
                                                                    <a:lnTo>
                                                                      <a:pt x="16" y="56"/>
                                                                    </a:lnTo>
                                                                    <a:lnTo>
                                                                      <a:pt x="16" y="56"/>
                                                                    </a:lnTo>
                                                                    <a:lnTo>
                                                                      <a:pt x="18" y="52"/>
                                                                    </a:lnTo>
                                                                    <a:lnTo>
                                                                      <a:pt x="22" y="50"/>
                                                                    </a:lnTo>
                                                                    <a:lnTo>
                                                                      <a:pt x="24" y="50"/>
                                                                    </a:lnTo>
                                                                    <a:lnTo>
                                                                      <a:pt x="22" y="48"/>
                                                                    </a:lnTo>
                                                                    <a:lnTo>
                                                                      <a:pt x="22" y="48"/>
                                                                    </a:lnTo>
                                                                    <a:lnTo>
                                                                      <a:pt x="22" y="44"/>
                                                                    </a:lnTo>
                                                                    <a:lnTo>
                                                                      <a:pt x="24" y="44"/>
                                                                    </a:lnTo>
                                                                    <a:lnTo>
                                                                      <a:pt x="26" y="46"/>
                                                                    </a:lnTo>
                                                                    <a:lnTo>
                                                                      <a:pt x="26" y="44"/>
                                                                    </a:lnTo>
                                                                    <a:lnTo>
                                                                      <a:pt x="26" y="44"/>
                                                                    </a:lnTo>
                                                                    <a:lnTo>
                                                                      <a:pt x="22" y="42"/>
                                                                    </a:lnTo>
                                                                    <a:lnTo>
                                                                      <a:pt x="18" y="40"/>
                                                                    </a:lnTo>
                                                                    <a:lnTo>
                                                                      <a:pt x="14" y="36"/>
                                                                    </a:lnTo>
                                                                    <a:lnTo>
                                                                      <a:pt x="10" y="28"/>
                                                                    </a:lnTo>
                                                                    <a:lnTo>
                                                                      <a:pt x="10" y="28"/>
                                                                    </a:lnTo>
                                                                    <a:lnTo>
                                                                      <a:pt x="16" y="24"/>
                                                                    </a:lnTo>
                                                                    <a:lnTo>
                                                                      <a:pt x="18" y="24"/>
                                                                    </a:lnTo>
                                                                    <a:lnTo>
                                                                      <a:pt x="20" y="26"/>
                                                                    </a:lnTo>
                                                                    <a:lnTo>
                                                                      <a:pt x="30" y="22"/>
                                                                    </a:lnTo>
                                                                    <a:lnTo>
                                                                      <a:pt x="30" y="22"/>
                                                                    </a:lnTo>
                                                                    <a:lnTo>
                                                                      <a:pt x="40" y="20"/>
                                                                    </a:lnTo>
                                                                    <a:lnTo>
                                                                      <a:pt x="48" y="20"/>
                                                                    </a:lnTo>
                                                                    <a:lnTo>
                                                                      <a:pt x="62" y="24"/>
                                                                    </a:lnTo>
                                                                    <a:lnTo>
                                                                      <a:pt x="74" y="28"/>
                                                                    </a:lnTo>
                                                                    <a:lnTo>
                                                                      <a:pt x="80" y="30"/>
                                                                    </a:lnTo>
                                                                    <a:lnTo>
                                                                      <a:pt x="88" y="28"/>
                                                                    </a:lnTo>
                                                                    <a:lnTo>
                                                                      <a:pt x="88" y="28"/>
                                                                    </a:lnTo>
                                                                    <a:lnTo>
                                                                      <a:pt x="96" y="24"/>
                                                                    </a:lnTo>
                                                                    <a:lnTo>
                                                                      <a:pt x="98" y="26"/>
                                                                    </a:lnTo>
                                                                    <a:lnTo>
                                                                      <a:pt x="98" y="26"/>
                                                                    </a:lnTo>
                                                                    <a:lnTo>
                                                                      <a:pt x="100" y="28"/>
                                                                    </a:lnTo>
                                                                    <a:lnTo>
                                                                      <a:pt x="104" y="28"/>
                                                                    </a:lnTo>
                                                                    <a:lnTo>
                                                                      <a:pt x="104" y="28"/>
                                                                    </a:lnTo>
                                                                    <a:lnTo>
                                                                      <a:pt x="110" y="26"/>
                                                                    </a:lnTo>
                                                                    <a:lnTo>
                                                                      <a:pt x="110" y="26"/>
                                                                    </a:lnTo>
                                                                    <a:lnTo>
                                                                      <a:pt x="112" y="28"/>
                                                                    </a:lnTo>
                                                                    <a:lnTo>
                                                                      <a:pt x="116" y="24"/>
                                                                    </a:lnTo>
                                                                    <a:lnTo>
                                                                      <a:pt x="116" y="24"/>
                                                                    </a:lnTo>
                                                                    <a:lnTo>
                                                                      <a:pt x="120" y="20"/>
                                                                    </a:lnTo>
                                                                    <a:lnTo>
                                                                      <a:pt x="122" y="20"/>
                                                                    </a:lnTo>
                                                                    <a:lnTo>
                                                                      <a:pt x="124" y="22"/>
                                                                    </a:lnTo>
                                                                    <a:lnTo>
                                                                      <a:pt x="130" y="22"/>
                                                                    </a:lnTo>
                                                                    <a:lnTo>
                                                                      <a:pt x="130" y="22"/>
                                                                    </a:lnTo>
                                                                    <a:lnTo>
                                                                      <a:pt x="136" y="22"/>
                                                                    </a:lnTo>
                                                                    <a:lnTo>
                                                                      <a:pt x="142" y="24"/>
                                                                    </a:lnTo>
                                                                    <a:lnTo>
                                                                      <a:pt x="146" y="24"/>
                                                                    </a:lnTo>
                                                                    <a:lnTo>
                                                                      <a:pt x="148" y="22"/>
                                                                    </a:lnTo>
                                                                    <a:lnTo>
                                                                      <a:pt x="148" y="20"/>
                                                                    </a:lnTo>
                                                                    <a:lnTo>
                                                                      <a:pt x="148" y="20"/>
                                                                    </a:lnTo>
                                                                    <a:lnTo>
                                                                      <a:pt x="146" y="14"/>
                                                                    </a:lnTo>
                                                                    <a:lnTo>
                                                                      <a:pt x="144" y="8"/>
                                                                    </a:lnTo>
                                                                    <a:lnTo>
                                                                      <a:pt x="144" y="4"/>
                                                                    </a:lnTo>
                                                                    <a:lnTo>
                                                                      <a:pt x="146" y="2"/>
                                                                    </a:lnTo>
                                                                    <a:lnTo>
                                                                      <a:pt x="150" y="2"/>
                                                                    </a:lnTo>
                                                                    <a:lnTo>
                                                                      <a:pt x="158" y="2"/>
                                                                    </a:lnTo>
                                                                    <a:lnTo>
                                                                      <a:pt x="158" y="2"/>
                                                                    </a:lnTo>
                                                                    <a:lnTo>
                                                                      <a:pt x="160" y="2"/>
                                                                    </a:lnTo>
                                                                    <a:lnTo>
                                                                      <a:pt x="162" y="0"/>
                                                                    </a:lnTo>
                                                                    <a:lnTo>
                                                                      <a:pt x="166" y="0"/>
                                                                    </a:lnTo>
                                                                    <a:lnTo>
                                                                      <a:pt x="178" y="0"/>
                                                                    </a:lnTo>
                                                                    <a:lnTo>
                                                                      <a:pt x="178" y="0"/>
                                                                    </a:lnTo>
                                                                    <a:lnTo>
                                                                      <a:pt x="192" y="0"/>
                                                                    </a:lnTo>
                                                                    <a:lnTo>
                                                                      <a:pt x="196" y="2"/>
                                                                    </a:lnTo>
                                                                    <a:lnTo>
                                                                      <a:pt x="196" y="4"/>
                                                                    </a:lnTo>
                                                                    <a:lnTo>
                                                                      <a:pt x="200" y="6"/>
                                                                    </a:lnTo>
                                                                    <a:lnTo>
                                                                      <a:pt x="200" y="6"/>
                                                                    </a:lnTo>
                                                                    <a:lnTo>
                                                                      <a:pt x="204" y="6"/>
                                                                    </a:lnTo>
                                                                    <a:lnTo>
                                                                      <a:pt x="204" y="10"/>
                                                                    </a:lnTo>
                                                                    <a:lnTo>
                                                                      <a:pt x="202" y="16"/>
                                                                    </a:lnTo>
                                                                    <a:lnTo>
                                                                      <a:pt x="200" y="20"/>
                                                                    </a:lnTo>
                                                                    <a:lnTo>
                                                                      <a:pt x="202" y="20"/>
                                                                    </a:lnTo>
                                                                    <a:lnTo>
                                                                      <a:pt x="206" y="20"/>
                                                                    </a:lnTo>
                                                                    <a:lnTo>
                                                                      <a:pt x="206" y="20"/>
                                                                    </a:lnTo>
                                                                    <a:lnTo>
                                                                      <a:pt x="218" y="20"/>
                                                                    </a:lnTo>
                                                                    <a:lnTo>
                                                                      <a:pt x="218" y="22"/>
                                                                    </a:lnTo>
                                                                    <a:lnTo>
                                                                      <a:pt x="224" y="26"/>
                                                                    </a:lnTo>
                                                                    <a:lnTo>
                                                                      <a:pt x="224" y="26"/>
                                                                    </a:lnTo>
                                                                    <a:lnTo>
                                                                      <a:pt x="228" y="28"/>
                                                                    </a:lnTo>
                                                                    <a:lnTo>
                                                                      <a:pt x="230" y="32"/>
                                                                    </a:lnTo>
                                                                    <a:lnTo>
                                                                      <a:pt x="230" y="34"/>
                                                                    </a:lnTo>
                                                                    <a:lnTo>
                                                                      <a:pt x="230" y="36"/>
                                                                    </a:lnTo>
                                                                    <a:lnTo>
                                                                      <a:pt x="228" y="40"/>
                                                                    </a:lnTo>
                                                                    <a:lnTo>
                                                                      <a:pt x="228" y="40"/>
                                                                    </a:lnTo>
                                                                    <a:lnTo>
                                                                      <a:pt x="232" y="42"/>
                                                                    </a:lnTo>
                                                                    <a:lnTo>
                                                                      <a:pt x="232" y="42"/>
                                                                    </a:lnTo>
                                                                    <a:lnTo>
                                                                      <a:pt x="242" y="46"/>
                                                                    </a:lnTo>
                                                                    <a:lnTo>
                                                                      <a:pt x="244" y="50"/>
                                                                    </a:lnTo>
                                                                    <a:lnTo>
                                                                      <a:pt x="248" y="50"/>
                                                                    </a:lnTo>
                                                                    <a:lnTo>
                                                                      <a:pt x="256" y="46"/>
                                                                    </a:lnTo>
                                                                    <a:lnTo>
                                                                      <a:pt x="256" y="46"/>
                                                                    </a:lnTo>
                                                                    <a:lnTo>
                                                                      <a:pt x="262" y="44"/>
                                                                    </a:lnTo>
                                                                    <a:lnTo>
                                                                      <a:pt x="264" y="44"/>
                                                                    </a:lnTo>
                                                                    <a:lnTo>
                                                                      <a:pt x="270" y="46"/>
                                                                    </a:lnTo>
                                                                    <a:lnTo>
                                                                      <a:pt x="278" y="52"/>
                                                                    </a:lnTo>
                                                                    <a:lnTo>
                                                                      <a:pt x="282" y="54"/>
                                                                    </a:lnTo>
                                                                    <a:lnTo>
                                                                      <a:pt x="288" y="54"/>
                                                                    </a:lnTo>
                                                                    <a:lnTo>
                                                                      <a:pt x="288" y="54"/>
                                                                    </a:lnTo>
                                                                    <a:lnTo>
                                                                      <a:pt x="296" y="54"/>
                                                                    </a:lnTo>
                                                                    <a:lnTo>
                                                                      <a:pt x="300" y="56"/>
                                                                    </a:lnTo>
                                                                    <a:lnTo>
                                                                      <a:pt x="304" y="58"/>
                                                                    </a:lnTo>
                                                                    <a:lnTo>
                                                                      <a:pt x="314" y="58"/>
                                                                    </a:lnTo>
                                                                    <a:lnTo>
                                                                      <a:pt x="314" y="58"/>
                                                                    </a:lnTo>
                                                                    <a:lnTo>
                                                                      <a:pt x="320" y="60"/>
                                                                    </a:lnTo>
                                                                    <a:lnTo>
                                                                      <a:pt x="320" y="60"/>
                                                                    </a:lnTo>
                                                                    <a:lnTo>
                                                                      <a:pt x="316" y="66"/>
                                                                    </a:lnTo>
                                                                    <a:lnTo>
                                                                      <a:pt x="312" y="70"/>
                                                                    </a:lnTo>
                                                                    <a:lnTo>
                                                                      <a:pt x="310" y="70"/>
                                                                    </a:lnTo>
                                                                    <a:lnTo>
                                                                      <a:pt x="314" y="72"/>
                                                                    </a:lnTo>
                                                                    <a:lnTo>
                                                                      <a:pt x="314" y="72"/>
                                                                    </a:lnTo>
                                                                    <a:lnTo>
                                                                      <a:pt x="316" y="72"/>
                                                                    </a:lnTo>
                                                                    <a:lnTo>
                                                                      <a:pt x="316" y="74"/>
                                                                    </a:lnTo>
                                                                    <a:lnTo>
                                                                      <a:pt x="314" y="78"/>
                                                                    </a:lnTo>
                                                                    <a:lnTo>
                                                                      <a:pt x="314" y="80"/>
                                                                    </a:lnTo>
                                                                    <a:lnTo>
                                                                      <a:pt x="316" y="80"/>
                                                                    </a:lnTo>
                                                                    <a:lnTo>
                                                                      <a:pt x="316" y="80"/>
                                                                    </a:lnTo>
                                                                    <a:lnTo>
                                                                      <a:pt x="320" y="84"/>
                                                                    </a:lnTo>
                                                                    <a:lnTo>
                                                                      <a:pt x="322" y="86"/>
                                                                    </a:lnTo>
                                                                    <a:lnTo>
                                                                      <a:pt x="322" y="88"/>
                                                                    </a:lnTo>
                                                                    <a:lnTo>
                                                                      <a:pt x="320" y="92"/>
                                                                    </a:lnTo>
                                                                    <a:lnTo>
                                                                      <a:pt x="316" y="96"/>
                                                                    </a:lnTo>
                                                                    <a:lnTo>
                                                                      <a:pt x="310" y="100"/>
                                                                    </a:lnTo>
                                                                    <a:lnTo>
                                                                      <a:pt x="310" y="100"/>
                                                                    </a:lnTo>
                                                                    <a:lnTo>
                                                                      <a:pt x="306" y="102"/>
                                                                    </a:lnTo>
                                                                    <a:lnTo>
                                                                      <a:pt x="300" y="106"/>
                                                                    </a:lnTo>
                                                                    <a:lnTo>
                                                                      <a:pt x="298" y="110"/>
                                                                    </a:lnTo>
                                                                    <a:lnTo>
                                                                      <a:pt x="298" y="118"/>
                                                                    </a:lnTo>
                                                                    <a:lnTo>
                                                                      <a:pt x="298" y="118"/>
                                                                    </a:lnTo>
                                                                    <a:lnTo>
                                                                      <a:pt x="296" y="120"/>
                                                                    </a:lnTo>
                                                                    <a:lnTo>
                                                                      <a:pt x="292" y="120"/>
                                                                    </a:lnTo>
                                                                    <a:lnTo>
                                                                      <a:pt x="292" y="120"/>
                                                                    </a:lnTo>
                                                                    <a:lnTo>
                                                                      <a:pt x="288" y="122"/>
                                                                    </a:lnTo>
                                                                    <a:lnTo>
                                                                      <a:pt x="286" y="122"/>
                                                                    </a:lnTo>
                                                                    <a:lnTo>
                                                                      <a:pt x="284" y="122"/>
                                                                    </a:lnTo>
                                                                    <a:lnTo>
                                                                      <a:pt x="280" y="126"/>
                                                                    </a:lnTo>
                                                                    <a:lnTo>
                                                                      <a:pt x="280" y="126"/>
                                                                    </a:lnTo>
                                                                    <a:lnTo>
                                                                      <a:pt x="276" y="130"/>
                                                                    </a:lnTo>
                                                                    <a:lnTo>
                                                                      <a:pt x="274" y="128"/>
                                                                    </a:lnTo>
                                                                    <a:lnTo>
                                                                      <a:pt x="272" y="128"/>
                                                                    </a:lnTo>
                                                                    <a:lnTo>
                                                                      <a:pt x="268" y="132"/>
                                                                    </a:lnTo>
                                                                    <a:lnTo>
                                                                      <a:pt x="268" y="132"/>
                                                                    </a:lnTo>
                                                                    <a:lnTo>
                                                                      <a:pt x="264" y="136"/>
                                                                    </a:lnTo>
                                                                    <a:lnTo>
                                                                      <a:pt x="258" y="134"/>
                                                                    </a:lnTo>
                                                                    <a:lnTo>
                                                                      <a:pt x="258" y="134"/>
                                                                    </a:lnTo>
                                                                    <a:lnTo>
                                                                      <a:pt x="252" y="134"/>
                                                                    </a:lnTo>
                                                                    <a:lnTo>
                                                                      <a:pt x="248" y="136"/>
                                                                    </a:lnTo>
                                                                    <a:lnTo>
                                                                      <a:pt x="244" y="138"/>
                                                                    </a:lnTo>
                                                                    <a:lnTo>
                                                                      <a:pt x="238" y="138"/>
                                                                    </a:lnTo>
                                                                    <a:lnTo>
                                                                      <a:pt x="238" y="138"/>
                                                                    </a:lnTo>
                                                                    <a:lnTo>
                                                                      <a:pt x="236" y="138"/>
                                                                    </a:lnTo>
                                                                    <a:lnTo>
                                                                      <a:pt x="236" y="138"/>
                                                                    </a:lnTo>
                                                                    <a:lnTo>
                                                                      <a:pt x="244" y="136"/>
                                                                    </a:lnTo>
                                                                    <a:lnTo>
                                                                      <a:pt x="244" y="136"/>
                                                                    </a:lnTo>
                                                                    <a:lnTo>
                                                                      <a:pt x="246" y="136"/>
                                                                    </a:lnTo>
                                                                    <a:lnTo>
                                                                      <a:pt x="244" y="134"/>
                                                                    </a:lnTo>
                                                                    <a:lnTo>
                                                                      <a:pt x="238" y="136"/>
                                                                    </a:lnTo>
                                                                    <a:lnTo>
                                                                      <a:pt x="238" y="136"/>
                                                                    </a:lnTo>
                                                                    <a:lnTo>
                                                                      <a:pt x="232" y="138"/>
                                                                    </a:lnTo>
                                                                    <a:lnTo>
                                                                      <a:pt x="230" y="138"/>
                                                                    </a:lnTo>
                                                                    <a:lnTo>
                                                                      <a:pt x="228" y="136"/>
                                                                    </a:lnTo>
                                                                    <a:lnTo>
                                                                      <a:pt x="228" y="136"/>
                                                                    </a:lnTo>
                                                                    <a:lnTo>
                                                                      <a:pt x="228" y="138"/>
                                                                    </a:lnTo>
                                                                    <a:lnTo>
                                                                      <a:pt x="228" y="140"/>
                                                                    </a:lnTo>
                                                                    <a:lnTo>
                                                                      <a:pt x="230" y="140"/>
                                                                    </a:lnTo>
                                                                    <a:lnTo>
                                                                      <a:pt x="232" y="140"/>
                                                                    </a:lnTo>
                                                                    <a:lnTo>
                                                                      <a:pt x="232" y="140"/>
                                                                    </a:lnTo>
                                                                    <a:lnTo>
                                                                      <a:pt x="236" y="140"/>
                                                                    </a:lnTo>
                                                                    <a:lnTo>
                                                                      <a:pt x="238" y="142"/>
                                                                    </a:lnTo>
                                                                    <a:lnTo>
                                                                      <a:pt x="238" y="142"/>
                                                                    </a:lnTo>
                                                                    <a:lnTo>
                                                                      <a:pt x="246" y="146"/>
                                                                    </a:lnTo>
                                                                    <a:lnTo>
                                                                      <a:pt x="250" y="148"/>
                                                                    </a:lnTo>
                                                                    <a:lnTo>
                                                                      <a:pt x="250" y="150"/>
                                                                    </a:lnTo>
                                                                    <a:lnTo>
                                                                      <a:pt x="248" y="152"/>
                                                                    </a:lnTo>
                                                                    <a:lnTo>
                                                                      <a:pt x="248" y="152"/>
                                                                    </a:lnTo>
                                                                    <a:lnTo>
                                                                      <a:pt x="254" y="152"/>
                                                                    </a:lnTo>
                                                                    <a:lnTo>
                                                                      <a:pt x="258" y="152"/>
                                                                    </a:lnTo>
                                                                    <a:lnTo>
                                                                      <a:pt x="262" y="154"/>
                                                                    </a:lnTo>
                                                                    <a:lnTo>
                                                                      <a:pt x="266" y="152"/>
                                                                    </a:lnTo>
                                                                    <a:lnTo>
                                                                      <a:pt x="266" y="152"/>
                                                                    </a:lnTo>
                                                                    <a:lnTo>
                                                                      <a:pt x="272" y="152"/>
                                                                    </a:lnTo>
                                                                    <a:lnTo>
                                                                      <a:pt x="280" y="152"/>
                                                                    </a:lnTo>
                                                                    <a:lnTo>
                                                                      <a:pt x="280" y="152"/>
                                                                    </a:lnTo>
                                                                    <a:lnTo>
                                                                      <a:pt x="282" y="154"/>
                                                                    </a:lnTo>
                                                                    <a:lnTo>
                                                                      <a:pt x="282" y="154"/>
                                                                    </a:lnTo>
                                                                    <a:lnTo>
                                                                      <a:pt x="280" y="154"/>
                                                                    </a:lnTo>
                                                                    <a:lnTo>
                                                                      <a:pt x="280" y="156"/>
                                                                    </a:lnTo>
                                                                    <a:lnTo>
                                                                      <a:pt x="280" y="156"/>
                                                                    </a:lnTo>
                                                                    <a:lnTo>
                                                                      <a:pt x="278" y="158"/>
                                                                    </a:lnTo>
                                                                    <a:lnTo>
                                                                      <a:pt x="278" y="158"/>
                                                                    </a:lnTo>
                                                                    <a:lnTo>
                                                                      <a:pt x="276" y="158"/>
                                                                    </a:lnTo>
                                                                    <a:lnTo>
                                                                      <a:pt x="276" y="158"/>
                                                                    </a:lnTo>
                                                                    <a:lnTo>
                                                                      <a:pt x="272" y="160"/>
                                                                    </a:lnTo>
                                                                    <a:lnTo>
                                                                      <a:pt x="268" y="158"/>
                                                                    </a:lnTo>
                                                                    <a:lnTo>
                                                                      <a:pt x="262" y="158"/>
                                                                    </a:lnTo>
                                                                    <a:lnTo>
                                                                      <a:pt x="260" y="158"/>
                                                                    </a:lnTo>
                                                                    <a:lnTo>
                                                                      <a:pt x="258" y="160"/>
                                                                    </a:lnTo>
                                                                    <a:lnTo>
                                                                      <a:pt x="258" y="160"/>
                                                                    </a:lnTo>
                                                                    <a:lnTo>
                                                                      <a:pt x="256" y="162"/>
                                                                    </a:lnTo>
                                                                    <a:lnTo>
                                                                      <a:pt x="248" y="164"/>
                                                                    </a:lnTo>
                                                                    <a:lnTo>
                                                                      <a:pt x="248" y="164"/>
                                                                    </a:lnTo>
                                                                    <a:lnTo>
                                                                      <a:pt x="246" y="164"/>
                                                                    </a:lnTo>
                                                                    <a:lnTo>
                                                                      <a:pt x="244" y="166"/>
                                                                    </a:lnTo>
                                                                    <a:lnTo>
                                                                      <a:pt x="242" y="170"/>
                                                                    </a:lnTo>
                                                                    <a:lnTo>
                                                                      <a:pt x="240" y="172"/>
                                                                    </a:lnTo>
                                                                    <a:lnTo>
                                                                      <a:pt x="238" y="172"/>
                                                                    </a:lnTo>
                                                                    <a:lnTo>
                                                                      <a:pt x="228" y="170"/>
                                                                    </a:lnTo>
                                                                    <a:lnTo>
                                                                      <a:pt x="228" y="170"/>
                                                                    </a:lnTo>
                                                                    <a:lnTo>
                                                                      <a:pt x="226" y="168"/>
                                                                    </a:lnTo>
                                                                    <a:lnTo>
                                                                      <a:pt x="226" y="168"/>
                                                                    </a:lnTo>
                                                                    <a:lnTo>
                                                                      <a:pt x="228" y="164"/>
                                                                    </a:lnTo>
                                                                    <a:lnTo>
                                                                      <a:pt x="230" y="160"/>
                                                                    </a:lnTo>
                                                                    <a:lnTo>
                                                                      <a:pt x="228" y="160"/>
                                                                    </a:lnTo>
                                                                    <a:lnTo>
                                                                      <a:pt x="226" y="160"/>
                                                                    </a:lnTo>
                                                                    <a:lnTo>
                                                                      <a:pt x="226" y="160"/>
                                                                    </a:lnTo>
                                                                    <a:lnTo>
                                                                      <a:pt x="224" y="158"/>
                                                                    </a:lnTo>
                                                                    <a:lnTo>
                                                                      <a:pt x="222" y="158"/>
                                                                    </a:lnTo>
                                                                    <a:lnTo>
                                                                      <a:pt x="222" y="154"/>
                                                                    </a:lnTo>
                                                                    <a:lnTo>
                                                                      <a:pt x="218" y="152"/>
                                                                    </a:lnTo>
                                                                    <a:lnTo>
                                                                      <a:pt x="212" y="154"/>
                                                                    </a:lnTo>
                                                                    <a:lnTo>
                                                                      <a:pt x="212" y="154"/>
                                                                    </a:lnTo>
                                                                    <a:lnTo>
                                                                      <a:pt x="210" y="154"/>
                                                                    </a:lnTo>
                                                                    <a:lnTo>
                                                                      <a:pt x="208" y="152"/>
                                                                    </a:lnTo>
                                                                    <a:lnTo>
                                                                      <a:pt x="210" y="148"/>
                                                                    </a:lnTo>
                                                                    <a:lnTo>
                                                                      <a:pt x="210" y="148"/>
                                                                    </a:lnTo>
                                                                    <a:lnTo>
                                                                      <a:pt x="216" y="144"/>
                                                                    </a:lnTo>
                                                                    <a:lnTo>
                                                                      <a:pt x="224" y="140"/>
                                                                    </a:lnTo>
                                                                    <a:lnTo>
                                                                      <a:pt x="224" y="140"/>
                                                                    </a:lnTo>
                                                                    <a:lnTo>
                                                                      <a:pt x="220" y="140"/>
                                                                    </a:lnTo>
                                                                    <a:lnTo>
                                                                      <a:pt x="220" y="138"/>
                                                                    </a:lnTo>
                                                                    <a:lnTo>
                                                                      <a:pt x="220" y="138"/>
                                                                    </a:lnTo>
                                                                    <a:lnTo>
                                                                      <a:pt x="220" y="138"/>
                                                                    </a:lnTo>
                                                                    <a:lnTo>
                                                                      <a:pt x="218" y="140"/>
                                                                    </a:lnTo>
                                                                    <a:lnTo>
                                                                      <a:pt x="216" y="140"/>
                                                                    </a:lnTo>
                                                                    <a:lnTo>
                                                                      <a:pt x="214" y="140"/>
                                                                    </a:lnTo>
                                                                    <a:lnTo>
                                                                      <a:pt x="214" y="140"/>
                                                                    </a:lnTo>
                                                                    <a:lnTo>
                                                                      <a:pt x="212" y="138"/>
                                                                    </a:lnTo>
                                                                    <a:lnTo>
                                                                      <a:pt x="210" y="138"/>
                                                                    </a:lnTo>
                                                                    <a:lnTo>
                                                                      <a:pt x="206" y="138"/>
                                                                    </a:lnTo>
                                                                    <a:lnTo>
                                                                      <a:pt x="200" y="136"/>
                                                                    </a:lnTo>
                                                                    <a:lnTo>
                                                                      <a:pt x="200" y="136"/>
                                                                    </a:lnTo>
                                                                    <a:lnTo>
                                                                      <a:pt x="194" y="134"/>
                                                                    </a:lnTo>
                                                                    <a:lnTo>
                                                                      <a:pt x="192" y="134"/>
                                                                    </a:lnTo>
                                                                    <a:lnTo>
                                                                      <a:pt x="192" y="134"/>
                                                                    </a:lnTo>
                                                                    <a:lnTo>
                                                                      <a:pt x="190" y="132"/>
                                                                    </a:lnTo>
                                                                    <a:lnTo>
                                                                      <a:pt x="190" y="132"/>
                                                                    </a:lnTo>
                                                                    <a:lnTo>
                                                                      <a:pt x="194" y="132"/>
                                                                    </a:lnTo>
                                                                    <a:lnTo>
                                                                      <a:pt x="198" y="130"/>
                                                                    </a:lnTo>
                                                                    <a:lnTo>
                                                                      <a:pt x="194" y="130"/>
                                                                    </a:lnTo>
                                                                    <a:lnTo>
                                                                      <a:pt x="194" y="130"/>
                                                                    </a:lnTo>
                                                                    <a:lnTo>
                                                                      <a:pt x="190" y="128"/>
                                                                    </a:lnTo>
                                                                    <a:lnTo>
                                                                      <a:pt x="194" y="128"/>
                                                                    </a:lnTo>
                                                                    <a:lnTo>
                                                                      <a:pt x="194" y="128"/>
                                                                    </a:lnTo>
                                                                    <a:lnTo>
                                                                      <a:pt x="206" y="128"/>
                                                                    </a:lnTo>
                                                                    <a:lnTo>
                                                                      <a:pt x="206" y="128"/>
                                                                    </a:lnTo>
                                                                    <a:lnTo>
                                                                      <a:pt x="206" y="128"/>
                                                                    </a:lnTo>
                                                                    <a:lnTo>
                                                                      <a:pt x="196" y="126"/>
                                                                    </a:lnTo>
                                                                    <a:lnTo>
                                                                      <a:pt x="196" y="126"/>
                                                                    </a:lnTo>
                                                                    <a:lnTo>
                                                                      <a:pt x="190" y="124"/>
                                                                    </a:lnTo>
                                                                    <a:lnTo>
                                                                      <a:pt x="188" y="126"/>
                                                                    </a:lnTo>
                                                                    <a:lnTo>
                                                                      <a:pt x="186" y="126"/>
                                                                    </a:lnTo>
                                                                    <a:lnTo>
                                                                      <a:pt x="182" y="128"/>
                                                                    </a:lnTo>
                                                                    <a:lnTo>
                                                                      <a:pt x="182" y="128"/>
                                                                    </a:lnTo>
                                                                    <a:lnTo>
                                                                      <a:pt x="178" y="128"/>
                                                                    </a:lnTo>
                                                                    <a:lnTo>
                                                                      <a:pt x="176" y="130"/>
                                                                    </a:lnTo>
                                                                    <a:lnTo>
                                                                      <a:pt x="172" y="132"/>
                                                                    </a:lnTo>
                                                                    <a:lnTo>
                                                                      <a:pt x="168" y="134"/>
                                                                    </a:lnTo>
                                                                    <a:lnTo>
                                                                      <a:pt x="168" y="134"/>
                                                                    </a:lnTo>
                                                                    <a:lnTo>
                                                                      <a:pt x="164" y="134"/>
                                                                    </a:lnTo>
                                                                    <a:lnTo>
                                                                      <a:pt x="164" y="132"/>
                                                                    </a:lnTo>
                                                                    <a:lnTo>
                                                                      <a:pt x="164" y="132"/>
                                                                    </a:lnTo>
                                                                    <a:lnTo>
                                                                      <a:pt x="160" y="130"/>
                                                                    </a:lnTo>
                                                                    <a:lnTo>
                                                                      <a:pt x="160" y="130"/>
                                                                    </a:lnTo>
                                                                    <a:lnTo>
                                                                      <a:pt x="162" y="132"/>
                                                                    </a:lnTo>
                                                                    <a:lnTo>
                                                                      <a:pt x="162" y="132"/>
                                                                    </a:lnTo>
                                                                    <a:lnTo>
                                                                      <a:pt x="164" y="136"/>
                                                                    </a:lnTo>
                                                                    <a:lnTo>
                                                                      <a:pt x="162" y="138"/>
                                                                    </a:lnTo>
                                                                    <a:lnTo>
                                                                      <a:pt x="162" y="138"/>
                                                                    </a:lnTo>
                                                                    <a:lnTo>
                                                                      <a:pt x="158" y="140"/>
                                                                    </a:lnTo>
                                                                    <a:lnTo>
                                                                      <a:pt x="154" y="144"/>
                                                                    </a:lnTo>
                                                                    <a:lnTo>
                                                                      <a:pt x="154" y="144"/>
                                                                    </a:lnTo>
                                                                    <a:lnTo>
                                                                      <a:pt x="154" y="146"/>
                                                                    </a:lnTo>
                                                                    <a:lnTo>
                                                                      <a:pt x="154" y="148"/>
                                                                    </a:lnTo>
                                                                    <a:lnTo>
                                                                      <a:pt x="154" y="148"/>
                                                                    </a:lnTo>
                                                                    <a:lnTo>
                                                                      <a:pt x="152" y="150"/>
                                                                    </a:lnTo>
                                                                    <a:lnTo>
                                                                      <a:pt x="152" y="150"/>
                                                                    </a:lnTo>
                                                                    <a:lnTo>
                                                                      <a:pt x="146" y="148"/>
                                                                    </a:lnTo>
                                                                    <a:lnTo>
                                                                      <a:pt x="142" y="150"/>
                                                                    </a:lnTo>
                                                                    <a:lnTo>
                                                                      <a:pt x="140" y="150"/>
                                                                    </a:lnTo>
                                                                    <a:lnTo>
                                                                      <a:pt x="134" y="152"/>
                                                                    </a:lnTo>
                                                                    <a:lnTo>
                                                                      <a:pt x="134" y="152"/>
                                                                    </a:lnTo>
                                                                    <a:lnTo>
                                                                      <a:pt x="134" y="154"/>
                                                                    </a:lnTo>
                                                                    <a:lnTo>
                                                                      <a:pt x="132" y="156"/>
                                                                    </a:lnTo>
                                                                    <a:lnTo>
                                                                      <a:pt x="128" y="154"/>
                                                                    </a:lnTo>
                                                                    <a:lnTo>
                                                                      <a:pt x="122" y="150"/>
                                                                    </a:lnTo>
                                                                    <a:lnTo>
                                                                      <a:pt x="122" y="150"/>
                                                                    </a:lnTo>
                                                                    <a:lnTo>
                                                                      <a:pt x="124" y="150"/>
                                                                    </a:lnTo>
                                                                    <a:lnTo>
                                                                      <a:pt x="124" y="150"/>
                                                                    </a:lnTo>
                                                                    <a:lnTo>
                                                                      <a:pt x="126" y="150"/>
                                                                    </a:lnTo>
                                                                    <a:lnTo>
                                                                      <a:pt x="126" y="150"/>
                                                                    </a:lnTo>
                                                                    <a:lnTo>
                                                                      <a:pt x="130" y="148"/>
                                                                    </a:lnTo>
                                                                    <a:lnTo>
                                                                      <a:pt x="130" y="144"/>
                                                                    </a:lnTo>
                                                                    <a:lnTo>
                                                                      <a:pt x="132" y="136"/>
                                                                    </a:lnTo>
                                                                    <a:lnTo>
                                                                      <a:pt x="132" y="136"/>
                                                                    </a:lnTo>
                                                                    <a:lnTo>
                                                                      <a:pt x="134" y="136"/>
                                                                    </a:lnTo>
                                                                    <a:lnTo>
                                                                      <a:pt x="136" y="138"/>
                                                                    </a:lnTo>
                                                                    <a:lnTo>
                                                                      <a:pt x="138" y="138"/>
                                                                    </a:lnTo>
                                                                    <a:lnTo>
                                                                      <a:pt x="140" y="138"/>
                                                                    </a:lnTo>
                                                                    <a:lnTo>
                                                                      <a:pt x="140" y="138"/>
                                                                    </a:lnTo>
                                                                    <a:lnTo>
                                                                      <a:pt x="140" y="138"/>
                                                                    </a:lnTo>
                                                                    <a:lnTo>
                                                                      <a:pt x="142" y="140"/>
                                                                    </a:lnTo>
                                                                    <a:lnTo>
                                                                      <a:pt x="144" y="140"/>
                                                                    </a:lnTo>
                                                                    <a:lnTo>
                                                                      <a:pt x="146" y="140"/>
                                                                    </a:lnTo>
                                                                    <a:lnTo>
                                                                      <a:pt x="146" y="140"/>
                                                                    </a:lnTo>
                                                                    <a:lnTo>
                                                                      <a:pt x="150" y="138"/>
                                                                    </a:lnTo>
                                                                    <a:lnTo>
                                                                      <a:pt x="152" y="138"/>
                                                                    </a:lnTo>
                                                                    <a:lnTo>
                                                                      <a:pt x="150" y="138"/>
                                                                    </a:lnTo>
                                                                    <a:lnTo>
                                                                      <a:pt x="150" y="138"/>
                                                                    </a:lnTo>
                                                                    <a:lnTo>
                                                                      <a:pt x="148" y="134"/>
                                                                    </a:lnTo>
                                                                    <a:lnTo>
                                                                      <a:pt x="148" y="132"/>
                                                                    </a:lnTo>
                                                                    <a:lnTo>
                                                                      <a:pt x="146" y="128"/>
                                                                    </a:lnTo>
                                                                    <a:lnTo>
                                                                      <a:pt x="144" y="124"/>
                                                                    </a:lnTo>
                                                                    <a:lnTo>
                                                                      <a:pt x="144" y="124"/>
                                                                    </a:lnTo>
                                                                    <a:lnTo>
                                                                      <a:pt x="144" y="122"/>
                                                                    </a:lnTo>
                                                                    <a:lnTo>
                                                                      <a:pt x="144" y="120"/>
                                                                    </a:lnTo>
                                                                    <a:lnTo>
                                                                      <a:pt x="142" y="118"/>
                                                                    </a:lnTo>
                                                                    <a:lnTo>
                                                                      <a:pt x="140" y="114"/>
                                                                    </a:lnTo>
                                                                    <a:lnTo>
                                                                      <a:pt x="140" y="114"/>
                                                                    </a:lnTo>
                                                                    <a:lnTo>
                                                                      <a:pt x="138" y="108"/>
                                                                    </a:lnTo>
                                                                    <a:lnTo>
                                                                      <a:pt x="138" y="106"/>
                                                                    </a:lnTo>
                                                                    <a:lnTo>
                                                                      <a:pt x="138" y="104"/>
                                                                    </a:lnTo>
                                                                    <a:lnTo>
                                                                      <a:pt x="138" y="102"/>
                                                                    </a:lnTo>
                                                                    <a:lnTo>
                                                                      <a:pt x="138" y="102"/>
                                                                    </a:lnTo>
                                                                    <a:lnTo>
                                                                      <a:pt x="136" y="100"/>
                                                                    </a:lnTo>
                                                                    <a:lnTo>
                                                                      <a:pt x="138" y="100"/>
                                                                    </a:lnTo>
                                                                    <a:lnTo>
                                                                      <a:pt x="136" y="98"/>
                                                                    </a:lnTo>
                                                                    <a:lnTo>
                                                                      <a:pt x="134" y="98"/>
                                                                    </a:lnTo>
                                                                    <a:lnTo>
                                                                      <a:pt x="134" y="98"/>
                                                                    </a:lnTo>
                                                                    <a:lnTo>
                                                                      <a:pt x="132" y="96"/>
                                                                    </a:lnTo>
                                                                    <a:lnTo>
                                                                      <a:pt x="130" y="96"/>
                                                                    </a:lnTo>
                                                                    <a:lnTo>
                                                                      <a:pt x="128" y="94"/>
                                                                    </a:lnTo>
                                                                    <a:lnTo>
                                                                      <a:pt x="126" y="94"/>
                                                                    </a:lnTo>
                                                                    <a:lnTo>
                                                                      <a:pt x="126" y="94"/>
                                                                    </a:lnTo>
                                                                    <a:lnTo>
                                                                      <a:pt x="124" y="94"/>
                                                                    </a:lnTo>
                                                                    <a:lnTo>
                                                                      <a:pt x="122" y="92"/>
                                                                    </a:lnTo>
                                                                    <a:lnTo>
                                                                      <a:pt x="122" y="92"/>
                                                                    </a:lnTo>
                                                                    <a:lnTo>
                                                                      <a:pt x="120" y="92"/>
                                                                    </a:lnTo>
                                                                    <a:lnTo>
                                                                      <a:pt x="120" y="92"/>
                                                                    </a:lnTo>
                                                                    <a:lnTo>
                                                                      <a:pt x="116" y="90"/>
                                                                    </a:lnTo>
                                                                    <a:lnTo>
                                                                      <a:pt x="112" y="88"/>
                                                                    </a:lnTo>
                                                                    <a:lnTo>
                                                                      <a:pt x="108" y="86"/>
                                                                    </a:lnTo>
                                                                    <a:lnTo>
                                                                      <a:pt x="102" y="90"/>
                                                                    </a:lnTo>
                                                                    <a:lnTo>
                                                                      <a:pt x="102" y="90"/>
                                                                    </a:lnTo>
                                                                    <a:lnTo>
                                                                      <a:pt x="96" y="92"/>
                                                                    </a:lnTo>
                                                                    <a:lnTo>
                                                                      <a:pt x="92" y="92"/>
                                                                    </a:lnTo>
                                                                    <a:lnTo>
                                                                      <a:pt x="92" y="92"/>
                                                                    </a:lnTo>
                                                                    <a:lnTo>
                                                                      <a:pt x="88" y="92"/>
                                                                    </a:lnTo>
                                                                    <a:lnTo>
                                                                      <a:pt x="88" y="92"/>
                                                                    </a:lnTo>
                                                                    <a:lnTo>
                                                                      <a:pt x="86" y="92"/>
                                                                    </a:lnTo>
                                                                    <a:lnTo>
                                                                      <a:pt x="80" y="92"/>
                                                                    </a:lnTo>
                                                                    <a:lnTo>
                                                                      <a:pt x="76" y="90"/>
                                                                    </a:lnTo>
                                                                    <a:lnTo>
                                                                      <a:pt x="70" y="92"/>
                                                                    </a:lnTo>
                                                                    <a:lnTo>
                                                                      <a:pt x="70" y="92"/>
                                                                    </a:lnTo>
                                                                    <a:lnTo>
                                                                      <a:pt x="68" y="94"/>
                                                                    </a:lnTo>
                                                                    <a:lnTo>
                                                                      <a:pt x="62" y="94"/>
                                                                    </a:lnTo>
                                                                    <a:lnTo>
                                                                      <a:pt x="56" y="94"/>
                                                                    </a:lnTo>
                                                                    <a:lnTo>
                                                                      <a:pt x="52" y="96"/>
                                                                    </a:lnTo>
                                                                    <a:lnTo>
                                                                      <a:pt x="52" y="96"/>
                                                                    </a:lnTo>
                                                                    <a:lnTo>
                                                                      <a:pt x="50" y="96"/>
                                                                    </a:lnTo>
                                                                    <a:lnTo>
                                                                      <a:pt x="46" y="94"/>
                                                                    </a:lnTo>
                                                                    <a:lnTo>
                                                                      <a:pt x="42" y="94"/>
                                                                    </a:lnTo>
                                                                    <a:lnTo>
                                                                      <a:pt x="38" y="96"/>
                                                                    </a:lnTo>
                                                                    <a:lnTo>
                                                                      <a:pt x="38" y="96"/>
                                                                    </a:lnTo>
                                                                    <a:lnTo>
                                                                      <a:pt x="36" y="98"/>
                                                                    </a:lnTo>
                                                                    <a:lnTo>
                                                                      <a:pt x="36" y="98"/>
                                                                    </a:lnTo>
                                                                    <a:lnTo>
                                                                      <a:pt x="34" y="96"/>
                                                                    </a:lnTo>
                                                                    <a:lnTo>
                                                                      <a:pt x="30" y="98"/>
                                                                    </a:lnTo>
                                                                    <a:lnTo>
                                                                      <a:pt x="30" y="98"/>
                                                                    </a:lnTo>
                                                                    <a:lnTo>
                                                                      <a:pt x="26" y="98"/>
                                                                    </a:lnTo>
                                                                    <a:lnTo>
                                                                      <a:pt x="24" y="96"/>
                                                                    </a:lnTo>
                                                                    <a:lnTo>
                                                                      <a:pt x="22" y="96"/>
                                                                    </a:lnTo>
                                                                    <a:lnTo>
                                                                      <a:pt x="20" y="98"/>
                                                                    </a:lnTo>
                                                                    <a:lnTo>
                                                                      <a:pt x="20" y="98"/>
                                                                    </a:lnTo>
                                                                    <a:lnTo>
                                                                      <a:pt x="18" y="98"/>
                                                                    </a:lnTo>
                                                                    <a:lnTo>
                                                                      <a:pt x="16" y="96"/>
                                                                    </a:lnTo>
                                                                    <a:lnTo>
                                                                      <a:pt x="12" y="96"/>
                                                                    </a:lnTo>
                                                                    <a:lnTo>
                                                                      <a:pt x="6" y="98"/>
                                                                    </a:lnTo>
                                                                    <a:lnTo>
                                                                      <a:pt x="6" y="98"/>
                                                                    </a:lnTo>
                                                                    <a:close/>
                                                                  </a:path>
                                                                </a:pathLst>
                                                              </a:custGeom>
                                                              <a:solidFill>
                                                                <a:schemeClr val="accent3"/>
                                                              </a:solid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0" name="Croatia and Slovenia"/>
                                                              <p:cNvSpPr>
                                                                <a:spLocks/>
                                                              </p:cNvSpPr>
                                                              <p:nvPr/>
                                                            </p:nvSpPr>
                                                            <p:spPr bwMode="auto">
                                                              <a:xfrm>
                                                                <a:off x="6152401" y="1969889"/>
                                                                <a:ext cx="203159" cy="148707"/>
                                                              </a:xfrm>
                                                              <a:custGeom>
                                                                <a:avLst/>
                                                                <a:gdLst/>
                                                                <a:ahLst/>
                                                                <a:cxnLst/>
                                                                <a:rect l="l" t="t" r="r" b="b"/>
                                                                <a:pathLst>
                                                                  <a:path w="203159" h="148707">
                                                                    <a:moveTo>
                                                                      <a:pt x="60753" y="0"/>
                                                                    </a:moveTo>
                                                                    <a:lnTo>
                                                                      <a:pt x="66828" y="3035"/>
                                                                    </a:lnTo>
                                                                    <a:lnTo>
                                                                      <a:pt x="72904" y="6070"/>
                                                                    </a:lnTo>
                                                                    <a:lnTo>
                                                                      <a:pt x="75941" y="3035"/>
                                                                    </a:lnTo>
                                                                    <a:lnTo>
                                                                      <a:pt x="75941" y="0"/>
                                                                    </a:lnTo>
                                                                    <a:lnTo>
                                                                      <a:pt x="82017" y="3035"/>
                                                                    </a:lnTo>
                                                                    <a:lnTo>
                                                                      <a:pt x="85054" y="3035"/>
                                                                    </a:lnTo>
                                                                    <a:lnTo>
                                                                      <a:pt x="85054" y="6070"/>
                                                                    </a:lnTo>
                                                                    <a:lnTo>
                                                                      <a:pt x="88092" y="9105"/>
                                                                    </a:lnTo>
                                                                    <a:lnTo>
                                                                      <a:pt x="88092" y="12139"/>
                                                                    </a:lnTo>
                                                                    <a:lnTo>
                                                                      <a:pt x="91129" y="15174"/>
                                                                    </a:lnTo>
                                                                    <a:lnTo>
                                                                      <a:pt x="103280" y="21244"/>
                                                                    </a:lnTo>
                                                                    <a:lnTo>
                                                                      <a:pt x="109355" y="24279"/>
                                                                    </a:lnTo>
                                                                    <a:lnTo>
                                                                      <a:pt x="118468" y="27314"/>
                                                                    </a:lnTo>
                                                                    <a:lnTo>
                                                                      <a:pt x="127581" y="30348"/>
                                                                    </a:lnTo>
                                                                    <a:lnTo>
                                                                      <a:pt x="130619" y="33383"/>
                                                                    </a:lnTo>
                                                                    <a:lnTo>
                                                                      <a:pt x="136694" y="33383"/>
                                                                    </a:lnTo>
                                                                    <a:lnTo>
                                                                      <a:pt x="142769" y="30348"/>
                                                                    </a:lnTo>
                                                                    <a:lnTo>
                                                                      <a:pt x="145807" y="24279"/>
                                                                    </a:lnTo>
                                                                    <a:lnTo>
                                                                      <a:pt x="157957" y="21244"/>
                                                                    </a:lnTo>
                                                                    <a:lnTo>
                                                                      <a:pt x="164033" y="21244"/>
                                                                    </a:lnTo>
                                                                    <a:lnTo>
                                                                      <a:pt x="167070" y="21244"/>
                                                                    </a:lnTo>
                                                                    <a:lnTo>
                                                                      <a:pt x="170108" y="24279"/>
                                                                    </a:lnTo>
                                                                    <a:lnTo>
                                                                      <a:pt x="182259" y="21244"/>
                                                                    </a:lnTo>
                                                                    <a:lnTo>
                                                                      <a:pt x="197447" y="21244"/>
                                                                    </a:lnTo>
                                                                    <a:lnTo>
                                                                      <a:pt x="200484" y="21244"/>
                                                                    </a:lnTo>
                                                                    <a:lnTo>
                                                                      <a:pt x="203159" y="26588"/>
                                                                    </a:lnTo>
                                                                    <a:lnTo>
                                                                      <a:pt x="203159" y="139422"/>
                                                                    </a:lnTo>
                                                                    <a:lnTo>
                                                                      <a:pt x="197447" y="136568"/>
                                                                    </a:lnTo>
                                                                    <a:lnTo>
                                                                      <a:pt x="188334" y="136568"/>
                                                                    </a:lnTo>
                                                                    <a:lnTo>
                                                                      <a:pt x="179221" y="139603"/>
                                                                    </a:lnTo>
                                                                    <a:lnTo>
                                                                      <a:pt x="179221" y="142638"/>
                                                                    </a:lnTo>
                                                                    <a:lnTo>
                                                                      <a:pt x="182259" y="145673"/>
                                                                    </a:lnTo>
                                                                    <a:lnTo>
                                                                      <a:pt x="179221" y="148707"/>
                                                                    </a:lnTo>
                                                                    <a:lnTo>
                                                                      <a:pt x="176183" y="145673"/>
                                                                    </a:lnTo>
                                                                    <a:lnTo>
                                                                      <a:pt x="170108" y="142638"/>
                                                                    </a:lnTo>
                                                                    <a:lnTo>
                                                                      <a:pt x="164033" y="139603"/>
                                                                    </a:lnTo>
                                                                    <a:lnTo>
                                                                      <a:pt x="157957" y="133533"/>
                                                                    </a:lnTo>
                                                                    <a:lnTo>
                                                                      <a:pt x="154920" y="133533"/>
                                                                    </a:lnTo>
                                                                    <a:lnTo>
                                                                      <a:pt x="154920" y="130498"/>
                                                                    </a:lnTo>
                                                                    <a:lnTo>
                                                                      <a:pt x="148845" y="130498"/>
                                                                    </a:lnTo>
                                                                    <a:lnTo>
                                                                      <a:pt x="136694" y="127463"/>
                                                                    </a:lnTo>
                                                                    <a:lnTo>
                                                                      <a:pt x="127581" y="124429"/>
                                                                    </a:lnTo>
                                                                    <a:lnTo>
                                                                      <a:pt x="124543" y="121394"/>
                                                                    </a:lnTo>
                                                                    <a:lnTo>
                                                                      <a:pt x="127581" y="121394"/>
                                                                    </a:lnTo>
                                                                    <a:lnTo>
                                                                      <a:pt x="124543" y="118359"/>
                                                                    </a:lnTo>
                                                                    <a:lnTo>
                                                                      <a:pt x="106318" y="106220"/>
                                                                    </a:lnTo>
                                                                    <a:lnTo>
                                                                      <a:pt x="103280" y="106220"/>
                                                                    </a:lnTo>
                                                                    <a:lnTo>
                                                                      <a:pt x="103280" y="109254"/>
                                                                    </a:lnTo>
                                                                    <a:lnTo>
                                                                      <a:pt x="100242" y="109254"/>
                                                                    </a:lnTo>
                                                                    <a:lnTo>
                                                                      <a:pt x="97205" y="106220"/>
                                                                    </a:lnTo>
                                                                    <a:lnTo>
                                                                      <a:pt x="88092" y="100150"/>
                                                                    </a:lnTo>
                                                                    <a:lnTo>
                                                                      <a:pt x="78979" y="94080"/>
                                                                    </a:lnTo>
                                                                    <a:lnTo>
                                                                      <a:pt x="60753" y="84976"/>
                                                                    </a:lnTo>
                                                                    <a:lnTo>
                                                                      <a:pt x="60753" y="81941"/>
                                                                    </a:lnTo>
                                                                    <a:lnTo>
                                                                      <a:pt x="63791" y="78906"/>
                                                                    </a:lnTo>
                                                                    <a:lnTo>
                                                                      <a:pt x="66828" y="78906"/>
                                                                    </a:lnTo>
                                                                    <a:lnTo>
                                                                      <a:pt x="60753" y="75871"/>
                                                                    </a:lnTo>
                                                                    <a:lnTo>
                                                                      <a:pt x="48602" y="69801"/>
                                                                    </a:lnTo>
                                                                    <a:lnTo>
                                                                      <a:pt x="45565" y="66767"/>
                                                                    </a:lnTo>
                                                                    <a:lnTo>
                                                                      <a:pt x="42527" y="63732"/>
                                                                    </a:lnTo>
                                                                    <a:lnTo>
                                                                      <a:pt x="42527" y="54627"/>
                                                                    </a:lnTo>
                                                                    <a:lnTo>
                                                                      <a:pt x="39490" y="51592"/>
                                                                    </a:lnTo>
                                                                    <a:lnTo>
                                                                      <a:pt x="36452" y="48558"/>
                                                                    </a:lnTo>
                                                                    <a:lnTo>
                                                                      <a:pt x="36452" y="45523"/>
                                                                    </a:lnTo>
                                                                    <a:lnTo>
                                                                      <a:pt x="33414" y="54627"/>
                                                                    </a:lnTo>
                                                                    <a:lnTo>
                                                                      <a:pt x="30377" y="60697"/>
                                                                    </a:lnTo>
                                                                    <a:lnTo>
                                                                      <a:pt x="24301" y="63732"/>
                                                                    </a:lnTo>
                                                                    <a:lnTo>
                                                                      <a:pt x="21264" y="60697"/>
                                                                    </a:lnTo>
                                                                    <a:lnTo>
                                                                      <a:pt x="15188" y="48558"/>
                                                                    </a:lnTo>
                                                                    <a:lnTo>
                                                                      <a:pt x="12151" y="45523"/>
                                                                    </a:lnTo>
                                                                    <a:lnTo>
                                                                      <a:pt x="15188" y="42488"/>
                                                                    </a:lnTo>
                                                                    <a:lnTo>
                                                                      <a:pt x="18226" y="39453"/>
                                                                    </a:lnTo>
                                                                    <a:lnTo>
                                                                      <a:pt x="21264" y="39453"/>
                                                                    </a:lnTo>
                                                                    <a:lnTo>
                                                                      <a:pt x="18226" y="36418"/>
                                                                    </a:lnTo>
                                                                    <a:lnTo>
                                                                      <a:pt x="15188" y="36418"/>
                                                                    </a:lnTo>
                                                                    <a:lnTo>
                                                                      <a:pt x="15188" y="30348"/>
                                                                    </a:lnTo>
                                                                    <a:lnTo>
                                                                      <a:pt x="9113" y="27314"/>
                                                                    </a:lnTo>
                                                                    <a:lnTo>
                                                                      <a:pt x="6076" y="24279"/>
                                                                    </a:lnTo>
                                                                    <a:lnTo>
                                                                      <a:pt x="3038" y="21244"/>
                                                                    </a:lnTo>
                                                                    <a:lnTo>
                                                                      <a:pt x="3038" y="18209"/>
                                                                    </a:lnTo>
                                                                    <a:lnTo>
                                                                      <a:pt x="0" y="15174"/>
                                                                    </a:lnTo>
                                                                    <a:lnTo>
                                                                      <a:pt x="0" y="12139"/>
                                                                    </a:lnTo>
                                                                    <a:lnTo>
                                                                      <a:pt x="21264" y="15174"/>
                                                                    </a:lnTo>
                                                                    <a:lnTo>
                                                                      <a:pt x="30377" y="12139"/>
                                                                    </a:lnTo>
                                                                    <a:lnTo>
                                                                      <a:pt x="39490" y="6070"/>
                                                                    </a:lnTo>
                                                                    <a:lnTo>
                                                                      <a:pt x="42527" y="3035"/>
                                                                    </a:lnTo>
                                                                    <a:lnTo>
                                                                      <a:pt x="45565" y="3035"/>
                                                                    </a:lnTo>
                                                                    <a:lnTo>
                                                                      <a:pt x="51640" y="6070"/>
                                                                    </a:lnTo>
                                                                    <a:lnTo>
                                                                      <a:pt x="54678" y="3035"/>
                                                                    </a:lnTo>
                                                                    <a:close/>
                                                                  </a:path>
                                                                </a:pathLst>
                                                              </a:custGeom>
                                                              <a:solidFill>
                                                                <a:schemeClr val="accent3"/>
                                                              </a:solid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1" name="Romania"/>
                                                              <p:cNvSpPr>
                                                                <a:spLocks/>
                                                              </p:cNvSpPr>
                                                              <p:nvPr/>
                                                            </p:nvSpPr>
                                                            <p:spPr bwMode="auto">
                                                              <a:xfrm>
                                                                <a:off x="6367693" y="1918157"/>
                                                                <a:ext cx="267312" cy="151742"/>
                                                              </a:xfrm>
                                                              <a:custGeom>
                                                                <a:avLst/>
                                                                <a:gdLst/>
                                                                <a:ahLst/>
                                                                <a:cxnLst>
                                                                  <a:cxn ang="0">
                                                                    <a:pos x="8" y="44"/>
                                                                  </a:cxn>
                                                                  <a:cxn ang="0">
                                                                    <a:pos x="20" y="28"/>
                                                                  </a:cxn>
                                                                  <a:cxn ang="0">
                                                                    <a:pos x="22" y="14"/>
                                                                  </a:cxn>
                                                                  <a:cxn ang="0">
                                                                    <a:pos x="36" y="6"/>
                                                                  </a:cxn>
                                                                  <a:cxn ang="0">
                                                                    <a:pos x="44" y="8"/>
                                                                  </a:cxn>
                                                                  <a:cxn ang="0">
                                                                    <a:pos x="54" y="8"/>
                                                                  </a:cxn>
                                                                  <a:cxn ang="0">
                                                                    <a:pos x="60" y="8"/>
                                                                  </a:cxn>
                                                                  <a:cxn ang="0">
                                                                    <a:pos x="70" y="4"/>
                                                                  </a:cxn>
                                                                  <a:cxn ang="0">
                                                                    <a:pos x="80" y="4"/>
                                                                  </a:cxn>
                                                                  <a:cxn ang="0">
                                                                    <a:pos x="94" y="2"/>
                                                                  </a:cxn>
                                                                  <a:cxn ang="0">
                                                                    <a:pos x="112" y="2"/>
                                                                  </a:cxn>
                                                                  <a:cxn ang="0">
                                                                    <a:pos x="120" y="8"/>
                                                                  </a:cxn>
                                                                  <a:cxn ang="0">
                                                                    <a:pos x="126" y="20"/>
                                                                  </a:cxn>
                                                                  <a:cxn ang="0">
                                                                    <a:pos x="132" y="24"/>
                                                                  </a:cxn>
                                                                  <a:cxn ang="0">
                                                                    <a:pos x="134" y="28"/>
                                                                  </a:cxn>
                                                                  <a:cxn ang="0">
                                                                    <a:pos x="136" y="34"/>
                                                                  </a:cxn>
                                                                  <a:cxn ang="0">
                                                                    <a:pos x="136" y="38"/>
                                                                  </a:cxn>
                                                                  <a:cxn ang="0">
                                                                    <a:pos x="138" y="46"/>
                                                                  </a:cxn>
                                                                  <a:cxn ang="0">
                                                                    <a:pos x="142" y="50"/>
                                                                  </a:cxn>
                                                                  <a:cxn ang="0">
                                                                    <a:pos x="144" y="54"/>
                                                                  </a:cxn>
                                                                  <a:cxn ang="0">
                                                                    <a:pos x="152" y="64"/>
                                                                  </a:cxn>
                                                                  <a:cxn ang="0">
                                                                    <a:pos x="158" y="62"/>
                                                                  </a:cxn>
                                                                  <a:cxn ang="0">
                                                                    <a:pos x="176" y="60"/>
                                                                  </a:cxn>
                                                                  <a:cxn ang="0">
                                                                    <a:pos x="174" y="62"/>
                                                                  </a:cxn>
                                                                  <a:cxn ang="0">
                                                                    <a:pos x="174" y="70"/>
                                                                  </a:cxn>
                                                                  <a:cxn ang="0">
                                                                    <a:pos x="168" y="72"/>
                                                                  </a:cxn>
                                                                  <a:cxn ang="0">
                                                                    <a:pos x="166" y="70"/>
                                                                  </a:cxn>
                                                                  <a:cxn ang="0">
                                                                    <a:pos x="164" y="74"/>
                                                                  </a:cxn>
                                                                  <a:cxn ang="0">
                                                                    <a:pos x="164" y="78"/>
                                                                  </a:cxn>
                                                                  <a:cxn ang="0">
                                                                    <a:pos x="162" y="92"/>
                                                                  </a:cxn>
                                                                  <a:cxn ang="0">
                                                                    <a:pos x="162" y="98"/>
                                                                  </a:cxn>
                                                                  <a:cxn ang="0">
                                                                    <a:pos x="150" y="94"/>
                                                                  </a:cxn>
                                                                  <a:cxn ang="0">
                                                                    <a:pos x="130" y="90"/>
                                                                  </a:cxn>
                                                                  <a:cxn ang="0">
                                                                    <a:pos x="122" y="88"/>
                                                                  </a:cxn>
                                                                  <a:cxn ang="0">
                                                                    <a:pos x="102" y="98"/>
                                                                  </a:cxn>
                                                                  <a:cxn ang="0">
                                                                    <a:pos x="92" y="100"/>
                                                                  </a:cxn>
                                                                  <a:cxn ang="0">
                                                                    <a:pos x="72" y="98"/>
                                                                  </a:cxn>
                                                                  <a:cxn ang="0">
                                                                    <a:pos x="56" y="96"/>
                                                                  </a:cxn>
                                                                  <a:cxn ang="0">
                                                                    <a:pos x="50" y="92"/>
                                                                  </a:cxn>
                                                                  <a:cxn ang="0">
                                                                    <a:pos x="42" y="88"/>
                                                                  </a:cxn>
                                                                  <a:cxn ang="0">
                                                                    <a:pos x="42" y="82"/>
                                                                  </a:cxn>
                                                                  <a:cxn ang="0">
                                                                    <a:pos x="38" y="82"/>
                                                                  </a:cxn>
                                                                  <a:cxn ang="0">
                                                                    <a:pos x="30" y="80"/>
                                                                  </a:cxn>
                                                                  <a:cxn ang="0">
                                                                    <a:pos x="24" y="78"/>
                                                                  </a:cxn>
                                                                  <a:cxn ang="0">
                                                                    <a:pos x="20" y="72"/>
                                                                  </a:cxn>
                                                                  <a:cxn ang="0">
                                                                    <a:pos x="16" y="66"/>
                                                                  </a:cxn>
                                                                  <a:cxn ang="0">
                                                                    <a:pos x="10" y="60"/>
                                                                  </a:cxn>
                                                                  <a:cxn ang="0">
                                                                    <a:pos x="6" y="56"/>
                                                                  </a:cxn>
                                                                  <a:cxn ang="0">
                                                                    <a:pos x="0" y="48"/>
                                                                  </a:cxn>
                                                                </a:cxnLst>
                                                                <a:rect l="0" t="0" r="r" b="b"/>
                                                                <a:pathLst>
                                                                  <a:path w="176" h="100">
                                                                    <a:moveTo>
                                                                      <a:pt x="0" y="48"/>
                                                                    </a:moveTo>
                                                                    <a:lnTo>
                                                                      <a:pt x="0" y="48"/>
                                                                    </a:lnTo>
                                                                    <a:lnTo>
                                                                      <a:pt x="4" y="48"/>
                                                                    </a:lnTo>
                                                                    <a:lnTo>
                                                                      <a:pt x="8" y="44"/>
                                                                    </a:lnTo>
                                                                    <a:lnTo>
                                                                      <a:pt x="8" y="44"/>
                                                                    </a:lnTo>
                                                                    <a:lnTo>
                                                                      <a:pt x="16" y="32"/>
                                                                    </a:lnTo>
                                                                    <a:lnTo>
                                                                      <a:pt x="16" y="32"/>
                                                                    </a:lnTo>
                                                                    <a:lnTo>
                                                                      <a:pt x="20" y="28"/>
                                                                    </a:lnTo>
                                                                    <a:lnTo>
                                                                      <a:pt x="22" y="22"/>
                                                                    </a:lnTo>
                                                                    <a:lnTo>
                                                                      <a:pt x="22" y="22"/>
                                                                    </a:lnTo>
                                                                    <a:lnTo>
                                                                      <a:pt x="20" y="18"/>
                                                                    </a:lnTo>
                                                                    <a:lnTo>
                                                                      <a:pt x="22" y="14"/>
                                                                    </a:lnTo>
                                                                    <a:lnTo>
                                                                      <a:pt x="22" y="14"/>
                                                                    </a:lnTo>
                                                                    <a:lnTo>
                                                                      <a:pt x="30" y="8"/>
                                                                    </a:lnTo>
                                                                    <a:lnTo>
                                                                      <a:pt x="30" y="8"/>
                                                                    </a:lnTo>
                                                                    <a:lnTo>
                                                                      <a:pt x="36" y="6"/>
                                                                    </a:lnTo>
                                                                    <a:lnTo>
                                                                      <a:pt x="40" y="6"/>
                                                                    </a:lnTo>
                                                                    <a:lnTo>
                                                                      <a:pt x="42" y="8"/>
                                                                    </a:lnTo>
                                                                    <a:lnTo>
                                                                      <a:pt x="44" y="8"/>
                                                                    </a:lnTo>
                                                                    <a:lnTo>
                                                                      <a:pt x="44" y="8"/>
                                                                    </a:lnTo>
                                                                    <a:lnTo>
                                                                      <a:pt x="46" y="6"/>
                                                                    </a:lnTo>
                                                                    <a:lnTo>
                                                                      <a:pt x="48" y="6"/>
                                                                    </a:lnTo>
                                                                    <a:lnTo>
                                                                      <a:pt x="50" y="8"/>
                                                                    </a:lnTo>
                                                                    <a:lnTo>
                                                                      <a:pt x="54" y="8"/>
                                                                    </a:lnTo>
                                                                    <a:lnTo>
                                                                      <a:pt x="54" y="8"/>
                                                                    </a:lnTo>
                                                                    <a:lnTo>
                                                                      <a:pt x="58" y="6"/>
                                                                    </a:lnTo>
                                                                    <a:lnTo>
                                                                      <a:pt x="60" y="8"/>
                                                                    </a:lnTo>
                                                                    <a:lnTo>
                                                                      <a:pt x="60" y="8"/>
                                                                    </a:lnTo>
                                                                    <a:lnTo>
                                                                      <a:pt x="62" y="6"/>
                                                                    </a:lnTo>
                                                                    <a:lnTo>
                                                                      <a:pt x="62" y="6"/>
                                                                    </a:lnTo>
                                                                    <a:lnTo>
                                                                      <a:pt x="66" y="4"/>
                                                                    </a:lnTo>
                                                                    <a:lnTo>
                                                                      <a:pt x="70" y="4"/>
                                                                    </a:lnTo>
                                                                    <a:lnTo>
                                                                      <a:pt x="74" y="6"/>
                                                                    </a:lnTo>
                                                                    <a:lnTo>
                                                                      <a:pt x="76" y="6"/>
                                                                    </a:lnTo>
                                                                    <a:lnTo>
                                                                      <a:pt x="76" y="6"/>
                                                                    </a:lnTo>
                                                                    <a:lnTo>
                                                                      <a:pt x="80" y="4"/>
                                                                    </a:lnTo>
                                                                    <a:lnTo>
                                                                      <a:pt x="86" y="4"/>
                                                                    </a:lnTo>
                                                                    <a:lnTo>
                                                                      <a:pt x="92" y="4"/>
                                                                    </a:lnTo>
                                                                    <a:lnTo>
                                                                      <a:pt x="94" y="2"/>
                                                                    </a:lnTo>
                                                                    <a:lnTo>
                                                                      <a:pt x="94" y="2"/>
                                                                    </a:lnTo>
                                                                    <a:lnTo>
                                                                      <a:pt x="100" y="0"/>
                                                                    </a:lnTo>
                                                                    <a:lnTo>
                                                                      <a:pt x="104" y="2"/>
                                                                    </a:lnTo>
                                                                    <a:lnTo>
                                                                      <a:pt x="110" y="2"/>
                                                                    </a:lnTo>
                                                                    <a:lnTo>
                                                                      <a:pt x="112" y="2"/>
                                                                    </a:lnTo>
                                                                    <a:lnTo>
                                                                      <a:pt x="112" y="2"/>
                                                                    </a:lnTo>
                                                                    <a:lnTo>
                                                                      <a:pt x="116" y="2"/>
                                                                    </a:lnTo>
                                                                    <a:lnTo>
                                                                      <a:pt x="116" y="2"/>
                                                                    </a:lnTo>
                                                                    <a:lnTo>
                                                                      <a:pt x="120" y="8"/>
                                                                    </a:lnTo>
                                                                    <a:lnTo>
                                                                      <a:pt x="122" y="12"/>
                                                                    </a:lnTo>
                                                                    <a:lnTo>
                                                                      <a:pt x="122" y="12"/>
                                                                    </a:lnTo>
                                                                    <a:lnTo>
                                                                      <a:pt x="124" y="14"/>
                                                                    </a:lnTo>
                                                                    <a:lnTo>
                                                                      <a:pt x="126" y="20"/>
                                                                    </a:lnTo>
                                                                    <a:lnTo>
                                                                      <a:pt x="126" y="20"/>
                                                                    </a:lnTo>
                                                                    <a:lnTo>
                                                                      <a:pt x="128" y="22"/>
                                                                    </a:lnTo>
                                                                    <a:lnTo>
                                                                      <a:pt x="130" y="22"/>
                                                                    </a:lnTo>
                                                                    <a:lnTo>
                                                                      <a:pt x="132" y="24"/>
                                                                    </a:lnTo>
                                                                    <a:lnTo>
                                                                      <a:pt x="132" y="24"/>
                                                                    </a:lnTo>
                                                                    <a:lnTo>
                                                                      <a:pt x="132" y="24"/>
                                                                    </a:lnTo>
                                                                    <a:lnTo>
                                                                      <a:pt x="132" y="26"/>
                                                                    </a:lnTo>
                                                                    <a:lnTo>
                                                                      <a:pt x="134" y="28"/>
                                                                    </a:lnTo>
                                                                    <a:lnTo>
                                                                      <a:pt x="136" y="30"/>
                                                                    </a:lnTo>
                                                                    <a:lnTo>
                                                                      <a:pt x="136" y="32"/>
                                                                    </a:lnTo>
                                                                    <a:lnTo>
                                                                      <a:pt x="136" y="32"/>
                                                                    </a:lnTo>
                                                                    <a:lnTo>
                                                                      <a:pt x="136" y="34"/>
                                                                    </a:lnTo>
                                                                    <a:lnTo>
                                                                      <a:pt x="136" y="36"/>
                                                                    </a:lnTo>
                                                                    <a:lnTo>
                                                                      <a:pt x="136" y="38"/>
                                                                    </a:lnTo>
                                                                    <a:lnTo>
                                                                      <a:pt x="136" y="38"/>
                                                                    </a:lnTo>
                                                                    <a:lnTo>
                                                                      <a:pt x="136" y="38"/>
                                                                    </a:lnTo>
                                                                    <a:lnTo>
                                                                      <a:pt x="136" y="40"/>
                                                                    </a:lnTo>
                                                                    <a:lnTo>
                                                                      <a:pt x="138" y="42"/>
                                                                    </a:lnTo>
                                                                    <a:lnTo>
                                                                      <a:pt x="138" y="46"/>
                                                                    </a:lnTo>
                                                                    <a:lnTo>
                                                                      <a:pt x="138" y="46"/>
                                                                    </a:lnTo>
                                                                    <a:lnTo>
                                                                      <a:pt x="138" y="46"/>
                                                                    </a:lnTo>
                                                                    <a:lnTo>
                                                                      <a:pt x="140" y="48"/>
                                                                    </a:lnTo>
                                                                    <a:lnTo>
                                                                      <a:pt x="142" y="48"/>
                                                                    </a:lnTo>
                                                                    <a:lnTo>
                                                                      <a:pt x="142" y="50"/>
                                                                    </a:lnTo>
                                                                    <a:lnTo>
                                                                      <a:pt x="142" y="50"/>
                                                                    </a:lnTo>
                                                                    <a:lnTo>
                                                                      <a:pt x="144" y="52"/>
                                                                    </a:lnTo>
                                                                    <a:lnTo>
                                                                      <a:pt x="144" y="54"/>
                                                                    </a:lnTo>
                                                                    <a:lnTo>
                                                                      <a:pt x="144" y="54"/>
                                                                    </a:lnTo>
                                                                    <a:lnTo>
                                                                      <a:pt x="144" y="56"/>
                                                                    </a:lnTo>
                                                                    <a:lnTo>
                                                                      <a:pt x="146" y="60"/>
                                                                    </a:lnTo>
                                                                    <a:lnTo>
                                                                      <a:pt x="146" y="60"/>
                                                                    </a:lnTo>
                                                                    <a:lnTo>
                                                                      <a:pt x="152" y="64"/>
                                                                    </a:lnTo>
                                                                    <a:lnTo>
                                                                      <a:pt x="156" y="66"/>
                                                                    </a:lnTo>
                                                                    <a:lnTo>
                                                                      <a:pt x="158" y="64"/>
                                                                    </a:lnTo>
                                                                    <a:lnTo>
                                                                      <a:pt x="158" y="62"/>
                                                                    </a:lnTo>
                                                                    <a:lnTo>
                                                                      <a:pt x="158" y="62"/>
                                                                    </a:lnTo>
                                                                    <a:lnTo>
                                                                      <a:pt x="164" y="60"/>
                                                                    </a:lnTo>
                                                                    <a:lnTo>
                                                                      <a:pt x="166" y="60"/>
                                                                    </a:lnTo>
                                                                    <a:lnTo>
                                                                      <a:pt x="170" y="58"/>
                                                                    </a:lnTo>
                                                                    <a:lnTo>
                                                                      <a:pt x="176" y="60"/>
                                                                    </a:lnTo>
                                                                    <a:lnTo>
                                                                      <a:pt x="176" y="60"/>
                                                                    </a:lnTo>
                                                                    <a:lnTo>
                                                                      <a:pt x="174" y="62"/>
                                                                    </a:lnTo>
                                                                    <a:lnTo>
                                                                      <a:pt x="174" y="62"/>
                                                                    </a:lnTo>
                                                                    <a:lnTo>
                                                                      <a:pt x="174" y="62"/>
                                                                    </a:lnTo>
                                                                    <a:lnTo>
                                                                      <a:pt x="174" y="68"/>
                                                                    </a:lnTo>
                                                                    <a:lnTo>
                                                                      <a:pt x="174" y="68"/>
                                                                    </a:lnTo>
                                                                    <a:lnTo>
                                                                      <a:pt x="174" y="70"/>
                                                                    </a:lnTo>
                                                                    <a:lnTo>
                                                                      <a:pt x="174" y="70"/>
                                                                    </a:lnTo>
                                                                    <a:lnTo>
                                                                      <a:pt x="170" y="70"/>
                                                                    </a:lnTo>
                                                                    <a:lnTo>
                                                                      <a:pt x="170" y="70"/>
                                                                    </a:lnTo>
                                                                    <a:lnTo>
                                                                      <a:pt x="168" y="72"/>
                                                                    </a:lnTo>
                                                                    <a:lnTo>
                                                                      <a:pt x="168" y="72"/>
                                                                    </a:lnTo>
                                                                    <a:lnTo>
                                                                      <a:pt x="168" y="70"/>
                                                                    </a:lnTo>
                                                                    <a:lnTo>
                                                                      <a:pt x="168" y="68"/>
                                                                    </a:lnTo>
                                                                    <a:lnTo>
                                                                      <a:pt x="166" y="70"/>
                                                                    </a:lnTo>
                                                                    <a:lnTo>
                                                                      <a:pt x="166" y="70"/>
                                                                    </a:lnTo>
                                                                    <a:lnTo>
                                                                      <a:pt x="164" y="70"/>
                                                                    </a:lnTo>
                                                                    <a:lnTo>
                                                                      <a:pt x="164" y="70"/>
                                                                    </a:lnTo>
                                                                    <a:lnTo>
                                                                      <a:pt x="166" y="72"/>
                                                                    </a:lnTo>
                                                                    <a:lnTo>
                                                                      <a:pt x="164" y="74"/>
                                                                    </a:lnTo>
                                                                    <a:lnTo>
                                                                      <a:pt x="164" y="74"/>
                                                                    </a:lnTo>
                                                                    <a:lnTo>
                                                                      <a:pt x="164" y="76"/>
                                                                    </a:lnTo>
                                                                    <a:lnTo>
                                                                      <a:pt x="164" y="78"/>
                                                                    </a:lnTo>
                                                                    <a:lnTo>
                                                                      <a:pt x="164" y="78"/>
                                                                    </a:lnTo>
                                                                    <a:lnTo>
                                                                      <a:pt x="162" y="80"/>
                                                                    </a:lnTo>
                                                                    <a:lnTo>
                                                                      <a:pt x="162" y="84"/>
                                                                    </a:lnTo>
                                                                    <a:lnTo>
                                                                      <a:pt x="162" y="84"/>
                                                                    </a:lnTo>
                                                                    <a:lnTo>
                                                                      <a:pt x="162" y="92"/>
                                                                    </a:lnTo>
                                                                    <a:lnTo>
                                                                      <a:pt x="162" y="92"/>
                                                                    </a:lnTo>
                                                                    <a:lnTo>
                                                                      <a:pt x="162" y="96"/>
                                                                    </a:lnTo>
                                                                    <a:lnTo>
                                                                      <a:pt x="162" y="98"/>
                                                                    </a:lnTo>
                                                                    <a:lnTo>
                                                                      <a:pt x="162" y="98"/>
                                                                    </a:lnTo>
                                                                    <a:lnTo>
                                                                      <a:pt x="156" y="96"/>
                                                                    </a:lnTo>
                                                                    <a:lnTo>
                                                                      <a:pt x="154" y="96"/>
                                                                    </a:lnTo>
                                                                    <a:lnTo>
                                                                      <a:pt x="152" y="94"/>
                                                                    </a:lnTo>
                                                                    <a:lnTo>
                                                                      <a:pt x="150" y="94"/>
                                                                    </a:lnTo>
                                                                    <a:lnTo>
                                                                      <a:pt x="150" y="94"/>
                                                                    </a:lnTo>
                                                                    <a:lnTo>
                                                                      <a:pt x="138" y="94"/>
                                                                    </a:lnTo>
                                                                    <a:lnTo>
                                                                      <a:pt x="134" y="92"/>
                                                                    </a:lnTo>
                                                                    <a:lnTo>
                                                                      <a:pt x="130" y="90"/>
                                                                    </a:lnTo>
                                                                    <a:lnTo>
                                                                      <a:pt x="130" y="90"/>
                                                                    </a:lnTo>
                                                                    <a:lnTo>
                                                                      <a:pt x="130" y="88"/>
                                                                    </a:lnTo>
                                                                    <a:lnTo>
                                                                      <a:pt x="128" y="88"/>
                                                                    </a:lnTo>
                                                                    <a:lnTo>
                                                                      <a:pt x="122" y="88"/>
                                                                    </a:lnTo>
                                                                    <a:lnTo>
                                                                      <a:pt x="122" y="88"/>
                                                                    </a:lnTo>
                                                                    <a:lnTo>
                                                                      <a:pt x="112" y="92"/>
                                                                    </a:lnTo>
                                                                    <a:lnTo>
                                                                      <a:pt x="106" y="94"/>
                                                                    </a:lnTo>
                                                                    <a:lnTo>
                                                                      <a:pt x="102" y="98"/>
                                                                    </a:lnTo>
                                                                    <a:lnTo>
                                                                      <a:pt x="102" y="98"/>
                                                                    </a:lnTo>
                                                                    <a:lnTo>
                                                                      <a:pt x="98" y="100"/>
                                                                    </a:lnTo>
                                                                    <a:lnTo>
                                                                      <a:pt x="92" y="100"/>
                                                                    </a:lnTo>
                                                                    <a:lnTo>
                                                                      <a:pt x="92" y="100"/>
                                                                    </a:lnTo>
                                                                    <a:lnTo>
                                                                      <a:pt x="84" y="98"/>
                                                                    </a:lnTo>
                                                                    <a:lnTo>
                                                                      <a:pt x="78" y="98"/>
                                                                    </a:lnTo>
                                                                    <a:lnTo>
                                                                      <a:pt x="78" y="98"/>
                                                                    </a:lnTo>
                                                                    <a:lnTo>
                                                                      <a:pt x="72" y="98"/>
                                                                    </a:lnTo>
                                                                    <a:lnTo>
                                                                      <a:pt x="66" y="98"/>
                                                                    </a:lnTo>
                                                                    <a:lnTo>
                                                                      <a:pt x="66" y="98"/>
                                                                    </a:lnTo>
                                                                    <a:lnTo>
                                                                      <a:pt x="60" y="96"/>
                                                                    </a:lnTo>
                                                                    <a:lnTo>
                                                                      <a:pt x="56" y="96"/>
                                                                    </a:lnTo>
                                                                    <a:lnTo>
                                                                      <a:pt x="56" y="96"/>
                                                                    </a:lnTo>
                                                                    <a:lnTo>
                                                                      <a:pt x="52" y="96"/>
                                                                    </a:lnTo>
                                                                    <a:lnTo>
                                                                      <a:pt x="50" y="92"/>
                                                                    </a:lnTo>
                                                                    <a:lnTo>
                                                                      <a:pt x="50" y="92"/>
                                                                    </a:lnTo>
                                                                    <a:lnTo>
                                                                      <a:pt x="50" y="92"/>
                                                                    </a:lnTo>
                                                                    <a:lnTo>
                                                                      <a:pt x="46" y="90"/>
                                                                    </a:lnTo>
                                                                    <a:lnTo>
                                                                      <a:pt x="46" y="90"/>
                                                                    </a:lnTo>
                                                                    <a:lnTo>
                                                                      <a:pt x="42" y="88"/>
                                                                    </a:lnTo>
                                                                    <a:lnTo>
                                                                      <a:pt x="38" y="86"/>
                                                                    </a:lnTo>
                                                                    <a:lnTo>
                                                                      <a:pt x="38" y="86"/>
                                                                    </a:lnTo>
                                                                    <a:lnTo>
                                                                      <a:pt x="42" y="84"/>
                                                                    </a:lnTo>
                                                                    <a:lnTo>
                                                                      <a:pt x="42" y="82"/>
                                                                    </a:lnTo>
                                                                    <a:lnTo>
                                                                      <a:pt x="42" y="82"/>
                                                                    </a:lnTo>
                                                                    <a:lnTo>
                                                                      <a:pt x="42" y="82"/>
                                                                    </a:lnTo>
                                                                    <a:lnTo>
                                                                      <a:pt x="40" y="82"/>
                                                                    </a:lnTo>
                                                                    <a:lnTo>
                                                                      <a:pt x="38" y="82"/>
                                                                    </a:lnTo>
                                                                    <a:lnTo>
                                                                      <a:pt x="36" y="84"/>
                                                                    </a:lnTo>
                                                                    <a:lnTo>
                                                                      <a:pt x="34" y="84"/>
                                                                    </a:lnTo>
                                                                    <a:lnTo>
                                                                      <a:pt x="34" y="84"/>
                                                                    </a:lnTo>
                                                                    <a:lnTo>
                                                                      <a:pt x="30" y="80"/>
                                                                    </a:lnTo>
                                                                    <a:lnTo>
                                                                      <a:pt x="28" y="78"/>
                                                                    </a:lnTo>
                                                                    <a:lnTo>
                                                                      <a:pt x="26" y="78"/>
                                                                    </a:lnTo>
                                                                    <a:lnTo>
                                                                      <a:pt x="26" y="78"/>
                                                                    </a:lnTo>
                                                                    <a:lnTo>
                                                                      <a:pt x="24" y="78"/>
                                                                    </a:lnTo>
                                                                    <a:lnTo>
                                                                      <a:pt x="22" y="78"/>
                                                                    </a:lnTo>
                                                                    <a:lnTo>
                                                                      <a:pt x="18" y="74"/>
                                                                    </a:lnTo>
                                                                    <a:lnTo>
                                                                      <a:pt x="18" y="74"/>
                                                                    </a:lnTo>
                                                                    <a:lnTo>
                                                                      <a:pt x="20" y="72"/>
                                                                    </a:lnTo>
                                                                    <a:lnTo>
                                                                      <a:pt x="20" y="72"/>
                                                                    </a:lnTo>
                                                                    <a:lnTo>
                                                                      <a:pt x="20" y="70"/>
                                                                    </a:lnTo>
                                                                    <a:lnTo>
                                                                      <a:pt x="20" y="70"/>
                                                                    </a:lnTo>
                                                                    <a:lnTo>
                                                                      <a:pt x="16" y="66"/>
                                                                    </a:lnTo>
                                                                    <a:lnTo>
                                                                      <a:pt x="14" y="64"/>
                                                                    </a:lnTo>
                                                                    <a:lnTo>
                                                                      <a:pt x="14" y="64"/>
                                                                    </a:lnTo>
                                                                    <a:lnTo>
                                                                      <a:pt x="12" y="62"/>
                                                                    </a:lnTo>
                                                                    <a:lnTo>
                                                                      <a:pt x="10" y="60"/>
                                                                    </a:lnTo>
                                                                    <a:lnTo>
                                                                      <a:pt x="8" y="60"/>
                                                                    </a:lnTo>
                                                                    <a:lnTo>
                                                                      <a:pt x="6" y="58"/>
                                                                    </a:lnTo>
                                                                    <a:lnTo>
                                                                      <a:pt x="6" y="58"/>
                                                                    </a:lnTo>
                                                                    <a:lnTo>
                                                                      <a:pt x="6" y="56"/>
                                                                    </a:lnTo>
                                                                    <a:lnTo>
                                                                      <a:pt x="4" y="54"/>
                                                                    </a:lnTo>
                                                                    <a:lnTo>
                                                                      <a:pt x="2" y="52"/>
                                                                    </a:lnTo>
                                                                    <a:lnTo>
                                                                      <a:pt x="0" y="48"/>
                                                                    </a:lnTo>
                                                                    <a:lnTo>
                                                                      <a:pt x="0" y="48"/>
                                                                    </a:lnTo>
                                                                    <a:close/>
                                                                  </a:path>
                                                                </a:pathLst>
                                                              </a:custGeom>
                                                              <a:solidFill>
                                                                <a:schemeClr val="accent3"/>
                                                              </a:solid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sp>
                                                      <p:nvSpPr>
                                                        <p:cNvPr id="464" name="Bulgaria"/>
                                                        <p:cNvSpPr>
                                                          <a:spLocks/>
                                                        </p:cNvSpPr>
                                                        <p:nvPr/>
                                                      </p:nvSpPr>
                                                      <p:spPr bwMode="auto">
                                                        <a:xfrm>
                                                          <a:off x="6426216" y="2053952"/>
                                                          <a:ext cx="182259" cy="84975"/>
                                                        </a:xfrm>
                                                        <a:custGeom>
                                                          <a:avLst/>
                                                          <a:gdLst/>
                                                          <a:ahLst/>
                                                          <a:cxnLst>
                                                            <a:cxn ang="0">
                                                              <a:pos x="112" y="44"/>
                                                            </a:cxn>
                                                            <a:cxn ang="0">
                                                              <a:pos x="110" y="44"/>
                                                            </a:cxn>
                                                            <a:cxn ang="0">
                                                              <a:pos x="110" y="42"/>
                                                            </a:cxn>
                                                            <a:cxn ang="0">
                                                              <a:pos x="106" y="36"/>
                                                            </a:cxn>
                                                            <a:cxn ang="0">
                                                              <a:pos x="104" y="34"/>
                                                            </a:cxn>
                                                            <a:cxn ang="0">
                                                              <a:pos x="104" y="30"/>
                                                            </a:cxn>
                                                            <a:cxn ang="0">
                                                              <a:pos x="106" y="28"/>
                                                            </a:cxn>
                                                            <a:cxn ang="0">
                                                              <a:pos x="110" y="26"/>
                                                            </a:cxn>
                                                            <a:cxn ang="0">
                                                              <a:pos x="114" y="16"/>
                                                            </a:cxn>
                                                            <a:cxn ang="0">
                                                              <a:pos x="118" y="14"/>
                                                            </a:cxn>
                                                            <a:cxn ang="0">
                                                              <a:pos x="120" y="10"/>
                                                            </a:cxn>
                                                            <a:cxn ang="0">
                                                              <a:pos x="110" y="6"/>
                                                            </a:cxn>
                                                            <a:cxn ang="0">
                                                              <a:pos x="96" y="6"/>
                                                            </a:cxn>
                                                            <a:cxn ang="0">
                                                              <a:pos x="88" y="2"/>
                                                            </a:cxn>
                                                            <a:cxn ang="0">
                                                              <a:pos x="80" y="0"/>
                                                            </a:cxn>
                                                            <a:cxn ang="0">
                                                              <a:pos x="64" y="6"/>
                                                            </a:cxn>
                                                            <a:cxn ang="0">
                                                              <a:pos x="56" y="12"/>
                                                            </a:cxn>
                                                            <a:cxn ang="0">
                                                              <a:pos x="42" y="10"/>
                                                            </a:cxn>
                                                            <a:cxn ang="0">
                                                              <a:pos x="30" y="10"/>
                                                            </a:cxn>
                                                            <a:cxn ang="0">
                                                              <a:pos x="18" y="8"/>
                                                            </a:cxn>
                                                            <a:cxn ang="0">
                                                              <a:pos x="10" y="8"/>
                                                            </a:cxn>
                                                            <a:cxn ang="0">
                                                              <a:pos x="8" y="4"/>
                                                            </a:cxn>
                                                            <a:cxn ang="0">
                                                              <a:pos x="2" y="4"/>
                                                            </a:cxn>
                                                            <a:cxn ang="0">
                                                              <a:pos x="2" y="10"/>
                                                            </a:cxn>
                                                            <a:cxn ang="0">
                                                              <a:pos x="6" y="20"/>
                                                            </a:cxn>
                                                            <a:cxn ang="0">
                                                              <a:pos x="6" y="26"/>
                                                            </a:cxn>
                                                            <a:cxn ang="0">
                                                              <a:pos x="6" y="32"/>
                                                            </a:cxn>
                                                            <a:cxn ang="0">
                                                              <a:pos x="4" y="36"/>
                                                            </a:cxn>
                                                            <a:cxn ang="0">
                                                              <a:pos x="10" y="40"/>
                                                            </a:cxn>
                                                            <a:cxn ang="0">
                                                              <a:pos x="20" y="56"/>
                                                            </a:cxn>
                                                            <a:cxn ang="0">
                                                              <a:pos x="32" y="56"/>
                                                            </a:cxn>
                                                            <a:cxn ang="0">
                                                              <a:pos x="38" y="52"/>
                                                            </a:cxn>
                                                            <a:cxn ang="0">
                                                              <a:pos x="42" y="54"/>
                                                            </a:cxn>
                                                            <a:cxn ang="0">
                                                              <a:pos x="50" y="54"/>
                                                            </a:cxn>
                                                            <a:cxn ang="0">
                                                              <a:pos x="56" y="56"/>
                                                            </a:cxn>
                                                            <a:cxn ang="0">
                                                              <a:pos x="64" y="56"/>
                                                            </a:cxn>
                                                            <a:cxn ang="0">
                                                              <a:pos x="70" y="56"/>
                                                            </a:cxn>
                                                            <a:cxn ang="0">
                                                              <a:pos x="74" y="54"/>
                                                            </a:cxn>
                                                            <a:cxn ang="0">
                                                              <a:pos x="78" y="52"/>
                                                            </a:cxn>
                                                            <a:cxn ang="0">
                                                              <a:pos x="84" y="48"/>
                                                            </a:cxn>
                                                            <a:cxn ang="0">
                                                              <a:pos x="92" y="44"/>
                                                            </a:cxn>
                                                            <a:cxn ang="0">
                                                              <a:pos x="102" y="46"/>
                                                            </a:cxn>
                                                          </a:cxnLst>
                                                          <a:rect l="0" t="0" r="r" b="b"/>
                                                          <a:pathLst>
                                                            <a:path w="120" h="56">
                                                              <a:moveTo>
                                                                <a:pt x="112" y="46"/>
                                                              </a:moveTo>
                                                              <a:lnTo>
                                                                <a:pt x="112" y="46"/>
                                                              </a:lnTo>
                                                              <a:lnTo>
                                                                <a:pt x="112" y="44"/>
                                                              </a:lnTo>
                                                              <a:lnTo>
                                                                <a:pt x="110" y="44"/>
                                                              </a:lnTo>
                                                              <a:lnTo>
                                                                <a:pt x="110" y="44"/>
                                                              </a:lnTo>
                                                              <a:lnTo>
                                                                <a:pt x="110" y="44"/>
                                                              </a:lnTo>
                                                              <a:lnTo>
                                                                <a:pt x="110" y="44"/>
                                                              </a:lnTo>
                                                              <a:lnTo>
                                                                <a:pt x="110" y="42"/>
                                                              </a:lnTo>
                                                              <a:lnTo>
                                                                <a:pt x="110" y="42"/>
                                                              </a:lnTo>
                                                              <a:lnTo>
                                                                <a:pt x="106" y="38"/>
                                                              </a:lnTo>
                                                              <a:lnTo>
                                                                <a:pt x="106" y="36"/>
                                                              </a:lnTo>
                                                              <a:lnTo>
                                                                <a:pt x="106" y="36"/>
                                                              </a:lnTo>
                                                              <a:lnTo>
                                                                <a:pt x="106" y="36"/>
                                                              </a:lnTo>
                                                              <a:lnTo>
                                                                <a:pt x="106" y="36"/>
                                                              </a:lnTo>
                                                              <a:lnTo>
                                                                <a:pt x="104" y="34"/>
                                                              </a:lnTo>
                                                              <a:lnTo>
                                                                <a:pt x="104" y="34"/>
                                                              </a:lnTo>
                                                              <a:lnTo>
                                                                <a:pt x="104" y="34"/>
                                                              </a:lnTo>
                                                              <a:lnTo>
                                                                <a:pt x="104" y="30"/>
                                                              </a:lnTo>
                                                              <a:lnTo>
                                                                <a:pt x="104" y="30"/>
                                                              </a:lnTo>
                                                              <a:lnTo>
                                                                <a:pt x="106" y="28"/>
                                                              </a:lnTo>
                                                              <a:lnTo>
                                                                <a:pt x="106" y="28"/>
                                                              </a:lnTo>
                                                              <a:lnTo>
                                                                <a:pt x="108" y="28"/>
                                                              </a:lnTo>
                                                              <a:lnTo>
                                                                <a:pt x="110" y="26"/>
                                                              </a:lnTo>
                                                              <a:lnTo>
                                                                <a:pt x="110" y="26"/>
                                                              </a:lnTo>
                                                              <a:lnTo>
                                                                <a:pt x="112" y="20"/>
                                                              </a:lnTo>
                                                              <a:lnTo>
                                                                <a:pt x="114" y="16"/>
                                                              </a:lnTo>
                                                              <a:lnTo>
                                                                <a:pt x="114" y="16"/>
                                                              </a:lnTo>
                                                              <a:lnTo>
                                                                <a:pt x="116" y="12"/>
                                                              </a:lnTo>
                                                              <a:lnTo>
                                                                <a:pt x="118" y="14"/>
                                                              </a:lnTo>
                                                              <a:lnTo>
                                                                <a:pt x="118" y="14"/>
                                                              </a:lnTo>
                                                              <a:lnTo>
                                                                <a:pt x="120" y="14"/>
                                                              </a:lnTo>
                                                              <a:lnTo>
                                                                <a:pt x="120" y="10"/>
                                                              </a:lnTo>
                                                              <a:lnTo>
                                                                <a:pt x="120" y="10"/>
                                                              </a:lnTo>
                                                              <a:lnTo>
                                                                <a:pt x="114" y="8"/>
                                                              </a:lnTo>
                                                              <a:lnTo>
                                                                <a:pt x="112" y="8"/>
                                                              </a:lnTo>
                                                              <a:lnTo>
                                                                <a:pt x="110" y="6"/>
                                                              </a:lnTo>
                                                              <a:lnTo>
                                                                <a:pt x="108" y="6"/>
                                                              </a:lnTo>
                                                              <a:lnTo>
                                                                <a:pt x="108" y="6"/>
                                                              </a:lnTo>
                                                              <a:lnTo>
                                                                <a:pt x="96" y="6"/>
                                                              </a:lnTo>
                                                              <a:lnTo>
                                                                <a:pt x="92" y="4"/>
                                                              </a:lnTo>
                                                              <a:lnTo>
                                                                <a:pt x="88" y="2"/>
                                                              </a:lnTo>
                                                              <a:lnTo>
                                                                <a:pt x="88" y="2"/>
                                                              </a:lnTo>
                                                              <a:lnTo>
                                                                <a:pt x="88" y="0"/>
                                                              </a:lnTo>
                                                              <a:lnTo>
                                                                <a:pt x="86" y="0"/>
                                                              </a:lnTo>
                                                              <a:lnTo>
                                                                <a:pt x="80" y="0"/>
                                                              </a:lnTo>
                                                              <a:lnTo>
                                                                <a:pt x="80" y="0"/>
                                                              </a:lnTo>
                                                              <a:lnTo>
                                                                <a:pt x="70" y="4"/>
                                                              </a:lnTo>
                                                              <a:lnTo>
                                                                <a:pt x="64" y="6"/>
                                                              </a:lnTo>
                                                              <a:lnTo>
                                                                <a:pt x="60" y="10"/>
                                                              </a:lnTo>
                                                              <a:lnTo>
                                                                <a:pt x="60" y="10"/>
                                                              </a:lnTo>
                                                              <a:lnTo>
                                                                <a:pt x="56" y="12"/>
                                                              </a:lnTo>
                                                              <a:lnTo>
                                                                <a:pt x="50" y="12"/>
                                                              </a:lnTo>
                                                              <a:lnTo>
                                                                <a:pt x="50" y="12"/>
                                                              </a:lnTo>
                                                              <a:lnTo>
                                                                <a:pt x="42" y="10"/>
                                                              </a:lnTo>
                                                              <a:lnTo>
                                                                <a:pt x="36" y="10"/>
                                                              </a:lnTo>
                                                              <a:lnTo>
                                                                <a:pt x="36" y="10"/>
                                                              </a:lnTo>
                                                              <a:lnTo>
                                                                <a:pt x="30" y="10"/>
                                                              </a:lnTo>
                                                              <a:lnTo>
                                                                <a:pt x="24" y="10"/>
                                                              </a:lnTo>
                                                              <a:lnTo>
                                                                <a:pt x="24" y="10"/>
                                                              </a:lnTo>
                                                              <a:lnTo>
                                                                <a:pt x="18" y="8"/>
                                                              </a:lnTo>
                                                              <a:lnTo>
                                                                <a:pt x="14" y="8"/>
                                                              </a:lnTo>
                                                              <a:lnTo>
                                                                <a:pt x="14" y="8"/>
                                                              </a:lnTo>
                                                              <a:lnTo>
                                                                <a:pt x="10" y="8"/>
                                                              </a:lnTo>
                                                              <a:lnTo>
                                                                <a:pt x="8" y="4"/>
                                                              </a:lnTo>
                                                              <a:lnTo>
                                                                <a:pt x="8" y="4"/>
                                                              </a:lnTo>
                                                              <a:lnTo>
                                                                <a:pt x="8" y="4"/>
                                                              </a:lnTo>
                                                              <a:lnTo>
                                                                <a:pt x="4" y="2"/>
                                                              </a:lnTo>
                                                              <a:lnTo>
                                                                <a:pt x="4" y="2"/>
                                                              </a:lnTo>
                                                              <a:lnTo>
                                                                <a:pt x="2" y="4"/>
                                                              </a:lnTo>
                                                              <a:lnTo>
                                                                <a:pt x="0" y="6"/>
                                                              </a:lnTo>
                                                              <a:lnTo>
                                                                <a:pt x="2" y="10"/>
                                                              </a:lnTo>
                                                              <a:lnTo>
                                                                <a:pt x="2" y="10"/>
                                                              </a:lnTo>
                                                              <a:lnTo>
                                                                <a:pt x="4" y="16"/>
                                                              </a:lnTo>
                                                              <a:lnTo>
                                                                <a:pt x="6" y="20"/>
                                                              </a:lnTo>
                                                              <a:lnTo>
                                                                <a:pt x="6" y="20"/>
                                                              </a:lnTo>
                                                              <a:lnTo>
                                                                <a:pt x="8" y="24"/>
                                                              </a:lnTo>
                                                              <a:lnTo>
                                                                <a:pt x="6" y="26"/>
                                                              </a:lnTo>
                                                              <a:lnTo>
                                                                <a:pt x="6" y="26"/>
                                                              </a:lnTo>
                                                              <a:lnTo>
                                                                <a:pt x="4" y="28"/>
                                                              </a:lnTo>
                                                              <a:lnTo>
                                                                <a:pt x="6" y="30"/>
                                                              </a:lnTo>
                                                              <a:lnTo>
                                                                <a:pt x="6" y="32"/>
                                                              </a:lnTo>
                                                              <a:lnTo>
                                                                <a:pt x="6" y="34"/>
                                                              </a:lnTo>
                                                              <a:lnTo>
                                                                <a:pt x="6" y="34"/>
                                                              </a:lnTo>
                                                              <a:lnTo>
                                                                <a:pt x="4" y="36"/>
                                                              </a:lnTo>
                                                              <a:lnTo>
                                                                <a:pt x="6" y="38"/>
                                                              </a:lnTo>
                                                              <a:lnTo>
                                                                <a:pt x="10" y="40"/>
                                                              </a:lnTo>
                                                              <a:lnTo>
                                                                <a:pt x="10" y="40"/>
                                                              </a:lnTo>
                                                              <a:lnTo>
                                                                <a:pt x="18" y="46"/>
                                                              </a:lnTo>
                                                              <a:lnTo>
                                                                <a:pt x="20" y="52"/>
                                                              </a:lnTo>
                                                              <a:lnTo>
                                                                <a:pt x="20" y="56"/>
                                                              </a:lnTo>
                                                              <a:lnTo>
                                                                <a:pt x="20" y="56"/>
                                                              </a:lnTo>
                                                              <a:lnTo>
                                                                <a:pt x="28" y="56"/>
                                                              </a:lnTo>
                                                              <a:lnTo>
                                                                <a:pt x="32" y="56"/>
                                                              </a:lnTo>
                                                              <a:lnTo>
                                                                <a:pt x="34" y="56"/>
                                                              </a:lnTo>
                                                              <a:lnTo>
                                                                <a:pt x="34" y="56"/>
                                                              </a:lnTo>
                                                              <a:lnTo>
                                                                <a:pt x="38" y="52"/>
                                                              </a:lnTo>
                                                              <a:lnTo>
                                                                <a:pt x="40" y="52"/>
                                                              </a:lnTo>
                                                              <a:lnTo>
                                                                <a:pt x="42" y="54"/>
                                                              </a:lnTo>
                                                              <a:lnTo>
                                                                <a:pt x="42" y="54"/>
                                                              </a:lnTo>
                                                              <a:lnTo>
                                                                <a:pt x="46" y="54"/>
                                                              </a:lnTo>
                                                              <a:lnTo>
                                                                <a:pt x="50" y="54"/>
                                                              </a:lnTo>
                                                              <a:lnTo>
                                                                <a:pt x="50" y="54"/>
                                                              </a:lnTo>
                                                              <a:lnTo>
                                                                <a:pt x="54" y="56"/>
                                                              </a:lnTo>
                                                              <a:lnTo>
                                                                <a:pt x="56" y="56"/>
                                                              </a:lnTo>
                                                              <a:lnTo>
                                                                <a:pt x="56" y="56"/>
                                                              </a:lnTo>
                                                              <a:lnTo>
                                                                <a:pt x="62" y="56"/>
                                                              </a:lnTo>
                                                              <a:lnTo>
                                                                <a:pt x="64" y="56"/>
                                                              </a:lnTo>
                                                              <a:lnTo>
                                                                <a:pt x="64" y="56"/>
                                                              </a:lnTo>
                                                              <a:lnTo>
                                                                <a:pt x="64" y="56"/>
                                                              </a:lnTo>
                                                              <a:lnTo>
                                                                <a:pt x="66" y="54"/>
                                                              </a:lnTo>
                                                              <a:lnTo>
                                                                <a:pt x="70" y="56"/>
                                                              </a:lnTo>
                                                              <a:lnTo>
                                                                <a:pt x="74" y="56"/>
                                                              </a:lnTo>
                                                              <a:lnTo>
                                                                <a:pt x="74" y="54"/>
                                                              </a:lnTo>
                                                              <a:lnTo>
                                                                <a:pt x="74" y="54"/>
                                                              </a:lnTo>
                                                              <a:lnTo>
                                                                <a:pt x="74" y="54"/>
                                                              </a:lnTo>
                                                              <a:lnTo>
                                                                <a:pt x="74" y="50"/>
                                                              </a:lnTo>
                                                              <a:lnTo>
                                                                <a:pt x="78" y="52"/>
                                                              </a:lnTo>
                                                              <a:lnTo>
                                                                <a:pt x="78" y="52"/>
                                                              </a:lnTo>
                                                              <a:lnTo>
                                                                <a:pt x="80" y="48"/>
                                                              </a:lnTo>
                                                              <a:lnTo>
                                                                <a:pt x="84" y="48"/>
                                                              </a:lnTo>
                                                              <a:lnTo>
                                                                <a:pt x="84" y="48"/>
                                                              </a:lnTo>
                                                              <a:lnTo>
                                                                <a:pt x="88" y="44"/>
                                                              </a:lnTo>
                                                              <a:lnTo>
                                                                <a:pt x="92" y="44"/>
                                                              </a:lnTo>
                                                              <a:lnTo>
                                                                <a:pt x="94" y="44"/>
                                                              </a:lnTo>
                                                              <a:lnTo>
                                                                <a:pt x="94" y="44"/>
                                                              </a:lnTo>
                                                              <a:lnTo>
                                                                <a:pt x="102" y="46"/>
                                                              </a:lnTo>
                                                              <a:lnTo>
                                                                <a:pt x="112" y="46"/>
                                                              </a:lnTo>
                                                              <a:lnTo>
                                                                <a:pt x="112" y="46"/>
                                                              </a:lnTo>
                                                              <a:close/>
                                                            </a:path>
                                                          </a:pathLst>
                                                        </a:custGeom>
                                                        <a:solidFill>
                                                          <a:schemeClr val="accent3"/>
                                                        </a:solid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grpSp>
                                            <p:sp>
                                              <p:nvSpPr>
                                                <p:cNvPr id="468" name="Iraq"/>
                                                <p:cNvSpPr>
                                                  <a:spLocks/>
                                                </p:cNvSpPr>
                                                <p:nvPr/>
                                              </p:nvSpPr>
                                              <p:spPr bwMode="auto">
                                                <a:xfrm>
                                                  <a:off x="6944225" y="2276408"/>
                                                  <a:ext cx="331103" cy="282240"/>
                                                </a:xfrm>
                                                <a:custGeom>
                                                  <a:avLst/>
                                                  <a:gdLst/>
                                                  <a:ahLst/>
                                                  <a:cxnLst>
                                                    <a:cxn ang="0">
                                                      <a:pos x="34" y="126"/>
                                                    </a:cxn>
                                                    <a:cxn ang="0">
                                                      <a:pos x="72" y="142"/>
                                                    </a:cxn>
                                                    <a:cxn ang="0">
                                                      <a:pos x="94" y="158"/>
                                                    </a:cxn>
                                                    <a:cxn ang="0">
                                                      <a:pos x="120" y="180"/>
                                                    </a:cxn>
                                                    <a:cxn ang="0">
                                                      <a:pos x="172" y="186"/>
                                                    </a:cxn>
                                                    <a:cxn ang="0">
                                                      <a:pos x="182" y="180"/>
                                                    </a:cxn>
                                                    <a:cxn ang="0">
                                                      <a:pos x="192" y="168"/>
                                                    </a:cxn>
                                                    <a:cxn ang="0">
                                                      <a:pos x="202" y="172"/>
                                                    </a:cxn>
                                                    <a:cxn ang="0">
                                                      <a:pos x="208" y="170"/>
                                                    </a:cxn>
                                                    <a:cxn ang="0">
                                                      <a:pos x="214" y="176"/>
                                                    </a:cxn>
                                                    <a:cxn ang="0">
                                                      <a:pos x="218" y="172"/>
                                                    </a:cxn>
                                                    <a:cxn ang="0">
                                                      <a:pos x="212" y="160"/>
                                                    </a:cxn>
                                                    <a:cxn ang="0">
                                                      <a:pos x="204" y="158"/>
                                                    </a:cxn>
                                                    <a:cxn ang="0">
                                                      <a:pos x="198" y="146"/>
                                                    </a:cxn>
                                                    <a:cxn ang="0">
                                                      <a:pos x="196" y="136"/>
                                                    </a:cxn>
                                                    <a:cxn ang="0">
                                                      <a:pos x="182" y="116"/>
                                                    </a:cxn>
                                                    <a:cxn ang="0">
                                                      <a:pos x="172" y="108"/>
                                                    </a:cxn>
                                                    <a:cxn ang="0">
                                                      <a:pos x="156" y="100"/>
                                                    </a:cxn>
                                                    <a:cxn ang="0">
                                                      <a:pos x="148" y="94"/>
                                                    </a:cxn>
                                                    <a:cxn ang="0">
                                                      <a:pos x="148" y="86"/>
                                                    </a:cxn>
                                                    <a:cxn ang="0">
                                                      <a:pos x="138" y="78"/>
                                                    </a:cxn>
                                                    <a:cxn ang="0">
                                                      <a:pos x="142" y="74"/>
                                                    </a:cxn>
                                                    <a:cxn ang="0">
                                                      <a:pos x="138" y="68"/>
                                                    </a:cxn>
                                                    <a:cxn ang="0">
                                                      <a:pos x="146" y="50"/>
                                                    </a:cxn>
                                                    <a:cxn ang="0">
                                                      <a:pos x="144" y="44"/>
                                                    </a:cxn>
                                                    <a:cxn ang="0">
                                                      <a:pos x="148" y="36"/>
                                                    </a:cxn>
                                                    <a:cxn ang="0">
                                                      <a:pos x="148" y="32"/>
                                                    </a:cxn>
                                                    <a:cxn ang="0">
                                                      <a:pos x="134" y="32"/>
                                                    </a:cxn>
                                                    <a:cxn ang="0">
                                                      <a:pos x="128" y="22"/>
                                                    </a:cxn>
                                                    <a:cxn ang="0">
                                                      <a:pos x="128" y="20"/>
                                                    </a:cxn>
                                                    <a:cxn ang="0">
                                                      <a:pos x="124" y="18"/>
                                                    </a:cxn>
                                                    <a:cxn ang="0">
                                                      <a:pos x="116" y="8"/>
                                                    </a:cxn>
                                                    <a:cxn ang="0">
                                                      <a:pos x="106" y="10"/>
                                                    </a:cxn>
                                                    <a:cxn ang="0">
                                                      <a:pos x="98" y="6"/>
                                                    </a:cxn>
                                                    <a:cxn ang="0">
                                                      <a:pos x="90" y="4"/>
                                                    </a:cxn>
                                                    <a:cxn ang="0">
                                                      <a:pos x="76" y="0"/>
                                                    </a:cxn>
                                                    <a:cxn ang="0">
                                                      <a:pos x="62" y="6"/>
                                                    </a:cxn>
                                                    <a:cxn ang="0">
                                                      <a:pos x="50" y="16"/>
                                                    </a:cxn>
                                                    <a:cxn ang="0">
                                                      <a:pos x="46" y="26"/>
                                                    </a:cxn>
                                                    <a:cxn ang="0">
                                                      <a:pos x="48" y="42"/>
                                                    </a:cxn>
                                                    <a:cxn ang="0">
                                                      <a:pos x="50" y="58"/>
                                                    </a:cxn>
                                                    <a:cxn ang="0">
                                                      <a:pos x="44" y="64"/>
                                                    </a:cxn>
                                                    <a:cxn ang="0">
                                                      <a:pos x="8" y="110"/>
                                                    </a:cxn>
                                                    <a:cxn ang="0">
                                                      <a:pos x="12" y="124"/>
                                                    </a:cxn>
                                                  </a:cxnLst>
                                                  <a:rect l="0" t="0" r="r" b="b"/>
                                                  <a:pathLst>
                                                    <a:path w="218" h="186">
                                                      <a:moveTo>
                                                        <a:pt x="12" y="124"/>
                                                      </a:moveTo>
                                                      <a:lnTo>
                                                        <a:pt x="12" y="124"/>
                                                      </a:lnTo>
                                                      <a:lnTo>
                                                        <a:pt x="34" y="126"/>
                                                      </a:lnTo>
                                                      <a:lnTo>
                                                        <a:pt x="46" y="128"/>
                                                      </a:lnTo>
                                                      <a:lnTo>
                                                        <a:pt x="72" y="142"/>
                                                      </a:lnTo>
                                                      <a:lnTo>
                                                        <a:pt x="72" y="142"/>
                                                      </a:lnTo>
                                                      <a:lnTo>
                                                        <a:pt x="84" y="146"/>
                                                      </a:lnTo>
                                                      <a:lnTo>
                                                        <a:pt x="88" y="150"/>
                                                      </a:lnTo>
                                                      <a:lnTo>
                                                        <a:pt x="94" y="158"/>
                                                      </a:lnTo>
                                                      <a:lnTo>
                                                        <a:pt x="108" y="170"/>
                                                      </a:lnTo>
                                                      <a:lnTo>
                                                        <a:pt x="108" y="170"/>
                                                      </a:lnTo>
                                                      <a:lnTo>
                                                        <a:pt x="120" y="180"/>
                                                      </a:lnTo>
                                                      <a:lnTo>
                                                        <a:pt x="132" y="184"/>
                                                      </a:lnTo>
                                                      <a:lnTo>
                                                        <a:pt x="148" y="186"/>
                                                      </a:lnTo>
                                                      <a:lnTo>
                                                        <a:pt x="172" y="186"/>
                                                      </a:lnTo>
                                                      <a:lnTo>
                                                        <a:pt x="172" y="186"/>
                                                      </a:lnTo>
                                                      <a:lnTo>
                                                        <a:pt x="178" y="184"/>
                                                      </a:lnTo>
                                                      <a:lnTo>
                                                        <a:pt x="182" y="180"/>
                                                      </a:lnTo>
                                                      <a:lnTo>
                                                        <a:pt x="186" y="172"/>
                                                      </a:lnTo>
                                                      <a:lnTo>
                                                        <a:pt x="188" y="170"/>
                                                      </a:lnTo>
                                                      <a:lnTo>
                                                        <a:pt x="192" y="168"/>
                                                      </a:lnTo>
                                                      <a:lnTo>
                                                        <a:pt x="196" y="170"/>
                                                      </a:lnTo>
                                                      <a:lnTo>
                                                        <a:pt x="202" y="172"/>
                                                      </a:lnTo>
                                                      <a:lnTo>
                                                        <a:pt x="202" y="172"/>
                                                      </a:lnTo>
                                                      <a:lnTo>
                                                        <a:pt x="204" y="168"/>
                                                      </a:lnTo>
                                                      <a:lnTo>
                                                        <a:pt x="206" y="168"/>
                                                      </a:lnTo>
                                                      <a:lnTo>
                                                        <a:pt x="208" y="170"/>
                                                      </a:lnTo>
                                                      <a:lnTo>
                                                        <a:pt x="208" y="170"/>
                                                      </a:lnTo>
                                                      <a:lnTo>
                                                        <a:pt x="212" y="176"/>
                                                      </a:lnTo>
                                                      <a:lnTo>
                                                        <a:pt x="214" y="176"/>
                                                      </a:lnTo>
                                                      <a:lnTo>
                                                        <a:pt x="214" y="174"/>
                                                      </a:lnTo>
                                                      <a:lnTo>
                                                        <a:pt x="218" y="172"/>
                                                      </a:lnTo>
                                                      <a:lnTo>
                                                        <a:pt x="218" y="172"/>
                                                      </a:lnTo>
                                                      <a:lnTo>
                                                        <a:pt x="214" y="166"/>
                                                      </a:lnTo>
                                                      <a:lnTo>
                                                        <a:pt x="212" y="162"/>
                                                      </a:lnTo>
                                                      <a:lnTo>
                                                        <a:pt x="212" y="160"/>
                                                      </a:lnTo>
                                                      <a:lnTo>
                                                        <a:pt x="208" y="158"/>
                                                      </a:lnTo>
                                                      <a:lnTo>
                                                        <a:pt x="208" y="158"/>
                                                      </a:lnTo>
                                                      <a:lnTo>
                                                        <a:pt x="204" y="158"/>
                                                      </a:lnTo>
                                                      <a:lnTo>
                                                        <a:pt x="202" y="154"/>
                                                      </a:lnTo>
                                                      <a:lnTo>
                                                        <a:pt x="200" y="150"/>
                                                      </a:lnTo>
                                                      <a:lnTo>
                                                        <a:pt x="198" y="146"/>
                                                      </a:lnTo>
                                                      <a:lnTo>
                                                        <a:pt x="198" y="146"/>
                                                      </a:lnTo>
                                                      <a:lnTo>
                                                        <a:pt x="198" y="142"/>
                                                      </a:lnTo>
                                                      <a:lnTo>
                                                        <a:pt x="196" y="136"/>
                                                      </a:lnTo>
                                                      <a:lnTo>
                                                        <a:pt x="188" y="120"/>
                                                      </a:lnTo>
                                                      <a:lnTo>
                                                        <a:pt x="188" y="120"/>
                                                      </a:lnTo>
                                                      <a:lnTo>
                                                        <a:pt x="182" y="116"/>
                                                      </a:lnTo>
                                                      <a:lnTo>
                                                        <a:pt x="180" y="114"/>
                                                      </a:lnTo>
                                                      <a:lnTo>
                                                        <a:pt x="178" y="112"/>
                                                      </a:lnTo>
                                                      <a:lnTo>
                                                        <a:pt x="172" y="108"/>
                                                      </a:lnTo>
                                                      <a:lnTo>
                                                        <a:pt x="172" y="108"/>
                                                      </a:lnTo>
                                                      <a:lnTo>
                                                        <a:pt x="164" y="102"/>
                                                      </a:lnTo>
                                                      <a:lnTo>
                                                        <a:pt x="156" y="100"/>
                                                      </a:lnTo>
                                                      <a:lnTo>
                                                        <a:pt x="150" y="98"/>
                                                      </a:lnTo>
                                                      <a:lnTo>
                                                        <a:pt x="148" y="96"/>
                                                      </a:lnTo>
                                                      <a:lnTo>
                                                        <a:pt x="148" y="94"/>
                                                      </a:lnTo>
                                                      <a:lnTo>
                                                        <a:pt x="148" y="94"/>
                                                      </a:lnTo>
                                                      <a:lnTo>
                                                        <a:pt x="148" y="90"/>
                                                      </a:lnTo>
                                                      <a:lnTo>
                                                        <a:pt x="148" y="86"/>
                                                      </a:lnTo>
                                                      <a:lnTo>
                                                        <a:pt x="142" y="82"/>
                                                      </a:lnTo>
                                                      <a:lnTo>
                                                        <a:pt x="138" y="80"/>
                                                      </a:lnTo>
                                                      <a:lnTo>
                                                        <a:pt x="138" y="78"/>
                                                      </a:lnTo>
                                                      <a:lnTo>
                                                        <a:pt x="140" y="76"/>
                                                      </a:lnTo>
                                                      <a:lnTo>
                                                        <a:pt x="140" y="76"/>
                                                      </a:lnTo>
                                                      <a:lnTo>
                                                        <a:pt x="142" y="74"/>
                                                      </a:lnTo>
                                                      <a:lnTo>
                                                        <a:pt x="140" y="74"/>
                                                      </a:lnTo>
                                                      <a:lnTo>
                                                        <a:pt x="138" y="72"/>
                                                      </a:lnTo>
                                                      <a:lnTo>
                                                        <a:pt x="138" y="68"/>
                                                      </a:lnTo>
                                                      <a:lnTo>
                                                        <a:pt x="138" y="68"/>
                                                      </a:lnTo>
                                                      <a:lnTo>
                                                        <a:pt x="144" y="56"/>
                                                      </a:lnTo>
                                                      <a:lnTo>
                                                        <a:pt x="146" y="50"/>
                                                      </a:lnTo>
                                                      <a:lnTo>
                                                        <a:pt x="144" y="48"/>
                                                      </a:lnTo>
                                                      <a:lnTo>
                                                        <a:pt x="144" y="48"/>
                                                      </a:lnTo>
                                                      <a:lnTo>
                                                        <a:pt x="144" y="44"/>
                                                      </a:lnTo>
                                                      <a:lnTo>
                                                        <a:pt x="146" y="42"/>
                                                      </a:lnTo>
                                                      <a:lnTo>
                                                        <a:pt x="146" y="40"/>
                                                      </a:lnTo>
                                                      <a:lnTo>
                                                        <a:pt x="148" y="36"/>
                                                      </a:lnTo>
                                                      <a:lnTo>
                                                        <a:pt x="148" y="36"/>
                                                      </a:lnTo>
                                                      <a:lnTo>
                                                        <a:pt x="148" y="32"/>
                                                      </a:lnTo>
                                                      <a:lnTo>
                                                        <a:pt x="148" y="32"/>
                                                      </a:lnTo>
                                                      <a:lnTo>
                                                        <a:pt x="140" y="34"/>
                                                      </a:lnTo>
                                                      <a:lnTo>
                                                        <a:pt x="140" y="34"/>
                                                      </a:lnTo>
                                                      <a:lnTo>
                                                        <a:pt x="134" y="32"/>
                                                      </a:lnTo>
                                                      <a:lnTo>
                                                        <a:pt x="132" y="28"/>
                                                      </a:lnTo>
                                                      <a:lnTo>
                                                        <a:pt x="130" y="26"/>
                                                      </a:lnTo>
                                                      <a:lnTo>
                                                        <a:pt x="128" y="22"/>
                                                      </a:lnTo>
                                                      <a:lnTo>
                                                        <a:pt x="128" y="22"/>
                                                      </a:lnTo>
                                                      <a:lnTo>
                                                        <a:pt x="126" y="22"/>
                                                      </a:lnTo>
                                                      <a:lnTo>
                                                        <a:pt x="128" y="20"/>
                                                      </a:lnTo>
                                                      <a:lnTo>
                                                        <a:pt x="128" y="20"/>
                                                      </a:lnTo>
                                                      <a:lnTo>
                                                        <a:pt x="124" y="18"/>
                                                      </a:lnTo>
                                                      <a:lnTo>
                                                        <a:pt x="124" y="18"/>
                                                      </a:lnTo>
                                                      <a:lnTo>
                                                        <a:pt x="122" y="14"/>
                                                      </a:lnTo>
                                                      <a:lnTo>
                                                        <a:pt x="120" y="10"/>
                                                      </a:lnTo>
                                                      <a:lnTo>
                                                        <a:pt x="116" y="8"/>
                                                      </a:lnTo>
                                                      <a:lnTo>
                                                        <a:pt x="116" y="8"/>
                                                      </a:lnTo>
                                                      <a:lnTo>
                                                        <a:pt x="108" y="12"/>
                                                      </a:lnTo>
                                                      <a:lnTo>
                                                        <a:pt x="106" y="10"/>
                                                      </a:lnTo>
                                                      <a:lnTo>
                                                        <a:pt x="104" y="6"/>
                                                      </a:lnTo>
                                                      <a:lnTo>
                                                        <a:pt x="102" y="6"/>
                                                      </a:lnTo>
                                                      <a:lnTo>
                                                        <a:pt x="98" y="6"/>
                                                      </a:lnTo>
                                                      <a:lnTo>
                                                        <a:pt x="98" y="6"/>
                                                      </a:lnTo>
                                                      <a:lnTo>
                                                        <a:pt x="94" y="4"/>
                                                      </a:lnTo>
                                                      <a:lnTo>
                                                        <a:pt x="90" y="4"/>
                                                      </a:lnTo>
                                                      <a:lnTo>
                                                        <a:pt x="86" y="2"/>
                                                      </a:lnTo>
                                                      <a:lnTo>
                                                        <a:pt x="76" y="0"/>
                                                      </a:lnTo>
                                                      <a:lnTo>
                                                        <a:pt x="76" y="0"/>
                                                      </a:lnTo>
                                                      <a:lnTo>
                                                        <a:pt x="70" y="0"/>
                                                      </a:lnTo>
                                                      <a:lnTo>
                                                        <a:pt x="66" y="2"/>
                                                      </a:lnTo>
                                                      <a:lnTo>
                                                        <a:pt x="62" y="6"/>
                                                      </a:lnTo>
                                                      <a:lnTo>
                                                        <a:pt x="62" y="6"/>
                                                      </a:lnTo>
                                                      <a:lnTo>
                                                        <a:pt x="56" y="12"/>
                                                      </a:lnTo>
                                                      <a:lnTo>
                                                        <a:pt x="50" y="16"/>
                                                      </a:lnTo>
                                                      <a:lnTo>
                                                        <a:pt x="50" y="16"/>
                                                      </a:lnTo>
                                                      <a:lnTo>
                                                        <a:pt x="46" y="22"/>
                                                      </a:lnTo>
                                                      <a:lnTo>
                                                        <a:pt x="46" y="26"/>
                                                      </a:lnTo>
                                                      <a:lnTo>
                                                        <a:pt x="48" y="32"/>
                                                      </a:lnTo>
                                                      <a:lnTo>
                                                        <a:pt x="50" y="36"/>
                                                      </a:lnTo>
                                                      <a:lnTo>
                                                        <a:pt x="48" y="42"/>
                                                      </a:lnTo>
                                                      <a:lnTo>
                                                        <a:pt x="48" y="42"/>
                                                      </a:lnTo>
                                                      <a:lnTo>
                                                        <a:pt x="48" y="52"/>
                                                      </a:lnTo>
                                                      <a:lnTo>
                                                        <a:pt x="50" y="58"/>
                                                      </a:lnTo>
                                                      <a:lnTo>
                                                        <a:pt x="50" y="60"/>
                                                      </a:lnTo>
                                                      <a:lnTo>
                                                        <a:pt x="44" y="64"/>
                                                      </a:lnTo>
                                                      <a:lnTo>
                                                        <a:pt x="44" y="64"/>
                                                      </a:lnTo>
                                                      <a:lnTo>
                                                        <a:pt x="0" y="92"/>
                                                      </a:lnTo>
                                                      <a:lnTo>
                                                        <a:pt x="0" y="92"/>
                                                      </a:lnTo>
                                                      <a:lnTo>
                                                        <a:pt x="8" y="110"/>
                                                      </a:lnTo>
                                                      <a:lnTo>
                                                        <a:pt x="10" y="118"/>
                                                      </a:lnTo>
                                                      <a:lnTo>
                                                        <a:pt x="12" y="124"/>
                                                      </a:lnTo>
                                                      <a:lnTo>
                                                        <a:pt x="12" y="124"/>
                                                      </a:lnTo>
                                                      <a:close/>
                                                    </a:path>
                                                  </a:pathLst>
                                                </a:custGeom>
                                                <a:solidFill>
                                                  <a:schemeClr val="accent3"/>
                                                </a:solid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1" name="Qatar"/>
                                                <p:cNvSpPr>
                                                  <a:spLocks/>
                                                </p:cNvSpPr>
                                                <p:nvPr/>
                                              </p:nvSpPr>
                                              <p:spPr bwMode="auto">
                                                <a:xfrm>
                                                  <a:off x="7353882" y="2684015"/>
                                                  <a:ext cx="36452" cy="48557"/>
                                                </a:xfrm>
                                                <a:custGeom>
                                                  <a:avLst/>
                                                  <a:gdLst/>
                                                  <a:ahLst/>
                                                  <a:cxnLst>
                                                    <a:cxn ang="0">
                                                      <a:pos x="22" y="32"/>
                                                    </a:cxn>
                                                    <a:cxn ang="0">
                                                      <a:pos x="22" y="32"/>
                                                    </a:cxn>
                                                    <a:cxn ang="0">
                                                      <a:pos x="24" y="28"/>
                                                    </a:cxn>
                                                    <a:cxn ang="0">
                                                      <a:pos x="22" y="24"/>
                                                    </a:cxn>
                                                    <a:cxn ang="0">
                                                      <a:pos x="22" y="18"/>
                                                    </a:cxn>
                                                    <a:cxn ang="0">
                                                      <a:pos x="22" y="16"/>
                                                    </a:cxn>
                                                    <a:cxn ang="0">
                                                      <a:pos x="22" y="16"/>
                                                    </a:cxn>
                                                    <a:cxn ang="0">
                                                      <a:pos x="24" y="14"/>
                                                    </a:cxn>
                                                    <a:cxn ang="0">
                                                      <a:pos x="24" y="12"/>
                                                    </a:cxn>
                                                    <a:cxn ang="0">
                                                      <a:pos x="22" y="8"/>
                                                    </a:cxn>
                                                    <a:cxn ang="0">
                                                      <a:pos x="14" y="0"/>
                                                    </a:cxn>
                                                    <a:cxn ang="0">
                                                      <a:pos x="14" y="0"/>
                                                    </a:cxn>
                                                    <a:cxn ang="0">
                                                      <a:pos x="12" y="0"/>
                                                    </a:cxn>
                                                    <a:cxn ang="0">
                                                      <a:pos x="10" y="2"/>
                                                    </a:cxn>
                                                    <a:cxn ang="0">
                                                      <a:pos x="6" y="8"/>
                                                    </a:cxn>
                                                    <a:cxn ang="0">
                                                      <a:pos x="6" y="8"/>
                                                    </a:cxn>
                                                    <a:cxn ang="0">
                                                      <a:pos x="4" y="8"/>
                                                    </a:cxn>
                                                    <a:cxn ang="0">
                                                      <a:pos x="4" y="8"/>
                                                    </a:cxn>
                                                    <a:cxn ang="0">
                                                      <a:pos x="4" y="6"/>
                                                    </a:cxn>
                                                    <a:cxn ang="0">
                                                      <a:pos x="2" y="6"/>
                                                    </a:cxn>
                                                    <a:cxn ang="0">
                                                      <a:pos x="2" y="6"/>
                                                    </a:cxn>
                                                    <a:cxn ang="0">
                                                      <a:pos x="2" y="8"/>
                                                    </a:cxn>
                                                    <a:cxn ang="0">
                                                      <a:pos x="0" y="10"/>
                                                    </a:cxn>
                                                    <a:cxn ang="0">
                                                      <a:pos x="6" y="24"/>
                                                    </a:cxn>
                                                    <a:cxn ang="0">
                                                      <a:pos x="6" y="24"/>
                                                    </a:cxn>
                                                    <a:cxn ang="0">
                                                      <a:pos x="14" y="30"/>
                                                    </a:cxn>
                                                    <a:cxn ang="0">
                                                      <a:pos x="22" y="32"/>
                                                    </a:cxn>
                                                    <a:cxn ang="0">
                                                      <a:pos x="22" y="32"/>
                                                    </a:cxn>
                                                  </a:cxnLst>
                                                  <a:rect l="0" t="0" r="r" b="b"/>
                                                  <a:pathLst>
                                                    <a:path w="24" h="32">
                                                      <a:moveTo>
                                                        <a:pt x="22" y="32"/>
                                                      </a:moveTo>
                                                      <a:lnTo>
                                                        <a:pt x="22" y="32"/>
                                                      </a:lnTo>
                                                      <a:lnTo>
                                                        <a:pt x="24" y="28"/>
                                                      </a:lnTo>
                                                      <a:lnTo>
                                                        <a:pt x="22" y="24"/>
                                                      </a:lnTo>
                                                      <a:lnTo>
                                                        <a:pt x="22" y="18"/>
                                                      </a:lnTo>
                                                      <a:lnTo>
                                                        <a:pt x="22" y="16"/>
                                                      </a:lnTo>
                                                      <a:lnTo>
                                                        <a:pt x="22" y="16"/>
                                                      </a:lnTo>
                                                      <a:lnTo>
                                                        <a:pt x="24" y="14"/>
                                                      </a:lnTo>
                                                      <a:lnTo>
                                                        <a:pt x="24" y="12"/>
                                                      </a:lnTo>
                                                      <a:lnTo>
                                                        <a:pt x="22" y="8"/>
                                                      </a:lnTo>
                                                      <a:lnTo>
                                                        <a:pt x="14" y="0"/>
                                                      </a:lnTo>
                                                      <a:lnTo>
                                                        <a:pt x="14" y="0"/>
                                                      </a:lnTo>
                                                      <a:lnTo>
                                                        <a:pt x="12" y="0"/>
                                                      </a:lnTo>
                                                      <a:lnTo>
                                                        <a:pt x="10" y="2"/>
                                                      </a:lnTo>
                                                      <a:lnTo>
                                                        <a:pt x="6" y="8"/>
                                                      </a:lnTo>
                                                      <a:lnTo>
                                                        <a:pt x="6" y="8"/>
                                                      </a:lnTo>
                                                      <a:lnTo>
                                                        <a:pt x="4" y="8"/>
                                                      </a:lnTo>
                                                      <a:lnTo>
                                                        <a:pt x="4" y="8"/>
                                                      </a:lnTo>
                                                      <a:lnTo>
                                                        <a:pt x="4" y="6"/>
                                                      </a:lnTo>
                                                      <a:lnTo>
                                                        <a:pt x="2" y="6"/>
                                                      </a:lnTo>
                                                      <a:lnTo>
                                                        <a:pt x="2" y="6"/>
                                                      </a:lnTo>
                                                      <a:lnTo>
                                                        <a:pt x="2" y="8"/>
                                                      </a:lnTo>
                                                      <a:lnTo>
                                                        <a:pt x="0" y="10"/>
                                                      </a:lnTo>
                                                      <a:lnTo>
                                                        <a:pt x="6" y="24"/>
                                                      </a:lnTo>
                                                      <a:lnTo>
                                                        <a:pt x="6" y="24"/>
                                                      </a:lnTo>
                                                      <a:lnTo>
                                                        <a:pt x="14" y="30"/>
                                                      </a:lnTo>
                                                      <a:lnTo>
                                                        <a:pt x="22" y="32"/>
                                                      </a:lnTo>
                                                      <a:lnTo>
                                                        <a:pt x="22" y="32"/>
                                                      </a:lnTo>
                                                      <a:close/>
                                                    </a:path>
                                                  </a:pathLst>
                                                </a:custGeom>
                                                <a:solidFill>
                                                  <a:schemeClr val="accent3"/>
                                                </a:solid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73" name="Djibouti"/>
                                              <p:cNvSpPr/>
                                              <p:nvPr/>
                                            </p:nvSpPr>
                                            <p:spPr bwMode="auto">
                                              <a:xfrm>
                                                <a:off x="7128361" y="3187870"/>
                                                <a:ext cx="54677" cy="67086"/>
                                              </a:xfrm>
                                              <a:custGeom>
                                                <a:avLst/>
                                                <a:gdLst/>
                                                <a:ahLst/>
                                                <a:cxnLst/>
                                                <a:rect l="l" t="t" r="r" b="b"/>
                                                <a:pathLst>
                                                  <a:path w="54677" h="67086">
                                                    <a:moveTo>
                                                      <a:pt x="22077" y="0"/>
                                                    </a:moveTo>
                                                    <a:lnTo>
                                                      <a:pt x="42756" y="8565"/>
                                                    </a:lnTo>
                                                    <a:lnTo>
                                                      <a:pt x="48602" y="12459"/>
                                                    </a:lnTo>
                                                    <a:lnTo>
                                                      <a:pt x="50145" y="14771"/>
                                                    </a:lnTo>
                                                    <a:lnTo>
                                                      <a:pt x="54677" y="25714"/>
                                                    </a:lnTo>
                                                    <a:lnTo>
                                                      <a:pt x="54677" y="27633"/>
                                                    </a:lnTo>
                                                    <a:lnTo>
                                                      <a:pt x="54677" y="33703"/>
                                                    </a:lnTo>
                                                    <a:lnTo>
                                                      <a:pt x="51640" y="42807"/>
                                                    </a:lnTo>
                                                    <a:lnTo>
                                                      <a:pt x="45564" y="45842"/>
                                                    </a:lnTo>
                                                    <a:lnTo>
                                                      <a:pt x="39489" y="48877"/>
                                                    </a:lnTo>
                                                    <a:lnTo>
                                                      <a:pt x="33414" y="48877"/>
                                                    </a:lnTo>
                                                    <a:lnTo>
                                                      <a:pt x="21263" y="54947"/>
                                                    </a:lnTo>
                                                    <a:lnTo>
                                                      <a:pt x="27338" y="54947"/>
                                                    </a:lnTo>
                                                    <a:lnTo>
                                                      <a:pt x="39489" y="51912"/>
                                                    </a:lnTo>
                                                    <a:lnTo>
                                                      <a:pt x="42527" y="51912"/>
                                                    </a:lnTo>
                                                    <a:lnTo>
                                                      <a:pt x="45564" y="54947"/>
                                                    </a:lnTo>
                                                    <a:lnTo>
                                                      <a:pt x="33414" y="67086"/>
                                                    </a:lnTo>
                                                    <a:lnTo>
                                                      <a:pt x="27338" y="64051"/>
                                                    </a:lnTo>
                                                    <a:lnTo>
                                                      <a:pt x="21263" y="64051"/>
                                                    </a:lnTo>
                                                    <a:lnTo>
                                                      <a:pt x="15188" y="67086"/>
                                                    </a:lnTo>
                                                    <a:lnTo>
                                                      <a:pt x="9112" y="67086"/>
                                                    </a:lnTo>
                                                    <a:lnTo>
                                                      <a:pt x="6075" y="67086"/>
                                                    </a:lnTo>
                                                    <a:lnTo>
                                                      <a:pt x="3037" y="61016"/>
                                                    </a:lnTo>
                                                    <a:lnTo>
                                                      <a:pt x="0" y="57982"/>
                                                    </a:lnTo>
                                                    <a:lnTo>
                                                      <a:pt x="0" y="45842"/>
                                                    </a:lnTo>
                                                    <a:lnTo>
                                                      <a:pt x="6075" y="24598"/>
                                                    </a:lnTo>
                                                    <a:lnTo>
                                                      <a:pt x="9112" y="15494"/>
                                                    </a:lnTo>
                                                    <a:lnTo>
                                                      <a:pt x="15188" y="12459"/>
                                                    </a:lnTo>
                                                    <a:lnTo>
                                                      <a:pt x="21263" y="12459"/>
                                                    </a:lnTo>
                                                    <a:lnTo>
                                                      <a:pt x="15241" y="2832"/>
                                                    </a:lnTo>
                                                    <a:cubicBezTo>
                                                      <a:pt x="17170" y="241"/>
                                                      <a:pt x="19595" y="0"/>
                                                      <a:pt x="22077" y="0"/>
                                                    </a:cubicBezTo>
                                                    <a:close/>
                                                  </a:path>
                                                </a:pathLst>
                                              </a:custGeom>
                                              <a:solidFill>
                                                <a:schemeClr val="accent3"/>
                                              </a:solidFill>
                                              <a:ln w="6350">
                                                <a:solidFill>
                                                  <a:srgbClr val="FFFFFF"/>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a:endParaRPr lang="en-US" sz="1700" dirty="0">
                                                  <a:solidFill>
                                                    <a:srgbClr val="FFFFFF">
                                                      <a:alpha val="98824"/>
                                                    </a:srgbClr>
                                                  </a:solidFill>
                                                  <a:latin typeface="Segoe UI" pitchFamily="34" charset="0"/>
                                                  <a:ea typeface="Segoe UI" pitchFamily="34" charset="0"/>
                                                  <a:cs typeface="Segoe UI" pitchFamily="34" charset="0"/>
                                                </a:endParaRPr>
                                              </a:p>
                                            </p:txBody>
                                          </p:sp>
                                        </p:grpSp>
                                      </p:grpSp>
                                      <p:sp>
                                        <p:nvSpPr>
                                          <p:cNvPr id="474" name="Tajikistan"/>
                                          <p:cNvSpPr>
                                            <a:spLocks/>
                                          </p:cNvSpPr>
                                          <p:nvPr/>
                                        </p:nvSpPr>
                                        <p:spPr bwMode="auto">
                                          <a:xfrm>
                                            <a:off x="7757795" y="2171586"/>
                                            <a:ext cx="227824" cy="112289"/>
                                          </a:xfrm>
                                          <a:custGeom>
                                            <a:avLst/>
                                            <a:gdLst/>
                                            <a:ahLst/>
                                            <a:cxnLst>
                                              <a:cxn ang="0">
                                                <a:pos x="22" y="58"/>
                                              </a:cxn>
                                              <a:cxn ang="0">
                                                <a:pos x="28" y="64"/>
                                              </a:cxn>
                                              <a:cxn ang="0">
                                                <a:pos x="40" y="62"/>
                                              </a:cxn>
                                              <a:cxn ang="0">
                                                <a:pos x="54" y="62"/>
                                              </a:cxn>
                                              <a:cxn ang="0">
                                                <a:pos x="54" y="58"/>
                                              </a:cxn>
                                              <a:cxn ang="0">
                                                <a:pos x="56" y="54"/>
                                              </a:cxn>
                                              <a:cxn ang="0">
                                                <a:pos x="62" y="52"/>
                                              </a:cxn>
                                              <a:cxn ang="0">
                                                <a:pos x="66" y="50"/>
                                              </a:cxn>
                                              <a:cxn ang="0">
                                                <a:pos x="68" y="42"/>
                                              </a:cxn>
                                              <a:cxn ang="0">
                                                <a:pos x="80" y="40"/>
                                              </a:cxn>
                                              <a:cxn ang="0">
                                                <a:pos x="82" y="46"/>
                                              </a:cxn>
                                              <a:cxn ang="0">
                                                <a:pos x="86" y="50"/>
                                              </a:cxn>
                                              <a:cxn ang="0">
                                                <a:pos x="86" y="52"/>
                                              </a:cxn>
                                              <a:cxn ang="0">
                                                <a:pos x="98" y="70"/>
                                              </a:cxn>
                                              <a:cxn ang="0">
                                                <a:pos x="104" y="74"/>
                                              </a:cxn>
                                              <a:cxn ang="0">
                                                <a:pos x="118" y="64"/>
                                              </a:cxn>
                                              <a:cxn ang="0">
                                                <a:pos x="126" y="60"/>
                                              </a:cxn>
                                              <a:cxn ang="0">
                                                <a:pos x="126" y="62"/>
                                              </a:cxn>
                                              <a:cxn ang="0">
                                                <a:pos x="128" y="64"/>
                                              </a:cxn>
                                              <a:cxn ang="0">
                                                <a:pos x="138" y="60"/>
                                              </a:cxn>
                                              <a:cxn ang="0">
                                                <a:pos x="150" y="56"/>
                                              </a:cxn>
                                              <a:cxn ang="0">
                                                <a:pos x="146" y="44"/>
                                              </a:cxn>
                                              <a:cxn ang="0">
                                                <a:pos x="138" y="32"/>
                                              </a:cxn>
                                              <a:cxn ang="0">
                                                <a:pos x="136" y="26"/>
                                              </a:cxn>
                                              <a:cxn ang="0">
                                                <a:pos x="124" y="28"/>
                                              </a:cxn>
                                              <a:cxn ang="0">
                                                <a:pos x="118" y="22"/>
                                              </a:cxn>
                                              <a:cxn ang="0">
                                                <a:pos x="74" y="26"/>
                                              </a:cxn>
                                              <a:cxn ang="0">
                                                <a:pos x="64" y="24"/>
                                              </a:cxn>
                                              <a:cxn ang="0">
                                                <a:pos x="50" y="24"/>
                                              </a:cxn>
                                              <a:cxn ang="0">
                                                <a:pos x="38" y="24"/>
                                              </a:cxn>
                                              <a:cxn ang="0">
                                                <a:pos x="28" y="22"/>
                                              </a:cxn>
                                              <a:cxn ang="0">
                                                <a:pos x="36" y="16"/>
                                              </a:cxn>
                                              <a:cxn ang="0">
                                                <a:pos x="48" y="16"/>
                                              </a:cxn>
                                              <a:cxn ang="0">
                                                <a:pos x="58" y="14"/>
                                              </a:cxn>
                                              <a:cxn ang="0">
                                                <a:pos x="52" y="8"/>
                                              </a:cxn>
                                              <a:cxn ang="0">
                                                <a:pos x="56" y="4"/>
                                              </a:cxn>
                                              <a:cxn ang="0">
                                                <a:pos x="52" y="0"/>
                                              </a:cxn>
                                              <a:cxn ang="0">
                                                <a:pos x="42" y="4"/>
                                              </a:cxn>
                                              <a:cxn ang="0">
                                                <a:pos x="30" y="4"/>
                                              </a:cxn>
                                              <a:cxn ang="0">
                                                <a:pos x="24" y="12"/>
                                              </a:cxn>
                                              <a:cxn ang="0">
                                                <a:pos x="24" y="14"/>
                                              </a:cxn>
                                              <a:cxn ang="0">
                                                <a:pos x="20" y="20"/>
                                              </a:cxn>
                                              <a:cxn ang="0">
                                                <a:pos x="6" y="22"/>
                                              </a:cxn>
                                              <a:cxn ang="0">
                                                <a:pos x="0" y="28"/>
                                              </a:cxn>
                                              <a:cxn ang="0">
                                                <a:pos x="10" y="34"/>
                                              </a:cxn>
                                              <a:cxn ang="0">
                                                <a:pos x="18" y="36"/>
                                              </a:cxn>
                                              <a:cxn ang="0">
                                                <a:pos x="20" y="38"/>
                                              </a:cxn>
                                              <a:cxn ang="0">
                                                <a:pos x="22" y="44"/>
                                              </a:cxn>
                                              <a:cxn ang="0">
                                                <a:pos x="18" y="58"/>
                                              </a:cxn>
                                            </a:cxnLst>
                                            <a:rect l="0" t="0" r="r" b="b"/>
                                            <a:pathLst>
                                              <a:path w="150" h="74">
                                                <a:moveTo>
                                                  <a:pt x="18" y="58"/>
                                                </a:moveTo>
                                                <a:lnTo>
                                                  <a:pt x="18" y="58"/>
                                                </a:lnTo>
                                                <a:lnTo>
                                                  <a:pt x="22" y="58"/>
                                                </a:lnTo>
                                                <a:lnTo>
                                                  <a:pt x="24" y="58"/>
                                                </a:lnTo>
                                                <a:lnTo>
                                                  <a:pt x="26" y="62"/>
                                                </a:lnTo>
                                                <a:lnTo>
                                                  <a:pt x="28" y="64"/>
                                                </a:lnTo>
                                                <a:lnTo>
                                                  <a:pt x="34" y="64"/>
                                                </a:lnTo>
                                                <a:lnTo>
                                                  <a:pt x="34" y="64"/>
                                                </a:lnTo>
                                                <a:lnTo>
                                                  <a:pt x="40" y="62"/>
                                                </a:lnTo>
                                                <a:lnTo>
                                                  <a:pt x="44" y="62"/>
                                                </a:lnTo>
                                                <a:lnTo>
                                                  <a:pt x="50" y="64"/>
                                                </a:lnTo>
                                                <a:lnTo>
                                                  <a:pt x="54" y="62"/>
                                                </a:lnTo>
                                                <a:lnTo>
                                                  <a:pt x="54" y="62"/>
                                                </a:lnTo>
                                                <a:lnTo>
                                                  <a:pt x="56" y="60"/>
                                                </a:lnTo>
                                                <a:lnTo>
                                                  <a:pt x="54" y="58"/>
                                                </a:lnTo>
                                                <a:lnTo>
                                                  <a:pt x="54" y="56"/>
                                                </a:lnTo>
                                                <a:lnTo>
                                                  <a:pt x="56" y="54"/>
                                                </a:lnTo>
                                                <a:lnTo>
                                                  <a:pt x="56" y="54"/>
                                                </a:lnTo>
                                                <a:lnTo>
                                                  <a:pt x="60" y="52"/>
                                                </a:lnTo>
                                                <a:lnTo>
                                                  <a:pt x="60" y="52"/>
                                                </a:lnTo>
                                                <a:lnTo>
                                                  <a:pt x="62" y="52"/>
                                                </a:lnTo>
                                                <a:lnTo>
                                                  <a:pt x="64" y="52"/>
                                                </a:lnTo>
                                                <a:lnTo>
                                                  <a:pt x="64" y="52"/>
                                                </a:lnTo>
                                                <a:lnTo>
                                                  <a:pt x="66" y="50"/>
                                                </a:lnTo>
                                                <a:lnTo>
                                                  <a:pt x="64" y="48"/>
                                                </a:lnTo>
                                                <a:lnTo>
                                                  <a:pt x="66" y="46"/>
                                                </a:lnTo>
                                                <a:lnTo>
                                                  <a:pt x="68" y="42"/>
                                                </a:lnTo>
                                                <a:lnTo>
                                                  <a:pt x="68" y="42"/>
                                                </a:lnTo>
                                                <a:lnTo>
                                                  <a:pt x="74" y="40"/>
                                                </a:lnTo>
                                                <a:lnTo>
                                                  <a:pt x="80" y="40"/>
                                                </a:lnTo>
                                                <a:lnTo>
                                                  <a:pt x="82" y="42"/>
                                                </a:lnTo>
                                                <a:lnTo>
                                                  <a:pt x="82" y="46"/>
                                                </a:lnTo>
                                                <a:lnTo>
                                                  <a:pt x="82" y="46"/>
                                                </a:lnTo>
                                                <a:lnTo>
                                                  <a:pt x="80" y="50"/>
                                                </a:lnTo>
                                                <a:lnTo>
                                                  <a:pt x="82" y="50"/>
                                                </a:lnTo>
                                                <a:lnTo>
                                                  <a:pt x="86" y="50"/>
                                                </a:lnTo>
                                                <a:lnTo>
                                                  <a:pt x="86" y="50"/>
                                                </a:lnTo>
                                                <a:lnTo>
                                                  <a:pt x="86" y="52"/>
                                                </a:lnTo>
                                                <a:lnTo>
                                                  <a:pt x="86" y="52"/>
                                                </a:lnTo>
                                                <a:lnTo>
                                                  <a:pt x="88" y="56"/>
                                                </a:lnTo>
                                                <a:lnTo>
                                                  <a:pt x="92" y="62"/>
                                                </a:lnTo>
                                                <a:lnTo>
                                                  <a:pt x="98" y="70"/>
                                                </a:lnTo>
                                                <a:lnTo>
                                                  <a:pt x="98" y="70"/>
                                                </a:lnTo>
                                                <a:lnTo>
                                                  <a:pt x="102" y="74"/>
                                                </a:lnTo>
                                                <a:lnTo>
                                                  <a:pt x="104" y="74"/>
                                                </a:lnTo>
                                                <a:lnTo>
                                                  <a:pt x="112" y="68"/>
                                                </a:lnTo>
                                                <a:lnTo>
                                                  <a:pt x="112" y="68"/>
                                                </a:lnTo>
                                                <a:lnTo>
                                                  <a:pt x="118" y="64"/>
                                                </a:lnTo>
                                                <a:lnTo>
                                                  <a:pt x="122" y="62"/>
                                                </a:lnTo>
                                                <a:lnTo>
                                                  <a:pt x="124" y="60"/>
                                                </a:lnTo>
                                                <a:lnTo>
                                                  <a:pt x="126" y="60"/>
                                                </a:lnTo>
                                                <a:lnTo>
                                                  <a:pt x="126" y="60"/>
                                                </a:lnTo>
                                                <a:lnTo>
                                                  <a:pt x="128" y="60"/>
                                                </a:lnTo>
                                                <a:lnTo>
                                                  <a:pt x="126" y="62"/>
                                                </a:lnTo>
                                                <a:lnTo>
                                                  <a:pt x="126" y="64"/>
                                                </a:lnTo>
                                                <a:lnTo>
                                                  <a:pt x="128" y="64"/>
                                                </a:lnTo>
                                                <a:lnTo>
                                                  <a:pt x="128" y="64"/>
                                                </a:lnTo>
                                                <a:lnTo>
                                                  <a:pt x="130" y="64"/>
                                                </a:lnTo>
                                                <a:lnTo>
                                                  <a:pt x="134" y="62"/>
                                                </a:lnTo>
                                                <a:lnTo>
                                                  <a:pt x="138" y="60"/>
                                                </a:lnTo>
                                                <a:lnTo>
                                                  <a:pt x="148" y="60"/>
                                                </a:lnTo>
                                                <a:lnTo>
                                                  <a:pt x="148" y="60"/>
                                                </a:lnTo>
                                                <a:lnTo>
                                                  <a:pt x="150" y="56"/>
                                                </a:lnTo>
                                                <a:lnTo>
                                                  <a:pt x="148" y="48"/>
                                                </a:lnTo>
                                                <a:lnTo>
                                                  <a:pt x="148" y="48"/>
                                                </a:lnTo>
                                                <a:lnTo>
                                                  <a:pt x="146" y="44"/>
                                                </a:lnTo>
                                                <a:lnTo>
                                                  <a:pt x="140" y="42"/>
                                                </a:lnTo>
                                                <a:lnTo>
                                                  <a:pt x="138" y="38"/>
                                                </a:lnTo>
                                                <a:lnTo>
                                                  <a:pt x="138" y="32"/>
                                                </a:lnTo>
                                                <a:lnTo>
                                                  <a:pt x="138" y="32"/>
                                                </a:lnTo>
                                                <a:lnTo>
                                                  <a:pt x="138" y="28"/>
                                                </a:lnTo>
                                                <a:lnTo>
                                                  <a:pt x="136" y="26"/>
                                                </a:lnTo>
                                                <a:lnTo>
                                                  <a:pt x="130" y="26"/>
                                                </a:lnTo>
                                                <a:lnTo>
                                                  <a:pt x="126" y="28"/>
                                                </a:lnTo>
                                                <a:lnTo>
                                                  <a:pt x="124" y="28"/>
                                                </a:lnTo>
                                                <a:lnTo>
                                                  <a:pt x="120" y="26"/>
                                                </a:lnTo>
                                                <a:lnTo>
                                                  <a:pt x="118" y="22"/>
                                                </a:lnTo>
                                                <a:lnTo>
                                                  <a:pt x="118" y="22"/>
                                                </a:lnTo>
                                                <a:lnTo>
                                                  <a:pt x="102" y="26"/>
                                                </a:lnTo>
                                                <a:lnTo>
                                                  <a:pt x="86" y="28"/>
                                                </a:lnTo>
                                                <a:lnTo>
                                                  <a:pt x="74" y="26"/>
                                                </a:lnTo>
                                                <a:lnTo>
                                                  <a:pt x="68" y="24"/>
                                                </a:lnTo>
                                                <a:lnTo>
                                                  <a:pt x="68" y="24"/>
                                                </a:lnTo>
                                                <a:lnTo>
                                                  <a:pt x="64" y="24"/>
                                                </a:lnTo>
                                                <a:lnTo>
                                                  <a:pt x="60" y="24"/>
                                                </a:lnTo>
                                                <a:lnTo>
                                                  <a:pt x="54" y="26"/>
                                                </a:lnTo>
                                                <a:lnTo>
                                                  <a:pt x="50" y="24"/>
                                                </a:lnTo>
                                                <a:lnTo>
                                                  <a:pt x="50" y="24"/>
                                                </a:lnTo>
                                                <a:lnTo>
                                                  <a:pt x="46" y="24"/>
                                                </a:lnTo>
                                                <a:lnTo>
                                                  <a:pt x="38" y="24"/>
                                                </a:lnTo>
                                                <a:lnTo>
                                                  <a:pt x="30" y="24"/>
                                                </a:lnTo>
                                                <a:lnTo>
                                                  <a:pt x="28" y="24"/>
                                                </a:lnTo>
                                                <a:lnTo>
                                                  <a:pt x="28" y="22"/>
                                                </a:lnTo>
                                                <a:lnTo>
                                                  <a:pt x="28" y="22"/>
                                                </a:lnTo>
                                                <a:lnTo>
                                                  <a:pt x="30" y="18"/>
                                                </a:lnTo>
                                                <a:lnTo>
                                                  <a:pt x="36" y="16"/>
                                                </a:lnTo>
                                                <a:lnTo>
                                                  <a:pt x="42" y="16"/>
                                                </a:lnTo>
                                                <a:lnTo>
                                                  <a:pt x="48" y="16"/>
                                                </a:lnTo>
                                                <a:lnTo>
                                                  <a:pt x="48" y="16"/>
                                                </a:lnTo>
                                                <a:lnTo>
                                                  <a:pt x="52" y="18"/>
                                                </a:lnTo>
                                                <a:lnTo>
                                                  <a:pt x="56" y="18"/>
                                                </a:lnTo>
                                                <a:lnTo>
                                                  <a:pt x="58" y="14"/>
                                                </a:lnTo>
                                                <a:lnTo>
                                                  <a:pt x="58" y="10"/>
                                                </a:lnTo>
                                                <a:lnTo>
                                                  <a:pt x="58" y="10"/>
                                                </a:lnTo>
                                                <a:lnTo>
                                                  <a:pt x="52" y="8"/>
                                                </a:lnTo>
                                                <a:lnTo>
                                                  <a:pt x="52" y="6"/>
                                                </a:lnTo>
                                                <a:lnTo>
                                                  <a:pt x="52" y="6"/>
                                                </a:lnTo>
                                                <a:lnTo>
                                                  <a:pt x="56" y="4"/>
                                                </a:lnTo>
                                                <a:lnTo>
                                                  <a:pt x="56" y="4"/>
                                                </a:lnTo>
                                                <a:lnTo>
                                                  <a:pt x="52" y="0"/>
                                                </a:lnTo>
                                                <a:lnTo>
                                                  <a:pt x="52" y="0"/>
                                                </a:lnTo>
                                                <a:lnTo>
                                                  <a:pt x="50" y="0"/>
                                                </a:lnTo>
                                                <a:lnTo>
                                                  <a:pt x="48" y="0"/>
                                                </a:lnTo>
                                                <a:lnTo>
                                                  <a:pt x="42" y="4"/>
                                                </a:lnTo>
                                                <a:lnTo>
                                                  <a:pt x="36" y="6"/>
                                                </a:lnTo>
                                                <a:lnTo>
                                                  <a:pt x="32" y="6"/>
                                                </a:lnTo>
                                                <a:lnTo>
                                                  <a:pt x="30" y="4"/>
                                                </a:lnTo>
                                                <a:lnTo>
                                                  <a:pt x="30" y="4"/>
                                                </a:lnTo>
                                                <a:lnTo>
                                                  <a:pt x="28" y="8"/>
                                                </a:lnTo>
                                                <a:lnTo>
                                                  <a:pt x="24" y="12"/>
                                                </a:lnTo>
                                                <a:lnTo>
                                                  <a:pt x="16" y="14"/>
                                                </a:lnTo>
                                                <a:lnTo>
                                                  <a:pt x="16" y="14"/>
                                                </a:lnTo>
                                                <a:lnTo>
                                                  <a:pt x="24" y="14"/>
                                                </a:lnTo>
                                                <a:lnTo>
                                                  <a:pt x="24" y="16"/>
                                                </a:lnTo>
                                                <a:lnTo>
                                                  <a:pt x="24" y="18"/>
                                                </a:lnTo>
                                                <a:lnTo>
                                                  <a:pt x="20" y="20"/>
                                                </a:lnTo>
                                                <a:lnTo>
                                                  <a:pt x="10" y="22"/>
                                                </a:lnTo>
                                                <a:lnTo>
                                                  <a:pt x="10" y="22"/>
                                                </a:lnTo>
                                                <a:lnTo>
                                                  <a:pt x="6" y="22"/>
                                                </a:lnTo>
                                                <a:lnTo>
                                                  <a:pt x="2" y="24"/>
                                                </a:lnTo>
                                                <a:lnTo>
                                                  <a:pt x="0" y="26"/>
                                                </a:lnTo>
                                                <a:lnTo>
                                                  <a:pt x="0" y="28"/>
                                                </a:lnTo>
                                                <a:lnTo>
                                                  <a:pt x="4" y="32"/>
                                                </a:lnTo>
                                                <a:lnTo>
                                                  <a:pt x="10" y="34"/>
                                                </a:lnTo>
                                                <a:lnTo>
                                                  <a:pt x="10" y="34"/>
                                                </a:lnTo>
                                                <a:lnTo>
                                                  <a:pt x="16" y="34"/>
                                                </a:lnTo>
                                                <a:lnTo>
                                                  <a:pt x="18" y="36"/>
                                                </a:lnTo>
                                                <a:lnTo>
                                                  <a:pt x="18" y="36"/>
                                                </a:lnTo>
                                                <a:lnTo>
                                                  <a:pt x="16" y="38"/>
                                                </a:lnTo>
                                                <a:lnTo>
                                                  <a:pt x="20" y="38"/>
                                                </a:lnTo>
                                                <a:lnTo>
                                                  <a:pt x="20" y="38"/>
                                                </a:lnTo>
                                                <a:lnTo>
                                                  <a:pt x="22" y="40"/>
                                                </a:lnTo>
                                                <a:lnTo>
                                                  <a:pt x="24" y="40"/>
                                                </a:lnTo>
                                                <a:lnTo>
                                                  <a:pt x="22" y="44"/>
                                                </a:lnTo>
                                                <a:lnTo>
                                                  <a:pt x="18" y="50"/>
                                                </a:lnTo>
                                                <a:lnTo>
                                                  <a:pt x="18" y="58"/>
                                                </a:lnTo>
                                                <a:lnTo>
                                                  <a:pt x="18" y="58"/>
                                                </a:lnTo>
                                                <a:close/>
                                              </a:path>
                                            </a:pathLst>
                                          </a:custGeom>
                                          <a:solidFill>
                                            <a:schemeClr val="accent3"/>
                                          </a:solidFill>
                                          <a:ln w="63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bg1">
                                                  <a:alpha val="99000"/>
                                                </a:schemeClr>
                                              </a:solidFill>
                                            </a:endParaRPr>
                                          </a:p>
                                        </p:txBody>
                                      </p:sp>
                                    </p:grpSp>
                                    <p:sp>
                                      <p:nvSpPr>
                                        <p:cNvPr id="475" name="Freeform 169"/>
                                        <p:cNvSpPr>
                                          <a:spLocks/>
                                        </p:cNvSpPr>
                                        <p:nvPr/>
                                      </p:nvSpPr>
                                      <p:spPr bwMode="auto">
                                        <a:xfrm>
                                          <a:off x="7800322" y="2089749"/>
                                          <a:ext cx="291614" cy="124428"/>
                                        </a:xfrm>
                                        <a:custGeom>
                                          <a:avLst/>
                                          <a:gdLst/>
                                          <a:ahLst/>
                                          <a:cxnLst>
                                            <a:cxn ang="0">
                                              <a:pos x="30" y="68"/>
                                            </a:cxn>
                                            <a:cxn ang="0">
                                              <a:pos x="20" y="70"/>
                                            </a:cxn>
                                            <a:cxn ang="0">
                                              <a:pos x="8" y="70"/>
                                            </a:cxn>
                                            <a:cxn ang="0">
                                              <a:pos x="0" y="76"/>
                                            </a:cxn>
                                            <a:cxn ang="0">
                                              <a:pos x="10" y="78"/>
                                            </a:cxn>
                                            <a:cxn ang="0">
                                              <a:pos x="22" y="78"/>
                                            </a:cxn>
                                            <a:cxn ang="0">
                                              <a:pos x="36" y="78"/>
                                            </a:cxn>
                                            <a:cxn ang="0">
                                              <a:pos x="46" y="80"/>
                                            </a:cxn>
                                            <a:cxn ang="0">
                                              <a:pos x="90" y="76"/>
                                            </a:cxn>
                                            <a:cxn ang="0">
                                              <a:pos x="94" y="52"/>
                                            </a:cxn>
                                            <a:cxn ang="0">
                                              <a:pos x="106" y="46"/>
                                            </a:cxn>
                                            <a:cxn ang="0">
                                              <a:pos x="112" y="44"/>
                                            </a:cxn>
                                            <a:cxn ang="0">
                                              <a:pos x="122" y="46"/>
                                            </a:cxn>
                                            <a:cxn ang="0">
                                              <a:pos x="132" y="48"/>
                                            </a:cxn>
                                            <a:cxn ang="0">
                                              <a:pos x="138" y="38"/>
                                            </a:cxn>
                                            <a:cxn ang="0">
                                              <a:pos x="150" y="34"/>
                                            </a:cxn>
                                            <a:cxn ang="0">
                                              <a:pos x="158" y="34"/>
                                            </a:cxn>
                                            <a:cxn ang="0">
                                              <a:pos x="172" y="26"/>
                                            </a:cxn>
                                            <a:cxn ang="0">
                                              <a:pos x="176" y="22"/>
                                            </a:cxn>
                                            <a:cxn ang="0">
                                              <a:pos x="186" y="16"/>
                                            </a:cxn>
                                            <a:cxn ang="0">
                                              <a:pos x="192" y="12"/>
                                            </a:cxn>
                                            <a:cxn ang="0">
                                              <a:pos x="186" y="14"/>
                                            </a:cxn>
                                            <a:cxn ang="0">
                                              <a:pos x="178" y="10"/>
                                            </a:cxn>
                                            <a:cxn ang="0">
                                              <a:pos x="166" y="8"/>
                                            </a:cxn>
                                            <a:cxn ang="0">
                                              <a:pos x="162" y="6"/>
                                            </a:cxn>
                                            <a:cxn ang="0">
                                              <a:pos x="104" y="6"/>
                                            </a:cxn>
                                            <a:cxn ang="0">
                                              <a:pos x="82" y="0"/>
                                            </a:cxn>
                                            <a:cxn ang="0">
                                              <a:pos x="72" y="6"/>
                                            </a:cxn>
                                            <a:cxn ang="0">
                                              <a:pos x="70" y="10"/>
                                            </a:cxn>
                                            <a:cxn ang="0">
                                              <a:pos x="52" y="6"/>
                                            </a:cxn>
                                            <a:cxn ang="0">
                                              <a:pos x="40" y="8"/>
                                            </a:cxn>
                                            <a:cxn ang="0">
                                              <a:pos x="26" y="16"/>
                                            </a:cxn>
                                            <a:cxn ang="0">
                                              <a:pos x="32" y="18"/>
                                            </a:cxn>
                                            <a:cxn ang="0">
                                              <a:pos x="24" y="32"/>
                                            </a:cxn>
                                            <a:cxn ang="0">
                                              <a:pos x="14" y="48"/>
                                            </a:cxn>
                                            <a:cxn ang="0">
                                              <a:pos x="20" y="44"/>
                                            </a:cxn>
                                            <a:cxn ang="0">
                                              <a:pos x="32" y="44"/>
                                            </a:cxn>
                                            <a:cxn ang="0">
                                              <a:pos x="42" y="44"/>
                                            </a:cxn>
                                            <a:cxn ang="0">
                                              <a:pos x="50" y="38"/>
                                            </a:cxn>
                                            <a:cxn ang="0">
                                              <a:pos x="56" y="42"/>
                                            </a:cxn>
                                            <a:cxn ang="0">
                                              <a:pos x="68" y="50"/>
                                            </a:cxn>
                                            <a:cxn ang="0">
                                              <a:pos x="78" y="52"/>
                                            </a:cxn>
                                            <a:cxn ang="0">
                                              <a:pos x="78" y="54"/>
                                            </a:cxn>
                                            <a:cxn ang="0">
                                              <a:pos x="50" y="64"/>
                                            </a:cxn>
                                            <a:cxn ang="0">
                                              <a:pos x="40" y="64"/>
                                            </a:cxn>
                                            <a:cxn ang="0">
                                              <a:pos x="30" y="64"/>
                                            </a:cxn>
                                          </a:cxnLst>
                                          <a:rect l="0" t="0" r="r" b="b"/>
                                          <a:pathLst>
                                            <a:path w="192" h="82">
                                              <a:moveTo>
                                                <a:pt x="30" y="64"/>
                                              </a:moveTo>
                                              <a:lnTo>
                                                <a:pt x="30" y="64"/>
                                              </a:lnTo>
                                              <a:lnTo>
                                                <a:pt x="30" y="68"/>
                                              </a:lnTo>
                                              <a:lnTo>
                                                <a:pt x="28" y="72"/>
                                              </a:lnTo>
                                              <a:lnTo>
                                                <a:pt x="24" y="72"/>
                                              </a:lnTo>
                                              <a:lnTo>
                                                <a:pt x="20" y="70"/>
                                              </a:lnTo>
                                              <a:lnTo>
                                                <a:pt x="20" y="70"/>
                                              </a:lnTo>
                                              <a:lnTo>
                                                <a:pt x="14" y="70"/>
                                              </a:lnTo>
                                              <a:lnTo>
                                                <a:pt x="8" y="70"/>
                                              </a:lnTo>
                                              <a:lnTo>
                                                <a:pt x="2" y="72"/>
                                              </a:lnTo>
                                              <a:lnTo>
                                                <a:pt x="0" y="76"/>
                                              </a:lnTo>
                                              <a:lnTo>
                                                <a:pt x="0" y="76"/>
                                              </a:lnTo>
                                              <a:lnTo>
                                                <a:pt x="0" y="78"/>
                                              </a:lnTo>
                                              <a:lnTo>
                                                <a:pt x="2" y="78"/>
                                              </a:lnTo>
                                              <a:lnTo>
                                                <a:pt x="10" y="78"/>
                                              </a:lnTo>
                                              <a:lnTo>
                                                <a:pt x="18" y="78"/>
                                              </a:lnTo>
                                              <a:lnTo>
                                                <a:pt x="22" y="78"/>
                                              </a:lnTo>
                                              <a:lnTo>
                                                <a:pt x="22" y="78"/>
                                              </a:lnTo>
                                              <a:lnTo>
                                                <a:pt x="26" y="80"/>
                                              </a:lnTo>
                                              <a:lnTo>
                                                <a:pt x="32" y="78"/>
                                              </a:lnTo>
                                              <a:lnTo>
                                                <a:pt x="36" y="78"/>
                                              </a:lnTo>
                                              <a:lnTo>
                                                <a:pt x="40" y="78"/>
                                              </a:lnTo>
                                              <a:lnTo>
                                                <a:pt x="40" y="78"/>
                                              </a:lnTo>
                                              <a:lnTo>
                                                <a:pt x="46" y="80"/>
                                              </a:lnTo>
                                              <a:lnTo>
                                                <a:pt x="58" y="82"/>
                                              </a:lnTo>
                                              <a:lnTo>
                                                <a:pt x="74" y="80"/>
                                              </a:lnTo>
                                              <a:lnTo>
                                                <a:pt x="90" y="76"/>
                                              </a:lnTo>
                                              <a:lnTo>
                                                <a:pt x="90" y="76"/>
                                              </a:lnTo>
                                              <a:lnTo>
                                                <a:pt x="92" y="62"/>
                                              </a:lnTo>
                                              <a:lnTo>
                                                <a:pt x="94" y="52"/>
                                              </a:lnTo>
                                              <a:lnTo>
                                                <a:pt x="100" y="46"/>
                                              </a:lnTo>
                                              <a:lnTo>
                                                <a:pt x="104" y="46"/>
                                              </a:lnTo>
                                              <a:lnTo>
                                                <a:pt x="106" y="46"/>
                                              </a:lnTo>
                                              <a:lnTo>
                                                <a:pt x="106" y="46"/>
                                              </a:lnTo>
                                              <a:lnTo>
                                                <a:pt x="112" y="48"/>
                                              </a:lnTo>
                                              <a:lnTo>
                                                <a:pt x="112" y="44"/>
                                              </a:lnTo>
                                              <a:lnTo>
                                                <a:pt x="112" y="44"/>
                                              </a:lnTo>
                                              <a:lnTo>
                                                <a:pt x="114" y="44"/>
                                              </a:lnTo>
                                              <a:lnTo>
                                                <a:pt x="122" y="46"/>
                                              </a:lnTo>
                                              <a:lnTo>
                                                <a:pt x="122" y="46"/>
                                              </a:lnTo>
                                              <a:lnTo>
                                                <a:pt x="130" y="48"/>
                                              </a:lnTo>
                                              <a:lnTo>
                                                <a:pt x="132" y="48"/>
                                              </a:lnTo>
                                              <a:lnTo>
                                                <a:pt x="132" y="46"/>
                                              </a:lnTo>
                                              <a:lnTo>
                                                <a:pt x="134" y="40"/>
                                              </a:lnTo>
                                              <a:lnTo>
                                                <a:pt x="138" y="38"/>
                                              </a:lnTo>
                                              <a:lnTo>
                                                <a:pt x="142" y="36"/>
                                              </a:lnTo>
                                              <a:lnTo>
                                                <a:pt x="142" y="36"/>
                                              </a:lnTo>
                                              <a:lnTo>
                                                <a:pt x="150" y="34"/>
                                              </a:lnTo>
                                              <a:lnTo>
                                                <a:pt x="152" y="36"/>
                                              </a:lnTo>
                                              <a:lnTo>
                                                <a:pt x="154" y="36"/>
                                              </a:lnTo>
                                              <a:lnTo>
                                                <a:pt x="158" y="34"/>
                                              </a:lnTo>
                                              <a:lnTo>
                                                <a:pt x="158" y="34"/>
                                              </a:lnTo>
                                              <a:lnTo>
                                                <a:pt x="166" y="28"/>
                                              </a:lnTo>
                                              <a:lnTo>
                                                <a:pt x="172" y="26"/>
                                              </a:lnTo>
                                              <a:lnTo>
                                                <a:pt x="174" y="24"/>
                                              </a:lnTo>
                                              <a:lnTo>
                                                <a:pt x="176" y="22"/>
                                              </a:lnTo>
                                              <a:lnTo>
                                                <a:pt x="176" y="22"/>
                                              </a:lnTo>
                                              <a:lnTo>
                                                <a:pt x="176" y="18"/>
                                              </a:lnTo>
                                              <a:lnTo>
                                                <a:pt x="180" y="18"/>
                                              </a:lnTo>
                                              <a:lnTo>
                                                <a:pt x="186" y="16"/>
                                              </a:lnTo>
                                              <a:lnTo>
                                                <a:pt x="190" y="16"/>
                                              </a:lnTo>
                                              <a:lnTo>
                                                <a:pt x="192" y="14"/>
                                              </a:lnTo>
                                              <a:lnTo>
                                                <a:pt x="192" y="12"/>
                                              </a:lnTo>
                                              <a:lnTo>
                                                <a:pt x="192" y="12"/>
                                              </a:lnTo>
                                              <a:lnTo>
                                                <a:pt x="188" y="16"/>
                                              </a:lnTo>
                                              <a:lnTo>
                                                <a:pt x="186" y="14"/>
                                              </a:lnTo>
                                              <a:lnTo>
                                                <a:pt x="184" y="10"/>
                                              </a:lnTo>
                                              <a:lnTo>
                                                <a:pt x="182" y="10"/>
                                              </a:lnTo>
                                              <a:lnTo>
                                                <a:pt x="178" y="10"/>
                                              </a:lnTo>
                                              <a:lnTo>
                                                <a:pt x="178" y="10"/>
                                              </a:lnTo>
                                              <a:lnTo>
                                                <a:pt x="170" y="10"/>
                                              </a:lnTo>
                                              <a:lnTo>
                                                <a:pt x="166" y="8"/>
                                              </a:lnTo>
                                              <a:lnTo>
                                                <a:pt x="166" y="6"/>
                                              </a:lnTo>
                                              <a:lnTo>
                                                <a:pt x="162" y="6"/>
                                              </a:lnTo>
                                              <a:lnTo>
                                                <a:pt x="162" y="6"/>
                                              </a:lnTo>
                                              <a:lnTo>
                                                <a:pt x="152" y="6"/>
                                              </a:lnTo>
                                              <a:lnTo>
                                                <a:pt x="136" y="6"/>
                                              </a:lnTo>
                                              <a:lnTo>
                                                <a:pt x="104" y="6"/>
                                              </a:lnTo>
                                              <a:lnTo>
                                                <a:pt x="104" y="6"/>
                                              </a:lnTo>
                                              <a:lnTo>
                                                <a:pt x="92" y="4"/>
                                              </a:lnTo>
                                              <a:lnTo>
                                                <a:pt x="82" y="0"/>
                                              </a:lnTo>
                                              <a:lnTo>
                                                <a:pt x="74" y="0"/>
                                              </a:lnTo>
                                              <a:lnTo>
                                                <a:pt x="72" y="2"/>
                                              </a:lnTo>
                                              <a:lnTo>
                                                <a:pt x="72" y="6"/>
                                              </a:lnTo>
                                              <a:lnTo>
                                                <a:pt x="72" y="6"/>
                                              </a:lnTo>
                                              <a:lnTo>
                                                <a:pt x="70" y="10"/>
                                              </a:lnTo>
                                              <a:lnTo>
                                                <a:pt x="70" y="10"/>
                                              </a:lnTo>
                                              <a:lnTo>
                                                <a:pt x="64" y="10"/>
                                              </a:lnTo>
                                              <a:lnTo>
                                                <a:pt x="56" y="8"/>
                                              </a:lnTo>
                                              <a:lnTo>
                                                <a:pt x="52" y="6"/>
                                              </a:lnTo>
                                              <a:lnTo>
                                                <a:pt x="48" y="8"/>
                                              </a:lnTo>
                                              <a:lnTo>
                                                <a:pt x="48" y="8"/>
                                              </a:lnTo>
                                              <a:lnTo>
                                                <a:pt x="40" y="8"/>
                                              </a:lnTo>
                                              <a:lnTo>
                                                <a:pt x="38" y="8"/>
                                              </a:lnTo>
                                              <a:lnTo>
                                                <a:pt x="34" y="8"/>
                                              </a:lnTo>
                                              <a:lnTo>
                                                <a:pt x="26" y="16"/>
                                              </a:lnTo>
                                              <a:lnTo>
                                                <a:pt x="26" y="16"/>
                                              </a:lnTo>
                                              <a:lnTo>
                                                <a:pt x="30" y="16"/>
                                              </a:lnTo>
                                              <a:lnTo>
                                                <a:pt x="32" y="18"/>
                                              </a:lnTo>
                                              <a:lnTo>
                                                <a:pt x="30" y="24"/>
                                              </a:lnTo>
                                              <a:lnTo>
                                                <a:pt x="24" y="32"/>
                                              </a:lnTo>
                                              <a:lnTo>
                                                <a:pt x="24" y="32"/>
                                              </a:lnTo>
                                              <a:lnTo>
                                                <a:pt x="16" y="42"/>
                                              </a:lnTo>
                                              <a:lnTo>
                                                <a:pt x="14" y="46"/>
                                              </a:lnTo>
                                              <a:lnTo>
                                                <a:pt x="14" y="48"/>
                                              </a:lnTo>
                                              <a:lnTo>
                                                <a:pt x="16" y="48"/>
                                              </a:lnTo>
                                              <a:lnTo>
                                                <a:pt x="20" y="44"/>
                                              </a:lnTo>
                                              <a:lnTo>
                                                <a:pt x="20" y="44"/>
                                              </a:lnTo>
                                              <a:lnTo>
                                                <a:pt x="24" y="42"/>
                                              </a:lnTo>
                                              <a:lnTo>
                                                <a:pt x="28" y="42"/>
                                              </a:lnTo>
                                              <a:lnTo>
                                                <a:pt x="32" y="44"/>
                                              </a:lnTo>
                                              <a:lnTo>
                                                <a:pt x="36" y="46"/>
                                              </a:lnTo>
                                              <a:lnTo>
                                                <a:pt x="40" y="46"/>
                                              </a:lnTo>
                                              <a:lnTo>
                                                <a:pt x="42" y="44"/>
                                              </a:lnTo>
                                              <a:lnTo>
                                                <a:pt x="42" y="44"/>
                                              </a:lnTo>
                                              <a:lnTo>
                                                <a:pt x="48" y="38"/>
                                              </a:lnTo>
                                              <a:lnTo>
                                                <a:pt x="50" y="38"/>
                                              </a:lnTo>
                                              <a:lnTo>
                                                <a:pt x="54" y="38"/>
                                              </a:lnTo>
                                              <a:lnTo>
                                                <a:pt x="56" y="42"/>
                                              </a:lnTo>
                                              <a:lnTo>
                                                <a:pt x="56" y="42"/>
                                              </a:lnTo>
                                              <a:lnTo>
                                                <a:pt x="58" y="46"/>
                                              </a:lnTo>
                                              <a:lnTo>
                                                <a:pt x="62" y="46"/>
                                              </a:lnTo>
                                              <a:lnTo>
                                                <a:pt x="68" y="50"/>
                                              </a:lnTo>
                                              <a:lnTo>
                                                <a:pt x="68" y="50"/>
                                              </a:lnTo>
                                              <a:lnTo>
                                                <a:pt x="72" y="50"/>
                                              </a:lnTo>
                                              <a:lnTo>
                                                <a:pt x="78" y="52"/>
                                              </a:lnTo>
                                              <a:lnTo>
                                                <a:pt x="82" y="52"/>
                                              </a:lnTo>
                                              <a:lnTo>
                                                <a:pt x="78" y="54"/>
                                              </a:lnTo>
                                              <a:lnTo>
                                                <a:pt x="78" y="54"/>
                                              </a:lnTo>
                                              <a:lnTo>
                                                <a:pt x="62" y="62"/>
                                              </a:lnTo>
                                              <a:lnTo>
                                                <a:pt x="56" y="64"/>
                                              </a:lnTo>
                                              <a:lnTo>
                                                <a:pt x="50" y="64"/>
                                              </a:lnTo>
                                              <a:lnTo>
                                                <a:pt x="50" y="64"/>
                                              </a:lnTo>
                                              <a:lnTo>
                                                <a:pt x="44" y="62"/>
                                              </a:lnTo>
                                              <a:lnTo>
                                                <a:pt x="40" y="64"/>
                                              </a:lnTo>
                                              <a:lnTo>
                                                <a:pt x="36" y="64"/>
                                              </a:lnTo>
                                              <a:lnTo>
                                                <a:pt x="30" y="64"/>
                                              </a:lnTo>
                                              <a:lnTo>
                                                <a:pt x="30" y="64"/>
                                              </a:lnTo>
                                              <a:close/>
                                            </a:path>
                                          </a:pathLst>
                                        </a:custGeom>
                                        <a:solidFill>
                                          <a:schemeClr val="accent3">
                                            <a:alpha val="99000"/>
                                          </a:schemeClr>
                                        </a:solid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grpSp>
                          </p:grpSp>
                        </p:grpSp>
                      </p:grpSp>
                      <p:sp>
                        <p:nvSpPr>
                          <p:cNvPr id="489" name="Freeform 164"/>
                          <p:cNvSpPr>
                            <a:spLocks/>
                          </p:cNvSpPr>
                          <p:nvPr/>
                        </p:nvSpPr>
                        <p:spPr bwMode="auto">
                          <a:xfrm>
                            <a:off x="6055609" y="2427405"/>
                            <a:ext cx="504248" cy="488608"/>
                          </a:xfrm>
                          <a:custGeom>
                            <a:avLst/>
                            <a:gdLst/>
                            <a:ahLst/>
                            <a:cxnLst>
                              <a:cxn ang="0">
                                <a:pos x="318" y="32"/>
                              </a:cxn>
                              <a:cxn ang="0">
                                <a:pos x="312" y="28"/>
                              </a:cxn>
                              <a:cxn ang="0">
                                <a:pos x="304" y="28"/>
                              </a:cxn>
                              <a:cxn ang="0">
                                <a:pos x="296" y="24"/>
                              </a:cxn>
                              <a:cxn ang="0">
                                <a:pos x="292" y="20"/>
                              </a:cxn>
                              <a:cxn ang="0">
                                <a:pos x="282" y="14"/>
                              </a:cxn>
                              <a:cxn ang="0">
                                <a:pos x="266" y="12"/>
                              </a:cxn>
                              <a:cxn ang="0">
                                <a:pos x="264" y="14"/>
                              </a:cxn>
                              <a:cxn ang="0">
                                <a:pos x="262" y="10"/>
                              </a:cxn>
                              <a:cxn ang="0">
                                <a:pos x="244" y="10"/>
                              </a:cxn>
                              <a:cxn ang="0">
                                <a:pos x="228" y="20"/>
                              </a:cxn>
                              <a:cxn ang="0">
                                <a:pos x="220" y="36"/>
                              </a:cxn>
                              <a:cxn ang="0">
                                <a:pos x="226" y="38"/>
                              </a:cxn>
                              <a:cxn ang="0">
                                <a:pos x="220" y="60"/>
                              </a:cxn>
                              <a:cxn ang="0">
                                <a:pos x="210" y="64"/>
                              </a:cxn>
                              <a:cxn ang="0">
                                <a:pos x="196" y="60"/>
                              </a:cxn>
                              <a:cxn ang="0">
                                <a:pos x="174" y="48"/>
                              </a:cxn>
                              <a:cxn ang="0">
                                <a:pos x="152" y="42"/>
                              </a:cxn>
                              <a:cxn ang="0">
                                <a:pos x="138" y="42"/>
                              </a:cxn>
                              <a:cxn ang="0">
                                <a:pos x="130" y="36"/>
                              </a:cxn>
                              <a:cxn ang="0">
                                <a:pos x="126" y="20"/>
                              </a:cxn>
                              <a:cxn ang="0">
                                <a:pos x="116" y="18"/>
                              </a:cxn>
                              <a:cxn ang="0">
                                <a:pos x="110" y="14"/>
                              </a:cxn>
                              <a:cxn ang="0">
                                <a:pos x="96" y="12"/>
                              </a:cxn>
                              <a:cxn ang="0">
                                <a:pos x="88" y="10"/>
                              </a:cxn>
                              <a:cxn ang="0">
                                <a:pos x="76" y="8"/>
                              </a:cxn>
                              <a:cxn ang="0">
                                <a:pos x="62" y="8"/>
                              </a:cxn>
                              <a:cxn ang="0">
                                <a:pos x="44" y="0"/>
                              </a:cxn>
                              <a:cxn ang="0">
                                <a:pos x="44" y="12"/>
                              </a:cxn>
                              <a:cxn ang="0">
                                <a:pos x="40" y="20"/>
                              </a:cxn>
                              <a:cxn ang="0">
                                <a:pos x="28" y="26"/>
                              </a:cxn>
                              <a:cxn ang="0">
                                <a:pos x="24" y="34"/>
                              </a:cxn>
                              <a:cxn ang="0">
                                <a:pos x="20" y="48"/>
                              </a:cxn>
                              <a:cxn ang="0">
                                <a:pos x="22" y="56"/>
                              </a:cxn>
                              <a:cxn ang="0">
                                <a:pos x="8" y="68"/>
                              </a:cxn>
                              <a:cxn ang="0">
                                <a:pos x="0" y="72"/>
                              </a:cxn>
                              <a:cxn ang="0">
                                <a:pos x="4" y="78"/>
                              </a:cxn>
                              <a:cxn ang="0">
                                <a:pos x="8" y="98"/>
                              </a:cxn>
                              <a:cxn ang="0">
                                <a:pos x="20" y="120"/>
                              </a:cxn>
                              <a:cxn ang="0">
                                <a:pos x="18" y="132"/>
                              </a:cxn>
                              <a:cxn ang="0">
                                <a:pos x="18" y="138"/>
                              </a:cxn>
                              <a:cxn ang="0">
                                <a:pos x="22" y="144"/>
                              </a:cxn>
                              <a:cxn ang="0">
                                <a:pos x="18" y="150"/>
                              </a:cxn>
                              <a:cxn ang="0">
                                <a:pos x="8" y="158"/>
                              </a:cxn>
                              <a:cxn ang="0">
                                <a:pos x="6" y="164"/>
                              </a:cxn>
                              <a:cxn ang="0">
                                <a:pos x="18" y="172"/>
                              </a:cxn>
                              <a:cxn ang="0">
                                <a:pos x="20" y="178"/>
                              </a:cxn>
                              <a:cxn ang="0">
                                <a:pos x="24" y="184"/>
                              </a:cxn>
                              <a:cxn ang="0">
                                <a:pos x="32" y="192"/>
                              </a:cxn>
                              <a:cxn ang="0">
                                <a:pos x="46" y="196"/>
                              </a:cxn>
                              <a:cxn ang="0">
                                <a:pos x="64" y="208"/>
                              </a:cxn>
                              <a:cxn ang="0">
                                <a:pos x="130" y="222"/>
                              </a:cxn>
                              <a:cxn ang="0">
                                <a:pos x="154" y="210"/>
                              </a:cxn>
                              <a:cxn ang="0">
                                <a:pos x="176" y="214"/>
                              </a:cxn>
                              <a:cxn ang="0">
                                <a:pos x="332" y="322"/>
                              </a:cxn>
                              <a:cxn ang="0">
                                <a:pos x="318" y="96"/>
                              </a:cxn>
                              <a:cxn ang="0">
                                <a:pos x="320" y="82"/>
                              </a:cxn>
                              <a:cxn ang="0">
                                <a:pos x="318" y="76"/>
                              </a:cxn>
                              <a:cxn ang="0">
                                <a:pos x="320" y="66"/>
                              </a:cxn>
                              <a:cxn ang="0">
                                <a:pos x="318" y="58"/>
                              </a:cxn>
                              <a:cxn ang="0">
                                <a:pos x="320" y="32"/>
                              </a:cxn>
                            </a:cxnLst>
                            <a:rect l="0" t="0" r="r" b="b"/>
                            <a:pathLst>
                              <a:path w="332" h="322">
                                <a:moveTo>
                                  <a:pt x="320" y="32"/>
                                </a:moveTo>
                                <a:lnTo>
                                  <a:pt x="320" y="32"/>
                                </a:lnTo>
                                <a:lnTo>
                                  <a:pt x="318" y="32"/>
                                </a:lnTo>
                                <a:lnTo>
                                  <a:pt x="318" y="30"/>
                                </a:lnTo>
                                <a:lnTo>
                                  <a:pt x="316" y="28"/>
                                </a:lnTo>
                                <a:lnTo>
                                  <a:pt x="312" y="28"/>
                                </a:lnTo>
                                <a:lnTo>
                                  <a:pt x="312" y="28"/>
                                </a:lnTo>
                                <a:lnTo>
                                  <a:pt x="306" y="28"/>
                                </a:lnTo>
                                <a:lnTo>
                                  <a:pt x="304" y="28"/>
                                </a:lnTo>
                                <a:lnTo>
                                  <a:pt x="304" y="24"/>
                                </a:lnTo>
                                <a:lnTo>
                                  <a:pt x="296" y="24"/>
                                </a:lnTo>
                                <a:lnTo>
                                  <a:pt x="296" y="24"/>
                                </a:lnTo>
                                <a:lnTo>
                                  <a:pt x="290" y="24"/>
                                </a:lnTo>
                                <a:lnTo>
                                  <a:pt x="290" y="22"/>
                                </a:lnTo>
                                <a:lnTo>
                                  <a:pt x="292" y="20"/>
                                </a:lnTo>
                                <a:lnTo>
                                  <a:pt x="290" y="18"/>
                                </a:lnTo>
                                <a:lnTo>
                                  <a:pt x="288" y="18"/>
                                </a:lnTo>
                                <a:lnTo>
                                  <a:pt x="282" y="14"/>
                                </a:lnTo>
                                <a:lnTo>
                                  <a:pt x="282" y="14"/>
                                </a:lnTo>
                                <a:lnTo>
                                  <a:pt x="270" y="12"/>
                                </a:lnTo>
                                <a:lnTo>
                                  <a:pt x="266" y="12"/>
                                </a:lnTo>
                                <a:lnTo>
                                  <a:pt x="266" y="14"/>
                                </a:lnTo>
                                <a:lnTo>
                                  <a:pt x="264" y="14"/>
                                </a:lnTo>
                                <a:lnTo>
                                  <a:pt x="264" y="14"/>
                                </a:lnTo>
                                <a:lnTo>
                                  <a:pt x="260" y="12"/>
                                </a:lnTo>
                                <a:lnTo>
                                  <a:pt x="262" y="12"/>
                                </a:lnTo>
                                <a:lnTo>
                                  <a:pt x="262" y="10"/>
                                </a:lnTo>
                                <a:lnTo>
                                  <a:pt x="254" y="10"/>
                                </a:lnTo>
                                <a:lnTo>
                                  <a:pt x="254" y="10"/>
                                </a:lnTo>
                                <a:lnTo>
                                  <a:pt x="244" y="10"/>
                                </a:lnTo>
                                <a:lnTo>
                                  <a:pt x="238" y="12"/>
                                </a:lnTo>
                                <a:lnTo>
                                  <a:pt x="228" y="20"/>
                                </a:lnTo>
                                <a:lnTo>
                                  <a:pt x="228" y="20"/>
                                </a:lnTo>
                                <a:lnTo>
                                  <a:pt x="222" y="26"/>
                                </a:lnTo>
                                <a:lnTo>
                                  <a:pt x="220" y="30"/>
                                </a:lnTo>
                                <a:lnTo>
                                  <a:pt x="220" y="36"/>
                                </a:lnTo>
                                <a:lnTo>
                                  <a:pt x="222" y="38"/>
                                </a:lnTo>
                                <a:lnTo>
                                  <a:pt x="222" y="38"/>
                                </a:lnTo>
                                <a:lnTo>
                                  <a:pt x="226" y="38"/>
                                </a:lnTo>
                                <a:lnTo>
                                  <a:pt x="226" y="42"/>
                                </a:lnTo>
                                <a:lnTo>
                                  <a:pt x="226" y="52"/>
                                </a:lnTo>
                                <a:lnTo>
                                  <a:pt x="220" y="60"/>
                                </a:lnTo>
                                <a:lnTo>
                                  <a:pt x="216" y="64"/>
                                </a:lnTo>
                                <a:lnTo>
                                  <a:pt x="210" y="64"/>
                                </a:lnTo>
                                <a:lnTo>
                                  <a:pt x="210" y="64"/>
                                </a:lnTo>
                                <a:lnTo>
                                  <a:pt x="204" y="66"/>
                                </a:lnTo>
                                <a:lnTo>
                                  <a:pt x="200" y="64"/>
                                </a:lnTo>
                                <a:lnTo>
                                  <a:pt x="196" y="60"/>
                                </a:lnTo>
                                <a:lnTo>
                                  <a:pt x="186" y="54"/>
                                </a:lnTo>
                                <a:lnTo>
                                  <a:pt x="186" y="54"/>
                                </a:lnTo>
                                <a:lnTo>
                                  <a:pt x="174" y="48"/>
                                </a:lnTo>
                                <a:lnTo>
                                  <a:pt x="166" y="46"/>
                                </a:lnTo>
                                <a:lnTo>
                                  <a:pt x="158" y="44"/>
                                </a:lnTo>
                                <a:lnTo>
                                  <a:pt x="152" y="42"/>
                                </a:lnTo>
                                <a:lnTo>
                                  <a:pt x="152" y="42"/>
                                </a:lnTo>
                                <a:lnTo>
                                  <a:pt x="146" y="42"/>
                                </a:lnTo>
                                <a:lnTo>
                                  <a:pt x="138" y="42"/>
                                </a:lnTo>
                                <a:lnTo>
                                  <a:pt x="136" y="42"/>
                                </a:lnTo>
                                <a:lnTo>
                                  <a:pt x="132" y="40"/>
                                </a:lnTo>
                                <a:lnTo>
                                  <a:pt x="130" y="36"/>
                                </a:lnTo>
                                <a:lnTo>
                                  <a:pt x="128" y="28"/>
                                </a:lnTo>
                                <a:lnTo>
                                  <a:pt x="128" y="28"/>
                                </a:lnTo>
                                <a:lnTo>
                                  <a:pt x="126" y="20"/>
                                </a:lnTo>
                                <a:lnTo>
                                  <a:pt x="124" y="20"/>
                                </a:lnTo>
                                <a:lnTo>
                                  <a:pt x="118" y="20"/>
                                </a:lnTo>
                                <a:lnTo>
                                  <a:pt x="116" y="18"/>
                                </a:lnTo>
                                <a:lnTo>
                                  <a:pt x="112" y="16"/>
                                </a:lnTo>
                                <a:lnTo>
                                  <a:pt x="112" y="16"/>
                                </a:lnTo>
                                <a:lnTo>
                                  <a:pt x="110" y="14"/>
                                </a:lnTo>
                                <a:lnTo>
                                  <a:pt x="106" y="12"/>
                                </a:lnTo>
                                <a:lnTo>
                                  <a:pt x="100" y="12"/>
                                </a:lnTo>
                                <a:lnTo>
                                  <a:pt x="96" y="12"/>
                                </a:lnTo>
                                <a:lnTo>
                                  <a:pt x="92" y="12"/>
                                </a:lnTo>
                                <a:lnTo>
                                  <a:pt x="88" y="10"/>
                                </a:lnTo>
                                <a:lnTo>
                                  <a:pt x="88" y="10"/>
                                </a:lnTo>
                                <a:lnTo>
                                  <a:pt x="86" y="8"/>
                                </a:lnTo>
                                <a:lnTo>
                                  <a:pt x="82" y="6"/>
                                </a:lnTo>
                                <a:lnTo>
                                  <a:pt x="76" y="8"/>
                                </a:lnTo>
                                <a:lnTo>
                                  <a:pt x="70" y="10"/>
                                </a:lnTo>
                                <a:lnTo>
                                  <a:pt x="66" y="10"/>
                                </a:lnTo>
                                <a:lnTo>
                                  <a:pt x="62" y="8"/>
                                </a:lnTo>
                                <a:lnTo>
                                  <a:pt x="62" y="8"/>
                                </a:lnTo>
                                <a:lnTo>
                                  <a:pt x="50" y="4"/>
                                </a:lnTo>
                                <a:lnTo>
                                  <a:pt x="44" y="0"/>
                                </a:lnTo>
                                <a:lnTo>
                                  <a:pt x="42" y="12"/>
                                </a:lnTo>
                                <a:lnTo>
                                  <a:pt x="42" y="12"/>
                                </a:lnTo>
                                <a:lnTo>
                                  <a:pt x="44" y="12"/>
                                </a:lnTo>
                                <a:lnTo>
                                  <a:pt x="46" y="14"/>
                                </a:lnTo>
                                <a:lnTo>
                                  <a:pt x="44" y="18"/>
                                </a:lnTo>
                                <a:lnTo>
                                  <a:pt x="40" y="20"/>
                                </a:lnTo>
                                <a:lnTo>
                                  <a:pt x="40" y="20"/>
                                </a:lnTo>
                                <a:lnTo>
                                  <a:pt x="32" y="24"/>
                                </a:lnTo>
                                <a:lnTo>
                                  <a:pt x="28" y="26"/>
                                </a:lnTo>
                                <a:lnTo>
                                  <a:pt x="26" y="30"/>
                                </a:lnTo>
                                <a:lnTo>
                                  <a:pt x="26" y="30"/>
                                </a:lnTo>
                                <a:lnTo>
                                  <a:pt x="24" y="34"/>
                                </a:lnTo>
                                <a:lnTo>
                                  <a:pt x="20" y="38"/>
                                </a:lnTo>
                                <a:lnTo>
                                  <a:pt x="18" y="42"/>
                                </a:lnTo>
                                <a:lnTo>
                                  <a:pt x="20" y="48"/>
                                </a:lnTo>
                                <a:lnTo>
                                  <a:pt x="20" y="48"/>
                                </a:lnTo>
                                <a:lnTo>
                                  <a:pt x="22" y="52"/>
                                </a:lnTo>
                                <a:lnTo>
                                  <a:pt x="22" y="56"/>
                                </a:lnTo>
                                <a:lnTo>
                                  <a:pt x="20" y="60"/>
                                </a:lnTo>
                                <a:lnTo>
                                  <a:pt x="16" y="64"/>
                                </a:lnTo>
                                <a:lnTo>
                                  <a:pt x="8" y="68"/>
                                </a:lnTo>
                                <a:lnTo>
                                  <a:pt x="2" y="72"/>
                                </a:lnTo>
                                <a:lnTo>
                                  <a:pt x="2" y="72"/>
                                </a:lnTo>
                                <a:lnTo>
                                  <a:pt x="0" y="72"/>
                                </a:lnTo>
                                <a:lnTo>
                                  <a:pt x="0" y="74"/>
                                </a:lnTo>
                                <a:lnTo>
                                  <a:pt x="4" y="78"/>
                                </a:lnTo>
                                <a:lnTo>
                                  <a:pt x="4" y="78"/>
                                </a:lnTo>
                                <a:lnTo>
                                  <a:pt x="6" y="84"/>
                                </a:lnTo>
                                <a:lnTo>
                                  <a:pt x="6" y="90"/>
                                </a:lnTo>
                                <a:lnTo>
                                  <a:pt x="8" y="98"/>
                                </a:lnTo>
                                <a:lnTo>
                                  <a:pt x="14" y="108"/>
                                </a:lnTo>
                                <a:lnTo>
                                  <a:pt x="14" y="108"/>
                                </a:lnTo>
                                <a:lnTo>
                                  <a:pt x="20" y="120"/>
                                </a:lnTo>
                                <a:lnTo>
                                  <a:pt x="22" y="126"/>
                                </a:lnTo>
                                <a:lnTo>
                                  <a:pt x="20" y="130"/>
                                </a:lnTo>
                                <a:lnTo>
                                  <a:pt x="18" y="132"/>
                                </a:lnTo>
                                <a:lnTo>
                                  <a:pt x="18" y="132"/>
                                </a:lnTo>
                                <a:lnTo>
                                  <a:pt x="16" y="134"/>
                                </a:lnTo>
                                <a:lnTo>
                                  <a:pt x="18" y="138"/>
                                </a:lnTo>
                                <a:lnTo>
                                  <a:pt x="18" y="138"/>
                                </a:lnTo>
                                <a:lnTo>
                                  <a:pt x="22" y="142"/>
                                </a:lnTo>
                                <a:lnTo>
                                  <a:pt x="22" y="144"/>
                                </a:lnTo>
                                <a:lnTo>
                                  <a:pt x="20" y="146"/>
                                </a:lnTo>
                                <a:lnTo>
                                  <a:pt x="18" y="150"/>
                                </a:lnTo>
                                <a:lnTo>
                                  <a:pt x="18" y="150"/>
                                </a:lnTo>
                                <a:lnTo>
                                  <a:pt x="16" y="154"/>
                                </a:lnTo>
                                <a:lnTo>
                                  <a:pt x="14" y="156"/>
                                </a:lnTo>
                                <a:lnTo>
                                  <a:pt x="8" y="158"/>
                                </a:lnTo>
                                <a:lnTo>
                                  <a:pt x="6" y="160"/>
                                </a:lnTo>
                                <a:lnTo>
                                  <a:pt x="6" y="162"/>
                                </a:lnTo>
                                <a:lnTo>
                                  <a:pt x="6" y="164"/>
                                </a:lnTo>
                                <a:lnTo>
                                  <a:pt x="6" y="164"/>
                                </a:lnTo>
                                <a:lnTo>
                                  <a:pt x="14" y="170"/>
                                </a:lnTo>
                                <a:lnTo>
                                  <a:pt x="18" y="172"/>
                                </a:lnTo>
                                <a:lnTo>
                                  <a:pt x="20" y="174"/>
                                </a:lnTo>
                                <a:lnTo>
                                  <a:pt x="20" y="178"/>
                                </a:lnTo>
                                <a:lnTo>
                                  <a:pt x="20" y="178"/>
                                </a:lnTo>
                                <a:lnTo>
                                  <a:pt x="20" y="182"/>
                                </a:lnTo>
                                <a:lnTo>
                                  <a:pt x="22" y="182"/>
                                </a:lnTo>
                                <a:lnTo>
                                  <a:pt x="24" y="184"/>
                                </a:lnTo>
                                <a:lnTo>
                                  <a:pt x="28" y="188"/>
                                </a:lnTo>
                                <a:lnTo>
                                  <a:pt x="28" y="188"/>
                                </a:lnTo>
                                <a:lnTo>
                                  <a:pt x="32" y="192"/>
                                </a:lnTo>
                                <a:lnTo>
                                  <a:pt x="36" y="192"/>
                                </a:lnTo>
                                <a:lnTo>
                                  <a:pt x="40" y="192"/>
                                </a:lnTo>
                                <a:lnTo>
                                  <a:pt x="46" y="196"/>
                                </a:lnTo>
                                <a:lnTo>
                                  <a:pt x="46" y="196"/>
                                </a:lnTo>
                                <a:lnTo>
                                  <a:pt x="60" y="206"/>
                                </a:lnTo>
                                <a:lnTo>
                                  <a:pt x="64" y="208"/>
                                </a:lnTo>
                                <a:lnTo>
                                  <a:pt x="108" y="216"/>
                                </a:lnTo>
                                <a:lnTo>
                                  <a:pt x="116" y="226"/>
                                </a:lnTo>
                                <a:lnTo>
                                  <a:pt x="130" y="222"/>
                                </a:lnTo>
                                <a:lnTo>
                                  <a:pt x="130" y="222"/>
                                </a:lnTo>
                                <a:lnTo>
                                  <a:pt x="154" y="210"/>
                                </a:lnTo>
                                <a:lnTo>
                                  <a:pt x="154" y="210"/>
                                </a:lnTo>
                                <a:lnTo>
                                  <a:pt x="160" y="208"/>
                                </a:lnTo>
                                <a:lnTo>
                                  <a:pt x="166" y="208"/>
                                </a:lnTo>
                                <a:lnTo>
                                  <a:pt x="176" y="214"/>
                                </a:lnTo>
                                <a:lnTo>
                                  <a:pt x="176" y="214"/>
                                </a:lnTo>
                                <a:lnTo>
                                  <a:pt x="316" y="322"/>
                                </a:lnTo>
                                <a:lnTo>
                                  <a:pt x="332" y="322"/>
                                </a:lnTo>
                                <a:lnTo>
                                  <a:pt x="330" y="266"/>
                                </a:lnTo>
                                <a:lnTo>
                                  <a:pt x="330" y="266"/>
                                </a:lnTo>
                                <a:lnTo>
                                  <a:pt x="318" y="96"/>
                                </a:lnTo>
                                <a:lnTo>
                                  <a:pt x="318" y="96"/>
                                </a:lnTo>
                                <a:lnTo>
                                  <a:pt x="320" y="86"/>
                                </a:lnTo>
                                <a:lnTo>
                                  <a:pt x="320" y="82"/>
                                </a:lnTo>
                                <a:lnTo>
                                  <a:pt x="322" y="80"/>
                                </a:lnTo>
                                <a:lnTo>
                                  <a:pt x="318" y="76"/>
                                </a:lnTo>
                                <a:lnTo>
                                  <a:pt x="318" y="76"/>
                                </a:lnTo>
                                <a:lnTo>
                                  <a:pt x="316" y="74"/>
                                </a:lnTo>
                                <a:lnTo>
                                  <a:pt x="316" y="72"/>
                                </a:lnTo>
                                <a:lnTo>
                                  <a:pt x="320" y="66"/>
                                </a:lnTo>
                                <a:lnTo>
                                  <a:pt x="322" y="62"/>
                                </a:lnTo>
                                <a:lnTo>
                                  <a:pt x="322" y="60"/>
                                </a:lnTo>
                                <a:lnTo>
                                  <a:pt x="318" y="58"/>
                                </a:lnTo>
                                <a:lnTo>
                                  <a:pt x="318" y="58"/>
                                </a:lnTo>
                                <a:lnTo>
                                  <a:pt x="318" y="42"/>
                                </a:lnTo>
                                <a:lnTo>
                                  <a:pt x="320" y="32"/>
                                </a:lnTo>
                                <a:lnTo>
                                  <a:pt x="320" y="32"/>
                                </a:lnTo>
                                <a:close/>
                              </a:path>
                            </a:pathLst>
                          </a:custGeom>
                          <a:solidFill>
                            <a:schemeClr val="accent3">
                              <a:alpha val="99000"/>
                            </a:schemeClr>
                          </a:solid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91" name="Lesotho"/>
                        <p:cNvSpPr>
                          <a:spLocks/>
                        </p:cNvSpPr>
                        <p:nvPr/>
                      </p:nvSpPr>
                      <p:spPr bwMode="auto">
                        <a:xfrm>
                          <a:off x="6611752" y="4749184"/>
                          <a:ext cx="72903" cy="72836"/>
                        </a:xfrm>
                        <a:custGeom>
                          <a:avLst/>
                          <a:gdLst/>
                          <a:ahLst/>
                          <a:cxnLst>
                            <a:cxn ang="0">
                              <a:pos x="38" y="2"/>
                            </a:cxn>
                            <a:cxn ang="0">
                              <a:pos x="38" y="2"/>
                            </a:cxn>
                            <a:cxn ang="0">
                              <a:pos x="26" y="0"/>
                            </a:cxn>
                            <a:cxn ang="0">
                              <a:pos x="20" y="2"/>
                            </a:cxn>
                            <a:cxn ang="0">
                              <a:pos x="14" y="8"/>
                            </a:cxn>
                            <a:cxn ang="0">
                              <a:pos x="10" y="14"/>
                            </a:cxn>
                            <a:cxn ang="0">
                              <a:pos x="10" y="14"/>
                            </a:cxn>
                            <a:cxn ang="0">
                              <a:pos x="0" y="26"/>
                            </a:cxn>
                            <a:cxn ang="0">
                              <a:pos x="0" y="30"/>
                            </a:cxn>
                            <a:cxn ang="0">
                              <a:pos x="4" y="38"/>
                            </a:cxn>
                            <a:cxn ang="0">
                              <a:pos x="4" y="38"/>
                            </a:cxn>
                            <a:cxn ang="0">
                              <a:pos x="10" y="46"/>
                            </a:cxn>
                            <a:cxn ang="0">
                              <a:pos x="16" y="48"/>
                            </a:cxn>
                            <a:cxn ang="0">
                              <a:pos x="20" y="48"/>
                            </a:cxn>
                            <a:cxn ang="0">
                              <a:pos x="24" y="44"/>
                            </a:cxn>
                            <a:cxn ang="0">
                              <a:pos x="24" y="44"/>
                            </a:cxn>
                            <a:cxn ang="0">
                              <a:pos x="28" y="38"/>
                            </a:cxn>
                            <a:cxn ang="0">
                              <a:pos x="32" y="36"/>
                            </a:cxn>
                            <a:cxn ang="0">
                              <a:pos x="38" y="34"/>
                            </a:cxn>
                            <a:cxn ang="0">
                              <a:pos x="44" y="28"/>
                            </a:cxn>
                            <a:cxn ang="0">
                              <a:pos x="44" y="28"/>
                            </a:cxn>
                            <a:cxn ang="0">
                              <a:pos x="48" y="22"/>
                            </a:cxn>
                            <a:cxn ang="0">
                              <a:pos x="48" y="18"/>
                            </a:cxn>
                            <a:cxn ang="0">
                              <a:pos x="48" y="14"/>
                            </a:cxn>
                            <a:cxn ang="0">
                              <a:pos x="48" y="14"/>
                            </a:cxn>
                            <a:cxn ang="0">
                              <a:pos x="46" y="6"/>
                            </a:cxn>
                            <a:cxn ang="0">
                              <a:pos x="42" y="4"/>
                            </a:cxn>
                            <a:cxn ang="0">
                              <a:pos x="38" y="2"/>
                            </a:cxn>
                            <a:cxn ang="0">
                              <a:pos x="38" y="2"/>
                            </a:cxn>
                          </a:cxnLst>
                          <a:rect l="0" t="0" r="r" b="b"/>
                          <a:pathLst>
                            <a:path w="48" h="48">
                              <a:moveTo>
                                <a:pt x="38" y="2"/>
                              </a:moveTo>
                              <a:lnTo>
                                <a:pt x="38" y="2"/>
                              </a:lnTo>
                              <a:lnTo>
                                <a:pt x="26" y="0"/>
                              </a:lnTo>
                              <a:lnTo>
                                <a:pt x="20" y="2"/>
                              </a:lnTo>
                              <a:lnTo>
                                <a:pt x="14" y="8"/>
                              </a:lnTo>
                              <a:lnTo>
                                <a:pt x="10" y="14"/>
                              </a:lnTo>
                              <a:lnTo>
                                <a:pt x="10" y="14"/>
                              </a:lnTo>
                              <a:lnTo>
                                <a:pt x="0" y="26"/>
                              </a:lnTo>
                              <a:lnTo>
                                <a:pt x="0" y="30"/>
                              </a:lnTo>
                              <a:lnTo>
                                <a:pt x="4" y="38"/>
                              </a:lnTo>
                              <a:lnTo>
                                <a:pt x="4" y="38"/>
                              </a:lnTo>
                              <a:lnTo>
                                <a:pt x="10" y="46"/>
                              </a:lnTo>
                              <a:lnTo>
                                <a:pt x="16" y="48"/>
                              </a:lnTo>
                              <a:lnTo>
                                <a:pt x="20" y="48"/>
                              </a:lnTo>
                              <a:lnTo>
                                <a:pt x="24" y="44"/>
                              </a:lnTo>
                              <a:lnTo>
                                <a:pt x="24" y="44"/>
                              </a:lnTo>
                              <a:lnTo>
                                <a:pt x="28" y="38"/>
                              </a:lnTo>
                              <a:lnTo>
                                <a:pt x="32" y="36"/>
                              </a:lnTo>
                              <a:lnTo>
                                <a:pt x="38" y="34"/>
                              </a:lnTo>
                              <a:lnTo>
                                <a:pt x="44" y="28"/>
                              </a:lnTo>
                              <a:lnTo>
                                <a:pt x="44" y="28"/>
                              </a:lnTo>
                              <a:lnTo>
                                <a:pt x="48" y="22"/>
                              </a:lnTo>
                              <a:lnTo>
                                <a:pt x="48" y="18"/>
                              </a:lnTo>
                              <a:lnTo>
                                <a:pt x="48" y="14"/>
                              </a:lnTo>
                              <a:lnTo>
                                <a:pt x="48" y="14"/>
                              </a:lnTo>
                              <a:lnTo>
                                <a:pt x="46" y="6"/>
                              </a:lnTo>
                              <a:lnTo>
                                <a:pt x="42" y="4"/>
                              </a:lnTo>
                              <a:lnTo>
                                <a:pt x="38" y="2"/>
                              </a:lnTo>
                              <a:lnTo>
                                <a:pt x="38" y="2"/>
                              </a:lnTo>
                              <a:close/>
                            </a:path>
                          </a:pathLst>
                        </a:custGeom>
                        <a:solidFill>
                          <a:schemeClr val="accent3"/>
                        </a:solid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93" name="Iceland"/>
                      <p:cNvSpPr>
                        <a:spLocks/>
                      </p:cNvSpPr>
                      <p:nvPr/>
                    </p:nvSpPr>
                    <p:spPr bwMode="auto">
                      <a:xfrm>
                        <a:off x="5200099" y="1447800"/>
                        <a:ext cx="243012" cy="75871"/>
                      </a:xfrm>
                      <a:custGeom>
                        <a:avLst/>
                        <a:gdLst/>
                        <a:ahLst/>
                        <a:cxnLst>
                          <a:cxn ang="0">
                            <a:pos x="28" y="44"/>
                          </a:cxn>
                          <a:cxn ang="0">
                            <a:pos x="42" y="44"/>
                          </a:cxn>
                          <a:cxn ang="0">
                            <a:pos x="58" y="48"/>
                          </a:cxn>
                          <a:cxn ang="0">
                            <a:pos x="88" y="48"/>
                          </a:cxn>
                          <a:cxn ang="0">
                            <a:pos x="106" y="42"/>
                          </a:cxn>
                          <a:cxn ang="0">
                            <a:pos x="124" y="36"/>
                          </a:cxn>
                          <a:cxn ang="0">
                            <a:pos x="138" y="34"/>
                          </a:cxn>
                          <a:cxn ang="0">
                            <a:pos x="146" y="30"/>
                          </a:cxn>
                          <a:cxn ang="0">
                            <a:pos x="152" y="26"/>
                          </a:cxn>
                          <a:cxn ang="0">
                            <a:pos x="154" y="22"/>
                          </a:cxn>
                          <a:cxn ang="0">
                            <a:pos x="160" y="18"/>
                          </a:cxn>
                          <a:cxn ang="0">
                            <a:pos x="156" y="16"/>
                          </a:cxn>
                          <a:cxn ang="0">
                            <a:pos x="152" y="12"/>
                          </a:cxn>
                          <a:cxn ang="0">
                            <a:pos x="140" y="12"/>
                          </a:cxn>
                          <a:cxn ang="0">
                            <a:pos x="144" y="6"/>
                          </a:cxn>
                          <a:cxn ang="0">
                            <a:pos x="144" y="4"/>
                          </a:cxn>
                          <a:cxn ang="0">
                            <a:pos x="146" y="2"/>
                          </a:cxn>
                          <a:cxn ang="0">
                            <a:pos x="130" y="6"/>
                          </a:cxn>
                          <a:cxn ang="0">
                            <a:pos x="126" y="2"/>
                          </a:cxn>
                          <a:cxn ang="0">
                            <a:pos x="118" y="2"/>
                          </a:cxn>
                          <a:cxn ang="0">
                            <a:pos x="116" y="6"/>
                          </a:cxn>
                          <a:cxn ang="0">
                            <a:pos x="110" y="6"/>
                          </a:cxn>
                          <a:cxn ang="0">
                            <a:pos x="104" y="10"/>
                          </a:cxn>
                          <a:cxn ang="0">
                            <a:pos x="96" y="12"/>
                          </a:cxn>
                          <a:cxn ang="0">
                            <a:pos x="90" y="10"/>
                          </a:cxn>
                          <a:cxn ang="0">
                            <a:pos x="84" y="6"/>
                          </a:cxn>
                          <a:cxn ang="0">
                            <a:pos x="74" y="10"/>
                          </a:cxn>
                          <a:cxn ang="0">
                            <a:pos x="70" y="12"/>
                          </a:cxn>
                          <a:cxn ang="0">
                            <a:pos x="68" y="8"/>
                          </a:cxn>
                          <a:cxn ang="0">
                            <a:pos x="60" y="12"/>
                          </a:cxn>
                          <a:cxn ang="0">
                            <a:pos x="58" y="16"/>
                          </a:cxn>
                          <a:cxn ang="0">
                            <a:pos x="54" y="16"/>
                          </a:cxn>
                          <a:cxn ang="0">
                            <a:pos x="50" y="22"/>
                          </a:cxn>
                          <a:cxn ang="0">
                            <a:pos x="46" y="18"/>
                          </a:cxn>
                          <a:cxn ang="0">
                            <a:pos x="46" y="16"/>
                          </a:cxn>
                          <a:cxn ang="0">
                            <a:pos x="46" y="12"/>
                          </a:cxn>
                          <a:cxn ang="0">
                            <a:pos x="42" y="8"/>
                          </a:cxn>
                          <a:cxn ang="0">
                            <a:pos x="34" y="4"/>
                          </a:cxn>
                          <a:cxn ang="0">
                            <a:pos x="30" y="6"/>
                          </a:cxn>
                          <a:cxn ang="0">
                            <a:pos x="30" y="8"/>
                          </a:cxn>
                          <a:cxn ang="0">
                            <a:pos x="32" y="12"/>
                          </a:cxn>
                          <a:cxn ang="0">
                            <a:pos x="18" y="8"/>
                          </a:cxn>
                          <a:cxn ang="0">
                            <a:pos x="14" y="10"/>
                          </a:cxn>
                          <a:cxn ang="0">
                            <a:pos x="12" y="12"/>
                          </a:cxn>
                          <a:cxn ang="0">
                            <a:pos x="18" y="14"/>
                          </a:cxn>
                          <a:cxn ang="0">
                            <a:pos x="10" y="14"/>
                          </a:cxn>
                          <a:cxn ang="0">
                            <a:pos x="8" y="16"/>
                          </a:cxn>
                          <a:cxn ang="0">
                            <a:pos x="0" y="18"/>
                          </a:cxn>
                          <a:cxn ang="0">
                            <a:pos x="4" y="18"/>
                          </a:cxn>
                          <a:cxn ang="0">
                            <a:pos x="24" y="18"/>
                          </a:cxn>
                          <a:cxn ang="0">
                            <a:pos x="38" y="18"/>
                          </a:cxn>
                          <a:cxn ang="0">
                            <a:pos x="26" y="24"/>
                          </a:cxn>
                          <a:cxn ang="0">
                            <a:pos x="30" y="24"/>
                          </a:cxn>
                          <a:cxn ang="0">
                            <a:pos x="30" y="26"/>
                          </a:cxn>
                          <a:cxn ang="0">
                            <a:pos x="4" y="30"/>
                          </a:cxn>
                          <a:cxn ang="0">
                            <a:pos x="10" y="30"/>
                          </a:cxn>
                          <a:cxn ang="0">
                            <a:pos x="24" y="30"/>
                          </a:cxn>
                          <a:cxn ang="0">
                            <a:pos x="32" y="34"/>
                          </a:cxn>
                          <a:cxn ang="0">
                            <a:pos x="36" y="36"/>
                          </a:cxn>
                          <a:cxn ang="0">
                            <a:pos x="32" y="36"/>
                          </a:cxn>
                          <a:cxn ang="0">
                            <a:pos x="16" y="44"/>
                          </a:cxn>
                        </a:cxnLst>
                        <a:rect l="0" t="0" r="r" b="b"/>
                        <a:pathLst>
                          <a:path w="160" h="50">
                            <a:moveTo>
                              <a:pt x="16" y="44"/>
                            </a:moveTo>
                            <a:lnTo>
                              <a:pt x="16" y="44"/>
                            </a:lnTo>
                            <a:lnTo>
                              <a:pt x="22" y="44"/>
                            </a:lnTo>
                            <a:lnTo>
                              <a:pt x="22" y="44"/>
                            </a:lnTo>
                            <a:lnTo>
                              <a:pt x="28" y="44"/>
                            </a:lnTo>
                            <a:lnTo>
                              <a:pt x="34" y="44"/>
                            </a:lnTo>
                            <a:lnTo>
                              <a:pt x="34" y="44"/>
                            </a:lnTo>
                            <a:lnTo>
                              <a:pt x="36" y="44"/>
                            </a:lnTo>
                            <a:lnTo>
                              <a:pt x="36" y="44"/>
                            </a:lnTo>
                            <a:lnTo>
                              <a:pt x="42" y="44"/>
                            </a:lnTo>
                            <a:lnTo>
                              <a:pt x="46" y="44"/>
                            </a:lnTo>
                            <a:lnTo>
                              <a:pt x="54" y="48"/>
                            </a:lnTo>
                            <a:lnTo>
                              <a:pt x="54" y="48"/>
                            </a:lnTo>
                            <a:lnTo>
                              <a:pt x="58" y="48"/>
                            </a:lnTo>
                            <a:lnTo>
                              <a:pt x="58" y="48"/>
                            </a:lnTo>
                            <a:lnTo>
                              <a:pt x="66" y="50"/>
                            </a:lnTo>
                            <a:lnTo>
                              <a:pt x="76" y="50"/>
                            </a:lnTo>
                            <a:lnTo>
                              <a:pt x="76" y="50"/>
                            </a:lnTo>
                            <a:lnTo>
                              <a:pt x="88" y="48"/>
                            </a:lnTo>
                            <a:lnTo>
                              <a:pt x="88" y="48"/>
                            </a:lnTo>
                            <a:lnTo>
                              <a:pt x="94" y="44"/>
                            </a:lnTo>
                            <a:lnTo>
                              <a:pt x="94" y="44"/>
                            </a:lnTo>
                            <a:lnTo>
                              <a:pt x="100" y="42"/>
                            </a:lnTo>
                            <a:lnTo>
                              <a:pt x="106" y="42"/>
                            </a:lnTo>
                            <a:lnTo>
                              <a:pt x="106" y="42"/>
                            </a:lnTo>
                            <a:lnTo>
                              <a:pt x="112" y="40"/>
                            </a:lnTo>
                            <a:lnTo>
                              <a:pt x="112" y="40"/>
                            </a:lnTo>
                            <a:lnTo>
                              <a:pt x="116" y="40"/>
                            </a:lnTo>
                            <a:lnTo>
                              <a:pt x="116" y="40"/>
                            </a:lnTo>
                            <a:lnTo>
                              <a:pt x="124" y="36"/>
                            </a:lnTo>
                            <a:lnTo>
                              <a:pt x="124" y="36"/>
                            </a:lnTo>
                            <a:lnTo>
                              <a:pt x="130" y="34"/>
                            </a:lnTo>
                            <a:lnTo>
                              <a:pt x="136" y="34"/>
                            </a:lnTo>
                            <a:lnTo>
                              <a:pt x="136" y="34"/>
                            </a:lnTo>
                            <a:lnTo>
                              <a:pt x="138" y="34"/>
                            </a:lnTo>
                            <a:lnTo>
                              <a:pt x="138" y="34"/>
                            </a:lnTo>
                            <a:lnTo>
                              <a:pt x="144" y="32"/>
                            </a:lnTo>
                            <a:lnTo>
                              <a:pt x="144" y="32"/>
                            </a:lnTo>
                            <a:lnTo>
                              <a:pt x="146" y="30"/>
                            </a:lnTo>
                            <a:lnTo>
                              <a:pt x="146" y="30"/>
                            </a:lnTo>
                            <a:lnTo>
                              <a:pt x="146" y="28"/>
                            </a:lnTo>
                            <a:lnTo>
                              <a:pt x="148" y="26"/>
                            </a:lnTo>
                            <a:lnTo>
                              <a:pt x="148" y="26"/>
                            </a:lnTo>
                            <a:lnTo>
                              <a:pt x="150" y="26"/>
                            </a:lnTo>
                            <a:lnTo>
                              <a:pt x="152" y="26"/>
                            </a:lnTo>
                            <a:lnTo>
                              <a:pt x="152" y="26"/>
                            </a:lnTo>
                            <a:lnTo>
                              <a:pt x="152" y="26"/>
                            </a:lnTo>
                            <a:lnTo>
                              <a:pt x="152" y="26"/>
                            </a:lnTo>
                            <a:lnTo>
                              <a:pt x="154" y="24"/>
                            </a:lnTo>
                            <a:lnTo>
                              <a:pt x="154" y="22"/>
                            </a:lnTo>
                            <a:lnTo>
                              <a:pt x="154" y="22"/>
                            </a:lnTo>
                            <a:lnTo>
                              <a:pt x="158" y="22"/>
                            </a:lnTo>
                            <a:lnTo>
                              <a:pt x="158" y="22"/>
                            </a:lnTo>
                            <a:lnTo>
                              <a:pt x="160" y="20"/>
                            </a:lnTo>
                            <a:lnTo>
                              <a:pt x="160" y="18"/>
                            </a:lnTo>
                            <a:lnTo>
                              <a:pt x="160" y="18"/>
                            </a:lnTo>
                            <a:lnTo>
                              <a:pt x="158" y="18"/>
                            </a:lnTo>
                            <a:lnTo>
                              <a:pt x="154" y="18"/>
                            </a:lnTo>
                            <a:lnTo>
                              <a:pt x="154" y="18"/>
                            </a:lnTo>
                            <a:lnTo>
                              <a:pt x="156" y="16"/>
                            </a:lnTo>
                            <a:lnTo>
                              <a:pt x="156" y="16"/>
                            </a:lnTo>
                            <a:lnTo>
                              <a:pt x="156" y="14"/>
                            </a:lnTo>
                            <a:lnTo>
                              <a:pt x="156" y="14"/>
                            </a:lnTo>
                            <a:lnTo>
                              <a:pt x="152" y="12"/>
                            </a:lnTo>
                            <a:lnTo>
                              <a:pt x="152" y="12"/>
                            </a:lnTo>
                            <a:lnTo>
                              <a:pt x="148" y="12"/>
                            </a:lnTo>
                            <a:lnTo>
                              <a:pt x="148" y="12"/>
                            </a:lnTo>
                            <a:lnTo>
                              <a:pt x="148" y="12"/>
                            </a:lnTo>
                            <a:lnTo>
                              <a:pt x="148" y="12"/>
                            </a:lnTo>
                            <a:lnTo>
                              <a:pt x="140" y="12"/>
                            </a:lnTo>
                            <a:lnTo>
                              <a:pt x="140" y="12"/>
                            </a:lnTo>
                            <a:lnTo>
                              <a:pt x="144" y="10"/>
                            </a:lnTo>
                            <a:lnTo>
                              <a:pt x="146" y="8"/>
                            </a:lnTo>
                            <a:lnTo>
                              <a:pt x="144" y="6"/>
                            </a:lnTo>
                            <a:lnTo>
                              <a:pt x="144" y="6"/>
                            </a:lnTo>
                            <a:lnTo>
                              <a:pt x="140" y="6"/>
                            </a:lnTo>
                            <a:lnTo>
                              <a:pt x="140" y="6"/>
                            </a:lnTo>
                            <a:lnTo>
                              <a:pt x="140" y="6"/>
                            </a:lnTo>
                            <a:lnTo>
                              <a:pt x="140" y="6"/>
                            </a:lnTo>
                            <a:lnTo>
                              <a:pt x="144" y="4"/>
                            </a:lnTo>
                            <a:lnTo>
                              <a:pt x="144" y="4"/>
                            </a:lnTo>
                            <a:lnTo>
                              <a:pt x="144" y="4"/>
                            </a:lnTo>
                            <a:lnTo>
                              <a:pt x="144" y="4"/>
                            </a:lnTo>
                            <a:lnTo>
                              <a:pt x="146" y="2"/>
                            </a:lnTo>
                            <a:lnTo>
                              <a:pt x="146" y="2"/>
                            </a:lnTo>
                            <a:lnTo>
                              <a:pt x="140" y="2"/>
                            </a:lnTo>
                            <a:lnTo>
                              <a:pt x="136" y="4"/>
                            </a:lnTo>
                            <a:lnTo>
                              <a:pt x="136" y="4"/>
                            </a:lnTo>
                            <a:lnTo>
                              <a:pt x="130" y="6"/>
                            </a:lnTo>
                            <a:lnTo>
                              <a:pt x="130" y="6"/>
                            </a:lnTo>
                            <a:lnTo>
                              <a:pt x="130" y="4"/>
                            </a:lnTo>
                            <a:lnTo>
                              <a:pt x="130" y="4"/>
                            </a:lnTo>
                            <a:lnTo>
                              <a:pt x="130" y="4"/>
                            </a:lnTo>
                            <a:lnTo>
                              <a:pt x="130" y="4"/>
                            </a:lnTo>
                            <a:lnTo>
                              <a:pt x="126" y="2"/>
                            </a:lnTo>
                            <a:lnTo>
                              <a:pt x="124" y="0"/>
                            </a:lnTo>
                            <a:lnTo>
                              <a:pt x="124" y="0"/>
                            </a:lnTo>
                            <a:lnTo>
                              <a:pt x="124" y="0"/>
                            </a:lnTo>
                            <a:lnTo>
                              <a:pt x="124" y="0"/>
                            </a:lnTo>
                            <a:lnTo>
                              <a:pt x="118" y="2"/>
                            </a:lnTo>
                            <a:lnTo>
                              <a:pt x="118" y="2"/>
                            </a:lnTo>
                            <a:lnTo>
                              <a:pt x="116" y="2"/>
                            </a:lnTo>
                            <a:lnTo>
                              <a:pt x="116" y="2"/>
                            </a:lnTo>
                            <a:lnTo>
                              <a:pt x="118" y="4"/>
                            </a:lnTo>
                            <a:lnTo>
                              <a:pt x="116" y="6"/>
                            </a:lnTo>
                            <a:lnTo>
                              <a:pt x="116" y="6"/>
                            </a:lnTo>
                            <a:lnTo>
                              <a:pt x="118" y="6"/>
                            </a:lnTo>
                            <a:lnTo>
                              <a:pt x="118" y="6"/>
                            </a:lnTo>
                            <a:lnTo>
                              <a:pt x="114" y="6"/>
                            </a:lnTo>
                            <a:lnTo>
                              <a:pt x="110" y="6"/>
                            </a:lnTo>
                            <a:lnTo>
                              <a:pt x="110" y="6"/>
                            </a:lnTo>
                            <a:lnTo>
                              <a:pt x="108" y="8"/>
                            </a:lnTo>
                            <a:lnTo>
                              <a:pt x="106" y="8"/>
                            </a:lnTo>
                            <a:lnTo>
                              <a:pt x="106" y="10"/>
                            </a:lnTo>
                            <a:lnTo>
                              <a:pt x="104" y="10"/>
                            </a:lnTo>
                            <a:lnTo>
                              <a:pt x="104" y="10"/>
                            </a:lnTo>
                            <a:lnTo>
                              <a:pt x="98" y="8"/>
                            </a:lnTo>
                            <a:lnTo>
                              <a:pt x="92" y="8"/>
                            </a:lnTo>
                            <a:lnTo>
                              <a:pt x="92" y="8"/>
                            </a:lnTo>
                            <a:lnTo>
                              <a:pt x="96" y="12"/>
                            </a:lnTo>
                            <a:lnTo>
                              <a:pt x="96" y="12"/>
                            </a:lnTo>
                            <a:lnTo>
                              <a:pt x="96" y="12"/>
                            </a:lnTo>
                            <a:lnTo>
                              <a:pt x="96" y="12"/>
                            </a:lnTo>
                            <a:lnTo>
                              <a:pt x="92" y="12"/>
                            </a:lnTo>
                            <a:lnTo>
                              <a:pt x="90" y="10"/>
                            </a:lnTo>
                            <a:lnTo>
                              <a:pt x="90" y="10"/>
                            </a:lnTo>
                            <a:lnTo>
                              <a:pt x="88" y="8"/>
                            </a:lnTo>
                            <a:lnTo>
                              <a:pt x="88" y="8"/>
                            </a:lnTo>
                            <a:lnTo>
                              <a:pt x="88" y="8"/>
                            </a:lnTo>
                            <a:lnTo>
                              <a:pt x="84" y="6"/>
                            </a:lnTo>
                            <a:lnTo>
                              <a:pt x="84" y="6"/>
                            </a:lnTo>
                            <a:lnTo>
                              <a:pt x="76" y="10"/>
                            </a:lnTo>
                            <a:lnTo>
                              <a:pt x="76" y="10"/>
                            </a:lnTo>
                            <a:lnTo>
                              <a:pt x="74" y="10"/>
                            </a:lnTo>
                            <a:lnTo>
                              <a:pt x="74" y="10"/>
                            </a:lnTo>
                            <a:lnTo>
                              <a:pt x="76" y="12"/>
                            </a:lnTo>
                            <a:lnTo>
                              <a:pt x="76" y="12"/>
                            </a:lnTo>
                            <a:lnTo>
                              <a:pt x="74" y="14"/>
                            </a:lnTo>
                            <a:lnTo>
                              <a:pt x="74" y="14"/>
                            </a:lnTo>
                            <a:lnTo>
                              <a:pt x="70" y="12"/>
                            </a:lnTo>
                            <a:lnTo>
                              <a:pt x="70" y="10"/>
                            </a:lnTo>
                            <a:lnTo>
                              <a:pt x="70" y="10"/>
                            </a:lnTo>
                            <a:lnTo>
                              <a:pt x="68" y="10"/>
                            </a:lnTo>
                            <a:lnTo>
                              <a:pt x="68" y="10"/>
                            </a:lnTo>
                            <a:lnTo>
                              <a:pt x="68" y="8"/>
                            </a:lnTo>
                            <a:lnTo>
                              <a:pt x="66" y="8"/>
                            </a:lnTo>
                            <a:lnTo>
                              <a:pt x="62" y="8"/>
                            </a:lnTo>
                            <a:lnTo>
                              <a:pt x="62" y="8"/>
                            </a:lnTo>
                            <a:lnTo>
                              <a:pt x="60" y="12"/>
                            </a:lnTo>
                            <a:lnTo>
                              <a:pt x="60" y="12"/>
                            </a:lnTo>
                            <a:lnTo>
                              <a:pt x="62" y="14"/>
                            </a:lnTo>
                            <a:lnTo>
                              <a:pt x="62" y="14"/>
                            </a:lnTo>
                            <a:lnTo>
                              <a:pt x="60" y="16"/>
                            </a:lnTo>
                            <a:lnTo>
                              <a:pt x="60" y="16"/>
                            </a:lnTo>
                            <a:lnTo>
                              <a:pt x="58" y="16"/>
                            </a:lnTo>
                            <a:lnTo>
                              <a:pt x="58" y="16"/>
                            </a:lnTo>
                            <a:lnTo>
                              <a:pt x="56" y="16"/>
                            </a:lnTo>
                            <a:lnTo>
                              <a:pt x="56" y="16"/>
                            </a:lnTo>
                            <a:lnTo>
                              <a:pt x="54" y="16"/>
                            </a:lnTo>
                            <a:lnTo>
                              <a:pt x="54" y="16"/>
                            </a:lnTo>
                            <a:lnTo>
                              <a:pt x="50" y="18"/>
                            </a:lnTo>
                            <a:lnTo>
                              <a:pt x="50" y="18"/>
                            </a:lnTo>
                            <a:lnTo>
                              <a:pt x="50" y="20"/>
                            </a:lnTo>
                            <a:lnTo>
                              <a:pt x="50" y="20"/>
                            </a:lnTo>
                            <a:lnTo>
                              <a:pt x="50" y="22"/>
                            </a:lnTo>
                            <a:lnTo>
                              <a:pt x="50" y="22"/>
                            </a:lnTo>
                            <a:lnTo>
                              <a:pt x="48" y="22"/>
                            </a:lnTo>
                            <a:lnTo>
                              <a:pt x="48" y="22"/>
                            </a:lnTo>
                            <a:lnTo>
                              <a:pt x="46" y="20"/>
                            </a:lnTo>
                            <a:lnTo>
                              <a:pt x="46" y="18"/>
                            </a:lnTo>
                            <a:lnTo>
                              <a:pt x="46" y="18"/>
                            </a:lnTo>
                            <a:lnTo>
                              <a:pt x="40" y="16"/>
                            </a:lnTo>
                            <a:lnTo>
                              <a:pt x="40" y="16"/>
                            </a:lnTo>
                            <a:lnTo>
                              <a:pt x="46" y="16"/>
                            </a:lnTo>
                            <a:lnTo>
                              <a:pt x="46" y="16"/>
                            </a:lnTo>
                            <a:lnTo>
                              <a:pt x="46" y="16"/>
                            </a:lnTo>
                            <a:lnTo>
                              <a:pt x="46" y="16"/>
                            </a:lnTo>
                            <a:lnTo>
                              <a:pt x="48" y="14"/>
                            </a:lnTo>
                            <a:lnTo>
                              <a:pt x="46" y="12"/>
                            </a:lnTo>
                            <a:lnTo>
                              <a:pt x="46" y="12"/>
                            </a:lnTo>
                            <a:lnTo>
                              <a:pt x="46" y="10"/>
                            </a:lnTo>
                            <a:lnTo>
                              <a:pt x="46" y="10"/>
                            </a:lnTo>
                            <a:lnTo>
                              <a:pt x="44" y="10"/>
                            </a:lnTo>
                            <a:lnTo>
                              <a:pt x="42" y="8"/>
                            </a:lnTo>
                            <a:lnTo>
                              <a:pt x="42" y="8"/>
                            </a:lnTo>
                            <a:lnTo>
                              <a:pt x="40" y="6"/>
                            </a:lnTo>
                            <a:lnTo>
                              <a:pt x="40" y="6"/>
                            </a:lnTo>
                            <a:lnTo>
                              <a:pt x="38" y="4"/>
                            </a:lnTo>
                            <a:lnTo>
                              <a:pt x="34" y="4"/>
                            </a:lnTo>
                            <a:lnTo>
                              <a:pt x="34" y="4"/>
                            </a:lnTo>
                            <a:lnTo>
                              <a:pt x="26" y="4"/>
                            </a:lnTo>
                            <a:lnTo>
                              <a:pt x="26" y="4"/>
                            </a:lnTo>
                            <a:lnTo>
                              <a:pt x="24" y="6"/>
                            </a:lnTo>
                            <a:lnTo>
                              <a:pt x="24" y="6"/>
                            </a:lnTo>
                            <a:lnTo>
                              <a:pt x="30" y="6"/>
                            </a:lnTo>
                            <a:lnTo>
                              <a:pt x="30" y="6"/>
                            </a:lnTo>
                            <a:lnTo>
                              <a:pt x="32" y="6"/>
                            </a:lnTo>
                            <a:lnTo>
                              <a:pt x="32" y="6"/>
                            </a:lnTo>
                            <a:lnTo>
                              <a:pt x="30" y="8"/>
                            </a:lnTo>
                            <a:lnTo>
                              <a:pt x="30" y="8"/>
                            </a:lnTo>
                            <a:lnTo>
                              <a:pt x="32" y="8"/>
                            </a:lnTo>
                            <a:lnTo>
                              <a:pt x="32" y="8"/>
                            </a:lnTo>
                            <a:lnTo>
                              <a:pt x="34" y="10"/>
                            </a:lnTo>
                            <a:lnTo>
                              <a:pt x="34" y="12"/>
                            </a:lnTo>
                            <a:lnTo>
                              <a:pt x="32" y="12"/>
                            </a:lnTo>
                            <a:lnTo>
                              <a:pt x="32" y="12"/>
                            </a:lnTo>
                            <a:lnTo>
                              <a:pt x="22" y="8"/>
                            </a:lnTo>
                            <a:lnTo>
                              <a:pt x="22" y="8"/>
                            </a:lnTo>
                            <a:lnTo>
                              <a:pt x="18" y="8"/>
                            </a:lnTo>
                            <a:lnTo>
                              <a:pt x="18" y="8"/>
                            </a:lnTo>
                            <a:lnTo>
                              <a:pt x="18" y="10"/>
                            </a:lnTo>
                            <a:lnTo>
                              <a:pt x="20" y="10"/>
                            </a:lnTo>
                            <a:lnTo>
                              <a:pt x="20" y="10"/>
                            </a:lnTo>
                            <a:lnTo>
                              <a:pt x="16" y="10"/>
                            </a:lnTo>
                            <a:lnTo>
                              <a:pt x="14" y="10"/>
                            </a:lnTo>
                            <a:lnTo>
                              <a:pt x="14" y="10"/>
                            </a:lnTo>
                            <a:lnTo>
                              <a:pt x="14" y="12"/>
                            </a:lnTo>
                            <a:lnTo>
                              <a:pt x="16" y="12"/>
                            </a:lnTo>
                            <a:lnTo>
                              <a:pt x="16" y="12"/>
                            </a:lnTo>
                            <a:lnTo>
                              <a:pt x="12" y="12"/>
                            </a:lnTo>
                            <a:lnTo>
                              <a:pt x="12" y="12"/>
                            </a:lnTo>
                            <a:lnTo>
                              <a:pt x="14" y="14"/>
                            </a:lnTo>
                            <a:lnTo>
                              <a:pt x="18" y="14"/>
                            </a:lnTo>
                            <a:lnTo>
                              <a:pt x="18" y="14"/>
                            </a:lnTo>
                            <a:lnTo>
                              <a:pt x="18" y="14"/>
                            </a:lnTo>
                            <a:lnTo>
                              <a:pt x="18" y="14"/>
                            </a:lnTo>
                            <a:lnTo>
                              <a:pt x="14" y="16"/>
                            </a:lnTo>
                            <a:lnTo>
                              <a:pt x="14" y="16"/>
                            </a:lnTo>
                            <a:lnTo>
                              <a:pt x="10" y="14"/>
                            </a:lnTo>
                            <a:lnTo>
                              <a:pt x="10" y="14"/>
                            </a:lnTo>
                            <a:lnTo>
                              <a:pt x="8" y="14"/>
                            </a:lnTo>
                            <a:lnTo>
                              <a:pt x="8" y="14"/>
                            </a:lnTo>
                            <a:lnTo>
                              <a:pt x="8" y="14"/>
                            </a:lnTo>
                            <a:lnTo>
                              <a:pt x="8" y="16"/>
                            </a:lnTo>
                            <a:lnTo>
                              <a:pt x="8" y="16"/>
                            </a:lnTo>
                            <a:lnTo>
                              <a:pt x="8" y="16"/>
                            </a:lnTo>
                            <a:lnTo>
                              <a:pt x="8" y="16"/>
                            </a:lnTo>
                            <a:lnTo>
                              <a:pt x="4" y="16"/>
                            </a:lnTo>
                            <a:lnTo>
                              <a:pt x="0" y="18"/>
                            </a:lnTo>
                            <a:lnTo>
                              <a:pt x="0" y="18"/>
                            </a:lnTo>
                            <a:lnTo>
                              <a:pt x="0" y="18"/>
                            </a:lnTo>
                            <a:lnTo>
                              <a:pt x="0" y="18"/>
                            </a:lnTo>
                            <a:lnTo>
                              <a:pt x="0" y="18"/>
                            </a:lnTo>
                            <a:lnTo>
                              <a:pt x="4" y="18"/>
                            </a:lnTo>
                            <a:lnTo>
                              <a:pt x="4" y="18"/>
                            </a:lnTo>
                            <a:lnTo>
                              <a:pt x="8" y="20"/>
                            </a:lnTo>
                            <a:lnTo>
                              <a:pt x="12" y="20"/>
                            </a:lnTo>
                            <a:lnTo>
                              <a:pt x="12" y="20"/>
                            </a:lnTo>
                            <a:lnTo>
                              <a:pt x="24" y="18"/>
                            </a:lnTo>
                            <a:lnTo>
                              <a:pt x="24" y="18"/>
                            </a:lnTo>
                            <a:lnTo>
                              <a:pt x="24" y="18"/>
                            </a:lnTo>
                            <a:lnTo>
                              <a:pt x="24" y="18"/>
                            </a:lnTo>
                            <a:lnTo>
                              <a:pt x="28" y="18"/>
                            </a:lnTo>
                            <a:lnTo>
                              <a:pt x="28" y="18"/>
                            </a:lnTo>
                            <a:lnTo>
                              <a:pt x="38" y="18"/>
                            </a:lnTo>
                            <a:lnTo>
                              <a:pt x="38" y="18"/>
                            </a:lnTo>
                            <a:lnTo>
                              <a:pt x="38" y="20"/>
                            </a:lnTo>
                            <a:lnTo>
                              <a:pt x="38" y="20"/>
                            </a:lnTo>
                            <a:lnTo>
                              <a:pt x="30" y="20"/>
                            </a:lnTo>
                            <a:lnTo>
                              <a:pt x="26" y="24"/>
                            </a:lnTo>
                            <a:lnTo>
                              <a:pt x="26" y="24"/>
                            </a:lnTo>
                            <a:lnTo>
                              <a:pt x="30" y="24"/>
                            </a:lnTo>
                            <a:lnTo>
                              <a:pt x="30" y="24"/>
                            </a:lnTo>
                            <a:lnTo>
                              <a:pt x="30" y="24"/>
                            </a:lnTo>
                            <a:lnTo>
                              <a:pt x="30" y="24"/>
                            </a:lnTo>
                            <a:lnTo>
                              <a:pt x="36" y="24"/>
                            </a:lnTo>
                            <a:lnTo>
                              <a:pt x="38" y="24"/>
                            </a:lnTo>
                            <a:lnTo>
                              <a:pt x="38" y="24"/>
                            </a:lnTo>
                            <a:lnTo>
                              <a:pt x="38" y="24"/>
                            </a:lnTo>
                            <a:lnTo>
                              <a:pt x="30" y="26"/>
                            </a:lnTo>
                            <a:lnTo>
                              <a:pt x="22" y="26"/>
                            </a:lnTo>
                            <a:lnTo>
                              <a:pt x="22" y="26"/>
                            </a:lnTo>
                            <a:lnTo>
                              <a:pt x="12" y="28"/>
                            </a:lnTo>
                            <a:lnTo>
                              <a:pt x="4" y="30"/>
                            </a:lnTo>
                            <a:lnTo>
                              <a:pt x="4" y="30"/>
                            </a:lnTo>
                            <a:lnTo>
                              <a:pt x="6" y="30"/>
                            </a:lnTo>
                            <a:lnTo>
                              <a:pt x="6" y="30"/>
                            </a:lnTo>
                            <a:lnTo>
                              <a:pt x="6" y="30"/>
                            </a:lnTo>
                            <a:lnTo>
                              <a:pt x="6" y="30"/>
                            </a:lnTo>
                            <a:lnTo>
                              <a:pt x="10" y="30"/>
                            </a:lnTo>
                            <a:lnTo>
                              <a:pt x="10" y="30"/>
                            </a:lnTo>
                            <a:lnTo>
                              <a:pt x="18" y="28"/>
                            </a:lnTo>
                            <a:lnTo>
                              <a:pt x="24" y="30"/>
                            </a:lnTo>
                            <a:lnTo>
                              <a:pt x="24" y="30"/>
                            </a:lnTo>
                            <a:lnTo>
                              <a:pt x="24" y="30"/>
                            </a:lnTo>
                            <a:lnTo>
                              <a:pt x="24" y="30"/>
                            </a:lnTo>
                            <a:lnTo>
                              <a:pt x="26" y="32"/>
                            </a:lnTo>
                            <a:lnTo>
                              <a:pt x="26" y="32"/>
                            </a:lnTo>
                            <a:lnTo>
                              <a:pt x="28" y="34"/>
                            </a:lnTo>
                            <a:lnTo>
                              <a:pt x="32" y="34"/>
                            </a:lnTo>
                            <a:lnTo>
                              <a:pt x="32" y="34"/>
                            </a:lnTo>
                            <a:lnTo>
                              <a:pt x="32" y="34"/>
                            </a:lnTo>
                            <a:lnTo>
                              <a:pt x="30" y="36"/>
                            </a:lnTo>
                            <a:lnTo>
                              <a:pt x="30" y="36"/>
                            </a:lnTo>
                            <a:lnTo>
                              <a:pt x="36" y="36"/>
                            </a:lnTo>
                            <a:lnTo>
                              <a:pt x="36" y="36"/>
                            </a:lnTo>
                            <a:lnTo>
                              <a:pt x="36" y="36"/>
                            </a:lnTo>
                            <a:lnTo>
                              <a:pt x="36" y="36"/>
                            </a:lnTo>
                            <a:lnTo>
                              <a:pt x="32" y="36"/>
                            </a:lnTo>
                            <a:lnTo>
                              <a:pt x="32" y="36"/>
                            </a:lnTo>
                            <a:lnTo>
                              <a:pt x="30" y="38"/>
                            </a:lnTo>
                            <a:lnTo>
                              <a:pt x="28" y="40"/>
                            </a:lnTo>
                            <a:lnTo>
                              <a:pt x="18" y="42"/>
                            </a:lnTo>
                            <a:lnTo>
                              <a:pt x="18" y="42"/>
                            </a:lnTo>
                            <a:lnTo>
                              <a:pt x="16" y="44"/>
                            </a:lnTo>
                            <a:lnTo>
                              <a:pt x="16" y="44"/>
                            </a:lnTo>
                            <a:lnTo>
                              <a:pt x="16" y="44"/>
                            </a:lnTo>
                            <a:lnTo>
                              <a:pt x="16" y="44"/>
                            </a:lnTo>
                            <a:lnTo>
                              <a:pt x="16" y="44"/>
                            </a:lnTo>
                            <a:close/>
                          </a:path>
                        </a:pathLst>
                      </a:custGeom>
                      <a:solidFill>
                        <a:schemeClr val="accent3"/>
                      </a:solid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83" name="Malaysia"/>
                    <p:cNvSpPr>
                      <a:spLocks/>
                    </p:cNvSpPr>
                    <p:nvPr/>
                  </p:nvSpPr>
                  <p:spPr bwMode="auto">
                    <a:xfrm>
                      <a:off x="8977858" y="3404324"/>
                      <a:ext cx="619822" cy="242787"/>
                    </a:xfrm>
                    <a:custGeom>
                      <a:avLst/>
                      <a:gdLst/>
                      <a:ahLst/>
                      <a:cxnLst/>
                      <a:rect l="l" t="t" r="r" b="b"/>
                      <a:pathLst>
                        <a:path w="539875" h="211667">
                          <a:moveTo>
                            <a:pt x="5292" y="26458"/>
                          </a:moveTo>
                          <a:lnTo>
                            <a:pt x="10584" y="26458"/>
                          </a:lnTo>
                          <a:lnTo>
                            <a:pt x="21167" y="31750"/>
                          </a:lnTo>
                          <a:lnTo>
                            <a:pt x="26459" y="37041"/>
                          </a:lnTo>
                          <a:lnTo>
                            <a:pt x="34396" y="39687"/>
                          </a:lnTo>
                          <a:lnTo>
                            <a:pt x="42334" y="37041"/>
                          </a:lnTo>
                          <a:lnTo>
                            <a:pt x="44980" y="34396"/>
                          </a:lnTo>
                          <a:lnTo>
                            <a:pt x="47625" y="31750"/>
                          </a:lnTo>
                          <a:lnTo>
                            <a:pt x="52917" y="26458"/>
                          </a:lnTo>
                          <a:lnTo>
                            <a:pt x="60855" y="37041"/>
                          </a:lnTo>
                          <a:lnTo>
                            <a:pt x="66146" y="39687"/>
                          </a:lnTo>
                          <a:lnTo>
                            <a:pt x="71438" y="44979"/>
                          </a:lnTo>
                          <a:lnTo>
                            <a:pt x="74084" y="47625"/>
                          </a:lnTo>
                          <a:lnTo>
                            <a:pt x="76730" y="52916"/>
                          </a:lnTo>
                          <a:lnTo>
                            <a:pt x="87313" y="58208"/>
                          </a:lnTo>
                          <a:lnTo>
                            <a:pt x="97896" y="68791"/>
                          </a:lnTo>
                          <a:lnTo>
                            <a:pt x="103188" y="76729"/>
                          </a:lnTo>
                          <a:lnTo>
                            <a:pt x="105834" y="84666"/>
                          </a:lnTo>
                          <a:lnTo>
                            <a:pt x="105834" y="92604"/>
                          </a:lnTo>
                          <a:lnTo>
                            <a:pt x="105834" y="100541"/>
                          </a:lnTo>
                          <a:lnTo>
                            <a:pt x="103188" y="105833"/>
                          </a:lnTo>
                          <a:lnTo>
                            <a:pt x="100542" y="108479"/>
                          </a:lnTo>
                          <a:lnTo>
                            <a:pt x="92605" y="113771"/>
                          </a:lnTo>
                          <a:lnTo>
                            <a:pt x="95250" y="116416"/>
                          </a:lnTo>
                          <a:lnTo>
                            <a:pt x="100542" y="124354"/>
                          </a:lnTo>
                          <a:lnTo>
                            <a:pt x="97896" y="129646"/>
                          </a:lnTo>
                          <a:lnTo>
                            <a:pt x="97896" y="134937"/>
                          </a:lnTo>
                          <a:lnTo>
                            <a:pt x="103188" y="145521"/>
                          </a:lnTo>
                          <a:lnTo>
                            <a:pt x="108480" y="153458"/>
                          </a:lnTo>
                          <a:lnTo>
                            <a:pt x="111126" y="158750"/>
                          </a:lnTo>
                          <a:lnTo>
                            <a:pt x="113771" y="164041"/>
                          </a:lnTo>
                          <a:lnTo>
                            <a:pt x="121709" y="174625"/>
                          </a:lnTo>
                          <a:lnTo>
                            <a:pt x="132292" y="187854"/>
                          </a:lnTo>
                          <a:lnTo>
                            <a:pt x="132292" y="193145"/>
                          </a:lnTo>
                          <a:lnTo>
                            <a:pt x="132292" y="195791"/>
                          </a:lnTo>
                          <a:lnTo>
                            <a:pt x="129646" y="198437"/>
                          </a:lnTo>
                          <a:lnTo>
                            <a:pt x="127001" y="198437"/>
                          </a:lnTo>
                          <a:lnTo>
                            <a:pt x="119063" y="195791"/>
                          </a:lnTo>
                          <a:lnTo>
                            <a:pt x="116417" y="193145"/>
                          </a:lnTo>
                          <a:lnTo>
                            <a:pt x="113771" y="195791"/>
                          </a:lnTo>
                          <a:lnTo>
                            <a:pt x="111126" y="198437"/>
                          </a:lnTo>
                          <a:lnTo>
                            <a:pt x="108480" y="195791"/>
                          </a:lnTo>
                          <a:lnTo>
                            <a:pt x="100542" y="187854"/>
                          </a:lnTo>
                          <a:lnTo>
                            <a:pt x="95250" y="182562"/>
                          </a:lnTo>
                          <a:lnTo>
                            <a:pt x="84667" y="177270"/>
                          </a:lnTo>
                          <a:lnTo>
                            <a:pt x="79375" y="174625"/>
                          </a:lnTo>
                          <a:lnTo>
                            <a:pt x="76730" y="171979"/>
                          </a:lnTo>
                          <a:lnTo>
                            <a:pt x="74084" y="169333"/>
                          </a:lnTo>
                          <a:lnTo>
                            <a:pt x="60855" y="161396"/>
                          </a:lnTo>
                          <a:lnTo>
                            <a:pt x="55563" y="158750"/>
                          </a:lnTo>
                          <a:lnTo>
                            <a:pt x="52917" y="156104"/>
                          </a:lnTo>
                          <a:lnTo>
                            <a:pt x="50271" y="153458"/>
                          </a:lnTo>
                          <a:lnTo>
                            <a:pt x="44980" y="148166"/>
                          </a:lnTo>
                          <a:lnTo>
                            <a:pt x="37042" y="142875"/>
                          </a:lnTo>
                          <a:lnTo>
                            <a:pt x="37042" y="140229"/>
                          </a:lnTo>
                          <a:lnTo>
                            <a:pt x="39688" y="137583"/>
                          </a:lnTo>
                          <a:lnTo>
                            <a:pt x="39688" y="132291"/>
                          </a:lnTo>
                          <a:lnTo>
                            <a:pt x="37042" y="129646"/>
                          </a:lnTo>
                          <a:lnTo>
                            <a:pt x="31750" y="121708"/>
                          </a:lnTo>
                          <a:lnTo>
                            <a:pt x="26459" y="116416"/>
                          </a:lnTo>
                          <a:lnTo>
                            <a:pt x="26459" y="113771"/>
                          </a:lnTo>
                          <a:lnTo>
                            <a:pt x="26459" y="108479"/>
                          </a:lnTo>
                          <a:lnTo>
                            <a:pt x="29104" y="105833"/>
                          </a:lnTo>
                          <a:lnTo>
                            <a:pt x="26459" y="103187"/>
                          </a:lnTo>
                          <a:lnTo>
                            <a:pt x="21167" y="97896"/>
                          </a:lnTo>
                          <a:lnTo>
                            <a:pt x="21167" y="92604"/>
                          </a:lnTo>
                          <a:lnTo>
                            <a:pt x="18521" y="84666"/>
                          </a:lnTo>
                          <a:lnTo>
                            <a:pt x="15875" y="79375"/>
                          </a:lnTo>
                          <a:lnTo>
                            <a:pt x="13229" y="74083"/>
                          </a:lnTo>
                          <a:lnTo>
                            <a:pt x="13229" y="71437"/>
                          </a:lnTo>
                          <a:lnTo>
                            <a:pt x="13229" y="68791"/>
                          </a:lnTo>
                          <a:lnTo>
                            <a:pt x="13229" y="66146"/>
                          </a:lnTo>
                          <a:lnTo>
                            <a:pt x="10584" y="60854"/>
                          </a:lnTo>
                          <a:lnTo>
                            <a:pt x="10584" y="52916"/>
                          </a:lnTo>
                          <a:lnTo>
                            <a:pt x="7938" y="42333"/>
                          </a:lnTo>
                          <a:lnTo>
                            <a:pt x="0" y="29104"/>
                          </a:lnTo>
                          <a:close/>
                          <a:moveTo>
                            <a:pt x="455209" y="0"/>
                          </a:moveTo>
                          <a:lnTo>
                            <a:pt x="460500" y="0"/>
                          </a:lnTo>
                          <a:lnTo>
                            <a:pt x="460500" y="5292"/>
                          </a:lnTo>
                          <a:lnTo>
                            <a:pt x="460500" y="7937"/>
                          </a:lnTo>
                          <a:lnTo>
                            <a:pt x="463146" y="7937"/>
                          </a:lnTo>
                          <a:lnTo>
                            <a:pt x="468438" y="5292"/>
                          </a:lnTo>
                          <a:lnTo>
                            <a:pt x="468438" y="2646"/>
                          </a:lnTo>
                          <a:lnTo>
                            <a:pt x="468438" y="0"/>
                          </a:lnTo>
                          <a:lnTo>
                            <a:pt x="471084" y="0"/>
                          </a:lnTo>
                          <a:lnTo>
                            <a:pt x="473729" y="0"/>
                          </a:lnTo>
                          <a:lnTo>
                            <a:pt x="476375" y="0"/>
                          </a:lnTo>
                          <a:lnTo>
                            <a:pt x="476375" y="5292"/>
                          </a:lnTo>
                          <a:lnTo>
                            <a:pt x="476375" y="10583"/>
                          </a:lnTo>
                          <a:lnTo>
                            <a:pt x="481667" y="10583"/>
                          </a:lnTo>
                          <a:lnTo>
                            <a:pt x="486959" y="7937"/>
                          </a:lnTo>
                          <a:lnTo>
                            <a:pt x="486959" y="10583"/>
                          </a:lnTo>
                          <a:lnTo>
                            <a:pt x="486959" y="13229"/>
                          </a:lnTo>
                          <a:lnTo>
                            <a:pt x="489604" y="15875"/>
                          </a:lnTo>
                          <a:lnTo>
                            <a:pt x="492250" y="18521"/>
                          </a:lnTo>
                          <a:lnTo>
                            <a:pt x="489604" y="21167"/>
                          </a:lnTo>
                          <a:lnTo>
                            <a:pt x="484313" y="23812"/>
                          </a:lnTo>
                          <a:lnTo>
                            <a:pt x="486959" y="26459"/>
                          </a:lnTo>
                          <a:lnTo>
                            <a:pt x="492250" y="29104"/>
                          </a:lnTo>
                          <a:lnTo>
                            <a:pt x="484313" y="31750"/>
                          </a:lnTo>
                          <a:lnTo>
                            <a:pt x="492250" y="34396"/>
                          </a:lnTo>
                          <a:lnTo>
                            <a:pt x="497542" y="31750"/>
                          </a:lnTo>
                          <a:lnTo>
                            <a:pt x="500188" y="29104"/>
                          </a:lnTo>
                          <a:lnTo>
                            <a:pt x="502834" y="31750"/>
                          </a:lnTo>
                          <a:lnTo>
                            <a:pt x="505479" y="37042"/>
                          </a:lnTo>
                          <a:lnTo>
                            <a:pt x="505479" y="42334"/>
                          </a:lnTo>
                          <a:lnTo>
                            <a:pt x="505479" y="44979"/>
                          </a:lnTo>
                          <a:lnTo>
                            <a:pt x="508125" y="42334"/>
                          </a:lnTo>
                          <a:lnTo>
                            <a:pt x="510771" y="39688"/>
                          </a:lnTo>
                          <a:lnTo>
                            <a:pt x="516063" y="42334"/>
                          </a:lnTo>
                          <a:lnTo>
                            <a:pt x="521354" y="44979"/>
                          </a:lnTo>
                          <a:lnTo>
                            <a:pt x="526646" y="47625"/>
                          </a:lnTo>
                          <a:lnTo>
                            <a:pt x="529292" y="50271"/>
                          </a:lnTo>
                          <a:lnTo>
                            <a:pt x="531938" y="47625"/>
                          </a:lnTo>
                          <a:lnTo>
                            <a:pt x="534584" y="47625"/>
                          </a:lnTo>
                          <a:lnTo>
                            <a:pt x="539875" y="52917"/>
                          </a:lnTo>
                          <a:lnTo>
                            <a:pt x="539875" y="58209"/>
                          </a:lnTo>
                          <a:lnTo>
                            <a:pt x="537229" y="60854"/>
                          </a:lnTo>
                          <a:lnTo>
                            <a:pt x="534584" y="60854"/>
                          </a:lnTo>
                          <a:lnTo>
                            <a:pt x="526646" y="60854"/>
                          </a:lnTo>
                          <a:lnTo>
                            <a:pt x="524000" y="63500"/>
                          </a:lnTo>
                          <a:lnTo>
                            <a:pt x="518709" y="66146"/>
                          </a:lnTo>
                          <a:lnTo>
                            <a:pt x="516063" y="66146"/>
                          </a:lnTo>
                          <a:lnTo>
                            <a:pt x="510771" y="66146"/>
                          </a:lnTo>
                          <a:lnTo>
                            <a:pt x="508125" y="71438"/>
                          </a:lnTo>
                          <a:lnTo>
                            <a:pt x="513417" y="76729"/>
                          </a:lnTo>
                          <a:lnTo>
                            <a:pt x="524000" y="79375"/>
                          </a:lnTo>
                          <a:lnTo>
                            <a:pt x="529292" y="79375"/>
                          </a:lnTo>
                          <a:lnTo>
                            <a:pt x="524000" y="82021"/>
                          </a:lnTo>
                          <a:lnTo>
                            <a:pt x="516063" y="84667"/>
                          </a:lnTo>
                          <a:lnTo>
                            <a:pt x="508125" y="89959"/>
                          </a:lnTo>
                          <a:lnTo>
                            <a:pt x="502834" y="89959"/>
                          </a:lnTo>
                          <a:lnTo>
                            <a:pt x="492250" y="84667"/>
                          </a:lnTo>
                          <a:lnTo>
                            <a:pt x="492250" y="92604"/>
                          </a:lnTo>
                          <a:lnTo>
                            <a:pt x="489604" y="95250"/>
                          </a:lnTo>
                          <a:lnTo>
                            <a:pt x="473729" y="92604"/>
                          </a:lnTo>
                          <a:lnTo>
                            <a:pt x="465792" y="95250"/>
                          </a:lnTo>
                          <a:lnTo>
                            <a:pt x="460500" y="92604"/>
                          </a:lnTo>
                          <a:lnTo>
                            <a:pt x="457855" y="92604"/>
                          </a:lnTo>
                          <a:lnTo>
                            <a:pt x="452563" y="92604"/>
                          </a:lnTo>
                          <a:lnTo>
                            <a:pt x="447271" y="95250"/>
                          </a:lnTo>
                          <a:lnTo>
                            <a:pt x="444625" y="97896"/>
                          </a:lnTo>
                          <a:lnTo>
                            <a:pt x="444625" y="100542"/>
                          </a:lnTo>
                          <a:lnTo>
                            <a:pt x="441980" y="103188"/>
                          </a:lnTo>
                          <a:lnTo>
                            <a:pt x="441980" y="105834"/>
                          </a:lnTo>
                          <a:lnTo>
                            <a:pt x="441980" y="116417"/>
                          </a:lnTo>
                          <a:lnTo>
                            <a:pt x="441980" y="127000"/>
                          </a:lnTo>
                          <a:lnTo>
                            <a:pt x="436688" y="132292"/>
                          </a:lnTo>
                          <a:lnTo>
                            <a:pt x="431396" y="137584"/>
                          </a:lnTo>
                          <a:lnTo>
                            <a:pt x="426105" y="142875"/>
                          </a:lnTo>
                          <a:lnTo>
                            <a:pt x="423459" y="148167"/>
                          </a:lnTo>
                          <a:lnTo>
                            <a:pt x="420813" y="161396"/>
                          </a:lnTo>
                          <a:lnTo>
                            <a:pt x="418167" y="171980"/>
                          </a:lnTo>
                          <a:lnTo>
                            <a:pt x="415521" y="177271"/>
                          </a:lnTo>
                          <a:lnTo>
                            <a:pt x="412875" y="182563"/>
                          </a:lnTo>
                          <a:lnTo>
                            <a:pt x="407584" y="187855"/>
                          </a:lnTo>
                          <a:lnTo>
                            <a:pt x="404938" y="190500"/>
                          </a:lnTo>
                          <a:lnTo>
                            <a:pt x="399646" y="193146"/>
                          </a:lnTo>
                          <a:lnTo>
                            <a:pt x="386417" y="198438"/>
                          </a:lnTo>
                          <a:lnTo>
                            <a:pt x="375834" y="198438"/>
                          </a:lnTo>
                          <a:lnTo>
                            <a:pt x="370542" y="195792"/>
                          </a:lnTo>
                          <a:lnTo>
                            <a:pt x="367896" y="193146"/>
                          </a:lnTo>
                          <a:lnTo>
                            <a:pt x="367896" y="190500"/>
                          </a:lnTo>
                          <a:lnTo>
                            <a:pt x="365250" y="190500"/>
                          </a:lnTo>
                          <a:lnTo>
                            <a:pt x="359959" y="190500"/>
                          </a:lnTo>
                          <a:lnTo>
                            <a:pt x="354667" y="193146"/>
                          </a:lnTo>
                          <a:lnTo>
                            <a:pt x="349375" y="195792"/>
                          </a:lnTo>
                          <a:lnTo>
                            <a:pt x="349375" y="198438"/>
                          </a:lnTo>
                          <a:lnTo>
                            <a:pt x="346730" y="201084"/>
                          </a:lnTo>
                          <a:lnTo>
                            <a:pt x="341438" y="203730"/>
                          </a:lnTo>
                          <a:lnTo>
                            <a:pt x="336146" y="206375"/>
                          </a:lnTo>
                          <a:lnTo>
                            <a:pt x="333501" y="206375"/>
                          </a:lnTo>
                          <a:lnTo>
                            <a:pt x="325563" y="206375"/>
                          </a:lnTo>
                          <a:lnTo>
                            <a:pt x="314980" y="209021"/>
                          </a:lnTo>
                          <a:lnTo>
                            <a:pt x="304396" y="211667"/>
                          </a:lnTo>
                          <a:lnTo>
                            <a:pt x="299105" y="209021"/>
                          </a:lnTo>
                          <a:lnTo>
                            <a:pt x="296459" y="203730"/>
                          </a:lnTo>
                          <a:lnTo>
                            <a:pt x="296459" y="201084"/>
                          </a:lnTo>
                          <a:lnTo>
                            <a:pt x="291167" y="198438"/>
                          </a:lnTo>
                          <a:lnTo>
                            <a:pt x="288521" y="195792"/>
                          </a:lnTo>
                          <a:lnTo>
                            <a:pt x="288521" y="193146"/>
                          </a:lnTo>
                          <a:lnTo>
                            <a:pt x="288521" y="187855"/>
                          </a:lnTo>
                          <a:lnTo>
                            <a:pt x="283230" y="185209"/>
                          </a:lnTo>
                          <a:lnTo>
                            <a:pt x="280584" y="179917"/>
                          </a:lnTo>
                          <a:lnTo>
                            <a:pt x="277938" y="179917"/>
                          </a:lnTo>
                          <a:lnTo>
                            <a:pt x="277938" y="177271"/>
                          </a:lnTo>
                          <a:lnTo>
                            <a:pt x="275292" y="174625"/>
                          </a:lnTo>
                          <a:lnTo>
                            <a:pt x="275292" y="171980"/>
                          </a:lnTo>
                          <a:lnTo>
                            <a:pt x="277938" y="171980"/>
                          </a:lnTo>
                          <a:lnTo>
                            <a:pt x="280584" y="177271"/>
                          </a:lnTo>
                          <a:lnTo>
                            <a:pt x="291167" y="177271"/>
                          </a:lnTo>
                          <a:lnTo>
                            <a:pt x="301751" y="177271"/>
                          </a:lnTo>
                          <a:lnTo>
                            <a:pt x="307042" y="179917"/>
                          </a:lnTo>
                          <a:lnTo>
                            <a:pt x="309688" y="185209"/>
                          </a:lnTo>
                          <a:lnTo>
                            <a:pt x="312334" y="185209"/>
                          </a:lnTo>
                          <a:lnTo>
                            <a:pt x="322917" y="187855"/>
                          </a:lnTo>
                          <a:lnTo>
                            <a:pt x="328209" y="190500"/>
                          </a:lnTo>
                          <a:lnTo>
                            <a:pt x="325563" y="187855"/>
                          </a:lnTo>
                          <a:lnTo>
                            <a:pt x="314980" y="182563"/>
                          </a:lnTo>
                          <a:lnTo>
                            <a:pt x="312334" y="179917"/>
                          </a:lnTo>
                          <a:lnTo>
                            <a:pt x="309688" y="177271"/>
                          </a:lnTo>
                          <a:lnTo>
                            <a:pt x="314980" y="169334"/>
                          </a:lnTo>
                          <a:lnTo>
                            <a:pt x="320271" y="164042"/>
                          </a:lnTo>
                          <a:lnTo>
                            <a:pt x="320271" y="161396"/>
                          </a:lnTo>
                          <a:lnTo>
                            <a:pt x="320271" y="158750"/>
                          </a:lnTo>
                          <a:lnTo>
                            <a:pt x="320271" y="156105"/>
                          </a:lnTo>
                          <a:lnTo>
                            <a:pt x="320271" y="153459"/>
                          </a:lnTo>
                          <a:lnTo>
                            <a:pt x="322917" y="148167"/>
                          </a:lnTo>
                          <a:lnTo>
                            <a:pt x="325563" y="142875"/>
                          </a:lnTo>
                          <a:lnTo>
                            <a:pt x="328209" y="142875"/>
                          </a:lnTo>
                          <a:lnTo>
                            <a:pt x="333501" y="142875"/>
                          </a:lnTo>
                          <a:lnTo>
                            <a:pt x="346730" y="134938"/>
                          </a:lnTo>
                          <a:lnTo>
                            <a:pt x="359959" y="129646"/>
                          </a:lnTo>
                          <a:lnTo>
                            <a:pt x="365250" y="124354"/>
                          </a:lnTo>
                          <a:lnTo>
                            <a:pt x="370542" y="113771"/>
                          </a:lnTo>
                          <a:lnTo>
                            <a:pt x="381125" y="92604"/>
                          </a:lnTo>
                          <a:lnTo>
                            <a:pt x="389063" y="82021"/>
                          </a:lnTo>
                          <a:lnTo>
                            <a:pt x="389063" y="74084"/>
                          </a:lnTo>
                          <a:lnTo>
                            <a:pt x="391709" y="71438"/>
                          </a:lnTo>
                          <a:lnTo>
                            <a:pt x="397000" y="68792"/>
                          </a:lnTo>
                          <a:lnTo>
                            <a:pt x="399646" y="71438"/>
                          </a:lnTo>
                          <a:lnTo>
                            <a:pt x="402292" y="74084"/>
                          </a:lnTo>
                          <a:lnTo>
                            <a:pt x="402292" y="76729"/>
                          </a:lnTo>
                          <a:lnTo>
                            <a:pt x="404938" y="79375"/>
                          </a:lnTo>
                          <a:lnTo>
                            <a:pt x="404938" y="76729"/>
                          </a:lnTo>
                          <a:lnTo>
                            <a:pt x="407584" y="79375"/>
                          </a:lnTo>
                          <a:lnTo>
                            <a:pt x="412875" y="87313"/>
                          </a:lnTo>
                          <a:lnTo>
                            <a:pt x="418167" y="89959"/>
                          </a:lnTo>
                          <a:lnTo>
                            <a:pt x="420813" y="87313"/>
                          </a:lnTo>
                          <a:lnTo>
                            <a:pt x="423459" y="79375"/>
                          </a:lnTo>
                          <a:lnTo>
                            <a:pt x="420813" y="71438"/>
                          </a:lnTo>
                          <a:lnTo>
                            <a:pt x="420813" y="66146"/>
                          </a:lnTo>
                          <a:lnTo>
                            <a:pt x="420813" y="63500"/>
                          </a:lnTo>
                          <a:lnTo>
                            <a:pt x="423459" y="60854"/>
                          </a:lnTo>
                          <a:lnTo>
                            <a:pt x="426105" y="60854"/>
                          </a:lnTo>
                          <a:lnTo>
                            <a:pt x="428750" y="60854"/>
                          </a:lnTo>
                          <a:lnTo>
                            <a:pt x="428750" y="68792"/>
                          </a:lnTo>
                          <a:lnTo>
                            <a:pt x="431396" y="74084"/>
                          </a:lnTo>
                          <a:lnTo>
                            <a:pt x="434042" y="74084"/>
                          </a:lnTo>
                          <a:lnTo>
                            <a:pt x="436688" y="71438"/>
                          </a:lnTo>
                          <a:lnTo>
                            <a:pt x="436688" y="68792"/>
                          </a:lnTo>
                          <a:lnTo>
                            <a:pt x="436688" y="66146"/>
                          </a:lnTo>
                          <a:lnTo>
                            <a:pt x="434042" y="58209"/>
                          </a:lnTo>
                          <a:lnTo>
                            <a:pt x="434042" y="52917"/>
                          </a:lnTo>
                          <a:lnTo>
                            <a:pt x="436688" y="52917"/>
                          </a:lnTo>
                          <a:lnTo>
                            <a:pt x="439334" y="50271"/>
                          </a:lnTo>
                          <a:lnTo>
                            <a:pt x="439334" y="47625"/>
                          </a:lnTo>
                          <a:lnTo>
                            <a:pt x="436688" y="42334"/>
                          </a:lnTo>
                          <a:lnTo>
                            <a:pt x="436688" y="39688"/>
                          </a:lnTo>
                          <a:lnTo>
                            <a:pt x="439334" y="37042"/>
                          </a:lnTo>
                          <a:lnTo>
                            <a:pt x="444625" y="31750"/>
                          </a:lnTo>
                          <a:lnTo>
                            <a:pt x="441980" y="29104"/>
                          </a:lnTo>
                          <a:lnTo>
                            <a:pt x="441980" y="26459"/>
                          </a:lnTo>
                          <a:lnTo>
                            <a:pt x="447271" y="21167"/>
                          </a:lnTo>
                          <a:lnTo>
                            <a:pt x="452563" y="13229"/>
                          </a:lnTo>
                          <a:lnTo>
                            <a:pt x="452563" y="7937"/>
                          </a:lnTo>
                          <a:lnTo>
                            <a:pt x="455209" y="2646"/>
                          </a:lnTo>
                          <a:close/>
                        </a:path>
                      </a:pathLst>
                    </a:custGeom>
                    <a:solidFill>
                      <a:schemeClr val="accent3">
                        <a:alpha val="99000"/>
                      </a:schemeClr>
                    </a:solid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4" name="Philippines"/>
                    <p:cNvSpPr>
                      <a:spLocks/>
                    </p:cNvSpPr>
                    <p:nvPr/>
                  </p:nvSpPr>
                  <p:spPr bwMode="auto">
                    <a:xfrm>
                      <a:off x="9525028" y="2952909"/>
                      <a:ext cx="309838" cy="515921"/>
                    </a:xfrm>
                    <a:custGeom>
                      <a:avLst/>
                      <a:gdLst/>
                      <a:ahLst/>
                      <a:cxnLst/>
                      <a:rect l="l" t="t" r="r" b="b"/>
                      <a:pathLst>
                        <a:path w="269874" h="449791">
                          <a:moveTo>
                            <a:pt x="132292" y="410104"/>
                          </a:moveTo>
                          <a:lnTo>
                            <a:pt x="137584" y="410104"/>
                          </a:lnTo>
                          <a:lnTo>
                            <a:pt x="142875" y="412750"/>
                          </a:lnTo>
                          <a:lnTo>
                            <a:pt x="145521" y="415396"/>
                          </a:lnTo>
                          <a:lnTo>
                            <a:pt x="142875" y="418042"/>
                          </a:lnTo>
                          <a:lnTo>
                            <a:pt x="140230" y="420687"/>
                          </a:lnTo>
                          <a:lnTo>
                            <a:pt x="137584" y="423333"/>
                          </a:lnTo>
                          <a:lnTo>
                            <a:pt x="134938" y="423333"/>
                          </a:lnTo>
                          <a:lnTo>
                            <a:pt x="132292" y="420687"/>
                          </a:lnTo>
                          <a:lnTo>
                            <a:pt x="127000" y="415396"/>
                          </a:lnTo>
                          <a:lnTo>
                            <a:pt x="127000" y="412750"/>
                          </a:lnTo>
                          <a:lnTo>
                            <a:pt x="129646" y="412750"/>
                          </a:lnTo>
                          <a:close/>
                          <a:moveTo>
                            <a:pt x="232833" y="306916"/>
                          </a:moveTo>
                          <a:lnTo>
                            <a:pt x="240770" y="314854"/>
                          </a:lnTo>
                          <a:lnTo>
                            <a:pt x="246062" y="320145"/>
                          </a:lnTo>
                          <a:lnTo>
                            <a:pt x="248708" y="322791"/>
                          </a:lnTo>
                          <a:lnTo>
                            <a:pt x="251353" y="325437"/>
                          </a:lnTo>
                          <a:lnTo>
                            <a:pt x="248708" y="328083"/>
                          </a:lnTo>
                          <a:lnTo>
                            <a:pt x="251353" y="330729"/>
                          </a:lnTo>
                          <a:lnTo>
                            <a:pt x="253999" y="328083"/>
                          </a:lnTo>
                          <a:lnTo>
                            <a:pt x="253999" y="333374"/>
                          </a:lnTo>
                          <a:lnTo>
                            <a:pt x="251353" y="336020"/>
                          </a:lnTo>
                          <a:lnTo>
                            <a:pt x="253999" y="338666"/>
                          </a:lnTo>
                          <a:lnTo>
                            <a:pt x="256645" y="341312"/>
                          </a:lnTo>
                          <a:lnTo>
                            <a:pt x="259291" y="343958"/>
                          </a:lnTo>
                          <a:lnTo>
                            <a:pt x="259291" y="346604"/>
                          </a:lnTo>
                          <a:lnTo>
                            <a:pt x="256645" y="349249"/>
                          </a:lnTo>
                          <a:lnTo>
                            <a:pt x="253999" y="351895"/>
                          </a:lnTo>
                          <a:lnTo>
                            <a:pt x="253999" y="354541"/>
                          </a:lnTo>
                          <a:lnTo>
                            <a:pt x="256645" y="354541"/>
                          </a:lnTo>
                          <a:lnTo>
                            <a:pt x="259291" y="354541"/>
                          </a:lnTo>
                          <a:lnTo>
                            <a:pt x="261937" y="354541"/>
                          </a:lnTo>
                          <a:lnTo>
                            <a:pt x="261937" y="357187"/>
                          </a:lnTo>
                          <a:lnTo>
                            <a:pt x="261937" y="359833"/>
                          </a:lnTo>
                          <a:lnTo>
                            <a:pt x="264583" y="359833"/>
                          </a:lnTo>
                          <a:lnTo>
                            <a:pt x="264583" y="362479"/>
                          </a:lnTo>
                          <a:lnTo>
                            <a:pt x="264583" y="367770"/>
                          </a:lnTo>
                          <a:lnTo>
                            <a:pt x="261937" y="370416"/>
                          </a:lnTo>
                          <a:lnTo>
                            <a:pt x="264583" y="373062"/>
                          </a:lnTo>
                          <a:lnTo>
                            <a:pt x="267228" y="375708"/>
                          </a:lnTo>
                          <a:lnTo>
                            <a:pt x="269874" y="380999"/>
                          </a:lnTo>
                          <a:lnTo>
                            <a:pt x="267228" y="386291"/>
                          </a:lnTo>
                          <a:lnTo>
                            <a:pt x="267228" y="388937"/>
                          </a:lnTo>
                          <a:lnTo>
                            <a:pt x="264583" y="394229"/>
                          </a:lnTo>
                          <a:lnTo>
                            <a:pt x="261937" y="394229"/>
                          </a:lnTo>
                          <a:lnTo>
                            <a:pt x="259291" y="396874"/>
                          </a:lnTo>
                          <a:lnTo>
                            <a:pt x="261937" y="402166"/>
                          </a:lnTo>
                          <a:lnTo>
                            <a:pt x="261937" y="407458"/>
                          </a:lnTo>
                          <a:lnTo>
                            <a:pt x="261937" y="412749"/>
                          </a:lnTo>
                          <a:lnTo>
                            <a:pt x="261937" y="415395"/>
                          </a:lnTo>
                          <a:lnTo>
                            <a:pt x="259291" y="410104"/>
                          </a:lnTo>
                          <a:lnTo>
                            <a:pt x="256645" y="404812"/>
                          </a:lnTo>
                          <a:lnTo>
                            <a:pt x="256645" y="402166"/>
                          </a:lnTo>
                          <a:lnTo>
                            <a:pt x="256645" y="399520"/>
                          </a:lnTo>
                          <a:lnTo>
                            <a:pt x="253999" y="396874"/>
                          </a:lnTo>
                          <a:lnTo>
                            <a:pt x="251353" y="394229"/>
                          </a:lnTo>
                          <a:lnTo>
                            <a:pt x="251353" y="388937"/>
                          </a:lnTo>
                          <a:lnTo>
                            <a:pt x="248708" y="383645"/>
                          </a:lnTo>
                          <a:lnTo>
                            <a:pt x="248708" y="380999"/>
                          </a:lnTo>
                          <a:lnTo>
                            <a:pt x="246062" y="383645"/>
                          </a:lnTo>
                          <a:lnTo>
                            <a:pt x="246062" y="388937"/>
                          </a:lnTo>
                          <a:lnTo>
                            <a:pt x="246062" y="394229"/>
                          </a:lnTo>
                          <a:lnTo>
                            <a:pt x="243416" y="396874"/>
                          </a:lnTo>
                          <a:lnTo>
                            <a:pt x="240770" y="396874"/>
                          </a:lnTo>
                          <a:lnTo>
                            <a:pt x="240770" y="399520"/>
                          </a:lnTo>
                          <a:lnTo>
                            <a:pt x="240770" y="402166"/>
                          </a:lnTo>
                          <a:lnTo>
                            <a:pt x="240770" y="404812"/>
                          </a:lnTo>
                          <a:lnTo>
                            <a:pt x="238124" y="407458"/>
                          </a:lnTo>
                          <a:lnTo>
                            <a:pt x="240770" y="410104"/>
                          </a:lnTo>
                          <a:lnTo>
                            <a:pt x="240770" y="412749"/>
                          </a:lnTo>
                          <a:lnTo>
                            <a:pt x="243416" y="412749"/>
                          </a:lnTo>
                          <a:lnTo>
                            <a:pt x="246062" y="412749"/>
                          </a:lnTo>
                          <a:lnTo>
                            <a:pt x="248708" y="412749"/>
                          </a:lnTo>
                          <a:lnTo>
                            <a:pt x="251353" y="418041"/>
                          </a:lnTo>
                          <a:lnTo>
                            <a:pt x="253999" y="420687"/>
                          </a:lnTo>
                          <a:lnTo>
                            <a:pt x="253999" y="428624"/>
                          </a:lnTo>
                          <a:lnTo>
                            <a:pt x="253999" y="431270"/>
                          </a:lnTo>
                          <a:lnTo>
                            <a:pt x="253999" y="436562"/>
                          </a:lnTo>
                          <a:lnTo>
                            <a:pt x="246062" y="441854"/>
                          </a:lnTo>
                          <a:lnTo>
                            <a:pt x="246062" y="444499"/>
                          </a:lnTo>
                          <a:lnTo>
                            <a:pt x="246062" y="447145"/>
                          </a:lnTo>
                          <a:lnTo>
                            <a:pt x="243416" y="449791"/>
                          </a:lnTo>
                          <a:lnTo>
                            <a:pt x="238124" y="447145"/>
                          </a:lnTo>
                          <a:lnTo>
                            <a:pt x="235478" y="444499"/>
                          </a:lnTo>
                          <a:lnTo>
                            <a:pt x="232833" y="441854"/>
                          </a:lnTo>
                          <a:lnTo>
                            <a:pt x="235478" y="441854"/>
                          </a:lnTo>
                          <a:lnTo>
                            <a:pt x="235478" y="433916"/>
                          </a:lnTo>
                          <a:lnTo>
                            <a:pt x="235478" y="431270"/>
                          </a:lnTo>
                          <a:lnTo>
                            <a:pt x="232833" y="433916"/>
                          </a:lnTo>
                          <a:lnTo>
                            <a:pt x="232833" y="436562"/>
                          </a:lnTo>
                          <a:lnTo>
                            <a:pt x="230187" y="436562"/>
                          </a:lnTo>
                          <a:lnTo>
                            <a:pt x="224895" y="433916"/>
                          </a:lnTo>
                          <a:lnTo>
                            <a:pt x="216958" y="431270"/>
                          </a:lnTo>
                          <a:lnTo>
                            <a:pt x="209020" y="428624"/>
                          </a:lnTo>
                          <a:lnTo>
                            <a:pt x="201083" y="423333"/>
                          </a:lnTo>
                          <a:lnTo>
                            <a:pt x="195791" y="418041"/>
                          </a:lnTo>
                          <a:lnTo>
                            <a:pt x="193145" y="415395"/>
                          </a:lnTo>
                          <a:lnTo>
                            <a:pt x="193145" y="412749"/>
                          </a:lnTo>
                          <a:lnTo>
                            <a:pt x="195791" y="410104"/>
                          </a:lnTo>
                          <a:lnTo>
                            <a:pt x="193145" y="407458"/>
                          </a:lnTo>
                          <a:lnTo>
                            <a:pt x="190499" y="402166"/>
                          </a:lnTo>
                          <a:lnTo>
                            <a:pt x="190499" y="399520"/>
                          </a:lnTo>
                          <a:lnTo>
                            <a:pt x="190499" y="394229"/>
                          </a:lnTo>
                          <a:lnTo>
                            <a:pt x="190499" y="388937"/>
                          </a:lnTo>
                          <a:lnTo>
                            <a:pt x="193145" y="386291"/>
                          </a:lnTo>
                          <a:lnTo>
                            <a:pt x="195791" y="386291"/>
                          </a:lnTo>
                          <a:lnTo>
                            <a:pt x="198437" y="383645"/>
                          </a:lnTo>
                          <a:lnTo>
                            <a:pt x="198437" y="380999"/>
                          </a:lnTo>
                          <a:lnTo>
                            <a:pt x="201083" y="380999"/>
                          </a:lnTo>
                          <a:lnTo>
                            <a:pt x="201083" y="378354"/>
                          </a:lnTo>
                          <a:lnTo>
                            <a:pt x="198437" y="375708"/>
                          </a:lnTo>
                          <a:lnTo>
                            <a:pt x="190499" y="367770"/>
                          </a:lnTo>
                          <a:lnTo>
                            <a:pt x="185208" y="365124"/>
                          </a:lnTo>
                          <a:lnTo>
                            <a:pt x="182562" y="365124"/>
                          </a:lnTo>
                          <a:lnTo>
                            <a:pt x="182562" y="367770"/>
                          </a:lnTo>
                          <a:lnTo>
                            <a:pt x="185208" y="370416"/>
                          </a:lnTo>
                          <a:lnTo>
                            <a:pt x="182562" y="373062"/>
                          </a:lnTo>
                          <a:lnTo>
                            <a:pt x="182562" y="375708"/>
                          </a:lnTo>
                          <a:lnTo>
                            <a:pt x="185208" y="378354"/>
                          </a:lnTo>
                          <a:lnTo>
                            <a:pt x="182562" y="380999"/>
                          </a:lnTo>
                          <a:lnTo>
                            <a:pt x="179916" y="378354"/>
                          </a:lnTo>
                          <a:lnTo>
                            <a:pt x="177270" y="375708"/>
                          </a:lnTo>
                          <a:lnTo>
                            <a:pt x="174624" y="378354"/>
                          </a:lnTo>
                          <a:lnTo>
                            <a:pt x="174624" y="380999"/>
                          </a:lnTo>
                          <a:lnTo>
                            <a:pt x="171979" y="380999"/>
                          </a:lnTo>
                          <a:lnTo>
                            <a:pt x="169333" y="378354"/>
                          </a:lnTo>
                          <a:lnTo>
                            <a:pt x="166687" y="378354"/>
                          </a:lnTo>
                          <a:lnTo>
                            <a:pt x="164041" y="375708"/>
                          </a:lnTo>
                          <a:lnTo>
                            <a:pt x="161395" y="373062"/>
                          </a:lnTo>
                          <a:lnTo>
                            <a:pt x="161395" y="370416"/>
                          </a:lnTo>
                          <a:lnTo>
                            <a:pt x="161395" y="367770"/>
                          </a:lnTo>
                          <a:lnTo>
                            <a:pt x="158750" y="367770"/>
                          </a:lnTo>
                          <a:lnTo>
                            <a:pt x="156104" y="367770"/>
                          </a:lnTo>
                          <a:lnTo>
                            <a:pt x="153458" y="370416"/>
                          </a:lnTo>
                          <a:lnTo>
                            <a:pt x="150812" y="373062"/>
                          </a:lnTo>
                          <a:lnTo>
                            <a:pt x="150812" y="380999"/>
                          </a:lnTo>
                          <a:lnTo>
                            <a:pt x="150812" y="383645"/>
                          </a:lnTo>
                          <a:lnTo>
                            <a:pt x="150812" y="388937"/>
                          </a:lnTo>
                          <a:lnTo>
                            <a:pt x="148166" y="394229"/>
                          </a:lnTo>
                          <a:lnTo>
                            <a:pt x="145520" y="396874"/>
                          </a:lnTo>
                          <a:lnTo>
                            <a:pt x="142875" y="399520"/>
                          </a:lnTo>
                          <a:lnTo>
                            <a:pt x="134937" y="399520"/>
                          </a:lnTo>
                          <a:lnTo>
                            <a:pt x="132291" y="399520"/>
                          </a:lnTo>
                          <a:lnTo>
                            <a:pt x="132291" y="396874"/>
                          </a:lnTo>
                          <a:lnTo>
                            <a:pt x="132291" y="391583"/>
                          </a:lnTo>
                          <a:lnTo>
                            <a:pt x="132291" y="388937"/>
                          </a:lnTo>
                          <a:lnTo>
                            <a:pt x="137583" y="388937"/>
                          </a:lnTo>
                          <a:lnTo>
                            <a:pt x="137583" y="386291"/>
                          </a:lnTo>
                          <a:lnTo>
                            <a:pt x="134937" y="386291"/>
                          </a:lnTo>
                          <a:lnTo>
                            <a:pt x="134937" y="383645"/>
                          </a:lnTo>
                          <a:lnTo>
                            <a:pt x="137583" y="380999"/>
                          </a:lnTo>
                          <a:lnTo>
                            <a:pt x="137583" y="378354"/>
                          </a:lnTo>
                          <a:lnTo>
                            <a:pt x="140229" y="375708"/>
                          </a:lnTo>
                          <a:lnTo>
                            <a:pt x="137583" y="370416"/>
                          </a:lnTo>
                          <a:lnTo>
                            <a:pt x="137583" y="365124"/>
                          </a:lnTo>
                          <a:lnTo>
                            <a:pt x="140229" y="362479"/>
                          </a:lnTo>
                          <a:lnTo>
                            <a:pt x="145520" y="359833"/>
                          </a:lnTo>
                          <a:lnTo>
                            <a:pt x="150812" y="357187"/>
                          </a:lnTo>
                          <a:lnTo>
                            <a:pt x="158750" y="357187"/>
                          </a:lnTo>
                          <a:lnTo>
                            <a:pt x="161395" y="354541"/>
                          </a:lnTo>
                          <a:lnTo>
                            <a:pt x="158750" y="351895"/>
                          </a:lnTo>
                          <a:lnTo>
                            <a:pt x="158750" y="349249"/>
                          </a:lnTo>
                          <a:lnTo>
                            <a:pt x="161395" y="349249"/>
                          </a:lnTo>
                          <a:lnTo>
                            <a:pt x="161395" y="346604"/>
                          </a:lnTo>
                          <a:lnTo>
                            <a:pt x="158750" y="346604"/>
                          </a:lnTo>
                          <a:lnTo>
                            <a:pt x="161395" y="343958"/>
                          </a:lnTo>
                          <a:lnTo>
                            <a:pt x="164041" y="343958"/>
                          </a:lnTo>
                          <a:lnTo>
                            <a:pt x="164041" y="341312"/>
                          </a:lnTo>
                          <a:lnTo>
                            <a:pt x="169333" y="341312"/>
                          </a:lnTo>
                          <a:lnTo>
                            <a:pt x="171979" y="341312"/>
                          </a:lnTo>
                          <a:lnTo>
                            <a:pt x="174624" y="338666"/>
                          </a:lnTo>
                          <a:lnTo>
                            <a:pt x="177270" y="338666"/>
                          </a:lnTo>
                          <a:lnTo>
                            <a:pt x="177270" y="336020"/>
                          </a:lnTo>
                          <a:lnTo>
                            <a:pt x="182562" y="336020"/>
                          </a:lnTo>
                          <a:lnTo>
                            <a:pt x="185208" y="338666"/>
                          </a:lnTo>
                          <a:lnTo>
                            <a:pt x="187854" y="341312"/>
                          </a:lnTo>
                          <a:lnTo>
                            <a:pt x="187854" y="349249"/>
                          </a:lnTo>
                          <a:lnTo>
                            <a:pt x="187854" y="351895"/>
                          </a:lnTo>
                          <a:lnTo>
                            <a:pt x="185208" y="351895"/>
                          </a:lnTo>
                          <a:lnTo>
                            <a:pt x="182562" y="351895"/>
                          </a:lnTo>
                          <a:lnTo>
                            <a:pt x="182562" y="354541"/>
                          </a:lnTo>
                          <a:lnTo>
                            <a:pt x="185208" y="354541"/>
                          </a:lnTo>
                          <a:lnTo>
                            <a:pt x="190499" y="351895"/>
                          </a:lnTo>
                          <a:lnTo>
                            <a:pt x="195791" y="349249"/>
                          </a:lnTo>
                          <a:lnTo>
                            <a:pt x="195791" y="346604"/>
                          </a:lnTo>
                          <a:lnTo>
                            <a:pt x="195791" y="341312"/>
                          </a:lnTo>
                          <a:lnTo>
                            <a:pt x="198437" y="341312"/>
                          </a:lnTo>
                          <a:lnTo>
                            <a:pt x="201083" y="343958"/>
                          </a:lnTo>
                          <a:lnTo>
                            <a:pt x="206374" y="343958"/>
                          </a:lnTo>
                          <a:lnTo>
                            <a:pt x="206374" y="341312"/>
                          </a:lnTo>
                          <a:lnTo>
                            <a:pt x="209020" y="336020"/>
                          </a:lnTo>
                          <a:lnTo>
                            <a:pt x="211666" y="336020"/>
                          </a:lnTo>
                          <a:lnTo>
                            <a:pt x="214312" y="338666"/>
                          </a:lnTo>
                          <a:lnTo>
                            <a:pt x="216958" y="338666"/>
                          </a:lnTo>
                          <a:lnTo>
                            <a:pt x="219604" y="333374"/>
                          </a:lnTo>
                          <a:lnTo>
                            <a:pt x="219604" y="330729"/>
                          </a:lnTo>
                          <a:lnTo>
                            <a:pt x="222249" y="330729"/>
                          </a:lnTo>
                          <a:lnTo>
                            <a:pt x="224895" y="333374"/>
                          </a:lnTo>
                          <a:lnTo>
                            <a:pt x="227541" y="333374"/>
                          </a:lnTo>
                          <a:lnTo>
                            <a:pt x="230187" y="333374"/>
                          </a:lnTo>
                          <a:lnTo>
                            <a:pt x="230187" y="330729"/>
                          </a:lnTo>
                          <a:lnTo>
                            <a:pt x="230187" y="325437"/>
                          </a:lnTo>
                          <a:lnTo>
                            <a:pt x="230187" y="317499"/>
                          </a:lnTo>
                          <a:lnTo>
                            <a:pt x="230187" y="312208"/>
                          </a:lnTo>
                          <a:lnTo>
                            <a:pt x="232833" y="309562"/>
                          </a:lnTo>
                          <a:close/>
                          <a:moveTo>
                            <a:pt x="195791" y="298979"/>
                          </a:moveTo>
                          <a:lnTo>
                            <a:pt x="201083" y="301625"/>
                          </a:lnTo>
                          <a:lnTo>
                            <a:pt x="203728" y="301625"/>
                          </a:lnTo>
                          <a:lnTo>
                            <a:pt x="206374" y="304271"/>
                          </a:lnTo>
                          <a:lnTo>
                            <a:pt x="206374" y="306917"/>
                          </a:lnTo>
                          <a:lnTo>
                            <a:pt x="203728" y="309563"/>
                          </a:lnTo>
                          <a:lnTo>
                            <a:pt x="206374" y="312208"/>
                          </a:lnTo>
                          <a:lnTo>
                            <a:pt x="203728" y="312208"/>
                          </a:lnTo>
                          <a:lnTo>
                            <a:pt x="201083" y="314854"/>
                          </a:lnTo>
                          <a:lnTo>
                            <a:pt x="198437" y="317500"/>
                          </a:lnTo>
                          <a:lnTo>
                            <a:pt x="193145" y="317500"/>
                          </a:lnTo>
                          <a:lnTo>
                            <a:pt x="182562" y="317500"/>
                          </a:lnTo>
                          <a:lnTo>
                            <a:pt x="179916" y="317500"/>
                          </a:lnTo>
                          <a:lnTo>
                            <a:pt x="177270" y="317500"/>
                          </a:lnTo>
                          <a:lnTo>
                            <a:pt x="179916" y="314854"/>
                          </a:lnTo>
                          <a:lnTo>
                            <a:pt x="182562" y="314854"/>
                          </a:lnTo>
                          <a:lnTo>
                            <a:pt x="182562" y="312208"/>
                          </a:lnTo>
                          <a:lnTo>
                            <a:pt x="182562" y="309563"/>
                          </a:lnTo>
                          <a:lnTo>
                            <a:pt x="185208" y="306917"/>
                          </a:lnTo>
                          <a:lnTo>
                            <a:pt x="187854" y="306917"/>
                          </a:lnTo>
                          <a:lnTo>
                            <a:pt x="190499" y="301625"/>
                          </a:lnTo>
                          <a:close/>
                          <a:moveTo>
                            <a:pt x="156104" y="264583"/>
                          </a:moveTo>
                          <a:lnTo>
                            <a:pt x="158750" y="264583"/>
                          </a:lnTo>
                          <a:lnTo>
                            <a:pt x="164042" y="267229"/>
                          </a:lnTo>
                          <a:lnTo>
                            <a:pt x="166687" y="267229"/>
                          </a:lnTo>
                          <a:lnTo>
                            <a:pt x="169333" y="272520"/>
                          </a:lnTo>
                          <a:lnTo>
                            <a:pt x="169333" y="275166"/>
                          </a:lnTo>
                          <a:lnTo>
                            <a:pt x="169333" y="280458"/>
                          </a:lnTo>
                          <a:lnTo>
                            <a:pt x="164042" y="285750"/>
                          </a:lnTo>
                          <a:lnTo>
                            <a:pt x="164042" y="288395"/>
                          </a:lnTo>
                          <a:lnTo>
                            <a:pt x="164042" y="291041"/>
                          </a:lnTo>
                          <a:lnTo>
                            <a:pt x="161396" y="296333"/>
                          </a:lnTo>
                          <a:lnTo>
                            <a:pt x="156104" y="298979"/>
                          </a:lnTo>
                          <a:lnTo>
                            <a:pt x="156104" y="301625"/>
                          </a:lnTo>
                          <a:lnTo>
                            <a:pt x="158750" y="306917"/>
                          </a:lnTo>
                          <a:lnTo>
                            <a:pt x="158750" y="312208"/>
                          </a:lnTo>
                          <a:lnTo>
                            <a:pt x="158750" y="314854"/>
                          </a:lnTo>
                          <a:lnTo>
                            <a:pt x="161396" y="317500"/>
                          </a:lnTo>
                          <a:lnTo>
                            <a:pt x="164042" y="320146"/>
                          </a:lnTo>
                          <a:lnTo>
                            <a:pt x="164042" y="325438"/>
                          </a:lnTo>
                          <a:lnTo>
                            <a:pt x="161396" y="330729"/>
                          </a:lnTo>
                          <a:lnTo>
                            <a:pt x="158750" y="330729"/>
                          </a:lnTo>
                          <a:lnTo>
                            <a:pt x="156104" y="333375"/>
                          </a:lnTo>
                          <a:lnTo>
                            <a:pt x="153458" y="330729"/>
                          </a:lnTo>
                          <a:lnTo>
                            <a:pt x="150812" y="328083"/>
                          </a:lnTo>
                          <a:lnTo>
                            <a:pt x="148167" y="328083"/>
                          </a:lnTo>
                          <a:lnTo>
                            <a:pt x="142875" y="325438"/>
                          </a:lnTo>
                          <a:lnTo>
                            <a:pt x="137583" y="322792"/>
                          </a:lnTo>
                          <a:lnTo>
                            <a:pt x="137583" y="317500"/>
                          </a:lnTo>
                          <a:lnTo>
                            <a:pt x="137583" y="312208"/>
                          </a:lnTo>
                          <a:lnTo>
                            <a:pt x="137583" y="309563"/>
                          </a:lnTo>
                          <a:lnTo>
                            <a:pt x="140229" y="309563"/>
                          </a:lnTo>
                          <a:lnTo>
                            <a:pt x="145521" y="309563"/>
                          </a:lnTo>
                          <a:lnTo>
                            <a:pt x="145521" y="306917"/>
                          </a:lnTo>
                          <a:lnTo>
                            <a:pt x="145521" y="301625"/>
                          </a:lnTo>
                          <a:lnTo>
                            <a:pt x="145521" y="296333"/>
                          </a:lnTo>
                          <a:lnTo>
                            <a:pt x="145521" y="293687"/>
                          </a:lnTo>
                          <a:lnTo>
                            <a:pt x="148167" y="291041"/>
                          </a:lnTo>
                          <a:lnTo>
                            <a:pt x="145521" y="285750"/>
                          </a:lnTo>
                          <a:lnTo>
                            <a:pt x="148167" y="283104"/>
                          </a:lnTo>
                          <a:lnTo>
                            <a:pt x="150812" y="280458"/>
                          </a:lnTo>
                          <a:lnTo>
                            <a:pt x="150812" y="272520"/>
                          </a:lnTo>
                          <a:lnTo>
                            <a:pt x="150812" y="269875"/>
                          </a:lnTo>
                          <a:lnTo>
                            <a:pt x="150812" y="267229"/>
                          </a:lnTo>
                          <a:close/>
                          <a:moveTo>
                            <a:pt x="182562" y="261937"/>
                          </a:moveTo>
                          <a:lnTo>
                            <a:pt x="182562" y="264583"/>
                          </a:lnTo>
                          <a:lnTo>
                            <a:pt x="185208" y="267229"/>
                          </a:lnTo>
                          <a:lnTo>
                            <a:pt x="185208" y="269874"/>
                          </a:lnTo>
                          <a:lnTo>
                            <a:pt x="185208" y="272520"/>
                          </a:lnTo>
                          <a:lnTo>
                            <a:pt x="185208" y="280458"/>
                          </a:lnTo>
                          <a:lnTo>
                            <a:pt x="185208" y="283104"/>
                          </a:lnTo>
                          <a:lnTo>
                            <a:pt x="179916" y="285750"/>
                          </a:lnTo>
                          <a:lnTo>
                            <a:pt x="177271" y="288395"/>
                          </a:lnTo>
                          <a:lnTo>
                            <a:pt x="177271" y="291041"/>
                          </a:lnTo>
                          <a:lnTo>
                            <a:pt x="174625" y="293687"/>
                          </a:lnTo>
                          <a:lnTo>
                            <a:pt x="174625" y="296333"/>
                          </a:lnTo>
                          <a:lnTo>
                            <a:pt x="174625" y="298979"/>
                          </a:lnTo>
                          <a:lnTo>
                            <a:pt x="171979" y="312208"/>
                          </a:lnTo>
                          <a:lnTo>
                            <a:pt x="166687" y="317500"/>
                          </a:lnTo>
                          <a:lnTo>
                            <a:pt x="164041" y="317500"/>
                          </a:lnTo>
                          <a:lnTo>
                            <a:pt x="164041" y="306917"/>
                          </a:lnTo>
                          <a:lnTo>
                            <a:pt x="166687" y="296333"/>
                          </a:lnTo>
                          <a:lnTo>
                            <a:pt x="169333" y="291041"/>
                          </a:lnTo>
                          <a:lnTo>
                            <a:pt x="171979" y="285750"/>
                          </a:lnTo>
                          <a:lnTo>
                            <a:pt x="177271" y="272520"/>
                          </a:lnTo>
                          <a:lnTo>
                            <a:pt x="179916" y="264583"/>
                          </a:lnTo>
                          <a:close/>
                          <a:moveTo>
                            <a:pt x="52917" y="254000"/>
                          </a:moveTo>
                          <a:lnTo>
                            <a:pt x="55562" y="254000"/>
                          </a:lnTo>
                          <a:lnTo>
                            <a:pt x="58208" y="256646"/>
                          </a:lnTo>
                          <a:lnTo>
                            <a:pt x="60854" y="261937"/>
                          </a:lnTo>
                          <a:lnTo>
                            <a:pt x="58208" y="264583"/>
                          </a:lnTo>
                          <a:lnTo>
                            <a:pt x="58208" y="267229"/>
                          </a:lnTo>
                          <a:lnTo>
                            <a:pt x="58208" y="269875"/>
                          </a:lnTo>
                          <a:lnTo>
                            <a:pt x="60854" y="269875"/>
                          </a:lnTo>
                          <a:lnTo>
                            <a:pt x="60854" y="272521"/>
                          </a:lnTo>
                          <a:lnTo>
                            <a:pt x="63500" y="275167"/>
                          </a:lnTo>
                          <a:lnTo>
                            <a:pt x="66146" y="275167"/>
                          </a:lnTo>
                          <a:lnTo>
                            <a:pt x="66146" y="277812"/>
                          </a:lnTo>
                          <a:lnTo>
                            <a:pt x="63500" y="280458"/>
                          </a:lnTo>
                          <a:lnTo>
                            <a:pt x="60854" y="280458"/>
                          </a:lnTo>
                          <a:lnTo>
                            <a:pt x="60854" y="285750"/>
                          </a:lnTo>
                          <a:lnTo>
                            <a:pt x="60854" y="288396"/>
                          </a:lnTo>
                          <a:lnTo>
                            <a:pt x="58208" y="291041"/>
                          </a:lnTo>
                          <a:lnTo>
                            <a:pt x="47625" y="296333"/>
                          </a:lnTo>
                          <a:lnTo>
                            <a:pt x="39687" y="301625"/>
                          </a:lnTo>
                          <a:lnTo>
                            <a:pt x="39687" y="304271"/>
                          </a:lnTo>
                          <a:lnTo>
                            <a:pt x="42333" y="306917"/>
                          </a:lnTo>
                          <a:lnTo>
                            <a:pt x="42333" y="312208"/>
                          </a:lnTo>
                          <a:lnTo>
                            <a:pt x="37042" y="314854"/>
                          </a:lnTo>
                          <a:lnTo>
                            <a:pt x="37042" y="320146"/>
                          </a:lnTo>
                          <a:lnTo>
                            <a:pt x="34396" y="322792"/>
                          </a:lnTo>
                          <a:lnTo>
                            <a:pt x="31750" y="322792"/>
                          </a:lnTo>
                          <a:lnTo>
                            <a:pt x="26458" y="325438"/>
                          </a:lnTo>
                          <a:lnTo>
                            <a:pt x="23812" y="325438"/>
                          </a:lnTo>
                          <a:lnTo>
                            <a:pt x="23812" y="328083"/>
                          </a:lnTo>
                          <a:lnTo>
                            <a:pt x="23812" y="333375"/>
                          </a:lnTo>
                          <a:lnTo>
                            <a:pt x="21166" y="336021"/>
                          </a:lnTo>
                          <a:lnTo>
                            <a:pt x="15875" y="341312"/>
                          </a:lnTo>
                          <a:lnTo>
                            <a:pt x="10583" y="343958"/>
                          </a:lnTo>
                          <a:lnTo>
                            <a:pt x="7937" y="346604"/>
                          </a:lnTo>
                          <a:lnTo>
                            <a:pt x="5291" y="346604"/>
                          </a:lnTo>
                          <a:lnTo>
                            <a:pt x="2646" y="346604"/>
                          </a:lnTo>
                          <a:lnTo>
                            <a:pt x="0" y="343958"/>
                          </a:lnTo>
                          <a:lnTo>
                            <a:pt x="2646" y="341312"/>
                          </a:lnTo>
                          <a:lnTo>
                            <a:pt x="2646" y="336021"/>
                          </a:lnTo>
                          <a:lnTo>
                            <a:pt x="5291" y="333375"/>
                          </a:lnTo>
                          <a:lnTo>
                            <a:pt x="7937" y="330729"/>
                          </a:lnTo>
                          <a:lnTo>
                            <a:pt x="10583" y="325438"/>
                          </a:lnTo>
                          <a:lnTo>
                            <a:pt x="13229" y="322792"/>
                          </a:lnTo>
                          <a:lnTo>
                            <a:pt x="15875" y="320146"/>
                          </a:lnTo>
                          <a:lnTo>
                            <a:pt x="18521" y="317500"/>
                          </a:lnTo>
                          <a:lnTo>
                            <a:pt x="21166" y="314854"/>
                          </a:lnTo>
                          <a:lnTo>
                            <a:pt x="23812" y="309563"/>
                          </a:lnTo>
                          <a:lnTo>
                            <a:pt x="26458" y="304271"/>
                          </a:lnTo>
                          <a:lnTo>
                            <a:pt x="29104" y="301625"/>
                          </a:lnTo>
                          <a:lnTo>
                            <a:pt x="29104" y="296333"/>
                          </a:lnTo>
                          <a:lnTo>
                            <a:pt x="31750" y="293687"/>
                          </a:lnTo>
                          <a:lnTo>
                            <a:pt x="34396" y="293687"/>
                          </a:lnTo>
                          <a:lnTo>
                            <a:pt x="37042" y="291041"/>
                          </a:lnTo>
                          <a:lnTo>
                            <a:pt x="37042" y="288396"/>
                          </a:lnTo>
                          <a:lnTo>
                            <a:pt x="39687" y="283104"/>
                          </a:lnTo>
                          <a:lnTo>
                            <a:pt x="42333" y="280458"/>
                          </a:lnTo>
                          <a:lnTo>
                            <a:pt x="44979" y="280458"/>
                          </a:lnTo>
                          <a:lnTo>
                            <a:pt x="50271" y="275167"/>
                          </a:lnTo>
                          <a:lnTo>
                            <a:pt x="50271" y="272521"/>
                          </a:lnTo>
                          <a:lnTo>
                            <a:pt x="47625" y="269875"/>
                          </a:lnTo>
                          <a:lnTo>
                            <a:pt x="50271" y="267229"/>
                          </a:lnTo>
                          <a:lnTo>
                            <a:pt x="50271" y="264583"/>
                          </a:lnTo>
                          <a:lnTo>
                            <a:pt x="52917" y="259292"/>
                          </a:lnTo>
                          <a:close/>
                          <a:moveTo>
                            <a:pt x="185208" y="246062"/>
                          </a:moveTo>
                          <a:lnTo>
                            <a:pt x="187854" y="246062"/>
                          </a:lnTo>
                          <a:lnTo>
                            <a:pt x="190500" y="248708"/>
                          </a:lnTo>
                          <a:lnTo>
                            <a:pt x="198438" y="253999"/>
                          </a:lnTo>
                          <a:lnTo>
                            <a:pt x="198438" y="251354"/>
                          </a:lnTo>
                          <a:lnTo>
                            <a:pt x="201083" y="251354"/>
                          </a:lnTo>
                          <a:lnTo>
                            <a:pt x="201083" y="248708"/>
                          </a:lnTo>
                          <a:lnTo>
                            <a:pt x="203729" y="251354"/>
                          </a:lnTo>
                          <a:lnTo>
                            <a:pt x="206375" y="256645"/>
                          </a:lnTo>
                          <a:lnTo>
                            <a:pt x="206375" y="264583"/>
                          </a:lnTo>
                          <a:lnTo>
                            <a:pt x="206375" y="267229"/>
                          </a:lnTo>
                          <a:lnTo>
                            <a:pt x="211667" y="267229"/>
                          </a:lnTo>
                          <a:lnTo>
                            <a:pt x="214313" y="269874"/>
                          </a:lnTo>
                          <a:lnTo>
                            <a:pt x="216959" y="272520"/>
                          </a:lnTo>
                          <a:lnTo>
                            <a:pt x="216959" y="275166"/>
                          </a:lnTo>
                          <a:lnTo>
                            <a:pt x="219604" y="277812"/>
                          </a:lnTo>
                          <a:lnTo>
                            <a:pt x="222250" y="280458"/>
                          </a:lnTo>
                          <a:lnTo>
                            <a:pt x="222250" y="283104"/>
                          </a:lnTo>
                          <a:lnTo>
                            <a:pt x="219604" y="283104"/>
                          </a:lnTo>
                          <a:lnTo>
                            <a:pt x="222250" y="285750"/>
                          </a:lnTo>
                          <a:lnTo>
                            <a:pt x="222250" y="288395"/>
                          </a:lnTo>
                          <a:lnTo>
                            <a:pt x="219604" y="285750"/>
                          </a:lnTo>
                          <a:lnTo>
                            <a:pt x="216959" y="283104"/>
                          </a:lnTo>
                          <a:lnTo>
                            <a:pt x="211667" y="280458"/>
                          </a:lnTo>
                          <a:lnTo>
                            <a:pt x="211667" y="283104"/>
                          </a:lnTo>
                          <a:lnTo>
                            <a:pt x="211667" y="285750"/>
                          </a:lnTo>
                          <a:lnTo>
                            <a:pt x="214313" y="296333"/>
                          </a:lnTo>
                          <a:lnTo>
                            <a:pt x="211667" y="293687"/>
                          </a:lnTo>
                          <a:lnTo>
                            <a:pt x="206375" y="291041"/>
                          </a:lnTo>
                          <a:lnTo>
                            <a:pt x="203729" y="291041"/>
                          </a:lnTo>
                          <a:lnTo>
                            <a:pt x="203729" y="285750"/>
                          </a:lnTo>
                          <a:lnTo>
                            <a:pt x="203729" y="283104"/>
                          </a:lnTo>
                          <a:lnTo>
                            <a:pt x="201083" y="283104"/>
                          </a:lnTo>
                          <a:lnTo>
                            <a:pt x="201083" y="280458"/>
                          </a:lnTo>
                          <a:lnTo>
                            <a:pt x="201083" y="277812"/>
                          </a:lnTo>
                          <a:lnTo>
                            <a:pt x="203729" y="275166"/>
                          </a:lnTo>
                          <a:lnTo>
                            <a:pt x="203729" y="269874"/>
                          </a:lnTo>
                          <a:lnTo>
                            <a:pt x="201083" y="264583"/>
                          </a:lnTo>
                          <a:lnTo>
                            <a:pt x="195792" y="261937"/>
                          </a:lnTo>
                          <a:lnTo>
                            <a:pt x="195792" y="264583"/>
                          </a:lnTo>
                          <a:lnTo>
                            <a:pt x="195792" y="267229"/>
                          </a:lnTo>
                          <a:lnTo>
                            <a:pt x="193146" y="264583"/>
                          </a:lnTo>
                          <a:lnTo>
                            <a:pt x="190500" y="264583"/>
                          </a:lnTo>
                          <a:lnTo>
                            <a:pt x="190500" y="261937"/>
                          </a:lnTo>
                          <a:lnTo>
                            <a:pt x="190500" y="259291"/>
                          </a:lnTo>
                          <a:lnTo>
                            <a:pt x="187854" y="253999"/>
                          </a:lnTo>
                          <a:lnTo>
                            <a:pt x="185208" y="251354"/>
                          </a:lnTo>
                          <a:close/>
                          <a:moveTo>
                            <a:pt x="116416" y="232833"/>
                          </a:moveTo>
                          <a:lnTo>
                            <a:pt x="119061" y="232833"/>
                          </a:lnTo>
                          <a:lnTo>
                            <a:pt x="121707" y="232833"/>
                          </a:lnTo>
                          <a:lnTo>
                            <a:pt x="126999" y="232833"/>
                          </a:lnTo>
                          <a:lnTo>
                            <a:pt x="132291" y="235479"/>
                          </a:lnTo>
                          <a:lnTo>
                            <a:pt x="134937" y="238125"/>
                          </a:lnTo>
                          <a:lnTo>
                            <a:pt x="137583" y="240770"/>
                          </a:lnTo>
                          <a:lnTo>
                            <a:pt x="140229" y="240770"/>
                          </a:lnTo>
                          <a:lnTo>
                            <a:pt x="145520" y="238125"/>
                          </a:lnTo>
                          <a:lnTo>
                            <a:pt x="148166" y="238125"/>
                          </a:lnTo>
                          <a:lnTo>
                            <a:pt x="148166" y="240770"/>
                          </a:lnTo>
                          <a:lnTo>
                            <a:pt x="148166" y="243416"/>
                          </a:lnTo>
                          <a:lnTo>
                            <a:pt x="158749" y="240770"/>
                          </a:lnTo>
                          <a:lnTo>
                            <a:pt x="161395" y="240770"/>
                          </a:lnTo>
                          <a:lnTo>
                            <a:pt x="158749" y="243416"/>
                          </a:lnTo>
                          <a:lnTo>
                            <a:pt x="158749" y="246062"/>
                          </a:lnTo>
                          <a:lnTo>
                            <a:pt x="158749" y="248708"/>
                          </a:lnTo>
                          <a:lnTo>
                            <a:pt x="156104" y="251354"/>
                          </a:lnTo>
                          <a:lnTo>
                            <a:pt x="153458" y="254000"/>
                          </a:lnTo>
                          <a:lnTo>
                            <a:pt x="153458" y="256645"/>
                          </a:lnTo>
                          <a:lnTo>
                            <a:pt x="150812" y="259291"/>
                          </a:lnTo>
                          <a:lnTo>
                            <a:pt x="145520" y="259291"/>
                          </a:lnTo>
                          <a:lnTo>
                            <a:pt x="145520" y="261937"/>
                          </a:lnTo>
                          <a:lnTo>
                            <a:pt x="145520" y="264583"/>
                          </a:lnTo>
                          <a:lnTo>
                            <a:pt x="145520" y="267229"/>
                          </a:lnTo>
                          <a:lnTo>
                            <a:pt x="142874" y="269875"/>
                          </a:lnTo>
                          <a:lnTo>
                            <a:pt x="134937" y="269875"/>
                          </a:lnTo>
                          <a:lnTo>
                            <a:pt x="132291" y="269875"/>
                          </a:lnTo>
                          <a:lnTo>
                            <a:pt x="132291" y="272521"/>
                          </a:lnTo>
                          <a:lnTo>
                            <a:pt x="132291" y="280458"/>
                          </a:lnTo>
                          <a:lnTo>
                            <a:pt x="132291" y="283104"/>
                          </a:lnTo>
                          <a:lnTo>
                            <a:pt x="129645" y="283104"/>
                          </a:lnTo>
                          <a:lnTo>
                            <a:pt x="124353" y="283104"/>
                          </a:lnTo>
                          <a:lnTo>
                            <a:pt x="124353" y="280458"/>
                          </a:lnTo>
                          <a:lnTo>
                            <a:pt x="124353" y="277812"/>
                          </a:lnTo>
                          <a:lnTo>
                            <a:pt x="126999" y="272521"/>
                          </a:lnTo>
                          <a:lnTo>
                            <a:pt x="124353" y="269875"/>
                          </a:lnTo>
                          <a:lnTo>
                            <a:pt x="124353" y="267229"/>
                          </a:lnTo>
                          <a:lnTo>
                            <a:pt x="124353" y="264583"/>
                          </a:lnTo>
                          <a:lnTo>
                            <a:pt x="124353" y="259291"/>
                          </a:lnTo>
                          <a:lnTo>
                            <a:pt x="124353" y="256645"/>
                          </a:lnTo>
                          <a:lnTo>
                            <a:pt x="124353" y="254000"/>
                          </a:lnTo>
                          <a:lnTo>
                            <a:pt x="124353" y="248708"/>
                          </a:lnTo>
                          <a:lnTo>
                            <a:pt x="124353" y="246062"/>
                          </a:lnTo>
                          <a:lnTo>
                            <a:pt x="124353" y="240770"/>
                          </a:lnTo>
                          <a:lnTo>
                            <a:pt x="126999" y="238125"/>
                          </a:lnTo>
                          <a:lnTo>
                            <a:pt x="124353" y="238125"/>
                          </a:lnTo>
                          <a:lnTo>
                            <a:pt x="119061" y="238125"/>
                          </a:lnTo>
                          <a:lnTo>
                            <a:pt x="113770" y="238125"/>
                          </a:lnTo>
                          <a:lnTo>
                            <a:pt x="116416" y="235479"/>
                          </a:lnTo>
                          <a:close/>
                          <a:moveTo>
                            <a:pt x="148166" y="206375"/>
                          </a:moveTo>
                          <a:lnTo>
                            <a:pt x="150812" y="206375"/>
                          </a:lnTo>
                          <a:lnTo>
                            <a:pt x="156104" y="211667"/>
                          </a:lnTo>
                          <a:lnTo>
                            <a:pt x="158750" y="214312"/>
                          </a:lnTo>
                          <a:lnTo>
                            <a:pt x="164041" y="216958"/>
                          </a:lnTo>
                          <a:lnTo>
                            <a:pt x="166687" y="219604"/>
                          </a:lnTo>
                          <a:lnTo>
                            <a:pt x="171979" y="219604"/>
                          </a:lnTo>
                          <a:lnTo>
                            <a:pt x="174625" y="222250"/>
                          </a:lnTo>
                          <a:lnTo>
                            <a:pt x="177271" y="224896"/>
                          </a:lnTo>
                          <a:lnTo>
                            <a:pt x="182562" y="238125"/>
                          </a:lnTo>
                          <a:lnTo>
                            <a:pt x="182562" y="243417"/>
                          </a:lnTo>
                          <a:lnTo>
                            <a:pt x="179916" y="240771"/>
                          </a:lnTo>
                          <a:lnTo>
                            <a:pt x="174625" y="238125"/>
                          </a:lnTo>
                          <a:lnTo>
                            <a:pt x="169333" y="235479"/>
                          </a:lnTo>
                          <a:lnTo>
                            <a:pt x="166687" y="232833"/>
                          </a:lnTo>
                          <a:lnTo>
                            <a:pt x="164041" y="232833"/>
                          </a:lnTo>
                          <a:lnTo>
                            <a:pt x="161395" y="230188"/>
                          </a:lnTo>
                          <a:lnTo>
                            <a:pt x="161395" y="227542"/>
                          </a:lnTo>
                          <a:lnTo>
                            <a:pt x="158750" y="227542"/>
                          </a:lnTo>
                          <a:lnTo>
                            <a:pt x="156104" y="230188"/>
                          </a:lnTo>
                          <a:lnTo>
                            <a:pt x="153458" y="235479"/>
                          </a:lnTo>
                          <a:lnTo>
                            <a:pt x="153458" y="238125"/>
                          </a:lnTo>
                          <a:lnTo>
                            <a:pt x="150812" y="235479"/>
                          </a:lnTo>
                          <a:lnTo>
                            <a:pt x="150812" y="230188"/>
                          </a:lnTo>
                          <a:lnTo>
                            <a:pt x="150812" y="227542"/>
                          </a:lnTo>
                          <a:lnTo>
                            <a:pt x="153458" y="224896"/>
                          </a:lnTo>
                          <a:lnTo>
                            <a:pt x="150812" y="224896"/>
                          </a:lnTo>
                          <a:lnTo>
                            <a:pt x="148166" y="224896"/>
                          </a:lnTo>
                          <a:lnTo>
                            <a:pt x="150812" y="219604"/>
                          </a:lnTo>
                          <a:lnTo>
                            <a:pt x="148166" y="209021"/>
                          </a:lnTo>
                          <a:close/>
                          <a:moveTo>
                            <a:pt x="195791" y="203729"/>
                          </a:moveTo>
                          <a:lnTo>
                            <a:pt x="198437" y="203729"/>
                          </a:lnTo>
                          <a:lnTo>
                            <a:pt x="201083" y="203729"/>
                          </a:lnTo>
                          <a:lnTo>
                            <a:pt x="206374" y="203729"/>
                          </a:lnTo>
                          <a:lnTo>
                            <a:pt x="206374" y="206375"/>
                          </a:lnTo>
                          <a:lnTo>
                            <a:pt x="206374" y="209021"/>
                          </a:lnTo>
                          <a:lnTo>
                            <a:pt x="209020" y="209021"/>
                          </a:lnTo>
                          <a:lnTo>
                            <a:pt x="214312" y="209021"/>
                          </a:lnTo>
                          <a:lnTo>
                            <a:pt x="214312" y="211666"/>
                          </a:lnTo>
                          <a:lnTo>
                            <a:pt x="211666" y="211666"/>
                          </a:lnTo>
                          <a:lnTo>
                            <a:pt x="211666" y="214312"/>
                          </a:lnTo>
                          <a:lnTo>
                            <a:pt x="214312" y="214312"/>
                          </a:lnTo>
                          <a:lnTo>
                            <a:pt x="211666" y="219604"/>
                          </a:lnTo>
                          <a:lnTo>
                            <a:pt x="211666" y="222250"/>
                          </a:lnTo>
                          <a:lnTo>
                            <a:pt x="211666" y="224895"/>
                          </a:lnTo>
                          <a:lnTo>
                            <a:pt x="216958" y="230187"/>
                          </a:lnTo>
                          <a:lnTo>
                            <a:pt x="219603" y="230187"/>
                          </a:lnTo>
                          <a:lnTo>
                            <a:pt x="219603" y="232833"/>
                          </a:lnTo>
                          <a:lnTo>
                            <a:pt x="219603" y="235479"/>
                          </a:lnTo>
                          <a:lnTo>
                            <a:pt x="222249" y="238125"/>
                          </a:lnTo>
                          <a:lnTo>
                            <a:pt x="224895" y="238125"/>
                          </a:lnTo>
                          <a:lnTo>
                            <a:pt x="224895" y="240770"/>
                          </a:lnTo>
                          <a:lnTo>
                            <a:pt x="230187" y="243416"/>
                          </a:lnTo>
                          <a:lnTo>
                            <a:pt x="232832" y="246062"/>
                          </a:lnTo>
                          <a:lnTo>
                            <a:pt x="235478" y="248708"/>
                          </a:lnTo>
                          <a:lnTo>
                            <a:pt x="232832" y="248708"/>
                          </a:lnTo>
                          <a:lnTo>
                            <a:pt x="230187" y="253999"/>
                          </a:lnTo>
                          <a:lnTo>
                            <a:pt x="230187" y="256645"/>
                          </a:lnTo>
                          <a:lnTo>
                            <a:pt x="230187" y="259291"/>
                          </a:lnTo>
                          <a:lnTo>
                            <a:pt x="227541" y="259291"/>
                          </a:lnTo>
                          <a:lnTo>
                            <a:pt x="224895" y="259291"/>
                          </a:lnTo>
                          <a:lnTo>
                            <a:pt x="222249" y="259291"/>
                          </a:lnTo>
                          <a:lnTo>
                            <a:pt x="219603" y="259291"/>
                          </a:lnTo>
                          <a:lnTo>
                            <a:pt x="216958" y="253999"/>
                          </a:lnTo>
                          <a:lnTo>
                            <a:pt x="216958" y="251354"/>
                          </a:lnTo>
                          <a:lnTo>
                            <a:pt x="214312" y="251354"/>
                          </a:lnTo>
                          <a:lnTo>
                            <a:pt x="209020" y="251354"/>
                          </a:lnTo>
                          <a:lnTo>
                            <a:pt x="206374" y="251354"/>
                          </a:lnTo>
                          <a:lnTo>
                            <a:pt x="206374" y="248708"/>
                          </a:lnTo>
                          <a:lnTo>
                            <a:pt x="203728" y="246062"/>
                          </a:lnTo>
                          <a:lnTo>
                            <a:pt x="198437" y="246062"/>
                          </a:lnTo>
                          <a:lnTo>
                            <a:pt x="198437" y="243416"/>
                          </a:lnTo>
                          <a:lnTo>
                            <a:pt x="203728" y="238125"/>
                          </a:lnTo>
                          <a:lnTo>
                            <a:pt x="203728" y="235479"/>
                          </a:lnTo>
                          <a:lnTo>
                            <a:pt x="203728" y="232833"/>
                          </a:lnTo>
                          <a:lnTo>
                            <a:pt x="201083" y="232833"/>
                          </a:lnTo>
                          <a:lnTo>
                            <a:pt x="198437" y="232833"/>
                          </a:lnTo>
                          <a:lnTo>
                            <a:pt x="193145" y="224895"/>
                          </a:lnTo>
                          <a:lnTo>
                            <a:pt x="190499" y="224895"/>
                          </a:lnTo>
                          <a:lnTo>
                            <a:pt x="187854" y="222250"/>
                          </a:lnTo>
                          <a:lnTo>
                            <a:pt x="182562" y="216958"/>
                          </a:lnTo>
                          <a:lnTo>
                            <a:pt x="179916" y="211666"/>
                          </a:lnTo>
                          <a:lnTo>
                            <a:pt x="177270" y="209021"/>
                          </a:lnTo>
                          <a:lnTo>
                            <a:pt x="177270" y="206375"/>
                          </a:lnTo>
                          <a:lnTo>
                            <a:pt x="179916" y="206375"/>
                          </a:lnTo>
                          <a:lnTo>
                            <a:pt x="182562" y="206375"/>
                          </a:lnTo>
                          <a:lnTo>
                            <a:pt x="187854" y="206375"/>
                          </a:lnTo>
                          <a:lnTo>
                            <a:pt x="193145" y="206375"/>
                          </a:lnTo>
                          <a:close/>
                          <a:moveTo>
                            <a:pt x="60854" y="179916"/>
                          </a:moveTo>
                          <a:lnTo>
                            <a:pt x="63500" y="179916"/>
                          </a:lnTo>
                          <a:lnTo>
                            <a:pt x="66145" y="179916"/>
                          </a:lnTo>
                          <a:lnTo>
                            <a:pt x="68791" y="179916"/>
                          </a:lnTo>
                          <a:lnTo>
                            <a:pt x="74083" y="179916"/>
                          </a:lnTo>
                          <a:lnTo>
                            <a:pt x="76729" y="179916"/>
                          </a:lnTo>
                          <a:lnTo>
                            <a:pt x="79375" y="182562"/>
                          </a:lnTo>
                          <a:lnTo>
                            <a:pt x="84666" y="182562"/>
                          </a:lnTo>
                          <a:lnTo>
                            <a:pt x="87312" y="182562"/>
                          </a:lnTo>
                          <a:lnTo>
                            <a:pt x="92604" y="185208"/>
                          </a:lnTo>
                          <a:lnTo>
                            <a:pt x="97895" y="187853"/>
                          </a:lnTo>
                          <a:lnTo>
                            <a:pt x="100541" y="187853"/>
                          </a:lnTo>
                          <a:lnTo>
                            <a:pt x="100541" y="190499"/>
                          </a:lnTo>
                          <a:lnTo>
                            <a:pt x="103187" y="193145"/>
                          </a:lnTo>
                          <a:lnTo>
                            <a:pt x="103187" y="195791"/>
                          </a:lnTo>
                          <a:lnTo>
                            <a:pt x="103187" y="198437"/>
                          </a:lnTo>
                          <a:lnTo>
                            <a:pt x="103187" y="203729"/>
                          </a:lnTo>
                          <a:lnTo>
                            <a:pt x="105833" y="209020"/>
                          </a:lnTo>
                          <a:lnTo>
                            <a:pt x="108479" y="209020"/>
                          </a:lnTo>
                          <a:lnTo>
                            <a:pt x="105833" y="211666"/>
                          </a:lnTo>
                          <a:lnTo>
                            <a:pt x="103187" y="216958"/>
                          </a:lnTo>
                          <a:lnTo>
                            <a:pt x="97895" y="216958"/>
                          </a:lnTo>
                          <a:lnTo>
                            <a:pt x="89958" y="214312"/>
                          </a:lnTo>
                          <a:lnTo>
                            <a:pt x="87312" y="211666"/>
                          </a:lnTo>
                          <a:lnTo>
                            <a:pt x="87312" y="209020"/>
                          </a:lnTo>
                          <a:lnTo>
                            <a:pt x="84666" y="206374"/>
                          </a:lnTo>
                          <a:lnTo>
                            <a:pt x="82020" y="203729"/>
                          </a:lnTo>
                          <a:lnTo>
                            <a:pt x="79375" y="201083"/>
                          </a:lnTo>
                          <a:lnTo>
                            <a:pt x="79375" y="198437"/>
                          </a:lnTo>
                          <a:lnTo>
                            <a:pt x="76729" y="190499"/>
                          </a:lnTo>
                          <a:lnTo>
                            <a:pt x="71437" y="190499"/>
                          </a:lnTo>
                          <a:lnTo>
                            <a:pt x="66145" y="187853"/>
                          </a:lnTo>
                          <a:lnTo>
                            <a:pt x="66145" y="185208"/>
                          </a:lnTo>
                          <a:lnTo>
                            <a:pt x="63500" y="185208"/>
                          </a:lnTo>
                          <a:lnTo>
                            <a:pt x="60854" y="185208"/>
                          </a:lnTo>
                          <a:close/>
                          <a:moveTo>
                            <a:pt x="111125" y="177270"/>
                          </a:moveTo>
                          <a:lnTo>
                            <a:pt x="116416" y="177270"/>
                          </a:lnTo>
                          <a:lnTo>
                            <a:pt x="119062" y="179916"/>
                          </a:lnTo>
                          <a:lnTo>
                            <a:pt x="119062" y="182562"/>
                          </a:lnTo>
                          <a:lnTo>
                            <a:pt x="121708" y="182562"/>
                          </a:lnTo>
                          <a:lnTo>
                            <a:pt x="124354" y="185207"/>
                          </a:lnTo>
                          <a:lnTo>
                            <a:pt x="127000" y="187853"/>
                          </a:lnTo>
                          <a:lnTo>
                            <a:pt x="124354" y="187853"/>
                          </a:lnTo>
                          <a:lnTo>
                            <a:pt x="121708" y="193145"/>
                          </a:lnTo>
                          <a:lnTo>
                            <a:pt x="119062" y="193145"/>
                          </a:lnTo>
                          <a:lnTo>
                            <a:pt x="113770" y="193145"/>
                          </a:lnTo>
                          <a:lnTo>
                            <a:pt x="108479" y="187853"/>
                          </a:lnTo>
                          <a:lnTo>
                            <a:pt x="105833" y="187853"/>
                          </a:lnTo>
                          <a:lnTo>
                            <a:pt x="108479" y="185207"/>
                          </a:lnTo>
                          <a:lnTo>
                            <a:pt x="111125" y="179916"/>
                          </a:lnTo>
                          <a:close/>
                          <a:moveTo>
                            <a:pt x="87312" y="0"/>
                          </a:moveTo>
                          <a:lnTo>
                            <a:pt x="89958" y="0"/>
                          </a:lnTo>
                          <a:lnTo>
                            <a:pt x="92604" y="2646"/>
                          </a:lnTo>
                          <a:lnTo>
                            <a:pt x="95250" y="5292"/>
                          </a:lnTo>
                          <a:lnTo>
                            <a:pt x="95250" y="10583"/>
                          </a:lnTo>
                          <a:lnTo>
                            <a:pt x="95250" y="13229"/>
                          </a:lnTo>
                          <a:lnTo>
                            <a:pt x="92604" y="13229"/>
                          </a:lnTo>
                          <a:lnTo>
                            <a:pt x="89958" y="15875"/>
                          </a:lnTo>
                          <a:lnTo>
                            <a:pt x="92604" y="21167"/>
                          </a:lnTo>
                          <a:lnTo>
                            <a:pt x="95250" y="23812"/>
                          </a:lnTo>
                          <a:lnTo>
                            <a:pt x="92604" y="29104"/>
                          </a:lnTo>
                          <a:lnTo>
                            <a:pt x="92604" y="42333"/>
                          </a:lnTo>
                          <a:lnTo>
                            <a:pt x="95250" y="47625"/>
                          </a:lnTo>
                          <a:lnTo>
                            <a:pt x="97896" y="50271"/>
                          </a:lnTo>
                          <a:lnTo>
                            <a:pt x="103187" y="50271"/>
                          </a:lnTo>
                          <a:lnTo>
                            <a:pt x="103187" y="52916"/>
                          </a:lnTo>
                          <a:lnTo>
                            <a:pt x="105833" y="55562"/>
                          </a:lnTo>
                          <a:lnTo>
                            <a:pt x="105833" y="58208"/>
                          </a:lnTo>
                          <a:lnTo>
                            <a:pt x="108479" y="58208"/>
                          </a:lnTo>
                          <a:lnTo>
                            <a:pt x="111125" y="58208"/>
                          </a:lnTo>
                          <a:lnTo>
                            <a:pt x="111125" y="63500"/>
                          </a:lnTo>
                          <a:lnTo>
                            <a:pt x="111125" y="68791"/>
                          </a:lnTo>
                          <a:lnTo>
                            <a:pt x="111125" y="74083"/>
                          </a:lnTo>
                          <a:lnTo>
                            <a:pt x="108479" y="76729"/>
                          </a:lnTo>
                          <a:lnTo>
                            <a:pt x="108479" y="79375"/>
                          </a:lnTo>
                          <a:lnTo>
                            <a:pt x="108479" y="82021"/>
                          </a:lnTo>
                          <a:lnTo>
                            <a:pt x="108479" y="84666"/>
                          </a:lnTo>
                          <a:lnTo>
                            <a:pt x="103187" y="87312"/>
                          </a:lnTo>
                          <a:lnTo>
                            <a:pt x="100541" y="87312"/>
                          </a:lnTo>
                          <a:lnTo>
                            <a:pt x="103187" y="84666"/>
                          </a:lnTo>
                          <a:lnTo>
                            <a:pt x="97896" y="87312"/>
                          </a:lnTo>
                          <a:lnTo>
                            <a:pt x="92604" y="89958"/>
                          </a:lnTo>
                          <a:lnTo>
                            <a:pt x="89958" y="89958"/>
                          </a:lnTo>
                          <a:lnTo>
                            <a:pt x="84666" y="89958"/>
                          </a:lnTo>
                          <a:lnTo>
                            <a:pt x="82021" y="92604"/>
                          </a:lnTo>
                          <a:lnTo>
                            <a:pt x="82021" y="95250"/>
                          </a:lnTo>
                          <a:lnTo>
                            <a:pt x="84666" y="97896"/>
                          </a:lnTo>
                          <a:lnTo>
                            <a:pt x="87312" y="97896"/>
                          </a:lnTo>
                          <a:lnTo>
                            <a:pt x="87312" y="100541"/>
                          </a:lnTo>
                          <a:lnTo>
                            <a:pt x="87312" y="105833"/>
                          </a:lnTo>
                          <a:lnTo>
                            <a:pt x="87312" y="108479"/>
                          </a:lnTo>
                          <a:lnTo>
                            <a:pt x="87312" y="111125"/>
                          </a:lnTo>
                          <a:lnTo>
                            <a:pt x="89958" y="113771"/>
                          </a:lnTo>
                          <a:lnTo>
                            <a:pt x="92604" y="113771"/>
                          </a:lnTo>
                          <a:lnTo>
                            <a:pt x="92604" y="119062"/>
                          </a:lnTo>
                          <a:lnTo>
                            <a:pt x="95250" y="124354"/>
                          </a:lnTo>
                          <a:lnTo>
                            <a:pt x="97896" y="129646"/>
                          </a:lnTo>
                          <a:lnTo>
                            <a:pt x="100541" y="134937"/>
                          </a:lnTo>
                          <a:lnTo>
                            <a:pt x="100541" y="137583"/>
                          </a:lnTo>
                          <a:lnTo>
                            <a:pt x="95250" y="134937"/>
                          </a:lnTo>
                          <a:lnTo>
                            <a:pt x="95250" y="140229"/>
                          </a:lnTo>
                          <a:lnTo>
                            <a:pt x="97896" y="145521"/>
                          </a:lnTo>
                          <a:lnTo>
                            <a:pt x="100541" y="148166"/>
                          </a:lnTo>
                          <a:lnTo>
                            <a:pt x="103187" y="150812"/>
                          </a:lnTo>
                          <a:lnTo>
                            <a:pt x="105833" y="153458"/>
                          </a:lnTo>
                          <a:lnTo>
                            <a:pt x="108479" y="158750"/>
                          </a:lnTo>
                          <a:lnTo>
                            <a:pt x="116417" y="158750"/>
                          </a:lnTo>
                          <a:lnTo>
                            <a:pt x="116417" y="156104"/>
                          </a:lnTo>
                          <a:lnTo>
                            <a:pt x="121708" y="158750"/>
                          </a:lnTo>
                          <a:lnTo>
                            <a:pt x="119062" y="156104"/>
                          </a:lnTo>
                          <a:lnTo>
                            <a:pt x="116417" y="153458"/>
                          </a:lnTo>
                          <a:lnTo>
                            <a:pt x="119062" y="150812"/>
                          </a:lnTo>
                          <a:lnTo>
                            <a:pt x="121708" y="153458"/>
                          </a:lnTo>
                          <a:lnTo>
                            <a:pt x="121708" y="150812"/>
                          </a:lnTo>
                          <a:lnTo>
                            <a:pt x="121708" y="148166"/>
                          </a:lnTo>
                          <a:lnTo>
                            <a:pt x="124354" y="148166"/>
                          </a:lnTo>
                          <a:lnTo>
                            <a:pt x="129646" y="148166"/>
                          </a:lnTo>
                          <a:lnTo>
                            <a:pt x="132292" y="150812"/>
                          </a:lnTo>
                          <a:lnTo>
                            <a:pt x="134938" y="153458"/>
                          </a:lnTo>
                          <a:lnTo>
                            <a:pt x="134938" y="156104"/>
                          </a:lnTo>
                          <a:lnTo>
                            <a:pt x="134938" y="158750"/>
                          </a:lnTo>
                          <a:lnTo>
                            <a:pt x="142875" y="158750"/>
                          </a:lnTo>
                          <a:lnTo>
                            <a:pt x="145521" y="158750"/>
                          </a:lnTo>
                          <a:lnTo>
                            <a:pt x="145521" y="156104"/>
                          </a:lnTo>
                          <a:lnTo>
                            <a:pt x="142875" y="153458"/>
                          </a:lnTo>
                          <a:lnTo>
                            <a:pt x="140230" y="150812"/>
                          </a:lnTo>
                          <a:lnTo>
                            <a:pt x="142875" y="150812"/>
                          </a:lnTo>
                          <a:lnTo>
                            <a:pt x="145521" y="150812"/>
                          </a:lnTo>
                          <a:lnTo>
                            <a:pt x="145521" y="148166"/>
                          </a:lnTo>
                          <a:lnTo>
                            <a:pt x="148167" y="148166"/>
                          </a:lnTo>
                          <a:lnTo>
                            <a:pt x="148167" y="150812"/>
                          </a:lnTo>
                          <a:lnTo>
                            <a:pt x="150813" y="150812"/>
                          </a:lnTo>
                          <a:lnTo>
                            <a:pt x="150813" y="153458"/>
                          </a:lnTo>
                          <a:lnTo>
                            <a:pt x="150813" y="156104"/>
                          </a:lnTo>
                          <a:lnTo>
                            <a:pt x="153459" y="156104"/>
                          </a:lnTo>
                          <a:lnTo>
                            <a:pt x="156105" y="158750"/>
                          </a:lnTo>
                          <a:lnTo>
                            <a:pt x="161396" y="161396"/>
                          </a:lnTo>
                          <a:lnTo>
                            <a:pt x="164042" y="161396"/>
                          </a:lnTo>
                          <a:lnTo>
                            <a:pt x="164042" y="164041"/>
                          </a:lnTo>
                          <a:lnTo>
                            <a:pt x="161396" y="166687"/>
                          </a:lnTo>
                          <a:lnTo>
                            <a:pt x="158751" y="166687"/>
                          </a:lnTo>
                          <a:lnTo>
                            <a:pt x="156105" y="166687"/>
                          </a:lnTo>
                          <a:lnTo>
                            <a:pt x="153459" y="166687"/>
                          </a:lnTo>
                          <a:lnTo>
                            <a:pt x="150813" y="166687"/>
                          </a:lnTo>
                          <a:lnTo>
                            <a:pt x="150813" y="171979"/>
                          </a:lnTo>
                          <a:lnTo>
                            <a:pt x="156105" y="171979"/>
                          </a:lnTo>
                          <a:lnTo>
                            <a:pt x="161396" y="174625"/>
                          </a:lnTo>
                          <a:lnTo>
                            <a:pt x="164042" y="177271"/>
                          </a:lnTo>
                          <a:lnTo>
                            <a:pt x="166688" y="179916"/>
                          </a:lnTo>
                          <a:lnTo>
                            <a:pt x="169334" y="179916"/>
                          </a:lnTo>
                          <a:lnTo>
                            <a:pt x="169334" y="182562"/>
                          </a:lnTo>
                          <a:lnTo>
                            <a:pt x="169334" y="185208"/>
                          </a:lnTo>
                          <a:lnTo>
                            <a:pt x="174626" y="185208"/>
                          </a:lnTo>
                          <a:lnTo>
                            <a:pt x="177271" y="182562"/>
                          </a:lnTo>
                          <a:lnTo>
                            <a:pt x="179917" y="182562"/>
                          </a:lnTo>
                          <a:lnTo>
                            <a:pt x="179917" y="185208"/>
                          </a:lnTo>
                          <a:lnTo>
                            <a:pt x="179917" y="187854"/>
                          </a:lnTo>
                          <a:lnTo>
                            <a:pt x="179917" y="193146"/>
                          </a:lnTo>
                          <a:lnTo>
                            <a:pt x="179917" y="201083"/>
                          </a:lnTo>
                          <a:lnTo>
                            <a:pt x="177271" y="203729"/>
                          </a:lnTo>
                          <a:lnTo>
                            <a:pt x="174626" y="203729"/>
                          </a:lnTo>
                          <a:lnTo>
                            <a:pt x="169334" y="203729"/>
                          </a:lnTo>
                          <a:lnTo>
                            <a:pt x="166688" y="201083"/>
                          </a:lnTo>
                          <a:lnTo>
                            <a:pt x="164042" y="198437"/>
                          </a:lnTo>
                          <a:lnTo>
                            <a:pt x="161396" y="195791"/>
                          </a:lnTo>
                          <a:lnTo>
                            <a:pt x="161396" y="193146"/>
                          </a:lnTo>
                          <a:lnTo>
                            <a:pt x="156105" y="187854"/>
                          </a:lnTo>
                          <a:lnTo>
                            <a:pt x="153459" y="187854"/>
                          </a:lnTo>
                          <a:lnTo>
                            <a:pt x="153459" y="190500"/>
                          </a:lnTo>
                          <a:lnTo>
                            <a:pt x="150813" y="187854"/>
                          </a:lnTo>
                          <a:lnTo>
                            <a:pt x="150813" y="185208"/>
                          </a:lnTo>
                          <a:lnTo>
                            <a:pt x="148167" y="179916"/>
                          </a:lnTo>
                          <a:lnTo>
                            <a:pt x="145521" y="177271"/>
                          </a:lnTo>
                          <a:lnTo>
                            <a:pt x="140230" y="174625"/>
                          </a:lnTo>
                          <a:lnTo>
                            <a:pt x="137584" y="174625"/>
                          </a:lnTo>
                          <a:lnTo>
                            <a:pt x="137584" y="171979"/>
                          </a:lnTo>
                          <a:lnTo>
                            <a:pt x="129646" y="166687"/>
                          </a:lnTo>
                          <a:lnTo>
                            <a:pt x="127000" y="164041"/>
                          </a:lnTo>
                          <a:lnTo>
                            <a:pt x="124354" y="161396"/>
                          </a:lnTo>
                          <a:lnTo>
                            <a:pt x="124354" y="164041"/>
                          </a:lnTo>
                          <a:lnTo>
                            <a:pt x="127000" y="166687"/>
                          </a:lnTo>
                          <a:lnTo>
                            <a:pt x="129646" y="169333"/>
                          </a:lnTo>
                          <a:lnTo>
                            <a:pt x="129646" y="171979"/>
                          </a:lnTo>
                          <a:lnTo>
                            <a:pt x="127000" y="171979"/>
                          </a:lnTo>
                          <a:lnTo>
                            <a:pt x="129646" y="174625"/>
                          </a:lnTo>
                          <a:lnTo>
                            <a:pt x="132292" y="177271"/>
                          </a:lnTo>
                          <a:lnTo>
                            <a:pt x="134938" y="179916"/>
                          </a:lnTo>
                          <a:lnTo>
                            <a:pt x="132292" y="179916"/>
                          </a:lnTo>
                          <a:lnTo>
                            <a:pt x="127000" y="179916"/>
                          </a:lnTo>
                          <a:lnTo>
                            <a:pt x="124354" y="177271"/>
                          </a:lnTo>
                          <a:lnTo>
                            <a:pt x="121708" y="171979"/>
                          </a:lnTo>
                          <a:lnTo>
                            <a:pt x="119062" y="169333"/>
                          </a:lnTo>
                          <a:lnTo>
                            <a:pt x="113771" y="169333"/>
                          </a:lnTo>
                          <a:lnTo>
                            <a:pt x="111125" y="166687"/>
                          </a:lnTo>
                          <a:lnTo>
                            <a:pt x="105833" y="164041"/>
                          </a:lnTo>
                          <a:lnTo>
                            <a:pt x="105833" y="161396"/>
                          </a:lnTo>
                          <a:lnTo>
                            <a:pt x="103187" y="161396"/>
                          </a:lnTo>
                          <a:lnTo>
                            <a:pt x="100541" y="164041"/>
                          </a:lnTo>
                          <a:lnTo>
                            <a:pt x="100541" y="166687"/>
                          </a:lnTo>
                          <a:lnTo>
                            <a:pt x="100541" y="169333"/>
                          </a:lnTo>
                          <a:lnTo>
                            <a:pt x="97896" y="171979"/>
                          </a:lnTo>
                          <a:lnTo>
                            <a:pt x="95250" y="174625"/>
                          </a:lnTo>
                          <a:lnTo>
                            <a:pt x="89958" y="174625"/>
                          </a:lnTo>
                          <a:lnTo>
                            <a:pt x="87312" y="171979"/>
                          </a:lnTo>
                          <a:lnTo>
                            <a:pt x="87312" y="169333"/>
                          </a:lnTo>
                          <a:lnTo>
                            <a:pt x="87312" y="166687"/>
                          </a:lnTo>
                          <a:lnTo>
                            <a:pt x="84666" y="166687"/>
                          </a:lnTo>
                          <a:lnTo>
                            <a:pt x="82021" y="166687"/>
                          </a:lnTo>
                          <a:lnTo>
                            <a:pt x="82021" y="164041"/>
                          </a:lnTo>
                          <a:lnTo>
                            <a:pt x="84666" y="161396"/>
                          </a:lnTo>
                          <a:lnTo>
                            <a:pt x="82021" y="158750"/>
                          </a:lnTo>
                          <a:lnTo>
                            <a:pt x="79375" y="156104"/>
                          </a:lnTo>
                          <a:lnTo>
                            <a:pt x="76729" y="158750"/>
                          </a:lnTo>
                          <a:lnTo>
                            <a:pt x="76729" y="161396"/>
                          </a:lnTo>
                          <a:lnTo>
                            <a:pt x="74083" y="164041"/>
                          </a:lnTo>
                          <a:lnTo>
                            <a:pt x="74083" y="158750"/>
                          </a:lnTo>
                          <a:lnTo>
                            <a:pt x="71437" y="153458"/>
                          </a:lnTo>
                          <a:lnTo>
                            <a:pt x="71437" y="150812"/>
                          </a:lnTo>
                          <a:lnTo>
                            <a:pt x="76729" y="145521"/>
                          </a:lnTo>
                          <a:lnTo>
                            <a:pt x="82021" y="142875"/>
                          </a:lnTo>
                          <a:lnTo>
                            <a:pt x="79375" y="140229"/>
                          </a:lnTo>
                          <a:lnTo>
                            <a:pt x="76729" y="132291"/>
                          </a:lnTo>
                          <a:lnTo>
                            <a:pt x="74083" y="132291"/>
                          </a:lnTo>
                          <a:lnTo>
                            <a:pt x="71437" y="132291"/>
                          </a:lnTo>
                          <a:lnTo>
                            <a:pt x="71437" y="134937"/>
                          </a:lnTo>
                          <a:lnTo>
                            <a:pt x="68791" y="132291"/>
                          </a:lnTo>
                          <a:lnTo>
                            <a:pt x="66146" y="132291"/>
                          </a:lnTo>
                          <a:lnTo>
                            <a:pt x="66146" y="134937"/>
                          </a:lnTo>
                          <a:lnTo>
                            <a:pt x="68791" y="140229"/>
                          </a:lnTo>
                          <a:lnTo>
                            <a:pt x="71437" y="140229"/>
                          </a:lnTo>
                          <a:lnTo>
                            <a:pt x="68791" y="142875"/>
                          </a:lnTo>
                          <a:lnTo>
                            <a:pt x="66146" y="142875"/>
                          </a:lnTo>
                          <a:lnTo>
                            <a:pt x="63500" y="142875"/>
                          </a:lnTo>
                          <a:lnTo>
                            <a:pt x="60854" y="137583"/>
                          </a:lnTo>
                          <a:lnTo>
                            <a:pt x="55562" y="134937"/>
                          </a:lnTo>
                          <a:lnTo>
                            <a:pt x="55562" y="132291"/>
                          </a:lnTo>
                          <a:lnTo>
                            <a:pt x="55562" y="129646"/>
                          </a:lnTo>
                          <a:lnTo>
                            <a:pt x="55562" y="127000"/>
                          </a:lnTo>
                          <a:lnTo>
                            <a:pt x="52916" y="127000"/>
                          </a:lnTo>
                          <a:lnTo>
                            <a:pt x="50270" y="127000"/>
                          </a:lnTo>
                          <a:lnTo>
                            <a:pt x="50270" y="129646"/>
                          </a:lnTo>
                          <a:lnTo>
                            <a:pt x="47625" y="127000"/>
                          </a:lnTo>
                          <a:lnTo>
                            <a:pt x="42333" y="124354"/>
                          </a:lnTo>
                          <a:lnTo>
                            <a:pt x="39687" y="119062"/>
                          </a:lnTo>
                          <a:lnTo>
                            <a:pt x="39687" y="113771"/>
                          </a:lnTo>
                          <a:lnTo>
                            <a:pt x="39687" y="108479"/>
                          </a:lnTo>
                          <a:lnTo>
                            <a:pt x="39687" y="105833"/>
                          </a:lnTo>
                          <a:lnTo>
                            <a:pt x="39687" y="103187"/>
                          </a:lnTo>
                          <a:lnTo>
                            <a:pt x="39687" y="100541"/>
                          </a:lnTo>
                          <a:lnTo>
                            <a:pt x="39687" y="97896"/>
                          </a:lnTo>
                          <a:lnTo>
                            <a:pt x="34395" y="92604"/>
                          </a:lnTo>
                          <a:lnTo>
                            <a:pt x="34395" y="87312"/>
                          </a:lnTo>
                          <a:lnTo>
                            <a:pt x="34395" y="84666"/>
                          </a:lnTo>
                          <a:lnTo>
                            <a:pt x="31750" y="84666"/>
                          </a:lnTo>
                          <a:lnTo>
                            <a:pt x="29104" y="84666"/>
                          </a:lnTo>
                          <a:lnTo>
                            <a:pt x="29104" y="82021"/>
                          </a:lnTo>
                          <a:lnTo>
                            <a:pt x="29104" y="76729"/>
                          </a:lnTo>
                          <a:lnTo>
                            <a:pt x="29104" y="74083"/>
                          </a:lnTo>
                          <a:lnTo>
                            <a:pt x="31750" y="74083"/>
                          </a:lnTo>
                          <a:lnTo>
                            <a:pt x="34395" y="71437"/>
                          </a:lnTo>
                          <a:lnTo>
                            <a:pt x="37041" y="71437"/>
                          </a:lnTo>
                          <a:lnTo>
                            <a:pt x="37041" y="76729"/>
                          </a:lnTo>
                          <a:lnTo>
                            <a:pt x="39687" y="76729"/>
                          </a:lnTo>
                          <a:lnTo>
                            <a:pt x="42333" y="76729"/>
                          </a:lnTo>
                          <a:lnTo>
                            <a:pt x="42333" y="79375"/>
                          </a:lnTo>
                          <a:lnTo>
                            <a:pt x="42333" y="82021"/>
                          </a:lnTo>
                          <a:lnTo>
                            <a:pt x="44979" y="84666"/>
                          </a:lnTo>
                          <a:lnTo>
                            <a:pt x="50270" y="84666"/>
                          </a:lnTo>
                          <a:lnTo>
                            <a:pt x="52916" y="84666"/>
                          </a:lnTo>
                          <a:lnTo>
                            <a:pt x="55562" y="82021"/>
                          </a:lnTo>
                          <a:lnTo>
                            <a:pt x="58208" y="76729"/>
                          </a:lnTo>
                          <a:lnTo>
                            <a:pt x="52916" y="74083"/>
                          </a:lnTo>
                          <a:lnTo>
                            <a:pt x="50270" y="74083"/>
                          </a:lnTo>
                          <a:lnTo>
                            <a:pt x="50270" y="71437"/>
                          </a:lnTo>
                          <a:lnTo>
                            <a:pt x="47625" y="68791"/>
                          </a:lnTo>
                          <a:lnTo>
                            <a:pt x="47625" y="66146"/>
                          </a:lnTo>
                          <a:lnTo>
                            <a:pt x="47625" y="63500"/>
                          </a:lnTo>
                          <a:lnTo>
                            <a:pt x="50270" y="60854"/>
                          </a:lnTo>
                          <a:lnTo>
                            <a:pt x="50270" y="58208"/>
                          </a:lnTo>
                          <a:lnTo>
                            <a:pt x="50270" y="55562"/>
                          </a:lnTo>
                          <a:lnTo>
                            <a:pt x="47625" y="52916"/>
                          </a:lnTo>
                          <a:lnTo>
                            <a:pt x="44979" y="50271"/>
                          </a:lnTo>
                          <a:lnTo>
                            <a:pt x="44979" y="47625"/>
                          </a:lnTo>
                          <a:lnTo>
                            <a:pt x="44979" y="44979"/>
                          </a:lnTo>
                          <a:lnTo>
                            <a:pt x="42333" y="42333"/>
                          </a:lnTo>
                          <a:lnTo>
                            <a:pt x="42333" y="39687"/>
                          </a:lnTo>
                          <a:lnTo>
                            <a:pt x="42333" y="37042"/>
                          </a:lnTo>
                          <a:lnTo>
                            <a:pt x="39687" y="37042"/>
                          </a:lnTo>
                          <a:lnTo>
                            <a:pt x="39687" y="34396"/>
                          </a:lnTo>
                          <a:lnTo>
                            <a:pt x="39687" y="31750"/>
                          </a:lnTo>
                          <a:lnTo>
                            <a:pt x="42333" y="29104"/>
                          </a:lnTo>
                          <a:lnTo>
                            <a:pt x="39687" y="26458"/>
                          </a:lnTo>
                          <a:lnTo>
                            <a:pt x="42333" y="23812"/>
                          </a:lnTo>
                          <a:lnTo>
                            <a:pt x="42333" y="21167"/>
                          </a:lnTo>
                          <a:lnTo>
                            <a:pt x="42333" y="18521"/>
                          </a:lnTo>
                          <a:lnTo>
                            <a:pt x="44979" y="15875"/>
                          </a:lnTo>
                          <a:lnTo>
                            <a:pt x="42333" y="13229"/>
                          </a:lnTo>
                          <a:lnTo>
                            <a:pt x="44979" y="10583"/>
                          </a:lnTo>
                          <a:lnTo>
                            <a:pt x="47625" y="7937"/>
                          </a:lnTo>
                          <a:lnTo>
                            <a:pt x="44979" y="7937"/>
                          </a:lnTo>
                          <a:lnTo>
                            <a:pt x="42333" y="5292"/>
                          </a:lnTo>
                          <a:lnTo>
                            <a:pt x="44979" y="5292"/>
                          </a:lnTo>
                          <a:lnTo>
                            <a:pt x="47625" y="2646"/>
                          </a:lnTo>
                          <a:lnTo>
                            <a:pt x="50270" y="5292"/>
                          </a:lnTo>
                          <a:lnTo>
                            <a:pt x="52916" y="2646"/>
                          </a:lnTo>
                          <a:lnTo>
                            <a:pt x="55562" y="5292"/>
                          </a:lnTo>
                          <a:lnTo>
                            <a:pt x="60854" y="5292"/>
                          </a:lnTo>
                          <a:lnTo>
                            <a:pt x="63500" y="2646"/>
                          </a:lnTo>
                          <a:lnTo>
                            <a:pt x="74083" y="5292"/>
                          </a:lnTo>
                          <a:lnTo>
                            <a:pt x="79375" y="7937"/>
                          </a:lnTo>
                          <a:lnTo>
                            <a:pt x="84666" y="7937"/>
                          </a:lnTo>
                          <a:lnTo>
                            <a:pt x="87312" y="5292"/>
                          </a:lnTo>
                          <a:lnTo>
                            <a:pt x="87312" y="2646"/>
                          </a:lnTo>
                          <a:close/>
                        </a:path>
                      </a:pathLst>
                    </a:custGeom>
                    <a:solidFill>
                      <a:schemeClr val="accent3">
                        <a:alpha val="99000"/>
                      </a:schemeClr>
                    </a:solid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85" name="Freeform 154"/>
                  <p:cNvSpPr>
                    <a:spLocks/>
                  </p:cNvSpPr>
                  <p:nvPr/>
                </p:nvSpPr>
                <p:spPr bwMode="auto">
                  <a:xfrm>
                    <a:off x="9432700" y="3463112"/>
                    <a:ext cx="45565" cy="42488"/>
                  </a:xfrm>
                  <a:custGeom>
                    <a:avLst/>
                    <a:gdLst/>
                    <a:ahLst/>
                    <a:cxnLst>
                      <a:cxn ang="0">
                        <a:pos x="0" y="12"/>
                      </a:cxn>
                      <a:cxn ang="0">
                        <a:pos x="0" y="12"/>
                      </a:cxn>
                      <a:cxn ang="0">
                        <a:pos x="4" y="10"/>
                      </a:cxn>
                      <a:cxn ang="0">
                        <a:pos x="6" y="8"/>
                      </a:cxn>
                      <a:cxn ang="0">
                        <a:pos x="10" y="6"/>
                      </a:cxn>
                      <a:cxn ang="0">
                        <a:pos x="18" y="2"/>
                      </a:cxn>
                      <a:cxn ang="0">
                        <a:pos x="18" y="2"/>
                      </a:cxn>
                      <a:cxn ang="0">
                        <a:pos x="24" y="0"/>
                      </a:cxn>
                      <a:cxn ang="0">
                        <a:pos x="28" y="0"/>
                      </a:cxn>
                      <a:cxn ang="0">
                        <a:pos x="28" y="0"/>
                      </a:cxn>
                      <a:cxn ang="0">
                        <a:pos x="28" y="4"/>
                      </a:cxn>
                      <a:cxn ang="0">
                        <a:pos x="30" y="10"/>
                      </a:cxn>
                      <a:cxn ang="0">
                        <a:pos x="30" y="10"/>
                      </a:cxn>
                      <a:cxn ang="0">
                        <a:pos x="30" y="12"/>
                      </a:cxn>
                      <a:cxn ang="0">
                        <a:pos x="30" y="14"/>
                      </a:cxn>
                      <a:cxn ang="0">
                        <a:pos x="28" y="16"/>
                      </a:cxn>
                      <a:cxn ang="0">
                        <a:pos x="28" y="16"/>
                      </a:cxn>
                      <a:cxn ang="0">
                        <a:pos x="26" y="16"/>
                      </a:cxn>
                      <a:cxn ang="0">
                        <a:pos x="26" y="16"/>
                      </a:cxn>
                      <a:cxn ang="0">
                        <a:pos x="24" y="12"/>
                      </a:cxn>
                      <a:cxn ang="0">
                        <a:pos x="24" y="6"/>
                      </a:cxn>
                      <a:cxn ang="0">
                        <a:pos x="22" y="6"/>
                      </a:cxn>
                      <a:cxn ang="0">
                        <a:pos x="20" y="6"/>
                      </a:cxn>
                      <a:cxn ang="0">
                        <a:pos x="20" y="6"/>
                      </a:cxn>
                      <a:cxn ang="0">
                        <a:pos x="18" y="8"/>
                      </a:cxn>
                      <a:cxn ang="0">
                        <a:pos x="18" y="10"/>
                      </a:cxn>
                      <a:cxn ang="0">
                        <a:pos x="18" y="14"/>
                      </a:cxn>
                      <a:cxn ang="0">
                        <a:pos x="20" y="20"/>
                      </a:cxn>
                      <a:cxn ang="0">
                        <a:pos x="18" y="26"/>
                      </a:cxn>
                      <a:cxn ang="0">
                        <a:pos x="18" y="26"/>
                      </a:cxn>
                      <a:cxn ang="0">
                        <a:pos x="16" y="28"/>
                      </a:cxn>
                      <a:cxn ang="0">
                        <a:pos x="12" y="26"/>
                      </a:cxn>
                      <a:cxn ang="0">
                        <a:pos x="8" y="20"/>
                      </a:cxn>
                      <a:cxn ang="0">
                        <a:pos x="8" y="20"/>
                      </a:cxn>
                      <a:cxn ang="0">
                        <a:pos x="6" y="18"/>
                      </a:cxn>
                      <a:cxn ang="0">
                        <a:pos x="6" y="18"/>
                      </a:cxn>
                      <a:cxn ang="0">
                        <a:pos x="6" y="20"/>
                      </a:cxn>
                      <a:cxn ang="0">
                        <a:pos x="4" y="18"/>
                      </a:cxn>
                      <a:cxn ang="0">
                        <a:pos x="4" y="18"/>
                      </a:cxn>
                      <a:cxn ang="0">
                        <a:pos x="4" y="16"/>
                      </a:cxn>
                      <a:cxn ang="0">
                        <a:pos x="2" y="14"/>
                      </a:cxn>
                      <a:cxn ang="0">
                        <a:pos x="0" y="12"/>
                      </a:cxn>
                      <a:cxn ang="0">
                        <a:pos x="0" y="12"/>
                      </a:cxn>
                    </a:cxnLst>
                    <a:rect l="0" t="0" r="r" b="b"/>
                    <a:pathLst>
                      <a:path w="30" h="28">
                        <a:moveTo>
                          <a:pt x="0" y="12"/>
                        </a:moveTo>
                        <a:lnTo>
                          <a:pt x="0" y="12"/>
                        </a:lnTo>
                        <a:lnTo>
                          <a:pt x="4" y="10"/>
                        </a:lnTo>
                        <a:lnTo>
                          <a:pt x="6" y="8"/>
                        </a:lnTo>
                        <a:lnTo>
                          <a:pt x="10" y="6"/>
                        </a:lnTo>
                        <a:lnTo>
                          <a:pt x="18" y="2"/>
                        </a:lnTo>
                        <a:lnTo>
                          <a:pt x="18" y="2"/>
                        </a:lnTo>
                        <a:lnTo>
                          <a:pt x="24" y="0"/>
                        </a:lnTo>
                        <a:lnTo>
                          <a:pt x="28" y="0"/>
                        </a:lnTo>
                        <a:lnTo>
                          <a:pt x="28" y="0"/>
                        </a:lnTo>
                        <a:lnTo>
                          <a:pt x="28" y="4"/>
                        </a:lnTo>
                        <a:lnTo>
                          <a:pt x="30" y="10"/>
                        </a:lnTo>
                        <a:lnTo>
                          <a:pt x="30" y="10"/>
                        </a:lnTo>
                        <a:lnTo>
                          <a:pt x="30" y="12"/>
                        </a:lnTo>
                        <a:lnTo>
                          <a:pt x="30" y="14"/>
                        </a:lnTo>
                        <a:lnTo>
                          <a:pt x="28" y="16"/>
                        </a:lnTo>
                        <a:lnTo>
                          <a:pt x="28" y="16"/>
                        </a:lnTo>
                        <a:lnTo>
                          <a:pt x="26" y="16"/>
                        </a:lnTo>
                        <a:lnTo>
                          <a:pt x="26" y="16"/>
                        </a:lnTo>
                        <a:lnTo>
                          <a:pt x="24" y="12"/>
                        </a:lnTo>
                        <a:lnTo>
                          <a:pt x="24" y="6"/>
                        </a:lnTo>
                        <a:lnTo>
                          <a:pt x="22" y="6"/>
                        </a:lnTo>
                        <a:lnTo>
                          <a:pt x="20" y="6"/>
                        </a:lnTo>
                        <a:lnTo>
                          <a:pt x="20" y="6"/>
                        </a:lnTo>
                        <a:lnTo>
                          <a:pt x="18" y="8"/>
                        </a:lnTo>
                        <a:lnTo>
                          <a:pt x="18" y="10"/>
                        </a:lnTo>
                        <a:lnTo>
                          <a:pt x="18" y="14"/>
                        </a:lnTo>
                        <a:lnTo>
                          <a:pt x="20" y="20"/>
                        </a:lnTo>
                        <a:lnTo>
                          <a:pt x="18" y="26"/>
                        </a:lnTo>
                        <a:lnTo>
                          <a:pt x="18" y="26"/>
                        </a:lnTo>
                        <a:lnTo>
                          <a:pt x="16" y="28"/>
                        </a:lnTo>
                        <a:lnTo>
                          <a:pt x="12" y="26"/>
                        </a:lnTo>
                        <a:lnTo>
                          <a:pt x="8" y="20"/>
                        </a:lnTo>
                        <a:lnTo>
                          <a:pt x="8" y="20"/>
                        </a:lnTo>
                        <a:lnTo>
                          <a:pt x="6" y="18"/>
                        </a:lnTo>
                        <a:lnTo>
                          <a:pt x="6" y="18"/>
                        </a:lnTo>
                        <a:lnTo>
                          <a:pt x="6" y="20"/>
                        </a:lnTo>
                        <a:lnTo>
                          <a:pt x="4" y="18"/>
                        </a:lnTo>
                        <a:lnTo>
                          <a:pt x="4" y="18"/>
                        </a:lnTo>
                        <a:lnTo>
                          <a:pt x="4" y="16"/>
                        </a:lnTo>
                        <a:lnTo>
                          <a:pt x="2" y="14"/>
                        </a:lnTo>
                        <a:lnTo>
                          <a:pt x="0" y="12"/>
                        </a:lnTo>
                        <a:lnTo>
                          <a:pt x="0" y="12"/>
                        </a:lnTo>
                        <a:close/>
                      </a:path>
                    </a:pathLst>
                  </a:custGeom>
                  <a:solidFill>
                    <a:schemeClr val="accent3">
                      <a:alpha val="99000"/>
                    </a:schemeClr>
                  </a:solid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88" name="belize"/>
                <p:cNvSpPr>
                  <a:spLocks/>
                </p:cNvSpPr>
                <p:nvPr/>
              </p:nvSpPr>
              <p:spPr bwMode="auto">
                <a:xfrm>
                  <a:off x="2956852" y="2988222"/>
                  <a:ext cx="51640" cy="88010"/>
                </a:xfrm>
                <a:custGeom>
                  <a:avLst/>
                  <a:gdLst/>
                  <a:ahLst/>
                  <a:cxnLst>
                    <a:cxn ang="0">
                      <a:pos x="6" y="14"/>
                    </a:cxn>
                    <a:cxn ang="0">
                      <a:pos x="6" y="14"/>
                    </a:cxn>
                    <a:cxn ang="0">
                      <a:pos x="10" y="10"/>
                    </a:cxn>
                    <a:cxn ang="0">
                      <a:pos x="12" y="10"/>
                    </a:cxn>
                    <a:cxn ang="0">
                      <a:pos x="14" y="12"/>
                    </a:cxn>
                    <a:cxn ang="0">
                      <a:pos x="16" y="12"/>
                    </a:cxn>
                    <a:cxn ang="0">
                      <a:pos x="18" y="12"/>
                    </a:cxn>
                    <a:cxn ang="0">
                      <a:pos x="22" y="8"/>
                    </a:cxn>
                    <a:cxn ang="0">
                      <a:pos x="30" y="0"/>
                    </a:cxn>
                    <a:cxn ang="0">
                      <a:pos x="30" y="0"/>
                    </a:cxn>
                    <a:cxn ang="0">
                      <a:pos x="34" y="0"/>
                    </a:cxn>
                    <a:cxn ang="0">
                      <a:pos x="34" y="2"/>
                    </a:cxn>
                    <a:cxn ang="0">
                      <a:pos x="34" y="8"/>
                    </a:cxn>
                    <a:cxn ang="0">
                      <a:pos x="30" y="16"/>
                    </a:cxn>
                    <a:cxn ang="0">
                      <a:pos x="30" y="24"/>
                    </a:cxn>
                    <a:cxn ang="0">
                      <a:pos x="30" y="24"/>
                    </a:cxn>
                    <a:cxn ang="0">
                      <a:pos x="28" y="30"/>
                    </a:cxn>
                    <a:cxn ang="0">
                      <a:pos x="26" y="34"/>
                    </a:cxn>
                    <a:cxn ang="0">
                      <a:pos x="18" y="46"/>
                    </a:cxn>
                    <a:cxn ang="0">
                      <a:pos x="18" y="46"/>
                    </a:cxn>
                    <a:cxn ang="0">
                      <a:pos x="16" y="50"/>
                    </a:cxn>
                    <a:cxn ang="0">
                      <a:pos x="12" y="52"/>
                    </a:cxn>
                    <a:cxn ang="0">
                      <a:pos x="10" y="54"/>
                    </a:cxn>
                    <a:cxn ang="0">
                      <a:pos x="10" y="58"/>
                    </a:cxn>
                    <a:cxn ang="0">
                      <a:pos x="0" y="58"/>
                    </a:cxn>
                    <a:cxn ang="0">
                      <a:pos x="6" y="14"/>
                    </a:cxn>
                    <a:cxn ang="0">
                      <a:pos x="6" y="14"/>
                    </a:cxn>
                  </a:cxnLst>
                  <a:rect l="0" t="0" r="r" b="b"/>
                  <a:pathLst>
                    <a:path w="34" h="58">
                      <a:moveTo>
                        <a:pt x="6" y="14"/>
                      </a:moveTo>
                      <a:lnTo>
                        <a:pt x="6" y="14"/>
                      </a:lnTo>
                      <a:lnTo>
                        <a:pt x="10" y="10"/>
                      </a:lnTo>
                      <a:lnTo>
                        <a:pt x="12" y="10"/>
                      </a:lnTo>
                      <a:lnTo>
                        <a:pt x="14" y="12"/>
                      </a:lnTo>
                      <a:lnTo>
                        <a:pt x="16" y="12"/>
                      </a:lnTo>
                      <a:lnTo>
                        <a:pt x="18" y="12"/>
                      </a:lnTo>
                      <a:lnTo>
                        <a:pt x="22" y="8"/>
                      </a:lnTo>
                      <a:lnTo>
                        <a:pt x="30" y="0"/>
                      </a:lnTo>
                      <a:lnTo>
                        <a:pt x="30" y="0"/>
                      </a:lnTo>
                      <a:lnTo>
                        <a:pt x="34" y="0"/>
                      </a:lnTo>
                      <a:lnTo>
                        <a:pt x="34" y="2"/>
                      </a:lnTo>
                      <a:lnTo>
                        <a:pt x="34" y="8"/>
                      </a:lnTo>
                      <a:lnTo>
                        <a:pt x="30" y="16"/>
                      </a:lnTo>
                      <a:lnTo>
                        <a:pt x="30" y="24"/>
                      </a:lnTo>
                      <a:lnTo>
                        <a:pt x="30" y="24"/>
                      </a:lnTo>
                      <a:lnTo>
                        <a:pt x="28" y="30"/>
                      </a:lnTo>
                      <a:lnTo>
                        <a:pt x="26" y="34"/>
                      </a:lnTo>
                      <a:lnTo>
                        <a:pt x="18" y="46"/>
                      </a:lnTo>
                      <a:lnTo>
                        <a:pt x="18" y="46"/>
                      </a:lnTo>
                      <a:lnTo>
                        <a:pt x="16" y="50"/>
                      </a:lnTo>
                      <a:lnTo>
                        <a:pt x="12" y="52"/>
                      </a:lnTo>
                      <a:lnTo>
                        <a:pt x="10" y="54"/>
                      </a:lnTo>
                      <a:lnTo>
                        <a:pt x="10" y="58"/>
                      </a:lnTo>
                      <a:lnTo>
                        <a:pt x="0" y="58"/>
                      </a:lnTo>
                      <a:lnTo>
                        <a:pt x="6" y="14"/>
                      </a:lnTo>
                      <a:lnTo>
                        <a:pt x="6" y="14"/>
                      </a:lnTo>
                      <a:close/>
                    </a:path>
                  </a:pathLst>
                </a:custGeom>
                <a:solidFill>
                  <a:schemeClr val="accent3">
                    <a:alpha val="99000"/>
                  </a:schemeClr>
                </a:solid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94" name="Freeform 43"/>
              <p:cNvSpPr>
                <a:spLocks/>
              </p:cNvSpPr>
              <p:nvPr/>
            </p:nvSpPr>
            <p:spPr bwMode="auto">
              <a:xfrm>
                <a:off x="6082076" y="3600751"/>
                <a:ext cx="69866" cy="45523"/>
              </a:xfrm>
              <a:custGeom>
                <a:avLst/>
                <a:gdLst/>
                <a:ahLst/>
                <a:cxnLst>
                  <a:cxn ang="0">
                    <a:pos x="12" y="2"/>
                  </a:cxn>
                  <a:cxn ang="0">
                    <a:pos x="12" y="2"/>
                  </a:cxn>
                  <a:cxn ang="0">
                    <a:pos x="10" y="4"/>
                  </a:cxn>
                  <a:cxn ang="0">
                    <a:pos x="8" y="8"/>
                  </a:cxn>
                  <a:cxn ang="0">
                    <a:pos x="8" y="10"/>
                  </a:cxn>
                  <a:cxn ang="0">
                    <a:pos x="8" y="10"/>
                  </a:cxn>
                  <a:cxn ang="0">
                    <a:pos x="8" y="14"/>
                  </a:cxn>
                  <a:cxn ang="0">
                    <a:pos x="4" y="18"/>
                  </a:cxn>
                  <a:cxn ang="0">
                    <a:pos x="2" y="22"/>
                  </a:cxn>
                  <a:cxn ang="0">
                    <a:pos x="0" y="26"/>
                  </a:cxn>
                  <a:cxn ang="0">
                    <a:pos x="0" y="26"/>
                  </a:cxn>
                  <a:cxn ang="0">
                    <a:pos x="2" y="28"/>
                  </a:cxn>
                  <a:cxn ang="0">
                    <a:pos x="6" y="28"/>
                  </a:cxn>
                  <a:cxn ang="0">
                    <a:pos x="10" y="28"/>
                  </a:cxn>
                  <a:cxn ang="0">
                    <a:pos x="16" y="30"/>
                  </a:cxn>
                  <a:cxn ang="0">
                    <a:pos x="44" y="30"/>
                  </a:cxn>
                  <a:cxn ang="0">
                    <a:pos x="46" y="16"/>
                  </a:cxn>
                  <a:cxn ang="0">
                    <a:pos x="42" y="16"/>
                  </a:cxn>
                  <a:cxn ang="0">
                    <a:pos x="44" y="14"/>
                  </a:cxn>
                  <a:cxn ang="0">
                    <a:pos x="46" y="2"/>
                  </a:cxn>
                  <a:cxn ang="0">
                    <a:pos x="46" y="2"/>
                  </a:cxn>
                  <a:cxn ang="0">
                    <a:pos x="38" y="2"/>
                  </a:cxn>
                  <a:cxn ang="0">
                    <a:pos x="38" y="2"/>
                  </a:cxn>
                  <a:cxn ang="0">
                    <a:pos x="32" y="2"/>
                  </a:cxn>
                  <a:cxn ang="0">
                    <a:pos x="28" y="0"/>
                  </a:cxn>
                  <a:cxn ang="0">
                    <a:pos x="22" y="0"/>
                  </a:cxn>
                  <a:cxn ang="0">
                    <a:pos x="12" y="2"/>
                  </a:cxn>
                  <a:cxn ang="0">
                    <a:pos x="12" y="2"/>
                  </a:cxn>
                </a:cxnLst>
                <a:rect l="0" t="0" r="r" b="b"/>
                <a:pathLst>
                  <a:path w="46" h="30">
                    <a:moveTo>
                      <a:pt x="12" y="2"/>
                    </a:moveTo>
                    <a:lnTo>
                      <a:pt x="12" y="2"/>
                    </a:lnTo>
                    <a:lnTo>
                      <a:pt x="10" y="4"/>
                    </a:lnTo>
                    <a:lnTo>
                      <a:pt x="8" y="8"/>
                    </a:lnTo>
                    <a:lnTo>
                      <a:pt x="8" y="10"/>
                    </a:lnTo>
                    <a:lnTo>
                      <a:pt x="8" y="10"/>
                    </a:lnTo>
                    <a:lnTo>
                      <a:pt x="8" y="14"/>
                    </a:lnTo>
                    <a:lnTo>
                      <a:pt x="4" y="18"/>
                    </a:lnTo>
                    <a:lnTo>
                      <a:pt x="2" y="22"/>
                    </a:lnTo>
                    <a:lnTo>
                      <a:pt x="0" y="26"/>
                    </a:lnTo>
                    <a:lnTo>
                      <a:pt x="0" y="26"/>
                    </a:lnTo>
                    <a:lnTo>
                      <a:pt x="2" y="28"/>
                    </a:lnTo>
                    <a:lnTo>
                      <a:pt x="6" y="28"/>
                    </a:lnTo>
                    <a:lnTo>
                      <a:pt x="10" y="28"/>
                    </a:lnTo>
                    <a:lnTo>
                      <a:pt x="16" y="30"/>
                    </a:lnTo>
                    <a:lnTo>
                      <a:pt x="44" y="30"/>
                    </a:lnTo>
                    <a:lnTo>
                      <a:pt x="46" y="16"/>
                    </a:lnTo>
                    <a:lnTo>
                      <a:pt x="42" y="16"/>
                    </a:lnTo>
                    <a:lnTo>
                      <a:pt x="44" y="14"/>
                    </a:lnTo>
                    <a:lnTo>
                      <a:pt x="46" y="2"/>
                    </a:lnTo>
                    <a:lnTo>
                      <a:pt x="46" y="2"/>
                    </a:lnTo>
                    <a:lnTo>
                      <a:pt x="38" y="2"/>
                    </a:lnTo>
                    <a:lnTo>
                      <a:pt x="38" y="2"/>
                    </a:lnTo>
                    <a:lnTo>
                      <a:pt x="32" y="2"/>
                    </a:lnTo>
                    <a:lnTo>
                      <a:pt x="28" y="0"/>
                    </a:lnTo>
                    <a:lnTo>
                      <a:pt x="22" y="0"/>
                    </a:lnTo>
                    <a:lnTo>
                      <a:pt x="12" y="2"/>
                    </a:lnTo>
                    <a:lnTo>
                      <a:pt x="12" y="2"/>
                    </a:lnTo>
                    <a:close/>
                  </a:path>
                </a:pathLst>
              </a:custGeom>
              <a:solidFill>
                <a:schemeClr val="accent3">
                  <a:alpha val="99000"/>
                </a:schemeClr>
              </a:solidFill>
              <a:ln w="63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98" name="Lesotho"/>
            <p:cNvSpPr>
              <a:spLocks/>
            </p:cNvSpPr>
            <p:nvPr/>
          </p:nvSpPr>
          <p:spPr bwMode="auto">
            <a:xfrm>
              <a:off x="6613740" y="4751172"/>
              <a:ext cx="72903" cy="72836"/>
            </a:xfrm>
            <a:custGeom>
              <a:avLst/>
              <a:gdLst/>
              <a:ahLst/>
              <a:cxnLst>
                <a:cxn ang="0">
                  <a:pos x="38" y="2"/>
                </a:cxn>
                <a:cxn ang="0">
                  <a:pos x="38" y="2"/>
                </a:cxn>
                <a:cxn ang="0">
                  <a:pos x="26" y="0"/>
                </a:cxn>
                <a:cxn ang="0">
                  <a:pos x="20" y="2"/>
                </a:cxn>
                <a:cxn ang="0">
                  <a:pos x="14" y="8"/>
                </a:cxn>
                <a:cxn ang="0">
                  <a:pos x="10" y="14"/>
                </a:cxn>
                <a:cxn ang="0">
                  <a:pos x="10" y="14"/>
                </a:cxn>
                <a:cxn ang="0">
                  <a:pos x="0" y="26"/>
                </a:cxn>
                <a:cxn ang="0">
                  <a:pos x="0" y="30"/>
                </a:cxn>
                <a:cxn ang="0">
                  <a:pos x="4" y="38"/>
                </a:cxn>
                <a:cxn ang="0">
                  <a:pos x="4" y="38"/>
                </a:cxn>
                <a:cxn ang="0">
                  <a:pos x="10" y="46"/>
                </a:cxn>
                <a:cxn ang="0">
                  <a:pos x="16" y="48"/>
                </a:cxn>
                <a:cxn ang="0">
                  <a:pos x="20" y="48"/>
                </a:cxn>
                <a:cxn ang="0">
                  <a:pos x="24" y="44"/>
                </a:cxn>
                <a:cxn ang="0">
                  <a:pos x="24" y="44"/>
                </a:cxn>
                <a:cxn ang="0">
                  <a:pos x="28" y="38"/>
                </a:cxn>
                <a:cxn ang="0">
                  <a:pos x="32" y="36"/>
                </a:cxn>
                <a:cxn ang="0">
                  <a:pos x="38" y="34"/>
                </a:cxn>
                <a:cxn ang="0">
                  <a:pos x="44" y="28"/>
                </a:cxn>
                <a:cxn ang="0">
                  <a:pos x="44" y="28"/>
                </a:cxn>
                <a:cxn ang="0">
                  <a:pos x="48" y="22"/>
                </a:cxn>
                <a:cxn ang="0">
                  <a:pos x="48" y="18"/>
                </a:cxn>
                <a:cxn ang="0">
                  <a:pos x="48" y="14"/>
                </a:cxn>
                <a:cxn ang="0">
                  <a:pos x="48" y="14"/>
                </a:cxn>
                <a:cxn ang="0">
                  <a:pos x="46" y="6"/>
                </a:cxn>
                <a:cxn ang="0">
                  <a:pos x="42" y="4"/>
                </a:cxn>
                <a:cxn ang="0">
                  <a:pos x="38" y="2"/>
                </a:cxn>
                <a:cxn ang="0">
                  <a:pos x="38" y="2"/>
                </a:cxn>
              </a:cxnLst>
              <a:rect l="0" t="0" r="r" b="b"/>
              <a:pathLst>
                <a:path w="48" h="48">
                  <a:moveTo>
                    <a:pt x="38" y="2"/>
                  </a:moveTo>
                  <a:lnTo>
                    <a:pt x="38" y="2"/>
                  </a:lnTo>
                  <a:lnTo>
                    <a:pt x="26" y="0"/>
                  </a:lnTo>
                  <a:lnTo>
                    <a:pt x="20" y="2"/>
                  </a:lnTo>
                  <a:lnTo>
                    <a:pt x="14" y="8"/>
                  </a:lnTo>
                  <a:lnTo>
                    <a:pt x="10" y="14"/>
                  </a:lnTo>
                  <a:lnTo>
                    <a:pt x="10" y="14"/>
                  </a:lnTo>
                  <a:lnTo>
                    <a:pt x="0" y="26"/>
                  </a:lnTo>
                  <a:lnTo>
                    <a:pt x="0" y="30"/>
                  </a:lnTo>
                  <a:lnTo>
                    <a:pt x="4" y="38"/>
                  </a:lnTo>
                  <a:lnTo>
                    <a:pt x="4" y="38"/>
                  </a:lnTo>
                  <a:lnTo>
                    <a:pt x="10" y="46"/>
                  </a:lnTo>
                  <a:lnTo>
                    <a:pt x="16" y="48"/>
                  </a:lnTo>
                  <a:lnTo>
                    <a:pt x="20" y="48"/>
                  </a:lnTo>
                  <a:lnTo>
                    <a:pt x="24" y="44"/>
                  </a:lnTo>
                  <a:lnTo>
                    <a:pt x="24" y="44"/>
                  </a:lnTo>
                  <a:lnTo>
                    <a:pt x="28" y="38"/>
                  </a:lnTo>
                  <a:lnTo>
                    <a:pt x="32" y="36"/>
                  </a:lnTo>
                  <a:lnTo>
                    <a:pt x="38" y="34"/>
                  </a:lnTo>
                  <a:lnTo>
                    <a:pt x="44" y="28"/>
                  </a:lnTo>
                  <a:lnTo>
                    <a:pt x="44" y="28"/>
                  </a:lnTo>
                  <a:lnTo>
                    <a:pt x="48" y="22"/>
                  </a:lnTo>
                  <a:lnTo>
                    <a:pt x="48" y="18"/>
                  </a:lnTo>
                  <a:lnTo>
                    <a:pt x="48" y="14"/>
                  </a:lnTo>
                  <a:lnTo>
                    <a:pt x="48" y="14"/>
                  </a:lnTo>
                  <a:lnTo>
                    <a:pt x="46" y="6"/>
                  </a:lnTo>
                  <a:lnTo>
                    <a:pt x="42" y="4"/>
                  </a:lnTo>
                  <a:lnTo>
                    <a:pt x="38" y="2"/>
                  </a:lnTo>
                  <a:lnTo>
                    <a:pt x="38" y="2"/>
                  </a:lnTo>
                  <a:close/>
                </a:path>
              </a:pathLst>
            </a:custGeom>
            <a:solidFill>
              <a:schemeClr val="accent3"/>
            </a:solid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62"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465"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pic>
        <p:nvPicPr>
          <p:cNvPr id="467"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37251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74"/>
                                        </p:tgtEl>
                                        <p:attrNameLst>
                                          <p:attrName>style.visibility</p:attrName>
                                        </p:attrNameLst>
                                      </p:cBhvr>
                                      <p:to>
                                        <p:strVal val="visible"/>
                                      </p:to>
                                    </p:set>
                                    <p:animEffect transition="in" filter="fade">
                                      <p:cBhvr>
                                        <p:cTn id="7" dur="500"/>
                                        <p:tgtEl>
                                          <p:spTgt spid="97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75"/>
                                        </p:tgtEl>
                                        <p:attrNameLst>
                                          <p:attrName>style.visibility</p:attrName>
                                        </p:attrNameLst>
                                      </p:cBhvr>
                                      <p:to>
                                        <p:strVal val="visible"/>
                                      </p:to>
                                    </p:set>
                                    <p:animEffect transition="in" filter="fade">
                                      <p:cBhvr>
                                        <p:cTn id="12" dur="500"/>
                                        <p:tgtEl>
                                          <p:spTgt spid="97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3" name="Freeform 8"/>
          <p:cNvSpPr>
            <a:spLocks/>
          </p:cNvSpPr>
          <p:nvPr/>
        </p:nvSpPr>
        <p:spPr bwMode="auto">
          <a:xfrm>
            <a:off x="2953101" y="4163687"/>
            <a:ext cx="88875" cy="45523"/>
          </a:xfrm>
          <a:custGeom>
            <a:avLst/>
            <a:gdLst/>
            <a:ahLst/>
            <a:cxnLst>
              <a:cxn ang="0">
                <a:pos x="0" y="0"/>
              </a:cxn>
              <a:cxn ang="0">
                <a:pos x="10" y="4"/>
              </a:cxn>
              <a:cxn ang="0">
                <a:pos x="12" y="6"/>
              </a:cxn>
              <a:cxn ang="0">
                <a:pos x="8" y="6"/>
              </a:cxn>
              <a:cxn ang="0">
                <a:pos x="10" y="8"/>
              </a:cxn>
              <a:cxn ang="0">
                <a:pos x="14" y="8"/>
              </a:cxn>
              <a:cxn ang="0">
                <a:pos x="16" y="10"/>
              </a:cxn>
              <a:cxn ang="0">
                <a:pos x="20" y="14"/>
              </a:cxn>
              <a:cxn ang="0">
                <a:pos x="26" y="16"/>
              </a:cxn>
              <a:cxn ang="0">
                <a:pos x="32" y="20"/>
              </a:cxn>
              <a:cxn ang="0">
                <a:pos x="38" y="22"/>
              </a:cxn>
              <a:cxn ang="0">
                <a:pos x="42" y="24"/>
              </a:cxn>
              <a:cxn ang="0">
                <a:pos x="50" y="26"/>
              </a:cxn>
              <a:cxn ang="0">
                <a:pos x="52" y="26"/>
              </a:cxn>
              <a:cxn ang="0">
                <a:pos x="58" y="30"/>
              </a:cxn>
              <a:cxn ang="0">
                <a:pos x="64" y="32"/>
              </a:cxn>
              <a:cxn ang="0">
                <a:pos x="68" y="34"/>
              </a:cxn>
              <a:cxn ang="0">
                <a:pos x="74" y="34"/>
              </a:cxn>
              <a:cxn ang="0">
                <a:pos x="78" y="34"/>
              </a:cxn>
              <a:cxn ang="0">
                <a:pos x="78" y="36"/>
              </a:cxn>
              <a:cxn ang="0">
                <a:pos x="76" y="38"/>
              </a:cxn>
              <a:cxn ang="0">
                <a:pos x="72" y="38"/>
              </a:cxn>
              <a:cxn ang="0">
                <a:pos x="66" y="40"/>
              </a:cxn>
              <a:cxn ang="0">
                <a:pos x="64" y="40"/>
              </a:cxn>
              <a:cxn ang="0">
                <a:pos x="60" y="40"/>
              </a:cxn>
              <a:cxn ang="0">
                <a:pos x="56" y="40"/>
              </a:cxn>
              <a:cxn ang="0">
                <a:pos x="46" y="38"/>
              </a:cxn>
              <a:cxn ang="0">
                <a:pos x="38" y="40"/>
              </a:cxn>
              <a:cxn ang="0">
                <a:pos x="32" y="38"/>
              </a:cxn>
              <a:cxn ang="0">
                <a:pos x="24" y="36"/>
              </a:cxn>
              <a:cxn ang="0">
                <a:pos x="24" y="38"/>
              </a:cxn>
              <a:cxn ang="0">
                <a:pos x="20" y="38"/>
              </a:cxn>
            </a:cxnLst>
            <a:rect l="0" t="0" r="r" b="b"/>
            <a:pathLst>
              <a:path w="78" h="40">
                <a:moveTo>
                  <a:pt x="20" y="38"/>
                </a:moveTo>
                <a:lnTo>
                  <a:pt x="0" y="0"/>
                </a:lnTo>
                <a:lnTo>
                  <a:pt x="0" y="0"/>
                </a:lnTo>
                <a:lnTo>
                  <a:pt x="10" y="4"/>
                </a:lnTo>
                <a:lnTo>
                  <a:pt x="10" y="4"/>
                </a:lnTo>
                <a:lnTo>
                  <a:pt x="12" y="6"/>
                </a:lnTo>
                <a:lnTo>
                  <a:pt x="8" y="6"/>
                </a:lnTo>
                <a:lnTo>
                  <a:pt x="8" y="6"/>
                </a:lnTo>
                <a:lnTo>
                  <a:pt x="6" y="8"/>
                </a:lnTo>
                <a:lnTo>
                  <a:pt x="10" y="8"/>
                </a:lnTo>
                <a:lnTo>
                  <a:pt x="10" y="8"/>
                </a:lnTo>
                <a:lnTo>
                  <a:pt x="14" y="8"/>
                </a:lnTo>
                <a:lnTo>
                  <a:pt x="14" y="8"/>
                </a:lnTo>
                <a:lnTo>
                  <a:pt x="16" y="10"/>
                </a:lnTo>
                <a:lnTo>
                  <a:pt x="16" y="10"/>
                </a:lnTo>
                <a:lnTo>
                  <a:pt x="20" y="14"/>
                </a:lnTo>
                <a:lnTo>
                  <a:pt x="26" y="16"/>
                </a:lnTo>
                <a:lnTo>
                  <a:pt x="26" y="16"/>
                </a:lnTo>
                <a:lnTo>
                  <a:pt x="28" y="18"/>
                </a:lnTo>
                <a:lnTo>
                  <a:pt x="32" y="20"/>
                </a:lnTo>
                <a:lnTo>
                  <a:pt x="32" y="20"/>
                </a:lnTo>
                <a:lnTo>
                  <a:pt x="38" y="22"/>
                </a:lnTo>
                <a:lnTo>
                  <a:pt x="42" y="24"/>
                </a:lnTo>
                <a:lnTo>
                  <a:pt x="42" y="24"/>
                </a:lnTo>
                <a:lnTo>
                  <a:pt x="46" y="26"/>
                </a:lnTo>
                <a:lnTo>
                  <a:pt x="50" y="26"/>
                </a:lnTo>
                <a:lnTo>
                  <a:pt x="50" y="26"/>
                </a:lnTo>
                <a:lnTo>
                  <a:pt x="52" y="26"/>
                </a:lnTo>
                <a:lnTo>
                  <a:pt x="52" y="26"/>
                </a:lnTo>
                <a:lnTo>
                  <a:pt x="58" y="30"/>
                </a:lnTo>
                <a:lnTo>
                  <a:pt x="58" y="30"/>
                </a:lnTo>
                <a:lnTo>
                  <a:pt x="64" y="32"/>
                </a:lnTo>
                <a:lnTo>
                  <a:pt x="68" y="34"/>
                </a:lnTo>
                <a:lnTo>
                  <a:pt x="68" y="34"/>
                </a:lnTo>
                <a:lnTo>
                  <a:pt x="72" y="34"/>
                </a:lnTo>
                <a:lnTo>
                  <a:pt x="74" y="34"/>
                </a:lnTo>
                <a:lnTo>
                  <a:pt x="74" y="34"/>
                </a:lnTo>
                <a:lnTo>
                  <a:pt x="78" y="34"/>
                </a:lnTo>
                <a:lnTo>
                  <a:pt x="78" y="34"/>
                </a:lnTo>
                <a:lnTo>
                  <a:pt x="78" y="36"/>
                </a:lnTo>
                <a:lnTo>
                  <a:pt x="78" y="36"/>
                </a:lnTo>
                <a:lnTo>
                  <a:pt x="76" y="38"/>
                </a:lnTo>
                <a:lnTo>
                  <a:pt x="72" y="38"/>
                </a:lnTo>
                <a:lnTo>
                  <a:pt x="72" y="38"/>
                </a:lnTo>
                <a:lnTo>
                  <a:pt x="70" y="40"/>
                </a:lnTo>
                <a:lnTo>
                  <a:pt x="66" y="40"/>
                </a:lnTo>
                <a:lnTo>
                  <a:pt x="66" y="40"/>
                </a:lnTo>
                <a:lnTo>
                  <a:pt x="64" y="40"/>
                </a:lnTo>
                <a:lnTo>
                  <a:pt x="62" y="40"/>
                </a:lnTo>
                <a:lnTo>
                  <a:pt x="60" y="40"/>
                </a:lnTo>
                <a:lnTo>
                  <a:pt x="56" y="40"/>
                </a:lnTo>
                <a:lnTo>
                  <a:pt x="56" y="40"/>
                </a:lnTo>
                <a:lnTo>
                  <a:pt x="50" y="38"/>
                </a:lnTo>
                <a:lnTo>
                  <a:pt x="46" y="38"/>
                </a:lnTo>
                <a:lnTo>
                  <a:pt x="46" y="38"/>
                </a:lnTo>
                <a:lnTo>
                  <a:pt x="38" y="40"/>
                </a:lnTo>
                <a:lnTo>
                  <a:pt x="32" y="38"/>
                </a:lnTo>
                <a:lnTo>
                  <a:pt x="32" y="38"/>
                </a:lnTo>
                <a:lnTo>
                  <a:pt x="28" y="36"/>
                </a:lnTo>
                <a:lnTo>
                  <a:pt x="24" y="36"/>
                </a:lnTo>
                <a:lnTo>
                  <a:pt x="24" y="38"/>
                </a:lnTo>
                <a:lnTo>
                  <a:pt x="24" y="38"/>
                </a:lnTo>
                <a:lnTo>
                  <a:pt x="20" y="38"/>
                </a:lnTo>
                <a:lnTo>
                  <a:pt x="20" y="38"/>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784" name="Panama"/>
          <p:cNvSpPr>
            <a:spLocks/>
          </p:cNvSpPr>
          <p:nvPr/>
        </p:nvSpPr>
        <p:spPr bwMode="auto">
          <a:xfrm>
            <a:off x="2344654" y="2486182"/>
            <a:ext cx="139008" cy="70560"/>
          </a:xfrm>
          <a:custGeom>
            <a:avLst/>
            <a:gdLst/>
            <a:ahLst/>
            <a:cxnLst>
              <a:cxn ang="0">
                <a:pos x="116" y="20"/>
              </a:cxn>
              <a:cxn ang="0">
                <a:pos x="110" y="16"/>
              </a:cxn>
              <a:cxn ang="0">
                <a:pos x="110" y="14"/>
              </a:cxn>
              <a:cxn ang="0">
                <a:pos x="94" y="4"/>
              </a:cxn>
              <a:cxn ang="0">
                <a:pos x="84" y="2"/>
              </a:cxn>
              <a:cxn ang="0">
                <a:pos x="74" y="8"/>
              </a:cxn>
              <a:cxn ang="0">
                <a:pos x="72" y="12"/>
              </a:cxn>
              <a:cxn ang="0">
                <a:pos x="74" y="18"/>
              </a:cxn>
              <a:cxn ang="0">
                <a:pos x="66" y="20"/>
              </a:cxn>
              <a:cxn ang="0">
                <a:pos x="70" y="12"/>
              </a:cxn>
              <a:cxn ang="0">
                <a:pos x="66" y="12"/>
              </a:cxn>
              <a:cxn ang="0">
                <a:pos x="60" y="16"/>
              </a:cxn>
              <a:cxn ang="0">
                <a:pos x="50" y="18"/>
              </a:cxn>
              <a:cxn ang="0">
                <a:pos x="32" y="20"/>
              </a:cxn>
              <a:cxn ang="0">
                <a:pos x="26" y="14"/>
              </a:cxn>
              <a:cxn ang="0">
                <a:pos x="22" y="14"/>
              </a:cxn>
              <a:cxn ang="0">
                <a:pos x="20" y="16"/>
              </a:cxn>
              <a:cxn ang="0">
                <a:pos x="16" y="12"/>
              </a:cxn>
              <a:cxn ang="0">
                <a:pos x="18" y="10"/>
              </a:cxn>
              <a:cxn ang="0">
                <a:pos x="18" y="6"/>
              </a:cxn>
              <a:cxn ang="0">
                <a:pos x="12" y="0"/>
              </a:cxn>
              <a:cxn ang="0">
                <a:pos x="4" y="4"/>
              </a:cxn>
              <a:cxn ang="0">
                <a:pos x="6" y="12"/>
              </a:cxn>
              <a:cxn ang="0">
                <a:pos x="6" y="18"/>
              </a:cxn>
              <a:cxn ang="0">
                <a:pos x="4" y="28"/>
              </a:cxn>
              <a:cxn ang="0">
                <a:pos x="0" y="32"/>
              </a:cxn>
              <a:cxn ang="0">
                <a:pos x="2" y="40"/>
              </a:cxn>
              <a:cxn ang="0">
                <a:pos x="4" y="36"/>
              </a:cxn>
              <a:cxn ang="0">
                <a:pos x="6" y="36"/>
              </a:cxn>
              <a:cxn ang="0">
                <a:pos x="12" y="36"/>
              </a:cxn>
              <a:cxn ang="0">
                <a:pos x="14" y="36"/>
              </a:cxn>
              <a:cxn ang="0">
                <a:pos x="24" y="40"/>
              </a:cxn>
              <a:cxn ang="0">
                <a:pos x="30" y="46"/>
              </a:cxn>
              <a:cxn ang="0">
                <a:pos x="34" y="52"/>
              </a:cxn>
              <a:cxn ang="0">
                <a:pos x="38" y="54"/>
              </a:cxn>
              <a:cxn ang="0">
                <a:pos x="40" y="50"/>
              </a:cxn>
              <a:cxn ang="0">
                <a:pos x="42" y="50"/>
              </a:cxn>
              <a:cxn ang="0">
                <a:pos x="44" y="58"/>
              </a:cxn>
              <a:cxn ang="0">
                <a:pos x="56" y="62"/>
              </a:cxn>
              <a:cxn ang="0">
                <a:pos x="62" y="54"/>
              </a:cxn>
              <a:cxn ang="0">
                <a:pos x="58" y="48"/>
              </a:cxn>
              <a:cxn ang="0">
                <a:pos x="56" y="46"/>
              </a:cxn>
              <a:cxn ang="0">
                <a:pos x="58" y="40"/>
              </a:cxn>
              <a:cxn ang="0">
                <a:pos x="70" y="28"/>
              </a:cxn>
              <a:cxn ang="0">
                <a:pos x="70" y="26"/>
              </a:cxn>
              <a:cxn ang="0">
                <a:pos x="80" y="24"/>
              </a:cxn>
              <a:cxn ang="0">
                <a:pos x="94" y="30"/>
              </a:cxn>
              <a:cxn ang="0">
                <a:pos x="100" y="30"/>
              </a:cxn>
              <a:cxn ang="0">
                <a:pos x="100" y="38"/>
              </a:cxn>
              <a:cxn ang="0">
                <a:pos x="112" y="28"/>
              </a:cxn>
              <a:cxn ang="0">
                <a:pos x="110" y="38"/>
              </a:cxn>
              <a:cxn ang="0">
                <a:pos x="104" y="40"/>
              </a:cxn>
              <a:cxn ang="0">
                <a:pos x="100" y="48"/>
              </a:cxn>
              <a:cxn ang="0">
                <a:pos x="102" y="54"/>
              </a:cxn>
              <a:cxn ang="0">
                <a:pos x="104" y="60"/>
              </a:cxn>
              <a:cxn ang="0">
                <a:pos x="106" y="58"/>
              </a:cxn>
              <a:cxn ang="0">
                <a:pos x="108" y="52"/>
              </a:cxn>
              <a:cxn ang="0">
                <a:pos x="118" y="50"/>
              </a:cxn>
              <a:cxn ang="0">
                <a:pos x="120" y="44"/>
              </a:cxn>
              <a:cxn ang="0">
                <a:pos x="120" y="40"/>
              </a:cxn>
              <a:cxn ang="0">
                <a:pos x="118" y="36"/>
              </a:cxn>
              <a:cxn ang="0">
                <a:pos x="118" y="32"/>
              </a:cxn>
              <a:cxn ang="0">
                <a:pos x="120" y="24"/>
              </a:cxn>
            </a:cxnLst>
            <a:rect l="0" t="0" r="r" b="b"/>
            <a:pathLst>
              <a:path w="122" h="62">
                <a:moveTo>
                  <a:pt x="120" y="24"/>
                </a:moveTo>
                <a:lnTo>
                  <a:pt x="120" y="24"/>
                </a:lnTo>
                <a:lnTo>
                  <a:pt x="116" y="20"/>
                </a:lnTo>
                <a:lnTo>
                  <a:pt x="114" y="20"/>
                </a:lnTo>
                <a:lnTo>
                  <a:pt x="112" y="18"/>
                </a:lnTo>
                <a:lnTo>
                  <a:pt x="110" y="16"/>
                </a:lnTo>
                <a:lnTo>
                  <a:pt x="110" y="16"/>
                </a:lnTo>
                <a:lnTo>
                  <a:pt x="108" y="14"/>
                </a:lnTo>
                <a:lnTo>
                  <a:pt x="110" y="14"/>
                </a:lnTo>
                <a:lnTo>
                  <a:pt x="104" y="10"/>
                </a:lnTo>
                <a:lnTo>
                  <a:pt x="104" y="10"/>
                </a:lnTo>
                <a:lnTo>
                  <a:pt x="94" y="4"/>
                </a:lnTo>
                <a:lnTo>
                  <a:pt x="90" y="4"/>
                </a:lnTo>
                <a:lnTo>
                  <a:pt x="90" y="4"/>
                </a:lnTo>
                <a:lnTo>
                  <a:pt x="84" y="2"/>
                </a:lnTo>
                <a:lnTo>
                  <a:pt x="78" y="4"/>
                </a:lnTo>
                <a:lnTo>
                  <a:pt x="78" y="4"/>
                </a:lnTo>
                <a:lnTo>
                  <a:pt x="74" y="8"/>
                </a:lnTo>
                <a:lnTo>
                  <a:pt x="72" y="10"/>
                </a:lnTo>
                <a:lnTo>
                  <a:pt x="72" y="12"/>
                </a:lnTo>
                <a:lnTo>
                  <a:pt x="72" y="12"/>
                </a:lnTo>
                <a:lnTo>
                  <a:pt x="78" y="16"/>
                </a:lnTo>
                <a:lnTo>
                  <a:pt x="78" y="16"/>
                </a:lnTo>
                <a:lnTo>
                  <a:pt x="74" y="18"/>
                </a:lnTo>
                <a:lnTo>
                  <a:pt x="74" y="18"/>
                </a:lnTo>
                <a:lnTo>
                  <a:pt x="68" y="20"/>
                </a:lnTo>
                <a:lnTo>
                  <a:pt x="66" y="20"/>
                </a:lnTo>
                <a:lnTo>
                  <a:pt x="68" y="16"/>
                </a:lnTo>
                <a:lnTo>
                  <a:pt x="68" y="16"/>
                </a:lnTo>
                <a:lnTo>
                  <a:pt x="70" y="12"/>
                </a:lnTo>
                <a:lnTo>
                  <a:pt x="70" y="10"/>
                </a:lnTo>
                <a:lnTo>
                  <a:pt x="68" y="10"/>
                </a:lnTo>
                <a:lnTo>
                  <a:pt x="66" y="12"/>
                </a:lnTo>
                <a:lnTo>
                  <a:pt x="66" y="12"/>
                </a:lnTo>
                <a:lnTo>
                  <a:pt x="64" y="14"/>
                </a:lnTo>
                <a:lnTo>
                  <a:pt x="60" y="16"/>
                </a:lnTo>
                <a:lnTo>
                  <a:pt x="54" y="16"/>
                </a:lnTo>
                <a:lnTo>
                  <a:pt x="50" y="18"/>
                </a:lnTo>
                <a:lnTo>
                  <a:pt x="50" y="18"/>
                </a:lnTo>
                <a:lnTo>
                  <a:pt x="46" y="20"/>
                </a:lnTo>
                <a:lnTo>
                  <a:pt x="40" y="20"/>
                </a:lnTo>
                <a:lnTo>
                  <a:pt x="32" y="20"/>
                </a:lnTo>
                <a:lnTo>
                  <a:pt x="30" y="18"/>
                </a:lnTo>
                <a:lnTo>
                  <a:pt x="30" y="18"/>
                </a:lnTo>
                <a:lnTo>
                  <a:pt x="26" y="14"/>
                </a:lnTo>
                <a:lnTo>
                  <a:pt x="22" y="10"/>
                </a:lnTo>
                <a:lnTo>
                  <a:pt x="22" y="10"/>
                </a:lnTo>
                <a:lnTo>
                  <a:pt x="22" y="14"/>
                </a:lnTo>
                <a:lnTo>
                  <a:pt x="22" y="16"/>
                </a:lnTo>
                <a:lnTo>
                  <a:pt x="22" y="16"/>
                </a:lnTo>
                <a:lnTo>
                  <a:pt x="20" y="16"/>
                </a:lnTo>
                <a:lnTo>
                  <a:pt x="20" y="16"/>
                </a:lnTo>
                <a:lnTo>
                  <a:pt x="16" y="14"/>
                </a:lnTo>
                <a:lnTo>
                  <a:pt x="16" y="12"/>
                </a:lnTo>
                <a:lnTo>
                  <a:pt x="18" y="10"/>
                </a:lnTo>
                <a:lnTo>
                  <a:pt x="18" y="10"/>
                </a:lnTo>
                <a:lnTo>
                  <a:pt x="18" y="10"/>
                </a:lnTo>
                <a:lnTo>
                  <a:pt x="16" y="8"/>
                </a:lnTo>
                <a:lnTo>
                  <a:pt x="18" y="6"/>
                </a:lnTo>
                <a:lnTo>
                  <a:pt x="18" y="6"/>
                </a:lnTo>
                <a:lnTo>
                  <a:pt x="18" y="6"/>
                </a:lnTo>
                <a:lnTo>
                  <a:pt x="16" y="4"/>
                </a:lnTo>
                <a:lnTo>
                  <a:pt x="12" y="0"/>
                </a:lnTo>
                <a:lnTo>
                  <a:pt x="12" y="0"/>
                </a:lnTo>
                <a:lnTo>
                  <a:pt x="8" y="2"/>
                </a:lnTo>
                <a:lnTo>
                  <a:pt x="4" y="4"/>
                </a:lnTo>
                <a:lnTo>
                  <a:pt x="4" y="6"/>
                </a:lnTo>
                <a:lnTo>
                  <a:pt x="4" y="8"/>
                </a:lnTo>
                <a:lnTo>
                  <a:pt x="6" y="12"/>
                </a:lnTo>
                <a:lnTo>
                  <a:pt x="8" y="16"/>
                </a:lnTo>
                <a:lnTo>
                  <a:pt x="6" y="18"/>
                </a:lnTo>
                <a:lnTo>
                  <a:pt x="6" y="18"/>
                </a:lnTo>
                <a:lnTo>
                  <a:pt x="4" y="22"/>
                </a:lnTo>
                <a:lnTo>
                  <a:pt x="4" y="26"/>
                </a:lnTo>
                <a:lnTo>
                  <a:pt x="4" y="28"/>
                </a:lnTo>
                <a:lnTo>
                  <a:pt x="2" y="30"/>
                </a:lnTo>
                <a:lnTo>
                  <a:pt x="2" y="30"/>
                </a:lnTo>
                <a:lnTo>
                  <a:pt x="0" y="32"/>
                </a:lnTo>
                <a:lnTo>
                  <a:pt x="2" y="34"/>
                </a:lnTo>
                <a:lnTo>
                  <a:pt x="2" y="36"/>
                </a:lnTo>
                <a:lnTo>
                  <a:pt x="2" y="40"/>
                </a:lnTo>
                <a:lnTo>
                  <a:pt x="2" y="40"/>
                </a:lnTo>
                <a:lnTo>
                  <a:pt x="4" y="40"/>
                </a:lnTo>
                <a:lnTo>
                  <a:pt x="4" y="36"/>
                </a:lnTo>
                <a:lnTo>
                  <a:pt x="4" y="36"/>
                </a:lnTo>
                <a:lnTo>
                  <a:pt x="6" y="36"/>
                </a:lnTo>
                <a:lnTo>
                  <a:pt x="6" y="36"/>
                </a:lnTo>
                <a:lnTo>
                  <a:pt x="8" y="36"/>
                </a:lnTo>
                <a:lnTo>
                  <a:pt x="12" y="36"/>
                </a:lnTo>
                <a:lnTo>
                  <a:pt x="12" y="36"/>
                </a:lnTo>
                <a:lnTo>
                  <a:pt x="12" y="34"/>
                </a:lnTo>
                <a:lnTo>
                  <a:pt x="12" y="34"/>
                </a:lnTo>
                <a:lnTo>
                  <a:pt x="14" y="36"/>
                </a:lnTo>
                <a:lnTo>
                  <a:pt x="18" y="38"/>
                </a:lnTo>
                <a:lnTo>
                  <a:pt x="18" y="38"/>
                </a:lnTo>
                <a:lnTo>
                  <a:pt x="24" y="40"/>
                </a:lnTo>
                <a:lnTo>
                  <a:pt x="26" y="42"/>
                </a:lnTo>
                <a:lnTo>
                  <a:pt x="28" y="44"/>
                </a:lnTo>
                <a:lnTo>
                  <a:pt x="30" y="46"/>
                </a:lnTo>
                <a:lnTo>
                  <a:pt x="30" y="46"/>
                </a:lnTo>
                <a:lnTo>
                  <a:pt x="32" y="50"/>
                </a:lnTo>
                <a:lnTo>
                  <a:pt x="34" y="52"/>
                </a:lnTo>
                <a:lnTo>
                  <a:pt x="34" y="54"/>
                </a:lnTo>
                <a:lnTo>
                  <a:pt x="38" y="54"/>
                </a:lnTo>
                <a:lnTo>
                  <a:pt x="38" y="54"/>
                </a:lnTo>
                <a:lnTo>
                  <a:pt x="40" y="54"/>
                </a:lnTo>
                <a:lnTo>
                  <a:pt x="40" y="52"/>
                </a:lnTo>
                <a:lnTo>
                  <a:pt x="40" y="50"/>
                </a:lnTo>
                <a:lnTo>
                  <a:pt x="44" y="48"/>
                </a:lnTo>
                <a:lnTo>
                  <a:pt x="44" y="48"/>
                </a:lnTo>
                <a:lnTo>
                  <a:pt x="42" y="50"/>
                </a:lnTo>
                <a:lnTo>
                  <a:pt x="42" y="52"/>
                </a:lnTo>
                <a:lnTo>
                  <a:pt x="44" y="58"/>
                </a:lnTo>
                <a:lnTo>
                  <a:pt x="44" y="58"/>
                </a:lnTo>
                <a:lnTo>
                  <a:pt x="48" y="62"/>
                </a:lnTo>
                <a:lnTo>
                  <a:pt x="52" y="62"/>
                </a:lnTo>
                <a:lnTo>
                  <a:pt x="56" y="62"/>
                </a:lnTo>
                <a:lnTo>
                  <a:pt x="60" y="58"/>
                </a:lnTo>
                <a:lnTo>
                  <a:pt x="60" y="58"/>
                </a:lnTo>
                <a:lnTo>
                  <a:pt x="62" y="54"/>
                </a:lnTo>
                <a:lnTo>
                  <a:pt x="60" y="52"/>
                </a:lnTo>
                <a:lnTo>
                  <a:pt x="58" y="50"/>
                </a:lnTo>
                <a:lnTo>
                  <a:pt x="58" y="48"/>
                </a:lnTo>
                <a:lnTo>
                  <a:pt x="58" y="48"/>
                </a:lnTo>
                <a:lnTo>
                  <a:pt x="58" y="46"/>
                </a:lnTo>
                <a:lnTo>
                  <a:pt x="56" y="46"/>
                </a:lnTo>
                <a:lnTo>
                  <a:pt x="56" y="44"/>
                </a:lnTo>
                <a:lnTo>
                  <a:pt x="58" y="40"/>
                </a:lnTo>
                <a:lnTo>
                  <a:pt x="58" y="40"/>
                </a:lnTo>
                <a:lnTo>
                  <a:pt x="64" y="34"/>
                </a:lnTo>
                <a:lnTo>
                  <a:pt x="68" y="30"/>
                </a:lnTo>
                <a:lnTo>
                  <a:pt x="70" y="28"/>
                </a:lnTo>
                <a:lnTo>
                  <a:pt x="70" y="26"/>
                </a:lnTo>
                <a:lnTo>
                  <a:pt x="70" y="26"/>
                </a:lnTo>
                <a:lnTo>
                  <a:pt x="70" y="26"/>
                </a:lnTo>
                <a:lnTo>
                  <a:pt x="72" y="24"/>
                </a:lnTo>
                <a:lnTo>
                  <a:pt x="80" y="24"/>
                </a:lnTo>
                <a:lnTo>
                  <a:pt x="80" y="24"/>
                </a:lnTo>
                <a:lnTo>
                  <a:pt x="88" y="24"/>
                </a:lnTo>
                <a:lnTo>
                  <a:pt x="92" y="26"/>
                </a:lnTo>
                <a:lnTo>
                  <a:pt x="94" y="30"/>
                </a:lnTo>
                <a:lnTo>
                  <a:pt x="96" y="30"/>
                </a:lnTo>
                <a:lnTo>
                  <a:pt x="96" y="30"/>
                </a:lnTo>
                <a:lnTo>
                  <a:pt x="100" y="30"/>
                </a:lnTo>
                <a:lnTo>
                  <a:pt x="100" y="32"/>
                </a:lnTo>
                <a:lnTo>
                  <a:pt x="100" y="38"/>
                </a:lnTo>
                <a:lnTo>
                  <a:pt x="100" y="38"/>
                </a:lnTo>
                <a:lnTo>
                  <a:pt x="108" y="34"/>
                </a:lnTo>
                <a:lnTo>
                  <a:pt x="112" y="28"/>
                </a:lnTo>
                <a:lnTo>
                  <a:pt x="112" y="28"/>
                </a:lnTo>
                <a:lnTo>
                  <a:pt x="112" y="36"/>
                </a:lnTo>
                <a:lnTo>
                  <a:pt x="112" y="38"/>
                </a:lnTo>
                <a:lnTo>
                  <a:pt x="110" y="38"/>
                </a:lnTo>
                <a:lnTo>
                  <a:pt x="110" y="38"/>
                </a:lnTo>
                <a:lnTo>
                  <a:pt x="106" y="38"/>
                </a:lnTo>
                <a:lnTo>
                  <a:pt x="104" y="40"/>
                </a:lnTo>
                <a:lnTo>
                  <a:pt x="104" y="40"/>
                </a:lnTo>
                <a:lnTo>
                  <a:pt x="102" y="44"/>
                </a:lnTo>
                <a:lnTo>
                  <a:pt x="100" y="48"/>
                </a:lnTo>
                <a:lnTo>
                  <a:pt x="102" y="52"/>
                </a:lnTo>
                <a:lnTo>
                  <a:pt x="102" y="54"/>
                </a:lnTo>
                <a:lnTo>
                  <a:pt x="102" y="54"/>
                </a:lnTo>
                <a:lnTo>
                  <a:pt x="100" y="58"/>
                </a:lnTo>
                <a:lnTo>
                  <a:pt x="102" y="58"/>
                </a:lnTo>
                <a:lnTo>
                  <a:pt x="104" y="60"/>
                </a:lnTo>
                <a:lnTo>
                  <a:pt x="104" y="62"/>
                </a:lnTo>
                <a:lnTo>
                  <a:pt x="104" y="62"/>
                </a:lnTo>
                <a:lnTo>
                  <a:pt x="106" y="58"/>
                </a:lnTo>
                <a:lnTo>
                  <a:pt x="108" y="54"/>
                </a:lnTo>
                <a:lnTo>
                  <a:pt x="108" y="54"/>
                </a:lnTo>
                <a:lnTo>
                  <a:pt x="108" y="52"/>
                </a:lnTo>
                <a:lnTo>
                  <a:pt x="110" y="52"/>
                </a:lnTo>
                <a:lnTo>
                  <a:pt x="112" y="52"/>
                </a:lnTo>
                <a:lnTo>
                  <a:pt x="118" y="50"/>
                </a:lnTo>
                <a:lnTo>
                  <a:pt x="118" y="50"/>
                </a:lnTo>
                <a:lnTo>
                  <a:pt x="120" y="46"/>
                </a:lnTo>
                <a:lnTo>
                  <a:pt x="120" y="44"/>
                </a:lnTo>
                <a:lnTo>
                  <a:pt x="118" y="44"/>
                </a:lnTo>
                <a:lnTo>
                  <a:pt x="120" y="40"/>
                </a:lnTo>
                <a:lnTo>
                  <a:pt x="120" y="40"/>
                </a:lnTo>
                <a:lnTo>
                  <a:pt x="122" y="38"/>
                </a:lnTo>
                <a:lnTo>
                  <a:pt x="120" y="38"/>
                </a:lnTo>
                <a:lnTo>
                  <a:pt x="118" y="36"/>
                </a:lnTo>
                <a:lnTo>
                  <a:pt x="118" y="34"/>
                </a:lnTo>
                <a:lnTo>
                  <a:pt x="118" y="34"/>
                </a:lnTo>
                <a:lnTo>
                  <a:pt x="118" y="32"/>
                </a:lnTo>
                <a:lnTo>
                  <a:pt x="118" y="30"/>
                </a:lnTo>
                <a:lnTo>
                  <a:pt x="118" y="28"/>
                </a:lnTo>
                <a:lnTo>
                  <a:pt x="120" y="24"/>
                </a:lnTo>
                <a:lnTo>
                  <a:pt x="120" y="24"/>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785" name="Uruguay"/>
          <p:cNvSpPr>
            <a:spLocks/>
          </p:cNvSpPr>
          <p:nvPr/>
        </p:nvSpPr>
        <p:spPr bwMode="auto">
          <a:xfrm>
            <a:off x="3026022" y="3606036"/>
            <a:ext cx="120778" cy="129740"/>
          </a:xfrm>
          <a:custGeom>
            <a:avLst/>
            <a:gdLst/>
            <a:ahLst/>
            <a:cxnLst>
              <a:cxn ang="0">
                <a:pos x="6" y="78"/>
              </a:cxn>
              <a:cxn ang="0">
                <a:pos x="10" y="96"/>
              </a:cxn>
              <a:cxn ang="0">
                <a:pos x="20" y="102"/>
              </a:cxn>
              <a:cxn ang="0">
                <a:pos x="36" y="104"/>
              </a:cxn>
              <a:cxn ang="0">
                <a:pos x="38" y="106"/>
              </a:cxn>
              <a:cxn ang="0">
                <a:pos x="48" y="108"/>
              </a:cxn>
              <a:cxn ang="0">
                <a:pos x="58" y="110"/>
              </a:cxn>
              <a:cxn ang="0">
                <a:pos x="62" y="112"/>
              </a:cxn>
              <a:cxn ang="0">
                <a:pos x="82" y="114"/>
              </a:cxn>
              <a:cxn ang="0">
                <a:pos x="94" y="108"/>
              </a:cxn>
              <a:cxn ang="0">
                <a:pos x="106" y="98"/>
              </a:cxn>
              <a:cxn ang="0">
                <a:pos x="102" y="90"/>
              </a:cxn>
              <a:cxn ang="0">
                <a:pos x="104" y="82"/>
              </a:cxn>
              <a:cxn ang="0">
                <a:pos x="106" y="72"/>
              </a:cxn>
              <a:cxn ang="0">
                <a:pos x="98" y="64"/>
              </a:cxn>
              <a:cxn ang="0">
                <a:pos x="92" y="58"/>
              </a:cxn>
              <a:cxn ang="0">
                <a:pos x="88" y="56"/>
              </a:cxn>
              <a:cxn ang="0">
                <a:pos x="82" y="50"/>
              </a:cxn>
              <a:cxn ang="0">
                <a:pos x="66" y="38"/>
              </a:cxn>
              <a:cxn ang="0">
                <a:pos x="56" y="34"/>
              </a:cxn>
              <a:cxn ang="0">
                <a:pos x="52" y="30"/>
              </a:cxn>
              <a:cxn ang="0">
                <a:pos x="46" y="32"/>
              </a:cxn>
              <a:cxn ang="0">
                <a:pos x="44" y="32"/>
              </a:cxn>
              <a:cxn ang="0">
                <a:pos x="42" y="26"/>
              </a:cxn>
              <a:cxn ang="0">
                <a:pos x="40" y="14"/>
              </a:cxn>
              <a:cxn ang="0">
                <a:pos x="34" y="6"/>
              </a:cxn>
              <a:cxn ang="0">
                <a:pos x="30" y="0"/>
              </a:cxn>
              <a:cxn ang="0">
                <a:pos x="22" y="2"/>
              </a:cxn>
              <a:cxn ang="0">
                <a:pos x="12" y="8"/>
              </a:cxn>
              <a:cxn ang="0">
                <a:pos x="4" y="8"/>
              </a:cxn>
              <a:cxn ang="0">
                <a:pos x="2" y="24"/>
              </a:cxn>
              <a:cxn ang="0">
                <a:pos x="2" y="38"/>
              </a:cxn>
              <a:cxn ang="0">
                <a:pos x="0" y="44"/>
              </a:cxn>
              <a:cxn ang="0">
                <a:pos x="4" y="62"/>
              </a:cxn>
              <a:cxn ang="0">
                <a:pos x="6" y="74"/>
              </a:cxn>
              <a:cxn ang="0">
                <a:pos x="6" y="78"/>
              </a:cxn>
            </a:cxnLst>
            <a:rect l="0" t="0" r="r" b="b"/>
            <a:pathLst>
              <a:path w="106" h="114">
                <a:moveTo>
                  <a:pt x="6" y="78"/>
                </a:moveTo>
                <a:lnTo>
                  <a:pt x="6" y="78"/>
                </a:lnTo>
                <a:lnTo>
                  <a:pt x="8" y="88"/>
                </a:lnTo>
                <a:lnTo>
                  <a:pt x="10" y="96"/>
                </a:lnTo>
                <a:lnTo>
                  <a:pt x="16" y="100"/>
                </a:lnTo>
                <a:lnTo>
                  <a:pt x="20" y="102"/>
                </a:lnTo>
                <a:lnTo>
                  <a:pt x="30" y="104"/>
                </a:lnTo>
                <a:lnTo>
                  <a:pt x="36" y="104"/>
                </a:lnTo>
                <a:lnTo>
                  <a:pt x="38" y="106"/>
                </a:lnTo>
                <a:lnTo>
                  <a:pt x="38" y="106"/>
                </a:lnTo>
                <a:lnTo>
                  <a:pt x="42" y="108"/>
                </a:lnTo>
                <a:lnTo>
                  <a:pt x="48" y="108"/>
                </a:lnTo>
                <a:lnTo>
                  <a:pt x="52" y="108"/>
                </a:lnTo>
                <a:lnTo>
                  <a:pt x="58" y="110"/>
                </a:lnTo>
                <a:lnTo>
                  <a:pt x="58" y="110"/>
                </a:lnTo>
                <a:lnTo>
                  <a:pt x="62" y="112"/>
                </a:lnTo>
                <a:lnTo>
                  <a:pt x="68" y="114"/>
                </a:lnTo>
                <a:lnTo>
                  <a:pt x="82" y="114"/>
                </a:lnTo>
                <a:lnTo>
                  <a:pt x="88" y="112"/>
                </a:lnTo>
                <a:lnTo>
                  <a:pt x="94" y="108"/>
                </a:lnTo>
                <a:lnTo>
                  <a:pt x="100" y="102"/>
                </a:lnTo>
                <a:lnTo>
                  <a:pt x="106" y="98"/>
                </a:lnTo>
                <a:lnTo>
                  <a:pt x="106" y="98"/>
                </a:lnTo>
                <a:lnTo>
                  <a:pt x="102" y="90"/>
                </a:lnTo>
                <a:lnTo>
                  <a:pt x="104" y="82"/>
                </a:lnTo>
                <a:lnTo>
                  <a:pt x="104" y="82"/>
                </a:lnTo>
                <a:lnTo>
                  <a:pt x="106" y="74"/>
                </a:lnTo>
                <a:lnTo>
                  <a:pt x="106" y="72"/>
                </a:lnTo>
                <a:lnTo>
                  <a:pt x="102" y="70"/>
                </a:lnTo>
                <a:lnTo>
                  <a:pt x="98" y="64"/>
                </a:lnTo>
                <a:lnTo>
                  <a:pt x="98" y="64"/>
                </a:lnTo>
                <a:lnTo>
                  <a:pt x="92" y="58"/>
                </a:lnTo>
                <a:lnTo>
                  <a:pt x="90" y="56"/>
                </a:lnTo>
                <a:lnTo>
                  <a:pt x="88" y="56"/>
                </a:lnTo>
                <a:lnTo>
                  <a:pt x="82" y="50"/>
                </a:lnTo>
                <a:lnTo>
                  <a:pt x="82" y="50"/>
                </a:lnTo>
                <a:lnTo>
                  <a:pt x="74" y="42"/>
                </a:lnTo>
                <a:lnTo>
                  <a:pt x="66" y="38"/>
                </a:lnTo>
                <a:lnTo>
                  <a:pt x="60" y="38"/>
                </a:lnTo>
                <a:lnTo>
                  <a:pt x="56" y="34"/>
                </a:lnTo>
                <a:lnTo>
                  <a:pt x="56" y="34"/>
                </a:lnTo>
                <a:lnTo>
                  <a:pt x="52" y="30"/>
                </a:lnTo>
                <a:lnTo>
                  <a:pt x="50" y="32"/>
                </a:lnTo>
                <a:lnTo>
                  <a:pt x="46" y="32"/>
                </a:lnTo>
                <a:lnTo>
                  <a:pt x="46" y="32"/>
                </a:lnTo>
                <a:lnTo>
                  <a:pt x="44" y="32"/>
                </a:lnTo>
                <a:lnTo>
                  <a:pt x="44" y="30"/>
                </a:lnTo>
                <a:lnTo>
                  <a:pt x="42" y="26"/>
                </a:lnTo>
                <a:lnTo>
                  <a:pt x="42" y="20"/>
                </a:lnTo>
                <a:lnTo>
                  <a:pt x="40" y="14"/>
                </a:lnTo>
                <a:lnTo>
                  <a:pt x="40" y="14"/>
                </a:lnTo>
                <a:lnTo>
                  <a:pt x="34" y="6"/>
                </a:lnTo>
                <a:lnTo>
                  <a:pt x="32" y="2"/>
                </a:lnTo>
                <a:lnTo>
                  <a:pt x="30" y="0"/>
                </a:lnTo>
                <a:lnTo>
                  <a:pt x="30" y="0"/>
                </a:lnTo>
                <a:lnTo>
                  <a:pt x="22" y="2"/>
                </a:lnTo>
                <a:lnTo>
                  <a:pt x="16" y="4"/>
                </a:lnTo>
                <a:lnTo>
                  <a:pt x="12" y="8"/>
                </a:lnTo>
                <a:lnTo>
                  <a:pt x="4" y="8"/>
                </a:lnTo>
                <a:lnTo>
                  <a:pt x="4" y="8"/>
                </a:lnTo>
                <a:lnTo>
                  <a:pt x="2" y="18"/>
                </a:lnTo>
                <a:lnTo>
                  <a:pt x="2" y="24"/>
                </a:lnTo>
                <a:lnTo>
                  <a:pt x="2" y="28"/>
                </a:lnTo>
                <a:lnTo>
                  <a:pt x="2" y="38"/>
                </a:lnTo>
                <a:lnTo>
                  <a:pt x="2" y="38"/>
                </a:lnTo>
                <a:lnTo>
                  <a:pt x="0" y="44"/>
                </a:lnTo>
                <a:lnTo>
                  <a:pt x="0" y="50"/>
                </a:lnTo>
                <a:lnTo>
                  <a:pt x="4" y="62"/>
                </a:lnTo>
                <a:lnTo>
                  <a:pt x="6" y="70"/>
                </a:lnTo>
                <a:lnTo>
                  <a:pt x="6" y="74"/>
                </a:lnTo>
                <a:lnTo>
                  <a:pt x="6" y="78"/>
                </a:lnTo>
                <a:lnTo>
                  <a:pt x="6" y="78"/>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786" name="Paraguay"/>
          <p:cNvSpPr>
            <a:spLocks/>
          </p:cNvSpPr>
          <p:nvPr/>
        </p:nvSpPr>
        <p:spPr bwMode="auto">
          <a:xfrm>
            <a:off x="2873341" y="3307863"/>
            <a:ext cx="207374" cy="241269"/>
          </a:xfrm>
          <a:custGeom>
            <a:avLst/>
            <a:gdLst/>
            <a:ahLst/>
            <a:cxnLst>
              <a:cxn ang="0">
                <a:pos x="4" y="82"/>
              </a:cxn>
              <a:cxn ang="0">
                <a:pos x="4" y="58"/>
              </a:cxn>
              <a:cxn ang="0">
                <a:pos x="0" y="36"/>
              </a:cxn>
              <a:cxn ang="0">
                <a:pos x="6" y="24"/>
              </a:cxn>
              <a:cxn ang="0">
                <a:pos x="12" y="8"/>
              </a:cxn>
              <a:cxn ang="0">
                <a:pos x="46" y="0"/>
              </a:cxn>
              <a:cxn ang="0">
                <a:pos x="70" y="2"/>
              </a:cxn>
              <a:cxn ang="0">
                <a:pos x="84" y="10"/>
              </a:cxn>
              <a:cxn ang="0">
                <a:pos x="94" y="20"/>
              </a:cxn>
              <a:cxn ang="0">
                <a:pos x="100" y="34"/>
              </a:cxn>
              <a:cxn ang="0">
                <a:pos x="108" y="48"/>
              </a:cxn>
              <a:cxn ang="0">
                <a:pos x="106" y="62"/>
              </a:cxn>
              <a:cxn ang="0">
                <a:pos x="106" y="84"/>
              </a:cxn>
              <a:cxn ang="0">
                <a:pos x="120" y="88"/>
              </a:cxn>
              <a:cxn ang="0">
                <a:pos x="134" y="90"/>
              </a:cxn>
              <a:cxn ang="0">
                <a:pos x="148" y="94"/>
              </a:cxn>
              <a:cxn ang="0">
                <a:pos x="154" y="98"/>
              </a:cxn>
              <a:cxn ang="0">
                <a:pos x="154" y="114"/>
              </a:cxn>
              <a:cxn ang="0">
                <a:pos x="156" y="126"/>
              </a:cxn>
              <a:cxn ang="0">
                <a:pos x="164" y="128"/>
              </a:cxn>
              <a:cxn ang="0">
                <a:pos x="178" y="130"/>
              </a:cxn>
              <a:cxn ang="0">
                <a:pos x="180" y="144"/>
              </a:cxn>
              <a:cxn ang="0">
                <a:pos x="180" y="172"/>
              </a:cxn>
              <a:cxn ang="0">
                <a:pos x="178" y="182"/>
              </a:cxn>
              <a:cxn ang="0">
                <a:pos x="176" y="188"/>
              </a:cxn>
              <a:cxn ang="0">
                <a:pos x="172" y="192"/>
              </a:cxn>
              <a:cxn ang="0">
                <a:pos x="166" y="202"/>
              </a:cxn>
              <a:cxn ang="0">
                <a:pos x="154" y="206"/>
              </a:cxn>
              <a:cxn ang="0">
                <a:pos x="146" y="210"/>
              </a:cxn>
              <a:cxn ang="0">
                <a:pos x="138" y="212"/>
              </a:cxn>
              <a:cxn ang="0">
                <a:pos x="134" y="210"/>
              </a:cxn>
              <a:cxn ang="0">
                <a:pos x="112" y="202"/>
              </a:cxn>
              <a:cxn ang="0">
                <a:pos x="100" y="202"/>
              </a:cxn>
              <a:cxn ang="0">
                <a:pos x="104" y="190"/>
              </a:cxn>
              <a:cxn ang="0">
                <a:pos x="108" y="178"/>
              </a:cxn>
              <a:cxn ang="0">
                <a:pos x="112" y="170"/>
              </a:cxn>
              <a:cxn ang="0">
                <a:pos x="104" y="162"/>
              </a:cxn>
              <a:cxn ang="0">
                <a:pos x="96" y="154"/>
              </a:cxn>
              <a:cxn ang="0">
                <a:pos x="78" y="142"/>
              </a:cxn>
              <a:cxn ang="0">
                <a:pos x="66" y="138"/>
              </a:cxn>
              <a:cxn ang="0">
                <a:pos x="50" y="132"/>
              </a:cxn>
              <a:cxn ang="0">
                <a:pos x="44" y="128"/>
              </a:cxn>
              <a:cxn ang="0">
                <a:pos x="18" y="106"/>
              </a:cxn>
              <a:cxn ang="0">
                <a:pos x="12" y="100"/>
              </a:cxn>
              <a:cxn ang="0">
                <a:pos x="6" y="90"/>
              </a:cxn>
            </a:cxnLst>
            <a:rect l="0" t="0" r="r" b="b"/>
            <a:pathLst>
              <a:path w="182" h="212">
                <a:moveTo>
                  <a:pt x="6" y="90"/>
                </a:moveTo>
                <a:lnTo>
                  <a:pt x="6" y="90"/>
                </a:lnTo>
                <a:lnTo>
                  <a:pt x="4" y="82"/>
                </a:lnTo>
                <a:lnTo>
                  <a:pt x="4" y="68"/>
                </a:lnTo>
                <a:lnTo>
                  <a:pt x="4" y="68"/>
                </a:lnTo>
                <a:lnTo>
                  <a:pt x="4" y="58"/>
                </a:lnTo>
                <a:lnTo>
                  <a:pt x="2" y="48"/>
                </a:lnTo>
                <a:lnTo>
                  <a:pt x="0" y="40"/>
                </a:lnTo>
                <a:lnTo>
                  <a:pt x="0" y="36"/>
                </a:lnTo>
                <a:lnTo>
                  <a:pt x="2" y="32"/>
                </a:lnTo>
                <a:lnTo>
                  <a:pt x="2" y="32"/>
                </a:lnTo>
                <a:lnTo>
                  <a:pt x="6" y="24"/>
                </a:lnTo>
                <a:lnTo>
                  <a:pt x="8" y="16"/>
                </a:lnTo>
                <a:lnTo>
                  <a:pt x="10" y="10"/>
                </a:lnTo>
                <a:lnTo>
                  <a:pt x="12" y="8"/>
                </a:lnTo>
                <a:lnTo>
                  <a:pt x="16" y="6"/>
                </a:lnTo>
                <a:lnTo>
                  <a:pt x="16" y="6"/>
                </a:lnTo>
                <a:lnTo>
                  <a:pt x="46" y="0"/>
                </a:lnTo>
                <a:lnTo>
                  <a:pt x="58" y="0"/>
                </a:lnTo>
                <a:lnTo>
                  <a:pt x="70" y="2"/>
                </a:lnTo>
                <a:lnTo>
                  <a:pt x="70" y="2"/>
                </a:lnTo>
                <a:lnTo>
                  <a:pt x="80" y="6"/>
                </a:lnTo>
                <a:lnTo>
                  <a:pt x="82" y="8"/>
                </a:lnTo>
                <a:lnTo>
                  <a:pt x="84" y="10"/>
                </a:lnTo>
                <a:lnTo>
                  <a:pt x="92" y="14"/>
                </a:lnTo>
                <a:lnTo>
                  <a:pt x="92" y="14"/>
                </a:lnTo>
                <a:lnTo>
                  <a:pt x="94" y="20"/>
                </a:lnTo>
                <a:lnTo>
                  <a:pt x="94" y="24"/>
                </a:lnTo>
                <a:lnTo>
                  <a:pt x="94" y="26"/>
                </a:lnTo>
                <a:lnTo>
                  <a:pt x="100" y="34"/>
                </a:lnTo>
                <a:lnTo>
                  <a:pt x="100" y="34"/>
                </a:lnTo>
                <a:lnTo>
                  <a:pt x="106" y="42"/>
                </a:lnTo>
                <a:lnTo>
                  <a:pt x="108" y="48"/>
                </a:lnTo>
                <a:lnTo>
                  <a:pt x="108" y="52"/>
                </a:lnTo>
                <a:lnTo>
                  <a:pt x="106" y="62"/>
                </a:lnTo>
                <a:lnTo>
                  <a:pt x="106" y="62"/>
                </a:lnTo>
                <a:lnTo>
                  <a:pt x="100" y="80"/>
                </a:lnTo>
                <a:lnTo>
                  <a:pt x="100" y="84"/>
                </a:lnTo>
                <a:lnTo>
                  <a:pt x="106" y="84"/>
                </a:lnTo>
                <a:lnTo>
                  <a:pt x="106" y="84"/>
                </a:lnTo>
                <a:lnTo>
                  <a:pt x="114" y="86"/>
                </a:lnTo>
                <a:lnTo>
                  <a:pt x="120" y="88"/>
                </a:lnTo>
                <a:lnTo>
                  <a:pt x="126" y="90"/>
                </a:lnTo>
                <a:lnTo>
                  <a:pt x="134" y="90"/>
                </a:lnTo>
                <a:lnTo>
                  <a:pt x="134" y="90"/>
                </a:lnTo>
                <a:lnTo>
                  <a:pt x="138" y="90"/>
                </a:lnTo>
                <a:lnTo>
                  <a:pt x="142" y="90"/>
                </a:lnTo>
                <a:lnTo>
                  <a:pt x="148" y="94"/>
                </a:lnTo>
                <a:lnTo>
                  <a:pt x="148" y="94"/>
                </a:lnTo>
                <a:lnTo>
                  <a:pt x="152" y="96"/>
                </a:lnTo>
                <a:lnTo>
                  <a:pt x="154" y="98"/>
                </a:lnTo>
                <a:lnTo>
                  <a:pt x="154" y="102"/>
                </a:lnTo>
                <a:lnTo>
                  <a:pt x="152" y="108"/>
                </a:lnTo>
                <a:lnTo>
                  <a:pt x="154" y="114"/>
                </a:lnTo>
                <a:lnTo>
                  <a:pt x="154" y="114"/>
                </a:lnTo>
                <a:lnTo>
                  <a:pt x="156" y="122"/>
                </a:lnTo>
                <a:lnTo>
                  <a:pt x="156" y="126"/>
                </a:lnTo>
                <a:lnTo>
                  <a:pt x="158" y="128"/>
                </a:lnTo>
                <a:lnTo>
                  <a:pt x="164" y="128"/>
                </a:lnTo>
                <a:lnTo>
                  <a:pt x="164" y="128"/>
                </a:lnTo>
                <a:lnTo>
                  <a:pt x="170" y="126"/>
                </a:lnTo>
                <a:lnTo>
                  <a:pt x="176" y="128"/>
                </a:lnTo>
                <a:lnTo>
                  <a:pt x="178" y="130"/>
                </a:lnTo>
                <a:lnTo>
                  <a:pt x="178" y="138"/>
                </a:lnTo>
                <a:lnTo>
                  <a:pt x="178" y="138"/>
                </a:lnTo>
                <a:lnTo>
                  <a:pt x="180" y="144"/>
                </a:lnTo>
                <a:lnTo>
                  <a:pt x="182" y="148"/>
                </a:lnTo>
                <a:lnTo>
                  <a:pt x="182" y="156"/>
                </a:lnTo>
                <a:lnTo>
                  <a:pt x="180" y="172"/>
                </a:lnTo>
                <a:lnTo>
                  <a:pt x="180" y="172"/>
                </a:lnTo>
                <a:lnTo>
                  <a:pt x="180" y="178"/>
                </a:lnTo>
                <a:lnTo>
                  <a:pt x="178" y="182"/>
                </a:lnTo>
                <a:lnTo>
                  <a:pt x="178" y="182"/>
                </a:lnTo>
                <a:lnTo>
                  <a:pt x="178" y="186"/>
                </a:lnTo>
                <a:lnTo>
                  <a:pt x="176" y="188"/>
                </a:lnTo>
                <a:lnTo>
                  <a:pt x="174" y="190"/>
                </a:lnTo>
                <a:lnTo>
                  <a:pt x="172" y="192"/>
                </a:lnTo>
                <a:lnTo>
                  <a:pt x="172" y="192"/>
                </a:lnTo>
                <a:lnTo>
                  <a:pt x="170" y="198"/>
                </a:lnTo>
                <a:lnTo>
                  <a:pt x="166" y="202"/>
                </a:lnTo>
                <a:lnTo>
                  <a:pt x="166" y="202"/>
                </a:lnTo>
                <a:lnTo>
                  <a:pt x="162" y="208"/>
                </a:lnTo>
                <a:lnTo>
                  <a:pt x="158" y="208"/>
                </a:lnTo>
                <a:lnTo>
                  <a:pt x="154" y="206"/>
                </a:lnTo>
                <a:lnTo>
                  <a:pt x="150" y="208"/>
                </a:lnTo>
                <a:lnTo>
                  <a:pt x="150" y="208"/>
                </a:lnTo>
                <a:lnTo>
                  <a:pt x="146" y="210"/>
                </a:lnTo>
                <a:lnTo>
                  <a:pt x="144" y="210"/>
                </a:lnTo>
                <a:lnTo>
                  <a:pt x="142" y="210"/>
                </a:lnTo>
                <a:lnTo>
                  <a:pt x="138" y="212"/>
                </a:lnTo>
                <a:lnTo>
                  <a:pt x="138" y="212"/>
                </a:lnTo>
                <a:lnTo>
                  <a:pt x="136" y="212"/>
                </a:lnTo>
                <a:lnTo>
                  <a:pt x="134" y="210"/>
                </a:lnTo>
                <a:lnTo>
                  <a:pt x="126" y="208"/>
                </a:lnTo>
                <a:lnTo>
                  <a:pt x="116" y="204"/>
                </a:lnTo>
                <a:lnTo>
                  <a:pt x="112" y="202"/>
                </a:lnTo>
                <a:lnTo>
                  <a:pt x="104" y="204"/>
                </a:lnTo>
                <a:lnTo>
                  <a:pt x="104" y="204"/>
                </a:lnTo>
                <a:lnTo>
                  <a:pt x="100" y="202"/>
                </a:lnTo>
                <a:lnTo>
                  <a:pt x="100" y="200"/>
                </a:lnTo>
                <a:lnTo>
                  <a:pt x="104" y="190"/>
                </a:lnTo>
                <a:lnTo>
                  <a:pt x="104" y="190"/>
                </a:lnTo>
                <a:lnTo>
                  <a:pt x="108" y="186"/>
                </a:lnTo>
                <a:lnTo>
                  <a:pt x="108" y="182"/>
                </a:lnTo>
                <a:lnTo>
                  <a:pt x="108" y="178"/>
                </a:lnTo>
                <a:lnTo>
                  <a:pt x="112" y="174"/>
                </a:lnTo>
                <a:lnTo>
                  <a:pt x="112" y="174"/>
                </a:lnTo>
                <a:lnTo>
                  <a:pt x="112" y="170"/>
                </a:lnTo>
                <a:lnTo>
                  <a:pt x="112" y="168"/>
                </a:lnTo>
                <a:lnTo>
                  <a:pt x="108" y="166"/>
                </a:lnTo>
                <a:lnTo>
                  <a:pt x="104" y="162"/>
                </a:lnTo>
                <a:lnTo>
                  <a:pt x="104" y="162"/>
                </a:lnTo>
                <a:lnTo>
                  <a:pt x="100" y="156"/>
                </a:lnTo>
                <a:lnTo>
                  <a:pt x="96" y="154"/>
                </a:lnTo>
                <a:lnTo>
                  <a:pt x="84" y="146"/>
                </a:lnTo>
                <a:lnTo>
                  <a:pt x="84" y="146"/>
                </a:lnTo>
                <a:lnTo>
                  <a:pt x="78" y="142"/>
                </a:lnTo>
                <a:lnTo>
                  <a:pt x="74" y="142"/>
                </a:lnTo>
                <a:lnTo>
                  <a:pt x="72" y="142"/>
                </a:lnTo>
                <a:lnTo>
                  <a:pt x="66" y="138"/>
                </a:lnTo>
                <a:lnTo>
                  <a:pt x="66" y="138"/>
                </a:lnTo>
                <a:lnTo>
                  <a:pt x="56" y="134"/>
                </a:lnTo>
                <a:lnTo>
                  <a:pt x="50" y="132"/>
                </a:lnTo>
                <a:lnTo>
                  <a:pt x="48" y="132"/>
                </a:lnTo>
                <a:lnTo>
                  <a:pt x="44" y="128"/>
                </a:lnTo>
                <a:lnTo>
                  <a:pt x="44" y="128"/>
                </a:lnTo>
                <a:lnTo>
                  <a:pt x="30" y="116"/>
                </a:lnTo>
                <a:lnTo>
                  <a:pt x="18" y="106"/>
                </a:lnTo>
                <a:lnTo>
                  <a:pt x="18" y="106"/>
                </a:lnTo>
                <a:lnTo>
                  <a:pt x="14" y="104"/>
                </a:lnTo>
                <a:lnTo>
                  <a:pt x="12" y="102"/>
                </a:lnTo>
                <a:lnTo>
                  <a:pt x="12" y="100"/>
                </a:lnTo>
                <a:lnTo>
                  <a:pt x="12" y="94"/>
                </a:lnTo>
                <a:lnTo>
                  <a:pt x="10" y="92"/>
                </a:lnTo>
                <a:lnTo>
                  <a:pt x="6" y="90"/>
                </a:lnTo>
                <a:lnTo>
                  <a:pt x="6" y="90"/>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787" name="Bolivia"/>
          <p:cNvSpPr>
            <a:spLocks/>
          </p:cNvSpPr>
          <p:nvPr/>
        </p:nvSpPr>
        <p:spPr bwMode="auto">
          <a:xfrm>
            <a:off x="2668248" y="3062042"/>
            <a:ext cx="314478" cy="368732"/>
          </a:xfrm>
          <a:custGeom>
            <a:avLst/>
            <a:gdLst/>
            <a:ahLst/>
            <a:cxnLst>
              <a:cxn ang="0">
                <a:pos x="14" y="30"/>
              </a:cxn>
              <a:cxn ang="0">
                <a:pos x="28" y="30"/>
              </a:cxn>
              <a:cxn ang="0">
                <a:pos x="42" y="22"/>
              </a:cxn>
              <a:cxn ang="0">
                <a:pos x="52" y="14"/>
              </a:cxn>
              <a:cxn ang="0">
                <a:pos x="76" y="0"/>
              </a:cxn>
              <a:cxn ang="0">
                <a:pos x="92" y="4"/>
              </a:cxn>
              <a:cxn ang="0">
                <a:pos x="102" y="50"/>
              </a:cxn>
              <a:cxn ang="0">
                <a:pos x="112" y="62"/>
              </a:cxn>
              <a:cxn ang="0">
                <a:pos x="130" y="64"/>
              </a:cxn>
              <a:cxn ang="0">
                <a:pos x="148" y="74"/>
              </a:cxn>
              <a:cxn ang="0">
                <a:pos x="158" y="80"/>
              </a:cxn>
              <a:cxn ang="0">
                <a:pos x="178" y="92"/>
              </a:cxn>
              <a:cxn ang="0">
                <a:pos x="194" y="102"/>
              </a:cxn>
              <a:cxn ang="0">
                <a:pos x="206" y="124"/>
              </a:cxn>
              <a:cxn ang="0">
                <a:pos x="206" y="134"/>
              </a:cxn>
              <a:cxn ang="0">
                <a:pos x="208" y="140"/>
              </a:cxn>
              <a:cxn ang="0">
                <a:pos x="252" y="158"/>
              </a:cxn>
              <a:cxn ang="0">
                <a:pos x="248" y="170"/>
              </a:cxn>
              <a:cxn ang="0">
                <a:pos x="254" y="176"/>
              </a:cxn>
              <a:cxn ang="0">
                <a:pos x="272" y="188"/>
              </a:cxn>
              <a:cxn ang="0">
                <a:pos x="276" y="198"/>
              </a:cxn>
              <a:cxn ang="0">
                <a:pos x="274" y="208"/>
              </a:cxn>
              <a:cxn ang="0">
                <a:pos x="272" y="222"/>
              </a:cxn>
              <a:cxn ang="0">
                <a:pos x="272" y="230"/>
              </a:cxn>
              <a:cxn ang="0">
                <a:pos x="250" y="218"/>
              </a:cxn>
              <a:cxn ang="0">
                <a:pos x="196" y="222"/>
              </a:cxn>
              <a:cxn ang="0">
                <a:pos x="188" y="232"/>
              </a:cxn>
              <a:cxn ang="0">
                <a:pos x="180" y="252"/>
              </a:cxn>
              <a:cxn ang="0">
                <a:pos x="184" y="284"/>
              </a:cxn>
              <a:cxn ang="0">
                <a:pos x="186" y="306"/>
              </a:cxn>
              <a:cxn ang="0">
                <a:pos x="168" y="306"/>
              </a:cxn>
              <a:cxn ang="0">
                <a:pos x="152" y="304"/>
              </a:cxn>
              <a:cxn ang="0">
                <a:pos x="150" y="316"/>
              </a:cxn>
              <a:cxn ang="0">
                <a:pos x="148" y="322"/>
              </a:cxn>
              <a:cxn ang="0">
                <a:pos x="138" y="306"/>
              </a:cxn>
              <a:cxn ang="0">
                <a:pos x="118" y="304"/>
              </a:cxn>
              <a:cxn ang="0">
                <a:pos x="114" y="298"/>
              </a:cxn>
              <a:cxn ang="0">
                <a:pos x="106" y="302"/>
              </a:cxn>
              <a:cxn ang="0">
                <a:pos x="94" y="316"/>
              </a:cxn>
              <a:cxn ang="0">
                <a:pos x="90" y="322"/>
              </a:cxn>
              <a:cxn ang="0">
                <a:pos x="74" y="318"/>
              </a:cxn>
              <a:cxn ang="0">
                <a:pos x="58" y="272"/>
              </a:cxn>
              <a:cxn ang="0">
                <a:pos x="52" y="244"/>
              </a:cxn>
              <a:cxn ang="0">
                <a:pos x="36" y="214"/>
              </a:cxn>
              <a:cxn ang="0">
                <a:pos x="22" y="190"/>
              </a:cxn>
              <a:cxn ang="0">
                <a:pos x="22" y="182"/>
              </a:cxn>
              <a:cxn ang="0">
                <a:pos x="30" y="164"/>
              </a:cxn>
              <a:cxn ang="0">
                <a:pos x="30" y="148"/>
              </a:cxn>
              <a:cxn ang="0">
                <a:pos x="28" y="136"/>
              </a:cxn>
              <a:cxn ang="0">
                <a:pos x="22" y="126"/>
              </a:cxn>
              <a:cxn ang="0">
                <a:pos x="24" y="114"/>
              </a:cxn>
              <a:cxn ang="0">
                <a:pos x="20" y="86"/>
              </a:cxn>
              <a:cxn ang="0">
                <a:pos x="24" y="70"/>
              </a:cxn>
              <a:cxn ang="0">
                <a:pos x="0" y="30"/>
              </a:cxn>
            </a:cxnLst>
            <a:rect l="0" t="0" r="r" b="b"/>
            <a:pathLst>
              <a:path w="276" h="324">
                <a:moveTo>
                  <a:pt x="0" y="30"/>
                </a:moveTo>
                <a:lnTo>
                  <a:pt x="0" y="30"/>
                </a:lnTo>
                <a:lnTo>
                  <a:pt x="8" y="30"/>
                </a:lnTo>
                <a:lnTo>
                  <a:pt x="14" y="30"/>
                </a:lnTo>
                <a:lnTo>
                  <a:pt x="20" y="34"/>
                </a:lnTo>
                <a:lnTo>
                  <a:pt x="24" y="34"/>
                </a:lnTo>
                <a:lnTo>
                  <a:pt x="28" y="30"/>
                </a:lnTo>
                <a:lnTo>
                  <a:pt x="28" y="30"/>
                </a:lnTo>
                <a:lnTo>
                  <a:pt x="34" y="28"/>
                </a:lnTo>
                <a:lnTo>
                  <a:pt x="38" y="28"/>
                </a:lnTo>
                <a:lnTo>
                  <a:pt x="40" y="26"/>
                </a:lnTo>
                <a:lnTo>
                  <a:pt x="42" y="22"/>
                </a:lnTo>
                <a:lnTo>
                  <a:pt x="42" y="22"/>
                </a:lnTo>
                <a:lnTo>
                  <a:pt x="42" y="18"/>
                </a:lnTo>
                <a:lnTo>
                  <a:pt x="46" y="16"/>
                </a:lnTo>
                <a:lnTo>
                  <a:pt x="52" y="14"/>
                </a:lnTo>
                <a:lnTo>
                  <a:pt x="58" y="8"/>
                </a:lnTo>
                <a:lnTo>
                  <a:pt x="58" y="8"/>
                </a:lnTo>
                <a:lnTo>
                  <a:pt x="64" y="4"/>
                </a:lnTo>
                <a:lnTo>
                  <a:pt x="76" y="0"/>
                </a:lnTo>
                <a:lnTo>
                  <a:pt x="86" y="0"/>
                </a:lnTo>
                <a:lnTo>
                  <a:pt x="90" y="0"/>
                </a:lnTo>
                <a:lnTo>
                  <a:pt x="92" y="4"/>
                </a:lnTo>
                <a:lnTo>
                  <a:pt x="92" y="4"/>
                </a:lnTo>
                <a:lnTo>
                  <a:pt x="92" y="30"/>
                </a:lnTo>
                <a:lnTo>
                  <a:pt x="96" y="44"/>
                </a:lnTo>
                <a:lnTo>
                  <a:pt x="98" y="48"/>
                </a:lnTo>
                <a:lnTo>
                  <a:pt x="102" y="50"/>
                </a:lnTo>
                <a:lnTo>
                  <a:pt x="102" y="50"/>
                </a:lnTo>
                <a:lnTo>
                  <a:pt x="106" y="54"/>
                </a:lnTo>
                <a:lnTo>
                  <a:pt x="108" y="58"/>
                </a:lnTo>
                <a:lnTo>
                  <a:pt x="112" y="62"/>
                </a:lnTo>
                <a:lnTo>
                  <a:pt x="116" y="64"/>
                </a:lnTo>
                <a:lnTo>
                  <a:pt x="124" y="64"/>
                </a:lnTo>
                <a:lnTo>
                  <a:pt x="124" y="64"/>
                </a:lnTo>
                <a:lnTo>
                  <a:pt x="130" y="64"/>
                </a:lnTo>
                <a:lnTo>
                  <a:pt x="134" y="64"/>
                </a:lnTo>
                <a:lnTo>
                  <a:pt x="140" y="68"/>
                </a:lnTo>
                <a:lnTo>
                  <a:pt x="144" y="72"/>
                </a:lnTo>
                <a:lnTo>
                  <a:pt x="148" y="74"/>
                </a:lnTo>
                <a:lnTo>
                  <a:pt x="150" y="74"/>
                </a:lnTo>
                <a:lnTo>
                  <a:pt x="150" y="74"/>
                </a:lnTo>
                <a:lnTo>
                  <a:pt x="156" y="76"/>
                </a:lnTo>
                <a:lnTo>
                  <a:pt x="158" y="80"/>
                </a:lnTo>
                <a:lnTo>
                  <a:pt x="160" y="84"/>
                </a:lnTo>
                <a:lnTo>
                  <a:pt x="170" y="88"/>
                </a:lnTo>
                <a:lnTo>
                  <a:pt x="170" y="88"/>
                </a:lnTo>
                <a:lnTo>
                  <a:pt x="178" y="92"/>
                </a:lnTo>
                <a:lnTo>
                  <a:pt x="180" y="94"/>
                </a:lnTo>
                <a:lnTo>
                  <a:pt x="182" y="98"/>
                </a:lnTo>
                <a:lnTo>
                  <a:pt x="194" y="102"/>
                </a:lnTo>
                <a:lnTo>
                  <a:pt x="194" y="102"/>
                </a:lnTo>
                <a:lnTo>
                  <a:pt x="204" y="108"/>
                </a:lnTo>
                <a:lnTo>
                  <a:pt x="206" y="112"/>
                </a:lnTo>
                <a:lnTo>
                  <a:pt x="206" y="116"/>
                </a:lnTo>
                <a:lnTo>
                  <a:pt x="206" y="124"/>
                </a:lnTo>
                <a:lnTo>
                  <a:pt x="206" y="124"/>
                </a:lnTo>
                <a:lnTo>
                  <a:pt x="208" y="128"/>
                </a:lnTo>
                <a:lnTo>
                  <a:pt x="208" y="132"/>
                </a:lnTo>
                <a:lnTo>
                  <a:pt x="206" y="134"/>
                </a:lnTo>
                <a:lnTo>
                  <a:pt x="208" y="138"/>
                </a:lnTo>
                <a:lnTo>
                  <a:pt x="208" y="138"/>
                </a:lnTo>
                <a:lnTo>
                  <a:pt x="208" y="140"/>
                </a:lnTo>
                <a:lnTo>
                  <a:pt x="208" y="140"/>
                </a:lnTo>
                <a:lnTo>
                  <a:pt x="206" y="140"/>
                </a:lnTo>
                <a:lnTo>
                  <a:pt x="208" y="144"/>
                </a:lnTo>
                <a:lnTo>
                  <a:pt x="218" y="158"/>
                </a:lnTo>
                <a:lnTo>
                  <a:pt x="252" y="158"/>
                </a:lnTo>
                <a:lnTo>
                  <a:pt x="252" y="158"/>
                </a:lnTo>
                <a:lnTo>
                  <a:pt x="252" y="162"/>
                </a:lnTo>
                <a:lnTo>
                  <a:pt x="252" y="166"/>
                </a:lnTo>
                <a:lnTo>
                  <a:pt x="248" y="170"/>
                </a:lnTo>
                <a:lnTo>
                  <a:pt x="248" y="172"/>
                </a:lnTo>
                <a:lnTo>
                  <a:pt x="248" y="174"/>
                </a:lnTo>
                <a:lnTo>
                  <a:pt x="254" y="176"/>
                </a:lnTo>
                <a:lnTo>
                  <a:pt x="254" y="176"/>
                </a:lnTo>
                <a:lnTo>
                  <a:pt x="262" y="178"/>
                </a:lnTo>
                <a:lnTo>
                  <a:pt x="266" y="180"/>
                </a:lnTo>
                <a:lnTo>
                  <a:pt x="268" y="184"/>
                </a:lnTo>
                <a:lnTo>
                  <a:pt x="272" y="188"/>
                </a:lnTo>
                <a:lnTo>
                  <a:pt x="272" y="188"/>
                </a:lnTo>
                <a:lnTo>
                  <a:pt x="274" y="190"/>
                </a:lnTo>
                <a:lnTo>
                  <a:pt x="276" y="192"/>
                </a:lnTo>
                <a:lnTo>
                  <a:pt x="276" y="198"/>
                </a:lnTo>
                <a:lnTo>
                  <a:pt x="272" y="202"/>
                </a:lnTo>
                <a:lnTo>
                  <a:pt x="272" y="206"/>
                </a:lnTo>
                <a:lnTo>
                  <a:pt x="274" y="208"/>
                </a:lnTo>
                <a:lnTo>
                  <a:pt x="274" y="208"/>
                </a:lnTo>
                <a:lnTo>
                  <a:pt x="274" y="212"/>
                </a:lnTo>
                <a:lnTo>
                  <a:pt x="272" y="216"/>
                </a:lnTo>
                <a:lnTo>
                  <a:pt x="272" y="220"/>
                </a:lnTo>
                <a:lnTo>
                  <a:pt x="272" y="222"/>
                </a:lnTo>
                <a:lnTo>
                  <a:pt x="272" y="222"/>
                </a:lnTo>
                <a:lnTo>
                  <a:pt x="276" y="228"/>
                </a:lnTo>
                <a:lnTo>
                  <a:pt x="272" y="230"/>
                </a:lnTo>
                <a:lnTo>
                  <a:pt x="272" y="230"/>
                </a:lnTo>
                <a:lnTo>
                  <a:pt x="264" y="226"/>
                </a:lnTo>
                <a:lnTo>
                  <a:pt x="262" y="224"/>
                </a:lnTo>
                <a:lnTo>
                  <a:pt x="260" y="222"/>
                </a:lnTo>
                <a:lnTo>
                  <a:pt x="250" y="218"/>
                </a:lnTo>
                <a:lnTo>
                  <a:pt x="250" y="218"/>
                </a:lnTo>
                <a:lnTo>
                  <a:pt x="238" y="216"/>
                </a:lnTo>
                <a:lnTo>
                  <a:pt x="226" y="216"/>
                </a:lnTo>
                <a:lnTo>
                  <a:pt x="196" y="222"/>
                </a:lnTo>
                <a:lnTo>
                  <a:pt x="196" y="222"/>
                </a:lnTo>
                <a:lnTo>
                  <a:pt x="192" y="224"/>
                </a:lnTo>
                <a:lnTo>
                  <a:pt x="190" y="226"/>
                </a:lnTo>
                <a:lnTo>
                  <a:pt x="188" y="232"/>
                </a:lnTo>
                <a:lnTo>
                  <a:pt x="186" y="240"/>
                </a:lnTo>
                <a:lnTo>
                  <a:pt x="182" y="248"/>
                </a:lnTo>
                <a:lnTo>
                  <a:pt x="182" y="248"/>
                </a:lnTo>
                <a:lnTo>
                  <a:pt x="180" y="252"/>
                </a:lnTo>
                <a:lnTo>
                  <a:pt x="180" y="256"/>
                </a:lnTo>
                <a:lnTo>
                  <a:pt x="182" y="264"/>
                </a:lnTo>
                <a:lnTo>
                  <a:pt x="184" y="274"/>
                </a:lnTo>
                <a:lnTo>
                  <a:pt x="184" y="284"/>
                </a:lnTo>
                <a:lnTo>
                  <a:pt x="184" y="284"/>
                </a:lnTo>
                <a:lnTo>
                  <a:pt x="184" y="298"/>
                </a:lnTo>
                <a:lnTo>
                  <a:pt x="186" y="306"/>
                </a:lnTo>
                <a:lnTo>
                  <a:pt x="186" y="306"/>
                </a:lnTo>
                <a:lnTo>
                  <a:pt x="182" y="306"/>
                </a:lnTo>
                <a:lnTo>
                  <a:pt x="180" y="306"/>
                </a:lnTo>
                <a:lnTo>
                  <a:pt x="176" y="304"/>
                </a:lnTo>
                <a:lnTo>
                  <a:pt x="168" y="306"/>
                </a:lnTo>
                <a:lnTo>
                  <a:pt x="168" y="306"/>
                </a:lnTo>
                <a:lnTo>
                  <a:pt x="162" y="306"/>
                </a:lnTo>
                <a:lnTo>
                  <a:pt x="156" y="304"/>
                </a:lnTo>
                <a:lnTo>
                  <a:pt x="152" y="304"/>
                </a:lnTo>
                <a:lnTo>
                  <a:pt x="150" y="306"/>
                </a:lnTo>
                <a:lnTo>
                  <a:pt x="150" y="306"/>
                </a:lnTo>
                <a:lnTo>
                  <a:pt x="148" y="312"/>
                </a:lnTo>
                <a:lnTo>
                  <a:pt x="150" y="316"/>
                </a:lnTo>
                <a:lnTo>
                  <a:pt x="150" y="318"/>
                </a:lnTo>
                <a:lnTo>
                  <a:pt x="148" y="322"/>
                </a:lnTo>
                <a:lnTo>
                  <a:pt x="148" y="322"/>
                </a:lnTo>
                <a:lnTo>
                  <a:pt x="148" y="322"/>
                </a:lnTo>
                <a:lnTo>
                  <a:pt x="148" y="320"/>
                </a:lnTo>
                <a:lnTo>
                  <a:pt x="146" y="314"/>
                </a:lnTo>
                <a:lnTo>
                  <a:pt x="142" y="308"/>
                </a:lnTo>
                <a:lnTo>
                  <a:pt x="138" y="306"/>
                </a:lnTo>
                <a:lnTo>
                  <a:pt x="134" y="304"/>
                </a:lnTo>
                <a:lnTo>
                  <a:pt x="134" y="304"/>
                </a:lnTo>
                <a:lnTo>
                  <a:pt x="124" y="304"/>
                </a:lnTo>
                <a:lnTo>
                  <a:pt x="118" y="304"/>
                </a:lnTo>
                <a:lnTo>
                  <a:pt x="118" y="304"/>
                </a:lnTo>
                <a:lnTo>
                  <a:pt x="116" y="304"/>
                </a:lnTo>
                <a:lnTo>
                  <a:pt x="116" y="302"/>
                </a:lnTo>
                <a:lnTo>
                  <a:pt x="114" y="298"/>
                </a:lnTo>
                <a:lnTo>
                  <a:pt x="108" y="298"/>
                </a:lnTo>
                <a:lnTo>
                  <a:pt x="108" y="298"/>
                </a:lnTo>
                <a:lnTo>
                  <a:pt x="108" y="300"/>
                </a:lnTo>
                <a:lnTo>
                  <a:pt x="106" y="302"/>
                </a:lnTo>
                <a:lnTo>
                  <a:pt x="100" y="308"/>
                </a:lnTo>
                <a:lnTo>
                  <a:pt x="96" y="312"/>
                </a:lnTo>
                <a:lnTo>
                  <a:pt x="94" y="314"/>
                </a:lnTo>
                <a:lnTo>
                  <a:pt x="94" y="316"/>
                </a:lnTo>
                <a:lnTo>
                  <a:pt x="94" y="316"/>
                </a:lnTo>
                <a:lnTo>
                  <a:pt x="96" y="318"/>
                </a:lnTo>
                <a:lnTo>
                  <a:pt x="94" y="318"/>
                </a:lnTo>
                <a:lnTo>
                  <a:pt x="90" y="322"/>
                </a:lnTo>
                <a:lnTo>
                  <a:pt x="90" y="322"/>
                </a:lnTo>
                <a:lnTo>
                  <a:pt x="80" y="324"/>
                </a:lnTo>
                <a:lnTo>
                  <a:pt x="76" y="322"/>
                </a:lnTo>
                <a:lnTo>
                  <a:pt x="74" y="318"/>
                </a:lnTo>
                <a:lnTo>
                  <a:pt x="72" y="312"/>
                </a:lnTo>
                <a:lnTo>
                  <a:pt x="70" y="296"/>
                </a:lnTo>
                <a:lnTo>
                  <a:pt x="66" y="284"/>
                </a:lnTo>
                <a:lnTo>
                  <a:pt x="58" y="272"/>
                </a:lnTo>
                <a:lnTo>
                  <a:pt x="58" y="272"/>
                </a:lnTo>
                <a:lnTo>
                  <a:pt x="54" y="262"/>
                </a:lnTo>
                <a:lnTo>
                  <a:pt x="52" y="252"/>
                </a:lnTo>
                <a:lnTo>
                  <a:pt x="52" y="244"/>
                </a:lnTo>
                <a:lnTo>
                  <a:pt x="48" y="236"/>
                </a:lnTo>
                <a:lnTo>
                  <a:pt x="48" y="236"/>
                </a:lnTo>
                <a:lnTo>
                  <a:pt x="40" y="222"/>
                </a:lnTo>
                <a:lnTo>
                  <a:pt x="36" y="214"/>
                </a:lnTo>
                <a:lnTo>
                  <a:pt x="30" y="208"/>
                </a:lnTo>
                <a:lnTo>
                  <a:pt x="20" y="198"/>
                </a:lnTo>
                <a:lnTo>
                  <a:pt x="20" y="198"/>
                </a:lnTo>
                <a:lnTo>
                  <a:pt x="22" y="190"/>
                </a:lnTo>
                <a:lnTo>
                  <a:pt x="22" y="188"/>
                </a:lnTo>
                <a:lnTo>
                  <a:pt x="20" y="186"/>
                </a:lnTo>
                <a:lnTo>
                  <a:pt x="22" y="182"/>
                </a:lnTo>
                <a:lnTo>
                  <a:pt x="22" y="182"/>
                </a:lnTo>
                <a:lnTo>
                  <a:pt x="26" y="176"/>
                </a:lnTo>
                <a:lnTo>
                  <a:pt x="26" y="174"/>
                </a:lnTo>
                <a:lnTo>
                  <a:pt x="26" y="170"/>
                </a:lnTo>
                <a:lnTo>
                  <a:pt x="30" y="164"/>
                </a:lnTo>
                <a:lnTo>
                  <a:pt x="30" y="164"/>
                </a:lnTo>
                <a:lnTo>
                  <a:pt x="32" y="158"/>
                </a:lnTo>
                <a:lnTo>
                  <a:pt x="32" y="154"/>
                </a:lnTo>
                <a:lnTo>
                  <a:pt x="30" y="148"/>
                </a:lnTo>
                <a:lnTo>
                  <a:pt x="26" y="142"/>
                </a:lnTo>
                <a:lnTo>
                  <a:pt x="26" y="140"/>
                </a:lnTo>
                <a:lnTo>
                  <a:pt x="28" y="136"/>
                </a:lnTo>
                <a:lnTo>
                  <a:pt x="28" y="136"/>
                </a:lnTo>
                <a:lnTo>
                  <a:pt x="28" y="134"/>
                </a:lnTo>
                <a:lnTo>
                  <a:pt x="28" y="132"/>
                </a:lnTo>
                <a:lnTo>
                  <a:pt x="24" y="128"/>
                </a:lnTo>
                <a:lnTo>
                  <a:pt x="22" y="126"/>
                </a:lnTo>
                <a:lnTo>
                  <a:pt x="20" y="124"/>
                </a:lnTo>
                <a:lnTo>
                  <a:pt x="20" y="120"/>
                </a:lnTo>
                <a:lnTo>
                  <a:pt x="24" y="114"/>
                </a:lnTo>
                <a:lnTo>
                  <a:pt x="24" y="114"/>
                </a:lnTo>
                <a:lnTo>
                  <a:pt x="24" y="110"/>
                </a:lnTo>
                <a:lnTo>
                  <a:pt x="24" y="106"/>
                </a:lnTo>
                <a:lnTo>
                  <a:pt x="22" y="96"/>
                </a:lnTo>
                <a:lnTo>
                  <a:pt x="20" y="86"/>
                </a:lnTo>
                <a:lnTo>
                  <a:pt x="20" y="80"/>
                </a:lnTo>
                <a:lnTo>
                  <a:pt x="22" y="76"/>
                </a:lnTo>
                <a:lnTo>
                  <a:pt x="22" y="76"/>
                </a:lnTo>
                <a:lnTo>
                  <a:pt x="24" y="70"/>
                </a:lnTo>
                <a:lnTo>
                  <a:pt x="26" y="68"/>
                </a:lnTo>
                <a:lnTo>
                  <a:pt x="22" y="58"/>
                </a:lnTo>
                <a:lnTo>
                  <a:pt x="12" y="48"/>
                </a:lnTo>
                <a:lnTo>
                  <a:pt x="0" y="30"/>
                </a:lnTo>
                <a:lnTo>
                  <a:pt x="0" y="30"/>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788" name="Freeform 18"/>
          <p:cNvSpPr>
            <a:spLocks/>
          </p:cNvSpPr>
          <p:nvPr/>
        </p:nvSpPr>
        <p:spPr bwMode="auto">
          <a:xfrm>
            <a:off x="2392510" y="2738832"/>
            <a:ext cx="129893" cy="161605"/>
          </a:xfrm>
          <a:custGeom>
            <a:avLst/>
            <a:gdLst/>
            <a:ahLst/>
            <a:cxnLst>
              <a:cxn ang="0">
                <a:pos x="36" y="0"/>
              </a:cxn>
              <a:cxn ang="0">
                <a:pos x="30" y="4"/>
              </a:cxn>
              <a:cxn ang="0">
                <a:pos x="22" y="8"/>
              </a:cxn>
              <a:cxn ang="0">
                <a:pos x="20" y="10"/>
              </a:cxn>
              <a:cxn ang="0">
                <a:pos x="14" y="12"/>
              </a:cxn>
              <a:cxn ang="0">
                <a:pos x="12" y="14"/>
              </a:cxn>
              <a:cxn ang="0">
                <a:pos x="14" y="18"/>
              </a:cxn>
              <a:cxn ang="0">
                <a:pos x="14" y="24"/>
              </a:cxn>
              <a:cxn ang="0">
                <a:pos x="12" y="28"/>
              </a:cxn>
              <a:cxn ang="0">
                <a:pos x="12" y="32"/>
              </a:cxn>
              <a:cxn ang="0">
                <a:pos x="10" y="40"/>
              </a:cxn>
              <a:cxn ang="0">
                <a:pos x="0" y="64"/>
              </a:cxn>
              <a:cxn ang="0">
                <a:pos x="2" y="66"/>
              </a:cxn>
              <a:cxn ang="0">
                <a:pos x="4" y="66"/>
              </a:cxn>
              <a:cxn ang="0">
                <a:pos x="2" y="70"/>
              </a:cxn>
              <a:cxn ang="0">
                <a:pos x="4" y="70"/>
              </a:cxn>
              <a:cxn ang="0">
                <a:pos x="2" y="72"/>
              </a:cxn>
              <a:cxn ang="0">
                <a:pos x="0" y="78"/>
              </a:cxn>
              <a:cxn ang="0">
                <a:pos x="0" y="80"/>
              </a:cxn>
              <a:cxn ang="0">
                <a:pos x="2" y="84"/>
              </a:cxn>
              <a:cxn ang="0">
                <a:pos x="2" y="86"/>
              </a:cxn>
              <a:cxn ang="0">
                <a:pos x="4" y="88"/>
              </a:cxn>
              <a:cxn ang="0">
                <a:pos x="4" y="92"/>
              </a:cxn>
              <a:cxn ang="0">
                <a:pos x="2" y="92"/>
              </a:cxn>
              <a:cxn ang="0">
                <a:pos x="4" y="94"/>
              </a:cxn>
              <a:cxn ang="0">
                <a:pos x="6" y="96"/>
              </a:cxn>
              <a:cxn ang="0">
                <a:pos x="10" y="100"/>
              </a:cxn>
              <a:cxn ang="0">
                <a:pos x="12" y="94"/>
              </a:cxn>
              <a:cxn ang="0">
                <a:pos x="12" y="92"/>
              </a:cxn>
              <a:cxn ang="0">
                <a:pos x="16" y="90"/>
              </a:cxn>
              <a:cxn ang="0">
                <a:pos x="18" y="92"/>
              </a:cxn>
              <a:cxn ang="0">
                <a:pos x="20" y="96"/>
              </a:cxn>
              <a:cxn ang="0">
                <a:pos x="18" y="104"/>
              </a:cxn>
              <a:cxn ang="0">
                <a:pos x="10" y="118"/>
              </a:cxn>
              <a:cxn ang="0">
                <a:pos x="4" y="122"/>
              </a:cxn>
              <a:cxn ang="0">
                <a:pos x="2" y="130"/>
              </a:cxn>
              <a:cxn ang="0">
                <a:pos x="6" y="136"/>
              </a:cxn>
              <a:cxn ang="0">
                <a:pos x="14" y="134"/>
              </a:cxn>
              <a:cxn ang="0">
                <a:pos x="18" y="134"/>
              </a:cxn>
              <a:cxn ang="0">
                <a:pos x="28" y="140"/>
              </a:cxn>
              <a:cxn ang="0">
                <a:pos x="36" y="140"/>
              </a:cxn>
              <a:cxn ang="0">
                <a:pos x="40" y="136"/>
              </a:cxn>
              <a:cxn ang="0">
                <a:pos x="46" y="128"/>
              </a:cxn>
              <a:cxn ang="0">
                <a:pos x="46" y="120"/>
              </a:cxn>
              <a:cxn ang="0">
                <a:pos x="52" y="116"/>
              </a:cxn>
              <a:cxn ang="0">
                <a:pos x="58" y="110"/>
              </a:cxn>
              <a:cxn ang="0">
                <a:pos x="70" y="104"/>
              </a:cxn>
              <a:cxn ang="0">
                <a:pos x="84" y="96"/>
              </a:cxn>
              <a:cxn ang="0">
                <a:pos x="100" y="78"/>
              </a:cxn>
              <a:cxn ang="0">
                <a:pos x="108" y="68"/>
              </a:cxn>
              <a:cxn ang="0">
                <a:pos x="114" y="52"/>
              </a:cxn>
              <a:cxn ang="0">
                <a:pos x="112" y="36"/>
              </a:cxn>
              <a:cxn ang="0">
                <a:pos x="88" y="24"/>
              </a:cxn>
              <a:cxn ang="0">
                <a:pos x="88" y="26"/>
              </a:cxn>
              <a:cxn ang="0">
                <a:pos x="86" y="26"/>
              </a:cxn>
              <a:cxn ang="0">
                <a:pos x="78" y="26"/>
              </a:cxn>
              <a:cxn ang="0">
                <a:pos x="64" y="18"/>
              </a:cxn>
              <a:cxn ang="0">
                <a:pos x="60" y="12"/>
              </a:cxn>
              <a:cxn ang="0">
                <a:pos x="36" y="0"/>
              </a:cxn>
            </a:cxnLst>
            <a:rect l="0" t="0" r="r" b="b"/>
            <a:pathLst>
              <a:path w="114" h="142">
                <a:moveTo>
                  <a:pt x="36" y="0"/>
                </a:moveTo>
                <a:lnTo>
                  <a:pt x="36" y="0"/>
                </a:lnTo>
                <a:lnTo>
                  <a:pt x="32" y="2"/>
                </a:lnTo>
                <a:lnTo>
                  <a:pt x="30" y="4"/>
                </a:lnTo>
                <a:lnTo>
                  <a:pt x="26" y="6"/>
                </a:lnTo>
                <a:lnTo>
                  <a:pt x="22" y="8"/>
                </a:lnTo>
                <a:lnTo>
                  <a:pt x="22" y="8"/>
                </a:lnTo>
                <a:lnTo>
                  <a:pt x="20" y="10"/>
                </a:lnTo>
                <a:lnTo>
                  <a:pt x="16" y="10"/>
                </a:lnTo>
                <a:lnTo>
                  <a:pt x="14" y="12"/>
                </a:lnTo>
                <a:lnTo>
                  <a:pt x="12" y="14"/>
                </a:lnTo>
                <a:lnTo>
                  <a:pt x="12" y="14"/>
                </a:lnTo>
                <a:lnTo>
                  <a:pt x="12" y="16"/>
                </a:lnTo>
                <a:lnTo>
                  <a:pt x="14" y="18"/>
                </a:lnTo>
                <a:lnTo>
                  <a:pt x="16" y="18"/>
                </a:lnTo>
                <a:lnTo>
                  <a:pt x="14" y="24"/>
                </a:lnTo>
                <a:lnTo>
                  <a:pt x="14" y="24"/>
                </a:lnTo>
                <a:lnTo>
                  <a:pt x="12" y="28"/>
                </a:lnTo>
                <a:lnTo>
                  <a:pt x="12" y="30"/>
                </a:lnTo>
                <a:lnTo>
                  <a:pt x="12" y="32"/>
                </a:lnTo>
                <a:lnTo>
                  <a:pt x="10" y="40"/>
                </a:lnTo>
                <a:lnTo>
                  <a:pt x="10" y="40"/>
                </a:lnTo>
                <a:lnTo>
                  <a:pt x="0" y="58"/>
                </a:lnTo>
                <a:lnTo>
                  <a:pt x="0" y="64"/>
                </a:lnTo>
                <a:lnTo>
                  <a:pt x="0" y="64"/>
                </a:lnTo>
                <a:lnTo>
                  <a:pt x="2" y="66"/>
                </a:lnTo>
                <a:lnTo>
                  <a:pt x="2" y="66"/>
                </a:lnTo>
                <a:lnTo>
                  <a:pt x="4" y="66"/>
                </a:lnTo>
                <a:lnTo>
                  <a:pt x="2" y="68"/>
                </a:lnTo>
                <a:lnTo>
                  <a:pt x="2" y="70"/>
                </a:lnTo>
                <a:lnTo>
                  <a:pt x="4" y="70"/>
                </a:lnTo>
                <a:lnTo>
                  <a:pt x="4" y="70"/>
                </a:lnTo>
                <a:lnTo>
                  <a:pt x="2" y="72"/>
                </a:lnTo>
                <a:lnTo>
                  <a:pt x="2" y="72"/>
                </a:lnTo>
                <a:lnTo>
                  <a:pt x="2" y="74"/>
                </a:lnTo>
                <a:lnTo>
                  <a:pt x="0" y="78"/>
                </a:lnTo>
                <a:lnTo>
                  <a:pt x="0" y="78"/>
                </a:lnTo>
                <a:lnTo>
                  <a:pt x="0" y="80"/>
                </a:lnTo>
                <a:lnTo>
                  <a:pt x="0" y="82"/>
                </a:lnTo>
                <a:lnTo>
                  <a:pt x="2" y="84"/>
                </a:lnTo>
                <a:lnTo>
                  <a:pt x="2" y="86"/>
                </a:lnTo>
                <a:lnTo>
                  <a:pt x="2" y="86"/>
                </a:lnTo>
                <a:lnTo>
                  <a:pt x="2" y="88"/>
                </a:lnTo>
                <a:lnTo>
                  <a:pt x="4" y="88"/>
                </a:lnTo>
                <a:lnTo>
                  <a:pt x="6" y="90"/>
                </a:lnTo>
                <a:lnTo>
                  <a:pt x="4" y="92"/>
                </a:lnTo>
                <a:lnTo>
                  <a:pt x="4" y="92"/>
                </a:lnTo>
                <a:lnTo>
                  <a:pt x="2" y="92"/>
                </a:lnTo>
                <a:lnTo>
                  <a:pt x="2" y="94"/>
                </a:lnTo>
                <a:lnTo>
                  <a:pt x="4" y="94"/>
                </a:lnTo>
                <a:lnTo>
                  <a:pt x="6" y="96"/>
                </a:lnTo>
                <a:lnTo>
                  <a:pt x="6" y="96"/>
                </a:lnTo>
                <a:lnTo>
                  <a:pt x="8" y="100"/>
                </a:lnTo>
                <a:lnTo>
                  <a:pt x="10" y="100"/>
                </a:lnTo>
                <a:lnTo>
                  <a:pt x="12" y="98"/>
                </a:lnTo>
                <a:lnTo>
                  <a:pt x="12" y="94"/>
                </a:lnTo>
                <a:lnTo>
                  <a:pt x="12" y="94"/>
                </a:lnTo>
                <a:lnTo>
                  <a:pt x="12" y="92"/>
                </a:lnTo>
                <a:lnTo>
                  <a:pt x="14" y="90"/>
                </a:lnTo>
                <a:lnTo>
                  <a:pt x="16" y="90"/>
                </a:lnTo>
                <a:lnTo>
                  <a:pt x="18" y="92"/>
                </a:lnTo>
                <a:lnTo>
                  <a:pt x="18" y="92"/>
                </a:lnTo>
                <a:lnTo>
                  <a:pt x="18" y="94"/>
                </a:lnTo>
                <a:lnTo>
                  <a:pt x="20" y="96"/>
                </a:lnTo>
                <a:lnTo>
                  <a:pt x="22" y="98"/>
                </a:lnTo>
                <a:lnTo>
                  <a:pt x="18" y="104"/>
                </a:lnTo>
                <a:lnTo>
                  <a:pt x="18" y="104"/>
                </a:lnTo>
                <a:lnTo>
                  <a:pt x="10" y="118"/>
                </a:lnTo>
                <a:lnTo>
                  <a:pt x="8" y="122"/>
                </a:lnTo>
                <a:lnTo>
                  <a:pt x="4" y="122"/>
                </a:lnTo>
                <a:lnTo>
                  <a:pt x="4" y="122"/>
                </a:lnTo>
                <a:lnTo>
                  <a:pt x="2" y="130"/>
                </a:lnTo>
                <a:lnTo>
                  <a:pt x="4" y="134"/>
                </a:lnTo>
                <a:lnTo>
                  <a:pt x="6" y="136"/>
                </a:lnTo>
                <a:lnTo>
                  <a:pt x="14" y="134"/>
                </a:lnTo>
                <a:lnTo>
                  <a:pt x="14" y="134"/>
                </a:lnTo>
                <a:lnTo>
                  <a:pt x="16" y="134"/>
                </a:lnTo>
                <a:lnTo>
                  <a:pt x="18" y="134"/>
                </a:lnTo>
                <a:lnTo>
                  <a:pt x="24" y="138"/>
                </a:lnTo>
                <a:lnTo>
                  <a:pt x="28" y="140"/>
                </a:lnTo>
                <a:lnTo>
                  <a:pt x="32" y="142"/>
                </a:lnTo>
                <a:lnTo>
                  <a:pt x="36" y="140"/>
                </a:lnTo>
                <a:lnTo>
                  <a:pt x="40" y="136"/>
                </a:lnTo>
                <a:lnTo>
                  <a:pt x="40" y="136"/>
                </a:lnTo>
                <a:lnTo>
                  <a:pt x="44" y="132"/>
                </a:lnTo>
                <a:lnTo>
                  <a:pt x="46" y="128"/>
                </a:lnTo>
                <a:lnTo>
                  <a:pt x="46" y="124"/>
                </a:lnTo>
                <a:lnTo>
                  <a:pt x="46" y="120"/>
                </a:lnTo>
                <a:lnTo>
                  <a:pt x="52" y="116"/>
                </a:lnTo>
                <a:lnTo>
                  <a:pt x="52" y="116"/>
                </a:lnTo>
                <a:lnTo>
                  <a:pt x="56" y="112"/>
                </a:lnTo>
                <a:lnTo>
                  <a:pt x="58" y="110"/>
                </a:lnTo>
                <a:lnTo>
                  <a:pt x="60" y="108"/>
                </a:lnTo>
                <a:lnTo>
                  <a:pt x="70" y="104"/>
                </a:lnTo>
                <a:lnTo>
                  <a:pt x="70" y="104"/>
                </a:lnTo>
                <a:lnTo>
                  <a:pt x="84" y="96"/>
                </a:lnTo>
                <a:lnTo>
                  <a:pt x="94" y="88"/>
                </a:lnTo>
                <a:lnTo>
                  <a:pt x="100" y="78"/>
                </a:lnTo>
                <a:lnTo>
                  <a:pt x="108" y="68"/>
                </a:lnTo>
                <a:lnTo>
                  <a:pt x="108" y="68"/>
                </a:lnTo>
                <a:lnTo>
                  <a:pt x="114" y="60"/>
                </a:lnTo>
                <a:lnTo>
                  <a:pt x="114" y="52"/>
                </a:lnTo>
                <a:lnTo>
                  <a:pt x="112" y="36"/>
                </a:lnTo>
                <a:lnTo>
                  <a:pt x="112" y="36"/>
                </a:lnTo>
                <a:lnTo>
                  <a:pt x="94" y="26"/>
                </a:lnTo>
                <a:lnTo>
                  <a:pt x="88" y="24"/>
                </a:lnTo>
                <a:lnTo>
                  <a:pt x="86" y="24"/>
                </a:lnTo>
                <a:lnTo>
                  <a:pt x="88" y="26"/>
                </a:lnTo>
                <a:lnTo>
                  <a:pt x="88" y="26"/>
                </a:lnTo>
                <a:lnTo>
                  <a:pt x="86" y="26"/>
                </a:lnTo>
                <a:lnTo>
                  <a:pt x="86" y="28"/>
                </a:lnTo>
                <a:lnTo>
                  <a:pt x="78" y="26"/>
                </a:lnTo>
                <a:lnTo>
                  <a:pt x="70" y="22"/>
                </a:lnTo>
                <a:lnTo>
                  <a:pt x="64" y="18"/>
                </a:lnTo>
                <a:lnTo>
                  <a:pt x="64" y="18"/>
                </a:lnTo>
                <a:lnTo>
                  <a:pt x="60" y="12"/>
                </a:lnTo>
                <a:lnTo>
                  <a:pt x="54" y="8"/>
                </a:lnTo>
                <a:lnTo>
                  <a:pt x="36" y="0"/>
                </a:lnTo>
                <a:lnTo>
                  <a:pt x="36" y="0"/>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789" name="Freeform 19"/>
          <p:cNvSpPr>
            <a:spLocks/>
          </p:cNvSpPr>
          <p:nvPr/>
        </p:nvSpPr>
        <p:spPr bwMode="auto">
          <a:xfrm>
            <a:off x="3021466" y="2597712"/>
            <a:ext cx="77479" cy="116083"/>
          </a:xfrm>
          <a:custGeom>
            <a:avLst/>
            <a:gdLst/>
            <a:ahLst/>
            <a:cxnLst>
              <a:cxn ang="0">
                <a:pos x="68" y="38"/>
              </a:cxn>
              <a:cxn ang="0">
                <a:pos x="64" y="32"/>
              </a:cxn>
              <a:cxn ang="0">
                <a:pos x="62" y="26"/>
              </a:cxn>
              <a:cxn ang="0">
                <a:pos x="60" y="24"/>
              </a:cxn>
              <a:cxn ang="0">
                <a:pos x="56" y="22"/>
              </a:cxn>
              <a:cxn ang="0">
                <a:pos x="54" y="18"/>
              </a:cxn>
              <a:cxn ang="0">
                <a:pos x="50" y="16"/>
              </a:cxn>
              <a:cxn ang="0">
                <a:pos x="46" y="14"/>
              </a:cxn>
              <a:cxn ang="0">
                <a:pos x="42" y="10"/>
              </a:cxn>
              <a:cxn ang="0">
                <a:pos x="32" y="6"/>
              </a:cxn>
              <a:cxn ang="0">
                <a:pos x="28" y="4"/>
              </a:cxn>
              <a:cxn ang="0">
                <a:pos x="24" y="0"/>
              </a:cxn>
              <a:cxn ang="0">
                <a:pos x="20" y="2"/>
              </a:cxn>
              <a:cxn ang="0">
                <a:pos x="6" y="18"/>
              </a:cxn>
              <a:cxn ang="0">
                <a:pos x="4" y="32"/>
              </a:cxn>
              <a:cxn ang="0">
                <a:pos x="6" y="36"/>
              </a:cxn>
              <a:cxn ang="0">
                <a:pos x="4" y="42"/>
              </a:cxn>
              <a:cxn ang="0">
                <a:pos x="8" y="46"/>
              </a:cxn>
              <a:cxn ang="0">
                <a:pos x="12" y="60"/>
              </a:cxn>
              <a:cxn ang="0">
                <a:pos x="14" y="64"/>
              </a:cxn>
              <a:cxn ang="0">
                <a:pos x="10" y="72"/>
              </a:cxn>
              <a:cxn ang="0">
                <a:pos x="10" y="76"/>
              </a:cxn>
              <a:cxn ang="0">
                <a:pos x="8" y="84"/>
              </a:cxn>
              <a:cxn ang="0">
                <a:pos x="0" y="94"/>
              </a:cxn>
              <a:cxn ang="0">
                <a:pos x="4" y="96"/>
              </a:cxn>
              <a:cxn ang="0">
                <a:pos x="6" y="96"/>
              </a:cxn>
              <a:cxn ang="0">
                <a:pos x="10" y="98"/>
              </a:cxn>
              <a:cxn ang="0">
                <a:pos x="14" y="98"/>
              </a:cxn>
              <a:cxn ang="0">
                <a:pos x="18" y="98"/>
              </a:cxn>
              <a:cxn ang="0">
                <a:pos x="22" y="102"/>
              </a:cxn>
              <a:cxn ang="0">
                <a:pos x="30" y="100"/>
              </a:cxn>
              <a:cxn ang="0">
                <a:pos x="40" y="96"/>
              </a:cxn>
              <a:cxn ang="0">
                <a:pos x="40" y="92"/>
              </a:cxn>
              <a:cxn ang="0">
                <a:pos x="44" y="88"/>
              </a:cxn>
              <a:cxn ang="0">
                <a:pos x="48" y="80"/>
              </a:cxn>
              <a:cxn ang="0">
                <a:pos x="50" y="72"/>
              </a:cxn>
              <a:cxn ang="0">
                <a:pos x="56" y="66"/>
              </a:cxn>
              <a:cxn ang="0">
                <a:pos x="56" y="64"/>
              </a:cxn>
              <a:cxn ang="0">
                <a:pos x="60" y="56"/>
              </a:cxn>
              <a:cxn ang="0">
                <a:pos x="62" y="50"/>
              </a:cxn>
              <a:cxn ang="0">
                <a:pos x="62" y="44"/>
              </a:cxn>
              <a:cxn ang="0">
                <a:pos x="66" y="42"/>
              </a:cxn>
              <a:cxn ang="0">
                <a:pos x="68" y="38"/>
              </a:cxn>
            </a:cxnLst>
            <a:rect l="0" t="0" r="r" b="b"/>
            <a:pathLst>
              <a:path w="68" h="102">
                <a:moveTo>
                  <a:pt x="68" y="38"/>
                </a:moveTo>
                <a:lnTo>
                  <a:pt x="68" y="38"/>
                </a:lnTo>
                <a:lnTo>
                  <a:pt x="66" y="34"/>
                </a:lnTo>
                <a:lnTo>
                  <a:pt x="64" y="32"/>
                </a:lnTo>
                <a:lnTo>
                  <a:pt x="62" y="30"/>
                </a:lnTo>
                <a:lnTo>
                  <a:pt x="62" y="26"/>
                </a:lnTo>
                <a:lnTo>
                  <a:pt x="62" y="26"/>
                </a:lnTo>
                <a:lnTo>
                  <a:pt x="60" y="24"/>
                </a:lnTo>
                <a:lnTo>
                  <a:pt x="58" y="24"/>
                </a:lnTo>
                <a:lnTo>
                  <a:pt x="56" y="22"/>
                </a:lnTo>
                <a:lnTo>
                  <a:pt x="54" y="18"/>
                </a:lnTo>
                <a:lnTo>
                  <a:pt x="54" y="18"/>
                </a:lnTo>
                <a:lnTo>
                  <a:pt x="52" y="16"/>
                </a:lnTo>
                <a:lnTo>
                  <a:pt x="50" y="16"/>
                </a:lnTo>
                <a:lnTo>
                  <a:pt x="50" y="16"/>
                </a:lnTo>
                <a:lnTo>
                  <a:pt x="46" y="14"/>
                </a:lnTo>
                <a:lnTo>
                  <a:pt x="46" y="14"/>
                </a:lnTo>
                <a:lnTo>
                  <a:pt x="42" y="10"/>
                </a:lnTo>
                <a:lnTo>
                  <a:pt x="36" y="8"/>
                </a:lnTo>
                <a:lnTo>
                  <a:pt x="32" y="6"/>
                </a:lnTo>
                <a:lnTo>
                  <a:pt x="28" y="4"/>
                </a:lnTo>
                <a:lnTo>
                  <a:pt x="28" y="4"/>
                </a:lnTo>
                <a:lnTo>
                  <a:pt x="26" y="0"/>
                </a:lnTo>
                <a:lnTo>
                  <a:pt x="24" y="0"/>
                </a:lnTo>
                <a:lnTo>
                  <a:pt x="20" y="2"/>
                </a:lnTo>
                <a:lnTo>
                  <a:pt x="20" y="2"/>
                </a:lnTo>
                <a:lnTo>
                  <a:pt x="12" y="10"/>
                </a:lnTo>
                <a:lnTo>
                  <a:pt x="6" y="18"/>
                </a:lnTo>
                <a:lnTo>
                  <a:pt x="4" y="26"/>
                </a:lnTo>
                <a:lnTo>
                  <a:pt x="4" y="32"/>
                </a:lnTo>
                <a:lnTo>
                  <a:pt x="4" y="32"/>
                </a:lnTo>
                <a:lnTo>
                  <a:pt x="6" y="36"/>
                </a:lnTo>
                <a:lnTo>
                  <a:pt x="6" y="38"/>
                </a:lnTo>
                <a:lnTo>
                  <a:pt x="4" y="42"/>
                </a:lnTo>
                <a:lnTo>
                  <a:pt x="8" y="46"/>
                </a:lnTo>
                <a:lnTo>
                  <a:pt x="8" y="46"/>
                </a:lnTo>
                <a:lnTo>
                  <a:pt x="10" y="52"/>
                </a:lnTo>
                <a:lnTo>
                  <a:pt x="12" y="60"/>
                </a:lnTo>
                <a:lnTo>
                  <a:pt x="12" y="60"/>
                </a:lnTo>
                <a:lnTo>
                  <a:pt x="14" y="64"/>
                </a:lnTo>
                <a:lnTo>
                  <a:pt x="12" y="68"/>
                </a:lnTo>
                <a:lnTo>
                  <a:pt x="10" y="72"/>
                </a:lnTo>
                <a:lnTo>
                  <a:pt x="10" y="76"/>
                </a:lnTo>
                <a:lnTo>
                  <a:pt x="10" y="76"/>
                </a:lnTo>
                <a:lnTo>
                  <a:pt x="10" y="80"/>
                </a:lnTo>
                <a:lnTo>
                  <a:pt x="8" y="84"/>
                </a:lnTo>
                <a:lnTo>
                  <a:pt x="4" y="88"/>
                </a:lnTo>
                <a:lnTo>
                  <a:pt x="0" y="94"/>
                </a:lnTo>
                <a:lnTo>
                  <a:pt x="0" y="94"/>
                </a:lnTo>
                <a:lnTo>
                  <a:pt x="4" y="96"/>
                </a:lnTo>
                <a:lnTo>
                  <a:pt x="6" y="96"/>
                </a:lnTo>
                <a:lnTo>
                  <a:pt x="6" y="96"/>
                </a:lnTo>
                <a:lnTo>
                  <a:pt x="10" y="96"/>
                </a:lnTo>
                <a:lnTo>
                  <a:pt x="10" y="98"/>
                </a:lnTo>
                <a:lnTo>
                  <a:pt x="12" y="98"/>
                </a:lnTo>
                <a:lnTo>
                  <a:pt x="14" y="98"/>
                </a:lnTo>
                <a:lnTo>
                  <a:pt x="14" y="98"/>
                </a:lnTo>
                <a:lnTo>
                  <a:pt x="18" y="98"/>
                </a:lnTo>
                <a:lnTo>
                  <a:pt x="20" y="102"/>
                </a:lnTo>
                <a:lnTo>
                  <a:pt x="22" y="102"/>
                </a:lnTo>
                <a:lnTo>
                  <a:pt x="30" y="100"/>
                </a:lnTo>
                <a:lnTo>
                  <a:pt x="30" y="100"/>
                </a:lnTo>
                <a:lnTo>
                  <a:pt x="38" y="98"/>
                </a:lnTo>
                <a:lnTo>
                  <a:pt x="40" y="96"/>
                </a:lnTo>
                <a:lnTo>
                  <a:pt x="40" y="92"/>
                </a:lnTo>
                <a:lnTo>
                  <a:pt x="40" y="92"/>
                </a:lnTo>
                <a:lnTo>
                  <a:pt x="42" y="88"/>
                </a:lnTo>
                <a:lnTo>
                  <a:pt x="44" y="88"/>
                </a:lnTo>
                <a:lnTo>
                  <a:pt x="46" y="86"/>
                </a:lnTo>
                <a:lnTo>
                  <a:pt x="48" y="80"/>
                </a:lnTo>
                <a:lnTo>
                  <a:pt x="48" y="80"/>
                </a:lnTo>
                <a:lnTo>
                  <a:pt x="50" y="72"/>
                </a:lnTo>
                <a:lnTo>
                  <a:pt x="54" y="68"/>
                </a:lnTo>
                <a:lnTo>
                  <a:pt x="56" y="66"/>
                </a:lnTo>
                <a:lnTo>
                  <a:pt x="56" y="64"/>
                </a:lnTo>
                <a:lnTo>
                  <a:pt x="56" y="64"/>
                </a:lnTo>
                <a:lnTo>
                  <a:pt x="58" y="58"/>
                </a:lnTo>
                <a:lnTo>
                  <a:pt x="60" y="56"/>
                </a:lnTo>
                <a:lnTo>
                  <a:pt x="62" y="54"/>
                </a:lnTo>
                <a:lnTo>
                  <a:pt x="62" y="50"/>
                </a:lnTo>
                <a:lnTo>
                  <a:pt x="62" y="50"/>
                </a:lnTo>
                <a:lnTo>
                  <a:pt x="62" y="44"/>
                </a:lnTo>
                <a:lnTo>
                  <a:pt x="64" y="44"/>
                </a:lnTo>
                <a:lnTo>
                  <a:pt x="66" y="42"/>
                </a:lnTo>
                <a:lnTo>
                  <a:pt x="68" y="38"/>
                </a:lnTo>
                <a:lnTo>
                  <a:pt x="68" y="38"/>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790" name="Freeform 20"/>
          <p:cNvSpPr>
            <a:spLocks/>
          </p:cNvSpPr>
          <p:nvPr/>
        </p:nvSpPr>
        <p:spPr bwMode="auto">
          <a:xfrm>
            <a:off x="2939428" y="2590885"/>
            <a:ext cx="104826" cy="125187"/>
          </a:xfrm>
          <a:custGeom>
            <a:avLst/>
            <a:gdLst/>
            <a:ahLst/>
            <a:cxnLst>
              <a:cxn ang="0">
                <a:pos x="72" y="100"/>
              </a:cxn>
              <a:cxn ang="0">
                <a:pos x="80" y="90"/>
              </a:cxn>
              <a:cxn ang="0">
                <a:pos x="82" y="82"/>
              </a:cxn>
              <a:cxn ang="0">
                <a:pos x="82" y="78"/>
              </a:cxn>
              <a:cxn ang="0">
                <a:pos x="86" y="70"/>
              </a:cxn>
              <a:cxn ang="0">
                <a:pos x="84" y="66"/>
              </a:cxn>
              <a:cxn ang="0">
                <a:pos x="80" y="52"/>
              </a:cxn>
              <a:cxn ang="0">
                <a:pos x="76" y="48"/>
              </a:cxn>
              <a:cxn ang="0">
                <a:pos x="78" y="42"/>
              </a:cxn>
              <a:cxn ang="0">
                <a:pos x="76" y="38"/>
              </a:cxn>
              <a:cxn ang="0">
                <a:pos x="78" y="24"/>
              </a:cxn>
              <a:cxn ang="0">
                <a:pos x="92" y="8"/>
              </a:cxn>
              <a:cxn ang="0">
                <a:pos x="90" y="4"/>
              </a:cxn>
              <a:cxn ang="0">
                <a:pos x="80" y="2"/>
              </a:cxn>
              <a:cxn ang="0">
                <a:pos x="76" y="2"/>
              </a:cxn>
              <a:cxn ang="0">
                <a:pos x="70" y="2"/>
              </a:cxn>
              <a:cxn ang="0">
                <a:pos x="62" y="4"/>
              </a:cxn>
              <a:cxn ang="0">
                <a:pos x="60" y="4"/>
              </a:cxn>
              <a:cxn ang="0">
                <a:pos x="56" y="4"/>
              </a:cxn>
              <a:cxn ang="0">
                <a:pos x="50" y="4"/>
              </a:cxn>
              <a:cxn ang="0">
                <a:pos x="44" y="4"/>
              </a:cxn>
              <a:cxn ang="0">
                <a:pos x="30" y="0"/>
              </a:cxn>
              <a:cxn ang="0">
                <a:pos x="24" y="4"/>
              </a:cxn>
              <a:cxn ang="0">
                <a:pos x="16" y="14"/>
              </a:cxn>
              <a:cxn ang="0">
                <a:pos x="12" y="20"/>
              </a:cxn>
              <a:cxn ang="0">
                <a:pos x="12" y="26"/>
              </a:cxn>
              <a:cxn ang="0">
                <a:pos x="8" y="28"/>
              </a:cxn>
              <a:cxn ang="0">
                <a:pos x="2" y="32"/>
              </a:cxn>
              <a:cxn ang="0">
                <a:pos x="2" y="42"/>
              </a:cxn>
              <a:cxn ang="0">
                <a:pos x="0" y="50"/>
              </a:cxn>
              <a:cxn ang="0">
                <a:pos x="4" y="60"/>
              </a:cxn>
              <a:cxn ang="0">
                <a:pos x="4" y="66"/>
              </a:cxn>
              <a:cxn ang="0">
                <a:pos x="6" y="68"/>
              </a:cxn>
              <a:cxn ang="0">
                <a:pos x="12" y="72"/>
              </a:cxn>
              <a:cxn ang="0">
                <a:pos x="16" y="80"/>
              </a:cxn>
              <a:cxn ang="0">
                <a:pos x="20" y="86"/>
              </a:cxn>
              <a:cxn ang="0">
                <a:pos x="24" y="96"/>
              </a:cxn>
              <a:cxn ang="0">
                <a:pos x="28" y="106"/>
              </a:cxn>
              <a:cxn ang="0">
                <a:pos x="32" y="108"/>
              </a:cxn>
              <a:cxn ang="0">
                <a:pos x="50" y="108"/>
              </a:cxn>
              <a:cxn ang="0">
                <a:pos x="46" y="104"/>
              </a:cxn>
              <a:cxn ang="0">
                <a:pos x="48" y="100"/>
              </a:cxn>
              <a:cxn ang="0">
                <a:pos x="50" y="102"/>
              </a:cxn>
              <a:cxn ang="0">
                <a:pos x="56" y="102"/>
              </a:cxn>
              <a:cxn ang="0">
                <a:pos x="58" y="102"/>
              </a:cxn>
              <a:cxn ang="0">
                <a:pos x="60" y="98"/>
              </a:cxn>
              <a:cxn ang="0">
                <a:pos x="64" y="96"/>
              </a:cxn>
              <a:cxn ang="0">
                <a:pos x="68" y="98"/>
              </a:cxn>
              <a:cxn ang="0">
                <a:pos x="72" y="100"/>
              </a:cxn>
            </a:cxnLst>
            <a:rect l="0" t="0" r="r" b="b"/>
            <a:pathLst>
              <a:path w="92" h="110">
                <a:moveTo>
                  <a:pt x="72" y="100"/>
                </a:moveTo>
                <a:lnTo>
                  <a:pt x="72" y="100"/>
                </a:lnTo>
                <a:lnTo>
                  <a:pt x="76" y="94"/>
                </a:lnTo>
                <a:lnTo>
                  <a:pt x="80" y="90"/>
                </a:lnTo>
                <a:lnTo>
                  <a:pt x="82" y="86"/>
                </a:lnTo>
                <a:lnTo>
                  <a:pt x="82" y="82"/>
                </a:lnTo>
                <a:lnTo>
                  <a:pt x="82" y="82"/>
                </a:lnTo>
                <a:lnTo>
                  <a:pt x="82" y="78"/>
                </a:lnTo>
                <a:lnTo>
                  <a:pt x="84" y="74"/>
                </a:lnTo>
                <a:lnTo>
                  <a:pt x="86" y="70"/>
                </a:lnTo>
                <a:lnTo>
                  <a:pt x="84" y="66"/>
                </a:lnTo>
                <a:lnTo>
                  <a:pt x="84" y="66"/>
                </a:lnTo>
                <a:lnTo>
                  <a:pt x="82" y="58"/>
                </a:lnTo>
                <a:lnTo>
                  <a:pt x="80" y="52"/>
                </a:lnTo>
                <a:lnTo>
                  <a:pt x="80" y="52"/>
                </a:lnTo>
                <a:lnTo>
                  <a:pt x="76" y="48"/>
                </a:lnTo>
                <a:lnTo>
                  <a:pt x="78" y="44"/>
                </a:lnTo>
                <a:lnTo>
                  <a:pt x="78" y="42"/>
                </a:lnTo>
                <a:lnTo>
                  <a:pt x="76" y="38"/>
                </a:lnTo>
                <a:lnTo>
                  <a:pt x="76" y="38"/>
                </a:lnTo>
                <a:lnTo>
                  <a:pt x="76" y="32"/>
                </a:lnTo>
                <a:lnTo>
                  <a:pt x="78" y="24"/>
                </a:lnTo>
                <a:lnTo>
                  <a:pt x="84" y="16"/>
                </a:lnTo>
                <a:lnTo>
                  <a:pt x="92" y="8"/>
                </a:lnTo>
                <a:lnTo>
                  <a:pt x="92" y="8"/>
                </a:lnTo>
                <a:lnTo>
                  <a:pt x="90" y="4"/>
                </a:lnTo>
                <a:lnTo>
                  <a:pt x="86" y="2"/>
                </a:lnTo>
                <a:lnTo>
                  <a:pt x="80" y="2"/>
                </a:lnTo>
                <a:lnTo>
                  <a:pt x="76" y="2"/>
                </a:lnTo>
                <a:lnTo>
                  <a:pt x="76" y="2"/>
                </a:lnTo>
                <a:lnTo>
                  <a:pt x="74" y="2"/>
                </a:lnTo>
                <a:lnTo>
                  <a:pt x="70" y="2"/>
                </a:lnTo>
                <a:lnTo>
                  <a:pt x="66" y="2"/>
                </a:lnTo>
                <a:lnTo>
                  <a:pt x="62" y="4"/>
                </a:lnTo>
                <a:lnTo>
                  <a:pt x="62" y="4"/>
                </a:lnTo>
                <a:lnTo>
                  <a:pt x="60" y="4"/>
                </a:lnTo>
                <a:lnTo>
                  <a:pt x="58" y="4"/>
                </a:lnTo>
                <a:lnTo>
                  <a:pt x="56" y="4"/>
                </a:lnTo>
                <a:lnTo>
                  <a:pt x="50" y="4"/>
                </a:lnTo>
                <a:lnTo>
                  <a:pt x="50" y="4"/>
                </a:lnTo>
                <a:lnTo>
                  <a:pt x="48" y="6"/>
                </a:lnTo>
                <a:lnTo>
                  <a:pt x="44" y="4"/>
                </a:lnTo>
                <a:lnTo>
                  <a:pt x="38" y="2"/>
                </a:lnTo>
                <a:lnTo>
                  <a:pt x="30" y="0"/>
                </a:lnTo>
                <a:lnTo>
                  <a:pt x="26" y="0"/>
                </a:lnTo>
                <a:lnTo>
                  <a:pt x="24" y="4"/>
                </a:lnTo>
                <a:lnTo>
                  <a:pt x="24" y="4"/>
                </a:lnTo>
                <a:lnTo>
                  <a:pt x="16" y="14"/>
                </a:lnTo>
                <a:lnTo>
                  <a:pt x="16" y="14"/>
                </a:lnTo>
                <a:lnTo>
                  <a:pt x="12" y="20"/>
                </a:lnTo>
                <a:lnTo>
                  <a:pt x="12" y="24"/>
                </a:lnTo>
                <a:lnTo>
                  <a:pt x="12" y="26"/>
                </a:lnTo>
                <a:lnTo>
                  <a:pt x="8" y="28"/>
                </a:lnTo>
                <a:lnTo>
                  <a:pt x="8" y="28"/>
                </a:lnTo>
                <a:lnTo>
                  <a:pt x="4" y="30"/>
                </a:lnTo>
                <a:lnTo>
                  <a:pt x="2" y="32"/>
                </a:lnTo>
                <a:lnTo>
                  <a:pt x="4" y="34"/>
                </a:lnTo>
                <a:lnTo>
                  <a:pt x="2" y="42"/>
                </a:lnTo>
                <a:lnTo>
                  <a:pt x="2" y="42"/>
                </a:lnTo>
                <a:lnTo>
                  <a:pt x="0" y="50"/>
                </a:lnTo>
                <a:lnTo>
                  <a:pt x="2" y="56"/>
                </a:lnTo>
                <a:lnTo>
                  <a:pt x="4" y="60"/>
                </a:lnTo>
                <a:lnTo>
                  <a:pt x="4" y="66"/>
                </a:lnTo>
                <a:lnTo>
                  <a:pt x="4" y="66"/>
                </a:lnTo>
                <a:lnTo>
                  <a:pt x="6" y="68"/>
                </a:lnTo>
                <a:lnTo>
                  <a:pt x="6" y="68"/>
                </a:lnTo>
                <a:lnTo>
                  <a:pt x="10" y="68"/>
                </a:lnTo>
                <a:lnTo>
                  <a:pt x="12" y="72"/>
                </a:lnTo>
                <a:lnTo>
                  <a:pt x="12" y="72"/>
                </a:lnTo>
                <a:lnTo>
                  <a:pt x="16" y="80"/>
                </a:lnTo>
                <a:lnTo>
                  <a:pt x="20" y="86"/>
                </a:lnTo>
                <a:lnTo>
                  <a:pt x="20" y="86"/>
                </a:lnTo>
                <a:lnTo>
                  <a:pt x="22" y="90"/>
                </a:lnTo>
                <a:lnTo>
                  <a:pt x="24" y="96"/>
                </a:lnTo>
                <a:lnTo>
                  <a:pt x="26" y="104"/>
                </a:lnTo>
                <a:lnTo>
                  <a:pt x="28" y="106"/>
                </a:lnTo>
                <a:lnTo>
                  <a:pt x="32" y="108"/>
                </a:lnTo>
                <a:lnTo>
                  <a:pt x="32" y="108"/>
                </a:lnTo>
                <a:lnTo>
                  <a:pt x="46" y="110"/>
                </a:lnTo>
                <a:lnTo>
                  <a:pt x="50" y="108"/>
                </a:lnTo>
                <a:lnTo>
                  <a:pt x="50" y="106"/>
                </a:lnTo>
                <a:lnTo>
                  <a:pt x="46" y="104"/>
                </a:lnTo>
                <a:lnTo>
                  <a:pt x="44" y="102"/>
                </a:lnTo>
                <a:lnTo>
                  <a:pt x="48" y="100"/>
                </a:lnTo>
                <a:lnTo>
                  <a:pt x="48" y="100"/>
                </a:lnTo>
                <a:lnTo>
                  <a:pt x="50" y="102"/>
                </a:lnTo>
                <a:lnTo>
                  <a:pt x="52" y="102"/>
                </a:lnTo>
                <a:lnTo>
                  <a:pt x="56" y="102"/>
                </a:lnTo>
                <a:lnTo>
                  <a:pt x="56" y="102"/>
                </a:lnTo>
                <a:lnTo>
                  <a:pt x="58" y="102"/>
                </a:lnTo>
                <a:lnTo>
                  <a:pt x="60" y="100"/>
                </a:lnTo>
                <a:lnTo>
                  <a:pt x="60" y="98"/>
                </a:lnTo>
                <a:lnTo>
                  <a:pt x="64" y="96"/>
                </a:lnTo>
                <a:lnTo>
                  <a:pt x="64" y="96"/>
                </a:lnTo>
                <a:lnTo>
                  <a:pt x="66" y="98"/>
                </a:lnTo>
                <a:lnTo>
                  <a:pt x="68" y="98"/>
                </a:lnTo>
                <a:lnTo>
                  <a:pt x="68" y="100"/>
                </a:lnTo>
                <a:lnTo>
                  <a:pt x="72" y="100"/>
                </a:lnTo>
                <a:lnTo>
                  <a:pt x="72" y="100"/>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791" name="Freeform 21"/>
          <p:cNvSpPr>
            <a:spLocks/>
          </p:cNvSpPr>
          <p:nvPr/>
        </p:nvSpPr>
        <p:spPr bwMode="auto">
          <a:xfrm>
            <a:off x="2864226" y="2522601"/>
            <a:ext cx="111663" cy="211680"/>
          </a:xfrm>
          <a:custGeom>
            <a:avLst/>
            <a:gdLst/>
            <a:ahLst/>
            <a:cxnLst>
              <a:cxn ang="0">
                <a:pos x="36" y="0"/>
              </a:cxn>
              <a:cxn ang="0">
                <a:pos x="56" y="12"/>
              </a:cxn>
              <a:cxn ang="0">
                <a:pos x="66" y="30"/>
              </a:cxn>
              <a:cxn ang="0">
                <a:pos x="66" y="36"/>
              </a:cxn>
              <a:cxn ang="0">
                <a:pos x="76" y="40"/>
              </a:cxn>
              <a:cxn ang="0">
                <a:pos x="82" y="52"/>
              </a:cxn>
              <a:cxn ang="0">
                <a:pos x="88" y="54"/>
              </a:cxn>
              <a:cxn ang="0">
                <a:pos x="82" y="74"/>
              </a:cxn>
              <a:cxn ang="0">
                <a:pos x="78" y="84"/>
              </a:cxn>
              <a:cxn ang="0">
                <a:pos x="74" y="88"/>
              </a:cxn>
              <a:cxn ang="0">
                <a:pos x="70" y="94"/>
              </a:cxn>
              <a:cxn ang="0">
                <a:pos x="66" y="110"/>
              </a:cxn>
              <a:cxn ang="0">
                <a:pos x="70" y="126"/>
              </a:cxn>
              <a:cxn ang="0">
                <a:pos x="72" y="128"/>
              </a:cxn>
              <a:cxn ang="0">
                <a:pos x="78" y="132"/>
              </a:cxn>
              <a:cxn ang="0">
                <a:pos x="86" y="146"/>
              </a:cxn>
              <a:cxn ang="0">
                <a:pos x="92" y="164"/>
              </a:cxn>
              <a:cxn ang="0">
                <a:pos x="98" y="168"/>
              </a:cxn>
              <a:cxn ang="0">
                <a:pos x="86" y="166"/>
              </a:cxn>
              <a:cxn ang="0">
                <a:pos x="84" y="166"/>
              </a:cxn>
              <a:cxn ang="0">
                <a:pos x="72" y="174"/>
              </a:cxn>
              <a:cxn ang="0">
                <a:pos x="60" y="180"/>
              </a:cxn>
              <a:cxn ang="0">
                <a:pos x="56" y="182"/>
              </a:cxn>
              <a:cxn ang="0">
                <a:pos x="52" y="186"/>
              </a:cxn>
              <a:cxn ang="0">
                <a:pos x="42" y="180"/>
              </a:cxn>
              <a:cxn ang="0">
                <a:pos x="40" y="172"/>
              </a:cxn>
              <a:cxn ang="0">
                <a:pos x="34" y="160"/>
              </a:cxn>
              <a:cxn ang="0">
                <a:pos x="30" y="152"/>
              </a:cxn>
              <a:cxn ang="0">
                <a:pos x="30" y="146"/>
              </a:cxn>
              <a:cxn ang="0">
                <a:pos x="28" y="138"/>
              </a:cxn>
              <a:cxn ang="0">
                <a:pos x="30" y="132"/>
              </a:cxn>
              <a:cxn ang="0">
                <a:pos x="32" y="120"/>
              </a:cxn>
              <a:cxn ang="0">
                <a:pos x="38" y="110"/>
              </a:cxn>
              <a:cxn ang="0">
                <a:pos x="34" y="104"/>
              </a:cxn>
              <a:cxn ang="0">
                <a:pos x="32" y="98"/>
              </a:cxn>
              <a:cxn ang="0">
                <a:pos x="24" y="96"/>
              </a:cxn>
              <a:cxn ang="0">
                <a:pos x="26" y="86"/>
              </a:cxn>
              <a:cxn ang="0">
                <a:pos x="14" y="84"/>
              </a:cxn>
              <a:cxn ang="0">
                <a:pos x="2" y="64"/>
              </a:cxn>
              <a:cxn ang="0">
                <a:pos x="2" y="56"/>
              </a:cxn>
              <a:cxn ang="0">
                <a:pos x="6" y="46"/>
              </a:cxn>
              <a:cxn ang="0">
                <a:pos x="6" y="40"/>
              </a:cxn>
              <a:cxn ang="0">
                <a:pos x="20" y="32"/>
              </a:cxn>
              <a:cxn ang="0">
                <a:pos x="14" y="26"/>
              </a:cxn>
              <a:cxn ang="0">
                <a:pos x="10" y="26"/>
              </a:cxn>
              <a:cxn ang="0">
                <a:pos x="12" y="20"/>
              </a:cxn>
              <a:cxn ang="0">
                <a:pos x="14" y="14"/>
              </a:cxn>
              <a:cxn ang="0">
                <a:pos x="18" y="10"/>
              </a:cxn>
              <a:cxn ang="0">
                <a:pos x="30" y="8"/>
              </a:cxn>
              <a:cxn ang="0">
                <a:pos x="30" y="2"/>
              </a:cxn>
            </a:cxnLst>
            <a:rect l="0" t="0" r="r" b="b"/>
            <a:pathLst>
              <a:path w="98" h="186">
                <a:moveTo>
                  <a:pt x="30" y="2"/>
                </a:moveTo>
                <a:lnTo>
                  <a:pt x="30" y="2"/>
                </a:lnTo>
                <a:lnTo>
                  <a:pt x="36" y="0"/>
                </a:lnTo>
                <a:lnTo>
                  <a:pt x="40" y="0"/>
                </a:lnTo>
                <a:lnTo>
                  <a:pt x="56" y="12"/>
                </a:lnTo>
                <a:lnTo>
                  <a:pt x="56" y="12"/>
                </a:lnTo>
                <a:lnTo>
                  <a:pt x="64" y="20"/>
                </a:lnTo>
                <a:lnTo>
                  <a:pt x="66" y="24"/>
                </a:lnTo>
                <a:lnTo>
                  <a:pt x="66" y="30"/>
                </a:lnTo>
                <a:lnTo>
                  <a:pt x="62" y="38"/>
                </a:lnTo>
                <a:lnTo>
                  <a:pt x="62" y="38"/>
                </a:lnTo>
                <a:lnTo>
                  <a:pt x="66" y="36"/>
                </a:lnTo>
                <a:lnTo>
                  <a:pt x="70" y="36"/>
                </a:lnTo>
                <a:lnTo>
                  <a:pt x="76" y="40"/>
                </a:lnTo>
                <a:lnTo>
                  <a:pt x="76" y="40"/>
                </a:lnTo>
                <a:lnTo>
                  <a:pt x="80" y="46"/>
                </a:lnTo>
                <a:lnTo>
                  <a:pt x="82" y="48"/>
                </a:lnTo>
                <a:lnTo>
                  <a:pt x="82" y="52"/>
                </a:lnTo>
                <a:lnTo>
                  <a:pt x="86" y="52"/>
                </a:lnTo>
                <a:lnTo>
                  <a:pt x="86" y="52"/>
                </a:lnTo>
                <a:lnTo>
                  <a:pt x="88" y="54"/>
                </a:lnTo>
                <a:lnTo>
                  <a:pt x="88" y="56"/>
                </a:lnTo>
                <a:lnTo>
                  <a:pt x="86" y="64"/>
                </a:lnTo>
                <a:lnTo>
                  <a:pt x="82" y="74"/>
                </a:lnTo>
                <a:lnTo>
                  <a:pt x="82" y="74"/>
                </a:lnTo>
                <a:lnTo>
                  <a:pt x="78" y="80"/>
                </a:lnTo>
                <a:lnTo>
                  <a:pt x="78" y="84"/>
                </a:lnTo>
                <a:lnTo>
                  <a:pt x="78" y="86"/>
                </a:lnTo>
                <a:lnTo>
                  <a:pt x="74" y="88"/>
                </a:lnTo>
                <a:lnTo>
                  <a:pt x="74" y="88"/>
                </a:lnTo>
                <a:lnTo>
                  <a:pt x="70" y="90"/>
                </a:lnTo>
                <a:lnTo>
                  <a:pt x="68" y="92"/>
                </a:lnTo>
                <a:lnTo>
                  <a:pt x="70" y="94"/>
                </a:lnTo>
                <a:lnTo>
                  <a:pt x="68" y="102"/>
                </a:lnTo>
                <a:lnTo>
                  <a:pt x="68" y="102"/>
                </a:lnTo>
                <a:lnTo>
                  <a:pt x="66" y="110"/>
                </a:lnTo>
                <a:lnTo>
                  <a:pt x="68" y="116"/>
                </a:lnTo>
                <a:lnTo>
                  <a:pt x="70" y="120"/>
                </a:lnTo>
                <a:lnTo>
                  <a:pt x="70" y="126"/>
                </a:lnTo>
                <a:lnTo>
                  <a:pt x="70" y="126"/>
                </a:lnTo>
                <a:lnTo>
                  <a:pt x="72" y="128"/>
                </a:lnTo>
                <a:lnTo>
                  <a:pt x="72" y="128"/>
                </a:lnTo>
                <a:lnTo>
                  <a:pt x="76" y="128"/>
                </a:lnTo>
                <a:lnTo>
                  <a:pt x="78" y="132"/>
                </a:lnTo>
                <a:lnTo>
                  <a:pt x="78" y="132"/>
                </a:lnTo>
                <a:lnTo>
                  <a:pt x="82" y="140"/>
                </a:lnTo>
                <a:lnTo>
                  <a:pt x="86" y="146"/>
                </a:lnTo>
                <a:lnTo>
                  <a:pt x="86" y="146"/>
                </a:lnTo>
                <a:lnTo>
                  <a:pt x="88" y="150"/>
                </a:lnTo>
                <a:lnTo>
                  <a:pt x="90" y="156"/>
                </a:lnTo>
                <a:lnTo>
                  <a:pt x="92" y="164"/>
                </a:lnTo>
                <a:lnTo>
                  <a:pt x="94" y="166"/>
                </a:lnTo>
                <a:lnTo>
                  <a:pt x="98" y="168"/>
                </a:lnTo>
                <a:lnTo>
                  <a:pt x="98" y="168"/>
                </a:lnTo>
                <a:lnTo>
                  <a:pt x="90" y="170"/>
                </a:lnTo>
                <a:lnTo>
                  <a:pt x="88" y="168"/>
                </a:lnTo>
                <a:lnTo>
                  <a:pt x="86" y="166"/>
                </a:lnTo>
                <a:lnTo>
                  <a:pt x="86" y="166"/>
                </a:lnTo>
                <a:lnTo>
                  <a:pt x="86" y="166"/>
                </a:lnTo>
                <a:lnTo>
                  <a:pt x="84" y="166"/>
                </a:lnTo>
                <a:lnTo>
                  <a:pt x="82" y="168"/>
                </a:lnTo>
                <a:lnTo>
                  <a:pt x="80" y="170"/>
                </a:lnTo>
                <a:lnTo>
                  <a:pt x="72" y="174"/>
                </a:lnTo>
                <a:lnTo>
                  <a:pt x="72" y="174"/>
                </a:lnTo>
                <a:lnTo>
                  <a:pt x="64" y="176"/>
                </a:lnTo>
                <a:lnTo>
                  <a:pt x="60" y="180"/>
                </a:lnTo>
                <a:lnTo>
                  <a:pt x="60" y="184"/>
                </a:lnTo>
                <a:lnTo>
                  <a:pt x="60" y="184"/>
                </a:lnTo>
                <a:lnTo>
                  <a:pt x="56" y="182"/>
                </a:lnTo>
                <a:lnTo>
                  <a:pt x="54" y="184"/>
                </a:lnTo>
                <a:lnTo>
                  <a:pt x="52" y="186"/>
                </a:lnTo>
                <a:lnTo>
                  <a:pt x="52" y="186"/>
                </a:lnTo>
                <a:lnTo>
                  <a:pt x="48" y="184"/>
                </a:lnTo>
                <a:lnTo>
                  <a:pt x="46" y="182"/>
                </a:lnTo>
                <a:lnTo>
                  <a:pt x="42" y="180"/>
                </a:lnTo>
                <a:lnTo>
                  <a:pt x="40" y="174"/>
                </a:lnTo>
                <a:lnTo>
                  <a:pt x="40" y="174"/>
                </a:lnTo>
                <a:lnTo>
                  <a:pt x="40" y="172"/>
                </a:lnTo>
                <a:lnTo>
                  <a:pt x="38" y="170"/>
                </a:lnTo>
                <a:lnTo>
                  <a:pt x="36" y="168"/>
                </a:lnTo>
                <a:lnTo>
                  <a:pt x="34" y="160"/>
                </a:lnTo>
                <a:lnTo>
                  <a:pt x="34" y="160"/>
                </a:lnTo>
                <a:lnTo>
                  <a:pt x="32" y="154"/>
                </a:lnTo>
                <a:lnTo>
                  <a:pt x="30" y="152"/>
                </a:lnTo>
                <a:lnTo>
                  <a:pt x="28" y="150"/>
                </a:lnTo>
                <a:lnTo>
                  <a:pt x="30" y="146"/>
                </a:lnTo>
                <a:lnTo>
                  <a:pt x="30" y="146"/>
                </a:lnTo>
                <a:lnTo>
                  <a:pt x="32" y="144"/>
                </a:lnTo>
                <a:lnTo>
                  <a:pt x="30" y="140"/>
                </a:lnTo>
                <a:lnTo>
                  <a:pt x="28" y="138"/>
                </a:lnTo>
                <a:lnTo>
                  <a:pt x="28" y="134"/>
                </a:lnTo>
                <a:lnTo>
                  <a:pt x="28" y="134"/>
                </a:lnTo>
                <a:lnTo>
                  <a:pt x="30" y="132"/>
                </a:lnTo>
                <a:lnTo>
                  <a:pt x="28" y="130"/>
                </a:lnTo>
                <a:lnTo>
                  <a:pt x="28" y="126"/>
                </a:lnTo>
                <a:lnTo>
                  <a:pt x="32" y="120"/>
                </a:lnTo>
                <a:lnTo>
                  <a:pt x="32" y="120"/>
                </a:lnTo>
                <a:lnTo>
                  <a:pt x="38" y="112"/>
                </a:lnTo>
                <a:lnTo>
                  <a:pt x="38" y="110"/>
                </a:lnTo>
                <a:lnTo>
                  <a:pt x="38" y="110"/>
                </a:lnTo>
                <a:lnTo>
                  <a:pt x="34" y="108"/>
                </a:lnTo>
                <a:lnTo>
                  <a:pt x="34" y="104"/>
                </a:lnTo>
                <a:lnTo>
                  <a:pt x="32" y="100"/>
                </a:lnTo>
                <a:lnTo>
                  <a:pt x="32" y="100"/>
                </a:lnTo>
                <a:lnTo>
                  <a:pt x="32" y="98"/>
                </a:lnTo>
                <a:lnTo>
                  <a:pt x="32" y="96"/>
                </a:lnTo>
                <a:lnTo>
                  <a:pt x="28" y="96"/>
                </a:lnTo>
                <a:lnTo>
                  <a:pt x="24" y="96"/>
                </a:lnTo>
                <a:lnTo>
                  <a:pt x="26" y="92"/>
                </a:lnTo>
                <a:lnTo>
                  <a:pt x="26" y="92"/>
                </a:lnTo>
                <a:lnTo>
                  <a:pt x="26" y="86"/>
                </a:lnTo>
                <a:lnTo>
                  <a:pt x="24" y="86"/>
                </a:lnTo>
                <a:lnTo>
                  <a:pt x="20" y="86"/>
                </a:lnTo>
                <a:lnTo>
                  <a:pt x="14" y="84"/>
                </a:lnTo>
                <a:lnTo>
                  <a:pt x="14" y="84"/>
                </a:lnTo>
                <a:lnTo>
                  <a:pt x="4" y="70"/>
                </a:lnTo>
                <a:lnTo>
                  <a:pt x="2" y="64"/>
                </a:lnTo>
                <a:lnTo>
                  <a:pt x="0" y="60"/>
                </a:lnTo>
                <a:lnTo>
                  <a:pt x="0" y="60"/>
                </a:lnTo>
                <a:lnTo>
                  <a:pt x="2" y="56"/>
                </a:lnTo>
                <a:lnTo>
                  <a:pt x="4" y="52"/>
                </a:lnTo>
                <a:lnTo>
                  <a:pt x="8" y="50"/>
                </a:lnTo>
                <a:lnTo>
                  <a:pt x="6" y="46"/>
                </a:lnTo>
                <a:lnTo>
                  <a:pt x="6" y="46"/>
                </a:lnTo>
                <a:lnTo>
                  <a:pt x="6" y="42"/>
                </a:lnTo>
                <a:lnTo>
                  <a:pt x="6" y="40"/>
                </a:lnTo>
                <a:lnTo>
                  <a:pt x="16" y="34"/>
                </a:lnTo>
                <a:lnTo>
                  <a:pt x="16" y="34"/>
                </a:lnTo>
                <a:lnTo>
                  <a:pt x="20" y="32"/>
                </a:lnTo>
                <a:lnTo>
                  <a:pt x="20" y="28"/>
                </a:lnTo>
                <a:lnTo>
                  <a:pt x="18" y="26"/>
                </a:lnTo>
                <a:lnTo>
                  <a:pt x="14" y="26"/>
                </a:lnTo>
                <a:lnTo>
                  <a:pt x="14" y="26"/>
                </a:lnTo>
                <a:lnTo>
                  <a:pt x="10" y="28"/>
                </a:lnTo>
                <a:lnTo>
                  <a:pt x="10" y="26"/>
                </a:lnTo>
                <a:lnTo>
                  <a:pt x="12" y="24"/>
                </a:lnTo>
                <a:lnTo>
                  <a:pt x="12" y="20"/>
                </a:lnTo>
                <a:lnTo>
                  <a:pt x="12" y="20"/>
                </a:lnTo>
                <a:lnTo>
                  <a:pt x="12" y="18"/>
                </a:lnTo>
                <a:lnTo>
                  <a:pt x="12" y="16"/>
                </a:lnTo>
                <a:lnTo>
                  <a:pt x="14" y="14"/>
                </a:lnTo>
                <a:lnTo>
                  <a:pt x="16" y="12"/>
                </a:lnTo>
                <a:lnTo>
                  <a:pt x="16" y="12"/>
                </a:lnTo>
                <a:lnTo>
                  <a:pt x="18" y="10"/>
                </a:lnTo>
                <a:lnTo>
                  <a:pt x="20" y="8"/>
                </a:lnTo>
                <a:lnTo>
                  <a:pt x="26" y="8"/>
                </a:lnTo>
                <a:lnTo>
                  <a:pt x="30" y="8"/>
                </a:lnTo>
                <a:lnTo>
                  <a:pt x="30" y="6"/>
                </a:lnTo>
                <a:lnTo>
                  <a:pt x="30" y="2"/>
                </a:lnTo>
                <a:lnTo>
                  <a:pt x="30" y="2"/>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792" name="Freeform 24"/>
          <p:cNvSpPr>
            <a:spLocks/>
          </p:cNvSpPr>
          <p:nvPr/>
        </p:nvSpPr>
        <p:spPr bwMode="auto">
          <a:xfrm>
            <a:off x="2905245" y="4156858"/>
            <a:ext cx="70644" cy="59180"/>
          </a:xfrm>
          <a:custGeom>
            <a:avLst/>
            <a:gdLst/>
            <a:ahLst/>
            <a:cxnLst>
              <a:cxn ang="0">
                <a:pos x="52" y="44"/>
              </a:cxn>
              <a:cxn ang="0">
                <a:pos x="40" y="40"/>
              </a:cxn>
              <a:cxn ang="0">
                <a:pos x="34" y="40"/>
              </a:cxn>
              <a:cxn ang="0">
                <a:pos x="30" y="42"/>
              </a:cxn>
              <a:cxn ang="0">
                <a:pos x="30" y="46"/>
              </a:cxn>
              <a:cxn ang="0">
                <a:pos x="34" y="48"/>
              </a:cxn>
              <a:cxn ang="0">
                <a:pos x="38" y="52"/>
              </a:cxn>
              <a:cxn ang="0">
                <a:pos x="32" y="50"/>
              </a:cxn>
              <a:cxn ang="0">
                <a:pos x="22" y="48"/>
              </a:cxn>
              <a:cxn ang="0">
                <a:pos x="24" y="44"/>
              </a:cxn>
              <a:cxn ang="0">
                <a:pos x="26" y="44"/>
              </a:cxn>
              <a:cxn ang="0">
                <a:pos x="18" y="42"/>
              </a:cxn>
              <a:cxn ang="0">
                <a:pos x="16" y="38"/>
              </a:cxn>
              <a:cxn ang="0">
                <a:pos x="10" y="40"/>
              </a:cxn>
              <a:cxn ang="0">
                <a:pos x="8" y="40"/>
              </a:cxn>
              <a:cxn ang="0">
                <a:pos x="4" y="42"/>
              </a:cxn>
              <a:cxn ang="0">
                <a:pos x="0" y="38"/>
              </a:cxn>
              <a:cxn ang="0">
                <a:pos x="6" y="34"/>
              </a:cxn>
              <a:cxn ang="0">
                <a:pos x="14" y="34"/>
              </a:cxn>
              <a:cxn ang="0">
                <a:pos x="20" y="36"/>
              </a:cxn>
              <a:cxn ang="0">
                <a:pos x="22" y="36"/>
              </a:cxn>
              <a:cxn ang="0">
                <a:pos x="16" y="28"/>
              </a:cxn>
              <a:cxn ang="0">
                <a:pos x="14" y="26"/>
              </a:cxn>
              <a:cxn ang="0">
                <a:pos x="16" y="24"/>
              </a:cxn>
              <a:cxn ang="0">
                <a:pos x="14" y="20"/>
              </a:cxn>
              <a:cxn ang="0">
                <a:pos x="20" y="24"/>
              </a:cxn>
              <a:cxn ang="0">
                <a:pos x="20" y="28"/>
              </a:cxn>
              <a:cxn ang="0">
                <a:pos x="24" y="32"/>
              </a:cxn>
              <a:cxn ang="0">
                <a:pos x="26" y="32"/>
              </a:cxn>
              <a:cxn ang="0">
                <a:pos x="30" y="36"/>
              </a:cxn>
              <a:cxn ang="0">
                <a:pos x="30" y="32"/>
              </a:cxn>
              <a:cxn ang="0">
                <a:pos x="34" y="32"/>
              </a:cxn>
              <a:cxn ang="0">
                <a:pos x="38" y="30"/>
              </a:cxn>
              <a:cxn ang="0">
                <a:pos x="42" y="32"/>
              </a:cxn>
              <a:cxn ang="0">
                <a:pos x="46" y="32"/>
              </a:cxn>
              <a:cxn ang="0">
                <a:pos x="50" y="32"/>
              </a:cxn>
              <a:cxn ang="0">
                <a:pos x="30" y="26"/>
              </a:cxn>
              <a:cxn ang="0">
                <a:pos x="26" y="20"/>
              </a:cxn>
              <a:cxn ang="0">
                <a:pos x="36" y="16"/>
              </a:cxn>
              <a:cxn ang="0">
                <a:pos x="24" y="16"/>
              </a:cxn>
              <a:cxn ang="0">
                <a:pos x="18" y="14"/>
              </a:cxn>
              <a:cxn ang="0">
                <a:pos x="18" y="10"/>
              </a:cxn>
              <a:cxn ang="0">
                <a:pos x="16" y="6"/>
              </a:cxn>
              <a:cxn ang="0">
                <a:pos x="24" y="8"/>
              </a:cxn>
              <a:cxn ang="0">
                <a:pos x="26" y="2"/>
              </a:cxn>
              <a:cxn ang="0">
                <a:pos x="32" y="2"/>
              </a:cxn>
              <a:cxn ang="0">
                <a:pos x="38" y="6"/>
              </a:cxn>
              <a:cxn ang="0">
                <a:pos x="62" y="44"/>
              </a:cxn>
            </a:cxnLst>
            <a:rect l="0" t="0" r="r" b="b"/>
            <a:pathLst>
              <a:path w="62" h="52">
                <a:moveTo>
                  <a:pt x="62" y="44"/>
                </a:moveTo>
                <a:lnTo>
                  <a:pt x="62" y="44"/>
                </a:lnTo>
                <a:lnTo>
                  <a:pt x="56" y="46"/>
                </a:lnTo>
                <a:lnTo>
                  <a:pt x="52" y="44"/>
                </a:lnTo>
                <a:lnTo>
                  <a:pt x="52" y="44"/>
                </a:lnTo>
                <a:lnTo>
                  <a:pt x="46" y="40"/>
                </a:lnTo>
                <a:lnTo>
                  <a:pt x="42" y="40"/>
                </a:lnTo>
                <a:lnTo>
                  <a:pt x="40" y="40"/>
                </a:lnTo>
                <a:lnTo>
                  <a:pt x="40" y="40"/>
                </a:lnTo>
                <a:lnTo>
                  <a:pt x="38" y="42"/>
                </a:lnTo>
                <a:lnTo>
                  <a:pt x="34" y="40"/>
                </a:lnTo>
                <a:lnTo>
                  <a:pt x="34" y="40"/>
                </a:lnTo>
                <a:lnTo>
                  <a:pt x="28" y="40"/>
                </a:lnTo>
                <a:lnTo>
                  <a:pt x="26" y="42"/>
                </a:lnTo>
                <a:lnTo>
                  <a:pt x="26" y="42"/>
                </a:lnTo>
                <a:lnTo>
                  <a:pt x="30" y="42"/>
                </a:lnTo>
                <a:lnTo>
                  <a:pt x="32" y="42"/>
                </a:lnTo>
                <a:lnTo>
                  <a:pt x="32" y="44"/>
                </a:lnTo>
                <a:lnTo>
                  <a:pt x="32" y="44"/>
                </a:lnTo>
                <a:lnTo>
                  <a:pt x="30" y="46"/>
                </a:lnTo>
                <a:lnTo>
                  <a:pt x="30" y="46"/>
                </a:lnTo>
                <a:lnTo>
                  <a:pt x="30" y="46"/>
                </a:lnTo>
                <a:lnTo>
                  <a:pt x="30" y="48"/>
                </a:lnTo>
                <a:lnTo>
                  <a:pt x="34" y="48"/>
                </a:lnTo>
                <a:lnTo>
                  <a:pt x="36" y="50"/>
                </a:lnTo>
                <a:lnTo>
                  <a:pt x="38" y="52"/>
                </a:lnTo>
                <a:lnTo>
                  <a:pt x="38" y="52"/>
                </a:lnTo>
                <a:lnTo>
                  <a:pt x="38" y="52"/>
                </a:lnTo>
                <a:lnTo>
                  <a:pt x="36" y="52"/>
                </a:lnTo>
                <a:lnTo>
                  <a:pt x="34" y="50"/>
                </a:lnTo>
                <a:lnTo>
                  <a:pt x="32" y="50"/>
                </a:lnTo>
                <a:lnTo>
                  <a:pt x="32" y="50"/>
                </a:lnTo>
                <a:lnTo>
                  <a:pt x="30" y="52"/>
                </a:lnTo>
                <a:lnTo>
                  <a:pt x="24" y="50"/>
                </a:lnTo>
                <a:lnTo>
                  <a:pt x="24" y="50"/>
                </a:lnTo>
                <a:lnTo>
                  <a:pt x="22" y="48"/>
                </a:lnTo>
                <a:lnTo>
                  <a:pt x="22" y="46"/>
                </a:lnTo>
                <a:lnTo>
                  <a:pt x="22" y="46"/>
                </a:lnTo>
                <a:lnTo>
                  <a:pt x="24" y="44"/>
                </a:lnTo>
                <a:lnTo>
                  <a:pt x="24" y="44"/>
                </a:lnTo>
                <a:lnTo>
                  <a:pt x="24" y="46"/>
                </a:lnTo>
                <a:lnTo>
                  <a:pt x="26" y="46"/>
                </a:lnTo>
                <a:lnTo>
                  <a:pt x="26" y="46"/>
                </a:lnTo>
                <a:lnTo>
                  <a:pt x="26" y="44"/>
                </a:lnTo>
                <a:lnTo>
                  <a:pt x="24" y="42"/>
                </a:lnTo>
                <a:lnTo>
                  <a:pt x="20" y="40"/>
                </a:lnTo>
                <a:lnTo>
                  <a:pt x="20" y="40"/>
                </a:lnTo>
                <a:lnTo>
                  <a:pt x="18" y="42"/>
                </a:lnTo>
                <a:lnTo>
                  <a:pt x="16" y="42"/>
                </a:lnTo>
                <a:lnTo>
                  <a:pt x="16" y="40"/>
                </a:lnTo>
                <a:lnTo>
                  <a:pt x="16" y="40"/>
                </a:lnTo>
                <a:lnTo>
                  <a:pt x="16" y="38"/>
                </a:lnTo>
                <a:lnTo>
                  <a:pt x="14" y="38"/>
                </a:lnTo>
                <a:lnTo>
                  <a:pt x="12" y="40"/>
                </a:lnTo>
                <a:lnTo>
                  <a:pt x="12" y="40"/>
                </a:lnTo>
                <a:lnTo>
                  <a:pt x="10" y="40"/>
                </a:lnTo>
                <a:lnTo>
                  <a:pt x="10" y="40"/>
                </a:lnTo>
                <a:lnTo>
                  <a:pt x="8" y="36"/>
                </a:lnTo>
                <a:lnTo>
                  <a:pt x="8" y="36"/>
                </a:lnTo>
                <a:lnTo>
                  <a:pt x="8" y="40"/>
                </a:lnTo>
                <a:lnTo>
                  <a:pt x="8" y="42"/>
                </a:lnTo>
                <a:lnTo>
                  <a:pt x="6" y="42"/>
                </a:lnTo>
                <a:lnTo>
                  <a:pt x="6" y="42"/>
                </a:lnTo>
                <a:lnTo>
                  <a:pt x="4" y="42"/>
                </a:lnTo>
                <a:lnTo>
                  <a:pt x="2" y="40"/>
                </a:lnTo>
                <a:lnTo>
                  <a:pt x="2" y="40"/>
                </a:lnTo>
                <a:lnTo>
                  <a:pt x="0" y="40"/>
                </a:lnTo>
                <a:lnTo>
                  <a:pt x="0" y="38"/>
                </a:lnTo>
                <a:lnTo>
                  <a:pt x="0" y="38"/>
                </a:lnTo>
                <a:lnTo>
                  <a:pt x="4" y="36"/>
                </a:lnTo>
                <a:lnTo>
                  <a:pt x="6" y="34"/>
                </a:lnTo>
                <a:lnTo>
                  <a:pt x="6" y="34"/>
                </a:lnTo>
                <a:lnTo>
                  <a:pt x="8" y="34"/>
                </a:lnTo>
                <a:lnTo>
                  <a:pt x="10" y="34"/>
                </a:lnTo>
                <a:lnTo>
                  <a:pt x="10" y="34"/>
                </a:lnTo>
                <a:lnTo>
                  <a:pt x="14" y="34"/>
                </a:lnTo>
                <a:lnTo>
                  <a:pt x="18" y="34"/>
                </a:lnTo>
                <a:lnTo>
                  <a:pt x="18" y="34"/>
                </a:lnTo>
                <a:lnTo>
                  <a:pt x="18" y="36"/>
                </a:lnTo>
                <a:lnTo>
                  <a:pt x="20" y="36"/>
                </a:lnTo>
                <a:lnTo>
                  <a:pt x="20" y="36"/>
                </a:lnTo>
                <a:lnTo>
                  <a:pt x="20" y="36"/>
                </a:lnTo>
                <a:lnTo>
                  <a:pt x="22" y="36"/>
                </a:lnTo>
                <a:lnTo>
                  <a:pt x="22" y="36"/>
                </a:lnTo>
                <a:lnTo>
                  <a:pt x="22" y="34"/>
                </a:lnTo>
                <a:lnTo>
                  <a:pt x="22" y="34"/>
                </a:lnTo>
                <a:lnTo>
                  <a:pt x="18" y="30"/>
                </a:lnTo>
                <a:lnTo>
                  <a:pt x="16" y="28"/>
                </a:lnTo>
                <a:lnTo>
                  <a:pt x="16" y="28"/>
                </a:lnTo>
                <a:lnTo>
                  <a:pt x="16" y="28"/>
                </a:lnTo>
                <a:lnTo>
                  <a:pt x="16" y="28"/>
                </a:lnTo>
                <a:lnTo>
                  <a:pt x="14" y="26"/>
                </a:lnTo>
                <a:lnTo>
                  <a:pt x="14" y="24"/>
                </a:lnTo>
                <a:lnTo>
                  <a:pt x="16" y="24"/>
                </a:lnTo>
                <a:lnTo>
                  <a:pt x="16" y="24"/>
                </a:lnTo>
                <a:lnTo>
                  <a:pt x="16" y="24"/>
                </a:lnTo>
                <a:lnTo>
                  <a:pt x="16" y="22"/>
                </a:lnTo>
                <a:lnTo>
                  <a:pt x="14" y="20"/>
                </a:lnTo>
                <a:lnTo>
                  <a:pt x="14" y="20"/>
                </a:lnTo>
                <a:lnTo>
                  <a:pt x="14" y="20"/>
                </a:lnTo>
                <a:lnTo>
                  <a:pt x="16" y="18"/>
                </a:lnTo>
                <a:lnTo>
                  <a:pt x="18" y="22"/>
                </a:lnTo>
                <a:lnTo>
                  <a:pt x="18" y="22"/>
                </a:lnTo>
                <a:lnTo>
                  <a:pt x="20" y="24"/>
                </a:lnTo>
                <a:lnTo>
                  <a:pt x="20" y="26"/>
                </a:lnTo>
                <a:lnTo>
                  <a:pt x="20" y="26"/>
                </a:lnTo>
                <a:lnTo>
                  <a:pt x="20" y="28"/>
                </a:lnTo>
                <a:lnTo>
                  <a:pt x="20" y="28"/>
                </a:lnTo>
                <a:lnTo>
                  <a:pt x="22" y="30"/>
                </a:lnTo>
                <a:lnTo>
                  <a:pt x="22" y="30"/>
                </a:lnTo>
                <a:lnTo>
                  <a:pt x="24" y="32"/>
                </a:lnTo>
                <a:lnTo>
                  <a:pt x="24" y="32"/>
                </a:lnTo>
                <a:lnTo>
                  <a:pt x="26" y="32"/>
                </a:lnTo>
                <a:lnTo>
                  <a:pt x="26" y="32"/>
                </a:lnTo>
                <a:lnTo>
                  <a:pt x="26" y="32"/>
                </a:lnTo>
                <a:lnTo>
                  <a:pt x="26" y="32"/>
                </a:lnTo>
                <a:lnTo>
                  <a:pt x="28" y="34"/>
                </a:lnTo>
                <a:lnTo>
                  <a:pt x="28" y="36"/>
                </a:lnTo>
                <a:lnTo>
                  <a:pt x="30" y="36"/>
                </a:lnTo>
                <a:lnTo>
                  <a:pt x="30" y="36"/>
                </a:lnTo>
                <a:lnTo>
                  <a:pt x="30" y="36"/>
                </a:lnTo>
                <a:lnTo>
                  <a:pt x="30" y="36"/>
                </a:lnTo>
                <a:lnTo>
                  <a:pt x="30" y="34"/>
                </a:lnTo>
                <a:lnTo>
                  <a:pt x="30" y="32"/>
                </a:lnTo>
                <a:lnTo>
                  <a:pt x="30" y="32"/>
                </a:lnTo>
                <a:lnTo>
                  <a:pt x="32" y="30"/>
                </a:lnTo>
                <a:lnTo>
                  <a:pt x="34" y="30"/>
                </a:lnTo>
                <a:lnTo>
                  <a:pt x="34" y="32"/>
                </a:lnTo>
                <a:lnTo>
                  <a:pt x="34" y="32"/>
                </a:lnTo>
                <a:lnTo>
                  <a:pt x="36" y="32"/>
                </a:lnTo>
                <a:lnTo>
                  <a:pt x="36" y="32"/>
                </a:lnTo>
                <a:lnTo>
                  <a:pt x="38" y="30"/>
                </a:lnTo>
                <a:lnTo>
                  <a:pt x="40" y="30"/>
                </a:lnTo>
                <a:lnTo>
                  <a:pt x="40" y="30"/>
                </a:lnTo>
                <a:lnTo>
                  <a:pt x="42" y="32"/>
                </a:lnTo>
                <a:lnTo>
                  <a:pt x="42" y="32"/>
                </a:lnTo>
                <a:lnTo>
                  <a:pt x="44" y="30"/>
                </a:lnTo>
                <a:lnTo>
                  <a:pt x="44" y="30"/>
                </a:lnTo>
                <a:lnTo>
                  <a:pt x="46" y="32"/>
                </a:lnTo>
                <a:lnTo>
                  <a:pt x="46" y="32"/>
                </a:lnTo>
                <a:lnTo>
                  <a:pt x="46" y="36"/>
                </a:lnTo>
                <a:lnTo>
                  <a:pt x="46" y="36"/>
                </a:lnTo>
                <a:lnTo>
                  <a:pt x="48" y="32"/>
                </a:lnTo>
                <a:lnTo>
                  <a:pt x="50" y="32"/>
                </a:lnTo>
                <a:lnTo>
                  <a:pt x="50" y="32"/>
                </a:lnTo>
                <a:lnTo>
                  <a:pt x="40" y="28"/>
                </a:lnTo>
                <a:lnTo>
                  <a:pt x="30" y="26"/>
                </a:lnTo>
                <a:lnTo>
                  <a:pt x="30" y="26"/>
                </a:lnTo>
                <a:lnTo>
                  <a:pt x="26" y="26"/>
                </a:lnTo>
                <a:lnTo>
                  <a:pt x="26" y="24"/>
                </a:lnTo>
                <a:lnTo>
                  <a:pt x="24" y="22"/>
                </a:lnTo>
                <a:lnTo>
                  <a:pt x="26" y="20"/>
                </a:lnTo>
                <a:lnTo>
                  <a:pt x="26" y="20"/>
                </a:lnTo>
                <a:lnTo>
                  <a:pt x="30" y="18"/>
                </a:lnTo>
                <a:lnTo>
                  <a:pt x="32" y="18"/>
                </a:lnTo>
                <a:lnTo>
                  <a:pt x="36" y="16"/>
                </a:lnTo>
                <a:lnTo>
                  <a:pt x="36" y="16"/>
                </a:lnTo>
                <a:lnTo>
                  <a:pt x="34" y="16"/>
                </a:lnTo>
                <a:lnTo>
                  <a:pt x="32" y="16"/>
                </a:lnTo>
                <a:lnTo>
                  <a:pt x="24" y="16"/>
                </a:lnTo>
                <a:lnTo>
                  <a:pt x="24" y="16"/>
                </a:lnTo>
                <a:lnTo>
                  <a:pt x="20" y="16"/>
                </a:lnTo>
                <a:lnTo>
                  <a:pt x="18" y="14"/>
                </a:lnTo>
                <a:lnTo>
                  <a:pt x="18" y="14"/>
                </a:lnTo>
                <a:lnTo>
                  <a:pt x="18" y="12"/>
                </a:lnTo>
                <a:lnTo>
                  <a:pt x="18" y="12"/>
                </a:lnTo>
                <a:lnTo>
                  <a:pt x="18" y="10"/>
                </a:lnTo>
                <a:lnTo>
                  <a:pt x="18" y="10"/>
                </a:lnTo>
                <a:lnTo>
                  <a:pt x="20" y="10"/>
                </a:lnTo>
                <a:lnTo>
                  <a:pt x="18" y="8"/>
                </a:lnTo>
                <a:lnTo>
                  <a:pt x="18" y="8"/>
                </a:lnTo>
                <a:lnTo>
                  <a:pt x="16" y="6"/>
                </a:lnTo>
                <a:lnTo>
                  <a:pt x="18" y="6"/>
                </a:lnTo>
                <a:lnTo>
                  <a:pt x="18" y="6"/>
                </a:lnTo>
                <a:lnTo>
                  <a:pt x="22" y="6"/>
                </a:lnTo>
                <a:lnTo>
                  <a:pt x="24" y="8"/>
                </a:lnTo>
                <a:lnTo>
                  <a:pt x="24" y="6"/>
                </a:lnTo>
                <a:lnTo>
                  <a:pt x="24" y="6"/>
                </a:lnTo>
                <a:lnTo>
                  <a:pt x="26" y="6"/>
                </a:lnTo>
                <a:lnTo>
                  <a:pt x="26" y="2"/>
                </a:lnTo>
                <a:lnTo>
                  <a:pt x="26" y="2"/>
                </a:lnTo>
                <a:lnTo>
                  <a:pt x="28" y="0"/>
                </a:lnTo>
                <a:lnTo>
                  <a:pt x="30" y="0"/>
                </a:lnTo>
                <a:lnTo>
                  <a:pt x="32" y="2"/>
                </a:lnTo>
                <a:lnTo>
                  <a:pt x="32" y="2"/>
                </a:lnTo>
                <a:lnTo>
                  <a:pt x="34" y="6"/>
                </a:lnTo>
                <a:lnTo>
                  <a:pt x="36" y="6"/>
                </a:lnTo>
                <a:lnTo>
                  <a:pt x="38" y="6"/>
                </a:lnTo>
                <a:lnTo>
                  <a:pt x="38" y="6"/>
                </a:lnTo>
                <a:lnTo>
                  <a:pt x="40" y="4"/>
                </a:lnTo>
                <a:lnTo>
                  <a:pt x="42" y="6"/>
                </a:lnTo>
                <a:lnTo>
                  <a:pt x="62" y="44"/>
                </a:lnTo>
                <a:lnTo>
                  <a:pt x="62" y="44"/>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793" name="Haiti"/>
          <p:cNvSpPr>
            <a:spLocks/>
          </p:cNvSpPr>
          <p:nvPr/>
        </p:nvSpPr>
        <p:spPr bwMode="auto">
          <a:xfrm>
            <a:off x="2581652" y="2185734"/>
            <a:ext cx="66085" cy="50075"/>
          </a:xfrm>
          <a:custGeom>
            <a:avLst/>
            <a:gdLst/>
            <a:ahLst/>
            <a:cxnLst>
              <a:cxn ang="0">
                <a:pos x="52" y="44"/>
              </a:cxn>
              <a:cxn ang="0">
                <a:pos x="46" y="42"/>
              </a:cxn>
              <a:cxn ang="0">
                <a:pos x="30" y="42"/>
              </a:cxn>
              <a:cxn ang="0">
                <a:pos x="24" y="42"/>
              </a:cxn>
              <a:cxn ang="0">
                <a:pos x="20" y="40"/>
              </a:cxn>
              <a:cxn ang="0">
                <a:pos x="12" y="42"/>
              </a:cxn>
              <a:cxn ang="0">
                <a:pos x="10" y="44"/>
              </a:cxn>
              <a:cxn ang="0">
                <a:pos x="8" y="42"/>
              </a:cxn>
              <a:cxn ang="0">
                <a:pos x="0" y="40"/>
              </a:cxn>
              <a:cxn ang="0">
                <a:pos x="0" y="38"/>
              </a:cxn>
              <a:cxn ang="0">
                <a:pos x="0" y="36"/>
              </a:cxn>
              <a:cxn ang="0">
                <a:pos x="0" y="34"/>
              </a:cxn>
              <a:cxn ang="0">
                <a:pos x="2" y="32"/>
              </a:cxn>
              <a:cxn ang="0">
                <a:pos x="8" y="32"/>
              </a:cxn>
              <a:cxn ang="0">
                <a:pos x="16" y="32"/>
              </a:cxn>
              <a:cxn ang="0">
                <a:pos x="18" y="32"/>
              </a:cxn>
              <a:cxn ang="0">
                <a:pos x="24" y="32"/>
              </a:cxn>
              <a:cxn ang="0">
                <a:pos x="32" y="30"/>
              </a:cxn>
              <a:cxn ang="0">
                <a:pos x="38" y="30"/>
              </a:cxn>
              <a:cxn ang="0">
                <a:pos x="42" y="30"/>
              </a:cxn>
              <a:cxn ang="0">
                <a:pos x="34" y="26"/>
              </a:cxn>
              <a:cxn ang="0">
                <a:pos x="34" y="22"/>
              </a:cxn>
              <a:cxn ang="0">
                <a:pos x="32" y="20"/>
              </a:cxn>
              <a:cxn ang="0">
                <a:pos x="30" y="18"/>
              </a:cxn>
              <a:cxn ang="0">
                <a:pos x="32" y="14"/>
              </a:cxn>
              <a:cxn ang="0">
                <a:pos x="30" y="12"/>
              </a:cxn>
              <a:cxn ang="0">
                <a:pos x="32" y="10"/>
              </a:cxn>
              <a:cxn ang="0">
                <a:pos x="30" y="8"/>
              </a:cxn>
              <a:cxn ang="0">
                <a:pos x="26" y="6"/>
              </a:cxn>
              <a:cxn ang="0">
                <a:pos x="22" y="0"/>
              </a:cxn>
              <a:cxn ang="0">
                <a:pos x="26" y="0"/>
              </a:cxn>
              <a:cxn ang="0">
                <a:pos x="32" y="0"/>
              </a:cxn>
              <a:cxn ang="0">
                <a:pos x="38" y="0"/>
              </a:cxn>
              <a:cxn ang="0">
                <a:pos x="46" y="2"/>
              </a:cxn>
              <a:cxn ang="0">
                <a:pos x="46" y="2"/>
              </a:cxn>
              <a:cxn ang="0">
                <a:pos x="50" y="2"/>
              </a:cxn>
              <a:cxn ang="0">
                <a:pos x="56" y="2"/>
              </a:cxn>
              <a:cxn ang="0">
                <a:pos x="58" y="6"/>
              </a:cxn>
              <a:cxn ang="0">
                <a:pos x="56" y="10"/>
              </a:cxn>
              <a:cxn ang="0">
                <a:pos x="56" y="14"/>
              </a:cxn>
              <a:cxn ang="0">
                <a:pos x="56" y="18"/>
              </a:cxn>
              <a:cxn ang="0">
                <a:pos x="54" y="20"/>
              </a:cxn>
              <a:cxn ang="0">
                <a:pos x="56" y="26"/>
              </a:cxn>
              <a:cxn ang="0">
                <a:pos x="52" y="34"/>
              </a:cxn>
              <a:cxn ang="0">
                <a:pos x="48" y="34"/>
              </a:cxn>
              <a:cxn ang="0">
                <a:pos x="52" y="40"/>
              </a:cxn>
              <a:cxn ang="0">
                <a:pos x="52" y="44"/>
              </a:cxn>
            </a:cxnLst>
            <a:rect l="0" t="0" r="r" b="b"/>
            <a:pathLst>
              <a:path w="58" h="44">
                <a:moveTo>
                  <a:pt x="52" y="44"/>
                </a:moveTo>
                <a:lnTo>
                  <a:pt x="52" y="44"/>
                </a:lnTo>
                <a:lnTo>
                  <a:pt x="46" y="42"/>
                </a:lnTo>
                <a:lnTo>
                  <a:pt x="46" y="42"/>
                </a:lnTo>
                <a:lnTo>
                  <a:pt x="38" y="42"/>
                </a:lnTo>
                <a:lnTo>
                  <a:pt x="30" y="42"/>
                </a:lnTo>
                <a:lnTo>
                  <a:pt x="30" y="42"/>
                </a:lnTo>
                <a:lnTo>
                  <a:pt x="24" y="42"/>
                </a:lnTo>
                <a:lnTo>
                  <a:pt x="20" y="40"/>
                </a:lnTo>
                <a:lnTo>
                  <a:pt x="20" y="40"/>
                </a:lnTo>
                <a:lnTo>
                  <a:pt x="14" y="40"/>
                </a:lnTo>
                <a:lnTo>
                  <a:pt x="12" y="42"/>
                </a:lnTo>
                <a:lnTo>
                  <a:pt x="12" y="42"/>
                </a:lnTo>
                <a:lnTo>
                  <a:pt x="10" y="44"/>
                </a:lnTo>
                <a:lnTo>
                  <a:pt x="8" y="42"/>
                </a:lnTo>
                <a:lnTo>
                  <a:pt x="8" y="42"/>
                </a:lnTo>
                <a:lnTo>
                  <a:pt x="6" y="40"/>
                </a:lnTo>
                <a:lnTo>
                  <a:pt x="0" y="40"/>
                </a:lnTo>
                <a:lnTo>
                  <a:pt x="0" y="40"/>
                </a:lnTo>
                <a:lnTo>
                  <a:pt x="0" y="38"/>
                </a:lnTo>
                <a:lnTo>
                  <a:pt x="0" y="38"/>
                </a:lnTo>
                <a:lnTo>
                  <a:pt x="0" y="36"/>
                </a:lnTo>
                <a:lnTo>
                  <a:pt x="0" y="34"/>
                </a:lnTo>
                <a:lnTo>
                  <a:pt x="0" y="34"/>
                </a:lnTo>
                <a:lnTo>
                  <a:pt x="0" y="32"/>
                </a:lnTo>
                <a:lnTo>
                  <a:pt x="2" y="32"/>
                </a:lnTo>
                <a:lnTo>
                  <a:pt x="8" y="32"/>
                </a:lnTo>
                <a:lnTo>
                  <a:pt x="8" y="32"/>
                </a:lnTo>
                <a:lnTo>
                  <a:pt x="12" y="32"/>
                </a:lnTo>
                <a:lnTo>
                  <a:pt x="16" y="32"/>
                </a:lnTo>
                <a:lnTo>
                  <a:pt x="16" y="32"/>
                </a:lnTo>
                <a:lnTo>
                  <a:pt x="18" y="32"/>
                </a:lnTo>
                <a:lnTo>
                  <a:pt x="24" y="32"/>
                </a:lnTo>
                <a:lnTo>
                  <a:pt x="24" y="32"/>
                </a:lnTo>
                <a:lnTo>
                  <a:pt x="28" y="32"/>
                </a:lnTo>
                <a:lnTo>
                  <a:pt x="32" y="30"/>
                </a:lnTo>
                <a:lnTo>
                  <a:pt x="32" y="30"/>
                </a:lnTo>
                <a:lnTo>
                  <a:pt x="38" y="30"/>
                </a:lnTo>
                <a:lnTo>
                  <a:pt x="42" y="30"/>
                </a:lnTo>
                <a:lnTo>
                  <a:pt x="42" y="30"/>
                </a:lnTo>
                <a:lnTo>
                  <a:pt x="34" y="26"/>
                </a:lnTo>
                <a:lnTo>
                  <a:pt x="34" y="26"/>
                </a:lnTo>
                <a:lnTo>
                  <a:pt x="34" y="24"/>
                </a:lnTo>
                <a:lnTo>
                  <a:pt x="34" y="22"/>
                </a:lnTo>
                <a:lnTo>
                  <a:pt x="34" y="22"/>
                </a:lnTo>
                <a:lnTo>
                  <a:pt x="32" y="20"/>
                </a:lnTo>
                <a:lnTo>
                  <a:pt x="32" y="20"/>
                </a:lnTo>
                <a:lnTo>
                  <a:pt x="30" y="18"/>
                </a:lnTo>
                <a:lnTo>
                  <a:pt x="30" y="16"/>
                </a:lnTo>
                <a:lnTo>
                  <a:pt x="32" y="14"/>
                </a:lnTo>
                <a:lnTo>
                  <a:pt x="32" y="14"/>
                </a:lnTo>
                <a:lnTo>
                  <a:pt x="30" y="12"/>
                </a:lnTo>
                <a:lnTo>
                  <a:pt x="32" y="10"/>
                </a:lnTo>
                <a:lnTo>
                  <a:pt x="32" y="10"/>
                </a:lnTo>
                <a:lnTo>
                  <a:pt x="32" y="8"/>
                </a:lnTo>
                <a:lnTo>
                  <a:pt x="30" y="8"/>
                </a:lnTo>
                <a:lnTo>
                  <a:pt x="26" y="6"/>
                </a:lnTo>
                <a:lnTo>
                  <a:pt x="26" y="6"/>
                </a:lnTo>
                <a:lnTo>
                  <a:pt x="22" y="4"/>
                </a:lnTo>
                <a:lnTo>
                  <a:pt x="22" y="0"/>
                </a:lnTo>
                <a:lnTo>
                  <a:pt x="22" y="0"/>
                </a:lnTo>
                <a:lnTo>
                  <a:pt x="26" y="0"/>
                </a:lnTo>
                <a:lnTo>
                  <a:pt x="32" y="0"/>
                </a:lnTo>
                <a:lnTo>
                  <a:pt x="32" y="0"/>
                </a:lnTo>
                <a:lnTo>
                  <a:pt x="36" y="0"/>
                </a:lnTo>
                <a:lnTo>
                  <a:pt x="38" y="0"/>
                </a:lnTo>
                <a:lnTo>
                  <a:pt x="38" y="0"/>
                </a:lnTo>
                <a:lnTo>
                  <a:pt x="46" y="2"/>
                </a:lnTo>
                <a:lnTo>
                  <a:pt x="46" y="2"/>
                </a:lnTo>
                <a:lnTo>
                  <a:pt x="46" y="2"/>
                </a:lnTo>
                <a:lnTo>
                  <a:pt x="50" y="2"/>
                </a:lnTo>
                <a:lnTo>
                  <a:pt x="50" y="2"/>
                </a:lnTo>
                <a:lnTo>
                  <a:pt x="52" y="0"/>
                </a:lnTo>
                <a:lnTo>
                  <a:pt x="56" y="2"/>
                </a:lnTo>
                <a:lnTo>
                  <a:pt x="56" y="2"/>
                </a:lnTo>
                <a:lnTo>
                  <a:pt x="58" y="6"/>
                </a:lnTo>
                <a:lnTo>
                  <a:pt x="56" y="10"/>
                </a:lnTo>
                <a:lnTo>
                  <a:pt x="56" y="10"/>
                </a:lnTo>
                <a:lnTo>
                  <a:pt x="56" y="12"/>
                </a:lnTo>
                <a:lnTo>
                  <a:pt x="56" y="14"/>
                </a:lnTo>
                <a:lnTo>
                  <a:pt x="58" y="16"/>
                </a:lnTo>
                <a:lnTo>
                  <a:pt x="56" y="18"/>
                </a:lnTo>
                <a:lnTo>
                  <a:pt x="56" y="18"/>
                </a:lnTo>
                <a:lnTo>
                  <a:pt x="54" y="20"/>
                </a:lnTo>
                <a:lnTo>
                  <a:pt x="54" y="22"/>
                </a:lnTo>
                <a:lnTo>
                  <a:pt x="56" y="26"/>
                </a:lnTo>
                <a:lnTo>
                  <a:pt x="56" y="30"/>
                </a:lnTo>
                <a:lnTo>
                  <a:pt x="52" y="34"/>
                </a:lnTo>
                <a:lnTo>
                  <a:pt x="52" y="34"/>
                </a:lnTo>
                <a:lnTo>
                  <a:pt x="48" y="34"/>
                </a:lnTo>
                <a:lnTo>
                  <a:pt x="50" y="36"/>
                </a:lnTo>
                <a:lnTo>
                  <a:pt x="52" y="40"/>
                </a:lnTo>
                <a:lnTo>
                  <a:pt x="52" y="44"/>
                </a:lnTo>
                <a:lnTo>
                  <a:pt x="52" y="44"/>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794" name="Honduras"/>
          <p:cNvSpPr>
            <a:spLocks/>
          </p:cNvSpPr>
          <p:nvPr/>
        </p:nvSpPr>
        <p:spPr bwMode="auto">
          <a:xfrm>
            <a:off x="2203367" y="2301817"/>
            <a:ext cx="154960" cy="86493"/>
          </a:xfrm>
          <a:custGeom>
            <a:avLst/>
            <a:gdLst/>
            <a:ahLst/>
            <a:cxnLst>
              <a:cxn ang="0">
                <a:pos x="32" y="66"/>
              </a:cxn>
              <a:cxn ang="0">
                <a:pos x="32" y="62"/>
              </a:cxn>
              <a:cxn ang="0">
                <a:pos x="30" y="58"/>
              </a:cxn>
              <a:cxn ang="0">
                <a:pos x="22" y="56"/>
              </a:cxn>
              <a:cxn ang="0">
                <a:pos x="14" y="48"/>
              </a:cxn>
              <a:cxn ang="0">
                <a:pos x="8" y="48"/>
              </a:cxn>
              <a:cxn ang="0">
                <a:pos x="0" y="44"/>
              </a:cxn>
              <a:cxn ang="0">
                <a:pos x="8" y="36"/>
              </a:cxn>
              <a:cxn ang="0">
                <a:pos x="8" y="32"/>
              </a:cxn>
              <a:cxn ang="0">
                <a:pos x="10" y="26"/>
              </a:cxn>
              <a:cxn ang="0">
                <a:pos x="26" y="12"/>
              </a:cxn>
              <a:cxn ang="0">
                <a:pos x="32" y="6"/>
              </a:cxn>
              <a:cxn ang="0">
                <a:pos x="40" y="4"/>
              </a:cxn>
              <a:cxn ang="0">
                <a:pos x="44" y="0"/>
              </a:cxn>
              <a:cxn ang="0">
                <a:pos x="54" y="4"/>
              </a:cxn>
              <a:cxn ang="0">
                <a:pos x="82" y="0"/>
              </a:cxn>
              <a:cxn ang="0">
                <a:pos x="92" y="0"/>
              </a:cxn>
              <a:cxn ang="0">
                <a:pos x="96" y="0"/>
              </a:cxn>
              <a:cxn ang="0">
                <a:pos x="102" y="0"/>
              </a:cxn>
              <a:cxn ang="0">
                <a:pos x="112" y="4"/>
              </a:cxn>
              <a:cxn ang="0">
                <a:pos x="110" y="8"/>
              </a:cxn>
              <a:cxn ang="0">
                <a:pos x="112" y="10"/>
              </a:cxn>
              <a:cxn ang="0">
                <a:pos x="122" y="14"/>
              </a:cxn>
              <a:cxn ang="0">
                <a:pos x="124" y="10"/>
              </a:cxn>
              <a:cxn ang="0">
                <a:pos x="134" y="18"/>
              </a:cxn>
              <a:cxn ang="0">
                <a:pos x="136" y="22"/>
              </a:cxn>
              <a:cxn ang="0">
                <a:pos x="124" y="28"/>
              </a:cxn>
              <a:cxn ang="0">
                <a:pos x="110" y="32"/>
              </a:cxn>
              <a:cxn ang="0">
                <a:pos x="104" y="30"/>
              </a:cxn>
              <a:cxn ang="0">
                <a:pos x="100" y="32"/>
              </a:cxn>
              <a:cxn ang="0">
                <a:pos x="94" y="34"/>
              </a:cxn>
              <a:cxn ang="0">
                <a:pos x="94" y="42"/>
              </a:cxn>
              <a:cxn ang="0">
                <a:pos x="82" y="48"/>
              </a:cxn>
              <a:cxn ang="0">
                <a:pos x="72" y="52"/>
              </a:cxn>
              <a:cxn ang="0">
                <a:pos x="66" y="54"/>
              </a:cxn>
              <a:cxn ang="0">
                <a:pos x="64" y="60"/>
              </a:cxn>
              <a:cxn ang="0">
                <a:pos x="60" y="62"/>
              </a:cxn>
              <a:cxn ang="0">
                <a:pos x="54" y="62"/>
              </a:cxn>
              <a:cxn ang="0">
                <a:pos x="54" y="66"/>
              </a:cxn>
              <a:cxn ang="0">
                <a:pos x="44" y="76"/>
              </a:cxn>
              <a:cxn ang="0">
                <a:pos x="42" y="72"/>
              </a:cxn>
              <a:cxn ang="0">
                <a:pos x="38" y="66"/>
              </a:cxn>
            </a:cxnLst>
            <a:rect l="0" t="0" r="r" b="b"/>
            <a:pathLst>
              <a:path w="136" h="76">
                <a:moveTo>
                  <a:pt x="34" y="68"/>
                </a:moveTo>
                <a:lnTo>
                  <a:pt x="34" y="68"/>
                </a:lnTo>
                <a:lnTo>
                  <a:pt x="32" y="66"/>
                </a:lnTo>
                <a:lnTo>
                  <a:pt x="32" y="64"/>
                </a:lnTo>
                <a:lnTo>
                  <a:pt x="32" y="62"/>
                </a:lnTo>
                <a:lnTo>
                  <a:pt x="32" y="62"/>
                </a:lnTo>
                <a:lnTo>
                  <a:pt x="32" y="62"/>
                </a:lnTo>
                <a:lnTo>
                  <a:pt x="30" y="60"/>
                </a:lnTo>
                <a:lnTo>
                  <a:pt x="30" y="58"/>
                </a:lnTo>
                <a:lnTo>
                  <a:pt x="28" y="56"/>
                </a:lnTo>
                <a:lnTo>
                  <a:pt x="22" y="56"/>
                </a:lnTo>
                <a:lnTo>
                  <a:pt x="22" y="56"/>
                </a:lnTo>
                <a:lnTo>
                  <a:pt x="18" y="54"/>
                </a:lnTo>
                <a:lnTo>
                  <a:pt x="16" y="50"/>
                </a:lnTo>
                <a:lnTo>
                  <a:pt x="14" y="48"/>
                </a:lnTo>
                <a:lnTo>
                  <a:pt x="10" y="46"/>
                </a:lnTo>
                <a:lnTo>
                  <a:pt x="10" y="46"/>
                </a:lnTo>
                <a:lnTo>
                  <a:pt x="8" y="48"/>
                </a:lnTo>
                <a:lnTo>
                  <a:pt x="6" y="46"/>
                </a:lnTo>
                <a:lnTo>
                  <a:pt x="6" y="44"/>
                </a:lnTo>
                <a:lnTo>
                  <a:pt x="0" y="44"/>
                </a:lnTo>
                <a:lnTo>
                  <a:pt x="0" y="44"/>
                </a:lnTo>
                <a:lnTo>
                  <a:pt x="2" y="40"/>
                </a:lnTo>
                <a:lnTo>
                  <a:pt x="8" y="36"/>
                </a:lnTo>
                <a:lnTo>
                  <a:pt x="8" y="36"/>
                </a:lnTo>
                <a:lnTo>
                  <a:pt x="10" y="32"/>
                </a:lnTo>
                <a:lnTo>
                  <a:pt x="8" y="32"/>
                </a:lnTo>
                <a:lnTo>
                  <a:pt x="6" y="30"/>
                </a:lnTo>
                <a:lnTo>
                  <a:pt x="10" y="26"/>
                </a:lnTo>
                <a:lnTo>
                  <a:pt x="10" y="26"/>
                </a:lnTo>
                <a:lnTo>
                  <a:pt x="16" y="20"/>
                </a:lnTo>
                <a:lnTo>
                  <a:pt x="22" y="16"/>
                </a:lnTo>
                <a:lnTo>
                  <a:pt x="26" y="12"/>
                </a:lnTo>
                <a:lnTo>
                  <a:pt x="30" y="4"/>
                </a:lnTo>
                <a:lnTo>
                  <a:pt x="30" y="4"/>
                </a:lnTo>
                <a:lnTo>
                  <a:pt x="32" y="6"/>
                </a:lnTo>
                <a:lnTo>
                  <a:pt x="34" y="6"/>
                </a:lnTo>
                <a:lnTo>
                  <a:pt x="36" y="4"/>
                </a:lnTo>
                <a:lnTo>
                  <a:pt x="40" y="4"/>
                </a:lnTo>
                <a:lnTo>
                  <a:pt x="40" y="4"/>
                </a:lnTo>
                <a:lnTo>
                  <a:pt x="40" y="0"/>
                </a:lnTo>
                <a:lnTo>
                  <a:pt x="44" y="0"/>
                </a:lnTo>
                <a:lnTo>
                  <a:pt x="50" y="2"/>
                </a:lnTo>
                <a:lnTo>
                  <a:pt x="50" y="2"/>
                </a:lnTo>
                <a:lnTo>
                  <a:pt x="54" y="4"/>
                </a:lnTo>
                <a:lnTo>
                  <a:pt x="60" y="4"/>
                </a:lnTo>
                <a:lnTo>
                  <a:pt x="70" y="2"/>
                </a:lnTo>
                <a:lnTo>
                  <a:pt x="82" y="0"/>
                </a:lnTo>
                <a:lnTo>
                  <a:pt x="88" y="0"/>
                </a:lnTo>
                <a:lnTo>
                  <a:pt x="92" y="0"/>
                </a:lnTo>
                <a:lnTo>
                  <a:pt x="92" y="0"/>
                </a:lnTo>
                <a:lnTo>
                  <a:pt x="96" y="2"/>
                </a:lnTo>
                <a:lnTo>
                  <a:pt x="96" y="2"/>
                </a:lnTo>
                <a:lnTo>
                  <a:pt x="96" y="0"/>
                </a:lnTo>
                <a:lnTo>
                  <a:pt x="96" y="0"/>
                </a:lnTo>
                <a:lnTo>
                  <a:pt x="96" y="0"/>
                </a:lnTo>
                <a:lnTo>
                  <a:pt x="102" y="0"/>
                </a:lnTo>
                <a:lnTo>
                  <a:pt x="104" y="2"/>
                </a:lnTo>
                <a:lnTo>
                  <a:pt x="112" y="4"/>
                </a:lnTo>
                <a:lnTo>
                  <a:pt x="112" y="4"/>
                </a:lnTo>
                <a:lnTo>
                  <a:pt x="118" y="6"/>
                </a:lnTo>
                <a:lnTo>
                  <a:pt x="114" y="6"/>
                </a:lnTo>
                <a:lnTo>
                  <a:pt x="110" y="8"/>
                </a:lnTo>
                <a:lnTo>
                  <a:pt x="110" y="8"/>
                </a:lnTo>
                <a:lnTo>
                  <a:pt x="108" y="8"/>
                </a:lnTo>
                <a:lnTo>
                  <a:pt x="112" y="10"/>
                </a:lnTo>
                <a:lnTo>
                  <a:pt x="116" y="12"/>
                </a:lnTo>
                <a:lnTo>
                  <a:pt x="116" y="12"/>
                </a:lnTo>
                <a:lnTo>
                  <a:pt x="122" y="14"/>
                </a:lnTo>
                <a:lnTo>
                  <a:pt x="120" y="12"/>
                </a:lnTo>
                <a:lnTo>
                  <a:pt x="120" y="8"/>
                </a:lnTo>
                <a:lnTo>
                  <a:pt x="124" y="10"/>
                </a:lnTo>
                <a:lnTo>
                  <a:pt x="124" y="10"/>
                </a:lnTo>
                <a:lnTo>
                  <a:pt x="130" y="14"/>
                </a:lnTo>
                <a:lnTo>
                  <a:pt x="134" y="18"/>
                </a:lnTo>
                <a:lnTo>
                  <a:pt x="134" y="20"/>
                </a:lnTo>
                <a:lnTo>
                  <a:pt x="136" y="22"/>
                </a:lnTo>
                <a:lnTo>
                  <a:pt x="136" y="22"/>
                </a:lnTo>
                <a:lnTo>
                  <a:pt x="130" y="24"/>
                </a:lnTo>
                <a:lnTo>
                  <a:pt x="124" y="28"/>
                </a:lnTo>
                <a:lnTo>
                  <a:pt x="124" y="28"/>
                </a:lnTo>
                <a:lnTo>
                  <a:pt x="120" y="30"/>
                </a:lnTo>
                <a:lnTo>
                  <a:pt x="116" y="32"/>
                </a:lnTo>
                <a:lnTo>
                  <a:pt x="110" y="32"/>
                </a:lnTo>
                <a:lnTo>
                  <a:pt x="110" y="32"/>
                </a:lnTo>
                <a:lnTo>
                  <a:pt x="106" y="32"/>
                </a:lnTo>
                <a:lnTo>
                  <a:pt x="104" y="30"/>
                </a:lnTo>
                <a:lnTo>
                  <a:pt x="100" y="30"/>
                </a:lnTo>
                <a:lnTo>
                  <a:pt x="100" y="32"/>
                </a:lnTo>
                <a:lnTo>
                  <a:pt x="100" y="32"/>
                </a:lnTo>
                <a:lnTo>
                  <a:pt x="98" y="34"/>
                </a:lnTo>
                <a:lnTo>
                  <a:pt x="96" y="34"/>
                </a:lnTo>
                <a:lnTo>
                  <a:pt x="94" y="34"/>
                </a:lnTo>
                <a:lnTo>
                  <a:pt x="94" y="38"/>
                </a:lnTo>
                <a:lnTo>
                  <a:pt x="94" y="38"/>
                </a:lnTo>
                <a:lnTo>
                  <a:pt x="94" y="42"/>
                </a:lnTo>
                <a:lnTo>
                  <a:pt x="92" y="42"/>
                </a:lnTo>
                <a:lnTo>
                  <a:pt x="86" y="42"/>
                </a:lnTo>
                <a:lnTo>
                  <a:pt x="82" y="48"/>
                </a:lnTo>
                <a:lnTo>
                  <a:pt x="82" y="48"/>
                </a:lnTo>
                <a:lnTo>
                  <a:pt x="76" y="52"/>
                </a:lnTo>
                <a:lnTo>
                  <a:pt x="72" y="52"/>
                </a:lnTo>
                <a:lnTo>
                  <a:pt x="70" y="52"/>
                </a:lnTo>
                <a:lnTo>
                  <a:pt x="66" y="54"/>
                </a:lnTo>
                <a:lnTo>
                  <a:pt x="66" y="54"/>
                </a:lnTo>
                <a:lnTo>
                  <a:pt x="64" y="56"/>
                </a:lnTo>
                <a:lnTo>
                  <a:pt x="64" y="58"/>
                </a:lnTo>
                <a:lnTo>
                  <a:pt x="64" y="60"/>
                </a:lnTo>
                <a:lnTo>
                  <a:pt x="62" y="62"/>
                </a:lnTo>
                <a:lnTo>
                  <a:pt x="62" y="62"/>
                </a:lnTo>
                <a:lnTo>
                  <a:pt x="60" y="62"/>
                </a:lnTo>
                <a:lnTo>
                  <a:pt x="58" y="62"/>
                </a:lnTo>
                <a:lnTo>
                  <a:pt x="56" y="60"/>
                </a:lnTo>
                <a:lnTo>
                  <a:pt x="54" y="62"/>
                </a:lnTo>
                <a:lnTo>
                  <a:pt x="54" y="62"/>
                </a:lnTo>
                <a:lnTo>
                  <a:pt x="52" y="64"/>
                </a:lnTo>
                <a:lnTo>
                  <a:pt x="54" y="66"/>
                </a:lnTo>
                <a:lnTo>
                  <a:pt x="52" y="70"/>
                </a:lnTo>
                <a:lnTo>
                  <a:pt x="44" y="76"/>
                </a:lnTo>
                <a:lnTo>
                  <a:pt x="44" y="76"/>
                </a:lnTo>
                <a:lnTo>
                  <a:pt x="44" y="74"/>
                </a:lnTo>
                <a:lnTo>
                  <a:pt x="42" y="72"/>
                </a:lnTo>
                <a:lnTo>
                  <a:pt x="42" y="72"/>
                </a:lnTo>
                <a:lnTo>
                  <a:pt x="40" y="70"/>
                </a:lnTo>
                <a:lnTo>
                  <a:pt x="40" y="68"/>
                </a:lnTo>
                <a:lnTo>
                  <a:pt x="38" y="66"/>
                </a:lnTo>
                <a:lnTo>
                  <a:pt x="34" y="68"/>
                </a:lnTo>
                <a:lnTo>
                  <a:pt x="34" y="68"/>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795" name="Freeform 27"/>
          <p:cNvSpPr>
            <a:spLocks/>
          </p:cNvSpPr>
          <p:nvPr/>
        </p:nvSpPr>
        <p:spPr bwMode="auto">
          <a:xfrm>
            <a:off x="2182857" y="2351891"/>
            <a:ext cx="59250" cy="31866"/>
          </a:xfrm>
          <a:custGeom>
            <a:avLst/>
            <a:gdLst/>
            <a:ahLst/>
            <a:cxnLst>
              <a:cxn ang="0">
                <a:pos x="18" y="0"/>
              </a:cxn>
              <a:cxn ang="0">
                <a:pos x="18" y="0"/>
              </a:cxn>
              <a:cxn ang="0">
                <a:pos x="24" y="0"/>
              </a:cxn>
              <a:cxn ang="0">
                <a:pos x="24" y="2"/>
              </a:cxn>
              <a:cxn ang="0">
                <a:pos x="26" y="4"/>
              </a:cxn>
              <a:cxn ang="0">
                <a:pos x="28" y="2"/>
              </a:cxn>
              <a:cxn ang="0">
                <a:pos x="28" y="2"/>
              </a:cxn>
              <a:cxn ang="0">
                <a:pos x="32" y="4"/>
              </a:cxn>
              <a:cxn ang="0">
                <a:pos x="34" y="6"/>
              </a:cxn>
              <a:cxn ang="0">
                <a:pos x="36" y="10"/>
              </a:cxn>
              <a:cxn ang="0">
                <a:pos x="40" y="12"/>
              </a:cxn>
              <a:cxn ang="0">
                <a:pos x="40" y="12"/>
              </a:cxn>
              <a:cxn ang="0">
                <a:pos x="46" y="12"/>
              </a:cxn>
              <a:cxn ang="0">
                <a:pos x="48" y="14"/>
              </a:cxn>
              <a:cxn ang="0">
                <a:pos x="48" y="16"/>
              </a:cxn>
              <a:cxn ang="0">
                <a:pos x="50" y="18"/>
              </a:cxn>
              <a:cxn ang="0">
                <a:pos x="50" y="18"/>
              </a:cxn>
              <a:cxn ang="0">
                <a:pos x="50" y="18"/>
              </a:cxn>
              <a:cxn ang="0">
                <a:pos x="50" y="20"/>
              </a:cxn>
              <a:cxn ang="0">
                <a:pos x="50" y="22"/>
              </a:cxn>
              <a:cxn ang="0">
                <a:pos x="52" y="24"/>
              </a:cxn>
              <a:cxn ang="0">
                <a:pos x="52" y="24"/>
              </a:cxn>
              <a:cxn ang="0">
                <a:pos x="38" y="28"/>
              </a:cxn>
              <a:cxn ang="0">
                <a:pos x="30" y="26"/>
              </a:cxn>
              <a:cxn ang="0">
                <a:pos x="24" y="24"/>
              </a:cxn>
              <a:cxn ang="0">
                <a:pos x="16" y="22"/>
              </a:cxn>
              <a:cxn ang="0">
                <a:pos x="16" y="22"/>
              </a:cxn>
              <a:cxn ang="0">
                <a:pos x="6" y="18"/>
              </a:cxn>
              <a:cxn ang="0">
                <a:pos x="0" y="16"/>
              </a:cxn>
              <a:cxn ang="0">
                <a:pos x="0" y="16"/>
              </a:cxn>
              <a:cxn ang="0">
                <a:pos x="4" y="10"/>
              </a:cxn>
              <a:cxn ang="0">
                <a:pos x="6" y="8"/>
              </a:cxn>
              <a:cxn ang="0">
                <a:pos x="10" y="8"/>
              </a:cxn>
              <a:cxn ang="0">
                <a:pos x="12" y="4"/>
              </a:cxn>
              <a:cxn ang="0">
                <a:pos x="12" y="4"/>
              </a:cxn>
              <a:cxn ang="0">
                <a:pos x="14" y="0"/>
              </a:cxn>
              <a:cxn ang="0">
                <a:pos x="18" y="0"/>
              </a:cxn>
              <a:cxn ang="0">
                <a:pos x="18" y="0"/>
              </a:cxn>
            </a:cxnLst>
            <a:rect l="0" t="0" r="r" b="b"/>
            <a:pathLst>
              <a:path w="52" h="28">
                <a:moveTo>
                  <a:pt x="18" y="0"/>
                </a:moveTo>
                <a:lnTo>
                  <a:pt x="18" y="0"/>
                </a:lnTo>
                <a:lnTo>
                  <a:pt x="24" y="0"/>
                </a:lnTo>
                <a:lnTo>
                  <a:pt x="24" y="2"/>
                </a:lnTo>
                <a:lnTo>
                  <a:pt x="26" y="4"/>
                </a:lnTo>
                <a:lnTo>
                  <a:pt x="28" y="2"/>
                </a:lnTo>
                <a:lnTo>
                  <a:pt x="28" y="2"/>
                </a:lnTo>
                <a:lnTo>
                  <a:pt x="32" y="4"/>
                </a:lnTo>
                <a:lnTo>
                  <a:pt x="34" y="6"/>
                </a:lnTo>
                <a:lnTo>
                  <a:pt x="36" y="10"/>
                </a:lnTo>
                <a:lnTo>
                  <a:pt x="40" y="12"/>
                </a:lnTo>
                <a:lnTo>
                  <a:pt x="40" y="12"/>
                </a:lnTo>
                <a:lnTo>
                  <a:pt x="46" y="12"/>
                </a:lnTo>
                <a:lnTo>
                  <a:pt x="48" y="14"/>
                </a:lnTo>
                <a:lnTo>
                  <a:pt x="48" y="16"/>
                </a:lnTo>
                <a:lnTo>
                  <a:pt x="50" y="18"/>
                </a:lnTo>
                <a:lnTo>
                  <a:pt x="50" y="18"/>
                </a:lnTo>
                <a:lnTo>
                  <a:pt x="50" y="18"/>
                </a:lnTo>
                <a:lnTo>
                  <a:pt x="50" y="20"/>
                </a:lnTo>
                <a:lnTo>
                  <a:pt x="50" y="22"/>
                </a:lnTo>
                <a:lnTo>
                  <a:pt x="52" y="24"/>
                </a:lnTo>
                <a:lnTo>
                  <a:pt x="52" y="24"/>
                </a:lnTo>
                <a:lnTo>
                  <a:pt x="38" y="28"/>
                </a:lnTo>
                <a:lnTo>
                  <a:pt x="30" y="26"/>
                </a:lnTo>
                <a:lnTo>
                  <a:pt x="24" y="24"/>
                </a:lnTo>
                <a:lnTo>
                  <a:pt x="16" y="22"/>
                </a:lnTo>
                <a:lnTo>
                  <a:pt x="16" y="22"/>
                </a:lnTo>
                <a:lnTo>
                  <a:pt x="6" y="18"/>
                </a:lnTo>
                <a:lnTo>
                  <a:pt x="0" y="16"/>
                </a:lnTo>
                <a:lnTo>
                  <a:pt x="0" y="16"/>
                </a:lnTo>
                <a:lnTo>
                  <a:pt x="4" y="10"/>
                </a:lnTo>
                <a:lnTo>
                  <a:pt x="6" y="8"/>
                </a:lnTo>
                <a:lnTo>
                  <a:pt x="10" y="8"/>
                </a:lnTo>
                <a:lnTo>
                  <a:pt x="12" y="4"/>
                </a:lnTo>
                <a:lnTo>
                  <a:pt x="12" y="4"/>
                </a:lnTo>
                <a:lnTo>
                  <a:pt x="14" y="0"/>
                </a:lnTo>
                <a:lnTo>
                  <a:pt x="18" y="0"/>
                </a:lnTo>
                <a:lnTo>
                  <a:pt x="18" y="0"/>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796" name="Nicaragua"/>
          <p:cNvSpPr>
            <a:spLocks/>
          </p:cNvSpPr>
          <p:nvPr/>
        </p:nvSpPr>
        <p:spPr bwMode="auto">
          <a:xfrm>
            <a:off x="2246664" y="2326854"/>
            <a:ext cx="111663" cy="129740"/>
          </a:xfrm>
          <a:custGeom>
            <a:avLst/>
            <a:gdLst/>
            <a:ahLst/>
            <a:cxnLst>
              <a:cxn ang="0">
                <a:pos x="6" y="54"/>
              </a:cxn>
              <a:cxn ang="0">
                <a:pos x="16" y="44"/>
              </a:cxn>
              <a:cxn ang="0">
                <a:pos x="16" y="40"/>
              </a:cxn>
              <a:cxn ang="0">
                <a:pos x="18" y="38"/>
              </a:cxn>
              <a:cxn ang="0">
                <a:pos x="22" y="40"/>
              </a:cxn>
              <a:cxn ang="0">
                <a:pos x="24" y="40"/>
              </a:cxn>
              <a:cxn ang="0">
                <a:pos x="26" y="36"/>
              </a:cxn>
              <a:cxn ang="0">
                <a:pos x="28" y="32"/>
              </a:cxn>
              <a:cxn ang="0">
                <a:pos x="32" y="30"/>
              </a:cxn>
              <a:cxn ang="0">
                <a:pos x="38" y="30"/>
              </a:cxn>
              <a:cxn ang="0">
                <a:pos x="44" y="26"/>
              </a:cxn>
              <a:cxn ang="0">
                <a:pos x="54" y="20"/>
              </a:cxn>
              <a:cxn ang="0">
                <a:pos x="56" y="16"/>
              </a:cxn>
              <a:cxn ang="0">
                <a:pos x="56" y="12"/>
              </a:cxn>
              <a:cxn ang="0">
                <a:pos x="60" y="12"/>
              </a:cxn>
              <a:cxn ang="0">
                <a:pos x="62" y="10"/>
              </a:cxn>
              <a:cxn ang="0">
                <a:pos x="66" y="8"/>
              </a:cxn>
              <a:cxn ang="0">
                <a:pos x="72" y="10"/>
              </a:cxn>
              <a:cxn ang="0">
                <a:pos x="78" y="10"/>
              </a:cxn>
              <a:cxn ang="0">
                <a:pos x="86" y="6"/>
              </a:cxn>
              <a:cxn ang="0">
                <a:pos x="92" y="2"/>
              </a:cxn>
              <a:cxn ang="0">
                <a:pos x="98" y="0"/>
              </a:cxn>
              <a:cxn ang="0">
                <a:pos x="98" y="2"/>
              </a:cxn>
              <a:cxn ang="0">
                <a:pos x="94" y="6"/>
              </a:cxn>
              <a:cxn ang="0">
                <a:pos x="96" y="10"/>
              </a:cxn>
              <a:cxn ang="0">
                <a:pos x="96" y="10"/>
              </a:cxn>
              <a:cxn ang="0">
                <a:pos x="96" y="18"/>
              </a:cxn>
              <a:cxn ang="0">
                <a:pos x="90" y="28"/>
              </a:cxn>
              <a:cxn ang="0">
                <a:pos x="92" y="28"/>
              </a:cxn>
              <a:cxn ang="0">
                <a:pos x="88" y="42"/>
              </a:cxn>
              <a:cxn ang="0">
                <a:pos x="86" y="52"/>
              </a:cxn>
              <a:cxn ang="0">
                <a:pos x="86" y="58"/>
              </a:cxn>
              <a:cxn ang="0">
                <a:pos x="84" y="64"/>
              </a:cxn>
              <a:cxn ang="0">
                <a:pos x="82" y="64"/>
              </a:cxn>
              <a:cxn ang="0">
                <a:pos x="84" y="68"/>
              </a:cxn>
              <a:cxn ang="0">
                <a:pos x="84" y="72"/>
              </a:cxn>
              <a:cxn ang="0">
                <a:pos x="84" y="74"/>
              </a:cxn>
              <a:cxn ang="0">
                <a:pos x="82" y="74"/>
              </a:cxn>
              <a:cxn ang="0">
                <a:pos x="82" y="78"/>
              </a:cxn>
              <a:cxn ang="0">
                <a:pos x="84" y="80"/>
              </a:cxn>
              <a:cxn ang="0">
                <a:pos x="84" y="84"/>
              </a:cxn>
              <a:cxn ang="0">
                <a:pos x="82" y="90"/>
              </a:cxn>
              <a:cxn ang="0">
                <a:pos x="80" y="92"/>
              </a:cxn>
              <a:cxn ang="0">
                <a:pos x="78" y="100"/>
              </a:cxn>
              <a:cxn ang="0">
                <a:pos x="82" y="112"/>
              </a:cxn>
              <a:cxn ang="0">
                <a:pos x="74" y="114"/>
              </a:cxn>
              <a:cxn ang="0">
                <a:pos x="68" y="114"/>
              </a:cxn>
              <a:cxn ang="0">
                <a:pos x="64" y="114"/>
              </a:cxn>
              <a:cxn ang="0">
                <a:pos x="54" y="108"/>
              </a:cxn>
              <a:cxn ang="0">
                <a:pos x="48" y="110"/>
              </a:cxn>
              <a:cxn ang="0">
                <a:pos x="40" y="108"/>
              </a:cxn>
              <a:cxn ang="0">
                <a:pos x="32" y="110"/>
              </a:cxn>
              <a:cxn ang="0">
                <a:pos x="28" y="106"/>
              </a:cxn>
              <a:cxn ang="0">
                <a:pos x="28" y="100"/>
              </a:cxn>
              <a:cxn ang="0">
                <a:pos x="22" y="94"/>
              </a:cxn>
              <a:cxn ang="0">
                <a:pos x="14" y="86"/>
              </a:cxn>
              <a:cxn ang="0">
                <a:pos x="8" y="68"/>
              </a:cxn>
              <a:cxn ang="0">
                <a:pos x="2" y="60"/>
              </a:cxn>
              <a:cxn ang="0">
                <a:pos x="0" y="52"/>
              </a:cxn>
              <a:cxn ang="0">
                <a:pos x="6" y="54"/>
              </a:cxn>
            </a:cxnLst>
            <a:rect l="0" t="0" r="r" b="b"/>
            <a:pathLst>
              <a:path w="98" h="114">
                <a:moveTo>
                  <a:pt x="6" y="54"/>
                </a:moveTo>
                <a:lnTo>
                  <a:pt x="6" y="54"/>
                </a:lnTo>
                <a:lnTo>
                  <a:pt x="14" y="48"/>
                </a:lnTo>
                <a:lnTo>
                  <a:pt x="16" y="44"/>
                </a:lnTo>
                <a:lnTo>
                  <a:pt x="14" y="42"/>
                </a:lnTo>
                <a:lnTo>
                  <a:pt x="16" y="40"/>
                </a:lnTo>
                <a:lnTo>
                  <a:pt x="16" y="40"/>
                </a:lnTo>
                <a:lnTo>
                  <a:pt x="18" y="38"/>
                </a:lnTo>
                <a:lnTo>
                  <a:pt x="20" y="40"/>
                </a:lnTo>
                <a:lnTo>
                  <a:pt x="22" y="40"/>
                </a:lnTo>
                <a:lnTo>
                  <a:pt x="24" y="40"/>
                </a:lnTo>
                <a:lnTo>
                  <a:pt x="24" y="40"/>
                </a:lnTo>
                <a:lnTo>
                  <a:pt x="26" y="38"/>
                </a:lnTo>
                <a:lnTo>
                  <a:pt x="26" y="36"/>
                </a:lnTo>
                <a:lnTo>
                  <a:pt x="26" y="34"/>
                </a:lnTo>
                <a:lnTo>
                  <a:pt x="28" y="32"/>
                </a:lnTo>
                <a:lnTo>
                  <a:pt x="28" y="32"/>
                </a:lnTo>
                <a:lnTo>
                  <a:pt x="32" y="30"/>
                </a:lnTo>
                <a:lnTo>
                  <a:pt x="34" y="30"/>
                </a:lnTo>
                <a:lnTo>
                  <a:pt x="38" y="30"/>
                </a:lnTo>
                <a:lnTo>
                  <a:pt x="44" y="26"/>
                </a:lnTo>
                <a:lnTo>
                  <a:pt x="44" y="26"/>
                </a:lnTo>
                <a:lnTo>
                  <a:pt x="48" y="20"/>
                </a:lnTo>
                <a:lnTo>
                  <a:pt x="54" y="20"/>
                </a:lnTo>
                <a:lnTo>
                  <a:pt x="56" y="20"/>
                </a:lnTo>
                <a:lnTo>
                  <a:pt x="56" y="16"/>
                </a:lnTo>
                <a:lnTo>
                  <a:pt x="56" y="16"/>
                </a:lnTo>
                <a:lnTo>
                  <a:pt x="56" y="12"/>
                </a:lnTo>
                <a:lnTo>
                  <a:pt x="58" y="12"/>
                </a:lnTo>
                <a:lnTo>
                  <a:pt x="60" y="12"/>
                </a:lnTo>
                <a:lnTo>
                  <a:pt x="62" y="10"/>
                </a:lnTo>
                <a:lnTo>
                  <a:pt x="62" y="10"/>
                </a:lnTo>
                <a:lnTo>
                  <a:pt x="62" y="8"/>
                </a:lnTo>
                <a:lnTo>
                  <a:pt x="66" y="8"/>
                </a:lnTo>
                <a:lnTo>
                  <a:pt x="68" y="10"/>
                </a:lnTo>
                <a:lnTo>
                  <a:pt x="72" y="10"/>
                </a:lnTo>
                <a:lnTo>
                  <a:pt x="72" y="10"/>
                </a:lnTo>
                <a:lnTo>
                  <a:pt x="78" y="10"/>
                </a:lnTo>
                <a:lnTo>
                  <a:pt x="82" y="8"/>
                </a:lnTo>
                <a:lnTo>
                  <a:pt x="86" y="6"/>
                </a:lnTo>
                <a:lnTo>
                  <a:pt x="86" y="6"/>
                </a:lnTo>
                <a:lnTo>
                  <a:pt x="92" y="2"/>
                </a:lnTo>
                <a:lnTo>
                  <a:pt x="98" y="0"/>
                </a:lnTo>
                <a:lnTo>
                  <a:pt x="98" y="0"/>
                </a:lnTo>
                <a:lnTo>
                  <a:pt x="98" y="0"/>
                </a:lnTo>
                <a:lnTo>
                  <a:pt x="98" y="2"/>
                </a:lnTo>
                <a:lnTo>
                  <a:pt x="96" y="4"/>
                </a:lnTo>
                <a:lnTo>
                  <a:pt x="94" y="6"/>
                </a:lnTo>
                <a:lnTo>
                  <a:pt x="94" y="8"/>
                </a:lnTo>
                <a:lnTo>
                  <a:pt x="96" y="10"/>
                </a:lnTo>
                <a:lnTo>
                  <a:pt x="96" y="10"/>
                </a:lnTo>
                <a:lnTo>
                  <a:pt x="96" y="10"/>
                </a:lnTo>
                <a:lnTo>
                  <a:pt x="98" y="12"/>
                </a:lnTo>
                <a:lnTo>
                  <a:pt x="96" y="18"/>
                </a:lnTo>
                <a:lnTo>
                  <a:pt x="94" y="24"/>
                </a:lnTo>
                <a:lnTo>
                  <a:pt x="90" y="28"/>
                </a:lnTo>
                <a:lnTo>
                  <a:pt x="90" y="28"/>
                </a:lnTo>
                <a:lnTo>
                  <a:pt x="92" y="28"/>
                </a:lnTo>
                <a:lnTo>
                  <a:pt x="92" y="32"/>
                </a:lnTo>
                <a:lnTo>
                  <a:pt x="88" y="42"/>
                </a:lnTo>
                <a:lnTo>
                  <a:pt x="88" y="42"/>
                </a:lnTo>
                <a:lnTo>
                  <a:pt x="86" y="52"/>
                </a:lnTo>
                <a:lnTo>
                  <a:pt x="86" y="58"/>
                </a:lnTo>
                <a:lnTo>
                  <a:pt x="86" y="58"/>
                </a:lnTo>
                <a:lnTo>
                  <a:pt x="86" y="60"/>
                </a:lnTo>
                <a:lnTo>
                  <a:pt x="84" y="64"/>
                </a:lnTo>
                <a:lnTo>
                  <a:pt x="82" y="64"/>
                </a:lnTo>
                <a:lnTo>
                  <a:pt x="82" y="64"/>
                </a:lnTo>
                <a:lnTo>
                  <a:pt x="84" y="64"/>
                </a:lnTo>
                <a:lnTo>
                  <a:pt x="84" y="68"/>
                </a:lnTo>
                <a:lnTo>
                  <a:pt x="84" y="68"/>
                </a:lnTo>
                <a:lnTo>
                  <a:pt x="84" y="72"/>
                </a:lnTo>
                <a:lnTo>
                  <a:pt x="84" y="74"/>
                </a:lnTo>
                <a:lnTo>
                  <a:pt x="84" y="74"/>
                </a:lnTo>
                <a:lnTo>
                  <a:pt x="84" y="74"/>
                </a:lnTo>
                <a:lnTo>
                  <a:pt x="82" y="74"/>
                </a:lnTo>
                <a:lnTo>
                  <a:pt x="80" y="76"/>
                </a:lnTo>
                <a:lnTo>
                  <a:pt x="82" y="78"/>
                </a:lnTo>
                <a:lnTo>
                  <a:pt x="84" y="80"/>
                </a:lnTo>
                <a:lnTo>
                  <a:pt x="84" y="80"/>
                </a:lnTo>
                <a:lnTo>
                  <a:pt x="84" y="82"/>
                </a:lnTo>
                <a:lnTo>
                  <a:pt x="84" y="84"/>
                </a:lnTo>
                <a:lnTo>
                  <a:pt x="84" y="88"/>
                </a:lnTo>
                <a:lnTo>
                  <a:pt x="82" y="90"/>
                </a:lnTo>
                <a:lnTo>
                  <a:pt x="82" y="90"/>
                </a:lnTo>
                <a:lnTo>
                  <a:pt x="80" y="92"/>
                </a:lnTo>
                <a:lnTo>
                  <a:pt x="78" y="94"/>
                </a:lnTo>
                <a:lnTo>
                  <a:pt x="78" y="100"/>
                </a:lnTo>
                <a:lnTo>
                  <a:pt x="82" y="112"/>
                </a:lnTo>
                <a:lnTo>
                  <a:pt x="82" y="112"/>
                </a:lnTo>
                <a:lnTo>
                  <a:pt x="76" y="114"/>
                </a:lnTo>
                <a:lnTo>
                  <a:pt x="74" y="114"/>
                </a:lnTo>
                <a:lnTo>
                  <a:pt x="72" y="112"/>
                </a:lnTo>
                <a:lnTo>
                  <a:pt x="68" y="114"/>
                </a:lnTo>
                <a:lnTo>
                  <a:pt x="68" y="114"/>
                </a:lnTo>
                <a:lnTo>
                  <a:pt x="64" y="114"/>
                </a:lnTo>
                <a:lnTo>
                  <a:pt x="60" y="110"/>
                </a:lnTo>
                <a:lnTo>
                  <a:pt x="54" y="108"/>
                </a:lnTo>
                <a:lnTo>
                  <a:pt x="48" y="110"/>
                </a:lnTo>
                <a:lnTo>
                  <a:pt x="48" y="110"/>
                </a:lnTo>
                <a:lnTo>
                  <a:pt x="44" y="110"/>
                </a:lnTo>
                <a:lnTo>
                  <a:pt x="40" y="108"/>
                </a:lnTo>
                <a:lnTo>
                  <a:pt x="36" y="108"/>
                </a:lnTo>
                <a:lnTo>
                  <a:pt x="32" y="110"/>
                </a:lnTo>
                <a:lnTo>
                  <a:pt x="32" y="110"/>
                </a:lnTo>
                <a:lnTo>
                  <a:pt x="28" y="106"/>
                </a:lnTo>
                <a:lnTo>
                  <a:pt x="28" y="102"/>
                </a:lnTo>
                <a:lnTo>
                  <a:pt x="28" y="100"/>
                </a:lnTo>
                <a:lnTo>
                  <a:pt x="22" y="94"/>
                </a:lnTo>
                <a:lnTo>
                  <a:pt x="22" y="94"/>
                </a:lnTo>
                <a:lnTo>
                  <a:pt x="18" y="90"/>
                </a:lnTo>
                <a:lnTo>
                  <a:pt x="14" y="86"/>
                </a:lnTo>
                <a:lnTo>
                  <a:pt x="10" y="78"/>
                </a:lnTo>
                <a:lnTo>
                  <a:pt x="8" y="68"/>
                </a:lnTo>
                <a:lnTo>
                  <a:pt x="2" y="60"/>
                </a:lnTo>
                <a:lnTo>
                  <a:pt x="2" y="60"/>
                </a:lnTo>
                <a:lnTo>
                  <a:pt x="0" y="54"/>
                </a:lnTo>
                <a:lnTo>
                  <a:pt x="0" y="52"/>
                </a:lnTo>
                <a:lnTo>
                  <a:pt x="4" y="52"/>
                </a:lnTo>
                <a:lnTo>
                  <a:pt x="6" y="54"/>
                </a:lnTo>
                <a:lnTo>
                  <a:pt x="6" y="54"/>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797" name="Guatemala"/>
          <p:cNvSpPr>
            <a:spLocks/>
          </p:cNvSpPr>
          <p:nvPr/>
        </p:nvSpPr>
        <p:spPr bwMode="auto">
          <a:xfrm>
            <a:off x="2141839" y="2251743"/>
            <a:ext cx="95711" cy="118358"/>
          </a:xfrm>
          <a:custGeom>
            <a:avLst/>
            <a:gdLst/>
            <a:ahLst/>
            <a:cxnLst>
              <a:cxn ang="0">
                <a:pos x="36" y="104"/>
              </a:cxn>
              <a:cxn ang="0">
                <a:pos x="42" y="96"/>
              </a:cxn>
              <a:cxn ang="0">
                <a:pos x="48" y="92"/>
              </a:cxn>
              <a:cxn ang="0">
                <a:pos x="50" y="88"/>
              </a:cxn>
              <a:cxn ang="0">
                <a:pos x="54" y="88"/>
              </a:cxn>
              <a:cxn ang="0">
                <a:pos x="62" y="80"/>
              </a:cxn>
              <a:cxn ang="0">
                <a:pos x="64" y="76"/>
              </a:cxn>
              <a:cxn ang="0">
                <a:pos x="60" y="74"/>
              </a:cxn>
              <a:cxn ang="0">
                <a:pos x="64" y="70"/>
              </a:cxn>
              <a:cxn ang="0">
                <a:pos x="76" y="60"/>
              </a:cxn>
              <a:cxn ang="0">
                <a:pos x="84" y="48"/>
              </a:cxn>
              <a:cxn ang="0">
                <a:pos x="80" y="46"/>
              </a:cxn>
              <a:cxn ang="0">
                <a:pos x="76" y="46"/>
              </a:cxn>
              <a:cxn ang="0">
                <a:pos x="66" y="44"/>
              </a:cxn>
              <a:cxn ang="0">
                <a:pos x="38" y="0"/>
              </a:cxn>
              <a:cxn ang="0">
                <a:pos x="36" y="4"/>
              </a:cxn>
              <a:cxn ang="0">
                <a:pos x="40" y="10"/>
              </a:cxn>
              <a:cxn ang="0">
                <a:pos x="42" y="14"/>
              </a:cxn>
              <a:cxn ang="0">
                <a:pos x="36" y="18"/>
              </a:cxn>
              <a:cxn ang="0">
                <a:pos x="30" y="24"/>
              </a:cxn>
              <a:cxn ang="0">
                <a:pos x="32" y="26"/>
              </a:cxn>
              <a:cxn ang="0">
                <a:pos x="40" y="30"/>
              </a:cxn>
              <a:cxn ang="0">
                <a:pos x="40" y="32"/>
              </a:cxn>
              <a:cxn ang="0">
                <a:pos x="42" y="38"/>
              </a:cxn>
              <a:cxn ang="0">
                <a:pos x="44" y="44"/>
              </a:cxn>
              <a:cxn ang="0">
                <a:pos x="28" y="42"/>
              </a:cxn>
              <a:cxn ang="0">
                <a:pos x="16" y="46"/>
              </a:cxn>
              <a:cxn ang="0">
                <a:pos x="6" y="56"/>
              </a:cxn>
              <a:cxn ang="0">
                <a:pos x="0" y="80"/>
              </a:cxn>
              <a:cxn ang="0">
                <a:pos x="8" y="92"/>
              </a:cxn>
              <a:cxn ang="0">
                <a:pos x="24" y="102"/>
              </a:cxn>
              <a:cxn ang="0">
                <a:pos x="36" y="104"/>
              </a:cxn>
            </a:cxnLst>
            <a:rect l="0" t="0" r="r" b="b"/>
            <a:pathLst>
              <a:path w="84" h="104">
                <a:moveTo>
                  <a:pt x="36" y="104"/>
                </a:moveTo>
                <a:lnTo>
                  <a:pt x="36" y="104"/>
                </a:lnTo>
                <a:lnTo>
                  <a:pt x="40" y="98"/>
                </a:lnTo>
                <a:lnTo>
                  <a:pt x="42" y="96"/>
                </a:lnTo>
                <a:lnTo>
                  <a:pt x="46" y="96"/>
                </a:lnTo>
                <a:lnTo>
                  <a:pt x="48" y="92"/>
                </a:lnTo>
                <a:lnTo>
                  <a:pt x="48" y="92"/>
                </a:lnTo>
                <a:lnTo>
                  <a:pt x="50" y="88"/>
                </a:lnTo>
                <a:lnTo>
                  <a:pt x="54" y="88"/>
                </a:lnTo>
                <a:lnTo>
                  <a:pt x="54" y="88"/>
                </a:lnTo>
                <a:lnTo>
                  <a:pt x="56" y="84"/>
                </a:lnTo>
                <a:lnTo>
                  <a:pt x="62" y="80"/>
                </a:lnTo>
                <a:lnTo>
                  <a:pt x="62" y="80"/>
                </a:lnTo>
                <a:lnTo>
                  <a:pt x="64" y="76"/>
                </a:lnTo>
                <a:lnTo>
                  <a:pt x="62" y="76"/>
                </a:lnTo>
                <a:lnTo>
                  <a:pt x="60" y="74"/>
                </a:lnTo>
                <a:lnTo>
                  <a:pt x="64" y="70"/>
                </a:lnTo>
                <a:lnTo>
                  <a:pt x="64" y="70"/>
                </a:lnTo>
                <a:lnTo>
                  <a:pt x="70" y="64"/>
                </a:lnTo>
                <a:lnTo>
                  <a:pt x="76" y="60"/>
                </a:lnTo>
                <a:lnTo>
                  <a:pt x="80" y="56"/>
                </a:lnTo>
                <a:lnTo>
                  <a:pt x="84" y="48"/>
                </a:lnTo>
                <a:lnTo>
                  <a:pt x="84" y="48"/>
                </a:lnTo>
                <a:lnTo>
                  <a:pt x="80" y="46"/>
                </a:lnTo>
                <a:lnTo>
                  <a:pt x="78" y="46"/>
                </a:lnTo>
                <a:lnTo>
                  <a:pt x="76" y="46"/>
                </a:lnTo>
                <a:lnTo>
                  <a:pt x="76" y="44"/>
                </a:lnTo>
                <a:lnTo>
                  <a:pt x="66" y="44"/>
                </a:lnTo>
                <a:lnTo>
                  <a:pt x="72" y="0"/>
                </a:lnTo>
                <a:lnTo>
                  <a:pt x="38" y="0"/>
                </a:lnTo>
                <a:lnTo>
                  <a:pt x="38" y="0"/>
                </a:lnTo>
                <a:lnTo>
                  <a:pt x="36" y="4"/>
                </a:lnTo>
                <a:lnTo>
                  <a:pt x="38" y="8"/>
                </a:lnTo>
                <a:lnTo>
                  <a:pt x="40" y="10"/>
                </a:lnTo>
                <a:lnTo>
                  <a:pt x="42" y="14"/>
                </a:lnTo>
                <a:lnTo>
                  <a:pt x="42" y="14"/>
                </a:lnTo>
                <a:lnTo>
                  <a:pt x="40" y="18"/>
                </a:lnTo>
                <a:lnTo>
                  <a:pt x="36" y="18"/>
                </a:lnTo>
                <a:lnTo>
                  <a:pt x="32" y="20"/>
                </a:lnTo>
                <a:lnTo>
                  <a:pt x="30" y="24"/>
                </a:lnTo>
                <a:lnTo>
                  <a:pt x="30" y="24"/>
                </a:lnTo>
                <a:lnTo>
                  <a:pt x="32" y="26"/>
                </a:lnTo>
                <a:lnTo>
                  <a:pt x="36" y="28"/>
                </a:lnTo>
                <a:lnTo>
                  <a:pt x="40" y="30"/>
                </a:lnTo>
                <a:lnTo>
                  <a:pt x="40" y="32"/>
                </a:lnTo>
                <a:lnTo>
                  <a:pt x="40" y="32"/>
                </a:lnTo>
                <a:lnTo>
                  <a:pt x="40" y="36"/>
                </a:lnTo>
                <a:lnTo>
                  <a:pt x="42" y="38"/>
                </a:lnTo>
                <a:lnTo>
                  <a:pt x="44" y="40"/>
                </a:lnTo>
                <a:lnTo>
                  <a:pt x="44" y="44"/>
                </a:lnTo>
                <a:lnTo>
                  <a:pt x="44" y="44"/>
                </a:lnTo>
                <a:lnTo>
                  <a:pt x="28" y="42"/>
                </a:lnTo>
                <a:lnTo>
                  <a:pt x="22" y="44"/>
                </a:lnTo>
                <a:lnTo>
                  <a:pt x="16" y="46"/>
                </a:lnTo>
                <a:lnTo>
                  <a:pt x="12" y="50"/>
                </a:lnTo>
                <a:lnTo>
                  <a:pt x="6" y="56"/>
                </a:lnTo>
                <a:lnTo>
                  <a:pt x="4" y="66"/>
                </a:lnTo>
                <a:lnTo>
                  <a:pt x="0" y="80"/>
                </a:lnTo>
                <a:lnTo>
                  <a:pt x="0" y="80"/>
                </a:lnTo>
                <a:lnTo>
                  <a:pt x="8" y="92"/>
                </a:lnTo>
                <a:lnTo>
                  <a:pt x="16" y="98"/>
                </a:lnTo>
                <a:lnTo>
                  <a:pt x="24" y="102"/>
                </a:lnTo>
                <a:lnTo>
                  <a:pt x="36" y="104"/>
                </a:lnTo>
                <a:lnTo>
                  <a:pt x="36" y="104"/>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798" name="Freeform 30"/>
          <p:cNvSpPr>
            <a:spLocks/>
          </p:cNvSpPr>
          <p:nvPr/>
        </p:nvSpPr>
        <p:spPr bwMode="auto">
          <a:xfrm>
            <a:off x="2636344" y="2183459"/>
            <a:ext cx="91152" cy="63731"/>
          </a:xfrm>
          <a:custGeom>
            <a:avLst/>
            <a:gdLst/>
            <a:ahLst/>
            <a:cxnLst>
              <a:cxn ang="0">
                <a:pos x="4" y="46"/>
              </a:cxn>
              <a:cxn ang="0">
                <a:pos x="4" y="48"/>
              </a:cxn>
              <a:cxn ang="0">
                <a:pos x="2" y="54"/>
              </a:cxn>
              <a:cxn ang="0">
                <a:pos x="4" y="54"/>
              </a:cxn>
              <a:cxn ang="0">
                <a:pos x="10" y="54"/>
              </a:cxn>
              <a:cxn ang="0">
                <a:pos x="10" y="54"/>
              </a:cxn>
              <a:cxn ang="0">
                <a:pos x="12" y="56"/>
              </a:cxn>
              <a:cxn ang="0">
                <a:pos x="16" y="52"/>
              </a:cxn>
              <a:cxn ang="0">
                <a:pos x="22" y="48"/>
              </a:cxn>
              <a:cxn ang="0">
                <a:pos x="26" y="46"/>
              </a:cxn>
              <a:cxn ang="0">
                <a:pos x="24" y="42"/>
              </a:cxn>
              <a:cxn ang="0">
                <a:pos x="24" y="42"/>
              </a:cxn>
              <a:cxn ang="0">
                <a:pos x="28" y="42"/>
              </a:cxn>
              <a:cxn ang="0">
                <a:pos x="30" y="40"/>
              </a:cxn>
              <a:cxn ang="0">
                <a:pos x="32" y="40"/>
              </a:cxn>
              <a:cxn ang="0">
                <a:pos x="34" y="42"/>
              </a:cxn>
              <a:cxn ang="0">
                <a:pos x="38" y="42"/>
              </a:cxn>
              <a:cxn ang="0">
                <a:pos x="40" y="40"/>
              </a:cxn>
              <a:cxn ang="0">
                <a:pos x="42" y="38"/>
              </a:cxn>
              <a:cxn ang="0">
                <a:pos x="48" y="40"/>
              </a:cxn>
              <a:cxn ang="0">
                <a:pos x="52" y="38"/>
              </a:cxn>
              <a:cxn ang="0">
                <a:pos x="56" y="36"/>
              </a:cxn>
              <a:cxn ang="0">
                <a:pos x="66" y="44"/>
              </a:cxn>
              <a:cxn ang="0">
                <a:pos x="68" y="46"/>
              </a:cxn>
              <a:cxn ang="0">
                <a:pos x="70" y="42"/>
              </a:cxn>
              <a:cxn ang="0">
                <a:pos x="72" y="40"/>
              </a:cxn>
              <a:cxn ang="0">
                <a:pos x="74" y="40"/>
              </a:cxn>
              <a:cxn ang="0">
                <a:pos x="80" y="36"/>
              </a:cxn>
              <a:cxn ang="0">
                <a:pos x="78" y="32"/>
              </a:cxn>
              <a:cxn ang="0">
                <a:pos x="68" y="24"/>
              </a:cxn>
              <a:cxn ang="0">
                <a:pos x="60" y="20"/>
              </a:cxn>
              <a:cxn ang="0">
                <a:pos x="52" y="20"/>
              </a:cxn>
              <a:cxn ang="0">
                <a:pos x="46" y="18"/>
              </a:cxn>
              <a:cxn ang="0">
                <a:pos x="52" y="16"/>
              </a:cxn>
              <a:cxn ang="0">
                <a:pos x="56" y="16"/>
              </a:cxn>
              <a:cxn ang="0">
                <a:pos x="60" y="14"/>
              </a:cxn>
              <a:cxn ang="0">
                <a:pos x="58" y="14"/>
              </a:cxn>
              <a:cxn ang="0">
                <a:pos x="48" y="12"/>
              </a:cxn>
              <a:cxn ang="0">
                <a:pos x="48" y="10"/>
              </a:cxn>
              <a:cxn ang="0">
                <a:pos x="46" y="6"/>
              </a:cxn>
              <a:cxn ang="0">
                <a:pos x="42" y="6"/>
              </a:cxn>
              <a:cxn ang="0">
                <a:pos x="38" y="6"/>
              </a:cxn>
              <a:cxn ang="0">
                <a:pos x="32" y="4"/>
              </a:cxn>
              <a:cxn ang="0">
                <a:pos x="28" y="2"/>
              </a:cxn>
              <a:cxn ang="0">
                <a:pos x="24" y="0"/>
              </a:cxn>
              <a:cxn ang="0">
                <a:pos x="20" y="2"/>
              </a:cxn>
              <a:cxn ang="0">
                <a:pos x="14" y="0"/>
              </a:cxn>
              <a:cxn ang="0">
                <a:pos x="12" y="2"/>
              </a:cxn>
              <a:cxn ang="0">
                <a:pos x="8" y="4"/>
              </a:cxn>
              <a:cxn ang="0">
                <a:pos x="8" y="12"/>
              </a:cxn>
              <a:cxn ang="0">
                <a:pos x="8" y="14"/>
              </a:cxn>
              <a:cxn ang="0">
                <a:pos x="10" y="18"/>
              </a:cxn>
              <a:cxn ang="0">
                <a:pos x="8" y="20"/>
              </a:cxn>
              <a:cxn ang="0">
                <a:pos x="6" y="24"/>
              </a:cxn>
              <a:cxn ang="0">
                <a:pos x="8" y="32"/>
              </a:cxn>
              <a:cxn ang="0">
                <a:pos x="4" y="36"/>
              </a:cxn>
              <a:cxn ang="0">
                <a:pos x="2" y="38"/>
              </a:cxn>
              <a:cxn ang="0">
                <a:pos x="4" y="46"/>
              </a:cxn>
            </a:cxnLst>
            <a:rect l="0" t="0" r="r" b="b"/>
            <a:pathLst>
              <a:path w="80" h="56">
                <a:moveTo>
                  <a:pt x="4" y="46"/>
                </a:moveTo>
                <a:lnTo>
                  <a:pt x="4" y="46"/>
                </a:lnTo>
                <a:lnTo>
                  <a:pt x="4" y="48"/>
                </a:lnTo>
                <a:lnTo>
                  <a:pt x="4" y="48"/>
                </a:lnTo>
                <a:lnTo>
                  <a:pt x="4" y="52"/>
                </a:lnTo>
                <a:lnTo>
                  <a:pt x="2" y="54"/>
                </a:lnTo>
                <a:lnTo>
                  <a:pt x="4" y="54"/>
                </a:lnTo>
                <a:lnTo>
                  <a:pt x="4" y="54"/>
                </a:lnTo>
                <a:lnTo>
                  <a:pt x="8" y="54"/>
                </a:lnTo>
                <a:lnTo>
                  <a:pt x="10" y="54"/>
                </a:lnTo>
                <a:lnTo>
                  <a:pt x="10" y="54"/>
                </a:lnTo>
                <a:lnTo>
                  <a:pt x="10" y="54"/>
                </a:lnTo>
                <a:lnTo>
                  <a:pt x="10" y="56"/>
                </a:lnTo>
                <a:lnTo>
                  <a:pt x="12" y="56"/>
                </a:lnTo>
                <a:lnTo>
                  <a:pt x="16" y="52"/>
                </a:lnTo>
                <a:lnTo>
                  <a:pt x="16" y="52"/>
                </a:lnTo>
                <a:lnTo>
                  <a:pt x="18" y="50"/>
                </a:lnTo>
                <a:lnTo>
                  <a:pt x="22" y="48"/>
                </a:lnTo>
                <a:lnTo>
                  <a:pt x="22" y="48"/>
                </a:lnTo>
                <a:lnTo>
                  <a:pt x="26" y="46"/>
                </a:lnTo>
                <a:lnTo>
                  <a:pt x="26" y="44"/>
                </a:lnTo>
                <a:lnTo>
                  <a:pt x="24" y="42"/>
                </a:lnTo>
                <a:lnTo>
                  <a:pt x="24" y="42"/>
                </a:lnTo>
                <a:lnTo>
                  <a:pt x="24" y="42"/>
                </a:lnTo>
                <a:lnTo>
                  <a:pt x="26" y="42"/>
                </a:lnTo>
                <a:lnTo>
                  <a:pt x="28" y="42"/>
                </a:lnTo>
                <a:lnTo>
                  <a:pt x="30" y="40"/>
                </a:lnTo>
                <a:lnTo>
                  <a:pt x="30" y="40"/>
                </a:lnTo>
                <a:lnTo>
                  <a:pt x="30" y="40"/>
                </a:lnTo>
                <a:lnTo>
                  <a:pt x="32" y="40"/>
                </a:lnTo>
                <a:lnTo>
                  <a:pt x="32" y="42"/>
                </a:lnTo>
                <a:lnTo>
                  <a:pt x="34" y="42"/>
                </a:lnTo>
                <a:lnTo>
                  <a:pt x="34" y="42"/>
                </a:lnTo>
                <a:lnTo>
                  <a:pt x="38" y="42"/>
                </a:lnTo>
                <a:lnTo>
                  <a:pt x="40" y="42"/>
                </a:lnTo>
                <a:lnTo>
                  <a:pt x="40" y="40"/>
                </a:lnTo>
                <a:lnTo>
                  <a:pt x="40" y="40"/>
                </a:lnTo>
                <a:lnTo>
                  <a:pt x="42" y="38"/>
                </a:lnTo>
                <a:lnTo>
                  <a:pt x="44" y="38"/>
                </a:lnTo>
                <a:lnTo>
                  <a:pt x="48" y="40"/>
                </a:lnTo>
                <a:lnTo>
                  <a:pt x="48" y="40"/>
                </a:lnTo>
                <a:lnTo>
                  <a:pt x="52" y="38"/>
                </a:lnTo>
                <a:lnTo>
                  <a:pt x="56" y="36"/>
                </a:lnTo>
                <a:lnTo>
                  <a:pt x="56" y="36"/>
                </a:lnTo>
                <a:lnTo>
                  <a:pt x="62" y="40"/>
                </a:lnTo>
                <a:lnTo>
                  <a:pt x="66" y="44"/>
                </a:lnTo>
                <a:lnTo>
                  <a:pt x="66" y="44"/>
                </a:lnTo>
                <a:lnTo>
                  <a:pt x="68" y="46"/>
                </a:lnTo>
                <a:lnTo>
                  <a:pt x="68" y="44"/>
                </a:lnTo>
                <a:lnTo>
                  <a:pt x="70" y="42"/>
                </a:lnTo>
                <a:lnTo>
                  <a:pt x="70" y="42"/>
                </a:lnTo>
                <a:lnTo>
                  <a:pt x="72" y="40"/>
                </a:lnTo>
                <a:lnTo>
                  <a:pt x="74" y="40"/>
                </a:lnTo>
                <a:lnTo>
                  <a:pt x="74" y="40"/>
                </a:lnTo>
                <a:lnTo>
                  <a:pt x="78" y="40"/>
                </a:lnTo>
                <a:lnTo>
                  <a:pt x="80" y="36"/>
                </a:lnTo>
                <a:lnTo>
                  <a:pt x="80" y="34"/>
                </a:lnTo>
                <a:lnTo>
                  <a:pt x="78" y="32"/>
                </a:lnTo>
                <a:lnTo>
                  <a:pt x="78" y="32"/>
                </a:lnTo>
                <a:lnTo>
                  <a:pt x="68" y="24"/>
                </a:lnTo>
                <a:lnTo>
                  <a:pt x="68" y="24"/>
                </a:lnTo>
                <a:lnTo>
                  <a:pt x="60" y="20"/>
                </a:lnTo>
                <a:lnTo>
                  <a:pt x="52" y="20"/>
                </a:lnTo>
                <a:lnTo>
                  <a:pt x="52" y="20"/>
                </a:lnTo>
                <a:lnTo>
                  <a:pt x="50" y="18"/>
                </a:lnTo>
                <a:lnTo>
                  <a:pt x="46" y="18"/>
                </a:lnTo>
                <a:lnTo>
                  <a:pt x="46" y="18"/>
                </a:lnTo>
                <a:lnTo>
                  <a:pt x="52" y="16"/>
                </a:lnTo>
                <a:lnTo>
                  <a:pt x="56" y="16"/>
                </a:lnTo>
                <a:lnTo>
                  <a:pt x="56" y="16"/>
                </a:lnTo>
                <a:lnTo>
                  <a:pt x="58" y="16"/>
                </a:lnTo>
                <a:lnTo>
                  <a:pt x="60" y="14"/>
                </a:lnTo>
                <a:lnTo>
                  <a:pt x="58" y="14"/>
                </a:lnTo>
                <a:lnTo>
                  <a:pt x="58" y="14"/>
                </a:lnTo>
                <a:lnTo>
                  <a:pt x="52" y="12"/>
                </a:lnTo>
                <a:lnTo>
                  <a:pt x="48" y="12"/>
                </a:lnTo>
                <a:lnTo>
                  <a:pt x="48" y="12"/>
                </a:lnTo>
                <a:lnTo>
                  <a:pt x="48" y="10"/>
                </a:lnTo>
                <a:lnTo>
                  <a:pt x="48" y="8"/>
                </a:lnTo>
                <a:lnTo>
                  <a:pt x="46" y="6"/>
                </a:lnTo>
                <a:lnTo>
                  <a:pt x="46" y="6"/>
                </a:lnTo>
                <a:lnTo>
                  <a:pt x="42" y="6"/>
                </a:lnTo>
                <a:lnTo>
                  <a:pt x="38" y="6"/>
                </a:lnTo>
                <a:lnTo>
                  <a:pt x="38" y="6"/>
                </a:lnTo>
                <a:lnTo>
                  <a:pt x="34" y="4"/>
                </a:lnTo>
                <a:lnTo>
                  <a:pt x="32" y="4"/>
                </a:lnTo>
                <a:lnTo>
                  <a:pt x="32" y="4"/>
                </a:lnTo>
                <a:lnTo>
                  <a:pt x="28" y="2"/>
                </a:lnTo>
                <a:lnTo>
                  <a:pt x="26" y="0"/>
                </a:lnTo>
                <a:lnTo>
                  <a:pt x="24" y="0"/>
                </a:lnTo>
                <a:lnTo>
                  <a:pt x="24" y="0"/>
                </a:lnTo>
                <a:lnTo>
                  <a:pt x="20" y="2"/>
                </a:lnTo>
                <a:lnTo>
                  <a:pt x="18" y="0"/>
                </a:lnTo>
                <a:lnTo>
                  <a:pt x="14" y="0"/>
                </a:lnTo>
                <a:lnTo>
                  <a:pt x="12" y="2"/>
                </a:lnTo>
                <a:lnTo>
                  <a:pt x="12" y="2"/>
                </a:lnTo>
                <a:lnTo>
                  <a:pt x="8" y="4"/>
                </a:lnTo>
                <a:lnTo>
                  <a:pt x="8" y="4"/>
                </a:lnTo>
                <a:lnTo>
                  <a:pt x="10" y="8"/>
                </a:lnTo>
                <a:lnTo>
                  <a:pt x="8" y="12"/>
                </a:lnTo>
                <a:lnTo>
                  <a:pt x="8" y="12"/>
                </a:lnTo>
                <a:lnTo>
                  <a:pt x="8" y="14"/>
                </a:lnTo>
                <a:lnTo>
                  <a:pt x="8" y="16"/>
                </a:lnTo>
                <a:lnTo>
                  <a:pt x="10" y="18"/>
                </a:lnTo>
                <a:lnTo>
                  <a:pt x="8" y="20"/>
                </a:lnTo>
                <a:lnTo>
                  <a:pt x="8" y="20"/>
                </a:lnTo>
                <a:lnTo>
                  <a:pt x="6" y="22"/>
                </a:lnTo>
                <a:lnTo>
                  <a:pt x="6" y="24"/>
                </a:lnTo>
                <a:lnTo>
                  <a:pt x="8" y="28"/>
                </a:lnTo>
                <a:lnTo>
                  <a:pt x="8" y="32"/>
                </a:lnTo>
                <a:lnTo>
                  <a:pt x="4" y="36"/>
                </a:lnTo>
                <a:lnTo>
                  <a:pt x="4" y="36"/>
                </a:lnTo>
                <a:lnTo>
                  <a:pt x="0" y="36"/>
                </a:lnTo>
                <a:lnTo>
                  <a:pt x="2" y="38"/>
                </a:lnTo>
                <a:lnTo>
                  <a:pt x="4" y="42"/>
                </a:lnTo>
                <a:lnTo>
                  <a:pt x="4" y="46"/>
                </a:lnTo>
                <a:lnTo>
                  <a:pt x="4" y="46"/>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799" name="Freeform 34"/>
          <p:cNvSpPr>
            <a:spLocks/>
          </p:cNvSpPr>
          <p:nvPr/>
        </p:nvSpPr>
        <p:spPr bwMode="auto">
          <a:xfrm>
            <a:off x="2349212" y="2092413"/>
            <a:ext cx="250671" cy="97874"/>
          </a:xfrm>
          <a:custGeom>
            <a:avLst/>
            <a:gdLst/>
            <a:ahLst/>
            <a:cxnLst>
              <a:cxn ang="0">
                <a:pos x="6" y="34"/>
              </a:cxn>
              <a:cxn ang="0">
                <a:pos x="10" y="34"/>
              </a:cxn>
              <a:cxn ang="0">
                <a:pos x="20" y="32"/>
              </a:cxn>
              <a:cxn ang="0">
                <a:pos x="22" y="28"/>
              </a:cxn>
              <a:cxn ang="0">
                <a:pos x="32" y="24"/>
              </a:cxn>
              <a:cxn ang="0">
                <a:pos x="42" y="20"/>
              </a:cxn>
              <a:cxn ang="0">
                <a:pos x="46" y="16"/>
              </a:cxn>
              <a:cxn ang="0">
                <a:pos x="74" y="20"/>
              </a:cxn>
              <a:cxn ang="0">
                <a:pos x="66" y="22"/>
              </a:cxn>
              <a:cxn ang="0">
                <a:pos x="62" y="26"/>
              </a:cxn>
              <a:cxn ang="0">
                <a:pos x="80" y="28"/>
              </a:cxn>
              <a:cxn ang="0">
                <a:pos x="92" y="30"/>
              </a:cxn>
              <a:cxn ang="0">
                <a:pos x="96" y="32"/>
              </a:cxn>
              <a:cxn ang="0">
                <a:pos x="106" y="38"/>
              </a:cxn>
              <a:cxn ang="0">
                <a:pos x="126" y="44"/>
              </a:cxn>
              <a:cxn ang="0">
                <a:pos x="130" y="46"/>
              </a:cxn>
              <a:cxn ang="0">
                <a:pos x="132" y="56"/>
              </a:cxn>
              <a:cxn ang="0">
                <a:pos x="140" y="64"/>
              </a:cxn>
              <a:cxn ang="0">
                <a:pos x="150" y="66"/>
              </a:cxn>
              <a:cxn ang="0">
                <a:pos x="154" y="68"/>
              </a:cxn>
              <a:cxn ang="0">
                <a:pos x="156" y="74"/>
              </a:cxn>
              <a:cxn ang="0">
                <a:pos x="144" y="82"/>
              </a:cxn>
              <a:cxn ang="0">
                <a:pos x="158" y="84"/>
              </a:cxn>
              <a:cxn ang="0">
                <a:pos x="174" y="82"/>
              </a:cxn>
              <a:cxn ang="0">
                <a:pos x="188" y="82"/>
              </a:cxn>
              <a:cxn ang="0">
                <a:pos x="198" y="82"/>
              </a:cxn>
              <a:cxn ang="0">
                <a:pos x="218" y="76"/>
              </a:cxn>
              <a:cxn ang="0">
                <a:pos x="218" y="72"/>
              </a:cxn>
              <a:cxn ang="0">
                <a:pos x="210" y="66"/>
              </a:cxn>
              <a:cxn ang="0">
                <a:pos x="200" y="64"/>
              </a:cxn>
              <a:cxn ang="0">
                <a:pos x="196" y="64"/>
              </a:cxn>
              <a:cxn ang="0">
                <a:pos x="186" y="62"/>
              </a:cxn>
              <a:cxn ang="0">
                <a:pos x="190" y="56"/>
              </a:cxn>
              <a:cxn ang="0">
                <a:pos x="192" y="52"/>
              </a:cxn>
              <a:cxn ang="0">
                <a:pos x="182" y="50"/>
              </a:cxn>
              <a:cxn ang="0">
                <a:pos x="168" y="46"/>
              </a:cxn>
              <a:cxn ang="0">
                <a:pos x="154" y="38"/>
              </a:cxn>
              <a:cxn ang="0">
                <a:pos x="148" y="38"/>
              </a:cxn>
              <a:cxn ang="0">
                <a:pos x="144" y="32"/>
              </a:cxn>
              <a:cxn ang="0">
                <a:pos x="142" y="32"/>
              </a:cxn>
              <a:cxn ang="0">
                <a:pos x="128" y="26"/>
              </a:cxn>
              <a:cxn ang="0">
                <a:pos x="116" y="18"/>
              </a:cxn>
              <a:cxn ang="0">
                <a:pos x="102" y="8"/>
              </a:cxn>
              <a:cxn ang="0">
                <a:pos x="88" y="6"/>
              </a:cxn>
              <a:cxn ang="0">
                <a:pos x="82" y="4"/>
              </a:cxn>
              <a:cxn ang="0">
                <a:pos x="58" y="2"/>
              </a:cxn>
              <a:cxn ang="0">
                <a:pos x="44" y="2"/>
              </a:cxn>
              <a:cxn ang="0">
                <a:pos x="26" y="8"/>
              </a:cxn>
              <a:cxn ang="0">
                <a:pos x="16" y="14"/>
              </a:cxn>
              <a:cxn ang="0">
                <a:pos x="14" y="26"/>
              </a:cxn>
              <a:cxn ang="0">
                <a:pos x="8" y="30"/>
              </a:cxn>
            </a:cxnLst>
            <a:rect l="0" t="0" r="r" b="b"/>
            <a:pathLst>
              <a:path w="220" h="86">
                <a:moveTo>
                  <a:pt x="0" y="32"/>
                </a:moveTo>
                <a:lnTo>
                  <a:pt x="0" y="32"/>
                </a:lnTo>
                <a:lnTo>
                  <a:pt x="2" y="36"/>
                </a:lnTo>
                <a:lnTo>
                  <a:pt x="6" y="34"/>
                </a:lnTo>
                <a:lnTo>
                  <a:pt x="6" y="34"/>
                </a:lnTo>
                <a:lnTo>
                  <a:pt x="10" y="32"/>
                </a:lnTo>
                <a:lnTo>
                  <a:pt x="12" y="32"/>
                </a:lnTo>
                <a:lnTo>
                  <a:pt x="12" y="32"/>
                </a:lnTo>
                <a:lnTo>
                  <a:pt x="12" y="32"/>
                </a:lnTo>
                <a:lnTo>
                  <a:pt x="10" y="34"/>
                </a:lnTo>
                <a:lnTo>
                  <a:pt x="12" y="34"/>
                </a:lnTo>
                <a:lnTo>
                  <a:pt x="14" y="34"/>
                </a:lnTo>
                <a:lnTo>
                  <a:pt x="14" y="34"/>
                </a:lnTo>
                <a:lnTo>
                  <a:pt x="16" y="32"/>
                </a:lnTo>
                <a:lnTo>
                  <a:pt x="20" y="32"/>
                </a:lnTo>
                <a:lnTo>
                  <a:pt x="20" y="32"/>
                </a:lnTo>
                <a:lnTo>
                  <a:pt x="22" y="30"/>
                </a:lnTo>
                <a:lnTo>
                  <a:pt x="24" y="30"/>
                </a:lnTo>
                <a:lnTo>
                  <a:pt x="22" y="28"/>
                </a:lnTo>
                <a:lnTo>
                  <a:pt x="22" y="28"/>
                </a:lnTo>
                <a:lnTo>
                  <a:pt x="22" y="28"/>
                </a:lnTo>
                <a:lnTo>
                  <a:pt x="22" y="26"/>
                </a:lnTo>
                <a:lnTo>
                  <a:pt x="26" y="24"/>
                </a:lnTo>
                <a:lnTo>
                  <a:pt x="26" y="24"/>
                </a:lnTo>
                <a:lnTo>
                  <a:pt x="32" y="24"/>
                </a:lnTo>
                <a:lnTo>
                  <a:pt x="36" y="24"/>
                </a:lnTo>
                <a:lnTo>
                  <a:pt x="36" y="24"/>
                </a:lnTo>
                <a:lnTo>
                  <a:pt x="40" y="22"/>
                </a:lnTo>
                <a:lnTo>
                  <a:pt x="42" y="20"/>
                </a:lnTo>
                <a:lnTo>
                  <a:pt x="42" y="20"/>
                </a:lnTo>
                <a:lnTo>
                  <a:pt x="44" y="18"/>
                </a:lnTo>
                <a:lnTo>
                  <a:pt x="44" y="18"/>
                </a:lnTo>
                <a:lnTo>
                  <a:pt x="44" y="16"/>
                </a:lnTo>
                <a:lnTo>
                  <a:pt x="46" y="16"/>
                </a:lnTo>
                <a:lnTo>
                  <a:pt x="46" y="16"/>
                </a:lnTo>
                <a:lnTo>
                  <a:pt x="60" y="16"/>
                </a:lnTo>
                <a:lnTo>
                  <a:pt x="70" y="18"/>
                </a:lnTo>
                <a:lnTo>
                  <a:pt x="70" y="18"/>
                </a:lnTo>
                <a:lnTo>
                  <a:pt x="74" y="20"/>
                </a:lnTo>
                <a:lnTo>
                  <a:pt x="74" y="20"/>
                </a:lnTo>
                <a:lnTo>
                  <a:pt x="72" y="20"/>
                </a:lnTo>
                <a:lnTo>
                  <a:pt x="72" y="20"/>
                </a:lnTo>
                <a:lnTo>
                  <a:pt x="68" y="22"/>
                </a:lnTo>
                <a:lnTo>
                  <a:pt x="66" y="22"/>
                </a:lnTo>
                <a:lnTo>
                  <a:pt x="66" y="22"/>
                </a:lnTo>
                <a:lnTo>
                  <a:pt x="60" y="22"/>
                </a:lnTo>
                <a:lnTo>
                  <a:pt x="58" y="22"/>
                </a:lnTo>
                <a:lnTo>
                  <a:pt x="58" y="22"/>
                </a:lnTo>
                <a:lnTo>
                  <a:pt x="58" y="24"/>
                </a:lnTo>
                <a:lnTo>
                  <a:pt x="62" y="26"/>
                </a:lnTo>
                <a:lnTo>
                  <a:pt x="62" y="26"/>
                </a:lnTo>
                <a:lnTo>
                  <a:pt x="66" y="28"/>
                </a:lnTo>
                <a:lnTo>
                  <a:pt x="72" y="28"/>
                </a:lnTo>
                <a:lnTo>
                  <a:pt x="72" y="28"/>
                </a:lnTo>
                <a:lnTo>
                  <a:pt x="80" y="28"/>
                </a:lnTo>
                <a:lnTo>
                  <a:pt x="84" y="30"/>
                </a:lnTo>
                <a:lnTo>
                  <a:pt x="88" y="28"/>
                </a:lnTo>
                <a:lnTo>
                  <a:pt x="88" y="28"/>
                </a:lnTo>
                <a:lnTo>
                  <a:pt x="90" y="28"/>
                </a:lnTo>
                <a:lnTo>
                  <a:pt x="92" y="30"/>
                </a:lnTo>
                <a:lnTo>
                  <a:pt x="94" y="28"/>
                </a:lnTo>
                <a:lnTo>
                  <a:pt x="94" y="28"/>
                </a:lnTo>
                <a:lnTo>
                  <a:pt x="96" y="28"/>
                </a:lnTo>
                <a:lnTo>
                  <a:pt x="94" y="30"/>
                </a:lnTo>
                <a:lnTo>
                  <a:pt x="96" y="32"/>
                </a:lnTo>
                <a:lnTo>
                  <a:pt x="98" y="32"/>
                </a:lnTo>
                <a:lnTo>
                  <a:pt x="98" y="32"/>
                </a:lnTo>
                <a:lnTo>
                  <a:pt x="100" y="34"/>
                </a:lnTo>
                <a:lnTo>
                  <a:pt x="106" y="38"/>
                </a:lnTo>
                <a:lnTo>
                  <a:pt x="106" y="38"/>
                </a:lnTo>
                <a:lnTo>
                  <a:pt x="112" y="40"/>
                </a:lnTo>
                <a:lnTo>
                  <a:pt x="118" y="42"/>
                </a:lnTo>
                <a:lnTo>
                  <a:pt x="118" y="42"/>
                </a:lnTo>
                <a:lnTo>
                  <a:pt x="124" y="44"/>
                </a:lnTo>
                <a:lnTo>
                  <a:pt x="126" y="44"/>
                </a:lnTo>
                <a:lnTo>
                  <a:pt x="126" y="44"/>
                </a:lnTo>
                <a:lnTo>
                  <a:pt x="128" y="42"/>
                </a:lnTo>
                <a:lnTo>
                  <a:pt x="128" y="44"/>
                </a:lnTo>
                <a:lnTo>
                  <a:pt x="128" y="44"/>
                </a:lnTo>
                <a:lnTo>
                  <a:pt x="130" y="46"/>
                </a:lnTo>
                <a:lnTo>
                  <a:pt x="130" y="46"/>
                </a:lnTo>
                <a:lnTo>
                  <a:pt x="130" y="48"/>
                </a:lnTo>
                <a:lnTo>
                  <a:pt x="130" y="48"/>
                </a:lnTo>
                <a:lnTo>
                  <a:pt x="132" y="52"/>
                </a:lnTo>
                <a:lnTo>
                  <a:pt x="132" y="56"/>
                </a:lnTo>
                <a:lnTo>
                  <a:pt x="132" y="56"/>
                </a:lnTo>
                <a:lnTo>
                  <a:pt x="132" y="58"/>
                </a:lnTo>
                <a:lnTo>
                  <a:pt x="136" y="62"/>
                </a:lnTo>
                <a:lnTo>
                  <a:pt x="136" y="62"/>
                </a:lnTo>
                <a:lnTo>
                  <a:pt x="140" y="64"/>
                </a:lnTo>
                <a:lnTo>
                  <a:pt x="144" y="64"/>
                </a:lnTo>
                <a:lnTo>
                  <a:pt x="144" y="64"/>
                </a:lnTo>
                <a:lnTo>
                  <a:pt x="146" y="66"/>
                </a:lnTo>
                <a:lnTo>
                  <a:pt x="150" y="66"/>
                </a:lnTo>
                <a:lnTo>
                  <a:pt x="150" y="66"/>
                </a:lnTo>
                <a:lnTo>
                  <a:pt x="154" y="64"/>
                </a:lnTo>
                <a:lnTo>
                  <a:pt x="156" y="64"/>
                </a:lnTo>
                <a:lnTo>
                  <a:pt x="154" y="66"/>
                </a:lnTo>
                <a:lnTo>
                  <a:pt x="154" y="66"/>
                </a:lnTo>
                <a:lnTo>
                  <a:pt x="154" y="68"/>
                </a:lnTo>
                <a:lnTo>
                  <a:pt x="158" y="70"/>
                </a:lnTo>
                <a:lnTo>
                  <a:pt x="158" y="70"/>
                </a:lnTo>
                <a:lnTo>
                  <a:pt x="160" y="72"/>
                </a:lnTo>
                <a:lnTo>
                  <a:pt x="156" y="74"/>
                </a:lnTo>
                <a:lnTo>
                  <a:pt x="156" y="74"/>
                </a:lnTo>
                <a:lnTo>
                  <a:pt x="150" y="78"/>
                </a:lnTo>
                <a:lnTo>
                  <a:pt x="150" y="78"/>
                </a:lnTo>
                <a:lnTo>
                  <a:pt x="146" y="80"/>
                </a:lnTo>
                <a:lnTo>
                  <a:pt x="144" y="82"/>
                </a:lnTo>
                <a:lnTo>
                  <a:pt x="144" y="82"/>
                </a:lnTo>
                <a:lnTo>
                  <a:pt x="142" y="84"/>
                </a:lnTo>
                <a:lnTo>
                  <a:pt x="148" y="86"/>
                </a:lnTo>
                <a:lnTo>
                  <a:pt x="148" y="86"/>
                </a:lnTo>
                <a:lnTo>
                  <a:pt x="154" y="84"/>
                </a:lnTo>
                <a:lnTo>
                  <a:pt x="158" y="84"/>
                </a:lnTo>
                <a:lnTo>
                  <a:pt x="158" y="84"/>
                </a:lnTo>
                <a:lnTo>
                  <a:pt x="162" y="84"/>
                </a:lnTo>
                <a:lnTo>
                  <a:pt x="168" y="82"/>
                </a:lnTo>
                <a:lnTo>
                  <a:pt x="168" y="82"/>
                </a:lnTo>
                <a:lnTo>
                  <a:pt x="174" y="82"/>
                </a:lnTo>
                <a:lnTo>
                  <a:pt x="176" y="82"/>
                </a:lnTo>
                <a:lnTo>
                  <a:pt x="178" y="82"/>
                </a:lnTo>
                <a:lnTo>
                  <a:pt x="182" y="82"/>
                </a:lnTo>
                <a:lnTo>
                  <a:pt x="182" y="82"/>
                </a:lnTo>
                <a:lnTo>
                  <a:pt x="188" y="82"/>
                </a:lnTo>
                <a:lnTo>
                  <a:pt x="194" y="82"/>
                </a:lnTo>
                <a:lnTo>
                  <a:pt x="194" y="82"/>
                </a:lnTo>
                <a:lnTo>
                  <a:pt x="194" y="82"/>
                </a:lnTo>
                <a:lnTo>
                  <a:pt x="198" y="82"/>
                </a:lnTo>
                <a:lnTo>
                  <a:pt x="198" y="82"/>
                </a:lnTo>
                <a:lnTo>
                  <a:pt x="202" y="80"/>
                </a:lnTo>
                <a:lnTo>
                  <a:pt x="208" y="78"/>
                </a:lnTo>
                <a:lnTo>
                  <a:pt x="208" y="78"/>
                </a:lnTo>
                <a:lnTo>
                  <a:pt x="214" y="78"/>
                </a:lnTo>
                <a:lnTo>
                  <a:pt x="218" y="76"/>
                </a:lnTo>
                <a:lnTo>
                  <a:pt x="218" y="76"/>
                </a:lnTo>
                <a:lnTo>
                  <a:pt x="220" y="74"/>
                </a:lnTo>
                <a:lnTo>
                  <a:pt x="218" y="72"/>
                </a:lnTo>
                <a:lnTo>
                  <a:pt x="218" y="72"/>
                </a:lnTo>
                <a:lnTo>
                  <a:pt x="218" y="72"/>
                </a:lnTo>
                <a:lnTo>
                  <a:pt x="216" y="72"/>
                </a:lnTo>
                <a:lnTo>
                  <a:pt x="214" y="70"/>
                </a:lnTo>
                <a:lnTo>
                  <a:pt x="212" y="70"/>
                </a:lnTo>
                <a:lnTo>
                  <a:pt x="212" y="70"/>
                </a:lnTo>
                <a:lnTo>
                  <a:pt x="210" y="66"/>
                </a:lnTo>
                <a:lnTo>
                  <a:pt x="208" y="66"/>
                </a:lnTo>
                <a:lnTo>
                  <a:pt x="208" y="66"/>
                </a:lnTo>
                <a:lnTo>
                  <a:pt x="204" y="66"/>
                </a:lnTo>
                <a:lnTo>
                  <a:pt x="200" y="64"/>
                </a:lnTo>
                <a:lnTo>
                  <a:pt x="200" y="64"/>
                </a:lnTo>
                <a:lnTo>
                  <a:pt x="200" y="64"/>
                </a:lnTo>
                <a:lnTo>
                  <a:pt x="198" y="64"/>
                </a:lnTo>
                <a:lnTo>
                  <a:pt x="196" y="64"/>
                </a:lnTo>
                <a:lnTo>
                  <a:pt x="196" y="64"/>
                </a:lnTo>
                <a:lnTo>
                  <a:pt x="196" y="64"/>
                </a:lnTo>
                <a:lnTo>
                  <a:pt x="192" y="64"/>
                </a:lnTo>
                <a:lnTo>
                  <a:pt x="190" y="64"/>
                </a:lnTo>
                <a:lnTo>
                  <a:pt x="190" y="64"/>
                </a:lnTo>
                <a:lnTo>
                  <a:pt x="188" y="62"/>
                </a:lnTo>
                <a:lnTo>
                  <a:pt x="186" y="62"/>
                </a:lnTo>
                <a:lnTo>
                  <a:pt x="186" y="62"/>
                </a:lnTo>
                <a:lnTo>
                  <a:pt x="186" y="62"/>
                </a:lnTo>
                <a:lnTo>
                  <a:pt x="192" y="60"/>
                </a:lnTo>
                <a:lnTo>
                  <a:pt x="192" y="58"/>
                </a:lnTo>
                <a:lnTo>
                  <a:pt x="190" y="56"/>
                </a:lnTo>
                <a:lnTo>
                  <a:pt x="190" y="56"/>
                </a:lnTo>
                <a:lnTo>
                  <a:pt x="190" y="56"/>
                </a:lnTo>
                <a:lnTo>
                  <a:pt x="192" y="54"/>
                </a:lnTo>
                <a:lnTo>
                  <a:pt x="192" y="52"/>
                </a:lnTo>
                <a:lnTo>
                  <a:pt x="192" y="52"/>
                </a:lnTo>
                <a:lnTo>
                  <a:pt x="192" y="52"/>
                </a:lnTo>
                <a:lnTo>
                  <a:pt x="188" y="52"/>
                </a:lnTo>
                <a:lnTo>
                  <a:pt x="184" y="50"/>
                </a:lnTo>
                <a:lnTo>
                  <a:pt x="184" y="50"/>
                </a:lnTo>
                <a:lnTo>
                  <a:pt x="182" y="50"/>
                </a:lnTo>
                <a:lnTo>
                  <a:pt x="180" y="50"/>
                </a:lnTo>
                <a:lnTo>
                  <a:pt x="178" y="50"/>
                </a:lnTo>
                <a:lnTo>
                  <a:pt x="178" y="50"/>
                </a:lnTo>
                <a:lnTo>
                  <a:pt x="172" y="48"/>
                </a:lnTo>
                <a:lnTo>
                  <a:pt x="168" y="46"/>
                </a:lnTo>
                <a:lnTo>
                  <a:pt x="168" y="46"/>
                </a:lnTo>
                <a:lnTo>
                  <a:pt x="166" y="44"/>
                </a:lnTo>
                <a:lnTo>
                  <a:pt x="160" y="42"/>
                </a:lnTo>
                <a:lnTo>
                  <a:pt x="154" y="38"/>
                </a:lnTo>
                <a:lnTo>
                  <a:pt x="154" y="38"/>
                </a:lnTo>
                <a:lnTo>
                  <a:pt x="152" y="38"/>
                </a:lnTo>
                <a:lnTo>
                  <a:pt x="152" y="38"/>
                </a:lnTo>
                <a:lnTo>
                  <a:pt x="150" y="38"/>
                </a:lnTo>
                <a:lnTo>
                  <a:pt x="150" y="38"/>
                </a:lnTo>
                <a:lnTo>
                  <a:pt x="148" y="38"/>
                </a:lnTo>
                <a:lnTo>
                  <a:pt x="150" y="38"/>
                </a:lnTo>
                <a:lnTo>
                  <a:pt x="150" y="36"/>
                </a:lnTo>
                <a:lnTo>
                  <a:pt x="150" y="36"/>
                </a:lnTo>
                <a:lnTo>
                  <a:pt x="150" y="36"/>
                </a:lnTo>
                <a:lnTo>
                  <a:pt x="144" y="32"/>
                </a:lnTo>
                <a:lnTo>
                  <a:pt x="144" y="32"/>
                </a:lnTo>
                <a:lnTo>
                  <a:pt x="144" y="30"/>
                </a:lnTo>
                <a:lnTo>
                  <a:pt x="142" y="32"/>
                </a:lnTo>
                <a:lnTo>
                  <a:pt x="142" y="32"/>
                </a:lnTo>
                <a:lnTo>
                  <a:pt x="142" y="32"/>
                </a:lnTo>
                <a:lnTo>
                  <a:pt x="142" y="32"/>
                </a:lnTo>
                <a:lnTo>
                  <a:pt x="138" y="32"/>
                </a:lnTo>
                <a:lnTo>
                  <a:pt x="134" y="30"/>
                </a:lnTo>
                <a:lnTo>
                  <a:pt x="134" y="30"/>
                </a:lnTo>
                <a:lnTo>
                  <a:pt x="128" y="26"/>
                </a:lnTo>
                <a:lnTo>
                  <a:pt x="124" y="22"/>
                </a:lnTo>
                <a:lnTo>
                  <a:pt x="124" y="22"/>
                </a:lnTo>
                <a:lnTo>
                  <a:pt x="120" y="20"/>
                </a:lnTo>
                <a:lnTo>
                  <a:pt x="116" y="18"/>
                </a:lnTo>
                <a:lnTo>
                  <a:pt x="116" y="18"/>
                </a:lnTo>
                <a:lnTo>
                  <a:pt x="110" y="16"/>
                </a:lnTo>
                <a:lnTo>
                  <a:pt x="108" y="12"/>
                </a:lnTo>
                <a:lnTo>
                  <a:pt x="108" y="12"/>
                </a:lnTo>
                <a:lnTo>
                  <a:pt x="106" y="10"/>
                </a:lnTo>
                <a:lnTo>
                  <a:pt x="102" y="8"/>
                </a:lnTo>
                <a:lnTo>
                  <a:pt x="102" y="8"/>
                </a:lnTo>
                <a:lnTo>
                  <a:pt x="98" y="6"/>
                </a:lnTo>
                <a:lnTo>
                  <a:pt x="92" y="6"/>
                </a:lnTo>
                <a:lnTo>
                  <a:pt x="92" y="6"/>
                </a:lnTo>
                <a:lnTo>
                  <a:pt x="88" y="6"/>
                </a:lnTo>
                <a:lnTo>
                  <a:pt x="86" y="6"/>
                </a:lnTo>
                <a:lnTo>
                  <a:pt x="86" y="6"/>
                </a:lnTo>
                <a:lnTo>
                  <a:pt x="86" y="6"/>
                </a:lnTo>
                <a:lnTo>
                  <a:pt x="84" y="4"/>
                </a:lnTo>
                <a:lnTo>
                  <a:pt x="82" y="4"/>
                </a:lnTo>
                <a:lnTo>
                  <a:pt x="76" y="2"/>
                </a:lnTo>
                <a:lnTo>
                  <a:pt x="76" y="2"/>
                </a:lnTo>
                <a:lnTo>
                  <a:pt x="64" y="0"/>
                </a:lnTo>
                <a:lnTo>
                  <a:pt x="60" y="0"/>
                </a:lnTo>
                <a:lnTo>
                  <a:pt x="58" y="2"/>
                </a:lnTo>
                <a:lnTo>
                  <a:pt x="58" y="2"/>
                </a:lnTo>
                <a:lnTo>
                  <a:pt x="56" y="2"/>
                </a:lnTo>
                <a:lnTo>
                  <a:pt x="56" y="2"/>
                </a:lnTo>
                <a:lnTo>
                  <a:pt x="52" y="2"/>
                </a:lnTo>
                <a:lnTo>
                  <a:pt x="44" y="2"/>
                </a:lnTo>
                <a:lnTo>
                  <a:pt x="44" y="2"/>
                </a:lnTo>
                <a:lnTo>
                  <a:pt x="36" y="6"/>
                </a:lnTo>
                <a:lnTo>
                  <a:pt x="36" y="6"/>
                </a:lnTo>
                <a:lnTo>
                  <a:pt x="36" y="6"/>
                </a:lnTo>
                <a:lnTo>
                  <a:pt x="26" y="8"/>
                </a:lnTo>
                <a:lnTo>
                  <a:pt x="22" y="10"/>
                </a:lnTo>
                <a:lnTo>
                  <a:pt x="20" y="12"/>
                </a:lnTo>
                <a:lnTo>
                  <a:pt x="20" y="12"/>
                </a:lnTo>
                <a:lnTo>
                  <a:pt x="18" y="12"/>
                </a:lnTo>
                <a:lnTo>
                  <a:pt x="16" y="14"/>
                </a:lnTo>
                <a:lnTo>
                  <a:pt x="16" y="14"/>
                </a:lnTo>
                <a:lnTo>
                  <a:pt x="12" y="18"/>
                </a:lnTo>
                <a:lnTo>
                  <a:pt x="10" y="22"/>
                </a:lnTo>
                <a:lnTo>
                  <a:pt x="10" y="22"/>
                </a:lnTo>
                <a:lnTo>
                  <a:pt x="14" y="26"/>
                </a:lnTo>
                <a:lnTo>
                  <a:pt x="14" y="26"/>
                </a:lnTo>
                <a:lnTo>
                  <a:pt x="14" y="26"/>
                </a:lnTo>
                <a:lnTo>
                  <a:pt x="14" y="26"/>
                </a:lnTo>
                <a:lnTo>
                  <a:pt x="12" y="28"/>
                </a:lnTo>
                <a:lnTo>
                  <a:pt x="8" y="30"/>
                </a:lnTo>
                <a:lnTo>
                  <a:pt x="8" y="30"/>
                </a:lnTo>
                <a:lnTo>
                  <a:pt x="4" y="32"/>
                </a:lnTo>
                <a:lnTo>
                  <a:pt x="0" y="32"/>
                </a:lnTo>
                <a:lnTo>
                  <a:pt x="0" y="32"/>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00" name="Jamaica"/>
          <p:cNvSpPr>
            <a:spLocks/>
          </p:cNvSpPr>
          <p:nvPr/>
        </p:nvSpPr>
        <p:spPr bwMode="auto">
          <a:xfrm>
            <a:off x="2481383" y="2224429"/>
            <a:ext cx="56971" cy="25037"/>
          </a:xfrm>
          <a:custGeom>
            <a:avLst/>
            <a:gdLst/>
            <a:ahLst/>
            <a:cxnLst>
              <a:cxn ang="0">
                <a:pos x="24" y="22"/>
              </a:cxn>
              <a:cxn ang="0">
                <a:pos x="24" y="22"/>
              </a:cxn>
              <a:cxn ang="0">
                <a:pos x="22" y="18"/>
              </a:cxn>
              <a:cxn ang="0">
                <a:pos x="18" y="16"/>
              </a:cxn>
              <a:cxn ang="0">
                <a:pos x="18" y="16"/>
              </a:cxn>
              <a:cxn ang="0">
                <a:pos x="16" y="16"/>
              </a:cxn>
              <a:cxn ang="0">
                <a:pos x="14" y="14"/>
              </a:cxn>
              <a:cxn ang="0">
                <a:pos x="12" y="10"/>
              </a:cxn>
              <a:cxn ang="0">
                <a:pos x="12" y="10"/>
              </a:cxn>
              <a:cxn ang="0">
                <a:pos x="10" y="8"/>
              </a:cxn>
              <a:cxn ang="0">
                <a:pos x="6" y="6"/>
              </a:cxn>
              <a:cxn ang="0">
                <a:pos x="6" y="6"/>
              </a:cxn>
              <a:cxn ang="0">
                <a:pos x="2" y="4"/>
              </a:cxn>
              <a:cxn ang="0">
                <a:pos x="0" y="4"/>
              </a:cxn>
              <a:cxn ang="0">
                <a:pos x="2" y="2"/>
              </a:cxn>
              <a:cxn ang="0">
                <a:pos x="2" y="2"/>
              </a:cxn>
              <a:cxn ang="0">
                <a:pos x="10" y="0"/>
              </a:cxn>
              <a:cxn ang="0">
                <a:pos x="14" y="0"/>
              </a:cxn>
              <a:cxn ang="0">
                <a:pos x="14" y="0"/>
              </a:cxn>
              <a:cxn ang="0">
                <a:pos x="16" y="0"/>
              </a:cxn>
              <a:cxn ang="0">
                <a:pos x="22" y="0"/>
              </a:cxn>
              <a:cxn ang="0">
                <a:pos x="22" y="0"/>
              </a:cxn>
              <a:cxn ang="0">
                <a:pos x="34" y="2"/>
              </a:cxn>
              <a:cxn ang="0">
                <a:pos x="34" y="2"/>
              </a:cxn>
              <a:cxn ang="0">
                <a:pos x="38" y="6"/>
              </a:cxn>
              <a:cxn ang="0">
                <a:pos x="40" y="8"/>
              </a:cxn>
              <a:cxn ang="0">
                <a:pos x="44" y="10"/>
              </a:cxn>
              <a:cxn ang="0">
                <a:pos x="44" y="10"/>
              </a:cxn>
              <a:cxn ang="0">
                <a:pos x="48" y="12"/>
              </a:cxn>
              <a:cxn ang="0">
                <a:pos x="50" y="14"/>
              </a:cxn>
              <a:cxn ang="0">
                <a:pos x="50" y="14"/>
              </a:cxn>
              <a:cxn ang="0">
                <a:pos x="48" y="16"/>
              </a:cxn>
              <a:cxn ang="0">
                <a:pos x="44" y="16"/>
              </a:cxn>
              <a:cxn ang="0">
                <a:pos x="44" y="16"/>
              </a:cxn>
              <a:cxn ang="0">
                <a:pos x="40" y="18"/>
              </a:cxn>
              <a:cxn ang="0">
                <a:pos x="34" y="18"/>
              </a:cxn>
              <a:cxn ang="0">
                <a:pos x="34" y="18"/>
              </a:cxn>
              <a:cxn ang="0">
                <a:pos x="32" y="16"/>
              </a:cxn>
              <a:cxn ang="0">
                <a:pos x="32" y="18"/>
              </a:cxn>
              <a:cxn ang="0">
                <a:pos x="32" y="18"/>
              </a:cxn>
              <a:cxn ang="0">
                <a:pos x="30" y="20"/>
              </a:cxn>
              <a:cxn ang="0">
                <a:pos x="28" y="18"/>
              </a:cxn>
              <a:cxn ang="0">
                <a:pos x="28" y="18"/>
              </a:cxn>
              <a:cxn ang="0">
                <a:pos x="26" y="18"/>
              </a:cxn>
              <a:cxn ang="0">
                <a:pos x="26" y="20"/>
              </a:cxn>
              <a:cxn ang="0">
                <a:pos x="26" y="20"/>
              </a:cxn>
              <a:cxn ang="0">
                <a:pos x="26" y="22"/>
              </a:cxn>
              <a:cxn ang="0">
                <a:pos x="24" y="22"/>
              </a:cxn>
              <a:cxn ang="0">
                <a:pos x="24" y="22"/>
              </a:cxn>
            </a:cxnLst>
            <a:rect l="0" t="0" r="r" b="b"/>
            <a:pathLst>
              <a:path w="50" h="22">
                <a:moveTo>
                  <a:pt x="24" y="22"/>
                </a:moveTo>
                <a:lnTo>
                  <a:pt x="24" y="22"/>
                </a:lnTo>
                <a:lnTo>
                  <a:pt x="22" y="18"/>
                </a:lnTo>
                <a:lnTo>
                  <a:pt x="18" y="16"/>
                </a:lnTo>
                <a:lnTo>
                  <a:pt x="18" y="16"/>
                </a:lnTo>
                <a:lnTo>
                  <a:pt x="16" y="16"/>
                </a:lnTo>
                <a:lnTo>
                  <a:pt x="14" y="14"/>
                </a:lnTo>
                <a:lnTo>
                  <a:pt x="12" y="10"/>
                </a:lnTo>
                <a:lnTo>
                  <a:pt x="12" y="10"/>
                </a:lnTo>
                <a:lnTo>
                  <a:pt x="10" y="8"/>
                </a:lnTo>
                <a:lnTo>
                  <a:pt x="6" y="6"/>
                </a:lnTo>
                <a:lnTo>
                  <a:pt x="6" y="6"/>
                </a:lnTo>
                <a:lnTo>
                  <a:pt x="2" y="4"/>
                </a:lnTo>
                <a:lnTo>
                  <a:pt x="0" y="4"/>
                </a:lnTo>
                <a:lnTo>
                  <a:pt x="2" y="2"/>
                </a:lnTo>
                <a:lnTo>
                  <a:pt x="2" y="2"/>
                </a:lnTo>
                <a:lnTo>
                  <a:pt x="10" y="0"/>
                </a:lnTo>
                <a:lnTo>
                  <a:pt x="14" y="0"/>
                </a:lnTo>
                <a:lnTo>
                  <a:pt x="14" y="0"/>
                </a:lnTo>
                <a:lnTo>
                  <a:pt x="16" y="0"/>
                </a:lnTo>
                <a:lnTo>
                  <a:pt x="22" y="0"/>
                </a:lnTo>
                <a:lnTo>
                  <a:pt x="22" y="0"/>
                </a:lnTo>
                <a:lnTo>
                  <a:pt x="34" y="2"/>
                </a:lnTo>
                <a:lnTo>
                  <a:pt x="34" y="2"/>
                </a:lnTo>
                <a:lnTo>
                  <a:pt x="38" y="6"/>
                </a:lnTo>
                <a:lnTo>
                  <a:pt x="40" y="8"/>
                </a:lnTo>
                <a:lnTo>
                  <a:pt x="44" y="10"/>
                </a:lnTo>
                <a:lnTo>
                  <a:pt x="44" y="10"/>
                </a:lnTo>
                <a:lnTo>
                  <a:pt x="48" y="12"/>
                </a:lnTo>
                <a:lnTo>
                  <a:pt x="50" y="14"/>
                </a:lnTo>
                <a:lnTo>
                  <a:pt x="50" y="14"/>
                </a:lnTo>
                <a:lnTo>
                  <a:pt x="48" y="16"/>
                </a:lnTo>
                <a:lnTo>
                  <a:pt x="44" y="16"/>
                </a:lnTo>
                <a:lnTo>
                  <a:pt x="44" y="16"/>
                </a:lnTo>
                <a:lnTo>
                  <a:pt x="40" y="18"/>
                </a:lnTo>
                <a:lnTo>
                  <a:pt x="34" y="18"/>
                </a:lnTo>
                <a:lnTo>
                  <a:pt x="34" y="18"/>
                </a:lnTo>
                <a:lnTo>
                  <a:pt x="32" y="16"/>
                </a:lnTo>
                <a:lnTo>
                  <a:pt x="32" y="18"/>
                </a:lnTo>
                <a:lnTo>
                  <a:pt x="32" y="18"/>
                </a:lnTo>
                <a:lnTo>
                  <a:pt x="30" y="20"/>
                </a:lnTo>
                <a:lnTo>
                  <a:pt x="28" y="18"/>
                </a:lnTo>
                <a:lnTo>
                  <a:pt x="28" y="18"/>
                </a:lnTo>
                <a:lnTo>
                  <a:pt x="26" y="18"/>
                </a:lnTo>
                <a:lnTo>
                  <a:pt x="26" y="20"/>
                </a:lnTo>
                <a:lnTo>
                  <a:pt x="26" y="20"/>
                </a:lnTo>
                <a:lnTo>
                  <a:pt x="26" y="22"/>
                </a:lnTo>
                <a:lnTo>
                  <a:pt x="24" y="22"/>
                </a:lnTo>
                <a:lnTo>
                  <a:pt x="24" y="22"/>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01" name="Freeform 36"/>
          <p:cNvSpPr>
            <a:spLocks/>
          </p:cNvSpPr>
          <p:nvPr/>
        </p:nvSpPr>
        <p:spPr bwMode="auto">
          <a:xfrm>
            <a:off x="2750285" y="2228980"/>
            <a:ext cx="38740" cy="11381"/>
          </a:xfrm>
          <a:custGeom>
            <a:avLst/>
            <a:gdLst/>
            <a:ahLst/>
            <a:cxnLst>
              <a:cxn ang="0">
                <a:pos x="4" y="0"/>
              </a:cxn>
              <a:cxn ang="0">
                <a:pos x="4" y="0"/>
              </a:cxn>
              <a:cxn ang="0">
                <a:pos x="2" y="0"/>
              </a:cxn>
              <a:cxn ang="0">
                <a:pos x="2" y="0"/>
              </a:cxn>
              <a:cxn ang="0">
                <a:pos x="2" y="2"/>
              </a:cxn>
              <a:cxn ang="0">
                <a:pos x="0" y="2"/>
              </a:cxn>
              <a:cxn ang="0">
                <a:pos x="0" y="2"/>
              </a:cxn>
              <a:cxn ang="0">
                <a:pos x="0" y="2"/>
              </a:cxn>
              <a:cxn ang="0">
                <a:pos x="0" y="4"/>
              </a:cxn>
              <a:cxn ang="0">
                <a:pos x="2" y="4"/>
              </a:cxn>
              <a:cxn ang="0">
                <a:pos x="2" y="4"/>
              </a:cxn>
              <a:cxn ang="0">
                <a:pos x="0" y="8"/>
              </a:cxn>
              <a:cxn ang="0">
                <a:pos x="0" y="10"/>
              </a:cxn>
              <a:cxn ang="0">
                <a:pos x="0" y="10"/>
              </a:cxn>
              <a:cxn ang="0">
                <a:pos x="0" y="10"/>
              </a:cxn>
              <a:cxn ang="0">
                <a:pos x="4" y="10"/>
              </a:cxn>
              <a:cxn ang="0">
                <a:pos x="8" y="10"/>
              </a:cxn>
              <a:cxn ang="0">
                <a:pos x="8" y="10"/>
              </a:cxn>
              <a:cxn ang="0">
                <a:pos x="12" y="10"/>
              </a:cxn>
              <a:cxn ang="0">
                <a:pos x="18" y="10"/>
              </a:cxn>
              <a:cxn ang="0">
                <a:pos x="18" y="10"/>
              </a:cxn>
              <a:cxn ang="0">
                <a:pos x="22" y="10"/>
              </a:cxn>
              <a:cxn ang="0">
                <a:pos x="26" y="10"/>
              </a:cxn>
              <a:cxn ang="0">
                <a:pos x="26" y="10"/>
              </a:cxn>
              <a:cxn ang="0">
                <a:pos x="28" y="8"/>
              </a:cxn>
              <a:cxn ang="0">
                <a:pos x="28" y="6"/>
              </a:cxn>
              <a:cxn ang="0">
                <a:pos x="30" y="6"/>
              </a:cxn>
              <a:cxn ang="0">
                <a:pos x="30" y="6"/>
              </a:cxn>
              <a:cxn ang="0">
                <a:pos x="34" y="4"/>
              </a:cxn>
              <a:cxn ang="0">
                <a:pos x="34" y="4"/>
              </a:cxn>
              <a:cxn ang="0">
                <a:pos x="30" y="0"/>
              </a:cxn>
              <a:cxn ang="0">
                <a:pos x="30" y="0"/>
              </a:cxn>
              <a:cxn ang="0">
                <a:pos x="22" y="0"/>
              </a:cxn>
              <a:cxn ang="0">
                <a:pos x="22" y="0"/>
              </a:cxn>
              <a:cxn ang="0">
                <a:pos x="16" y="0"/>
              </a:cxn>
              <a:cxn ang="0">
                <a:pos x="4" y="0"/>
              </a:cxn>
              <a:cxn ang="0">
                <a:pos x="4" y="0"/>
              </a:cxn>
            </a:cxnLst>
            <a:rect l="0" t="0" r="r" b="b"/>
            <a:pathLst>
              <a:path w="34" h="10">
                <a:moveTo>
                  <a:pt x="4" y="0"/>
                </a:moveTo>
                <a:lnTo>
                  <a:pt x="4" y="0"/>
                </a:lnTo>
                <a:lnTo>
                  <a:pt x="2" y="0"/>
                </a:lnTo>
                <a:lnTo>
                  <a:pt x="2" y="0"/>
                </a:lnTo>
                <a:lnTo>
                  <a:pt x="2" y="2"/>
                </a:lnTo>
                <a:lnTo>
                  <a:pt x="0" y="2"/>
                </a:lnTo>
                <a:lnTo>
                  <a:pt x="0" y="2"/>
                </a:lnTo>
                <a:lnTo>
                  <a:pt x="0" y="2"/>
                </a:lnTo>
                <a:lnTo>
                  <a:pt x="0" y="4"/>
                </a:lnTo>
                <a:lnTo>
                  <a:pt x="2" y="4"/>
                </a:lnTo>
                <a:lnTo>
                  <a:pt x="2" y="4"/>
                </a:lnTo>
                <a:lnTo>
                  <a:pt x="0" y="8"/>
                </a:lnTo>
                <a:lnTo>
                  <a:pt x="0" y="10"/>
                </a:lnTo>
                <a:lnTo>
                  <a:pt x="0" y="10"/>
                </a:lnTo>
                <a:lnTo>
                  <a:pt x="0" y="10"/>
                </a:lnTo>
                <a:lnTo>
                  <a:pt x="4" y="10"/>
                </a:lnTo>
                <a:lnTo>
                  <a:pt x="8" y="10"/>
                </a:lnTo>
                <a:lnTo>
                  <a:pt x="8" y="10"/>
                </a:lnTo>
                <a:lnTo>
                  <a:pt x="12" y="10"/>
                </a:lnTo>
                <a:lnTo>
                  <a:pt x="18" y="10"/>
                </a:lnTo>
                <a:lnTo>
                  <a:pt x="18" y="10"/>
                </a:lnTo>
                <a:lnTo>
                  <a:pt x="22" y="10"/>
                </a:lnTo>
                <a:lnTo>
                  <a:pt x="26" y="10"/>
                </a:lnTo>
                <a:lnTo>
                  <a:pt x="26" y="10"/>
                </a:lnTo>
                <a:lnTo>
                  <a:pt x="28" y="8"/>
                </a:lnTo>
                <a:lnTo>
                  <a:pt x="28" y="6"/>
                </a:lnTo>
                <a:lnTo>
                  <a:pt x="30" y="6"/>
                </a:lnTo>
                <a:lnTo>
                  <a:pt x="30" y="6"/>
                </a:lnTo>
                <a:lnTo>
                  <a:pt x="34" y="4"/>
                </a:lnTo>
                <a:lnTo>
                  <a:pt x="34" y="4"/>
                </a:lnTo>
                <a:lnTo>
                  <a:pt x="30" y="0"/>
                </a:lnTo>
                <a:lnTo>
                  <a:pt x="30" y="0"/>
                </a:lnTo>
                <a:lnTo>
                  <a:pt x="22" y="0"/>
                </a:lnTo>
                <a:lnTo>
                  <a:pt x="22" y="0"/>
                </a:lnTo>
                <a:lnTo>
                  <a:pt x="16" y="0"/>
                </a:lnTo>
                <a:lnTo>
                  <a:pt x="4" y="0"/>
                </a:lnTo>
                <a:lnTo>
                  <a:pt x="4" y="0"/>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02" name="belize"/>
          <p:cNvSpPr>
            <a:spLocks/>
          </p:cNvSpPr>
          <p:nvPr/>
        </p:nvSpPr>
        <p:spPr bwMode="auto">
          <a:xfrm>
            <a:off x="2217040" y="2235809"/>
            <a:ext cx="38740" cy="66008"/>
          </a:xfrm>
          <a:custGeom>
            <a:avLst/>
            <a:gdLst/>
            <a:ahLst/>
            <a:cxnLst>
              <a:cxn ang="0">
                <a:pos x="6" y="14"/>
              </a:cxn>
              <a:cxn ang="0">
                <a:pos x="6" y="14"/>
              </a:cxn>
              <a:cxn ang="0">
                <a:pos x="10" y="10"/>
              </a:cxn>
              <a:cxn ang="0">
                <a:pos x="12" y="10"/>
              </a:cxn>
              <a:cxn ang="0">
                <a:pos x="14" y="12"/>
              </a:cxn>
              <a:cxn ang="0">
                <a:pos x="16" y="12"/>
              </a:cxn>
              <a:cxn ang="0">
                <a:pos x="18" y="12"/>
              </a:cxn>
              <a:cxn ang="0">
                <a:pos x="22" y="8"/>
              </a:cxn>
              <a:cxn ang="0">
                <a:pos x="30" y="0"/>
              </a:cxn>
              <a:cxn ang="0">
                <a:pos x="30" y="0"/>
              </a:cxn>
              <a:cxn ang="0">
                <a:pos x="34" y="0"/>
              </a:cxn>
              <a:cxn ang="0">
                <a:pos x="34" y="2"/>
              </a:cxn>
              <a:cxn ang="0">
                <a:pos x="34" y="8"/>
              </a:cxn>
              <a:cxn ang="0">
                <a:pos x="30" y="16"/>
              </a:cxn>
              <a:cxn ang="0">
                <a:pos x="30" y="24"/>
              </a:cxn>
              <a:cxn ang="0">
                <a:pos x="30" y="24"/>
              </a:cxn>
              <a:cxn ang="0">
                <a:pos x="28" y="30"/>
              </a:cxn>
              <a:cxn ang="0">
                <a:pos x="26" y="34"/>
              </a:cxn>
              <a:cxn ang="0">
                <a:pos x="18" y="46"/>
              </a:cxn>
              <a:cxn ang="0">
                <a:pos x="18" y="46"/>
              </a:cxn>
              <a:cxn ang="0">
                <a:pos x="16" y="50"/>
              </a:cxn>
              <a:cxn ang="0">
                <a:pos x="12" y="52"/>
              </a:cxn>
              <a:cxn ang="0">
                <a:pos x="10" y="54"/>
              </a:cxn>
              <a:cxn ang="0">
                <a:pos x="10" y="58"/>
              </a:cxn>
              <a:cxn ang="0">
                <a:pos x="0" y="58"/>
              </a:cxn>
              <a:cxn ang="0">
                <a:pos x="6" y="14"/>
              </a:cxn>
              <a:cxn ang="0">
                <a:pos x="6" y="14"/>
              </a:cxn>
            </a:cxnLst>
            <a:rect l="0" t="0" r="r" b="b"/>
            <a:pathLst>
              <a:path w="34" h="58">
                <a:moveTo>
                  <a:pt x="6" y="14"/>
                </a:moveTo>
                <a:lnTo>
                  <a:pt x="6" y="14"/>
                </a:lnTo>
                <a:lnTo>
                  <a:pt x="10" y="10"/>
                </a:lnTo>
                <a:lnTo>
                  <a:pt x="12" y="10"/>
                </a:lnTo>
                <a:lnTo>
                  <a:pt x="14" y="12"/>
                </a:lnTo>
                <a:lnTo>
                  <a:pt x="16" y="12"/>
                </a:lnTo>
                <a:lnTo>
                  <a:pt x="18" y="12"/>
                </a:lnTo>
                <a:lnTo>
                  <a:pt x="22" y="8"/>
                </a:lnTo>
                <a:lnTo>
                  <a:pt x="30" y="0"/>
                </a:lnTo>
                <a:lnTo>
                  <a:pt x="30" y="0"/>
                </a:lnTo>
                <a:lnTo>
                  <a:pt x="34" y="0"/>
                </a:lnTo>
                <a:lnTo>
                  <a:pt x="34" y="2"/>
                </a:lnTo>
                <a:lnTo>
                  <a:pt x="34" y="8"/>
                </a:lnTo>
                <a:lnTo>
                  <a:pt x="30" y="16"/>
                </a:lnTo>
                <a:lnTo>
                  <a:pt x="30" y="24"/>
                </a:lnTo>
                <a:lnTo>
                  <a:pt x="30" y="24"/>
                </a:lnTo>
                <a:lnTo>
                  <a:pt x="28" y="30"/>
                </a:lnTo>
                <a:lnTo>
                  <a:pt x="26" y="34"/>
                </a:lnTo>
                <a:lnTo>
                  <a:pt x="18" y="46"/>
                </a:lnTo>
                <a:lnTo>
                  <a:pt x="18" y="46"/>
                </a:lnTo>
                <a:lnTo>
                  <a:pt x="16" y="50"/>
                </a:lnTo>
                <a:lnTo>
                  <a:pt x="12" y="52"/>
                </a:lnTo>
                <a:lnTo>
                  <a:pt x="10" y="54"/>
                </a:lnTo>
                <a:lnTo>
                  <a:pt x="10" y="58"/>
                </a:lnTo>
                <a:lnTo>
                  <a:pt x="0" y="58"/>
                </a:lnTo>
                <a:lnTo>
                  <a:pt x="6" y="14"/>
                </a:lnTo>
                <a:lnTo>
                  <a:pt x="6" y="14"/>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03" name="Freeform 39"/>
          <p:cNvSpPr>
            <a:spLocks/>
          </p:cNvSpPr>
          <p:nvPr/>
        </p:nvSpPr>
        <p:spPr bwMode="auto">
          <a:xfrm>
            <a:off x="4853640" y="2103794"/>
            <a:ext cx="396516" cy="548546"/>
          </a:xfrm>
          <a:custGeom>
            <a:avLst/>
            <a:gdLst/>
            <a:ahLst/>
            <a:cxnLst>
              <a:cxn ang="0">
                <a:pos x="306" y="14"/>
              </a:cxn>
              <a:cxn ang="0">
                <a:pos x="310" y="24"/>
              </a:cxn>
              <a:cxn ang="0">
                <a:pos x="320" y="48"/>
              </a:cxn>
              <a:cxn ang="0">
                <a:pos x="318" y="66"/>
              </a:cxn>
              <a:cxn ang="0">
                <a:pos x="326" y="98"/>
              </a:cxn>
              <a:cxn ang="0">
                <a:pos x="336" y="102"/>
              </a:cxn>
              <a:cxn ang="0">
                <a:pos x="340" y="104"/>
              </a:cxn>
              <a:cxn ang="0">
                <a:pos x="348" y="114"/>
              </a:cxn>
              <a:cxn ang="0">
                <a:pos x="326" y="134"/>
              </a:cxn>
              <a:cxn ang="0">
                <a:pos x="318" y="158"/>
              </a:cxn>
              <a:cxn ang="0">
                <a:pos x="306" y="230"/>
              </a:cxn>
              <a:cxn ang="0">
                <a:pos x="288" y="266"/>
              </a:cxn>
              <a:cxn ang="0">
                <a:pos x="284" y="286"/>
              </a:cxn>
              <a:cxn ang="0">
                <a:pos x="274" y="312"/>
              </a:cxn>
              <a:cxn ang="0">
                <a:pos x="272" y="346"/>
              </a:cxn>
              <a:cxn ang="0">
                <a:pos x="256" y="360"/>
              </a:cxn>
              <a:cxn ang="0">
                <a:pos x="272" y="394"/>
              </a:cxn>
              <a:cxn ang="0">
                <a:pos x="286" y="416"/>
              </a:cxn>
              <a:cxn ang="0">
                <a:pos x="294" y="428"/>
              </a:cxn>
              <a:cxn ang="0">
                <a:pos x="312" y="448"/>
              </a:cxn>
              <a:cxn ang="0">
                <a:pos x="304" y="462"/>
              </a:cxn>
              <a:cxn ang="0">
                <a:pos x="290" y="460"/>
              </a:cxn>
              <a:cxn ang="0">
                <a:pos x="268" y="472"/>
              </a:cxn>
              <a:cxn ang="0">
                <a:pos x="236" y="482"/>
              </a:cxn>
              <a:cxn ang="0">
                <a:pos x="210" y="482"/>
              </a:cxn>
              <a:cxn ang="0">
                <a:pos x="180" y="464"/>
              </a:cxn>
              <a:cxn ang="0">
                <a:pos x="164" y="464"/>
              </a:cxn>
              <a:cxn ang="0">
                <a:pos x="148" y="464"/>
              </a:cxn>
              <a:cxn ang="0">
                <a:pos x="136" y="454"/>
              </a:cxn>
              <a:cxn ang="0">
                <a:pos x="126" y="438"/>
              </a:cxn>
              <a:cxn ang="0">
                <a:pos x="120" y="428"/>
              </a:cxn>
              <a:cxn ang="0">
                <a:pos x="110" y="414"/>
              </a:cxn>
              <a:cxn ang="0">
                <a:pos x="106" y="406"/>
              </a:cxn>
              <a:cxn ang="0">
                <a:pos x="100" y="398"/>
              </a:cxn>
              <a:cxn ang="0">
                <a:pos x="86" y="384"/>
              </a:cxn>
              <a:cxn ang="0">
                <a:pos x="84" y="374"/>
              </a:cxn>
              <a:cxn ang="0">
                <a:pos x="70" y="364"/>
              </a:cxn>
              <a:cxn ang="0">
                <a:pos x="58" y="358"/>
              </a:cxn>
              <a:cxn ang="0">
                <a:pos x="56" y="348"/>
              </a:cxn>
              <a:cxn ang="0">
                <a:pos x="44" y="342"/>
              </a:cxn>
              <a:cxn ang="0">
                <a:pos x="46" y="326"/>
              </a:cxn>
              <a:cxn ang="0">
                <a:pos x="42" y="316"/>
              </a:cxn>
              <a:cxn ang="0">
                <a:pos x="36" y="306"/>
              </a:cxn>
              <a:cxn ang="0">
                <a:pos x="32" y="288"/>
              </a:cxn>
              <a:cxn ang="0">
                <a:pos x="24" y="282"/>
              </a:cxn>
              <a:cxn ang="0">
                <a:pos x="20" y="262"/>
              </a:cxn>
              <a:cxn ang="0">
                <a:pos x="20" y="252"/>
              </a:cxn>
              <a:cxn ang="0">
                <a:pos x="8" y="248"/>
              </a:cxn>
              <a:cxn ang="0">
                <a:pos x="0" y="248"/>
              </a:cxn>
              <a:cxn ang="0">
                <a:pos x="8" y="226"/>
              </a:cxn>
              <a:cxn ang="0">
                <a:pos x="8" y="218"/>
              </a:cxn>
              <a:cxn ang="0">
                <a:pos x="14" y="210"/>
              </a:cxn>
              <a:cxn ang="0">
                <a:pos x="12" y="196"/>
              </a:cxn>
              <a:cxn ang="0">
                <a:pos x="26" y="170"/>
              </a:cxn>
              <a:cxn ang="0">
                <a:pos x="36" y="170"/>
              </a:cxn>
              <a:cxn ang="0">
                <a:pos x="54" y="14"/>
              </a:cxn>
              <a:cxn ang="0">
                <a:pos x="268" y="16"/>
              </a:cxn>
              <a:cxn ang="0">
                <a:pos x="272" y="14"/>
              </a:cxn>
              <a:cxn ang="0">
                <a:pos x="280" y="6"/>
              </a:cxn>
              <a:cxn ang="0">
                <a:pos x="288" y="4"/>
              </a:cxn>
            </a:cxnLst>
            <a:rect l="0" t="0" r="r" b="b"/>
            <a:pathLst>
              <a:path w="348" h="482">
                <a:moveTo>
                  <a:pt x="290" y="0"/>
                </a:moveTo>
                <a:lnTo>
                  <a:pt x="290" y="0"/>
                </a:lnTo>
                <a:lnTo>
                  <a:pt x="300" y="10"/>
                </a:lnTo>
                <a:lnTo>
                  <a:pt x="306" y="14"/>
                </a:lnTo>
                <a:lnTo>
                  <a:pt x="308" y="16"/>
                </a:lnTo>
                <a:lnTo>
                  <a:pt x="308" y="20"/>
                </a:lnTo>
                <a:lnTo>
                  <a:pt x="308" y="20"/>
                </a:lnTo>
                <a:lnTo>
                  <a:pt x="310" y="24"/>
                </a:lnTo>
                <a:lnTo>
                  <a:pt x="310" y="30"/>
                </a:lnTo>
                <a:lnTo>
                  <a:pt x="316" y="38"/>
                </a:lnTo>
                <a:lnTo>
                  <a:pt x="320" y="46"/>
                </a:lnTo>
                <a:lnTo>
                  <a:pt x="320" y="48"/>
                </a:lnTo>
                <a:lnTo>
                  <a:pt x="320" y="50"/>
                </a:lnTo>
                <a:lnTo>
                  <a:pt x="320" y="50"/>
                </a:lnTo>
                <a:lnTo>
                  <a:pt x="318" y="56"/>
                </a:lnTo>
                <a:lnTo>
                  <a:pt x="318" y="66"/>
                </a:lnTo>
                <a:lnTo>
                  <a:pt x="320" y="82"/>
                </a:lnTo>
                <a:lnTo>
                  <a:pt x="320" y="82"/>
                </a:lnTo>
                <a:lnTo>
                  <a:pt x="324" y="94"/>
                </a:lnTo>
                <a:lnTo>
                  <a:pt x="326" y="98"/>
                </a:lnTo>
                <a:lnTo>
                  <a:pt x="330" y="98"/>
                </a:lnTo>
                <a:lnTo>
                  <a:pt x="330" y="98"/>
                </a:lnTo>
                <a:lnTo>
                  <a:pt x="334" y="98"/>
                </a:lnTo>
                <a:lnTo>
                  <a:pt x="336" y="102"/>
                </a:lnTo>
                <a:lnTo>
                  <a:pt x="338" y="104"/>
                </a:lnTo>
                <a:lnTo>
                  <a:pt x="340" y="106"/>
                </a:lnTo>
                <a:lnTo>
                  <a:pt x="340" y="104"/>
                </a:lnTo>
                <a:lnTo>
                  <a:pt x="340" y="104"/>
                </a:lnTo>
                <a:lnTo>
                  <a:pt x="342" y="104"/>
                </a:lnTo>
                <a:lnTo>
                  <a:pt x="344" y="104"/>
                </a:lnTo>
                <a:lnTo>
                  <a:pt x="348" y="114"/>
                </a:lnTo>
                <a:lnTo>
                  <a:pt x="348" y="114"/>
                </a:lnTo>
                <a:lnTo>
                  <a:pt x="344" y="120"/>
                </a:lnTo>
                <a:lnTo>
                  <a:pt x="338" y="126"/>
                </a:lnTo>
                <a:lnTo>
                  <a:pt x="330" y="132"/>
                </a:lnTo>
                <a:lnTo>
                  <a:pt x="326" y="134"/>
                </a:lnTo>
                <a:lnTo>
                  <a:pt x="322" y="140"/>
                </a:lnTo>
                <a:lnTo>
                  <a:pt x="320" y="146"/>
                </a:lnTo>
                <a:lnTo>
                  <a:pt x="318" y="158"/>
                </a:lnTo>
                <a:lnTo>
                  <a:pt x="318" y="158"/>
                </a:lnTo>
                <a:lnTo>
                  <a:pt x="312" y="194"/>
                </a:lnTo>
                <a:lnTo>
                  <a:pt x="308" y="220"/>
                </a:lnTo>
                <a:lnTo>
                  <a:pt x="308" y="220"/>
                </a:lnTo>
                <a:lnTo>
                  <a:pt x="306" y="230"/>
                </a:lnTo>
                <a:lnTo>
                  <a:pt x="304" y="240"/>
                </a:lnTo>
                <a:lnTo>
                  <a:pt x="296" y="252"/>
                </a:lnTo>
                <a:lnTo>
                  <a:pt x="290" y="260"/>
                </a:lnTo>
                <a:lnTo>
                  <a:pt x="288" y="266"/>
                </a:lnTo>
                <a:lnTo>
                  <a:pt x="286" y="274"/>
                </a:lnTo>
                <a:lnTo>
                  <a:pt x="286" y="274"/>
                </a:lnTo>
                <a:lnTo>
                  <a:pt x="286" y="282"/>
                </a:lnTo>
                <a:lnTo>
                  <a:pt x="284" y="286"/>
                </a:lnTo>
                <a:lnTo>
                  <a:pt x="280" y="292"/>
                </a:lnTo>
                <a:lnTo>
                  <a:pt x="278" y="296"/>
                </a:lnTo>
                <a:lnTo>
                  <a:pt x="276" y="302"/>
                </a:lnTo>
                <a:lnTo>
                  <a:pt x="274" y="312"/>
                </a:lnTo>
                <a:lnTo>
                  <a:pt x="274" y="326"/>
                </a:lnTo>
                <a:lnTo>
                  <a:pt x="274" y="326"/>
                </a:lnTo>
                <a:lnTo>
                  <a:pt x="274" y="338"/>
                </a:lnTo>
                <a:lnTo>
                  <a:pt x="272" y="346"/>
                </a:lnTo>
                <a:lnTo>
                  <a:pt x="270" y="352"/>
                </a:lnTo>
                <a:lnTo>
                  <a:pt x="266" y="356"/>
                </a:lnTo>
                <a:lnTo>
                  <a:pt x="260" y="360"/>
                </a:lnTo>
                <a:lnTo>
                  <a:pt x="256" y="360"/>
                </a:lnTo>
                <a:lnTo>
                  <a:pt x="250" y="374"/>
                </a:lnTo>
                <a:lnTo>
                  <a:pt x="250" y="374"/>
                </a:lnTo>
                <a:lnTo>
                  <a:pt x="262" y="384"/>
                </a:lnTo>
                <a:lnTo>
                  <a:pt x="272" y="394"/>
                </a:lnTo>
                <a:lnTo>
                  <a:pt x="278" y="400"/>
                </a:lnTo>
                <a:lnTo>
                  <a:pt x="280" y="406"/>
                </a:lnTo>
                <a:lnTo>
                  <a:pt x="280" y="406"/>
                </a:lnTo>
                <a:lnTo>
                  <a:pt x="286" y="416"/>
                </a:lnTo>
                <a:lnTo>
                  <a:pt x="288" y="418"/>
                </a:lnTo>
                <a:lnTo>
                  <a:pt x="290" y="422"/>
                </a:lnTo>
                <a:lnTo>
                  <a:pt x="294" y="428"/>
                </a:lnTo>
                <a:lnTo>
                  <a:pt x="294" y="428"/>
                </a:lnTo>
                <a:lnTo>
                  <a:pt x="298" y="434"/>
                </a:lnTo>
                <a:lnTo>
                  <a:pt x="300" y="438"/>
                </a:lnTo>
                <a:lnTo>
                  <a:pt x="306" y="442"/>
                </a:lnTo>
                <a:lnTo>
                  <a:pt x="312" y="448"/>
                </a:lnTo>
                <a:lnTo>
                  <a:pt x="312" y="452"/>
                </a:lnTo>
                <a:lnTo>
                  <a:pt x="310" y="456"/>
                </a:lnTo>
                <a:lnTo>
                  <a:pt x="310" y="456"/>
                </a:lnTo>
                <a:lnTo>
                  <a:pt x="304" y="462"/>
                </a:lnTo>
                <a:lnTo>
                  <a:pt x="300" y="464"/>
                </a:lnTo>
                <a:lnTo>
                  <a:pt x="296" y="462"/>
                </a:lnTo>
                <a:lnTo>
                  <a:pt x="294" y="460"/>
                </a:lnTo>
                <a:lnTo>
                  <a:pt x="290" y="460"/>
                </a:lnTo>
                <a:lnTo>
                  <a:pt x="286" y="460"/>
                </a:lnTo>
                <a:lnTo>
                  <a:pt x="278" y="464"/>
                </a:lnTo>
                <a:lnTo>
                  <a:pt x="268" y="472"/>
                </a:lnTo>
                <a:lnTo>
                  <a:pt x="268" y="472"/>
                </a:lnTo>
                <a:lnTo>
                  <a:pt x="258" y="478"/>
                </a:lnTo>
                <a:lnTo>
                  <a:pt x="250" y="482"/>
                </a:lnTo>
                <a:lnTo>
                  <a:pt x="244" y="482"/>
                </a:lnTo>
                <a:lnTo>
                  <a:pt x="236" y="482"/>
                </a:lnTo>
                <a:lnTo>
                  <a:pt x="224" y="480"/>
                </a:lnTo>
                <a:lnTo>
                  <a:pt x="218" y="480"/>
                </a:lnTo>
                <a:lnTo>
                  <a:pt x="210" y="482"/>
                </a:lnTo>
                <a:lnTo>
                  <a:pt x="210" y="482"/>
                </a:lnTo>
                <a:lnTo>
                  <a:pt x="204" y="482"/>
                </a:lnTo>
                <a:lnTo>
                  <a:pt x="198" y="478"/>
                </a:lnTo>
                <a:lnTo>
                  <a:pt x="180" y="464"/>
                </a:lnTo>
                <a:lnTo>
                  <a:pt x="180" y="464"/>
                </a:lnTo>
                <a:lnTo>
                  <a:pt x="174" y="460"/>
                </a:lnTo>
                <a:lnTo>
                  <a:pt x="170" y="462"/>
                </a:lnTo>
                <a:lnTo>
                  <a:pt x="168" y="464"/>
                </a:lnTo>
                <a:lnTo>
                  <a:pt x="164" y="464"/>
                </a:lnTo>
                <a:lnTo>
                  <a:pt x="164" y="464"/>
                </a:lnTo>
                <a:lnTo>
                  <a:pt x="156" y="464"/>
                </a:lnTo>
                <a:lnTo>
                  <a:pt x="152" y="464"/>
                </a:lnTo>
                <a:lnTo>
                  <a:pt x="148" y="464"/>
                </a:lnTo>
                <a:lnTo>
                  <a:pt x="144" y="460"/>
                </a:lnTo>
                <a:lnTo>
                  <a:pt x="144" y="460"/>
                </a:lnTo>
                <a:lnTo>
                  <a:pt x="140" y="456"/>
                </a:lnTo>
                <a:lnTo>
                  <a:pt x="136" y="454"/>
                </a:lnTo>
                <a:lnTo>
                  <a:pt x="134" y="452"/>
                </a:lnTo>
                <a:lnTo>
                  <a:pt x="130" y="446"/>
                </a:lnTo>
                <a:lnTo>
                  <a:pt x="130" y="446"/>
                </a:lnTo>
                <a:lnTo>
                  <a:pt x="126" y="438"/>
                </a:lnTo>
                <a:lnTo>
                  <a:pt x="124" y="436"/>
                </a:lnTo>
                <a:lnTo>
                  <a:pt x="120" y="434"/>
                </a:lnTo>
                <a:lnTo>
                  <a:pt x="120" y="428"/>
                </a:lnTo>
                <a:lnTo>
                  <a:pt x="120" y="428"/>
                </a:lnTo>
                <a:lnTo>
                  <a:pt x="118" y="424"/>
                </a:lnTo>
                <a:lnTo>
                  <a:pt x="116" y="418"/>
                </a:lnTo>
                <a:lnTo>
                  <a:pt x="112" y="416"/>
                </a:lnTo>
                <a:lnTo>
                  <a:pt x="110" y="414"/>
                </a:lnTo>
                <a:lnTo>
                  <a:pt x="110" y="414"/>
                </a:lnTo>
                <a:lnTo>
                  <a:pt x="108" y="412"/>
                </a:lnTo>
                <a:lnTo>
                  <a:pt x="108" y="412"/>
                </a:lnTo>
                <a:lnTo>
                  <a:pt x="106" y="406"/>
                </a:lnTo>
                <a:lnTo>
                  <a:pt x="104" y="400"/>
                </a:lnTo>
                <a:lnTo>
                  <a:pt x="102" y="398"/>
                </a:lnTo>
                <a:lnTo>
                  <a:pt x="100" y="398"/>
                </a:lnTo>
                <a:lnTo>
                  <a:pt x="100" y="398"/>
                </a:lnTo>
                <a:lnTo>
                  <a:pt x="96" y="396"/>
                </a:lnTo>
                <a:lnTo>
                  <a:pt x="94" y="394"/>
                </a:lnTo>
                <a:lnTo>
                  <a:pt x="92" y="390"/>
                </a:lnTo>
                <a:lnTo>
                  <a:pt x="86" y="384"/>
                </a:lnTo>
                <a:lnTo>
                  <a:pt x="86" y="384"/>
                </a:lnTo>
                <a:lnTo>
                  <a:pt x="82" y="380"/>
                </a:lnTo>
                <a:lnTo>
                  <a:pt x="84" y="376"/>
                </a:lnTo>
                <a:lnTo>
                  <a:pt x="84" y="374"/>
                </a:lnTo>
                <a:lnTo>
                  <a:pt x="76" y="370"/>
                </a:lnTo>
                <a:lnTo>
                  <a:pt x="76" y="370"/>
                </a:lnTo>
                <a:lnTo>
                  <a:pt x="70" y="366"/>
                </a:lnTo>
                <a:lnTo>
                  <a:pt x="70" y="364"/>
                </a:lnTo>
                <a:lnTo>
                  <a:pt x="70" y="362"/>
                </a:lnTo>
                <a:lnTo>
                  <a:pt x="62" y="360"/>
                </a:lnTo>
                <a:lnTo>
                  <a:pt x="62" y="360"/>
                </a:lnTo>
                <a:lnTo>
                  <a:pt x="58" y="358"/>
                </a:lnTo>
                <a:lnTo>
                  <a:pt x="56" y="356"/>
                </a:lnTo>
                <a:lnTo>
                  <a:pt x="56" y="352"/>
                </a:lnTo>
                <a:lnTo>
                  <a:pt x="56" y="350"/>
                </a:lnTo>
                <a:lnTo>
                  <a:pt x="56" y="348"/>
                </a:lnTo>
                <a:lnTo>
                  <a:pt x="54" y="346"/>
                </a:lnTo>
                <a:lnTo>
                  <a:pt x="48" y="344"/>
                </a:lnTo>
                <a:lnTo>
                  <a:pt x="48" y="344"/>
                </a:lnTo>
                <a:lnTo>
                  <a:pt x="44" y="342"/>
                </a:lnTo>
                <a:lnTo>
                  <a:pt x="42" y="338"/>
                </a:lnTo>
                <a:lnTo>
                  <a:pt x="42" y="336"/>
                </a:lnTo>
                <a:lnTo>
                  <a:pt x="44" y="334"/>
                </a:lnTo>
                <a:lnTo>
                  <a:pt x="46" y="326"/>
                </a:lnTo>
                <a:lnTo>
                  <a:pt x="46" y="324"/>
                </a:lnTo>
                <a:lnTo>
                  <a:pt x="44" y="320"/>
                </a:lnTo>
                <a:lnTo>
                  <a:pt x="44" y="320"/>
                </a:lnTo>
                <a:lnTo>
                  <a:pt x="42" y="316"/>
                </a:lnTo>
                <a:lnTo>
                  <a:pt x="42" y="314"/>
                </a:lnTo>
                <a:lnTo>
                  <a:pt x="40" y="310"/>
                </a:lnTo>
                <a:lnTo>
                  <a:pt x="36" y="306"/>
                </a:lnTo>
                <a:lnTo>
                  <a:pt x="36" y="306"/>
                </a:lnTo>
                <a:lnTo>
                  <a:pt x="32" y="298"/>
                </a:lnTo>
                <a:lnTo>
                  <a:pt x="32" y="294"/>
                </a:lnTo>
                <a:lnTo>
                  <a:pt x="32" y="294"/>
                </a:lnTo>
                <a:lnTo>
                  <a:pt x="32" y="288"/>
                </a:lnTo>
                <a:lnTo>
                  <a:pt x="30" y="286"/>
                </a:lnTo>
                <a:lnTo>
                  <a:pt x="28" y="284"/>
                </a:lnTo>
                <a:lnTo>
                  <a:pt x="28" y="284"/>
                </a:lnTo>
                <a:lnTo>
                  <a:pt x="24" y="282"/>
                </a:lnTo>
                <a:lnTo>
                  <a:pt x="24" y="276"/>
                </a:lnTo>
                <a:lnTo>
                  <a:pt x="22" y="270"/>
                </a:lnTo>
                <a:lnTo>
                  <a:pt x="20" y="262"/>
                </a:lnTo>
                <a:lnTo>
                  <a:pt x="20" y="262"/>
                </a:lnTo>
                <a:lnTo>
                  <a:pt x="18" y="256"/>
                </a:lnTo>
                <a:lnTo>
                  <a:pt x="18" y="254"/>
                </a:lnTo>
                <a:lnTo>
                  <a:pt x="20" y="254"/>
                </a:lnTo>
                <a:lnTo>
                  <a:pt x="20" y="252"/>
                </a:lnTo>
                <a:lnTo>
                  <a:pt x="20" y="252"/>
                </a:lnTo>
                <a:lnTo>
                  <a:pt x="16" y="248"/>
                </a:lnTo>
                <a:lnTo>
                  <a:pt x="14" y="248"/>
                </a:lnTo>
                <a:lnTo>
                  <a:pt x="8" y="248"/>
                </a:lnTo>
                <a:lnTo>
                  <a:pt x="4" y="250"/>
                </a:lnTo>
                <a:lnTo>
                  <a:pt x="2" y="250"/>
                </a:lnTo>
                <a:lnTo>
                  <a:pt x="0" y="248"/>
                </a:lnTo>
                <a:lnTo>
                  <a:pt x="0" y="248"/>
                </a:lnTo>
                <a:lnTo>
                  <a:pt x="0" y="242"/>
                </a:lnTo>
                <a:lnTo>
                  <a:pt x="0" y="236"/>
                </a:lnTo>
                <a:lnTo>
                  <a:pt x="2" y="230"/>
                </a:lnTo>
                <a:lnTo>
                  <a:pt x="8" y="226"/>
                </a:lnTo>
                <a:lnTo>
                  <a:pt x="8" y="224"/>
                </a:lnTo>
                <a:lnTo>
                  <a:pt x="8" y="222"/>
                </a:lnTo>
                <a:lnTo>
                  <a:pt x="8" y="222"/>
                </a:lnTo>
                <a:lnTo>
                  <a:pt x="8" y="218"/>
                </a:lnTo>
                <a:lnTo>
                  <a:pt x="12" y="214"/>
                </a:lnTo>
                <a:lnTo>
                  <a:pt x="14" y="212"/>
                </a:lnTo>
                <a:lnTo>
                  <a:pt x="14" y="210"/>
                </a:lnTo>
                <a:lnTo>
                  <a:pt x="14" y="210"/>
                </a:lnTo>
                <a:lnTo>
                  <a:pt x="10" y="206"/>
                </a:lnTo>
                <a:lnTo>
                  <a:pt x="10" y="204"/>
                </a:lnTo>
                <a:lnTo>
                  <a:pt x="12" y="202"/>
                </a:lnTo>
                <a:lnTo>
                  <a:pt x="12" y="196"/>
                </a:lnTo>
                <a:lnTo>
                  <a:pt x="12" y="196"/>
                </a:lnTo>
                <a:lnTo>
                  <a:pt x="14" y="188"/>
                </a:lnTo>
                <a:lnTo>
                  <a:pt x="16" y="182"/>
                </a:lnTo>
                <a:lnTo>
                  <a:pt x="26" y="170"/>
                </a:lnTo>
                <a:lnTo>
                  <a:pt x="26" y="170"/>
                </a:lnTo>
                <a:lnTo>
                  <a:pt x="30" y="166"/>
                </a:lnTo>
                <a:lnTo>
                  <a:pt x="34" y="168"/>
                </a:lnTo>
                <a:lnTo>
                  <a:pt x="36" y="170"/>
                </a:lnTo>
                <a:lnTo>
                  <a:pt x="44" y="168"/>
                </a:lnTo>
                <a:lnTo>
                  <a:pt x="40" y="70"/>
                </a:lnTo>
                <a:lnTo>
                  <a:pt x="56" y="70"/>
                </a:lnTo>
                <a:lnTo>
                  <a:pt x="54" y="14"/>
                </a:lnTo>
                <a:lnTo>
                  <a:pt x="256" y="14"/>
                </a:lnTo>
                <a:lnTo>
                  <a:pt x="256" y="14"/>
                </a:lnTo>
                <a:lnTo>
                  <a:pt x="262" y="16"/>
                </a:lnTo>
                <a:lnTo>
                  <a:pt x="268" y="16"/>
                </a:lnTo>
                <a:lnTo>
                  <a:pt x="272" y="16"/>
                </a:lnTo>
                <a:lnTo>
                  <a:pt x="272" y="14"/>
                </a:lnTo>
                <a:lnTo>
                  <a:pt x="272" y="14"/>
                </a:lnTo>
                <a:lnTo>
                  <a:pt x="272" y="14"/>
                </a:lnTo>
                <a:lnTo>
                  <a:pt x="270" y="12"/>
                </a:lnTo>
                <a:lnTo>
                  <a:pt x="272" y="10"/>
                </a:lnTo>
                <a:lnTo>
                  <a:pt x="276" y="10"/>
                </a:lnTo>
                <a:lnTo>
                  <a:pt x="280" y="6"/>
                </a:lnTo>
                <a:lnTo>
                  <a:pt x="280" y="6"/>
                </a:lnTo>
                <a:lnTo>
                  <a:pt x="282" y="4"/>
                </a:lnTo>
                <a:lnTo>
                  <a:pt x="284" y="2"/>
                </a:lnTo>
                <a:lnTo>
                  <a:pt x="288" y="4"/>
                </a:lnTo>
                <a:lnTo>
                  <a:pt x="290" y="0"/>
                </a:lnTo>
                <a:lnTo>
                  <a:pt x="290" y="0"/>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04" name="Freeform 40"/>
          <p:cNvSpPr>
            <a:spLocks/>
          </p:cNvSpPr>
          <p:nvPr/>
        </p:nvSpPr>
        <p:spPr bwMode="auto">
          <a:xfrm>
            <a:off x="5042783" y="2832153"/>
            <a:ext cx="47856" cy="68284"/>
          </a:xfrm>
          <a:custGeom>
            <a:avLst/>
            <a:gdLst/>
            <a:ahLst/>
            <a:cxnLst>
              <a:cxn ang="0">
                <a:pos x="14" y="42"/>
              </a:cxn>
              <a:cxn ang="0">
                <a:pos x="14" y="42"/>
              </a:cxn>
              <a:cxn ang="0">
                <a:pos x="16" y="56"/>
              </a:cxn>
              <a:cxn ang="0">
                <a:pos x="20" y="60"/>
              </a:cxn>
              <a:cxn ang="0">
                <a:pos x="20" y="60"/>
              </a:cxn>
              <a:cxn ang="0">
                <a:pos x="28" y="50"/>
              </a:cxn>
              <a:cxn ang="0">
                <a:pos x="34" y="42"/>
              </a:cxn>
              <a:cxn ang="0">
                <a:pos x="36" y="36"/>
              </a:cxn>
              <a:cxn ang="0">
                <a:pos x="38" y="30"/>
              </a:cxn>
              <a:cxn ang="0">
                <a:pos x="38" y="30"/>
              </a:cxn>
              <a:cxn ang="0">
                <a:pos x="38" y="26"/>
              </a:cxn>
              <a:cxn ang="0">
                <a:pos x="40" y="24"/>
              </a:cxn>
              <a:cxn ang="0">
                <a:pos x="42" y="20"/>
              </a:cxn>
              <a:cxn ang="0">
                <a:pos x="42" y="14"/>
              </a:cxn>
              <a:cxn ang="0">
                <a:pos x="42" y="14"/>
              </a:cxn>
              <a:cxn ang="0">
                <a:pos x="40" y="14"/>
              </a:cxn>
              <a:cxn ang="0">
                <a:pos x="38" y="12"/>
              </a:cxn>
              <a:cxn ang="0">
                <a:pos x="32" y="12"/>
              </a:cxn>
              <a:cxn ang="0">
                <a:pos x="30" y="10"/>
              </a:cxn>
              <a:cxn ang="0">
                <a:pos x="28" y="8"/>
              </a:cxn>
              <a:cxn ang="0">
                <a:pos x="28" y="6"/>
              </a:cxn>
              <a:cxn ang="0">
                <a:pos x="32" y="2"/>
              </a:cxn>
              <a:cxn ang="0">
                <a:pos x="32" y="2"/>
              </a:cxn>
              <a:cxn ang="0">
                <a:pos x="26" y="0"/>
              </a:cxn>
              <a:cxn ang="0">
                <a:pos x="22" y="0"/>
              </a:cxn>
              <a:cxn ang="0">
                <a:pos x="16" y="0"/>
              </a:cxn>
              <a:cxn ang="0">
                <a:pos x="16" y="2"/>
              </a:cxn>
              <a:cxn ang="0">
                <a:pos x="16" y="6"/>
              </a:cxn>
              <a:cxn ang="0">
                <a:pos x="16" y="6"/>
              </a:cxn>
              <a:cxn ang="0">
                <a:pos x="16" y="12"/>
              </a:cxn>
              <a:cxn ang="0">
                <a:pos x="14" y="12"/>
              </a:cxn>
              <a:cxn ang="0">
                <a:pos x="8" y="10"/>
              </a:cxn>
              <a:cxn ang="0">
                <a:pos x="4" y="10"/>
              </a:cxn>
              <a:cxn ang="0">
                <a:pos x="0" y="10"/>
              </a:cxn>
              <a:cxn ang="0">
                <a:pos x="0" y="10"/>
              </a:cxn>
              <a:cxn ang="0">
                <a:pos x="6" y="34"/>
              </a:cxn>
              <a:cxn ang="0">
                <a:pos x="8" y="38"/>
              </a:cxn>
              <a:cxn ang="0">
                <a:pos x="10" y="40"/>
              </a:cxn>
              <a:cxn ang="0">
                <a:pos x="12" y="40"/>
              </a:cxn>
              <a:cxn ang="0">
                <a:pos x="12" y="40"/>
              </a:cxn>
              <a:cxn ang="0">
                <a:pos x="14" y="42"/>
              </a:cxn>
              <a:cxn ang="0">
                <a:pos x="14" y="42"/>
              </a:cxn>
            </a:cxnLst>
            <a:rect l="0" t="0" r="r" b="b"/>
            <a:pathLst>
              <a:path w="42" h="60">
                <a:moveTo>
                  <a:pt x="14" y="42"/>
                </a:moveTo>
                <a:lnTo>
                  <a:pt x="14" y="42"/>
                </a:lnTo>
                <a:lnTo>
                  <a:pt x="16" y="56"/>
                </a:lnTo>
                <a:lnTo>
                  <a:pt x="20" y="60"/>
                </a:lnTo>
                <a:lnTo>
                  <a:pt x="20" y="60"/>
                </a:lnTo>
                <a:lnTo>
                  <a:pt x="28" y="50"/>
                </a:lnTo>
                <a:lnTo>
                  <a:pt x="34" y="42"/>
                </a:lnTo>
                <a:lnTo>
                  <a:pt x="36" y="36"/>
                </a:lnTo>
                <a:lnTo>
                  <a:pt x="38" y="30"/>
                </a:lnTo>
                <a:lnTo>
                  <a:pt x="38" y="30"/>
                </a:lnTo>
                <a:lnTo>
                  <a:pt x="38" y="26"/>
                </a:lnTo>
                <a:lnTo>
                  <a:pt x="40" y="24"/>
                </a:lnTo>
                <a:lnTo>
                  <a:pt x="42" y="20"/>
                </a:lnTo>
                <a:lnTo>
                  <a:pt x="42" y="14"/>
                </a:lnTo>
                <a:lnTo>
                  <a:pt x="42" y="14"/>
                </a:lnTo>
                <a:lnTo>
                  <a:pt x="40" y="14"/>
                </a:lnTo>
                <a:lnTo>
                  <a:pt x="38" y="12"/>
                </a:lnTo>
                <a:lnTo>
                  <a:pt x="32" y="12"/>
                </a:lnTo>
                <a:lnTo>
                  <a:pt x="30" y="10"/>
                </a:lnTo>
                <a:lnTo>
                  <a:pt x="28" y="8"/>
                </a:lnTo>
                <a:lnTo>
                  <a:pt x="28" y="6"/>
                </a:lnTo>
                <a:lnTo>
                  <a:pt x="32" y="2"/>
                </a:lnTo>
                <a:lnTo>
                  <a:pt x="32" y="2"/>
                </a:lnTo>
                <a:lnTo>
                  <a:pt x="26" y="0"/>
                </a:lnTo>
                <a:lnTo>
                  <a:pt x="22" y="0"/>
                </a:lnTo>
                <a:lnTo>
                  <a:pt x="16" y="0"/>
                </a:lnTo>
                <a:lnTo>
                  <a:pt x="16" y="2"/>
                </a:lnTo>
                <a:lnTo>
                  <a:pt x="16" y="6"/>
                </a:lnTo>
                <a:lnTo>
                  <a:pt x="16" y="6"/>
                </a:lnTo>
                <a:lnTo>
                  <a:pt x="16" y="12"/>
                </a:lnTo>
                <a:lnTo>
                  <a:pt x="14" y="12"/>
                </a:lnTo>
                <a:lnTo>
                  <a:pt x="8" y="10"/>
                </a:lnTo>
                <a:lnTo>
                  <a:pt x="4" y="10"/>
                </a:lnTo>
                <a:lnTo>
                  <a:pt x="0" y="10"/>
                </a:lnTo>
                <a:lnTo>
                  <a:pt x="0" y="10"/>
                </a:lnTo>
                <a:lnTo>
                  <a:pt x="6" y="34"/>
                </a:lnTo>
                <a:lnTo>
                  <a:pt x="8" y="38"/>
                </a:lnTo>
                <a:lnTo>
                  <a:pt x="10" y="40"/>
                </a:lnTo>
                <a:lnTo>
                  <a:pt x="12" y="40"/>
                </a:lnTo>
                <a:lnTo>
                  <a:pt x="12" y="40"/>
                </a:lnTo>
                <a:lnTo>
                  <a:pt x="14" y="42"/>
                </a:lnTo>
                <a:lnTo>
                  <a:pt x="14" y="42"/>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05" name="Freeform 41"/>
          <p:cNvSpPr>
            <a:spLocks/>
          </p:cNvSpPr>
          <p:nvPr/>
        </p:nvSpPr>
        <p:spPr bwMode="auto">
          <a:xfrm>
            <a:off x="5058735" y="2640958"/>
            <a:ext cx="129893" cy="152501"/>
          </a:xfrm>
          <a:custGeom>
            <a:avLst/>
            <a:gdLst/>
            <a:ahLst/>
            <a:cxnLst>
              <a:cxn ang="0">
                <a:pos x="92" y="104"/>
              </a:cxn>
              <a:cxn ang="0">
                <a:pos x="88" y="104"/>
              </a:cxn>
              <a:cxn ang="0">
                <a:pos x="86" y="104"/>
              </a:cxn>
              <a:cxn ang="0">
                <a:pos x="84" y="100"/>
              </a:cxn>
              <a:cxn ang="0">
                <a:pos x="80" y="104"/>
              </a:cxn>
              <a:cxn ang="0">
                <a:pos x="74" y="104"/>
              </a:cxn>
              <a:cxn ang="0">
                <a:pos x="70" y="106"/>
              </a:cxn>
              <a:cxn ang="0">
                <a:pos x="64" y="106"/>
              </a:cxn>
              <a:cxn ang="0">
                <a:pos x="62" y="110"/>
              </a:cxn>
              <a:cxn ang="0">
                <a:pos x="62" y="112"/>
              </a:cxn>
              <a:cxn ang="0">
                <a:pos x="58" y="114"/>
              </a:cxn>
              <a:cxn ang="0">
                <a:pos x="58" y="116"/>
              </a:cxn>
              <a:cxn ang="0">
                <a:pos x="52" y="124"/>
              </a:cxn>
              <a:cxn ang="0">
                <a:pos x="52" y="128"/>
              </a:cxn>
              <a:cxn ang="0">
                <a:pos x="44" y="132"/>
              </a:cxn>
              <a:cxn ang="0">
                <a:pos x="34" y="128"/>
              </a:cxn>
              <a:cxn ang="0">
                <a:pos x="24" y="130"/>
              </a:cxn>
              <a:cxn ang="0">
                <a:pos x="14" y="134"/>
              </a:cxn>
              <a:cxn ang="0">
                <a:pos x="10" y="132"/>
              </a:cxn>
              <a:cxn ang="0">
                <a:pos x="4" y="134"/>
              </a:cxn>
              <a:cxn ang="0">
                <a:pos x="2" y="116"/>
              </a:cxn>
              <a:cxn ang="0">
                <a:pos x="8" y="100"/>
              </a:cxn>
              <a:cxn ang="0">
                <a:pos x="10" y="92"/>
              </a:cxn>
              <a:cxn ang="0">
                <a:pos x="24" y="78"/>
              </a:cxn>
              <a:cxn ang="0">
                <a:pos x="32" y="62"/>
              </a:cxn>
              <a:cxn ang="0">
                <a:pos x="38" y="50"/>
              </a:cxn>
              <a:cxn ang="0">
                <a:pos x="42" y="48"/>
              </a:cxn>
              <a:cxn ang="0">
                <a:pos x="40" y="46"/>
              </a:cxn>
              <a:cxn ang="0">
                <a:pos x="32" y="44"/>
              </a:cxn>
              <a:cxn ang="0">
                <a:pos x="28" y="42"/>
              </a:cxn>
              <a:cxn ang="0">
                <a:pos x="26" y="32"/>
              </a:cxn>
              <a:cxn ang="0">
                <a:pos x="26" y="24"/>
              </a:cxn>
              <a:cxn ang="0">
                <a:pos x="24" y="20"/>
              </a:cxn>
              <a:cxn ang="0">
                <a:pos x="30" y="10"/>
              </a:cxn>
              <a:cxn ang="0">
                <a:pos x="44" y="8"/>
              </a:cxn>
              <a:cxn ang="0">
                <a:pos x="64" y="10"/>
              </a:cxn>
              <a:cxn ang="0">
                <a:pos x="78" y="6"/>
              </a:cxn>
              <a:cxn ang="0">
                <a:pos x="88" y="0"/>
              </a:cxn>
              <a:cxn ang="0">
                <a:pos x="96" y="14"/>
              </a:cxn>
              <a:cxn ang="0">
                <a:pos x="100" y="26"/>
              </a:cxn>
              <a:cxn ang="0">
                <a:pos x="106" y="28"/>
              </a:cxn>
              <a:cxn ang="0">
                <a:pos x="108" y="30"/>
              </a:cxn>
              <a:cxn ang="0">
                <a:pos x="108" y="34"/>
              </a:cxn>
              <a:cxn ang="0">
                <a:pos x="108" y="40"/>
              </a:cxn>
              <a:cxn ang="0">
                <a:pos x="114" y="54"/>
              </a:cxn>
              <a:cxn ang="0">
                <a:pos x="114" y="62"/>
              </a:cxn>
              <a:cxn ang="0">
                <a:pos x="110" y="72"/>
              </a:cxn>
              <a:cxn ang="0">
                <a:pos x="112" y="82"/>
              </a:cxn>
              <a:cxn ang="0">
                <a:pos x="108" y="84"/>
              </a:cxn>
              <a:cxn ang="0">
                <a:pos x="102" y="88"/>
              </a:cxn>
              <a:cxn ang="0">
                <a:pos x="92" y="104"/>
              </a:cxn>
            </a:cxnLst>
            <a:rect l="0" t="0" r="r" b="b"/>
            <a:pathLst>
              <a:path w="114" h="134">
                <a:moveTo>
                  <a:pt x="92" y="104"/>
                </a:moveTo>
                <a:lnTo>
                  <a:pt x="92" y="104"/>
                </a:lnTo>
                <a:lnTo>
                  <a:pt x="90" y="102"/>
                </a:lnTo>
                <a:lnTo>
                  <a:pt x="88" y="104"/>
                </a:lnTo>
                <a:lnTo>
                  <a:pt x="88" y="104"/>
                </a:lnTo>
                <a:lnTo>
                  <a:pt x="86" y="104"/>
                </a:lnTo>
                <a:lnTo>
                  <a:pt x="86" y="104"/>
                </a:lnTo>
                <a:lnTo>
                  <a:pt x="84" y="100"/>
                </a:lnTo>
                <a:lnTo>
                  <a:pt x="80" y="104"/>
                </a:lnTo>
                <a:lnTo>
                  <a:pt x="80" y="104"/>
                </a:lnTo>
                <a:lnTo>
                  <a:pt x="76" y="104"/>
                </a:lnTo>
                <a:lnTo>
                  <a:pt x="74" y="104"/>
                </a:lnTo>
                <a:lnTo>
                  <a:pt x="72" y="104"/>
                </a:lnTo>
                <a:lnTo>
                  <a:pt x="70" y="106"/>
                </a:lnTo>
                <a:lnTo>
                  <a:pt x="70" y="106"/>
                </a:lnTo>
                <a:lnTo>
                  <a:pt x="64" y="106"/>
                </a:lnTo>
                <a:lnTo>
                  <a:pt x="62" y="106"/>
                </a:lnTo>
                <a:lnTo>
                  <a:pt x="62" y="110"/>
                </a:lnTo>
                <a:lnTo>
                  <a:pt x="62" y="110"/>
                </a:lnTo>
                <a:lnTo>
                  <a:pt x="62" y="112"/>
                </a:lnTo>
                <a:lnTo>
                  <a:pt x="60" y="112"/>
                </a:lnTo>
                <a:lnTo>
                  <a:pt x="58" y="114"/>
                </a:lnTo>
                <a:lnTo>
                  <a:pt x="58" y="116"/>
                </a:lnTo>
                <a:lnTo>
                  <a:pt x="58" y="116"/>
                </a:lnTo>
                <a:lnTo>
                  <a:pt x="54" y="122"/>
                </a:lnTo>
                <a:lnTo>
                  <a:pt x="52" y="124"/>
                </a:lnTo>
                <a:lnTo>
                  <a:pt x="52" y="128"/>
                </a:lnTo>
                <a:lnTo>
                  <a:pt x="52" y="128"/>
                </a:lnTo>
                <a:lnTo>
                  <a:pt x="48" y="130"/>
                </a:lnTo>
                <a:lnTo>
                  <a:pt x="44" y="132"/>
                </a:lnTo>
                <a:lnTo>
                  <a:pt x="34" y="128"/>
                </a:lnTo>
                <a:lnTo>
                  <a:pt x="34" y="128"/>
                </a:lnTo>
                <a:lnTo>
                  <a:pt x="30" y="128"/>
                </a:lnTo>
                <a:lnTo>
                  <a:pt x="24" y="130"/>
                </a:lnTo>
                <a:lnTo>
                  <a:pt x="24" y="130"/>
                </a:lnTo>
                <a:lnTo>
                  <a:pt x="14" y="134"/>
                </a:lnTo>
                <a:lnTo>
                  <a:pt x="12" y="132"/>
                </a:lnTo>
                <a:lnTo>
                  <a:pt x="10" y="132"/>
                </a:lnTo>
                <a:lnTo>
                  <a:pt x="4" y="134"/>
                </a:lnTo>
                <a:lnTo>
                  <a:pt x="4" y="134"/>
                </a:lnTo>
                <a:lnTo>
                  <a:pt x="0" y="122"/>
                </a:lnTo>
                <a:lnTo>
                  <a:pt x="2" y="116"/>
                </a:lnTo>
                <a:lnTo>
                  <a:pt x="4" y="110"/>
                </a:lnTo>
                <a:lnTo>
                  <a:pt x="8" y="100"/>
                </a:lnTo>
                <a:lnTo>
                  <a:pt x="8" y="100"/>
                </a:lnTo>
                <a:lnTo>
                  <a:pt x="10" y="92"/>
                </a:lnTo>
                <a:lnTo>
                  <a:pt x="16" y="86"/>
                </a:lnTo>
                <a:lnTo>
                  <a:pt x="24" y="78"/>
                </a:lnTo>
                <a:lnTo>
                  <a:pt x="32" y="62"/>
                </a:lnTo>
                <a:lnTo>
                  <a:pt x="32" y="62"/>
                </a:lnTo>
                <a:lnTo>
                  <a:pt x="36" y="54"/>
                </a:lnTo>
                <a:lnTo>
                  <a:pt x="38" y="50"/>
                </a:lnTo>
                <a:lnTo>
                  <a:pt x="40" y="50"/>
                </a:lnTo>
                <a:lnTo>
                  <a:pt x="42" y="48"/>
                </a:lnTo>
                <a:lnTo>
                  <a:pt x="42" y="48"/>
                </a:lnTo>
                <a:lnTo>
                  <a:pt x="40" y="46"/>
                </a:lnTo>
                <a:lnTo>
                  <a:pt x="38" y="46"/>
                </a:lnTo>
                <a:lnTo>
                  <a:pt x="32" y="44"/>
                </a:lnTo>
                <a:lnTo>
                  <a:pt x="30" y="44"/>
                </a:lnTo>
                <a:lnTo>
                  <a:pt x="28" y="42"/>
                </a:lnTo>
                <a:lnTo>
                  <a:pt x="26" y="38"/>
                </a:lnTo>
                <a:lnTo>
                  <a:pt x="26" y="32"/>
                </a:lnTo>
                <a:lnTo>
                  <a:pt x="26" y="32"/>
                </a:lnTo>
                <a:lnTo>
                  <a:pt x="26" y="24"/>
                </a:lnTo>
                <a:lnTo>
                  <a:pt x="24" y="22"/>
                </a:lnTo>
                <a:lnTo>
                  <a:pt x="24" y="20"/>
                </a:lnTo>
                <a:lnTo>
                  <a:pt x="30" y="10"/>
                </a:lnTo>
                <a:lnTo>
                  <a:pt x="30" y="10"/>
                </a:lnTo>
                <a:lnTo>
                  <a:pt x="38" y="8"/>
                </a:lnTo>
                <a:lnTo>
                  <a:pt x="44" y="8"/>
                </a:lnTo>
                <a:lnTo>
                  <a:pt x="56" y="10"/>
                </a:lnTo>
                <a:lnTo>
                  <a:pt x="64" y="10"/>
                </a:lnTo>
                <a:lnTo>
                  <a:pt x="70" y="10"/>
                </a:lnTo>
                <a:lnTo>
                  <a:pt x="78" y="6"/>
                </a:lnTo>
                <a:lnTo>
                  <a:pt x="88" y="0"/>
                </a:lnTo>
                <a:lnTo>
                  <a:pt x="88" y="0"/>
                </a:lnTo>
                <a:lnTo>
                  <a:pt x="94" y="8"/>
                </a:lnTo>
                <a:lnTo>
                  <a:pt x="96" y="14"/>
                </a:lnTo>
                <a:lnTo>
                  <a:pt x="96" y="18"/>
                </a:lnTo>
                <a:lnTo>
                  <a:pt x="100" y="26"/>
                </a:lnTo>
                <a:lnTo>
                  <a:pt x="100" y="26"/>
                </a:lnTo>
                <a:lnTo>
                  <a:pt x="106" y="28"/>
                </a:lnTo>
                <a:lnTo>
                  <a:pt x="108" y="28"/>
                </a:lnTo>
                <a:lnTo>
                  <a:pt x="108" y="30"/>
                </a:lnTo>
                <a:lnTo>
                  <a:pt x="108" y="34"/>
                </a:lnTo>
                <a:lnTo>
                  <a:pt x="108" y="34"/>
                </a:lnTo>
                <a:lnTo>
                  <a:pt x="108" y="36"/>
                </a:lnTo>
                <a:lnTo>
                  <a:pt x="108" y="40"/>
                </a:lnTo>
                <a:lnTo>
                  <a:pt x="112" y="46"/>
                </a:lnTo>
                <a:lnTo>
                  <a:pt x="114" y="54"/>
                </a:lnTo>
                <a:lnTo>
                  <a:pt x="114" y="58"/>
                </a:lnTo>
                <a:lnTo>
                  <a:pt x="114" y="62"/>
                </a:lnTo>
                <a:lnTo>
                  <a:pt x="114" y="62"/>
                </a:lnTo>
                <a:lnTo>
                  <a:pt x="110" y="72"/>
                </a:lnTo>
                <a:lnTo>
                  <a:pt x="112" y="78"/>
                </a:lnTo>
                <a:lnTo>
                  <a:pt x="112" y="82"/>
                </a:lnTo>
                <a:lnTo>
                  <a:pt x="108" y="84"/>
                </a:lnTo>
                <a:lnTo>
                  <a:pt x="108" y="84"/>
                </a:lnTo>
                <a:lnTo>
                  <a:pt x="104" y="86"/>
                </a:lnTo>
                <a:lnTo>
                  <a:pt x="102" y="88"/>
                </a:lnTo>
                <a:lnTo>
                  <a:pt x="92" y="104"/>
                </a:lnTo>
                <a:lnTo>
                  <a:pt x="92" y="104"/>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06" name="Freeform 42"/>
          <p:cNvSpPr>
            <a:spLocks/>
          </p:cNvSpPr>
          <p:nvPr/>
        </p:nvSpPr>
        <p:spPr bwMode="auto">
          <a:xfrm>
            <a:off x="4618921" y="2891333"/>
            <a:ext cx="31904" cy="47799"/>
          </a:xfrm>
          <a:custGeom>
            <a:avLst/>
            <a:gdLst/>
            <a:ahLst/>
            <a:cxnLst>
              <a:cxn ang="0">
                <a:pos x="0" y="6"/>
              </a:cxn>
              <a:cxn ang="0">
                <a:pos x="0" y="6"/>
              </a:cxn>
              <a:cxn ang="0">
                <a:pos x="2" y="12"/>
              </a:cxn>
              <a:cxn ang="0">
                <a:pos x="4" y="12"/>
              </a:cxn>
              <a:cxn ang="0">
                <a:pos x="6" y="12"/>
              </a:cxn>
              <a:cxn ang="0">
                <a:pos x="6" y="12"/>
              </a:cxn>
              <a:cxn ang="0">
                <a:pos x="10" y="12"/>
              </a:cxn>
              <a:cxn ang="0">
                <a:pos x="10" y="14"/>
              </a:cxn>
              <a:cxn ang="0">
                <a:pos x="10" y="14"/>
              </a:cxn>
              <a:cxn ang="0">
                <a:pos x="6" y="16"/>
              </a:cxn>
              <a:cxn ang="0">
                <a:pos x="6" y="16"/>
              </a:cxn>
              <a:cxn ang="0">
                <a:pos x="4" y="14"/>
              </a:cxn>
              <a:cxn ang="0">
                <a:pos x="2" y="16"/>
              </a:cxn>
              <a:cxn ang="0">
                <a:pos x="4" y="18"/>
              </a:cxn>
              <a:cxn ang="0">
                <a:pos x="8" y="24"/>
              </a:cxn>
              <a:cxn ang="0">
                <a:pos x="8" y="26"/>
              </a:cxn>
              <a:cxn ang="0">
                <a:pos x="8" y="26"/>
              </a:cxn>
              <a:cxn ang="0">
                <a:pos x="8" y="28"/>
              </a:cxn>
              <a:cxn ang="0">
                <a:pos x="10" y="32"/>
              </a:cxn>
              <a:cxn ang="0">
                <a:pos x="10" y="34"/>
              </a:cxn>
              <a:cxn ang="0">
                <a:pos x="10" y="36"/>
              </a:cxn>
              <a:cxn ang="0">
                <a:pos x="10" y="36"/>
              </a:cxn>
              <a:cxn ang="0">
                <a:pos x="8" y="36"/>
              </a:cxn>
              <a:cxn ang="0">
                <a:pos x="8" y="38"/>
              </a:cxn>
              <a:cxn ang="0">
                <a:pos x="12" y="42"/>
              </a:cxn>
              <a:cxn ang="0">
                <a:pos x="12" y="42"/>
              </a:cxn>
              <a:cxn ang="0">
                <a:pos x="18" y="40"/>
              </a:cxn>
              <a:cxn ang="0">
                <a:pos x="22" y="38"/>
              </a:cxn>
              <a:cxn ang="0">
                <a:pos x="18" y="24"/>
              </a:cxn>
              <a:cxn ang="0">
                <a:pos x="18" y="24"/>
              </a:cxn>
              <a:cxn ang="0">
                <a:pos x="18" y="14"/>
              </a:cxn>
              <a:cxn ang="0">
                <a:pos x="22" y="8"/>
              </a:cxn>
              <a:cxn ang="0">
                <a:pos x="24" y="6"/>
              </a:cxn>
              <a:cxn ang="0">
                <a:pos x="28" y="2"/>
              </a:cxn>
              <a:cxn ang="0">
                <a:pos x="28" y="2"/>
              </a:cxn>
              <a:cxn ang="0">
                <a:pos x="24" y="0"/>
              </a:cxn>
              <a:cxn ang="0">
                <a:pos x="20" y="0"/>
              </a:cxn>
              <a:cxn ang="0">
                <a:pos x="18" y="2"/>
              </a:cxn>
              <a:cxn ang="0">
                <a:pos x="18" y="2"/>
              </a:cxn>
              <a:cxn ang="0">
                <a:pos x="16" y="4"/>
              </a:cxn>
              <a:cxn ang="0">
                <a:pos x="14" y="4"/>
              </a:cxn>
              <a:cxn ang="0">
                <a:pos x="12" y="4"/>
              </a:cxn>
              <a:cxn ang="0">
                <a:pos x="10" y="8"/>
              </a:cxn>
              <a:cxn ang="0">
                <a:pos x="10" y="8"/>
              </a:cxn>
              <a:cxn ang="0">
                <a:pos x="8" y="10"/>
              </a:cxn>
              <a:cxn ang="0">
                <a:pos x="8" y="8"/>
              </a:cxn>
              <a:cxn ang="0">
                <a:pos x="6" y="6"/>
              </a:cxn>
              <a:cxn ang="0">
                <a:pos x="0" y="6"/>
              </a:cxn>
              <a:cxn ang="0">
                <a:pos x="0" y="6"/>
              </a:cxn>
            </a:cxnLst>
            <a:rect l="0" t="0" r="r" b="b"/>
            <a:pathLst>
              <a:path w="28" h="42">
                <a:moveTo>
                  <a:pt x="0" y="6"/>
                </a:moveTo>
                <a:lnTo>
                  <a:pt x="0" y="6"/>
                </a:lnTo>
                <a:lnTo>
                  <a:pt x="2" y="12"/>
                </a:lnTo>
                <a:lnTo>
                  <a:pt x="4" y="12"/>
                </a:lnTo>
                <a:lnTo>
                  <a:pt x="6" y="12"/>
                </a:lnTo>
                <a:lnTo>
                  <a:pt x="6" y="12"/>
                </a:lnTo>
                <a:lnTo>
                  <a:pt x="10" y="12"/>
                </a:lnTo>
                <a:lnTo>
                  <a:pt x="10" y="14"/>
                </a:lnTo>
                <a:lnTo>
                  <a:pt x="10" y="14"/>
                </a:lnTo>
                <a:lnTo>
                  <a:pt x="6" y="16"/>
                </a:lnTo>
                <a:lnTo>
                  <a:pt x="6" y="16"/>
                </a:lnTo>
                <a:lnTo>
                  <a:pt x="4" y="14"/>
                </a:lnTo>
                <a:lnTo>
                  <a:pt x="2" y="16"/>
                </a:lnTo>
                <a:lnTo>
                  <a:pt x="4" y="18"/>
                </a:lnTo>
                <a:lnTo>
                  <a:pt x="8" y="24"/>
                </a:lnTo>
                <a:lnTo>
                  <a:pt x="8" y="26"/>
                </a:lnTo>
                <a:lnTo>
                  <a:pt x="8" y="26"/>
                </a:lnTo>
                <a:lnTo>
                  <a:pt x="8" y="28"/>
                </a:lnTo>
                <a:lnTo>
                  <a:pt x="10" y="32"/>
                </a:lnTo>
                <a:lnTo>
                  <a:pt x="10" y="34"/>
                </a:lnTo>
                <a:lnTo>
                  <a:pt x="10" y="36"/>
                </a:lnTo>
                <a:lnTo>
                  <a:pt x="10" y="36"/>
                </a:lnTo>
                <a:lnTo>
                  <a:pt x="8" y="36"/>
                </a:lnTo>
                <a:lnTo>
                  <a:pt x="8" y="38"/>
                </a:lnTo>
                <a:lnTo>
                  <a:pt x="12" y="42"/>
                </a:lnTo>
                <a:lnTo>
                  <a:pt x="12" y="42"/>
                </a:lnTo>
                <a:lnTo>
                  <a:pt x="18" y="40"/>
                </a:lnTo>
                <a:lnTo>
                  <a:pt x="22" y="38"/>
                </a:lnTo>
                <a:lnTo>
                  <a:pt x="18" y="24"/>
                </a:lnTo>
                <a:lnTo>
                  <a:pt x="18" y="24"/>
                </a:lnTo>
                <a:lnTo>
                  <a:pt x="18" y="14"/>
                </a:lnTo>
                <a:lnTo>
                  <a:pt x="22" y="8"/>
                </a:lnTo>
                <a:lnTo>
                  <a:pt x="24" y="6"/>
                </a:lnTo>
                <a:lnTo>
                  <a:pt x="28" y="2"/>
                </a:lnTo>
                <a:lnTo>
                  <a:pt x="28" y="2"/>
                </a:lnTo>
                <a:lnTo>
                  <a:pt x="24" y="0"/>
                </a:lnTo>
                <a:lnTo>
                  <a:pt x="20" y="0"/>
                </a:lnTo>
                <a:lnTo>
                  <a:pt x="18" y="2"/>
                </a:lnTo>
                <a:lnTo>
                  <a:pt x="18" y="2"/>
                </a:lnTo>
                <a:lnTo>
                  <a:pt x="16" y="4"/>
                </a:lnTo>
                <a:lnTo>
                  <a:pt x="14" y="4"/>
                </a:lnTo>
                <a:lnTo>
                  <a:pt x="12" y="4"/>
                </a:lnTo>
                <a:lnTo>
                  <a:pt x="10" y="8"/>
                </a:lnTo>
                <a:lnTo>
                  <a:pt x="10" y="8"/>
                </a:lnTo>
                <a:lnTo>
                  <a:pt x="8" y="10"/>
                </a:lnTo>
                <a:lnTo>
                  <a:pt x="8" y="8"/>
                </a:lnTo>
                <a:lnTo>
                  <a:pt x="6" y="6"/>
                </a:lnTo>
                <a:lnTo>
                  <a:pt x="0" y="6"/>
                </a:lnTo>
                <a:lnTo>
                  <a:pt x="0" y="6"/>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07" name="Freeform 43"/>
          <p:cNvSpPr>
            <a:spLocks/>
          </p:cNvSpPr>
          <p:nvPr/>
        </p:nvSpPr>
        <p:spPr bwMode="auto">
          <a:xfrm>
            <a:off x="4559671" y="2700139"/>
            <a:ext cx="52413" cy="34142"/>
          </a:xfrm>
          <a:custGeom>
            <a:avLst/>
            <a:gdLst/>
            <a:ahLst/>
            <a:cxnLst>
              <a:cxn ang="0">
                <a:pos x="12" y="2"/>
              </a:cxn>
              <a:cxn ang="0">
                <a:pos x="12" y="2"/>
              </a:cxn>
              <a:cxn ang="0">
                <a:pos x="10" y="4"/>
              </a:cxn>
              <a:cxn ang="0">
                <a:pos x="8" y="8"/>
              </a:cxn>
              <a:cxn ang="0">
                <a:pos x="8" y="10"/>
              </a:cxn>
              <a:cxn ang="0">
                <a:pos x="8" y="10"/>
              </a:cxn>
              <a:cxn ang="0">
                <a:pos x="8" y="14"/>
              </a:cxn>
              <a:cxn ang="0">
                <a:pos x="4" y="18"/>
              </a:cxn>
              <a:cxn ang="0">
                <a:pos x="2" y="22"/>
              </a:cxn>
              <a:cxn ang="0">
                <a:pos x="0" y="26"/>
              </a:cxn>
              <a:cxn ang="0">
                <a:pos x="0" y="26"/>
              </a:cxn>
              <a:cxn ang="0">
                <a:pos x="2" y="28"/>
              </a:cxn>
              <a:cxn ang="0">
                <a:pos x="6" y="28"/>
              </a:cxn>
              <a:cxn ang="0">
                <a:pos x="10" y="28"/>
              </a:cxn>
              <a:cxn ang="0">
                <a:pos x="16" y="30"/>
              </a:cxn>
              <a:cxn ang="0">
                <a:pos x="44" y="30"/>
              </a:cxn>
              <a:cxn ang="0">
                <a:pos x="46" y="16"/>
              </a:cxn>
              <a:cxn ang="0">
                <a:pos x="42" y="16"/>
              </a:cxn>
              <a:cxn ang="0">
                <a:pos x="44" y="14"/>
              </a:cxn>
              <a:cxn ang="0">
                <a:pos x="46" y="2"/>
              </a:cxn>
              <a:cxn ang="0">
                <a:pos x="46" y="2"/>
              </a:cxn>
              <a:cxn ang="0">
                <a:pos x="38" y="2"/>
              </a:cxn>
              <a:cxn ang="0">
                <a:pos x="38" y="2"/>
              </a:cxn>
              <a:cxn ang="0">
                <a:pos x="32" y="2"/>
              </a:cxn>
              <a:cxn ang="0">
                <a:pos x="28" y="0"/>
              </a:cxn>
              <a:cxn ang="0">
                <a:pos x="22" y="0"/>
              </a:cxn>
              <a:cxn ang="0">
                <a:pos x="12" y="2"/>
              </a:cxn>
              <a:cxn ang="0">
                <a:pos x="12" y="2"/>
              </a:cxn>
            </a:cxnLst>
            <a:rect l="0" t="0" r="r" b="b"/>
            <a:pathLst>
              <a:path w="46" h="30">
                <a:moveTo>
                  <a:pt x="12" y="2"/>
                </a:moveTo>
                <a:lnTo>
                  <a:pt x="12" y="2"/>
                </a:lnTo>
                <a:lnTo>
                  <a:pt x="10" y="4"/>
                </a:lnTo>
                <a:lnTo>
                  <a:pt x="8" y="8"/>
                </a:lnTo>
                <a:lnTo>
                  <a:pt x="8" y="10"/>
                </a:lnTo>
                <a:lnTo>
                  <a:pt x="8" y="10"/>
                </a:lnTo>
                <a:lnTo>
                  <a:pt x="8" y="14"/>
                </a:lnTo>
                <a:lnTo>
                  <a:pt x="4" y="18"/>
                </a:lnTo>
                <a:lnTo>
                  <a:pt x="2" y="22"/>
                </a:lnTo>
                <a:lnTo>
                  <a:pt x="0" y="26"/>
                </a:lnTo>
                <a:lnTo>
                  <a:pt x="0" y="26"/>
                </a:lnTo>
                <a:lnTo>
                  <a:pt x="2" y="28"/>
                </a:lnTo>
                <a:lnTo>
                  <a:pt x="6" y="28"/>
                </a:lnTo>
                <a:lnTo>
                  <a:pt x="10" y="28"/>
                </a:lnTo>
                <a:lnTo>
                  <a:pt x="16" y="30"/>
                </a:lnTo>
                <a:lnTo>
                  <a:pt x="44" y="30"/>
                </a:lnTo>
                <a:lnTo>
                  <a:pt x="46" y="16"/>
                </a:lnTo>
                <a:lnTo>
                  <a:pt x="42" y="16"/>
                </a:lnTo>
                <a:lnTo>
                  <a:pt x="44" y="14"/>
                </a:lnTo>
                <a:lnTo>
                  <a:pt x="46" y="2"/>
                </a:lnTo>
                <a:lnTo>
                  <a:pt x="46" y="2"/>
                </a:lnTo>
                <a:lnTo>
                  <a:pt x="38" y="2"/>
                </a:lnTo>
                <a:lnTo>
                  <a:pt x="38" y="2"/>
                </a:lnTo>
                <a:lnTo>
                  <a:pt x="32" y="2"/>
                </a:lnTo>
                <a:lnTo>
                  <a:pt x="28" y="0"/>
                </a:lnTo>
                <a:lnTo>
                  <a:pt x="22" y="0"/>
                </a:lnTo>
                <a:lnTo>
                  <a:pt x="12" y="2"/>
                </a:lnTo>
                <a:lnTo>
                  <a:pt x="12" y="2"/>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08" name="Freeform 44"/>
          <p:cNvSpPr>
            <a:spLocks/>
          </p:cNvSpPr>
          <p:nvPr/>
        </p:nvSpPr>
        <p:spPr bwMode="auto">
          <a:xfrm>
            <a:off x="4545999" y="2695586"/>
            <a:ext cx="148124" cy="179814"/>
          </a:xfrm>
          <a:custGeom>
            <a:avLst/>
            <a:gdLst/>
            <a:ahLst/>
            <a:cxnLst>
              <a:cxn ang="0">
                <a:pos x="24" y="36"/>
              </a:cxn>
              <a:cxn ang="0">
                <a:pos x="22" y="46"/>
              </a:cxn>
              <a:cxn ang="0">
                <a:pos x="14" y="46"/>
              </a:cxn>
              <a:cxn ang="0">
                <a:pos x="24" y="56"/>
              </a:cxn>
              <a:cxn ang="0">
                <a:pos x="26" y="58"/>
              </a:cxn>
              <a:cxn ang="0">
                <a:pos x="20" y="56"/>
              </a:cxn>
              <a:cxn ang="0">
                <a:pos x="14" y="52"/>
              </a:cxn>
              <a:cxn ang="0">
                <a:pos x="12" y="60"/>
              </a:cxn>
              <a:cxn ang="0">
                <a:pos x="10" y="68"/>
              </a:cxn>
              <a:cxn ang="0">
                <a:pos x="6" y="78"/>
              </a:cxn>
              <a:cxn ang="0">
                <a:pos x="0" y="76"/>
              </a:cxn>
              <a:cxn ang="0">
                <a:pos x="10" y="100"/>
              </a:cxn>
              <a:cxn ang="0">
                <a:pos x="12" y="102"/>
              </a:cxn>
              <a:cxn ang="0">
                <a:pos x="10" y="106"/>
              </a:cxn>
              <a:cxn ang="0">
                <a:pos x="16" y="116"/>
              </a:cxn>
              <a:cxn ang="0">
                <a:pos x="16" y="118"/>
              </a:cxn>
              <a:cxn ang="0">
                <a:pos x="28" y="132"/>
              </a:cxn>
              <a:cxn ang="0">
                <a:pos x="32" y="138"/>
              </a:cxn>
              <a:cxn ang="0">
                <a:pos x="44" y="150"/>
              </a:cxn>
              <a:cxn ang="0">
                <a:pos x="44" y="154"/>
              </a:cxn>
              <a:cxn ang="0">
                <a:pos x="48" y="158"/>
              </a:cxn>
              <a:cxn ang="0">
                <a:pos x="56" y="150"/>
              </a:cxn>
              <a:cxn ang="0">
                <a:pos x="62" y="156"/>
              </a:cxn>
              <a:cxn ang="0">
                <a:pos x="64" y="154"/>
              </a:cxn>
              <a:cxn ang="0">
                <a:pos x="62" y="138"/>
              </a:cxn>
              <a:cxn ang="0">
                <a:pos x="58" y="124"/>
              </a:cxn>
              <a:cxn ang="0">
                <a:pos x="64" y="124"/>
              </a:cxn>
              <a:cxn ang="0">
                <a:pos x="70" y="124"/>
              </a:cxn>
              <a:cxn ang="0">
                <a:pos x="72" y="124"/>
              </a:cxn>
              <a:cxn ang="0">
                <a:pos x="74" y="112"/>
              </a:cxn>
              <a:cxn ang="0">
                <a:pos x="78" y="110"/>
              </a:cxn>
              <a:cxn ang="0">
                <a:pos x="86" y="120"/>
              </a:cxn>
              <a:cxn ang="0">
                <a:pos x="88" y="122"/>
              </a:cxn>
              <a:cxn ang="0">
                <a:pos x="98" y="120"/>
              </a:cxn>
              <a:cxn ang="0">
                <a:pos x="104" y="118"/>
              </a:cxn>
              <a:cxn ang="0">
                <a:pos x="114" y="126"/>
              </a:cxn>
              <a:cxn ang="0">
                <a:pos x="120" y="114"/>
              </a:cxn>
              <a:cxn ang="0">
                <a:pos x="126" y="106"/>
              </a:cxn>
              <a:cxn ang="0">
                <a:pos x="128" y="100"/>
              </a:cxn>
              <a:cxn ang="0">
                <a:pos x="128" y="92"/>
              </a:cxn>
              <a:cxn ang="0">
                <a:pos x="126" y="82"/>
              </a:cxn>
              <a:cxn ang="0">
                <a:pos x="126" y="76"/>
              </a:cxn>
              <a:cxn ang="0">
                <a:pos x="124" y="72"/>
              </a:cxn>
              <a:cxn ang="0">
                <a:pos x="120" y="64"/>
              </a:cxn>
              <a:cxn ang="0">
                <a:pos x="124" y="60"/>
              </a:cxn>
              <a:cxn ang="0">
                <a:pos x="122" y="54"/>
              </a:cxn>
              <a:cxn ang="0">
                <a:pos x="126" y="46"/>
              </a:cxn>
              <a:cxn ang="0">
                <a:pos x="130" y="36"/>
              </a:cxn>
              <a:cxn ang="0">
                <a:pos x="130" y="28"/>
              </a:cxn>
              <a:cxn ang="0">
                <a:pos x="126" y="24"/>
              </a:cxn>
              <a:cxn ang="0">
                <a:pos x="108" y="24"/>
              </a:cxn>
              <a:cxn ang="0">
                <a:pos x="104" y="16"/>
              </a:cxn>
              <a:cxn ang="0">
                <a:pos x="104" y="4"/>
              </a:cxn>
              <a:cxn ang="0">
                <a:pos x="84" y="2"/>
              </a:cxn>
              <a:cxn ang="0">
                <a:pos x="50" y="6"/>
              </a:cxn>
              <a:cxn ang="0">
                <a:pos x="56" y="18"/>
              </a:cxn>
              <a:cxn ang="0">
                <a:pos x="56" y="34"/>
              </a:cxn>
            </a:cxnLst>
            <a:rect l="0" t="0" r="r" b="b"/>
            <a:pathLst>
              <a:path w="130" h="158">
                <a:moveTo>
                  <a:pt x="28" y="34"/>
                </a:moveTo>
                <a:lnTo>
                  <a:pt x="28" y="34"/>
                </a:lnTo>
                <a:lnTo>
                  <a:pt x="24" y="36"/>
                </a:lnTo>
                <a:lnTo>
                  <a:pt x="22" y="38"/>
                </a:lnTo>
                <a:lnTo>
                  <a:pt x="22" y="42"/>
                </a:lnTo>
                <a:lnTo>
                  <a:pt x="22" y="46"/>
                </a:lnTo>
                <a:lnTo>
                  <a:pt x="16" y="46"/>
                </a:lnTo>
                <a:lnTo>
                  <a:pt x="16" y="46"/>
                </a:lnTo>
                <a:lnTo>
                  <a:pt x="14" y="46"/>
                </a:lnTo>
                <a:lnTo>
                  <a:pt x="14" y="48"/>
                </a:lnTo>
                <a:lnTo>
                  <a:pt x="16" y="50"/>
                </a:lnTo>
                <a:lnTo>
                  <a:pt x="24" y="56"/>
                </a:lnTo>
                <a:lnTo>
                  <a:pt x="24" y="56"/>
                </a:lnTo>
                <a:lnTo>
                  <a:pt x="26" y="56"/>
                </a:lnTo>
                <a:lnTo>
                  <a:pt x="26" y="58"/>
                </a:lnTo>
                <a:lnTo>
                  <a:pt x="26" y="60"/>
                </a:lnTo>
                <a:lnTo>
                  <a:pt x="26" y="60"/>
                </a:lnTo>
                <a:lnTo>
                  <a:pt x="20" y="56"/>
                </a:lnTo>
                <a:lnTo>
                  <a:pt x="16" y="54"/>
                </a:lnTo>
                <a:lnTo>
                  <a:pt x="16" y="52"/>
                </a:lnTo>
                <a:lnTo>
                  <a:pt x="14" y="52"/>
                </a:lnTo>
                <a:lnTo>
                  <a:pt x="14" y="52"/>
                </a:lnTo>
                <a:lnTo>
                  <a:pt x="12" y="54"/>
                </a:lnTo>
                <a:lnTo>
                  <a:pt x="12" y="60"/>
                </a:lnTo>
                <a:lnTo>
                  <a:pt x="12" y="64"/>
                </a:lnTo>
                <a:lnTo>
                  <a:pt x="10" y="68"/>
                </a:lnTo>
                <a:lnTo>
                  <a:pt x="10" y="68"/>
                </a:lnTo>
                <a:lnTo>
                  <a:pt x="8" y="72"/>
                </a:lnTo>
                <a:lnTo>
                  <a:pt x="8" y="76"/>
                </a:lnTo>
                <a:lnTo>
                  <a:pt x="6" y="78"/>
                </a:lnTo>
                <a:lnTo>
                  <a:pt x="0" y="76"/>
                </a:lnTo>
                <a:lnTo>
                  <a:pt x="0" y="76"/>
                </a:lnTo>
                <a:lnTo>
                  <a:pt x="0" y="76"/>
                </a:lnTo>
                <a:lnTo>
                  <a:pt x="0" y="78"/>
                </a:lnTo>
                <a:lnTo>
                  <a:pt x="2" y="86"/>
                </a:lnTo>
                <a:lnTo>
                  <a:pt x="10" y="100"/>
                </a:lnTo>
                <a:lnTo>
                  <a:pt x="10" y="100"/>
                </a:lnTo>
                <a:lnTo>
                  <a:pt x="12" y="100"/>
                </a:lnTo>
                <a:lnTo>
                  <a:pt x="12" y="102"/>
                </a:lnTo>
                <a:lnTo>
                  <a:pt x="10" y="104"/>
                </a:lnTo>
                <a:lnTo>
                  <a:pt x="10" y="104"/>
                </a:lnTo>
                <a:lnTo>
                  <a:pt x="10" y="106"/>
                </a:lnTo>
                <a:lnTo>
                  <a:pt x="10" y="110"/>
                </a:lnTo>
                <a:lnTo>
                  <a:pt x="16" y="116"/>
                </a:lnTo>
                <a:lnTo>
                  <a:pt x="16" y="116"/>
                </a:lnTo>
                <a:lnTo>
                  <a:pt x="18" y="118"/>
                </a:lnTo>
                <a:lnTo>
                  <a:pt x="18" y="120"/>
                </a:lnTo>
                <a:lnTo>
                  <a:pt x="16" y="118"/>
                </a:lnTo>
                <a:lnTo>
                  <a:pt x="16" y="118"/>
                </a:lnTo>
                <a:lnTo>
                  <a:pt x="22" y="128"/>
                </a:lnTo>
                <a:lnTo>
                  <a:pt x="28" y="132"/>
                </a:lnTo>
                <a:lnTo>
                  <a:pt x="32" y="136"/>
                </a:lnTo>
                <a:lnTo>
                  <a:pt x="32" y="138"/>
                </a:lnTo>
                <a:lnTo>
                  <a:pt x="32" y="138"/>
                </a:lnTo>
                <a:lnTo>
                  <a:pt x="36" y="142"/>
                </a:lnTo>
                <a:lnTo>
                  <a:pt x="40" y="146"/>
                </a:lnTo>
                <a:lnTo>
                  <a:pt x="44" y="150"/>
                </a:lnTo>
                <a:lnTo>
                  <a:pt x="46" y="152"/>
                </a:lnTo>
                <a:lnTo>
                  <a:pt x="46" y="152"/>
                </a:lnTo>
                <a:lnTo>
                  <a:pt x="44" y="154"/>
                </a:lnTo>
                <a:lnTo>
                  <a:pt x="46" y="156"/>
                </a:lnTo>
                <a:lnTo>
                  <a:pt x="48" y="158"/>
                </a:lnTo>
                <a:lnTo>
                  <a:pt x="48" y="158"/>
                </a:lnTo>
                <a:lnTo>
                  <a:pt x="48" y="158"/>
                </a:lnTo>
                <a:lnTo>
                  <a:pt x="54" y="152"/>
                </a:lnTo>
                <a:lnTo>
                  <a:pt x="56" y="150"/>
                </a:lnTo>
                <a:lnTo>
                  <a:pt x="60" y="150"/>
                </a:lnTo>
                <a:lnTo>
                  <a:pt x="60" y="152"/>
                </a:lnTo>
                <a:lnTo>
                  <a:pt x="62" y="156"/>
                </a:lnTo>
                <a:lnTo>
                  <a:pt x="62" y="156"/>
                </a:lnTo>
                <a:lnTo>
                  <a:pt x="64" y="154"/>
                </a:lnTo>
                <a:lnTo>
                  <a:pt x="64" y="154"/>
                </a:lnTo>
                <a:lnTo>
                  <a:pt x="66" y="150"/>
                </a:lnTo>
                <a:lnTo>
                  <a:pt x="66" y="144"/>
                </a:lnTo>
                <a:lnTo>
                  <a:pt x="62" y="138"/>
                </a:lnTo>
                <a:lnTo>
                  <a:pt x="60" y="130"/>
                </a:lnTo>
                <a:lnTo>
                  <a:pt x="58" y="124"/>
                </a:lnTo>
                <a:lnTo>
                  <a:pt x="58" y="124"/>
                </a:lnTo>
                <a:lnTo>
                  <a:pt x="60" y="126"/>
                </a:lnTo>
                <a:lnTo>
                  <a:pt x="62" y="126"/>
                </a:lnTo>
                <a:lnTo>
                  <a:pt x="64" y="124"/>
                </a:lnTo>
                <a:lnTo>
                  <a:pt x="64" y="124"/>
                </a:lnTo>
                <a:lnTo>
                  <a:pt x="68" y="122"/>
                </a:lnTo>
                <a:lnTo>
                  <a:pt x="70" y="124"/>
                </a:lnTo>
                <a:lnTo>
                  <a:pt x="70" y="124"/>
                </a:lnTo>
                <a:lnTo>
                  <a:pt x="72" y="124"/>
                </a:lnTo>
                <a:lnTo>
                  <a:pt x="72" y="124"/>
                </a:lnTo>
                <a:lnTo>
                  <a:pt x="76" y="122"/>
                </a:lnTo>
                <a:lnTo>
                  <a:pt x="76" y="118"/>
                </a:lnTo>
                <a:lnTo>
                  <a:pt x="74" y="112"/>
                </a:lnTo>
                <a:lnTo>
                  <a:pt x="78" y="110"/>
                </a:lnTo>
                <a:lnTo>
                  <a:pt x="78" y="110"/>
                </a:lnTo>
                <a:lnTo>
                  <a:pt x="78" y="110"/>
                </a:lnTo>
                <a:lnTo>
                  <a:pt x="80" y="112"/>
                </a:lnTo>
                <a:lnTo>
                  <a:pt x="82" y="116"/>
                </a:lnTo>
                <a:lnTo>
                  <a:pt x="86" y="120"/>
                </a:lnTo>
                <a:lnTo>
                  <a:pt x="86" y="122"/>
                </a:lnTo>
                <a:lnTo>
                  <a:pt x="88" y="122"/>
                </a:lnTo>
                <a:lnTo>
                  <a:pt x="88" y="122"/>
                </a:lnTo>
                <a:lnTo>
                  <a:pt x="90" y="120"/>
                </a:lnTo>
                <a:lnTo>
                  <a:pt x="94" y="120"/>
                </a:lnTo>
                <a:lnTo>
                  <a:pt x="98" y="120"/>
                </a:lnTo>
                <a:lnTo>
                  <a:pt x="100" y="120"/>
                </a:lnTo>
                <a:lnTo>
                  <a:pt x="100" y="120"/>
                </a:lnTo>
                <a:lnTo>
                  <a:pt x="104" y="118"/>
                </a:lnTo>
                <a:lnTo>
                  <a:pt x="106" y="120"/>
                </a:lnTo>
                <a:lnTo>
                  <a:pt x="114" y="126"/>
                </a:lnTo>
                <a:lnTo>
                  <a:pt x="114" y="126"/>
                </a:lnTo>
                <a:lnTo>
                  <a:pt x="116" y="126"/>
                </a:lnTo>
                <a:lnTo>
                  <a:pt x="118" y="124"/>
                </a:lnTo>
                <a:lnTo>
                  <a:pt x="120" y="114"/>
                </a:lnTo>
                <a:lnTo>
                  <a:pt x="120" y="114"/>
                </a:lnTo>
                <a:lnTo>
                  <a:pt x="122" y="108"/>
                </a:lnTo>
                <a:lnTo>
                  <a:pt x="126" y="106"/>
                </a:lnTo>
                <a:lnTo>
                  <a:pt x="128" y="104"/>
                </a:lnTo>
                <a:lnTo>
                  <a:pt x="128" y="100"/>
                </a:lnTo>
                <a:lnTo>
                  <a:pt x="128" y="100"/>
                </a:lnTo>
                <a:lnTo>
                  <a:pt x="126" y="96"/>
                </a:lnTo>
                <a:lnTo>
                  <a:pt x="128" y="94"/>
                </a:lnTo>
                <a:lnTo>
                  <a:pt x="128" y="92"/>
                </a:lnTo>
                <a:lnTo>
                  <a:pt x="126" y="88"/>
                </a:lnTo>
                <a:lnTo>
                  <a:pt x="126" y="88"/>
                </a:lnTo>
                <a:lnTo>
                  <a:pt x="126" y="82"/>
                </a:lnTo>
                <a:lnTo>
                  <a:pt x="128" y="80"/>
                </a:lnTo>
                <a:lnTo>
                  <a:pt x="128" y="78"/>
                </a:lnTo>
                <a:lnTo>
                  <a:pt x="126" y="76"/>
                </a:lnTo>
                <a:lnTo>
                  <a:pt x="126" y="76"/>
                </a:lnTo>
                <a:lnTo>
                  <a:pt x="124" y="74"/>
                </a:lnTo>
                <a:lnTo>
                  <a:pt x="124" y="72"/>
                </a:lnTo>
                <a:lnTo>
                  <a:pt x="122" y="70"/>
                </a:lnTo>
                <a:lnTo>
                  <a:pt x="120" y="64"/>
                </a:lnTo>
                <a:lnTo>
                  <a:pt x="120" y="64"/>
                </a:lnTo>
                <a:lnTo>
                  <a:pt x="116" y="58"/>
                </a:lnTo>
                <a:lnTo>
                  <a:pt x="120" y="60"/>
                </a:lnTo>
                <a:lnTo>
                  <a:pt x="124" y="60"/>
                </a:lnTo>
                <a:lnTo>
                  <a:pt x="124" y="58"/>
                </a:lnTo>
                <a:lnTo>
                  <a:pt x="122" y="54"/>
                </a:lnTo>
                <a:lnTo>
                  <a:pt x="122" y="54"/>
                </a:lnTo>
                <a:lnTo>
                  <a:pt x="122" y="50"/>
                </a:lnTo>
                <a:lnTo>
                  <a:pt x="122" y="48"/>
                </a:lnTo>
                <a:lnTo>
                  <a:pt x="126" y="46"/>
                </a:lnTo>
                <a:lnTo>
                  <a:pt x="130" y="44"/>
                </a:lnTo>
                <a:lnTo>
                  <a:pt x="130" y="40"/>
                </a:lnTo>
                <a:lnTo>
                  <a:pt x="130" y="36"/>
                </a:lnTo>
                <a:lnTo>
                  <a:pt x="130" y="36"/>
                </a:lnTo>
                <a:lnTo>
                  <a:pt x="130" y="32"/>
                </a:lnTo>
                <a:lnTo>
                  <a:pt x="130" y="28"/>
                </a:lnTo>
                <a:lnTo>
                  <a:pt x="130" y="26"/>
                </a:lnTo>
                <a:lnTo>
                  <a:pt x="126" y="24"/>
                </a:lnTo>
                <a:lnTo>
                  <a:pt x="126" y="24"/>
                </a:lnTo>
                <a:lnTo>
                  <a:pt x="116" y="24"/>
                </a:lnTo>
                <a:lnTo>
                  <a:pt x="108" y="24"/>
                </a:lnTo>
                <a:lnTo>
                  <a:pt x="108" y="24"/>
                </a:lnTo>
                <a:lnTo>
                  <a:pt x="106" y="24"/>
                </a:lnTo>
                <a:lnTo>
                  <a:pt x="104" y="22"/>
                </a:lnTo>
                <a:lnTo>
                  <a:pt x="104" y="16"/>
                </a:lnTo>
                <a:lnTo>
                  <a:pt x="110" y="6"/>
                </a:lnTo>
                <a:lnTo>
                  <a:pt x="110" y="6"/>
                </a:lnTo>
                <a:lnTo>
                  <a:pt x="104" y="4"/>
                </a:lnTo>
                <a:lnTo>
                  <a:pt x="96" y="4"/>
                </a:lnTo>
                <a:lnTo>
                  <a:pt x="96" y="4"/>
                </a:lnTo>
                <a:lnTo>
                  <a:pt x="84" y="2"/>
                </a:lnTo>
                <a:lnTo>
                  <a:pt x="76" y="0"/>
                </a:lnTo>
                <a:lnTo>
                  <a:pt x="68" y="0"/>
                </a:lnTo>
                <a:lnTo>
                  <a:pt x="50" y="6"/>
                </a:lnTo>
                <a:lnTo>
                  <a:pt x="50" y="6"/>
                </a:lnTo>
                <a:lnTo>
                  <a:pt x="58" y="6"/>
                </a:lnTo>
                <a:lnTo>
                  <a:pt x="56" y="18"/>
                </a:lnTo>
                <a:lnTo>
                  <a:pt x="54" y="20"/>
                </a:lnTo>
                <a:lnTo>
                  <a:pt x="58" y="20"/>
                </a:lnTo>
                <a:lnTo>
                  <a:pt x="56" y="34"/>
                </a:lnTo>
                <a:lnTo>
                  <a:pt x="28" y="34"/>
                </a:lnTo>
                <a:lnTo>
                  <a:pt x="28" y="34"/>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09" name="Freeform 45"/>
          <p:cNvSpPr>
            <a:spLocks/>
          </p:cNvSpPr>
          <p:nvPr/>
        </p:nvSpPr>
        <p:spPr bwMode="auto">
          <a:xfrm>
            <a:off x="4541441" y="2392861"/>
            <a:ext cx="186863" cy="316382"/>
          </a:xfrm>
          <a:custGeom>
            <a:avLst/>
            <a:gdLst/>
            <a:ahLst/>
            <a:cxnLst>
              <a:cxn ang="0">
                <a:pos x="2" y="196"/>
              </a:cxn>
              <a:cxn ang="0">
                <a:pos x="8" y="184"/>
              </a:cxn>
              <a:cxn ang="0">
                <a:pos x="22" y="160"/>
              </a:cxn>
              <a:cxn ang="0">
                <a:pos x="34" y="150"/>
              </a:cxn>
              <a:cxn ang="0">
                <a:pos x="46" y="154"/>
              </a:cxn>
              <a:cxn ang="0">
                <a:pos x="52" y="158"/>
              </a:cxn>
              <a:cxn ang="0">
                <a:pos x="60" y="158"/>
              </a:cxn>
              <a:cxn ang="0">
                <a:pos x="66" y="150"/>
              </a:cxn>
              <a:cxn ang="0">
                <a:pos x="74" y="134"/>
              </a:cxn>
              <a:cxn ang="0">
                <a:pos x="76" y="120"/>
              </a:cxn>
              <a:cxn ang="0">
                <a:pos x="86" y="110"/>
              </a:cxn>
              <a:cxn ang="0">
                <a:pos x="90" y="98"/>
              </a:cxn>
              <a:cxn ang="0">
                <a:pos x="96" y="90"/>
              </a:cxn>
              <a:cxn ang="0">
                <a:pos x="94" y="84"/>
              </a:cxn>
              <a:cxn ang="0">
                <a:pos x="100" y="78"/>
              </a:cxn>
              <a:cxn ang="0">
                <a:pos x="100" y="64"/>
              </a:cxn>
              <a:cxn ang="0">
                <a:pos x="116" y="30"/>
              </a:cxn>
              <a:cxn ang="0">
                <a:pos x="126" y="12"/>
              </a:cxn>
              <a:cxn ang="0">
                <a:pos x="122" y="2"/>
              </a:cxn>
              <a:cxn ang="0">
                <a:pos x="130" y="0"/>
              </a:cxn>
              <a:cxn ang="0">
                <a:pos x="134" y="30"/>
              </a:cxn>
              <a:cxn ang="0">
                <a:pos x="152" y="66"/>
              </a:cxn>
              <a:cxn ang="0">
                <a:pos x="138" y="66"/>
              </a:cxn>
              <a:cxn ang="0">
                <a:pos x="128" y="68"/>
              </a:cxn>
              <a:cxn ang="0">
                <a:pos x="118" y="72"/>
              </a:cxn>
              <a:cxn ang="0">
                <a:pos x="126" y="90"/>
              </a:cxn>
              <a:cxn ang="0">
                <a:pos x="148" y="122"/>
              </a:cxn>
              <a:cxn ang="0">
                <a:pos x="142" y="142"/>
              </a:cxn>
              <a:cxn ang="0">
                <a:pos x="128" y="184"/>
              </a:cxn>
              <a:cxn ang="0">
                <a:pos x="128" y="204"/>
              </a:cxn>
              <a:cxn ang="0">
                <a:pos x="146" y="228"/>
              </a:cxn>
              <a:cxn ang="0">
                <a:pos x="164" y="244"/>
              </a:cxn>
              <a:cxn ang="0">
                <a:pos x="162" y="260"/>
              </a:cxn>
              <a:cxn ang="0">
                <a:pos x="162" y="278"/>
              </a:cxn>
              <a:cxn ang="0">
                <a:pos x="144" y="274"/>
              </a:cxn>
              <a:cxn ang="0">
                <a:pos x="128" y="272"/>
              </a:cxn>
              <a:cxn ang="0">
                <a:pos x="108" y="270"/>
              </a:cxn>
              <a:cxn ang="0">
                <a:pos x="80" y="266"/>
              </a:cxn>
              <a:cxn ang="0">
                <a:pos x="48" y="272"/>
              </a:cxn>
              <a:cxn ang="0">
                <a:pos x="28" y="272"/>
              </a:cxn>
              <a:cxn ang="0">
                <a:pos x="28" y="250"/>
              </a:cxn>
              <a:cxn ang="0">
                <a:pos x="26" y="236"/>
              </a:cxn>
              <a:cxn ang="0">
                <a:pos x="20" y="230"/>
              </a:cxn>
              <a:cxn ang="0">
                <a:pos x="28" y="228"/>
              </a:cxn>
              <a:cxn ang="0">
                <a:pos x="26" y="224"/>
              </a:cxn>
              <a:cxn ang="0">
                <a:pos x="22" y="222"/>
              </a:cxn>
              <a:cxn ang="0">
                <a:pos x="16" y="224"/>
              </a:cxn>
              <a:cxn ang="0">
                <a:pos x="8" y="212"/>
              </a:cxn>
              <a:cxn ang="0">
                <a:pos x="4" y="212"/>
              </a:cxn>
            </a:cxnLst>
            <a:rect l="0" t="0" r="r" b="b"/>
            <a:pathLst>
              <a:path w="164" h="278">
                <a:moveTo>
                  <a:pt x="4" y="212"/>
                </a:moveTo>
                <a:lnTo>
                  <a:pt x="4" y="212"/>
                </a:lnTo>
                <a:lnTo>
                  <a:pt x="0" y="200"/>
                </a:lnTo>
                <a:lnTo>
                  <a:pt x="2" y="196"/>
                </a:lnTo>
                <a:lnTo>
                  <a:pt x="6" y="192"/>
                </a:lnTo>
                <a:lnTo>
                  <a:pt x="6" y="192"/>
                </a:lnTo>
                <a:lnTo>
                  <a:pt x="10" y="188"/>
                </a:lnTo>
                <a:lnTo>
                  <a:pt x="8" y="184"/>
                </a:lnTo>
                <a:lnTo>
                  <a:pt x="10" y="178"/>
                </a:lnTo>
                <a:lnTo>
                  <a:pt x="18" y="168"/>
                </a:lnTo>
                <a:lnTo>
                  <a:pt x="18" y="168"/>
                </a:lnTo>
                <a:lnTo>
                  <a:pt x="22" y="160"/>
                </a:lnTo>
                <a:lnTo>
                  <a:pt x="24" y="156"/>
                </a:lnTo>
                <a:lnTo>
                  <a:pt x="28" y="152"/>
                </a:lnTo>
                <a:lnTo>
                  <a:pt x="34" y="150"/>
                </a:lnTo>
                <a:lnTo>
                  <a:pt x="34" y="150"/>
                </a:lnTo>
                <a:lnTo>
                  <a:pt x="40" y="150"/>
                </a:lnTo>
                <a:lnTo>
                  <a:pt x="42" y="152"/>
                </a:lnTo>
                <a:lnTo>
                  <a:pt x="44" y="154"/>
                </a:lnTo>
                <a:lnTo>
                  <a:pt x="46" y="154"/>
                </a:lnTo>
                <a:lnTo>
                  <a:pt x="46" y="154"/>
                </a:lnTo>
                <a:lnTo>
                  <a:pt x="50" y="154"/>
                </a:lnTo>
                <a:lnTo>
                  <a:pt x="50" y="156"/>
                </a:lnTo>
                <a:lnTo>
                  <a:pt x="52" y="158"/>
                </a:lnTo>
                <a:lnTo>
                  <a:pt x="56" y="160"/>
                </a:lnTo>
                <a:lnTo>
                  <a:pt x="56" y="160"/>
                </a:lnTo>
                <a:lnTo>
                  <a:pt x="58" y="160"/>
                </a:lnTo>
                <a:lnTo>
                  <a:pt x="60" y="158"/>
                </a:lnTo>
                <a:lnTo>
                  <a:pt x="60" y="154"/>
                </a:lnTo>
                <a:lnTo>
                  <a:pt x="64" y="152"/>
                </a:lnTo>
                <a:lnTo>
                  <a:pt x="64" y="152"/>
                </a:lnTo>
                <a:lnTo>
                  <a:pt x="66" y="150"/>
                </a:lnTo>
                <a:lnTo>
                  <a:pt x="66" y="148"/>
                </a:lnTo>
                <a:lnTo>
                  <a:pt x="68" y="144"/>
                </a:lnTo>
                <a:lnTo>
                  <a:pt x="74" y="134"/>
                </a:lnTo>
                <a:lnTo>
                  <a:pt x="74" y="134"/>
                </a:lnTo>
                <a:lnTo>
                  <a:pt x="80" y="128"/>
                </a:lnTo>
                <a:lnTo>
                  <a:pt x="80" y="124"/>
                </a:lnTo>
                <a:lnTo>
                  <a:pt x="78" y="124"/>
                </a:lnTo>
                <a:lnTo>
                  <a:pt x="76" y="120"/>
                </a:lnTo>
                <a:lnTo>
                  <a:pt x="76" y="120"/>
                </a:lnTo>
                <a:lnTo>
                  <a:pt x="80" y="116"/>
                </a:lnTo>
                <a:lnTo>
                  <a:pt x="82" y="112"/>
                </a:lnTo>
                <a:lnTo>
                  <a:pt x="86" y="110"/>
                </a:lnTo>
                <a:lnTo>
                  <a:pt x="88" y="106"/>
                </a:lnTo>
                <a:lnTo>
                  <a:pt x="88" y="106"/>
                </a:lnTo>
                <a:lnTo>
                  <a:pt x="88" y="100"/>
                </a:lnTo>
                <a:lnTo>
                  <a:pt x="90" y="98"/>
                </a:lnTo>
                <a:lnTo>
                  <a:pt x="92" y="98"/>
                </a:lnTo>
                <a:lnTo>
                  <a:pt x="96" y="94"/>
                </a:lnTo>
                <a:lnTo>
                  <a:pt x="96" y="94"/>
                </a:lnTo>
                <a:lnTo>
                  <a:pt x="96" y="90"/>
                </a:lnTo>
                <a:lnTo>
                  <a:pt x="94" y="88"/>
                </a:lnTo>
                <a:lnTo>
                  <a:pt x="94" y="86"/>
                </a:lnTo>
                <a:lnTo>
                  <a:pt x="94" y="84"/>
                </a:lnTo>
                <a:lnTo>
                  <a:pt x="94" y="84"/>
                </a:lnTo>
                <a:lnTo>
                  <a:pt x="96" y="80"/>
                </a:lnTo>
                <a:lnTo>
                  <a:pt x="98" y="80"/>
                </a:lnTo>
                <a:lnTo>
                  <a:pt x="98" y="80"/>
                </a:lnTo>
                <a:lnTo>
                  <a:pt x="100" y="78"/>
                </a:lnTo>
                <a:lnTo>
                  <a:pt x="100" y="78"/>
                </a:lnTo>
                <a:lnTo>
                  <a:pt x="100" y="74"/>
                </a:lnTo>
                <a:lnTo>
                  <a:pt x="100" y="72"/>
                </a:lnTo>
                <a:lnTo>
                  <a:pt x="100" y="64"/>
                </a:lnTo>
                <a:lnTo>
                  <a:pt x="110" y="42"/>
                </a:lnTo>
                <a:lnTo>
                  <a:pt x="110" y="42"/>
                </a:lnTo>
                <a:lnTo>
                  <a:pt x="114" y="32"/>
                </a:lnTo>
                <a:lnTo>
                  <a:pt x="116" y="30"/>
                </a:lnTo>
                <a:lnTo>
                  <a:pt x="120" y="28"/>
                </a:lnTo>
                <a:lnTo>
                  <a:pt x="124" y="20"/>
                </a:lnTo>
                <a:lnTo>
                  <a:pt x="124" y="20"/>
                </a:lnTo>
                <a:lnTo>
                  <a:pt x="126" y="12"/>
                </a:lnTo>
                <a:lnTo>
                  <a:pt x="124" y="10"/>
                </a:lnTo>
                <a:lnTo>
                  <a:pt x="124" y="10"/>
                </a:lnTo>
                <a:lnTo>
                  <a:pt x="122" y="8"/>
                </a:lnTo>
                <a:lnTo>
                  <a:pt x="122" y="2"/>
                </a:lnTo>
                <a:lnTo>
                  <a:pt x="122" y="2"/>
                </a:lnTo>
                <a:lnTo>
                  <a:pt x="126" y="2"/>
                </a:lnTo>
                <a:lnTo>
                  <a:pt x="130" y="0"/>
                </a:lnTo>
                <a:lnTo>
                  <a:pt x="130" y="0"/>
                </a:lnTo>
                <a:lnTo>
                  <a:pt x="130" y="12"/>
                </a:lnTo>
                <a:lnTo>
                  <a:pt x="132" y="16"/>
                </a:lnTo>
                <a:lnTo>
                  <a:pt x="134" y="18"/>
                </a:lnTo>
                <a:lnTo>
                  <a:pt x="134" y="30"/>
                </a:lnTo>
                <a:lnTo>
                  <a:pt x="134" y="30"/>
                </a:lnTo>
                <a:lnTo>
                  <a:pt x="134" y="40"/>
                </a:lnTo>
                <a:lnTo>
                  <a:pt x="136" y="50"/>
                </a:lnTo>
                <a:lnTo>
                  <a:pt x="152" y="66"/>
                </a:lnTo>
                <a:lnTo>
                  <a:pt x="152" y="66"/>
                </a:lnTo>
                <a:lnTo>
                  <a:pt x="148" y="68"/>
                </a:lnTo>
                <a:lnTo>
                  <a:pt x="146" y="68"/>
                </a:lnTo>
                <a:lnTo>
                  <a:pt x="138" y="66"/>
                </a:lnTo>
                <a:lnTo>
                  <a:pt x="138" y="66"/>
                </a:lnTo>
                <a:lnTo>
                  <a:pt x="140" y="68"/>
                </a:lnTo>
                <a:lnTo>
                  <a:pt x="138" y="70"/>
                </a:lnTo>
                <a:lnTo>
                  <a:pt x="128" y="68"/>
                </a:lnTo>
                <a:lnTo>
                  <a:pt x="128" y="68"/>
                </a:lnTo>
                <a:lnTo>
                  <a:pt x="122" y="68"/>
                </a:lnTo>
                <a:lnTo>
                  <a:pt x="118" y="70"/>
                </a:lnTo>
                <a:lnTo>
                  <a:pt x="118" y="72"/>
                </a:lnTo>
                <a:lnTo>
                  <a:pt x="120" y="78"/>
                </a:lnTo>
                <a:lnTo>
                  <a:pt x="120" y="78"/>
                </a:lnTo>
                <a:lnTo>
                  <a:pt x="124" y="86"/>
                </a:lnTo>
                <a:lnTo>
                  <a:pt x="126" y="90"/>
                </a:lnTo>
                <a:lnTo>
                  <a:pt x="130" y="92"/>
                </a:lnTo>
                <a:lnTo>
                  <a:pt x="136" y="102"/>
                </a:lnTo>
                <a:lnTo>
                  <a:pt x="136" y="102"/>
                </a:lnTo>
                <a:lnTo>
                  <a:pt x="148" y="122"/>
                </a:lnTo>
                <a:lnTo>
                  <a:pt x="150" y="128"/>
                </a:lnTo>
                <a:lnTo>
                  <a:pt x="148" y="134"/>
                </a:lnTo>
                <a:lnTo>
                  <a:pt x="148" y="134"/>
                </a:lnTo>
                <a:lnTo>
                  <a:pt x="142" y="142"/>
                </a:lnTo>
                <a:lnTo>
                  <a:pt x="138" y="150"/>
                </a:lnTo>
                <a:lnTo>
                  <a:pt x="134" y="170"/>
                </a:lnTo>
                <a:lnTo>
                  <a:pt x="134" y="170"/>
                </a:lnTo>
                <a:lnTo>
                  <a:pt x="128" y="184"/>
                </a:lnTo>
                <a:lnTo>
                  <a:pt x="124" y="190"/>
                </a:lnTo>
                <a:lnTo>
                  <a:pt x="124" y="194"/>
                </a:lnTo>
                <a:lnTo>
                  <a:pt x="128" y="204"/>
                </a:lnTo>
                <a:lnTo>
                  <a:pt x="128" y="204"/>
                </a:lnTo>
                <a:lnTo>
                  <a:pt x="132" y="214"/>
                </a:lnTo>
                <a:lnTo>
                  <a:pt x="136" y="216"/>
                </a:lnTo>
                <a:lnTo>
                  <a:pt x="140" y="220"/>
                </a:lnTo>
                <a:lnTo>
                  <a:pt x="146" y="228"/>
                </a:lnTo>
                <a:lnTo>
                  <a:pt x="146" y="228"/>
                </a:lnTo>
                <a:lnTo>
                  <a:pt x="154" y="238"/>
                </a:lnTo>
                <a:lnTo>
                  <a:pt x="160" y="242"/>
                </a:lnTo>
                <a:lnTo>
                  <a:pt x="164" y="244"/>
                </a:lnTo>
                <a:lnTo>
                  <a:pt x="162" y="250"/>
                </a:lnTo>
                <a:lnTo>
                  <a:pt x="162" y="250"/>
                </a:lnTo>
                <a:lnTo>
                  <a:pt x="162" y="254"/>
                </a:lnTo>
                <a:lnTo>
                  <a:pt x="162" y="260"/>
                </a:lnTo>
                <a:lnTo>
                  <a:pt x="162" y="260"/>
                </a:lnTo>
                <a:lnTo>
                  <a:pt x="164" y="274"/>
                </a:lnTo>
                <a:lnTo>
                  <a:pt x="164" y="276"/>
                </a:lnTo>
                <a:lnTo>
                  <a:pt x="162" y="278"/>
                </a:lnTo>
                <a:lnTo>
                  <a:pt x="158" y="276"/>
                </a:lnTo>
                <a:lnTo>
                  <a:pt x="152" y="274"/>
                </a:lnTo>
                <a:lnTo>
                  <a:pt x="152" y="274"/>
                </a:lnTo>
                <a:lnTo>
                  <a:pt x="144" y="274"/>
                </a:lnTo>
                <a:lnTo>
                  <a:pt x="138" y="274"/>
                </a:lnTo>
                <a:lnTo>
                  <a:pt x="138" y="274"/>
                </a:lnTo>
                <a:lnTo>
                  <a:pt x="132" y="274"/>
                </a:lnTo>
                <a:lnTo>
                  <a:pt x="128" y="272"/>
                </a:lnTo>
                <a:lnTo>
                  <a:pt x="122" y="272"/>
                </a:lnTo>
                <a:lnTo>
                  <a:pt x="114" y="272"/>
                </a:lnTo>
                <a:lnTo>
                  <a:pt x="114" y="272"/>
                </a:lnTo>
                <a:lnTo>
                  <a:pt x="108" y="270"/>
                </a:lnTo>
                <a:lnTo>
                  <a:pt x="100" y="270"/>
                </a:lnTo>
                <a:lnTo>
                  <a:pt x="100" y="270"/>
                </a:lnTo>
                <a:lnTo>
                  <a:pt x="88" y="268"/>
                </a:lnTo>
                <a:lnTo>
                  <a:pt x="80" y="266"/>
                </a:lnTo>
                <a:lnTo>
                  <a:pt x="72" y="266"/>
                </a:lnTo>
                <a:lnTo>
                  <a:pt x="54" y="272"/>
                </a:lnTo>
                <a:lnTo>
                  <a:pt x="54" y="272"/>
                </a:lnTo>
                <a:lnTo>
                  <a:pt x="48" y="272"/>
                </a:lnTo>
                <a:lnTo>
                  <a:pt x="44" y="270"/>
                </a:lnTo>
                <a:lnTo>
                  <a:pt x="38" y="270"/>
                </a:lnTo>
                <a:lnTo>
                  <a:pt x="28" y="272"/>
                </a:lnTo>
                <a:lnTo>
                  <a:pt x="28" y="272"/>
                </a:lnTo>
                <a:lnTo>
                  <a:pt x="28" y="258"/>
                </a:lnTo>
                <a:lnTo>
                  <a:pt x="28" y="254"/>
                </a:lnTo>
                <a:lnTo>
                  <a:pt x="28" y="250"/>
                </a:lnTo>
                <a:lnTo>
                  <a:pt x="28" y="250"/>
                </a:lnTo>
                <a:lnTo>
                  <a:pt x="30" y="244"/>
                </a:lnTo>
                <a:lnTo>
                  <a:pt x="28" y="240"/>
                </a:lnTo>
                <a:lnTo>
                  <a:pt x="26" y="238"/>
                </a:lnTo>
                <a:lnTo>
                  <a:pt x="26" y="236"/>
                </a:lnTo>
                <a:lnTo>
                  <a:pt x="26" y="236"/>
                </a:lnTo>
                <a:lnTo>
                  <a:pt x="26" y="234"/>
                </a:lnTo>
                <a:lnTo>
                  <a:pt x="22" y="232"/>
                </a:lnTo>
                <a:lnTo>
                  <a:pt x="20" y="230"/>
                </a:lnTo>
                <a:lnTo>
                  <a:pt x="24" y="230"/>
                </a:lnTo>
                <a:lnTo>
                  <a:pt x="24" y="230"/>
                </a:lnTo>
                <a:lnTo>
                  <a:pt x="28" y="230"/>
                </a:lnTo>
                <a:lnTo>
                  <a:pt x="28" y="228"/>
                </a:lnTo>
                <a:lnTo>
                  <a:pt x="26" y="226"/>
                </a:lnTo>
                <a:lnTo>
                  <a:pt x="26" y="226"/>
                </a:lnTo>
                <a:lnTo>
                  <a:pt x="26" y="224"/>
                </a:lnTo>
                <a:lnTo>
                  <a:pt x="26" y="224"/>
                </a:lnTo>
                <a:lnTo>
                  <a:pt x="28" y="222"/>
                </a:lnTo>
                <a:lnTo>
                  <a:pt x="26" y="224"/>
                </a:lnTo>
                <a:lnTo>
                  <a:pt x="24" y="224"/>
                </a:lnTo>
                <a:lnTo>
                  <a:pt x="22" y="222"/>
                </a:lnTo>
                <a:lnTo>
                  <a:pt x="22" y="222"/>
                </a:lnTo>
                <a:lnTo>
                  <a:pt x="22" y="224"/>
                </a:lnTo>
                <a:lnTo>
                  <a:pt x="20" y="226"/>
                </a:lnTo>
                <a:lnTo>
                  <a:pt x="16" y="224"/>
                </a:lnTo>
                <a:lnTo>
                  <a:pt x="16" y="224"/>
                </a:lnTo>
                <a:lnTo>
                  <a:pt x="10" y="218"/>
                </a:lnTo>
                <a:lnTo>
                  <a:pt x="8" y="214"/>
                </a:lnTo>
                <a:lnTo>
                  <a:pt x="8" y="212"/>
                </a:lnTo>
                <a:lnTo>
                  <a:pt x="6" y="214"/>
                </a:lnTo>
                <a:lnTo>
                  <a:pt x="6" y="214"/>
                </a:lnTo>
                <a:lnTo>
                  <a:pt x="6" y="214"/>
                </a:lnTo>
                <a:lnTo>
                  <a:pt x="4" y="212"/>
                </a:lnTo>
                <a:lnTo>
                  <a:pt x="4" y="212"/>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10" name="Freeform 46"/>
          <p:cNvSpPr>
            <a:spLocks/>
          </p:cNvSpPr>
          <p:nvPr/>
        </p:nvSpPr>
        <p:spPr bwMode="auto">
          <a:xfrm>
            <a:off x="4600690" y="2652339"/>
            <a:ext cx="189142" cy="254926"/>
          </a:xfrm>
          <a:custGeom>
            <a:avLst/>
            <a:gdLst/>
            <a:ahLst/>
            <a:cxnLst>
              <a:cxn ang="0">
                <a:pos x="70" y="44"/>
              </a:cxn>
              <a:cxn ang="0">
                <a:pos x="86" y="46"/>
              </a:cxn>
              <a:cxn ang="0">
                <a:pos x="100" y="46"/>
              </a:cxn>
              <a:cxn ang="0">
                <a:pos x="110" y="50"/>
              </a:cxn>
              <a:cxn ang="0">
                <a:pos x="110" y="32"/>
              </a:cxn>
              <a:cxn ang="0">
                <a:pos x="120" y="20"/>
              </a:cxn>
              <a:cxn ang="0">
                <a:pos x="126" y="0"/>
              </a:cxn>
              <a:cxn ang="0">
                <a:pos x="148" y="0"/>
              </a:cxn>
              <a:cxn ang="0">
                <a:pos x="164" y="16"/>
              </a:cxn>
              <a:cxn ang="0">
                <a:pos x="160" y="34"/>
              </a:cxn>
              <a:cxn ang="0">
                <a:pos x="158" y="42"/>
              </a:cxn>
              <a:cxn ang="0">
                <a:pos x="154" y="70"/>
              </a:cxn>
              <a:cxn ang="0">
                <a:pos x="152" y="98"/>
              </a:cxn>
              <a:cxn ang="0">
                <a:pos x="138" y="124"/>
              </a:cxn>
              <a:cxn ang="0">
                <a:pos x="126" y="134"/>
              </a:cxn>
              <a:cxn ang="0">
                <a:pos x="120" y="160"/>
              </a:cxn>
              <a:cxn ang="0">
                <a:pos x="112" y="188"/>
              </a:cxn>
              <a:cxn ang="0">
                <a:pos x="100" y="200"/>
              </a:cxn>
              <a:cxn ang="0">
                <a:pos x="86" y="216"/>
              </a:cxn>
              <a:cxn ang="0">
                <a:pos x="80" y="224"/>
              </a:cxn>
              <a:cxn ang="0">
                <a:pos x="74" y="214"/>
              </a:cxn>
              <a:cxn ang="0">
                <a:pos x="66" y="214"/>
              </a:cxn>
              <a:cxn ang="0">
                <a:pos x="60" y="216"/>
              </a:cxn>
              <a:cxn ang="0">
                <a:pos x="52" y="218"/>
              </a:cxn>
              <a:cxn ang="0">
                <a:pos x="40" y="210"/>
              </a:cxn>
              <a:cxn ang="0">
                <a:pos x="34" y="212"/>
              </a:cxn>
              <a:cxn ang="0">
                <a:pos x="28" y="214"/>
              </a:cxn>
              <a:cxn ang="0">
                <a:pos x="24" y="220"/>
              </a:cxn>
              <a:cxn ang="0">
                <a:pos x="16" y="216"/>
              </a:cxn>
              <a:cxn ang="0">
                <a:pos x="2" y="200"/>
              </a:cxn>
              <a:cxn ang="0">
                <a:pos x="0" y="196"/>
              </a:cxn>
              <a:cxn ang="0">
                <a:pos x="12" y="188"/>
              </a:cxn>
              <a:cxn ang="0">
                <a:pos x="14" y="194"/>
              </a:cxn>
              <a:cxn ang="0">
                <a:pos x="18" y="188"/>
              </a:cxn>
              <a:cxn ang="0">
                <a:pos x="12" y="168"/>
              </a:cxn>
              <a:cxn ang="0">
                <a:pos x="12" y="164"/>
              </a:cxn>
              <a:cxn ang="0">
                <a:pos x="16" y="162"/>
              </a:cxn>
              <a:cxn ang="0">
                <a:pos x="22" y="162"/>
              </a:cxn>
              <a:cxn ang="0">
                <a:pos x="28" y="160"/>
              </a:cxn>
              <a:cxn ang="0">
                <a:pos x="30" y="148"/>
              </a:cxn>
              <a:cxn ang="0">
                <a:pos x="32" y="150"/>
              </a:cxn>
              <a:cxn ang="0">
                <a:pos x="38" y="160"/>
              </a:cxn>
              <a:cxn ang="0">
                <a:pos x="42" y="158"/>
              </a:cxn>
              <a:cxn ang="0">
                <a:pos x="52" y="158"/>
              </a:cxn>
              <a:cxn ang="0">
                <a:pos x="58" y="158"/>
              </a:cxn>
              <a:cxn ang="0">
                <a:pos x="68" y="164"/>
              </a:cxn>
              <a:cxn ang="0">
                <a:pos x="72" y="152"/>
              </a:cxn>
              <a:cxn ang="0">
                <a:pos x="80" y="142"/>
              </a:cxn>
              <a:cxn ang="0">
                <a:pos x="78" y="134"/>
              </a:cxn>
              <a:cxn ang="0">
                <a:pos x="78" y="126"/>
              </a:cxn>
              <a:cxn ang="0">
                <a:pos x="80" y="118"/>
              </a:cxn>
              <a:cxn ang="0">
                <a:pos x="78" y="114"/>
              </a:cxn>
              <a:cxn ang="0">
                <a:pos x="74" y="108"/>
              </a:cxn>
              <a:cxn ang="0">
                <a:pos x="68" y="96"/>
              </a:cxn>
              <a:cxn ang="0">
                <a:pos x="76" y="96"/>
              </a:cxn>
              <a:cxn ang="0">
                <a:pos x="74" y="88"/>
              </a:cxn>
              <a:cxn ang="0">
                <a:pos x="82" y="82"/>
              </a:cxn>
              <a:cxn ang="0">
                <a:pos x="82" y="74"/>
              </a:cxn>
              <a:cxn ang="0">
                <a:pos x="82" y="64"/>
              </a:cxn>
              <a:cxn ang="0">
                <a:pos x="68" y="62"/>
              </a:cxn>
              <a:cxn ang="0">
                <a:pos x="58" y="62"/>
              </a:cxn>
              <a:cxn ang="0">
                <a:pos x="62" y="44"/>
              </a:cxn>
            </a:cxnLst>
            <a:rect l="0" t="0" r="r" b="b"/>
            <a:pathLst>
              <a:path w="166" h="224">
                <a:moveTo>
                  <a:pt x="62" y="44"/>
                </a:moveTo>
                <a:lnTo>
                  <a:pt x="62" y="44"/>
                </a:lnTo>
                <a:lnTo>
                  <a:pt x="70" y="44"/>
                </a:lnTo>
                <a:lnTo>
                  <a:pt x="76" y="44"/>
                </a:lnTo>
                <a:lnTo>
                  <a:pt x="80" y="46"/>
                </a:lnTo>
                <a:lnTo>
                  <a:pt x="86" y="46"/>
                </a:lnTo>
                <a:lnTo>
                  <a:pt x="86" y="46"/>
                </a:lnTo>
                <a:lnTo>
                  <a:pt x="92" y="46"/>
                </a:lnTo>
                <a:lnTo>
                  <a:pt x="100" y="46"/>
                </a:lnTo>
                <a:lnTo>
                  <a:pt x="100" y="46"/>
                </a:lnTo>
                <a:lnTo>
                  <a:pt x="106" y="48"/>
                </a:lnTo>
                <a:lnTo>
                  <a:pt x="110" y="50"/>
                </a:lnTo>
                <a:lnTo>
                  <a:pt x="112" y="48"/>
                </a:lnTo>
                <a:lnTo>
                  <a:pt x="112" y="46"/>
                </a:lnTo>
                <a:lnTo>
                  <a:pt x="110" y="32"/>
                </a:lnTo>
                <a:lnTo>
                  <a:pt x="110" y="32"/>
                </a:lnTo>
                <a:lnTo>
                  <a:pt x="116" y="26"/>
                </a:lnTo>
                <a:lnTo>
                  <a:pt x="120" y="20"/>
                </a:lnTo>
                <a:lnTo>
                  <a:pt x="122" y="10"/>
                </a:lnTo>
                <a:lnTo>
                  <a:pt x="124" y="2"/>
                </a:lnTo>
                <a:lnTo>
                  <a:pt x="126" y="0"/>
                </a:lnTo>
                <a:lnTo>
                  <a:pt x="128" y="0"/>
                </a:lnTo>
                <a:lnTo>
                  <a:pt x="128" y="0"/>
                </a:lnTo>
                <a:lnTo>
                  <a:pt x="148" y="0"/>
                </a:lnTo>
                <a:lnTo>
                  <a:pt x="166" y="0"/>
                </a:lnTo>
                <a:lnTo>
                  <a:pt x="166" y="0"/>
                </a:lnTo>
                <a:lnTo>
                  <a:pt x="164" y="16"/>
                </a:lnTo>
                <a:lnTo>
                  <a:pt x="160" y="24"/>
                </a:lnTo>
                <a:lnTo>
                  <a:pt x="158" y="28"/>
                </a:lnTo>
                <a:lnTo>
                  <a:pt x="160" y="34"/>
                </a:lnTo>
                <a:lnTo>
                  <a:pt x="160" y="34"/>
                </a:lnTo>
                <a:lnTo>
                  <a:pt x="160" y="38"/>
                </a:lnTo>
                <a:lnTo>
                  <a:pt x="158" y="42"/>
                </a:lnTo>
                <a:lnTo>
                  <a:pt x="156" y="50"/>
                </a:lnTo>
                <a:lnTo>
                  <a:pt x="154" y="70"/>
                </a:lnTo>
                <a:lnTo>
                  <a:pt x="154" y="70"/>
                </a:lnTo>
                <a:lnTo>
                  <a:pt x="152" y="84"/>
                </a:lnTo>
                <a:lnTo>
                  <a:pt x="154" y="92"/>
                </a:lnTo>
                <a:lnTo>
                  <a:pt x="152" y="98"/>
                </a:lnTo>
                <a:lnTo>
                  <a:pt x="148" y="108"/>
                </a:lnTo>
                <a:lnTo>
                  <a:pt x="148" y="108"/>
                </a:lnTo>
                <a:lnTo>
                  <a:pt x="138" y="124"/>
                </a:lnTo>
                <a:lnTo>
                  <a:pt x="134" y="128"/>
                </a:lnTo>
                <a:lnTo>
                  <a:pt x="130" y="130"/>
                </a:lnTo>
                <a:lnTo>
                  <a:pt x="126" y="134"/>
                </a:lnTo>
                <a:lnTo>
                  <a:pt x="126" y="134"/>
                </a:lnTo>
                <a:lnTo>
                  <a:pt x="122" y="146"/>
                </a:lnTo>
                <a:lnTo>
                  <a:pt x="120" y="160"/>
                </a:lnTo>
                <a:lnTo>
                  <a:pt x="118" y="174"/>
                </a:lnTo>
                <a:lnTo>
                  <a:pt x="112" y="188"/>
                </a:lnTo>
                <a:lnTo>
                  <a:pt x="112" y="188"/>
                </a:lnTo>
                <a:lnTo>
                  <a:pt x="108" y="194"/>
                </a:lnTo>
                <a:lnTo>
                  <a:pt x="106" y="198"/>
                </a:lnTo>
                <a:lnTo>
                  <a:pt x="100" y="200"/>
                </a:lnTo>
                <a:lnTo>
                  <a:pt x="94" y="204"/>
                </a:lnTo>
                <a:lnTo>
                  <a:pt x="90" y="208"/>
                </a:lnTo>
                <a:lnTo>
                  <a:pt x="86" y="216"/>
                </a:lnTo>
                <a:lnTo>
                  <a:pt x="86" y="216"/>
                </a:lnTo>
                <a:lnTo>
                  <a:pt x="80" y="224"/>
                </a:lnTo>
                <a:lnTo>
                  <a:pt x="80" y="224"/>
                </a:lnTo>
                <a:lnTo>
                  <a:pt x="78" y="222"/>
                </a:lnTo>
                <a:lnTo>
                  <a:pt x="76" y="216"/>
                </a:lnTo>
                <a:lnTo>
                  <a:pt x="74" y="214"/>
                </a:lnTo>
                <a:lnTo>
                  <a:pt x="70" y="214"/>
                </a:lnTo>
                <a:lnTo>
                  <a:pt x="70" y="214"/>
                </a:lnTo>
                <a:lnTo>
                  <a:pt x="66" y="214"/>
                </a:lnTo>
                <a:lnTo>
                  <a:pt x="66" y="212"/>
                </a:lnTo>
                <a:lnTo>
                  <a:pt x="64" y="212"/>
                </a:lnTo>
                <a:lnTo>
                  <a:pt x="60" y="216"/>
                </a:lnTo>
                <a:lnTo>
                  <a:pt x="60" y="216"/>
                </a:lnTo>
                <a:lnTo>
                  <a:pt x="56" y="218"/>
                </a:lnTo>
                <a:lnTo>
                  <a:pt x="52" y="218"/>
                </a:lnTo>
                <a:lnTo>
                  <a:pt x="44" y="212"/>
                </a:lnTo>
                <a:lnTo>
                  <a:pt x="44" y="212"/>
                </a:lnTo>
                <a:lnTo>
                  <a:pt x="40" y="210"/>
                </a:lnTo>
                <a:lnTo>
                  <a:pt x="36" y="210"/>
                </a:lnTo>
                <a:lnTo>
                  <a:pt x="34" y="212"/>
                </a:lnTo>
                <a:lnTo>
                  <a:pt x="34" y="212"/>
                </a:lnTo>
                <a:lnTo>
                  <a:pt x="32" y="214"/>
                </a:lnTo>
                <a:lnTo>
                  <a:pt x="30" y="214"/>
                </a:lnTo>
                <a:lnTo>
                  <a:pt x="28" y="214"/>
                </a:lnTo>
                <a:lnTo>
                  <a:pt x="26" y="218"/>
                </a:lnTo>
                <a:lnTo>
                  <a:pt x="26" y="218"/>
                </a:lnTo>
                <a:lnTo>
                  <a:pt x="24" y="220"/>
                </a:lnTo>
                <a:lnTo>
                  <a:pt x="24" y="218"/>
                </a:lnTo>
                <a:lnTo>
                  <a:pt x="22" y="216"/>
                </a:lnTo>
                <a:lnTo>
                  <a:pt x="16" y="216"/>
                </a:lnTo>
                <a:lnTo>
                  <a:pt x="16" y="216"/>
                </a:lnTo>
                <a:lnTo>
                  <a:pt x="8" y="206"/>
                </a:lnTo>
                <a:lnTo>
                  <a:pt x="2" y="200"/>
                </a:lnTo>
                <a:lnTo>
                  <a:pt x="0" y="198"/>
                </a:lnTo>
                <a:lnTo>
                  <a:pt x="0" y="196"/>
                </a:lnTo>
                <a:lnTo>
                  <a:pt x="0" y="196"/>
                </a:lnTo>
                <a:lnTo>
                  <a:pt x="6" y="190"/>
                </a:lnTo>
                <a:lnTo>
                  <a:pt x="8" y="188"/>
                </a:lnTo>
                <a:lnTo>
                  <a:pt x="12" y="188"/>
                </a:lnTo>
                <a:lnTo>
                  <a:pt x="12" y="190"/>
                </a:lnTo>
                <a:lnTo>
                  <a:pt x="14" y="194"/>
                </a:lnTo>
                <a:lnTo>
                  <a:pt x="14" y="194"/>
                </a:lnTo>
                <a:lnTo>
                  <a:pt x="16" y="192"/>
                </a:lnTo>
                <a:lnTo>
                  <a:pt x="16" y="192"/>
                </a:lnTo>
                <a:lnTo>
                  <a:pt x="18" y="188"/>
                </a:lnTo>
                <a:lnTo>
                  <a:pt x="18" y="182"/>
                </a:lnTo>
                <a:lnTo>
                  <a:pt x="14" y="176"/>
                </a:lnTo>
                <a:lnTo>
                  <a:pt x="12" y="168"/>
                </a:lnTo>
                <a:lnTo>
                  <a:pt x="10" y="162"/>
                </a:lnTo>
                <a:lnTo>
                  <a:pt x="10" y="162"/>
                </a:lnTo>
                <a:lnTo>
                  <a:pt x="12" y="164"/>
                </a:lnTo>
                <a:lnTo>
                  <a:pt x="14" y="164"/>
                </a:lnTo>
                <a:lnTo>
                  <a:pt x="16" y="162"/>
                </a:lnTo>
                <a:lnTo>
                  <a:pt x="16" y="162"/>
                </a:lnTo>
                <a:lnTo>
                  <a:pt x="20" y="160"/>
                </a:lnTo>
                <a:lnTo>
                  <a:pt x="22" y="162"/>
                </a:lnTo>
                <a:lnTo>
                  <a:pt x="22" y="162"/>
                </a:lnTo>
                <a:lnTo>
                  <a:pt x="24" y="162"/>
                </a:lnTo>
                <a:lnTo>
                  <a:pt x="24" y="162"/>
                </a:lnTo>
                <a:lnTo>
                  <a:pt x="28" y="160"/>
                </a:lnTo>
                <a:lnTo>
                  <a:pt x="28" y="156"/>
                </a:lnTo>
                <a:lnTo>
                  <a:pt x="26" y="150"/>
                </a:lnTo>
                <a:lnTo>
                  <a:pt x="30" y="148"/>
                </a:lnTo>
                <a:lnTo>
                  <a:pt x="30" y="148"/>
                </a:lnTo>
                <a:lnTo>
                  <a:pt x="30" y="148"/>
                </a:lnTo>
                <a:lnTo>
                  <a:pt x="32" y="150"/>
                </a:lnTo>
                <a:lnTo>
                  <a:pt x="34" y="154"/>
                </a:lnTo>
                <a:lnTo>
                  <a:pt x="38" y="158"/>
                </a:lnTo>
                <a:lnTo>
                  <a:pt x="38" y="160"/>
                </a:lnTo>
                <a:lnTo>
                  <a:pt x="40" y="160"/>
                </a:lnTo>
                <a:lnTo>
                  <a:pt x="40" y="160"/>
                </a:lnTo>
                <a:lnTo>
                  <a:pt x="42" y="158"/>
                </a:lnTo>
                <a:lnTo>
                  <a:pt x="46" y="158"/>
                </a:lnTo>
                <a:lnTo>
                  <a:pt x="50" y="158"/>
                </a:lnTo>
                <a:lnTo>
                  <a:pt x="52" y="158"/>
                </a:lnTo>
                <a:lnTo>
                  <a:pt x="52" y="158"/>
                </a:lnTo>
                <a:lnTo>
                  <a:pt x="56" y="156"/>
                </a:lnTo>
                <a:lnTo>
                  <a:pt x="58" y="158"/>
                </a:lnTo>
                <a:lnTo>
                  <a:pt x="66" y="164"/>
                </a:lnTo>
                <a:lnTo>
                  <a:pt x="66" y="164"/>
                </a:lnTo>
                <a:lnTo>
                  <a:pt x="68" y="164"/>
                </a:lnTo>
                <a:lnTo>
                  <a:pt x="70" y="162"/>
                </a:lnTo>
                <a:lnTo>
                  <a:pt x="72" y="152"/>
                </a:lnTo>
                <a:lnTo>
                  <a:pt x="72" y="152"/>
                </a:lnTo>
                <a:lnTo>
                  <a:pt x="74" y="146"/>
                </a:lnTo>
                <a:lnTo>
                  <a:pt x="78" y="144"/>
                </a:lnTo>
                <a:lnTo>
                  <a:pt x="80" y="142"/>
                </a:lnTo>
                <a:lnTo>
                  <a:pt x="80" y="138"/>
                </a:lnTo>
                <a:lnTo>
                  <a:pt x="80" y="138"/>
                </a:lnTo>
                <a:lnTo>
                  <a:pt x="78" y="134"/>
                </a:lnTo>
                <a:lnTo>
                  <a:pt x="80" y="132"/>
                </a:lnTo>
                <a:lnTo>
                  <a:pt x="80" y="130"/>
                </a:lnTo>
                <a:lnTo>
                  <a:pt x="78" y="126"/>
                </a:lnTo>
                <a:lnTo>
                  <a:pt x="78" y="126"/>
                </a:lnTo>
                <a:lnTo>
                  <a:pt x="78" y="120"/>
                </a:lnTo>
                <a:lnTo>
                  <a:pt x="80" y="118"/>
                </a:lnTo>
                <a:lnTo>
                  <a:pt x="80" y="116"/>
                </a:lnTo>
                <a:lnTo>
                  <a:pt x="78" y="114"/>
                </a:lnTo>
                <a:lnTo>
                  <a:pt x="78" y="114"/>
                </a:lnTo>
                <a:lnTo>
                  <a:pt x="76" y="112"/>
                </a:lnTo>
                <a:lnTo>
                  <a:pt x="76" y="110"/>
                </a:lnTo>
                <a:lnTo>
                  <a:pt x="74" y="108"/>
                </a:lnTo>
                <a:lnTo>
                  <a:pt x="72" y="102"/>
                </a:lnTo>
                <a:lnTo>
                  <a:pt x="72" y="102"/>
                </a:lnTo>
                <a:lnTo>
                  <a:pt x="68" y="96"/>
                </a:lnTo>
                <a:lnTo>
                  <a:pt x="72" y="98"/>
                </a:lnTo>
                <a:lnTo>
                  <a:pt x="76" y="98"/>
                </a:lnTo>
                <a:lnTo>
                  <a:pt x="76" y="96"/>
                </a:lnTo>
                <a:lnTo>
                  <a:pt x="74" y="92"/>
                </a:lnTo>
                <a:lnTo>
                  <a:pt x="74" y="92"/>
                </a:lnTo>
                <a:lnTo>
                  <a:pt x="74" y="88"/>
                </a:lnTo>
                <a:lnTo>
                  <a:pt x="74" y="86"/>
                </a:lnTo>
                <a:lnTo>
                  <a:pt x="78" y="84"/>
                </a:lnTo>
                <a:lnTo>
                  <a:pt x="82" y="82"/>
                </a:lnTo>
                <a:lnTo>
                  <a:pt x="82" y="78"/>
                </a:lnTo>
                <a:lnTo>
                  <a:pt x="82" y="74"/>
                </a:lnTo>
                <a:lnTo>
                  <a:pt x="82" y="74"/>
                </a:lnTo>
                <a:lnTo>
                  <a:pt x="82" y="70"/>
                </a:lnTo>
                <a:lnTo>
                  <a:pt x="82" y="66"/>
                </a:lnTo>
                <a:lnTo>
                  <a:pt x="82" y="64"/>
                </a:lnTo>
                <a:lnTo>
                  <a:pt x="78" y="62"/>
                </a:lnTo>
                <a:lnTo>
                  <a:pt x="78" y="62"/>
                </a:lnTo>
                <a:lnTo>
                  <a:pt x="68" y="62"/>
                </a:lnTo>
                <a:lnTo>
                  <a:pt x="60" y="62"/>
                </a:lnTo>
                <a:lnTo>
                  <a:pt x="60" y="62"/>
                </a:lnTo>
                <a:lnTo>
                  <a:pt x="58" y="62"/>
                </a:lnTo>
                <a:lnTo>
                  <a:pt x="56" y="60"/>
                </a:lnTo>
                <a:lnTo>
                  <a:pt x="56" y="54"/>
                </a:lnTo>
                <a:lnTo>
                  <a:pt x="62" y="44"/>
                </a:lnTo>
                <a:lnTo>
                  <a:pt x="62" y="44"/>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11" name="Freeform 47"/>
          <p:cNvSpPr>
            <a:spLocks/>
          </p:cNvSpPr>
          <p:nvPr/>
        </p:nvSpPr>
        <p:spPr bwMode="auto">
          <a:xfrm>
            <a:off x="5120262" y="3048385"/>
            <a:ext cx="79759" cy="216232"/>
          </a:xfrm>
          <a:custGeom>
            <a:avLst/>
            <a:gdLst/>
            <a:ahLst/>
            <a:cxnLst>
              <a:cxn ang="0">
                <a:pos x="6" y="116"/>
              </a:cxn>
              <a:cxn ang="0">
                <a:pos x="0" y="114"/>
              </a:cxn>
              <a:cxn ang="0">
                <a:pos x="0" y="110"/>
              </a:cxn>
              <a:cxn ang="0">
                <a:pos x="4" y="98"/>
              </a:cxn>
              <a:cxn ang="0">
                <a:pos x="16" y="84"/>
              </a:cxn>
              <a:cxn ang="0">
                <a:pos x="22" y="78"/>
              </a:cxn>
              <a:cxn ang="0">
                <a:pos x="20" y="76"/>
              </a:cxn>
              <a:cxn ang="0">
                <a:pos x="16" y="56"/>
              </a:cxn>
              <a:cxn ang="0">
                <a:pos x="20" y="38"/>
              </a:cxn>
              <a:cxn ang="0">
                <a:pos x="26" y="32"/>
              </a:cxn>
              <a:cxn ang="0">
                <a:pos x="22" y="20"/>
              </a:cxn>
              <a:cxn ang="0">
                <a:pos x="24" y="14"/>
              </a:cxn>
              <a:cxn ang="0">
                <a:pos x="18" y="2"/>
              </a:cxn>
              <a:cxn ang="0">
                <a:pos x="36" y="6"/>
              </a:cxn>
              <a:cxn ang="0">
                <a:pos x="36" y="12"/>
              </a:cxn>
              <a:cxn ang="0">
                <a:pos x="40" y="26"/>
              </a:cxn>
              <a:cxn ang="0">
                <a:pos x="40" y="44"/>
              </a:cxn>
              <a:cxn ang="0">
                <a:pos x="44" y="50"/>
              </a:cxn>
              <a:cxn ang="0">
                <a:pos x="36" y="66"/>
              </a:cxn>
              <a:cxn ang="0">
                <a:pos x="36" y="72"/>
              </a:cxn>
              <a:cxn ang="0">
                <a:pos x="38" y="84"/>
              </a:cxn>
              <a:cxn ang="0">
                <a:pos x="38" y="92"/>
              </a:cxn>
              <a:cxn ang="0">
                <a:pos x="36" y="106"/>
              </a:cxn>
              <a:cxn ang="0">
                <a:pos x="42" y="110"/>
              </a:cxn>
              <a:cxn ang="0">
                <a:pos x="44" y="120"/>
              </a:cxn>
              <a:cxn ang="0">
                <a:pos x="52" y="120"/>
              </a:cxn>
              <a:cxn ang="0">
                <a:pos x="54" y="120"/>
              </a:cxn>
              <a:cxn ang="0">
                <a:pos x="58" y="114"/>
              </a:cxn>
              <a:cxn ang="0">
                <a:pos x="70" y="126"/>
              </a:cxn>
              <a:cxn ang="0">
                <a:pos x="68" y="140"/>
              </a:cxn>
              <a:cxn ang="0">
                <a:pos x="68" y="154"/>
              </a:cxn>
              <a:cxn ang="0">
                <a:pos x="62" y="164"/>
              </a:cxn>
              <a:cxn ang="0">
                <a:pos x="58" y="172"/>
              </a:cxn>
              <a:cxn ang="0">
                <a:pos x="58" y="188"/>
              </a:cxn>
              <a:cxn ang="0">
                <a:pos x="54" y="190"/>
              </a:cxn>
              <a:cxn ang="0">
                <a:pos x="46" y="180"/>
              </a:cxn>
              <a:cxn ang="0">
                <a:pos x="40" y="176"/>
              </a:cxn>
              <a:cxn ang="0">
                <a:pos x="34" y="152"/>
              </a:cxn>
              <a:cxn ang="0">
                <a:pos x="38" y="148"/>
              </a:cxn>
              <a:cxn ang="0">
                <a:pos x="36" y="128"/>
              </a:cxn>
              <a:cxn ang="0">
                <a:pos x="30" y="130"/>
              </a:cxn>
              <a:cxn ang="0">
                <a:pos x="22" y="132"/>
              </a:cxn>
              <a:cxn ang="0">
                <a:pos x="14" y="122"/>
              </a:cxn>
            </a:cxnLst>
            <a:rect l="0" t="0" r="r" b="b"/>
            <a:pathLst>
              <a:path w="70" h="190">
                <a:moveTo>
                  <a:pt x="10" y="116"/>
                </a:moveTo>
                <a:lnTo>
                  <a:pt x="10" y="116"/>
                </a:lnTo>
                <a:lnTo>
                  <a:pt x="6" y="116"/>
                </a:lnTo>
                <a:lnTo>
                  <a:pt x="4" y="116"/>
                </a:lnTo>
                <a:lnTo>
                  <a:pt x="2" y="116"/>
                </a:lnTo>
                <a:lnTo>
                  <a:pt x="0" y="114"/>
                </a:lnTo>
                <a:lnTo>
                  <a:pt x="0" y="114"/>
                </a:lnTo>
                <a:lnTo>
                  <a:pt x="0" y="112"/>
                </a:lnTo>
                <a:lnTo>
                  <a:pt x="0" y="110"/>
                </a:lnTo>
                <a:lnTo>
                  <a:pt x="2" y="106"/>
                </a:lnTo>
                <a:lnTo>
                  <a:pt x="4" y="98"/>
                </a:lnTo>
                <a:lnTo>
                  <a:pt x="4" y="98"/>
                </a:lnTo>
                <a:lnTo>
                  <a:pt x="6" y="92"/>
                </a:lnTo>
                <a:lnTo>
                  <a:pt x="8" y="88"/>
                </a:lnTo>
                <a:lnTo>
                  <a:pt x="16" y="84"/>
                </a:lnTo>
                <a:lnTo>
                  <a:pt x="16" y="84"/>
                </a:lnTo>
                <a:lnTo>
                  <a:pt x="20" y="80"/>
                </a:lnTo>
                <a:lnTo>
                  <a:pt x="22" y="78"/>
                </a:lnTo>
                <a:lnTo>
                  <a:pt x="22" y="76"/>
                </a:lnTo>
                <a:lnTo>
                  <a:pt x="20" y="76"/>
                </a:lnTo>
                <a:lnTo>
                  <a:pt x="20" y="76"/>
                </a:lnTo>
                <a:lnTo>
                  <a:pt x="18" y="76"/>
                </a:lnTo>
                <a:lnTo>
                  <a:pt x="18" y="72"/>
                </a:lnTo>
                <a:lnTo>
                  <a:pt x="16" y="56"/>
                </a:lnTo>
                <a:lnTo>
                  <a:pt x="16" y="56"/>
                </a:lnTo>
                <a:lnTo>
                  <a:pt x="18" y="42"/>
                </a:lnTo>
                <a:lnTo>
                  <a:pt x="20" y="38"/>
                </a:lnTo>
                <a:lnTo>
                  <a:pt x="24" y="36"/>
                </a:lnTo>
                <a:lnTo>
                  <a:pt x="24" y="36"/>
                </a:lnTo>
                <a:lnTo>
                  <a:pt x="26" y="32"/>
                </a:lnTo>
                <a:lnTo>
                  <a:pt x="24" y="30"/>
                </a:lnTo>
                <a:lnTo>
                  <a:pt x="22" y="26"/>
                </a:lnTo>
                <a:lnTo>
                  <a:pt x="22" y="20"/>
                </a:lnTo>
                <a:lnTo>
                  <a:pt x="22" y="20"/>
                </a:lnTo>
                <a:lnTo>
                  <a:pt x="24" y="16"/>
                </a:lnTo>
                <a:lnTo>
                  <a:pt x="24" y="14"/>
                </a:lnTo>
                <a:lnTo>
                  <a:pt x="20" y="10"/>
                </a:lnTo>
                <a:lnTo>
                  <a:pt x="18" y="6"/>
                </a:lnTo>
                <a:lnTo>
                  <a:pt x="18" y="2"/>
                </a:lnTo>
                <a:lnTo>
                  <a:pt x="20" y="0"/>
                </a:lnTo>
                <a:lnTo>
                  <a:pt x="20" y="0"/>
                </a:lnTo>
                <a:lnTo>
                  <a:pt x="36" y="6"/>
                </a:lnTo>
                <a:lnTo>
                  <a:pt x="36" y="6"/>
                </a:lnTo>
                <a:lnTo>
                  <a:pt x="36" y="8"/>
                </a:lnTo>
                <a:lnTo>
                  <a:pt x="36" y="12"/>
                </a:lnTo>
                <a:lnTo>
                  <a:pt x="40" y="20"/>
                </a:lnTo>
                <a:lnTo>
                  <a:pt x="40" y="20"/>
                </a:lnTo>
                <a:lnTo>
                  <a:pt x="40" y="26"/>
                </a:lnTo>
                <a:lnTo>
                  <a:pt x="40" y="32"/>
                </a:lnTo>
                <a:lnTo>
                  <a:pt x="38" y="40"/>
                </a:lnTo>
                <a:lnTo>
                  <a:pt x="40" y="44"/>
                </a:lnTo>
                <a:lnTo>
                  <a:pt x="42" y="46"/>
                </a:lnTo>
                <a:lnTo>
                  <a:pt x="42" y="46"/>
                </a:lnTo>
                <a:lnTo>
                  <a:pt x="44" y="50"/>
                </a:lnTo>
                <a:lnTo>
                  <a:pt x="44" y="52"/>
                </a:lnTo>
                <a:lnTo>
                  <a:pt x="40" y="60"/>
                </a:lnTo>
                <a:lnTo>
                  <a:pt x="36" y="66"/>
                </a:lnTo>
                <a:lnTo>
                  <a:pt x="34" y="70"/>
                </a:lnTo>
                <a:lnTo>
                  <a:pt x="36" y="72"/>
                </a:lnTo>
                <a:lnTo>
                  <a:pt x="36" y="72"/>
                </a:lnTo>
                <a:lnTo>
                  <a:pt x="40" y="76"/>
                </a:lnTo>
                <a:lnTo>
                  <a:pt x="40" y="80"/>
                </a:lnTo>
                <a:lnTo>
                  <a:pt x="38" y="84"/>
                </a:lnTo>
                <a:lnTo>
                  <a:pt x="38" y="88"/>
                </a:lnTo>
                <a:lnTo>
                  <a:pt x="38" y="88"/>
                </a:lnTo>
                <a:lnTo>
                  <a:pt x="38" y="92"/>
                </a:lnTo>
                <a:lnTo>
                  <a:pt x="36" y="98"/>
                </a:lnTo>
                <a:lnTo>
                  <a:pt x="36" y="102"/>
                </a:lnTo>
                <a:lnTo>
                  <a:pt x="36" y="106"/>
                </a:lnTo>
                <a:lnTo>
                  <a:pt x="38" y="108"/>
                </a:lnTo>
                <a:lnTo>
                  <a:pt x="38" y="108"/>
                </a:lnTo>
                <a:lnTo>
                  <a:pt x="42" y="110"/>
                </a:lnTo>
                <a:lnTo>
                  <a:pt x="40" y="112"/>
                </a:lnTo>
                <a:lnTo>
                  <a:pt x="40" y="114"/>
                </a:lnTo>
                <a:lnTo>
                  <a:pt x="44" y="120"/>
                </a:lnTo>
                <a:lnTo>
                  <a:pt x="44" y="120"/>
                </a:lnTo>
                <a:lnTo>
                  <a:pt x="50" y="122"/>
                </a:lnTo>
                <a:lnTo>
                  <a:pt x="52" y="120"/>
                </a:lnTo>
                <a:lnTo>
                  <a:pt x="54" y="120"/>
                </a:lnTo>
                <a:lnTo>
                  <a:pt x="54" y="120"/>
                </a:lnTo>
                <a:lnTo>
                  <a:pt x="54" y="120"/>
                </a:lnTo>
                <a:lnTo>
                  <a:pt x="58" y="126"/>
                </a:lnTo>
                <a:lnTo>
                  <a:pt x="58" y="122"/>
                </a:lnTo>
                <a:lnTo>
                  <a:pt x="58" y="114"/>
                </a:lnTo>
                <a:lnTo>
                  <a:pt x="58" y="114"/>
                </a:lnTo>
                <a:lnTo>
                  <a:pt x="66" y="122"/>
                </a:lnTo>
                <a:lnTo>
                  <a:pt x="70" y="126"/>
                </a:lnTo>
                <a:lnTo>
                  <a:pt x="70" y="132"/>
                </a:lnTo>
                <a:lnTo>
                  <a:pt x="68" y="140"/>
                </a:lnTo>
                <a:lnTo>
                  <a:pt x="68" y="140"/>
                </a:lnTo>
                <a:lnTo>
                  <a:pt x="66" y="144"/>
                </a:lnTo>
                <a:lnTo>
                  <a:pt x="66" y="148"/>
                </a:lnTo>
                <a:lnTo>
                  <a:pt x="68" y="154"/>
                </a:lnTo>
                <a:lnTo>
                  <a:pt x="68" y="158"/>
                </a:lnTo>
                <a:lnTo>
                  <a:pt x="66" y="162"/>
                </a:lnTo>
                <a:lnTo>
                  <a:pt x="62" y="164"/>
                </a:lnTo>
                <a:lnTo>
                  <a:pt x="62" y="164"/>
                </a:lnTo>
                <a:lnTo>
                  <a:pt x="60" y="168"/>
                </a:lnTo>
                <a:lnTo>
                  <a:pt x="58" y="172"/>
                </a:lnTo>
                <a:lnTo>
                  <a:pt x="56" y="180"/>
                </a:lnTo>
                <a:lnTo>
                  <a:pt x="58" y="186"/>
                </a:lnTo>
                <a:lnTo>
                  <a:pt x="58" y="188"/>
                </a:lnTo>
                <a:lnTo>
                  <a:pt x="56" y="190"/>
                </a:lnTo>
                <a:lnTo>
                  <a:pt x="56" y="190"/>
                </a:lnTo>
                <a:lnTo>
                  <a:pt x="54" y="190"/>
                </a:lnTo>
                <a:lnTo>
                  <a:pt x="52" y="188"/>
                </a:lnTo>
                <a:lnTo>
                  <a:pt x="50" y="184"/>
                </a:lnTo>
                <a:lnTo>
                  <a:pt x="46" y="180"/>
                </a:lnTo>
                <a:lnTo>
                  <a:pt x="46" y="180"/>
                </a:lnTo>
                <a:lnTo>
                  <a:pt x="42" y="180"/>
                </a:lnTo>
                <a:lnTo>
                  <a:pt x="40" y="176"/>
                </a:lnTo>
                <a:lnTo>
                  <a:pt x="34" y="164"/>
                </a:lnTo>
                <a:lnTo>
                  <a:pt x="32" y="154"/>
                </a:lnTo>
                <a:lnTo>
                  <a:pt x="34" y="152"/>
                </a:lnTo>
                <a:lnTo>
                  <a:pt x="36" y="150"/>
                </a:lnTo>
                <a:lnTo>
                  <a:pt x="36" y="150"/>
                </a:lnTo>
                <a:lnTo>
                  <a:pt x="38" y="148"/>
                </a:lnTo>
                <a:lnTo>
                  <a:pt x="38" y="140"/>
                </a:lnTo>
                <a:lnTo>
                  <a:pt x="38" y="132"/>
                </a:lnTo>
                <a:lnTo>
                  <a:pt x="36" y="128"/>
                </a:lnTo>
                <a:lnTo>
                  <a:pt x="36" y="128"/>
                </a:lnTo>
                <a:lnTo>
                  <a:pt x="34" y="128"/>
                </a:lnTo>
                <a:lnTo>
                  <a:pt x="30" y="130"/>
                </a:lnTo>
                <a:lnTo>
                  <a:pt x="26" y="132"/>
                </a:lnTo>
                <a:lnTo>
                  <a:pt x="22" y="132"/>
                </a:lnTo>
                <a:lnTo>
                  <a:pt x="22" y="132"/>
                </a:lnTo>
                <a:lnTo>
                  <a:pt x="20" y="130"/>
                </a:lnTo>
                <a:lnTo>
                  <a:pt x="18" y="126"/>
                </a:lnTo>
                <a:lnTo>
                  <a:pt x="14" y="122"/>
                </a:lnTo>
                <a:lnTo>
                  <a:pt x="10" y="116"/>
                </a:lnTo>
                <a:lnTo>
                  <a:pt x="10" y="116"/>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12" name="Freeform 48"/>
          <p:cNvSpPr>
            <a:spLocks/>
          </p:cNvSpPr>
          <p:nvPr/>
        </p:nvSpPr>
        <p:spPr bwMode="auto">
          <a:xfrm>
            <a:off x="4933399" y="3223647"/>
            <a:ext cx="191421" cy="195747"/>
          </a:xfrm>
          <a:custGeom>
            <a:avLst/>
            <a:gdLst/>
            <a:ahLst/>
            <a:cxnLst>
              <a:cxn ang="0">
                <a:pos x="84" y="168"/>
              </a:cxn>
              <a:cxn ang="0">
                <a:pos x="94" y="166"/>
              </a:cxn>
              <a:cxn ang="0">
                <a:pos x="108" y="170"/>
              </a:cxn>
              <a:cxn ang="0">
                <a:pos x="114" y="170"/>
              </a:cxn>
              <a:cxn ang="0">
                <a:pos x="126" y="172"/>
              </a:cxn>
              <a:cxn ang="0">
                <a:pos x="128" y="172"/>
              </a:cxn>
              <a:cxn ang="0">
                <a:pos x="142" y="146"/>
              </a:cxn>
              <a:cxn ang="0">
                <a:pos x="142" y="142"/>
              </a:cxn>
              <a:cxn ang="0">
                <a:pos x="142" y="138"/>
              </a:cxn>
              <a:cxn ang="0">
                <a:pos x="142" y="134"/>
              </a:cxn>
              <a:cxn ang="0">
                <a:pos x="146" y="134"/>
              </a:cxn>
              <a:cxn ang="0">
                <a:pos x="150" y="126"/>
              </a:cxn>
              <a:cxn ang="0">
                <a:pos x="160" y="116"/>
              </a:cxn>
              <a:cxn ang="0">
                <a:pos x="160" y="110"/>
              </a:cxn>
              <a:cxn ang="0">
                <a:pos x="158" y="106"/>
              </a:cxn>
              <a:cxn ang="0">
                <a:pos x="158" y="102"/>
              </a:cxn>
              <a:cxn ang="0">
                <a:pos x="152" y="96"/>
              </a:cxn>
              <a:cxn ang="0">
                <a:pos x="162" y="80"/>
              </a:cxn>
              <a:cxn ang="0">
                <a:pos x="164" y="74"/>
              </a:cxn>
              <a:cxn ang="0">
                <a:pos x="168" y="70"/>
              </a:cxn>
              <a:cxn ang="0">
                <a:pos x="164" y="58"/>
              </a:cxn>
              <a:cxn ang="0">
                <a:pos x="164" y="52"/>
              </a:cxn>
              <a:cxn ang="0">
                <a:pos x="166" y="40"/>
              </a:cxn>
              <a:cxn ang="0">
                <a:pos x="164" y="32"/>
              </a:cxn>
              <a:cxn ang="0">
                <a:pos x="158" y="24"/>
              </a:cxn>
              <a:cxn ang="0">
                <a:pos x="150" y="24"/>
              </a:cxn>
              <a:cxn ang="0">
                <a:pos x="136" y="18"/>
              </a:cxn>
              <a:cxn ang="0">
                <a:pos x="122" y="12"/>
              </a:cxn>
              <a:cxn ang="0">
                <a:pos x="116" y="12"/>
              </a:cxn>
              <a:cxn ang="0">
                <a:pos x="110" y="0"/>
              </a:cxn>
              <a:cxn ang="0">
                <a:pos x="96" y="4"/>
              </a:cxn>
              <a:cxn ang="0">
                <a:pos x="94" y="4"/>
              </a:cxn>
              <a:cxn ang="0">
                <a:pos x="94" y="6"/>
              </a:cxn>
              <a:cxn ang="0">
                <a:pos x="86" y="10"/>
              </a:cxn>
              <a:cxn ang="0">
                <a:pos x="72" y="20"/>
              </a:cxn>
              <a:cxn ang="0">
                <a:pos x="64" y="34"/>
              </a:cxn>
              <a:cxn ang="0">
                <a:pos x="54" y="50"/>
              </a:cxn>
              <a:cxn ang="0">
                <a:pos x="50" y="52"/>
              </a:cxn>
              <a:cxn ang="0">
                <a:pos x="40" y="54"/>
              </a:cxn>
              <a:cxn ang="0">
                <a:pos x="34" y="54"/>
              </a:cxn>
              <a:cxn ang="0">
                <a:pos x="26" y="54"/>
              </a:cxn>
              <a:cxn ang="0">
                <a:pos x="0" y="54"/>
              </a:cxn>
              <a:cxn ang="0">
                <a:pos x="4" y="66"/>
              </a:cxn>
              <a:cxn ang="0">
                <a:pos x="10" y="72"/>
              </a:cxn>
              <a:cxn ang="0">
                <a:pos x="12" y="82"/>
              </a:cxn>
              <a:cxn ang="0">
                <a:pos x="18" y="98"/>
              </a:cxn>
              <a:cxn ang="0">
                <a:pos x="32" y="112"/>
              </a:cxn>
              <a:cxn ang="0">
                <a:pos x="42" y="126"/>
              </a:cxn>
              <a:cxn ang="0">
                <a:pos x="46" y="130"/>
              </a:cxn>
              <a:cxn ang="0">
                <a:pos x="46" y="134"/>
              </a:cxn>
              <a:cxn ang="0">
                <a:pos x="52" y="148"/>
              </a:cxn>
              <a:cxn ang="0">
                <a:pos x="60" y="156"/>
              </a:cxn>
              <a:cxn ang="0">
                <a:pos x="66" y="158"/>
              </a:cxn>
              <a:cxn ang="0">
                <a:pos x="84" y="164"/>
              </a:cxn>
              <a:cxn ang="0">
                <a:pos x="84" y="168"/>
              </a:cxn>
            </a:cxnLst>
            <a:rect l="0" t="0" r="r" b="b"/>
            <a:pathLst>
              <a:path w="168" h="172">
                <a:moveTo>
                  <a:pt x="84" y="168"/>
                </a:moveTo>
                <a:lnTo>
                  <a:pt x="84" y="168"/>
                </a:lnTo>
                <a:lnTo>
                  <a:pt x="88" y="166"/>
                </a:lnTo>
                <a:lnTo>
                  <a:pt x="94" y="166"/>
                </a:lnTo>
                <a:lnTo>
                  <a:pt x="100" y="168"/>
                </a:lnTo>
                <a:lnTo>
                  <a:pt x="108" y="170"/>
                </a:lnTo>
                <a:lnTo>
                  <a:pt x="114" y="170"/>
                </a:lnTo>
                <a:lnTo>
                  <a:pt x="114" y="170"/>
                </a:lnTo>
                <a:lnTo>
                  <a:pt x="122" y="170"/>
                </a:lnTo>
                <a:lnTo>
                  <a:pt x="126" y="172"/>
                </a:lnTo>
                <a:lnTo>
                  <a:pt x="128" y="172"/>
                </a:lnTo>
                <a:lnTo>
                  <a:pt x="128" y="172"/>
                </a:lnTo>
                <a:lnTo>
                  <a:pt x="142" y="146"/>
                </a:lnTo>
                <a:lnTo>
                  <a:pt x="142" y="146"/>
                </a:lnTo>
                <a:lnTo>
                  <a:pt x="142" y="144"/>
                </a:lnTo>
                <a:lnTo>
                  <a:pt x="142" y="142"/>
                </a:lnTo>
                <a:lnTo>
                  <a:pt x="142" y="142"/>
                </a:lnTo>
                <a:lnTo>
                  <a:pt x="142" y="138"/>
                </a:lnTo>
                <a:lnTo>
                  <a:pt x="142" y="138"/>
                </a:lnTo>
                <a:lnTo>
                  <a:pt x="142" y="134"/>
                </a:lnTo>
                <a:lnTo>
                  <a:pt x="144" y="134"/>
                </a:lnTo>
                <a:lnTo>
                  <a:pt x="146" y="134"/>
                </a:lnTo>
                <a:lnTo>
                  <a:pt x="150" y="126"/>
                </a:lnTo>
                <a:lnTo>
                  <a:pt x="150" y="126"/>
                </a:lnTo>
                <a:lnTo>
                  <a:pt x="156" y="118"/>
                </a:lnTo>
                <a:lnTo>
                  <a:pt x="160" y="116"/>
                </a:lnTo>
                <a:lnTo>
                  <a:pt x="162" y="116"/>
                </a:lnTo>
                <a:lnTo>
                  <a:pt x="160" y="110"/>
                </a:lnTo>
                <a:lnTo>
                  <a:pt x="160" y="110"/>
                </a:lnTo>
                <a:lnTo>
                  <a:pt x="158" y="106"/>
                </a:lnTo>
                <a:lnTo>
                  <a:pt x="160" y="104"/>
                </a:lnTo>
                <a:lnTo>
                  <a:pt x="158" y="102"/>
                </a:lnTo>
                <a:lnTo>
                  <a:pt x="152" y="96"/>
                </a:lnTo>
                <a:lnTo>
                  <a:pt x="152" y="96"/>
                </a:lnTo>
                <a:lnTo>
                  <a:pt x="160" y="86"/>
                </a:lnTo>
                <a:lnTo>
                  <a:pt x="162" y="80"/>
                </a:lnTo>
                <a:lnTo>
                  <a:pt x="162" y="76"/>
                </a:lnTo>
                <a:lnTo>
                  <a:pt x="164" y="74"/>
                </a:lnTo>
                <a:lnTo>
                  <a:pt x="164" y="74"/>
                </a:lnTo>
                <a:lnTo>
                  <a:pt x="168" y="70"/>
                </a:lnTo>
                <a:lnTo>
                  <a:pt x="166" y="64"/>
                </a:lnTo>
                <a:lnTo>
                  <a:pt x="164" y="58"/>
                </a:lnTo>
                <a:lnTo>
                  <a:pt x="164" y="52"/>
                </a:lnTo>
                <a:lnTo>
                  <a:pt x="164" y="52"/>
                </a:lnTo>
                <a:lnTo>
                  <a:pt x="164" y="44"/>
                </a:lnTo>
                <a:lnTo>
                  <a:pt x="166" y="40"/>
                </a:lnTo>
                <a:lnTo>
                  <a:pt x="168" y="38"/>
                </a:lnTo>
                <a:lnTo>
                  <a:pt x="164" y="32"/>
                </a:lnTo>
                <a:lnTo>
                  <a:pt x="164" y="32"/>
                </a:lnTo>
                <a:lnTo>
                  <a:pt x="158" y="24"/>
                </a:lnTo>
                <a:lnTo>
                  <a:pt x="150" y="24"/>
                </a:lnTo>
                <a:lnTo>
                  <a:pt x="150" y="24"/>
                </a:lnTo>
                <a:lnTo>
                  <a:pt x="142" y="20"/>
                </a:lnTo>
                <a:lnTo>
                  <a:pt x="136" y="18"/>
                </a:lnTo>
                <a:lnTo>
                  <a:pt x="132" y="14"/>
                </a:lnTo>
                <a:lnTo>
                  <a:pt x="122" y="12"/>
                </a:lnTo>
                <a:lnTo>
                  <a:pt x="122" y="12"/>
                </a:lnTo>
                <a:lnTo>
                  <a:pt x="116" y="12"/>
                </a:lnTo>
                <a:lnTo>
                  <a:pt x="114" y="10"/>
                </a:lnTo>
                <a:lnTo>
                  <a:pt x="110" y="0"/>
                </a:lnTo>
                <a:lnTo>
                  <a:pt x="110" y="0"/>
                </a:lnTo>
                <a:lnTo>
                  <a:pt x="96" y="4"/>
                </a:lnTo>
                <a:lnTo>
                  <a:pt x="94" y="4"/>
                </a:lnTo>
                <a:lnTo>
                  <a:pt x="94" y="4"/>
                </a:lnTo>
                <a:lnTo>
                  <a:pt x="96" y="4"/>
                </a:lnTo>
                <a:lnTo>
                  <a:pt x="94" y="6"/>
                </a:lnTo>
                <a:lnTo>
                  <a:pt x="86" y="10"/>
                </a:lnTo>
                <a:lnTo>
                  <a:pt x="86" y="10"/>
                </a:lnTo>
                <a:lnTo>
                  <a:pt x="78" y="14"/>
                </a:lnTo>
                <a:lnTo>
                  <a:pt x="72" y="20"/>
                </a:lnTo>
                <a:lnTo>
                  <a:pt x="66" y="26"/>
                </a:lnTo>
                <a:lnTo>
                  <a:pt x="64" y="34"/>
                </a:lnTo>
                <a:lnTo>
                  <a:pt x="58" y="46"/>
                </a:lnTo>
                <a:lnTo>
                  <a:pt x="54" y="50"/>
                </a:lnTo>
                <a:lnTo>
                  <a:pt x="50" y="52"/>
                </a:lnTo>
                <a:lnTo>
                  <a:pt x="50" y="52"/>
                </a:lnTo>
                <a:lnTo>
                  <a:pt x="44" y="52"/>
                </a:lnTo>
                <a:lnTo>
                  <a:pt x="40" y="54"/>
                </a:lnTo>
                <a:lnTo>
                  <a:pt x="38" y="56"/>
                </a:lnTo>
                <a:lnTo>
                  <a:pt x="34" y="54"/>
                </a:lnTo>
                <a:lnTo>
                  <a:pt x="34" y="54"/>
                </a:lnTo>
                <a:lnTo>
                  <a:pt x="26" y="54"/>
                </a:lnTo>
                <a:lnTo>
                  <a:pt x="16" y="54"/>
                </a:lnTo>
                <a:lnTo>
                  <a:pt x="0" y="54"/>
                </a:lnTo>
                <a:lnTo>
                  <a:pt x="0" y="54"/>
                </a:lnTo>
                <a:lnTo>
                  <a:pt x="4" y="66"/>
                </a:lnTo>
                <a:lnTo>
                  <a:pt x="8" y="70"/>
                </a:lnTo>
                <a:lnTo>
                  <a:pt x="10" y="72"/>
                </a:lnTo>
                <a:lnTo>
                  <a:pt x="12" y="82"/>
                </a:lnTo>
                <a:lnTo>
                  <a:pt x="12" y="82"/>
                </a:lnTo>
                <a:lnTo>
                  <a:pt x="14" y="92"/>
                </a:lnTo>
                <a:lnTo>
                  <a:pt x="18" y="98"/>
                </a:lnTo>
                <a:lnTo>
                  <a:pt x="32" y="112"/>
                </a:lnTo>
                <a:lnTo>
                  <a:pt x="32" y="112"/>
                </a:lnTo>
                <a:lnTo>
                  <a:pt x="38" y="120"/>
                </a:lnTo>
                <a:lnTo>
                  <a:pt x="42" y="126"/>
                </a:lnTo>
                <a:lnTo>
                  <a:pt x="44" y="128"/>
                </a:lnTo>
                <a:lnTo>
                  <a:pt x="46" y="130"/>
                </a:lnTo>
                <a:lnTo>
                  <a:pt x="46" y="130"/>
                </a:lnTo>
                <a:lnTo>
                  <a:pt x="46" y="134"/>
                </a:lnTo>
                <a:lnTo>
                  <a:pt x="50" y="144"/>
                </a:lnTo>
                <a:lnTo>
                  <a:pt x="52" y="148"/>
                </a:lnTo>
                <a:lnTo>
                  <a:pt x="54" y="152"/>
                </a:lnTo>
                <a:lnTo>
                  <a:pt x="60" y="156"/>
                </a:lnTo>
                <a:lnTo>
                  <a:pt x="66" y="158"/>
                </a:lnTo>
                <a:lnTo>
                  <a:pt x="66" y="158"/>
                </a:lnTo>
                <a:lnTo>
                  <a:pt x="78" y="162"/>
                </a:lnTo>
                <a:lnTo>
                  <a:pt x="84" y="164"/>
                </a:lnTo>
                <a:lnTo>
                  <a:pt x="84" y="166"/>
                </a:lnTo>
                <a:lnTo>
                  <a:pt x="84" y="168"/>
                </a:lnTo>
                <a:lnTo>
                  <a:pt x="84" y="168"/>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13" name="Freeform 49"/>
          <p:cNvSpPr>
            <a:spLocks/>
          </p:cNvSpPr>
          <p:nvPr/>
        </p:nvSpPr>
        <p:spPr bwMode="auto">
          <a:xfrm>
            <a:off x="4798948" y="3285102"/>
            <a:ext cx="230161" cy="254926"/>
          </a:xfrm>
          <a:custGeom>
            <a:avLst/>
            <a:gdLst/>
            <a:ahLst/>
            <a:cxnLst>
              <a:cxn ang="0">
                <a:pos x="0" y="180"/>
              </a:cxn>
              <a:cxn ang="0">
                <a:pos x="24" y="106"/>
              </a:cxn>
              <a:cxn ang="0">
                <a:pos x="28" y="22"/>
              </a:cxn>
              <a:cxn ang="0">
                <a:pos x="68" y="10"/>
              </a:cxn>
              <a:cxn ang="0">
                <a:pos x="78" y="10"/>
              </a:cxn>
              <a:cxn ang="0">
                <a:pos x="88" y="18"/>
              </a:cxn>
              <a:cxn ang="0">
                <a:pos x="94" y="16"/>
              </a:cxn>
              <a:cxn ang="0">
                <a:pos x="102" y="8"/>
              </a:cxn>
              <a:cxn ang="0">
                <a:pos x="112" y="6"/>
              </a:cxn>
              <a:cxn ang="0">
                <a:pos x="118" y="0"/>
              </a:cxn>
              <a:cxn ang="0">
                <a:pos x="126" y="16"/>
              </a:cxn>
              <a:cxn ang="0">
                <a:pos x="130" y="28"/>
              </a:cxn>
              <a:cxn ang="0">
                <a:pos x="132" y="38"/>
              </a:cxn>
              <a:cxn ang="0">
                <a:pos x="150" y="58"/>
              </a:cxn>
              <a:cxn ang="0">
                <a:pos x="156" y="66"/>
              </a:cxn>
              <a:cxn ang="0">
                <a:pos x="162" y="74"/>
              </a:cxn>
              <a:cxn ang="0">
                <a:pos x="164" y="76"/>
              </a:cxn>
              <a:cxn ang="0">
                <a:pos x="168" y="90"/>
              </a:cxn>
              <a:cxn ang="0">
                <a:pos x="172" y="98"/>
              </a:cxn>
              <a:cxn ang="0">
                <a:pos x="184" y="104"/>
              </a:cxn>
              <a:cxn ang="0">
                <a:pos x="196" y="108"/>
              </a:cxn>
              <a:cxn ang="0">
                <a:pos x="202" y="112"/>
              </a:cxn>
              <a:cxn ang="0">
                <a:pos x="202" y="114"/>
              </a:cxn>
              <a:cxn ang="0">
                <a:pos x="196" y="118"/>
              </a:cxn>
              <a:cxn ang="0">
                <a:pos x="188" y="120"/>
              </a:cxn>
              <a:cxn ang="0">
                <a:pos x="182" y="122"/>
              </a:cxn>
              <a:cxn ang="0">
                <a:pos x="176" y="130"/>
              </a:cxn>
              <a:cxn ang="0">
                <a:pos x="166" y="136"/>
              </a:cxn>
              <a:cxn ang="0">
                <a:pos x="158" y="144"/>
              </a:cxn>
              <a:cxn ang="0">
                <a:pos x="150" y="158"/>
              </a:cxn>
              <a:cxn ang="0">
                <a:pos x="138" y="168"/>
              </a:cxn>
              <a:cxn ang="0">
                <a:pos x="126" y="190"/>
              </a:cxn>
              <a:cxn ang="0">
                <a:pos x="118" y="192"/>
              </a:cxn>
              <a:cxn ang="0">
                <a:pos x="104" y="198"/>
              </a:cxn>
              <a:cxn ang="0">
                <a:pos x="94" y="196"/>
              </a:cxn>
              <a:cxn ang="0">
                <a:pos x="88" y="194"/>
              </a:cxn>
              <a:cxn ang="0">
                <a:pos x="88" y="190"/>
              </a:cxn>
              <a:cxn ang="0">
                <a:pos x="84" y="190"/>
              </a:cxn>
              <a:cxn ang="0">
                <a:pos x="66" y="194"/>
              </a:cxn>
              <a:cxn ang="0">
                <a:pos x="60" y="202"/>
              </a:cxn>
              <a:cxn ang="0">
                <a:pos x="62" y="204"/>
              </a:cxn>
              <a:cxn ang="0">
                <a:pos x="62" y="206"/>
              </a:cxn>
              <a:cxn ang="0">
                <a:pos x="54" y="212"/>
              </a:cxn>
              <a:cxn ang="0">
                <a:pos x="50" y="218"/>
              </a:cxn>
              <a:cxn ang="0">
                <a:pos x="48" y="220"/>
              </a:cxn>
              <a:cxn ang="0">
                <a:pos x="42" y="222"/>
              </a:cxn>
              <a:cxn ang="0">
                <a:pos x="42" y="224"/>
              </a:cxn>
              <a:cxn ang="0">
                <a:pos x="34" y="224"/>
              </a:cxn>
              <a:cxn ang="0">
                <a:pos x="28" y="224"/>
              </a:cxn>
              <a:cxn ang="0">
                <a:pos x="22" y="222"/>
              </a:cxn>
              <a:cxn ang="0">
                <a:pos x="26" y="212"/>
              </a:cxn>
              <a:cxn ang="0">
                <a:pos x="24" y="198"/>
              </a:cxn>
              <a:cxn ang="0">
                <a:pos x="16" y="188"/>
              </a:cxn>
              <a:cxn ang="0">
                <a:pos x="0" y="180"/>
              </a:cxn>
            </a:cxnLst>
            <a:rect l="0" t="0" r="r" b="b"/>
            <a:pathLst>
              <a:path w="202" h="224">
                <a:moveTo>
                  <a:pt x="0" y="180"/>
                </a:moveTo>
                <a:lnTo>
                  <a:pt x="0" y="180"/>
                </a:lnTo>
                <a:lnTo>
                  <a:pt x="4" y="106"/>
                </a:lnTo>
                <a:lnTo>
                  <a:pt x="24" y="106"/>
                </a:lnTo>
                <a:lnTo>
                  <a:pt x="28" y="22"/>
                </a:lnTo>
                <a:lnTo>
                  <a:pt x="28" y="22"/>
                </a:lnTo>
                <a:lnTo>
                  <a:pt x="68" y="10"/>
                </a:lnTo>
                <a:lnTo>
                  <a:pt x="68" y="10"/>
                </a:lnTo>
                <a:lnTo>
                  <a:pt x="72" y="10"/>
                </a:lnTo>
                <a:lnTo>
                  <a:pt x="78" y="10"/>
                </a:lnTo>
                <a:lnTo>
                  <a:pt x="84" y="14"/>
                </a:lnTo>
                <a:lnTo>
                  <a:pt x="88" y="18"/>
                </a:lnTo>
                <a:lnTo>
                  <a:pt x="92" y="18"/>
                </a:lnTo>
                <a:lnTo>
                  <a:pt x="94" y="16"/>
                </a:lnTo>
                <a:lnTo>
                  <a:pt x="94" y="16"/>
                </a:lnTo>
                <a:lnTo>
                  <a:pt x="102" y="8"/>
                </a:lnTo>
                <a:lnTo>
                  <a:pt x="108" y="6"/>
                </a:lnTo>
                <a:lnTo>
                  <a:pt x="112" y="6"/>
                </a:lnTo>
                <a:lnTo>
                  <a:pt x="118" y="0"/>
                </a:lnTo>
                <a:lnTo>
                  <a:pt x="118" y="0"/>
                </a:lnTo>
                <a:lnTo>
                  <a:pt x="122" y="12"/>
                </a:lnTo>
                <a:lnTo>
                  <a:pt x="126" y="16"/>
                </a:lnTo>
                <a:lnTo>
                  <a:pt x="128" y="18"/>
                </a:lnTo>
                <a:lnTo>
                  <a:pt x="130" y="28"/>
                </a:lnTo>
                <a:lnTo>
                  <a:pt x="130" y="28"/>
                </a:lnTo>
                <a:lnTo>
                  <a:pt x="132" y="38"/>
                </a:lnTo>
                <a:lnTo>
                  <a:pt x="136" y="44"/>
                </a:lnTo>
                <a:lnTo>
                  <a:pt x="150" y="58"/>
                </a:lnTo>
                <a:lnTo>
                  <a:pt x="150" y="58"/>
                </a:lnTo>
                <a:lnTo>
                  <a:pt x="156" y="66"/>
                </a:lnTo>
                <a:lnTo>
                  <a:pt x="160" y="72"/>
                </a:lnTo>
                <a:lnTo>
                  <a:pt x="162" y="74"/>
                </a:lnTo>
                <a:lnTo>
                  <a:pt x="164" y="76"/>
                </a:lnTo>
                <a:lnTo>
                  <a:pt x="164" y="76"/>
                </a:lnTo>
                <a:lnTo>
                  <a:pt x="164" y="80"/>
                </a:lnTo>
                <a:lnTo>
                  <a:pt x="168" y="90"/>
                </a:lnTo>
                <a:lnTo>
                  <a:pt x="170" y="94"/>
                </a:lnTo>
                <a:lnTo>
                  <a:pt x="172" y="98"/>
                </a:lnTo>
                <a:lnTo>
                  <a:pt x="178" y="102"/>
                </a:lnTo>
                <a:lnTo>
                  <a:pt x="184" y="104"/>
                </a:lnTo>
                <a:lnTo>
                  <a:pt x="184" y="104"/>
                </a:lnTo>
                <a:lnTo>
                  <a:pt x="196" y="108"/>
                </a:lnTo>
                <a:lnTo>
                  <a:pt x="202" y="110"/>
                </a:lnTo>
                <a:lnTo>
                  <a:pt x="202" y="112"/>
                </a:lnTo>
                <a:lnTo>
                  <a:pt x="202" y="114"/>
                </a:lnTo>
                <a:lnTo>
                  <a:pt x="202" y="114"/>
                </a:lnTo>
                <a:lnTo>
                  <a:pt x="198" y="116"/>
                </a:lnTo>
                <a:lnTo>
                  <a:pt x="196" y="118"/>
                </a:lnTo>
                <a:lnTo>
                  <a:pt x="194" y="120"/>
                </a:lnTo>
                <a:lnTo>
                  <a:pt x="188" y="120"/>
                </a:lnTo>
                <a:lnTo>
                  <a:pt x="188" y="120"/>
                </a:lnTo>
                <a:lnTo>
                  <a:pt x="182" y="122"/>
                </a:lnTo>
                <a:lnTo>
                  <a:pt x="180" y="126"/>
                </a:lnTo>
                <a:lnTo>
                  <a:pt x="176" y="130"/>
                </a:lnTo>
                <a:lnTo>
                  <a:pt x="166" y="136"/>
                </a:lnTo>
                <a:lnTo>
                  <a:pt x="166" y="136"/>
                </a:lnTo>
                <a:lnTo>
                  <a:pt x="162" y="138"/>
                </a:lnTo>
                <a:lnTo>
                  <a:pt x="158" y="144"/>
                </a:lnTo>
                <a:lnTo>
                  <a:pt x="150" y="158"/>
                </a:lnTo>
                <a:lnTo>
                  <a:pt x="150" y="158"/>
                </a:lnTo>
                <a:lnTo>
                  <a:pt x="144" y="164"/>
                </a:lnTo>
                <a:lnTo>
                  <a:pt x="138" y="168"/>
                </a:lnTo>
                <a:lnTo>
                  <a:pt x="132" y="174"/>
                </a:lnTo>
                <a:lnTo>
                  <a:pt x="126" y="190"/>
                </a:lnTo>
                <a:lnTo>
                  <a:pt x="126" y="190"/>
                </a:lnTo>
                <a:lnTo>
                  <a:pt x="118" y="192"/>
                </a:lnTo>
                <a:lnTo>
                  <a:pt x="112" y="194"/>
                </a:lnTo>
                <a:lnTo>
                  <a:pt x="104" y="198"/>
                </a:lnTo>
                <a:lnTo>
                  <a:pt x="100" y="198"/>
                </a:lnTo>
                <a:lnTo>
                  <a:pt x="94" y="196"/>
                </a:lnTo>
                <a:lnTo>
                  <a:pt x="94" y="196"/>
                </a:lnTo>
                <a:lnTo>
                  <a:pt x="88" y="194"/>
                </a:lnTo>
                <a:lnTo>
                  <a:pt x="88" y="192"/>
                </a:lnTo>
                <a:lnTo>
                  <a:pt x="88" y="190"/>
                </a:lnTo>
                <a:lnTo>
                  <a:pt x="84" y="190"/>
                </a:lnTo>
                <a:lnTo>
                  <a:pt x="84" y="190"/>
                </a:lnTo>
                <a:lnTo>
                  <a:pt x="74" y="190"/>
                </a:lnTo>
                <a:lnTo>
                  <a:pt x="66" y="194"/>
                </a:lnTo>
                <a:lnTo>
                  <a:pt x="62" y="198"/>
                </a:lnTo>
                <a:lnTo>
                  <a:pt x="60" y="202"/>
                </a:lnTo>
                <a:lnTo>
                  <a:pt x="62" y="204"/>
                </a:lnTo>
                <a:lnTo>
                  <a:pt x="62" y="204"/>
                </a:lnTo>
                <a:lnTo>
                  <a:pt x="62" y="206"/>
                </a:lnTo>
                <a:lnTo>
                  <a:pt x="62" y="206"/>
                </a:lnTo>
                <a:lnTo>
                  <a:pt x="58" y="208"/>
                </a:lnTo>
                <a:lnTo>
                  <a:pt x="54" y="212"/>
                </a:lnTo>
                <a:lnTo>
                  <a:pt x="50" y="218"/>
                </a:lnTo>
                <a:lnTo>
                  <a:pt x="50" y="218"/>
                </a:lnTo>
                <a:lnTo>
                  <a:pt x="48" y="220"/>
                </a:lnTo>
                <a:lnTo>
                  <a:pt x="48" y="220"/>
                </a:lnTo>
                <a:lnTo>
                  <a:pt x="46" y="218"/>
                </a:lnTo>
                <a:lnTo>
                  <a:pt x="42" y="222"/>
                </a:lnTo>
                <a:lnTo>
                  <a:pt x="42" y="222"/>
                </a:lnTo>
                <a:lnTo>
                  <a:pt x="42" y="224"/>
                </a:lnTo>
                <a:lnTo>
                  <a:pt x="38" y="224"/>
                </a:lnTo>
                <a:lnTo>
                  <a:pt x="34" y="224"/>
                </a:lnTo>
                <a:lnTo>
                  <a:pt x="28" y="224"/>
                </a:lnTo>
                <a:lnTo>
                  <a:pt x="28" y="224"/>
                </a:lnTo>
                <a:lnTo>
                  <a:pt x="22" y="224"/>
                </a:lnTo>
                <a:lnTo>
                  <a:pt x="22" y="222"/>
                </a:lnTo>
                <a:lnTo>
                  <a:pt x="26" y="212"/>
                </a:lnTo>
                <a:lnTo>
                  <a:pt x="26" y="212"/>
                </a:lnTo>
                <a:lnTo>
                  <a:pt x="26" y="206"/>
                </a:lnTo>
                <a:lnTo>
                  <a:pt x="24" y="198"/>
                </a:lnTo>
                <a:lnTo>
                  <a:pt x="20" y="192"/>
                </a:lnTo>
                <a:lnTo>
                  <a:pt x="16" y="188"/>
                </a:lnTo>
                <a:lnTo>
                  <a:pt x="10" y="184"/>
                </a:lnTo>
                <a:lnTo>
                  <a:pt x="0" y="180"/>
                </a:lnTo>
                <a:lnTo>
                  <a:pt x="0" y="180"/>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14" name="Freeform 50"/>
          <p:cNvSpPr>
            <a:spLocks/>
          </p:cNvSpPr>
          <p:nvPr/>
        </p:nvSpPr>
        <p:spPr bwMode="auto">
          <a:xfrm>
            <a:off x="4616642" y="3264617"/>
            <a:ext cx="316756" cy="327762"/>
          </a:xfrm>
          <a:custGeom>
            <a:avLst/>
            <a:gdLst/>
            <a:ahLst/>
            <a:cxnLst>
              <a:cxn ang="0">
                <a:pos x="0" y="10"/>
              </a:cxn>
              <a:cxn ang="0">
                <a:pos x="4" y="30"/>
              </a:cxn>
              <a:cxn ang="0">
                <a:pos x="18" y="60"/>
              </a:cxn>
              <a:cxn ang="0">
                <a:pos x="20" y="72"/>
              </a:cxn>
              <a:cxn ang="0">
                <a:pos x="22" y="82"/>
              </a:cxn>
              <a:cxn ang="0">
                <a:pos x="38" y="118"/>
              </a:cxn>
              <a:cxn ang="0">
                <a:pos x="54" y="146"/>
              </a:cxn>
              <a:cxn ang="0">
                <a:pos x="56" y="150"/>
              </a:cxn>
              <a:cxn ang="0">
                <a:pos x="54" y="162"/>
              </a:cxn>
              <a:cxn ang="0">
                <a:pos x="54" y="172"/>
              </a:cxn>
              <a:cxn ang="0">
                <a:pos x="54" y="180"/>
              </a:cxn>
              <a:cxn ang="0">
                <a:pos x="60" y="214"/>
              </a:cxn>
              <a:cxn ang="0">
                <a:pos x="68" y="244"/>
              </a:cxn>
              <a:cxn ang="0">
                <a:pos x="68" y="248"/>
              </a:cxn>
              <a:cxn ang="0">
                <a:pos x="70" y="262"/>
              </a:cxn>
              <a:cxn ang="0">
                <a:pos x="80" y="282"/>
              </a:cxn>
              <a:cxn ang="0">
                <a:pos x="92" y="274"/>
              </a:cxn>
              <a:cxn ang="0">
                <a:pos x="104" y="270"/>
              </a:cxn>
              <a:cxn ang="0">
                <a:pos x="108" y="272"/>
              </a:cxn>
              <a:cxn ang="0">
                <a:pos x="110" y="280"/>
              </a:cxn>
              <a:cxn ang="0">
                <a:pos x="118" y="288"/>
              </a:cxn>
              <a:cxn ang="0">
                <a:pos x="122" y="288"/>
              </a:cxn>
              <a:cxn ang="0">
                <a:pos x="136" y="286"/>
              </a:cxn>
              <a:cxn ang="0">
                <a:pos x="144" y="282"/>
              </a:cxn>
              <a:cxn ang="0">
                <a:pos x="152" y="276"/>
              </a:cxn>
              <a:cxn ang="0">
                <a:pos x="160" y="198"/>
              </a:cxn>
              <a:cxn ang="0">
                <a:pos x="164" y="124"/>
              </a:cxn>
              <a:cxn ang="0">
                <a:pos x="188" y="40"/>
              </a:cxn>
              <a:cxn ang="0">
                <a:pos x="228" y="28"/>
              </a:cxn>
              <a:cxn ang="0">
                <a:pos x="232" y="28"/>
              </a:cxn>
              <a:cxn ang="0">
                <a:pos x="244" y="32"/>
              </a:cxn>
              <a:cxn ang="0">
                <a:pos x="252" y="36"/>
              </a:cxn>
              <a:cxn ang="0">
                <a:pos x="254" y="34"/>
              </a:cxn>
              <a:cxn ang="0">
                <a:pos x="268" y="24"/>
              </a:cxn>
              <a:cxn ang="0">
                <a:pos x="278" y="18"/>
              </a:cxn>
              <a:cxn ang="0">
                <a:pos x="274" y="16"/>
              </a:cxn>
              <a:cxn ang="0">
                <a:pos x="268" y="10"/>
              </a:cxn>
              <a:cxn ang="0">
                <a:pos x="260" y="12"/>
              </a:cxn>
              <a:cxn ang="0">
                <a:pos x="244" y="12"/>
              </a:cxn>
              <a:cxn ang="0">
                <a:pos x="234" y="12"/>
              </a:cxn>
              <a:cxn ang="0">
                <a:pos x="204" y="22"/>
              </a:cxn>
              <a:cxn ang="0">
                <a:pos x="184" y="22"/>
              </a:cxn>
              <a:cxn ang="0">
                <a:pos x="176" y="20"/>
              </a:cxn>
              <a:cxn ang="0">
                <a:pos x="160" y="22"/>
              </a:cxn>
              <a:cxn ang="0">
                <a:pos x="160" y="20"/>
              </a:cxn>
              <a:cxn ang="0">
                <a:pos x="134" y="10"/>
              </a:cxn>
              <a:cxn ang="0">
                <a:pos x="134" y="8"/>
              </a:cxn>
              <a:cxn ang="0">
                <a:pos x="60" y="8"/>
              </a:cxn>
              <a:cxn ang="0">
                <a:pos x="48" y="6"/>
              </a:cxn>
              <a:cxn ang="0">
                <a:pos x="32" y="2"/>
              </a:cxn>
              <a:cxn ang="0">
                <a:pos x="24" y="2"/>
              </a:cxn>
              <a:cxn ang="0">
                <a:pos x="18" y="6"/>
              </a:cxn>
              <a:cxn ang="0">
                <a:pos x="12" y="6"/>
              </a:cxn>
              <a:cxn ang="0">
                <a:pos x="0" y="10"/>
              </a:cxn>
            </a:cxnLst>
            <a:rect l="0" t="0" r="r" b="b"/>
            <a:pathLst>
              <a:path w="278" h="288">
                <a:moveTo>
                  <a:pt x="0" y="10"/>
                </a:moveTo>
                <a:lnTo>
                  <a:pt x="0" y="10"/>
                </a:lnTo>
                <a:lnTo>
                  <a:pt x="2" y="20"/>
                </a:lnTo>
                <a:lnTo>
                  <a:pt x="4" y="30"/>
                </a:lnTo>
                <a:lnTo>
                  <a:pt x="10" y="46"/>
                </a:lnTo>
                <a:lnTo>
                  <a:pt x="18" y="60"/>
                </a:lnTo>
                <a:lnTo>
                  <a:pt x="20" y="66"/>
                </a:lnTo>
                <a:lnTo>
                  <a:pt x="20" y="72"/>
                </a:lnTo>
                <a:lnTo>
                  <a:pt x="20" y="72"/>
                </a:lnTo>
                <a:lnTo>
                  <a:pt x="22" y="82"/>
                </a:lnTo>
                <a:lnTo>
                  <a:pt x="26" y="92"/>
                </a:lnTo>
                <a:lnTo>
                  <a:pt x="38" y="118"/>
                </a:lnTo>
                <a:lnTo>
                  <a:pt x="52" y="138"/>
                </a:lnTo>
                <a:lnTo>
                  <a:pt x="54" y="146"/>
                </a:lnTo>
                <a:lnTo>
                  <a:pt x="56" y="150"/>
                </a:lnTo>
                <a:lnTo>
                  <a:pt x="56" y="150"/>
                </a:lnTo>
                <a:lnTo>
                  <a:pt x="54" y="158"/>
                </a:lnTo>
                <a:lnTo>
                  <a:pt x="54" y="162"/>
                </a:lnTo>
                <a:lnTo>
                  <a:pt x="56" y="164"/>
                </a:lnTo>
                <a:lnTo>
                  <a:pt x="54" y="172"/>
                </a:lnTo>
                <a:lnTo>
                  <a:pt x="54" y="172"/>
                </a:lnTo>
                <a:lnTo>
                  <a:pt x="54" y="180"/>
                </a:lnTo>
                <a:lnTo>
                  <a:pt x="56" y="190"/>
                </a:lnTo>
                <a:lnTo>
                  <a:pt x="60" y="214"/>
                </a:lnTo>
                <a:lnTo>
                  <a:pt x="66" y="236"/>
                </a:lnTo>
                <a:lnTo>
                  <a:pt x="68" y="244"/>
                </a:lnTo>
                <a:lnTo>
                  <a:pt x="68" y="248"/>
                </a:lnTo>
                <a:lnTo>
                  <a:pt x="68" y="248"/>
                </a:lnTo>
                <a:lnTo>
                  <a:pt x="68" y="254"/>
                </a:lnTo>
                <a:lnTo>
                  <a:pt x="70" y="262"/>
                </a:lnTo>
                <a:lnTo>
                  <a:pt x="74" y="272"/>
                </a:lnTo>
                <a:lnTo>
                  <a:pt x="80" y="282"/>
                </a:lnTo>
                <a:lnTo>
                  <a:pt x="80" y="282"/>
                </a:lnTo>
                <a:lnTo>
                  <a:pt x="92" y="274"/>
                </a:lnTo>
                <a:lnTo>
                  <a:pt x="98" y="272"/>
                </a:lnTo>
                <a:lnTo>
                  <a:pt x="104" y="270"/>
                </a:lnTo>
                <a:lnTo>
                  <a:pt x="104" y="270"/>
                </a:lnTo>
                <a:lnTo>
                  <a:pt x="108" y="272"/>
                </a:lnTo>
                <a:lnTo>
                  <a:pt x="108" y="274"/>
                </a:lnTo>
                <a:lnTo>
                  <a:pt x="110" y="280"/>
                </a:lnTo>
                <a:lnTo>
                  <a:pt x="114" y="286"/>
                </a:lnTo>
                <a:lnTo>
                  <a:pt x="118" y="288"/>
                </a:lnTo>
                <a:lnTo>
                  <a:pt x="122" y="288"/>
                </a:lnTo>
                <a:lnTo>
                  <a:pt x="122" y="288"/>
                </a:lnTo>
                <a:lnTo>
                  <a:pt x="130" y="288"/>
                </a:lnTo>
                <a:lnTo>
                  <a:pt x="136" y="286"/>
                </a:lnTo>
                <a:lnTo>
                  <a:pt x="140" y="284"/>
                </a:lnTo>
                <a:lnTo>
                  <a:pt x="144" y="282"/>
                </a:lnTo>
                <a:lnTo>
                  <a:pt x="148" y="278"/>
                </a:lnTo>
                <a:lnTo>
                  <a:pt x="152" y="276"/>
                </a:lnTo>
                <a:lnTo>
                  <a:pt x="156" y="276"/>
                </a:lnTo>
                <a:lnTo>
                  <a:pt x="160" y="198"/>
                </a:lnTo>
                <a:lnTo>
                  <a:pt x="160" y="198"/>
                </a:lnTo>
                <a:lnTo>
                  <a:pt x="164" y="124"/>
                </a:lnTo>
                <a:lnTo>
                  <a:pt x="184" y="124"/>
                </a:lnTo>
                <a:lnTo>
                  <a:pt x="188" y="40"/>
                </a:lnTo>
                <a:lnTo>
                  <a:pt x="188" y="40"/>
                </a:lnTo>
                <a:lnTo>
                  <a:pt x="228" y="28"/>
                </a:lnTo>
                <a:lnTo>
                  <a:pt x="228" y="28"/>
                </a:lnTo>
                <a:lnTo>
                  <a:pt x="232" y="28"/>
                </a:lnTo>
                <a:lnTo>
                  <a:pt x="238" y="28"/>
                </a:lnTo>
                <a:lnTo>
                  <a:pt x="244" y="32"/>
                </a:lnTo>
                <a:lnTo>
                  <a:pt x="248" y="36"/>
                </a:lnTo>
                <a:lnTo>
                  <a:pt x="252" y="36"/>
                </a:lnTo>
                <a:lnTo>
                  <a:pt x="254" y="34"/>
                </a:lnTo>
                <a:lnTo>
                  <a:pt x="254" y="34"/>
                </a:lnTo>
                <a:lnTo>
                  <a:pt x="262" y="26"/>
                </a:lnTo>
                <a:lnTo>
                  <a:pt x="268" y="24"/>
                </a:lnTo>
                <a:lnTo>
                  <a:pt x="272" y="24"/>
                </a:lnTo>
                <a:lnTo>
                  <a:pt x="278" y="18"/>
                </a:lnTo>
                <a:lnTo>
                  <a:pt x="278" y="18"/>
                </a:lnTo>
                <a:lnTo>
                  <a:pt x="274" y="16"/>
                </a:lnTo>
                <a:lnTo>
                  <a:pt x="272" y="12"/>
                </a:lnTo>
                <a:lnTo>
                  <a:pt x="268" y="10"/>
                </a:lnTo>
                <a:lnTo>
                  <a:pt x="260" y="12"/>
                </a:lnTo>
                <a:lnTo>
                  <a:pt x="260" y="12"/>
                </a:lnTo>
                <a:lnTo>
                  <a:pt x="250" y="12"/>
                </a:lnTo>
                <a:lnTo>
                  <a:pt x="244" y="12"/>
                </a:lnTo>
                <a:lnTo>
                  <a:pt x="240" y="12"/>
                </a:lnTo>
                <a:lnTo>
                  <a:pt x="234" y="12"/>
                </a:lnTo>
                <a:lnTo>
                  <a:pt x="234" y="12"/>
                </a:lnTo>
                <a:lnTo>
                  <a:pt x="204" y="22"/>
                </a:lnTo>
                <a:lnTo>
                  <a:pt x="190" y="24"/>
                </a:lnTo>
                <a:lnTo>
                  <a:pt x="184" y="22"/>
                </a:lnTo>
                <a:lnTo>
                  <a:pt x="176" y="20"/>
                </a:lnTo>
                <a:lnTo>
                  <a:pt x="176" y="20"/>
                </a:lnTo>
                <a:lnTo>
                  <a:pt x="162" y="22"/>
                </a:lnTo>
                <a:lnTo>
                  <a:pt x="160" y="22"/>
                </a:lnTo>
                <a:lnTo>
                  <a:pt x="160" y="20"/>
                </a:lnTo>
                <a:lnTo>
                  <a:pt x="160" y="20"/>
                </a:lnTo>
                <a:lnTo>
                  <a:pt x="142" y="14"/>
                </a:lnTo>
                <a:lnTo>
                  <a:pt x="134" y="10"/>
                </a:lnTo>
                <a:lnTo>
                  <a:pt x="134" y="8"/>
                </a:lnTo>
                <a:lnTo>
                  <a:pt x="134" y="8"/>
                </a:lnTo>
                <a:lnTo>
                  <a:pt x="134" y="8"/>
                </a:lnTo>
                <a:lnTo>
                  <a:pt x="60" y="8"/>
                </a:lnTo>
                <a:lnTo>
                  <a:pt x="60" y="8"/>
                </a:lnTo>
                <a:lnTo>
                  <a:pt x="48" y="6"/>
                </a:lnTo>
                <a:lnTo>
                  <a:pt x="40" y="6"/>
                </a:lnTo>
                <a:lnTo>
                  <a:pt x="32" y="2"/>
                </a:lnTo>
                <a:lnTo>
                  <a:pt x="30" y="0"/>
                </a:lnTo>
                <a:lnTo>
                  <a:pt x="24" y="2"/>
                </a:lnTo>
                <a:lnTo>
                  <a:pt x="24" y="2"/>
                </a:lnTo>
                <a:lnTo>
                  <a:pt x="18" y="6"/>
                </a:lnTo>
                <a:lnTo>
                  <a:pt x="16" y="4"/>
                </a:lnTo>
                <a:lnTo>
                  <a:pt x="12" y="6"/>
                </a:lnTo>
                <a:lnTo>
                  <a:pt x="0" y="10"/>
                </a:lnTo>
                <a:lnTo>
                  <a:pt x="0" y="10"/>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15" name="Freeform 51"/>
          <p:cNvSpPr>
            <a:spLocks/>
          </p:cNvSpPr>
          <p:nvPr/>
        </p:nvSpPr>
        <p:spPr bwMode="auto">
          <a:xfrm>
            <a:off x="4865035" y="3007415"/>
            <a:ext cx="284853" cy="279964"/>
          </a:xfrm>
          <a:custGeom>
            <a:avLst/>
            <a:gdLst/>
            <a:ahLst/>
            <a:cxnLst>
              <a:cxn ang="0">
                <a:pos x="168" y="186"/>
              </a:cxn>
              <a:cxn ang="0">
                <a:pos x="166" y="178"/>
              </a:cxn>
              <a:cxn ang="0">
                <a:pos x="202" y="166"/>
              </a:cxn>
              <a:cxn ang="0">
                <a:pos x="234" y="152"/>
              </a:cxn>
              <a:cxn ang="0">
                <a:pos x="228" y="152"/>
              </a:cxn>
              <a:cxn ang="0">
                <a:pos x="224" y="150"/>
              </a:cxn>
              <a:cxn ang="0">
                <a:pos x="226" y="142"/>
              </a:cxn>
              <a:cxn ang="0">
                <a:pos x="230" y="128"/>
              </a:cxn>
              <a:cxn ang="0">
                <a:pos x="240" y="120"/>
              </a:cxn>
              <a:cxn ang="0">
                <a:pos x="246" y="112"/>
              </a:cxn>
              <a:cxn ang="0">
                <a:pos x="242" y="112"/>
              </a:cxn>
              <a:cxn ang="0">
                <a:pos x="240" y="92"/>
              </a:cxn>
              <a:cxn ang="0">
                <a:pos x="248" y="72"/>
              </a:cxn>
              <a:cxn ang="0">
                <a:pos x="248" y="66"/>
              </a:cxn>
              <a:cxn ang="0">
                <a:pos x="246" y="56"/>
              </a:cxn>
              <a:cxn ang="0">
                <a:pos x="244" y="46"/>
              </a:cxn>
              <a:cxn ang="0">
                <a:pos x="244" y="36"/>
              </a:cxn>
              <a:cxn ang="0">
                <a:pos x="218" y="24"/>
              </a:cxn>
              <a:cxn ang="0">
                <a:pos x="200" y="14"/>
              </a:cxn>
              <a:cxn ang="0">
                <a:pos x="190" y="12"/>
              </a:cxn>
              <a:cxn ang="0">
                <a:pos x="184" y="4"/>
              </a:cxn>
              <a:cxn ang="0">
                <a:pos x="154" y="10"/>
              </a:cxn>
              <a:cxn ang="0">
                <a:pos x="156" y="20"/>
              </a:cxn>
              <a:cxn ang="0">
                <a:pos x="148" y="30"/>
              </a:cxn>
              <a:cxn ang="0">
                <a:pos x="154" y="40"/>
              </a:cxn>
              <a:cxn ang="0">
                <a:pos x="152" y="48"/>
              </a:cxn>
              <a:cxn ang="0">
                <a:pos x="146" y="60"/>
              </a:cxn>
              <a:cxn ang="0">
                <a:pos x="142" y="68"/>
              </a:cxn>
              <a:cxn ang="0">
                <a:pos x="144" y="86"/>
              </a:cxn>
              <a:cxn ang="0">
                <a:pos x="142" y="92"/>
              </a:cxn>
              <a:cxn ang="0">
                <a:pos x="158" y="104"/>
              </a:cxn>
              <a:cxn ang="0">
                <a:pos x="164" y="102"/>
              </a:cxn>
              <a:cxn ang="0">
                <a:pos x="160" y="126"/>
              </a:cxn>
              <a:cxn ang="0">
                <a:pos x="156" y="122"/>
              </a:cxn>
              <a:cxn ang="0">
                <a:pos x="144" y="118"/>
              </a:cxn>
              <a:cxn ang="0">
                <a:pos x="130" y="104"/>
              </a:cxn>
              <a:cxn ang="0">
                <a:pos x="114" y="96"/>
              </a:cxn>
              <a:cxn ang="0">
                <a:pos x="104" y="94"/>
              </a:cxn>
              <a:cxn ang="0">
                <a:pos x="92" y="94"/>
              </a:cxn>
              <a:cxn ang="0">
                <a:pos x="80" y="92"/>
              </a:cxn>
              <a:cxn ang="0">
                <a:pos x="72" y="86"/>
              </a:cxn>
              <a:cxn ang="0">
                <a:pos x="72" y="78"/>
              </a:cxn>
              <a:cxn ang="0">
                <a:pos x="60" y="78"/>
              </a:cxn>
              <a:cxn ang="0">
                <a:pos x="50" y="74"/>
              </a:cxn>
              <a:cxn ang="0">
                <a:pos x="46" y="80"/>
              </a:cxn>
              <a:cxn ang="0">
                <a:pos x="48" y="100"/>
              </a:cxn>
              <a:cxn ang="0">
                <a:pos x="48" y="120"/>
              </a:cxn>
              <a:cxn ang="0">
                <a:pos x="0" y="124"/>
              </a:cxn>
              <a:cxn ang="0">
                <a:pos x="0" y="220"/>
              </a:cxn>
              <a:cxn ang="0">
                <a:pos x="4" y="228"/>
              </a:cxn>
              <a:cxn ang="0">
                <a:pos x="16" y="238"/>
              </a:cxn>
              <a:cxn ang="0">
                <a:pos x="26" y="238"/>
              </a:cxn>
              <a:cxn ang="0">
                <a:pos x="42" y="238"/>
              </a:cxn>
              <a:cxn ang="0">
                <a:pos x="56" y="242"/>
              </a:cxn>
              <a:cxn ang="0">
                <a:pos x="76" y="244"/>
              </a:cxn>
              <a:cxn ang="0">
                <a:pos x="94" y="244"/>
              </a:cxn>
              <a:cxn ang="0">
                <a:pos x="104" y="242"/>
              </a:cxn>
              <a:cxn ang="0">
                <a:pos x="114" y="240"/>
              </a:cxn>
              <a:cxn ang="0">
                <a:pos x="126" y="216"/>
              </a:cxn>
              <a:cxn ang="0">
                <a:pos x="146" y="200"/>
              </a:cxn>
              <a:cxn ang="0">
                <a:pos x="156" y="194"/>
              </a:cxn>
              <a:cxn ang="0">
                <a:pos x="156" y="194"/>
              </a:cxn>
            </a:cxnLst>
            <a:rect l="0" t="0" r="r" b="b"/>
            <a:pathLst>
              <a:path w="250" h="246">
                <a:moveTo>
                  <a:pt x="170" y="190"/>
                </a:moveTo>
                <a:lnTo>
                  <a:pt x="170" y="190"/>
                </a:lnTo>
                <a:lnTo>
                  <a:pt x="168" y="186"/>
                </a:lnTo>
                <a:lnTo>
                  <a:pt x="168" y="182"/>
                </a:lnTo>
                <a:lnTo>
                  <a:pt x="168" y="182"/>
                </a:lnTo>
                <a:lnTo>
                  <a:pt x="166" y="178"/>
                </a:lnTo>
                <a:lnTo>
                  <a:pt x="166" y="178"/>
                </a:lnTo>
                <a:lnTo>
                  <a:pt x="182" y="172"/>
                </a:lnTo>
                <a:lnTo>
                  <a:pt x="202" y="166"/>
                </a:lnTo>
                <a:lnTo>
                  <a:pt x="202" y="166"/>
                </a:lnTo>
                <a:lnTo>
                  <a:pt x="218" y="160"/>
                </a:lnTo>
                <a:lnTo>
                  <a:pt x="234" y="152"/>
                </a:lnTo>
                <a:lnTo>
                  <a:pt x="234" y="152"/>
                </a:lnTo>
                <a:lnTo>
                  <a:pt x="230" y="152"/>
                </a:lnTo>
                <a:lnTo>
                  <a:pt x="228" y="152"/>
                </a:lnTo>
                <a:lnTo>
                  <a:pt x="226" y="152"/>
                </a:lnTo>
                <a:lnTo>
                  <a:pt x="224" y="150"/>
                </a:lnTo>
                <a:lnTo>
                  <a:pt x="224" y="150"/>
                </a:lnTo>
                <a:lnTo>
                  <a:pt x="224" y="148"/>
                </a:lnTo>
                <a:lnTo>
                  <a:pt x="224" y="146"/>
                </a:lnTo>
                <a:lnTo>
                  <a:pt x="226" y="142"/>
                </a:lnTo>
                <a:lnTo>
                  <a:pt x="228" y="134"/>
                </a:lnTo>
                <a:lnTo>
                  <a:pt x="228" y="134"/>
                </a:lnTo>
                <a:lnTo>
                  <a:pt x="230" y="128"/>
                </a:lnTo>
                <a:lnTo>
                  <a:pt x="232" y="124"/>
                </a:lnTo>
                <a:lnTo>
                  <a:pt x="240" y="120"/>
                </a:lnTo>
                <a:lnTo>
                  <a:pt x="240" y="120"/>
                </a:lnTo>
                <a:lnTo>
                  <a:pt x="244" y="116"/>
                </a:lnTo>
                <a:lnTo>
                  <a:pt x="246" y="114"/>
                </a:lnTo>
                <a:lnTo>
                  <a:pt x="246" y="112"/>
                </a:lnTo>
                <a:lnTo>
                  <a:pt x="244" y="112"/>
                </a:lnTo>
                <a:lnTo>
                  <a:pt x="244" y="112"/>
                </a:lnTo>
                <a:lnTo>
                  <a:pt x="242" y="112"/>
                </a:lnTo>
                <a:lnTo>
                  <a:pt x="242" y="108"/>
                </a:lnTo>
                <a:lnTo>
                  <a:pt x="240" y="92"/>
                </a:lnTo>
                <a:lnTo>
                  <a:pt x="240" y="92"/>
                </a:lnTo>
                <a:lnTo>
                  <a:pt x="242" y="78"/>
                </a:lnTo>
                <a:lnTo>
                  <a:pt x="244" y="74"/>
                </a:lnTo>
                <a:lnTo>
                  <a:pt x="248" y="72"/>
                </a:lnTo>
                <a:lnTo>
                  <a:pt x="248" y="72"/>
                </a:lnTo>
                <a:lnTo>
                  <a:pt x="250" y="68"/>
                </a:lnTo>
                <a:lnTo>
                  <a:pt x="248" y="66"/>
                </a:lnTo>
                <a:lnTo>
                  <a:pt x="246" y="62"/>
                </a:lnTo>
                <a:lnTo>
                  <a:pt x="246" y="56"/>
                </a:lnTo>
                <a:lnTo>
                  <a:pt x="246" y="56"/>
                </a:lnTo>
                <a:lnTo>
                  <a:pt x="248" y="52"/>
                </a:lnTo>
                <a:lnTo>
                  <a:pt x="248" y="50"/>
                </a:lnTo>
                <a:lnTo>
                  <a:pt x="244" y="46"/>
                </a:lnTo>
                <a:lnTo>
                  <a:pt x="242" y="42"/>
                </a:lnTo>
                <a:lnTo>
                  <a:pt x="242" y="38"/>
                </a:lnTo>
                <a:lnTo>
                  <a:pt x="244" y="36"/>
                </a:lnTo>
                <a:lnTo>
                  <a:pt x="244" y="36"/>
                </a:lnTo>
                <a:lnTo>
                  <a:pt x="226" y="30"/>
                </a:lnTo>
                <a:lnTo>
                  <a:pt x="218" y="24"/>
                </a:lnTo>
                <a:lnTo>
                  <a:pt x="210" y="18"/>
                </a:lnTo>
                <a:lnTo>
                  <a:pt x="200" y="14"/>
                </a:lnTo>
                <a:lnTo>
                  <a:pt x="200" y="14"/>
                </a:lnTo>
                <a:lnTo>
                  <a:pt x="194" y="14"/>
                </a:lnTo>
                <a:lnTo>
                  <a:pt x="192" y="14"/>
                </a:lnTo>
                <a:lnTo>
                  <a:pt x="190" y="12"/>
                </a:lnTo>
                <a:lnTo>
                  <a:pt x="190" y="12"/>
                </a:lnTo>
                <a:lnTo>
                  <a:pt x="186" y="4"/>
                </a:lnTo>
                <a:lnTo>
                  <a:pt x="184" y="4"/>
                </a:lnTo>
                <a:lnTo>
                  <a:pt x="184" y="4"/>
                </a:lnTo>
                <a:lnTo>
                  <a:pt x="184" y="0"/>
                </a:lnTo>
                <a:lnTo>
                  <a:pt x="154" y="10"/>
                </a:lnTo>
                <a:lnTo>
                  <a:pt x="154" y="10"/>
                </a:lnTo>
                <a:lnTo>
                  <a:pt x="156" y="14"/>
                </a:lnTo>
                <a:lnTo>
                  <a:pt x="156" y="20"/>
                </a:lnTo>
                <a:lnTo>
                  <a:pt x="154" y="26"/>
                </a:lnTo>
                <a:lnTo>
                  <a:pt x="148" y="30"/>
                </a:lnTo>
                <a:lnTo>
                  <a:pt x="148" y="30"/>
                </a:lnTo>
                <a:lnTo>
                  <a:pt x="150" y="36"/>
                </a:lnTo>
                <a:lnTo>
                  <a:pt x="152" y="38"/>
                </a:lnTo>
                <a:lnTo>
                  <a:pt x="154" y="40"/>
                </a:lnTo>
                <a:lnTo>
                  <a:pt x="154" y="44"/>
                </a:lnTo>
                <a:lnTo>
                  <a:pt x="154" y="44"/>
                </a:lnTo>
                <a:lnTo>
                  <a:pt x="152" y="48"/>
                </a:lnTo>
                <a:lnTo>
                  <a:pt x="152" y="52"/>
                </a:lnTo>
                <a:lnTo>
                  <a:pt x="150" y="56"/>
                </a:lnTo>
                <a:lnTo>
                  <a:pt x="146" y="60"/>
                </a:lnTo>
                <a:lnTo>
                  <a:pt x="146" y="60"/>
                </a:lnTo>
                <a:lnTo>
                  <a:pt x="144" y="64"/>
                </a:lnTo>
                <a:lnTo>
                  <a:pt x="142" y="68"/>
                </a:lnTo>
                <a:lnTo>
                  <a:pt x="142" y="76"/>
                </a:lnTo>
                <a:lnTo>
                  <a:pt x="142" y="82"/>
                </a:lnTo>
                <a:lnTo>
                  <a:pt x="144" y="86"/>
                </a:lnTo>
                <a:lnTo>
                  <a:pt x="144" y="86"/>
                </a:lnTo>
                <a:lnTo>
                  <a:pt x="142" y="88"/>
                </a:lnTo>
                <a:lnTo>
                  <a:pt x="142" y="92"/>
                </a:lnTo>
                <a:lnTo>
                  <a:pt x="152" y="100"/>
                </a:lnTo>
                <a:lnTo>
                  <a:pt x="152" y="100"/>
                </a:lnTo>
                <a:lnTo>
                  <a:pt x="158" y="104"/>
                </a:lnTo>
                <a:lnTo>
                  <a:pt x="160" y="104"/>
                </a:lnTo>
                <a:lnTo>
                  <a:pt x="160" y="102"/>
                </a:lnTo>
                <a:lnTo>
                  <a:pt x="164" y="102"/>
                </a:lnTo>
                <a:lnTo>
                  <a:pt x="164" y="128"/>
                </a:lnTo>
                <a:lnTo>
                  <a:pt x="164" y="128"/>
                </a:lnTo>
                <a:lnTo>
                  <a:pt x="160" y="126"/>
                </a:lnTo>
                <a:lnTo>
                  <a:pt x="158" y="126"/>
                </a:lnTo>
                <a:lnTo>
                  <a:pt x="156" y="122"/>
                </a:lnTo>
                <a:lnTo>
                  <a:pt x="156" y="122"/>
                </a:lnTo>
                <a:lnTo>
                  <a:pt x="154" y="120"/>
                </a:lnTo>
                <a:lnTo>
                  <a:pt x="150" y="120"/>
                </a:lnTo>
                <a:lnTo>
                  <a:pt x="144" y="118"/>
                </a:lnTo>
                <a:lnTo>
                  <a:pt x="138" y="112"/>
                </a:lnTo>
                <a:lnTo>
                  <a:pt x="138" y="112"/>
                </a:lnTo>
                <a:lnTo>
                  <a:pt x="130" y="104"/>
                </a:lnTo>
                <a:lnTo>
                  <a:pt x="124" y="102"/>
                </a:lnTo>
                <a:lnTo>
                  <a:pt x="118" y="100"/>
                </a:lnTo>
                <a:lnTo>
                  <a:pt x="114" y="96"/>
                </a:lnTo>
                <a:lnTo>
                  <a:pt x="114" y="96"/>
                </a:lnTo>
                <a:lnTo>
                  <a:pt x="108" y="92"/>
                </a:lnTo>
                <a:lnTo>
                  <a:pt x="104" y="94"/>
                </a:lnTo>
                <a:lnTo>
                  <a:pt x="100" y="94"/>
                </a:lnTo>
                <a:lnTo>
                  <a:pt x="92" y="94"/>
                </a:lnTo>
                <a:lnTo>
                  <a:pt x="92" y="94"/>
                </a:lnTo>
                <a:lnTo>
                  <a:pt x="84" y="92"/>
                </a:lnTo>
                <a:lnTo>
                  <a:pt x="82" y="92"/>
                </a:lnTo>
                <a:lnTo>
                  <a:pt x="80" y="92"/>
                </a:lnTo>
                <a:lnTo>
                  <a:pt x="76" y="90"/>
                </a:lnTo>
                <a:lnTo>
                  <a:pt x="76" y="90"/>
                </a:lnTo>
                <a:lnTo>
                  <a:pt x="72" y="86"/>
                </a:lnTo>
                <a:lnTo>
                  <a:pt x="72" y="82"/>
                </a:lnTo>
                <a:lnTo>
                  <a:pt x="72" y="78"/>
                </a:lnTo>
                <a:lnTo>
                  <a:pt x="72" y="78"/>
                </a:lnTo>
                <a:lnTo>
                  <a:pt x="70" y="76"/>
                </a:lnTo>
                <a:lnTo>
                  <a:pt x="60" y="78"/>
                </a:lnTo>
                <a:lnTo>
                  <a:pt x="60" y="78"/>
                </a:lnTo>
                <a:lnTo>
                  <a:pt x="54" y="78"/>
                </a:lnTo>
                <a:lnTo>
                  <a:pt x="52" y="76"/>
                </a:lnTo>
                <a:lnTo>
                  <a:pt x="50" y="74"/>
                </a:lnTo>
                <a:lnTo>
                  <a:pt x="48" y="72"/>
                </a:lnTo>
                <a:lnTo>
                  <a:pt x="48" y="72"/>
                </a:lnTo>
                <a:lnTo>
                  <a:pt x="46" y="80"/>
                </a:lnTo>
                <a:lnTo>
                  <a:pt x="46" y="86"/>
                </a:lnTo>
                <a:lnTo>
                  <a:pt x="46" y="90"/>
                </a:lnTo>
                <a:lnTo>
                  <a:pt x="48" y="100"/>
                </a:lnTo>
                <a:lnTo>
                  <a:pt x="48" y="100"/>
                </a:lnTo>
                <a:lnTo>
                  <a:pt x="46" y="116"/>
                </a:lnTo>
                <a:lnTo>
                  <a:pt x="48" y="120"/>
                </a:lnTo>
                <a:lnTo>
                  <a:pt x="50" y="124"/>
                </a:lnTo>
                <a:lnTo>
                  <a:pt x="0" y="124"/>
                </a:lnTo>
                <a:lnTo>
                  <a:pt x="0" y="124"/>
                </a:lnTo>
                <a:lnTo>
                  <a:pt x="0" y="218"/>
                </a:lnTo>
                <a:lnTo>
                  <a:pt x="0" y="218"/>
                </a:lnTo>
                <a:lnTo>
                  <a:pt x="0" y="220"/>
                </a:lnTo>
                <a:lnTo>
                  <a:pt x="4" y="226"/>
                </a:lnTo>
                <a:lnTo>
                  <a:pt x="4" y="226"/>
                </a:lnTo>
                <a:lnTo>
                  <a:pt x="4" y="228"/>
                </a:lnTo>
                <a:lnTo>
                  <a:pt x="6" y="228"/>
                </a:lnTo>
                <a:lnTo>
                  <a:pt x="10" y="230"/>
                </a:lnTo>
                <a:lnTo>
                  <a:pt x="16" y="238"/>
                </a:lnTo>
                <a:lnTo>
                  <a:pt x="16" y="238"/>
                </a:lnTo>
                <a:lnTo>
                  <a:pt x="22" y="238"/>
                </a:lnTo>
                <a:lnTo>
                  <a:pt x="26" y="238"/>
                </a:lnTo>
                <a:lnTo>
                  <a:pt x="32" y="238"/>
                </a:lnTo>
                <a:lnTo>
                  <a:pt x="42" y="238"/>
                </a:lnTo>
                <a:lnTo>
                  <a:pt x="42" y="238"/>
                </a:lnTo>
                <a:lnTo>
                  <a:pt x="50" y="236"/>
                </a:lnTo>
                <a:lnTo>
                  <a:pt x="54" y="238"/>
                </a:lnTo>
                <a:lnTo>
                  <a:pt x="56" y="242"/>
                </a:lnTo>
                <a:lnTo>
                  <a:pt x="60" y="244"/>
                </a:lnTo>
                <a:lnTo>
                  <a:pt x="60" y="244"/>
                </a:lnTo>
                <a:lnTo>
                  <a:pt x="76" y="244"/>
                </a:lnTo>
                <a:lnTo>
                  <a:pt x="86" y="244"/>
                </a:lnTo>
                <a:lnTo>
                  <a:pt x="94" y="244"/>
                </a:lnTo>
                <a:lnTo>
                  <a:pt x="94" y="244"/>
                </a:lnTo>
                <a:lnTo>
                  <a:pt x="98" y="246"/>
                </a:lnTo>
                <a:lnTo>
                  <a:pt x="100" y="244"/>
                </a:lnTo>
                <a:lnTo>
                  <a:pt x="104" y="242"/>
                </a:lnTo>
                <a:lnTo>
                  <a:pt x="110" y="242"/>
                </a:lnTo>
                <a:lnTo>
                  <a:pt x="110" y="242"/>
                </a:lnTo>
                <a:lnTo>
                  <a:pt x="114" y="240"/>
                </a:lnTo>
                <a:lnTo>
                  <a:pt x="118" y="236"/>
                </a:lnTo>
                <a:lnTo>
                  <a:pt x="124" y="224"/>
                </a:lnTo>
                <a:lnTo>
                  <a:pt x="126" y="216"/>
                </a:lnTo>
                <a:lnTo>
                  <a:pt x="132" y="210"/>
                </a:lnTo>
                <a:lnTo>
                  <a:pt x="138" y="204"/>
                </a:lnTo>
                <a:lnTo>
                  <a:pt x="146" y="200"/>
                </a:lnTo>
                <a:lnTo>
                  <a:pt x="146" y="200"/>
                </a:lnTo>
                <a:lnTo>
                  <a:pt x="154" y="196"/>
                </a:lnTo>
                <a:lnTo>
                  <a:pt x="156" y="194"/>
                </a:lnTo>
                <a:lnTo>
                  <a:pt x="154" y="194"/>
                </a:lnTo>
                <a:lnTo>
                  <a:pt x="154" y="194"/>
                </a:lnTo>
                <a:lnTo>
                  <a:pt x="156" y="194"/>
                </a:lnTo>
                <a:lnTo>
                  <a:pt x="170" y="190"/>
                </a:lnTo>
                <a:lnTo>
                  <a:pt x="170" y="190"/>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16" name="Freeform 52"/>
          <p:cNvSpPr>
            <a:spLocks/>
          </p:cNvSpPr>
          <p:nvPr/>
        </p:nvSpPr>
        <p:spPr bwMode="auto">
          <a:xfrm>
            <a:off x="4616642" y="2936855"/>
            <a:ext cx="305363" cy="355076"/>
          </a:xfrm>
          <a:custGeom>
            <a:avLst/>
            <a:gdLst/>
            <a:ahLst/>
            <a:cxnLst>
              <a:cxn ang="0">
                <a:pos x="252" y="136"/>
              </a:cxn>
              <a:cxn ang="0">
                <a:pos x="224" y="142"/>
              </a:cxn>
              <a:cxn ang="0">
                <a:pos x="222" y="114"/>
              </a:cxn>
              <a:cxn ang="0">
                <a:pos x="216" y="106"/>
              </a:cxn>
              <a:cxn ang="0">
                <a:pos x="216" y="86"/>
              </a:cxn>
              <a:cxn ang="0">
                <a:pos x="212" y="56"/>
              </a:cxn>
              <a:cxn ang="0">
                <a:pos x="216" y="42"/>
              </a:cxn>
              <a:cxn ang="0">
                <a:pos x="202" y="36"/>
              </a:cxn>
              <a:cxn ang="0">
                <a:pos x="196" y="34"/>
              </a:cxn>
              <a:cxn ang="0">
                <a:pos x="192" y="30"/>
              </a:cxn>
              <a:cxn ang="0">
                <a:pos x="182" y="32"/>
              </a:cxn>
              <a:cxn ang="0">
                <a:pos x="168" y="36"/>
              </a:cxn>
              <a:cxn ang="0">
                <a:pos x="166" y="44"/>
              </a:cxn>
              <a:cxn ang="0">
                <a:pos x="162" y="54"/>
              </a:cxn>
              <a:cxn ang="0">
                <a:pos x="154" y="54"/>
              </a:cxn>
              <a:cxn ang="0">
                <a:pos x="142" y="56"/>
              </a:cxn>
              <a:cxn ang="0">
                <a:pos x="130" y="58"/>
              </a:cxn>
              <a:cxn ang="0">
                <a:pos x="122" y="42"/>
              </a:cxn>
              <a:cxn ang="0">
                <a:pos x="116" y="34"/>
              </a:cxn>
              <a:cxn ang="0">
                <a:pos x="110" y="14"/>
              </a:cxn>
              <a:cxn ang="0">
                <a:pos x="104" y="2"/>
              </a:cxn>
              <a:cxn ang="0">
                <a:pos x="90" y="0"/>
              </a:cxn>
              <a:cxn ang="0">
                <a:pos x="78" y="0"/>
              </a:cxn>
              <a:cxn ang="0">
                <a:pos x="36" y="2"/>
              </a:cxn>
              <a:cxn ang="0">
                <a:pos x="28" y="6"/>
              </a:cxn>
              <a:cxn ang="0">
                <a:pos x="16" y="12"/>
              </a:cxn>
              <a:cxn ang="0">
                <a:pos x="24" y="22"/>
              </a:cxn>
              <a:cxn ang="0">
                <a:pos x="30" y="40"/>
              </a:cxn>
              <a:cxn ang="0">
                <a:pos x="36" y="68"/>
              </a:cxn>
              <a:cxn ang="0">
                <a:pos x="34" y="82"/>
              </a:cxn>
              <a:cxn ang="0">
                <a:pos x="36" y="92"/>
              </a:cxn>
              <a:cxn ang="0">
                <a:pos x="36" y="102"/>
              </a:cxn>
              <a:cxn ang="0">
                <a:pos x="46" y="136"/>
              </a:cxn>
              <a:cxn ang="0">
                <a:pos x="42" y="156"/>
              </a:cxn>
              <a:cxn ang="0">
                <a:pos x="30" y="168"/>
              </a:cxn>
              <a:cxn ang="0">
                <a:pos x="22" y="178"/>
              </a:cxn>
              <a:cxn ang="0">
                <a:pos x="14" y="192"/>
              </a:cxn>
              <a:cxn ang="0">
                <a:pos x="8" y="236"/>
              </a:cxn>
              <a:cxn ang="0">
                <a:pos x="4" y="264"/>
              </a:cxn>
              <a:cxn ang="0">
                <a:pos x="0" y="268"/>
              </a:cxn>
              <a:cxn ang="0">
                <a:pos x="0" y="298"/>
              </a:cxn>
              <a:cxn ang="0">
                <a:pos x="18" y="294"/>
              </a:cxn>
              <a:cxn ang="0">
                <a:pos x="30" y="288"/>
              </a:cxn>
              <a:cxn ang="0">
                <a:pos x="48" y="294"/>
              </a:cxn>
              <a:cxn ang="0">
                <a:pos x="134" y="296"/>
              </a:cxn>
              <a:cxn ang="0">
                <a:pos x="134" y="298"/>
              </a:cxn>
              <a:cxn ang="0">
                <a:pos x="160" y="308"/>
              </a:cxn>
              <a:cxn ang="0">
                <a:pos x="176" y="308"/>
              </a:cxn>
              <a:cxn ang="0">
                <a:pos x="190" y="312"/>
              </a:cxn>
              <a:cxn ang="0">
                <a:pos x="234" y="300"/>
              </a:cxn>
              <a:cxn ang="0">
                <a:pos x="222" y="290"/>
              </a:cxn>
              <a:cxn ang="0">
                <a:pos x="218" y="282"/>
              </a:cxn>
              <a:cxn ang="0">
                <a:pos x="218" y="186"/>
              </a:cxn>
              <a:cxn ang="0">
                <a:pos x="266" y="182"/>
              </a:cxn>
              <a:cxn ang="0">
                <a:pos x="266" y="162"/>
              </a:cxn>
              <a:cxn ang="0">
                <a:pos x="264" y="142"/>
              </a:cxn>
            </a:cxnLst>
            <a:rect l="0" t="0" r="r" b="b"/>
            <a:pathLst>
              <a:path w="268" h="312">
                <a:moveTo>
                  <a:pt x="266" y="134"/>
                </a:moveTo>
                <a:lnTo>
                  <a:pt x="266" y="134"/>
                </a:lnTo>
                <a:lnTo>
                  <a:pt x="252" y="136"/>
                </a:lnTo>
                <a:lnTo>
                  <a:pt x="250" y="134"/>
                </a:lnTo>
                <a:lnTo>
                  <a:pt x="224" y="142"/>
                </a:lnTo>
                <a:lnTo>
                  <a:pt x="224" y="142"/>
                </a:lnTo>
                <a:lnTo>
                  <a:pt x="224" y="128"/>
                </a:lnTo>
                <a:lnTo>
                  <a:pt x="224" y="120"/>
                </a:lnTo>
                <a:lnTo>
                  <a:pt x="222" y="114"/>
                </a:lnTo>
                <a:lnTo>
                  <a:pt x="220" y="112"/>
                </a:lnTo>
                <a:lnTo>
                  <a:pt x="218" y="110"/>
                </a:lnTo>
                <a:lnTo>
                  <a:pt x="216" y="106"/>
                </a:lnTo>
                <a:lnTo>
                  <a:pt x="216" y="98"/>
                </a:lnTo>
                <a:lnTo>
                  <a:pt x="216" y="86"/>
                </a:lnTo>
                <a:lnTo>
                  <a:pt x="216" y="86"/>
                </a:lnTo>
                <a:lnTo>
                  <a:pt x="214" y="74"/>
                </a:lnTo>
                <a:lnTo>
                  <a:pt x="214" y="64"/>
                </a:lnTo>
                <a:lnTo>
                  <a:pt x="212" y="56"/>
                </a:lnTo>
                <a:lnTo>
                  <a:pt x="214" y="48"/>
                </a:lnTo>
                <a:lnTo>
                  <a:pt x="214" y="48"/>
                </a:lnTo>
                <a:lnTo>
                  <a:pt x="216" y="42"/>
                </a:lnTo>
                <a:lnTo>
                  <a:pt x="214" y="38"/>
                </a:lnTo>
                <a:lnTo>
                  <a:pt x="210" y="36"/>
                </a:lnTo>
                <a:lnTo>
                  <a:pt x="202" y="36"/>
                </a:lnTo>
                <a:lnTo>
                  <a:pt x="202" y="36"/>
                </a:lnTo>
                <a:lnTo>
                  <a:pt x="196" y="36"/>
                </a:lnTo>
                <a:lnTo>
                  <a:pt x="196" y="34"/>
                </a:lnTo>
                <a:lnTo>
                  <a:pt x="196" y="32"/>
                </a:lnTo>
                <a:lnTo>
                  <a:pt x="192" y="30"/>
                </a:lnTo>
                <a:lnTo>
                  <a:pt x="192" y="30"/>
                </a:lnTo>
                <a:lnTo>
                  <a:pt x="186" y="30"/>
                </a:lnTo>
                <a:lnTo>
                  <a:pt x="184" y="32"/>
                </a:lnTo>
                <a:lnTo>
                  <a:pt x="182" y="32"/>
                </a:lnTo>
                <a:lnTo>
                  <a:pt x="174" y="34"/>
                </a:lnTo>
                <a:lnTo>
                  <a:pt x="174" y="34"/>
                </a:lnTo>
                <a:lnTo>
                  <a:pt x="168" y="36"/>
                </a:lnTo>
                <a:lnTo>
                  <a:pt x="166" y="38"/>
                </a:lnTo>
                <a:lnTo>
                  <a:pt x="166" y="42"/>
                </a:lnTo>
                <a:lnTo>
                  <a:pt x="166" y="44"/>
                </a:lnTo>
                <a:lnTo>
                  <a:pt x="166" y="44"/>
                </a:lnTo>
                <a:lnTo>
                  <a:pt x="164" y="48"/>
                </a:lnTo>
                <a:lnTo>
                  <a:pt x="162" y="54"/>
                </a:lnTo>
                <a:lnTo>
                  <a:pt x="160" y="56"/>
                </a:lnTo>
                <a:lnTo>
                  <a:pt x="154" y="54"/>
                </a:lnTo>
                <a:lnTo>
                  <a:pt x="154" y="54"/>
                </a:lnTo>
                <a:lnTo>
                  <a:pt x="150" y="52"/>
                </a:lnTo>
                <a:lnTo>
                  <a:pt x="146" y="54"/>
                </a:lnTo>
                <a:lnTo>
                  <a:pt x="142" y="56"/>
                </a:lnTo>
                <a:lnTo>
                  <a:pt x="134" y="58"/>
                </a:lnTo>
                <a:lnTo>
                  <a:pt x="134" y="58"/>
                </a:lnTo>
                <a:lnTo>
                  <a:pt x="130" y="58"/>
                </a:lnTo>
                <a:lnTo>
                  <a:pt x="126" y="56"/>
                </a:lnTo>
                <a:lnTo>
                  <a:pt x="124" y="50"/>
                </a:lnTo>
                <a:lnTo>
                  <a:pt x="122" y="42"/>
                </a:lnTo>
                <a:lnTo>
                  <a:pt x="120" y="38"/>
                </a:lnTo>
                <a:lnTo>
                  <a:pt x="116" y="34"/>
                </a:lnTo>
                <a:lnTo>
                  <a:pt x="116" y="34"/>
                </a:lnTo>
                <a:lnTo>
                  <a:pt x="112" y="30"/>
                </a:lnTo>
                <a:lnTo>
                  <a:pt x="112" y="24"/>
                </a:lnTo>
                <a:lnTo>
                  <a:pt x="110" y="14"/>
                </a:lnTo>
                <a:lnTo>
                  <a:pt x="110" y="6"/>
                </a:lnTo>
                <a:lnTo>
                  <a:pt x="108" y="2"/>
                </a:lnTo>
                <a:lnTo>
                  <a:pt x="104" y="2"/>
                </a:lnTo>
                <a:lnTo>
                  <a:pt x="104" y="2"/>
                </a:lnTo>
                <a:lnTo>
                  <a:pt x="96" y="2"/>
                </a:lnTo>
                <a:lnTo>
                  <a:pt x="90" y="0"/>
                </a:lnTo>
                <a:lnTo>
                  <a:pt x="86" y="0"/>
                </a:lnTo>
                <a:lnTo>
                  <a:pt x="78" y="0"/>
                </a:lnTo>
                <a:lnTo>
                  <a:pt x="78" y="0"/>
                </a:lnTo>
                <a:lnTo>
                  <a:pt x="52" y="0"/>
                </a:lnTo>
                <a:lnTo>
                  <a:pt x="44" y="0"/>
                </a:lnTo>
                <a:lnTo>
                  <a:pt x="36" y="2"/>
                </a:lnTo>
                <a:lnTo>
                  <a:pt x="36" y="2"/>
                </a:lnTo>
                <a:lnTo>
                  <a:pt x="32" y="4"/>
                </a:lnTo>
                <a:lnTo>
                  <a:pt x="28" y="6"/>
                </a:lnTo>
                <a:lnTo>
                  <a:pt x="18" y="10"/>
                </a:lnTo>
                <a:lnTo>
                  <a:pt x="18" y="10"/>
                </a:lnTo>
                <a:lnTo>
                  <a:pt x="16" y="12"/>
                </a:lnTo>
                <a:lnTo>
                  <a:pt x="16" y="12"/>
                </a:lnTo>
                <a:lnTo>
                  <a:pt x="18" y="16"/>
                </a:lnTo>
                <a:lnTo>
                  <a:pt x="24" y="22"/>
                </a:lnTo>
                <a:lnTo>
                  <a:pt x="26" y="30"/>
                </a:lnTo>
                <a:lnTo>
                  <a:pt x="26" y="30"/>
                </a:lnTo>
                <a:lnTo>
                  <a:pt x="30" y="40"/>
                </a:lnTo>
                <a:lnTo>
                  <a:pt x="34" y="52"/>
                </a:lnTo>
                <a:lnTo>
                  <a:pt x="36" y="62"/>
                </a:lnTo>
                <a:lnTo>
                  <a:pt x="36" y="68"/>
                </a:lnTo>
                <a:lnTo>
                  <a:pt x="36" y="72"/>
                </a:lnTo>
                <a:lnTo>
                  <a:pt x="36" y="72"/>
                </a:lnTo>
                <a:lnTo>
                  <a:pt x="34" y="82"/>
                </a:lnTo>
                <a:lnTo>
                  <a:pt x="34" y="86"/>
                </a:lnTo>
                <a:lnTo>
                  <a:pt x="36" y="88"/>
                </a:lnTo>
                <a:lnTo>
                  <a:pt x="36" y="92"/>
                </a:lnTo>
                <a:lnTo>
                  <a:pt x="36" y="92"/>
                </a:lnTo>
                <a:lnTo>
                  <a:pt x="34" y="98"/>
                </a:lnTo>
                <a:lnTo>
                  <a:pt x="36" y="102"/>
                </a:lnTo>
                <a:lnTo>
                  <a:pt x="42" y="114"/>
                </a:lnTo>
                <a:lnTo>
                  <a:pt x="46" y="128"/>
                </a:lnTo>
                <a:lnTo>
                  <a:pt x="46" y="136"/>
                </a:lnTo>
                <a:lnTo>
                  <a:pt x="46" y="144"/>
                </a:lnTo>
                <a:lnTo>
                  <a:pt x="46" y="144"/>
                </a:lnTo>
                <a:lnTo>
                  <a:pt x="42" y="156"/>
                </a:lnTo>
                <a:lnTo>
                  <a:pt x="38" y="160"/>
                </a:lnTo>
                <a:lnTo>
                  <a:pt x="34" y="162"/>
                </a:lnTo>
                <a:lnTo>
                  <a:pt x="30" y="168"/>
                </a:lnTo>
                <a:lnTo>
                  <a:pt x="30" y="168"/>
                </a:lnTo>
                <a:lnTo>
                  <a:pt x="26" y="176"/>
                </a:lnTo>
                <a:lnTo>
                  <a:pt x="22" y="178"/>
                </a:lnTo>
                <a:lnTo>
                  <a:pt x="20" y="180"/>
                </a:lnTo>
                <a:lnTo>
                  <a:pt x="14" y="192"/>
                </a:lnTo>
                <a:lnTo>
                  <a:pt x="14" y="192"/>
                </a:lnTo>
                <a:lnTo>
                  <a:pt x="10" y="202"/>
                </a:lnTo>
                <a:lnTo>
                  <a:pt x="8" y="214"/>
                </a:lnTo>
                <a:lnTo>
                  <a:pt x="8" y="236"/>
                </a:lnTo>
                <a:lnTo>
                  <a:pt x="8" y="254"/>
                </a:lnTo>
                <a:lnTo>
                  <a:pt x="6" y="260"/>
                </a:lnTo>
                <a:lnTo>
                  <a:pt x="4" y="264"/>
                </a:lnTo>
                <a:lnTo>
                  <a:pt x="4" y="264"/>
                </a:lnTo>
                <a:lnTo>
                  <a:pt x="0" y="266"/>
                </a:lnTo>
                <a:lnTo>
                  <a:pt x="0" y="268"/>
                </a:lnTo>
                <a:lnTo>
                  <a:pt x="0" y="276"/>
                </a:lnTo>
                <a:lnTo>
                  <a:pt x="0" y="298"/>
                </a:lnTo>
                <a:lnTo>
                  <a:pt x="0" y="298"/>
                </a:lnTo>
                <a:lnTo>
                  <a:pt x="12" y="294"/>
                </a:lnTo>
                <a:lnTo>
                  <a:pt x="16" y="292"/>
                </a:lnTo>
                <a:lnTo>
                  <a:pt x="18" y="294"/>
                </a:lnTo>
                <a:lnTo>
                  <a:pt x="24" y="290"/>
                </a:lnTo>
                <a:lnTo>
                  <a:pt x="24" y="290"/>
                </a:lnTo>
                <a:lnTo>
                  <a:pt x="30" y="288"/>
                </a:lnTo>
                <a:lnTo>
                  <a:pt x="32" y="290"/>
                </a:lnTo>
                <a:lnTo>
                  <a:pt x="40" y="294"/>
                </a:lnTo>
                <a:lnTo>
                  <a:pt x="48" y="294"/>
                </a:lnTo>
                <a:lnTo>
                  <a:pt x="60" y="296"/>
                </a:lnTo>
                <a:lnTo>
                  <a:pt x="60" y="296"/>
                </a:lnTo>
                <a:lnTo>
                  <a:pt x="134" y="296"/>
                </a:lnTo>
                <a:lnTo>
                  <a:pt x="134" y="296"/>
                </a:lnTo>
                <a:lnTo>
                  <a:pt x="134" y="296"/>
                </a:lnTo>
                <a:lnTo>
                  <a:pt x="134" y="298"/>
                </a:lnTo>
                <a:lnTo>
                  <a:pt x="142" y="302"/>
                </a:lnTo>
                <a:lnTo>
                  <a:pt x="160" y="308"/>
                </a:lnTo>
                <a:lnTo>
                  <a:pt x="160" y="308"/>
                </a:lnTo>
                <a:lnTo>
                  <a:pt x="160" y="310"/>
                </a:lnTo>
                <a:lnTo>
                  <a:pt x="162" y="310"/>
                </a:lnTo>
                <a:lnTo>
                  <a:pt x="176" y="308"/>
                </a:lnTo>
                <a:lnTo>
                  <a:pt x="176" y="308"/>
                </a:lnTo>
                <a:lnTo>
                  <a:pt x="184" y="310"/>
                </a:lnTo>
                <a:lnTo>
                  <a:pt x="190" y="312"/>
                </a:lnTo>
                <a:lnTo>
                  <a:pt x="204" y="310"/>
                </a:lnTo>
                <a:lnTo>
                  <a:pt x="234" y="300"/>
                </a:lnTo>
                <a:lnTo>
                  <a:pt x="234" y="300"/>
                </a:lnTo>
                <a:lnTo>
                  <a:pt x="228" y="292"/>
                </a:lnTo>
                <a:lnTo>
                  <a:pt x="224" y="290"/>
                </a:lnTo>
                <a:lnTo>
                  <a:pt x="222" y="290"/>
                </a:lnTo>
                <a:lnTo>
                  <a:pt x="222" y="288"/>
                </a:lnTo>
                <a:lnTo>
                  <a:pt x="222" y="288"/>
                </a:lnTo>
                <a:lnTo>
                  <a:pt x="218" y="282"/>
                </a:lnTo>
                <a:lnTo>
                  <a:pt x="218" y="280"/>
                </a:lnTo>
                <a:lnTo>
                  <a:pt x="218" y="280"/>
                </a:lnTo>
                <a:lnTo>
                  <a:pt x="218" y="186"/>
                </a:lnTo>
                <a:lnTo>
                  <a:pt x="268" y="186"/>
                </a:lnTo>
                <a:lnTo>
                  <a:pt x="268" y="186"/>
                </a:lnTo>
                <a:lnTo>
                  <a:pt x="266" y="182"/>
                </a:lnTo>
                <a:lnTo>
                  <a:pt x="264" y="178"/>
                </a:lnTo>
                <a:lnTo>
                  <a:pt x="266" y="162"/>
                </a:lnTo>
                <a:lnTo>
                  <a:pt x="266" y="162"/>
                </a:lnTo>
                <a:lnTo>
                  <a:pt x="264" y="152"/>
                </a:lnTo>
                <a:lnTo>
                  <a:pt x="264" y="148"/>
                </a:lnTo>
                <a:lnTo>
                  <a:pt x="264" y="142"/>
                </a:lnTo>
                <a:lnTo>
                  <a:pt x="266" y="134"/>
                </a:lnTo>
                <a:lnTo>
                  <a:pt x="266" y="134"/>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17" name="Freeform 53"/>
          <p:cNvSpPr>
            <a:spLocks/>
          </p:cNvSpPr>
          <p:nvPr/>
        </p:nvSpPr>
        <p:spPr bwMode="auto">
          <a:xfrm>
            <a:off x="4632594" y="2604542"/>
            <a:ext cx="473995" cy="548546"/>
          </a:xfrm>
          <a:custGeom>
            <a:avLst/>
            <a:gdLst/>
            <a:ahLst/>
            <a:cxnLst>
              <a:cxn ang="0">
                <a:pos x="154" y="6"/>
              </a:cxn>
              <a:cxn ang="0">
                <a:pos x="184" y="14"/>
              </a:cxn>
              <a:cxn ang="0">
                <a:pos x="206" y="18"/>
              </a:cxn>
              <a:cxn ang="0">
                <a:pos x="236" y="16"/>
              </a:cxn>
              <a:cxn ang="0">
                <a:pos x="268" y="4"/>
              </a:cxn>
              <a:cxn ang="0">
                <a:pos x="278" y="2"/>
              </a:cxn>
              <a:cxn ang="0">
                <a:pos x="334" y="16"/>
              </a:cxn>
              <a:cxn ang="0">
                <a:pos x="358" y="24"/>
              </a:cxn>
              <a:cxn ang="0">
                <a:pos x="374" y="24"/>
              </a:cxn>
              <a:cxn ang="0">
                <a:pos x="398" y="54"/>
              </a:cxn>
              <a:cxn ang="0">
                <a:pos x="404" y="76"/>
              </a:cxn>
              <a:cxn ang="0">
                <a:pos x="414" y="82"/>
              </a:cxn>
              <a:cxn ang="0">
                <a:pos x="390" y="118"/>
              </a:cxn>
              <a:cxn ang="0">
                <a:pos x="374" y="154"/>
              </a:cxn>
              <a:cxn ang="0">
                <a:pos x="372" y="186"/>
              </a:cxn>
              <a:cxn ang="0">
                <a:pos x="360" y="198"/>
              </a:cxn>
              <a:cxn ang="0">
                <a:pos x="370" y="240"/>
              </a:cxn>
              <a:cxn ang="0">
                <a:pos x="368" y="270"/>
              </a:cxn>
              <a:cxn ang="0">
                <a:pos x="368" y="306"/>
              </a:cxn>
              <a:cxn ang="0">
                <a:pos x="388" y="354"/>
              </a:cxn>
              <a:cxn ang="0">
                <a:pos x="352" y="384"/>
              </a:cxn>
              <a:cxn ang="0">
                <a:pos x="358" y="398"/>
              </a:cxn>
              <a:cxn ang="0">
                <a:pos x="348" y="418"/>
              </a:cxn>
              <a:cxn ang="0">
                <a:pos x="346" y="442"/>
              </a:cxn>
              <a:cxn ang="0">
                <a:pos x="364" y="456"/>
              </a:cxn>
              <a:cxn ang="0">
                <a:pos x="360" y="476"/>
              </a:cxn>
              <a:cxn ang="0">
                <a:pos x="342" y="466"/>
              </a:cxn>
              <a:cxn ang="0">
                <a:pos x="312" y="446"/>
              </a:cxn>
              <a:cxn ang="0">
                <a:pos x="286" y="446"/>
              </a:cxn>
              <a:cxn ang="0">
                <a:pos x="276" y="432"/>
              </a:cxn>
              <a:cxn ang="0">
                <a:pos x="256" y="430"/>
              </a:cxn>
              <a:cxn ang="0">
                <a:pos x="210" y="434"/>
              </a:cxn>
              <a:cxn ang="0">
                <a:pos x="204" y="402"/>
              </a:cxn>
              <a:cxn ang="0">
                <a:pos x="200" y="356"/>
              </a:cxn>
              <a:cxn ang="0">
                <a:pos x="196" y="328"/>
              </a:cxn>
              <a:cxn ang="0">
                <a:pos x="178" y="322"/>
              </a:cxn>
              <a:cxn ang="0">
                <a:pos x="160" y="326"/>
              </a:cxn>
              <a:cxn ang="0">
                <a:pos x="150" y="340"/>
              </a:cxn>
              <a:cxn ang="0">
                <a:pos x="132" y="346"/>
              </a:cxn>
              <a:cxn ang="0">
                <a:pos x="110" y="342"/>
              </a:cxn>
              <a:cxn ang="0">
                <a:pos x="98" y="316"/>
              </a:cxn>
              <a:cxn ang="0">
                <a:pos x="82" y="294"/>
              </a:cxn>
              <a:cxn ang="0">
                <a:pos x="30" y="292"/>
              </a:cxn>
              <a:cxn ang="0">
                <a:pos x="10" y="298"/>
              </a:cxn>
              <a:cxn ang="0">
                <a:pos x="6" y="292"/>
              </a:cxn>
              <a:cxn ang="0">
                <a:pos x="12" y="258"/>
              </a:cxn>
              <a:cxn ang="0">
                <a:pos x="32" y="258"/>
              </a:cxn>
              <a:cxn ang="0">
                <a:pos x="46" y="256"/>
              </a:cxn>
              <a:cxn ang="0">
                <a:pos x="58" y="258"/>
              </a:cxn>
              <a:cxn ang="0">
                <a:pos x="84" y="230"/>
              </a:cxn>
              <a:cxn ang="0">
                <a:pos x="98" y="176"/>
              </a:cxn>
              <a:cxn ang="0">
                <a:pos x="124" y="140"/>
              </a:cxn>
              <a:cxn ang="0">
                <a:pos x="130" y="84"/>
              </a:cxn>
              <a:cxn ang="0">
                <a:pos x="136" y="58"/>
              </a:cxn>
            </a:cxnLst>
            <a:rect l="0" t="0" r="r" b="b"/>
            <a:pathLst>
              <a:path w="416" h="482">
                <a:moveTo>
                  <a:pt x="138" y="42"/>
                </a:moveTo>
                <a:lnTo>
                  <a:pt x="138" y="42"/>
                </a:lnTo>
                <a:lnTo>
                  <a:pt x="142" y="22"/>
                </a:lnTo>
                <a:lnTo>
                  <a:pt x="146" y="12"/>
                </a:lnTo>
                <a:lnTo>
                  <a:pt x="150" y="8"/>
                </a:lnTo>
                <a:lnTo>
                  <a:pt x="154" y="6"/>
                </a:lnTo>
                <a:lnTo>
                  <a:pt x="162" y="4"/>
                </a:lnTo>
                <a:lnTo>
                  <a:pt x="162" y="4"/>
                </a:lnTo>
                <a:lnTo>
                  <a:pt x="168" y="4"/>
                </a:lnTo>
                <a:lnTo>
                  <a:pt x="172" y="6"/>
                </a:lnTo>
                <a:lnTo>
                  <a:pt x="178" y="10"/>
                </a:lnTo>
                <a:lnTo>
                  <a:pt x="184" y="14"/>
                </a:lnTo>
                <a:lnTo>
                  <a:pt x="186" y="16"/>
                </a:lnTo>
                <a:lnTo>
                  <a:pt x="190" y="14"/>
                </a:lnTo>
                <a:lnTo>
                  <a:pt x="190" y="14"/>
                </a:lnTo>
                <a:lnTo>
                  <a:pt x="194" y="14"/>
                </a:lnTo>
                <a:lnTo>
                  <a:pt x="198" y="16"/>
                </a:lnTo>
                <a:lnTo>
                  <a:pt x="206" y="18"/>
                </a:lnTo>
                <a:lnTo>
                  <a:pt x="216" y="22"/>
                </a:lnTo>
                <a:lnTo>
                  <a:pt x="222" y="24"/>
                </a:lnTo>
                <a:lnTo>
                  <a:pt x="230" y="22"/>
                </a:lnTo>
                <a:lnTo>
                  <a:pt x="230" y="22"/>
                </a:lnTo>
                <a:lnTo>
                  <a:pt x="232" y="20"/>
                </a:lnTo>
                <a:lnTo>
                  <a:pt x="236" y="16"/>
                </a:lnTo>
                <a:lnTo>
                  <a:pt x="240" y="12"/>
                </a:lnTo>
                <a:lnTo>
                  <a:pt x="250" y="10"/>
                </a:lnTo>
                <a:lnTo>
                  <a:pt x="250" y="10"/>
                </a:lnTo>
                <a:lnTo>
                  <a:pt x="264" y="8"/>
                </a:lnTo>
                <a:lnTo>
                  <a:pt x="266" y="6"/>
                </a:lnTo>
                <a:lnTo>
                  <a:pt x="268" y="4"/>
                </a:lnTo>
                <a:lnTo>
                  <a:pt x="268" y="2"/>
                </a:lnTo>
                <a:lnTo>
                  <a:pt x="268" y="0"/>
                </a:lnTo>
                <a:lnTo>
                  <a:pt x="272" y="0"/>
                </a:lnTo>
                <a:lnTo>
                  <a:pt x="272" y="0"/>
                </a:lnTo>
                <a:lnTo>
                  <a:pt x="274" y="0"/>
                </a:lnTo>
                <a:lnTo>
                  <a:pt x="278" y="2"/>
                </a:lnTo>
                <a:lnTo>
                  <a:pt x="290" y="4"/>
                </a:lnTo>
                <a:lnTo>
                  <a:pt x="324" y="6"/>
                </a:lnTo>
                <a:lnTo>
                  <a:pt x="324" y="6"/>
                </a:lnTo>
                <a:lnTo>
                  <a:pt x="328" y="12"/>
                </a:lnTo>
                <a:lnTo>
                  <a:pt x="330" y="14"/>
                </a:lnTo>
                <a:lnTo>
                  <a:pt x="334" y="16"/>
                </a:lnTo>
                <a:lnTo>
                  <a:pt x="338" y="20"/>
                </a:lnTo>
                <a:lnTo>
                  <a:pt x="338" y="20"/>
                </a:lnTo>
                <a:lnTo>
                  <a:pt x="342" y="24"/>
                </a:lnTo>
                <a:lnTo>
                  <a:pt x="346" y="24"/>
                </a:lnTo>
                <a:lnTo>
                  <a:pt x="350" y="24"/>
                </a:lnTo>
                <a:lnTo>
                  <a:pt x="358" y="24"/>
                </a:lnTo>
                <a:lnTo>
                  <a:pt x="358" y="24"/>
                </a:lnTo>
                <a:lnTo>
                  <a:pt x="362" y="24"/>
                </a:lnTo>
                <a:lnTo>
                  <a:pt x="364" y="22"/>
                </a:lnTo>
                <a:lnTo>
                  <a:pt x="368" y="20"/>
                </a:lnTo>
                <a:lnTo>
                  <a:pt x="374" y="24"/>
                </a:lnTo>
                <a:lnTo>
                  <a:pt x="374" y="24"/>
                </a:lnTo>
                <a:lnTo>
                  <a:pt x="392" y="38"/>
                </a:lnTo>
                <a:lnTo>
                  <a:pt x="398" y="42"/>
                </a:lnTo>
                <a:lnTo>
                  <a:pt x="404" y="42"/>
                </a:lnTo>
                <a:lnTo>
                  <a:pt x="404" y="42"/>
                </a:lnTo>
                <a:lnTo>
                  <a:pt x="398" y="52"/>
                </a:lnTo>
                <a:lnTo>
                  <a:pt x="398" y="54"/>
                </a:lnTo>
                <a:lnTo>
                  <a:pt x="400" y="56"/>
                </a:lnTo>
                <a:lnTo>
                  <a:pt x="400" y="64"/>
                </a:lnTo>
                <a:lnTo>
                  <a:pt x="400" y="64"/>
                </a:lnTo>
                <a:lnTo>
                  <a:pt x="400" y="70"/>
                </a:lnTo>
                <a:lnTo>
                  <a:pt x="402" y="74"/>
                </a:lnTo>
                <a:lnTo>
                  <a:pt x="404" y="76"/>
                </a:lnTo>
                <a:lnTo>
                  <a:pt x="406" y="76"/>
                </a:lnTo>
                <a:lnTo>
                  <a:pt x="412" y="78"/>
                </a:lnTo>
                <a:lnTo>
                  <a:pt x="414" y="78"/>
                </a:lnTo>
                <a:lnTo>
                  <a:pt x="416" y="80"/>
                </a:lnTo>
                <a:lnTo>
                  <a:pt x="416" y="80"/>
                </a:lnTo>
                <a:lnTo>
                  <a:pt x="414" y="82"/>
                </a:lnTo>
                <a:lnTo>
                  <a:pt x="412" y="82"/>
                </a:lnTo>
                <a:lnTo>
                  <a:pt x="410" y="86"/>
                </a:lnTo>
                <a:lnTo>
                  <a:pt x="406" y="94"/>
                </a:lnTo>
                <a:lnTo>
                  <a:pt x="406" y="94"/>
                </a:lnTo>
                <a:lnTo>
                  <a:pt x="398" y="110"/>
                </a:lnTo>
                <a:lnTo>
                  <a:pt x="390" y="118"/>
                </a:lnTo>
                <a:lnTo>
                  <a:pt x="384" y="124"/>
                </a:lnTo>
                <a:lnTo>
                  <a:pt x="382" y="132"/>
                </a:lnTo>
                <a:lnTo>
                  <a:pt x="382" y="132"/>
                </a:lnTo>
                <a:lnTo>
                  <a:pt x="378" y="142"/>
                </a:lnTo>
                <a:lnTo>
                  <a:pt x="376" y="148"/>
                </a:lnTo>
                <a:lnTo>
                  <a:pt x="374" y="154"/>
                </a:lnTo>
                <a:lnTo>
                  <a:pt x="378" y="166"/>
                </a:lnTo>
                <a:lnTo>
                  <a:pt x="378" y="166"/>
                </a:lnTo>
                <a:lnTo>
                  <a:pt x="374" y="170"/>
                </a:lnTo>
                <a:lnTo>
                  <a:pt x="372" y="174"/>
                </a:lnTo>
                <a:lnTo>
                  <a:pt x="372" y="182"/>
                </a:lnTo>
                <a:lnTo>
                  <a:pt x="372" y="186"/>
                </a:lnTo>
                <a:lnTo>
                  <a:pt x="372" y="188"/>
                </a:lnTo>
                <a:lnTo>
                  <a:pt x="370" y="192"/>
                </a:lnTo>
                <a:lnTo>
                  <a:pt x="364" y="196"/>
                </a:lnTo>
                <a:lnTo>
                  <a:pt x="364" y="196"/>
                </a:lnTo>
                <a:lnTo>
                  <a:pt x="362" y="196"/>
                </a:lnTo>
                <a:lnTo>
                  <a:pt x="360" y="198"/>
                </a:lnTo>
                <a:lnTo>
                  <a:pt x="358" y="202"/>
                </a:lnTo>
                <a:lnTo>
                  <a:pt x="360" y="210"/>
                </a:lnTo>
                <a:lnTo>
                  <a:pt x="360" y="210"/>
                </a:lnTo>
                <a:lnTo>
                  <a:pt x="366" y="234"/>
                </a:lnTo>
                <a:lnTo>
                  <a:pt x="368" y="238"/>
                </a:lnTo>
                <a:lnTo>
                  <a:pt x="370" y="240"/>
                </a:lnTo>
                <a:lnTo>
                  <a:pt x="372" y="240"/>
                </a:lnTo>
                <a:lnTo>
                  <a:pt x="372" y="240"/>
                </a:lnTo>
                <a:lnTo>
                  <a:pt x="374" y="242"/>
                </a:lnTo>
                <a:lnTo>
                  <a:pt x="374" y="242"/>
                </a:lnTo>
                <a:lnTo>
                  <a:pt x="370" y="258"/>
                </a:lnTo>
                <a:lnTo>
                  <a:pt x="368" y="270"/>
                </a:lnTo>
                <a:lnTo>
                  <a:pt x="368" y="280"/>
                </a:lnTo>
                <a:lnTo>
                  <a:pt x="368" y="288"/>
                </a:lnTo>
                <a:lnTo>
                  <a:pt x="370" y="298"/>
                </a:lnTo>
                <a:lnTo>
                  <a:pt x="370" y="302"/>
                </a:lnTo>
                <a:lnTo>
                  <a:pt x="368" y="306"/>
                </a:lnTo>
                <a:lnTo>
                  <a:pt x="368" y="306"/>
                </a:lnTo>
                <a:lnTo>
                  <a:pt x="366" y="310"/>
                </a:lnTo>
                <a:lnTo>
                  <a:pt x="368" y="314"/>
                </a:lnTo>
                <a:lnTo>
                  <a:pt x="374" y="326"/>
                </a:lnTo>
                <a:lnTo>
                  <a:pt x="384" y="340"/>
                </a:lnTo>
                <a:lnTo>
                  <a:pt x="386" y="346"/>
                </a:lnTo>
                <a:lnTo>
                  <a:pt x="388" y="354"/>
                </a:lnTo>
                <a:lnTo>
                  <a:pt x="358" y="364"/>
                </a:lnTo>
                <a:lnTo>
                  <a:pt x="358" y="364"/>
                </a:lnTo>
                <a:lnTo>
                  <a:pt x="360" y="368"/>
                </a:lnTo>
                <a:lnTo>
                  <a:pt x="360" y="374"/>
                </a:lnTo>
                <a:lnTo>
                  <a:pt x="358" y="380"/>
                </a:lnTo>
                <a:lnTo>
                  <a:pt x="352" y="384"/>
                </a:lnTo>
                <a:lnTo>
                  <a:pt x="352" y="384"/>
                </a:lnTo>
                <a:lnTo>
                  <a:pt x="354" y="390"/>
                </a:lnTo>
                <a:lnTo>
                  <a:pt x="356" y="392"/>
                </a:lnTo>
                <a:lnTo>
                  <a:pt x="358" y="394"/>
                </a:lnTo>
                <a:lnTo>
                  <a:pt x="358" y="398"/>
                </a:lnTo>
                <a:lnTo>
                  <a:pt x="358" y="398"/>
                </a:lnTo>
                <a:lnTo>
                  <a:pt x="356" y="402"/>
                </a:lnTo>
                <a:lnTo>
                  <a:pt x="356" y="406"/>
                </a:lnTo>
                <a:lnTo>
                  <a:pt x="354" y="410"/>
                </a:lnTo>
                <a:lnTo>
                  <a:pt x="350" y="414"/>
                </a:lnTo>
                <a:lnTo>
                  <a:pt x="350" y="414"/>
                </a:lnTo>
                <a:lnTo>
                  <a:pt x="348" y="418"/>
                </a:lnTo>
                <a:lnTo>
                  <a:pt x="346" y="422"/>
                </a:lnTo>
                <a:lnTo>
                  <a:pt x="346" y="430"/>
                </a:lnTo>
                <a:lnTo>
                  <a:pt x="346" y="436"/>
                </a:lnTo>
                <a:lnTo>
                  <a:pt x="348" y="440"/>
                </a:lnTo>
                <a:lnTo>
                  <a:pt x="348" y="440"/>
                </a:lnTo>
                <a:lnTo>
                  <a:pt x="346" y="442"/>
                </a:lnTo>
                <a:lnTo>
                  <a:pt x="346" y="446"/>
                </a:lnTo>
                <a:lnTo>
                  <a:pt x="356" y="454"/>
                </a:lnTo>
                <a:lnTo>
                  <a:pt x="356" y="454"/>
                </a:lnTo>
                <a:lnTo>
                  <a:pt x="362" y="458"/>
                </a:lnTo>
                <a:lnTo>
                  <a:pt x="364" y="458"/>
                </a:lnTo>
                <a:lnTo>
                  <a:pt x="364" y="456"/>
                </a:lnTo>
                <a:lnTo>
                  <a:pt x="368" y="456"/>
                </a:lnTo>
                <a:lnTo>
                  <a:pt x="368" y="482"/>
                </a:lnTo>
                <a:lnTo>
                  <a:pt x="368" y="482"/>
                </a:lnTo>
                <a:lnTo>
                  <a:pt x="364" y="480"/>
                </a:lnTo>
                <a:lnTo>
                  <a:pt x="362" y="480"/>
                </a:lnTo>
                <a:lnTo>
                  <a:pt x="360" y="476"/>
                </a:lnTo>
                <a:lnTo>
                  <a:pt x="360" y="476"/>
                </a:lnTo>
                <a:lnTo>
                  <a:pt x="358" y="474"/>
                </a:lnTo>
                <a:lnTo>
                  <a:pt x="354" y="474"/>
                </a:lnTo>
                <a:lnTo>
                  <a:pt x="348" y="472"/>
                </a:lnTo>
                <a:lnTo>
                  <a:pt x="342" y="466"/>
                </a:lnTo>
                <a:lnTo>
                  <a:pt x="342" y="466"/>
                </a:lnTo>
                <a:lnTo>
                  <a:pt x="334" y="458"/>
                </a:lnTo>
                <a:lnTo>
                  <a:pt x="328" y="456"/>
                </a:lnTo>
                <a:lnTo>
                  <a:pt x="322" y="454"/>
                </a:lnTo>
                <a:lnTo>
                  <a:pt x="318" y="450"/>
                </a:lnTo>
                <a:lnTo>
                  <a:pt x="318" y="450"/>
                </a:lnTo>
                <a:lnTo>
                  <a:pt x="312" y="446"/>
                </a:lnTo>
                <a:lnTo>
                  <a:pt x="308" y="448"/>
                </a:lnTo>
                <a:lnTo>
                  <a:pt x="304" y="448"/>
                </a:lnTo>
                <a:lnTo>
                  <a:pt x="296" y="448"/>
                </a:lnTo>
                <a:lnTo>
                  <a:pt x="296" y="448"/>
                </a:lnTo>
                <a:lnTo>
                  <a:pt x="288" y="446"/>
                </a:lnTo>
                <a:lnTo>
                  <a:pt x="286" y="446"/>
                </a:lnTo>
                <a:lnTo>
                  <a:pt x="284" y="446"/>
                </a:lnTo>
                <a:lnTo>
                  <a:pt x="280" y="444"/>
                </a:lnTo>
                <a:lnTo>
                  <a:pt x="280" y="444"/>
                </a:lnTo>
                <a:lnTo>
                  <a:pt x="276" y="440"/>
                </a:lnTo>
                <a:lnTo>
                  <a:pt x="276" y="436"/>
                </a:lnTo>
                <a:lnTo>
                  <a:pt x="276" y="432"/>
                </a:lnTo>
                <a:lnTo>
                  <a:pt x="276" y="432"/>
                </a:lnTo>
                <a:lnTo>
                  <a:pt x="274" y="430"/>
                </a:lnTo>
                <a:lnTo>
                  <a:pt x="264" y="432"/>
                </a:lnTo>
                <a:lnTo>
                  <a:pt x="264" y="432"/>
                </a:lnTo>
                <a:lnTo>
                  <a:pt x="258" y="432"/>
                </a:lnTo>
                <a:lnTo>
                  <a:pt x="256" y="430"/>
                </a:lnTo>
                <a:lnTo>
                  <a:pt x="254" y="428"/>
                </a:lnTo>
                <a:lnTo>
                  <a:pt x="252" y="426"/>
                </a:lnTo>
                <a:lnTo>
                  <a:pt x="252" y="426"/>
                </a:lnTo>
                <a:lnTo>
                  <a:pt x="238" y="428"/>
                </a:lnTo>
                <a:lnTo>
                  <a:pt x="236" y="426"/>
                </a:lnTo>
                <a:lnTo>
                  <a:pt x="210" y="434"/>
                </a:lnTo>
                <a:lnTo>
                  <a:pt x="210" y="434"/>
                </a:lnTo>
                <a:lnTo>
                  <a:pt x="210" y="420"/>
                </a:lnTo>
                <a:lnTo>
                  <a:pt x="210" y="412"/>
                </a:lnTo>
                <a:lnTo>
                  <a:pt x="208" y="406"/>
                </a:lnTo>
                <a:lnTo>
                  <a:pt x="206" y="404"/>
                </a:lnTo>
                <a:lnTo>
                  <a:pt x="204" y="402"/>
                </a:lnTo>
                <a:lnTo>
                  <a:pt x="202" y="398"/>
                </a:lnTo>
                <a:lnTo>
                  <a:pt x="202" y="390"/>
                </a:lnTo>
                <a:lnTo>
                  <a:pt x="202" y="378"/>
                </a:lnTo>
                <a:lnTo>
                  <a:pt x="202" y="378"/>
                </a:lnTo>
                <a:lnTo>
                  <a:pt x="200" y="366"/>
                </a:lnTo>
                <a:lnTo>
                  <a:pt x="200" y="356"/>
                </a:lnTo>
                <a:lnTo>
                  <a:pt x="198" y="348"/>
                </a:lnTo>
                <a:lnTo>
                  <a:pt x="200" y="340"/>
                </a:lnTo>
                <a:lnTo>
                  <a:pt x="200" y="340"/>
                </a:lnTo>
                <a:lnTo>
                  <a:pt x="202" y="334"/>
                </a:lnTo>
                <a:lnTo>
                  <a:pt x="200" y="330"/>
                </a:lnTo>
                <a:lnTo>
                  <a:pt x="196" y="328"/>
                </a:lnTo>
                <a:lnTo>
                  <a:pt x="188" y="328"/>
                </a:lnTo>
                <a:lnTo>
                  <a:pt x="188" y="328"/>
                </a:lnTo>
                <a:lnTo>
                  <a:pt x="182" y="328"/>
                </a:lnTo>
                <a:lnTo>
                  <a:pt x="182" y="326"/>
                </a:lnTo>
                <a:lnTo>
                  <a:pt x="182" y="324"/>
                </a:lnTo>
                <a:lnTo>
                  <a:pt x="178" y="322"/>
                </a:lnTo>
                <a:lnTo>
                  <a:pt x="178" y="322"/>
                </a:lnTo>
                <a:lnTo>
                  <a:pt x="172" y="322"/>
                </a:lnTo>
                <a:lnTo>
                  <a:pt x="170" y="324"/>
                </a:lnTo>
                <a:lnTo>
                  <a:pt x="168" y="324"/>
                </a:lnTo>
                <a:lnTo>
                  <a:pt x="160" y="326"/>
                </a:lnTo>
                <a:lnTo>
                  <a:pt x="160" y="326"/>
                </a:lnTo>
                <a:lnTo>
                  <a:pt x="154" y="328"/>
                </a:lnTo>
                <a:lnTo>
                  <a:pt x="152" y="330"/>
                </a:lnTo>
                <a:lnTo>
                  <a:pt x="152" y="334"/>
                </a:lnTo>
                <a:lnTo>
                  <a:pt x="152" y="336"/>
                </a:lnTo>
                <a:lnTo>
                  <a:pt x="152" y="336"/>
                </a:lnTo>
                <a:lnTo>
                  <a:pt x="150" y="340"/>
                </a:lnTo>
                <a:lnTo>
                  <a:pt x="148" y="346"/>
                </a:lnTo>
                <a:lnTo>
                  <a:pt x="146" y="348"/>
                </a:lnTo>
                <a:lnTo>
                  <a:pt x="140" y="346"/>
                </a:lnTo>
                <a:lnTo>
                  <a:pt x="140" y="346"/>
                </a:lnTo>
                <a:lnTo>
                  <a:pt x="136" y="344"/>
                </a:lnTo>
                <a:lnTo>
                  <a:pt x="132" y="346"/>
                </a:lnTo>
                <a:lnTo>
                  <a:pt x="128" y="348"/>
                </a:lnTo>
                <a:lnTo>
                  <a:pt x="120" y="350"/>
                </a:lnTo>
                <a:lnTo>
                  <a:pt x="120" y="350"/>
                </a:lnTo>
                <a:lnTo>
                  <a:pt x="116" y="350"/>
                </a:lnTo>
                <a:lnTo>
                  <a:pt x="112" y="348"/>
                </a:lnTo>
                <a:lnTo>
                  <a:pt x="110" y="342"/>
                </a:lnTo>
                <a:lnTo>
                  <a:pt x="108" y="334"/>
                </a:lnTo>
                <a:lnTo>
                  <a:pt x="106" y="330"/>
                </a:lnTo>
                <a:lnTo>
                  <a:pt x="102" y="326"/>
                </a:lnTo>
                <a:lnTo>
                  <a:pt x="102" y="326"/>
                </a:lnTo>
                <a:lnTo>
                  <a:pt x="98" y="322"/>
                </a:lnTo>
                <a:lnTo>
                  <a:pt x="98" y="316"/>
                </a:lnTo>
                <a:lnTo>
                  <a:pt x="96" y="306"/>
                </a:lnTo>
                <a:lnTo>
                  <a:pt x="96" y="298"/>
                </a:lnTo>
                <a:lnTo>
                  <a:pt x="94" y="294"/>
                </a:lnTo>
                <a:lnTo>
                  <a:pt x="90" y="294"/>
                </a:lnTo>
                <a:lnTo>
                  <a:pt x="90" y="294"/>
                </a:lnTo>
                <a:lnTo>
                  <a:pt x="82" y="294"/>
                </a:lnTo>
                <a:lnTo>
                  <a:pt x="76" y="292"/>
                </a:lnTo>
                <a:lnTo>
                  <a:pt x="72" y="292"/>
                </a:lnTo>
                <a:lnTo>
                  <a:pt x="64" y="292"/>
                </a:lnTo>
                <a:lnTo>
                  <a:pt x="64" y="292"/>
                </a:lnTo>
                <a:lnTo>
                  <a:pt x="38" y="292"/>
                </a:lnTo>
                <a:lnTo>
                  <a:pt x="30" y="292"/>
                </a:lnTo>
                <a:lnTo>
                  <a:pt x="22" y="294"/>
                </a:lnTo>
                <a:lnTo>
                  <a:pt x="22" y="294"/>
                </a:lnTo>
                <a:lnTo>
                  <a:pt x="18" y="296"/>
                </a:lnTo>
                <a:lnTo>
                  <a:pt x="14" y="296"/>
                </a:lnTo>
                <a:lnTo>
                  <a:pt x="12" y="296"/>
                </a:lnTo>
                <a:lnTo>
                  <a:pt x="10" y="298"/>
                </a:lnTo>
                <a:lnTo>
                  <a:pt x="10" y="298"/>
                </a:lnTo>
                <a:lnTo>
                  <a:pt x="6" y="298"/>
                </a:lnTo>
                <a:lnTo>
                  <a:pt x="2" y="298"/>
                </a:lnTo>
                <a:lnTo>
                  <a:pt x="0" y="294"/>
                </a:lnTo>
                <a:lnTo>
                  <a:pt x="0" y="294"/>
                </a:lnTo>
                <a:lnTo>
                  <a:pt x="6" y="292"/>
                </a:lnTo>
                <a:lnTo>
                  <a:pt x="10" y="290"/>
                </a:lnTo>
                <a:lnTo>
                  <a:pt x="6" y="276"/>
                </a:lnTo>
                <a:lnTo>
                  <a:pt x="6" y="276"/>
                </a:lnTo>
                <a:lnTo>
                  <a:pt x="6" y="266"/>
                </a:lnTo>
                <a:lnTo>
                  <a:pt x="10" y="260"/>
                </a:lnTo>
                <a:lnTo>
                  <a:pt x="12" y="258"/>
                </a:lnTo>
                <a:lnTo>
                  <a:pt x="16" y="254"/>
                </a:lnTo>
                <a:lnTo>
                  <a:pt x="16" y="254"/>
                </a:lnTo>
                <a:lnTo>
                  <a:pt x="24" y="260"/>
                </a:lnTo>
                <a:lnTo>
                  <a:pt x="28" y="260"/>
                </a:lnTo>
                <a:lnTo>
                  <a:pt x="32" y="258"/>
                </a:lnTo>
                <a:lnTo>
                  <a:pt x="32" y="258"/>
                </a:lnTo>
                <a:lnTo>
                  <a:pt x="36" y="254"/>
                </a:lnTo>
                <a:lnTo>
                  <a:pt x="38" y="254"/>
                </a:lnTo>
                <a:lnTo>
                  <a:pt x="38" y="256"/>
                </a:lnTo>
                <a:lnTo>
                  <a:pt x="42" y="256"/>
                </a:lnTo>
                <a:lnTo>
                  <a:pt x="42" y="256"/>
                </a:lnTo>
                <a:lnTo>
                  <a:pt x="46" y="256"/>
                </a:lnTo>
                <a:lnTo>
                  <a:pt x="48" y="258"/>
                </a:lnTo>
                <a:lnTo>
                  <a:pt x="50" y="264"/>
                </a:lnTo>
                <a:lnTo>
                  <a:pt x="52" y="266"/>
                </a:lnTo>
                <a:lnTo>
                  <a:pt x="52" y="266"/>
                </a:lnTo>
                <a:lnTo>
                  <a:pt x="58" y="258"/>
                </a:lnTo>
                <a:lnTo>
                  <a:pt x="58" y="258"/>
                </a:lnTo>
                <a:lnTo>
                  <a:pt x="62" y="250"/>
                </a:lnTo>
                <a:lnTo>
                  <a:pt x="66" y="246"/>
                </a:lnTo>
                <a:lnTo>
                  <a:pt x="72" y="242"/>
                </a:lnTo>
                <a:lnTo>
                  <a:pt x="78" y="240"/>
                </a:lnTo>
                <a:lnTo>
                  <a:pt x="80" y="236"/>
                </a:lnTo>
                <a:lnTo>
                  <a:pt x="84" y="230"/>
                </a:lnTo>
                <a:lnTo>
                  <a:pt x="84" y="230"/>
                </a:lnTo>
                <a:lnTo>
                  <a:pt x="90" y="216"/>
                </a:lnTo>
                <a:lnTo>
                  <a:pt x="92" y="202"/>
                </a:lnTo>
                <a:lnTo>
                  <a:pt x="94" y="188"/>
                </a:lnTo>
                <a:lnTo>
                  <a:pt x="98" y="176"/>
                </a:lnTo>
                <a:lnTo>
                  <a:pt x="98" y="176"/>
                </a:lnTo>
                <a:lnTo>
                  <a:pt x="102" y="172"/>
                </a:lnTo>
                <a:lnTo>
                  <a:pt x="106" y="170"/>
                </a:lnTo>
                <a:lnTo>
                  <a:pt x="110" y="166"/>
                </a:lnTo>
                <a:lnTo>
                  <a:pt x="120" y="150"/>
                </a:lnTo>
                <a:lnTo>
                  <a:pt x="120" y="150"/>
                </a:lnTo>
                <a:lnTo>
                  <a:pt x="124" y="140"/>
                </a:lnTo>
                <a:lnTo>
                  <a:pt x="126" y="134"/>
                </a:lnTo>
                <a:lnTo>
                  <a:pt x="124" y="126"/>
                </a:lnTo>
                <a:lnTo>
                  <a:pt x="126" y="112"/>
                </a:lnTo>
                <a:lnTo>
                  <a:pt x="126" y="112"/>
                </a:lnTo>
                <a:lnTo>
                  <a:pt x="128" y="92"/>
                </a:lnTo>
                <a:lnTo>
                  <a:pt x="130" y="84"/>
                </a:lnTo>
                <a:lnTo>
                  <a:pt x="132" y="80"/>
                </a:lnTo>
                <a:lnTo>
                  <a:pt x="132" y="76"/>
                </a:lnTo>
                <a:lnTo>
                  <a:pt x="132" y="76"/>
                </a:lnTo>
                <a:lnTo>
                  <a:pt x="130" y="70"/>
                </a:lnTo>
                <a:lnTo>
                  <a:pt x="132" y="66"/>
                </a:lnTo>
                <a:lnTo>
                  <a:pt x="136" y="58"/>
                </a:lnTo>
                <a:lnTo>
                  <a:pt x="138" y="42"/>
                </a:lnTo>
                <a:lnTo>
                  <a:pt x="138" y="42"/>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18" name="Freeform 55"/>
          <p:cNvSpPr>
            <a:spLocks/>
          </p:cNvSpPr>
          <p:nvPr/>
        </p:nvSpPr>
        <p:spPr bwMode="auto">
          <a:xfrm>
            <a:off x="5054177" y="3077975"/>
            <a:ext cx="264344" cy="459777"/>
          </a:xfrm>
          <a:custGeom>
            <a:avLst/>
            <a:gdLst/>
            <a:ahLst/>
            <a:cxnLst>
              <a:cxn ang="0">
                <a:pos x="36" y="274"/>
              </a:cxn>
              <a:cxn ang="0">
                <a:pos x="36" y="266"/>
              </a:cxn>
              <a:cxn ang="0">
                <a:pos x="40" y="262"/>
              </a:cxn>
              <a:cxn ang="0">
                <a:pos x="54" y="244"/>
              </a:cxn>
              <a:cxn ang="0">
                <a:pos x="52" y="234"/>
              </a:cxn>
              <a:cxn ang="0">
                <a:pos x="46" y="224"/>
              </a:cxn>
              <a:cxn ang="0">
                <a:pos x="58" y="202"/>
              </a:cxn>
              <a:cxn ang="0">
                <a:pos x="58" y="186"/>
              </a:cxn>
              <a:cxn ang="0">
                <a:pos x="60" y="168"/>
              </a:cxn>
              <a:cxn ang="0">
                <a:pos x="52" y="152"/>
              </a:cxn>
              <a:cxn ang="0">
                <a:pos x="30" y="146"/>
              </a:cxn>
              <a:cxn ang="0">
                <a:pos x="10" y="140"/>
              </a:cxn>
              <a:cxn ang="0">
                <a:pos x="2" y="124"/>
              </a:cxn>
              <a:cxn ang="0">
                <a:pos x="0" y="116"/>
              </a:cxn>
              <a:cxn ang="0">
                <a:pos x="52" y="98"/>
              </a:cxn>
              <a:cxn ang="0">
                <a:pos x="76" y="100"/>
              </a:cxn>
              <a:cxn ang="0">
                <a:pos x="84" y="106"/>
              </a:cxn>
              <a:cxn ang="0">
                <a:pos x="94" y="102"/>
              </a:cxn>
              <a:cxn ang="0">
                <a:pos x="94" y="124"/>
              </a:cxn>
              <a:cxn ang="0">
                <a:pos x="92" y="138"/>
              </a:cxn>
              <a:cxn ang="0">
                <a:pos x="104" y="154"/>
              </a:cxn>
              <a:cxn ang="0">
                <a:pos x="114" y="164"/>
              </a:cxn>
              <a:cxn ang="0">
                <a:pos x="114" y="154"/>
              </a:cxn>
              <a:cxn ang="0">
                <a:pos x="120" y="138"/>
              </a:cxn>
              <a:cxn ang="0">
                <a:pos x="124" y="122"/>
              </a:cxn>
              <a:cxn ang="0">
                <a:pos x="128" y="106"/>
              </a:cxn>
              <a:cxn ang="0">
                <a:pos x="116" y="88"/>
              </a:cxn>
              <a:cxn ang="0">
                <a:pos x="108" y="78"/>
              </a:cxn>
              <a:cxn ang="0">
                <a:pos x="112" y="52"/>
              </a:cxn>
              <a:cxn ang="0">
                <a:pos x="110" y="38"/>
              </a:cxn>
              <a:cxn ang="0">
                <a:pos x="122" y="26"/>
              </a:cxn>
              <a:cxn ang="0">
                <a:pos x="138" y="26"/>
              </a:cxn>
              <a:cxn ang="0">
                <a:pos x="154" y="28"/>
              </a:cxn>
              <a:cxn ang="0">
                <a:pos x="164" y="26"/>
              </a:cxn>
              <a:cxn ang="0">
                <a:pos x="180" y="20"/>
              </a:cxn>
              <a:cxn ang="0">
                <a:pos x="184" y="14"/>
              </a:cxn>
              <a:cxn ang="0">
                <a:pos x="202" y="14"/>
              </a:cxn>
              <a:cxn ang="0">
                <a:pos x="228" y="0"/>
              </a:cxn>
              <a:cxn ang="0">
                <a:pos x="230" y="20"/>
              </a:cxn>
              <a:cxn ang="0">
                <a:pos x="228" y="36"/>
              </a:cxn>
              <a:cxn ang="0">
                <a:pos x="228" y="62"/>
              </a:cxn>
              <a:cxn ang="0">
                <a:pos x="228" y="94"/>
              </a:cxn>
              <a:cxn ang="0">
                <a:pos x="224" y="132"/>
              </a:cxn>
              <a:cxn ang="0">
                <a:pos x="214" y="142"/>
              </a:cxn>
              <a:cxn ang="0">
                <a:pos x="194" y="166"/>
              </a:cxn>
              <a:cxn ang="0">
                <a:pos x="174" y="174"/>
              </a:cxn>
              <a:cxn ang="0">
                <a:pos x="158" y="184"/>
              </a:cxn>
              <a:cxn ang="0">
                <a:pos x="130" y="204"/>
              </a:cxn>
              <a:cxn ang="0">
                <a:pos x="108" y="226"/>
              </a:cxn>
              <a:cxn ang="0">
                <a:pos x="88" y="252"/>
              </a:cxn>
              <a:cxn ang="0">
                <a:pos x="92" y="262"/>
              </a:cxn>
              <a:cxn ang="0">
                <a:pos x="100" y="288"/>
              </a:cxn>
              <a:cxn ang="0">
                <a:pos x="102" y="312"/>
              </a:cxn>
              <a:cxn ang="0">
                <a:pos x="98" y="324"/>
              </a:cxn>
              <a:cxn ang="0">
                <a:pos x="92" y="344"/>
              </a:cxn>
              <a:cxn ang="0">
                <a:pos x="68" y="370"/>
              </a:cxn>
              <a:cxn ang="0">
                <a:pos x="36" y="386"/>
              </a:cxn>
              <a:cxn ang="0">
                <a:pos x="38" y="404"/>
              </a:cxn>
              <a:cxn ang="0">
                <a:pos x="24" y="390"/>
              </a:cxn>
              <a:cxn ang="0">
                <a:pos x="22" y="368"/>
              </a:cxn>
              <a:cxn ang="0">
                <a:pos x="28" y="338"/>
              </a:cxn>
              <a:cxn ang="0">
                <a:pos x="22" y="300"/>
              </a:cxn>
            </a:cxnLst>
            <a:rect l="0" t="0" r="r" b="b"/>
            <a:pathLst>
              <a:path w="232" h="404">
                <a:moveTo>
                  <a:pt x="22" y="300"/>
                </a:moveTo>
                <a:lnTo>
                  <a:pt x="22" y="300"/>
                </a:lnTo>
                <a:lnTo>
                  <a:pt x="36" y="274"/>
                </a:lnTo>
                <a:lnTo>
                  <a:pt x="36" y="274"/>
                </a:lnTo>
                <a:lnTo>
                  <a:pt x="36" y="272"/>
                </a:lnTo>
                <a:lnTo>
                  <a:pt x="36" y="270"/>
                </a:lnTo>
                <a:lnTo>
                  <a:pt x="36" y="270"/>
                </a:lnTo>
                <a:lnTo>
                  <a:pt x="36" y="266"/>
                </a:lnTo>
                <a:lnTo>
                  <a:pt x="36" y="266"/>
                </a:lnTo>
                <a:lnTo>
                  <a:pt x="36" y="262"/>
                </a:lnTo>
                <a:lnTo>
                  <a:pt x="38" y="262"/>
                </a:lnTo>
                <a:lnTo>
                  <a:pt x="40" y="262"/>
                </a:lnTo>
                <a:lnTo>
                  <a:pt x="44" y="254"/>
                </a:lnTo>
                <a:lnTo>
                  <a:pt x="44" y="254"/>
                </a:lnTo>
                <a:lnTo>
                  <a:pt x="50" y="246"/>
                </a:lnTo>
                <a:lnTo>
                  <a:pt x="54" y="244"/>
                </a:lnTo>
                <a:lnTo>
                  <a:pt x="56" y="244"/>
                </a:lnTo>
                <a:lnTo>
                  <a:pt x="54" y="238"/>
                </a:lnTo>
                <a:lnTo>
                  <a:pt x="54" y="238"/>
                </a:lnTo>
                <a:lnTo>
                  <a:pt x="52" y="234"/>
                </a:lnTo>
                <a:lnTo>
                  <a:pt x="54" y="232"/>
                </a:lnTo>
                <a:lnTo>
                  <a:pt x="52" y="230"/>
                </a:lnTo>
                <a:lnTo>
                  <a:pt x="46" y="224"/>
                </a:lnTo>
                <a:lnTo>
                  <a:pt x="46" y="224"/>
                </a:lnTo>
                <a:lnTo>
                  <a:pt x="54" y="214"/>
                </a:lnTo>
                <a:lnTo>
                  <a:pt x="56" y="208"/>
                </a:lnTo>
                <a:lnTo>
                  <a:pt x="56" y="204"/>
                </a:lnTo>
                <a:lnTo>
                  <a:pt x="58" y="202"/>
                </a:lnTo>
                <a:lnTo>
                  <a:pt x="58" y="202"/>
                </a:lnTo>
                <a:lnTo>
                  <a:pt x="62" y="198"/>
                </a:lnTo>
                <a:lnTo>
                  <a:pt x="60" y="192"/>
                </a:lnTo>
                <a:lnTo>
                  <a:pt x="58" y="186"/>
                </a:lnTo>
                <a:lnTo>
                  <a:pt x="58" y="180"/>
                </a:lnTo>
                <a:lnTo>
                  <a:pt x="58" y="180"/>
                </a:lnTo>
                <a:lnTo>
                  <a:pt x="58" y="172"/>
                </a:lnTo>
                <a:lnTo>
                  <a:pt x="60" y="168"/>
                </a:lnTo>
                <a:lnTo>
                  <a:pt x="62" y="166"/>
                </a:lnTo>
                <a:lnTo>
                  <a:pt x="58" y="160"/>
                </a:lnTo>
                <a:lnTo>
                  <a:pt x="58" y="160"/>
                </a:lnTo>
                <a:lnTo>
                  <a:pt x="52" y="152"/>
                </a:lnTo>
                <a:lnTo>
                  <a:pt x="44" y="152"/>
                </a:lnTo>
                <a:lnTo>
                  <a:pt x="44" y="152"/>
                </a:lnTo>
                <a:lnTo>
                  <a:pt x="36" y="148"/>
                </a:lnTo>
                <a:lnTo>
                  <a:pt x="30" y="146"/>
                </a:lnTo>
                <a:lnTo>
                  <a:pt x="26" y="142"/>
                </a:lnTo>
                <a:lnTo>
                  <a:pt x="16" y="140"/>
                </a:lnTo>
                <a:lnTo>
                  <a:pt x="16" y="140"/>
                </a:lnTo>
                <a:lnTo>
                  <a:pt x="10" y="140"/>
                </a:lnTo>
                <a:lnTo>
                  <a:pt x="8" y="138"/>
                </a:lnTo>
                <a:lnTo>
                  <a:pt x="4" y="128"/>
                </a:lnTo>
                <a:lnTo>
                  <a:pt x="4" y="128"/>
                </a:lnTo>
                <a:lnTo>
                  <a:pt x="2" y="124"/>
                </a:lnTo>
                <a:lnTo>
                  <a:pt x="2" y="120"/>
                </a:lnTo>
                <a:lnTo>
                  <a:pt x="2" y="120"/>
                </a:lnTo>
                <a:lnTo>
                  <a:pt x="0" y="116"/>
                </a:lnTo>
                <a:lnTo>
                  <a:pt x="0" y="116"/>
                </a:lnTo>
                <a:lnTo>
                  <a:pt x="16" y="110"/>
                </a:lnTo>
                <a:lnTo>
                  <a:pt x="36" y="104"/>
                </a:lnTo>
                <a:lnTo>
                  <a:pt x="36" y="104"/>
                </a:lnTo>
                <a:lnTo>
                  <a:pt x="52" y="98"/>
                </a:lnTo>
                <a:lnTo>
                  <a:pt x="68" y="90"/>
                </a:lnTo>
                <a:lnTo>
                  <a:pt x="68" y="90"/>
                </a:lnTo>
                <a:lnTo>
                  <a:pt x="72" y="96"/>
                </a:lnTo>
                <a:lnTo>
                  <a:pt x="76" y="100"/>
                </a:lnTo>
                <a:lnTo>
                  <a:pt x="78" y="104"/>
                </a:lnTo>
                <a:lnTo>
                  <a:pt x="80" y="106"/>
                </a:lnTo>
                <a:lnTo>
                  <a:pt x="80" y="106"/>
                </a:lnTo>
                <a:lnTo>
                  <a:pt x="84" y="106"/>
                </a:lnTo>
                <a:lnTo>
                  <a:pt x="88" y="104"/>
                </a:lnTo>
                <a:lnTo>
                  <a:pt x="92" y="102"/>
                </a:lnTo>
                <a:lnTo>
                  <a:pt x="94" y="102"/>
                </a:lnTo>
                <a:lnTo>
                  <a:pt x="94" y="102"/>
                </a:lnTo>
                <a:lnTo>
                  <a:pt x="96" y="106"/>
                </a:lnTo>
                <a:lnTo>
                  <a:pt x="96" y="114"/>
                </a:lnTo>
                <a:lnTo>
                  <a:pt x="96" y="122"/>
                </a:lnTo>
                <a:lnTo>
                  <a:pt x="94" y="124"/>
                </a:lnTo>
                <a:lnTo>
                  <a:pt x="94" y="124"/>
                </a:lnTo>
                <a:lnTo>
                  <a:pt x="92" y="126"/>
                </a:lnTo>
                <a:lnTo>
                  <a:pt x="90" y="128"/>
                </a:lnTo>
                <a:lnTo>
                  <a:pt x="92" y="138"/>
                </a:lnTo>
                <a:lnTo>
                  <a:pt x="98" y="150"/>
                </a:lnTo>
                <a:lnTo>
                  <a:pt x="100" y="154"/>
                </a:lnTo>
                <a:lnTo>
                  <a:pt x="104" y="154"/>
                </a:lnTo>
                <a:lnTo>
                  <a:pt x="104" y="154"/>
                </a:lnTo>
                <a:lnTo>
                  <a:pt x="108" y="158"/>
                </a:lnTo>
                <a:lnTo>
                  <a:pt x="110" y="162"/>
                </a:lnTo>
                <a:lnTo>
                  <a:pt x="112" y="164"/>
                </a:lnTo>
                <a:lnTo>
                  <a:pt x="114" y="164"/>
                </a:lnTo>
                <a:lnTo>
                  <a:pt x="114" y="164"/>
                </a:lnTo>
                <a:lnTo>
                  <a:pt x="116" y="162"/>
                </a:lnTo>
                <a:lnTo>
                  <a:pt x="116" y="160"/>
                </a:lnTo>
                <a:lnTo>
                  <a:pt x="114" y="154"/>
                </a:lnTo>
                <a:lnTo>
                  <a:pt x="116" y="146"/>
                </a:lnTo>
                <a:lnTo>
                  <a:pt x="118" y="142"/>
                </a:lnTo>
                <a:lnTo>
                  <a:pt x="120" y="138"/>
                </a:lnTo>
                <a:lnTo>
                  <a:pt x="120" y="138"/>
                </a:lnTo>
                <a:lnTo>
                  <a:pt x="124" y="136"/>
                </a:lnTo>
                <a:lnTo>
                  <a:pt x="126" y="132"/>
                </a:lnTo>
                <a:lnTo>
                  <a:pt x="126" y="128"/>
                </a:lnTo>
                <a:lnTo>
                  <a:pt x="124" y="122"/>
                </a:lnTo>
                <a:lnTo>
                  <a:pt x="124" y="118"/>
                </a:lnTo>
                <a:lnTo>
                  <a:pt x="126" y="114"/>
                </a:lnTo>
                <a:lnTo>
                  <a:pt x="126" y="114"/>
                </a:lnTo>
                <a:lnTo>
                  <a:pt x="128" y="106"/>
                </a:lnTo>
                <a:lnTo>
                  <a:pt x="128" y="100"/>
                </a:lnTo>
                <a:lnTo>
                  <a:pt x="124" y="96"/>
                </a:lnTo>
                <a:lnTo>
                  <a:pt x="116" y="88"/>
                </a:lnTo>
                <a:lnTo>
                  <a:pt x="116" y="88"/>
                </a:lnTo>
                <a:lnTo>
                  <a:pt x="114" y="84"/>
                </a:lnTo>
                <a:lnTo>
                  <a:pt x="112" y="80"/>
                </a:lnTo>
                <a:lnTo>
                  <a:pt x="112" y="80"/>
                </a:lnTo>
                <a:lnTo>
                  <a:pt x="108" y="78"/>
                </a:lnTo>
                <a:lnTo>
                  <a:pt x="108" y="74"/>
                </a:lnTo>
                <a:lnTo>
                  <a:pt x="110" y="66"/>
                </a:lnTo>
                <a:lnTo>
                  <a:pt x="112" y="56"/>
                </a:lnTo>
                <a:lnTo>
                  <a:pt x="112" y="52"/>
                </a:lnTo>
                <a:lnTo>
                  <a:pt x="110" y="46"/>
                </a:lnTo>
                <a:lnTo>
                  <a:pt x="110" y="46"/>
                </a:lnTo>
                <a:lnTo>
                  <a:pt x="108" y="42"/>
                </a:lnTo>
                <a:lnTo>
                  <a:pt x="110" y="38"/>
                </a:lnTo>
                <a:lnTo>
                  <a:pt x="112" y="34"/>
                </a:lnTo>
                <a:lnTo>
                  <a:pt x="112" y="28"/>
                </a:lnTo>
                <a:lnTo>
                  <a:pt x="112" y="28"/>
                </a:lnTo>
                <a:lnTo>
                  <a:pt x="122" y="26"/>
                </a:lnTo>
                <a:lnTo>
                  <a:pt x="126" y="22"/>
                </a:lnTo>
                <a:lnTo>
                  <a:pt x="130" y="22"/>
                </a:lnTo>
                <a:lnTo>
                  <a:pt x="138" y="26"/>
                </a:lnTo>
                <a:lnTo>
                  <a:pt x="138" y="26"/>
                </a:lnTo>
                <a:lnTo>
                  <a:pt x="144" y="28"/>
                </a:lnTo>
                <a:lnTo>
                  <a:pt x="148" y="30"/>
                </a:lnTo>
                <a:lnTo>
                  <a:pt x="152" y="30"/>
                </a:lnTo>
                <a:lnTo>
                  <a:pt x="154" y="28"/>
                </a:lnTo>
                <a:lnTo>
                  <a:pt x="156" y="24"/>
                </a:lnTo>
                <a:lnTo>
                  <a:pt x="160" y="24"/>
                </a:lnTo>
                <a:lnTo>
                  <a:pt x="164" y="26"/>
                </a:lnTo>
                <a:lnTo>
                  <a:pt x="164" y="26"/>
                </a:lnTo>
                <a:lnTo>
                  <a:pt x="168" y="26"/>
                </a:lnTo>
                <a:lnTo>
                  <a:pt x="174" y="24"/>
                </a:lnTo>
                <a:lnTo>
                  <a:pt x="178" y="22"/>
                </a:lnTo>
                <a:lnTo>
                  <a:pt x="180" y="20"/>
                </a:lnTo>
                <a:lnTo>
                  <a:pt x="180" y="20"/>
                </a:lnTo>
                <a:lnTo>
                  <a:pt x="178" y="18"/>
                </a:lnTo>
                <a:lnTo>
                  <a:pt x="178" y="16"/>
                </a:lnTo>
                <a:lnTo>
                  <a:pt x="184" y="14"/>
                </a:lnTo>
                <a:lnTo>
                  <a:pt x="190" y="14"/>
                </a:lnTo>
                <a:lnTo>
                  <a:pt x="196" y="14"/>
                </a:lnTo>
                <a:lnTo>
                  <a:pt x="196" y="14"/>
                </a:lnTo>
                <a:lnTo>
                  <a:pt x="202" y="14"/>
                </a:lnTo>
                <a:lnTo>
                  <a:pt x="212" y="12"/>
                </a:lnTo>
                <a:lnTo>
                  <a:pt x="222" y="8"/>
                </a:lnTo>
                <a:lnTo>
                  <a:pt x="226" y="4"/>
                </a:lnTo>
                <a:lnTo>
                  <a:pt x="228" y="0"/>
                </a:lnTo>
                <a:lnTo>
                  <a:pt x="228" y="0"/>
                </a:lnTo>
                <a:lnTo>
                  <a:pt x="230" y="6"/>
                </a:lnTo>
                <a:lnTo>
                  <a:pt x="230" y="14"/>
                </a:lnTo>
                <a:lnTo>
                  <a:pt x="230" y="20"/>
                </a:lnTo>
                <a:lnTo>
                  <a:pt x="230" y="26"/>
                </a:lnTo>
                <a:lnTo>
                  <a:pt x="230" y="26"/>
                </a:lnTo>
                <a:lnTo>
                  <a:pt x="230" y="32"/>
                </a:lnTo>
                <a:lnTo>
                  <a:pt x="228" y="36"/>
                </a:lnTo>
                <a:lnTo>
                  <a:pt x="226" y="42"/>
                </a:lnTo>
                <a:lnTo>
                  <a:pt x="228" y="52"/>
                </a:lnTo>
                <a:lnTo>
                  <a:pt x="228" y="52"/>
                </a:lnTo>
                <a:lnTo>
                  <a:pt x="228" y="62"/>
                </a:lnTo>
                <a:lnTo>
                  <a:pt x="226" y="70"/>
                </a:lnTo>
                <a:lnTo>
                  <a:pt x="224" y="80"/>
                </a:lnTo>
                <a:lnTo>
                  <a:pt x="228" y="94"/>
                </a:lnTo>
                <a:lnTo>
                  <a:pt x="228" y="94"/>
                </a:lnTo>
                <a:lnTo>
                  <a:pt x="232" y="106"/>
                </a:lnTo>
                <a:lnTo>
                  <a:pt x="232" y="114"/>
                </a:lnTo>
                <a:lnTo>
                  <a:pt x="230" y="120"/>
                </a:lnTo>
                <a:lnTo>
                  <a:pt x="224" y="132"/>
                </a:lnTo>
                <a:lnTo>
                  <a:pt x="224" y="132"/>
                </a:lnTo>
                <a:lnTo>
                  <a:pt x="220" y="140"/>
                </a:lnTo>
                <a:lnTo>
                  <a:pt x="216" y="140"/>
                </a:lnTo>
                <a:lnTo>
                  <a:pt x="214" y="142"/>
                </a:lnTo>
                <a:lnTo>
                  <a:pt x="210" y="148"/>
                </a:lnTo>
                <a:lnTo>
                  <a:pt x="210" y="148"/>
                </a:lnTo>
                <a:lnTo>
                  <a:pt x="204" y="158"/>
                </a:lnTo>
                <a:lnTo>
                  <a:pt x="194" y="166"/>
                </a:lnTo>
                <a:lnTo>
                  <a:pt x="184" y="172"/>
                </a:lnTo>
                <a:lnTo>
                  <a:pt x="180" y="174"/>
                </a:lnTo>
                <a:lnTo>
                  <a:pt x="174" y="174"/>
                </a:lnTo>
                <a:lnTo>
                  <a:pt x="174" y="174"/>
                </a:lnTo>
                <a:lnTo>
                  <a:pt x="172" y="176"/>
                </a:lnTo>
                <a:lnTo>
                  <a:pt x="172" y="178"/>
                </a:lnTo>
                <a:lnTo>
                  <a:pt x="168" y="182"/>
                </a:lnTo>
                <a:lnTo>
                  <a:pt x="158" y="184"/>
                </a:lnTo>
                <a:lnTo>
                  <a:pt x="158" y="184"/>
                </a:lnTo>
                <a:lnTo>
                  <a:pt x="152" y="186"/>
                </a:lnTo>
                <a:lnTo>
                  <a:pt x="144" y="192"/>
                </a:lnTo>
                <a:lnTo>
                  <a:pt x="130" y="204"/>
                </a:lnTo>
                <a:lnTo>
                  <a:pt x="118" y="218"/>
                </a:lnTo>
                <a:lnTo>
                  <a:pt x="112" y="222"/>
                </a:lnTo>
                <a:lnTo>
                  <a:pt x="108" y="226"/>
                </a:lnTo>
                <a:lnTo>
                  <a:pt x="108" y="226"/>
                </a:lnTo>
                <a:lnTo>
                  <a:pt x="102" y="230"/>
                </a:lnTo>
                <a:lnTo>
                  <a:pt x="96" y="234"/>
                </a:lnTo>
                <a:lnTo>
                  <a:pt x="90" y="246"/>
                </a:lnTo>
                <a:lnTo>
                  <a:pt x="88" y="252"/>
                </a:lnTo>
                <a:lnTo>
                  <a:pt x="88" y="256"/>
                </a:lnTo>
                <a:lnTo>
                  <a:pt x="88" y="260"/>
                </a:lnTo>
                <a:lnTo>
                  <a:pt x="92" y="262"/>
                </a:lnTo>
                <a:lnTo>
                  <a:pt x="92" y="262"/>
                </a:lnTo>
                <a:lnTo>
                  <a:pt x="94" y="266"/>
                </a:lnTo>
                <a:lnTo>
                  <a:pt x="96" y="270"/>
                </a:lnTo>
                <a:lnTo>
                  <a:pt x="96" y="278"/>
                </a:lnTo>
                <a:lnTo>
                  <a:pt x="100" y="288"/>
                </a:lnTo>
                <a:lnTo>
                  <a:pt x="100" y="288"/>
                </a:lnTo>
                <a:lnTo>
                  <a:pt x="100" y="298"/>
                </a:lnTo>
                <a:lnTo>
                  <a:pt x="100" y="304"/>
                </a:lnTo>
                <a:lnTo>
                  <a:pt x="102" y="312"/>
                </a:lnTo>
                <a:lnTo>
                  <a:pt x="102" y="312"/>
                </a:lnTo>
                <a:lnTo>
                  <a:pt x="102" y="316"/>
                </a:lnTo>
                <a:lnTo>
                  <a:pt x="102" y="320"/>
                </a:lnTo>
                <a:lnTo>
                  <a:pt x="98" y="324"/>
                </a:lnTo>
                <a:lnTo>
                  <a:pt x="96" y="330"/>
                </a:lnTo>
                <a:lnTo>
                  <a:pt x="94" y="338"/>
                </a:lnTo>
                <a:lnTo>
                  <a:pt x="94" y="338"/>
                </a:lnTo>
                <a:lnTo>
                  <a:pt x="92" y="344"/>
                </a:lnTo>
                <a:lnTo>
                  <a:pt x="88" y="354"/>
                </a:lnTo>
                <a:lnTo>
                  <a:pt x="82" y="358"/>
                </a:lnTo>
                <a:lnTo>
                  <a:pt x="76" y="364"/>
                </a:lnTo>
                <a:lnTo>
                  <a:pt x="68" y="370"/>
                </a:lnTo>
                <a:lnTo>
                  <a:pt x="58" y="374"/>
                </a:lnTo>
                <a:lnTo>
                  <a:pt x="58" y="374"/>
                </a:lnTo>
                <a:lnTo>
                  <a:pt x="40" y="382"/>
                </a:lnTo>
                <a:lnTo>
                  <a:pt x="36" y="386"/>
                </a:lnTo>
                <a:lnTo>
                  <a:pt x="36" y="388"/>
                </a:lnTo>
                <a:lnTo>
                  <a:pt x="38" y="394"/>
                </a:lnTo>
                <a:lnTo>
                  <a:pt x="38" y="398"/>
                </a:lnTo>
                <a:lnTo>
                  <a:pt x="38" y="404"/>
                </a:lnTo>
                <a:lnTo>
                  <a:pt x="26" y="404"/>
                </a:lnTo>
                <a:lnTo>
                  <a:pt x="26" y="404"/>
                </a:lnTo>
                <a:lnTo>
                  <a:pt x="24" y="396"/>
                </a:lnTo>
                <a:lnTo>
                  <a:pt x="24" y="390"/>
                </a:lnTo>
                <a:lnTo>
                  <a:pt x="22" y="386"/>
                </a:lnTo>
                <a:lnTo>
                  <a:pt x="18" y="382"/>
                </a:lnTo>
                <a:lnTo>
                  <a:pt x="18" y="382"/>
                </a:lnTo>
                <a:lnTo>
                  <a:pt x="22" y="368"/>
                </a:lnTo>
                <a:lnTo>
                  <a:pt x="26" y="360"/>
                </a:lnTo>
                <a:lnTo>
                  <a:pt x="28" y="352"/>
                </a:lnTo>
                <a:lnTo>
                  <a:pt x="28" y="338"/>
                </a:lnTo>
                <a:lnTo>
                  <a:pt x="28" y="338"/>
                </a:lnTo>
                <a:lnTo>
                  <a:pt x="26" y="324"/>
                </a:lnTo>
                <a:lnTo>
                  <a:pt x="28" y="316"/>
                </a:lnTo>
                <a:lnTo>
                  <a:pt x="28" y="312"/>
                </a:lnTo>
                <a:lnTo>
                  <a:pt x="22" y="300"/>
                </a:lnTo>
                <a:lnTo>
                  <a:pt x="22" y="300"/>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19" name="Freeform 56"/>
          <p:cNvSpPr>
            <a:spLocks/>
          </p:cNvSpPr>
          <p:nvPr/>
        </p:nvSpPr>
        <p:spPr bwMode="auto">
          <a:xfrm>
            <a:off x="5138493" y="2340511"/>
            <a:ext cx="362334" cy="316382"/>
          </a:xfrm>
          <a:custGeom>
            <a:avLst/>
            <a:gdLst/>
            <a:ahLst/>
            <a:cxnLst>
              <a:cxn ang="0">
                <a:pos x="60" y="248"/>
              </a:cxn>
              <a:cxn ang="0">
                <a:pos x="62" y="240"/>
              </a:cxn>
              <a:cxn ang="0">
                <a:pos x="50" y="230"/>
              </a:cxn>
              <a:cxn ang="0">
                <a:pos x="44" y="220"/>
              </a:cxn>
              <a:cxn ang="0">
                <a:pos x="40" y="214"/>
              </a:cxn>
              <a:cxn ang="0">
                <a:pos x="36" y="208"/>
              </a:cxn>
              <a:cxn ang="0">
                <a:pos x="30" y="198"/>
              </a:cxn>
              <a:cxn ang="0">
                <a:pos x="22" y="186"/>
              </a:cxn>
              <a:cxn ang="0">
                <a:pos x="0" y="166"/>
              </a:cxn>
              <a:cxn ang="0">
                <a:pos x="6" y="152"/>
              </a:cxn>
              <a:cxn ang="0">
                <a:pos x="16" y="148"/>
              </a:cxn>
              <a:cxn ang="0">
                <a:pos x="22" y="138"/>
              </a:cxn>
              <a:cxn ang="0">
                <a:pos x="24" y="118"/>
              </a:cxn>
              <a:cxn ang="0">
                <a:pos x="24" y="104"/>
              </a:cxn>
              <a:cxn ang="0">
                <a:pos x="28" y="88"/>
              </a:cxn>
              <a:cxn ang="0">
                <a:pos x="34" y="78"/>
              </a:cxn>
              <a:cxn ang="0">
                <a:pos x="36" y="66"/>
              </a:cxn>
              <a:cxn ang="0">
                <a:pos x="38" y="58"/>
              </a:cxn>
              <a:cxn ang="0">
                <a:pos x="46" y="44"/>
              </a:cxn>
              <a:cxn ang="0">
                <a:pos x="56" y="22"/>
              </a:cxn>
              <a:cxn ang="0">
                <a:pos x="58" y="12"/>
              </a:cxn>
              <a:cxn ang="0">
                <a:pos x="76" y="8"/>
              </a:cxn>
              <a:cxn ang="0">
                <a:pos x="80" y="12"/>
              </a:cxn>
              <a:cxn ang="0">
                <a:pos x="82" y="14"/>
              </a:cxn>
              <a:cxn ang="0">
                <a:pos x="86" y="12"/>
              </a:cxn>
              <a:cxn ang="0">
                <a:pos x="88" y="6"/>
              </a:cxn>
              <a:cxn ang="0">
                <a:pos x="90" y="2"/>
              </a:cxn>
              <a:cxn ang="0">
                <a:pos x="92" y="0"/>
              </a:cxn>
              <a:cxn ang="0">
                <a:pos x="96" y="2"/>
              </a:cxn>
              <a:cxn ang="0">
                <a:pos x="102" y="8"/>
              </a:cxn>
              <a:cxn ang="0">
                <a:pos x="112" y="10"/>
              </a:cxn>
              <a:cxn ang="0">
                <a:pos x="118" y="10"/>
              </a:cxn>
              <a:cxn ang="0">
                <a:pos x="128" y="8"/>
              </a:cxn>
              <a:cxn ang="0">
                <a:pos x="140" y="8"/>
              </a:cxn>
              <a:cxn ang="0">
                <a:pos x="150" y="8"/>
              </a:cxn>
              <a:cxn ang="0">
                <a:pos x="166" y="16"/>
              </a:cxn>
              <a:cxn ang="0">
                <a:pos x="186" y="36"/>
              </a:cxn>
              <a:cxn ang="0">
                <a:pos x="196" y="52"/>
              </a:cxn>
              <a:cxn ang="0">
                <a:pos x="188" y="54"/>
              </a:cxn>
              <a:cxn ang="0">
                <a:pos x="186" y="60"/>
              </a:cxn>
              <a:cxn ang="0">
                <a:pos x="182" y="82"/>
              </a:cxn>
              <a:cxn ang="0">
                <a:pos x="184" y="84"/>
              </a:cxn>
              <a:cxn ang="0">
                <a:pos x="188" y="88"/>
              </a:cxn>
              <a:cxn ang="0">
                <a:pos x="196" y="86"/>
              </a:cxn>
              <a:cxn ang="0">
                <a:pos x="204" y="88"/>
              </a:cxn>
              <a:cxn ang="0">
                <a:pos x="210" y="114"/>
              </a:cxn>
              <a:cxn ang="0">
                <a:pos x="286" y="158"/>
              </a:cxn>
              <a:cxn ang="0">
                <a:pos x="318" y="166"/>
              </a:cxn>
              <a:cxn ang="0">
                <a:pos x="248" y="240"/>
              </a:cxn>
              <a:cxn ang="0">
                <a:pos x="244" y="242"/>
              </a:cxn>
              <a:cxn ang="0">
                <a:pos x="236" y="242"/>
              </a:cxn>
              <a:cxn ang="0">
                <a:pos x="216" y="248"/>
              </a:cxn>
              <a:cxn ang="0">
                <a:pos x="188" y="270"/>
              </a:cxn>
              <a:cxn ang="0">
                <a:pos x="172" y="266"/>
              </a:cxn>
              <a:cxn ang="0">
                <a:pos x="158" y="266"/>
              </a:cxn>
              <a:cxn ang="0">
                <a:pos x="154" y="268"/>
              </a:cxn>
              <a:cxn ang="0">
                <a:pos x="152" y="274"/>
              </a:cxn>
              <a:cxn ang="0">
                <a:pos x="148" y="276"/>
              </a:cxn>
              <a:cxn ang="0">
                <a:pos x="128" y="278"/>
              </a:cxn>
              <a:cxn ang="0">
                <a:pos x="106" y="274"/>
              </a:cxn>
              <a:cxn ang="0">
                <a:pos x="94" y="264"/>
              </a:cxn>
              <a:cxn ang="0">
                <a:pos x="84" y="254"/>
              </a:cxn>
              <a:cxn ang="0">
                <a:pos x="60" y="248"/>
              </a:cxn>
            </a:cxnLst>
            <a:rect l="0" t="0" r="r" b="b"/>
            <a:pathLst>
              <a:path w="318" h="278">
                <a:moveTo>
                  <a:pt x="60" y="248"/>
                </a:moveTo>
                <a:lnTo>
                  <a:pt x="60" y="248"/>
                </a:lnTo>
                <a:lnTo>
                  <a:pt x="62" y="244"/>
                </a:lnTo>
                <a:lnTo>
                  <a:pt x="62" y="240"/>
                </a:lnTo>
                <a:lnTo>
                  <a:pt x="56" y="234"/>
                </a:lnTo>
                <a:lnTo>
                  <a:pt x="50" y="230"/>
                </a:lnTo>
                <a:lnTo>
                  <a:pt x="48" y="226"/>
                </a:lnTo>
                <a:lnTo>
                  <a:pt x="44" y="220"/>
                </a:lnTo>
                <a:lnTo>
                  <a:pt x="44" y="220"/>
                </a:lnTo>
                <a:lnTo>
                  <a:pt x="40" y="214"/>
                </a:lnTo>
                <a:lnTo>
                  <a:pt x="38" y="210"/>
                </a:lnTo>
                <a:lnTo>
                  <a:pt x="36" y="208"/>
                </a:lnTo>
                <a:lnTo>
                  <a:pt x="30" y="198"/>
                </a:lnTo>
                <a:lnTo>
                  <a:pt x="30" y="198"/>
                </a:lnTo>
                <a:lnTo>
                  <a:pt x="28" y="192"/>
                </a:lnTo>
                <a:lnTo>
                  <a:pt x="22" y="186"/>
                </a:lnTo>
                <a:lnTo>
                  <a:pt x="12" y="176"/>
                </a:lnTo>
                <a:lnTo>
                  <a:pt x="0" y="166"/>
                </a:lnTo>
                <a:lnTo>
                  <a:pt x="6" y="152"/>
                </a:lnTo>
                <a:lnTo>
                  <a:pt x="6" y="152"/>
                </a:lnTo>
                <a:lnTo>
                  <a:pt x="10" y="152"/>
                </a:lnTo>
                <a:lnTo>
                  <a:pt x="16" y="148"/>
                </a:lnTo>
                <a:lnTo>
                  <a:pt x="20" y="144"/>
                </a:lnTo>
                <a:lnTo>
                  <a:pt x="22" y="138"/>
                </a:lnTo>
                <a:lnTo>
                  <a:pt x="24" y="130"/>
                </a:lnTo>
                <a:lnTo>
                  <a:pt x="24" y="118"/>
                </a:lnTo>
                <a:lnTo>
                  <a:pt x="24" y="118"/>
                </a:lnTo>
                <a:lnTo>
                  <a:pt x="24" y="104"/>
                </a:lnTo>
                <a:lnTo>
                  <a:pt x="26" y="94"/>
                </a:lnTo>
                <a:lnTo>
                  <a:pt x="28" y="88"/>
                </a:lnTo>
                <a:lnTo>
                  <a:pt x="30" y="84"/>
                </a:lnTo>
                <a:lnTo>
                  <a:pt x="34" y="78"/>
                </a:lnTo>
                <a:lnTo>
                  <a:pt x="36" y="74"/>
                </a:lnTo>
                <a:lnTo>
                  <a:pt x="36" y="66"/>
                </a:lnTo>
                <a:lnTo>
                  <a:pt x="36" y="66"/>
                </a:lnTo>
                <a:lnTo>
                  <a:pt x="38" y="58"/>
                </a:lnTo>
                <a:lnTo>
                  <a:pt x="40" y="52"/>
                </a:lnTo>
                <a:lnTo>
                  <a:pt x="46" y="44"/>
                </a:lnTo>
                <a:lnTo>
                  <a:pt x="54" y="32"/>
                </a:lnTo>
                <a:lnTo>
                  <a:pt x="56" y="22"/>
                </a:lnTo>
                <a:lnTo>
                  <a:pt x="58" y="12"/>
                </a:lnTo>
                <a:lnTo>
                  <a:pt x="58" y="12"/>
                </a:lnTo>
                <a:lnTo>
                  <a:pt x="72" y="8"/>
                </a:lnTo>
                <a:lnTo>
                  <a:pt x="76" y="8"/>
                </a:lnTo>
                <a:lnTo>
                  <a:pt x="78" y="10"/>
                </a:lnTo>
                <a:lnTo>
                  <a:pt x="80" y="12"/>
                </a:lnTo>
                <a:lnTo>
                  <a:pt x="80" y="14"/>
                </a:lnTo>
                <a:lnTo>
                  <a:pt x="82" y="14"/>
                </a:lnTo>
                <a:lnTo>
                  <a:pt x="82" y="14"/>
                </a:lnTo>
                <a:lnTo>
                  <a:pt x="86" y="12"/>
                </a:lnTo>
                <a:lnTo>
                  <a:pt x="86" y="12"/>
                </a:lnTo>
                <a:lnTo>
                  <a:pt x="88" y="6"/>
                </a:lnTo>
                <a:lnTo>
                  <a:pt x="90" y="2"/>
                </a:lnTo>
                <a:lnTo>
                  <a:pt x="90" y="2"/>
                </a:lnTo>
                <a:lnTo>
                  <a:pt x="92" y="0"/>
                </a:lnTo>
                <a:lnTo>
                  <a:pt x="92" y="0"/>
                </a:lnTo>
                <a:lnTo>
                  <a:pt x="96" y="0"/>
                </a:lnTo>
                <a:lnTo>
                  <a:pt x="96" y="2"/>
                </a:lnTo>
                <a:lnTo>
                  <a:pt x="100" y="6"/>
                </a:lnTo>
                <a:lnTo>
                  <a:pt x="102" y="8"/>
                </a:lnTo>
                <a:lnTo>
                  <a:pt x="106" y="10"/>
                </a:lnTo>
                <a:lnTo>
                  <a:pt x="112" y="10"/>
                </a:lnTo>
                <a:lnTo>
                  <a:pt x="118" y="10"/>
                </a:lnTo>
                <a:lnTo>
                  <a:pt x="118" y="10"/>
                </a:lnTo>
                <a:lnTo>
                  <a:pt x="124" y="8"/>
                </a:lnTo>
                <a:lnTo>
                  <a:pt x="128" y="8"/>
                </a:lnTo>
                <a:lnTo>
                  <a:pt x="132" y="8"/>
                </a:lnTo>
                <a:lnTo>
                  <a:pt x="140" y="8"/>
                </a:lnTo>
                <a:lnTo>
                  <a:pt x="140" y="8"/>
                </a:lnTo>
                <a:lnTo>
                  <a:pt x="150" y="8"/>
                </a:lnTo>
                <a:lnTo>
                  <a:pt x="158" y="10"/>
                </a:lnTo>
                <a:lnTo>
                  <a:pt x="166" y="16"/>
                </a:lnTo>
                <a:lnTo>
                  <a:pt x="172" y="22"/>
                </a:lnTo>
                <a:lnTo>
                  <a:pt x="186" y="36"/>
                </a:lnTo>
                <a:lnTo>
                  <a:pt x="196" y="52"/>
                </a:lnTo>
                <a:lnTo>
                  <a:pt x="196" y="52"/>
                </a:lnTo>
                <a:lnTo>
                  <a:pt x="192" y="52"/>
                </a:lnTo>
                <a:lnTo>
                  <a:pt x="188" y="54"/>
                </a:lnTo>
                <a:lnTo>
                  <a:pt x="186" y="60"/>
                </a:lnTo>
                <a:lnTo>
                  <a:pt x="186" y="60"/>
                </a:lnTo>
                <a:lnTo>
                  <a:pt x="182" y="74"/>
                </a:lnTo>
                <a:lnTo>
                  <a:pt x="182" y="82"/>
                </a:lnTo>
                <a:lnTo>
                  <a:pt x="184" y="84"/>
                </a:lnTo>
                <a:lnTo>
                  <a:pt x="184" y="84"/>
                </a:lnTo>
                <a:lnTo>
                  <a:pt x="186" y="88"/>
                </a:lnTo>
                <a:lnTo>
                  <a:pt x="188" y="88"/>
                </a:lnTo>
                <a:lnTo>
                  <a:pt x="192" y="86"/>
                </a:lnTo>
                <a:lnTo>
                  <a:pt x="196" y="86"/>
                </a:lnTo>
                <a:lnTo>
                  <a:pt x="200" y="86"/>
                </a:lnTo>
                <a:lnTo>
                  <a:pt x="204" y="88"/>
                </a:lnTo>
                <a:lnTo>
                  <a:pt x="196" y="94"/>
                </a:lnTo>
                <a:lnTo>
                  <a:pt x="210" y="114"/>
                </a:lnTo>
                <a:lnTo>
                  <a:pt x="216" y="128"/>
                </a:lnTo>
                <a:lnTo>
                  <a:pt x="286" y="158"/>
                </a:lnTo>
                <a:lnTo>
                  <a:pt x="318" y="166"/>
                </a:lnTo>
                <a:lnTo>
                  <a:pt x="318" y="166"/>
                </a:lnTo>
                <a:lnTo>
                  <a:pt x="260" y="230"/>
                </a:lnTo>
                <a:lnTo>
                  <a:pt x="248" y="240"/>
                </a:lnTo>
                <a:lnTo>
                  <a:pt x="246" y="242"/>
                </a:lnTo>
                <a:lnTo>
                  <a:pt x="244" y="242"/>
                </a:lnTo>
                <a:lnTo>
                  <a:pt x="244" y="242"/>
                </a:lnTo>
                <a:lnTo>
                  <a:pt x="236" y="242"/>
                </a:lnTo>
                <a:lnTo>
                  <a:pt x="230" y="242"/>
                </a:lnTo>
                <a:lnTo>
                  <a:pt x="216" y="248"/>
                </a:lnTo>
                <a:lnTo>
                  <a:pt x="188" y="270"/>
                </a:lnTo>
                <a:lnTo>
                  <a:pt x="188" y="270"/>
                </a:lnTo>
                <a:lnTo>
                  <a:pt x="176" y="268"/>
                </a:lnTo>
                <a:lnTo>
                  <a:pt x="172" y="266"/>
                </a:lnTo>
                <a:lnTo>
                  <a:pt x="168" y="264"/>
                </a:lnTo>
                <a:lnTo>
                  <a:pt x="158" y="266"/>
                </a:lnTo>
                <a:lnTo>
                  <a:pt x="158" y="266"/>
                </a:lnTo>
                <a:lnTo>
                  <a:pt x="154" y="268"/>
                </a:lnTo>
                <a:lnTo>
                  <a:pt x="152" y="270"/>
                </a:lnTo>
                <a:lnTo>
                  <a:pt x="152" y="274"/>
                </a:lnTo>
                <a:lnTo>
                  <a:pt x="152" y="276"/>
                </a:lnTo>
                <a:lnTo>
                  <a:pt x="148" y="276"/>
                </a:lnTo>
                <a:lnTo>
                  <a:pt x="128" y="278"/>
                </a:lnTo>
                <a:lnTo>
                  <a:pt x="128" y="278"/>
                </a:lnTo>
                <a:lnTo>
                  <a:pt x="114" y="276"/>
                </a:lnTo>
                <a:lnTo>
                  <a:pt x="106" y="274"/>
                </a:lnTo>
                <a:lnTo>
                  <a:pt x="100" y="270"/>
                </a:lnTo>
                <a:lnTo>
                  <a:pt x="94" y="264"/>
                </a:lnTo>
                <a:lnTo>
                  <a:pt x="90" y="260"/>
                </a:lnTo>
                <a:lnTo>
                  <a:pt x="84" y="254"/>
                </a:lnTo>
                <a:lnTo>
                  <a:pt x="74" y="252"/>
                </a:lnTo>
                <a:lnTo>
                  <a:pt x="60" y="248"/>
                </a:lnTo>
                <a:lnTo>
                  <a:pt x="60" y="248"/>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20" name="Freeform 57"/>
          <p:cNvSpPr>
            <a:spLocks/>
          </p:cNvSpPr>
          <p:nvPr/>
        </p:nvSpPr>
        <p:spPr bwMode="auto">
          <a:xfrm>
            <a:off x="5329915" y="2420174"/>
            <a:ext cx="243834" cy="393770"/>
          </a:xfrm>
          <a:custGeom>
            <a:avLst/>
            <a:gdLst/>
            <a:ahLst/>
            <a:cxnLst>
              <a:cxn ang="0">
                <a:pos x="24" y="346"/>
              </a:cxn>
              <a:cxn ang="0">
                <a:pos x="36" y="324"/>
              </a:cxn>
              <a:cxn ang="0">
                <a:pos x="44" y="312"/>
              </a:cxn>
              <a:cxn ang="0">
                <a:pos x="62" y="294"/>
              </a:cxn>
              <a:cxn ang="0">
                <a:pos x="72" y="282"/>
              </a:cxn>
              <a:cxn ang="0">
                <a:pos x="90" y="264"/>
              </a:cxn>
              <a:cxn ang="0">
                <a:pos x="112" y="242"/>
              </a:cxn>
              <a:cxn ang="0">
                <a:pos x="138" y="214"/>
              </a:cxn>
              <a:cxn ang="0">
                <a:pos x="150" y="188"/>
              </a:cxn>
              <a:cxn ang="0">
                <a:pos x="152" y="184"/>
              </a:cxn>
              <a:cxn ang="0">
                <a:pos x="166" y="170"/>
              </a:cxn>
              <a:cxn ang="0">
                <a:pos x="174" y="158"/>
              </a:cxn>
              <a:cxn ang="0">
                <a:pos x="178" y="140"/>
              </a:cxn>
              <a:cxn ang="0">
                <a:pos x="178" y="132"/>
              </a:cxn>
              <a:cxn ang="0">
                <a:pos x="188" y="108"/>
              </a:cxn>
              <a:cxn ang="0">
                <a:pos x="198" y="88"/>
              </a:cxn>
              <a:cxn ang="0">
                <a:pos x="198" y="82"/>
              </a:cxn>
              <a:cxn ang="0">
                <a:pos x="200" y="78"/>
              </a:cxn>
              <a:cxn ang="0">
                <a:pos x="208" y="62"/>
              </a:cxn>
              <a:cxn ang="0">
                <a:pos x="210" y="52"/>
              </a:cxn>
              <a:cxn ang="0">
                <a:pos x="210" y="50"/>
              </a:cxn>
              <a:cxn ang="0">
                <a:pos x="210" y="48"/>
              </a:cxn>
              <a:cxn ang="0">
                <a:pos x="210" y="32"/>
              </a:cxn>
              <a:cxn ang="0">
                <a:pos x="210" y="28"/>
              </a:cxn>
              <a:cxn ang="0">
                <a:pos x="212" y="28"/>
              </a:cxn>
              <a:cxn ang="0">
                <a:pos x="212" y="24"/>
              </a:cxn>
              <a:cxn ang="0">
                <a:pos x="208" y="12"/>
              </a:cxn>
              <a:cxn ang="0">
                <a:pos x="210" y="6"/>
              </a:cxn>
              <a:cxn ang="0">
                <a:pos x="206" y="0"/>
              </a:cxn>
              <a:cxn ang="0">
                <a:pos x="194" y="0"/>
              </a:cxn>
              <a:cxn ang="0">
                <a:pos x="182" y="10"/>
              </a:cxn>
              <a:cxn ang="0">
                <a:pos x="162" y="16"/>
              </a:cxn>
              <a:cxn ang="0">
                <a:pos x="156" y="16"/>
              </a:cxn>
              <a:cxn ang="0">
                <a:pos x="150" y="20"/>
              </a:cxn>
              <a:cxn ang="0">
                <a:pos x="142" y="20"/>
              </a:cxn>
              <a:cxn ang="0">
                <a:pos x="128" y="24"/>
              </a:cxn>
              <a:cxn ang="0">
                <a:pos x="110" y="28"/>
              </a:cxn>
              <a:cxn ang="0">
                <a:pos x="100" y="26"/>
              </a:cxn>
              <a:cxn ang="0">
                <a:pos x="82" y="34"/>
              </a:cxn>
              <a:cxn ang="0">
                <a:pos x="78" y="36"/>
              </a:cxn>
              <a:cxn ang="0">
                <a:pos x="60" y="26"/>
              </a:cxn>
              <a:cxn ang="0">
                <a:pos x="44" y="10"/>
              </a:cxn>
              <a:cxn ang="0">
                <a:pos x="28" y="24"/>
              </a:cxn>
              <a:cxn ang="0">
                <a:pos x="48" y="58"/>
              </a:cxn>
              <a:cxn ang="0">
                <a:pos x="150" y="96"/>
              </a:cxn>
              <a:cxn ang="0">
                <a:pos x="92" y="160"/>
              </a:cxn>
              <a:cxn ang="0">
                <a:pos x="78" y="172"/>
              </a:cxn>
              <a:cxn ang="0">
                <a:pos x="76" y="172"/>
              </a:cxn>
              <a:cxn ang="0">
                <a:pos x="62" y="172"/>
              </a:cxn>
              <a:cxn ang="0">
                <a:pos x="20" y="200"/>
              </a:cxn>
              <a:cxn ang="0">
                <a:pos x="18" y="206"/>
              </a:cxn>
              <a:cxn ang="0">
                <a:pos x="8" y="218"/>
              </a:cxn>
              <a:cxn ang="0">
                <a:pos x="2" y="226"/>
              </a:cxn>
              <a:cxn ang="0">
                <a:pos x="0" y="232"/>
              </a:cxn>
              <a:cxn ang="0">
                <a:pos x="0" y="318"/>
              </a:cxn>
              <a:cxn ang="0">
                <a:pos x="4" y="326"/>
              </a:cxn>
              <a:cxn ang="0">
                <a:pos x="24" y="346"/>
              </a:cxn>
            </a:cxnLst>
            <a:rect l="0" t="0" r="r" b="b"/>
            <a:pathLst>
              <a:path w="214" h="346">
                <a:moveTo>
                  <a:pt x="24" y="346"/>
                </a:moveTo>
                <a:lnTo>
                  <a:pt x="24" y="346"/>
                </a:lnTo>
                <a:lnTo>
                  <a:pt x="28" y="340"/>
                </a:lnTo>
                <a:lnTo>
                  <a:pt x="36" y="324"/>
                </a:lnTo>
                <a:lnTo>
                  <a:pt x="36" y="324"/>
                </a:lnTo>
                <a:lnTo>
                  <a:pt x="44" y="312"/>
                </a:lnTo>
                <a:lnTo>
                  <a:pt x="52" y="304"/>
                </a:lnTo>
                <a:lnTo>
                  <a:pt x="62" y="294"/>
                </a:lnTo>
                <a:lnTo>
                  <a:pt x="72" y="282"/>
                </a:lnTo>
                <a:lnTo>
                  <a:pt x="72" y="282"/>
                </a:lnTo>
                <a:lnTo>
                  <a:pt x="80" y="270"/>
                </a:lnTo>
                <a:lnTo>
                  <a:pt x="90" y="264"/>
                </a:lnTo>
                <a:lnTo>
                  <a:pt x="100" y="256"/>
                </a:lnTo>
                <a:lnTo>
                  <a:pt x="112" y="242"/>
                </a:lnTo>
                <a:lnTo>
                  <a:pt x="112" y="242"/>
                </a:lnTo>
                <a:lnTo>
                  <a:pt x="138" y="214"/>
                </a:lnTo>
                <a:lnTo>
                  <a:pt x="146" y="200"/>
                </a:lnTo>
                <a:lnTo>
                  <a:pt x="150" y="188"/>
                </a:lnTo>
                <a:lnTo>
                  <a:pt x="150" y="188"/>
                </a:lnTo>
                <a:lnTo>
                  <a:pt x="152" y="184"/>
                </a:lnTo>
                <a:lnTo>
                  <a:pt x="156" y="180"/>
                </a:lnTo>
                <a:lnTo>
                  <a:pt x="166" y="170"/>
                </a:lnTo>
                <a:lnTo>
                  <a:pt x="170" y="164"/>
                </a:lnTo>
                <a:lnTo>
                  <a:pt x="174" y="158"/>
                </a:lnTo>
                <a:lnTo>
                  <a:pt x="176" y="150"/>
                </a:lnTo>
                <a:lnTo>
                  <a:pt x="178" y="140"/>
                </a:lnTo>
                <a:lnTo>
                  <a:pt x="178" y="140"/>
                </a:lnTo>
                <a:lnTo>
                  <a:pt x="178" y="132"/>
                </a:lnTo>
                <a:lnTo>
                  <a:pt x="182" y="124"/>
                </a:lnTo>
                <a:lnTo>
                  <a:pt x="188" y="108"/>
                </a:lnTo>
                <a:lnTo>
                  <a:pt x="196" y="94"/>
                </a:lnTo>
                <a:lnTo>
                  <a:pt x="198" y="88"/>
                </a:lnTo>
                <a:lnTo>
                  <a:pt x="198" y="82"/>
                </a:lnTo>
                <a:lnTo>
                  <a:pt x="198" y="82"/>
                </a:lnTo>
                <a:lnTo>
                  <a:pt x="198" y="80"/>
                </a:lnTo>
                <a:lnTo>
                  <a:pt x="200" y="78"/>
                </a:lnTo>
                <a:lnTo>
                  <a:pt x="202" y="74"/>
                </a:lnTo>
                <a:lnTo>
                  <a:pt x="208" y="62"/>
                </a:lnTo>
                <a:lnTo>
                  <a:pt x="208" y="62"/>
                </a:lnTo>
                <a:lnTo>
                  <a:pt x="210" y="52"/>
                </a:lnTo>
                <a:lnTo>
                  <a:pt x="210" y="50"/>
                </a:lnTo>
                <a:lnTo>
                  <a:pt x="210" y="50"/>
                </a:lnTo>
                <a:lnTo>
                  <a:pt x="210" y="48"/>
                </a:lnTo>
                <a:lnTo>
                  <a:pt x="210" y="48"/>
                </a:lnTo>
                <a:lnTo>
                  <a:pt x="212" y="40"/>
                </a:lnTo>
                <a:lnTo>
                  <a:pt x="210" y="32"/>
                </a:lnTo>
                <a:lnTo>
                  <a:pt x="210" y="28"/>
                </a:lnTo>
                <a:lnTo>
                  <a:pt x="210" y="28"/>
                </a:lnTo>
                <a:lnTo>
                  <a:pt x="212" y="28"/>
                </a:lnTo>
                <a:lnTo>
                  <a:pt x="212" y="28"/>
                </a:lnTo>
                <a:lnTo>
                  <a:pt x="214" y="28"/>
                </a:lnTo>
                <a:lnTo>
                  <a:pt x="212" y="24"/>
                </a:lnTo>
                <a:lnTo>
                  <a:pt x="208" y="18"/>
                </a:lnTo>
                <a:lnTo>
                  <a:pt x="208" y="12"/>
                </a:lnTo>
                <a:lnTo>
                  <a:pt x="210" y="6"/>
                </a:lnTo>
                <a:lnTo>
                  <a:pt x="210" y="6"/>
                </a:lnTo>
                <a:lnTo>
                  <a:pt x="208" y="2"/>
                </a:lnTo>
                <a:lnTo>
                  <a:pt x="206" y="0"/>
                </a:lnTo>
                <a:lnTo>
                  <a:pt x="200" y="0"/>
                </a:lnTo>
                <a:lnTo>
                  <a:pt x="194" y="0"/>
                </a:lnTo>
                <a:lnTo>
                  <a:pt x="194" y="0"/>
                </a:lnTo>
                <a:lnTo>
                  <a:pt x="182" y="10"/>
                </a:lnTo>
                <a:lnTo>
                  <a:pt x="172" y="14"/>
                </a:lnTo>
                <a:lnTo>
                  <a:pt x="162" y="16"/>
                </a:lnTo>
                <a:lnTo>
                  <a:pt x="162" y="16"/>
                </a:lnTo>
                <a:lnTo>
                  <a:pt x="156" y="16"/>
                </a:lnTo>
                <a:lnTo>
                  <a:pt x="154" y="18"/>
                </a:lnTo>
                <a:lnTo>
                  <a:pt x="150" y="20"/>
                </a:lnTo>
                <a:lnTo>
                  <a:pt x="142" y="20"/>
                </a:lnTo>
                <a:lnTo>
                  <a:pt x="142" y="20"/>
                </a:lnTo>
                <a:lnTo>
                  <a:pt x="132" y="20"/>
                </a:lnTo>
                <a:lnTo>
                  <a:pt x="128" y="24"/>
                </a:lnTo>
                <a:lnTo>
                  <a:pt x="120" y="26"/>
                </a:lnTo>
                <a:lnTo>
                  <a:pt x="110" y="28"/>
                </a:lnTo>
                <a:lnTo>
                  <a:pt x="110" y="28"/>
                </a:lnTo>
                <a:lnTo>
                  <a:pt x="100" y="26"/>
                </a:lnTo>
                <a:lnTo>
                  <a:pt x="96" y="28"/>
                </a:lnTo>
                <a:lnTo>
                  <a:pt x="82" y="34"/>
                </a:lnTo>
                <a:lnTo>
                  <a:pt x="82" y="34"/>
                </a:lnTo>
                <a:lnTo>
                  <a:pt x="78" y="36"/>
                </a:lnTo>
                <a:lnTo>
                  <a:pt x="72" y="34"/>
                </a:lnTo>
                <a:lnTo>
                  <a:pt x="60" y="26"/>
                </a:lnTo>
                <a:lnTo>
                  <a:pt x="50" y="18"/>
                </a:lnTo>
                <a:lnTo>
                  <a:pt x="44" y="10"/>
                </a:lnTo>
                <a:lnTo>
                  <a:pt x="36" y="18"/>
                </a:lnTo>
                <a:lnTo>
                  <a:pt x="28" y="24"/>
                </a:lnTo>
                <a:lnTo>
                  <a:pt x="42" y="44"/>
                </a:lnTo>
                <a:lnTo>
                  <a:pt x="48" y="58"/>
                </a:lnTo>
                <a:lnTo>
                  <a:pt x="118" y="88"/>
                </a:lnTo>
                <a:lnTo>
                  <a:pt x="150" y="96"/>
                </a:lnTo>
                <a:lnTo>
                  <a:pt x="150" y="96"/>
                </a:lnTo>
                <a:lnTo>
                  <a:pt x="92" y="160"/>
                </a:lnTo>
                <a:lnTo>
                  <a:pt x="80" y="170"/>
                </a:lnTo>
                <a:lnTo>
                  <a:pt x="78" y="172"/>
                </a:lnTo>
                <a:lnTo>
                  <a:pt x="76" y="172"/>
                </a:lnTo>
                <a:lnTo>
                  <a:pt x="76" y="172"/>
                </a:lnTo>
                <a:lnTo>
                  <a:pt x="68" y="172"/>
                </a:lnTo>
                <a:lnTo>
                  <a:pt x="62" y="172"/>
                </a:lnTo>
                <a:lnTo>
                  <a:pt x="48" y="178"/>
                </a:lnTo>
                <a:lnTo>
                  <a:pt x="20" y="200"/>
                </a:lnTo>
                <a:lnTo>
                  <a:pt x="20" y="200"/>
                </a:lnTo>
                <a:lnTo>
                  <a:pt x="18" y="206"/>
                </a:lnTo>
                <a:lnTo>
                  <a:pt x="14" y="212"/>
                </a:lnTo>
                <a:lnTo>
                  <a:pt x="8" y="218"/>
                </a:lnTo>
                <a:lnTo>
                  <a:pt x="4" y="222"/>
                </a:lnTo>
                <a:lnTo>
                  <a:pt x="2" y="226"/>
                </a:lnTo>
                <a:lnTo>
                  <a:pt x="0" y="232"/>
                </a:lnTo>
                <a:lnTo>
                  <a:pt x="0" y="232"/>
                </a:lnTo>
                <a:lnTo>
                  <a:pt x="0" y="318"/>
                </a:lnTo>
                <a:lnTo>
                  <a:pt x="0" y="318"/>
                </a:lnTo>
                <a:lnTo>
                  <a:pt x="2" y="322"/>
                </a:lnTo>
                <a:lnTo>
                  <a:pt x="4" y="326"/>
                </a:lnTo>
                <a:lnTo>
                  <a:pt x="24" y="346"/>
                </a:lnTo>
                <a:lnTo>
                  <a:pt x="24" y="346"/>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21" name="Freeform 58"/>
          <p:cNvSpPr>
            <a:spLocks/>
          </p:cNvSpPr>
          <p:nvPr/>
        </p:nvSpPr>
        <p:spPr bwMode="auto">
          <a:xfrm>
            <a:off x="5159003" y="2622751"/>
            <a:ext cx="198258" cy="286792"/>
          </a:xfrm>
          <a:custGeom>
            <a:avLst/>
            <a:gdLst/>
            <a:ahLst/>
            <a:cxnLst>
              <a:cxn ang="0">
                <a:pos x="126" y="252"/>
              </a:cxn>
              <a:cxn ang="0">
                <a:pos x="132" y="242"/>
              </a:cxn>
              <a:cxn ang="0">
                <a:pos x="134" y="236"/>
              </a:cxn>
              <a:cxn ang="0">
                <a:pos x="138" y="228"/>
              </a:cxn>
              <a:cxn ang="0">
                <a:pos x="140" y="222"/>
              </a:cxn>
              <a:cxn ang="0">
                <a:pos x="142" y="210"/>
              </a:cxn>
              <a:cxn ang="0">
                <a:pos x="142" y="200"/>
              </a:cxn>
              <a:cxn ang="0">
                <a:pos x="144" y="194"/>
              </a:cxn>
              <a:cxn ang="0">
                <a:pos x="148" y="186"/>
              </a:cxn>
              <a:cxn ang="0">
                <a:pos x="160" y="178"/>
              </a:cxn>
              <a:cxn ang="0">
                <a:pos x="174" y="168"/>
              </a:cxn>
              <a:cxn ang="0">
                <a:pos x="152" y="144"/>
              </a:cxn>
              <a:cxn ang="0">
                <a:pos x="150" y="140"/>
              </a:cxn>
              <a:cxn ang="0">
                <a:pos x="150" y="54"/>
              </a:cxn>
              <a:cxn ang="0">
                <a:pos x="154" y="44"/>
              </a:cxn>
              <a:cxn ang="0">
                <a:pos x="164" y="34"/>
              </a:cxn>
              <a:cxn ang="0">
                <a:pos x="170" y="22"/>
              </a:cxn>
              <a:cxn ang="0">
                <a:pos x="158" y="20"/>
              </a:cxn>
              <a:cxn ang="0">
                <a:pos x="150" y="16"/>
              </a:cxn>
              <a:cxn ang="0">
                <a:pos x="140" y="18"/>
              </a:cxn>
              <a:cxn ang="0">
                <a:pos x="134" y="22"/>
              </a:cxn>
              <a:cxn ang="0">
                <a:pos x="134" y="28"/>
              </a:cxn>
              <a:cxn ang="0">
                <a:pos x="110" y="30"/>
              </a:cxn>
              <a:cxn ang="0">
                <a:pos x="96" y="28"/>
              </a:cxn>
              <a:cxn ang="0">
                <a:pos x="82" y="22"/>
              </a:cxn>
              <a:cxn ang="0">
                <a:pos x="72" y="12"/>
              </a:cxn>
              <a:cxn ang="0">
                <a:pos x="56" y="4"/>
              </a:cxn>
              <a:cxn ang="0">
                <a:pos x="42" y="0"/>
              </a:cxn>
              <a:cxn ang="0">
                <a:pos x="32" y="8"/>
              </a:cxn>
              <a:cxn ang="0">
                <a:pos x="26" y="4"/>
              </a:cxn>
              <a:cxn ang="0">
                <a:pos x="18" y="4"/>
              </a:cxn>
              <a:cxn ang="0">
                <a:pos x="0" y="16"/>
              </a:cxn>
              <a:cxn ang="0">
                <a:pos x="6" y="24"/>
              </a:cxn>
              <a:cxn ang="0">
                <a:pos x="8" y="34"/>
              </a:cxn>
              <a:cxn ang="0">
                <a:pos x="12" y="42"/>
              </a:cxn>
              <a:cxn ang="0">
                <a:pos x="20" y="44"/>
              </a:cxn>
              <a:cxn ang="0">
                <a:pos x="20" y="50"/>
              </a:cxn>
              <a:cxn ang="0">
                <a:pos x="20" y="52"/>
              </a:cxn>
              <a:cxn ang="0">
                <a:pos x="24" y="62"/>
              </a:cxn>
              <a:cxn ang="0">
                <a:pos x="26" y="74"/>
              </a:cxn>
              <a:cxn ang="0">
                <a:pos x="26" y="78"/>
              </a:cxn>
              <a:cxn ang="0">
                <a:pos x="24" y="94"/>
              </a:cxn>
              <a:cxn ang="0">
                <a:pos x="20" y="100"/>
              </a:cxn>
              <a:cxn ang="0">
                <a:pos x="16" y="102"/>
              </a:cxn>
              <a:cxn ang="0">
                <a:pos x="4" y="120"/>
              </a:cxn>
              <a:cxn ang="0">
                <a:pos x="8" y="122"/>
              </a:cxn>
              <a:cxn ang="0">
                <a:pos x="6" y="128"/>
              </a:cxn>
              <a:cxn ang="0">
                <a:pos x="4" y="132"/>
              </a:cxn>
              <a:cxn ang="0">
                <a:pos x="8" y="134"/>
              </a:cxn>
              <a:cxn ang="0">
                <a:pos x="10" y="132"/>
              </a:cxn>
              <a:cxn ang="0">
                <a:pos x="16" y="130"/>
              </a:cxn>
              <a:cxn ang="0">
                <a:pos x="20" y="132"/>
              </a:cxn>
              <a:cxn ang="0">
                <a:pos x="20" y="134"/>
              </a:cxn>
              <a:cxn ang="0">
                <a:pos x="14" y="136"/>
              </a:cxn>
              <a:cxn ang="0">
                <a:pos x="10" y="142"/>
              </a:cxn>
              <a:cxn ang="0">
                <a:pos x="12" y="146"/>
              </a:cxn>
              <a:cxn ang="0">
                <a:pos x="12" y="150"/>
              </a:cxn>
              <a:cxn ang="0">
                <a:pos x="80" y="196"/>
              </a:cxn>
              <a:cxn ang="0">
                <a:pos x="84" y="198"/>
              </a:cxn>
              <a:cxn ang="0">
                <a:pos x="86" y="210"/>
              </a:cxn>
              <a:cxn ang="0">
                <a:pos x="88" y="220"/>
              </a:cxn>
              <a:cxn ang="0">
                <a:pos x="92" y="224"/>
              </a:cxn>
              <a:cxn ang="0">
                <a:pos x="126" y="252"/>
              </a:cxn>
            </a:cxnLst>
            <a:rect l="0" t="0" r="r" b="b"/>
            <a:pathLst>
              <a:path w="174" h="252">
                <a:moveTo>
                  <a:pt x="126" y="252"/>
                </a:moveTo>
                <a:lnTo>
                  <a:pt x="126" y="252"/>
                </a:lnTo>
                <a:lnTo>
                  <a:pt x="130" y="250"/>
                </a:lnTo>
                <a:lnTo>
                  <a:pt x="132" y="242"/>
                </a:lnTo>
                <a:lnTo>
                  <a:pt x="132" y="242"/>
                </a:lnTo>
                <a:lnTo>
                  <a:pt x="134" y="236"/>
                </a:lnTo>
                <a:lnTo>
                  <a:pt x="136" y="232"/>
                </a:lnTo>
                <a:lnTo>
                  <a:pt x="138" y="228"/>
                </a:lnTo>
                <a:lnTo>
                  <a:pt x="140" y="222"/>
                </a:lnTo>
                <a:lnTo>
                  <a:pt x="140" y="222"/>
                </a:lnTo>
                <a:lnTo>
                  <a:pt x="140" y="214"/>
                </a:lnTo>
                <a:lnTo>
                  <a:pt x="142" y="210"/>
                </a:lnTo>
                <a:lnTo>
                  <a:pt x="142" y="208"/>
                </a:lnTo>
                <a:lnTo>
                  <a:pt x="142" y="200"/>
                </a:lnTo>
                <a:lnTo>
                  <a:pt x="142" y="200"/>
                </a:lnTo>
                <a:lnTo>
                  <a:pt x="144" y="194"/>
                </a:lnTo>
                <a:lnTo>
                  <a:pt x="144" y="190"/>
                </a:lnTo>
                <a:lnTo>
                  <a:pt x="148" y="186"/>
                </a:lnTo>
                <a:lnTo>
                  <a:pt x="150" y="184"/>
                </a:lnTo>
                <a:lnTo>
                  <a:pt x="160" y="178"/>
                </a:lnTo>
                <a:lnTo>
                  <a:pt x="174" y="168"/>
                </a:lnTo>
                <a:lnTo>
                  <a:pt x="174" y="168"/>
                </a:lnTo>
                <a:lnTo>
                  <a:pt x="154" y="148"/>
                </a:lnTo>
                <a:lnTo>
                  <a:pt x="152" y="144"/>
                </a:lnTo>
                <a:lnTo>
                  <a:pt x="150" y="140"/>
                </a:lnTo>
                <a:lnTo>
                  <a:pt x="150" y="140"/>
                </a:lnTo>
                <a:lnTo>
                  <a:pt x="150" y="54"/>
                </a:lnTo>
                <a:lnTo>
                  <a:pt x="150" y="54"/>
                </a:lnTo>
                <a:lnTo>
                  <a:pt x="152" y="48"/>
                </a:lnTo>
                <a:lnTo>
                  <a:pt x="154" y="44"/>
                </a:lnTo>
                <a:lnTo>
                  <a:pt x="158" y="40"/>
                </a:lnTo>
                <a:lnTo>
                  <a:pt x="164" y="34"/>
                </a:lnTo>
                <a:lnTo>
                  <a:pt x="168" y="28"/>
                </a:lnTo>
                <a:lnTo>
                  <a:pt x="170" y="22"/>
                </a:lnTo>
                <a:lnTo>
                  <a:pt x="170" y="22"/>
                </a:lnTo>
                <a:lnTo>
                  <a:pt x="158" y="20"/>
                </a:lnTo>
                <a:lnTo>
                  <a:pt x="154" y="18"/>
                </a:lnTo>
                <a:lnTo>
                  <a:pt x="150" y="16"/>
                </a:lnTo>
                <a:lnTo>
                  <a:pt x="140" y="18"/>
                </a:lnTo>
                <a:lnTo>
                  <a:pt x="140" y="18"/>
                </a:lnTo>
                <a:lnTo>
                  <a:pt x="136" y="20"/>
                </a:lnTo>
                <a:lnTo>
                  <a:pt x="134" y="22"/>
                </a:lnTo>
                <a:lnTo>
                  <a:pt x="134" y="26"/>
                </a:lnTo>
                <a:lnTo>
                  <a:pt x="134" y="28"/>
                </a:lnTo>
                <a:lnTo>
                  <a:pt x="130" y="28"/>
                </a:lnTo>
                <a:lnTo>
                  <a:pt x="110" y="30"/>
                </a:lnTo>
                <a:lnTo>
                  <a:pt x="110" y="30"/>
                </a:lnTo>
                <a:lnTo>
                  <a:pt x="96" y="28"/>
                </a:lnTo>
                <a:lnTo>
                  <a:pt x="88" y="26"/>
                </a:lnTo>
                <a:lnTo>
                  <a:pt x="82" y="22"/>
                </a:lnTo>
                <a:lnTo>
                  <a:pt x="76" y="16"/>
                </a:lnTo>
                <a:lnTo>
                  <a:pt x="72" y="12"/>
                </a:lnTo>
                <a:lnTo>
                  <a:pt x="66" y="6"/>
                </a:lnTo>
                <a:lnTo>
                  <a:pt x="56" y="4"/>
                </a:lnTo>
                <a:lnTo>
                  <a:pt x="42" y="0"/>
                </a:lnTo>
                <a:lnTo>
                  <a:pt x="42" y="0"/>
                </a:lnTo>
                <a:lnTo>
                  <a:pt x="36" y="6"/>
                </a:lnTo>
                <a:lnTo>
                  <a:pt x="32" y="8"/>
                </a:lnTo>
                <a:lnTo>
                  <a:pt x="28" y="6"/>
                </a:lnTo>
                <a:lnTo>
                  <a:pt x="26" y="4"/>
                </a:lnTo>
                <a:lnTo>
                  <a:pt x="22" y="4"/>
                </a:lnTo>
                <a:lnTo>
                  <a:pt x="18" y="4"/>
                </a:lnTo>
                <a:lnTo>
                  <a:pt x="10" y="8"/>
                </a:lnTo>
                <a:lnTo>
                  <a:pt x="0" y="16"/>
                </a:lnTo>
                <a:lnTo>
                  <a:pt x="0" y="16"/>
                </a:lnTo>
                <a:lnTo>
                  <a:pt x="6" y="24"/>
                </a:lnTo>
                <a:lnTo>
                  <a:pt x="8" y="30"/>
                </a:lnTo>
                <a:lnTo>
                  <a:pt x="8" y="34"/>
                </a:lnTo>
                <a:lnTo>
                  <a:pt x="12" y="42"/>
                </a:lnTo>
                <a:lnTo>
                  <a:pt x="12" y="42"/>
                </a:lnTo>
                <a:lnTo>
                  <a:pt x="18" y="44"/>
                </a:lnTo>
                <a:lnTo>
                  <a:pt x="20" y="44"/>
                </a:lnTo>
                <a:lnTo>
                  <a:pt x="20" y="46"/>
                </a:lnTo>
                <a:lnTo>
                  <a:pt x="20" y="50"/>
                </a:lnTo>
                <a:lnTo>
                  <a:pt x="20" y="50"/>
                </a:lnTo>
                <a:lnTo>
                  <a:pt x="20" y="52"/>
                </a:lnTo>
                <a:lnTo>
                  <a:pt x="20" y="56"/>
                </a:lnTo>
                <a:lnTo>
                  <a:pt x="24" y="62"/>
                </a:lnTo>
                <a:lnTo>
                  <a:pt x="26" y="70"/>
                </a:lnTo>
                <a:lnTo>
                  <a:pt x="26" y="74"/>
                </a:lnTo>
                <a:lnTo>
                  <a:pt x="26" y="78"/>
                </a:lnTo>
                <a:lnTo>
                  <a:pt x="26" y="78"/>
                </a:lnTo>
                <a:lnTo>
                  <a:pt x="22" y="88"/>
                </a:lnTo>
                <a:lnTo>
                  <a:pt x="24" y="94"/>
                </a:lnTo>
                <a:lnTo>
                  <a:pt x="24" y="98"/>
                </a:lnTo>
                <a:lnTo>
                  <a:pt x="20" y="100"/>
                </a:lnTo>
                <a:lnTo>
                  <a:pt x="20" y="100"/>
                </a:lnTo>
                <a:lnTo>
                  <a:pt x="16" y="102"/>
                </a:lnTo>
                <a:lnTo>
                  <a:pt x="14" y="104"/>
                </a:lnTo>
                <a:lnTo>
                  <a:pt x="4" y="120"/>
                </a:lnTo>
                <a:lnTo>
                  <a:pt x="4" y="120"/>
                </a:lnTo>
                <a:lnTo>
                  <a:pt x="8" y="122"/>
                </a:lnTo>
                <a:lnTo>
                  <a:pt x="8" y="124"/>
                </a:lnTo>
                <a:lnTo>
                  <a:pt x="6" y="128"/>
                </a:lnTo>
                <a:lnTo>
                  <a:pt x="6" y="128"/>
                </a:lnTo>
                <a:lnTo>
                  <a:pt x="4" y="132"/>
                </a:lnTo>
                <a:lnTo>
                  <a:pt x="6" y="134"/>
                </a:lnTo>
                <a:lnTo>
                  <a:pt x="8" y="134"/>
                </a:lnTo>
                <a:lnTo>
                  <a:pt x="10" y="132"/>
                </a:lnTo>
                <a:lnTo>
                  <a:pt x="10" y="132"/>
                </a:lnTo>
                <a:lnTo>
                  <a:pt x="12" y="130"/>
                </a:lnTo>
                <a:lnTo>
                  <a:pt x="16" y="130"/>
                </a:lnTo>
                <a:lnTo>
                  <a:pt x="18" y="130"/>
                </a:lnTo>
                <a:lnTo>
                  <a:pt x="20" y="132"/>
                </a:lnTo>
                <a:lnTo>
                  <a:pt x="20" y="132"/>
                </a:lnTo>
                <a:lnTo>
                  <a:pt x="20" y="134"/>
                </a:lnTo>
                <a:lnTo>
                  <a:pt x="18" y="134"/>
                </a:lnTo>
                <a:lnTo>
                  <a:pt x="14" y="136"/>
                </a:lnTo>
                <a:lnTo>
                  <a:pt x="10" y="142"/>
                </a:lnTo>
                <a:lnTo>
                  <a:pt x="10" y="142"/>
                </a:lnTo>
                <a:lnTo>
                  <a:pt x="10" y="144"/>
                </a:lnTo>
                <a:lnTo>
                  <a:pt x="12" y="146"/>
                </a:lnTo>
                <a:lnTo>
                  <a:pt x="12" y="146"/>
                </a:lnTo>
                <a:lnTo>
                  <a:pt x="12" y="150"/>
                </a:lnTo>
                <a:lnTo>
                  <a:pt x="12" y="150"/>
                </a:lnTo>
                <a:lnTo>
                  <a:pt x="80" y="196"/>
                </a:lnTo>
                <a:lnTo>
                  <a:pt x="80" y="196"/>
                </a:lnTo>
                <a:lnTo>
                  <a:pt x="84" y="198"/>
                </a:lnTo>
                <a:lnTo>
                  <a:pt x="86" y="202"/>
                </a:lnTo>
                <a:lnTo>
                  <a:pt x="86" y="210"/>
                </a:lnTo>
                <a:lnTo>
                  <a:pt x="86" y="216"/>
                </a:lnTo>
                <a:lnTo>
                  <a:pt x="88" y="220"/>
                </a:lnTo>
                <a:lnTo>
                  <a:pt x="92" y="224"/>
                </a:lnTo>
                <a:lnTo>
                  <a:pt x="92" y="224"/>
                </a:lnTo>
                <a:lnTo>
                  <a:pt x="110" y="238"/>
                </a:lnTo>
                <a:lnTo>
                  <a:pt x="126" y="252"/>
                </a:lnTo>
                <a:lnTo>
                  <a:pt x="126" y="252"/>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22" name="Freeform 59"/>
          <p:cNvSpPr>
            <a:spLocks/>
          </p:cNvSpPr>
          <p:nvPr/>
        </p:nvSpPr>
        <p:spPr bwMode="auto">
          <a:xfrm>
            <a:off x="5063292" y="2786631"/>
            <a:ext cx="250671" cy="325486"/>
          </a:xfrm>
          <a:custGeom>
            <a:avLst/>
            <a:gdLst/>
            <a:ahLst/>
            <a:cxnLst>
              <a:cxn ang="0">
                <a:pos x="50" y="20"/>
              </a:cxn>
              <a:cxn ang="0">
                <a:pos x="42" y="42"/>
              </a:cxn>
              <a:cxn ang="0">
                <a:pos x="42" y="48"/>
              </a:cxn>
              <a:cxn ang="0">
                <a:pos x="48" y="54"/>
              </a:cxn>
              <a:cxn ang="0">
                <a:pos x="56" y="50"/>
              </a:cxn>
              <a:cxn ang="0">
                <a:pos x="70" y="52"/>
              </a:cxn>
              <a:cxn ang="0">
                <a:pos x="82" y="44"/>
              </a:cxn>
              <a:cxn ang="0">
                <a:pos x="84" y="38"/>
              </a:cxn>
              <a:cxn ang="0">
                <a:pos x="82" y="30"/>
              </a:cxn>
              <a:cxn ang="0">
                <a:pos x="84" y="24"/>
              </a:cxn>
              <a:cxn ang="0">
                <a:pos x="96" y="10"/>
              </a:cxn>
              <a:cxn ang="0">
                <a:pos x="164" y="52"/>
              </a:cxn>
              <a:cxn ang="0">
                <a:pos x="170" y="72"/>
              </a:cxn>
              <a:cxn ang="0">
                <a:pos x="194" y="94"/>
              </a:cxn>
              <a:cxn ang="0">
                <a:pos x="206" y="120"/>
              </a:cxn>
              <a:cxn ang="0">
                <a:pos x="194" y="148"/>
              </a:cxn>
              <a:cxn ang="0">
                <a:pos x="204" y="166"/>
              </a:cxn>
              <a:cxn ang="0">
                <a:pos x="208" y="180"/>
              </a:cxn>
              <a:cxn ang="0">
                <a:pos x="202" y="198"/>
              </a:cxn>
              <a:cxn ang="0">
                <a:pos x="202" y="214"/>
              </a:cxn>
              <a:cxn ang="0">
                <a:pos x="210" y="236"/>
              </a:cxn>
              <a:cxn ang="0">
                <a:pos x="220" y="256"/>
              </a:cxn>
              <a:cxn ang="0">
                <a:pos x="194" y="270"/>
              </a:cxn>
              <a:cxn ang="0">
                <a:pos x="176" y="270"/>
              </a:cxn>
              <a:cxn ang="0">
                <a:pos x="172" y="276"/>
              </a:cxn>
              <a:cxn ang="0">
                <a:pos x="156" y="282"/>
              </a:cxn>
              <a:cxn ang="0">
                <a:pos x="146" y="284"/>
              </a:cxn>
              <a:cxn ang="0">
                <a:pos x="130" y="282"/>
              </a:cxn>
              <a:cxn ang="0">
                <a:pos x="114" y="282"/>
              </a:cxn>
              <a:cxn ang="0">
                <a:pos x="102" y="278"/>
              </a:cxn>
              <a:cxn ang="0">
                <a:pos x="102" y="258"/>
              </a:cxn>
              <a:cxn ang="0">
                <a:pos x="98" y="248"/>
              </a:cxn>
              <a:cxn ang="0">
                <a:pos x="88" y="234"/>
              </a:cxn>
              <a:cxn ang="0">
                <a:pos x="70" y="230"/>
              </a:cxn>
              <a:cxn ang="0">
                <a:pos x="26" y="208"/>
              </a:cxn>
              <a:cxn ang="0">
                <a:pos x="22" y="190"/>
              </a:cxn>
              <a:cxn ang="0">
                <a:pos x="18" y="176"/>
              </a:cxn>
              <a:cxn ang="0">
                <a:pos x="6" y="156"/>
              </a:cxn>
              <a:cxn ang="0">
                <a:pos x="10" y="148"/>
              </a:cxn>
              <a:cxn ang="0">
                <a:pos x="4" y="132"/>
              </a:cxn>
              <a:cxn ang="0">
                <a:pos x="2" y="100"/>
              </a:cxn>
              <a:cxn ang="0">
                <a:pos x="18" y="76"/>
              </a:cxn>
              <a:cxn ang="0">
                <a:pos x="22" y="64"/>
              </a:cxn>
              <a:cxn ang="0">
                <a:pos x="22" y="54"/>
              </a:cxn>
              <a:cxn ang="0">
                <a:pos x="10" y="48"/>
              </a:cxn>
              <a:cxn ang="0">
                <a:pos x="22" y="44"/>
              </a:cxn>
              <a:cxn ang="0">
                <a:pos x="30" y="32"/>
              </a:cxn>
              <a:cxn ang="0">
                <a:pos x="28" y="8"/>
              </a:cxn>
              <a:cxn ang="0">
                <a:pos x="40" y="4"/>
              </a:cxn>
            </a:cxnLst>
            <a:rect l="0" t="0" r="r" b="b"/>
            <a:pathLst>
              <a:path w="220" h="286">
                <a:moveTo>
                  <a:pt x="48" y="0"/>
                </a:moveTo>
                <a:lnTo>
                  <a:pt x="48" y="0"/>
                </a:lnTo>
                <a:lnTo>
                  <a:pt x="50" y="10"/>
                </a:lnTo>
                <a:lnTo>
                  <a:pt x="50" y="20"/>
                </a:lnTo>
                <a:lnTo>
                  <a:pt x="46" y="30"/>
                </a:lnTo>
                <a:lnTo>
                  <a:pt x="44" y="38"/>
                </a:lnTo>
                <a:lnTo>
                  <a:pt x="44" y="38"/>
                </a:lnTo>
                <a:lnTo>
                  <a:pt x="42" y="42"/>
                </a:lnTo>
                <a:lnTo>
                  <a:pt x="42" y="44"/>
                </a:lnTo>
                <a:lnTo>
                  <a:pt x="44" y="44"/>
                </a:lnTo>
                <a:lnTo>
                  <a:pt x="42" y="48"/>
                </a:lnTo>
                <a:lnTo>
                  <a:pt x="42" y="48"/>
                </a:lnTo>
                <a:lnTo>
                  <a:pt x="42" y="50"/>
                </a:lnTo>
                <a:lnTo>
                  <a:pt x="44" y="50"/>
                </a:lnTo>
                <a:lnTo>
                  <a:pt x="46" y="52"/>
                </a:lnTo>
                <a:lnTo>
                  <a:pt x="48" y="54"/>
                </a:lnTo>
                <a:lnTo>
                  <a:pt x="48" y="54"/>
                </a:lnTo>
                <a:lnTo>
                  <a:pt x="50" y="50"/>
                </a:lnTo>
                <a:lnTo>
                  <a:pt x="56" y="50"/>
                </a:lnTo>
                <a:lnTo>
                  <a:pt x="56" y="50"/>
                </a:lnTo>
                <a:lnTo>
                  <a:pt x="60" y="50"/>
                </a:lnTo>
                <a:lnTo>
                  <a:pt x="62" y="52"/>
                </a:lnTo>
                <a:lnTo>
                  <a:pt x="64" y="54"/>
                </a:lnTo>
                <a:lnTo>
                  <a:pt x="70" y="52"/>
                </a:lnTo>
                <a:lnTo>
                  <a:pt x="70" y="52"/>
                </a:lnTo>
                <a:lnTo>
                  <a:pt x="80" y="48"/>
                </a:lnTo>
                <a:lnTo>
                  <a:pt x="82" y="48"/>
                </a:lnTo>
                <a:lnTo>
                  <a:pt x="82" y="44"/>
                </a:lnTo>
                <a:lnTo>
                  <a:pt x="82" y="44"/>
                </a:lnTo>
                <a:lnTo>
                  <a:pt x="82" y="40"/>
                </a:lnTo>
                <a:lnTo>
                  <a:pt x="84" y="38"/>
                </a:lnTo>
                <a:lnTo>
                  <a:pt x="84" y="38"/>
                </a:lnTo>
                <a:lnTo>
                  <a:pt x="82" y="36"/>
                </a:lnTo>
                <a:lnTo>
                  <a:pt x="82" y="36"/>
                </a:lnTo>
                <a:lnTo>
                  <a:pt x="80" y="34"/>
                </a:lnTo>
                <a:lnTo>
                  <a:pt x="82" y="30"/>
                </a:lnTo>
                <a:lnTo>
                  <a:pt x="84" y="28"/>
                </a:lnTo>
                <a:lnTo>
                  <a:pt x="84" y="26"/>
                </a:lnTo>
                <a:lnTo>
                  <a:pt x="84" y="26"/>
                </a:lnTo>
                <a:lnTo>
                  <a:pt x="84" y="24"/>
                </a:lnTo>
                <a:lnTo>
                  <a:pt x="86" y="22"/>
                </a:lnTo>
                <a:lnTo>
                  <a:pt x="90" y="18"/>
                </a:lnTo>
                <a:lnTo>
                  <a:pt x="94" y="14"/>
                </a:lnTo>
                <a:lnTo>
                  <a:pt x="96" y="10"/>
                </a:lnTo>
                <a:lnTo>
                  <a:pt x="96" y="6"/>
                </a:lnTo>
                <a:lnTo>
                  <a:pt x="96" y="6"/>
                </a:lnTo>
                <a:lnTo>
                  <a:pt x="164" y="52"/>
                </a:lnTo>
                <a:lnTo>
                  <a:pt x="164" y="52"/>
                </a:lnTo>
                <a:lnTo>
                  <a:pt x="168" y="54"/>
                </a:lnTo>
                <a:lnTo>
                  <a:pt x="170" y="58"/>
                </a:lnTo>
                <a:lnTo>
                  <a:pt x="170" y="66"/>
                </a:lnTo>
                <a:lnTo>
                  <a:pt x="170" y="72"/>
                </a:lnTo>
                <a:lnTo>
                  <a:pt x="172" y="76"/>
                </a:lnTo>
                <a:lnTo>
                  <a:pt x="176" y="80"/>
                </a:lnTo>
                <a:lnTo>
                  <a:pt x="176" y="80"/>
                </a:lnTo>
                <a:lnTo>
                  <a:pt x="194" y="94"/>
                </a:lnTo>
                <a:lnTo>
                  <a:pt x="210" y="108"/>
                </a:lnTo>
                <a:lnTo>
                  <a:pt x="210" y="108"/>
                </a:lnTo>
                <a:lnTo>
                  <a:pt x="206" y="114"/>
                </a:lnTo>
                <a:lnTo>
                  <a:pt x="206" y="120"/>
                </a:lnTo>
                <a:lnTo>
                  <a:pt x="204" y="128"/>
                </a:lnTo>
                <a:lnTo>
                  <a:pt x="196" y="140"/>
                </a:lnTo>
                <a:lnTo>
                  <a:pt x="196" y="140"/>
                </a:lnTo>
                <a:lnTo>
                  <a:pt x="194" y="148"/>
                </a:lnTo>
                <a:lnTo>
                  <a:pt x="194" y="154"/>
                </a:lnTo>
                <a:lnTo>
                  <a:pt x="196" y="158"/>
                </a:lnTo>
                <a:lnTo>
                  <a:pt x="200" y="162"/>
                </a:lnTo>
                <a:lnTo>
                  <a:pt x="204" y="166"/>
                </a:lnTo>
                <a:lnTo>
                  <a:pt x="208" y="170"/>
                </a:lnTo>
                <a:lnTo>
                  <a:pt x="210" y="174"/>
                </a:lnTo>
                <a:lnTo>
                  <a:pt x="208" y="180"/>
                </a:lnTo>
                <a:lnTo>
                  <a:pt x="208" y="180"/>
                </a:lnTo>
                <a:lnTo>
                  <a:pt x="206" y="186"/>
                </a:lnTo>
                <a:lnTo>
                  <a:pt x="206" y="188"/>
                </a:lnTo>
                <a:lnTo>
                  <a:pt x="206" y="190"/>
                </a:lnTo>
                <a:lnTo>
                  <a:pt x="202" y="198"/>
                </a:lnTo>
                <a:lnTo>
                  <a:pt x="202" y="198"/>
                </a:lnTo>
                <a:lnTo>
                  <a:pt x="200" y="202"/>
                </a:lnTo>
                <a:lnTo>
                  <a:pt x="200" y="206"/>
                </a:lnTo>
                <a:lnTo>
                  <a:pt x="202" y="214"/>
                </a:lnTo>
                <a:lnTo>
                  <a:pt x="208" y="222"/>
                </a:lnTo>
                <a:lnTo>
                  <a:pt x="210" y="228"/>
                </a:lnTo>
                <a:lnTo>
                  <a:pt x="210" y="236"/>
                </a:lnTo>
                <a:lnTo>
                  <a:pt x="210" y="236"/>
                </a:lnTo>
                <a:lnTo>
                  <a:pt x="210" y="242"/>
                </a:lnTo>
                <a:lnTo>
                  <a:pt x="212" y="246"/>
                </a:lnTo>
                <a:lnTo>
                  <a:pt x="220" y="256"/>
                </a:lnTo>
                <a:lnTo>
                  <a:pt x="220" y="256"/>
                </a:lnTo>
                <a:lnTo>
                  <a:pt x="218" y="260"/>
                </a:lnTo>
                <a:lnTo>
                  <a:pt x="214" y="264"/>
                </a:lnTo>
                <a:lnTo>
                  <a:pt x="204" y="268"/>
                </a:lnTo>
                <a:lnTo>
                  <a:pt x="194" y="270"/>
                </a:lnTo>
                <a:lnTo>
                  <a:pt x="188" y="270"/>
                </a:lnTo>
                <a:lnTo>
                  <a:pt x="188" y="270"/>
                </a:lnTo>
                <a:lnTo>
                  <a:pt x="182" y="270"/>
                </a:lnTo>
                <a:lnTo>
                  <a:pt x="176" y="270"/>
                </a:lnTo>
                <a:lnTo>
                  <a:pt x="170" y="272"/>
                </a:lnTo>
                <a:lnTo>
                  <a:pt x="170" y="274"/>
                </a:lnTo>
                <a:lnTo>
                  <a:pt x="172" y="276"/>
                </a:lnTo>
                <a:lnTo>
                  <a:pt x="172" y="276"/>
                </a:lnTo>
                <a:lnTo>
                  <a:pt x="170" y="278"/>
                </a:lnTo>
                <a:lnTo>
                  <a:pt x="166" y="280"/>
                </a:lnTo>
                <a:lnTo>
                  <a:pt x="160" y="282"/>
                </a:lnTo>
                <a:lnTo>
                  <a:pt x="156" y="282"/>
                </a:lnTo>
                <a:lnTo>
                  <a:pt x="156" y="282"/>
                </a:lnTo>
                <a:lnTo>
                  <a:pt x="152" y="280"/>
                </a:lnTo>
                <a:lnTo>
                  <a:pt x="148" y="280"/>
                </a:lnTo>
                <a:lnTo>
                  <a:pt x="146" y="284"/>
                </a:lnTo>
                <a:lnTo>
                  <a:pt x="144" y="286"/>
                </a:lnTo>
                <a:lnTo>
                  <a:pt x="140" y="286"/>
                </a:lnTo>
                <a:lnTo>
                  <a:pt x="136" y="284"/>
                </a:lnTo>
                <a:lnTo>
                  <a:pt x="130" y="282"/>
                </a:lnTo>
                <a:lnTo>
                  <a:pt x="130" y="282"/>
                </a:lnTo>
                <a:lnTo>
                  <a:pt x="122" y="278"/>
                </a:lnTo>
                <a:lnTo>
                  <a:pt x="118" y="278"/>
                </a:lnTo>
                <a:lnTo>
                  <a:pt x="114" y="282"/>
                </a:lnTo>
                <a:lnTo>
                  <a:pt x="104" y="284"/>
                </a:lnTo>
                <a:lnTo>
                  <a:pt x="104" y="284"/>
                </a:lnTo>
                <a:lnTo>
                  <a:pt x="104" y="278"/>
                </a:lnTo>
                <a:lnTo>
                  <a:pt x="102" y="278"/>
                </a:lnTo>
                <a:lnTo>
                  <a:pt x="100" y="274"/>
                </a:lnTo>
                <a:lnTo>
                  <a:pt x="100" y="266"/>
                </a:lnTo>
                <a:lnTo>
                  <a:pt x="100" y="266"/>
                </a:lnTo>
                <a:lnTo>
                  <a:pt x="102" y="258"/>
                </a:lnTo>
                <a:lnTo>
                  <a:pt x="100" y="256"/>
                </a:lnTo>
                <a:lnTo>
                  <a:pt x="98" y="254"/>
                </a:lnTo>
                <a:lnTo>
                  <a:pt x="98" y="248"/>
                </a:lnTo>
                <a:lnTo>
                  <a:pt x="98" y="248"/>
                </a:lnTo>
                <a:lnTo>
                  <a:pt x="96" y="240"/>
                </a:lnTo>
                <a:lnTo>
                  <a:pt x="92" y="236"/>
                </a:lnTo>
                <a:lnTo>
                  <a:pt x="90" y="234"/>
                </a:lnTo>
                <a:lnTo>
                  <a:pt x="88" y="234"/>
                </a:lnTo>
                <a:lnTo>
                  <a:pt x="86" y="236"/>
                </a:lnTo>
                <a:lnTo>
                  <a:pt x="86" y="236"/>
                </a:lnTo>
                <a:lnTo>
                  <a:pt x="70" y="230"/>
                </a:lnTo>
                <a:lnTo>
                  <a:pt x="70" y="230"/>
                </a:lnTo>
                <a:lnTo>
                  <a:pt x="52" y="224"/>
                </a:lnTo>
                <a:lnTo>
                  <a:pt x="44" y="218"/>
                </a:lnTo>
                <a:lnTo>
                  <a:pt x="36" y="212"/>
                </a:lnTo>
                <a:lnTo>
                  <a:pt x="26" y="208"/>
                </a:lnTo>
                <a:lnTo>
                  <a:pt x="26" y="208"/>
                </a:lnTo>
                <a:lnTo>
                  <a:pt x="26" y="204"/>
                </a:lnTo>
                <a:lnTo>
                  <a:pt x="26" y="198"/>
                </a:lnTo>
                <a:lnTo>
                  <a:pt x="22" y="190"/>
                </a:lnTo>
                <a:lnTo>
                  <a:pt x="18" y="182"/>
                </a:lnTo>
                <a:lnTo>
                  <a:pt x="18" y="178"/>
                </a:lnTo>
                <a:lnTo>
                  <a:pt x="18" y="176"/>
                </a:lnTo>
                <a:lnTo>
                  <a:pt x="18" y="176"/>
                </a:lnTo>
                <a:lnTo>
                  <a:pt x="18" y="172"/>
                </a:lnTo>
                <a:lnTo>
                  <a:pt x="18" y="170"/>
                </a:lnTo>
                <a:lnTo>
                  <a:pt x="10" y="162"/>
                </a:lnTo>
                <a:lnTo>
                  <a:pt x="6" y="156"/>
                </a:lnTo>
                <a:lnTo>
                  <a:pt x="6" y="154"/>
                </a:lnTo>
                <a:lnTo>
                  <a:pt x="8" y="150"/>
                </a:lnTo>
                <a:lnTo>
                  <a:pt x="8" y="150"/>
                </a:lnTo>
                <a:lnTo>
                  <a:pt x="10" y="148"/>
                </a:lnTo>
                <a:lnTo>
                  <a:pt x="8" y="144"/>
                </a:lnTo>
                <a:lnTo>
                  <a:pt x="6" y="138"/>
                </a:lnTo>
                <a:lnTo>
                  <a:pt x="4" y="132"/>
                </a:lnTo>
                <a:lnTo>
                  <a:pt x="4" y="132"/>
                </a:lnTo>
                <a:lnTo>
                  <a:pt x="4" y="124"/>
                </a:lnTo>
                <a:lnTo>
                  <a:pt x="2" y="116"/>
                </a:lnTo>
                <a:lnTo>
                  <a:pt x="0" y="110"/>
                </a:lnTo>
                <a:lnTo>
                  <a:pt x="2" y="100"/>
                </a:lnTo>
                <a:lnTo>
                  <a:pt x="2" y="100"/>
                </a:lnTo>
                <a:lnTo>
                  <a:pt x="10" y="90"/>
                </a:lnTo>
                <a:lnTo>
                  <a:pt x="16" y="82"/>
                </a:lnTo>
                <a:lnTo>
                  <a:pt x="18" y="76"/>
                </a:lnTo>
                <a:lnTo>
                  <a:pt x="20" y="70"/>
                </a:lnTo>
                <a:lnTo>
                  <a:pt x="20" y="70"/>
                </a:lnTo>
                <a:lnTo>
                  <a:pt x="20" y="66"/>
                </a:lnTo>
                <a:lnTo>
                  <a:pt x="22" y="64"/>
                </a:lnTo>
                <a:lnTo>
                  <a:pt x="24" y="60"/>
                </a:lnTo>
                <a:lnTo>
                  <a:pt x="24" y="54"/>
                </a:lnTo>
                <a:lnTo>
                  <a:pt x="24" y="54"/>
                </a:lnTo>
                <a:lnTo>
                  <a:pt x="22" y="54"/>
                </a:lnTo>
                <a:lnTo>
                  <a:pt x="20" y="52"/>
                </a:lnTo>
                <a:lnTo>
                  <a:pt x="14" y="52"/>
                </a:lnTo>
                <a:lnTo>
                  <a:pt x="12" y="50"/>
                </a:lnTo>
                <a:lnTo>
                  <a:pt x="10" y="48"/>
                </a:lnTo>
                <a:lnTo>
                  <a:pt x="10" y="46"/>
                </a:lnTo>
                <a:lnTo>
                  <a:pt x="14" y="42"/>
                </a:lnTo>
                <a:lnTo>
                  <a:pt x="14" y="42"/>
                </a:lnTo>
                <a:lnTo>
                  <a:pt x="22" y="44"/>
                </a:lnTo>
                <a:lnTo>
                  <a:pt x="26" y="42"/>
                </a:lnTo>
                <a:lnTo>
                  <a:pt x="28" y="38"/>
                </a:lnTo>
                <a:lnTo>
                  <a:pt x="30" y="32"/>
                </a:lnTo>
                <a:lnTo>
                  <a:pt x="30" y="32"/>
                </a:lnTo>
                <a:lnTo>
                  <a:pt x="32" y="26"/>
                </a:lnTo>
                <a:lnTo>
                  <a:pt x="32" y="22"/>
                </a:lnTo>
                <a:lnTo>
                  <a:pt x="28" y="16"/>
                </a:lnTo>
                <a:lnTo>
                  <a:pt x="28" y="8"/>
                </a:lnTo>
                <a:lnTo>
                  <a:pt x="28" y="4"/>
                </a:lnTo>
                <a:lnTo>
                  <a:pt x="30" y="0"/>
                </a:lnTo>
                <a:lnTo>
                  <a:pt x="30" y="0"/>
                </a:lnTo>
                <a:lnTo>
                  <a:pt x="40" y="4"/>
                </a:lnTo>
                <a:lnTo>
                  <a:pt x="44" y="2"/>
                </a:lnTo>
                <a:lnTo>
                  <a:pt x="48" y="0"/>
                </a:lnTo>
                <a:lnTo>
                  <a:pt x="48" y="0"/>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23" name="Freeform 60"/>
          <p:cNvSpPr>
            <a:spLocks/>
          </p:cNvSpPr>
          <p:nvPr/>
        </p:nvSpPr>
        <p:spPr bwMode="auto">
          <a:xfrm>
            <a:off x="4343183" y="2053719"/>
            <a:ext cx="371449" cy="364180"/>
          </a:xfrm>
          <a:custGeom>
            <a:avLst/>
            <a:gdLst/>
            <a:ahLst/>
            <a:cxnLst>
              <a:cxn ang="0">
                <a:pos x="4" y="248"/>
              </a:cxn>
              <a:cxn ang="0">
                <a:pos x="8" y="246"/>
              </a:cxn>
              <a:cxn ang="0">
                <a:pos x="18" y="242"/>
              </a:cxn>
              <a:cxn ang="0">
                <a:pos x="28" y="234"/>
              </a:cxn>
              <a:cxn ang="0">
                <a:pos x="48" y="232"/>
              </a:cxn>
              <a:cxn ang="0">
                <a:pos x="56" y="228"/>
              </a:cxn>
              <a:cxn ang="0">
                <a:pos x="76" y="220"/>
              </a:cxn>
              <a:cxn ang="0">
                <a:pos x="78" y="216"/>
              </a:cxn>
              <a:cxn ang="0">
                <a:pos x="82" y="198"/>
              </a:cxn>
              <a:cxn ang="0">
                <a:pos x="82" y="192"/>
              </a:cxn>
              <a:cxn ang="0">
                <a:pos x="84" y="188"/>
              </a:cxn>
              <a:cxn ang="0">
                <a:pos x="106" y="130"/>
              </a:cxn>
              <a:cxn ang="0">
                <a:pos x="112" y="128"/>
              </a:cxn>
              <a:cxn ang="0">
                <a:pos x="130" y="110"/>
              </a:cxn>
              <a:cxn ang="0">
                <a:pos x="148" y="94"/>
              </a:cxn>
              <a:cxn ang="0">
                <a:pos x="236" y="0"/>
              </a:cxn>
              <a:cxn ang="0">
                <a:pos x="302" y="14"/>
              </a:cxn>
              <a:cxn ang="0">
                <a:pos x="306" y="50"/>
              </a:cxn>
              <a:cxn ang="0">
                <a:pos x="306" y="66"/>
              </a:cxn>
              <a:cxn ang="0">
                <a:pos x="310" y="82"/>
              </a:cxn>
              <a:cxn ang="0">
                <a:pos x="314" y="90"/>
              </a:cxn>
              <a:cxn ang="0">
                <a:pos x="326" y="98"/>
              </a:cxn>
              <a:cxn ang="0">
                <a:pos x="324" y="106"/>
              </a:cxn>
              <a:cxn ang="0">
                <a:pos x="316" y="120"/>
              </a:cxn>
              <a:cxn ang="0">
                <a:pos x="316" y="180"/>
              </a:cxn>
              <a:cxn ang="0">
                <a:pos x="300" y="222"/>
              </a:cxn>
              <a:cxn ang="0">
                <a:pos x="290" y="234"/>
              </a:cxn>
              <a:cxn ang="0">
                <a:pos x="286" y="240"/>
              </a:cxn>
              <a:cxn ang="0">
                <a:pos x="282" y="252"/>
              </a:cxn>
              <a:cxn ang="0">
                <a:pos x="278" y="256"/>
              </a:cxn>
              <a:cxn ang="0">
                <a:pos x="274" y="270"/>
              </a:cxn>
              <a:cxn ang="0">
                <a:pos x="264" y="272"/>
              </a:cxn>
              <a:cxn ang="0">
                <a:pos x="264" y="278"/>
              </a:cxn>
              <a:cxn ang="0">
                <a:pos x="254" y="278"/>
              </a:cxn>
              <a:cxn ang="0">
                <a:pos x="212" y="280"/>
              </a:cxn>
              <a:cxn ang="0">
                <a:pos x="206" y="284"/>
              </a:cxn>
              <a:cxn ang="0">
                <a:pos x="190" y="290"/>
              </a:cxn>
              <a:cxn ang="0">
                <a:pos x="164" y="284"/>
              </a:cxn>
              <a:cxn ang="0">
                <a:pos x="154" y="278"/>
              </a:cxn>
              <a:cxn ang="0">
                <a:pos x="150" y="282"/>
              </a:cxn>
              <a:cxn ang="0">
                <a:pos x="144" y="280"/>
              </a:cxn>
              <a:cxn ang="0">
                <a:pos x="136" y="278"/>
              </a:cxn>
              <a:cxn ang="0">
                <a:pos x="130" y="270"/>
              </a:cxn>
              <a:cxn ang="0">
                <a:pos x="124" y="268"/>
              </a:cxn>
              <a:cxn ang="0">
                <a:pos x="114" y="268"/>
              </a:cxn>
              <a:cxn ang="0">
                <a:pos x="106" y="268"/>
              </a:cxn>
              <a:cxn ang="0">
                <a:pos x="102" y="266"/>
              </a:cxn>
              <a:cxn ang="0">
                <a:pos x="90" y="270"/>
              </a:cxn>
              <a:cxn ang="0">
                <a:pos x="80" y="286"/>
              </a:cxn>
              <a:cxn ang="0">
                <a:pos x="72" y="296"/>
              </a:cxn>
              <a:cxn ang="0">
                <a:pos x="72" y="314"/>
              </a:cxn>
              <a:cxn ang="0">
                <a:pos x="62" y="312"/>
              </a:cxn>
              <a:cxn ang="0">
                <a:pos x="44" y="316"/>
              </a:cxn>
              <a:cxn ang="0">
                <a:pos x="40" y="306"/>
              </a:cxn>
              <a:cxn ang="0">
                <a:pos x="40" y="304"/>
              </a:cxn>
              <a:cxn ang="0">
                <a:pos x="34" y="302"/>
              </a:cxn>
              <a:cxn ang="0">
                <a:pos x="18" y="294"/>
              </a:cxn>
              <a:cxn ang="0">
                <a:pos x="12" y="284"/>
              </a:cxn>
              <a:cxn ang="0">
                <a:pos x="16" y="278"/>
              </a:cxn>
              <a:cxn ang="0">
                <a:pos x="8" y="276"/>
              </a:cxn>
              <a:cxn ang="0">
                <a:pos x="0" y="258"/>
              </a:cxn>
            </a:cxnLst>
            <a:rect l="0" t="0" r="r" b="b"/>
            <a:pathLst>
              <a:path w="326" h="320">
                <a:moveTo>
                  <a:pt x="0" y="248"/>
                </a:moveTo>
                <a:lnTo>
                  <a:pt x="0" y="248"/>
                </a:lnTo>
                <a:lnTo>
                  <a:pt x="4" y="248"/>
                </a:lnTo>
                <a:lnTo>
                  <a:pt x="6" y="248"/>
                </a:lnTo>
                <a:lnTo>
                  <a:pt x="8" y="246"/>
                </a:lnTo>
                <a:lnTo>
                  <a:pt x="8" y="246"/>
                </a:lnTo>
                <a:lnTo>
                  <a:pt x="10" y="244"/>
                </a:lnTo>
                <a:lnTo>
                  <a:pt x="14" y="244"/>
                </a:lnTo>
                <a:lnTo>
                  <a:pt x="18" y="242"/>
                </a:lnTo>
                <a:lnTo>
                  <a:pt x="24" y="238"/>
                </a:lnTo>
                <a:lnTo>
                  <a:pt x="24" y="238"/>
                </a:lnTo>
                <a:lnTo>
                  <a:pt x="28" y="234"/>
                </a:lnTo>
                <a:lnTo>
                  <a:pt x="30" y="232"/>
                </a:lnTo>
                <a:lnTo>
                  <a:pt x="38" y="232"/>
                </a:lnTo>
                <a:lnTo>
                  <a:pt x="48" y="232"/>
                </a:lnTo>
                <a:lnTo>
                  <a:pt x="52" y="232"/>
                </a:lnTo>
                <a:lnTo>
                  <a:pt x="56" y="228"/>
                </a:lnTo>
                <a:lnTo>
                  <a:pt x="56" y="228"/>
                </a:lnTo>
                <a:lnTo>
                  <a:pt x="62" y="226"/>
                </a:lnTo>
                <a:lnTo>
                  <a:pt x="70" y="222"/>
                </a:lnTo>
                <a:lnTo>
                  <a:pt x="76" y="220"/>
                </a:lnTo>
                <a:lnTo>
                  <a:pt x="76" y="218"/>
                </a:lnTo>
                <a:lnTo>
                  <a:pt x="78" y="216"/>
                </a:lnTo>
                <a:lnTo>
                  <a:pt x="78" y="216"/>
                </a:lnTo>
                <a:lnTo>
                  <a:pt x="80" y="210"/>
                </a:lnTo>
                <a:lnTo>
                  <a:pt x="80" y="206"/>
                </a:lnTo>
                <a:lnTo>
                  <a:pt x="82" y="198"/>
                </a:lnTo>
                <a:lnTo>
                  <a:pt x="82" y="198"/>
                </a:lnTo>
                <a:lnTo>
                  <a:pt x="82" y="194"/>
                </a:lnTo>
                <a:lnTo>
                  <a:pt x="82" y="192"/>
                </a:lnTo>
                <a:lnTo>
                  <a:pt x="84" y="192"/>
                </a:lnTo>
                <a:lnTo>
                  <a:pt x="84" y="188"/>
                </a:lnTo>
                <a:lnTo>
                  <a:pt x="84" y="188"/>
                </a:lnTo>
                <a:lnTo>
                  <a:pt x="84" y="138"/>
                </a:lnTo>
                <a:lnTo>
                  <a:pt x="84" y="138"/>
                </a:lnTo>
                <a:lnTo>
                  <a:pt x="106" y="130"/>
                </a:lnTo>
                <a:lnTo>
                  <a:pt x="106" y="130"/>
                </a:lnTo>
                <a:lnTo>
                  <a:pt x="110" y="130"/>
                </a:lnTo>
                <a:lnTo>
                  <a:pt x="112" y="128"/>
                </a:lnTo>
                <a:lnTo>
                  <a:pt x="122" y="118"/>
                </a:lnTo>
                <a:lnTo>
                  <a:pt x="122" y="118"/>
                </a:lnTo>
                <a:lnTo>
                  <a:pt x="130" y="110"/>
                </a:lnTo>
                <a:lnTo>
                  <a:pt x="134" y="106"/>
                </a:lnTo>
                <a:lnTo>
                  <a:pt x="140" y="102"/>
                </a:lnTo>
                <a:lnTo>
                  <a:pt x="148" y="94"/>
                </a:lnTo>
                <a:lnTo>
                  <a:pt x="148" y="94"/>
                </a:lnTo>
                <a:lnTo>
                  <a:pt x="200" y="38"/>
                </a:lnTo>
                <a:lnTo>
                  <a:pt x="236" y="0"/>
                </a:lnTo>
                <a:lnTo>
                  <a:pt x="280" y="8"/>
                </a:lnTo>
                <a:lnTo>
                  <a:pt x="288" y="18"/>
                </a:lnTo>
                <a:lnTo>
                  <a:pt x="302" y="14"/>
                </a:lnTo>
                <a:lnTo>
                  <a:pt x="302" y="14"/>
                </a:lnTo>
                <a:lnTo>
                  <a:pt x="306" y="36"/>
                </a:lnTo>
                <a:lnTo>
                  <a:pt x="306" y="50"/>
                </a:lnTo>
                <a:lnTo>
                  <a:pt x="306" y="64"/>
                </a:lnTo>
                <a:lnTo>
                  <a:pt x="306" y="64"/>
                </a:lnTo>
                <a:lnTo>
                  <a:pt x="306" y="66"/>
                </a:lnTo>
                <a:lnTo>
                  <a:pt x="308" y="70"/>
                </a:lnTo>
                <a:lnTo>
                  <a:pt x="310" y="74"/>
                </a:lnTo>
                <a:lnTo>
                  <a:pt x="310" y="82"/>
                </a:lnTo>
                <a:lnTo>
                  <a:pt x="310" y="82"/>
                </a:lnTo>
                <a:lnTo>
                  <a:pt x="312" y="88"/>
                </a:lnTo>
                <a:lnTo>
                  <a:pt x="314" y="90"/>
                </a:lnTo>
                <a:lnTo>
                  <a:pt x="318" y="94"/>
                </a:lnTo>
                <a:lnTo>
                  <a:pt x="324" y="98"/>
                </a:lnTo>
                <a:lnTo>
                  <a:pt x="326" y="98"/>
                </a:lnTo>
                <a:lnTo>
                  <a:pt x="326" y="102"/>
                </a:lnTo>
                <a:lnTo>
                  <a:pt x="326" y="102"/>
                </a:lnTo>
                <a:lnTo>
                  <a:pt x="324" y="106"/>
                </a:lnTo>
                <a:lnTo>
                  <a:pt x="322" y="108"/>
                </a:lnTo>
                <a:lnTo>
                  <a:pt x="318" y="114"/>
                </a:lnTo>
                <a:lnTo>
                  <a:pt x="316" y="120"/>
                </a:lnTo>
                <a:lnTo>
                  <a:pt x="316" y="120"/>
                </a:lnTo>
                <a:lnTo>
                  <a:pt x="316" y="180"/>
                </a:lnTo>
                <a:lnTo>
                  <a:pt x="316" y="180"/>
                </a:lnTo>
                <a:lnTo>
                  <a:pt x="314" y="190"/>
                </a:lnTo>
                <a:lnTo>
                  <a:pt x="312" y="200"/>
                </a:lnTo>
                <a:lnTo>
                  <a:pt x="300" y="222"/>
                </a:lnTo>
                <a:lnTo>
                  <a:pt x="300" y="222"/>
                </a:lnTo>
                <a:lnTo>
                  <a:pt x="294" y="230"/>
                </a:lnTo>
                <a:lnTo>
                  <a:pt x="290" y="234"/>
                </a:lnTo>
                <a:lnTo>
                  <a:pt x="286" y="236"/>
                </a:lnTo>
                <a:lnTo>
                  <a:pt x="286" y="240"/>
                </a:lnTo>
                <a:lnTo>
                  <a:pt x="286" y="240"/>
                </a:lnTo>
                <a:lnTo>
                  <a:pt x="286" y="246"/>
                </a:lnTo>
                <a:lnTo>
                  <a:pt x="284" y="248"/>
                </a:lnTo>
                <a:lnTo>
                  <a:pt x="282" y="252"/>
                </a:lnTo>
                <a:lnTo>
                  <a:pt x="282" y="256"/>
                </a:lnTo>
                <a:lnTo>
                  <a:pt x="282" y="256"/>
                </a:lnTo>
                <a:lnTo>
                  <a:pt x="278" y="256"/>
                </a:lnTo>
                <a:lnTo>
                  <a:pt x="276" y="258"/>
                </a:lnTo>
                <a:lnTo>
                  <a:pt x="274" y="262"/>
                </a:lnTo>
                <a:lnTo>
                  <a:pt x="274" y="270"/>
                </a:lnTo>
                <a:lnTo>
                  <a:pt x="274" y="270"/>
                </a:lnTo>
                <a:lnTo>
                  <a:pt x="266" y="270"/>
                </a:lnTo>
                <a:lnTo>
                  <a:pt x="264" y="272"/>
                </a:lnTo>
                <a:lnTo>
                  <a:pt x="262" y="274"/>
                </a:lnTo>
                <a:lnTo>
                  <a:pt x="262" y="278"/>
                </a:lnTo>
                <a:lnTo>
                  <a:pt x="264" y="278"/>
                </a:lnTo>
                <a:lnTo>
                  <a:pt x="262" y="280"/>
                </a:lnTo>
                <a:lnTo>
                  <a:pt x="254" y="278"/>
                </a:lnTo>
                <a:lnTo>
                  <a:pt x="254" y="278"/>
                </a:lnTo>
                <a:lnTo>
                  <a:pt x="238" y="276"/>
                </a:lnTo>
                <a:lnTo>
                  <a:pt x="224" y="276"/>
                </a:lnTo>
                <a:lnTo>
                  <a:pt x="212" y="280"/>
                </a:lnTo>
                <a:lnTo>
                  <a:pt x="208" y="282"/>
                </a:lnTo>
                <a:lnTo>
                  <a:pt x="206" y="284"/>
                </a:lnTo>
                <a:lnTo>
                  <a:pt x="206" y="284"/>
                </a:lnTo>
                <a:lnTo>
                  <a:pt x="202" y="288"/>
                </a:lnTo>
                <a:lnTo>
                  <a:pt x="196" y="290"/>
                </a:lnTo>
                <a:lnTo>
                  <a:pt x="190" y="290"/>
                </a:lnTo>
                <a:lnTo>
                  <a:pt x="182" y="290"/>
                </a:lnTo>
                <a:lnTo>
                  <a:pt x="170" y="286"/>
                </a:lnTo>
                <a:lnTo>
                  <a:pt x="164" y="284"/>
                </a:lnTo>
                <a:lnTo>
                  <a:pt x="164" y="284"/>
                </a:lnTo>
                <a:lnTo>
                  <a:pt x="156" y="278"/>
                </a:lnTo>
                <a:lnTo>
                  <a:pt x="154" y="278"/>
                </a:lnTo>
                <a:lnTo>
                  <a:pt x="154" y="278"/>
                </a:lnTo>
                <a:lnTo>
                  <a:pt x="152" y="282"/>
                </a:lnTo>
                <a:lnTo>
                  <a:pt x="150" y="282"/>
                </a:lnTo>
                <a:lnTo>
                  <a:pt x="148" y="282"/>
                </a:lnTo>
                <a:lnTo>
                  <a:pt x="148" y="282"/>
                </a:lnTo>
                <a:lnTo>
                  <a:pt x="144" y="280"/>
                </a:lnTo>
                <a:lnTo>
                  <a:pt x="142" y="282"/>
                </a:lnTo>
                <a:lnTo>
                  <a:pt x="138" y="282"/>
                </a:lnTo>
                <a:lnTo>
                  <a:pt x="136" y="278"/>
                </a:lnTo>
                <a:lnTo>
                  <a:pt x="136" y="278"/>
                </a:lnTo>
                <a:lnTo>
                  <a:pt x="132" y="272"/>
                </a:lnTo>
                <a:lnTo>
                  <a:pt x="130" y="270"/>
                </a:lnTo>
                <a:lnTo>
                  <a:pt x="128" y="272"/>
                </a:lnTo>
                <a:lnTo>
                  <a:pt x="124" y="268"/>
                </a:lnTo>
                <a:lnTo>
                  <a:pt x="124" y="268"/>
                </a:lnTo>
                <a:lnTo>
                  <a:pt x="120" y="268"/>
                </a:lnTo>
                <a:lnTo>
                  <a:pt x="118" y="268"/>
                </a:lnTo>
                <a:lnTo>
                  <a:pt x="114" y="268"/>
                </a:lnTo>
                <a:lnTo>
                  <a:pt x="110" y="270"/>
                </a:lnTo>
                <a:lnTo>
                  <a:pt x="108" y="270"/>
                </a:lnTo>
                <a:lnTo>
                  <a:pt x="106" y="268"/>
                </a:lnTo>
                <a:lnTo>
                  <a:pt x="106" y="268"/>
                </a:lnTo>
                <a:lnTo>
                  <a:pt x="106" y="266"/>
                </a:lnTo>
                <a:lnTo>
                  <a:pt x="102" y="266"/>
                </a:lnTo>
                <a:lnTo>
                  <a:pt x="98" y="266"/>
                </a:lnTo>
                <a:lnTo>
                  <a:pt x="90" y="270"/>
                </a:lnTo>
                <a:lnTo>
                  <a:pt x="90" y="270"/>
                </a:lnTo>
                <a:lnTo>
                  <a:pt x="84" y="276"/>
                </a:lnTo>
                <a:lnTo>
                  <a:pt x="82" y="282"/>
                </a:lnTo>
                <a:lnTo>
                  <a:pt x="80" y="286"/>
                </a:lnTo>
                <a:lnTo>
                  <a:pt x="76" y="292"/>
                </a:lnTo>
                <a:lnTo>
                  <a:pt x="76" y="292"/>
                </a:lnTo>
                <a:lnTo>
                  <a:pt x="72" y="296"/>
                </a:lnTo>
                <a:lnTo>
                  <a:pt x="72" y="300"/>
                </a:lnTo>
                <a:lnTo>
                  <a:pt x="72" y="306"/>
                </a:lnTo>
                <a:lnTo>
                  <a:pt x="72" y="314"/>
                </a:lnTo>
                <a:lnTo>
                  <a:pt x="72" y="320"/>
                </a:lnTo>
                <a:lnTo>
                  <a:pt x="72" y="320"/>
                </a:lnTo>
                <a:lnTo>
                  <a:pt x="62" y="312"/>
                </a:lnTo>
                <a:lnTo>
                  <a:pt x="56" y="310"/>
                </a:lnTo>
                <a:lnTo>
                  <a:pt x="52" y="312"/>
                </a:lnTo>
                <a:lnTo>
                  <a:pt x="44" y="316"/>
                </a:lnTo>
                <a:lnTo>
                  <a:pt x="44" y="316"/>
                </a:lnTo>
                <a:lnTo>
                  <a:pt x="38" y="308"/>
                </a:lnTo>
                <a:lnTo>
                  <a:pt x="40" y="306"/>
                </a:lnTo>
                <a:lnTo>
                  <a:pt x="40" y="306"/>
                </a:lnTo>
                <a:lnTo>
                  <a:pt x="42" y="306"/>
                </a:lnTo>
                <a:lnTo>
                  <a:pt x="40" y="304"/>
                </a:lnTo>
                <a:lnTo>
                  <a:pt x="40" y="304"/>
                </a:lnTo>
                <a:lnTo>
                  <a:pt x="36" y="302"/>
                </a:lnTo>
                <a:lnTo>
                  <a:pt x="34" y="302"/>
                </a:lnTo>
                <a:lnTo>
                  <a:pt x="28" y="300"/>
                </a:lnTo>
                <a:lnTo>
                  <a:pt x="18" y="294"/>
                </a:lnTo>
                <a:lnTo>
                  <a:pt x="18" y="294"/>
                </a:lnTo>
                <a:lnTo>
                  <a:pt x="10" y="288"/>
                </a:lnTo>
                <a:lnTo>
                  <a:pt x="10" y="286"/>
                </a:lnTo>
                <a:lnTo>
                  <a:pt x="12" y="284"/>
                </a:lnTo>
                <a:lnTo>
                  <a:pt x="12" y="284"/>
                </a:lnTo>
                <a:lnTo>
                  <a:pt x="16" y="280"/>
                </a:lnTo>
                <a:lnTo>
                  <a:pt x="16" y="278"/>
                </a:lnTo>
                <a:lnTo>
                  <a:pt x="12" y="278"/>
                </a:lnTo>
                <a:lnTo>
                  <a:pt x="12" y="278"/>
                </a:lnTo>
                <a:lnTo>
                  <a:pt x="8" y="276"/>
                </a:lnTo>
                <a:lnTo>
                  <a:pt x="6" y="274"/>
                </a:lnTo>
                <a:lnTo>
                  <a:pt x="2" y="266"/>
                </a:lnTo>
                <a:lnTo>
                  <a:pt x="0" y="258"/>
                </a:lnTo>
                <a:lnTo>
                  <a:pt x="0" y="248"/>
                </a:lnTo>
                <a:lnTo>
                  <a:pt x="0" y="248"/>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24" name="Freeform 61"/>
          <p:cNvSpPr>
            <a:spLocks/>
          </p:cNvSpPr>
          <p:nvPr/>
        </p:nvSpPr>
        <p:spPr bwMode="auto">
          <a:xfrm>
            <a:off x="3942111" y="1962674"/>
            <a:ext cx="193700" cy="184367"/>
          </a:xfrm>
          <a:custGeom>
            <a:avLst/>
            <a:gdLst/>
            <a:ahLst/>
            <a:cxnLst>
              <a:cxn ang="0">
                <a:pos x="4" y="162"/>
              </a:cxn>
              <a:cxn ang="0">
                <a:pos x="4" y="162"/>
              </a:cxn>
              <a:cxn ang="0">
                <a:pos x="6" y="160"/>
              </a:cxn>
              <a:cxn ang="0">
                <a:pos x="4" y="160"/>
              </a:cxn>
              <a:cxn ang="0">
                <a:pos x="2" y="162"/>
              </a:cxn>
              <a:cxn ang="0">
                <a:pos x="0" y="162"/>
              </a:cxn>
              <a:cxn ang="0">
                <a:pos x="0" y="162"/>
              </a:cxn>
              <a:cxn ang="0">
                <a:pos x="2" y="154"/>
              </a:cxn>
              <a:cxn ang="0">
                <a:pos x="2" y="154"/>
              </a:cxn>
              <a:cxn ang="0">
                <a:pos x="6" y="144"/>
              </a:cxn>
              <a:cxn ang="0">
                <a:pos x="12" y="136"/>
              </a:cxn>
              <a:cxn ang="0">
                <a:pos x="16" y="128"/>
              </a:cxn>
              <a:cxn ang="0">
                <a:pos x="20" y="112"/>
              </a:cxn>
              <a:cxn ang="0">
                <a:pos x="20" y="112"/>
              </a:cxn>
              <a:cxn ang="0">
                <a:pos x="22" y="104"/>
              </a:cxn>
              <a:cxn ang="0">
                <a:pos x="26" y="96"/>
              </a:cxn>
              <a:cxn ang="0">
                <a:pos x="34" y="84"/>
              </a:cxn>
              <a:cxn ang="0">
                <a:pos x="44" y="72"/>
              </a:cxn>
              <a:cxn ang="0">
                <a:pos x="48" y="64"/>
              </a:cxn>
              <a:cxn ang="0">
                <a:pos x="52" y="54"/>
              </a:cxn>
              <a:cxn ang="0">
                <a:pos x="52" y="54"/>
              </a:cxn>
              <a:cxn ang="0">
                <a:pos x="56" y="44"/>
              </a:cxn>
              <a:cxn ang="0">
                <a:pos x="60" y="38"/>
              </a:cxn>
              <a:cxn ang="0">
                <a:pos x="64" y="34"/>
              </a:cxn>
              <a:cxn ang="0">
                <a:pos x="66" y="34"/>
              </a:cxn>
              <a:cxn ang="0">
                <a:pos x="70" y="34"/>
              </a:cxn>
              <a:cxn ang="0">
                <a:pos x="72" y="32"/>
              </a:cxn>
              <a:cxn ang="0">
                <a:pos x="74" y="28"/>
              </a:cxn>
              <a:cxn ang="0">
                <a:pos x="78" y="20"/>
              </a:cxn>
              <a:cxn ang="0">
                <a:pos x="78" y="20"/>
              </a:cxn>
              <a:cxn ang="0">
                <a:pos x="82" y="8"/>
              </a:cxn>
              <a:cxn ang="0">
                <a:pos x="88" y="0"/>
              </a:cxn>
              <a:cxn ang="0">
                <a:pos x="170" y="0"/>
              </a:cxn>
              <a:cxn ang="0">
                <a:pos x="170" y="12"/>
              </a:cxn>
              <a:cxn ang="0">
                <a:pos x="170" y="46"/>
              </a:cxn>
              <a:cxn ang="0">
                <a:pos x="102" y="46"/>
              </a:cxn>
              <a:cxn ang="0">
                <a:pos x="102" y="46"/>
              </a:cxn>
              <a:cxn ang="0">
                <a:pos x="100" y="104"/>
              </a:cxn>
              <a:cxn ang="0">
                <a:pos x="100" y="104"/>
              </a:cxn>
              <a:cxn ang="0">
                <a:pos x="98" y="108"/>
              </a:cxn>
              <a:cxn ang="0">
                <a:pos x="96" y="110"/>
              </a:cxn>
              <a:cxn ang="0">
                <a:pos x="90" y="110"/>
              </a:cxn>
              <a:cxn ang="0">
                <a:pos x="86" y="112"/>
              </a:cxn>
              <a:cxn ang="0">
                <a:pos x="82" y="114"/>
              </a:cxn>
              <a:cxn ang="0">
                <a:pos x="80" y="120"/>
              </a:cxn>
              <a:cxn ang="0">
                <a:pos x="80" y="128"/>
              </a:cxn>
              <a:cxn ang="0">
                <a:pos x="80" y="128"/>
              </a:cxn>
              <a:cxn ang="0">
                <a:pos x="80" y="156"/>
              </a:cxn>
              <a:cxn ang="0">
                <a:pos x="80" y="156"/>
              </a:cxn>
              <a:cxn ang="0">
                <a:pos x="18" y="156"/>
              </a:cxn>
              <a:cxn ang="0">
                <a:pos x="18" y="156"/>
              </a:cxn>
              <a:cxn ang="0">
                <a:pos x="12" y="156"/>
              </a:cxn>
              <a:cxn ang="0">
                <a:pos x="8" y="156"/>
              </a:cxn>
              <a:cxn ang="0">
                <a:pos x="4" y="162"/>
              </a:cxn>
              <a:cxn ang="0">
                <a:pos x="4" y="162"/>
              </a:cxn>
            </a:cxnLst>
            <a:rect l="0" t="0" r="r" b="b"/>
            <a:pathLst>
              <a:path w="170" h="162">
                <a:moveTo>
                  <a:pt x="4" y="162"/>
                </a:moveTo>
                <a:lnTo>
                  <a:pt x="4" y="162"/>
                </a:lnTo>
                <a:lnTo>
                  <a:pt x="6" y="160"/>
                </a:lnTo>
                <a:lnTo>
                  <a:pt x="4" y="160"/>
                </a:lnTo>
                <a:lnTo>
                  <a:pt x="2" y="162"/>
                </a:lnTo>
                <a:lnTo>
                  <a:pt x="0" y="162"/>
                </a:lnTo>
                <a:lnTo>
                  <a:pt x="0" y="162"/>
                </a:lnTo>
                <a:lnTo>
                  <a:pt x="2" y="154"/>
                </a:lnTo>
                <a:lnTo>
                  <a:pt x="2" y="154"/>
                </a:lnTo>
                <a:lnTo>
                  <a:pt x="6" y="144"/>
                </a:lnTo>
                <a:lnTo>
                  <a:pt x="12" y="136"/>
                </a:lnTo>
                <a:lnTo>
                  <a:pt x="16" y="128"/>
                </a:lnTo>
                <a:lnTo>
                  <a:pt x="20" y="112"/>
                </a:lnTo>
                <a:lnTo>
                  <a:pt x="20" y="112"/>
                </a:lnTo>
                <a:lnTo>
                  <a:pt x="22" y="104"/>
                </a:lnTo>
                <a:lnTo>
                  <a:pt x="26" y="96"/>
                </a:lnTo>
                <a:lnTo>
                  <a:pt x="34" y="84"/>
                </a:lnTo>
                <a:lnTo>
                  <a:pt x="44" y="72"/>
                </a:lnTo>
                <a:lnTo>
                  <a:pt x="48" y="64"/>
                </a:lnTo>
                <a:lnTo>
                  <a:pt x="52" y="54"/>
                </a:lnTo>
                <a:lnTo>
                  <a:pt x="52" y="54"/>
                </a:lnTo>
                <a:lnTo>
                  <a:pt x="56" y="44"/>
                </a:lnTo>
                <a:lnTo>
                  <a:pt x="60" y="38"/>
                </a:lnTo>
                <a:lnTo>
                  <a:pt x="64" y="34"/>
                </a:lnTo>
                <a:lnTo>
                  <a:pt x="66" y="34"/>
                </a:lnTo>
                <a:lnTo>
                  <a:pt x="70" y="34"/>
                </a:lnTo>
                <a:lnTo>
                  <a:pt x="72" y="32"/>
                </a:lnTo>
                <a:lnTo>
                  <a:pt x="74" y="28"/>
                </a:lnTo>
                <a:lnTo>
                  <a:pt x="78" y="20"/>
                </a:lnTo>
                <a:lnTo>
                  <a:pt x="78" y="20"/>
                </a:lnTo>
                <a:lnTo>
                  <a:pt x="82" y="8"/>
                </a:lnTo>
                <a:lnTo>
                  <a:pt x="88" y="0"/>
                </a:lnTo>
                <a:lnTo>
                  <a:pt x="170" y="0"/>
                </a:lnTo>
                <a:lnTo>
                  <a:pt x="170" y="12"/>
                </a:lnTo>
                <a:lnTo>
                  <a:pt x="170" y="46"/>
                </a:lnTo>
                <a:lnTo>
                  <a:pt x="102" y="46"/>
                </a:lnTo>
                <a:lnTo>
                  <a:pt x="102" y="46"/>
                </a:lnTo>
                <a:lnTo>
                  <a:pt x="100" y="104"/>
                </a:lnTo>
                <a:lnTo>
                  <a:pt x="100" y="104"/>
                </a:lnTo>
                <a:lnTo>
                  <a:pt x="98" y="108"/>
                </a:lnTo>
                <a:lnTo>
                  <a:pt x="96" y="110"/>
                </a:lnTo>
                <a:lnTo>
                  <a:pt x="90" y="110"/>
                </a:lnTo>
                <a:lnTo>
                  <a:pt x="86" y="112"/>
                </a:lnTo>
                <a:lnTo>
                  <a:pt x="82" y="114"/>
                </a:lnTo>
                <a:lnTo>
                  <a:pt x="80" y="120"/>
                </a:lnTo>
                <a:lnTo>
                  <a:pt x="80" y="128"/>
                </a:lnTo>
                <a:lnTo>
                  <a:pt x="80" y="128"/>
                </a:lnTo>
                <a:lnTo>
                  <a:pt x="80" y="156"/>
                </a:lnTo>
                <a:lnTo>
                  <a:pt x="80" y="156"/>
                </a:lnTo>
                <a:lnTo>
                  <a:pt x="18" y="156"/>
                </a:lnTo>
                <a:lnTo>
                  <a:pt x="18" y="156"/>
                </a:lnTo>
                <a:lnTo>
                  <a:pt x="12" y="156"/>
                </a:lnTo>
                <a:lnTo>
                  <a:pt x="8" y="156"/>
                </a:lnTo>
                <a:lnTo>
                  <a:pt x="4" y="162"/>
                </a:lnTo>
                <a:lnTo>
                  <a:pt x="4" y="162"/>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25" name="Yemen"/>
          <p:cNvSpPr>
            <a:spLocks/>
          </p:cNvSpPr>
          <p:nvPr/>
        </p:nvSpPr>
        <p:spPr bwMode="auto">
          <a:xfrm>
            <a:off x="5361818" y="2222153"/>
            <a:ext cx="252950" cy="172985"/>
          </a:xfrm>
          <a:custGeom>
            <a:avLst/>
            <a:gdLst/>
            <a:ahLst/>
            <a:cxnLst>
              <a:cxn ang="0">
                <a:pos x="0" y="62"/>
              </a:cxn>
              <a:cxn ang="0">
                <a:pos x="6" y="94"/>
              </a:cxn>
              <a:cxn ang="0">
                <a:pos x="8" y="100"/>
              </a:cxn>
              <a:cxn ang="0">
                <a:pos x="10" y="110"/>
              </a:cxn>
              <a:cxn ang="0">
                <a:pos x="16" y="124"/>
              </a:cxn>
              <a:cxn ang="0">
                <a:pos x="16" y="130"/>
              </a:cxn>
              <a:cxn ang="0">
                <a:pos x="16" y="138"/>
              </a:cxn>
              <a:cxn ang="0">
                <a:pos x="20" y="146"/>
              </a:cxn>
              <a:cxn ang="0">
                <a:pos x="36" y="152"/>
              </a:cxn>
              <a:cxn ang="0">
                <a:pos x="50" y="148"/>
              </a:cxn>
              <a:cxn ang="0">
                <a:pos x="52" y="146"/>
              </a:cxn>
              <a:cxn ang="0">
                <a:pos x="56" y="144"/>
              </a:cxn>
              <a:cxn ang="0">
                <a:pos x="66" y="138"/>
              </a:cxn>
              <a:cxn ang="0">
                <a:pos x="70" y="136"/>
              </a:cxn>
              <a:cxn ang="0">
                <a:pos x="84" y="132"/>
              </a:cxn>
              <a:cxn ang="0">
                <a:pos x="98" y="128"/>
              </a:cxn>
              <a:cxn ang="0">
                <a:pos x="102" y="124"/>
              </a:cxn>
              <a:cxn ang="0">
                <a:pos x="110" y="120"/>
              </a:cxn>
              <a:cxn ang="0">
                <a:pos x="130" y="116"/>
              </a:cxn>
              <a:cxn ang="0">
                <a:pos x="138" y="108"/>
              </a:cxn>
              <a:cxn ang="0">
                <a:pos x="142" y="104"/>
              </a:cxn>
              <a:cxn ang="0">
                <a:pos x="162" y="94"/>
              </a:cxn>
              <a:cxn ang="0">
                <a:pos x="184" y="86"/>
              </a:cxn>
              <a:cxn ang="0">
                <a:pos x="190" y="82"/>
              </a:cxn>
              <a:cxn ang="0">
                <a:pos x="204" y="78"/>
              </a:cxn>
              <a:cxn ang="0">
                <a:pos x="204" y="74"/>
              </a:cxn>
              <a:cxn ang="0">
                <a:pos x="202" y="70"/>
              </a:cxn>
              <a:cxn ang="0">
                <a:pos x="202" y="64"/>
              </a:cxn>
              <a:cxn ang="0">
                <a:pos x="214" y="56"/>
              </a:cxn>
              <a:cxn ang="0">
                <a:pos x="222" y="52"/>
              </a:cxn>
              <a:cxn ang="0">
                <a:pos x="212" y="48"/>
              </a:cxn>
              <a:cxn ang="0">
                <a:pos x="214" y="42"/>
              </a:cxn>
              <a:cxn ang="0">
                <a:pos x="214" y="36"/>
              </a:cxn>
              <a:cxn ang="0">
                <a:pos x="210" y="34"/>
              </a:cxn>
              <a:cxn ang="0">
                <a:pos x="192" y="26"/>
              </a:cxn>
              <a:cxn ang="0">
                <a:pos x="184" y="18"/>
              </a:cxn>
              <a:cxn ang="0">
                <a:pos x="182" y="0"/>
              </a:cxn>
              <a:cxn ang="0">
                <a:pos x="134" y="20"/>
              </a:cxn>
              <a:cxn ang="0">
                <a:pos x="114" y="44"/>
              </a:cxn>
              <a:cxn ang="0">
                <a:pos x="78" y="80"/>
              </a:cxn>
              <a:cxn ang="0">
                <a:pos x="80" y="70"/>
              </a:cxn>
              <a:cxn ang="0">
                <a:pos x="76" y="62"/>
              </a:cxn>
              <a:cxn ang="0">
                <a:pos x="70" y="60"/>
              </a:cxn>
              <a:cxn ang="0">
                <a:pos x="60" y="54"/>
              </a:cxn>
              <a:cxn ang="0">
                <a:pos x="34" y="46"/>
              </a:cxn>
              <a:cxn ang="0">
                <a:pos x="22" y="44"/>
              </a:cxn>
              <a:cxn ang="0">
                <a:pos x="18" y="46"/>
              </a:cxn>
              <a:cxn ang="0">
                <a:pos x="14" y="50"/>
              </a:cxn>
              <a:cxn ang="0">
                <a:pos x="12" y="52"/>
              </a:cxn>
              <a:cxn ang="0">
                <a:pos x="12" y="56"/>
              </a:cxn>
              <a:cxn ang="0">
                <a:pos x="10" y="60"/>
              </a:cxn>
              <a:cxn ang="0">
                <a:pos x="0" y="62"/>
              </a:cxn>
            </a:cxnLst>
            <a:rect l="0" t="0" r="r" b="b"/>
            <a:pathLst>
              <a:path w="222" h="152">
                <a:moveTo>
                  <a:pt x="0" y="62"/>
                </a:moveTo>
                <a:lnTo>
                  <a:pt x="0" y="62"/>
                </a:lnTo>
                <a:lnTo>
                  <a:pt x="4" y="84"/>
                </a:lnTo>
                <a:lnTo>
                  <a:pt x="6" y="94"/>
                </a:lnTo>
                <a:lnTo>
                  <a:pt x="8" y="98"/>
                </a:lnTo>
                <a:lnTo>
                  <a:pt x="8" y="100"/>
                </a:lnTo>
                <a:lnTo>
                  <a:pt x="8" y="100"/>
                </a:lnTo>
                <a:lnTo>
                  <a:pt x="10" y="110"/>
                </a:lnTo>
                <a:lnTo>
                  <a:pt x="14" y="118"/>
                </a:lnTo>
                <a:lnTo>
                  <a:pt x="16" y="124"/>
                </a:lnTo>
                <a:lnTo>
                  <a:pt x="16" y="130"/>
                </a:lnTo>
                <a:lnTo>
                  <a:pt x="16" y="130"/>
                </a:lnTo>
                <a:lnTo>
                  <a:pt x="14" y="134"/>
                </a:lnTo>
                <a:lnTo>
                  <a:pt x="16" y="138"/>
                </a:lnTo>
                <a:lnTo>
                  <a:pt x="20" y="146"/>
                </a:lnTo>
                <a:lnTo>
                  <a:pt x="20" y="146"/>
                </a:lnTo>
                <a:lnTo>
                  <a:pt x="26" y="150"/>
                </a:lnTo>
                <a:lnTo>
                  <a:pt x="36" y="152"/>
                </a:lnTo>
                <a:lnTo>
                  <a:pt x="46" y="150"/>
                </a:lnTo>
                <a:lnTo>
                  <a:pt x="50" y="148"/>
                </a:lnTo>
                <a:lnTo>
                  <a:pt x="52" y="146"/>
                </a:lnTo>
                <a:lnTo>
                  <a:pt x="52" y="146"/>
                </a:lnTo>
                <a:lnTo>
                  <a:pt x="54" y="144"/>
                </a:lnTo>
                <a:lnTo>
                  <a:pt x="56" y="144"/>
                </a:lnTo>
                <a:lnTo>
                  <a:pt x="60" y="144"/>
                </a:lnTo>
                <a:lnTo>
                  <a:pt x="66" y="138"/>
                </a:lnTo>
                <a:lnTo>
                  <a:pt x="66" y="138"/>
                </a:lnTo>
                <a:lnTo>
                  <a:pt x="70" y="136"/>
                </a:lnTo>
                <a:lnTo>
                  <a:pt x="74" y="134"/>
                </a:lnTo>
                <a:lnTo>
                  <a:pt x="84" y="132"/>
                </a:lnTo>
                <a:lnTo>
                  <a:pt x="94" y="132"/>
                </a:lnTo>
                <a:lnTo>
                  <a:pt x="98" y="128"/>
                </a:lnTo>
                <a:lnTo>
                  <a:pt x="102" y="124"/>
                </a:lnTo>
                <a:lnTo>
                  <a:pt x="102" y="124"/>
                </a:lnTo>
                <a:lnTo>
                  <a:pt x="106" y="122"/>
                </a:lnTo>
                <a:lnTo>
                  <a:pt x="110" y="120"/>
                </a:lnTo>
                <a:lnTo>
                  <a:pt x="120" y="118"/>
                </a:lnTo>
                <a:lnTo>
                  <a:pt x="130" y="116"/>
                </a:lnTo>
                <a:lnTo>
                  <a:pt x="134" y="112"/>
                </a:lnTo>
                <a:lnTo>
                  <a:pt x="138" y="108"/>
                </a:lnTo>
                <a:lnTo>
                  <a:pt x="138" y="108"/>
                </a:lnTo>
                <a:lnTo>
                  <a:pt x="142" y="104"/>
                </a:lnTo>
                <a:lnTo>
                  <a:pt x="148" y="100"/>
                </a:lnTo>
                <a:lnTo>
                  <a:pt x="162" y="94"/>
                </a:lnTo>
                <a:lnTo>
                  <a:pt x="176" y="90"/>
                </a:lnTo>
                <a:lnTo>
                  <a:pt x="184" y="86"/>
                </a:lnTo>
                <a:lnTo>
                  <a:pt x="184" y="86"/>
                </a:lnTo>
                <a:lnTo>
                  <a:pt x="190" y="82"/>
                </a:lnTo>
                <a:lnTo>
                  <a:pt x="198" y="80"/>
                </a:lnTo>
                <a:lnTo>
                  <a:pt x="204" y="78"/>
                </a:lnTo>
                <a:lnTo>
                  <a:pt x="206" y="76"/>
                </a:lnTo>
                <a:lnTo>
                  <a:pt x="204" y="74"/>
                </a:lnTo>
                <a:lnTo>
                  <a:pt x="204" y="74"/>
                </a:lnTo>
                <a:lnTo>
                  <a:pt x="202" y="70"/>
                </a:lnTo>
                <a:lnTo>
                  <a:pt x="202" y="68"/>
                </a:lnTo>
                <a:lnTo>
                  <a:pt x="202" y="64"/>
                </a:lnTo>
                <a:lnTo>
                  <a:pt x="206" y="62"/>
                </a:lnTo>
                <a:lnTo>
                  <a:pt x="214" y="56"/>
                </a:lnTo>
                <a:lnTo>
                  <a:pt x="222" y="52"/>
                </a:lnTo>
                <a:lnTo>
                  <a:pt x="222" y="52"/>
                </a:lnTo>
                <a:lnTo>
                  <a:pt x="216" y="50"/>
                </a:lnTo>
                <a:lnTo>
                  <a:pt x="212" y="48"/>
                </a:lnTo>
                <a:lnTo>
                  <a:pt x="212" y="44"/>
                </a:lnTo>
                <a:lnTo>
                  <a:pt x="214" y="42"/>
                </a:lnTo>
                <a:lnTo>
                  <a:pt x="216" y="38"/>
                </a:lnTo>
                <a:lnTo>
                  <a:pt x="214" y="36"/>
                </a:lnTo>
                <a:lnTo>
                  <a:pt x="210" y="34"/>
                </a:lnTo>
                <a:lnTo>
                  <a:pt x="210" y="34"/>
                </a:lnTo>
                <a:lnTo>
                  <a:pt x="200" y="30"/>
                </a:lnTo>
                <a:lnTo>
                  <a:pt x="192" y="26"/>
                </a:lnTo>
                <a:lnTo>
                  <a:pt x="186" y="22"/>
                </a:lnTo>
                <a:lnTo>
                  <a:pt x="184" y="18"/>
                </a:lnTo>
                <a:lnTo>
                  <a:pt x="182" y="10"/>
                </a:lnTo>
                <a:lnTo>
                  <a:pt x="182" y="0"/>
                </a:lnTo>
                <a:lnTo>
                  <a:pt x="182" y="0"/>
                </a:lnTo>
                <a:lnTo>
                  <a:pt x="134" y="20"/>
                </a:lnTo>
                <a:lnTo>
                  <a:pt x="134" y="20"/>
                </a:lnTo>
                <a:lnTo>
                  <a:pt x="114" y="44"/>
                </a:lnTo>
                <a:lnTo>
                  <a:pt x="94" y="64"/>
                </a:lnTo>
                <a:lnTo>
                  <a:pt x="78" y="80"/>
                </a:lnTo>
                <a:lnTo>
                  <a:pt x="78" y="80"/>
                </a:lnTo>
                <a:lnTo>
                  <a:pt x="80" y="70"/>
                </a:lnTo>
                <a:lnTo>
                  <a:pt x="78" y="64"/>
                </a:lnTo>
                <a:lnTo>
                  <a:pt x="76" y="62"/>
                </a:lnTo>
                <a:lnTo>
                  <a:pt x="70" y="60"/>
                </a:lnTo>
                <a:lnTo>
                  <a:pt x="70" y="60"/>
                </a:lnTo>
                <a:lnTo>
                  <a:pt x="66" y="56"/>
                </a:lnTo>
                <a:lnTo>
                  <a:pt x="60" y="54"/>
                </a:lnTo>
                <a:lnTo>
                  <a:pt x="52" y="50"/>
                </a:lnTo>
                <a:lnTo>
                  <a:pt x="34" y="46"/>
                </a:lnTo>
                <a:lnTo>
                  <a:pt x="34" y="46"/>
                </a:lnTo>
                <a:lnTo>
                  <a:pt x="22" y="44"/>
                </a:lnTo>
                <a:lnTo>
                  <a:pt x="18" y="44"/>
                </a:lnTo>
                <a:lnTo>
                  <a:pt x="18" y="46"/>
                </a:lnTo>
                <a:lnTo>
                  <a:pt x="18" y="48"/>
                </a:lnTo>
                <a:lnTo>
                  <a:pt x="14" y="50"/>
                </a:lnTo>
                <a:lnTo>
                  <a:pt x="14" y="50"/>
                </a:lnTo>
                <a:lnTo>
                  <a:pt x="12" y="52"/>
                </a:lnTo>
                <a:lnTo>
                  <a:pt x="12" y="54"/>
                </a:lnTo>
                <a:lnTo>
                  <a:pt x="12" y="56"/>
                </a:lnTo>
                <a:lnTo>
                  <a:pt x="12" y="58"/>
                </a:lnTo>
                <a:lnTo>
                  <a:pt x="10" y="60"/>
                </a:lnTo>
                <a:lnTo>
                  <a:pt x="0" y="62"/>
                </a:lnTo>
                <a:lnTo>
                  <a:pt x="0" y="62"/>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26" name="Freeform 64"/>
          <p:cNvSpPr>
            <a:spLocks/>
          </p:cNvSpPr>
          <p:nvPr/>
        </p:nvSpPr>
        <p:spPr bwMode="auto">
          <a:xfrm>
            <a:off x="6161686" y="1345844"/>
            <a:ext cx="669975" cy="241269"/>
          </a:xfrm>
          <a:custGeom>
            <a:avLst/>
            <a:gdLst/>
            <a:ahLst/>
            <a:cxnLst>
              <a:cxn ang="0">
                <a:pos x="4" y="60"/>
              </a:cxn>
              <a:cxn ang="0">
                <a:pos x="18" y="50"/>
              </a:cxn>
              <a:cxn ang="0">
                <a:pos x="24" y="48"/>
              </a:cxn>
              <a:cxn ang="0">
                <a:pos x="32" y="44"/>
              </a:cxn>
              <a:cxn ang="0">
                <a:pos x="46" y="40"/>
              </a:cxn>
              <a:cxn ang="0">
                <a:pos x="58" y="34"/>
              </a:cxn>
              <a:cxn ang="0">
                <a:pos x="74" y="30"/>
              </a:cxn>
              <a:cxn ang="0">
                <a:pos x="86" y="34"/>
              </a:cxn>
              <a:cxn ang="0">
                <a:pos x="102" y="46"/>
              </a:cxn>
              <a:cxn ang="0">
                <a:pos x="116" y="48"/>
              </a:cxn>
              <a:cxn ang="0">
                <a:pos x="148" y="52"/>
              </a:cxn>
              <a:cxn ang="0">
                <a:pos x="164" y="50"/>
              </a:cxn>
              <a:cxn ang="0">
                <a:pos x="162" y="36"/>
              </a:cxn>
              <a:cxn ang="0">
                <a:pos x="152" y="26"/>
              </a:cxn>
              <a:cxn ang="0">
                <a:pos x="152" y="6"/>
              </a:cxn>
              <a:cxn ang="0">
                <a:pos x="176" y="6"/>
              </a:cxn>
              <a:cxn ang="0">
                <a:pos x="218" y="32"/>
              </a:cxn>
              <a:cxn ang="0">
                <a:pos x="250" y="46"/>
              </a:cxn>
              <a:cxn ang="0">
                <a:pos x="294" y="44"/>
              </a:cxn>
              <a:cxn ang="0">
                <a:pos x="320" y="56"/>
              </a:cxn>
              <a:cxn ang="0">
                <a:pos x="364" y="56"/>
              </a:cxn>
              <a:cxn ang="0">
                <a:pos x="428" y="46"/>
              </a:cxn>
              <a:cxn ang="0">
                <a:pos x="462" y="54"/>
              </a:cxn>
              <a:cxn ang="0">
                <a:pos x="462" y="72"/>
              </a:cxn>
              <a:cxn ang="0">
                <a:pos x="450" y="86"/>
              </a:cxn>
              <a:cxn ang="0">
                <a:pos x="490" y="84"/>
              </a:cxn>
              <a:cxn ang="0">
                <a:pos x="516" y="86"/>
              </a:cxn>
              <a:cxn ang="0">
                <a:pos x="542" y="72"/>
              </a:cxn>
              <a:cxn ang="0">
                <a:pos x="582" y="92"/>
              </a:cxn>
              <a:cxn ang="0">
                <a:pos x="584" y="108"/>
              </a:cxn>
              <a:cxn ang="0">
                <a:pos x="568" y="112"/>
              </a:cxn>
              <a:cxn ang="0">
                <a:pos x="548" y="116"/>
              </a:cxn>
              <a:cxn ang="0">
                <a:pos x="526" y="134"/>
              </a:cxn>
              <a:cxn ang="0">
                <a:pos x="514" y="146"/>
              </a:cxn>
              <a:cxn ang="0">
                <a:pos x="492" y="144"/>
              </a:cxn>
              <a:cxn ang="0">
                <a:pos x="496" y="158"/>
              </a:cxn>
              <a:cxn ang="0">
                <a:pos x="512" y="170"/>
              </a:cxn>
              <a:cxn ang="0">
                <a:pos x="496" y="186"/>
              </a:cxn>
              <a:cxn ang="0">
                <a:pos x="486" y="196"/>
              </a:cxn>
              <a:cxn ang="0">
                <a:pos x="450" y="200"/>
              </a:cxn>
              <a:cxn ang="0">
                <a:pos x="402" y="212"/>
              </a:cxn>
              <a:cxn ang="0">
                <a:pos x="338" y="198"/>
              </a:cxn>
              <a:cxn ang="0">
                <a:pos x="310" y="190"/>
              </a:cxn>
              <a:cxn ang="0">
                <a:pos x="276" y="192"/>
              </a:cxn>
              <a:cxn ang="0">
                <a:pos x="242" y="190"/>
              </a:cxn>
              <a:cxn ang="0">
                <a:pos x="218" y="198"/>
              </a:cxn>
              <a:cxn ang="0">
                <a:pos x="210" y="176"/>
              </a:cxn>
              <a:cxn ang="0">
                <a:pos x="202" y="164"/>
              </a:cxn>
              <a:cxn ang="0">
                <a:pos x="198" y="156"/>
              </a:cxn>
              <a:cxn ang="0">
                <a:pos x="172" y="158"/>
              </a:cxn>
              <a:cxn ang="0">
                <a:pos x="102" y="150"/>
              </a:cxn>
              <a:cxn ang="0">
                <a:pos x="96" y="144"/>
              </a:cxn>
              <a:cxn ang="0">
                <a:pos x="92" y="128"/>
              </a:cxn>
              <a:cxn ang="0">
                <a:pos x="78" y="114"/>
              </a:cxn>
              <a:cxn ang="0">
                <a:pos x="64" y="94"/>
              </a:cxn>
              <a:cxn ang="0">
                <a:pos x="48" y="84"/>
              </a:cxn>
              <a:cxn ang="0">
                <a:pos x="32" y="86"/>
              </a:cxn>
              <a:cxn ang="0">
                <a:pos x="8" y="76"/>
              </a:cxn>
            </a:cxnLst>
            <a:rect l="0" t="0" r="r" b="b"/>
            <a:pathLst>
              <a:path w="588" h="212">
                <a:moveTo>
                  <a:pt x="0" y="68"/>
                </a:moveTo>
                <a:lnTo>
                  <a:pt x="0" y="68"/>
                </a:lnTo>
                <a:lnTo>
                  <a:pt x="2" y="66"/>
                </a:lnTo>
                <a:lnTo>
                  <a:pt x="2" y="62"/>
                </a:lnTo>
                <a:lnTo>
                  <a:pt x="4" y="60"/>
                </a:lnTo>
                <a:lnTo>
                  <a:pt x="8" y="58"/>
                </a:lnTo>
                <a:lnTo>
                  <a:pt x="8" y="58"/>
                </a:lnTo>
                <a:lnTo>
                  <a:pt x="12" y="56"/>
                </a:lnTo>
                <a:lnTo>
                  <a:pt x="16" y="52"/>
                </a:lnTo>
                <a:lnTo>
                  <a:pt x="18" y="50"/>
                </a:lnTo>
                <a:lnTo>
                  <a:pt x="22" y="52"/>
                </a:lnTo>
                <a:lnTo>
                  <a:pt x="22" y="52"/>
                </a:lnTo>
                <a:lnTo>
                  <a:pt x="24" y="52"/>
                </a:lnTo>
                <a:lnTo>
                  <a:pt x="24" y="52"/>
                </a:lnTo>
                <a:lnTo>
                  <a:pt x="24" y="48"/>
                </a:lnTo>
                <a:lnTo>
                  <a:pt x="26" y="44"/>
                </a:lnTo>
                <a:lnTo>
                  <a:pt x="26" y="44"/>
                </a:lnTo>
                <a:lnTo>
                  <a:pt x="28" y="44"/>
                </a:lnTo>
                <a:lnTo>
                  <a:pt x="28" y="44"/>
                </a:lnTo>
                <a:lnTo>
                  <a:pt x="32" y="44"/>
                </a:lnTo>
                <a:lnTo>
                  <a:pt x="36" y="42"/>
                </a:lnTo>
                <a:lnTo>
                  <a:pt x="40" y="40"/>
                </a:lnTo>
                <a:lnTo>
                  <a:pt x="44" y="40"/>
                </a:lnTo>
                <a:lnTo>
                  <a:pt x="44" y="40"/>
                </a:lnTo>
                <a:lnTo>
                  <a:pt x="46" y="40"/>
                </a:lnTo>
                <a:lnTo>
                  <a:pt x="50" y="36"/>
                </a:lnTo>
                <a:lnTo>
                  <a:pt x="54" y="34"/>
                </a:lnTo>
                <a:lnTo>
                  <a:pt x="56" y="32"/>
                </a:lnTo>
                <a:lnTo>
                  <a:pt x="58" y="34"/>
                </a:lnTo>
                <a:lnTo>
                  <a:pt x="58" y="34"/>
                </a:lnTo>
                <a:lnTo>
                  <a:pt x="60" y="34"/>
                </a:lnTo>
                <a:lnTo>
                  <a:pt x="62" y="34"/>
                </a:lnTo>
                <a:lnTo>
                  <a:pt x="66" y="32"/>
                </a:lnTo>
                <a:lnTo>
                  <a:pt x="70" y="30"/>
                </a:lnTo>
                <a:lnTo>
                  <a:pt x="74" y="30"/>
                </a:lnTo>
                <a:lnTo>
                  <a:pt x="76" y="30"/>
                </a:lnTo>
                <a:lnTo>
                  <a:pt x="76" y="30"/>
                </a:lnTo>
                <a:lnTo>
                  <a:pt x="78" y="34"/>
                </a:lnTo>
                <a:lnTo>
                  <a:pt x="80" y="34"/>
                </a:lnTo>
                <a:lnTo>
                  <a:pt x="86" y="34"/>
                </a:lnTo>
                <a:lnTo>
                  <a:pt x="90" y="34"/>
                </a:lnTo>
                <a:lnTo>
                  <a:pt x="94" y="36"/>
                </a:lnTo>
                <a:lnTo>
                  <a:pt x="96" y="40"/>
                </a:lnTo>
                <a:lnTo>
                  <a:pt x="96" y="40"/>
                </a:lnTo>
                <a:lnTo>
                  <a:pt x="102" y="46"/>
                </a:lnTo>
                <a:lnTo>
                  <a:pt x="104" y="46"/>
                </a:lnTo>
                <a:lnTo>
                  <a:pt x="108" y="46"/>
                </a:lnTo>
                <a:lnTo>
                  <a:pt x="112" y="46"/>
                </a:lnTo>
                <a:lnTo>
                  <a:pt x="112" y="46"/>
                </a:lnTo>
                <a:lnTo>
                  <a:pt x="116" y="48"/>
                </a:lnTo>
                <a:lnTo>
                  <a:pt x="120" y="50"/>
                </a:lnTo>
                <a:lnTo>
                  <a:pt x="126" y="50"/>
                </a:lnTo>
                <a:lnTo>
                  <a:pt x="136" y="52"/>
                </a:lnTo>
                <a:lnTo>
                  <a:pt x="136" y="52"/>
                </a:lnTo>
                <a:lnTo>
                  <a:pt x="148" y="52"/>
                </a:lnTo>
                <a:lnTo>
                  <a:pt x="154" y="50"/>
                </a:lnTo>
                <a:lnTo>
                  <a:pt x="158" y="50"/>
                </a:lnTo>
                <a:lnTo>
                  <a:pt x="160" y="50"/>
                </a:lnTo>
                <a:lnTo>
                  <a:pt x="160" y="50"/>
                </a:lnTo>
                <a:lnTo>
                  <a:pt x="164" y="50"/>
                </a:lnTo>
                <a:lnTo>
                  <a:pt x="166" y="46"/>
                </a:lnTo>
                <a:lnTo>
                  <a:pt x="168" y="44"/>
                </a:lnTo>
                <a:lnTo>
                  <a:pt x="168" y="42"/>
                </a:lnTo>
                <a:lnTo>
                  <a:pt x="166" y="40"/>
                </a:lnTo>
                <a:lnTo>
                  <a:pt x="162" y="36"/>
                </a:lnTo>
                <a:lnTo>
                  <a:pt x="162" y="36"/>
                </a:lnTo>
                <a:lnTo>
                  <a:pt x="150" y="30"/>
                </a:lnTo>
                <a:lnTo>
                  <a:pt x="148" y="28"/>
                </a:lnTo>
                <a:lnTo>
                  <a:pt x="148" y="28"/>
                </a:lnTo>
                <a:lnTo>
                  <a:pt x="152" y="26"/>
                </a:lnTo>
                <a:lnTo>
                  <a:pt x="156" y="20"/>
                </a:lnTo>
                <a:lnTo>
                  <a:pt x="156" y="20"/>
                </a:lnTo>
                <a:lnTo>
                  <a:pt x="156" y="14"/>
                </a:lnTo>
                <a:lnTo>
                  <a:pt x="154" y="10"/>
                </a:lnTo>
                <a:lnTo>
                  <a:pt x="152" y="6"/>
                </a:lnTo>
                <a:lnTo>
                  <a:pt x="152" y="2"/>
                </a:lnTo>
                <a:lnTo>
                  <a:pt x="154" y="0"/>
                </a:lnTo>
                <a:lnTo>
                  <a:pt x="154" y="0"/>
                </a:lnTo>
                <a:lnTo>
                  <a:pt x="166" y="4"/>
                </a:lnTo>
                <a:lnTo>
                  <a:pt x="176" y="6"/>
                </a:lnTo>
                <a:lnTo>
                  <a:pt x="192" y="10"/>
                </a:lnTo>
                <a:lnTo>
                  <a:pt x="192" y="10"/>
                </a:lnTo>
                <a:lnTo>
                  <a:pt x="202" y="14"/>
                </a:lnTo>
                <a:lnTo>
                  <a:pt x="208" y="18"/>
                </a:lnTo>
                <a:lnTo>
                  <a:pt x="218" y="32"/>
                </a:lnTo>
                <a:lnTo>
                  <a:pt x="222" y="38"/>
                </a:lnTo>
                <a:lnTo>
                  <a:pt x="228" y="44"/>
                </a:lnTo>
                <a:lnTo>
                  <a:pt x="238" y="46"/>
                </a:lnTo>
                <a:lnTo>
                  <a:pt x="250" y="46"/>
                </a:lnTo>
                <a:lnTo>
                  <a:pt x="250" y="46"/>
                </a:lnTo>
                <a:lnTo>
                  <a:pt x="274" y="42"/>
                </a:lnTo>
                <a:lnTo>
                  <a:pt x="282" y="44"/>
                </a:lnTo>
                <a:lnTo>
                  <a:pt x="286" y="44"/>
                </a:lnTo>
                <a:lnTo>
                  <a:pt x="294" y="44"/>
                </a:lnTo>
                <a:lnTo>
                  <a:pt x="294" y="44"/>
                </a:lnTo>
                <a:lnTo>
                  <a:pt x="306" y="44"/>
                </a:lnTo>
                <a:lnTo>
                  <a:pt x="312" y="46"/>
                </a:lnTo>
                <a:lnTo>
                  <a:pt x="314" y="50"/>
                </a:lnTo>
                <a:lnTo>
                  <a:pt x="318" y="52"/>
                </a:lnTo>
                <a:lnTo>
                  <a:pt x="320" y="56"/>
                </a:lnTo>
                <a:lnTo>
                  <a:pt x="326" y="58"/>
                </a:lnTo>
                <a:lnTo>
                  <a:pt x="334" y="58"/>
                </a:lnTo>
                <a:lnTo>
                  <a:pt x="346" y="56"/>
                </a:lnTo>
                <a:lnTo>
                  <a:pt x="346" y="56"/>
                </a:lnTo>
                <a:lnTo>
                  <a:pt x="364" y="56"/>
                </a:lnTo>
                <a:lnTo>
                  <a:pt x="380" y="56"/>
                </a:lnTo>
                <a:lnTo>
                  <a:pt x="394" y="56"/>
                </a:lnTo>
                <a:lnTo>
                  <a:pt x="412" y="52"/>
                </a:lnTo>
                <a:lnTo>
                  <a:pt x="412" y="52"/>
                </a:lnTo>
                <a:lnTo>
                  <a:pt x="428" y="46"/>
                </a:lnTo>
                <a:lnTo>
                  <a:pt x="440" y="44"/>
                </a:lnTo>
                <a:lnTo>
                  <a:pt x="454" y="44"/>
                </a:lnTo>
                <a:lnTo>
                  <a:pt x="472" y="48"/>
                </a:lnTo>
                <a:lnTo>
                  <a:pt x="472" y="48"/>
                </a:lnTo>
                <a:lnTo>
                  <a:pt x="462" y="54"/>
                </a:lnTo>
                <a:lnTo>
                  <a:pt x="458" y="58"/>
                </a:lnTo>
                <a:lnTo>
                  <a:pt x="458" y="62"/>
                </a:lnTo>
                <a:lnTo>
                  <a:pt x="460" y="64"/>
                </a:lnTo>
                <a:lnTo>
                  <a:pt x="462" y="70"/>
                </a:lnTo>
                <a:lnTo>
                  <a:pt x="462" y="72"/>
                </a:lnTo>
                <a:lnTo>
                  <a:pt x="456" y="76"/>
                </a:lnTo>
                <a:lnTo>
                  <a:pt x="456" y="76"/>
                </a:lnTo>
                <a:lnTo>
                  <a:pt x="450" y="80"/>
                </a:lnTo>
                <a:lnTo>
                  <a:pt x="450" y="84"/>
                </a:lnTo>
                <a:lnTo>
                  <a:pt x="450" y="86"/>
                </a:lnTo>
                <a:lnTo>
                  <a:pt x="452" y="88"/>
                </a:lnTo>
                <a:lnTo>
                  <a:pt x="458" y="88"/>
                </a:lnTo>
                <a:lnTo>
                  <a:pt x="474" y="86"/>
                </a:lnTo>
                <a:lnTo>
                  <a:pt x="474" y="86"/>
                </a:lnTo>
                <a:lnTo>
                  <a:pt x="490" y="84"/>
                </a:lnTo>
                <a:lnTo>
                  <a:pt x="500" y="84"/>
                </a:lnTo>
                <a:lnTo>
                  <a:pt x="506" y="84"/>
                </a:lnTo>
                <a:lnTo>
                  <a:pt x="510" y="86"/>
                </a:lnTo>
                <a:lnTo>
                  <a:pt x="514" y="88"/>
                </a:lnTo>
                <a:lnTo>
                  <a:pt x="516" y="86"/>
                </a:lnTo>
                <a:lnTo>
                  <a:pt x="528" y="80"/>
                </a:lnTo>
                <a:lnTo>
                  <a:pt x="528" y="80"/>
                </a:lnTo>
                <a:lnTo>
                  <a:pt x="532" y="76"/>
                </a:lnTo>
                <a:lnTo>
                  <a:pt x="538" y="72"/>
                </a:lnTo>
                <a:lnTo>
                  <a:pt x="542" y="72"/>
                </a:lnTo>
                <a:lnTo>
                  <a:pt x="546" y="74"/>
                </a:lnTo>
                <a:lnTo>
                  <a:pt x="560" y="78"/>
                </a:lnTo>
                <a:lnTo>
                  <a:pt x="578" y="90"/>
                </a:lnTo>
                <a:lnTo>
                  <a:pt x="578" y="90"/>
                </a:lnTo>
                <a:lnTo>
                  <a:pt x="582" y="92"/>
                </a:lnTo>
                <a:lnTo>
                  <a:pt x="586" y="96"/>
                </a:lnTo>
                <a:lnTo>
                  <a:pt x="588" y="100"/>
                </a:lnTo>
                <a:lnTo>
                  <a:pt x="588" y="104"/>
                </a:lnTo>
                <a:lnTo>
                  <a:pt x="586" y="106"/>
                </a:lnTo>
                <a:lnTo>
                  <a:pt x="584" y="108"/>
                </a:lnTo>
                <a:lnTo>
                  <a:pt x="580" y="110"/>
                </a:lnTo>
                <a:lnTo>
                  <a:pt x="576" y="110"/>
                </a:lnTo>
                <a:lnTo>
                  <a:pt x="576" y="110"/>
                </a:lnTo>
                <a:lnTo>
                  <a:pt x="570" y="110"/>
                </a:lnTo>
                <a:lnTo>
                  <a:pt x="568" y="112"/>
                </a:lnTo>
                <a:lnTo>
                  <a:pt x="566" y="114"/>
                </a:lnTo>
                <a:lnTo>
                  <a:pt x="560" y="114"/>
                </a:lnTo>
                <a:lnTo>
                  <a:pt x="560" y="114"/>
                </a:lnTo>
                <a:lnTo>
                  <a:pt x="552" y="114"/>
                </a:lnTo>
                <a:lnTo>
                  <a:pt x="548" y="116"/>
                </a:lnTo>
                <a:lnTo>
                  <a:pt x="542" y="124"/>
                </a:lnTo>
                <a:lnTo>
                  <a:pt x="542" y="124"/>
                </a:lnTo>
                <a:lnTo>
                  <a:pt x="536" y="130"/>
                </a:lnTo>
                <a:lnTo>
                  <a:pt x="532" y="132"/>
                </a:lnTo>
                <a:lnTo>
                  <a:pt x="526" y="134"/>
                </a:lnTo>
                <a:lnTo>
                  <a:pt x="520" y="134"/>
                </a:lnTo>
                <a:lnTo>
                  <a:pt x="518" y="136"/>
                </a:lnTo>
                <a:lnTo>
                  <a:pt x="516" y="140"/>
                </a:lnTo>
                <a:lnTo>
                  <a:pt x="516" y="140"/>
                </a:lnTo>
                <a:lnTo>
                  <a:pt x="514" y="146"/>
                </a:lnTo>
                <a:lnTo>
                  <a:pt x="510" y="148"/>
                </a:lnTo>
                <a:lnTo>
                  <a:pt x="506" y="148"/>
                </a:lnTo>
                <a:lnTo>
                  <a:pt x="502" y="148"/>
                </a:lnTo>
                <a:lnTo>
                  <a:pt x="496" y="144"/>
                </a:lnTo>
                <a:lnTo>
                  <a:pt x="492" y="144"/>
                </a:lnTo>
                <a:lnTo>
                  <a:pt x="490" y="148"/>
                </a:lnTo>
                <a:lnTo>
                  <a:pt x="490" y="148"/>
                </a:lnTo>
                <a:lnTo>
                  <a:pt x="490" y="152"/>
                </a:lnTo>
                <a:lnTo>
                  <a:pt x="492" y="156"/>
                </a:lnTo>
                <a:lnTo>
                  <a:pt x="496" y="158"/>
                </a:lnTo>
                <a:lnTo>
                  <a:pt x="504" y="160"/>
                </a:lnTo>
                <a:lnTo>
                  <a:pt x="504" y="160"/>
                </a:lnTo>
                <a:lnTo>
                  <a:pt x="508" y="162"/>
                </a:lnTo>
                <a:lnTo>
                  <a:pt x="512" y="164"/>
                </a:lnTo>
                <a:lnTo>
                  <a:pt x="512" y="170"/>
                </a:lnTo>
                <a:lnTo>
                  <a:pt x="512" y="174"/>
                </a:lnTo>
                <a:lnTo>
                  <a:pt x="508" y="178"/>
                </a:lnTo>
                <a:lnTo>
                  <a:pt x="506" y="182"/>
                </a:lnTo>
                <a:lnTo>
                  <a:pt x="502" y="186"/>
                </a:lnTo>
                <a:lnTo>
                  <a:pt x="496" y="186"/>
                </a:lnTo>
                <a:lnTo>
                  <a:pt x="496" y="186"/>
                </a:lnTo>
                <a:lnTo>
                  <a:pt x="494" y="186"/>
                </a:lnTo>
                <a:lnTo>
                  <a:pt x="492" y="188"/>
                </a:lnTo>
                <a:lnTo>
                  <a:pt x="488" y="194"/>
                </a:lnTo>
                <a:lnTo>
                  <a:pt x="486" y="196"/>
                </a:lnTo>
                <a:lnTo>
                  <a:pt x="482" y="198"/>
                </a:lnTo>
                <a:lnTo>
                  <a:pt x="476" y="200"/>
                </a:lnTo>
                <a:lnTo>
                  <a:pt x="468" y="200"/>
                </a:lnTo>
                <a:lnTo>
                  <a:pt x="468" y="200"/>
                </a:lnTo>
                <a:lnTo>
                  <a:pt x="450" y="200"/>
                </a:lnTo>
                <a:lnTo>
                  <a:pt x="438" y="202"/>
                </a:lnTo>
                <a:lnTo>
                  <a:pt x="428" y="204"/>
                </a:lnTo>
                <a:lnTo>
                  <a:pt x="420" y="208"/>
                </a:lnTo>
                <a:lnTo>
                  <a:pt x="412" y="210"/>
                </a:lnTo>
                <a:lnTo>
                  <a:pt x="402" y="212"/>
                </a:lnTo>
                <a:lnTo>
                  <a:pt x="390" y="212"/>
                </a:lnTo>
                <a:lnTo>
                  <a:pt x="372" y="210"/>
                </a:lnTo>
                <a:lnTo>
                  <a:pt x="372" y="210"/>
                </a:lnTo>
                <a:lnTo>
                  <a:pt x="344" y="202"/>
                </a:lnTo>
                <a:lnTo>
                  <a:pt x="338" y="198"/>
                </a:lnTo>
                <a:lnTo>
                  <a:pt x="334" y="196"/>
                </a:lnTo>
                <a:lnTo>
                  <a:pt x="330" y="194"/>
                </a:lnTo>
                <a:lnTo>
                  <a:pt x="320" y="192"/>
                </a:lnTo>
                <a:lnTo>
                  <a:pt x="320" y="192"/>
                </a:lnTo>
                <a:lnTo>
                  <a:pt x="310" y="190"/>
                </a:lnTo>
                <a:lnTo>
                  <a:pt x="302" y="188"/>
                </a:lnTo>
                <a:lnTo>
                  <a:pt x="294" y="188"/>
                </a:lnTo>
                <a:lnTo>
                  <a:pt x="286" y="190"/>
                </a:lnTo>
                <a:lnTo>
                  <a:pt x="286" y="190"/>
                </a:lnTo>
                <a:lnTo>
                  <a:pt x="276" y="192"/>
                </a:lnTo>
                <a:lnTo>
                  <a:pt x="266" y="190"/>
                </a:lnTo>
                <a:lnTo>
                  <a:pt x="258" y="190"/>
                </a:lnTo>
                <a:lnTo>
                  <a:pt x="248" y="190"/>
                </a:lnTo>
                <a:lnTo>
                  <a:pt x="248" y="190"/>
                </a:lnTo>
                <a:lnTo>
                  <a:pt x="242" y="190"/>
                </a:lnTo>
                <a:lnTo>
                  <a:pt x="236" y="190"/>
                </a:lnTo>
                <a:lnTo>
                  <a:pt x="230" y="190"/>
                </a:lnTo>
                <a:lnTo>
                  <a:pt x="222" y="196"/>
                </a:lnTo>
                <a:lnTo>
                  <a:pt x="222" y="196"/>
                </a:lnTo>
                <a:lnTo>
                  <a:pt x="218" y="198"/>
                </a:lnTo>
                <a:lnTo>
                  <a:pt x="216" y="198"/>
                </a:lnTo>
                <a:lnTo>
                  <a:pt x="216" y="192"/>
                </a:lnTo>
                <a:lnTo>
                  <a:pt x="216" y="184"/>
                </a:lnTo>
                <a:lnTo>
                  <a:pt x="214" y="180"/>
                </a:lnTo>
                <a:lnTo>
                  <a:pt x="210" y="176"/>
                </a:lnTo>
                <a:lnTo>
                  <a:pt x="210" y="176"/>
                </a:lnTo>
                <a:lnTo>
                  <a:pt x="206" y="172"/>
                </a:lnTo>
                <a:lnTo>
                  <a:pt x="204" y="168"/>
                </a:lnTo>
                <a:lnTo>
                  <a:pt x="204" y="164"/>
                </a:lnTo>
                <a:lnTo>
                  <a:pt x="202" y="164"/>
                </a:lnTo>
                <a:lnTo>
                  <a:pt x="202" y="164"/>
                </a:lnTo>
                <a:lnTo>
                  <a:pt x="200" y="164"/>
                </a:lnTo>
                <a:lnTo>
                  <a:pt x="198" y="162"/>
                </a:lnTo>
                <a:lnTo>
                  <a:pt x="198" y="158"/>
                </a:lnTo>
                <a:lnTo>
                  <a:pt x="198" y="156"/>
                </a:lnTo>
                <a:lnTo>
                  <a:pt x="194" y="158"/>
                </a:lnTo>
                <a:lnTo>
                  <a:pt x="194" y="158"/>
                </a:lnTo>
                <a:lnTo>
                  <a:pt x="192" y="160"/>
                </a:lnTo>
                <a:lnTo>
                  <a:pt x="186" y="160"/>
                </a:lnTo>
                <a:lnTo>
                  <a:pt x="172" y="158"/>
                </a:lnTo>
                <a:lnTo>
                  <a:pt x="152" y="150"/>
                </a:lnTo>
                <a:lnTo>
                  <a:pt x="152" y="150"/>
                </a:lnTo>
                <a:lnTo>
                  <a:pt x="142" y="146"/>
                </a:lnTo>
                <a:lnTo>
                  <a:pt x="132" y="146"/>
                </a:lnTo>
                <a:lnTo>
                  <a:pt x="102" y="150"/>
                </a:lnTo>
                <a:lnTo>
                  <a:pt x="102" y="150"/>
                </a:lnTo>
                <a:lnTo>
                  <a:pt x="92" y="150"/>
                </a:lnTo>
                <a:lnTo>
                  <a:pt x="90" y="150"/>
                </a:lnTo>
                <a:lnTo>
                  <a:pt x="92" y="148"/>
                </a:lnTo>
                <a:lnTo>
                  <a:pt x="96" y="144"/>
                </a:lnTo>
                <a:lnTo>
                  <a:pt x="96" y="140"/>
                </a:lnTo>
                <a:lnTo>
                  <a:pt x="94" y="136"/>
                </a:lnTo>
                <a:lnTo>
                  <a:pt x="94" y="136"/>
                </a:lnTo>
                <a:lnTo>
                  <a:pt x="90" y="132"/>
                </a:lnTo>
                <a:lnTo>
                  <a:pt x="92" y="128"/>
                </a:lnTo>
                <a:lnTo>
                  <a:pt x="92" y="126"/>
                </a:lnTo>
                <a:lnTo>
                  <a:pt x="88" y="122"/>
                </a:lnTo>
                <a:lnTo>
                  <a:pt x="88" y="122"/>
                </a:lnTo>
                <a:lnTo>
                  <a:pt x="82" y="118"/>
                </a:lnTo>
                <a:lnTo>
                  <a:pt x="78" y="114"/>
                </a:lnTo>
                <a:lnTo>
                  <a:pt x="74" y="106"/>
                </a:lnTo>
                <a:lnTo>
                  <a:pt x="72" y="98"/>
                </a:lnTo>
                <a:lnTo>
                  <a:pt x="68" y="96"/>
                </a:lnTo>
                <a:lnTo>
                  <a:pt x="64" y="94"/>
                </a:lnTo>
                <a:lnTo>
                  <a:pt x="64" y="94"/>
                </a:lnTo>
                <a:lnTo>
                  <a:pt x="56" y="90"/>
                </a:lnTo>
                <a:lnTo>
                  <a:pt x="54" y="88"/>
                </a:lnTo>
                <a:lnTo>
                  <a:pt x="54" y="88"/>
                </a:lnTo>
                <a:lnTo>
                  <a:pt x="50" y="86"/>
                </a:lnTo>
                <a:lnTo>
                  <a:pt x="48" y="84"/>
                </a:lnTo>
                <a:lnTo>
                  <a:pt x="44" y="88"/>
                </a:lnTo>
                <a:lnTo>
                  <a:pt x="42" y="90"/>
                </a:lnTo>
                <a:lnTo>
                  <a:pt x="38" y="90"/>
                </a:lnTo>
                <a:lnTo>
                  <a:pt x="36" y="90"/>
                </a:lnTo>
                <a:lnTo>
                  <a:pt x="32" y="86"/>
                </a:lnTo>
                <a:lnTo>
                  <a:pt x="32" y="86"/>
                </a:lnTo>
                <a:lnTo>
                  <a:pt x="26" y="82"/>
                </a:lnTo>
                <a:lnTo>
                  <a:pt x="22" y="80"/>
                </a:lnTo>
                <a:lnTo>
                  <a:pt x="14" y="78"/>
                </a:lnTo>
                <a:lnTo>
                  <a:pt x="8" y="76"/>
                </a:lnTo>
                <a:lnTo>
                  <a:pt x="4" y="74"/>
                </a:lnTo>
                <a:lnTo>
                  <a:pt x="2" y="70"/>
                </a:lnTo>
                <a:lnTo>
                  <a:pt x="0" y="68"/>
                </a:lnTo>
                <a:lnTo>
                  <a:pt x="0" y="68"/>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27" name="Freeform 66"/>
          <p:cNvSpPr>
            <a:spLocks/>
          </p:cNvSpPr>
          <p:nvPr/>
        </p:nvSpPr>
        <p:spPr bwMode="auto">
          <a:xfrm>
            <a:off x="7155253" y="1300322"/>
            <a:ext cx="200536" cy="202575"/>
          </a:xfrm>
          <a:custGeom>
            <a:avLst/>
            <a:gdLst/>
            <a:ahLst/>
            <a:cxnLst>
              <a:cxn ang="0">
                <a:pos x="16" y="14"/>
              </a:cxn>
              <a:cxn ang="0">
                <a:pos x="0" y="2"/>
              </a:cxn>
              <a:cxn ang="0">
                <a:pos x="10" y="0"/>
              </a:cxn>
              <a:cxn ang="0">
                <a:pos x="20" y="4"/>
              </a:cxn>
              <a:cxn ang="0">
                <a:pos x="26" y="12"/>
              </a:cxn>
              <a:cxn ang="0">
                <a:pos x="40" y="18"/>
              </a:cxn>
              <a:cxn ang="0">
                <a:pos x="40" y="20"/>
              </a:cxn>
              <a:cxn ang="0">
                <a:pos x="42" y="24"/>
              </a:cxn>
              <a:cxn ang="0">
                <a:pos x="52" y="34"/>
              </a:cxn>
              <a:cxn ang="0">
                <a:pos x="66" y="46"/>
              </a:cxn>
              <a:cxn ang="0">
                <a:pos x="88" y="62"/>
              </a:cxn>
              <a:cxn ang="0">
                <a:pos x="98" y="68"/>
              </a:cxn>
              <a:cxn ang="0">
                <a:pos x="114" y="82"/>
              </a:cxn>
              <a:cxn ang="0">
                <a:pos x="138" y="100"/>
              </a:cxn>
              <a:cxn ang="0">
                <a:pos x="142" y="104"/>
              </a:cxn>
              <a:cxn ang="0">
                <a:pos x="128" y="98"/>
              </a:cxn>
              <a:cxn ang="0">
                <a:pos x="118" y="100"/>
              </a:cxn>
              <a:cxn ang="0">
                <a:pos x="120" y="106"/>
              </a:cxn>
              <a:cxn ang="0">
                <a:pos x="128" y="124"/>
              </a:cxn>
              <a:cxn ang="0">
                <a:pos x="142" y="134"/>
              </a:cxn>
              <a:cxn ang="0">
                <a:pos x="152" y="140"/>
              </a:cxn>
              <a:cxn ang="0">
                <a:pos x="160" y="144"/>
              </a:cxn>
              <a:cxn ang="0">
                <a:pos x="170" y="150"/>
              </a:cxn>
              <a:cxn ang="0">
                <a:pos x="176" y="164"/>
              </a:cxn>
              <a:cxn ang="0">
                <a:pos x="170" y="158"/>
              </a:cxn>
              <a:cxn ang="0">
                <a:pos x="162" y="156"/>
              </a:cxn>
              <a:cxn ang="0">
                <a:pos x="150" y="154"/>
              </a:cxn>
              <a:cxn ang="0">
                <a:pos x="156" y="178"/>
              </a:cxn>
              <a:cxn ang="0">
                <a:pos x="150" y="174"/>
              </a:cxn>
              <a:cxn ang="0">
                <a:pos x="138" y="162"/>
              </a:cxn>
              <a:cxn ang="0">
                <a:pos x="140" y="154"/>
              </a:cxn>
              <a:cxn ang="0">
                <a:pos x="136" y="146"/>
              </a:cxn>
              <a:cxn ang="0">
                <a:pos x="126" y="134"/>
              </a:cxn>
              <a:cxn ang="0">
                <a:pos x="116" y="120"/>
              </a:cxn>
              <a:cxn ang="0">
                <a:pos x="104" y="112"/>
              </a:cxn>
              <a:cxn ang="0">
                <a:pos x="96" y="96"/>
              </a:cxn>
              <a:cxn ang="0">
                <a:pos x="68" y="68"/>
              </a:cxn>
              <a:cxn ang="0">
                <a:pos x="54" y="58"/>
              </a:cxn>
              <a:cxn ang="0">
                <a:pos x="44" y="46"/>
              </a:cxn>
              <a:cxn ang="0">
                <a:pos x="24" y="38"/>
              </a:cxn>
              <a:cxn ang="0">
                <a:pos x="14" y="26"/>
              </a:cxn>
              <a:cxn ang="0">
                <a:pos x="10" y="18"/>
              </a:cxn>
              <a:cxn ang="0">
                <a:pos x="16" y="18"/>
              </a:cxn>
              <a:cxn ang="0">
                <a:pos x="18" y="18"/>
              </a:cxn>
            </a:cxnLst>
            <a:rect l="0" t="0" r="r" b="b"/>
            <a:pathLst>
              <a:path w="176" h="178">
                <a:moveTo>
                  <a:pt x="18" y="18"/>
                </a:moveTo>
                <a:lnTo>
                  <a:pt x="18" y="18"/>
                </a:lnTo>
                <a:lnTo>
                  <a:pt x="16" y="14"/>
                </a:lnTo>
                <a:lnTo>
                  <a:pt x="14" y="12"/>
                </a:lnTo>
                <a:lnTo>
                  <a:pt x="6" y="6"/>
                </a:lnTo>
                <a:lnTo>
                  <a:pt x="0" y="2"/>
                </a:lnTo>
                <a:lnTo>
                  <a:pt x="0" y="0"/>
                </a:lnTo>
                <a:lnTo>
                  <a:pt x="0" y="0"/>
                </a:lnTo>
                <a:lnTo>
                  <a:pt x="10" y="0"/>
                </a:lnTo>
                <a:lnTo>
                  <a:pt x="14" y="0"/>
                </a:lnTo>
                <a:lnTo>
                  <a:pt x="20" y="4"/>
                </a:lnTo>
                <a:lnTo>
                  <a:pt x="20" y="4"/>
                </a:lnTo>
                <a:lnTo>
                  <a:pt x="22" y="10"/>
                </a:lnTo>
                <a:lnTo>
                  <a:pt x="24" y="12"/>
                </a:lnTo>
                <a:lnTo>
                  <a:pt x="26" y="12"/>
                </a:lnTo>
                <a:lnTo>
                  <a:pt x="26" y="12"/>
                </a:lnTo>
                <a:lnTo>
                  <a:pt x="32" y="14"/>
                </a:lnTo>
                <a:lnTo>
                  <a:pt x="40" y="18"/>
                </a:lnTo>
                <a:lnTo>
                  <a:pt x="40" y="18"/>
                </a:lnTo>
                <a:lnTo>
                  <a:pt x="42" y="20"/>
                </a:lnTo>
                <a:lnTo>
                  <a:pt x="40" y="20"/>
                </a:lnTo>
                <a:lnTo>
                  <a:pt x="38" y="22"/>
                </a:lnTo>
                <a:lnTo>
                  <a:pt x="42" y="24"/>
                </a:lnTo>
                <a:lnTo>
                  <a:pt x="42" y="24"/>
                </a:lnTo>
                <a:lnTo>
                  <a:pt x="50" y="28"/>
                </a:lnTo>
                <a:lnTo>
                  <a:pt x="52" y="34"/>
                </a:lnTo>
                <a:lnTo>
                  <a:pt x="52" y="34"/>
                </a:lnTo>
                <a:lnTo>
                  <a:pt x="56" y="38"/>
                </a:lnTo>
                <a:lnTo>
                  <a:pt x="66" y="46"/>
                </a:lnTo>
                <a:lnTo>
                  <a:pt x="66" y="46"/>
                </a:lnTo>
                <a:lnTo>
                  <a:pt x="80" y="54"/>
                </a:lnTo>
                <a:lnTo>
                  <a:pt x="84" y="58"/>
                </a:lnTo>
                <a:lnTo>
                  <a:pt x="88" y="62"/>
                </a:lnTo>
                <a:lnTo>
                  <a:pt x="88" y="62"/>
                </a:lnTo>
                <a:lnTo>
                  <a:pt x="92" y="66"/>
                </a:lnTo>
                <a:lnTo>
                  <a:pt x="98" y="68"/>
                </a:lnTo>
                <a:lnTo>
                  <a:pt x="104" y="74"/>
                </a:lnTo>
                <a:lnTo>
                  <a:pt x="114" y="82"/>
                </a:lnTo>
                <a:lnTo>
                  <a:pt x="114" y="82"/>
                </a:lnTo>
                <a:lnTo>
                  <a:pt x="122" y="90"/>
                </a:lnTo>
                <a:lnTo>
                  <a:pt x="132" y="96"/>
                </a:lnTo>
                <a:lnTo>
                  <a:pt x="138" y="100"/>
                </a:lnTo>
                <a:lnTo>
                  <a:pt x="142" y="102"/>
                </a:lnTo>
                <a:lnTo>
                  <a:pt x="142" y="102"/>
                </a:lnTo>
                <a:lnTo>
                  <a:pt x="142" y="104"/>
                </a:lnTo>
                <a:lnTo>
                  <a:pt x="142" y="104"/>
                </a:lnTo>
                <a:lnTo>
                  <a:pt x="138" y="102"/>
                </a:lnTo>
                <a:lnTo>
                  <a:pt x="128" y="98"/>
                </a:lnTo>
                <a:lnTo>
                  <a:pt x="128" y="98"/>
                </a:lnTo>
                <a:lnTo>
                  <a:pt x="118" y="98"/>
                </a:lnTo>
                <a:lnTo>
                  <a:pt x="118" y="100"/>
                </a:lnTo>
                <a:lnTo>
                  <a:pt x="116" y="100"/>
                </a:lnTo>
                <a:lnTo>
                  <a:pt x="120" y="106"/>
                </a:lnTo>
                <a:lnTo>
                  <a:pt x="120" y="106"/>
                </a:lnTo>
                <a:lnTo>
                  <a:pt x="124" y="110"/>
                </a:lnTo>
                <a:lnTo>
                  <a:pt x="126" y="116"/>
                </a:lnTo>
                <a:lnTo>
                  <a:pt x="128" y="124"/>
                </a:lnTo>
                <a:lnTo>
                  <a:pt x="138" y="132"/>
                </a:lnTo>
                <a:lnTo>
                  <a:pt x="138" y="132"/>
                </a:lnTo>
                <a:lnTo>
                  <a:pt x="142" y="134"/>
                </a:lnTo>
                <a:lnTo>
                  <a:pt x="144" y="136"/>
                </a:lnTo>
                <a:lnTo>
                  <a:pt x="148" y="138"/>
                </a:lnTo>
                <a:lnTo>
                  <a:pt x="152" y="140"/>
                </a:lnTo>
                <a:lnTo>
                  <a:pt x="152" y="140"/>
                </a:lnTo>
                <a:lnTo>
                  <a:pt x="156" y="144"/>
                </a:lnTo>
                <a:lnTo>
                  <a:pt x="160" y="144"/>
                </a:lnTo>
                <a:lnTo>
                  <a:pt x="164" y="146"/>
                </a:lnTo>
                <a:lnTo>
                  <a:pt x="170" y="150"/>
                </a:lnTo>
                <a:lnTo>
                  <a:pt x="170" y="150"/>
                </a:lnTo>
                <a:lnTo>
                  <a:pt x="174" y="156"/>
                </a:lnTo>
                <a:lnTo>
                  <a:pt x="176" y="162"/>
                </a:lnTo>
                <a:lnTo>
                  <a:pt x="176" y="164"/>
                </a:lnTo>
                <a:lnTo>
                  <a:pt x="174" y="164"/>
                </a:lnTo>
                <a:lnTo>
                  <a:pt x="174" y="164"/>
                </a:lnTo>
                <a:lnTo>
                  <a:pt x="170" y="158"/>
                </a:lnTo>
                <a:lnTo>
                  <a:pt x="166" y="156"/>
                </a:lnTo>
                <a:lnTo>
                  <a:pt x="162" y="156"/>
                </a:lnTo>
                <a:lnTo>
                  <a:pt x="162" y="156"/>
                </a:lnTo>
                <a:lnTo>
                  <a:pt x="156" y="156"/>
                </a:lnTo>
                <a:lnTo>
                  <a:pt x="152" y="154"/>
                </a:lnTo>
                <a:lnTo>
                  <a:pt x="150" y="154"/>
                </a:lnTo>
                <a:lnTo>
                  <a:pt x="152" y="156"/>
                </a:lnTo>
                <a:lnTo>
                  <a:pt x="152" y="156"/>
                </a:lnTo>
                <a:lnTo>
                  <a:pt x="156" y="178"/>
                </a:lnTo>
                <a:lnTo>
                  <a:pt x="156" y="178"/>
                </a:lnTo>
                <a:lnTo>
                  <a:pt x="154" y="178"/>
                </a:lnTo>
                <a:lnTo>
                  <a:pt x="150" y="174"/>
                </a:lnTo>
                <a:lnTo>
                  <a:pt x="150" y="174"/>
                </a:lnTo>
                <a:lnTo>
                  <a:pt x="140" y="166"/>
                </a:lnTo>
                <a:lnTo>
                  <a:pt x="138" y="162"/>
                </a:lnTo>
                <a:lnTo>
                  <a:pt x="138" y="160"/>
                </a:lnTo>
                <a:lnTo>
                  <a:pt x="140" y="156"/>
                </a:lnTo>
                <a:lnTo>
                  <a:pt x="140" y="154"/>
                </a:lnTo>
                <a:lnTo>
                  <a:pt x="140" y="150"/>
                </a:lnTo>
                <a:lnTo>
                  <a:pt x="140" y="150"/>
                </a:lnTo>
                <a:lnTo>
                  <a:pt x="136" y="146"/>
                </a:lnTo>
                <a:lnTo>
                  <a:pt x="132" y="142"/>
                </a:lnTo>
                <a:lnTo>
                  <a:pt x="128" y="140"/>
                </a:lnTo>
                <a:lnTo>
                  <a:pt x="126" y="134"/>
                </a:lnTo>
                <a:lnTo>
                  <a:pt x="126" y="134"/>
                </a:lnTo>
                <a:lnTo>
                  <a:pt x="120" y="122"/>
                </a:lnTo>
                <a:lnTo>
                  <a:pt x="116" y="120"/>
                </a:lnTo>
                <a:lnTo>
                  <a:pt x="112" y="116"/>
                </a:lnTo>
                <a:lnTo>
                  <a:pt x="112" y="116"/>
                </a:lnTo>
                <a:lnTo>
                  <a:pt x="104" y="112"/>
                </a:lnTo>
                <a:lnTo>
                  <a:pt x="100" y="108"/>
                </a:lnTo>
                <a:lnTo>
                  <a:pt x="96" y="96"/>
                </a:lnTo>
                <a:lnTo>
                  <a:pt x="96" y="96"/>
                </a:lnTo>
                <a:lnTo>
                  <a:pt x="88" y="86"/>
                </a:lnTo>
                <a:lnTo>
                  <a:pt x="80" y="76"/>
                </a:lnTo>
                <a:lnTo>
                  <a:pt x="68" y="68"/>
                </a:lnTo>
                <a:lnTo>
                  <a:pt x="58" y="62"/>
                </a:lnTo>
                <a:lnTo>
                  <a:pt x="58" y="62"/>
                </a:lnTo>
                <a:lnTo>
                  <a:pt x="54" y="58"/>
                </a:lnTo>
                <a:lnTo>
                  <a:pt x="54" y="54"/>
                </a:lnTo>
                <a:lnTo>
                  <a:pt x="52" y="52"/>
                </a:lnTo>
                <a:lnTo>
                  <a:pt x="44" y="46"/>
                </a:lnTo>
                <a:lnTo>
                  <a:pt x="44" y="46"/>
                </a:lnTo>
                <a:lnTo>
                  <a:pt x="28" y="40"/>
                </a:lnTo>
                <a:lnTo>
                  <a:pt x="24" y="38"/>
                </a:lnTo>
                <a:lnTo>
                  <a:pt x="22" y="34"/>
                </a:lnTo>
                <a:lnTo>
                  <a:pt x="22" y="34"/>
                </a:lnTo>
                <a:lnTo>
                  <a:pt x="14" y="26"/>
                </a:lnTo>
                <a:lnTo>
                  <a:pt x="10" y="20"/>
                </a:lnTo>
                <a:lnTo>
                  <a:pt x="10" y="20"/>
                </a:lnTo>
                <a:lnTo>
                  <a:pt x="10" y="18"/>
                </a:lnTo>
                <a:lnTo>
                  <a:pt x="10" y="18"/>
                </a:lnTo>
                <a:lnTo>
                  <a:pt x="12" y="16"/>
                </a:lnTo>
                <a:lnTo>
                  <a:pt x="16" y="18"/>
                </a:lnTo>
                <a:lnTo>
                  <a:pt x="18" y="18"/>
                </a:lnTo>
                <a:lnTo>
                  <a:pt x="18" y="18"/>
                </a:lnTo>
                <a:lnTo>
                  <a:pt x="18" y="18"/>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28" name="Freeform 67"/>
          <p:cNvSpPr>
            <a:spLocks/>
          </p:cNvSpPr>
          <p:nvPr/>
        </p:nvSpPr>
        <p:spPr bwMode="auto">
          <a:xfrm>
            <a:off x="6890910" y="2178906"/>
            <a:ext cx="61529" cy="54627"/>
          </a:xfrm>
          <a:custGeom>
            <a:avLst/>
            <a:gdLst/>
            <a:ahLst/>
            <a:cxnLst>
              <a:cxn ang="0">
                <a:pos x="14" y="8"/>
              </a:cxn>
              <a:cxn ang="0">
                <a:pos x="22" y="6"/>
              </a:cxn>
              <a:cxn ang="0">
                <a:pos x="24" y="4"/>
              </a:cxn>
              <a:cxn ang="0">
                <a:pos x="28" y="2"/>
              </a:cxn>
              <a:cxn ang="0">
                <a:pos x="38" y="2"/>
              </a:cxn>
              <a:cxn ang="0">
                <a:pos x="44" y="0"/>
              </a:cxn>
              <a:cxn ang="0">
                <a:pos x="46" y="2"/>
              </a:cxn>
              <a:cxn ang="0">
                <a:pos x="48" y="2"/>
              </a:cxn>
              <a:cxn ang="0">
                <a:pos x="50" y="2"/>
              </a:cxn>
              <a:cxn ang="0">
                <a:pos x="54" y="8"/>
              </a:cxn>
              <a:cxn ang="0">
                <a:pos x="52" y="12"/>
              </a:cxn>
              <a:cxn ang="0">
                <a:pos x="50" y="14"/>
              </a:cxn>
              <a:cxn ang="0">
                <a:pos x="46" y="20"/>
              </a:cxn>
              <a:cxn ang="0">
                <a:pos x="46" y="22"/>
              </a:cxn>
              <a:cxn ang="0">
                <a:pos x="46" y="30"/>
              </a:cxn>
              <a:cxn ang="0">
                <a:pos x="42" y="34"/>
              </a:cxn>
              <a:cxn ang="0">
                <a:pos x="40" y="40"/>
              </a:cxn>
              <a:cxn ang="0">
                <a:pos x="34" y="44"/>
              </a:cxn>
              <a:cxn ang="0">
                <a:pos x="28" y="44"/>
              </a:cxn>
              <a:cxn ang="0">
                <a:pos x="24" y="46"/>
              </a:cxn>
              <a:cxn ang="0">
                <a:pos x="22" y="48"/>
              </a:cxn>
              <a:cxn ang="0">
                <a:pos x="18" y="46"/>
              </a:cxn>
              <a:cxn ang="0">
                <a:pos x="12" y="42"/>
              </a:cxn>
              <a:cxn ang="0">
                <a:pos x="6" y="36"/>
              </a:cxn>
              <a:cxn ang="0">
                <a:pos x="2" y="30"/>
              </a:cxn>
              <a:cxn ang="0">
                <a:pos x="2" y="26"/>
              </a:cxn>
              <a:cxn ang="0">
                <a:pos x="0" y="22"/>
              </a:cxn>
              <a:cxn ang="0">
                <a:pos x="2" y="18"/>
              </a:cxn>
              <a:cxn ang="0">
                <a:pos x="12" y="10"/>
              </a:cxn>
              <a:cxn ang="0">
                <a:pos x="14" y="10"/>
              </a:cxn>
              <a:cxn ang="0">
                <a:pos x="12" y="8"/>
              </a:cxn>
              <a:cxn ang="0">
                <a:pos x="14" y="8"/>
              </a:cxn>
            </a:cxnLst>
            <a:rect l="0" t="0" r="r" b="b"/>
            <a:pathLst>
              <a:path w="54" h="48">
                <a:moveTo>
                  <a:pt x="14" y="8"/>
                </a:moveTo>
                <a:lnTo>
                  <a:pt x="14" y="8"/>
                </a:lnTo>
                <a:lnTo>
                  <a:pt x="18" y="6"/>
                </a:lnTo>
                <a:lnTo>
                  <a:pt x="22" y="6"/>
                </a:lnTo>
                <a:lnTo>
                  <a:pt x="22" y="6"/>
                </a:lnTo>
                <a:lnTo>
                  <a:pt x="24" y="4"/>
                </a:lnTo>
                <a:lnTo>
                  <a:pt x="28" y="2"/>
                </a:lnTo>
                <a:lnTo>
                  <a:pt x="28" y="2"/>
                </a:lnTo>
                <a:lnTo>
                  <a:pt x="38" y="2"/>
                </a:lnTo>
                <a:lnTo>
                  <a:pt x="38" y="2"/>
                </a:lnTo>
                <a:lnTo>
                  <a:pt x="42" y="0"/>
                </a:lnTo>
                <a:lnTo>
                  <a:pt x="44" y="0"/>
                </a:lnTo>
                <a:lnTo>
                  <a:pt x="46" y="2"/>
                </a:lnTo>
                <a:lnTo>
                  <a:pt x="46" y="2"/>
                </a:lnTo>
                <a:lnTo>
                  <a:pt x="46" y="2"/>
                </a:lnTo>
                <a:lnTo>
                  <a:pt x="48" y="2"/>
                </a:lnTo>
                <a:lnTo>
                  <a:pt x="50" y="0"/>
                </a:lnTo>
                <a:lnTo>
                  <a:pt x="50" y="2"/>
                </a:lnTo>
                <a:lnTo>
                  <a:pt x="50" y="2"/>
                </a:lnTo>
                <a:lnTo>
                  <a:pt x="54" y="8"/>
                </a:lnTo>
                <a:lnTo>
                  <a:pt x="54" y="10"/>
                </a:lnTo>
                <a:lnTo>
                  <a:pt x="52" y="12"/>
                </a:lnTo>
                <a:lnTo>
                  <a:pt x="52" y="12"/>
                </a:lnTo>
                <a:lnTo>
                  <a:pt x="50" y="14"/>
                </a:lnTo>
                <a:lnTo>
                  <a:pt x="48" y="16"/>
                </a:lnTo>
                <a:lnTo>
                  <a:pt x="46" y="20"/>
                </a:lnTo>
                <a:lnTo>
                  <a:pt x="46" y="20"/>
                </a:lnTo>
                <a:lnTo>
                  <a:pt x="46" y="22"/>
                </a:lnTo>
                <a:lnTo>
                  <a:pt x="46" y="24"/>
                </a:lnTo>
                <a:lnTo>
                  <a:pt x="46" y="30"/>
                </a:lnTo>
                <a:lnTo>
                  <a:pt x="46" y="30"/>
                </a:lnTo>
                <a:lnTo>
                  <a:pt x="42" y="34"/>
                </a:lnTo>
                <a:lnTo>
                  <a:pt x="40" y="40"/>
                </a:lnTo>
                <a:lnTo>
                  <a:pt x="40" y="40"/>
                </a:lnTo>
                <a:lnTo>
                  <a:pt x="36" y="42"/>
                </a:lnTo>
                <a:lnTo>
                  <a:pt x="34" y="44"/>
                </a:lnTo>
                <a:lnTo>
                  <a:pt x="28" y="44"/>
                </a:lnTo>
                <a:lnTo>
                  <a:pt x="28" y="44"/>
                </a:lnTo>
                <a:lnTo>
                  <a:pt x="26" y="44"/>
                </a:lnTo>
                <a:lnTo>
                  <a:pt x="24" y="46"/>
                </a:lnTo>
                <a:lnTo>
                  <a:pt x="24" y="46"/>
                </a:lnTo>
                <a:lnTo>
                  <a:pt x="22" y="48"/>
                </a:lnTo>
                <a:lnTo>
                  <a:pt x="18" y="46"/>
                </a:lnTo>
                <a:lnTo>
                  <a:pt x="18" y="46"/>
                </a:lnTo>
                <a:lnTo>
                  <a:pt x="16" y="44"/>
                </a:lnTo>
                <a:lnTo>
                  <a:pt x="12" y="42"/>
                </a:lnTo>
                <a:lnTo>
                  <a:pt x="12" y="42"/>
                </a:lnTo>
                <a:lnTo>
                  <a:pt x="6" y="36"/>
                </a:lnTo>
                <a:lnTo>
                  <a:pt x="2" y="34"/>
                </a:lnTo>
                <a:lnTo>
                  <a:pt x="2" y="30"/>
                </a:lnTo>
                <a:lnTo>
                  <a:pt x="2" y="30"/>
                </a:lnTo>
                <a:lnTo>
                  <a:pt x="2" y="26"/>
                </a:lnTo>
                <a:lnTo>
                  <a:pt x="2" y="24"/>
                </a:lnTo>
                <a:lnTo>
                  <a:pt x="0" y="22"/>
                </a:lnTo>
                <a:lnTo>
                  <a:pt x="2" y="18"/>
                </a:lnTo>
                <a:lnTo>
                  <a:pt x="2" y="18"/>
                </a:lnTo>
                <a:lnTo>
                  <a:pt x="8" y="12"/>
                </a:lnTo>
                <a:lnTo>
                  <a:pt x="12" y="10"/>
                </a:lnTo>
                <a:lnTo>
                  <a:pt x="12" y="10"/>
                </a:lnTo>
                <a:lnTo>
                  <a:pt x="14" y="10"/>
                </a:lnTo>
                <a:lnTo>
                  <a:pt x="14" y="10"/>
                </a:lnTo>
                <a:lnTo>
                  <a:pt x="12" y="8"/>
                </a:lnTo>
                <a:lnTo>
                  <a:pt x="14" y="8"/>
                </a:lnTo>
                <a:lnTo>
                  <a:pt x="14" y="8"/>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50" name="Freeform 125"/>
          <p:cNvSpPr>
            <a:spLocks/>
          </p:cNvSpPr>
          <p:nvPr/>
        </p:nvSpPr>
        <p:spPr bwMode="auto">
          <a:xfrm>
            <a:off x="3272136" y="892895"/>
            <a:ext cx="799868" cy="311829"/>
          </a:xfrm>
          <a:custGeom>
            <a:avLst/>
            <a:gdLst/>
            <a:ahLst/>
            <a:cxnLst>
              <a:cxn ang="0">
                <a:pos x="214" y="6"/>
              </a:cxn>
              <a:cxn ang="0">
                <a:pos x="292" y="10"/>
              </a:cxn>
              <a:cxn ang="0">
                <a:pos x="354" y="4"/>
              </a:cxn>
              <a:cxn ang="0">
                <a:pos x="406" y="8"/>
              </a:cxn>
              <a:cxn ang="0">
                <a:pos x="474" y="4"/>
              </a:cxn>
              <a:cxn ang="0">
                <a:pos x="540" y="8"/>
              </a:cxn>
              <a:cxn ang="0">
                <a:pos x="606" y="10"/>
              </a:cxn>
              <a:cxn ang="0">
                <a:pos x="640" y="8"/>
              </a:cxn>
              <a:cxn ang="0">
                <a:pos x="648" y="18"/>
              </a:cxn>
              <a:cxn ang="0">
                <a:pos x="658" y="12"/>
              </a:cxn>
              <a:cxn ang="0">
                <a:pos x="692" y="18"/>
              </a:cxn>
              <a:cxn ang="0">
                <a:pos x="674" y="32"/>
              </a:cxn>
              <a:cxn ang="0">
                <a:pos x="684" y="40"/>
              </a:cxn>
              <a:cxn ang="0">
                <a:pos x="650" y="54"/>
              </a:cxn>
              <a:cxn ang="0">
                <a:pos x="650" y="76"/>
              </a:cxn>
              <a:cxn ang="0">
                <a:pos x="608" y="80"/>
              </a:cxn>
              <a:cxn ang="0">
                <a:pos x="568" y="88"/>
              </a:cxn>
              <a:cxn ang="0">
                <a:pos x="592" y="98"/>
              </a:cxn>
              <a:cxn ang="0">
                <a:pos x="616" y="106"/>
              </a:cxn>
              <a:cxn ang="0">
                <a:pos x="576" y="106"/>
              </a:cxn>
              <a:cxn ang="0">
                <a:pos x="550" y="104"/>
              </a:cxn>
              <a:cxn ang="0">
                <a:pos x="536" y="122"/>
              </a:cxn>
              <a:cxn ang="0">
                <a:pos x="582" y="120"/>
              </a:cxn>
              <a:cxn ang="0">
                <a:pos x="578" y="130"/>
              </a:cxn>
              <a:cxn ang="0">
                <a:pos x="542" y="138"/>
              </a:cxn>
              <a:cxn ang="0">
                <a:pos x="500" y="148"/>
              </a:cxn>
              <a:cxn ang="0">
                <a:pos x="454" y="152"/>
              </a:cxn>
              <a:cxn ang="0">
                <a:pos x="432" y="150"/>
              </a:cxn>
              <a:cxn ang="0">
                <a:pos x="398" y="170"/>
              </a:cxn>
              <a:cxn ang="0">
                <a:pos x="360" y="176"/>
              </a:cxn>
              <a:cxn ang="0">
                <a:pos x="324" y="182"/>
              </a:cxn>
              <a:cxn ang="0">
                <a:pos x="290" y="198"/>
              </a:cxn>
              <a:cxn ang="0">
                <a:pos x="280" y="214"/>
              </a:cxn>
              <a:cxn ang="0">
                <a:pos x="260" y="226"/>
              </a:cxn>
              <a:cxn ang="0">
                <a:pos x="244" y="248"/>
              </a:cxn>
              <a:cxn ang="0">
                <a:pos x="224" y="262"/>
              </a:cxn>
              <a:cxn ang="0">
                <a:pos x="196" y="270"/>
              </a:cxn>
              <a:cxn ang="0">
                <a:pos x="174" y="260"/>
              </a:cxn>
              <a:cxn ang="0">
                <a:pos x="140" y="248"/>
              </a:cxn>
              <a:cxn ang="0">
                <a:pos x="122" y="226"/>
              </a:cxn>
              <a:cxn ang="0">
                <a:pos x="134" y="200"/>
              </a:cxn>
              <a:cxn ang="0">
                <a:pos x="108" y="186"/>
              </a:cxn>
              <a:cxn ang="0">
                <a:pos x="108" y="168"/>
              </a:cxn>
              <a:cxn ang="0">
                <a:pos x="122" y="154"/>
              </a:cxn>
              <a:cxn ang="0">
                <a:pos x="152" y="146"/>
              </a:cxn>
              <a:cxn ang="0">
                <a:pos x="166" y="136"/>
              </a:cxn>
              <a:cxn ang="0">
                <a:pos x="166" y="124"/>
              </a:cxn>
              <a:cxn ang="0">
                <a:pos x="152" y="114"/>
              </a:cxn>
              <a:cxn ang="0">
                <a:pos x="176" y="110"/>
              </a:cxn>
              <a:cxn ang="0">
                <a:pos x="160" y="106"/>
              </a:cxn>
              <a:cxn ang="0">
                <a:pos x="128" y="106"/>
              </a:cxn>
              <a:cxn ang="0">
                <a:pos x="146" y="86"/>
              </a:cxn>
              <a:cxn ang="0">
                <a:pos x="142" y="72"/>
              </a:cxn>
              <a:cxn ang="0">
                <a:pos x="108" y="60"/>
              </a:cxn>
              <a:cxn ang="0">
                <a:pos x="44" y="56"/>
              </a:cxn>
              <a:cxn ang="0">
                <a:pos x="30" y="48"/>
              </a:cxn>
              <a:cxn ang="0">
                <a:pos x="28" y="42"/>
              </a:cxn>
              <a:cxn ang="0">
                <a:pos x="42" y="30"/>
              </a:cxn>
              <a:cxn ang="0">
                <a:pos x="84" y="16"/>
              </a:cxn>
              <a:cxn ang="0">
                <a:pos x="166" y="12"/>
              </a:cxn>
            </a:cxnLst>
            <a:rect l="0" t="0" r="r" b="b"/>
            <a:pathLst>
              <a:path w="702" h="274">
                <a:moveTo>
                  <a:pt x="166" y="12"/>
                </a:moveTo>
                <a:lnTo>
                  <a:pt x="166" y="12"/>
                </a:lnTo>
                <a:lnTo>
                  <a:pt x="172" y="10"/>
                </a:lnTo>
                <a:lnTo>
                  <a:pt x="178" y="10"/>
                </a:lnTo>
                <a:lnTo>
                  <a:pt x="182" y="10"/>
                </a:lnTo>
                <a:lnTo>
                  <a:pt x="188" y="10"/>
                </a:lnTo>
                <a:lnTo>
                  <a:pt x="188" y="10"/>
                </a:lnTo>
                <a:lnTo>
                  <a:pt x="194" y="8"/>
                </a:lnTo>
                <a:lnTo>
                  <a:pt x="200" y="8"/>
                </a:lnTo>
                <a:lnTo>
                  <a:pt x="206" y="8"/>
                </a:lnTo>
                <a:lnTo>
                  <a:pt x="214" y="6"/>
                </a:lnTo>
                <a:lnTo>
                  <a:pt x="214" y="6"/>
                </a:lnTo>
                <a:lnTo>
                  <a:pt x="224" y="6"/>
                </a:lnTo>
                <a:lnTo>
                  <a:pt x="230" y="8"/>
                </a:lnTo>
                <a:lnTo>
                  <a:pt x="236" y="10"/>
                </a:lnTo>
                <a:lnTo>
                  <a:pt x="242" y="8"/>
                </a:lnTo>
                <a:lnTo>
                  <a:pt x="242" y="8"/>
                </a:lnTo>
                <a:lnTo>
                  <a:pt x="250" y="8"/>
                </a:lnTo>
                <a:lnTo>
                  <a:pt x="254" y="8"/>
                </a:lnTo>
                <a:lnTo>
                  <a:pt x="260" y="10"/>
                </a:lnTo>
                <a:lnTo>
                  <a:pt x="268" y="10"/>
                </a:lnTo>
                <a:lnTo>
                  <a:pt x="268" y="10"/>
                </a:lnTo>
                <a:lnTo>
                  <a:pt x="280" y="8"/>
                </a:lnTo>
                <a:lnTo>
                  <a:pt x="292" y="10"/>
                </a:lnTo>
                <a:lnTo>
                  <a:pt x="300" y="10"/>
                </a:lnTo>
                <a:lnTo>
                  <a:pt x="302" y="10"/>
                </a:lnTo>
                <a:lnTo>
                  <a:pt x="302" y="8"/>
                </a:lnTo>
                <a:lnTo>
                  <a:pt x="302" y="8"/>
                </a:lnTo>
                <a:lnTo>
                  <a:pt x="302" y="6"/>
                </a:lnTo>
                <a:lnTo>
                  <a:pt x="306" y="4"/>
                </a:lnTo>
                <a:lnTo>
                  <a:pt x="314" y="4"/>
                </a:lnTo>
                <a:lnTo>
                  <a:pt x="322" y="6"/>
                </a:lnTo>
                <a:lnTo>
                  <a:pt x="322" y="6"/>
                </a:lnTo>
                <a:lnTo>
                  <a:pt x="332" y="8"/>
                </a:lnTo>
                <a:lnTo>
                  <a:pt x="340" y="8"/>
                </a:lnTo>
                <a:lnTo>
                  <a:pt x="354" y="4"/>
                </a:lnTo>
                <a:lnTo>
                  <a:pt x="354" y="4"/>
                </a:lnTo>
                <a:lnTo>
                  <a:pt x="362" y="4"/>
                </a:lnTo>
                <a:lnTo>
                  <a:pt x="368" y="6"/>
                </a:lnTo>
                <a:lnTo>
                  <a:pt x="372" y="8"/>
                </a:lnTo>
                <a:lnTo>
                  <a:pt x="380" y="6"/>
                </a:lnTo>
                <a:lnTo>
                  <a:pt x="380" y="6"/>
                </a:lnTo>
                <a:lnTo>
                  <a:pt x="386" y="6"/>
                </a:lnTo>
                <a:lnTo>
                  <a:pt x="390" y="8"/>
                </a:lnTo>
                <a:lnTo>
                  <a:pt x="394" y="10"/>
                </a:lnTo>
                <a:lnTo>
                  <a:pt x="400" y="8"/>
                </a:lnTo>
                <a:lnTo>
                  <a:pt x="400" y="8"/>
                </a:lnTo>
                <a:lnTo>
                  <a:pt x="406" y="8"/>
                </a:lnTo>
                <a:lnTo>
                  <a:pt x="408" y="8"/>
                </a:lnTo>
                <a:lnTo>
                  <a:pt x="412" y="8"/>
                </a:lnTo>
                <a:lnTo>
                  <a:pt x="424" y="6"/>
                </a:lnTo>
                <a:lnTo>
                  <a:pt x="424" y="6"/>
                </a:lnTo>
                <a:lnTo>
                  <a:pt x="450" y="2"/>
                </a:lnTo>
                <a:lnTo>
                  <a:pt x="456" y="4"/>
                </a:lnTo>
                <a:lnTo>
                  <a:pt x="458" y="4"/>
                </a:lnTo>
                <a:lnTo>
                  <a:pt x="456" y="6"/>
                </a:lnTo>
                <a:lnTo>
                  <a:pt x="456" y="6"/>
                </a:lnTo>
                <a:lnTo>
                  <a:pt x="452" y="10"/>
                </a:lnTo>
                <a:lnTo>
                  <a:pt x="454" y="10"/>
                </a:lnTo>
                <a:lnTo>
                  <a:pt x="474" y="4"/>
                </a:lnTo>
                <a:lnTo>
                  <a:pt x="474" y="4"/>
                </a:lnTo>
                <a:lnTo>
                  <a:pt x="482" y="2"/>
                </a:lnTo>
                <a:lnTo>
                  <a:pt x="486" y="0"/>
                </a:lnTo>
                <a:lnTo>
                  <a:pt x="494" y="2"/>
                </a:lnTo>
                <a:lnTo>
                  <a:pt x="500" y="6"/>
                </a:lnTo>
                <a:lnTo>
                  <a:pt x="504" y="6"/>
                </a:lnTo>
                <a:lnTo>
                  <a:pt x="508" y="6"/>
                </a:lnTo>
                <a:lnTo>
                  <a:pt x="508" y="6"/>
                </a:lnTo>
                <a:lnTo>
                  <a:pt x="518" y="4"/>
                </a:lnTo>
                <a:lnTo>
                  <a:pt x="524" y="6"/>
                </a:lnTo>
                <a:lnTo>
                  <a:pt x="530" y="8"/>
                </a:lnTo>
                <a:lnTo>
                  <a:pt x="540" y="8"/>
                </a:lnTo>
                <a:lnTo>
                  <a:pt x="540" y="8"/>
                </a:lnTo>
                <a:lnTo>
                  <a:pt x="550" y="8"/>
                </a:lnTo>
                <a:lnTo>
                  <a:pt x="556" y="10"/>
                </a:lnTo>
                <a:lnTo>
                  <a:pt x="560" y="12"/>
                </a:lnTo>
                <a:lnTo>
                  <a:pt x="568" y="10"/>
                </a:lnTo>
                <a:lnTo>
                  <a:pt x="568" y="10"/>
                </a:lnTo>
                <a:lnTo>
                  <a:pt x="576" y="8"/>
                </a:lnTo>
                <a:lnTo>
                  <a:pt x="584" y="8"/>
                </a:lnTo>
                <a:lnTo>
                  <a:pt x="592" y="10"/>
                </a:lnTo>
                <a:lnTo>
                  <a:pt x="600" y="10"/>
                </a:lnTo>
                <a:lnTo>
                  <a:pt x="600" y="10"/>
                </a:lnTo>
                <a:lnTo>
                  <a:pt x="606" y="10"/>
                </a:lnTo>
                <a:lnTo>
                  <a:pt x="612" y="10"/>
                </a:lnTo>
                <a:lnTo>
                  <a:pt x="618" y="14"/>
                </a:lnTo>
                <a:lnTo>
                  <a:pt x="618" y="14"/>
                </a:lnTo>
                <a:lnTo>
                  <a:pt x="618" y="14"/>
                </a:lnTo>
                <a:lnTo>
                  <a:pt x="620" y="12"/>
                </a:lnTo>
                <a:lnTo>
                  <a:pt x="622" y="10"/>
                </a:lnTo>
                <a:lnTo>
                  <a:pt x="624" y="8"/>
                </a:lnTo>
                <a:lnTo>
                  <a:pt x="624" y="8"/>
                </a:lnTo>
                <a:lnTo>
                  <a:pt x="630" y="8"/>
                </a:lnTo>
                <a:lnTo>
                  <a:pt x="636" y="8"/>
                </a:lnTo>
                <a:lnTo>
                  <a:pt x="640" y="8"/>
                </a:lnTo>
                <a:lnTo>
                  <a:pt x="640" y="8"/>
                </a:lnTo>
                <a:lnTo>
                  <a:pt x="646" y="12"/>
                </a:lnTo>
                <a:lnTo>
                  <a:pt x="646" y="12"/>
                </a:lnTo>
                <a:lnTo>
                  <a:pt x="640" y="14"/>
                </a:lnTo>
                <a:lnTo>
                  <a:pt x="640" y="14"/>
                </a:lnTo>
                <a:lnTo>
                  <a:pt x="634" y="16"/>
                </a:lnTo>
                <a:lnTo>
                  <a:pt x="630" y="18"/>
                </a:lnTo>
                <a:lnTo>
                  <a:pt x="630" y="22"/>
                </a:lnTo>
                <a:lnTo>
                  <a:pt x="630" y="22"/>
                </a:lnTo>
                <a:lnTo>
                  <a:pt x="634" y="18"/>
                </a:lnTo>
                <a:lnTo>
                  <a:pt x="640" y="18"/>
                </a:lnTo>
                <a:lnTo>
                  <a:pt x="648" y="18"/>
                </a:lnTo>
                <a:lnTo>
                  <a:pt x="648" y="18"/>
                </a:lnTo>
                <a:lnTo>
                  <a:pt x="650" y="20"/>
                </a:lnTo>
                <a:lnTo>
                  <a:pt x="650" y="22"/>
                </a:lnTo>
                <a:lnTo>
                  <a:pt x="638" y="32"/>
                </a:lnTo>
                <a:lnTo>
                  <a:pt x="638" y="32"/>
                </a:lnTo>
                <a:lnTo>
                  <a:pt x="636" y="34"/>
                </a:lnTo>
                <a:lnTo>
                  <a:pt x="638" y="34"/>
                </a:lnTo>
                <a:lnTo>
                  <a:pt x="652" y="26"/>
                </a:lnTo>
                <a:lnTo>
                  <a:pt x="652" y="26"/>
                </a:lnTo>
                <a:lnTo>
                  <a:pt x="654" y="22"/>
                </a:lnTo>
                <a:lnTo>
                  <a:pt x="654" y="20"/>
                </a:lnTo>
                <a:lnTo>
                  <a:pt x="654" y="16"/>
                </a:lnTo>
                <a:lnTo>
                  <a:pt x="658" y="12"/>
                </a:lnTo>
                <a:lnTo>
                  <a:pt x="658" y="12"/>
                </a:lnTo>
                <a:lnTo>
                  <a:pt x="664" y="8"/>
                </a:lnTo>
                <a:lnTo>
                  <a:pt x="672" y="8"/>
                </a:lnTo>
                <a:lnTo>
                  <a:pt x="680" y="8"/>
                </a:lnTo>
                <a:lnTo>
                  <a:pt x="688" y="8"/>
                </a:lnTo>
                <a:lnTo>
                  <a:pt x="688" y="8"/>
                </a:lnTo>
                <a:lnTo>
                  <a:pt x="700" y="8"/>
                </a:lnTo>
                <a:lnTo>
                  <a:pt x="702" y="10"/>
                </a:lnTo>
                <a:lnTo>
                  <a:pt x="702" y="10"/>
                </a:lnTo>
                <a:lnTo>
                  <a:pt x="696" y="14"/>
                </a:lnTo>
                <a:lnTo>
                  <a:pt x="696" y="14"/>
                </a:lnTo>
                <a:lnTo>
                  <a:pt x="692" y="18"/>
                </a:lnTo>
                <a:lnTo>
                  <a:pt x="692" y="20"/>
                </a:lnTo>
                <a:lnTo>
                  <a:pt x="694" y="20"/>
                </a:lnTo>
                <a:lnTo>
                  <a:pt x="690" y="22"/>
                </a:lnTo>
                <a:lnTo>
                  <a:pt x="690" y="22"/>
                </a:lnTo>
                <a:lnTo>
                  <a:pt x="688" y="24"/>
                </a:lnTo>
                <a:lnTo>
                  <a:pt x="690" y="26"/>
                </a:lnTo>
                <a:lnTo>
                  <a:pt x="690" y="28"/>
                </a:lnTo>
                <a:lnTo>
                  <a:pt x="686" y="32"/>
                </a:lnTo>
                <a:lnTo>
                  <a:pt x="686" y="32"/>
                </a:lnTo>
                <a:lnTo>
                  <a:pt x="680" y="34"/>
                </a:lnTo>
                <a:lnTo>
                  <a:pt x="678" y="34"/>
                </a:lnTo>
                <a:lnTo>
                  <a:pt x="674" y="32"/>
                </a:lnTo>
                <a:lnTo>
                  <a:pt x="668" y="34"/>
                </a:lnTo>
                <a:lnTo>
                  <a:pt x="668" y="34"/>
                </a:lnTo>
                <a:lnTo>
                  <a:pt x="662" y="38"/>
                </a:lnTo>
                <a:lnTo>
                  <a:pt x="660" y="40"/>
                </a:lnTo>
                <a:lnTo>
                  <a:pt x="660" y="42"/>
                </a:lnTo>
                <a:lnTo>
                  <a:pt x="664" y="40"/>
                </a:lnTo>
                <a:lnTo>
                  <a:pt x="664" y="40"/>
                </a:lnTo>
                <a:lnTo>
                  <a:pt x="668" y="38"/>
                </a:lnTo>
                <a:lnTo>
                  <a:pt x="672" y="40"/>
                </a:lnTo>
                <a:lnTo>
                  <a:pt x="676" y="40"/>
                </a:lnTo>
                <a:lnTo>
                  <a:pt x="684" y="40"/>
                </a:lnTo>
                <a:lnTo>
                  <a:pt x="684" y="40"/>
                </a:lnTo>
                <a:lnTo>
                  <a:pt x="690" y="42"/>
                </a:lnTo>
                <a:lnTo>
                  <a:pt x="688" y="42"/>
                </a:lnTo>
                <a:lnTo>
                  <a:pt x="670" y="48"/>
                </a:lnTo>
                <a:lnTo>
                  <a:pt x="670" y="48"/>
                </a:lnTo>
                <a:lnTo>
                  <a:pt x="664" y="50"/>
                </a:lnTo>
                <a:lnTo>
                  <a:pt x="660" y="48"/>
                </a:lnTo>
                <a:lnTo>
                  <a:pt x="658" y="46"/>
                </a:lnTo>
                <a:lnTo>
                  <a:pt x="654" y="46"/>
                </a:lnTo>
                <a:lnTo>
                  <a:pt x="654" y="46"/>
                </a:lnTo>
                <a:lnTo>
                  <a:pt x="648" y="48"/>
                </a:lnTo>
                <a:lnTo>
                  <a:pt x="648" y="52"/>
                </a:lnTo>
                <a:lnTo>
                  <a:pt x="650" y="54"/>
                </a:lnTo>
                <a:lnTo>
                  <a:pt x="656" y="58"/>
                </a:lnTo>
                <a:lnTo>
                  <a:pt x="656" y="58"/>
                </a:lnTo>
                <a:lnTo>
                  <a:pt x="658" y="58"/>
                </a:lnTo>
                <a:lnTo>
                  <a:pt x="658" y="60"/>
                </a:lnTo>
                <a:lnTo>
                  <a:pt x="654" y="62"/>
                </a:lnTo>
                <a:lnTo>
                  <a:pt x="648" y="64"/>
                </a:lnTo>
                <a:lnTo>
                  <a:pt x="648" y="66"/>
                </a:lnTo>
                <a:lnTo>
                  <a:pt x="650" y="68"/>
                </a:lnTo>
                <a:lnTo>
                  <a:pt x="650" y="68"/>
                </a:lnTo>
                <a:lnTo>
                  <a:pt x="656" y="72"/>
                </a:lnTo>
                <a:lnTo>
                  <a:pt x="650" y="76"/>
                </a:lnTo>
                <a:lnTo>
                  <a:pt x="650" y="76"/>
                </a:lnTo>
                <a:lnTo>
                  <a:pt x="646" y="76"/>
                </a:lnTo>
                <a:lnTo>
                  <a:pt x="640" y="76"/>
                </a:lnTo>
                <a:lnTo>
                  <a:pt x="638" y="74"/>
                </a:lnTo>
                <a:lnTo>
                  <a:pt x="640" y="76"/>
                </a:lnTo>
                <a:lnTo>
                  <a:pt x="640" y="76"/>
                </a:lnTo>
                <a:lnTo>
                  <a:pt x="640" y="78"/>
                </a:lnTo>
                <a:lnTo>
                  <a:pt x="640" y="80"/>
                </a:lnTo>
                <a:lnTo>
                  <a:pt x="632" y="82"/>
                </a:lnTo>
                <a:lnTo>
                  <a:pt x="624" y="82"/>
                </a:lnTo>
                <a:lnTo>
                  <a:pt x="614" y="82"/>
                </a:lnTo>
                <a:lnTo>
                  <a:pt x="614" y="82"/>
                </a:lnTo>
                <a:lnTo>
                  <a:pt x="608" y="80"/>
                </a:lnTo>
                <a:lnTo>
                  <a:pt x="604" y="82"/>
                </a:lnTo>
                <a:lnTo>
                  <a:pt x="598" y="82"/>
                </a:lnTo>
                <a:lnTo>
                  <a:pt x="590" y="82"/>
                </a:lnTo>
                <a:lnTo>
                  <a:pt x="590" y="82"/>
                </a:lnTo>
                <a:lnTo>
                  <a:pt x="584" y="80"/>
                </a:lnTo>
                <a:lnTo>
                  <a:pt x="580" y="80"/>
                </a:lnTo>
                <a:lnTo>
                  <a:pt x="570" y="82"/>
                </a:lnTo>
                <a:lnTo>
                  <a:pt x="570" y="82"/>
                </a:lnTo>
                <a:lnTo>
                  <a:pt x="564" y="84"/>
                </a:lnTo>
                <a:lnTo>
                  <a:pt x="562" y="86"/>
                </a:lnTo>
                <a:lnTo>
                  <a:pt x="564" y="88"/>
                </a:lnTo>
                <a:lnTo>
                  <a:pt x="568" y="88"/>
                </a:lnTo>
                <a:lnTo>
                  <a:pt x="568" y="88"/>
                </a:lnTo>
                <a:lnTo>
                  <a:pt x="574" y="88"/>
                </a:lnTo>
                <a:lnTo>
                  <a:pt x="574" y="92"/>
                </a:lnTo>
                <a:lnTo>
                  <a:pt x="574" y="94"/>
                </a:lnTo>
                <a:lnTo>
                  <a:pt x="578" y="94"/>
                </a:lnTo>
                <a:lnTo>
                  <a:pt x="578" y="94"/>
                </a:lnTo>
                <a:lnTo>
                  <a:pt x="580" y="94"/>
                </a:lnTo>
                <a:lnTo>
                  <a:pt x="582" y="94"/>
                </a:lnTo>
                <a:lnTo>
                  <a:pt x="584" y="96"/>
                </a:lnTo>
                <a:lnTo>
                  <a:pt x="588" y="96"/>
                </a:lnTo>
                <a:lnTo>
                  <a:pt x="588" y="96"/>
                </a:lnTo>
                <a:lnTo>
                  <a:pt x="592" y="98"/>
                </a:lnTo>
                <a:lnTo>
                  <a:pt x="598" y="94"/>
                </a:lnTo>
                <a:lnTo>
                  <a:pt x="598" y="94"/>
                </a:lnTo>
                <a:lnTo>
                  <a:pt x="602" y="92"/>
                </a:lnTo>
                <a:lnTo>
                  <a:pt x="604" y="94"/>
                </a:lnTo>
                <a:lnTo>
                  <a:pt x="606" y="98"/>
                </a:lnTo>
                <a:lnTo>
                  <a:pt x="608" y="96"/>
                </a:lnTo>
                <a:lnTo>
                  <a:pt x="608" y="96"/>
                </a:lnTo>
                <a:lnTo>
                  <a:pt x="612" y="96"/>
                </a:lnTo>
                <a:lnTo>
                  <a:pt x="614" y="98"/>
                </a:lnTo>
                <a:lnTo>
                  <a:pt x="616" y="100"/>
                </a:lnTo>
                <a:lnTo>
                  <a:pt x="616" y="106"/>
                </a:lnTo>
                <a:lnTo>
                  <a:pt x="616" y="106"/>
                </a:lnTo>
                <a:lnTo>
                  <a:pt x="614" y="110"/>
                </a:lnTo>
                <a:lnTo>
                  <a:pt x="612" y="112"/>
                </a:lnTo>
                <a:lnTo>
                  <a:pt x="608" y="112"/>
                </a:lnTo>
                <a:lnTo>
                  <a:pt x="606" y="114"/>
                </a:lnTo>
                <a:lnTo>
                  <a:pt x="606" y="114"/>
                </a:lnTo>
                <a:lnTo>
                  <a:pt x="604" y="116"/>
                </a:lnTo>
                <a:lnTo>
                  <a:pt x="602" y="116"/>
                </a:lnTo>
                <a:lnTo>
                  <a:pt x="594" y="116"/>
                </a:lnTo>
                <a:lnTo>
                  <a:pt x="586" y="112"/>
                </a:lnTo>
                <a:lnTo>
                  <a:pt x="582" y="108"/>
                </a:lnTo>
                <a:lnTo>
                  <a:pt x="582" y="108"/>
                </a:lnTo>
                <a:lnTo>
                  <a:pt x="576" y="106"/>
                </a:lnTo>
                <a:lnTo>
                  <a:pt x="570" y="104"/>
                </a:lnTo>
                <a:lnTo>
                  <a:pt x="558" y="102"/>
                </a:lnTo>
                <a:lnTo>
                  <a:pt x="558" y="102"/>
                </a:lnTo>
                <a:lnTo>
                  <a:pt x="546" y="100"/>
                </a:lnTo>
                <a:lnTo>
                  <a:pt x="540" y="98"/>
                </a:lnTo>
                <a:lnTo>
                  <a:pt x="532" y="98"/>
                </a:lnTo>
                <a:lnTo>
                  <a:pt x="532" y="98"/>
                </a:lnTo>
                <a:lnTo>
                  <a:pt x="528" y="100"/>
                </a:lnTo>
                <a:lnTo>
                  <a:pt x="532" y="100"/>
                </a:lnTo>
                <a:lnTo>
                  <a:pt x="542" y="102"/>
                </a:lnTo>
                <a:lnTo>
                  <a:pt x="550" y="104"/>
                </a:lnTo>
                <a:lnTo>
                  <a:pt x="550" y="104"/>
                </a:lnTo>
                <a:lnTo>
                  <a:pt x="552" y="106"/>
                </a:lnTo>
                <a:lnTo>
                  <a:pt x="550" y="108"/>
                </a:lnTo>
                <a:lnTo>
                  <a:pt x="544" y="108"/>
                </a:lnTo>
                <a:lnTo>
                  <a:pt x="536" y="110"/>
                </a:lnTo>
                <a:lnTo>
                  <a:pt x="536" y="110"/>
                </a:lnTo>
                <a:lnTo>
                  <a:pt x="526" y="116"/>
                </a:lnTo>
                <a:lnTo>
                  <a:pt x="524" y="118"/>
                </a:lnTo>
                <a:lnTo>
                  <a:pt x="526" y="118"/>
                </a:lnTo>
                <a:lnTo>
                  <a:pt x="532" y="118"/>
                </a:lnTo>
                <a:lnTo>
                  <a:pt x="532" y="118"/>
                </a:lnTo>
                <a:lnTo>
                  <a:pt x="538" y="120"/>
                </a:lnTo>
                <a:lnTo>
                  <a:pt x="536" y="122"/>
                </a:lnTo>
                <a:lnTo>
                  <a:pt x="532" y="124"/>
                </a:lnTo>
                <a:lnTo>
                  <a:pt x="532" y="124"/>
                </a:lnTo>
                <a:lnTo>
                  <a:pt x="534" y="124"/>
                </a:lnTo>
                <a:lnTo>
                  <a:pt x="534" y="124"/>
                </a:lnTo>
                <a:lnTo>
                  <a:pt x="544" y="120"/>
                </a:lnTo>
                <a:lnTo>
                  <a:pt x="552" y="116"/>
                </a:lnTo>
                <a:lnTo>
                  <a:pt x="552" y="116"/>
                </a:lnTo>
                <a:lnTo>
                  <a:pt x="556" y="116"/>
                </a:lnTo>
                <a:lnTo>
                  <a:pt x="564" y="118"/>
                </a:lnTo>
                <a:lnTo>
                  <a:pt x="572" y="120"/>
                </a:lnTo>
                <a:lnTo>
                  <a:pt x="582" y="120"/>
                </a:lnTo>
                <a:lnTo>
                  <a:pt x="582" y="120"/>
                </a:lnTo>
                <a:lnTo>
                  <a:pt x="592" y="120"/>
                </a:lnTo>
                <a:lnTo>
                  <a:pt x="594" y="122"/>
                </a:lnTo>
                <a:lnTo>
                  <a:pt x="594" y="122"/>
                </a:lnTo>
                <a:lnTo>
                  <a:pt x="594" y="122"/>
                </a:lnTo>
                <a:lnTo>
                  <a:pt x="592" y="124"/>
                </a:lnTo>
                <a:lnTo>
                  <a:pt x="586" y="124"/>
                </a:lnTo>
                <a:lnTo>
                  <a:pt x="580" y="126"/>
                </a:lnTo>
                <a:lnTo>
                  <a:pt x="578" y="128"/>
                </a:lnTo>
                <a:lnTo>
                  <a:pt x="580" y="128"/>
                </a:lnTo>
                <a:lnTo>
                  <a:pt x="580" y="128"/>
                </a:lnTo>
                <a:lnTo>
                  <a:pt x="580" y="130"/>
                </a:lnTo>
                <a:lnTo>
                  <a:pt x="578" y="130"/>
                </a:lnTo>
                <a:lnTo>
                  <a:pt x="570" y="132"/>
                </a:lnTo>
                <a:lnTo>
                  <a:pt x="564" y="132"/>
                </a:lnTo>
                <a:lnTo>
                  <a:pt x="562" y="132"/>
                </a:lnTo>
                <a:lnTo>
                  <a:pt x="562" y="134"/>
                </a:lnTo>
                <a:lnTo>
                  <a:pt x="562" y="134"/>
                </a:lnTo>
                <a:lnTo>
                  <a:pt x="562" y="136"/>
                </a:lnTo>
                <a:lnTo>
                  <a:pt x="560" y="136"/>
                </a:lnTo>
                <a:lnTo>
                  <a:pt x="552" y="136"/>
                </a:lnTo>
                <a:lnTo>
                  <a:pt x="544" y="136"/>
                </a:lnTo>
                <a:lnTo>
                  <a:pt x="542" y="136"/>
                </a:lnTo>
                <a:lnTo>
                  <a:pt x="542" y="138"/>
                </a:lnTo>
                <a:lnTo>
                  <a:pt x="542" y="138"/>
                </a:lnTo>
                <a:lnTo>
                  <a:pt x="544" y="140"/>
                </a:lnTo>
                <a:lnTo>
                  <a:pt x="542" y="140"/>
                </a:lnTo>
                <a:lnTo>
                  <a:pt x="534" y="140"/>
                </a:lnTo>
                <a:lnTo>
                  <a:pt x="526" y="142"/>
                </a:lnTo>
                <a:lnTo>
                  <a:pt x="524" y="142"/>
                </a:lnTo>
                <a:lnTo>
                  <a:pt x="524" y="144"/>
                </a:lnTo>
                <a:lnTo>
                  <a:pt x="524" y="144"/>
                </a:lnTo>
                <a:lnTo>
                  <a:pt x="524" y="146"/>
                </a:lnTo>
                <a:lnTo>
                  <a:pt x="522" y="146"/>
                </a:lnTo>
                <a:lnTo>
                  <a:pt x="516" y="146"/>
                </a:lnTo>
                <a:lnTo>
                  <a:pt x="508" y="146"/>
                </a:lnTo>
                <a:lnTo>
                  <a:pt x="500" y="148"/>
                </a:lnTo>
                <a:lnTo>
                  <a:pt x="500" y="148"/>
                </a:lnTo>
                <a:lnTo>
                  <a:pt x="494" y="148"/>
                </a:lnTo>
                <a:lnTo>
                  <a:pt x="490" y="148"/>
                </a:lnTo>
                <a:lnTo>
                  <a:pt x="486" y="148"/>
                </a:lnTo>
                <a:lnTo>
                  <a:pt x="482" y="150"/>
                </a:lnTo>
                <a:lnTo>
                  <a:pt x="482" y="150"/>
                </a:lnTo>
                <a:lnTo>
                  <a:pt x="476" y="152"/>
                </a:lnTo>
                <a:lnTo>
                  <a:pt x="472" y="150"/>
                </a:lnTo>
                <a:lnTo>
                  <a:pt x="466" y="150"/>
                </a:lnTo>
                <a:lnTo>
                  <a:pt x="460" y="152"/>
                </a:lnTo>
                <a:lnTo>
                  <a:pt x="460" y="152"/>
                </a:lnTo>
                <a:lnTo>
                  <a:pt x="454" y="152"/>
                </a:lnTo>
                <a:lnTo>
                  <a:pt x="450" y="150"/>
                </a:lnTo>
                <a:lnTo>
                  <a:pt x="448" y="146"/>
                </a:lnTo>
                <a:lnTo>
                  <a:pt x="444" y="144"/>
                </a:lnTo>
                <a:lnTo>
                  <a:pt x="444" y="144"/>
                </a:lnTo>
                <a:lnTo>
                  <a:pt x="442" y="144"/>
                </a:lnTo>
                <a:lnTo>
                  <a:pt x="442" y="144"/>
                </a:lnTo>
                <a:lnTo>
                  <a:pt x="442" y="148"/>
                </a:lnTo>
                <a:lnTo>
                  <a:pt x="442" y="150"/>
                </a:lnTo>
                <a:lnTo>
                  <a:pt x="440" y="150"/>
                </a:lnTo>
                <a:lnTo>
                  <a:pt x="436" y="150"/>
                </a:lnTo>
                <a:lnTo>
                  <a:pt x="436" y="150"/>
                </a:lnTo>
                <a:lnTo>
                  <a:pt x="432" y="150"/>
                </a:lnTo>
                <a:lnTo>
                  <a:pt x="430" y="152"/>
                </a:lnTo>
                <a:lnTo>
                  <a:pt x="426" y="156"/>
                </a:lnTo>
                <a:lnTo>
                  <a:pt x="422" y="162"/>
                </a:lnTo>
                <a:lnTo>
                  <a:pt x="420" y="164"/>
                </a:lnTo>
                <a:lnTo>
                  <a:pt x="418" y="162"/>
                </a:lnTo>
                <a:lnTo>
                  <a:pt x="418" y="162"/>
                </a:lnTo>
                <a:lnTo>
                  <a:pt x="414" y="162"/>
                </a:lnTo>
                <a:lnTo>
                  <a:pt x="412" y="162"/>
                </a:lnTo>
                <a:lnTo>
                  <a:pt x="408" y="166"/>
                </a:lnTo>
                <a:lnTo>
                  <a:pt x="402" y="170"/>
                </a:lnTo>
                <a:lnTo>
                  <a:pt x="398" y="170"/>
                </a:lnTo>
                <a:lnTo>
                  <a:pt x="398" y="170"/>
                </a:lnTo>
                <a:lnTo>
                  <a:pt x="390" y="170"/>
                </a:lnTo>
                <a:lnTo>
                  <a:pt x="384" y="170"/>
                </a:lnTo>
                <a:lnTo>
                  <a:pt x="380" y="172"/>
                </a:lnTo>
                <a:lnTo>
                  <a:pt x="378" y="174"/>
                </a:lnTo>
                <a:lnTo>
                  <a:pt x="380" y="176"/>
                </a:lnTo>
                <a:lnTo>
                  <a:pt x="380" y="176"/>
                </a:lnTo>
                <a:lnTo>
                  <a:pt x="380" y="178"/>
                </a:lnTo>
                <a:lnTo>
                  <a:pt x="378" y="178"/>
                </a:lnTo>
                <a:lnTo>
                  <a:pt x="372" y="180"/>
                </a:lnTo>
                <a:lnTo>
                  <a:pt x="362" y="180"/>
                </a:lnTo>
                <a:lnTo>
                  <a:pt x="362" y="180"/>
                </a:lnTo>
                <a:lnTo>
                  <a:pt x="360" y="176"/>
                </a:lnTo>
                <a:lnTo>
                  <a:pt x="360" y="176"/>
                </a:lnTo>
                <a:lnTo>
                  <a:pt x="356" y="172"/>
                </a:lnTo>
                <a:lnTo>
                  <a:pt x="350" y="172"/>
                </a:lnTo>
                <a:lnTo>
                  <a:pt x="344" y="174"/>
                </a:lnTo>
                <a:lnTo>
                  <a:pt x="344" y="176"/>
                </a:lnTo>
                <a:lnTo>
                  <a:pt x="344" y="178"/>
                </a:lnTo>
                <a:lnTo>
                  <a:pt x="344" y="178"/>
                </a:lnTo>
                <a:lnTo>
                  <a:pt x="344" y="180"/>
                </a:lnTo>
                <a:lnTo>
                  <a:pt x="344" y="182"/>
                </a:lnTo>
                <a:lnTo>
                  <a:pt x="338" y="182"/>
                </a:lnTo>
                <a:lnTo>
                  <a:pt x="324" y="182"/>
                </a:lnTo>
                <a:lnTo>
                  <a:pt x="324" y="182"/>
                </a:lnTo>
                <a:lnTo>
                  <a:pt x="318" y="182"/>
                </a:lnTo>
                <a:lnTo>
                  <a:pt x="312" y="184"/>
                </a:lnTo>
                <a:lnTo>
                  <a:pt x="310" y="188"/>
                </a:lnTo>
                <a:lnTo>
                  <a:pt x="314" y="190"/>
                </a:lnTo>
                <a:lnTo>
                  <a:pt x="314" y="190"/>
                </a:lnTo>
                <a:lnTo>
                  <a:pt x="314" y="192"/>
                </a:lnTo>
                <a:lnTo>
                  <a:pt x="312" y="194"/>
                </a:lnTo>
                <a:lnTo>
                  <a:pt x="296" y="192"/>
                </a:lnTo>
                <a:lnTo>
                  <a:pt x="296" y="192"/>
                </a:lnTo>
                <a:lnTo>
                  <a:pt x="290" y="192"/>
                </a:lnTo>
                <a:lnTo>
                  <a:pt x="288" y="194"/>
                </a:lnTo>
                <a:lnTo>
                  <a:pt x="290" y="198"/>
                </a:lnTo>
                <a:lnTo>
                  <a:pt x="296" y="202"/>
                </a:lnTo>
                <a:lnTo>
                  <a:pt x="296" y="202"/>
                </a:lnTo>
                <a:lnTo>
                  <a:pt x="298" y="204"/>
                </a:lnTo>
                <a:lnTo>
                  <a:pt x="296" y="204"/>
                </a:lnTo>
                <a:lnTo>
                  <a:pt x="292" y="206"/>
                </a:lnTo>
                <a:lnTo>
                  <a:pt x="286" y="208"/>
                </a:lnTo>
                <a:lnTo>
                  <a:pt x="284" y="208"/>
                </a:lnTo>
                <a:lnTo>
                  <a:pt x="284" y="210"/>
                </a:lnTo>
                <a:lnTo>
                  <a:pt x="284" y="210"/>
                </a:lnTo>
                <a:lnTo>
                  <a:pt x="286" y="210"/>
                </a:lnTo>
                <a:lnTo>
                  <a:pt x="284" y="212"/>
                </a:lnTo>
                <a:lnTo>
                  <a:pt x="280" y="214"/>
                </a:lnTo>
                <a:lnTo>
                  <a:pt x="274" y="216"/>
                </a:lnTo>
                <a:lnTo>
                  <a:pt x="274" y="218"/>
                </a:lnTo>
                <a:lnTo>
                  <a:pt x="274" y="218"/>
                </a:lnTo>
                <a:lnTo>
                  <a:pt x="274" y="218"/>
                </a:lnTo>
                <a:lnTo>
                  <a:pt x="274" y="218"/>
                </a:lnTo>
                <a:lnTo>
                  <a:pt x="272" y="220"/>
                </a:lnTo>
                <a:lnTo>
                  <a:pt x="266" y="220"/>
                </a:lnTo>
                <a:lnTo>
                  <a:pt x="260" y="222"/>
                </a:lnTo>
                <a:lnTo>
                  <a:pt x="260" y="224"/>
                </a:lnTo>
                <a:lnTo>
                  <a:pt x="260" y="224"/>
                </a:lnTo>
                <a:lnTo>
                  <a:pt x="260" y="224"/>
                </a:lnTo>
                <a:lnTo>
                  <a:pt x="260" y="226"/>
                </a:lnTo>
                <a:lnTo>
                  <a:pt x="258" y="226"/>
                </a:lnTo>
                <a:lnTo>
                  <a:pt x="252" y="228"/>
                </a:lnTo>
                <a:lnTo>
                  <a:pt x="248" y="230"/>
                </a:lnTo>
                <a:lnTo>
                  <a:pt x="246" y="232"/>
                </a:lnTo>
                <a:lnTo>
                  <a:pt x="250" y="236"/>
                </a:lnTo>
                <a:lnTo>
                  <a:pt x="250" y="236"/>
                </a:lnTo>
                <a:lnTo>
                  <a:pt x="252" y="238"/>
                </a:lnTo>
                <a:lnTo>
                  <a:pt x="252" y="240"/>
                </a:lnTo>
                <a:lnTo>
                  <a:pt x="248" y="242"/>
                </a:lnTo>
                <a:lnTo>
                  <a:pt x="244" y="246"/>
                </a:lnTo>
                <a:lnTo>
                  <a:pt x="242" y="246"/>
                </a:lnTo>
                <a:lnTo>
                  <a:pt x="244" y="248"/>
                </a:lnTo>
                <a:lnTo>
                  <a:pt x="244" y="248"/>
                </a:lnTo>
                <a:lnTo>
                  <a:pt x="246" y="250"/>
                </a:lnTo>
                <a:lnTo>
                  <a:pt x="244" y="250"/>
                </a:lnTo>
                <a:lnTo>
                  <a:pt x="238" y="252"/>
                </a:lnTo>
                <a:lnTo>
                  <a:pt x="234" y="254"/>
                </a:lnTo>
                <a:lnTo>
                  <a:pt x="232" y="256"/>
                </a:lnTo>
                <a:lnTo>
                  <a:pt x="234" y="256"/>
                </a:lnTo>
                <a:lnTo>
                  <a:pt x="234" y="256"/>
                </a:lnTo>
                <a:lnTo>
                  <a:pt x="236" y="258"/>
                </a:lnTo>
                <a:lnTo>
                  <a:pt x="236" y="258"/>
                </a:lnTo>
                <a:lnTo>
                  <a:pt x="230" y="260"/>
                </a:lnTo>
                <a:lnTo>
                  <a:pt x="224" y="262"/>
                </a:lnTo>
                <a:lnTo>
                  <a:pt x="222" y="264"/>
                </a:lnTo>
                <a:lnTo>
                  <a:pt x="222" y="268"/>
                </a:lnTo>
                <a:lnTo>
                  <a:pt x="222" y="268"/>
                </a:lnTo>
                <a:lnTo>
                  <a:pt x="222" y="274"/>
                </a:lnTo>
                <a:lnTo>
                  <a:pt x="220" y="274"/>
                </a:lnTo>
                <a:lnTo>
                  <a:pt x="214" y="274"/>
                </a:lnTo>
                <a:lnTo>
                  <a:pt x="204" y="274"/>
                </a:lnTo>
                <a:lnTo>
                  <a:pt x="204" y="274"/>
                </a:lnTo>
                <a:lnTo>
                  <a:pt x="198" y="274"/>
                </a:lnTo>
                <a:lnTo>
                  <a:pt x="198" y="274"/>
                </a:lnTo>
                <a:lnTo>
                  <a:pt x="198" y="270"/>
                </a:lnTo>
                <a:lnTo>
                  <a:pt x="196" y="270"/>
                </a:lnTo>
                <a:lnTo>
                  <a:pt x="196" y="270"/>
                </a:lnTo>
                <a:lnTo>
                  <a:pt x="194" y="268"/>
                </a:lnTo>
                <a:lnTo>
                  <a:pt x="194" y="266"/>
                </a:lnTo>
                <a:lnTo>
                  <a:pt x="192" y="264"/>
                </a:lnTo>
                <a:lnTo>
                  <a:pt x="188" y="262"/>
                </a:lnTo>
                <a:lnTo>
                  <a:pt x="188" y="262"/>
                </a:lnTo>
                <a:lnTo>
                  <a:pt x="182" y="260"/>
                </a:lnTo>
                <a:lnTo>
                  <a:pt x="182" y="258"/>
                </a:lnTo>
                <a:lnTo>
                  <a:pt x="184" y="256"/>
                </a:lnTo>
                <a:lnTo>
                  <a:pt x="182" y="256"/>
                </a:lnTo>
                <a:lnTo>
                  <a:pt x="182" y="256"/>
                </a:lnTo>
                <a:lnTo>
                  <a:pt x="174" y="260"/>
                </a:lnTo>
                <a:lnTo>
                  <a:pt x="166" y="262"/>
                </a:lnTo>
                <a:lnTo>
                  <a:pt x="166" y="262"/>
                </a:lnTo>
                <a:lnTo>
                  <a:pt x="164" y="262"/>
                </a:lnTo>
                <a:lnTo>
                  <a:pt x="162" y="262"/>
                </a:lnTo>
                <a:lnTo>
                  <a:pt x="160" y="260"/>
                </a:lnTo>
                <a:lnTo>
                  <a:pt x="154" y="258"/>
                </a:lnTo>
                <a:lnTo>
                  <a:pt x="154" y="258"/>
                </a:lnTo>
                <a:lnTo>
                  <a:pt x="148" y="256"/>
                </a:lnTo>
                <a:lnTo>
                  <a:pt x="148" y="254"/>
                </a:lnTo>
                <a:lnTo>
                  <a:pt x="146" y="250"/>
                </a:lnTo>
                <a:lnTo>
                  <a:pt x="140" y="248"/>
                </a:lnTo>
                <a:lnTo>
                  <a:pt x="140" y="248"/>
                </a:lnTo>
                <a:lnTo>
                  <a:pt x="138" y="246"/>
                </a:lnTo>
                <a:lnTo>
                  <a:pt x="136" y="246"/>
                </a:lnTo>
                <a:lnTo>
                  <a:pt x="136" y="242"/>
                </a:lnTo>
                <a:lnTo>
                  <a:pt x="136" y="238"/>
                </a:lnTo>
                <a:lnTo>
                  <a:pt x="136" y="236"/>
                </a:lnTo>
                <a:lnTo>
                  <a:pt x="132" y="236"/>
                </a:lnTo>
                <a:lnTo>
                  <a:pt x="132" y="236"/>
                </a:lnTo>
                <a:lnTo>
                  <a:pt x="128" y="234"/>
                </a:lnTo>
                <a:lnTo>
                  <a:pt x="128" y="232"/>
                </a:lnTo>
                <a:lnTo>
                  <a:pt x="126" y="230"/>
                </a:lnTo>
                <a:lnTo>
                  <a:pt x="122" y="226"/>
                </a:lnTo>
                <a:lnTo>
                  <a:pt x="122" y="226"/>
                </a:lnTo>
                <a:lnTo>
                  <a:pt x="118" y="224"/>
                </a:lnTo>
                <a:lnTo>
                  <a:pt x="116" y="222"/>
                </a:lnTo>
                <a:lnTo>
                  <a:pt x="116" y="212"/>
                </a:lnTo>
                <a:lnTo>
                  <a:pt x="116" y="212"/>
                </a:lnTo>
                <a:lnTo>
                  <a:pt x="116" y="210"/>
                </a:lnTo>
                <a:lnTo>
                  <a:pt x="120" y="208"/>
                </a:lnTo>
                <a:lnTo>
                  <a:pt x="122" y="208"/>
                </a:lnTo>
                <a:lnTo>
                  <a:pt x="124" y="206"/>
                </a:lnTo>
                <a:lnTo>
                  <a:pt x="124" y="206"/>
                </a:lnTo>
                <a:lnTo>
                  <a:pt x="124" y="204"/>
                </a:lnTo>
                <a:lnTo>
                  <a:pt x="126" y="202"/>
                </a:lnTo>
                <a:lnTo>
                  <a:pt x="134" y="200"/>
                </a:lnTo>
                <a:lnTo>
                  <a:pt x="134" y="200"/>
                </a:lnTo>
                <a:lnTo>
                  <a:pt x="130" y="198"/>
                </a:lnTo>
                <a:lnTo>
                  <a:pt x="126" y="200"/>
                </a:lnTo>
                <a:lnTo>
                  <a:pt x="114" y="204"/>
                </a:lnTo>
                <a:lnTo>
                  <a:pt x="114" y="204"/>
                </a:lnTo>
                <a:lnTo>
                  <a:pt x="112" y="206"/>
                </a:lnTo>
                <a:lnTo>
                  <a:pt x="112" y="204"/>
                </a:lnTo>
                <a:lnTo>
                  <a:pt x="110" y="200"/>
                </a:lnTo>
                <a:lnTo>
                  <a:pt x="110" y="192"/>
                </a:lnTo>
                <a:lnTo>
                  <a:pt x="110" y="190"/>
                </a:lnTo>
                <a:lnTo>
                  <a:pt x="108" y="186"/>
                </a:lnTo>
                <a:lnTo>
                  <a:pt x="108" y="186"/>
                </a:lnTo>
                <a:lnTo>
                  <a:pt x="104" y="182"/>
                </a:lnTo>
                <a:lnTo>
                  <a:pt x="104" y="180"/>
                </a:lnTo>
                <a:lnTo>
                  <a:pt x="106" y="178"/>
                </a:lnTo>
                <a:lnTo>
                  <a:pt x="112" y="178"/>
                </a:lnTo>
                <a:lnTo>
                  <a:pt x="112" y="178"/>
                </a:lnTo>
                <a:lnTo>
                  <a:pt x="116" y="178"/>
                </a:lnTo>
                <a:lnTo>
                  <a:pt x="118" y="178"/>
                </a:lnTo>
                <a:lnTo>
                  <a:pt x="116" y="174"/>
                </a:lnTo>
                <a:lnTo>
                  <a:pt x="112" y="172"/>
                </a:lnTo>
                <a:lnTo>
                  <a:pt x="112" y="172"/>
                </a:lnTo>
                <a:lnTo>
                  <a:pt x="108" y="168"/>
                </a:lnTo>
                <a:lnTo>
                  <a:pt x="108" y="168"/>
                </a:lnTo>
                <a:lnTo>
                  <a:pt x="112" y="166"/>
                </a:lnTo>
                <a:lnTo>
                  <a:pt x="114" y="164"/>
                </a:lnTo>
                <a:lnTo>
                  <a:pt x="114" y="164"/>
                </a:lnTo>
                <a:lnTo>
                  <a:pt x="112" y="162"/>
                </a:lnTo>
                <a:lnTo>
                  <a:pt x="112" y="162"/>
                </a:lnTo>
                <a:lnTo>
                  <a:pt x="112" y="160"/>
                </a:lnTo>
                <a:lnTo>
                  <a:pt x="112" y="158"/>
                </a:lnTo>
                <a:lnTo>
                  <a:pt x="118" y="156"/>
                </a:lnTo>
                <a:lnTo>
                  <a:pt x="122" y="156"/>
                </a:lnTo>
                <a:lnTo>
                  <a:pt x="124" y="154"/>
                </a:lnTo>
                <a:lnTo>
                  <a:pt x="122" y="154"/>
                </a:lnTo>
                <a:lnTo>
                  <a:pt x="122" y="154"/>
                </a:lnTo>
                <a:lnTo>
                  <a:pt x="120" y="152"/>
                </a:lnTo>
                <a:lnTo>
                  <a:pt x="122" y="150"/>
                </a:lnTo>
                <a:lnTo>
                  <a:pt x="136" y="146"/>
                </a:lnTo>
                <a:lnTo>
                  <a:pt x="136" y="146"/>
                </a:lnTo>
                <a:lnTo>
                  <a:pt x="142" y="146"/>
                </a:lnTo>
                <a:lnTo>
                  <a:pt x="146" y="148"/>
                </a:lnTo>
                <a:lnTo>
                  <a:pt x="150" y="150"/>
                </a:lnTo>
                <a:lnTo>
                  <a:pt x="156" y="150"/>
                </a:lnTo>
                <a:lnTo>
                  <a:pt x="156" y="150"/>
                </a:lnTo>
                <a:lnTo>
                  <a:pt x="158" y="148"/>
                </a:lnTo>
                <a:lnTo>
                  <a:pt x="156" y="148"/>
                </a:lnTo>
                <a:lnTo>
                  <a:pt x="152" y="146"/>
                </a:lnTo>
                <a:lnTo>
                  <a:pt x="146" y="144"/>
                </a:lnTo>
                <a:lnTo>
                  <a:pt x="146" y="144"/>
                </a:lnTo>
                <a:lnTo>
                  <a:pt x="146" y="142"/>
                </a:lnTo>
                <a:lnTo>
                  <a:pt x="146" y="142"/>
                </a:lnTo>
                <a:lnTo>
                  <a:pt x="152" y="140"/>
                </a:lnTo>
                <a:lnTo>
                  <a:pt x="160" y="140"/>
                </a:lnTo>
                <a:lnTo>
                  <a:pt x="166" y="140"/>
                </a:lnTo>
                <a:lnTo>
                  <a:pt x="166" y="140"/>
                </a:lnTo>
                <a:lnTo>
                  <a:pt x="166" y="138"/>
                </a:lnTo>
                <a:lnTo>
                  <a:pt x="166" y="138"/>
                </a:lnTo>
                <a:lnTo>
                  <a:pt x="166" y="138"/>
                </a:lnTo>
                <a:lnTo>
                  <a:pt x="166" y="136"/>
                </a:lnTo>
                <a:lnTo>
                  <a:pt x="170" y="136"/>
                </a:lnTo>
                <a:lnTo>
                  <a:pt x="174" y="134"/>
                </a:lnTo>
                <a:lnTo>
                  <a:pt x="174" y="134"/>
                </a:lnTo>
                <a:lnTo>
                  <a:pt x="174" y="132"/>
                </a:lnTo>
                <a:lnTo>
                  <a:pt x="174" y="132"/>
                </a:lnTo>
                <a:lnTo>
                  <a:pt x="172" y="130"/>
                </a:lnTo>
                <a:lnTo>
                  <a:pt x="174" y="128"/>
                </a:lnTo>
                <a:lnTo>
                  <a:pt x="176" y="126"/>
                </a:lnTo>
                <a:lnTo>
                  <a:pt x="174" y="124"/>
                </a:lnTo>
                <a:lnTo>
                  <a:pt x="174" y="124"/>
                </a:lnTo>
                <a:lnTo>
                  <a:pt x="172" y="122"/>
                </a:lnTo>
                <a:lnTo>
                  <a:pt x="166" y="124"/>
                </a:lnTo>
                <a:lnTo>
                  <a:pt x="158" y="126"/>
                </a:lnTo>
                <a:lnTo>
                  <a:pt x="158" y="126"/>
                </a:lnTo>
                <a:lnTo>
                  <a:pt x="150" y="124"/>
                </a:lnTo>
                <a:lnTo>
                  <a:pt x="142" y="120"/>
                </a:lnTo>
                <a:lnTo>
                  <a:pt x="142" y="120"/>
                </a:lnTo>
                <a:lnTo>
                  <a:pt x="136" y="118"/>
                </a:lnTo>
                <a:lnTo>
                  <a:pt x="136" y="116"/>
                </a:lnTo>
                <a:lnTo>
                  <a:pt x="140" y="114"/>
                </a:lnTo>
                <a:lnTo>
                  <a:pt x="140" y="114"/>
                </a:lnTo>
                <a:lnTo>
                  <a:pt x="146" y="114"/>
                </a:lnTo>
                <a:lnTo>
                  <a:pt x="148" y="114"/>
                </a:lnTo>
                <a:lnTo>
                  <a:pt x="152" y="114"/>
                </a:lnTo>
                <a:lnTo>
                  <a:pt x="154" y="114"/>
                </a:lnTo>
                <a:lnTo>
                  <a:pt x="154" y="114"/>
                </a:lnTo>
                <a:lnTo>
                  <a:pt x="160" y="114"/>
                </a:lnTo>
                <a:lnTo>
                  <a:pt x="168" y="114"/>
                </a:lnTo>
                <a:lnTo>
                  <a:pt x="174" y="116"/>
                </a:lnTo>
                <a:lnTo>
                  <a:pt x="180" y="114"/>
                </a:lnTo>
                <a:lnTo>
                  <a:pt x="180" y="114"/>
                </a:lnTo>
                <a:lnTo>
                  <a:pt x="182" y="114"/>
                </a:lnTo>
                <a:lnTo>
                  <a:pt x="180" y="112"/>
                </a:lnTo>
                <a:lnTo>
                  <a:pt x="176" y="112"/>
                </a:lnTo>
                <a:lnTo>
                  <a:pt x="176" y="112"/>
                </a:lnTo>
                <a:lnTo>
                  <a:pt x="176" y="110"/>
                </a:lnTo>
                <a:lnTo>
                  <a:pt x="176" y="110"/>
                </a:lnTo>
                <a:lnTo>
                  <a:pt x="178" y="110"/>
                </a:lnTo>
                <a:lnTo>
                  <a:pt x="176" y="110"/>
                </a:lnTo>
                <a:lnTo>
                  <a:pt x="170" y="110"/>
                </a:lnTo>
                <a:lnTo>
                  <a:pt x="166" y="110"/>
                </a:lnTo>
                <a:lnTo>
                  <a:pt x="166" y="110"/>
                </a:lnTo>
                <a:lnTo>
                  <a:pt x="168" y="108"/>
                </a:lnTo>
                <a:lnTo>
                  <a:pt x="168" y="108"/>
                </a:lnTo>
                <a:lnTo>
                  <a:pt x="170" y="104"/>
                </a:lnTo>
                <a:lnTo>
                  <a:pt x="170" y="104"/>
                </a:lnTo>
                <a:lnTo>
                  <a:pt x="160" y="106"/>
                </a:lnTo>
                <a:lnTo>
                  <a:pt x="160" y="106"/>
                </a:lnTo>
                <a:lnTo>
                  <a:pt x="156" y="108"/>
                </a:lnTo>
                <a:lnTo>
                  <a:pt x="152" y="108"/>
                </a:lnTo>
                <a:lnTo>
                  <a:pt x="148" y="106"/>
                </a:lnTo>
                <a:lnTo>
                  <a:pt x="150" y="104"/>
                </a:lnTo>
                <a:lnTo>
                  <a:pt x="150" y="104"/>
                </a:lnTo>
                <a:lnTo>
                  <a:pt x="152" y="104"/>
                </a:lnTo>
                <a:lnTo>
                  <a:pt x="150" y="104"/>
                </a:lnTo>
                <a:lnTo>
                  <a:pt x="146" y="106"/>
                </a:lnTo>
                <a:lnTo>
                  <a:pt x="140" y="108"/>
                </a:lnTo>
                <a:lnTo>
                  <a:pt x="140" y="108"/>
                </a:lnTo>
                <a:lnTo>
                  <a:pt x="130" y="108"/>
                </a:lnTo>
                <a:lnTo>
                  <a:pt x="128" y="106"/>
                </a:lnTo>
                <a:lnTo>
                  <a:pt x="128" y="104"/>
                </a:lnTo>
                <a:lnTo>
                  <a:pt x="128" y="104"/>
                </a:lnTo>
                <a:lnTo>
                  <a:pt x="128" y="100"/>
                </a:lnTo>
                <a:lnTo>
                  <a:pt x="134" y="98"/>
                </a:lnTo>
                <a:lnTo>
                  <a:pt x="134" y="98"/>
                </a:lnTo>
                <a:lnTo>
                  <a:pt x="138" y="96"/>
                </a:lnTo>
                <a:lnTo>
                  <a:pt x="140" y="94"/>
                </a:lnTo>
                <a:lnTo>
                  <a:pt x="142" y="92"/>
                </a:lnTo>
                <a:lnTo>
                  <a:pt x="144" y="90"/>
                </a:lnTo>
                <a:lnTo>
                  <a:pt x="144" y="90"/>
                </a:lnTo>
                <a:lnTo>
                  <a:pt x="148" y="88"/>
                </a:lnTo>
                <a:lnTo>
                  <a:pt x="146" y="86"/>
                </a:lnTo>
                <a:lnTo>
                  <a:pt x="146" y="84"/>
                </a:lnTo>
                <a:lnTo>
                  <a:pt x="148" y="82"/>
                </a:lnTo>
                <a:lnTo>
                  <a:pt x="148" y="82"/>
                </a:lnTo>
                <a:lnTo>
                  <a:pt x="148" y="80"/>
                </a:lnTo>
                <a:lnTo>
                  <a:pt x="148" y="80"/>
                </a:lnTo>
                <a:lnTo>
                  <a:pt x="144" y="78"/>
                </a:lnTo>
                <a:lnTo>
                  <a:pt x="140" y="78"/>
                </a:lnTo>
                <a:lnTo>
                  <a:pt x="140" y="76"/>
                </a:lnTo>
                <a:lnTo>
                  <a:pt x="140" y="74"/>
                </a:lnTo>
                <a:lnTo>
                  <a:pt x="140" y="74"/>
                </a:lnTo>
                <a:lnTo>
                  <a:pt x="142" y="74"/>
                </a:lnTo>
                <a:lnTo>
                  <a:pt x="142" y="72"/>
                </a:lnTo>
                <a:lnTo>
                  <a:pt x="136" y="72"/>
                </a:lnTo>
                <a:lnTo>
                  <a:pt x="132" y="70"/>
                </a:lnTo>
                <a:lnTo>
                  <a:pt x="132" y="68"/>
                </a:lnTo>
                <a:lnTo>
                  <a:pt x="134" y="68"/>
                </a:lnTo>
                <a:lnTo>
                  <a:pt x="134" y="68"/>
                </a:lnTo>
                <a:lnTo>
                  <a:pt x="136" y="66"/>
                </a:lnTo>
                <a:lnTo>
                  <a:pt x="134" y="62"/>
                </a:lnTo>
                <a:lnTo>
                  <a:pt x="130" y="62"/>
                </a:lnTo>
                <a:lnTo>
                  <a:pt x="122" y="60"/>
                </a:lnTo>
                <a:lnTo>
                  <a:pt x="122" y="60"/>
                </a:lnTo>
                <a:lnTo>
                  <a:pt x="116" y="60"/>
                </a:lnTo>
                <a:lnTo>
                  <a:pt x="108" y="60"/>
                </a:lnTo>
                <a:lnTo>
                  <a:pt x="108" y="60"/>
                </a:lnTo>
                <a:lnTo>
                  <a:pt x="100" y="60"/>
                </a:lnTo>
                <a:lnTo>
                  <a:pt x="94" y="58"/>
                </a:lnTo>
                <a:lnTo>
                  <a:pt x="84" y="56"/>
                </a:lnTo>
                <a:lnTo>
                  <a:pt x="74" y="56"/>
                </a:lnTo>
                <a:lnTo>
                  <a:pt x="74" y="56"/>
                </a:lnTo>
                <a:lnTo>
                  <a:pt x="68" y="56"/>
                </a:lnTo>
                <a:lnTo>
                  <a:pt x="64" y="54"/>
                </a:lnTo>
                <a:lnTo>
                  <a:pt x="60" y="54"/>
                </a:lnTo>
                <a:lnTo>
                  <a:pt x="54" y="54"/>
                </a:lnTo>
                <a:lnTo>
                  <a:pt x="54" y="54"/>
                </a:lnTo>
                <a:lnTo>
                  <a:pt x="44" y="56"/>
                </a:lnTo>
                <a:lnTo>
                  <a:pt x="36" y="56"/>
                </a:lnTo>
                <a:lnTo>
                  <a:pt x="36" y="56"/>
                </a:lnTo>
                <a:lnTo>
                  <a:pt x="30" y="58"/>
                </a:lnTo>
                <a:lnTo>
                  <a:pt x="28" y="62"/>
                </a:lnTo>
                <a:lnTo>
                  <a:pt x="24" y="62"/>
                </a:lnTo>
                <a:lnTo>
                  <a:pt x="18" y="60"/>
                </a:lnTo>
                <a:lnTo>
                  <a:pt x="18" y="60"/>
                </a:lnTo>
                <a:lnTo>
                  <a:pt x="8" y="56"/>
                </a:lnTo>
                <a:lnTo>
                  <a:pt x="12" y="56"/>
                </a:lnTo>
                <a:lnTo>
                  <a:pt x="20" y="52"/>
                </a:lnTo>
                <a:lnTo>
                  <a:pt x="20" y="52"/>
                </a:lnTo>
                <a:lnTo>
                  <a:pt x="30" y="48"/>
                </a:lnTo>
                <a:lnTo>
                  <a:pt x="46" y="46"/>
                </a:lnTo>
                <a:lnTo>
                  <a:pt x="46" y="46"/>
                </a:lnTo>
                <a:lnTo>
                  <a:pt x="66" y="44"/>
                </a:lnTo>
                <a:lnTo>
                  <a:pt x="56" y="44"/>
                </a:lnTo>
                <a:lnTo>
                  <a:pt x="56" y="44"/>
                </a:lnTo>
                <a:lnTo>
                  <a:pt x="48" y="42"/>
                </a:lnTo>
                <a:lnTo>
                  <a:pt x="48" y="42"/>
                </a:lnTo>
                <a:lnTo>
                  <a:pt x="50" y="40"/>
                </a:lnTo>
                <a:lnTo>
                  <a:pt x="50" y="40"/>
                </a:lnTo>
                <a:lnTo>
                  <a:pt x="48" y="40"/>
                </a:lnTo>
                <a:lnTo>
                  <a:pt x="48" y="40"/>
                </a:lnTo>
                <a:lnTo>
                  <a:pt x="28" y="42"/>
                </a:lnTo>
                <a:lnTo>
                  <a:pt x="20" y="42"/>
                </a:lnTo>
                <a:lnTo>
                  <a:pt x="14" y="40"/>
                </a:lnTo>
                <a:lnTo>
                  <a:pt x="14" y="40"/>
                </a:lnTo>
                <a:lnTo>
                  <a:pt x="8" y="38"/>
                </a:lnTo>
                <a:lnTo>
                  <a:pt x="2" y="38"/>
                </a:lnTo>
                <a:lnTo>
                  <a:pt x="0" y="38"/>
                </a:lnTo>
                <a:lnTo>
                  <a:pt x="0" y="36"/>
                </a:lnTo>
                <a:lnTo>
                  <a:pt x="8" y="34"/>
                </a:lnTo>
                <a:lnTo>
                  <a:pt x="8" y="34"/>
                </a:lnTo>
                <a:lnTo>
                  <a:pt x="18" y="30"/>
                </a:lnTo>
                <a:lnTo>
                  <a:pt x="26" y="30"/>
                </a:lnTo>
                <a:lnTo>
                  <a:pt x="42" y="30"/>
                </a:lnTo>
                <a:lnTo>
                  <a:pt x="42" y="30"/>
                </a:lnTo>
                <a:lnTo>
                  <a:pt x="54" y="30"/>
                </a:lnTo>
                <a:lnTo>
                  <a:pt x="62" y="30"/>
                </a:lnTo>
                <a:lnTo>
                  <a:pt x="62" y="30"/>
                </a:lnTo>
                <a:lnTo>
                  <a:pt x="66" y="28"/>
                </a:lnTo>
                <a:lnTo>
                  <a:pt x="68" y="26"/>
                </a:lnTo>
                <a:lnTo>
                  <a:pt x="70" y="24"/>
                </a:lnTo>
                <a:lnTo>
                  <a:pt x="78" y="22"/>
                </a:lnTo>
                <a:lnTo>
                  <a:pt x="78" y="22"/>
                </a:lnTo>
                <a:lnTo>
                  <a:pt x="84" y="20"/>
                </a:lnTo>
                <a:lnTo>
                  <a:pt x="84" y="18"/>
                </a:lnTo>
                <a:lnTo>
                  <a:pt x="84" y="16"/>
                </a:lnTo>
                <a:lnTo>
                  <a:pt x="84" y="16"/>
                </a:lnTo>
                <a:lnTo>
                  <a:pt x="94" y="14"/>
                </a:lnTo>
                <a:lnTo>
                  <a:pt x="94" y="14"/>
                </a:lnTo>
                <a:lnTo>
                  <a:pt x="108" y="14"/>
                </a:lnTo>
                <a:lnTo>
                  <a:pt x="118" y="14"/>
                </a:lnTo>
                <a:lnTo>
                  <a:pt x="126" y="14"/>
                </a:lnTo>
                <a:lnTo>
                  <a:pt x="136" y="14"/>
                </a:lnTo>
                <a:lnTo>
                  <a:pt x="136" y="14"/>
                </a:lnTo>
                <a:lnTo>
                  <a:pt x="146" y="12"/>
                </a:lnTo>
                <a:lnTo>
                  <a:pt x="152" y="14"/>
                </a:lnTo>
                <a:lnTo>
                  <a:pt x="158" y="14"/>
                </a:lnTo>
                <a:lnTo>
                  <a:pt x="166" y="12"/>
                </a:lnTo>
                <a:lnTo>
                  <a:pt x="166" y="12"/>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52" name="Freeform 129"/>
          <p:cNvSpPr>
            <a:spLocks/>
          </p:cNvSpPr>
          <p:nvPr/>
        </p:nvSpPr>
        <p:spPr bwMode="auto">
          <a:xfrm>
            <a:off x="5202300" y="974836"/>
            <a:ext cx="120778" cy="50075"/>
          </a:xfrm>
          <a:custGeom>
            <a:avLst/>
            <a:gdLst/>
            <a:ahLst/>
            <a:cxnLst>
              <a:cxn ang="0">
                <a:pos x="102" y="34"/>
              </a:cxn>
              <a:cxn ang="0">
                <a:pos x="74" y="30"/>
              </a:cxn>
              <a:cxn ang="0">
                <a:pos x="68" y="28"/>
              </a:cxn>
              <a:cxn ang="0">
                <a:pos x="52" y="18"/>
              </a:cxn>
              <a:cxn ang="0">
                <a:pos x="52" y="16"/>
              </a:cxn>
              <a:cxn ang="0">
                <a:pos x="54" y="10"/>
              </a:cxn>
              <a:cxn ang="0">
                <a:pos x="54" y="10"/>
              </a:cxn>
              <a:cxn ang="0">
                <a:pos x="56" y="6"/>
              </a:cxn>
              <a:cxn ang="0">
                <a:pos x="60" y="4"/>
              </a:cxn>
              <a:cxn ang="0">
                <a:pos x="58" y="4"/>
              </a:cxn>
              <a:cxn ang="0">
                <a:pos x="36" y="0"/>
              </a:cxn>
              <a:cxn ang="0">
                <a:pos x="32" y="2"/>
              </a:cxn>
              <a:cxn ang="0">
                <a:pos x="26" y="2"/>
              </a:cxn>
              <a:cxn ang="0">
                <a:pos x="20" y="4"/>
              </a:cxn>
              <a:cxn ang="0">
                <a:pos x="18" y="6"/>
              </a:cxn>
              <a:cxn ang="0">
                <a:pos x="18" y="8"/>
              </a:cxn>
              <a:cxn ang="0">
                <a:pos x="12" y="12"/>
              </a:cxn>
              <a:cxn ang="0">
                <a:pos x="10" y="18"/>
              </a:cxn>
              <a:cxn ang="0">
                <a:pos x="6" y="18"/>
              </a:cxn>
              <a:cxn ang="0">
                <a:pos x="2" y="20"/>
              </a:cxn>
              <a:cxn ang="0">
                <a:pos x="0" y="26"/>
              </a:cxn>
              <a:cxn ang="0">
                <a:pos x="2" y="28"/>
              </a:cxn>
              <a:cxn ang="0">
                <a:pos x="6" y="28"/>
              </a:cxn>
              <a:cxn ang="0">
                <a:pos x="12" y="26"/>
              </a:cxn>
              <a:cxn ang="0">
                <a:pos x="14" y="28"/>
              </a:cxn>
              <a:cxn ang="0">
                <a:pos x="18" y="28"/>
              </a:cxn>
              <a:cxn ang="0">
                <a:pos x="20" y="30"/>
              </a:cxn>
              <a:cxn ang="0">
                <a:pos x="22" y="32"/>
              </a:cxn>
              <a:cxn ang="0">
                <a:pos x="26" y="30"/>
              </a:cxn>
              <a:cxn ang="0">
                <a:pos x="28" y="32"/>
              </a:cxn>
              <a:cxn ang="0">
                <a:pos x="30" y="34"/>
              </a:cxn>
              <a:cxn ang="0">
                <a:pos x="34" y="36"/>
              </a:cxn>
              <a:cxn ang="0">
                <a:pos x="34" y="38"/>
              </a:cxn>
              <a:cxn ang="0">
                <a:pos x="32" y="38"/>
              </a:cxn>
              <a:cxn ang="0">
                <a:pos x="32" y="38"/>
              </a:cxn>
              <a:cxn ang="0">
                <a:pos x="30" y="42"/>
              </a:cxn>
              <a:cxn ang="0">
                <a:pos x="32" y="44"/>
              </a:cxn>
              <a:cxn ang="0">
                <a:pos x="40" y="42"/>
              </a:cxn>
              <a:cxn ang="0">
                <a:pos x="46" y="44"/>
              </a:cxn>
              <a:cxn ang="0">
                <a:pos x="52" y="44"/>
              </a:cxn>
              <a:cxn ang="0">
                <a:pos x="56" y="42"/>
              </a:cxn>
              <a:cxn ang="0">
                <a:pos x="56" y="42"/>
              </a:cxn>
              <a:cxn ang="0">
                <a:pos x="62" y="42"/>
              </a:cxn>
              <a:cxn ang="0">
                <a:pos x="68" y="42"/>
              </a:cxn>
              <a:cxn ang="0">
                <a:pos x="68" y="42"/>
              </a:cxn>
              <a:cxn ang="0">
                <a:pos x="72" y="38"/>
              </a:cxn>
              <a:cxn ang="0">
                <a:pos x="80" y="40"/>
              </a:cxn>
              <a:cxn ang="0">
                <a:pos x="88" y="42"/>
              </a:cxn>
              <a:cxn ang="0">
                <a:pos x="88" y="40"/>
              </a:cxn>
              <a:cxn ang="0">
                <a:pos x="86" y="38"/>
              </a:cxn>
              <a:cxn ang="0">
                <a:pos x="92" y="38"/>
              </a:cxn>
              <a:cxn ang="0">
                <a:pos x="96" y="38"/>
              </a:cxn>
              <a:cxn ang="0">
                <a:pos x="106" y="36"/>
              </a:cxn>
              <a:cxn ang="0">
                <a:pos x="102" y="34"/>
              </a:cxn>
            </a:cxnLst>
            <a:rect l="0" t="0" r="r" b="b"/>
            <a:pathLst>
              <a:path w="106" h="44">
                <a:moveTo>
                  <a:pt x="102" y="34"/>
                </a:moveTo>
                <a:lnTo>
                  <a:pt x="102" y="34"/>
                </a:lnTo>
                <a:lnTo>
                  <a:pt x="82" y="32"/>
                </a:lnTo>
                <a:lnTo>
                  <a:pt x="74" y="30"/>
                </a:lnTo>
                <a:lnTo>
                  <a:pt x="68" y="28"/>
                </a:lnTo>
                <a:lnTo>
                  <a:pt x="68" y="28"/>
                </a:lnTo>
                <a:lnTo>
                  <a:pt x="56" y="22"/>
                </a:lnTo>
                <a:lnTo>
                  <a:pt x="52" y="18"/>
                </a:lnTo>
                <a:lnTo>
                  <a:pt x="52" y="16"/>
                </a:lnTo>
                <a:lnTo>
                  <a:pt x="52" y="16"/>
                </a:lnTo>
                <a:lnTo>
                  <a:pt x="54" y="12"/>
                </a:lnTo>
                <a:lnTo>
                  <a:pt x="54" y="10"/>
                </a:lnTo>
                <a:lnTo>
                  <a:pt x="54" y="10"/>
                </a:lnTo>
                <a:lnTo>
                  <a:pt x="54" y="10"/>
                </a:lnTo>
                <a:lnTo>
                  <a:pt x="54" y="8"/>
                </a:lnTo>
                <a:lnTo>
                  <a:pt x="56" y="6"/>
                </a:lnTo>
                <a:lnTo>
                  <a:pt x="60" y="4"/>
                </a:lnTo>
                <a:lnTo>
                  <a:pt x="60" y="4"/>
                </a:lnTo>
                <a:lnTo>
                  <a:pt x="58" y="4"/>
                </a:lnTo>
                <a:lnTo>
                  <a:pt x="58" y="4"/>
                </a:lnTo>
                <a:lnTo>
                  <a:pt x="48" y="2"/>
                </a:lnTo>
                <a:lnTo>
                  <a:pt x="36" y="0"/>
                </a:lnTo>
                <a:lnTo>
                  <a:pt x="36" y="0"/>
                </a:lnTo>
                <a:lnTo>
                  <a:pt x="32" y="2"/>
                </a:lnTo>
                <a:lnTo>
                  <a:pt x="26" y="2"/>
                </a:lnTo>
                <a:lnTo>
                  <a:pt x="26" y="2"/>
                </a:lnTo>
                <a:lnTo>
                  <a:pt x="22" y="2"/>
                </a:lnTo>
                <a:lnTo>
                  <a:pt x="20" y="4"/>
                </a:lnTo>
                <a:lnTo>
                  <a:pt x="18" y="4"/>
                </a:lnTo>
                <a:lnTo>
                  <a:pt x="18" y="6"/>
                </a:lnTo>
                <a:lnTo>
                  <a:pt x="18" y="6"/>
                </a:lnTo>
                <a:lnTo>
                  <a:pt x="18" y="8"/>
                </a:lnTo>
                <a:lnTo>
                  <a:pt x="18" y="8"/>
                </a:lnTo>
                <a:lnTo>
                  <a:pt x="12" y="12"/>
                </a:lnTo>
                <a:lnTo>
                  <a:pt x="12" y="12"/>
                </a:lnTo>
                <a:lnTo>
                  <a:pt x="10" y="18"/>
                </a:lnTo>
                <a:lnTo>
                  <a:pt x="8" y="18"/>
                </a:lnTo>
                <a:lnTo>
                  <a:pt x="6" y="18"/>
                </a:lnTo>
                <a:lnTo>
                  <a:pt x="6" y="18"/>
                </a:lnTo>
                <a:lnTo>
                  <a:pt x="2" y="20"/>
                </a:lnTo>
                <a:lnTo>
                  <a:pt x="0" y="22"/>
                </a:lnTo>
                <a:lnTo>
                  <a:pt x="0" y="26"/>
                </a:lnTo>
                <a:lnTo>
                  <a:pt x="0" y="28"/>
                </a:lnTo>
                <a:lnTo>
                  <a:pt x="2" y="28"/>
                </a:lnTo>
                <a:lnTo>
                  <a:pt x="2" y="28"/>
                </a:lnTo>
                <a:lnTo>
                  <a:pt x="6" y="28"/>
                </a:lnTo>
                <a:lnTo>
                  <a:pt x="10" y="26"/>
                </a:lnTo>
                <a:lnTo>
                  <a:pt x="12" y="26"/>
                </a:lnTo>
                <a:lnTo>
                  <a:pt x="14" y="28"/>
                </a:lnTo>
                <a:lnTo>
                  <a:pt x="14" y="28"/>
                </a:lnTo>
                <a:lnTo>
                  <a:pt x="16" y="30"/>
                </a:lnTo>
                <a:lnTo>
                  <a:pt x="18" y="28"/>
                </a:lnTo>
                <a:lnTo>
                  <a:pt x="20" y="28"/>
                </a:lnTo>
                <a:lnTo>
                  <a:pt x="20" y="30"/>
                </a:lnTo>
                <a:lnTo>
                  <a:pt x="20" y="30"/>
                </a:lnTo>
                <a:lnTo>
                  <a:pt x="22" y="32"/>
                </a:lnTo>
                <a:lnTo>
                  <a:pt x="24" y="30"/>
                </a:lnTo>
                <a:lnTo>
                  <a:pt x="26" y="30"/>
                </a:lnTo>
                <a:lnTo>
                  <a:pt x="28" y="32"/>
                </a:lnTo>
                <a:lnTo>
                  <a:pt x="28" y="32"/>
                </a:lnTo>
                <a:lnTo>
                  <a:pt x="28" y="34"/>
                </a:lnTo>
                <a:lnTo>
                  <a:pt x="30" y="34"/>
                </a:lnTo>
                <a:lnTo>
                  <a:pt x="34" y="34"/>
                </a:lnTo>
                <a:lnTo>
                  <a:pt x="34" y="36"/>
                </a:lnTo>
                <a:lnTo>
                  <a:pt x="34" y="36"/>
                </a:lnTo>
                <a:lnTo>
                  <a:pt x="34" y="38"/>
                </a:lnTo>
                <a:lnTo>
                  <a:pt x="32" y="38"/>
                </a:lnTo>
                <a:lnTo>
                  <a:pt x="32" y="38"/>
                </a:lnTo>
                <a:lnTo>
                  <a:pt x="32" y="38"/>
                </a:lnTo>
                <a:lnTo>
                  <a:pt x="32" y="38"/>
                </a:lnTo>
                <a:lnTo>
                  <a:pt x="30" y="40"/>
                </a:lnTo>
                <a:lnTo>
                  <a:pt x="30" y="42"/>
                </a:lnTo>
                <a:lnTo>
                  <a:pt x="30" y="42"/>
                </a:lnTo>
                <a:lnTo>
                  <a:pt x="32" y="44"/>
                </a:lnTo>
                <a:lnTo>
                  <a:pt x="32" y="44"/>
                </a:lnTo>
                <a:lnTo>
                  <a:pt x="40" y="42"/>
                </a:lnTo>
                <a:lnTo>
                  <a:pt x="44" y="42"/>
                </a:lnTo>
                <a:lnTo>
                  <a:pt x="46" y="44"/>
                </a:lnTo>
                <a:lnTo>
                  <a:pt x="46" y="44"/>
                </a:lnTo>
                <a:lnTo>
                  <a:pt x="52" y="44"/>
                </a:lnTo>
                <a:lnTo>
                  <a:pt x="56" y="44"/>
                </a:lnTo>
                <a:lnTo>
                  <a:pt x="56" y="42"/>
                </a:lnTo>
                <a:lnTo>
                  <a:pt x="56" y="42"/>
                </a:lnTo>
                <a:lnTo>
                  <a:pt x="56" y="42"/>
                </a:lnTo>
                <a:lnTo>
                  <a:pt x="56" y="42"/>
                </a:lnTo>
                <a:lnTo>
                  <a:pt x="62" y="42"/>
                </a:lnTo>
                <a:lnTo>
                  <a:pt x="66" y="42"/>
                </a:lnTo>
                <a:lnTo>
                  <a:pt x="68" y="42"/>
                </a:lnTo>
                <a:lnTo>
                  <a:pt x="68" y="42"/>
                </a:lnTo>
                <a:lnTo>
                  <a:pt x="68" y="42"/>
                </a:lnTo>
                <a:lnTo>
                  <a:pt x="68" y="40"/>
                </a:lnTo>
                <a:lnTo>
                  <a:pt x="72" y="38"/>
                </a:lnTo>
                <a:lnTo>
                  <a:pt x="76" y="38"/>
                </a:lnTo>
                <a:lnTo>
                  <a:pt x="80" y="40"/>
                </a:lnTo>
                <a:lnTo>
                  <a:pt x="80" y="40"/>
                </a:lnTo>
                <a:lnTo>
                  <a:pt x="88" y="42"/>
                </a:lnTo>
                <a:lnTo>
                  <a:pt x="88" y="42"/>
                </a:lnTo>
                <a:lnTo>
                  <a:pt x="88" y="40"/>
                </a:lnTo>
                <a:lnTo>
                  <a:pt x="88" y="40"/>
                </a:lnTo>
                <a:lnTo>
                  <a:pt x="86" y="38"/>
                </a:lnTo>
                <a:lnTo>
                  <a:pt x="88" y="38"/>
                </a:lnTo>
                <a:lnTo>
                  <a:pt x="92" y="38"/>
                </a:lnTo>
                <a:lnTo>
                  <a:pt x="92" y="38"/>
                </a:lnTo>
                <a:lnTo>
                  <a:pt x="96" y="38"/>
                </a:lnTo>
                <a:lnTo>
                  <a:pt x="102" y="38"/>
                </a:lnTo>
                <a:lnTo>
                  <a:pt x="106" y="36"/>
                </a:lnTo>
                <a:lnTo>
                  <a:pt x="102" y="34"/>
                </a:lnTo>
                <a:lnTo>
                  <a:pt x="102" y="34"/>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53" name="Freeform 130"/>
          <p:cNvSpPr>
            <a:spLocks/>
          </p:cNvSpPr>
          <p:nvPr/>
        </p:nvSpPr>
        <p:spPr bwMode="auto">
          <a:xfrm>
            <a:off x="5229646" y="931589"/>
            <a:ext cx="180027" cy="43247"/>
          </a:xfrm>
          <a:custGeom>
            <a:avLst/>
            <a:gdLst/>
            <a:ahLst/>
            <a:cxnLst>
              <a:cxn ang="0">
                <a:pos x="4" y="38"/>
              </a:cxn>
              <a:cxn ang="0">
                <a:pos x="22" y="38"/>
              </a:cxn>
              <a:cxn ang="0">
                <a:pos x="30" y="38"/>
              </a:cxn>
              <a:cxn ang="0">
                <a:pos x="36" y="38"/>
              </a:cxn>
              <a:cxn ang="0">
                <a:pos x="38" y="32"/>
              </a:cxn>
              <a:cxn ang="0">
                <a:pos x="44" y="32"/>
              </a:cxn>
              <a:cxn ang="0">
                <a:pos x="52" y="32"/>
              </a:cxn>
              <a:cxn ang="0">
                <a:pos x="50" y="30"/>
              </a:cxn>
              <a:cxn ang="0">
                <a:pos x="58" y="30"/>
              </a:cxn>
              <a:cxn ang="0">
                <a:pos x="64" y="30"/>
              </a:cxn>
              <a:cxn ang="0">
                <a:pos x="64" y="28"/>
              </a:cxn>
              <a:cxn ang="0">
                <a:pos x="64" y="28"/>
              </a:cxn>
              <a:cxn ang="0">
                <a:pos x="74" y="28"/>
              </a:cxn>
              <a:cxn ang="0">
                <a:pos x="74" y="26"/>
              </a:cxn>
              <a:cxn ang="0">
                <a:pos x="74" y="24"/>
              </a:cxn>
              <a:cxn ang="0">
                <a:pos x="82" y="24"/>
              </a:cxn>
              <a:cxn ang="0">
                <a:pos x="88" y="24"/>
              </a:cxn>
              <a:cxn ang="0">
                <a:pos x="88" y="22"/>
              </a:cxn>
              <a:cxn ang="0">
                <a:pos x="88" y="20"/>
              </a:cxn>
              <a:cxn ang="0">
                <a:pos x="100" y="20"/>
              </a:cxn>
              <a:cxn ang="0">
                <a:pos x="104" y="20"/>
              </a:cxn>
              <a:cxn ang="0">
                <a:pos x="110" y="18"/>
              </a:cxn>
              <a:cxn ang="0">
                <a:pos x="116" y="18"/>
              </a:cxn>
              <a:cxn ang="0">
                <a:pos x="114" y="18"/>
              </a:cxn>
              <a:cxn ang="0">
                <a:pos x="116" y="16"/>
              </a:cxn>
              <a:cxn ang="0">
                <a:pos x="130" y="16"/>
              </a:cxn>
              <a:cxn ang="0">
                <a:pos x="132" y="16"/>
              </a:cxn>
              <a:cxn ang="0">
                <a:pos x="134" y="14"/>
              </a:cxn>
              <a:cxn ang="0">
                <a:pos x="140" y="14"/>
              </a:cxn>
              <a:cxn ang="0">
                <a:pos x="148" y="14"/>
              </a:cxn>
              <a:cxn ang="0">
                <a:pos x="148" y="14"/>
              </a:cxn>
              <a:cxn ang="0">
                <a:pos x="150" y="12"/>
              </a:cxn>
              <a:cxn ang="0">
                <a:pos x="158" y="10"/>
              </a:cxn>
              <a:cxn ang="0">
                <a:pos x="158" y="6"/>
              </a:cxn>
              <a:cxn ang="0">
                <a:pos x="154" y="2"/>
              </a:cxn>
              <a:cxn ang="0">
                <a:pos x="140" y="4"/>
              </a:cxn>
              <a:cxn ang="0">
                <a:pos x="130" y="6"/>
              </a:cxn>
              <a:cxn ang="0">
                <a:pos x="116" y="8"/>
              </a:cxn>
              <a:cxn ang="0">
                <a:pos x="90" y="6"/>
              </a:cxn>
              <a:cxn ang="0">
                <a:pos x="90" y="8"/>
              </a:cxn>
              <a:cxn ang="0">
                <a:pos x="90" y="8"/>
              </a:cxn>
              <a:cxn ang="0">
                <a:pos x="82" y="10"/>
              </a:cxn>
              <a:cxn ang="0">
                <a:pos x="74" y="10"/>
              </a:cxn>
              <a:cxn ang="0">
                <a:pos x="74" y="10"/>
              </a:cxn>
              <a:cxn ang="0">
                <a:pos x="58" y="10"/>
              </a:cxn>
              <a:cxn ang="0">
                <a:pos x="58" y="10"/>
              </a:cxn>
              <a:cxn ang="0">
                <a:pos x="58" y="12"/>
              </a:cxn>
              <a:cxn ang="0">
                <a:pos x="48" y="14"/>
              </a:cxn>
              <a:cxn ang="0">
                <a:pos x="36" y="18"/>
              </a:cxn>
              <a:cxn ang="0">
                <a:pos x="38" y="18"/>
              </a:cxn>
              <a:cxn ang="0">
                <a:pos x="18" y="20"/>
              </a:cxn>
              <a:cxn ang="0">
                <a:pos x="16" y="22"/>
              </a:cxn>
              <a:cxn ang="0">
                <a:pos x="16" y="22"/>
              </a:cxn>
              <a:cxn ang="0">
                <a:pos x="8" y="26"/>
              </a:cxn>
              <a:cxn ang="0">
                <a:pos x="2" y="28"/>
              </a:cxn>
              <a:cxn ang="0">
                <a:pos x="2" y="30"/>
              </a:cxn>
              <a:cxn ang="0">
                <a:pos x="0" y="36"/>
              </a:cxn>
              <a:cxn ang="0">
                <a:pos x="4" y="38"/>
              </a:cxn>
            </a:cxnLst>
            <a:rect l="0" t="0" r="r" b="b"/>
            <a:pathLst>
              <a:path w="158" h="38">
                <a:moveTo>
                  <a:pt x="4" y="38"/>
                </a:moveTo>
                <a:lnTo>
                  <a:pt x="4" y="38"/>
                </a:lnTo>
                <a:lnTo>
                  <a:pt x="14" y="36"/>
                </a:lnTo>
                <a:lnTo>
                  <a:pt x="22" y="38"/>
                </a:lnTo>
                <a:lnTo>
                  <a:pt x="22" y="38"/>
                </a:lnTo>
                <a:lnTo>
                  <a:pt x="30" y="38"/>
                </a:lnTo>
                <a:lnTo>
                  <a:pt x="36" y="38"/>
                </a:lnTo>
                <a:lnTo>
                  <a:pt x="36" y="38"/>
                </a:lnTo>
                <a:lnTo>
                  <a:pt x="40" y="34"/>
                </a:lnTo>
                <a:lnTo>
                  <a:pt x="38" y="32"/>
                </a:lnTo>
                <a:lnTo>
                  <a:pt x="38" y="32"/>
                </a:lnTo>
                <a:lnTo>
                  <a:pt x="44" y="32"/>
                </a:lnTo>
                <a:lnTo>
                  <a:pt x="50" y="32"/>
                </a:lnTo>
                <a:lnTo>
                  <a:pt x="52" y="32"/>
                </a:lnTo>
                <a:lnTo>
                  <a:pt x="52" y="32"/>
                </a:lnTo>
                <a:lnTo>
                  <a:pt x="50" y="30"/>
                </a:lnTo>
                <a:lnTo>
                  <a:pt x="52" y="30"/>
                </a:lnTo>
                <a:lnTo>
                  <a:pt x="58" y="30"/>
                </a:lnTo>
                <a:lnTo>
                  <a:pt x="62" y="30"/>
                </a:lnTo>
                <a:lnTo>
                  <a:pt x="64" y="30"/>
                </a:lnTo>
                <a:lnTo>
                  <a:pt x="64" y="28"/>
                </a:lnTo>
                <a:lnTo>
                  <a:pt x="64" y="28"/>
                </a:lnTo>
                <a:lnTo>
                  <a:pt x="64" y="28"/>
                </a:lnTo>
                <a:lnTo>
                  <a:pt x="64" y="28"/>
                </a:lnTo>
                <a:lnTo>
                  <a:pt x="70" y="28"/>
                </a:lnTo>
                <a:lnTo>
                  <a:pt x="74" y="28"/>
                </a:lnTo>
                <a:lnTo>
                  <a:pt x="76" y="28"/>
                </a:lnTo>
                <a:lnTo>
                  <a:pt x="74" y="26"/>
                </a:lnTo>
                <a:lnTo>
                  <a:pt x="74" y="26"/>
                </a:lnTo>
                <a:lnTo>
                  <a:pt x="74" y="24"/>
                </a:lnTo>
                <a:lnTo>
                  <a:pt x="76" y="24"/>
                </a:lnTo>
                <a:lnTo>
                  <a:pt x="82" y="24"/>
                </a:lnTo>
                <a:lnTo>
                  <a:pt x="86" y="24"/>
                </a:lnTo>
                <a:lnTo>
                  <a:pt x="88" y="24"/>
                </a:lnTo>
                <a:lnTo>
                  <a:pt x="88" y="22"/>
                </a:lnTo>
                <a:lnTo>
                  <a:pt x="88" y="22"/>
                </a:lnTo>
                <a:lnTo>
                  <a:pt x="86" y="20"/>
                </a:lnTo>
                <a:lnTo>
                  <a:pt x="88" y="20"/>
                </a:lnTo>
                <a:lnTo>
                  <a:pt x="94" y="20"/>
                </a:lnTo>
                <a:lnTo>
                  <a:pt x="100" y="20"/>
                </a:lnTo>
                <a:lnTo>
                  <a:pt x="104" y="20"/>
                </a:lnTo>
                <a:lnTo>
                  <a:pt x="104" y="20"/>
                </a:lnTo>
                <a:lnTo>
                  <a:pt x="106" y="18"/>
                </a:lnTo>
                <a:lnTo>
                  <a:pt x="110" y="18"/>
                </a:lnTo>
                <a:lnTo>
                  <a:pt x="114" y="18"/>
                </a:lnTo>
                <a:lnTo>
                  <a:pt x="116" y="18"/>
                </a:lnTo>
                <a:lnTo>
                  <a:pt x="114" y="18"/>
                </a:lnTo>
                <a:lnTo>
                  <a:pt x="114" y="18"/>
                </a:lnTo>
                <a:lnTo>
                  <a:pt x="116" y="16"/>
                </a:lnTo>
                <a:lnTo>
                  <a:pt x="116" y="16"/>
                </a:lnTo>
                <a:lnTo>
                  <a:pt x="124" y="16"/>
                </a:lnTo>
                <a:lnTo>
                  <a:pt x="130" y="16"/>
                </a:lnTo>
                <a:lnTo>
                  <a:pt x="132" y="16"/>
                </a:lnTo>
                <a:lnTo>
                  <a:pt x="132" y="16"/>
                </a:lnTo>
                <a:lnTo>
                  <a:pt x="132" y="16"/>
                </a:lnTo>
                <a:lnTo>
                  <a:pt x="134" y="14"/>
                </a:lnTo>
                <a:lnTo>
                  <a:pt x="134" y="14"/>
                </a:lnTo>
                <a:lnTo>
                  <a:pt x="140" y="14"/>
                </a:lnTo>
                <a:lnTo>
                  <a:pt x="146" y="16"/>
                </a:lnTo>
                <a:lnTo>
                  <a:pt x="148" y="14"/>
                </a:lnTo>
                <a:lnTo>
                  <a:pt x="148" y="14"/>
                </a:lnTo>
                <a:lnTo>
                  <a:pt x="148" y="14"/>
                </a:lnTo>
                <a:lnTo>
                  <a:pt x="148" y="12"/>
                </a:lnTo>
                <a:lnTo>
                  <a:pt x="150" y="12"/>
                </a:lnTo>
                <a:lnTo>
                  <a:pt x="154" y="12"/>
                </a:lnTo>
                <a:lnTo>
                  <a:pt x="158" y="10"/>
                </a:lnTo>
                <a:lnTo>
                  <a:pt x="158" y="8"/>
                </a:lnTo>
                <a:lnTo>
                  <a:pt x="158" y="6"/>
                </a:lnTo>
                <a:lnTo>
                  <a:pt x="158" y="6"/>
                </a:lnTo>
                <a:lnTo>
                  <a:pt x="154" y="2"/>
                </a:lnTo>
                <a:lnTo>
                  <a:pt x="148" y="0"/>
                </a:lnTo>
                <a:lnTo>
                  <a:pt x="140" y="4"/>
                </a:lnTo>
                <a:lnTo>
                  <a:pt x="140" y="4"/>
                </a:lnTo>
                <a:lnTo>
                  <a:pt x="130" y="6"/>
                </a:lnTo>
                <a:lnTo>
                  <a:pt x="116" y="8"/>
                </a:lnTo>
                <a:lnTo>
                  <a:pt x="116" y="8"/>
                </a:lnTo>
                <a:lnTo>
                  <a:pt x="98" y="8"/>
                </a:lnTo>
                <a:lnTo>
                  <a:pt x="90" y="6"/>
                </a:lnTo>
                <a:lnTo>
                  <a:pt x="88" y="8"/>
                </a:lnTo>
                <a:lnTo>
                  <a:pt x="90" y="8"/>
                </a:lnTo>
                <a:lnTo>
                  <a:pt x="90" y="8"/>
                </a:lnTo>
                <a:lnTo>
                  <a:pt x="90" y="8"/>
                </a:lnTo>
                <a:lnTo>
                  <a:pt x="88" y="10"/>
                </a:lnTo>
                <a:lnTo>
                  <a:pt x="82" y="10"/>
                </a:lnTo>
                <a:lnTo>
                  <a:pt x="74" y="10"/>
                </a:lnTo>
                <a:lnTo>
                  <a:pt x="74" y="10"/>
                </a:lnTo>
                <a:lnTo>
                  <a:pt x="74" y="10"/>
                </a:lnTo>
                <a:lnTo>
                  <a:pt x="74" y="10"/>
                </a:lnTo>
                <a:lnTo>
                  <a:pt x="64" y="10"/>
                </a:lnTo>
                <a:lnTo>
                  <a:pt x="58" y="10"/>
                </a:lnTo>
                <a:lnTo>
                  <a:pt x="56" y="10"/>
                </a:lnTo>
                <a:lnTo>
                  <a:pt x="58" y="10"/>
                </a:lnTo>
                <a:lnTo>
                  <a:pt x="58" y="10"/>
                </a:lnTo>
                <a:lnTo>
                  <a:pt x="58" y="12"/>
                </a:lnTo>
                <a:lnTo>
                  <a:pt x="56" y="12"/>
                </a:lnTo>
                <a:lnTo>
                  <a:pt x="48" y="14"/>
                </a:lnTo>
                <a:lnTo>
                  <a:pt x="38" y="16"/>
                </a:lnTo>
                <a:lnTo>
                  <a:pt x="36" y="18"/>
                </a:lnTo>
                <a:lnTo>
                  <a:pt x="38" y="18"/>
                </a:lnTo>
                <a:lnTo>
                  <a:pt x="38" y="18"/>
                </a:lnTo>
                <a:lnTo>
                  <a:pt x="28" y="18"/>
                </a:lnTo>
                <a:lnTo>
                  <a:pt x="18" y="20"/>
                </a:lnTo>
                <a:lnTo>
                  <a:pt x="16" y="20"/>
                </a:lnTo>
                <a:lnTo>
                  <a:pt x="16" y="22"/>
                </a:lnTo>
                <a:lnTo>
                  <a:pt x="16" y="22"/>
                </a:lnTo>
                <a:lnTo>
                  <a:pt x="16" y="22"/>
                </a:lnTo>
                <a:lnTo>
                  <a:pt x="14" y="24"/>
                </a:lnTo>
                <a:lnTo>
                  <a:pt x="8" y="26"/>
                </a:lnTo>
                <a:lnTo>
                  <a:pt x="4" y="28"/>
                </a:lnTo>
                <a:lnTo>
                  <a:pt x="2" y="28"/>
                </a:lnTo>
                <a:lnTo>
                  <a:pt x="2" y="30"/>
                </a:lnTo>
                <a:lnTo>
                  <a:pt x="2" y="30"/>
                </a:lnTo>
                <a:lnTo>
                  <a:pt x="2" y="32"/>
                </a:lnTo>
                <a:lnTo>
                  <a:pt x="0" y="36"/>
                </a:lnTo>
                <a:lnTo>
                  <a:pt x="0" y="38"/>
                </a:lnTo>
                <a:lnTo>
                  <a:pt x="4" y="38"/>
                </a:lnTo>
                <a:lnTo>
                  <a:pt x="4" y="38"/>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54" name="Freeform 132"/>
          <p:cNvSpPr>
            <a:spLocks/>
          </p:cNvSpPr>
          <p:nvPr/>
        </p:nvSpPr>
        <p:spPr bwMode="auto">
          <a:xfrm>
            <a:off x="7902708" y="2886780"/>
            <a:ext cx="102547" cy="59180"/>
          </a:xfrm>
          <a:custGeom>
            <a:avLst/>
            <a:gdLst/>
            <a:ahLst/>
            <a:cxnLst>
              <a:cxn ang="0">
                <a:pos x="10" y="42"/>
              </a:cxn>
              <a:cxn ang="0">
                <a:pos x="0" y="34"/>
              </a:cxn>
              <a:cxn ang="0">
                <a:pos x="2" y="30"/>
              </a:cxn>
              <a:cxn ang="0">
                <a:pos x="10" y="28"/>
              </a:cxn>
              <a:cxn ang="0">
                <a:pos x="18" y="28"/>
              </a:cxn>
              <a:cxn ang="0">
                <a:pos x="22" y="26"/>
              </a:cxn>
              <a:cxn ang="0">
                <a:pos x="24" y="28"/>
              </a:cxn>
              <a:cxn ang="0">
                <a:pos x="26" y="26"/>
              </a:cxn>
              <a:cxn ang="0">
                <a:pos x="30" y="22"/>
              </a:cxn>
              <a:cxn ang="0">
                <a:pos x="32" y="20"/>
              </a:cxn>
              <a:cxn ang="0">
                <a:pos x="34" y="20"/>
              </a:cxn>
              <a:cxn ang="0">
                <a:pos x="34" y="24"/>
              </a:cxn>
              <a:cxn ang="0">
                <a:pos x="36" y="26"/>
              </a:cxn>
              <a:cxn ang="0">
                <a:pos x="42" y="24"/>
              </a:cxn>
              <a:cxn ang="0">
                <a:pos x="48" y="26"/>
              </a:cxn>
              <a:cxn ang="0">
                <a:pos x="54" y="22"/>
              </a:cxn>
              <a:cxn ang="0">
                <a:pos x="64" y="18"/>
              </a:cxn>
              <a:cxn ang="0">
                <a:pos x="66" y="16"/>
              </a:cxn>
              <a:cxn ang="0">
                <a:pos x="66" y="14"/>
              </a:cxn>
              <a:cxn ang="0">
                <a:pos x="72" y="12"/>
              </a:cxn>
              <a:cxn ang="0">
                <a:pos x="70" y="8"/>
              </a:cxn>
              <a:cxn ang="0">
                <a:pos x="66" y="0"/>
              </a:cxn>
              <a:cxn ang="0">
                <a:pos x="70" y="0"/>
              </a:cxn>
              <a:cxn ang="0">
                <a:pos x="76" y="2"/>
              </a:cxn>
              <a:cxn ang="0">
                <a:pos x="80" y="2"/>
              </a:cxn>
              <a:cxn ang="0">
                <a:pos x="82" y="0"/>
              </a:cxn>
              <a:cxn ang="0">
                <a:pos x="86" y="2"/>
              </a:cxn>
              <a:cxn ang="0">
                <a:pos x="86" y="4"/>
              </a:cxn>
              <a:cxn ang="0">
                <a:pos x="88" y="6"/>
              </a:cxn>
              <a:cxn ang="0">
                <a:pos x="90" y="12"/>
              </a:cxn>
              <a:cxn ang="0">
                <a:pos x="88" y="16"/>
              </a:cxn>
              <a:cxn ang="0">
                <a:pos x="84" y="20"/>
              </a:cxn>
              <a:cxn ang="0">
                <a:pos x="86" y="26"/>
              </a:cxn>
              <a:cxn ang="0">
                <a:pos x="80" y="32"/>
              </a:cxn>
              <a:cxn ang="0">
                <a:pos x="80" y="32"/>
              </a:cxn>
              <a:cxn ang="0">
                <a:pos x="76" y="28"/>
              </a:cxn>
              <a:cxn ang="0">
                <a:pos x="74" y="30"/>
              </a:cxn>
              <a:cxn ang="0">
                <a:pos x="76" y="32"/>
              </a:cxn>
              <a:cxn ang="0">
                <a:pos x="74" y="36"/>
              </a:cxn>
              <a:cxn ang="0">
                <a:pos x="66" y="44"/>
              </a:cxn>
              <a:cxn ang="0">
                <a:pos x="58" y="46"/>
              </a:cxn>
              <a:cxn ang="0">
                <a:pos x="54" y="48"/>
              </a:cxn>
              <a:cxn ang="0">
                <a:pos x="46" y="52"/>
              </a:cxn>
              <a:cxn ang="0">
                <a:pos x="38" y="52"/>
              </a:cxn>
              <a:cxn ang="0">
                <a:pos x="34" y="52"/>
              </a:cxn>
              <a:cxn ang="0">
                <a:pos x="26" y="48"/>
              </a:cxn>
              <a:cxn ang="0">
                <a:pos x="22" y="50"/>
              </a:cxn>
              <a:cxn ang="0">
                <a:pos x="16" y="50"/>
              </a:cxn>
              <a:cxn ang="0">
                <a:pos x="10" y="42"/>
              </a:cxn>
            </a:cxnLst>
            <a:rect l="0" t="0" r="r" b="b"/>
            <a:pathLst>
              <a:path w="90" h="52">
                <a:moveTo>
                  <a:pt x="10" y="42"/>
                </a:moveTo>
                <a:lnTo>
                  <a:pt x="10" y="42"/>
                </a:lnTo>
                <a:lnTo>
                  <a:pt x="2" y="36"/>
                </a:lnTo>
                <a:lnTo>
                  <a:pt x="0" y="34"/>
                </a:lnTo>
                <a:lnTo>
                  <a:pt x="2" y="30"/>
                </a:lnTo>
                <a:lnTo>
                  <a:pt x="2" y="30"/>
                </a:lnTo>
                <a:lnTo>
                  <a:pt x="6" y="28"/>
                </a:lnTo>
                <a:lnTo>
                  <a:pt x="10" y="28"/>
                </a:lnTo>
                <a:lnTo>
                  <a:pt x="14" y="30"/>
                </a:lnTo>
                <a:lnTo>
                  <a:pt x="18" y="28"/>
                </a:lnTo>
                <a:lnTo>
                  <a:pt x="18" y="28"/>
                </a:lnTo>
                <a:lnTo>
                  <a:pt x="22" y="26"/>
                </a:lnTo>
                <a:lnTo>
                  <a:pt x="22" y="28"/>
                </a:lnTo>
                <a:lnTo>
                  <a:pt x="24" y="28"/>
                </a:lnTo>
                <a:lnTo>
                  <a:pt x="26" y="26"/>
                </a:lnTo>
                <a:lnTo>
                  <a:pt x="26" y="26"/>
                </a:lnTo>
                <a:lnTo>
                  <a:pt x="30" y="24"/>
                </a:lnTo>
                <a:lnTo>
                  <a:pt x="30" y="22"/>
                </a:lnTo>
                <a:lnTo>
                  <a:pt x="28" y="22"/>
                </a:lnTo>
                <a:lnTo>
                  <a:pt x="32" y="20"/>
                </a:lnTo>
                <a:lnTo>
                  <a:pt x="32" y="20"/>
                </a:lnTo>
                <a:lnTo>
                  <a:pt x="34" y="20"/>
                </a:lnTo>
                <a:lnTo>
                  <a:pt x="34" y="20"/>
                </a:lnTo>
                <a:lnTo>
                  <a:pt x="34" y="24"/>
                </a:lnTo>
                <a:lnTo>
                  <a:pt x="34" y="28"/>
                </a:lnTo>
                <a:lnTo>
                  <a:pt x="36" y="26"/>
                </a:lnTo>
                <a:lnTo>
                  <a:pt x="36" y="26"/>
                </a:lnTo>
                <a:lnTo>
                  <a:pt x="42" y="24"/>
                </a:lnTo>
                <a:lnTo>
                  <a:pt x="44" y="24"/>
                </a:lnTo>
                <a:lnTo>
                  <a:pt x="48" y="26"/>
                </a:lnTo>
                <a:lnTo>
                  <a:pt x="54" y="22"/>
                </a:lnTo>
                <a:lnTo>
                  <a:pt x="54" y="22"/>
                </a:lnTo>
                <a:lnTo>
                  <a:pt x="60" y="20"/>
                </a:lnTo>
                <a:lnTo>
                  <a:pt x="64" y="18"/>
                </a:lnTo>
                <a:lnTo>
                  <a:pt x="66" y="18"/>
                </a:lnTo>
                <a:lnTo>
                  <a:pt x="66" y="16"/>
                </a:lnTo>
                <a:lnTo>
                  <a:pt x="66" y="16"/>
                </a:lnTo>
                <a:lnTo>
                  <a:pt x="66" y="14"/>
                </a:lnTo>
                <a:lnTo>
                  <a:pt x="70" y="14"/>
                </a:lnTo>
                <a:lnTo>
                  <a:pt x="72" y="12"/>
                </a:lnTo>
                <a:lnTo>
                  <a:pt x="70" y="8"/>
                </a:lnTo>
                <a:lnTo>
                  <a:pt x="70" y="8"/>
                </a:lnTo>
                <a:lnTo>
                  <a:pt x="68" y="2"/>
                </a:lnTo>
                <a:lnTo>
                  <a:pt x="66" y="0"/>
                </a:lnTo>
                <a:lnTo>
                  <a:pt x="70" y="0"/>
                </a:lnTo>
                <a:lnTo>
                  <a:pt x="70" y="0"/>
                </a:lnTo>
                <a:lnTo>
                  <a:pt x="74" y="0"/>
                </a:lnTo>
                <a:lnTo>
                  <a:pt x="76" y="2"/>
                </a:lnTo>
                <a:lnTo>
                  <a:pt x="78" y="2"/>
                </a:lnTo>
                <a:lnTo>
                  <a:pt x="80" y="2"/>
                </a:lnTo>
                <a:lnTo>
                  <a:pt x="80" y="2"/>
                </a:lnTo>
                <a:lnTo>
                  <a:pt x="82" y="0"/>
                </a:lnTo>
                <a:lnTo>
                  <a:pt x="84" y="2"/>
                </a:lnTo>
                <a:lnTo>
                  <a:pt x="86" y="2"/>
                </a:lnTo>
                <a:lnTo>
                  <a:pt x="86" y="4"/>
                </a:lnTo>
                <a:lnTo>
                  <a:pt x="86" y="4"/>
                </a:lnTo>
                <a:lnTo>
                  <a:pt x="88" y="4"/>
                </a:lnTo>
                <a:lnTo>
                  <a:pt x="88" y="6"/>
                </a:lnTo>
                <a:lnTo>
                  <a:pt x="90" y="12"/>
                </a:lnTo>
                <a:lnTo>
                  <a:pt x="90" y="12"/>
                </a:lnTo>
                <a:lnTo>
                  <a:pt x="90" y="16"/>
                </a:lnTo>
                <a:lnTo>
                  <a:pt x="88" y="16"/>
                </a:lnTo>
                <a:lnTo>
                  <a:pt x="84" y="16"/>
                </a:lnTo>
                <a:lnTo>
                  <a:pt x="84" y="20"/>
                </a:lnTo>
                <a:lnTo>
                  <a:pt x="84" y="20"/>
                </a:lnTo>
                <a:lnTo>
                  <a:pt x="86" y="26"/>
                </a:lnTo>
                <a:lnTo>
                  <a:pt x="84" y="28"/>
                </a:lnTo>
                <a:lnTo>
                  <a:pt x="80" y="32"/>
                </a:lnTo>
                <a:lnTo>
                  <a:pt x="80" y="32"/>
                </a:lnTo>
                <a:lnTo>
                  <a:pt x="80" y="32"/>
                </a:lnTo>
                <a:lnTo>
                  <a:pt x="78" y="30"/>
                </a:lnTo>
                <a:lnTo>
                  <a:pt x="76" y="28"/>
                </a:lnTo>
                <a:lnTo>
                  <a:pt x="74" y="30"/>
                </a:lnTo>
                <a:lnTo>
                  <a:pt x="74" y="30"/>
                </a:lnTo>
                <a:lnTo>
                  <a:pt x="72" y="32"/>
                </a:lnTo>
                <a:lnTo>
                  <a:pt x="76" y="32"/>
                </a:lnTo>
                <a:lnTo>
                  <a:pt x="78" y="32"/>
                </a:lnTo>
                <a:lnTo>
                  <a:pt x="74" y="36"/>
                </a:lnTo>
                <a:lnTo>
                  <a:pt x="74" y="36"/>
                </a:lnTo>
                <a:lnTo>
                  <a:pt x="66" y="44"/>
                </a:lnTo>
                <a:lnTo>
                  <a:pt x="60" y="46"/>
                </a:lnTo>
                <a:lnTo>
                  <a:pt x="58" y="46"/>
                </a:lnTo>
                <a:lnTo>
                  <a:pt x="54" y="48"/>
                </a:lnTo>
                <a:lnTo>
                  <a:pt x="54" y="48"/>
                </a:lnTo>
                <a:lnTo>
                  <a:pt x="48" y="52"/>
                </a:lnTo>
                <a:lnTo>
                  <a:pt x="46" y="52"/>
                </a:lnTo>
                <a:lnTo>
                  <a:pt x="44" y="50"/>
                </a:lnTo>
                <a:lnTo>
                  <a:pt x="38" y="52"/>
                </a:lnTo>
                <a:lnTo>
                  <a:pt x="38" y="52"/>
                </a:lnTo>
                <a:lnTo>
                  <a:pt x="34" y="52"/>
                </a:lnTo>
                <a:lnTo>
                  <a:pt x="30" y="50"/>
                </a:lnTo>
                <a:lnTo>
                  <a:pt x="26" y="48"/>
                </a:lnTo>
                <a:lnTo>
                  <a:pt x="22" y="50"/>
                </a:lnTo>
                <a:lnTo>
                  <a:pt x="22" y="50"/>
                </a:lnTo>
                <a:lnTo>
                  <a:pt x="18" y="52"/>
                </a:lnTo>
                <a:lnTo>
                  <a:pt x="16" y="50"/>
                </a:lnTo>
                <a:lnTo>
                  <a:pt x="14" y="46"/>
                </a:lnTo>
                <a:lnTo>
                  <a:pt x="10" y="42"/>
                </a:lnTo>
                <a:lnTo>
                  <a:pt x="10" y="42"/>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56" name="Freeform 141"/>
          <p:cNvSpPr>
            <a:spLocks/>
          </p:cNvSpPr>
          <p:nvPr/>
        </p:nvSpPr>
        <p:spPr bwMode="auto">
          <a:xfrm>
            <a:off x="5341309" y="3100737"/>
            <a:ext cx="191421" cy="368732"/>
          </a:xfrm>
          <a:custGeom>
            <a:avLst/>
            <a:gdLst/>
            <a:ahLst/>
            <a:cxnLst>
              <a:cxn ang="0">
                <a:pos x="146" y="2"/>
              </a:cxn>
              <a:cxn ang="0">
                <a:pos x="150" y="4"/>
              </a:cxn>
              <a:cxn ang="0">
                <a:pos x="154" y="10"/>
              </a:cxn>
              <a:cxn ang="0">
                <a:pos x="162" y="46"/>
              </a:cxn>
              <a:cxn ang="0">
                <a:pos x="166" y="86"/>
              </a:cxn>
              <a:cxn ang="0">
                <a:pos x="158" y="86"/>
              </a:cxn>
              <a:cxn ang="0">
                <a:pos x="152" y="84"/>
              </a:cxn>
              <a:cxn ang="0">
                <a:pos x="152" y="100"/>
              </a:cxn>
              <a:cxn ang="0">
                <a:pos x="154" y="112"/>
              </a:cxn>
              <a:cxn ang="0">
                <a:pos x="146" y="126"/>
              </a:cxn>
              <a:cxn ang="0">
                <a:pos x="136" y="164"/>
              </a:cxn>
              <a:cxn ang="0">
                <a:pos x="122" y="192"/>
              </a:cxn>
              <a:cxn ang="0">
                <a:pos x="110" y="232"/>
              </a:cxn>
              <a:cxn ang="0">
                <a:pos x="94" y="282"/>
              </a:cxn>
              <a:cxn ang="0">
                <a:pos x="84" y="300"/>
              </a:cxn>
              <a:cxn ang="0">
                <a:pos x="60" y="318"/>
              </a:cxn>
              <a:cxn ang="0">
                <a:pos x="44" y="324"/>
              </a:cxn>
              <a:cxn ang="0">
                <a:pos x="20" y="316"/>
              </a:cxn>
              <a:cxn ang="0">
                <a:pos x="8" y="294"/>
              </a:cxn>
              <a:cxn ang="0">
                <a:pos x="6" y="278"/>
              </a:cxn>
              <a:cxn ang="0">
                <a:pos x="0" y="258"/>
              </a:cxn>
              <a:cxn ang="0">
                <a:pos x="2" y="242"/>
              </a:cxn>
              <a:cxn ang="0">
                <a:pos x="14" y="220"/>
              </a:cxn>
              <a:cxn ang="0">
                <a:pos x="22" y="210"/>
              </a:cxn>
              <a:cxn ang="0">
                <a:pos x="28" y="196"/>
              </a:cxn>
              <a:cxn ang="0">
                <a:pos x="30" y="182"/>
              </a:cxn>
              <a:cxn ang="0">
                <a:pos x="30" y="158"/>
              </a:cxn>
              <a:cxn ang="0">
                <a:pos x="30" y="132"/>
              </a:cxn>
              <a:cxn ang="0">
                <a:pos x="40" y="110"/>
              </a:cxn>
              <a:cxn ang="0">
                <a:pos x="46" y="100"/>
              </a:cxn>
              <a:cxn ang="0">
                <a:pos x="54" y="96"/>
              </a:cxn>
              <a:cxn ang="0">
                <a:pos x="60" y="90"/>
              </a:cxn>
              <a:cxn ang="0">
                <a:pos x="82" y="92"/>
              </a:cxn>
              <a:cxn ang="0">
                <a:pos x="86" y="82"/>
              </a:cxn>
              <a:cxn ang="0">
                <a:pos x="94" y="72"/>
              </a:cxn>
              <a:cxn ang="0">
                <a:pos x="98" y="74"/>
              </a:cxn>
              <a:cxn ang="0">
                <a:pos x="104" y="68"/>
              </a:cxn>
              <a:cxn ang="0">
                <a:pos x="110" y="54"/>
              </a:cxn>
              <a:cxn ang="0">
                <a:pos x="114" y="52"/>
              </a:cxn>
              <a:cxn ang="0">
                <a:pos x="112" y="42"/>
              </a:cxn>
              <a:cxn ang="0">
                <a:pos x="114" y="38"/>
              </a:cxn>
              <a:cxn ang="0">
                <a:pos x="120" y="40"/>
              </a:cxn>
              <a:cxn ang="0">
                <a:pos x="124" y="38"/>
              </a:cxn>
              <a:cxn ang="0">
                <a:pos x="136" y="20"/>
              </a:cxn>
              <a:cxn ang="0">
                <a:pos x="134" y="12"/>
              </a:cxn>
              <a:cxn ang="0">
                <a:pos x="140" y="6"/>
              </a:cxn>
            </a:cxnLst>
            <a:rect l="0" t="0" r="r" b="b"/>
            <a:pathLst>
              <a:path w="168" h="324">
                <a:moveTo>
                  <a:pt x="140" y="6"/>
                </a:moveTo>
                <a:lnTo>
                  <a:pt x="140" y="6"/>
                </a:lnTo>
                <a:lnTo>
                  <a:pt x="146" y="2"/>
                </a:lnTo>
                <a:lnTo>
                  <a:pt x="148" y="0"/>
                </a:lnTo>
                <a:lnTo>
                  <a:pt x="150" y="2"/>
                </a:lnTo>
                <a:lnTo>
                  <a:pt x="150" y="4"/>
                </a:lnTo>
                <a:lnTo>
                  <a:pt x="150" y="8"/>
                </a:lnTo>
                <a:lnTo>
                  <a:pt x="152" y="10"/>
                </a:lnTo>
                <a:lnTo>
                  <a:pt x="154" y="10"/>
                </a:lnTo>
                <a:lnTo>
                  <a:pt x="154" y="10"/>
                </a:lnTo>
                <a:lnTo>
                  <a:pt x="158" y="20"/>
                </a:lnTo>
                <a:lnTo>
                  <a:pt x="162" y="46"/>
                </a:lnTo>
                <a:lnTo>
                  <a:pt x="166" y="72"/>
                </a:lnTo>
                <a:lnTo>
                  <a:pt x="168" y="82"/>
                </a:lnTo>
                <a:lnTo>
                  <a:pt x="166" y="86"/>
                </a:lnTo>
                <a:lnTo>
                  <a:pt x="166" y="86"/>
                </a:lnTo>
                <a:lnTo>
                  <a:pt x="162" y="88"/>
                </a:lnTo>
                <a:lnTo>
                  <a:pt x="158" y="86"/>
                </a:lnTo>
                <a:lnTo>
                  <a:pt x="156" y="84"/>
                </a:lnTo>
                <a:lnTo>
                  <a:pt x="152" y="84"/>
                </a:lnTo>
                <a:lnTo>
                  <a:pt x="152" y="84"/>
                </a:lnTo>
                <a:lnTo>
                  <a:pt x="152" y="88"/>
                </a:lnTo>
                <a:lnTo>
                  <a:pt x="150" y="92"/>
                </a:lnTo>
                <a:lnTo>
                  <a:pt x="152" y="100"/>
                </a:lnTo>
                <a:lnTo>
                  <a:pt x="156" y="106"/>
                </a:lnTo>
                <a:lnTo>
                  <a:pt x="156" y="110"/>
                </a:lnTo>
                <a:lnTo>
                  <a:pt x="154" y="112"/>
                </a:lnTo>
                <a:lnTo>
                  <a:pt x="154" y="112"/>
                </a:lnTo>
                <a:lnTo>
                  <a:pt x="150" y="120"/>
                </a:lnTo>
                <a:lnTo>
                  <a:pt x="146" y="126"/>
                </a:lnTo>
                <a:lnTo>
                  <a:pt x="142" y="140"/>
                </a:lnTo>
                <a:lnTo>
                  <a:pt x="140" y="154"/>
                </a:lnTo>
                <a:lnTo>
                  <a:pt x="136" y="164"/>
                </a:lnTo>
                <a:lnTo>
                  <a:pt x="132" y="172"/>
                </a:lnTo>
                <a:lnTo>
                  <a:pt x="132" y="172"/>
                </a:lnTo>
                <a:lnTo>
                  <a:pt x="122" y="192"/>
                </a:lnTo>
                <a:lnTo>
                  <a:pt x="116" y="208"/>
                </a:lnTo>
                <a:lnTo>
                  <a:pt x="112" y="220"/>
                </a:lnTo>
                <a:lnTo>
                  <a:pt x="110" y="232"/>
                </a:lnTo>
                <a:lnTo>
                  <a:pt x="106" y="254"/>
                </a:lnTo>
                <a:lnTo>
                  <a:pt x="102" y="266"/>
                </a:lnTo>
                <a:lnTo>
                  <a:pt x="94" y="282"/>
                </a:lnTo>
                <a:lnTo>
                  <a:pt x="94" y="282"/>
                </a:lnTo>
                <a:lnTo>
                  <a:pt x="90" y="294"/>
                </a:lnTo>
                <a:lnTo>
                  <a:pt x="84" y="300"/>
                </a:lnTo>
                <a:lnTo>
                  <a:pt x="74" y="310"/>
                </a:lnTo>
                <a:lnTo>
                  <a:pt x="64" y="316"/>
                </a:lnTo>
                <a:lnTo>
                  <a:pt x="60" y="318"/>
                </a:lnTo>
                <a:lnTo>
                  <a:pt x="60" y="318"/>
                </a:lnTo>
                <a:lnTo>
                  <a:pt x="52" y="322"/>
                </a:lnTo>
                <a:lnTo>
                  <a:pt x="44" y="324"/>
                </a:lnTo>
                <a:lnTo>
                  <a:pt x="36" y="324"/>
                </a:lnTo>
                <a:lnTo>
                  <a:pt x="28" y="322"/>
                </a:lnTo>
                <a:lnTo>
                  <a:pt x="20" y="316"/>
                </a:lnTo>
                <a:lnTo>
                  <a:pt x="14" y="310"/>
                </a:lnTo>
                <a:lnTo>
                  <a:pt x="10" y="302"/>
                </a:lnTo>
                <a:lnTo>
                  <a:pt x="8" y="294"/>
                </a:lnTo>
                <a:lnTo>
                  <a:pt x="8" y="294"/>
                </a:lnTo>
                <a:lnTo>
                  <a:pt x="8" y="286"/>
                </a:lnTo>
                <a:lnTo>
                  <a:pt x="6" y="278"/>
                </a:lnTo>
                <a:lnTo>
                  <a:pt x="2" y="268"/>
                </a:lnTo>
                <a:lnTo>
                  <a:pt x="0" y="264"/>
                </a:lnTo>
                <a:lnTo>
                  <a:pt x="0" y="258"/>
                </a:lnTo>
                <a:lnTo>
                  <a:pt x="0" y="250"/>
                </a:lnTo>
                <a:lnTo>
                  <a:pt x="2" y="242"/>
                </a:lnTo>
                <a:lnTo>
                  <a:pt x="2" y="242"/>
                </a:lnTo>
                <a:lnTo>
                  <a:pt x="4" y="232"/>
                </a:lnTo>
                <a:lnTo>
                  <a:pt x="8" y="226"/>
                </a:lnTo>
                <a:lnTo>
                  <a:pt x="14" y="220"/>
                </a:lnTo>
                <a:lnTo>
                  <a:pt x="18" y="218"/>
                </a:lnTo>
                <a:lnTo>
                  <a:pt x="20" y="214"/>
                </a:lnTo>
                <a:lnTo>
                  <a:pt x="22" y="210"/>
                </a:lnTo>
                <a:lnTo>
                  <a:pt x="22" y="210"/>
                </a:lnTo>
                <a:lnTo>
                  <a:pt x="26" y="200"/>
                </a:lnTo>
                <a:lnTo>
                  <a:pt x="28" y="196"/>
                </a:lnTo>
                <a:lnTo>
                  <a:pt x="30" y="190"/>
                </a:lnTo>
                <a:lnTo>
                  <a:pt x="30" y="182"/>
                </a:lnTo>
                <a:lnTo>
                  <a:pt x="30" y="182"/>
                </a:lnTo>
                <a:lnTo>
                  <a:pt x="28" y="172"/>
                </a:lnTo>
                <a:lnTo>
                  <a:pt x="28" y="164"/>
                </a:lnTo>
                <a:lnTo>
                  <a:pt x="30" y="158"/>
                </a:lnTo>
                <a:lnTo>
                  <a:pt x="28" y="144"/>
                </a:lnTo>
                <a:lnTo>
                  <a:pt x="28" y="144"/>
                </a:lnTo>
                <a:lnTo>
                  <a:pt x="30" y="132"/>
                </a:lnTo>
                <a:lnTo>
                  <a:pt x="32" y="126"/>
                </a:lnTo>
                <a:lnTo>
                  <a:pt x="36" y="118"/>
                </a:lnTo>
                <a:lnTo>
                  <a:pt x="40" y="110"/>
                </a:lnTo>
                <a:lnTo>
                  <a:pt x="40" y="110"/>
                </a:lnTo>
                <a:lnTo>
                  <a:pt x="42" y="102"/>
                </a:lnTo>
                <a:lnTo>
                  <a:pt x="46" y="100"/>
                </a:lnTo>
                <a:lnTo>
                  <a:pt x="50" y="100"/>
                </a:lnTo>
                <a:lnTo>
                  <a:pt x="52" y="100"/>
                </a:lnTo>
                <a:lnTo>
                  <a:pt x="54" y="96"/>
                </a:lnTo>
                <a:lnTo>
                  <a:pt x="54" y="96"/>
                </a:lnTo>
                <a:lnTo>
                  <a:pt x="56" y="92"/>
                </a:lnTo>
                <a:lnTo>
                  <a:pt x="60" y="90"/>
                </a:lnTo>
                <a:lnTo>
                  <a:pt x="70" y="92"/>
                </a:lnTo>
                <a:lnTo>
                  <a:pt x="80" y="92"/>
                </a:lnTo>
                <a:lnTo>
                  <a:pt x="82" y="92"/>
                </a:lnTo>
                <a:lnTo>
                  <a:pt x="84" y="88"/>
                </a:lnTo>
                <a:lnTo>
                  <a:pt x="84" y="88"/>
                </a:lnTo>
                <a:lnTo>
                  <a:pt x="86" y="82"/>
                </a:lnTo>
                <a:lnTo>
                  <a:pt x="88" y="78"/>
                </a:lnTo>
                <a:lnTo>
                  <a:pt x="94" y="72"/>
                </a:lnTo>
                <a:lnTo>
                  <a:pt x="94" y="72"/>
                </a:lnTo>
                <a:lnTo>
                  <a:pt x="96" y="70"/>
                </a:lnTo>
                <a:lnTo>
                  <a:pt x="96" y="74"/>
                </a:lnTo>
                <a:lnTo>
                  <a:pt x="98" y="74"/>
                </a:lnTo>
                <a:lnTo>
                  <a:pt x="98" y="74"/>
                </a:lnTo>
                <a:lnTo>
                  <a:pt x="104" y="68"/>
                </a:lnTo>
                <a:lnTo>
                  <a:pt x="104" y="68"/>
                </a:lnTo>
                <a:lnTo>
                  <a:pt x="110" y="60"/>
                </a:lnTo>
                <a:lnTo>
                  <a:pt x="110" y="54"/>
                </a:lnTo>
                <a:lnTo>
                  <a:pt x="110" y="54"/>
                </a:lnTo>
                <a:lnTo>
                  <a:pt x="114" y="52"/>
                </a:lnTo>
                <a:lnTo>
                  <a:pt x="114" y="52"/>
                </a:lnTo>
                <a:lnTo>
                  <a:pt x="114" y="52"/>
                </a:lnTo>
                <a:lnTo>
                  <a:pt x="116" y="50"/>
                </a:lnTo>
                <a:lnTo>
                  <a:pt x="114" y="46"/>
                </a:lnTo>
                <a:lnTo>
                  <a:pt x="112" y="42"/>
                </a:lnTo>
                <a:lnTo>
                  <a:pt x="112" y="40"/>
                </a:lnTo>
                <a:lnTo>
                  <a:pt x="114" y="38"/>
                </a:lnTo>
                <a:lnTo>
                  <a:pt x="114" y="38"/>
                </a:lnTo>
                <a:lnTo>
                  <a:pt x="116" y="36"/>
                </a:lnTo>
                <a:lnTo>
                  <a:pt x="118" y="36"/>
                </a:lnTo>
                <a:lnTo>
                  <a:pt x="120" y="40"/>
                </a:lnTo>
                <a:lnTo>
                  <a:pt x="122" y="40"/>
                </a:lnTo>
                <a:lnTo>
                  <a:pt x="124" y="38"/>
                </a:lnTo>
                <a:lnTo>
                  <a:pt x="124" y="38"/>
                </a:lnTo>
                <a:lnTo>
                  <a:pt x="128" y="30"/>
                </a:lnTo>
                <a:lnTo>
                  <a:pt x="132" y="26"/>
                </a:lnTo>
                <a:lnTo>
                  <a:pt x="136" y="20"/>
                </a:lnTo>
                <a:lnTo>
                  <a:pt x="136" y="18"/>
                </a:lnTo>
                <a:lnTo>
                  <a:pt x="136" y="18"/>
                </a:lnTo>
                <a:lnTo>
                  <a:pt x="134" y="12"/>
                </a:lnTo>
                <a:lnTo>
                  <a:pt x="136" y="10"/>
                </a:lnTo>
                <a:lnTo>
                  <a:pt x="140" y="6"/>
                </a:lnTo>
                <a:lnTo>
                  <a:pt x="140" y="6"/>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57" name="Freeform 143"/>
          <p:cNvSpPr>
            <a:spLocks/>
          </p:cNvSpPr>
          <p:nvPr/>
        </p:nvSpPr>
        <p:spPr bwMode="auto">
          <a:xfrm>
            <a:off x="6252839" y="2472525"/>
            <a:ext cx="59250" cy="106978"/>
          </a:xfrm>
          <a:custGeom>
            <a:avLst/>
            <a:gdLst/>
            <a:ahLst/>
            <a:cxnLst>
              <a:cxn ang="0">
                <a:pos x="2" y="2"/>
              </a:cxn>
              <a:cxn ang="0">
                <a:pos x="12" y="2"/>
              </a:cxn>
              <a:cxn ang="0">
                <a:pos x="14" y="2"/>
              </a:cxn>
              <a:cxn ang="0">
                <a:pos x="16" y="6"/>
              </a:cxn>
              <a:cxn ang="0">
                <a:pos x="28" y="18"/>
              </a:cxn>
              <a:cxn ang="0">
                <a:pos x="38" y="34"/>
              </a:cxn>
              <a:cxn ang="0">
                <a:pos x="46" y="46"/>
              </a:cxn>
              <a:cxn ang="0">
                <a:pos x="48" y="48"/>
              </a:cxn>
              <a:cxn ang="0">
                <a:pos x="52" y="66"/>
              </a:cxn>
              <a:cxn ang="0">
                <a:pos x="48" y="82"/>
              </a:cxn>
              <a:cxn ang="0">
                <a:pos x="44" y="84"/>
              </a:cxn>
              <a:cxn ang="0">
                <a:pos x="28" y="94"/>
              </a:cxn>
              <a:cxn ang="0">
                <a:pos x="22" y="94"/>
              </a:cxn>
              <a:cxn ang="0">
                <a:pos x="8" y="86"/>
              </a:cxn>
              <a:cxn ang="0">
                <a:pos x="2" y="76"/>
              </a:cxn>
              <a:cxn ang="0">
                <a:pos x="2" y="74"/>
              </a:cxn>
              <a:cxn ang="0">
                <a:pos x="0" y="60"/>
              </a:cxn>
              <a:cxn ang="0">
                <a:pos x="0" y="46"/>
              </a:cxn>
              <a:cxn ang="0">
                <a:pos x="0" y="46"/>
              </a:cxn>
              <a:cxn ang="0">
                <a:pos x="4" y="50"/>
              </a:cxn>
              <a:cxn ang="0">
                <a:pos x="2" y="46"/>
              </a:cxn>
              <a:cxn ang="0">
                <a:pos x="4" y="40"/>
              </a:cxn>
              <a:cxn ang="0">
                <a:pos x="4" y="36"/>
              </a:cxn>
              <a:cxn ang="0">
                <a:pos x="2" y="30"/>
              </a:cxn>
              <a:cxn ang="0">
                <a:pos x="4" y="28"/>
              </a:cxn>
              <a:cxn ang="0">
                <a:pos x="6" y="22"/>
              </a:cxn>
              <a:cxn ang="0">
                <a:pos x="6" y="18"/>
              </a:cxn>
              <a:cxn ang="0">
                <a:pos x="8" y="16"/>
              </a:cxn>
              <a:cxn ang="0">
                <a:pos x="6" y="12"/>
              </a:cxn>
              <a:cxn ang="0">
                <a:pos x="6" y="10"/>
              </a:cxn>
              <a:cxn ang="0">
                <a:pos x="8" y="6"/>
              </a:cxn>
              <a:cxn ang="0">
                <a:pos x="10" y="6"/>
              </a:cxn>
              <a:cxn ang="0">
                <a:pos x="8" y="4"/>
              </a:cxn>
              <a:cxn ang="0">
                <a:pos x="4" y="6"/>
              </a:cxn>
              <a:cxn ang="0">
                <a:pos x="0" y="6"/>
              </a:cxn>
              <a:cxn ang="0">
                <a:pos x="0" y="4"/>
              </a:cxn>
              <a:cxn ang="0">
                <a:pos x="2" y="2"/>
              </a:cxn>
            </a:cxnLst>
            <a:rect l="0" t="0" r="r" b="b"/>
            <a:pathLst>
              <a:path w="52" h="94">
                <a:moveTo>
                  <a:pt x="2" y="2"/>
                </a:moveTo>
                <a:lnTo>
                  <a:pt x="2" y="2"/>
                </a:lnTo>
                <a:lnTo>
                  <a:pt x="10" y="0"/>
                </a:lnTo>
                <a:lnTo>
                  <a:pt x="12" y="2"/>
                </a:lnTo>
                <a:lnTo>
                  <a:pt x="14" y="2"/>
                </a:lnTo>
                <a:lnTo>
                  <a:pt x="14" y="2"/>
                </a:lnTo>
                <a:lnTo>
                  <a:pt x="14" y="4"/>
                </a:lnTo>
                <a:lnTo>
                  <a:pt x="16" y="6"/>
                </a:lnTo>
                <a:lnTo>
                  <a:pt x="20" y="8"/>
                </a:lnTo>
                <a:lnTo>
                  <a:pt x="28" y="18"/>
                </a:lnTo>
                <a:lnTo>
                  <a:pt x="28" y="18"/>
                </a:lnTo>
                <a:lnTo>
                  <a:pt x="38" y="34"/>
                </a:lnTo>
                <a:lnTo>
                  <a:pt x="42" y="40"/>
                </a:lnTo>
                <a:lnTo>
                  <a:pt x="46" y="46"/>
                </a:lnTo>
                <a:lnTo>
                  <a:pt x="46" y="46"/>
                </a:lnTo>
                <a:lnTo>
                  <a:pt x="48" y="48"/>
                </a:lnTo>
                <a:lnTo>
                  <a:pt x="50" y="54"/>
                </a:lnTo>
                <a:lnTo>
                  <a:pt x="52" y="66"/>
                </a:lnTo>
                <a:lnTo>
                  <a:pt x="50" y="78"/>
                </a:lnTo>
                <a:lnTo>
                  <a:pt x="48" y="82"/>
                </a:lnTo>
                <a:lnTo>
                  <a:pt x="44" y="84"/>
                </a:lnTo>
                <a:lnTo>
                  <a:pt x="44" y="84"/>
                </a:lnTo>
                <a:lnTo>
                  <a:pt x="32" y="90"/>
                </a:lnTo>
                <a:lnTo>
                  <a:pt x="28" y="94"/>
                </a:lnTo>
                <a:lnTo>
                  <a:pt x="22" y="94"/>
                </a:lnTo>
                <a:lnTo>
                  <a:pt x="22" y="94"/>
                </a:lnTo>
                <a:lnTo>
                  <a:pt x="16" y="92"/>
                </a:lnTo>
                <a:lnTo>
                  <a:pt x="8" y="86"/>
                </a:lnTo>
                <a:lnTo>
                  <a:pt x="4" y="78"/>
                </a:lnTo>
                <a:lnTo>
                  <a:pt x="2" y="76"/>
                </a:lnTo>
                <a:lnTo>
                  <a:pt x="2" y="74"/>
                </a:lnTo>
                <a:lnTo>
                  <a:pt x="2" y="74"/>
                </a:lnTo>
                <a:lnTo>
                  <a:pt x="2" y="68"/>
                </a:lnTo>
                <a:lnTo>
                  <a:pt x="0" y="60"/>
                </a:lnTo>
                <a:lnTo>
                  <a:pt x="0" y="50"/>
                </a:lnTo>
                <a:lnTo>
                  <a:pt x="0" y="46"/>
                </a:lnTo>
                <a:lnTo>
                  <a:pt x="0" y="46"/>
                </a:lnTo>
                <a:lnTo>
                  <a:pt x="0" y="46"/>
                </a:lnTo>
                <a:lnTo>
                  <a:pt x="2" y="48"/>
                </a:lnTo>
                <a:lnTo>
                  <a:pt x="4" y="50"/>
                </a:lnTo>
                <a:lnTo>
                  <a:pt x="4" y="50"/>
                </a:lnTo>
                <a:lnTo>
                  <a:pt x="2" y="46"/>
                </a:lnTo>
                <a:lnTo>
                  <a:pt x="2" y="42"/>
                </a:lnTo>
                <a:lnTo>
                  <a:pt x="4" y="40"/>
                </a:lnTo>
                <a:lnTo>
                  <a:pt x="4" y="40"/>
                </a:lnTo>
                <a:lnTo>
                  <a:pt x="4" y="36"/>
                </a:lnTo>
                <a:lnTo>
                  <a:pt x="4" y="34"/>
                </a:lnTo>
                <a:lnTo>
                  <a:pt x="2" y="30"/>
                </a:lnTo>
                <a:lnTo>
                  <a:pt x="4" y="28"/>
                </a:lnTo>
                <a:lnTo>
                  <a:pt x="4" y="28"/>
                </a:lnTo>
                <a:lnTo>
                  <a:pt x="6" y="26"/>
                </a:lnTo>
                <a:lnTo>
                  <a:pt x="6" y="22"/>
                </a:lnTo>
                <a:lnTo>
                  <a:pt x="6" y="20"/>
                </a:lnTo>
                <a:lnTo>
                  <a:pt x="6" y="18"/>
                </a:lnTo>
                <a:lnTo>
                  <a:pt x="6" y="18"/>
                </a:lnTo>
                <a:lnTo>
                  <a:pt x="8" y="16"/>
                </a:lnTo>
                <a:lnTo>
                  <a:pt x="8" y="14"/>
                </a:lnTo>
                <a:lnTo>
                  <a:pt x="6" y="12"/>
                </a:lnTo>
                <a:lnTo>
                  <a:pt x="6" y="10"/>
                </a:lnTo>
                <a:lnTo>
                  <a:pt x="6" y="10"/>
                </a:lnTo>
                <a:lnTo>
                  <a:pt x="8" y="8"/>
                </a:lnTo>
                <a:lnTo>
                  <a:pt x="8" y="6"/>
                </a:lnTo>
                <a:lnTo>
                  <a:pt x="10" y="6"/>
                </a:lnTo>
                <a:lnTo>
                  <a:pt x="10" y="6"/>
                </a:lnTo>
                <a:lnTo>
                  <a:pt x="12" y="6"/>
                </a:lnTo>
                <a:lnTo>
                  <a:pt x="8" y="4"/>
                </a:lnTo>
                <a:lnTo>
                  <a:pt x="8" y="4"/>
                </a:lnTo>
                <a:lnTo>
                  <a:pt x="4" y="6"/>
                </a:lnTo>
                <a:lnTo>
                  <a:pt x="0" y="6"/>
                </a:lnTo>
                <a:lnTo>
                  <a:pt x="0" y="6"/>
                </a:lnTo>
                <a:lnTo>
                  <a:pt x="0" y="6"/>
                </a:lnTo>
                <a:lnTo>
                  <a:pt x="0" y="4"/>
                </a:lnTo>
                <a:lnTo>
                  <a:pt x="2" y="2"/>
                </a:lnTo>
                <a:lnTo>
                  <a:pt x="2" y="2"/>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58" name="Freeform 149"/>
          <p:cNvSpPr>
            <a:spLocks/>
          </p:cNvSpPr>
          <p:nvPr/>
        </p:nvSpPr>
        <p:spPr bwMode="auto">
          <a:xfrm>
            <a:off x="4042379" y="1746443"/>
            <a:ext cx="278017" cy="216232"/>
          </a:xfrm>
          <a:custGeom>
            <a:avLst/>
            <a:gdLst/>
            <a:ahLst/>
            <a:cxnLst>
              <a:cxn ang="0">
                <a:pos x="4" y="184"/>
              </a:cxn>
              <a:cxn ang="0">
                <a:pos x="22" y="178"/>
              </a:cxn>
              <a:cxn ang="0">
                <a:pos x="40" y="170"/>
              </a:cxn>
              <a:cxn ang="0">
                <a:pos x="48" y="162"/>
              </a:cxn>
              <a:cxn ang="0">
                <a:pos x="72" y="140"/>
              </a:cxn>
              <a:cxn ang="0">
                <a:pos x="76" y="130"/>
              </a:cxn>
              <a:cxn ang="0">
                <a:pos x="66" y="120"/>
              </a:cxn>
              <a:cxn ang="0">
                <a:pos x="66" y="110"/>
              </a:cxn>
              <a:cxn ang="0">
                <a:pos x="84" y="84"/>
              </a:cxn>
              <a:cxn ang="0">
                <a:pos x="92" y="66"/>
              </a:cxn>
              <a:cxn ang="0">
                <a:pos x="112" y="56"/>
              </a:cxn>
              <a:cxn ang="0">
                <a:pos x="136" y="28"/>
              </a:cxn>
              <a:cxn ang="0">
                <a:pos x="146" y="14"/>
              </a:cxn>
              <a:cxn ang="0">
                <a:pos x="154" y="6"/>
              </a:cxn>
              <a:cxn ang="0">
                <a:pos x="164" y="2"/>
              </a:cxn>
              <a:cxn ang="0">
                <a:pos x="166" y="6"/>
              </a:cxn>
              <a:cxn ang="0">
                <a:pos x="174" y="8"/>
              </a:cxn>
              <a:cxn ang="0">
                <a:pos x="188" y="14"/>
              </a:cxn>
              <a:cxn ang="0">
                <a:pos x="196" y="14"/>
              </a:cxn>
              <a:cxn ang="0">
                <a:pos x="208" y="10"/>
              </a:cxn>
              <a:cxn ang="0">
                <a:pos x="208" y="12"/>
              </a:cxn>
              <a:cxn ang="0">
                <a:pos x="214" y="16"/>
              </a:cxn>
              <a:cxn ang="0">
                <a:pos x="220" y="18"/>
              </a:cxn>
              <a:cxn ang="0">
                <a:pos x="224" y="38"/>
              </a:cxn>
              <a:cxn ang="0">
                <a:pos x="222" y="54"/>
              </a:cxn>
              <a:cxn ang="0">
                <a:pos x="228" y="64"/>
              </a:cxn>
              <a:cxn ang="0">
                <a:pos x="242" y="72"/>
              </a:cxn>
              <a:cxn ang="0">
                <a:pos x="240" y="80"/>
              </a:cxn>
              <a:cxn ang="0">
                <a:pos x="242" y="86"/>
              </a:cxn>
              <a:cxn ang="0">
                <a:pos x="224" y="86"/>
              </a:cxn>
              <a:cxn ang="0">
                <a:pos x="202" y="90"/>
              </a:cxn>
              <a:cxn ang="0">
                <a:pos x="188" y="96"/>
              </a:cxn>
              <a:cxn ang="0">
                <a:pos x="188" y="108"/>
              </a:cxn>
              <a:cxn ang="0">
                <a:pos x="190" y="110"/>
              </a:cxn>
              <a:cxn ang="0">
                <a:pos x="158" y="126"/>
              </a:cxn>
              <a:cxn ang="0">
                <a:pos x="142" y="142"/>
              </a:cxn>
              <a:cxn ang="0">
                <a:pos x="126" y="146"/>
              </a:cxn>
              <a:cxn ang="0">
                <a:pos x="122" y="142"/>
              </a:cxn>
              <a:cxn ang="0">
                <a:pos x="110" y="156"/>
              </a:cxn>
              <a:cxn ang="0">
                <a:pos x="104" y="152"/>
              </a:cxn>
              <a:cxn ang="0">
                <a:pos x="96" y="156"/>
              </a:cxn>
              <a:cxn ang="0">
                <a:pos x="92" y="162"/>
              </a:cxn>
              <a:cxn ang="0">
                <a:pos x="82" y="174"/>
              </a:cxn>
              <a:cxn ang="0">
                <a:pos x="0" y="190"/>
              </a:cxn>
            </a:cxnLst>
            <a:rect l="0" t="0" r="r" b="b"/>
            <a:pathLst>
              <a:path w="244" h="190">
                <a:moveTo>
                  <a:pt x="0" y="190"/>
                </a:moveTo>
                <a:lnTo>
                  <a:pt x="0" y="190"/>
                </a:lnTo>
                <a:lnTo>
                  <a:pt x="4" y="184"/>
                </a:lnTo>
                <a:lnTo>
                  <a:pt x="10" y="180"/>
                </a:lnTo>
                <a:lnTo>
                  <a:pt x="16" y="180"/>
                </a:lnTo>
                <a:lnTo>
                  <a:pt x="22" y="178"/>
                </a:lnTo>
                <a:lnTo>
                  <a:pt x="32" y="176"/>
                </a:lnTo>
                <a:lnTo>
                  <a:pt x="36" y="174"/>
                </a:lnTo>
                <a:lnTo>
                  <a:pt x="40" y="170"/>
                </a:lnTo>
                <a:lnTo>
                  <a:pt x="40" y="170"/>
                </a:lnTo>
                <a:lnTo>
                  <a:pt x="42" y="166"/>
                </a:lnTo>
                <a:lnTo>
                  <a:pt x="48" y="162"/>
                </a:lnTo>
                <a:lnTo>
                  <a:pt x="58" y="154"/>
                </a:lnTo>
                <a:lnTo>
                  <a:pt x="68" y="146"/>
                </a:lnTo>
                <a:lnTo>
                  <a:pt x="72" y="140"/>
                </a:lnTo>
                <a:lnTo>
                  <a:pt x="76" y="134"/>
                </a:lnTo>
                <a:lnTo>
                  <a:pt x="76" y="134"/>
                </a:lnTo>
                <a:lnTo>
                  <a:pt x="76" y="130"/>
                </a:lnTo>
                <a:lnTo>
                  <a:pt x="74" y="128"/>
                </a:lnTo>
                <a:lnTo>
                  <a:pt x="70" y="124"/>
                </a:lnTo>
                <a:lnTo>
                  <a:pt x="66" y="120"/>
                </a:lnTo>
                <a:lnTo>
                  <a:pt x="66" y="116"/>
                </a:lnTo>
                <a:lnTo>
                  <a:pt x="66" y="110"/>
                </a:lnTo>
                <a:lnTo>
                  <a:pt x="66" y="110"/>
                </a:lnTo>
                <a:lnTo>
                  <a:pt x="74" y="96"/>
                </a:lnTo>
                <a:lnTo>
                  <a:pt x="80" y="90"/>
                </a:lnTo>
                <a:lnTo>
                  <a:pt x="84" y="84"/>
                </a:lnTo>
                <a:lnTo>
                  <a:pt x="88" y="70"/>
                </a:lnTo>
                <a:lnTo>
                  <a:pt x="88" y="70"/>
                </a:lnTo>
                <a:lnTo>
                  <a:pt x="92" y="66"/>
                </a:lnTo>
                <a:lnTo>
                  <a:pt x="94" y="62"/>
                </a:lnTo>
                <a:lnTo>
                  <a:pt x="106" y="58"/>
                </a:lnTo>
                <a:lnTo>
                  <a:pt x="112" y="56"/>
                </a:lnTo>
                <a:lnTo>
                  <a:pt x="120" y="50"/>
                </a:lnTo>
                <a:lnTo>
                  <a:pt x="128" y="42"/>
                </a:lnTo>
                <a:lnTo>
                  <a:pt x="136" y="28"/>
                </a:lnTo>
                <a:lnTo>
                  <a:pt x="136" y="28"/>
                </a:lnTo>
                <a:lnTo>
                  <a:pt x="142" y="18"/>
                </a:lnTo>
                <a:lnTo>
                  <a:pt x="146" y="14"/>
                </a:lnTo>
                <a:lnTo>
                  <a:pt x="150" y="10"/>
                </a:lnTo>
                <a:lnTo>
                  <a:pt x="154" y="6"/>
                </a:lnTo>
                <a:lnTo>
                  <a:pt x="154" y="6"/>
                </a:lnTo>
                <a:lnTo>
                  <a:pt x="158" y="0"/>
                </a:lnTo>
                <a:lnTo>
                  <a:pt x="162" y="0"/>
                </a:lnTo>
                <a:lnTo>
                  <a:pt x="164" y="2"/>
                </a:lnTo>
                <a:lnTo>
                  <a:pt x="164" y="4"/>
                </a:lnTo>
                <a:lnTo>
                  <a:pt x="164" y="4"/>
                </a:lnTo>
                <a:lnTo>
                  <a:pt x="166" y="6"/>
                </a:lnTo>
                <a:lnTo>
                  <a:pt x="170" y="8"/>
                </a:lnTo>
                <a:lnTo>
                  <a:pt x="174" y="8"/>
                </a:lnTo>
                <a:lnTo>
                  <a:pt x="174" y="8"/>
                </a:lnTo>
                <a:lnTo>
                  <a:pt x="178" y="10"/>
                </a:lnTo>
                <a:lnTo>
                  <a:pt x="182" y="12"/>
                </a:lnTo>
                <a:lnTo>
                  <a:pt x="188" y="14"/>
                </a:lnTo>
                <a:lnTo>
                  <a:pt x="194" y="14"/>
                </a:lnTo>
                <a:lnTo>
                  <a:pt x="194" y="14"/>
                </a:lnTo>
                <a:lnTo>
                  <a:pt x="196" y="14"/>
                </a:lnTo>
                <a:lnTo>
                  <a:pt x="198" y="16"/>
                </a:lnTo>
                <a:lnTo>
                  <a:pt x="202" y="16"/>
                </a:lnTo>
                <a:lnTo>
                  <a:pt x="208" y="10"/>
                </a:lnTo>
                <a:lnTo>
                  <a:pt x="208" y="10"/>
                </a:lnTo>
                <a:lnTo>
                  <a:pt x="208" y="8"/>
                </a:lnTo>
                <a:lnTo>
                  <a:pt x="208" y="12"/>
                </a:lnTo>
                <a:lnTo>
                  <a:pt x="208" y="14"/>
                </a:lnTo>
                <a:lnTo>
                  <a:pt x="210" y="16"/>
                </a:lnTo>
                <a:lnTo>
                  <a:pt x="214" y="16"/>
                </a:lnTo>
                <a:lnTo>
                  <a:pt x="214" y="16"/>
                </a:lnTo>
                <a:lnTo>
                  <a:pt x="220" y="18"/>
                </a:lnTo>
                <a:lnTo>
                  <a:pt x="220" y="18"/>
                </a:lnTo>
                <a:lnTo>
                  <a:pt x="222" y="22"/>
                </a:lnTo>
                <a:lnTo>
                  <a:pt x="222" y="26"/>
                </a:lnTo>
                <a:lnTo>
                  <a:pt x="224" y="38"/>
                </a:lnTo>
                <a:lnTo>
                  <a:pt x="224" y="38"/>
                </a:lnTo>
                <a:lnTo>
                  <a:pt x="222" y="46"/>
                </a:lnTo>
                <a:lnTo>
                  <a:pt x="222" y="54"/>
                </a:lnTo>
                <a:lnTo>
                  <a:pt x="222" y="58"/>
                </a:lnTo>
                <a:lnTo>
                  <a:pt x="224" y="62"/>
                </a:lnTo>
                <a:lnTo>
                  <a:pt x="228" y="64"/>
                </a:lnTo>
                <a:lnTo>
                  <a:pt x="234" y="68"/>
                </a:lnTo>
                <a:lnTo>
                  <a:pt x="234" y="68"/>
                </a:lnTo>
                <a:lnTo>
                  <a:pt x="242" y="72"/>
                </a:lnTo>
                <a:lnTo>
                  <a:pt x="244" y="76"/>
                </a:lnTo>
                <a:lnTo>
                  <a:pt x="242" y="78"/>
                </a:lnTo>
                <a:lnTo>
                  <a:pt x="240" y="80"/>
                </a:lnTo>
                <a:lnTo>
                  <a:pt x="240" y="80"/>
                </a:lnTo>
                <a:lnTo>
                  <a:pt x="240" y="84"/>
                </a:lnTo>
                <a:lnTo>
                  <a:pt x="242" y="86"/>
                </a:lnTo>
                <a:lnTo>
                  <a:pt x="238" y="88"/>
                </a:lnTo>
                <a:lnTo>
                  <a:pt x="224" y="86"/>
                </a:lnTo>
                <a:lnTo>
                  <a:pt x="224" y="86"/>
                </a:lnTo>
                <a:lnTo>
                  <a:pt x="214" y="86"/>
                </a:lnTo>
                <a:lnTo>
                  <a:pt x="206" y="88"/>
                </a:lnTo>
                <a:lnTo>
                  <a:pt x="202" y="90"/>
                </a:lnTo>
                <a:lnTo>
                  <a:pt x="194" y="92"/>
                </a:lnTo>
                <a:lnTo>
                  <a:pt x="194" y="92"/>
                </a:lnTo>
                <a:lnTo>
                  <a:pt x="188" y="96"/>
                </a:lnTo>
                <a:lnTo>
                  <a:pt x="184" y="100"/>
                </a:lnTo>
                <a:lnTo>
                  <a:pt x="184" y="104"/>
                </a:lnTo>
                <a:lnTo>
                  <a:pt x="188" y="108"/>
                </a:lnTo>
                <a:lnTo>
                  <a:pt x="188" y="108"/>
                </a:lnTo>
                <a:lnTo>
                  <a:pt x="192" y="108"/>
                </a:lnTo>
                <a:lnTo>
                  <a:pt x="190" y="110"/>
                </a:lnTo>
                <a:lnTo>
                  <a:pt x="174" y="118"/>
                </a:lnTo>
                <a:lnTo>
                  <a:pt x="174" y="118"/>
                </a:lnTo>
                <a:lnTo>
                  <a:pt x="158" y="126"/>
                </a:lnTo>
                <a:lnTo>
                  <a:pt x="150" y="134"/>
                </a:lnTo>
                <a:lnTo>
                  <a:pt x="150" y="134"/>
                </a:lnTo>
                <a:lnTo>
                  <a:pt x="142" y="142"/>
                </a:lnTo>
                <a:lnTo>
                  <a:pt x="134" y="146"/>
                </a:lnTo>
                <a:lnTo>
                  <a:pt x="134" y="146"/>
                </a:lnTo>
                <a:lnTo>
                  <a:pt x="126" y="146"/>
                </a:lnTo>
                <a:lnTo>
                  <a:pt x="124" y="144"/>
                </a:lnTo>
                <a:lnTo>
                  <a:pt x="124" y="144"/>
                </a:lnTo>
                <a:lnTo>
                  <a:pt x="122" y="142"/>
                </a:lnTo>
                <a:lnTo>
                  <a:pt x="118" y="144"/>
                </a:lnTo>
                <a:lnTo>
                  <a:pt x="114" y="150"/>
                </a:lnTo>
                <a:lnTo>
                  <a:pt x="110" y="156"/>
                </a:lnTo>
                <a:lnTo>
                  <a:pt x="108" y="156"/>
                </a:lnTo>
                <a:lnTo>
                  <a:pt x="104" y="152"/>
                </a:lnTo>
                <a:lnTo>
                  <a:pt x="104" y="152"/>
                </a:lnTo>
                <a:lnTo>
                  <a:pt x="102" y="152"/>
                </a:lnTo>
                <a:lnTo>
                  <a:pt x="100" y="152"/>
                </a:lnTo>
                <a:lnTo>
                  <a:pt x="96" y="156"/>
                </a:lnTo>
                <a:lnTo>
                  <a:pt x="94" y="158"/>
                </a:lnTo>
                <a:lnTo>
                  <a:pt x="94" y="158"/>
                </a:lnTo>
                <a:lnTo>
                  <a:pt x="92" y="162"/>
                </a:lnTo>
                <a:lnTo>
                  <a:pt x="88" y="166"/>
                </a:lnTo>
                <a:lnTo>
                  <a:pt x="84" y="168"/>
                </a:lnTo>
                <a:lnTo>
                  <a:pt x="82" y="174"/>
                </a:lnTo>
                <a:lnTo>
                  <a:pt x="82" y="190"/>
                </a:lnTo>
                <a:lnTo>
                  <a:pt x="0" y="190"/>
                </a:lnTo>
                <a:lnTo>
                  <a:pt x="0" y="190"/>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59" name="Freeform 150"/>
          <p:cNvSpPr>
            <a:spLocks/>
          </p:cNvSpPr>
          <p:nvPr/>
        </p:nvSpPr>
        <p:spPr bwMode="auto">
          <a:xfrm>
            <a:off x="4135810" y="1710025"/>
            <a:ext cx="476274" cy="509852"/>
          </a:xfrm>
          <a:custGeom>
            <a:avLst/>
            <a:gdLst/>
            <a:ahLst/>
            <a:cxnLst>
              <a:cxn ang="0">
                <a:pos x="292" y="432"/>
              </a:cxn>
              <a:cxn ang="0">
                <a:pos x="316" y="408"/>
              </a:cxn>
              <a:cxn ang="0">
                <a:pos x="418" y="302"/>
              </a:cxn>
              <a:cxn ang="0">
                <a:pos x="394" y="286"/>
              </a:cxn>
              <a:cxn ang="0">
                <a:pos x="378" y="278"/>
              </a:cxn>
              <a:cxn ang="0">
                <a:pos x="374" y="268"/>
              </a:cxn>
              <a:cxn ang="0">
                <a:pos x="360" y="256"/>
              </a:cxn>
              <a:cxn ang="0">
                <a:pos x="372" y="244"/>
              </a:cxn>
              <a:cxn ang="0">
                <a:pos x="372" y="232"/>
              </a:cxn>
              <a:cxn ang="0">
                <a:pos x="374" y="224"/>
              </a:cxn>
              <a:cxn ang="0">
                <a:pos x="362" y="192"/>
              </a:cxn>
              <a:cxn ang="0">
                <a:pos x="354" y="168"/>
              </a:cxn>
              <a:cxn ang="0">
                <a:pos x="348" y="128"/>
              </a:cxn>
              <a:cxn ang="0">
                <a:pos x="336" y="116"/>
              </a:cxn>
              <a:cxn ang="0">
                <a:pos x="324" y="94"/>
              </a:cxn>
              <a:cxn ang="0">
                <a:pos x="320" y="70"/>
              </a:cxn>
              <a:cxn ang="0">
                <a:pos x="330" y="60"/>
              </a:cxn>
              <a:cxn ang="0">
                <a:pos x="334" y="48"/>
              </a:cxn>
              <a:cxn ang="0">
                <a:pos x="332" y="34"/>
              </a:cxn>
              <a:cxn ang="0">
                <a:pos x="330" y="18"/>
              </a:cxn>
              <a:cxn ang="0">
                <a:pos x="338" y="6"/>
              </a:cxn>
              <a:cxn ang="0">
                <a:pos x="326" y="2"/>
              </a:cxn>
              <a:cxn ang="0">
                <a:pos x="314" y="4"/>
              </a:cxn>
              <a:cxn ang="0">
                <a:pos x="306" y="6"/>
              </a:cxn>
              <a:cxn ang="0">
                <a:pos x="290" y="10"/>
              </a:cxn>
              <a:cxn ang="0">
                <a:pos x="276" y="6"/>
              </a:cxn>
              <a:cxn ang="0">
                <a:pos x="256" y="8"/>
              </a:cxn>
              <a:cxn ang="0">
                <a:pos x="242" y="12"/>
              </a:cxn>
              <a:cxn ang="0">
                <a:pos x="214" y="16"/>
              </a:cxn>
              <a:cxn ang="0">
                <a:pos x="192" y="28"/>
              </a:cxn>
              <a:cxn ang="0">
                <a:pos x="176" y="38"/>
              </a:cxn>
              <a:cxn ang="0">
                <a:pos x="166" y="34"/>
              </a:cxn>
              <a:cxn ang="0">
                <a:pos x="152" y="44"/>
              </a:cxn>
              <a:cxn ang="0">
                <a:pos x="142" y="48"/>
              </a:cxn>
              <a:cxn ang="0">
                <a:pos x="140" y="58"/>
              </a:cxn>
              <a:cxn ang="0">
                <a:pos x="140" y="90"/>
              </a:cxn>
              <a:cxn ang="0">
                <a:pos x="160" y="104"/>
              </a:cxn>
              <a:cxn ang="0">
                <a:pos x="158" y="116"/>
              </a:cxn>
              <a:cxn ang="0">
                <a:pos x="132" y="118"/>
              </a:cxn>
              <a:cxn ang="0">
                <a:pos x="106" y="128"/>
              </a:cxn>
              <a:cxn ang="0">
                <a:pos x="110" y="140"/>
              </a:cxn>
              <a:cxn ang="0">
                <a:pos x="68" y="166"/>
              </a:cxn>
              <a:cxn ang="0">
                <a:pos x="44" y="178"/>
              </a:cxn>
              <a:cxn ang="0">
                <a:pos x="32" y="182"/>
              </a:cxn>
              <a:cxn ang="0">
                <a:pos x="20" y="184"/>
              </a:cxn>
              <a:cxn ang="0">
                <a:pos x="10" y="194"/>
              </a:cxn>
              <a:cxn ang="0">
                <a:pos x="0" y="234"/>
              </a:cxn>
              <a:cxn ang="0">
                <a:pos x="224" y="408"/>
              </a:cxn>
              <a:cxn ang="0">
                <a:pos x="232" y="412"/>
              </a:cxn>
              <a:cxn ang="0">
                <a:pos x="236" y="416"/>
              </a:cxn>
              <a:cxn ang="0">
                <a:pos x="244" y="424"/>
              </a:cxn>
              <a:cxn ang="0">
                <a:pos x="246" y="436"/>
              </a:cxn>
              <a:cxn ang="0">
                <a:pos x="248" y="446"/>
              </a:cxn>
            </a:cxnLst>
            <a:rect l="0" t="0" r="r" b="b"/>
            <a:pathLst>
              <a:path w="418" h="448">
                <a:moveTo>
                  <a:pt x="266" y="440"/>
                </a:moveTo>
                <a:lnTo>
                  <a:pt x="266" y="440"/>
                </a:lnTo>
                <a:lnTo>
                  <a:pt x="288" y="432"/>
                </a:lnTo>
                <a:lnTo>
                  <a:pt x="288" y="432"/>
                </a:lnTo>
                <a:lnTo>
                  <a:pt x="292" y="432"/>
                </a:lnTo>
                <a:lnTo>
                  <a:pt x="294" y="430"/>
                </a:lnTo>
                <a:lnTo>
                  <a:pt x="304" y="420"/>
                </a:lnTo>
                <a:lnTo>
                  <a:pt x="304" y="420"/>
                </a:lnTo>
                <a:lnTo>
                  <a:pt x="312" y="412"/>
                </a:lnTo>
                <a:lnTo>
                  <a:pt x="316" y="408"/>
                </a:lnTo>
                <a:lnTo>
                  <a:pt x="322" y="404"/>
                </a:lnTo>
                <a:lnTo>
                  <a:pt x="330" y="396"/>
                </a:lnTo>
                <a:lnTo>
                  <a:pt x="330" y="396"/>
                </a:lnTo>
                <a:lnTo>
                  <a:pt x="382" y="340"/>
                </a:lnTo>
                <a:lnTo>
                  <a:pt x="418" y="302"/>
                </a:lnTo>
                <a:lnTo>
                  <a:pt x="418" y="302"/>
                </a:lnTo>
                <a:lnTo>
                  <a:pt x="414" y="300"/>
                </a:lnTo>
                <a:lnTo>
                  <a:pt x="400" y="290"/>
                </a:lnTo>
                <a:lnTo>
                  <a:pt x="400" y="290"/>
                </a:lnTo>
                <a:lnTo>
                  <a:pt x="394" y="286"/>
                </a:lnTo>
                <a:lnTo>
                  <a:pt x="390" y="286"/>
                </a:lnTo>
                <a:lnTo>
                  <a:pt x="386" y="286"/>
                </a:lnTo>
                <a:lnTo>
                  <a:pt x="382" y="282"/>
                </a:lnTo>
                <a:lnTo>
                  <a:pt x="382" y="282"/>
                </a:lnTo>
                <a:lnTo>
                  <a:pt x="378" y="278"/>
                </a:lnTo>
                <a:lnTo>
                  <a:pt x="376" y="276"/>
                </a:lnTo>
                <a:lnTo>
                  <a:pt x="374" y="276"/>
                </a:lnTo>
                <a:lnTo>
                  <a:pt x="374" y="272"/>
                </a:lnTo>
                <a:lnTo>
                  <a:pt x="374" y="272"/>
                </a:lnTo>
                <a:lnTo>
                  <a:pt x="374" y="268"/>
                </a:lnTo>
                <a:lnTo>
                  <a:pt x="372" y="266"/>
                </a:lnTo>
                <a:lnTo>
                  <a:pt x="368" y="264"/>
                </a:lnTo>
                <a:lnTo>
                  <a:pt x="360" y="258"/>
                </a:lnTo>
                <a:lnTo>
                  <a:pt x="360" y="258"/>
                </a:lnTo>
                <a:lnTo>
                  <a:pt x="360" y="256"/>
                </a:lnTo>
                <a:lnTo>
                  <a:pt x="360" y="254"/>
                </a:lnTo>
                <a:lnTo>
                  <a:pt x="362" y="252"/>
                </a:lnTo>
                <a:lnTo>
                  <a:pt x="368" y="250"/>
                </a:lnTo>
                <a:lnTo>
                  <a:pt x="370" y="248"/>
                </a:lnTo>
                <a:lnTo>
                  <a:pt x="372" y="244"/>
                </a:lnTo>
                <a:lnTo>
                  <a:pt x="372" y="244"/>
                </a:lnTo>
                <a:lnTo>
                  <a:pt x="374" y="240"/>
                </a:lnTo>
                <a:lnTo>
                  <a:pt x="376" y="238"/>
                </a:lnTo>
                <a:lnTo>
                  <a:pt x="376" y="236"/>
                </a:lnTo>
                <a:lnTo>
                  <a:pt x="372" y="232"/>
                </a:lnTo>
                <a:lnTo>
                  <a:pt x="372" y="232"/>
                </a:lnTo>
                <a:lnTo>
                  <a:pt x="370" y="228"/>
                </a:lnTo>
                <a:lnTo>
                  <a:pt x="372" y="226"/>
                </a:lnTo>
                <a:lnTo>
                  <a:pt x="372" y="226"/>
                </a:lnTo>
                <a:lnTo>
                  <a:pt x="374" y="224"/>
                </a:lnTo>
                <a:lnTo>
                  <a:pt x="376" y="220"/>
                </a:lnTo>
                <a:lnTo>
                  <a:pt x="374" y="214"/>
                </a:lnTo>
                <a:lnTo>
                  <a:pt x="368" y="202"/>
                </a:lnTo>
                <a:lnTo>
                  <a:pt x="368" y="202"/>
                </a:lnTo>
                <a:lnTo>
                  <a:pt x="362" y="192"/>
                </a:lnTo>
                <a:lnTo>
                  <a:pt x="360" y="184"/>
                </a:lnTo>
                <a:lnTo>
                  <a:pt x="360" y="178"/>
                </a:lnTo>
                <a:lnTo>
                  <a:pt x="358" y="172"/>
                </a:lnTo>
                <a:lnTo>
                  <a:pt x="358" y="172"/>
                </a:lnTo>
                <a:lnTo>
                  <a:pt x="354" y="168"/>
                </a:lnTo>
                <a:lnTo>
                  <a:pt x="354" y="166"/>
                </a:lnTo>
                <a:lnTo>
                  <a:pt x="356" y="166"/>
                </a:lnTo>
                <a:lnTo>
                  <a:pt x="356" y="166"/>
                </a:lnTo>
                <a:lnTo>
                  <a:pt x="350" y="138"/>
                </a:lnTo>
                <a:lnTo>
                  <a:pt x="348" y="128"/>
                </a:lnTo>
                <a:lnTo>
                  <a:pt x="346" y="124"/>
                </a:lnTo>
                <a:lnTo>
                  <a:pt x="342" y="122"/>
                </a:lnTo>
                <a:lnTo>
                  <a:pt x="342" y="122"/>
                </a:lnTo>
                <a:lnTo>
                  <a:pt x="338" y="120"/>
                </a:lnTo>
                <a:lnTo>
                  <a:pt x="336" y="116"/>
                </a:lnTo>
                <a:lnTo>
                  <a:pt x="332" y="108"/>
                </a:lnTo>
                <a:lnTo>
                  <a:pt x="330" y="102"/>
                </a:lnTo>
                <a:lnTo>
                  <a:pt x="328" y="98"/>
                </a:lnTo>
                <a:lnTo>
                  <a:pt x="324" y="94"/>
                </a:lnTo>
                <a:lnTo>
                  <a:pt x="324" y="94"/>
                </a:lnTo>
                <a:lnTo>
                  <a:pt x="320" y="92"/>
                </a:lnTo>
                <a:lnTo>
                  <a:pt x="318" y="88"/>
                </a:lnTo>
                <a:lnTo>
                  <a:pt x="316" y="80"/>
                </a:lnTo>
                <a:lnTo>
                  <a:pt x="316" y="74"/>
                </a:lnTo>
                <a:lnTo>
                  <a:pt x="320" y="70"/>
                </a:lnTo>
                <a:lnTo>
                  <a:pt x="320" y="70"/>
                </a:lnTo>
                <a:lnTo>
                  <a:pt x="324" y="68"/>
                </a:lnTo>
                <a:lnTo>
                  <a:pt x="326" y="66"/>
                </a:lnTo>
                <a:lnTo>
                  <a:pt x="326" y="62"/>
                </a:lnTo>
                <a:lnTo>
                  <a:pt x="330" y="60"/>
                </a:lnTo>
                <a:lnTo>
                  <a:pt x="330" y="60"/>
                </a:lnTo>
                <a:lnTo>
                  <a:pt x="334" y="58"/>
                </a:lnTo>
                <a:lnTo>
                  <a:pt x="334" y="56"/>
                </a:lnTo>
                <a:lnTo>
                  <a:pt x="334" y="52"/>
                </a:lnTo>
                <a:lnTo>
                  <a:pt x="334" y="48"/>
                </a:lnTo>
                <a:lnTo>
                  <a:pt x="334" y="48"/>
                </a:lnTo>
                <a:lnTo>
                  <a:pt x="336" y="46"/>
                </a:lnTo>
                <a:lnTo>
                  <a:pt x="334" y="44"/>
                </a:lnTo>
                <a:lnTo>
                  <a:pt x="334" y="40"/>
                </a:lnTo>
                <a:lnTo>
                  <a:pt x="332" y="34"/>
                </a:lnTo>
                <a:lnTo>
                  <a:pt x="332" y="34"/>
                </a:lnTo>
                <a:lnTo>
                  <a:pt x="332" y="22"/>
                </a:lnTo>
                <a:lnTo>
                  <a:pt x="332" y="20"/>
                </a:lnTo>
                <a:lnTo>
                  <a:pt x="330" y="18"/>
                </a:lnTo>
                <a:lnTo>
                  <a:pt x="330" y="18"/>
                </a:lnTo>
                <a:lnTo>
                  <a:pt x="328" y="18"/>
                </a:lnTo>
                <a:lnTo>
                  <a:pt x="330" y="16"/>
                </a:lnTo>
                <a:lnTo>
                  <a:pt x="334" y="12"/>
                </a:lnTo>
                <a:lnTo>
                  <a:pt x="338" y="6"/>
                </a:lnTo>
                <a:lnTo>
                  <a:pt x="338" y="6"/>
                </a:lnTo>
                <a:lnTo>
                  <a:pt x="330" y="4"/>
                </a:lnTo>
                <a:lnTo>
                  <a:pt x="328" y="4"/>
                </a:lnTo>
                <a:lnTo>
                  <a:pt x="328" y="4"/>
                </a:lnTo>
                <a:lnTo>
                  <a:pt x="326" y="2"/>
                </a:lnTo>
                <a:lnTo>
                  <a:pt x="326" y="2"/>
                </a:lnTo>
                <a:lnTo>
                  <a:pt x="318" y="0"/>
                </a:lnTo>
                <a:lnTo>
                  <a:pt x="320" y="2"/>
                </a:lnTo>
                <a:lnTo>
                  <a:pt x="318" y="4"/>
                </a:lnTo>
                <a:lnTo>
                  <a:pt x="318" y="4"/>
                </a:lnTo>
                <a:lnTo>
                  <a:pt x="314" y="4"/>
                </a:lnTo>
                <a:lnTo>
                  <a:pt x="312" y="2"/>
                </a:lnTo>
                <a:lnTo>
                  <a:pt x="310" y="0"/>
                </a:lnTo>
                <a:lnTo>
                  <a:pt x="308" y="4"/>
                </a:lnTo>
                <a:lnTo>
                  <a:pt x="308" y="4"/>
                </a:lnTo>
                <a:lnTo>
                  <a:pt x="306" y="6"/>
                </a:lnTo>
                <a:lnTo>
                  <a:pt x="302" y="6"/>
                </a:lnTo>
                <a:lnTo>
                  <a:pt x="298" y="6"/>
                </a:lnTo>
                <a:lnTo>
                  <a:pt x="294" y="8"/>
                </a:lnTo>
                <a:lnTo>
                  <a:pt x="294" y="8"/>
                </a:lnTo>
                <a:lnTo>
                  <a:pt x="290" y="10"/>
                </a:lnTo>
                <a:lnTo>
                  <a:pt x="290" y="8"/>
                </a:lnTo>
                <a:lnTo>
                  <a:pt x="288" y="6"/>
                </a:lnTo>
                <a:lnTo>
                  <a:pt x="284" y="6"/>
                </a:lnTo>
                <a:lnTo>
                  <a:pt x="284" y="6"/>
                </a:lnTo>
                <a:lnTo>
                  <a:pt x="276" y="6"/>
                </a:lnTo>
                <a:lnTo>
                  <a:pt x="272" y="6"/>
                </a:lnTo>
                <a:lnTo>
                  <a:pt x="266" y="6"/>
                </a:lnTo>
                <a:lnTo>
                  <a:pt x="262" y="6"/>
                </a:lnTo>
                <a:lnTo>
                  <a:pt x="262" y="6"/>
                </a:lnTo>
                <a:lnTo>
                  <a:pt x="256" y="8"/>
                </a:lnTo>
                <a:lnTo>
                  <a:pt x="250" y="12"/>
                </a:lnTo>
                <a:lnTo>
                  <a:pt x="250" y="12"/>
                </a:lnTo>
                <a:lnTo>
                  <a:pt x="248" y="14"/>
                </a:lnTo>
                <a:lnTo>
                  <a:pt x="246" y="12"/>
                </a:lnTo>
                <a:lnTo>
                  <a:pt x="242" y="12"/>
                </a:lnTo>
                <a:lnTo>
                  <a:pt x="230" y="12"/>
                </a:lnTo>
                <a:lnTo>
                  <a:pt x="230" y="12"/>
                </a:lnTo>
                <a:lnTo>
                  <a:pt x="220" y="12"/>
                </a:lnTo>
                <a:lnTo>
                  <a:pt x="216" y="14"/>
                </a:lnTo>
                <a:lnTo>
                  <a:pt x="214" y="16"/>
                </a:lnTo>
                <a:lnTo>
                  <a:pt x="210" y="16"/>
                </a:lnTo>
                <a:lnTo>
                  <a:pt x="210" y="16"/>
                </a:lnTo>
                <a:lnTo>
                  <a:pt x="204" y="18"/>
                </a:lnTo>
                <a:lnTo>
                  <a:pt x="198" y="22"/>
                </a:lnTo>
                <a:lnTo>
                  <a:pt x="192" y="28"/>
                </a:lnTo>
                <a:lnTo>
                  <a:pt x="186" y="30"/>
                </a:lnTo>
                <a:lnTo>
                  <a:pt x="186" y="30"/>
                </a:lnTo>
                <a:lnTo>
                  <a:pt x="184" y="32"/>
                </a:lnTo>
                <a:lnTo>
                  <a:pt x="180" y="36"/>
                </a:lnTo>
                <a:lnTo>
                  <a:pt x="176" y="38"/>
                </a:lnTo>
                <a:lnTo>
                  <a:pt x="174" y="38"/>
                </a:lnTo>
                <a:lnTo>
                  <a:pt x="170" y="34"/>
                </a:lnTo>
                <a:lnTo>
                  <a:pt x="170" y="34"/>
                </a:lnTo>
                <a:lnTo>
                  <a:pt x="166" y="32"/>
                </a:lnTo>
                <a:lnTo>
                  <a:pt x="166" y="34"/>
                </a:lnTo>
                <a:lnTo>
                  <a:pt x="164" y="38"/>
                </a:lnTo>
                <a:lnTo>
                  <a:pt x="160" y="38"/>
                </a:lnTo>
                <a:lnTo>
                  <a:pt x="160" y="38"/>
                </a:lnTo>
                <a:lnTo>
                  <a:pt x="154" y="40"/>
                </a:lnTo>
                <a:lnTo>
                  <a:pt x="152" y="44"/>
                </a:lnTo>
                <a:lnTo>
                  <a:pt x="152" y="46"/>
                </a:lnTo>
                <a:lnTo>
                  <a:pt x="148" y="48"/>
                </a:lnTo>
                <a:lnTo>
                  <a:pt x="148" y="48"/>
                </a:lnTo>
                <a:lnTo>
                  <a:pt x="144" y="48"/>
                </a:lnTo>
                <a:lnTo>
                  <a:pt x="142" y="48"/>
                </a:lnTo>
                <a:lnTo>
                  <a:pt x="142" y="50"/>
                </a:lnTo>
                <a:lnTo>
                  <a:pt x="138" y="50"/>
                </a:lnTo>
                <a:lnTo>
                  <a:pt x="138" y="50"/>
                </a:lnTo>
                <a:lnTo>
                  <a:pt x="140" y="54"/>
                </a:lnTo>
                <a:lnTo>
                  <a:pt x="140" y="58"/>
                </a:lnTo>
                <a:lnTo>
                  <a:pt x="142" y="70"/>
                </a:lnTo>
                <a:lnTo>
                  <a:pt x="142" y="70"/>
                </a:lnTo>
                <a:lnTo>
                  <a:pt x="140" y="78"/>
                </a:lnTo>
                <a:lnTo>
                  <a:pt x="140" y="86"/>
                </a:lnTo>
                <a:lnTo>
                  <a:pt x="140" y="90"/>
                </a:lnTo>
                <a:lnTo>
                  <a:pt x="142" y="94"/>
                </a:lnTo>
                <a:lnTo>
                  <a:pt x="146" y="96"/>
                </a:lnTo>
                <a:lnTo>
                  <a:pt x="152" y="100"/>
                </a:lnTo>
                <a:lnTo>
                  <a:pt x="152" y="100"/>
                </a:lnTo>
                <a:lnTo>
                  <a:pt x="160" y="104"/>
                </a:lnTo>
                <a:lnTo>
                  <a:pt x="162" y="108"/>
                </a:lnTo>
                <a:lnTo>
                  <a:pt x="160" y="110"/>
                </a:lnTo>
                <a:lnTo>
                  <a:pt x="158" y="112"/>
                </a:lnTo>
                <a:lnTo>
                  <a:pt x="158" y="112"/>
                </a:lnTo>
                <a:lnTo>
                  <a:pt x="158" y="116"/>
                </a:lnTo>
                <a:lnTo>
                  <a:pt x="160" y="118"/>
                </a:lnTo>
                <a:lnTo>
                  <a:pt x="156" y="120"/>
                </a:lnTo>
                <a:lnTo>
                  <a:pt x="142" y="118"/>
                </a:lnTo>
                <a:lnTo>
                  <a:pt x="142" y="118"/>
                </a:lnTo>
                <a:lnTo>
                  <a:pt x="132" y="118"/>
                </a:lnTo>
                <a:lnTo>
                  <a:pt x="124" y="120"/>
                </a:lnTo>
                <a:lnTo>
                  <a:pt x="120" y="122"/>
                </a:lnTo>
                <a:lnTo>
                  <a:pt x="112" y="124"/>
                </a:lnTo>
                <a:lnTo>
                  <a:pt x="112" y="124"/>
                </a:lnTo>
                <a:lnTo>
                  <a:pt x="106" y="128"/>
                </a:lnTo>
                <a:lnTo>
                  <a:pt x="102" y="132"/>
                </a:lnTo>
                <a:lnTo>
                  <a:pt x="102" y="136"/>
                </a:lnTo>
                <a:lnTo>
                  <a:pt x="106" y="140"/>
                </a:lnTo>
                <a:lnTo>
                  <a:pt x="106" y="140"/>
                </a:lnTo>
                <a:lnTo>
                  <a:pt x="110" y="140"/>
                </a:lnTo>
                <a:lnTo>
                  <a:pt x="108" y="142"/>
                </a:lnTo>
                <a:lnTo>
                  <a:pt x="92" y="150"/>
                </a:lnTo>
                <a:lnTo>
                  <a:pt x="92" y="150"/>
                </a:lnTo>
                <a:lnTo>
                  <a:pt x="76" y="158"/>
                </a:lnTo>
                <a:lnTo>
                  <a:pt x="68" y="166"/>
                </a:lnTo>
                <a:lnTo>
                  <a:pt x="68" y="166"/>
                </a:lnTo>
                <a:lnTo>
                  <a:pt x="60" y="174"/>
                </a:lnTo>
                <a:lnTo>
                  <a:pt x="52" y="178"/>
                </a:lnTo>
                <a:lnTo>
                  <a:pt x="52" y="178"/>
                </a:lnTo>
                <a:lnTo>
                  <a:pt x="44" y="178"/>
                </a:lnTo>
                <a:lnTo>
                  <a:pt x="42" y="176"/>
                </a:lnTo>
                <a:lnTo>
                  <a:pt x="42" y="176"/>
                </a:lnTo>
                <a:lnTo>
                  <a:pt x="40" y="174"/>
                </a:lnTo>
                <a:lnTo>
                  <a:pt x="36" y="176"/>
                </a:lnTo>
                <a:lnTo>
                  <a:pt x="32" y="182"/>
                </a:lnTo>
                <a:lnTo>
                  <a:pt x="28" y="188"/>
                </a:lnTo>
                <a:lnTo>
                  <a:pt x="26" y="188"/>
                </a:lnTo>
                <a:lnTo>
                  <a:pt x="22" y="184"/>
                </a:lnTo>
                <a:lnTo>
                  <a:pt x="22" y="184"/>
                </a:lnTo>
                <a:lnTo>
                  <a:pt x="20" y="184"/>
                </a:lnTo>
                <a:lnTo>
                  <a:pt x="18" y="184"/>
                </a:lnTo>
                <a:lnTo>
                  <a:pt x="14" y="188"/>
                </a:lnTo>
                <a:lnTo>
                  <a:pt x="12" y="190"/>
                </a:lnTo>
                <a:lnTo>
                  <a:pt x="12" y="190"/>
                </a:lnTo>
                <a:lnTo>
                  <a:pt x="10" y="194"/>
                </a:lnTo>
                <a:lnTo>
                  <a:pt x="6" y="198"/>
                </a:lnTo>
                <a:lnTo>
                  <a:pt x="2" y="200"/>
                </a:lnTo>
                <a:lnTo>
                  <a:pt x="0" y="206"/>
                </a:lnTo>
                <a:lnTo>
                  <a:pt x="0" y="222"/>
                </a:lnTo>
                <a:lnTo>
                  <a:pt x="0" y="234"/>
                </a:lnTo>
                <a:lnTo>
                  <a:pt x="78" y="296"/>
                </a:lnTo>
                <a:lnTo>
                  <a:pt x="78" y="296"/>
                </a:lnTo>
                <a:lnTo>
                  <a:pt x="220" y="404"/>
                </a:lnTo>
                <a:lnTo>
                  <a:pt x="220" y="404"/>
                </a:lnTo>
                <a:lnTo>
                  <a:pt x="224" y="408"/>
                </a:lnTo>
                <a:lnTo>
                  <a:pt x="228" y="408"/>
                </a:lnTo>
                <a:lnTo>
                  <a:pt x="230" y="408"/>
                </a:lnTo>
                <a:lnTo>
                  <a:pt x="232" y="410"/>
                </a:lnTo>
                <a:lnTo>
                  <a:pt x="232" y="410"/>
                </a:lnTo>
                <a:lnTo>
                  <a:pt x="232" y="412"/>
                </a:lnTo>
                <a:lnTo>
                  <a:pt x="232" y="412"/>
                </a:lnTo>
                <a:lnTo>
                  <a:pt x="230" y="414"/>
                </a:lnTo>
                <a:lnTo>
                  <a:pt x="232" y="416"/>
                </a:lnTo>
                <a:lnTo>
                  <a:pt x="232" y="416"/>
                </a:lnTo>
                <a:lnTo>
                  <a:pt x="236" y="416"/>
                </a:lnTo>
                <a:lnTo>
                  <a:pt x="238" y="418"/>
                </a:lnTo>
                <a:lnTo>
                  <a:pt x="240" y="418"/>
                </a:lnTo>
                <a:lnTo>
                  <a:pt x="242" y="420"/>
                </a:lnTo>
                <a:lnTo>
                  <a:pt x="242" y="420"/>
                </a:lnTo>
                <a:lnTo>
                  <a:pt x="244" y="424"/>
                </a:lnTo>
                <a:lnTo>
                  <a:pt x="246" y="424"/>
                </a:lnTo>
                <a:lnTo>
                  <a:pt x="248" y="426"/>
                </a:lnTo>
                <a:lnTo>
                  <a:pt x="248" y="426"/>
                </a:lnTo>
                <a:lnTo>
                  <a:pt x="250" y="430"/>
                </a:lnTo>
                <a:lnTo>
                  <a:pt x="246" y="436"/>
                </a:lnTo>
                <a:lnTo>
                  <a:pt x="244" y="440"/>
                </a:lnTo>
                <a:lnTo>
                  <a:pt x="242" y="446"/>
                </a:lnTo>
                <a:lnTo>
                  <a:pt x="242" y="446"/>
                </a:lnTo>
                <a:lnTo>
                  <a:pt x="244" y="448"/>
                </a:lnTo>
                <a:lnTo>
                  <a:pt x="248" y="446"/>
                </a:lnTo>
                <a:lnTo>
                  <a:pt x="266" y="440"/>
                </a:lnTo>
                <a:lnTo>
                  <a:pt x="266" y="440"/>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60" name="Freeform 151"/>
          <p:cNvSpPr>
            <a:spLocks/>
          </p:cNvSpPr>
          <p:nvPr/>
        </p:nvSpPr>
        <p:spPr bwMode="auto">
          <a:xfrm>
            <a:off x="4495865" y="1705473"/>
            <a:ext cx="95711" cy="193471"/>
          </a:xfrm>
          <a:custGeom>
            <a:avLst/>
            <a:gdLst/>
            <a:ahLst/>
            <a:cxnLst>
              <a:cxn ang="0">
                <a:pos x="34" y="142"/>
              </a:cxn>
              <a:cxn ang="0">
                <a:pos x="26" y="126"/>
              </a:cxn>
              <a:cxn ang="0">
                <a:pos x="20" y="120"/>
              </a:cxn>
              <a:cxn ang="0">
                <a:pos x="12" y="102"/>
              </a:cxn>
              <a:cxn ang="0">
                <a:pos x="4" y="96"/>
              </a:cxn>
              <a:cxn ang="0">
                <a:pos x="0" y="78"/>
              </a:cxn>
              <a:cxn ang="0">
                <a:pos x="8" y="72"/>
              </a:cxn>
              <a:cxn ang="0">
                <a:pos x="14" y="64"/>
              </a:cxn>
              <a:cxn ang="0">
                <a:pos x="18" y="60"/>
              </a:cxn>
              <a:cxn ang="0">
                <a:pos x="18" y="52"/>
              </a:cxn>
              <a:cxn ang="0">
                <a:pos x="18" y="44"/>
              </a:cxn>
              <a:cxn ang="0">
                <a:pos x="16" y="26"/>
              </a:cxn>
              <a:cxn ang="0">
                <a:pos x="14" y="22"/>
              </a:cxn>
              <a:cxn ang="0">
                <a:pos x="18" y="16"/>
              </a:cxn>
              <a:cxn ang="0">
                <a:pos x="34" y="4"/>
              </a:cxn>
              <a:cxn ang="0">
                <a:pos x="48" y="0"/>
              </a:cxn>
              <a:cxn ang="0">
                <a:pos x="54" y="4"/>
              </a:cxn>
              <a:cxn ang="0">
                <a:pos x="56" y="4"/>
              </a:cxn>
              <a:cxn ang="0">
                <a:pos x="54" y="10"/>
              </a:cxn>
              <a:cxn ang="0">
                <a:pos x="54" y="14"/>
              </a:cxn>
              <a:cxn ang="0">
                <a:pos x="60" y="12"/>
              </a:cxn>
              <a:cxn ang="0">
                <a:pos x="70" y="12"/>
              </a:cxn>
              <a:cxn ang="0">
                <a:pos x="70" y="14"/>
              </a:cxn>
              <a:cxn ang="0">
                <a:pos x="70" y="18"/>
              </a:cxn>
              <a:cxn ang="0">
                <a:pos x="66" y="24"/>
              </a:cxn>
              <a:cxn ang="0">
                <a:pos x="68" y="36"/>
              </a:cxn>
              <a:cxn ang="0">
                <a:pos x="76" y="46"/>
              </a:cxn>
              <a:cxn ang="0">
                <a:pos x="78" y="52"/>
              </a:cxn>
              <a:cxn ang="0">
                <a:pos x="74" y="64"/>
              </a:cxn>
              <a:cxn ang="0">
                <a:pos x="58" y="72"/>
              </a:cxn>
              <a:cxn ang="0">
                <a:pos x="54" y="80"/>
              </a:cxn>
              <a:cxn ang="0">
                <a:pos x="64" y="88"/>
              </a:cxn>
              <a:cxn ang="0">
                <a:pos x="70" y="86"/>
              </a:cxn>
              <a:cxn ang="0">
                <a:pos x="72" y="86"/>
              </a:cxn>
              <a:cxn ang="0">
                <a:pos x="70" y="90"/>
              </a:cxn>
              <a:cxn ang="0">
                <a:pos x="76" y="94"/>
              </a:cxn>
              <a:cxn ang="0">
                <a:pos x="80" y="110"/>
              </a:cxn>
              <a:cxn ang="0">
                <a:pos x="84" y="112"/>
              </a:cxn>
              <a:cxn ang="0">
                <a:pos x="78" y="118"/>
              </a:cxn>
              <a:cxn ang="0">
                <a:pos x="64" y="128"/>
              </a:cxn>
              <a:cxn ang="0">
                <a:pos x="58" y="136"/>
              </a:cxn>
              <a:cxn ang="0">
                <a:pos x="58" y="146"/>
              </a:cxn>
              <a:cxn ang="0">
                <a:pos x="58" y="158"/>
              </a:cxn>
              <a:cxn ang="0">
                <a:pos x="40" y="170"/>
              </a:cxn>
            </a:cxnLst>
            <a:rect l="0" t="0" r="r" b="b"/>
            <a:pathLst>
              <a:path w="84" h="170">
                <a:moveTo>
                  <a:pt x="40" y="170"/>
                </a:moveTo>
                <a:lnTo>
                  <a:pt x="40" y="170"/>
                </a:lnTo>
                <a:lnTo>
                  <a:pt x="34" y="142"/>
                </a:lnTo>
                <a:lnTo>
                  <a:pt x="32" y="132"/>
                </a:lnTo>
                <a:lnTo>
                  <a:pt x="30" y="128"/>
                </a:lnTo>
                <a:lnTo>
                  <a:pt x="26" y="126"/>
                </a:lnTo>
                <a:lnTo>
                  <a:pt x="26" y="126"/>
                </a:lnTo>
                <a:lnTo>
                  <a:pt x="22" y="124"/>
                </a:lnTo>
                <a:lnTo>
                  <a:pt x="20" y="120"/>
                </a:lnTo>
                <a:lnTo>
                  <a:pt x="16" y="112"/>
                </a:lnTo>
                <a:lnTo>
                  <a:pt x="14" y="106"/>
                </a:lnTo>
                <a:lnTo>
                  <a:pt x="12" y="102"/>
                </a:lnTo>
                <a:lnTo>
                  <a:pt x="8" y="98"/>
                </a:lnTo>
                <a:lnTo>
                  <a:pt x="8" y="98"/>
                </a:lnTo>
                <a:lnTo>
                  <a:pt x="4" y="96"/>
                </a:lnTo>
                <a:lnTo>
                  <a:pt x="2" y="92"/>
                </a:lnTo>
                <a:lnTo>
                  <a:pt x="0" y="84"/>
                </a:lnTo>
                <a:lnTo>
                  <a:pt x="0" y="78"/>
                </a:lnTo>
                <a:lnTo>
                  <a:pt x="4" y="74"/>
                </a:lnTo>
                <a:lnTo>
                  <a:pt x="4" y="74"/>
                </a:lnTo>
                <a:lnTo>
                  <a:pt x="8" y="72"/>
                </a:lnTo>
                <a:lnTo>
                  <a:pt x="10" y="70"/>
                </a:lnTo>
                <a:lnTo>
                  <a:pt x="10" y="66"/>
                </a:lnTo>
                <a:lnTo>
                  <a:pt x="14" y="64"/>
                </a:lnTo>
                <a:lnTo>
                  <a:pt x="14" y="64"/>
                </a:lnTo>
                <a:lnTo>
                  <a:pt x="18" y="62"/>
                </a:lnTo>
                <a:lnTo>
                  <a:pt x="18" y="60"/>
                </a:lnTo>
                <a:lnTo>
                  <a:pt x="18" y="56"/>
                </a:lnTo>
                <a:lnTo>
                  <a:pt x="18" y="52"/>
                </a:lnTo>
                <a:lnTo>
                  <a:pt x="18" y="52"/>
                </a:lnTo>
                <a:lnTo>
                  <a:pt x="20" y="50"/>
                </a:lnTo>
                <a:lnTo>
                  <a:pt x="18" y="48"/>
                </a:lnTo>
                <a:lnTo>
                  <a:pt x="18" y="44"/>
                </a:lnTo>
                <a:lnTo>
                  <a:pt x="16" y="38"/>
                </a:lnTo>
                <a:lnTo>
                  <a:pt x="16" y="38"/>
                </a:lnTo>
                <a:lnTo>
                  <a:pt x="16" y="26"/>
                </a:lnTo>
                <a:lnTo>
                  <a:pt x="16" y="24"/>
                </a:lnTo>
                <a:lnTo>
                  <a:pt x="14" y="22"/>
                </a:lnTo>
                <a:lnTo>
                  <a:pt x="14" y="22"/>
                </a:lnTo>
                <a:lnTo>
                  <a:pt x="12" y="22"/>
                </a:lnTo>
                <a:lnTo>
                  <a:pt x="14" y="20"/>
                </a:lnTo>
                <a:lnTo>
                  <a:pt x="18" y="16"/>
                </a:lnTo>
                <a:lnTo>
                  <a:pt x="22" y="10"/>
                </a:lnTo>
                <a:lnTo>
                  <a:pt x="22" y="10"/>
                </a:lnTo>
                <a:lnTo>
                  <a:pt x="34" y="4"/>
                </a:lnTo>
                <a:lnTo>
                  <a:pt x="42" y="2"/>
                </a:lnTo>
                <a:lnTo>
                  <a:pt x="42" y="2"/>
                </a:lnTo>
                <a:lnTo>
                  <a:pt x="48" y="0"/>
                </a:lnTo>
                <a:lnTo>
                  <a:pt x="50" y="0"/>
                </a:lnTo>
                <a:lnTo>
                  <a:pt x="52" y="2"/>
                </a:lnTo>
                <a:lnTo>
                  <a:pt x="54" y="4"/>
                </a:lnTo>
                <a:lnTo>
                  <a:pt x="54" y="4"/>
                </a:lnTo>
                <a:lnTo>
                  <a:pt x="56" y="4"/>
                </a:lnTo>
                <a:lnTo>
                  <a:pt x="56" y="4"/>
                </a:lnTo>
                <a:lnTo>
                  <a:pt x="54" y="6"/>
                </a:lnTo>
                <a:lnTo>
                  <a:pt x="52" y="8"/>
                </a:lnTo>
                <a:lnTo>
                  <a:pt x="54" y="10"/>
                </a:lnTo>
                <a:lnTo>
                  <a:pt x="54" y="10"/>
                </a:lnTo>
                <a:lnTo>
                  <a:pt x="54" y="12"/>
                </a:lnTo>
                <a:lnTo>
                  <a:pt x="54" y="14"/>
                </a:lnTo>
                <a:lnTo>
                  <a:pt x="54" y="14"/>
                </a:lnTo>
                <a:lnTo>
                  <a:pt x="60" y="12"/>
                </a:lnTo>
                <a:lnTo>
                  <a:pt x="60" y="12"/>
                </a:lnTo>
                <a:lnTo>
                  <a:pt x="68" y="10"/>
                </a:lnTo>
                <a:lnTo>
                  <a:pt x="70" y="10"/>
                </a:lnTo>
                <a:lnTo>
                  <a:pt x="70" y="12"/>
                </a:lnTo>
                <a:lnTo>
                  <a:pt x="70" y="12"/>
                </a:lnTo>
                <a:lnTo>
                  <a:pt x="70" y="14"/>
                </a:lnTo>
                <a:lnTo>
                  <a:pt x="70" y="14"/>
                </a:lnTo>
                <a:lnTo>
                  <a:pt x="70" y="16"/>
                </a:lnTo>
                <a:lnTo>
                  <a:pt x="70" y="18"/>
                </a:lnTo>
                <a:lnTo>
                  <a:pt x="70" y="18"/>
                </a:lnTo>
                <a:lnTo>
                  <a:pt x="68" y="22"/>
                </a:lnTo>
                <a:lnTo>
                  <a:pt x="66" y="22"/>
                </a:lnTo>
                <a:lnTo>
                  <a:pt x="66" y="24"/>
                </a:lnTo>
                <a:lnTo>
                  <a:pt x="66" y="30"/>
                </a:lnTo>
                <a:lnTo>
                  <a:pt x="66" y="30"/>
                </a:lnTo>
                <a:lnTo>
                  <a:pt x="68" y="36"/>
                </a:lnTo>
                <a:lnTo>
                  <a:pt x="72" y="40"/>
                </a:lnTo>
                <a:lnTo>
                  <a:pt x="74" y="42"/>
                </a:lnTo>
                <a:lnTo>
                  <a:pt x="76" y="46"/>
                </a:lnTo>
                <a:lnTo>
                  <a:pt x="76" y="46"/>
                </a:lnTo>
                <a:lnTo>
                  <a:pt x="76" y="50"/>
                </a:lnTo>
                <a:lnTo>
                  <a:pt x="78" y="52"/>
                </a:lnTo>
                <a:lnTo>
                  <a:pt x="78" y="56"/>
                </a:lnTo>
                <a:lnTo>
                  <a:pt x="74" y="64"/>
                </a:lnTo>
                <a:lnTo>
                  <a:pt x="74" y="64"/>
                </a:lnTo>
                <a:lnTo>
                  <a:pt x="68" y="70"/>
                </a:lnTo>
                <a:lnTo>
                  <a:pt x="62" y="72"/>
                </a:lnTo>
                <a:lnTo>
                  <a:pt x="58" y="72"/>
                </a:lnTo>
                <a:lnTo>
                  <a:pt x="54" y="76"/>
                </a:lnTo>
                <a:lnTo>
                  <a:pt x="54" y="76"/>
                </a:lnTo>
                <a:lnTo>
                  <a:pt x="54" y="80"/>
                </a:lnTo>
                <a:lnTo>
                  <a:pt x="54" y="82"/>
                </a:lnTo>
                <a:lnTo>
                  <a:pt x="58" y="88"/>
                </a:lnTo>
                <a:lnTo>
                  <a:pt x="64" y="88"/>
                </a:lnTo>
                <a:lnTo>
                  <a:pt x="68" y="88"/>
                </a:lnTo>
                <a:lnTo>
                  <a:pt x="68" y="88"/>
                </a:lnTo>
                <a:lnTo>
                  <a:pt x="70" y="86"/>
                </a:lnTo>
                <a:lnTo>
                  <a:pt x="68" y="84"/>
                </a:lnTo>
                <a:lnTo>
                  <a:pt x="72" y="86"/>
                </a:lnTo>
                <a:lnTo>
                  <a:pt x="72" y="86"/>
                </a:lnTo>
                <a:lnTo>
                  <a:pt x="74" y="88"/>
                </a:lnTo>
                <a:lnTo>
                  <a:pt x="72" y="90"/>
                </a:lnTo>
                <a:lnTo>
                  <a:pt x="70" y="90"/>
                </a:lnTo>
                <a:lnTo>
                  <a:pt x="72" y="92"/>
                </a:lnTo>
                <a:lnTo>
                  <a:pt x="72" y="92"/>
                </a:lnTo>
                <a:lnTo>
                  <a:pt x="76" y="94"/>
                </a:lnTo>
                <a:lnTo>
                  <a:pt x="78" y="96"/>
                </a:lnTo>
                <a:lnTo>
                  <a:pt x="82" y="98"/>
                </a:lnTo>
                <a:lnTo>
                  <a:pt x="80" y="110"/>
                </a:lnTo>
                <a:lnTo>
                  <a:pt x="80" y="110"/>
                </a:lnTo>
                <a:lnTo>
                  <a:pt x="82" y="110"/>
                </a:lnTo>
                <a:lnTo>
                  <a:pt x="84" y="112"/>
                </a:lnTo>
                <a:lnTo>
                  <a:pt x="82" y="116"/>
                </a:lnTo>
                <a:lnTo>
                  <a:pt x="78" y="118"/>
                </a:lnTo>
                <a:lnTo>
                  <a:pt x="78" y="118"/>
                </a:lnTo>
                <a:lnTo>
                  <a:pt x="70" y="122"/>
                </a:lnTo>
                <a:lnTo>
                  <a:pt x="66" y="124"/>
                </a:lnTo>
                <a:lnTo>
                  <a:pt x="64" y="128"/>
                </a:lnTo>
                <a:lnTo>
                  <a:pt x="64" y="128"/>
                </a:lnTo>
                <a:lnTo>
                  <a:pt x="62" y="132"/>
                </a:lnTo>
                <a:lnTo>
                  <a:pt x="58" y="136"/>
                </a:lnTo>
                <a:lnTo>
                  <a:pt x="56" y="140"/>
                </a:lnTo>
                <a:lnTo>
                  <a:pt x="58" y="146"/>
                </a:lnTo>
                <a:lnTo>
                  <a:pt x="58" y="146"/>
                </a:lnTo>
                <a:lnTo>
                  <a:pt x="60" y="150"/>
                </a:lnTo>
                <a:lnTo>
                  <a:pt x="60" y="154"/>
                </a:lnTo>
                <a:lnTo>
                  <a:pt x="58" y="158"/>
                </a:lnTo>
                <a:lnTo>
                  <a:pt x="54" y="162"/>
                </a:lnTo>
                <a:lnTo>
                  <a:pt x="46" y="166"/>
                </a:lnTo>
                <a:lnTo>
                  <a:pt x="40" y="170"/>
                </a:lnTo>
                <a:lnTo>
                  <a:pt x="40" y="170"/>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61" name="Freeform 152"/>
          <p:cNvSpPr>
            <a:spLocks/>
          </p:cNvSpPr>
          <p:nvPr/>
        </p:nvSpPr>
        <p:spPr bwMode="auto">
          <a:xfrm>
            <a:off x="5040504" y="2786631"/>
            <a:ext cx="59250" cy="59180"/>
          </a:xfrm>
          <a:custGeom>
            <a:avLst/>
            <a:gdLst/>
            <a:ahLst/>
            <a:cxnLst>
              <a:cxn ang="0">
                <a:pos x="20" y="6"/>
              </a:cxn>
              <a:cxn ang="0">
                <a:pos x="20" y="6"/>
              </a:cxn>
              <a:cxn ang="0">
                <a:pos x="26" y="4"/>
              </a:cxn>
              <a:cxn ang="0">
                <a:pos x="28" y="4"/>
              </a:cxn>
              <a:cxn ang="0">
                <a:pos x="30" y="6"/>
              </a:cxn>
              <a:cxn ang="0">
                <a:pos x="40" y="2"/>
              </a:cxn>
              <a:cxn ang="0">
                <a:pos x="40" y="2"/>
              </a:cxn>
              <a:cxn ang="0">
                <a:pos x="46" y="0"/>
              </a:cxn>
              <a:cxn ang="0">
                <a:pos x="50" y="0"/>
              </a:cxn>
              <a:cxn ang="0">
                <a:pos x="50" y="0"/>
              </a:cxn>
              <a:cxn ang="0">
                <a:pos x="48" y="4"/>
              </a:cxn>
              <a:cxn ang="0">
                <a:pos x="48" y="8"/>
              </a:cxn>
              <a:cxn ang="0">
                <a:pos x="48" y="16"/>
              </a:cxn>
              <a:cxn ang="0">
                <a:pos x="52" y="22"/>
              </a:cxn>
              <a:cxn ang="0">
                <a:pos x="52" y="26"/>
              </a:cxn>
              <a:cxn ang="0">
                <a:pos x="50" y="32"/>
              </a:cxn>
              <a:cxn ang="0">
                <a:pos x="50" y="32"/>
              </a:cxn>
              <a:cxn ang="0">
                <a:pos x="48" y="38"/>
              </a:cxn>
              <a:cxn ang="0">
                <a:pos x="46" y="42"/>
              </a:cxn>
              <a:cxn ang="0">
                <a:pos x="42" y="44"/>
              </a:cxn>
              <a:cxn ang="0">
                <a:pos x="34" y="42"/>
              </a:cxn>
              <a:cxn ang="0">
                <a:pos x="34" y="42"/>
              </a:cxn>
              <a:cxn ang="0">
                <a:pos x="28" y="40"/>
              </a:cxn>
              <a:cxn ang="0">
                <a:pos x="24" y="40"/>
              </a:cxn>
              <a:cxn ang="0">
                <a:pos x="18" y="40"/>
              </a:cxn>
              <a:cxn ang="0">
                <a:pos x="18" y="42"/>
              </a:cxn>
              <a:cxn ang="0">
                <a:pos x="18" y="46"/>
              </a:cxn>
              <a:cxn ang="0">
                <a:pos x="18" y="46"/>
              </a:cxn>
              <a:cxn ang="0">
                <a:pos x="18" y="52"/>
              </a:cxn>
              <a:cxn ang="0">
                <a:pos x="16" y="52"/>
              </a:cxn>
              <a:cxn ang="0">
                <a:pos x="10" y="50"/>
              </a:cxn>
              <a:cxn ang="0">
                <a:pos x="6" y="50"/>
              </a:cxn>
              <a:cxn ang="0">
                <a:pos x="2" y="50"/>
              </a:cxn>
              <a:cxn ang="0">
                <a:pos x="2" y="50"/>
              </a:cxn>
              <a:cxn ang="0">
                <a:pos x="0" y="42"/>
              </a:cxn>
              <a:cxn ang="0">
                <a:pos x="2" y="38"/>
              </a:cxn>
              <a:cxn ang="0">
                <a:pos x="4" y="36"/>
              </a:cxn>
              <a:cxn ang="0">
                <a:pos x="6" y="36"/>
              </a:cxn>
              <a:cxn ang="0">
                <a:pos x="6" y="36"/>
              </a:cxn>
              <a:cxn ang="0">
                <a:pos x="12" y="32"/>
              </a:cxn>
              <a:cxn ang="0">
                <a:pos x="14" y="28"/>
              </a:cxn>
              <a:cxn ang="0">
                <a:pos x="14" y="26"/>
              </a:cxn>
              <a:cxn ang="0">
                <a:pos x="14" y="22"/>
              </a:cxn>
              <a:cxn ang="0">
                <a:pos x="14" y="14"/>
              </a:cxn>
              <a:cxn ang="0">
                <a:pos x="16" y="10"/>
              </a:cxn>
              <a:cxn ang="0">
                <a:pos x="20" y="6"/>
              </a:cxn>
              <a:cxn ang="0">
                <a:pos x="20" y="6"/>
              </a:cxn>
            </a:cxnLst>
            <a:rect l="0" t="0" r="r" b="b"/>
            <a:pathLst>
              <a:path w="52" h="52">
                <a:moveTo>
                  <a:pt x="20" y="6"/>
                </a:moveTo>
                <a:lnTo>
                  <a:pt x="20" y="6"/>
                </a:lnTo>
                <a:lnTo>
                  <a:pt x="26" y="4"/>
                </a:lnTo>
                <a:lnTo>
                  <a:pt x="28" y="4"/>
                </a:lnTo>
                <a:lnTo>
                  <a:pt x="30" y="6"/>
                </a:lnTo>
                <a:lnTo>
                  <a:pt x="40" y="2"/>
                </a:lnTo>
                <a:lnTo>
                  <a:pt x="40" y="2"/>
                </a:lnTo>
                <a:lnTo>
                  <a:pt x="46" y="0"/>
                </a:lnTo>
                <a:lnTo>
                  <a:pt x="50" y="0"/>
                </a:lnTo>
                <a:lnTo>
                  <a:pt x="50" y="0"/>
                </a:lnTo>
                <a:lnTo>
                  <a:pt x="48" y="4"/>
                </a:lnTo>
                <a:lnTo>
                  <a:pt x="48" y="8"/>
                </a:lnTo>
                <a:lnTo>
                  <a:pt x="48" y="16"/>
                </a:lnTo>
                <a:lnTo>
                  <a:pt x="52" y="22"/>
                </a:lnTo>
                <a:lnTo>
                  <a:pt x="52" y="26"/>
                </a:lnTo>
                <a:lnTo>
                  <a:pt x="50" y="32"/>
                </a:lnTo>
                <a:lnTo>
                  <a:pt x="50" y="32"/>
                </a:lnTo>
                <a:lnTo>
                  <a:pt x="48" y="38"/>
                </a:lnTo>
                <a:lnTo>
                  <a:pt x="46" y="42"/>
                </a:lnTo>
                <a:lnTo>
                  <a:pt x="42" y="44"/>
                </a:lnTo>
                <a:lnTo>
                  <a:pt x="34" y="42"/>
                </a:lnTo>
                <a:lnTo>
                  <a:pt x="34" y="42"/>
                </a:lnTo>
                <a:lnTo>
                  <a:pt x="28" y="40"/>
                </a:lnTo>
                <a:lnTo>
                  <a:pt x="24" y="40"/>
                </a:lnTo>
                <a:lnTo>
                  <a:pt x="18" y="40"/>
                </a:lnTo>
                <a:lnTo>
                  <a:pt x="18" y="42"/>
                </a:lnTo>
                <a:lnTo>
                  <a:pt x="18" y="46"/>
                </a:lnTo>
                <a:lnTo>
                  <a:pt x="18" y="46"/>
                </a:lnTo>
                <a:lnTo>
                  <a:pt x="18" y="52"/>
                </a:lnTo>
                <a:lnTo>
                  <a:pt x="16" y="52"/>
                </a:lnTo>
                <a:lnTo>
                  <a:pt x="10" y="50"/>
                </a:lnTo>
                <a:lnTo>
                  <a:pt x="6" y="50"/>
                </a:lnTo>
                <a:lnTo>
                  <a:pt x="2" y="50"/>
                </a:lnTo>
                <a:lnTo>
                  <a:pt x="2" y="50"/>
                </a:lnTo>
                <a:lnTo>
                  <a:pt x="0" y="42"/>
                </a:lnTo>
                <a:lnTo>
                  <a:pt x="2" y="38"/>
                </a:lnTo>
                <a:lnTo>
                  <a:pt x="4" y="36"/>
                </a:lnTo>
                <a:lnTo>
                  <a:pt x="6" y="36"/>
                </a:lnTo>
                <a:lnTo>
                  <a:pt x="6" y="36"/>
                </a:lnTo>
                <a:lnTo>
                  <a:pt x="12" y="32"/>
                </a:lnTo>
                <a:lnTo>
                  <a:pt x="14" y="28"/>
                </a:lnTo>
                <a:lnTo>
                  <a:pt x="14" y="26"/>
                </a:lnTo>
                <a:lnTo>
                  <a:pt x="14" y="22"/>
                </a:lnTo>
                <a:lnTo>
                  <a:pt x="14" y="14"/>
                </a:lnTo>
                <a:lnTo>
                  <a:pt x="16" y="10"/>
                </a:lnTo>
                <a:lnTo>
                  <a:pt x="20" y="6"/>
                </a:lnTo>
                <a:lnTo>
                  <a:pt x="20" y="6"/>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63" name="Freeform 155"/>
          <p:cNvSpPr>
            <a:spLocks/>
          </p:cNvSpPr>
          <p:nvPr/>
        </p:nvSpPr>
        <p:spPr bwMode="auto">
          <a:xfrm>
            <a:off x="4135810" y="2454318"/>
            <a:ext cx="148124" cy="182090"/>
          </a:xfrm>
          <a:custGeom>
            <a:avLst/>
            <a:gdLst/>
            <a:ahLst/>
            <a:cxnLst>
              <a:cxn ang="0">
                <a:pos x="112" y="140"/>
              </a:cxn>
              <a:cxn ang="0">
                <a:pos x="104" y="136"/>
              </a:cxn>
              <a:cxn ang="0">
                <a:pos x="94" y="136"/>
              </a:cxn>
              <a:cxn ang="0">
                <a:pos x="98" y="138"/>
              </a:cxn>
              <a:cxn ang="0">
                <a:pos x="108" y="140"/>
              </a:cxn>
              <a:cxn ang="0">
                <a:pos x="86" y="142"/>
              </a:cxn>
              <a:cxn ang="0">
                <a:pos x="60" y="146"/>
              </a:cxn>
              <a:cxn ang="0">
                <a:pos x="52" y="144"/>
              </a:cxn>
              <a:cxn ang="0">
                <a:pos x="48" y="148"/>
              </a:cxn>
              <a:cxn ang="0">
                <a:pos x="24" y="160"/>
              </a:cxn>
              <a:cxn ang="0">
                <a:pos x="16" y="160"/>
              </a:cxn>
              <a:cxn ang="0">
                <a:pos x="16" y="156"/>
              </a:cxn>
              <a:cxn ang="0">
                <a:pos x="18" y="138"/>
              </a:cxn>
              <a:cxn ang="0">
                <a:pos x="24" y="134"/>
              </a:cxn>
              <a:cxn ang="0">
                <a:pos x="22" y="126"/>
              </a:cxn>
              <a:cxn ang="0">
                <a:pos x="16" y="120"/>
              </a:cxn>
              <a:cxn ang="0">
                <a:pos x="8" y="114"/>
              </a:cxn>
              <a:cxn ang="0">
                <a:pos x="4" y="114"/>
              </a:cxn>
              <a:cxn ang="0">
                <a:pos x="0" y="106"/>
              </a:cxn>
              <a:cxn ang="0">
                <a:pos x="2" y="96"/>
              </a:cxn>
              <a:cxn ang="0">
                <a:pos x="2" y="88"/>
              </a:cxn>
              <a:cxn ang="0">
                <a:pos x="4" y="80"/>
              </a:cxn>
              <a:cxn ang="0">
                <a:pos x="8" y="72"/>
              </a:cxn>
              <a:cxn ang="0">
                <a:pos x="8" y="68"/>
              </a:cxn>
              <a:cxn ang="0">
                <a:pos x="4" y="64"/>
              </a:cxn>
              <a:cxn ang="0">
                <a:pos x="10" y="58"/>
              </a:cxn>
              <a:cxn ang="0">
                <a:pos x="16" y="56"/>
              </a:cxn>
              <a:cxn ang="0">
                <a:pos x="16" y="50"/>
              </a:cxn>
              <a:cxn ang="0">
                <a:pos x="16" y="44"/>
              </a:cxn>
              <a:cxn ang="0">
                <a:pos x="16" y="34"/>
              </a:cxn>
              <a:cxn ang="0">
                <a:pos x="14" y="30"/>
              </a:cxn>
              <a:cxn ang="0">
                <a:pos x="10" y="28"/>
              </a:cxn>
              <a:cxn ang="0">
                <a:pos x="6" y="26"/>
              </a:cxn>
              <a:cxn ang="0">
                <a:pos x="6" y="20"/>
              </a:cxn>
              <a:cxn ang="0">
                <a:pos x="14" y="10"/>
              </a:cxn>
              <a:cxn ang="0">
                <a:pos x="20" y="4"/>
              </a:cxn>
              <a:cxn ang="0">
                <a:pos x="28" y="10"/>
              </a:cxn>
              <a:cxn ang="0">
                <a:pos x="34" y="6"/>
              </a:cxn>
              <a:cxn ang="0">
                <a:pos x="42" y="2"/>
              </a:cxn>
              <a:cxn ang="0">
                <a:pos x="50" y="6"/>
              </a:cxn>
              <a:cxn ang="0">
                <a:pos x="56" y="2"/>
              </a:cxn>
              <a:cxn ang="0">
                <a:pos x="66" y="6"/>
              </a:cxn>
              <a:cxn ang="0">
                <a:pos x="74" y="18"/>
              </a:cxn>
              <a:cxn ang="0">
                <a:pos x="84" y="22"/>
              </a:cxn>
              <a:cxn ang="0">
                <a:pos x="100" y="20"/>
              </a:cxn>
              <a:cxn ang="0">
                <a:pos x="110" y="20"/>
              </a:cxn>
              <a:cxn ang="0">
                <a:pos x="114" y="20"/>
              </a:cxn>
              <a:cxn ang="0">
                <a:pos x="122" y="26"/>
              </a:cxn>
              <a:cxn ang="0">
                <a:pos x="126" y="34"/>
              </a:cxn>
              <a:cxn ang="0">
                <a:pos x="128" y="46"/>
              </a:cxn>
              <a:cxn ang="0">
                <a:pos x="124" y="72"/>
              </a:cxn>
              <a:cxn ang="0">
                <a:pos x="120" y="86"/>
              </a:cxn>
              <a:cxn ang="0">
                <a:pos x="118" y="98"/>
              </a:cxn>
              <a:cxn ang="0">
                <a:pos x="116" y="116"/>
              </a:cxn>
              <a:cxn ang="0">
                <a:pos x="120" y="128"/>
              </a:cxn>
              <a:cxn ang="0">
                <a:pos x="124" y="134"/>
              </a:cxn>
              <a:cxn ang="0">
                <a:pos x="122" y="138"/>
              </a:cxn>
            </a:cxnLst>
            <a:rect l="0" t="0" r="r" b="b"/>
            <a:pathLst>
              <a:path w="130" h="160">
                <a:moveTo>
                  <a:pt x="120" y="140"/>
                </a:moveTo>
                <a:lnTo>
                  <a:pt x="120" y="140"/>
                </a:lnTo>
                <a:lnTo>
                  <a:pt x="112" y="140"/>
                </a:lnTo>
                <a:lnTo>
                  <a:pt x="110" y="138"/>
                </a:lnTo>
                <a:lnTo>
                  <a:pt x="108" y="136"/>
                </a:lnTo>
                <a:lnTo>
                  <a:pt x="104" y="136"/>
                </a:lnTo>
                <a:lnTo>
                  <a:pt x="104" y="136"/>
                </a:lnTo>
                <a:lnTo>
                  <a:pt x="98" y="136"/>
                </a:lnTo>
                <a:lnTo>
                  <a:pt x="94" y="136"/>
                </a:lnTo>
                <a:lnTo>
                  <a:pt x="94" y="136"/>
                </a:lnTo>
                <a:lnTo>
                  <a:pt x="94" y="136"/>
                </a:lnTo>
                <a:lnTo>
                  <a:pt x="98" y="138"/>
                </a:lnTo>
                <a:lnTo>
                  <a:pt x="102" y="138"/>
                </a:lnTo>
                <a:lnTo>
                  <a:pt x="104" y="138"/>
                </a:lnTo>
                <a:lnTo>
                  <a:pt x="108" y="140"/>
                </a:lnTo>
                <a:lnTo>
                  <a:pt x="108" y="140"/>
                </a:lnTo>
                <a:lnTo>
                  <a:pt x="100" y="140"/>
                </a:lnTo>
                <a:lnTo>
                  <a:pt x="86" y="142"/>
                </a:lnTo>
                <a:lnTo>
                  <a:pt x="86" y="142"/>
                </a:lnTo>
                <a:lnTo>
                  <a:pt x="70" y="144"/>
                </a:lnTo>
                <a:lnTo>
                  <a:pt x="60" y="146"/>
                </a:lnTo>
                <a:lnTo>
                  <a:pt x="56" y="148"/>
                </a:lnTo>
                <a:lnTo>
                  <a:pt x="54" y="146"/>
                </a:lnTo>
                <a:lnTo>
                  <a:pt x="52" y="144"/>
                </a:lnTo>
                <a:lnTo>
                  <a:pt x="48" y="140"/>
                </a:lnTo>
                <a:lnTo>
                  <a:pt x="48" y="140"/>
                </a:lnTo>
                <a:lnTo>
                  <a:pt x="48" y="148"/>
                </a:lnTo>
                <a:lnTo>
                  <a:pt x="42" y="152"/>
                </a:lnTo>
                <a:lnTo>
                  <a:pt x="34" y="156"/>
                </a:lnTo>
                <a:lnTo>
                  <a:pt x="24" y="160"/>
                </a:lnTo>
                <a:lnTo>
                  <a:pt x="24" y="160"/>
                </a:lnTo>
                <a:lnTo>
                  <a:pt x="18" y="160"/>
                </a:lnTo>
                <a:lnTo>
                  <a:pt x="16" y="160"/>
                </a:lnTo>
                <a:lnTo>
                  <a:pt x="14" y="158"/>
                </a:lnTo>
                <a:lnTo>
                  <a:pt x="16" y="156"/>
                </a:lnTo>
                <a:lnTo>
                  <a:pt x="16" y="156"/>
                </a:lnTo>
                <a:lnTo>
                  <a:pt x="16" y="148"/>
                </a:lnTo>
                <a:lnTo>
                  <a:pt x="16" y="142"/>
                </a:lnTo>
                <a:lnTo>
                  <a:pt x="18" y="138"/>
                </a:lnTo>
                <a:lnTo>
                  <a:pt x="20" y="138"/>
                </a:lnTo>
                <a:lnTo>
                  <a:pt x="24" y="136"/>
                </a:lnTo>
                <a:lnTo>
                  <a:pt x="24" y="134"/>
                </a:lnTo>
                <a:lnTo>
                  <a:pt x="22" y="130"/>
                </a:lnTo>
                <a:lnTo>
                  <a:pt x="22" y="130"/>
                </a:lnTo>
                <a:lnTo>
                  <a:pt x="22" y="126"/>
                </a:lnTo>
                <a:lnTo>
                  <a:pt x="22" y="122"/>
                </a:lnTo>
                <a:lnTo>
                  <a:pt x="22" y="122"/>
                </a:lnTo>
                <a:lnTo>
                  <a:pt x="16" y="120"/>
                </a:lnTo>
                <a:lnTo>
                  <a:pt x="16" y="120"/>
                </a:lnTo>
                <a:lnTo>
                  <a:pt x="10" y="116"/>
                </a:lnTo>
                <a:lnTo>
                  <a:pt x="8" y="114"/>
                </a:lnTo>
                <a:lnTo>
                  <a:pt x="8" y="114"/>
                </a:lnTo>
                <a:lnTo>
                  <a:pt x="4" y="114"/>
                </a:lnTo>
                <a:lnTo>
                  <a:pt x="4" y="114"/>
                </a:lnTo>
                <a:lnTo>
                  <a:pt x="2" y="112"/>
                </a:lnTo>
                <a:lnTo>
                  <a:pt x="0" y="112"/>
                </a:lnTo>
                <a:lnTo>
                  <a:pt x="0" y="106"/>
                </a:lnTo>
                <a:lnTo>
                  <a:pt x="2" y="100"/>
                </a:lnTo>
                <a:lnTo>
                  <a:pt x="2" y="96"/>
                </a:lnTo>
                <a:lnTo>
                  <a:pt x="2" y="96"/>
                </a:lnTo>
                <a:lnTo>
                  <a:pt x="2" y="94"/>
                </a:lnTo>
                <a:lnTo>
                  <a:pt x="2" y="90"/>
                </a:lnTo>
                <a:lnTo>
                  <a:pt x="2" y="88"/>
                </a:lnTo>
                <a:lnTo>
                  <a:pt x="0" y="82"/>
                </a:lnTo>
                <a:lnTo>
                  <a:pt x="0" y="82"/>
                </a:lnTo>
                <a:lnTo>
                  <a:pt x="4" y="80"/>
                </a:lnTo>
                <a:lnTo>
                  <a:pt x="4" y="78"/>
                </a:lnTo>
                <a:lnTo>
                  <a:pt x="4" y="76"/>
                </a:lnTo>
                <a:lnTo>
                  <a:pt x="8" y="72"/>
                </a:lnTo>
                <a:lnTo>
                  <a:pt x="8" y="72"/>
                </a:lnTo>
                <a:lnTo>
                  <a:pt x="10" y="70"/>
                </a:lnTo>
                <a:lnTo>
                  <a:pt x="8" y="68"/>
                </a:lnTo>
                <a:lnTo>
                  <a:pt x="6" y="68"/>
                </a:lnTo>
                <a:lnTo>
                  <a:pt x="4" y="64"/>
                </a:lnTo>
                <a:lnTo>
                  <a:pt x="4" y="64"/>
                </a:lnTo>
                <a:lnTo>
                  <a:pt x="4" y="62"/>
                </a:lnTo>
                <a:lnTo>
                  <a:pt x="6" y="60"/>
                </a:lnTo>
                <a:lnTo>
                  <a:pt x="10" y="58"/>
                </a:lnTo>
                <a:lnTo>
                  <a:pt x="16" y="60"/>
                </a:lnTo>
                <a:lnTo>
                  <a:pt x="16" y="58"/>
                </a:lnTo>
                <a:lnTo>
                  <a:pt x="16" y="56"/>
                </a:lnTo>
                <a:lnTo>
                  <a:pt x="16" y="56"/>
                </a:lnTo>
                <a:lnTo>
                  <a:pt x="14" y="52"/>
                </a:lnTo>
                <a:lnTo>
                  <a:pt x="16" y="50"/>
                </a:lnTo>
                <a:lnTo>
                  <a:pt x="16" y="46"/>
                </a:lnTo>
                <a:lnTo>
                  <a:pt x="16" y="44"/>
                </a:lnTo>
                <a:lnTo>
                  <a:pt x="16" y="44"/>
                </a:lnTo>
                <a:lnTo>
                  <a:pt x="14" y="40"/>
                </a:lnTo>
                <a:lnTo>
                  <a:pt x="16" y="36"/>
                </a:lnTo>
                <a:lnTo>
                  <a:pt x="16" y="34"/>
                </a:lnTo>
                <a:lnTo>
                  <a:pt x="16" y="32"/>
                </a:lnTo>
                <a:lnTo>
                  <a:pt x="16" y="32"/>
                </a:lnTo>
                <a:lnTo>
                  <a:pt x="14" y="30"/>
                </a:lnTo>
                <a:lnTo>
                  <a:pt x="12" y="30"/>
                </a:lnTo>
                <a:lnTo>
                  <a:pt x="12" y="32"/>
                </a:lnTo>
                <a:lnTo>
                  <a:pt x="10" y="28"/>
                </a:lnTo>
                <a:lnTo>
                  <a:pt x="10" y="28"/>
                </a:lnTo>
                <a:lnTo>
                  <a:pt x="8" y="26"/>
                </a:lnTo>
                <a:lnTo>
                  <a:pt x="6" y="26"/>
                </a:lnTo>
                <a:lnTo>
                  <a:pt x="6" y="26"/>
                </a:lnTo>
                <a:lnTo>
                  <a:pt x="6" y="20"/>
                </a:lnTo>
                <a:lnTo>
                  <a:pt x="6" y="20"/>
                </a:lnTo>
                <a:lnTo>
                  <a:pt x="10" y="14"/>
                </a:lnTo>
                <a:lnTo>
                  <a:pt x="12" y="10"/>
                </a:lnTo>
                <a:lnTo>
                  <a:pt x="14" y="10"/>
                </a:lnTo>
                <a:lnTo>
                  <a:pt x="14" y="10"/>
                </a:lnTo>
                <a:lnTo>
                  <a:pt x="18" y="6"/>
                </a:lnTo>
                <a:lnTo>
                  <a:pt x="20" y="4"/>
                </a:lnTo>
                <a:lnTo>
                  <a:pt x="24" y="6"/>
                </a:lnTo>
                <a:lnTo>
                  <a:pt x="24" y="6"/>
                </a:lnTo>
                <a:lnTo>
                  <a:pt x="28" y="10"/>
                </a:lnTo>
                <a:lnTo>
                  <a:pt x="30" y="8"/>
                </a:lnTo>
                <a:lnTo>
                  <a:pt x="34" y="6"/>
                </a:lnTo>
                <a:lnTo>
                  <a:pt x="34" y="6"/>
                </a:lnTo>
                <a:lnTo>
                  <a:pt x="36" y="2"/>
                </a:lnTo>
                <a:lnTo>
                  <a:pt x="40" y="0"/>
                </a:lnTo>
                <a:lnTo>
                  <a:pt x="42" y="2"/>
                </a:lnTo>
                <a:lnTo>
                  <a:pt x="44" y="2"/>
                </a:lnTo>
                <a:lnTo>
                  <a:pt x="48" y="6"/>
                </a:lnTo>
                <a:lnTo>
                  <a:pt x="50" y="6"/>
                </a:lnTo>
                <a:lnTo>
                  <a:pt x="52" y="4"/>
                </a:lnTo>
                <a:lnTo>
                  <a:pt x="52" y="4"/>
                </a:lnTo>
                <a:lnTo>
                  <a:pt x="56" y="2"/>
                </a:lnTo>
                <a:lnTo>
                  <a:pt x="60" y="4"/>
                </a:lnTo>
                <a:lnTo>
                  <a:pt x="66" y="6"/>
                </a:lnTo>
                <a:lnTo>
                  <a:pt x="66" y="6"/>
                </a:lnTo>
                <a:lnTo>
                  <a:pt x="72" y="10"/>
                </a:lnTo>
                <a:lnTo>
                  <a:pt x="74" y="14"/>
                </a:lnTo>
                <a:lnTo>
                  <a:pt x="74" y="18"/>
                </a:lnTo>
                <a:lnTo>
                  <a:pt x="78" y="22"/>
                </a:lnTo>
                <a:lnTo>
                  <a:pt x="78" y="22"/>
                </a:lnTo>
                <a:lnTo>
                  <a:pt x="84" y="22"/>
                </a:lnTo>
                <a:lnTo>
                  <a:pt x="96" y="20"/>
                </a:lnTo>
                <a:lnTo>
                  <a:pt x="96" y="20"/>
                </a:lnTo>
                <a:lnTo>
                  <a:pt x="100" y="20"/>
                </a:lnTo>
                <a:lnTo>
                  <a:pt x="104" y="20"/>
                </a:lnTo>
                <a:lnTo>
                  <a:pt x="108" y="22"/>
                </a:lnTo>
                <a:lnTo>
                  <a:pt x="110" y="20"/>
                </a:lnTo>
                <a:lnTo>
                  <a:pt x="110" y="20"/>
                </a:lnTo>
                <a:lnTo>
                  <a:pt x="112" y="20"/>
                </a:lnTo>
                <a:lnTo>
                  <a:pt x="114" y="20"/>
                </a:lnTo>
                <a:lnTo>
                  <a:pt x="118" y="24"/>
                </a:lnTo>
                <a:lnTo>
                  <a:pt x="122" y="26"/>
                </a:lnTo>
                <a:lnTo>
                  <a:pt x="122" y="26"/>
                </a:lnTo>
                <a:lnTo>
                  <a:pt x="126" y="30"/>
                </a:lnTo>
                <a:lnTo>
                  <a:pt x="126" y="32"/>
                </a:lnTo>
                <a:lnTo>
                  <a:pt x="126" y="34"/>
                </a:lnTo>
                <a:lnTo>
                  <a:pt x="126" y="40"/>
                </a:lnTo>
                <a:lnTo>
                  <a:pt x="126" y="40"/>
                </a:lnTo>
                <a:lnTo>
                  <a:pt x="128" y="46"/>
                </a:lnTo>
                <a:lnTo>
                  <a:pt x="130" y="54"/>
                </a:lnTo>
                <a:lnTo>
                  <a:pt x="128" y="62"/>
                </a:lnTo>
                <a:lnTo>
                  <a:pt x="124" y="72"/>
                </a:lnTo>
                <a:lnTo>
                  <a:pt x="124" y="72"/>
                </a:lnTo>
                <a:lnTo>
                  <a:pt x="122" y="80"/>
                </a:lnTo>
                <a:lnTo>
                  <a:pt x="120" y="86"/>
                </a:lnTo>
                <a:lnTo>
                  <a:pt x="120" y="90"/>
                </a:lnTo>
                <a:lnTo>
                  <a:pt x="118" y="98"/>
                </a:lnTo>
                <a:lnTo>
                  <a:pt x="118" y="98"/>
                </a:lnTo>
                <a:lnTo>
                  <a:pt x="114" y="104"/>
                </a:lnTo>
                <a:lnTo>
                  <a:pt x="114" y="110"/>
                </a:lnTo>
                <a:lnTo>
                  <a:pt x="116" y="116"/>
                </a:lnTo>
                <a:lnTo>
                  <a:pt x="118" y="122"/>
                </a:lnTo>
                <a:lnTo>
                  <a:pt x="118" y="122"/>
                </a:lnTo>
                <a:lnTo>
                  <a:pt x="120" y="128"/>
                </a:lnTo>
                <a:lnTo>
                  <a:pt x="122" y="130"/>
                </a:lnTo>
                <a:lnTo>
                  <a:pt x="124" y="130"/>
                </a:lnTo>
                <a:lnTo>
                  <a:pt x="124" y="134"/>
                </a:lnTo>
                <a:lnTo>
                  <a:pt x="124" y="134"/>
                </a:lnTo>
                <a:lnTo>
                  <a:pt x="124" y="136"/>
                </a:lnTo>
                <a:lnTo>
                  <a:pt x="122" y="138"/>
                </a:lnTo>
                <a:lnTo>
                  <a:pt x="120" y="140"/>
                </a:lnTo>
                <a:lnTo>
                  <a:pt x="120" y="140"/>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64" name="Freeform 156"/>
          <p:cNvSpPr>
            <a:spLocks/>
          </p:cNvSpPr>
          <p:nvPr/>
        </p:nvSpPr>
        <p:spPr bwMode="auto">
          <a:xfrm>
            <a:off x="5049619" y="3508163"/>
            <a:ext cx="34183" cy="45523"/>
          </a:xfrm>
          <a:custGeom>
            <a:avLst/>
            <a:gdLst/>
            <a:ahLst/>
            <a:cxnLst>
              <a:cxn ang="0">
                <a:pos x="30" y="26"/>
              </a:cxn>
              <a:cxn ang="0">
                <a:pos x="30" y="26"/>
              </a:cxn>
              <a:cxn ang="0">
                <a:pos x="28" y="28"/>
              </a:cxn>
              <a:cxn ang="0">
                <a:pos x="30" y="32"/>
              </a:cxn>
              <a:cxn ang="0">
                <a:pos x="30" y="36"/>
              </a:cxn>
              <a:cxn ang="0">
                <a:pos x="28" y="38"/>
              </a:cxn>
              <a:cxn ang="0">
                <a:pos x="28" y="38"/>
              </a:cxn>
              <a:cxn ang="0">
                <a:pos x="24" y="40"/>
              </a:cxn>
              <a:cxn ang="0">
                <a:pos x="20" y="40"/>
              </a:cxn>
              <a:cxn ang="0">
                <a:pos x="16" y="38"/>
              </a:cxn>
              <a:cxn ang="0">
                <a:pos x="8" y="34"/>
              </a:cxn>
              <a:cxn ang="0">
                <a:pos x="8" y="34"/>
              </a:cxn>
              <a:cxn ang="0">
                <a:pos x="0" y="28"/>
              </a:cxn>
              <a:cxn ang="0">
                <a:pos x="0" y="24"/>
              </a:cxn>
              <a:cxn ang="0">
                <a:pos x="0" y="18"/>
              </a:cxn>
              <a:cxn ang="0">
                <a:pos x="4" y="10"/>
              </a:cxn>
              <a:cxn ang="0">
                <a:pos x="4" y="10"/>
              </a:cxn>
              <a:cxn ang="0">
                <a:pos x="8" y="4"/>
              </a:cxn>
              <a:cxn ang="0">
                <a:pos x="10" y="0"/>
              </a:cxn>
              <a:cxn ang="0">
                <a:pos x="14" y="0"/>
              </a:cxn>
              <a:cxn ang="0">
                <a:pos x="22" y="4"/>
              </a:cxn>
              <a:cxn ang="0">
                <a:pos x="22" y="4"/>
              </a:cxn>
              <a:cxn ang="0">
                <a:pos x="26" y="8"/>
              </a:cxn>
              <a:cxn ang="0">
                <a:pos x="28" y="12"/>
              </a:cxn>
              <a:cxn ang="0">
                <a:pos x="28" y="18"/>
              </a:cxn>
              <a:cxn ang="0">
                <a:pos x="30" y="26"/>
              </a:cxn>
              <a:cxn ang="0">
                <a:pos x="30" y="26"/>
              </a:cxn>
            </a:cxnLst>
            <a:rect l="0" t="0" r="r" b="b"/>
            <a:pathLst>
              <a:path w="30" h="40">
                <a:moveTo>
                  <a:pt x="30" y="26"/>
                </a:moveTo>
                <a:lnTo>
                  <a:pt x="30" y="26"/>
                </a:lnTo>
                <a:lnTo>
                  <a:pt x="28" y="28"/>
                </a:lnTo>
                <a:lnTo>
                  <a:pt x="30" y="32"/>
                </a:lnTo>
                <a:lnTo>
                  <a:pt x="30" y="36"/>
                </a:lnTo>
                <a:lnTo>
                  <a:pt x="28" y="38"/>
                </a:lnTo>
                <a:lnTo>
                  <a:pt x="28" y="38"/>
                </a:lnTo>
                <a:lnTo>
                  <a:pt x="24" y="40"/>
                </a:lnTo>
                <a:lnTo>
                  <a:pt x="20" y="40"/>
                </a:lnTo>
                <a:lnTo>
                  <a:pt x="16" y="38"/>
                </a:lnTo>
                <a:lnTo>
                  <a:pt x="8" y="34"/>
                </a:lnTo>
                <a:lnTo>
                  <a:pt x="8" y="34"/>
                </a:lnTo>
                <a:lnTo>
                  <a:pt x="0" y="28"/>
                </a:lnTo>
                <a:lnTo>
                  <a:pt x="0" y="24"/>
                </a:lnTo>
                <a:lnTo>
                  <a:pt x="0" y="18"/>
                </a:lnTo>
                <a:lnTo>
                  <a:pt x="4" y="10"/>
                </a:lnTo>
                <a:lnTo>
                  <a:pt x="4" y="10"/>
                </a:lnTo>
                <a:lnTo>
                  <a:pt x="8" y="4"/>
                </a:lnTo>
                <a:lnTo>
                  <a:pt x="10" y="0"/>
                </a:lnTo>
                <a:lnTo>
                  <a:pt x="14" y="0"/>
                </a:lnTo>
                <a:lnTo>
                  <a:pt x="22" y="4"/>
                </a:lnTo>
                <a:lnTo>
                  <a:pt x="22" y="4"/>
                </a:lnTo>
                <a:lnTo>
                  <a:pt x="26" y="8"/>
                </a:lnTo>
                <a:lnTo>
                  <a:pt x="28" y="12"/>
                </a:lnTo>
                <a:lnTo>
                  <a:pt x="28" y="18"/>
                </a:lnTo>
                <a:lnTo>
                  <a:pt x="30" y="26"/>
                </a:lnTo>
                <a:lnTo>
                  <a:pt x="30" y="26"/>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65" name="Freeform 158"/>
          <p:cNvSpPr>
            <a:spLocks/>
          </p:cNvSpPr>
          <p:nvPr/>
        </p:nvSpPr>
        <p:spPr bwMode="auto">
          <a:xfrm>
            <a:off x="3946668" y="1976331"/>
            <a:ext cx="278017" cy="355076"/>
          </a:xfrm>
          <a:custGeom>
            <a:avLst/>
            <a:gdLst/>
            <a:ahLst/>
            <a:cxnLst>
              <a:cxn ang="0">
                <a:pos x="0" y="162"/>
              </a:cxn>
              <a:cxn ang="0">
                <a:pos x="4" y="164"/>
              </a:cxn>
              <a:cxn ang="0">
                <a:pos x="10" y="178"/>
              </a:cxn>
              <a:cxn ang="0">
                <a:pos x="8" y="188"/>
              </a:cxn>
              <a:cxn ang="0">
                <a:pos x="6" y="196"/>
              </a:cxn>
              <a:cxn ang="0">
                <a:pos x="10" y="196"/>
              </a:cxn>
              <a:cxn ang="0">
                <a:pos x="6" y="202"/>
              </a:cxn>
              <a:cxn ang="0">
                <a:pos x="14" y="216"/>
              </a:cxn>
              <a:cxn ang="0">
                <a:pos x="14" y="242"/>
              </a:cxn>
              <a:cxn ang="0">
                <a:pos x="8" y="264"/>
              </a:cxn>
              <a:cxn ang="0">
                <a:pos x="8" y="274"/>
              </a:cxn>
              <a:cxn ang="0">
                <a:pos x="16" y="270"/>
              </a:cxn>
              <a:cxn ang="0">
                <a:pos x="22" y="272"/>
              </a:cxn>
              <a:cxn ang="0">
                <a:pos x="28" y="272"/>
              </a:cxn>
              <a:cxn ang="0">
                <a:pos x="36" y="272"/>
              </a:cxn>
              <a:cxn ang="0">
                <a:pos x="40" y="268"/>
              </a:cxn>
              <a:cxn ang="0">
                <a:pos x="42" y="268"/>
              </a:cxn>
              <a:cxn ang="0">
                <a:pos x="48" y="270"/>
              </a:cxn>
              <a:cxn ang="0">
                <a:pos x="58" y="276"/>
              </a:cxn>
              <a:cxn ang="0">
                <a:pos x="66" y="282"/>
              </a:cxn>
              <a:cxn ang="0">
                <a:pos x="70" y="284"/>
              </a:cxn>
              <a:cxn ang="0">
                <a:pos x="72" y="290"/>
              </a:cxn>
              <a:cxn ang="0">
                <a:pos x="76" y="298"/>
              </a:cxn>
              <a:cxn ang="0">
                <a:pos x="80" y="304"/>
              </a:cxn>
              <a:cxn ang="0">
                <a:pos x="88" y="312"/>
              </a:cxn>
              <a:cxn ang="0">
                <a:pos x="96" y="304"/>
              </a:cxn>
              <a:cxn ang="0">
                <a:pos x="102" y="296"/>
              </a:cxn>
              <a:cxn ang="0">
                <a:pos x="106" y="292"/>
              </a:cxn>
              <a:cxn ang="0">
                <a:pos x="112" y="292"/>
              </a:cxn>
              <a:cxn ang="0">
                <a:pos x="122" y="302"/>
              </a:cxn>
              <a:cxn ang="0">
                <a:pos x="132" y="300"/>
              </a:cxn>
              <a:cxn ang="0">
                <a:pos x="146" y="300"/>
              </a:cxn>
              <a:cxn ang="0">
                <a:pos x="152" y="294"/>
              </a:cxn>
              <a:cxn ang="0">
                <a:pos x="154" y="298"/>
              </a:cxn>
              <a:cxn ang="0">
                <a:pos x="156" y="300"/>
              </a:cxn>
              <a:cxn ang="0">
                <a:pos x="234" y="274"/>
              </a:cxn>
              <a:cxn ang="0">
                <a:pos x="222" y="258"/>
              </a:cxn>
              <a:cxn ang="0">
                <a:pos x="244" y="62"/>
              </a:cxn>
              <a:cxn ang="0">
                <a:pos x="98" y="34"/>
              </a:cxn>
              <a:cxn ang="0">
                <a:pos x="96" y="92"/>
              </a:cxn>
              <a:cxn ang="0">
                <a:pos x="86" y="98"/>
              </a:cxn>
              <a:cxn ang="0">
                <a:pos x="76" y="108"/>
              </a:cxn>
              <a:cxn ang="0">
                <a:pos x="76" y="144"/>
              </a:cxn>
              <a:cxn ang="0">
                <a:pos x="14" y="144"/>
              </a:cxn>
              <a:cxn ang="0">
                <a:pos x="0" y="150"/>
              </a:cxn>
            </a:cxnLst>
            <a:rect l="0" t="0" r="r" b="b"/>
            <a:pathLst>
              <a:path w="244" h="312">
                <a:moveTo>
                  <a:pt x="0" y="150"/>
                </a:moveTo>
                <a:lnTo>
                  <a:pt x="0" y="150"/>
                </a:lnTo>
                <a:lnTo>
                  <a:pt x="0" y="162"/>
                </a:lnTo>
                <a:lnTo>
                  <a:pt x="0" y="164"/>
                </a:lnTo>
                <a:lnTo>
                  <a:pt x="4" y="164"/>
                </a:lnTo>
                <a:lnTo>
                  <a:pt x="4" y="164"/>
                </a:lnTo>
                <a:lnTo>
                  <a:pt x="6" y="166"/>
                </a:lnTo>
                <a:lnTo>
                  <a:pt x="8" y="170"/>
                </a:lnTo>
                <a:lnTo>
                  <a:pt x="10" y="178"/>
                </a:lnTo>
                <a:lnTo>
                  <a:pt x="10" y="178"/>
                </a:lnTo>
                <a:lnTo>
                  <a:pt x="10" y="182"/>
                </a:lnTo>
                <a:lnTo>
                  <a:pt x="8" y="188"/>
                </a:lnTo>
                <a:lnTo>
                  <a:pt x="8" y="188"/>
                </a:lnTo>
                <a:lnTo>
                  <a:pt x="6" y="196"/>
                </a:lnTo>
                <a:lnTo>
                  <a:pt x="6" y="196"/>
                </a:lnTo>
                <a:lnTo>
                  <a:pt x="10" y="196"/>
                </a:lnTo>
                <a:lnTo>
                  <a:pt x="10" y="196"/>
                </a:lnTo>
                <a:lnTo>
                  <a:pt x="10" y="196"/>
                </a:lnTo>
                <a:lnTo>
                  <a:pt x="10" y="198"/>
                </a:lnTo>
                <a:lnTo>
                  <a:pt x="6" y="200"/>
                </a:lnTo>
                <a:lnTo>
                  <a:pt x="6" y="202"/>
                </a:lnTo>
                <a:lnTo>
                  <a:pt x="6" y="202"/>
                </a:lnTo>
                <a:lnTo>
                  <a:pt x="10" y="210"/>
                </a:lnTo>
                <a:lnTo>
                  <a:pt x="14" y="216"/>
                </a:lnTo>
                <a:lnTo>
                  <a:pt x="16" y="226"/>
                </a:lnTo>
                <a:lnTo>
                  <a:pt x="14" y="242"/>
                </a:lnTo>
                <a:lnTo>
                  <a:pt x="14" y="242"/>
                </a:lnTo>
                <a:lnTo>
                  <a:pt x="12" y="252"/>
                </a:lnTo>
                <a:lnTo>
                  <a:pt x="10" y="258"/>
                </a:lnTo>
                <a:lnTo>
                  <a:pt x="8" y="264"/>
                </a:lnTo>
                <a:lnTo>
                  <a:pt x="6" y="268"/>
                </a:lnTo>
                <a:lnTo>
                  <a:pt x="8" y="274"/>
                </a:lnTo>
                <a:lnTo>
                  <a:pt x="8" y="274"/>
                </a:lnTo>
                <a:lnTo>
                  <a:pt x="12" y="270"/>
                </a:lnTo>
                <a:lnTo>
                  <a:pt x="14" y="268"/>
                </a:lnTo>
                <a:lnTo>
                  <a:pt x="16" y="270"/>
                </a:lnTo>
                <a:lnTo>
                  <a:pt x="16" y="270"/>
                </a:lnTo>
                <a:lnTo>
                  <a:pt x="20" y="272"/>
                </a:lnTo>
                <a:lnTo>
                  <a:pt x="22" y="272"/>
                </a:lnTo>
                <a:lnTo>
                  <a:pt x="26" y="272"/>
                </a:lnTo>
                <a:lnTo>
                  <a:pt x="26" y="272"/>
                </a:lnTo>
                <a:lnTo>
                  <a:pt x="28" y="272"/>
                </a:lnTo>
                <a:lnTo>
                  <a:pt x="32" y="272"/>
                </a:lnTo>
                <a:lnTo>
                  <a:pt x="32" y="272"/>
                </a:lnTo>
                <a:lnTo>
                  <a:pt x="36" y="272"/>
                </a:lnTo>
                <a:lnTo>
                  <a:pt x="36" y="270"/>
                </a:lnTo>
                <a:lnTo>
                  <a:pt x="38" y="268"/>
                </a:lnTo>
                <a:lnTo>
                  <a:pt x="40" y="268"/>
                </a:lnTo>
                <a:lnTo>
                  <a:pt x="40" y="268"/>
                </a:lnTo>
                <a:lnTo>
                  <a:pt x="42" y="268"/>
                </a:lnTo>
                <a:lnTo>
                  <a:pt x="42" y="268"/>
                </a:lnTo>
                <a:lnTo>
                  <a:pt x="44" y="270"/>
                </a:lnTo>
                <a:lnTo>
                  <a:pt x="48" y="270"/>
                </a:lnTo>
                <a:lnTo>
                  <a:pt x="48" y="270"/>
                </a:lnTo>
                <a:lnTo>
                  <a:pt x="52" y="272"/>
                </a:lnTo>
                <a:lnTo>
                  <a:pt x="56" y="272"/>
                </a:lnTo>
                <a:lnTo>
                  <a:pt x="58" y="276"/>
                </a:lnTo>
                <a:lnTo>
                  <a:pt x="62" y="280"/>
                </a:lnTo>
                <a:lnTo>
                  <a:pt x="64" y="282"/>
                </a:lnTo>
                <a:lnTo>
                  <a:pt x="66" y="282"/>
                </a:lnTo>
                <a:lnTo>
                  <a:pt x="66" y="282"/>
                </a:lnTo>
                <a:lnTo>
                  <a:pt x="70" y="282"/>
                </a:lnTo>
                <a:lnTo>
                  <a:pt x="70" y="284"/>
                </a:lnTo>
                <a:lnTo>
                  <a:pt x="70" y="288"/>
                </a:lnTo>
                <a:lnTo>
                  <a:pt x="72" y="290"/>
                </a:lnTo>
                <a:lnTo>
                  <a:pt x="72" y="290"/>
                </a:lnTo>
                <a:lnTo>
                  <a:pt x="76" y="292"/>
                </a:lnTo>
                <a:lnTo>
                  <a:pt x="76" y="294"/>
                </a:lnTo>
                <a:lnTo>
                  <a:pt x="76" y="298"/>
                </a:lnTo>
                <a:lnTo>
                  <a:pt x="78" y="300"/>
                </a:lnTo>
                <a:lnTo>
                  <a:pt x="78" y="300"/>
                </a:lnTo>
                <a:lnTo>
                  <a:pt x="80" y="304"/>
                </a:lnTo>
                <a:lnTo>
                  <a:pt x="80" y="306"/>
                </a:lnTo>
                <a:lnTo>
                  <a:pt x="82" y="308"/>
                </a:lnTo>
                <a:lnTo>
                  <a:pt x="88" y="312"/>
                </a:lnTo>
                <a:lnTo>
                  <a:pt x="88" y="312"/>
                </a:lnTo>
                <a:lnTo>
                  <a:pt x="92" y="308"/>
                </a:lnTo>
                <a:lnTo>
                  <a:pt x="96" y="304"/>
                </a:lnTo>
                <a:lnTo>
                  <a:pt x="98" y="298"/>
                </a:lnTo>
                <a:lnTo>
                  <a:pt x="102" y="296"/>
                </a:lnTo>
                <a:lnTo>
                  <a:pt x="102" y="296"/>
                </a:lnTo>
                <a:lnTo>
                  <a:pt x="104" y="294"/>
                </a:lnTo>
                <a:lnTo>
                  <a:pt x="104" y="294"/>
                </a:lnTo>
                <a:lnTo>
                  <a:pt x="106" y="292"/>
                </a:lnTo>
                <a:lnTo>
                  <a:pt x="108" y="292"/>
                </a:lnTo>
                <a:lnTo>
                  <a:pt x="108" y="292"/>
                </a:lnTo>
                <a:lnTo>
                  <a:pt x="112" y="292"/>
                </a:lnTo>
                <a:lnTo>
                  <a:pt x="114" y="296"/>
                </a:lnTo>
                <a:lnTo>
                  <a:pt x="116" y="300"/>
                </a:lnTo>
                <a:lnTo>
                  <a:pt x="122" y="302"/>
                </a:lnTo>
                <a:lnTo>
                  <a:pt x="122" y="302"/>
                </a:lnTo>
                <a:lnTo>
                  <a:pt x="126" y="300"/>
                </a:lnTo>
                <a:lnTo>
                  <a:pt x="132" y="300"/>
                </a:lnTo>
                <a:lnTo>
                  <a:pt x="142" y="300"/>
                </a:lnTo>
                <a:lnTo>
                  <a:pt x="142" y="300"/>
                </a:lnTo>
                <a:lnTo>
                  <a:pt x="146" y="300"/>
                </a:lnTo>
                <a:lnTo>
                  <a:pt x="146" y="298"/>
                </a:lnTo>
                <a:lnTo>
                  <a:pt x="148" y="296"/>
                </a:lnTo>
                <a:lnTo>
                  <a:pt x="152" y="294"/>
                </a:lnTo>
                <a:lnTo>
                  <a:pt x="152" y="294"/>
                </a:lnTo>
                <a:lnTo>
                  <a:pt x="154" y="296"/>
                </a:lnTo>
                <a:lnTo>
                  <a:pt x="154" y="298"/>
                </a:lnTo>
                <a:lnTo>
                  <a:pt x="154" y="298"/>
                </a:lnTo>
                <a:lnTo>
                  <a:pt x="156" y="300"/>
                </a:lnTo>
                <a:lnTo>
                  <a:pt x="156" y="300"/>
                </a:lnTo>
                <a:lnTo>
                  <a:pt x="224" y="300"/>
                </a:lnTo>
                <a:lnTo>
                  <a:pt x="234" y="274"/>
                </a:lnTo>
                <a:lnTo>
                  <a:pt x="234" y="274"/>
                </a:lnTo>
                <a:lnTo>
                  <a:pt x="226" y="268"/>
                </a:lnTo>
                <a:lnTo>
                  <a:pt x="222" y="264"/>
                </a:lnTo>
                <a:lnTo>
                  <a:pt x="222" y="258"/>
                </a:lnTo>
                <a:lnTo>
                  <a:pt x="222" y="258"/>
                </a:lnTo>
                <a:lnTo>
                  <a:pt x="218" y="62"/>
                </a:lnTo>
                <a:lnTo>
                  <a:pt x="244" y="62"/>
                </a:lnTo>
                <a:lnTo>
                  <a:pt x="166" y="0"/>
                </a:lnTo>
                <a:lnTo>
                  <a:pt x="166" y="34"/>
                </a:lnTo>
                <a:lnTo>
                  <a:pt x="98" y="34"/>
                </a:lnTo>
                <a:lnTo>
                  <a:pt x="98" y="34"/>
                </a:lnTo>
                <a:lnTo>
                  <a:pt x="96" y="92"/>
                </a:lnTo>
                <a:lnTo>
                  <a:pt x="96" y="92"/>
                </a:lnTo>
                <a:lnTo>
                  <a:pt x="94" y="96"/>
                </a:lnTo>
                <a:lnTo>
                  <a:pt x="92" y="98"/>
                </a:lnTo>
                <a:lnTo>
                  <a:pt x="86" y="98"/>
                </a:lnTo>
                <a:lnTo>
                  <a:pt x="82" y="100"/>
                </a:lnTo>
                <a:lnTo>
                  <a:pt x="78" y="102"/>
                </a:lnTo>
                <a:lnTo>
                  <a:pt x="76" y="108"/>
                </a:lnTo>
                <a:lnTo>
                  <a:pt x="76" y="116"/>
                </a:lnTo>
                <a:lnTo>
                  <a:pt x="76" y="116"/>
                </a:lnTo>
                <a:lnTo>
                  <a:pt x="76" y="144"/>
                </a:lnTo>
                <a:lnTo>
                  <a:pt x="76" y="144"/>
                </a:lnTo>
                <a:lnTo>
                  <a:pt x="14" y="144"/>
                </a:lnTo>
                <a:lnTo>
                  <a:pt x="14" y="144"/>
                </a:lnTo>
                <a:lnTo>
                  <a:pt x="8" y="144"/>
                </a:lnTo>
                <a:lnTo>
                  <a:pt x="4" y="144"/>
                </a:lnTo>
                <a:lnTo>
                  <a:pt x="0" y="150"/>
                </a:lnTo>
                <a:lnTo>
                  <a:pt x="0" y="150"/>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66" name="Freeform 159"/>
          <p:cNvSpPr>
            <a:spLocks/>
          </p:cNvSpPr>
          <p:nvPr/>
        </p:nvSpPr>
        <p:spPr bwMode="auto">
          <a:xfrm>
            <a:off x="4211012" y="2331406"/>
            <a:ext cx="182306" cy="152501"/>
          </a:xfrm>
          <a:custGeom>
            <a:avLst/>
            <a:gdLst/>
            <a:ahLst/>
            <a:cxnLst>
              <a:cxn ang="0">
                <a:pos x="116" y="14"/>
              </a:cxn>
              <a:cxn ang="0">
                <a:pos x="124" y="32"/>
              </a:cxn>
              <a:cxn ang="0">
                <a:pos x="132" y="34"/>
              </a:cxn>
              <a:cxn ang="0">
                <a:pos x="128" y="40"/>
              </a:cxn>
              <a:cxn ang="0">
                <a:pos x="134" y="50"/>
              </a:cxn>
              <a:cxn ang="0">
                <a:pos x="150" y="58"/>
              </a:cxn>
              <a:cxn ang="0">
                <a:pos x="156" y="60"/>
              </a:cxn>
              <a:cxn ang="0">
                <a:pos x="156" y="62"/>
              </a:cxn>
              <a:cxn ang="0">
                <a:pos x="160" y="72"/>
              </a:cxn>
              <a:cxn ang="0">
                <a:pos x="144" y="78"/>
              </a:cxn>
              <a:cxn ang="0">
                <a:pos x="140" y="86"/>
              </a:cxn>
              <a:cxn ang="0">
                <a:pos x="134" y="90"/>
              </a:cxn>
              <a:cxn ang="0">
                <a:pos x="132" y="96"/>
              </a:cxn>
              <a:cxn ang="0">
                <a:pos x="128" y="96"/>
              </a:cxn>
              <a:cxn ang="0">
                <a:pos x="120" y="96"/>
              </a:cxn>
              <a:cxn ang="0">
                <a:pos x="106" y="94"/>
              </a:cxn>
              <a:cxn ang="0">
                <a:pos x="100" y="96"/>
              </a:cxn>
              <a:cxn ang="0">
                <a:pos x="84" y="98"/>
              </a:cxn>
              <a:cxn ang="0">
                <a:pos x="54" y="100"/>
              </a:cxn>
              <a:cxn ang="0">
                <a:pos x="52" y="110"/>
              </a:cxn>
              <a:cxn ang="0">
                <a:pos x="54" y="116"/>
              </a:cxn>
              <a:cxn ang="0">
                <a:pos x="56" y="122"/>
              </a:cxn>
              <a:cxn ang="0">
                <a:pos x="56" y="134"/>
              </a:cxn>
              <a:cxn ang="0">
                <a:pos x="48" y="128"/>
              </a:cxn>
              <a:cxn ang="0">
                <a:pos x="44" y="128"/>
              </a:cxn>
              <a:cxn ang="0">
                <a:pos x="34" y="128"/>
              </a:cxn>
              <a:cxn ang="0">
                <a:pos x="18" y="130"/>
              </a:cxn>
              <a:cxn ang="0">
                <a:pos x="8" y="126"/>
              </a:cxn>
              <a:cxn ang="0">
                <a:pos x="0" y="114"/>
              </a:cxn>
              <a:cxn ang="0">
                <a:pos x="6" y="92"/>
              </a:cxn>
              <a:cxn ang="0">
                <a:pos x="10" y="86"/>
              </a:cxn>
              <a:cxn ang="0">
                <a:pos x="6" y="82"/>
              </a:cxn>
              <a:cxn ang="0">
                <a:pos x="12" y="76"/>
              </a:cxn>
              <a:cxn ang="0">
                <a:pos x="32" y="58"/>
              </a:cxn>
              <a:cxn ang="0">
                <a:pos x="30" y="54"/>
              </a:cxn>
              <a:cxn ang="0">
                <a:pos x="38" y="48"/>
              </a:cxn>
              <a:cxn ang="0">
                <a:pos x="38" y="44"/>
              </a:cxn>
              <a:cxn ang="0">
                <a:pos x="46" y="30"/>
              </a:cxn>
              <a:cxn ang="0">
                <a:pos x="52" y="30"/>
              </a:cxn>
              <a:cxn ang="0">
                <a:pos x="70" y="24"/>
              </a:cxn>
              <a:cxn ang="0">
                <a:pos x="70" y="22"/>
              </a:cxn>
              <a:cxn ang="0">
                <a:pos x="74" y="18"/>
              </a:cxn>
              <a:cxn ang="0">
                <a:pos x="86" y="6"/>
              </a:cxn>
              <a:cxn ang="0">
                <a:pos x="98" y="2"/>
              </a:cxn>
              <a:cxn ang="0">
                <a:pos x="102" y="0"/>
              </a:cxn>
            </a:cxnLst>
            <a:rect l="0" t="0" r="r" b="b"/>
            <a:pathLst>
              <a:path w="160" h="134">
                <a:moveTo>
                  <a:pt x="116" y="4"/>
                </a:moveTo>
                <a:lnTo>
                  <a:pt x="116" y="4"/>
                </a:lnTo>
                <a:lnTo>
                  <a:pt x="116" y="14"/>
                </a:lnTo>
                <a:lnTo>
                  <a:pt x="118" y="22"/>
                </a:lnTo>
                <a:lnTo>
                  <a:pt x="122" y="30"/>
                </a:lnTo>
                <a:lnTo>
                  <a:pt x="124" y="32"/>
                </a:lnTo>
                <a:lnTo>
                  <a:pt x="128" y="34"/>
                </a:lnTo>
                <a:lnTo>
                  <a:pt x="128" y="34"/>
                </a:lnTo>
                <a:lnTo>
                  <a:pt x="132" y="34"/>
                </a:lnTo>
                <a:lnTo>
                  <a:pt x="132" y="36"/>
                </a:lnTo>
                <a:lnTo>
                  <a:pt x="128" y="40"/>
                </a:lnTo>
                <a:lnTo>
                  <a:pt x="128" y="40"/>
                </a:lnTo>
                <a:lnTo>
                  <a:pt x="126" y="42"/>
                </a:lnTo>
                <a:lnTo>
                  <a:pt x="126" y="44"/>
                </a:lnTo>
                <a:lnTo>
                  <a:pt x="134" y="50"/>
                </a:lnTo>
                <a:lnTo>
                  <a:pt x="134" y="50"/>
                </a:lnTo>
                <a:lnTo>
                  <a:pt x="144" y="56"/>
                </a:lnTo>
                <a:lnTo>
                  <a:pt x="150" y="58"/>
                </a:lnTo>
                <a:lnTo>
                  <a:pt x="152" y="58"/>
                </a:lnTo>
                <a:lnTo>
                  <a:pt x="156" y="60"/>
                </a:lnTo>
                <a:lnTo>
                  <a:pt x="156" y="60"/>
                </a:lnTo>
                <a:lnTo>
                  <a:pt x="158" y="62"/>
                </a:lnTo>
                <a:lnTo>
                  <a:pt x="156" y="62"/>
                </a:lnTo>
                <a:lnTo>
                  <a:pt x="156" y="62"/>
                </a:lnTo>
                <a:lnTo>
                  <a:pt x="154" y="64"/>
                </a:lnTo>
                <a:lnTo>
                  <a:pt x="160" y="72"/>
                </a:lnTo>
                <a:lnTo>
                  <a:pt x="160" y="72"/>
                </a:lnTo>
                <a:lnTo>
                  <a:pt x="154" y="76"/>
                </a:lnTo>
                <a:lnTo>
                  <a:pt x="150" y="76"/>
                </a:lnTo>
                <a:lnTo>
                  <a:pt x="144" y="78"/>
                </a:lnTo>
                <a:lnTo>
                  <a:pt x="142" y="82"/>
                </a:lnTo>
                <a:lnTo>
                  <a:pt x="142" y="82"/>
                </a:lnTo>
                <a:lnTo>
                  <a:pt x="140" y="86"/>
                </a:lnTo>
                <a:lnTo>
                  <a:pt x="136" y="88"/>
                </a:lnTo>
                <a:lnTo>
                  <a:pt x="136" y="90"/>
                </a:lnTo>
                <a:lnTo>
                  <a:pt x="134" y="90"/>
                </a:lnTo>
                <a:lnTo>
                  <a:pt x="134" y="90"/>
                </a:lnTo>
                <a:lnTo>
                  <a:pt x="134" y="98"/>
                </a:lnTo>
                <a:lnTo>
                  <a:pt x="132" y="96"/>
                </a:lnTo>
                <a:lnTo>
                  <a:pt x="132" y="96"/>
                </a:lnTo>
                <a:lnTo>
                  <a:pt x="128" y="96"/>
                </a:lnTo>
                <a:lnTo>
                  <a:pt x="128" y="96"/>
                </a:lnTo>
                <a:lnTo>
                  <a:pt x="126" y="98"/>
                </a:lnTo>
                <a:lnTo>
                  <a:pt x="124" y="98"/>
                </a:lnTo>
                <a:lnTo>
                  <a:pt x="120" y="96"/>
                </a:lnTo>
                <a:lnTo>
                  <a:pt x="110" y="96"/>
                </a:lnTo>
                <a:lnTo>
                  <a:pt x="110" y="96"/>
                </a:lnTo>
                <a:lnTo>
                  <a:pt x="106" y="94"/>
                </a:lnTo>
                <a:lnTo>
                  <a:pt x="104" y="94"/>
                </a:lnTo>
                <a:lnTo>
                  <a:pt x="102" y="94"/>
                </a:lnTo>
                <a:lnTo>
                  <a:pt x="100" y="96"/>
                </a:lnTo>
                <a:lnTo>
                  <a:pt x="100" y="96"/>
                </a:lnTo>
                <a:lnTo>
                  <a:pt x="94" y="98"/>
                </a:lnTo>
                <a:lnTo>
                  <a:pt x="84" y="98"/>
                </a:lnTo>
                <a:lnTo>
                  <a:pt x="58" y="98"/>
                </a:lnTo>
                <a:lnTo>
                  <a:pt x="58" y="98"/>
                </a:lnTo>
                <a:lnTo>
                  <a:pt x="54" y="100"/>
                </a:lnTo>
                <a:lnTo>
                  <a:pt x="52" y="104"/>
                </a:lnTo>
                <a:lnTo>
                  <a:pt x="52" y="108"/>
                </a:lnTo>
                <a:lnTo>
                  <a:pt x="52" y="110"/>
                </a:lnTo>
                <a:lnTo>
                  <a:pt x="52" y="110"/>
                </a:lnTo>
                <a:lnTo>
                  <a:pt x="54" y="114"/>
                </a:lnTo>
                <a:lnTo>
                  <a:pt x="54" y="116"/>
                </a:lnTo>
                <a:lnTo>
                  <a:pt x="54" y="118"/>
                </a:lnTo>
                <a:lnTo>
                  <a:pt x="56" y="122"/>
                </a:lnTo>
                <a:lnTo>
                  <a:pt x="56" y="122"/>
                </a:lnTo>
                <a:lnTo>
                  <a:pt x="60" y="130"/>
                </a:lnTo>
                <a:lnTo>
                  <a:pt x="60" y="132"/>
                </a:lnTo>
                <a:lnTo>
                  <a:pt x="56" y="134"/>
                </a:lnTo>
                <a:lnTo>
                  <a:pt x="56" y="134"/>
                </a:lnTo>
                <a:lnTo>
                  <a:pt x="52" y="132"/>
                </a:lnTo>
                <a:lnTo>
                  <a:pt x="48" y="128"/>
                </a:lnTo>
                <a:lnTo>
                  <a:pt x="46" y="128"/>
                </a:lnTo>
                <a:lnTo>
                  <a:pt x="44" y="128"/>
                </a:lnTo>
                <a:lnTo>
                  <a:pt x="44" y="128"/>
                </a:lnTo>
                <a:lnTo>
                  <a:pt x="42" y="130"/>
                </a:lnTo>
                <a:lnTo>
                  <a:pt x="38" y="128"/>
                </a:lnTo>
                <a:lnTo>
                  <a:pt x="34" y="128"/>
                </a:lnTo>
                <a:lnTo>
                  <a:pt x="30" y="128"/>
                </a:lnTo>
                <a:lnTo>
                  <a:pt x="30" y="128"/>
                </a:lnTo>
                <a:lnTo>
                  <a:pt x="18" y="130"/>
                </a:lnTo>
                <a:lnTo>
                  <a:pt x="12" y="130"/>
                </a:lnTo>
                <a:lnTo>
                  <a:pt x="12" y="130"/>
                </a:lnTo>
                <a:lnTo>
                  <a:pt x="8" y="126"/>
                </a:lnTo>
                <a:lnTo>
                  <a:pt x="8" y="122"/>
                </a:lnTo>
                <a:lnTo>
                  <a:pt x="6" y="118"/>
                </a:lnTo>
                <a:lnTo>
                  <a:pt x="0" y="114"/>
                </a:lnTo>
                <a:lnTo>
                  <a:pt x="0" y="114"/>
                </a:lnTo>
                <a:lnTo>
                  <a:pt x="4" y="98"/>
                </a:lnTo>
                <a:lnTo>
                  <a:pt x="6" y="92"/>
                </a:lnTo>
                <a:lnTo>
                  <a:pt x="10" y="90"/>
                </a:lnTo>
                <a:lnTo>
                  <a:pt x="10" y="86"/>
                </a:lnTo>
                <a:lnTo>
                  <a:pt x="10" y="86"/>
                </a:lnTo>
                <a:lnTo>
                  <a:pt x="8" y="82"/>
                </a:lnTo>
                <a:lnTo>
                  <a:pt x="6" y="82"/>
                </a:lnTo>
                <a:lnTo>
                  <a:pt x="6" y="82"/>
                </a:lnTo>
                <a:lnTo>
                  <a:pt x="6" y="80"/>
                </a:lnTo>
                <a:lnTo>
                  <a:pt x="12" y="76"/>
                </a:lnTo>
                <a:lnTo>
                  <a:pt x="12" y="76"/>
                </a:lnTo>
                <a:lnTo>
                  <a:pt x="28" y="66"/>
                </a:lnTo>
                <a:lnTo>
                  <a:pt x="32" y="60"/>
                </a:lnTo>
                <a:lnTo>
                  <a:pt x="32" y="58"/>
                </a:lnTo>
                <a:lnTo>
                  <a:pt x="32" y="56"/>
                </a:lnTo>
                <a:lnTo>
                  <a:pt x="32" y="56"/>
                </a:lnTo>
                <a:lnTo>
                  <a:pt x="30" y="54"/>
                </a:lnTo>
                <a:lnTo>
                  <a:pt x="30" y="52"/>
                </a:lnTo>
                <a:lnTo>
                  <a:pt x="34" y="52"/>
                </a:lnTo>
                <a:lnTo>
                  <a:pt x="38" y="48"/>
                </a:lnTo>
                <a:lnTo>
                  <a:pt x="38" y="46"/>
                </a:lnTo>
                <a:lnTo>
                  <a:pt x="38" y="44"/>
                </a:lnTo>
                <a:lnTo>
                  <a:pt x="38" y="44"/>
                </a:lnTo>
                <a:lnTo>
                  <a:pt x="38" y="40"/>
                </a:lnTo>
                <a:lnTo>
                  <a:pt x="40" y="34"/>
                </a:lnTo>
                <a:lnTo>
                  <a:pt x="46" y="30"/>
                </a:lnTo>
                <a:lnTo>
                  <a:pt x="50" y="30"/>
                </a:lnTo>
                <a:lnTo>
                  <a:pt x="52" y="30"/>
                </a:lnTo>
                <a:lnTo>
                  <a:pt x="52" y="30"/>
                </a:lnTo>
                <a:lnTo>
                  <a:pt x="60" y="30"/>
                </a:lnTo>
                <a:lnTo>
                  <a:pt x="68" y="28"/>
                </a:lnTo>
                <a:lnTo>
                  <a:pt x="70" y="24"/>
                </a:lnTo>
                <a:lnTo>
                  <a:pt x="72" y="24"/>
                </a:lnTo>
                <a:lnTo>
                  <a:pt x="70" y="22"/>
                </a:lnTo>
                <a:lnTo>
                  <a:pt x="70" y="22"/>
                </a:lnTo>
                <a:lnTo>
                  <a:pt x="66" y="20"/>
                </a:lnTo>
                <a:lnTo>
                  <a:pt x="70" y="20"/>
                </a:lnTo>
                <a:lnTo>
                  <a:pt x="74" y="18"/>
                </a:lnTo>
                <a:lnTo>
                  <a:pt x="80" y="14"/>
                </a:lnTo>
                <a:lnTo>
                  <a:pt x="80" y="14"/>
                </a:lnTo>
                <a:lnTo>
                  <a:pt x="86" y="6"/>
                </a:lnTo>
                <a:lnTo>
                  <a:pt x="90" y="6"/>
                </a:lnTo>
                <a:lnTo>
                  <a:pt x="94" y="6"/>
                </a:lnTo>
                <a:lnTo>
                  <a:pt x="98" y="2"/>
                </a:lnTo>
                <a:lnTo>
                  <a:pt x="98" y="2"/>
                </a:lnTo>
                <a:lnTo>
                  <a:pt x="100" y="0"/>
                </a:lnTo>
                <a:lnTo>
                  <a:pt x="102" y="0"/>
                </a:lnTo>
                <a:lnTo>
                  <a:pt x="116" y="4"/>
                </a:lnTo>
                <a:lnTo>
                  <a:pt x="116" y="4"/>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67" name="Freeform 160"/>
          <p:cNvSpPr>
            <a:spLocks/>
          </p:cNvSpPr>
          <p:nvPr/>
        </p:nvSpPr>
        <p:spPr bwMode="auto">
          <a:xfrm>
            <a:off x="4046936" y="2046891"/>
            <a:ext cx="391958" cy="418807"/>
          </a:xfrm>
          <a:custGeom>
            <a:avLst/>
            <a:gdLst/>
            <a:ahLst/>
            <a:cxnLst>
              <a:cxn ang="0">
                <a:pos x="150" y="342"/>
              </a:cxn>
              <a:cxn ang="0">
                <a:pos x="152" y="332"/>
              </a:cxn>
              <a:cxn ang="0">
                <a:pos x="156" y="326"/>
              </a:cxn>
              <a:cxn ang="0">
                <a:pos x="176" y="308"/>
              </a:cxn>
              <a:cxn ang="0">
                <a:pos x="174" y="302"/>
              </a:cxn>
              <a:cxn ang="0">
                <a:pos x="182" y="294"/>
              </a:cxn>
              <a:cxn ang="0">
                <a:pos x="190" y="280"/>
              </a:cxn>
              <a:cxn ang="0">
                <a:pos x="204" y="280"/>
              </a:cxn>
              <a:cxn ang="0">
                <a:pos x="214" y="272"/>
              </a:cxn>
              <a:cxn ang="0">
                <a:pos x="218" y="268"/>
              </a:cxn>
              <a:cxn ang="0">
                <a:pos x="234" y="256"/>
              </a:cxn>
              <a:cxn ang="0">
                <a:pos x="244" y="250"/>
              </a:cxn>
              <a:cxn ang="0">
                <a:pos x="264" y="254"/>
              </a:cxn>
              <a:cxn ang="0">
                <a:pos x="270" y="250"/>
              </a:cxn>
              <a:cxn ang="0">
                <a:pos x="284" y="244"/>
              </a:cxn>
              <a:cxn ang="0">
                <a:pos x="308" y="238"/>
              </a:cxn>
              <a:cxn ang="0">
                <a:pos x="322" y="232"/>
              </a:cxn>
              <a:cxn ang="0">
                <a:pos x="338" y="222"/>
              </a:cxn>
              <a:cxn ang="0">
                <a:pos x="342" y="204"/>
              </a:cxn>
              <a:cxn ang="0">
                <a:pos x="344" y="198"/>
              </a:cxn>
              <a:cxn ang="0">
                <a:pos x="344" y="144"/>
              </a:cxn>
              <a:cxn ang="0">
                <a:pos x="320" y="150"/>
              </a:cxn>
              <a:cxn ang="0">
                <a:pos x="326" y="130"/>
              </a:cxn>
              <a:cxn ang="0">
                <a:pos x="320" y="124"/>
              </a:cxn>
              <a:cxn ang="0">
                <a:pos x="314" y="120"/>
              </a:cxn>
              <a:cxn ang="0">
                <a:pos x="310" y="116"/>
              </a:cxn>
              <a:cxn ang="0">
                <a:pos x="308" y="112"/>
              </a:cxn>
              <a:cxn ang="0">
                <a:pos x="298" y="108"/>
              </a:cxn>
              <a:cxn ang="0">
                <a:pos x="134" y="196"/>
              </a:cxn>
              <a:cxn ang="0">
                <a:pos x="146" y="212"/>
              </a:cxn>
              <a:cxn ang="0">
                <a:pos x="68" y="238"/>
              </a:cxn>
              <a:cxn ang="0">
                <a:pos x="64" y="232"/>
              </a:cxn>
              <a:cxn ang="0">
                <a:pos x="58" y="238"/>
              </a:cxn>
              <a:cxn ang="0">
                <a:pos x="38" y="238"/>
              </a:cxn>
              <a:cxn ang="0">
                <a:pos x="26" y="234"/>
              </a:cxn>
              <a:cxn ang="0">
                <a:pos x="18" y="230"/>
              </a:cxn>
              <a:cxn ang="0">
                <a:pos x="14" y="234"/>
              </a:cxn>
              <a:cxn ang="0">
                <a:pos x="0" y="250"/>
              </a:cxn>
              <a:cxn ang="0">
                <a:pos x="4" y="260"/>
              </a:cxn>
              <a:cxn ang="0">
                <a:pos x="4" y="280"/>
              </a:cxn>
              <a:cxn ang="0">
                <a:pos x="10" y="282"/>
              </a:cxn>
              <a:cxn ang="0">
                <a:pos x="14" y="314"/>
              </a:cxn>
              <a:cxn ang="0">
                <a:pos x="20" y="318"/>
              </a:cxn>
              <a:cxn ang="0">
                <a:pos x="26" y="320"/>
              </a:cxn>
              <a:cxn ang="0">
                <a:pos x="34" y="318"/>
              </a:cxn>
              <a:cxn ang="0">
                <a:pos x="42" y="320"/>
              </a:cxn>
              <a:cxn ang="0">
                <a:pos x="54" y="318"/>
              </a:cxn>
              <a:cxn ang="0">
                <a:pos x="58" y="312"/>
              </a:cxn>
              <a:cxn ang="0">
                <a:pos x="66" y="318"/>
              </a:cxn>
              <a:cxn ang="0">
                <a:pos x="72" y="328"/>
              </a:cxn>
              <a:cxn ang="0">
                <a:pos x="74" y="334"/>
              </a:cxn>
              <a:cxn ang="0">
                <a:pos x="72" y="348"/>
              </a:cxn>
              <a:cxn ang="0">
                <a:pos x="82" y="358"/>
              </a:cxn>
              <a:cxn ang="0">
                <a:pos x="90" y="366"/>
              </a:cxn>
              <a:cxn ang="0">
                <a:pos x="98" y="362"/>
              </a:cxn>
              <a:cxn ang="0">
                <a:pos x="108" y="366"/>
              </a:cxn>
              <a:cxn ang="0">
                <a:pos x="118" y="358"/>
              </a:cxn>
              <a:cxn ang="0">
                <a:pos x="128" y="364"/>
              </a:cxn>
              <a:cxn ang="0">
                <a:pos x="138" y="362"/>
              </a:cxn>
            </a:cxnLst>
            <a:rect l="0" t="0" r="r" b="b"/>
            <a:pathLst>
              <a:path w="344" h="368">
                <a:moveTo>
                  <a:pt x="144" y="364"/>
                </a:moveTo>
                <a:lnTo>
                  <a:pt x="144" y="364"/>
                </a:lnTo>
                <a:lnTo>
                  <a:pt x="148" y="348"/>
                </a:lnTo>
                <a:lnTo>
                  <a:pt x="150" y="342"/>
                </a:lnTo>
                <a:lnTo>
                  <a:pt x="154" y="340"/>
                </a:lnTo>
                <a:lnTo>
                  <a:pt x="154" y="336"/>
                </a:lnTo>
                <a:lnTo>
                  <a:pt x="154" y="336"/>
                </a:lnTo>
                <a:lnTo>
                  <a:pt x="152" y="332"/>
                </a:lnTo>
                <a:lnTo>
                  <a:pt x="150" y="332"/>
                </a:lnTo>
                <a:lnTo>
                  <a:pt x="150" y="332"/>
                </a:lnTo>
                <a:lnTo>
                  <a:pt x="150" y="330"/>
                </a:lnTo>
                <a:lnTo>
                  <a:pt x="156" y="326"/>
                </a:lnTo>
                <a:lnTo>
                  <a:pt x="156" y="326"/>
                </a:lnTo>
                <a:lnTo>
                  <a:pt x="172" y="316"/>
                </a:lnTo>
                <a:lnTo>
                  <a:pt x="176" y="310"/>
                </a:lnTo>
                <a:lnTo>
                  <a:pt x="176" y="308"/>
                </a:lnTo>
                <a:lnTo>
                  <a:pt x="176" y="306"/>
                </a:lnTo>
                <a:lnTo>
                  <a:pt x="176" y="306"/>
                </a:lnTo>
                <a:lnTo>
                  <a:pt x="174" y="304"/>
                </a:lnTo>
                <a:lnTo>
                  <a:pt x="174" y="302"/>
                </a:lnTo>
                <a:lnTo>
                  <a:pt x="178" y="302"/>
                </a:lnTo>
                <a:lnTo>
                  <a:pt x="182" y="298"/>
                </a:lnTo>
                <a:lnTo>
                  <a:pt x="182" y="296"/>
                </a:lnTo>
                <a:lnTo>
                  <a:pt x="182" y="294"/>
                </a:lnTo>
                <a:lnTo>
                  <a:pt x="182" y="294"/>
                </a:lnTo>
                <a:lnTo>
                  <a:pt x="182" y="290"/>
                </a:lnTo>
                <a:lnTo>
                  <a:pt x="184" y="284"/>
                </a:lnTo>
                <a:lnTo>
                  <a:pt x="190" y="280"/>
                </a:lnTo>
                <a:lnTo>
                  <a:pt x="194" y="280"/>
                </a:lnTo>
                <a:lnTo>
                  <a:pt x="196" y="280"/>
                </a:lnTo>
                <a:lnTo>
                  <a:pt x="196" y="280"/>
                </a:lnTo>
                <a:lnTo>
                  <a:pt x="204" y="280"/>
                </a:lnTo>
                <a:lnTo>
                  <a:pt x="212" y="278"/>
                </a:lnTo>
                <a:lnTo>
                  <a:pt x="214" y="274"/>
                </a:lnTo>
                <a:lnTo>
                  <a:pt x="216" y="274"/>
                </a:lnTo>
                <a:lnTo>
                  <a:pt x="214" y="272"/>
                </a:lnTo>
                <a:lnTo>
                  <a:pt x="214" y="272"/>
                </a:lnTo>
                <a:lnTo>
                  <a:pt x="210" y="270"/>
                </a:lnTo>
                <a:lnTo>
                  <a:pt x="214" y="270"/>
                </a:lnTo>
                <a:lnTo>
                  <a:pt x="218" y="268"/>
                </a:lnTo>
                <a:lnTo>
                  <a:pt x="224" y="264"/>
                </a:lnTo>
                <a:lnTo>
                  <a:pt x="224" y="264"/>
                </a:lnTo>
                <a:lnTo>
                  <a:pt x="230" y="256"/>
                </a:lnTo>
                <a:lnTo>
                  <a:pt x="234" y="256"/>
                </a:lnTo>
                <a:lnTo>
                  <a:pt x="238" y="256"/>
                </a:lnTo>
                <a:lnTo>
                  <a:pt x="242" y="252"/>
                </a:lnTo>
                <a:lnTo>
                  <a:pt x="242" y="252"/>
                </a:lnTo>
                <a:lnTo>
                  <a:pt x="244" y="250"/>
                </a:lnTo>
                <a:lnTo>
                  <a:pt x="246" y="250"/>
                </a:lnTo>
                <a:lnTo>
                  <a:pt x="260" y="254"/>
                </a:lnTo>
                <a:lnTo>
                  <a:pt x="260" y="254"/>
                </a:lnTo>
                <a:lnTo>
                  <a:pt x="264" y="254"/>
                </a:lnTo>
                <a:lnTo>
                  <a:pt x="266" y="254"/>
                </a:lnTo>
                <a:lnTo>
                  <a:pt x="268" y="252"/>
                </a:lnTo>
                <a:lnTo>
                  <a:pt x="268" y="252"/>
                </a:lnTo>
                <a:lnTo>
                  <a:pt x="270" y="250"/>
                </a:lnTo>
                <a:lnTo>
                  <a:pt x="274" y="250"/>
                </a:lnTo>
                <a:lnTo>
                  <a:pt x="278" y="248"/>
                </a:lnTo>
                <a:lnTo>
                  <a:pt x="284" y="244"/>
                </a:lnTo>
                <a:lnTo>
                  <a:pt x="284" y="244"/>
                </a:lnTo>
                <a:lnTo>
                  <a:pt x="288" y="240"/>
                </a:lnTo>
                <a:lnTo>
                  <a:pt x="290" y="238"/>
                </a:lnTo>
                <a:lnTo>
                  <a:pt x="298" y="238"/>
                </a:lnTo>
                <a:lnTo>
                  <a:pt x="308" y="238"/>
                </a:lnTo>
                <a:lnTo>
                  <a:pt x="312" y="238"/>
                </a:lnTo>
                <a:lnTo>
                  <a:pt x="316" y="234"/>
                </a:lnTo>
                <a:lnTo>
                  <a:pt x="316" y="234"/>
                </a:lnTo>
                <a:lnTo>
                  <a:pt x="322" y="232"/>
                </a:lnTo>
                <a:lnTo>
                  <a:pt x="330" y="228"/>
                </a:lnTo>
                <a:lnTo>
                  <a:pt x="336" y="226"/>
                </a:lnTo>
                <a:lnTo>
                  <a:pt x="336" y="224"/>
                </a:lnTo>
                <a:lnTo>
                  <a:pt x="338" y="222"/>
                </a:lnTo>
                <a:lnTo>
                  <a:pt x="338" y="222"/>
                </a:lnTo>
                <a:lnTo>
                  <a:pt x="340" y="216"/>
                </a:lnTo>
                <a:lnTo>
                  <a:pt x="340" y="212"/>
                </a:lnTo>
                <a:lnTo>
                  <a:pt x="342" y="204"/>
                </a:lnTo>
                <a:lnTo>
                  <a:pt x="342" y="204"/>
                </a:lnTo>
                <a:lnTo>
                  <a:pt x="342" y="200"/>
                </a:lnTo>
                <a:lnTo>
                  <a:pt x="342" y="198"/>
                </a:lnTo>
                <a:lnTo>
                  <a:pt x="344" y="198"/>
                </a:lnTo>
                <a:lnTo>
                  <a:pt x="344" y="194"/>
                </a:lnTo>
                <a:lnTo>
                  <a:pt x="344" y="194"/>
                </a:lnTo>
                <a:lnTo>
                  <a:pt x="344" y="144"/>
                </a:lnTo>
                <a:lnTo>
                  <a:pt x="344" y="144"/>
                </a:lnTo>
                <a:lnTo>
                  <a:pt x="326" y="150"/>
                </a:lnTo>
                <a:lnTo>
                  <a:pt x="322" y="152"/>
                </a:lnTo>
                <a:lnTo>
                  <a:pt x="320" y="150"/>
                </a:lnTo>
                <a:lnTo>
                  <a:pt x="320" y="150"/>
                </a:lnTo>
                <a:lnTo>
                  <a:pt x="322" y="144"/>
                </a:lnTo>
                <a:lnTo>
                  <a:pt x="324" y="140"/>
                </a:lnTo>
                <a:lnTo>
                  <a:pt x="328" y="134"/>
                </a:lnTo>
                <a:lnTo>
                  <a:pt x="326" y="130"/>
                </a:lnTo>
                <a:lnTo>
                  <a:pt x="326" y="130"/>
                </a:lnTo>
                <a:lnTo>
                  <a:pt x="324" y="128"/>
                </a:lnTo>
                <a:lnTo>
                  <a:pt x="322" y="128"/>
                </a:lnTo>
                <a:lnTo>
                  <a:pt x="320" y="124"/>
                </a:lnTo>
                <a:lnTo>
                  <a:pt x="320" y="124"/>
                </a:lnTo>
                <a:lnTo>
                  <a:pt x="318" y="122"/>
                </a:lnTo>
                <a:lnTo>
                  <a:pt x="316" y="122"/>
                </a:lnTo>
                <a:lnTo>
                  <a:pt x="314" y="120"/>
                </a:lnTo>
                <a:lnTo>
                  <a:pt x="310" y="120"/>
                </a:lnTo>
                <a:lnTo>
                  <a:pt x="310" y="120"/>
                </a:lnTo>
                <a:lnTo>
                  <a:pt x="308" y="118"/>
                </a:lnTo>
                <a:lnTo>
                  <a:pt x="310" y="116"/>
                </a:lnTo>
                <a:lnTo>
                  <a:pt x="310" y="116"/>
                </a:lnTo>
                <a:lnTo>
                  <a:pt x="310" y="114"/>
                </a:lnTo>
                <a:lnTo>
                  <a:pt x="310" y="114"/>
                </a:lnTo>
                <a:lnTo>
                  <a:pt x="308" y="112"/>
                </a:lnTo>
                <a:lnTo>
                  <a:pt x="306" y="112"/>
                </a:lnTo>
                <a:lnTo>
                  <a:pt x="302" y="112"/>
                </a:lnTo>
                <a:lnTo>
                  <a:pt x="298" y="108"/>
                </a:lnTo>
                <a:lnTo>
                  <a:pt x="298" y="108"/>
                </a:lnTo>
                <a:lnTo>
                  <a:pt x="156" y="0"/>
                </a:lnTo>
                <a:lnTo>
                  <a:pt x="130" y="0"/>
                </a:lnTo>
                <a:lnTo>
                  <a:pt x="130" y="0"/>
                </a:lnTo>
                <a:lnTo>
                  <a:pt x="134" y="196"/>
                </a:lnTo>
                <a:lnTo>
                  <a:pt x="134" y="196"/>
                </a:lnTo>
                <a:lnTo>
                  <a:pt x="134" y="202"/>
                </a:lnTo>
                <a:lnTo>
                  <a:pt x="138" y="206"/>
                </a:lnTo>
                <a:lnTo>
                  <a:pt x="146" y="212"/>
                </a:lnTo>
                <a:lnTo>
                  <a:pt x="136" y="238"/>
                </a:lnTo>
                <a:lnTo>
                  <a:pt x="136" y="238"/>
                </a:lnTo>
                <a:lnTo>
                  <a:pt x="68" y="238"/>
                </a:lnTo>
                <a:lnTo>
                  <a:pt x="68" y="238"/>
                </a:lnTo>
                <a:lnTo>
                  <a:pt x="66" y="236"/>
                </a:lnTo>
                <a:lnTo>
                  <a:pt x="66" y="236"/>
                </a:lnTo>
                <a:lnTo>
                  <a:pt x="66" y="234"/>
                </a:lnTo>
                <a:lnTo>
                  <a:pt x="64" y="232"/>
                </a:lnTo>
                <a:lnTo>
                  <a:pt x="64" y="232"/>
                </a:lnTo>
                <a:lnTo>
                  <a:pt x="60" y="234"/>
                </a:lnTo>
                <a:lnTo>
                  <a:pt x="58" y="236"/>
                </a:lnTo>
                <a:lnTo>
                  <a:pt x="58" y="238"/>
                </a:lnTo>
                <a:lnTo>
                  <a:pt x="54" y="238"/>
                </a:lnTo>
                <a:lnTo>
                  <a:pt x="54" y="238"/>
                </a:lnTo>
                <a:lnTo>
                  <a:pt x="44" y="238"/>
                </a:lnTo>
                <a:lnTo>
                  <a:pt x="38" y="238"/>
                </a:lnTo>
                <a:lnTo>
                  <a:pt x="34" y="240"/>
                </a:lnTo>
                <a:lnTo>
                  <a:pt x="34" y="240"/>
                </a:lnTo>
                <a:lnTo>
                  <a:pt x="28" y="238"/>
                </a:lnTo>
                <a:lnTo>
                  <a:pt x="26" y="234"/>
                </a:lnTo>
                <a:lnTo>
                  <a:pt x="24" y="230"/>
                </a:lnTo>
                <a:lnTo>
                  <a:pt x="20" y="230"/>
                </a:lnTo>
                <a:lnTo>
                  <a:pt x="20" y="230"/>
                </a:lnTo>
                <a:lnTo>
                  <a:pt x="18" y="230"/>
                </a:lnTo>
                <a:lnTo>
                  <a:pt x="16" y="232"/>
                </a:lnTo>
                <a:lnTo>
                  <a:pt x="16" y="232"/>
                </a:lnTo>
                <a:lnTo>
                  <a:pt x="14" y="234"/>
                </a:lnTo>
                <a:lnTo>
                  <a:pt x="14" y="234"/>
                </a:lnTo>
                <a:lnTo>
                  <a:pt x="10" y="236"/>
                </a:lnTo>
                <a:lnTo>
                  <a:pt x="8" y="242"/>
                </a:lnTo>
                <a:lnTo>
                  <a:pt x="4" y="246"/>
                </a:lnTo>
                <a:lnTo>
                  <a:pt x="0" y="250"/>
                </a:lnTo>
                <a:lnTo>
                  <a:pt x="0" y="250"/>
                </a:lnTo>
                <a:lnTo>
                  <a:pt x="0" y="256"/>
                </a:lnTo>
                <a:lnTo>
                  <a:pt x="2" y="258"/>
                </a:lnTo>
                <a:lnTo>
                  <a:pt x="4" y="260"/>
                </a:lnTo>
                <a:lnTo>
                  <a:pt x="2" y="268"/>
                </a:lnTo>
                <a:lnTo>
                  <a:pt x="2" y="268"/>
                </a:lnTo>
                <a:lnTo>
                  <a:pt x="2" y="274"/>
                </a:lnTo>
                <a:lnTo>
                  <a:pt x="4" y="280"/>
                </a:lnTo>
                <a:lnTo>
                  <a:pt x="6" y="284"/>
                </a:lnTo>
                <a:lnTo>
                  <a:pt x="8" y="284"/>
                </a:lnTo>
                <a:lnTo>
                  <a:pt x="10" y="282"/>
                </a:lnTo>
                <a:lnTo>
                  <a:pt x="10" y="282"/>
                </a:lnTo>
                <a:lnTo>
                  <a:pt x="14" y="290"/>
                </a:lnTo>
                <a:lnTo>
                  <a:pt x="16" y="298"/>
                </a:lnTo>
                <a:lnTo>
                  <a:pt x="16" y="308"/>
                </a:lnTo>
                <a:lnTo>
                  <a:pt x="14" y="314"/>
                </a:lnTo>
                <a:lnTo>
                  <a:pt x="14" y="314"/>
                </a:lnTo>
                <a:lnTo>
                  <a:pt x="14" y="316"/>
                </a:lnTo>
                <a:lnTo>
                  <a:pt x="16" y="318"/>
                </a:lnTo>
                <a:lnTo>
                  <a:pt x="20" y="318"/>
                </a:lnTo>
                <a:lnTo>
                  <a:pt x="22" y="316"/>
                </a:lnTo>
                <a:lnTo>
                  <a:pt x="22" y="316"/>
                </a:lnTo>
                <a:lnTo>
                  <a:pt x="24" y="320"/>
                </a:lnTo>
                <a:lnTo>
                  <a:pt x="26" y="320"/>
                </a:lnTo>
                <a:lnTo>
                  <a:pt x="28" y="318"/>
                </a:lnTo>
                <a:lnTo>
                  <a:pt x="30" y="318"/>
                </a:lnTo>
                <a:lnTo>
                  <a:pt x="30" y="318"/>
                </a:lnTo>
                <a:lnTo>
                  <a:pt x="34" y="318"/>
                </a:lnTo>
                <a:lnTo>
                  <a:pt x="36" y="320"/>
                </a:lnTo>
                <a:lnTo>
                  <a:pt x="38" y="322"/>
                </a:lnTo>
                <a:lnTo>
                  <a:pt x="42" y="320"/>
                </a:lnTo>
                <a:lnTo>
                  <a:pt x="42" y="320"/>
                </a:lnTo>
                <a:lnTo>
                  <a:pt x="44" y="318"/>
                </a:lnTo>
                <a:lnTo>
                  <a:pt x="46" y="320"/>
                </a:lnTo>
                <a:lnTo>
                  <a:pt x="48" y="320"/>
                </a:lnTo>
                <a:lnTo>
                  <a:pt x="54" y="318"/>
                </a:lnTo>
                <a:lnTo>
                  <a:pt x="54" y="318"/>
                </a:lnTo>
                <a:lnTo>
                  <a:pt x="54" y="316"/>
                </a:lnTo>
                <a:lnTo>
                  <a:pt x="56" y="314"/>
                </a:lnTo>
                <a:lnTo>
                  <a:pt x="58" y="312"/>
                </a:lnTo>
                <a:lnTo>
                  <a:pt x="62" y="314"/>
                </a:lnTo>
                <a:lnTo>
                  <a:pt x="62" y="314"/>
                </a:lnTo>
                <a:lnTo>
                  <a:pt x="66" y="316"/>
                </a:lnTo>
                <a:lnTo>
                  <a:pt x="66" y="318"/>
                </a:lnTo>
                <a:lnTo>
                  <a:pt x="66" y="320"/>
                </a:lnTo>
                <a:lnTo>
                  <a:pt x="70" y="324"/>
                </a:lnTo>
                <a:lnTo>
                  <a:pt x="70" y="324"/>
                </a:lnTo>
                <a:lnTo>
                  <a:pt x="72" y="328"/>
                </a:lnTo>
                <a:lnTo>
                  <a:pt x="72" y="330"/>
                </a:lnTo>
                <a:lnTo>
                  <a:pt x="72" y="332"/>
                </a:lnTo>
                <a:lnTo>
                  <a:pt x="74" y="334"/>
                </a:lnTo>
                <a:lnTo>
                  <a:pt x="74" y="334"/>
                </a:lnTo>
                <a:lnTo>
                  <a:pt x="78" y="336"/>
                </a:lnTo>
                <a:lnTo>
                  <a:pt x="78" y="338"/>
                </a:lnTo>
                <a:lnTo>
                  <a:pt x="72" y="348"/>
                </a:lnTo>
                <a:lnTo>
                  <a:pt x="72" y="348"/>
                </a:lnTo>
                <a:lnTo>
                  <a:pt x="76" y="346"/>
                </a:lnTo>
                <a:lnTo>
                  <a:pt x="80" y="348"/>
                </a:lnTo>
                <a:lnTo>
                  <a:pt x="80" y="352"/>
                </a:lnTo>
                <a:lnTo>
                  <a:pt x="82" y="358"/>
                </a:lnTo>
                <a:lnTo>
                  <a:pt x="82" y="358"/>
                </a:lnTo>
                <a:lnTo>
                  <a:pt x="84" y="362"/>
                </a:lnTo>
                <a:lnTo>
                  <a:pt x="88" y="364"/>
                </a:lnTo>
                <a:lnTo>
                  <a:pt x="90" y="366"/>
                </a:lnTo>
                <a:lnTo>
                  <a:pt x="92" y="368"/>
                </a:lnTo>
                <a:lnTo>
                  <a:pt x="92" y="368"/>
                </a:lnTo>
                <a:lnTo>
                  <a:pt x="96" y="364"/>
                </a:lnTo>
                <a:lnTo>
                  <a:pt x="98" y="362"/>
                </a:lnTo>
                <a:lnTo>
                  <a:pt x="102" y="364"/>
                </a:lnTo>
                <a:lnTo>
                  <a:pt x="102" y="364"/>
                </a:lnTo>
                <a:lnTo>
                  <a:pt x="106" y="368"/>
                </a:lnTo>
                <a:lnTo>
                  <a:pt x="108" y="366"/>
                </a:lnTo>
                <a:lnTo>
                  <a:pt x="112" y="364"/>
                </a:lnTo>
                <a:lnTo>
                  <a:pt x="112" y="364"/>
                </a:lnTo>
                <a:lnTo>
                  <a:pt x="114" y="360"/>
                </a:lnTo>
                <a:lnTo>
                  <a:pt x="118" y="358"/>
                </a:lnTo>
                <a:lnTo>
                  <a:pt x="120" y="360"/>
                </a:lnTo>
                <a:lnTo>
                  <a:pt x="122" y="360"/>
                </a:lnTo>
                <a:lnTo>
                  <a:pt x="126" y="364"/>
                </a:lnTo>
                <a:lnTo>
                  <a:pt x="128" y="364"/>
                </a:lnTo>
                <a:lnTo>
                  <a:pt x="130" y="362"/>
                </a:lnTo>
                <a:lnTo>
                  <a:pt x="130" y="362"/>
                </a:lnTo>
                <a:lnTo>
                  <a:pt x="134" y="360"/>
                </a:lnTo>
                <a:lnTo>
                  <a:pt x="138" y="362"/>
                </a:lnTo>
                <a:lnTo>
                  <a:pt x="144" y="364"/>
                </a:lnTo>
                <a:lnTo>
                  <a:pt x="144" y="364"/>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68" name="Freeform 161"/>
          <p:cNvSpPr>
            <a:spLocks/>
          </p:cNvSpPr>
          <p:nvPr/>
        </p:nvSpPr>
        <p:spPr bwMode="auto">
          <a:xfrm>
            <a:off x="4409269" y="2356444"/>
            <a:ext cx="275738" cy="284516"/>
          </a:xfrm>
          <a:custGeom>
            <a:avLst/>
            <a:gdLst/>
            <a:ahLst/>
            <a:cxnLst>
              <a:cxn ang="0">
                <a:pos x="228" y="20"/>
              </a:cxn>
              <a:cxn ang="0">
                <a:pos x="230" y="30"/>
              </a:cxn>
              <a:cxn ang="0">
                <a:pos x="240" y="42"/>
              </a:cxn>
              <a:cxn ang="0">
                <a:pos x="236" y="60"/>
              </a:cxn>
              <a:cxn ang="0">
                <a:pos x="216" y="96"/>
              </a:cxn>
              <a:cxn ang="0">
                <a:pos x="214" y="112"/>
              </a:cxn>
              <a:cxn ang="0">
                <a:pos x="210" y="118"/>
              </a:cxn>
              <a:cxn ang="0">
                <a:pos x="208" y="130"/>
              </a:cxn>
              <a:cxn ang="0">
                <a:pos x="202" y="142"/>
              </a:cxn>
              <a:cxn ang="0">
                <a:pos x="194" y="156"/>
              </a:cxn>
              <a:cxn ang="0">
                <a:pos x="184" y="176"/>
              </a:cxn>
              <a:cxn ang="0">
                <a:pos x="176" y="186"/>
              </a:cxn>
              <a:cxn ang="0">
                <a:pos x="168" y="190"/>
              </a:cxn>
              <a:cxn ang="0">
                <a:pos x="160" y="186"/>
              </a:cxn>
              <a:cxn ang="0">
                <a:pos x="144" y="184"/>
              </a:cxn>
              <a:cxn ang="0">
                <a:pos x="126" y="210"/>
              </a:cxn>
              <a:cxn ang="0">
                <a:pos x="118" y="228"/>
              </a:cxn>
              <a:cxn ang="0">
                <a:pos x="110" y="240"/>
              </a:cxn>
              <a:cxn ang="0">
                <a:pos x="102" y="244"/>
              </a:cxn>
              <a:cxn ang="0">
                <a:pos x="94" y="242"/>
              </a:cxn>
              <a:cxn ang="0">
                <a:pos x="88" y="248"/>
              </a:cxn>
              <a:cxn ang="0">
                <a:pos x="82" y="250"/>
              </a:cxn>
              <a:cxn ang="0">
                <a:pos x="76" y="250"/>
              </a:cxn>
              <a:cxn ang="0">
                <a:pos x="56" y="238"/>
              </a:cxn>
              <a:cxn ang="0">
                <a:pos x="52" y="232"/>
              </a:cxn>
              <a:cxn ang="0">
                <a:pos x="56" y="226"/>
              </a:cxn>
              <a:cxn ang="0">
                <a:pos x="52" y="228"/>
              </a:cxn>
              <a:cxn ang="0">
                <a:pos x="50" y="222"/>
              </a:cxn>
              <a:cxn ang="0">
                <a:pos x="54" y="218"/>
              </a:cxn>
              <a:cxn ang="0">
                <a:pos x="50" y="214"/>
              </a:cxn>
              <a:cxn ang="0">
                <a:pos x="28" y="204"/>
              </a:cxn>
              <a:cxn ang="0">
                <a:pos x="12" y="200"/>
              </a:cxn>
              <a:cxn ang="0">
                <a:pos x="2" y="188"/>
              </a:cxn>
              <a:cxn ang="0">
                <a:pos x="2" y="162"/>
              </a:cxn>
              <a:cxn ang="0">
                <a:pos x="4" y="126"/>
              </a:cxn>
              <a:cxn ang="0">
                <a:pos x="6" y="116"/>
              </a:cxn>
              <a:cxn ang="0">
                <a:pos x="16" y="104"/>
              </a:cxn>
              <a:cxn ang="0">
                <a:pos x="14" y="96"/>
              </a:cxn>
              <a:cxn ang="0">
                <a:pos x="20" y="84"/>
              </a:cxn>
              <a:cxn ang="0">
                <a:pos x="16" y="66"/>
              </a:cxn>
              <a:cxn ang="0">
                <a:pos x="14" y="54"/>
              </a:cxn>
              <a:cxn ang="0">
                <a:pos x="18" y="26"/>
              </a:cxn>
              <a:cxn ang="0">
                <a:pos x="32" y="4"/>
              </a:cxn>
              <a:cxn ang="0">
                <a:pos x="48" y="2"/>
              </a:cxn>
              <a:cxn ang="0">
                <a:pos x="60" y="2"/>
              </a:cxn>
              <a:cxn ang="0">
                <a:pos x="72" y="4"/>
              </a:cxn>
              <a:cxn ang="0">
                <a:pos x="84" y="16"/>
              </a:cxn>
              <a:cxn ang="0">
                <a:pos x="94" y="16"/>
              </a:cxn>
              <a:cxn ang="0">
                <a:pos x="106" y="18"/>
              </a:cxn>
              <a:cxn ang="0">
                <a:pos x="144" y="22"/>
              </a:cxn>
              <a:cxn ang="0">
                <a:pos x="166" y="10"/>
              </a:cxn>
              <a:cxn ang="0">
                <a:pos x="206" y="12"/>
              </a:cxn>
              <a:cxn ang="0">
                <a:pos x="216" y="4"/>
              </a:cxn>
            </a:cxnLst>
            <a:rect l="0" t="0" r="r" b="b"/>
            <a:pathLst>
              <a:path w="242" h="250">
                <a:moveTo>
                  <a:pt x="216" y="4"/>
                </a:moveTo>
                <a:lnTo>
                  <a:pt x="216" y="4"/>
                </a:lnTo>
                <a:lnTo>
                  <a:pt x="218" y="10"/>
                </a:lnTo>
                <a:lnTo>
                  <a:pt x="222" y="16"/>
                </a:lnTo>
                <a:lnTo>
                  <a:pt x="228" y="20"/>
                </a:lnTo>
                <a:lnTo>
                  <a:pt x="232" y="22"/>
                </a:lnTo>
                <a:lnTo>
                  <a:pt x="230" y="24"/>
                </a:lnTo>
                <a:lnTo>
                  <a:pt x="230" y="24"/>
                </a:lnTo>
                <a:lnTo>
                  <a:pt x="230" y="26"/>
                </a:lnTo>
                <a:lnTo>
                  <a:pt x="230" y="30"/>
                </a:lnTo>
                <a:lnTo>
                  <a:pt x="232" y="34"/>
                </a:lnTo>
                <a:lnTo>
                  <a:pt x="238" y="34"/>
                </a:lnTo>
                <a:lnTo>
                  <a:pt x="238" y="34"/>
                </a:lnTo>
                <a:lnTo>
                  <a:pt x="238" y="40"/>
                </a:lnTo>
                <a:lnTo>
                  <a:pt x="240" y="42"/>
                </a:lnTo>
                <a:lnTo>
                  <a:pt x="240" y="42"/>
                </a:lnTo>
                <a:lnTo>
                  <a:pt x="242" y="44"/>
                </a:lnTo>
                <a:lnTo>
                  <a:pt x="240" y="52"/>
                </a:lnTo>
                <a:lnTo>
                  <a:pt x="240" y="52"/>
                </a:lnTo>
                <a:lnTo>
                  <a:pt x="236" y="60"/>
                </a:lnTo>
                <a:lnTo>
                  <a:pt x="232" y="62"/>
                </a:lnTo>
                <a:lnTo>
                  <a:pt x="230" y="64"/>
                </a:lnTo>
                <a:lnTo>
                  <a:pt x="226" y="74"/>
                </a:lnTo>
                <a:lnTo>
                  <a:pt x="226" y="74"/>
                </a:lnTo>
                <a:lnTo>
                  <a:pt x="216" y="96"/>
                </a:lnTo>
                <a:lnTo>
                  <a:pt x="216" y="104"/>
                </a:lnTo>
                <a:lnTo>
                  <a:pt x="216" y="106"/>
                </a:lnTo>
                <a:lnTo>
                  <a:pt x="216" y="110"/>
                </a:lnTo>
                <a:lnTo>
                  <a:pt x="216" y="110"/>
                </a:lnTo>
                <a:lnTo>
                  <a:pt x="214" y="112"/>
                </a:lnTo>
                <a:lnTo>
                  <a:pt x="214" y="112"/>
                </a:lnTo>
                <a:lnTo>
                  <a:pt x="212" y="112"/>
                </a:lnTo>
                <a:lnTo>
                  <a:pt x="210" y="116"/>
                </a:lnTo>
                <a:lnTo>
                  <a:pt x="210" y="116"/>
                </a:lnTo>
                <a:lnTo>
                  <a:pt x="210" y="118"/>
                </a:lnTo>
                <a:lnTo>
                  <a:pt x="210" y="120"/>
                </a:lnTo>
                <a:lnTo>
                  <a:pt x="212" y="122"/>
                </a:lnTo>
                <a:lnTo>
                  <a:pt x="212" y="126"/>
                </a:lnTo>
                <a:lnTo>
                  <a:pt x="212" y="126"/>
                </a:lnTo>
                <a:lnTo>
                  <a:pt x="208" y="130"/>
                </a:lnTo>
                <a:lnTo>
                  <a:pt x="206" y="130"/>
                </a:lnTo>
                <a:lnTo>
                  <a:pt x="204" y="132"/>
                </a:lnTo>
                <a:lnTo>
                  <a:pt x="204" y="138"/>
                </a:lnTo>
                <a:lnTo>
                  <a:pt x="204" y="138"/>
                </a:lnTo>
                <a:lnTo>
                  <a:pt x="202" y="142"/>
                </a:lnTo>
                <a:lnTo>
                  <a:pt x="198" y="144"/>
                </a:lnTo>
                <a:lnTo>
                  <a:pt x="196" y="148"/>
                </a:lnTo>
                <a:lnTo>
                  <a:pt x="192" y="152"/>
                </a:lnTo>
                <a:lnTo>
                  <a:pt x="192" y="152"/>
                </a:lnTo>
                <a:lnTo>
                  <a:pt x="194" y="156"/>
                </a:lnTo>
                <a:lnTo>
                  <a:pt x="196" y="156"/>
                </a:lnTo>
                <a:lnTo>
                  <a:pt x="196" y="160"/>
                </a:lnTo>
                <a:lnTo>
                  <a:pt x="190" y="166"/>
                </a:lnTo>
                <a:lnTo>
                  <a:pt x="190" y="166"/>
                </a:lnTo>
                <a:lnTo>
                  <a:pt x="184" y="176"/>
                </a:lnTo>
                <a:lnTo>
                  <a:pt x="182" y="180"/>
                </a:lnTo>
                <a:lnTo>
                  <a:pt x="182" y="182"/>
                </a:lnTo>
                <a:lnTo>
                  <a:pt x="180" y="184"/>
                </a:lnTo>
                <a:lnTo>
                  <a:pt x="180" y="184"/>
                </a:lnTo>
                <a:lnTo>
                  <a:pt x="176" y="186"/>
                </a:lnTo>
                <a:lnTo>
                  <a:pt x="176" y="190"/>
                </a:lnTo>
                <a:lnTo>
                  <a:pt x="174" y="192"/>
                </a:lnTo>
                <a:lnTo>
                  <a:pt x="172" y="192"/>
                </a:lnTo>
                <a:lnTo>
                  <a:pt x="172" y="192"/>
                </a:lnTo>
                <a:lnTo>
                  <a:pt x="168" y="190"/>
                </a:lnTo>
                <a:lnTo>
                  <a:pt x="166" y="188"/>
                </a:lnTo>
                <a:lnTo>
                  <a:pt x="166" y="186"/>
                </a:lnTo>
                <a:lnTo>
                  <a:pt x="162" y="186"/>
                </a:lnTo>
                <a:lnTo>
                  <a:pt x="162" y="186"/>
                </a:lnTo>
                <a:lnTo>
                  <a:pt x="160" y="186"/>
                </a:lnTo>
                <a:lnTo>
                  <a:pt x="158" y="184"/>
                </a:lnTo>
                <a:lnTo>
                  <a:pt x="156" y="182"/>
                </a:lnTo>
                <a:lnTo>
                  <a:pt x="150" y="182"/>
                </a:lnTo>
                <a:lnTo>
                  <a:pt x="150" y="182"/>
                </a:lnTo>
                <a:lnTo>
                  <a:pt x="144" y="184"/>
                </a:lnTo>
                <a:lnTo>
                  <a:pt x="140" y="188"/>
                </a:lnTo>
                <a:lnTo>
                  <a:pt x="138" y="192"/>
                </a:lnTo>
                <a:lnTo>
                  <a:pt x="134" y="200"/>
                </a:lnTo>
                <a:lnTo>
                  <a:pt x="134" y="200"/>
                </a:lnTo>
                <a:lnTo>
                  <a:pt x="126" y="210"/>
                </a:lnTo>
                <a:lnTo>
                  <a:pt x="124" y="216"/>
                </a:lnTo>
                <a:lnTo>
                  <a:pt x="126" y="220"/>
                </a:lnTo>
                <a:lnTo>
                  <a:pt x="122" y="224"/>
                </a:lnTo>
                <a:lnTo>
                  <a:pt x="122" y="224"/>
                </a:lnTo>
                <a:lnTo>
                  <a:pt x="118" y="228"/>
                </a:lnTo>
                <a:lnTo>
                  <a:pt x="116" y="232"/>
                </a:lnTo>
                <a:lnTo>
                  <a:pt x="120" y="244"/>
                </a:lnTo>
                <a:lnTo>
                  <a:pt x="120" y="244"/>
                </a:lnTo>
                <a:lnTo>
                  <a:pt x="114" y="242"/>
                </a:lnTo>
                <a:lnTo>
                  <a:pt x="110" y="240"/>
                </a:lnTo>
                <a:lnTo>
                  <a:pt x="110" y="240"/>
                </a:lnTo>
                <a:lnTo>
                  <a:pt x="112" y="242"/>
                </a:lnTo>
                <a:lnTo>
                  <a:pt x="110" y="244"/>
                </a:lnTo>
                <a:lnTo>
                  <a:pt x="106" y="246"/>
                </a:lnTo>
                <a:lnTo>
                  <a:pt x="102" y="244"/>
                </a:lnTo>
                <a:lnTo>
                  <a:pt x="102" y="244"/>
                </a:lnTo>
                <a:lnTo>
                  <a:pt x="102" y="246"/>
                </a:lnTo>
                <a:lnTo>
                  <a:pt x="100" y="246"/>
                </a:lnTo>
                <a:lnTo>
                  <a:pt x="98" y="246"/>
                </a:lnTo>
                <a:lnTo>
                  <a:pt x="94" y="242"/>
                </a:lnTo>
                <a:lnTo>
                  <a:pt x="94" y="242"/>
                </a:lnTo>
                <a:lnTo>
                  <a:pt x="90" y="244"/>
                </a:lnTo>
                <a:lnTo>
                  <a:pt x="90" y="246"/>
                </a:lnTo>
                <a:lnTo>
                  <a:pt x="90" y="246"/>
                </a:lnTo>
                <a:lnTo>
                  <a:pt x="88" y="248"/>
                </a:lnTo>
                <a:lnTo>
                  <a:pt x="88" y="248"/>
                </a:lnTo>
                <a:lnTo>
                  <a:pt x="86" y="248"/>
                </a:lnTo>
                <a:lnTo>
                  <a:pt x="86" y="248"/>
                </a:lnTo>
                <a:lnTo>
                  <a:pt x="82" y="250"/>
                </a:lnTo>
                <a:lnTo>
                  <a:pt x="82" y="250"/>
                </a:lnTo>
                <a:lnTo>
                  <a:pt x="80" y="250"/>
                </a:lnTo>
                <a:lnTo>
                  <a:pt x="80" y="250"/>
                </a:lnTo>
                <a:lnTo>
                  <a:pt x="78" y="250"/>
                </a:lnTo>
                <a:lnTo>
                  <a:pt x="76" y="250"/>
                </a:lnTo>
                <a:lnTo>
                  <a:pt x="76" y="250"/>
                </a:lnTo>
                <a:lnTo>
                  <a:pt x="70" y="248"/>
                </a:lnTo>
                <a:lnTo>
                  <a:pt x="58" y="242"/>
                </a:lnTo>
                <a:lnTo>
                  <a:pt x="58" y="242"/>
                </a:lnTo>
                <a:lnTo>
                  <a:pt x="56" y="240"/>
                </a:lnTo>
                <a:lnTo>
                  <a:pt x="56" y="238"/>
                </a:lnTo>
                <a:lnTo>
                  <a:pt x="56" y="238"/>
                </a:lnTo>
                <a:lnTo>
                  <a:pt x="54" y="236"/>
                </a:lnTo>
                <a:lnTo>
                  <a:pt x="54" y="236"/>
                </a:lnTo>
                <a:lnTo>
                  <a:pt x="52" y="234"/>
                </a:lnTo>
                <a:lnTo>
                  <a:pt x="52" y="232"/>
                </a:lnTo>
                <a:lnTo>
                  <a:pt x="54" y="230"/>
                </a:lnTo>
                <a:lnTo>
                  <a:pt x="54" y="230"/>
                </a:lnTo>
                <a:lnTo>
                  <a:pt x="56" y="228"/>
                </a:lnTo>
                <a:lnTo>
                  <a:pt x="56" y="228"/>
                </a:lnTo>
                <a:lnTo>
                  <a:pt x="56" y="226"/>
                </a:lnTo>
                <a:lnTo>
                  <a:pt x="60" y="224"/>
                </a:lnTo>
                <a:lnTo>
                  <a:pt x="60" y="224"/>
                </a:lnTo>
                <a:lnTo>
                  <a:pt x="56" y="224"/>
                </a:lnTo>
                <a:lnTo>
                  <a:pt x="56" y="224"/>
                </a:lnTo>
                <a:lnTo>
                  <a:pt x="52" y="228"/>
                </a:lnTo>
                <a:lnTo>
                  <a:pt x="52" y="228"/>
                </a:lnTo>
                <a:lnTo>
                  <a:pt x="52" y="228"/>
                </a:lnTo>
                <a:lnTo>
                  <a:pt x="52" y="226"/>
                </a:lnTo>
                <a:lnTo>
                  <a:pt x="52" y="224"/>
                </a:lnTo>
                <a:lnTo>
                  <a:pt x="50" y="222"/>
                </a:lnTo>
                <a:lnTo>
                  <a:pt x="50" y="222"/>
                </a:lnTo>
                <a:lnTo>
                  <a:pt x="50" y="222"/>
                </a:lnTo>
                <a:lnTo>
                  <a:pt x="50" y="220"/>
                </a:lnTo>
                <a:lnTo>
                  <a:pt x="54" y="218"/>
                </a:lnTo>
                <a:lnTo>
                  <a:pt x="54" y="218"/>
                </a:lnTo>
                <a:lnTo>
                  <a:pt x="50" y="220"/>
                </a:lnTo>
                <a:lnTo>
                  <a:pt x="48" y="218"/>
                </a:lnTo>
                <a:lnTo>
                  <a:pt x="50" y="216"/>
                </a:lnTo>
                <a:lnTo>
                  <a:pt x="50" y="216"/>
                </a:lnTo>
                <a:lnTo>
                  <a:pt x="50" y="214"/>
                </a:lnTo>
                <a:lnTo>
                  <a:pt x="48" y="212"/>
                </a:lnTo>
                <a:lnTo>
                  <a:pt x="44" y="208"/>
                </a:lnTo>
                <a:lnTo>
                  <a:pt x="36" y="204"/>
                </a:lnTo>
                <a:lnTo>
                  <a:pt x="28" y="204"/>
                </a:lnTo>
                <a:lnTo>
                  <a:pt x="28" y="204"/>
                </a:lnTo>
                <a:lnTo>
                  <a:pt x="18" y="202"/>
                </a:lnTo>
                <a:lnTo>
                  <a:pt x="16" y="202"/>
                </a:lnTo>
                <a:lnTo>
                  <a:pt x="20" y="200"/>
                </a:lnTo>
                <a:lnTo>
                  <a:pt x="20" y="200"/>
                </a:lnTo>
                <a:lnTo>
                  <a:pt x="12" y="200"/>
                </a:lnTo>
                <a:lnTo>
                  <a:pt x="12" y="200"/>
                </a:lnTo>
                <a:lnTo>
                  <a:pt x="10" y="202"/>
                </a:lnTo>
                <a:lnTo>
                  <a:pt x="2" y="202"/>
                </a:lnTo>
                <a:lnTo>
                  <a:pt x="2" y="202"/>
                </a:lnTo>
                <a:lnTo>
                  <a:pt x="2" y="188"/>
                </a:lnTo>
                <a:lnTo>
                  <a:pt x="2" y="176"/>
                </a:lnTo>
                <a:lnTo>
                  <a:pt x="2" y="168"/>
                </a:lnTo>
                <a:lnTo>
                  <a:pt x="0" y="164"/>
                </a:lnTo>
                <a:lnTo>
                  <a:pt x="0" y="164"/>
                </a:lnTo>
                <a:lnTo>
                  <a:pt x="2" y="162"/>
                </a:lnTo>
                <a:lnTo>
                  <a:pt x="2" y="154"/>
                </a:lnTo>
                <a:lnTo>
                  <a:pt x="0" y="132"/>
                </a:lnTo>
                <a:lnTo>
                  <a:pt x="0" y="132"/>
                </a:lnTo>
                <a:lnTo>
                  <a:pt x="4" y="130"/>
                </a:lnTo>
                <a:lnTo>
                  <a:pt x="4" y="126"/>
                </a:lnTo>
                <a:lnTo>
                  <a:pt x="2" y="124"/>
                </a:lnTo>
                <a:lnTo>
                  <a:pt x="4" y="122"/>
                </a:lnTo>
                <a:lnTo>
                  <a:pt x="4" y="122"/>
                </a:lnTo>
                <a:lnTo>
                  <a:pt x="6" y="118"/>
                </a:lnTo>
                <a:lnTo>
                  <a:pt x="6" y="116"/>
                </a:lnTo>
                <a:lnTo>
                  <a:pt x="8" y="114"/>
                </a:lnTo>
                <a:lnTo>
                  <a:pt x="10" y="112"/>
                </a:lnTo>
                <a:lnTo>
                  <a:pt x="10" y="112"/>
                </a:lnTo>
                <a:lnTo>
                  <a:pt x="14" y="108"/>
                </a:lnTo>
                <a:lnTo>
                  <a:pt x="16" y="104"/>
                </a:lnTo>
                <a:lnTo>
                  <a:pt x="16" y="100"/>
                </a:lnTo>
                <a:lnTo>
                  <a:pt x="14" y="98"/>
                </a:lnTo>
                <a:lnTo>
                  <a:pt x="14" y="98"/>
                </a:lnTo>
                <a:lnTo>
                  <a:pt x="14" y="96"/>
                </a:lnTo>
                <a:lnTo>
                  <a:pt x="14" y="96"/>
                </a:lnTo>
                <a:lnTo>
                  <a:pt x="16" y="94"/>
                </a:lnTo>
                <a:lnTo>
                  <a:pt x="16" y="94"/>
                </a:lnTo>
                <a:lnTo>
                  <a:pt x="18" y="92"/>
                </a:lnTo>
                <a:lnTo>
                  <a:pt x="20" y="88"/>
                </a:lnTo>
                <a:lnTo>
                  <a:pt x="20" y="84"/>
                </a:lnTo>
                <a:lnTo>
                  <a:pt x="18" y="78"/>
                </a:lnTo>
                <a:lnTo>
                  <a:pt x="18" y="78"/>
                </a:lnTo>
                <a:lnTo>
                  <a:pt x="16" y="74"/>
                </a:lnTo>
                <a:lnTo>
                  <a:pt x="16" y="70"/>
                </a:lnTo>
                <a:lnTo>
                  <a:pt x="16" y="66"/>
                </a:lnTo>
                <a:lnTo>
                  <a:pt x="14" y="64"/>
                </a:lnTo>
                <a:lnTo>
                  <a:pt x="14" y="64"/>
                </a:lnTo>
                <a:lnTo>
                  <a:pt x="12" y="62"/>
                </a:lnTo>
                <a:lnTo>
                  <a:pt x="14" y="54"/>
                </a:lnTo>
                <a:lnTo>
                  <a:pt x="14" y="54"/>
                </a:lnTo>
                <a:lnTo>
                  <a:pt x="14" y="48"/>
                </a:lnTo>
                <a:lnTo>
                  <a:pt x="14" y="40"/>
                </a:lnTo>
                <a:lnTo>
                  <a:pt x="14" y="34"/>
                </a:lnTo>
                <a:lnTo>
                  <a:pt x="14" y="30"/>
                </a:lnTo>
                <a:lnTo>
                  <a:pt x="18" y="26"/>
                </a:lnTo>
                <a:lnTo>
                  <a:pt x="18" y="26"/>
                </a:lnTo>
                <a:lnTo>
                  <a:pt x="22" y="20"/>
                </a:lnTo>
                <a:lnTo>
                  <a:pt x="24" y="16"/>
                </a:lnTo>
                <a:lnTo>
                  <a:pt x="26" y="10"/>
                </a:lnTo>
                <a:lnTo>
                  <a:pt x="32" y="4"/>
                </a:lnTo>
                <a:lnTo>
                  <a:pt x="32" y="4"/>
                </a:lnTo>
                <a:lnTo>
                  <a:pt x="40" y="0"/>
                </a:lnTo>
                <a:lnTo>
                  <a:pt x="44" y="0"/>
                </a:lnTo>
                <a:lnTo>
                  <a:pt x="48" y="0"/>
                </a:lnTo>
                <a:lnTo>
                  <a:pt x="48" y="2"/>
                </a:lnTo>
                <a:lnTo>
                  <a:pt x="48" y="2"/>
                </a:lnTo>
                <a:lnTo>
                  <a:pt x="50" y="4"/>
                </a:lnTo>
                <a:lnTo>
                  <a:pt x="52" y="4"/>
                </a:lnTo>
                <a:lnTo>
                  <a:pt x="56" y="2"/>
                </a:lnTo>
                <a:lnTo>
                  <a:pt x="60" y="2"/>
                </a:lnTo>
                <a:lnTo>
                  <a:pt x="62" y="2"/>
                </a:lnTo>
                <a:lnTo>
                  <a:pt x="66" y="2"/>
                </a:lnTo>
                <a:lnTo>
                  <a:pt x="66" y="2"/>
                </a:lnTo>
                <a:lnTo>
                  <a:pt x="70" y="6"/>
                </a:lnTo>
                <a:lnTo>
                  <a:pt x="72" y="4"/>
                </a:lnTo>
                <a:lnTo>
                  <a:pt x="74" y="6"/>
                </a:lnTo>
                <a:lnTo>
                  <a:pt x="78" y="12"/>
                </a:lnTo>
                <a:lnTo>
                  <a:pt x="78" y="12"/>
                </a:lnTo>
                <a:lnTo>
                  <a:pt x="80" y="16"/>
                </a:lnTo>
                <a:lnTo>
                  <a:pt x="84" y="16"/>
                </a:lnTo>
                <a:lnTo>
                  <a:pt x="86" y="14"/>
                </a:lnTo>
                <a:lnTo>
                  <a:pt x="90" y="16"/>
                </a:lnTo>
                <a:lnTo>
                  <a:pt x="90" y="16"/>
                </a:lnTo>
                <a:lnTo>
                  <a:pt x="92" y="16"/>
                </a:lnTo>
                <a:lnTo>
                  <a:pt x="94" y="16"/>
                </a:lnTo>
                <a:lnTo>
                  <a:pt x="96" y="12"/>
                </a:lnTo>
                <a:lnTo>
                  <a:pt x="96" y="12"/>
                </a:lnTo>
                <a:lnTo>
                  <a:pt x="98" y="12"/>
                </a:lnTo>
                <a:lnTo>
                  <a:pt x="106" y="18"/>
                </a:lnTo>
                <a:lnTo>
                  <a:pt x="106" y="18"/>
                </a:lnTo>
                <a:lnTo>
                  <a:pt x="112" y="20"/>
                </a:lnTo>
                <a:lnTo>
                  <a:pt x="124" y="24"/>
                </a:lnTo>
                <a:lnTo>
                  <a:pt x="132" y="24"/>
                </a:lnTo>
                <a:lnTo>
                  <a:pt x="138" y="24"/>
                </a:lnTo>
                <a:lnTo>
                  <a:pt x="144" y="22"/>
                </a:lnTo>
                <a:lnTo>
                  <a:pt x="148" y="18"/>
                </a:lnTo>
                <a:lnTo>
                  <a:pt x="148" y="18"/>
                </a:lnTo>
                <a:lnTo>
                  <a:pt x="150" y="16"/>
                </a:lnTo>
                <a:lnTo>
                  <a:pt x="154" y="14"/>
                </a:lnTo>
                <a:lnTo>
                  <a:pt x="166" y="10"/>
                </a:lnTo>
                <a:lnTo>
                  <a:pt x="180" y="10"/>
                </a:lnTo>
                <a:lnTo>
                  <a:pt x="196" y="12"/>
                </a:lnTo>
                <a:lnTo>
                  <a:pt x="196" y="12"/>
                </a:lnTo>
                <a:lnTo>
                  <a:pt x="204" y="14"/>
                </a:lnTo>
                <a:lnTo>
                  <a:pt x="206" y="12"/>
                </a:lnTo>
                <a:lnTo>
                  <a:pt x="204" y="12"/>
                </a:lnTo>
                <a:lnTo>
                  <a:pt x="204" y="8"/>
                </a:lnTo>
                <a:lnTo>
                  <a:pt x="206" y="6"/>
                </a:lnTo>
                <a:lnTo>
                  <a:pt x="208" y="4"/>
                </a:lnTo>
                <a:lnTo>
                  <a:pt x="216" y="4"/>
                </a:lnTo>
                <a:lnTo>
                  <a:pt x="216" y="4"/>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69" name="Freeform 162"/>
          <p:cNvSpPr>
            <a:spLocks/>
          </p:cNvSpPr>
          <p:nvPr/>
        </p:nvSpPr>
        <p:spPr bwMode="auto">
          <a:xfrm>
            <a:off x="4664498" y="2053719"/>
            <a:ext cx="239277" cy="491643"/>
          </a:xfrm>
          <a:custGeom>
            <a:avLst/>
            <a:gdLst/>
            <a:ahLst/>
            <a:cxnLst>
              <a:cxn ang="0">
                <a:pos x="196" y="330"/>
              </a:cxn>
              <a:cxn ang="0">
                <a:pos x="190" y="320"/>
              </a:cxn>
              <a:cxn ang="0">
                <a:pos x="184" y="300"/>
              </a:cxn>
              <a:cxn ang="0">
                <a:pos x="186" y="296"/>
              </a:cxn>
              <a:cxn ang="0">
                <a:pos x="170" y="294"/>
              </a:cxn>
              <a:cxn ang="0">
                <a:pos x="166" y="286"/>
              </a:cxn>
              <a:cxn ang="0">
                <a:pos x="174" y="268"/>
              </a:cxn>
              <a:cxn ang="0">
                <a:pos x="178" y="258"/>
              </a:cxn>
              <a:cxn ang="0">
                <a:pos x="176" y="250"/>
              </a:cxn>
              <a:cxn ang="0">
                <a:pos x="178" y="240"/>
              </a:cxn>
              <a:cxn ang="0">
                <a:pos x="192" y="214"/>
              </a:cxn>
              <a:cxn ang="0">
                <a:pos x="210" y="212"/>
              </a:cxn>
              <a:cxn ang="0">
                <a:pos x="66" y="6"/>
              </a:cxn>
              <a:cxn ang="0">
                <a:pos x="44" y="2"/>
              </a:cxn>
              <a:cxn ang="0">
                <a:pos x="24" y="50"/>
              </a:cxn>
              <a:cxn ang="0">
                <a:pos x="26" y="70"/>
              </a:cxn>
              <a:cxn ang="0">
                <a:pos x="30" y="88"/>
              </a:cxn>
              <a:cxn ang="0">
                <a:pos x="44" y="98"/>
              </a:cxn>
              <a:cxn ang="0">
                <a:pos x="40" y="108"/>
              </a:cxn>
              <a:cxn ang="0">
                <a:pos x="34" y="180"/>
              </a:cxn>
              <a:cxn ang="0">
                <a:pos x="18" y="222"/>
              </a:cxn>
              <a:cxn ang="0">
                <a:pos x="4" y="236"/>
              </a:cxn>
              <a:cxn ang="0">
                <a:pos x="2" y="248"/>
              </a:cxn>
              <a:cxn ang="0">
                <a:pos x="4" y="260"/>
              </a:cxn>
              <a:cxn ang="0">
                <a:pos x="12" y="264"/>
              </a:cxn>
              <a:cxn ang="0">
                <a:pos x="14" y="274"/>
              </a:cxn>
              <a:cxn ang="0">
                <a:pos x="28" y="280"/>
              </a:cxn>
              <a:cxn ang="0">
                <a:pos x="34" y="288"/>
              </a:cxn>
              <a:cxn ang="0">
                <a:pos x="42" y="294"/>
              </a:cxn>
              <a:cxn ang="0">
                <a:pos x="22" y="298"/>
              </a:cxn>
              <a:cxn ang="0">
                <a:pos x="26" y="316"/>
              </a:cxn>
              <a:cxn ang="0">
                <a:pos x="28" y="348"/>
              </a:cxn>
              <a:cxn ang="0">
                <a:pos x="38" y="366"/>
              </a:cxn>
              <a:cxn ang="0">
                <a:pos x="30" y="368"/>
              </a:cxn>
              <a:cxn ang="0">
                <a:pos x="10" y="368"/>
              </a:cxn>
              <a:cxn ang="0">
                <a:pos x="16" y="384"/>
              </a:cxn>
              <a:cxn ang="0">
                <a:pos x="28" y="400"/>
              </a:cxn>
              <a:cxn ang="0">
                <a:pos x="40" y="432"/>
              </a:cxn>
              <a:cxn ang="0">
                <a:pos x="58" y="428"/>
              </a:cxn>
              <a:cxn ang="0">
                <a:pos x="96" y="414"/>
              </a:cxn>
              <a:cxn ang="0">
                <a:pos x="112" y="408"/>
              </a:cxn>
              <a:cxn ang="0">
                <a:pos x="114" y="400"/>
              </a:cxn>
              <a:cxn ang="0">
                <a:pos x="112" y="390"/>
              </a:cxn>
              <a:cxn ang="0">
                <a:pos x="124" y="388"/>
              </a:cxn>
              <a:cxn ang="0">
                <a:pos x="152" y="378"/>
              </a:cxn>
              <a:cxn ang="0">
                <a:pos x="162" y="368"/>
              </a:cxn>
              <a:cxn ang="0">
                <a:pos x="170" y="360"/>
              </a:cxn>
              <a:cxn ang="0">
                <a:pos x="174" y="346"/>
              </a:cxn>
              <a:cxn ang="0">
                <a:pos x="192" y="338"/>
              </a:cxn>
            </a:cxnLst>
            <a:rect l="0" t="0" r="r" b="b"/>
            <a:pathLst>
              <a:path w="210" h="432">
                <a:moveTo>
                  <a:pt x="198" y="338"/>
                </a:moveTo>
                <a:lnTo>
                  <a:pt x="198" y="338"/>
                </a:lnTo>
                <a:lnTo>
                  <a:pt x="198" y="332"/>
                </a:lnTo>
                <a:lnTo>
                  <a:pt x="196" y="330"/>
                </a:lnTo>
                <a:lnTo>
                  <a:pt x="194" y="328"/>
                </a:lnTo>
                <a:lnTo>
                  <a:pt x="194" y="328"/>
                </a:lnTo>
                <a:lnTo>
                  <a:pt x="190" y="326"/>
                </a:lnTo>
                <a:lnTo>
                  <a:pt x="190" y="320"/>
                </a:lnTo>
                <a:lnTo>
                  <a:pt x="188" y="314"/>
                </a:lnTo>
                <a:lnTo>
                  <a:pt x="186" y="306"/>
                </a:lnTo>
                <a:lnTo>
                  <a:pt x="186" y="306"/>
                </a:lnTo>
                <a:lnTo>
                  <a:pt x="184" y="300"/>
                </a:lnTo>
                <a:lnTo>
                  <a:pt x="184" y="298"/>
                </a:lnTo>
                <a:lnTo>
                  <a:pt x="186" y="298"/>
                </a:lnTo>
                <a:lnTo>
                  <a:pt x="186" y="296"/>
                </a:lnTo>
                <a:lnTo>
                  <a:pt x="186" y="296"/>
                </a:lnTo>
                <a:lnTo>
                  <a:pt x="182" y="292"/>
                </a:lnTo>
                <a:lnTo>
                  <a:pt x="180" y="292"/>
                </a:lnTo>
                <a:lnTo>
                  <a:pt x="174" y="292"/>
                </a:lnTo>
                <a:lnTo>
                  <a:pt x="170" y="294"/>
                </a:lnTo>
                <a:lnTo>
                  <a:pt x="168" y="294"/>
                </a:lnTo>
                <a:lnTo>
                  <a:pt x="166" y="292"/>
                </a:lnTo>
                <a:lnTo>
                  <a:pt x="166" y="292"/>
                </a:lnTo>
                <a:lnTo>
                  <a:pt x="166" y="286"/>
                </a:lnTo>
                <a:lnTo>
                  <a:pt x="166" y="280"/>
                </a:lnTo>
                <a:lnTo>
                  <a:pt x="168" y="274"/>
                </a:lnTo>
                <a:lnTo>
                  <a:pt x="174" y="270"/>
                </a:lnTo>
                <a:lnTo>
                  <a:pt x="174" y="268"/>
                </a:lnTo>
                <a:lnTo>
                  <a:pt x="174" y="266"/>
                </a:lnTo>
                <a:lnTo>
                  <a:pt x="174" y="266"/>
                </a:lnTo>
                <a:lnTo>
                  <a:pt x="174" y="262"/>
                </a:lnTo>
                <a:lnTo>
                  <a:pt x="178" y="258"/>
                </a:lnTo>
                <a:lnTo>
                  <a:pt x="180" y="256"/>
                </a:lnTo>
                <a:lnTo>
                  <a:pt x="180" y="254"/>
                </a:lnTo>
                <a:lnTo>
                  <a:pt x="180" y="254"/>
                </a:lnTo>
                <a:lnTo>
                  <a:pt x="176" y="250"/>
                </a:lnTo>
                <a:lnTo>
                  <a:pt x="176" y="248"/>
                </a:lnTo>
                <a:lnTo>
                  <a:pt x="178" y="246"/>
                </a:lnTo>
                <a:lnTo>
                  <a:pt x="178" y="240"/>
                </a:lnTo>
                <a:lnTo>
                  <a:pt x="178" y="240"/>
                </a:lnTo>
                <a:lnTo>
                  <a:pt x="180" y="232"/>
                </a:lnTo>
                <a:lnTo>
                  <a:pt x="182" y="226"/>
                </a:lnTo>
                <a:lnTo>
                  <a:pt x="192" y="214"/>
                </a:lnTo>
                <a:lnTo>
                  <a:pt x="192" y="214"/>
                </a:lnTo>
                <a:lnTo>
                  <a:pt x="196" y="210"/>
                </a:lnTo>
                <a:lnTo>
                  <a:pt x="200" y="212"/>
                </a:lnTo>
                <a:lnTo>
                  <a:pt x="202" y="214"/>
                </a:lnTo>
                <a:lnTo>
                  <a:pt x="210" y="212"/>
                </a:lnTo>
                <a:lnTo>
                  <a:pt x="206" y="114"/>
                </a:lnTo>
                <a:lnTo>
                  <a:pt x="206" y="114"/>
                </a:lnTo>
                <a:lnTo>
                  <a:pt x="66" y="6"/>
                </a:lnTo>
                <a:lnTo>
                  <a:pt x="66" y="6"/>
                </a:lnTo>
                <a:lnTo>
                  <a:pt x="56" y="0"/>
                </a:lnTo>
                <a:lnTo>
                  <a:pt x="50" y="0"/>
                </a:lnTo>
                <a:lnTo>
                  <a:pt x="44" y="2"/>
                </a:lnTo>
                <a:lnTo>
                  <a:pt x="44" y="2"/>
                </a:lnTo>
                <a:lnTo>
                  <a:pt x="20" y="14"/>
                </a:lnTo>
                <a:lnTo>
                  <a:pt x="20" y="14"/>
                </a:lnTo>
                <a:lnTo>
                  <a:pt x="24" y="36"/>
                </a:lnTo>
                <a:lnTo>
                  <a:pt x="24" y="50"/>
                </a:lnTo>
                <a:lnTo>
                  <a:pt x="24" y="64"/>
                </a:lnTo>
                <a:lnTo>
                  <a:pt x="24" y="64"/>
                </a:lnTo>
                <a:lnTo>
                  <a:pt x="24" y="66"/>
                </a:lnTo>
                <a:lnTo>
                  <a:pt x="26" y="70"/>
                </a:lnTo>
                <a:lnTo>
                  <a:pt x="28" y="74"/>
                </a:lnTo>
                <a:lnTo>
                  <a:pt x="28" y="82"/>
                </a:lnTo>
                <a:lnTo>
                  <a:pt x="28" y="82"/>
                </a:lnTo>
                <a:lnTo>
                  <a:pt x="30" y="88"/>
                </a:lnTo>
                <a:lnTo>
                  <a:pt x="32" y="90"/>
                </a:lnTo>
                <a:lnTo>
                  <a:pt x="36" y="94"/>
                </a:lnTo>
                <a:lnTo>
                  <a:pt x="42" y="98"/>
                </a:lnTo>
                <a:lnTo>
                  <a:pt x="44" y="98"/>
                </a:lnTo>
                <a:lnTo>
                  <a:pt x="44" y="102"/>
                </a:lnTo>
                <a:lnTo>
                  <a:pt x="44" y="102"/>
                </a:lnTo>
                <a:lnTo>
                  <a:pt x="42" y="106"/>
                </a:lnTo>
                <a:lnTo>
                  <a:pt x="40" y="108"/>
                </a:lnTo>
                <a:lnTo>
                  <a:pt x="36" y="114"/>
                </a:lnTo>
                <a:lnTo>
                  <a:pt x="34" y="120"/>
                </a:lnTo>
                <a:lnTo>
                  <a:pt x="34" y="120"/>
                </a:lnTo>
                <a:lnTo>
                  <a:pt x="34" y="180"/>
                </a:lnTo>
                <a:lnTo>
                  <a:pt x="34" y="180"/>
                </a:lnTo>
                <a:lnTo>
                  <a:pt x="32" y="190"/>
                </a:lnTo>
                <a:lnTo>
                  <a:pt x="30" y="200"/>
                </a:lnTo>
                <a:lnTo>
                  <a:pt x="18" y="222"/>
                </a:lnTo>
                <a:lnTo>
                  <a:pt x="18" y="222"/>
                </a:lnTo>
                <a:lnTo>
                  <a:pt x="12" y="230"/>
                </a:lnTo>
                <a:lnTo>
                  <a:pt x="8" y="234"/>
                </a:lnTo>
                <a:lnTo>
                  <a:pt x="4" y="236"/>
                </a:lnTo>
                <a:lnTo>
                  <a:pt x="4" y="240"/>
                </a:lnTo>
                <a:lnTo>
                  <a:pt x="4" y="240"/>
                </a:lnTo>
                <a:lnTo>
                  <a:pt x="4" y="246"/>
                </a:lnTo>
                <a:lnTo>
                  <a:pt x="2" y="248"/>
                </a:lnTo>
                <a:lnTo>
                  <a:pt x="0" y="252"/>
                </a:lnTo>
                <a:lnTo>
                  <a:pt x="0" y="256"/>
                </a:lnTo>
                <a:lnTo>
                  <a:pt x="0" y="256"/>
                </a:lnTo>
                <a:lnTo>
                  <a:pt x="4" y="260"/>
                </a:lnTo>
                <a:lnTo>
                  <a:pt x="6" y="262"/>
                </a:lnTo>
                <a:lnTo>
                  <a:pt x="8" y="262"/>
                </a:lnTo>
                <a:lnTo>
                  <a:pt x="12" y="264"/>
                </a:lnTo>
                <a:lnTo>
                  <a:pt x="12" y="264"/>
                </a:lnTo>
                <a:lnTo>
                  <a:pt x="16" y="264"/>
                </a:lnTo>
                <a:lnTo>
                  <a:pt x="16" y="266"/>
                </a:lnTo>
                <a:lnTo>
                  <a:pt x="16" y="270"/>
                </a:lnTo>
                <a:lnTo>
                  <a:pt x="14" y="274"/>
                </a:lnTo>
                <a:lnTo>
                  <a:pt x="16" y="276"/>
                </a:lnTo>
                <a:lnTo>
                  <a:pt x="20" y="278"/>
                </a:lnTo>
                <a:lnTo>
                  <a:pt x="20" y="278"/>
                </a:lnTo>
                <a:lnTo>
                  <a:pt x="28" y="280"/>
                </a:lnTo>
                <a:lnTo>
                  <a:pt x="34" y="282"/>
                </a:lnTo>
                <a:lnTo>
                  <a:pt x="34" y="284"/>
                </a:lnTo>
                <a:lnTo>
                  <a:pt x="34" y="286"/>
                </a:lnTo>
                <a:lnTo>
                  <a:pt x="34" y="288"/>
                </a:lnTo>
                <a:lnTo>
                  <a:pt x="34" y="290"/>
                </a:lnTo>
                <a:lnTo>
                  <a:pt x="36" y="292"/>
                </a:lnTo>
                <a:lnTo>
                  <a:pt x="42" y="294"/>
                </a:lnTo>
                <a:lnTo>
                  <a:pt x="42" y="294"/>
                </a:lnTo>
                <a:lnTo>
                  <a:pt x="38" y="296"/>
                </a:lnTo>
                <a:lnTo>
                  <a:pt x="34" y="294"/>
                </a:lnTo>
                <a:lnTo>
                  <a:pt x="30" y="294"/>
                </a:lnTo>
                <a:lnTo>
                  <a:pt x="22" y="298"/>
                </a:lnTo>
                <a:lnTo>
                  <a:pt x="22" y="298"/>
                </a:lnTo>
                <a:lnTo>
                  <a:pt x="22" y="310"/>
                </a:lnTo>
                <a:lnTo>
                  <a:pt x="24" y="314"/>
                </a:lnTo>
                <a:lnTo>
                  <a:pt x="26" y="316"/>
                </a:lnTo>
                <a:lnTo>
                  <a:pt x="26" y="328"/>
                </a:lnTo>
                <a:lnTo>
                  <a:pt x="26" y="328"/>
                </a:lnTo>
                <a:lnTo>
                  <a:pt x="26" y="338"/>
                </a:lnTo>
                <a:lnTo>
                  <a:pt x="28" y="348"/>
                </a:lnTo>
                <a:lnTo>
                  <a:pt x="44" y="364"/>
                </a:lnTo>
                <a:lnTo>
                  <a:pt x="44" y="364"/>
                </a:lnTo>
                <a:lnTo>
                  <a:pt x="40" y="366"/>
                </a:lnTo>
                <a:lnTo>
                  <a:pt x="38" y="366"/>
                </a:lnTo>
                <a:lnTo>
                  <a:pt x="30" y="364"/>
                </a:lnTo>
                <a:lnTo>
                  <a:pt x="30" y="364"/>
                </a:lnTo>
                <a:lnTo>
                  <a:pt x="32" y="366"/>
                </a:lnTo>
                <a:lnTo>
                  <a:pt x="30" y="368"/>
                </a:lnTo>
                <a:lnTo>
                  <a:pt x="20" y="366"/>
                </a:lnTo>
                <a:lnTo>
                  <a:pt x="20" y="366"/>
                </a:lnTo>
                <a:lnTo>
                  <a:pt x="14" y="366"/>
                </a:lnTo>
                <a:lnTo>
                  <a:pt x="10" y="368"/>
                </a:lnTo>
                <a:lnTo>
                  <a:pt x="10" y="370"/>
                </a:lnTo>
                <a:lnTo>
                  <a:pt x="12" y="376"/>
                </a:lnTo>
                <a:lnTo>
                  <a:pt x="12" y="376"/>
                </a:lnTo>
                <a:lnTo>
                  <a:pt x="16" y="384"/>
                </a:lnTo>
                <a:lnTo>
                  <a:pt x="18" y="388"/>
                </a:lnTo>
                <a:lnTo>
                  <a:pt x="22" y="390"/>
                </a:lnTo>
                <a:lnTo>
                  <a:pt x="28" y="400"/>
                </a:lnTo>
                <a:lnTo>
                  <a:pt x="28" y="400"/>
                </a:lnTo>
                <a:lnTo>
                  <a:pt x="40" y="420"/>
                </a:lnTo>
                <a:lnTo>
                  <a:pt x="42" y="426"/>
                </a:lnTo>
                <a:lnTo>
                  <a:pt x="40" y="432"/>
                </a:lnTo>
                <a:lnTo>
                  <a:pt x="40" y="432"/>
                </a:lnTo>
                <a:lnTo>
                  <a:pt x="50" y="430"/>
                </a:lnTo>
                <a:lnTo>
                  <a:pt x="52" y="430"/>
                </a:lnTo>
                <a:lnTo>
                  <a:pt x="54" y="430"/>
                </a:lnTo>
                <a:lnTo>
                  <a:pt x="58" y="428"/>
                </a:lnTo>
                <a:lnTo>
                  <a:pt x="58" y="428"/>
                </a:lnTo>
                <a:lnTo>
                  <a:pt x="70" y="422"/>
                </a:lnTo>
                <a:lnTo>
                  <a:pt x="84" y="418"/>
                </a:lnTo>
                <a:lnTo>
                  <a:pt x="96" y="414"/>
                </a:lnTo>
                <a:lnTo>
                  <a:pt x="104" y="412"/>
                </a:lnTo>
                <a:lnTo>
                  <a:pt x="104" y="412"/>
                </a:lnTo>
                <a:lnTo>
                  <a:pt x="108" y="408"/>
                </a:lnTo>
                <a:lnTo>
                  <a:pt x="112" y="408"/>
                </a:lnTo>
                <a:lnTo>
                  <a:pt x="114" y="406"/>
                </a:lnTo>
                <a:lnTo>
                  <a:pt x="114" y="402"/>
                </a:lnTo>
                <a:lnTo>
                  <a:pt x="114" y="402"/>
                </a:lnTo>
                <a:lnTo>
                  <a:pt x="114" y="400"/>
                </a:lnTo>
                <a:lnTo>
                  <a:pt x="114" y="398"/>
                </a:lnTo>
                <a:lnTo>
                  <a:pt x="110" y="396"/>
                </a:lnTo>
                <a:lnTo>
                  <a:pt x="108" y="394"/>
                </a:lnTo>
                <a:lnTo>
                  <a:pt x="112" y="390"/>
                </a:lnTo>
                <a:lnTo>
                  <a:pt x="112" y="390"/>
                </a:lnTo>
                <a:lnTo>
                  <a:pt x="118" y="388"/>
                </a:lnTo>
                <a:lnTo>
                  <a:pt x="120" y="388"/>
                </a:lnTo>
                <a:lnTo>
                  <a:pt x="124" y="388"/>
                </a:lnTo>
                <a:lnTo>
                  <a:pt x="130" y="386"/>
                </a:lnTo>
                <a:lnTo>
                  <a:pt x="130" y="386"/>
                </a:lnTo>
                <a:lnTo>
                  <a:pt x="146" y="380"/>
                </a:lnTo>
                <a:lnTo>
                  <a:pt x="152" y="378"/>
                </a:lnTo>
                <a:lnTo>
                  <a:pt x="156" y="376"/>
                </a:lnTo>
                <a:lnTo>
                  <a:pt x="156" y="376"/>
                </a:lnTo>
                <a:lnTo>
                  <a:pt x="160" y="372"/>
                </a:lnTo>
                <a:lnTo>
                  <a:pt x="162" y="368"/>
                </a:lnTo>
                <a:lnTo>
                  <a:pt x="164" y="364"/>
                </a:lnTo>
                <a:lnTo>
                  <a:pt x="168" y="362"/>
                </a:lnTo>
                <a:lnTo>
                  <a:pt x="168" y="362"/>
                </a:lnTo>
                <a:lnTo>
                  <a:pt x="170" y="360"/>
                </a:lnTo>
                <a:lnTo>
                  <a:pt x="172" y="358"/>
                </a:lnTo>
                <a:lnTo>
                  <a:pt x="172" y="354"/>
                </a:lnTo>
                <a:lnTo>
                  <a:pt x="172" y="348"/>
                </a:lnTo>
                <a:lnTo>
                  <a:pt x="174" y="346"/>
                </a:lnTo>
                <a:lnTo>
                  <a:pt x="178" y="344"/>
                </a:lnTo>
                <a:lnTo>
                  <a:pt x="178" y="344"/>
                </a:lnTo>
                <a:lnTo>
                  <a:pt x="188" y="340"/>
                </a:lnTo>
                <a:lnTo>
                  <a:pt x="192" y="338"/>
                </a:lnTo>
                <a:lnTo>
                  <a:pt x="194" y="336"/>
                </a:lnTo>
                <a:lnTo>
                  <a:pt x="198" y="338"/>
                </a:lnTo>
                <a:lnTo>
                  <a:pt x="198" y="338"/>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70" name="Freeform 163"/>
          <p:cNvSpPr>
            <a:spLocks/>
          </p:cNvSpPr>
          <p:nvPr/>
        </p:nvSpPr>
        <p:spPr bwMode="auto">
          <a:xfrm>
            <a:off x="4682728" y="2436109"/>
            <a:ext cx="319036" cy="252650"/>
          </a:xfrm>
          <a:custGeom>
            <a:avLst/>
            <a:gdLst/>
            <a:ahLst/>
            <a:cxnLst>
              <a:cxn ang="0">
                <a:pos x="276" y="146"/>
              </a:cxn>
              <a:cxn ang="0">
                <a:pos x="270" y="136"/>
              </a:cxn>
              <a:cxn ang="0">
                <a:pos x="266" y="126"/>
              </a:cxn>
              <a:cxn ang="0">
                <a:pos x="260" y="122"/>
              </a:cxn>
              <a:cxn ang="0">
                <a:pos x="256" y="114"/>
              </a:cxn>
              <a:cxn ang="0">
                <a:pos x="250" y="106"/>
              </a:cxn>
              <a:cxn ang="0">
                <a:pos x="244" y="102"/>
              </a:cxn>
              <a:cxn ang="0">
                <a:pos x="236" y="92"/>
              </a:cxn>
              <a:cxn ang="0">
                <a:pos x="234" y="82"/>
              </a:cxn>
              <a:cxn ang="0">
                <a:pos x="220" y="74"/>
              </a:cxn>
              <a:cxn ang="0">
                <a:pos x="212" y="68"/>
              </a:cxn>
              <a:cxn ang="0">
                <a:pos x="206" y="64"/>
              </a:cxn>
              <a:cxn ang="0">
                <a:pos x="206" y="56"/>
              </a:cxn>
              <a:cxn ang="0">
                <a:pos x="198" y="52"/>
              </a:cxn>
              <a:cxn ang="0">
                <a:pos x="192" y="44"/>
              </a:cxn>
              <a:cxn ang="0">
                <a:pos x="196" y="32"/>
              </a:cxn>
              <a:cxn ang="0">
                <a:pos x="192" y="24"/>
              </a:cxn>
              <a:cxn ang="0">
                <a:pos x="186" y="14"/>
              </a:cxn>
              <a:cxn ang="0">
                <a:pos x="182" y="2"/>
              </a:cxn>
              <a:cxn ang="0">
                <a:pos x="176" y="2"/>
              </a:cxn>
              <a:cxn ang="0">
                <a:pos x="162" y="8"/>
              </a:cxn>
              <a:cxn ang="0">
                <a:pos x="156" y="18"/>
              </a:cxn>
              <a:cxn ang="0">
                <a:pos x="152" y="26"/>
              </a:cxn>
              <a:cxn ang="0">
                <a:pos x="146" y="32"/>
              </a:cxn>
              <a:cxn ang="0">
                <a:pos x="140" y="40"/>
              </a:cxn>
              <a:cxn ang="0">
                <a:pos x="114" y="50"/>
              </a:cxn>
              <a:cxn ang="0">
                <a:pos x="104" y="52"/>
              </a:cxn>
              <a:cxn ang="0">
                <a:pos x="96" y="54"/>
              </a:cxn>
              <a:cxn ang="0">
                <a:pos x="98" y="62"/>
              </a:cxn>
              <a:cxn ang="0">
                <a:pos x="98" y="66"/>
              </a:cxn>
              <a:cxn ang="0">
                <a:pos x="92" y="72"/>
              </a:cxn>
              <a:cxn ang="0">
                <a:pos x="80" y="78"/>
              </a:cxn>
              <a:cxn ang="0">
                <a:pos x="42" y="92"/>
              </a:cxn>
              <a:cxn ang="0">
                <a:pos x="36" y="94"/>
              </a:cxn>
              <a:cxn ang="0">
                <a:pos x="24" y="96"/>
              </a:cxn>
              <a:cxn ang="0">
                <a:pos x="10" y="132"/>
              </a:cxn>
              <a:cxn ang="0">
                <a:pos x="0" y="152"/>
              </a:cxn>
              <a:cxn ang="0">
                <a:pos x="4" y="166"/>
              </a:cxn>
              <a:cxn ang="0">
                <a:pos x="16" y="182"/>
              </a:cxn>
              <a:cxn ang="0">
                <a:pos x="30" y="200"/>
              </a:cxn>
              <a:cxn ang="0">
                <a:pos x="38" y="212"/>
              </a:cxn>
              <a:cxn ang="0">
                <a:pos x="38" y="222"/>
              </a:cxn>
              <a:cxn ang="0">
                <a:pos x="48" y="210"/>
              </a:cxn>
              <a:cxn ang="0">
                <a:pos x="54" y="190"/>
              </a:cxn>
              <a:cxn ang="0">
                <a:pos x="76" y="190"/>
              </a:cxn>
              <a:cxn ang="0">
                <a:pos x="98" y="170"/>
              </a:cxn>
              <a:cxn ang="0">
                <a:pos x="110" y="154"/>
              </a:cxn>
              <a:cxn ang="0">
                <a:pos x="124" y="152"/>
              </a:cxn>
              <a:cxn ang="0">
                <a:pos x="140" y="162"/>
              </a:cxn>
              <a:cxn ang="0">
                <a:pos x="146" y="162"/>
              </a:cxn>
              <a:cxn ang="0">
                <a:pos x="162" y="166"/>
              </a:cxn>
              <a:cxn ang="0">
                <a:pos x="186" y="170"/>
              </a:cxn>
              <a:cxn ang="0">
                <a:pos x="192" y="164"/>
              </a:cxn>
              <a:cxn ang="0">
                <a:pos x="206" y="158"/>
              </a:cxn>
              <a:cxn ang="0">
                <a:pos x="224" y="152"/>
              </a:cxn>
              <a:cxn ang="0">
                <a:pos x="228" y="148"/>
              </a:cxn>
              <a:cxn ang="0">
                <a:pos x="234" y="150"/>
              </a:cxn>
              <a:cxn ang="0">
                <a:pos x="280" y="154"/>
              </a:cxn>
            </a:cxnLst>
            <a:rect l="0" t="0" r="r" b="b"/>
            <a:pathLst>
              <a:path w="280" h="222">
                <a:moveTo>
                  <a:pt x="280" y="154"/>
                </a:moveTo>
                <a:lnTo>
                  <a:pt x="280" y="154"/>
                </a:lnTo>
                <a:lnTo>
                  <a:pt x="276" y="146"/>
                </a:lnTo>
                <a:lnTo>
                  <a:pt x="274" y="144"/>
                </a:lnTo>
                <a:lnTo>
                  <a:pt x="270" y="142"/>
                </a:lnTo>
                <a:lnTo>
                  <a:pt x="270" y="136"/>
                </a:lnTo>
                <a:lnTo>
                  <a:pt x="270" y="136"/>
                </a:lnTo>
                <a:lnTo>
                  <a:pt x="268" y="132"/>
                </a:lnTo>
                <a:lnTo>
                  <a:pt x="266" y="126"/>
                </a:lnTo>
                <a:lnTo>
                  <a:pt x="262" y="124"/>
                </a:lnTo>
                <a:lnTo>
                  <a:pt x="260" y="122"/>
                </a:lnTo>
                <a:lnTo>
                  <a:pt x="260" y="122"/>
                </a:lnTo>
                <a:lnTo>
                  <a:pt x="258" y="120"/>
                </a:lnTo>
                <a:lnTo>
                  <a:pt x="258" y="120"/>
                </a:lnTo>
                <a:lnTo>
                  <a:pt x="256" y="114"/>
                </a:lnTo>
                <a:lnTo>
                  <a:pt x="254" y="108"/>
                </a:lnTo>
                <a:lnTo>
                  <a:pt x="252" y="106"/>
                </a:lnTo>
                <a:lnTo>
                  <a:pt x="250" y="106"/>
                </a:lnTo>
                <a:lnTo>
                  <a:pt x="250" y="106"/>
                </a:lnTo>
                <a:lnTo>
                  <a:pt x="246" y="104"/>
                </a:lnTo>
                <a:lnTo>
                  <a:pt x="244" y="102"/>
                </a:lnTo>
                <a:lnTo>
                  <a:pt x="242" y="98"/>
                </a:lnTo>
                <a:lnTo>
                  <a:pt x="236" y="92"/>
                </a:lnTo>
                <a:lnTo>
                  <a:pt x="236" y="92"/>
                </a:lnTo>
                <a:lnTo>
                  <a:pt x="232" y="88"/>
                </a:lnTo>
                <a:lnTo>
                  <a:pt x="234" y="84"/>
                </a:lnTo>
                <a:lnTo>
                  <a:pt x="234" y="82"/>
                </a:lnTo>
                <a:lnTo>
                  <a:pt x="226" y="78"/>
                </a:lnTo>
                <a:lnTo>
                  <a:pt x="226" y="78"/>
                </a:lnTo>
                <a:lnTo>
                  <a:pt x="220" y="74"/>
                </a:lnTo>
                <a:lnTo>
                  <a:pt x="220" y="72"/>
                </a:lnTo>
                <a:lnTo>
                  <a:pt x="220" y="70"/>
                </a:lnTo>
                <a:lnTo>
                  <a:pt x="212" y="68"/>
                </a:lnTo>
                <a:lnTo>
                  <a:pt x="212" y="68"/>
                </a:lnTo>
                <a:lnTo>
                  <a:pt x="208" y="66"/>
                </a:lnTo>
                <a:lnTo>
                  <a:pt x="206" y="64"/>
                </a:lnTo>
                <a:lnTo>
                  <a:pt x="206" y="60"/>
                </a:lnTo>
                <a:lnTo>
                  <a:pt x="206" y="58"/>
                </a:lnTo>
                <a:lnTo>
                  <a:pt x="206" y="56"/>
                </a:lnTo>
                <a:lnTo>
                  <a:pt x="204" y="54"/>
                </a:lnTo>
                <a:lnTo>
                  <a:pt x="198" y="52"/>
                </a:lnTo>
                <a:lnTo>
                  <a:pt x="198" y="52"/>
                </a:lnTo>
                <a:lnTo>
                  <a:pt x="194" y="50"/>
                </a:lnTo>
                <a:lnTo>
                  <a:pt x="192" y="46"/>
                </a:lnTo>
                <a:lnTo>
                  <a:pt x="192" y="44"/>
                </a:lnTo>
                <a:lnTo>
                  <a:pt x="194" y="42"/>
                </a:lnTo>
                <a:lnTo>
                  <a:pt x="196" y="34"/>
                </a:lnTo>
                <a:lnTo>
                  <a:pt x="196" y="32"/>
                </a:lnTo>
                <a:lnTo>
                  <a:pt x="194" y="28"/>
                </a:lnTo>
                <a:lnTo>
                  <a:pt x="194" y="28"/>
                </a:lnTo>
                <a:lnTo>
                  <a:pt x="192" y="24"/>
                </a:lnTo>
                <a:lnTo>
                  <a:pt x="192" y="22"/>
                </a:lnTo>
                <a:lnTo>
                  <a:pt x="190" y="18"/>
                </a:lnTo>
                <a:lnTo>
                  <a:pt x="186" y="14"/>
                </a:lnTo>
                <a:lnTo>
                  <a:pt x="186" y="14"/>
                </a:lnTo>
                <a:lnTo>
                  <a:pt x="182" y="6"/>
                </a:lnTo>
                <a:lnTo>
                  <a:pt x="182" y="2"/>
                </a:lnTo>
                <a:lnTo>
                  <a:pt x="182" y="2"/>
                </a:lnTo>
                <a:lnTo>
                  <a:pt x="178" y="0"/>
                </a:lnTo>
                <a:lnTo>
                  <a:pt x="176" y="2"/>
                </a:lnTo>
                <a:lnTo>
                  <a:pt x="172" y="4"/>
                </a:lnTo>
                <a:lnTo>
                  <a:pt x="162" y="8"/>
                </a:lnTo>
                <a:lnTo>
                  <a:pt x="162" y="8"/>
                </a:lnTo>
                <a:lnTo>
                  <a:pt x="158" y="10"/>
                </a:lnTo>
                <a:lnTo>
                  <a:pt x="156" y="12"/>
                </a:lnTo>
                <a:lnTo>
                  <a:pt x="156" y="18"/>
                </a:lnTo>
                <a:lnTo>
                  <a:pt x="156" y="22"/>
                </a:lnTo>
                <a:lnTo>
                  <a:pt x="154" y="24"/>
                </a:lnTo>
                <a:lnTo>
                  <a:pt x="152" y="26"/>
                </a:lnTo>
                <a:lnTo>
                  <a:pt x="152" y="26"/>
                </a:lnTo>
                <a:lnTo>
                  <a:pt x="148" y="28"/>
                </a:lnTo>
                <a:lnTo>
                  <a:pt x="146" y="32"/>
                </a:lnTo>
                <a:lnTo>
                  <a:pt x="144" y="36"/>
                </a:lnTo>
                <a:lnTo>
                  <a:pt x="140" y="40"/>
                </a:lnTo>
                <a:lnTo>
                  <a:pt x="140" y="40"/>
                </a:lnTo>
                <a:lnTo>
                  <a:pt x="136" y="42"/>
                </a:lnTo>
                <a:lnTo>
                  <a:pt x="130" y="44"/>
                </a:lnTo>
                <a:lnTo>
                  <a:pt x="114" y="50"/>
                </a:lnTo>
                <a:lnTo>
                  <a:pt x="114" y="50"/>
                </a:lnTo>
                <a:lnTo>
                  <a:pt x="108" y="52"/>
                </a:lnTo>
                <a:lnTo>
                  <a:pt x="104" y="52"/>
                </a:lnTo>
                <a:lnTo>
                  <a:pt x="102" y="52"/>
                </a:lnTo>
                <a:lnTo>
                  <a:pt x="96" y="54"/>
                </a:lnTo>
                <a:lnTo>
                  <a:pt x="96" y="54"/>
                </a:lnTo>
                <a:lnTo>
                  <a:pt x="92" y="58"/>
                </a:lnTo>
                <a:lnTo>
                  <a:pt x="94" y="60"/>
                </a:lnTo>
                <a:lnTo>
                  <a:pt x="98" y="62"/>
                </a:lnTo>
                <a:lnTo>
                  <a:pt x="98" y="64"/>
                </a:lnTo>
                <a:lnTo>
                  <a:pt x="98" y="66"/>
                </a:lnTo>
                <a:lnTo>
                  <a:pt x="98" y="66"/>
                </a:lnTo>
                <a:lnTo>
                  <a:pt x="98" y="70"/>
                </a:lnTo>
                <a:lnTo>
                  <a:pt x="96" y="72"/>
                </a:lnTo>
                <a:lnTo>
                  <a:pt x="92" y="72"/>
                </a:lnTo>
                <a:lnTo>
                  <a:pt x="88" y="76"/>
                </a:lnTo>
                <a:lnTo>
                  <a:pt x="88" y="76"/>
                </a:lnTo>
                <a:lnTo>
                  <a:pt x="80" y="78"/>
                </a:lnTo>
                <a:lnTo>
                  <a:pt x="68" y="82"/>
                </a:lnTo>
                <a:lnTo>
                  <a:pt x="54" y="86"/>
                </a:lnTo>
                <a:lnTo>
                  <a:pt x="42" y="92"/>
                </a:lnTo>
                <a:lnTo>
                  <a:pt x="42" y="92"/>
                </a:lnTo>
                <a:lnTo>
                  <a:pt x="38" y="94"/>
                </a:lnTo>
                <a:lnTo>
                  <a:pt x="36" y="94"/>
                </a:lnTo>
                <a:lnTo>
                  <a:pt x="34" y="94"/>
                </a:lnTo>
                <a:lnTo>
                  <a:pt x="24" y="96"/>
                </a:lnTo>
                <a:lnTo>
                  <a:pt x="24" y="96"/>
                </a:lnTo>
                <a:lnTo>
                  <a:pt x="18" y="104"/>
                </a:lnTo>
                <a:lnTo>
                  <a:pt x="14" y="112"/>
                </a:lnTo>
                <a:lnTo>
                  <a:pt x="10" y="132"/>
                </a:lnTo>
                <a:lnTo>
                  <a:pt x="10" y="132"/>
                </a:lnTo>
                <a:lnTo>
                  <a:pt x="4" y="146"/>
                </a:lnTo>
                <a:lnTo>
                  <a:pt x="0" y="152"/>
                </a:lnTo>
                <a:lnTo>
                  <a:pt x="0" y="156"/>
                </a:lnTo>
                <a:lnTo>
                  <a:pt x="4" y="166"/>
                </a:lnTo>
                <a:lnTo>
                  <a:pt x="4" y="166"/>
                </a:lnTo>
                <a:lnTo>
                  <a:pt x="8" y="176"/>
                </a:lnTo>
                <a:lnTo>
                  <a:pt x="12" y="178"/>
                </a:lnTo>
                <a:lnTo>
                  <a:pt x="16" y="182"/>
                </a:lnTo>
                <a:lnTo>
                  <a:pt x="22" y="190"/>
                </a:lnTo>
                <a:lnTo>
                  <a:pt x="22" y="190"/>
                </a:lnTo>
                <a:lnTo>
                  <a:pt x="30" y="200"/>
                </a:lnTo>
                <a:lnTo>
                  <a:pt x="36" y="204"/>
                </a:lnTo>
                <a:lnTo>
                  <a:pt x="40" y="206"/>
                </a:lnTo>
                <a:lnTo>
                  <a:pt x="38" y="212"/>
                </a:lnTo>
                <a:lnTo>
                  <a:pt x="38" y="212"/>
                </a:lnTo>
                <a:lnTo>
                  <a:pt x="38" y="216"/>
                </a:lnTo>
                <a:lnTo>
                  <a:pt x="38" y="222"/>
                </a:lnTo>
                <a:lnTo>
                  <a:pt x="38" y="222"/>
                </a:lnTo>
                <a:lnTo>
                  <a:pt x="44" y="216"/>
                </a:lnTo>
                <a:lnTo>
                  <a:pt x="48" y="210"/>
                </a:lnTo>
                <a:lnTo>
                  <a:pt x="50" y="200"/>
                </a:lnTo>
                <a:lnTo>
                  <a:pt x="52" y="192"/>
                </a:lnTo>
                <a:lnTo>
                  <a:pt x="54" y="190"/>
                </a:lnTo>
                <a:lnTo>
                  <a:pt x="56" y="190"/>
                </a:lnTo>
                <a:lnTo>
                  <a:pt x="56" y="190"/>
                </a:lnTo>
                <a:lnTo>
                  <a:pt x="76" y="190"/>
                </a:lnTo>
                <a:lnTo>
                  <a:pt x="94" y="190"/>
                </a:lnTo>
                <a:lnTo>
                  <a:pt x="94" y="190"/>
                </a:lnTo>
                <a:lnTo>
                  <a:pt x="98" y="170"/>
                </a:lnTo>
                <a:lnTo>
                  <a:pt x="102" y="160"/>
                </a:lnTo>
                <a:lnTo>
                  <a:pt x="106" y="156"/>
                </a:lnTo>
                <a:lnTo>
                  <a:pt x="110" y="154"/>
                </a:lnTo>
                <a:lnTo>
                  <a:pt x="118" y="152"/>
                </a:lnTo>
                <a:lnTo>
                  <a:pt x="118" y="152"/>
                </a:lnTo>
                <a:lnTo>
                  <a:pt x="124" y="152"/>
                </a:lnTo>
                <a:lnTo>
                  <a:pt x="128" y="154"/>
                </a:lnTo>
                <a:lnTo>
                  <a:pt x="134" y="158"/>
                </a:lnTo>
                <a:lnTo>
                  <a:pt x="140" y="162"/>
                </a:lnTo>
                <a:lnTo>
                  <a:pt x="142" y="164"/>
                </a:lnTo>
                <a:lnTo>
                  <a:pt x="146" y="162"/>
                </a:lnTo>
                <a:lnTo>
                  <a:pt x="146" y="162"/>
                </a:lnTo>
                <a:lnTo>
                  <a:pt x="150" y="162"/>
                </a:lnTo>
                <a:lnTo>
                  <a:pt x="154" y="164"/>
                </a:lnTo>
                <a:lnTo>
                  <a:pt x="162" y="166"/>
                </a:lnTo>
                <a:lnTo>
                  <a:pt x="172" y="170"/>
                </a:lnTo>
                <a:lnTo>
                  <a:pt x="178" y="172"/>
                </a:lnTo>
                <a:lnTo>
                  <a:pt x="186" y="170"/>
                </a:lnTo>
                <a:lnTo>
                  <a:pt x="186" y="170"/>
                </a:lnTo>
                <a:lnTo>
                  <a:pt x="188" y="168"/>
                </a:lnTo>
                <a:lnTo>
                  <a:pt x="192" y="164"/>
                </a:lnTo>
                <a:lnTo>
                  <a:pt x="196" y="160"/>
                </a:lnTo>
                <a:lnTo>
                  <a:pt x="206" y="158"/>
                </a:lnTo>
                <a:lnTo>
                  <a:pt x="206" y="158"/>
                </a:lnTo>
                <a:lnTo>
                  <a:pt x="220" y="156"/>
                </a:lnTo>
                <a:lnTo>
                  <a:pt x="222" y="154"/>
                </a:lnTo>
                <a:lnTo>
                  <a:pt x="224" y="152"/>
                </a:lnTo>
                <a:lnTo>
                  <a:pt x="224" y="150"/>
                </a:lnTo>
                <a:lnTo>
                  <a:pt x="224" y="148"/>
                </a:lnTo>
                <a:lnTo>
                  <a:pt x="228" y="148"/>
                </a:lnTo>
                <a:lnTo>
                  <a:pt x="228" y="148"/>
                </a:lnTo>
                <a:lnTo>
                  <a:pt x="230" y="148"/>
                </a:lnTo>
                <a:lnTo>
                  <a:pt x="234" y="150"/>
                </a:lnTo>
                <a:lnTo>
                  <a:pt x="246" y="152"/>
                </a:lnTo>
                <a:lnTo>
                  <a:pt x="280" y="154"/>
                </a:lnTo>
                <a:lnTo>
                  <a:pt x="280" y="154"/>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71" name="Freeform 164"/>
          <p:cNvSpPr>
            <a:spLocks/>
          </p:cNvSpPr>
          <p:nvPr/>
        </p:nvSpPr>
        <p:spPr bwMode="auto">
          <a:xfrm>
            <a:off x="4539162" y="1817002"/>
            <a:ext cx="378285" cy="366456"/>
          </a:xfrm>
          <a:custGeom>
            <a:avLst/>
            <a:gdLst/>
            <a:ahLst/>
            <a:cxnLst>
              <a:cxn ang="0">
                <a:pos x="318" y="32"/>
              </a:cxn>
              <a:cxn ang="0">
                <a:pos x="312" y="28"/>
              </a:cxn>
              <a:cxn ang="0">
                <a:pos x="304" y="28"/>
              </a:cxn>
              <a:cxn ang="0">
                <a:pos x="296" y="24"/>
              </a:cxn>
              <a:cxn ang="0">
                <a:pos x="292" y="20"/>
              </a:cxn>
              <a:cxn ang="0">
                <a:pos x="282" y="14"/>
              </a:cxn>
              <a:cxn ang="0">
                <a:pos x="266" y="12"/>
              </a:cxn>
              <a:cxn ang="0">
                <a:pos x="264" y="14"/>
              </a:cxn>
              <a:cxn ang="0">
                <a:pos x="262" y="10"/>
              </a:cxn>
              <a:cxn ang="0">
                <a:pos x="244" y="10"/>
              </a:cxn>
              <a:cxn ang="0">
                <a:pos x="228" y="20"/>
              </a:cxn>
              <a:cxn ang="0">
                <a:pos x="220" y="36"/>
              </a:cxn>
              <a:cxn ang="0">
                <a:pos x="226" y="38"/>
              </a:cxn>
              <a:cxn ang="0">
                <a:pos x="220" y="60"/>
              </a:cxn>
              <a:cxn ang="0">
                <a:pos x="210" y="64"/>
              </a:cxn>
              <a:cxn ang="0">
                <a:pos x="196" y="60"/>
              </a:cxn>
              <a:cxn ang="0">
                <a:pos x="174" y="48"/>
              </a:cxn>
              <a:cxn ang="0">
                <a:pos x="152" y="42"/>
              </a:cxn>
              <a:cxn ang="0">
                <a:pos x="138" y="42"/>
              </a:cxn>
              <a:cxn ang="0">
                <a:pos x="130" y="36"/>
              </a:cxn>
              <a:cxn ang="0">
                <a:pos x="126" y="20"/>
              </a:cxn>
              <a:cxn ang="0">
                <a:pos x="116" y="18"/>
              </a:cxn>
              <a:cxn ang="0">
                <a:pos x="110" y="14"/>
              </a:cxn>
              <a:cxn ang="0">
                <a:pos x="96" y="12"/>
              </a:cxn>
              <a:cxn ang="0">
                <a:pos x="88" y="10"/>
              </a:cxn>
              <a:cxn ang="0">
                <a:pos x="76" y="8"/>
              </a:cxn>
              <a:cxn ang="0">
                <a:pos x="62" y="8"/>
              </a:cxn>
              <a:cxn ang="0">
                <a:pos x="44" y="0"/>
              </a:cxn>
              <a:cxn ang="0">
                <a:pos x="44" y="12"/>
              </a:cxn>
              <a:cxn ang="0">
                <a:pos x="40" y="20"/>
              </a:cxn>
              <a:cxn ang="0">
                <a:pos x="28" y="26"/>
              </a:cxn>
              <a:cxn ang="0">
                <a:pos x="24" y="34"/>
              </a:cxn>
              <a:cxn ang="0">
                <a:pos x="20" y="48"/>
              </a:cxn>
              <a:cxn ang="0">
                <a:pos x="22" y="56"/>
              </a:cxn>
              <a:cxn ang="0">
                <a:pos x="8" y="68"/>
              </a:cxn>
              <a:cxn ang="0">
                <a:pos x="0" y="72"/>
              </a:cxn>
              <a:cxn ang="0">
                <a:pos x="4" y="78"/>
              </a:cxn>
              <a:cxn ang="0">
                <a:pos x="8" y="98"/>
              </a:cxn>
              <a:cxn ang="0">
                <a:pos x="20" y="120"/>
              </a:cxn>
              <a:cxn ang="0">
                <a:pos x="18" y="132"/>
              </a:cxn>
              <a:cxn ang="0">
                <a:pos x="18" y="138"/>
              </a:cxn>
              <a:cxn ang="0">
                <a:pos x="22" y="144"/>
              </a:cxn>
              <a:cxn ang="0">
                <a:pos x="18" y="150"/>
              </a:cxn>
              <a:cxn ang="0">
                <a:pos x="8" y="158"/>
              </a:cxn>
              <a:cxn ang="0">
                <a:pos x="6" y="164"/>
              </a:cxn>
              <a:cxn ang="0">
                <a:pos x="18" y="172"/>
              </a:cxn>
              <a:cxn ang="0">
                <a:pos x="20" y="178"/>
              </a:cxn>
              <a:cxn ang="0">
                <a:pos x="24" y="184"/>
              </a:cxn>
              <a:cxn ang="0">
                <a:pos x="32" y="192"/>
              </a:cxn>
              <a:cxn ang="0">
                <a:pos x="46" y="196"/>
              </a:cxn>
              <a:cxn ang="0">
                <a:pos x="64" y="208"/>
              </a:cxn>
              <a:cxn ang="0">
                <a:pos x="130" y="222"/>
              </a:cxn>
              <a:cxn ang="0">
                <a:pos x="154" y="210"/>
              </a:cxn>
              <a:cxn ang="0">
                <a:pos x="176" y="214"/>
              </a:cxn>
              <a:cxn ang="0">
                <a:pos x="332" y="322"/>
              </a:cxn>
              <a:cxn ang="0">
                <a:pos x="318" y="96"/>
              </a:cxn>
              <a:cxn ang="0">
                <a:pos x="320" y="82"/>
              </a:cxn>
              <a:cxn ang="0">
                <a:pos x="318" y="76"/>
              </a:cxn>
              <a:cxn ang="0">
                <a:pos x="320" y="66"/>
              </a:cxn>
              <a:cxn ang="0">
                <a:pos x="318" y="58"/>
              </a:cxn>
              <a:cxn ang="0">
                <a:pos x="320" y="32"/>
              </a:cxn>
            </a:cxnLst>
            <a:rect l="0" t="0" r="r" b="b"/>
            <a:pathLst>
              <a:path w="332" h="322">
                <a:moveTo>
                  <a:pt x="320" y="32"/>
                </a:moveTo>
                <a:lnTo>
                  <a:pt x="320" y="32"/>
                </a:lnTo>
                <a:lnTo>
                  <a:pt x="318" y="32"/>
                </a:lnTo>
                <a:lnTo>
                  <a:pt x="318" y="30"/>
                </a:lnTo>
                <a:lnTo>
                  <a:pt x="316" y="28"/>
                </a:lnTo>
                <a:lnTo>
                  <a:pt x="312" y="28"/>
                </a:lnTo>
                <a:lnTo>
                  <a:pt x="312" y="28"/>
                </a:lnTo>
                <a:lnTo>
                  <a:pt x="306" y="28"/>
                </a:lnTo>
                <a:lnTo>
                  <a:pt x="304" y="28"/>
                </a:lnTo>
                <a:lnTo>
                  <a:pt x="304" y="24"/>
                </a:lnTo>
                <a:lnTo>
                  <a:pt x="296" y="24"/>
                </a:lnTo>
                <a:lnTo>
                  <a:pt x="296" y="24"/>
                </a:lnTo>
                <a:lnTo>
                  <a:pt x="290" y="24"/>
                </a:lnTo>
                <a:lnTo>
                  <a:pt x="290" y="22"/>
                </a:lnTo>
                <a:lnTo>
                  <a:pt x="292" y="20"/>
                </a:lnTo>
                <a:lnTo>
                  <a:pt x="290" y="18"/>
                </a:lnTo>
                <a:lnTo>
                  <a:pt x="288" y="18"/>
                </a:lnTo>
                <a:lnTo>
                  <a:pt x="282" y="14"/>
                </a:lnTo>
                <a:lnTo>
                  <a:pt x="282" y="14"/>
                </a:lnTo>
                <a:lnTo>
                  <a:pt x="270" y="12"/>
                </a:lnTo>
                <a:lnTo>
                  <a:pt x="266" y="12"/>
                </a:lnTo>
                <a:lnTo>
                  <a:pt x="266" y="14"/>
                </a:lnTo>
                <a:lnTo>
                  <a:pt x="264" y="14"/>
                </a:lnTo>
                <a:lnTo>
                  <a:pt x="264" y="14"/>
                </a:lnTo>
                <a:lnTo>
                  <a:pt x="260" y="12"/>
                </a:lnTo>
                <a:lnTo>
                  <a:pt x="262" y="12"/>
                </a:lnTo>
                <a:lnTo>
                  <a:pt x="262" y="10"/>
                </a:lnTo>
                <a:lnTo>
                  <a:pt x="254" y="10"/>
                </a:lnTo>
                <a:lnTo>
                  <a:pt x="254" y="10"/>
                </a:lnTo>
                <a:lnTo>
                  <a:pt x="244" y="10"/>
                </a:lnTo>
                <a:lnTo>
                  <a:pt x="238" y="12"/>
                </a:lnTo>
                <a:lnTo>
                  <a:pt x="228" y="20"/>
                </a:lnTo>
                <a:lnTo>
                  <a:pt x="228" y="20"/>
                </a:lnTo>
                <a:lnTo>
                  <a:pt x="222" y="26"/>
                </a:lnTo>
                <a:lnTo>
                  <a:pt x="220" y="30"/>
                </a:lnTo>
                <a:lnTo>
                  <a:pt x="220" y="36"/>
                </a:lnTo>
                <a:lnTo>
                  <a:pt x="222" y="38"/>
                </a:lnTo>
                <a:lnTo>
                  <a:pt x="222" y="38"/>
                </a:lnTo>
                <a:lnTo>
                  <a:pt x="226" y="38"/>
                </a:lnTo>
                <a:lnTo>
                  <a:pt x="226" y="42"/>
                </a:lnTo>
                <a:lnTo>
                  <a:pt x="226" y="52"/>
                </a:lnTo>
                <a:lnTo>
                  <a:pt x="220" y="60"/>
                </a:lnTo>
                <a:lnTo>
                  <a:pt x="216" y="64"/>
                </a:lnTo>
                <a:lnTo>
                  <a:pt x="210" y="64"/>
                </a:lnTo>
                <a:lnTo>
                  <a:pt x="210" y="64"/>
                </a:lnTo>
                <a:lnTo>
                  <a:pt x="204" y="66"/>
                </a:lnTo>
                <a:lnTo>
                  <a:pt x="200" y="64"/>
                </a:lnTo>
                <a:lnTo>
                  <a:pt x="196" y="60"/>
                </a:lnTo>
                <a:lnTo>
                  <a:pt x="186" y="54"/>
                </a:lnTo>
                <a:lnTo>
                  <a:pt x="186" y="54"/>
                </a:lnTo>
                <a:lnTo>
                  <a:pt x="174" y="48"/>
                </a:lnTo>
                <a:lnTo>
                  <a:pt x="166" y="46"/>
                </a:lnTo>
                <a:lnTo>
                  <a:pt x="158" y="44"/>
                </a:lnTo>
                <a:lnTo>
                  <a:pt x="152" y="42"/>
                </a:lnTo>
                <a:lnTo>
                  <a:pt x="152" y="42"/>
                </a:lnTo>
                <a:lnTo>
                  <a:pt x="146" y="42"/>
                </a:lnTo>
                <a:lnTo>
                  <a:pt x="138" y="42"/>
                </a:lnTo>
                <a:lnTo>
                  <a:pt x="136" y="42"/>
                </a:lnTo>
                <a:lnTo>
                  <a:pt x="132" y="40"/>
                </a:lnTo>
                <a:lnTo>
                  <a:pt x="130" y="36"/>
                </a:lnTo>
                <a:lnTo>
                  <a:pt x="128" y="28"/>
                </a:lnTo>
                <a:lnTo>
                  <a:pt x="128" y="28"/>
                </a:lnTo>
                <a:lnTo>
                  <a:pt x="126" y="20"/>
                </a:lnTo>
                <a:lnTo>
                  <a:pt x="124" y="20"/>
                </a:lnTo>
                <a:lnTo>
                  <a:pt x="118" y="20"/>
                </a:lnTo>
                <a:lnTo>
                  <a:pt x="116" y="18"/>
                </a:lnTo>
                <a:lnTo>
                  <a:pt x="112" y="16"/>
                </a:lnTo>
                <a:lnTo>
                  <a:pt x="112" y="16"/>
                </a:lnTo>
                <a:lnTo>
                  <a:pt x="110" y="14"/>
                </a:lnTo>
                <a:lnTo>
                  <a:pt x="106" y="12"/>
                </a:lnTo>
                <a:lnTo>
                  <a:pt x="100" y="12"/>
                </a:lnTo>
                <a:lnTo>
                  <a:pt x="96" y="12"/>
                </a:lnTo>
                <a:lnTo>
                  <a:pt x="92" y="12"/>
                </a:lnTo>
                <a:lnTo>
                  <a:pt x="88" y="10"/>
                </a:lnTo>
                <a:lnTo>
                  <a:pt x="88" y="10"/>
                </a:lnTo>
                <a:lnTo>
                  <a:pt x="86" y="8"/>
                </a:lnTo>
                <a:lnTo>
                  <a:pt x="82" y="6"/>
                </a:lnTo>
                <a:lnTo>
                  <a:pt x="76" y="8"/>
                </a:lnTo>
                <a:lnTo>
                  <a:pt x="70" y="10"/>
                </a:lnTo>
                <a:lnTo>
                  <a:pt x="66" y="10"/>
                </a:lnTo>
                <a:lnTo>
                  <a:pt x="62" y="8"/>
                </a:lnTo>
                <a:lnTo>
                  <a:pt x="62" y="8"/>
                </a:lnTo>
                <a:lnTo>
                  <a:pt x="50" y="4"/>
                </a:lnTo>
                <a:lnTo>
                  <a:pt x="44" y="0"/>
                </a:lnTo>
                <a:lnTo>
                  <a:pt x="42" y="12"/>
                </a:lnTo>
                <a:lnTo>
                  <a:pt x="42" y="12"/>
                </a:lnTo>
                <a:lnTo>
                  <a:pt x="44" y="12"/>
                </a:lnTo>
                <a:lnTo>
                  <a:pt x="46" y="14"/>
                </a:lnTo>
                <a:lnTo>
                  <a:pt x="44" y="18"/>
                </a:lnTo>
                <a:lnTo>
                  <a:pt x="40" y="20"/>
                </a:lnTo>
                <a:lnTo>
                  <a:pt x="40" y="20"/>
                </a:lnTo>
                <a:lnTo>
                  <a:pt x="32" y="24"/>
                </a:lnTo>
                <a:lnTo>
                  <a:pt x="28" y="26"/>
                </a:lnTo>
                <a:lnTo>
                  <a:pt x="26" y="30"/>
                </a:lnTo>
                <a:lnTo>
                  <a:pt x="26" y="30"/>
                </a:lnTo>
                <a:lnTo>
                  <a:pt x="24" y="34"/>
                </a:lnTo>
                <a:lnTo>
                  <a:pt x="20" y="38"/>
                </a:lnTo>
                <a:lnTo>
                  <a:pt x="18" y="42"/>
                </a:lnTo>
                <a:lnTo>
                  <a:pt x="20" y="48"/>
                </a:lnTo>
                <a:lnTo>
                  <a:pt x="20" y="48"/>
                </a:lnTo>
                <a:lnTo>
                  <a:pt x="22" y="52"/>
                </a:lnTo>
                <a:lnTo>
                  <a:pt x="22" y="56"/>
                </a:lnTo>
                <a:lnTo>
                  <a:pt x="20" y="60"/>
                </a:lnTo>
                <a:lnTo>
                  <a:pt x="16" y="64"/>
                </a:lnTo>
                <a:lnTo>
                  <a:pt x="8" y="68"/>
                </a:lnTo>
                <a:lnTo>
                  <a:pt x="2" y="72"/>
                </a:lnTo>
                <a:lnTo>
                  <a:pt x="2" y="72"/>
                </a:lnTo>
                <a:lnTo>
                  <a:pt x="0" y="72"/>
                </a:lnTo>
                <a:lnTo>
                  <a:pt x="0" y="74"/>
                </a:lnTo>
                <a:lnTo>
                  <a:pt x="4" y="78"/>
                </a:lnTo>
                <a:lnTo>
                  <a:pt x="4" y="78"/>
                </a:lnTo>
                <a:lnTo>
                  <a:pt x="6" y="84"/>
                </a:lnTo>
                <a:lnTo>
                  <a:pt x="6" y="90"/>
                </a:lnTo>
                <a:lnTo>
                  <a:pt x="8" y="98"/>
                </a:lnTo>
                <a:lnTo>
                  <a:pt x="14" y="108"/>
                </a:lnTo>
                <a:lnTo>
                  <a:pt x="14" y="108"/>
                </a:lnTo>
                <a:lnTo>
                  <a:pt x="20" y="120"/>
                </a:lnTo>
                <a:lnTo>
                  <a:pt x="22" y="126"/>
                </a:lnTo>
                <a:lnTo>
                  <a:pt x="20" y="130"/>
                </a:lnTo>
                <a:lnTo>
                  <a:pt x="18" y="132"/>
                </a:lnTo>
                <a:lnTo>
                  <a:pt x="18" y="132"/>
                </a:lnTo>
                <a:lnTo>
                  <a:pt x="16" y="134"/>
                </a:lnTo>
                <a:lnTo>
                  <a:pt x="18" y="138"/>
                </a:lnTo>
                <a:lnTo>
                  <a:pt x="18" y="138"/>
                </a:lnTo>
                <a:lnTo>
                  <a:pt x="22" y="142"/>
                </a:lnTo>
                <a:lnTo>
                  <a:pt x="22" y="144"/>
                </a:lnTo>
                <a:lnTo>
                  <a:pt x="20" y="146"/>
                </a:lnTo>
                <a:lnTo>
                  <a:pt x="18" y="150"/>
                </a:lnTo>
                <a:lnTo>
                  <a:pt x="18" y="150"/>
                </a:lnTo>
                <a:lnTo>
                  <a:pt x="16" y="154"/>
                </a:lnTo>
                <a:lnTo>
                  <a:pt x="14" y="156"/>
                </a:lnTo>
                <a:lnTo>
                  <a:pt x="8" y="158"/>
                </a:lnTo>
                <a:lnTo>
                  <a:pt x="6" y="160"/>
                </a:lnTo>
                <a:lnTo>
                  <a:pt x="6" y="162"/>
                </a:lnTo>
                <a:lnTo>
                  <a:pt x="6" y="164"/>
                </a:lnTo>
                <a:lnTo>
                  <a:pt x="6" y="164"/>
                </a:lnTo>
                <a:lnTo>
                  <a:pt x="14" y="170"/>
                </a:lnTo>
                <a:lnTo>
                  <a:pt x="18" y="172"/>
                </a:lnTo>
                <a:lnTo>
                  <a:pt x="20" y="174"/>
                </a:lnTo>
                <a:lnTo>
                  <a:pt x="20" y="178"/>
                </a:lnTo>
                <a:lnTo>
                  <a:pt x="20" y="178"/>
                </a:lnTo>
                <a:lnTo>
                  <a:pt x="20" y="182"/>
                </a:lnTo>
                <a:lnTo>
                  <a:pt x="22" y="182"/>
                </a:lnTo>
                <a:lnTo>
                  <a:pt x="24" y="184"/>
                </a:lnTo>
                <a:lnTo>
                  <a:pt x="28" y="188"/>
                </a:lnTo>
                <a:lnTo>
                  <a:pt x="28" y="188"/>
                </a:lnTo>
                <a:lnTo>
                  <a:pt x="32" y="192"/>
                </a:lnTo>
                <a:lnTo>
                  <a:pt x="36" y="192"/>
                </a:lnTo>
                <a:lnTo>
                  <a:pt x="40" y="192"/>
                </a:lnTo>
                <a:lnTo>
                  <a:pt x="46" y="196"/>
                </a:lnTo>
                <a:lnTo>
                  <a:pt x="46" y="196"/>
                </a:lnTo>
                <a:lnTo>
                  <a:pt x="60" y="206"/>
                </a:lnTo>
                <a:lnTo>
                  <a:pt x="64" y="208"/>
                </a:lnTo>
                <a:lnTo>
                  <a:pt x="108" y="216"/>
                </a:lnTo>
                <a:lnTo>
                  <a:pt x="116" y="226"/>
                </a:lnTo>
                <a:lnTo>
                  <a:pt x="130" y="222"/>
                </a:lnTo>
                <a:lnTo>
                  <a:pt x="130" y="222"/>
                </a:lnTo>
                <a:lnTo>
                  <a:pt x="154" y="210"/>
                </a:lnTo>
                <a:lnTo>
                  <a:pt x="154" y="210"/>
                </a:lnTo>
                <a:lnTo>
                  <a:pt x="160" y="208"/>
                </a:lnTo>
                <a:lnTo>
                  <a:pt x="166" y="208"/>
                </a:lnTo>
                <a:lnTo>
                  <a:pt x="176" y="214"/>
                </a:lnTo>
                <a:lnTo>
                  <a:pt x="176" y="214"/>
                </a:lnTo>
                <a:lnTo>
                  <a:pt x="316" y="322"/>
                </a:lnTo>
                <a:lnTo>
                  <a:pt x="332" y="322"/>
                </a:lnTo>
                <a:lnTo>
                  <a:pt x="330" y="266"/>
                </a:lnTo>
                <a:lnTo>
                  <a:pt x="330" y="266"/>
                </a:lnTo>
                <a:lnTo>
                  <a:pt x="318" y="96"/>
                </a:lnTo>
                <a:lnTo>
                  <a:pt x="318" y="96"/>
                </a:lnTo>
                <a:lnTo>
                  <a:pt x="320" y="86"/>
                </a:lnTo>
                <a:lnTo>
                  <a:pt x="320" y="82"/>
                </a:lnTo>
                <a:lnTo>
                  <a:pt x="322" y="80"/>
                </a:lnTo>
                <a:lnTo>
                  <a:pt x="318" y="76"/>
                </a:lnTo>
                <a:lnTo>
                  <a:pt x="318" y="76"/>
                </a:lnTo>
                <a:lnTo>
                  <a:pt x="316" y="74"/>
                </a:lnTo>
                <a:lnTo>
                  <a:pt x="316" y="72"/>
                </a:lnTo>
                <a:lnTo>
                  <a:pt x="320" y="66"/>
                </a:lnTo>
                <a:lnTo>
                  <a:pt x="322" y="62"/>
                </a:lnTo>
                <a:lnTo>
                  <a:pt x="322" y="60"/>
                </a:lnTo>
                <a:lnTo>
                  <a:pt x="318" y="58"/>
                </a:lnTo>
                <a:lnTo>
                  <a:pt x="318" y="58"/>
                </a:lnTo>
                <a:lnTo>
                  <a:pt x="318" y="42"/>
                </a:lnTo>
                <a:lnTo>
                  <a:pt x="320" y="32"/>
                </a:lnTo>
                <a:lnTo>
                  <a:pt x="320" y="32"/>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72" name="Freeform 166"/>
          <p:cNvSpPr>
            <a:spLocks noEditPoints="1"/>
          </p:cNvSpPr>
          <p:nvPr/>
        </p:nvSpPr>
        <p:spPr bwMode="auto">
          <a:xfrm>
            <a:off x="4899217" y="1853420"/>
            <a:ext cx="284853" cy="268583"/>
          </a:xfrm>
          <a:custGeom>
            <a:avLst/>
            <a:gdLst/>
            <a:ahLst/>
            <a:cxnLst>
              <a:cxn ang="0">
                <a:pos x="14" y="234"/>
              </a:cxn>
              <a:cxn ang="0">
                <a:pos x="216" y="234"/>
              </a:cxn>
              <a:cxn ang="0">
                <a:pos x="228" y="236"/>
              </a:cxn>
              <a:cxn ang="0">
                <a:pos x="232" y="234"/>
              </a:cxn>
              <a:cxn ang="0">
                <a:pos x="232" y="230"/>
              </a:cxn>
              <a:cxn ang="0">
                <a:pos x="240" y="226"/>
              </a:cxn>
              <a:cxn ang="0">
                <a:pos x="248" y="224"/>
              </a:cxn>
              <a:cxn ang="0">
                <a:pos x="246" y="216"/>
              </a:cxn>
              <a:cxn ang="0">
                <a:pos x="242" y="204"/>
              </a:cxn>
              <a:cxn ang="0">
                <a:pos x="238" y="196"/>
              </a:cxn>
              <a:cxn ang="0">
                <a:pos x="244" y="194"/>
              </a:cxn>
              <a:cxn ang="0">
                <a:pos x="242" y="190"/>
              </a:cxn>
              <a:cxn ang="0">
                <a:pos x="222" y="164"/>
              </a:cxn>
              <a:cxn ang="0">
                <a:pos x="212" y="150"/>
              </a:cxn>
              <a:cxn ang="0">
                <a:pos x="194" y="122"/>
              </a:cxn>
              <a:cxn ang="0">
                <a:pos x="192" y="114"/>
              </a:cxn>
              <a:cxn ang="0">
                <a:pos x="194" y="112"/>
              </a:cxn>
              <a:cxn ang="0">
                <a:pos x="184" y="100"/>
              </a:cxn>
              <a:cxn ang="0">
                <a:pos x="182" y="92"/>
              </a:cxn>
              <a:cxn ang="0">
                <a:pos x="166" y="70"/>
              </a:cxn>
              <a:cxn ang="0">
                <a:pos x="164" y="62"/>
              </a:cxn>
              <a:cxn ang="0">
                <a:pos x="160" y="50"/>
              </a:cxn>
              <a:cxn ang="0">
                <a:pos x="156" y="34"/>
              </a:cxn>
              <a:cxn ang="0">
                <a:pos x="158" y="38"/>
              </a:cxn>
              <a:cxn ang="0">
                <a:pos x="164" y="48"/>
              </a:cxn>
              <a:cxn ang="0">
                <a:pos x="174" y="60"/>
              </a:cxn>
              <a:cxn ang="0">
                <a:pos x="182" y="72"/>
              </a:cxn>
              <a:cxn ang="0">
                <a:pos x="196" y="92"/>
              </a:cxn>
              <a:cxn ang="0">
                <a:pos x="206" y="98"/>
              </a:cxn>
              <a:cxn ang="0">
                <a:pos x="212" y="88"/>
              </a:cxn>
              <a:cxn ang="0">
                <a:pos x="210" y="74"/>
              </a:cxn>
              <a:cxn ang="0">
                <a:pos x="212" y="62"/>
              </a:cxn>
              <a:cxn ang="0">
                <a:pos x="214" y="50"/>
              </a:cxn>
              <a:cxn ang="0">
                <a:pos x="194" y="18"/>
              </a:cxn>
              <a:cxn ang="0">
                <a:pos x="198" y="10"/>
              </a:cxn>
              <a:cxn ang="0">
                <a:pos x="192" y="10"/>
              </a:cxn>
              <a:cxn ang="0">
                <a:pos x="178" y="16"/>
              </a:cxn>
              <a:cxn ang="0">
                <a:pos x="164" y="14"/>
              </a:cxn>
              <a:cxn ang="0">
                <a:pos x="138" y="8"/>
              </a:cxn>
              <a:cxn ang="0">
                <a:pos x="126" y="8"/>
              </a:cxn>
              <a:cxn ang="0">
                <a:pos x="112" y="8"/>
              </a:cxn>
              <a:cxn ang="0">
                <a:pos x="104" y="12"/>
              </a:cxn>
              <a:cxn ang="0">
                <a:pos x="100" y="16"/>
              </a:cxn>
              <a:cxn ang="0">
                <a:pos x="90" y="22"/>
              </a:cxn>
              <a:cxn ang="0">
                <a:pos x="82" y="18"/>
              </a:cxn>
              <a:cxn ang="0">
                <a:pos x="72" y="16"/>
              </a:cxn>
              <a:cxn ang="0">
                <a:pos x="68" y="14"/>
              </a:cxn>
              <a:cxn ang="0">
                <a:pos x="62" y="14"/>
              </a:cxn>
              <a:cxn ang="0">
                <a:pos x="44" y="6"/>
              </a:cxn>
              <a:cxn ang="0">
                <a:pos x="22" y="4"/>
              </a:cxn>
              <a:cxn ang="0">
                <a:pos x="10" y="6"/>
              </a:cxn>
              <a:cxn ang="0">
                <a:pos x="2" y="10"/>
              </a:cxn>
              <a:cxn ang="0">
                <a:pos x="6" y="28"/>
              </a:cxn>
              <a:cxn ang="0">
                <a:pos x="0" y="40"/>
              </a:cxn>
              <a:cxn ang="0">
                <a:pos x="2" y="44"/>
              </a:cxn>
              <a:cxn ang="0">
                <a:pos x="4" y="54"/>
              </a:cxn>
              <a:cxn ang="0">
                <a:pos x="14" y="234"/>
              </a:cxn>
            </a:cxnLst>
            <a:rect l="0" t="0" r="r" b="b"/>
            <a:pathLst>
              <a:path w="250" h="236">
                <a:moveTo>
                  <a:pt x="14" y="234"/>
                </a:moveTo>
                <a:lnTo>
                  <a:pt x="216" y="234"/>
                </a:lnTo>
                <a:lnTo>
                  <a:pt x="14" y="234"/>
                </a:lnTo>
                <a:lnTo>
                  <a:pt x="14" y="234"/>
                </a:lnTo>
                <a:close/>
                <a:moveTo>
                  <a:pt x="14" y="234"/>
                </a:moveTo>
                <a:lnTo>
                  <a:pt x="216" y="234"/>
                </a:lnTo>
                <a:lnTo>
                  <a:pt x="216" y="234"/>
                </a:lnTo>
                <a:lnTo>
                  <a:pt x="222" y="236"/>
                </a:lnTo>
                <a:lnTo>
                  <a:pt x="228" y="236"/>
                </a:lnTo>
                <a:lnTo>
                  <a:pt x="232" y="236"/>
                </a:lnTo>
                <a:lnTo>
                  <a:pt x="232" y="234"/>
                </a:lnTo>
                <a:lnTo>
                  <a:pt x="232" y="234"/>
                </a:lnTo>
                <a:lnTo>
                  <a:pt x="232" y="234"/>
                </a:lnTo>
                <a:lnTo>
                  <a:pt x="230" y="232"/>
                </a:lnTo>
                <a:lnTo>
                  <a:pt x="232" y="230"/>
                </a:lnTo>
                <a:lnTo>
                  <a:pt x="236" y="230"/>
                </a:lnTo>
                <a:lnTo>
                  <a:pt x="240" y="226"/>
                </a:lnTo>
                <a:lnTo>
                  <a:pt x="240" y="226"/>
                </a:lnTo>
                <a:lnTo>
                  <a:pt x="242" y="224"/>
                </a:lnTo>
                <a:lnTo>
                  <a:pt x="244" y="222"/>
                </a:lnTo>
                <a:lnTo>
                  <a:pt x="248" y="224"/>
                </a:lnTo>
                <a:lnTo>
                  <a:pt x="250" y="220"/>
                </a:lnTo>
                <a:lnTo>
                  <a:pt x="250" y="220"/>
                </a:lnTo>
                <a:lnTo>
                  <a:pt x="246" y="216"/>
                </a:lnTo>
                <a:lnTo>
                  <a:pt x="246" y="214"/>
                </a:lnTo>
                <a:lnTo>
                  <a:pt x="246" y="212"/>
                </a:lnTo>
                <a:lnTo>
                  <a:pt x="242" y="204"/>
                </a:lnTo>
                <a:lnTo>
                  <a:pt x="242" y="204"/>
                </a:lnTo>
                <a:lnTo>
                  <a:pt x="238" y="200"/>
                </a:lnTo>
                <a:lnTo>
                  <a:pt x="238" y="196"/>
                </a:lnTo>
                <a:lnTo>
                  <a:pt x="238" y="196"/>
                </a:lnTo>
                <a:lnTo>
                  <a:pt x="240" y="196"/>
                </a:lnTo>
                <a:lnTo>
                  <a:pt x="244" y="194"/>
                </a:lnTo>
                <a:lnTo>
                  <a:pt x="244" y="194"/>
                </a:lnTo>
                <a:lnTo>
                  <a:pt x="242" y="190"/>
                </a:lnTo>
                <a:lnTo>
                  <a:pt x="242" y="190"/>
                </a:lnTo>
                <a:lnTo>
                  <a:pt x="230" y="178"/>
                </a:lnTo>
                <a:lnTo>
                  <a:pt x="224" y="172"/>
                </a:lnTo>
                <a:lnTo>
                  <a:pt x="222" y="164"/>
                </a:lnTo>
                <a:lnTo>
                  <a:pt x="222" y="164"/>
                </a:lnTo>
                <a:lnTo>
                  <a:pt x="218" y="156"/>
                </a:lnTo>
                <a:lnTo>
                  <a:pt x="212" y="150"/>
                </a:lnTo>
                <a:lnTo>
                  <a:pt x="204" y="140"/>
                </a:lnTo>
                <a:lnTo>
                  <a:pt x="194" y="122"/>
                </a:lnTo>
                <a:lnTo>
                  <a:pt x="194" y="122"/>
                </a:lnTo>
                <a:lnTo>
                  <a:pt x="192" y="116"/>
                </a:lnTo>
                <a:lnTo>
                  <a:pt x="192" y="114"/>
                </a:lnTo>
                <a:lnTo>
                  <a:pt x="192" y="114"/>
                </a:lnTo>
                <a:lnTo>
                  <a:pt x="194" y="112"/>
                </a:lnTo>
                <a:lnTo>
                  <a:pt x="194" y="112"/>
                </a:lnTo>
                <a:lnTo>
                  <a:pt x="194" y="112"/>
                </a:lnTo>
                <a:lnTo>
                  <a:pt x="190" y="106"/>
                </a:lnTo>
                <a:lnTo>
                  <a:pt x="190" y="106"/>
                </a:lnTo>
                <a:lnTo>
                  <a:pt x="184" y="100"/>
                </a:lnTo>
                <a:lnTo>
                  <a:pt x="184" y="98"/>
                </a:lnTo>
                <a:lnTo>
                  <a:pt x="186" y="98"/>
                </a:lnTo>
                <a:lnTo>
                  <a:pt x="182" y="92"/>
                </a:lnTo>
                <a:lnTo>
                  <a:pt x="182" y="92"/>
                </a:lnTo>
                <a:lnTo>
                  <a:pt x="172" y="80"/>
                </a:lnTo>
                <a:lnTo>
                  <a:pt x="166" y="70"/>
                </a:lnTo>
                <a:lnTo>
                  <a:pt x="166" y="70"/>
                </a:lnTo>
                <a:lnTo>
                  <a:pt x="164" y="66"/>
                </a:lnTo>
                <a:lnTo>
                  <a:pt x="164" y="62"/>
                </a:lnTo>
                <a:lnTo>
                  <a:pt x="164" y="58"/>
                </a:lnTo>
                <a:lnTo>
                  <a:pt x="160" y="50"/>
                </a:lnTo>
                <a:lnTo>
                  <a:pt x="160" y="50"/>
                </a:lnTo>
                <a:lnTo>
                  <a:pt x="156" y="44"/>
                </a:lnTo>
                <a:lnTo>
                  <a:pt x="156" y="40"/>
                </a:lnTo>
                <a:lnTo>
                  <a:pt x="156" y="34"/>
                </a:lnTo>
                <a:lnTo>
                  <a:pt x="152" y="26"/>
                </a:lnTo>
                <a:lnTo>
                  <a:pt x="152" y="26"/>
                </a:lnTo>
                <a:lnTo>
                  <a:pt x="158" y="38"/>
                </a:lnTo>
                <a:lnTo>
                  <a:pt x="160" y="44"/>
                </a:lnTo>
                <a:lnTo>
                  <a:pt x="164" y="48"/>
                </a:lnTo>
                <a:lnTo>
                  <a:pt x="164" y="48"/>
                </a:lnTo>
                <a:lnTo>
                  <a:pt x="168" y="52"/>
                </a:lnTo>
                <a:lnTo>
                  <a:pt x="170" y="56"/>
                </a:lnTo>
                <a:lnTo>
                  <a:pt x="174" y="60"/>
                </a:lnTo>
                <a:lnTo>
                  <a:pt x="178" y="66"/>
                </a:lnTo>
                <a:lnTo>
                  <a:pt x="178" y="66"/>
                </a:lnTo>
                <a:lnTo>
                  <a:pt x="182" y="72"/>
                </a:lnTo>
                <a:lnTo>
                  <a:pt x="186" y="78"/>
                </a:lnTo>
                <a:lnTo>
                  <a:pt x="190" y="84"/>
                </a:lnTo>
                <a:lnTo>
                  <a:pt x="196" y="92"/>
                </a:lnTo>
                <a:lnTo>
                  <a:pt x="196" y="92"/>
                </a:lnTo>
                <a:lnTo>
                  <a:pt x="204" y="100"/>
                </a:lnTo>
                <a:lnTo>
                  <a:pt x="206" y="98"/>
                </a:lnTo>
                <a:lnTo>
                  <a:pt x="210" y="94"/>
                </a:lnTo>
                <a:lnTo>
                  <a:pt x="210" y="94"/>
                </a:lnTo>
                <a:lnTo>
                  <a:pt x="212" y="88"/>
                </a:lnTo>
                <a:lnTo>
                  <a:pt x="212" y="84"/>
                </a:lnTo>
                <a:lnTo>
                  <a:pt x="210" y="80"/>
                </a:lnTo>
                <a:lnTo>
                  <a:pt x="210" y="74"/>
                </a:lnTo>
                <a:lnTo>
                  <a:pt x="210" y="74"/>
                </a:lnTo>
                <a:lnTo>
                  <a:pt x="212" y="66"/>
                </a:lnTo>
                <a:lnTo>
                  <a:pt x="212" y="62"/>
                </a:lnTo>
                <a:lnTo>
                  <a:pt x="212" y="56"/>
                </a:lnTo>
                <a:lnTo>
                  <a:pt x="214" y="50"/>
                </a:lnTo>
                <a:lnTo>
                  <a:pt x="214" y="50"/>
                </a:lnTo>
                <a:lnTo>
                  <a:pt x="196" y="20"/>
                </a:lnTo>
                <a:lnTo>
                  <a:pt x="196" y="20"/>
                </a:lnTo>
                <a:lnTo>
                  <a:pt x="194" y="18"/>
                </a:lnTo>
                <a:lnTo>
                  <a:pt x="194" y="14"/>
                </a:lnTo>
                <a:lnTo>
                  <a:pt x="196" y="12"/>
                </a:lnTo>
                <a:lnTo>
                  <a:pt x="198" y="10"/>
                </a:lnTo>
                <a:lnTo>
                  <a:pt x="196" y="6"/>
                </a:lnTo>
                <a:lnTo>
                  <a:pt x="196" y="6"/>
                </a:lnTo>
                <a:lnTo>
                  <a:pt x="192" y="10"/>
                </a:lnTo>
                <a:lnTo>
                  <a:pt x="186" y="14"/>
                </a:lnTo>
                <a:lnTo>
                  <a:pt x="182" y="16"/>
                </a:lnTo>
                <a:lnTo>
                  <a:pt x="178" y="16"/>
                </a:lnTo>
                <a:lnTo>
                  <a:pt x="170" y="14"/>
                </a:lnTo>
                <a:lnTo>
                  <a:pt x="164" y="14"/>
                </a:lnTo>
                <a:lnTo>
                  <a:pt x="164" y="14"/>
                </a:lnTo>
                <a:lnTo>
                  <a:pt x="150" y="12"/>
                </a:lnTo>
                <a:lnTo>
                  <a:pt x="138" y="8"/>
                </a:lnTo>
                <a:lnTo>
                  <a:pt x="138" y="8"/>
                </a:lnTo>
                <a:lnTo>
                  <a:pt x="132" y="6"/>
                </a:lnTo>
                <a:lnTo>
                  <a:pt x="130" y="8"/>
                </a:lnTo>
                <a:lnTo>
                  <a:pt x="126" y="8"/>
                </a:lnTo>
                <a:lnTo>
                  <a:pt x="122" y="6"/>
                </a:lnTo>
                <a:lnTo>
                  <a:pt x="122" y="6"/>
                </a:lnTo>
                <a:lnTo>
                  <a:pt x="112" y="8"/>
                </a:lnTo>
                <a:lnTo>
                  <a:pt x="106" y="10"/>
                </a:lnTo>
                <a:lnTo>
                  <a:pt x="104" y="12"/>
                </a:lnTo>
                <a:lnTo>
                  <a:pt x="104" y="12"/>
                </a:lnTo>
                <a:lnTo>
                  <a:pt x="104" y="12"/>
                </a:lnTo>
                <a:lnTo>
                  <a:pt x="104" y="14"/>
                </a:lnTo>
                <a:lnTo>
                  <a:pt x="100" y="16"/>
                </a:lnTo>
                <a:lnTo>
                  <a:pt x="96" y="18"/>
                </a:lnTo>
                <a:lnTo>
                  <a:pt x="90" y="22"/>
                </a:lnTo>
                <a:lnTo>
                  <a:pt x="90" y="22"/>
                </a:lnTo>
                <a:lnTo>
                  <a:pt x="86" y="24"/>
                </a:lnTo>
                <a:lnTo>
                  <a:pt x="84" y="22"/>
                </a:lnTo>
                <a:lnTo>
                  <a:pt x="82" y="18"/>
                </a:lnTo>
                <a:lnTo>
                  <a:pt x="78" y="16"/>
                </a:lnTo>
                <a:lnTo>
                  <a:pt x="78" y="16"/>
                </a:lnTo>
                <a:lnTo>
                  <a:pt x="72" y="16"/>
                </a:lnTo>
                <a:lnTo>
                  <a:pt x="72" y="12"/>
                </a:lnTo>
                <a:lnTo>
                  <a:pt x="72" y="12"/>
                </a:lnTo>
                <a:lnTo>
                  <a:pt x="68" y="14"/>
                </a:lnTo>
                <a:lnTo>
                  <a:pt x="68" y="14"/>
                </a:lnTo>
                <a:lnTo>
                  <a:pt x="66" y="14"/>
                </a:lnTo>
                <a:lnTo>
                  <a:pt x="62" y="14"/>
                </a:lnTo>
                <a:lnTo>
                  <a:pt x="52" y="8"/>
                </a:lnTo>
                <a:lnTo>
                  <a:pt x="52" y="8"/>
                </a:lnTo>
                <a:lnTo>
                  <a:pt x="44" y="6"/>
                </a:lnTo>
                <a:lnTo>
                  <a:pt x="34" y="4"/>
                </a:lnTo>
                <a:lnTo>
                  <a:pt x="26" y="4"/>
                </a:lnTo>
                <a:lnTo>
                  <a:pt x="22" y="4"/>
                </a:lnTo>
                <a:lnTo>
                  <a:pt x="22" y="4"/>
                </a:lnTo>
                <a:lnTo>
                  <a:pt x="16" y="6"/>
                </a:lnTo>
                <a:lnTo>
                  <a:pt x="10" y="6"/>
                </a:lnTo>
                <a:lnTo>
                  <a:pt x="4" y="0"/>
                </a:lnTo>
                <a:lnTo>
                  <a:pt x="4" y="0"/>
                </a:lnTo>
                <a:lnTo>
                  <a:pt x="2" y="10"/>
                </a:lnTo>
                <a:lnTo>
                  <a:pt x="2" y="26"/>
                </a:lnTo>
                <a:lnTo>
                  <a:pt x="2" y="26"/>
                </a:lnTo>
                <a:lnTo>
                  <a:pt x="6" y="28"/>
                </a:lnTo>
                <a:lnTo>
                  <a:pt x="6" y="30"/>
                </a:lnTo>
                <a:lnTo>
                  <a:pt x="4" y="34"/>
                </a:lnTo>
                <a:lnTo>
                  <a:pt x="0" y="40"/>
                </a:lnTo>
                <a:lnTo>
                  <a:pt x="0" y="42"/>
                </a:lnTo>
                <a:lnTo>
                  <a:pt x="2" y="44"/>
                </a:lnTo>
                <a:lnTo>
                  <a:pt x="2" y="44"/>
                </a:lnTo>
                <a:lnTo>
                  <a:pt x="6" y="48"/>
                </a:lnTo>
                <a:lnTo>
                  <a:pt x="4" y="50"/>
                </a:lnTo>
                <a:lnTo>
                  <a:pt x="4" y="54"/>
                </a:lnTo>
                <a:lnTo>
                  <a:pt x="2" y="64"/>
                </a:lnTo>
                <a:lnTo>
                  <a:pt x="2" y="64"/>
                </a:lnTo>
                <a:lnTo>
                  <a:pt x="14" y="234"/>
                </a:lnTo>
                <a:lnTo>
                  <a:pt x="14" y="234"/>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73" name="Freeform 167"/>
          <p:cNvSpPr>
            <a:spLocks/>
          </p:cNvSpPr>
          <p:nvPr/>
        </p:nvSpPr>
        <p:spPr bwMode="auto">
          <a:xfrm>
            <a:off x="5204579" y="2233533"/>
            <a:ext cx="182306" cy="207128"/>
          </a:xfrm>
          <a:custGeom>
            <a:avLst/>
            <a:gdLst/>
            <a:ahLst/>
            <a:cxnLst>
              <a:cxn ang="0">
                <a:pos x="154" y="174"/>
              </a:cxn>
              <a:cxn ang="0">
                <a:pos x="150" y="172"/>
              </a:cxn>
              <a:cxn ang="0">
                <a:pos x="142" y="174"/>
              </a:cxn>
              <a:cxn ang="0">
                <a:pos x="138" y="174"/>
              </a:cxn>
              <a:cxn ang="0">
                <a:pos x="146" y="170"/>
              </a:cxn>
              <a:cxn ang="0">
                <a:pos x="154" y="168"/>
              </a:cxn>
              <a:cxn ang="0">
                <a:pos x="160" y="160"/>
              </a:cxn>
              <a:cxn ang="0">
                <a:pos x="160" y="156"/>
              </a:cxn>
              <a:cxn ang="0">
                <a:pos x="156" y="146"/>
              </a:cxn>
              <a:cxn ang="0">
                <a:pos x="144" y="134"/>
              </a:cxn>
              <a:cxn ang="0">
                <a:pos x="144" y="132"/>
              </a:cxn>
              <a:cxn ang="0">
                <a:pos x="140" y="132"/>
              </a:cxn>
              <a:cxn ang="0">
                <a:pos x="138" y="128"/>
              </a:cxn>
              <a:cxn ang="0">
                <a:pos x="130" y="116"/>
              </a:cxn>
              <a:cxn ang="0">
                <a:pos x="122" y="108"/>
              </a:cxn>
              <a:cxn ang="0">
                <a:pos x="110" y="92"/>
              </a:cxn>
              <a:cxn ang="0">
                <a:pos x="104" y="88"/>
              </a:cxn>
              <a:cxn ang="0">
                <a:pos x="100" y="88"/>
              </a:cxn>
              <a:cxn ang="0">
                <a:pos x="94" y="84"/>
              </a:cxn>
              <a:cxn ang="0">
                <a:pos x="90" y="82"/>
              </a:cxn>
              <a:cxn ang="0">
                <a:pos x="84" y="78"/>
              </a:cxn>
              <a:cxn ang="0">
                <a:pos x="78" y="70"/>
              </a:cxn>
              <a:cxn ang="0">
                <a:pos x="76" y="72"/>
              </a:cxn>
              <a:cxn ang="0">
                <a:pos x="74" y="72"/>
              </a:cxn>
              <a:cxn ang="0">
                <a:pos x="68" y="64"/>
              </a:cxn>
              <a:cxn ang="0">
                <a:pos x="64" y="50"/>
              </a:cxn>
              <a:cxn ang="0">
                <a:pos x="56" y="24"/>
              </a:cxn>
              <a:cxn ang="0">
                <a:pos x="40" y="0"/>
              </a:cxn>
              <a:cxn ang="0">
                <a:pos x="30" y="12"/>
              </a:cxn>
              <a:cxn ang="0">
                <a:pos x="18" y="20"/>
              </a:cxn>
              <a:cxn ang="0">
                <a:pos x="12" y="32"/>
              </a:cxn>
              <a:cxn ang="0">
                <a:pos x="10" y="44"/>
              </a:cxn>
              <a:cxn ang="0">
                <a:pos x="0" y="106"/>
              </a:cxn>
              <a:cxn ang="0">
                <a:pos x="14" y="102"/>
              </a:cxn>
              <a:cxn ang="0">
                <a:pos x="20" y="104"/>
              </a:cxn>
              <a:cxn ang="0">
                <a:pos x="22" y="108"/>
              </a:cxn>
              <a:cxn ang="0">
                <a:pos x="24" y="108"/>
              </a:cxn>
              <a:cxn ang="0">
                <a:pos x="28" y="106"/>
              </a:cxn>
              <a:cxn ang="0">
                <a:pos x="32" y="96"/>
              </a:cxn>
              <a:cxn ang="0">
                <a:pos x="34" y="94"/>
              </a:cxn>
              <a:cxn ang="0">
                <a:pos x="38" y="94"/>
              </a:cxn>
              <a:cxn ang="0">
                <a:pos x="42" y="100"/>
              </a:cxn>
              <a:cxn ang="0">
                <a:pos x="48" y="104"/>
              </a:cxn>
              <a:cxn ang="0">
                <a:pos x="60" y="104"/>
              </a:cxn>
              <a:cxn ang="0">
                <a:pos x="66" y="102"/>
              </a:cxn>
              <a:cxn ang="0">
                <a:pos x="74" y="102"/>
              </a:cxn>
              <a:cxn ang="0">
                <a:pos x="82" y="102"/>
              </a:cxn>
              <a:cxn ang="0">
                <a:pos x="100" y="104"/>
              </a:cxn>
              <a:cxn ang="0">
                <a:pos x="114" y="116"/>
              </a:cxn>
              <a:cxn ang="0">
                <a:pos x="138" y="146"/>
              </a:cxn>
              <a:cxn ang="0">
                <a:pos x="134" y="146"/>
              </a:cxn>
              <a:cxn ang="0">
                <a:pos x="128" y="154"/>
              </a:cxn>
              <a:cxn ang="0">
                <a:pos x="124" y="168"/>
              </a:cxn>
              <a:cxn ang="0">
                <a:pos x="126" y="178"/>
              </a:cxn>
              <a:cxn ang="0">
                <a:pos x="128" y="182"/>
              </a:cxn>
              <a:cxn ang="0">
                <a:pos x="134" y="182"/>
              </a:cxn>
              <a:cxn ang="0">
                <a:pos x="142" y="180"/>
              </a:cxn>
              <a:cxn ang="0">
                <a:pos x="154" y="174"/>
              </a:cxn>
            </a:cxnLst>
            <a:rect l="0" t="0" r="r" b="b"/>
            <a:pathLst>
              <a:path w="160" h="182">
                <a:moveTo>
                  <a:pt x="154" y="174"/>
                </a:moveTo>
                <a:lnTo>
                  <a:pt x="154" y="174"/>
                </a:lnTo>
                <a:lnTo>
                  <a:pt x="152" y="172"/>
                </a:lnTo>
                <a:lnTo>
                  <a:pt x="150" y="172"/>
                </a:lnTo>
                <a:lnTo>
                  <a:pt x="142" y="174"/>
                </a:lnTo>
                <a:lnTo>
                  <a:pt x="142" y="174"/>
                </a:lnTo>
                <a:lnTo>
                  <a:pt x="138" y="174"/>
                </a:lnTo>
                <a:lnTo>
                  <a:pt x="138" y="174"/>
                </a:lnTo>
                <a:lnTo>
                  <a:pt x="146" y="170"/>
                </a:lnTo>
                <a:lnTo>
                  <a:pt x="146" y="170"/>
                </a:lnTo>
                <a:lnTo>
                  <a:pt x="150" y="170"/>
                </a:lnTo>
                <a:lnTo>
                  <a:pt x="154" y="168"/>
                </a:lnTo>
                <a:lnTo>
                  <a:pt x="158" y="166"/>
                </a:lnTo>
                <a:lnTo>
                  <a:pt x="160" y="160"/>
                </a:lnTo>
                <a:lnTo>
                  <a:pt x="160" y="160"/>
                </a:lnTo>
                <a:lnTo>
                  <a:pt x="160" y="156"/>
                </a:lnTo>
                <a:lnTo>
                  <a:pt x="160" y="152"/>
                </a:lnTo>
                <a:lnTo>
                  <a:pt x="156" y="146"/>
                </a:lnTo>
                <a:lnTo>
                  <a:pt x="150" y="142"/>
                </a:lnTo>
                <a:lnTo>
                  <a:pt x="144" y="134"/>
                </a:lnTo>
                <a:lnTo>
                  <a:pt x="144" y="134"/>
                </a:lnTo>
                <a:lnTo>
                  <a:pt x="144" y="132"/>
                </a:lnTo>
                <a:lnTo>
                  <a:pt x="140" y="132"/>
                </a:lnTo>
                <a:lnTo>
                  <a:pt x="140" y="132"/>
                </a:lnTo>
                <a:lnTo>
                  <a:pt x="138" y="130"/>
                </a:lnTo>
                <a:lnTo>
                  <a:pt x="138" y="128"/>
                </a:lnTo>
                <a:lnTo>
                  <a:pt x="136" y="122"/>
                </a:lnTo>
                <a:lnTo>
                  <a:pt x="130" y="116"/>
                </a:lnTo>
                <a:lnTo>
                  <a:pt x="130" y="116"/>
                </a:lnTo>
                <a:lnTo>
                  <a:pt x="122" y="108"/>
                </a:lnTo>
                <a:lnTo>
                  <a:pt x="116" y="100"/>
                </a:lnTo>
                <a:lnTo>
                  <a:pt x="110" y="92"/>
                </a:lnTo>
                <a:lnTo>
                  <a:pt x="106" y="90"/>
                </a:lnTo>
                <a:lnTo>
                  <a:pt x="104" y="88"/>
                </a:lnTo>
                <a:lnTo>
                  <a:pt x="104" y="88"/>
                </a:lnTo>
                <a:lnTo>
                  <a:pt x="100" y="88"/>
                </a:lnTo>
                <a:lnTo>
                  <a:pt x="98" y="86"/>
                </a:lnTo>
                <a:lnTo>
                  <a:pt x="94" y="84"/>
                </a:lnTo>
                <a:lnTo>
                  <a:pt x="90" y="82"/>
                </a:lnTo>
                <a:lnTo>
                  <a:pt x="90" y="82"/>
                </a:lnTo>
                <a:lnTo>
                  <a:pt x="86" y="80"/>
                </a:lnTo>
                <a:lnTo>
                  <a:pt x="84" y="78"/>
                </a:lnTo>
                <a:lnTo>
                  <a:pt x="80" y="74"/>
                </a:lnTo>
                <a:lnTo>
                  <a:pt x="78" y="70"/>
                </a:lnTo>
                <a:lnTo>
                  <a:pt x="78" y="70"/>
                </a:lnTo>
                <a:lnTo>
                  <a:pt x="76" y="72"/>
                </a:lnTo>
                <a:lnTo>
                  <a:pt x="76" y="72"/>
                </a:lnTo>
                <a:lnTo>
                  <a:pt x="74" y="72"/>
                </a:lnTo>
                <a:lnTo>
                  <a:pt x="72" y="72"/>
                </a:lnTo>
                <a:lnTo>
                  <a:pt x="68" y="64"/>
                </a:lnTo>
                <a:lnTo>
                  <a:pt x="64" y="50"/>
                </a:lnTo>
                <a:lnTo>
                  <a:pt x="64" y="50"/>
                </a:lnTo>
                <a:lnTo>
                  <a:pt x="60" y="34"/>
                </a:lnTo>
                <a:lnTo>
                  <a:pt x="56" y="24"/>
                </a:lnTo>
                <a:lnTo>
                  <a:pt x="40" y="0"/>
                </a:lnTo>
                <a:lnTo>
                  <a:pt x="40" y="0"/>
                </a:lnTo>
                <a:lnTo>
                  <a:pt x="36" y="6"/>
                </a:lnTo>
                <a:lnTo>
                  <a:pt x="30" y="12"/>
                </a:lnTo>
                <a:lnTo>
                  <a:pt x="22" y="18"/>
                </a:lnTo>
                <a:lnTo>
                  <a:pt x="18" y="20"/>
                </a:lnTo>
                <a:lnTo>
                  <a:pt x="14" y="26"/>
                </a:lnTo>
                <a:lnTo>
                  <a:pt x="12" y="32"/>
                </a:lnTo>
                <a:lnTo>
                  <a:pt x="10" y="44"/>
                </a:lnTo>
                <a:lnTo>
                  <a:pt x="10" y="44"/>
                </a:lnTo>
                <a:lnTo>
                  <a:pt x="4" y="80"/>
                </a:lnTo>
                <a:lnTo>
                  <a:pt x="0" y="106"/>
                </a:lnTo>
                <a:lnTo>
                  <a:pt x="0" y="106"/>
                </a:lnTo>
                <a:lnTo>
                  <a:pt x="14" y="102"/>
                </a:lnTo>
                <a:lnTo>
                  <a:pt x="18" y="102"/>
                </a:lnTo>
                <a:lnTo>
                  <a:pt x="20" y="104"/>
                </a:lnTo>
                <a:lnTo>
                  <a:pt x="22" y="106"/>
                </a:lnTo>
                <a:lnTo>
                  <a:pt x="22" y="108"/>
                </a:lnTo>
                <a:lnTo>
                  <a:pt x="24" y="108"/>
                </a:lnTo>
                <a:lnTo>
                  <a:pt x="24" y="108"/>
                </a:lnTo>
                <a:lnTo>
                  <a:pt x="28" y="106"/>
                </a:lnTo>
                <a:lnTo>
                  <a:pt x="28" y="106"/>
                </a:lnTo>
                <a:lnTo>
                  <a:pt x="30" y="100"/>
                </a:lnTo>
                <a:lnTo>
                  <a:pt x="32" y="96"/>
                </a:lnTo>
                <a:lnTo>
                  <a:pt x="32" y="96"/>
                </a:lnTo>
                <a:lnTo>
                  <a:pt x="34" y="94"/>
                </a:lnTo>
                <a:lnTo>
                  <a:pt x="34" y="94"/>
                </a:lnTo>
                <a:lnTo>
                  <a:pt x="38" y="94"/>
                </a:lnTo>
                <a:lnTo>
                  <a:pt x="38" y="96"/>
                </a:lnTo>
                <a:lnTo>
                  <a:pt x="42" y="100"/>
                </a:lnTo>
                <a:lnTo>
                  <a:pt x="44" y="102"/>
                </a:lnTo>
                <a:lnTo>
                  <a:pt x="48" y="104"/>
                </a:lnTo>
                <a:lnTo>
                  <a:pt x="54" y="104"/>
                </a:lnTo>
                <a:lnTo>
                  <a:pt x="60" y="104"/>
                </a:lnTo>
                <a:lnTo>
                  <a:pt x="60" y="104"/>
                </a:lnTo>
                <a:lnTo>
                  <a:pt x="66" y="102"/>
                </a:lnTo>
                <a:lnTo>
                  <a:pt x="70" y="102"/>
                </a:lnTo>
                <a:lnTo>
                  <a:pt x="74" y="102"/>
                </a:lnTo>
                <a:lnTo>
                  <a:pt x="82" y="102"/>
                </a:lnTo>
                <a:lnTo>
                  <a:pt x="82" y="102"/>
                </a:lnTo>
                <a:lnTo>
                  <a:pt x="92" y="102"/>
                </a:lnTo>
                <a:lnTo>
                  <a:pt x="100" y="104"/>
                </a:lnTo>
                <a:lnTo>
                  <a:pt x="108" y="110"/>
                </a:lnTo>
                <a:lnTo>
                  <a:pt x="114" y="116"/>
                </a:lnTo>
                <a:lnTo>
                  <a:pt x="128" y="130"/>
                </a:lnTo>
                <a:lnTo>
                  <a:pt x="138" y="146"/>
                </a:lnTo>
                <a:lnTo>
                  <a:pt x="138" y="146"/>
                </a:lnTo>
                <a:lnTo>
                  <a:pt x="134" y="146"/>
                </a:lnTo>
                <a:lnTo>
                  <a:pt x="130" y="148"/>
                </a:lnTo>
                <a:lnTo>
                  <a:pt x="128" y="154"/>
                </a:lnTo>
                <a:lnTo>
                  <a:pt x="128" y="154"/>
                </a:lnTo>
                <a:lnTo>
                  <a:pt x="124" y="168"/>
                </a:lnTo>
                <a:lnTo>
                  <a:pt x="124" y="176"/>
                </a:lnTo>
                <a:lnTo>
                  <a:pt x="126" y="178"/>
                </a:lnTo>
                <a:lnTo>
                  <a:pt x="126" y="178"/>
                </a:lnTo>
                <a:lnTo>
                  <a:pt x="128" y="182"/>
                </a:lnTo>
                <a:lnTo>
                  <a:pt x="130" y="182"/>
                </a:lnTo>
                <a:lnTo>
                  <a:pt x="134" y="182"/>
                </a:lnTo>
                <a:lnTo>
                  <a:pt x="138" y="180"/>
                </a:lnTo>
                <a:lnTo>
                  <a:pt x="142" y="180"/>
                </a:lnTo>
                <a:lnTo>
                  <a:pt x="146" y="182"/>
                </a:lnTo>
                <a:lnTo>
                  <a:pt x="154" y="174"/>
                </a:lnTo>
                <a:lnTo>
                  <a:pt x="154" y="174"/>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74" name="Freeform 168"/>
          <p:cNvSpPr>
            <a:spLocks/>
          </p:cNvSpPr>
          <p:nvPr/>
        </p:nvSpPr>
        <p:spPr bwMode="auto">
          <a:xfrm>
            <a:off x="5491710" y="1584837"/>
            <a:ext cx="307642" cy="172985"/>
          </a:xfrm>
          <a:custGeom>
            <a:avLst/>
            <a:gdLst/>
            <a:ahLst/>
            <a:cxnLst>
              <a:cxn ang="0">
                <a:pos x="48" y="24"/>
              </a:cxn>
              <a:cxn ang="0">
                <a:pos x="34" y="10"/>
              </a:cxn>
              <a:cxn ang="0">
                <a:pos x="8" y="8"/>
              </a:cxn>
              <a:cxn ang="0">
                <a:pos x="6" y="28"/>
              </a:cxn>
              <a:cxn ang="0">
                <a:pos x="10" y="22"/>
              </a:cxn>
              <a:cxn ang="0">
                <a:pos x="8" y="16"/>
              </a:cxn>
              <a:cxn ang="0">
                <a:pos x="22" y="12"/>
              </a:cxn>
              <a:cxn ang="0">
                <a:pos x="32" y="20"/>
              </a:cxn>
              <a:cxn ang="0">
                <a:pos x="36" y="26"/>
              </a:cxn>
              <a:cxn ang="0">
                <a:pos x="28" y="32"/>
              </a:cxn>
              <a:cxn ang="0">
                <a:pos x="22" y="34"/>
              </a:cxn>
              <a:cxn ang="0">
                <a:pos x="12" y="34"/>
              </a:cxn>
              <a:cxn ang="0">
                <a:pos x="8" y="38"/>
              </a:cxn>
              <a:cxn ang="0">
                <a:pos x="14" y="50"/>
              </a:cxn>
              <a:cxn ang="0">
                <a:pos x="22" y="50"/>
              </a:cxn>
              <a:cxn ang="0">
                <a:pos x="24" y="54"/>
              </a:cxn>
              <a:cxn ang="0">
                <a:pos x="14" y="54"/>
              </a:cxn>
              <a:cxn ang="0">
                <a:pos x="14" y="60"/>
              </a:cxn>
              <a:cxn ang="0">
                <a:pos x="24" y="62"/>
              </a:cxn>
              <a:cxn ang="0">
                <a:pos x="32" y="66"/>
              </a:cxn>
              <a:cxn ang="0">
                <a:pos x="44" y="74"/>
              </a:cxn>
              <a:cxn ang="0">
                <a:pos x="46" y="98"/>
              </a:cxn>
              <a:cxn ang="0">
                <a:pos x="56" y="100"/>
              </a:cxn>
              <a:cxn ang="0">
                <a:pos x="66" y="82"/>
              </a:cxn>
              <a:cxn ang="0">
                <a:pos x="82" y="80"/>
              </a:cxn>
              <a:cxn ang="0">
                <a:pos x="96" y="78"/>
              </a:cxn>
              <a:cxn ang="0">
                <a:pos x="106" y="86"/>
              </a:cxn>
              <a:cxn ang="0">
                <a:pos x="146" y="98"/>
              </a:cxn>
              <a:cxn ang="0">
                <a:pos x="164" y="108"/>
              </a:cxn>
              <a:cxn ang="0">
                <a:pos x="182" y="114"/>
              </a:cxn>
              <a:cxn ang="0">
                <a:pos x="186" y="124"/>
              </a:cxn>
              <a:cxn ang="0">
                <a:pos x="198" y="140"/>
              </a:cxn>
              <a:cxn ang="0">
                <a:pos x="212" y="142"/>
              </a:cxn>
              <a:cxn ang="0">
                <a:pos x="222" y="152"/>
              </a:cxn>
              <a:cxn ang="0">
                <a:pos x="230" y="140"/>
              </a:cxn>
              <a:cxn ang="0">
                <a:pos x="236" y="132"/>
              </a:cxn>
              <a:cxn ang="0">
                <a:pos x="252" y="120"/>
              </a:cxn>
              <a:cxn ang="0">
                <a:pos x="256" y="102"/>
              </a:cxn>
              <a:cxn ang="0">
                <a:pos x="270" y="96"/>
              </a:cxn>
              <a:cxn ang="0">
                <a:pos x="268" y="80"/>
              </a:cxn>
              <a:cxn ang="0">
                <a:pos x="258" y="76"/>
              </a:cxn>
              <a:cxn ang="0">
                <a:pos x="236" y="74"/>
              </a:cxn>
              <a:cxn ang="0">
                <a:pos x="208" y="60"/>
              </a:cxn>
              <a:cxn ang="0">
                <a:pos x="158" y="22"/>
              </a:cxn>
              <a:cxn ang="0">
                <a:pos x="140" y="24"/>
              </a:cxn>
              <a:cxn ang="0">
                <a:pos x="128" y="18"/>
              </a:cxn>
              <a:cxn ang="0">
                <a:pos x="126" y="10"/>
              </a:cxn>
              <a:cxn ang="0">
                <a:pos x="104" y="0"/>
              </a:cxn>
              <a:cxn ang="0">
                <a:pos x="96" y="4"/>
              </a:cxn>
              <a:cxn ang="0">
                <a:pos x="88" y="8"/>
              </a:cxn>
              <a:cxn ang="0">
                <a:pos x="78" y="16"/>
              </a:cxn>
              <a:cxn ang="0">
                <a:pos x="76" y="28"/>
              </a:cxn>
            </a:cxnLst>
            <a:rect l="0" t="0" r="r" b="b"/>
            <a:pathLst>
              <a:path w="270" h="152">
                <a:moveTo>
                  <a:pt x="70" y="28"/>
                </a:moveTo>
                <a:lnTo>
                  <a:pt x="70" y="28"/>
                </a:lnTo>
                <a:lnTo>
                  <a:pt x="54" y="28"/>
                </a:lnTo>
                <a:lnTo>
                  <a:pt x="48" y="24"/>
                </a:lnTo>
                <a:lnTo>
                  <a:pt x="42" y="18"/>
                </a:lnTo>
                <a:lnTo>
                  <a:pt x="42" y="18"/>
                </a:lnTo>
                <a:lnTo>
                  <a:pt x="40" y="14"/>
                </a:lnTo>
                <a:lnTo>
                  <a:pt x="34" y="10"/>
                </a:lnTo>
                <a:lnTo>
                  <a:pt x="28" y="6"/>
                </a:lnTo>
                <a:lnTo>
                  <a:pt x="22" y="6"/>
                </a:lnTo>
                <a:lnTo>
                  <a:pt x="16" y="6"/>
                </a:lnTo>
                <a:lnTo>
                  <a:pt x="8" y="8"/>
                </a:lnTo>
                <a:lnTo>
                  <a:pt x="4" y="14"/>
                </a:lnTo>
                <a:lnTo>
                  <a:pt x="0" y="22"/>
                </a:lnTo>
                <a:lnTo>
                  <a:pt x="0" y="22"/>
                </a:lnTo>
                <a:lnTo>
                  <a:pt x="6" y="28"/>
                </a:lnTo>
                <a:lnTo>
                  <a:pt x="8" y="30"/>
                </a:lnTo>
                <a:lnTo>
                  <a:pt x="8" y="30"/>
                </a:lnTo>
                <a:lnTo>
                  <a:pt x="10" y="26"/>
                </a:lnTo>
                <a:lnTo>
                  <a:pt x="10" y="22"/>
                </a:lnTo>
                <a:lnTo>
                  <a:pt x="10" y="20"/>
                </a:lnTo>
                <a:lnTo>
                  <a:pt x="10" y="20"/>
                </a:lnTo>
                <a:lnTo>
                  <a:pt x="8" y="18"/>
                </a:lnTo>
                <a:lnTo>
                  <a:pt x="8" y="16"/>
                </a:lnTo>
                <a:lnTo>
                  <a:pt x="12" y="12"/>
                </a:lnTo>
                <a:lnTo>
                  <a:pt x="12" y="12"/>
                </a:lnTo>
                <a:lnTo>
                  <a:pt x="20" y="12"/>
                </a:lnTo>
                <a:lnTo>
                  <a:pt x="22" y="12"/>
                </a:lnTo>
                <a:lnTo>
                  <a:pt x="24" y="14"/>
                </a:lnTo>
                <a:lnTo>
                  <a:pt x="24" y="14"/>
                </a:lnTo>
                <a:lnTo>
                  <a:pt x="26" y="18"/>
                </a:lnTo>
                <a:lnTo>
                  <a:pt x="32" y="20"/>
                </a:lnTo>
                <a:lnTo>
                  <a:pt x="36" y="22"/>
                </a:lnTo>
                <a:lnTo>
                  <a:pt x="38" y="24"/>
                </a:lnTo>
                <a:lnTo>
                  <a:pt x="36" y="26"/>
                </a:lnTo>
                <a:lnTo>
                  <a:pt x="36" y="26"/>
                </a:lnTo>
                <a:lnTo>
                  <a:pt x="34" y="28"/>
                </a:lnTo>
                <a:lnTo>
                  <a:pt x="34" y="30"/>
                </a:lnTo>
                <a:lnTo>
                  <a:pt x="32" y="32"/>
                </a:lnTo>
                <a:lnTo>
                  <a:pt x="28" y="32"/>
                </a:lnTo>
                <a:lnTo>
                  <a:pt x="28" y="32"/>
                </a:lnTo>
                <a:lnTo>
                  <a:pt x="24" y="32"/>
                </a:lnTo>
                <a:lnTo>
                  <a:pt x="24" y="32"/>
                </a:lnTo>
                <a:lnTo>
                  <a:pt x="22" y="34"/>
                </a:lnTo>
                <a:lnTo>
                  <a:pt x="20" y="34"/>
                </a:lnTo>
                <a:lnTo>
                  <a:pt x="20" y="34"/>
                </a:lnTo>
                <a:lnTo>
                  <a:pt x="16" y="36"/>
                </a:lnTo>
                <a:lnTo>
                  <a:pt x="12" y="34"/>
                </a:lnTo>
                <a:lnTo>
                  <a:pt x="8" y="30"/>
                </a:lnTo>
                <a:lnTo>
                  <a:pt x="8" y="30"/>
                </a:lnTo>
                <a:lnTo>
                  <a:pt x="8" y="34"/>
                </a:lnTo>
                <a:lnTo>
                  <a:pt x="8" y="38"/>
                </a:lnTo>
                <a:lnTo>
                  <a:pt x="10" y="48"/>
                </a:lnTo>
                <a:lnTo>
                  <a:pt x="10" y="48"/>
                </a:lnTo>
                <a:lnTo>
                  <a:pt x="12" y="48"/>
                </a:lnTo>
                <a:lnTo>
                  <a:pt x="14" y="50"/>
                </a:lnTo>
                <a:lnTo>
                  <a:pt x="18" y="48"/>
                </a:lnTo>
                <a:lnTo>
                  <a:pt x="22" y="48"/>
                </a:lnTo>
                <a:lnTo>
                  <a:pt x="22" y="48"/>
                </a:lnTo>
                <a:lnTo>
                  <a:pt x="22" y="50"/>
                </a:lnTo>
                <a:lnTo>
                  <a:pt x="22" y="50"/>
                </a:lnTo>
                <a:lnTo>
                  <a:pt x="22" y="52"/>
                </a:lnTo>
                <a:lnTo>
                  <a:pt x="24" y="54"/>
                </a:lnTo>
                <a:lnTo>
                  <a:pt x="24" y="54"/>
                </a:lnTo>
                <a:lnTo>
                  <a:pt x="22" y="56"/>
                </a:lnTo>
                <a:lnTo>
                  <a:pt x="22" y="56"/>
                </a:lnTo>
                <a:lnTo>
                  <a:pt x="16" y="56"/>
                </a:lnTo>
                <a:lnTo>
                  <a:pt x="14" y="54"/>
                </a:lnTo>
                <a:lnTo>
                  <a:pt x="12" y="54"/>
                </a:lnTo>
                <a:lnTo>
                  <a:pt x="12" y="54"/>
                </a:lnTo>
                <a:lnTo>
                  <a:pt x="14" y="60"/>
                </a:lnTo>
                <a:lnTo>
                  <a:pt x="14" y="60"/>
                </a:lnTo>
                <a:lnTo>
                  <a:pt x="18" y="66"/>
                </a:lnTo>
                <a:lnTo>
                  <a:pt x="20" y="66"/>
                </a:lnTo>
                <a:lnTo>
                  <a:pt x="20" y="64"/>
                </a:lnTo>
                <a:lnTo>
                  <a:pt x="24" y="62"/>
                </a:lnTo>
                <a:lnTo>
                  <a:pt x="24" y="62"/>
                </a:lnTo>
                <a:lnTo>
                  <a:pt x="26" y="62"/>
                </a:lnTo>
                <a:lnTo>
                  <a:pt x="30" y="64"/>
                </a:lnTo>
                <a:lnTo>
                  <a:pt x="32" y="66"/>
                </a:lnTo>
                <a:lnTo>
                  <a:pt x="38" y="70"/>
                </a:lnTo>
                <a:lnTo>
                  <a:pt x="38" y="70"/>
                </a:lnTo>
                <a:lnTo>
                  <a:pt x="42" y="72"/>
                </a:lnTo>
                <a:lnTo>
                  <a:pt x="44" y="74"/>
                </a:lnTo>
                <a:lnTo>
                  <a:pt x="44" y="80"/>
                </a:lnTo>
                <a:lnTo>
                  <a:pt x="44" y="88"/>
                </a:lnTo>
                <a:lnTo>
                  <a:pt x="46" y="98"/>
                </a:lnTo>
                <a:lnTo>
                  <a:pt x="46" y="98"/>
                </a:lnTo>
                <a:lnTo>
                  <a:pt x="46" y="102"/>
                </a:lnTo>
                <a:lnTo>
                  <a:pt x="50" y="102"/>
                </a:lnTo>
                <a:lnTo>
                  <a:pt x="56" y="100"/>
                </a:lnTo>
                <a:lnTo>
                  <a:pt x="56" y="100"/>
                </a:lnTo>
                <a:lnTo>
                  <a:pt x="58" y="96"/>
                </a:lnTo>
                <a:lnTo>
                  <a:pt x="60" y="92"/>
                </a:lnTo>
                <a:lnTo>
                  <a:pt x="60" y="86"/>
                </a:lnTo>
                <a:lnTo>
                  <a:pt x="66" y="82"/>
                </a:lnTo>
                <a:lnTo>
                  <a:pt x="66" y="82"/>
                </a:lnTo>
                <a:lnTo>
                  <a:pt x="72" y="80"/>
                </a:lnTo>
                <a:lnTo>
                  <a:pt x="78" y="80"/>
                </a:lnTo>
                <a:lnTo>
                  <a:pt x="82" y="80"/>
                </a:lnTo>
                <a:lnTo>
                  <a:pt x="86" y="80"/>
                </a:lnTo>
                <a:lnTo>
                  <a:pt x="86" y="80"/>
                </a:lnTo>
                <a:lnTo>
                  <a:pt x="90" y="78"/>
                </a:lnTo>
                <a:lnTo>
                  <a:pt x="96" y="78"/>
                </a:lnTo>
                <a:lnTo>
                  <a:pt x="100" y="80"/>
                </a:lnTo>
                <a:lnTo>
                  <a:pt x="104" y="84"/>
                </a:lnTo>
                <a:lnTo>
                  <a:pt x="104" y="84"/>
                </a:lnTo>
                <a:lnTo>
                  <a:pt x="106" y="86"/>
                </a:lnTo>
                <a:lnTo>
                  <a:pt x="110" y="88"/>
                </a:lnTo>
                <a:lnTo>
                  <a:pt x="124" y="92"/>
                </a:lnTo>
                <a:lnTo>
                  <a:pt x="140" y="96"/>
                </a:lnTo>
                <a:lnTo>
                  <a:pt x="146" y="98"/>
                </a:lnTo>
                <a:lnTo>
                  <a:pt x="152" y="102"/>
                </a:lnTo>
                <a:lnTo>
                  <a:pt x="152" y="102"/>
                </a:lnTo>
                <a:lnTo>
                  <a:pt x="160" y="108"/>
                </a:lnTo>
                <a:lnTo>
                  <a:pt x="164" y="108"/>
                </a:lnTo>
                <a:lnTo>
                  <a:pt x="170" y="108"/>
                </a:lnTo>
                <a:lnTo>
                  <a:pt x="176" y="110"/>
                </a:lnTo>
                <a:lnTo>
                  <a:pt x="176" y="110"/>
                </a:lnTo>
                <a:lnTo>
                  <a:pt x="182" y="114"/>
                </a:lnTo>
                <a:lnTo>
                  <a:pt x="184" y="118"/>
                </a:lnTo>
                <a:lnTo>
                  <a:pt x="184" y="120"/>
                </a:lnTo>
                <a:lnTo>
                  <a:pt x="186" y="124"/>
                </a:lnTo>
                <a:lnTo>
                  <a:pt x="186" y="124"/>
                </a:lnTo>
                <a:lnTo>
                  <a:pt x="190" y="128"/>
                </a:lnTo>
                <a:lnTo>
                  <a:pt x="194" y="136"/>
                </a:lnTo>
                <a:lnTo>
                  <a:pt x="194" y="136"/>
                </a:lnTo>
                <a:lnTo>
                  <a:pt x="198" y="140"/>
                </a:lnTo>
                <a:lnTo>
                  <a:pt x="202" y="142"/>
                </a:lnTo>
                <a:lnTo>
                  <a:pt x="206" y="142"/>
                </a:lnTo>
                <a:lnTo>
                  <a:pt x="206" y="142"/>
                </a:lnTo>
                <a:lnTo>
                  <a:pt x="212" y="142"/>
                </a:lnTo>
                <a:lnTo>
                  <a:pt x="214" y="144"/>
                </a:lnTo>
                <a:lnTo>
                  <a:pt x="218" y="148"/>
                </a:lnTo>
                <a:lnTo>
                  <a:pt x="222" y="152"/>
                </a:lnTo>
                <a:lnTo>
                  <a:pt x="222" y="152"/>
                </a:lnTo>
                <a:lnTo>
                  <a:pt x="222" y="150"/>
                </a:lnTo>
                <a:lnTo>
                  <a:pt x="228" y="144"/>
                </a:lnTo>
                <a:lnTo>
                  <a:pt x="228" y="144"/>
                </a:lnTo>
                <a:lnTo>
                  <a:pt x="230" y="140"/>
                </a:lnTo>
                <a:lnTo>
                  <a:pt x="230" y="138"/>
                </a:lnTo>
                <a:lnTo>
                  <a:pt x="230" y="134"/>
                </a:lnTo>
                <a:lnTo>
                  <a:pt x="236" y="132"/>
                </a:lnTo>
                <a:lnTo>
                  <a:pt x="236" y="132"/>
                </a:lnTo>
                <a:lnTo>
                  <a:pt x="248" y="126"/>
                </a:lnTo>
                <a:lnTo>
                  <a:pt x="252" y="124"/>
                </a:lnTo>
                <a:lnTo>
                  <a:pt x="252" y="120"/>
                </a:lnTo>
                <a:lnTo>
                  <a:pt x="252" y="120"/>
                </a:lnTo>
                <a:lnTo>
                  <a:pt x="252" y="110"/>
                </a:lnTo>
                <a:lnTo>
                  <a:pt x="254" y="106"/>
                </a:lnTo>
                <a:lnTo>
                  <a:pt x="256" y="102"/>
                </a:lnTo>
                <a:lnTo>
                  <a:pt x="256" y="102"/>
                </a:lnTo>
                <a:lnTo>
                  <a:pt x="260" y="102"/>
                </a:lnTo>
                <a:lnTo>
                  <a:pt x="262" y="100"/>
                </a:lnTo>
                <a:lnTo>
                  <a:pt x="264" y="98"/>
                </a:lnTo>
                <a:lnTo>
                  <a:pt x="270" y="96"/>
                </a:lnTo>
                <a:lnTo>
                  <a:pt x="270" y="96"/>
                </a:lnTo>
                <a:lnTo>
                  <a:pt x="268" y="90"/>
                </a:lnTo>
                <a:lnTo>
                  <a:pt x="268" y="84"/>
                </a:lnTo>
                <a:lnTo>
                  <a:pt x="268" y="80"/>
                </a:lnTo>
                <a:lnTo>
                  <a:pt x="264" y="78"/>
                </a:lnTo>
                <a:lnTo>
                  <a:pt x="264" y="78"/>
                </a:lnTo>
                <a:lnTo>
                  <a:pt x="260" y="78"/>
                </a:lnTo>
                <a:lnTo>
                  <a:pt x="258" y="76"/>
                </a:lnTo>
                <a:lnTo>
                  <a:pt x="252" y="76"/>
                </a:lnTo>
                <a:lnTo>
                  <a:pt x="244" y="74"/>
                </a:lnTo>
                <a:lnTo>
                  <a:pt x="244" y="74"/>
                </a:lnTo>
                <a:lnTo>
                  <a:pt x="236" y="74"/>
                </a:lnTo>
                <a:lnTo>
                  <a:pt x="230" y="70"/>
                </a:lnTo>
                <a:lnTo>
                  <a:pt x="224" y="66"/>
                </a:lnTo>
                <a:lnTo>
                  <a:pt x="208" y="60"/>
                </a:lnTo>
                <a:lnTo>
                  <a:pt x="208" y="60"/>
                </a:lnTo>
                <a:lnTo>
                  <a:pt x="188" y="52"/>
                </a:lnTo>
                <a:lnTo>
                  <a:pt x="176" y="44"/>
                </a:lnTo>
                <a:lnTo>
                  <a:pt x="168" y="36"/>
                </a:lnTo>
                <a:lnTo>
                  <a:pt x="158" y="22"/>
                </a:lnTo>
                <a:lnTo>
                  <a:pt x="158" y="22"/>
                </a:lnTo>
                <a:lnTo>
                  <a:pt x="154" y="20"/>
                </a:lnTo>
                <a:lnTo>
                  <a:pt x="152" y="20"/>
                </a:lnTo>
                <a:lnTo>
                  <a:pt x="140" y="24"/>
                </a:lnTo>
                <a:lnTo>
                  <a:pt x="140" y="24"/>
                </a:lnTo>
                <a:lnTo>
                  <a:pt x="134" y="24"/>
                </a:lnTo>
                <a:lnTo>
                  <a:pt x="130" y="22"/>
                </a:lnTo>
                <a:lnTo>
                  <a:pt x="128" y="18"/>
                </a:lnTo>
                <a:lnTo>
                  <a:pt x="128" y="14"/>
                </a:lnTo>
                <a:lnTo>
                  <a:pt x="128" y="14"/>
                </a:lnTo>
                <a:lnTo>
                  <a:pt x="128" y="12"/>
                </a:lnTo>
                <a:lnTo>
                  <a:pt x="126" y="10"/>
                </a:lnTo>
                <a:lnTo>
                  <a:pt x="120" y="6"/>
                </a:lnTo>
                <a:lnTo>
                  <a:pt x="112" y="2"/>
                </a:lnTo>
                <a:lnTo>
                  <a:pt x="104" y="0"/>
                </a:lnTo>
                <a:lnTo>
                  <a:pt x="104" y="0"/>
                </a:lnTo>
                <a:lnTo>
                  <a:pt x="100" y="0"/>
                </a:lnTo>
                <a:lnTo>
                  <a:pt x="102" y="2"/>
                </a:lnTo>
                <a:lnTo>
                  <a:pt x="102" y="4"/>
                </a:lnTo>
                <a:lnTo>
                  <a:pt x="96" y="4"/>
                </a:lnTo>
                <a:lnTo>
                  <a:pt x="96" y="4"/>
                </a:lnTo>
                <a:lnTo>
                  <a:pt x="92" y="4"/>
                </a:lnTo>
                <a:lnTo>
                  <a:pt x="90" y="6"/>
                </a:lnTo>
                <a:lnTo>
                  <a:pt x="88" y="8"/>
                </a:lnTo>
                <a:lnTo>
                  <a:pt x="84" y="10"/>
                </a:lnTo>
                <a:lnTo>
                  <a:pt x="84" y="10"/>
                </a:lnTo>
                <a:lnTo>
                  <a:pt x="80" y="14"/>
                </a:lnTo>
                <a:lnTo>
                  <a:pt x="78" y="16"/>
                </a:lnTo>
                <a:lnTo>
                  <a:pt x="80" y="22"/>
                </a:lnTo>
                <a:lnTo>
                  <a:pt x="80" y="26"/>
                </a:lnTo>
                <a:lnTo>
                  <a:pt x="80" y="26"/>
                </a:lnTo>
                <a:lnTo>
                  <a:pt x="76" y="28"/>
                </a:lnTo>
                <a:lnTo>
                  <a:pt x="70" y="28"/>
                </a:lnTo>
                <a:lnTo>
                  <a:pt x="70" y="28"/>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75" name="Freeform 169"/>
          <p:cNvSpPr>
            <a:spLocks/>
          </p:cNvSpPr>
          <p:nvPr/>
        </p:nvSpPr>
        <p:spPr bwMode="auto">
          <a:xfrm>
            <a:off x="5851766" y="1566629"/>
            <a:ext cx="218767" cy="93321"/>
          </a:xfrm>
          <a:custGeom>
            <a:avLst/>
            <a:gdLst/>
            <a:ahLst/>
            <a:cxnLst>
              <a:cxn ang="0">
                <a:pos x="30" y="68"/>
              </a:cxn>
              <a:cxn ang="0">
                <a:pos x="20" y="70"/>
              </a:cxn>
              <a:cxn ang="0">
                <a:pos x="8" y="70"/>
              </a:cxn>
              <a:cxn ang="0">
                <a:pos x="0" y="76"/>
              </a:cxn>
              <a:cxn ang="0">
                <a:pos x="10" y="78"/>
              </a:cxn>
              <a:cxn ang="0">
                <a:pos x="22" y="78"/>
              </a:cxn>
              <a:cxn ang="0">
                <a:pos x="36" y="78"/>
              </a:cxn>
              <a:cxn ang="0">
                <a:pos x="46" y="80"/>
              </a:cxn>
              <a:cxn ang="0">
                <a:pos x="90" y="76"/>
              </a:cxn>
              <a:cxn ang="0">
                <a:pos x="94" y="52"/>
              </a:cxn>
              <a:cxn ang="0">
                <a:pos x="106" y="46"/>
              </a:cxn>
              <a:cxn ang="0">
                <a:pos x="112" y="44"/>
              </a:cxn>
              <a:cxn ang="0">
                <a:pos x="122" y="46"/>
              </a:cxn>
              <a:cxn ang="0">
                <a:pos x="132" y="48"/>
              </a:cxn>
              <a:cxn ang="0">
                <a:pos x="138" y="38"/>
              </a:cxn>
              <a:cxn ang="0">
                <a:pos x="150" y="34"/>
              </a:cxn>
              <a:cxn ang="0">
                <a:pos x="158" y="34"/>
              </a:cxn>
              <a:cxn ang="0">
                <a:pos x="172" y="26"/>
              </a:cxn>
              <a:cxn ang="0">
                <a:pos x="176" y="22"/>
              </a:cxn>
              <a:cxn ang="0">
                <a:pos x="186" y="16"/>
              </a:cxn>
              <a:cxn ang="0">
                <a:pos x="192" y="12"/>
              </a:cxn>
              <a:cxn ang="0">
                <a:pos x="186" y="14"/>
              </a:cxn>
              <a:cxn ang="0">
                <a:pos x="178" y="10"/>
              </a:cxn>
              <a:cxn ang="0">
                <a:pos x="166" y="8"/>
              </a:cxn>
              <a:cxn ang="0">
                <a:pos x="162" y="6"/>
              </a:cxn>
              <a:cxn ang="0">
                <a:pos x="104" y="6"/>
              </a:cxn>
              <a:cxn ang="0">
                <a:pos x="82" y="0"/>
              </a:cxn>
              <a:cxn ang="0">
                <a:pos x="72" y="6"/>
              </a:cxn>
              <a:cxn ang="0">
                <a:pos x="70" y="10"/>
              </a:cxn>
              <a:cxn ang="0">
                <a:pos x="52" y="6"/>
              </a:cxn>
              <a:cxn ang="0">
                <a:pos x="40" y="8"/>
              </a:cxn>
              <a:cxn ang="0">
                <a:pos x="26" y="16"/>
              </a:cxn>
              <a:cxn ang="0">
                <a:pos x="32" y="18"/>
              </a:cxn>
              <a:cxn ang="0">
                <a:pos x="24" y="32"/>
              </a:cxn>
              <a:cxn ang="0">
                <a:pos x="14" y="48"/>
              </a:cxn>
              <a:cxn ang="0">
                <a:pos x="20" y="44"/>
              </a:cxn>
              <a:cxn ang="0">
                <a:pos x="32" y="44"/>
              </a:cxn>
              <a:cxn ang="0">
                <a:pos x="42" y="44"/>
              </a:cxn>
              <a:cxn ang="0">
                <a:pos x="50" y="38"/>
              </a:cxn>
              <a:cxn ang="0">
                <a:pos x="56" y="42"/>
              </a:cxn>
              <a:cxn ang="0">
                <a:pos x="68" y="50"/>
              </a:cxn>
              <a:cxn ang="0">
                <a:pos x="78" y="52"/>
              </a:cxn>
              <a:cxn ang="0">
                <a:pos x="78" y="54"/>
              </a:cxn>
              <a:cxn ang="0">
                <a:pos x="50" y="64"/>
              </a:cxn>
              <a:cxn ang="0">
                <a:pos x="40" y="64"/>
              </a:cxn>
              <a:cxn ang="0">
                <a:pos x="30" y="64"/>
              </a:cxn>
            </a:cxnLst>
            <a:rect l="0" t="0" r="r" b="b"/>
            <a:pathLst>
              <a:path w="192" h="82">
                <a:moveTo>
                  <a:pt x="30" y="64"/>
                </a:moveTo>
                <a:lnTo>
                  <a:pt x="30" y="64"/>
                </a:lnTo>
                <a:lnTo>
                  <a:pt x="30" y="68"/>
                </a:lnTo>
                <a:lnTo>
                  <a:pt x="28" y="72"/>
                </a:lnTo>
                <a:lnTo>
                  <a:pt x="24" y="72"/>
                </a:lnTo>
                <a:lnTo>
                  <a:pt x="20" y="70"/>
                </a:lnTo>
                <a:lnTo>
                  <a:pt x="20" y="70"/>
                </a:lnTo>
                <a:lnTo>
                  <a:pt x="14" y="70"/>
                </a:lnTo>
                <a:lnTo>
                  <a:pt x="8" y="70"/>
                </a:lnTo>
                <a:lnTo>
                  <a:pt x="2" y="72"/>
                </a:lnTo>
                <a:lnTo>
                  <a:pt x="0" y="76"/>
                </a:lnTo>
                <a:lnTo>
                  <a:pt x="0" y="76"/>
                </a:lnTo>
                <a:lnTo>
                  <a:pt x="0" y="78"/>
                </a:lnTo>
                <a:lnTo>
                  <a:pt x="2" y="78"/>
                </a:lnTo>
                <a:lnTo>
                  <a:pt x="10" y="78"/>
                </a:lnTo>
                <a:lnTo>
                  <a:pt x="18" y="78"/>
                </a:lnTo>
                <a:lnTo>
                  <a:pt x="22" y="78"/>
                </a:lnTo>
                <a:lnTo>
                  <a:pt x="22" y="78"/>
                </a:lnTo>
                <a:lnTo>
                  <a:pt x="26" y="80"/>
                </a:lnTo>
                <a:lnTo>
                  <a:pt x="32" y="78"/>
                </a:lnTo>
                <a:lnTo>
                  <a:pt x="36" y="78"/>
                </a:lnTo>
                <a:lnTo>
                  <a:pt x="40" y="78"/>
                </a:lnTo>
                <a:lnTo>
                  <a:pt x="40" y="78"/>
                </a:lnTo>
                <a:lnTo>
                  <a:pt x="46" y="80"/>
                </a:lnTo>
                <a:lnTo>
                  <a:pt x="58" y="82"/>
                </a:lnTo>
                <a:lnTo>
                  <a:pt x="74" y="80"/>
                </a:lnTo>
                <a:lnTo>
                  <a:pt x="90" y="76"/>
                </a:lnTo>
                <a:lnTo>
                  <a:pt x="90" y="76"/>
                </a:lnTo>
                <a:lnTo>
                  <a:pt x="92" y="62"/>
                </a:lnTo>
                <a:lnTo>
                  <a:pt x="94" y="52"/>
                </a:lnTo>
                <a:lnTo>
                  <a:pt x="100" y="46"/>
                </a:lnTo>
                <a:lnTo>
                  <a:pt x="104" y="46"/>
                </a:lnTo>
                <a:lnTo>
                  <a:pt x="106" y="46"/>
                </a:lnTo>
                <a:lnTo>
                  <a:pt x="106" y="46"/>
                </a:lnTo>
                <a:lnTo>
                  <a:pt x="112" y="48"/>
                </a:lnTo>
                <a:lnTo>
                  <a:pt x="112" y="44"/>
                </a:lnTo>
                <a:lnTo>
                  <a:pt x="112" y="44"/>
                </a:lnTo>
                <a:lnTo>
                  <a:pt x="114" y="44"/>
                </a:lnTo>
                <a:lnTo>
                  <a:pt x="122" y="46"/>
                </a:lnTo>
                <a:lnTo>
                  <a:pt x="122" y="46"/>
                </a:lnTo>
                <a:lnTo>
                  <a:pt x="130" y="48"/>
                </a:lnTo>
                <a:lnTo>
                  <a:pt x="132" y="48"/>
                </a:lnTo>
                <a:lnTo>
                  <a:pt x="132" y="46"/>
                </a:lnTo>
                <a:lnTo>
                  <a:pt x="134" y="40"/>
                </a:lnTo>
                <a:lnTo>
                  <a:pt x="138" y="38"/>
                </a:lnTo>
                <a:lnTo>
                  <a:pt x="142" y="36"/>
                </a:lnTo>
                <a:lnTo>
                  <a:pt x="142" y="36"/>
                </a:lnTo>
                <a:lnTo>
                  <a:pt x="150" y="34"/>
                </a:lnTo>
                <a:lnTo>
                  <a:pt x="152" y="36"/>
                </a:lnTo>
                <a:lnTo>
                  <a:pt x="154" y="36"/>
                </a:lnTo>
                <a:lnTo>
                  <a:pt x="158" y="34"/>
                </a:lnTo>
                <a:lnTo>
                  <a:pt x="158" y="34"/>
                </a:lnTo>
                <a:lnTo>
                  <a:pt x="166" y="28"/>
                </a:lnTo>
                <a:lnTo>
                  <a:pt x="172" y="26"/>
                </a:lnTo>
                <a:lnTo>
                  <a:pt x="174" y="24"/>
                </a:lnTo>
                <a:lnTo>
                  <a:pt x="176" y="22"/>
                </a:lnTo>
                <a:lnTo>
                  <a:pt x="176" y="22"/>
                </a:lnTo>
                <a:lnTo>
                  <a:pt x="176" y="18"/>
                </a:lnTo>
                <a:lnTo>
                  <a:pt x="180" y="18"/>
                </a:lnTo>
                <a:lnTo>
                  <a:pt x="186" y="16"/>
                </a:lnTo>
                <a:lnTo>
                  <a:pt x="190" y="16"/>
                </a:lnTo>
                <a:lnTo>
                  <a:pt x="192" y="14"/>
                </a:lnTo>
                <a:lnTo>
                  <a:pt x="192" y="12"/>
                </a:lnTo>
                <a:lnTo>
                  <a:pt x="192" y="12"/>
                </a:lnTo>
                <a:lnTo>
                  <a:pt x="188" y="16"/>
                </a:lnTo>
                <a:lnTo>
                  <a:pt x="186" y="14"/>
                </a:lnTo>
                <a:lnTo>
                  <a:pt x="184" y="10"/>
                </a:lnTo>
                <a:lnTo>
                  <a:pt x="182" y="10"/>
                </a:lnTo>
                <a:lnTo>
                  <a:pt x="178" y="10"/>
                </a:lnTo>
                <a:lnTo>
                  <a:pt x="178" y="10"/>
                </a:lnTo>
                <a:lnTo>
                  <a:pt x="170" y="10"/>
                </a:lnTo>
                <a:lnTo>
                  <a:pt x="166" y="8"/>
                </a:lnTo>
                <a:lnTo>
                  <a:pt x="166" y="6"/>
                </a:lnTo>
                <a:lnTo>
                  <a:pt x="162" y="6"/>
                </a:lnTo>
                <a:lnTo>
                  <a:pt x="162" y="6"/>
                </a:lnTo>
                <a:lnTo>
                  <a:pt x="152" y="6"/>
                </a:lnTo>
                <a:lnTo>
                  <a:pt x="136" y="6"/>
                </a:lnTo>
                <a:lnTo>
                  <a:pt x="104" y="6"/>
                </a:lnTo>
                <a:lnTo>
                  <a:pt x="104" y="6"/>
                </a:lnTo>
                <a:lnTo>
                  <a:pt x="92" y="4"/>
                </a:lnTo>
                <a:lnTo>
                  <a:pt x="82" y="0"/>
                </a:lnTo>
                <a:lnTo>
                  <a:pt x="74" y="0"/>
                </a:lnTo>
                <a:lnTo>
                  <a:pt x="72" y="2"/>
                </a:lnTo>
                <a:lnTo>
                  <a:pt x="72" y="6"/>
                </a:lnTo>
                <a:lnTo>
                  <a:pt x="72" y="6"/>
                </a:lnTo>
                <a:lnTo>
                  <a:pt x="70" y="10"/>
                </a:lnTo>
                <a:lnTo>
                  <a:pt x="70" y="10"/>
                </a:lnTo>
                <a:lnTo>
                  <a:pt x="64" y="10"/>
                </a:lnTo>
                <a:lnTo>
                  <a:pt x="56" y="8"/>
                </a:lnTo>
                <a:lnTo>
                  <a:pt x="52" y="6"/>
                </a:lnTo>
                <a:lnTo>
                  <a:pt x="48" y="8"/>
                </a:lnTo>
                <a:lnTo>
                  <a:pt x="48" y="8"/>
                </a:lnTo>
                <a:lnTo>
                  <a:pt x="40" y="8"/>
                </a:lnTo>
                <a:lnTo>
                  <a:pt x="38" y="8"/>
                </a:lnTo>
                <a:lnTo>
                  <a:pt x="34" y="8"/>
                </a:lnTo>
                <a:lnTo>
                  <a:pt x="26" y="16"/>
                </a:lnTo>
                <a:lnTo>
                  <a:pt x="26" y="16"/>
                </a:lnTo>
                <a:lnTo>
                  <a:pt x="30" y="16"/>
                </a:lnTo>
                <a:lnTo>
                  <a:pt x="32" y="18"/>
                </a:lnTo>
                <a:lnTo>
                  <a:pt x="30" y="24"/>
                </a:lnTo>
                <a:lnTo>
                  <a:pt x="24" y="32"/>
                </a:lnTo>
                <a:lnTo>
                  <a:pt x="24" y="32"/>
                </a:lnTo>
                <a:lnTo>
                  <a:pt x="16" y="42"/>
                </a:lnTo>
                <a:lnTo>
                  <a:pt x="14" y="46"/>
                </a:lnTo>
                <a:lnTo>
                  <a:pt x="14" y="48"/>
                </a:lnTo>
                <a:lnTo>
                  <a:pt x="16" y="48"/>
                </a:lnTo>
                <a:lnTo>
                  <a:pt x="20" y="44"/>
                </a:lnTo>
                <a:lnTo>
                  <a:pt x="20" y="44"/>
                </a:lnTo>
                <a:lnTo>
                  <a:pt x="24" y="42"/>
                </a:lnTo>
                <a:lnTo>
                  <a:pt x="28" y="42"/>
                </a:lnTo>
                <a:lnTo>
                  <a:pt x="32" y="44"/>
                </a:lnTo>
                <a:lnTo>
                  <a:pt x="36" y="46"/>
                </a:lnTo>
                <a:lnTo>
                  <a:pt x="40" y="46"/>
                </a:lnTo>
                <a:lnTo>
                  <a:pt x="42" y="44"/>
                </a:lnTo>
                <a:lnTo>
                  <a:pt x="42" y="44"/>
                </a:lnTo>
                <a:lnTo>
                  <a:pt x="48" y="38"/>
                </a:lnTo>
                <a:lnTo>
                  <a:pt x="50" y="38"/>
                </a:lnTo>
                <a:lnTo>
                  <a:pt x="54" y="38"/>
                </a:lnTo>
                <a:lnTo>
                  <a:pt x="56" y="42"/>
                </a:lnTo>
                <a:lnTo>
                  <a:pt x="56" y="42"/>
                </a:lnTo>
                <a:lnTo>
                  <a:pt x="58" y="46"/>
                </a:lnTo>
                <a:lnTo>
                  <a:pt x="62" y="46"/>
                </a:lnTo>
                <a:lnTo>
                  <a:pt x="68" y="50"/>
                </a:lnTo>
                <a:lnTo>
                  <a:pt x="68" y="50"/>
                </a:lnTo>
                <a:lnTo>
                  <a:pt x="72" y="50"/>
                </a:lnTo>
                <a:lnTo>
                  <a:pt x="78" y="52"/>
                </a:lnTo>
                <a:lnTo>
                  <a:pt x="82" y="52"/>
                </a:lnTo>
                <a:lnTo>
                  <a:pt x="78" y="54"/>
                </a:lnTo>
                <a:lnTo>
                  <a:pt x="78" y="54"/>
                </a:lnTo>
                <a:lnTo>
                  <a:pt x="62" y="62"/>
                </a:lnTo>
                <a:lnTo>
                  <a:pt x="56" y="64"/>
                </a:lnTo>
                <a:lnTo>
                  <a:pt x="50" y="64"/>
                </a:lnTo>
                <a:lnTo>
                  <a:pt x="50" y="64"/>
                </a:lnTo>
                <a:lnTo>
                  <a:pt x="44" y="62"/>
                </a:lnTo>
                <a:lnTo>
                  <a:pt x="40" y="64"/>
                </a:lnTo>
                <a:lnTo>
                  <a:pt x="36" y="64"/>
                </a:lnTo>
                <a:lnTo>
                  <a:pt x="30" y="64"/>
                </a:lnTo>
                <a:lnTo>
                  <a:pt x="30" y="64"/>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76" name="Freeform 171"/>
          <p:cNvSpPr>
            <a:spLocks/>
          </p:cNvSpPr>
          <p:nvPr/>
        </p:nvSpPr>
        <p:spPr bwMode="auto">
          <a:xfrm>
            <a:off x="5705921" y="1673607"/>
            <a:ext cx="282574" cy="236717"/>
          </a:xfrm>
          <a:custGeom>
            <a:avLst/>
            <a:gdLst/>
            <a:ahLst/>
            <a:cxnLst>
              <a:cxn ang="0">
                <a:pos x="74" y="22"/>
              </a:cxn>
              <a:cxn ang="0">
                <a:pos x="66" y="28"/>
              </a:cxn>
              <a:cxn ang="0">
                <a:pos x="64" y="46"/>
              </a:cxn>
              <a:cxn ang="0">
                <a:pos x="42" y="56"/>
              </a:cxn>
              <a:cxn ang="0">
                <a:pos x="40" y="66"/>
              </a:cxn>
              <a:cxn ang="0">
                <a:pos x="30" y="70"/>
              </a:cxn>
              <a:cxn ang="0">
                <a:pos x="18" y="64"/>
              </a:cxn>
              <a:cxn ang="0">
                <a:pos x="6" y="58"/>
              </a:cxn>
              <a:cxn ang="0">
                <a:pos x="6" y="70"/>
              </a:cxn>
              <a:cxn ang="0">
                <a:pos x="10" y="80"/>
              </a:cxn>
              <a:cxn ang="0">
                <a:pos x="0" y="96"/>
              </a:cxn>
              <a:cxn ang="0">
                <a:pos x="6" y="108"/>
              </a:cxn>
              <a:cxn ang="0">
                <a:pos x="10" y="126"/>
              </a:cxn>
              <a:cxn ang="0">
                <a:pos x="12" y="150"/>
              </a:cxn>
              <a:cxn ang="0">
                <a:pos x="24" y="154"/>
              </a:cxn>
              <a:cxn ang="0">
                <a:pos x="40" y="164"/>
              </a:cxn>
              <a:cxn ang="0">
                <a:pos x="36" y="192"/>
              </a:cxn>
              <a:cxn ang="0">
                <a:pos x="60" y="206"/>
              </a:cxn>
              <a:cxn ang="0">
                <a:pos x="88" y="208"/>
              </a:cxn>
              <a:cxn ang="0">
                <a:pos x="140" y="192"/>
              </a:cxn>
              <a:cxn ang="0">
                <a:pos x="136" y="186"/>
              </a:cxn>
              <a:cxn ang="0">
                <a:pos x="134" y="180"/>
              </a:cxn>
              <a:cxn ang="0">
                <a:pos x="144" y="164"/>
              </a:cxn>
              <a:cxn ang="0">
                <a:pos x="156" y="166"/>
              </a:cxn>
              <a:cxn ang="0">
                <a:pos x="160" y="158"/>
              </a:cxn>
              <a:cxn ang="0">
                <a:pos x="170" y="152"/>
              </a:cxn>
              <a:cxn ang="0">
                <a:pos x="176" y="142"/>
              </a:cxn>
              <a:cxn ang="0">
                <a:pos x="170" y="126"/>
              </a:cxn>
              <a:cxn ang="0">
                <a:pos x="182" y="118"/>
              </a:cxn>
              <a:cxn ang="0">
                <a:pos x="184" y="110"/>
              </a:cxn>
              <a:cxn ang="0">
                <a:pos x="174" y="102"/>
              </a:cxn>
              <a:cxn ang="0">
                <a:pos x="186" y="100"/>
              </a:cxn>
              <a:cxn ang="0">
                <a:pos x="218" y="100"/>
              </a:cxn>
              <a:cxn ang="0">
                <a:pos x="214" y="94"/>
              </a:cxn>
              <a:cxn ang="0">
                <a:pos x="210" y="78"/>
              </a:cxn>
              <a:cxn ang="0">
                <a:pos x="206" y="66"/>
              </a:cxn>
              <a:cxn ang="0">
                <a:pos x="204" y="48"/>
              </a:cxn>
              <a:cxn ang="0">
                <a:pos x="218" y="42"/>
              </a:cxn>
              <a:cxn ang="0">
                <a:pos x="224" y="34"/>
              </a:cxn>
              <a:cxn ang="0">
                <a:pos x="242" y="26"/>
              </a:cxn>
              <a:cxn ang="0">
                <a:pos x="248" y="20"/>
              </a:cxn>
              <a:cxn ang="0">
                <a:pos x="230" y="24"/>
              </a:cxn>
              <a:cxn ang="0">
                <a:pos x="226" y="22"/>
              </a:cxn>
              <a:cxn ang="0">
                <a:pos x="224" y="20"/>
              </a:cxn>
              <a:cxn ang="0">
                <a:pos x="212" y="28"/>
              </a:cxn>
              <a:cxn ang="0">
                <a:pos x="198" y="30"/>
              </a:cxn>
              <a:cxn ang="0">
                <a:pos x="186" y="12"/>
              </a:cxn>
              <a:cxn ang="0">
                <a:pos x="180" y="10"/>
              </a:cxn>
              <a:cxn ang="0">
                <a:pos x="180" y="0"/>
              </a:cxn>
              <a:cxn ang="0">
                <a:pos x="166" y="6"/>
              </a:cxn>
              <a:cxn ang="0">
                <a:pos x="164" y="12"/>
              </a:cxn>
              <a:cxn ang="0">
                <a:pos x="156" y="14"/>
              </a:cxn>
              <a:cxn ang="0">
                <a:pos x="156" y="20"/>
              </a:cxn>
              <a:cxn ang="0">
                <a:pos x="144" y="22"/>
              </a:cxn>
              <a:cxn ang="0">
                <a:pos x="128" y="24"/>
              </a:cxn>
              <a:cxn ang="0">
                <a:pos x="118" y="18"/>
              </a:cxn>
              <a:cxn ang="0">
                <a:pos x="104" y="20"/>
              </a:cxn>
              <a:cxn ang="0">
                <a:pos x="92" y="20"/>
              </a:cxn>
            </a:cxnLst>
            <a:rect l="0" t="0" r="r" b="b"/>
            <a:pathLst>
              <a:path w="248" h="208">
                <a:moveTo>
                  <a:pt x="82" y="18"/>
                </a:moveTo>
                <a:lnTo>
                  <a:pt x="82" y="18"/>
                </a:lnTo>
                <a:lnTo>
                  <a:pt x="76" y="20"/>
                </a:lnTo>
                <a:lnTo>
                  <a:pt x="74" y="22"/>
                </a:lnTo>
                <a:lnTo>
                  <a:pt x="72" y="24"/>
                </a:lnTo>
                <a:lnTo>
                  <a:pt x="68" y="24"/>
                </a:lnTo>
                <a:lnTo>
                  <a:pt x="68" y="24"/>
                </a:lnTo>
                <a:lnTo>
                  <a:pt x="66" y="28"/>
                </a:lnTo>
                <a:lnTo>
                  <a:pt x="64" y="32"/>
                </a:lnTo>
                <a:lnTo>
                  <a:pt x="64" y="42"/>
                </a:lnTo>
                <a:lnTo>
                  <a:pt x="64" y="42"/>
                </a:lnTo>
                <a:lnTo>
                  <a:pt x="64" y="46"/>
                </a:lnTo>
                <a:lnTo>
                  <a:pt x="60" y="48"/>
                </a:lnTo>
                <a:lnTo>
                  <a:pt x="48" y="54"/>
                </a:lnTo>
                <a:lnTo>
                  <a:pt x="48" y="54"/>
                </a:lnTo>
                <a:lnTo>
                  <a:pt x="42" y="56"/>
                </a:lnTo>
                <a:lnTo>
                  <a:pt x="42" y="60"/>
                </a:lnTo>
                <a:lnTo>
                  <a:pt x="42" y="62"/>
                </a:lnTo>
                <a:lnTo>
                  <a:pt x="40" y="66"/>
                </a:lnTo>
                <a:lnTo>
                  <a:pt x="40" y="66"/>
                </a:lnTo>
                <a:lnTo>
                  <a:pt x="34" y="72"/>
                </a:lnTo>
                <a:lnTo>
                  <a:pt x="34" y="74"/>
                </a:lnTo>
                <a:lnTo>
                  <a:pt x="34" y="74"/>
                </a:lnTo>
                <a:lnTo>
                  <a:pt x="30" y="70"/>
                </a:lnTo>
                <a:lnTo>
                  <a:pt x="26" y="66"/>
                </a:lnTo>
                <a:lnTo>
                  <a:pt x="24" y="64"/>
                </a:lnTo>
                <a:lnTo>
                  <a:pt x="18" y="64"/>
                </a:lnTo>
                <a:lnTo>
                  <a:pt x="18" y="64"/>
                </a:lnTo>
                <a:lnTo>
                  <a:pt x="14" y="64"/>
                </a:lnTo>
                <a:lnTo>
                  <a:pt x="10" y="62"/>
                </a:lnTo>
                <a:lnTo>
                  <a:pt x="6" y="58"/>
                </a:lnTo>
                <a:lnTo>
                  <a:pt x="6" y="58"/>
                </a:lnTo>
                <a:lnTo>
                  <a:pt x="6" y="62"/>
                </a:lnTo>
                <a:lnTo>
                  <a:pt x="6" y="62"/>
                </a:lnTo>
                <a:lnTo>
                  <a:pt x="8" y="66"/>
                </a:lnTo>
                <a:lnTo>
                  <a:pt x="6" y="70"/>
                </a:lnTo>
                <a:lnTo>
                  <a:pt x="6" y="70"/>
                </a:lnTo>
                <a:lnTo>
                  <a:pt x="6" y="74"/>
                </a:lnTo>
                <a:lnTo>
                  <a:pt x="8" y="78"/>
                </a:lnTo>
                <a:lnTo>
                  <a:pt x="10" y="80"/>
                </a:lnTo>
                <a:lnTo>
                  <a:pt x="8" y="86"/>
                </a:lnTo>
                <a:lnTo>
                  <a:pt x="8" y="86"/>
                </a:lnTo>
                <a:lnTo>
                  <a:pt x="4" y="92"/>
                </a:lnTo>
                <a:lnTo>
                  <a:pt x="0" y="96"/>
                </a:lnTo>
                <a:lnTo>
                  <a:pt x="0" y="98"/>
                </a:lnTo>
                <a:lnTo>
                  <a:pt x="2" y="102"/>
                </a:lnTo>
                <a:lnTo>
                  <a:pt x="2" y="102"/>
                </a:lnTo>
                <a:lnTo>
                  <a:pt x="6" y="108"/>
                </a:lnTo>
                <a:lnTo>
                  <a:pt x="6" y="114"/>
                </a:lnTo>
                <a:lnTo>
                  <a:pt x="6" y="118"/>
                </a:lnTo>
                <a:lnTo>
                  <a:pt x="10" y="126"/>
                </a:lnTo>
                <a:lnTo>
                  <a:pt x="10" y="126"/>
                </a:lnTo>
                <a:lnTo>
                  <a:pt x="12" y="130"/>
                </a:lnTo>
                <a:lnTo>
                  <a:pt x="12" y="136"/>
                </a:lnTo>
                <a:lnTo>
                  <a:pt x="12" y="146"/>
                </a:lnTo>
                <a:lnTo>
                  <a:pt x="12" y="150"/>
                </a:lnTo>
                <a:lnTo>
                  <a:pt x="14" y="152"/>
                </a:lnTo>
                <a:lnTo>
                  <a:pt x="16" y="154"/>
                </a:lnTo>
                <a:lnTo>
                  <a:pt x="24" y="154"/>
                </a:lnTo>
                <a:lnTo>
                  <a:pt x="24" y="154"/>
                </a:lnTo>
                <a:lnTo>
                  <a:pt x="32" y="154"/>
                </a:lnTo>
                <a:lnTo>
                  <a:pt x="36" y="156"/>
                </a:lnTo>
                <a:lnTo>
                  <a:pt x="38" y="158"/>
                </a:lnTo>
                <a:lnTo>
                  <a:pt x="40" y="164"/>
                </a:lnTo>
                <a:lnTo>
                  <a:pt x="36" y="176"/>
                </a:lnTo>
                <a:lnTo>
                  <a:pt x="30" y="190"/>
                </a:lnTo>
                <a:lnTo>
                  <a:pt x="30" y="190"/>
                </a:lnTo>
                <a:lnTo>
                  <a:pt x="36" y="192"/>
                </a:lnTo>
                <a:lnTo>
                  <a:pt x="44" y="198"/>
                </a:lnTo>
                <a:lnTo>
                  <a:pt x="44" y="198"/>
                </a:lnTo>
                <a:lnTo>
                  <a:pt x="52" y="202"/>
                </a:lnTo>
                <a:lnTo>
                  <a:pt x="60" y="206"/>
                </a:lnTo>
                <a:lnTo>
                  <a:pt x="70" y="206"/>
                </a:lnTo>
                <a:lnTo>
                  <a:pt x="80" y="206"/>
                </a:lnTo>
                <a:lnTo>
                  <a:pt x="80" y="206"/>
                </a:lnTo>
                <a:lnTo>
                  <a:pt x="88" y="208"/>
                </a:lnTo>
                <a:lnTo>
                  <a:pt x="100" y="206"/>
                </a:lnTo>
                <a:lnTo>
                  <a:pt x="124" y="200"/>
                </a:lnTo>
                <a:lnTo>
                  <a:pt x="124" y="200"/>
                </a:lnTo>
                <a:lnTo>
                  <a:pt x="140" y="192"/>
                </a:lnTo>
                <a:lnTo>
                  <a:pt x="142" y="190"/>
                </a:lnTo>
                <a:lnTo>
                  <a:pt x="138" y="188"/>
                </a:lnTo>
                <a:lnTo>
                  <a:pt x="138" y="188"/>
                </a:lnTo>
                <a:lnTo>
                  <a:pt x="136" y="186"/>
                </a:lnTo>
                <a:lnTo>
                  <a:pt x="136" y="186"/>
                </a:lnTo>
                <a:lnTo>
                  <a:pt x="136" y="184"/>
                </a:lnTo>
                <a:lnTo>
                  <a:pt x="134" y="180"/>
                </a:lnTo>
                <a:lnTo>
                  <a:pt x="134" y="180"/>
                </a:lnTo>
                <a:lnTo>
                  <a:pt x="134" y="178"/>
                </a:lnTo>
                <a:lnTo>
                  <a:pt x="134" y="174"/>
                </a:lnTo>
                <a:lnTo>
                  <a:pt x="138" y="168"/>
                </a:lnTo>
                <a:lnTo>
                  <a:pt x="144" y="164"/>
                </a:lnTo>
                <a:lnTo>
                  <a:pt x="148" y="164"/>
                </a:lnTo>
                <a:lnTo>
                  <a:pt x="152" y="164"/>
                </a:lnTo>
                <a:lnTo>
                  <a:pt x="152" y="164"/>
                </a:lnTo>
                <a:lnTo>
                  <a:pt x="156" y="166"/>
                </a:lnTo>
                <a:lnTo>
                  <a:pt x="158" y="164"/>
                </a:lnTo>
                <a:lnTo>
                  <a:pt x="162" y="162"/>
                </a:lnTo>
                <a:lnTo>
                  <a:pt x="160" y="158"/>
                </a:lnTo>
                <a:lnTo>
                  <a:pt x="160" y="158"/>
                </a:lnTo>
                <a:lnTo>
                  <a:pt x="160" y="154"/>
                </a:lnTo>
                <a:lnTo>
                  <a:pt x="162" y="154"/>
                </a:lnTo>
                <a:lnTo>
                  <a:pt x="166" y="154"/>
                </a:lnTo>
                <a:lnTo>
                  <a:pt x="170" y="152"/>
                </a:lnTo>
                <a:lnTo>
                  <a:pt x="174" y="148"/>
                </a:lnTo>
                <a:lnTo>
                  <a:pt x="174" y="148"/>
                </a:lnTo>
                <a:lnTo>
                  <a:pt x="176" y="144"/>
                </a:lnTo>
                <a:lnTo>
                  <a:pt x="176" y="142"/>
                </a:lnTo>
                <a:lnTo>
                  <a:pt x="172" y="138"/>
                </a:lnTo>
                <a:lnTo>
                  <a:pt x="170" y="132"/>
                </a:lnTo>
                <a:lnTo>
                  <a:pt x="168" y="130"/>
                </a:lnTo>
                <a:lnTo>
                  <a:pt x="170" y="126"/>
                </a:lnTo>
                <a:lnTo>
                  <a:pt x="170" y="126"/>
                </a:lnTo>
                <a:lnTo>
                  <a:pt x="172" y="120"/>
                </a:lnTo>
                <a:lnTo>
                  <a:pt x="178" y="120"/>
                </a:lnTo>
                <a:lnTo>
                  <a:pt x="182" y="118"/>
                </a:lnTo>
                <a:lnTo>
                  <a:pt x="184" y="114"/>
                </a:lnTo>
                <a:lnTo>
                  <a:pt x="184" y="114"/>
                </a:lnTo>
                <a:lnTo>
                  <a:pt x="184" y="112"/>
                </a:lnTo>
                <a:lnTo>
                  <a:pt x="184" y="110"/>
                </a:lnTo>
                <a:lnTo>
                  <a:pt x="180" y="108"/>
                </a:lnTo>
                <a:lnTo>
                  <a:pt x="174" y="104"/>
                </a:lnTo>
                <a:lnTo>
                  <a:pt x="174" y="102"/>
                </a:lnTo>
                <a:lnTo>
                  <a:pt x="174" y="102"/>
                </a:lnTo>
                <a:lnTo>
                  <a:pt x="174" y="102"/>
                </a:lnTo>
                <a:lnTo>
                  <a:pt x="176" y="100"/>
                </a:lnTo>
                <a:lnTo>
                  <a:pt x="178" y="100"/>
                </a:lnTo>
                <a:lnTo>
                  <a:pt x="186" y="100"/>
                </a:lnTo>
                <a:lnTo>
                  <a:pt x="208" y="102"/>
                </a:lnTo>
                <a:lnTo>
                  <a:pt x="208" y="102"/>
                </a:lnTo>
                <a:lnTo>
                  <a:pt x="216" y="102"/>
                </a:lnTo>
                <a:lnTo>
                  <a:pt x="218" y="100"/>
                </a:lnTo>
                <a:lnTo>
                  <a:pt x="218" y="100"/>
                </a:lnTo>
                <a:lnTo>
                  <a:pt x="216" y="96"/>
                </a:lnTo>
                <a:lnTo>
                  <a:pt x="214" y="94"/>
                </a:lnTo>
                <a:lnTo>
                  <a:pt x="214" y="94"/>
                </a:lnTo>
                <a:lnTo>
                  <a:pt x="210" y="90"/>
                </a:lnTo>
                <a:lnTo>
                  <a:pt x="208" y="86"/>
                </a:lnTo>
                <a:lnTo>
                  <a:pt x="208" y="82"/>
                </a:lnTo>
                <a:lnTo>
                  <a:pt x="210" y="78"/>
                </a:lnTo>
                <a:lnTo>
                  <a:pt x="212" y="72"/>
                </a:lnTo>
                <a:lnTo>
                  <a:pt x="210" y="70"/>
                </a:lnTo>
                <a:lnTo>
                  <a:pt x="206" y="66"/>
                </a:lnTo>
                <a:lnTo>
                  <a:pt x="206" y="66"/>
                </a:lnTo>
                <a:lnTo>
                  <a:pt x="200" y="60"/>
                </a:lnTo>
                <a:lnTo>
                  <a:pt x="198" y="56"/>
                </a:lnTo>
                <a:lnTo>
                  <a:pt x="200" y="54"/>
                </a:lnTo>
                <a:lnTo>
                  <a:pt x="204" y="48"/>
                </a:lnTo>
                <a:lnTo>
                  <a:pt x="204" y="48"/>
                </a:lnTo>
                <a:lnTo>
                  <a:pt x="208" y="44"/>
                </a:lnTo>
                <a:lnTo>
                  <a:pt x="214" y="44"/>
                </a:lnTo>
                <a:lnTo>
                  <a:pt x="218" y="42"/>
                </a:lnTo>
                <a:lnTo>
                  <a:pt x="220" y="38"/>
                </a:lnTo>
                <a:lnTo>
                  <a:pt x="220" y="38"/>
                </a:lnTo>
                <a:lnTo>
                  <a:pt x="220" y="36"/>
                </a:lnTo>
                <a:lnTo>
                  <a:pt x="224" y="34"/>
                </a:lnTo>
                <a:lnTo>
                  <a:pt x="232" y="32"/>
                </a:lnTo>
                <a:lnTo>
                  <a:pt x="244" y="30"/>
                </a:lnTo>
                <a:lnTo>
                  <a:pt x="244" y="30"/>
                </a:lnTo>
                <a:lnTo>
                  <a:pt x="242" y="26"/>
                </a:lnTo>
                <a:lnTo>
                  <a:pt x="242" y="26"/>
                </a:lnTo>
                <a:lnTo>
                  <a:pt x="240" y="24"/>
                </a:lnTo>
                <a:lnTo>
                  <a:pt x="240" y="22"/>
                </a:lnTo>
                <a:lnTo>
                  <a:pt x="248" y="20"/>
                </a:lnTo>
                <a:lnTo>
                  <a:pt x="248" y="20"/>
                </a:lnTo>
                <a:lnTo>
                  <a:pt x="238" y="20"/>
                </a:lnTo>
                <a:lnTo>
                  <a:pt x="234" y="22"/>
                </a:lnTo>
                <a:lnTo>
                  <a:pt x="230" y="24"/>
                </a:lnTo>
                <a:lnTo>
                  <a:pt x="228" y="24"/>
                </a:lnTo>
                <a:lnTo>
                  <a:pt x="228" y="24"/>
                </a:lnTo>
                <a:lnTo>
                  <a:pt x="226" y="24"/>
                </a:lnTo>
                <a:lnTo>
                  <a:pt x="226" y="22"/>
                </a:lnTo>
                <a:lnTo>
                  <a:pt x="228" y="20"/>
                </a:lnTo>
                <a:lnTo>
                  <a:pt x="226" y="20"/>
                </a:lnTo>
                <a:lnTo>
                  <a:pt x="226" y="20"/>
                </a:lnTo>
                <a:lnTo>
                  <a:pt x="224" y="20"/>
                </a:lnTo>
                <a:lnTo>
                  <a:pt x="222" y="22"/>
                </a:lnTo>
                <a:lnTo>
                  <a:pt x="218" y="24"/>
                </a:lnTo>
                <a:lnTo>
                  <a:pt x="212" y="28"/>
                </a:lnTo>
                <a:lnTo>
                  <a:pt x="212" y="28"/>
                </a:lnTo>
                <a:lnTo>
                  <a:pt x="204" y="34"/>
                </a:lnTo>
                <a:lnTo>
                  <a:pt x="202" y="34"/>
                </a:lnTo>
                <a:lnTo>
                  <a:pt x="198" y="30"/>
                </a:lnTo>
                <a:lnTo>
                  <a:pt x="198" y="30"/>
                </a:lnTo>
                <a:lnTo>
                  <a:pt x="192" y="22"/>
                </a:lnTo>
                <a:lnTo>
                  <a:pt x="188" y="16"/>
                </a:lnTo>
                <a:lnTo>
                  <a:pt x="186" y="12"/>
                </a:lnTo>
                <a:lnTo>
                  <a:pt x="186" y="12"/>
                </a:lnTo>
                <a:lnTo>
                  <a:pt x="186" y="10"/>
                </a:lnTo>
                <a:lnTo>
                  <a:pt x="186" y="10"/>
                </a:lnTo>
                <a:lnTo>
                  <a:pt x="182" y="10"/>
                </a:lnTo>
                <a:lnTo>
                  <a:pt x="180" y="10"/>
                </a:lnTo>
                <a:lnTo>
                  <a:pt x="182" y="6"/>
                </a:lnTo>
                <a:lnTo>
                  <a:pt x="182" y="6"/>
                </a:lnTo>
                <a:lnTo>
                  <a:pt x="182" y="2"/>
                </a:lnTo>
                <a:lnTo>
                  <a:pt x="180" y="0"/>
                </a:lnTo>
                <a:lnTo>
                  <a:pt x="174" y="0"/>
                </a:lnTo>
                <a:lnTo>
                  <a:pt x="168" y="2"/>
                </a:lnTo>
                <a:lnTo>
                  <a:pt x="168" y="2"/>
                </a:lnTo>
                <a:lnTo>
                  <a:pt x="166" y="6"/>
                </a:lnTo>
                <a:lnTo>
                  <a:pt x="164" y="8"/>
                </a:lnTo>
                <a:lnTo>
                  <a:pt x="166" y="10"/>
                </a:lnTo>
                <a:lnTo>
                  <a:pt x="164" y="12"/>
                </a:lnTo>
                <a:lnTo>
                  <a:pt x="164" y="12"/>
                </a:lnTo>
                <a:lnTo>
                  <a:pt x="162" y="12"/>
                </a:lnTo>
                <a:lnTo>
                  <a:pt x="160" y="12"/>
                </a:lnTo>
                <a:lnTo>
                  <a:pt x="160" y="12"/>
                </a:lnTo>
                <a:lnTo>
                  <a:pt x="156" y="14"/>
                </a:lnTo>
                <a:lnTo>
                  <a:pt x="156" y="14"/>
                </a:lnTo>
                <a:lnTo>
                  <a:pt x="154" y="16"/>
                </a:lnTo>
                <a:lnTo>
                  <a:pt x="154" y="18"/>
                </a:lnTo>
                <a:lnTo>
                  <a:pt x="156" y="20"/>
                </a:lnTo>
                <a:lnTo>
                  <a:pt x="154" y="22"/>
                </a:lnTo>
                <a:lnTo>
                  <a:pt x="154" y="22"/>
                </a:lnTo>
                <a:lnTo>
                  <a:pt x="150" y="24"/>
                </a:lnTo>
                <a:lnTo>
                  <a:pt x="144" y="22"/>
                </a:lnTo>
                <a:lnTo>
                  <a:pt x="140" y="22"/>
                </a:lnTo>
                <a:lnTo>
                  <a:pt x="134" y="24"/>
                </a:lnTo>
                <a:lnTo>
                  <a:pt x="134" y="24"/>
                </a:lnTo>
                <a:lnTo>
                  <a:pt x="128" y="24"/>
                </a:lnTo>
                <a:lnTo>
                  <a:pt x="126" y="22"/>
                </a:lnTo>
                <a:lnTo>
                  <a:pt x="124" y="18"/>
                </a:lnTo>
                <a:lnTo>
                  <a:pt x="122" y="18"/>
                </a:lnTo>
                <a:lnTo>
                  <a:pt x="118" y="18"/>
                </a:lnTo>
                <a:lnTo>
                  <a:pt x="118" y="18"/>
                </a:lnTo>
                <a:lnTo>
                  <a:pt x="110" y="20"/>
                </a:lnTo>
                <a:lnTo>
                  <a:pt x="108" y="20"/>
                </a:lnTo>
                <a:lnTo>
                  <a:pt x="104" y="20"/>
                </a:lnTo>
                <a:lnTo>
                  <a:pt x="104" y="20"/>
                </a:lnTo>
                <a:lnTo>
                  <a:pt x="102" y="18"/>
                </a:lnTo>
                <a:lnTo>
                  <a:pt x="98" y="20"/>
                </a:lnTo>
                <a:lnTo>
                  <a:pt x="92" y="20"/>
                </a:lnTo>
                <a:lnTo>
                  <a:pt x="82" y="18"/>
                </a:lnTo>
                <a:lnTo>
                  <a:pt x="82" y="18"/>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77" name="Freeform 172"/>
          <p:cNvSpPr>
            <a:spLocks/>
          </p:cNvSpPr>
          <p:nvPr/>
        </p:nvSpPr>
        <p:spPr bwMode="auto">
          <a:xfrm>
            <a:off x="5546403" y="1505173"/>
            <a:ext cx="398794" cy="191195"/>
          </a:xfrm>
          <a:custGeom>
            <a:avLst/>
            <a:gdLst/>
            <a:ahLst/>
            <a:cxnLst>
              <a:cxn ang="0">
                <a:pos x="32" y="96"/>
              </a:cxn>
              <a:cxn ang="0">
                <a:pos x="32" y="84"/>
              </a:cxn>
              <a:cxn ang="0">
                <a:pos x="42" y="76"/>
              </a:cxn>
              <a:cxn ang="0">
                <a:pos x="54" y="74"/>
              </a:cxn>
              <a:cxn ang="0">
                <a:pos x="56" y="70"/>
              </a:cxn>
              <a:cxn ang="0">
                <a:pos x="80" y="82"/>
              </a:cxn>
              <a:cxn ang="0">
                <a:pos x="82" y="92"/>
              </a:cxn>
              <a:cxn ang="0">
                <a:pos x="104" y="90"/>
              </a:cxn>
              <a:cxn ang="0">
                <a:pos x="120" y="106"/>
              </a:cxn>
              <a:cxn ang="0">
                <a:pos x="160" y="130"/>
              </a:cxn>
              <a:cxn ang="0">
                <a:pos x="196" y="144"/>
              </a:cxn>
              <a:cxn ang="0">
                <a:pos x="212" y="148"/>
              </a:cxn>
              <a:cxn ang="0">
                <a:pos x="220" y="154"/>
              </a:cxn>
              <a:cxn ang="0">
                <a:pos x="232" y="168"/>
              </a:cxn>
              <a:cxn ang="0">
                <a:pos x="244" y="168"/>
              </a:cxn>
              <a:cxn ang="0">
                <a:pos x="258" y="166"/>
              </a:cxn>
              <a:cxn ang="0">
                <a:pos x="262" y="148"/>
              </a:cxn>
              <a:cxn ang="0">
                <a:pos x="258" y="144"/>
              </a:cxn>
              <a:cxn ang="0">
                <a:pos x="250" y="142"/>
              </a:cxn>
              <a:cxn ang="0">
                <a:pos x="242" y="132"/>
              </a:cxn>
              <a:cxn ang="0">
                <a:pos x="260" y="128"/>
              </a:cxn>
              <a:cxn ang="0">
                <a:pos x="256" y="122"/>
              </a:cxn>
              <a:cxn ang="0">
                <a:pos x="270" y="112"/>
              </a:cxn>
              <a:cxn ang="0">
                <a:pos x="282" y="112"/>
              </a:cxn>
              <a:cxn ang="0">
                <a:pos x="292" y="108"/>
              </a:cxn>
              <a:cxn ang="0">
                <a:pos x="292" y="114"/>
              </a:cxn>
              <a:cxn ang="0">
                <a:pos x="304" y="118"/>
              </a:cxn>
              <a:cxn ang="0">
                <a:pos x="318" y="118"/>
              </a:cxn>
              <a:cxn ang="0">
                <a:pos x="346" y="108"/>
              </a:cxn>
              <a:cxn ang="0">
                <a:pos x="336" y="104"/>
              </a:cxn>
              <a:cxn ang="0">
                <a:pos x="324" y="96"/>
              </a:cxn>
              <a:cxn ang="0">
                <a:pos x="316" y="92"/>
              </a:cxn>
              <a:cxn ang="0">
                <a:pos x="304" y="100"/>
              </a:cxn>
              <a:cxn ang="0">
                <a:pos x="288" y="98"/>
              </a:cxn>
              <a:cxn ang="0">
                <a:pos x="282" y="100"/>
              </a:cxn>
              <a:cxn ang="0">
                <a:pos x="298" y="78"/>
              </a:cxn>
              <a:cxn ang="0">
                <a:pos x="294" y="70"/>
              </a:cxn>
              <a:cxn ang="0">
                <a:pos x="280" y="86"/>
              </a:cxn>
              <a:cxn ang="0">
                <a:pos x="264" y="102"/>
              </a:cxn>
              <a:cxn ang="0">
                <a:pos x="262" y="114"/>
              </a:cxn>
              <a:cxn ang="0">
                <a:pos x="252" y="114"/>
              </a:cxn>
              <a:cxn ang="0">
                <a:pos x="252" y="108"/>
              </a:cxn>
              <a:cxn ang="0">
                <a:pos x="218" y="106"/>
              </a:cxn>
              <a:cxn ang="0">
                <a:pos x="194" y="76"/>
              </a:cxn>
              <a:cxn ang="0">
                <a:pos x="190" y="64"/>
              </a:cxn>
              <a:cxn ang="0">
                <a:pos x="166" y="44"/>
              </a:cxn>
              <a:cxn ang="0">
                <a:pos x="156" y="42"/>
              </a:cxn>
              <a:cxn ang="0">
                <a:pos x="150" y="48"/>
              </a:cxn>
              <a:cxn ang="0">
                <a:pos x="98" y="44"/>
              </a:cxn>
              <a:cxn ang="0">
                <a:pos x="94" y="26"/>
              </a:cxn>
              <a:cxn ang="0">
                <a:pos x="88" y="34"/>
              </a:cxn>
              <a:cxn ang="0">
                <a:pos x="78" y="40"/>
              </a:cxn>
              <a:cxn ang="0">
                <a:pos x="58" y="46"/>
              </a:cxn>
              <a:cxn ang="0">
                <a:pos x="46" y="44"/>
              </a:cxn>
              <a:cxn ang="0">
                <a:pos x="34" y="38"/>
              </a:cxn>
              <a:cxn ang="0">
                <a:pos x="28" y="28"/>
              </a:cxn>
              <a:cxn ang="0">
                <a:pos x="32" y="14"/>
              </a:cxn>
              <a:cxn ang="0">
                <a:pos x="30" y="0"/>
              </a:cxn>
              <a:cxn ang="0">
                <a:pos x="8" y="10"/>
              </a:cxn>
              <a:cxn ang="0">
                <a:pos x="0" y="22"/>
              </a:cxn>
            </a:cxnLst>
            <a:rect l="0" t="0" r="r" b="b"/>
            <a:pathLst>
              <a:path w="350" h="168">
                <a:moveTo>
                  <a:pt x="22" y="98"/>
                </a:moveTo>
                <a:lnTo>
                  <a:pt x="22" y="98"/>
                </a:lnTo>
                <a:lnTo>
                  <a:pt x="28" y="98"/>
                </a:lnTo>
                <a:lnTo>
                  <a:pt x="32" y="96"/>
                </a:lnTo>
                <a:lnTo>
                  <a:pt x="32" y="96"/>
                </a:lnTo>
                <a:lnTo>
                  <a:pt x="32" y="92"/>
                </a:lnTo>
                <a:lnTo>
                  <a:pt x="30" y="86"/>
                </a:lnTo>
                <a:lnTo>
                  <a:pt x="32" y="84"/>
                </a:lnTo>
                <a:lnTo>
                  <a:pt x="36" y="80"/>
                </a:lnTo>
                <a:lnTo>
                  <a:pt x="36" y="80"/>
                </a:lnTo>
                <a:lnTo>
                  <a:pt x="40" y="78"/>
                </a:lnTo>
                <a:lnTo>
                  <a:pt x="42" y="76"/>
                </a:lnTo>
                <a:lnTo>
                  <a:pt x="44" y="74"/>
                </a:lnTo>
                <a:lnTo>
                  <a:pt x="48" y="74"/>
                </a:lnTo>
                <a:lnTo>
                  <a:pt x="48" y="74"/>
                </a:lnTo>
                <a:lnTo>
                  <a:pt x="54" y="74"/>
                </a:lnTo>
                <a:lnTo>
                  <a:pt x="54" y="72"/>
                </a:lnTo>
                <a:lnTo>
                  <a:pt x="52" y="70"/>
                </a:lnTo>
                <a:lnTo>
                  <a:pt x="56" y="70"/>
                </a:lnTo>
                <a:lnTo>
                  <a:pt x="56" y="70"/>
                </a:lnTo>
                <a:lnTo>
                  <a:pt x="64" y="72"/>
                </a:lnTo>
                <a:lnTo>
                  <a:pt x="72" y="76"/>
                </a:lnTo>
                <a:lnTo>
                  <a:pt x="78" y="80"/>
                </a:lnTo>
                <a:lnTo>
                  <a:pt x="80" y="82"/>
                </a:lnTo>
                <a:lnTo>
                  <a:pt x="80" y="84"/>
                </a:lnTo>
                <a:lnTo>
                  <a:pt x="80" y="84"/>
                </a:lnTo>
                <a:lnTo>
                  <a:pt x="80" y="88"/>
                </a:lnTo>
                <a:lnTo>
                  <a:pt x="82" y="92"/>
                </a:lnTo>
                <a:lnTo>
                  <a:pt x="86" y="94"/>
                </a:lnTo>
                <a:lnTo>
                  <a:pt x="92" y="94"/>
                </a:lnTo>
                <a:lnTo>
                  <a:pt x="92" y="94"/>
                </a:lnTo>
                <a:lnTo>
                  <a:pt x="104" y="90"/>
                </a:lnTo>
                <a:lnTo>
                  <a:pt x="106" y="90"/>
                </a:lnTo>
                <a:lnTo>
                  <a:pt x="110" y="92"/>
                </a:lnTo>
                <a:lnTo>
                  <a:pt x="110" y="92"/>
                </a:lnTo>
                <a:lnTo>
                  <a:pt x="120" y="106"/>
                </a:lnTo>
                <a:lnTo>
                  <a:pt x="128" y="114"/>
                </a:lnTo>
                <a:lnTo>
                  <a:pt x="140" y="122"/>
                </a:lnTo>
                <a:lnTo>
                  <a:pt x="160" y="130"/>
                </a:lnTo>
                <a:lnTo>
                  <a:pt x="160" y="130"/>
                </a:lnTo>
                <a:lnTo>
                  <a:pt x="176" y="136"/>
                </a:lnTo>
                <a:lnTo>
                  <a:pt x="182" y="140"/>
                </a:lnTo>
                <a:lnTo>
                  <a:pt x="188" y="144"/>
                </a:lnTo>
                <a:lnTo>
                  <a:pt x="196" y="144"/>
                </a:lnTo>
                <a:lnTo>
                  <a:pt x="196" y="144"/>
                </a:lnTo>
                <a:lnTo>
                  <a:pt x="204" y="146"/>
                </a:lnTo>
                <a:lnTo>
                  <a:pt x="210" y="146"/>
                </a:lnTo>
                <a:lnTo>
                  <a:pt x="212" y="148"/>
                </a:lnTo>
                <a:lnTo>
                  <a:pt x="216" y="148"/>
                </a:lnTo>
                <a:lnTo>
                  <a:pt x="216" y="148"/>
                </a:lnTo>
                <a:lnTo>
                  <a:pt x="220" y="150"/>
                </a:lnTo>
                <a:lnTo>
                  <a:pt x="220" y="154"/>
                </a:lnTo>
                <a:lnTo>
                  <a:pt x="220" y="160"/>
                </a:lnTo>
                <a:lnTo>
                  <a:pt x="222" y="166"/>
                </a:lnTo>
                <a:lnTo>
                  <a:pt x="222" y="166"/>
                </a:lnTo>
                <a:lnTo>
                  <a:pt x="232" y="168"/>
                </a:lnTo>
                <a:lnTo>
                  <a:pt x="238" y="168"/>
                </a:lnTo>
                <a:lnTo>
                  <a:pt x="242" y="166"/>
                </a:lnTo>
                <a:lnTo>
                  <a:pt x="244" y="168"/>
                </a:lnTo>
                <a:lnTo>
                  <a:pt x="244" y="168"/>
                </a:lnTo>
                <a:lnTo>
                  <a:pt x="248" y="168"/>
                </a:lnTo>
                <a:lnTo>
                  <a:pt x="250" y="168"/>
                </a:lnTo>
                <a:lnTo>
                  <a:pt x="258" y="166"/>
                </a:lnTo>
                <a:lnTo>
                  <a:pt x="258" y="166"/>
                </a:lnTo>
                <a:lnTo>
                  <a:pt x="258" y="158"/>
                </a:lnTo>
                <a:lnTo>
                  <a:pt x="262" y="152"/>
                </a:lnTo>
                <a:lnTo>
                  <a:pt x="264" y="148"/>
                </a:lnTo>
                <a:lnTo>
                  <a:pt x="262" y="148"/>
                </a:lnTo>
                <a:lnTo>
                  <a:pt x="260" y="146"/>
                </a:lnTo>
                <a:lnTo>
                  <a:pt x="260" y="146"/>
                </a:lnTo>
                <a:lnTo>
                  <a:pt x="256" y="146"/>
                </a:lnTo>
                <a:lnTo>
                  <a:pt x="258" y="144"/>
                </a:lnTo>
                <a:lnTo>
                  <a:pt x="258" y="144"/>
                </a:lnTo>
                <a:lnTo>
                  <a:pt x="256" y="142"/>
                </a:lnTo>
                <a:lnTo>
                  <a:pt x="250" y="142"/>
                </a:lnTo>
                <a:lnTo>
                  <a:pt x="250" y="142"/>
                </a:lnTo>
                <a:lnTo>
                  <a:pt x="244" y="140"/>
                </a:lnTo>
                <a:lnTo>
                  <a:pt x="240" y="136"/>
                </a:lnTo>
                <a:lnTo>
                  <a:pt x="240" y="134"/>
                </a:lnTo>
                <a:lnTo>
                  <a:pt x="242" y="132"/>
                </a:lnTo>
                <a:lnTo>
                  <a:pt x="246" y="130"/>
                </a:lnTo>
                <a:lnTo>
                  <a:pt x="250" y="130"/>
                </a:lnTo>
                <a:lnTo>
                  <a:pt x="250" y="130"/>
                </a:lnTo>
                <a:lnTo>
                  <a:pt x="260" y="128"/>
                </a:lnTo>
                <a:lnTo>
                  <a:pt x="264" y="126"/>
                </a:lnTo>
                <a:lnTo>
                  <a:pt x="264" y="124"/>
                </a:lnTo>
                <a:lnTo>
                  <a:pt x="264" y="122"/>
                </a:lnTo>
                <a:lnTo>
                  <a:pt x="256" y="122"/>
                </a:lnTo>
                <a:lnTo>
                  <a:pt x="256" y="122"/>
                </a:lnTo>
                <a:lnTo>
                  <a:pt x="264" y="120"/>
                </a:lnTo>
                <a:lnTo>
                  <a:pt x="268" y="116"/>
                </a:lnTo>
                <a:lnTo>
                  <a:pt x="270" y="112"/>
                </a:lnTo>
                <a:lnTo>
                  <a:pt x="270" y="112"/>
                </a:lnTo>
                <a:lnTo>
                  <a:pt x="272" y="114"/>
                </a:lnTo>
                <a:lnTo>
                  <a:pt x="276" y="114"/>
                </a:lnTo>
                <a:lnTo>
                  <a:pt x="282" y="112"/>
                </a:lnTo>
                <a:lnTo>
                  <a:pt x="288" y="108"/>
                </a:lnTo>
                <a:lnTo>
                  <a:pt x="290" y="108"/>
                </a:lnTo>
                <a:lnTo>
                  <a:pt x="292" y="108"/>
                </a:lnTo>
                <a:lnTo>
                  <a:pt x="292" y="108"/>
                </a:lnTo>
                <a:lnTo>
                  <a:pt x="296" y="112"/>
                </a:lnTo>
                <a:lnTo>
                  <a:pt x="296" y="112"/>
                </a:lnTo>
                <a:lnTo>
                  <a:pt x="292" y="114"/>
                </a:lnTo>
                <a:lnTo>
                  <a:pt x="292" y="114"/>
                </a:lnTo>
                <a:lnTo>
                  <a:pt x="292" y="116"/>
                </a:lnTo>
                <a:lnTo>
                  <a:pt x="298" y="118"/>
                </a:lnTo>
                <a:lnTo>
                  <a:pt x="298" y="118"/>
                </a:lnTo>
                <a:lnTo>
                  <a:pt x="304" y="118"/>
                </a:lnTo>
                <a:lnTo>
                  <a:pt x="308" y="118"/>
                </a:lnTo>
                <a:lnTo>
                  <a:pt x="312" y="116"/>
                </a:lnTo>
                <a:lnTo>
                  <a:pt x="318" y="118"/>
                </a:lnTo>
                <a:lnTo>
                  <a:pt x="318" y="118"/>
                </a:lnTo>
                <a:lnTo>
                  <a:pt x="324" y="118"/>
                </a:lnTo>
                <a:lnTo>
                  <a:pt x="330" y="116"/>
                </a:lnTo>
                <a:lnTo>
                  <a:pt x="346" y="108"/>
                </a:lnTo>
                <a:lnTo>
                  <a:pt x="346" y="108"/>
                </a:lnTo>
                <a:lnTo>
                  <a:pt x="350" y="106"/>
                </a:lnTo>
                <a:lnTo>
                  <a:pt x="346" y="106"/>
                </a:lnTo>
                <a:lnTo>
                  <a:pt x="340" y="104"/>
                </a:lnTo>
                <a:lnTo>
                  <a:pt x="336" y="104"/>
                </a:lnTo>
                <a:lnTo>
                  <a:pt x="336" y="104"/>
                </a:lnTo>
                <a:lnTo>
                  <a:pt x="330" y="100"/>
                </a:lnTo>
                <a:lnTo>
                  <a:pt x="326" y="100"/>
                </a:lnTo>
                <a:lnTo>
                  <a:pt x="324" y="96"/>
                </a:lnTo>
                <a:lnTo>
                  <a:pt x="324" y="96"/>
                </a:lnTo>
                <a:lnTo>
                  <a:pt x="322" y="92"/>
                </a:lnTo>
                <a:lnTo>
                  <a:pt x="318" y="92"/>
                </a:lnTo>
                <a:lnTo>
                  <a:pt x="316" y="92"/>
                </a:lnTo>
                <a:lnTo>
                  <a:pt x="310" y="98"/>
                </a:lnTo>
                <a:lnTo>
                  <a:pt x="310" y="98"/>
                </a:lnTo>
                <a:lnTo>
                  <a:pt x="308" y="100"/>
                </a:lnTo>
                <a:lnTo>
                  <a:pt x="304" y="100"/>
                </a:lnTo>
                <a:lnTo>
                  <a:pt x="300" y="98"/>
                </a:lnTo>
                <a:lnTo>
                  <a:pt x="296" y="96"/>
                </a:lnTo>
                <a:lnTo>
                  <a:pt x="292" y="96"/>
                </a:lnTo>
                <a:lnTo>
                  <a:pt x="288" y="98"/>
                </a:lnTo>
                <a:lnTo>
                  <a:pt x="288" y="98"/>
                </a:lnTo>
                <a:lnTo>
                  <a:pt x="284" y="102"/>
                </a:lnTo>
                <a:lnTo>
                  <a:pt x="282" y="102"/>
                </a:lnTo>
                <a:lnTo>
                  <a:pt x="282" y="100"/>
                </a:lnTo>
                <a:lnTo>
                  <a:pt x="284" y="96"/>
                </a:lnTo>
                <a:lnTo>
                  <a:pt x="292" y="86"/>
                </a:lnTo>
                <a:lnTo>
                  <a:pt x="292" y="86"/>
                </a:lnTo>
                <a:lnTo>
                  <a:pt x="298" y="78"/>
                </a:lnTo>
                <a:lnTo>
                  <a:pt x="300" y="72"/>
                </a:lnTo>
                <a:lnTo>
                  <a:pt x="298" y="70"/>
                </a:lnTo>
                <a:lnTo>
                  <a:pt x="294" y="70"/>
                </a:lnTo>
                <a:lnTo>
                  <a:pt x="294" y="70"/>
                </a:lnTo>
                <a:lnTo>
                  <a:pt x="288" y="74"/>
                </a:lnTo>
                <a:lnTo>
                  <a:pt x="288" y="74"/>
                </a:lnTo>
                <a:lnTo>
                  <a:pt x="282" y="80"/>
                </a:lnTo>
                <a:lnTo>
                  <a:pt x="280" y="86"/>
                </a:lnTo>
                <a:lnTo>
                  <a:pt x="276" y="92"/>
                </a:lnTo>
                <a:lnTo>
                  <a:pt x="270" y="98"/>
                </a:lnTo>
                <a:lnTo>
                  <a:pt x="270" y="98"/>
                </a:lnTo>
                <a:lnTo>
                  <a:pt x="264" y="102"/>
                </a:lnTo>
                <a:lnTo>
                  <a:pt x="262" y="106"/>
                </a:lnTo>
                <a:lnTo>
                  <a:pt x="262" y="110"/>
                </a:lnTo>
                <a:lnTo>
                  <a:pt x="262" y="112"/>
                </a:lnTo>
                <a:lnTo>
                  <a:pt x="262" y="114"/>
                </a:lnTo>
                <a:lnTo>
                  <a:pt x="258" y="114"/>
                </a:lnTo>
                <a:lnTo>
                  <a:pt x="258" y="114"/>
                </a:lnTo>
                <a:lnTo>
                  <a:pt x="254" y="114"/>
                </a:lnTo>
                <a:lnTo>
                  <a:pt x="252" y="114"/>
                </a:lnTo>
                <a:lnTo>
                  <a:pt x="254" y="110"/>
                </a:lnTo>
                <a:lnTo>
                  <a:pt x="256" y="108"/>
                </a:lnTo>
                <a:lnTo>
                  <a:pt x="252" y="108"/>
                </a:lnTo>
                <a:lnTo>
                  <a:pt x="252" y="108"/>
                </a:lnTo>
                <a:lnTo>
                  <a:pt x="234" y="110"/>
                </a:lnTo>
                <a:lnTo>
                  <a:pt x="226" y="110"/>
                </a:lnTo>
                <a:lnTo>
                  <a:pt x="222" y="108"/>
                </a:lnTo>
                <a:lnTo>
                  <a:pt x="218" y="106"/>
                </a:lnTo>
                <a:lnTo>
                  <a:pt x="216" y="102"/>
                </a:lnTo>
                <a:lnTo>
                  <a:pt x="214" y="90"/>
                </a:lnTo>
                <a:lnTo>
                  <a:pt x="204" y="92"/>
                </a:lnTo>
                <a:lnTo>
                  <a:pt x="194" y="76"/>
                </a:lnTo>
                <a:lnTo>
                  <a:pt x="202" y="76"/>
                </a:lnTo>
                <a:lnTo>
                  <a:pt x="198" y="58"/>
                </a:lnTo>
                <a:lnTo>
                  <a:pt x="190" y="64"/>
                </a:lnTo>
                <a:lnTo>
                  <a:pt x="190" y="64"/>
                </a:lnTo>
                <a:lnTo>
                  <a:pt x="178" y="50"/>
                </a:lnTo>
                <a:lnTo>
                  <a:pt x="174" y="46"/>
                </a:lnTo>
                <a:lnTo>
                  <a:pt x="170" y="44"/>
                </a:lnTo>
                <a:lnTo>
                  <a:pt x="166" y="44"/>
                </a:lnTo>
                <a:lnTo>
                  <a:pt x="160" y="42"/>
                </a:lnTo>
                <a:lnTo>
                  <a:pt x="160" y="42"/>
                </a:lnTo>
                <a:lnTo>
                  <a:pt x="156" y="38"/>
                </a:lnTo>
                <a:lnTo>
                  <a:pt x="156" y="42"/>
                </a:lnTo>
                <a:lnTo>
                  <a:pt x="154" y="46"/>
                </a:lnTo>
                <a:lnTo>
                  <a:pt x="152" y="48"/>
                </a:lnTo>
                <a:lnTo>
                  <a:pt x="150" y="48"/>
                </a:lnTo>
                <a:lnTo>
                  <a:pt x="150" y="48"/>
                </a:lnTo>
                <a:lnTo>
                  <a:pt x="104" y="46"/>
                </a:lnTo>
                <a:lnTo>
                  <a:pt x="104" y="46"/>
                </a:lnTo>
                <a:lnTo>
                  <a:pt x="102" y="46"/>
                </a:lnTo>
                <a:lnTo>
                  <a:pt x="98" y="44"/>
                </a:lnTo>
                <a:lnTo>
                  <a:pt x="94" y="36"/>
                </a:lnTo>
                <a:lnTo>
                  <a:pt x="92" y="30"/>
                </a:lnTo>
                <a:lnTo>
                  <a:pt x="92" y="26"/>
                </a:lnTo>
                <a:lnTo>
                  <a:pt x="94" y="26"/>
                </a:lnTo>
                <a:lnTo>
                  <a:pt x="94" y="26"/>
                </a:lnTo>
                <a:lnTo>
                  <a:pt x="90" y="30"/>
                </a:lnTo>
                <a:lnTo>
                  <a:pt x="90" y="32"/>
                </a:lnTo>
                <a:lnTo>
                  <a:pt x="88" y="34"/>
                </a:lnTo>
                <a:lnTo>
                  <a:pt x="86" y="36"/>
                </a:lnTo>
                <a:lnTo>
                  <a:pt x="86" y="36"/>
                </a:lnTo>
                <a:lnTo>
                  <a:pt x="82" y="38"/>
                </a:lnTo>
                <a:lnTo>
                  <a:pt x="78" y="40"/>
                </a:lnTo>
                <a:lnTo>
                  <a:pt x="76" y="44"/>
                </a:lnTo>
                <a:lnTo>
                  <a:pt x="66" y="46"/>
                </a:lnTo>
                <a:lnTo>
                  <a:pt x="66" y="46"/>
                </a:lnTo>
                <a:lnTo>
                  <a:pt x="58" y="46"/>
                </a:lnTo>
                <a:lnTo>
                  <a:pt x="54" y="46"/>
                </a:lnTo>
                <a:lnTo>
                  <a:pt x="52" y="44"/>
                </a:lnTo>
                <a:lnTo>
                  <a:pt x="46" y="44"/>
                </a:lnTo>
                <a:lnTo>
                  <a:pt x="46" y="44"/>
                </a:lnTo>
                <a:lnTo>
                  <a:pt x="40" y="44"/>
                </a:lnTo>
                <a:lnTo>
                  <a:pt x="38" y="42"/>
                </a:lnTo>
                <a:lnTo>
                  <a:pt x="38" y="40"/>
                </a:lnTo>
                <a:lnTo>
                  <a:pt x="34" y="38"/>
                </a:lnTo>
                <a:lnTo>
                  <a:pt x="34" y="38"/>
                </a:lnTo>
                <a:lnTo>
                  <a:pt x="32" y="36"/>
                </a:lnTo>
                <a:lnTo>
                  <a:pt x="30" y="34"/>
                </a:lnTo>
                <a:lnTo>
                  <a:pt x="28" y="28"/>
                </a:lnTo>
                <a:lnTo>
                  <a:pt x="28" y="22"/>
                </a:lnTo>
                <a:lnTo>
                  <a:pt x="30" y="16"/>
                </a:lnTo>
                <a:lnTo>
                  <a:pt x="30" y="16"/>
                </a:lnTo>
                <a:lnTo>
                  <a:pt x="32" y="14"/>
                </a:lnTo>
                <a:lnTo>
                  <a:pt x="32" y="12"/>
                </a:lnTo>
                <a:lnTo>
                  <a:pt x="30" y="8"/>
                </a:lnTo>
                <a:lnTo>
                  <a:pt x="30" y="0"/>
                </a:lnTo>
                <a:lnTo>
                  <a:pt x="30" y="0"/>
                </a:lnTo>
                <a:lnTo>
                  <a:pt x="30" y="2"/>
                </a:lnTo>
                <a:lnTo>
                  <a:pt x="26" y="4"/>
                </a:lnTo>
                <a:lnTo>
                  <a:pt x="14" y="6"/>
                </a:lnTo>
                <a:lnTo>
                  <a:pt x="8" y="10"/>
                </a:lnTo>
                <a:lnTo>
                  <a:pt x="2" y="12"/>
                </a:lnTo>
                <a:lnTo>
                  <a:pt x="0" y="16"/>
                </a:lnTo>
                <a:lnTo>
                  <a:pt x="0" y="22"/>
                </a:lnTo>
                <a:lnTo>
                  <a:pt x="0" y="22"/>
                </a:lnTo>
                <a:lnTo>
                  <a:pt x="22" y="98"/>
                </a:lnTo>
                <a:lnTo>
                  <a:pt x="22" y="98"/>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78" name="Freeform 173"/>
          <p:cNvSpPr>
            <a:spLocks/>
          </p:cNvSpPr>
          <p:nvPr/>
        </p:nvSpPr>
        <p:spPr bwMode="auto">
          <a:xfrm>
            <a:off x="5740102" y="1705472"/>
            <a:ext cx="341824" cy="366456"/>
          </a:xfrm>
          <a:custGeom>
            <a:avLst/>
            <a:gdLst/>
            <a:ahLst/>
            <a:cxnLst>
              <a:cxn ang="0">
                <a:pos x="152" y="314"/>
              </a:cxn>
              <a:cxn ang="0">
                <a:pos x="146" y="304"/>
              </a:cxn>
              <a:cxn ang="0">
                <a:pos x="132" y="292"/>
              </a:cxn>
              <a:cxn ang="0">
                <a:pos x="124" y="286"/>
              </a:cxn>
              <a:cxn ang="0">
                <a:pos x="116" y="286"/>
              </a:cxn>
              <a:cxn ang="0">
                <a:pos x="96" y="290"/>
              </a:cxn>
              <a:cxn ang="0">
                <a:pos x="80" y="286"/>
              </a:cxn>
              <a:cxn ang="0">
                <a:pos x="64" y="284"/>
              </a:cxn>
              <a:cxn ang="0">
                <a:pos x="44" y="282"/>
              </a:cxn>
              <a:cxn ang="0">
                <a:pos x="34" y="282"/>
              </a:cxn>
              <a:cxn ang="0">
                <a:pos x="32" y="262"/>
              </a:cxn>
              <a:cxn ang="0">
                <a:pos x="42" y="244"/>
              </a:cxn>
              <a:cxn ang="0">
                <a:pos x="52" y="242"/>
              </a:cxn>
              <a:cxn ang="0">
                <a:pos x="56" y="230"/>
              </a:cxn>
              <a:cxn ang="0">
                <a:pos x="44" y="212"/>
              </a:cxn>
              <a:cxn ang="0">
                <a:pos x="22" y="198"/>
              </a:cxn>
              <a:cxn ang="0">
                <a:pos x="14" y="170"/>
              </a:cxn>
              <a:cxn ang="0">
                <a:pos x="50" y="178"/>
              </a:cxn>
              <a:cxn ang="0">
                <a:pos x="112" y="162"/>
              </a:cxn>
              <a:cxn ang="0">
                <a:pos x="104" y="152"/>
              </a:cxn>
              <a:cxn ang="0">
                <a:pos x="118" y="136"/>
              </a:cxn>
              <a:cxn ang="0">
                <a:pos x="130" y="130"/>
              </a:cxn>
              <a:cxn ang="0">
                <a:pos x="144" y="120"/>
              </a:cxn>
              <a:cxn ang="0">
                <a:pos x="138" y="102"/>
              </a:cxn>
              <a:cxn ang="0">
                <a:pos x="154" y="86"/>
              </a:cxn>
              <a:cxn ang="0">
                <a:pos x="144" y="74"/>
              </a:cxn>
              <a:cxn ang="0">
                <a:pos x="178" y="74"/>
              </a:cxn>
              <a:cxn ang="0">
                <a:pos x="184" y="66"/>
              </a:cxn>
              <a:cxn ang="0">
                <a:pos x="182" y="44"/>
              </a:cxn>
              <a:cxn ang="0">
                <a:pos x="170" y="26"/>
              </a:cxn>
              <a:cxn ang="0">
                <a:pos x="190" y="10"/>
              </a:cxn>
              <a:cxn ang="0">
                <a:pos x="214" y="2"/>
              </a:cxn>
              <a:cxn ang="0">
                <a:pos x="256" y="16"/>
              </a:cxn>
              <a:cxn ang="0">
                <a:pos x="258" y="30"/>
              </a:cxn>
              <a:cxn ang="0">
                <a:pos x="284" y="34"/>
              </a:cxn>
              <a:cxn ang="0">
                <a:pos x="300" y="56"/>
              </a:cxn>
              <a:cxn ang="0">
                <a:pos x="262" y="64"/>
              </a:cxn>
              <a:cxn ang="0">
                <a:pos x="222" y="62"/>
              </a:cxn>
              <a:cxn ang="0">
                <a:pos x="226" y="74"/>
              </a:cxn>
              <a:cxn ang="0">
                <a:pos x="234" y="88"/>
              </a:cxn>
              <a:cxn ang="0">
                <a:pos x="250" y="88"/>
              </a:cxn>
              <a:cxn ang="0">
                <a:pos x="260" y="96"/>
              </a:cxn>
              <a:cxn ang="0">
                <a:pos x="266" y="108"/>
              </a:cxn>
              <a:cxn ang="0">
                <a:pos x="260" y="122"/>
              </a:cxn>
              <a:cxn ang="0">
                <a:pos x="268" y="138"/>
              </a:cxn>
              <a:cxn ang="0">
                <a:pos x="256" y="168"/>
              </a:cxn>
              <a:cxn ang="0">
                <a:pos x="238" y="192"/>
              </a:cxn>
              <a:cxn ang="0">
                <a:pos x="214" y="220"/>
              </a:cxn>
              <a:cxn ang="0">
                <a:pos x="196" y="220"/>
              </a:cxn>
              <a:cxn ang="0">
                <a:pos x="180" y="244"/>
              </a:cxn>
              <a:cxn ang="0">
                <a:pos x="192" y="262"/>
              </a:cxn>
              <a:cxn ang="0">
                <a:pos x="226" y="292"/>
              </a:cxn>
              <a:cxn ang="0">
                <a:pos x="226" y="304"/>
              </a:cxn>
              <a:cxn ang="0">
                <a:pos x="216" y="310"/>
              </a:cxn>
              <a:cxn ang="0">
                <a:pos x="196" y="310"/>
              </a:cxn>
              <a:cxn ang="0">
                <a:pos x="178" y="310"/>
              </a:cxn>
              <a:cxn ang="0">
                <a:pos x="162" y="322"/>
              </a:cxn>
            </a:cxnLst>
            <a:rect l="0" t="0" r="r" b="b"/>
            <a:pathLst>
              <a:path w="300" h="322">
                <a:moveTo>
                  <a:pt x="162" y="322"/>
                </a:moveTo>
                <a:lnTo>
                  <a:pt x="162" y="322"/>
                </a:lnTo>
                <a:lnTo>
                  <a:pt x="152" y="320"/>
                </a:lnTo>
                <a:lnTo>
                  <a:pt x="150" y="318"/>
                </a:lnTo>
                <a:lnTo>
                  <a:pt x="150" y="318"/>
                </a:lnTo>
                <a:lnTo>
                  <a:pt x="152" y="314"/>
                </a:lnTo>
                <a:lnTo>
                  <a:pt x="152" y="312"/>
                </a:lnTo>
                <a:lnTo>
                  <a:pt x="150" y="310"/>
                </a:lnTo>
                <a:lnTo>
                  <a:pt x="150" y="310"/>
                </a:lnTo>
                <a:lnTo>
                  <a:pt x="150" y="308"/>
                </a:lnTo>
                <a:lnTo>
                  <a:pt x="148" y="306"/>
                </a:lnTo>
                <a:lnTo>
                  <a:pt x="146" y="304"/>
                </a:lnTo>
                <a:lnTo>
                  <a:pt x="138" y="302"/>
                </a:lnTo>
                <a:lnTo>
                  <a:pt x="138" y="302"/>
                </a:lnTo>
                <a:lnTo>
                  <a:pt x="132" y="302"/>
                </a:lnTo>
                <a:lnTo>
                  <a:pt x="132" y="300"/>
                </a:lnTo>
                <a:lnTo>
                  <a:pt x="132" y="296"/>
                </a:lnTo>
                <a:lnTo>
                  <a:pt x="132" y="292"/>
                </a:lnTo>
                <a:lnTo>
                  <a:pt x="132" y="292"/>
                </a:lnTo>
                <a:lnTo>
                  <a:pt x="130" y="288"/>
                </a:lnTo>
                <a:lnTo>
                  <a:pt x="126" y="286"/>
                </a:lnTo>
                <a:lnTo>
                  <a:pt x="122" y="286"/>
                </a:lnTo>
                <a:lnTo>
                  <a:pt x="122" y="286"/>
                </a:lnTo>
                <a:lnTo>
                  <a:pt x="124" y="286"/>
                </a:lnTo>
                <a:lnTo>
                  <a:pt x="126" y="288"/>
                </a:lnTo>
                <a:lnTo>
                  <a:pt x="126" y="288"/>
                </a:lnTo>
                <a:lnTo>
                  <a:pt x="126" y="288"/>
                </a:lnTo>
                <a:lnTo>
                  <a:pt x="124" y="290"/>
                </a:lnTo>
                <a:lnTo>
                  <a:pt x="120" y="288"/>
                </a:lnTo>
                <a:lnTo>
                  <a:pt x="116" y="286"/>
                </a:lnTo>
                <a:lnTo>
                  <a:pt x="114" y="288"/>
                </a:lnTo>
                <a:lnTo>
                  <a:pt x="114" y="288"/>
                </a:lnTo>
                <a:lnTo>
                  <a:pt x="104" y="288"/>
                </a:lnTo>
                <a:lnTo>
                  <a:pt x="98" y="288"/>
                </a:lnTo>
                <a:lnTo>
                  <a:pt x="98" y="288"/>
                </a:lnTo>
                <a:lnTo>
                  <a:pt x="96" y="290"/>
                </a:lnTo>
                <a:lnTo>
                  <a:pt x="90" y="290"/>
                </a:lnTo>
                <a:lnTo>
                  <a:pt x="86" y="288"/>
                </a:lnTo>
                <a:lnTo>
                  <a:pt x="84" y="284"/>
                </a:lnTo>
                <a:lnTo>
                  <a:pt x="84" y="284"/>
                </a:lnTo>
                <a:lnTo>
                  <a:pt x="82" y="286"/>
                </a:lnTo>
                <a:lnTo>
                  <a:pt x="80" y="286"/>
                </a:lnTo>
                <a:lnTo>
                  <a:pt x="76" y="284"/>
                </a:lnTo>
                <a:lnTo>
                  <a:pt x="76" y="284"/>
                </a:lnTo>
                <a:lnTo>
                  <a:pt x="74" y="282"/>
                </a:lnTo>
                <a:lnTo>
                  <a:pt x="72" y="284"/>
                </a:lnTo>
                <a:lnTo>
                  <a:pt x="70" y="286"/>
                </a:lnTo>
                <a:lnTo>
                  <a:pt x="64" y="284"/>
                </a:lnTo>
                <a:lnTo>
                  <a:pt x="64" y="284"/>
                </a:lnTo>
                <a:lnTo>
                  <a:pt x="60" y="282"/>
                </a:lnTo>
                <a:lnTo>
                  <a:pt x="56" y="284"/>
                </a:lnTo>
                <a:lnTo>
                  <a:pt x="52" y="284"/>
                </a:lnTo>
                <a:lnTo>
                  <a:pt x="44" y="282"/>
                </a:lnTo>
                <a:lnTo>
                  <a:pt x="44" y="282"/>
                </a:lnTo>
                <a:lnTo>
                  <a:pt x="38" y="282"/>
                </a:lnTo>
                <a:lnTo>
                  <a:pt x="38" y="284"/>
                </a:lnTo>
                <a:lnTo>
                  <a:pt x="36" y="286"/>
                </a:lnTo>
                <a:lnTo>
                  <a:pt x="32" y="284"/>
                </a:lnTo>
                <a:lnTo>
                  <a:pt x="32" y="284"/>
                </a:lnTo>
                <a:lnTo>
                  <a:pt x="34" y="282"/>
                </a:lnTo>
                <a:lnTo>
                  <a:pt x="34" y="278"/>
                </a:lnTo>
                <a:lnTo>
                  <a:pt x="34" y="272"/>
                </a:lnTo>
                <a:lnTo>
                  <a:pt x="32" y="266"/>
                </a:lnTo>
                <a:lnTo>
                  <a:pt x="32" y="266"/>
                </a:lnTo>
                <a:lnTo>
                  <a:pt x="32" y="264"/>
                </a:lnTo>
                <a:lnTo>
                  <a:pt x="32" y="262"/>
                </a:lnTo>
                <a:lnTo>
                  <a:pt x="36" y="256"/>
                </a:lnTo>
                <a:lnTo>
                  <a:pt x="40" y="252"/>
                </a:lnTo>
                <a:lnTo>
                  <a:pt x="42" y="250"/>
                </a:lnTo>
                <a:lnTo>
                  <a:pt x="42" y="248"/>
                </a:lnTo>
                <a:lnTo>
                  <a:pt x="42" y="248"/>
                </a:lnTo>
                <a:lnTo>
                  <a:pt x="42" y="244"/>
                </a:lnTo>
                <a:lnTo>
                  <a:pt x="42" y="242"/>
                </a:lnTo>
                <a:lnTo>
                  <a:pt x="46" y="242"/>
                </a:lnTo>
                <a:lnTo>
                  <a:pt x="50" y="244"/>
                </a:lnTo>
                <a:lnTo>
                  <a:pt x="50" y="242"/>
                </a:lnTo>
                <a:lnTo>
                  <a:pt x="50" y="242"/>
                </a:lnTo>
                <a:lnTo>
                  <a:pt x="52" y="242"/>
                </a:lnTo>
                <a:lnTo>
                  <a:pt x="54" y="240"/>
                </a:lnTo>
                <a:lnTo>
                  <a:pt x="56" y="238"/>
                </a:lnTo>
                <a:lnTo>
                  <a:pt x="56" y="236"/>
                </a:lnTo>
                <a:lnTo>
                  <a:pt x="56" y="236"/>
                </a:lnTo>
                <a:lnTo>
                  <a:pt x="56" y="234"/>
                </a:lnTo>
                <a:lnTo>
                  <a:pt x="56" y="230"/>
                </a:lnTo>
                <a:lnTo>
                  <a:pt x="56" y="226"/>
                </a:lnTo>
                <a:lnTo>
                  <a:pt x="54" y="226"/>
                </a:lnTo>
                <a:lnTo>
                  <a:pt x="54" y="226"/>
                </a:lnTo>
                <a:lnTo>
                  <a:pt x="50" y="226"/>
                </a:lnTo>
                <a:lnTo>
                  <a:pt x="48" y="226"/>
                </a:lnTo>
                <a:lnTo>
                  <a:pt x="44" y="212"/>
                </a:lnTo>
                <a:lnTo>
                  <a:pt x="44" y="212"/>
                </a:lnTo>
                <a:lnTo>
                  <a:pt x="38" y="200"/>
                </a:lnTo>
                <a:lnTo>
                  <a:pt x="36" y="200"/>
                </a:lnTo>
                <a:lnTo>
                  <a:pt x="30" y="200"/>
                </a:lnTo>
                <a:lnTo>
                  <a:pt x="30" y="200"/>
                </a:lnTo>
                <a:lnTo>
                  <a:pt x="22" y="198"/>
                </a:lnTo>
                <a:lnTo>
                  <a:pt x="20" y="194"/>
                </a:lnTo>
                <a:lnTo>
                  <a:pt x="14" y="182"/>
                </a:lnTo>
                <a:lnTo>
                  <a:pt x="0" y="162"/>
                </a:lnTo>
                <a:lnTo>
                  <a:pt x="0" y="162"/>
                </a:lnTo>
                <a:lnTo>
                  <a:pt x="6" y="164"/>
                </a:lnTo>
                <a:lnTo>
                  <a:pt x="14" y="170"/>
                </a:lnTo>
                <a:lnTo>
                  <a:pt x="14" y="170"/>
                </a:lnTo>
                <a:lnTo>
                  <a:pt x="22" y="174"/>
                </a:lnTo>
                <a:lnTo>
                  <a:pt x="30" y="178"/>
                </a:lnTo>
                <a:lnTo>
                  <a:pt x="40" y="178"/>
                </a:lnTo>
                <a:lnTo>
                  <a:pt x="50" y="178"/>
                </a:lnTo>
                <a:lnTo>
                  <a:pt x="50" y="178"/>
                </a:lnTo>
                <a:lnTo>
                  <a:pt x="58" y="180"/>
                </a:lnTo>
                <a:lnTo>
                  <a:pt x="70" y="178"/>
                </a:lnTo>
                <a:lnTo>
                  <a:pt x="94" y="172"/>
                </a:lnTo>
                <a:lnTo>
                  <a:pt x="94" y="172"/>
                </a:lnTo>
                <a:lnTo>
                  <a:pt x="110" y="164"/>
                </a:lnTo>
                <a:lnTo>
                  <a:pt x="112" y="162"/>
                </a:lnTo>
                <a:lnTo>
                  <a:pt x="108" y="160"/>
                </a:lnTo>
                <a:lnTo>
                  <a:pt x="108" y="160"/>
                </a:lnTo>
                <a:lnTo>
                  <a:pt x="106" y="158"/>
                </a:lnTo>
                <a:lnTo>
                  <a:pt x="106" y="158"/>
                </a:lnTo>
                <a:lnTo>
                  <a:pt x="106" y="156"/>
                </a:lnTo>
                <a:lnTo>
                  <a:pt x="104" y="152"/>
                </a:lnTo>
                <a:lnTo>
                  <a:pt x="104" y="152"/>
                </a:lnTo>
                <a:lnTo>
                  <a:pt x="104" y="150"/>
                </a:lnTo>
                <a:lnTo>
                  <a:pt x="104" y="146"/>
                </a:lnTo>
                <a:lnTo>
                  <a:pt x="108" y="140"/>
                </a:lnTo>
                <a:lnTo>
                  <a:pt x="114" y="136"/>
                </a:lnTo>
                <a:lnTo>
                  <a:pt x="118" y="136"/>
                </a:lnTo>
                <a:lnTo>
                  <a:pt x="122" y="136"/>
                </a:lnTo>
                <a:lnTo>
                  <a:pt x="122" y="136"/>
                </a:lnTo>
                <a:lnTo>
                  <a:pt x="126" y="138"/>
                </a:lnTo>
                <a:lnTo>
                  <a:pt x="128" y="136"/>
                </a:lnTo>
                <a:lnTo>
                  <a:pt x="132" y="134"/>
                </a:lnTo>
                <a:lnTo>
                  <a:pt x="130" y="130"/>
                </a:lnTo>
                <a:lnTo>
                  <a:pt x="130" y="130"/>
                </a:lnTo>
                <a:lnTo>
                  <a:pt x="130" y="126"/>
                </a:lnTo>
                <a:lnTo>
                  <a:pt x="132" y="126"/>
                </a:lnTo>
                <a:lnTo>
                  <a:pt x="136" y="126"/>
                </a:lnTo>
                <a:lnTo>
                  <a:pt x="140" y="124"/>
                </a:lnTo>
                <a:lnTo>
                  <a:pt x="144" y="120"/>
                </a:lnTo>
                <a:lnTo>
                  <a:pt x="144" y="120"/>
                </a:lnTo>
                <a:lnTo>
                  <a:pt x="146" y="116"/>
                </a:lnTo>
                <a:lnTo>
                  <a:pt x="146" y="114"/>
                </a:lnTo>
                <a:lnTo>
                  <a:pt x="142" y="110"/>
                </a:lnTo>
                <a:lnTo>
                  <a:pt x="140" y="104"/>
                </a:lnTo>
                <a:lnTo>
                  <a:pt x="138" y="102"/>
                </a:lnTo>
                <a:lnTo>
                  <a:pt x="140" y="98"/>
                </a:lnTo>
                <a:lnTo>
                  <a:pt x="140" y="98"/>
                </a:lnTo>
                <a:lnTo>
                  <a:pt x="142" y="92"/>
                </a:lnTo>
                <a:lnTo>
                  <a:pt x="148" y="92"/>
                </a:lnTo>
                <a:lnTo>
                  <a:pt x="152" y="90"/>
                </a:lnTo>
                <a:lnTo>
                  <a:pt x="154" y="86"/>
                </a:lnTo>
                <a:lnTo>
                  <a:pt x="154" y="86"/>
                </a:lnTo>
                <a:lnTo>
                  <a:pt x="154" y="84"/>
                </a:lnTo>
                <a:lnTo>
                  <a:pt x="154" y="82"/>
                </a:lnTo>
                <a:lnTo>
                  <a:pt x="150" y="80"/>
                </a:lnTo>
                <a:lnTo>
                  <a:pt x="144" y="76"/>
                </a:lnTo>
                <a:lnTo>
                  <a:pt x="144" y="74"/>
                </a:lnTo>
                <a:lnTo>
                  <a:pt x="144" y="74"/>
                </a:lnTo>
                <a:lnTo>
                  <a:pt x="144" y="74"/>
                </a:lnTo>
                <a:lnTo>
                  <a:pt x="146" y="72"/>
                </a:lnTo>
                <a:lnTo>
                  <a:pt x="148" y="72"/>
                </a:lnTo>
                <a:lnTo>
                  <a:pt x="156" y="72"/>
                </a:lnTo>
                <a:lnTo>
                  <a:pt x="178" y="74"/>
                </a:lnTo>
                <a:lnTo>
                  <a:pt x="178" y="74"/>
                </a:lnTo>
                <a:lnTo>
                  <a:pt x="186" y="74"/>
                </a:lnTo>
                <a:lnTo>
                  <a:pt x="188" y="72"/>
                </a:lnTo>
                <a:lnTo>
                  <a:pt x="188" y="72"/>
                </a:lnTo>
                <a:lnTo>
                  <a:pt x="186" y="68"/>
                </a:lnTo>
                <a:lnTo>
                  <a:pt x="184" y="66"/>
                </a:lnTo>
                <a:lnTo>
                  <a:pt x="184" y="66"/>
                </a:lnTo>
                <a:lnTo>
                  <a:pt x="180" y="62"/>
                </a:lnTo>
                <a:lnTo>
                  <a:pt x="178" y="58"/>
                </a:lnTo>
                <a:lnTo>
                  <a:pt x="178" y="54"/>
                </a:lnTo>
                <a:lnTo>
                  <a:pt x="180" y="50"/>
                </a:lnTo>
                <a:lnTo>
                  <a:pt x="182" y="44"/>
                </a:lnTo>
                <a:lnTo>
                  <a:pt x="180" y="42"/>
                </a:lnTo>
                <a:lnTo>
                  <a:pt x="176" y="38"/>
                </a:lnTo>
                <a:lnTo>
                  <a:pt x="176" y="38"/>
                </a:lnTo>
                <a:lnTo>
                  <a:pt x="170" y="32"/>
                </a:lnTo>
                <a:lnTo>
                  <a:pt x="168" y="28"/>
                </a:lnTo>
                <a:lnTo>
                  <a:pt x="170" y="26"/>
                </a:lnTo>
                <a:lnTo>
                  <a:pt x="174" y="20"/>
                </a:lnTo>
                <a:lnTo>
                  <a:pt x="174" y="20"/>
                </a:lnTo>
                <a:lnTo>
                  <a:pt x="178" y="16"/>
                </a:lnTo>
                <a:lnTo>
                  <a:pt x="184" y="16"/>
                </a:lnTo>
                <a:lnTo>
                  <a:pt x="188" y="14"/>
                </a:lnTo>
                <a:lnTo>
                  <a:pt x="190" y="10"/>
                </a:lnTo>
                <a:lnTo>
                  <a:pt x="190" y="10"/>
                </a:lnTo>
                <a:lnTo>
                  <a:pt x="190" y="8"/>
                </a:lnTo>
                <a:lnTo>
                  <a:pt x="194" y="6"/>
                </a:lnTo>
                <a:lnTo>
                  <a:pt x="202" y="4"/>
                </a:lnTo>
                <a:lnTo>
                  <a:pt x="214" y="2"/>
                </a:lnTo>
                <a:lnTo>
                  <a:pt x="214" y="2"/>
                </a:lnTo>
                <a:lnTo>
                  <a:pt x="218" y="2"/>
                </a:lnTo>
                <a:lnTo>
                  <a:pt x="220" y="0"/>
                </a:lnTo>
                <a:lnTo>
                  <a:pt x="226" y="2"/>
                </a:lnTo>
                <a:lnTo>
                  <a:pt x="240" y="8"/>
                </a:lnTo>
                <a:lnTo>
                  <a:pt x="240" y="8"/>
                </a:lnTo>
                <a:lnTo>
                  <a:pt x="256" y="16"/>
                </a:lnTo>
                <a:lnTo>
                  <a:pt x="256" y="18"/>
                </a:lnTo>
                <a:lnTo>
                  <a:pt x="256" y="20"/>
                </a:lnTo>
                <a:lnTo>
                  <a:pt x="256" y="20"/>
                </a:lnTo>
                <a:lnTo>
                  <a:pt x="254" y="26"/>
                </a:lnTo>
                <a:lnTo>
                  <a:pt x="256" y="30"/>
                </a:lnTo>
                <a:lnTo>
                  <a:pt x="258" y="30"/>
                </a:lnTo>
                <a:lnTo>
                  <a:pt x="264" y="30"/>
                </a:lnTo>
                <a:lnTo>
                  <a:pt x="274" y="30"/>
                </a:lnTo>
                <a:lnTo>
                  <a:pt x="278" y="30"/>
                </a:lnTo>
                <a:lnTo>
                  <a:pt x="282" y="30"/>
                </a:lnTo>
                <a:lnTo>
                  <a:pt x="282" y="30"/>
                </a:lnTo>
                <a:lnTo>
                  <a:pt x="284" y="34"/>
                </a:lnTo>
                <a:lnTo>
                  <a:pt x="288" y="36"/>
                </a:lnTo>
                <a:lnTo>
                  <a:pt x="292" y="38"/>
                </a:lnTo>
                <a:lnTo>
                  <a:pt x="296" y="46"/>
                </a:lnTo>
                <a:lnTo>
                  <a:pt x="296" y="46"/>
                </a:lnTo>
                <a:lnTo>
                  <a:pt x="300" y="52"/>
                </a:lnTo>
                <a:lnTo>
                  <a:pt x="300" y="56"/>
                </a:lnTo>
                <a:lnTo>
                  <a:pt x="296" y="58"/>
                </a:lnTo>
                <a:lnTo>
                  <a:pt x="290" y="58"/>
                </a:lnTo>
                <a:lnTo>
                  <a:pt x="290" y="58"/>
                </a:lnTo>
                <a:lnTo>
                  <a:pt x="278" y="60"/>
                </a:lnTo>
                <a:lnTo>
                  <a:pt x="270" y="62"/>
                </a:lnTo>
                <a:lnTo>
                  <a:pt x="262" y="64"/>
                </a:lnTo>
                <a:lnTo>
                  <a:pt x="242" y="62"/>
                </a:lnTo>
                <a:lnTo>
                  <a:pt x="242" y="62"/>
                </a:lnTo>
                <a:lnTo>
                  <a:pt x="232" y="60"/>
                </a:lnTo>
                <a:lnTo>
                  <a:pt x="226" y="60"/>
                </a:lnTo>
                <a:lnTo>
                  <a:pt x="224" y="62"/>
                </a:lnTo>
                <a:lnTo>
                  <a:pt x="222" y="62"/>
                </a:lnTo>
                <a:lnTo>
                  <a:pt x="224" y="66"/>
                </a:lnTo>
                <a:lnTo>
                  <a:pt x="228" y="70"/>
                </a:lnTo>
                <a:lnTo>
                  <a:pt x="228" y="70"/>
                </a:lnTo>
                <a:lnTo>
                  <a:pt x="224" y="70"/>
                </a:lnTo>
                <a:lnTo>
                  <a:pt x="224" y="72"/>
                </a:lnTo>
                <a:lnTo>
                  <a:pt x="226" y="74"/>
                </a:lnTo>
                <a:lnTo>
                  <a:pt x="230" y="78"/>
                </a:lnTo>
                <a:lnTo>
                  <a:pt x="232" y="80"/>
                </a:lnTo>
                <a:lnTo>
                  <a:pt x="232" y="84"/>
                </a:lnTo>
                <a:lnTo>
                  <a:pt x="232" y="84"/>
                </a:lnTo>
                <a:lnTo>
                  <a:pt x="232" y="86"/>
                </a:lnTo>
                <a:lnTo>
                  <a:pt x="234" y="88"/>
                </a:lnTo>
                <a:lnTo>
                  <a:pt x="238" y="86"/>
                </a:lnTo>
                <a:lnTo>
                  <a:pt x="244" y="84"/>
                </a:lnTo>
                <a:lnTo>
                  <a:pt x="246" y="84"/>
                </a:lnTo>
                <a:lnTo>
                  <a:pt x="248" y="84"/>
                </a:lnTo>
                <a:lnTo>
                  <a:pt x="248" y="84"/>
                </a:lnTo>
                <a:lnTo>
                  <a:pt x="250" y="88"/>
                </a:lnTo>
                <a:lnTo>
                  <a:pt x="250" y="90"/>
                </a:lnTo>
                <a:lnTo>
                  <a:pt x="250" y="94"/>
                </a:lnTo>
                <a:lnTo>
                  <a:pt x="250" y="96"/>
                </a:lnTo>
                <a:lnTo>
                  <a:pt x="252" y="98"/>
                </a:lnTo>
                <a:lnTo>
                  <a:pt x="260" y="96"/>
                </a:lnTo>
                <a:lnTo>
                  <a:pt x="260" y="96"/>
                </a:lnTo>
                <a:lnTo>
                  <a:pt x="264" y="96"/>
                </a:lnTo>
                <a:lnTo>
                  <a:pt x="266" y="96"/>
                </a:lnTo>
                <a:lnTo>
                  <a:pt x="264" y="100"/>
                </a:lnTo>
                <a:lnTo>
                  <a:pt x="264" y="106"/>
                </a:lnTo>
                <a:lnTo>
                  <a:pt x="264" y="108"/>
                </a:lnTo>
                <a:lnTo>
                  <a:pt x="266" y="108"/>
                </a:lnTo>
                <a:lnTo>
                  <a:pt x="266" y="108"/>
                </a:lnTo>
                <a:lnTo>
                  <a:pt x="270" y="110"/>
                </a:lnTo>
                <a:lnTo>
                  <a:pt x="268" y="112"/>
                </a:lnTo>
                <a:lnTo>
                  <a:pt x="264" y="116"/>
                </a:lnTo>
                <a:lnTo>
                  <a:pt x="260" y="118"/>
                </a:lnTo>
                <a:lnTo>
                  <a:pt x="260" y="122"/>
                </a:lnTo>
                <a:lnTo>
                  <a:pt x="260" y="126"/>
                </a:lnTo>
                <a:lnTo>
                  <a:pt x="264" y="128"/>
                </a:lnTo>
                <a:lnTo>
                  <a:pt x="264" y="128"/>
                </a:lnTo>
                <a:lnTo>
                  <a:pt x="270" y="136"/>
                </a:lnTo>
                <a:lnTo>
                  <a:pt x="270" y="136"/>
                </a:lnTo>
                <a:lnTo>
                  <a:pt x="268" y="138"/>
                </a:lnTo>
                <a:lnTo>
                  <a:pt x="264" y="140"/>
                </a:lnTo>
                <a:lnTo>
                  <a:pt x="262" y="144"/>
                </a:lnTo>
                <a:lnTo>
                  <a:pt x="258" y="150"/>
                </a:lnTo>
                <a:lnTo>
                  <a:pt x="258" y="158"/>
                </a:lnTo>
                <a:lnTo>
                  <a:pt x="258" y="158"/>
                </a:lnTo>
                <a:lnTo>
                  <a:pt x="256" y="168"/>
                </a:lnTo>
                <a:lnTo>
                  <a:pt x="254" y="176"/>
                </a:lnTo>
                <a:lnTo>
                  <a:pt x="250" y="180"/>
                </a:lnTo>
                <a:lnTo>
                  <a:pt x="246" y="182"/>
                </a:lnTo>
                <a:lnTo>
                  <a:pt x="240" y="186"/>
                </a:lnTo>
                <a:lnTo>
                  <a:pt x="238" y="188"/>
                </a:lnTo>
                <a:lnTo>
                  <a:pt x="238" y="192"/>
                </a:lnTo>
                <a:lnTo>
                  <a:pt x="238" y="192"/>
                </a:lnTo>
                <a:lnTo>
                  <a:pt x="236" y="196"/>
                </a:lnTo>
                <a:lnTo>
                  <a:pt x="232" y="204"/>
                </a:lnTo>
                <a:lnTo>
                  <a:pt x="226" y="212"/>
                </a:lnTo>
                <a:lnTo>
                  <a:pt x="214" y="220"/>
                </a:lnTo>
                <a:lnTo>
                  <a:pt x="214" y="220"/>
                </a:lnTo>
                <a:lnTo>
                  <a:pt x="208" y="222"/>
                </a:lnTo>
                <a:lnTo>
                  <a:pt x="206" y="222"/>
                </a:lnTo>
                <a:lnTo>
                  <a:pt x="204" y="220"/>
                </a:lnTo>
                <a:lnTo>
                  <a:pt x="202" y="218"/>
                </a:lnTo>
                <a:lnTo>
                  <a:pt x="202" y="216"/>
                </a:lnTo>
                <a:lnTo>
                  <a:pt x="196" y="220"/>
                </a:lnTo>
                <a:lnTo>
                  <a:pt x="196" y="220"/>
                </a:lnTo>
                <a:lnTo>
                  <a:pt x="182" y="234"/>
                </a:lnTo>
                <a:lnTo>
                  <a:pt x="180" y="240"/>
                </a:lnTo>
                <a:lnTo>
                  <a:pt x="180" y="242"/>
                </a:lnTo>
                <a:lnTo>
                  <a:pt x="180" y="244"/>
                </a:lnTo>
                <a:lnTo>
                  <a:pt x="180" y="244"/>
                </a:lnTo>
                <a:lnTo>
                  <a:pt x="186" y="246"/>
                </a:lnTo>
                <a:lnTo>
                  <a:pt x="190" y="248"/>
                </a:lnTo>
                <a:lnTo>
                  <a:pt x="192" y="252"/>
                </a:lnTo>
                <a:lnTo>
                  <a:pt x="192" y="258"/>
                </a:lnTo>
                <a:lnTo>
                  <a:pt x="192" y="258"/>
                </a:lnTo>
                <a:lnTo>
                  <a:pt x="192" y="262"/>
                </a:lnTo>
                <a:lnTo>
                  <a:pt x="194" y="266"/>
                </a:lnTo>
                <a:lnTo>
                  <a:pt x="198" y="270"/>
                </a:lnTo>
                <a:lnTo>
                  <a:pt x="208" y="276"/>
                </a:lnTo>
                <a:lnTo>
                  <a:pt x="220" y="286"/>
                </a:lnTo>
                <a:lnTo>
                  <a:pt x="220" y="286"/>
                </a:lnTo>
                <a:lnTo>
                  <a:pt x="226" y="292"/>
                </a:lnTo>
                <a:lnTo>
                  <a:pt x="230" y="296"/>
                </a:lnTo>
                <a:lnTo>
                  <a:pt x="230" y="300"/>
                </a:lnTo>
                <a:lnTo>
                  <a:pt x="228" y="300"/>
                </a:lnTo>
                <a:lnTo>
                  <a:pt x="224" y="302"/>
                </a:lnTo>
                <a:lnTo>
                  <a:pt x="224" y="302"/>
                </a:lnTo>
                <a:lnTo>
                  <a:pt x="226" y="304"/>
                </a:lnTo>
                <a:lnTo>
                  <a:pt x="226" y="304"/>
                </a:lnTo>
                <a:lnTo>
                  <a:pt x="232" y="308"/>
                </a:lnTo>
                <a:lnTo>
                  <a:pt x="224" y="310"/>
                </a:lnTo>
                <a:lnTo>
                  <a:pt x="224" y="310"/>
                </a:lnTo>
                <a:lnTo>
                  <a:pt x="218" y="312"/>
                </a:lnTo>
                <a:lnTo>
                  <a:pt x="216" y="310"/>
                </a:lnTo>
                <a:lnTo>
                  <a:pt x="216" y="308"/>
                </a:lnTo>
                <a:lnTo>
                  <a:pt x="216" y="306"/>
                </a:lnTo>
                <a:lnTo>
                  <a:pt x="210" y="308"/>
                </a:lnTo>
                <a:lnTo>
                  <a:pt x="210" y="308"/>
                </a:lnTo>
                <a:lnTo>
                  <a:pt x="202" y="310"/>
                </a:lnTo>
                <a:lnTo>
                  <a:pt x="196" y="310"/>
                </a:lnTo>
                <a:lnTo>
                  <a:pt x="190" y="310"/>
                </a:lnTo>
                <a:lnTo>
                  <a:pt x="186" y="312"/>
                </a:lnTo>
                <a:lnTo>
                  <a:pt x="186" y="312"/>
                </a:lnTo>
                <a:lnTo>
                  <a:pt x="182" y="312"/>
                </a:lnTo>
                <a:lnTo>
                  <a:pt x="180" y="312"/>
                </a:lnTo>
                <a:lnTo>
                  <a:pt x="178" y="310"/>
                </a:lnTo>
                <a:lnTo>
                  <a:pt x="174" y="312"/>
                </a:lnTo>
                <a:lnTo>
                  <a:pt x="174" y="312"/>
                </a:lnTo>
                <a:lnTo>
                  <a:pt x="170" y="316"/>
                </a:lnTo>
                <a:lnTo>
                  <a:pt x="168" y="316"/>
                </a:lnTo>
                <a:lnTo>
                  <a:pt x="166" y="316"/>
                </a:lnTo>
                <a:lnTo>
                  <a:pt x="162" y="322"/>
                </a:lnTo>
                <a:lnTo>
                  <a:pt x="162" y="322"/>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79" name="Oman"/>
          <p:cNvSpPr>
            <a:spLocks/>
          </p:cNvSpPr>
          <p:nvPr/>
        </p:nvSpPr>
        <p:spPr bwMode="auto">
          <a:xfrm>
            <a:off x="5569192" y="2046891"/>
            <a:ext cx="177748" cy="234441"/>
          </a:xfrm>
          <a:custGeom>
            <a:avLst/>
            <a:gdLst/>
            <a:ahLst/>
            <a:cxnLst>
              <a:cxn ang="0">
                <a:pos x="40" y="206"/>
              </a:cxn>
              <a:cxn ang="0">
                <a:pos x="54" y="200"/>
              </a:cxn>
              <a:cxn ang="0">
                <a:pos x="58" y="198"/>
              </a:cxn>
              <a:cxn ang="0">
                <a:pos x="72" y="194"/>
              </a:cxn>
              <a:cxn ang="0">
                <a:pos x="80" y="190"/>
              </a:cxn>
              <a:cxn ang="0">
                <a:pos x="84" y="182"/>
              </a:cxn>
              <a:cxn ang="0">
                <a:pos x="84" y="176"/>
              </a:cxn>
              <a:cxn ang="0">
                <a:pos x="90" y="174"/>
              </a:cxn>
              <a:cxn ang="0">
                <a:pos x="102" y="172"/>
              </a:cxn>
              <a:cxn ang="0">
                <a:pos x="108" y="166"/>
              </a:cxn>
              <a:cxn ang="0">
                <a:pos x="108" y="162"/>
              </a:cxn>
              <a:cxn ang="0">
                <a:pos x="110" y="150"/>
              </a:cxn>
              <a:cxn ang="0">
                <a:pos x="120" y="144"/>
              </a:cxn>
              <a:cxn ang="0">
                <a:pos x="126" y="144"/>
              </a:cxn>
              <a:cxn ang="0">
                <a:pos x="134" y="146"/>
              </a:cxn>
              <a:cxn ang="0">
                <a:pos x="128" y="132"/>
              </a:cxn>
              <a:cxn ang="0">
                <a:pos x="128" y="126"/>
              </a:cxn>
              <a:cxn ang="0">
                <a:pos x="130" y="108"/>
              </a:cxn>
              <a:cxn ang="0">
                <a:pos x="136" y="100"/>
              </a:cxn>
              <a:cxn ang="0">
                <a:pos x="136" y="100"/>
              </a:cxn>
              <a:cxn ang="0">
                <a:pos x="142" y="98"/>
              </a:cxn>
              <a:cxn ang="0">
                <a:pos x="150" y="74"/>
              </a:cxn>
              <a:cxn ang="0">
                <a:pos x="154" y="66"/>
              </a:cxn>
              <a:cxn ang="0">
                <a:pos x="156" y="62"/>
              </a:cxn>
              <a:cxn ang="0">
                <a:pos x="152" y="60"/>
              </a:cxn>
              <a:cxn ang="0">
                <a:pos x="150" y="58"/>
              </a:cxn>
              <a:cxn ang="0">
                <a:pos x="144" y="52"/>
              </a:cxn>
              <a:cxn ang="0">
                <a:pos x="142" y="46"/>
              </a:cxn>
              <a:cxn ang="0">
                <a:pos x="140" y="40"/>
              </a:cxn>
              <a:cxn ang="0">
                <a:pos x="136" y="36"/>
              </a:cxn>
              <a:cxn ang="0">
                <a:pos x="132" y="34"/>
              </a:cxn>
              <a:cxn ang="0">
                <a:pos x="128" y="34"/>
              </a:cxn>
              <a:cxn ang="0">
                <a:pos x="122" y="30"/>
              </a:cxn>
              <a:cxn ang="0">
                <a:pos x="106" y="22"/>
              </a:cxn>
              <a:cxn ang="0">
                <a:pos x="96" y="14"/>
              </a:cxn>
              <a:cxn ang="0">
                <a:pos x="96" y="12"/>
              </a:cxn>
              <a:cxn ang="0">
                <a:pos x="86" y="6"/>
              </a:cxn>
              <a:cxn ang="0">
                <a:pos x="82" y="0"/>
              </a:cxn>
              <a:cxn ang="0">
                <a:pos x="78" y="2"/>
              </a:cxn>
              <a:cxn ang="0">
                <a:pos x="70" y="4"/>
              </a:cxn>
              <a:cxn ang="0">
                <a:pos x="68" y="12"/>
              </a:cxn>
              <a:cxn ang="0">
                <a:pos x="68" y="20"/>
              </a:cxn>
              <a:cxn ang="0">
                <a:pos x="74" y="26"/>
              </a:cxn>
              <a:cxn ang="0">
                <a:pos x="74" y="28"/>
              </a:cxn>
              <a:cxn ang="0">
                <a:pos x="68" y="32"/>
              </a:cxn>
              <a:cxn ang="0">
                <a:pos x="60" y="36"/>
              </a:cxn>
              <a:cxn ang="0">
                <a:pos x="60" y="36"/>
              </a:cxn>
              <a:cxn ang="0">
                <a:pos x="64" y="42"/>
              </a:cxn>
              <a:cxn ang="0">
                <a:pos x="64" y="46"/>
              </a:cxn>
              <a:cxn ang="0">
                <a:pos x="58" y="54"/>
              </a:cxn>
              <a:cxn ang="0">
                <a:pos x="56" y="64"/>
              </a:cxn>
              <a:cxn ang="0">
                <a:pos x="70" y="76"/>
              </a:cxn>
              <a:cxn ang="0">
                <a:pos x="0" y="154"/>
              </a:cxn>
              <a:cxn ang="0">
                <a:pos x="0" y="164"/>
              </a:cxn>
              <a:cxn ang="0">
                <a:pos x="4" y="176"/>
              </a:cxn>
              <a:cxn ang="0">
                <a:pos x="18" y="184"/>
              </a:cxn>
              <a:cxn ang="0">
                <a:pos x="28" y="188"/>
              </a:cxn>
              <a:cxn ang="0">
                <a:pos x="34" y="192"/>
              </a:cxn>
              <a:cxn ang="0">
                <a:pos x="30" y="198"/>
              </a:cxn>
              <a:cxn ang="0">
                <a:pos x="34" y="204"/>
              </a:cxn>
              <a:cxn ang="0">
                <a:pos x="40" y="206"/>
              </a:cxn>
            </a:cxnLst>
            <a:rect l="0" t="0" r="r" b="b"/>
            <a:pathLst>
              <a:path w="156" h="206">
                <a:moveTo>
                  <a:pt x="40" y="206"/>
                </a:moveTo>
                <a:lnTo>
                  <a:pt x="40" y="206"/>
                </a:lnTo>
                <a:lnTo>
                  <a:pt x="46" y="204"/>
                </a:lnTo>
                <a:lnTo>
                  <a:pt x="54" y="200"/>
                </a:lnTo>
                <a:lnTo>
                  <a:pt x="54" y="200"/>
                </a:lnTo>
                <a:lnTo>
                  <a:pt x="58" y="198"/>
                </a:lnTo>
                <a:lnTo>
                  <a:pt x="66" y="196"/>
                </a:lnTo>
                <a:lnTo>
                  <a:pt x="72" y="194"/>
                </a:lnTo>
                <a:lnTo>
                  <a:pt x="80" y="190"/>
                </a:lnTo>
                <a:lnTo>
                  <a:pt x="80" y="190"/>
                </a:lnTo>
                <a:lnTo>
                  <a:pt x="84" y="184"/>
                </a:lnTo>
                <a:lnTo>
                  <a:pt x="84" y="182"/>
                </a:lnTo>
                <a:lnTo>
                  <a:pt x="84" y="180"/>
                </a:lnTo>
                <a:lnTo>
                  <a:pt x="84" y="176"/>
                </a:lnTo>
                <a:lnTo>
                  <a:pt x="84" y="176"/>
                </a:lnTo>
                <a:lnTo>
                  <a:pt x="90" y="174"/>
                </a:lnTo>
                <a:lnTo>
                  <a:pt x="98" y="172"/>
                </a:lnTo>
                <a:lnTo>
                  <a:pt x="102" y="172"/>
                </a:lnTo>
                <a:lnTo>
                  <a:pt x="106" y="170"/>
                </a:lnTo>
                <a:lnTo>
                  <a:pt x="108" y="166"/>
                </a:lnTo>
                <a:lnTo>
                  <a:pt x="108" y="162"/>
                </a:lnTo>
                <a:lnTo>
                  <a:pt x="108" y="162"/>
                </a:lnTo>
                <a:lnTo>
                  <a:pt x="108" y="156"/>
                </a:lnTo>
                <a:lnTo>
                  <a:pt x="110" y="150"/>
                </a:lnTo>
                <a:lnTo>
                  <a:pt x="116" y="144"/>
                </a:lnTo>
                <a:lnTo>
                  <a:pt x="120" y="144"/>
                </a:lnTo>
                <a:lnTo>
                  <a:pt x="126" y="144"/>
                </a:lnTo>
                <a:lnTo>
                  <a:pt x="126" y="144"/>
                </a:lnTo>
                <a:lnTo>
                  <a:pt x="132" y="146"/>
                </a:lnTo>
                <a:lnTo>
                  <a:pt x="134" y="146"/>
                </a:lnTo>
                <a:lnTo>
                  <a:pt x="134" y="144"/>
                </a:lnTo>
                <a:lnTo>
                  <a:pt x="128" y="132"/>
                </a:lnTo>
                <a:lnTo>
                  <a:pt x="128" y="132"/>
                </a:lnTo>
                <a:lnTo>
                  <a:pt x="128" y="126"/>
                </a:lnTo>
                <a:lnTo>
                  <a:pt x="126" y="120"/>
                </a:lnTo>
                <a:lnTo>
                  <a:pt x="130" y="108"/>
                </a:lnTo>
                <a:lnTo>
                  <a:pt x="134" y="100"/>
                </a:lnTo>
                <a:lnTo>
                  <a:pt x="136" y="100"/>
                </a:lnTo>
                <a:lnTo>
                  <a:pt x="136" y="100"/>
                </a:lnTo>
                <a:lnTo>
                  <a:pt x="136" y="100"/>
                </a:lnTo>
                <a:lnTo>
                  <a:pt x="140" y="102"/>
                </a:lnTo>
                <a:lnTo>
                  <a:pt x="142" y="98"/>
                </a:lnTo>
                <a:lnTo>
                  <a:pt x="146" y="88"/>
                </a:lnTo>
                <a:lnTo>
                  <a:pt x="150" y="74"/>
                </a:lnTo>
                <a:lnTo>
                  <a:pt x="154" y="66"/>
                </a:lnTo>
                <a:lnTo>
                  <a:pt x="154" y="66"/>
                </a:lnTo>
                <a:lnTo>
                  <a:pt x="156" y="64"/>
                </a:lnTo>
                <a:lnTo>
                  <a:pt x="156" y="62"/>
                </a:lnTo>
                <a:lnTo>
                  <a:pt x="154" y="60"/>
                </a:lnTo>
                <a:lnTo>
                  <a:pt x="152" y="60"/>
                </a:lnTo>
                <a:lnTo>
                  <a:pt x="152" y="60"/>
                </a:lnTo>
                <a:lnTo>
                  <a:pt x="150" y="58"/>
                </a:lnTo>
                <a:lnTo>
                  <a:pt x="146" y="56"/>
                </a:lnTo>
                <a:lnTo>
                  <a:pt x="144" y="52"/>
                </a:lnTo>
                <a:lnTo>
                  <a:pt x="142" y="46"/>
                </a:lnTo>
                <a:lnTo>
                  <a:pt x="142" y="46"/>
                </a:lnTo>
                <a:lnTo>
                  <a:pt x="140" y="40"/>
                </a:lnTo>
                <a:lnTo>
                  <a:pt x="140" y="40"/>
                </a:lnTo>
                <a:lnTo>
                  <a:pt x="138" y="40"/>
                </a:lnTo>
                <a:lnTo>
                  <a:pt x="136" y="36"/>
                </a:lnTo>
                <a:lnTo>
                  <a:pt x="136" y="36"/>
                </a:lnTo>
                <a:lnTo>
                  <a:pt x="132" y="34"/>
                </a:lnTo>
                <a:lnTo>
                  <a:pt x="130" y="34"/>
                </a:lnTo>
                <a:lnTo>
                  <a:pt x="128" y="34"/>
                </a:lnTo>
                <a:lnTo>
                  <a:pt x="122" y="30"/>
                </a:lnTo>
                <a:lnTo>
                  <a:pt x="122" y="30"/>
                </a:lnTo>
                <a:lnTo>
                  <a:pt x="114" y="26"/>
                </a:lnTo>
                <a:lnTo>
                  <a:pt x="106" y="22"/>
                </a:lnTo>
                <a:lnTo>
                  <a:pt x="100" y="18"/>
                </a:lnTo>
                <a:lnTo>
                  <a:pt x="96" y="14"/>
                </a:lnTo>
                <a:lnTo>
                  <a:pt x="96" y="14"/>
                </a:lnTo>
                <a:lnTo>
                  <a:pt x="96" y="12"/>
                </a:lnTo>
                <a:lnTo>
                  <a:pt x="92" y="8"/>
                </a:lnTo>
                <a:lnTo>
                  <a:pt x="86" y="6"/>
                </a:lnTo>
                <a:lnTo>
                  <a:pt x="82" y="0"/>
                </a:lnTo>
                <a:lnTo>
                  <a:pt x="82" y="0"/>
                </a:lnTo>
                <a:lnTo>
                  <a:pt x="80" y="2"/>
                </a:lnTo>
                <a:lnTo>
                  <a:pt x="78" y="2"/>
                </a:lnTo>
                <a:lnTo>
                  <a:pt x="74" y="2"/>
                </a:lnTo>
                <a:lnTo>
                  <a:pt x="70" y="4"/>
                </a:lnTo>
                <a:lnTo>
                  <a:pt x="68" y="8"/>
                </a:lnTo>
                <a:lnTo>
                  <a:pt x="68" y="12"/>
                </a:lnTo>
                <a:lnTo>
                  <a:pt x="68" y="12"/>
                </a:lnTo>
                <a:lnTo>
                  <a:pt x="68" y="20"/>
                </a:lnTo>
                <a:lnTo>
                  <a:pt x="72" y="24"/>
                </a:lnTo>
                <a:lnTo>
                  <a:pt x="74" y="26"/>
                </a:lnTo>
                <a:lnTo>
                  <a:pt x="74" y="28"/>
                </a:lnTo>
                <a:lnTo>
                  <a:pt x="74" y="28"/>
                </a:lnTo>
                <a:lnTo>
                  <a:pt x="70" y="32"/>
                </a:lnTo>
                <a:lnTo>
                  <a:pt x="68" y="32"/>
                </a:lnTo>
                <a:lnTo>
                  <a:pt x="64" y="32"/>
                </a:lnTo>
                <a:lnTo>
                  <a:pt x="60" y="36"/>
                </a:lnTo>
                <a:lnTo>
                  <a:pt x="60" y="36"/>
                </a:lnTo>
                <a:lnTo>
                  <a:pt x="60" y="36"/>
                </a:lnTo>
                <a:lnTo>
                  <a:pt x="62" y="38"/>
                </a:lnTo>
                <a:lnTo>
                  <a:pt x="64" y="42"/>
                </a:lnTo>
                <a:lnTo>
                  <a:pt x="64" y="46"/>
                </a:lnTo>
                <a:lnTo>
                  <a:pt x="64" y="46"/>
                </a:lnTo>
                <a:lnTo>
                  <a:pt x="60" y="52"/>
                </a:lnTo>
                <a:lnTo>
                  <a:pt x="58" y="54"/>
                </a:lnTo>
                <a:lnTo>
                  <a:pt x="56" y="56"/>
                </a:lnTo>
                <a:lnTo>
                  <a:pt x="56" y="64"/>
                </a:lnTo>
                <a:lnTo>
                  <a:pt x="56" y="64"/>
                </a:lnTo>
                <a:lnTo>
                  <a:pt x="70" y="76"/>
                </a:lnTo>
                <a:lnTo>
                  <a:pt x="60" y="126"/>
                </a:lnTo>
                <a:lnTo>
                  <a:pt x="0" y="154"/>
                </a:lnTo>
                <a:lnTo>
                  <a:pt x="0" y="154"/>
                </a:lnTo>
                <a:lnTo>
                  <a:pt x="0" y="164"/>
                </a:lnTo>
                <a:lnTo>
                  <a:pt x="2" y="172"/>
                </a:lnTo>
                <a:lnTo>
                  <a:pt x="4" y="176"/>
                </a:lnTo>
                <a:lnTo>
                  <a:pt x="10" y="180"/>
                </a:lnTo>
                <a:lnTo>
                  <a:pt x="18" y="184"/>
                </a:lnTo>
                <a:lnTo>
                  <a:pt x="28" y="188"/>
                </a:lnTo>
                <a:lnTo>
                  <a:pt x="28" y="188"/>
                </a:lnTo>
                <a:lnTo>
                  <a:pt x="32" y="190"/>
                </a:lnTo>
                <a:lnTo>
                  <a:pt x="34" y="192"/>
                </a:lnTo>
                <a:lnTo>
                  <a:pt x="32" y="196"/>
                </a:lnTo>
                <a:lnTo>
                  <a:pt x="30" y="198"/>
                </a:lnTo>
                <a:lnTo>
                  <a:pt x="30" y="202"/>
                </a:lnTo>
                <a:lnTo>
                  <a:pt x="34" y="204"/>
                </a:lnTo>
                <a:lnTo>
                  <a:pt x="40" y="206"/>
                </a:lnTo>
                <a:lnTo>
                  <a:pt x="40" y="206"/>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80" name="Freeform 175"/>
          <p:cNvSpPr>
            <a:spLocks/>
          </p:cNvSpPr>
          <p:nvPr/>
        </p:nvSpPr>
        <p:spPr bwMode="auto">
          <a:xfrm>
            <a:off x="6394126" y="1942189"/>
            <a:ext cx="77479" cy="36418"/>
          </a:xfrm>
          <a:custGeom>
            <a:avLst/>
            <a:gdLst/>
            <a:ahLst/>
            <a:cxnLst>
              <a:cxn ang="0">
                <a:pos x="0" y="22"/>
              </a:cxn>
              <a:cxn ang="0">
                <a:pos x="0" y="22"/>
              </a:cxn>
              <a:cxn ang="0">
                <a:pos x="4" y="10"/>
              </a:cxn>
              <a:cxn ang="0">
                <a:pos x="8" y="4"/>
              </a:cxn>
              <a:cxn ang="0">
                <a:pos x="14" y="0"/>
              </a:cxn>
              <a:cxn ang="0">
                <a:pos x="22" y="0"/>
              </a:cxn>
              <a:cxn ang="0">
                <a:pos x="22" y="0"/>
              </a:cxn>
              <a:cxn ang="0">
                <a:pos x="32" y="0"/>
              </a:cxn>
              <a:cxn ang="0">
                <a:pos x="38" y="2"/>
              </a:cxn>
              <a:cxn ang="0">
                <a:pos x="42" y="4"/>
              </a:cxn>
              <a:cxn ang="0">
                <a:pos x="46" y="6"/>
              </a:cxn>
              <a:cxn ang="0">
                <a:pos x="46" y="6"/>
              </a:cxn>
              <a:cxn ang="0">
                <a:pos x="48" y="8"/>
              </a:cxn>
              <a:cxn ang="0">
                <a:pos x="50" y="6"/>
              </a:cxn>
              <a:cxn ang="0">
                <a:pos x="50" y="6"/>
              </a:cxn>
              <a:cxn ang="0">
                <a:pos x="52" y="10"/>
              </a:cxn>
              <a:cxn ang="0">
                <a:pos x="54" y="12"/>
              </a:cxn>
              <a:cxn ang="0">
                <a:pos x="64" y="12"/>
              </a:cxn>
              <a:cxn ang="0">
                <a:pos x="64" y="12"/>
              </a:cxn>
              <a:cxn ang="0">
                <a:pos x="66" y="14"/>
              </a:cxn>
              <a:cxn ang="0">
                <a:pos x="68" y="18"/>
              </a:cxn>
              <a:cxn ang="0">
                <a:pos x="68" y="28"/>
              </a:cxn>
              <a:cxn ang="0">
                <a:pos x="68" y="28"/>
              </a:cxn>
              <a:cxn ang="0">
                <a:pos x="68" y="28"/>
              </a:cxn>
              <a:cxn ang="0">
                <a:pos x="66" y="30"/>
              </a:cxn>
              <a:cxn ang="0">
                <a:pos x="58" y="28"/>
              </a:cxn>
              <a:cxn ang="0">
                <a:pos x="50" y="28"/>
              </a:cxn>
              <a:cxn ang="0">
                <a:pos x="42" y="30"/>
              </a:cxn>
              <a:cxn ang="0">
                <a:pos x="42" y="30"/>
              </a:cxn>
              <a:cxn ang="0">
                <a:pos x="38" y="32"/>
              </a:cxn>
              <a:cxn ang="0">
                <a:pos x="32" y="32"/>
              </a:cxn>
              <a:cxn ang="0">
                <a:pos x="28" y="30"/>
              </a:cxn>
              <a:cxn ang="0">
                <a:pos x="24" y="26"/>
              </a:cxn>
              <a:cxn ang="0">
                <a:pos x="24" y="26"/>
              </a:cxn>
              <a:cxn ang="0">
                <a:pos x="20" y="24"/>
              </a:cxn>
              <a:cxn ang="0">
                <a:pos x="12" y="24"/>
              </a:cxn>
              <a:cxn ang="0">
                <a:pos x="6" y="24"/>
              </a:cxn>
              <a:cxn ang="0">
                <a:pos x="0" y="22"/>
              </a:cxn>
              <a:cxn ang="0">
                <a:pos x="0" y="22"/>
              </a:cxn>
            </a:cxnLst>
            <a:rect l="0" t="0" r="r" b="b"/>
            <a:pathLst>
              <a:path w="68" h="32">
                <a:moveTo>
                  <a:pt x="0" y="22"/>
                </a:moveTo>
                <a:lnTo>
                  <a:pt x="0" y="22"/>
                </a:lnTo>
                <a:lnTo>
                  <a:pt x="4" y="10"/>
                </a:lnTo>
                <a:lnTo>
                  <a:pt x="8" y="4"/>
                </a:lnTo>
                <a:lnTo>
                  <a:pt x="14" y="0"/>
                </a:lnTo>
                <a:lnTo>
                  <a:pt x="22" y="0"/>
                </a:lnTo>
                <a:lnTo>
                  <a:pt x="22" y="0"/>
                </a:lnTo>
                <a:lnTo>
                  <a:pt x="32" y="0"/>
                </a:lnTo>
                <a:lnTo>
                  <a:pt x="38" y="2"/>
                </a:lnTo>
                <a:lnTo>
                  <a:pt x="42" y="4"/>
                </a:lnTo>
                <a:lnTo>
                  <a:pt x="46" y="6"/>
                </a:lnTo>
                <a:lnTo>
                  <a:pt x="46" y="6"/>
                </a:lnTo>
                <a:lnTo>
                  <a:pt x="48" y="8"/>
                </a:lnTo>
                <a:lnTo>
                  <a:pt x="50" y="6"/>
                </a:lnTo>
                <a:lnTo>
                  <a:pt x="50" y="6"/>
                </a:lnTo>
                <a:lnTo>
                  <a:pt x="52" y="10"/>
                </a:lnTo>
                <a:lnTo>
                  <a:pt x="54" y="12"/>
                </a:lnTo>
                <a:lnTo>
                  <a:pt x="64" y="12"/>
                </a:lnTo>
                <a:lnTo>
                  <a:pt x="64" y="12"/>
                </a:lnTo>
                <a:lnTo>
                  <a:pt x="66" y="14"/>
                </a:lnTo>
                <a:lnTo>
                  <a:pt x="68" y="18"/>
                </a:lnTo>
                <a:lnTo>
                  <a:pt x="68" y="28"/>
                </a:lnTo>
                <a:lnTo>
                  <a:pt x="68" y="28"/>
                </a:lnTo>
                <a:lnTo>
                  <a:pt x="68" y="28"/>
                </a:lnTo>
                <a:lnTo>
                  <a:pt x="66" y="30"/>
                </a:lnTo>
                <a:lnTo>
                  <a:pt x="58" y="28"/>
                </a:lnTo>
                <a:lnTo>
                  <a:pt x="50" y="28"/>
                </a:lnTo>
                <a:lnTo>
                  <a:pt x="42" y="30"/>
                </a:lnTo>
                <a:lnTo>
                  <a:pt x="42" y="30"/>
                </a:lnTo>
                <a:lnTo>
                  <a:pt x="38" y="32"/>
                </a:lnTo>
                <a:lnTo>
                  <a:pt x="32" y="32"/>
                </a:lnTo>
                <a:lnTo>
                  <a:pt x="28" y="30"/>
                </a:lnTo>
                <a:lnTo>
                  <a:pt x="24" y="26"/>
                </a:lnTo>
                <a:lnTo>
                  <a:pt x="24" y="26"/>
                </a:lnTo>
                <a:lnTo>
                  <a:pt x="20" y="24"/>
                </a:lnTo>
                <a:lnTo>
                  <a:pt x="12" y="24"/>
                </a:lnTo>
                <a:lnTo>
                  <a:pt x="6" y="24"/>
                </a:lnTo>
                <a:lnTo>
                  <a:pt x="0" y="22"/>
                </a:lnTo>
                <a:lnTo>
                  <a:pt x="0" y="22"/>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81" name="Freeform 176"/>
          <p:cNvSpPr>
            <a:spLocks/>
          </p:cNvSpPr>
          <p:nvPr/>
        </p:nvSpPr>
        <p:spPr bwMode="auto">
          <a:xfrm>
            <a:off x="6177638" y="1905771"/>
            <a:ext cx="202815" cy="104702"/>
          </a:xfrm>
          <a:custGeom>
            <a:avLst/>
            <a:gdLst/>
            <a:ahLst/>
            <a:cxnLst>
              <a:cxn ang="0">
                <a:pos x="24" y="0"/>
              </a:cxn>
              <a:cxn ang="0">
                <a:pos x="36" y="2"/>
              </a:cxn>
              <a:cxn ang="0">
                <a:pos x="48" y="6"/>
              </a:cxn>
              <a:cxn ang="0">
                <a:pos x="52" y="8"/>
              </a:cxn>
              <a:cxn ang="0">
                <a:pos x="58" y="6"/>
              </a:cxn>
              <a:cxn ang="0">
                <a:pos x="70" y="8"/>
              </a:cxn>
              <a:cxn ang="0">
                <a:pos x="76" y="12"/>
              </a:cxn>
              <a:cxn ang="0">
                <a:pos x="100" y="26"/>
              </a:cxn>
              <a:cxn ang="0">
                <a:pos x="110" y="30"/>
              </a:cxn>
              <a:cxn ang="0">
                <a:pos x="112" y="34"/>
              </a:cxn>
              <a:cxn ang="0">
                <a:pos x="118" y="34"/>
              </a:cxn>
              <a:cxn ang="0">
                <a:pos x="126" y="36"/>
              </a:cxn>
              <a:cxn ang="0">
                <a:pos x="128" y="42"/>
              </a:cxn>
              <a:cxn ang="0">
                <a:pos x="132" y="42"/>
              </a:cxn>
              <a:cxn ang="0">
                <a:pos x="156" y="40"/>
              </a:cxn>
              <a:cxn ang="0">
                <a:pos x="176" y="46"/>
              </a:cxn>
              <a:cxn ang="0">
                <a:pos x="178" y="50"/>
              </a:cxn>
              <a:cxn ang="0">
                <a:pos x="172" y="60"/>
              </a:cxn>
              <a:cxn ang="0">
                <a:pos x="164" y="70"/>
              </a:cxn>
              <a:cxn ang="0">
                <a:pos x="166" y="72"/>
              </a:cxn>
              <a:cxn ang="0">
                <a:pos x="168" y="84"/>
              </a:cxn>
              <a:cxn ang="0">
                <a:pos x="164" y="92"/>
              </a:cxn>
              <a:cxn ang="0">
                <a:pos x="156" y="92"/>
              </a:cxn>
              <a:cxn ang="0">
                <a:pos x="150" y="92"/>
              </a:cxn>
              <a:cxn ang="0">
                <a:pos x="146" y="92"/>
              </a:cxn>
              <a:cxn ang="0">
                <a:pos x="138" y="90"/>
              </a:cxn>
              <a:cxn ang="0">
                <a:pos x="128" y="88"/>
              </a:cxn>
              <a:cxn ang="0">
                <a:pos x="122" y="88"/>
              </a:cxn>
              <a:cxn ang="0">
                <a:pos x="116" y="82"/>
              </a:cxn>
              <a:cxn ang="0">
                <a:pos x="112" y="82"/>
              </a:cxn>
              <a:cxn ang="0">
                <a:pos x="110" y="80"/>
              </a:cxn>
              <a:cxn ang="0">
                <a:pos x="102" y="72"/>
              </a:cxn>
              <a:cxn ang="0">
                <a:pos x="84" y="66"/>
              </a:cxn>
              <a:cxn ang="0">
                <a:pos x="76" y="66"/>
              </a:cxn>
              <a:cxn ang="0">
                <a:pos x="74" y="68"/>
              </a:cxn>
              <a:cxn ang="0">
                <a:pos x="70" y="68"/>
              </a:cxn>
              <a:cxn ang="0">
                <a:pos x="58" y="66"/>
              </a:cxn>
              <a:cxn ang="0">
                <a:pos x="54" y="64"/>
              </a:cxn>
              <a:cxn ang="0">
                <a:pos x="54" y="60"/>
              </a:cxn>
              <a:cxn ang="0">
                <a:pos x="40" y="56"/>
              </a:cxn>
              <a:cxn ang="0">
                <a:pos x="24" y="46"/>
              </a:cxn>
              <a:cxn ang="0">
                <a:pos x="20" y="42"/>
              </a:cxn>
              <a:cxn ang="0">
                <a:pos x="10" y="42"/>
              </a:cxn>
              <a:cxn ang="0">
                <a:pos x="4" y="38"/>
              </a:cxn>
              <a:cxn ang="0">
                <a:pos x="2" y="32"/>
              </a:cxn>
              <a:cxn ang="0">
                <a:pos x="14" y="22"/>
              </a:cxn>
              <a:cxn ang="0">
                <a:pos x="18" y="16"/>
              </a:cxn>
              <a:cxn ang="0">
                <a:pos x="16" y="12"/>
              </a:cxn>
              <a:cxn ang="0">
                <a:pos x="18" y="10"/>
              </a:cxn>
              <a:cxn ang="0">
                <a:pos x="24" y="0"/>
              </a:cxn>
            </a:cxnLst>
            <a:rect l="0" t="0" r="r" b="b"/>
            <a:pathLst>
              <a:path w="178" h="92">
                <a:moveTo>
                  <a:pt x="24" y="0"/>
                </a:moveTo>
                <a:lnTo>
                  <a:pt x="24" y="0"/>
                </a:lnTo>
                <a:lnTo>
                  <a:pt x="30" y="2"/>
                </a:lnTo>
                <a:lnTo>
                  <a:pt x="36" y="2"/>
                </a:lnTo>
                <a:lnTo>
                  <a:pt x="42" y="2"/>
                </a:lnTo>
                <a:lnTo>
                  <a:pt x="48" y="6"/>
                </a:lnTo>
                <a:lnTo>
                  <a:pt x="48" y="6"/>
                </a:lnTo>
                <a:lnTo>
                  <a:pt x="52" y="8"/>
                </a:lnTo>
                <a:lnTo>
                  <a:pt x="54" y="8"/>
                </a:lnTo>
                <a:lnTo>
                  <a:pt x="58" y="6"/>
                </a:lnTo>
                <a:lnTo>
                  <a:pt x="64" y="6"/>
                </a:lnTo>
                <a:lnTo>
                  <a:pt x="70" y="8"/>
                </a:lnTo>
                <a:lnTo>
                  <a:pt x="76" y="12"/>
                </a:lnTo>
                <a:lnTo>
                  <a:pt x="76" y="12"/>
                </a:lnTo>
                <a:lnTo>
                  <a:pt x="92" y="22"/>
                </a:lnTo>
                <a:lnTo>
                  <a:pt x="100" y="26"/>
                </a:lnTo>
                <a:lnTo>
                  <a:pt x="106" y="26"/>
                </a:lnTo>
                <a:lnTo>
                  <a:pt x="110" y="30"/>
                </a:lnTo>
                <a:lnTo>
                  <a:pt x="110" y="30"/>
                </a:lnTo>
                <a:lnTo>
                  <a:pt x="112" y="34"/>
                </a:lnTo>
                <a:lnTo>
                  <a:pt x="114" y="36"/>
                </a:lnTo>
                <a:lnTo>
                  <a:pt x="118" y="34"/>
                </a:lnTo>
                <a:lnTo>
                  <a:pt x="124" y="34"/>
                </a:lnTo>
                <a:lnTo>
                  <a:pt x="126" y="36"/>
                </a:lnTo>
                <a:lnTo>
                  <a:pt x="128" y="42"/>
                </a:lnTo>
                <a:lnTo>
                  <a:pt x="128" y="42"/>
                </a:lnTo>
                <a:lnTo>
                  <a:pt x="130" y="42"/>
                </a:lnTo>
                <a:lnTo>
                  <a:pt x="132" y="42"/>
                </a:lnTo>
                <a:lnTo>
                  <a:pt x="140" y="40"/>
                </a:lnTo>
                <a:lnTo>
                  <a:pt x="156" y="40"/>
                </a:lnTo>
                <a:lnTo>
                  <a:pt x="164" y="42"/>
                </a:lnTo>
                <a:lnTo>
                  <a:pt x="176" y="46"/>
                </a:lnTo>
                <a:lnTo>
                  <a:pt x="176" y="46"/>
                </a:lnTo>
                <a:lnTo>
                  <a:pt x="178" y="50"/>
                </a:lnTo>
                <a:lnTo>
                  <a:pt x="178" y="54"/>
                </a:lnTo>
                <a:lnTo>
                  <a:pt x="172" y="60"/>
                </a:lnTo>
                <a:lnTo>
                  <a:pt x="166" y="66"/>
                </a:lnTo>
                <a:lnTo>
                  <a:pt x="164" y="70"/>
                </a:lnTo>
                <a:lnTo>
                  <a:pt x="166" y="72"/>
                </a:lnTo>
                <a:lnTo>
                  <a:pt x="166" y="72"/>
                </a:lnTo>
                <a:lnTo>
                  <a:pt x="168" y="78"/>
                </a:lnTo>
                <a:lnTo>
                  <a:pt x="168" y="84"/>
                </a:lnTo>
                <a:lnTo>
                  <a:pt x="166" y="88"/>
                </a:lnTo>
                <a:lnTo>
                  <a:pt x="164" y="92"/>
                </a:lnTo>
                <a:lnTo>
                  <a:pt x="164" y="92"/>
                </a:lnTo>
                <a:lnTo>
                  <a:pt x="156" y="92"/>
                </a:lnTo>
                <a:lnTo>
                  <a:pt x="152" y="92"/>
                </a:lnTo>
                <a:lnTo>
                  <a:pt x="150" y="92"/>
                </a:lnTo>
                <a:lnTo>
                  <a:pt x="146" y="92"/>
                </a:lnTo>
                <a:lnTo>
                  <a:pt x="146" y="92"/>
                </a:lnTo>
                <a:lnTo>
                  <a:pt x="140" y="92"/>
                </a:lnTo>
                <a:lnTo>
                  <a:pt x="138" y="90"/>
                </a:lnTo>
                <a:lnTo>
                  <a:pt x="136" y="88"/>
                </a:lnTo>
                <a:lnTo>
                  <a:pt x="128" y="88"/>
                </a:lnTo>
                <a:lnTo>
                  <a:pt x="128" y="88"/>
                </a:lnTo>
                <a:lnTo>
                  <a:pt x="122" y="88"/>
                </a:lnTo>
                <a:lnTo>
                  <a:pt x="118" y="84"/>
                </a:lnTo>
                <a:lnTo>
                  <a:pt x="116" y="82"/>
                </a:lnTo>
                <a:lnTo>
                  <a:pt x="112" y="82"/>
                </a:lnTo>
                <a:lnTo>
                  <a:pt x="112" y="82"/>
                </a:lnTo>
                <a:lnTo>
                  <a:pt x="110" y="82"/>
                </a:lnTo>
                <a:lnTo>
                  <a:pt x="110" y="80"/>
                </a:lnTo>
                <a:lnTo>
                  <a:pt x="108" y="76"/>
                </a:lnTo>
                <a:lnTo>
                  <a:pt x="102" y="72"/>
                </a:lnTo>
                <a:lnTo>
                  <a:pt x="102" y="72"/>
                </a:lnTo>
                <a:lnTo>
                  <a:pt x="84" y="66"/>
                </a:lnTo>
                <a:lnTo>
                  <a:pt x="78" y="66"/>
                </a:lnTo>
                <a:lnTo>
                  <a:pt x="76" y="66"/>
                </a:lnTo>
                <a:lnTo>
                  <a:pt x="74" y="68"/>
                </a:lnTo>
                <a:lnTo>
                  <a:pt x="74" y="68"/>
                </a:lnTo>
                <a:lnTo>
                  <a:pt x="74" y="68"/>
                </a:lnTo>
                <a:lnTo>
                  <a:pt x="70" y="68"/>
                </a:lnTo>
                <a:lnTo>
                  <a:pt x="58" y="66"/>
                </a:lnTo>
                <a:lnTo>
                  <a:pt x="58" y="66"/>
                </a:lnTo>
                <a:lnTo>
                  <a:pt x="54" y="66"/>
                </a:lnTo>
                <a:lnTo>
                  <a:pt x="54" y="64"/>
                </a:lnTo>
                <a:lnTo>
                  <a:pt x="56" y="62"/>
                </a:lnTo>
                <a:lnTo>
                  <a:pt x="54" y="60"/>
                </a:lnTo>
                <a:lnTo>
                  <a:pt x="54" y="60"/>
                </a:lnTo>
                <a:lnTo>
                  <a:pt x="40" y="56"/>
                </a:lnTo>
                <a:lnTo>
                  <a:pt x="32" y="52"/>
                </a:lnTo>
                <a:lnTo>
                  <a:pt x="24" y="46"/>
                </a:lnTo>
                <a:lnTo>
                  <a:pt x="24" y="46"/>
                </a:lnTo>
                <a:lnTo>
                  <a:pt x="20" y="42"/>
                </a:lnTo>
                <a:lnTo>
                  <a:pt x="16" y="42"/>
                </a:lnTo>
                <a:lnTo>
                  <a:pt x="10" y="42"/>
                </a:lnTo>
                <a:lnTo>
                  <a:pt x="4" y="38"/>
                </a:lnTo>
                <a:lnTo>
                  <a:pt x="4" y="38"/>
                </a:lnTo>
                <a:lnTo>
                  <a:pt x="0" y="36"/>
                </a:lnTo>
                <a:lnTo>
                  <a:pt x="2" y="32"/>
                </a:lnTo>
                <a:lnTo>
                  <a:pt x="8" y="28"/>
                </a:lnTo>
                <a:lnTo>
                  <a:pt x="14" y="22"/>
                </a:lnTo>
                <a:lnTo>
                  <a:pt x="14" y="22"/>
                </a:lnTo>
                <a:lnTo>
                  <a:pt x="18" y="16"/>
                </a:lnTo>
                <a:lnTo>
                  <a:pt x="18" y="14"/>
                </a:lnTo>
                <a:lnTo>
                  <a:pt x="16" y="12"/>
                </a:lnTo>
                <a:lnTo>
                  <a:pt x="18" y="10"/>
                </a:lnTo>
                <a:lnTo>
                  <a:pt x="18" y="10"/>
                </a:lnTo>
                <a:lnTo>
                  <a:pt x="22" y="2"/>
                </a:lnTo>
                <a:lnTo>
                  <a:pt x="24" y="0"/>
                </a:lnTo>
                <a:lnTo>
                  <a:pt x="24" y="0"/>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82" name="Freeform 177"/>
          <p:cNvSpPr>
            <a:spLocks/>
          </p:cNvSpPr>
          <p:nvPr/>
        </p:nvSpPr>
        <p:spPr bwMode="auto">
          <a:xfrm>
            <a:off x="6369058" y="1983159"/>
            <a:ext cx="143566" cy="179814"/>
          </a:xfrm>
          <a:custGeom>
            <a:avLst/>
            <a:gdLst/>
            <a:ahLst/>
            <a:cxnLst>
              <a:cxn ang="0">
                <a:pos x="118" y="150"/>
              </a:cxn>
              <a:cxn ang="0">
                <a:pos x="122" y="144"/>
              </a:cxn>
              <a:cxn ang="0">
                <a:pos x="122" y="130"/>
              </a:cxn>
              <a:cxn ang="0">
                <a:pos x="124" y="128"/>
              </a:cxn>
              <a:cxn ang="0">
                <a:pos x="112" y="98"/>
              </a:cxn>
              <a:cxn ang="0">
                <a:pos x="104" y="86"/>
              </a:cxn>
              <a:cxn ang="0">
                <a:pos x="98" y="88"/>
              </a:cxn>
              <a:cxn ang="0">
                <a:pos x="94" y="90"/>
              </a:cxn>
              <a:cxn ang="0">
                <a:pos x="90" y="90"/>
              </a:cxn>
              <a:cxn ang="0">
                <a:pos x="82" y="86"/>
              </a:cxn>
              <a:cxn ang="0">
                <a:pos x="82" y="76"/>
              </a:cxn>
              <a:cxn ang="0">
                <a:pos x="96" y="70"/>
              </a:cxn>
              <a:cxn ang="0">
                <a:pos x="106" y="64"/>
              </a:cxn>
              <a:cxn ang="0">
                <a:pos x="110" y="56"/>
              </a:cxn>
              <a:cxn ang="0">
                <a:pos x="112" y="50"/>
              </a:cxn>
              <a:cxn ang="0">
                <a:pos x="92" y="46"/>
              </a:cxn>
              <a:cxn ang="0">
                <a:pos x="62" y="44"/>
              </a:cxn>
              <a:cxn ang="0">
                <a:pos x="50" y="36"/>
              </a:cxn>
              <a:cxn ang="0">
                <a:pos x="40" y="18"/>
              </a:cxn>
              <a:cxn ang="0">
                <a:pos x="34" y="22"/>
              </a:cxn>
              <a:cxn ang="0">
                <a:pos x="32" y="12"/>
              </a:cxn>
              <a:cxn ang="0">
                <a:pos x="28" y="10"/>
              </a:cxn>
              <a:cxn ang="0">
                <a:pos x="24" y="14"/>
              </a:cxn>
              <a:cxn ang="0">
                <a:pos x="16" y="0"/>
              </a:cxn>
              <a:cxn ang="0">
                <a:pos x="14" y="14"/>
              </a:cxn>
              <a:cxn ang="0">
                <a:pos x="2" y="22"/>
              </a:cxn>
              <a:cxn ang="0">
                <a:pos x="4" y="26"/>
              </a:cxn>
              <a:cxn ang="0">
                <a:pos x="28" y="40"/>
              </a:cxn>
              <a:cxn ang="0">
                <a:pos x="26" y="44"/>
              </a:cxn>
              <a:cxn ang="0">
                <a:pos x="18" y="54"/>
              </a:cxn>
              <a:cxn ang="0">
                <a:pos x="20" y="64"/>
              </a:cxn>
              <a:cxn ang="0">
                <a:pos x="38" y="76"/>
              </a:cxn>
              <a:cxn ang="0">
                <a:pos x="38" y="88"/>
              </a:cxn>
              <a:cxn ang="0">
                <a:pos x="40" y="94"/>
              </a:cxn>
              <a:cxn ang="0">
                <a:pos x="38" y="98"/>
              </a:cxn>
              <a:cxn ang="0">
                <a:pos x="46" y="110"/>
              </a:cxn>
              <a:cxn ang="0">
                <a:pos x="46" y="128"/>
              </a:cxn>
              <a:cxn ang="0">
                <a:pos x="50" y="130"/>
              </a:cxn>
              <a:cxn ang="0">
                <a:pos x="54" y="128"/>
              </a:cxn>
              <a:cxn ang="0">
                <a:pos x="58" y="130"/>
              </a:cxn>
              <a:cxn ang="0">
                <a:pos x="62" y="126"/>
              </a:cxn>
              <a:cxn ang="0">
                <a:pos x="64" y="126"/>
              </a:cxn>
              <a:cxn ang="0">
                <a:pos x="64" y="120"/>
              </a:cxn>
              <a:cxn ang="0">
                <a:pos x="72" y="126"/>
              </a:cxn>
              <a:cxn ang="0">
                <a:pos x="76" y="120"/>
              </a:cxn>
              <a:cxn ang="0">
                <a:pos x="78" y="116"/>
              </a:cxn>
              <a:cxn ang="0">
                <a:pos x="76" y="112"/>
              </a:cxn>
              <a:cxn ang="0">
                <a:pos x="78" y="108"/>
              </a:cxn>
              <a:cxn ang="0">
                <a:pos x="74" y="104"/>
              </a:cxn>
              <a:cxn ang="0">
                <a:pos x="74" y="102"/>
              </a:cxn>
              <a:cxn ang="0">
                <a:pos x="76" y="96"/>
              </a:cxn>
              <a:cxn ang="0">
                <a:pos x="86" y="108"/>
              </a:cxn>
              <a:cxn ang="0">
                <a:pos x="88" y="108"/>
              </a:cxn>
              <a:cxn ang="0">
                <a:pos x="98" y="128"/>
              </a:cxn>
              <a:cxn ang="0">
                <a:pos x="106" y="144"/>
              </a:cxn>
              <a:cxn ang="0">
                <a:pos x="116" y="158"/>
              </a:cxn>
            </a:cxnLst>
            <a:rect l="0" t="0" r="r" b="b"/>
            <a:pathLst>
              <a:path w="126" h="158">
                <a:moveTo>
                  <a:pt x="116" y="158"/>
                </a:moveTo>
                <a:lnTo>
                  <a:pt x="116" y="158"/>
                </a:lnTo>
                <a:lnTo>
                  <a:pt x="118" y="150"/>
                </a:lnTo>
                <a:lnTo>
                  <a:pt x="120" y="148"/>
                </a:lnTo>
                <a:lnTo>
                  <a:pt x="122" y="148"/>
                </a:lnTo>
                <a:lnTo>
                  <a:pt x="122" y="144"/>
                </a:lnTo>
                <a:lnTo>
                  <a:pt x="122" y="144"/>
                </a:lnTo>
                <a:lnTo>
                  <a:pt x="120" y="134"/>
                </a:lnTo>
                <a:lnTo>
                  <a:pt x="122" y="130"/>
                </a:lnTo>
                <a:lnTo>
                  <a:pt x="126" y="130"/>
                </a:lnTo>
                <a:lnTo>
                  <a:pt x="126" y="130"/>
                </a:lnTo>
                <a:lnTo>
                  <a:pt x="124" y="128"/>
                </a:lnTo>
                <a:lnTo>
                  <a:pt x="120" y="124"/>
                </a:lnTo>
                <a:lnTo>
                  <a:pt x="116" y="112"/>
                </a:lnTo>
                <a:lnTo>
                  <a:pt x="112" y="98"/>
                </a:lnTo>
                <a:lnTo>
                  <a:pt x="108" y="88"/>
                </a:lnTo>
                <a:lnTo>
                  <a:pt x="108" y="88"/>
                </a:lnTo>
                <a:lnTo>
                  <a:pt x="104" y="86"/>
                </a:lnTo>
                <a:lnTo>
                  <a:pt x="102" y="86"/>
                </a:lnTo>
                <a:lnTo>
                  <a:pt x="100" y="88"/>
                </a:lnTo>
                <a:lnTo>
                  <a:pt x="98" y="88"/>
                </a:lnTo>
                <a:lnTo>
                  <a:pt x="98" y="88"/>
                </a:lnTo>
                <a:lnTo>
                  <a:pt x="94" y="88"/>
                </a:lnTo>
                <a:lnTo>
                  <a:pt x="94" y="90"/>
                </a:lnTo>
                <a:lnTo>
                  <a:pt x="92" y="92"/>
                </a:lnTo>
                <a:lnTo>
                  <a:pt x="90" y="90"/>
                </a:lnTo>
                <a:lnTo>
                  <a:pt x="90" y="90"/>
                </a:lnTo>
                <a:lnTo>
                  <a:pt x="88" y="88"/>
                </a:lnTo>
                <a:lnTo>
                  <a:pt x="84" y="88"/>
                </a:lnTo>
                <a:lnTo>
                  <a:pt x="82" y="86"/>
                </a:lnTo>
                <a:lnTo>
                  <a:pt x="80" y="82"/>
                </a:lnTo>
                <a:lnTo>
                  <a:pt x="80" y="82"/>
                </a:lnTo>
                <a:lnTo>
                  <a:pt x="82" y="76"/>
                </a:lnTo>
                <a:lnTo>
                  <a:pt x="86" y="72"/>
                </a:lnTo>
                <a:lnTo>
                  <a:pt x="90" y="70"/>
                </a:lnTo>
                <a:lnTo>
                  <a:pt x="96" y="70"/>
                </a:lnTo>
                <a:lnTo>
                  <a:pt x="104" y="68"/>
                </a:lnTo>
                <a:lnTo>
                  <a:pt x="108" y="68"/>
                </a:lnTo>
                <a:lnTo>
                  <a:pt x="106" y="64"/>
                </a:lnTo>
                <a:lnTo>
                  <a:pt x="106" y="64"/>
                </a:lnTo>
                <a:lnTo>
                  <a:pt x="106" y="60"/>
                </a:lnTo>
                <a:lnTo>
                  <a:pt x="110" y="56"/>
                </a:lnTo>
                <a:lnTo>
                  <a:pt x="112" y="52"/>
                </a:lnTo>
                <a:lnTo>
                  <a:pt x="112" y="50"/>
                </a:lnTo>
                <a:lnTo>
                  <a:pt x="112" y="50"/>
                </a:lnTo>
                <a:lnTo>
                  <a:pt x="108" y="46"/>
                </a:lnTo>
                <a:lnTo>
                  <a:pt x="104" y="46"/>
                </a:lnTo>
                <a:lnTo>
                  <a:pt x="92" y="46"/>
                </a:lnTo>
                <a:lnTo>
                  <a:pt x="76" y="48"/>
                </a:lnTo>
                <a:lnTo>
                  <a:pt x="68" y="48"/>
                </a:lnTo>
                <a:lnTo>
                  <a:pt x="62" y="44"/>
                </a:lnTo>
                <a:lnTo>
                  <a:pt x="62" y="44"/>
                </a:lnTo>
                <a:lnTo>
                  <a:pt x="56" y="42"/>
                </a:lnTo>
                <a:lnTo>
                  <a:pt x="50" y="36"/>
                </a:lnTo>
                <a:lnTo>
                  <a:pt x="46" y="26"/>
                </a:lnTo>
                <a:lnTo>
                  <a:pt x="42" y="18"/>
                </a:lnTo>
                <a:lnTo>
                  <a:pt x="40" y="18"/>
                </a:lnTo>
                <a:lnTo>
                  <a:pt x="36" y="20"/>
                </a:lnTo>
                <a:lnTo>
                  <a:pt x="36" y="20"/>
                </a:lnTo>
                <a:lnTo>
                  <a:pt x="34" y="22"/>
                </a:lnTo>
                <a:lnTo>
                  <a:pt x="34" y="20"/>
                </a:lnTo>
                <a:lnTo>
                  <a:pt x="34" y="16"/>
                </a:lnTo>
                <a:lnTo>
                  <a:pt x="32" y="12"/>
                </a:lnTo>
                <a:lnTo>
                  <a:pt x="32" y="12"/>
                </a:lnTo>
                <a:lnTo>
                  <a:pt x="30" y="10"/>
                </a:lnTo>
                <a:lnTo>
                  <a:pt x="28" y="10"/>
                </a:lnTo>
                <a:lnTo>
                  <a:pt x="28" y="14"/>
                </a:lnTo>
                <a:lnTo>
                  <a:pt x="26" y="16"/>
                </a:lnTo>
                <a:lnTo>
                  <a:pt x="24" y="14"/>
                </a:lnTo>
                <a:lnTo>
                  <a:pt x="18" y="0"/>
                </a:lnTo>
                <a:lnTo>
                  <a:pt x="18" y="0"/>
                </a:lnTo>
                <a:lnTo>
                  <a:pt x="16" y="0"/>
                </a:lnTo>
                <a:lnTo>
                  <a:pt x="14" y="2"/>
                </a:lnTo>
                <a:lnTo>
                  <a:pt x="14" y="14"/>
                </a:lnTo>
                <a:lnTo>
                  <a:pt x="14" y="14"/>
                </a:lnTo>
                <a:lnTo>
                  <a:pt x="12" y="18"/>
                </a:lnTo>
                <a:lnTo>
                  <a:pt x="8" y="20"/>
                </a:lnTo>
                <a:lnTo>
                  <a:pt x="2" y="22"/>
                </a:lnTo>
                <a:lnTo>
                  <a:pt x="0" y="24"/>
                </a:lnTo>
                <a:lnTo>
                  <a:pt x="0" y="24"/>
                </a:lnTo>
                <a:lnTo>
                  <a:pt x="4" y="26"/>
                </a:lnTo>
                <a:lnTo>
                  <a:pt x="14" y="32"/>
                </a:lnTo>
                <a:lnTo>
                  <a:pt x="24" y="36"/>
                </a:lnTo>
                <a:lnTo>
                  <a:pt x="28" y="40"/>
                </a:lnTo>
                <a:lnTo>
                  <a:pt x="28" y="42"/>
                </a:lnTo>
                <a:lnTo>
                  <a:pt x="28" y="42"/>
                </a:lnTo>
                <a:lnTo>
                  <a:pt x="26" y="44"/>
                </a:lnTo>
                <a:lnTo>
                  <a:pt x="24" y="46"/>
                </a:lnTo>
                <a:lnTo>
                  <a:pt x="20" y="48"/>
                </a:lnTo>
                <a:lnTo>
                  <a:pt x="18" y="54"/>
                </a:lnTo>
                <a:lnTo>
                  <a:pt x="18" y="54"/>
                </a:lnTo>
                <a:lnTo>
                  <a:pt x="18" y="60"/>
                </a:lnTo>
                <a:lnTo>
                  <a:pt x="20" y="64"/>
                </a:lnTo>
                <a:lnTo>
                  <a:pt x="28" y="68"/>
                </a:lnTo>
                <a:lnTo>
                  <a:pt x="36" y="74"/>
                </a:lnTo>
                <a:lnTo>
                  <a:pt x="38" y="76"/>
                </a:lnTo>
                <a:lnTo>
                  <a:pt x="38" y="80"/>
                </a:lnTo>
                <a:lnTo>
                  <a:pt x="38" y="80"/>
                </a:lnTo>
                <a:lnTo>
                  <a:pt x="38" y="88"/>
                </a:lnTo>
                <a:lnTo>
                  <a:pt x="40" y="90"/>
                </a:lnTo>
                <a:lnTo>
                  <a:pt x="40" y="90"/>
                </a:lnTo>
                <a:lnTo>
                  <a:pt x="40" y="94"/>
                </a:lnTo>
                <a:lnTo>
                  <a:pt x="40" y="94"/>
                </a:lnTo>
                <a:lnTo>
                  <a:pt x="38" y="96"/>
                </a:lnTo>
                <a:lnTo>
                  <a:pt x="38" y="98"/>
                </a:lnTo>
                <a:lnTo>
                  <a:pt x="40" y="102"/>
                </a:lnTo>
                <a:lnTo>
                  <a:pt x="44" y="106"/>
                </a:lnTo>
                <a:lnTo>
                  <a:pt x="46" y="110"/>
                </a:lnTo>
                <a:lnTo>
                  <a:pt x="46" y="118"/>
                </a:lnTo>
                <a:lnTo>
                  <a:pt x="46" y="128"/>
                </a:lnTo>
                <a:lnTo>
                  <a:pt x="46" y="128"/>
                </a:lnTo>
                <a:lnTo>
                  <a:pt x="48" y="128"/>
                </a:lnTo>
                <a:lnTo>
                  <a:pt x="50" y="130"/>
                </a:lnTo>
                <a:lnTo>
                  <a:pt x="50" y="130"/>
                </a:lnTo>
                <a:lnTo>
                  <a:pt x="50" y="130"/>
                </a:lnTo>
                <a:lnTo>
                  <a:pt x="52" y="128"/>
                </a:lnTo>
                <a:lnTo>
                  <a:pt x="54" y="128"/>
                </a:lnTo>
                <a:lnTo>
                  <a:pt x="56" y="128"/>
                </a:lnTo>
                <a:lnTo>
                  <a:pt x="56" y="128"/>
                </a:lnTo>
                <a:lnTo>
                  <a:pt x="58" y="130"/>
                </a:lnTo>
                <a:lnTo>
                  <a:pt x="58" y="128"/>
                </a:lnTo>
                <a:lnTo>
                  <a:pt x="60" y="126"/>
                </a:lnTo>
                <a:lnTo>
                  <a:pt x="62" y="126"/>
                </a:lnTo>
                <a:lnTo>
                  <a:pt x="62" y="126"/>
                </a:lnTo>
                <a:lnTo>
                  <a:pt x="64" y="128"/>
                </a:lnTo>
                <a:lnTo>
                  <a:pt x="64" y="126"/>
                </a:lnTo>
                <a:lnTo>
                  <a:pt x="62" y="122"/>
                </a:lnTo>
                <a:lnTo>
                  <a:pt x="62" y="122"/>
                </a:lnTo>
                <a:lnTo>
                  <a:pt x="64" y="120"/>
                </a:lnTo>
                <a:lnTo>
                  <a:pt x="68" y="124"/>
                </a:lnTo>
                <a:lnTo>
                  <a:pt x="68" y="124"/>
                </a:lnTo>
                <a:lnTo>
                  <a:pt x="72" y="126"/>
                </a:lnTo>
                <a:lnTo>
                  <a:pt x="72" y="124"/>
                </a:lnTo>
                <a:lnTo>
                  <a:pt x="74" y="122"/>
                </a:lnTo>
                <a:lnTo>
                  <a:pt x="76" y="120"/>
                </a:lnTo>
                <a:lnTo>
                  <a:pt x="76" y="120"/>
                </a:lnTo>
                <a:lnTo>
                  <a:pt x="78" y="118"/>
                </a:lnTo>
                <a:lnTo>
                  <a:pt x="78" y="116"/>
                </a:lnTo>
                <a:lnTo>
                  <a:pt x="78" y="112"/>
                </a:lnTo>
                <a:lnTo>
                  <a:pt x="76" y="112"/>
                </a:lnTo>
                <a:lnTo>
                  <a:pt x="76" y="112"/>
                </a:lnTo>
                <a:lnTo>
                  <a:pt x="76" y="110"/>
                </a:lnTo>
                <a:lnTo>
                  <a:pt x="78" y="108"/>
                </a:lnTo>
                <a:lnTo>
                  <a:pt x="78" y="108"/>
                </a:lnTo>
                <a:lnTo>
                  <a:pt x="76" y="106"/>
                </a:lnTo>
                <a:lnTo>
                  <a:pt x="76" y="106"/>
                </a:lnTo>
                <a:lnTo>
                  <a:pt x="74" y="104"/>
                </a:lnTo>
                <a:lnTo>
                  <a:pt x="70" y="102"/>
                </a:lnTo>
                <a:lnTo>
                  <a:pt x="70" y="102"/>
                </a:lnTo>
                <a:lnTo>
                  <a:pt x="74" y="102"/>
                </a:lnTo>
                <a:lnTo>
                  <a:pt x="76" y="102"/>
                </a:lnTo>
                <a:lnTo>
                  <a:pt x="76" y="96"/>
                </a:lnTo>
                <a:lnTo>
                  <a:pt x="76" y="96"/>
                </a:lnTo>
                <a:lnTo>
                  <a:pt x="78" y="104"/>
                </a:lnTo>
                <a:lnTo>
                  <a:pt x="82" y="106"/>
                </a:lnTo>
                <a:lnTo>
                  <a:pt x="86" y="108"/>
                </a:lnTo>
                <a:lnTo>
                  <a:pt x="90" y="108"/>
                </a:lnTo>
                <a:lnTo>
                  <a:pt x="90" y="108"/>
                </a:lnTo>
                <a:lnTo>
                  <a:pt x="88" y="108"/>
                </a:lnTo>
                <a:lnTo>
                  <a:pt x="88" y="110"/>
                </a:lnTo>
                <a:lnTo>
                  <a:pt x="92" y="118"/>
                </a:lnTo>
                <a:lnTo>
                  <a:pt x="98" y="128"/>
                </a:lnTo>
                <a:lnTo>
                  <a:pt x="104" y="138"/>
                </a:lnTo>
                <a:lnTo>
                  <a:pt x="104" y="138"/>
                </a:lnTo>
                <a:lnTo>
                  <a:pt x="106" y="144"/>
                </a:lnTo>
                <a:lnTo>
                  <a:pt x="110" y="150"/>
                </a:lnTo>
                <a:lnTo>
                  <a:pt x="116" y="158"/>
                </a:lnTo>
                <a:lnTo>
                  <a:pt x="116" y="158"/>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83" name="Freeform 179"/>
          <p:cNvSpPr>
            <a:spLocks/>
          </p:cNvSpPr>
          <p:nvPr/>
        </p:nvSpPr>
        <p:spPr bwMode="auto">
          <a:xfrm>
            <a:off x="7050427" y="1564352"/>
            <a:ext cx="104826" cy="129740"/>
          </a:xfrm>
          <a:custGeom>
            <a:avLst/>
            <a:gdLst/>
            <a:ahLst/>
            <a:cxnLst>
              <a:cxn ang="0">
                <a:pos x="92" y="92"/>
              </a:cxn>
              <a:cxn ang="0">
                <a:pos x="90" y="96"/>
              </a:cxn>
              <a:cxn ang="0">
                <a:pos x="82" y="98"/>
              </a:cxn>
              <a:cxn ang="0">
                <a:pos x="74" y="100"/>
              </a:cxn>
              <a:cxn ang="0">
                <a:pos x="62" y="114"/>
              </a:cxn>
              <a:cxn ang="0">
                <a:pos x="58" y="112"/>
              </a:cxn>
              <a:cxn ang="0">
                <a:pos x="56" y="110"/>
              </a:cxn>
              <a:cxn ang="0">
                <a:pos x="42" y="110"/>
              </a:cxn>
              <a:cxn ang="0">
                <a:pos x="30" y="108"/>
              </a:cxn>
              <a:cxn ang="0">
                <a:pos x="32" y="106"/>
              </a:cxn>
              <a:cxn ang="0">
                <a:pos x="30" y="102"/>
              </a:cxn>
              <a:cxn ang="0">
                <a:pos x="16" y="100"/>
              </a:cxn>
              <a:cxn ang="0">
                <a:pos x="18" y="98"/>
              </a:cxn>
              <a:cxn ang="0">
                <a:pos x="12" y="98"/>
              </a:cxn>
              <a:cxn ang="0">
                <a:pos x="14" y="94"/>
              </a:cxn>
              <a:cxn ang="0">
                <a:pos x="20" y="86"/>
              </a:cxn>
              <a:cxn ang="0">
                <a:pos x="18" y="84"/>
              </a:cxn>
              <a:cxn ang="0">
                <a:pos x="12" y="82"/>
              </a:cxn>
              <a:cxn ang="0">
                <a:pos x="10" y="80"/>
              </a:cxn>
              <a:cxn ang="0">
                <a:pos x="14" y="74"/>
              </a:cxn>
              <a:cxn ang="0">
                <a:pos x="14" y="72"/>
              </a:cxn>
              <a:cxn ang="0">
                <a:pos x="4" y="70"/>
              </a:cxn>
              <a:cxn ang="0">
                <a:pos x="0" y="68"/>
              </a:cxn>
              <a:cxn ang="0">
                <a:pos x="0" y="66"/>
              </a:cxn>
              <a:cxn ang="0">
                <a:pos x="2" y="64"/>
              </a:cxn>
              <a:cxn ang="0">
                <a:pos x="14" y="54"/>
              </a:cxn>
              <a:cxn ang="0">
                <a:pos x="18" y="44"/>
              </a:cxn>
              <a:cxn ang="0">
                <a:pos x="22" y="38"/>
              </a:cxn>
              <a:cxn ang="0">
                <a:pos x="30" y="30"/>
              </a:cxn>
              <a:cxn ang="0">
                <a:pos x="46" y="28"/>
              </a:cxn>
              <a:cxn ang="0">
                <a:pos x="54" y="30"/>
              </a:cxn>
              <a:cxn ang="0">
                <a:pos x="62" y="26"/>
              </a:cxn>
              <a:cxn ang="0">
                <a:pos x="58" y="22"/>
              </a:cxn>
              <a:cxn ang="0">
                <a:pos x="56" y="20"/>
              </a:cxn>
              <a:cxn ang="0">
                <a:pos x="70" y="16"/>
              </a:cxn>
              <a:cxn ang="0">
                <a:pos x="70" y="12"/>
              </a:cxn>
              <a:cxn ang="0">
                <a:pos x="68" y="8"/>
              </a:cxn>
              <a:cxn ang="0">
                <a:pos x="74" y="4"/>
              </a:cxn>
              <a:cxn ang="0">
                <a:pos x="74" y="0"/>
              </a:cxn>
              <a:cxn ang="0">
                <a:pos x="76" y="0"/>
              </a:cxn>
              <a:cxn ang="0">
                <a:pos x="88" y="10"/>
              </a:cxn>
              <a:cxn ang="0">
                <a:pos x="92" y="6"/>
              </a:cxn>
              <a:cxn ang="0">
                <a:pos x="90" y="12"/>
              </a:cxn>
              <a:cxn ang="0">
                <a:pos x="86" y="22"/>
              </a:cxn>
              <a:cxn ang="0">
                <a:pos x="86" y="26"/>
              </a:cxn>
              <a:cxn ang="0">
                <a:pos x="86" y="34"/>
              </a:cxn>
              <a:cxn ang="0">
                <a:pos x="82" y="36"/>
              </a:cxn>
              <a:cxn ang="0">
                <a:pos x="82" y="38"/>
              </a:cxn>
              <a:cxn ang="0">
                <a:pos x="88" y="38"/>
              </a:cxn>
              <a:cxn ang="0">
                <a:pos x="90" y="44"/>
              </a:cxn>
              <a:cxn ang="0">
                <a:pos x="88" y="48"/>
              </a:cxn>
              <a:cxn ang="0">
                <a:pos x="88" y="60"/>
              </a:cxn>
              <a:cxn ang="0">
                <a:pos x="88" y="66"/>
              </a:cxn>
              <a:cxn ang="0">
                <a:pos x="86" y="66"/>
              </a:cxn>
              <a:cxn ang="0">
                <a:pos x="74" y="66"/>
              </a:cxn>
              <a:cxn ang="0">
                <a:pos x="70" y="72"/>
              </a:cxn>
              <a:cxn ang="0">
                <a:pos x="68" y="78"/>
              </a:cxn>
              <a:cxn ang="0">
                <a:pos x="72" y="78"/>
              </a:cxn>
              <a:cxn ang="0">
                <a:pos x="76" y="78"/>
              </a:cxn>
              <a:cxn ang="0">
                <a:pos x="86" y="86"/>
              </a:cxn>
              <a:cxn ang="0">
                <a:pos x="90" y="88"/>
              </a:cxn>
              <a:cxn ang="0">
                <a:pos x="92" y="92"/>
              </a:cxn>
            </a:cxnLst>
            <a:rect l="0" t="0" r="r" b="b"/>
            <a:pathLst>
              <a:path w="92" h="114">
                <a:moveTo>
                  <a:pt x="92" y="92"/>
                </a:moveTo>
                <a:lnTo>
                  <a:pt x="92" y="92"/>
                </a:lnTo>
                <a:lnTo>
                  <a:pt x="90" y="94"/>
                </a:lnTo>
                <a:lnTo>
                  <a:pt x="90" y="96"/>
                </a:lnTo>
                <a:lnTo>
                  <a:pt x="88" y="98"/>
                </a:lnTo>
                <a:lnTo>
                  <a:pt x="82" y="98"/>
                </a:lnTo>
                <a:lnTo>
                  <a:pt x="82" y="98"/>
                </a:lnTo>
                <a:lnTo>
                  <a:pt x="74" y="100"/>
                </a:lnTo>
                <a:lnTo>
                  <a:pt x="70" y="104"/>
                </a:lnTo>
                <a:lnTo>
                  <a:pt x="62" y="114"/>
                </a:lnTo>
                <a:lnTo>
                  <a:pt x="62" y="114"/>
                </a:lnTo>
                <a:lnTo>
                  <a:pt x="58" y="112"/>
                </a:lnTo>
                <a:lnTo>
                  <a:pt x="56" y="110"/>
                </a:lnTo>
                <a:lnTo>
                  <a:pt x="56" y="110"/>
                </a:lnTo>
                <a:lnTo>
                  <a:pt x="42" y="110"/>
                </a:lnTo>
                <a:lnTo>
                  <a:pt x="42" y="110"/>
                </a:lnTo>
                <a:lnTo>
                  <a:pt x="34" y="108"/>
                </a:lnTo>
                <a:lnTo>
                  <a:pt x="30" y="108"/>
                </a:lnTo>
                <a:lnTo>
                  <a:pt x="32" y="106"/>
                </a:lnTo>
                <a:lnTo>
                  <a:pt x="32" y="106"/>
                </a:lnTo>
                <a:lnTo>
                  <a:pt x="32" y="104"/>
                </a:lnTo>
                <a:lnTo>
                  <a:pt x="30" y="102"/>
                </a:lnTo>
                <a:lnTo>
                  <a:pt x="24" y="102"/>
                </a:lnTo>
                <a:lnTo>
                  <a:pt x="16" y="100"/>
                </a:lnTo>
                <a:lnTo>
                  <a:pt x="16" y="100"/>
                </a:lnTo>
                <a:lnTo>
                  <a:pt x="18" y="98"/>
                </a:lnTo>
                <a:lnTo>
                  <a:pt x="18" y="98"/>
                </a:lnTo>
                <a:lnTo>
                  <a:pt x="12" y="98"/>
                </a:lnTo>
                <a:lnTo>
                  <a:pt x="12" y="96"/>
                </a:lnTo>
                <a:lnTo>
                  <a:pt x="14" y="94"/>
                </a:lnTo>
                <a:lnTo>
                  <a:pt x="14" y="94"/>
                </a:lnTo>
                <a:lnTo>
                  <a:pt x="20" y="86"/>
                </a:lnTo>
                <a:lnTo>
                  <a:pt x="20" y="84"/>
                </a:lnTo>
                <a:lnTo>
                  <a:pt x="18" y="84"/>
                </a:lnTo>
                <a:lnTo>
                  <a:pt x="14" y="82"/>
                </a:lnTo>
                <a:lnTo>
                  <a:pt x="12" y="82"/>
                </a:lnTo>
                <a:lnTo>
                  <a:pt x="10" y="80"/>
                </a:lnTo>
                <a:lnTo>
                  <a:pt x="10" y="80"/>
                </a:lnTo>
                <a:lnTo>
                  <a:pt x="12" y="76"/>
                </a:lnTo>
                <a:lnTo>
                  <a:pt x="14" y="74"/>
                </a:lnTo>
                <a:lnTo>
                  <a:pt x="16" y="74"/>
                </a:lnTo>
                <a:lnTo>
                  <a:pt x="14" y="72"/>
                </a:lnTo>
                <a:lnTo>
                  <a:pt x="14" y="72"/>
                </a:lnTo>
                <a:lnTo>
                  <a:pt x="4" y="70"/>
                </a:lnTo>
                <a:lnTo>
                  <a:pt x="0" y="68"/>
                </a:lnTo>
                <a:lnTo>
                  <a:pt x="0" y="68"/>
                </a:lnTo>
                <a:lnTo>
                  <a:pt x="0" y="66"/>
                </a:lnTo>
                <a:lnTo>
                  <a:pt x="0" y="66"/>
                </a:lnTo>
                <a:lnTo>
                  <a:pt x="2" y="64"/>
                </a:lnTo>
                <a:lnTo>
                  <a:pt x="2" y="64"/>
                </a:lnTo>
                <a:lnTo>
                  <a:pt x="10" y="58"/>
                </a:lnTo>
                <a:lnTo>
                  <a:pt x="14" y="54"/>
                </a:lnTo>
                <a:lnTo>
                  <a:pt x="16" y="50"/>
                </a:lnTo>
                <a:lnTo>
                  <a:pt x="18" y="44"/>
                </a:lnTo>
                <a:lnTo>
                  <a:pt x="18" y="44"/>
                </a:lnTo>
                <a:lnTo>
                  <a:pt x="22" y="38"/>
                </a:lnTo>
                <a:lnTo>
                  <a:pt x="26" y="32"/>
                </a:lnTo>
                <a:lnTo>
                  <a:pt x="30" y="30"/>
                </a:lnTo>
                <a:lnTo>
                  <a:pt x="34" y="28"/>
                </a:lnTo>
                <a:lnTo>
                  <a:pt x="46" y="28"/>
                </a:lnTo>
                <a:lnTo>
                  <a:pt x="46" y="28"/>
                </a:lnTo>
                <a:lnTo>
                  <a:pt x="54" y="30"/>
                </a:lnTo>
                <a:lnTo>
                  <a:pt x="60" y="28"/>
                </a:lnTo>
                <a:lnTo>
                  <a:pt x="62" y="26"/>
                </a:lnTo>
                <a:lnTo>
                  <a:pt x="58" y="22"/>
                </a:lnTo>
                <a:lnTo>
                  <a:pt x="58" y="22"/>
                </a:lnTo>
                <a:lnTo>
                  <a:pt x="56" y="20"/>
                </a:lnTo>
                <a:lnTo>
                  <a:pt x="56" y="20"/>
                </a:lnTo>
                <a:lnTo>
                  <a:pt x="62" y="18"/>
                </a:lnTo>
                <a:lnTo>
                  <a:pt x="70" y="16"/>
                </a:lnTo>
                <a:lnTo>
                  <a:pt x="70" y="14"/>
                </a:lnTo>
                <a:lnTo>
                  <a:pt x="70" y="12"/>
                </a:lnTo>
                <a:lnTo>
                  <a:pt x="70" y="12"/>
                </a:lnTo>
                <a:lnTo>
                  <a:pt x="68" y="8"/>
                </a:lnTo>
                <a:lnTo>
                  <a:pt x="70" y="6"/>
                </a:lnTo>
                <a:lnTo>
                  <a:pt x="74" y="4"/>
                </a:lnTo>
                <a:lnTo>
                  <a:pt x="74" y="0"/>
                </a:lnTo>
                <a:lnTo>
                  <a:pt x="74" y="0"/>
                </a:lnTo>
                <a:lnTo>
                  <a:pt x="74" y="0"/>
                </a:lnTo>
                <a:lnTo>
                  <a:pt x="76" y="0"/>
                </a:lnTo>
                <a:lnTo>
                  <a:pt x="82" y="6"/>
                </a:lnTo>
                <a:lnTo>
                  <a:pt x="88" y="10"/>
                </a:lnTo>
                <a:lnTo>
                  <a:pt x="90" y="8"/>
                </a:lnTo>
                <a:lnTo>
                  <a:pt x="92" y="6"/>
                </a:lnTo>
                <a:lnTo>
                  <a:pt x="92" y="6"/>
                </a:lnTo>
                <a:lnTo>
                  <a:pt x="90" y="12"/>
                </a:lnTo>
                <a:lnTo>
                  <a:pt x="88" y="16"/>
                </a:lnTo>
                <a:lnTo>
                  <a:pt x="86" y="22"/>
                </a:lnTo>
                <a:lnTo>
                  <a:pt x="86" y="26"/>
                </a:lnTo>
                <a:lnTo>
                  <a:pt x="86" y="26"/>
                </a:lnTo>
                <a:lnTo>
                  <a:pt x="86" y="30"/>
                </a:lnTo>
                <a:lnTo>
                  <a:pt x="86" y="34"/>
                </a:lnTo>
                <a:lnTo>
                  <a:pt x="82" y="36"/>
                </a:lnTo>
                <a:lnTo>
                  <a:pt x="82" y="36"/>
                </a:lnTo>
                <a:lnTo>
                  <a:pt x="82" y="36"/>
                </a:lnTo>
                <a:lnTo>
                  <a:pt x="82" y="38"/>
                </a:lnTo>
                <a:lnTo>
                  <a:pt x="86" y="38"/>
                </a:lnTo>
                <a:lnTo>
                  <a:pt x="88" y="38"/>
                </a:lnTo>
                <a:lnTo>
                  <a:pt x="90" y="40"/>
                </a:lnTo>
                <a:lnTo>
                  <a:pt x="90" y="44"/>
                </a:lnTo>
                <a:lnTo>
                  <a:pt x="88" y="48"/>
                </a:lnTo>
                <a:lnTo>
                  <a:pt x="88" y="48"/>
                </a:lnTo>
                <a:lnTo>
                  <a:pt x="88" y="54"/>
                </a:lnTo>
                <a:lnTo>
                  <a:pt x="88" y="60"/>
                </a:lnTo>
                <a:lnTo>
                  <a:pt x="90" y="64"/>
                </a:lnTo>
                <a:lnTo>
                  <a:pt x="88" y="66"/>
                </a:lnTo>
                <a:lnTo>
                  <a:pt x="86" y="66"/>
                </a:lnTo>
                <a:lnTo>
                  <a:pt x="86" y="66"/>
                </a:lnTo>
                <a:lnTo>
                  <a:pt x="78" y="66"/>
                </a:lnTo>
                <a:lnTo>
                  <a:pt x="74" y="66"/>
                </a:lnTo>
                <a:lnTo>
                  <a:pt x="72" y="68"/>
                </a:lnTo>
                <a:lnTo>
                  <a:pt x="70" y="72"/>
                </a:lnTo>
                <a:lnTo>
                  <a:pt x="70" y="72"/>
                </a:lnTo>
                <a:lnTo>
                  <a:pt x="68" y="78"/>
                </a:lnTo>
                <a:lnTo>
                  <a:pt x="68" y="78"/>
                </a:lnTo>
                <a:lnTo>
                  <a:pt x="72" y="78"/>
                </a:lnTo>
                <a:lnTo>
                  <a:pt x="72" y="78"/>
                </a:lnTo>
                <a:lnTo>
                  <a:pt x="76" y="78"/>
                </a:lnTo>
                <a:lnTo>
                  <a:pt x="78" y="80"/>
                </a:lnTo>
                <a:lnTo>
                  <a:pt x="86" y="86"/>
                </a:lnTo>
                <a:lnTo>
                  <a:pt x="86" y="86"/>
                </a:lnTo>
                <a:lnTo>
                  <a:pt x="90" y="88"/>
                </a:lnTo>
                <a:lnTo>
                  <a:pt x="92" y="88"/>
                </a:lnTo>
                <a:lnTo>
                  <a:pt x="92" y="92"/>
                </a:lnTo>
                <a:lnTo>
                  <a:pt x="92" y="92"/>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84" name="Freeform 183"/>
          <p:cNvSpPr>
            <a:spLocks/>
          </p:cNvSpPr>
          <p:nvPr/>
        </p:nvSpPr>
        <p:spPr bwMode="auto">
          <a:xfrm>
            <a:off x="6694931" y="2117450"/>
            <a:ext cx="225604" cy="241269"/>
          </a:xfrm>
          <a:custGeom>
            <a:avLst/>
            <a:gdLst/>
            <a:ahLst/>
            <a:cxnLst>
              <a:cxn ang="0">
                <a:pos x="8" y="2"/>
              </a:cxn>
              <a:cxn ang="0">
                <a:pos x="4" y="6"/>
              </a:cxn>
              <a:cxn ang="0">
                <a:pos x="12" y="20"/>
              </a:cxn>
              <a:cxn ang="0">
                <a:pos x="18" y="30"/>
              </a:cxn>
              <a:cxn ang="0">
                <a:pos x="14" y="36"/>
              </a:cxn>
              <a:cxn ang="0">
                <a:pos x="6" y="30"/>
              </a:cxn>
              <a:cxn ang="0">
                <a:pos x="0" y="42"/>
              </a:cxn>
              <a:cxn ang="0">
                <a:pos x="0" y="52"/>
              </a:cxn>
              <a:cxn ang="0">
                <a:pos x="4" y="56"/>
              </a:cxn>
              <a:cxn ang="0">
                <a:pos x="6" y="60"/>
              </a:cxn>
              <a:cxn ang="0">
                <a:pos x="18" y="64"/>
              </a:cxn>
              <a:cxn ang="0">
                <a:pos x="28" y="66"/>
              </a:cxn>
              <a:cxn ang="0">
                <a:pos x="22" y="84"/>
              </a:cxn>
              <a:cxn ang="0">
                <a:pos x="20" y="110"/>
              </a:cxn>
              <a:cxn ang="0">
                <a:pos x="24" y="110"/>
              </a:cxn>
              <a:cxn ang="0">
                <a:pos x="38" y="102"/>
              </a:cxn>
              <a:cxn ang="0">
                <a:pos x="46" y="106"/>
              </a:cxn>
              <a:cxn ang="0">
                <a:pos x="60" y="110"/>
              </a:cxn>
              <a:cxn ang="0">
                <a:pos x="76" y="106"/>
              </a:cxn>
              <a:cxn ang="0">
                <a:pos x="86" y="114"/>
              </a:cxn>
              <a:cxn ang="0">
                <a:pos x="108" y="132"/>
              </a:cxn>
              <a:cxn ang="0">
                <a:pos x="108" y="142"/>
              </a:cxn>
              <a:cxn ang="0">
                <a:pos x="122" y="162"/>
              </a:cxn>
              <a:cxn ang="0">
                <a:pos x="130" y="162"/>
              </a:cxn>
              <a:cxn ang="0">
                <a:pos x="138" y="170"/>
              </a:cxn>
              <a:cxn ang="0">
                <a:pos x="140" y="178"/>
              </a:cxn>
              <a:cxn ang="0">
                <a:pos x="142" y="188"/>
              </a:cxn>
              <a:cxn ang="0">
                <a:pos x="140" y="196"/>
              </a:cxn>
              <a:cxn ang="0">
                <a:pos x="136" y="202"/>
              </a:cxn>
              <a:cxn ang="0">
                <a:pos x="156" y="210"/>
              </a:cxn>
              <a:cxn ang="0">
                <a:pos x="160" y="210"/>
              </a:cxn>
              <a:cxn ang="0">
                <a:pos x="158" y="196"/>
              </a:cxn>
              <a:cxn ang="0">
                <a:pos x="162" y="190"/>
              </a:cxn>
              <a:cxn ang="0">
                <a:pos x="176" y="198"/>
              </a:cxn>
              <a:cxn ang="0">
                <a:pos x="198" y="212"/>
              </a:cxn>
              <a:cxn ang="0">
                <a:pos x="192" y="194"/>
              </a:cxn>
              <a:cxn ang="0">
                <a:pos x="182" y="176"/>
              </a:cxn>
              <a:cxn ang="0">
                <a:pos x="180" y="162"/>
              </a:cxn>
              <a:cxn ang="0">
                <a:pos x="160" y="154"/>
              </a:cxn>
              <a:cxn ang="0">
                <a:pos x="146" y="148"/>
              </a:cxn>
              <a:cxn ang="0">
                <a:pos x="140" y="130"/>
              </a:cxn>
              <a:cxn ang="0">
                <a:pos x="132" y="122"/>
              </a:cxn>
              <a:cxn ang="0">
                <a:pos x="118" y="108"/>
              </a:cxn>
              <a:cxn ang="0">
                <a:pos x="114" y="96"/>
              </a:cxn>
              <a:cxn ang="0">
                <a:pos x="110" y="92"/>
              </a:cxn>
              <a:cxn ang="0">
                <a:pos x="90" y="82"/>
              </a:cxn>
              <a:cxn ang="0">
                <a:pos x="80" y="74"/>
              </a:cxn>
              <a:cxn ang="0">
                <a:pos x="94" y="68"/>
              </a:cxn>
              <a:cxn ang="0">
                <a:pos x="102" y="68"/>
              </a:cxn>
              <a:cxn ang="0">
                <a:pos x="106" y="58"/>
              </a:cxn>
              <a:cxn ang="0">
                <a:pos x="98" y="46"/>
              </a:cxn>
              <a:cxn ang="0">
                <a:pos x="68" y="42"/>
              </a:cxn>
              <a:cxn ang="0">
                <a:pos x="50" y="38"/>
              </a:cxn>
              <a:cxn ang="0">
                <a:pos x="44" y="30"/>
              </a:cxn>
              <a:cxn ang="0">
                <a:pos x="44" y="24"/>
              </a:cxn>
              <a:cxn ang="0">
                <a:pos x="22" y="6"/>
              </a:cxn>
            </a:cxnLst>
            <a:rect l="0" t="0" r="r" b="b"/>
            <a:pathLst>
              <a:path w="198" h="212">
                <a:moveTo>
                  <a:pt x="18" y="0"/>
                </a:moveTo>
                <a:lnTo>
                  <a:pt x="18" y="0"/>
                </a:lnTo>
                <a:lnTo>
                  <a:pt x="8" y="2"/>
                </a:lnTo>
                <a:lnTo>
                  <a:pt x="6" y="4"/>
                </a:lnTo>
                <a:lnTo>
                  <a:pt x="4" y="6"/>
                </a:lnTo>
                <a:lnTo>
                  <a:pt x="4" y="6"/>
                </a:lnTo>
                <a:lnTo>
                  <a:pt x="6" y="10"/>
                </a:lnTo>
                <a:lnTo>
                  <a:pt x="8" y="14"/>
                </a:lnTo>
                <a:lnTo>
                  <a:pt x="12" y="20"/>
                </a:lnTo>
                <a:lnTo>
                  <a:pt x="16" y="26"/>
                </a:lnTo>
                <a:lnTo>
                  <a:pt x="16" y="26"/>
                </a:lnTo>
                <a:lnTo>
                  <a:pt x="18" y="30"/>
                </a:lnTo>
                <a:lnTo>
                  <a:pt x="16" y="32"/>
                </a:lnTo>
                <a:lnTo>
                  <a:pt x="16" y="34"/>
                </a:lnTo>
                <a:lnTo>
                  <a:pt x="14" y="36"/>
                </a:lnTo>
                <a:lnTo>
                  <a:pt x="8" y="34"/>
                </a:lnTo>
                <a:lnTo>
                  <a:pt x="6" y="30"/>
                </a:lnTo>
                <a:lnTo>
                  <a:pt x="6" y="30"/>
                </a:lnTo>
                <a:lnTo>
                  <a:pt x="2" y="34"/>
                </a:lnTo>
                <a:lnTo>
                  <a:pt x="0" y="38"/>
                </a:lnTo>
                <a:lnTo>
                  <a:pt x="0" y="42"/>
                </a:lnTo>
                <a:lnTo>
                  <a:pt x="2" y="48"/>
                </a:lnTo>
                <a:lnTo>
                  <a:pt x="2" y="50"/>
                </a:lnTo>
                <a:lnTo>
                  <a:pt x="0" y="52"/>
                </a:lnTo>
                <a:lnTo>
                  <a:pt x="0" y="52"/>
                </a:lnTo>
                <a:lnTo>
                  <a:pt x="2" y="56"/>
                </a:lnTo>
                <a:lnTo>
                  <a:pt x="4" y="56"/>
                </a:lnTo>
                <a:lnTo>
                  <a:pt x="4" y="56"/>
                </a:lnTo>
                <a:lnTo>
                  <a:pt x="6" y="60"/>
                </a:lnTo>
                <a:lnTo>
                  <a:pt x="6" y="60"/>
                </a:lnTo>
                <a:lnTo>
                  <a:pt x="8" y="64"/>
                </a:lnTo>
                <a:lnTo>
                  <a:pt x="10" y="66"/>
                </a:lnTo>
                <a:lnTo>
                  <a:pt x="18" y="64"/>
                </a:lnTo>
                <a:lnTo>
                  <a:pt x="24" y="64"/>
                </a:lnTo>
                <a:lnTo>
                  <a:pt x="26" y="64"/>
                </a:lnTo>
                <a:lnTo>
                  <a:pt x="28" y="66"/>
                </a:lnTo>
                <a:lnTo>
                  <a:pt x="28" y="66"/>
                </a:lnTo>
                <a:lnTo>
                  <a:pt x="28" y="72"/>
                </a:lnTo>
                <a:lnTo>
                  <a:pt x="22" y="84"/>
                </a:lnTo>
                <a:lnTo>
                  <a:pt x="20" y="98"/>
                </a:lnTo>
                <a:lnTo>
                  <a:pt x="20" y="104"/>
                </a:lnTo>
                <a:lnTo>
                  <a:pt x="20" y="110"/>
                </a:lnTo>
                <a:lnTo>
                  <a:pt x="20" y="110"/>
                </a:lnTo>
                <a:lnTo>
                  <a:pt x="22" y="112"/>
                </a:lnTo>
                <a:lnTo>
                  <a:pt x="24" y="110"/>
                </a:lnTo>
                <a:lnTo>
                  <a:pt x="30" y="106"/>
                </a:lnTo>
                <a:lnTo>
                  <a:pt x="34" y="104"/>
                </a:lnTo>
                <a:lnTo>
                  <a:pt x="38" y="102"/>
                </a:lnTo>
                <a:lnTo>
                  <a:pt x="42" y="102"/>
                </a:lnTo>
                <a:lnTo>
                  <a:pt x="46" y="106"/>
                </a:lnTo>
                <a:lnTo>
                  <a:pt x="46" y="106"/>
                </a:lnTo>
                <a:lnTo>
                  <a:pt x="52" y="110"/>
                </a:lnTo>
                <a:lnTo>
                  <a:pt x="56" y="112"/>
                </a:lnTo>
                <a:lnTo>
                  <a:pt x="60" y="110"/>
                </a:lnTo>
                <a:lnTo>
                  <a:pt x="64" y="108"/>
                </a:lnTo>
                <a:lnTo>
                  <a:pt x="70" y="108"/>
                </a:lnTo>
                <a:lnTo>
                  <a:pt x="76" y="106"/>
                </a:lnTo>
                <a:lnTo>
                  <a:pt x="80" y="108"/>
                </a:lnTo>
                <a:lnTo>
                  <a:pt x="86" y="114"/>
                </a:lnTo>
                <a:lnTo>
                  <a:pt x="86" y="114"/>
                </a:lnTo>
                <a:lnTo>
                  <a:pt x="98" y="124"/>
                </a:lnTo>
                <a:lnTo>
                  <a:pt x="104" y="128"/>
                </a:lnTo>
                <a:lnTo>
                  <a:pt x="108" y="132"/>
                </a:lnTo>
                <a:lnTo>
                  <a:pt x="108" y="138"/>
                </a:lnTo>
                <a:lnTo>
                  <a:pt x="108" y="138"/>
                </a:lnTo>
                <a:lnTo>
                  <a:pt x="108" y="142"/>
                </a:lnTo>
                <a:lnTo>
                  <a:pt x="108" y="146"/>
                </a:lnTo>
                <a:lnTo>
                  <a:pt x="114" y="156"/>
                </a:lnTo>
                <a:lnTo>
                  <a:pt x="122" y="162"/>
                </a:lnTo>
                <a:lnTo>
                  <a:pt x="126" y="162"/>
                </a:lnTo>
                <a:lnTo>
                  <a:pt x="130" y="162"/>
                </a:lnTo>
                <a:lnTo>
                  <a:pt x="130" y="162"/>
                </a:lnTo>
                <a:lnTo>
                  <a:pt x="132" y="166"/>
                </a:lnTo>
                <a:lnTo>
                  <a:pt x="136" y="168"/>
                </a:lnTo>
                <a:lnTo>
                  <a:pt x="138" y="170"/>
                </a:lnTo>
                <a:lnTo>
                  <a:pt x="138" y="174"/>
                </a:lnTo>
                <a:lnTo>
                  <a:pt x="138" y="174"/>
                </a:lnTo>
                <a:lnTo>
                  <a:pt x="140" y="178"/>
                </a:lnTo>
                <a:lnTo>
                  <a:pt x="142" y="182"/>
                </a:lnTo>
                <a:lnTo>
                  <a:pt x="144" y="184"/>
                </a:lnTo>
                <a:lnTo>
                  <a:pt x="142" y="188"/>
                </a:lnTo>
                <a:lnTo>
                  <a:pt x="142" y="188"/>
                </a:lnTo>
                <a:lnTo>
                  <a:pt x="140" y="192"/>
                </a:lnTo>
                <a:lnTo>
                  <a:pt x="140" y="196"/>
                </a:lnTo>
                <a:lnTo>
                  <a:pt x="138" y="198"/>
                </a:lnTo>
                <a:lnTo>
                  <a:pt x="136" y="202"/>
                </a:lnTo>
                <a:lnTo>
                  <a:pt x="136" y="202"/>
                </a:lnTo>
                <a:lnTo>
                  <a:pt x="150" y="204"/>
                </a:lnTo>
                <a:lnTo>
                  <a:pt x="154" y="206"/>
                </a:lnTo>
                <a:lnTo>
                  <a:pt x="156" y="210"/>
                </a:lnTo>
                <a:lnTo>
                  <a:pt x="158" y="212"/>
                </a:lnTo>
                <a:lnTo>
                  <a:pt x="158" y="212"/>
                </a:lnTo>
                <a:lnTo>
                  <a:pt x="160" y="210"/>
                </a:lnTo>
                <a:lnTo>
                  <a:pt x="160" y="208"/>
                </a:lnTo>
                <a:lnTo>
                  <a:pt x="160" y="202"/>
                </a:lnTo>
                <a:lnTo>
                  <a:pt x="158" y="196"/>
                </a:lnTo>
                <a:lnTo>
                  <a:pt x="160" y="192"/>
                </a:lnTo>
                <a:lnTo>
                  <a:pt x="162" y="190"/>
                </a:lnTo>
                <a:lnTo>
                  <a:pt x="162" y="190"/>
                </a:lnTo>
                <a:lnTo>
                  <a:pt x="164" y="190"/>
                </a:lnTo>
                <a:lnTo>
                  <a:pt x="168" y="192"/>
                </a:lnTo>
                <a:lnTo>
                  <a:pt x="176" y="198"/>
                </a:lnTo>
                <a:lnTo>
                  <a:pt x="186" y="206"/>
                </a:lnTo>
                <a:lnTo>
                  <a:pt x="192" y="210"/>
                </a:lnTo>
                <a:lnTo>
                  <a:pt x="198" y="212"/>
                </a:lnTo>
                <a:lnTo>
                  <a:pt x="198" y="212"/>
                </a:lnTo>
                <a:lnTo>
                  <a:pt x="196" y="204"/>
                </a:lnTo>
                <a:lnTo>
                  <a:pt x="192" y="194"/>
                </a:lnTo>
                <a:lnTo>
                  <a:pt x="184" y="180"/>
                </a:lnTo>
                <a:lnTo>
                  <a:pt x="184" y="180"/>
                </a:lnTo>
                <a:lnTo>
                  <a:pt x="182" y="176"/>
                </a:lnTo>
                <a:lnTo>
                  <a:pt x="182" y="174"/>
                </a:lnTo>
                <a:lnTo>
                  <a:pt x="182" y="166"/>
                </a:lnTo>
                <a:lnTo>
                  <a:pt x="180" y="162"/>
                </a:lnTo>
                <a:lnTo>
                  <a:pt x="176" y="160"/>
                </a:lnTo>
                <a:lnTo>
                  <a:pt x="170" y="156"/>
                </a:lnTo>
                <a:lnTo>
                  <a:pt x="160" y="154"/>
                </a:lnTo>
                <a:lnTo>
                  <a:pt x="160" y="154"/>
                </a:lnTo>
                <a:lnTo>
                  <a:pt x="152" y="150"/>
                </a:lnTo>
                <a:lnTo>
                  <a:pt x="146" y="148"/>
                </a:lnTo>
                <a:lnTo>
                  <a:pt x="144" y="142"/>
                </a:lnTo>
                <a:lnTo>
                  <a:pt x="142" y="138"/>
                </a:lnTo>
                <a:lnTo>
                  <a:pt x="140" y="130"/>
                </a:lnTo>
                <a:lnTo>
                  <a:pt x="138" y="126"/>
                </a:lnTo>
                <a:lnTo>
                  <a:pt x="132" y="122"/>
                </a:lnTo>
                <a:lnTo>
                  <a:pt x="132" y="122"/>
                </a:lnTo>
                <a:lnTo>
                  <a:pt x="126" y="120"/>
                </a:lnTo>
                <a:lnTo>
                  <a:pt x="122" y="116"/>
                </a:lnTo>
                <a:lnTo>
                  <a:pt x="118" y="108"/>
                </a:lnTo>
                <a:lnTo>
                  <a:pt x="116" y="100"/>
                </a:lnTo>
                <a:lnTo>
                  <a:pt x="116" y="98"/>
                </a:lnTo>
                <a:lnTo>
                  <a:pt x="114" y="96"/>
                </a:lnTo>
                <a:lnTo>
                  <a:pt x="114" y="96"/>
                </a:lnTo>
                <a:lnTo>
                  <a:pt x="112" y="94"/>
                </a:lnTo>
                <a:lnTo>
                  <a:pt x="110" y="92"/>
                </a:lnTo>
                <a:lnTo>
                  <a:pt x="106" y="88"/>
                </a:lnTo>
                <a:lnTo>
                  <a:pt x="90" y="82"/>
                </a:lnTo>
                <a:lnTo>
                  <a:pt x="90" y="82"/>
                </a:lnTo>
                <a:lnTo>
                  <a:pt x="84" y="80"/>
                </a:lnTo>
                <a:lnTo>
                  <a:pt x="80" y="76"/>
                </a:lnTo>
                <a:lnTo>
                  <a:pt x="80" y="74"/>
                </a:lnTo>
                <a:lnTo>
                  <a:pt x="82" y="72"/>
                </a:lnTo>
                <a:lnTo>
                  <a:pt x="88" y="68"/>
                </a:lnTo>
                <a:lnTo>
                  <a:pt x="94" y="68"/>
                </a:lnTo>
                <a:lnTo>
                  <a:pt x="94" y="68"/>
                </a:lnTo>
                <a:lnTo>
                  <a:pt x="98" y="68"/>
                </a:lnTo>
                <a:lnTo>
                  <a:pt x="102" y="68"/>
                </a:lnTo>
                <a:lnTo>
                  <a:pt x="104" y="64"/>
                </a:lnTo>
                <a:lnTo>
                  <a:pt x="106" y="58"/>
                </a:lnTo>
                <a:lnTo>
                  <a:pt x="106" y="58"/>
                </a:lnTo>
                <a:lnTo>
                  <a:pt x="104" y="54"/>
                </a:lnTo>
                <a:lnTo>
                  <a:pt x="98" y="46"/>
                </a:lnTo>
                <a:lnTo>
                  <a:pt x="98" y="46"/>
                </a:lnTo>
                <a:lnTo>
                  <a:pt x="94" y="44"/>
                </a:lnTo>
                <a:lnTo>
                  <a:pt x="88" y="42"/>
                </a:lnTo>
                <a:lnTo>
                  <a:pt x="68" y="42"/>
                </a:lnTo>
                <a:lnTo>
                  <a:pt x="68" y="42"/>
                </a:lnTo>
                <a:lnTo>
                  <a:pt x="58" y="40"/>
                </a:lnTo>
                <a:lnTo>
                  <a:pt x="50" y="38"/>
                </a:lnTo>
                <a:lnTo>
                  <a:pt x="46" y="34"/>
                </a:lnTo>
                <a:lnTo>
                  <a:pt x="44" y="32"/>
                </a:lnTo>
                <a:lnTo>
                  <a:pt x="44" y="30"/>
                </a:lnTo>
                <a:lnTo>
                  <a:pt x="44" y="30"/>
                </a:lnTo>
                <a:lnTo>
                  <a:pt x="44" y="26"/>
                </a:lnTo>
                <a:lnTo>
                  <a:pt x="44" y="24"/>
                </a:lnTo>
                <a:lnTo>
                  <a:pt x="36" y="20"/>
                </a:lnTo>
                <a:lnTo>
                  <a:pt x="26" y="12"/>
                </a:lnTo>
                <a:lnTo>
                  <a:pt x="22" y="6"/>
                </a:lnTo>
                <a:lnTo>
                  <a:pt x="18" y="0"/>
                </a:lnTo>
                <a:lnTo>
                  <a:pt x="18" y="0"/>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85" name="Freeform 184"/>
          <p:cNvSpPr>
            <a:spLocks/>
          </p:cNvSpPr>
          <p:nvPr/>
        </p:nvSpPr>
        <p:spPr bwMode="auto">
          <a:xfrm>
            <a:off x="6501231" y="1933085"/>
            <a:ext cx="214209" cy="543994"/>
          </a:xfrm>
          <a:custGeom>
            <a:avLst/>
            <a:gdLst/>
            <a:ahLst/>
            <a:cxnLst>
              <a:cxn ang="0">
                <a:pos x="150" y="220"/>
              </a:cxn>
              <a:cxn ang="0">
                <a:pos x="132" y="226"/>
              </a:cxn>
              <a:cxn ang="0">
                <a:pos x="132" y="248"/>
              </a:cxn>
              <a:cxn ang="0">
                <a:pos x="120" y="256"/>
              </a:cxn>
              <a:cxn ang="0">
                <a:pos x="126" y="268"/>
              </a:cxn>
              <a:cxn ang="0">
                <a:pos x="142" y="288"/>
              </a:cxn>
              <a:cxn ang="0">
                <a:pos x="170" y="312"/>
              </a:cxn>
              <a:cxn ang="0">
                <a:pos x="158" y="318"/>
              </a:cxn>
              <a:cxn ang="0">
                <a:pos x="158" y="336"/>
              </a:cxn>
              <a:cxn ang="0">
                <a:pos x="154" y="352"/>
              </a:cxn>
              <a:cxn ang="0">
                <a:pos x="178" y="378"/>
              </a:cxn>
              <a:cxn ang="0">
                <a:pos x="188" y="428"/>
              </a:cxn>
              <a:cxn ang="0">
                <a:pos x="176" y="462"/>
              </a:cxn>
              <a:cxn ang="0">
                <a:pos x="174" y="478"/>
              </a:cxn>
              <a:cxn ang="0">
                <a:pos x="174" y="440"/>
              </a:cxn>
              <a:cxn ang="0">
                <a:pos x="170" y="420"/>
              </a:cxn>
              <a:cxn ang="0">
                <a:pos x="158" y="378"/>
              </a:cxn>
              <a:cxn ang="0">
                <a:pos x="148" y="352"/>
              </a:cxn>
              <a:cxn ang="0">
                <a:pos x="134" y="314"/>
              </a:cxn>
              <a:cxn ang="0">
                <a:pos x="116" y="290"/>
              </a:cxn>
              <a:cxn ang="0">
                <a:pos x="114" y="320"/>
              </a:cxn>
              <a:cxn ang="0">
                <a:pos x="100" y="332"/>
              </a:cxn>
              <a:cxn ang="0">
                <a:pos x="84" y="330"/>
              </a:cxn>
              <a:cxn ang="0">
                <a:pos x="68" y="330"/>
              </a:cxn>
              <a:cxn ang="0">
                <a:pos x="62" y="314"/>
              </a:cxn>
              <a:cxn ang="0">
                <a:pos x="60" y="266"/>
              </a:cxn>
              <a:cxn ang="0">
                <a:pos x="24" y="220"/>
              </a:cxn>
              <a:cxn ang="0">
                <a:pos x="12" y="214"/>
              </a:cxn>
              <a:cxn ang="0">
                <a:pos x="4" y="192"/>
              </a:cxn>
              <a:cxn ang="0">
                <a:pos x="10" y="174"/>
              </a:cxn>
              <a:cxn ang="0">
                <a:pos x="20" y="148"/>
              </a:cxn>
              <a:cxn ang="0">
                <a:pos x="34" y="142"/>
              </a:cxn>
              <a:cxn ang="0">
                <a:pos x="34" y="104"/>
              </a:cxn>
              <a:cxn ang="0">
                <a:pos x="32" y="78"/>
              </a:cxn>
              <a:cxn ang="0">
                <a:pos x="52" y="48"/>
              </a:cxn>
              <a:cxn ang="0">
                <a:pos x="82" y="30"/>
              </a:cxn>
              <a:cxn ang="0">
                <a:pos x="80" y="16"/>
              </a:cxn>
              <a:cxn ang="0">
                <a:pos x="72" y="0"/>
              </a:cxn>
              <a:cxn ang="0">
                <a:pos x="102" y="20"/>
              </a:cxn>
              <a:cxn ang="0">
                <a:pos x="112" y="28"/>
              </a:cxn>
              <a:cxn ang="0">
                <a:pos x="124" y="68"/>
              </a:cxn>
              <a:cxn ang="0">
                <a:pos x="106" y="80"/>
              </a:cxn>
              <a:cxn ang="0">
                <a:pos x="102" y="98"/>
              </a:cxn>
              <a:cxn ang="0">
                <a:pos x="102" y="112"/>
              </a:cxn>
              <a:cxn ang="0">
                <a:pos x="96" y="124"/>
              </a:cxn>
              <a:cxn ang="0">
                <a:pos x="108" y="126"/>
              </a:cxn>
              <a:cxn ang="0">
                <a:pos x="116" y="136"/>
              </a:cxn>
              <a:cxn ang="0">
                <a:pos x="122" y="146"/>
              </a:cxn>
              <a:cxn ang="0">
                <a:pos x="132" y="150"/>
              </a:cxn>
              <a:cxn ang="0">
                <a:pos x="122" y="170"/>
              </a:cxn>
              <a:cxn ang="0">
                <a:pos x="150" y="182"/>
              </a:cxn>
              <a:cxn ang="0">
                <a:pos x="176" y="192"/>
              </a:cxn>
              <a:cxn ang="0">
                <a:pos x="172" y="212"/>
              </a:cxn>
            </a:cxnLst>
            <a:rect l="0" t="0" r="r" b="b"/>
            <a:pathLst>
              <a:path w="188" h="478">
                <a:moveTo>
                  <a:pt x="170" y="214"/>
                </a:moveTo>
                <a:lnTo>
                  <a:pt x="170" y="214"/>
                </a:lnTo>
                <a:lnTo>
                  <a:pt x="154" y="216"/>
                </a:lnTo>
                <a:lnTo>
                  <a:pt x="152" y="216"/>
                </a:lnTo>
                <a:lnTo>
                  <a:pt x="150" y="220"/>
                </a:lnTo>
                <a:lnTo>
                  <a:pt x="150" y="220"/>
                </a:lnTo>
                <a:lnTo>
                  <a:pt x="150" y="222"/>
                </a:lnTo>
                <a:lnTo>
                  <a:pt x="148" y="222"/>
                </a:lnTo>
                <a:lnTo>
                  <a:pt x="144" y="222"/>
                </a:lnTo>
                <a:lnTo>
                  <a:pt x="138" y="222"/>
                </a:lnTo>
                <a:lnTo>
                  <a:pt x="134" y="224"/>
                </a:lnTo>
                <a:lnTo>
                  <a:pt x="132" y="226"/>
                </a:lnTo>
                <a:lnTo>
                  <a:pt x="132" y="226"/>
                </a:lnTo>
                <a:lnTo>
                  <a:pt x="130" y="230"/>
                </a:lnTo>
                <a:lnTo>
                  <a:pt x="128" y="234"/>
                </a:lnTo>
                <a:lnTo>
                  <a:pt x="130" y="240"/>
                </a:lnTo>
                <a:lnTo>
                  <a:pt x="132" y="244"/>
                </a:lnTo>
                <a:lnTo>
                  <a:pt x="132" y="248"/>
                </a:lnTo>
                <a:lnTo>
                  <a:pt x="130" y="250"/>
                </a:lnTo>
                <a:lnTo>
                  <a:pt x="130" y="250"/>
                </a:lnTo>
                <a:lnTo>
                  <a:pt x="128" y="254"/>
                </a:lnTo>
                <a:lnTo>
                  <a:pt x="124" y="254"/>
                </a:lnTo>
                <a:lnTo>
                  <a:pt x="122" y="254"/>
                </a:lnTo>
                <a:lnTo>
                  <a:pt x="120" y="256"/>
                </a:lnTo>
                <a:lnTo>
                  <a:pt x="120" y="256"/>
                </a:lnTo>
                <a:lnTo>
                  <a:pt x="120" y="260"/>
                </a:lnTo>
                <a:lnTo>
                  <a:pt x="122" y="262"/>
                </a:lnTo>
                <a:lnTo>
                  <a:pt x="124" y="266"/>
                </a:lnTo>
                <a:lnTo>
                  <a:pt x="126" y="268"/>
                </a:lnTo>
                <a:lnTo>
                  <a:pt x="126" y="268"/>
                </a:lnTo>
                <a:lnTo>
                  <a:pt x="124" y="270"/>
                </a:lnTo>
                <a:lnTo>
                  <a:pt x="124" y="272"/>
                </a:lnTo>
                <a:lnTo>
                  <a:pt x="130" y="276"/>
                </a:lnTo>
                <a:lnTo>
                  <a:pt x="136" y="282"/>
                </a:lnTo>
                <a:lnTo>
                  <a:pt x="142" y="288"/>
                </a:lnTo>
                <a:lnTo>
                  <a:pt x="142" y="288"/>
                </a:lnTo>
                <a:lnTo>
                  <a:pt x="150" y="296"/>
                </a:lnTo>
                <a:lnTo>
                  <a:pt x="158" y="302"/>
                </a:lnTo>
                <a:lnTo>
                  <a:pt x="166" y="306"/>
                </a:lnTo>
                <a:lnTo>
                  <a:pt x="170" y="310"/>
                </a:lnTo>
                <a:lnTo>
                  <a:pt x="170" y="310"/>
                </a:lnTo>
                <a:lnTo>
                  <a:pt x="170" y="312"/>
                </a:lnTo>
                <a:lnTo>
                  <a:pt x="168" y="312"/>
                </a:lnTo>
                <a:lnTo>
                  <a:pt x="164" y="312"/>
                </a:lnTo>
                <a:lnTo>
                  <a:pt x="160" y="314"/>
                </a:lnTo>
                <a:lnTo>
                  <a:pt x="160" y="316"/>
                </a:lnTo>
                <a:lnTo>
                  <a:pt x="158" y="318"/>
                </a:lnTo>
                <a:lnTo>
                  <a:pt x="158" y="318"/>
                </a:lnTo>
                <a:lnTo>
                  <a:pt x="158" y="322"/>
                </a:lnTo>
                <a:lnTo>
                  <a:pt x="160" y="324"/>
                </a:lnTo>
                <a:lnTo>
                  <a:pt x="160" y="326"/>
                </a:lnTo>
                <a:lnTo>
                  <a:pt x="158" y="332"/>
                </a:lnTo>
                <a:lnTo>
                  <a:pt x="158" y="332"/>
                </a:lnTo>
                <a:lnTo>
                  <a:pt x="158" y="336"/>
                </a:lnTo>
                <a:lnTo>
                  <a:pt x="158" y="340"/>
                </a:lnTo>
                <a:lnTo>
                  <a:pt x="160" y="344"/>
                </a:lnTo>
                <a:lnTo>
                  <a:pt x="158" y="346"/>
                </a:lnTo>
                <a:lnTo>
                  <a:pt x="158" y="346"/>
                </a:lnTo>
                <a:lnTo>
                  <a:pt x="156" y="348"/>
                </a:lnTo>
                <a:lnTo>
                  <a:pt x="154" y="352"/>
                </a:lnTo>
                <a:lnTo>
                  <a:pt x="156" y="356"/>
                </a:lnTo>
                <a:lnTo>
                  <a:pt x="162" y="364"/>
                </a:lnTo>
                <a:lnTo>
                  <a:pt x="172" y="372"/>
                </a:lnTo>
                <a:lnTo>
                  <a:pt x="172" y="372"/>
                </a:lnTo>
                <a:lnTo>
                  <a:pt x="176" y="374"/>
                </a:lnTo>
                <a:lnTo>
                  <a:pt x="178" y="378"/>
                </a:lnTo>
                <a:lnTo>
                  <a:pt x="178" y="386"/>
                </a:lnTo>
                <a:lnTo>
                  <a:pt x="178" y="398"/>
                </a:lnTo>
                <a:lnTo>
                  <a:pt x="180" y="406"/>
                </a:lnTo>
                <a:lnTo>
                  <a:pt x="184" y="418"/>
                </a:lnTo>
                <a:lnTo>
                  <a:pt x="184" y="418"/>
                </a:lnTo>
                <a:lnTo>
                  <a:pt x="188" y="428"/>
                </a:lnTo>
                <a:lnTo>
                  <a:pt x="188" y="434"/>
                </a:lnTo>
                <a:lnTo>
                  <a:pt x="186" y="440"/>
                </a:lnTo>
                <a:lnTo>
                  <a:pt x="184" y="446"/>
                </a:lnTo>
                <a:lnTo>
                  <a:pt x="178" y="454"/>
                </a:lnTo>
                <a:lnTo>
                  <a:pt x="176" y="458"/>
                </a:lnTo>
                <a:lnTo>
                  <a:pt x="176" y="462"/>
                </a:lnTo>
                <a:lnTo>
                  <a:pt x="176" y="462"/>
                </a:lnTo>
                <a:lnTo>
                  <a:pt x="176" y="470"/>
                </a:lnTo>
                <a:lnTo>
                  <a:pt x="176" y="472"/>
                </a:lnTo>
                <a:lnTo>
                  <a:pt x="174" y="474"/>
                </a:lnTo>
                <a:lnTo>
                  <a:pt x="174" y="478"/>
                </a:lnTo>
                <a:lnTo>
                  <a:pt x="174" y="478"/>
                </a:lnTo>
                <a:lnTo>
                  <a:pt x="168" y="468"/>
                </a:lnTo>
                <a:lnTo>
                  <a:pt x="168" y="460"/>
                </a:lnTo>
                <a:lnTo>
                  <a:pt x="168" y="452"/>
                </a:lnTo>
                <a:lnTo>
                  <a:pt x="170" y="448"/>
                </a:lnTo>
                <a:lnTo>
                  <a:pt x="174" y="444"/>
                </a:lnTo>
                <a:lnTo>
                  <a:pt x="174" y="440"/>
                </a:lnTo>
                <a:lnTo>
                  <a:pt x="174" y="434"/>
                </a:lnTo>
                <a:lnTo>
                  <a:pt x="170" y="430"/>
                </a:lnTo>
                <a:lnTo>
                  <a:pt x="170" y="430"/>
                </a:lnTo>
                <a:lnTo>
                  <a:pt x="166" y="426"/>
                </a:lnTo>
                <a:lnTo>
                  <a:pt x="168" y="424"/>
                </a:lnTo>
                <a:lnTo>
                  <a:pt x="170" y="420"/>
                </a:lnTo>
                <a:lnTo>
                  <a:pt x="170" y="416"/>
                </a:lnTo>
                <a:lnTo>
                  <a:pt x="170" y="410"/>
                </a:lnTo>
                <a:lnTo>
                  <a:pt x="170" y="410"/>
                </a:lnTo>
                <a:lnTo>
                  <a:pt x="162" y="386"/>
                </a:lnTo>
                <a:lnTo>
                  <a:pt x="160" y="378"/>
                </a:lnTo>
                <a:lnTo>
                  <a:pt x="158" y="378"/>
                </a:lnTo>
                <a:lnTo>
                  <a:pt x="156" y="378"/>
                </a:lnTo>
                <a:lnTo>
                  <a:pt x="156" y="378"/>
                </a:lnTo>
                <a:lnTo>
                  <a:pt x="156" y="378"/>
                </a:lnTo>
                <a:lnTo>
                  <a:pt x="154" y="376"/>
                </a:lnTo>
                <a:lnTo>
                  <a:pt x="152" y="368"/>
                </a:lnTo>
                <a:lnTo>
                  <a:pt x="148" y="352"/>
                </a:lnTo>
                <a:lnTo>
                  <a:pt x="148" y="352"/>
                </a:lnTo>
                <a:lnTo>
                  <a:pt x="142" y="334"/>
                </a:lnTo>
                <a:lnTo>
                  <a:pt x="138" y="322"/>
                </a:lnTo>
                <a:lnTo>
                  <a:pt x="138" y="322"/>
                </a:lnTo>
                <a:lnTo>
                  <a:pt x="136" y="318"/>
                </a:lnTo>
                <a:lnTo>
                  <a:pt x="134" y="314"/>
                </a:lnTo>
                <a:lnTo>
                  <a:pt x="132" y="312"/>
                </a:lnTo>
                <a:lnTo>
                  <a:pt x="132" y="306"/>
                </a:lnTo>
                <a:lnTo>
                  <a:pt x="132" y="306"/>
                </a:lnTo>
                <a:lnTo>
                  <a:pt x="128" y="308"/>
                </a:lnTo>
                <a:lnTo>
                  <a:pt x="126" y="306"/>
                </a:lnTo>
                <a:lnTo>
                  <a:pt x="116" y="290"/>
                </a:lnTo>
                <a:lnTo>
                  <a:pt x="116" y="290"/>
                </a:lnTo>
                <a:lnTo>
                  <a:pt x="120" y="310"/>
                </a:lnTo>
                <a:lnTo>
                  <a:pt x="120" y="316"/>
                </a:lnTo>
                <a:lnTo>
                  <a:pt x="118" y="318"/>
                </a:lnTo>
                <a:lnTo>
                  <a:pt x="114" y="320"/>
                </a:lnTo>
                <a:lnTo>
                  <a:pt x="114" y="320"/>
                </a:lnTo>
                <a:lnTo>
                  <a:pt x="110" y="324"/>
                </a:lnTo>
                <a:lnTo>
                  <a:pt x="106" y="330"/>
                </a:lnTo>
                <a:lnTo>
                  <a:pt x="104" y="332"/>
                </a:lnTo>
                <a:lnTo>
                  <a:pt x="102" y="332"/>
                </a:lnTo>
                <a:lnTo>
                  <a:pt x="100" y="332"/>
                </a:lnTo>
                <a:lnTo>
                  <a:pt x="100" y="332"/>
                </a:lnTo>
                <a:lnTo>
                  <a:pt x="98" y="330"/>
                </a:lnTo>
                <a:lnTo>
                  <a:pt x="94" y="332"/>
                </a:lnTo>
                <a:lnTo>
                  <a:pt x="92" y="334"/>
                </a:lnTo>
                <a:lnTo>
                  <a:pt x="88" y="332"/>
                </a:lnTo>
                <a:lnTo>
                  <a:pt x="88" y="332"/>
                </a:lnTo>
                <a:lnTo>
                  <a:pt x="84" y="330"/>
                </a:lnTo>
                <a:lnTo>
                  <a:pt x="80" y="332"/>
                </a:lnTo>
                <a:lnTo>
                  <a:pt x="76" y="334"/>
                </a:lnTo>
                <a:lnTo>
                  <a:pt x="72" y="330"/>
                </a:lnTo>
                <a:lnTo>
                  <a:pt x="72" y="330"/>
                </a:lnTo>
                <a:lnTo>
                  <a:pt x="70" y="328"/>
                </a:lnTo>
                <a:lnTo>
                  <a:pt x="68" y="330"/>
                </a:lnTo>
                <a:lnTo>
                  <a:pt x="66" y="330"/>
                </a:lnTo>
                <a:lnTo>
                  <a:pt x="62" y="330"/>
                </a:lnTo>
                <a:lnTo>
                  <a:pt x="62" y="330"/>
                </a:lnTo>
                <a:lnTo>
                  <a:pt x="60" y="328"/>
                </a:lnTo>
                <a:lnTo>
                  <a:pt x="60" y="324"/>
                </a:lnTo>
                <a:lnTo>
                  <a:pt x="62" y="314"/>
                </a:lnTo>
                <a:lnTo>
                  <a:pt x="64" y="308"/>
                </a:lnTo>
                <a:lnTo>
                  <a:pt x="66" y="300"/>
                </a:lnTo>
                <a:lnTo>
                  <a:pt x="66" y="288"/>
                </a:lnTo>
                <a:lnTo>
                  <a:pt x="64" y="276"/>
                </a:lnTo>
                <a:lnTo>
                  <a:pt x="64" y="276"/>
                </a:lnTo>
                <a:lnTo>
                  <a:pt x="60" y="266"/>
                </a:lnTo>
                <a:lnTo>
                  <a:pt x="56" y="258"/>
                </a:lnTo>
                <a:lnTo>
                  <a:pt x="48" y="248"/>
                </a:lnTo>
                <a:lnTo>
                  <a:pt x="34" y="230"/>
                </a:lnTo>
                <a:lnTo>
                  <a:pt x="34" y="230"/>
                </a:lnTo>
                <a:lnTo>
                  <a:pt x="26" y="220"/>
                </a:lnTo>
                <a:lnTo>
                  <a:pt x="24" y="220"/>
                </a:lnTo>
                <a:lnTo>
                  <a:pt x="24" y="220"/>
                </a:lnTo>
                <a:lnTo>
                  <a:pt x="22" y="222"/>
                </a:lnTo>
                <a:lnTo>
                  <a:pt x="16" y="216"/>
                </a:lnTo>
                <a:lnTo>
                  <a:pt x="16" y="216"/>
                </a:lnTo>
                <a:lnTo>
                  <a:pt x="12" y="212"/>
                </a:lnTo>
                <a:lnTo>
                  <a:pt x="12" y="214"/>
                </a:lnTo>
                <a:lnTo>
                  <a:pt x="10" y="214"/>
                </a:lnTo>
                <a:lnTo>
                  <a:pt x="8" y="214"/>
                </a:lnTo>
                <a:lnTo>
                  <a:pt x="0" y="202"/>
                </a:lnTo>
                <a:lnTo>
                  <a:pt x="0" y="202"/>
                </a:lnTo>
                <a:lnTo>
                  <a:pt x="2" y="194"/>
                </a:lnTo>
                <a:lnTo>
                  <a:pt x="4" y="192"/>
                </a:lnTo>
                <a:lnTo>
                  <a:pt x="6" y="192"/>
                </a:lnTo>
                <a:lnTo>
                  <a:pt x="6" y="188"/>
                </a:lnTo>
                <a:lnTo>
                  <a:pt x="6" y="188"/>
                </a:lnTo>
                <a:lnTo>
                  <a:pt x="4" y="178"/>
                </a:lnTo>
                <a:lnTo>
                  <a:pt x="6" y="174"/>
                </a:lnTo>
                <a:lnTo>
                  <a:pt x="10" y="174"/>
                </a:lnTo>
                <a:lnTo>
                  <a:pt x="10" y="174"/>
                </a:lnTo>
                <a:lnTo>
                  <a:pt x="16" y="174"/>
                </a:lnTo>
                <a:lnTo>
                  <a:pt x="20" y="170"/>
                </a:lnTo>
                <a:lnTo>
                  <a:pt x="22" y="162"/>
                </a:lnTo>
                <a:lnTo>
                  <a:pt x="20" y="148"/>
                </a:lnTo>
                <a:lnTo>
                  <a:pt x="20" y="148"/>
                </a:lnTo>
                <a:lnTo>
                  <a:pt x="22" y="144"/>
                </a:lnTo>
                <a:lnTo>
                  <a:pt x="22" y="140"/>
                </a:lnTo>
                <a:lnTo>
                  <a:pt x="26" y="140"/>
                </a:lnTo>
                <a:lnTo>
                  <a:pt x="28" y="142"/>
                </a:lnTo>
                <a:lnTo>
                  <a:pt x="32" y="142"/>
                </a:lnTo>
                <a:lnTo>
                  <a:pt x="34" y="142"/>
                </a:lnTo>
                <a:lnTo>
                  <a:pt x="34" y="138"/>
                </a:lnTo>
                <a:lnTo>
                  <a:pt x="34" y="132"/>
                </a:lnTo>
                <a:lnTo>
                  <a:pt x="34" y="132"/>
                </a:lnTo>
                <a:lnTo>
                  <a:pt x="34" y="120"/>
                </a:lnTo>
                <a:lnTo>
                  <a:pt x="36" y="112"/>
                </a:lnTo>
                <a:lnTo>
                  <a:pt x="34" y="104"/>
                </a:lnTo>
                <a:lnTo>
                  <a:pt x="32" y="98"/>
                </a:lnTo>
                <a:lnTo>
                  <a:pt x="28" y="92"/>
                </a:lnTo>
                <a:lnTo>
                  <a:pt x="28" y="92"/>
                </a:lnTo>
                <a:lnTo>
                  <a:pt x="26" y="86"/>
                </a:lnTo>
                <a:lnTo>
                  <a:pt x="28" y="82"/>
                </a:lnTo>
                <a:lnTo>
                  <a:pt x="32" y="78"/>
                </a:lnTo>
                <a:lnTo>
                  <a:pt x="32" y="72"/>
                </a:lnTo>
                <a:lnTo>
                  <a:pt x="32" y="72"/>
                </a:lnTo>
                <a:lnTo>
                  <a:pt x="32" y="68"/>
                </a:lnTo>
                <a:lnTo>
                  <a:pt x="34" y="66"/>
                </a:lnTo>
                <a:lnTo>
                  <a:pt x="42" y="58"/>
                </a:lnTo>
                <a:lnTo>
                  <a:pt x="52" y="48"/>
                </a:lnTo>
                <a:lnTo>
                  <a:pt x="62" y="34"/>
                </a:lnTo>
                <a:lnTo>
                  <a:pt x="62" y="34"/>
                </a:lnTo>
                <a:lnTo>
                  <a:pt x="66" y="32"/>
                </a:lnTo>
                <a:lnTo>
                  <a:pt x="70" y="30"/>
                </a:lnTo>
                <a:lnTo>
                  <a:pt x="78" y="30"/>
                </a:lnTo>
                <a:lnTo>
                  <a:pt x="82" y="30"/>
                </a:lnTo>
                <a:lnTo>
                  <a:pt x="82" y="28"/>
                </a:lnTo>
                <a:lnTo>
                  <a:pt x="78" y="24"/>
                </a:lnTo>
                <a:lnTo>
                  <a:pt x="78" y="24"/>
                </a:lnTo>
                <a:lnTo>
                  <a:pt x="76" y="20"/>
                </a:lnTo>
                <a:lnTo>
                  <a:pt x="76" y="18"/>
                </a:lnTo>
                <a:lnTo>
                  <a:pt x="80" y="16"/>
                </a:lnTo>
                <a:lnTo>
                  <a:pt x="82" y="14"/>
                </a:lnTo>
                <a:lnTo>
                  <a:pt x="80" y="10"/>
                </a:lnTo>
                <a:lnTo>
                  <a:pt x="78" y="6"/>
                </a:lnTo>
                <a:lnTo>
                  <a:pt x="68" y="0"/>
                </a:lnTo>
                <a:lnTo>
                  <a:pt x="68" y="0"/>
                </a:lnTo>
                <a:lnTo>
                  <a:pt x="72" y="0"/>
                </a:lnTo>
                <a:lnTo>
                  <a:pt x="76" y="0"/>
                </a:lnTo>
                <a:lnTo>
                  <a:pt x="82" y="2"/>
                </a:lnTo>
                <a:lnTo>
                  <a:pt x="90" y="8"/>
                </a:lnTo>
                <a:lnTo>
                  <a:pt x="90" y="8"/>
                </a:lnTo>
                <a:lnTo>
                  <a:pt x="100" y="16"/>
                </a:lnTo>
                <a:lnTo>
                  <a:pt x="102" y="20"/>
                </a:lnTo>
                <a:lnTo>
                  <a:pt x="102" y="22"/>
                </a:lnTo>
                <a:lnTo>
                  <a:pt x="106" y="20"/>
                </a:lnTo>
                <a:lnTo>
                  <a:pt x="106" y="20"/>
                </a:lnTo>
                <a:lnTo>
                  <a:pt x="108" y="18"/>
                </a:lnTo>
                <a:lnTo>
                  <a:pt x="110" y="20"/>
                </a:lnTo>
                <a:lnTo>
                  <a:pt x="112" y="28"/>
                </a:lnTo>
                <a:lnTo>
                  <a:pt x="114" y="42"/>
                </a:lnTo>
                <a:lnTo>
                  <a:pt x="116" y="50"/>
                </a:lnTo>
                <a:lnTo>
                  <a:pt x="120" y="58"/>
                </a:lnTo>
                <a:lnTo>
                  <a:pt x="120" y="58"/>
                </a:lnTo>
                <a:lnTo>
                  <a:pt x="124" y="66"/>
                </a:lnTo>
                <a:lnTo>
                  <a:pt x="124" y="68"/>
                </a:lnTo>
                <a:lnTo>
                  <a:pt x="122" y="68"/>
                </a:lnTo>
                <a:lnTo>
                  <a:pt x="118" y="66"/>
                </a:lnTo>
                <a:lnTo>
                  <a:pt x="116" y="66"/>
                </a:lnTo>
                <a:lnTo>
                  <a:pt x="116" y="66"/>
                </a:lnTo>
                <a:lnTo>
                  <a:pt x="110" y="76"/>
                </a:lnTo>
                <a:lnTo>
                  <a:pt x="106" y="80"/>
                </a:lnTo>
                <a:lnTo>
                  <a:pt x="102" y="86"/>
                </a:lnTo>
                <a:lnTo>
                  <a:pt x="102" y="88"/>
                </a:lnTo>
                <a:lnTo>
                  <a:pt x="104" y="92"/>
                </a:lnTo>
                <a:lnTo>
                  <a:pt x="104" y="92"/>
                </a:lnTo>
                <a:lnTo>
                  <a:pt x="104" y="96"/>
                </a:lnTo>
                <a:lnTo>
                  <a:pt x="102" y="98"/>
                </a:lnTo>
                <a:lnTo>
                  <a:pt x="100" y="98"/>
                </a:lnTo>
                <a:lnTo>
                  <a:pt x="98" y="100"/>
                </a:lnTo>
                <a:lnTo>
                  <a:pt x="98" y="100"/>
                </a:lnTo>
                <a:lnTo>
                  <a:pt x="96" y="106"/>
                </a:lnTo>
                <a:lnTo>
                  <a:pt x="98" y="108"/>
                </a:lnTo>
                <a:lnTo>
                  <a:pt x="102" y="112"/>
                </a:lnTo>
                <a:lnTo>
                  <a:pt x="106" y="114"/>
                </a:lnTo>
                <a:lnTo>
                  <a:pt x="108" y="118"/>
                </a:lnTo>
                <a:lnTo>
                  <a:pt x="108" y="118"/>
                </a:lnTo>
                <a:lnTo>
                  <a:pt x="106" y="120"/>
                </a:lnTo>
                <a:lnTo>
                  <a:pt x="100" y="122"/>
                </a:lnTo>
                <a:lnTo>
                  <a:pt x="96" y="124"/>
                </a:lnTo>
                <a:lnTo>
                  <a:pt x="94" y="124"/>
                </a:lnTo>
                <a:lnTo>
                  <a:pt x="94" y="126"/>
                </a:lnTo>
                <a:lnTo>
                  <a:pt x="94" y="126"/>
                </a:lnTo>
                <a:lnTo>
                  <a:pt x="94" y="130"/>
                </a:lnTo>
                <a:lnTo>
                  <a:pt x="96" y="130"/>
                </a:lnTo>
                <a:lnTo>
                  <a:pt x="108" y="126"/>
                </a:lnTo>
                <a:lnTo>
                  <a:pt x="108" y="126"/>
                </a:lnTo>
                <a:lnTo>
                  <a:pt x="118" y="124"/>
                </a:lnTo>
                <a:lnTo>
                  <a:pt x="120" y="126"/>
                </a:lnTo>
                <a:lnTo>
                  <a:pt x="118" y="130"/>
                </a:lnTo>
                <a:lnTo>
                  <a:pt x="118" y="130"/>
                </a:lnTo>
                <a:lnTo>
                  <a:pt x="116" y="136"/>
                </a:lnTo>
                <a:lnTo>
                  <a:pt x="116" y="138"/>
                </a:lnTo>
                <a:lnTo>
                  <a:pt x="120" y="140"/>
                </a:lnTo>
                <a:lnTo>
                  <a:pt x="120" y="142"/>
                </a:lnTo>
                <a:lnTo>
                  <a:pt x="120" y="142"/>
                </a:lnTo>
                <a:lnTo>
                  <a:pt x="120" y="144"/>
                </a:lnTo>
                <a:lnTo>
                  <a:pt x="122" y="146"/>
                </a:lnTo>
                <a:lnTo>
                  <a:pt x="126" y="148"/>
                </a:lnTo>
                <a:lnTo>
                  <a:pt x="130" y="146"/>
                </a:lnTo>
                <a:lnTo>
                  <a:pt x="130" y="146"/>
                </a:lnTo>
                <a:lnTo>
                  <a:pt x="132" y="148"/>
                </a:lnTo>
                <a:lnTo>
                  <a:pt x="132" y="148"/>
                </a:lnTo>
                <a:lnTo>
                  <a:pt x="132" y="150"/>
                </a:lnTo>
                <a:lnTo>
                  <a:pt x="136" y="150"/>
                </a:lnTo>
                <a:lnTo>
                  <a:pt x="140" y="150"/>
                </a:lnTo>
                <a:lnTo>
                  <a:pt x="140" y="152"/>
                </a:lnTo>
                <a:lnTo>
                  <a:pt x="140" y="152"/>
                </a:lnTo>
                <a:lnTo>
                  <a:pt x="122" y="170"/>
                </a:lnTo>
                <a:lnTo>
                  <a:pt x="122" y="170"/>
                </a:lnTo>
                <a:lnTo>
                  <a:pt x="122" y="174"/>
                </a:lnTo>
                <a:lnTo>
                  <a:pt x="124" y="176"/>
                </a:lnTo>
                <a:lnTo>
                  <a:pt x="134" y="176"/>
                </a:lnTo>
                <a:lnTo>
                  <a:pt x="148" y="176"/>
                </a:lnTo>
                <a:lnTo>
                  <a:pt x="148" y="176"/>
                </a:lnTo>
                <a:lnTo>
                  <a:pt x="150" y="182"/>
                </a:lnTo>
                <a:lnTo>
                  <a:pt x="154" y="186"/>
                </a:lnTo>
                <a:lnTo>
                  <a:pt x="158" y="188"/>
                </a:lnTo>
                <a:lnTo>
                  <a:pt x="162" y="188"/>
                </a:lnTo>
                <a:lnTo>
                  <a:pt x="170" y="190"/>
                </a:lnTo>
                <a:lnTo>
                  <a:pt x="174" y="192"/>
                </a:lnTo>
                <a:lnTo>
                  <a:pt x="176" y="192"/>
                </a:lnTo>
                <a:lnTo>
                  <a:pt x="176" y="192"/>
                </a:lnTo>
                <a:lnTo>
                  <a:pt x="172" y="196"/>
                </a:lnTo>
                <a:lnTo>
                  <a:pt x="170" y="200"/>
                </a:lnTo>
                <a:lnTo>
                  <a:pt x="170" y="204"/>
                </a:lnTo>
                <a:lnTo>
                  <a:pt x="172" y="210"/>
                </a:lnTo>
                <a:lnTo>
                  <a:pt x="172" y="212"/>
                </a:lnTo>
                <a:lnTo>
                  <a:pt x="170" y="214"/>
                </a:lnTo>
                <a:lnTo>
                  <a:pt x="170" y="214"/>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86" name="Freeform 186"/>
          <p:cNvSpPr>
            <a:spLocks/>
          </p:cNvSpPr>
          <p:nvPr/>
        </p:nvSpPr>
        <p:spPr bwMode="auto">
          <a:xfrm>
            <a:off x="4019590" y="2474801"/>
            <a:ext cx="68365" cy="86493"/>
          </a:xfrm>
          <a:custGeom>
            <a:avLst/>
            <a:gdLst/>
            <a:ahLst/>
            <a:cxnLst>
              <a:cxn ang="0">
                <a:pos x="38" y="76"/>
              </a:cxn>
              <a:cxn ang="0">
                <a:pos x="38" y="70"/>
              </a:cxn>
              <a:cxn ang="0">
                <a:pos x="52" y="58"/>
              </a:cxn>
              <a:cxn ang="0">
                <a:pos x="60" y="46"/>
              </a:cxn>
              <a:cxn ang="0">
                <a:pos x="60" y="42"/>
              </a:cxn>
              <a:cxn ang="0">
                <a:pos x="58" y="36"/>
              </a:cxn>
              <a:cxn ang="0">
                <a:pos x="58" y="30"/>
              </a:cxn>
              <a:cxn ang="0">
                <a:pos x="58" y="26"/>
              </a:cxn>
              <a:cxn ang="0">
                <a:pos x="58" y="24"/>
              </a:cxn>
              <a:cxn ang="0">
                <a:pos x="52" y="20"/>
              </a:cxn>
              <a:cxn ang="0">
                <a:pos x="50" y="18"/>
              </a:cxn>
              <a:cxn ang="0">
                <a:pos x="50" y="14"/>
              </a:cxn>
              <a:cxn ang="0">
                <a:pos x="50" y="8"/>
              </a:cxn>
              <a:cxn ang="0">
                <a:pos x="46" y="8"/>
              </a:cxn>
              <a:cxn ang="0">
                <a:pos x="42" y="4"/>
              </a:cxn>
              <a:cxn ang="0">
                <a:pos x="36" y="2"/>
              </a:cxn>
              <a:cxn ang="0">
                <a:pos x="30" y="0"/>
              </a:cxn>
              <a:cxn ang="0">
                <a:pos x="22" y="4"/>
              </a:cxn>
              <a:cxn ang="0">
                <a:pos x="18" y="6"/>
              </a:cxn>
              <a:cxn ang="0">
                <a:pos x="12" y="10"/>
              </a:cxn>
              <a:cxn ang="0">
                <a:pos x="8" y="18"/>
              </a:cxn>
              <a:cxn ang="0">
                <a:pos x="6" y="20"/>
              </a:cxn>
              <a:cxn ang="0">
                <a:pos x="4" y="24"/>
              </a:cxn>
              <a:cxn ang="0">
                <a:pos x="0" y="26"/>
              </a:cxn>
              <a:cxn ang="0">
                <a:pos x="2" y="30"/>
              </a:cxn>
              <a:cxn ang="0">
                <a:pos x="2" y="32"/>
              </a:cxn>
              <a:cxn ang="0">
                <a:pos x="0" y="34"/>
              </a:cxn>
              <a:cxn ang="0">
                <a:pos x="4" y="36"/>
              </a:cxn>
              <a:cxn ang="0">
                <a:pos x="4" y="36"/>
              </a:cxn>
              <a:cxn ang="0">
                <a:pos x="4" y="38"/>
              </a:cxn>
              <a:cxn ang="0">
                <a:pos x="2" y="40"/>
              </a:cxn>
              <a:cxn ang="0">
                <a:pos x="0" y="40"/>
              </a:cxn>
              <a:cxn ang="0">
                <a:pos x="6" y="46"/>
              </a:cxn>
              <a:cxn ang="0">
                <a:pos x="8" y="50"/>
              </a:cxn>
              <a:cxn ang="0">
                <a:pos x="10" y="52"/>
              </a:cxn>
              <a:cxn ang="0">
                <a:pos x="8" y="54"/>
              </a:cxn>
              <a:cxn ang="0">
                <a:pos x="12" y="58"/>
              </a:cxn>
              <a:cxn ang="0">
                <a:pos x="16" y="60"/>
              </a:cxn>
              <a:cxn ang="0">
                <a:pos x="20" y="58"/>
              </a:cxn>
              <a:cxn ang="0">
                <a:pos x="20" y="60"/>
              </a:cxn>
              <a:cxn ang="0">
                <a:pos x="22" y="62"/>
              </a:cxn>
              <a:cxn ang="0">
                <a:pos x="22" y="62"/>
              </a:cxn>
              <a:cxn ang="0">
                <a:pos x="22" y="64"/>
              </a:cxn>
              <a:cxn ang="0">
                <a:pos x="22" y="66"/>
              </a:cxn>
              <a:cxn ang="0">
                <a:pos x="18" y="66"/>
              </a:cxn>
              <a:cxn ang="0">
                <a:pos x="18" y="66"/>
              </a:cxn>
              <a:cxn ang="0">
                <a:pos x="32" y="74"/>
              </a:cxn>
              <a:cxn ang="0">
                <a:pos x="38" y="76"/>
              </a:cxn>
            </a:cxnLst>
            <a:rect l="0" t="0" r="r" b="b"/>
            <a:pathLst>
              <a:path w="60" h="76">
                <a:moveTo>
                  <a:pt x="38" y="76"/>
                </a:moveTo>
                <a:lnTo>
                  <a:pt x="38" y="76"/>
                </a:lnTo>
                <a:lnTo>
                  <a:pt x="36" y="72"/>
                </a:lnTo>
                <a:lnTo>
                  <a:pt x="38" y="70"/>
                </a:lnTo>
                <a:lnTo>
                  <a:pt x="52" y="58"/>
                </a:lnTo>
                <a:lnTo>
                  <a:pt x="52" y="58"/>
                </a:lnTo>
                <a:lnTo>
                  <a:pt x="58" y="50"/>
                </a:lnTo>
                <a:lnTo>
                  <a:pt x="60" y="46"/>
                </a:lnTo>
                <a:lnTo>
                  <a:pt x="60" y="44"/>
                </a:lnTo>
                <a:lnTo>
                  <a:pt x="60" y="42"/>
                </a:lnTo>
                <a:lnTo>
                  <a:pt x="60" y="42"/>
                </a:lnTo>
                <a:lnTo>
                  <a:pt x="58" y="36"/>
                </a:lnTo>
                <a:lnTo>
                  <a:pt x="58" y="32"/>
                </a:lnTo>
                <a:lnTo>
                  <a:pt x="58" y="30"/>
                </a:lnTo>
                <a:lnTo>
                  <a:pt x="58" y="26"/>
                </a:lnTo>
                <a:lnTo>
                  <a:pt x="58" y="26"/>
                </a:lnTo>
                <a:lnTo>
                  <a:pt x="56" y="24"/>
                </a:lnTo>
                <a:lnTo>
                  <a:pt x="58" y="24"/>
                </a:lnTo>
                <a:lnTo>
                  <a:pt x="56" y="22"/>
                </a:lnTo>
                <a:lnTo>
                  <a:pt x="52" y="20"/>
                </a:lnTo>
                <a:lnTo>
                  <a:pt x="52" y="20"/>
                </a:lnTo>
                <a:lnTo>
                  <a:pt x="50" y="18"/>
                </a:lnTo>
                <a:lnTo>
                  <a:pt x="48" y="18"/>
                </a:lnTo>
                <a:lnTo>
                  <a:pt x="50" y="14"/>
                </a:lnTo>
                <a:lnTo>
                  <a:pt x="50" y="10"/>
                </a:lnTo>
                <a:lnTo>
                  <a:pt x="50" y="8"/>
                </a:lnTo>
                <a:lnTo>
                  <a:pt x="46" y="8"/>
                </a:lnTo>
                <a:lnTo>
                  <a:pt x="46" y="8"/>
                </a:lnTo>
                <a:lnTo>
                  <a:pt x="44" y="6"/>
                </a:lnTo>
                <a:lnTo>
                  <a:pt x="42" y="4"/>
                </a:lnTo>
                <a:lnTo>
                  <a:pt x="40" y="2"/>
                </a:lnTo>
                <a:lnTo>
                  <a:pt x="36" y="2"/>
                </a:lnTo>
                <a:lnTo>
                  <a:pt x="36" y="2"/>
                </a:lnTo>
                <a:lnTo>
                  <a:pt x="30" y="0"/>
                </a:lnTo>
                <a:lnTo>
                  <a:pt x="26" y="2"/>
                </a:lnTo>
                <a:lnTo>
                  <a:pt x="22" y="4"/>
                </a:lnTo>
                <a:lnTo>
                  <a:pt x="18" y="6"/>
                </a:lnTo>
                <a:lnTo>
                  <a:pt x="18" y="6"/>
                </a:lnTo>
                <a:lnTo>
                  <a:pt x="14" y="6"/>
                </a:lnTo>
                <a:lnTo>
                  <a:pt x="12" y="10"/>
                </a:lnTo>
                <a:lnTo>
                  <a:pt x="10" y="14"/>
                </a:lnTo>
                <a:lnTo>
                  <a:pt x="8" y="18"/>
                </a:lnTo>
                <a:lnTo>
                  <a:pt x="8" y="18"/>
                </a:lnTo>
                <a:lnTo>
                  <a:pt x="6" y="20"/>
                </a:lnTo>
                <a:lnTo>
                  <a:pt x="4" y="22"/>
                </a:lnTo>
                <a:lnTo>
                  <a:pt x="4" y="24"/>
                </a:lnTo>
                <a:lnTo>
                  <a:pt x="0" y="26"/>
                </a:lnTo>
                <a:lnTo>
                  <a:pt x="0" y="26"/>
                </a:lnTo>
                <a:lnTo>
                  <a:pt x="0" y="28"/>
                </a:lnTo>
                <a:lnTo>
                  <a:pt x="2" y="30"/>
                </a:lnTo>
                <a:lnTo>
                  <a:pt x="2" y="30"/>
                </a:lnTo>
                <a:lnTo>
                  <a:pt x="2" y="32"/>
                </a:lnTo>
                <a:lnTo>
                  <a:pt x="2" y="32"/>
                </a:lnTo>
                <a:lnTo>
                  <a:pt x="0" y="34"/>
                </a:lnTo>
                <a:lnTo>
                  <a:pt x="2" y="34"/>
                </a:lnTo>
                <a:lnTo>
                  <a:pt x="4" y="36"/>
                </a:lnTo>
                <a:lnTo>
                  <a:pt x="4" y="36"/>
                </a:lnTo>
                <a:lnTo>
                  <a:pt x="4" y="36"/>
                </a:lnTo>
                <a:lnTo>
                  <a:pt x="4" y="38"/>
                </a:lnTo>
                <a:lnTo>
                  <a:pt x="4" y="38"/>
                </a:lnTo>
                <a:lnTo>
                  <a:pt x="4" y="40"/>
                </a:lnTo>
                <a:lnTo>
                  <a:pt x="2" y="40"/>
                </a:lnTo>
                <a:lnTo>
                  <a:pt x="2" y="40"/>
                </a:lnTo>
                <a:lnTo>
                  <a:pt x="0" y="40"/>
                </a:lnTo>
                <a:lnTo>
                  <a:pt x="0" y="42"/>
                </a:lnTo>
                <a:lnTo>
                  <a:pt x="6" y="46"/>
                </a:lnTo>
                <a:lnTo>
                  <a:pt x="6" y="46"/>
                </a:lnTo>
                <a:lnTo>
                  <a:pt x="8" y="50"/>
                </a:lnTo>
                <a:lnTo>
                  <a:pt x="10" y="52"/>
                </a:lnTo>
                <a:lnTo>
                  <a:pt x="10" y="52"/>
                </a:lnTo>
                <a:lnTo>
                  <a:pt x="10" y="52"/>
                </a:lnTo>
                <a:lnTo>
                  <a:pt x="8" y="54"/>
                </a:lnTo>
                <a:lnTo>
                  <a:pt x="6" y="54"/>
                </a:lnTo>
                <a:lnTo>
                  <a:pt x="12" y="58"/>
                </a:lnTo>
                <a:lnTo>
                  <a:pt x="12" y="58"/>
                </a:lnTo>
                <a:lnTo>
                  <a:pt x="16" y="60"/>
                </a:lnTo>
                <a:lnTo>
                  <a:pt x="18" y="60"/>
                </a:lnTo>
                <a:lnTo>
                  <a:pt x="20" y="58"/>
                </a:lnTo>
                <a:lnTo>
                  <a:pt x="20" y="60"/>
                </a:lnTo>
                <a:lnTo>
                  <a:pt x="20" y="60"/>
                </a:lnTo>
                <a:lnTo>
                  <a:pt x="20" y="62"/>
                </a:lnTo>
                <a:lnTo>
                  <a:pt x="22" y="62"/>
                </a:lnTo>
                <a:lnTo>
                  <a:pt x="24" y="62"/>
                </a:lnTo>
                <a:lnTo>
                  <a:pt x="22" y="62"/>
                </a:lnTo>
                <a:lnTo>
                  <a:pt x="22" y="62"/>
                </a:lnTo>
                <a:lnTo>
                  <a:pt x="22" y="64"/>
                </a:lnTo>
                <a:lnTo>
                  <a:pt x="24" y="66"/>
                </a:lnTo>
                <a:lnTo>
                  <a:pt x="22" y="66"/>
                </a:lnTo>
                <a:lnTo>
                  <a:pt x="18" y="66"/>
                </a:lnTo>
                <a:lnTo>
                  <a:pt x="18" y="66"/>
                </a:lnTo>
                <a:lnTo>
                  <a:pt x="18" y="66"/>
                </a:lnTo>
                <a:lnTo>
                  <a:pt x="18" y="66"/>
                </a:lnTo>
                <a:lnTo>
                  <a:pt x="24" y="70"/>
                </a:lnTo>
                <a:lnTo>
                  <a:pt x="32" y="74"/>
                </a:lnTo>
                <a:lnTo>
                  <a:pt x="38" y="76"/>
                </a:lnTo>
                <a:lnTo>
                  <a:pt x="38" y="76"/>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87" name="Freeform 187"/>
          <p:cNvSpPr>
            <a:spLocks/>
          </p:cNvSpPr>
          <p:nvPr/>
        </p:nvSpPr>
        <p:spPr bwMode="auto">
          <a:xfrm>
            <a:off x="4060610" y="2518048"/>
            <a:ext cx="102547" cy="113807"/>
          </a:xfrm>
          <a:custGeom>
            <a:avLst/>
            <a:gdLst/>
            <a:ahLst/>
            <a:cxnLst>
              <a:cxn ang="0">
                <a:pos x="82" y="100"/>
              </a:cxn>
              <a:cxn ang="0">
                <a:pos x="82" y="86"/>
              </a:cxn>
              <a:cxn ang="0">
                <a:pos x="86" y="82"/>
              </a:cxn>
              <a:cxn ang="0">
                <a:pos x="90" y="78"/>
              </a:cxn>
              <a:cxn ang="0">
                <a:pos x="88" y="74"/>
              </a:cxn>
              <a:cxn ang="0">
                <a:pos x="88" y="66"/>
              </a:cxn>
              <a:cxn ang="0">
                <a:pos x="82" y="64"/>
              </a:cxn>
              <a:cxn ang="0">
                <a:pos x="76" y="60"/>
              </a:cxn>
              <a:cxn ang="0">
                <a:pos x="74" y="58"/>
              </a:cxn>
              <a:cxn ang="0">
                <a:pos x="70" y="58"/>
              </a:cxn>
              <a:cxn ang="0">
                <a:pos x="66" y="56"/>
              </a:cxn>
              <a:cxn ang="0">
                <a:pos x="68" y="44"/>
              </a:cxn>
              <a:cxn ang="0">
                <a:pos x="68" y="40"/>
              </a:cxn>
              <a:cxn ang="0">
                <a:pos x="68" y="34"/>
              </a:cxn>
              <a:cxn ang="0">
                <a:pos x="66" y="26"/>
              </a:cxn>
              <a:cxn ang="0">
                <a:pos x="64" y="24"/>
              </a:cxn>
              <a:cxn ang="0">
                <a:pos x="60" y="26"/>
              </a:cxn>
              <a:cxn ang="0">
                <a:pos x="58" y="30"/>
              </a:cxn>
              <a:cxn ang="0">
                <a:pos x="50" y="30"/>
              </a:cxn>
              <a:cxn ang="0">
                <a:pos x="48" y="28"/>
              </a:cxn>
              <a:cxn ang="0">
                <a:pos x="50" y="22"/>
              </a:cxn>
              <a:cxn ang="0">
                <a:pos x="46" y="12"/>
              </a:cxn>
              <a:cxn ang="0">
                <a:pos x="38" y="0"/>
              </a:cxn>
              <a:cxn ang="0">
                <a:pos x="24" y="4"/>
              </a:cxn>
              <a:cxn ang="0">
                <a:pos x="24" y="6"/>
              </a:cxn>
              <a:cxn ang="0">
                <a:pos x="22" y="12"/>
              </a:cxn>
              <a:cxn ang="0">
                <a:pos x="16" y="20"/>
              </a:cxn>
              <a:cxn ang="0">
                <a:pos x="0" y="34"/>
              </a:cxn>
              <a:cxn ang="0">
                <a:pos x="2" y="38"/>
              </a:cxn>
              <a:cxn ang="0">
                <a:pos x="8" y="42"/>
              </a:cxn>
              <a:cxn ang="0">
                <a:pos x="4" y="44"/>
              </a:cxn>
              <a:cxn ang="0">
                <a:pos x="8" y="46"/>
              </a:cxn>
              <a:cxn ang="0">
                <a:pos x="16" y="52"/>
              </a:cxn>
              <a:cxn ang="0">
                <a:pos x="22" y="56"/>
              </a:cxn>
              <a:cxn ang="0">
                <a:pos x="22" y="58"/>
              </a:cxn>
              <a:cxn ang="0">
                <a:pos x="26" y="64"/>
              </a:cxn>
              <a:cxn ang="0">
                <a:pos x="34" y="70"/>
              </a:cxn>
              <a:cxn ang="0">
                <a:pos x="44" y="78"/>
              </a:cxn>
              <a:cxn ang="0">
                <a:pos x="50" y="84"/>
              </a:cxn>
              <a:cxn ang="0">
                <a:pos x="54" y="86"/>
              </a:cxn>
              <a:cxn ang="0">
                <a:pos x="54" y="88"/>
              </a:cxn>
              <a:cxn ang="0">
                <a:pos x="58" y="90"/>
              </a:cxn>
              <a:cxn ang="0">
                <a:pos x="72" y="98"/>
              </a:cxn>
              <a:cxn ang="0">
                <a:pos x="82" y="100"/>
              </a:cxn>
            </a:cxnLst>
            <a:rect l="0" t="0" r="r" b="b"/>
            <a:pathLst>
              <a:path w="90" h="100">
                <a:moveTo>
                  <a:pt x="82" y="100"/>
                </a:moveTo>
                <a:lnTo>
                  <a:pt x="82" y="100"/>
                </a:lnTo>
                <a:lnTo>
                  <a:pt x="82" y="92"/>
                </a:lnTo>
                <a:lnTo>
                  <a:pt x="82" y="86"/>
                </a:lnTo>
                <a:lnTo>
                  <a:pt x="84" y="82"/>
                </a:lnTo>
                <a:lnTo>
                  <a:pt x="86" y="82"/>
                </a:lnTo>
                <a:lnTo>
                  <a:pt x="90" y="80"/>
                </a:lnTo>
                <a:lnTo>
                  <a:pt x="90" y="78"/>
                </a:lnTo>
                <a:lnTo>
                  <a:pt x="88" y="74"/>
                </a:lnTo>
                <a:lnTo>
                  <a:pt x="88" y="74"/>
                </a:lnTo>
                <a:lnTo>
                  <a:pt x="88" y="70"/>
                </a:lnTo>
                <a:lnTo>
                  <a:pt x="88" y="66"/>
                </a:lnTo>
                <a:lnTo>
                  <a:pt x="88" y="66"/>
                </a:lnTo>
                <a:lnTo>
                  <a:pt x="82" y="64"/>
                </a:lnTo>
                <a:lnTo>
                  <a:pt x="82" y="64"/>
                </a:lnTo>
                <a:lnTo>
                  <a:pt x="76" y="60"/>
                </a:lnTo>
                <a:lnTo>
                  <a:pt x="74" y="58"/>
                </a:lnTo>
                <a:lnTo>
                  <a:pt x="74" y="58"/>
                </a:lnTo>
                <a:lnTo>
                  <a:pt x="70" y="58"/>
                </a:lnTo>
                <a:lnTo>
                  <a:pt x="70" y="58"/>
                </a:lnTo>
                <a:lnTo>
                  <a:pt x="68" y="56"/>
                </a:lnTo>
                <a:lnTo>
                  <a:pt x="66" y="56"/>
                </a:lnTo>
                <a:lnTo>
                  <a:pt x="66" y="50"/>
                </a:lnTo>
                <a:lnTo>
                  <a:pt x="68" y="44"/>
                </a:lnTo>
                <a:lnTo>
                  <a:pt x="68" y="40"/>
                </a:lnTo>
                <a:lnTo>
                  <a:pt x="68" y="40"/>
                </a:lnTo>
                <a:lnTo>
                  <a:pt x="68" y="38"/>
                </a:lnTo>
                <a:lnTo>
                  <a:pt x="68" y="34"/>
                </a:lnTo>
                <a:lnTo>
                  <a:pt x="68" y="32"/>
                </a:lnTo>
                <a:lnTo>
                  <a:pt x="66" y="26"/>
                </a:lnTo>
                <a:lnTo>
                  <a:pt x="66" y="26"/>
                </a:lnTo>
                <a:lnTo>
                  <a:pt x="64" y="24"/>
                </a:lnTo>
                <a:lnTo>
                  <a:pt x="62" y="22"/>
                </a:lnTo>
                <a:lnTo>
                  <a:pt x="60" y="26"/>
                </a:lnTo>
                <a:lnTo>
                  <a:pt x="60" y="26"/>
                </a:lnTo>
                <a:lnTo>
                  <a:pt x="58" y="30"/>
                </a:lnTo>
                <a:lnTo>
                  <a:pt x="54" y="30"/>
                </a:lnTo>
                <a:lnTo>
                  <a:pt x="50" y="30"/>
                </a:lnTo>
                <a:lnTo>
                  <a:pt x="50" y="30"/>
                </a:lnTo>
                <a:lnTo>
                  <a:pt x="48" y="28"/>
                </a:lnTo>
                <a:lnTo>
                  <a:pt x="48" y="26"/>
                </a:lnTo>
                <a:lnTo>
                  <a:pt x="50" y="22"/>
                </a:lnTo>
                <a:lnTo>
                  <a:pt x="46" y="12"/>
                </a:lnTo>
                <a:lnTo>
                  <a:pt x="46" y="12"/>
                </a:lnTo>
                <a:lnTo>
                  <a:pt x="42" y="4"/>
                </a:lnTo>
                <a:lnTo>
                  <a:pt x="38" y="0"/>
                </a:lnTo>
                <a:lnTo>
                  <a:pt x="32" y="0"/>
                </a:lnTo>
                <a:lnTo>
                  <a:pt x="24" y="4"/>
                </a:lnTo>
                <a:lnTo>
                  <a:pt x="24" y="4"/>
                </a:lnTo>
                <a:lnTo>
                  <a:pt x="24" y="6"/>
                </a:lnTo>
                <a:lnTo>
                  <a:pt x="24" y="8"/>
                </a:lnTo>
                <a:lnTo>
                  <a:pt x="22" y="12"/>
                </a:lnTo>
                <a:lnTo>
                  <a:pt x="16" y="20"/>
                </a:lnTo>
                <a:lnTo>
                  <a:pt x="16" y="20"/>
                </a:lnTo>
                <a:lnTo>
                  <a:pt x="2" y="32"/>
                </a:lnTo>
                <a:lnTo>
                  <a:pt x="0" y="34"/>
                </a:lnTo>
                <a:lnTo>
                  <a:pt x="2" y="38"/>
                </a:lnTo>
                <a:lnTo>
                  <a:pt x="2" y="38"/>
                </a:lnTo>
                <a:lnTo>
                  <a:pt x="8" y="42"/>
                </a:lnTo>
                <a:lnTo>
                  <a:pt x="8" y="42"/>
                </a:lnTo>
                <a:lnTo>
                  <a:pt x="6" y="44"/>
                </a:lnTo>
                <a:lnTo>
                  <a:pt x="4" y="44"/>
                </a:lnTo>
                <a:lnTo>
                  <a:pt x="8" y="46"/>
                </a:lnTo>
                <a:lnTo>
                  <a:pt x="8" y="46"/>
                </a:lnTo>
                <a:lnTo>
                  <a:pt x="12" y="50"/>
                </a:lnTo>
                <a:lnTo>
                  <a:pt x="16" y="52"/>
                </a:lnTo>
                <a:lnTo>
                  <a:pt x="18" y="54"/>
                </a:lnTo>
                <a:lnTo>
                  <a:pt x="22" y="56"/>
                </a:lnTo>
                <a:lnTo>
                  <a:pt x="22" y="56"/>
                </a:lnTo>
                <a:lnTo>
                  <a:pt x="22" y="58"/>
                </a:lnTo>
                <a:lnTo>
                  <a:pt x="22" y="60"/>
                </a:lnTo>
                <a:lnTo>
                  <a:pt x="26" y="64"/>
                </a:lnTo>
                <a:lnTo>
                  <a:pt x="34" y="70"/>
                </a:lnTo>
                <a:lnTo>
                  <a:pt x="34" y="70"/>
                </a:lnTo>
                <a:lnTo>
                  <a:pt x="42" y="74"/>
                </a:lnTo>
                <a:lnTo>
                  <a:pt x="44" y="78"/>
                </a:lnTo>
                <a:lnTo>
                  <a:pt x="46" y="82"/>
                </a:lnTo>
                <a:lnTo>
                  <a:pt x="50" y="84"/>
                </a:lnTo>
                <a:lnTo>
                  <a:pt x="50" y="84"/>
                </a:lnTo>
                <a:lnTo>
                  <a:pt x="54" y="86"/>
                </a:lnTo>
                <a:lnTo>
                  <a:pt x="54" y="86"/>
                </a:lnTo>
                <a:lnTo>
                  <a:pt x="54" y="88"/>
                </a:lnTo>
                <a:lnTo>
                  <a:pt x="58" y="90"/>
                </a:lnTo>
                <a:lnTo>
                  <a:pt x="58" y="90"/>
                </a:lnTo>
                <a:lnTo>
                  <a:pt x="68" y="94"/>
                </a:lnTo>
                <a:lnTo>
                  <a:pt x="72" y="98"/>
                </a:lnTo>
                <a:lnTo>
                  <a:pt x="74" y="100"/>
                </a:lnTo>
                <a:lnTo>
                  <a:pt x="82" y="100"/>
                </a:lnTo>
                <a:lnTo>
                  <a:pt x="82" y="100"/>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88" name="Freeform 188"/>
          <p:cNvSpPr>
            <a:spLocks/>
          </p:cNvSpPr>
          <p:nvPr/>
        </p:nvSpPr>
        <p:spPr bwMode="auto">
          <a:xfrm>
            <a:off x="3944389" y="2365548"/>
            <a:ext cx="70644" cy="20486"/>
          </a:xfrm>
          <a:custGeom>
            <a:avLst/>
            <a:gdLst/>
            <a:ahLst/>
            <a:cxnLst>
              <a:cxn ang="0">
                <a:pos x="2" y="18"/>
              </a:cxn>
              <a:cxn ang="0">
                <a:pos x="2" y="18"/>
              </a:cxn>
              <a:cxn ang="0">
                <a:pos x="12" y="16"/>
              </a:cxn>
              <a:cxn ang="0">
                <a:pos x="16" y="14"/>
              </a:cxn>
              <a:cxn ang="0">
                <a:pos x="16" y="14"/>
              </a:cxn>
              <a:cxn ang="0">
                <a:pos x="20" y="12"/>
              </a:cxn>
              <a:cxn ang="0">
                <a:pos x="28" y="10"/>
              </a:cxn>
              <a:cxn ang="0">
                <a:pos x="28" y="10"/>
              </a:cxn>
              <a:cxn ang="0">
                <a:pos x="32" y="10"/>
              </a:cxn>
              <a:cxn ang="0">
                <a:pos x="38" y="10"/>
              </a:cxn>
              <a:cxn ang="0">
                <a:pos x="44" y="10"/>
              </a:cxn>
              <a:cxn ang="0">
                <a:pos x="54" y="10"/>
              </a:cxn>
              <a:cxn ang="0">
                <a:pos x="54" y="10"/>
              </a:cxn>
              <a:cxn ang="0">
                <a:pos x="62" y="6"/>
              </a:cxn>
              <a:cxn ang="0">
                <a:pos x="62" y="6"/>
              </a:cxn>
              <a:cxn ang="0">
                <a:pos x="56" y="6"/>
              </a:cxn>
              <a:cxn ang="0">
                <a:pos x="56" y="6"/>
              </a:cxn>
              <a:cxn ang="0">
                <a:pos x="48" y="4"/>
              </a:cxn>
              <a:cxn ang="0">
                <a:pos x="38" y="2"/>
              </a:cxn>
              <a:cxn ang="0">
                <a:pos x="30" y="0"/>
              </a:cxn>
              <a:cxn ang="0">
                <a:pos x="24" y="0"/>
              </a:cxn>
              <a:cxn ang="0">
                <a:pos x="24" y="0"/>
              </a:cxn>
              <a:cxn ang="0">
                <a:pos x="20" y="0"/>
              </a:cxn>
              <a:cxn ang="0">
                <a:pos x="20" y="2"/>
              </a:cxn>
              <a:cxn ang="0">
                <a:pos x="16" y="2"/>
              </a:cxn>
              <a:cxn ang="0">
                <a:pos x="0" y="4"/>
              </a:cxn>
              <a:cxn ang="0">
                <a:pos x="0" y="4"/>
              </a:cxn>
              <a:cxn ang="0">
                <a:pos x="2" y="10"/>
              </a:cxn>
              <a:cxn ang="0">
                <a:pos x="4" y="12"/>
              </a:cxn>
              <a:cxn ang="0">
                <a:pos x="4" y="14"/>
              </a:cxn>
              <a:cxn ang="0">
                <a:pos x="8" y="12"/>
              </a:cxn>
              <a:cxn ang="0">
                <a:pos x="8" y="12"/>
              </a:cxn>
              <a:cxn ang="0">
                <a:pos x="10" y="12"/>
              </a:cxn>
              <a:cxn ang="0">
                <a:pos x="10" y="10"/>
              </a:cxn>
              <a:cxn ang="0">
                <a:pos x="14" y="8"/>
              </a:cxn>
              <a:cxn ang="0">
                <a:pos x="26" y="6"/>
              </a:cxn>
              <a:cxn ang="0">
                <a:pos x="26" y="6"/>
              </a:cxn>
              <a:cxn ang="0">
                <a:pos x="14" y="8"/>
              </a:cxn>
              <a:cxn ang="0">
                <a:pos x="12" y="10"/>
              </a:cxn>
              <a:cxn ang="0">
                <a:pos x="12" y="12"/>
              </a:cxn>
              <a:cxn ang="0">
                <a:pos x="10" y="14"/>
              </a:cxn>
              <a:cxn ang="0">
                <a:pos x="10" y="14"/>
              </a:cxn>
              <a:cxn ang="0">
                <a:pos x="4" y="14"/>
              </a:cxn>
              <a:cxn ang="0">
                <a:pos x="2" y="14"/>
              </a:cxn>
              <a:cxn ang="0">
                <a:pos x="2" y="14"/>
              </a:cxn>
              <a:cxn ang="0">
                <a:pos x="2" y="18"/>
              </a:cxn>
              <a:cxn ang="0">
                <a:pos x="2" y="18"/>
              </a:cxn>
            </a:cxnLst>
            <a:rect l="0" t="0" r="r" b="b"/>
            <a:pathLst>
              <a:path w="62" h="18">
                <a:moveTo>
                  <a:pt x="2" y="18"/>
                </a:moveTo>
                <a:lnTo>
                  <a:pt x="2" y="18"/>
                </a:lnTo>
                <a:lnTo>
                  <a:pt x="12" y="16"/>
                </a:lnTo>
                <a:lnTo>
                  <a:pt x="16" y="14"/>
                </a:lnTo>
                <a:lnTo>
                  <a:pt x="16" y="14"/>
                </a:lnTo>
                <a:lnTo>
                  <a:pt x="20" y="12"/>
                </a:lnTo>
                <a:lnTo>
                  <a:pt x="28" y="10"/>
                </a:lnTo>
                <a:lnTo>
                  <a:pt x="28" y="10"/>
                </a:lnTo>
                <a:lnTo>
                  <a:pt x="32" y="10"/>
                </a:lnTo>
                <a:lnTo>
                  <a:pt x="38" y="10"/>
                </a:lnTo>
                <a:lnTo>
                  <a:pt x="44" y="10"/>
                </a:lnTo>
                <a:lnTo>
                  <a:pt x="54" y="10"/>
                </a:lnTo>
                <a:lnTo>
                  <a:pt x="54" y="10"/>
                </a:lnTo>
                <a:lnTo>
                  <a:pt x="62" y="6"/>
                </a:lnTo>
                <a:lnTo>
                  <a:pt x="62" y="6"/>
                </a:lnTo>
                <a:lnTo>
                  <a:pt x="56" y="6"/>
                </a:lnTo>
                <a:lnTo>
                  <a:pt x="56" y="6"/>
                </a:lnTo>
                <a:lnTo>
                  <a:pt x="48" y="4"/>
                </a:lnTo>
                <a:lnTo>
                  <a:pt x="38" y="2"/>
                </a:lnTo>
                <a:lnTo>
                  <a:pt x="30" y="0"/>
                </a:lnTo>
                <a:lnTo>
                  <a:pt x="24" y="0"/>
                </a:lnTo>
                <a:lnTo>
                  <a:pt x="24" y="0"/>
                </a:lnTo>
                <a:lnTo>
                  <a:pt x="20" y="0"/>
                </a:lnTo>
                <a:lnTo>
                  <a:pt x="20" y="2"/>
                </a:lnTo>
                <a:lnTo>
                  <a:pt x="16" y="2"/>
                </a:lnTo>
                <a:lnTo>
                  <a:pt x="0" y="4"/>
                </a:lnTo>
                <a:lnTo>
                  <a:pt x="0" y="4"/>
                </a:lnTo>
                <a:lnTo>
                  <a:pt x="2" y="10"/>
                </a:lnTo>
                <a:lnTo>
                  <a:pt x="4" y="12"/>
                </a:lnTo>
                <a:lnTo>
                  <a:pt x="4" y="14"/>
                </a:lnTo>
                <a:lnTo>
                  <a:pt x="8" y="12"/>
                </a:lnTo>
                <a:lnTo>
                  <a:pt x="8" y="12"/>
                </a:lnTo>
                <a:lnTo>
                  <a:pt x="10" y="12"/>
                </a:lnTo>
                <a:lnTo>
                  <a:pt x="10" y="10"/>
                </a:lnTo>
                <a:lnTo>
                  <a:pt x="14" y="8"/>
                </a:lnTo>
                <a:lnTo>
                  <a:pt x="26" y="6"/>
                </a:lnTo>
                <a:lnTo>
                  <a:pt x="26" y="6"/>
                </a:lnTo>
                <a:lnTo>
                  <a:pt x="14" y="8"/>
                </a:lnTo>
                <a:lnTo>
                  <a:pt x="12" y="10"/>
                </a:lnTo>
                <a:lnTo>
                  <a:pt x="12" y="12"/>
                </a:lnTo>
                <a:lnTo>
                  <a:pt x="10" y="14"/>
                </a:lnTo>
                <a:lnTo>
                  <a:pt x="10" y="14"/>
                </a:lnTo>
                <a:lnTo>
                  <a:pt x="4" y="14"/>
                </a:lnTo>
                <a:lnTo>
                  <a:pt x="2" y="14"/>
                </a:lnTo>
                <a:lnTo>
                  <a:pt x="2" y="14"/>
                </a:lnTo>
                <a:lnTo>
                  <a:pt x="2" y="18"/>
                </a:lnTo>
                <a:lnTo>
                  <a:pt x="2" y="18"/>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89" name="Freeform 189"/>
          <p:cNvSpPr>
            <a:spLocks/>
          </p:cNvSpPr>
          <p:nvPr/>
        </p:nvSpPr>
        <p:spPr bwMode="auto">
          <a:xfrm>
            <a:off x="3919322" y="2281332"/>
            <a:ext cx="145845" cy="127463"/>
          </a:xfrm>
          <a:custGeom>
            <a:avLst/>
            <a:gdLst/>
            <a:ahLst/>
            <a:cxnLst>
              <a:cxn ang="0">
                <a:pos x="106" y="40"/>
              </a:cxn>
              <a:cxn ang="0">
                <a:pos x="102" y="32"/>
              </a:cxn>
              <a:cxn ang="0">
                <a:pos x="100" y="26"/>
              </a:cxn>
              <a:cxn ang="0">
                <a:pos x="96" y="22"/>
              </a:cxn>
              <a:cxn ang="0">
                <a:pos x="94" y="14"/>
              </a:cxn>
              <a:cxn ang="0">
                <a:pos x="88" y="14"/>
              </a:cxn>
              <a:cxn ang="0">
                <a:pos x="80" y="4"/>
              </a:cxn>
              <a:cxn ang="0">
                <a:pos x="72" y="2"/>
              </a:cxn>
              <a:cxn ang="0">
                <a:pos x="66" y="0"/>
              </a:cxn>
              <a:cxn ang="0">
                <a:pos x="62" y="0"/>
              </a:cxn>
              <a:cxn ang="0">
                <a:pos x="56" y="4"/>
              </a:cxn>
              <a:cxn ang="0">
                <a:pos x="50" y="4"/>
              </a:cxn>
              <a:cxn ang="0">
                <a:pos x="44" y="4"/>
              </a:cxn>
              <a:cxn ang="0">
                <a:pos x="38" y="2"/>
              </a:cxn>
              <a:cxn ang="0">
                <a:pos x="32" y="6"/>
              </a:cxn>
              <a:cxn ang="0">
                <a:pos x="20" y="30"/>
              </a:cxn>
              <a:cxn ang="0">
                <a:pos x="6" y="46"/>
              </a:cxn>
              <a:cxn ang="0">
                <a:pos x="4" y="54"/>
              </a:cxn>
              <a:cxn ang="0">
                <a:pos x="8" y="56"/>
              </a:cxn>
              <a:cxn ang="0">
                <a:pos x="10" y="60"/>
              </a:cxn>
              <a:cxn ang="0">
                <a:pos x="12" y="62"/>
              </a:cxn>
              <a:cxn ang="0">
                <a:pos x="18" y="66"/>
              </a:cxn>
              <a:cxn ang="0">
                <a:pos x="26" y="66"/>
              </a:cxn>
              <a:cxn ang="0">
                <a:pos x="18" y="68"/>
              </a:cxn>
              <a:cxn ang="0">
                <a:pos x="22" y="74"/>
              </a:cxn>
              <a:cxn ang="0">
                <a:pos x="22" y="78"/>
              </a:cxn>
              <a:cxn ang="0">
                <a:pos x="42" y="76"/>
              </a:cxn>
              <a:cxn ang="0">
                <a:pos x="46" y="74"/>
              </a:cxn>
              <a:cxn ang="0">
                <a:pos x="70" y="78"/>
              </a:cxn>
              <a:cxn ang="0">
                <a:pos x="84" y="80"/>
              </a:cxn>
              <a:cxn ang="0">
                <a:pos x="76" y="84"/>
              </a:cxn>
              <a:cxn ang="0">
                <a:pos x="54" y="84"/>
              </a:cxn>
              <a:cxn ang="0">
                <a:pos x="42" y="86"/>
              </a:cxn>
              <a:cxn ang="0">
                <a:pos x="34" y="90"/>
              </a:cxn>
              <a:cxn ang="0">
                <a:pos x="22" y="100"/>
              </a:cxn>
              <a:cxn ang="0">
                <a:pos x="24" y="102"/>
              </a:cxn>
              <a:cxn ang="0">
                <a:pos x="32" y="100"/>
              </a:cxn>
              <a:cxn ang="0">
                <a:pos x="38" y="98"/>
              </a:cxn>
              <a:cxn ang="0">
                <a:pos x="44" y="98"/>
              </a:cxn>
              <a:cxn ang="0">
                <a:pos x="52" y="98"/>
              </a:cxn>
              <a:cxn ang="0">
                <a:pos x="58" y="100"/>
              </a:cxn>
              <a:cxn ang="0">
                <a:pos x="52" y="102"/>
              </a:cxn>
              <a:cxn ang="0">
                <a:pos x="48" y="100"/>
              </a:cxn>
              <a:cxn ang="0">
                <a:pos x="44" y="100"/>
              </a:cxn>
              <a:cxn ang="0">
                <a:pos x="34" y="102"/>
              </a:cxn>
              <a:cxn ang="0">
                <a:pos x="28" y="102"/>
              </a:cxn>
              <a:cxn ang="0">
                <a:pos x="26" y="104"/>
              </a:cxn>
              <a:cxn ang="0">
                <a:pos x="24" y="112"/>
              </a:cxn>
              <a:cxn ang="0">
                <a:pos x="28" y="108"/>
              </a:cxn>
              <a:cxn ang="0">
                <a:pos x="38" y="106"/>
              </a:cxn>
              <a:cxn ang="0">
                <a:pos x="62" y="102"/>
              </a:cxn>
              <a:cxn ang="0">
                <a:pos x="78" y="104"/>
              </a:cxn>
              <a:cxn ang="0">
                <a:pos x="92" y="106"/>
              </a:cxn>
              <a:cxn ang="0">
                <a:pos x="102" y="106"/>
              </a:cxn>
              <a:cxn ang="0">
                <a:pos x="126" y="108"/>
              </a:cxn>
              <a:cxn ang="0">
                <a:pos x="128" y="92"/>
              </a:cxn>
              <a:cxn ang="0">
                <a:pos x="122" y="76"/>
              </a:cxn>
              <a:cxn ang="0">
                <a:pos x="116" y="74"/>
              </a:cxn>
              <a:cxn ang="0">
                <a:pos x="114" y="62"/>
              </a:cxn>
              <a:cxn ang="0">
                <a:pos x="112" y="50"/>
              </a:cxn>
            </a:cxnLst>
            <a:rect l="0" t="0" r="r" b="b"/>
            <a:pathLst>
              <a:path w="128" h="112">
                <a:moveTo>
                  <a:pt x="112" y="44"/>
                </a:moveTo>
                <a:lnTo>
                  <a:pt x="112" y="44"/>
                </a:lnTo>
                <a:lnTo>
                  <a:pt x="106" y="40"/>
                </a:lnTo>
                <a:lnTo>
                  <a:pt x="104" y="38"/>
                </a:lnTo>
                <a:lnTo>
                  <a:pt x="104" y="36"/>
                </a:lnTo>
                <a:lnTo>
                  <a:pt x="102" y="32"/>
                </a:lnTo>
                <a:lnTo>
                  <a:pt x="102" y="32"/>
                </a:lnTo>
                <a:lnTo>
                  <a:pt x="100" y="30"/>
                </a:lnTo>
                <a:lnTo>
                  <a:pt x="100" y="26"/>
                </a:lnTo>
                <a:lnTo>
                  <a:pt x="100" y="24"/>
                </a:lnTo>
                <a:lnTo>
                  <a:pt x="96" y="22"/>
                </a:lnTo>
                <a:lnTo>
                  <a:pt x="96" y="22"/>
                </a:lnTo>
                <a:lnTo>
                  <a:pt x="94" y="20"/>
                </a:lnTo>
                <a:lnTo>
                  <a:pt x="94" y="16"/>
                </a:lnTo>
                <a:lnTo>
                  <a:pt x="94" y="14"/>
                </a:lnTo>
                <a:lnTo>
                  <a:pt x="90" y="14"/>
                </a:lnTo>
                <a:lnTo>
                  <a:pt x="90" y="14"/>
                </a:lnTo>
                <a:lnTo>
                  <a:pt x="88" y="14"/>
                </a:lnTo>
                <a:lnTo>
                  <a:pt x="86" y="12"/>
                </a:lnTo>
                <a:lnTo>
                  <a:pt x="82" y="8"/>
                </a:lnTo>
                <a:lnTo>
                  <a:pt x="80" y="4"/>
                </a:lnTo>
                <a:lnTo>
                  <a:pt x="76" y="4"/>
                </a:lnTo>
                <a:lnTo>
                  <a:pt x="72" y="2"/>
                </a:lnTo>
                <a:lnTo>
                  <a:pt x="72" y="2"/>
                </a:lnTo>
                <a:lnTo>
                  <a:pt x="68" y="2"/>
                </a:lnTo>
                <a:lnTo>
                  <a:pt x="66" y="0"/>
                </a:lnTo>
                <a:lnTo>
                  <a:pt x="66" y="0"/>
                </a:lnTo>
                <a:lnTo>
                  <a:pt x="64" y="0"/>
                </a:lnTo>
                <a:lnTo>
                  <a:pt x="64" y="0"/>
                </a:lnTo>
                <a:lnTo>
                  <a:pt x="62" y="0"/>
                </a:lnTo>
                <a:lnTo>
                  <a:pt x="60" y="2"/>
                </a:lnTo>
                <a:lnTo>
                  <a:pt x="60" y="4"/>
                </a:lnTo>
                <a:lnTo>
                  <a:pt x="56" y="4"/>
                </a:lnTo>
                <a:lnTo>
                  <a:pt x="56" y="4"/>
                </a:lnTo>
                <a:lnTo>
                  <a:pt x="52" y="4"/>
                </a:lnTo>
                <a:lnTo>
                  <a:pt x="50" y="4"/>
                </a:lnTo>
                <a:lnTo>
                  <a:pt x="50" y="4"/>
                </a:lnTo>
                <a:lnTo>
                  <a:pt x="46" y="4"/>
                </a:lnTo>
                <a:lnTo>
                  <a:pt x="44" y="4"/>
                </a:lnTo>
                <a:lnTo>
                  <a:pt x="40" y="2"/>
                </a:lnTo>
                <a:lnTo>
                  <a:pt x="40" y="2"/>
                </a:lnTo>
                <a:lnTo>
                  <a:pt x="38" y="2"/>
                </a:lnTo>
                <a:lnTo>
                  <a:pt x="36" y="2"/>
                </a:lnTo>
                <a:lnTo>
                  <a:pt x="32" y="6"/>
                </a:lnTo>
                <a:lnTo>
                  <a:pt x="32" y="6"/>
                </a:lnTo>
                <a:lnTo>
                  <a:pt x="28" y="16"/>
                </a:lnTo>
                <a:lnTo>
                  <a:pt x="20" y="30"/>
                </a:lnTo>
                <a:lnTo>
                  <a:pt x="20" y="30"/>
                </a:lnTo>
                <a:lnTo>
                  <a:pt x="12" y="42"/>
                </a:lnTo>
                <a:lnTo>
                  <a:pt x="6" y="46"/>
                </a:lnTo>
                <a:lnTo>
                  <a:pt x="6" y="46"/>
                </a:lnTo>
                <a:lnTo>
                  <a:pt x="0" y="52"/>
                </a:lnTo>
                <a:lnTo>
                  <a:pt x="0" y="52"/>
                </a:lnTo>
                <a:lnTo>
                  <a:pt x="4" y="54"/>
                </a:lnTo>
                <a:lnTo>
                  <a:pt x="4" y="54"/>
                </a:lnTo>
                <a:lnTo>
                  <a:pt x="8" y="56"/>
                </a:lnTo>
                <a:lnTo>
                  <a:pt x="8" y="56"/>
                </a:lnTo>
                <a:lnTo>
                  <a:pt x="6" y="58"/>
                </a:lnTo>
                <a:lnTo>
                  <a:pt x="10" y="60"/>
                </a:lnTo>
                <a:lnTo>
                  <a:pt x="10" y="60"/>
                </a:lnTo>
                <a:lnTo>
                  <a:pt x="14" y="62"/>
                </a:lnTo>
                <a:lnTo>
                  <a:pt x="14" y="62"/>
                </a:lnTo>
                <a:lnTo>
                  <a:pt x="12" y="62"/>
                </a:lnTo>
                <a:lnTo>
                  <a:pt x="14" y="66"/>
                </a:lnTo>
                <a:lnTo>
                  <a:pt x="14" y="66"/>
                </a:lnTo>
                <a:lnTo>
                  <a:pt x="18" y="66"/>
                </a:lnTo>
                <a:lnTo>
                  <a:pt x="20" y="66"/>
                </a:lnTo>
                <a:lnTo>
                  <a:pt x="22" y="64"/>
                </a:lnTo>
                <a:lnTo>
                  <a:pt x="26" y="66"/>
                </a:lnTo>
                <a:lnTo>
                  <a:pt x="26" y="66"/>
                </a:lnTo>
                <a:lnTo>
                  <a:pt x="20" y="66"/>
                </a:lnTo>
                <a:lnTo>
                  <a:pt x="18" y="68"/>
                </a:lnTo>
                <a:lnTo>
                  <a:pt x="20" y="70"/>
                </a:lnTo>
                <a:lnTo>
                  <a:pt x="20" y="70"/>
                </a:lnTo>
                <a:lnTo>
                  <a:pt x="22" y="74"/>
                </a:lnTo>
                <a:lnTo>
                  <a:pt x="22" y="74"/>
                </a:lnTo>
                <a:lnTo>
                  <a:pt x="20" y="76"/>
                </a:lnTo>
                <a:lnTo>
                  <a:pt x="22" y="78"/>
                </a:lnTo>
                <a:lnTo>
                  <a:pt x="22" y="78"/>
                </a:lnTo>
                <a:lnTo>
                  <a:pt x="38" y="76"/>
                </a:lnTo>
                <a:lnTo>
                  <a:pt x="42" y="76"/>
                </a:lnTo>
                <a:lnTo>
                  <a:pt x="42" y="74"/>
                </a:lnTo>
                <a:lnTo>
                  <a:pt x="46" y="74"/>
                </a:lnTo>
                <a:lnTo>
                  <a:pt x="46" y="74"/>
                </a:lnTo>
                <a:lnTo>
                  <a:pt x="52" y="74"/>
                </a:lnTo>
                <a:lnTo>
                  <a:pt x="60" y="76"/>
                </a:lnTo>
                <a:lnTo>
                  <a:pt x="70" y="78"/>
                </a:lnTo>
                <a:lnTo>
                  <a:pt x="78" y="80"/>
                </a:lnTo>
                <a:lnTo>
                  <a:pt x="78" y="80"/>
                </a:lnTo>
                <a:lnTo>
                  <a:pt x="84" y="80"/>
                </a:lnTo>
                <a:lnTo>
                  <a:pt x="84" y="80"/>
                </a:lnTo>
                <a:lnTo>
                  <a:pt x="76" y="84"/>
                </a:lnTo>
                <a:lnTo>
                  <a:pt x="76" y="84"/>
                </a:lnTo>
                <a:lnTo>
                  <a:pt x="66" y="84"/>
                </a:lnTo>
                <a:lnTo>
                  <a:pt x="60" y="84"/>
                </a:lnTo>
                <a:lnTo>
                  <a:pt x="54" y="84"/>
                </a:lnTo>
                <a:lnTo>
                  <a:pt x="50" y="84"/>
                </a:lnTo>
                <a:lnTo>
                  <a:pt x="50" y="84"/>
                </a:lnTo>
                <a:lnTo>
                  <a:pt x="42" y="86"/>
                </a:lnTo>
                <a:lnTo>
                  <a:pt x="38" y="88"/>
                </a:lnTo>
                <a:lnTo>
                  <a:pt x="38" y="88"/>
                </a:lnTo>
                <a:lnTo>
                  <a:pt x="34" y="90"/>
                </a:lnTo>
                <a:lnTo>
                  <a:pt x="24" y="92"/>
                </a:lnTo>
                <a:lnTo>
                  <a:pt x="24" y="92"/>
                </a:lnTo>
                <a:lnTo>
                  <a:pt x="22" y="100"/>
                </a:lnTo>
                <a:lnTo>
                  <a:pt x="22" y="102"/>
                </a:lnTo>
                <a:lnTo>
                  <a:pt x="24" y="102"/>
                </a:lnTo>
                <a:lnTo>
                  <a:pt x="24" y="102"/>
                </a:lnTo>
                <a:lnTo>
                  <a:pt x="28" y="100"/>
                </a:lnTo>
                <a:lnTo>
                  <a:pt x="30" y="98"/>
                </a:lnTo>
                <a:lnTo>
                  <a:pt x="32" y="100"/>
                </a:lnTo>
                <a:lnTo>
                  <a:pt x="34" y="100"/>
                </a:lnTo>
                <a:lnTo>
                  <a:pt x="34" y="100"/>
                </a:lnTo>
                <a:lnTo>
                  <a:pt x="38" y="98"/>
                </a:lnTo>
                <a:lnTo>
                  <a:pt x="40" y="98"/>
                </a:lnTo>
                <a:lnTo>
                  <a:pt x="42" y="98"/>
                </a:lnTo>
                <a:lnTo>
                  <a:pt x="44" y="98"/>
                </a:lnTo>
                <a:lnTo>
                  <a:pt x="44" y="98"/>
                </a:lnTo>
                <a:lnTo>
                  <a:pt x="48" y="98"/>
                </a:lnTo>
                <a:lnTo>
                  <a:pt x="52" y="98"/>
                </a:lnTo>
                <a:lnTo>
                  <a:pt x="54" y="100"/>
                </a:lnTo>
                <a:lnTo>
                  <a:pt x="58" y="100"/>
                </a:lnTo>
                <a:lnTo>
                  <a:pt x="58" y="100"/>
                </a:lnTo>
                <a:lnTo>
                  <a:pt x="56" y="100"/>
                </a:lnTo>
                <a:lnTo>
                  <a:pt x="54" y="102"/>
                </a:lnTo>
                <a:lnTo>
                  <a:pt x="52" y="102"/>
                </a:lnTo>
                <a:lnTo>
                  <a:pt x="52" y="102"/>
                </a:lnTo>
                <a:lnTo>
                  <a:pt x="48" y="100"/>
                </a:lnTo>
                <a:lnTo>
                  <a:pt x="48" y="100"/>
                </a:lnTo>
                <a:lnTo>
                  <a:pt x="46" y="100"/>
                </a:lnTo>
                <a:lnTo>
                  <a:pt x="44" y="100"/>
                </a:lnTo>
                <a:lnTo>
                  <a:pt x="44" y="100"/>
                </a:lnTo>
                <a:lnTo>
                  <a:pt x="38" y="100"/>
                </a:lnTo>
                <a:lnTo>
                  <a:pt x="36" y="102"/>
                </a:lnTo>
                <a:lnTo>
                  <a:pt x="34" y="102"/>
                </a:lnTo>
                <a:lnTo>
                  <a:pt x="34" y="102"/>
                </a:lnTo>
                <a:lnTo>
                  <a:pt x="28" y="102"/>
                </a:lnTo>
                <a:lnTo>
                  <a:pt x="28" y="102"/>
                </a:lnTo>
                <a:lnTo>
                  <a:pt x="28" y="104"/>
                </a:lnTo>
                <a:lnTo>
                  <a:pt x="26" y="104"/>
                </a:lnTo>
                <a:lnTo>
                  <a:pt x="26" y="104"/>
                </a:lnTo>
                <a:lnTo>
                  <a:pt x="22" y="106"/>
                </a:lnTo>
                <a:lnTo>
                  <a:pt x="22" y="108"/>
                </a:lnTo>
                <a:lnTo>
                  <a:pt x="24" y="112"/>
                </a:lnTo>
                <a:lnTo>
                  <a:pt x="24" y="112"/>
                </a:lnTo>
                <a:lnTo>
                  <a:pt x="28" y="110"/>
                </a:lnTo>
                <a:lnTo>
                  <a:pt x="28" y="108"/>
                </a:lnTo>
                <a:lnTo>
                  <a:pt x="30" y="106"/>
                </a:lnTo>
                <a:lnTo>
                  <a:pt x="38" y="106"/>
                </a:lnTo>
                <a:lnTo>
                  <a:pt x="38" y="106"/>
                </a:lnTo>
                <a:lnTo>
                  <a:pt x="50" y="104"/>
                </a:lnTo>
                <a:lnTo>
                  <a:pt x="56" y="102"/>
                </a:lnTo>
                <a:lnTo>
                  <a:pt x="62" y="102"/>
                </a:lnTo>
                <a:lnTo>
                  <a:pt x="62" y="102"/>
                </a:lnTo>
                <a:lnTo>
                  <a:pt x="78" y="104"/>
                </a:lnTo>
                <a:lnTo>
                  <a:pt x="78" y="104"/>
                </a:lnTo>
                <a:lnTo>
                  <a:pt x="84" y="104"/>
                </a:lnTo>
                <a:lnTo>
                  <a:pt x="88" y="106"/>
                </a:lnTo>
                <a:lnTo>
                  <a:pt x="92" y="106"/>
                </a:lnTo>
                <a:lnTo>
                  <a:pt x="96" y="106"/>
                </a:lnTo>
                <a:lnTo>
                  <a:pt x="96" y="106"/>
                </a:lnTo>
                <a:lnTo>
                  <a:pt x="102" y="106"/>
                </a:lnTo>
                <a:lnTo>
                  <a:pt x="108" y="108"/>
                </a:lnTo>
                <a:lnTo>
                  <a:pt x="114" y="108"/>
                </a:lnTo>
                <a:lnTo>
                  <a:pt x="126" y="108"/>
                </a:lnTo>
                <a:lnTo>
                  <a:pt x="126" y="108"/>
                </a:lnTo>
                <a:lnTo>
                  <a:pt x="128" y="102"/>
                </a:lnTo>
                <a:lnTo>
                  <a:pt x="128" y="92"/>
                </a:lnTo>
                <a:lnTo>
                  <a:pt x="126" y="84"/>
                </a:lnTo>
                <a:lnTo>
                  <a:pt x="122" y="76"/>
                </a:lnTo>
                <a:lnTo>
                  <a:pt x="122" y="76"/>
                </a:lnTo>
                <a:lnTo>
                  <a:pt x="120" y="78"/>
                </a:lnTo>
                <a:lnTo>
                  <a:pt x="118" y="78"/>
                </a:lnTo>
                <a:lnTo>
                  <a:pt x="116" y="74"/>
                </a:lnTo>
                <a:lnTo>
                  <a:pt x="114" y="68"/>
                </a:lnTo>
                <a:lnTo>
                  <a:pt x="114" y="62"/>
                </a:lnTo>
                <a:lnTo>
                  <a:pt x="114" y="62"/>
                </a:lnTo>
                <a:lnTo>
                  <a:pt x="116" y="54"/>
                </a:lnTo>
                <a:lnTo>
                  <a:pt x="114" y="52"/>
                </a:lnTo>
                <a:lnTo>
                  <a:pt x="112" y="50"/>
                </a:lnTo>
                <a:lnTo>
                  <a:pt x="112" y="44"/>
                </a:lnTo>
                <a:lnTo>
                  <a:pt x="112" y="44"/>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90" name="Freeform 190"/>
          <p:cNvSpPr>
            <a:spLocks/>
          </p:cNvSpPr>
          <p:nvPr/>
        </p:nvSpPr>
        <p:spPr bwMode="auto">
          <a:xfrm>
            <a:off x="3946668" y="2397414"/>
            <a:ext cx="61529" cy="43247"/>
          </a:xfrm>
          <a:custGeom>
            <a:avLst/>
            <a:gdLst/>
            <a:ahLst/>
            <a:cxnLst>
              <a:cxn ang="0">
                <a:pos x="28" y="38"/>
              </a:cxn>
              <a:cxn ang="0">
                <a:pos x="34" y="32"/>
              </a:cxn>
              <a:cxn ang="0">
                <a:pos x="38" y="28"/>
              </a:cxn>
              <a:cxn ang="0">
                <a:pos x="44" y="26"/>
              </a:cxn>
              <a:cxn ang="0">
                <a:pos x="48" y="26"/>
              </a:cxn>
              <a:cxn ang="0">
                <a:pos x="54" y="18"/>
              </a:cxn>
              <a:cxn ang="0">
                <a:pos x="52" y="14"/>
              </a:cxn>
              <a:cxn ang="0">
                <a:pos x="52" y="10"/>
              </a:cxn>
              <a:cxn ang="0">
                <a:pos x="54" y="2"/>
              </a:cxn>
              <a:cxn ang="0">
                <a:pos x="38" y="0"/>
              </a:cxn>
              <a:cxn ang="0">
                <a:pos x="32" y="0"/>
              </a:cxn>
              <a:cxn ang="0">
                <a:pos x="14" y="4"/>
              </a:cxn>
              <a:cxn ang="0">
                <a:pos x="6" y="4"/>
              </a:cxn>
              <a:cxn ang="0">
                <a:pos x="4" y="8"/>
              </a:cxn>
              <a:cxn ang="0">
                <a:pos x="0" y="10"/>
              </a:cxn>
              <a:cxn ang="0">
                <a:pos x="8" y="10"/>
              </a:cxn>
              <a:cxn ang="0">
                <a:pos x="2" y="14"/>
              </a:cxn>
              <a:cxn ang="0">
                <a:pos x="6" y="16"/>
              </a:cxn>
              <a:cxn ang="0">
                <a:pos x="10" y="18"/>
              </a:cxn>
              <a:cxn ang="0">
                <a:pos x="12" y="16"/>
              </a:cxn>
              <a:cxn ang="0">
                <a:pos x="14" y="16"/>
              </a:cxn>
              <a:cxn ang="0">
                <a:pos x="14" y="18"/>
              </a:cxn>
              <a:cxn ang="0">
                <a:pos x="12" y="20"/>
              </a:cxn>
              <a:cxn ang="0">
                <a:pos x="16" y="20"/>
              </a:cxn>
              <a:cxn ang="0">
                <a:pos x="26" y="16"/>
              </a:cxn>
              <a:cxn ang="0">
                <a:pos x="30" y="18"/>
              </a:cxn>
              <a:cxn ang="0">
                <a:pos x="26" y="18"/>
              </a:cxn>
              <a:cxn ang="0">
                <a:pos x="14" y="22"/>
              </a:cxn>
              <a:cxn ang="0">
                <a:pos x="16" y="24"/>
              </a:cxn>
              <a:cxn ang="0">
                <a:pos x="18" y="26"/>
              </a:cxn>
              <a:cxn ang="0">
                <a:pos x="20" y="26"/>
              </a:cxn>
              <a:cxn ang="0">
                <a:pos x="22" y="24"/>
              </a:cxn>
              <a:cxn ang="0">
                <a:pos x="28" y="20"/>
              </a:cxn>
              <a:cxn ang="0">
                <a:pos x="26" y="24"/>
              </a:cxn>
              <a:cxn ang="0">
                <a:pos x="28" y="28"/>
              </a:cxn>
              <a:cxn ang="0">
                <a:pos x="26" y="26"/>
              </a:cxn>
              <a:cxn ang="0">
                <a:pos x="22" y="28"/>
              </a:cxn>
              <a:cxn ang="0">
                <a:pos x="22" y="32"/>
              </a:cxn>
              <a:cxn ang="0">
                <a:pos x="24" y="34"/>
              </a:cxn>
              <a:cxn ang="0">
                <a:pos x="28" y="38"/>
              </a:cxn>
            </a:cxnLst>
            <a:rect l="0" t="0" r="r" b="b"/>
            <a:pathLst>
              <a:path w="54" h="38">
                <a:moveTo>
                  <a:pt x="28" y="38"/>
                </a:moveTo>
                <a:lnTo>
                  <a:pt x="28" y="38"/>
                </a:lnTo>
                <a:lnTo>
                  <a:pt x="30" y="34"/>
                </a:lnTo>
                <a:lnTo>
                  <a:pt x="34" y="32"/>
                </a:lnTo>
                <a:lnTo>
                  <a:pt x="34" y="32"/>
                </a:lnTo>
                <a:lnTo>
                  <a:pt x="38" y="28"/>
                </a:lnTo>
                <a:lnTo>
                  <a:pt x="42" y="26"/>
                </a:lnTo>
                <a:lnTo>
                  <a:pt x="44" y="26"/>
                </a:lnTo>
                <a:lnTo>
                  <a:pt x="44" y="26"/>
                </a:lnTo>
                <a:lnTo>
                  <a:pt x="48" y="26"/>
                </a:lnTo>
                <a:lnTo>
                  <a:pt x="52" y="22"/>
                </a:lnTo>
                <a:lnTo>
                  <a:pt x="54" y="18"/>
                </a:lnTo>
                <a:lnTo>
                  <a:pt x="52" y="14"/>
                </a:lnTo>
                <a:lnTo>
                  <a:pt x="52" y="14"/>
                </a:lnTo>
                <a:lnTo>
                  <a:pt x="50" y="12"/>
                </a:lnTo>
                <a:lnTo>
                  <a:pt x="52" y="10"/>
                </a:lnTo>
                <a:lnTo>
                  <a:pt x="54" y="8"/>
                </a:lnTo>
                <a:lnTo>
                  <a:pt x="54" y="2"/>
                </a:lnTo>
                <a:lnTo>
                  <a:pt x="54" y="2"/>
                </a:lnTo>
                <a:lnTo>
                  <a:pt x="38" y="0"/>
                </a:lnTo>
                <a:lnTo>
                  <a:pt x="38" y="0"/>
                </a:lnTo>
                <a:lnTo>
                  <a:pt x="32" y="0"/>
                </a:lnTo>
                <a:lnTo>
                  <a:pt x="26" y="2"/>
                </a:lnTo>
                <a:lnTo>
                  <a:pt x="14" y="4"/>
                </a:lnTo>
                <a:lnTo>
                  <a:pt x="14" y="4"/>
                </a:lnTo>
                <a:lnTo>
                  <a:pt x="6" y="4"/>
                </a:lnTo>
                <a:lnTo>
                  <a:pt x="4" y="6"/>
                </a:lnTo>
                <a:lnTo>
                  <a:pt x="4" y="8"/>
                </a:lnTo>
                <a:lnTo>
                  <a:pt x="0" y="10"/>
                </a:lnTo>
                <a:lnTo>
                  <a:pt x="0" y="10"/>
                </a:lnTo>
                <a:lnTo>
                  <a:pt x="2" y="12"/>
                </a:lnTo>
                <a:lnTo>
                  <a:pt x="8" y="10"/>
                </a:lnTo>
                <a:lnTo>
                  <a:pt x="8" y="10"/>
                </a:lnTo>
                <a:lnTo>
                  <a:pt x="2" y="14"/>
                </a:lnTo>
                <a:lnTo>
                  <a:pt x="4" y="14"/>
                </a:lnTo>
                <a:lnTo>
                  <a:pt x="6" y="16"/>
                </a:lnTo>
                <a:lnTo>
                  <a:pt x="6" y="16"/>
                </a:lnTo>
                <a:lnTo>
                  <a:pt x="10" y="18"/>
                </a:lnTo>
                <a:lnTo>
                  <a:pt x="12" y="16"/>
                </a:lnTo>
                <a:lnTo>
                  <a:pt x="12" y="16"/>
                </a:lnTo>
                <a:lnTo>
                  <a:pt x="14" y="16"/>
                </a:lnTo>
                <a:lnTo>
                  <a:pt x="14" y="16"/>
                </a:lnTo>
                <a:lnTo>
                  <a:pt x="14" y="16"/>
                </a:lnTo>
                <a:lnTo>
                  <a:pt x="14" y="18"/>
                </a:lnTo>
                <a:lnTo>
                  <a:pt x="12" y="18"/>
                </a:lnTo>
                <a:lnTo>
                  <a:pt x="12" y="20"/>
                </a:lnTo>
                <a:lnTo>
                  <a:pt x="12" y="20"/>
                </a:lnTo>
                <a:lnTo>
                  <a:pt x="16" y="20"/>
                </a:lnTo>
                <a:lnTo>
                  <a:pt x="20" y="18"/>
                </a:lnTo>
                <a:lnTo>
                  <a:pt x="26" y="16"/>
                </a:lnTo>
                <a:lnTo>
                  <a:pt x="30" y="18"/>
                </a:lnTo>
                <a:lnTo>
                  <a:pt x="30" y="18"/>
                </a:lnTo>
                <a:lnTo>
                  <a:pt x="30" y="18"/>
                </a:lnTo>
                <a:lnTo>
                  <a:pt x="26" y="18"/>
                </a:lnTo>
                <a:lnTo>
                  <a:pt x="22" y="20"/>
                </a:lnTo>
                <a:lnTo>
                  <a:pt x="14" y="22"/>
                </a:lnTo>
                <a:lnTo>
                  <a:pt x="14" y="22"/>
                </a:lnTo>
                <a:lnTo>
                  <a:pt x="16" y="24"/>
                </a:lnTo>
                <a:lnTo>
                  <a:pt x="16" y="26"/>
                </a:lnTo>
                <a:lnTo>
                  <a:pt x="18" y="26"/>
                </a:lnTo>
                <a:lnTo>
                  <a:pt x="20" y="26"/>
                </a:lnTo>
                <a:lnTo>
                  <a:pt x="20" y="26"/>
                </a:lnTo>
                <a:lnTo>
                  <a:pt x="20" y="26"/>
                </a:lnTo>
                <a:lnTo>
                  <a:pt x="22" y="24"/>
                </a:lnTo>
                <a:lnTo>
                  <a:pt x="24" y="22"/>
                </a:lnTo>
                <a:lnTo>
                  <a:pt x="28" y="20"/>
                </a:lnTo>
                <a:lnTo>
                  <a:pt x="28" y="20"/>
                </a:lnTo>
                <a:lnTo>
                  <a:pt x="26" y="24"/>
                </a:lnTo>
                <a:lnTo>
                  <a:pt x="26" y="26"/>
                </a:lnTo>
                <a:lnTo>
                  <a:pt x="28" y="28"/>
                </a:lnTo>
                <a:lnTo>
                  <a:pt x="26" y="26"/>
                </a:lnTo>
                <a:lnTo>
                  <a:pt x="26" y="26"/>
                </a:lnTo>
                <a:lnTo>
                  <a:pt x="24" y="26"/>
                </a:lnTo>
                <a:lnTo>
                  <a:pt x="22" y="28"/>
                </a:lnTo>
                <a:lnTo>
                  <a:pt x="22" y="32"/>
                </a:lnTo>
                <a:lnTo>
                  <a:pt x="22" y="32"/>
                </a:lnTo>
                <a:lnTo>
                  <a:pt x="24" y="32"/>
                </a:lnTo>
                <a:lnTo>
                  <a:pt x="24" y="34"/>
                </a:lnTo>
                <a:lnTo>
                  <a:pt x="24" y="36"/>
                </a:lnTo>
                <a:lnTo>
                  <a:pt x="28" y="38"/>
                </a:lnTo>
                <a:lnTo>
                  <a:pt x="28" y="38"/>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91" name="Freeform 191"/>
          <p:cNvSpPr>
            <a:spLocks/>
          </p:cNvSpPr>
          <p:nvPr/>
        </p:nvSpPr>
        <p:spPr bwMode="auto">
          <a:xfrm>
            <a:off x="3978571" y="2399690"/>
            <a:ext cx="175469" cy="152501"/>
          </a:xfrm>
          <a:custGeom>
            <a:avLst/>
            <a:gdLst/>
            <a:ahLst/>
            <a:cxnLst>
              <a:cxn ang="0">
                <a:pos x="134" y="126"/>
              </a:cxn>
              <a:cxn ang="0">
                <a:pos x="126" y="134"/>
              </a:cxn>
              <a:cxn ang="0">
                <a:pos x="120" y="130"/>
              </a:cxn>
              <a:cxn ang="0">
                <a:pos x="114" y="108"/>
              </a:cxn>
              <a:cxn ang="0">
                <a:pos x="96" y="108"/>
              </a:cxn>
              <a:cxn ang="0">
                <a:pos x="94" y="92"/>
              </a:cxn>
              <a:cxn ang="0">
                <a:pos x="92" y="88"/>
              </a:cxn>
              <a:cxn ang="0">
                <a:pos x="84" y="84"/>
              </a:cxn>
              <a:cxn ang="0">
                <a:pos x="82" y="74"/>
              </a:cxn>
              <a:cxn ang="0">
                <a:pos x="76" y="68"/>
              </a:cxn>
              <a:cxn ang="0">
                <a:pos x="62" y="68"/>
              </a:cxn>
              <a:cxn ang="0">
                <a:pos x="50" y="72"/>
              </a:cxn>
              <a:cxn ang="0">
                <a:pos x="44" y="84"/>
              </a:cxn>
              <a:cxn ang="0">
                <a:pos x="36" y="92"/>
              </a:cxn>
              <a:cxn ang="0">
                <a:pos x="38" y="88"/>
              </a:cxn>
              <a:cxn ang="0">
                <a:pos x="28" y="78"/>
              </a:cxn>
              <a:cxn ang="0">
                <a:pos x="26" y="70"/>
              </a:cxn>
              <a:cxn ang="0">
                <a:pos x="16" y="58"/>
              </a:cxn>
              <a:cxn ang="0">
                <a:pos x="10" y="52"/>
              </a:cxn>
              <a:cxn ang="0">
                <a:pos x="2" y="44"/>
              </a:cxn>
              <a:cxn ang="0">
                <a:pos x="2" y="32"/>
              </a:cxn>
              <a:cxn ang="0">
                <a:pos x="14" y="24"/>
              </a:cxn>
              <a:cxn ang="0">
                <a:pos x="24" y="20"/>
              </a:cxn>
              <a:cxn ang="0">
                <a:pos x="22" y="10"/>
              </a:cxn>
              <a:cxn ang="0">
                <a:pos x="26" y="0"/>
              </a:cxn>
              <a:cxn ang="0">
                <a:pos x="44" y="2"/>
              </a:cxn>
              <a:cxn ang="0">
                <a:pos x="62" y="4"/>
              </a:cxn>
              <a:cxn ang="0">
                <a:pos x="76" y="8"/>
              </a:cxn>
              <a:cxn ang="0">
                <a:pos x="84" y="10"/>
              </a:cxn>
              <a:cxn ang="0">
                <a:pos x="90" y="8"/>
              </a:cxn>
              <a:cxn ang="0">
                <a:pos x="102" y="10"/>
              </a:cxn>
              <a:cxn ang="0">
                <a:pos x="108" y="10"/>
              </a:cxn>
              <a:cxn ang="0">
                <a:pos x="116" y="4"/>
              </a:cxn>
              <a:cxn ang="0">
                <a:pos x="126" y="6"/>
              </a:cxn>
              <a:cxn ang="0">
                <a:pos x="130" y="14"/>
              </a:cxn>
              <a:cxn ang="0">
                <a:pos x="134" y="24"/>
              </a:cxn>
              <a:cxn ang="0">
                <a:pos x="132" y="38"/>
              </a:cxn>
              <a:cxn ang="0">
                <a:pos x="140" y="42"/>
              </a:cxn>
              <a:cxn ang="0">
                <a:pos x="148" y="54"/>
              </a:cxn>
              <a:cxn ang="0">
                <a:pos x="150" y="58"/>
              </a:cxn>
              <a:cxn ang="0">
                <a:pos x="144" y="74"/>
              </a:cxn>
              <a:cxn ang="0">
                <a:pos x="148" y="76"/>
              </a:cxn>
              <a:cxn ang="0">
                <a:pos x="154" y="80"/>
              </a:cxn>
              <a:cxn ang="0">
                <a:pos x="152" y="88"/>
              </a:cxn>
              <a:cxn ang="0">
                <a:pos x="154" y="98"/>
              </a:cxn>
              <a:cxn ang="0">
                <a:pos x="154" y="106"/>
              </a:cxn>
              <a:cxn ang="0">
                <a:pos x="142" y="110"/>
              </a:cxn>
              <a:cxn ang="0">
                <a:pos x="146" y="116"/>
              </a:cxn>
              <a:cxn ang="0">
                <a:pos x="142" y="124"/>
              </a:cxn>
              <a:cxn ang="0">
                <a:pos x="138" y="130"/>
              </a:cxn>
            </a:cxnLst>
            <a:rect l="0" t="0" r="r" b="b"/>
            <a:pathLst>
              <a:path w="154" h="134">
                <a:moveTo>
                  <a:pt x="138" y="130"/>
                </a:moveTo>
                <a:lnTo>
                  <a:pt x="138" y="130"/>
                </a:lnTo>
                <a:lnTo>
                  <a:pt x="136" y="128"/>
                </a:lnTo>
                <a:lnTo>
                  <a:pt x="134" y="126"/>
                </a:lnTo>
                <a:lnTo>
                  <a:pt x="132" y="130"/>
                </a:lnTo>
                <a:lnTo>
                  <a:pt x="132" y="130"/>
                </a:lnTo>
                <a:lnTo>
                  <a:pt x="130" y="134"/>
                </a:lnTo>
                <a:lnTo>
                  <a:pt x="126" y="134"/>
                </a:lnTo>
                <a:lnTo>
                  <a:pt x="122" y="134"/>
                </a:lnTo>
                <a:lnTo>
                  <a:pt x="122" y="134"/>
                </a:lnTo>
                <a:lnTo>
                  <a:pt x="120" y="132"/>
                </a:lnTo>
                <a:lnTo>
                  <a:pt x="120" y="130"/>
                </a:lnTo>
                <a:lnTo>
                  <a:pt x="122" y="126"/>
                </a:lnTo>
                <a:lnTo>
                  <a:pt x="118" y="116"/>
                </a:lnTo>
                <a:lnTo>
                  <a:pt x="118" y="116"/>
                </a:lnTo>
                <a:lnTo>
                  <a:pt x="114" y="108"/>
                </a:lnTo>
                <a:lnTo>
                  <a:pt x="110" y="104"/>
                </a:lnTo>
                <a:lnTo>
                  <a:pt x="104" y="104"/>
                </a:lnTo>
                <a:lnTo>
                  <a:pt x="96" y="108"/>
                </a:lnTo>
                <a:lnTo>
                  <a:pt x="96" y="108"/>
                </a:lnTo>
                <a:lnTo>
                  <a:pt x="94" y="102"/>
                </a:lnTo>
                <a:lnTo>
                  <a:pt x="94" y="98"/>
                </a:lnTo>
                <a:lnTo>
                  <a:pt x="94" y="96"/>
                </a:lnTo>
                <a:lnTo>
                  <a:pt x="94" y="92"/>
                </a:lnTo>
                <a:lnTo>
                  <a:pt x="94" y="92"/>
                </a:lnTo>
                <a:lnTo>
                  <a:pt x="92" y="90"/>
                </a:lnTo>
                <a:lnTo>
                  <a:pt x="94" y="90"/>
                </a:lnTo>
                <a:lnTo>
                  <a:pt x="92" y="88"/>
                </a:lnTo>
                <a:lnTo>
                  <a:pt x="88" y="86"/>
                </a:lnTo>
                <a:lnTo>
                  <a:pt x="88" y="86"/>
                </a:lnTo>
                <a:lnTo>
                  <a:pt x="86" y="84"/>
                </a:lnTo>
                <a:lnTo>
                  <a:pt x="84" y="84"/>
                </a:lnTo>
                <a:lnTo>
                  <a:pt x="86" y="80"/>
                </a:lnTo>
                <a:lnTo>
                  <a:pt x="86" y="76"/>
                </a:lnTo>
                <a:lnTo>
                  <a:pt x="86" y="74"/>
                </a:lnTo>
                <a:lnTo>
                  <a:pt x="82" y="74"/>
                </a:lnTo>
                <a:lnTo>
                  <a:pt x="82" y="74"/>
                </a:lnTo>
                <a:lnTo>
                  <a:pt x="80" y="72"/>
                </a:lnTo>
                <a:lnTo>
                  <a:pt x="78" y="70"/>
                </a:lnTo>
                <a:lnTo>
                  <a:pt x="76" y="68"/>
                </a:lnTo>
                <a:lnTo>
                  <a:pt x="72" y="68"/>
                </a:lnTo>
                <a:lnTo>
                  <a:pt x="72" y="68"/>
                </a:lnTo>
                <a:lnTo>
                  <a:pt x="66" y="66"/>
                </a:lnTo>
                <a:lnTo>
                  <a:pt x="62" y="68"/>
                </a:lnTo>
                <a:lnTo>
                  <a:pt x="58" y="70"/>
                </a:lnTo>
                <a:lnTo>
                  <a:pt x="54" y="72"/>
                </a:lnTo>
                <a:lnTo>
                  <a:pt x="54" y="72"/>
                </a:lnTo>
                <a:lnTo>
                  <a:pt x="50" y="72"/>
                </a:lnTo>
                <a:lnTo>
                  <a:pt x="48" y="76"/>
                </a:lnTo>
                <a:lnTo>
                  <a:pt x="46" y="80"/>
                </a:lnTo>
                <a:lnTo>
                  <a:pt x="44" y="84"/>
                </a:lnTo>
                <a:lnTo>
                  <a:pt x="44" y="84"/>
                </a:lnTo>
                <a:lnTo>
                  <a:pt x="42" y="86"/>
                </a:lnTo>
                <a:lnTo>
                  <a:pt x="40" y="88"/>
                </a:lnTo>
                <a:lnTo>
                  <a:pt x="40" y="90"/>
                </a:lnTo>
                <a:lnTo>
                  <a:pt x="36" y="92"/>
                </a:lnTo>
                <a:lnTo>
                  <a:pt x="36" y="92"/>
                </a:lnTo>
                <a:lnTo>
                  <a:pt x="34" y="92"/>
                </a:lnTo>
                <a:lnTo>
                  <a:pt x="34" y="90"/>
                </a:lnTo>
                <a:lnTo>
                  <a:pt x="38" y="88"/>
                </a:lnTo>
                <a:lnTo>
                  <a:pt x="38" y="86"/>
                </a:lnTo>
                <a:lnTo>
                  <a:pt x="38" y="86"/>
                </a:lnTo>
                <a:lnTo>
                  <a:pt x="34" y="84"/>
                </a:lnTo>
                <a:lnTo>
                  <a:pt x="28" y="78"/>
                </a:lnTo>
                <a:lnTo>
                  <a:pt x="24" y="74"/>
                </a:lnTo>
                <a:lnTo>
                  <a:pt x="24" y="72"/>
                </a:lnTo>
                <a:lnTo>
                  <a:pt x="26" y="70"/>
                </a:lnTo>
                <a:lnTo>
                  <a:pt x="26" y="70"/>
                </a:lnTo>
                <a:lnTo>
                  <a:pt x="20" y="70"/>
                </a:lnTo>
                <a:lnTo>
                  <a:pt x="16" y="66"/>
                </a:lnTo>
                <a:lnTo>
                  <a:pt x="16" y="62"/>
                </a:lnTo>
                <a:lnTo>
                  <a:pt x="16" y="58"/>
                </a:lnTo>
                <a:lnTo>
                  <a:pt x="16" y="58"/>
                </a:lnTo>
                <a:lnTo>
                  <a:pt x="16" y="56"/>
                </a:lnTo>
                <a:lnTo>
                  <a:pt x="12" y="54"/>
                </a:lnTo>
                <a:lnTo>
                  <a:pt x="10" y="52"/>
                </a:lnTo>
                <a:lnTo>
                  <a:pt x="10" y="48"/>
                </a:lnTo>
                <a:lnTo>
                  <a:pt x="10" y="48"/>
                </a:lnTo>
                <a:lnTo>
                  <a:pt x="6" y="48"/>
                </a:lnTo>
                <a:lnTo>
                  <a:pt x="2" y="44"/>
                </a:lnTo>
                <a:lnTo>
                  <a:pt x="0" y="40"/>
                </a:lnTo>
                <a:lnTo>
                  <a:pt x="0" y="36"/>
                </a:lnTo>
                <a:lnTo>
                  <a:pt x="0" y="36"/>
                </a:lnTo>
                <a:lnTo>
                  <a:pt x="2" y="32"/>
                </a:lnTo>
                <a:lnTo>
                  <a:pt x="6" y="30"/>
                </a:lnTo>
                <a:lnTo>
                  <a:pt x="6" y="30"/>
                </a:lnTo>
                <a:lnTo>
                  <a:pt x="10" y="26"/>
                </a:lnTo>
                <a:lnTo>
                  <a:pt x="14" y="24"/>
                </a:lnTo>
                <a:lnTo>
                  <a:pt x="16" y="24"/>
                </a:lnTo>
                <a:lnTo>
                  <a:pt x="16" y="24"/>
                </a:lnTo>
                <a:lnTo>
                  <a:pt x="20" y="24"/>
                </a:lnTo>
                <a:lnTo>
                  <a:pt x="24" y="20"/>
                </a:lnTo>
                <a:lnTo>
                  <a:pt x="26" y="16"/>
                </a:lnTo>
                <a:lnTo>
                  <a:pt x="24" y="12"/>
                </a:lnTo>
                <a:lnTo>
                  <a:pt x="24" y="12"/>
                </a:lnTo>
                <a:lnTo>
                  <a:pt x="22" y="10"/>
                </a:lnTo>
                <a:lnTo>
                  <a:pt x="24" y="8"/>
                </a:lnTo>
                <a:lnTo>
                  <a:pt x="26" y="6"/>
                </a:lnTo>
                <a:lnTo>
                  <a:pt x="26" y="0"/>
                </a:lnTo>
                <a:lnTo>
                  <a:pt x="26" y="0"/>
                </a:lnTo>
                <a:lnTo>
                  <a:pt x="32" y="0"/>
                </a:lnTo>
                <a:lnTo>
                  <a:pt x="36" y="2"/>
                </a:lnTo>
                <a:lnTo>
                  <a:pt x="40" y="2"/>
                </a:lnTo>
                <a:lnTo>
                  <a:pt x="44" y="2"/>
                </a:lnTo>
                <a:lnTo>
                  <a:pt x="44" y="2"/>
                </a:lnTo>
                <a:lnTo>
                  <a:pt x="50" y="2"/>
                </a:lnTo>
                <a:lnTo>
                  <a:pt x="56" y="4"/>
                </a:lnTo>
                <a:lnTo>
                  <a:pt x="62" y="4"/>
                </a:lnTo>
                <a:lnTo>
                  <a:pt x="74" y="4"/>
                </a:lnTo>
                <a:lnTo>
                  <a:pt x="74" y="4"/>
                </a:lnTo>
                <a:lnTo>
                  <a:pt x="74" y="6"/>
                </a:lnTo>
                <a:lnTo>
                  <a:pt x="76" y="8"/>
                </a:lnTo>
                <a:lnTo>
                  <a:pt x="80" y="8"/>
                </a:lnTo>
                <a:lnTo>
                  <a:pt x="82" y="6"/>
                </a:lnTo>
                <a:lnTo>
                  <a:pt x="82" y="6"/>
                </a:lnTo>
                <a:lnTo>
                  <a:pt x="84" y="10"/>
                </a:lnTo>
                <a:lnTo>
                  <a:pt x="86" y="10"/>
                </a:lnTo>
                <a:lnTo>
                  <a:pt x="88" y="8"/>
                </a:lnTo>
                <a:lnTo>
                  <a:pt x="90" y="8"/>
                </a:lnTo>
                <a:lnTo>
                  <a:pt x="90" y="8"/>
                </a:lnTo>
                <a:lnTo>
                  <a:pt x="94" y="8"/>
                </a:lnTo>
                <a:lnTo>
                  <a:pt x="96" y="10"/>
                </a:lnTo>
                <a:lnTo>
                  <a:pt x="98" y="12"/>
                </a:lnTo>
                <a:lnTo>
                  <a:pt x="102" y="10"/>
                </a:lnTo>
                <a:lnTo>
                  <a:pt x="102" y="10"/>
                </a:lnTo>
                <a:lnTo>
                  <a:pt x="104" y="8"/>
                </a:lnTo>
                <a:lnTo>
                  <a:pt x="106" y="10"/>
                </a:lnTo>
                <a:lnTo>
                  <a:pt x="108" y="10"/>
                </a:lnTo>
                <a:lnTo>
                  <a:pt x="114" y="8"/>
                </a:lnTo>
                <a:lnTo>
                  <a:pt x="114" y="8"/>
                </a:lnTo>
                <a:lnTo>
                  <a:pt x="114" y="6"/>
                </a:lnTo>
                <a:lnTo>
                  <a:pt x="116" y="4"/>
                </a:lnTo>
                <a:lnTo>
                  <a:pt x="118" y="2"/>
                </a:lnTo>
                <a:lnTo>
                  <a:pt x="122" y="4"/>
                </a:lnTo>
                <a:lnTo>
                  <a:pt x="122" y="4"/>
                </a:lnTo>
                <a:lnTo>
                  <a:pt x="126" y="6"/>
                </a:lnTo>
                <a:lnTo>
                  <a:pt x="126" y="8"/>
                </a:lnTo>
                <a:lnTo>
                  <a:pt x="126" y="10"/>
                </a:lnTo>
                <a:lnTo>
                  <a:pt x="130" y="14"/>
                </a:lnTo>
                <a:lnTo>
                  <a:pt x="130" y="14"/>
                </a:lnTo>
                <a:lnTo>
                  <a:pt x="132" y="18"/>
                </a:lnTo>
                <a:lnTo>
                  <a:pt x="132" y="20"/>
                </a:lnTo>
                <a:lnTo>
                  <a:pt x="132" y="22"/>
                </a:lnTo>
                <a:lnTo>
                  <a:pt x="134" y="24"/>
                </a:lnTo>
                <a:lnTo>
                  <a:pt x="134" y="24"/>
                </a:lnTo>
                <a:lnTo>
                  <a:pt x="138" y="26"/>
                </a:lnTo>
                <a:lnTo>
                  <a:pt x="138" y="28"/>
                </a:lnTo>
                <a:lnTo>
                  <a:pt x="132" y="38"/>
                </a:lnTo>
                <a:lnTo>
                  <a:pt x="132" y="38"/>
                </a:lnTo>
                <a:lnTo>
                  <a:pt x="136" y="36"/>
                </a:lnTo>
                <a:lnTo>
                  <a:pt x="140" y="38"/>
                </a:lnTo>
                <a:lnTo>
                  <a:pt x="140" y="42"/>
                </a:lnTo>
                <a:lnTo>
                  <a:pt x="142" y="48"/>
                </a:lnTo>
                <a:lnTo>
                  <a:pt x="142" y="48"/>
                </a:lnTo>
                <a:lnTo>
                  <a:pt x="144" y="52"/>
                </a:lnTo>
                <a:lnTo>
                  <a:pt x="148" y="54"/>
                </a:lnTo>
                <a:lnTo>
                  <a:pt x="150" y="56"/>
                </a:lnTo>
                <a:lnTo>
                  <a:pt x="152" y="58"/>
                </a:lnTo>
                <a:lnTo>
                  <a:pt x="152" y="58"/>
                </a:lnTo>
                <a:lnTo>
                  <a:pt x="150" y="58"/>
                </a:lnTo>
                <a:lnTo>
                  <a:pt x="148" y="62"/>
                </a:lnTo>
                <a:lnTo>
                  <a:pt x="144" y="68"/>
                </a:lnTo>
                <a:lnTo>
                  <a:pt x="144" y="68"/>
                </a:lnTo>
                <a:lnTo>
                  <a:pt x="144" y="74"/>
                </a:lnTo>
                <a:lnTo>
                  <a:pt x="144" y="74"/>
                </a:lnTo>
                <a:lnTo>
                  <a:pt x="146" y="74"/>
                </a:lnTo>
                <a:lnTo>
                  <a:pt x="148" y="76"/>
                </a:lnTo>
                <a:lnTo>
                  <a:pt x="148" y="76"/>
                </a:lnTo>
                <a:lnTo>
                  <a:pt x="150" y="80"/>
                </a:lnTo>
                <a:lnTo>
                  <a:pt x="150" y="78"/>
                </a:lnTo>
                <a:lnTo>
                  <a:pt x="152" y="78"/>
                </a:lnTo>
                <a:lnTo>
                  <a:pt x="154" y="80"/>
                </a:lnTo>
                <a:lnTo>
                  <a:pt x="154" y="80"/>
                </a:lnTo>
                <a:lnTo>
                  <a:pt x="154" y="82"/>
                </a:lnTo>
                <a:lnTo>
                  <a:pt x="154" y="84"/>
                </a:lnTo>
                <a:lnTo>
                  <a:pt x="152" y="88"/>
                </a:lnTo>
                <a:lnTo>
                  <a:pt x="154" y="92"/>
                </a:lnTo>
                <a:lnTo>
                  <a:pt x="154" y="92"/>
                </a:lnTo>
                <a:lnTo>
                  <a:pt x="154" y="94"/>
                </a:lnTo>
                <a:lnTo>
                  <a:pt x="154" y="98"/>
                </a:lnTo>
                <a:lnTo>
                  <a:pt x="152" y="100"/>
                </a:lnTo>
                <a:lnTo>
                  <a:pt x="154" y="104"/>
                </a:lnTo>
                <a:lnTo>
                  <a:pt x="154" y="104"/>
                </a:lnTo>
                <a:lnTo>
                  <a:pt x="154" y="106"/>
                </a:lnTo>
                <a:lnTo>
                  <a:pt x="154" y="108"/>
                </a:lnTo>
                <a:lnTo>
                  <a:pt x="148" y="106"/>
                </a:lnTo>
                <a:lnTo>
                  <a:pt x="144" y="108"/>
                </a:lnTo>
                <a:lnTo>
                  <a:pt x="142" y="110"/>
                </a:lnTo>
                <a:lnTo>
                  <a:pt x="142" y="112"/>
                </a:lnTo>
                <a:lnTo>
                  <a:pt x="142" y="112"/>
                </a:lnTo>
                <a:lnTo>
                  <a:pt x="144" y="116"/>
                </a:lnTo>
                <a:lnTo>
                  <a:pt x="146" y="116"/>
                </a:lnTo>
                <a:lnTo>
                  <a:pt x="148" y="118"/>
                </a:lnTo>
                <a:lnTo>
                  <a:pt x="146" y="120"/>
                </a:lnTo>
                <a:lnTo>
                  <a:pt x="146" y="120"/>
                </a:lnTo>
                <a:lnTo>
                  <a:pt x="142" y="124"/>
                </a:lnTo>
                <a:lnTo>
                  <a:pt x="142" y="126"/>
                </a:lnTo>
                <a:lnTo>
                  <a:pt x="142" y="128"/>
                </a:lnTo>
                <a:lnTo>
                  <a:pt x="138" y="130"/>
                </a:lnTo>
                <a:lnTo>
                  <a:pt x="138" y="130"/>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92" name="Freeform 192"/>
          <p:cNvSpPr>
            <a:spLocks/>
          </p:cNvSpPr>
          <p:nvPr/>
        </p:nvSpPr>
        <p:spPr bwMode="auto">
          <a:xfrm>
            <a:off x="4334069" y="2440661"/>
            <a:ext cx="56971" cy="154777"/>
          </a:xfrm>
          <a:custGeom>
            <a:avLst/>
            <a:gdLst/>
            <a:ahLst/>
            <a:cxnLst>
              <a:cxn ang="0">
                <a:pos x="20" y="0"/>
              </a:cxn>
              <a:cxn ang="0">
                <a:pos x="16" y="2"/>
              </a:cxn>
              <a:cxn ang="0">
                <a:pos x="2" y="0"/>
              </a:cxn>
              <a:cxn ang="0">
                <a:pos x="0" y="8"/>
              </a:cxn>
              <a:cxn ang="0">
                <a:pos x="2" y="14"/>
              </a:cxn>
              <a:cxn ang="0">
                <a:pos x="2" y="18"/>
              </a:cxn>
              <a:cxn ang="0">
                <a:pos x="2" y="20"/>
              </a:cxn>
              <a:cxn ang="0">
                <a:pos x="8" y="20"/>
              </a:cxn>
              <a:cxn ang="0">
                <a:pos x="8" y="24"/>
              </a:cxn>
              <a:cxn ang="0">
                <a:pos x="8" y="30"/>
              </a:cxn>
              <a:cxn ang="0">
                <a:pos x="12" y="36"/>
              </a:cxn>
              <a:cxn ang="0">
                <a:pos x="12" y="44"/>
              </a:cxn>
              <a:cxn ang="0">
                <a:pos x="12" y="48"/>
              </a:cxn>
              <a:cxn ang="0">
                <a:pos x="14" y="54"/>
              </a:cxn>
              <a:cxn ang="0">
                <a:pos x="18" y="58"/>
              </a:cxn>
              <a:cxn ang="0">
                <a:pos x="20" y="58"/>
              </a:cxn>
              <a:cxn ang="0">
                <a:pos x="20" y="68"/>
              </a:cxn>
              <a:cxn ang="0">
                <a:pos x="20" y="74"/>
              </a:cxn>
              <a:cxn ang="0">
                <a:pos x="20" y="76"/>
              </a:cxn>
              <a:cxn ang="0">
                <a:pos x="18" y="78"/>
              </a:cxn>
              <a:cxn ang="0">
                <a:pos x="20" y="84"/>
              </a:cxn>
              <a:cxn ang="0">
                <a:pos x="20" y="86"/>
              </a:cxn>
              <a:cxn ang="0">
                <a:pos x="18" y="94"/>
              </a:cxn>
              <a:cxn ang="0">
                <a:pos x="16" y="108"/>
              </a:cxn>
              <a:cxn ang="0">
                <a:pos x="16" y="114"/>
              </a:cxn>
              <a:cxn ang="0">
                <a:pos x="22" y="120"/>
              </a:cxn>
              <a:cxn ang="0">
                <a:pos x="24" y="124"/>
              </a:cxn>
              <a:cxn ang="0">
                <a:pos x="28" y="128"/>
              </a:cxn>
              <a:cxn ang="0">
                <a:pos x="32" y="136"/>
              </a:cxn>
              <a:cxn ang="0">
                <a:pos x="42" y="134"/>
              </a:cxn>
              <a:cxn ang="0">
                <a:pos x="50" y="130"/>
              </a:cxn>
              <a:cxn ang="0">
                <a:pos x="48" y="124"/>
              </a:cxn>
              <a:cxn ang="0">
                <a:pos x="42" y="118"/>
              </a:cxn>
              <a:cxn ang="0">
                <a:pos x="40" y="112"/>
              </a:cxn>
              <a:cxn ang="0">
                <a:pos x="42" y="108"/>
              </a:cxn>
              <a:cxn ang="0">
                <a:pos x="44" y="104"/>
              </a:cxn>
              <a:cxn ang="0">
                <a:pos x="42" y="62"/>
              </a:cxn>
              <a:cxn ang="0">
                <a:pos x="42" y="56"/>
              </a:cxn>
              <a:cxn ang="0">
                <a:pos x="38" y="54"/>
              </a:cxn>
              <a:cxn ang="0">
                <a:pos x="34" y="48"/>
              </a:cxn>
              <a:cxn ang="0">
                <a:pos x="34" y="34"/>
              </a:cxn>
              <a:cxn ang="0">
                <a:pos x="30" y="28"/>
              </a:cxn>
              <a:cxn ang="0">
                <a:pos x="22" y="24"/>
              </a:cxn>
              <a:cxn ang="0">
                <a:pos x="18" y="12"/>
              </a:cxn>
              <a:cxn ang="0">
                <a:pos x="20" y="0"/>
              </a:cxn>
            </a:cxnLst>
            <a:rect l="0" t="0" r="r" b="b"/>
            <a:pathLst>
              <a:path w="50" h="136">
                <a:moveTo>
                  <a:pt x="20" y="0"/>
                </a:moveTo>
                <a:lnTo>
                  <a:pt x="20" y="0"/>
                </a:lnTo>
                <a:lnTo>
                  <a:pt x="18" y="2"/>
                </a:lnTo>
                <a:lnTo>
                  <a:pt x="16" y="2"/>
                </a:lnTo>
                <a:lnTo>
                  <a:pt x="12" y="0"/>
                </a:lnTo>
                <a:lnTo>
                  <a:pt x="2" y="0"/>
                </a:lnTo>
                <a:lnTo>
                  <a:pt x="2" y="0"/>
                </a:lnTo>
                <a:lnTo>
                  <a:pt x="0" y="8"/>
                </a:lnTo>
                <a:lnTo>
                  <a:pt x="0" y="12"/>
                </a:lnTo>
                <a:lnTo>
                  <a:pt x="2" y="14"/>
                </a:lnTo>
                <a:lnTo>
                  <a:pt x="2" y="18"/>
                </a:lnTo>
                <a:lnTo>
                  <a:pt x="2" y="18"/>
                </a:lnTo>
                <a:lnTo>
                  <a:pt x="2" y="20"/>
                </a:lnTo>
                <a:lnTo>
                  <a:pt x="2" y="20"/>
                </a:lnTo>
                <a:lnTo>
                  <a:pt x="6" y="20"/>
                </a:lnTo>
                <a:lnTo>
                  <a:pt x="8" y="20"/>
                </a:lnTo>
                <a:lnTo>
                  <a:pt x="8" y="24"/>
                </a:lnTo>
                <a:lnTo>
                  <a:pt x="8" y="24"/>
                </a:lnTo>
                <a:lnTo>
                  <a:pt x="8" y="28"/>
                </a:lnTo>
                <a:lnTo>
                  <a:pt x="8" y="30"/>
                </a:lnTo>
                <a:lnTo>
                  <a:pt x="10" y="32"/>
                </a:lnTo>
                <a:lnTo>
                  <a:pt x="12" y="36"/>
                </a:lnTo>
                <a:lnTo>
                  <a:pt x="12" y="36"/>
                </a:lnTo>
                <a:lnTo>
                  <a:pt x="12" y="44"/>
                </a:lnTo>
                <a:lnTo>
                  <a:pt x="12" y="46"/>
                </a:lnTo>
                <a:lnTo>
                  <a:pt x="12" y="48"/>
                </a:lnTo>
                <a:lnTo>
                  <a:pt x="12" y="48"/>
                </a:lnTo>
                <a:lnTo>
                  <a:pt x="14" y="54"/>
                </a:lnTo>
                <a:lnTo>
                  <a:pt x="16" y="58"/>
                </a:lnTo>
                <a:lnTo>
                  <a:pt x="18" y="58"/>
                </a:lnTo>
                <a:lnTo>
                  <a:pt x="18" y="58"/>
                </a:lnTo>
                <a:lnTo>
                  <a:pt x="20" y="58"/>
                </a:lnTo>
                <a:lnTo>
                  <a:pt x="20" y="60"/>
                </a:lnTo>
                <a:lnTo>
                  <a:pt x="20" y="68"/>
                </a:lnTo>
                <a:lnTo>
                  <a:pt x="20" y="68"/>
                </a:lnTo>
                <a:lnTo>
                  <a:pt x="20" y="74"/>
                </a:lnTo>
                <a:lnTo>
                  <a:pt x="20" y="76"/>
                </a:lnTo>
                <a:lnTo>
                  <a:pt x="20" y="76"/>
                </a:lnTo>
                <a:lnTo>
                  <a:pt x="20" y="76"/>
                </a:lnTo>
                <a:lnTo>
                  <a:pt x="18" y="78"/>
                </a:lnTo>
                <a:lnTo>
                  <a:pt x="20" y="82"/>
                </a:lnTo>
                <a:lnTo>
                  <a:pt x="20" y="84"/>
                </a:lnTo>
                <a:lnTo>
                  <a:pt x="20" y="86"/>
                </a:lnTo>
                <a:lnTo>
                  <a:pt x="20" y="86"/>
                </a:lnTo>
                <a:lnTo>
                  <a:pt x="18" y="90"/>
                </a:lnTo>
                <a:lnTo>
                  <a:pt x="18" y="94"/>
                </a:lnTo>
                <a:lnTo>
                  <a:pt x="18" y="100"/>
                </a:lnTo>
                <a:lnTo>
                  <a:pt x="16" y="108"/>
                </a:lnTo>
                <a:lnTo>
                  <a:pt x="16" y="108"/>
                </a:lnTo>
                <a:lnTo>
                  <a:pt x="16" y="114"/>
                </a:lnTo>
                <a:lnTo>
                  <a:pt x="18" y="116"/>
                </a:lnTo>
                <a:lnTo>
                  <a:pt x="22" y="120"/>
                </a:lnTo>
                <a:lnTo>
                  <a:pt x="24" y="124"/>
                </a:lnTo>
                <a:lnTo>
                  <a:pt x="24" y="124"/>
                </a:lnTo>
                <a:lnTo>
                  <a:pt x="26" y="128"/>
                </a:lnTo>
                <a:lnTo>
                  <a:pt x="28" y="128"/>
                </a:lnTo>
                <a:lnTo>
                  <a:pt x="30" y="130"/>
                </a:lnTo>
                <a:lnTo>
                  <a:pt x="32" y="136"/>
                </a:lnTo>
                <a:lnTo>
                  <a:pt x="32" y="136"/>
                </a:lnTo>
                <a:lnTo>
                  <a:pt x="42" y="134"/>
                </a:lnTo>
                <a:lnTo>
                  <a:pt x="46" y="134"/>
                </a:lnTo>
                <a:lnTo>
                  <a:pt x="50" y="130"/>
                </a:lnTo>
                <a:lnTo>
                  <a:pt x="50" y="130"/>
                </a:lnTo>
                <a:lnTo>
                  <a:pt x="48" y="124"/>
                </a:lnTo>
                <a:lnTo>
                  <a:pt x="44" y="122"/>
                </a:lnTo>
                <a:lnTo>
                  <a:pt x="42" y="118"/>
                </a:lnTo>
                <a:lnTo>
                  <a:pt x="40" y="112"/>
                </a:lnTo>
                <a:lnTo>
                  <a:pt x="40" y="112"/>
                </a:lnTo>
                <a:lnTo>
                  <a:pt x="42" y="108"/>
                </a:lnTo>
                <a:lnTo>
                  <a:pt x="42" y="108"/>
                </a:lnTo>
                <a:lnTo>
                  <a:pt x="44" y="106"/>
                </a:lnTo>
                <a:lnTo>
                  <a:pt x="44" y="104"/>
                </a:lnTo>
                <a:lnTo>
                  <a:pt x="44" y="104"/>
                </a:lnTo>
                <a:lnTo>
                  <a:pt x="42" y="62"/>
                </a:lnTo>
                <a:lnTo>
                  <a:pt x="42" y="62"/>
                </a:lnTo>
                <a:lnTo>
                  <a:pt x="42" y="56"/>
                </a:lnTo>
                <a:lnTo>
                  <a:pt x="38" y="54"/>
                </a:lnTo>
                <a:lnTo>
                  <a:pt x="38" y="54"/>
                </a:lnTo>
                <a:lnTo>
                  <a:pt x="36" y="50"/>
                </a:lnTo>
                <a:lnTo>
                  <a:pt x="34" y="48"/>
                </a:lnTo>
                <a:lnTo>
                  <a:pt x="34" y="40"/>
                </a:lnTo>
                <a:lnTo>
                  <a:pt x="34" y="34"/>
                </a:lnTo>
                <a:lnTo>
                  <a:pt x="32" y="30"/>
                </a:lnTo>
                <a:lnTo>
                  <a:pt x="30" y="28"/>
                </a:lnTo>
                <a:lnTo>
                  <a:pt x="30" y="28"/>
                </a:lnTo>
                <a:lnTo>
                  <a:pt x="22" y="24"/>
                </a:lnTo>
                <a:lnTo>
                  <a:pt x="20" y="20"/>
                </a:lnTo>
                <a:lnTo>
                  <a:pt x="18" y="12"/>
                </a:lnTo>
                <a:lnTo>
                  <a:pt x="20" y="0"/>
                </a:lnTo>
                <a:lnTo>
                  <a:pt x="20" y="0"/>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93" name="Freeform 193"/>
          <p:cNvSpPr>
            <a:spLocks/>
          </p:cNvSpPr>
          <p:nvPr/>
        </p:nvSpPr>
        <p:spPr bwMode="auto">
          <a:xfrm>
            <a:off x="4265703" y="2438384"/>
            <a:ext cx="104826" cy="184367"/>
          </a:xfrm>
          <a:custGeom>
            <a:avLst/>
            <a:gdLst/>
            <a:ahLst/>
            <a:cxnLst>
              <a:cxn ang="0">
                <a:pos x="12" y="38"/>
              </a:cxn>
              <a:cxn ang="0">
                <a:pos x="8" y="28"/>
              </a:cxn>
              <a:cxn ang="0">
                <a:pos x="6" y="20"/>
              </a:cxn>
              <a:cxn ang="0">
                <a:pos x="4" y="14"/>
              </a:cxn>
              <a:cxn ang="0">
                <a:pos x="10" y="4"/>
              </a:cxn>
              <a:cxn ang="0">
                <a:pos x="46" y="4"/>
              </a:cxn>
              <a:cxn ang="0">
                <a:pos x="54" y="0"/>
              </a:cxn>
              <a:cxn ang="0">
                <a:pos x="62" y="2"/>
              </a:cxn>
              <a:cxn ang="0">
                <a:pos x="60" y="14"/>
              </a:cxn>
              <a:cxn ang="0">
                <a:pos x="62" y="20"/>
              </a:cxn>
              <a:cxn ang="0">
                <a:pos x="66" y="22"/>
              </a:cxn>
              <a:cxn ang="0">
                <a:pos x="68" y="26"/>
              </a:cxn>
              <a:cxn ang="0">
                <a:pos x="70" y="34"/>
              </a:cxn>
              <a:cxn ang="0">
                <a:pos x="72" y="46"/>
              </a:cxn>
              <a:cxn ang="0">
                <a:pos x="72" y="50"/>
              </a:cxn>
              <a:cxn ang="0">
                <a:pos x="78" y="60"/>
              </a:cxn>
              <a:cxn ang="0">
                <a:pos x="80" y="62"/>
              </a:cxn>
              <a:cxn ang="0">
                <a:pos x="80" y="76"/>
              </a:cxn>
              <a:cxn ang="0">
                <a:pos x="80" y="78"/>
              </a:cxn>
              <a:cxn ang="0">
                <a:pos x="80" y="86"/>
              </a:cxn>
              <a:cxn ang="0">
                <a:pos x="78" y="92"/>
              </a:cxn>
              <a:cxn ang="0">
                <a:pos x="76" y="110"/>
              </a:cxn>
              <a:cxn ang="0">
                <a:pos x="78" y="118"/>
              </a:cxn>
              <a:cxn ang="0">
                <a:pos x="84" y="126"/>
              </a:cxn>
              <a:cxn ang="0">
                <a:pos x="90" y="132"/>
              </a:cxn>
              <a:cxn ang="0">
                <a:pos x="88" y="146"/>
              </a:cxn>
              <a:cxn ang="0">
                <a:pos x="82" y="144"/>
              </a:cxn>
              <a:cxn ang="0">
                <a:pos x="80" y="146"/>
              </a:cxn>
              <a:cxn ang="0">
                <a:pos x="74" y="150"/>
              </a:cxn>
              <a:cxn ang="0">
                <a:pos x="52" y="158"/>
              </a:cxn>
              <a:cxn ang="0">
                <a:pos x="40" y="162"/>
              </a:cxn>
              <a:cxn ang="0">
                <a:pos x="32" y="162"/>
              </a:cxn>
              <a:cxn ang="0">
                <a:pos x="20" y="156"/>
              </a:cxn>
              <a:cxn ang="0">
                <a:pos x="6" y="154"/>
              </a:cxn>
              <a:cxn ang="0">
                <a:pos x="10" y="150"/>
              </a:cxn>
              <a:cxn ang="0">
                <a:pos x="10" y="144"/>
              </a:cxn>
              <a:cxn ang="0">
                <a:pos x="4" y="136"/>
              </a:cxn>
              <a:cxn ang="0">
                <a:pos x="0" y="124"/>
              </a:cxn>
              <a:cxn ang="0">
                <a:pos x="4" y="112"/>
              </a:cxn>
              <a:cxn ang="0">
                <a:pos x="8" y="94"/>
              </a:cxn>
              <a:cxn ang="0">
                <a:pos x="14" y="76"/>
              </a:cxn>
              <a:cxn ang="0">
                <a:pos x="12" y="54"/>
              </a:cxn>
              <a:cxn ang="0">
                <a:pos x="12" y="46"/>
              </a:cxn>
              <a:cxn ang="0">
                <a:pos x="8" y="40"/>
              </a:cxn>
            </a:cxnLst>
            <a:rect l="0" t="0" r="r" b="b"/>
            <a:pathLst>
              <a:path w="92" h="162">
                <a:moveTo>
                  <a:pt x="8" y="40"/>
                </a:moveTo>
                <a:lnTo>
                  <a:pt x="8" y="40"/>
                </a:lnTo>
                <a:lnTo>
                  <a:pt x="12" y="38"/>
                </a:lnTo>
                <a:lnTo>
                  <a:pt x="12" y="36"/>
                </a:lnTo>
                <a:lnTo>
                  <a:pt x="8" y="28"/>
                </a:lnTo>
                <a:lnTo>
                  <a:pt x="8" y="28"/>
                </a:lnTo>
                <a:lnTo>
                  <a:pt x="6" y="24"/>
                </a:lnTo>
                <a:lnTo>
                  <a:pt x="6" y="22"/>
                </a:lnTo>
                <a:lnTo>
                  <a:pt x="6" y="20"/>
                </a:lnTo>
                <a:lnTo>
                  <a:pt x="4" y="16"/>
                </a:lnTo>
                <a:lnTo>
                  <a:pt x="4" y="16"/>
                </a:lnTo>
                <a:lnTo>
                  <a:pt x="4" y="14"/>
                </a:lnTo>
                <a:lnTo>
                  <a:pt x="4" y="10"/>
                </a:lnTo>
                <a:lnTo>
                  <a:pt x="6" y="6"/>
                </a:lnTo>
                <a:lnTo>
                  <a:pt x="10" y="4"/>
                </a:lnTo>
                <a:lnTo>
                  <a:pt x="10" y="4"/>
                </a:lnTo>
                <a:lnTo>
                  <a:pt x="36" y="4"/>
                </a:lnTo>
                <a:lnTo>
                  <a:pt x="46" y="4"/>
                </a:lnTo>
                <a:lnTo>
                  <a:pt x="52" y="2"/>
                </a:lnTo>
                <a:lnTo>
                  <a:pt x="52" y="2"/>
                </a:lnTo>
                <a:lnTo>
                  <a:pt x="54" y="0"/>
                </a:lnTo>
                <a:lnTo>
                  <a:pt x="56" y="0"/>
                </a:lnTo>
                <a:lnTo>
                  <a:pt x="58" y="0"/>
                </a:lnTo>
                <a:lnTo>
                  <a:pt x="62" y="2"/>
                </a:lnTo>
                <a:lnTo>
                  <a:pt x="62" y="2"/>
                </a:lnTo>
                <a:lnTo>
                  <a:pt x="60" y="10"/>
                </a:lnTo>
                <a:lnTo>
                  <a:pt x="60" y="14"/>
                </a:lnTo>
                <a:lnTo>
                  <a:pt x="62" y="16"/>
                </a:lnTo>
                <a:lnTo>
                  <a:pt x="62" y="20"/>
                </a:lnTo>
                <a:lnTo>
                  <a:pt x="62" y="20"/>
                </a:lnTo>
                <a:lnTo>
                  <a:pt x="62" y="22"/>
                </a:lnTo>
                <a:lnTo>
                  <a:pt x="62" y="22"/>
                </a:lnTo>
                <a:lnTo>
                  <a:pt x="66" y="22"/>
                </a:lnTo>
                <a:lnTo>
                  <a:pt x="68" y="22"/>
                </a:lnTo>
                <a:lnTo>
                  <a:pt x="68" y="26"/>
                </a:lnTo>
                <a:lnTo>
                  <a:pt x="68" y="26"/>
                </a:lnTo>
                <a:lnTo>
                  <a:pt x="68" y="30"/>
                </a:lnTo>
                <a:lnTo>
                  <a:pt x="68" y="32"/>
                </a:lnTo>
                <a:lnTo>
                  <a:pt x="70" y="34"/>
                </a:lnTo>
                <a:lnTo>
                  <a:pt x="72" y="38"/>
                </a:lnTo>
                <a:lnTo>
                  <a:pt x="72" y="38"/>
                </a:lnTo>
                <a:lnTo>
                  <a:pt x="72" y="46"/>
                </a:lnTo>
                <a:lnTo>
                  <a:pt x="72" y="48"/>
                </a:lnTo>
                <a:lnTo>
                  <a:pt x="72" y="50"/>
                </a:lnTo>
                <a:lnTo>
                  <a:pt x="72" y="50"/>
                </a:lnTo>
                <a:lnTo>
                  <a:pt x="74" y="56"/>
                </a:lnTo>
                <a:lnTo>
                  <a:pt x="76" y="60"/>
                </a:lnTo>
                <a:lnTo>
                  <a:pt x="78" y="60"/>
                </a:lnTo>
                <a:lnTo>
                  <a:pt x="78" y="60"/>
                </a:lnTo>
                <a:lnTo>
                  <a:pt x="80" y="60"/>
                </a:lnTo>
                <a:lnTo>
                  <a:pt x="80" y="62"/>
                </a:lnTo>
                <a:lnTo>
                  <a:pt x="80" y="70"/>
                </a:lnTo>
                <a:lnTo>
                  <a:pt x="80" y="70"/>
                </a:lnTo>
                <a:lnTo>
                  <a:pt x="80" y="76"/>
                </a:lnTo>
                <a:lnTo>
                  <a:pt x="80" y="78"/>
                </a:lnTo>
                <a:lnTo>
                  <a:pt x="80" y="78"/>
                </a:lnTo>
                <a:lnTo>
                  <a:pt x="80" y="78"/>
                </a:lnTo>
                <a:lnTo>
                  <a:pt x="78" y="80"/>
                </a:lnTo>
                <a:lnTo>
                  <a:pt x="80" y="84"/>
                </a:lnTo>
                <a:lnTo>
                  <a:pt x="80" y="86"/>
                </a:lnTo>
                <a:lnTo>
                  <a:pt x="80" y="88"/>
                </a:lnTo>
                <a:lnTo>
                  <a:pt x="80" y="88"/>
                </a:lnTo>
                <a:lnTo>
                  <a:pt x="78" y="92"/>
                </a:lnTo>
                <a:lnTo>
                  <a:pt x="78" y="96"/>
                </a:lnTo>
                <a:lnTo>
                  <a:pt x="78" y="102"/>
                </a:lnTo>
                <a:lnTo>
                  <a:pt x="76" y="110"/>
                </a:lnTo>
                <a:lnTo>
                  <a:pt x="76" y="110"/>
                </a:lnTo>
                <a:lnTo>
                  <a:pt x="76" y="116"/>
                </a:lnTo>
                <a:lnTo>
                  <a:pt x="78" y="118"/>
                </a:lnTo>
                <a:lnTo>
                  <a:pt x="82" y="122"/>
                </a:lnTo>
                <a:lnTo>
                  <a:pt x="84" y="126"/>
                </a:lnTo>
                <a:lnTo>
                  <a:pt x="84" y="126"/>
                </a:lnTo>
                <a:lnTo>
                  <a:pt x="86" y="130"/>
                </a:lnTo>
                <a:lnTo>
                  <a:pt x="88" y="130"/>
                </a:lnTo>
                <a:lnTo>
                  <a:pt x="90" y="132"/>
                </a:lnTo>
                <a:lnTo>
                  <a:pt x="92" y="138"/>
                </a:lnTo>
                <a:lnTo>
                  <a:pt x="92" y="138"/>
                </a:lnTo>
                <a:lnTo>
                  <a:pt x="88" y="146"/>
                </a:lnTo>
                <a:lnTo>
                  <a:pt x="86" y="146"/>
                </a:lnTo>
                <a:lnTo>
                  <a:pt x="84" y="146"/>
                </a:lnTo>
                <a:lnTo>
                  <a:pt x="82" y="144"/>
                </a:lnTo>
                <a:lnTo>
                  <a:pt x="78" y="144"/>
                </a:lnTo>
                <a:lnTo>
                  <a:pt x="78" y="144"/>
                </a:lnTo>
                <a:lnTo>
                  <a:pt x="80" y="146"/>
                </a:lnTo>
                <a:lnTo>
                  <a:pt x="80" y="146"/>
                </a:lnTo>
                <a:lnTo>
                  <a:pt x="74" y="150"/>
                </a:lnTo>
                <a:lnTo>
                  <a:pt x="74" y="150"/>
                </a:lnTo>
                <a:lnTo>
                  <a:pt x="66" y="156"/>
                </a:lnTo>
                <a:lnTo>
                  <a:pt x="52" y="158"/>
                </a:lnTo>
                <a:lnTo>
                  <a:pt x="52" y="158"/>
                </a:lnTo>
                <a:lnTo>
                  <a:pt x="44" y="160"/>
                </a:lnTo>
                <a:lnTo>
                  <a:pt x="42" y="160"/>
                </a:lnTo>
                <a:lnTo>
                  <a:pt x="40" y="162"/>
                </a:lnTo>
                <a:lnTo>
                  <a:pt x="36" y="162"/>
                </a:lnTo>
                <a:lnTo>
                  <a:pt x="36" y="162"/>
                </a:lnTo>
                <a:lnTo>
                  <a:pt x="32" y="162"/>
                </a:lnTo>
                <a:lnTo>
                  <a:pt x="30" y="160"/>
                </a:lnTo>
                <a:lnTo>
                  <a:pt x="28" y="158"/>
                </a:lnTo>
                <a:lnTo>
                  <a:pt x="20" y="156"/>
                </a:lnTo>
                <a:lnTo>
                  <a:pt x="20" y="156"/>
                </a:lnTo>
                <a:lnTo>
                  <a:pt x="10" y="156"/>
                </a:lnTo>
                <a:lnTo>
                  <a:pt x="6" y="154"/>
                </a:lnTo>
                <a:lnTo>
                  <a:pt x="6" y="154"/>
                </a:lnTo>
                <a:lnTo>
                  <a:pt x="8" y="152"/>
                </a:lnTo>
                <a:lnTo>
                  <a:pt x="10" y="150"/>
                </a:lnTo>
                <a:lnTo>
                  <a:pt x="10" y="148"/>
                </a:lnTo>
                <a:lnTo>
                  <a:pt x="10" y="148"/>
                </a:lnTo>
                <a:lnTo>
                  <a:pt x="10" y="144"/>
                </a:lnTo>
                <a:lnTo>
                  <a:pt x="8" y="144"/>
                </a:lnTo>
                <a:lnTo>
                  <a:pt x="6" y="142"/>
                </a:lnTo>
                <a:lnTo>
                  <a:pt x="4" y="136"/>
                </a:lnTo>
                <a:lnTo>
                  <a:pt x="4" y="136"/>
                </a:lnTo>
                <a:lnTo>
                  <a:pt x="2" y="130"/>
                </a:lnTo>
                <a:lnTo>
                  <a:pt x="0" y="124"/>
                </a:lnTo>
                <a:lnTo>
                  <a:pt x="0" y="118"/>
                </a:lnTo>
                <a:lnTo>
                  <a:pt x="4" y="112"/>
                </a:lnTo>
                <a:lnTo>
                  <a:pt x="4" y="112"/>
                </a:lnTo>
                <a:lnTo>
                  <a:pt x="6" y="104"/>
                </a:lnTo>
                <a:lnTo>
                  <a:pt x="6" y="100"/>
                </a:lnTo>
                <a:lnTo>
                  <a:pt x="8" y="94"/>
                </a:lnTo>
                <a:lnTo>
                  <a:pt x="10" y="86"/>
                </a:lnTo>
                <a:lnTo>
                  <a:pt x="10" y="86"/>
                </a:lnTo>
                <a:lnTo>
                  <a:pt x="14" y="76"/>
                </a:lnTo>
                <a:lnTo>
                  <a:pt x="16" y="68"/>
                </a:lnTo>
                <a:lnTo>
                  <a:pt x="14" y="60"/>
                </a:lnTo>
                <a:lnTo>
                  <a:pt x="12" y="54"/>
                </a:lnTo>
                <a:lnTo>
                  <a:pt x="12" y="54"/>
                </a:lnTo>
                <a:lnTo>
                  <a:pt x="12" y="48"/>
                </a:lnTo>
                <a:lnTo>
                  <a:pt x="12" y="46"/>
                </a:lnTo>
                <a:lnTo>
                  <a:pt x="12" y="44"/>
                </a:lnTo>
                <a:lnTo>
                  <a:pt x="8" y="40"/>
                </a:lnTo>
                <a:lnTo>
                  <a:pt x="8" y="40"/>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94" name="Freeform 195"/>
          <p:cNvSpPr>
            <a:spLocks/>
          </p:cNvSpPr>
          <p:nvPr/>
        </p:nvSpPr>
        <p:spPr bwMode="auto">
          <a:xfrm>
            <a:off x="7709008" y="2834429"/>
            <a:ext cx="230161" cy="229889"/>
          </a:xfrm>
          <a:custGeom>
            <a:avLst/>
            <a:gdLst/>
            <a:ahLst/>
            <a:cxnLst>
              <a:cxn ang="0">
                <a:pos x="10" y="168"/>
              </a:cxn>
              <a:cxn ang="0">
                <a:pos x="22" y="162"/>
              </a:cxn>
              <a:cxn ang="0">
                <a:pos x="38" y="164"/>
              </a:cxn>
              <a:cxn ang="0">
                <a:pos x="50" y="154"/>
              </a:cxn>
              <a:cxn ang="0">
                <a:pos x="24" y="150"/>
              </a:cxn>
              <a:cxn ang="0">
                <a:pos x="16" y="140"/>
              </a:cxn>
              <a:cxn ang="0">
                <a:pos x="26" y="146"/>
              </a:cxn>
              <a:cxn ang="0">
                <a:pos x="40" y="148"/>
              </a:cxn>
              <a:cxn ang="0">
                <a:pos x="42" y="142"/>
              </a:cxn>
              <a:cxn ang="0">
                <a:pos x="56" y="142"/>
              </a:cxn>
              <a:cxn ang="0">
                <a:pos x="48" y="130"/>
              </a:cxn>
              <a:cxn ang="0">
                <a:pos x="54" y="134"/>
              </a:cxn>
              <a:cxn ang="0">
                <a:pos x="52" y="128"/>
              </a:cxn>
              <a:cxn ang="0">
                <a:pos x="66" y="126"/>
              </a:cxn>
              <a:cxn ang="0">
                <a:pos x="74" y="126"/>
              </a:cxn>
              <a:cxn ang="0">
                <a:pos x="82" y="128"/>
              </a:cxn>
              <a:cxn ang="0">
                <a:pos x="102" y="140"/>
              </a:cxn>
              <a:cxn ang="0">
                <a:pos x="110" y="156"/>
              </a:cxn>
              <a:cxn ang="0">
                <a:pos x="114" y="160"/>
              </a:cxn>
              <a:cxn ang="0">
                <a:pos x="116" y="162"/>
              </a:cxn>
              <a:cxn ang="0">
                <a:pos x="124" y="172"/>
              </a:cxn>
              <a:cxn ang="0">
                <a:pos x="128" y="176"/>
              </a:cxn>
              <a:cxn ang="0">
                <a:pos x="138" y="188"/>
              </a:cxn>
              <a:cxn ang="0">
                <a:pos x="164" y="192"/>
              </a:cxn>
              <a:cxn ang="0">
                <a:pos x="184" y="198"/>
              </a:cxn>
              <a:cxn ang="0">
                <a:pos x="194" y="198"/>
              </a:cxn>
              <a:cxn ang="0">
                <a:pos x="198" y="196"/>
              </a:cxn>
              <a:cxn ang="0">
                <a:pos x="194" y="192"/>
              </a:cxn>
              <a:cxn ang="0">
                <a:pos x="180" y="184"/>
              </a:cxn>
              <a:cxn ang="0">
                <a:pos x="186" y="178"/>
              </a:cxn>
              <a:cxn ang="0">
                <a:pos x="172" y="170"/>
              </a:cxn>
              <a:cxn ang="0">
                <a:pos x="170" y="160"/>
              </a:cxn>
              <a:cxn ang="0">
                <a:pos x="162" y="156"/>
              </a:cxn>
              <a:cxn ang="0">
                <a:pos x="160" y="150"/>
              </a:cxn>
              <a:cxn ang="0">
                <a:pos x="156" y="138"/>
              </a:cxn>
              <a:cxn ang="0">
                <a:pos x="150" y="134"/>
              </a:cxn>
              <a:cxn ang="0">
                <a:pos x="146" y="122"/>
              </a:cxn>
              <a:cxn ang="0">
                <a:pos x="142" y="116"/>
              </a:cxn>
              <a:cxn ang="0">
                <a:pos x="136" y="110"/>
              </a:cxn>
              <a:cxn ang="0">
                <a:pos x="136" y="98"/>
              </a:cxn>
              <a:cxn ang="0">
                <a:pos x="144" y="96"/>
              </a:cxn>
              <a:cxn ang="0">
                <a:pos x="152" y="96"/>
              </a:cxn>
              <a:cxn ang="0">
                <a:pos x="148" y="84"/>
              </a:cxn>
              <a:cxn ang="0">
                <a:pos x="118" y="70"/>
              </a:cxn>
              <a:cxn ang="0">
                <a:pos x="114" y="66"/>
              </a:cxn>
              <a:cxn ang="0">
                <a:pos x="106" y="64"/>
              </a:cxn>
              <a:cxn ang="0">
                <a:pos x="106" y="58"/>
              </a:cxn>
              <a:cxn ang="0">
                <a:pos x="104" y="48"/>
              </a:cxn>
              <a:cxn ang="0">
                <a:pos x="94" y="40"/>
              </a:cxn>
              <a:cxn ang="0">
                <a:pos x="90" y="36"/>
              </a:cxn>
              <a:cxn ang="0">
                <a:pos x="72" y="28"/>
              </a:cxn>
              <a:cxn ang="0">
                <a:pos x="50" y="16"/>
              </a:cxn>
              <a:cxn ang="0">
                <a:pos x="16" y="0"/>
              </a:cxn>
              <a:cxn ang="0">
                <a:pos x="0" y="164"/>
              </a:cxn>
            </a:cxnLst>
            <a:rect l="0" t="0" r="r" b="b"/>
            <a:pathLst>
              <a:path w="202" h="202">
                <a:moveTo>
                  <a:pt x="0" y="164"/>
                </a:moveTo>
                <a:lnTo>
                  <a:pt x="0" y="164"/>
                </a:lnTo>
                <a:lnTo>
                  <a:pt x="4" y="164"/>
                </a:lnTo>
                <a:lnTo>
                  <a:pt x="8" y="166"/>
                </a:lnTo>
                <a:lnTo>
                  <a:pt x="10" y="168"/>
                </a:lnTo>
                <a:lnTo>
                  <a:pt x="16" y="168"/>
                </a:lnTo>
                <a:lnTo>
                  <a:pt x="16" y="168"/>
                </a:lnTo>
                <a:lnTo>
                  <a:pt x="20" y="166"/>
                </a:lnTo>
                <a:lnTo>
                  <a:pt x="20" y="164"/>
                </a:lnTo>
                <a:lnTo>
                  <a:pt x="22" y="162"/>
                </a:lnTo>
                <a:lnTo>
                  <a:pt x="26" y="166"/>
                </a:lnTo>
                <a:lnTo>
                  <a:pt x="26" y="166"/>
                </a:lnTo>
                <a:lnTo>
                  <a:pt x="32" y="168"/>
                </a:lnTo>
                <a:lnTo>
                  <a:pt x="36" y="166"/>
                </a:lnTo>
                <a:lnTo>
                  <a:pt x="38" y="164"/>
                </a:lnTo>
                <a:lnTo>
                  <a:pt x="44" y="162"/>
                </a:lnTo>
                <a:lnTo>
                  <a:pt x="44" y="162"/>
                </a:lnTo>
                <a:lnTo>
                  <a:pt x="48" y="160"/>
                </a:lnTo>
                <a:lnTo>
                  <a:pt x="50" y="156"/>
                </a:lnTo>
                <a:lnTo>
                  <a:pt x="50" y="154"/>
                </a:lnTo>
                <a:lnTo>
                  <a:pt x="48" y="152"/>
                </a:lnTo>
                <a:lnTo>
                  <a:pt x="40" y="152"/>
                </a:lnTo>
                <a:lnTo>
                  <a:pt x="40" y="152"/>
                </a:lnTo>
                <a:lnTo>
                  <a:pt x="28" y="152"/>
                </a:lnTo>
                <a:lnTo>
                  <a:pt x="24" y="150"/>
                </a:lnTo>
                <a:lnTo>
                  <a:pt x="22" y="146"/>
                </a:lnTo>
                <a:lnTo>
                  <a:pt x="22" y="146"/>
                </a:lnTo>
                <a:lnTo>
                  <a:pt x="20" y="144"/>
                </a:lnTo>
                <a:lnTo>
                  <a:pt x="18" y="142"/>
                </a:lnTo>
                <a:lnTo>
                  <a:pt x="16" y="140"/>
                </a:lnTo>
                <a:lnTo>
                  <a:pt x="14" y="138"/>
                </a:lnTo>
                <a:lnTo>
                  <a:pt x="14" y="138"/>
                </a:lnTo>
                <a:lnTo>
                  <a:pt x="22" y="142"/>
                </a:lnTo>
                <a:lnTo>
                  <a:pt x="24" y="142"/>
                </a:lnTo>
                <a:lnTo>
                  <a:pt x="26" y="146"/>
                </a:lnTo>
                <a:lnTo>
                  <a:pt x="26" y="146"/>
                </a:lnTo>
                <a:lnTo>
                  <a:pt x="28" y="148"/>
                </a:lnTo>
                <a:lnTo>
                  <a:pt x="32" y="148"/>
                </a:lnTo>
                <a:lnTo>
                  <a:pt x="40" y="148"/>
                </a:lnTo>
                <a:lnTo>
                  <a:pt x="40" y="148"/>
                </a:lnTo>
                <a:lnTo>
                  <a:pt x="50" y="150"/>
                </a:lnTo>
                <a:lnTo>
                  <a:pt x="48" y="148"/>
                </a:lnTo>
                <a:lnTo>
                  <a:pt x="48" y="148"/>
                </a:lnTo>
                <a:lnTo>
                  <a:pt x="42" y="144"/>
                </a:lnTo>
                <a:lnTo>
                  <a:pt x="42" y="142"/>
                </a:lnTo>
                <a:lnTo>
                  <a:pt x="44" y="144"/>
                </a:lnTo>
                <a:lnTo>
                  <a:pt x="44" y="144"/>
                </a:lnTo>
                <a:lnTo>
                  <a:pt x="50" y="144"/>
                </a:lnTo>
                <a:lnTo>
                  <a:pt x="54" y="144"/>
                </a:lnTo>
                <a:lnTo>
                  <a:pt x="56" y="142"/>
                </a:lnTo>
                <a:lnTo>
                  <a:pt x="52" y="138"/>
                </a:lnTo>
                <a:lnTo>
                  <a:pt x="52" y="138"/>
                </a:lnTo>
                <a:lnTo>
                  <a:pt x="50" y="134"/>
                </a:lnTo>
                <a:lnTo>
                  <a:pt x="48" y="132"/>
                </a:lnTo>
                <a:lnTo>
                  <a:pt x="48" y="130"/>
                </a:lnTo>
                <a:lnTo>
                  <a:pt x="44" y="130"/>
                </a:lnTo>
                <a:lnTo>
                  <a:pt x="44" y="130"/>
                </a:lnTo>
                <a:lnTo>
                  <a:pt x="50" y="130"/>
                </a:lnTo>
                <a:lnTo>
                  <a:pt x="52" y="132"/>
                </a:lnTo>
                <a:lnTo>
                  <a:pt x="54" y="134"/>
                </a:lnTo>
                <a:lnTo>
                  <a:pt x="58" y="136"/>
                </a:lnTo>
                <a:lnTo>
                  <a:pt x="58" y="136"/>
                </a:lnTo>
                <a:lnTo>
                  <a:pt x="60" y="134"/>
                </a:lnTo>
                <a:lnTo>
                  <a:pt x="58" y="132"/>
                </a:lnTo>
                <a:lnTo>
                  <a:pt x="52" y="128"/>
                </a:lnTo>
                <a:lnTo>
                  <a:pt x="52" y="128"/>
                </a:lnTo>
                <a:lnTo>
                  <a:pt x="60" y="130"/>
                </a:lnTo>
                <a:lnTo>
                  <a:pt x="60" y="126"/>
                </a:lnTo>
                <a:lnTo>
                  <a:pt x="60" y="126"/>
                </a:lnTo>
                <a:lnTo>
                  <a:pt x="66" y="126"/>
                </a:lnTo>
                <a:lnTo>
                  <a:pt x="68" y="124"/>
                </a:lnTo>
                <a:lnTo>
                  <a:pt x="68" y="124"/>
                </a:lnTo>
                <a:lnTo>
                  <a:pt x="72" y="128"/>
                </a:lnTo>
                <a:lnTo>
                  <a:pt x="74" y="126"/>
                </a:lnTo>
                <a:lnTo>
                  <a:pt x="74" y="126"/>
                </a:lnTo>
                <a:lnTo>
                  <a:pt x="78" y="124"/>
                </a:lnTo>
                <a:lnTo>
                  <a:pt x="78" y="124"/>
                </a:lnTo>
                <a:lnTo>
                  <a:pt x="80" y="126"/>
                </a:lnTo>
                <a:lnTo>
                  <a:pt x="82" y="128"/>
                </a:lnTo>
                <a:lnTo>
                  <a:pt x="82" y="128"/>
                </a:lnTo>
                <a:lnTo>
                  <a:pt x="88" y="134"/>
                </a:lnTo>
                <a:lnTo>
                  <a:pt x="90" y="134"/>
                </a:lnTo>
                <a:lnTo>
                  <a:pt x="96" y="136"/>
                </a:lnTo>
                <a:lnTo>
                  <a:pt x="96" y="136"/>
                </a:lnTo>
                <a:lnTo>
                  <a:pt x="102" y="140"/>
                </a:lnTo>
                <a:lnTo>
                  <a:pt x="108" y="146"/>
                </a:lnTo>
                <a:lnTo>
                  <a:pt x="110" y="152"/>
                </a:lnTo>
                <a:lnTo>
                  <a:pt x="110" y="154"/>
                </a:lnTo>
                <a:lnTo>
                  <a:pt x="110" y="156"/>
                </a:lnTo>
                <a:lnTo>
                  <a:pt x="110" y="156"/>
                </a:lnTo>
                <a:lnTo>
                  <a:pt x="108" y="158"/>
                </a:lnTo>
                <a:lnTo>
                  <a:pt x="110" y="160"/>
                </a:lnTo>
                <a:lnTo>
                  <a:pt x="112" y="162"/>
                </a:lnTo>
                <a:lnTo>
                  <a:pt x="114" y="160"/>
                </a:lnTo>
                <a:lnTo>
                  <a:pt x="114" y="160"/>
                </a:lnTo>
                <a:lnTo>
                  <a:pt x="116" y="160"/>
                </a:lnTo>
                <a:lnTo>
                  <a:pt x="118" y="160"/>
                </a:lnTo>
                <a:lnTo>
                  <a:pt x="118" y="160"/>
                </a:lnTo>
                <a:lnTo>
                  <a:pt x="116" y="162"/>
                </a:lnTo>
                <a:lnTo>
                  <a:pt x="116" y="162"/>
                </a:lnTo>
                <a:lnTo>
                  <a:pt x="116" y="164"/>
                </a:lnTo>
                <a:lnTo>
                  <a:pt x="116" y="168"/>
                </a:lnTo>
                <a:lnTo>
                  <a:pt x="118" y="172"/>
                </a:lnTo>
                <a:lnTo>
                  <a:pt x="124" y="172"/>
                </a:lnTo>
                <a:lnTo>
                  <a:pt x="124" y="172"/>
                </a:lnTo>
                <a:lnTo>
                  <a:pt x="126" y="170"/>
                </a:lnTo>
                <a:lnTo>
                  <a:pt x="126" y="170"/>
                </a:lnTo>
                <a:lnTo>
                  <a:pt x="126" y="172"/>
                </a:lnTo>
                <a:lnTo>
                  <a:pt x="128" y="176"/>
                </a:lnTo>
                <a:lnTo>
                  <a:pt x="128" y="176"/>
                </a:lnTo>
                <a:lnTo>
                  <a:pt x="130" y="182"/>
                </a:lnTo>
                <a:lnTo>
                  <a:pt x="130" y="186"/>
                </a:lnTo>
                <a:lnTo>
                  <a:pt x="132" y="186"/>
                </a:lnTo>
                <a:lnTo>
                  <a:pt x="138" y="188"/>
                </a:lnTo>
                <a:lnTo>
                  <a:pt x="138" y="188"/>
                </a:lnTo>
                <a:lnTo>
                  <a:pt x="150" y="190"/>
                </a:lnTo>
                <a:lnTo>
                  <a:pt x="156" y="190"/>
                </a:lnTo>
                <a:lnTo>
                  <a:pt x="160" y="190"/>
                </a:lnTo>
                <a:lnTo>
                  <a:pt x="164" y="192"/>
                </a:lnTo>
                <a:lnTo>
                  <a:pt x="164" y="192"/>
                </a:lnTo>
                <a:lnTo>
                  <a:pt x="168" y="194"/>
                </a:lnTo>
                <a:lnTo>
                  <a:pt x="172" y="196"/>
                </a:lnTo>
                <a:lnTo>
                  <a:pt x="186" y="196"/>
                </a:lnTo>
                <a:lnTo>
                  <a:pt x="186" y="196"/>
                </a:lnTo>
                <a:lnTo>
                  <a:pt x="184" y="198"/>
                </a:lnTo>
                <a:lnTo>
                  <a:pt x="186" y="200"/>
                </a:lnTo>
                <a:lnTo>
                  <a:pt x="196" y="202"/>
                </a:lnTo>
                <a:lnTo>
                  <a:pt x="196" y="202"/>
                </a:lnTo>
                <a:lnTo>
                  <a:pt x="196" y="200"/>
                </a:lnTo>
                <a:lnTo>
                  <a:pt x="194" y="198"/>
                </a:lnTo>
                <a:lnTo>
                  <a:pt x="192" y="198"/>
                </a:lnTo>
                <a:lnTo>
                  <a:pt x="192" y="196"/>
                </a:lnTo>
                <a:lnTo>
                  <a:pt x="192" y="196"/>
                </a:lnTo>
                <a:lnTo>
                  <a:pt x="192" y="196"/>
                </a:lnTo>
                <a:lnTo>
                  <a:pt x="198" y="196"/>
                </a:lnTo>
                <a:lnTo>
                  <a:pt x="202" y="194"/>
                </a:lnTo>
                <a:lnTo>
                  <a:pt x="202" y="194"/>
                </a:lnTo>
                <a:lnTo>
                  <a:pt x="202" y="194"/>
                </a:lnTo>
                <a:lnTo>
                  <a:pt x="198" y="194"/>
                </a:lnTo>
                <a:lnTo>
                  <a:pt x="194" y="192"/>
                </a:lnTo>
                <a:lnTo>
                  <a:pt x="190" y="190"/>
                </a:lnTo>
                <a:lnTo>
                  <a:pt x="190" y="190"/>
                </a:lnTo>
                <a:lnTo>
                  <a:pt x="186" y="188"/>
                </a:lnTo>
                <a:lnTo>
                  <a:pt x="182" y="186"/>
                </a:lnTo>
                <a:lnTo>
                  <a:pt x="180" y="184"/>
                </a:lnTo>
                <a:lnTo>
                  <a:pt x="184" y="182"/>
                </a:lnTo>
                <a:lnTo>
                  <a:pt x="184" y="182"/>
                </a:lnTo>
                <a:lnTo>
                  <a:pt x="188" y="182"/>
                </a:lnTo>
                <a:lnTo>
                  <a:pt x="188" y="180"/>
                </a:lnTo>
                <a:lnTo>
                  <a:pt x="186" y="178"/>
                </a:lnTo>
                <a:lnTo>
                  <a:pt x="180" y="176"/>
                </a:lnTo>
                <a:lnTo>
                  <a:pt x="180" y="176"/>
                </a:lnTo>
                <a:lnTo>
                  <a:pt x="176" y="176"/>
                </a:lnTo>
                <a:lnTo>
                  <a:pt x="172" y="174"/>
                </a:lnTo>
                <a:lnTo>
                  <a:pt x="172" y="170"/>
                </a:lnTo>
                <a:lnTo>
                  <a:pt x="174" y="166"/>
                </a:lnTo>
                <a:lnTo>
                  <a:pt x="174" y="166"/>
                </a:lnTo>
                <a:lnTo>
                  <a:pt x="174" y="164"/>
                </a:lnTo>
                <a:lnTo>
                  <a:pt x="174" y="162"/>
                </a:lnTo>
                <a:lnTo>
                  <a:pt x="170" y="160"/>
                </a:lnTo>
                <a:lnTo>
                  <a:pt x="166" y="162"/>
                </a:lnTo>
                <a:lnTo>
                  <a:pt x="166" y="162"/>
                </a:lnTo>
                <a:lnTo>
                  <a:pt x="164" y="162"/>
                </a:lnTo>
                <a:lnTo>
                  <a:pt x="164" y="158"/>
                </a:lnTo>
                <a:lnTo>
                  <a:pt x="162" y="156"/>
                </a:lnTo>
                <a:lnTo>
                  <a:pt x="160" y="154"/>
                </a:lnTo>
                <a:lnTo>
                  <a:pt x="160" y="154"/>
                </a:lnTo>
                <a:lnTo>
                  <a:pt x="158" y="152"/>
                </a:lnTo>
                <a:lnTo>
                  <a:pt x="158" y="152"/>
                </a:lnTo>
                <a:lnTo>
                  <a:pt x="160" y="150"/>
                </a:lnTo>
                <a:lnTo>
                  <a:pt x="158" y="148"/>
                </a:lnTo>
                <a:lnTo>
                  <a:pt x="158" y="148"/>
                </a:lnTo>
                <a:lnTo>
                  <a:pt x="158" y="144"/>
                </a:lnTo>
                <a:lnTo>
                  <a:pt x="158" y="140"/>
                </a:lnTo>
                <a:lnTo>
                  <a:pt x="156" y="138"/>
                </a:lnTo>
                <a:lnTo>
                  <a:pt x="154" y="138"/>
                </a:lnTo>
                <a:lnTo>
                  <a:pt x="154" y="138"/>
                </a:lnTo>
                <a:lnTo>
                  <a:pt x="152" y="136"/>
                </a:lnTo>
                <a:lnTo>
                  <a:pt x="150" y="134"/>
                </a:lnTo>
                <a:lnTo>
                  <a:pt x="150" y="134"/>
                </a:lnTo>
                <a:lnTo>
                  <a:pt x="148" y="132"/>
                </a:lnTo>
                <a:lnTo>
                  <a:pt x="148" y="132"/>
                </a:lnTo>
                <a:lnTo>
                  <a:pt x="146" y="128"/>
                </a:lnTo>
                <a:lnTo>
                  <a:pt x="146" y="124"/>
                </a:lnTo>
                <a:lnTo>
                  <a:pt x="146" y="122"/>
                </a:lnTo>
                <a:lnTo>
                  <a:pt x="144" y="120"/>
                </a:lnTo>
                <a:lnTo>
                  <a:pt x="144" y="120"/>
                </a:lnTo>
                <a:lnTo>
                  <a:pt x="144" y="122"/>
                </a:lnTo>
                <a:lnTo>
                  <a:pt x="142" y="120"/>
                </a:lnTo>
                <a:lnTo>
                  <a:pt x="142" y="116"/>
                </a:lnTo>
                <a:lnTo>
                  <a:pt x="142" y="112"/>
                </a:lnTo>
                <a:lnTo>
                  <a:pt x="140" y="110"/>
                </a:lnTo>
                <a:lnTo>
                  <a:pt x="138" y="110"/>
                </a:lnTo>
                <a:lnTo>
                  <a:pt x="138" y="110"/>
                </a:lnTo>
                <a:lnTo>
                  <a:pt x="136" y="110"/>
                </a:lnTo>
                <a:lnTo>
                  <a:pt x="136" y="106"/>
                </a:lnTo>
                <a:lnTo>
                  <a:pt x="136" y="102"/>
                </a:lnTo>
                <a:lnTo>
                  <a:pt x="136" y="98"/>
                </a:lnTo>
                <a:lnTo>
                  <a:pt x="136" y="98"/>
                </a:lnTo>
                <a:lnTo>
                  <a:pt x="136" y="98"/>
                </a:lnTo>
                <a:lnTo>
                  <a:pt x="136" y="98"/>
                </a:lnTo>
                <a:lnTo>
                  <a:pt x="140" y="98"/>
                </a:lnTo>
                <a:lnTo>
                  <a:pt x="144" y="98"/>
                </a:lnTo>
                <a:lnTo>
                  <a:pt x="144" y="98"/>
                </a:lnTo>
                <a:lnTo>
                  <a:pt x="144" y="96"/>
                </a:lnTo>
                <a:lnTo>
                  <a:pt x="144" y="96"/>
                </a:lnTo>
                <a:lnTo>
                  <a:pt x="144" y="96"/>
                </a:lnTo>
                <a:lnTo>
                  <a:pt x="146" y="96"/>
                </a:lnTo>
                <a:lnTo>
                  <a:pt x="148" y="98"/>
                </a:lnTo>
                <a:lnTo>
                  <a:pt x="152" y="96"/>
                </a:lnTo>
                <a:lnTo>
                  <a:pt x="152" y="94"/>
                </a:lnTo>
                <a:lnTo>
                  <a:pt x="152" y="90"/>
                </a:lnTo>
                <a:lnTo>
                  <a:pt x="152" y="90"/>
                </a:lnTo>
                <a:lnTo>
                  <a:pt x="150" y="86"/>
                </a:lnTo>
                <a:lnTo>
                  <a:pt x="148" y="84"/>
                </a:lnTo>
                <a:lnTo>
                  <a:pt x="138" y="80"/>
                </a:lnTo>
                <a:lnTo>
                  <a:pt x="130" y="76"/>
                </a:lnTo>
                <a:lnTo>
                  <a:pt x="122" y="72"/>
                </a:lnTo>
                <a:lnTo>
                  <a:pt x="122" y="72"/>
                </a:lnTo>
                <a:lnTo>
                  <a:pt x="118" y="70"/>
                </a:lnTo>
                <a:lnTo>
                  <a:pt x="116" y="70"/>
                </a:lnTo>
                <a:lnTo>
                  <a:pt x="114" y="70"/>
                </a:lnTo>
                <a:lnTo>
                  <a:pt x="114" y="68"/>
                </a:lnTo>
                <a:lnTo>
                  <a:pt x="114" y="68"/>
                </a:lnTo>
                <a:lnTo>
                  <a:pt x="114" y="66"/>
                </a:lnTo>
                <a:lnTo>
                  <a:pt x="112" y="66"/>
                </a:lnTo>
                <a:lnTo>
                  <a:pt x="110" y="66"/>
                </a:lnTo>
                <a:lnTo>
                  <a:pt x="108" y="66"/>
                </a:lnTo>
                <a:lnTo>
                  <a:pt x="108" y="66"/>
                </a:lnTo>
                <a:lnTo>
                  <a:pt x="106" y="64"/>
                </a:lnTo>
                <a:lnTo>
                  <a:pt x="104" y="64"/>
                </a:lnTo>
                <a:lnTo>
                  <a:pt x="102" y="64"/>
                </a:lnTo>
                <a:lnTo>
                  <a:pt x="104" y="60"/>
                </a:lnTo>
                <a:lnTo>
                  <a:pt x="104" y="60"/>
                </a:lnTo>
                <a:lnTo>
                  <a:pt x="106" y="58"/>
                </a:lnTo>
                <a:lnTo>
                  <a:pt x="106" y="56"/>
                </a:lnTo>
                <a:lnTo>
                  <a:pt x="106" y="54"/>
                </a:lnTo>
                <a:lnTo>
                  <a:pt x="104" y="50"/>
                </a:lnTo>
                <a:lnTo>
                  <a:pt x="104" y="50"/>
                </a:lnTo>
                <a:lnTo>
                  <a:pt x="104" y="48"/>
                </a:lnTo>
                <a:lnTo>
                  <a:pt x="102" y="48"/>
                </a:lnTo>
                <a:lnTo>
                  <a:pt x="100" y="46"/>
                </a:lnTo>
                <a:lnTo>
                  <a:pt x="96" y="44"/>
                </a:lnTo>
                <a:lnTo>
                  <a:pt x="96" y="44"/>
                </a:lnTo>
                <a:lnTo>
                  <a:pt x="94" y="40"/>
                </a:lnTo>
                <a:lnTo>
                  <a:pt x="92" y="40"/>
                </a:lnTo>
                <a:lnTo>
                  <a:pt x="92" y="40"/>
                </a:lnTo>
                <a:lnTo>
                  <a:pt x="90" y="38"/>
                </a:lnTo>
                <a:lnTo>
                  <a:pt x="90" y="38"/>
                </a:lnTo>
                <a:lnTo>
                  <a:pt x="90" y="36"/>
                </a:lnTo>
                <a:lnTo>
                  <a:pt x="88" y="34"/>
                </a:lnTo>
                <a:lnTo>
                  <a:pt x="84" y="34"/>
                </a:lnTo>
                <a:lnTo>
                  <a:pt x="78" y="32"/>
                </a:lnTo>
                <a:lnTo>
                  <a:pt x="76" y="32"/>
                </a:lnTo>
                <a:lnTo>
                  <a:pt x="72" y="28"/>
                </a:lnTo>
                <a:lnTo>
                  <a:pt x="72" y="28"/>
                </a:lnTo>
                <a:lnTo>
                  <a:pt x="68" y="22"/>
                </a:lnTo>
                <a:lnTo>
                  <a:pt x="64" y="20"/>
                </a:lnTo>
                <a:lnTo>
                  <a:pt x="56" y="16"/>
                </a:lnTo>
                <a:lnTo>
                  <a:pt x="50" y="16"/>
                </a:lnTo>
                <a:lnTo>
                  <a:pt x="46" y="14"/>
                </a:lnTo>
                <a:lnTo>
                  <a:pt x="46" y="14"/>
                </a:lnTo>
                <a:lnTo>
                  <a:pt x="40" y="10"/>
                </a:lnTo>
                <a:lnTo>
                  <a:pt x="32" y="6"/>
                </a:lnTo>
                <a:lnTo>
                  <a:pt x="16" y="0"/>
                </a:lnTo>
                <a:lnTo>
                  <a:pt x="16" y="0"/>
                </a:lnTo>
                <a:lnTo>
                  <a:pt x="12" y="52"/>
                </a:lnTo>
                <a:lnTo>
                  <a:pt x="8" y="98"/>
                </a:lnTo>
                <a:lnTo>
                  <a:pt x="0" y="164"/>
                </a:lnTo>
                <a:lnTo>
                  <a:pt x="0" y="164"/>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95" name="Freeform 199"/>
          <p:cNvSpPr>
            <a:spLocks/>
          </p:cNvSpPr>
          <p:nvPr/>
        </p:nvSpPr>
        <p:spPr bwMode="auto">
          <a:xfrm>
            <a:off x="4354578" y="2406518"/>
            <a:ext cx="77479" cy="182090"/>
          </a:xfrm>
          <a:custGeom>
            <a:avLst/>
            <a:gdLst/>
            <a:ahLst/>
            <a:cxnLst>
              <a:cxn ang="0">
                <a:pos x="50" y="158"/>
              </a:cxn>
              <a:cxn ang="0">
                <a:pos x="50" y="132"/>
              </a:cxn>
              <a:cxn ang="0">
                <a:pos x="48" y="120"/>
              </a:cxn>
              <a:cxn ang="0">
                <a:pos x="50" y="118"/>
              </a:cxn>
              <a:cxn ang="0">
                <a:pos x="48" y="88"/>
              </a:cxn>
              <a:cxn ang="0">
                <a:pos x="52" y="86"/>
              </a:cxn>
              <a:cxn ang="0">
                <a:pos x="50" y="80"/>
              </a:cxn>
              <a:cxn ang="0">
                <a:pos x="52" y="78"/>
              </a:cxn>
              <a:cxn ang="0">
                <a:pos x="54" y="72"/>
              </a:cxn>
              <a:cxn ang="0">
                <a:pos x="58" y="68"/>
              </a:cxn>
              <a:cxn ang="0">
                <a:pos x="62" y="64"/>
              </a:cxn>
              <a:cxn ang="0">
                <a:pos x="64" y="56"/>
              </a:cxn>
              <a:cxn ang="0">
                <a:pos x="62" y="54"/>
              </a:cxn>
              <a:cxn ang="0">
                <a:pos x="62" y="52"/>
              </a:cxn>
              <a:cxn ang="0">
                <a:pos x="64" y="50"/>
              </a:cxn>
              <a:cxn ang="0">
                <a:pos x="68" y="44"/>
              </a:cxn>
              <a:cxn ang="0">
                <a:pos x="66" y="34"/>
              </a:cxn>
              <a:cxn ang="0">
                <a:pos x="64" y="30"/>
              </a:cxn>
              <a:cxn ang="0">
                <a:pos x="64" y="22"/>
              </a:cxn>
              <a:cxn ang="0">
                <a:pos x="62" y="20"/>
              </a:cxn>
              <a:cxn ang="0">
                <a:pos x="62" y="10"/>
              </a:cxn>
              <a:cxn ang="0">
                <a:pos x="52" y="2"/>
              </a:cxn>
              <a:cxn ang="0">
                <a:pos x="42" y="2"/>
              </a:cxn>
              <a:cxn ang="0">
                <a:pos x="34" y="6"/>
              </a:cxn>
              <a:cxn ang="0">
                <a:pos x="24" y="10"/>
              </a:cxn>
              <a:cxn ang="0">
                <a:pos x="16" y="16"/>
              </a:cxn>
              <a:cxn ang="0">
                <a:pos x="14" y="20"/>
              </a:cxn>
              <a:cxn ang="0">
                <a:pos x="10" y="24"/>
              </a:cxn>
              <a:cxn ang="0">
                <a:pos x="8" y="24"/>
              </a:cxn>
              <a:cxn ang="0">
                <a:pos x="6" y="30"/>
              </a:cxn>
              <a:cxn ang="0">
                <a:pos x="2" y="30"/>
              </a:cxn>
              <a:cxn ang="0">
                <a:pos x="0" y="42"/>
              </a:cxn>
              <a:cxn ang="0">
                <a:pos x="4" y="54"/>
              </a:cxn>
              <a:cxn ang="0">
                <a:pos x="12" y="58"/>
              </a:cxn>
              <a:cxn ang="0">
                <a:pos x="16" y="64"/>
              </a:cxn>
              <a:cxn ang="0">
                <a:pos x="16" y="78"/>
              </a:cxn>
              <a:cxn ang="0">
                <a:pos x="20" y="84"/>
              </a:cxn>
              <a:cxn ang="0">
                <a:pos x="24" y="86"/>
              </a:cxn>
              <a:cxn ang="0">
                <a:pos x="24" y="92"/>
              </a:cxn>
              <a:cxn ang="0">
                <a:pos x="26" y="134"/>
              </a:cxn>
              <a:cxn ang="0">
                <a:pos x="24" y="138"/>
              </a:cxn>
              <a:cxn ang="0">
                <a:pos x="22" y="142"/>
              </a:cxn>
              <a:cxn ang="0">
                <a:pos x="24" y="148"/>
              </a:cxn>
              <a:cxn ang="0">
                <a:pos x="30" y="154"/>
              </a:cxn>
              <a:cxn ang="0">
                <a:pos x="32" y="160"/>
              </a:cxn>
              <a:cxn ang="0">
                <a:pos x="40" y="160"/>
              </a:cxn>
              <a:cxn ang="0">
                <a:pos x="40" y="158"/>
              </a:cxn>
              <a:cxn ang="0">
                <a:pos x="40" y="156"/>
              </a:cxn>
              <a:cxn ang="0">
                <a:pos x="44" y="158"/>
              </a:cxn>
              <a:cxn ang="0">
                <a:pos x="44" y="158"/>
              </a:cxn>
              <a:cxn ang="0">
                <a:pos x="50" y="158"/>
              </a:cxn>
            </a:cxnLst>
            <a:rect l="0" t="0" r="r" b="b"/>
            <a:pathLst>
              <a:path w="68" h="160">
                <a:moveTo>
                  <a:pt x="50" y="158"/>
                </a:moveTo>
                <a:lnTo>
                  <a:pt x="50" y="158"/>
                </a:lnTo>
                <a:lnTo>
                  <a:pt x="50" y="144"/>
                </a:lnTo>
                <a:lnTo>
                  <a:pt x="50" y="132"/>
                </a:lnTo>
                <a:lnTo>
                  <a:pt x="50" y="124"/>
                </a:lnTo>
                <a:lnTo>
                  <a:pt x="48" y="120"/>
                </a:lnTo>
                <a:lnTo>
                  <a:pt x="48" y="120"/>
                </a:lnTo>
                <a:lnTo>
                  <a:pt x="50" y="118"/>
                </a:lnTo>
                <a:lnTo>
                  <a:pt x="50" y="110"/>
                </a:lnTo>
                <a:lnTo>
                  <a:pt x="48" y="88"/>
                </a:lnTo>
                <a:lnTo>
                  <a:pt x="48" y="88"/>
                </a:lnTo>
                <a:lnTo>
                  <a:pt x="52" y="86"/>
                </a:lnTo>
                <a:lnTo>
                  <a:pt x="52" y="82"/>
                </a:lnTo>
                <a:lnTo>
                  <a:pt x="50" y="80"/>
                </a:lnTo>
                <a:lnTo>
                  <a:pt x="52" y="78"/>
                </a:lnTo>
                <a:lnTo>
                  <a:pt x="52" y="78"/>
                </a:lnTo>
                <a:lnTo>
                  <a:pt x="54" y="74"/>
                </a:lnTo>
                <a:lnTo>
                  <a:pt x="54" y="72"/>
                </a:lnTo>
                <a:lnTo>
                  <a:pt x="56" y="70"/>
                </a:lnTo>
                <a:lnTo>
                  <a:pt x="58" y="68"/>
                </a:lnTo>
                <a:lnTo>
                  <a:pt x="58" y="68"/>
                </a:lnTo>
                <a:lnTo>
                  <a:pt x="62" y="64"/>
                </a:lnTo>
                <a:lnTo>
                  <a:pt x="64" y="60"/>
                </a:lnTo>
                <a:lnTo>
                  <a:pt x="64" y="56"/>
                </a:lnTo>
                <a:lnTo>
                  <a:pt x="62" y="54"/>
                </a:lnTo>
                <a:lnTo>
                  <a:pt x="62" y="54"/>
                </a:lnTo>
                <a:lnTo>
                  <a:pt x="62" y="52"/>
                </a:lnTo>
                <a:lnTo>
                  <a:pt x="62" y="52"/>
                </a:lnTo>
                <a:lnTo>
                  <a:pt x="64" y="50"/>
                </a:lnTo>
                <a:lnTo>
                  <a:pt x="64" y="50"/>
                </a:lnTo>
                <a:lnTo>
                  <a:pt x="66" y="48"/>
                </a:lnTo>
                <a:lnTo>
                  <a:pt x="68" y="44"/>
                </a:lnTo>
                <a:lnTo>
                  <a:pt x="68" y="40"/>
                </a:lnTo>
                <a:lnTo>
                  <a:pt x="66" y="34"/>
                </a:lnTo>
                <a:lnTo>
                  <a:pt x="66" y="34"/>
                </a:lnTo>
                <a:lnTo>
                  <a:pt x="64" y="30"/>
                </a:lnTo>
                <a:lnTo>
                  <a:pt x="64" y="26"/>
                </a:lnTo>
                <a:lnTo>
                  <a:pt x="64" y="22"/>
                </a:lnTo>
                <a:lnTo>
                  <a:pt x="62" y="20"/>
                </a:lnTo>
                <a:lnTo>
                  <a:pt x="62" y="20"/>
                </a:lnTo>
                <a:lnTo>
                  <a:pt x="60" y="18"/>
                </a:lnTo>
                <a:lnTo>
                  <a:pt x="62" y="10"/>
                </a:lnTo>
                <a:lnTo>
                  <a:pt x="62" y="10"/>
                </a:lnTo>
                <a:lnTo>
                  <a:pt x="52" y="2"/>
                </a:lnTo>
                <a:lnTo>
                  <a:pt x="46" y="0"/>
                </a:lnTo>
                <a:lnTo>
                  <a:pt x="42" y="2"/>
                </a:lnTo>
                <a:lnTo>
                  <a:pt x="34" y="6"/>
                </a:lnTo>
                <a:lnTo>
                  <a:pt x="34" y="6"/>
                </a:lnTo>
                <a:lnTo>
                  <a:pt x="28" y="10"/>
                </a:lnTo>
                <a:lnTo>
                  <a:pt x="24" y="10"/>
                </a:lnTo>
                <a:lnTo>
                  <a:pt x="18" y="12"/>
                </a:lnTo>
                <a:lnTo>
                  <a:pt x="16" y="16"/>
                </a:lnTo>
                <a:lnTo>
                  <a:pt x="16" y="16"/>
                </a:lnTo>
                <a:lnTo>
                  <a:pt x="14" y="20"/>
                </a:lnTo>
                <a:lnTo>
                  <a:pt x="10" y="22"/>
                </a:lnTo>
                <a:lnTo>
                  <a:pt x="10" y="24"/>
                </a:lnTo>
                <a:lnTo>
                  <a:pt x="8" y="24"/>
                </a:lnTo>
                <a:lnTo>
                  <a:pt x="8" y="24"/>
                </a:lnTo>
                <a:lnTo>
                  <a:pt x="8" y="32"/>
                </a:lnTo>
                <a:lnTo>
                  <a:pt x="6" y="30"/>
                </a:lnTo>
                <a:lnTo>
                  <a:pt x="6" y="30"/>
                </a:lnTo>
                <a:lnTo>
                  <a:pt x="2" y="30"/>
                </a:lnTo>
                <a:lnTo>
                  <a:pt x="2" y="30"/>
                </a:lnTo>
                <a:lnTo>
                  <a:pt x="0" y="42"/>
                </a:lnTo>
                <a:lnTo>
                  <a:pt x="2" y="50"/>
                </a:lnTo>
                <a:lnTo>
                  <a:pt x="4" y="54"/>
                </a:lnTo>
                <a:lnTo>
                  <a:pt x="12" y="58"/>
                </a:lnTo>
                <a:lnTo>
                  <a:pt x="12" y="58"/>
                </a:lnTo>
                <a:lnTo>
                  <a:pt x="14" y="60"/>
                </a:lnTo>
                <a:lnTo>
                  <a:pt x="16" y="64"/>
                </a:lnTo>
                <a:lnTo>
                  <a:pt x="16" y="70"/>
                </a:lnTo>
                <a:lnTo>
                  <a:pt x="16" y="78"/>
                </a:lnTo>
                <a:lnTo>
                  <a:pt x="18" y="80"/>
                </a:lnTo>
                <a:lnTo>
                  <a:pt x="20" y="84"/>
                </a:lnTo>
                <a:lnTo>
                  <a:pt x="20" y="84"/>
                </a:lnTo>
                <a:lnTo>
                  <a:pt x="24" y="86"/>
                </a:lnTo>
                <a:lnTo>
                  <a:pt x="24" y="92"/>
                </a:lnTo>
                <a:lnTo>
                  <a:pt x="24" y="92"/>
                </a:lnTo>
                <a:lnTo>
                  <a:pt x="26" y="134"/>
                </a:lnTo>
                <a:lnTo>
                  <a:pt x="26" y="134"/>
                </a:lnTo>
                <a:lnTo>
                  <a:pt x="26" y="136"/>
                </a:lnTo>
                <a:lnTo>
                  <a:pt x="24" y="138"/>
                </a:lnTo>
                <a:lnTo>
                  <a:pt x="24" y="138"/>
                </a:lnTo>
                <a:lnTo>
                  <a:pt x="22" y="142"/>
                </a:lnTo>
                <a:lnTo>
                  <a:pt x="22" y="142"/>
                </a:lnTo>
                <a:lnTo>
                  <a:pt x="24" y="148"/>
                </a:lnTo>
                <a:lnTo>
                  <a:pt x="26" y="152"/>
                </a:lnTo>
                <a:lnTo>
                  <a:pt x="30" y="154"/>
                </a:lnTo>
                <a:lnTo>
                  <a:pt x="32" y="160"/>
                </a:lnTo>
                <a:lnTo>
                  <a:pt x="32" y="160"/>
                </a:lnTo>
                <a:lnTo>
                  <a:pt x="38" y="160"/>
                </a:lnTo>
                <a:lnTo>
                  <a:pt x="40" y="160"/>
                </a:lnTo>
                <a:lnTo>
                  <a:pt x="40" y="158"/>
                </a:lnTo>
                <a:lnTo>
                  <a:pt x="40" y="158"/>
                </a:lnTo>
                <a:lnTo>
                  <a:pt x="38" y="158"/>
                </a:lnTo>
                <a:lnTo>
                  <a:pt x="40" y="156"/>
                </a:lnTo>
                <a:lnTo>
                  <a:pt x="44" y="158"/>
                </a:lnTo>
                <a:lnTo>
                  <a:pt x="44" y="158"/>
                </a:lnTo>
                <a:lnTo>
                  <a:pt x="44" y="158"/>
                </a:lnTo>
                <a:lnTo>
                  <a:pt x="44" y="158"/>
                </a:lnTo>
                <a:lnTo>
                  <a:pt x="50" y="158"/>
                </a:lnTo>
                <a:lnTo>
                  <a:pt x="50" y="158"/>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96" name="Freeform 200"/>
          <p:cNvSpPr>
            <a:spLocks/>
          </p:cNvSpPr>
          <p:nvPr/>
        </p:nvSpPr>
        <p:spPr bwMode="auto">
          <a:xfrm>
            <a:off x="5313963" y="1644017"/>
            <a:ext cx="489947" cy="384665"/>
          </a:xfrm>
          <a:custGeom>
            <a:avLst/>
            <a:gdLst/>
            <a:ahLst/>
            <a:cxnLst>
              <a:cxn ang="0">
                <a:pos x="378" y="334"/>
              </a:cxn>
              <a:cxn ang="0">
                <a:pos x="364" y="332"/>
              </a:cxn>
              <a:cxn ang="0">
                <a:pos x="328" y="330"/>
              </a:cxn>
              <a:cxn ang="0">
                <a:pos x="312" y="314"/>
              </a:cxn>
              <a:cxn ang="0">
                <a:pos x="292" y="294"/>
              </a:cxn>
              <a:cxn ang="0">
                <a:pos x="266" y="302"/>
              </a:cxn>
              <a:cxn ang="0">
                <a:pos x="238" y="304"/>
              </a:cxn>
              <a:cxn ang="0">
                <a:pos x="216" y="290"/>
              </a:cxn>
              <a:cxn ang="0">
                <a:pos x="206" y="278"/>
              </a:cxn>
              <a:cxn ang="0">
                <a:pos x="196" y="272"/>
              </a:cxn>
              <a:cxn ang="0">
                <a:pos x="186" y="256"/>
              </a:cxn>
              <a:cxn ang="0">
                <a:pos x="170" y="242"/>
              </a:cxn>
              <a:cxn ang="0">
                <a:pos x="150" y="224"/>
              </a:cxn>
              <a:cxn ang="0">
                <a:pos x="134" y="214"/>
              </a:cxn>
              <a:cxn ang="0">
                <a:pos x="130" y="224"/>
              </a:cxn>
              <a:cxn ang="0">
                <a:pos x="116" y="210"/>
              </a:cxn>
              <a:cxn ang="0">
                <a:pos x="108" y="188"/>
              </a:cxn>
              <a:cxn ang="0">
                <a:pos x="84" y="160"/>
              </a:cxn>
              <a:cxn ang="0">
                <a:pos x="60" y="146"/>
              </a:cxn>
              <a:cxn ang="0">
                <a:pos x="50" y="130"/>
              </a:cxn>
              <a:cxn ang="0">
                <a:pos x="50" y="120"/>
              </a:cxn>
              <a:cxn ang="0">
                <a:pos x="56" y="96"/>
              </a:cxn>
              <a:cxn ang="0">
                <a:pos x="60" y="84"/>
              </a:cxn>
              <a:cxn ang="0">
                <a:pos x="40" y="74"/>
              </a:cxn>
              <a:cxn ang="0">
                <a:pos x="36" y="70"/>
              </a:cxn>
              <a:cxn ang="0">
                <a:pos x="26" y="56"/>
              </a:cxn>
              <a:cxn ang="0">
                <a:pos x="20" y="46"/>
              </a:cxn>
              <a:cxn ang="0">
                <a:pos x="8" y="28"/>
              </a:cxn>
              <a:cxn ang="0">
                <a:pos x="0" y="8"/>
              </a:cxn>
              <a:cxn ang="0">
                <a:pos x="10" y="0"/>
              </a:cxn>
              <a:cxn ang="0">
                <a:pos x="24" y="12"/>
              </a:cxn>
              <a:cxn ang="0">
                <a:pos x="56" y="12"/>
              </a:cxn>
              <a:cxn ang="0">
                <a:pos x="76" y="10"/>
              </a:cxn>
              <a:cxn ang="0">
                <a:pos x="76" y="24"/>
              </a:cxn>
              <a:cxn ang="0">
                <a:pos x="98" y="36"/>
              </a:cxn>
              <a:cxn ang="0">
                <a:pos x="118" y="52"/>
              </a:cxn>
              <a:cxn ang="0">
                <a:pos x="158" y="70"/>
              </a:cxn>
              <a:cxn ang="0">
                <a:pos x="186" y="66"/>
              </a:cxn>
              <a:cxn ang="0">
                <a:pos x="200" y="62"/>
              </a:cxn>
              <a:cxn ang="0">
                <a:pos x="206" y="62"/>
              </a:cxn>
              <a:cxn ang="0">
                <a:pos x="212" y="48"/>
              </a:cxn>
              <a:cxn ang="0">
                <a:pos x="222" y="30"/>
              </a:cxn>
              <a:cxn ang="0">
                <a:pos x="246" y="26"/>
              </a:cxn>
              <a:cxn ang="0">
                <a:pos x="266" y="36"/>
              </a:cxn>
              <a:cxn ang="0">
                <a:pos x="316" y="56"/>
              </a:cxn>
              <a:cxn ang="0">
                <a:pos x="340" y="66"/>
              </a:cxn>
              <a:cxn ang="0">
                <a:pos x="350" y="84"/>
              </a:cxn>
              <a:cxn ang="0">
                <a:pos x="350" y="100"/>
              </a:cxn>
              <a:cxn ang="0">
                <a:pos x="344" y="122"/>
              </a:cxn>
              <a:cxn ang="0">
                <a:pos x="350" y="144"/>
              </a:cxn>
              <a:cxn ang="0">
                <a:pos x="356" y="176"/>
              </a:cxn>
              <a:cxn ang="0">
                <a:pos x="380" y="182"/>
              </a:cxn>
              <a:cxn ang="0">
                <a:pos x="388" y="236"/>
              </a:cxn>
              <a:cxn ang="0">
                <a:pos x="412" y="254"/>
              </a:cxn>
              <a:cxn ang="0">
                <a:pos x="428" y="280"/>
              </a:cxn>
              <a:cxn ang="0">
                <a:pos x="430" y="292"/>
              </a:cxn>
              <a:cxn ang="0">
                <a:pos x="420" y="296"/>
              </a:cxn>
              <a:cxn ang="0">
                <a:pos x="414" y="306"/>
              </a:cxn>
              <a:cxn ang="0">
                <a:pos x="408" y="326"/>
              </a:cxn>
            </a:cxnLst>
            <a:rect l="0" t="0" r="r" b="b"/>
            <a:pathLst>
              <a:path w="430" h="338">
                <a:moveTo>
                  <a:pt x="402" y="338"/>
                </a:moveTo>
                <a:lnTo>
                  <a:pt x="402" y="338"/>
                </a:lnTo>
                <a:lnTo>
                  <a:pt x="392" y="338"/>
                </a:lnTo>
                <a:lnTo>
                  <a:pt x="386" y="336"/>
                </a:lnTo>
                <a:lnTo>
                  <a:pt x="380" y="334"/>
                </a:lnTo>
                <a:lnTo>
                  <a:pt x="378" y="334"/>
                </a:lnTo>
                <a:lnTo>
                  <a:pt x="376" y="334"/>
                </a:lnTo>
                <a:lnTo>
                  <a:pt x="376" y="334"/>
                </a:lnTo>
                <a:lnTo>
                  <a:pt x="376" y="336"/>
                </a:lnTo>
                <a:lnTo>
                  <a:pt x="374" y="336"/>
                </a:lnTo>
                <a:lnTo>
                  <a:pt x="370" y="334"/>
                </a:lnTo>
                <a:lnTo>
                  <a:pt x="364" y="332"/>
                </a:lnTo>
                <a:lnTo>
                  <a:pt x="352" y="332"/>
                </a:lnTo>
                <a:lnTo>
                  <a:pt x="352" y="332"/>
                </a:lnTo>
                <a:lnTo>
                  <a:pt x="344" y="334"/>
                </a:lnTo>
                <a:lnTo>
                  <a:pt x="338" y="332"/>
                </a:lnTo>
                <a:lnTo>
                  <a:pt x="332" y="330"/>
                </a:lnTo>
                <a:lnTo>
                  <a:pt x="328" y="330"/>
                </a:lnTo>
                <a:lnTo>
                  <a:pt x="328" y="330"/>
                </a:lnTo>
                <a:lnTo>
                  <a:pt x="322" y="328"/>
                </a:lnTo>
                <a:lnTo>
                  <a:pt x="320" y="324"/>
                </a:lnTo>
                <a:lnTo>
                  <a:pt x="316" y="320"/>
                </a:lnTo>
                <a:lnTo>
                  <a:pt x="312" y="314"/>
                </a:lnTo>
                <a:lnTo>
                  <a:pt x="312" y="314"/>
                </a:lnTo>
                <a:lnTo>
                  <a:pt x="310" y="308"/>
                </a:lnTo>
                <a:lnTo>
                  <a:pt x="308" y="302"/>
                </a:lnTo>
                <a:lnTo>
                  <a:pt x="306" y="298"/>
                </a:lnTo>
                <a:lnTo>
                  <a:pt x="298" y="294"/>
                </a:lnTo>
                <a:lnTo>
                  <a:pt x="298" y="294"/>
                </a:lnTo>
                <a:lnTo>
                  <a:pt x="292" y="294"/>
                </a:lnTo>
                <a:lnTo>
                  <a:pt x="288" y="294"/>
                </a:lnTo>
                <a:lnTo>
                  <a:pt x="282" y="296"/>
                </a:lnTo>
                <a:lnTo>
                  <a:pt x="276" y="300"/>
                </a:lnTo>
                <a:lnTo>
                  <a:pt x="272" y="302"/>
                </a:lnTo>
                <a:lnTo>
                  <a:pt x="272" y="302"/>
                </a:lnTo>
                <a:lnTo>
                  <a:pt x="266" y="302"/>
                </a:lnTo>
                <a:lnTo>
                  <a:pt x="260" y="304"/>
                </a:lnTo>
                <a:lnTo>
                  <a:pt x="254" y="306"/>
                </a:lnTo>
                <a:lnTo>
                  <a:pt x="248" y="304"/>
                </a:lnTo>
                <a:lnTo>
                  <a:pt x="248" y="304"/>
                </a:lnTo>
                <a:lnTo>
                  <a:pt x="242" y="302"/>
                </a:lnTo>
                <a:lnTo>
                  <a:pt x="238" y="304"/>
                </a:lnTo>
                <a:lnTo>
                  <a:pt x="232" y="302"/>
                </a:lnTo>
                <a:lnTo>
                  <a:pt x="228" y="298"/>
                </a:lnTo>
                <a:lnTo>
                  <a:pt x="228" y="298"/>
                </a:lnTo>
                <a:lnTo>
                  <a:pt x="222" y="292"/>
                </a:lnTo>
                <a:lnTo>
                  <a:pt x="220" y="290"/>
                </a:lnTo>
                <a:lnTo>
                  <a:pt x="216" y="290"/>
                </a:lnTo>
                <a:lnTo>
                  <a:pt x="214" y="284"/>
                </a:lnTo>
                <a:lnTo>
                  <a:pt x="214" y="284"/>
                </a:lnTo>
                <a:lnTo>
                  <a:pt x="212" y="282"/>
                </a:lnTo>
                <a:lnTo>
                  <a:pt x="210" y="282"/>
                </a:lnTo>
                <a:lnTo>
                  <a:pt x="208" y="282"/>
                </a:lnTo>
                <a:lnTo>
                  <a:pt x="206" y="278"/>
                </a:lnTo>
                <a:lnTo>
                  <a:pt x="206" y="278"/>
                </a:lnTo>
                <a:lnTo>
                  <a:pt x="204" y="276"/>
                </a:lnTo>
                <a:lnTo>
                  <a:pt x="202" y="276"/>
                </a:lnTo>
                <a:lnTo>
                  <a:pt x="200" y="274"/>
                </a:lnTo>
                <a:lnTo>
                  <a:pt x="196" y="272"/>
                </a:lnTo>
                <a:lnTo>
                  <a:pt x="196" y="272"/>
                </a:lnTo>
                <a:lnTo>
                  <a:pt x="192" y="270"/>
                </a:lnTo>
                <a:lnTo>
                  <a:pt x="190" y="270"/>
                </a:lnTo>
                <a:lnTo>
                  <a:pt x="188" y="268"/>
                </a:lnTo>
                <a:lnTo>
                  <a:pt x="188" y="264"/>
                </a:lnTo>
                <a:lnTo>
                  <a:pt x="188" y="264"/>
                </a:lnTo>
                <a:lnTo>
                  <a:pt x="186" y="256"/>
                </a:lnTo>
                <a:lnTo>
                  <a:pt x="180" y="252"/>
                </a:lnTo>
                <a:lnTo>
                  <a:pt x="178" y="248"/>
                </a:lnTo>
                <a:lnTo>
                  <a:pt x="176" y="244"/>
                </a:lnTo>
                <a:lnTo>
                  <a:pt x="176" y="244"/>
                </a:lnTo>
                <a:lnTo>
                  <a:pt x="174" y="242"/>
                </a:lnTo>
                <a:lnTo>
                  <a:pt x="170" y="242"/>
                </a:lnTo>
                <a:lnTo>
                  <a:pt x="166" y="240"/>
                </a:lnTo>
                <a:lnTo>
                  <a:pt x="160" y="232"/>
                </a:lnTo>
                <a:lnTo>
                  <a:pt x="160" y="232"/>
                </a:lnTo>
                <a:lnTo>
                  <a:pt x="154" y="224"/>
                </a:lnTo>
                <a:lnTo>
                  <a:pt x="152" y="222"/>
                </a:lnTo>
                <a:lnTo>
                  <a:pt x="150" y="224"/>
                </a:lnTo>
                <a:lnTo>
                  <a:pt x="146" y="224"/>
                </a:lnTo>
                <a:lnTo>
                  <a:pt x="144" y="224"/>
                </a:lnTo>
                <a:lnTo>
                  <a:pt x="142" y="224"/>
                </a:lnTo>
                <a:lnTo>
                  <a:pt x="142" y="224"/>
                </a:lnTo>
                <a:lnTo>
                  <a:pt x="136" y="218"/>
                </a:lnTo>
                <a:lnTo>
                  <a:pt x="134" y="214"/>
                </a:lnTo>
                <a:lnTo>
                  <a:pt x="134" y="214"/>
                </a:lnTo>
                <a:lnTo>
                  <a:pt x="134" y="218"/>
                </a:lnTo>
                <a:lnTo>
                  <a:pt x="134" y="220"/>
                </a:lnTo>
                <a:lnTo>
                  <a:pt x="132" y="220"/>
                </a:lnTo>
                <a:lnTo>
                  <a:pt x="130" y="224"/>
                </a:lnTo>
                <a:lnTo>
                  <a:pt x="130" y="224"/>
                </a:lnTo>
                <a:lnTo>
                  <a:pt x="126" y="218"/>
                </a:lnTo>
                <a:lnTo>
                  <a:pt x="124" y="214"/>
                </a:lnTo>
                <a:lnTo>
                  <a:pt x="124" y="212"/>
                </a:lnTo>
                <a:lnTo>
                  <a:pt x="120" y="210"/>
                </a:lnTo>
                <a:lnTo>
                  <a:pt x="120" y="210"/>
                </a:lnTo>
                <a:lnTo>
                  <a:pt x="116" y="210"/>
                </a:lnTo>
                <a:lnTo>
                  <a:pt x="114" y="206"/>
                </a:lnTo>
                <a:lnTo>
                  <a:pt x="112" y="202"/>
                </a:lnTo>
                <a:lnTo>
                  <a:pt x="110" y="198"/>
                </a:lnTo>
                <a:lnTo>
                  <a:pt x="110" y="198"/>
                </a:lnTo>
                <a:lnTo>
                  <a:pt x="110" y="194"/>
                </a:lnTo>
                <a:lnTo>
                  <a:pt x="108" y="188"/>
                </a:lnTo>
                <a:lnTo>
                  <a:pt x="100" y="172"/>
                </a:lnTo>
                <a:lnTo>
                  <a:pt x="100" y="172"/>
                </a:lnTo>
                <a:lnTo>
                  <a:pt x="94" y="168"/>
                </a:lnTo>
                <a:lnTo>
                  <a:pt x="92" y="166"/>
                </a:lnTo>
                <a:lnTo>
                  <a:pt x="90" y="164"/>
                </a:lnTo>
                <a:lnTo>
                  <a:pt x="84" y="160"/>
                </a:lnTo>
                <a:lnTo>
                  <a:pt x="84" y="160"/>
                </a:lnTo>
                <a:lnTo>
                  <a:pt x="76" y="154"/>
                </a:lnTo>
                <a:lnTo>
                  <a:pt x="68" y="152"/>
                </a:lnTo>
                <a:lnTo>
                  <a:pt x="62" y="150"/>
                </a:lnTo>
                <a:lnTo>
                  <a:pt x="60" y="148"/>
                </a:lnTo>
                <a:lnTo>
                  <a:pt x="60" y="146"/>
                </a:lnTo>
                <a:lnTo>
                  <a:pt x="60" y="146"/>
                </a:lnTo>
                <a:lnTo>
                  <a:pt x="60" y="142"/>
                </a:lnTo>
                <a:lnTo>
                  <a:pt x="60" y="138"/>
                </a:lnTo>
                <a:lnTo>
                  <a:pt x="54" y="134"/>
                </a:lnTo>
                <a:lnTo>
                  <a:pt x="50" y="132"/>
                </a:lnTo>
                <a:lnTo>
                  <a:pt x="50" y="130"/>
                </a:lnTo>
                <a:lnTo>
                  <a:pt x="52" y="128"/>
                </a:lnTo>
                <a:lnTo>
                  <a:pt x="52" y="128"/>
                </a:lnTo>
                <a:lnTo>
                  <a:pt x="54" y="126"/>
                </a:lnTo>
                <a:lnTo>
                  <a:pt x="52" y="126"/>
                </a:lnTo>
                <a:lnTo>
                  <a:pt x="50" y="124"/>
                </a:lnTo>
                <a:lnTo>
                  <a:pt x="50" y="120"/>
                </a:lnTo>
                <a:lnTo>
                  <a:pt x="50" y="120"/>
                </a:lnTo>
                <a:lnTo>
                  <a:pt x="56" y="108"/>
                </a:lnTo>
                <a:lnTo>
                  <a:pt x="58" y="102"/>
                </a:lnTo>
                <a:lnTo>
                  <a:pt x="56" y="100"/>
                </a:lnTo>
                <a:lnTo>
                  <a:pt x="56" y="100"/>
                </a:lnTo>
                <a:lnTo>
                  <a:pt x="56" y="96"/>
                </a:lnTo>
                <a:lnTo>
                  <a:pt x="58" y="94"/>
                </a:lnTo>
                <a:lnTo>
                  <a:pt x="58" y="92"/>
                </a:lnTo>
                <a:lnTo>
                  <a:pt x="60" y="88"/>
                </a:lnTo>
                <a:lnTo>
                  <a:pt x="60" y="88"/>
                </a:lnTo>
                <a:lnTo>
                  <a:pt x="60" y="84"/>
                </a:lnTo>
                <a:lnTo>
                  <a:pt x="60" y="84"/>
                </a:lnTo>
                <a:lnTo>
                  <a:pt x="52" y="86"/>
                </a:lnTo>
                <a:lnTo>
                  <a:pt x="52" y="86"/>
                </a:lnTo>
                <a:lnTo>
                  <a:pt x="46" y="84"/>
                </a:lnTo>
                <a:lnTo>
                  <a:pt x="44" y="80"/>
                </a:lnTo>
                <a:lnTo>
                  <a:pt x="42" y="78"/>
                </a:lnTo>
                <a:lnTo>
                  <a:pt x="40" y="74"/>
                </a:lnTo>
                <a:lnTo>
                  <a:pt x="40" y="74"/>
                </a:lnTo>
                <a:lnTo>
                  <a:pt x="38" y="74"/>
                </a:lnTo>
                <a:lnTo>
                  <a:pt x="40" y="72"/>
                </a:lnTo>
                <a:lnTo>
                  <a:pt x="40" y="72"/>
                </a:lnTo>
                <a:lnTo>
                  <a:pt x="36" y="70"/>
                </a:lnTo>
                <a:lnTo>
                  <a:pt x="36" y="70"/>
                </a:lnTo>
                <a:lnTo>
                  <a:pt x="34" y="66"/>
                </a:lnTo>
                <a:lnTo>
                  <a:pt x="32" y="62"/>
                </a:lnTo>
                <a:lnTo>
                  <a:pt x="28" y="60"/>
                </a:lnTo>
                <a:lnTo>
                  <a:pt x="28" y="60"/>
                </a:lnTo>
                <a:lnTo>
                  <a:pt x="28" y="58"/>
                </a:lnTo>
                <a:lnTo>
                  <a:pt x="26" y="56"/>
                </a:lnTo>
                <a:lnTo>
                  <a:pt x="26" y="56"/>
                </a:lnTo>
                <a:lnTo>
                  <a:pt x="24" y="54"/>
                </a:lnTo>
                <a:lnTo>
                  <a:pt x="22" y="50"/>
                </a:lnTo>
                <a:lnTo>
                  <a:pt x="22" y="46"/>
                </a:lnTo>
                <a:lnTo>
                  <a:pt x="20" y="46"/>
                </a:lnTo>
                <a:lnTo>
                  <a:pt x="20" y="46"/>
                </a:lnTo>
                <a:lnTo>
                  <a:pt x="16" y="46"/>
                </a:lnTo>
                <a:lnTo>
                  <a:pt x="12" y="42"/>
                </a:lnTo>
                <a:lnTo>
                  <a:pt x="8" y="36"/>
                </a:lnTo>
                <a:lnTo>
                  <a:pt x="8" y="32"/>
                </a:lnTo>
                <a:lnTo>
                  <a:pt x="8" y="32"/>
                </a:lnTo>
                <a:lnTo>
                  <a:pt x="8" y="28"/>
                </a:lnTo>
                <a:lnTo>
                  <a:pt x="6" y="26"/>
                </a:lnTo>
                <a:lnTo>
                  <a:pt x="4" y="24"/>
                </a:lnTo>
                <a:lnTo>
                  <a:pt x="2" y="20"/>
                </a:lnTo>
                <a:lnTo>
                  <a:pt x="2" y="20"/>
                </a:lnTo>
                <a:lnTo>
                  <a:pt x="0" y="10"/>
                </a:lnTo>
                <a:lnTo>
                  <a:pt x="0" y="8"/>
                </a:lnTo>
                <a:lnTo>
                  <a:pt x="4" y="8"/>
                </a:lnTo>
                <a:lnTo>
                  <a:pt x="4" y="8"/>
                </a:lnTo>
                <a:lnTo>
                  <a:pt x="8" y="8"/>
                </a:lnTo>
                <a:lnTo>
                  <a:pt x="8" y="6"/>
                </a:lnTo>
                <a:lnTo>
                  <a:pt x="8" y="4"/>
                </a:lnTo>
                <a:lnTo>
                  <a:pt x="10" y="0"/>
                </a:lnTo>
                <a:lnTo>
                  <a:pt x="10" y="0"/>
                </a:lnTo>
                <a:lnTo>
                  <a:pt x="16" y="4"/>
                </a:lnTo>
                <a:lnTo>
                  <a:pt x="20" y="6"/>
                </a:lnTo>
                <a:lnTo>
                  <a:pt x="22" y="8"/>
                </a:lnTo>
                <a:lnTo>
                  <a:pt x="22" y="8"/>
                </a:lnTo>
                <a:lnTo>
                  <a:pt x="24" y="12"/>
                </a:lnTo>
                <a:lnTo>
                  <a:pt x="26" y="16"/>
                </a:lnTo>
                <a:lnTo>
                  <a:pt x="34" y="18"/>
                </a:lnTo>
                <a:lnTo>
                  <a:pt x="42" y="18"/>
                </a:lnTo>
                <a:lnTo>
                  <a:pt x="46" y="18"/>
                </a:lnTo>
                <a:lnTo>
                  <a:pt x="46" y="18"/>
                </a:lnTo>
                <a:lnTo>
                  <a:pt x="56" y="12"/>
                </a:lnTo>
                <a:lnTo>
                  <a:pt x="56" y="12"/>
                </a:lnTo>
                <a:lnTo>
                  <a:pt x="66" y="4"/>
                </a:lnTo>
                <a:lnTo>
                  <a:pt x="68" y="4"/>
                </a:lnTo>
                <a:lnTo>
                  <a:pt x="70" y="6"/>
                </a:lnTo>
                <a:lnTo>
                  <a:pt x="70" y="6"/>
                </a:lnTo>
                <a:lnTo>
                  <a:pt x="76" y="10"/>
                </a:lnTo>
                <a:lnTo>
                  <a:pt x="76" y="12"/>
                </a:lnTo>
                <a:lnTo>
                  <a:pt x="74" y="14"/>
                </a:lnTo>
                <a:lnTo>
                  <a:pt x="74" y="14"/>
                </a:lnTo>
                <a:lnTo>
                  <a:pt x="78" y="16"/>
                </a:lnTo>
                <a:lnTo>
                  <a:pt x="78" y="20"/>
                </a:lnTo>
                <a:lnTo>
                  <a:pt x="76" y="24"/>
                </a:lnTo>
                <a:lnTo>
                  <a:pt x="72" y="26"/>
                </a:lnTo>
                <a:lnTo>
                  <a:pt x="72" y="26"/>
                </a:lnTo>
                <a:lnTo>
                  <a:pt x="82" y="32"/>
                </a:lnTo>
                <a:lnTo>
                  <a:pt x="88" y="36"/>
                </a:lnTo>
                <a:lnTo>
                  <a:pt x="92" y="38"/>
                </a:lnTo>
                <a:lnTo>
                  <a:pt x="98" y="36"/>
                </a:lnTo>
                <a:lnTo>
                  <a:pt x="98" y="36"/>
                </a:lnTo>
                <a:lnTo>
                  <a:pt x="100" y="44"/>
                </a:lnTo>
                <a:lnTo>
                  <a:pt x="104" y="50"/>
                </a:lnTo>
                <a:lnTo>
                  <a:pt x="108" y="52"/>
                </a:lnTo>
                <a:lnTo>
                  <a:pt x="118" y="52"/>
                </a:lnTo>
                <a:lnTo>
                  <a:pt x="118" y="52"/>
                </a:lnTo>
                <a:lnTo>
                  <a:pt x="124" y="52"/>
                </a:lnTo>
                <a:lnTo>
                  <a:pt x="128" y="54"/>
                </a:lnTo>
                <a:lnTo>
                  <a:pt x="134" y="60"/>
                </a:lnTo>
                <a:lnTo>
                  <a:pt x="142" y="66"/>
                </a:lnTo>
                <a:lnTo>
                  <a:pt x="142" y="66"/>
                </a:lnTo>
                <a:lnTo>
                  <a:pt x="158" y="70"/>
                </a:lnTo>
                <a:lnTo>
                  <a:pt x="166" y="68"/>
                </a:lnTo>
                <a:lnTo>
                  <a:pt x="170" y="66"/>
                </a:lnTo>
                <a:lnTo>
                  <a:pt x="176" y="66"/>
                </a:lnTo>
                <a:lnTo>
                  <a:pt x="176" y="66"/>
                </a:lnTo>
                <a:lnTo>
                  <a:pt x="182" y="66"/>
                </a:lnTo>
                <a:lnTo>
                  <a:pt x="186" y="66"/>
                </a:lnTo>
                <a:lnTo>
                  <a:pt x="190" y="62"/>
                </a:lnTo>
                <a:lnTo>
                  <a:pt x="194" y="62"/>
                </a:lnTo>
                <a:lnTo>
                  <a:pt x="194" y="62"/>
                </a:lnTo>
                <a:lnTo>
                  <a:pt x="200" y="62"/>
                </a:lnTo>
                <a:lnTo>
                  <a:pt x="202" y="62"/>
                </a:lnTo>
                <a:lnTo>
                  <a:pt x="200" y="62"/>
                </a:lnTo>
                <a:lnTo>
                  <a:pt x="200" y="62"/>
                </a:lnTo>
                <a:lnTo>
                  <a:pt x="194" y="66"/>
                </a:lnTo>
                <a:lnTo>
                  <a:pt x="194" y="66"/>
                </a:lnTo>
                <a:lnTo>
                  <a:pt x="200" y="66"/>
                </a:lnTo>
                <a:lnTo>
                  <a:pt x="200" y="66"/>
                </a:lnTo>
                <a:lnTo>
                  <a:pt x="206" y="62"/>
                </a:lnTo>
                <a:lnTo>
                  <a:pt x="206" y="58"/>
                </a:lnTo>
                <a:lnTo>
                  <a:pt x="202" y="46"/>
                </a:lnTo>
                <a:lnTo>
                  <a:pt x="202" y="46"/>
                </a:lnTo>
                <a:lnTo>
                  <a:pt x="202" y="50"/>
                </a:lnTo>
                <a:lnTo>
                  <a:pt x="206" y="50"/>
                </a:lnTo>
                <a:lnTo>
                  <a:pt x="212" y="48"/>
                </a:lnTo>
                <a:lnTo>
                  <a:pt x="212" y="48"/>
                </a:lnTo>
                <a:lnTo>
                  <a:pt x="214" y="44"/>
                </a:lnTo>
                <a:lnTo>
                  <a:pt x="216" y="40"/>
                </a:lnTo>
                <a:lnTo>
                  <a:pt x="216" y="34"/>
                </a:lnTo>
                <a:lnTo>
                  <a:pt x="222" y="30"/>
                </a:lnTo>
                <a:lnTo>
                  <a:pt x="222" y="30"/>
                </a:lnTo>
                <a:lnTo>
                  <a:pt x="228" y="28"/>
                </a:lnTo>
                <a:lnTo>
                  <a:pt x="234" y="28"/>
                </a:lnTo>
                <a:lnTo>
                  <a:pt x="238" y="28"/>
                </a:lnTo>
                <a:lnTo>
                  <a:pt x="242" y="28"/>
                </a:lnTo>
                <a:lnTo>
                  <a:pt x="242" y="28"/>
                </a:lnTo>
                <a:lnTo>
                  <a:pt x="246" y="26"/>
                </a:lnTo>
                <a:lnTo>
                  <a:pt x="252" y="26"/>
                </a:lnTo>
                <a:lnTo>
                  <a:pt x="256" y="28"/>
                </a:lnTo>
                <a:lnTo>
                  <a:pt x="260" y="32"/>
                </a:lnTo>
                <a:lnTo>
                  <a:pt x="260" y="32"/>
                </a:lnTo>
                <a:lnTo>
                  <a:pt x="262" y="34"/>
                </a:lnTo>
                <a:lnTo>
                  <a:pt x="266" y="36"/>
                </a:lnTo>
                <a:lnTo>
                  <a:pt x="280" y="40"/>
                </a:lnTo>
                <a:lnTo>
                  <a:pt x="296" y="44"/>
                </a:lnTo>
                <a:lnTo>
                  <a:pt x="302" y="46"/>
                </a:lnTo>
                <a:lnTo>
                  <a:pt x="308" y="50"/>
                </a:lnTo>
                <a:lnTo>
                  <a:pt x="308" y="50"/>
                </a:lnTo>
                <a:lnTo>
                  <a:pt x="316" y="56"/>
                </a:lnTo>
                <a:lnTo>
                  <a:pt x="320" y="56"/>
                </a:lnTo>
                <a:lnTo>
                  <a:pt x="326" y="56"/>
                </a:lnTo>
                <a:lnTo>
                  <a:pt x="332" y="58"/>
                </a:lnTo>
                <a:lnTo>
                  <a:pt x="332" y="58"/>
                </a:lnTo>
                <a:lnTo>
                  <a:pt x="338" y="62"/>
                </a:lnTo>
                <a:lnTo>
                  <a:pt x="340" y="66"/>
                </a:lnTo>
                <a:lnTo>
                  <a:pt x="340" y="68"/>
                </a:lnTo>
                <a:lnTo>
                  <a:pt x="342" y="72"/>
                </a:lnTo>
                <a:lnTo>
                  <a:pt x="342" y="72"/>
                </a:lnTo>
                <a:lnTo>
                  <a:pt x="346" y="76"/>
                </a:lnTo>
                <a:lnTo>
                  <a:pt x="350" y="84"/>
                </a:lnTo>
                <a:lnTo>
                  <a:pt x="350" y="84"/>
                </a:lnTo>
                <a:lnTo>
                  <a:pt x="350" y="88"/>
                </a:lnTo>
                <a:lnTo>
                  <a:pt x="350" y="88"/>
                </a:lnTo>
                <a:lnTo>
                  <a:pt x="352" y="92"/>
                </a:lnTo>
                <a:lnTo>
                  <a:pt x="350" y="96"/>
                </a:lnTo>
                <a:lnTo>
                  <a:pt x="350" y="96"/>
                </a:lnTo>
                <a:lnTo>
                  <a:pt x="350" y="100"/>
                </a:lnTo>
                <a:lnTo>
                  <a:pt x="352" y="104"/>
                </a:lnTo>
                <a:lnTo>
                  <a:pt x="354" y="106"/>
                </a:lnTo>
                <a:lnTo>
                  <a:pt x="352" y="112"/>
                </a:lnTo>
                <a:lnTo>
                  <a:pt x="352" y="112"/>
                </a:lnTo>
                <a:lnTo>
                  <a:pt x="348" y="118"/>
                </a:lnTo>
                <a:lnTo>
                  <a:pt x="344" y="122"/>
                </a:lnTo>
                <a:lnTo>
                  <a:pt x="344" y="124"/>
                </a:lnTo>
                <a:lnTo>
                  <a:pt x="346" y="128"/>
                </a:lnTo>
                <a:lnTo>
                  <a:pt x="346" y="128"/>
                </a:lnTo>
                <a:lnTo>
                  <a:pt x="350" y="134"/>
                </a:lnTo>
                <a:lnTo>
                  <a:pt x="350" y="140"/>
                </a:lnTo>
                <a:lnTo>
                  <a:pt x="350" y="144"/>
                </a:lnTo>
                <a:lnTo>
                  <a:pt x="354" y="152"/>
                </a:lnTo>
                <a:lnTo>
                  <a:pt x="354" y="152"/>
                </a:lnTo>
                <a:lnTo>
                  <a:pt x="356" y="156"/>
                </a:lnTo>
                <a:lnTo>
                  <a:pt x="356" y="162"/>
                </a:lnTo>
                <a:lnTo>
                  <a:pt x="356" y="172"/>
                </a:lnTo>
                <a:lnTo>
                  <a:pt x="356" y="176"/>
                </a:lnTo>
                <a:lnTo>
                  <a:pt x="358" y="178"/>
                </a:lnTo>
                <a:lnTo>
                  <a:pt x="360" y="180"/>
                </a:lnTo>
                <a:lnTo>
                  <a:pt x="368" y="180"/>
                </a:lnTo>
                <a:lnTo>
                  <a:pt x="368" y="180"/>
                </a:lnTo>
                <a:lnTo>
                  <a:pt x="376" y="180"/>
                </a:lnTo>
                <a:lnTo>
                  <a:pt x="380" y="182"/>
                </a:lnTo>
                <a:lnTo>
                  <a:pt x="382" y="184"/>
                </a:lnTo>
                <a:lnTo>
                  <a:pt x="384" y="190"/>
                </a:lnTo>
                <a:lnTo>
                  <a:pt x="380" y="202"/>
                </a:lnTo>
                <a:lnTo>
                  <a:pt x="374" y="216"/>
                </a:lnTo>
                <a:lnTo>
                  <a:pt x="374" y="216"/>
                </a:lnTo>
                <a:lnTo>
                  <a:pt x="388" y="236"/>
                </a:lnTo>
                <a:lnTo>
                  <a:pt x="394" y="248"/>
                </a:lnTo>
                <a:lnTo>
                  <a:pt x="396" y="252"/>
                </a:lnTo>
                <a:lnTo>
                  <a:pt x="404" y="254"/>
                </a:lnTo>
                <a:lnTo>
                  <a:pt x="404" y="254"/>
                </a:lnTo>
                <a:lnTo>
                  <a:pt x="410" y="254"/>
                </a:lnTo>
                <a:lnTo>
                  <a:pt x="412" y="254"/>
                </a:lnTo>
                <a:lnTo>
                  <a:pt x="418" y="266"/>
                </a:lnTo>
                <a:lnTo>
                  <a:pt x="418" y="266"/>
                </a:lnTo>
                <a:lnTo>
                  <a:pt x="422" y="280"/>
                </a:lnTo>
                <a:lnTo>
                  <a:pt x="424" y="280"/>
                </a:lnTo>
                <a:lnTo>
                  <a:pt x="428" y="280"/>
                </a:lnTo>
                <a:lnTo>
                  <a:pt x="428" y="280"/>
                </a:lnTo>
                <a:lnTo>
                  <a:pt x="430" y="280"/>
                </a:lnTo>
                <a:lnTo>
                  <a:pt x="430" y="284"/>
                </a:lnTo>
                <a:lnTo>
                  <a:pt x="430" y="288"/>
                </a:lnTo>
                <a:lnTo>
                  <a:pt x="430" y="290"/>
                </a:lnTo>
                <a:lnTo>
                  <a:pt x="430" y="290"/>
                </a:lnTo>
                <a:lnTo>
                  <a:pt x="430" y="292"/>
                </a:lnTo>
                <a:lnTo>
                  <a:pt x="428" y="294"/>
                </a:lnTo>
                <a:lnTo>
                  <a:pt x="426" y="296"/>
                </a:lnTo>
                <a:lnTo>
                  <a:pt x="424" y="296"/>
                </a:lnTo>
                <a:lnTo>
                  <a:pt x="424" y="296"/>
                </a:lnTo>
                <a:lnTo>
                  <a:pt x="424" y="298"/>
                </a:lnTo>
                <a:lnTo>
                  <a:pt x="420" y="296"/>
                </a:lnTo>
                <a:lnTo>
                  <a:pt x="416" y="296"/>
                </a:lnTo>
                <a:lnTo>
                  <a:pt x="416" y="298"/>
                </a:lnTo>
                <a:lnTo>
                  <a:pt x="416" y="302"/>
                </a:lnTo>
                <a:lnTo>
                  <a:pt x="416" y="302"/>
                </a:lnTo>
                <a:lnTo>
                  <a:pt x="416" y="304"/>
                </a:lnTo>
                <a:lnTo>
                  <a:pt x="414" y="306"/>
                </a:lnTo>
                <a:lnTo>
                  <a:pt x="410" y="310"/>
                </a:lnTo>
                <a:lnTo>
                  <a:pt x="406" y="316"/>
                </a:lnTo>
                <a:lnTo>
                  <a:pt x="406" y="318"/>
                </a:lnTo>
                <a:lnTo>
                  <a:pt x="406" y="320"/>
                </a:lnTo>
                <a:lnTo>
                  <a:pt x="406" y="320"/>
                </a:lnTo>
                <a:lnTo>
                  <a:pt x="408" y="326"/>
                </a:lnTo>
                <a:lnTo>
                  <a:pt x="408" y="332"/>
                </a:lnTo>
                <a:lnTo>
                  <a:pt x="408" y="336"/>
                </a:lnTo>
                <a:lnTo>
                  <a:pt x="406" y="338"/>
                </a:lnTo>
                <a:lnTo>
                  <a:pt x="402" y="338"/>
                </a:lnTo>
                <a:lnTo>
                  <a:pt x="402" y="338"/>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97" name="Freeform 201"/>
          <p:cNvSpPr>
            <a:spLocks/>
          </p:cNvSpPr>
          <p:nvPr/>
        </p:nvSpPr>
        <p:spPr bwMode="auto">
          <a:xfrm>
            <a:off x="5339029" y="1653121"/>
            <a:ext cx="27346" cy="11381"/>
          </a:xfrm>
          <a:custGeom>
            <a:avLst/>
            <a:gdLst/>
            <a:ahLst/>
            <a:cxnLst>
              <a:cxn ang="0">
                <a:pos x="0" y="0"/>
              </a:cxn>
              <a:cxn ang="0">
                <a:pos x="0" y="0"/>
              </a:cxn>
              <a:cxn ang="0">
                <a:pos x="2" y="4"/>
              </a:cxn>
              <a:cxn ang="0">
                <a:pos x="4" y="8"/>
              </a:cxn>
              <a:cxn ang="0">
                <a:pos x="12" y="10"/>
              </a:cxn>
              <a:cxn ang="0">
                <a:pos x="20" y="10"/>
              </a:cxn>
              <a:cxn ang="0">
                <a:pos x="24" y="10"/>
              </a:cxn>
              <a:cxn ang="0">
                <a:pos x="24" y="10"/>
              </a:cxn>
              <a:cxn ang="0">
                <a:pos x="18" y="4"/>
              </a:cxn>
              <a:cxn ang="0">
                <a:pos x="12" y="2"/>
              </a:cxn>
              <a:cxn ang="0">
                <a:pos x="6" y="0"/>
              </a:cxn>
              <a:cxn ang="0">
                <a:pos x="0" y="0"/>
              </a:cxn>
              <a:cxn ang="0">
                <a:pos x="0" y="0"/>
              </a:cxn>
            </a:cxnLst>
            <a:rect l="0" t="0" r="r" b="b"/>
            <a:pathLst>
              <a:path w="24" h="10">
                <a:moveTo>
                  <a:pt x="0" y="0"/>
                </a:moveTo>
                <a:lnTo>
                  <a:pt x="0" y="0"/>
                </a:lnTo>
                <a:lnTo>
                  <a:pt x="2" y="4"/>
                </a:lnTo>
                <a:lnTo>
                  <a:pt x="4" y="8"/>
                </a:lnTo>
                <a:lnTo>
                  <a:pt x="12" y="10"/>
                </a:lnTo>
                <a:lnTo>
                  <a:pt x="20" y="10"/>
                </a:lnTo>
                <a:lnTo>
                  <a:pt x="24" y="10"/>
                </a:lnTo>
                <a:lnTo>
                  <a:pt x="24" y="10"/>
                </a:lnTo>
                <a:lnTo>
                  <a:pt x="18" y="4"/>
                </a:lnTo>
                <a:lnTo>
                  <a:pt x="12" y="2"/>
                </a:lnTo>
                <a:lnTo>
                  <a:pt x="6" y="0"/>
                </a:lnTo>
                <a:lnTo>
                  <a:pt x="0" y="0"/>
                </a:lnTo>
                <a:lnTo>
                  <a:pt x="0" y="0"/>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98" name="Freeform 202"/>
          <p:cNvSpPr>
            <a:spLocks/>
          </p:cNvSpPr>
          <p:nvPr/>
        </p:nvSpPr>
        <p:spPr bwMode="auto">
          <a:xfrm>
            <a:off x="5293454" y="1609875"/>
            <a:ext cx="84317" cy="54627"/>
          </a:xfrm>
          <a:custGeom>
            <a:avLst/>
            <a:gdLst/>
            <a:ahLst/>
            <a:cxnLst>
              <a:cxn ang="0">
                <a:pos x="28" y="0"/>
              </a:cxn>
              <a:cxn ang="0">
                <a:pos x="28" y="0"/>
              </a:cxn>
              <a:cxn ang="0">
                <a:pos x="34" y="2"/>
              </a:cxn>
              <a:cxn ang="0">
                <a:pos x="40" y="6"/>
              </a:cxn>
              <a:cxn ang="0">
                <a:pos x="40" y="6"/>
              </a:cxn>
              <a:cxn ang="0">
                <a:pos x="44" y="8"/>
              </a:cxn>
              <a:cxn ang="0">
                <a:pos x="44" y="12"/>
              </a:cxn>
              <a:cxn ang="0">
                <a:pos x="44" y="12"/>
              </a:cxn>
              <a:cxn ang="0">
                <a:pos x="46" y="18"/>
              </a:cxn>
              <a:cxn ang="0">
                <a:pos x="48" y="18"/>
              </a:cxn>
              <a:cxn ang="0">
                <a:pos x="50" y="20"/>
              </a:cxn>
              <a:cxn ang="0">
                <a:pos x="52" y="24"/>
              </a:cxn>
              <a:cxn ang="0">
                <a:pos x="52" y="24"/>
              </a:cxn>
              <a:cxn ang="0">
                <a:pos x="52" y="30"/>
              </a:cxn>
              <a:cxn ang="0">
                <a:pos x="56" y="32"/>
              </a:cxn>
              <a:cxn ang="0">
                <a:pos x="62" y="36"/>
              </a:cxn>
              <a:cxn ang="0">
                <a:pos x="70" y="38"/>
              </a:cxn>
              <a:cxn ang="0">
                <a:pos x="72" y="40"/>
              </a:cxn>
              <a:cxn ang="0">
                <a:pos x="74" y="42"/>
              </a:cxn>
              <a:cxn ang="0">
                <a:pos x="74" y="42"/>
              </a:cxn>
              <a:cxn ang="0">
                <a:pos x="64" y="48"/>
              </a:cxn>
              <a:cxn ang="0">
                <a:pos x="64" y="48"/>
              </a:cxn>
              <a:cxn ang="0">
                <a:pos x="58" y="42"/>
              </a:cxn>
              <a:cxn ang="0">
                <a:pos x="52" y="40"/>
              </a:cxn>
              <a:cxn ang="0">
                <a:pos x="46" y="38"/>
              </a:cxn>
              <a:cxn ang="0">
                <a:pos x="40" y="38"/>
              </a:cxn>
              <a:cxn ang="0">
                <a:pos x="40" y="38"/>
              </a:cxn>
              <a:cxn ang="0">
                <a:pos x="38" y="36"/>
              </a:cxn>
              <a:cxn ang="0">
                <a:pos x="34" y="34"/>
              </a:cxn>
              <a:cxn ang="0">
                <a:pos x="28" y="30"/>
              </a:cxn>
              <a:cxn ang="0">
                <a:pos x="28" y="30"/>
              </a:cxn>
              <a:cxn ang="0">
                <a:pos x="24" y="26"/>
              </a:cxn>
              <a:cxn ang="0">
                <a:pos x="22" y="24"/>
              </a:cxn>
              <a:cxn ang="0">
                <a:pos x="20" y="22"/>
              </a:cxn>
              <a:cxn ang="0">
                <a:pos x="12" y="20"/>
              </a:cxn>
              <a:cxn ang="0">
                <a:pos x="12" y="20"/>
              </a:cxn>
              <a:cxn ang="0">
                <a:pos x="6" y="18"/>
              </a:cxn>
              <a:cxn ang="0">
                <a:pos x="4" y="18"/>
              </a:cxn>
              <a:cxn ang="0">
                <a:pos x="4" y="16"/>
              </a:cxn>
              <a:cxn ang="0">
                <a:pos x="4" y="12"/>
              </a:cxn>
              <a:cxn ang="0">
                <a:pos x="4" y="8"/>
              </a:cxn>
              <a:cxn ang="0">
                <a:pos x="4" y="6"/>
              </a:cxn>
              <a:cxn ang="0">
                <a:pos x="0" y="2"/>
              </a:cxn>
              <a:cxn ang="0">
                <a:pos x="0" y="2"/>
              </a:cxn>
              <a:cxn ang="0">
                <a:pos x="18" y="2"/>
              </a:cxn>
              <a:cxn ang="0">
                <a:pos x="28" y="0"/>
              </a:cxn>
              <a:cxn ang="0">
                <a:pos x="28" y="0"/>
              </a:cxn>
            </a:cxnLst>
            <a:rect l="0" t="0" r="r" b="b"/>
            <a:pathLst>
              <a:path w="74" h="48">
                <a:moveTo>
                  <a:pt x="28" y="0"/>
                </a:moveTo>
                <a:lnTo>
                  <a:pt x="28" y="0"/>
                </a:lnTo>
                <a:lnTo>
                  <a:pt x="34" y="2"/>
                </a:lnTo>
                <a:lnTo>
                  <a:pt x="40" y="6"/>
                </a:lnTo>
                <a:lnTo>
                  <a:pt x="40" y="6"/>
                </a:lnTo>
                <a:lnTo>
                  <a:pt x="44" y="8"/>
                </a:lnTo>
                <a:lnTo>
                  <a:pt x="44" y="12"/>
                </a:lnTo>
                <a:lnTo>
                  <a:pt x="44" y="12"/>
                </a:lnTo>
                <a:lnTo>
                  <a:pt x="46" y="18"/>
                </a:lnTo>
                <a:lnTo>
                  <a:pt x="48" y="18"/>
                </a:lnTo>
                <a:lnTo>
                  <a:pt x="50" y="20"/>
                </a:lnTo>
                <a:lnTo>
                  <a:pt x="52" y="24"/>
                </a:lnTo>
                <a:lnTo>
                  <a:pt x="52" y="24"/>
                </a:lnTo>
                <a:lnTo>
                  <a:pt x="52" y="30"/>
                </a:lnTo>
                <a:lnTo>
                  <a:pt x="56" y="32"/>
                </a:lnTo>
                <a:lnTo>
                  <a:pt x="62" y="36"/>
                </a:lnTo>
                <a:lnTo>
                  <a:pt x="70" y="38"/>
                </a:lnTo>
                <a:lnTo>
                  <a:pt x="72" y="40"/>
                </a:lnTo>
                <a:lnTo>
                  <a:pt x="74" y="42"/>
                </a:lnTo>
                <a:lnTo>
                  <a:pt x="74" y="42"/>
                </a:lnTo>
                <a:lnTo>
                  <a:pt x="64" y="48"/>
                </a:lnTo>
                <a:lnTo>
                  <a:pt x="64" y="48"/>
                </a:lnTo>
                <a:lnTo>
                  <a:pt x="58" y="42"/>
                </a:lnTo>
                <a:lnTo>
                  <a:pt x="52" y="40"/>
                </a:lnTo>
                <a:lnTo>
                  <a:pt x="46" y="38"/>
                </a:lnTo>
                <a:lnTo>
                  <a:pt x="40" y="38"/>
                </a:lnTo>
                <a:lnTo>
                  <a:pt x="40" y="38"/>
                </a:lnTo>
                <a:lnTo>
                  <a:pt x="38" y="36"/>
                </a:lnTo>
                <a:lnTo>
                  <a:pt x="34" y="34"/>
                </a:lnTo>
                <a:lnTo>
                  <a:pt x="28" y="30"/>
                </a:lnTo>
                <a:lnTo>
                  <a:pt x="28" y="30"/>
                </a:lnTo>
                <a:lnTo>
                  <a:pt x="24" y="26"/>
                </a:lnTo>
                <a:lnTo>
                  <a:pt x="22" y="24"/>
                </a:lnTo>
                <a:lnTo>
                  <a:pt x="20" y="22"/>
                </a:lnTo>
                <a:lnTo>
                  <a:pt x="12" y="20"/>
                </a:lnTo>
                <a:lnTo>
                  <a:pt x="12" y="20"/>
                </a:lnTo>
                <a:lnTo>
                  <a:pt x="6" y="18"/>
                </a:lnTo>
                <a:lnTo>
                  <a:pt x="4" y="18"/>
                </a:lnTo>
                <a:lnTo>
                  <a:pt x="4" y="16"/>
                </a:lnTo>
                <a:lnTo>
                  <a:pt x="4" y="12"/>
                </a:lnTo>
                <a:lnTo>
                  <a:pt x="4" y="8"/>
                </a:lnTo>
                <a:lnTo>
                  <a:pt x="4" y="6"/>
                </a:lnTo>
                <a:lnTo>
                  <a:pt x="0" y="2"/>
                </a:lnTo>
                <a:lnTo>
                  <a:pt x="0" y="2"/>
                </a:lnTo>
                <a:lnTo>
                  <a:pt x="18" y="2"/>
                </a:lnTo>
                <a:lnTo>
                  <a:pt x="28" y="0"/>
                </a:lnTo>
                <a:lnTo>
                  <a:pt x="28" y="0"/>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99" name="Freeform 203"/>
          <p:cNvSpPr>
            <a:spLocks/>
          </p:cNvSpPr>
          <p:nvPr/>
        </p:nvSpPr>
        <p:spPr bwMode="auto">
          <a:xfrm>
            <a:off x="5409673" y="1894391"/>
            <a:ext cx="43298" cy="31866"/>
          </a:xfrm>
          <a:custGeom>
            <a:avLst/>
            <a:gdLst/>
            <a:ahLst/>
            <a:cxnLst>
              <a:cxn ang="0">
                <a:pos x="0" y="18"/>
              </a:cxn>
              <a:cxn ang="0">
                <a:pos x="0" y="18"/>
              </a:cxn>
              <a:cxn ang="0">
                <a:pos x="6" y="16"/>
              </a:cxn>
              <a:cxn ang="0">
                <a:pos x="10" y="12"/>
              </a:cxn>
              <a:cxn ang="0">
                <a:pos x="14" y="4"/>
              </a:cxn>
              <a:cxn ang="0">
                <a:pos x="16" y="2"/>
              </a:cxn>
              <a:cxn ang="0">
                <a:pos x="20" y="0"/>
              </a:cxn>
              <a:cxn ang="0">
                <a:pos x="24" y="2"/>
              </a:cxn>
              <a:cxn ang="0">
                <a:pos x="30" y="4"/>
              </a:cxn>
              <a:cxn ang="0">
                <a:pos x="30" y="4"/>
              </a:cxn>
              <a:cxn ang="0">
                <a:pos x="36" y="6"/>
              </a:cxn>
              <a:cxn ang="0">
                <a:pos x="38" y="8"/>
              </a:cxn>
              <a:cxn ang="0">
                <a:pos x="36" y="12"/>
              </a:cxn>
              <a:cxn ang="0">
                <a:pos x="38" y="12"/>
              </a:cxn>
              <a:cxn ang="0">
                <a:pos x="38" y="12"/>
              </a:cxn>
              <a:cxn ang="0">
                <a:pos x="38" y="14"/>
              </a:cxn>
              <a:cxn ang="0">
                <a:pos x="38" y="14"/>
              </a:cxn>
              <a:cxn ang="0">
                <a:pos x="34" y="16"/>
              </a:cxn>
              <a:cxn ang="0">
                <a:pos x="30" y="20"/>
              </a:cxn>
              <a:cxn ang="0">
                <a:pos x="28" y="24"/>
              </a:cxn>
              <a:cxn ang="0">
                <a:pos x="30" y="28"/>
              </a:cxn>
              <a:cxn ang="0">
                <a:pos x="30" y="28"/>
              </a:cxn>
              <a:cxn ang="0">
                <a:pos x="22" y="28"/>
              </a:cxn>
              <a:cxn ang="0">
                <a:pos x="18" y="28"/>
              </a:cxn>
              <a:cxn ang="0">
                <a:pos x="16" y="26"/>
              </a:cxn>
              <a:cxn ang="0">
                <a:pos x="16" y="24"/>
              </a:cxn>
              <a:cxn ang="0">
                <a:pos x="14" y="22"/>
              </a:cxn>
              <a:cxn ang="0">
                <a:pos x="12" y="20"/>
              </a:cxn>
              <a:cxn ang="0">
                <a:pos x="8" y="18"/>
              </a:cxn>
              <a:cxn ang="0">
                <a:pos x="0" y="18"/>
              </a:cxn>
              <a:cxn ang="0">
                <a:pos x="0" y="18"/>
              </a:cxn>
            </a:cxnLst>
            <a:rect l="0" t="0" r="r" b="b"/>
            <a:pathLst>
              <a:path w="38" h="28">
                <a:moveTo>
                  <a:pt x="0" y="18"/>
                </a:moveTo>
                <a:lnTo>
                  <a:pt x="0" y="18"/>
                </a:lnTo>
                <a:lnTo>
                  <a:pt x="6" y="16"/>
                </a:lnTo>
                <a:lnTo>
                  <a:pt x="10" y="12"/>
                </a:lnTo>
                <a:lnTo>
                  <a:pt x="14" y="4"/>
                </a:lnTo>
                <a:lnTo>
                  <a:pt x="16" y="2"/>
                </a:lnTo>
                <a:lnTo>
                  <a:pt x="20" y="0"/>
                </a:lnTo>
                <a:lnTo>
                  <a:pt x="24" y="2"/>
                </a:lnTo>
                <a:lnTo>
                  <a:pt x="30" y="4"/>
                </a:lnTo>
                <a:lnTo>
                  <a:pt x="30" y="4"/>
                </a:lnTo>
                <a:lnTo>
                  <a:pt x="36" y="6"/>
                </a:lnTo>
                <a:lnTo>
                  <a:pt x="38" y="8"/>
                </a:lnTo>
                <a:lnTo>
                  <a:pt x="36" y="12"/>
                </a:lnTo>
                <a:lnTo>
                  <a:pt x="38" y="12"/>
                </a:lnTo>
                <a:lnTo>
                  <a:pt x="38" y="12"/>
                </a:lnTo>
                <a:lnTo>
                  <a:pt x="38" y="14"/>
                </a:lnTo>
                <a:lnTo>
                  <a:pt x="38" y="14"/>
                </a:lnTo>
                <a:lnTo>
                  <a:pt x="34" y="16"/>
                </a:lnTo>
                <a:lnTo>
                  <a:pt x="30" y="20"/>
                </a:lnTo>
                <a:lnTo>
                  <a:pt x="28" y="24"/>
                </a:lnTo>
                <a:lnTo>
                  <a:pt x="30" y="28"/>
                </a:lnTo>
                <a:lnTo>
                  <a:pt x="30" y="28"/>
                </a:lnTo>
                <a:lnTo>
                  <a:pt x="22" y="28"/>
                </a:lnTo>
                <a:lnTo>
                  <a:pt x="18" y="28"/>
                </a:lnTo>
                <a:lnTo>
                  <a:pt x="16" y="26"/>
                </a:lnTo>
                <a:lnTo>
                  <a:pt x="16" y="24"/>
                </a:lnTo>
                <a:lnTo>
                  <a:pt x="14" y="22"/>
                </a:lnTo>
                <a:lnTo>
                  <a:pt x="12" y="20"/>
                </a:lnTo>
                <a:lnTo>
                  <a:pt x="8" y="18"/>
                </a:lnTo>
                <a:lnTo>
                  <a:pt x="0" y="18"/>
                </a:lnTo>
                <a:lnTo>
                  <a:pt x="0" y="18"/>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00" name="Freeform 204"/>
          <p:cNvSpPr>
            <a:spLocks/>
          </p:cNvSpPr>
          <p:nvPr/>
        </p:nvSpPr>
        <p:spPr bwMode="auto">
          <a:xfrm>
            <a:off x="5325356" y="1593942"/>
            <a:ext cx="116220" cy="93321"/>
          </a:xfrm>
          <a:custGeom>
            <a:avLst/>
            <a:gdLst/>
            <a:ahLst/>
            <a:cxnLst>
              <a:cxn ang="0">
                <a:pos x="46" y="56"/>
              </a:cxn>
              <a:cxn ang="0">
                <a:pos x="58" y="48"/>
              </a:cxn>
              <a:cxn ang="0">
                <a:pos x="60" y="50"/>
              </a:cxn>
              <a:cxn ang="0">
                <a:pos x="66" y="56"/>
              </a:cxn>
              <a:cxn ang="0">
                <a:pos x="64" y="58"/>
              </a:cxn>
              <a:cxn ang="0">
                <a:pos x="68" y="64"/>
              </a:cxn>
              <a:cxn ang="0">
                <a:pos x="62" y="70"/>
              </a:cxn>
              <a:cxn ang="0">
                <a:pos x="72" y="76"/>
              </a:cxn>
              <a:cxn ang="0">
                <a:pos x="82" y="82"/>
              </a:cxn>
              <a:cxn ang="0">
                <a:pos x="88" y="80"/>
              </a:cxn>
              <a:cxn ang="0">
                <a:pos x="82" y="66"/>
              </a:cxn>
              <a:cxn ang="0">
                <a:pos x="84" y="60"/>
              </a:cxn>
              <a:cxn ang="0">
                <a:pos x="86" y="64"/>
              </a:cxn>
              <a:cxn ang="0">
                <a:pos x="90" y="66"/>
              </a:cxn>
              <a:cxn ang="0">
                <a:pos x="90" y="64"/>
              </a:cxn>
              <a:cxn ang="0">
                <a:pos x="88" y="58"/>
              </a:cxn>
              <a:cxn ang="0">
                <a:pos x="90" y="54"/>
              </a:cxn>
              <a:cxn ang="0">
                <a:pos x="90" y="48"/>
              </a:cxn>
              <a:cxn ang="0">
                <a:pos x="92" y="40"/>
              </a:cxn>
              <a:cxn ang="0">
                <a:pos x="94" y="40"/>
              </a:cxn>
              <a:cxn ang="0">
                <a:pos x="102" y="40"/>
              </a:cxn>
              <a:cxn ang="0">
                <a:pos x="102" y="38"/>
              </a:cxn>
              <a:cxn ang="0">
                <a:pos x="96" y="30"/>
              </a:cxn>
              <a:cxn ang="0">
                <a:pos x="94" y="30"/>
              </a:cxn>
              <a:cxn ang="0">
                <a:pos x="90" y="30"/>
              </a:cxn>
              <a:cxn ang="0">
                <a:pos x="80" y="24"/>
              </a:cxn>
              <a:cxn ang="0">
                <a:pos x="70" y="12"/>
              </a:cxn>
              <a:cxn ang="0">
                <a:pos x="58" y="0"/>
              </a:cxn>
              <a:cxn ang="0">
                <a:pos x="52" y="4"/>
              </a:cxn>
              <a:cxn ang="0">
                <a:pos x="36" y="8"/>
              </a:cxn>
              <a:cxn ang="0">
                <a:pos x="22" y="2"/>
              </a:cxn>
              <a:cxn ang="0">
                <a:pos x="26" y="14"/>
              </a:cxn>
              <a:cxn ang="0">
                <a:pos x="26" y="16"/>
              </a:cxn>
              <a:cxn ang="0">
                <a:pos x="16" y="14"/>
              </a:cxn>
              <a:cxn ang="0">
                <a:pos x="0" y="14"/>
              </a:cxn>
              <a:cxn ang="0">
                <a:pos x="6" y="16"/>
              </a:cxn>
              <a:cxn ang="0">
                <a:pos x="12" y="20"/>
              </a:cxn>
              <a:cxn ang="0">
                <a:pos x="16" y="26"/>
              </a:cxn>
              <a:cxn ang="0">
                <a:pos x="18" y="32"/>
              </a:cxn>
              <a:cxn ang="0">
                <a:pos x="22" y="34"/>
              </a:cxn>
              <a:cxn ang="0">
                <a:pos x="24" y="38"/>
              </a:cxn>
              <a:cxn ang="0">
                <a:pos x="28" y="46"/>
              </a:cxn>
              <a:cxn ang="0">
                <a:pos x="42" y="52"/>
              </a:cxn>
              <a:cxn ang="0">
                <a:pos x="46" y="56"/>
              </a:cxn>
            </a:cxnLst>
            <a:rect l="0" t="0" r="r" b="b"/>
            <a:pathLst>
              <a:path w="102" h="82">
                <a:moveTo>
                  <a:pt x="46" y="56"/>
                </a:moveTo>
                <a:lnTo>
                  <a:pt x="46" y="56"/>
                </a:lnTo>
                <a:lnTo>
                  <a:pt x="56" y="48"/>
                </a:lnTo>
                <a:lnTo>
                  <a:pt x="58" y="48"/>
                </a:lnTo>
                <a:lnTo>
                  <a:pt x="60" y="50"/>
                </a:lnTo>
                <a:lnTo>
                  <a:pt x="60" y="50"/>
                </a:lnTo>
                <a:lnTo>
                  <a:pt x="66" y="54"/>
                </a:lnTo>
                <a:lnTo>
                  <a:pt x="66" y="56"/>
                </a:lnTo>
                <a:lnTo>
                  <a:pt x="64" y="58"/>
                </a:lnTo>
                <a:lnTo>
                  <a:pt x="64" y="58"/>
                </a:lnTo>
                <a:lnTo>
                  <a:pt x="68" y="60"/>
                </a:lnTo>
                <a:lnTo>
                  <a:pt x="68" y="64"/>
                </a:lnTo>
                <a:lnTo>
                  <a:pt x="66" y="68"/>
                </a:lnTo>
                <a:lnTo>
                  <a:pt x="62" y="70"/>
                </a:lnTo>
                <a:lnTo>
                  <a:pt x="62" y="70"/>
                </a:lnTo>
                <a:lnTo>
                  <a:pt x="72" y="76"/>
                </a:lnTo>
                <a:lnTo>
                  <a:pt x="78" y="80"/>
                </a:lnTo>
                <a:lnTo>
                  <a:pt x="82" y="82"/>
                </a:lnTo>
                <a:lnTo>
                  <a:pt x="88" y="80"/>
                </a:lnTo>
                <a:lnTo>
                  <a:pt x="88" y="80"/>
                </a:lnTo>
                <a:lnTo>
                  <a:pt x="84" y="70"/>
                </a:lnTo>
                <a:lnTo>
                  <a:pt x="82" y="66"/>
                </a:lnTo>
                <a:lnTo>
                  <a:pt x="82" y="62"/>
                </a:lnTo>
                <a:lnTo>
                  <a:pt x="84" y="60"/>
                </a:lnTo>
                <a:lnTo>
                  <a:pt x="84" y="60"/>
                </a:lnTo>
                <a:lnTo>
                  <a:pt x="86" y="64"/>
                </a:lnTo>
                <a:lnTo>
                  <a:pt x="88" y="66"/>
                </a:lnTo>
                <a:lnTo>
                  <a:pt x="90" y="66"/>
                </a:lnTo>
                <a:lnTo>
                  <a:pt x="90" y="66"/>
                </a:lnTo>
                <a:lnTo>
                  <a:pt x="90" y="64"/>
                </a:lnTo>
                <a:lnTo>
                  <a:pt x="88" y="60"/>
                </a:lnTo>
                <a:lnTo>
                  <a:pt x="88" y="58"/>
                </a:lnTo>
                <a:lnTo>
                  <a:pt x="90" y="54"/>
                </a:lnTo>
                <a:lnTo>
                  <a:pt x="90" y="54"/>
                </a:lnTo>
                <a:lnTo>
                  <a:pt x="90" y="50"/>
                </a:lnTo>
                <a:lnTo>
                  <a:pt x="90" y="48"/>
                </a:lnTo>
                <a:lnTo>
                  <a:pt x="90" y="44"/>
                </a:lnTo>
                <a:lnTo>
                  <a:pt x="92" y="40"/>
                </a:lnTo>
                <a:lnTo>
                  <a:pt x="92" y="40"/>
                </a:lnTo>
                <a:lnTo>
                  <a:pt x="94" y="40"/>
                </a:lnTo>
                <a:lnTo>
                  <a:pt x="98" y="40"/>
                </a:lnTo>
                <a:lnTo>
                  <a:pt x="102" y="40"/>
                </a:lnTo>
                <a:lnTo>
                  <a:pt x="102" y="40"/>
                </a:lnTo>
                <a:lnTo>
                  <a:pt x="102" y="38"/>
                </a:lnTo>
                <a:lnTo>
                  <a:pt x="100" y="34"/>
                </a:lnTo>
                <a:lnTo>
                  <a:pt x="96" y="30"/>
                </a:lnTo>
                <a:lnTo>
                  <a:pt x="94" y="30"/>
                </a:lnTo>
                <a:lnTo>
                  <a:pt x="94" y="30"/>
                </a:lnTo>
                <a:lnTo>
                  <a:pt x="92" y="32"/>
                </a:lnTo>
                <a:lnTo>
                  <a:pt x="90" y="30"/>
                </a:lnTo>
                <a:lnTo>
                  <a:pt x="80" y="24"/>
                </a:lnTo>
                <a:lnTo>
                  <a:pt x="80" y="24"/>
                </a:lnTo>
                <a:lnTo>
                  <a:pt x="76" y="18"/>
                </a:lnTo>
                <a:lnTo>
                  <a:pt x="70" y="12"/>
                </a:lnTo>
                <a:lnTo>
                  <a:pt x="66" y="6"/>
                </a:lnTo>
                <a:lnTo>
                  <a:pt x="58" y="0"/>
                </a:lnTo>
                <a:lnTo>
                  <a:pt x="58" y="0"/>
                </a:lnTo>
                <a:lnTo>
                  <a:pt x="52" y="4"/>
                </a:lnTo>
                <a:lnTo>
                  <a:pt x="44" y="8"/>
                </a:lnTo>
                <a:lnTo>
                  <a:pt x="36" y="8"/>
                </a:lnTo>
                <a:lnTo>
                  <a:pt x="22" y="2"/>
                </a:lnTo>
                <a:lnTo>
                  <a:pt x="22" y="2"/>
                </a:lnTo>
                <a:lnTo>
                  <a:pt x="24" y="10"/>
                </a:lnTo>
                <a:lnTo>
                  <a:pt x="26" y="14"/>
                </a:lnTo>
                <a:lnTo>
                  <a:pt x="26" y="16"/>
                </a:lnTo>
                <a:lnTo>
                  <a:pt x="26" y="16"/>
                </a:lnTo>
                <a:lnTo>
                  <a:pt x="20" y="16"/>
                </a:lnTo>
                <a:lnTo>
                  <a:pt x="16" y="14"/>
                </a:lnTo>
                <a:lnTo>
                  <a:pt x="10" y="14"/>
                </a:lnTo>
                <a:lnTo>
                  <a:pt x="0" y="14"/>
                </a:lnTo>
                <a:lnTo>
                  <a:pt x="0" y="14"/>
                </a:lnTo>
                <a:lnTo>
                  <a:pt x="6" y="16"/>
                </a:lnTo>
                <a:lnTo>
                  <a:pt x="12" y="20"/>
                </a:lnTo>
                <a:lnTo>
                  <a:pt x="12" y="20"/>
                </a:lnTo>
                <a:lnTo>
                  <a:pt x="16" y="22"/>
                </a:lnTo>
                <a:lnTo>
                  <a:pt x="16" y="26"/>
                </a:lnTo>
                <a:lnTo>
                  <a:pt x="16" y="26"/>
                </a:lnTo>
                <a:lnTo>
                  <a:pt x="18" y="32"/>
                </a:lnTo>
                <a:lnTo>
                  <a:pt x="20" y="32"/>
                </a:lnTo>
                <a:lnTo>
                  <a:pt x="22" y="34"/>
                </a:lnTo>
                <a:lnTo>
                  <a:pt x="24" y="38"/>
                </a:lnTo>
                <a:lnTo>
                  <a:pt x="24" y="38"/>
                </a:lnTo>
                <a:lnTo>
                  <a:pt x="24" y="44"/>
                </a:lnTo>
                <a:lnTo>
                  <a:pt x="28" y="46"/>
                </a:lnTo>
                <a:lnTo>
                  <a:pt x="34" y="50"/>
                </a:lnTo>
                <a:lnTo>
                  <a:pt x="42" y="52"/>
                </a:lnTo>
                <a:lnTo>
                  <a:pt x="44" y="54"/>
                </a:lnTo>
                <a:lnTo>
                  <a:pt x="46" y="56"/>
                </a:lnTo>
                <a:lnTo>
                  <a:pt x="46" y="56"/>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01" name="Freeform 215"/>
          <p:cNvSpPr>
            <a:spLocks/>
          </p:cNvSpPr>
          <p:nvPr/>
        </p:nvSpPr>
        <p:spPr bwMode="auto">
          <a:xfrm>
            <a:off x="4518653" y="1614427"/>
            <a:ext cx="27346" cy="54627"/>
          </a:xfrm>
          <a:custGeom>
            <a:avLst/>
            <a:gdLst/>
            <a:ahLst/>
            <a:cxnLst>
              <a:cxn ang="0">
                <a:pos x="14" y="0"/>
              </a:cxn>
              <a:cxn ang="0">
                <a:pos x="18" y="2"/>
              </a:cxn>
              <a:cxn ang="0">
                <a:pos x="20" y="4"/>
              </a:cxn>
              <a:cxn ang="0">
                <a:pos x="22" y="8"/>
              </a:cxn>
              <a:cxn ang="0">
                <a:pos x="24" y="14"/>
              </a:cxn>
              <a:cxn ang="0">
                <a:pos x="24" y="18"/>
              </a:cxn>
              <a:cxn ang="0">
                <a:pos x="22" y="20"/>
              </a:cxn>
              <a:cxn ang="0">
                <a:pos x="22" y="22"/>
              </a:cxn>
              <a:cxn ang="0">
                <a:pos x="22" y="28"/>
              </a:cxn>
              <a:cxn ang="0">
                <a:pos x="22" y="32"/>
              </a:cxn>
              <a:cxn ang="0">
                <a:pos x="22" y="34"/>
              </a:cxn>
              <a:cxn ang="0">
                <a:pos x="22" y="40"/>
              </a:cxn>
              <a:cxn ang="0">
                <a:pos x="22" y="44"/>
              </a:cxn>
              <a:cxn ang="0">
                <a:pos x="20" y="42"/>
              </a:cxn>
              <a:cxn ang="0">
                <a:pos x="14" y="40"/>
              </a:cxn>
              <a:cxn ang="0">
                <a:pos x="16" y="44"/>
              </a:cxn>
              <a:cxn ang="0">
                <a:pos x="14" y="46"/>
              </a:cxn>
              <a:cxn ang="0">
                <a:pos x="10" y="46"/>
              </a:cxn>
              <a:cxn ang="0">
                <a:pos x="8" y="46"/>
              </a:cxn>
              <a:cxn ang="0">
                <a:pos x="8" y="46"/>
              </a:cxn>
              <a:cxn ang="0">
                <a:pos x="4" y="42"/>
              </a:cxn>
              <a:cxn ang="0">
                <a:pos x="4" y="40"/>
              </a:cxn>
              <a:cxn ang="0">
                <a:pos x="4" y="28"/>
              </a:cxn>
              <a:cxn ang="0">
                <a:pos x="4" y="28"/>
              </a:cxn>
              <a:cxn ang="0">
                <a:pos x="4" y="26"/>
              </a:cxn>
              <a:cxn ang="0">
                <a:pos x="4" y="22"/>
              </a:cxn>
              <a:cxn ang="0">
                <a:pos x="6" y="20"/>
              </a:cxn>
              <a:cxn ang="0">
                <a:pos x="4" y="14"/>
              </a:cxn>
              <a:cxn ang="0">
                <a:pos x="0" y="12"/>
              </a:cxn>
              <a:cxn ang="0">
                <a:pos x="0" y="8"/>
              </a:cxn>
              <a:cxn ang="0">
                <a:pos x="0" y="4"/>
              </a:cxn>
              <a:cxn ang="0">
                <a:pos x="2" y="4"/>
              </a:cxn>
              <a:cxn ang="0">
                <a:pos x="8" y="4"/>
              </a:cxn>
              <a:cxn ang="0">
                <a:pos x="10" y="2"/>
              </a:cxn>
              <a:cxn ang="0">
                <a:pos x="14" y="0"/>
              </a:cxn>
            </a:cxnLst>
            <a:rect l="0" t="0" r="r" b="b"/>
            <a:pathLst>
              <a:path w="24" h="48">
                <a:moveTo>
                  <a:pt x="14" y="0"/>
                </a:moveTo>
                <a:lnTo>
                  <a:pt x="14" y="0"/>
                </a:lnTo>
                <a:lnTo>
                  <a:pt x="16" y="0"/>
                </a:lnTo>
                <a:lnTo>
                  <a:pt x="18" y="2"/>
                </a:lnTo>
                <a:lnTo>
                  <a:pt x="18" y="2"/>
                </a:lnTo>
                <a:lnTo>
                  <a:pt x="20" y="4"/>
                </a:lnTo>
                <a:lnTo>
                  <a:pt x="22" y="8"/>
                </a:lnTo>
                <a:lnTo>
                  <a:pt x="22" y="8"/>
                </a:lnTo>
                <a:lnTo>
                  <a:pt x="22" y="10"/>
                </a:lnTo>
                <a:lnTo>
                  <a:pt x="24" y="14"/>
                </a:lnTo>
                <a:lnTo>
                  <a:pt x="24" y="14"/>
                </a:lnTo>
                <a:lnTo>
                  <a:pt x="24" y="18"/>
                </a:lnTo>
                <a:lnTo>
                  <a:pt x="24" y="18"/>
                </a:lnTo>
                <a:lnTo>
                  <a:pt x="22" y="20"/>
                </a:lnTo>
                <a:lnTo>
                  <a:pt x="22" y="22"/>
                </a:lnTo>
                <a:lnTo>
                  <a:pt x="22" y="22"/>
                </a:lnTo>
                <a:lnTo>
                  <a:pt x="24" y="24"/>
                </a:lnTo>
                <a:lnTo>
                  <a:pt x="22" y="28"/>
                </a:lnTo>
                <a:lnTo>
                  <a:pt x="22" y="28"/>
                </a:lnTo>
                <a:lnTo>
                  <a:pt x="22" y="32"/>
                </a:lnTo>
                <a:lnTo>
                  <a:pt x="22" y="34"/>
                </a:lnTo>
                <a:lnTo>
                  <a:pt x="22" y="34"/>
                </a:lnTo>
                <a:lnTo>
                  <a:pt x="22" y="36"/>
                </a:lnTo>
                <a:lnTo>
                  <a:pt x="22" y="40"/>
                </a:lnTo>
                <a:lnTo>
                  <a:pt x="22" y="42"/>
                </a:lnTo>
                <a:lnTo>
                  <a:pt x="22" y="44"/>
                </a:lnTo>
                <a:lnTo>
                  <a:pt x="22" y="44"/>
                </a:lnTo>
                <a:lnTo>
                  <a:pt x="20" y="42"/>
                </a:lnTo>
                <a:lnTo>
                  <a:pt x="18" y="42"/>
                </a:lnTo>
                <a:lnTo>
                  <a:pt x="14" y="40"/>
                </a:lnTo>
                <a:lnTo>
                  <a:pt x="14" y="40"/>
                </a:lnTo>
                <a:lnTo>
                  <a:pt x="16" y="44"/>
                </a:lnTo>
                <a:lnTo>
                  <a:pt x="16" y="46"/>
                </a:lnTo>
                <a:lnTo>
                  <a:pt x="14" y="46"/>
                </a:lnTo>
                <a:lnTo>
                  <a:pt x="14" y="46"/>
                </a:lnTo>
                <a:lnTo>
                  <a:pt x="10" y="46"/>
                </a:lnTo>
                <a:lnTo>
                  <a:pt x="8" y="48"/>
                </a:lnTo>
                <a:lnTo>
                  <a:pt x="8" y="46"/>
                </a:lnTo>
                <a:lnTo>
                  <a:pt x="8" y="46"/>
                </a:lnTo>
                <a:lnTo>
                  <a:pt x="8" y="46"/>
                </a:lnTo>
                <a:lnTo>
                  <a:pt x="6" y="44"/>
                </a:lnTo>
                <a:lnTo>
                  <a:pt x="4" y="42"/>
                </a:lnTo>
                <a:lnTo>
                  <a:pt x="4" y="40"/>
                </a:lnTo>
                <a:lnTo>
                  <a:pt x="4" y="40"/>
                </a:lnTo>
                <a:lnTo>
                  <a:pt x="4" y="32"/>
                </a:lnTo>
                <a:lnTo>
                  <a:pt x="4" y="28"/>
                </a:lnTo>
                <a:lnTo>
                  <a:pt x="4" y="28"/>
                </a:lnTo>
                <a:lnTo>
                  <a:pt x="4" y="28"/>
                </a:lnTo>
                <a:lnTo>
                  <a:pt x="6" y="26"/>
                </a:lnTo>
                <a:lnTo>
                  <a:pt x="4" y="26"/>
                </a:lnTo>
                <a:lnTo>
                  <a:pt x="4" y="24"/>
                </a:lnTo>
                <a:lnTo>
                  <a:pt x="4" y="22"/>
                </a:lnTo>
                <a:lnTo>
                  <a:pt x="4" y="22"/>
                </a:lnTo>
                <a:lnTo>
                  <a:pt x="6" y="20"/>
                </a:lnTo>
                <a:lnTo>
                  <a:pt x="6" y="16"/>
                </a:lnTo>
                <a:lnTo>
                  <a:pt x="4" y="14"/>
                </a:lnTo>
                <a:lnTo>
                  <a:pt x="4" y="14"/>
                </a:lnTo>
                <a:lnTo>
                  <a:pt x="0" y="12"/>
                </a:lnTo>
                <a:lnTo>
                  <a:pt x="0" y="8"/>
                </a:lnTo>
                <a:lnTo>
                  <a:pt x="0" y="8"/>
                </a:lnTo>
                <a:lnTo>
                  <a:pt x="0" y="4"/>
                </a:lnTo>
                <a:lnTo>
                  <a:pt x="0" y="4"/>
                </a:lnTo>
                <a:lnTo>
                  <a:pt x="2" y="4"/>
                </a:lnTo>
                <a:lnTo>
                  <a:pt x="2" y="4"/>
                </a:lnTo>
                <a:lnTo>
                  <a:pt x="6" y="6"/>
                </a:lnTo>
                <a:lnTo>
                  <a:pt x="8" y="4"/>
                </a:lnTo>
                <a:lnTo>
                  <a:pt x="8" y="4"/>
                </a:lnTo>
                <a:lnTo>
                  <a:pt x="10" y="2"/>
                </a:lnTo>
                <a:lnTo>
                  <a:pt x="14" y="0"/>
                </a:lnTo>
                <a:lnTo>
                  <a:pt x="14" y="0"/>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02" name="Freeform 220"/>
          <p:cNvSpPr>
            <a:spLocks/>
          </p:cNvSpPr>
          <p:nvPr/>
        </p:nvSpPr>
        <p:spPr bwMode="auto">
          <a:xfrm>
            <a:off x="4755651" y="1582562"/>
            <a:ext cx="41019" cy="70560"/>
          </a:xfrm>
          <a:custGeom>
            <a:avLst/>
            <a:gdLst/>
            <a:ahLst/>
            <a:cxnLst>
              <a:cxn ang="0">
                <a:pos x="26" y="62"/>
              </a:cxn>
              <a:cxn ang="0">
                <a:pos x="18" y="56"/>
              </a:cxn>
              <a:cxn ang="0">
                <a:pos x="18" y="54"/>
              </a:cxn>
              <a:cxn ang="0">
                <a:pos x="14" y="52"/>
              </a:cxn>
              <a:cxn ang="0">
                <a:pos x="10" y="50"/>
              </a:cxn>
              <a:cxn ang="0">
                <a:pos x="8" y="44"/>
              </a:cxn>
              <a:cxn ang="0">
                <a:pos x="6" y="42"/>
              </a:cxn>
              <a:cxn ang="0">
                <a:pos x="8" y="42"/>
              </a:cxn>
              <a:cxn ang="0">
                <a:pos x="12" y="44"/>
              </a:cxn>
              <a:cxn ang="0">
                <a:pos x="12" y="42"/>
              </a:cxn>
              <a:cxn ang="0">
                <a:pos x="8" y="38"/>
              </a:cxn>
              <a:cxn ang="0">
                <a:pos x="6" y="36"/>
              </a:cxn>
              <a:cxn ang="0">
                <a:pos x="6" y="30"/>
              </a:cxn>
              <a:cxn ang="0">
                <a:pos x="6" y="30"/>
              </a:cxn>
              <a:cxn ang="0">
                <a:pos x="8" y="26"/>
              </a:cxn>
              <a:cxn ang="0">
                <a:pos x="8" y="26"/>
              </a:cxn>
              <a:cxn ang="0">
                <a:pos x="6" y="24"/>
              </a:cxn>
              <a:cxn ang="0">
                <a:pos x="6" y="20"/>
              </a:cxn>
              <a:cxn ang="0">
                <a:pos x="4" y="14"/>
              </a:cxn>
              <a:cxn ang="0">
                <a:pos x="2" y="12"/>
              </a:cxn>
              <a:cxn ang="0">
                <a:pos x="6" y="10"/>
              </a:cxn>
              <a:cxn ang="0">
                <a:pos x="4" y="10"/>
              </a:cxn>
              <a:cxn ang="0">
                <a:pos x="0" y="8"/>
              </a:cxn>
              <a:cxn ang="0">
                <a:pos x="2" y="6"/>
              </a:cxn>
              <a:cxn ang="0">
                <a:pos x="0" y="4"/>
              </a:cxn>
              <a:cxn ang="0">
                <a:pos x="0" y="2"/>
              </a:cxn>
              <a:cxn ang="0">
                <a:pos x="6" y="0"/>
              </a:cxn>
              <a:cxn ang="0">
                <a:pos x="12" y="0"/>
              </a:cxn>
              <a:cxn ang="0">
                <a:pos x="18" y="4"/>
              </a:cxn>
              <a:cxn ang="0">
                <a:pos x="20" y="10"/>
              </a:cxn>
              <a:cxn ang="0">
                <a:pos x="22" y="16"/>
              </a:cxn>
              <a:cxn ang="0">
                <a:pos x="24" y="18"/>
              </a:cxn>
              <a:cxn ang="0">
                <a:pos x="26" y="22"/>
              </a:cxn>
              <a:cxn ang="0">
                <a:pos x="32" y="26"/>
              </a:cxn>
              <a:cxn ang="0">
                <a:pos x="36" y="36"/>
              </a:cxn>
              <a:cxn ang="0">
                <a:pos x="36" y="40"/>
              </a:cxn>
              <a:cxn ang="0">
                <a:pos x="32" y="50"/>
              </a:cxn>
              <a:cxn ang="0">
                <a:pos x="30" y="56"/>
              </a:cxn>
              <a:cxn ang="0">
                <a:pos x="26" y="58"/>
              </a:cxn>
              <a:cxn ang="0">
                <a:pos x="26" y="60"/>
              </a:cxn>
              <a:cxn ang="0">
                <a:pos x="26" y="62"/>
              </a:cxn>
            </a:cxnLst>
            <a:rect l="0" t="0" r="r" b="b"/>
            <a:pathLst>
              <a:path w="36" h="62">
                <a:moveTo>
                  <a:pt x="26" y="62"/>
                </a:moveTo>
                <a:lnTo>
                  <a:pt x="26" y="62"/>
                </a:lnTo>
                <a:lnTo>
                  <a:pt x="22" y="60"/>
                </a:lnTo>
                <a:lnTo>
                  <a:pt x="18" y="56"/>
                </a:lnTo>
                <a:lnTo>
                  <a:pt x="18" y="54"/>
                </a:lnTo>
                <a:lnTo>
                  <a:pt x="18" y="54"/>
                </a:lnTo>
                <a:lnTo>
                  <a:pt x="16" y="52"/>
                </a:lnTo>
                <a:lnTo>
                  <a:pt x="14" y="52"/>
                </a:lnTo>
                <a:lnTo>
                  <a:pt x="12" y="52"/>
                </a:lnTo>
                <a:lnTo>
                  <a:pt x="10" y="50"/>
                </a:lnTo>
                <a:lnTo>
                  <a:pt x="10" y="50"/>
                </a:lnTo>
                <a:lnTo>
                  <a:pt x="8" y="44"/>
                </a:lnTo>
                <a:lnTo>
                  <a:pt x="6" y="42"/>
                </a:lnTo>
                <a:lnTo>
                  <a:pt x="6" y="42"/>
                </a:lnTo>
                <a:lnTo>
                  <a:pt x="6" y="40"/>
                </a:lnTo>
                <a:lnTo>
                  <a:pt x="8" y="42"/>
                </a:lnTo>
                <a:lnTo>
                  <a:pt x="8" y="42"/>
                </a:lnTo>
                <a:lnTo>
                  <a:pt x="12" y="44"/>
                </a:lnTo>
                <a:lnTo>
                  <a:pt x="12" y="44"/>
                </a:lnTo>
                <a:lnTo>
                  <a:pt x="12" y="42"/>
                </a:lnTo>
                <a:lnTo>
                  <a:pt x="12" y="42"/>
                </a:lnTo>
                <a:lnTo>
                  <a:pt x="8" y="38"/>
                </a:lnTo>
                <a:lnTo>
                  <a:pt x="6" y="36"/>
                </a:lnTo>
                <a:lnTo>
                  <a:pt x="6" y="36"/>
                </a:lnTo>
                <a:lnTo>
                  <a:pt x="6" y="32"/>
                </a:lnTo>
                <a:lnTo>
                  <a:pt x="6" y="30"/>
                </a:lnTo>
                <a:lnTo>
                  <a:pt x="6" y="30"/>
                </a:lnTo>
                <a:lnTo>
                  <a:pt x="6" y="30"/>
                </a:lnTo>
                <a:lnTo>
                  <a:pt x="8" y="26"/>
                </a:lnTo>
                <a:lnTo>
                  <a:pt x="8" y="26"/>
                </a:lnTo>
                <a:lnTo>
                  <a:pt x="8" y="26"/>
                </a:lnTo>
                <a:lnTo>
                  <a:pt x="8" y="26"/>
                </a:lnTo>
                <a:lnTo>
                  <a:pt x="6" y="26"/>
                </a:lnTo>
                <a:lnTo>
                  <a:pt x="6" y="24"/>
                </a:lnTo>
                <a:lnTo>
                  <a:pt x="6" y="20"/>
                </a:lnTo>
                <a:lnTo>
                  <a:pt x="6" y="20"/>
                </a:lnTo>
                <a:lnTo>
                  <a:pt x="6" y="16"/>
                </a:lnTo>
                <a:lnTo>
                  <a:pt x="4" y="14"/>
                </a:lnTo>
                <a:lnTo>
                  <a:pt x="2" y="12"/>
                </a:lnTo>
                <a:lnTo>
                  <a:pt x="2" y="12"/>
                </a:lnTo>
                <a:lnTo>
                  <a:pt x="2" y="12"/>
                </a:lnTo>
                <a:lnTo>
                  <a:pt x="6" y="10"/>
                </a:lnTo>
                <a:lnTo>
                  <a:pt x="6" y="10"/>
                </a:lnTo>
                <a:lnTo>
                  <a:pt x="4" y="10"/>
                </a:lnTo>
                <a:lnTo>
                  <a:pt x="4" y="10"/>
                </a:lnTo>
                <a:lnTo>
                  <a:pt x="0" y="8"/>
                </a:lnTo>
                <a:lnTo>
                  <a:pt x="0" y="8"/>
                </a:lnTo>
                <a:lnTo>
                  <a:pt x="2" y="6"/>
                </a:lnTo>
                <a:lnTo>
                  <a:pt x="2" y="6"/>
                </a:lnTo>
                <a:lnTo>
                  <a:pt x="0" y="4"/>
                </a:lnTo>
                <a:lnTo>
                  <a:pt x="0" y="4"/>
                </a:lnTo>
                <a:lnTo>
                  <a:pt x="0" y="2"/>
                </a:lnTo>
                <a:lnTo>
                  <a:pt x="0" y="2"/>
                </a:lnTo>
                <a:lnTo>
                  <a:pt x="6" y="0"/>
                </a:lnTo>
                <a:lnTo>
                  <a:pt x="6" y="0"/>
                </a:lnTo>
                <a:lnTo>
                  <a:pt x="12" y="0"/>
                </a:lnTo>
                <a:lnTo>
                  <a:pt x="16" y="2"/>
                </a:lnTo>
                <a:lnTo>
                  <a:pt x="18" y="4"/>
                </a:lnTo>
                <a:lnTo>
                  <a:pt x="18" y="4"/>
                </a:lnTo>
                <a:lnTo>
                  <a:pt x="20" y="10"/>
                </a:lnTo>
                <a:lnTo>
                  <a:pt x="22" y="16"/>
                </a:lnTo>
                <a:lnTo>
                  <a:pt x="22" y="16"/>
                </a:lnTo>
                <a:lnTo>
                  <a:pt x="22" y="18"/>
                </a:lnTo>
                <a:lnTo>
                  <a:pt x="24" y="18"/>
                </a:lnTo>
                <a:lnTo>
                  <a:pt x="24" y="20"/>
                </a:lnTo>
                <a:lnTo>
                  <a:pt x="26" y="22"/>
                </a:lnTo>
                <a:lnTo>
                  <a:pt x="26" y="22"/>
                </a:lnTo>
                <a:lnTo>
                  <a:pt x="32" y="26"/>
                </a:lnTo>
                <a:lnTo>
                  <a:pt x="34" y="30"/>
                </a:lnTo>
                <a:lnTo>
                  <a:pt x="36" y="36"/>
                </a:lnTo>
                <a:lnTo>
                  <a:pt x="36" y="36"/>
                </a:lnTo>
                <a:lnTo>
                  <a:pt x="36" y="40"/>
                </a:lnTo>
                <a:lnTo>
                  <a:pt x="34" y="44"/>
                </a:lnTo>
                <a:lnTo>
                  <a:pt x="32" y="50"/>
                </a:lnTo>
                <a:lnTo>
                  <a:pt x="32" y="50"/>
                </a:lnTo>
                <a:lnTo>
                  <a:pt x="30" y="56"/>
                </a:lnTo>
                <a:lnTo>
                  <a:pt x="26" y="58"/>
                </a:lnTo>
                <a:lnTo>
                  <a:pt x="26" y="58"/>
                </a:lnTo>
                <a:lnTo>
                  <a:pt x="26" y="58"/>
                </a:lnTo>
                <a:lnTo>
                  <a:pt x="26" y="60"/>
                </a:lnTo>
                <a:lnTo>
                  <a:pt x="26" y="60"/>
                </a:lnTo>
                <a:lnTo>
                  <a:pt x="26" y="62"/>
                </a:lnTo>
                <a:lnTo>
                  <a:pt x="26" y="62"/>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03" name="Freeform 225"/>
          <p:cNvSpPr>
            <a:spLocks/>
          </p:cNvSpPr>
          <p:nvPr/>
        </p:nvSpPr>
        <p:spPr bwMode="auto">
          <a:xfrm>
            <a:off x="4730584" y="1298046"/>
            <a:ext cx="56971" cy="18209"/>
          </a:xfrm>
          <a:custGeom>
            <a:avLst/>
            <a:gdLst/>
            <a:ahLst/>
            <a:cxnLst>
              <a:cxn ang="0">
                <a:pos x="2" y="14"/>
              </a:cxn>
              <a:cxn ang="0">
                <a:pos x="2" y="14"/>
              </a:cxn>
              <a:cxn ang="0">
                <a:pos x="4" y="12"/>
              </a:cxn>
              <a:cxn ang="0">
                <a:pos x="8" y="12"/>
              </a:cxn>
              <a:cxn ang="0">
                <a:pos x="8" y="12"/>
              </a:cxn>
              <a:cxn ang="0">
                <a:pos x="8" y="10"/>
              </a:cxn>
              <a:cxn ang="0">
                <a:pos x="6" y="10"/>
              </a:cxn>
              <a:cxn ang="0">
                <a:pos x="2" y="10"/>
              </a:cxn>
              <a:cxn ang="0">
                <a:pos x="2" y="10"/>
              </a:cxn>
              <a:cxn ang="0">
                <a:pos x="2" y="10"/>
              </a:cxn>
              <a:cxn ang="0">
                <a:pos x="0" y="8"/>
              </a:cxn>
              <a:cxn ang="0">
                <a:pos x="0" y="8"/>
              </a:cxn>
              <a:cxn ang="0">
                <a:pos x="0" y="8"/>
              </a:cxn>
              <a:cxn ang="0">
                <a:pos x="4" y="8"/>
              </a:cxn>
              <a:cxn ang="0">
                <a:pos x="4" y="8"/>
              </a:cxn>
              <a:cxn ang="0">
                <a:pos x="8" y="8"/>
              </a:cxn>
              <a:cxn ang="0">
                <a:pos x="10" y="6"/>
              </a:cxn>
              <a:cxn ang="0">
                <a:pos x="10" y="6"/>
              </a:cxn>
              <a:cxn ang="0">
                <a:pos x="14" y="4"/>
              </a:cxn>
              <a:cxn ang="0">
                <a:pos x="18" y="2"/>
              </a:cxn>
              <a:cxn ang="0">
                <a:pos x="18" y="2"/>
              </a:cxn>
              <a:cxn ang="0">
                <a:pos x="20" y="0"/>
              </a:cxn>
              <a:cxn ang="0">
                <a:pos x="20" y="0"/>
              </a:cxn>
              <a:cxn ang="0">
                <a:pos x="20" y="4"/>
              </a:cxn>
              <a:cxn ang="0">
                <a:pos x="20" y="6"/>
              </a:cxn>
              <a:cxn ang="0">
                <a:pos x="24" y="2"/>
              </a:cxn>
              <a:cxn ang="0">
                <a:pos x="24" y="2"/>
              </a:cxn>
              <a:cxn ang="0">
                <a:pos x="28" y="4"/>
              </a:cxn>
              <a:cxn ang="0">
                <a:pos x="30" y="4"/>
              </a:cxn>
              <a:cxn ang="0">
                <a:pos x="30" y="4"/>
              </a:cxn>
              <a:cxn ang="0">
                <a:pos x="38" y="4"/>
              </a:cxn>
              <a:cxn ang="0">
                <a:pos x="44" y="2"/>
              </a:cxn>
              <a:cxn ang="0">
                <a:pos x="48" y="4"/>
              </a:cxn>
              <a:cxn ang="0">
                <a:pos x="48" y="4"/>
              </a:cxn>
              <a:cxn ang="0">
                <a:pos x="50" y="6"/>
              </a:cxn>
              <a:cxn ang="0">
                <a:pos x="50" y="8"/>
              </a:cxn>
              <a:cxn ang="0">
                <a:pos x="48" y="12"/>
              </a:cxn>
              <a:cxn ang="0">
                <a:pos x="48" y="12"/>
              </a:cxn>
              <a:cxn ang="0">
                <a:pos x="46" y="14"/>
              </a:cxn>
              <a:cxn ang="0">
                <a:pos x="42" y="14"/>
              </a:cxn>
              <a:cxn ang="0">
                <a:pos x="38" y="12"/>
              </a:cxn>
              <a:cxn ang="0">
                <a:pos x="32" y="14"/>
              </a:cxn>
              <a:cxn ang="0">
                <a:pos x="32" y="14"/>
              </a:cxn>
              <a:cxn ang="0">
                <a:pos x="28" y="16"/>
              </a:cxn>
              <a:cxn ang="0">
                <a:pos x="22" y="16"/>
              </a:cxn>
              <a:cxn ang="0">
                <a:pos x="16" y="14"/>
              </a:cxn>
              <a:cxn ang="0">
                <a:pos x="2" y="14"/>
              </a:cxn>
              <a:cxn ang="0">
                <a:pos x="2" y="14"/>
              </a:cxn>
            </a:cxnLst>
            <a:rect l="0" t="0" r="r" b="b"/>
            <a:pathLst>
              <a:path w="50" h="16">
                <a:moveTo>
                  <a:pt x="2" y="14"/>
                </a:moveTo>
                <a:lnTo>
                  <a:pt x="2" y="14"/>
                </a:lnTo>
                <a:lnTo>
                  <a:pt x="4" y="12"/>
                </a:lnTo>
                <a:lnTo>
                  <a:pt x="8" y="12"/>
                </a:lnTo>
                <a:lnTo>
                  <a:pt x="8" y="12"/>
                </a:lnTo>
                <a:lnTo>
                  <a:pt x="8" y="10"/>
                </a:lnTo>
                <a:lnTo>
                  <a:pt x="6" y="10"/>
                </a:lnTo>
                <a:lnTo>
                  <a:pt x="2" y="10"/>
                </a:lnTo>
                <a:lnTo>
                  <a:pt x="2" y="10"/>
                </a:lnTo>
                <a:lnTo>
                  <a:pt x="2" y="10"/>
                </a:lnTo>
                <a:lnTo>
                  <a:pt x="0" y="8"/>
                </a:lnTo>
                <a:lnTo>
                  <a:pt x="0" y="8"/>
                </a:lnTo>
                <a:lnTo>
                  <a:pt x="0" y="8"/>
                </a:lnTo>
                <a:lnTo>
                  <a:pt x="4" y="8"/>
                </a:lnTo>
                <a:lnTo>
                  <a:pt x="4" y="8"/>
                </a:lnTo>
                <a:lnTo>
                  <a:pt x="8" y="8"/>
                </a:lnTo>
                <a:lnTo>
                  <a:pt x="10" y="6"/>
                </a:lnTo>
                <a:lnTo>
                  <a:pt x="10" y="6"/>
                </a:lnTo>
                <a:lnTo>
                  <a:pt x="14" y="4"/>
                </a:lnTo>
                <a:lnTo>
                  <a:pt x="18" y="2"/>
                </a:lnTo>
                <a:lnTo>
                  <a:pt x="18" y="2"/>
                </a:lnTo>
                <a:lnTo>
                  <a:pt x="20" y="0"/>
                </a:lnTo>
                <a:lnTo>
                  <a:pt x="20" y="0"/>
                </a:lnTo>
                <a:lnTo>
                  <a:pt x="20" y="4"/>
                </a:lnTo>
                <a:lnTo>
                  <a:pt x="20" y="6"/>
                </a:lnTo>
                <a:lnTo>
                  <a:pt x="24" y="2"/>
                </a:lnTo>
                <a:lnTo>
                  <a:pt x="24" y="2"/>
                </a:lnTo>
                <a:lnTo>
                  <a:pt x="28" y="4"/>
                </a:lnTo>
                <a:lnTo>
                  <a:pt x="30" y="4"/>
                </a:lnTo>
                <a:lnTo>
                  <a:pt x="30" y="4"/>
                </a:lnTo>
                <a:lnTo>
                  <a:pt x="38" y="4"/>
                </a:lnTo>
                <a:lnTo>
                  <a:pt x="44" y="2"/>
                </a:lnTo>
                <a:lnTo>
                  <a:pt x="48" y="4"/>
                </a:lnTo>
                <a:lnTo>
                  <a:pt x="48" y="4"/>
                </a:lnTo>
                <a:lnTo>
                  <a:pt x="50" y="6"/>
                </a:lnTo>
                <a:lnTo>
                  <a:pt x="50" y="8"/>
                </a:lnTo>
                <a:lnTo>
                  <a:pt x="48" y="12"/>
                </a:lnTo>
                <a:lnTo>
                  <a:pt x="48" y="12"/>
                </a:lnTo>
                <a:lnTo>
                  <a:pt x="46" y="14"/>
                </a:lnTo>
                <a:lnTo>
                  <a:pt x="42" y="14"/>
                </a:lnTo>
                <a:lnTo>
                  <a:pt x="38" y="12"/>
                </a:lnTo>
                <a:lnTo>
                  <a:pt x="32" y="14"/>
                </a:lnTo>
                <a:lnTo>
                  <a:pt x="32" y="14"/>
                </a:lnTo>
                <a:lnTo>
                  <a:pt x="28" y="16"/>
                </a:lnTo>
                <a:lnTo>
                  <a:pt x="22" y="16"/>
                </a:lnTo>
                <a:lnTo>
                  <a:pt x="16" y="14"/>
                </a:lnTo>
                <a:lnTo>
                  <a:pt x="2" y="14"/>
                </a:lnTo>
                <a:lnTo>
                  <a:pt x="2" y="14"/>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04" name="Freeform 233"/>
          <p:cNvSpPr>
            <a:spLocks/>
          </p:cNvSpPr>
          <p:nvPr/>
        </p:nvSpPr>
        <p:spPr bwMode="auto">
          <a:xfrm>
            <a:off x="4803506" y="1261628"/>
            <a:ext cx="200536" cy="111530"/>
          </a:xfrm>
          <a:custGeom>
            <a:avLst/>
            <a:gdLst/>
            <a:ahLst/>
            <a:cxnLst>
              <a:cxn ang="0">
                <a:pos x="144" y="58"/>
              </a:cxn>
              <a:cxn ang="0">
                <a:pos x="146" y="50"/>
              </a:cxn>
              <a:cxn ang="0">
                <a:pos x="152" y="52"/>
              </a:cxn>
              <a:cxn ang="0">
                <a:pos x="168" y="52"/>
              </a:cxn>
              <a:cxn ang="0">
                <a:pos x="176" y="46"/>
              </a:cxn>
              <a:cxn ang="0">
                <a:pos x="172" y="42"/>
              </a:cxn>
              <a:cxn ang="0">
                <a:pos x="162" y="36"/>
              </a:cxn>
              <a:cxn ang="0">
                <a:pos x="154" y="36"/>
              </a:cxn>
              <a:cxn ang="0">
                <a:pos x="152" y="34"/>
              </a:cxn>
              <a:cxn ang="0">
                <a:pos x="148" y="30"/>
              </a:cxn>
              <a:cxn ang="0">
                <a:pos x="140" y="30"/>
              </a:cxn>
              <a:cxn ang="0">
                <a:pos x="124" y="22"/>
              </a:cxn>
              <a:cxn ang="0">
                <a:pos x="120" y="16"/>
              </a:cxn>
              <a:cxn ang="0">
                <a:pos x="116" y="10"/>
              </a:cxn>
              <a:cxn ang="0">
                <a:pos x="114" y="4"/>
              </a:cxn>
              <a:cxn ang="0">
                <a:pos x="106" y="0"/>
              </a:cxn>
              <a:cxn ang="0">
                <a:pos x="96" y="6"/>
              </a:cxn>
              <a:cxn ang="0">
                <a:pos x="90" y="6"/>
              </a:cxn>
              <a:cxn ang="0">
                <a:pos x="88" y="4"/>
              </a:cxn>
              <a:cxn ang="0">
                <a:pos x="68" y="2"/>
              </a:cxn>
              <a:cxn ang="0">
                <a:pos x="66" y="6"/>
              </a:cxn>
              <a:cxn ang="0">
                <a:pos x="68" y="14"/>
              </a:cxn>
              <a:cxn ang="0">
                <a:pos x="58" y="16"/>
              </a:cxn>
              <a:cxn ang="0">
                <a:pos x="52" y="22"/>
              </a:cxn>
              <a:cxn ang="0">
                <a:pos x="50" y="28"/>
              </a:cxn>
              <a:cxn ang="0">
                <a:pos x="52" y="32"/>
              </a:cxn>
              <a:cxn ang="0">
                <a:pos x="42" y="34"/>
              </a:cxn>
              <a:cxn ang="0">
                <a:pos x="36" y="38"/>
              </a:cxn>
              <a:cxn ang="0">
                <a:pos x="30" y="44"/>
              </a:cxn>
              <a:cxn ang="0">
                <a:pos x="30" y="50"/>
              </a:cxn>
              <a:cxn ang="0">
                <a:pos x="32" y="54"/>
              </a:cxn>
              <a:cxn ang="0">
                <a:pos x="26" y="54"/>
              </a:cxn>
              <a:cxn ang="0">
                <a:pos x="16" y="56"/>
              </a:cxn>
              <a:cxn ang="0">
                <a:pos x="0" y="52"/>
              </a:cxn>
              <a:cxn ang="0">
                <a:pos x="4" y="62"/>
              </a:cxn>
              <a:cxn ang="0">
                <a:pos x="10" y="68"/>
              </a:cxn>
              <a:cxn ang="0">
                <a:pos x="4" y="76"/>
              </a:cxn>
              <a:cxn ang="0">
                <a:pos x="4" y="86"/>
              </a:cxn>
              <a:cxn ang="0">
                <a:pos x="12" y="92"/>
              </a:cxn>
              <a:cxn ang="0">
                <a:pos x="26" y="90"/>
              </a:cxn>
              <a:cxn ang="0">
                <a:pos x="44" y="88"/>
              </a:cxn>
              <a:cxn ang="0">
                <a:pos x="76" y="98"/>
              </a:cxn>
              <a:cxn ang="0">
                <a:pos x="92" y="92"/>
              </a:cxn>
              <a:cxn ang="0">
                <a:pos x="96" y="96"/>
              </a:cxn>
              <a:cxn ang="0">
                <a:pos x="106" y="94"/>
              </a:cxn>
              <a:cxn ang="0">
                <a:pos x="112" y="92"/>
              </a:cxn>
              <a:cxn ang="0">
                <a:pos x="118" y="88"/>
              </a:cxn>
              <a:cxn ang="0">
                <a:pos x="126" y="90"/>
              </a:cxn>
              <a:cxn ang="0">
                <a:pos x="142" y="92"/>
              </a:cxn>
              <a:cxn ang="0">
                <a:pos x="144" y="88"/>
              </a:cxn>
              <a:cxn ang="0">
                <a:pos x="140" y="72"/>
              </a:cxn>
              <a:cxn ang="0">
                <a:pos x="154" y="70"/>
              </a:cxn>
            </a:cxnLst>
            <a:rect l="0" t="0" r="r" b="b"/>
            <a:pathLst>
              <a:path w="176" h="98">
                <a:moveTo>
                  <a:pt x="154" y="70"/>
                </a:moveTo>
                <a:lnTo>
                  <a:pt x="154" y="70"/>
                </a:lnTo>
                <a:lnTo>
                  <a:pt x="144" y="58"/>
                </a:lnTo>
                <a:lnTo>
                  <a:pt x="144" y="54"/>
                </a:lnTo>
                <a:lnTo>
                  <a:pt x="144" y="52"/>
                </a:lnTo>
                <a:lnTo>
                  <a:pt x="146" y="50"/>
                </a:lnTo>
                <a:lnTo>
                  <a:pt x="148" y="50"/>
                </a:lnTo>
                <a:lnTo>
                  <a:pt x="152" y="52"/>
                </a:lnTo>
                <a:lnTo>
                  <a:pt x="152" y="52"/>
                </a:lnTo>
                <a:lnTo>
                  <a:pt x="156" y="54"/>
                </a:lnTo>
                <a:lnTo>
                  <a:pt x="160" y="54"/>
                </a:lnTo>
                <a:lnTo>
                  <a:pt x="168" y="52"/>
                </a:lnTo>
                <a:lnTo>
                  <a:pt x="168" y="52"/>
                </a:lnTo>
                <a:lnTo>
                  <a:pt x="174" y="50"/>
                </a:lnTo>
                <a:lnTo>
                  <a:pt x="176" y="46"/>
                </a:lnTo>
                <a:lnTo>
                  <a:pt x="174" y="44"/>
                </a:lnTo>
                <a:lnTo>
                  <a:pt x="172" y="42"/>
                </a:lnTo>
                <a:lnTo>
                  <a:pt x="172" y="42"/>
                </a:lnTo>
                <a:lnTo>
                  <a:pt x="168" y="40"/>
                </a:lnTo>
                <a:lnTo>
                  <a:pt x="166" y="40"/>
                </a:lnTo>
                <a:lnTo>
                  <a:pt x="162" y="36"/>
                </a:lnTo>
                <a:lnTo>
                  <a:pt x="162" y="36"/>
                </a:lnTo>
                <a:lnTo>
                  <a:pt x="158" y="36"/>
                </a:lnTo>
                <a:lnTo>
                  <a:pt x="154" y="36"/>
                </a:lnTo>
                <a:lnTo>
                  <a:pt x="154" y="36"/>
                </a:lnTo>
                <a:lnTo>
                  <a:pt x="150" y="34"/>
                </a:lnTo>
                <a:lnTo>
                  <a:pt x="152" y="34"/>
                </a:lnTo>
                <a:lnTo>
                  <a:pt x="152" y="32"/>
                </a:lnTo>
                <a:lnTo>
                  <a:pt x="148" y="30"/>
                </a:lnTo>
                <a:lnTo>
                  <a:pt x="148" y="30"/>
                </a:lnTo>
                <a:lnTo>
                  <a:pt x="144" y="30"/>
                </a:lnTo>
                <a:lnTo>
                  <a:pt x="140" y="30"/>
                </a:lnTo>
                <a:lnTo>
                  <a:pt x="140" y="30"/>
                </a:lnTo>
                <a:lnTo>
                  <a:pt x="126" y="24"/>
                </a:lnTo>
                <a:lnTo>
                  <a:pt x="124" y="22"/>
                </a:lnTo>
                <a:lnTo>
                  <a:pt x="124" y="22"/>
                </a:lnTo>
                <a:lnTo>
                  <a:pt x="124" y="22"/>
                </a:lnTo>
                <a:lnTo>
                  <a:pt x="124" y="18"/>
                </a:lnTo>
                <a:lnTo>
                  <a:pt x="120" y="16"/>
                </a:lnTo>
                <a:lnTo>
                  <a:pt x="120" y="16"/>
                </a:lnTo>
                <a:lnTo>
                  <a:pt x="116" y="12"/>
                </a:lnTo>
                <a:lnTo>
                  <a:pt x="116" y="10"/>
                </a:lnTo>
                <a:lnTo>
                  <a:pt x="118" y="8"/>
                </a:lnTo>
                <a:lnTo>
                  <a:pt x="118" y="6"/>
                </a:lnTo>
                <a:lnTo>
                  <a:pt x="114" y="4"/>
                </a:lnTo>
                <a:lnTo>
                  <a:pt x="114" y="4"/>
                </a:lnTo>
                <a:lnTo>
                  <a:pt x="110" y="2"/>
                </a:lnTo>
                <a:lnTo>
                  <a:pt x="106" y="0"/>
                </a:lnTo>
                <a:lnTo>
                  <a:pt x="104" y="0"/>
                </a:lnTo>
                <a:lnTo>
                  <a:pt x="104" y="0"/>
                </a:lnTo>
                <a:lnTo>
                  <a:pt x="96" y="6"/>
                </a:lnTo>
                <a:lnTo>
                  <a:pt x="92" y="8"/>
                </a:lnTo>
                <a:lnTo>
                  <a:pt x="92" y="8"/>
                </a:lnTo>
                <a:lnTo>
                  <a:pt x="90" y="6"/>
                </a:lnTo>
                <a:lnTo>
                  <a:pt x="90" y="6"/>
                </a:lnTo>
                <a:lnTo>
                  <a:pt x="90" y="6"/>
                </a:lnTo>
                <a:lnTo>
                  <a:pt x="88" y="4"/>
                </a:lnTo>
                <a:lnTo>
                  <a:pt x="80" y="4"/>
                </a:lnTo>
                <a:lnTo>
                  <a:pt x="72" y="4"/>
                </a:lnTo>
                <a:lnTo>
                  <a:pt x="68" y="2"/>
                </a:lnTo>
                <a:lnTo>
                  <a:pt x="68" y="2"/>
                </a:lnTo>
                <a:lnTo>
                  <a:pt x="66" y="4"/>
                </a:lnTo>
                <a:lnTo>
                  <a:pt x="66" y="6"/>
                </a:lnTo>
                <a:lnTo>
                  <a:pt x="68" y="10"/>
                </a:lnTo>
                <a:lnTo>
                  <a:pt x="70" y="14"/>
                </a:lnTo>
                <a:lnTo>
                  <a:pt x="68" y="14"/>
                </a:lnTo>
                <a:lnTo>
                  <a:pt x="64" y="14"/>
                </a:lnTo>
                <a:lnTo>
                  <a:pt x="64" y="14"/>
                </a:lnTo>
                <a:lnTo>
                  <a:pt x="58" y="16"/>
                </a:lnTo>
                <a:lnTo>
                  <a:pt x="56" y="18"/>
                </a:lnTo>
                <a:lnTo>
                  <a:pt x="56" y="20"/>
                </a:lnTo>
                <a:lnTo>
                  <a:pt x="52" y="22"/>
                </a:lnTo>
                <a:lnTo>
                  <a:pt x="52" y="22"/>
                </a:lnTo>
                <a:lnTo>
                  <a:pt x="50" y="26"/>
                </a:lnTo>
                <a:lnTo>
                  <a:pt x="50" y="28"/>
                </a:lnTo>
                <a:lnTo>
                  <a:pt x="52" y="28"/>
                </a:lnTo>
                <a:lnTo>
                  <a:pt x="52" y="32"/>
                </a:lnTo>
                <a:lnTo>
                  <a:pt x="52" y="32"/>
                </a:lnTo>
                <a:lnTo>
                  <a:pt x="50" y="34"/>
                </a:lnTo>
                <a:lnTo>
                  <a:pt x="46" y="34"/>
                </a:lnTo>
                <a:lnTo>
                  <a:pt x="42" y="34"/>
                </a:lnTo>
                <a:lnTo>
                  <a:pt x="40" y="36"/>
                </a:lnTo>
                <a:lnTo>
                  <a:pt x="40" y="36"/>
                </a:lnTo>
                <a:lnTo>
                  <a:pt x="36" y="38"/>
                </a:lnTo>
                <a:lnTo>
                  <a:pt x="34" y="38"/>
                </a:lnTo>
                <a:lnTo>
                  <a:pt x="32" y="40"/>
                </a:lnTo>
                <a:lnTo>
                  <a:pt x="30" y="44"/>
                </a:lnTo>
                <a:lnTo>
                  <a:pt x="30" y="44"/>
                </a:lnTo>
                <a:lnTo>
                  <a:pt x="30" y="48"/>
                </a:lnTo>
                <a:lnTo>
                  <a:pt x="30" y="50"/>
                </a:lnTo>
                <a:lnTo>
                  <a:pt x="32" y="52"/>
                </a:lnTo>
                <a:lnTo>
                  <a:pt x="32" y="54"/>
                </a:lnTo>
                <a:lnTo>
                  <a:pt x="32" y="54"/>
                </a:lnTo>
                <a:lnTo>
                  <a:pt x="30" y="54"/>
                </a:lnTo>
                <a:lnTo>
                  <a:pt x="28" y="54"/>
                </a:lnTo>
                <a:lnTo>
                  <a:pt x="26" y="54"/>
                </a:lnTo>
                <a:lnTo>
                  <a:pt x="22" y="54"/>
                </a:lnTo>
                <a:lnTo>
                  <a:pt x="22" y="54"/>
                </a:lnTo>
                <a:lnTo>
                  <a:pt x="16" y="56"/>
                </a:lnTo>
                <a:lnTo>
                  <a:pt x="12" y="56"/>
                </a:lnTo>
                <a:lnTo>
                  <a:pt x="8" y="54"/>
                </a:lnTo>
                <a:lnTo>
                  <a:pt x="0" y="52"/>
                </a:lnTo>
                <a:lnTo>
                  <a:pt x="0" y="52"/>
                </a:lnTo>
                <a:lnTo>
                  <a:pt x="2" y="56"/>
                </a:lnTo>
                <a:lnTo>
                  <a:pt x="4" y="62"/>
                </a:lnTo>
                <a:lnTo>
                  <a:pt x="4" y="62"/>
                </a:lnTo>
                <a:lnTo>
                  <a:pt x="8" y="64"/>
                </a:lnTo>
                <a:lnTo>
                  <a:pt x="10" y="68"/>
                </a:lnTo>
                <a:lnTo>
                  <a:pt x="10" y="72"/>
                </a:lnTo>
                <a:lnTo>
                  <a:pt x="4" y="76"/>
                </a:lnTo>
                <a:lnTo>
                  <a:pt x="4" y="76"/>
                </a:lnTo>
                <a:lnTo>
                  <a:pt x="0" y="78"/>
                </a:lnTo>
                <a:lnTo>
                  <a:pt x="0" y="82"/>
                </a:lnTo>
                <a:lnTo>
                  <a:pt x="4" y="86"/>
                </a:lnTo>
                <a:lnTo>
                  <a:pt x="6" y="96"/>
                </a:lnTo>
                <a:lnTo>
                  <a:pt x="6" y="96"/>
                </a:lnTo>
                <a:lnTo>
                  <a:pt x="12" y="92"/>
                </a:lnTo>
                <a:lnTo>
                  <a:pt x="14" y="92"/>
                </a:lnTo>
                <a:lnTo>
                  <a:pt x="16" y="94"/>
                </a:lnTo>
                <a:lnTo>
                  <a:pt x="26" y="90"/>
                </a:lnTo>
                <a:lnTo>
                  <a:pt x="26" y="90"/>
                </a:lnTo>
                <a:lnTo>
                  <a:pt x="36" y="88"/>
                </a:lnTo>
                <a:lnTo>
                  <a:pt x="44" y="88"/>
                </a:lnTo>
                <a:lnTo>
                  <a:pt x="58" y="92"/>
                </a:lnTo>
                <a:lnTo>
                  <a:pt x="70" y="96"/>
                </a:lnTo>
                <a:lnTo>
                  <a:pt x="76" y="98"/>
                </a:lnTo>
                <a:lnTo>
                  <a:pt x="84" y="96"/>
                </a:lnTo>
                <a:lnTo>
                  <a:pt x="84" y="96"/>
                </a:lnTo>
                <a:lnTo>
                  <a:pt x="92" y="92"/>
                </a:lnTo>
                <a:lnTo>
                  <a:pt x="94" y="94"/>
                </a:lnTo>
                <a:lnTo>
                  <a:pt x="94" y="94"/>
                </a:lnTo>
                <a:lnTo>
                  <a:pt x="96" y="96"/>
                </a:lnTo>
                <a:lnTo>
                  <a:pt x="100" y="96"/>
                </a:lnTo>
                <a:lnTo>
                  <a:pt x="100" y="96"/>
                </a:lnTo>
                <a:lnTo>
                  <a:pt x="106" y="94"/>
                </a:lnTo>
                <a:lnTo>
                  <a:pt x="106" y="94"/>
                </a:lnTo>
                <a:lnTo>
                  <a:pt x="108" y="96"/>
                </a:lnTo>
                <a:lnTo>
                  <a:pt x="112" y="92"/>
                </a:lnTo>
                <a:lnTo>
                  <a:pt x="112" y="92"/>
                </a:lnTo>
                <a:lnTo>
                  <a:pt x="116" y="88"/>
                </a:lnTo>
                <a:lnTo>
                  <a:pt x="118" y="88"/>
                </a:lnTo>
                <a:lnTo>
                  <a:pt x="120" y="90"/>
                </a:lnTo>
                <a:lnTo>
                  <a:pt x="126" y="90"/>
                </a:lnTo>
                <a:lnTo>
                  <a:pt x="126" y="90"/>
                </a:lnTo>
                <a:lnTo>
                  <a:pt x="132" y="90"/>
                </a:lnTo>
                <a:lnTo>
                  <a:pt x="138" y="92"/>
                </a:lnTo>
                <a:lnTo>
                  <a:pt x="142" y="92"/>
                </a:lnTo>
                <a:lnTo>
                  <a:pt x="144" y="90"/>
                </a:lnTo>
                <a:lnTo>
                  <a:pt x="144" y="88"/>
                </a:lnTo>
                <a:lnTo>
                  <a:pt x="144" y="88"/>
                </a:lnTo>
                <a:lnTo>
                  <a:pt x="142" y="82"/>
                </a:lnTo>
                <a:lnTo>
                  <a:pt x="140" y="76"/>
                </a:lnTo>
                <a:lnTo>
                  <a:pt x="140" y="72"/>
                </a:lnTo>
                <a:lnTo>
                  <a:pt x="142" y="70"/>
                </a:lnTo>
                <a:lnTo>
                  <a:pt x="146" y="70"/>
                </a:lnTo>
                <a:lnTo>
                  <a:pt x="154" y="70"/>
                </a:lnTo>
                <a:lnTo>
                  <a:pt x="154" y="70"/>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05" name="Freeform 237"/>
          <p:cNvSpPr>
            <a:spLocks/>
          </p:cNvSpPr>
          <p:nvPr/>
        </p:nvSpPr>
        <p:spPr bwMode="auto">
          <a:xfrm>
            <a:off x="5179512" y="1543867"/>
            <a:ext cx="175469" cy="68284"/>
          </a:xfrm>
          <a:custGeom>
            <a:avLst/>
            <a:gdLst/>
            <a:ahLst/>
            <a:cxnLst>
              <a:cxn ang="0">
                <a:pos x="0" y="2"/>
              </a:cxn>
              <a:cxn ang="0">
                <a:pos x="10" y="6"/>
              </a:cxn>
              <a:cxn ang="0">
                <a:pos x="28" y="16"/>
              </a:cxn>
              <a:cxn ang="0">
                <a:pos x="36" y="20"/>
              </a:cxn>
              <a:cxn ang="0">
                <a:pos x="44" y="22"/>
              </a:cxn>
              <a:cxn ang="0">
                <a:pos x="46" y="26"/>
              </a:cxn>
              <a:cxn ang="0">
                <a:pos x="50" y="30"/>
              </a:cxn>
              <a:cxn ang="0">
                <a:pos x="54" y="38"/>
              </a:cxn>
              <a:cxn ang="0">
                <a:pos x="54" y="48"/>
              </a:cxn>
              <a:cxn ang="0">
                <a:pos x="62" y="48"/>
              </a:cxn>
              <a:cxn ang="0">
                <a:pos x="78" y="52"/>
              </a:cxn>
              <a:cxn ang="0">
                <a:pos x="88" y="50"/>
              </a:cxn>
              <a:cxn ang="0">
                <a:pos x="92" y="50"/>
              </a:cxn>
              <a:cxn ang="0">
                <a:pos x="90" y="56"/>
              </a:cxn>
              <a:cxn ang="0">
                <a:pos x="94" y="60"/>
              </a:cxn>
              <a:cxn ang="0">
                <a:pos x="100" y="60"/>
              </a:cxn>
              <a:cxn ang="0">
                <a:pos x="128" y="58"/>
              </a:cxn>
              <a:cxn ang="0">
                <a:pos x="138" y="58"/>
              </a:cxn>
              <a:cxn ang="0">
                <a:pos x="148" y="60"/>
              </a:cxn>
              <a:cxn ang="0">
                <a:pos x="154" y="60"/>
              </a:cxn>
              <a:cxn ang="0">
                <a:pos x="152" y="54"/>
              </a:cxn>
              <a:cxn ang="0">
                <a:pos x="150" y="46"/>
              </a:cxn>
              <a:cxn ang="0">
                <a:pos x="128" y="32"/>
              </a:cxn>
              <a:cxn ang="0">
                <a:pos x="116" y="24"/>
              </a:cxn>
              <a:cxn ang="0">
                <a:pos x="108" y="22"/>
              </a:cxn>
              <a:cxn ang="0">
                <a:pos x="94" y="24"/>
              </a:cxn>
              <a:cxn ang="0">
                <a:pos x="78" y="18"/>
              </a:cxn>
              <a:cxn ang="0">
                <a:pos x="72" y="14"/>
              </a:cxn>
              <a:cxn ang="0">
                <a:pos x="54" y="10"/>
              </a:cxn>
              <a:cxn ang="0">
                <a:pos x="24" y="4"/>
              </a:cxn>
              <a:cxn ang="0">
                <a:pos x="14" y="0"/>
              </a:cxn>
              <a:cxn ang="0">
                <a:pos x="2" y="2"/>
              </a:cxn>
              <a:cxn ang="0">
                <a:pos x="0" y="2"/>
              </a:cxn>
            </a:cxnLst>
            <a:rect l="0" t="0" r="r" b="b"/>
            <a:pathLst>
              <a:path w="154" h="60">
                <a:moveTo>
                  <a:pt x="0" y="2"/>
                </a:moveTo>
                <a:lnTo>
                  <a:pt x="0" y="2"/>
                </a:lnTo>
                <a:lnTo>
                  <a:pt x="6" y="6"/>
                </a:lnTo>
                <a:lnTo>
                  <a:pt x="10" y="6"/>
                </a:lnTo>
                <a:lnTo>
                  <a:pt x="16" y="8"/>
                </a:lnTo>
                <a:lnTo>
                  <a:pt x="28" y="16"/>
                </a:lnTo>
                <a:lnTo>
                  <a:pt x="28" y="16"/>
                </a:lnTo>
                <a:lnTo>
                  <a:pt x="36" y="20"/>
                </a:lnTo>
                <a:lnTo>
                  <a:pt x="40" y="20"/>
                </a:lnTo>
                <a:lnTo>
                  <a:pt x="44" y="22"/>
                </a:lnTo>
                <a:lnTo>
                  <a:pt x="46" y="26"/>
                </a:lnTo>
                <a:lnTo>
                  <a:pt x="46" y="26"/>
                </a:lnTo>
                <a:lnTo>
                  <a:pt x="48" y="28"/>
                </a:lnTo>
                <a:lnTo>
                  <a:pt x="50" y="30"/>
                </a:lnTo>
                <a:lnTo>
                  <a:pt x="52" y="32"/>
                </a:lnTo>
                <a:lnTo>
                  <a:pt x="54" y="38"/>
                </a:lnTo>
                <a:lnTo>
                  <a:pt x="54" y="38"/>
                </a:lnTo>
                <a:lnTo>
                  <a:pt x="54" y="48"/>
                </a:lnTo>
                <a:lnTo>
                  <a:pt x="54" y="48"/>
                </a:lnTo>
                <a:lnTo>
                  <a:pt x="62" y="48"/>
                </a:lnTo>
                <a:lnTo>
                  <a:pt x="68" y="50"/>
                </a:lnTo>
                <a:lnTo>
                  <a:pt x="78" y="52"/>
                </a:lnTo>
                <a:lnTo>
                  <a:pt x="88" y="50"/>
                </a:lnTo>
                <a:lnTo>
                  <a:pt x="88" y="50"/>
                </a:lnTo>
                <a:lnTo>
                  <a:pt x="92" y="48"/>
                </a:lnTo>
                <a:lnTo>
                  <a:pt x="92" y="50"/>
                </a:lnTo>
                <a:lnTo>
                  <a:pt x="92" y="52"/>
                </a:lnTo>
                <a:lnTo>
                  <a:pt x="90" y="56"/>
                </a:lnTo>
                <a:lnTo>
                  <a:pt x="92" y="58"/>
                </a:lnTo>
                <a:lnTo>
                  <a:pt x="94" y="60"/>
                </a:lnTo>
                <a:lnTo>
                  <a:pt x="100" y="60"/>
                </a:lnTo>
                <a:lnTo>
                  <a:pt x="100" y="60"/>
                </a:lnTo>
                <a:lnTo>
                  <a:pt x="118" y="60"/>
                </a:lnTo>
                <a:lnTo>
                  <a:pt x="128" y="58"/>
                </a:lnTo>
                <a:lnTo>
                  <a:pt x="128" y="58"/>
                </a:lnTo>
                <a:lnTo>
                  <a:pt x="138" y="58"/>
                </a:lnTo>
                <a:lnTo>
                  <a:pt x="144" y="58"/>
                </a:lnTo>
                <a:lnTo>
                  <a:pt x="148" y="60"/>
                </a:lnTo>
                <a:lnTo>
                  <a:pt x="154" y="60"/>
                </a:lnTo>
                <a:lnTo>
                  <a:pt x="154" y="60"/>
                </a:lnTo>
                <a:lnTo>
                  <a:pt x="154" y="58"/>
                </a:lnTo>
                <a:lnTo>
                  <a:pt x="152" y="54"/>
                </a:lnTo>
                <a:lnTo>
                  <a:pt x="150" y="46"/>
                </a:lnTo>
                <a:lnTo>
                  <a:pt x="150" y="46"/>
                </a:lnTo>
                <a:lnTo>
                  <a:pt x="134" y="38"/>
                </a:lnTo>
                <a:lnTo>
                  <a:pt x="128" y="32"/>
                </a:lnTo>
                <a:lnTo>
                  <a:pt x="124" y="28"/>
                </a:lnTo>
                <a:lnTo>
                  <a:pt x="116" y="24"/>
                </a:lnTo>
                <a:lnTo>
                  <a:pt x="116" y="24"/>
                </a:lnTo>
                <a:lnTo>
                  <a:pt x="108" y="22"/>
                </a:lnTo>
                <a:lnTo>
                  <a:pt x="102" y="22"/>
                </a:lnTo>
                <a:lnTo>
                  <a:pt x="94" y="24"/>
                </a:lnTo>
                <a:lnTo>
                  <a:pt x="88" y="24"/>
                </a:lnTo>
                <a:lnTo>
                  <a:pt x="78" y="18"/>
                </a:lnTo>
                <a:lnTo>
                  <a:pt x="78" y="18"/>
                </a:lnTo>
                <a:lnTo>
                  <a:pt x="72" y="14"/>
                </a:lnTo>
                <a:lnTo>
                  <a:pt x="66" y="12"/>
                </a:lnTo>
                <a:lnTo>
                  <a:pt x="54" y="10"/>
                </a:lnTo>
                <a:lnTo>
                  <a:pt x="40" y="8"/>
                </a:lnTo>
                <a:lnTo>
                  <a:pt x="24" y="4"/>
                </a:lnTo>
                <a:lnTo>
                  <a:pt x="24" y="4"/>
                </a:lnTo>
                <a:lnTo>
                  <a:pt x="14" y="0"/>
                </a:lnTo>
                <a:lnTo>
                  <a:pt x="6" y="0"/>
                </a:lnTo>
                <a:lnTo>
                  <a:pt x="2" y="2"/>
                </a:lnTo>
                <a:lnTo>
                  <a:pt x="0" y="2"/>
                </a:lnTo>
                <a:lnTo>
                  <a:pt x="0" y="2"/>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06" name="Freeform 239"/>
          <p:cNvSpPr>
            <a:spLocks/>
          </p:cNvSpPr>
          <p:nvPr/>
        </p:nvSpPr>
        <p:spPr bwMode="auto">
          <a:xfrm>
            <a:off x="4903774" y="1436890"/>
            <a:ext cx="68365" cy="72836"/>
          </a:xfrm>
          <a:custGeom>
            <a:avLst/>
            <a:gdLst/>
            <a:ahLst/>
            <a:cxnLst>
              <a:cxn ang="0">
                <a:pos x="30" y="64"/>
              </a:cxn>
              <a:cxn ang="0">
                <a:pos x="32" y="64"/>
              </a:cxn>
              <a:cxn ang="0">
                <a:pos x="34" y="64"/>
              </a:cxn>
              <a:cxn ang="0">
                <a:pos x="38" y="58"/>
              </a:cxn>
              <a:cxn ang="0">
                <a:pos x="40" y="50"/>
              </a:cxn>
              <a:cxn ang="0">
                <a:pos x="44" y="52"/>
              </a:cxn>
              <a:cxn ang="0">
                <a:pos x="48" y="52"/>
              </a:cxn>
              <a:cxn ang="0">
                <a:pos x="48" y="52"/>
              </a:cxn>
              <a:cxn ang="0">
                <a:pos x="52" y="54"/>
              </a:cxn>
              <a:cxn ang="0">
                <a:pos x="54" y="54"/>
              </a:cxn>
              <a:cxn ang="0">
                <a:pos x="60" y="52"/>
              </a:cxn>
              <a:cxn ang="0">
                <a:pos x="58" y="52"/>
              </a:cxn>
              <a:cxn ang="0">
                <a:pos x="56" y="46"/>
              </a:cxn>
              <a:cxn ang="0">
                <a:pos x="52" y="38"/>
              </a:cxn>
              <a:cxn ang="0">
                <a:pos x="52" y="36"/>
              </a:cxn>
              <a:cxn ang="0">
                <a:pos x="50" y="32"/>
              </a:cxn>
              <a:cxn ang="0">
                <a:pos x="48" y="28"/>
              </a:cxn>
              <a:cxn ang="0">
                <a:pos x="46" y="20"/>
              </a:cxn>
              <a:cxn ang="0">
                <a:pos x="46" y="16"/>
              </a:cxn>
              <a:cxn ang="0">
                <a:pos x="44" y="14"/>
              </a:cxn>
              <a:cxn ang="0">
                <a:pos x="44" y="12"/>
              </a:cxn>
              <a:cxn ang="0">
                <a:pos x="42" y="12"/>
              </a:cxn>
              <a:cxn ang="0">
                <a:pos x="38" y="10"/>
              </a:cxn>
              <a:cxn ang="0">
                <a:pos x="34" y="8"/>
              </a:cxn>
              <a:cxn ang="0">
                <a:pos x="32" y="8"/>
              </a:cxn>
              <a:cxn ang="0">
                <a:pos x="30" y="6"/>
              </a:cxn>
              <a:cxn ang="0">
                <a:pos x="28" y="6"/>
              </a:cxn>
              <a:cxn ang="0">
                <a:pos x="20" y="2"/>
              </a:cxn>
              <a:cxn ang="0">
                <a:pos x="10" y="4"/>
              </a:cxn>
              <a:cxn ang="0">
                <a:pos x="4" y="6"/>
              </a:cxn>
              <a:cxn ang="0">
                <a:pos x="0" y="6"/>
              </a:cxn>
              <a:cxn ang="0">
                <a:pos x="6" y="16"/>
              </a:cxn>
              <a:cxn ang="0">
                <a:pos x="8" y="18"/>
              </a:cxn>
              <a:cxn ang="0">
                <a:pos x="10" y="24"/>
              </a:cxn>
              <a:cxn ang="0">
                <a:pos x="14" y="26"/>
              </a:cxn>
              <a:cxn ang="0">
                <a:pos x="16" y="28"/>
              </a:cxn>
              <a:cxn ang="0">
                <a:pos x="16" y="30"/>
              </a:cxn>
              <a:cxn ang="0">
                <a:pos x="20" y="34"/>
              </a:cxn>
              <a:cxn ang="0">
                <a:pos x="20" y="36"/>
              </a:cxn>
              <a:cxn ang="0">
                <a:pos x="20" y="40"/>
              </a:cxn>
              <a:cxn ang="0">
                <a:pos x="20" y="42"/>
              </a:cxn>
              <a:cxn ang="0">
                <a:pos x="20" y="44"/>
              </a:cxn>
              <a:cxn ang="0">
                <a:pos x="22" y="50"/>
              </a:cxn>
              <a:cxn ang="0">
                <a:pos x="22" y="50"/>
              </a:cxn>
              <a:cxn ang="0">
                <a:pos x="26" y="52"/>
              </a:cxn>
              <a:cxn ang="0">
                <a:pos x="26" y="54"/>
              </a:cxn>
              <a:cxn ang="0">
                <a:pos x="28" y="58"/>
              </a:cxn>
              <a:cxn ang="0">
                <a:pos x="28" y="60"/>
              </a:cxn>
              <a:cxn ang="0">
                <a:pos x="30" y="64"/>
              </a:cxn>
            </a:cxnLst>
            <a:rect l="0" t="0" r="r" b="b"/>
            <a:pathLst>
              <a:path w="60" h="64">
                <a:moveTo>
                  <a:pt x="30" y="64"/>
                </a:moveTo>
                <a:lnTo>
                  <a:pt x="30" y="64"/>
                </a:lnTo>
                <a:lnTo>
                  <a:pt x="32" y="64"/>
                </a:lnTo>
                <a:lnTo>
                  <a:pt x="32" y="64"/>
                </a:lnTo>
                <a:lnTo>
                  <a:pt x="34" y="64"/>
                </a:lnTo>
                <a:lnTo>
                  <a:pt x="34" y="64"/>
                </a:lnTo>
                <a:lnTo>
                  <a:pt x="38" y="62"/>
                </a:lnTo>
                <a:lnTo>
                  <a:pt x="38" y="58"/>
                </a:lnTo>
                <a:lnTo>
                  <a:pt x="40" y="50"/>
                </a:lnTo>
                <a:lnTo>
                  <a:pt x="40" y="50"/>
                </a:lnTo>
                <a:lnTo>
                  <a:pt x="42" y="50"/>
                </a:lnTo>
                <a:lnTo>
                  <a:pt x="44" y="52"/>
                </a:lnTo>
                <a:lnTo>
                  <a:pt x="46" y="52"/>
                </a:lnTo>
                <a:lnTo>
                  <a:pt x="48" y="52"/>
                </a:lnTo>
                <a:lnTo>
                  <a:pt x="48" y="52"/>
                </a:lnTo>
                <a:lnTo>
                  <a:pt x="48" y="52"/>
                </a:lnTo>
                <a:lnTo>
                  <a:pt x="50" y="54"/>
                </a:lnTo>
                <a:lnTo>
                  <a:pt x="52" y="54"/>
                </a:lnTo>
                <a:lnTo>
                  <a:pt x="54" y="54"/>
                </a:lnTo>
                <a:lnTo>
                  <a:pt x="54" y="54"/>
                </a:lnTo>
                <a:lnTo>
                  <a:pt x="58" y="52"/>
                </a:lnTo>
                <a:lnTo>
                  <a:pt x="60" y="52"/>
                </a:lnTo>
                <a:lnTo>
                  <a:pt x="58" y="52"/>
                </a:lnTo>
                <a:lnTo>
                  <a:pt x="58" y="52"/>
                </a:lnTo>
                <a:lnTo>
                  <a:pt x="56" y="48"/>
                </a:lnTo>
                <a:lnTo>
                  <a:pt x="56" y="46"/>
                </a:lnTo>
                <a:lnTo>
                  <a:pt x="54" y="42"/>
                </a:lnTo>
                <a:lnTo>
                  <a:pt x="52" y="38"/>
                </a:lnTo>
                <a:lnTo>
                  <a:pt x="52" y="38"/>
                </a:lnTo>
                <a:lnTo>
                  <a:pt x="52" y="36"/>
                </a:lnTo>
                <a:lnTo>
                  <a:pt x="52" y="34"/>
                </a:lnTo>
                <a:lnTo>
                  <a:pt x="50" y="32"/>
                </a:lnTo>
                <a:lnTo>
                  <a:pt x="48" y="28"/>
                </a:lnTo>
                <a:lnTo>
                  <a:pt x="48" y="28"/>
                </a:lnTo>
                <a:lnTo>
                  <a:pt x="46" y="22"/>
                </a:lnTo>
                <a:lnTo>
                  <a:pt x="46" y="20"/>
                </a:lnTo>
                <a:lnTo>
                  <a:pt x="46" y="18"/>
                </a:lnTo>
                <a:lnTo>
                  <a:pt x="46" y="16"/>
                </a:lnTo>
                <a:lnTo>
                  <a:pt x="46" y="16"/>
                </a:lnTo>
                <a:lnTo>
                  <a:pt x="44" y="14"/>
                </a:lnTo>
                <a:lnTo>
                  <a:pt x="46" y="14"/>
                </a:lnTo>
                <a:lnTo>
                  <a:pt x="44" y="12"/>
                </a:lnTo>
                <a:lnTo>
                  <a:pt x="42" y="12"/>
                </a:lnTo>
                <a:lnTo>
                  <a:pt x="42" y="12"/>
                </a:lnTo>
                <a:lnTo>
                  <a:pt x="40" y="10"/>
                </a:lnTo>
                <a:lnTo>
                  <a:pt x="38" y="10"/>
                </a:lnTo>
                <a:lnTo>
                  <a:pt x="36" y="8"/>
                </a:lnTo>
                <a:lnTo>
                  <a:pt x="34" y="8"/>
                </a:lnTo>
                <a:lnTo>
                  <a:pt x="34" y="8"/>
                </a:lnTo>
                <a:lnTo>
                  <a:pt x="32" y="8"/>
                </a:lnTo>
                <a:lnTo>
                  <a:pt x="30" y="6"/>
                </a:lnTo>
                <a:lnTo>
                  <a:pt x="30" y="6"/>
                </a:lnTo>
                <a:lnTo>
                  <a:pt x="28" y="6"/>
                </a:lnTo>
                <a:lnTo>
                  <a:pt x="28" y="6"/>
                </a:lnTo>
                <a:lnTo>
                  <a:pt x="24" y="4"/>
                </a:lnTo>
                <a:lnTo>
                  <a:pt x="20" y="2"/>
                </a:lnTo>
                <a:lnTo>
                  <a:pt x="16" y="0"/>
                </a:lnTo>
                <a:lnTo>
                  <a:pt x="10" y="4"/>
                </a:lnTo>
                <a:lnTo>
                  <a:pt x="10" y="4"/>
                </a:lnTo>
                <a:lnTo>
                  <a:pt x="4" y="6"/>
                </a:lnTo>
                <a:lnTo>
                  <a:pt x="0" y="6"/>
                </a:lnTo>
                <a:lnTo>
                  <a:pt x="0" y="6"/>
                </a:lnTo>
                <a:lnTo>
                  <a:pt x="4" y="12"/>
                </a:lnTo>
                <a:lnTo>
                  <a:pt x="6" y="16"/>
                </a:lnTo>
                <a:lnTo>
                  <a:pt x="6" y="16"/>
                </a:lnTo>
                <a:lnTo>
                  <a:pt x="8" y="18"/>
                </a:lnTo>
                <a:lnTo>
                  <a:pt x="10" y="24"/>
                </a:lnTo>
                <a:lnTo>
                  <a:pt x="10" y="24"/>
                </a:lnTo>
                <a:lnTo>
                  <a:pt x="12" y="26"/>
                </a:lnTo>
                <a:lnTo>
                  <a:pt x="14" y="26"/>
                </a:lnTo>
                <a:lnTo>
                  <a:pt x="16" y="28"/>
                </a:lnTo>
                <a:lnTo>
                  <a:pt x="16" y="28"/>
                </a:lnTo>
                <a:lnTo>
                  <a:pt x="16" y="28"/>
                </a:lnTo>
                <a:lnTo>
                  <a:pt x="16" y="30"/>
                </a:lnTo>
                <a:lnTo>
                  <a:pt x="18" y="32"/>
                </a:lnTo>
                <a:lnTo>
                  <a:pt x="20" y="34"/>
                </a:lnTo>
                <a:lnTo>
                  <a:pt x="20" y="36"/>
                </a:lnTo>
                <a:lnTo>
                  <a:pt x="20" y="36"/>
                </a:lnTo>
                <a:lnTo>
                  <a:pt x="20" y="38"/>
                </a:lnTo>
                <a:lnTo>
                  <a:pt x="20" y="40"/>
                </a:lnTo>
                <a:lnTo>
                  <a:pt x="20" y="42"/>
                </a:lnTo>
                <a:lnTo>
                  <a:pt x="20" y="42"/>
                </a:lnTo>
                <a:lnTo>
                  <a:pt x="20" y="42"/>
                </a:lnTo>
                <a:lnTo>
                  <a:pt x="20" y="44"/>
                </a:lnTo>
                <a:lnTo>
                  <a:pt x="22" y="46"/>
                </a:lnTo>
                <a:lnTo>
                  <a:pt x="22" y="50"/>
                </a:lnTo>
                <a:lnTo>
                  <a:pt x="22" y="50"/>
                </a:lnTo>
                <a:lnTo>
                  <a:pt x="22" y="50"/>
                </a:lnTo>
                <a:lnTo>
                  <a:pt x="24" y="52"/>
                </a:lnTo>
                <a:lnTo>
                  <a:pt x="26" y="52"/>
                </a:lnTo>
                <a:lnTo>
                  <a:pt x="26" y="54"/>
                </a:lnTo>
                <a:lnTo>
                  <a:pt x="26" y="54"/>
                </a:lnTo>
                <a:lnTo>
                  <a:pt x="28" y="56"/>
                </a:lnTo>
                <a:lnTo>
                  <a:pt x="28" y="58"/>
                </a:lnTo>
                <a:lnTo>
                  <a:pt x="28" y="58"/>
                </a:lnTo>
                <a:lnTo>
                  <a:pt x="28" y="60"/>
                </a:lnTo>
                <a:lnTo>
                  <a:pt x="30" y="64"/>
                </a:lnTo>
                <a:lnTo>
                  <a:pt x="30" y="64"/>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07" name="Freeform 241"/>
          <p:cNvSpPr>
            <a:spLocks/>
          </p:cNvSpPr>
          <p:nvPr/>
        </p:nvSpPr>
        <p:spPr bwMode="auto">
          <a:xfrm>
            <a:off x="5133935" y="1780584"/>
            <a:ext cx="41019" cy="38694"/>
          </a:xfrm>
          <a:custGeom>
            <a:avLst/>
            <a:gdLst/>
            <a:ahLst/>
            <a:cxnLst>
              <a:cxn ang="0">
                <a:pos x="14" y="4"/>
              </a:cxn>
              <a:cxn ang="0">
                <a:pos x="14" y="4"/>
              </a:cxn>
              <a:cxn ang="0">
                <a:pos x="12" y="8"/>
              </a:cxn>
              <a:cxn ang="0">
                <a:pos x="10" y="10"/>
              </a:cxn>
              <a:cxn ang="0">
                <a:pos x="8" y="12"/>
              </a:cxn>
              <a:cxn ang="0">
                <a:pos x="6" y="16"/>
              </a:cxn>
              <a:cxn ang="0">
                <a:pos x="6" y="16"/>
              </a:cxn>
              <a:cxn ang="0">
                <a:pos x="4" y="22"/>
              </a:cxn>
              <a:cxn ang="0">
                <a:pos x="2" y="24"/>
              </a:cxn>
              <a:cxn ang="0">
                <a:pos x="0" y="28"/>
              </a:cxn>
              <a:cxn ang="0">
                <a:pos x="0" y="34"/>
              </a:cxn>
              <a:cxn ang="0">
                <a:pos x="18" y="34"/>
              </a:cxn>
              <a:cxn ang="0">
                <a:pos x="18" y="34"/>
              </a:cxn>
              <a:cxn ang="0">
                <a:pos x="22" y="30"/>
              </a:cxn>
              <a:cxn ang="0">
                <a:pos x="22" y="28"/>
              </a:cxn>
              <a:cxn ang="0">
                <a:pos x="20" y="26"/>
              </a:cxn>
              <a:cxn ang="0">
                <a:pos x="22" y="24"/>
              </a:cxn>
              <a:cxn ang="0">
                <a:pos x="22" y="24"/>
              </a:cxn>
              <a:cxn ang="0">
                <a:pos x="26" y="22"/>
              </a:cxn>
              <a:cxn ang="0">
                <a:pos x="28" y="22"/>
              </a:cxn>
              <a:cxn ang="0">
                <a:pos x="30" y="22"/>
              </a:cxn>
              <a:cxn ang="0">
                <a:pos x="32" y="22"/>
              </a:cxn>
              <a:cxn ang="0">
                <a:pos x="32" y="22"/>
              </a:cxn>
              <a:cxn ang="0">
                <a:pos x="34" y="20"/>
              </a:cxn>
              <a:cxn ang="0">
                <a:pos x="32" y="18"/>
              </a:cxn>
              <a:cxn ang="0">
                <a:pos x="32" y="16"/>
              </a:cxn>
              <a:cxn ang="0">
                <a:pos x="34" y="14"/>
              </a:cxn>
              <a:cxn ang="0">
                <a:pos x="34" y="14"/>
              </a:cxn>
              <a:cxn ang="0">
                <a:pos x="36" y="12"/>
              </a:cxn>
              <a:cxn ang="0">
                <a:pos x="36" y="10"/>
              </a:cxn>
              <a:cxn ang="0">
                <a:pos x="34" y="6"/>
              </a:cxn>
              <a:cxn ang="0">
                <a:pos x="30" y="2"/>
              </a:cxn>
              <a:cxn ang="0">
                <a:pos x="26" y="0"/>
              </a:cxn>
              <a:cxn ang="0">
                <a:pos x="26" y="0"/>
              </a:cxn>
              <a:cxn ang="0">
                <a:pos x="20" y="0"/>
              </a:cxn>
              <a:cxn ang="0">
                <a:pos x="14" y="4"/>
              </a:cxn>
              <a:cxn ang="0">
                <a:pos x="14" y="4"/>
              </a:cxn>
            </a:cxnLst>
            <a:rect l="0" t="0" r="r" b="b"/>
            <a:pathLst>
              <a:path w="36" h="34">
                <a:moveTo>
                  <a:pt x="14" y="4"/>
                </a:moveTo>
                <a:lnTo>
                  <a:pt x="14" y="4"/>
                </a:lnTo>
                <a:lnTo>
                  <a:pt x="12" y="8"/>
                </a:lnTo>
                <a:lnTo>
                  <a:pt x="10" y="10"/>
                </a:lnTo>
                <a:lnTo>
                  <a:pt x="8" y="12"/>
                </a:lnTo>
                <a:lnTo>
                  <a:pt x="6" y="16"/>
                </a:lnTo>
                <a:lnTo>
                  <a:pt x="6" y="16"/>
                </a:lnTo>
                <a:lnTo>
                  <a:pt x="4" y="22"/>
                </a:lnTo>
                <a:lnTo>
                  <a:pt x="2" y="24"/>
                </a:lnTo>
                <a:lnTo>
                  <a:pt x="0" y="28"/>
                </a:lnTo>
                <a:lnTo>
                  <a:pt x="0" y="34"/>
                </a:lnTo>
                <a:lnTo>
                  <a:pt x="18" y="34"/>
                </a:lnTo>
                <a:lnTo>
                  <a:pt x="18" y="34"/>
                </a:lnTo>
                <a:lnTo>
                  <a:pt x="22" y="30"/>
                </a:lnTo>
                <a:lnTo>
                  <a:pt x="22" y="28"/>
                </a:lnTo>
                <a:lnTo>
                  <a:pt x="20" y="26"/>
                </a:lnTo>
                <a:lnTo>
                  <a:pt x="22" y="24"/>
                </a:lnTo>
                <a:lnTo>
                  <a:pt x="22" y="24"/>
                </a:lnTo>
                <a:lnTo>
                  <a:pt x="26" y="22"/>
                </a:lnTo>
                <a:lnTo>
                  <a:pt x="28" y="22"/>
                </a:lnTo>
                <a:lnTo>
                  <a:pt x="30" y="22"/>
                </a:lnTo>
                <a:lnTo>
                  <a:pt x="32" y="22"/>
                </a:lnTo>
                <a:lnTo>
                  <a:pt x="32" y="22"/>
                </a:lnTo>
                <a:lnTo>
                  <a:pt x="34" y="20"/>
                </a:lnTo>
                <a:lnTo>
                  <a:pt x="32" y="18"/>
                </a:lnTo>
                <a:lnTo>
                  <a:pt x="32" y="16"/>
                </a:lnTo>
                <a:lnTo>
                  <a:pt x="34" y="14"/>
                </a:lnTo>
                <a:lnTo>
                  <a:pt x="34" y="14"/>
                </a:lnTo>
                <a:lnTo>
                  <a:pt x="36" y="12"/>
                </a:lnTo>
                <a:lnTo>
                  <a:pt x="36" y="10"/>
                </a:lnTo>
                <a:lnTo>
                  <a:pt x="34" y="6"/>
                </a:lnTo>
                <a:lnTo>
                  <a:pt x="30" y="2"/>
                </a:lnTo>
                <a:lnTo>
                  <a:pt x="26" y="0"/>
                </a:lnTo>
                <a:lnTo>
                  <a:pt x="26" y="0"/>
                </a:lnTo>
                <a:lnTo>
                  <a:pt x="20" y="0"/>
                </a:lnTo>
                <a:lnTo>
                  <a:pt x="14" y="4"/>
                </a:lnTo>
                <a:lnTo>
                  <a:pt x="14" y="4"/>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08" name="Freeform 242"/>
          <p:cNvSpPr>
            <a:spLocks/>
          </p:cNvSpPr>
          <p:nvPr/>
        </p:nvSpPr>
        <p:spPr bwMode="auto">
          <a:xfrm>
            <a:off x="4906053" y="1591666"/>
            <a:ext cx="68365" cy="47799"/>
          </a:xfrm>
          <a:custGeom>
            <a:avLst/>
            <a:gdLst/>
            <a:ahLst/>
            <a:cxnLst>
              <a:cxn ang="0">
                <a:pos x="0" y="28"/>
              </a:cxn>
              <a:cxn ang="0">
                <a:pos x="2" y="28"/>
              </a:cxn>
              <a:cxn ang="0">
                <a:pos x="6" y="30"/>
              </a:cxn>
              <a:cxn ang="0">
                <a:pos x="8" y="36"/>
              </a:cxn>
              <a:cxn ang="0">
                <a:pos x="10" y="36"/>
              </a:cxn>
              <a:cxn ang="0">
                <a:pos x="20" y="30"/>
              </a:cxn>
              <a:cxn ang="0">
                <a:pos x="24" y="30"/>
              </a:cxn>
              <a:cxn ang="0">
                <a:pos x="24" y="32"/>
              </a:cxn>
              <a:cxn ang="0">
                <a:pos x="22" y="32"/>
              </a:cxn>
              <a:cxn ang="0">
                <a:pos x="12" y="40"/>
              </a:cxn>
              <a:cxn ang="0">
                <a:pos x="10" y="42"/>
              </a:cxn>
              <a:cxn ang="0">
                <a:pos x="18" y="40"/>
              </a:cxn>
              <a:cxn ang="0">
                <a:pos x="30" y="32"/>
              </a:cxn>
              <a:cxn ang="0">
                <a:pos x="32" y="30"/>
              </a:cxn>
              <a:cxn ang="0">
                <a:pos x="34" y="28"/>
              </a:cxn>
              <a:cxn ang="0">
                <a:pos x="34" y="26"/>
              </a:cxn>
              <a:cxn ang="0">
                <a:pos x="38" y="24"/>
              </a:cxn>
              <a:cxn ang="0">
                <a:pos x="42" y="20"/>
              </a:cxn>
              <a:cxn ang="0">
                <a:pos x="44" y="22"/>
              </a:cxn>
              <a:cxn ang="0">
                <a:pos x="48" y="24"/>
              </a:cxn>
              <a:cxn ang="0">
                <a:pos x="50" y="22"/>
              </a:cxn>
              <a:cxn ang="0">
                <a:pos x="56" y="22"/>
              </a:cxn>
              <a:cxn ang="0">
                <a:pos x="60" y="18"/>
              </a:cxn>
              <a:cxn ang="0">
                <a:pos x="60" y="18"/>
              </a:cxn>
              <a:cxn ang="0">
                <a:pos x="52" y="14"/>
              </a:cxn>
              <a:cxn ang="0">
                <a:pos x="42" y="8"/>
              </a:cxn>
              <a:cxn ang="0">
                <a:pos x="36" y="2"/>
              </a:cxn>
              <a:cxn ang="0">
                <a:pos x="18" y="0"/>
              </a:cxn>
              <a:cxn ang="0">
                <a:pos x="16" y="0"/>
              </a:cxn>
              <a:cxn ang="0">
                <a:pos x="8" y="4"/>
              </a:cxn>
              <a:cxn ang="0">
                <a:pos x="4" y="4"/>
              </a:cxn>
              <a:cxn ang="0">
                <a:pos x="2" y="8"/>
              </a:cxn>
              <a:cxn ang="0">
                <a:pos x="6" y="10"/>
              </a:cxn>
              <a:cxn ang="0">
                <a:pos x="6" y="12"/>
              </a:cxn>
              <a:cxn ang="0">
                <a:pos x="4" y="16"/>
              </a:cxn>
              <a:cxn ang="0">
                <a:pos x="0" y="18"/>
              </a:cxn>
              <a:cxn ang="0">
                <a:pos x="2" y="22"/>
              </a:cxn>
              <a:cxn ang="0">
                <a:pos x="0" y="28"/>
              </a:cxn>
            </a:cxnLst>
            <a:rect l="0" t="0" r="r" b="b"/>
            <a:pathLst>
              <a:path w="60" h="42">
                <a:moveTo>
                  <a:pt x="0" y="28"/>
                </a:moveTo>
                <a:lnTo>
                  <a:pt x="0" y="28"/>
                </a:lnTo>
                <a:lnTo>
                  <a:pt x="0" y="28"/>
                </a:lnTo>
                <a:lnTo>
                  <a:pt x="2" y="28"/>
                </a:lnTo>
                <a:lnTo>
                  <a:pt x="6" y="30"/>
                </a:lnTo>
                <a:lnTo>
                  <a:pt x="6" y="30"/>
                </a:lnTo>
                <a:lnTo>
                  <a:pt x="6" y="34"/>
                </a:lnTo>
                <a:lnTo>
                  <a:pt x="8" y="36"/>
                </a:lnTo>
                <a:lnTo>
                  <a:pt x="10" y="36"/>
                </a:lnTo>
                <a:lnTo>
                  <a:pt x="10" y="36"/>
                </a:lnTo>
                <a:lnTo>
                  <a:pt x="14" y="34"/>
                </a:lnTo>
                <a:lnTo>
                  <a:pt x="20" y="30"/>
                </a:lnTo>
                <a:lnTo>
                  <a:pt x="20" y="30"/>
                </a:lnTo>
                <a:lnTo>
                  <a:pt x="24" y="30"/>
                </a:lnTo>
                <a:lnTo>
                  <a:pt x="24" y="30"/>
                </a:lnTo>
                <a:lnTo>
                  <a:pt x="24" y="32"/>
                </a:lnTo>
                <a:lnTo>
                  <a:pt x="22" y="32"/>
                </a:lnTo>
                <a:lnTo>
                  <a:pt x="22" y="32"/>
                </a:lnTo>
                <a:lnTo>
                  <a:pt x="16" y="34"/>
                </a:lnTo>
                <a:lnTo>
                  <a:pt x="12" y="40"/>
                </a:lnTo>
                <a:lnTo>
                  <a:pt x="12" y="40"/>
                </a:lnTo>
                <a:lnTo>
                  <a:pt x="10" y="42"/>
                </a:lnTo>
                <a:lnTo>
                  <a:pt x="12" y="42"/>
                </a:lnTo>
                <a:lnTo>
                  <a:pt x="18" y="40"/>
                </a:lnTo>
                <a:lnTo>
                  <a:pt x="18" y="40"/>
                </a:lnTo>
                <a:lnTo>
                  <a:pt x="30" y="32"/>
                </a:lnTo>
                <a:lnTo>
                  <a:pt x="30" y="32"/>
                </a:lnTo>
                <a:lnTo>
                  <a:pt x="32" y="30"/>
                </a:lnTo>
                <a:lnTo>
                  <a:pt x="32" y="28"/>
                </a:lnTo>
                <a:lnTo>
                  <a:pt x="34" y="28"/>
                </a:lnTo>
                <a:lnTo>
                  <a:pt x="34" y="26"/>
                </a:lnTo>
                <a:lnTo>
                  <a:pt x="34" y="26"/>
                </a:lnTo>
                <a:lnTo>
                  <a:pt x="36" y="26"/>
                </a:lnTo>
                <a:lnTo>
                  <a:pt x="38" y="24"/>
                </a:lnTo>
                <a:lnTo>
                  <a:pt x="38" y="22"/>
                </a:lnTo>
                <a:lnTo>
                  <a:pt x="42" y="20"/>
                </a:lnTo>
                <a:lnTo>
                  <a:pt x="42" y="20"/>
                </a:lnTo>
                <a:lnTo>
                  <a:pt x="44" y="22"/>
                </a:lnTo>
                <a:lnTo>
                  <a:pt x="46" y="22"/>
                </a:lnTo>
                <a:lnTo>
                  <a:pt x="48" y="24"/>
                </a:lnTo>
                <a:lnTo>
                  <a:pt x="50" y="22"/>
                </a:lnTo>
                <a:lnTo>
                  <a:pt x="50" y="22"/>
                </a:lnTo>
                <a:lnTo>
                  <a:pt x="52" y="22"/>
                </a:lnTo>
                <a:lnTo>
                  <a:pt x="56" y="22"/>
                </a:lnTo>
                <a:lnTo>
                  <a:pt x="58" y="22"/>
                </a:lnTo>
                <a:lnTo>
                  <a:pt x="60" y="18"/>
                </a:lnTo>
                <a:lnTo>
                  <a:pt x="60" y="18"/>
                </a:lnTo>
                <a:lnTo>
                  <a:pt x="60" y="18"/>
                </a:lnTo>
                <a:lnTo>
                  <a:pt x="58" y="18"/>
                </a:lnTo>
                <a:lnTo>
                  <a:pt x="52" y="14"/>
                </a:lnTo>
                <a:lnTo>
                  <a:pt x="52" y="14"/>
                </a:lnTo>
                <a:lnTo>
                  <a:pt x="42" y="8"/>
                </a:lnTo>
                <a:lnTo>
                  <a:pt x="36" y="2"/>
                </a:lnTo>
                <a:lnTo>
                  <a:pt x="36" y="2"/>
                </a:lnTo>
                <a:lnTo>
                  <a:pt x="26" y="2"/>
                </a:lnTo>
                <a:lnTo>
                  <a:pt x="18" y="0"/>
                </a:lnTo>
                <a:lnTo>
                  <a:pt x="18" y="0"/>
                </a:lnTo>
                <a:lnTo>
                  <a:pt x="16" y="0"/>
                </a:lnTo>
                <a:lnTo>
                  <a:pt x="12" y="0"/>
                </a:lnTo>
                <a:lnTo>
                  <a:pt x="8" y="4"/>
                </a:lnTo>
                <a:lnTo>
                  <a:pt x="8" y="4"/>
                </a:lnTo>
                <a:lnTo>
                  <a:pt x="4" y="4"/>
                </a:lnTo>
                <a:lnTo>
                  <a:pt x="2" y="8"/>
                </a:lnTo>
                <a:lnTo>
                  <a:pt x="2" y="8"/>
                </a:lnTo>
                <a:lnTo>
                  <a:pt x="6" y="10"/>
                </a:lnTo>
                <a:lnTo>
                  <a:pt x="6" y="10"/>
                </a:lnTo>
                <a:lnTo>
                  <a:pt x="6" y="12"/>
                </a:lnTo>
                <a:lnTo>
                  <a:pt x="6" y="12"/>
                </a:lnTo>
                <a:lnTo>
                  <a:pt x="4" y="14"/>
                </a:lnTo>
                <a:lnTo>
                  <a:pt x="4" y="16"/>
                </a:lnTo>
                <a:lnTo>
                  <a:pt x="2" y="16"/>
                </a:lnTo>
                <a:lnTo>
                  <a:pt x="0" y="18"/>
                </a:lnTo>
                <a:lnTo>
                  <a:pt x="0" y="18"/>
                </a:lnTo>
                <a:lnTo>
                  <a:pt x="2" y="22"/>
                </a:lnTo>
                <a:lnTo>
                  <a:pt x="2" y="24"/>
                </a:lnTo>
                <a:lnTo>
                  <a:pt x="0" y="28"/>
                </a:lnTo>
                <a:lnTo>
                  <a:pt x="0" y="28"/>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09" name="Freeform 243"/>
          <p:cNvSpPr>
            <a:spLocks/>
          </p:cNvSpPr>
          <p:nvPr/>
        </p:nvSpPr>
        <p:spPr bwMode="auto">
          <a:xfrm>
            <a:off x="5138493" y="1705473"/>
            <a:ext cx="145845" cy="127463"/>
          </a:xfrm>
          <a:custGeom>
            <a:avLst/>
            <a:gdLst/>
            <a:ahLst/>
            <a:cxnLst>
              <a:cxn ang="0">
                <a:pos x="2" y="32"/>
              </a:cxn>
              <a:cxn ang="0">
                <a:pos x="0" y="36"/>
              </a:cxn>
              <a:cxn ang="0">
                <a:pos x="4" y="42"/>
              </a:cxn>
              <a:cxn ang="0">
                <a:pos x="8" y="46"/>
              </a:cxn>
              <a:cxn ang="0">
                <a:pos x="6" y="52"/>
              </a:cxn>
              <a:cxn ang="0">
                <a:pos x="6" y="62"/>
              </a:cxn>
              <a:cxn ang="0">
                <a:pos x="10" y="70"/>
              </a:cxn>
              <a:cxn ang="0">
                <a:pos x="22" y="66"/>
              </a:cxn>
              <a:cxn ang="0">
                <a:pos x="26" y="68"/>
              </a:cxn>
              <a:cxn ang="0">
                <a:pos x="32" y="76"/>
              </a:cxn>
              <a:cxn ang="0">
                <a:pos x="30" y="80"/>
              </a:cxn>
              <a:cxn ang="0">
                <a:pos x="28" y="82"/>
              </a:cxn>
              <a:cxn ang="0">
                <a:pos x="30" y="86"/>
              </a:cxn>
              <a:cxn ang="0">
                <a:pos x="28" y="88"/>
              </a:cxn>
              <a:cxn ang="0">
                <a:pos x="24" y="88"/>
              </a:cxn>
              <a:cxn ang="0">
                <a:pos x="18" y="90"/>
              </a:cxn>
              <a:cxn ang="0">
                <a:pos x="16" y="92"/>
              </a:cxn>
              <a:cxn ang="0">
                <a:pos x="18" y="96"/>
              </a:cxn>
              <a:cxn ang="0">
                <a:pos x="12" y="106"/>
              </a:cxn>
              <a:cxn ang="0">
                <a:pos x="26" y="112"/>
              </a:cxn>
              <a:cxn ang="0">
                <a:pos x="34" y="110"/>
              </a:cxn>
              <a:cxn ang="0">
                <a:pos x="66" y="90"/>
              </a:cxn>
              <a:cxn ang="0">
                <a:pos x="110" y="62"/>
              </a:cxn>
              <a:cxn ang="0">
                <a:pos x="116" y="58"/>
              </a:cxn>
              <a:cxn ang="0">
                <a:pos x="114" y="50"/>
              </a:cxn>
              <a:cxn ang="0">
                <a:pos x="114" y="40"/>
              </a:cxn>
              <a:cxn ang="0">
                <a:pos x="114" y="30"/>
              </a:cxn>
              <a:cxn ang="0">
                <a:pos x="112" y="20"/>
              </a:cxn>
              <a:cxn ang="0">
                <a:pos x="116" y="14"/>
              </a:cxn>
              <a:cxn ang="0">
                <a:pos x="128" y="4"/>
              </a:cxn>
              <a:cxn ang="0">
                <a:pos x="124" y="0"/>
              </a:cxn>
              <a:cxn ang="0">
                <a:pos x="116" y="2"/>
              </a:cxn>
              <a:cxn ang="0">
                <a:pos x="106" y="4"/>
              </a:cxn>
              <a:cxn ang="0">
                <a:pos x="86" y="6"/>
              </a:cxn>
              <a:cxn ang="0">
                <a:pos x="66" y="14"/>
              </a:cxn>
              <a:cxn ang="0">
                <a:pos x="50" y="14"/>
              </a:cxn>
              <a:cxn ang="0">
                <a:pos x="42" y="12"/>
              </a:cxn>
              <a:cxn ang="0">
                <a:pos x="26" y="16"/>
              </a:cxn>
              <a:cxn ang="0">
                <a:pos x="14" y="14"/>
              </a:cxn>
              <a:cxn ang="0">
                <a:pos x="14" y="24"/>
              </a:cxn>
              <a:cxn ang="0">
                <a:pos x="16" y="30"/>
              </a:cxn>
              <a:cxn ang="0">
                <a:pos x="2" y="32"/>
              </a:cxn>
            </a:cxnLst>
            <a:rect l="0" t="0" r="r" b="b"/>
            <a:pathLst>
              <a:path w="128" h="112">
                <a:moveTo>
                  <a:pt x="2" y="32"/>
                </a:moveTo>
                <a:lnTo>
                  <a:pt x="2" y="32"/>
                </a:lnTo>
                <a:lnTo>
                  <a:pt x="2" y="36"/>
                </a:lnTo>
                <a:lnTo>
                  <a:pt x="0" y="36"/>
                </a:lnTo>
                <a:lnTo>
                  <a:pt x="0" y="38"/>
                </a:lnTo>
                <a:lnTo>
                  <a:pt x="4" y="42"/>
                </a:lnTo>
                <a:lnTo>
                  <a:pt x="4" y="42"/>
                </a:lnTo>
                <a:lnTo>
                  <a:pt x="8" y="46"/>
                </a:lnTo>
                <a:lnTo>
                  <a:pt x="6" y="48"/>
                </a:lnTo>
                <a:lnTo>
                  <a:pt x="6" y="52"/>
                </a:lnTo>
                <a:lnTo>
                  <a:pt x="6" y="56"/>
                </a:lnTo>
                <a:lnTo>
                  <a:pt x="6" y="62"/>
                </a:lnTo>
                <a:lnTo>
                  <a:pt x="10" y="70"/>
                </a:lnTo>
                <a:lnTo>
                  <a:pt x="10" y="70"/>
                </a:lnTo>
                <a:lnTo>
                  <a:pt x="16" y="66"/>
                </a:lnTo>
                <a:lnTo>
                  <a:pt x="22" y="66"/>
                </a:lnTo>
                <a:lnTo>
                  <a:pt x="22" y="66"/>
                </a:lnTo>
                <a:lnTo>
                  <a:pt x="26" y="68"/>
                </a:lnTo>
                <a:lnTo>
                  <a:pt x="30" y="72"/>
                </a:lnTo>
                <a:lnTo>
                  <a:pt x="32" y="76"/>
                </a:lnTo>
                <a:lnTo>
                  <a:pt x="32" y="78"/>
                </a:lnTo>
                <a:lnTo>
                  <a:pt x="30" y="80"/>
                </a:lnTo>
                <a:lnTo>
                  <a:pt x="30" y="80"/>
                </a:lnTo>
                <a:lnTo>
                  <a:pt x="28" y="82"/>
                </a:lnTo>
                <a:lnTo>
                  <a:pt x="28" y="84"/>
                </a:lnTo>
                <a:lnTo>
                  <a:pt x="30" y="86"/>
                </a:lnTo>
                <a:lnTo>
                  <a:pt x="28" y="88"/>
                </a:lnTo>
                <a:lnTo>
                  <a:pt x="28" y="88"/>
                </a:lnTo>
                <a:lnTo>
                  <a:pt x="26" y="88"/>
                </a:lnTo>
                <a:lnTo>
                  <a:pt x="24" y="88"/>
                </a:lnTo>
                <a:lnTo>
                  <a:pt x="22" y="88"/>
                </a:lnTo>
                <a:lnTo>
                  <a:pt x="18" y="90"/>
                </a:lnTo>
                <a:lnTo>
                  <a:pt x="18" y="90"/>
                </a:lnTo>
                <a:lnTo>
                  <a:pt x="16" y="92"/>
                </a:lnTo>
                <a:lnTo>
                  <a:pt x="18" y="94"/>
                </a:lnTo>
                <a:lnTo>
                  <a:pt x="18" y="96"/>
                </a:lnTo>
                <a:lnTo>
                  <a:pt x="14" y="100"/>
                </a:lnTo>
                <a:lnTo>
                  <a:pt x="12" y="106"/>
                </a:lnTo>
                <a:lnTo>
                  <a:pt x="12" y="106"/>
                </a:lnTo>
                <a:lnTo>
                  <a:pt x="26" y="112"/>
                </a:lnTo>
                <a:lnTo>
                  <a:pt x="30" y="112"/>
                </a:lnTo>
                <a:lnTo>
                  <a:pt x="34" y="110"/>
                </a:lnTo>
                <a:lnTo>
                  <a:pt x="34" y="110"/>
                </a:lnTo>
                <a:lnTo>
                  <a:pt x="66" y="90"/>
                </a:lnTo>
                <a:lnTo>
                  <a:pt x="66" y="90"/>
                </a:lnTo>
                <a:lnTo>
                  <a:pt x="110" y="62"/>
                </a:lnTo>
                <a:lnTo>
                  <a:pt x="110" y="62"/>
                </a:lnTo>
                <a:lnTo>
                  <a:pt x="116" y="58"/>
                </a:lnTo>
                <a:lnTo>
                  <a:pt x="116" y="56"/>
                </a:lnTo>
                <a:lnTo>
                  <a:pt x="114" y="50"/>
                </a:lnTo>
                <a:lnTo>
                  <a:pt x="114" y="40"/>
                </a:lnTo>
                <a:lnTo>
                  <a:pt x="114" y="40"/>
                </a:lnTo>
                <a:lnTo>
                  <a:pt x="116" y="34"/>
                </a:lnTo>
                <a:lnTo>
                  <a:pt x="114" y="30"/>
                </a:lnTo>
                <a:lnTo>
                  <a:pt x="112" y="24"/>
                </a:lnTo>
                <a:lnTo>
                  <a:pt x="112" y="20"/>
                </a:lnTo>
                <a:lnTo>
                  <a:pt x="116" y="14"/>
                </a:lnTo>
                <a:lnTo>
                  <a:pt x="116" y="14"/>
                </a:lnTo>
                <a:lnTo>
                  <a:pt x="122" y="10"/>
                </a:lnTo>
                <a:lnTo>
                  <a:pt x="128" y="4"/>
                </a:lnTo>
                <a:lnTo>
                  <a:pt x="128" y="4"/>
                </a:lnTo>
                <a:lnTo>
                  <a:pt x="124" y="0"/>
                </a:lnTo>
                <a:lnTo>
                  <a:pt x="120" y="0"/>
                </a:lnTo>
                <a:lnTo>
                  <a:pt x="116" y="2"/>
                </a:lnTo>
                <a:lnTo>
                  <a:pt x="106" y="4"/>
                </a:lnTo>
                <a:lnTo>
                  <a:pt x="106" y="4"/>
                </a:lnTo>
                <a:lnTo>
                  <a:pt x="96" y="4"/>
                </a:lnTo>
                <a:lnTo>
                  <a:pt x="86" y="6"/>
                </a:lnTo>
                <a:lnTo>
                  <a:pt x="72" y="12"/>
                </a:lnTo>
                <a:lnTo>
                  <a:pt x="66" y="14"/>
                </a:lnTo>
                <a:lnTo>
                  <a:pt x="58" y="14"/>
                </a:lnTo>
                <a:lnTo>
                  <a:pt x="50" y="14"/>
                </a:lnTo>
                <a:lnTo>
                  <a:pt x="42" y="12"/>
                </a:lnTo>
                <a:lnTo>
                  <a:pt x="42" y="12"/>
                </a:lnTo>
                <a:lnTo>
                  <a:pt x="34" y="16"/>
                </a:lnTo>
                <a:lnTo>
                  <a:pt x="26" y="16"/>
                </a:lnTo>
                <a:lnTo>
                  <a:pt x="20" y="16"/>
                </a:lnTo>
                <a:lnTo>
                  <a:pt x="14" y="14"/>
                </a:lnTo>
                <a:lnTo>
                  <a:pt x="14" y="14"/>
                </a:lnTo>
                <a:lnTo>
                  <a:pt x="14" y="24"/>
                </a:lnTo>
                <a:lnTo>
                  <a:pt x="16" y="30"/>
                </a:lnTo>
                <a:lnTo>
                  <a:pt x="16" y="30"/>
                </a:lnTo>
                <a:lnTo>
                  <a:pt x="10" y="34"/>
                </a:lnTo>
                <a:lnTo>
                  <a:pt x="2" y="32"/>
                </a:lnTo>
                <a:lnTo>
                  <a:pt x="2" y="32"/>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10" name="Jordan"/>
          <p:cNvSpPr>
            <a:spLocks/>
          </p:cNvSpPr>
          <p:nvPr/>
        </p:nvSpPr>
        <p:spPr bwMode="auto">
          <a:xfrm>
            <a:off x="5133935" y="1807898"/>
            <a:ext cx="93432" cy="118358"/>
          </a:xfrm>
          <a:custGeom>
            <a:avLst/>
            <a:gdLst/>
            <a:ahLst/>
            <a:cxnLst>
              <a:cxn ang="0">
                <a:pos x="70" y="0"/>
              </a:cxn>
              <a:cxn ang="0">
                <a:pos x="80" y="26"/>
              </a:cxn>
              <a:cxn ang="0">
                <a:pos x="82" y="32"/>
              </a:cxn>
              <a:cxn ang="0">
                <a:pos x="72" y="38"/>
              </a:cxn>
              <a:cxn ang="0">
                <a:pos x="66" y="70"/>
              </a:cxn>
              <a:cxn ang="0">
                <a:pos x="58" y="74"/>
              </a:cxn>
              <a:cxn ang="0">
                <a:pos x="52" y="82"/>
              </a:cxn>
              <a:cxn ang="0">
                <a:pos x="46" y="84"/>
              </a:cxn>
              <a:cxn ang="0">
                <a:pos x="38" y="88"/>
              </a:cxn>
              <a:cxn ang="0">
                <a:pos x="32" y="100"/>
              </a:cxn>
              <a:cxn ang="0">
                <a:pos x="28" y="104"/>
              </a:cxn>
              <a:cxn ang="0">
                <a:pos x="26" y="104"/>
              </a:cxn>
              <a:cxn ang="0">
                <a:pos x="18" y="96"/>
              </a:cxn>
              <a:cxn ang="0">
                <a:pos x="10" y="90"/>
              </a:cxn>
              <a:cxn ang="0">
                <a:pos x="8" y="90"/>
              </a:cxn>
              <a:cxn ang="0">
                <a:pos x="12" y="56"/>
              </a:cxn>
              <a:cxn ang="0">
                <a:pos x="12" y="50"/>
              </a:cxn>
              <a:cxn ang="0">
                <a:pos x="8" y="48"/>
              </a:cxn>
              <a:cxn ang="0">
                <a:pos x="2" y="50"/>
              </a:cxn>
              <a:cxn ang="0">
                <a:pos x="0" y="50"/>
              </a:cxn>
              <a:cxn ang="0">
                <a:pos x="4" y="44"/>
              </a:cxn>
              <a:cxn ang="0">
                <a:pos x="4" y="38"/>
              </a:cxn>
              <a:cxn ang="0">
                <a:pos x="2" y="36"/>
              </a:cxn>
              <a:cxn ang="0">
                <a:pos x="0" y="28"/>
              </a:cxn>
              <a:cxn ang="0">
                <a:pos x="2" y="20"/>
              </a:cxn>
              <a:cxn ang="0">
                <a:pos x="4" y="18"/>
              </a:cxn>
              <a:cxn ang="0">
                <a:pos x="8" y="20"/>
              </a:cxn>
              <a:cxn ang="0">
                <a:pos x="10" y="22"/>
              </a:cxn>
              <a:cxn ang="0">
                <a:pos x="12" y="20"/>
              </a:cxn>
              <a:cxn ang="0">
                <a:pos x="12" y="16"/>
              </a:cxn>
              <a:cxn ang="0">
                <a:pos x="16" y="16"/>
              </a:cxn>
              <a:cxn ang="0">
                <a:pos x="34" y="22"/>
              </a:cxn>
              <a:cxn ang="0">
                <a:pos x="38" y="20"/>
              </a:cxn>
              <a:cxn ang="0">
                <a:pos x="70" y="0"/>
              </a:cxn>
            </a:cxnLst>
            <a:rect l="0" t="0" r="r" b="b"/>
            <a:pathLst>
              <a:path w="82" h="104">
                <a:moveTo>
                  <a:pt x="70" y="0"/>
                </a:moveTo>
                <a:lnTo>
                  <a:pt x="70" y="0"/>
                </a:lnTo>
                <a:lnTo>
                  <a:pt x="78" y="18"/>
                </a:lnTo>
                <a:lnTo>
                  <a:pt x="80" y="26"/>
                </a:lnTo>
                <a:lnTo>
                  <a:pt x="82" y="32"/>
                </a:lnTo>
                <a:lnTo>
                  <a:pt x="82" y="32"/>
                </a:lnTo>
                <a:lnTo>
                  <a:pt x="78" y="36"/>
                </a:lnTo>
                <a:lnTo>
                  <a:pt x="72" y="38"/>
                </a:lnTo>
                <a:lnTo>
                  <a:pt x="42" y="42"/>
                </a:lnTo>
                <a:lnTo>
                  <a:pt x="66" y="70"/>
                </a:lnTo>
                <a:lnTo>
                  <a:pt x="66" y="70"/>
                </a:lnTo>
                <a:lnTo>
                  <a:pt x="58" y="74"/>
                </a:lnTo>
                <a:lnTo>
                  <a:pt x="56" y="80"/>
                </a:lnTo>
                <a:lnTo>
                  <a:pt x="52" y="82"/>
                </a:lnTo>
                <a:lnTo>
                  <a:pt x="46" y="84"/>
                </a:lnTo>
                <a:lnTo>
                  <a:pt x="46" y="84"/>
                </a:lnTo>
                <a:lnTo>
                  <a:pt x="42" y="86"/>
                </a:lnTo>
                <a:lnTo>
                  <a:pt x="38" y="88"/>
                </a:lnTo>
                <a:lnTo>
                  <a:pt x="34" y="94"/>
                </a:lnTo>
                <a:lnTo>
                  <a:pt x="32" y="100"/>
                </a:lnTo>
                <a:lnTo>
                  <a:pt x="30" y="102"/>
                </a:lnTo>
                <a:lnTo>
                  <a:pt x="28" y="104"/>
                </a:lnTo>
                <a:lnTo>
                  <a:pt x="28" y="104"/>
                </a:lnTo>
                <a:lnTo>
                  <a:pt x="26" y="104"/>
                </a:lnTo>
                <a:lnTo>
                  <a:pt x="24" y="102"/>
                </a:lnTo>
                <a:lnTo>
                  <a:pt x="18" y="96"/>
                </a:lnTo>
                <a:lnTo>
                  <a:pt x="14" y="92"/>
                </a:lnTo>
                <a:lnTo>
                  <a:pt x="10" y="90"/>
                </a:lnTo>
                <a:lnTo>
                  <a:pt x="8" y="90"/>
                </a:lnTo>
                <a:lnTo>
                  <a:pt x="8" y="90"/>
                </a:lnTo>
                <a:lnTo>
                  <a:pt x="10" y="74"/>
                </a:lnTo>
                <a:lnTo>
                  <a:pt x="12" y="56"/>
                </a:lnTo>
                <a:lnTo>
                  <a:pt x="12" y="56"/>
                </a:lnTo>
                <a:lnTo>
                  <a:pt x="12" y="50"/>
                </a:lnTo>
                <a:lnTo>
                  <a:pt x="10" y="48"/>
                </a:lnTo>
                <a:lnTo>
                  <a:pt x="8" y="48"/>
                </a:lnTo>
                <a:lnTo>
                  <a:pt x="4" y="50"/>
                </a:lnTo>
                <a:lnTo>
                  <a:pt x="2" y="50"/>
                </a:lnTo>
                <a:lnTo>
                  <a:pt x="0" y="50"/>
                </a:lnTo>
                <a:lnTo>
                  <a:pt x="0" y="50"/>
                </a:lnTo>
                <a:lnTo>
                  <a:pt x="0" y="46"/>
                </a:lnTo>
                <a:lnTo>
                  <a:pt x="4" y="44"/>
                </a:lnTo>
                <a:lnTo>
                  <a:pt x="6" y="40"/>
                </a:lnTo>
                <a:lnTo>
                  <a:pt x="4" y="38"/>
                </a:lnTo>
                <a:lnTo>
                  <a:pt x="2" y="36"/>
                </a:lnTo>
                <a:lnTo>
                  <a:pt x="2" y="36"/>
                </a:lnTo>
                <a:lnTo>
                  <a:pt x="2" y="34"/>
                </a:lnTo>
                <a:lnTo>
                  <a:pt x="0" y="28"/>
                </a:lnTo>
                <a:lnTo>
                  <a:pt x="0" y="22"/>
                </a:lnTo>
                <a:lnTo>
                  <a:pt x="2" y="20"/>
                </a:lnTo>
                <a:lnTo>
                  <a:pt x="4" y="18"/>
                </a:lnTo>
                <a:lnTo>
                  <a:pt x="4" y="18"/>
                </a:lnTo>
                <a:lnTo>
                  <a:pt x="6" y="18"/>
                </a:lnTo>
                <a:lnTo>
                  <a:pt x="8" y="20"/>
                </a:lnTo>
                <a:lnTo>
                  <a:pt x="8" y="22"/>
                </a:lnTo>
                <a:lnTo>
                  <a:pt x="10" y="22"/>
                </a:lnTo>
                <a:lnTo>
                  <a:pt x="10" y="22"/>
                </a:lnTo>
                <a:lnTo>
                  <a:pt x="12" y="20"/>
                </a:lnTo>
                <a:lnTo>
                  <a:pt x="12" y="18"/>
                </a:lnTo>
                <a:lnTo>
                  <a:pt x="12" y="16"/>
                </a:lnTo>
                <a:lnTo>
                  <a:pt x="16" y="16"/>
                </a:lnTo>
                <a:lnTo>
                  <a:pt x="16" y="16"/>
                </a:lnTo>
                <a:lnTo>
                  <a:pt x="30" y="22"/>
                </a:lnTo>
                <a:lnTo>
                  <a:pt x="34" y="22"/>
                </a:lnTo>
                <a:lnTo>
                  <a:pt x="38" y="20"/>
                </a:lnTo>
                <a:lnTo>
                  <a:pt x="38" y="20"/>
                </a:lnTo>
                <a:lnTo>
                  <a:pt x="70" y="0"/>
                </a:lnTo>
                <a:lnTo>
                  <a:pt x="70" y="0"/>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11" name="Saudi Arabia"/>
          <p:cNvSpPr>
            <a:spLocks/>
          </p:cNvSpPr>
          <p:nvPr/>
        </p:nvSpPr>
        <p:spPr bwMode="auto">
          <a:xfrm>
            <a:off x="5143051" y="1844315"/>
            <a:ext cx="505899" cy="468882"/>
          </a:xfrm>
          <a:custGeom>
            <a:avLst/>
            <a:gdLst/>
            <a:ahLst/>
            <a:cxnLst>
              <a:cxn ang="0">
                <a:pos x="354" y="182"/>
              </a:cxn>
              <a:cxn ang="0">
                <a:pos x="352" y="180"/>
              </a:cxn>
              <a:cxn ang="0">
                <a:pos x="336" y="170"/>
              </a:cxn>
              <a:cxn ang="0">
                <a:pos x="326" y="156"/>
              </a:cxn>
              <a:cxn ang="0">
                <a:pos x="320" y="140"/>
              </a:cxn>
              <a:cxn ang="0">
                <a:pos x="316" y="130"/>
              </a:cxn>
              <a:cxn ang="0">
                <a:pos x="310" y="124"/>
              </a:cxn>
              <a:cxn ang="0">
                <a:pos x="296" y="114"/>
              </a:cxn>
              <a:cxn ang="0">
                <a:pos x="296" y="110"/>
              </a:cxn>
              <a:cxn ang="0">
                <a:pos x="288" y="104"/>
              </a:cxn>
              <a:cxn ang="0">
                <a:pos x="266" y="70"/>
              </a:cxn>
              <a:cxn ang="0">
                <a:pos x="252" y="72"/>
              </a:cxn>
              <a:cxn ang="0">
                <a:pos x="246" y="64"/>
              </a:cxn>
              <a:cxn ang="0">
                <a:pos x="210" y="62"/>
              </a:cxn>
              <a:cxn ang="0">
                <a:pos x="170" y="46"/>
              </a:cxn>
              <a:cxn ang="0">
                <a:pos x="134" y="18"/>
              </a:cxn>
              <a:cxn ang="0">
                <a:pos x="74" y="0"/>
              </a:cxn>
              <a:cxn ang="0">
                <a:pos x="34" y="10"/>
              </a:cxn>
              <a:cxn ang="0">
                <a:pos x="48" y="48"/>
              </a:cxn>
              <a:cxn ang="0">
                <a:pos x="34" y="54"/>
              </a:cxn>
              <a:cxn ang="0">
                <a:pos x="22" y="70"/>
              </a:cxn>
              <a:cxn ang="0">
                <a:pos x="16" y="70"/>
              </a:cxn>
              <a:cxn ang="0">
                <a:pos x="0" y="58"/>
              </a:cxn>
              <a:cxn ang="0">
                <a:pos x="2" y="68"/>
              </a:cxn>
              <a:cxn ang="0">
                <a:pos x="4" y="80"/>
              </a:cxn>
              <a:cxn ang="0">
                <a:pos x="4" y="90"/>
              </a:cxn>
              <a:cxn ang="0">
                <a:pos x="10" y="98"/>
              </a:cxn>
              <a:cxn ang="0">
                <a:pos x="24" y="116"/>
              </a:cxn>
              <a:cxn ang="0">
                <a:pos x="24" y="122"/>
              </a:cxn>
              <a:cxn ang="0">
                <a:pos x="50" y="160"/>
              </a:cxn>
              <a:cxn ang="0">
                <a:pos x="60" y="186"/>
              </a:cxn>
              <a:cxn ang="0">
                <a:pos x="76" y="194"/>
              </a:cxn>
              <a:cxn ang="0">
                <a:pos x="86" y="204"/>
              </a:cxn>
              <a:cxn ang="0">
                <a:pos x="90" y="220"/>
              </a:cxn>
              <a:cxn ang="0">
                <a:pos x="110" y="260"/>
              </a:cxn>
              <a:cxn ang="0">
                <a:pos x="104" y="266"/>
              </a:cxn>
              <a:cxn ang="0">
                <a:pos x="108" y="278"/>
              </a:cxn>
              <a:cxn ang="0">
                <a:pos x="132" y="298"/>
              </a:cxn>
              <a:cxn ang="0">
                <a:pos x="150" y="328"/>
              </a:cxn>
              <a:cxn ang="0">
                <a:pos x="172" y="352"/>
              </a:cxn>
              <a:cxn ang="0">
                <a:pos x="186" y="382"/>
              </a:cxn>
              <a:cxn ang="0">
                <a:pos x="192" y="390"/>
              </a:cxn>
              <a:cxn ang="0">
                <a:pos x="192" y="394"/>
              </a:cxn>
              <a:cxn ang="0">
                <a:pos x="204" y="386"/>
              </a:cxn>
              <a:cxn ang="0">
                <a:pos x="210" y="380"/>
              </a:cxn>
              <a:cxn ang="0">
                <a:pos x="226" y="378"/>
              </a:cxn>
              <a:cxn ang="0">
                <a:pos x="258" y="388"/>
              </a:cxn>
              <a:cxn ang="0">
                <a:pos x="270" y="396"/>
              </a:cxn>
              <a:cxn ang="0">
                <a:pos x="286" y="396"/>
              </a:cxn>
              <a:cxn ang="0">
                <a:pos x="374" y="332"/>
              </a:cxn>
              <a:cxn ang="0">
                <a:pos x="430" y="242"/>
              </a:cxn>
              <a:cxn ang="0">
                <a:pos x="366" y="224"/>
              </a:cxn>
              <a:cxn ang="0">
                <a:pos x="356" y="200"/>
              </a:cxn>
              <a:cxn ang="0">
                <a:pos x="354" y="184"/>
              </a:cxn>
            </a:cxnLst>
            <a:rect l="0" t="0" r="r" b="b"/>
            <a:pathLst>
              <a:path w="444" h="412">
                <a:moveTo>
                  <a:pt x="354" y="184"/>
                </a:moveTo>
                <a:lnTo>
                  <a:pt x="354" y="184"/>
                </a:lnTo>
                <a:lnTo>
                  <a:pt x="352" y="184"/>
                </a:lnTo>
                <a:lnTo>
                  <a:pt x="354" y="182"/>
                </a:lnTo>
                <a:lnTo>
                  <a:pt x="354" y="182"/>
                </a:lnTo>
                <a:lnTo>
                  <a:pt x="354" y="180"/>
                </a:lnTo>
                <a:lnTo>
                  <a:pt x="352" y="180"/>
                </a:lnTo>
                <a:lnTo>
                  <a:pt x="352" y="180"/>
                </a:lnTo>
                <a:lnTo>
                  <a:pt x="352" y="178"/>
                </a:lnTo>
                <a:lnTo>
                  <a:pt x="352" y="178"/>
                </a:lnTo>
                <a:lnTo>
                  <a:pt x="344" y="176"/>
                </a:lnTo>
                <a:lnTo>
                  <a:pt x="336" y="170"/>
                </a:lnTo>
                <a:lnTo>
                  <a:pt x="336" y="170"/>
                </a:lnTo>
                <a:lnTo>
                  <a:pt x="330" y="164"/>
                </a:lnTo>
                <a:lnTo>
                  <a:pt x="326" y="156"/>
                </a:lnTo>
                <a:lnTo>
                  <a:pt x="326" y="156"/>
                </a:lnTo>
                <a:lnTo>
                  <a:pt x="322" y="148"/>
                </a:lnTo>
                <a:lnTo>
                  <a:pt x="320" y="144"/>
                </a:lnTo>
                <a:lnTo>
                  <a:pt x="320" y="140"/>
                </a:lnTo>
                <a:lnTo>
                  <a:pt x="320" y="140"/>
                </a:lnTo>
                <a:lnTo>
                  <a:pt x="320" y="134"/>
                </a:lnTo>
                <a:lnTo>
                  <a:pt x="318" y="132"/>
                </a:lnTo>
                <a:lnTo>
                  <a:pt x="316" y="132"/>
                </a:lnTo>
                <a:lnTo>
                  <a:pt x="316" y="130"/>
                </a:lnTo>
                <a:lnTo>
                  <a:pt x="316" y="130"/>
                </a:lnTo>
                <a:lnTo>
                  <a:pt x="314" y="126"/>
                </a:lnTo>
                <a:lnTo>
                  <a:pt x="312" y="126"/>
                </a:lnTo>
                <a:lnTo>
                  <a:pt x="310" y="124"/>
                </a:lnTo>
                <a:lnTo>
                  <a:pt x="304" y="120"/>
                </a:lnTo>
                <a:lnTo>
                  <a:pt x="304" y="120"/>
                </a:lnTo>
                <a:lnTo>
                  <a:pt x="298" y="114"/>
                </a:lnTo>
                <a:lnTo>
                  <a:pt x="296" y="114"/>
                </a:lnTo>
                <a:lnTo>
                  <a:pt x="298" y="112"/>
                </a:lnTo>
                <a:lnTo>
                  <a:pt x="298" y="112"/>
                </a:lnTo>
                <a:lnTo>
                  <a:pt x="298" y="110"/>
                </a:lnTo>
                <a:lnTo>
                  <a:pt x="296" y="110"/>
                </a:lnTo>
                <a:lnTo>
                  <a:pt x="292" y="110"/>
                </a:lnTo>
                <a:lnTo>
                  <a:pt x="288" y="112"/>
                </a:lnTo>
                <a:lnTo>
                  <a:pt x="288" y="112"/>
                </a:lnTo>
                <a:lnTo>
                  <a:pt x="288" y="104"/>
                </a:lnTo>
                <a:lnTo>
                  <a:pt x="280" y="88"/>
                </a:lnTo>
                <a:lnTo>
                  <a:pt x="280" y="88"/>
                </a:lnTo>
                <a:lnTo>
                  <a:pt x="270" y="72"/>
                </a:lnTo>
                <a:lnTo>
                  <a:pt x="266" y="70"/>
                </a:lnTo>
                <a:lnTo>
                  <a:pt x="264" y="72"/>
                </a:lnTo>
                <a:lnTo>
                  <a:pt x="264" y="72"/>
                </a:lnTo>
                <a:lnTo>
                  <a:pt x="256" y="72"/>
                </a:lnTo>
                <a:lnTo>
                  <a:pt x="252" y="72"/>
                </a:lnTo>
                <a:lnTo>
                  <a:pt x="250" y="70"/>
                </a:lnTo>
                <a:lnTo>
                  <a:pt x="250" y="68"/>
                </a:lnTo>
                <a:lnTo>
                  <a:pt x="248" y="66"/>
                </a:lnTo>
                <a:lnTo>
                  <a:pt x="246" y="64"/>
                </a:lnTo>
                <a:lnTo>
                  <a:pt x="242" y="62"/>
                </a:lnTo>
                <a:lnTo>
                  <a:pt x="234" y="62"/>
                </a:lnTo>
                <a:lnTo>
                  <a:pt x="234" y="62"/>
                </a:lnTo>
                <a:lnTo>
                  <a:pt x="210" y="62"/>
                </a:lnTo>
                <a:lnTo>
                  <a:pt x="194" y="60"/>
                </a:lnTo>
                <a:lnTo>
                  <a:pt x="182" y="56"/>
                </a:lnTo>
                <a:lnTo>
                  <a:pt x="170" y="46"/>
                </a:lnTo>
                <a:lnTo>
                  <a:pt x="170" y="46"/>
                </a:lnTo>
                <a:lnTo>
                  <a:pt x="156" y="34"/>
                </a:lnTo>
                <a:lnTo>
                  <a:pt x="150" y="26"/>
                </a:lnTo>
                <a:lnTo>
                  <a:pt x="146" y="22"/>
                </a:lnTo>
                <a:lnTo>
                  <a:pt x="134" y="18"/>
                </a:lnTo>
                <a:lnTo>
                  <a:pt x="134" y="18"/>
                </a:lnTo>
                <a:lnTo>
                  <a:pt x="108" y="4"/>
                </a:lnTo>
                <a:lnTo>
                  <a:pt x="96" y="2"/>
                </a:lnTo>
                <a:lnTo>
                  <a:pt x="74" y="0"/>
                </a:lnTo>
                <a:lnTo>
                  <a:pt x="74" y="0"/>
                </a:lnTo>
                <a:lnTo>
                  <a:pt x="70" y="4"/>
                </a:lnTo>
                <a:lnTo>
                  <a:pt x="64" y="6"/>
                </a:lnTo>
                <a:lnTo>
                  <a:pt x="34" y="10"/>
                </a:lnTo>
                <a:lnTo>
                  <a:pt x="58" y="38"/>
                </a:lnTo>
                <a:lnTo>
                  <a:pt x="58" y="38"/>
                </a:lnTo>
                <a:lnTo>
                  <a:pt x="50" y="42"/>
                </a:lnTo>
                <a:lnTo>
                  <a:pt x="48" y="48"/>
                </a:lnTo>
                <a:lnTo>
                  <a:pt x="44" y="50"/>
                </a:lnTo>
                <a:lnTo>
                  <a:pt x="38" y="52"/>
                </a:lnTo>
                <a:lnTo>
                  <a:pt x="38" y="52"/>
                </a:lnTo>
                <a:lnTo>
                  <a:pt x="34" y="54"/>
                </a:lnTo>
                <a:lnTo>
                  <a:pt x="30" y="56"/>
                </a:lnTo>
                <a:lnTo>
                  <a:pt x="26" y="62"/>
                </a:lnTo>
                <a:lnTo>
                  <a:pt x="24" y="68"/>
                </a:lnTo>
                <a:lnTo>
                  <a:pt x="22" y="70"/>
                </a:lnTo>
                <a:lnTo>
                  <a:pt x="20" y="72"/>
                </a:lnTo>
                <a:lnTo>
                  <a:pt x="20" y="72"/>
                </a:lnTo>
                <a:lnTo>
                  <a:pt x="18" y="72"/>
                </a:lnTo>
                <a:lnTo>
                  <a:pt x="16" y="70"/>
                </a:lnTo>
                <a:lnTo>
                  <a:pt x="10" y="64"/>
                </a:lnTo>
                <a:lnTo>
                  <a:pt x="6" y="60"/>
                </a:lnTo>
                <a:lnTo>
                  <a:pt x="2" y="58"/>
                </a:lnTo>
                <a:lnTo>
                  <a:pt x="0" y="58"/>
                </a:lnTo>
                <a:lnTo>
                  <a:pt x="0" y="58"/>
                </a:lnTo>
                <a:lnTo>
                  <a:pt x="2" y="62"/>
                </a:lnTo>
                <a:lnTo>
                  <a:pt x="4" y="64"/>
                </a:lnTo>
                <a:lnTo>
                  <a:pt x="2" y="68"/>
                </a:lnTo>
                <a:lnTo>
                  <a:pt x="2" y="68"/>
                </a:lnTo>
                <a:lnTo>
                  <a:pt x="0" y="72"/>
                </a:lnTo>
                <a:lnTo>
                  <a:pt x="2" y="76"/>
                </a:lnTo>
                <a:lnTo>
                  <a:pt x="4" y="80"/>
                </a:lnTo>
                <a:lnTo>
                  <a:pt x="2" y="86"/>
                </a:lnTo>
                <a:lnTo>
                  <a:pt x="2" y="86"/>
                </a:lnTo>
                <a:lnTo>
                  <a:pt x="2" y="90"/>
                </a:lnTo>
                <a:lnTo>
                  <a:pt x="4" y="90"/>
                </a:lnTo>
                <a:lnTo>
                  <a:pt x="8" y="92"/>
                </a:lnTo>
                <a:lnTo>
                  <a:pt x="10" y="94"/>
                </a:lnTo>
                <a:lnTo>
                  <a:pt x="10" y="98"/>
                </a:lnTo>
                <a:lnTo>
                  <a:pt x="10" y="98"/>
                </a:lnTo>
                <a:lnTo>
                  <a:pt x="14" y="106"/>
                </a:lnTo>
                <a:lnTo>
                  <a:pt x="20" y="112"/>
                </a:lnTo>
                <a:lnTo>
                  <a:pt x="24" y="114"/>
                </a:lnTo>
                <a:lnTo>
                  <a:pt x="24" y="116"/>
                </a:lnTo>
                <a:lnTo>
                  <a:pt x="24" y="118"/>
                </a:lnTo>
                <a:lnTo>
                  <a:pt x="24" y="118"/>
                </a:lnTo>
                <a:lnTo>
                  <a:pt x="24" y="120"/>
                </a:lnTo>
                <a:lnTo>
                  <a:pt x="24" y="122"/>
                </a:lnTo>
                <a:lnTo>
                  <a:pt x="28" y="128"/>
                </a:lnTo>
                <a:lnTo>
                  <a:pt x="38" y="140"/>
                </a:lnTo>
                <a:lnTo>
                  <a:pt x="50" y="160"/>
                </a:lnTo>
                <a:lnTo>
                  <a:pt x="50" y="160"/>
                </a:lnTo>
                <a:lnTo>
                  <a:pt x="54" y="170"/>
                </a:lnTo>
                <a:lnTo>
                  <a:pt x="54" y="172"/>
                </a:lnTo>
                <a:lnTo>
                  <a:pt x="54" y="176"/>
                </a:lnTo>
                <a:lnTo>
                  <a:pt x="60" y="186"/>
                </a:lnTo>
                <a:lnTo>
                  <a:pt x="60" y="186"/>
                </a:lnTo>
                <a:lnTo>
                  <a:pt x="64" y="190"/>
                </a:lnTo>
                <a:lnTo>
                  <a:pt x="70" y="192"/>
                </a:lnTo>
                <a:lnTo>
                  <a:pt x="76" y="194"/>
                </a:lnTo>
                <a:lnTo>
                  <a:pt x="80" y="198"/>
                </a:lnTo>
                <a:lnTo>
                  <a:pt x="80" y="198"/>
                </a:lnTo>
                <a:lnTo>
                  <a:pt x="84" y="202"/>
                </a:lnTo>
                <a:lnTo>
                  <a:pt x="86" y="204"/>
                </a:lnTo>
                <a:lnTo>
                  <a:pt x="88" y="206"/>
                </a:lnTo>
                <a:lnTo>
                  <a:pt x="88" y="210"/>
                </a:lnTo>
                <a:lnTo>
                  <a:pt x="88" y="210"/>
                </a:lnTo>
                <a:lnTo>
                  <a:pt x="90" y="220"/>
                </a:lnTo>
                <a:lnTo>
                  <a:pt x="96" y="232"/>
                </a:lnTo>
                <a:lnTo>
                  <a:pt x="108" y="256"/>
                </a:lnTo>
                <a:lnTo>
                  <a:pt x="108" y="256"/>
                </a:lnTo>
                <a:lnTo>
                  <a:pt x="110" y="260"/>
                </a:lnTo>
                <a:lnTo>
                  <a:pt x="110" y="264"/>
                </a:lnTo>
                <a:lnTo>
                  <a:pt x="108" y="264"/>
                </a:lnTo>
                <a:lnTo>
                  <a:pt x="106" y="266"/>
                </a:lnTo>
                <a:lnTo>
                  <a:pt x="104" y="266"/>
                </a:lnTo>
                <a:lnTo>
                  <a:pt x="106" y="270"/>
                </a:lnTo>
                <a:lnTo>
                  <a:pt x="106" y="270"/>
                </a:lnTo>
                <a:lnTo>
                  <a:pt x="108" y="274"/>
                </a:lnTo>
                <a:lnTo>
                  <a:pt x="108" y="278"/>
                </a:lnTo>
                <a:lnTo>
                  <a:pt x="112" y="282"/>
                </a:lnTo>
                <a:lnTo>
                  <a:pt x="122" y="290"/>
                </a:lnTo>
                <a:lnTo>
                  <a:pt x="122" y="290"/>
                </a:lnTo>
                <a:lnTo>
                  <a:pt x="132" y="298"/>
                </a:lnTo>
                <a:lnTo>
                  <a:pt x="140" y="306"/>
                </a:lnTo>
                <a:lnTo>
                  <a:pt x="144" y="312"/>
                </a:lnTo>
                <a:lnTo>
                  <a:pt x="146" y="318"/>
                </a:lnTo>
                <a:lnTo>
                  <a:pt x="150" y="328"/>
                </a:lnTo>
                <a:lnTo>
                  <a:pt x="154" y="332"/>
                </a:lnTo>
                <a:lnTo>
                  <a:pt x="158" y="338"/>
                </a:lnTo>
                <a:lnTo>
                  <a:pt x="158" y="338"/>
                </a:lnTo>
                <a:lnTo>
                  <a:pt x="172" y="352"/>
                </a:lnTo>
                <a:lnTo>
                  <a:pt x="180" y="368"/>
                </a:lnTo>
                <a:lnTo>
                  <a:pt x="180" y="368"/>
                </a:lnTo>
                <a:lnTo>
                  <a:pt x="186" y="378"/>
                </a:lnTo>
                <a:lnTo>
                  <a:pt x="186" y="382"/>
                </a:lnTo>
                <a:lnTo>
                  <a:pt x="186" y="384"/>
                </a:lnTo>
                <a:lnTo>
                  <a:pt x="190" y="386"/>
                </a:lnTo>
                <a:lnTo>
                  <a:pt x="190" y="386"/>
                </a:lnTo>
                <a:lnTo>
                  <a:pt x="192" y="390"/>
                </a:lnTo>
                <a:lnTo>
                  <a:pt x="190" y="390"/>
                </a:lnTo>
                <a:lnTo>
                  <a:pt x="190" y="392"/>
                </a:lnTo>
                <a:lnTo>
                  <a:pt x="192" y="394"/>
                </a:lnTo>
                <a:lnTo>
                  <a:pt x="192" y="394"/>
                </a:lnTo>
                <a:lnTo>
                  <a:pt x="202" y="392"/>
                </a:lnTo>
                <a:lnTo>
                  <a:pt x="204" y="390"/>
                </a:lnTo>
                <a:lnTo>
                  <a:pt x="204" y="388"/>
                </a:lnTo>
                <a:lnTo>
                  <a:pt x="204" y="386"/>
                </a:lnTo>
                <a:lnTo>
                  <a:pt x="204" y="384"/>
                </a:lnTo>
                <a:lnTo>
                  <a:pt x="206" y="382"/>
                </a:lnTo>
                <a:lnTo>
                  <a:pt x="206" y="382"/>
                </a:lnTo>
                <a:lnTo>
                  <a:pt x="210" y="380"/>
                </a:lnTo>
                <a:lnTo>
                  <a:pt x="210" y="378"/>
                </a:lnTo>
                <a:lnTo>
                  <a:pt x="210" y="376"/>
                </a:lnTo>
                <a:lnTo>
                  <a:pt x="214" y="376"/>
                </a:lnTo>
                <a:lnTo>
                  <a:pt x="226" y="378"/>
                </a:lnTo>
                <a:lnTo>
                  <a:pt x="226" y="378"/>
                </a:lnTo>
                <a:lnTo>
                  <a:pt x="244" y="382"/>
                </a:lnTo>
                <a:lnTo>
                  <a:pt x="252" y="386"/>
                </a:lnTo>
                <a:lnTo>
                  <a:pt x="258" y="388"/>
                </a:lnTo>
                <a:lnTo>
                  <a:pt x="262" y="392"/>
                </a:lnTo>
                <a:lnTo>
                  <a:pt x="262" y="392"/>
                </a:lnTo>
                <a:lnTo>
                  <a:pt x="268" y="394"/>
                </a:lnTo>
                <a:lnTo>
                  <a:pt x="270" y="396"/>
                </a:lnTo>
                <a:lnTo>
                  <a:pt x="272" y="402"/>
                </a:lnTo>
                <a:lnTo>
                  <a:pt x="270" y="412"/>
                </a:lnTo>
                <a:lnTo>
                  <a:pt x="270" y="412"/>
                </a:lnTo>
                <a:lnTo>
                  <a:pt x="286" y="396"/>
                </a:lnTo>
                <a:lnTo>
                  <a:pt x="306" y="376"/>
                </a:lnTo>
                <a:lnTo>
                  <a:pt x="326" y="352"/>
                </a:lnTo>
                <a:lnTo>
                  <a:pt x="326" y="352"/>
                </a:lnTo>
                <a:lnTo>
                  <a:pt x="374" y="332"/>
                </a:lnTo>
                <a:lnTo>
                  <a:pt x="434" y="304"/>
                </a:lnTo>
                <a:lnTo>
                  <a:pt x="444" y="254"/>
                </a:lnTo>
                <a:lnTo>
                  <a:pt x="444" y="254"/>
                </a:lnTo>
                <a:lnTo>
                  <a:pt x="430" y="242"/>
                </a:lnTo>
                <a:lnTo>
                  <a:pt x="430" y="242"/>
                </a:lnTo>
                <a:lnTo>
                  <a:pt x="418" y="248"/>
                </a:lnTo>
                <a:lnTo>
                  <a:pt x="366" y="224"/>
                </a:lnTo>
                <a:lnTo>
                  <a:pt x="366" y="224"/>
                </a:lnTo>
                <a:lnTo>
                  <a:pt x="366" y="218"/>
                </a:lnTo>
                <a:lnTo>
                  <a:pt x="364" y="212"/>
                </a:lnTo>
                <a:lnTo>
                  <a:pt x="358" y="202"/>
                </a:lnTo>
                <a:lnTo>
                  <a:pt x="356" y="200"/>
                </a:lnTo>
                <a:lnTo>
                  <a:pt x="354" y="194"/>
                </a:lnTo>
                <a:lnTo>
                  <a:pt x="352" y="190"/>
                </a:lnTo>
                <a:lnTo>
                  <a:pt x="354" y="184"/>
                </a:lnTo>
                <a:lnTo>
                  <a:pt x="354" y="184"/>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12" name="Freeform 251"/>
          <p:cNvSpPr>
            <a:spLocks/>
          </p:cNvSpPr>
          <p:nvPr/>
        </p:nvSpPr>
        <p:spPr bwMode="auto">
          <a:xfrm>
            <a:off x="5819862" y="1628084"/>
            <a:ext cx="170913" cy="84217"/>
          </a:xfrm>
          <a:custGeom>
            <a:avLst/>
            <a:gdLst/>
            <a:ahLst/>
            <a:cxnLst>
              <a:cxn ang="0">
                <a:pos x="22" y="58"/>
              </a:cxn>
              <a:cxn ang="0">
                <a:pos x="28" y="64"/>
              </a:cxn>
              <a:cxn ang="0">
                <a:pos x="40" y="62"/>
              </a:cxn>
              <a:cxn ang="0">
                <a:pos x="54" y="62"/>
              </a:cxn>
              <a:cxn ang="0">
                <a:pos x="54" y="58"/>
              </a:cxn>
              <a:cxn ang="0">
                <a:pos x="56" y="54"/>
              </a:cxn>
              <a:cxn ang="0">
                <a:pos x="62" y="52"/>
              </a:cxn>
              <a:cxn ang="0">
                <a:pos x="66" y="50"/>
              </a:cxn>
              <a:cxn ang="0">
                <a:pos x="68" y="42"/>
              </a:cxn>
              <a:cxn ang="0">
                <a:pos x="80" y="40"/>
              </a:cxn>
              <a:cxn ang="0">
                <a:pos x="82" y="46"/>
              </a:cxn>
              <a:cxn ang="0">
                <a:pos x="86" y="50"/>
              </a:cxn>
              <a:cxn ang="0">
                <a:pos x="86" y="52"/>
              </a:cxn>
              <a:cxn ang="0">
                <a:pos x="98" y="70"/>
              </a:cxn>
              <a:cxn ang="0">
                <a:pos x="104" y="74"/>
              </a:cxn>
              <a:cxn ang="0">
                <a:pos x="118" y="64"/>
              </a:cxn>
              <a:cxn ang="0">
                <a:pos x="126" y="60"/>
              </a:cxn>
              <a:cxn ang="0">
                <a:pos x="126" y="62"/>
              </a:cxn>
              <a:cxn ang="0">
                <a:pos x="128" y="64"/>
              </a:cxn>
              <a:cxn ang="0">
                <a:pos x="138" y="60"/>
              </a:cxn>
              <a:cxn ang="0">
                <a:pos x="150" y="56"/>
              </a:cxn>
              <a:cxn ang="0">
                <a:pos x="146" y="44"/>
              </a:cxn>
              <a:cxn ang="0">
                <a:pos x="138" y="32"/>
              </a:cxn>
              <a:cxn ang="0">
                <a:pos x="136" y="26"/>
              </a:cxn>
              <a:cxn ang="0">
                <a:pos x="124" y="28"/>
              </a:cxn>
              <a:cxn ang="0">
                <a:pos x="118" y="22"/>
              </a:cxn>
              <a:cxn ang="0">
                <a:pos x="74" y="26"/>
              </a:cxn>
              <a:cxn ang="0">
                <a:pos x="64" y="24"/>
              </a:cxn>
              <a:cxn ang="0">
                <a:pos x="50" y="24"/>
              </a:cxn>
              <a:cxn ang="0">
                <a:pos x="38" y="24"/>
              </a:cxn>
              <a:cxn ang="0">
                <a:pos x="28" y="22"/>
              </a:cxn>
              <a:cxn ang="0">
                <a:pos x="36" y="16"/>
              </a:cxn>
              <a:cxn ang="0">
                <a:pos x="48" y="16"/>
              </a:cxn>
              <a:cxn ang="0">
                <a:pos x="58" y="14"/>
              </a:cxn>
              <a:cxn ang="0">
                <a:pos x="52" y="8"/>
              </a:cxn>
              <a:cxn ang="0">
                <a:pos x="56" y="4"/>
              </a:cxn>
              <a:cxn ang="0">
                <a:pos x="52" y="0"/>
              </a:cxn>
              <a:cxn ang="0">
                <a:pos x="42" y="4"/>
              </a:cxn>
              <a:cxn ang="0">
                <a:pos x="30" y="4"/>
              </a:cxn>
              <a:cxn ang="0">
                <a:pos x="24" y="12"/>
              </a:cxn>
              <a:cxn ang="0">
                <a:pos x="24" y="14"/>
              </a:cxn>
              <a:cxn ang="0">
                <a:pos x="20" y="20"/>
              </a:cxn>
              <a:cxn ang="0">
                <a:pos x="6" y="22"/>
              </a:cxn>
              <a:cxn ang="0">
                <a:pos x="0" y="28"/>
              </a:cxn>
              <a:cxn ang="0">
                <a:pos x="10" y="34"/>
              </a:cxn>
              <a:cxn ang="0">
                <a:pos x="18" y="36"/>
              </a:cxn>
              <a:cxn ang="0">
                <a:pos x="20" y="38"/>
              </a:cxn>
              <a:cxn ang="0">
                <a:pos x="22" y="44"/>
              </a:cxn>
              <a:cxn ang="0">
                <a:pos x="18" y="58"/>
              </a:cxn>
            </a:cxnLst>
            <a:rect l="0" t="0" r="r" b="b"/>
            <a:pathLst>
              <a:path w="150" h="74">
                <a:moveTo>
                  <a:pt x="18" y="58"/>
                </a:moveTo>
                <a:lnTo>
                  <a:pt x="18" y="58"/>
                </a:lnTo>
                <a:lnTo>
                  <a:pt x="22" y="58"/>
                </a:lnTo>
                <a:lnTo>
                  <a:pt x="24" y="58"/>
                </a:lnTo>
                <a:lnTo>
                  <a:pt x="26" y="62"/>
                </a:lnTo>
                <a:lnTo>
                  <a:pt x="28" y="64"/>
                </a:lnTo>
                <a:lnTo>
                  <a:pt x="34" y="64"/>
                </a:lnTo>
                <a:lnTo>
                  <a:pt x="34" y="64"/>
                </a:lnTo>
                <a:lnTo>
                  <a:pt x="40" y="62"/>
                </a:lnTo>
                <a:lnTo>
                  <a:pt x="44" y="62"/>
                </a:lnTo>
                <a:lnTo>
                  <a:pt x="50" y="64"/>
                </a:lnTo>
                <a:lnTo>
                  <a:pt x="54" y="62"/>
                </a:lnTo>
                <a:lnTo>
                  <a:pt x="54" y="62"/>
                </a:lnTo>
                <a:lnTo>
                  <a:pt x="56" y="60"/>
                </a:lnTo>
                <a:lnTo>
                  <a:pt x="54" y="58"/>
                </a:lnTo>
                <a:lnTo>
                  <a:pt x="54" y="56"/>
                </a:lnTo>
                <a:lnTo>
                  <a:pt x="56" y="54"/>
                </a:lnTo>
                <a:lnTo>
                  <a:pt x="56" y="54"/>
                </a:lnTo>
                <a:lnTo>
                  <a:pt x="60" y="52"/>
                </a:lnTo>
                <a:lnTo>
                  <a:pt x="60" y="52"/>
                </a:lnTo>
                <a:lnTo>
                  <a:pt x="62" y="52"/>
                </a:lnTo>
                <a:lnTo>
                  <a:pt x="64" y="52"/>
                </a:lnTo>
                <a:lnTo>
                  <a:pt x="64" y="52"/>
                </a:lnTo>
                <a:lnTo>
                  <a:pt x="66" y="50"/>
                </a:lnTo>
                <a:lnTo>
                  <a:pt x="64" y="48"/>
                </a:lnTo>
                <a:lnTo>
                  <a:pt x="66" y="46"/>
                </a:lnTo>
                <a:lnTo>
                  <a:pt x="68" y="42"/>
                </a:lnTo>
                <a:lnTo>
                  <a:pt x="68" y="42"/>
                </a:lnTo>
                <a:lnTo>
                  <a:pt x="74" y="40"/>
                </a:lnTo>
                <a:lnTo>
                  <a:pt x="80" y="40"/>
                </a:lnTo>
                <a:lnTo>
                  <a:pt x="82" y="42"/>
                </a:lnTo>
                <a:lnTo>
                  <a:pt x="82" y="46"/>
                </a:lnTo>
                <a:lnTo>
                  <a:pt x="82" y="46"/>
                </a:lnTo>
                <a:lnTo>
                  <a:pt x="80" y="50"/>
                </a:lnTo>
                <a:lnTo>
                  <a:pt x="82" y="50"/>
                </a:lnTo>
                <a:lnTo>
                  <a:pt x="86" y="50"/>
                </a:lnTo>
                <a:lnTo>
                  <a:pt x="86" y="50"/>
                </a:lnTo>
                <a:lnTo>
                  <a:pt x="86" y="52"/>
                </a:lnTo>
                <a:lnTo>
                  <a:pt x="86" y="52"/>
                </a:lnTo>
                <a:lnTo>
                  <a:pt x="88" y="56"/>
                </a:lnTo>
                <a:lnTo>
                  <a:pt x="92" y="62"/>
                </a:lnTo>
                <a:lnTo>
                  <a:pt x="98" y="70"/>
                </a:lnTo>
                <a:lnTo>
                  <a:pt x="98" y="70"/>
                </a:lnTo>
                <a:lnTo>
                  <a:pt x="102" y="74"/>
                </a:lnTo>
                <a:lnTo>
                  <a:pt x="104" y="74"/>
                </a:lnTo>
                <a:lnTo>
                  <a:pt x="112" y="68"/>
                </a:lnTo>
                <a:lnTo>
                  <a:pt x="112" y="68"/>
                </a:lnTo>
                <a:lnTo>
                  <a:pt x="118" y="64"/>
                </a:lnTo>
                <a:lnTo>
                  <a:pt x="122" y="62"/>
                </a:lnTo>
                <a:lnTo>
                  <a:pt x="124" y="60"/>
                </a:lnTo>
                <a:lnTo>
                  <a:pt x="126" y="60"/>
                </a:lnTo>
                <a:lnTo>
                  <a:pt x="126" y="60"/>
                </a:lnTo>
                <a:lnTo>
                  <a:pt x="128" y="60"/>
                </a:lnTo>
                <a:lnTo>
                  <a:pt x="126" y="62"/>
                </a:lnTo>
                <a:lnTo>
                  <a:pt x="126" y="64"/>
                </a:lnTo>
                <a:lnTo>
                  <a:pt x="128" y="64"/>
                </a:lnTo>
                <a:lnTo>
                  <a:pt x="128" y="64"/>
                </a:lnTo>
                <a:lnTo>
                  <a:pt x="130" y="64"/>
                </a:lnTo>
                <a:lnTo>
                  <a:pt x="134" y="62"/>
                </a:lnTo>
                <a:lnTo>
                  <a:pt x="138" y="60"/>
                </a:lnTo>
                <a:lnTo>
                  <a:pt x="148" y="60"/>
                </a:lnTo>
                <a:lnTo>
                  <a:pt x="148" y="60"/>
                </a:lnTo>
                <a:lnTo>
                  <a:pt x="150" y="56"/>
                </a:lnTo>
                <a:lnTo>
                  <a:pt x="148" y="48"/>
                </a:lnTo>
                <a:lnTo>
                  <a:pt x="148" y="48"/>
                </a:lnTo>
                <a:lnTo>
                  <a:pt x="146" y="44"/>
                </a:lnTo>
                <a:lnTo>
                  <a:pt x="140" y="42"/>
                </a:lnTo>
                <a:lnTo>
                  <a:pt x="138" y="38"/>
                </a:lnTo>
                <a:lnTo>
                  <a:pt x="138" y="32"/>
                </a:lnTo>
                <a:lnTo>
                  <a:pt x="138" y="32"/>
                </a:lnTo>
                <a:lnTo>
                  <a:pt x="138" y="28"/>
                </a:lnTo>
                <a:lnTo>
                  <a:pt x="136" y="26"/>
                </a:lnTo>
                <a:lnTo>
                  <a:pt x="130" y="26"/>
                </a:lnTo>
                <a:lnTo>
                  <a:pt x="126" y="28"/>
                </a:lnTo>
                <a:lnTo>
                  <a:pt x="124" y="28"/>
                </a:lnTo>
                <a:lnTo>
                  <a:pt x="120" y="26"/>
                </a:lnTo>
                <a:lnTo>
                  <a:pt x="118" y="22"/>
                </a:lnTo>
                <a:lnTo>
                  <a:pt x="118" y="22"/>
                </a:lnTo>
                <a:lnTo>
                  <a:pt x="102" y="26"/>
                </a:lnTo>
                <a:lnTo>
                  <a:pt x="86" y="28"/>
                </a:lnTo>
                <a:lnTo>
                  <a:pt x="74" y="26"/>
                </a:lnTo>
                <a:lnTo>
                  <a:pt x="68" y="24"/>
                </a:lnTo>
                <a:lnTo>
                  <a:pt x="68" y="24"/>
                </a:lnTo>
                <a:lnTo>
                  <a:pt x="64" y="24"/>
                </a:lnTo>
                <a:lnTo>
                  <a:pt x="60" y="24"/>
                </a:lnTo>
                <a:lnTo>
                  <a:pt x="54" y="26"/>
                </a:lnTo>
                <a:lnTo>
                  <a:pt x="50" y="24"/>
                </a:lnTo>
                <a:lnTo>
                  <a:pt x="50" y="24"/>
                </a:lnTo>
                <a:lnTo>
                  <a:pt x="46" y="24"/>
                </a:lnTo>
                <a:lnTo>
                  <a:pt x="38" y="24"/>
                </a:lnTo>
                <a:lnTo>
                  <a:pt x="30" y="24"/>
                </a:lnTo>
                <a:lnTo>
                  <a:pt x="28" y="24"/>
                </a:lnTo>
                <a:lnTo>
                  <a:pt x="28" y="22"/>
                </a:lnTo>
                <a:lnTo>
                  <a:pt x="28" y="22"/>
                </a:lnTo>
                <a:lnTo>
                  <a:pt x="30" y="18"/>
                </a:lnTo>
                <a:lnTo>
                  <a:pt x="36" y="16"/>
                </a:lnTo>
                <a:lnTo>
                  <a:pt x="42" y="16"/>
                </a:lnTo>
                <a:lnTo>
                  <a:pt x="48" y="16"/>
                </a:lnTo>
                <a:lnTo>
                  <a:pt x="48" y="16"/>
                </a:lnTo>
                <a:lnTo>
                  <a:pt x="52" y="18"/>
                </a:lnTo>
                <a:lnTo>
                  <a:pt x="56" y="18"/>
                </a:lnTo>
                <a:lnTo>
                  <a:pt x="58" y="14"/>
                </a:lnTo>
                <a:lnTo>
                  <a:pt x="58" y="10"/>
                </a:lnTo>
                <a:lnTo>
                  <a:pt x="58" y="10"/>
                </a:lnTo>
                <a:lnTo>
                  <a:pt x="52" y="8"/>
                </a:lnTo>
                <a:lnTo>
                  <a:pt x="52" y="6"/>
                </a:lnTo>
                <a:lnTo>
                  <a:pt x="52" y="6"/>
                </a:lnTo>
                <a:lnTo>
                  <a:pt x="56" y="4"/>
                </a:lnTo>
                <a:lnTo>
                  <a:pt x="56" y="4"/>
                </a:lnTo>
                <a:lnTo>
                  <a:pt x="52" y="0"/>
                </a:lnTo>
                <a:lnTo>
                  <a:pt x="52" y="0"/>
                </a:lnTo>
                <a:lnTo>
                  <a:pt x="50" y="0"/>
                </a:lnTo>
                <a:lnTo>
                  <a:pt x="48" y="0"/>
                </a:lnTo>
                <a:lnTo>
                  <a:pt x="42" y="4"/>
                </a:lnTo>
                <a:lnTo>
                  <a:pt x="36" y="6"/>
                </a:lnTo>
                <a:lnTo>
                  <a:pt x="32" y="6"/>
                </a:lnTo>
                <a:lnTo>
                  <a:pt x="30" y="4"/>
                </a:lnTo>
                <a:lnTo>
                  <a:pt x="30" y="4"/>
                </a:lnTo>
                <a:lnTo>
                  <a:pt x="28" y="8"/>
                </a:lnTo>
                <a:lnTo>
                  <a:pt x="24" y="12"/>
                </a:lnTo>
                <a:lnTo>
                  <a:pt x="16" y="14"/>
                </a:lnTo>
                <a:lnTo>
                  <a:pt x="16" y="14"/>
                </a:lnTo>
                <a:lnTo>
                  <a:pt x="24" y="14"/>
                </a:lnTo>
                <a:lnTo>
                  <a:pt x="24" y="16"/>
                </a:lnTo>
                <a:lnTo>
                  <a:pt x="24" y="18"/>
                </a:lnTo>
                <a:lnTo>
                  <a:pt x="20" y="20"/>
                </a:lnTo>
                <a:lnTo>
                  <a:pt x="10" y="22"/>
                </a:lnTo>
                <a:lnTo>
                  <a:pt x="10" y="22"/>
                </a:lnTo>
                <a:lnTo>
                  <a:pt x="6" y="22"/>
                </a:lnTo>
                <a:lnTo>
                  <a:pt x="2" y="24"/>
                </a:lnTo>
                <a:lnTo>
                  <a:pt x="0" y="26"/>
                </a:lnTo>
                <a:lnTo>
                  <a:pt x="0" y="28"/>
                </a:lnTo>
                <a:lnTo>
                  <a:pt x="4" y="32"/>
                </a:lnTo>
                <a:lnTo>
                  <a:pt x="10" y="34"/>
                </a:lnTo>
                <a:lnTo>
                  <a:pt x="10" y="34"/>
                </a:lnTo>
                <a:lnTo>
                  <a:pt x="16" y="34"/>
                </a:lnTo>
                <a:lnTo>
                  <a:pt x="18" y="36"/>
                </a:lnTo>
                <a:lnTo>
                  <a:pt x="18" y="36"/>
                </a:lnTo>
                <a:lnTo>
                  <a:pt x="16" y="38"/>
                </a:lnTo>
                <a:lnTo>
                  <a:pt x="20" y="38"/>
                </a:lnTo>
                <a:lnTo>
                  <a:pt x="20" y="38"/>
                </a:lnTo>
                <a:lnTo>
                  <a:pt x="22" y="40"/>
                </a:lnTo>
                <a:lnTo>
                  <a:pt x="24" y="40"/>
                </a:lnTo>
                <a:lnTo>
                  <a:pt x="22" y="44"/>
                </a:lnTo>
                <a:lnTo>
                  <a:pt x="18" y="50"/>
                </a:lnTo>
                <a:lnTo>
                  <a:pt x="18" y="58"/>
                </a:lnTo>
                <a:lnTo>
                  <a:pt x="18" y="58"/>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13" name="Freeform 252"/>
          <p:cNvSpPr>
            <a:spLocks/>
          </p:cNvSpPr>
          <p:nvPr/>
        </p:nvSpPr>
        <p:spPr bwMode="auto">
          <a:xfrm>
            <a:off x="2387951" y="2133383"/>
            <a:ext cx="13673" cy="11381"/>
          </a:xfrm>
          <a:custGeom>
            <a:avLst/>
            <a:gdLst/>
            <a:ahLst/>
            <a:cxnLst>
              <a:cxn ang="0">
                <a:pos x="6" y="0"/>
              </a:cxn>
              <a:cxn ang="0">
                <a:pos x="6" y="0"/>
              </a:cxn>
              <a:cxn ang="0">
                <a:pos x="4" y="0"/>
              </a:cxn>
              <a:cxn ang="0">
                <a:pos x="2" y="2"/>
              </a:cxn>
              <a:cxn ang="0">
                <a:pos x="2" y="2"/>
              </a:cxn>
              <a:cxn ang="0">
                <a:pos x="2" y="4"/>
              </a:cxn>
              <a:cxn ang="0">
                <a:pos x="2" y="4"/>
              </a:cxn>
              <a:cxn ang="0">
                <a:pos x="4" y="6"/>
              </a:cxn>
              <a:cxn ang="0">
                <a:pos x="4" y="6"/>
              </a:cxn>
              <a:cxn ang="0">
                <a:pos x="4" y="6"/>
              </a:cxn>
              <a:cxn ang="0">
                <a:pos x="4" y="6"/>
              </a:cxn>
              <a:cxn ang="0">
                <a:pos x="0" y="6"/>
              </a:cxn>
              <a:cxn ang="0">
                <a:pos x="0" y="6"/>
              </a:cxn>
              <a:cxn ang="0">
                <a:pos x="0" y="6"/>
              </a:cxn>
              <a:cxn ang="0">
                <a:pos x="0" y="6"/>
              </a:cxn>
              <a:cxn ang="0">
                <a:pos x="0" y="6"/>
              </a:cxn>
              <a:cxn ang="0">
                <a:pos x="0" y="6"/>
              </a:cxn>
              <a:cxn ang="0">
                <a:pos x="2" y="8"/>
              </a:cxn>
              <a:cxn ang="0">
                <a:pos x="6" y="10"/>
              </a:cxn>
              <a:cxn ang="0">
                <a:pos x="6" y="10"/>
              </a:cxn>
              <a:cxn ang="0">
                <a:pos x="8" y="10"/>
              </a:cxn>
              <a:cxn ang="0">
                <a:pos x="12" y="8"/>
              </a:cxn>
              <a:cxn ang="0">
                <a:pos x="12" y="8"/>
              </a:cxn>
              <a:cxn ang="0">
                <a:pos x="12" y="8"/>
              </a:cxn>
              <a:cxn ang="0">
                <a:pos x="12" y="6"/>
              </a:cxn>
              <a:cxn ang="0">
                <a:pos x="12" y="6"/>
              </a:cxn>
              <a:cxn ang="0">
                <a:pos x="12" y="4"/>
              </a:cxn>
              <a:cxn ang="0">
                <a:pos x="12" y="4"/>
              </a:cxn>
              <a:cxn ang="0">
                <a:pos x="12" y="2"/>
              </a:cxn>
              <a:cxn ang="0">
                <a:pos x="12" y="2"/>
              </a:cxn>
              <a:cxn ang="0">
                <a:pos x="12" y="0"/>
              </a:cxn>
              <a:cxn ang="0">
                <a:pos x="12" y="0"/>
              </a:cxn>
              <a:cxn ang="0">
                <a:pos x="10" y="0"/>
              </a:cxn>
              <a:cxn ang="0">
                <a:pos x="10" y="0"/>
              </a:cxn>
              <a:cxn ang="0">
                <a:pos x="6" y="0"/>
              </a:cxn>
              <a:cxn ang="0">
                <a:pos x="6" y="0"/>
              </a:cxn>
            </a:cxnLst>
            <a:rect l="0" t="0" r="r" b="b"/>
            <a:pathLst>
              <a:path w="12" h="10">
                <a:moveTo>
                  <a:pt x="6" y="0"/>
                </a:moveTo>
                <a:lnTo>
                  <a:pt x="6" y="0"/>
                </a:lnTo>
                <a:lnTo>
                  <a:pt x="4" y="0"/>
                </a:lnTo>
                <a:lnTo>
                  <a:pt x="2" y="2"/>
                </a:lnTo>
                <a:lnTo>
                  <a:pt x="2" y="2"/>
                </a:lnTo>
                <a:lnTo>
                  <a:pt x="2" y="4"/>
                </a:lnTo>
                <a:lnTo>
                  <a:pt x="2" y="4"/>
                </a:lnTo>
                <a:lnTo>
                  <a:pt x="4" y="6"/>
                </a:lnTo>
                <a:lnTo>
                  <a:pt x="4" y="6"/>
                </a:lnTo>
                <a:lnTo>
                  <a:pt x="4" y="6"/>
                </a:lnTo>
                <a:lnTo>
                  <a:pt x="4" y="6"/>
                </a:lnTo>
                <a:lnTo>
                  <a:pt x="0" y="6"/>
                </a:lnTo>
                <a:lnTo>
                  <a:pt x="0" y="6"/>
                </a:lnTo>
                <a:lnTo>
                  <a:pt x="0" y="6"/>
                </a:lnTo>
                <a:lnTo>
                  <a:pt x="0" y="6"/>
                </a:lnTo>
                <a:lnTo>
                  <a:pt x="0" y="6"/>
                </a:lnTo>
                <a:lnTo>
                  <a:pt x="0" y="6"/>
                </a:lnTo>
                <a:lnTo>
                  <a:pt x="2" y="8"/>
                </a:lnTo>
                <a:lnTo>
                  <a:pt x="6" y="10"/>
                </a:lnTo>
                <a:lnTo>
                  <a:pt x="6" y="10"/>
                </a:lnTo>
                <a:lnTo>
                  <a:pt x="8" y="10"/>
                </a:lnTo>
                <a:lnTo>
                  <a:pt x="12" y="8"/>
                </a:lnTo>
                <a:lnTo>
                  <a:pt x="12" y="8"/>
                </a:lnTo>
                <a:lnTo>
                  <a:pt x="12" y="8"/>
                </a:lnTo>
                <a:lnTo>
                  <a:pt x="12" y="6"/>
                </a:lnTo>
                <a:lnTo>
                  <a:pt x="12" y="6"/>
                </a:lnTo>
                <a:lnTo>
                  <a:pt x="12" y="4"/>
                </a:lnTo>
                <a:lnTo>
                  <a:pt x="12" y="4"/>
                </a:lnTo>
                <a:lnTo>
                  <a:pt x="12" y="2"/>
                </a:lnTo>
                <a:lnTo>
                  <a:pt x="12" y="2"/>
                </a:lnTo>
                <a:lnTo>
                  <a:pt x="12" y="0"/>
                </a:lnTo>
                <a:lnTo>
                  <a:pt x="12" y="0"/>
                </a:lnTo>
                <a:lnTo>
                  <a:pt x="10" y="0"/>
                </a:lnTo>
                <a:lnTo>
                  <a:pt x="10" y="0"/>
                </a:lnTo>
                <a:lnTo>
                  <a:pt x="6" y="0"/>
                </a:lnTo>
                <a:lnTo>
                  <a:pt x="6" y="0"/>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14" name="Argentina"/>
          <p:cNvSpPr>
            <a:spLocks/>
          </p:cNvSpPr>
          <p:nvPr/>
        </p:nvSpPr>
        <p:spPr bwMode="auto">
          <a:xfrm>
            <a:off x="2743448" y="3401185"/>
            <a:ext cx="357776" cy="755674"/>
          </a:xfrm>
          <a:custGeom>
            <a:avLst/>
            <a:gdLst/>
            <a:ahLst/>
            <a:cxnLst>
              <a:cxn ang="0">
                <a:pos x="174" y="652"/>
              </a:cxn>
              <a:cxn ang="0">
                <a:pos x="164" y="640"/>
              </a:cxn>
              <a:cxn ang="0">
                <a:pos x="178" y="622"/>
              </a:cxn>
              <a:cxn ang="0">
                <a:pos x="190" y="600"/>
              </a:cxn>
              <a:cxn ang="0">
                <a:pos x="200" y="570"/>
              </a:cxn>
              <a:cxn ang="0">
                <a:pos x="162" y="548"/>
              </a:cxn>
              <a:cxn ang="0">
                <a:pos x="190" y="520"/>
              </a:cxn>
              <a:cxn ang="0">
                <a:pos x="192" y="500"/>
              </a:cxn>
              <a:cxn ang="0">
                <a:pos x="200" y="478"/>
              </a:cxn>
              <a:cxn ang="0">
                <a:pos x="202" y="472"/>
              </a:cxn>
              <a:cxn ang="0">
                <a:pos x="202" y="460"/>
              </a:cxn>
              <a:cxn ang="0">
                <a:pos x="184" y="464"/>
              </a:cxn>
              <a:cxn ang="0">
                <a:pos x="170" y="436"/>
              </a:cxn>
              <a:cxn ang="0">
                <a:pos x="192" y="438"/>
              </a:cxn>
              <a:cxn ang="0">
                <a:pos x="218" y="414"/>
              </a:cxn>
              <a:cxn ang="0">
                <a:pos x="220" y="396"/>
              </a:cxn>
              <a:cxn ang="0">
                <a:pos x="226" y="388"/>
              </a:cxn>
              <a:cxn ang="0">
                <a:pos x="296" y="372"/>
              </a:cxn>
              <a:cxn ang="0">
                <a:pos x="310" y="330"/>
              </a:cxn>
              <a:cxn ang="0">
                <a:pos x="288" y="302"/>
              </a:cxn>
              <a:cxn ang="0">
                <a:pos x="254" y="276"/>
              </a:cxn>
              <a:cxn ang="0">
                <a:pos x="250" y="218"/>
              </a:cxn>
              <a:cxn ang="0">
                <a:pos x="260" y="180"/>
              </a:cxn>
              <a:cxn ang="0">
                <a:pos x="284" y="146"/>
              </a:cxn>
              <a:cxn ang="0">
                <a:pos x="296" y="130"/>
              </a:cxn>
              <a:cxn ang="0">
                <a:pos x="310" y="98"/>
              </a:cxn>
              <a:cxn ang="0">
                <a:pos x="292" y="104"/>
              </a:cxn>
              <a:cxn ang="0">
                <a:pos x="268" y="124"/>
              </a:cxn>
              <a:cxn ang="0">
                <a:pos x="240" y="126"/>
              </a:cxn>
              <a:cxn ang="0">
                <a:pos x="222" y="100"/>
              </a:cxn>
              <a:cxn ang="0">
                <a:pos x="210" y="72"/>
              </a:cxn>
              <a:cxn ang="0">
                <a:pos x="162" y="50"/>
              </a:cxn>
              <a:cxn ang="0">
                <a:pos x="124" y="10"/>
              </a:cxn>
              <a:cxn ang="0">
                <a:pos x="86" y="6"/>
              </a:cxn>
              <a:cxn ang="0">
                <a:pos x="80" y="16"/>
              </a:cxn>
              <a:cxn ang="0">
                <a:pos x="48" y="0"/>
              </a:cxn>
              <a:cxn ang="0">
                <a:pos x="30" y="20"/>
              </a:cxn>
              <a:cxn ang="0">
                <a:pos x="18" y="58"/>
              </a:cxn>
              <a:cxn ang="0">
                <a:pos x="6" y="88"/>
              </a:cxn>
              <a:cxn ang="0">
                <a:pos x="18" y="124"/>
              </a:cxn>
              <a:cxn ang="0">
                <a:pos x="6" y="156"/>
              </a:cxn>
              <a:cxn ang="0">
                <a:pos x="4" y="196"/>
              </a:cxn>
              <a:cxn ang="0">
                <a:pos x="10" y="236"/>
              </a:cxn>
              <a:cxn ang="0">
                <a:pos x="22" y="268"/>
              </a:cxn>
              <a:cxn ang="0">
                <a:pos x="30" y="288"/>
              </a:cxn>
              <a:cxn ang="0">
                <a:pos x="24" y="330"/>
              </a:cxn>
              <a:cxn ang="0">
                <a:pos x="38" y="380"/>
              </a:cxn>
              <a:cxn ang="0">
                <a:pos x="30" y="400"/>
              </a:cxn>
              <a:cxn ang="0">
                <a:pos x="40" y="440"/>
              </a:cxn>
              <a:cxn ang="0">
                <a:pos x="42" y="462"/>
              </a:cxn>
              <a:cxn ang="0">
                <a:pos x="54" y="478"/>
              </a:cxn>
              <a:cxn ang="0">
                <a:pos x="62" y="490"/>
              </a:cxn>
              <a:cxn ang="0">
                <a:pos x="70" y="514"/>
              </a:cxn>
              <a:cxn ang="0">
                <a:pos x="64" y="530"/>
              </a:cxn>
              <a:cxn ang="0">
                <a:pos x="78" y="570"/>
              </a:cxn>
              <a:cxn ang="0">
                <a:pos x="78" y="590"/>
              </a:cxn>
              <a:cxn ang="0">
                <a:pos x="82" y="620"/>
              </a:cxn>
              <a:cxn ang="0">
                <a:pos x="106" y="634"/>
              </a:cxn>
              <a:cxn ang="0">
                <a:pos x="120" y="654"/>
              </a:cxn>
            </a:cxnLst>
            <a:rect l="0" t="0" r="r" b="b"/>
            <a:pathLst>
              <a:path w="314" h="664">
                <a:moveTo>
                  <a:pt x="184" y="664"/>
                </a:moveTo>
                <a:lnTo>
                  <a:pt x="184" y="664"/>
                </a:lnTo>
                <a:lnTo>
                  <a:pt x="182" y="662"/>
                </a:lnTo>
                <a:lnTo>
                  <a:pt x="182" y="662"/>
                </a:lnTo>
                <a:lnTo>
                  <a:pt x="182" y="660"/>
                </a:lnTo>
                <a:lnTo>
                  <a:pt x="180" y="658"/>
                </a:lnTo>
                <a:lnTo>
                  <a:pt x="180" y="658"/>
                </a:lnTo>
                <a:lnTo>
                  <a:pt x="176" y="656"/>
                </a:lnTo>
                <a:lnTo>
                  <a:pt x="176" y="654"/>
                </a:lnTo>
                <a:lnTo>
                  <a:pt x="174" y="652"/>
                </a:lnTo>
                <a:lnTo>
                  <a:pt x="170" y="650"/>
                </a:lnTo>
                <a:lnTo>
                  <a:pt x="170" y="650"/>
                </a:lnTo>
                <a:lnTo>
                  <a:pt x="168" y="648"/>
                </a:lnTo>
                <a:lnTo>
                  <a:pt x="168" y="648"/>
                </a:lnTo>
                <a:lnTo>
                  <a:pt x="170" y="648"/>
                </a:lnTo>
                <a:lnTo>
                  <a:pt x="168" y="646"/>
                </a:lnTo>
                <a:lnTo>
                  <a:pt x="168" y="646"/>
                </a:lnTo>
                <a:lnTo>
                  <a:pt x="166" y="644"/>
                </a:lnTo>
                <a:lnTo>
                  <a:pt x="166" y="642"/>
                </a:lnTo>
                <a:lnTo>
                  <a:pt x="164" y="640"/>
                </a:lnTo>
                <a:lnTo>
                  <a:pt x="162" y="640"/>
                </a:lnTo>
                <a:lnTo>
                  <a:pt x="162" y="640"/>
                </a:lnTo>
                <a:lnTo>
                  <a:pt x="162" y="638"/>
                </a:lnTo>
                <a:lnTo>
                  <a:pt x="162" y="634"/>
                </a:lnTo>
                <a:lnTo>
                  <a:pt x="162" y="632"/>
                </a:lnTo>
                <a:lnTo>
                  <a:pt x="162" y="632"/>
                </a:lnTo>
                <a:lnTo>
                  <a:pt x="166" y="626"/>
                </a:lnTo>
                <a:lnTo>
                  <a:pt x="172" y="626"/>
                </a:lnTo>
                <a:lnTo>
                  <a:pt x="176" y="626"/>
                </a:lnTo>
                <a:lnTo>
                  <a:pt x="178" y="622"/>
                </a:lnTo>
                <a:lnTo>
                  <a:pt x="178" y="622"/>
                </a:lnTo>
                <a:lnTo>
                  <a:pt x="184" y="614"/>
                </a:lnTo>
                <a:lnTo>
                  <a:pt x="186" y="612"/>
                </a:lnTo>
                <a:lnTo>
                  <a:pt x="186" y="608"/>
                </a:lnTo>
                <a:lnTo>
                  <a:pt x="186" y="608"/>
                </a:lnTo>
                <a:lnTo>
                  <a:pt x="186" y="604"/>
                </a:lnTo>
                <a:lnTo>
                  <a:pt x="188" y="602"/>
                </a:lnTo>
                <a:lnTo>
                  <a:pt x="190" y="602"/>
                </a:lnTo>
                <a:lnTo>
                  <a:pt x="190" y="600"/>
                </a:lnTo>
                <a:lnTo>
                  <a:pt x="190" y="600"/>
                </a:lnTo>
                <a:lnTo>
                  <a:pt x="190" y="598"/>
                </a:lnTo>
                <a:lnTo>
                  <a:pt x="192" y="596"/>
                </a:lnTo>
                <a:lnTo>
                  <a:pt x="196" y="594"/>
                </a:lnTo>
                <a:lnTo>
                  <a:pt x="202" y="584"/>
                </a:lnTo>
                <a:lnTo>
                  <a:pt x="202" y="584"/>
                </a:lnTo>
                <a:lnTo>
                  <a:pt x="200" y="580"/>
                </a:lnTo>
                <a:lnTo>
                  <a:pt x="202" y="578"/>
                </a:lnTo>
                <a:lnTo>
                  <a:pt x="202" y="576"/>
                </a:lnTo>
                <a:lnTo>
                  <a:pt x="200" y="570"/>
                </a:lnTo>
                <a:lnTo>
                  <a:pt x="200" y="570"/>
                </a:lnTo>
                <a:lnTo>
                  <a:pt x="196" y="566"/>
                </a:lnTo>
                <a:lnTo>
                  <a:pt x="194" y="564"/>
                </a:lnTo>
                <a:lnTo>
                  <a:pt x="188" y="564"/>
                </a:lnTo>
                <a:lnTo>
                  <a:pt x="182" y="564"/>
                </a:lnTo>
                <a:lnTo>
                  <a:pt x="180" y="562"/>
                </a:lnTo>
                <a:lnTo>
                  <a:pt x="174" y="558"/>
                </a:lnTo>
                <a:lnTo>
                  <a:pt x="174" y="558"/>
                </a:lnTo>
                <a:lnTo>
                  <a:pt x="170" y="554"/>
                </a:lnTo>
                <a:lnTo>
                  <a:pt x="166" y="552"/>
                </a:lnTo>
                <a:lnTo>
                  <a:pt x="162" y="548"/>
                </a:lnTo>
                <a:lnTo>
                  <a:pt x="162" y="540"/>
                </a:lnTo>
                <a:lnTo>
                  <a:pt x="162" y="540"/>
                </a:lnTo>
                <a:lnTo>
                  <a:pt x="166" y="532"/>
                </a:lnTo>
                <a:lnTo>
                  <a:pt x="168" y="530"/>
                </a:lnTo>
                <a:lnTo>
                  <a:pt x="172" y="528"/>
                </a:lnTo>
                <a:lnTo>
                  <a:pt x="176" y="526"/>
                </a:lnTo>
                <a:lnTo>
                  <a:pt x="176" y="526"/>
                </a:lnTo>
                <a:lnTo>
                  <a:pt x="180" y="522"/>
                </a:lnTo>
                <a:lnTo>
                  <a:pt x="186" y="522"/>
                </a:lnTo>
                <a:lnTo>
                  <a:pt x="190" y="520"/>
                </a:lnTo>
                <a:lnTo>
                  <a:pt x="190" y="518"/>
                </a:lnTo>
                <a:lnTo>
                  <a:pt x="190" y="516"/>
                </a:lnTo>
                <a:lnTo>
                  <a:pt x="190" y="516"/>
                </a:lnTo>
                <a:lnTo>
                  <a:pt x="188" y="514"/>
                </a:lnTo>
                <a:lnTo>
                  <a:pt x="188" y="512"/>
                </a:lnTo>
                <a:lnTo>
                  <a:pt x="192" y="508"/>
                </a:lnTo>
                <a:lnTo>
                  <a:pt x="194" y="506"/>
                </a:lnTo>
                <a:lnTo>
                  <a:pt x="194" y="504"/>
                </a:lnTo>
                <a:lnTo>
                  <a:pt x="192" y="500"/>
                </a:lnTo>
                <a:lnTo>
                  <a:pt x="192" y="500"/>
                </a:lnTo>
                <a:lnTo>
                  <a:pt x="190" y="496"/>
                </a:lnTo>
                <a:lnTo>
                  <a:pt x="192" y="494"/>
                </a:lnTo>
                <a:lnTo>
                  <a:pt x="192" y="492"/>
                </a:lnTo>
                <a:lnTo>
                  <a:pt x="192" y="486"/>
                </a:lnTo>
                <a:lnTo>
                  <a:pt x="192" y="486"/>
                </a:lnTo>
                <a:lnTo>
                  <a:pt x="192" y="482"/>
                </a:lnTo>
                <a:lnTo>
                  <a:pt x="196" y="480"/>
                </a:lnTo>
                <a:lnTo>
                  <a:pt x="200" y="480"/>
                </a:lnTo>
                <a:lnTo>
                  <a:pt x="200" y="478"/>
                </a:lnTo>
                <a:lnTo>
                  <a:pt x="200" y="478"/>
                </a:lnTo>
                <a:lnTo>
                  <a:pt x="198" y="476"/>
                </a:lnTo>
                <a:lnTo>
                  <a:pt x="192" y="476"/>
                </a:lnTo>
                <a:lnTo>
                  <a:pt x="188" y="474"/>
                </a:lnTo>
                <a:lnTo>
                  <a:pt x="186" y="474"/>
                </a:lnTo>
                <a:lnTo>
                  <a:pt x="186" y="474"/>
                </a:lnTo>
                <a:lnTo>
                  <a:pt x="188" y="472"/>
                </a:lnTo>
                <a:lnTo>
                  <a:pt x="192" y="470"/>
                </a:lnTo>
                <a:lnTo>
                  <a:pt x="198" y="470"/>
                </a:lnTo>
                <a:lnTo>
                  <a:pt x="202" y="472"/>
                </a:lnTo>
                <a:lnTo>
                  <a:pt x="202" y="472"/>
                </a:lnTo>
                <a:lnTo>
                  <a:pt x="204" y="474"/>
                </a:lnTo>
                <a:lnTo>
                  <a:pt x="206" y="474"/>
                </a:lnTo>
                <a:lnTo>
                  <a:pt x="208" y="472"/>
                </a:lnTo>
                <a:lnTo>
                  <a:pt x="208" y="470"/>
                </a:lnTo>
                <a:lnTo>
                  <a:pt x="208" y="470"/>
                </a:lnTo>
                <a:lnTo>
                  <a:pt x="208" y="466"/>
                </a:lnTo>
                <a:lnTo>
                  <a:pt x="210" y="462"/>
                </a:lnTo>
                <a:lnTo>
                  <a:pt x="208" y="460"/>
                </a:lnTo>
                <a:lnTo>
                  <a:pt x="202" y="460"/>
                </a:lnTo>
                <a:lnTo>
                  <a:pt x="202" y="460"/>
                </a:lnTo>
                <a:lnTo>
                  <a:pt x="198" y="462"/>
                </a:lnTo>
                <a:lnTo>
                  <a:pt x="200" y="462"/>
                </a:lnTo>
                <a:lnTo>
                  <a:pt x="202" y="464"/>
                </a:lnTo>
                <a:lnTo>
                  <a:pt x="198" y="466"/>
                </a:lnTo>
                <a:lnTo>
                  <a:pt x="198" y="466"/>
                </a:lnTo>
                <a:lnTo>
                  <a:pt x="194" y="468"/>
                </a:lnTo>
                <a:lnTo>
                  <a:pt x="192" y="466"/>
                </a:lnTo>
                <a:lnTo>
                  <a:pt x="190" y="464"/>
                </a:lnTo>
                <a:lnTo>
                  <a:pt x="190" y="464"/>
                </a:lnTo>
                <a:lnTo>
                  <a:pt x="184" y="464"/>
                </a:lnTo>
                <a:lnTo>
                  <a:pt x="182" y="462"/>
                </a:lnTo>
                <a:lnTo>
                  <a:pt x="180" y="460"/>
                </a:lnTo>
                <a:lnTo>
                  <a:pt x="182" y="456"/>
                </a:lnTo>
                <a:lnTo>
                  <a:pt x="182" y="454"/>
                </a:lnTo>
                <a:lnTo>
                  <a:pt x="182" y="448"/>
                </a:lnTo>
                <a:lnTo>
                  <a:pt x="178" y="444"/>
                </a:lnTo>
                <a:lnTo>
                  <a:pt x="172" y="440"/>
                </a:lnTo>
                <a:lnTo>
                  <a:pt x="172" y="440"/>
                </a:lnTo>
                <a:lnTo>
                  <a:pt x="170" y="438"/>
                </a:lnTo>
                <a:lnTo>
                  <a:pt x="170" y="436"/>
                </a:lnTo>
                <a:lnTo>
                  <a:pt x="172" y="432"/>
                </a:lnTo>
                <a:lnTo>
                  <a:pt x="178" y="432"/>
                </a:lnTo>
                <a:lnTo>
                  <a:pt x="178" y="432"/>
                </a:lnTo>
                <a:lnTo>
                  <a:pt x="178" y="434"/>
                </a:lnTo>
                <a:lnTo>
                  <a:pt x="178" y="434"/>
                </a:lnTo>
                <a:lnTo>
                  <a:pt x="178" y="436"/>
                </a:lnTo>
                <a:lnTo>
                  <a:pt x="180" y="436"/>
                </a:lnTo>
                <a:lnTo>
                  <a:pt x="186" y="436"/>
                </a:lnTo>
                <a:lnTo>
                  <a:pt x="192" y="438"/>
                </a:lnTo>
                <a:lnTo>
                  <a:pt x="192" y="438"/>
                </a:lnTo>
                <a:lnTo>
                  <a:pt x="198" y="440"/>
                </a:lnTo>
                <a:lnTo>
                  <a:pt x="204" y="440"/>
                </a:lnTo>
                <a:lnTo>
                  <a:pt x="214" y="436"/>
                </a:lnTo>
                <a:lnTo>
                  <a:pt x="222" y="430"/>
                </a:lnTo>
                <a:lnTo>
                  <a:pt x="224" y="428"/>
                </a:lnTo>
                <a:lnTo>
                  <a:pt x="222" y="426"/>
                </a:lnTo>
                <a:lnTo>
                  <a:pt x="222" y="426"/>
                </a:lnTo>
                <a:lnTo>
                  <a:pt x="220" y="424"/>
                </a:lnTo>
                <a:lnTo>
                  <a:pt x="218" y="418"/>
                </a:lnTo>
                <a:lnTo>
                  <a:pt x="218" y="414"/>
                </a:lnTo>
                <a:lnTo>
                  <a:pt x="220" y="410"/>
                </a:lnTo>
                <a:lnTo>
                  <a:pt x="220" y="410"/>
                </a:lnTo>
                <a:lnTo>
                  <a:pt x="224" y="410"/>
                </a:lnTo>
                <a:lnTo>
                  <a:pt x="226" y="406"/>
                </a:lnTo>
                <a:lnTo>
                  <a:pt x="226" y="404"/>
                </a:lnTo>
                <a:lnTo>
                  <a:pt x="222" y="402"/>
                </a:lnTo>
                <a:lnTo>
                  <a:pt x="222" y="402"/>
                </a:lnTo>
                <a:lnTo>
                  <a:pt x="220" y="400"/>
                </a:lnTo>
                <a:lnTo>
                  <a:pt x="220" y="398"/>
                </a:lnTo>
                <a:lnTo>
                  <a:pt x="220" y="396"/>
                </a:lnTo>
                <a:lnTo>
                  <a:pt x="216" y="394"/>
                </a:lnTo>
                <a:lnTo>
                  <a:pt x="216" y="394"/>
                </a:lnTo>
                <a:lnTo>
                  <a:pt x="214" y="392"/>
                </a:lnTo>
                <a:lnTo>
                  <a:pt x="214" y="388"/>
                </a:lnTo>
                <a:lnTo>
                  <a:pt x="218" y="384"/>
                </a:lnTo>
                <a:lnTo>
                  <a:pt x="218" y="384"/>
                </a:lnTo>
                <a:lnTo>
                  <a:pt x="220" y="384"/>
                </a:lnTo>
                <a:lnTo>
                  <a:pt x="220" y="386"/>
                </a:lnTo>
                <a:lnTo>
                  <a:pt x="222" y="388"/>
                </a:lnTo>
                <a:lnTo>
                  <a:pt x="226" y="388"/>
                </a:lnTo>
                <a:lnTo>
                  <a:pt x="226" y="388"/>
                </a:lnTo>
                <a:lnTo>
                  <a:pt x="230" y="388"/>
                </a:lnTo>
                <a:lnTo>
                  <a:pt x="240" y="390"/>
                </a:lnTo>
                <a:lnTo>
                  <a:pt x="254" y="388"/>
                </a:lnTo>
                <a:lnTo>
                  <a:pt x="264" y="386"/>
                </a:lnTo>
                <a:lnTo>
                  <a:pt x="274" y="382"/>
                </a:lnTo>
                <a:lnTo>
                  <a:pt x="274" y="382"/>
                </a:lnTo>
                <a:lnTo>
                  <a:pt x="284" y="378"/>
                </a:lnTo>
                <a:lnTo>
                  <a:pt x="292" y="376"/>
                </a:lnTo>
                <a:lnTo>
                  <a:pt x="296" y="372"/>
                </a:lnTo>
                <a:lnTo>
                  <a:pt x="300" y="368"/>
                </a:lnTo>
                <a:lnTo>
                  <a:pt x="304" y="364"/>
                </a:lnTo>
                <a:lnTo>
                  <a:pt x="308" y="354"/>
                </a:lnTo>
                <a:lnTo>
                  <a:pt x="308" y="354"/>
                </a:lnTo>
                <a:lnTo>
                  <a:pt x="310" y="350"/>
                </a:lnTo>
                <a:lnTo>
                  <a:pt x="312" y="346"/>
                </a:lnTo>
                <a:lnTo>
                  <a:pt x="314" y="342"/>
                </a:lnTo>
                <a:lnTo>
                  <a:pt x="312" y="332"/>
                </a:lnTo>
                <a:lnTo>
                  <a:pt x="312" y="332"/>
                </a:lnTo>
                <a:lnTo>
                  <a:pt x="310" y="330"/>
                </a:lnTo>
                <a:lnTo>
                  <a:pt x="308" y="330"/>
                </a:lnTo>
                <a:lnTo>
                  <a:pt x="302" y="330"/>
                </a:lnTo>
                <a:lnTo>
                  <a:pt x="300" y="328"/>
                </a:lnTo>
                <a:lnTo>
                  <a:pt x="298" y="326"/>
                </a:lnTo>
                <a:lnTo>
                  <a:pt x="296" y="322"/>
                </a:lnTo>
                <a:lnTo>
                  <a:pt x="296" y="314"/>
                </a:lnTo>
                <a:lnTo>
                  <a:pt x="296" y="314"/>
                </a:lnTo>
                <a:lnTo>
                  <a:pt x="296" y="310"/>
                </a:lnTo>
                <a:lnTo>
                  <a:pt x="294" y="306"/>
                </a:lnTo>
                <a:lnTo>
                  <a:pt x="288" y="302"/>
                </a:lnTo>
                <a:lnTo>
                  <a:pt x="280" y="296"/>
                </a:lnTo>
                <a:lnTo>
                  <a:pt x="272" y="292"/>
                </a:lnTo>
                <a:lnTo>
                  <a:pt x="258" y="288"/>
                </a:lnTo>
                <a:lnTo>
                  <a:pt x="254" y="286"/>
                </a:lnTo>
                <a:lnTo>
                  <a:pt x="256" y="284"/>
                </a:lnTo>
                <a:lnTo>
                  <a:pt x="256" y="284"/>
                </a:lnTo>
                <a:lnTo>
                  <a:pt x="258" y="282"/>
                </a:lnTo>
                <a:lnTo>
                  <a:pt x="258" y="282"/>
                </a:lnTo>
                <a:lnTo>
                  <a:pt x="256" y="278"/>
                </a:lnTo>
                <a:lnTo>
                  <a:pt x="254" y="276"/>
                </a:lnTo>
                <a:lnTo>
                  <a:pt x="252" y="272"/>
                </a:lnTo>
                <a:lnTo>
                  <a:pt x="252" y="266"/>
                </a:lnTo>
                <a:lnTo>
                  <a:pt x="254" y="258"/>
                </a:lnTo>
                <a:lnTo>
                  <a:pt x="254" y="258"/>
                </a:lnTo>
                <a:lnTo>
                  <a:pt x="254" y="254"/>
                </a:lnTo>
                <a:lnTo>
                  <a:pt x="254" y="250"/>
                </a:lnTo>
                <a:lnTo>
                  <a:pt x="252" y="242"/>
                </a:lnTo>
                <a:lnTo>
                  <a:pt x="248" y="230"/>
                </a:lnTo>
                <a:lnTo>
                  <a:pt x="248" y="224"/>
                </a:lnTo>
                <a:lnTo>
                  <a:pt x="250" y="218"/>
                </a:lnTo>
                <a:lnTo>
                  <a:pt x="250" y="218"/>
                </a:lnTo>
                <a:lnTo>
                  <a:pt x="250" y="208"/>
                </a:lnTo>
                <a:lnTo>
                  <a:pt x="250" y="204"/>
                </a:lnTo>
                <a:lnTo>
                  <a:pt x="250" y="198"/>
                </a:lnTo>
                <a:lnTo>
                  <a:pt x="252" y="188"/>
                </a:lnTo>
                <a:lnTo>
                  <a:pt x="252" y="188"/>
                </a:lnTo>
                <a:lnTo>
                  <a:pt x="254" y="186"/>
                </a:lnTo>
                <a:lnTo>
                  <a:pt x="258" y="182"/>
                </a:lnTo>
                <a:lnTo>
                  <a:pt x="258" y="182"/>
                </a:lnTo>
                <a:lnTo>
                  <a:pt x="260" y="180"/>
                </a:lnTo>
                <a:lnTo>
                  <a:pt x="262" y="178"/>
                </a:lnTo>
                <a:lnTo>
                  <a:pt x="264" y="172"/>
                </a:lnTo>
                <a:lnTo>
                  <a:pt x="272" y="158"/>
                </a:lnTo>
                <a:lnTo>
                  <a:pt x="272" y="158"/>
                </a:lnTo>
                <a:lnTo>
                  <a:pt x="278" y="152"/>
                </a:lnTo>
                <a:lnTo>
                  <a:pt x="280" y="152"/>
                </a:lnTo>
                <a:lnTo>
                  <a:pt x="282" y="152"/>
                </a:lnTo>
                <a:lnTo>
                  <a:pt x="284" y="150"/>
                </a:lnTo>
                <a:lnTo>
                  <a:pt x="284" y="150"/>
                </a:lnTo>
                <a:lnTo>
                  <a:pt x="284" y="146"/>
                </a:lnTo>
                <a:lnTo>
                  <a:pt x="282" y="146"/>
                </a:lnTo>
                <a:lnTo>
                  <a:pt x="282" y="144"/>
                </a:lnTo>
                <a:lnTo>
                  <a:pt x="282" y="142"/>
                </a:lnTo>
                <a:lnTo>
                  <a:pt x="282" y="142"/>
                </a:lnTo>
                <a:lnTo>
                  <a:pt x="284" y="140"/>
                </a:lnTo>
                <a:lnTo>
                  <a:pt x="286" y="140"/>
                </a:lnTo>
                <a:lnTo>
                  <a:pt x="290" y="138"/>
                </a:lnTo>
                <a:lnTo>
                  <a:pt x="292" y="136"/>
                </a:lnTo>
                <a:lnTo>
                  <a:pt x="292" y="136"/>
                </a:lnTo>
                <a:lnTo>
                  <a:pt x="296" y="130"/>
                </a:lnTo>
                <a:lnTo>
                  <a:pt x="300" y="130"/>
                </a:lnTo>
                <a:lnTo>
                  <a:pt x="304" y="128"/>
                </a:lnTo>
                <a:lnTo>
                  <a:pt x="308" y="122"/>
                </a:lnTo>
                <a:lnTo>
                  <a:pt x="308" y="122"/>
                </a:lnTo>
                <a:lnTo>
                  <a:pt x="314" y="112"/>
                </a:lnTo>
                <a:lnTo>
                  <a:pt x="312" y="108"/>
                </a:lnTo>
                <a:lnTo>
                  <a:pt x="310" y="106"/>
                </a:lnTo>
                <a:lnTo>
                  <a:pt x="310" y="104"/>
                </a:lnTo>
                <a:lnTo>
                  <a:pt x="310" y="104"/>
                </a:lnTo>
                <a:lnTo>
                  <a:pt x="310" y="98"/>
                </a:lnTo>
                <a:lnTo>
                  <a:pt x="308" y="92"/>
                </a:lnTo>
                <a:lnTo>
                  <a:pt x="306" y="90"/>
                </a:lnTo>
                <a:lnTo>
                  <a:pt x="304" y="88"/>
                </a:lnTo>
                <a:lnTo>
                  <a:pt x="300" y="88"/>
                </a:lnTo>
                <a:lnTo>
                  <a:pt x="294" y="90"/>
                </a:lnTo>
                <a:lnTo>
                  <a:pt x="294" y="90"/>
                </a:lnTo>
                <a:lnTo>
                  <a:pt x="294" y="96"/>
                </a:lnTo>
                <a:lnTo>
                  <a:pt x="292" y="100"/>
                </a:lnTo>
                <a:lnTo>
                  <a:pt x="292" y="100"/>
                </a:lnTo>
                <a:lnTo>
                  <a:pt x="292" y="104"/>
                </a:lnTo>
                <a:lnTo>
                  <a:pt x="290" y="106"/>
                </a:lnTo>
                <a:lnTo>
                  <a:pt x="288" y="108"/>
                </a:lnTo>
                <a:lnTo>
                  <a:pt x="286" y="110"/>
                </a:lnTo>
                <a:lnTo>
                  <a:pt x="286" y="110"/>
                </a:lnTo>
                <a:lnTo>
                  <a:pt x="284" y="116"/>
                </a:lnTo>
                <a:lnTo>
                  <a:pt x="280" y="120"/>
                </a:lnTo>
                <a:lnTo>
                  <a:pt x="280" y="120"/>
                </a:lnTo>
                <a:lnTo>
                  <a:pt x="276" y="126"/>
                </a:lnTo>
                <a:lnTo>
                  <a:pt x="272" y="126"/>
                </a:lnTo>
                <a:lnTo>
                  <a:pt x="268" y="124"/>
                </a:lnTo>
                <a:lnTo>
                  <a:pt x="264" y="126"/>
                </a:lnTo>
                <a:lnTo>
                  <a:pt x="264" y="126"/>
                </a:lnTo>
                <a:lnTo>
                  <a:pt x="260" y="128"/>
                </a:lnTo>
                <a:lnTo>
                  <a:pt x="258" y="128"/>
                </a:lnTo>
                <a:lnTo>
                  <a:pt x="256" y="128"/>
                </a:lnTo>
                <a:lnTo>
                  <a:pt x="252" y="130"/>
                </a:lnTo>
                <a:lnTo>
                  <a:pt x="252" y="130"/>
                </a:lnTo>
                <a:lnTo>
                  <a:pt x="250" y="130"/>
                </a:lnTo>
                <a:lnTo>
                  <a:pt x="248" y="128"/>
                </a:lnTo>
                <a:lnTo>
                  <a:pt x="240" y="126"/>
                </a:lnTo>
                <a:lnTo>
                  <a:pt x="230" y="122"/>
                </a:lnTo>
                <a:lnTo>
                  <a:pt x="226" y="120"/>
                </a:lnTo>
                <a:lnTo>
                  <a:pt x="218" y="122"/>
                </a:lnTo>
                <a:lnTo>
                  <a:pt x="218" y="122"/>
                </a:lnTo>
                <a:lnTo>
                  <a:pt x="214" y="120"/>
                </a:lnTo>
                <a:lnTo>
                  <a:pt x="214" y="118"/>
                </a:lnTo>
                <a:lnTo>
                  <a:pt x="218" y="108"/>
                </a:lnTo>
                <a:lnTo>
                  <a:pt x="218" y="108"/>
                </a:lnTo>
                <a:lnTo>
                  <a:pt x="222" y="104"/>
                </a:lnTo>
                <a:lnTo>
                  <a:pt x="222" y="100"/>
                </a:lnTo>
                <a:lnTo>
                  <a:pt x="222" y="96"/>
                </a:lnTo>
                <a:lnTo>
                  <a:pt x="226" y="92"/>
                </a:lnTo>
                <a:lnTo>
                  <a:pt x="226" y="92"/>
                </a:lnTo>
                <a:lnTo>
                  <a:pt x="226" y="88"/>
                </a:lnTo>
                <a:lnTo>
                  <a:pt x="226" y="86"/>
                </a:lnTo>
                <a:lnTo>
                  <a:pt x="222" y="84"/>
                </a:lnTo>
                <a:lnTo>
                  <a:pt x="218" y="80"/>
                </a:lnTo>
                <a:lnTo>
                  <a:pt x="218" y="80"/>
                </a:lnTo>
                <a:lnTo>
                  <a:pt x="214" y="74"/>
                </a:lnTo>
                <a:lnTo>
                  <a:pt x="210" y="72"/>
                </a:lnTo>
                <a:lnTo>
                  <a:pt x="198" y="64"/>
                </a:lnTo>
                <a:lnTo>
                  <a:pt x="198" y="64"/>
                </a:lnTo>
                <a:lnTo>
                  <a:pt x="192" y="60"/>
                </a:lnTo>
                <a:lnTo>
                  <a:pt x="188" y="60"/>
                </a:lnTo>
                <a:lnTo>
                  <a:pt x="186" y="60"/>
                </a:lnTo>
                <a:lnTo>
                  <a:pt x="180" y="56"/>
                </a:lnTo>
                <a:lnTo>
                  <a:pt x="180" y="56"/>
                </a:lnTo>
                <a:lnTo>
                  <a:pt x="170" y="52"/>
                </a:lnTo>
                <a:lnTo>
                  <a:pt x="164" y="50"/>
                </a:lnTo>
                <a:lnTo>
                  <a:pt x="162" y="50"/>
                </a:lnTo>
                <a:lnTo>
                  <a:pt x="158" y="46"/>
                </a:lnTo>
                <a:lnTo>
                  <a:pt x="158" y="46"/>
                </a:lnTo>
                <a:lnTo>
                  <a:pt x="144" y="34"/>
                </a:lnTo>
                <a:lnTo>
                  <a:pt x="132" y="24"/>
                </a:lnTo>
                <a:lnTo>
                  <a:pt x="132" y="24"/>
                </a:lnTo>
                <a:lnTo>
                  <a:pt x="128" y="22"/>
                </a:lnTo>
                <a:lnTo>
                  <a:pt x="126" y="20"/>
                </a:lnTo>
                <a:lnTo>
                  <a:pt x="126" y="18"/>
                </a:lnTo>
                <a:lnTo>
                  <a:pt x="126" y="12"/>
                </a:lnTo>
                <a:lnTo>
                  <a:pt x="124" y="10"/>
                </a:lnTo>
                <a:lnTo>
                  <a:pt x="120" y="8"/>
                </a:lnTo>
                <a:lnTo>
                  <a:pt x="120" y="8"/>
                </a:lnTo>
                <a:lnTo>
                  <a:pt x="116" y="8"/>
                </a:lnTo>
                <a:lnTo>
                  <a:pt x="114" y="8"/>
                </a:lnTo>
                <a:lnTo>
                  <a:pt x="110" y="6"/>
                </a:lnTo>
                <a:lnTo>
                  <a:pt x="102" y="8"/>
                </a:lnTo>
                <a:lnTo>
                  <a:pt x="102" y="8"/>
                </a:lnTo>
                <a:lnTo>
                  <a:pt x="96" y="8"/>
                </a:lnTo>
                <a:lnTo>
                  <a:pt x="90" y="6"/>
                </a:lnTo>
                <a:lnTo>
                  <a:pt x="86" y="6"/>
                </a:lnTo>
                <a:lnTo>
                  <a:pt x="84" y="8"/>
                </a:lnTo>
                <a:lnTo>
                  <a:pt x="84" y="8"/>
                </a:lnTo>
                <a:lnTo>
                  <a:pt x="82" y="14"/>
                </a:lnTo>
                <a:lnTo>
                  <a:pt x="84" y="18"/>
                </a:lnTo>
                <a:lnTo>
                  <a:pt x="84" y="20"/>
                </a:lnTo>
                <a:lnTo>
                  <a:pt x="82" y="24"/>
                </a:lnTo>
                <a:lnTo>
                  <a:pt x="82" y="24"/>
                </a:lnTo>
                <a:lnTo>
                  <a:pt x="82" y="24"/>
                </a:lnTo>
                <a:lnTo>
                  <a:pt x="82" y="22"/>
                </a:lnTo>
                <a:lnTo>
                  <a:pt x="80" y="16"/>
                </a:lnTo>
                <a:lnTo>
                  <a:pt x="76" y="10"/>
                </a:lnTo>
                <a:lnTo>
                  <a:pt x="72" y="8"/>
                </a:lnTo>
                <a:lnTo>
                  <a:pt x="68" y="6"/>
                </a:lnTo>
                <a:lnTo>
                  <a:pt x="68" y="6"/>
                </a:lnTo>
                <a:lnTo>
                  <a:pt x="58" y="6"/>
                </a:lnTo>
                <a:lnTo>
                  <a:pt x="52" y="6"/>
                </a:lnTo>
                <a:lnTo>
                  <a:pt x="52" y="6"/>
                </a:lnTo>
                <a:lnTo>
                  <a:pt x="50" y="6"/>
                </a:lnTo>
                <a:lnTo>
                  <a:pt x="50" y="4"/>
                </a:lnTo>
                <a:lnTo>
                  <a:pt x="48" y="0"/>
                </a:lnTo>
                <a:lnTo>
                  <a:pt x="42" y="0"/>
                </a:lnTo>
                <a:lnTo>
                  <a:pt x="42" y="0"/>
                </a:lnTo>
                <a:lnTo>
                  <a:pt x="42" y="2"/>
                </a:lnTo>
                <a:lnTo>
                  <a:pt x="40" y="4"/>
                </a:lnTo>
                <a:lnTo>
                  <a:pt x="34" y="10"/>
                </a:lnTo>
                <a:lnTo>
                  <a:pt x="30" y="14"/>
                </a:lnTo>
                <a:lnTo>
                  <a:pt x="28" y="16"/>
                </a:lnTo>
                <a:lnTo>
                  <a:pt x="28" y="18"/>
                </a:lnTo>
                <a:lnTo>
                  <a:pt x="28" y="18"/>
                </a:lnTo>
                <a:lnTo>
                  <a:pt x="30" y="20"/>
                </a:lnTo>
                <a:lnTo>
                  <a:pt x="28" y="20"/>
                </a:lnTo>
                <a:lnTo>
                  <a:pt x="24" y="24"/>
                </a:lnTo>
                <a:lnTo>
                  <a:pt x="24" y="24"/>
                </a:lnTo>
                <a:lnTo>
                  <a:pt x="28" y="26"/>
                </a:lnTo>
                <a:lnTo>
                  <a:pt x="28" y="28"/>
                </a:lnTo>
                <a:lnTo>
                  <a:pt x="30" y="30"/>
                </a:lnTo>
                <a:lnTo>
                  <a:pt x="30" y="30"/>
                </a:lnTo>
                <a:lnTo>
                  <a:pt x="26" y="48"/>
                </a:lnTo>
                <a:lnTo>
                  <a:pt x="24" y="52"/>
                </a:lnTo>
                <a:lnTo>
                  <a:pt x="18" y="58"/>
                </a:lnTo>
                <a:lnTo>
                  <a:pt x="18" y="58"/>
                </a:lnTo>
                <a:lnTo>
                  <a:pt x="8" y="64"/>
                </a:lnTo>
                <a:lnTo>
                  <a:pt x="8" y="66"/>
                </a:lnTo>
                <a:lnTo>
                  <a:pt x="8" y="68"/>
                </a:lnTo>
                <a:lnTo>
                  <a:pt x="12" y="70"/>
                </a:lnTo>
                <a:lnTo>
                  <a:pt x="12" y="72"/>
                </a:lnTo>
                <a:lnTo>
                  <a:pt x="10" y="76"/>
                </a:lnTo>
                <a:lnTo>
                  <a:pt x="10" y="76"/>
                </a:lnTo>
                <a:lnTo>
                  <a:pt x="6" y="84"/>
                </a:lnTo>
                <a:lnTo>
                  <a:pt x="6" y="88"/>
                </a:lnTo>
                <a:lnTo>
                  <a:pt x="8" y="92"/>
                </a:lnTo>
                <a:lnTo>
                  <a:pt x="12" y="96"/>
                </a:lnTo>
                <a:lnTo>
                  <a:pt x="16" y="102"/>
                </a:lnTo>
                <a:lnTo>
                  <a:pt x="16" y="104"/>
                </a:lnTo>
                <a:lnTo>
                  <a:pt x="14" y="108"/>
                </a:lnTo>
                <a:lnTo>
                  <a:pt x="14" y="108"/>
                </a:lnTo>
                <a:lnTo>
                  <a:pt x="18" y="112"/>
                </a:lnTo>
                <a:lnTo>
                  <a:pt x="20" y="114"/>
                </a:lnTo>
                <a:lnTo>
                  <a:pt x="20" y="118"/>
                </a:lnTo>
                <a:lnTo>
                  <a:pt x="18" y="124"/>
                </a:lnTo>
                <a:lnTo>
                  <a:pt x="18" y="124"/>
                </a:lnTo>
                <a:lnTo>
                  <a:pt x="14" y="130"/>
                </a:lnTo>
                <a:lnTo>
                  <a:pt x="14" y="134"/>
                </a:lnTo>
                <a:lnTo>
                  <a:pt x="12" y="138"/>
                </a:lnTo>
                <a:lnTo>
                  <a:pt x="10" y="142"/>
                </a:lnTo>
                <a:lnTo>
                  <a:pt x="10" y="142"/>
                </a:lnTo>
                <a:lnTo>
                  <a:pt x="6" y="146"/>
                </a:lnTo>
                <a:lnTo>
                  <a:pt x="8" y="148"/>
                </a:lnTo>
                <a:lnTo>
                  <a:pt x="8" y="152"/>
                </a:lnTo>
                <a:lnTo>
                  <a:pt x="6" y="156"/>
                </a:lnTo>
                <a:lnTo>
                  <a:pt x="6" y="156"/>
                </a:lnTo>
                <a:lnTo>
                  <a:pt x="2" y="160"/>
                </a:lnTo>
                <a:lnTo>
                  <a:pt x="2" y="164"/>
                </a:lnTo>
                <a:lnTo>
                  <a:pt x="2" y="170"/>
                </a:lnTo>
                <a:lnTo>
                  <a:pt x="4" y="176"/>
                </a:lnTo>
                <a:lnTo>
                  <a:pt x="4" y="182"/>
                </a:lnTo>
                <a:lnTo>
                  <a:pt x="4" y="182"/>
                </a:lnTo>
                <a:lnTo>
                  <a:pt x="2" y="188"/>
                </a:lnTo>
                <a:lnTo>
                  <a:pt x="2" y="192"/>
                </a:lnTo>
                <a:lnTo>
                  <a:pt x="4" y="196"/>
                </a:lnTo>
                <a:lnTo>
                  <a:pt x="2" y="204"/>
                </a:lnTo>
                <a:lnTo>
                  <a:pt x="2" y="204"/>
                </a:lnTo>
                <a:lnTo>
                  <a:pt x="0" y="210"/>
                </a:lnTo>
                <a:lnTo>
                  <a:pt x="0" y="216"/>
                </a:lnTo>
                <a:lnTo>
                  <a:pt x="0" y="226"/>
                </a:lnTo>
                <a:lnTo>
                  <a:pt x="2" y="232"/>
                </a:lnTo>
                <a:lnTo>
                  <a:pt x="6" y="234"/>
                </a:lnTo>
                <a:lnTo>
                  <a:pt x="6" y="234"/>
                </a:lnTo>
                <a:lnTo>
                  <a:pt x="8" y="234"/>
                </a:lnTo>
                <a:lnTo>
                  <a:pt x="10" y="236"/>
                </a:lnTo>
                <a:lnTo>
                  <a:pt x="12" y="240"/>
                </a:lnTo>
                <a:lnTo>
                  <a:pt x="10" y="244"/>
                </a:lnTo>
                <a:lnTo>
                  <a:pt x="10" y="244"/>
                </a:lnTo>
                <a:lnTo>
                  <a:pt x="8" y="246"/>
                </a:lnTo>
                <a:lnTo>
                  <a:pt x="10" y="250"/>
                </a:lnTo>
                <a:lnTo>
                  <a:pt x="14" y="254"/>
                </a:lnTo>
                <a:lnTo>
                  <a:pt x="20" y="260"/>
                </a:lnTo>
                <a:lnTo>
                  <a:pt x="22" y="264"/>
                </a:lnTo>
                <a:lnTo>
                  <a:pt x="22" y="268"/>
                </a:lnTo>
                <a:lnTo>
                  <a:pt x="22" y="268"/>
                </a:lnTo>
                <a:lnTo>
                  <a:pt x="22" y="276"/>
                </a:lnTo>
                <a:lnTo>
                  <a:pt x="24" y="276"/>
                </a:lnTo>
                <a:lnTo>
                  <a:pt x="26" y="274"/>
                </a:lnTo>
                <a:lnTo>
                  <a:pt x="26" y="274"/>
                </a:lnTo>
                <a:lnTo>
                  <a:pt x="30" y="274"/>
                </a:lnTo>
                <a:lnTo>
                  <a:pt x="32" y="274"/>
                </a:lnTo>
                <a:lnTo>
                  <a:pt x="32" y="276"/>
                </a:lnTo>
                <a:lnTo>
                  <a:pt x="32" y="282"/>
                </a:lnTo>
                <a:lnTo>
                  <a:pt x="32" y="282"/>
                </a:lnTo>
                <a:lnTo>
                  <a:pt x="30" y="288"/>
                </a:lnTo>
                <a:lnTo>
                  <a:pt x="32" y="292"/>
                </a:lnTo>
                <a:lnTo>
                  <a:pt x="34" y="296"/>
                </a:lnTo>
                <a:lnTo>
                  <a:pt x="30" y="302"/>
                </a:lnTo>
                <a:lnTo>
                  <a:pt x="30" y="302"/>
                </a:lnTo>
                <a:lnTo>
                  <a:pt x="34" y="306"/>
                </a:lnTo>
                <a:lnTo>
                  <a:pt x="36" y="310"/>
                </a:lnTo>
                <a:lnTo>
                  <a:pt x="34" y="316"/>
                </a:lnTo>
                <a:lnTo>
                  <a:pt x="28" y="322"/>
                </a:lnTo>
                <a:lnTo>
                  <a:pt x="28" y="322"/>
                </a:lnTo>
                <a:lnTo>
                  <a:pt x="24" y="330"/>
                </a:lnTo>
                <a:lnTo>
                  <a:pt x="22" y="336"/>
                </a:lnTo>
                <a:lnTo>
                  <a:pt x="24" y="342"/>
                </a:lnTo>
                <a:lnTo>
                  <a:pt x="24" y="352"/>
                </a:lnTo>
                <a:lnTo>
                  <a:pt x="24" y="352"/>
                </a:lnTo>
                <a:lnTo>
                  <a:pt x="26" y="356"/>
                </a:lnTo>
                <a:lnTo>
                  <a:pt x="28" y="360"/>
                </a:lnTo>
                <a:lnTo>
                  <a:pt x="32" y="366"/>
                </a:lnTo>
                <a:lnTo>
                  <a:pt x="38" y="372"/>
                </a:lnTo>
                <a:lnTo>
                  <a:pt x="38" y="376"/>
                </a:lnTo>
                <a:lnTo>
                  <a:pt x="38" y="380"/>
                </a:lnTo>
                <a:lnTo>
                  <a:pt x="38" y="380"/>
                </a:lnTo>
                <a:lnTo>
                  <a:pt x="36" y="382"/>
                </a:lnTo>
                <a:lnTo>
                  <a:pt x="32" y="384"/>
                </a:lnTo>
                <a:lnTo>
                  <a:pt x="32" y="384"/>
                </a:lnTo>
                <a:lnTo>
                  <a:pt x="34" y="390"/>
                </a:lnTo>
                <a:lnTo>
                  <a:pt x="34" y="390"/>
                </a:lnTo>
                <a:lnTo>
                  <a:pt x="36" y="394"/>
                </a:lnTo>
                <a:lnTo>
                  <a:pt x="34" y="396"/>
                </a:lnTo>
                <a:lnTo>
                  <a:pt x="30" y="400"/>
                </a:lnTo>
                <a:lnTo>
                  <a:pt x="30" y="400"/>
                </a:lnTo>
                <a:lnTo>
                  <a:pt x="32" y="404"/>
                </a:lnTo>
                <a:lnTo>
                  <a:pt x="32" y="404"/>
                </a:lnTo>
                <a:lnTo>
                  <a:pt x="32" y="406"/>
                </a:lnTo>
                <a:lnTo>
                  <a:pt x="30" y="408"/>
                </a:lnTo>
                <a:lnTo>
                  <a:pt x="30" y="410"/>
                </a:lnTo>
                <a:lnTo>
                  <a:pt x="32" y="414"/>
                </a:lnTo>
                <a:lnTo>
                  <a:pt x="32" y="414"/>
                </a:lnTo>
                <a:lnTo>
                  <a:pt x="32" y="422"/>
                </a:lnTo>
                <a:lnTo>
                  <a:pt x="34" y="430"/>
                </a:lnTo>
                <a:lnTo>
                  <a:pt x="40" y="440"/>
                </a:lnTo>
                <a:lnTo>
                  <a:pt x="44" y="446"/>
                </a:lnTo>
                <a:lnTo>
                  <a:pt x="44" y="448"/>
                </a:lnTo>
                <a:lnTo>
                  <a:pt x="42" y="450"/>
                </a:lnTo>
                <a:lnTo>
                  <a:pt x="42" y="450"/>
                </a:lnTo>
                <a:lnTo>
                  <a:pt x="38" y="452"/>
                </a:lnTo>
                <a:lnTo>
                  <a:pt x="40" y="454"/>
                </a:lnTo>
                <a:lnTo>
                  <a:pt x="42" y="456"/>
                </a:lnTo>
                <a:lnTo>
                  <a:pt x="42" y="460"/>
                </a:lnTo>
                <a:lnTo>
                  <a:pt x="42" y="460"/>
                </a:lnTo>
                <a:lnTo>
                  <a:pt x="42" y="462"/>
                </a:lnTo>
                <a:lnTo>
                  <a:pt x="42" y="464"/>
                </a:lnTo>
                <a:lnTo>
                  <a:pt x="46" y="466"/>
                </a:lnTo>
                <a:lnTo>
                  <a:pt x="48" y="466"/>
                </a:lnTo>
                <a:lnTo>
                  <a:pt x="48" y="470"/>
                </a:lnTo>
                <a:lnTo>
                  <a:pt x="48" y="470"/>
                </a:lnTo>
                <a:lnTo>
                  <a:pt x="46" y="470"/>
                </a:lnTo>
                <a:lnTo>
                  <a:pt x="48" y="472"/>
                </a:lnTo>
                <a:lnTo>
                  <a:pt x="50" y="474"/>
                </a:lnTo>
                <a:lnTo>
                  <a:pt x="54" y="476"/>
                </a:lnTo>
                <a:lnTo>
                  <a:pt x="54" y="478"/>
                </a:lnTo>
                <a:lnTo>
                  <a:pt x="52" y="482"/>
                </a:lnTo>
                <a:lnTo>
                  <a:pt x="52" y="482"/>
                </a:lnTo>
                <a:lnTo>
                  <a:pt x="50" y="486"/>
                </a:lnTo>
                <a:lnTo>
                  <a:pt x="50" y="488"/>
                </a:lnTo>
                <a:lnTo>
                  <a:pt x="52" y="490"/>
                </a:lnTo>
                <a:lnTo>
                  <a:pt x="54" y="488"/>
                </a:lnTo>
                <a:lnTo>
                  <a:pt x="54" y="488"/>
                </a:lnTo>
                <a:lnTo>
                  <a:pt x="58" y="486"/>
                </a:lnTo>
                <a:lnTo>
                  <a:pt x="60" y="486"/>
                </a:lnTo>
                <a:lnTo>
                  <a:pt x="62" y="490"/>
                </a:lnTo>
                <a:lnTo>
                  <a:pt x="60" y="494"/>
                </a:lnTo>
                <a:lnTo>
                  <a:pt x="60" y="494"/>
                </a:lnTo>
                <a:lnTo>
                  <a:pt x="58" y="498"/>
                </a:lnTo>
                <a:lnTo>
                  <a:pt x="54" y="498"/>
                </a:lnTo>
                <a:lnTo>
                  <a:pt x="54" y="500"/>
                </a:lnTo>
                <a:lnTo>
                  <a:pt x="54" y="504"/>
                </a:lnTo>
                <a:lnTo>
                  <a:pt x="54" y="504"/>
                </a:lnTo>
                <a:lnTo>
                  <a:pt x="60" y="508"/>
                </a:lnTo>
                <a:lnTo>
                  <a:pt x="66" y="512"/>
                </a:lnTo>
                <a:lnTo>
                  <a:pt x="70" y="514"/>
                </a:lnTo>
                <a:lnTo>
                  <a:pt x="70" y="516"/>
                </a:lnTo>
                <a:lnTo>
                  <a:pt x="68" y="518"/>
                </a:lnTo>
                <a:lnTo>
                  <a:pt x="68" y="518"/>
                </a:lnTo>
                <a:lnTo>
                  <a:pt x="66" y="520"/>
                </a:lnTo>
                <a:lnTo>
                  <a:pt x="66" y="522"/>
                </a:lnTo>
                <a:lnTo>
                  <a:pt x="66" y="524"/>
                </a:lnTo>
                <a:lnTo>
                  <a:pt x="64" y="528"/>
                </a:lnTo>
                <a:lnTo>
                  <a:pt x="64" y="528"/>
                </a:lnTo>
                <a:lnTo>
                  <a:pt x="64" y="528"/>
                </a:lnTo>
                <a:lnTo>
                  <a:pt x="64" y="530"/>
                </a:lnTo>
                <a:lnTo>
                  <a:pt x="68" y="532"/>
                </a:lnTo>
                <a:lnTo>
                  <a:pt x="74" y="536"/>
                </a:lnTo>
                <a:lnTo>
                  <a:pt x="74" y="540"/>
                </a:lnTo>
                <a:lnTo>
                  <a:pt x="74" y="544"/>
                </a:lnTo>
                <a:lnTo>
                  <a:pt x="74" y="544"/>
                </a:lnTo>
                <a:lnTo>
                  <a:pt x="72" y="550"/>
                </a:lnTo>
                <a:lnTo>
                  <a:pt x="72" y="556"/>
                </a:lnTo>
                <a:lnTo>
                  <a:pt x="76" y="562"/>
                </a:lnTo>
                <a:lnTo>
                  <a:pt x="78" y="568"/>
                </a:lnTo>
                <a:lnTo>
                  <a:pt x="78" y="570"/>
                </a:lnTo>
                <a:lnTo>
                  <a:pt x="78" y="572"/>
                </a:lnTo>
                <a:lnTo>
                  <a:pt x="78" y="572"/>
                </a:lnTo>
                <a:lnTo>
                  <a:pt x="74" y="576"/>
                </a:lnTo>
                <a:lnTo>
                  <a:pt x="76" y="576"/>
                </a:lnTo>
                <a:lnTo>
                  <a:pt x="76" y="578"/>
                </a:lnTo>
                <a:lnTo>
                  <a:pt x="74" y="582"/>
                </a:lnTo>
                <a:lnTo>
                  <a:pt x="74" y="582"/>
                </a:lnTo>
                <a:lnTo>
                  <a:pt x="74" y="584"/>
                </a:lnTo>
                <a:lnTo>
                  <a:pt x="74" y="588"/>
                </a:lnTo>
                <a:lnTo>
                  <a:pt x="78" y="590"/>
                </a:lnTo>
                <a:lnTo>
                  <a:pt x="82" y="594"/>
                </a:lnTo>
                <a:lnTo>
                  <a:pt x="82" y="596"/>
                </a:lnTo>
                <a:lnTo>
                  <a:pt x="80" y="598"/>
                </a:lnTo>
                <a:lnTo>
                  <a:pt x="80" y="598"/>
                </a:lnTo>
                <a:lnTo>
                  <a:pt x="80" y="604"/>
                </a:lnTo>
                <a:lnTo>
                  <a:pt x="82" y="608"/>
                </a:lnTo>
                <a:lnTo>
                  <a:pt x="84" y="610"/>
                </a:lnTo>
                <a:lnTo>
                  <a:pt x="84" y="614"/>
                </a:lnTo>
                <a:lnTo>
                  <a:pt x="84" y="614"/>
                </a:lnTo>
                <a:lnTo>
                  <a:pt x="82" y="620"/>
                </a:lnTo>
                <a:lnTo>
                  <a:pt x="82" y="626"/>
                </a:lnTo>
                <a:lnTo>
                  <a:pt x="86" y="634"/>
                </a:lnTo>
                <a:lnTo>
                  <a:pt x="88" y="638"/>
                </a:lnTo>
                <a:lnTo>
                  <a:pt x="88" y="638"/>
                </a:lnTo>
                <a:lnTo>
                  <a:pt x="90" y="636"/>
                </a:lnTo>
                <a:lnTo>
                  <a:pt x="94" y="634"/>
                </a:lnTo>
                <a:lnTo>
                  <a:pt x="98" y="630"/>
                </a:lnTo>
                <a:lnTo>
                  <a:pt x="102" y="630"/>
                </a:lnTo>
                <a:lnTo>
                  <a:pt x="102" y="630"/>
                </a:lnTo>
                <a:lnTo>
                  <a:pt x="106" y="634"/>
                </a:lnTo>
                <a:lnTo>
                  <a:pt x="106" y="638"/>
                </a:lnTo>
                <a:lnTo>
                  <a:pt x="104" y="640"/>
                </a:lnTo>
                <a:lnTo>
                  <a:pt x="106" y="644"/>
                </a:lnTo>
                <a:lnTo>
                  <a:pt x="106" y="644"/>
                </a:lnTo>
                <a:lnTo>
                  <a:pt x="108" y="648"/>
                </a:lnTo>
                <a:lnTo>
                  <a:pt x="108" y="650"/>
                </a:lnTo>
                <a:lnTo>
                  <a:pt x="110" y="652"/>
                </a:lnTo>
                <a:lnTo>
                  <a:pt x="116" y="652"/>
                </a:lnTo>
                <a:lnTo>
                  <a:pt x="116" y="652"/>
                </a:lnTo>
                <a:lnTo>
                  <a:pt x="120" y="654"/>
                </a:lnTo>
                <a:lnTo>
                  <a:pt x="124" y="656"/>
                </a:lnTo>
                <a:lnTo>
                  <a:pt x="124" y="658"/>
                </a:lnTo>
                <a:lnTo>
                  <a:pt x="158" y="658"/>
                </a:lnTo>
                <a:lnTo>
                  <a:pt x="158" y="658"/>
                </a:lnTo>
                <a:lnTo>
                  <a:pt x="162" y="660"/>
                </a:lnTo>
                <a:lnTo>
                  <a:pt x="166" y="658"/>
                </a:lnTo>
                <a:lnTo>
                  <a:pt x="172" y="660"/>
                </a:lnTo>
                <a:lnTo>
                  <a:pt x="184" y="664"/>
                </a:lnTo>
                <a:lnTo>
                  <a:pt x="184" y="664"/>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15" name="Australia"/>
          <p:cNvSpPr>
            <a:spLocks/>
          </p:cNvSpPr>
          <p:nvPr/>
        </p:nvSpPr>
        <p:spPr bwMode="auto">
          <a:xfrm>
            <a:off x="6911420" y="3073422"/>
            <a:ext cx="975337" cy="878585"/>
          </a:xfrm>
          <a:custGeom>
            <a:avLst/>
            <a:gdLst/>
            <a:ahLst/>
            <a:cxnLst/>
            <a:rect l="l" t="t" r="r" b="b"/>
            <a:pathLst>
              <a:path w="1132417" h="1021292">
                <a:moveTo>
                  <a:pt x="743479" y="936625"/>
                </a:moveTo>
                <a:lnTo>
                  <a:pt x="751416" y="936625"/>
                </a:lnTo>
                <a:lnTo>
                  <a:pt x="754062" y="939271"/>
                </a:lnTo>
                <a:lnTo>
                  <a:pt x="751416" y="941917"/>
                </a:lnTo>
                <a:lnTo>
                  <a:pt x="748771" y="944563"/>
                </a:lnTo>
                <a:lnTo>
                  <a:pt x="748771" y="949854"/>
                </a:lnTo>
                <a:lnTo>
                  <a:pt x="748771" y="952500"/>
                </a:lnTo>
                <a:lnTo>
                  <a:pt x="746125" y="952500"/>
                </a:lnTo>
                <a:lnTo>
                  <a:pt x="743479" y="955146"/>
                </a:lnTo>
                <a:lnTo>
                  <a:pt x="740833" y="960438"/>
                </a:lnTo>
                <a:lnTo>
                  <a:pt x="738187" y="965730"/>
                </a:lnTo>
                <a:lnTo>
                  <a:pt x="732896" y="973667"/>
                </a:lnTo>
                <a:lnTo>
                  <a:pt x="727604" y="978959"/>
                </a:lnTo>
                <a:lnTo>
                  <a:pt x="727604" y="976313"/>
                </a:lnTo>
                <a:lnTo>
                  <a:pt x="727604" y="973667"/>
                </a:lnTo>
                <a:lnTo>
                  <a:pt x="724958" y="973667"/>
                </a:lnTo>
                <a:lnTo>
                  <a:pt x="719666" y="978959"/>
                </a:lnTo>
                <a:lnTo>
                  <a:pt x="709083" y="992188"/>
                </a:lnTo>
                <a:lnTo>
                  <a:pt x="701145" y="997480"/>
                </a:lnTo>
                <a:lnTo>
                  <a:pt x="695854" y="997480"/>
                </a:lnTo>
                <a:lnTo>
                  <a:pt x="690562" y="1000125"/>
                </a:lnTo>
                <a:lnTo>
                  <a:pt x="685270" y="1002771"/>
                </a:lnTo>
                <a:lnTo>
                  <a:pt x="679979" y="1005417"/>
                </a:lnTo>
                <a:lnTo>
                  <a:pt x="674687" y="1008063"/>
                </a:lnTo>
                <a:lnTo>
                  <a:pt x="666749" y="1008063"/>
                </a:lnTo>
                <a:lnTo>
                  <a:pt x="664104" y="1013355"/>
                </a:lnTo>
                <a:lnTo>
                  <a:pt x="656166" y="1018646"/>
                </a:lnTo>
                <a:lnTo>
                  <a:pt x="650874" y="1021292"/>
                </a:lnTo>
                <a:lnTo>
                  <a:pt x="645583" y="1018646"/>
                </a:lnTo>
                <a:lnTo>
                  <a:pt x="637645" y="1016001"/>
                </a:lnTo>
                <a:lnTo>
                  <a:pt x="640291" y="1016001"/>
                </a:lnTo>
                <a:lnTo>
                  <a:pt x="640291" y="1013355"/>
                </a:lnTo>
                <a:lnTo>
                  <a:pt x="637645" y="1008063"/>
                </a:lnTo>
                <a:lnTo>
                  <a:pt x="637645" y="1002771"/>
                </a:lnTo>
                <a:lnTo>
                  <a:pt x="640291" y="1000125"/>
                </a:lnTo>
                <a:lnTo>
                  <a:pt x="640291" y="994834"/>
                </a:lnTo>
                <a:lnTo>
                  <a:pt x="640291" y="986896"/>
                </a:lnTo>
                <a:lnTo>
                  <a:pt x="642937" y="981605"/>
                </a:lnTo>
                <a:lnTo>
                  <a:pt x="642937" y="976313"/>
                </a:lnTo>
                <a:lnTo>
                  <a:pt x="645583" y="976313"/>
                </a:lnTo>
                <a:lnTo>
                  <a:pt x="648229" y="978959"/>
                </a:lnTo>
                <a:lnTo>
                  <a:pt x="648229" y="984250"/>
                </a:lnTo>
                <a:lnTo>
                  <a:pt x="653520" y="973667"/>
                </a:lnTo>
                <a:lnTo>
                  <a:pt x="656166" y="968375"/>
                </a:lnTo>
                <a:lnTo>
                  <a:pt x="653520" y="963084"/>
                </a:lnTo>
                <a:lnTo>
                  <a:pt x="653520" y="957792"/>
                </a:lnTo>
                <a:lnTo>
                  <a:pt x="653520" y="955146"/>
                </a:lnTo>
                <a:lnTo>
                  <a:pt x="656166" y="947209"/>
                </a:lnTo>
                <a:lnTo>
                  <a:pt x="661458" y="941917"/>
                </a:lnTo>
                <a:lnTo>
                  <a:pt x="664104" y="941917"/>
                </a:lnTo>
                <a:lnTo>
                  <a:pt x="669395" y="941917"/>
                </a:lnTo>
                <a:lnTo>
                  <a:pt x="674687" y="944563"/>
                </a:lnTo>
                <a:lnTo>
                  <a:pt x="674687" y="941917"/>
                </a:lnTo>
                <a:lnTo>
                  <a:pt x="677333" y="941917"/>
                </a:lnTo>
                <a:lnTo>
                  <a:pt x="679979" y="941917"/>
                </a:lnTo>
                <a:lnTo>
                  <a:pt x="687916" y="944563"/>
                </a:lnTo>
                <a:lnTo>
                  <a:pt x="695854" y="947209"/>
                </a:lnTo>
                <a:lnTo>
                  <a:pt x="706437" y="947209"/>
                </a:lnTo>
                <a:lnTo>
                  <a:pt x="709083" y="947209"/>
                </a:lnTo>
                <a:lnTo>
                  <a:pt x="714375" y="947209"/>
                </a:lnTo>
                <a:lnTo>
                  <a:pt x="722312" y="944563"/>
                </a:lnTo>
                <a:lnTo>
                  <a:pt x="727604" y="944563"/>
                </a:lnTo>
                <a:lnTo>
                  <a:pt x="735541" y="939271"/>
                </a:lnTo>
                <a:close/>
                <a:moveTo>
                  <a:pt x="965730" y="0"/>
                </a:moveTo>
                <a:lnTo>
                  <a:pt x="971021" y="0"/>
                </a:lnTo>
                <a:lnTo>
                  <a:pt x="973667" y="0"/>
                </a:lnTo>
                <a:lnTo>
                  <a:pt x="973667" y="2646"/>
                </a:lnTo>
                <a:lnTo>
                  <a:pt x="976313" y="5292"/>
                </a:lnTo>
                <a:lnTo>
                  <a:pt x="978959" y="10583"/>
                </a:lnTo>
                <a:lnTo>
                  <a:pt x="976313" y="18521"/>
                </a:lnTo>
                <a:lnTo>
                  <a:pt x="973667" y="26458"/>
                </a:lnTo>
                <a:lnTo>
                  <a:pt x="976313" y="29104"/>
                </a:lnTo>
                <a:lnTo>
                  <a:pt x="978959" y="31750"/>
                </a:lnTo>
                <a:lnTo>
                  <a:pt x="978959" y="37042"/>
                </a:lnTo>
                <a:lnTo>
                  <a:pt x="978959" y="39687"/>
                </a:lnTo>
                <a:lnTo>
                  <a:pt x="981605" y="42333"/>
                </a:lnTo>
                <a:lnTo>
                  <a:pt x="984251" y="44979"/>
                </a:lnTo>
                <a:lnTo>
                  <a:pt x="984251" y="50271"/>
                </a:lnTo>
                <a:lnTo>
                  <a:pt x="981605" y="52917"/>
                </a:lnTo>
                <a:lnTo>
                  <a:pt x="984251" y="52917"/>
                </a:lnTo>
                <a:lnTo>
                  <a:pt x="986896" y="50271"/>
                </a:lnTo>
                <a:lnTo>
                  <a:pt x="989542" y="52917"/>
                </a:lnTo>
                <a:lnTo>
                  <a:pt x="989542" y="55562"/>
                </a:lnTo>
                <a:lnTo>
                  <a:pt x="989542" y="58208"/>
                </a:lnTo>
                <a:lnTo>
                  <a:pt x="989542" y="60854"/>
                </a:lnTo>
                <a:lnTo>
                  <a:pt x="989542" y="68792"/>
                </a:lnTo>
                <a:lnTo>
                  <a:pt x="989542" y="74083"/>
                </a:lnTo>
                <a:lnTo>
                  <a:pt x="989542" y="82021"/>
                </a:lnTo>
                <a:lnTo>
                  <a:pt x="986896" y="89958"/>
                </a:lnTo>
                <a:lnTo>
                  <a:pt x="984251" y="95250"/>
                </a:lnTo>
                <a:lnTo>
                  <a:pt x="986896" y="97896"/>
                </a:lnTo>
                <a:lnTo>
                  <a:pt x="989542" y="100542"/>
                </a:lnTo>
                <a:lnTo>
                  <a:pt x="989542" y="105833"/>
                </a:lnTo>
                <a:lnTo>
                  <a:pt x="986896" y="111125"/>
                </a:lnTo>
                <a:lnTo>
                  <a:pt x="989542" y="113771"/>
                </a:lnTo>
                <a:lnTo>
                  <a:pt x="994834" y="113771"/>
                </a:lnTo>
                <a:lnTo>
                  <a:pt x="1000126" y="113771"/>
                </a:lnTo>
                <a:lnTo>
                  <a:pt x="1002771" y="111125"/>
                </a:lnTo>
                <a:lnTo>
                  <a:pt x="1008063" y="108479"/>
                </a:lnTo>
                <a:lnTo>
                  <a:pt x="1010709" y="113771"/>
                </a:lnTo>
                <a:lnTo>
                  <a:pt x="1008063" y="116417"/>
                </a:lnTo>
                <a:lnTo>
                  <a:pt x="1010709" y="119062"/>
                </a:lnTo>
                <a:lnTo>
                  <a:pt x="1016001" y="124354"/>
                </a:lnTo>
                <a:lnTo>
                  <a:pt x="1023938" y="129646"/>
                </a:lnTo>
                <a:lnTo>
                  <a:pt x="1026584" y="129646"/>
                </a:lnTo>
                <a:lnTo>
                  <a:pt x="1029230" y="132292"/>
                </a:lnTo>
                <a:lnTo>
                  <a:pt x="1031876" y="134937"/>
                </a:lnTo>
                <a:lnTo>
                  <a:pt x="1031876" y="140229"/>
                </a:lnTo>
                <a:lnTo>
                  <a:pt x="1026584" y="142875"/>
                </a:lnTo>
                <a:lnTo>
                  <a:pt x="1026584" y="148167"/>
                </a:lnTo>
                <a:lnTo>
                  <a:pt x="1026584" y="156104"/>
                </a:lnTo>
                <a:lnTo>
                  <a:pt x="1023938" y="158750"/>
                </a:lnTo>
                <a:lnTo>
                  <a:pt x="1021292" y="164041"/>
                </a:lnTo>
                <a:lnTo>
                  <a:pt x="1021292" y="166687"/>
                </a:lnTo>
                <a:lnTo>
                  <a:pt x="1021292" y="171979"/>
                </a:lnTo>
                <a:lnTo>
                  <a:pt x="1021292" y="177271"/>
                </a:lnTo>
                <a:lnTo>
                  <a:pt x="1018646" y="179916"/>
                </a:lnTo>
                <a:lnTo>
                  <a:pt x="1021292" y="187854"/>
                </a:lnTo>
                <a:lnTo>
                  <a:pt x="1026584" y="198437"/>
                </a:lnTo>
                <a:lnTo>
                  <a:pt x="1026584" y="209021"/>
                </a:lnTo>
                <a:lnTo>
                  <a:pt x="1026584" y="216958"/>
                </a:lnTo>
                <a:lnTo>
                  <a:pt x="1023938" y="224896"/>
                </a:lnTo>
                <a:lnTo>
                  <a:pt x="1018646" y="238125"/>
                </a:lnTo>
                <a:lnTo>
                  <a:pt x="1018646" y="243416"/>
                </a:lnTo>
                <a:lnTo>
                  <a:pt x="1018646" y="248708"/>
                </a:lnTo>
                <a:lnTo>
                  <a:pt x="1021292" y="254000"/>
                </a:lnTo>
                <a:lnTo>
                  <a:pt x="1023938" y="259291"/>
                </a:lnTo>
                <a:lnTo>
                  <a:pt x="1026584" y="264583"/>
                </a:lnTo>
                <a:lnTo>
                  <a:pt x="1037167" y="269875"/>
                </a:lnTo>
                <a:lnTo>
                  <a:pt x="1045105" y="275166"/>
                </a:lnTo>
                <a:lnTo>
                  <a:pt x="1047751" y="280458"/>
                </a:lnTo>
                <a:lnTo>
                  <a:pt x="1050396" y="285750"/>
                </a:lnTo>
                <a:lnTo>
                  <a:pt x="1055688" y="285750"/>
                </a:lnTo>
                <a:lnTo>
                  <a:pt x="1060980" y="285750"/>
                </a:lnTo>
                <a:lnTo>
                  <a:pt x="1063626" y="288396"/>
                </a:lnTo>
                <a:lnTo>
                  <a:pt x="1066271" y="291041"/>
                </a:lnTo>
                <a:lnTo>
                  <a:pt x="1068917" y="291041"/>
                </a:lnTo>
                <a:lnTo>
                  <a:pt x="1071563" y="291041"/>
                </a:lnTo>
                <a:lnTo>
                  <a:pt x="1071563" y="293687"/>
                </a:lnTo>
                <a:lnTo>
                  <a:pt x="1071563" y="298979"/>
                </a:lnTo>
                <a:lnTo>
                  <a:pt x="1076855" y="301625"/>
                </a:lnTo>
                <a:lnTo>
                  <a:pt x="1079501" y="304271"/>
                </a:lnTo>
                <a:lnTo>
                  <a:pt x="1082146" y="309562"/>
                </a:lnTo>
                <a:lnTo>
                  <a:pt x="1082146" y="317500"/>
                </a:lnTo>
                <a:lnTo>
                  <a:pt x="1079501" y="314854"/>
                </a:lnTo>
                <a:lnTo>
                  <a:pt x="1076855" y="314854"/>
                </a:lnTo>
                <a:lnTo>
                  <a:pt x="1074209" y="314854"/>
                </a:lnTo>
                <a:lnTo>
                  <a:pt x="1071563" y="317500"/>
                </a:lnTo>
                <a:lnTo>
                  <a:pt x="1074209" y="320146"/>
                </a:lnTo>
                <a:lnTo>
                  <a:pt x="1076855" y="325437"/>
                </a:lnTo>
                <a:lnTo>
                  <a:pt x="1079501" y="333375"/>
                </a:lnTo>
                <a:lnTo>
                  <a:pt x="1079501" y="336021"/>
                </a:lnTo>
                <a:lnTo>
                  <a:pt x="1079501" y="341312"/>
                </a:lnTo>
                <a:lnTo>
                  <a:pt x="1076855" y="346604"/>
                </a:lnTo>
                <a:lnTo>
                  <a:pt x="1076855" y="349250"/>
                </a:lnTo>
                <a:lnTo>
                  <a:pt x="1079501" y="351896"/>
                </a:lnTo>
                <a:lnTo>
                  <a:pt x="1079501" y="354541"/>
                </a:lnTo>
                <a:lnTo>
                  <a:pt x="1076855" y="367771"/>
                </a:lnTo>
                <a:lnTo>
                  <a:pt x="1079501" y="370416"/>
                </a:lnTo>
                <a:lnTo>
                  <a:pt x="1082146" y="375708"/>
                </a:lnTo>
                <a:lnTo>
                  <a:pt x="1084792" y="367771"/>
                </a:lnTo>
                <a:lnTo>
                  <a:pt x="1090084" y="365125"/>
                </a:lnTo>
                <a:lnTo>
                  <a:pt x="1095376" y="370416"/>
                </a:lnTo>
                <a:lnTo>
                  <a:pt x="1103313" y="378354"/>
                </a:lnTo>
                <a:lnTo>
                  <a:pt x="1100667" y="373062"/>
                </a:lnTo>
                <a:lnTo>
                  <a:pt x="1100667" y="370416"/>
                </a:lnTo>
                <a:lnTo>
                  <a:pt x="1100667" y="367771"/>
                </a:lnTo>
                <a:lnTo>
                  <a:pt x="1105959" y="367771"/>
                </a:lnTo>
                <a:lnTo>
                  <a:pt x="1108605" y="370416"/>
                </a:lnTo>
                <a:lnTo>
                  <a:pt x="1108605" y="378354"/>
                </a:lnTo>
                <a:lnTo>
                  <a:pt x="1103313" y="391583"/>
                </a:lnTo>
                <a:lnTo>
                  <a:pt x="1103313" y="396875"/>
                </a:lnTo>
                <a:lnTo>
                  <a:pt x="1100667" y="402166"/>
                </a:lnTo>
                <a:lnTo>
                  <a:pt x="1105959" y="410104"/>
                </a:lnTo>
                <a:lnTo>
                  <a:pt x="1108605" y="415396"/>
                </a:lnTo>
                <a:lnTo>
                  <a:pt x="1108605" y="418041"/>
                </a:lnTo>
                <a:lnTo>
                  <a:pt x="1108605" y="423333"/>
                </a:lnTo>
                <a:lnTo>
                  <a:pt x="1111251" y="423333"/>
                </a:lnTo>
                <a:lnTo>
                  <a:pt x="1113896" y="425979"/>
                </a:lnTo>
                <a:lnTo>
                  <a:pt x="1119188" y="447146"/>
                </a:lnTo>
                <a:lnTo>
                  <a:pt x="1121834" y="457729"/>
                </a:lnTo>
                <a:lnTo>
                  <a:pt x="1124480" y="455083"/>
                </a:lnTo>
                <a:lnTo>
                  <a:pt x="1127126" y="444500"/>
                </a:lnTo>
                <a:lnTo>
                  <a:pt x="1129771" y="441854"/>
                </a:lnTo>
                <a:lnTo>
                  <a:pt x="1132417" y="447146"/>
                </a:lnTo>
                <a:lnTo>
                  <a:pt x="1132417" y="449791"/>
                </a:lnTo>
                <a:lnTo>
                  <a:pt x="1129771" y="455083"/>
                </a:lnTo>
                <a:lnTo>
                  <a:pt x="1127126" y="463020"/>
                </a:lnTo>
                <a:lnTo>
                  <a:pt x="1124480" y="465666"/>
                </a:lnTo>
                <a:lnTo>
                  <a:pt x="1124480" y="473604"/>
                </a:lnTo>
                <a:lnTo>
                  <a:pt x="1127126" y="478895"/>
                </a:lnTo>
                <a:lnTo>
                  <a:pt x="1124480" y="484187"/>
                </a:lnTo>
                <a:lnTo>
                  <a:pt x="1119188" y="492125"/>
                </a:lnTo>
                <a:lnTo>
                  <a:pt x="1116542" y="500062"/>
                </a:lnTo>
                <a:lnTo>
                  <a:pt x="1113896" y="502708"/>
                </a:lnTo>
                <a:lnTo>
                  <a:pt x="1116542" y="505354"/>
                </a:lnTo>
                <a:lnTo>
                  <a:pt x="1119188" y="510645"/>
                </a:lnTo>
                <a:lnTo>
                  <a:pt x="1119188" y="518583"/>
                </a:lnTo>
                <a:lnTo>
                  <a:pt x="1113896" y="539750"/>
                </a:lnTo>
                <a:lnTo>
                  <a:pt x="1103313" y="563562"/>
                </a:lnTo>
                <a:lnTo>
                  <a:pt x="1095376" y="574145"/>
                </a:lnTo>
                <a:lnTo>
                  <a:pt x="1087438" y="584729"/>
                </a:lnTo>
                <a:lnTo>
                  <a:pt x="1074209" y="600604"/>
                </a:lnTo>
                <a:lnTo>
                  <a:pt x="1063626" y="616479"/>
                </a:lnTo>
                <a:lnTo>
                  <a:pt x="1058334" y="627062"/>
                </a:lnTo>
                <a:lnTo>
                  <a:pt x="1053042" y="635000"/>
                </a:lnTo>
                <a:lnTo>
                  <a:pt x="1042459" y="645583"/>
                </a:lnTo>
                <a:lnTo>
                  <a:pt x="1042459" y="650875"/>
                </a:lnTo>
                <a:lnTo>
                  <a:pt x="1045105" y="653520"/>
                </a:lnTo>
                <a:lnTo>
                  <a:pt x="1045105" y="658812"/>
                </a:lnTo>
                <a:lnTo>
                  <a:pt x="1039813" y="664104"/>
                </a:lnTo>
                <a:lnTo>
                  <a:pt x="1023938" y="677333"/>
                </a:lnTo>
                <a:lnTo>
                  <a:pt x="1000126" y="698500"/>
                </a:lnTo>
                <a:lnTo>
                  <a:pt x="997480" y="703791"/>
                </a:lnTo>
                <a:lnTo>
                  <a:pt x="992188" y="709083"/>
                </a:lnTo>
                <a:lnTo>
                  <a:pt x="981605" y="711729"/>
                </a:lnTo>
                <a:lnTo>
                  <a:pt x="973667" y="714375"/>
                </a:lnTo>
                <a:lnTo>
                  <a:pt x="973667" y="717020"/>
                </a:lnTo>
                <a:lnTo>
                  <a:pt x="973667" y="719666"/>
                </a:lnTo>
                <a:lnTo>
                  <a:pt x="973667" y="722312"/>
                </a:lnTo>
                <a:lnTo>
                  <a:pt x="971021" y="722312"/>
                </a:lnTo>
                <a:lnTo>
                  <a:pt x="965730" y="722312"/>
                </a:lnTo>
                <a:lnTo>
                  <a:pt x="960438" y="727604"/>
                </a:lnTo>
                <a:lnTo>
                  <a:pt x="949855" y="743479"/>
                </a:lnTo>
                <a:lnTo>
                  <a:pt x="933980" y="762000"/>
                </a:lnTo>
                <a:lnTo>
                  <a:pt x="918105" y="777875"/>
                </a:lnTo>
                <a:lnTo>
                  <a:pt x="912813" y="783166"/>
                </a:lnTo>
                <a:lnTo>
                  <a:pt x="910167" y="791104"/>
                </a:lnTo>
                <a:lnTo>
                  <a:pt x="907521" y="799041"/>
                </a:lnTo>
                <a:lnTo>
                  <a:pt x="904876" y="799041"/>
                </a:lnTo>
                <a:lnTo>
                  <a:pt x="899584" y="804333"/>
                </a:lnTo>
                <a:lnTo>
                  <a:pt x="891646" y="812270"/>
                </a:lnTo>
                <a:lnTo>
                  <a:pt x="883709" y="812270"/>
                </a:lnTo>
                <a:lnTo>
                  <a:pt x="878417" y="812270"/>
                </a:lnTo>
                <a:lnTo>
                  <a:pt x="873126" y="814916"/>
                </a:lnTo>
                <a:lnTo>
                  <a:pt x="867834" y="822854"/>
                </a:lnTo>
                <a:lnTo>
                  <a:pt x="862542" y="828145"/>
                </a:lnTo>
                <a:lnTo>
                  <a:pt x="857251" y="833437"/>
                </a:lnTo>
                <a:lnTo>
                  <a:pt x="851959" y="836083"/>
                </a:lnTo>
                <a:lnTo>
                  <a:pt x="849313" y="838729"/>
                </a:lnTo>
                <a:lnTo>
                  <a:pt x="846667" y="844020"/>
                </a:lnTo>
                <a:lnTo>
                  <a:pt x="844021" y="849312"/>
                </a:lnTo>
                <a:lnTo>
                  <a:pt x="844021" y="851958"/>
                </a:lnTo>
                <a:lnTo>
                  <a:pt x="841376" y="849312"/>
                </a:lnTo>
                <a:lnTo>
                  <a:pt x="838730" y="851958"/>
                </a:lnTo>
                <a:lnTo>
                  <a:pt x="836084" y="854604"/>
                </a:lnTo>
                <a:lnTo>
                  <a:pt x="825500" y="854604"/>
                </a:lnTo>
                <a:lnTo>
                  <a:pt x="799042" y="851958"/>
                </a:lnTo>
                <a:lnTo>
                  <a:pt x="791105" y="851958"/>
                </a:lnTo>
                <a:lnTo>
                  <a:pt x="785813" y="854604"/>
                </a:lnTo>
                <a:lnTo>
                  <a:pt x="772584" y="865187"/>
                </a:lnTo>
                <a:lnTo>
                  <a:pt x="762000" y="875770"/>
                </a:lnTo>
                <a:lnTo>
                  <a:pt x="748771" y="883708"/>
                </a:lnTo>
                <a:lnTo>
                  <a:pt x="740834" y="886354"/>
                </a:lnTo>
                <a:lnTo>
                  <a:pt x="738188" y="886354"/>
                </a:lnTo>
                <a:lnTo>
                  <a:pt x="738188" y="881062"/>
                </a:lnTo>
                <a:lnTo>
                  <a:pt x="732896" y="878416"/>
                </a:lnTo>
                <a:lnTo>
                  <a:pt x="724959" y="878416"/>
                </a:lnTo>
                <a:lnTo>
                  <a:pt x="722313" y="875770"/>
                </a:lnTo>
                <a:lnTo>
                  <a:pt x="722313" y="873125"/>
                </a:lnTo>
                <a:lnTo>
                  <a:pt x="724959" y="870479"/>
                </a:lnTo>
                <a:lnTo>
                  <a:pt x="727605" y="867833"/>
                </a:lnTo>
                <a:lnTo>
                  <a:pt x="719667" y="870479"/>
                </a:lnTo>
                <a:lnTo>
                  <a:pt x="711730" y="870479"/>
                </a:lnTo>
                <a:lnTo>
                  <a:pt x="714375" y="865187"/>
                </a:lnTo>
                <a:lnTo>
                  <a:pt x="719667" y="862541"/>
                </a:lnTo>
                <a:lnTo>
                  <a:pt x="717021" y="862541"/>
                </a:lnTo>
                <a:lnTo>
                  <a:pt x="714375" y="862541"/>
                </a:lnTo>
                <a:lnTo>
                  <a:pt x="711730" y="862541"/>
                </a:lnTo>
                <a:lnTo>
                  <a:pt x="714375" y="854604"/>
                </a:lnTo>
                <a:lnTo>
                  <a:pt x="714375" y="849312"/>
                </a:lnTo>
                <a:lnTo>
                  <a:pt x="711730" y="849312"/>
                </a:lnTo>
                <a:lnTo>
                  <a:pt x="709084" y="851958"/>
                </a:lnTo>
                <a:lnTo>
                  <a:pt x="703792" y="857250"/>
                </a:lnTo>
                <a:lnTo>
                  <a:pt x="703792" y="859895"/>
                </a:lnTo>
                <a:lnTo>
                  <a:pt x="709084" y="859895"/>
                </a:lnTo>
                <a:lnTo>
                  <a:pt x="709084" y="862541"/>
                </a:lnTo>
                <a:lnTo>
                  <a:pt x="703792" y="865187"/>
                </a:lnTo>
                <a:lnTo>
                  <a:pt x="701146" y="865187"/>
                </a:lnTo>
                <a:lnTo>
                  <a:pt x="695855" y="865187"/>
                </a:lnTo>
                <a:lnTo>
                  <a:pt x="687917" y="870479"/>
                </a:lnTo>
                <a:lnTo>
                  <a:pt x="679980" y="875770"/>
                </a:lnTo>
                <a:lnTo>
                  <a:pt x="677334" y="875770"/>
                </a:lnTo>
                <a:lnTo>
                  <a:pt x="677334" y="873125"/>
                </a:lnTo>
                <a:lnTo>
                  <a:pt x="672042" y="873125"/>
                </a:lnTo>
                <a:lnTo>
                  <a:pt x="664105" y="875770"/>
                </a:lnTo>
                <a:lnTo>
                  <a:pt x="658813" y="873125"/>
                </a:lnTo>
                <a:lnTo>
                  <a:pt x="656167" y="870479"/>
                </a:lnTo>
                <a:lnTo>
                  <a:pt x="648230" y="870479"/>
                </a:lnTo>
                <a:lnTo>
                  <a:pt x="642938" y="870479"/>
                </a:lnTo>
                <a:lnTo>
                  <a:pt x="637646" y="867833"/>
                </a:lnTo>
                <a:lnTo>
                  <a:pt x="629708" y="862541"/>
                </a:lnTo>
                <a:lnTo>
                  <a:pt x="616479" y="857250"/>
                </a:lnTo>
                <a:lnTo>
                  <a:pt x="605896" y="851958"/>
                </a:lnTo>
                <a:lnTo>
                  <a:pt x="605896" y="849312"/>
                </a:lnTo>
                <a:lnTo>
                  <a:pt x="605896" y="846666"/>
                </a:lnTo>
                <a:lnTo>
                  <a:pt x="605896" y="841375"/>
                </a:lnTo>
                <a:lnTo>
                  <a:pt x="603250" y="836083"/>
                </a:lnTo>
                <a:lnTo>
                  <a:pt x="600604" y="833437"/>
                </a:lnTo>
                <a:lnTo>
                  <a:pt x="597958" y="828145"/>
                </a:lnTo>
                <a:lnTo>
                  <a:pt x="597958" y="825500"/>
                </a:lnTo>
                <a:lnTo>
                  <a:pt x="603250" y="820208"/>
                </a:lnTo>
                <a:lnTo>
                  <a:pt x="611187" y="812270"/>
                </a:lnTo>
                <a:lnTo>
                  <a:pt x="613833" y="806979"/>
                </a:lnTo>
                <a:lnTo>
                  <a:pt x="616479" y="799041"/>
                </a:lnTo>
                <a:lnTo>
                  <a:pt x="616479" y="793750"/>
                </a:lnTo>
                <a:lnTo>
                  <a:pt x="619125" y="791104"/>
                </a:lnTo>
                <a:lnTo>
                  <a:pt x="627062" y="788458"/>
                </a:lnTo>
                <a:lnTo>
                  <a:pt x="632354" y="785812"/>
                </a:lnTo>
                <a:lnTo>
                  <a:pt x="627062" y="783166"/>
                </a:lnTo>
                <a:lnTo>
                  <a:pt x="621771" y="783166"/>
                </a:lnTo>
                <a:lnTo>
                  <a:pt x="619125" y="785812"/>
                </a:lnTo>
                <a:lnTo>
                  <a:pt x="613833" y="785812"/>
                </a:lnTo>
                <a:lnTo>
                  <a:pt x="597958" y="783166"/>
                </a:lnTo>
                <a:lnTo>
                  <a:pt x="608542" y="777875"/>
                </a:lnTo>
                <a:lnTo>
                  <a:pt x="613833" y="772583"/>
                </a:lnTo>
                <a:lnTo>
                  <a:pt x="613833" y="764645"/>
                </a:lnTo>
                <a:lnTo>
                  <a:pt x="613833" y="754062"/>
                </a:lnTo>
                <a:lnTo>
                  <a:pt x="613833" y="748770"/>
                </a:lnTo>
                <a:lnTo>
                  <a:pt x="611187" y="748770"/>
                </a:lnTo>
                <a:lnTo>
                  <a:pt x="600604" y="762000"/>
                </a:lnTo>
                <a:lnTo>
                  <a:pt x="595312" y="769937"/>
                </a:lnTo>
                <a:lnTo>
                  <a:pt x="590021" y="775229"/>
                </a:lnTo>
                <a:lnTo>
                  <a:pt x="582083" y="775229"/>
                </a:lnTo>
                <a:lnTo>
                  <a:pt x="574146" y="775229"/>
                </a:lnTo>
                <a:lnTo>
                  <a:pt x="568854" y="775229"/>
                </a:lnTo>
                <a:lnTo>
                  <a:pt x="566208" y="775229"/>
                </a:lnTo>
                <a:lnTo>
                  <a:pt x="566208" y="772583"/>
                </a:lnTo>
                <a:lnTo>
                  <a:pt x="566208" y="769937"/>
                </a:lnTo>
                <a:lnTo>
                  <a:pt x="574146" y="764645"/>
                </a:lnTo>
                <a:lnTo>
                  <a:pt x="579437" y="764645"/>
                </a:lnTo>
                <a:lnTo>
                  <a:pt x="584729" y="762000"/>
                </a:lnTo>
                <a:lnTo>
                  <a:pt x="584729" y="759354"/>
                </a:lnTo>
                <a:lnTo>
                  <a:pt x="587375" y="754062"/>
                </a:lnTo>
                <a:lnTo>
                  <a:pt x="590021" y="748770"/>
                </a:lnTo>
                <a:lnTo>
                  <a:pt x="597958" y="743479"/>
                </a:lnTo>
                <a:lnTo>
                  <a:pt x="608542" y="735541"/>
                </a:lnTo>
                <a:lnTo>
                  <a:pt x="619125" y="727604"/>
                </a:lnTo>
                <a:lnTo>
                  <a:pt x="619125" y="724958"/>
                </a:lnTo>
                <a:lnTo>
                  <a:pt x="619125" y="722312"/>
                </a:lnTo>
                <a:lnTo>
                  <a:pt x="616479" y="719666"/>
                </a:lnTo>
                <a:lnTo>
                  <a:pt x="621771" y="717020"/>
                </a:lnTo>
                <a:lnTo>
                  <a:pt x="624417" y="711729"/>
                </a:lnTo>
                <a:lnTo>
                  <a:pt x="624417" y="706437"/>
                </a:lnTo>
                <a:lnTo>
                  <a:pt x="621771" y="701145"/>
                </a:lnTo>
                <a:lnTo>
                  <a:pt x="627062" y="695854"/>
                </a:lnTo>
                <a:lnTo>
                  <a:pt x="619125" y="698500"/>
                </a:lnTo>
                <a:lnTo>
                  <a:pt x="616479" y="703791"/>
                </a:lnTo>
                <a:lnTo>
                  <a:pt x="613833" y="709083"/>
                </a:lnTo>
                <a:lnTo>
                  <a:pt x="611187" y="711729"/>
                </a:lnTo>
                <a:lnTo>
                  <a:pt x="608542" y="711729"/>
                </a:lnTo>
                <a:lnTo>
                  <a:pt x="605896" y="714375"/>
                </a:lnTo>
                <a:lnTo>
                  <a:pt x="600604" y="722312"/>
                </a:lnTo>
                <a:lnTo>
                  <a:pt x="595312" y="730250"/>
                </a:lnTo>
                <a:lnTo>
                  <a:pt x="592667" y="732895"/>
                </a:lnTo>
                <a:lnTo>
                  <a:pt x="587375" y="732895"/>
                </a:lnTo>
                <a:lnTo>
                  <a:pt x="582083" y="732895"/>
                </a:lnTo>
                <a:lnTo>
                  <a:pt x="574146" y="738187"/>
                </a:lnTo>
                <a:lnTo>
                  <a:pt x="563562" y="746125"/>
                </a:lnTo>
                <a:lnTo>
                  <a:pt x="550333" y="751416"/>
                </a:lnTo>
                <a:lnTo>
                  <a:pt x="547687" y="754062"/>
                </a:lnTo>
                <a:lnTo>
                  <a:pt x="550333" y="756708"/>
                </a:lnTo>
                <a:lnTo>
                  <a:pt x="545042" y="759354"/>
                </a:lnTo>
                <a:lnTo>
                  <a:pt x="534458" y="762000"/>
                </a:lnTo>
                <a:lnTo>
                  <a:pt x="531812" y="756708"/>
                </a:lnTo>
                <a:lnTo>
                  <a:pt x="529167" y="751416"/>
                </a:lnTo>
                <a:lnTo>
                  <a:pt x="531812" y="746125"/>
                </a:lnTo>
                <a:lnTo>
                  <a:pt x="534458" y="735541"/>
                </a:lnTo>
                <a:lnTo>
                  <a:pt x="534458" y="724958"/>
                </a:lnTo>
                <a:lnTo>
                  <a:pt x="534458" y="714375"/>
                </a:lnTo>
                <a:lnTo>
                  <a:pt x="531812" y="711729"/>
                </a:lnTo>
                <a:lnTo>
                  <a:pt x="526521" y="709083"/>
                </a:lnTo>
                <a:lnTo>
                  <a:pt x="518583" y="706437"/>
                </a:lnTo>
                <a:lnTo>
                  <a:pt x="515937" y="701145"/>
                </a:lnTo>
                <a:lnTo>
                  <a:pt x="513292" y="698500"/>
                </a:lnTo>
                <a:lnTo>
                  <a:pt x="515937" y="695854"/>
                </a:lnTo>
                <a:lnTo>
                  <a:pt x="515937" y="693208"/>
                </a:lnTo>
                <a:lnTo>
                  <a:pt x="513292" y="687916"/>
                </a:lnTo>
                <a:lnTo>
                  <a:pt x="508000" y="682625"/>
                </a:lnTo>
                <a:lnTo>
                  <a:pt x="500062" y="682625"/>
                </a:lnTo>
                <a:lnTo>
                  <a:pt x="494771" y="685270"/>
                </a:lnTo>
                <a:lnTo>
                  <a:pt x="492125" y="682625"/>
                </a:lnTo>
                <a:lnTo>
                  <a:pt x="492125" y="679979"/>
                </a:lnTo>
                <a:lnTo>
                  <a:pt x="486833" y="679979"/>
                </a:lnTo>
                <a:lnTo>
                  <a:pt x="481542" y="682625"/>
                </a:lnTo>
                <a:lnTo>
                  <a:pt x="476250" y="679979"/>
                </a:lnTo>
                <a:lnTo>
                  <a:pt x="468312" y="674687"/>
                </a:lnTo>
                <a:lnTo>
                  <a:pt x="460375" y="666750"/>
                </a:lnTo>
                <a:lnTo>
                  <a:pt x="455083" y="666750"/>
                </a:lnTo>
                <a:lnTo>
                  <a:pt x="449792" y="666750"/>
                </a:lnTo>
                <a:lnTo>
                  <a:pt x="439208" y="666750"/>
                </a:lnTo>
                <a:lnTo>
                  <a:pt x="428625" y="664104"/>
                </a:lnTo>
                <a:lnTo>
                  <a:pt x="415396" y="664104"/>
                </a:lnTo>
                <a:lnTo>
                  <a:pt x="399521" y="666750"/>
                </a:lnTo>
                <a:lnTo>
                  <a:pt x="381000" y="674687"/>
                </a:lnTo>
                <a:lnTo>
                  <a:pt x="370417" y="679979"/>
                </a:lnTo>
                <a:lnTo>
                  <a:pt x="362479" y="685270"/>
                </a:lnTo>
                <a:lnTo>
                  <a:pt x="346604" y="687916"/>
                </a:lnTo>
                <a:lnTo>
                  <a:pt x="322792" y="690562"/>
                </a:lnTo>
                <a:lnTo>
                  <a:pt x="309562" y="690562"/>
                </a:lnTo>
                <a:lnTo>
                  <a:pt x="296333" y="690562"/>
                </a:lnTo>
                <a:lnTo>
                  <a:pt x="285750" y="693208"/>
                </a:lnTo>
                <a:lnTo>
                  <a:pt x="264583" y="703791"/>
                </a:lnTo>
                <a:lnTo>
                  <a:pt x="256646" y="709083"/>
                </a:lnTo>
                <a:lnTo>
                  <a:pt x="248708" y="711729"/>
                </a:lnTo>
                <a:lnTo>
                  <a:pt x="238125" y="714375"/>
                </a:lnTo>
                <a:lnTo>
                  <a:pt x="238125" y="717020"/>
                </a:lnTo>
                <a:lnTo>
                  <a:pt x="235479" y="724958"/>
                </a:lnTo>
                <a:lnTo>
                  <a:pt x="224896" y="732895"/>
                </a:lnTo>
                <a:lnTo>
                  <a:pt x="211666" y="738187"/>
                </a:lnTo>
                <a:lnTo>
                  <a:pt x="206375" y="735541"/>
                </a:lnTo>
                <a:lnTo>
                  <a:pt x="203729" y="732895"/>
                </a:lnTo>
                <a:lnTo>
                  <a:pt x="201083" y="735541"/>
                </a:lnTo>
                <a:lnTo>
                  <a:pt x="198437" y="738187"/>
                </a:lnTo>
                <a:lnTo>
                  <a:pt x="193146" y="738187"/>
                </a:lnTo>
                <a:lnTo>
                  <a:pt x="187854" y="738187"/>
                </a:lnTo>
                <a:lnTo>
                  <a:pt x="179916" y="740833"/>
                </a:lnTo>
                <a:lnTo>
                  <a:pt x="177271" y="740833"/>
                </a:lnTo>
                <a:lnTo>
                  <a:pt x="174625" y="740833"/>
                </a:lnTo>
                <a:lnTo>
                  <a:pt x="169333" y="738187"/>
                </a:lnTo>
                <a:lnTo>
                  <a:pt x="166687" y="735541"/>
                </a:lnTo>
                <a:lnTo>
                  <a:pt x="164041" y="735541"/>
                </a:lnTo>
                <a:lnTo>
                  <a:pt x="156104" y="735541"/>
                </a:lnTo>
                <a:lnTo>
                  <a:pt x="148166" y="735541"/>
                </a:lnTo>
                <a:lnTo>
                  <a:pt x="140229" y="735541"/>
                </a:lnTo>
                <a:lnTo>
                  <a:pt x="124354" y="740833"/>
                </a:lnTo>
                <a:lnTo>
                  <a:pt x="119062" y="740833"/>
                </a:lnTo>
                <a:lnTo>
                  <a:pt x="116416" y="740833"/>
                </a:lnTo>
                <a:lnTo>
                  <a:pt x="108479" y="743479"/>
                </a:lnTo>
                <a:lnTo>
                  <a:pt x="100541" y="748770"/>
                </a:lnTo>
                <a:lnTo>
                  <a:pt x="97896" y="754062"/>
                </a:lnTo>
                <a:lnTo>
                  <a:pt x="97896" y="756708"/>
                </a:lnTo>
                <a:lnTo>
                  <a:pt x="92604" y="756708"/>
                </a:lnTo>
                <a:lnTo>
                  <a:pt x="87312" y="756708"/>
                </a:lnTo>
                <a:lnTo>
                  <a:pt x="84666" y="762000"/>
                </a:lnTo>
                <a:lnTo>
                  <a:pt x="79375" y="764645"/>
                </a:lnTo>
                <a:lnTo>
                  <a:pt x="76729" y="767291"/>
                </a:lnTo>
                <a:lnTo>
                  <a:pt x="71437" y="767291"/>
                </a:lnTo>
                <a:lnTo>
                  <a:pt x="68791" y="769937"/>
                </a:lnTo>
                <a:lnTo>
                  <a:pt x="66146" y="769937"/>
                </a:lnTo>
                <a:lnTo>
                  <a:pt x="60854" y="769937"/>
                </a:lnTo>
                <a:lnTo>
                  <a:pt x="58208" y="769937"/>
                </a:lnTo>
                <a:lnTo>
                  <a:pt x="55562" y="772583"/>
                </a:lnTo>
                <a:lnTo>
                  <a:pt x="52916" y="775229"/>
                </a:lnTo>
                <a:lnTo>
                  <a:pt x="47625" y="772583"/>
                </a:lnTo>
                <a:lnTo>
                  <a:pt x="39687" y="769937"/>
                </a:lnTo>
                <a:lnTo>
                  <a:pt x="37041" y="769937"/>
                </a:lnTo>
                <a:lnTo>
                  <a:pt x="31750" y="769937"/>
                </a:lnTo>
                <a:lnTo>
                  <a:pt x="29104" y="764645"/>
                </a:lnTo>
                <a:lnTo>
                  <a:pt x="23812" y="759354"/>
                </a:lnTo>
                <a:lnTo>
                  <a:pt x="21166" y="756708"/>
                </a:lnTo>
                <a:lnTo>
                  <a:pt x="13229" y="756708"/>
                </a:lnTo>
                <a:lnTo>
                  <a:pt x="7937" y="756708"/>
                </a:lnTo>
                <a:lnTo>
                  <a:pt x="7937" y="754062"/>
                </a:lnTo>
                <a:lnTo>
                  <a:pt x="5291" y="748770"/>
                </a:lnTo>
                <a:lnTo>
                  <a:pt x="5291" y="743479"/>
                </a:lnTo>
                <a:lnTo>
                  <a:pt x="2646" y="740833"/>
                </a:lnTo>
                <a:lnTo>
                  <a:pt x="0" y="738187"/>
                </a:lnTo>
                <a:lnTo>
                  <a:pt x="2646" y="735541"/>
                </a:lnTo>
                <a:lnTo>
                  <a:pt x="5291" y="732895"/>
                </a:lnTo>
                <a:lnTo>
                  <a:pt x="7937" y="735541"/>
                </a:lnTo>
                <a:lnTo>
                  <a:pt x="10583" y="735541"/>
                </a:lnTo>
                <a:lnTo>
                  <a:pt x="18521" y="732895"/>
                </a:lnTo>
                <a:lnTo>
                  <a:pt x="26458" y="730250"/>
                </a:lnTo>
                <a:lnTo>
                  <a:pt x="26458" y="727604"/>
                </a:lnTo>
                <a:lnTo>
                  <a:pt x="26458" y="724958"/>
                </a:lnTo>
                <a:lnTo>
                  <a:pt x="29104" y="719666"/>
                </a:lnTo>
                <a:lnTo>
                  <a:pt x="31750" y="714375"/>
                </a:lnTo>
                <a:lnTo>
                  <a:pt x="31750" y="709083"/>
                </a:lnTo>
                <a:lnTo>
                  <a:pt x="31750" y="703791"/>
                </a:lnTo>
                <a:lnTo>
                  <a:pt x="31750" y="698500"/>
                </a:lnTo>
                <a:lnTo>
                  <a:pt x="34396" y="695854"/>
                </a:lnTo>
                <a:lnTo>
                  <a:pt x="37041" y="698500"/>
                </a:lnTo>
                <a:lnTo>
                  <a:pt x="39687" y="701145"/>
                </a:lnTo>
                <a:lnTo>
                  <a:pt x="42333" y="698500"/>
                </a:lnTo>
                <a:lnTo>
                  <a:pt x="42333" y="695854"/>
                </a:lnTo>
                <a:lnTo>
                  <a:pt x="42333" y="693208"/>
                </a:lnTo>
                <a:lnTo>
                  <a:pt x="44979" y="685270"/>
                </a:lnTo>
                <a:lnTo>
                  <a:pt x="47625" y="677333"/>
                </a:lnTo>
                <a:lnTo>
                  <a:pt x="47625" y="669395"/>
                </a:lnTo>
                <a:lnTo>
                  <a:pt x="47625" y="650875"/>
                </a:lnTo>
                <a:lnTo>
                  <a:pt x="50271" y="627062"/>
                </a:lnTo>
                <a:lnTo>
                  <a:pt x="50271" y="616479"/>
                </a:lnTo>
                <a:lnTo>
                  <a:pt x="55562" y="605895"/>
                </a:lnTo>
                <a:lnTo>
                  <a:pt x="58208" y="595312"/>
                </a:lnTo>
                <a:lnTo>
                  <a:pt x="55562" y="584729"/>
                </a:lnTo>
                <a:lnTo>
                  <a:pt x="52916" y="574145"/>
                </a:lnTo>
                <a:lnTo>
                  <a:pt x="50271" y="566208"/>
                </a:lnTo>
                <a:lnTo>
                  <a:pt x="42333" y="550333"/>
                </a:lnTo>
                <a:lnTo>
                  <a:pt x="42333" y="542395"/>
                </a:lnTo>
                <a:lnTo>
                  <a:pt x="42333" y="537104"/>
                </a:lnTo>
                <a:lnTo>
                  <a:pt x="44979" y="531812"/>
                </a:lnTo>
                <a:lnTo>
                  <a:pt x="44979" y="523875"/>
                </a:lnTo>
                <a:lnTo>
                  <a:pt x="42333" y="515937"/>
                </a:lnTo>
                <a:lnTo>
                  <a:pt x="39687" y="497416"/>
                </a:lnTo>
                <a:lnTo>
                  <a:pt x="39687" y="492125"/>
                </a:lnTo>
                <a:lnTo>
                  <a:pt x="42333" y="489479"/>
                </a:lnTo>
                <a:lnTo>
                  <a:pt x="47625" y="494770"/>
                </a:lnTo>
                <a:lnTo>
                  <a:pt x="55562" y="500062"/>
                </a:lnTo>
                <a:lnTo>
                  <a:pt x="55562" y="494770"/>
                </a:lnTo>
                <a:lnTo>
                  <a:pt x="55562" y="484187"/>
                </a:lnTo>
                <a:lnTo>
                  <a:pt x="55562" y="473604"/>
                </a:lnTo>
                <a:lnTo>
                  <a:pt x="55562" y="468312"/>
                </a:lnTo>
                <a:lnTo>
                  <a:pt x="58208" y="465666"/>
                </a:lnTo>
                <a:lnTo>
                  <a:pt x="60854" y="468312"/>
                </a:lnTo>
                <a:lnTo>
                  <a:pt x="60854" y="476250"/>
                </a:lnTo>
                <a:lnTo>
                  <a:pt x="60854" y="484187"/>
                </a:lnTo>
                <a:lnTo>
                  <a:pt x="63500" y="497416"/>
                </a:lnTo>
                <a:lnTo>
                  <a:pt x="66146" y="492125"/>
                </a:lnTo>
                <a:lnTo>
                  <a:pt x="68791" y="486833"/>
                </a:lnTo>
                <a:lnTo>
                  <a:pt x="71437" y="484187"/>
                </a:lnTo>
                <a:lnTo>
                  <a:pt x="74083" y="478895"/>
                </a:lnTo>
                <a:lnTo>
                  <a:pt x="71437" y="463020"/>
                </a:lnTo>
                <a:lnTo>
                  <a:pt x="68791" y="447146"/>
                </a:lnTo>
                <a:lnTo>
                  <a:pt x="68791" y="439208"/>
                </a:lnTo>
                <a:lnTo>
                  <a:pt x="68791" y="431271"/>
                </a:lnTo>
                <a:lnTo>
                  <a:pt x="76729" y="423333"/>
                </a:lnTo>
                <a:lnTo>
                  <a:pt x="84666" y="418041"/>
                </a:lnTo>
                <a:lnTo>
                  <a:pt x="84666" y="412750"/>
                </a:lnTo>
                <a:lnTo>
                  <a:pt x="84666" y="410104"/>
                </a:lnTo>
                <a:lnTo>
                  <a:pt x="84666" y="407458"/>
                </a:lnTo>
                <a:lnTo>
                  <a:pt x="89958" y="404812"/>
                </a:lnTo>
                <a:lnTo>
                  <a:pt x="92604" y="402166"/>
                </a:lnTo>
                <a:lnTo>
                  <a:pt x="92604" y="399521"/>
                </a:lnTo>
                <a:lnTo>
                  <a:pt x="89958" y="396875"/>
                </a:lnTo>
                <a:lnTo>
                  <a:pt x="87312" y="394229"/>
                </a:lnTo>
                <a:lnTo>
                  <a:pt x="87312" y="391583"/>
                </a:lnTo>
                <a:lnTo>
                  <a:pt x="111125" y="365125"/>
                </a:lnTo>
                <a:lnTo>
                  <a:pt x="108479" y="378354"/>
                </a:lnTo>
                <a:lnTo>
                  <a:pt x="108479" y="383646"/>
                </a:lnTo>
                <a:lnTo>
                  <a:pt x="108479" y="386291"/>
                </a:lnTo>
                <a:lnTo>
                  <a:pt x="113771" y="381000"/>
                </a:lnTo>
                <a:lnTo>
                  <a:pt x="119062" y="378354"/>
                </a:lnTo>
                <a:lnTo>
                  <a:pt x="119062" y="370416"/>
                </a:lnTo>
                <a:lnTo>
                  <a:pt x="119062" y="365125"/>
                </a:lnTo>
                <a:lnTo>
                  <a:pt x="121708" y="362479"/>
                </a:lnTo>
                <a:lnTo>
                  <a:pt x="127000" y="359833"/>
                </a:lnTo>
                <a:lnTo>
                  <a:pt x="137583" y="357187"/>
                </a:lnTo>
                <a:lnTo>
                  <a:pt x="145521" y="351896"/>
                </a:lnTo>
                <a:lnTo>
                  <a:pt x="150812" y="343958"/>
                </a:lnTo>
                <a:lnTo>
                  <a:pt x="158750" y="333375"/>
                </a:lnTo>
                <a:lnTo>
                  <a:pt x="166687" y="325437"/>
                </a:lnTo>
                <a:lnTo>
                  <a:pt x="169333" y="325437"/>
                </a:lnTo>
                <a:lnTo>
                  <a:pt x="174625" y="328083"/>
                </a:lnTo>
                <a:lnTo>
                  <a:pt x="187854" y="325437"/>
                </a:lnTo>
                <a:lnTo>
                  <a:pt x="203729" y="320146"/>
                </a:lnTo>
                <a:lnTo>
                  <a:pt x="222250" y="317500"/>
                </a:lnTo>
                <a:lnTo>
                  <a:pt x="227542" y="317500"/>
                </a:lnTo>
                <a:lnTo>
                  <a:pt x="227542" y="314854"/>
                </a:lnTo>
                <a:lnTo>
                  <a:pt x="230187" y="312208"/>
                </a:lnTo>
                <a:lnTo>
                  <a:pt x="238125" y="309562"/>
                </a:lnTo>
                <a:lnTo>
                  <a:pt x="254000" y="306916"/>
                </a:lnTo>
                <a:lnTo>
                  <a:pt x="261937" y="304271"/>
                </a:lnTo>
                <a:lnTo>
                  <a:pt x="275167" y="298979"/>
                </a:lnTo>
                <a:lnTo>
                  <a:pt x="301625" y="293687"/>
                </a:lnTo>
                <a:lnTo>
                  <a:pt x="320146" y="285750"/>
                </a:lnTo>
                <a:lnTo>
                  <a:pt x="330729" y="277812"/>
                </a:lnTo>
                <a:lnTo>
                  <a:pt x="338667" y="267229"/>
                </a:lnTo>
                <a:lnTo>
                  <a:pt x="354542" y="240771"/>
                </a:lnTo>
                <a:lnTo>
                  <a:pt x="359833" y="235479"/>
                </a:lnTo>
                <a:lnTo>
                  <a:pt x="370417" y="235479"/>
                </a:lnTo>
                <a:lnTo>
                  <a:pt x="373062" y="232833"/>
                </a:lnTo>
                <a:lnTo>
                  <a:pt x="370417" y="230187"/>
                </a:lnTo>
                <a:lnTo>
                  <a:pt x="365125" y="224896"/>
                </a:lnTo>
                <a:lnTo>
                  <a:pt x="365125" y="222250"/>
                </a:lnTo>
                <a:lnTo>
                  <a:pt x="365125" y="219604"/>
                </a:lnTo>
                <a:lnTo>
                  <a:pt x="367771" y="211666"/>
                </a:lnTo>
                <a:lnTo>
                  <a:pt x="365125" y="209021"/>
                </a:lnTo>
                <a:lnTo>
                  <a:pt x="370417" y="203729"/>
                </a:lnTo>
                <a:lnTo>
                  <a:pt x="378354" y="195791"/>
                </a:lnTo>
                <a:lnTo>
                  <a:pt x="386292" y="190500"/>
                </a:lnTo>
                <a:lnTo>
                  <a:pt x="391583" y="185208"/>
                </a:lnTo>
                <a:lnTo>
                  <a:pt x="394229" y="185208"/>
                </a:lnTo>
                <a:lnTo>
                  <a:pt x="396875" y="185208"/>
                </a:lnTo>
                <a:lnTo>
                  <a:pt x="396875" y="187854"/>
                </a:lnTo>
                <a:lnTo>
                  <a:pt x="394229" y="190500"/>
                </a:lnTo>
                <a:lnTo>
                  <a:pt x="399521" y="198437"/>
                </a:lnTo>
                <a:lnTo>
                  <a:pt x="410104" y="214312"/>
                </a:lnTo>
                <a:lnTo>
                  <a:pt x="410104" y="206375"/>
                </a:lnTo>
                <a:lnTo>
                  <a:pt x="410104" y="201083"/>
                </a:lnTo>
                <a:lnTo>
                  <a:pt x="412750" y="195791"/>
                </a:lnTo>
                <a:lnTo>
                  <a:pt x="418042" y="195791"/>
                </a:lnTo>
                <a:lnTo>
                  <a:pt x="407458" y="182562"/>
                </a:lnTo>
                <a:lnTo>
                  <a:pt x="407458" y="179916"/>
                </a:lnTo>
                <a:lnTo>
                  <a:pt x="412750" y="179916"/>
                </a:lnTo>
                <a:lnTo>
                  <a:pt x="415396" y="177271"/>
                </a:lnTo>
                <a:lnTo>
                  <a:pt x="415396" y="171979"/>
                </a:lnTo>
                <a:lnTo>
                  <a:pt x="415396" y="166687"/>
                </a:lnTo>
                <a:lnTo>
                  <a:pt x="423333" y="169333"/>
                </a:lnTo>
                <a:lnTo>
                  <a:pt x="428625" y="171979"/>
                </a:lnTo>
                <a:lnTo>
                  <a:pt x="433917" y="174625"/>
                </a:lnTo>
                <a:lnTo>
                  <a:pt x="431271" y="177271"/>
                </a:lnTo>
                <a:lnTo>
                  <a:pt x="428625" y="182562"/>
                </a:lnTo>
                <a:lnTo>
                  <a:pt x="433917" y="179916"/>
                </a:lnTo>
                <a:lnTo>
                  <a:pt x="447146" y="182562"/>
                </a:lnTo>
                <a:lnTo>
                  <a:pt x="439208" y="177271"/>
                </a:lnTo>
                <a:lnTo>
                  <a:pt x="439208" y="174625"/>
                </a:lnTo>
                <a:lnTo>
                  <a:pt x="439208" y="171979"/>
                </a:lnTo>
                <a:lnTo>
                  <a:pt x="449792" y="158750"/>
                </a:lnTo>
                <a:lnTo>
                  <a:pt x="444500" y="161396"/>
                </a:lnTo>
                <a:lnTo>
                  <a:pt x="439208" y="171979"/>
                </a:lnTo>
                <a:lnTo>
                  <a:pt x="436562" y="164041"/>
                </a:lnTo>
                <a:lnTo>
                  <a:pt x="436562" y="158750"/>
                </a:lnTo>
                <a:lnTo>
                  <a:pt x="441854" y="153458"/>
                </a:lnTo>
                <a:lnTo>
                  <a:pt x="447146" y="150812"/>
                </a:lnTo>
                <a:lnTo>
                  <a:pt x="447146" y="148167"/>
                </a:lnTo>
                <a:lnTo>
                  <a:pt x="447146" y="145521"/>
                </a:lnTo>
                <a:lnTo>
                  <a:pt x="449792" y="142875"/>
                </a:lnTo>
                <a:lnTo>
                  <a:pt x="452437" y="145521"/>
                </a:lnTo>
                <a:lnTo>
                  <a:pt x="455083" y="148167"/>
                </a:lnTo>
                <a:lnTo>
                  <a:pt x="457729" y="150812"/>
                </a:lnTo>
                <a:lnTo>
                  <a:pt x="460375" y="148167"/>
                </a:lnTo>
                <a:lnTo>
                  <a:pt x="463021" y="145521"/>
                </a:lnTo>
                <a:lnTo>
                  <a:pt x="457729" y="140229"/>
                </a:lnTo>
                <a:lnTo>
                  <a:pt x="455083" y="137583"/>
                </a:lnTo>
                <a:lnTo>
                  <a:pt x="455083" y="134937"/>
                </a:lnTo>
                <a:lnTo>
                  <a:pt x="460375" y="132292"/>
                </a:lnTo>
                <a:lnTo>
                  <a:pt x="468312" y="132292"/>
                </a:lnTo>
                <a:lnTo>
                  <a:pt x="468312" y="129646"/>
                </a:lnTo>
                <a:lnTo>
                  <a:pt x="463021" y="127000"/>
                </a:lnTo>
                <a:lnTo>
                  <a:pt x="468312" y="127000"/>
                </a:lnTo>
                <a:lnTo>
                  <a:pt x="473604" y="127000"/>
                </a:lnTo>
                <a:lnTo>
                  <a:pt x="476250" y="124354"/>
                </a:lnTo>
                <a:lnTo>
                  <a:pt x="473604" y="121708"/>
                </a:lnTo>
                <a:lnTo>
                  <a:pt x="468312" y="116417"/>
                </a:lnTo>
                <a:lnTo>
                  <a:pt x="470958" y="116417"/>
                </a:lnTo>
                <a:lnTo>
                  <a:pt x="476250" y="116417"/>
                </a:lnTo>
                <a:lnTo>
                  <a:pt x="478896" y="113771"/>
                </a:lnTo>
                <a:lnTo>
                  <a:pt x="478896" y="111125"/>
                </a:lnTo>
                <a:lnTo>
                  <a:pt x="481542" y="108479"/>
                </a:lnTo>
                <a:lnTo>
                  <a:pt x="489479" y="116417"/>
                </a:lnTo>
                <a:lnTo>
                  <a:pt x="489479" y="111125"/>
                </a:lnTo>
                <a:lnTo>
                  <a:pt x="492125" y="108479"/>
                </a:lnTo>
                <a:lnTo>
                  <a:pt x="489479" y="105833"/>
                </a:lnTo>
                <a:lnTo>
                  <a:pt x="489479" y="100542"/>
                </a:lnTo>
                <a:lnTo>
                  <a:pt x="492125" y="97896"/>
                </a:lnTo>
                <a:lnTo>
                  <a:pt x="500062" y="95250"/>
                </a:lnTo>
                <a:lnTo>
                  <a:pt x="505354" y="95250"/>
                </a:lnTo>
                <a:lnTo>
                  <a:pt x="505354" y="97896"/>
                </a:lnTo>
                <a:lnTo>
                  <a:pt x="508000" y="97896"/>
                </a:lnTo>
                <a:lnTo>
                  <a:pt x="510646" y="97896"/>
                </a:lnTo>
                <a:lnTo>
                  <a:pt x="513292" y="95250"/>
                </a:lnTo>
                <a:lnTo>
                  <a:pt x="515937" y="97896"/>
                </a:lnTo>
                <a:lnTo>
                  <a:pt x="521229" y="100542"/>
                </a:lnTo>
                <a:lnTo>
                  <a:pt x="526521" y="100542"/>
                </a:lnTo>
                <a:lnTo>
                  <a:pt x="531812" y="100542"/>
                </a:lnTo>
                <a:lnTo>
                  <a:pt x="537104" y="108479"/>
                </a:lnTo>
                <a:lnTo>
                  <a:pt x="542396" y="116417"/>
                </a:lnTo>
                <a:lnTo>
                  <a:pt x="547687" y="119062"/>
                </a:lnTo>
                <a:lnTo>
                  <a:pt x="550333" y="121708"/>
                </a:lnTo>
                <a:lnTo>
                  <a:pt x="547687" y="124354"/>
                </a:lnTo>
                <a:lnTo>
                  <a:pt x="545042" y="127000"/>
                </a:lnTo>
                <a:lnTo>
                  <a:pt x="545042" y="129646"/>
                </a:lnTo>
                <a:lnTo>
                  <a:pt x="547687" y="132292"/>
                </a:lnTo>
                <a:lnTo>
                  <a:pt x="542396" y="140229"/>
                </a:lnTo>
                <a:lnTo>
                  <a:pt x="550333" y="134937"/>
                </a:lnTo>
                <a:lnTo>
                  <a:pt x="552979" y="134937"/>
                </a:lnTo>
                <a:lnTo>
                  <a:pt x="550333" y="132292"/>
                </a:lnTo>
                <a:lnTo>
                  <a:pt x="550333" y="127000"/>
                </a:lnTo>
                <a:lnTo>
                  <a:pt x="555625" y="127000"/>
                </a:lnTo>
                <a:lnTo>
                  <a:pt x="563562" y="127000"/>
                </a:lnTo>
                <a:lnTo>
                  <a:pt x="574146" y="129646"/>
                </a:lnTo>
                <a:lnTo>
                  <a:pt x="582083" y="132292"/>
                </a:lnTo>
                <a:lnTo>
                  <a:pt x="584729" y="134937"/>
                </a:lnTo>
                <a:lnTo>
                  <a:pt x="587375" y="140229"/>
                </a:lnTo>
                <a:lnTo>
                  <a:pt x="597958" y="148167"/>
                </a:lnTo>
                <a:lnTo>
                  <a:pt x="590021" y="137583"/>
                </a:lnTo>
                <a:lnTo>
                  <a:pt x="592667" y="134937"/>
                </a:lnTo>
                <a:lnTo>
                  <a:pt x="595312" y="132292"/>
                </a:lnTo>
                <a:lnTo>
                  <a:pt x="590021" y="132292"/>
                </a:lnTo>
                <a:lnTo>
                  <a:pt x="587375" y="129646"/>
                </a:lnTo>
                <a:lnTo>
                  <a:pt x="587375" y="124354"/>
                </a:lnTo>
                <a:lnTo>
                  <a:pt x="590021" y="121708"/>
                </a:lnTo>
                <a:lnTo>
                  <a:pt x="579437" y="119062"/>
                </a:lnTo>
                <a:lnTo>
                  <a:pt x="576792" y="116417"/>
                </a:lnTo>
                <a:lnTo>
                  <a:pt x="576792" y="113771"/>
                </a:lnTo>
                <a:lnTo>
                  <a:pt x="582083" y="108479"/>
                </a:lnTo>
                <a:lnTo>
                  <a:pt x="587375" y="97896"/>
                </a:lnTo>
                <a:lnTo>
                  <a:pt x="590021" y="100542"/>
                </a:lnTo>
                <a:lnTo>
                  <a:pt x="592667" y="97896"/>
                </a:lnTo>
                <a:lnTo>
                  <a:pt x="592667" y="95250"/>
                </a:lnTo>
                <a:lnTo>
                  <a:pt x="595312" y="87312"/>
                </a:lnTo>
                <a:lnTo>
                  <a:pt x="600604" y="84667"/>
                </a:lnTo>
                <a:lnTo>
                  <a:pt x="603250" y="79375"/>
                </a:lnTo>
                <a:lnTo>
                  <a:pt x="605896" y="74083"/>
                </a:lnTo>
                <a:lnTo>
                  <a:pt x="608542" y="74083"/>
                </a:lnTo>
                <a:lnTo>
                  <a:pt x="616479" y="74083"/>
                </a:lnTo>
                <a:lnTo>
                  <a:pt x="619125" y="74083"/>
                </a:lnTo>
                <a:lnTo>
                  <a:pt x="616479" y="68792"/>
                </a:lnTo>
                <a:lnTo>
                  <a:pt x="613833" y="66146"/>
                </a:lnTo>
                <a:lnTo>
                  <a:pt x="613833" y="63500"/>
                </a:lnTo>
                <a:lnTo>
                  <a:pt x="616479" y="63500"/>
                </a:lnTo>
                <a:lnTo>
                  <a:pt x="619125" y="60854"/>
                </a:lnTo>
                <a:lnTo>
                  <a:pt x="616479" y="58208"/>
                </a:lnTo>
                <a:lnTo>
                  <a:pt x="619125" y="55562"/>
                </a:lnTo>
                <a:lnTo>
                  <a:pt x="621771" y="52917"/>
                </a:lnTo>
                <a:lnTo>
                  <a:pt x="624417" y="52917"/>
                </a:lnTo>
                <a:lnTo>
                  <a:pt x="632354" y="55562"/>
                </a:lnTo>
                <a:lnTo>
                  <a:pt x="627062" y="52917"/>
                </a:lnTo>
                <a:lnTo>
                  <a:pt x="627062" y="50271"/>
                </a:lnTo>
                <a:lnTo>
                  <a:pt x="640292" y="42333"/>
                </a:lnTo>
                <a:lnTo>
                  <a:pt x="645584" y="42333"/>
                </a:lnTo>
                <a:lnTo>
                  <a:pt x="648230" y="44979"/>
                </a:lnTo>
                <a:lnTo>
                  <a:pt x="650875" y="47625"/>
                </a:lnTo>
                <a:lnTo>
                  <a:pt x="656167" y="47625"/>
                </a:lnTo>
                <a:lnTo>
                  <a:pt x="658813" y="44979"/>
                </a:lnTo>
                <a:lnTo>
                  <a:pt x="661459" y="47625"/>
                </a:lnTo>
                <a:lnTo>
                  <a:pt x="664105" y="47625"/>
                </a:lnTo>
                <a:lnTo>
                  <a:pt x="669396" y="47625"/>
                </a:lnTo>
                <a:lnTo>
                  <a:pt x="674688" y="42333"/>
                </a:lnTo>
                <a:lnTo>
                  <a:pt x="677334" y="39687"/>
                </a:lnTo>
                <a:lnTo>
                  <a:pt x="682625" y="39687"/>
                </a:lnTo>
                <a:lnTo>
                  <a:pt x="690563" y="42333"/>
                </a:lnTo>
                <a:lnTo>
                  <a:pt x="685271" y="37042"/>
                </a:lnTo>
                <a:lnTo>
                  <a:pt x="685271" y="31750"/>
                </a:lnTo>
                <a:lnTo>
                  <a:pt x="685271" y="26458"/>
                </a:lnTo>
                <a:lnTo>
                  <a:pt x="685271" y="21167"/>
                </a:lnTo>
                <a:lnTo>
                  <a:pt x="682625" y="23812"/>
                </a:lnTo>
                <a:lnTo>
                  <a:pt x="677334" y="23812"/>
                </a:lnTo>
                <a:lnTo>
                  <a:pt x="672042" y="21167"/>
                </a:lnTo>
                <a:lnTo>
                  <a:pt x="669396" y="13229"/>
                </a:lnTo>
                <a:lnTo>
                  <a:pt x="677334" y="13229"/>
                </a:lnTo>
                <a:lnTo>
                  <a:pt x="682625" y="13229"/>
                </a:lnTo>
                <a:lnTo>
                  <a:pt x="685271" y="13229"/>
                </a:lnTo>
                <a:lnTo>
                  <a:pt x="690563" y="18521"/>
                </a:lnTo>
                <a:lnTo>
                  <a:pt x="693209" y="18521"/>
                </a:lnTo>
                <a:lnTo>
                  <a:pt x="693209" y="15875"/>
                </a:lnTo>
                <a:lnTo>
                  <a:pt x="698500" y="18521"/>
                </a:lnTo>
                <a:lnTo>
                  <a:pt x="703792" y="29104"/>
                </a:lnTo>
                <a:lnTo>
                  <a:pt x="706438" y="31750"/>
                </a:lnTo>
                <a:lnTo>
                  <a:pt x="711730" y="34396"/>
                </a:lnTo>
                <a:lnTo>
                  <a:pt x="724959" y="31750"/>
                </a:lnTo>
                <a:lnTo>
                  <a:pt x="724959" y="34396"/>
                </a:lnTo>
                <a:lnTo>
                  <a:pt x="730250" y="34396"/>
                </a:lnTo>
                <a:lnTo>
                  <a:pt x="732896" y="37042"/>
                </a:lnTo>
                <a:lnTo>
                  <a:pt x="735542" y="39687"/>
                </a:lnTo>
                <a:lnTo>
                  <a:pt x="738188" y="37042"/>
                </a:lnTo>
                <a:lnTo>
                  <a:pt x="743480" y="34396"/>
                </a:lnTo>
                <a:lnTo>
                  <a:pt x="746125" y="37042"/>
                </a:lnTo>
                <a:lnTo>
                  <a:pt x="748771" y="37042"/>
                </a:lnTo>
                <a:lnTo>
                  <a:pt x="751417" y="37042"/>
                </a:lnTo>
                <a:lnTo>
                  <a:pt x="754063" y="39687"/>
                </a:lnTo>
                <a:lnTo>
                  <a:pt x="756709" y="42333"/>
                </a:lnTo>
                <a:lnTo>
                  <a:pt x="759355" y="42333"/>
                </a:lnTo>
                <a:lnTo>
                  <a:pt x="764646" y="37042"/>
                </a:lnTo>
                <a:lnTo>
                  <a:pt x="769938" y="34396"/>
                </a:lnTo>
                <a:lnTo>
                  <a:pt x="772584" y="34396"/>
                </a:lnTo>
                <a:lnTo>
                  <a:pt x="772584" y="37042"/>
                </a:lnTo>
                <a:lnTo>
                  <a:pt x="772584" y="39687"/>
                </a:lnTo>
                <a:lnTo>
                  <a:pt x="775230" y="39687"/>
                </a:lnTo>
                <a:lnTo>
                  <a:pt x="775230" y="42333"/>
                </a:lnTo>
                <a:lnTo>
                  <a:pt x="772584" y="44979"/>
                </a:lnTo>
                <a:lnTo>
                  <a:pt x="772584" y="47625"/>
                </a:lnTo>
                <a:lnTo>
                  <a:pt x="777875" y="47625"/>
                </a:lnTo>
                <a:lnTo>
                  <a:pt x="783167" y="47625"/>
                </a:lnTo>
                <a:lnTo>
                  <a:pt x="783167" y="44979"/>
                </a:lnTo>
                <a:lnTo>
                  <a:pt x="780521" y="44979"/>
                </a:lnTo>
                <a:lnTo>
                  <a:pt x="780521" y="42333"/>
                </a:lnTo>
                <a:lnTo>
                  <a:pt x="780521" y="39687"/>
                </a:lnTo>
                <a:lnTo>
                  <a:pt x="788459" y="34396"/>
                </a:lnTo>
                <a:lnTo>
                  <a:pt x="791105" y="34396"/>
                </a:lnTo>
                <a:lnTo>
                  <a:pt x="791105" y="37042"/>
                </a:lnTo>
                <a:lnTo>
                  <a:pt x="793750" y="44979"/>
                </a:lnTo>
                <a:lnTo>
                  <a:pt x="793750" y="50271"/>
                </a:lnTo>
                <a:lnTo>
                  <a:pt x="796396" y="50271"/>
                </a:lnTo>
                <a:lnTo>
                  <a:pt x="799042" y="47625"/>
                </a:lnTo>
                <a:lnTo>
                  <a:pt x="801688" y="44979"/>
                </a:lnTo>
                <a:lnTo>
                  <a:pt x="804334" y="47625"/>
                </a:lnTo>
                <a:lnTo>
                  <a:pt x="804334" y="52917"/>
                </a:lnTo>
                <a:lnTo>
                  <a:pt x="799042" y="55562"/>
                </a:lnTo>
                <a:lnTo>
                  <a:pt x="796396" y="58208"/>
                </a:lnTo>
                <a:lnTo>
                  <a:pt x="796396" y="60854"/>
                </a:lnTo>
                <a:lnTo>
                  <a:pt x="796396" y="63500"/>
                </a:lnTo>
                <a:lnTo>
                  <a:pt x="799042" y="66146"/>
                </a:lnTo>
                <a:lnTo>
                  <a:pt x="791105" y="66146"/>
                </a:lnTo>
                <a:lnTo>
                  <a:pt x="785813" y="66146"/>
                </a:lnTo>
                <a:lnTo>
                  <a:pt x="788459" y="68792"/>
                </a:lnTo>
                <a:lnTo>
                  <a:pt x="793750" y="71437"/>
                </a:lnTo>
                <a:lnTo>
                  <a:pt x="791105" y="74083"/>
                </a:lnTo>
                <a:lnTo>
                  <a:pt x="785813" y="79375"/>
                </a:lnTo>
                <a:lnTo>
                  <a:pt x="783167" y="82021"/>
                </a:lnTo>
                <a:lnTo>
                  <a:pt x="780521" y="82021"/>
                </a:lnTo>
                <a:lnTo>
                  <a:pt x="772584" y="76729"/>
                </a:lnTo>
                <a:lnTo>
                  <a:pt x="775230" y="79375"/>
                </a:lnTo>
                <a:lnTo>
                  <a:pt x="775230" y="82021"/>
                </a:lnTo>
                <a:lnTo>
                  <a:pt x="769938" y="84667"/>
                </a:lnTo>
                <a:lnTo>
                  <a:pt x="764646" y="84667"/>
                </a:lnTo>
                <a:lnTo>
                  <a:pt x="767292" y="87312"/>
                </a:lnTo>
                <a:lnTo>
                  <a:pt x="769938" y="89958"/>
                </a:lnTo>
                <a:lnTo>
                  <a:pt x="769938" y="92604"/>
                </a:lnTo>
                <a:lnTo>
                  <a:pt x="764646" y="95250"/>
                </a:lnTo>
                <a:lnTo>
                  <a:pt x="767292" y="97896"/>
                </a:lnTo>
                <a:lnTo>
                  <a:pt x="772584" y="97896"/>
                </a:lnTo>
                <a:lnTo>
                  <a:pt x="772584" y="100542"/>
                </a:lnTo>
                <a:lnTo>
                  <a:pt x="769938" y="100542"/>
                </a:lnTo>
                <a:lnTo>
                  <a:pt x="767292" y="105833"/>
                </a:lnTo>
                <a:lnTo>
                  <a:pt x="764646" y="111125"/>
                </a:lnTo>
                <a:lnTo>
                  <a:pt x="764646" y="113771"/>
                </a:lnTo>
                <a:lnTo>
                  <a:pt x="762000" y="113771"/>
                </a:lnTo>
                <a:lnTo>
                  <a:pt x="759355" y="116417"/>
                </a:lnTo>
                <a:lnTo>
                  <a:pt x="759355" y="119062"/>
                </a:lnTo>
                <a:lnTo>
                  <a:pt x="756709" y="124354"/>
                </a:lnTo>
                <a:lnTo>
                  <a:pt x="751417" y="129646"/>
                </a:lnTo>
                <a:lnTo>
                  <a:pt x="748771" y="132292"/>
                </a:lnTo>
                <a:lnTo>
                  <a:pt x="751417" y="134937"/>
                </a:lnTo>
                <a:lnTo>
                  <a:pt x="756709" y="137583"/>
                </a:lnTo>
                <a:lnTo>
                  <a:pt x="759355" y="137583"/>
                </a:lnTo>
                <a:lnTo>
                  <a:pt x="764646" y="142875"/>
                </a:lnTo>
                <a:lnTo>
                  <a:pt x="769938" y="150812"/>
                </a:lnTo>
                <a:lnTo>
                  <a:pt x="767292" y="158750"/>
                </a:lnTo>
                <a:lnTo>
                  <a:pt x="772584" y="161396"/>
                </a:lnTo>
                <a:lnTo>
                  <a:pt x="775230" y="166687"/>
                </a:lnTo>
                <a:lnTo>
                  <a:pt x="777875" y="169333"/>
                </a:lnTo>
                <a:lnTo>
                  <a:pt x="785813" y="169333"/>
                </a:lnTo>
                <a:lnTo>
                  <a:pt x="791105" y="171979"/>
                </a:lnTo>
                <a:lnTo>
                  <a:pt x="796396" y="174625"/>
                </a:lnTo>
                <a:lnTo>
                  <a:pt x="799042" y="179916"/>
                </a:lnTo>
                <a:lnTo>
                  <a:pt x="801688" y="179916"/>
                </a:lnTo>
                <a:lnTo>
                  <a:pt x="804334" y="179916"/>
                </a:lnTo>
                <a:lnTo>
                  <a:pt x="806980" y="185208"/>
                </a:lnTo>
                <a:lnTo>
                  <a:pt x="809625" y="190500"/>
                </a:lnTo>
                <a:lnTo>
                  <a:pt x="812271" y="190500"/>
                </a:lnTo>
                <a:lnTo>
                  <a:pt x="814917" y="190500"/>
                </a:lnTo>
                <a:lnTo>
                  <a:pt x="820209" y="193146"/>
                </a:lnTo>
                <a:lnTo>
                  <a:pt x="820209" y="195791"/>
                </a:lnTo>
                <a:lnTo>
                  <a:pt x="822855" y="195791"/>
                </a:lnTo>
                <a:lnTo>
                  <a:pt x="830792" y="195791"/>
                </a:lnTo>
                <a:lnTo>
                  <a:pt x="838730" y="198437"/>
                </a:lnTo>
                <a:lnTo>
                  <a:pt x="841376" y="198437"/>
                </a:lnTo>
                <a:lnTo>
                  <a:pt x="841376" y="203729"/>
                </a:lnTo>
                <a:lnTo>
                  <a:pt x="844021" y="209021"/>
                </a:lnTo>
                <a:lnTo>
                  <a:pt x="849313" y="211666"/>
                </a:lnTo>
                <a:lnTo>
                  <a:pt x="854605" y="211666"/>
                </a:lnTo>
                <a:lnTo>
                  <a:pt x="859896" y="214312"/>
                </a:lnTo>
                <a:lnTo>
                  <a:pt x="862542" y="216958"/>
                </a:lnTo>
                <a:lnTo>
                  <a:pt x="865188" y="214312"/>
                </a:lnTo>
                <a:lnTo>
                  <a:pt x="873126" y="216958"/>
                </a:lnTo>
                <a:lnTo>
                  <a:pt x="881063" y="214312"/>
                </a:lnTo>
                <a:lnTo>
                  <a:pt x="889001" y="211666"/>
                </a:lnTo>
                <a:lnTo>
                  <a:pt x="894292" y="206375"/>
                </a:lnTo>
                <a:lnTo>
                  <a:pt x="896938" y="198437"/>
                </a:lnTo>
                <a:lnTo>
                  <a:pt x="896938" y="190500"/>
                </a:lnTo>
                <a:lnTo>
                  <a:pt x="902230" y="182562"/>
                </a:lnTo>
                <a:lnTo>
                  <a:pt x="910167" y="169333"/>
                </a:lnTo>
                <a:lnTo>
                  <a:pt x="915459" y="158750"/>
                </a:lnTo>
                <a:lnTo>
                  <a:pt x="920751" y="148167"/>
                </a:lnTo>
                <a:lnTo>
                  <a:pt x="920751" y="140229"/>
                </a:lnTo>
                <a:lnTo>
                  <a:pt x="920751" y="134937"/>
                </a:lnTo>
                <a:lnTo>
                  <a:pt x="918105" y="127000"/>
                </a:lnTo>
                <a:lnTo>
                  <a:pt x="918105" y="119062"/>
                </a:lnTo>
                <a:lnTo>
                  <a:pt x="920751" y="105833"/>
                </a:lnTo>
                <a:lnTo>
                  <a:pt x="923396" y="92604"/>
                </a:lnTo>
                <a:lnTo>
                  <a:pt x="923396" y="87312"/>
                </a:lnTo>
                <a:lnTo>
                  <a:pt x="923396" y="84667"/>
                </a:lnTo>
                <a:lnTo>
                  <a:pt x="926042" y="79375"/>
                </a:lnTo>
                <a:lnTo>
                  <a:pt x="931334" y="71437"/>
                </a:lnTo>
                <a:lnTo>
                  <a:pt x="939271" y="63500"/>
                </a:lnTo>
                <a:lnTo>
                  <a:pt x="941917" y="58208"/>
                </a:lnTo>
                <a:lnTo>
                  <a:pt x="941917" y="55562"/>
                </a:lnTo>
                <a:lnTo>
                  <a:pt x="941917" y="50271"/>
                </a:lnTo>
                <a:lnTo>
                  <a:pt x="947209" y="47625"/>
                </a:lnTo>
                <a:lnTo>
                  <a:pt x="947209" y="44979"/>
                </a:lnTo>
                <a:lnTo>
                  <a:pt x="941917" y="42333"/>
                </a:lnTo>
                <a:lnTo>
                  <a:pt x="939271" y="37042"/>
                </a:lnTo>
                <a:lnTo>
                  <a:pt x="941917" y="34396"/>
                </a:lnTo>
                <a:lnTo>
                  <a:pt x="947209" y="26458"/>
                </a:lnTo>
                <a:lnTo>
                  <a:pt x="955146" y="18521"/>
                </a:lnTo>
                <a:lnTo>
                  <a:pt x="957792" y="13229"/>
                </a:lnTo>
                <a:lnTo>
                  <a:pt x="957792" y="10583"/>
                </a:lnTo>
                <a:lnTo>
                  <a:pt x="957792" y="7937"/>
                </a:lnTo>
                <a:lnTo>
                  <a:pt x="957792" y="5292"/>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16" name="Austria"/>
          <p:cNvSpPr>
            <a:spLocks/>
          </p:cNvSpPr>
          <p:nvPr/>
        </p:nvSpPr>
        <p:spPr bwMode="auto">
          <a:xfrm>
            <a:off x="4532326" y="1425508"/>
            <a:ext cx="166354" cy="66008"/>
          </a:xfrm>
          <a:custGeom>
            <a:avLst/>
            <a:gdLst/>
            <a:ahLst/>
            <a:cxnLst>
              <a:cxn ang="0">
                <a:pos x="76" y="12"/>
              </a:cxn>
              <a:cxn ang="0">
                <a:pos x="72" y="14"/>
              </a:cxn>
              <a:cxn ang="0">
                <a:pos x="68" y="20"/>
              </a:cxn>
              <a:cxn ang="0">
                <a:pos x="64" y="22"/>
              </a:cxn>
              <a:cxn ang="0">
                <a:pos x="66" y="24"/>
              </a:cxn>
              <a:cxn ang="0">
                <a:pos x="66" y="26"/>
              </a:cxn>
              <a:cxn ang="0">
                <a:pos x="66" y="30"/>
              </a:cxn>
              <a:cxn ang="0">
                <a:pos x="64" y="32"/>
              </a:cxn>
              <a:cxn ang="0">
                <a:pos x="60" y="28"/>
              </a:cxn>
              <a:cxn ang="0">
                <a:pos x="56" y="28"/>
              </a:cxn>
              <a:cxn ang="0">
                <a:pos x="52" y="28"/>
              </a:cxn>
              <a:cxn ang="0">
                <a:pos x="48" y="32"/>
              </a:cxn>
              <a:cxn ang="0">
                <a:pos x="40" y="34"/>
              </a:cxn>
              <a:cxn ang="0">
                <a:pos x="32" y="32"/>
              </a:cxn>
              <a:cxn ang="0">
                <a:pos x="30" y="32"/>
              </a:cxn>
              <a:cxn ang="0">
                <a:pos x="24" y="34"/>
              </a:cxn>
              <a:cxn ang="0">
                <a:pos x="22" y="38"/>
              </a:cxn>
              <a:cxn ang="0">
                <a:pos x="14" y="36"/>
              </a:cxn>
              <a:cxn ang="0">
                <a:pos x="0" y="36"/>
              </a:cxn>
              <a:cxn ang="0">
                <a:pos x="2" y="40"/>
              </a:cxn>
              <a:cxn ang="0">
                <a:pos x="4" y="44"/>
              </a:cxn>
              <a:cxn ang="0">
                <a:pos x="10" y="48"/>
              </a:cxn>
              <a:cxn ang="0">
                <a:pos x="16" y="46"/>
              </a:cxn>
              <a:cxn ang="0">
                <a:pos x="18" y="52"/>
              </a:cxn>
              <a:cxn ang="0">
                <a:pos x="26" y="52"/>
              </a:cxn>
              <a:cxn ang="0">
                <a:pos x="32" y="50"/>
              </a:cxn>
              <a:cxn ang="0">
                <a:pos x="40" y="48"/>
              </a:cxn>
              <a:cxn ang="0">
                <a:pos x="52" y="46"/>
              </a:cxn>
              <a:cxn ang="0">
                <a:pos x="54" y="48"/>
              </a:cxn>
              <a:cxn ang="0">
                <a:pos x="60" y="52"/>
              </a:cxn>
              <a:cxn ang="0">
                <a:pos x="66" y="54"/>
              </a:cxn>
              <a:cxn ang="0">
                <a:pos x="74" y="56"/>
              </a:cxn>
              <a:cxn ang="0">
                <a:pos x="78" y="56"/>
              </a:cxn>
              <a:cxn ang="0">
                <a:pos x="98" y="56"/>
              </a:cxn>
              <a:cxn ang="0">
                <a:pos x="108" y="50"/>
              </a:cxn>
              <a:cxn ang="0">
                <a:pos x="114" y="50"/>
              </a:cxn>
              <a:cxn ang="0">
                <a:pos x="122" y="50"/>
              </a:cxn>
              <a:cxn ang="0">
                <a:pos x="128" y="50"/>
              </a:cxn>
              <a:cxn ang="0">
                <a:pos x="132" y="44"/>
              </a:cxn>
              <a:cxn ang="0">
                <a:pos x="134" y="38"/>
              </a:cxn>
              <a:cxn ang="0">
                <a:pos x="134" y="32"/>
              </a:cxn>
              <a:cxn ang="0">
                <a:pos x="130" y="28"/>
              </a:cxn>
              <a:cxn ang="0">
                <a:pos x="140" y="30"/>
              </a:cxn>
              <a:cxn ang="0">
                <a:pos x="146" y="26"/>
              </a:cxn>
              <a:cxn ang="0">
                <a:pos x="146" y="16"/>
              </a:cxn>
              <a:cxn ang="0">
                <a:pos x="136" y="14"/>
              </a:cxn>
              <a:cxn ang="0">
                <a:pos x="118" y="4"/>
              </a:cxn>
              <a:cxn ang="0">
                <a:pos x="112" y="4"/>
              </a:cxn>
              <a:cxn ang="0">
                <a:pos x="108" y="4"/>
              </a:cxn>
              <a:cxn ang="0">
                <a:pos x="98" y="0"/>
              </a:cxn>
              <a:cxn ang="0">
                <a:pos x="96" y="6"/>
              </a:cxn>
              <a:cxn ang="0">
                <a:pos x="92" y="10"/>
              </a:cxn>
              <a:cxn ang="0">
                <a:pos x="86" y="10"/>
              </a:cxn>
              <a:cxn ang="0">
                <a:pos x="78" y="8"/>
              </a:cxn>
            </a:cxnLst>
            <a:rect l="0" t="0" r="r" b="b"/>
            <a:pathLst>
              <a:path w="146" h="58">
                <a:moveTo>
                  <a:pt x="78" y="8"/>
                </a:moveTo>
                <a:lnTo>
                  <a:pt x="78" y="8"/>
                </a:lnTo>
                <a:lnTo>
                  <a:pt x="76" y="12"/>
                </a:lnTo>
                <a:lnTo>
                  <a:pt x="74" y="14"/>
                </a:lnTo>
                <a:lnTo>
                  <a:pt x="72" y="14"/>
                </a:lnTo>
                <a:lnTo>
                  <a:pt x="72" y="14"/>
                </a:lnTo>
                <a:lnTo>
                  <a:pt x="72" y="16"/>
                </a:lnTo>
                <a:lnTo>
                  <a:pt x="70" y="18"/>
                </a:lnTo>
                <a:lnTo>
                  <a:pt x="68" y="20"/>
                </a:lnTo>
                <a:lnTo>
                  <a:pt x="66" y="20"/>
                </a:lnTo>
                <a:lnTo>
                  <a:pt x="66" y="20"/>
                </a:lnTo>
                <a:lnTo>
                  <a:pt x="64" y="22"/>
                </a:lnTo>
                <a:lnTo>
                  <a:pt x="64" y="22"/>
                </a:lnTo>
                <a:lnTo>
                  <a:pt x="66" y="24"/>
                </a:lnTo>
                <a:lnTo>
                  <a:pt x="66" y="24"/>
                </a:lnTo>
                <a:lnTo>
                  <a:pt x="66" y="24"/>
                </a:lnTo>
                <a:lnTo>
                  <a:pt x="66" y="26"/>
                </a:lnTo>
                <a:lnTo>
                  <a:pt x="66" y="26"/>
                </a:lnTo>
                <a:lnTo>
                  <a:pt x="66" y="28"/>
                </a:lnTo>
                <a:lnTo>
                  <a:pt x="66" y="28"/>
                </a:lnTo>
                <a:lnTo>
                  <a:pt x="66" y="30"/>
                </a:lnTo>
                <a:lnTo>
                  <a:pt x="66" y="32"/>
                </a:lnTo>
                <a:lnTo>
                  <a:pt x="64" y="32"/>
                </a:lnTo>
                <a:lnTo>
                  <a:pt x="64" y="32"/>
                </a:lnTo>
                <a:lnTo>
                  <a:pt x="62" y="30"/>
                </a:lnTo>
                <a:lnTo>
                  <a:pt x="60" y="28"/>
                </a:lnTo>
                <a:lnTo>
                  <a:pt x="60" y="28"/>
                </a:lnTo>
                <a:lnTo>
                  <a:pt x="58" y="28"/>
                </a:lnTo>
                <a:lnTo>
                  <a:pt x="58" y="28"/>
                </a:lnTo>
                <a:lnTo>
                  <a:pt x="56" y="28"/>
                </a:lnTo>
                <a:lnTo>
                  <a:pt x="56" y="28"/>
                </a:lnTo>
                <a:lnTo>
                  <a:pt x="54" y="28"/>
                </a:lnTo>
                <a:lnTo>
                  <a:pt x="52" y="28"/>
                </a:lnTo>
                <a:lnTo>
                  <a:pt x="52" y="28"/>
                </a:lnTo>
                <a:lnTo>
                  <a:pt x="50" y="30"/>
                </a:lnTo>
                <a:lnTo>
                  <a:pt x="48" y="32"/>
                </a:lnTo>
                <a:lnTo>
                  <a:pt x="48" y="32"/>
                </a:lnTo>
                <a:lnTo>
                  <a:pt x="42" y="34"/>
                </a:lnTo>
                <a:lnTo>
                  <a:pt x="40" y="34"/>
                </a:lnTo>
                <a:lnTo>
                  <a:pt x="38" y="34"/>
                </a:lnTo>
                <a:lnTo>
                  <a:pt x="38" y="34"/>
                </a:lnTo>
                <a:lnTo>
                  <a:pt x="32" y="32"/>
                </a:lnTo>
                <a:lnTo>
                  <a:pt x="30" y="32"/>
                </a:lnTo>
                <a:lnTo>
                  <a:pt x="30" y="32"/>
                </a:lnTo>
                <a:lnTo>
                  <a:pt x="30" y="32"/>
                </a:lnTo>
                <a:lnTo>
                  <a:pt x="28" y="34"/>
                </a:lnTo>
                <a:lnTo>
                  <a:pt x="26" y="34"/>
                </a:lnTo>
                <a:lnTo>
                  <a:pt x="24" y="34"/>
                </a:lnTo>
                <a:lnTo>
                  <a:pt x="24" y="36"/>
                </a:lnTo>
                <a:lnTo>
                  <a:pt x="24" y="36"/>
                </a:lnTo>
                <a:lnTo>
                  <a:pt x="22" y="38"/>
                </a:lnTo>
                <a:lnTo>
                  <a:pt x="20" y="38"/>
                </a:lnTo>
                <a:lnTo>
                  <a:pt x="14" y="36"/>
                </a:lnTo>
                <a:lnTo>
                  <a:pt x="14" y="36"/>
                </a:lnTo>
                <a:lnTo>
                  <a:pt x="6" y="34"/>
                </a:lnTo>
                <a:lnTo>
                  <a:pt x="2" y="34"/>
                </a:lnTo>
                <a:lnTo>
                  <a:pt x="0" y="36"/>
                </a:lnTo>
                <a:lnTo>
                  <a:pt x="0" y="36"/>
                </a:lnTo>
                <a:lnTo>
                  <a:pt x="4" y="38"/>
                </a:lnTo>
                <a:lnTo>
                  <a:pt x="2" y="40"/>
                </a:lnTo>
                <a:lnTo>
                  <a:pt x="2" y="42"/>
                </a:lnTo>
                <a:lnTo>
                  <a:pt x="4" y="44"/>
                </a:lnTo>
                <a:lnTo>
                  <a:pt x="4" y="44"/>
                </a:lnTo>
                <a:lnTo>
                  <a:pt x="8" y="44"/>
                </a:lnTo>
                <a:lnTo>
                  <a:pt x="8" y="46"/>
                </a:lnTo>
                <a:lnTo>
                  <a:pt x="10" y="48"/>
                </a:lnTo>
                <a:lnTo>
                  <a:pt x="12" y="48"/>
                </a:lnTo>
                <a:lnTo>
                  <a:pt x="12" y="48"/>
                </a:lnTo>
                <a:lnTo>
                  <a:pt x="16" y="46"/>
                </a:lnTo>
                <a:lnTo>
                  <a:pt x="16" y="48"/>
                </a:lnTo>
                <a:lnTo>
                  <a:pt x="18" y="52"/>
                </a:lnTo>
                <a:lnTo>
                  <a:pt x="18" y="52"/>
                </a:lnTo>
                <a:lnTo>
                  <a:pt x="22" y="50"/>
                </a:lnTo>
                <a:lnTo>
                  <a:pt x="26" y="52"/>
                </a:lnTo>
                <a:lnTo>
                  <a:pt x="26" y="52"/>
                </a:lnTo>
                <a:lnTo>
                  <a:pt x="28" y="52"/>
                </a:lnTo>
                <a:lnTo>
                  <a:pt x="30" y="52"/>
                </a:lnTo>
                <a:lnTo>
                  <a:pt x="32" y="50"/>
                </a:lnTo>
                <a:lnTo>
                  <a:pt x="34" y="48"/>
                </a:lnTo>
                <a:lnTo>
                  <a:pt x="34" y="48"/>
                </a:lnTo>
                <a:lnTo>
                  <a:pt x="40" y="48"/>
                </a:lnTo>
                <a:lnTo>
                  <a:pt x="46" y="48"/>
                </a:lnTo>
                <a:lnTo>
                  <a:pt x="46" y="48"/>
                </a:lnTo>
                <a:lnTo>
                  <a:pt x="52" y="46"/>
                </a:lnTo>
                <a:lnTo>
                  <a:pt x="54" y="48"/>
                </a:lnTo>
                <a:lnTo>
                  <a:pt x="54" y="48"/>
                </a:lnTo>
                <a:lnTo>
                  <a:pt x="54" y="48"/>
                </a:lnTo>
                <a:lnTo>
                  <a:pt x="54" y="50"/>
                </a:lnTo>
                <a:lnTo>
                  <a:pt x="56" y="50"/>
                </a:lnTo>
                <a:lnTo>
                  <a:pt x="60" y="52"/>
                </a:lnTo>
                <a:lnTo>
                  <a:pt x="60" y="52"/>
                </a:lnTo>
                <a:lnTo>
                  <a:pt x="62" y="54"/>
                </a:lnTo>
                <a:lnTo>
                  <a:pt x="66" y="54"/>
                </a:lnTo>
                <a:lnTo>
                  <a:pt x="66" y="54"/>
                </a:lnTo>
                <a:lnTo>
                  <a:pt x="70" y="56"/>
                </a:lnTo>
                <a:lnTo>
                  <a:pt x="74" y="56"/>
                </a:lnTo>
                <a:lnTo>
                  <a:pt x="78" y="56"/>
                </a:lnTo>
                <a:lnTo>
                  <a:pt x="78" y="56"/>
                </a:lnTo>
                <a:lnTo>
                  <a:pt x="78" y="56"/>
                </a:lnTo>
                <a:lnTo>
                  <a:pt x="92" y="58"/>
                </a:lnTo>
                <a:lnTo>
                  <a:pt x="98" y="56"/>
                </a:lnTo>
                <a:lnTo>
                  <a:pt x="98" y="56"/>
                </a:lnTo>
                <a:lnTo>
                  <a:pt x="104" y="52"/>
                </a:lnTo>
                <a:lnTo>
                  <a:pt x="106" y="50"/>
                </a:lnTo>
                <a:lnTo>
                  <a:pt x="108" y="50"/>
                </a:lnTo>
                <a:lnTo>
                  <a:pt x="108" y="50"/>
                </a:lnTo>
                <a:lnTo>
                  <a:pt x="112" y="52"/>
                </a:lnTo>
                <a:lnTo>
                  <a:pt x="114" y="50"/>
                </a:lnTo>
                <a:lnTo>
                  <a:pt x="114" y="50"/>
                </a:lnTo>
                <a:lnTo>
                  <a:pt x="118" y="48"/>
                </a:lnTo>
                <a:lnTo>
                  <a:pt x="122" y="50"/>
                </a:lnTo>
                <a:lnTo>
                  <a:pt x="122" y="50"/>
                </a:lnTo>
                <a:lnTo>
                  <a:pt x="126" y="52"/>
                </a:lnTo>
                <a:lnTo>
                  <a:pt x="128" y="50"/>
                </a:lnTo>
                <a:lnTo>
                  <a:pt x="128" y="48"/>
                </a:lnTo>
                <a:lnTo>
                  <a:pt x="128" y="48"/>
                </a:lnTo>
                <a:lnTo>
                  <a:pt x="132" y="44"/>
                </a:lnTo>
                <a:lnTo>
                  <a:pt x="134" y="42"/>
                </a:lnTo>
                <a:lnTo>
                  <a:pt x="134" y="42"/>
                </a:lnTo>
                <a:lnTo>
                  <a:pt x="134" y="38"/>
                </a:lnTo>
                <a:lnTo>
                  <a:pt x="136" y="36"/>
                </a:lnTo>
                <a:lnTo>
                  <a:pt x="136" y="34"/>
                </a:lnTo>
                <a:lnTo>
                  <a:pt x="134" y="32"/>
                </a:lnTo>
                <a:lnTo>
                  <a:pt x="134" y="32"/>
                </a:lnTo>
                <a:lnTo>
                  <a:pt x="130" y="28"/>
                </a:lnTo>
                <a:lnTo>
                  <a:pt x="130" y="28"/>
                </a:lnTo>
                <a:lnTo>
                  <a:pt x="134" y="28"/>
                </a:lnTo>
                <a:lnTo>
                  <a:pt x="134" y="28"/>
                </a:lnTo>
                <a:lnTo>
                  <a:pt x="140" y="30"/>
                </a:lnTo>
                <a:lnTo>
                  <a:pt x="142" y="30"/>
                </a:lnTo>
                <a:lnTo>
                  <a:pt x="146" y="26"/>
                </a:lnTo>
                <a:lnTo>
                  <a:pt x="146" y="26"/>
                </a:lnTo>
                <a:lnTo>
                  <a:pt x="146" y="20"/>
                </a:lnTo>
                <a:lnTo>
                  <a:pt x="146" y="16"/>
                </a:lnTo>
                <a:lnTo>
                  <a:pt x="146" y="16"/>
                </a:lnTo>
                <a:lnTo>
                  <a:pt x="142" y="16"/>
                </a:lnTo>
                <a:lnTo>
                  <a:pt x="140" y="16"/>
                </a:lnTo>
                <a:lnTo>
                  <a:pt x="136" y="14"/>
                </a:lnTo>
                <a:lnTo>
                  <a:pt x="136" y="14"/>
                </a:lnTo>
                <a:lnTo>
                  <a:pt x="128" y="10"/>
                </a:lnTo>
                <a:lnTo>
                  <a:pt x="118" y="4"/>
                </a:lnTo>
                <a:lnTo>
                  <a:pt x="118" y="4"/>
                </a:lnTo>
                <a:lnTo>
                  <a:pt x="114" y="4"/>
                </a:lnTo>
                <a:lnTo>
                  <a:pt x="112" y="4"/>
                </a:lnTo>
                <a:lnTo>
                  <a:pt x="110" y="6"/>
                </a:lnTo>
                <a:lnTo>
                  <a:pt x="108" y="4"/>
                </a:lnTo>
                <a:lnTo>
                  <a:pt x="108" y="4"/>
                </a:lnTo>
                <a:lnTo>
                  <a:pt x="104" y="2"/>
                </a:lnTo>
                <a:lnTo>
                  <a:pt x="98" y="0"/>
                </a:lnTo>
                <a:lnTo>
                  <a:pt x="98" y="0"/>
                </a:lnTo>
                <a:lnTo>
                  <a:pt x="96" y="0"/>
                </a:lnTo>
                <a:lnTo>
                  <a:pt x="96" y="2"/>
                </a:lnTo>
                <a:lnTo>
                  <a:pt x="96" y="6"/>
                </a:lnTo>
                <a:lnTo>
                  <a:pt x="94" y="10"/>
                </a:lnTo>
                <a:lnTo>
                  <a:pt x="94" y="10"/>
                </a:lnTo>
                <a:lnTo>
                  <a:pt x="92" y="10"/>
                </a:lnTo>
                <a:lnTo>
                  <a:pt x="90" y="10"/>
                </a:lnTo>
                <a:lnTo>
                  <a:pt x="86" y="10"/>
                </a:lnTo>
                <a:lnTo>
                  <a:pt x="86" y="10"/>
                </a:lnTo>
                <a:lnTo>
                  <a:pt x="84" y="10"/>
                </a:lnTo>
                <a:lnTo>
                  <a:pt x="78" y="8"/>
                </a:lnTo>
                <a:lnTo>
                  <a:pt x="78" y="8"/>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17" name="Belgium"/>
          <p:cNvSpPr>
            <a:spLocks/>
          </p:cNvSpPr>
          <p:nvPr/>
        </p:nvSpPr>
        <p:spPr bwMode="auto">
          <a:xfrm>
            <a:off x="4393318" y="1375434"/>
            <a:ext cx="68365" cy="43247"/>
          </a:xfrm>
          <a:custGeom>
            <a:avLst/>
            <a:gdLst/>
            <a:ahLst/>
            <a:cxnLst>
              <a:cxn ang="0">
                <a:pos x="0" y="10"/>
              </a:cxn>
              <a:cxn ang="0">
                <a:pos x="10" y="8"/>
              </a:cxn>
              <a:cxn ang="0">
                <a:pos x="14" y="4"/>
              </a:cxn>
              <a:cxn ang="0">
                <a:pos x="20" y="0"/>
              </a:cxn>
              <a:cxn ang="0">
                <a:pos x="32" y="6"/>
              </a:cxn>
              <a:cxn ang="0">
                <a:pos x="38" y="4"/>
              </a:cxn>
              <a:cxn ang="0">
                <a:pos x="42" y="4"/>
              </a:cxn>
              <a:cxn ang="0">
                <a:pos x="46" y="4"/>
              </a:cxn>
              <a:cxn ang="0">
                <a:pos x="48" y="6"/>
              </a:cxn>
              <a:cxn ang="0">
                <a:pos x="48" y="8"/>
              </a:cxn>
              <a:cxn ang="0">
                <a:pos x="52" y="8"/>
              </a:cxn>
              <a:cxn ang="0">
                <a:pos x="52" y="10"/>
              </a:cxn>
              <a:cxn ang="0">
                <a:pos x="56" y="14"/>
              </a:cxn>
              <a:cxn ang="0">
                <a:pos x="58" y="16"/>
              </a:cxn>
              <a:cxn ang="0">
                <a:pos x="56" y="22"/>
              </a:cxn>
              <a:cxn ang="0">
                <a:pos x="60" y="26"/>
              </a:cxn>
              <a:cxn ang="0">
                <a:pos x="60" y="30"/>
              </a:cxn>
              <a:cxn ang="0">
                <a:pos x="52" y="38"/>
              </a:cxn>
              <a:cxn ang="0">
                <a:pos x="50" y="36"/>
              </a:cxn>
              <a:cxn ang="0">
                <a:pos x="48" y="36"/>
              </a:cxn>
              <a:cxn ang="0">
                <a:pos x="46" y="36"/>
              </a:cxn>
              <a:cxn ang="0">
                <a:pos x="44" y="38"/>
              </a:cxn>
              <a:cxn ang="0">
                <a:pos x="42" y="38"/>
              </a:cxn>
              <a:cxn ang="0">
                <a:pos x="40" y="36"/>
              </a:cxn>
              <a:cxn ang="0">
                <a:pos x="36" y="34"/>
              </a:cxn>
              <a:cxn ang="0">
                <a:pos x="34" y="32"/>
              </a:cxn>
              <a:cxn ang="0">
                <a:pos x="34" y="26"/>
              </a:cxn>
              <a:cxn ang="0">
                <a:pos x="34" y="24"/>
              </a:cxn>
              <a:cxn ang="0">
                <a:pos x="32" y="24"/>
              </a:cxn>
              <a:cxn ang="0">
                <a:pos x="30" y="28"/>
              </a:cxn>
              <a:cxn ang="0">
                <a:pos x="28" y="28"/>
              </a:cxn>
              <a:cxn ang="0">
                <a:pos x="24" y="26"/>
              </a:cxn>
              <a:cxn ang="0">
                <a:pos x="24" y="22"/>
              </a:cxn>
              <a:cxn ang="0">
                <a:pos x="20" y="20"/>
              </a:cxn>
              <a:cxn ang="0">
                <a:pos x="14" y="18"/>
              </a:cxn>
              <a:cxn ang="0">
                <a:pos x="12" y="16"/>
              </a:cxn>
              <a:cxn ang="0">
                <a:pos x="8" y="14"/>
              </a:cxn>
              <a:cxn ang="0">
                <a:pos x="2" y="12"/>
              </a:cxn>
              <a:cxn ang="0">
                <a:pos x="0" y="10"/>
              </a:cxn>
            </a:cxnLst>
            <a:rect l="0" t="0" r="r" b="b"/>
            <a:pathLst>
              <a:path w="60" h="38">
                <a:moveTo>
                  <a:pt x="0" y="10"/>
                </a:moveTo>
                <a:lnTo>
                  <a:pt x="0" y="10"/>
                </a:lnTo>
                <a:lnTo>
                  <a:pt x="6" y="10"/>
                </a:lnTo>
                <a:lnTo>
                  <a:pt x="10" y="8"/>
                </a:lnTo>
                <a:lnTo>
                  <a:pt x="10" y="8"/>
                </a:lnTo>
                <a:lnTo>
                  <a:pt x="14" y="4"/>
                </a:lnTo>
                <a:lnTo>
                  <a:pt x="20" y="0"/>
                </a:lnTo>
                <a:lnTo>
                  <a:pt x="20" y="0"/>
                </a:lnTo>
                <a:lnTo>
                  <a:pt x="26" y="6"/>
                </a:lnTo>
                <a:lnTo>
                  <a:pt x="32" y="6"/>
                </a:lnTo>
                <a:lnTo>
                  <a:pt x="32" y="6"/>
                </a:lnTo>
                <a:lnTo>
                  <a:pt x="38" y="4"/>
                </a:lnTo>
                <a:lnTo>
                  <a:pt x="40" y="4"/>
                </a:lnTo>
                <a:lnTo>
                  <a:pt x="42" y="4"/>
                </a:lnTo>
                <a:lnTo>
                  <a:pt x="42" y="4"/>
                </a:lnTo>
                <a:lnTo>
                  <a:pt x="46" y="4"/>
                </a:lnTo>
                <a:lnTo>
                  <a:pt x="48" y="4"/>
                </a:lnTo>
                <a:lnTo>
                  <a:pt x="48" y="6"/>
                </a:lnTo>
                <a:lnTo>
                  <a:pt x="48" y="6"/>
                </a:lnTo>
                <a:lnTo>
                  <a:pt x="48" y="8"/>
                </a:lnTo>
                <a:lnTo>
                  <a:pt x="50" y="8"/>
                </a:lnTo>
                <a:lnTo>
                  <a:pt x="52" y="8"/>
                </a:lnTo>
                <a:lnTo>
                  <a:pt x="52" y="10"/>
                </a:lnTo>
                <a:lnTo>
                  <a:pt x="52" y="10"/>
                </a:lnTo>
                <a:lnTo>
                  <a:pt x="52" y="14"/>
                </a:lnTo>
                <a:lnTo>
                  <a:pt x="56" y="14"/>
                </a:lnTo>
                <a:lnTo>
                  <a:pt x="56" y="14"/>
                </a:lnTo>
                <a:lnTo>
                  <a:pt x="58" y="16"/>
                </a:lnTo>
                <a:lnTo>
                  <a:pt x="58" y="18"/>
                </a:lnTo>
                <a:lnTo>
                  <a:pt x="56" y="22"/>
                </a:lnTo>
                <a:lnTo>
                  <a:pt x="56" y="22"/>
                </a:lnTo>
                <a:lnTo>
                  <a:pt x="60" y="26"/>
                </a:lnTo>
                <a:lnTo>
                  <a:pt x="60" y="30"/>
                </a:lnTo>
                <a:lnTo>
                  <a:pt x="60" y="30"/>
                </a:lnTo>
                <a:lnTo>
                  <a:pt x="56" y="34"/>
                </a:lnTo>
                <a:lnTo>
                  <a:pt x="52" y="38"/>
                </a:lnTo>
                <a:lnTo>
                  <a:pt x="52" y="38"/>
                </a:lnTo>
                <a:lnTo>
                  <a:pt x="50" y="36"/>
                </a:lnTo>
                <a:lnTo>
                  <a:pt x="48" y="36"/>
                </a:lnTo>
                <a:lnTo>
                  <a:pt x="48" y="36"/>
                </a:lnTo>
                <a:lnTo>
                  <a:pt x="46" y="36"/>
                </a:lnTo>
                <a:lnTo>
                  <a:pt x="46" y="36"/>
                </a:lnTo>
                <a:lnTo>
                  <a:pt x="44" y="38"/>
                </a:lnTo>
                <a:lnTo>
                  <a:pt x="44" y="38"/>
                </a:lnTo>
                <a:lnTo>
                  <a:pt x="42" y="38"/>
                </a:lnTo>
                <a:lnTo>
                  <a:pt x="42" y="38"/>
                </a:lnTo>
                <a:lnTo>
                  <a:pt x="42" y="38"/>
                </a:lnTo>
                <a:lnTo>
                  <a:pt x="40" y="36"/>
                </a:lnTo>
                <a:lnTo>
                  <a:pt x="38" y="34"/>
                </a:lnTo>
                <a:lnTo>
                  <a:pt x="36" y="34"/>
                </a:lnTo>
                <a:lnTo>
                  <a:pt x="36" y="34"/>
                </a:lnTo>
                <a:lnTo>
                  <a:pt x="34" y="32"/>
                </a:lnTo>
                <a:lnTo>
                  <a:pt x="34" y="30"/>
                </a:lnTo>
                <a:lnTo>
                  <a:pt x="34" y="26"/>
                </a:lnTo>
                <a:lnTo>
                  <a:pt x="34" y="26"/>
                </a:lnTo>
                <a:lnTo>
                  <a:pt x="34" y="24"/>
                </a:lnTo>
                <a:lnTo>
                  <a:pt x="34" y="24"/>
                </a:lnTo>
                <a:lnTo>
                  <a:pt x="32" y="24"/>
                </a:lnTo>
                <a:lnTo>
                  <a:pt x="32" y="24"/>
                </a:lnTo>
                <a:lnTo>
                  <a:pt x="30" y="28"/>
                </a:lnTo>
                <a:lnTo>
                  <a:pt x="28" y="28"/>
                </a:lnTo>
                <a:lnTo>
                  <a:pt x="28" y="28"/>
                </a:lnTo>
                <a:lnTo>
                  <a:pt x="24" y="28"/>
                </a:lnTo>
                <a:lnTo>
                  <a:pt x="24" y="26"/>
                </a:lnTo>
                <a:lnTo>
                  <a:pt x="24" y="26"/>
                </a:lnTo>
                <a:lnTo>
                  <a:pt x="24" y="22"/>
                </a:lnTo>
                <a:lnTo>
                  <a:pt x="20" y="20"/>
                </a:lnTo>
                <a:lnTo>
                  <a:pt x="20" y="20"/>
                </a:lnTo>
                <a:lnTo>
                  <a:pt x="18" y="20"/>
                </a:lnTo>
                <a:lnTo>
                  <a:pt x="14" y="18"/>
                </a:lnTo>
                <a:lnTo>
                  <a:pt x="14" y="18"/>
                </a:lnTo>
                <a:lnTo>
                  <a:pt x="12" y="16"/>
                </a:lnTo>
                <a:lnTo>
                  <a:pt x="8" y="14"/>
                </a:lnTo>
                <a:lnTo>
                  <a:pt x="8" y="14"/>
                </a:lnTo>
                <a:lnTo>
                  <a:pt x="4" y="14"/>
                </a:lnTo>
                <a:lnTo>
                  <a:pt x="2" y="12"/>
                </a:lnTo>
                <a:lnTo>
                  <a:pt x="0" y="10"/>
                </a:lnTo>
                <a:lnTo>
                  <a:pt x="0" y="10"/>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18" name="Brazil"/>
          <p:cNvSpPr>
            <a:spLocks/>
          </p:cNvSpPr>
          <p:nvPr/>
        </p:nvSpPr>
        <p:spPr bwMode="auto">
          <a:xfrm>
            <a:off x="2565700" y="2618199"/>
            <a:ext cx="932040" cy="1099369"/>
          </a:xfrm>
          <a:custGeom>
            <a:avLst/>
            <a:gdLst/>
            <a:ahLst/>
            <a:cxnLst>
              <a:cxn ang="0">
                <a:pos x="496" y="82"/>
              </a:cxn>
              <a:cxn ang="0">
                <a:pos x="476" y="152"/>
              </a:cxn>
              <a:cxn ang="0">
                <a:pos x="474" y="168"/>
              </a:cxn>
              <a:cxn ang="0">
                <a:pos x="502" y="128"/>
              </a:cxn>
              <a:cxn ang="0">
                <a:pos x="536" y="152"/>
              </a:cxn>
              <a:cxn ang="0">
                <a:pos x="502" y="174"/>
              </a:cxn>
              <a:cxn ang="0">
                <a:pos x="522" y="196"/>
              </a:cxn>
              <a:cxn ang="0">
                <a:pos x="552" y="150"/>
              </a:cxn>
              <a:cxn ang="0">
                <a:pos x="612" y="188"/>
              </a:cxn>
              <a:cxn ang="0">
                <a:pos x="666" y="212"/>
              </a:cxn>
              <a:cxn ang="0">
                <a:pos x="766" y="254"/>
              </a:cxn>
              <a:cxn ang="0">
                <a:pos x="818" y="322"/>
              </a:cxn>
              <a:cxn ang="0">
                <a:pos x="762" y="434"/>
              </a:cxn>
              <a:cxn ang="0">
                <a:pos x="736" y="488"/>
              </a:cxn>
              <a:cxn ang="0">
                <a:pos x="734" y="580"/>
              </a:cxn>
              <a:cxn ang="0">
                <a:pos x="724" y="632"/>
              </a:cxn>
              <a:cxn ang="0">
                <a:pos x="700" y="692"/>
              </a:cxn>
              <a:cxn ang="0">
                <a:pos x="650" y="708"/>
              </a:cxn>
              <a:cxn ang="0">
                <a:pos x="582" y="774"/>
              </a:cxn>
              <a:cxn ang="0">
                <a:pos x="584" y="836"/>
              </a:cxn>
              <a:cxn ang="0">
                <a:pos x="554" y="888"/>
              </a:cxn>
              <a:cxn ang="0">
                <a:pos x="526" y="952"/>
              </a:cxn>
              <a:cxn ang="0">
                <a:pos x="494" y="924"/>
              </a:cxn>
              <a:cxn ang="0">
                <a:pos x="448" y="900"/>
              </a:cxn>
              <a:cxn ang="0">
                <a:pos x="408" y="876"/>
              </a:cxn>
              <a:cxn ang="0">
                <a:pos x="440" y="838"/>
              </a:cxn>
              <a:cxn ang="0">
                <a:pos x="456" y="818"/>
              </a:cxn>
              <a:cxn ang="0">
                <a:pos x="456" y="776"/>
              </a:cxn>
              <a:cxn ang="0">
                <a:pos x="428" y="734"/>
              </a:cxn>
              <a:cxn ang="0">
                <a:pos x="404" y="696"/>
              </a:cxn>
              <a:cxn ang="0">
                <a:pos x="376" y="648"/>
              </a:cxn>
              <a:cxn ang="0">
                <a:pos x="364" y="602"/>
              </a:cxn>
              <a:cxn ang="0">
                <a:pos x="344" y="566"/>
              </a:cxn>
              <a:cxn ang="0">
                <a:pos x="298" y="530"/>
              </a:cxn>
              <a:cxn ang="0">
                <a:pos x="272" y="488"/>
              </a:cxn>
              <a:cxn ang="0">
                <a:pos x="224" y="454"/>
              </a:cxn>
              <a:cxn ang="0">
                <a:pos x="182" y="394"/>
              </a:cxn>
              <a:cxn ang="0">
                <a:pos x="130" y="416"/>
              </a:cxn>
              <a:cxn ang="0">
                <a:pos x="78" y="422"/>
              </a:cxn>
              <a:cxn ang="0">
                <a:pos x="68" y="380"/>
              </a:cxn>
              <a:cxn ang="0">
                <a:pos x="18" y="382"/>
              </a:cxn>
              <a:cxn ang="0">
                <a:pos x="2" y="328"/>
              </a:cxn>
              <a:cxn ang="0">
                <a:pos x="20" y="282"/>
              </a:cxn>
              <a:cxn ang="0">
                <a:pos x="64" y="244"/>
              </a:cxn>
              <a:cxn ang="0">
                <a:pos x="80" y="148"/>
              </a:cxn>
              <a:cxn ang="0">
                <a:pos x="86" y="110"/>
              </a:cxn>
              <a:cxn ang="0">
                <a:pos x="110" y="88"/>
              </a:cxn>
              <a:cxn ang="0">
                <a:pos x="128" y="88"/>
              </a:cxn>
              <a:cxn ang="0">
                <a:pos x="158" y="116"/>
              </a:cxn>
              <a:cxn ang="0">
                <a:pos x="194" y="98"/>
              </a:cxn>
              <a:cxn ang="0">
                <a:pos x="210" y="70"/>
              </a:cxn>
              <a:cxn ang="0">
                <a:pos x="192" y="24"/>
              </a:cxn>
              <a:cxn ang="0">
                <a:pos x="244" y="28"/>
              </a:cxn>
              <a:cxn ang="0">
                <a:pos x="276" y="0"/>
              </a:cxn>
              <a:cxn ang="0">
                <a:pos x="296" y="24"/>
              </a:cxn>
              <a:cxn ang="0">
                <a:pos x="294" y="60"/>
              </a:cxn>
              <a:cxn ang="0">
                <a:pos x="304" y="96"/>
              </a:cxn>
              <a:cxn ang="0">
                <a:pos x="342" y="86"/>
              </a:cxn>
              <a:cxn ang="0">
                <a:pos x="374" y="80"/>
              </a:cxn>
              <a:cxn ang="0">
                <a:pos x="394" y="74"/>
              </a:cxn>
              <a:cxn ang="0">
                <a:pos x="418" y="80"/>
              </a:cxn>
              <a:cxn ang="0">
                <a:pos x="448" y="62"/>
              </a:cxn>
              <a:cxn ang="0">
                <a:pos x="466" y="24"/>
              </a:cxn>
            </a:cxnLst>
            <a:rect l="0" t="0" r="r" b="b"/>
            <a:pathLst>
              <a:path w="818" h="966">
                <a:moveTo>
                  <a:pt x="468" y="20"/>
                </a:moveTo>
                <a:lnTo>
                  <a:pt x="468" y="20"/>
                </a:lnTo>
                <a:lnTo>
                  <a:pt x="470" y="20"/>
                </a:lnTo>
                <a:lnTo>
                  <a:pt x="472" y="22"/>
                </a:lnTo>
                <a:lnTo>
                  <a:pt x="476" y="28"/>
                </a:lnTo>
                <a:lnTo>
                  <a:pt x="476" y="28"/>
                </a:lnTo>
                <a:lnTo>
                  <a:pt x="480" y="30"/>
                </a:lnTo>
                <a:lnTo>
                  <a:pt x="480" y="30"/>
                </a:lnTo>
                <a:lnTo>
                  <a:pt x="482" y="34"/>
                </a:lnTo>
                <a:lnTo>
                  <a:pt x="482" y="34"/>
                </a:lnTo>
                <a:lnTo>
                  <a:pt x="490" y="64"/>
                </a:lnTo>
                <a:lnTo>
                  <a:pt x="496" y="82"/>
                </a:lnTo>
                <a:lnTo>
                  <a:pt x="496" y="82"/>
                </a:lnTo>
                <a:lnTo>
                  <a:pt x="504" y="86"/>
                </a:lnTo>
                <a:lnTo>
                  <a:pt x="508" y="92"/>
                </a:lnTo>
                <a:lnTo>
                  <a:pt x="506" y="98"/>
                </a:lnTo>
                <a:lnTo>
                  <a:pt x="502" y="104"/>
                </a:lnTo>
                <a:lnTo>
                  <a:pt x="502" y="104"/>
                </a:lnTo>
                <a:lnTo>
                  <a:pt x="498" y="110"/>
                </a:lnTo>
                <a:lnTo>
                  <a:pt x="496" y="114"/>
                </a:lnTo>
                <a:lnTo>
                  <a:pt x="492" y="118"/>
                </a:lnTo>
                <a:lnTo>
                  <a:pt x="488" y="122"/>
                </a:lnTo>
                <a:lnTo>
                  <a:pt x="488" y="122"/>
                </a:lnTo>
                <a:lnTo>
                  <a:pt x="482" y="128"/>
                </a:lnTo>
                <a:lnTo>
                  <a:pt x="480" y="134"/>
                </a:lnTo>
                <a:lnTo>
                  <a:pt x="476" y="152"/>
                </a:lnTo>
                <a:lnTo>
                  <a:pt x="476" y="152"/>
                </a:lnTo>
                <a:lnTo>
                  <a:pt x="474" y="156"/>
                </a:lnTo>
                <a:lnTo>
                  <a:pt x="472" y="160"/>
                </a:lnTo>
                <a:lnTo>
                  <a:pt x="464" y="168"/>
                </a:lnTo>
                <a:lnTo>
                  <a:pt x="460" y="170"/>
                </a:lnTo>
                <a:lnTo>
                  <a:pt x="462" y="168"/>
                </a:lnTo>
                <a:lnTo>
                  <a:pt x="462" y="168"/>
                </a:lnTo>
                <a:lnTo>
                  <a:pt x="464" y="166"/>
                </a:lnTo>
                <a:lnTo>
                  <a:pt x="468" y="166"/>
                </a:lnTo>
                <a:lnTo>
                  <a:pt x="472" y="172"/>
                </a:lnTo>
                <a:lnTo>
                  <a:pt x="476" y="184"/>
                </a:lnTo>
                <a:lnTo>
                  <a:pt x="476" y="184"/>
                </a:lnTo>
                <a:lnTo>
                  <a:pt x="474" y="168"/>
                </a:lnTo>
                <a:lnTo>
                  <a:pt x="474" y="168"/>
                </a:lnTo>
                <a:lnTo>
                  <a:pt x="474" y="166"/>
                </a:lnTo>
                <a:lnTo>
                  <a:pt x="476" y="164"/>
                </a:lnTo>
                <a:lnTo>
                  <a:pt x="482" y="160"/>
                </a:lnTo>
                <a:lnTo>
                  <a:pt x="488" y="158"/>
                </a:lnTo>
                <a:lnTo>
                  <a:pt x="492" y="152"/>
                </a:lnTo>
                <a:lnTo>
                  <a:pt x="492" y="152"/>
                </a:lnTo>
                <a:lnTo>
                  <a:pt x="492" y="148"/>
                </a:lnTo>
                <a:lnTo>
                  <a:pt x="492" y="144"/>
                </a:lnTo>
                <a:lnTo>
                  <a:pt x="492" y="140"/>
                </a:lnTo>
                <a:lnTo>
                  <a:pt x="496" y="134"/>
                </a:lnTo>
                <a:lnTo>
                  <a:pt x="496" y="134"/>
                </a:lnTo>
                <a:lnTo>
                  <a:pt x="502" y="128"/>
                </a:lnTo>
                <a:lnTo>
                  <a:pt x="506" y="128"/>
                </a:lnTo>
                <a:lnTo>
                  <a:pt x="510" y="130"/>
                </a:lnTo>
                <a:lnTo>
                  <a:pt x="520" y="130"/>
                </a:lnTo>
                <a:lnTo>
                  <a:pt x="520" y="130"/>
                </a:lnTo>
                <a:lnTo>
                  <a:pt x="540" y="128"/>
                </a:lnTo>
                <a:lnTo>
                  <a:pt x="544" y="130"/>
                </a:lnTo>
                <a:lnTo>
                  <a:pt x="546" y="132"/>
                </a:lnTo>
                <a:lnTo>
                  <a:pt x="544" y="134"/>
                </a:lnTo>
                <a:lnTo>
                  <a:pt x="544" y="134"/>
                </a:lnTo>
                <a:lnTo>
                  <a:pt x="542" y="140"/>
                </a:lnTo>
                <a:lnTo>
                  <a:pt x="542" y="142"/>
                </a:lnTo>
                <a:lnTo>
                  <a:pt x="540" y="146"/>
                </a:lnTo>
                <a:lnTo>
                  <a:pt x="536" y="152"/>
                </a:lnTo>
                <a:lnTo>
                  <a:pt x="536" y="152"/>
                </a:lnTo>
                <a:lnTo>
                  <a:pt x="530" y="158"/>
                </a:lnTo>
                <a:lnTo>
                  <a:pt x="530" y="160"/>
                </a:lnTo>
                <a:lnTo>
                  <a:pt x="532" y="164"/>
                </a:lnTo>
                <a:lnTo>
                  <a:pt x="528" y="166"/>
                </a:lnTo>
                <a:lnTo>
                  <a:pt x="528" y="166"/>
                </a:lnTo>
                <a:lnTo>
                  <a:pt x="524" y="168"/>
                </a:lnTo>
                <a:lnTo>
                  <a:pt x="520" y="168"/>
                </a:lnTo>
                <a:lnTo>
                  <a:pt x="516" y="170"/>
                </a:lnTo>
                <a:lnTo>
                  <a:pt x="510" y="172"/>
                </a:lnTo>
                <a:lnTo>
                  <a:pt x="510" y="172"/>
                </a:lnTo>
                <a:lnTo>
                  <a:pt x="506" y="174"/>
                </a:lnTo>
                <a:lnTo>
                  <a:pt x="502" y="174"/>
                </a:lnTo>
                <a:lnTo>
                  <a:pt x="500" y="174"/>
                </a:lnTo>
                <a:lnTo>
                  <a:pt x="492" y="176"/>
                </a:lnTo>
                <a:lnTo>
                  <a:pt x="492" y="176"/>
                </a:lnTo>
                <a:lnTo>
                  <a:pt x="498" y="176"/>
                </a:lnTo>
                <a:lnTo>
                  <a:pt x="500" y="178"/>
                </a:lnTo>
                <a:lnTo>
                  <a:pt x="504" y="180"/>
                </a:lnTo>
                <a:lnTo>
                  <a:pt x="512" y="176"/>
                </a:lnTo>
                <a:lnTo>
                  <a:pt x="512" y="176"/>
                </a:lnTo>
                <a:lnTo>
                  <a:pt x="518" y="174"/>
                </a:lnTo>
                <a:lnTo>
                  <a:pt x="518" y="176"/>
                </a:lnTo>
                <a:lnTo>
                  <a:pt x="518" y="184"/>
                </a:lnTo>
                <a:lnTo>
                  <a:pt x="518" y="190"/>
                </a:lnTo>
                <a:lnTo>
                  <a:pt x="522" y="196"/>
                </a:lnTo>
                <a:lnTo>
                  <a:pt x="522" y="196"/>
                </a:lnTo>
                <a:lnTo>
                  <a:pt x="522" y="184"/>
                </a:lnTo>
                <a:lnTo>
                  <a:pt x="524" y="176"/>
                </a:lnTo>
                <a:lnTo>
                  <a:pt x="528" y="172"/>
                </a:lnTo>
                <a:lnTo>
                  <a:pt x="534" y="172"/>
                </a:lnTo>
                <a:lnTo>
                  <a:pt x="534" y="172"/>
                </a:lnTo>
                <a:lnTo>
                  <a:pt x="536" y="170"/>
                </a:lnTo>
                <a:lnTo>
                  <a:pt x="536" y="168"/>
                </a:lnTo>
                <a:lnTo>
                  <a:pt x="538" y="162"/>
                </a:lnTo>
                <a:lnTo>
                  <a:pt x="542" y="156"/>
                </a:lnTo>
                <a:lnTo>
                  <a:pt x="546" y="152"/>
                </a:lnTo>
                <a:lnTo>
                  <a:pt x="552" y="150"/>
                </a:lnTo>
                <a:lnTo>
                  <a:pt x="552" y="150"/>
                </a:lnTo>
                <a:lnTo>
                  <a:pt x="558" y="148"/>
                </a:lnTo>
                <a:lnTo>
                  <a:pt x="564" y="148"/>
                </a:lnTo>
                <a:lnTo>
                  <a:pt x="572" y="152"/>
                </a:lnTo>
                <a:lnTo>
                  <a:pt x="582" y="160"/>
                </a:lnTo>
                <a:lnTo>
                  <a:pt x="598" y="168"/>
                </a:lnTo>
                <a:lnTo>
                  <a:pt x="598" y="168"/>
                </a:lnTo>
                <a:lnTo>
                  <a:pt x="614" y="176"/>
                </a:lnTo>
                <a:lnTo>
                  <a:pt x="618" y="182"/>
                </a:lnTo>
                <a:lnTo>
                  <a:pt x="618" y="184"/>
                </a:lnTo>
                <a:lnTo>
                  <a:pt x="618" y="184"/>
                </a:lnTo>
                <a:lnTo>
                  <a:pt x="614" y="186"/>
                </a:lnTo>
                <a:lnTo>
                  <a:pt x="614" y="186"/>
                </a:lnTo>
                <a:lnTo>
                  <a:pt x="612" y="188"/>
                </a:lnTo>
                <a:lnTo>
                  <a:pt x="612" y="188"/>
                </a:lnTo>
                <a:lnTo>
                  <a:pt x="616" y="190"/>
                </a:lnTo>
                <a:lnTo>
                  <a:pt x="618" y="196"/>
                </a:lnTo>
                <a:lnTo>
                  <a:pt x="618" y="198"/>
                </a:lnTo>
                <a:lnTo>
                  <a:pt x="618" y="204"/>
                </a:lnTo>
                <a:lnTo>
                  <a:pt x="618" y="204"/>
                </a:lnTo>
                <a:lnTo>
                  <a:pt x="624" y="198"/>
                </a:lnTo>
                <a:lnTo>
                  <a:pt x="626" y="196"/>
                </a:lnTo>
                <a:lnTo>
                  <a:pt x="632" y="196"/>
                </a:lnTo>
                <a:lnTo>
                  <a:pt x="640" y="200"/>
                </a:lnTo>
                <a:lnTo>
                  <a:pt x="640" y="200"/>
                </a:lnTo>
                <a:lnTo>
                  <a:pt x="654" y="208"/>
                </a:lnTo>
                <a:lnTo>
                  <a:pt x="666" y="212"/>
                </a:lnTo>
                <a:lnTo>
                  <a:pt x="678" y="216"/>
                </a:lnTo>
                <a:lnTo>
                  <a:pt x="684" y="216"/>
                </a:lnTo>
                <a:lnTo>
                  <a:pt x="684" y="216"/>
                </a:lnTo>
                <a:lnTo>
                  <a:pt x="694" y="212"/>
                </a:lnTo>
                <a:lnTo>
                  <a:pt x="704" y="214"/>
                </a:lnTo>
                <a:lnTo>
                  <a:pt x="712" y="218"/>
                </a:lnTo>
                <a:lnTo>
                  <a:pt x="724" y="226"/>
                </a:lnTo>
                <a:lnTo>
                  <a:pt x="724" y="226"/>
                </a:lnTo>
                <a:lnTo>
                  <a:pt x="736" y="234"/>
                </a:lnTo>
                <a:lnTo>
                  <a:pt x="746" y="242"/>
                </a:lnTo>
                <a:lnTo>
                  <a:pt x="756" y="248"/>
                </a:lnTo>
                <a:lnTo>
                  <a:pt x="766" y="254"/>
                </a:lnTo>
                <a:lnTo>
                  <a:pt x="766" y="254"/>
                </a:lnTo>
                <a:lnTo>
                  <a:pt x="770" y="256"/>
                </a:lnTo>
                <a:lnTo>
                  <a:pt x="776" y="258"/>
                </a:lnTo>
                <a:lnTo>
                  <a:pt x="786" y="258"/>
                </a:lnTo>
                <a:lnTo>
                  <a:pt x="792" y="258"/>
                </a:lnTo>
                <a:lnTo>
                  <a:pt x="798" y="258"/>
                </a:lnTo>
                <a:lnTo>
                  <a:pt x="802" y="262"/>
                </a:lnTo>
                <a:lnTo>
                  <a:pt x="806" y="266"/>
                </a:lnTo>
                <a:lnTo>
                  <a:pt x="806" y="266"/>
                </a:lnTo>
                <a:lnTo>
                  <a:pt x="814" y="286"/>
                </a:lnTo>
                <a:lnTo>
                  <a:pt x="818" y="298"/>
                </a:lnTo>
                <a:lnTo>
                  <a:pt x="818" y="310"/>
                </a:lnTo>
                <a:lnTo>
                  <a:pt x="818" y="310"/>
                </a:lnTo>
                <a:lnTo>
                  <a:pt x="818" y="322"/>
                </a:lnTo>
                <a:lnTo>
                  <a:pt x="818" y="338"/>
                </a:lnTo>
                <a:lnTo>
                  <a:pt x="816" y="352"/>
                </a:lnTo>
                <a:lnTo>
                  <a:pt x="814" y="358"/>
                </a:lnTo>
                <a:lnTo>
                  <a:pt x="810" y="364"/>
                </a:lnTo>
                <a:lnTo>
                  <a:pt x="810" y="364"/>
                </a:lnTo>
                <a:lnTo>
                  <a:pt x="802" y="372"/>
                </a:lnTo>
                <a:lnTo>
                  <a:pt x="798" y="382"/>
                </a:lnTo>
                <a:lnTo>
                  <a:pt x="790" y="390"/>
                </a:lnTo>
                <a:lnTo>
                  <a:pt x="782" y="402"/>
                </a:lnTo>
                <a:lnTo>
                  <a:pt x="782" y="402"/>
                </a:lnTo>
                <a:lnTo>
                  <a:pt x="774" y="408"/>
                </a:lnTo>
                <a:lnTo>
                  <a:pt x="770" y="416"/>
                </a:lnTo>
                <a:lnTo>
                  <a:pt x="762" y="434"/>
                </a:lnTo>
                <a:lnTo>
                  <a:pt x="756" y="450"/>
                </a:lnTo>
                <a:lnTo>
                  <a:pt x="752" y="458"/>
                </a:lnTo>
                <a:lnTo>
                  <a:pt x="746" y="464"/>
                </a:lnTo>
                <a:lnTo>
                  <a:pt x="746" y="464"/>
                </a:lnTo>
                <a:lnTo>
                  <a:pt x="744" y="464"/>
                </a:lnTo>
                <a:lnTo>
                  <a:pt x="740" y="464"/>
                </a:lnTo>
                <a:lnTo>
                  <a:pt x="734" y="460"/>
                </a:lnTo>
                <a:lnTo>
                  <a:pt x="732" y="460"/>
                </a:lnTo>
                <a:lnTo>
                  <a:pt x="732" y="460"/>
                </a:lnTo>
                <a:lnTo>
                  <a:pt x="736" y="470"/>
                </a:lnTo>
                <a:lnTo>
                  <a:pt x="736" y="470"/>
                </a:lnTo>
                <a:lnTo>
                  <a:pt x="738" y="478"/>
                </a:lnTo>
                <a:lnTo>
                  <a:pt x="736" y="488"/>
                </a:lnTo>
                <a:lnTo>
                  <a:pt x="736" y="500"/>
                </a:lnTo>
                <a:lnTo>
                  <a:pt x="738" y="508"/>
                </a:lnTo>
                <a:lnTo>
                  <a:pt x="740" y="516"/>
                </a:lnTo>
                <a:lnTo>
                  <a:pt x="740" y="516"/>
                </a:lnTo>
                <a:lnTo>
                  <a:pt x="742" y="522"/>
                </a:lnTo>
                <a:lnTo>
                  <a:pt x="744" y="526"/>
                </a:lnTo>
                <a:lnTo>
                  <a:pt x="742" y="536"/>
                </a:lnTo>
                <a:lnTo>
                  <a:pt x="738" y="546"/>
                </a:lnTo>
                <a:lnTo>
                  <a:pt x="738" y="562"/>
                </a:lnTo>
                <a:lnTo>
                  <a:pt x="738" y="562"/>
                </a:lnTo>
                <a:lnTo>
                  <a:pt x="738" y="570"/>
                </a:lnTo>
                <a:lnTo>
                  <a:pt x="738" y="574"/>
                </a:lnTo>
                <a:lnTo>
                  <a:pt x="734" y="580"/>
                </a:lnTo>
                <a:lnTo>
                  <a:pt x="732" y="584"/>
                </a:lnTo>
                <a:lnTo>
                  <a:pt x="732" y="586"/>
                </a:lnTo>
                <a:lnTo>
                  <a:pt x="732" y="590"/>
                </a:lnTo>
                <a:lnTo>
                  <a:pt x="734" y="596"/>
                </a:lnTo>
                <a:lnTo>
                  <a:pt x="734" y="596"/>
                </a:lnTo>
                <a:lnTo>
                  <a:pt x="736" y="604"/>
                </a:lnTo>
                <a:lnTo>
                  <a:pt x="736" y="608"/>
                </a:lnTo>
                <a:lnTo>
                  <a:pt x="732" y="610"/>
                </a:lnTo>
                <a:lnTo>
                  <a:pt x="730" y="614"/>
                </a:lnTo>
                <a:lnTo>
                  <a:pt x="726" y="616"/>
                </a:lnTo>
                <a:lnTo>
                  <a:pt x="724" y="620"/>
                </a:lnTo>
                <a:lnTo>
                  <a:pt x="722" y="624"/>
                </a:lnTo>
                <a:lnTo>
                  <a:pt x="724" y="632"/>
                </a:lnTo>
                <a:lnTo>
                  <a:pt x="724" y="632"/>
                </a:lnTo>
                <a:lnTo>
                  <a:pt x="724" y="640"/>
                </a:lnTo>
                <a:lnTo>
                  <a:pt x="724" y="646"/>
                </a:lnTo>
                <a:lnTo>
                  <a:pt x="720" y="652"/>
                </a:lnTo>
                <a:lnTo>
                  <a:pt x="716" y="656"/>
                </a:lnTo>
                <a:lnTo>
                  <a:pt x="710" y="660"/>
                </a:lnTo>
                <a:lnTo>
                  <a:pt x="708" y="664"/>
                </a:lnTo>
                <a:lnTo>
                  <a:pt x="704" y="670"/>
                </a:lnTo>
                <a:lnTo>
                  <a:pt x="704" y="678"/>
                </a:lnTo>
                <a:lnTo>
                  <a:pt x="704" y="678"/>
                </a:lnTo>
                <a:lnTo>
                  <a:pt x="704" y="688"/>
                </a:lnTo>
                <a:lnTo>
                  <a:pt x="702" y="690"/>
                </a:lnTo>
                <a:lnTo>
                  <a:pt x="700" y="692"/>
                </a:lnTo>
                <a:lnTo>
                  <a:pt x="696" y="694"/>
                </a:lnTo>
                <a:lnTo>
                  <a:pt x="690" y="698"/>
                </a:lnTo>
                <a:lnTo>
                  <a:pt x="690" y="698"/>
                </a:lnTo>
                <a:lnTo>
                  <a:pt x="680" y="708"/>
                </a:lnTo>
                <a:lnTo>
                  <a:pt x="676" y="710"/>
                </a:lnTo>
                <a:lnTo>
                  <a:pt x="674" y="710"/>
                </a:lnTo>
                <a:lnTo>
                  <a:pt x="670" y="708"/>
                </a:lnTo>
                <a:lnTo>
                  <a:pt x="668" y="708"/>
                </a:lnTo>
                <a:lnTo>
                  <a:pt x="668" y="708"/>
                </a:lnTo>
                <a:lnTo>
                  <a:pt x="668" y="708"/>
                </a:lnTo>
                <a:lnTo>
                  <a:pt x="664" y="710"/>
                </a:lnTo>
                <a:lnTo>
                  <a:pt x="658" y="710"/>
                </a:lnTo>
                <a:lnTo>
                  <a:pt x="650" y="708"/>
                </a:lnTo>
                <a:lnTo>
                  <a:pt x="642" y="708"/>
                </a:lnTo>
                <a:lnTo>
                  <a:pt x="640" y="708"/>
                </a:lnTo>
                <a:lnTo>
                  <a:pt x="636" y="712"/>
                </a:lnTo>
                <a:lnTo>
                  <a:pt x="636" y="712"/>
                </a:lnTo>
                <a:lnTo>
                  <a:pt x="630" y="718"/>
                </a:lnTo>
                <a:lnTo>
                  <a:pt x="622" y="722"/>
                </a:lnTo>
                <a:lnTo>
                  <a:pt x="612" y="730"/>
                </a:lnTo>
                <a:lnTo>
                  <a:pt x="596" y="746"/>
                </a:lnTo>
                <a:lnTo>
                  <a:pt x="596" y="746"/>
                </a:lnTo>
                <a:lnTo>
                  <a:pt x="588" y="754"/>
                </a:lnTo>
                <a:lnTo>
                  <a:pt x="584" y="762"/>
                </a:lnTo>
                <a:lnTo>
                  <a:pt x="582" y="768"/>
                </a:lnTo>
                <a:lnTo>
                  <a:pt x="582" y="774"/>
                </a:lnTo>
                <a:lnTo>
                  <a:pt x="584" y="784"/>
                </a:lnTo>
                <a:lnTo>
                  <a:pt x="586" y="788"/>
                </a:lnTo>
                <a:lnTo>
                  <a:pt x="586" y="788"/>
                </a:lnTo>
                <a:lnTo>
                  <a:pt x="584" y="796"/>
                </a:lnTo>
                <a:lnTo>
                  <a:pt x="586" y="802"/>
                </a:lnTo>
                <a:lnTo>
                  <a:pt x="588" y="812"/>
                </a:lnTo>
                <a:lnTo>
                  <a:pt x="590" y="820"/>
                </a:lnTo>
                <a:lnTo>
                  <a:pt x="590" y="824"/>
                </a:lnTo>
                <a:lnTo>
                  <a:pt x="586" y="828"/>
                </a:lnTo>
                <a:lnTo>
                  <a:pt x="586" y="828"/>
                </a:lnTo>
                <a:lnTo>
                  <a:pt x="584" y="830"/>
                </a:lnTo>
                <a:lnTo>
                  <a:pt x="584" y="832"/>
                </a:lnTo>
                <a:lnTo>
                  <a:pt x="584" y="836"/>
                </a:lnTo>
                <a:lnTo>
                  <a:pt x="584" y="840"/>
                </a:lnTo>
                <a:lnTo>
                  <a:pt x="582" y="842"/>
                </a:lnTo>
                <a:lnTo>
                  <a:pt x="578" y="846"/>
                </a:lnTo>
                <a:lnTo>
                  <a:pt x="570" y="852"/>
                </a:lnTo>
                <a:lnTo>
                  <a:pt x="570" y="852"/>
                </a:lnTo>
                <a:lnTo>
                  <a:pt x="564" y="858"/>
                </a:lnTo>
                <a:lnTo>
                  <a:pt x="558" y="862"/>
                </a:lnTo>
                <a:lnTo>
                  <a:pt x="556" y="866"/>
                </a:lnTo>
                <a:lnTo>
                  <a:pt x="556" y="870"/>
                </a:lnTo>
                <a:lnTo>
                  <a:pt x="558" y="878"/>
                </a:lnTo>
                <a:lnTo>
                  <a:pt x="556" y="882"/>
                </a:lnTo>
                <a:lnTo>
                  <a:pt x="554" y="888"/>
                </a:lnTo>
                <a:lnTo>
                  <a:pt x="554" y="888"/>
                </a:lnTo>
                <a:lnTo>
                  <a:pt x="552" y="892"/>
                </a:lnTo>
                <a:lnTo>
                  <a:pt x="550" y="898"/>
                </a:lnTo>
                <a:lnTo>
                  <a:pt x="550" y="908"/>
                </a:lnTo>
                <a:lnTo>
                  <a:pt x="550" y="914"/>
                </a:lnTo>
                <a:lnTo>
                  <a:pt x="548" y="918"/>
                </a:lnTo>
                <a:lnTo>
                  <a:pt x="544" y="924"/>
                </a:lnTo>
                <a:lnTo>
                  <a:pt x="536" y="928"/>
                </a:lnTo>
                <a:lnTo>
                  <a:pt x="536" y="928"/>
                </a:lnTo>
                <a:lnTo>
                  <a:pt x="532" y="934"/>
                </a:lnTo>
                <a:lnTo>
                  <a:pt x="528" y="936"/>
                </a:lnTo>
                <a:lnTo>
                  <a:pt x="528" y="942"/>
                </a:lnTo>
                <a:lnTo>
                  <a:pt x="528" y="946"/>
                </a:lnTo>
                <a:lnTo>
                  <a:pt x="526" y="952"/>
                </a:lnTo>
                <a:lnTo>
                  <a:pt x="520" y="958"/>
                </a:lnTo>
                <a:lnTo>
                  <a:pt x="510" y="966"/>
                </a:lnTo>
                <a:lnTo>
                  <a:pt x="510" y="966"/>
                </a:lnTo>
                <a:lnTo>
                  <a:pt x="506" y="958"/>
                </a:lnTo>
                <a:lnTo>
                  <a:pt x="508" y="950"/>
                </a:lnTo>
                <a:lnTo>
                  <a:pt x="508" y="950"/>
                </a:lnTo>
                <a:lnTo>
                  <a:pt x="510" y="942"/>
                </a:lnTo>
                <a:lnTo>
                  <a:pt x="510" y="940"/>
                </a:lnTo>
                <a:lnTo>
                  <a:pt x="506" y="938"/>
                </a:lnTo>
                <a:lnTo>
                  <a:pt x="502" y="932"/>
                </a:lnTo>
                <a:lnTo>
                  <a:pt x="502" y="932"/>
                </a:lnTo>
                <a:lnTo>
                  <a:pt x="496" y="926"/>
                </a:lnTo>
                <a:lnTo>
                  <a:pt x="494" y="924"/>
                </a:lnTo>
                <a:lnTo>
                  <a:pt x="492" y="924"/>
                </a:lnTo>
                <a:lnTo>
                  <a:pt x="486" y="918"/>
                </a:lnTo>
                <a:lnTo>
                  <a:pt x="486" y="918"/>
                </a:lnTo>
                <a:lnTo>
                  <a:pt x="478" y="910"/>
                </a:lnTo>
                <a:lnTo>
                  <a:pt x="470" y="906"/>
                </a:lnTo>
                <a:lnTo>
                  <a:pt x="464" y="906"/>
                </a:lnTo>
                <a:lnTo>
                  <a:pt x="460" y="902"/>
                </a:lnTo>
                <a:lnTo>
                  <a:pt x="460" y="902"/>
                </a:lnTo>
                <a:lnTo>
                  <a:pt x="456" y="898"/>
                </a:lnTo>
                <a:lnTo>
                  <a:pt x="454" y="900"/>
                </a:lnTo>
                <a:lnTo>
                  <a:pt x="450" y="900"/>
                </a:lnTo>
                <a:lnTo>
                  <a:pt x="450" y="900"/>
                </a:lnTo>
                <a:lnTo>
                  <a:pt x="448" y="900"/>
                </a:lnTo>
                <a:lnTo>
                  <a:pt x="448" y="898"/>
                </a:lnTo>
                <a:lnTo>
                  <a:pt x="446" y="894"/>
                </a:lnTo>
                <a:lnTo>
                  <a:pt x="446" y="888"/>
                </a:lnTo>
                <a:lnTo>
                  <a:pt x="444" y="882"/>
                </a:lnTo>
                <a:lnTo>
                  <a:pt x="444" y="882"/>
                </a:lnTo>
                <a:lnTo>
                  <a:pt x="438" y="874"/>
                </a:lnTo>
                <a:lnTo>
                  <a:pt x="436" y="870"/>
                </a:lnTo>
                <a:lnTo>
                  <a:pt x="434" y="868"/>
                </a:lnTo>
                <a:lnTo>
                  <a:pt x="434" y="868"/>
                </a:lnTo>
                <a:lnTo>
                  <a:pt x="426" y="870"/>
                </a:lnTo>
                <a:lnTo>
                  <a:pt x="420" y="872"/>
                </a:lnTo>
                <a:lnTo>
                  <a:pt x="416" y="876"/>
                </a:lnTo>
                <a:lnTo>
                  <a:pt x="408" y="876"/>
                </a:lnTo>
                <a:lnTo>
                  <a:pt x="408" y="876"/>
                </a:lnTo>
                <a:lnTo>
                  <a:pt x="410" y="874"/>
                </a:lnTo>
                <a:lnTo>
                  <a:pt x="414" y="870"/>
                </a:lnTo>
                <a:lnTo>
                  <a:pt x="414" y="870"/>
                </a:lnTo>
                <a:lnTo>
                  <a:pt x="416" y="868"/>
                </a:lnTo>
                <a:lnTo>
                  <a:pt x="418" y="866"/>
                </a:lnTo>
                <a:lnTo>
                  <a:pt x="420" y="860"/>
                </a:lnTo>
                <a:lnTo>
                  <a:pt x="428" y="846"/>
                </a:lnTo>
                <a:lnTo>
                  <a:pt x="428" y="846"/>
                </a:lnTo>
                <a:lnTo>
                  <a:pt x="434" y="840"/>
                </a:lnTo>
                <a:lnTo>
                  <a:pt x="436" y="840"/>
                </a:lnTo>
                <a:lnTo>
                  <a:pt x="438" y="840"/>
                </a:lnTo>
                <a:lnTo>
                  <a:pt x="440" y="838"/>
                </a:lnTo>
                <a:lnTo>
                  <a:pt x="440" y="838"/>
                </a:lnTo>
                <a:lnTo>
                  <a:pt x="440" y="834"/>
                </a:lnTo>
                <a:lnTo>
                  <a:pt x="438" y="834"/>
                </a:lnTo>
                <a:lnTo>
                  <a:pt x="438" y="832"/>
                </a:lnTo>
                <a:lnTo>
                  <a:pt x="438" y="830"/>
                </a:lnTo>
                <a:lnTo>
                  <a:pt x="438" y="830"/>
                </a:lnTo>
                <a:lnTo>
                  <a:pt x="440" y="828"/>
                </a:lnTo>
                <a:lnTo>
                  <a:pt x="442" y="828"/>
                </a:lnTo>
                <a:lnTo>
                  <a:pt x="446" y="826"/>
                </a:lnTo>
                <a:lnTo>
                  <a:pt x="448" y="824"/>
                </a:lnTo>
                <a:lnTo>
                  <a:pt x="448" y="824"/>
                </a:lnTo>
                <a:lnTo>
                  <a:pt x="452" y="818"/>
                </a:lnTo>
                <a:lnTo>
                  <a:pt x="456" y="818"/>
                </a:lnTo>
                <a:lnTo>
                  <a:pt x="460" y="816"/>
                </a:lnTo>
                <a:lnTo>
                  <a:pt x="464" y="810"/>
                </a:lnTo>
                <a:lnTo>
                  <a:pt x="464" y="810"/>
                </a:lnTo>
                <a:lnTo>
                  <a:pt x="470" y="800"/>
                </a:lnTo>
                <a:lnTo>
                  <a:pt x="468" y="796"/>
                </a:lnTo>
                <a:lnTo>
                  <a:pt x="466" y="794"/>
                </a:lnTo>
                <a:lnTo>
                  <a:pt x="466" y="792"/>
                </a:lnTo>
                <a:lnTo>
                  <a:pt x="466" y="792"/>
                </a:lnTo>
                <a:lnTo>
                  <a:pt x="466" y="786"/>
                </a:lnTo>
                <a:lnTo>
                  <a:pt x="464" y="780"/>
                </a:lnTo>
                <a:lnTo>
                  <a:pt x="462" y="778"/>
                </a:lnTo>
                <a:lnTo>
                  <a:pt x="460" y="776"/>
                </a:lnTo>
                <a:lnTo>
                  <a:pt x="456" y="776"/>
                </a:lnTo>
                <a:lnTo>
                  <a:pt x="450" y="778"/>
                </a:lnTo>
                <a:lnTo>
                  <a:pt x="450" y="778"/>
                </a:lnTo>
                <a:lnTo>
                  <a:pt x="452" y="762"/>
                </a:lnTo>
                <a:lnTo>
                  <a:pt x="452" y="754"/>
                </a:lnTo>
                <a:lnTo>
                  <a:pt x="450" y="750"/>
                </a:lnTo>
                <a:lnTo>
                  <a:pt x="448" y="744"/>
                </a:lnTo>
                <a:lnTo>
                  <a:pt x="448" y="744"/>
                </a:lnTo>
                <a:lnTo>
                  <a:pt x="448" y="736"/>
                </a:lnTo>
                <a:lnTo>
                  <a:pt x="446" y="734"/>
                </a:lnTo>
                <a:lnTo>
                  <a:pt x="440" y="732"/>
                </a:lnTo>
                <a:lnTo>
                  <a:pt x="434" y="734"/>
                </a:lnTo>
                <a:lnTo>
                  <a:pt x="434" y="734"/>
                </a:lnTo>
                <a:lnTo>
                  <a:pt x="428" y="734"/>
                </a:lnTo>
                <a:lnTo>
                  <a:pt x="426" y="732"/>
                </a:lnTo>
                <a:lnTo>
                  <a:pt x="426" y="728"/>
                </a:lnTo>
                <a:lnTo>
                  <a:pt x="424" y="720"/>
                </a:lnTo>
                <a:lnTo>
                  <a:pt x="424" y="720"/>
                </a:lnTo>
                <a:lnTo>
                  <a:pt x="422" y="714"/>
                </a:lnTo>
                <a:lnTo>
                  <a:pt x="424" y="708"/>
                </a:lnTo>
                <a:lnTo>
                  <a:pt x="424" y="704"/>
                </a:lnTo>
                <a:lnTo>
                  <a:pt x="422" y="702"/>
                </a:lnTo>
                <a:lnTo>
                  <a:pt x="418" y="700"/>
                </a:lnTo>
                <a:lnTo>
                  <a:pt x="418" y="700"/>
                </a:lnTo>
                <a:lnTo>
                  <a:pt x="412" y="696"/>
                </a:lnTo>
                <a:lnTo>
                  <a:pt x="408" y="696"/>
                </a:lnTo>
                <a:lnTo>
                  <a:pt x="404" y="696"/>
                </a:lnTo>
                <a:lnTo>
                  <a:pt x="404" y="696"/>
                </a:lnTo>
                <a:lnTo>
                  <a:pt x="396" y="696"/>
                </a:lnTo>
                <a:lnTo>
                  <a:pt x="390" y="694"/>
                </a:lnTo>
                <a:lnTo>
                  <a:pt x="384" y="692"/>
                </a:lnTo>
                <a:lnTo>
                  <a:pt x="376" y="690"/>
                </a:lnTo>
                <a:lnTo>
                  <a:pt x="376" y="690"/>
                </a:lnTo>
                <a:lnTo>
                  <a:pt x="370" y="690"/>
                </a:lnTo>
                <a:lnTo>
                  <a:pt x="370" y="686"/>
                </a:lnTo>
                <a:lnTo>
                  <a:pt x="376" y="668"/>
                </a:lnTo>
                <a:lnTo>
                  <a:pt x="376" y="668"/>
                </a:lnTo>
                <a:lnTo>
                  <a:pt x="378" y="658"/>
                </a:lnTo>
                <a:lnTo>
                  <a:pt x="378" y="654"/>
                </a:lnTo>
                <a:lnTo>
                  <a:pt x="376" y="648"/>
                </a:lnTo>
                <a:lnTo>
                  <a:pt x="370" y="640"/>
                </a:lnTo>
                <a:lnTo>
                  <a:pt x="370" y="640"/>
                </a:lnTo>
                <a:lnTo>
                  <a:pt x="364" y="632"/>
                </a:lnTo>
                <a:lnTo>
                  <a:pt x="364" y="630"/>
                </a:lnTo>
                <a:lnTo>
                  <a:pt x="364" y="626"/>
                </a:lnTo>
                <a:lnTo>
                  <a:pt x="362" y="620"/>
                </a:lnTo>
                <a:lnTo>
                  <a:pt x="362" y="620"/>
                </a:lnTo>
                <a:lnTo>
                  <a:pt x="366" y="618"/>
                </a:lnTo>
                <a:lnTo>
                  <a:pt x="362" y="612"/>
                </a:lnTo>
                <a:lnTo>
                  <a:pt x="362" y="612"/>
                </a:lnTo>
                <a:lnTo>
                  <a:pt x="362" y="610"/>
                </a:lnTo>
                <a:lnTo>
                  <a:pt x="362" y="606"/>
                </a:lnTo>
                <a:lnTo>
                  <a:pt x="364" y="602"/>
                </a:lnTo>
                <a:lnTo>
                  <a:pt x="364" y="598"/>
                </a:lnTo>
                <a:lnTo>
                  <a:pt x="364" y="598"/>
                </a:lnTo>
                <a:lnTo>
                  <a:pt x="362" y="596"/>
                </a:lnTo>
                <a:lnTo>
                  <a:pt x="362" y="592"/>
                </a:lnTo>
                <a:lnTo>
                  <a:pt x="366" y="588"/>
                </a:lnTo>
                <a:lnTo>
                  <a:pt x="366" y="582"/>
                </a:lnTo>
                <a:lnTo>
                  <a:pt x="364" y="580"/>
                </a:lnTo>
                <a:lnTo>
                  <a:pt x="362" y="578"/>
                </a:lnTo>
                <a:lnTo>
                  <a:pt x="362" y="578"/>
                </a:lnTo>
                <a:lnTo>
                  <a:pt x="358" y="574"/>
                </a:lnTo>
                <a:lnTo>
                  <a:pt x="356" y="570"/>
                </a:lnTo>
                <a:lnTo>
                  <a:pt x="352" y="568"/>
                </a:lnTo>
                <a:lnTo>
                  <a:pt x="344" y="566"/>
                </a:lnTo>
                <a:lnTo>
                  <a:pt x="344" y="566"/>
                </a:lnTo>
                <a:lnTo>
                  <a:pt x="338" y="564"/>
                </a:lnTo>
                <a:lnTo>
                  <a:pt x="338" y="562"/>
                </a:lnTo>
                <a:lnTo>
                  <a:pt x="338" y="560"/>
                </a:lnTo>
                <a:lnTo>
                  <a:pt x="342" y="556"/>
                </a:lnTo>
                <a:lnTo>
                  <a:pt x="342" y="552"/>
                </a:lnTo>
                <a:lnTo>
                  <a:pt x="342" y="548"/>
                </a:lnTo>
                <a:lnTo>
                  <a:pt x="308" y="548"/>
                </a:lnTo>
                <a:lnTo>
                  <a:pt x="308" y="548"/>
                </a:lnTo>
                <a:lnTo>
                  <a:pt x="298" y="534"/>
                </a:lnTo>
                <a:lnTo>
                  <a:pt x="296" y="530"/>
                </a:lnTo>
                <a:lnTo>
                  <a:pt x="298" y="530"/>
                </a:lnTo>
                <a:lnTo>
                  <a:pt x="298" y="530"/>
                </a:lnTo>
                <a:lnTo>
                  <a:pt x="298" y="528"/>
                </a:lnTo>
                <a:lnTo>
                  <a:pt x="298" y="528"/>
                </a:lnTo>
                <a:lnTo>
                  <a:pt x="296" y="524"/>
                </a:lnTo>
                <a:lnTo>
                  <a:pt x="298" y="522"/>
                </a:lnTo>
                <a:lnTo>
                  <a:pt x="298" y="518"/>
                </a:lnTo>
                <a:lnTo>
                  <a:pt x="296" y="514"/>
                </a:lnTo>
                <a:lnTo>
                  <a:pt x="296" y="514"/>
                </a:lnTo>
                <a:lnTo>
                  <a:pt x="296" y="506"/>
                </a:lnTo>
                <a:lnTo>
                  <a:pt x="296" y="502"/>
                </a:lnTo>
                <a:lnTo>
                  <a:pt x="294" y="498"/>
                </a:lnTo>
                <a:lnTo>
                  <a:pt x="284" y="492"/>
                </a:lnTo>
                <a:lnTo>
                  <a:pt x="284" y="492"/>
                </a:lnTo>
                <a:lnTo>
                  <a:pt x="272" y="488"/>
                </a:lnTo>
                <a:lnTo>
                  <a:pt x="270" y="484"/>
                </a:lnTo>
                <a:lnTo>
                  <a:pt x="268" y="482"/>
                </a:lnTo>
                <a:lnTo>
                  <a:pt x="260" y="478"/>
                </a:lnTo>
                <a:lnTo>
                  <a:pt x="260" y="478"/>
                </a:lnTo>
                <a:lnTo>
                  <a:pt x="250" y="474"/>
                </a:lnTo>
                <a:lnTo>
                  <a:pt x="248" y="470"/>
                </a:lnTo>
                <a:lnTo>
                  <a:pt x="246" y="466"/>
                </a:lnTo>
                <a:lnTo>
                  <a:pt x="240" y="464"/>
                </a:lnTo>
                <a:lnTo>
                  <a:pt x="240" y="464"/>
                </a:lnTo>
                <a:lnTo>
                  <a:pt x="238" y="464"/>
                </a:lnTo>
                <a:lnTo>
                  <a:pt x="234" y="462"/>
                </a:lnTo>
                <a:lnTo>
                  <a:pt x="230" y="458"/>
                </a:lnTo>
                <a:lnTo>
                  <a:pt x="224" y="454"/>
                </a:lnTo>
                <a:lnTo>
                  <a:pt x="220" y="454"/>
                </a:lnTo>
                <a:lnTo>
                  <a:pt x="214" y="454"/>
                </a:lnTo>
                <a:lnTo>
                  <a:pt x="214" y="454"/>
                </a:lnTo>
                <a:lnTo>
                  <a:pt x="206" y="454"/>
                </a:lnTo>
                <a:lnTo>
                  <a:pt x="202" y="452"/>
                </a:lnTo>
                <a:lnTo>
                  <a:pt x="198" y="448"/>
                </a:lnTo>
                <a:lnTo>
                  <a:pt x="196" y="444"/>
                </a:lnTo>
                <a:lnTo>
                  <a:pt x="192" y="440"/>
                </a:lnTo>
                <a:lnTo>
                  <a:pt x="192" y="440"/>
                </a:lnTo>
                <a:lnTo>
                  <a:pt x="188" y="438"/>
                </a:lnTo>
                <a:lnTo>
                  <a:pt x="186" y="434"/>
                </a:lnTo>
                <a:lnTo>
                  <a:pt x="182" y="420"/>
                </a:lnTo>
                <a:lnTo>
                  <a:pt x="182" y="394"/>
                </a:lnTo>
                <a:lnTo>
                  <a:pt x="182" y="394"/>
                </a:lnTo>
                <a:lnTo>
                  <a:pt x="180" y="390"/>
                </a:lnTo>
                <a:lnTo>
                  <a:pt x="176" y="390"/>
                </a:lnTo>
                <a:lnTo>
                  <a:pt x="166" y="390"/>
                </a:lnTo>
                <a:lnTo>
                  <a:pt x="154" y="394"/>
                </a:lnTo>
                <a:lnTo>
                  <a:pt x="148" y="398"/>
                </a:lnTo>
                <a:lnTo>
                  <a:pt x="148" y="398"/>
                </a:lnTo>
                <a:lnTo>
                  <a:pt x="142" y="404"/>
                </a:lnTo>
                <a:lnTo>
                  <a:pt x="136" y="406"/>
                </a:lnTo>
                <a:lnTo>
                  <a:pt x="132" y="408"/>
                </a:lnTo>
                <a:lnTo>
                  <a:pt x="132" y="412"/>
                </a:lnTo>
                <a:lnTo>
                  <a:pt x="132" y="412"/>
                </a:lnTo>
                <a:lnTo>
                  <a:pt x="130" y="416"/>
                </a:lnTo>
                <a:lnTo>
                  <a:pt x="128" y="418"/>
                </a:lnTo>
                <a:lnTo>
                  <a:pt x="124" y="418"/>
                </a:lnTo>
                <a:lnTo>
                  <a:pt x="118" y="420"/>
                </a:lnTo>
                <a:lnTo>
                  <a:pt x="118" y="420"/>
                </a:lnTo>
                <a:lnTo>
                  <a:pt x="114" y="424"/>
                </a:lnTo>
                <a:lnTo>
                  <a:pt x="110" y="424"/>
                </a:lnTo>
                <a:lnTo>
                  <a:pt x="104" y="420"/>
                </a:lnTo>
                <a:lnTo>
                  <a:pt x="98" y="420"/>
                </a:lnTo>
                <a:lnTo>
                  <a:pt x="90" y="420"/>
                </a:lnTo>
                <a:lnTo>
                  <a:pt x="90" y="420"/>
                </a:lnTo>
                <a:lnTo>
                  <a:pt x="84" y="422"/>
                </a:lnTo>
                <a:lnTo>
                  <a:pt x="80" y="424"/>
                </a:lnTo>
                <a:lnTo>
                  <a:pt x="78" y="422"/>
                </a:lnTo>
                <a:lnTo>
                  <a:pt x="76" y="422"/>
                </a:lnTo>
                <a:lnTo>
                  <a:pt x="74" y="414"/>
                </a:lnTo>
                <a:lnTo>
                  <a:pt x="72" y="406"/>
                </a:lnTo>
                <a:lnTo>
                  <a:pt x="72" y="406"/>
                </a:lnTo>
                <a:lnTo>
                  <a:pt x="70" y="394"/>
                </a:lnTo>
                <a:lnTo>
                  <a:pt x="70" y="390"/>
                </a:lnTo>
                <a:lnTo>
                  <a:pt x="72" y="386"/>
                </a:lnTo>
                <a:lnTo>
                  <a:pt x="72" y="386"/>
                </a:lnTo>
                <a:lnTo>
                  <a:pt x="74" y="382"/>
                </a:lnTo>
                <a:lnTo>
                  <a:pt x="72" y="380"/>
                </a:lnTo>
                <a:lnTo>
                  <a:pt x="70" y="378"/>
                </a:lnTo>
                <a:lnTo>
                  <a:pt x="68" y="380"/>
                </a:lnTo>
                <a:lnTo>
                  <a:pt x="68" y="380"/>
                </a:lnTo>
                <a:lnTo>
                  <a:pt x="56" y="390"/>
                </a:lnTo>
                <a:lnTo>
                  <a:pt x="52" y="392"/>
                </a:lnTo>
                <a:lnTo>
                  <a:pt x="42" y="392"/>
                </a:lnTo>
                <a:lnTo>
                  <a:pt x="42" y="392"/>
                </a:lnTo>
                <a:lnTo>
                  <a:pt x="36" y="392"/>
                </a:lnTo>
                <a:lnTo>
                  <a:pt x="32" y="390"/>
                </a:lnTo>
                <a:lnTo>
                  <a:pt x="30" y="390"/>
                </a:lnTo>
                <a:lnTo>
                  <a:pt x="28" y="388"/>
                </a:lnTo>
                <a:lnTo>
                  <a:pt x="28" y="384"/>
                </a:lnTo>
                <a:lnTo>
                  <a:pt x="26" y="382"/>
                </a:lnTo>
                <a:lnTo>
                  <a:pt x="24" y="382"/>
                </a:lnTo>
                <a:lnTo>
                  <a:pt x="24" y="382"/>
                </a:lnTo>
                <a:lnTo>
                  <a:pt x="18" y="382"/>
                </a:lnTo>
                <a:lnTo>
                  <a:pt x="20" y="378"/>
                </a:lnTo>
                <a:lnTo>
                  <a:pt x="22" y="374"/>
                </a:lnTo>
                <a:lnTo>
                  <a:pt x="20" y="372"/>
                </a:lnTo>
                <a:lnTo>
                  <a:pt x="18" y="368"/>
                </a:lnTo>
                <a:lnTo>
                  <a:pt x="18" y="368"/>
                </a:lnTo>
                <a:lnTo>
                  <a:pt x="14" y="362"/>
                </a:lnTo>
                <a:lnTo>
                  <a:pt x="10" y="354"/>
                </a:lnTo>
                <a:lnTo>
                  <a:pt x="8" y="346"/>
                </a:lnTo>
                <a:lnTo>
                  <a:pt x="4" y="340"/>
                </a:lnTo>
                <a:lnTo>
                  <a:pt x="4" y="340"/>
                </a:lnTo>
                <a:lnTo>
                  <a:pt x="0" y="332"/>
                </a:lnTo>
                <a:lnTo>
                  <a:pt x="0" y="330"/>
                </a:lnTo>
                <a:lnTo>
                  <a:pt x="2" y="328"/>
                </a:lnTo>
                <a:lnTo>
                  <a:pt x="2" y="328"/>
                </a:lnTo>
                <a:lnTo>
                  <a:pt x="2" y="328"/>
                </a:lnTo>
                <a:lnTo>
                  <a:pt x="0" y="324"/>
                </a:lnTo>
                <a:lnTo>
                  <a:pt x="0" y="320"/>
                </a:lnTo>
                <a:lnTo>
                  <a:pt x="2" y="316"/>
                </a:lnTo>
                <a:lnTo>
                  <a:pt x="4" y="314"/>
                </a:lnTo>
                <a:lnTo>
                  <a:pt x="10" y="308"/>
                </a:lnTo>
                <a:lnTo>
                  <a:pt x="12" y="306"/>
                </a:lnTo>
                <a:lnTo>
                  <a:pt x="14" y="300"/>
                </a:lnTo>
                <a:lnTo>
                  <a:pt x="14" y="300"/>
                </a:lnTo>
                <a:lnTo>
                  <a:pt x="16" y="292"/>
                </a:lnTo>
                <a:lnTo>
                  <a:pt x="18" y="286"/>
                </a:lnTo>
                <a:lnTo>
                  <a:pt x="20" y="282"/>
                </a:lnTo>
                <a:lnTo>
                  <a:pt x="22" y="278"/>
                </a:lnTo>
                <a:lnTo>
                  <a:pt x="22" y="278"/>
                </a:lnTo>
                <a:lnTo>
                  <a:pt x="24" y="274"/>
                </a:lnTo>
                <a:lnTo>
                  <a:pt x="28" y="270"/>
                </a:lnTo>
                <a:lnTo>
                  <a:pt x="32" y="266"/>
                </a:lnTo>
                <a:lnTo>
                  <a:pt x="38" y="262"/>
                </a:lnTo>
                <a:lnTo>
                  <a:pt x="38" y="262"/>
                </a:lnTo>
                <a:lnTo>
                  <a:pt x="46" y="254"/>
                </a:lnTo>
                <a:lnTo>
                  <a:pt x="52" y="250"/>
                </a:lnTo>
                <a:lnTo>
                  <a:pt x="58" y="250"/>
                </a:lnTo>
                <a:lnTo>
                  <a:pt x="60" y="246"/>
                </a:lnTo>
                <a:lnTo>
                  <a:pt x="60" y="246"/>
                </a:lnTo>
                <a:lnTo>
                  <a:pt x="64" y="244"/>
                </a:lnTo>
                <a:lnTo>
                  <a:pt x="66" y="244"/>
                </a:lnTo>
                <a:lnTo>
                  <a:pt x="68" y="244"/>
                </a:lnTo>
                <a:lnTo>
                  <a:pt x="72" y="240"/>
                </a:lnTo>
                <a:lnTo>
                  <a:pt x="72" y="240"/>
                </a:lnTo>
                <a:lnTo>
                  <a:pt x="74" y="230"/>
                </a:lnTo>
                <a:lnTo>
                  <a:pt x="76" y="220"/>
                </a:lnTo>
                <a:lnTo>
                  <a:pt x="80" y="196"/>
                </a:lnTo>
                <a:lnTo>
                  <a:pt x="82" y="172"/>
                </a:lnTo>
                <a:lnTo>
                  <a:pt x="84" y="160"/>
                </a:lnTo>
                <a:lnTo>
                  <a:pt x="84" y="160"/>
                </a:lnTo>
                <a:lnTo>
                  <a:pt x="84" y="158"/>
                </a:lnTo>
                <a:lnTo>
                  <a:pt x="84" y="156"/>
                </a:lnTo>
                <a:lnTo>
                  <a:pt x="80" y="148"/>
                </a:lnTo>
                <a:lnTo>
                  <a:pt x="76" y="138"/>
                </a:lnTo>
                <a:lnTo>
                  <a:pt x="72" y="130"/>
                </a:lnTo>
                <a:lnTo>
                  <a:pt x="72" y="130"/>
                </a:lnTo>
                <a:lnTo>
                  <a:pt x="70" y="126"/>
                </a:lnTo>
                <a:lnTo>
                  <a:pt x="72" y="124"/>
                </a:lnTo>
                <a:lnTo>
                  <a:pt x="76" y="120"/>
                </a:lnTo>
                <a:lnTo>
                  <a:pt x="80" y="120"/>
                </a:lnTo>
                <a:lnTo>
                  <a:pt x="86" y="120"/>
                </a:lnTo>
                <a:lnTo>
                  <a:pt x="86" y="120"/>
                </a:lnTo>
                <a:lnTo>
                  <a:pt x="88" y="120"/>
                </a:lnTo>
                <a:lnTo>
                  <a:pt x="88" y="120"/>
                </a:lnTo>
                <a:lnTo>
                  <a:pt x="88" y="114"/>
                </a:lnTo>
                <a:lnTo>
                  <a:pt x="86" y="110"/>
                </a:lnTo>
                <a:lnTo>
                  <a:pt x="84" y="108"/>
                </a:lnTo>
                <a:lnTo>
                  <a:pt x="82" y="108"/>
                </a:lnTo>
                <a:lnTo>
                  <a:pt x="82" y="108"/>
                </a:lnTo>
                <a:lnTo>
                  <a:pt x="78" y="106"/>
                </a:lnTo>
                <a:lnTo>
                  <a:pt x="76" y="104"/>
                </a:lnTo>
                <a:lnTo>
                  <a:pt x="76" y="98"/>
                </a:lnTo>
                <a:lnTo>
                  <a:pt x="76" y="98"/>
                </a:lnTo>
                <a:lnTo>
                  <a:pt x="92" y="96"/>
                </a:lnTo>
                <a:lnTo>
                  <a:pt x="106" y="94"/>
                </a:lnTo>
                <a:lnTo>
                  <a:pt x="106" y="94"/>
                </a:lnTo>
                <a:lnTo>
                  <a:pt x="112" y="92"/>
                </a:lnTo>
                <a:lnTo>
                  <a:pt x="112" y="90"/>
                </a:lnTo>
                <a:lnTo>
                  <a:pt x="110" y="88"/>
                </a:lnTo>
                <a:lnTo>
                  <a:pt x="112" y="88"/>
                </a:lnTo>
                <a:lnTo>
                  <a:pt x="112" y="88"/>
                </a:lnTo>
                <a:lnTo>
                  <a:pt x="116" y="88"/>
                </a:lnTo>
                <a:lnTo>
                  <a:pt x="118" y="90"/>
                </a:lnTo>
                <a:lnTo>
                  <a:pt x="118" y="92"/>
                </a:lnTo>
                <a:lnTo>
                  <a:pt x="120" y="92"/>
                </a:lnTo>
                <a:lnTo>
                  <a:pt x="120" y="92"/>
                </a:lnTo>
                <a:lnTo>
                  <a:pt x="122" y="92"/>
                </a:lnTo>
                <a:lnTo>
                  <a:pt x="122" y="90"/>
                </a:lnTo>
                <a:lnTo>
                  <a:pt x="124" y="88"/>
                </a:lnTo>
                <a:lnTo>
                  <a:pt x="126" y="88"/>
                </a:lnTo>
                <a:lnTo>
                  <a:pt x="126" y="88"/>
                </a:lnTo>
                <a:lnTo>
                  <a:pt x="128" y="88"/>
                </a:lnTo>
                <a:lnTo>
                  <a:pt x="128" y="90"/>
                </a:lnTo>
                <a:lnTo>
                  <a:pt x="128" y="96"/>
                </a:lnTo>
                <a:lnTo>
                  <a:pt x="128" y="102"/>
                </a:lnTo>
                <a:lnTo>
                  <a:pt x="130" y="104"/>
                </a:lnTo>
                <a:lnTo>
                  <a:pt x="134" y="104"/>
                </a:lnTo>
                <a:lnTo>
                  <a:pt x="134" y="104"/>
                </a:lnTo>
                <a:lnTo>
                  <a:pt x="138" y="108"/>
                </a:lnTo>
                <a:lnTo>
                  <a:pt x="140" y="108"/>
                </a:lnTo>
                <a:lnTo>
                  <a:pt x="142" y="108"/>
                </a:lnTo>
                <a:lnTo>
                  <a:pt x="142" y="108"/>
                </a:lnTo>
                <a:lnTo>
                  <a:pt x="146" y="110"/>
                </a:lnTo>
                <a:lnTo>
                  <a:pt x="152" y="114"/>
                </a:lnTo>
                <a:lnTo>
                  <a:pt x="158" y="116"/>
                </a:lnTo>
                <a:lnTo>
                  <a:pt x="160" y="116"/>
                </a:lnTo>
                <a:lnTo>
                  <a:pt x="162" y="116"/>
                </a:lnTo>
                <a:lnTo>
                  <a:pt x="162" y="116"/>
                </a:lnTo>
                <a:lnTo>
                  <a:pt x="168" y="114"/>
                </a:lnTo>
                <a:lnTo>
                  <a:pt x="170" y="114"/>
                </a:lnTo>
                <a:lnTo>
                  <a:pt x="174" y="114"/>
                </a:lnTo>
                <a:lnTo>
                  <a:pt x="178" y="110"/>
                </a:lnTo>
                <a:lnTo>
                  <a:pt x="178" y="110"/>
                </a:lnTo>
                <a:lnTo>
                  <a:pt x="186" y="102"/>
                </a:lnTo>
                <a:lnTo>
                  <a:pt x="190" y="100"/>
                </a:lnTo>
                <a:lnTo>
                  <a:pt x="192" y="100"/>
                </a:lnTo>
                <a:lnTo>
                  <a:pt x="194" y="98"/>
                </a:lnTo>
                <a:lnTo>
                  <a:pt x="194" y="98"/>
                </a:lnTo>
                <a:lnTo>
                  <a:pt x="196" y="96"/>
                </a:lnTo>
                <a:lnTo>
                  <a:pt x="198" y="96"/>
                </a:lnTo>
                <a:lnTo>
                  <a:pt x="200" y="96"/>
                </a:lnTo>
                <a:lnTo>
                  <a:pt x="202" y="90"/>
                </a:lnTo>
                <a:lnTo>
                  <a:pt x="202" y="90"/>
                </a:lnTo>
                <a:lnTo>
                  <a:pt x="202" y="84"/>
                </a:lnTo>
                <a:lnTo>
                  <a:pt x="206" y="82"/>
                </a:lnTo>
                <a:lnTo>
                  <a:pt x="210" y="82"/>
                </a:lnTo>
                <a:lnTo>
                  <a:pt x="218" y="78"/>
                </a:lnTo>
                <a:lnTo>
                  <a:pt x="218" y="78"/>
                </a:lnTo>
                <a:lnTo>
                  <a:pt x="216" y="70"/>
                </a:lnTo>
                <a:lnTo>
                  <a:pt x="210" y="70"/>
                </a:lnTo>
                <a:lnTo>
                  <a:pt x="210" y="70"/>
                </a:lnTo>
                <a:lnTo>
                  <a:pt x="206" y="70"/>
                </a:lnTo>
                <a:lnTo>
                  <a:pt x="202" y="68"/>
                </a:lnTo>
                <a:lnTo>
                  <a:pt x="198" y="62"/>
                </a:lnTo>
                <a:lnTo>
                  <a:pt x="196" y="54"/>
                </a:lnTo>
                <a:lnTo>
                  <a:pt x="198" y="46"/>
                </a:lnTo>
                <a:lnTo>
                  <a:pt x="198" y="46"/>
                </a:lnTo>
                <a:lnTo>
                  <a:pt x="198" y="42"/>
                </a:lnTo>
                <a:lnTo>
                  <a:pt x="198" y="38"/>
                </a:lnTo>
                <a:lnTo>
                  <a:pt x="192" y="32"/>
                </a:lnTo>
                <a:lnTo>
                  <a:pt x="188" y="28"/>
                </a:lnTo>
                <a:lnTo>
                  <a:pt x="188" y="26"/>
                </a:lnTo>
                <a:lnTo>
                  <a:pt x="192" y="24"/>
                </a:lnTo>
                <a:lnTo>
                  <a:pt x="192" y="24"/>
                </a:lnTo>
                <a:lnTo>
                  <a:pt x="198" y="24"/>
                </a:lnTo>
                <a:lnTo>
                  <a:pt x="202" y="24"/>
                </a:lnTo>
                <a:lnTo>
                  <a:pt x="210" y="28"/>
                </a:lnTo>
                <a:lnTo>
                  <a:pt x="216" y="30"/>
                </a:lnTo>
                <a:lnTo>
                  <a:pt x="218" y="30"/>
                </a:lnTo>
                <a:lnTo>
                  <a:pt x="224" y="30"/>
                </a:lnTo>
                <a:lnTo>
                  <a:pt x="224" y="30"/>
                </a:lnTo>
                <a:lnTo>
                  <a:pt x="232" y="28"/>
                </a:lnTo>
                <a:lnTo>
                  <a:pt x="238" y="30"/>
                </a:lnTo>
                <a:lnTo>
                  <a:pt x="240" y="30"/>
                </a:lnTo>
                <a:lnTo>
                  <a:pt x="242" y="30"/>
                </a:lnTo>
                <a:lnTo>
                  <a:pt x="242" y="30"/>
                </a:lnTo>
                <a:lnTo>
                  <a:pt x="244" y="28"/>
                </a:lnTo>
                <a:lnTo>
                  <a:pt x="244" y="28"/>
                </a:lnTo>
                <a:lnTo>
                  <a:pt x="242" y="26"/>
                </a:lnTo>
                <a:lnTo>
                  <a:pt x="244" y="26"/>
                </a:lnTo>
                <a:lnTo>
                  <a:pt x="244" y="26"/>
                </a:lnTo>
                <a:lnTo>
                  <a:pt x="250" y="24"/>
                </a:lnTo>
                <a:lnTo>
                  <a:pt x="256" y="22"/>
                </a:lnTo>
                <a:lnTo>
                  <a:pt x="264" y="16"/>
                </a:lnTo>
                <a:lnTo>
                  <a:pt x="264" y="16"/>
                </a:lnTo>
                <a:lnTo>
                  <a:pt x="268" y="12"/>
                </a:lnTo>
                <a:lnTo>
                  <a:pt x="272" y="10"/>
                </a:lnTo>
                <a:lnTo>
                  <a:pt x="274" y="8"/>
                </a:lnTo>
                <a:lnTo>
                  <a:pt x="276" y="0"/>
                </a:lnTo>
                <a:lnTo>
                  <a:pt x="276" y="0"/>
                </a:lnTo>
                <a:lnTo>
                  <a:pt x="282" y="2"/>
                </a:lnTo>
                <a:lnTo>
                  <a:pt x="286" y="2"/>
                </a:lnTo>
                <a:lnTo>
                  <a:pt x="288" y="2"/>
                </a:lnTo>
                <a:lnTo>
                  <a:pt x="288" y="8"/>
                </a:lnTo>
                <a:lnTo>
                  <a:pt x="288" y="8"/>
                </a:lnTo>
                <a:lnTo>
                  <a:pt x="286" y="12"/>
                </a:lnTo>
                <a:lnTo>
                  <a:pt x="290" y="12"/>
                </a:lnTo>
                <a:lnTo>
                  <a:pt x="294" y="12"/>
                </a:lnTo>
                <a:lnTo>
                  <a:pt x="294" y="14"/>
                </a:lnTo>
                <a:lnTo>
                  <a:pt x="294" y="16"/>
                </a:lnTo>
                <a:lnTo>
                  <a:pt x="294" y="16"/>
                </a:lnTo>
                <a:lnTo>
                  <a:pt x="296" y="20"/>
                </a:lnTo>
                <a:lnTo>
                  <a:pt x="296" y="24"/>
                </a:lnTo>
                <a:lnTo>
                  <a:pt x="300" y="26"/>
                </a:lnTo>
                <a:lnTo>
                  <a:pt x="300" y="26"/>
                </a:lnTo>
                <a:lnTo>
                  <a:pt x="300" y="28"/>
                </a:lnTo>
                <a:lnTo>
                  <a:pt x="294" y="36"/>
                </a:lnTo>
                <a:lnTo>
                  <a:pt x="294" y="36"/>
                </a:lnTo>
                <a:lnTo>
                  <a:pt x="290" y="42"/>
                </a:lnTo>
                <a:lnTo>
                  <a:pt x="290" y="46"/>
                </a:lnTo>
                <a:lnTo>
                  <a:pt x="292" y="48"/>
                </a:lnTo>
                <a:lnTo>
                  <a:pt x="290" y="50"/>
                </a:lnTo>
                <a:lnTo>
                  <a:pt x="290" y="50"/>
                </a:lnTo>
                <a:lnTo>
                  <a:pt x="290" y="54"/>
                </a:lnTo>
                <a:lnTo>
                  <a:pt x="292" y="56"/>
                </a:lnTo>
                <a:lnTo>
                  <a:pt x="294" y="60"/>
                </a:lnTo>
                <a:lnTo>
                  <a:pt x="292" y="62"/>
                </a:lnTo>
                <a:lnTo>
                  <a:pt x="292" y="62"/>
                </a:lnTo>
                <a:lnTo>
                  <a:pt x="290" y="66"/>
                </a:lnTo>
                <a:lnTo>
                  <a:pt x="292" y="68"/>
                </a:lnTo>
                <a:lnTo>
                  <a:pt x="294" y="70"/>
                </a:lnTo>
                <a:lnTo>
                  <a:pt x="296" y="76"/>
                </a:lnTo>
                <a:lnTo>
                  <a:pt x="296" y="76"/>
                </a:lnTo>
                <a:lnTo>
                  <a:pt x="298" y="84"/>
                </a:lnTo>
                <a:lnTo>
                  <a:pt x="300" y="86"/>
                </a:lnTo>
                <a:lnTo>
                  <a:pt x="302" y="88"/>
                </a:lnTo>
                <a:lnTo>
                  <a:pt x="302" y="90"/>
                </a:lnTo>
                <a:lnTo>
                  <a:pt x="302" y="90"/>
                </a:lnTo>
                <a:lnTo>
                  <a:pt x="304" y="96"/>
                </a:lnTo>
                <a:lnTo>
                  <a:pt x="308" y="98"/>
                </a:lnTo>
                <a:lnTo>
                  <a:pt x="310" y="100"/>
                </a:lnTo>
                <a:lnTo>
                  <a:pt x="314" y="102"/>
                </a:lnTo>
                <a:lnTo>
                  <a:pt x="314" y="102"/>
                </a:lnTo>
                <a:lnTo>
                  <a:pt x="316" y="100"/>
                </a:lnTo>
                <a:lnTo>
                  <a:pt x="318" y="98"/>
                </a:lnTo>
                <a:lnTo>
                  <a:pt x="322" y="100"/>
                </a:lnTo>
                <a:lnTo>
                  <a:pt x="322" y="100"/>
                </a:lnTo>
                <a:lnTo>
                  <a:pt x="322" y="96"/>
                </a:lnTo>
                <a:lnTo>
                  <a:pt x="326" y="92"/>
                </a:lnTo>
                <a:lnTo>
                  <a:pt x="334" y="90"/>
                </a:lnTo>
                <a:lnTo>
                  <a:pt x="334" y="90"/>
                </a:lnTo>
                <a:lnTo>
                  <a:pt x="342" y="86"/>
                </a:lnTo>
                <a:lnTo>
                  <a:pt x="344" y="84"/>
                </a:lnTo>
                <a:lnTo>
                  <a:pt x="346" y="82"/>
                </a:lnTo>
                <a:lnTo>
                  <a:pt x="348" y="82"/>
                </a:lnTo>
                <a:lnTo>
                  <a:pt x="348" y="82"/>
                </a:lnTo>
                <a:lnTo>
                  <a:pt x="348" y="82"/>
                </a:lnTo>
                <a:lnTo>
                  <a:pt x="350" y="84"/>
                </a:lnTo>
                <a:lnTo>
                  <a:pt x="352" y="86"/>
                </a:lnTo>
                <a:lnTo>
                  <a:pt x="360" y="84"/>
                </a:lnTo>
                <a:lnTo>
                  <a:pt x="360" y="84"/>
                </a:lnTo>
                <a:lnTo>
                  <a:pt x="374" y="86"/>
                </a:lnTo>
                <a:lnTo>
                  <a:pt x="378" y="84"/>
                </a:lnTo>
                <a:lnTo>
                  <a:pt x="378" y="82"/>
                </a:lnTo>
                <a:lnTo>
                  <a:pt x="374" y="80"/>
                </a:lnTo>
                <a:lnTo>
                  <a:pt x="372" y="78"/>
                </a:lnTo>
                <a:lnTo>
                  <a:pt x="376" y="76"/>
                </a:lnTo>
                <a:lnTo>
                  <a:pt x="376" y="76"/>
                </a:lnTo>
                <a:lnTo>
                  <a:pt x="378" y="78"/>
                </a:lnTo>
                <a:lnTo>
                  <a:pt x="380" y="78"/>
                </a:lnTo>
                <a:lnTo>
                  <a:pt x="384" y="78"/>
                </a:lnTo>
                <a:lnTo>
                  <a:pt x="384" y="78"/>
                </a:lnTo>
                <a:lnTo>
                  <a:pt x="386" y="78"/>
                </a:lnTo>
                <a:lnTo>
                  <a:pt x="388" y="76"/>
                </a:lnTo>
                <a:lnTo>
                  <a:pt x="388" y="74"/>
                </a:lnTo>
                <a:lnTo>
                  <a:pt x="392" y="72"/>
                </a:lnTo>
                <a:lnTo>
                  <a:pt x="392" y="72"/>
                </a:lnTo>
                <a:lnTo>
                  <a:pt x="394" y="74"/>
                </a:lnTo>
                <a:lnTo>
                  <a:pt x="396" y="74"/>
                </a:lnTo>
                <a:lnTo>
                  <a:pt x="396" y="76"/>
                </a:lnTo>
                <a:lnTo>
                  <a:pt x="400" y="76"/>
                </a:lnTo>
                <a:lnTo>
                  <a:pt x="400" y="76"/>
                </a:lnTo>
                <a:lnTo>
                  <a:pt x="404" y="78"/>
                </a:lnTo>
                <a:lnTo>
                  <a:pt x="406" y="78"/>
                </a:lnTo>
                <a:lnTo>
                  <a:pt x="406" y="78"/>
                </a:lnTo>
                <a:lnTo>
                  <a:pt x="410" y="78"/>
                </a:lnTo>
                <a:lnTo>
                  <a:pt x="410" y="80"/>
                </a:lnTo>
                <a:lnTo>
                  <a:pt x="412" y="80"/>
                </a:lnTo>
                <a:lnTo>
                  <a:pt x="414" y="80"/>
                </a:lnTo>
                <a:lnTo>
                  <a:pt x="414" y="80"/>
                </a:lnTo>
                <a:lnTo>
                  <a:pt x="418" y="80"/>
                </a:lnTo>
                <a:lnTo>
                  <a:pt x="420" y="84"/>
                </a:lnTo>
                <a:lnTo>
                  <a:pt x="422" y="84"/>
                </a:lnTo>
                <a:lnTo>
                  <a:pt x="430" y="82"/>
                </a:lnTo>
                <a:lnTo>
                  <a:pt x="430" y="82"/>
                </a:lnTo>
                <a:lnTo>
                  <a:pt x="438" y="80"/>
                </a:lnTo>
                <a:lnTo>
                  <a:pt x="440" y="78"/>
                </a:lnTo>
                <a:lnTo>
                  <a:pt x="440" y="74"/>
                </a:lnTo>
                <a:lnTo>
                  <a:pt x="440" y="74"/>
                </a:lnTo>
                <a:lnTo>
                  <a:pt x="442" y="70"/>
                </a:lnTo>
                <a:lnTo>
                  <a:pt x="444" y="70"/>
                </a:lnTo>
                <a:lnTo>
                  <a:pt x="446" y="68"/>
                </a:lnTo>
                <a:lnTo>
                  <a:pt x="448" y="62"/>
                </a:lnTo>
                <a:lnTo>
                  <a:pt x="448" y="62"/>
                </a:lnTo>
                <a:lnTo>
                  <a:pt x="450" y="54"/>
                </a:lnTo>
                <a:lnTo>
                  <a:pt x="454" y="50"/>
                </a:lnTo>
                <a:lnTo>
                  <a:pt x="456" y="48"/>
                </a:lnTo>
                <a:lnTo>
                  <a:pt x="456" y="46"/>
                </a:lnTo>
                <a:lnTo>
                  <a:pt x="456" y="46"/>
                </a:lnTo>
                <a:lnTo>
                  <a:pt x="458" y="40"/>
                </a:lnTo>
                <a:lnTo>
                  <a:pt x="460" y="38"/>
                </a:lnTo>
                <a:lnTo>
                  <a:pt x="462" y="36"/>
                </a:lnTo>
                <a:lnTo>
                  <a:pt x="462" y="32"/>
                </a:lnTo>
                <a:lnTo>
                  <a:pt x="462" y="32"/>
                </a:lnTo>
                <a:lnTo>
                  <a:pt x="462" y="26"/>
                </a:lnTo>
                <a:lnTo>
                  <a:pt x="464" y="26"/>
                </a:lnTo>
                <a:lnTo>
                  <a:pt x="466" y="24"/>
                </a:lnTo>
                <a:lnTo>
                  <a:pt x="468" y="20"/>
                </a:lnTo>
                <a:lnTo>
                  <a:pt x="468" y="20"/>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19" name="Bulgaria"/>
          <p:cNvSpPr>
            <a:spLocks/>
          </p:cNvSpPr>
          <p:nvPr/>
        </p:nvSpPr>
        <p:spPr bwMode="auto">
          <a:xfrm>
            <a:off x="4819458" y="1541592"/>
            <a:ext cx="136730" cy="63731"/>
          </a:xfrm>
          <a:custGeom>
            <a:avLst/>
            <a:gdLst/>
            <a:ahLst/>
            <a:cxnLst>
              <a:cxn ang="0">
                <a:pos x="112" y="44"/>
              </a:cxn>
              <a:cxn ang="0">
                <a:pos x="110" y="44"/>
              </a:cxn>
              <a:cxn ang="0">
                <a:pos x="110" y="42"/>
              </a:cxn>
              <a:cxn ang="0">
                <a:pos x="106" y="36"/>
              </a:cxn>
              <a:cxn ang="0">
                <a:pos x="104" y="34"/>
              </a:cxn>
              <a:cxn ang="0">
                <a:pos x="104" y="30"/>
              </a:cxn>
              <a:cxn ang="0">
                <a:pos x="106" y="28"/>
              </a:cxn>
              <a:cxn ang="0">
                <a:pos x="110" y="26"/>
              </a:cxn>
              <a:cxn ang="0">
                <a:pos x="114" y="16"/>
              </a:cxn>
              <a:cxn ang="0">
                <a:pos x="118" y="14"/>
              </a:cxn>
              <a:cxn ang="0">
                <a:pos x="120" y="10"/>
              </a:cxn>
              <a:cxn ang="0">
                <a:pos x="110" y="6"/>
              </a:cxn>
              <a:cxn ang="0">
                <a:pos x="96" y="6"/>
              </a:cxn>
              <a:cxn ang="0">
                <a:pos x="88" y="2"/>
              </a:cxn>
              <a:cxn ang="0">
                <a:pos x="80" y="0"/>
              </a:cxn>
              <a:cxn ang="0">
                <a:pos x="64" y="6"/>
              </a:cxn>
              <a:cxn ang="0">
                <a:pos x="56" y="12"/>
              </a:cxn>
              <a:cxn ang="0">
                <a:pos x="42" y="10"/>
              </a:cxn>
              <a:cxn ang="0">
                <a:pos x="30" y="10"/>
              </a:cxn>
              <a:cxn ang="0">
                <a:pos x="18" y="8"/>
              </a:cxn>
              <a:cxn ang="0">
                <a:pos x="10" y="8"/>
              </a:cxn>
              <a:cxn ang="0">
                <a:pos x="8" y="4"/>
              </a:cxn>
              <a:cxn ang="0">
                <a:pos x="2" y="4"/>
              </a:cxn>
              <a:cxn ang="0">
                <a:pos x="2" y="10"/>
              </a:cxn>
              <a:cxn ang="0">
                <a:pos x="6" y="20"/>
              </a:cxn>
              <a:cxn ang="0">
                <a:pos x="6" y="26"/>
              </a:cxn>
              <a:cxn ang="0">
                <a:pos x="6" y="32"/>
              </a:cxn>
              <a:cxn ang="0">
                <a:pos x="4" y="36"/>
              </a:cxn>
              <a:cxn ang="0">
                <a:pos x="10" y="40"/>
              </a:cxn>
              <a:cxn ang="0">
                <a:pos x="20" y="56"/>
              </a:cxn>
              <a:cxn ang="0">
                <a:pos x="32" y="56"/>
              </a:cxn>
              <a:cxn ang="0">
                <a:pos x="38" y="52"/>
              </a:cxn>
              <a:cxn ang="0">
                <a:pos x="42" y="54"/>
              </a:cxn>
              <a:cxn ang="0">
                <a:pos x="50" y="54"/>
              </a:cxn>
              <a:cxn ang="0">
                <a:pos x="56" y="56"/>
              </a:cxn>
              <a:cxn ang="0">
                <a:pos x="64" y="56"/>
              </a:cxn>
              <a:cxn ang="0">
                <a:pos x="70" y="56"/>
              </a:cxn>
              <a:cxn ang="0">
                <a:pos x="74" y="54"/>
              </a:cxn>
              <a:cxn ang="0">
                <a:pos x="78" y="52"/>
              </a:cxn>
              <a:cxn ang="0">
                <a:pos x="84" y="48"/>
              </a:cxn>
              <a:cxn ang="0">
                <a:pos x="92" y="44"/>
              </a:cxn>
              <a:cxn ang="0">
                <a:pos x="102" y="46"/>
              </a:cxn>
            </a:cxnLst>
            <a:rect l="0" t="0" r="r" b="b"/>
            <a:pathLst>
              <a:path w="120" h="56">
                <a:moveTo>
                  <a:pt x="112" y="46"/>
                </a:moveTo>
                <a:lnTo>
                  <a:pt x="112" y="46"/>
                </a:lnTo>
                <a:lnTo>
                  <a:pt x="112" y="44"/>
                </a:lnTo>
                <a:lnTo>
                  <a:pt x="110" y="44"/>
                </a:lnTo>
                <a:lnTo>
                  <a:pt x="110" y="44"/>
                </a:lnTo>
                <a:lnTo>
                  <a:pt x="110" y="44"/>
                </a:lnTo>
                <a:lnTo>
                  <a:pt x="110" y="44"/>
                </a:lnTo>
                <a:lnTo>
                  <a:pt x="110" y="42"/>
                </a:lnTo>
                <a:lnTo>
                  <a:pt x="110" y="42"/>
                </a:lnTo>
                <a:lnTo>
                  <a:pt x="106" y="38"/>
                </a:lnTo>
                <a:lnTo>
                  <a:pt x="106" y="36"/>
                </a:lnTo>
                <a:lnTo>
                  <a:pt x="106" y="36"/>
                </a:lnTo>
                <a:lnTo>
                  <a:pt x="106" y="36"/>
                </a:lnTo>
                <a:lnTo>
                  <a:pt x="106" y="36"/>
                </a:lnTo>
                <a:lnTo>
                  <a:pt x="104" y="34"/>
                </a:lnTo>
                <a:lnTo>
                  <a:pt x="104" y="34"/>
                </a:lnTo>
                <a:lnTo>
                  <a:pt x="104" y="34"/>
                </a:lnTo>
                <a:lnTo>
                  <a:pt x="104" y="30"/>
                </a:lnTo>
                <a:lnTo>
                  <a:pt x="104" y="30"/>
                </a:lnTo>
                <a:lnTo>
                  <a:pt x="106" y="28"/>
                </a:lnTo>
                <a:lnTo>
                  <a:pt x="106" y="28"/>
                </a:lnTo>
                <a:lnTo>
                  <a:pt x="108" y="28"/>
                </a:lnTo>
                <a:lnTo>
                  <a:pt x="110" y="26"/>
                </a:lnTo>
                <a:lnTo>
                  <a:pt x="110" y="26"/>
                </a:lnTo>
                <a:lnTo>
                  <a:pt x="112" y="20"/>
                </a:lnTo>
                <a:lnTo>
                  <a:pt x="114" y="16"/>
                </a:lnTo>
                <a:lnTo>
                  <a:pt x="114" y="16"/>
                </a:lnTo>
                <a:lnTo>
                  <a:pt x="116" y="12"/>
                </a:lnTo>
                <a:lnTo>
                  <a:pt x="118" y="14"/>
                </a:lnTo>
                <a:lnTo>
                  <a:pt x="118" y="14"/>
                </a:lnTo>
                <a:lnTo>
                  <a:pt x="120" y="14"/>
                </a:lnTo>
                <a:lnTo>
                  <a:pt x="120" y="10"/>
                </a:lnTo>
                <a:lnTo>
                  <a:pt x="120" y="10"/>
                </a:lnTo>
                <a:lnTo>
                  <a:pt x="114" y="8"/>
                </a:lnTo>
                <a:lnTo>
                  <a:pt x="112" y="8"/>
                </a:lnTo>
                <a:lnTo>
                  <a:pt x="110" y="6"/>
                </a:lnTo>
                <a:lnTo>
                  <a:pt x="108" y="6"/>
                </a:lnTo>
                <a:lnTo>
                  <a:pt x="108" y="6"/>
                </a:lnTo>
                <a:lnTo>
                  <a:pt x="96" y="6"/>
                </a:lnTo>
                <a:lnTo>
                  <a:pt x="92" y="4"/>
                </a:lnTo>
                <a:lnTo>
                  <a:pt x="88" y="2"/>
                </a:lnTo>
                <a:lnTo>
                  <a:pt x="88" y="2"/>
                </a:lnTo>
                <a:lnTo>
                  <a:pt x="88" y="0"/>
                </a:lnTo>
                <a:lnTo>
                  <a:pt x="86" y="0"/>
                </a:lnTo>
                <a:lnTo>
                  <a:pt x="80" y="0"/>
                </a:lnTo>
                <a:lnTo>
                  <a:pt x="80" y="0"/>
                </a:lnTo>
                <a:lnTo>
                  <a:pt x="70" y="4"/>
                </a:lnTo>
                <a:lnTo>
                  <a:pt x="64" y="6"/>
                </a:lnTo>
                <a:lnTo>
                  <a:pt x="60" y="10"/>
                </a:lnTo>
                <a:lnTo>
                  <a:pt x="60" y="10"/>
                </a:lnTo>
                <a:lnTo>
                  <a:pt x="56" y="12"/>
                </a:lnTo>
                <a:lnTo>
                  <a:pt x="50" y="12"/>
                </a:lnTo>
                <a:lnTo>
                  <a:pt x="50" y="12"/>
                </a:lnTo>
                <a:lnTo>
                  <a:pt x="42" y="10"/>
                </a:lnTo>
                <a:lnTo>
                  <a:pt x="36" y="10"/>
                </a:lnTo>
                <a:lnTo>
                  <a:pt x="36" y="10"/>
                </a:lnTo>
                <a:lnTo>
                  <a:pt x="30" y="10"/>
                </a:lnTo>
                <a:lnTo>
                  <a:pt x="24" y="10"/>
                </a:lnTo>
                <a:lnTo>
                  <a:pt x="24" y="10"/>
                </a:lnTo>
                <a:lnTo>
                  <a:pt x="18" y="8"/>
                </a:lnTo>
                <a:lnTo>
                  <a:pt x="14" y="8"/>
                </a:lnTo>
                <a:lnTo>
                  <a:pt x="14" y="8"/>
                </a:lnTo>
                <a:lnTo>
                  <a:pt x="10" y="8"/>
                </a:lnTo>
                <a:lnTo>
                  <a:pt x="8" y="4"/>
                </a:lnTo>
                <a:lnTo>
                  <a:pt x="8" y="4"/>
                </a:lnTo>
                <a:lnTo>
                  <a:pt x="8" y="4"/>
                </a:lnTo>
                <a:lnTo>
                  <a:pt x="4" y="2"/>
                </a:lnTo>
                <a:lnTo>
                  <a:pt x="4" y="2"/>
                </a:lnTo>
                <a:lnTo>
                  <a:pt x="2" y="4"/>
                </a:lnTo>
                <a:lnTo>
                  <a:pt x="0" y="6"/>
                </a:lnTo>
                <a:lnTo>
                  <a:pt x="2" y="10"/>
                </a:lnTo>
                <a:lnTo>
                  <a:pt x="2" y="10"/>
                </a:lnTo>
                <a:lnTo>
                  <a:pt x="4" y="16"/>
                </a:lnTo>
                <a:lnTo>
                  <a:pt x="6" y="20"/>
                </a:lnTo>
                <a:lnTo>
                  <a:pt x="6" y="20"/>
                </a:lnTo>
                <a:lnTo>
                  <a:pt x="8" y="24"/>
                </a:lnTo>
                <a:lnTo>
                  <a:pt x="6" y="26"/>
                </a:lnTo>
                <a:lnTo>
                  <a:pt x="6" y="26"/>
                </a:lnTo>
                <a:lnTo>
                  <a:pt x="4" y="28"/>
                </a:lnTo>
                <a:lnTo>
                  <a:pt x="6" y="30"/>
                </a:lnTo>
                <a:lnTo>
                  <a:pt x="6" y="32"/>
                </a:lnTo>
                <a:lnTo>
                  <a:pt x="6" y="34"/>
                </a:lnTo>
                <a:lnTo>
                  <a:pt x="6" y="34"/>
                </a:lnTo>
                <a:lnTo>
                  <a:pt x="4" y="36"/>
                </a:lnTo>
                <a:lnTo>
                  <a:pt x="6" y="38"/>
                </a:lnTo>
                <a:lnTo>
                  <a:pt x="10" y="40"/>
                </a:lnTo>
                <a:lnTo>
                  <a:pt x="10" y="40"/>
                </a:lnTo>
                <a:lnTo>
                  <a:pt x="18" y="46"/>
                </a:lnTo>
                <a:lnTo>
                  <a:pt x="20" y="52"/>
                </a:lnTo>
                <a:lnTo>
                  <a:pt x="20" y="56"/>
                </a:lnTo>
                <a:lnTo>
                  <a:pt x="20" y="56"/>
                </a:lnTo>
                <a:lnTo>
                  <a:pt x="28" y="56"/>
                </a:lnTo>
                <a:lnTo>
                  <a:pt x="32" y="56"/>
                </a:lnTo>
                <a:lnTo>
                  <a:pt x="34" y="56"/>
                </a:lnTo>
                <a:lnTo>
                  <a:pt x="34" y="56"/>
                </a:lnTo>
                <a:lnTo>
                  <a:pt x="38" y="52"/>
                </a:lnTo>
                <a:lnTo>
                  <a:pt x="40" y="52"/>
                </a:lnTo>
                <a:lnTo>
                  <a:pt x="42" y="54"/>
                </a:lnTo>
                <a:lnTo>
                  <a:pt x="42" y="54"/>
                </a:lnTo>
                <a:lnTo>
                  <a:pt x="46" y="54"/>
                </a:lnTo>
                <a:lnTo>
                  <a:pt x="50" y="54"/>
                </a:lnTo>
                <a:lnTo>
                  <a:pt x="50" y="54"/>
                </a:lnTo>
                <a:lnTo>
                  <a:pt x="54" y="56"/>
                </a:lnTo>
                <a:lnTo>
                  <a:pt x="56" y="56"/>
                </a:lnTo>
                <a:lnTo>
                  <a:pt x="56" y="56"/>
                </a:lnTo>
                <a:lnTo>
                  <a:pt x="62" y="56"/>
                </a:lnTo>
                <a:lnTo>
                  <a:pt x="64" y="56"/>
                </a:lnTo>
                <a:lnTo>
                  <a:pt x="64" y="56"/>
                </a:lnTo>
                <a:lnTo>
                  <a:pt x="64" y="56"/>
                </a:lnTo>
                <a:lnTo>
                  <a:pt x="66" y="54"/>
                </a:lnTo>
                <a:lnTo>
                  <a:pt x="70" y="56"/>
                </a:lnTo>
                <a:lnTo>
                  <a:pt x="74" y="56"/>
                </a:lnTo>
                <a:lnTo>
                  <a:pt x="74" y="54"/>
                </a:lnTo>
                <a:lnTo>
                  <a:pt x="74" y="54"/>
                </a:lnTo>
                <a:lnTo>
                  <a:pt x="74" y="54"/>
                </a:lnTo>
                <a:lnTo>
                  <a:pt x="74" y="50"/>
                </a:lnTo>
                <a:lnTo>
                  <a:pt x="78" y="52"/>
                </a:lnTo>
                <a:lnTo>
                  <a:pt x="78" y="52"/>
                </a:lnTo>
                <a:lnTo>
                  <a:pt x="80" y="48"/>
                </a:lnTo>
                <a:lnTo>
                  <a:pt x="84" y="48"/>
                </a:lnTo>
                <a:lnTo>
                  <a:pt x="84" y="48"/>
                </a:lnTo>
                <a:lnTo>
                  <a:pt x="88" y="44"/>
                </a:lnTo>
                <a:lnTo>
                  <a:pt x="92" y="44"/>
                </a:lnTo>
                <a:lnTo>
                  <a:pt x="94" y="44"/>
                </a:lnTo>
                <a:lnTo>
                  <a:pt x="94" y="44"/>
                </a:lnTo>
                <a:lnTo>
                  <a:pt x="102" y="46"/>
                </a:lnTo>
                <a:lnTo>
                  <a:pt x="112" y="46"/>
                </a:lnTo>
                <a:lnTo>
                  <a:pt x="112" y="46"/>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20" name="Cambodia"/>
          <p:cNvSpPr>
            <a:spLocks/>
          </p:cNvSpPr>
          <p:nvPr/>
        </p:nvSpPr>
        <p:spPr bwMode="auto">
          <a:xfrm>
            <a:off x="6781526" y="2333683"/>
            <a:ext cx="139008" cy="132015"/>
          </a:xfrm>
          <a:custGeom>
            <a:avLst/>
            <a:gdLst/>
            <a:ahLst/>
            <a:cxnLst>
              <a:cxn ang="0">
                <a:pos x="50" y="114"/>
              </a:cxn>
              <a:cxn ang="0">
                <a:pos x="46" y="116"/>
              </a:cxn>
              <a:cxn ang="0">
                <a:pos x="46" y="112"/>
              </a:cxn>
              <a:cxn ang="0">
                <a:pos x="42" y="106"/>
              </a:cxn>
              <a:cxn ang="0">
                <a:pos x="34" y="108"/>
              </a:cxn>
              <a:cxn ang="0">
                <a:pos x="32" y="108"/>
              </a:cxn>
              <a:cxn ang="0">
                <a:pos x="26" y="106"/>
              </a:cxn>
              <a:cxn ang="0">
                <a:pos x="28" y="102"/>
              </a:cxn>
              <a:cxn ang="0">
                <a:pos x="30" y="102"/>
              </a:cxn>
              <a:cxn ang="0">
                <a:pos x="32" y="96"/>
              </a:cxn>
              <a:cxn ang="0">
                <a:pos x="26" y="90"/>
              </a:cxn>
              <a:cxn ang="0">
                <a:pos x="24" y="92"/>
              </a:cxn>
              <a:cxn ang="0">
                <a:pos x="24" y="96"/>
              </a:cxn>
              <a:cxn ang="0">
                <a:pos x="22" y="98"/>
              </a:cxn>
              <a:cxn ang="0">
                <a:pos x="18" y="96"/>
              </a:cxn>
              <a:cxn ang="0">
                <a:pos x="18" y="88"/>
              </a:cxn>
              <a:cxn ang="0">
                <a:pos x="18" y="72"/>
              </a:cxn>
              <a:cxn ang="0">
                <a:pos x="10" y="60"/>
              </a:cxn>
              <a:cxn ang="0">
                <a:pos x="0" y="44"/>
              </a:cxn>
              <a:cxn ang="0">
                <a:pos x="0" y="40"/>
              </a:cxn>
              <a:cxn ang="0">
                <a:pos x="16" y="18"/>
              </a:cxn>
              <a:cxn ang="0">
                <a:pos x="20" y="16"/>
              </a:cxn>
              <a:cxn ang="0">
                <a:pos x="28" y="18"/>
              </a:cxn>
              <a:cxn ang="0">
                <a:pos x="30" y="16"/>
              </a:cxn>
              <a:cxn ang="0">
                <a:pos x="36" y="16"/>
              </a:cxn>
              <a:cxn ang="0">
                <a:pos x="40" y="16"/>
              </a:cxn>
              <a:cxn ang="0">
                <a:pos x="44" y="16"/>
              </a:cxn>
              <a:cxn ang="0">
                <a:pos x="52" y="16"/>
              </a:cxn>
              <a:cxn ang="0">
                <a:pos x="60" y="12"/>
              </a:cxn>
              <a:cxn ang="0">
                <a:pos x="78" y="16"/>
              </a:cxn>
              <a:cxn ang="0">
                <a:pos x="82" y="22"/>
              </a:cxn>
              <a:cxn ang="0">
                <a:pos x="84" y="20"/>
              </a:cxn>
              <a:cxn ang="0">
                <a:pos x="84" y="12"/>
              </a:cxn>
              <a:cxn ang="0">
                <a:pos x="84" y="2"/>
              </a:cxn>
              <a:cxn ang="0">
                <a:pos x="86" y="0"/>
              </a:cxn>
              <a:cxn ang="0">
                <a:pos x="92" y="2"/>
              </a:cxn>
              <a:cxn ang="0">
                <a:pos x="110" y="16"/>
              </a:cxn>
              <a:cxn ang="0">
                <a:pos x="122" y="22"/>
              </a:cxn>
              <a:cxn ang="0">
                <a:pos x="120" y="30"/>
              </a:cxn>
              <a:cxn ang="0">
                <a:pos x="114" y="50"/>
              </a:cxn>
              <a:cxn ang="0">
                <a:pos x="116" y="60"/>
              </a:cxn>
              <a:cxn ang="0">
                <a:pos x="122" y="66"/>
              </a:cxn>
              <a:cxn ang="0">
                <a:pos x="116" y="74"/>
              </a:cxn>
              <a:cxn ang="0">
                <a:pos x="110" y="74"/>
              </a:cxn>
              <a:cxn ang="0">
                <a:pos x="102" y="74"/>
              </a:cxn>
              <a:cxn ang="0">
                <a:pos x="94" y="82"/>
              </a:cxn>
              <a:cxn ang="0">
                <a:pos x="82" y="90"/>
              </a:cxn>
              <a:cxn ang="0">
                <a:pos x="76" y="90"/>
              </a:cxn>
              <a:cxn ang="0">
                <a:pos x="76" y="92"/>
              </a:cxn>
              <a:cxn ang="0">
                <a:pos x="82" y="98"/>
              </a:cxn>
              <a:cxn ang="0">
                <a:pos x="88" y="104"/>
              </a:cxn>
              <a:cxn ang="0">
                <a:pos x="88" y="106"/>
              </a:cxn>
              <a:cxn ang="0">
                <a:pos x="84" y="106"/>
              </a:cxn>
              <a:cxn ang="0">
                <a:pos x="78" y="100"/>
              </a:cxn>
              <a:cxn ang="0">
                <a:pos x="72" y="102"/>
              </a:cxn>
              <a:cxn ang="0">
                <a:pos x="62" y="106"/>
              </a:cxn>
              <a:cxn ang="0">
                <a:pos x="54" y="110"/>
              </a:cxn>
              <a:cxn ang="0">
                <a:pos x="50" y="114"/>
              </a:cxn>
            </a:cxnLst>
            <a:rect l="0" t="0" r="r" b="b"/>
            <a:pathLst>
              <a:path w="122" h="116">
                <a:moveTo>
                  <a:pt x="50" y="114"/>
                </a:moveTo>
                <a:lnTo>
                  <a:pt x="50" y="114"/>
                </a:lnTo>
                <a:lnTo>
                  <a:pt x="48" y="116"/>
                </a:lnTo>
                <a:lnTo>
                  <a:pt x="46" y="116"/>
                </a:lnTo>
                <a:lnTo>
                  <a:pt x="46" y="112"/>
                </a:lnTo>
                <a:lnTo>
                  <a:pt x="46" y="112"/>
                </a:lnTo>
                <a:lnTo>
                  <a:pt x="44" y="108"/>
                </a:lnTo>
                <a:lnTo>
                  <a:pt x="42" y="106"/>
                </a:lnTo>
                <a:lnTo>
                  <a:pt x="38" y="106"/>
                </a:lnTo>
                <a:lnTo>
                  <a:pt x="34" y="108"/>
                </a:lnTo>
                <a:lnTo>
                  <a:pt x="34" y="108"/>
                </a:lnTo>
                <a:lnTo>
                  <a:pt x="32" y="108"/>
                </a:lnTo>
                <a:lnTo>
                  <a:pt x="30" y="108"/>
                </a:lnTo>
                <a:lnTo>
                  <a:pt x="26" y="106"/>
                </a:lnTo>
                <a:lnTo>
                  <a:pt x="26" y="102"/>
                </a:lnTo>
                <a:lnTo>
                  <a:pt x="28" y="102"/>
                </a:lnTo>
                <a:lnTo>
                  <a:pt x="30" y="102"/>
                </a:lnTo>
                <a:lnTo>
                  <a:pt x="30" y="102"/>
                </a:lnTo>
                <a:lnTo>
                  <a:pt x="32" y="100"/>
                </a:lnTo>
                <a:lnTo>
                  <a:pt x="32" y="96"/>
                </a:lnTo>
                <a:lnTo>
                  <a:pt x="30" y="92"/>
                </a:lnTo>
                <a:lnTo>
                  <a:pt x="26" y="90"/>
                </a:lnTo>
                <a:lnTo>
                  <a:pt x="26" y="90"/>
                </a:lnTo>
                <a:lnTo>
                  <a:pt x="24" y="92"/>
                </a:lnTo>
                <a:lnTo>
                  <a:pt x="24" y="94"/>
                </a:lnTo>
                <a:lnTo>
                  <a:pt x="24" y="96"/>
                </a:lnTo>
                <a:lnTo>
                  <a:pt x="22" y="98"/>
                </a:lnTo>
                <a:lnTo>
                  <a:pt x="22" y="98"/>
                </a:lnTo>
                <a:lnTo>
                  <a:pt x="18" y="98"/>
                </a:lnTo>
                <a:lnTo>
                  <a:pt x="18" y="96"/>
                </a:lnTo>
                <a:lnTo>
                  <a:pt x="18" y="88"/>
                </a:lnTo>
                <a:lnTo>
                  <a:pt x="18" y="88"/>
                </a:lnTo>
                <a:lnTo>
                  <a:pt x="20" y="80"/>
                </a:lnTo>
                <a:lnTo>
                  <a:pt x="18" y="72"/>
                </a:lnTo>
                <a:lnTo>
                  <a:pt x="16" y="66"/>
                </a:lnTo>
                <a:lnTo>
                  <a:pt x="10" y="60"/>
                </a:lnTo>
                <a:lnTo>
                  <a:pt x="2" y="50"/>
                </a:lnTo>
                <a:lnTo>
                  <a:pt x="0" y="44"/>
                </a:lnTo>
                <a:lnTo>
                  <a:pt x="0" y="40"/>
                </a:lnTo>
                <a:lnTo>
                  <a:pt x="0" y="40"/>
                </a:lnTo>
                <a:lnTo>
                  <a:pt x="10" y="28"/>
                </a:lnTo>
                <a:lnTo>
                  <a:pt x="16" y="18"/>
                </a:lnTo>
                <a:lnTo>
                  <a:pt x="16" y="18"/>
                </a:lnTo>
                <a:lnTo>
                  <a:pt x="20" y="16"/>
                </a:lnTo>
                <a:lnTo>
                  <a:pt x="24" y="16"/>
                </a:lnTo>
                <a:lnTo>
                  <a:pt x="28" y="18"/>
                </a:lnTo>
                <a:lnTo>
                  <a:pt x="30" y="16"/>
                </a:lnTo>
                <a:lnTo>
                  <a:pt x="30" y="16"/>
                </a:lnTo>
                <a:lnTo>
                  <a:pt x="34" y="16"/>
                </a:lnTo>
                <a:lnTo>
                  <a:pt x="36" y="16"/>
                </a:lnTo>
                <a:lnTo>
                  <a:pt x="38" y="18"/>
                </a:lnTo>
                <a:lnTo>
                  <a:pt x="40" y="16"/>
                </a:lnTo>
                <a:lnTo>
                  <a:pt x="40" y="16"/>
                </a:lnTo>
                <a:lnTo>
                  <a:pt x="44" y="16"/>
                </a:lnTo>
                <a:lnTo>
                  <a:pt x="46" y="16"/>
                </a:lnTo>
                <a:lnTo>
                  <a:pt x="52" y="16"/>
                </a:lnTo>
                <a:lnTo>
                  <a:pt x="60" y="12"/>
                </a:lnTo>
                <a:lnTo>
                  <a:pt x="60" y="12"/>
                </a:lnTo>
                <a:lnTo>
                  <a:pt x="74" y="14"/>
                </a:lnTo>
                <a:lnTo>
                  <a:pt x="78" y="16"/>
                </a:lnTo>
                <a:lnTo>
                  <a:pt x="80" y="20"/>
                </a:lnTo>
                <a:lnTo>
                  <a:pt x="82" y="22"/>
                </a:lnTo>
                <a:lnTo>
                  <a:pt x="82" y="22"/>
                </a:lnTo>
                <a:lnTo>
                  <a:pt x="84" y="20"/>
                </a:lnTo>
                <a:lnTo>
                  <a:pt x="84" y="18"/>
                </a:lnTo>
                <a:lnTo>
                  <a:pt x="84" y="12"/>
                </a:lnTo>
                <a:lnTo>
                  <a:pt x="82" y="6"/>
                </a:lnTo>
                <a:lnTo>
                  <a:pt x="84" y="2"/>
                </a:lnTo>
                <a:lnTo>
                  <a:pt x="86" y="0"/>
                </a:lnTo>
                <a:lnTo>
                  <a:pt x="86" y="0"/>
                </a:lnTo>
                <a:lnTo>
                  <a:pt x="88" y="0"/>
                </a:lnTo>
                <a:lnTo>
                  <a:pt x="92" y="2"/>
                </a:lnTo>
                <a:lnTo>
                  <a:pt x="100" y="8"/>
                </a:lnTo>
                <a:lnTo>
                  <a:pt x="110" y="16"/>
                </a:lnTo>
                <a:lnTo>
                  <a:pt x="116" y="20"/>
                </a:lnTo>
                <a:lnTo>
                  <a:pt x="122" y="22"/>
                </a:lnTo>
                <a:lnTo>
                  <a:pt x="122" y="22"/>
                </a:lnTo>
                <a:lnTo>
                  <a:pt x="120" y="30"/>
                </a:lnTo>
                <a:lnTo>
                  <a:pt x="116" y="40"/>
                </a:lnTo>
                <a:lnTo>
                  <a:pt x="114" y="50"/>
                </a:lnTo>
                <a:lnTo>
                  <a:pt x="114" y="56"/>
                </a:lnTo>
                <a:lnTo>
                  <a:pt x="116" y="60"/>
                </a:lnTo>
                <a:lnTo>
                  <a:pt x="116" y="60"/>
                </a:lnTo>
                <a:lnTo>
                  <a:pt x="122" y="66"/>
                </a:lnTo>
                <a:lnTo>
                  <a:pt x="120" y="72"/>
                </a:lnTo>
                <a:lnTo>
                  <a:pt x="116" y="74"/>
                </a:lnTo>
                <a:lnTo>
                  <a:pt x="110" y="74"/>
                </a:lnTo>
                <a:lnTo>
                  <a:pt x="110" y="74"/>
                </a:lnTo>
                <a:lnTo>
                  <a:pt x="106" y="72"/>
                </a:lnTo>
                <a:lnTo>
                  <a:pt x="102" y="74"/>
                </a:lnTo>
                <a:lnTo>
                  <a:pt x="94" y="82"/>
                </a:lnTo>
                <a:lnTo>
                  <a:pt x="94" y="82"/>
                </a:lnTo>
                <a:lnTo>
                  <a:pt x="86" y="88"/>
                </a:lnTo>
                <a:lnTo>
                  <a:pt x="82" y="90"/>
                </a:lnTo>
                <a:lnTo>
                  <a:pt x="80" y="88"/>
                </a:lnTo>
                <a:lnTo>
                  <a:pt x="76" y="90"/>
                </a:lnTo>
                <a:lnTo>
                  <a:pt x="76" y="90"/>
                </a:lnTo>
                <a:lnTo>
                  <a:pt x="76" y="92"/>
                </a:lnTo>
                <a:lnTo>
                  <a:pt x="78" y="94"/>
                </a:lnTo>
                <a:lnTo>
                  <a:pt x="82" y="98"/>
                </a:lnTo>
                <a:lnTo>
                  <a:pt x="88" y="102"/>
                </a:lnTo>
                <a:lnTo>
                  <a:pt x="88" y="104"/>
                </a:lnTo>
                <a:lnTo>
                  <a:pt x="88" y="106"/>
                </a:lnTo>
                <a:lnTo>
                  <a:pt x="88" y="106"/>
                </a:lnTo>
                <a:lnTo>
                  <a:pt x="86" y="106"/>
                </a:lnTo>
                <a:lnTo>
                  <a:pt x="84" y="106"/>
                </a:lnTo>
                <a:lnTo>
                  <a:pt x="82" y="102"/>
                </a:lnTo>
                <a:lnTo>
                  <a:pt x="78" y="100"/>
                </a:lnTo>
                <a:lnTo>
                  <a:pt x="74" y="100"/>
                </a:lnTo>
                <a:lnTo>
                  <a:pt x="72" y="102"/>
                </a:lnTo>
                <a:lnTo>
                  <a:pt x="72" y="102"/>
                </a:lnTo>
                <a:lnTo>
                  <a:pt x="62" y="106"/>
                </a:lnTo>
                <a:lnTo>
                  <a:pt x="56" y="108"/>
                </a:lnTo>
                <a:lnTo>
                  <a:pt x="54" y="110"/>
                </a:lnTo>
                <a:lnTo>
                  <a:pt x="50" y="114"/>
                </a:lnTo>
                <a:lnTo>
                  <a:pt x="50" y="114"/>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grpSp>
        <p:nvGrpSpPr>
          <p:cNvPr id="5" name="Canada"/>
          <p:cNvGrpSpPr/>
          <p:nvPr/>
        </p:nvGrpSpPr>
        <p:grpSpPr>
          <a:xfrm>
            <a:off x="1679238" y="879239"/>
            <a:ext cx="1766090" cy="719256"/>
            <a:chOff x="2238400" y="1172318"/>
            <a:chExt cx="2354173" cy="959008"/>
          </a:xfrm>
        </p:grpSpPr>
        <p:grpSp>
          <p:nvGrpSpPr>
            <p:cNvPr id="4" name="Group 3"/>
            <p:cNvGrpSpPr/>
            <p:nvPr/>
          </p:nvGrpSpPr>
          <p:grpSpPr>
            <a:xfrm>
              <a:off x="3043375" y="1172318"/>
              <a:ext cx="1549198" cy="834579"/>
              <a:chOff x="3043375" y="1172318"/>
              <a:chExt cx="1549198" cy="834579"/>
            </a:xfrm>
          </p:grpSpPr>
          <p:grpSp>
            <p:nvGrpSpPr>
              <p:cNvPr id="3" name="Group 2"/>
              <p:cNvGrpSpPr/>
              <p:nvPr/>
            </p:nvGrpSpPr>
            <p:grpSpPr>
              <a:xfrm>
                <a:off x="3994157" y="1824807"/>
                <a:ext cx="328066" cy="182090"/>
                <a:chOff x="3994157" y="1824807"/>
                <a:chExt cx="328066" cy="182090"/>
              </a:xfrm>
            </p:grpSpPr>
            <p:sp>
              <p:nvSpPr>
                <p:cNvPr id="831" name="Freeform 106"/>
                <p:cNvSpPr>
                  <a:spLocks/>
                </p:cNvSpPr>
                <p:nvPr/>
              </p:nvSpPr>
              <p:spPr bwMode="auto">
                <a:xfrm>
                  <a:off x="3994157" y="1967444"/>
                  <a:ext cx="54678" cy="27314"/>
                </a:xfrm>
                <a:custGeom>
                  <a:avLst/>
                  <a:gdLst/>
                  <a:ahLst/>
                  <a:cxnLst>
                    <a:cxn ang="0">
                      <a:pos x="0" y="8"/>
                    </a:cxn>
                    <a:cxn ang="0">
                      <a:pos x="0" y="8"/>
                    </a:cxn>
                    <a:cxn ang="0">
                      <a:pos x="0" y="0"/>
                    </a:cxn>
                    <a:cxn ang="0">
                      <a:pos x="2" y="0"/>
                    </a:cxn>
                    <a:cxn ang="0">
                      <a:pos x="4" y="2"/>
                    </a:cxn>
                    <a:cxn ang="0">
                      <a:pos x="4" y="2"/>
                    </a:cxn>
                    <a:cxn ang="0">
                      <a:pos x="6" y="4"/>
                    </a:cxn>
                    <a:cxn ang="0">
                      <a:pos x="10" y="4"/>
                    </a:cxn>
                    <a:cxn ang="0">
                      <a:pos x="12" y="6"/>
                    </a:cxn>
                    <a:cxn ang="0">
                      <a:pos x="12" y="8"/>
                    </a:cxn>
                    <a:cxn ang="0">
                      <a:pos x="12" y="8"/>
                    </a:cxn>
                    <a:cxn ang="0">
                      <a:pos x="12" y="8"/>
                    </a:cxn>
                    <a:cxn ang="0">
                      <a:pos x="14" y="8"/>
                    </a:cxn>
                    <a:cxn ang="0">
                      <a:pos x="18" y="8"/>
                    </a:cxn>
                    <a:cxn ang="0">
                      <a:pos x="18" y="8"/>
                    </a:cxn>
                    <a:cxn ang="0">
                      <a:pos x="22" y="10"/>
                    </a:cxn>
                    <a:cxn ang="0">
                      <a:pos x="28" y="10"/>
                    </a:cxn>
                    <a:cxn ang="0">
                      <a:pos x="28" y="10"/>
                    </a:cxn>
                    <a:cxn ang="0">
                      <a:pos x="36" y="8"/>
                    </a:cxn>
                    <a:cxn ang="0">
                      <a:pos x="36" y="8"/>
                    </a:cxn>
                    <a:cxn ang="0">
                      <a:pos x="36" y="10"/>
                    </a:cxn>
                    <a:cxn ang="0">
                      <a:pos x="36" y="10"/>
                    </a:cxn>
                    <a:cxn ang="0">
                      <a:pos x="32" y="12"/>
                    </a:cxn>
                    <a:cxn ang="0">
                      <a:pos x="30" y="14"/>
                    </a:cxn>
                    <a:cxn ang="0">
                      <a:pos x="30" y="14"/>
                    </a:cxn>
                    <a:cxn ang="0">
                      <a:pos x="28" y="14"/>
                    </a:cxn>
                    <a:cxn ang="0">
                      <a:pos x="30" y="14"/>
                    </a:cxn>
                    <a:cxn ang="0">
                      <a:pos x="32" y="16"/>
                    </a:cxn>
                    <a:cxn ang="0">
                      <a:pos x="30" y="18"/>
                    </a:cxn>
                    <a:cxn ang="0">
                      <a:pos x="30" y="18"/>
                    </a:cxn>
                    <a:cxn ang="0">
                      <a:pos x="26" y="18"/>
                    </a:cxn>
                    <a:cxn ang="0">
                      <a:pos x="26" y="18"/>
                    </a:cxn>
                    <a:cxn ang="0">
                      <a:pos x="24" y="16"/>
                    </a:cxn>
                    <a:cxn ang="0">
                      <a:pos x="24" y="16"/>
                    </a:cxn>
                    <a:cxn ang="0">
                      <a:pos x="24" y="16"/>
                    </a:cxn>
                    <a:cxn ang="0">
                      <a:pos x="20" y="14"/>
                    </a:cxn>
                    <a:cxn ang="0">
                      <a:pos x="18" y="14"/>
                    </a:cxn>
                    <a:cxn ang="0">
                      <a:pos x="18" y="14"/>
                    </a:cxn>
                    <a:cxn ang="0">
                      <a:pos x="18" y="14"/>
                    </a:cxn>
                    <a:cxn ang="0">
                      <a:pos x="18" y="16"/>
                    </a:cxn>
                    <a:cxn ang="0">
                      <a:pos x="16" y="16"/>
                    </a:cxn>
                    <a:cxn ang="0">
                      <a:pos x="16" y="16"/>
                    </a:cxn>
                    <a:cxn ang="0">
                      <a:pos x="10" y="14"/>
                    </a:cxn>
                    <a:cxn ang="0">
                      <a:pos x="10" y="14"/>
                    </a:cxn>
                    <a:cxn ang="0">
                      <a:pos x="10" y="14"/>
                    </a:cxn>
                    <a:cxn ang="0">
                      <a:pos x="10" y="14"/>
                    </a:cxn>
                    <a:cxn ang="0">
                      <a:pos x="10" y="12"/>
                    </a:cxn>
                    <a:cxn ang="0">
                      <a:pos x="8" y="12"/>
                    </a:cxn>
                    <a:cxn ang="0">
                      <a:pos x="8" y="12"/>
                    </a:cxn>
                    <a:cxn ang="0">
                      <a:pos x="4" y="12"/>
                    </a:cxn>
                    <a:cxn ang="0">
                      <a:pos x="4" y="10"/>
                    </a:cxn>
                    <a:cxn ang="0">
                      <a:pos x="4" y="10"/>
                    </a:cxn>
                    <a:cxn ang="0">
                      <a:pos x="4" y="8"/>
                    </a:cxn>
                    <a:cxn ang="0">
                      <a:pos x="4" y="8"/>
                    </a:cxn>
                    <a:cxn ang="0">
                      <a:pos x="4" y="8"/>
                    </a:cxn>
                    <a:cxn ang="0">
                      <a:pos x="2" y="10"/>
                    </a:cxn>
                    <a:cxn ang="0">
                      <a:pos x="0" y="8"/>
                    </a:cxn>
                    <a:cxn ang="0">
                      <a:pos x="0" y="8"/>
                    </a:cxn>
                  </a:cxnLst>
                  <a:rect l="0" t="0" r="r" b="b"/>
                  <a:pathLst>
                    <a:path w="36" h="18">
                      <a:moveTo>
                        <a:pt x="0" y="8"/>
                      </a:moveTo>
                      <a:lnTo>
                        <a:pt x="0" y="8"/>
                      </a:lnTo>
                      <a:lnTo>
                        <a:pt x="0" y="0"/>
                      </a:lnTo>
                      <a:lnTo>
                        <a:pt x="2" y="0"/>
                      </a:lnTo>
                      <a:lnTo>
                        <a:pt x="4" y="2"/>
                      </a:lnTo>
                      <a:lnTo>
                        <a:pt x="4" y="2"/>
                      </a:lnTo>
                      <a:lnTo>
                        <a:pt x="6" y="4"/>
                      </a:lnTo>
                      <a:lnTo>
                        <a:pt x="10" y="4"/>
                      </a:lnTo>
                      <a:lnTo>
                        <a:pt x="12" y="6"/>
                      </a:lnTo>
                      <a:lnTo>
                        <a:pt x="12" y="8"/>
                      </a:lnTo>
                      <a:lnTo>
                        <a:pt x="12" y="8"/>
                      </a:lnTo>
                      <a:lnTo>
                        <a:pt x="12" y="8"/>
                      </a:lnTo>
                      <a:lnTo>
                        <a:pt x="14" y="8"/>
                      </a:lnTo>
                      <a:lnTo>
                        <a:pt x="18" y="8"/>
                      </a:lnTo>
                      <a:lnTo>
                        <a:pt x="18" y="8"/>
                      </a:lnTo>
                      <a:lnTo>
                        <a:pt x="22" y="10"/>
                      </a:lnTo>
                      <a:lnTo>
                        <a:pt x="28" y="10"/>
                      </a:lnTo>
                      <a:lnTo>
                        <a:pt x="28" y="10"/>
                      </a:lnTo>
                      <a:lnTo>
                        <a:pt x="36" y="8"/>
                      </a:lnTo>
                      <a:lnTo>
                        <a:pt x="36" y="8"/>
                      </a:lnTo>
                      <a:lnTo>
                        <a:pt x="36" y="10"/>
                      </a:lnTo>
                      <a:lnTo>
                        <a:pt x="36" y="10"/>
                      </a:lnTo>
                      <a:lnTo>
                        <a:pt x="32" y="12"/>
                      </a:lnTo>
                      <a:lnTo>
                        <a:pt x="30" y="14"/>
                      </a:lnTo>
                      <a:lnTo>
                        <a:pt x="30" y="14"/>
                      </a:lnTo>
                      <a:lnTo>
                        <a:pt x="28" y="14"/>
                      </a:lnTo>
                      <a:lnTo>
                        <a:pt x="30" y="14"/>
                      </a:lnTo>
                      <a:lnTo>
                        <a:pt x="32" y="16"/>
                      </a:lnTo>
                      <a:lnTo>
                        <a:pt x="30" y="18"/>
                      </a:lnTo>
                      <a:lnTo>
                        <a:pt x="30" y="18"/>
                      </a:lnTo>
                      <a:lnTo>
                        <a:pt x="26" y="18"/>
                      </a:lnTo>
                      <a:lnTo>
                        <a:pt x="26" y="18"/>
                      </a:lnTo>
                      <a:lnTo>
                        <a:pt x="24" y="16"/>
                      </a:lnTo>
                      <a:lnTo>
                        <a:pt x="24" y="16"/>
                      </a:lnTo>
                      <a:lnTo>
                        <a:pt x="24" y="16"/>
                      </a:lnTo>
                      <a:lnTo>
                        <a:pt x="20" y="14"/>
                      </a:lnTo>
                      <a:lnTo>
                        <a:pt x="18" y="14"/>
                      </a:lnTo>
                      <a:lnTo>
                        <a:pt x="18" y="14"/>
                      </a:lnTo>
                      <a:lnTo>
                        <a:pt x="18" y="14"/>
                      </a:lnTo>
                      <a:lnTo>
                        <a:pt x="18" y="16"/>
                      </a:lnTo>
                      <a:lnTo>
                        <a:pt x="16" y="16"/>
                      </a:lnTo>
                      <a:lnTo>
                        <a:pt x="16" y="16"/>
                      </a:lnTo>
                      <a:lnTo>
                        <a:pt x="10" y="14"/>
                      </a:lnTo>
                      <a:lnTo>
                        <a:pt x="10" y="14"/>
                      </a:lnTo>
                      <a:lnTo>
                        <a:pt x="10" y="14"/>
                      </a:lnTo>
                      <a:lnTo>
                        <a:pt x="10" y="14"/>
                      </a:lnTo>
                      <a:lnTo>
                        <a:pt x="10" y="12"/>
                      </a:lnTo>
                      <a:lnTo>
                        <a:pt x="8" y="12"/>
                      </a:lnTo>
                      <a:lnTo>
                        <a:pt x="8" y="12"/>
                      </a:lnTo>
                      <a:lnTo>
                        <a:pt x="4" y="12"/>
                      </a:lnTo>
                      <a:lnTo>
                        <a:pt x="4" y="10"/>
                      </a:lnTo>
                      <a:lnTo>
                        <a:pt x="4" y="10"/>
                      </a:lnTo>
                      <a:lnTo>
                        <a:pt x="4" y="8"/>
                      </a:lnTo>
                      <a:lnTo>
                        <a:pt x="4" y="8"/>
                      </a:lnTo>
                      <a:lnTo>
                        <a:pt x="4" y="8"/>
                      </a:lnTo>
                      <a:lnTo>
                        <a:pt x="2" y="10"/>
                      </a:lnTo>
                      <a:lnTo>
                        <a:pt x="0" y="8"/>
                      </a:lnTo>
                      <a:lnTo>
                        <a:pt x="0" y="8"/>
                      </a:lnTo>
                      <a:close/>
                    </a:path>
                  </a:pathLst>
                </a:custGeom>
                <a:solidFill>
                  <a:schemeClr val="tx1">
                    <a:alpha val="9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2" name="Freeform 107"/>
                <p:cNvSpPr>
                  <a:spLocks/>
                </p:cNvSpPr>
                <p:nvPr/>
              </p:nvSpPr>
              <p:spPr bwMode="auto">
                <a:xfrm>
                  <a:off x="4067060" y="1973514"/>
                  <a:ext cx="42527" cy="33383"/>
                </a:xfrm>
                <a:custGeom>
                  <a:avLst/>
                  <a:gdLst/>
                  <a:ahLst/>
                  <a:cxnLst>
                    <a:cxn ang="0">
                      <a:pos x="0" y="20"/>
                    </a:cxn>
                    <a:cxn ang="0">
                      <a:pos x="0" y="20"/>
                    </a:cxn>
                    <a:cxn ang="0">
                      <a:pos x="0" y="14"/>
                    </a:cxn>
                    <a:cxn ang="0">
                      <a:pos x="4" y="12"/>
                    </a:cxn>
                    <a:cxn ang="0">
                      <a:pos x="4" y="12"/>
                    </a:cxn>
                    <a:cxn ang="0">
                      <a:pos x="12" y="6"/>
                    </a:cxn>
                    <a:cxn ang="0">
                      <a:pos x="18" y="0"/>
                    </a:cxn>
                    <a:cxn ang="0">
                      <a:pos x="18" y="0"/>
                    </a:cxn>
                    <a:cxn ang="0">
                      <a:pos x="20" y="0"/>
                    </a:cxn>
                    <a:cxn ang="0">
                      <a:pos x="20" y="2"/>
                    </a:cxn>
                    <a:cxn ang="0">
                      <a:pos x="20" y="4"/>
                    </a:cxn>
                    <a:cxn ang="0">
                      <a:pos x="20" y="4"/>
                    </a:cxn>
                    <a:cxn ang="0">
                      <a:pos x="22" y="6"/>
                    </a:cxn>
                    <a:cxn ang="0">
                      <a:pos x="20" y="8"/>
                    </a:cxn>
                    <a:cxn ang="0">
                      <a:pos x="18" y="10"/>
                    </a:cxn>
                    <a:cxn ang="0">
                      <a:pos x="18" y="10"/>
                    </a:cxn>
                    <a:cxn ang="0">
                      <a:pos x="24" y="10"/>
                    </a:cxn>
                    <a:cxn ang="0">
                      <a:pos x="26" y="10"/>
                    </a:cxn>
                    <a:cxn ang="0">
                      <a:pos x="26" y="12"/>
                    </a:cxn>
                    <a:cxn ang="0">
                      <a:pos x="26" y="12"/>
                    </a:cxn>
                    <a:cxn ang="0">
                      <a:pos x="26" y="12"/>
                    </a:cxn>
                    <a:cxn ang="0">
                      <a:pos x="26" y="14"/>
                    </a:cxn>
                    <a:cxn ang="0">
                      <a:pos x="28" y="16"/>
                    </a:cxn>
                    <a:cxn ang="0">
                      <a:pos x="26" y="16"/>
                    </a:cxn>
                    <a:cxn ang="0">
                      <a:pos x="26" y="16"/>
                    </a:cxn>
                    <a:cxn ang="0">
                      <a:pos x="20" y="18"/>
                    </a:cxn>
                    <a:cxn ang="0">
                      <a:pos x="16" y="20"/>
                    </a:cxn>
                    <a:cxn ang="0">
                      <a:pos x="16" y="20"/>
                    </a:cxn>
                    <a:cxn ang="0">
                      <a:pos x="12" y="20"/>
                    </a:cxn>
                    <a:cxn ang="0">
                      <a:pos x="8" y="22"/>
                    </a:cxn>
                    <a:cxn ang="0">
                      <a:pos x="8" y="22"/>
                    </a:cxn>
                    <a:cxn ang="0">
                      <a:pos x="4" y="22"/>
                    </a:cxn>
                    <a:cxn ang="0">
                      <a:pos x="2" y="22"/>
                    </a:cxn>
                    <a:cxn ang="0">
                      <a:pos x="0" y="20"/>
                    </a:cxn>
                    <a:cxn ang="0">
                      <a:pos x="0" y="20"/>
                    </a:cxn>
                  </a:cxnLst>
                  <a:rect l="0" t="0" r="r" b="b"/>
                  <a:pathLst>
                    <a:path w="28" h="22">
                      <a:moveTo>
                        <a:pt x="0" y="20"/>
                      </a:moveTo>
                      <a:lnTo>
                        <a:pt x="0" y="20"/>
                      </a:lnTo>
                      <a:lnTo>
                        <a:pt x="0" y="14"/>
                      </a:lnTo>
                      <a:lnTo>
                        <a:pt x="4" y="12"/>
                      </a:lnTo>
                      <a:lnTo>
                        <a:pt x="4" y="12"/>
                      </a:lnTo>
                      <a:lnTo>
                        <a:pt x="12" y="6"/>
                      </a:lnTo>
                      <a:lnTo>
                        <a:pt x="18" y="0"/>
                      </a:lnTo>
                      <a:lnTo>
                        <a:pt x="18" y="0"/>
                      </a:lnTo>
                      <a:lnTo>
                        <a:pt x="20" y="0"/>
                      </a:lnTo>
                      <a:lnTo>
                        <a:pt x="20" y="2"/>
                      </a:lnTo>
                      <a:lnTo>
                        <a:pt x="20" y="4"/>
                      </a:lnTo>
                      <a:lnTo>
                        <a:pt x="20" y="4"/>
                      </a:lnTo>
                      <a:lnTo>
                        <a:pt x="22" y="6"/>
                      </a:lnTo>
                      <a:lnTo>
                        <a:pt x="20" y="8"/>
                      </a:lnTo>
                      <a:lnTo>
                        <a:pt x="18" y="10"/>
                      </a:lnTo>
                      <a:lnTo>
                        <a:pt x="18" y="10"/>
                      </a:lnTo>
                      <a:lnTo>
                        <a:pt x="24" y="10"/>
                      </a:lnTo>
                      <a:lnTo>
                        <a:pt x="26" y="10"/>
                      </a:lnTo>
                      <a:lnTo>
                        <a:pt x="26" y="12"/>
                      </a:lnTo>
                      <a:lnTo>
                        <a:pt x="26" y="12"/>
                      </a:lnTo>
                      <a:lnTo>
                        <a:pt x="26" y="12"/>
                      </a:lnTo>
                      <a:lnTo>
                        <a:pt x="26" y="14"/>
                      </a:lnTo>
                      <a:lnTo>
                        <a:pt x="28" y="16"/>
                      </a:lnTo>
                      <a:lnTo>
                        <a:pt x="26" y="16"/>
                      </a:lnTo>
                      <a:lnTo>
                        <a:pt x="26" y="16"/>
                      </a:lnTo>
                      <a:lnTo>
                        <a:pt x="20" y="18"/>
                      </a:lnTo>
                      <a:lnTo>
                        <a:pt x="16" y="20"/>
                      </a:lnTo>
                      <a:lnTo>
                        <a:pt x="16" y="20"/>
                      </a:lnTo>
                      <a:lnTo>
                        <a:pt x="12" y="20"/>
                      </a:lnTo>
                      <a:lnTo>
                        <a:pt x="8" y="22"/>
                      </a:lnTo>
                      <a:lnTo>
                        <a:pt x="8" y="22"/>
                      </a:lnTo>
                      <a:lnTo>
                        <a:pt x="4" y="22"/>
                      </a:lnTo>
                      <a:lnTo>
                        <a:pt x="2" y="22"/>
                      </a:lnTo>
                      <a:lnTo>
                        <a:pt x="0" y="20"/>
                      </a:lnTo>
                      <a:lnTo>
                        <a:pt x="0" y="20"/>
                      </a:lnTo>
                      <a:close/>
                    </a:path>
                  </a:pathLst>
                </a:custGeom>
                <a:solidFill>
                  <a:schemeClr val="tx1">
                    <a:alpha val="9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3" name="Freeform 108"/>
                <p:cNvSpPr>
                  <a:spLocks/>
                </p:cNvSpPr>
                <p:nvPr/>
              </p:nvSpPr>
              <p:spPr bwMode="auto">
                <a:xfrm>
                  <a:off x="4139964" y="1824807"/>
                  <a:ext cx="182259" cy="142637"/>
                </a:xfrm>
                <a:custGeom>
                  <a:avLst/>
                  <a:gdLst/>
                  <a:ahLst/>
                  <a:cxnLst>
                    <a:cxn ang="0">
                      <a:pos x="70" y="12"/>
                    </a:cxn>
                    <a:cxn ang="0">
                      <a:pos x="70" y="10"/>
                    </a:cxn>
                    <a:cxn ang="0">
                      <a:pos x="82" y="2"/>
                    </a:cxn>
                    <a:cxn ang="0">
                      <a:pos x="90" y="0"/>
                    </a:cxn>
                    <a:cxn ang="0">
                      <a:pos x="92" y="2"/>
                    </a:cxn>
                    <a:cxn ang="0">
                      <a:pos x="96" y="4"/>
                    </a:cxn>
                    <a:cxn ang="0">
                      <a:pos x="90" y="8"/>
                    </a:cxn>
                    <a:cxn ang="0">
                      <a:pos x="94" y="8"/>
                    </a:cxn>
                    <a:cxn ang="0">
                      <a:pos x="92" y="14"/>
                    </a:cxn>
                    <a:cxn ang="0">
                      <a:pos x="84" y="20"/>
                    </a:cxn>
                    <a:cxn ang="0">
                      <a:pos x="80" y="22"/>
                    </a:cxn>
                    <a:cxn ang="0">
                      <a:pos x="76" y="24"/>
                    </a:cxn>
                    <a:cxn ang="0">
                      <a:pos x="68" y="30"/>
                    </a:cxn>
                    <a:cxn ang="0">
                      <a:pos x="72" y="30"/>
                    </a:cxn>
                    <a:cxn ang="0">
                      <a:pos x="80" y="28"/>
                    </a:cxn>
                    <a:cxn ang="0">
                      <a:pos x="82" y="30"/>
                    </a:cxn>
                    <a:cxn ang="0">
                      <a:pos x="88" y="30"/>
                    </a:cxn>
                    <a:cxn ang="0">
                      <a:pos x="74" y="36"/>
                    </a:cxn>
                    <a:cxn ang="0">
                      <a:pos x="82" y="36"/>
                    </a:cxn>
                    <a:cxn ang="0">
                      <a:pos x="86" y="38"/>
                    </a:cxn>
                    <a:cxn ang="0">
                      <a:pos x="88" y="42"/>
                    </a:cxn>
                    <a:cxn ang="0">
                      <a:pos x="90" y="46"/>
                    </a:cxn>
                    <a:cxn ang="0">
                      <a:pos x="100" y="44"/>
                    </a:cxn>
                    <a:cxn ang="0">
                      <a:pos x="114" y="44"/>
                    </a:cxn>
                    <a:cxn ang="0">
                      <a:pos x="116" y="50"/>
                    </a:cxn>
                    <a:cxn ang="0">
                      <a:pos x="110" y="52"/>
                    </a:cxn>
                    <a:cxn ang="0">
                      <a:pos x="104" y="56"/>
                    </a:cxn>
                    <a:cxn ang="0">
                      <a:pos x="114" y="56"/>
                    </a:cxn>
                    <a:cxn ang="0">
                      <a:pos x="120" y="58"/>
                    </a:cxn>
                    <a:cxn ang="0">
                      <a:pos x="116" y="62"/>
                    </a:cxn>
                    <a:cxn ang="0">
                      <a:pos x="110" y="66"/>
                    </a:cxn>
                    <a:cxn ang="0">
                      <a:pos x="114" y="68"/>
                    </a:cxn>
                    <a:cxn ang="0">
                      <a:pos x="104" y="72"/>
                    </a:cxn>
                    <a:cxn ang="0">
                      <a:pos x="98" y="76"/>
                    </a:cxn>
                    <a:cxn ang="0">
                      <a:pos x="90" y="80"/>
                    </a:cxn>
                    <a:cxn ang="0">
                      <a:pos x="84" y="86"/>
                    </a:cxn>
                    <a:cxn ang="0">
                      <a:pos x="78" y="90"/>
                    </a:cxn>
                    <a:cxn ang="0">
                      <a:pos x="64" y="92"/>
                    </a:cxn>
                    <a:cxn ang="0">
                      <a:pos x="62" y="90"/>
                    </a:cxn>
                    <a:cxn ang="0">
                      <a:pos x="72" y="84"/>
                    </a:cxn>
                    <a:cxn ang="0">
                      <a:pos x="80" y="78"/>
                    </a:cxn>
                    <a:cxn ang="0">
                      <a:pos x="74" y="78"/>
                    </a:cxn>
                    <a:cxn ang="0">
                      <a:pos x="68" y="78"/>
                    </a:cxn>
                    <a:cxn ang="0">
                      <a:pos x="64" y="76"/>
                    </a:cxn>
                    <a:cxn ang="0">
                      <a:pos x="58" y="78"/>
                    </a:cxn>
                    <a:cxn ang="0">
                      <a:pos x="54" y="76"/>
                    </a:cxn>
                    <a:cxn ang="0">
                      <a:pos x="50" y="76"/>
                    </a:cxn>
                    <a:cxn ang="0">
                      <a:pos x="40" y="80"/>
                    </a:cxn>
                    <a:cxn ang="0">
                      <a:pos x="26" y="80"/>
                    </a:cxn>
                    <a:cxn ang="0">
                      <a:pos x="22" y="78"/>
                    </a:cxn>
                    <a:cxn ang="0">
                      <a:pos x="8" y="80"/>
                    </a:cxn>
                    <a:cxn ang="0">
                      <a:pos x="2" y="78"/>
                    </a:cxn>
                    <a:cxn ang="0">
                      <a:pos x="0" y="74"/>
                    </a:cxn>
                    <a:cxn ang="0">
                      <a:pos x="12" y="66"/>
                    </a:cxn>
                    <a:cxn ang="0">
                      <a:pos x="18" y="64"/>
                    </a:cxn>
                    <a:cxn ang="0">
                      <a:pos x="8" y="64"/>
                    </a:cxn>
                    <a:cxn ang="0">
                      <a:pos x="16" y="62"/>
                    </a:cxn>
                    <a:cxn ang="0">
                      <a:pos x="28" y="54"/>
                    </a:cxn>
                    <a:cxn ang="0">
                      <a:pos x="32" y="50"/>
                    </a:cxn>
                    <a:cxn ang="0">
                      <a:pos x="36" y="46"/>
                    </a:cxn>
                    <a:cxn ang="0">
                      <a:pos x="46" y="38"/>
                    </a:cxn>
                    <a:cxn ang="0">
                      <a:pos x="62" y="16"/>
                    </a:cxn>
                  </a:cxnLst>
                  <a:rect l="0" t="0" r="r" b="b"/>
                  <a:pathLst>
                    <a:path w="120" h="94">
                      <a:moveTo>
                        <a:pt x="62" y="16"/>
                      </a:moveTo>
                      <a:lnTo>
                        <a:pt x="62" y="16"/>
                      </a:lnTo>
                      <a:lnTo>
                        <a:pt x="68" y="14"/>
                      </a:lnTo>
                      <a:lnTo>
                        <a:pt x="70" y="12"/>
                      </a:lnTo>
                      <a:lnTo>
                        <a:pt x="70" y="10"/>
                      </a:lnTo>
                      <a:lnTo>
                        <a:pt x="70" y="10"/>
                      </a:lnTo>
                      <a:lnTo>
                        <a:pt x="70" y="10"/>
                      </a:lnTo>
                      <a:lnTo>
                        <a:pt x="70" y="10"/>
                      </a:lnTo>
                      <a:lnTo>
                        <a:pt x="74" y="8"/>
                      </a:lnTo>
                      <a:lnTo>
                        <a:pt x="74" y="8"/>
                      </a:lnTo>
                      <a:lnTo>
                        <a:pt x="78" y="4"/>
                      </a:lnTo>
                      <a:lnTo>
                        <a:pt x="82" y="2"/>
                      </a:lnTo>
                      <a:lnTo>
                        <a:pt x="82" y="2"/>
                      </a:lnTo>
                      <a:lnTo>
                        <a:pt x="86" y="0"/>
                      </a:lnTo>
                      <a:lnTo>
                        <a:pt x="90" y="0"/>
                      </a:lnTo>
                      <a:lnTo>
                        <a:pt x="90" y="0"/>
                      </a:lnTo>
                      <a:lnTo>
                        <a:pt x="92" y="0"/>
                      </a:lnTo>
                      <a:lnTo>
                        <a:pt x="90" y="2"/>
                      </a:lnTo>
                      <a:lnTo>
                        <a:pt x="90" y="2"/>
                      </a:lnTo>
                      <a:lnTo>
                        <a:pt x="92" y="2"/>
                      </a:lnTo>
                      <a:lnTo>
                        <a:pt x="92" y="2"/>
                      </a:lnTo>
                      <a:lnTo>
                        <a:pt x="96" y="2"/>
                      </a:lnTo>
                      <a:lnTo>
                        <a:pt x="96" y="4"/>
                      </a:lnTo>
                      <a:lnTo>
                        <a:pt x="96" y="4"/>
                      </a:lnTo>
                      <a:lnTo>
                        <a:pt x="94" y="6"/>
                      </a:lnTo>
                      <a:lnTo>
                        <a:pt x="92" y="6"/>
                      </a:lnTo>
                      <a:lnTo>
                        <a:pt x="92" y="6"/>
                      </a:lnTo>
                      <a:lnTo>
                        <a:pt x="90" y="8"/>
                      </a:lnTo>
                      <a:lnTo>
                        <a:pt x="90" y="8"/>
                      </a:lnTo>
                      <a:lnTo>
                        <a:pt x="90" y="8"/>
                      </a:lnTo>
                      <a:lnTo>
                        <a:pt x="90" y="8"/>
                      </a:lnTo>
                      <a:lnTo>
                        <a:pt x="94" y="8"/>
                      </a:lnTo>
                      <a:lnTo>
                        <a:pt x="94" y="10"/>
                      </a:lnTo>
                      <a:lnTo>
                        <a:pt x="94" y="12"/>
                      </a:lnTo>
                      <a:lnTo>
                        <a:pt x="94" y="12"/>
                      </a:lnTo>
                      <a:lnTo>
                        <a:pt x="92" y="14"/>
                      </a:lnTo>
                      <a:lnTo>
                        <a:pt x="90" y="16"/>
                      </a:lnTo>
                      <a:lnTo>
                        <a:pt x="90" y="16"/>
                      </a:lnTo>
                      <a:lnTo>
                        <a:pt x="86" y="18"/>
                      </a:lnTo>
                      <a:lnTo>
                        <a:pt x="84" y="20"/>
                      </a:lnTo>
                      <a:lnTo>
                        <a:pt x="84" y="20"/>
                      </a:lnTo>
                      <a:lnTo>
                        <a:pt x="84" y="20"/>
                      </a:lnTo>
                      <a:lnTo>
                        <a:pt x="82" y="20"/>
                      </a:lnTo>
                      <a:lnTo>
                        <a:pt x="80" y="22"/>
                      </a:lnTo>
                      <a:lnTo>
                        <a:pt x="80" y="24"/>
                      </a:lnTo>
                      <a:lnTo>
                        <a:pt x="78" y="24"/>
                      </a:lnTo>
                      <a:lnTo>
                        <a:pt x="78" y="24"/>
                      </a:lnTo>
                      <a:lnTo>
                        <a:pt x="76" y="24"/>
                      </a:lnTo>
                      <a:lnTo>
                        <a:pt x="76" y="24"/>
                      </a:lnTo>
                      <a:lnTo>
                        <a:pt x="74" y="26"/>
                      </a:lnTo>
                      <a:lnTo>
                        <a:pt x="74" y="26"/>
                      </a:lnTo>
                      <a:lnTo>
                        <a:pt x="68" y="30"/>
                      </a:lnTo>
                      <a:lnTo>
                        <a:pt x="66" y="34"/>
                      </a:lnTo>
                      <a:lnTo>
                        <a:pt x="66" y="36"/>
                      </a:lnTo>
                      <a:lnTo>
                        <a:pt x="66" y="36"/>
                      </a:lnTo>
                      <a:lnTo>
                        <a:pt x="72" y="30"/>
                      </a:lnTo>
                      <a:lnTo>
                        <a:pt x="78" y="28"/>
                      </a:lnTo>
                      <a:lnTo>
                        <a:pt x="78" y="28"/>
                      </a:lnTo>
                      <a:lnTo>
                        <a:pt x="80" y="28"/>
                      </a:lnTo>
                      <a:lnTo>
                        <a:pt x="80" y="28"/>
                      </a:lnTo>
                      <a:lnTo>
                        <a:pt x="80" y="30"/>
                      </a:lnTo>
                      <a:lnTo>
                        <a:pt x="80" y="30"/>
                      </a:lnTo>
                      <a:lnTo>
                        <a:pt x="80" y="30"/>
                      </a:lnTo>
                      <a:lnTo>
                        <a:pt x="82" y="30"/>
                      </a:lnTo>
                      <a:lnTo>
                        <a:pt x="86" y="30"/>
                      </a:lnTo>
                      <a:lnTo>
                        <a:pt x="86" y="30"/>
                      </a:lnTo>
                      <a:lnTo>
                        <a:pt x="88" y="30"/>
                      </a:lnTo>
                      <a:lnTo>
                        <a:pt x="88" y="30"/>
                      </a:lnTo>
                      <a:lnTo>
                        <a:pt x="88" y="30"/>
                      </a:lnTo>
                      <a:lnTo>
                        <a:pt x="86" y="32"/>
                      </a:lnTo>
                      <a:lnTo>
                        <a:pt x="82" y="34"/>
                      </a:lnTo>
                      <a:lnTo>
                        <a:pt x="74" y="36"/>
                      </a:lnTo>
                      <a:lnTo>
                        <a:pt x="74" y="36"/>
                      </a:lnTo>
                      <a:lnTo>
                        <a:pt x="82" y="36"/>
                      </a:lnTo>
                      <a:lnTo>
                        <a:pt x="82" y="36"/>
                      </a:lnTo>
                      <a:lnTo>
                        <a:pt x="82" y="36"/>
                      </a:lnTo>
                      <a:lnTo>
                        <a:pt x="82" y="36"/>
                      </a:lnTo>
                      <a:lnTo>
                        <a:pt x="82" y="38"/>
                      </a:lnTo>
                      <a:lnTo>
                        <a:pt x="84" y="38"/>
                      </a:lnTo>
                      <a:lnTo>
                        <a:pt x="86" y="38"/>
                      </a:lnTo>
                      <a:lnTo>
                        <a:pt x="86" y="40"/>
                      </a:lnTo>
                      <a:lnTo>
                        <a:pt x="86" y="40"/>
                      </a:lnTo>
                      <a:lnTo>
                        <a:pt x="86" y="42"/>
                      </a:lnTo>
                      <a:lnTo>
                        <a:pt x="88" y="42"/>
                      </a:lnTo>
                      <a:lnTo>
                        <a:pt x="90" y="42"/>
                      </a:lnTo>
                      <a:lnTo>
                        <a:pt x="90" y="44"/>
                      </a:lnTo>
                      <a:lnTo>
                        <a:pt x="90" y="44"/>
                      </a:lnTo>
                      <a:lnTo>
                        <a:pt x="90" y="46"/>
                      </a:lnTo>
                      <a:lnTo>
                        <a:pt x="92" y="46"/>
                      </a:lnTo>
                      <a:lnTo>
                        <a:pt x="98" y="44"/>
                      </a:lnTo>
                      <a:lnTo>
                        <a:pt x="98" y="44"/>
                      </a:lnTo>
                      <a:lnTo>
                        <a:pt x="100" y="44"/>
                      </a:lnTo>
                      <a:lnTo>
                        <a:pt x="104" y="44"/>
                      </a:lnTo>
                      <a:lnTo>
                        <a:pt x="104" y="44"/>
                      </a:lnTo>
                      <a:lnTo>
                        <a:pt x="110" y="44"/>
                      </a:lnTo>
                      <a:lnTo>
                        <a:pt x="114" y="44"/>
                      </a:lnTo>
                      <a:lnTo>
                        <a:pt x="116" y="46"/>
                      </a:lnTo>
                      <a:lnTo>
                        <a:pt x="116" y="46"/>
                      </a:lnTo>
                      <a:lnTo>
                        <a:pt x="116" y="48"/>
                      </a:lnTo>
                      <a:lnTo>
                        <a:pt x="116" y="50"/>
                      </a:lnTo>
                      <a:lnTo>
                        <a:pt x="114" y="50"/>
                      </a:lnTo>
                      <a:lnTo>
                        <a:pt x="114" y="50"/>
                      </a:lnTo>
                      <a:lnTo>
                        <a:pt x="112" y="52"/>
                      </a:lnTo>
                      <a:lnTo>
                        <a:pt x="110" y="52"/>
                      </a:lnTo>
                      <a:lnTo>
                        <a:pt x="110" y="52"/>
                      </a:lnTo>
                      <a:lnTo>
                        <a:pt x="108" y="54"/>
                      </a:lnTo>
                      <a:lnTo>
                        <a:pt x="104" y="56"/>
                      </a:lnTo>
                      <a:lnTo>
                        <a:pt x="104" y="56"/>
                      </a:lnTo>
                      <a:lnTo>
                        <a:pt x="106" y="56"/>
                      </a:lnTo>
                      <a:lnTo>
                        <a:pt x="110" y="56"/>
                      </a:lnTo>
                      <a:lnTo>
                        <a:pt x="110" y="56"/>
                      </a:lnTo>
                      <a:lnTo>
                        <a:pt x="114" y="56"/>
                      </a:lnTo>
                      <a:lnTo>
                        <a:pt x="118" y="56"/>
                      </a:lnTo>
                      <a:lnTo>
                        <a:pt x="118" y="56"/>
                      </a:lnTo>
                      <a:lnTo>
                        <a:pt x="120" y="56"/>
                      </a:lnTo>
                      <a:lnTo>
                        <a:pt x="120" y="58"/>
                      </a:lnTo>
                      <a:lnTo>
                        <a:pt x="120" y="58"/>
                      </a:lnTo>
                      <a:lnTo>
                        <a:pt x="118" y="60"/>
                      </a:lnTo>
                      <a:lnTo>
                        <a:pt x="116" y="62"/>
                      </a:lnTo>
                      <a:lnTo>
                        <a:pt x="116" y="62"/>
                      </a:lnTo>
                      <a:lnTo>
                        <a:pt x="112" y="64"/>
                      </a:lnTo>
                      <a:lnTo>
                        <a:pt x="108" y="64"/>
                      </a:lnTo>
                      <a:lnTo>
                        <a:pt x="108" y="64"/>
                      </a:lnTo>
                      <a:lnTo>
                        <a:pt x="110" y="66"/>
                      </a:lnTo>
                      <a:lnTo>
                        <a:pt x="114" y="66"/>
                      </a:lnTo>
                      <a:lnTo>
                        <a:pt x="114" y="68"/>
                      </a:lnTo>
                      <a:lnTo>
                        <a:pt x="114" y="68"/>
                      </a:lnTo>
                      <a:lnTo>
                        <a:pt x="114" y="68"/>
                      </a:lnTo>
                      <a:lnTo>
                        <a:pt x="108" y="72"/>
                      </a:lnTo>
                      <a:lnTo>
                        <a:pt x="106" y="72"/>
                      </a:lnTo>
                      <a:lnTo>
                        <a:pt x="104" y="72"/>
                      </a:lnTo>
                      <a:lnTo>
                        <a:pt x="104" y="72"/>
                      </a:lnTo>
                      <a:lnTo>
                        <a:pt x="104" y="70"/>
                      </a:lnTo>
                      <a:lnTo>
                        <a:pt x="100" y="74"/>
                      </a:lnTo>
                      <a:lnTo>
                        <a:pt x="100" y="74"/>
                      </a:lnTo>
                      <a:lnTo>
                        <a:pt x="98" y="76"/>
                      </a:lnTo>
                      <a:lnTo>
                        <a:pt x="94" y="78"/>
                      </a:lnTo>
                      <a:lnTo>
                        <a:pt x="94" y="78"/>
                      </a:lnTo>
                      <a:lnTo>
                        <a:pt x="90" y="80"/>
                      </a:lnTo>
                      <a:lnTo>
                        <a:pt x="90" y="80"/>
                      </a:lnTo>
                      <a:lnTo>
                        <a:pt x="88" y="82"/>
                      </a:lnTo>
                      <a:lnTo>
                        <a:pt x="88" y="82"/>
                      </a:lnTo>
                      <a:lnTo>
                        <a:pt x="84" y="84"/>
                      </a:lnTo>
                      <a:lnTo>
                        <a:pt x="84" y="86"/>
                      </a:lnTo>
                      <a:lnTo>
                        <a:pt x="84" y="86"/>
                      </a:lnTo>
                      <a:lnTo>
                        <a:pt x="80" y="88"/>
                      </a:lnTo>
                      <a:lnTo>
                        <a:pt x="78" y="90"/>
                      </a:lnTo>
                      <a:lnTo>
                        <a:pt x="78" y="90"/>
                      </a:lnTo>
                      <a:lnTo>
                        <a:pt x="68" y="94"/>
                      </a:lnTo>
                      <a:lnTo>
                        <a:pt x="68" y="94"/>
                      </a:lnTo>
                      <a:lnTo>
                        <a:pt x="66" y="92"/>
                      </a:lnTo>
                      <a:lnTo>
                        <a:pt x="64" y="92"/>
                      </a:lnTo>
                      <a:lnTo>
                        <a:pt x="64" y="92"/>
                      </a:lnTo>
                      <a:lnTo>
                        <a:pt x="62" y="92"/>
                      </a:lnTo>
                      <a:lnTo>
                        <a:pt x="62" y="90"/>
                      </a:lnTo>
                      <a:lnTo>
                        <a:pt x="62" y="90"/>
                      </a:lnTo>
                      <a:lnTo>
                        <a:pt x="64" y="88"/>
                      </a:lnTo>
                      <a:lnTo>
                        <a:pt x="64" y="88"/>
                      </a:lnTo>
                      <a:lnTo>
                        <a:pt x="70" y="86"/>
                      </a:lnTo>
                      <a:lnTo>
                        <a:pt x="72" y="84"/>
                      </a:lnTo>
                      <a:lnTo>
                        <a:pt x="72" y="84"/>
                      </a:lnTo>
                      <a:lnTo>
                        <a:pt x="76" y="80"/>
                      </a:lnTo>
                      <a:lnTo>
                        <a:pt x="80" y="78"/>
                      </a:lnTo>
                      <a:lnTo>
                        <a:pt x="80" y="78"/>
                      </a:lnTo>
                      <a:lnTo>
                        <a:pt x="80" y="78"/>
                      </a:lnTo>
                      <a:lnTo>
                        <a:pt x="80" y="78"/>
                      </a:lnTo>
                      <a:lnTo>
                        <a:pt x="74" y="78"/>
                      </a:lnTo>
                      <a:lnTo>
                        <a:pt x="74" y="78"/>
                      </a:lnTo>
                      <a:lnTo>
                        <a:pt x="70" y="78"/>
                      </a:lnTo>
                      <a:lnTo>
                        <a:pt x="68" y="78"/>
                      </a:lnTo>
                      <a:lnTo>
                        <a:pt x="68" y="78"/>
                      </a:lnTo>
                      <a:lnTo>
                        <a:pt x="68" y="78"/>
                      </a:lnTo>
                      <a:lnTo>
                        <a:pt x="64" y="78"/>
                      </a:lnTo>
                      <a:lnTo>
                        <a:pt x="64" y="78"/>
                      </a:lnTo>
                      <a:lnTo>
                        <a:pt x="64" y="78"/>
                      </a:lnTo>
                      <a:lnTo>
                        <a:pt x="64" y="76"/>
                      </a:lnTo>
                      <a:lnTo>
                        <a:pt x="64" y="76"/>
                      </a:lnTo>
                      <a:lnTo>
                        <a:pt x="62" y="76"/>
                      </a:lnTo>
                      <a:lnTo>
                        <a:pt x="62" y="76"/>
                      </a:lnTo>
                      <a:lnTo>
                        <a:pt x="58" y="78"/>
                      </a:lnTo>
                      <a:lnTo>
                        <a:pt x="56" y="78"/>
                      </a:lnTo>
                      <a:lnTo>
                        <a:pt x="56" y="78"/>
                      </a:lnTo>
                      <a:lnTo>
                        <a:pt x="56" y="78"/>
                      </a:lnTo>
                      <a:lnTo>
                        <a:pt x="54" y="76"/>
                      </a:lnTo>
                      <a:lnTo>
                        <a:pt x="52" y="76"/>
                      </a:lnTo>
                      <a:lnTo>
                        <a:pt x="50" y="78"/>
                      </a:lnTo>
                      <a:lnTo>
                        <a:pt x="50" y="76"/>
                      </a:lnTo>
                      <a:lnTo>
                        <a:pt x="50" y="76"/>
                      </a:lnTo>
                      <a:lnTo>
                        <a:pt x="48" y="76"/>
                      </a:lnTo>
                      <a:lnTo>
                        <a:pt x="46" y="78"/>
                      </a:lnTo>
                      <a:lnTo>
                        <a:pt x="42" y="80"/>
                      </a:lnTo>
                      <a:lnTo>
                        <a:pt x="40" y="80"/>
                      </a:lnTo>
                      <a:lnTo>
                        <a:pt x="40" y="80"/>
                      </a:lnTo>
                      <a:lnTo>
                        <a:pt x="36" y="80"/>
                      </a:lnTo>
                      <a:lnTo>
                        <a:pt x="32" y="80"/>
                      </a:lnTo>
                      <a:lnTo>
                        <a:pt x="26" y="80"/>
                      </a:lnTo>
                      <a:lnTo>
                        <a:pt x="26" y="80"/>
                      </a:lnTo>
                      <a:lnTo>
                        <a:pt x="22" y="80"/>
                      </a:lnTo>
                      <a:lnTo>
                        <a:pt x="22" y="78"/>
                      </a:lnTo>
                      <a:lnTo>
                        <a:pt x="22" y="78"/>
                      </a:lnTo>
                      <a:lnTo>
                        <a:pt x="22" y="80"/>
                      </a:lnTo>
                      <a:lnTo>
                        <a:pt x="16" y="80"/>
                      </a:lnTo>
                      <a:lnTo>
                        <a:pt x="16" y="80"/>
                      </a:lnTo>
                      <a:lnTo>
                        <a:pt x="8" y="80"/>
                      </a:lnTo>
                      <a:lnTo>
                        <a:pt x="4" y="82"/>
                      </a:lnTo>
                      <a:lnTo>
                        <a:pt x="4" y="82"/>
                      </a:lnTo>
                      <a:lnTo>
                        <a:pt x="2" y="82"/>
                      </a:lnTo>
                      <a:lnTo>
                        <a:pt x="2" y="78"/>
                      </a:lnTo>
                      <a:lnTo>
                        <a:pt x="2" y="78"/>
                      </a:lnTo>
                      <a:lnTo>
                        <a:pt x="2" y="76"/>
                      </a:lnTo>
                      <a:lnTo>
                        <a:pt x="0" y="74"/>
                      </a:lnTo>
                      <a:lnTo>
                        <a:pt x="0" y="74"/>
                      </a:lnTo>
                      <a:lnTo>
                        <a:pt x="2" y="72"/>
                      </a:lnTo>
                      <a:lnTo>
                        <a:pt x="2" y="72"/>
                      </a:lnTo>
                      <a:lnTo>
                        <a:pt x="8" y="68"/>
                      </a:lnTo>
                      <a:lnTo>
                        <a:pt x="12" y="66"/>
                      </a:lnTo>
                      <a:lnTo>
                        <a:pt x="12" y="66"/>
                      </a:lnTo>
                      <a:lnTo>
                        <a:pt x="18" y="64"/>
                      </a:lnTo>
                      <a:lnTo>
                        <a:pt x="18" y="64"/>
                      </a:lnTo>
                      <a:lnTo>
                        <a:pt x="18" y="64"/>
                      </a:lnTo>
                      <a:lnTo>
                        <a:pt x="18" y="64"/>
                      </a:lnTo>
                      <a:lnTo>
                        <a:pt x="10" y="66"/>
                      </a:lnTo>
                      <a:lnTo>
                        <a:pt x="8" y="66"/>
                      </a:lnTo>
                      <a:lnTo>
                        <a:pt x="8" y="64"/>
                      </a:lnTo>
                      <a:lnTo>
                        <a:pt x="8" y="64"/>
                      </a:lnTo>
                      <a:lnTo>
                        <a:pt x="12" y="64"/>
                      </a:lnTo>
                      <a:lnTo>
                        <a:pt x="16" y="62"/>
                      </a:lnTo>
                      <a:lnTo>
                        <a:pt x="16" y="62"/>
                      </a:lnTo>
                      <a:lnTo>
                        <a:pt x="20" y="60"/>
                      </a:lnTo>
                      <a:lnTo>
                        <a:pt x="22" y="56"/>
                      </a:lnTo>
                      <a:lnTo>
                        <a:pt x="22" y="56"/>
                      </a:lnTo>
                      <a:lnTo>
                        <a:pt x="28" y="54"/>
                      </a:lnTo>
                      <a:lnTo>
                        <a:pt x="34" y="54"/>
                      </a:lnTo>
                      <a:lnTo>
                        <a:pt x="34" y="54"/>
                      </a:lnTo>
                      <a:lnTo>
                        <a:pt x="34" y="52"/>
                      </a:lnTo>
                      <a:lnTo>
                        <a:pt x="32" y="50"/>
                      </a:lnTo>
                      <a:lnTo>
                        <a:pt x="32" y="50"/>
                      </a:lnTo>
                      <a:lnTo>
                        <a:pt x="32" y="48"/>
                      </a:lnTo>
                      <a:lnTo>
                        <a:pt x="36" y="46"/>
                      </a:lnTo>
                      <a:lnTo>
                        <a:pt x="36" y="46"/>
                      </a:lnTo>
                      <a:lnTo>
                        <a:pt x="40" y="42"/>
                      </a:lnTo>
                      <a:lnTo>
                        <a:pt x="42" y="40"/>
                      </a:lnTo>
                      <a:lnTo>
                        <a:pt x="42" y="40"/>
                      </a:lnTo>
                      <a:lnTo>
                        <a:pt x="46" y="38"/>
                      </a:lnTo>
                      <a:lnTo>
                        <a:pt x="46" y="36"/>
                      </a:lnTo>
                      <a:lnTo>
                        <a:pt x="50" y="32"/>
                      </a:lnTo>
                      <a:lnTo>
                        <a:pt x="50" y="32"/>
                      </a:lnTo>
                      <a:lnTo>
                        <a:pt x="62" y="16"/>
                      </a:lnTo>
                      <a:lnTo>
                        <a:pt x="62" y="16"/>
                      </a:lnTo>
                      <a:close/>
                    </a:path>
                  </a:pathLst>
                </a:custGeom>
                <a:solidFill>
                  <a:schemeClr val="tx1">
                    <a:alpha val="9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4" name="Freeform 109"/>
                <p:cNvSpPr>
                  <a:spLocks/>
                </p:cNvSpPr>
                <p:nvPr/>
              </p:nvSpPr>
              <p:spPr bwMode="auto">
                <a:xfrm>
                  <a:off x="4282733" y="1934061"/>
                  <a:ext cx="36452" cy="39453"/>
                </a:xfrm>
                <a:custGeom>
                  <a:avLst/>
                  <a:gdLst/>
                  <a:ahLst/>
                  <a:cxnLst>
                    <a:cxn ang="0">
                      <a:pos x="4" y="8"/>
                    </a:cxn>
                    <a:cxn ang="0">
                      <a:pos x="4" y="8"/>
                    </a:cxn>
                    <a:cxn ang="0">
                      <a:pos x="8" y="6"/>
                    </a:cxn>
                    <a:cxn ang="0">
                      <a:pos x="10" y="6"/>
                    </a:cxn>
                    <a:cxn ang="0">
                      <a:pos x="10" y="6"/>
                    </a:cxn>
                    <a:cxn ang="0">
                      <a:pos x="20" y="0"/>
                    </a:cxn>
                    <a:cxn ang="0">
                      <a:pos x="20" y="0"/>
                    </a:cxn>
                    <a:cxn ang="0">
                      <a:pos x="24" y="0"/>
                    </a:cxn>
                    <a:cxn ang="0">
                      <a:pos x="24" y="0"/>
                    </a:cxn>
                    <a:cxn ang="0">
                      <a:pos x="22" y="2"/>
                    </a:cxn>
                    <a:cxn ang="0">
                      <a:pos x="22" y="2"/>
                    </a:cxn>
                    <a:cxn ang="0">
                      <a:pos x="18" y="6"/>
                    </a:cxn>
                    <a:cxn ang="0">
                      <a:pos x="16" y="6"/>
                    </a:cxn>
                    <a:cxn ang="0">
                      <a:pos x="18" y="6"/>
                    </a:cxn>
                    <a:cxn ang="0">
                      <a:pos x="18" y="6"/>
                    </a:cxn>
                    <a:cxn ang="0">
                      <a:pos x="22" y="4"/>
                    </a:cxn>
                    <a:cxn ang="0">
                      <a:pos x="24" y="4"/>
                    </a:cxn>
                    <a:cxn ang="0">
                      <a:pos x="24" y="4"/>
                    </a:cxn>
                    <a:cxn ang="0">
                      <a:pos x="24" y="4"/>
                    </a:cxn>
                    <a:cxn ang="0">
                      <a:pos x="24" y="10"/>
                    </a:cxn>
                    <a:cxn ang="0">
                      <a:pos x="22" y="14"/>
                    </a:cxn>
                    <a:cxn ang="0">
                      <a:pos x="22" y="14"/>
                    </a:cxn>
                    <a:cxn ang="0">
                      <a:pos x="20" y="18"/>
                    </a:cxn>
                    <a:cxn ang="0">
                      <a:pos x="20" y="22"/>
                    </a:cxn>
                    <a:cxn ang="0">
                      <a:pos x="20" y="22"/>
                    </a:cxn>
                    <a:cxn ang="0">
                      <a:pos x="20" y="24"/>
                    </a:cxn>
                    <a:cxn ang="0">
                      <a:pos x="18" y="26"/>
                    </a:cxn>
                    <a:cxn ang="0">
                      <a:pos x="14" y="26"/>
                    </a:cxn>
                    <a:cxn ang="0">
                      <a:pos x="14" y="26"/>
                    </a:cxn>
                    <a:cxn ang="0">
                      <a:pos x="12" y="26"/>
                    </a:cxn>
                    <a:cxn ang="0">
                      <a:pos x="10" y="26"/>
                    </a:cxn>
                    <a:cxn ang="0">
                      <a:pos x="8" y="26"/>
                    </a:cxn>
                    <a:cxn ang="0">
                      <a:pos x="8" y="26"/>
                    </a:cxn>
                    <a:cxn ang="0">
                      <a:pos x="8" y="20"/>
                    </a:cxn>
                    <a:cxn ang="0">
                      <a:pos x="10" y="16"/>
                    </a:cxn>
                    <a:cxn ang="0">
                      <a:pos x="10" y="16"/>
                    </a:cxn>
                    <a:cxn ang="0">
                      <a:pos x="10" y="16"/>
                    </a:cxn>
                    <a:cxn ang="0">
                      <a:pos x="8" y="16"/>
                    </a:cxn>
                    <a:cxn ang="0">
                      <a:pos x="6" y="22"/>
                    </a:cxn>
                    <a:cxn ang="0">
                      <a:pos x="6" y="22"/>
                    </a:cxn>
                    <a:cxn ang="0">
                      <a:pos x="2" y="26"/>
                    </a:cxn>
                    <a:cxn ang="0">
                      <a:pos x="0" y="26"/>
                    </a:cxn>
                    <a:cxn ang="0">
                      <a:pos x="0" y="24"/>
                    </a:cxn>
                    <a:cxn ang="0">
                      <a:pos x="0" y="24"/>
                    </a:cxn>
                    <a:cxn ang="0">
                      <a:pos x="0" y="18"/>
                    </a:cxn>
                    <a:cxn ang="0">
                      <a:pos x="0" y="14"/>
                    </a:cxn>
                    <a:cxn ang="0">
                      <a:pos x="2" y="12"/>
                    </a:cxn>
                    <a:cxn ang="0">
                      <a:pos x="2" y="12"/>
                    </a:cxn>
                    <a:cxn ang="0">
                      <a:pos x="2" y="10"/>
                    </a:cxn>
                    <a:cxn ang="0">
                      <a:pos x="4" y="8"/>
                    </a:cxn>
                    <a:cxn ang="0">
                      <a:pos x="4" y="8"/>
                    </a:cxn>
                  </a:cxnLst>
                  <a:rect l="0" t="0" r="r" b="b"/>
                  <a:pathLst>
                    <a:path w="24" h="26">
                      <a:moveTo>
                        <a:pt x="4" y="8"/>
                      </a:moveTo>
                      <a:lnTo>
                        <a:pt x="4" y="8"/>
                      </a:lnTo>
                      <a:lnTo>
                        <a:pt x="8" y="6"/>
                      </a:lnTo>
                      <a:lnTo>
                        <a:pt x="10" y="6"/>
                      </a:lnTo>
                      <a:lnTo>
                        <a:pt x="10" y="6"/>
                      </a:lnTo>
                      <a:lnTo>
                        <a:pt x="20" y="0"/>
                      </a:lnTo>
                      <a:lnTo>
                        <a:pt x="20" y="0"/>
                      </a:lnTo>
                      <a:lnTo>
                        <a:pt x="24" y="0"/>
                      </a:lnTo>
                      <a:lnTo>
                        <a:pt x="24" y="0"/>
                      </a:lnTo>
                      <a:lnTo>
                        <a:pt x="22" y="2"/>
                      </a:lnTo>
                      <a:lnTo>
                        <a:pt x="22" y="2"/>
                      </a:lnTo>
                      <a:lnTo>
                        <a:pt x="18" y="6"/>
                      </a:lnTo>
                      <a:lnTo>
                        <a:pt x="16" y="6"/>
                      </a:lnTo>
                      <a:lnTo>
                        <a:pt x="18" y="6"/>
                      </a:lnTo>
                      <a:lnTo>
                        <a:pt x="18" y="6"/>
                      </a:lnTo>
                      <a:lnTo>
                        <a:pt x="22" y="4"/>
                      </a:lnTo>
                      <a:lnTo>
                        <a:pt x="24" y="4"/>
                      </a:lnTo>
                      <a:lnTo>
                        <a:pt x="24" y="4"/>
                      </a:lnTo>
                      <a:lnTo>
                        <a:pt x="24" y="4"/>
                      </a:lnTo>
                      <a:lnTo>
                        <a:pt x="24" y="10"/>
                      </a:lnTo>
                      <a:lnTo>
                        <a:pt x="22" y="14"/>
                      </a:lnTo>
                      <a:lnTo>
                        <a:pt x="22" y="14"/>
                      </a:lnTo>
                      <a:lnTo>
                        <a:pt x="20" y="18"/>
                      </a:lnTo>
                      <a:lnTo>
                        <a:pt x="20" y="22"/>
                      </a:lnTo>
                      <a:lnTo>
                        <a:pt x="20" y="22"/>
                      </a:lnTo>
                      <a:lnTo>
                        <a:pt x="20" y="24"/>
                      </a:lnTo>
                      <a:lnTo>
                        <a:pt x="18" y="26"/>
                      </a:lnTo>
                      <a:lnTo>
                        <a:pt x="14" y="26"/>
                      </a:lnTo>
                      <a:lnTo>
                        <a:pt x="14" y="26"/>
                      </a:lnTo>
                      <a:lnTo>
                        <a:pt x="12" y="26"/>
                      </a:lnTo>
                      <a:lnTo>
                        <a:pt x="10" y="26"/>
                      </a:lnTo>
                      <a:lnTo>
                        <a:pt x="8" y="26"/>
                      </a:lnTo>
                      <a:lnTo>
                        <a:pt x="8" y="26"/>
                      </a:lnTo>
                      <a:lnTo>
                        <a:pt x="8" y="20"/>
                      </a:lnTo>
                      <a:lnTo>
                        <a:pt x="10" y="16"/>
                      </a:lnTo>
                      <a:lnTo>
                        <a:pt x="10" y="16"/>
                      </a:lnTo>
                      <a:lnTo>
                        <a:pt x="10" y="16"/>
                      </a:lnTo>
                      <a:lnTo>
                        <a:pt x="8" y="16"/>
                      </a:lnTo>
                      <a:lnTo>
                        <a:pt x="6" y="22"/>
                      </a:lnTo>
                      <a:lnTo>
                        <a:pt x="6" y="22"/>
                      </a:lnTo>
                      <a:lnTo>
                        <a:pt x="2" y="26"/>
                      </a:lnTo>
                      <a:lnTo>
                        <a:pt x="0" y="26"/>
                      </a:lnTo>
                      <a:lnTo>
                        <a:pt x="0" y="24"/>
                      </a:lnTo>
                      <a:lnTo>
                        <a:pt x="0" y="24"/>
                      </a:lnTo>
                      <a:lnTo>
                        <a:pt x="0" y="18"/>
                      </a:lnTo>
                      <a:lnTo>
                        <a:pt x="0" y="14"/>
                      </a:lnTo>
                      <a:lnTo>
                        <a:pt x="2" y="12"/>
                      </a:lnTo>
                      <a:lnTo>
                        <a:pt x="2" y="12"/>
                      </a:lnTo>
                      <a:lnTo>
                        <a:pt x="2" y="10"/>
                      </a:lnTo>
                      <a:lnTo>
                        <a:pt x="4" y="8"/>
                      </a:lnTo>
                      <a:lnTo>
                        <a:pt x="4" y="8"/>
                      </a:lnTo>
                      <a:close/>
                    </a:path>
                  </a:pathLst>
                </a:custGeom>
                <a:solidFill>
                  <a:schemeClr val="tx1">
                    <a:alpha val="9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2" name="Group 1"/>
              <p:cNvGrpSpPr/>
              <p:nvPr/>
            </p:nvGrpSpPr>
            <p:grpSpPr>
              <a:xfrm>
                <a:off x="3043375" y="1172318"/>
                <a:ext cx="1549198" cy="373285"/>
                <a:chOff x="3043375" y="1172318"/>
                <a:chExt cx="1549198" cy="373285"/>
              </a:xfrm>
            </p:grpSpPr>
            <p:sp>
              <p:nvSpPr>
                <p:cNvPr id="829" name="Freeform 104"/>
                <p:cNvSpPr>
                  <a:spLocks/>
                </p:cNvSpPr>
                <p:nvPr/>
              </p:nvSpPr>
              <p:spPr bwMode="auto">
                <a:xfrm>
                  <a:off x="3778483" y="1302816"/>
                  <a:ext cx="580189" cy="242787"/>
                </a:xfrm>
                <a:custGeom>
                  <a:avLst/>
                  <a:gdLst/>
                  <a:ahLst/>
                  <a:cxnLst>
                    <a:cxn ang="0">
                      <a:pos x="88" y="136"/>
                    </a:cxn>
                    <a:cxn ang="0">
                      <a:pos x="102" y="130"/>
                    </a:cxn>
                    <a:cxn ang="0">
                      <a:pos x="128" y="132"/>
                    </a:cxn>
                    <a:cxn ang="0">
                      <a:pos x="134" y="130"/>
                    </a:cxn>
                    <a:cxn ang="0">
                      <a:pos x="172" y="144"/>
                    </a:cxn>
                    <a:cxn ang="0">
                      <a:pos x="198" y="154"/>
                    </a:cxn>
                    <a:cxn ang="0">
                      <a:pos x="224" y="158"/>
                    </a:cxn>
                    <a:cxn ang="0">
                      <a:pos x="256" y="154"/>
                    </a:cxn>
                    <a:cxn ang="0">
                      <a:pos x="240" y="142"/>
                    </a:cxn>
                    <a:cxn ang="0">
                      <a:pos x="254" y="134"/>
                    </a:cxn>
                    <a:cxn ang="0">
                      <a:pos x="280" y="136"/>
                    </a:cxn>
                    <a:cxn ang="0">
                      <a:pos x="274" y="120"/>
                    </a:cxn>
                    <a:cxn ang="0">
                      <a:pos x="254" y="108"/>
                    </a:cxn>
                    <a:cxn ang="0">
                      <a:pos x="260" y="94"/>
                    </a:cxn>
                    <a:cxn ang="0">
                      <a:pos x="282" y="102"/>
                    </a:cxn>
                    <a:cxn ang="0">
                      <a:pos x="294" y="104"/>
                    </a:cxn>
                    <a:cxn ang="0">
                      <a:pos x="308" y="116"/>
                    </a:cxn>
                    <a:cxn ang="0">
                      <a:pos x="318" y="106"/>
                    </a:cxn>
                    <a:cxn ang="0">
                      <a:pos x="332" y="102"/>
                    </a:cxn>
                    <a:cxn ang="0">
                      <a:pos x="344" y="92"/>
                    </a:cxn>
                    <a:cxn ang="0">
                      <a:pos x="374" y="88"/>
                    </a:cxn>
                    <a:cxn ang="0">
                      <a:pos x="372" y="74"/>
                    </a:cxn>
                    <a:cxn ang="0">
                      <a:pos x="348" y="74"/>
                    </a:cxn>
                    <a:cxn ang="0">
                      <a:pos x="334" y="66"/>
                    </a:cxn>
                    <a:cxn ang="0">
                      <a:pos x="326" y="60"/>
                    </a:cxn>
                    <a:cxn ang="0">
                      <a:pos x="310" y="54"/>
                    </a:cxn>
                    <a:cxn ang="0">
                      <a:pos x="306" y="38"/>
                    </a:cxn>
                    <a:cxn ang="0">
                      <a:pos x="294" y="32"/>
                    </a:cxn>
                    <a:cxn ang="0">
                      <a:pos x="278" y="24"/>
                    </a:cxn>
                    <a:cxn ang="0">
                      <a:pos x="238" y="12"/>
                    </a:cxn>
                    <a:cxn ang="0">
                      <a:pos x="210" y="24"/>
                    </a:cxn>
                    <a:cxn ang="0">
                      <a:pos x="196" y="12"/>
                    </a:cxn>
                    <a:cxn ang="0">
                      <a:pos x="166" y="24"/>
                    </a:cxn>
                    <a:cxn ang="0">
                      <a:pos x="168" y="6"/>
                    </a:cxn>
                    <a:cxn ang="0">
                      <a:pos x="110" y="6"/>
                    </a:cxn>
                    <a:cxn ang="0">
                      <a:pos x="80" y="20"/>
                    </a:cxn>
                    <a:cxn ang="0">
                      <a:pos x="62" y="32"/>
                    </a:cxn>
                    <a:cxn ang="0">
                      <a:pos x="86" y="4"/>
                    </a:cxn>
                    <a:cxn ang="0">
                      <a:pos x="20" y="18"/>
                    </a:cxn>
                    <a:cxn ang="0">
                      <a:pos x="2" y="32"/>
                    </a:cxn>
                    <a:cxn ang="0">
                      <a:pos x="50" y="40"/>
                    </a:cxn>
                    <a:cxn ang="0">
                      <a:pos x="82" y="40"/>
                    </a:cxn>
                    <a:cxn ang="0">
                      <a:pos x="96" y="48"/>
                    </a:cxn>
                    <a:cxn ang="0">
                      <a:pos x="116" y="50"/>
                    </a:cxn>
                    <a:cxn ang="0">
                      <a:pos x="124" y="44"/>
                    </a:cxn>
                    <a:cxn ang="0">
                      <a:pos x="148" y="38"/>
                    </a:cxn>
                    <a:cxn ang="0">
                      <a:pos x="168" y="46"/>
                    </a:cxn>
                    <a:cxn ang="0">
                      <a:pos x="178" y="56"/>
                    </a:cxn>
                    <a:cxn ang="0">
                      <a:pos x="198" y="58"/>
                    </a:cxn>
                    <a:cxn ang="0">
                      <a:pos x="212" y="76"/>
                    </a:cxn>
                    <a:cxn ang="0">
                      <a:pos x="202" y="92"/>
                    </a:cxn>
                    <a:cxn ang="0">
                      <a:pos x="230" y="94"/>
                    </a:cxn>
                    <a:cxn ang="0">
                      <a:pos x="192" y="108"/>
                    </a:cxn>
                    <a:cxn ang="0">
                      <a:pos x="172" y="90"/>
                    </a:cxn>
                    <a:cxn ang="0">
                      <a:pos x="172" y="106"/>
                    </a:cxn>
                    <a:cxn ang="0">
                      <a:pos x="140" y="108"/>
                    </a:cxn>
                    <a:cxn ang="0">
                      <a:pos x="110" y="108"/>
                    </a:cxn>
                    <a:cxn ang="0">
                      <a:pos x="84" y="114"/>
                    </a:cxn>
                  </a:cxnLst>
                  <a:rect l="0" t="0" r="r" b="b"/>
                  <a:pathLst>
                    <a:path w="382" h="160">
                      <a:moveTo>
                        <a:pt x="78" y="124"/>
                      </a:moveTo>
                      <a:lnTo>
                        <a:pt x="78" y="124"/>
                      </a:lnTo>
                      <a:lnTo>
                        <a:pt x="78" y="128"/>
                      </a:lnTo>
                      <a:lnTo>
                        <a:pt x="78" y="128"/>
                      </a:lnTo>
                      <a:lnTo>
                        <a:pt x="80" y="130"/>
                      </a:lnTo>
                      <a:lnTo>
                        <a:pt x="80" y="132"/>
                      </a:lnTo>
                      <a:lnTo>
                        <a:pt x="80" y="132"/>
                      </a:lnTo>
                      <a:lnTo>
                        <a:pt x="78" y="134"/>
                      </a:lnTo>
                      <a:lnTo>
                        <a:pt x="80" y="134"/>
                      </a:lnTo>
                      <a:lnTo>
                        <a:pt x="88" y="136"/>
                      </a:lnTo>
                      <a:lnTo>
                        <a:pt x="88" y="136"/>
                      </a:lnTo>
                      <a:lnTo>
                        <a:pt x="94" y="136"/>
                      </a:lnTo>
                      <a:lnTo>
                        <a:pt x="98" y="136"/>
                      </a:lnTo>
                      <a:lnTo>
                        <a:pt x="96" y="134"/>
                      </a:lnTo>
                      <a:lnTo>
                        <a:pt x="96" y="134"/>
                      </a:lnTo>
                      <a:lnTo>
                        <a:pt x="96" y="132"/>
                      </a:lnTo>
                      <a:lnTo>
                        <a:pt x="100" y="132"/>
                      </a:lnTo>
                      <a:lnTo>
                        <a:pt x="102" y="132"/>
                      </a:lnTo>
                      <a:lnTo>
                        <a:pt x="102" y="132"/>
                      </a:lnTo>
                      <a:lnTo>
                        <a:pt x="102" y="132"/>
                      </a:lnTo>
                      <a:lnTo>
                        <a:pt x="100" y="130"/>
                      </a:lnTo>
                      <a:lnTo>
                        <a:pt x="102" y="130"/>
                      </a:lnTo>
                      <a:lnTo>
                        <a:pt x="106" y="132"/>
                      </a:lnTo>
                      <a:lnTo>
                        <a:pt x="110" y="132"/>
                      </a:lnTo>
                      <a:lnTo>
                        <a:pt x="110" y="130"/>
                      </a:lnTo>
                      <a:lnTo>
                        <a:pt x="110" y="130"/>
                      </a:lnTo>
                      <a:lnTo>
                        <a:pt x="110" y="130"/>
                      </a:lnTo>
                      <a:lnTo>
                        <a:pt x="108" y="128"/>
                      </a:lnTo>
                      <a:lnTo>
                        <a:pt x="110" y="128"/>
                      </a:lnTo>
                      <a:lnTo>
                        <a:pt x="118" y="132"/>
                      </a:lnTo>
                      <a:lnTo>
                        <a:pt x="126" y="134"/>
                      </a:lnTo>
                      <a:lnTo>
                        <a:pt x="128" y="134"/>
                      </a:lnTo>
                      <a:lnTo>
                        <a:pt x="128" y="132"/>
                      </a:lnTo>
                      <a:lnTo>
                        <a:pt x="128" y="132"/>
                      </a:lnTo>
                      <a:lnTo>
                        <a:pt x="122" y="124"/>
                      </a:lnTo>
                      <a:lnTo>
                        <a:pt x="120" y="122"/>
                      </a:lnTo>
                      <a:lnTo>
                        <a:pt x="122" y="122"/>
                      </a:lnTo>
                      <a:lnTo>
                        <a:pt x="122" y="122"/>
                      </a:lnTo>
                      <a:lnTo>
                        <a:pt x="128" y="128"/>
                      </a:lnTo>
                      <a:lnTo>
                        <a:pt x="132" y="128"/>
                      </a:lnTo>
                      <a:lnTo>
                        <a:pt x="136" y="128"/>
                      </a:lnTo>
                      <a:lnTo>
                        <a:pt x="136" y="128"/>
                      </a:lnTo>
                      <a:lnTo>
                        <a:pt x="138" y="128"/>
                      </a:lnTo>
                      <a:lnTo>
                        <a:pt x="134" y="130"/>
                      </a:lnTo>
                      <a:lnTo>
                        <a:pt x="132" y="134"/>
                      </a:lnTo>
                      <a:lnTo>
                        <a:pt x="132" y="134"/>
                      </a:lnTo>
                      <a:lnTo>
                        <a:pt x="136" y="136"/>
                      </a:lnTo>
                      <a:lnTo>
                        <a:pt x="136" y="136"/>
                      </a:lnTo>
                      <a:lnTo>
                        <a:pt x="148" y="138"/>
                      </a:lnTo>
                      <a:lnTo>
                        <a:pt x="154" y="140"/>
                      </a:lnTo>
                      <a:lnTo>
                        <a:pt x="158" y="142"/>
                      </a:lnTo>
                      <a:lnTo>
                        <a:pt x="158" y="142"/>
                      </a:lnTo>
                      <a:lnTo>
                        <a:pt x="166" y="146"/>
                      </a:lnTo>
                      <a:lnTo>
                        <a:pt x="168" y="146"/>
                      </a:lnTo>
                      <a:lnTo>
                        <a:pt x="172" y="144"/>
                      </a:lnTo>
                      <a:lnTo>
                        <a:pt x="172" y="144"/>
                      </a:lnTo>
                      <a:lnTo>
                        <a:pt x="172" y="144"/>
                      </a:lnTo>
                      <a:lnTo>
                        <a:pt x="172" y="146"/>
                      </a:lnTo>
                      <a:lnTo>
                        <a:pt x="174" y="150"/>
                      </a:lnTo>
                      <a:lnTo>
                        <a:pt x="178" y="152"/>
                      </a:lnTo>
                      <a:lnTo>
                        <a:pt x="178" y="152"/>
                      </a:lnTo>
                      <a:lnTo>
                        <a:pt x="184" y="152"/>
                      </a:lnTo>
                      <a:lnTo>
                        <a:pt x="190" y="154"/>
                      </a:lnTo>
                      <a:lnTo>
                        <a:pt x="196" y="156"/>
                      </a:lnTo>
                      <a:lnTo>
                        <a:pt x="198" y="154"/>
                      </a:lnTo>
                      <a:lnTo>
                        <a:pt x="198" y="154"/>
                      </a:lnTo>
                      <a:lnTo>
                        <a:pt x="200" y="148"/>
                      </a:lnTo>
                      <a:lnTo>
                        <a:pt x="200" y="148"/>
                      </a:lnTo>
                      <a:lnTo>
                        <a:pt x="202" y="150"/>
                      </a:lnTo>
                      <a:lnTo>
                        <a:pt x="204" y="152"/>
                      </a:lnTo>
                      <a:lnTo>
                        <a:pt x="204" y="152"/>
                      </a:lnTo>
                      <a:lnTo>
                        <a:pt x="210" y="150"/>
                      </a:lnTo>
                      <a:lnTo>
                        <a:pt x="212" y="150"/>
                      </a:lnTo>
                      <a:lnTo>
                        <a:pt x="212" y="152"/>
                      </a:lnTo>
                      <a:lnTo>
                        <a:pt x="212" y="152"/>
                      </a:lnTo>
                      <a:lnTo>
                        <a:pt x="218" y="154"/>
                      </a:lnTo>
                      <a:lnTo>
                        <a:pt x="224" y="158"/>
                      </a:lnTo>
                      <a:lnTo>
                        <a:pt x="234" y="160"/>
                      </a:lnTo>
                      <a:lnTo>
                        <a:pt x="240" y="158"/>
                      </a:lnTo>
                      <a:lnTo>
                        <a:pt x="240" y="158"/>
                      </a:lnTo>
                      <a:lnTo>
                        <a:pt x="244" y="158"/>
                      </a:lnTo>
                      <a:lnTo>
                        <a:pt x="248" y="158"/>
                      </a:lnTo>
                      <a:lnTo>
                        <a:pt x="252" y="160"/>
                      </a:lnTo>
                      <a:lnTo>
                        <a:pt x="258" y="160"/>
                      </a:lnTo>
                      <a:lnTo>
                        <a:pt x="258" y="160"/>
                      </a:lnTo>
                      <a:lnTo>
                        <a:pt x="258" y="158"/>
                      </a:lnTo>
                      <a:lnTo>
                        <a:pt x="258" y="156"/>
                      </a:lnTo>
                      <a:lnTo>
                        <a:pt x="256" y="154"/>
                      </a:lnTo>
                      <a:lnTo>
                        <a:pt x="256" y="152"/>
                      </a:lnTo>
                      <a:lnTo>
                        <a:pt x="256" y="152"/>
                      </a:lnTo>
                      <a:lnTo>
                        <a:pt x="258" y="152"/>
                      </a:lnTo>
                      <a:lnTo>
                        <a:pt x="260" y="150"/>
                      </a:lnTo>
                      <a:lnTo>
                        <a:pt x="252" y="148"/>
                      </a:lnTo>
                      <a:lnTo>
                        <a:pt x="252" y="148"/>
                      </a:lnTo>
                      <a:lnTo>
                        <a:pt x="248" y="148"/>
                      </a:lnTo>
                      <a:lnTo>
                        <a:pt x="246" y="146"/>
                      </a:lnTo>
                      <a:lnTo>
                        <a:pt x="246" y="142"/>
                      </a:lnTo>
                      <a:lnTo>
                        <a:pt x="240" y="142"/>
                      </a:lnTo>
                      <a:lnTo>
                        <a:pt x="240" y="142"/>
                      </a:lnTo>
                      <a:lnTo>
                        <a:pt x="238" y="140"/>
                      </a:lnTo>
                      <a:lnTo>
                        <a:pt x="238" y="138"/>
                      </a:lnTo>
                      <a:lnTo>
                        <a:pt x="234" y="136"/>
                      </a:lnTo>
                      <a:lnTo>
                        <a:pt x="226" y="132"/>
                      </a:lnTo>
                      <a:lnTo>
                        <a:pt x="226" y="132"/>
                      </a:lnTo>
                      <a:lnTo>
                        <a:pt x="244" y="136"/>
                      </a:lnTo>
                      <a:lnTo>
                        <a:pt x="248" y="136"/>
                      </a:lnTo>
                      <a:lnTo>
                        <a:pt x="252" y="134"/>
                      </a:lnTo>
                      <a:lnTo>
                        <a:pt x="252" y="134"/>
                      </a:lnTo>
                      <a:lnTo>
                        <a:pt x="252" y="134"/>
                      </a:lnTo>
                      <a:lnTo>
                        <a:pt x="254" y="134"/>
                      </a:lnTo>
                      <a:lnTo>
                        <a:pt x="258" y="136"/>
                      </a:lnTo>
                      <a:lnTo>
                        <a:pt x="262" y="140"/>
                      </a:lnTo>
                      <a:lnTo>
                        <a:pt x="264" y="140"/>
                      </a:lnTo>
                      <a:lnTo>
                        <a:pt x="264" y="138"/>
                      </a:lnTo>
                      <a:lnTo>
                        <a:pt x="264" y="138"/>
                      </a:lnTo>
                      <a:lnTo>
                        <a:pt x="268" y="138"/>
                      </a:lnTo>
                      <a:lnTo>
                        <a:pt x="270" y="138"/>
                      </a:lnTo>
                      <a:lnTo>
                        <a:pt x="274" y="140"/>
                      </a:lnTo>
                      <a:lnTo>
                        <a:pt x="276" y="138"/>
                      </a:lnTo>
                      <a:lnTo>
                        <a:pt x="276" y="138"/>
                      </a:lnTo>
                      <a:lnTo>
                        <a:pt x="280" y="136"/>
                      </a:lnTo>
                      <a:lnTo>
                        <a:pt x="276" y="134"/>
                      </a:lnTo>
                      <a:lnTo>
                        <a:pt x="276" y="134"/>
                      </a:lnTo>
                      <a:lnTo>
                        <a:pt x="276" y="132"/>
                      </a:lnTo>
                      <a:lnTo>
                        <a:pt x="278" y="130"/>
                      </a:lnTo>
                      <a:lnTo>
                        <a:pt x="278" y="128"/>
                      </a:lnTo>
                      <a:lnTo>
                        <a:pt x="276" y="126"/>
                      </a:lnTo>
                      <a:lnTo>
                        <a:pt x="276" y="126"/>
                      </a:lnTo>
                      <a:lnTo>
                        <a:pt x="274" y="124"/>
                      </a:lnTo>
                      <a:lnTo>
                        <a:pt x="276" y="122"/>
                      </a:lnTo>
                      <a:lnTo>
                        <a:pt x="278" y="122"/>
                      </a:lnTo>
                      <a:lnTo>
                        <a:pt x="274" y="120"/>
                      </a:lnTo>
                      <a:lnTo>
                        <a:pt x="274" y="120"/>
                      </a:lnTo>
                      <a:lnTo>
                        <a:pt x="268" y="118"/>
                      </a:lnTo>
                      <a:lnTo>
                        <a:pt x="266" y="114"/>
                      </a:lnTo>
                      <a:lnTo>
                        <a:pt x="264" y="112"/>
                      </a:lnTo>
                      <a:lnTo>
                        <a:pt x="260" y="112"/>
                      </a:lnTo>
                      <a:lnTo>
                        <a:pt x="260" y="112"/>
                      </a:lnTo>
                      <a:lnTo>
                        <a:pt x="254" y="112"/>
                      </a:lnTo>
                      <a:lnTo>
                        <a:pt x="252" y="112"/>
                      </a:lnTo>
                      <a:lnTo>
                        <a:pt x="252" y="110"/>
                      </a:lnTo>
                      <a:lnTo>
                        <a:pt x="254" y="108"/>
                      </a:lnTo>
                      <a:lnTo>
                        <a:pt x="254" y="108"/>
                      </a:lnTo>
                      <a:lnTo>
                        <a:pt x="254" y="108"/>
                      </a:lnTo>
                      <a:lnTo>
                        <a:pt x="254" y="106"/>
                      </a:lnTo>
                      <a:lnTo>
                        <a:pt x="254" y="104"/>
                      </a:lnTo>
                      <a:lnTo>
                        <a:pt x="252" y="100"/>
                      </a:lnTo>
                      <a:lnTo>
                        <a:pt x="256" y="102"/>
                      </a:lnTo>
                      <a:lnTo>
                        <a:pt x="256" y="102"/>
                      </a:lnTo>
                      <a:lnTo>
                        <a:pt x="260" y="102"/>
                      </a:lnTo>
                      <a:lnTo>
                        <a:pt x="262" y="102"/>
                      </a:lnTo>
                      <a:lnTo>
                        <a:pt x="262" y="100"/>
                      </a:lnTo>
                      <a:lnTo>
                        <a:pt x="262" y="98"/>
                      </a:lnTo>
                      <a:lnTo>
                        <a:pt x="260" y="94"/>
                      </a:lnTo>
                      <a:lnTo>
                        <a:pt x="260" y="94"/>
                      </a:lnTo>
                      <a:lnTo>
                        <a:pt x="260" y="94"/>
                      </a:lnTo>
                      <a:lnTo>
                        <a:pt x="260" y="94"/>
                      </a:lnTo>
                      <a:lnTo>
                        <a:pt x="266" y="98"/>
                      </a:lnTo>
                      <a:lnTo>
                        <a:pt x="270" y="98"/>
                      </a:lnTo>
                      <a:lnTo>
                        <a:pt x="270" y="98"/>
                      </a:lnTo>
                      <a:lnTo>
                        <a:pt x="278" y="96"/>
                      </a:lnTo>
                      <a:lnTo>
                        <a:pt x="280" y="98"/>
                      </a:lnTo>
                      <a:lnTo>
                        <a:pt x="282" y="100"/>
                      </a:lnTo>
                      <a:lnTo>
                        <a:pt x="282" y="100"/>
                      </a:lnTo>
                      <a:lnTo>
                        <a:pt x="282" y="102"/>
                      </a:lnTo>
                      <a:lnTo>
                        <a:pt x="284" y="102"/>
                      </a:lnTo>
                      <a:lnTo>
                        <a:pt x="286" y="102"/>
                      </a:lnTo>
                      <a:lnTo>
                        <a:pt x="288" y="102"/>
                      </a:lnTo>
                      <a:lnTo>
                        <a:pt x="288" y="102"/>
                      </a:lnTo>
                      <a:lnTo>
                        <a:pt x="288" y="102"/>
                      </a:lnTo>
                      <a:lnTo>
                        <a:pt x="290" y="102"/>
                      </a:lnTo>
                      <a:lnTo>
                        <a:pt x="296" y="96"/>
                      </a:lnTo>
                      <a:lnTo>
                        <a:pt x="296" y="96"/>
                      </a:lnTo>
                      <a:lnTo>
                        <a:pt x="296" y="96"/>
                      </a:lnTo>
                      <a:lnTo>
                        <a:pt x="296" y="100"/>
                      </a:lnTo>
                      <a:lnTo>
                        <a:pt x="294" y="104"/>
                      </a:lnTo>
                      <a:lnTo>
                        <a:pt x="296" y="106"/>
                      </a:lnTo>
                      <a:lnTo>
                        <a:pt x="298" y="106"/>
                      </a:lnTo>
                      <a:lnTo>
                        <a:pt x="298" y="106"/>
                      </a:lnTo>
                      <a:lnTo>
                        <a:pt x="300" y="108"/>
                      </a:lnTo>
                      <a:lnTo>
                        <a:pt x="302" y="110"/>
                      </a:lnTo>
                      <a:lnTo>
                        <a:pt x="302" y="110"/>
                      </a:lnTo>
                      <a:lnTo>
                        <a:pt x="304" y="110"/>
                      </a:lnTo>
                      <a:lnTo>
                        <a:pt x="304" y="110"/>
                      </a:lnTo>
                      <a:lnTo>
                        <a:pt x="306" y="110"/>
                      </a:lnTo>
                      <a:lnTo>
                        <a:pt x="306" y="114"/>
                      </a:lnTo>
                      <a:lnTo>
                        <a:pt x="308" y="116"/>
                      </a:lnTo>
                      <a:lnTo>
                        <a:pt x="312" y="118"/>
                      </a:lnTo>
                      <a:lnTo>
                        <a:pt x="312" y="118"/>
                      </a:lnTo>
                      <a:lnTo>
                        <a:pt x="316" y="116"/>
                      </a:lnTo>
                      <a:lnTo>
                        <a:pt x="316" y="114"/>
                      </a:lnTo>
                      <a:lnTo>
                        <a:pt x="314" y="108"/>
                      </a:lnTo>
                      <a:lnTo>
                        <a:pt x="314" y="108"/>
                      </a:lnTo>
                      <a:lnTo>
                        <a:pt x="312" y="108"/>
                      </a:lnTo>
                      <a:lnTo>
                        <a:pt x="314" y="108"/>
                      </a:lnTo>
                      <a:lnTo>
                        <a:pt x="316" y="108"/>
                      </a:lnTo>
                      <a:lnTo>
                        <a:pt x="320" y="108"/>
                      </a:lnTo>
                      <a:lnTo>
                        <a:pt x="318" y="106"/>
                      </a:lnTo>
                      <a:lnTo>
                        <a:pt x="318" y="106"/>
                      </a:lnTo>
                      <a:lnTo>
                        <a:pt x="318" y="104"/>
                      </a:lnTo>
                      <a:lnTo>
                        <a:pt x="320" y="106"/>
                      </a:lnTo>
                      <a:lnTo>
                        <a:pt x="324" y="106"/>
                      </a:lnTo>
                      <a:lnTo>
                        <a:pt x="324" y="106"/>
                      </a:lnTo>
                      <a:lnTo>
                        <a:pt x="322" y="102"/>
                      </a:lnTo>
                      <a:lnTo>
                        <a:pt x="322" y="102"/>
                      </a:lnTo>
                      <a:lnTo>
                        <a:pt x="322" y="100"/>
                      </a:lnTo>
                      <a:lnTo>
                        <a:pt x="322" y="98"/>
                      </a:lnTo>
                      <a:lnTo>
                        <a:pt x="328" y="100"/>
                      </a:lnTo>
                      <a:lnTo>
                        <a:pt x="332" y="102"/>
                      </a:lnTo>
                      <a:lnTo>
                        <a:pt x="334" y="102"/>
                      </a:lnTo>
                      <a:lnTo>
                        <a:pt x="334" y="100"/>
                      </a:lnTo>
                      <a:lnTo>
                        <a:pt x="334" y="100"/>
                      </a:lnTo>
                      <a:lnTo>
                        <a:pt x="334" y="98"/>
                      </a:lnTo>
                      <a:lnTo>
                        <a:pt x="336" y="96"/>
                      </a:lnTo>
                      <a:lnTo>
                        <a:pt x="340" y="96"/>
                      </a:lnTo>
                      <a:lnTo>
                        <a:pt x="344" y="96"/>
                      </a:lnTo>
                      <a:lnTo>
                        <a:pt x="346" y="96"/>
                      </a:lnTo>
                      <a:lnTo>
                        <a:pt x="344" y="94"/>
                      </a:lnTo>
                      <a:lnTo>
                        <a:pt x="344" y="94"/>
                      </a:lnTo>
                      <a:lnTo>
                        <a:pt x="344" y="92"/>
                      </a:lnTo>
                      <a:lnTo>
                        <a:pt x="346" y="90"/>
                      </a:lnTo>
                      <a:lnTo>
                        <a:pt x="352" y="92"/>
                      </a:lnTo>
                      <a:lnTo>
                        <a:pt x="356" y="92"/>
                      </a:lnTo>
                      <a:lnTo>
                        <a:pt x="358" y="92"/>
                      </a:lnTo>
                      <a:lnTo>
                        <a:pt x="358" y="90"/>
                      </a:lnTo>
                      <a:lnTo>
                        <a:pt x="358" y="90"/>
                      </a:lnTo>
                      <a:lnTo>
                        <a:pt x="358" y="88"/>
                      </a:lnTo>
                      <a:lnTo>
                        <a:pt x="360" y="88"/>
                      </a:lnTo>
                      <a:lnTo>
                        <a:pt x="366" y="88"/>
                      </a:lnTo>
                      <a:lnTo>
                        <a:pt x="372" y="90"/>
                      </a:lnTo>
                      <a:lnTo>
                        <a:pt x="374" y="88"/>
                      </a:lnTo>
                      <a:lnTo>
                        <a:pt x="374" y="88"/>
                      </a:lnTo>
                      <a:lnTo>
                        <a:pt x="374" y="88"/>
                      </a:lnTo>
                      <a:lnTo>
                        <a:pt x="372" y="84"/>
                      </a:lnTo>
                      <a:lnTo>
                        <a:pt x="374" y="84"/>
                      </a:lnTo>
                      <a:lnTo>
                        <a:pt x="378" y="82"/>
                      </a:lnTo>
                      <a:lnTo>
                        <a:pt x="382" y="82"/>
                      </a:lnTo>
                      <a:lnTo>
                        <a:pt x="380" y="82"/>
                      </a:lnTo>
                      <a:lnTo>
                        <a:pt x="380" y="82"/>
                      </a:lnTo>
                      <a:lnTo>
                        <a:pt x="374" y="78"/>
                      </a:lnTo>
                      <a:lnTo>
                        <a:pt x="372" y="76"/>
                      </a:lnTo>
                      <a:lnTo>
                        <a:pt x="372" y="74"/>
                      </a:lnTo>
                      <a:lnTo>
                        <a:pt x="368" y="76"/>
                      </a:lnTo>
                      <a:lnTo>
                        <a:pt x="368" y="76"/>
                      </a:lnTo>
                      <a:lnTo>
                        <a:pt x="358" y="80"/>
                      </a:lnTo>
                      <a:lnTo>
                        <a:pt x="358" y="80"/>
                      </a:lnTo>
                      <a:lnTo>
                        <a:pt x="358" y="78"/>
                      </a:lnTo>
                      <a:lnTo>
                        <a:pt x="358" y="78"/>
                      </a:lnTo>
                      <a:lnTo>
                        <a:pt x="356" y="74"/>
                      </a:lnTo>
                      <a:lnTo>
                        <a:pt x="354" y="74"/>
                      </a:lnTo>
                      <a:lnTo>
                        <a:pt x="352" y="74"/>
                      </a:lnTo>
                      <a:lnTo>
                        <a:pt x="352" y="74"/>
                      </a:lnTo>
                      <a:lnTo>
                        <a:pt x="348" y="74"/>
                      </a:lnTo>
                      <a:lnTo>
                        <a:pt x="348" y="72"/>
                      </a:lnTo>
                      <a:lnTo>
                        <a:pt x="346" y="70"/>
                      </a:lnTo>
                      <a:lnTo>
                        <a:pt x="344" y="72"/>
                      </a:lnTo>
                      <a:lnTo>
                        <a:pt x="344" y="72"/>
                      </a:lnTo>
                      <a:lnTo>
                        <a:pt x="340" y="72"/>
                      </a:lnTo>
                      <a:lnTo>
                        <a:pt x="338" y="70"/>
                      </a:lnTo>
                      <a:lnTo>
                        <a:pt x="338" y="68"/>
                      </a:lnTo>
                      <a:lnTo>
                        <a:pt x="336" y="68"/>
                      </a:lnTo>
                      <a:lnTo>
                        <a:pt x="336" y="68"/>
                      </a:lnTo>
                      <a:lnTo>
                        <a:pt x="334" y="68"/>
                      </a:lnTo>
                      <a:lnTo>
                        <a:pt x="334" y="66"/>
                      </a:lnTo>
                      <a:lnTo>
                        <a:pt x="334" y="64"/>
                      </a:lnTo>
                      <a:lnTo>
                        <a:pt x="328" y="64"/>
                      </a:lnTo>
                      <a:lnTo>
                        <a:pt x="328" y="64"/>
                      </a:lnTo>
                      <a:lnTo>
                        <a:pt x="322" y="66"/>
                      </a:lnTo>
                      <a:lnTo>
                        <a:pt x="320" y="64"/>
                      </a:lnTo>
                      <a:lnTo>
                        <a:pt x="318" y="64"/>
                      </a:lnTo>
                      <a:lnTo>
                        <a:pt x="312" y="64"/>
                      </a:lnTo>
                      <a:lnTo>
                        <a:pt x="312" y="64"/>
                      </a:lnTo>
                      <a:lnTo>
                        <a:pt x="318" y="62"/>
                      </a:lnTo>
                      <a:lnTo>
                        <a:pt x="322" y="62"/>
                      </a:lnTo>
                      <a:lnTo>
                        <a:pt x="326" y="60"/>
                      </a:lnTo>
                      <a:lnTo>
                        <a:pt x="326" y="58"/>
                      </a:lnTo>
                      <a:lnTo>
                        <a:pt x="326" y="58"/>
                      </a:lnTo>
                      <a:lnTo>
                        <a:pt x="326" y="58"/>
                      </a:lnTo>
                      <a:lnTo>
                        <a:pt x="320" y="56"/>
                      </a:lnTo>
                      <a:lnTo>
                        <a:pt x="312" y="56"/>
                      </a:lnTo>
                      <a:lnTo>
                        <a:pt x="304" y="58"/>
                      </a:lnTo>
                      <a:lnTo>
                        <a:pt x="298" y="58"/>
                      </a:lnTo>
                      <a:lnTo>
                        <a:pt x="298" y="58"/>
                      </a:lnTo>
                      <a:lnTo>
                        <a:pt x="298" y="56"/>
                      </a:lnTo>
                      <a:lnTo>
                        <a:pt x="300" y="56"/>
                      </a:lnTo>
                      <a:lnTo>
                        <a:pt x="310" y="54"/>
                      </a:lnTo>
                      <a:lnTo>
                        <a:pt x="320" y="52"/>
                      </a:lnTo>
                      <a:lnTo>
                        <a:pt x="322" y="50"/>
                      </a:lnTo>
                      <a:lnTo>
                        <a:pt x="322" y="48"/>
                      </a:lnTo>
                      <a:lnTo>
                        <a:pt x="322" y="48"/>
                      </a:lnTo>
                      <a:lnTo>
                        <a:pt x="320" y="46"/>
                      </a:lnTo>
                      <a:lnTo>
                        <a:pt x="320" y="44"/>
                      </a:lnTo>
                      <a:lnTo>
                        <a:pt x="318" y="42"/>
                      </a:lnTo>
                      <a:lnTo>
                        <a:pt x="316" y="40"/>
                      </a:lnTo>
                      <a:lnTo>
                        <a:pt x="316" y="40"/>
                      </a:lnTo>
                      <a:lnTo>
                        <a:pt x="310" y="38"/>
                      </a:lnTo>
                      <a:lnTo>
                        <a:pt x="306" y="38"/>
                      </a:lnTo>
                      <a:lnTo>
                        <a:pt x="296" y="42"/>
                      </a:lnTo>
                      <a:lnTo>
                        <a:pt x="296" y="42"/>
                      </a:lnTo>
                      <a:lnTo>
                        <a:pt x="288" y="46"/>
                      </a:lnTo>
                      <a:lnTo>
                        <a:pt x="294" y="42"/>
                      </a:lnTo>
                      <a:lnTo>
                        <a:pt x="294" y="42"/>
                      </a:lnTo>
                      <a:lnTo>
                        <a:pt x="304" y="36"/>
                      </a:lnTo>
                      <a:lnTo>
                        <a:pt x="306" y="34"/>
                      </a:lnTo>
                      <a:lnTo>
                        <a:pt x="306" y="34"/>
                      </a:lnTo>
                      <a:lnTo>
                        <a:pt x="306" y="34"/>
                      </a:lnTo>
                      <a:lnTo>
                        <a:pt x="298" y="32"/>
                      </a:lnTo>
                      <a:lnTo>
                        <a:pt x="294" y="32"/>
                      </a:lnTo>
                      <a:lnTo>
                        <a:pt x="290" y="34"/>
                      </a:lnTo>
                      <a:lnTo>
                        <a:pt x="290" y="34"/>
                      </a:lnTo>
                      <a:lnTo>
                        <a:pt x="288" y="34"/>
                      </a:lnTo>
                      <a:lnTo>
                        <a:pt x="286" y="34"/>
                      </a:lnTo>
                      <a:lnTo>
                        <a:pt x="286" y="30"/>
                      </a:lnTo>
                      <a:lnTo>
                        <a:pt x="286" y="26"/>
                      </a:lnTo>
                      <a:lnTo>
                        <a:pt x="286" y="24"/>
                      </a:lnTo>
                      <a:lnTo>
                        <a:pt x="284" y="26"/>
                      </a:lnTo>
                      <a:lnTo>
                        <a:pt x="284" y="26"/>
                      </a:lnTo>
                      <a:lnTo>
                        <a:pt x="280" y="26"/>
                      </a:lnTo>
                      <a:lnTo>
                        <a:pt x="278" y="24"/>
                      </a:lnTo>
                      <a:lnTo>
                        <a:pt x="274" y="22"/>
                      </a:lnTo>
                      <a:lnTo>
                        <a:pt x="264" y="22"/>
                      </a:lnTo>
                      <a:lnTo>
                        <a:pt x="264" y="22"/>
                      </a:lnTo>
                      <a:lnTo>
                        <a:pt x="260" y="22"/>
                      </a:lnTo>
                      <a:lnTo>
                        <a:pt x="256" y="22"/>
                      </a:lnTo>
                      <a:lnTo>
                        <a:pt x="252" y="20"/>
                      </a:lnTo>
                      <a:lnTo>
                        <a:pt x="248" y="20"/>
                      </a:lnTo>
                      <a:lnTo>
                        <a:pt x="248" y="20"/>
                      </a:lnTo>
                      <a:lnTo>
                        <a:pt x="244" y="18"/>
                      </a:lnTo>
                      <a:lnTo>
                        <a:pt x="242" y="14"/>
                      </a:lnTo>
                      <a:lnTo>
                        <a:pt x="238" y="12"/>
                      </a:lnTo>
                      <a:lnTo>
                        <a:pt x="230" y="10"/>
                      </a:lnTo>
                      <a:lnTo>
                        <a:pt x="230" y="10"/>
                      </a:lnTo>
                      <a:lnTo>
                        <a:pt x="212" y="12"/>
                      </a:lnTo>
                      <a:lnTo>
                        <a:pt x="208" y="12"/>
                      </a:lnTo>
                      <a:lnTo>
                        <a:pt x="208" y="14"/>
                      </a:lnTo>
                      <a:lnTo>
                        <a:pt x="212" y="18"/>
                      </a:lnTo>
                      <a:lnTo>
                        <a:pt x="212" y="18"/>
                      </a:lnTo>
                      <a:lnTo>
                        <a:pt x="216" y="20"/>
                      </a:lnTo>
                      <a:lnTo>
                        <a:pt x="212" y="20"/>
                      </a:lnTo>
                      <a:lnTo>
                        <a:pt x="210" y="22"/>
                      </a:lnTo>
                      <a:lnTo>
                        <a:pt x="210" y="24"/>
                      </a:lnTo>
                      <a:lnTo>
                        <a:pt x="214" y="26"/>
                      </a:lnTo>
                      <a:lnTo>
                        <a:pt x="214" y="26"/>
                      </a:lnTo>
                      <a:lnTo>
                        <a:pt x="212" y="26"/>
                      </a:lnTo>
                      <a:lnTo>
                        <a:pt x="206" y="20"/>
                      </a:lnTo>
                      <a:lnTo>
                        <a:pt x="202" y="20"/>
                      </a:lnTo>
                      <a:lnTo>
                        <a:pt x="202" y="20"/>
                      </a:lnTo>
                      <a:lnTo>
                        <a:pt x="202" y="20"/>
                      </a:lnTo>
                      <a:lnTo>
                        <a:pt x="200" y="20"/>
                      </a:lnTo>
                      <a:lnTo>
                        <a:pt x="200" y="20"/>
                      </a:lnTo>
                      <a:lnTo>
                        <a:pt x="198" y="14"/>
                      </a:lnTo>
                      <a:lnTo>
                        <a:pt x="196" y="12"/>
                      </a:lnTo>
                      <a:lnTo>
                        <a:pt x="194" y="12"/>
                      </a:lnTo>
                      <a:lnTo>
                        <a:pt x="190" y="14"/>
                      </a:lnTo>
                      <a:lnTo>
                        <a:pt x="190" y="14"/>
                      </a:lnTo>
                      <a:lnTo>
                        <a:pt x="186" y="18"/>
                      </a:lnTo>
                      <a:lnTo>
                        <a:pt x="184" y="16"/>
                      </a:lnTo>
                      <a:lnTo>
                        <a:pt x="182" y="14"/>
                      </a:lnTo>
                      <a:lnTo>
                        <a:pt x="178" y="16"/>
                      </a:lnTo>
                      <a:lnTo>
                        <a:pt x="178" y="16"/>
                      </a:lnTo>
                      <a:lnTo>
                        <a:pt x="174" y="22"/>
                      </a:lnTo>
                      <a:lnTo>
                        <a:pt x="168" y="24"/>
                      </a:lnTo>
                      <a:lnTo>
                        <a:pt x="166" y="24"/>
                      </a:lnTo>
                      <a:lnTo>
                        <a:pt x="166" y="22"/>
                      </a:lnTo>
                      <a:lnTo>
                        <a:pt x="166" y="22"/>
                      </a:lnTo>
                      <a:lnTo>
                        <a:pt x="172" y="14"/>
                      </a:lnTo>
                      <a:lnTo>
                        <a:pt x="172" y="12"/>
                      </a:lnTo>
                      <a:lnTo>
                        <a:pt x="168" y="12"/>
                      </a:lnTo>
                      <a:lnTo>
                        <a:pt x="168" y="12"/>
                      </a:lnTo>
                      <a:lnTo>
                        <a:pt x="166" y="12"/>
                      </a:lnTo>
                      <a:lnTo>
                        <a:pt x="166" y="10"/>
                      </a:lnTo>
                      <a:lnTo>
                        <a:pt x="168" y="8"/>
                      </a:lnTo>
                      <a:lnTo>
                        <a:pt x="168" y="6"/>
                      </a:lnTo>
                      <a:lnTo>
                        <a:pt x="168" y="6"/>
                      </a:lnTo>
                      <a:lnTo>
                        <a:pt x="166" y="4"/>
                      </a:lnTo>
                      <a:lnTo>
                        <a:pt x="164" y="2"/>
                      </a:lnTo>
                      <a:lnTo>
                        <a:pt x="164" y="0"/>
                      </a:lnTo>
                      <a:lnTo>
                        <a:pt x="162" y="0"/>
                      </a:lnTo>
                      <a:lnTo>
                        <a:pt x="162" y="0"/>
                      </a:lnTo>
                      <a:lnTo>
                        <a:pt x="148" y="0"/>
                      </a:lnTo>
                      <a:lnTo>
                        <a:pt x="138" y="2"/>
                      </a:lnTo>
                      <a:lnTo>
                        <a:pt x="130" y="2"/>
                      </a:lnTo>
                      <a:lnTo>
                        <a:pt x="130" y="2"/>
                      </a:lnTo>
                      <a:lnTo>
                        <a:pt x="118" y="4"/>
                      </a:lnTo>
                      <a:lnTo>
                        <a:pt x="110" y="6"/>
                      </a:lnTo>
                      <a:lnTo>
                        <a:pt x="110" y="6"/>
                      </a:lnTo>
                      <a:lnTo>
                        <a:pt x="104" y="8"/>
                      </a:lnTo>
                      <a:lnTo>
                        <a:pt x="96" y="10"/>
                      </a:lnTo>
                      <a:lnTo>
                        <a:pt x="92" y="10"/>
                      </a:lnTo>
                      <a:lnTo>
                        <a:pt x="96" y="12"/>
                      </a:lnTo>
                      <a:lnTo>
                        <a:pt x="96" y="12"/>
                      </a:lnTo>
                      <a:lnTo>
                        <a:pt x="94" y="12"/>
                      </a:lnTo>
                      <a:lnTo>
                        <a:pt x="86" y="14"/>
                      </a:lnTo>
                      <a:lnTo>
                        <a:pt x="82" y="16"/>
                      </a:lnTo>
                      <a:lnTo>
                        <a:pt x="80" y="18"/>
                      </a:lnTo>
                      <a:lnTo>
                        <a:pt x="80" y="20"/>
                      </a:lnTo>
                      <a:lnTo>
                        <a:pt x="86" y="22"/>
                      </a:lnTo>
                      <a:lnTo>
                        <a:pt x="86" y="22"/>
                      </a:lnTo>
                      <a:lnTo>
                        <a:pt x="88" y="24"/>
                      </a:lnTo>
                      <a:lnTo>
                        <a:pt x="88" y="24"/>
                      </a:lnTo>
                      <a:lnTo>
                        <a:pt x="78" y="24"/>
                      </a:lnTo>
                      <a:lnTo>
                        <a:pt x="74" y="26"/>
                      </a:lnTo>
                      <a:lnTo>
                        <a:pt x="68" y="28"/>
                      </a:lnTo>
                      <a:lnTo>
                        <a:pt x="66" y="30"/>
                      </a:lnTo>
                      <a:lnTo>
                        <a:pt x="66" y="34"/>
                      </a:lnTo>
                      <a:lnTo>
                        <a:pt x="66" y="34"/>
                      </a:lnTo>
                      <a:lnTo>
                        <a:pt x="62" y="32"/>
                      </a:lnTo>
                      <a:lnTo>
                        <a:pt x="62" y="28"/>
                      </a:lnTo>
                      <a:lnTo>
                        <a:pt x="62" y="24"/>
                      </a:lnTo>
                      <a:lnTo>
                        <a:pt x="68" y="20"/>
                      </a:lnTo>
                      <a:lnTo>
                        <a:pt x="68" y="20"/>
                      </a:lnTo>
                      <a:lnTo>
                        <a:pt x="72" y="18"/>
                      </a:lnTo>
                      <a:lnTo>
                        <a:pt x="74" y="16"/>
                      </a:lnTo>
                      <a:lnTo>
                        <a:pt x="76" y="12"/>
                      </a:lnTo>
                      <a:lnTo>
                        <a:pt x="80" y="10"/>
                      </a:lnTo>
                      <a:lnTo>
                        <a:pt x="80" y="10"/>
                      </a:lnTo>
                      <a:lnTo>
                        <a:pt x="84" y="8"/>
                      </a:lnTo>
                      <a:lnTo>
                        <a:pt x="86" y="4"/>
                      </a:lnTo>
                      <a:lnTo>
                        <a:pt x="84" y="2"/>
                      </a:lnTo>
                      <a:lnTo>
                        <a:pt x="76" y="2"/>
                      </a:lnTo>
                      <a:lnTo>
                        <a:pt x="76" y="2"/>
                      </a:lnTo>
                      <a:lnTo>
                        <a:pt x="58" y="2"/>
                      </a:lnTo>
                      <a:lnTo>
                        <a:pt x="44" y="4"/>
                      </a:lnTo>
                      <a:lnTo>
                        <a:pt x="44" y="4"/>
                      </a:lnTo>
                      <a:lnTo>
                        <a:pt x="38" y="6"/>
                      </a:lnTo>
                      <a:lnTo>
                        <a:pt x="30" y="10"/>
                      </a:lnTo>
                      <a:lnTo>
                        <a:pt x="30" y="10"/>
                      </a:lnTo>
                      <a:lnTo>
                        <a:pt x="24" y="16"/>
                      </a:lnTo>
                      <a:lnTo>
                        <a:pt x="20" y="18"/>
                      </a:lnTo>
                      <a:lnTo>
                        <a:pt x="12" y="22"/>
                      </a:lnTo>
                      <a:lnTo>
                        <a:pt x="12" y="22"/>
                      </a:lnTo>
                      <a:lnTo>
                        <a:pt x="8" y="22"/>
                      </a:lnTo>
                      <a:lnTo>
                        <a:pt x="6" y="24"/>
                      </a:lnTo>
                      <a:lnTo>
                        <a:pt x="6" y="26"/>
                      </a:lnTo>
                      <a:lnTo>
                        <a:pt x="8" y="28"/>
                      </a:lnTo>
                      <a:lnTo>
                        <a:pt x="10" y="30"/>
                      </a:lnTo>
                      <a:lnTo>
                        <a:pt x="10" y="30"/>
                      </a:lnTo>
                      <a:lnTo>
                        <a:pt x="8" y="32"/>
                      </a:lnTo>
                      <a:lnTo>
                        <a:pt x="8" y="32"/>
                      </a:lnTo>
                      <a:lnTo>
                        <a:pt x="2" y="32"/>
                      </a:lnTo>
                      <a:lnTo>
                        <a:pt x="0" y="34"/>
                      </a:lnTo>
                      <a:lnTo>
                        <a:pt x="2" y="38"/>
                      </a:lnTo>
                      <a:lnTo>
                        <a:pt x="4" y="40"/>
                      </a:lnTo>
                      <a:lnTo>
                        <a:pt x="14" y="44"/>
                      </a:lnTo>
                      <a:lnTo>
                        <a:pt x="20" y="46"/>
                      </a:lnTo>
                      <a:lnTo>
                        <a:pt x="26" y="46"/>
                      </a:lnTo>
                      <a:lnTo>
                        <a:pt x="26" y="46"/>
                      </a:lnTo>
                      <a:lnTo>
                        <a:pt x="38" y="44"/>
                      </a:lnTo>
                      <a:lnTo>
                        <a:pt x="44" y="42"/>
                      </a:lnTo>
                      <a:lnTo>
                        <a:pt x="44" y="42"/>
                      </a:lnTo>
                      <a:lnTo>
                        <a:pt x="50" y="40"/>
                      </a:lnTo>
                      <a:lnTo>
                        <a:pt x="52" y="42"/>
                      </a:lnTo>
                      <a:lnTo>
                        <a:pt x="54" y="42"/>
                      </a:lnTo>
                      <a:lnTo>
                        <a:pt x="58" y="44"/>
                      </a:lnTo>
                      <a:lnTo>
                        <a:pt x="58" y="44"/>
                      </a:lnTo>
                      <a:lnTo>
                        <a:pt x="66" y="44"/>
                      </a:lnTo>
                      <a:lnTo>
                        <a:pt x="70" y="46"/>
                      </a:lnTo>
                      <a:lnTo>
                        <a:pt x="74" y="44"/>
                      </a:lnTo>
                      <a:lnTo>
                        <a:pt x="74" y="44"/>
                      </a:lnTo>
                      <a:lnTo>
                        <a:pt x="78" y="40"/>
                      </a:lnTo>
                      <a:lnTo>
                        <a:pt x="82" y="40"/>
                      </a:lnTo>
                      <a:lnTo>
                        <a:pt x="82" y="40"/>
                      </a:lnTo>
                      <a:lnTo>
                        <a:pt x="78" y="44"/>
                      </a:lnTo>
                      <a:lnTo>
                        <a:pt x="78" y="44"/>
                      </a:lnTo>
                      <a:lnTo>
                        <a:pt x="82" y="46"/>
                      </a:lnTo>
                      <a:lnTo>
                        <a:pt x="82" y="46"/>
                      </a:lnTo>
                      <a:lnTo>
                        <a:pt x="86" y="46"/>
                      </a:lnTo>
                      <a:lnTo>
                        <a:pt x="86" y="46"/>
                      </a:lnTo>
                      <a:lnTo>
                        <a:pt x="88" y="46"/>
                      </a:lnTo>
                      <a:lnTo>
                        <a:pt x="90" y="46"/>
                      </a:lnTo>
                      <a:lnTo>
                        <a:pt x="90" y="46"/>
                      </a:lnTo>
                      <a:lnTo>
                        <a:pt x="94" y="46"/>
                      </a:lnTo>
                      <a:lnTo>
                        <a:pt x="96" y="48"/>
                      </a:lnTo>
                      <a:lnTo>
                        <a:pt x="100" y="50"/>
                      </a:lnTo>
                      <a:lnTo>
                        <a:pt x="102" y="50"/>
                      </a:lnTo>
                      <a:lnTo>
                        <a:pt x="102" y="50"/>
                      </a:lnTo>
                      <a:lnTo>
                        <a:pt x="104" y="48"/>
                      </a:lnTo>
                      <a:lnTo>
                        <a:pt x="104" y="44"/>
                      </a:lnTo>
                      <a:lnTo>
                        <a:pt x="104" y="42"/>
                      </a:lnTo>
                      <a:lnTo>
                        <a:pt x="106" y="44"/>
                      </a:lnTo>
                      <a:lnTo>
                        <a:pt x="106" y="44"/>
                      </a:lnTo>
                      <a:lnTo>
                        <a:pt x="110" y="46"/>
                      </a:lnTo>
                      <a:lnTo>
                        <a:pt x="112" y="50"/>
                      </a:lnTo>
                      <a:lnTo>
                        <a:pt x="116" y="50"/>
                      </a:lnTo>
                      <a:lnTo>
                        <a:pt x="120" y="50"/>
                      </a:lnTo>
                      <a:lnTo>
                        <a:pt x="120" y="50"/>
                      </a:lnTo>
                      <a:lnTo>
                        <a:pt x="122" y="50"/>
                      </a:lnTo>
                      <a:lnTo>
                        <a:pt x="122" y="48"/>
                      </a:lnTo>
                      <a:lnTo>
                        <a:pt x="118" y="46"/>
                      </a:lnTo>
                      <a:lnTo>
                        <a:pt x="114" y="44"/>
                      </a:lnTo>
                      <a:lnTo>
                        <a:pt x="114" y="42"/>
                      </a:lnTo>
                      <a:lnTo>
                        <a:pt x="114" y="42"/>
                      </a:lnTo>
                      <a:lnTo>
                        <a:pt x="114" y="42"/>
                      </a:lnTo>
                      <a:lnTo>
                        <a:pt x="120" y="42"/>
                      </a:lnTo>
                      <a:lnTo>
                        <a:pt x="124" y="44"/>
                      </a:lnTo>
                      <a:lnTo>
                        <a:pt x="128" y="46"/>
                      </a:lnTo>
                      <a:lnTo>
                        <a:pt x="132" y="46"/>
                      </a:lnTo>
                      <a:lnTo>
                        <a:pt x="132" y="46"/>
                      </a:lnTo>
                      <a:lnTo>
                        <a:pt x="136" y="44"/>
                      </a:lnTo>
                      <a:lnTo>
                        <a:pt x="138" y="40"/>
                      </a:lnTo>
                      <a:lnTo>
                        <a:pt x="138" y="38"/>
                      </a:lnTo>
                      <a:lnTo>
                        <a:pt x="132" y="34"/>
                      </a:lnTo>
                      <a:lnTo>
                        <a:pt x="132" y="34"/>
                      </a:lnTo>
                      <a:lnTo>
                        <a:pt x="144" y="40"/>
                      </a:lnTo>
                      <a:lnTo>
                        <a:pt x="146" y="40"/>
                      </a:lnTo>
                      <a:lnTo>
                        <a:pt x="148" y="38"/>
                      </a:lnTo>
                      <a:lnTo>
                        <a:pt x="148" y="38"/>
                      </a:lnTo>
                      <a:lnTo>
                        <a:pt x="148" y="36"/>
                      </a:lnTo>
                      <a:lnTo>
                        <a:pt x="148" y="38"/>
                      </a:lnTo>
                      <a:lnTo>
                        <a:pt x="150" y="40"/>
                      </a:lnTo>
                      <a:lnTo>
                        <a:pt x="154" y="40"/>
                      </a:lnTo>
                      <a:lnTo>
                        <a:pt x="154" y="40"/>
                      </a:lnTo>
                      <a:lnTo>
                        <a:pt x="160" y="42"/>
                      </a:lnTo>
                      <a:lnTo>
                        <a:pt x="162" y="44"/>
                      </a:lnTo>
                      <a:lnTo>
                        <a:pt x="164" y="46"/>
                      </a:lnTo>
                      <a:lnTo>
                        <a:pt x="168" y="46"/>
                      </a:lnTo>
                      <a:lnTo>
                        <a:pt x="168" y="46"/>
                      </a:lnTo>
                      <a:lnTo>
                        <a:pt x="172" y="46"/>
                      </a:lnTo>
                      <a:lnTo>
                        <a:pt x="172" y="48"/>
                      </a:lnTo>
                      <a:lnTo>
                        <a:pt x="172" y="50"/>
                      </a:lnTo>
                      <a:lnTo>
                        <a:pt x="176" y="50"/>
                      </a:lnTo>
                      <a:lnTo>
                        <a:pt x="176" y="50"/>
                      </a:lnTo>
                      <a:lnTo>
                        <a:pt x="180" y="50"/>
                      </a:lnTo>
                      <a:lnTo>
                        <a:pt x="184" y="52"/>
                      </a:lnTo>
                      <a:lnTo>
                        <a:pt x="186" y="54"/>
                      </a:lnTo>
                      <a:lnTo>
                        <a:pt x="182" y="54"/>
                      </a:lnTo>
                      <a:lnTo>
                        <a:pt x="182" y="54"/>
                      </a:lnTo>
                      <a:lnTo>
                        <a:pt x="178" y="56"/>
                      </a:lnTo>
                      <a:lnTo>
                        <a:pt x="174" y="58"/>
                      </a:lnTo>
                      <a:lnTo>
                        <a:pt x="174" y="60"/>
                      </a:lnTo>
                      <a:lnTo>
                        <a:pt x="178" y="62"/>
                      </a:lnTo>
                      <a:lnTo>
                        <a:pt x="178" y="62"/>
                      </a:lnTo>
                      <a:lnTo>
                        <a:pt x="184" y="62"/>
                      </a:lnTo>
                      <a:lnTo>
                        <a:pt x="184" y="60"/>
                      </a:lnTo>
                      <a:lnTo>
                        <a:pt x="186" y="58"/>
                      </a:lnTo>
                      <a:lnTo>
                        <a:pt x="188" y="56"/>
                      </a:lnTo>
                      <a:lnTo>
                        <a:pt x="188" y="56"/>
                      </a:lnTo>
                      <a:lnTo>
                        <a:pt x="196" y="58"/>
                      </a:lnTo>
                      <a:lnTo>
                        <a:pt x="198" y="58"/>
                      </a:lnTo>
                      <a:lnTo>
                        <a:pt x="200" y="60"/>
                      </a:lnTo>
                      <a:lnTo>
                        <a:pt x="200" y="60"/>
                      </a:lnTo>
                      <a:lnTo>
                        <a:pt x="204" y="60"/>
                      </a:lnTo>
                      <a:lnTo>
                        <a:pt x="206" y="62"/>
                      </a:lnTo>
                      <a:lnTo>
                        <a:pt x="210" y="62"/>
                      </a:lnTo>
                      <a:lnTo>
                        <a:pt x="210" y="64"/>
                      </a:lnTo>
                      <a:lnTo>
                        <a:pt x="210" y="64"/>
                      </a:lnTo>
                      <a:lnTo>
                        <a:pt x="212" y="68"/>
                      </a:lnTo>
                      <a:lnTo>
                        <a:pt x="214" y="72"/>
                      </a:lnTo>
                      <a:lnTo>
                        <a:pt x="214" y="74"/>
                      </a:lnTo>
                      <a:lnTo>
                        <a:pt x="212" y="76"/>
                      </a:lnTo>
                      <a:lnTo>
                        <a:pt x="212" y="76"/>
                      </a:lnTo>
                      <a:lnTo>
                        <a:pt x="202" y="78"/>
                      </a:lnTo>
                      <a:lnTo>
                        <a:pt x="194" y="82"/>
                      </a:lnTo>
                      <a:lnTo>
                        <a:pt x="194" y="82"/>
                      </a:lnTo>
                      <a:lnTo>
                        <a:pt x="182" y="86"/>
                      </a:lnTo>
                      <a:lnTo>
                        <a:pt x="178" y="88"/>
                      </a:lnTo>
                      <a:lnTo>
                        <a:pt x="182" y="88"/>
                      </a:lnTo>
                      <a:lnTo>
                        <a:pt x="182" y="88"/>
                      </a:lnTo>
                      <a:lnTo>
                        <a:pt x="192" y="92"/>
                      </a:lnTo>
                      <a:lnTo>
                        <a:pt x="198" y="94"/>
                      </a:lnTo>
                      <a:lnTo>
                        <a:pt x="202" y="92"/>
                      </a:lnTo>
                      <a:lnTo>
                        <a:pt x="202" y="92"/>
                      </a:lnTo>
                      <a:lnTo>
                        <a:pt x="212" y="86"/>
                      </a:lnTo>
                      <a:lnTo>
                        <a:pt x="214" y="84"/>
                      </a:lnTo>
                      <a:lnTo>
                        <a:pt x="216" y="86"/>
                      </a:lnTo>
                      <a:lnTo>
                        <a:pt x="216" y="86"/>
                      </a:lnTo>
                      <a:lnTo>
                        <a:pt x="216" y="90"/>
                      </a:lnTo>
                      <a:lnTo>
                        <a:pt x="216" y="92"/>
                      </a:lnTo>
                      <a:lnTo>
                        <a:pt x="220" y="94"/>
                      </a:lnTo>
                      <a:lnTo>
                        <a:pt x="226" y="94"/>
                      </a:lnTo>
                      <a:lnTo>
                        <a:pt x="226" y="94"/>
                      </a:lnTo>
                      <a:lnTo>
                        <a:pt x="230" y="94"/>
                      </a:lnTo>
                      <a:lnTo>
                        <a:pt x="230" y="96"/>
                      </a:lnTo>
                      <a:lnTo>
                        <a:pt x="220" y="98"/>
                      </a:lnTo>
                      <a:lnTo>
                        <a:pt x="220" y="98"/>
                      </a:lnTo>
                      <a:lnTo>
                        <a:pt x="214" y="100"/>
                      </a:lnTo>
                      <a:lnTo>
                        <a:pt x="212" y="100"/>
                      </a:lnTo>
                      <a:lnTo>
                        <a:pt x="208" y="100"/>
                      </a:lnTo>
                      <a:lnTo>
                        <a:pt x="202" y="104"/>
                      </a:lnTo>
                      <a:lnTo>
                        <a:pt x="202" y="104"/>
                      </a:lnTo>
                      <a:lnTo>
                        <a:pt x="194" y="110"/>
                      </a:lnTo>
                      <a:lnTo>
                        <a:pt x="192" y="110"/>
                      </a:lnTo>
                      <a:lnTo>
                        <a:pt x="192" y="108"/>
                      </a:lnTo>
                      <a:lnTo>
                        <a:pt x="192" y="108"/>
                      </a:lnTo>
                      <a:lnTo>
                        <a:pt x="192" y="104"/>
                      </a:lnTo>
                      <a:lnTo>
                        <a:pt x="196" y="100"/>
                      </a:lnTo>
                      <a:lnTo>
                        <a:pt x="196" y="100"/>
                      </a:lnTo>
                      <a:lnTo>
                        <a:pt x="198" y="98"/>
                      </a:lnTo>
                      <a:lnTo>
                        <a:pt x="198" y="96"/>
                      </a:lnTo>
                      <a:lnTo>
                        <a:pt x="192" y="94"/>
                      </a:lnTo>
                      <a:lnTo>
                        <a:pt x="192" y="94"/>
                      </a:lnTo>
                      <a:lnTo>
                        <a:pt x="182" y="92"/>
                      </a:lnTo>
                      <a:lnTo>
                        <a:pt x="176" y="90"/>
                      </a:lnTo>
                      <a:lnTo>
                        <a:pt x="172" y="90"/>
                      </a:lnTo>
                      <a:lnTo>
                        <a:pt x="172" y="90"/>
                      </a:lnTo>
                      <a:lnTo>
                        <a:pt x="164" y="92"/>
                      </a:lnTo>
                      <a:lnTo>
                        <a:pt x="160" y="94"/>
                      </a:lnTo>
                      <a:lnTo>
                        <a:pt x="158" y="96"/>
                      </a:lnTo>
                      <a:lnTo>
                        <a:pt x="158" y="96"/>
                      </a:lnTo>
                      <a:lnTo>
                        <a:pt x="158" y="98"/>
                      </a:lnTo>
                      <a:lnTo>
                        <a:pt x="160" y="98"/>
                      </a:lnTo>
                      <a:lnTo>
                        <a:pt x="164" y="100"/>
                      </a:lnTo>
                      <a:lnTo>
                        <a:pt x="170" y="104"/>
                      </a:lnTo>
                      <a:lnTo>
                        <a:pt x="172" y="106"/>
                      </a:lnTo>
                      <a:lnTo>
                        <a:pt x="172" y="106"/>
                      </a:lnTo>
                      <a:lnTo>
                        <a:pt x="158" y="102"/>
                      </a:lnTo>
                      <a:lnTo>
                        <a:pt x="154" y="102"/>
                      </a:lnTo>
                      <a:lnTo>
                        <a:pt x="154" y="104"/>
                      </a:lnTo>
                      <a:lnTo>
                        <a:pt x="154" y="104"/>
                      </a:lnTo>
                      <a:lnTo>
                        <a:pt x="154" y="104"/>
                      </a:lnTo>
                      <a:lnTo>
                        <a:pt x="154" y="106"/>
                      </a:lnTo>
                      <a:lnTo>
                        <a:pt x="152" y="106"/>
                      </a:lnTo>
                      <a:lnTo>
                        <a:pt x="146" y="106"/>
                      </a:lnTo>
                      <a:lnTo>
                        <a:pt x="140" y="106"/>
                      </a:lnTo>
                      <a:lnTo>
                        <a:pt x="140" y="106"/>
                      </a:lnTo>
                      <a:lnTo>
                        <a:pt x="140" y="108"/>
                      </a:lnTo>
                      <a:lnTo>
                        <a:pt x="140" y="108"/>
                      </a:lnTo>
                      <a:lnTo>
                        <a:pt x="142" y="108"/>
                      </a:lnTo>
                      <a:lnTo>
                        <a:pt x="140" y="108"/>
                      </a:lnTo>
                      <a:lnTo>
                        <a:pt x="132" y="108"/>
                      </a:lnTo>
                      <a:lnTo>
                        <a:pt x="124" y="108"/>
                      </a:lnTo>
                      <a:lnTo>
                        <a:pt x="122" y="108"/>
                      </a:lnTo>
                      <a:lnTo>
                        <a:pt x="124" y="108"/>
                      </a:lnTo>
                      <a:lnTo>
                        <a:pt x="124" y="108"/>
                      </a:lnTo>
                      <a:lnTo>
                        <a:pt x="124" y="110"/>
                      </a:lnTo>
                      <a:lnTo>
                        <a:pt x="122" y="110"/>
                      </a:lnTo>
                      <a:lnTo>
                        <a:pt x="110" y="108"/>
                      </a:lnTo>
                      <a:lnTo>
                        <a:pt x="98" y="106"/>
                      </a:lnTo>
                      <a:lnTo>
                        <a:pt x="96" y="108"/>
                      </a:lnTo>
                      <a:lnTo>
                        <a:pt x="98" y="110"/>
                      </a:lnTo>
                      <a:lnTo>
                        <a:pt x="98" y="110"/>
                      </a:lnTo>
                      <a:lnTo>
                        <a:pt x="102" y="112"/>
                      </a:lnTo>
                      <a:lnTo>
                        <a:pt x="100" y="112"/>
                      </a:lnTo>
                      <a:lnTo>
                        <a:pt x="92" y="112"/>
                      </a:lnTo>
                      <a:lnTo>
                        <a:pt x="82" y="112"/>
                      </a:lnTo>
                      <a:lnTo>
                        <a:pt x="80" y="112"/>
                      </a:lnTo>
                      <a:lnTo>
                        <a:pt x="84" y="114"/>
                      </a:lnTo>
                      <a:lnTo>
                        <a:pt x="84" y="114"/>
                      </a:lnTo>
                      <a:lnTo>
                        <a:pt x="88" y="116"/>
                      </a:lnTo>
                      <a:lnTo>
                        <a:pt x="86" y="116"/>
                      </a:lnTo>
                      <a:lnTo>
                        <a:pt x="82" y="118"/>
                      </a:lnTo>
                      <a:lnTo>
                        <a:pt x="80" y="120"/>
                      </a:lnTo>
                      <a:lnTo>
                        <a:pt x="78" y="124"/>
                      </a:lnTo>
                      <a:lnTo>
                        <a:pt x="78" y="124"/>
                      </a:lnTo>
                      <a:close/>
                    </a:path>
                  </a:pathLst>
                </a:custGeom>
                <a:solidFill>
                  <a:schemeClr val="tx1">
                    <a:alpha val="9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0" name="Freeform 105"/>
                <p:cNvSpPr>
                  <a:spLocks/>
                </p:cNvSpPr>
                <p:nvPr/>
              </p:nvSpPr>
              <p:spPr bwMode="auto">
                <a:xfrm>
                  <a:off x="3134504" y="1308886"/>
                  <a:ext cx="364517" cy="88010"/>
                </a:xfrm>
                <a:custGeom>
                  <a:avLst/>
                  <a:gdLst/>
                  <a:ahLst/>
                  <a:cxnLst>
                    <a:cxn ang="0">
                      <a:pos x="2" y="46"/>
                    </a:cxn>
                    <a:cxn ang="0">
                      <a:pos x="24" y="48"/>
                    </a:cxn>
                    <a:cxn ang="0">
                      <a:pos x="24" y="54"/>
                    </a:cxn>
                    <a:cxn ang="0">
                      <a:pos x="32" y="58"/>
                    </a:cxn>
                    <a:cxn ang="0">
                      <a:pos x="66" y="56"/>
                    </a:cxn>
                    <a:cxn ang="0">
                      <a:pos x="84" y="56"/>
                    </a:cxn>
                    <a:cxn ang="0">
                      <a:pos x="102" y="52"/>
                    </a:cxn>
                    <a:cxn ang="0">
                      <a:pos x="112" y="50"/>
                    </a:cxn>
                    <a:cxn ang="0">
                      <a:pos x="136" y="46"/>
                    </a:cxn>
                    <a:cxn ang="0">
                      <a:pos x="140" y="38"/>
                    </a:cxn>
                    <a:cxn ang="0">
                      <a:pos x="146" y="46"/>
                    </a:cxn>
                    <a:cxn ang="0">
                      <a:pos x="160" y="48"/>
                    </a:cxn>
                    <a:cxn ang="0">
                      <a:pos x="180" y="52"/>
                    </a:cxn>
                    <a:cxn ang="0">
                      <a:pos x="196" y="58"/>
                    </a:cxn>
                    <a:cxn ang="0">
                      <a:pos x="214" y="56"/>
                    </a:cxn>
                    <a:cxn ang="0">
                      <a:pos x="218" y="52"/>
                    </a:cxn>
                    <a:cxn ang="0">
                      <a:pos x="196" y="46"/>
                    </a:cxn>
                    <a:cxn ang="0">
                      <a:pos x="214" y="44"/>
                    </a:cxn>
                    <a:cxn ang="0">
                      <a:pos x="214" y="38"/>
                    </a:cxn>
                    <a:cxn ang="0">
                      <a:pos x="232" y="40"/>
                    </a:cxn>
                    <a:cxn ang="0">
                      <a:pos x="236" y="32"/>
                    </a:cxn>
                    <a:cxn ang="0">
                      <a:pos x="218" y="24"/>
                    </a:cxn>
                    <a:cxn ang="0">
                      <a:pos x="218" y="14"/>
                    </a:cxn>
                    <a:cxn ang="0">
                      <a:pos x="216" y="10"/>
                    </a:cxn>
                    <a:cxn ang="0">
                      <a:pos x="202" y="0"/>
                    </a:cxn>
                    <a:cxn ang="0">
                      <a:pos x="196" y="0"/>
                    </a:cxn>
                    <a:cxn ang="0">
                      <a:pos x="192" y="6"/>
                    </a:cxn>
                    <a:cxn ang="0">
                      <a:pos x="190" y="10"/>
                    </a:cxn>
                    <a:cxn ang="0">
                      <a:pos x="188" y="14"/>
                    </a:cxn>
                    <a:cxn ang="0">
                      <a:pos x="186" y="18"/>
                    </a:cxn>
                    <a:cxn ang="0">
                      <a:pos x="174" y="18"/>
                    </a:cxn>
                    <a:cxn ang="0">
                      <a:pos x="172" y="18"/>
                    </a:cxn>
                    <a:cxn ang="0">
                      <a:pos x="184" y="6"/>
                    </a:cxn>
                    <a:cxn ang="0">
                      <a:pos x="164" y="2"/>
                    </a:cxn>
                    <a:cxn ang="0">
                      <a:pos x="168" y="6"/>
                    </a:cxn>
                    <a:cxn ang="0">
                      <a:pos x="158" y="8"/>
                    </a:cxn>
                    <a:cxn ang="0">
                      <a:pos x="154" y="8"/>
                    </a:cxn>
                    <a:cxn ang="0">
                      <a:pos x="148" y="10"/>
                    </a:cxn>
                    <a:cxn ang="0">
                      <a:pos x="140" y="8"/>
                    </a:cxn>
                    <a:cxn ang="0">
                      <a:pos x="140" y="2"/>
                    </a:cxn>
                    <a:cxn ang="0">
                      <a:pos x="122" y="2"/>
                    </a:cxn>
                    <a:cxn ang="0">
                      <a:pos x="114" y="4"/>
                    </a:cxn>
                    <a:cxn ang="0">
                      <a:pos x="102" y="0"/>
                    </a:cxn>
                    <a:cxn ang="0">
                      <a:pos x="58" y="6"/>
                    </a:cxn>
                    <a:cxn ang="0">
                      <a:pos x="56" y="12"/>
                    </a:cxn>
                    <a:cxn ang="0">
                      <a:pos x="26" y="18"/>
                    </a:cxn>
                    <a:cxn ang="0">
                      <a:pos x="34" y="20"/>
                    </a:cxn>
                    <a:cxn ang="0">
                      <a:pos x="50" y="20"/>
                    </a:cxn>
                    <a:cxn ang="0">
                      <a:pos x="20" y="24"/>
                    </a:cxn>
                    <a:cxn ang="0">
                      <a:pos x="20" y="30"/>
                    </a:cxn>
                    <a:cxn ang="0">
                      <a:pos x="30" y="34"/>
                    </a:cxn>
                    <a:cxn ang="0">
                      <a:pos x="56" y="32"/>
                    </a:cxn>
                    <a:cxn ang="0">
                      <a:pos x="62" y="36"/>
                    </a:cxn>
                    <a:cxn ang="0">
                      <a:pos x="42" y="38"/>
                    </a:cxn>
                    <a:cxn ang="0">
                      <a:pos x="4" y="42"/>
                    </a:cxn>
                  </a:cxnLst>
                  <a:rect l="0" t="0" r="r" b="b"/>
                  <a:pathLst>
                    <a:path w="240" h="58">
                      <a:moveTo>
                        <a:pt x="4" y="42"/>
                      </a:moveTo>
                      <a:lnTo>
                        <a:pt x="4" y="42"/>
                      </a:lnTo>
                      <a:lnTo>
                        <a:pt x="0" y="44"/>
                      </a:lnTo>
                      <a:lnTo>
                        <a:pt x="2" y="46"/>
                      </a:lnTo>
                      <a:lnTo>
                        <a:pt x="14" y="46"/>
                      </a:lnTo>
                      <a:lnTo>
                        <a:pt x="14" y="46"/>
                      </a:lnTo>
                      <a:lnTo>
                        <a:pt x="20" y="48"/>
                      </a:lnTo>
                      <a:lnTo>
                        <a:pt x="24" y="48"/>
                      </a:lnTo>
                      <a:lnTo>
                        <a:pt x="26" y="50"/>
                      </a:lnTo>
                      <a:lnTo>
                        <a:pt x="24" y="52"/>
                      </a:lnTo>
                      <a:lnTo>
                        <a:pt x="24" y="52"/>
                      </a:lnTo>
                      <a:lnTo>
                        <a:pt x="24" y="54"/>
                      </a:lnTo>
                      <a:lnTo>
                        <a:pt x="24" y="54"/>
                      </a:lnTo>
                      <a:lnTo>
                        <a:pt x="26" y="56"/>
                      </a:lnTo>
                      <a:lnTo>
                        <a:pt x="32" y="58"/>
                      </a:lnTo>
                      <a:lnTo>
                        <a:pt x="32" y="58"/>
                      </a:lnTo>
                      <a:lnTo>
                        <a:pt x="44" y="58"/>
                      </a:lnTo>
                      <a:lnTo>
                        <a:pt x="56" y="56"/>
                      </a:lnTo>
                      <a:lnTo>
                        <a:pt x="56" y="56"/>
                      </a:lnTo>
                      <a:lnTo>
                        <a:pt x="66" y="56"/>
                      </a:lnTo>
                      <a:lnTo>
                        <a:pt x="74" y="56"/>
                      </a:lnTo>
                      <a:lnTo>
                        <a:pt x="74" y="56"/>
                      </a:lnTo>
                      <a:lnTo>
                        <a:pt x="80" y="56"/>
                      </a:lnTo>
                      <a:lnTo>
                        <a:pt x="84" y="56"/>
                      </a:lnTo>
                      <a:lnTo>
                        <a:pt x="90" y="56"/>
                      </a:lnTo>
                      <a:lnTo>
                        <a:pt x="96" y="54"/>
                      </a:lnTo>
                      <a:lnTo>
                        <a:pt x="96" y="54"/>
                      </a:lnTo>
                      <a:lnTo>
                        <a:pt x="102" y="52"/>
                      </a:lnTo>
                      <a:lnTo>
                        <a:pt x="104" y="52"/>
                      </a:lnTo>
                      <a:lnTo>
                        <a:pt x="108" y="52"/>
                      </a:lnTo>
                      <a:lnTo>
                        <a:pt x="112" y="50"/>
                      </a:lnTo>
                      <a:lnTo>
                        <a:pt x="112" y="50"/>
                      </a:lnTo>
                      <a:lnTo>
                        <a:pt x="116" y="50"/>
                      </a:lnTo>
                      <a:lnTo>
                        <a:pt x="120" y="50"/>
                      </a:lnTo>
                      <a:lnTo>
                        <a:pt x="126" y="48"/>
                      </a:lnTo>
                      <a:lnTo>
                        <a:pt x="136" y="46"/>
                      </a:lnTo>
                      <a:lnTo>
                        <a:pt x="136" y="46"/>
                      </a:lnTo>
                      <a:lnTo>
                        <a:pt x="138" y="44"/>
                      </a:lnTo>
                      <a:lnTo>
                        <a:pt x="140" y="42"/>
                      </a:lnTo>
                      <a:lnTo>
                        <a:pt x="140" y="38"/>
                      </a:lnTo>
                      <a:lnTo>
                        <a:pt x="140" y="38"/>
                      </a:lnTo>
                      <a:lnTo>
                        <a:pt x="140" y="42"/>
                      </a:lnTo>
                      <a:lnTo>
                        <a:pt x="142" y="44"/>
                      </a:lnTo>
                      <a:lnTo>
                        <a:pt x="146" y="46"/>
                      </a:lnTo>
                      <a:lnTo>
                        <a:pt x="146" y="46"/>
                      </a:lnTo>
                      <a:lnTo>
                        <a:pt x="156" y="46"/>
                      </a:lnTo>
                      <a:lnTo>
                        <a:pt x="158" y="46"/>
                      </a:lnTo>
                      <a:lnTo>
                        <a:pt x="160" y="48"/>
                      </a:lnTo>
                      <a:lnTo>
                        <a:pt x="160" y="48"/>
                      </a:lnTo>
                      <a:lnTo>
                        <a:pt x="160" y="50"/>
                      </a:lnTo>
                      <a:lnTo>
                        <a:pt x="164" y="52"/>
                      </a:lnTo>
                      <a:lnTo>
                        <a:pt x="180" y="52"/>
                      </a:lnTo>
                      <a:lnTo>
                        <a:pt x="180" y="52"/>
                      </a:lnTo>
                      <a:lnTo>
                        <a:pt x="188" y="54"/>
                      </a:lnTo>
                      <a:lnTo>
                        <a:pt x="192" y="56"/>
                      </a:lnTo>
                      <a:lnTo>
                        <a:pt x="196" y="58"/>
                      </a:lnTo>
                      <a:lnTo>
                        <a:pt x="202" y="58"/>
                      </a:lnTo>
                      <a:lnTo>
                        <a:pt x="202" y="58"/>
                      </a:lnTo>
                      <a:lnTo>
                        <a:pt x="210" y="58"/>
                      </a:lnTo>
                      <a:lnTo>
                        <a:pt x="214" y="56"/>
                      </a:lnTo>
                      <a:lnTo>
                        <a:pt x="220" y="54"/>
                      </a:lnTo>
                      <a:lnTo>
                        <a:pt x="220" y="54"/>
                      </a:lnTo>
                      <a:lnTo>
                        <a:pt x="220" y="52"/>
                      </a:lnTo>
                      <a:lnTo>
                        <a:pt x="218" y="52"/>
                      </a:lnTo>
                      <a:lnTo>
                        <a:pt x="212" y="50"/>
                      </a:lnTo>
                      <a:lnTo>
                        <a:pt x="212" y="50"/>
                      </a:lnTo>
                      <a:lnTo>
                        <a:pt x="198" y="48"/>
                      </a:lnTo>
                      <a:lnTo>
                        <a:pt x="196" y="46"/>
                      </a:lnTo>
                      <a:lnTo>
                        <a:pt x="200" y="46"/>
                      </a:lnTo>
                      <a:lnTo>
                        <a:pt x="200" y="46"/>
                      </a:lnTo>
                      <a:lnTo>
                        <a:pt x="212" y="46"/>
                      </a:lnTo>
                      <a:lnTo>
                        <a:pt x="214" y="44"/>
                      </a:lnTo>
                      <a:lnTo>
                        <a:pt x="212" y="40"/>
                      </a:lnTo>
                      <a:lnTo>
                        <a:pt x="212" y="40"/>
                      </a:lnTo>
                      <a:lnTo>
                        <a:pt x="212" y="38"/>
                      </a:lnTo>
                      <a:lnTo>
                        <a:pt x="214" y="38"/>
                      </a:lnTo>
                      <a:lnTo>
                        <a:pt x="218" y="40"/>
                      </a:lnTo>
                      <a:lnTo>
                        <a:pt x="224" y="42"/>
                      </a:lnTo>
                      <a:lnTo>
                        <a:pt x="224" y="42"/>
                      </a:lnTo>
                      <a:lnTo>
                        <a:pt x="232" y="40"/>
                      </a:lnTo>
                      <a:lnTo>
                        <a:pt x="238" y="38"/>
                      </a:lnTo>
                      <a:lnTo>
                        <a:pt x="240" y="36"/>
                      </a:lnTo>
                      <a:lnTo>
                        <a:pt x="236" y="32"/>
                      </a:lnTo>
                      <a:lnTo>
                        <a:pt x="236" y="32"/>
                      </a:lnTo>
                      <a:lnTo>
                        <a:pt x="228" y="30"/>
                      </a:lnTo>
                      <a:lnTo>
                        <a:pt x="224" y="28"/>
                      </a:lnTo>
                      <a:lnTo>
                        <a:pt x="218" y="24"/>
                      </a:lnTo>
                      <a:lnTo>
                        <a:pt x="218" y="24"/>
                      </a:lnTo>
                      <a:lnTo>
                        <a:pt x="216" y="22"/>
                      </a:lnTo>
                      <a:lnTo>
                        <a:pt x="216" y="22"/>
                      </a:lnTo>
                      <a:lnTo>
                        <a:pt x="216" y="18"/>
                      </a:lnTo>
                      <a:lnTo>
                        <a:pt x="218" y="14"/>
                      </a:lnTo>
                      <a:lnTo>
                        <a:pt x="218" y="14"/>
                      </a:lnTo>
                      <a:lnTo>
                        <a:pt x="218" y="14"/>
                      </a:lnTo>
                      <a:lnTo>
                        <a:pt x="216" y="12"/>
                      </a:lnTo>
                      <a:lnTo>
                        <a:pt x="216" y="10"/>
                      </a:lnTo>
                      <a:lnTo>
                        <a:pt x="216" y="6"/>
                      </a:lnTo>
                      <a:lnTo>
                        <a:pt x="212" y="2"/>
                      </a:lnTo>
                      <a:lnTo>
                        <a:pt x="212" y="2"/>
                      </a:lnTo>
                      <a:lnTo>
                        <a:pt x="202" y="0"/>
                      </a:lnTo>
                      <a:lnTo>
                        <a:pt x="198" y="0"/>
                      </a:lnTo>
                      <a:lnTo>
                        <a:pt x="196" y="0"/>
                      </a:lnTo>
                      <a:lnTo>
                        <a:pt x="196" y="0"/>
                      </a:lnTo>
                      <a:lnTo>
                        <a:pt x="196" y="0"/>
                      </a:lnTo>
                      <a:lnTo>
                        <a:pt x="196" y="2"/>
                      </a:lnTo>
                      <a:lnTo>
                        <a:pt x="194" y="4"/>
                      </a:lnTo>
                      <a:lnTo>
                        <a:pt x="192" y="4"/>
                      </a:lnTo>
                      <a:lnTo>
                        <a:pt x="192" y="6"/>
                      </a:lnTo>
                      <a:lnTo>
                        <a:pt x="192" y="6"/>
                      </a:lnTo>
                      <a:lnTo>
                        <a:pt x="192" y="8"/>
                      </a:lnTo>
                      <a:lnTo>
                        <a:pt x="192" y="8"/>
                      </a:lnTo>
                      <a:lnTo>
                        <a:pt x="190" y="10"/>
                      </a:lnTo>
                      <a:lnTo>
                        <a:pt x="190" y="12"/>
                      </a:lnTo>
                      <a:lnTo>
                        <a:pt x="190" y="12"/>
                      </a:lnTo>
                      <a:lnTo>
                        <a:pt x="190" y="14"/>
                      </a:lnTo>
                      <a:lnTo>
                        <a:pt x="188" y="14"/>
                      </a:lnTo>
                      <a:lnTo>
                        <a:pt x="186" y="14"/>
                      </a:lnTo>
                      <a:lnTo>
                        <a:pt x="186" y="16"/>
                      </a:lnTo>
                      <a:lnTo>
                        <a:pt x="186" y="16"/>
                      </a:lnTo>
                      <a:lnTo>
                        <a:pt x="186" y="18"/>
                      </a:lnTo>
                      <a:lnTo>
                        <a:pt x="184" y="18"/>
                      </a:lnTo>
                      <a:lnTo>
                        <a:pt x="180" y="18"/>
                      </a:lnTo>
                      <a:lnTo>
                        <a:pt x="176" y="18"/>
                      </a:lnTo>
                      <a:lnTo>
                        <a:pt x="174" y="18"/>
                      </a:lnTo>
                      <a:lnTo>
                        <a:pt x="174" y="18"/>
                      </a:lnTo>
                      <a:lnTo>
                        <a:pt x="174" y="18"/>
                      </a:lnTo>
                      <a:lnTo>
                        <a:pt x="174" y="20"/>
                      </a:lnTo>
                      <a:lnTo>
                        <a:pt x="172" y="18"/>
                      </a:lnTo>
                      <a:lnTo>
                        <a:pt x="174" y="14"/>
                      </a:lnTo>
                      <a:lnTo>
                        <a:pt x="178" y="10"/>
                      </a:lnTo>
                      <a:lnTo>
                        <a:pt x="178" y="10"/>
                      </a:lnTo>
                      <a:lnTo>
                        <a:pt x="184" y="6"/>
                      </a:lnTo>
                      <a:lnTo>
                        <a:pt x="184" y="4"/>
                      </a:lnTo>
                      <a:lnTo>
                        <a:pt x="176" y="2"/>
                      </a:lnTo>
                      <a:lnTo>
                        <a:pt x="176" y="2"/>
                      </a:lnTo>
                      <a:lnTo>
                        <a:pt x="164" y="2"/>
                      </a:lnTo>
                      <a:lnTo>
                        <a:pt x="162" y="4"/>
                      </a:lnTo>
                      <a:lnTo>
                        <a:pt x="166" y="4"/>
                      </a:lnTo>
                      <a:lnTo>
                        <a:pt x="166" y="4"/>
                      </a:lnTo>
                      <a:lnTo>
                        <a:pt x="168" y="6"/>
                      </a:lnTo>
                      <a:lnTo>
                        <a:pt x="164" y="6"/>
                      </a:lnTo>
                      <a:lnTo>
                        <a:pt x="158" y="6"/>
                      </a:lnTo>
                      <a:lnTo>
                        <a:pt x="158" y="6"/>
                      </a:lnTo>
                      <a:lnTo>
                        <a:pt x="158" y="8"/>
                      </a:lnTo>
                      <a:lnTo>
                        <a:pt x="158" y="8"/>
                      </a:lnTo>
                      <a:lnTo>
                        <a:pt x="160" y="10"/>
                      </a:lnTo>
                      <a:lnTo>
                        <a:pt x="158" y="10"/>
                      </a:lnTo>
                      <a:lnTo>
                        <a:pt x="154" y="8"/>
                      </a:lnTo>
                      <a:lnTo>
                        <a:pt x="150" y="10"/>
                      </a:lnTo>
                      <a:lnTo>
                        <a:pt x="150" y="10"/>
                      </a:lnTo>
                      <a:lnTo>
                        <a:pt x="150" y="10"/>
                      </a:lnTo>
                      <a:lnTo>
                        <a:pt x="148" y="10"/>
                      </a:lnTo>
                      <a:lnTo>
                        <a:pt x="146" y="8"/>
                      </a:lnTo>
                      <a:lnTo>
                        <a:pt x="142" y="8"/>
                      </a:lnTo>
                      <a:lnTo>
                        <a:pt x="142" y="8"/>
                      </a:lnTo>
                      <a:lnTo>
                        <a:pt x="140" y="8"/>
                      </a:lnTo>
                      <a:lnTo>
                        <a:pt x="142" y="6"/>
                      </a:lnTo>
                      <a:lnTo>
                        <a:pt x="144" y="4"/>
                      </a:lnTo>
                      <a:lnTo>
                        <a:pt x="144" y="2"/>
                      </a:lnTo>
                      <a:lnTo>
                        <a:pt x="140" y="2"/>
                      </a:lnTo>
                      <a:lnTo>
                        <a:pt x="140" y="2"/>
                      </a:lnTo>
                      <a:lnTo>
                        <a:pt x="130" y="2"/>
                      </a:lnTo>
                      <a:lnTo>
                        <a:pt x="122" y="2"/>
                      </a:lnTo>
                      <a:lnTo>
                        <a:pt x="122" y="2"/>
                      </a:lnTo>
                      <a:lnTo>
                        <a:pt x="114" y="4"/>
                      </a:lnTo>
                      <a:lnTo>
                        <a:pt x="112" y="4"/>
                      </a:lnTo>
                      <a:lnTo>
                        <a:pt x="114" y="4"/>
                      </a:lnTo>
                      <a:lnTo>
                        <a:pt x="114" y="4"/>
                      </a:lnTo>
                      <a:lnTo>
                        <a:pt x="116" y="2"/>
                      </a:lnTo>
                      <a:lnTo>
                        <a:pt x="114" y="2"/>
                      </a:lnTo>
                      <a:lnTo>
                        <a:pt x="110" y="0"/>
                      </a:lnTo>
                      <a:lnTo>
                        <a:pt x="102" y="0"/>
                      </a:lnTo>
                      <a:lnTo>
                        <a:pt x="92" y="2"/>
                      </a:lnTo>
                      <a:lnTo>
                        <a:pt x="92" y="2"/>
                      </a:lnTo>
                      <a:lnTo>
                        <a:pt x="74" y="4"/>
                      </a:lnTo>
                      <a:lnTo>
                        <a:pt x="58" y="6"/>
                      </a:lnTo>
                      <a:lnTo>
                        <a:pt x="58" y="6"/>
                      </a:lnTo>
                      <a:lnTo>
                        <a:pt x="56" y="8"/>
                      </a:lnTo>
                      <a:lnTo>
                        <a:pt x="56" y="10"/>
                      </a:lnTo>
                      <a:lnTo>
                        <a:pt x="56" y="12"/>
                      </a:lnTo>
                      <a:lnTo>
                        <a:pt x="52" y="12"/>
                      </a:lnTo>
                      <a:lnTo>
                        <a:pt x="52" y="12"/>
                      </a:lnTo>
                      <a:lnTo>
                        <a:pt x="32" y="16"/>
                      </a:lnTo>
                      <a:lnTo>
                        <a:pt x="26" y="18"/>
                      </a:lnTo>
                      <a:lnTo>
                        <a:pt x="26" y="18"/>
                      </a:lnTo>
                      <a:lnTo>
                        <a:pt x="26" y="20"/>
                      </a:lnTo>
                      <a:lnTo>
                        <a:pt x="26" y="20"/>
                      </a:lnTo>
                      <a:lnTo>
                        <a:pt x="34" y="20"/>
                      </a:lnTo>
                      <a:lnTo>
                        <a:pt x="44" y="20"/>
                      </a:lnTo>
                      <a:lnTo>
                        <a:pt x="52" y="20"/>
                      </a:lnTo>
                      <a:lnTo>
                        <a:pt x="52" y="20"/>
                      </a:lnTo>
                      <a:lnTo>
                        <a:pt x="50" y="20"/>
                      </a:lnTo>
                      <a:lnTo>
                        <a:pt x="50" y="20"/>
                      </a:lnTo>
                      <a:lnTo>
                        <a:pt x="40" y="22"/>
                      </a:lnTo>
                      <a:lnTo>
                        <a:pt x="28" y="22"/>
                      </a:lnTo>
                      <a:lnTo>
                        <a:pt x="20" y="24"/>
                      </a:lnTo>
                      <a:lnTo>
                        <a:pt x="18" y="24"/>
                      </a:lnTo>
                      <a:lnTo>
                        <a:pt x="18" y="26"/>
                      </a:lnTo>
                      <a:lnTo>
                        <a:pt x="18" y="26"/>
                      </a:lnTo>
                      <a:lnTo>
                        <a:pt x="20" y="30"/>
                      </a:lnTo>
                      <a:lnTo>
                        <a:pt x="22" y="32"/>
                      </a:lnTo>
                      <a:lnTo>
                        <a:pt x="24" y="34"/>
                      </a:lnTo>
                      <a:lnTo>
                        <a:pt x="30" y="34"/>
                      </a:lnTo>
                      <a:lnTo>
                        <a:pt x="30" y="34"/>
                      </a:lnTo>
                      <a:lnTo>
                        <a:pt x="44" y="32"/>
                      </a:lnTo>
                      <a:lnTo>
                        <a:pt x="50" y="30"/>
                      </a:lnTo>
                      <a:lnTo>
                        <a:pt x="56" y="32"/>
                      </a:lnTo>
                      <a:lnTo>
                        <a:pt x="56" y="32"/>
                      </a:lnTo>
                      <a:lnTo>
                        <a:pt x="66" y="36"/>
                      </a:lnTo>
                      <a:lnTo>
                        <a:pt x="66" y="38"/>
                      </a:lnTo>
                      <a:lnTo>
                        <a:pt x="62" y="36"/>
                      </a:lnTo>
                      <a:lnTo>
                        <a:pt x="62" y="36"/>
                      </a:lnTo>
                      <a:lnTo>
                        <a:pt x="56" y="36"/>
                      </a:lnTo>
                      <a:lnTo>
                        <a:pt x="52" y="36"/>
                      </a:lnTo>
                      <a:lnTo>
                        <a:pt x="42" y="38"/>
                      </a:lnTo>
                      <a:lnTo>
                        <a:pt x="42" y="38"/>
                      </a:lnTo>
                      <a:lnTo>
                        <a:pt x="26" y="38"/>
                      </a:lnTo>
                      <a:lnTo>
                        <a:pt x="14" y="38"/>
                      </a:lnTo>
                      <a:lnTo>
                        <a:pt x="4" y="42"/>
                      </a:lnTo>
                      <a:lnTo>
                        <a:pt x="4" y="42"/>
                      </a:lnTo>
                      <a:close/>
                    </a:path>
                  </a:pathLst>
                </a:custGeom>
                <a:solidFill>
                  <a:schemeClr val="tx1">
                    <a:alpha val="9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5" name="Freeform 110"/>
                <p:cNvSpPr>
                  <a:spLocks/>
                </p:cNvSpPr>
                <p:nvPr/>
              </p:nvSpPr>
              <p:spPr bwMode="auto">
                <a:xfrm>
                  <a:off x="3653940" y="1463662"/>
                  <a:ext cx="164033" cy="66766"/>
                </a:xfrm>
                <a:custGeom>
                  <a:avLst/>
                  <a:gdLst/>
                  <a:ahLst/>
                  <a:cxnLst>
                    <a:cxn ang="0">
                      <a:pos x="26" y="26"/>
                    </a:cxn>
                    <a:cxn ang="0">
                      <a:pos x="28" y="18"/>
                    </a:cxn>
                    <a:cxn ang="0">
                      <a:pos x="40" y="12"/>
                    </a:cxn>
                    <a:cxn ang="0">
                      <a:pos x="58" y="2"/>
                    </a:cxn>
                    <a:cxn ang="0">
                      <a:pos x="62" y="0"/>
                    </a:cxn>
                    <a:cxn ang="0">
                      <a:pos x="64" y="2"/>
                    </a:cxn>
                    <a:cxn ang="0">
                      <a:pos x="64" y="4"/>
                    </a:cxn>
                    <a:cxn ang="0">
                      <a:pos x="62" y="10"/>
                    </a:cxn>
                    <a:cxn ang="0">
                      <a:pos x="64" y="10"/>
                    </a:cxn>
                    <a:cxn ang="0">
                      <a:pos x="68" y="8"/>
                    </a:cxn>
                    <a:cxn ang="0">
                      <a:pos x="74" y="6"/>
                    </a:cxn>
                    <a:cxn ang="0">
                      <a:pos x="76" y="8"/>
                    </a:cxn>
                    <a:cxn ang="0">
                      <a:pos x="84" y="12"/>
                    </a:cxn>
                    <a:cxn ang="0">
                      <a:pos x="90" y="16"/>
                    </a:cxn>
                    <a:cxn ang="0">
                      <a:pos x="90" y="20"/>
                    </a:cxn>
                    <a:cxn ang="0">
                      <a:pos x="96" y="24"/>
                    </a:cxn>
                    <a:cxn ang="0">
                      <a:pos x="104" y="26"/>
                    </a:cxn>
                    <a:cxn ang="0">
                      <a:pos x="104" y="30"/>
                    </a:cxn>
                    <a:cxn ang="0">
                      <a:pos x="102" y="30"/>
                    </a:cxn>
                    <a:cxn ang="0">
                      <a:pos x="106" y="32"/>
                    </a:cxn>
                    <a:cxn ang="0">
                      <a:pos x="106" y="34"/>
                    </a:cxn>
                    <a:cxn ang="0">
                      <a:pos x="102" y="38"/>
                    </a:cxn>
                    <a:cxn ang="0">
                      <a:pos x="94" y="34"/>
                    </a:cxn>
                    <a:cxn ang="0">
                      <a:pos x="84" y="34"/>
                    </a:cxn>
                    <a:cxn ang="0">
                      <a:pos x="84" y="32"/>
                    </a:cxn>
                    <a:cxn ang="0">
                      <a:pos x="88" y="28"/>
                    </a:cxn>
                    <a:cxn ang="0">
                      <a:pos x="76" y="28"/>
                    </a:cxn>
                    <a:cxn ang="0">
                      <a:pos x="78" y="26"/>
                    </a:cxn>
                    <a:cxn ang="0">
                      <a:pos x="78" y="24"/>
                    </a:cxn>
                    <a:cxn ang="0">
                      <a:pos x="74" y="26"/>
                    </a:cxn>
                    <a:cxn ang="0">
                      <a:pos x="66" y="26"/>
                    </a:cxn>
                    <a:cxn ang="0">
                      <a:pos x="60" y="28"/>
                    </a:cxn>
                    <a:cxn ang="0">
                      <a:pos x="58" y="32"/>
                    </a:cxn>
                    <a:cxn ang="0">
                      <a:pos x="46" y="34"/>
                    </a:cxn>
                    <a:cxn ang="0">
                      <a:pos x="42" y="34"/>
                    </a:cxn>
                    <a:cxn ang="0">
                      <a:pos x="36" y="40"/>
                    </a:cxn>
                    <a:cxn ang="0">
                      <a:pos x="34" y="42"/>
                    </a:cxn>
                    <a:cxn ang="0">
                      <a:pos x="16" y="44"/>
                    </a:cxn>
                    <a:cxn ang="0">
                      <a:pos x="14" y="44"/>
                    </a:cxn>
                    <a:cxn ang="0">
                      <a:pos x="18" y="40"/>
                    </a:cxn>
                    <a:cxn ang="0">
                      <a:pos x="20" y="38"/>
                    </a:cxn>
                    <a:cxn ang="0">
                      <a:pos x="16" y="36"/>
                    </a:cxn>
                    <a:cxn ang="0">
                      <a:pos x="4" y="36"/>
                    </a:cxn>
                    <a:cxn ang="0">
                      <a:pos x="0" y="36"/>
                    </a:cxn>
                    <a:cxn ang="0">
                      <a:pos x="6" y="32"/>
                    </a:cxn>
                    <a:cxn ang="0">
                      <a:pos x="26" y="26"/>
                    </a:cxn>
                  </a:cxnLst>
                  <a:rect l="0" t="0" r="r" b="b"/>
                  <a:pathLst>
                    <a:path w="108" h="44">
                      <a:moveTo>
                        <a:pt x="26" y="26"/>
                      </a:moveTo>
                      <a:lnTo>
                        <a:pt x="26" y="26"/>
                      </a:lnTo>
                      <a:lnTo>
                        <a:pt x="26" y="22"/>
                      </a:lnTo>
                      <a:lnTo>
                        <a:pt x="28" y="18"/>
                      </a:lnTo>
                      <a:lnTo>
                        <a:pt x="40" y="12"/>
                      </a:lnTo>
                      <a:lnTo>
                        <a:pt x="40" y="12"/>
                      </a:lnTo>
                      <a:lnTo>
                        <a:pt x="48" y="6"/>
                      </a:lnTo>
                      <a:lnTo>
                        <a:pt x="58" y="2"/>
                      </a:lnTo>
                      <a:lnTo>
                        <a:pt x="58" y="2"/>
                      </a:lnTo>
                      <a:lnTo>
                        <a:pt x="62" y="0"/>
                      </a:lnTo>
                      <a:lnTo>
                        <a:pt x="64" y="2"/>
                      </a:lnTo>
                      <a:lnTo>
                        <a:pt x="64" y="2"/>
                      </a:lnTo>
                      <a:lnTo>
                        <a:pt x="64" y="4"/>
                      </a:lnTo>
                      <a:lnTo>
                        <a:pt x="64" y="4"/>
                      </a:lnTo>
                      <a:lnTo>
                        <a:pt x="62" y="6"/>
                      </a:lnTo>
                      <a:lnTo>
                        <a:pt x="62" y="10"/>
                      </a:lnTo>
                      <a:lnTo>
                        <a:pt x="62" y="10"/>
                      </a:lnTo>
                      <a:lnTo>
                        <a:pt x="64" y="10"/>
                      </a:lnTo>
                      <a:lnTo>
                        <a:pt x="64" y="10"/>
                      </a:lnTo>
                      <a:lnTo>
                        <a:pt x="68" y="8"/>
                      </a:lnTo>
                      <a:lnTo>
                        <a:pt x="72" y="6"/>
                      </a:lnTo>
                      <a:lnTo>
                        <a:pt x="74" y="6"/>
                      </a:lnTo>
                      <a:lnTo>
                        <a:pt x="76" y="8"/>
                      </a:lnTo>
                      <a:lnTo>
                        <a:pt x="76" y="8"/>
                      </a:lnTo>
                      <a:lnTo>
                        <a:pt x="78" y="10"/>
                      </a:lnTo>
                      <a:lnTo>
                        <a:pt x="84" y="12"/>
                      </a:lnTo>
                      <a:lnTo>
                        <a:pt x="88" y="14"/>
                      </a:lnTo>
                      <a:lnTo>
                        <a:pt x="90" y="16"/>
                      </a:lnTo>
                      <a:lnTo>
                        <a:pt x="90" y="16"/>
                      </a:lnTo>
                      <a:lnTo>
                        <a:pt x="90" y="20"/>
                      </a:lnTo>
                      <a:lnTo>
                        <a:pt x="90" y="22"/>
                      </a:lnTo>
                      <a:lnTo>
                        <a:pt x="96" y="24"/>
                      </a:lnTo>
                      <a:lnTo>
                        <a:pt x="96" y="24"/>
                      </a:lnTo>
                      <a:lnTo>
                        <a:pt x="104" y="26"/>
                      </a:lnTo>
                      <a:lnTo>
                        <a:pt x="104" y="28"/>
                      </a:lnTo>
                      <a:lnTo>
                        <a:pt x="104" y="30"/>
                      </a:lnTo>
                      <a:lnTo>
                        <a:pt x="104" y="30"/>
                      </a:lnTo>
                      <a:lnTo>
                        <a:pt x="102" y="30"/>
                      </a:lnTo>
                      <a:lnTo>
                        <a:pt x="104" y="30"/>
                      </a:lnTo>
                      <a:lnTo>
                        <a:pt x="106" y="32"/>
                      </a:lnTo>
                      <a:lnTo>
                        <a:pt x="108" y="32"/>
                      </a:lnTo>
                      <a:lnTo>
                        <a:pt x="106" y="34"/>
                      </a:lnTo>
                      <a:lnTo>
                        <a:pt x="106" y="34"/>
                      </a:lnTo>
                      <a:lnTo>
                        <a:pt x="102" y="38"/>
                      </a:lnTo>
                      <a:lnTo>
                        <a:pt x="100" y="38"/>
                      </a:lnTo>
                      <a:lnTo>
                        <a:pt x="94" y="34"/>
                      </a:lnTo>
                      <a:lnTo>
                        <a:pt x="94" y="34"/>
                      </a:lnTo>
                      <a:lnTo>
                        <a:pt x="84" y="34"/>
                      </a:lnTo>
                      <a:lnTo>
                        <a:pt x="82" y="34"/>
                      </a:lnTo>
                      <a:lnTo>
                        <a:pt x="84" y="32"/>
                      </a:lnTo>
                      <a:lnTo>
                        <a:pt x="84" y="32"/>
                      </a:lnTo>
                      <a:lnTo>
                        <a:pt x="88" y="28"/>
                      </a:lnTo>
                      <a:lnTo>
                        <a:pt x="84" y="28"/>
                      </a:lnTo>
                      <a:lnTo>
                        <a:pt x="76" y="28"/>
                      </a:lnTo>
                      <a:lnTo>
                        <a:pt x="76" y="28"/>
                      </a:lnTo>
                      <a:lnTo>
                        <a:pt x="78" y="26"/>
                      </a:lnTo>
                      <a:lnTo>
                        <a:pt x="78" y="26"/>
                      </a:lnTo>
                      <a:lnTo>
                        <a:pt x="78" y="24"/>
                      </a:lnTo>
                      <a:lnTo>
                        <a:pt x="74" y="26"/>
                      </a:lnTo>
                      <a:lnTo>
                        <a:pt x="74" y="26"/>
                      </a:lnTo>
                      <a:lnTo>
                        <a:pt x="68" y="26"/>
                      </a:lnTo>
                      <a:lnTo>
                        <a:pt x="66" y="26"/>
                      </a:lnTo>
                      <a:lnTo>
                        <a:pt x="62" y="26"/>
                      </a:lnTo>
                      <a:lnTo>
                        <a:pt x="60" y="28"/>
                      </a:lnTo>
                      <a:lnTo>
                        <a:pt x="60" y="28"/>
                      </a:lnTo>
                      <a:lnTo>
                        <a:pt x="58" y="32"/>
                      </a:lnTo>
                      <a:lnTo>
                        <a:pt x="54" y="32"/>
                      </a:lnTo>
                      <a:lnTo>
                        <a:pt x="46" y="34"/>
                      </a:lnTo>
                      <a:lnTo>
                        <a:pt x="46" y="34"/>
                      </a:lnTo>
                      <a:lnTo>
                        <a:pt x="42" y="34"/>
                      </a:lnTo>
                      <a:lnTo>
                        <a:pt x="40" y="36"/>
                      </a:lnTo>
                      <a:lnTo>
                        <a:pt x="36" y="40"/>
                      </a:lnTo>
                      <a:lnTo>
                        <a:pt x="34" y="42"/>
                      </a:lnTo>
                      <a:lnTo>
                        <a:pt x="34" y="42"/>
                      </a:lnTo>
                      <a:lnTo>
                        <a:pt x="24" y="44"/>
                      </a:lnTo>
                      <a:lnTo>
                        <a:pt x="16" y="44"/>
                      </a:lnTo>
                      <a:lnTo>
                        <a:pt x="16" y="44"/>
                      </a:lnTo>
                      <a:lnTo>
                        <a:pt x="14" y="44"/>
                      </a:lnTo>
                      <a:lnTo>
                        <a:pt x="14" y="42"/>
                      </a:lnTo>
                      <a:lnTo>
                        <a:pt x="18" y="40"/>
                      </a:lnTo>
                      <a:lnTo>
                        <a:pt x="18" y="40"/>
                      </a:lnTo>
                      <a:lnTo>
                        <a:pt x="20" y="38"/>
                      </a:lnTo>
                      <a:lnTo>
                        <a:pt x="20" y="36"/>
                      </a:lnTo>
                      <a:lnTo>
                        <a:pt x="16" y="36"/>
                      </a:lnTo>
                      <a:lnTo>
                        <a:pt x="16" y="36"/>
                      </a:lnTo>
                      <a:lnTo>
                        <a:pt x="4" y="36"/>
                      </a:lnTo>
                      <a:lnTo>
                        <a:pt x="2" y="36"/>
                      </a:lnTo>
                      <a:lnTo>
                        <a:pt x="0" y="36"/>
                      </a:lnTo>
                      <a:lnTo>
                        <a:pt x="0" y="36"/>
                      </a:lnTo>
                      <a:lnTo>
                        <a:pt x="6" y="32"/>
                      </a:lnTo>
                      <a:lnTo>
                        <a:pt x="26" y="26"/>
                      </a:lnTo>
                      <a:lnTo>
                        <a:pt x="26" y="26"/>
                      </a:lnTo>
                      <a:close/>
                    </a:path>
                  </a:pathLst>
                </a:custGeom>
                <a:solidFill>
                  <a:schemeClr val="tx1">
                    <a:alpha val="9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6" name="Freeform 111"/>
                <p:cNvSpPr>
                  <a:spLocks/>
                </p:cNvSpPr>
                <p:nvPr/>
              </p:nvSpPr>
              <p:spPr bwMode="auto">
                <a:xfrm>
                  <a:off x="4036683" y="1296746"/>
                  <a:ext cx="66828" cy="24279"/>
                </a:xfrm>
                <a:custGeom>
                  <a:avLst/>
                  <a:gdLst/>
                  <a:ahLst/>
                  <a:cxnLst>
                    <a:cxn ang="0">
                      <a:pos x="8" y="16"/>
                    </a:cxn>
                    <a:cxn ang="0">
                      <a:pos x="8" y="16"/>
                    </a:cxn>
                    <a:cxn ang="0">
                      <a:pos x="4" y="14"/>
                    </a:cxn>
                    <a:cxn ang="0">
                      <a:pos x="4" y="12"/>
                    </a:cxn>
                    <a:cxn ang="0">
                      <a:pos x="2" y="8"/>
                    </a:cxn>
                    <a:cxn ang="0">
                      <a:pos x="2" y="8"/>
                    </a:cxn>
                    <a:cxn ang="0">
                      <a:pos x="0" y="6"/>
                    </a:cxn>
                    <a:cxn ang="0">
                      <a:pos x="0" y="4"/>
                    </a:cxn>
                    <a:cxn ang="0">
                      <a:pos x="2" y="2"/>
                    </a:cxn>
                    <a:cxn ang="0">
                      <a:pos x="8" y="2"/>
                    </a:cxn>
                    <a:cxn ang="0">
                      <a:pos x="8" y="2"/>
                    </a:cxn>
                    <a:cxn ang="0">
                      <a:pos x="18" y="0"/>
                    </a:cxn>
                    <a:cxn ang="0">
                      <a:pos x="22" y="0"/>
                    </a:cxn>
                    <a:cxn ang="0">
                      <a:pos x="28" y="2"/>
                    </a:cxn>
                    <a:cxn ang="0">
                      <a:pos x="28" y="2"/>
                    </a:cxn>
                    <a:cxn ang="0">
                      <a:pos x="40" y="6"/>
                    </a:cxn>
                    <a:cxn ang="0">
                      <a:pos x="44" y="8"/>
                    </a:cxn>
                    <a:cxn ang="0">
                      <a:pos x="42" y="10"/>
                    </a:cxn>
                    <a:cxn ang="0">
                      <a:pos x="42" y="10"/>
                    </a:cxn>
                    <a:cxn ang="0">
                      <a:pos x="34" y="10"/>
                    </a:cxn>
                    <a:cxn ang="0">
                      <a:pos x="24" y="12"/>
                    </a:cxn>
                    <a:cxn ang="0">
                      <a:pos x="24" y="12"/>
                    </a:cxn>
                    <a:cxn ang="0">
                      <a:pos x="16" y="16"/>
                    </a:cxn>
                    <a:cxn ang="0">
                      <a:pos x="12" y="16"/>
                    </a:cxn>
                    <a:cxn ang="0">
                      <a:pos x="8" y="16"/>
                    </a:cxn>
                    <a:cxn ang="0">
                      <a:pos x="8" y="16"/>
                    </a:cxn>
                  </a:cxnLst>
                  <a:rect l="0" t="0" r="r" b="b"/>
                  <a:pathLst>
                    <a:path w="44" h="16">
                      <a:moveTo>
                        <a:pt x="8" y="16"/>
                      </a:moveTo>
                      <a:lnTo>
                        <a:pt x="8" y="16"/>
                      </a:lnTo>
                      <a:lnTo>
                        <a:pt x="4" y="14"/>
                      </a:lnTo>
                      <a:lnTo>
                        <a:pt x="4" y="12"/>
                      </a:lnTo>
                      <a:lnTo>
                        <a:pt x="2" y="8"/>
                      </a:lnTo>
                      <a:lnTo>
                        <a:pt x="2" y="8"/>
                      </a:lnTo>
                      <a:lnTo>
                        <a:pt x="0" y="6"/>
                      </a:lnTo>
                      <a:lnTo>
                        <a:pt x="0" y="4"/>
                      </a:lnTo>
                      <a:lnTo>
                        <a:pt x="2" y="2"/>
                      </a:lnTo>
                      <a:lnTo>
                        <a:pt x="8" y="2"/>
                      </a:lnTo>
                      <a:lnTo>
                        <a:pt x="8" y="2"/>
                      </a:lnTo>
                      <a:lnTo>
                        <a:pt x="18" y="0"/>
                      </a:lnTo>
                      <a:lnTo>
                        <a:pt x="22" y="0"/>
                      </a:lnTo>
                      <a:lnTo>
                        <a:pt x="28" y="2"/>
                      </a:lnTo>
                      <a:lnTo>
                        <a:pt x="28" y="2"/>
                      </a:lnTo>
                      <a:lnTo>
                        <a:pt x="40" y="6"/>
                      </a:lnTo>
                      <a:lnTo>
                        <a:pt x="44" y="8"/>
                      </a:lnTo>
                      <a:lnTo>
                        <a:pt x="42" y="10"/>
                      </a:lnTo>
                      <a:lnTo>
                        <a:pt x="42" y="10"/>
                      </a:lnTo>
                      <a:lnTo>
                        <a:pt x="34" y="10"/>
                      </a:lnTo>
                      <a:lnTo>
                        <a:pt x="24" y="12"/>
                      </a:lnTo>
                      <a:lnTo>
                        <a:pt x="24" y="12"/>
                      </a:lnTo>
                      <a:lnTo>
                        <a:pt x="16" y="16"/>
                      </a:lnTo>
                      <a:lnTo>
                        <a:pt x="12" y="16"/>
                      </a:lnTo>
                      <a:lnTo>
                        <a:pt x="8" y="16"/>
                      </a:lnTo>
                      <a:lnTo>
                        <a:pt x="8" y="16"/>
                      </a:lnTo>
                      <a:close/>
                    </a:path>
                  </a:pathLst>
                </a:custGeom>
                <a:solidFill>
                  <a:schemeClr val="tx1">
                    <a:alpha val="9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7" name="Freeform 112"/>
                <p:cNvSpPr>
                  <a:spLocks/>
                </p:cNvSpPr>
                <p:nvPr/>
              </p:nvSpPr>
              <p:spPr bwMode="auto">
                <a:xfrm>
                  <a:off x="3553699" y="1293711"/>
                  <a:ext cx="136694" cy="45523"/>
                </a:xfrm>
                <a:custGeom>
                  <a:avLst/>
                  <a:gdLst/>
                  <a:ahLst/>
                  <a:cxnLst>
                    <a:cxn ang="0">
                      <a:pos x="54" y="26"/>
                    </a:cxn>
                    <a:cxn ang="0">
                      <a:pos x="56" y="28"/>
                    </a:cxn>
                    <a:cxn ang="0">
                      <a:pos x="64" y="26"/>
                    </a:cxn>
                    <a:cxn ang="0">
                      <a:pos x="72" y="22"/>
                    </a:cxn>
                    <a:cxn ang="0">
                      <a:pos x="76" y="18"/>
                    </a:cxn>
                    <a:cxn ang="0">
                      <a:pos x="72" y="16"/>
                    </a:cxn>
                    <a:cxn ang="0">
                      <a:pos x="72" y="14"/>
                    </a:cxn>
                    <a:cxn ang="0">
                      <a:pos x="84" y="12"/>
                    </a:cxn>
                    <a:cxn ang="0">
                      <a:pos x="88" y="10"/>
                    </a:cxn>
                    <a:cxn ang="0">
                      <a:pos x="90" y="6"/>
                    </a:cxn>
                    <a:cxn ang="0">
                      <a:pos x="82" y="6"/>
                    </a:cxn>
                    <a:cxn ang="0">
                      <a:pos x="80" y="6"/>
                    </a:cxn>
                    <a:cxn ang="0">
                      <a:pos x="88" y="4"/>
                    </a:cxn>
                    <a:cxn ang="0">
                      <a:pos x="88" y="2"/>
                    </a:cxn>
                    <a:cxn ang="0">
                      <a:pos x="78" y="2"/>
                    </a:cxn>
                    <a:cxn ang="0">
                      <a:pos x="66" y="2"/>
                    </a:cxn>
                    <a:cxn ang="0">
                      <a:pos x="52" y="2"/>
                    </a:cxn>
                    <a:cxn ang="0">
                      <a:pos x="44" y="2"/>
                    </a:cxn>
                    <a:cxn ang="0">
                      <a:pos x="38" y="2"/>
                    </a:cxn>
                    <a:cxn ang="0">
                      <a:pos x="28" y="4"/>
                    </a:cxn>
                    <a:cxn ang="0">
                      <a:pos x="28" y="6"/>
                    </a:cxn>
                    <a:cxn ang="0">
                      <a:pos x="40" y="12"/>
                    </a:cxn>
                    <a:cxn ang="0">
                      <a:pos x="40" y="14"/>
                    </a:cxn>
                    <a:cxn ang="0">
                      <a:pos x="30" y="12"/>
                    </a:cxn>
                    <a:cxn ang="0">
                      <a:pos x="14" y="10"/>
                    </a:cxn>
                    <a:cxn ang="0">
                      <a:pos x="0" y="12"/>
                    </a:cxn>
                    <a:cxn ang="0">
                      <a:pos x="0" y="14"/>
                    </a:cxn>
                    <a:cxn ang="0">
                      <a:pos x="6" y="22"/>
                    </a:cxn>
                    <a:cxn ang="0">
                      <a:pos x="10" y="22"/>
                    </a:cxn>
                    <a:cxn ang="0">
                      <a:pos x="24" y="26"/>
                    </a:cxn>
                    <a:cxn ang="0">
                      <a:pos x="28" y="28"/>
                    </a:cxn>
                    <a:cxn ang="0">
                      <a:pos x="36" y="28"/>
                    </a:cxn>
                    <a:cxn ang="0">
                      <a:pos x="44" y="30"/>
                    </a:cxn>
                    <a:cxn ang="0">
                      <a:pos x="54" y="26"/>
                    </a:cxn>
                  </a:cxnLst>
                  <a:rect l="0" t="0" r="r" b="b"/>
                  <a:pathLst>
                    <a:path w="90" h="30">
                      <a:moveTo>
                        <a:pt x="54" y="26"/>
                      </a:moveTo>
                      <a:lnTo>
                        <a:pt x="54" y="26"/>
                      </a:lnTo>
                      <a:lnTo>
                        <a:pt x="54" y="28"/>
                      </a:lnTo>
                      <a:lnTo>
                        <a:pt x="56" y="28"/>
                      </a:lnTo>
                      <a:lnTo>
                        <a:pt x="60" y="28"/>
                      </a:lnTo>
                      <a:lnTo>
                        <a:pt x="64" y="26"/>
                      </a:lnTo>
                      <a:lnTo>
                        <a:pt x="64" y="26"/>
                      </a:lnTo>
                      <a:lnTo>
                        <a:pt x="72" y="22"/>
                      </a:lnTo>
                      <a:lnTo>
                        <a:pt x="72" y="22"/>
                      </a:lnTo>
                      <a:lnTo>
                        <a:pt x="76" y="18"/>
                      </a:lnTo>
                      <a:lnTo>
                        <a:pt x="76" y="16"/>
                      </a:lnTo>
                      <a:lnTo>
                        <a:pt x="72" y="16"/>
                      </a:lnTo>
                      <a:lnTo>
                        <a:pt x="72" y="14"/>
                      </a:lnTo>
                      <a:lnTo>
                        <a:pt x="72" y="14"/>
                      </a:lnTo>
                      <a:lnTo>
                        <a:pt x="78" y="14"/>
                      </a:lnTo>
                      <a:lnTo>
                        <a:pt x="84" y="12"/>
                      </a:lnTo>
                      <a:lnTo>
                        <a:pt x="88" y="10"/>
                      </a:lnTo>
                      <a:lnTo>
                        <a:pt x="88" y="10"/>
                      </a:lnTo>
                      <a:lnTo>
                        <a:pt x="90" y="8"/>
                      </a:lnTo>
                      <a:lnTo>
                        <a:pt x="90" y="6"/>
                      </a:lnTo>
                      <a:lnTo>
                        <a:pt x="86" y="6"/>
                      </a:lnTo>
                      <a:lnTo>
                        <a:pt x="82" y="6"/>
                      </a:lnTo>
                      <a:lnTo>
                        <a:pt x="80" y="6"/>
                      </a:lnTo>
                      <a:lnTo>
                        <a:pt x="80" y="6"/>
                      </a:lnTo>
                      <a:lnTo>
                        <a:pt x="86" y="4"/>
                      </a:lnTo>
                      <a:lnTo>
                        <a:pt x="88" y="4"/>
                      </a:lnTo>
                      <a:lnTo>
                        <a:pt x="88" y="2"/>
                      </a:lnTo>
                      <a:lnTo>
                        <a:pt x="88" y="2"/>
                      </a:lnTo>
                      <a:lnTo>
                        <a:pt x="84" y="0"/>
                      </a:lnTo>
                      <a:lnTo>
                        <a:pt x="78" y="2"/>
                      </a:lnTo>
                      <a:lnTo>
                        <a:pt x="66" y="2"/>
                      </a:lnTo>
                      <a:lnTo>
                        <a:pt x="66" y="2"/>
                      </a:lnTo>
                      <a:lnTo>
                        <a:pt x="60" y="2"/>
                      </a:lnTo>
                      <a:lnTo>
                        <a:pt x="52" y="2"/>
                      </a:lnTo>
                      <a:lnTo>
                        <a:pt x="52" y="2"/>
                      </a:lnTo>
                      <a:lnTo>
                        <a:pt x="44" y="2"/>
                      </a:lnTo>
                      <a:lnTo>
                        <a:pt x="38" y="2"/>
                      </a:lnTo>
                      <a:lnTo>
                        <a:pt x="38" y="2"/>
                      </a:lnTo>
                      <a:lnTo>
                        <a:pt x="30" y="4"/>
                      </a:lnTo>
                      <a:lnTo>
                        <a:pt x="28" y="4"/>
                      </a:lnTo>
                      <a:lnTo>
                        <a:pt x="28" y="6"/>
                      </a:lnTo>
                      <a:lnTo>
                        <a:pt x="28" y="6"/>
                      </a:lnTo>
                      <a:lnTo>
                        <a:pt x="36" y="8"/>
                      </a:lnTo>
                      <a:lnTo>
                        <a:pt x="40" y="12"/>
                      </a:lnTo>
                      <a:lnTo>
                        <a:pt x="40" y="12"/>
                      </a:lnTo>
                      <a:lnTo>
                        <a:pt x="40" y="14"/>
                      </a:lnTo>
                      <a:lnTo>
                        <a:pt x="40" y="14"/>
                      </a:lnTo>
                      <a:lnTo>
                        <a:pt x="30" y="12"/>
                      </a:lnTo>
                      <a:lnTo>
                        <a:pt x="30" y="12"/>
                      </a:lnTo>
                      <a:lnTo>
                        <a:pt x="14" y="10"/>
                      </a:lnTo>
                      <a:lnTo>
                        <a:pt x="6" y="10"/>
                      </a:lnTo>
                      <a:lnTo>
                        <a:pt x="0" y="12"/>
                      </a:lnTo>
                      <a:lnTo>
                        <a:pt x="0" y="12"/>
                      </a:lnTo>
                      <a:lnTo>
                        <a:pt x="0" y="14"/>
                      </a:lnTo>
                      <a:lnTo>
                        <a:pt x="2" y="18"/>
                      </a:lnTo>
                      <a:lnTo>
                        <a:pt x="6" y="22"/>
                      </a:lnTo>
                      <a:lnTo>
                        <a:pt x="10" y="22"/>
                      </a:lnTo>
                      <a:lnTo>
                        <a:pt x="10" y="22"/>
                      </a:lnTo>
                      <a:lnTo>
                        <a:pt x="18" y="24"/>
                      </a:lnTo>
                      <a:lnTo>
                        <a:pt x="24" y="26"/>
                      </a:lnTo>
                      <a:lnTo>
                        <a:pt x="24" y="26"/>
                      </a:lnTo>
                      <a:lnTo>
                        <a:pt x="28" y="28"/>
                      </a:lnTo>
                      <a:lnTo>
                        <a:pt x="32" y="28"/>
                      </a:lnTo>
                      <a:lnTo>
                        <a:pt x="36" y="28"/>
                      </a:lnTo>
                      <a:lnTo>
                        <a:pt x="36" y="28"/>
                      </a:lnTo>
                      <a:lnTo>
                        <a:pt x="44" y="30"/>
                      </a:lnTo>
                      <a:lnTo>
                        <a:pt x="48" y="30"/>
                      </a:lnTo>
                      <a:lnTo>
                        <a:pt x="54" y="26"/>
                      </a:lnTo>
                      <a:lnTo>
                        <a:pt x="54" y="26"/>
                      </a:lnTo>
                      <a:close/>
                    </a:path>
                  </a:pathLst>
                </a:custGeom>
                <a:solidFill>
                  <a:schemeClr val="tx1">
                    <a:alpha val="9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8" name="Freeform 113"/>
                <p:cNvSpPr>
                  <a:spLocks/>
                </p:cNvSpPr>
                <p:nvPr/>
              </p:nvSpPr>
              <p:spPr bwMode="auto">
                <a:xfrm>
                  <a:off x="3702543" y="1296746"/>
                  <a:ext cx="103279" cy="33383"/>
                </a:xfrm>
                <a:custGeom>
                  <a:avLst/>
                  <a:gdLst/>
                  <a:ahLst/>
                  <a:cxnLst>
                    <a:cxn ang="0">
                      <a:pos x="2" y="18"/>
                    </a:cxn>
                    <a:cxn ang="0">
                      <a:pos x="2" y="18"/>
                    </a:cxn>
                    <a:cxn ang="0">
                      <a:pos x="6" y="22"/>
                    </a:cxn>
                    <a:cxn ang="0">
                      <a:pos x="10" y="22"/>
                    </a:cxn>
                    <a:cxn ang="0">
                      <a:pos x="12" y="22"/>
                    </a:cxn>
                    <a:cxn ang="0">
                      <a:pos x="12" y="22"/>
                    </a:cxn>
                    <a:cxn ang="0">
                      <a:pos x="16" y="20"/>
                    </a:cxn>
                    <a:cxn ang="0">
                      <a:pos x="18" y="18"/>
                    </a:cxn>
                    <a:cxn ang="0">
                      <a:pos x="18" y="16"/>
                    </a:cxn>
                    <a:cxn ang="0">
                      <a:pos x="18" y="16"/>
                    </a:cxn>
                    <a:cxn ang="0">
                      <a:pos x="12" y="14"/>
                    </a:cxn>
                    <a:cxn ang="0">
                      <a:pos x="12" y="12"/>
                    </a:cxn>
                    <a:cxn ang="0">
                      <a:pos x="18" y="14"/>
                    </a:cxn>
                    <a:cxn ang="0">
                      <a:pos x="18" y="14"/>
                    </a:cxn>
                    <a:cxn ang="0">
                      <a:pos x="36" y="16"/>
                    </a:cxn>
                    <a:cxn ang="0">
                      <a:pos x="40" y="16"/>
                    </a:cxn>
                    <a:cxn ang="0">
                      <a:pos x="44" y="16"/>
                    </a:cxn>
                    <a:cxn ang="0">
                      <a:pos x="44" y="16"/>
                    </a:cxn>
                    <a:cxn ang="0">
                      <a:pos x="48" y="12"/>
                    </a:cxn>
                    <a:cxn ang="0">
                      <a:pos x="54" y="8"/>
                    </a:cxn>
                    <a:cxn ang="0">
                      <a:pos x="66" y="4"/>
                    </a:cxn>
                    <a:cxn ang="0">
                      <a:pos x="66" y="4"/>
                    </a:cxn>
                    <a:cxn ang="0">
                      <a:pos x="68" y="4"/>
                    </a:cxn>
                    <a:cxn ang="0">
                      <a:pos x="66" y="2"/>
                    </a:cxn>
                    <a:cxn ang="0">
                      <a:pos x="52" y="2"/>
                    </a:cxn>
                    <a:cxn ang="0">
                      <a:pos x="52" y="2"/>
                    </a:cxn>
                    <a:cxn ang="0">
                      <a:pos x="36" y="0"/>
                    </a:cxn>
                    <a:cxn ang="0">
                      <a:pos x="28" y="0"/>
                    </a:cxn>
                    <a:cxn ang="0">
                      <a:pos x="22" y="0"/>
                    </a:cxn>
                    <a:cxn ang="0">
                      <a:pos x="22" y="0"/>
                    </a:cxn>
                    <a:cxn ang="0">
                      <a:pos x="12" y="4"/>
                    </a:cxn>
                    <a:cxn ang="0">
                      <a:pos x="8" y="6"/>
                    </a:cxn>
                    <a:cxn ang="0">
                      <a:pos x="6" y="10"/>
                    </a:cxn>
                    <a:cxn ang="0">
                      <a:pos x="6" y="10"/>
                    </a:cxn>
                    <a:cxn ang="0">
                      <a:pos x="6" y="12"/>
                    </a:cxn>
                    <a:cxn ang="0">
                      <a:pos x="2" y="14"/>
                    </a:cxn>
                    <a:cxn ang="0">
                      <a:pos x="0" y="16"/>
                    </a:cxn>
                    <a:cxn ang="0">
                      <a:pos x="2" y="18"/>
                    </a:cxn>
                    <a:cxn ang="0">
                      <a:pos x="2" y="18"/>
                    </a:cxn>
                  </a:cxnLst>
                  <a:rect l="0" t="0" r="r" b="b"/>
                  <a:pathLst>
                    <a:path w="68" h="22">
                      <a:moveTo>
                        <a:pt x="2" y="18"/>
                      </a:moveTo>
                      <a:lnTo>
                        <a:pt x="2" y="18"/>
                      </a:lnTo>
                      <a:lnTo>
                        <a:pt x="6" y="22"/>
                      </a:lnTo>
                      <a:lnTo>
                        <a:pt x="10" y="22"/>
                      </a:lnTo>
                      <a:lnTo>
                        <a:pt x="12" y="22"/>
                      </a:lnTo>
                      <a:lnTo>
                        <a:pt x="12" y="22"/>
                      </a:lnTo>
                      <a:lnTo>
                        <a:pt x="16" y="20"/>
                      </a:lnTo>
                      <a:lnTo>
                        <a:pt x="18" y="18"/>
                      </a:lnTo>
                      <a:lnTo>
                        <a:pt x="18" y="16"/>
                      </a:lnTo>
                      <a:lnTo>
                        <a:pt x="18" y="16"/>
                      </a:lnTo>
                      <a:lnTo>
                        <a:pt x="12" y="14"/>
                      </a:lnTo>
                      <a:lnTo>
                        <a:pt x="12" y="12"/>
                      </a:lnTo>
                      <a:lnTo>
                        <a:pt x="18" y="14"/>
                      </a:lnTo>
                      <a:lnTo>
                        <a:pt x="18" y="14"/>
                      </a:lnTo>
                      <a:lnTo>
                        <a:pt x="36" y="16"/>
                      </a:lnTo>
                      <a:lnTo>
                        <a:pt x="40" y="16"/>
                      </a:lnTo>
                      <a:lnTo>
                        <a:pt x="44" y="16"/>
                      </a:lnTo>
                      <a:lnTo>
                        <a:pt x="44" y="16"/>
                      </a:lnTo>
                      <a:lnTo>
                        <a:pt x="48" y="12"/>
                      </a:lnTo>
                      <a:lnTo>
                        <a:pt x="54" y="8"/>
                      </a:lnTo>
                      <a:lnTo>
                        <a:pt x="66" y="4"/>
                      </a:lnTo>
                      <a:lnTo>
                        <a:pt x="66" y="4"/>
                      </a:lnTo>
                      <a:lnTo>
                        <a:pt x="68" y="4"/>
                      </a:lnTo>
                      <a:lnTo>
                        <a:pt x="66" y="2"/>
                      </a:lnTo>
                      <a:lnTo>
                        <a:pt x="52" y="2"/>
                      </a:lnTo>
                      <a:lnTo>
                        <a:pt x="52" y="2"/>
                      </a:lnTo>
                      <a:lnTo>
                        <a:pt x="36" y="0"/>
                      </a:lnTo>
                      <a:lnTo>
                        <a:pt x="28" y="0"/>
                      </a:lnTo>
                      <a:lnTo>
                        <a:pt x="22" y="0"/>
                      </a:lnTo>
                      <a:lnTo>
                        <a:pt x="22" y="0"/>
                      </a:lnTo>
                      <a:lnTo>
                        <a:pt x="12" y="4"/>
                      </a:lnTo>
                      <a:lnTo>
                        <a:pt x="8" y="6"/>
                      </a:lnTo>
                      <a:lnTo>
                        <a:pt x="6" y="10"/>
                      </a:lnTo>
                      <a:lnTo>
                        <a:pt x="6" y="10"/>
                      </a:lnTo>
                      <a:lnTo>
                        <a:pt x="6" y="12"/>
                      </a:lnTo>
                      <a:lnTo>
                        <a:pt x="2" y="14"/>
                      </a:lnTo>
                      <a:lnTo>
                        <a:pt x="0" y="16"/>
                      </a:lnTo>
                      <a:lnTo>
                        <a:pt x="2" y="18"/>
                      </a:lnTo>
                      <a:lnTo>
                        <a:pt x="2" y="18"/>
                      </a:lnTo>
                      <a:close/>
                    </a:path>
                  </a:pathLst>
                </a:custGeom>
                <a:solidFill>
                  <a:schemeClr val="tx1">
                    <a:alpha val="9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9" name="Freeform 114"/>
                <p:cNvSpPr>
                  <a:spLocks/>
                </p:cNvSpPr>
                <p:nvPr/>
              </p:nvSpPr>
              <p:spPr bwMode="auto">
                <a:xfrm>
                  <a:off x="3790635" y="1254259"/>
                  <a:ext cx="300727" cy="45523"/>
                </a:xfrm>
                <a:custGeom>
                  <a:avLst/>
                  <a:gdLst/>
                  <a:ahLst/>
                  <a:cxnLst>
                    <a:cxn ang="0">
                      <a:pos x="34" y="30"/>
                    </a:cxn>
                    <a:cxn ang="0">
                      <a:pos x="48" y="26"/>
                    </a:cxn>
                    <a:cxn ang="0">
                      <a:pos x="54" y="26"/>
                    </a:cxn>
                    <a:cxn ang="0">
                      <a:pos x="58" y="30"/>
                    </a:cxn>
                    <a:cxn ang="0">
                      <a:pos x="66" y="30"/>
                    </a:cxn>
                    <a:cxn ang="0">
                      <a:pos x="78" y="28"/>
                    </a:cxn>
                    <a:cxn ang="0">
                      <a:pos x="88" y="24"/>
                    </a:cxn>
                    <a:cxn ang="0">
                      <a:pos x="90" y="24"/>
                    </a:cxn>
                    <a:cxn ang="0">
                      <a:pos x="88" y="26"/>
                    </a:cxn>
                    <a:cxn ang="0">
                      <a:pos x="90" y="30"/>
                    </a:cxn>
                    <a:cxn ang="0">
                      <a:pos x="100" y="30"/>
                    </a:cxn>
                    <a:cxn ang="0">
                      <a:pos x="108" y="26"/>
                    </a:cxn>
                    <a:cxn ang="0">
                      <a:pos x="112" y="26"/>
                    </a:cxn>
                    <a:cxn ang="0">
                      <a:pos x="138" y="26"/>
                    </a:cxn>
                    <a:cxn ang="0">
                      <a:pos x="144" y="26"/>
                    </a:cxn>
                    <a:cxn ang="0">
                      <a:pos x="152" y="28"/>
                    </a:cxn>
                    <a:cxn ang="0">
                      <a:pos x="156" y="28"/>
                    </a:cxn>
                    <a:cxn ang="0">
                      <a:pos x="158" y="26"/>
                    </a:cxn>
                    <a:cxn ang="0">
                      <a:pos x="156" y="20"/>
                    </a:cxn>
                    <a:cxn ang="0">
                      <a:pos x="160" y="22"/>
                    </a:cxn>
                    <a:cxn ang="0">
                      <a:pos x="178" y="26"/>
                    </a:cxn>
                    <a:cxn ang="0">
                      <a:pos x="194" y="24"/>
                    </a:cxn>
                    <a:cxn ang="0">
                      <a:pos x="194" y="22"/>
                    </a:cxn>
                    <a:cxn ang="0">
                      <a:pos x="188" y="18"/>
                    </a:cxn>
                    <a:cxn ang="0">
                      <a:pos x="180" y="12"/>
                    </a:cxn>
                    <a:cxn ang="0">
                      <a:pos x="174" y="10"/>
                    </a:cxn>
                    <a:cxn ang="0">
                      <a:pos x="164" y="12"/>
                    </a:cxn>
                    <a:cxn ang="0">
                      <a:pos x="160" y="12"/>
                    </a:cxn>
                    <a:cxn ang="0">
                      <a:pos x="156" y="12"/>
                    </a:cxn>
                    <a:cxn ang="0">
                      <a:pos x="142" y="14"/>
                    </a:cxn>
                    <a:cxn ang="0">
                      <a:pos x="136" y="14"/>
                    </a:cxn>
                    <a:cxn ang="0">
                      <a:pos x="124" y="14"/>
                    </a:cxn>
                    <a:cxn ang="0">
                      <a:pos x="112" y="14"/>
                    </a:cxn>
                    <a:cxn ang="0">
                      <a:pos x="104" y="12"/>
                    </a:cxn>
                    <a:cxn ang="0">
                      <a:pos x="88" y="14"/>
                    </a:cxn>
                    <a:cxn ang="0">
                      <a:pos x="82" y="14"/>
                    </a:cxn>
                    <a:cxn ang="0">
                      <a:pos x="72" y="16"/>
                    </a:cxn>
                    <a:cxn ang="0">
                      <a:pos x="62" y="16"/>
                    </a:cxn>
                    <a:cxn ang="0">
                      <a:pos x="60" y="14"/>
                    </a:cxn>
                    <a:cxn ang="0">
                      <a:pos x="52" y="16"/>
                    </a:cxn>
                    <a:cxn ang="0">
                      <a:pos x="50" y="14"/>
                    </a:cxn>
                    <a:cxn ang="0">
                      <a:pos x="42" y="12"/>
                    </a:cxn>
                    <a:cxn ang="0">
                      <a:pos x="40" y="10"/>
                    </a:cxn>
                    <a:cxn ang="0">
                      <a:pos x="46" y="10"/>
                    </a:cxn>
                    <a:cxn ang="0">
                      <a:pos x="52" y="4"/>
                    </a:cxn>
                    <a:cxn ang="0">
                      <a:pos x="46" y="2"/>
                    </a:cxn>
                    <a:cxn ang="0">
                      <a:pos x="36" y="0"/>
                    </a:cxn>
                    <a:cxn ang="0">
                      <a:pos x="28" y="0"/>
                    </a:cxn>
                    <a:cxn ang="0">
                      <a:pos x="14" y="0"/>
                    </a:cxn>
                    <a:cxn ang="0">
                      <a:pos x="2" y="2"/>
                    </a:cxn>
                    <a:cxn ang="0">
                      <a:pos x="0" y="4"/>
                    </a:cxn>
                    <a:cxn ang="0">
                      <a:pos x="6" y="8"/>
                    </a:cxn>
                    <a:cxn ang="0">
                      <a:pos x="6" y="12"/>
                    </a:cxn>
                    <a:cxn ang="0">
                      <a:pos x="6" y="12"/>
                    </a:cxn>
                    <a:cxn ang="0">
                      <a:pos x="12" y="14"/>
                    </a:cxn>
                    <a:cxn ang="0">
                      <a:pos x="24" y="12"/>
                    </a:cxn>
                    <a:cxn ang="0">
                      <a:pos x="28" y="14"/>
                    </a:cxn>
                    <a:cxn ang="0">
                      <a:pos x="28" y="18"/>
                    </a:cxn>
                    <a:cxn ang="0">
                      <a:pos x="24" y="20"/>
                    </a:cxn>
                    <a:cxn ang="0">
                      <a:pos x="20" y="26"/>
                    </a:cxn>
                    <a:cxn ang="0">
                      <a:pos x="34" y="30"/>
                    </a:cxn>
                  </a:cxnLst>
                  <a:rect l="0" t="0" r="r" b="b"/>
                  <a:pathLst>
                    <a:path w="198" h="30">
                      <a:moveTo>
                        <a:pt x="34" y="30"/>
                      </a:moveTo>
                      <a:lnTo>
                        <a:pt x="34" y="30"/>
                      </a:lnTo>
                      <a:lnTo>
                        <a:pt x="42" y="28"/>
                      </a:lnTo>
                      <a:lnTo>
                        <a:pt x="48" y="26"/>
                      </a:lnTo>
                      <a:lnTo>
                        <a:pt x="52" y="26"/>
                      </a:lnTo>
                      <a:lnTo>
                        <a:pt x="54" y="26"/>
                      </a:lnTo>
                      <a:lnTo>
                        <a:pt x="54" y="26"/>
                      </a:lnTo>
                      <a:lnTo>
                        <a:pt x="58" y="30"/>
                      </a:lnTo>
                      <a:lnTo>
                        <a:pt x="66" y="30"/>
                      </a:lnTo>
                      <a:lnTo>
                        <a:pt x="66" y="30"/>
                      </a:lnTo>
                      <a:lnTo>
                        <a:pt x="74" y="30"/>
                      </a:lnTo>
                      <a:lnTo>
                        <a:pt x="78" y="28"/>
                      </a:lnTo>
                      <a:lnTo>
                        <a:pt x="84" y="26"/>
                      </a:lnTo>
                      <a:lnTo>
                        <a:pt x="88" y="24"/>
                      </a:lnTo>
                      <a:lnTo>
                        <a:pt x="88" y="24"/>
                      </a:lnTo>
                      <a:lnTo>
                        <a:pt x="90" y="24"/>
                      </a:lnTo>
                      <a:lnTo>
                        <a:pt x="90" y="24"/>
                      </a:lnTo>
                      <a:lnTo>
                        <a:pt x="88" y="26"/>
                      </a:lnTo>
                      <a:lnTo>
                        <a:pt x="86" y="28"/>
                      </a:lnTo>
                      <a:lnTo>
                        <a:pt x="90" y="30"/>
                      </a:lnTo>
                      <a:lnTo>
                        <a:pt x="90" y="30"/>
                      </a:lnTo>
                      <a:lnTo>
                        <a:pt x="100" y="30"/>
                      </a:lnTo>
                      <a:lnTo>
                        <a:pt x="106" y="28"/>
                      </a:lnTo>
                      <a:lnTo>
                        <a:pt x="108" y="26"/>
                      </a:lnTo>
                      <a:lnTo>
                        <a:pt x="112" y="26"/>
                      </a:lnTo>
                      <a:lnTo>
                        <a:pt x="112" y="26"/>
                      </a:lnTo>
                      <a:lnTo>
                        <a:pt x="126" y="28"/>
                      </a:lnTo>
                      <a:lnTo>
                        <a:pt x="138" y="26"/>
                      </a:lnTo>
                      <a:lnTo>
                        <a:pt x="138" y="26"/>
                      </a:lnTo>
                      <a:lnTo>
                        <a:pt x="144" y="26"/>
                      </a:lnTo>
                      <a:lnTo>
                        <a:pt x="148" y="26"/>
                      </a:lnTo>
                      <a:lnTo>
                        <a:pt x="152" y="28"/>
                      </a:lnTo>
                      <a:lnTo>
                        <a:pt x="156" y="28"/>
                      </a:lnTo>
                      <a:lnTo>
                        <a:pt x="156" y="28"/>
                      </a:lnTo>
                      <a:lnTo>
                        <a:pt x="158" y="26"/>
                      </a:lnTo>
                      <a:lnTo>
                        <a:pt x="158" y="26"/>
                      </a:lnTo>
                      <a:lnTo>
                        <a:pt x="158" y="22"/>
                      </a:lnTo>
                      <a:lnTo>
                        <a:pt x="156" y="20"/>
                      </a:lnTo>
                      <a:lnTo>
                        <a:pt x="160" y="22"/>
                      </a:lnTo>
                      <a:lnTo>
                        <a:pt x="160" y="22"/>
                      </a:lnTo>
                      <a:lnTo>
                        <a:pt x="170" y="26"/>
                      </a:lnTo>
                      <a:lnTo>
                        <a:pt x="178" y="26"/>
                      </a:lnTo>
                      <a:lnTo>
                        <a:pt x="178" y="26"/>
                      </a:lnTo>
                      <a:lnTo>
                        <a:pt x="194" y="24"/>
                      </a:lnTo>
                      <a:lnTo>
                        <a:pt x="198" y="24"/>
                      </a:lnTo>
                      <a:lnTo>
                        <a:pt x="194" y="22"/>
                      </a:lnTo>
                      <a:lnTo>
                        <a:pt x="194" y="22"/>
                      </a:lnTo>
                      <a:lnTo>
                        <a:pt x="188" y="18"/>
                      </a:lnTo>
                      <a:lnTo>
                        <a:pt x="184" y="14"/>
                      </a:lnTo>
                      <a:lnTo>
                        <a:pt x="180" y="12"/>
                      </a:lnTo>
                      <a:lnTo>
                        <a:pt x="174" y="10"/>
                      </a:lnTo>
                      <a:lnTo>
                        <a:pt x="174" y="10"/>
                      </a:lnTo>
                      <a:lnTo>
                        <a:pt x="168" y="10"/>
                      </a:lnTo>
                      <a:lnTo>
                        <a:pt x="164" y="12"/>
                      </a:lnTo>
                      <a:lnTo>
                        <a:pt x="164" y="12"/>
                      </a:lnTo>
                      <a:lnTo>
                        <a:pt x="160" y="12"/>
                      </a:lnTo>
                      <a:lnTo>
                        <a:pt x="160" y="12"/>
                      </a:lnTo>
                      <a:lnTo>
                        <a:pt x="156" y="12"/>
                      </a:lnTo>
                      <a:lnTo>
                        <a:pt x="150" y="14"/>
                      </a:lnTo>
                      <a:lnTo>
                        <a:pt x="142" y="14"/>
                      </a:lnTo>
                      <a:lnTo>
                        <a:pt x="136" y="14"/>
                      </a:lnTo>
                      <a:lnTo>
                        <a:pt x="136" y="14"/>
                      </a:lnTo>
                      <a:lnTo>
                        <a:pt x="130" y="14"/>
                      </a:lnTo>
                      <a:lnTo>
                        <a:pt x="124" y="14"/>
                      </a:lnTo>
                      <a:lnTo>
                        <a:pt x="118" y="14"/>
                      </a:lnTo>
                      <a:lnTo>
                        <a:pt x="112" y="14"/>
                      </a:lnTo>
                      <a:lnTo>
                        <a:pt x="112" y="14"/>
                      </a:lnTo>
                      <a:lnTo>
                        <a:pt x="104" y="12"/>
                      </a:lnTo>
                      <a:lnTo>
                        <a:pt x="96" y="14"/>
                      </a:lnTo>
                      <a:lnTo>
                        <a:pt x="88" y="14"/>
                      </a:lnTo>
                      <a:lnTo>
                        <a:pt x="82" y="14"/>
                      </a:lnTo>
                      <a:lnTo>
                        <a:pt x="82" y="14"/>
                      </a:lnTo>
                      <a:lnTo>
                        <a:pt x="78" y="14"/>
                      </a:lnTo>
                      <a:lnTo>
                        <a:pt x="72" y="16"/>
                      </a:lnTo>
                      <a:lnTo>
                        <a:pt x="66" y="16"/>
                      </a:lnTo>
                      <a:lnTo>
                        <a:pt x="62" y="16"/>
                      </a:lnTo>
                      <a:lnTo>
                        <a:pt x="62" y="16"/>
                      </a:lnTo>
                      <a:lnTo>
                        <a:pt x="60" y="14"/>
                      </a:lnTo>
                      <a:lnTo>
                        <a:pt x="56" y="14"/>
                      </a:lnTo>
                      <a:lnTo>
                        <a:pt x="52" y="16"/>
                      </a:lnTo>
                      <a:lnTo>
                        <a:pt x="50" y="14"/>
                      </a:lnTo>
                      <a:lnTo>
                        <a:pt x="50" y="14"/>
                      </a:lnTo>
                      <a:lnTo>
                        <a:pt x="46" y="12"/>
                      </a:lnTo>
                      <a:lnTo>
                        <a:pt x="42" y="12"/>
                      </a:lnTo>
                      <a:lnTo>
                        <a:pt x="38" y="12"/>
                      </a:lnTo>
                      <a:lnTo>
                        <a:pt x="40" y="10"/>
                      </a:lnTo>
                      <a:lnTo>
                        <a:pt x="40" y="10"/>
                      </a:lnTo>
                      <a:lnTo>
                        <a:pt x="46" y="10"/>
                      </a:lnTo>
                      <a:lnTo>
                        <a:pt x="50" y="6"/>
                      </a:lnTo>
                      <a:lnTo>
                        <a:pt x="52" y="4"/>
                      </a:lnTo>
                      <a:lnTo>
                        <a:pt x="46" y="2"/>
                      </a:lnTo>
                      <a:lnTo>
                        <a:pt x="46" y="2"/>
                      </a:lnTo>
                      <a:lnTo>
                        <a:pt x="40" y="2"/>
                      </a:lnTo>
                      <a:lnTo>
                        <a:pt x="36" y="0"/>
                      </a:lnTo>
                      <a:lnTo>
                        <a:pt x="34" y="0"/>
                      </a:lnTo>
                      <a:lnTo>
                        <a:pt x="28" y="0"/>
                      </a:lnTo>
                      <a:lnTo>
                        <a:pt x="28" y="0"/>
                      </a:lnTo>
                      <a:lnTo>
                        <a:pt x="14" y="0"/>
                      </a:lnTo>
                      <a:lnTo>
                        <a:pt x="2" y="2"/>
                      </a:lnTo>
                      <a:lnTo>
                        <a:pt x="2" y="2"/>
                      </a:lnTo>
                      <a:lnTo>
                        <a:pt x="0" y="2"/>
                      </a:lnTo>
                      <a:lnTo>
                        <a:pt x="0" y="4"/>
                      </a:lnTo>
                      <a:lnTo>
                        <a:pt x="4" y="6"/>
                      </a:lnTo>
                      <a:lnTo>
                        <a:pt x="6" y="8"/>
                      </a:lnTo>
                      <a:lnTo>
                        <a:pt x="8" y="10"/>
                      </a:lnTo>
                      <a:lnTo>
                        <a:pt x="6" y="12"/>
                      </a:lnTo>
                      <a:lnTo>
                        <a:pt x="6" y="12"/>
                      </a:lnTo>
                      <a:lnTo>
                        <a:pt x="6" y="12"/>
                      </a:lnTo>
                      <a:lnTo>
                        <a:pt x="8" y="14"/>
                      </a:lnTo>
                      <a:lnTo>
                        <a:pt x="12" y="14"/>
                      </a:lnTo>
                      <a:lnTo>
                        <a:pt x="18" y="14"/>
                      </a:lnTo>
                      <a:lnTo>
                        <a:pt x="24" y="12"/>
                      </a:lnTo>
                      <a:lnTo>
                        <a:pt x="24" y="12"/>
                      </a:lnTo>
                      <a:lnTo>
                        <a:pt x="28" y="14"/>
                      </a:lnTo>
                      <a:lnTo>
                        <a:pt x="28" y="16"/>
                      </a:lnTo>
                      <a:lnTo>
                        <a:pt x="28" y="18"/>
                      </a:lnTo>
                      <a:lnTo>
                        <a:pt x="24" y="20"/>
                      </a:lnTo>
                      <a:lnTo>
                        <a:pt x="24" y="20"/>
                      </a:lnTo>
                      <a:lnTo>
                        <a:pt x="20" y="22"/>
                      </a:lnTo>
                      <a:lnTo>
                        <a:pt x="20" y="26"/>
                      </a:lnTo>
                      <a:lnTo>
                        <a:pt x="24" y="30"/>
                      </a:lnTo>
                      <a:lnTo>
                        <a:pt x="34" y="30"/>
                      </a:lnTo>
                      <a:lnTo>
                        <a:pt x="34" y="30"/>
                      </a:lnTo>
                      <a:close/>
                    </a:path>
                  </a:pathLst>
                </a:custGeom>
                <a:solidFill>
                  <a:schemeClr val="tx1">
                    <a:alpha val="9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0" name="Freeform 115"/>
                <p:cNvSpPr>
                  <a:spLocks/>
                </p:cNvSpPr>
                <p:nvPr/>
              </p:nvSpPr>
              <p:spPr bwMode="auto">
                <a:xfrm>
                  <a:off x="3043375" y="1296746"/>
                  <a:ext cx="212635" cy="60697"/>
                </a:xfrm>
                <a:custGeom>
                  <a:avLst/>
                  <a:gdLst/>
                  <a:ahLst/>
                  <a:cxnLst>
                    <a:cxn ang="0">
                      <a:pos x="48" y="28"/>
                    </a:cxn>
                    <a:cxn ang="0">
                      <a:pos x="48" y="28"/>
                    </a:cxn>
                    <a:cxn ang="0">
                      <a:pos x="54" y="24"/>
                    </a:cxn>
                    <a:cxn ang="0">
                      <a:pos x="58" y="24"/>
                    </a:cxn>
                    <a:cxn ang="0">
                      <a:pos x="62" y="22"/>
                    </a:cxn>
                    <a:cxn ang="0">
                      <a:pos x="70" y="20"/>
                    </a:cxn>
                    <a:cxn ang="0">
                      <a:pos x="70" y="20"/>
                    </a:cxn>
                    <a:cxn ang="0">
                      <a:pos x="78" y="18"/>
                    </a:cxn>
                    <a:cxn ang="0">
                      <a:pos x="84" y="18"/>
                    </a:cxn>
                    <a:cxn ang="0">
                      <a:pos x="92" y="18"/>
                    </a:cxn>
                    <a:cxn ang="0">
                      <a:pos x="104" y="14"/>
                    </a:cxn>
                    <a:cxn ang="0">
                      <a:pos x="104" y="14"/>
                    </a:cxn>
                    <a:cxn ang="0">
                      <a:pos x="114" y="12"/>
                    </a:cxn>
                    <a:cxn ang="0">
                      <a:pos x="120" y="12"/>
                    </a:cxn>
                    <a:cxn ang="0">
                      <a:pos x="132" y="10"/>
                    </a:cxn>
                    <a:cxn ang="0">
                      <a:pos x="132" y="10"/>
                    </a:cxn>
                    <a:cxn ang="0">
                      <a:pos x="138" y="8"/>
                    </a:cxn>
                    <a:cxn ang="0">
                      <a:pos x="140" y="6"/>
                    </a:cxn>
                    <a:cxn ang="0">
                      <a:pos x="138" y="2"/>
                    </a:cxn>
                    <a:cxn ang="0">
                      <a:pos x="134" y="0"/>
                    </a:cxn>
                    <a:cxn ang="0">
                      <a:pos x="134" y="0"/>
                    </a:cxn>
                    <a:cxn ang="0">
                      <a:pos x="124" y="2"/>
                    </a:cxn>
                    <a:cxn ang="0">
                      <a:pos x="114" y="4"/>
                    </a:cxn>
                    <a:cxn ang="0">
                      <a:pos x="114" y="4"/>
                    </a:cxn>
                    <a:cxn ang="0">
                      <a:pos x="98" y="0"/>
                    </a:cxn>
                    <a:cxn ang="0">
                      <a:pos x="86" y="0"/>
                    </a:cxn>
                    <a:cxn ang="0">
                      <a:pos x="76" y="0"/>
                    </a:cxn>
                    <a:cxn ang="0">
                      <a:pos x="76" y="0"/>
                    </a:cxn>
                    <a:cxn ang="0">
                      <a:pos x="48" y="2"/>
                    </a:cxn>
                    <a:cxn ang="0">
                      <a:pos x="48" y="2"/>
                    </a:cxn>
                    <a:cxn ang="0">
                      <a:pos x="44" y="2"/>
                    </a:cxn>
                    <a:cxn ang="0">
                      <a:pos x="46" y="4"/>
                    </a:cxn>
                    <a:cxn ang="0">
                      <a:pos x="44" y="6"/>
                    </a:cxn>
                    <a:cxn ang="0">
                      <a:pos x="38" y="10"/>
                    </a:cxn>
                    <a:cxn ang="0">
                      <a:pos x="38" y="10"/>
                    </a:cxn>
                    <a:cxn ang="0">
                      <a:pos x="30" y="14"/>
                    </a:cxn>
                    <a:cxn ang="0">
                      <a:pos x="28" y="16"/>
                    </a:cxn>
                    <a:cxn ang="0">
                      <a:pos x="30" y="16"/>
                    </a:cxn>
                    <a:cxn ang="0">
                      <a:pos x="30" y="16"/>
                    </a:cxn>
                    <a:cxn ang="0">
                      <a:pos x="30" y="18"/>
                    </a:cxn>
                    <a:cxn ang="0">
                      <a:pos x="28" y="18"/>
                    </a:cxn>
                    <a:cxn ang="0">
                      <a:pos x="18" y="22"/>
                    </a:cxn>
                    <a:cxn ang="0">
                      <a:pos x="18" y="22"/>
                    </a:cxn>
                    <a:cxn ang="0">
                      <a:pos x="10" y="26"/>
                    </a:cxn>
                    <a:cxn ang="0">
                      <a:pos x="4" y="26"/>
                    </a:cxn>
                    <a:cxn ang="0">
                      <a:pos x="0" y="26"/>
                    </a:cxn>
                    <a:cxn ang="0">
                      <a:pos x="2" y="30"/>
                    </a:cxn>
                    <a:cxn ang="0">
                      <a:pos x="2" y="30"/>
                    </a:cxn>
                    <a:cxn ang="0">
                      <a:pos x="4" y="34"/>
                    </a:cxn>
                    <a:cxn ang="0">
                      <a:pos x="4" y="38"/>
                    </a:cxn>
                    <a:cxn ang="0">
                      <a:pos x="4" y="40"/>
                    </a:cxn>
                    <a:cxn ang="0">
                      <a:pos x="8" y="40"/>
                    </a:cxn>
                    <a:cxn ang="0">
                      <a:pos x="8" y="40"/>
                    </a:cxn>
                    <a:cxn ang="0">
                      <a:pos x="16" y="40"/>
                    </a:cxn>
                    <a:cxn ang="0">
                      <a:pos x="26" y="38"/>
                    </a:cxn>
                    <a:cxn ang="0">
                      <a:pos x="26" y="38"/>
                    </a:cxn>
                    <a:cxn ang="0">
                      <a:pos x="34" y="40"/>
                    </a:cxn>
                    <a:cxn ang="0">
                      <a:pos x="38" y="38"/>
                    </a:cxn>
                    <a:cxn ang="0">
                      <a:pos x="40" y="36"/>
                    </a:cxn>
                    <a:cxn ang="0">
                      <a:pos x="40" y="36"/>
                    </a:cxn>
                    <a:cxn ang="0">
                      <a:pos x="42" y="32"/>
                    </a:cxn>
                    <a:cxn ang="0">
                      <a:pos x="48" y="28"/>
                    </a:cxn>
                    <a:cxn ang="0">
                      <a:pos x="48" y="28"/>
                    </a:cxn>
                  </a:cxnLst>
                  <a:rect l="0" t="0" r="r" b="b"/>
                  <a:pathLst>
                    <a:path w="140" h="40">
                      <a:moveTo>
                        <a:pt x="48" y="28"/>
                      </a:moveTo>
                      <a:lnTo>
                        <a:pt x="48" y="28"/>
                      </a:lnTo>
                      <a:lnTo>
                        <a:pt x="54" y="24"/>
                      </a:lnTo>
                      <a:lnTo>
                        <a:pt x="58" y="24"/>
                      </a:lnTo>
                      <a:lnTo>
                        <a:pt x="62" y="22"/>
                      </a:lnTo>
                      <a:lnTo>
                        <a:pt x="70" y="20"/>
                      </a:lnTo>
                      <a:lnTo>
                        <a:pt x="70" y="20"/>
                      </a:lnTo>
                      <a:lnTo>
                        <a:pt x="78" y="18"/>
                      </a:lnTo>
                      <a:lnTo>
                        <a:pt x="84" y="18"/>
                      </a:lnTo>
                      <a:lnTo>
                        <a:pt x="92" y="18"/>
                      </a:lnTo>
                      <a:lnTo>
                        <a:pt x="104" y="14"/>
                      </a:lnTo>
                      <a:lnTo>
                        <a:pt x="104" y="14"/>
                      </a:lnTo>
                      <a:lnTo>
                        <a:pt x="114" y="12"/>
                      </a:lnTo>
                      <a:lnTo>
                        <a:pt x="120" y="12"/>
                      </a:lnTo>
                      <a:lnTo>
                        <a:pt x="132" y="10"/>
                      </a:lnTo>
                      <a:lnTo>
                        <a:pt x="132" y="10"/>
                      </a:lnTo>
                      <a:lnTo>
                        <a:pt x="138" y="8"/>
                      </a:lnTo>
                      <a:lnTo>
                        <a:pt x="140" y="6"/>
                      </a:lnTo>
                      <a:lnTo>
                        <a:pt x="138" y="2"/>
                      </a:lnTo>
                      <a:lnTo>
                        <a:pt x="134" y="0"/>
                      </a:lnTo>
                      <a:lnTo>
                        <a:pt x="134" y="0"/>
                      </a:lnTo>
                      <a:lnTo>
                        <a:pt x="124" y="2"/>
                      </a:lnTo>
                      <a:lnTo>
                        <a:pt x="114" y="4"/>
                      </a:lnTo>
                      <a:lnTo>
                        <a:pt x="114" y="4"/>
                      </a:lnTo>
                      <a:lnTo>
                        <a:pt x="98" y="0"/>
                      </a:lnTo>
                      <a:lnTo>
                        <a:pt x="86" y="0"/>
                      </a:lnTo>
                      <a:lnTo>
                        <a:pt x="76" y="0"/>
                      </a:lnTo>
                      <a:lnTo>
                        <a:pt x="76" y="0"/>
                      </a:lnTo>
                      <a:lnTo>
                        <a:pt x="48" y="2"/>
                      </a:lnTo>
                      <a:lnTo>
                        <a:pt x="48" y="2"/>
                      </a:lnTo>
                      <a:lnTo>
                        <a:pt x="44" y="2"/>
                      </a:lnTo>
                      <a:lnTo>
                        <a:pt x="46" y="4"/>
                      </a:lnTo>
                      <a:lnTo>
                        <a:pt x="44" y="6"/>
                      </a:lnTo>
                      <a:lnTo>
                        <a:pt x="38" y="10"/>
                      </a:lnTo>
                      <a:lnTo>
                        <a:pt x="38" y="10"/>
                      </a:lnTo>
                      <a:lnTo>
                        <a:pt x="30" y="14"/>
                      </a:lnTo>
                      <a:lnTo>
                        <a:pt x="28" y="16"/>
                      </a:lnTo>
                      <a:lnTo>
                        <a:pt x="30" y="16"/>
                      </a:lnTo>
                      <a:lnTo>
                        <a:pt x="30" y="16"/>
                      </a:lnTo>
                      <a:lnTo>
                        <a:pt x="30" y="18"/>
                      </a:lnTo>
                      <a:lnTo>
                        <a:pt x="28" y="18"/>
                      </a:lnTo>
                      <a:lnTo>
                        <a:pt x="18" y="22"/>
                      </a:lnTo>
                      <a:lnTo>
                        <a:pt x="18" y="22"/>
                      </a:lnTo>
                      <a:lnTo>
                        <a:pt x="10" y="26"/>
                      </a:lnTo>
                      <a:lnTo>
                        <a:pt x="4" y="26"/>
                      </a:lnTo>
                      <a:lnTo>
                        <a:pt x="0" y="26"/>
                      </a:lnTo>
                      <a:lnTo>
                        <a:pt x="2" y="30"/>
                      </a:lnTo>
                      <a:lnTo>
                        <a:pt x="2" y="30"/>
                      </a:lnTo>
                      <a:lnTo>
                        <a:pt x="4" y="34"/>
                      </a:lnTo>
                      <a:lnTo>
                        <a:pt x="4" y="38"/>
                      </a:lnTo>
                      <a:lnTo>
                        <a:pt x="4" y="40"/>
                      </a:lnTo>
                      <a:lnTo>
                        <a:pt x="8" y="40"/>
                      </a:lnTo>
                      <a:lnTo>
                        <a:pt x="8" y="40"/>
                      </a:lnTo>
                      <a:lnTo>
                        <a:pt x="16" y="40"/>
                      </a:lnTo>
                      <a:lnTo>
                        <a:pt x="26" y="38"/>
                      </a:lnTo>
                      <a:lnTo>
                        <a:pt x="26" y="38"/>
                      </a:lnTo>
                      <a:lnTo>
                        <a:pt x="34" y="40"/>
                      </a:lnTo>
                      <a:lnTo>
                        <a:pt x="38" y="38"/>
                      </a:lnTo>
                      <a:lnTo>
                        <a:pt x="40" y="36"/>
                      </a:lnTo>
                      <a:lnTo>
                        <a:pt x="40" y="36"/>
                      </a:lnTo>
                      <a:lnTo>
                        <a:pt x="42" y="32"/>
                      </a:lnTo>
                      <a:lnTo>
                        <a:pt x="48" y="28"/>
                      </a:lnTo>
                      <a:lnTo>
                        <a:pt x="48" y="28"/>
                      </a:lnTo>
                      <a:close/>
                    </a:path>
                  </a:pathLst>
                </a:custGeom>
                <a:solidFill>
                  <a:schemeClr val="tx1">
                    <a:alpha val="9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1" name="Freeform 116"/>
                <p:cNvSpPr>
                  <a:spLocks/>
                </p:cNvSpPr>
                <p:nvPr/>
              </p:nvSpPr>
              <p:spPr bwMode="auto">
                <a:xfrm>
                  <a:off x="3246897" y="1242119"/>
                  <a:ext cx="121505" cy="30348"/>
                </a:xfrm>
                <a:custGeom>
                  <a:avLst/>
                  <a:gdLst/>
                  <a:ahLst/>
                  <a:cxnLst>
                    <a:cxn ang="0">
                      <a:pos x="4" y="12"/>
                    </a:cxn>
                    <a:cxn ang="0">
                      <a:pos x="4" y="12"/>
                    </a:cxn>
                    <a:cxn ang="0">
                      <a:pos x="12" y="10"/>
                    </a:cxn>
                    <a:cxn ang="0">
                      <a:pos x="18" y="8"/>
                    </a:cxn>
                    <a:cxn ang="0">
                      <a:pos x="22" y="8"/>
                    </a:cxn>
                    <a:cxn ang="0">
                      <a:pos x="30" y="6"/>
                    </a:cxn>
                    <a:cxn ang="0">
                      <a:pos x="30" y="6"/>
                    </a:cxn>
                    <a:cxn ang="0">
                      <a:pos x="54" y="0"/>
                    </a:cxn>
                    <a:cxn ang="0">
                      <a:pos x="66" y="0"/>
                    </a:cxn>
                    <a:cxn ang="0">
                      <a:pos x="70" y="0"/>
                    </a:cxn>
                    <a:cxn ang="0">
                      <a:pos x="72" y="2"/>
                    </a:cxn>
                    <a:cxn ang="0">
                      <a:pos x="72" y="2"/>
                    </a:cxn>
                    <a:cxn ang="0">
                      <a:pos x="72" y="4"/>
                    </a:cxn>
                    <a:cxn ang="0">
                      <a:pos x="74" y="2"/>
                    </a:cxn>
                    <a:cxn ang="0">
                      <a:pos x="74" y="0"/>
                    </a:cxn>
                    <a:cxn ang="0">
                      <a:pos x="78" y="2"/>
                    </a:cxn>
                    <a:cxn ang="0">
                      <a:pos x="78" y="2"/>
                    </a:cxn>
                    <a:cxn ang="0">
                      <a:pos x="80" y="4"/>
                    </a:cxn>
                    <a:cxn ang="0">
                      <a:pos x="78" y="6"/>
                    </a:cxn>
                    <a:cxn ang="0">
                      <a:pos x="66" y="10"/>
                    </a:cxn>
                    <a:cxn ang="0">
                      <a:pos x="66" y="10"/>
                    </a:cxn>
                    <a:cxn ang="0">
                      <a:pos x="60" y="12"/>
                    </a:cxn>
                    <a:cxn ang="0">
                      <a:pos x="54" y="14"/>
                    </a:cxn>
                    <a:cxn ang="0">
                      <a:pos x="50" y="12"/>
                    </a:cxn>
                    <a:cxn ang="0">
                      <a:pos x="52" y="10"/>
                    </a:cxn>
                    <a:cxn ang="0">
                      <a:pos x="52" y="10"/>
                    </a:cxn>
                    <a:cxn ang="0">
                      <a:pos x="56" y="8"/>
                    </a:cxn>
                    <a:cxn ang="0">
                      <a:pos x="56" y="8"/>
                    </a:cxn>
                    <a:cxn ang="0">
                      <a:pos x="46" y="10"/>
                    </a:cxn>
                    <a:cxn ang="0">
                      <a:pos x="46" y="10"/>
                    </a:cxn>
                    <a:cxn ang="0">
                      <a:pos x="42" y="12"/>
                    </a:cxn>
                    <a:cxn ang="0">
                      <a:pos x="40" y="14"/>
                    </a:cxn>
                    <a:cxn ang="0">
                      <a:pos x="40" y="14"/>
                    </a:cxn>
                    <a:cxn ang="0">
                      <a:pos x="36" y="16"/>
                    </a:cxn>
                    <a:cxn ang="0">
                      <a:pos x="36" y="16"/>
                    </a:cxn>
                    <a:cxn ang="0">
                      <a:pos x="22" y="20"/>
                    </a:cxn>
                    <a:cxn ang="0">
                      <a:pos x="18" y="20"/>
                    </a:cxn>
                    <a:cxn ang="0">
                      <a:pos x="18" y="20"/>
                    </a:cxn>
                    <a:cxn ang="0">
                      <a:pos x="16" y="18"/>
                    </a:cxn>
                    <a:cxn ang="0">
                      <a:pos x="16" y="18"/>
                    </a:cxn>
                    <a:cxn ang="0">
                      <a:pos x="12" y="16"/>
                    </a:cxn>
                    <a:cxn ang="0">
                      <a:pos x="4" y="16"/>
                    </a:cxn>
                    <a:cxn ang="0">
                      <a:pos x="0" y="14"/>
                    </a:cxn>
                    <a:cxn ang="0">
                      <a:pos x="0" y="14"/>
                    </a:cxn>
                    <a:cxn ang="0">
                      <a:pos x="4" y="12"/>
                    </a:cxn>
                    <a:cxn ang="0">
                      <a:pos x="4" y="12"/>
                    </a:cxn>
                  </a:cxnLst>
                  <a:rect l="0" t="0" r="r" b="b"/>
                  <a:pathLst>
                    <a:path w="80" h="20">
                      <a:moveTo>
                        <a:pt x="4" y="12"/>
                      </a:moveTo>
                      <a:lnTo>
                        <a:pt x="4" y="12"/>
                      </a:lnTo>
                      <a:lnTo>
                        <a:pt x="12" y="10"/>
                      </a:lnTo>
                      <a:lnTo>
                        <a:pt x="18" y="8"/>
                      </a:lnTo>
                      <a:lnTo>
                        <a:pt x="22" y="8"/>
                      </a:lnTo>
                      <a:lnTo>
                        <a:pt x="30" y="6"/>
                      </a:lnTo>
                      <a:lnTo>
                        <a:pt x="30" y="6"/>
                      </a:lnTo>
                      <a:lnTo>
                        <a:pt x="54" y="0"/>
                      </a:lnTo>
                      <a:lnTo>
                        <a:pt x="66" y="0"/>
                      </a:lnTo>
                      <a:lnTo>
                        <a:pt x="70" y="0"/>
                      </a:lnTo>
                      <a:lnTo>
                        <a:pt x="72" y="2"/>
                      </a:lnTo>
                      <a:lnTo>
                        <a:pt x="72" y="2"/>
                      </a:lnTo>
                      <a:lnTo>
                        <a:pt x="72" y="4"/>
                      </a:lnTo>
                      <a:lnTo>
                        <a:pt x="74" y="2"/>
                      </a:lnTo>
                      <a:lnTo>
                        <a:pt x="74" y="0"/>
                      </a:lnTo>
                      <a:lnTo>
                        <a:pt x="78" y="2"/>
                      </a:lnTo>
                      <a:lnTo>
                        <a:pt x="78" y="2"/>
                      </a:lnTo>
                      <a:lnTo>
                        <a:pt x="80" y="4"/>
                      </a:lnTo>
                      <a:lnTo>
                        <a:pt x="78" y="6"/>
                      </a:lnTo>
                      <a:lnTo>
                        <a:pt x="66" y="10"/>
                      </a:lnTo>
                      <a:lnTo>
                        <a:pt x="66" y="10"/>
                      </a:lnTo>
                      <a:lnTo>
                        <a:pt x="60" y="12"/>
                      </a:lnTo>
                      <a:lnTo>
                        <a:pt x="54" y="14"/>
                      </a:lnTo>
                      <a:lnTo>
                        <a:pt x="50" y="12"/>
                      </a:lnTo>
                      <a:lnTo>
                        <a:pt x="52" y="10"/>
                      </a:lnTo>
                      <a:lnTo>
                        <a:pt x="52" y="10"/>
                      </a:lnTo>
                      <a:lnTo>
                        <a:pt x="56" y="8"/>
                      </a:lnTo>
                      <a:lnTo>
                        <a:pt x="56" y="8"/>
                      </a:lnTo>
                      <a:lnTo>
                        <a:pt x="46" y="10"/>
                      </a:lnTo>
                      <a:lnTo>
                        <a:pt x="46" y="10"/>
                      </a:lnTo>
                      <a:lnTo>
                        <a:pt x="42" y="12"/>
                      </a:lnTo>
                      <a:lnTo>
                        <a:pt x="40" y="14"/>
                      </a:lnTo>
                      <a:lnTo>
                        <a:pt x="40" y="14"/>
                      </a:lnTo>
                      <a:lnTo>
                        <a:pt x="36" y="16"/>
                      </a:lnTo>
                      <a:lnTo>
                        <a:pt x="36" y="16"/>
                      </a:lnTo>
                      <a:lnTo>
                        <a:pt x="22" y="20"/>
                      </a:lnTo>
                      <a:lnTo>
                        <a:pt x="18" y="20"/>
                      </a:lnTo>
                      <a:lnTo>
                        <a:pt x="18" y="20"/>
                      </a:lnTo>
                      <a:lnTo>
                        <a:pt x="16" y="18"/>
                      </a:lnTo>
                      <a:lnTo>
                        <a:pt x="16" y="18"/>
                      </a:lnTo>
                      <a:lnTo>
                        <a:pt x="12" y="16"/>
                      </a:lnTo>
                      <a:lnTo>
                        <a:pt x="4" y="16"/>
                      </a:lnTo>
                      <a:lnTo>
                        <a:pt x="0" y="14"/>
                      </a:lnTo>
                      <a:lnTo>
                        <a:pt x="0" y="14"/>
                      </a:lnTo>
                      <a:lnTo>
                        <a:pt x="4" y="12"/>
                      </a:lnTo>
                      <a:lnTo>
                        <a:pt x="4" y="12"/>
                      </a:lnTo>
                      <a:close/>
                    </a:path>
                  </a:pathLst>
                </a:custGeom>
                <a:solidFill>
                  <a:schemeClr val="tx1">
                    <a:alpha val="9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2" name="Freeform 117"/>
                <p:cNvSpPr>
                  <a:spLocks/>
                </p:cNvSpPr>
                <p:nvPr/>
              </p:nvSpPr>
              <p:spPr bwMode="auto">
                <a:xfrm>
                  <a:off x="3325875" y="1254259"/>
                  <a:ext cx="209598" cy="48557"/>
                </a:xfrm>
                <a:custGeom>
                  <a:avLst/>
                  <a:gdLst/>
                  <a:ahLst/>
                  <a:cxnLst>
                    <a:cxn ang="0">
                      <a:pos x="18" y="6"/>
                    </a:cxn>
                    <a:cxn ang="0">
                      <a:pos x="30" y="2"/>
                    </a:cxn>
                    <a:cxn ang="0">
                      <a:pos x="30" y="4"/>
                    </a:cxn>
                    <a:cxn ang="0">
                      <a:pos x="36" y="4"/>
                    </a:cxn>
                    <a:cxn ang="0">
                      <a:pos x="44" y="6"/>
                    </a:cxn>
                    <a:cxn ang="0">
                      <a:pos x="48" y="12"/>
                    </a:cxn>
                    <a:cxn ang="0">
                      <a:pos x="58" y="18"/>
                    </a:cxn>
                    <a:cxn ang="0">
                      <a:pos x="64" y="18"/>
                    </a:cxn>
                    <a:cxn ang="0">
                      <a:pos x="76" y="18"/>
                    </a:cxn>
                    <a:cxn ang="0">
                      <a:pos x="78" y="16"/>
                    </a:cxn>
                    <a:cxn ang="0">
                      <a:pos x="80" y="14"/>
                    </a:cxn>
                    <a:cxn ang="0">
                      <a:pos x="84" y="12"/>
                    </a:cxn>
                    <a:cxn ang="0">
                      <a:pos x="84" y="6"/>
                    </a:cxn>
                    <a:cxn ang="0">
                      <a:pos x="90" y="6"/>
                    </a:cxn>
                    <a:cxn ang="0">
                      <a:pos x="122" y="0"/>
                    </a:cxn>
                    <a:cxn ang="0">
                      <a:pos x="120" y="4"/>
                    </a:cxn>
                    <a:cxn ang="0">
                      <a:pos x="116" y="8"/>
                    </a:cxn>
                    <a:cxn ang="0">
                      <a:pos x="118" y="12"/>
                    </a:cxn>
                    <a:cxn ang="0">
                      <a:pos x="116" y="14"/>
                    </a:cxn>
                    <a:cxn ang="0">
                      <a:pos x="118" y="12"/>
                    </a:cxn>
                    <a:cxn ang="0">
                      <a:pos x="128" y="12"/>
                    </a:cxn>
                    <a:cxn ang="0">
                      <a:pos x="138" y="16"/>
                    </a:cxn>
                    <a:cxn ang="0">
                      <a:pos x="136" y="18"/>
                    </a:cxn>
                    <a:cxn ang="0">
                      <a:pos x="126" y="20"/>
                    </a:cxn>
                    <a:cxn ang="0">
                      <a:pos x="110" y="28"/>
                    </a:cxn>
                    <a:cxn ang="0">
                      <a:pos x="104" y="28"/>
                    </a:cxn>
                    <a:cxn ang="0">
                      <a:pos x="88" y="28"/>
                    </a:cxn>
                    <a:cxn ang="0">
                      <a:pos x="78" y="26"/>
                    </a:cxn>
                    <a:cxn ang="0">
                      <a:pos x="58" y="30"/>
                    </a:cxn>
                    <a:cxn ang="0">
                      <a:pos x="32" y="32"/>
                    </a:cxn>
                    <a:cxn ang="0">
                      <a:pos x="22" y="30"/>
                    </a:cxn>
                    <a:cxn ang="0">
                      <a:pos x="16" y="26"/>
                    </a:cxn>
                    <a:cxn ang="0">
                      <a:pos x="20" y="26"/>
                    </a:cxn>
                    <a:cxn ang="0">
                      <a:pos x="44" y="24"/>
                    </a:cxn>
                    <a:cxn ang="0">
                      <a:pos x="44" y="22"/>
                    </a:cxn>
                    <a:cxn ang="0">
                      <a:pos x="38" y="22"/>
                    </a:cxn>
                    <a:cxn ang="0">
                      <a:pos x="32" y="20"/>
                    </a:cxn>
                    <a:cxn ang="0">
                      <a:pos x="32" y="18"/>
                    </a:cxn>
                    <a:cxn ang="0">
                      <a:pos x="32" y="16"/>
                    </a:cxn>
                    <a:cxn ang="0">
                      <a:pos x="30" y="16"/>
                    </a:cxn>
                    <a:cxn ang="0">
                      <a:pos x="22" y="20"/>
                    </a:cxn>
                    <a:cxn ang="0">
                      <a:pos x="18" y="22"/>
                    </a:cxn>
                    <a:cxn ang="0">
                      <a:pos x="8" y="20"/>
                    </a:cxn>
                    <a:cxn ang="0">
                      <a:pos x="2" y="16"/>
                    </a:cxn>
                    <a:cxn ang="0">
                      <a:pos x="4" y="12"/>
                    </a:cxn>
                    <a:cxn ang="0">
                      <a:pos x="18" y="6"/>
                    </a:cxn>
                  </a:cxnLst>
                  <a:rect l="0" t="0" r="r" b="b"/>
                  <a:pathLst>
                    <a:path w="138" h="32">
                      <a:moveTo>
                        <a:pt x="18" y="6"/>
                      </a:moveTo>
                      <a:lnTo>
                        <a:pt x="18" y="6"/>
                      </a:lnTo>
                      <a:lnTo>
                        <a:pt x="28" y="2"/>
                      </a:lnTo>
                      <a:lnTo>
                        <a:pt x="30" y="2"/>
                      </a:lnTo>
                      <a:lnTo>
                        <a:pt x="30" y="4"/>
                      </a:lnTo>
                      <a:lnTo>
                        <a:pt x="30" y="4"/>
                      </a:lnTo>
                      <a:lnTo>
                        <a:pt x="32" y="6"/>
                      </a:lnTo>
                      <a:lnTo>
                        <a:pt x="36" y="4"/>
                      </a:lnTo>
                      <a:lnTo>
                        <a:pt x="40" y="4"/>
                      </a:lnTo>
                      <a:lnTo>
                        <a:pt x="44" y="6"/>
                      </a:lnTo>
                      <a:lnTo>
                        <a:pt x="44" y="6"/>
                      </a:lnTo>
                      <a:lnTo>
                        <a:pt x="48" y="12"/>
                      </a:lnTo>
                      <a:lnTo>
                        <a:pt x="52" y="16"/>
                      </a:lnTo>
                      <a:lnTo>
                        <a:pt x="58" y="18"/>
                      </a:lnTo>
                      <a:lnTo>
                        <a:pt x="64" y="18"/>
                      </a:lnTo>
                      <a:lnTo>
                        <a:pt x="64" y="18"/>
                      </a:lnTo>
                      <a:lnTo>
                        <a:pt x="76" y="18"/>
                      </a:lnTo>
                      <a:lnTo>
                        <a:pt x="76" y="18"/>
                      </a:lnTo>
                      <a:lnTo>
                        <a:pt x="78" y="18"/>
                      </a:lnTo>
                      <a:lnTo>
                        <a:pt x="78" y="16"/>
                      </a:lnTo>
                      <a:lnTo>
                        <a:pt x="78" y="14"/>
                      </a:lnTo>
                      <a:lnTo>
                        <a:pt x="80" y="14"/>
                      </a:lnTo>
                      <a:lnTo>
                        <a:pt x="80" y="14"/>
                      </a:lnTo>
                      <a:lnTo>
                        <a:pt x="84" y="12"/>
                      </a:lnTo>
                      <a:lnTo>
                        <a:pt x="84" y="8"/>
                      </a:lnTo>
                      <a:lnTo>
                        <a:pt x="84" y="6"/>
                      </a:lnTo>
                      <a:lnTo>
                        <a:pt x="90" y="6"/>
                      </a:lnTo>
                      <a:lnTo>
                        <a:pt x="90" y="6"/>
                      </a:lnTo>
                      <a:lnTo>
                        <a:pt x="114" y="2"/>
                      </a:lnTo>
                      <a:lnTo>
                        <a:pt x="122" y="0"/>
                      </a:lnTo>
                      <a:lnTo>
                        <a:pt x="122" y="2"/>
                      </a:lnTo>
                      <a:lnTo>
                        <a:pt x="120" y="4"/>
                      </a:lnTo>
                      <a:lnTo>
                        <a:pt x="120" y="4"/>
                      </a:lnTo>
                      <a:lnTo>
                        <a:pt x="116" y="8"/>
                      </a:lnTo>
                      <a:lnTo>
                        <a:pt x="116" y="10"/>
                      </a:lnTo>
                      <a:lnTo>
                        <a:pt x="118" y="12"/>
                      </a:lnTo>
                      <a:lnTo>
                        <a:pt x="116" y="14"/>
                      </a:lnTo>
                      <a:lnTo>
                        <a:pt x="116" y="14"/>
                      </a:lnTo>
                      <a:lnTo>
                        <a:pt x="116" y="14"/>
                      </a:lnTo>
                      <a:lnTo>
                        <a:pt x="118" y="12"/>
                      </a:lnTo>
                      <a:lnTo>
                        <a:pt x="124" y="12"/>
                      </a:lnTo>
                      <a:lnTo>
                        <a:pt x="128" y="12"/>
                      </a:lnTo>
                      <a:lnTo>
                        <a:pt x="128" y="12"/>
                      </a:lnTo>
                      <a:lnTo>
                        <a:pt x="138" y="16"/>
                      </a:lnTo>
                      <a:lnTo>
                        <a:pt x="138" y="18"/>
                      </a:lnTo>
                      <a:lnTo>
                        <a:pt x="136" y="18"/>
                      </a:lnTo>
                      <a:lnTo>
                        <a:pt x="126" y="20"/>
                      </a:lnTo>
                      <a:lnTo>
                        <a:pt x="126" y="20"/>
                      </a:lnTo>
                      <a:lnTo>
                        <a:pt x="116" y="26"/>
                      </a:lnTo>
                      <a:lnTo>
                        <a:pt x="110" y="28"/>
                      </a:lnTo>
                      <a:lnTo>
                        <a:pt x="104" y="28"/>
                      </a:lnTo>
                      <a:lnTo>
                        <a:pt x="104" y="28"/>
                      </a:lnTo>
                      <a:lnTo>
                        <a:pt x="94" y="28"/>
                      </a:lnTo>
                      <a:lnTo>
                        <a:pt x="88" y="28"/>
                      </a:lnTo>
                      <a:lnTo>
                        <a:pt x="84" y="26"/>
                      </a:lnTo>
                      <a:lnTo>
                        <a:pt x="78" y="26"/>
                      </a:lnTo>
                      <a:lnTo>
                        <a:pt x="78" y="26"/>
                      </a:lnTo>
                      <a:lnTo>
                        <a:pt x="58" y="30"/>
                      </a:lnTo>
                      <a:lnTo>
                        <a:pt x="44" y="30"/>
                      </a:lnTo>
                      <a:lnTo>
                        <a:pt x="32" y="32"/>
                      </a:lnTo>
                      <a:lnTo>
                        <a:pt x="32" y="32"/>
                      </a:lnTo>
                      <a:lnTo>
                        <a:pt x="22" y="30"/>
                      </a:lnTo>
                      <a:lnTo>
                        <a:pt x="16" y="28"/>
                      </a:lnTo>
                      <a:lnTo>
                        <a:pt x="16" y="26"/>
                      </a:lnTo>
                      <a:lnTo>
                        <a:pt x="20" y="26"/>
                      </a:lnTo>
                      <a:lnTo>
                        <a:pt x="20" y="26"/>
                      </a:lnTo>
                      <a:lnTo>
                        <a:pt x="36" y="24"/>
                      </a:lnTo>
                      <a:lnTo>
                        <a:pt x="44" y="24"/>
                      </a:lnTo>
                      <a:lnTo>
                        <a:pt x="44" y="24"/>
                      </a:lnTo>
                      <a:lnTo>
                        <a:pt x="44" y="22"/>
                      </a:lnTo>
                      <a:lnTo>
                        <a:pt x="44" y="22"/>
                      </a:lnTo>
                      <a:lnTo>
                        <a:pt x="38" y="22"/>
                      </a:lnTo>
                      <a:lnTo>
                        <a:pt x="32" y="20"/>
                      </a:lnTo>
                      <a:lnTo>
                        <a:pt x="32" y="20"/>
                      </a:lnTo>
                      <a:lnTo>
                        <a:pt x="32" y="20"/>
                      </a:lnTo>
                      <a:lnTo>
                        <a:pt x="32" y="18"/>
                      </a:lnTo>
                      <a:lnTo>
                        <a:pt x="34" y="16"/>
                      </a:lnTo>
                      <a:lnTo>
                        <a:pt x="32" y="16"/>
                      </a:lnTo>
                      <a:lnTo>
                        <a:pt x="32" y="16"/>
                      </a:lnTo>
                      <a:lnTo>
                        <a:pt x="30" y="16"/>
                      </a:lnTo>
                      <a:lnTo>
                        <a:pt x="26" y="18"/>
                      </a:lnTo>
                      <a:lnTo>
                        <a:pt x="22" y="20"/>
                      </a:lnTo>
                      <a:lnTo>
                        <a:pt x="18" y="22"/>
                      </a:lnTo>
                      <a:lnTo>
                        <a:pt x="18" y="22"/>
                      </a:lnTo>
                      <a:lnTo>
                        <a:pt x="10" y="20"/>
                      </a:lnTo>
                      <a:lnTo>
                        <a:pt x="8" y="20"/>
                      </a:lnTo>
                      <a:lnTo>
                        <a:pt x="2" y="16"/>
                      </a:lnTo>
                      <a:lnTo>
                        <a:pt x="2" y="16"/>
                      </a:lnTo>
                      <a:lnTo>
                        <a:pt x="0" y="14"/>
                      </a:lnTo>
                      <a:lnTo>
                        <a:pt x="4" y="12"/>
                      </a:lnTo>
                      <a:lnTo>
                        <a:pt x="18" y="6"/>
                      </a:lnTo>
                      <a:lnTo>
                        <a:pt x="18" y="6"/>
                      </a:lnTo>
                      <a:close/>
                    </a:path>
                  </a:pathLst>
                </a:custGeom>
                <a:solidFill>
                  <a:schemeClr val="tx1">
                    <a:alpha val="9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3" name="Freeform 118"/>
                <p:cNvSpPr>
                  <a:spLocks/>
                </p:cNvSpPr>
                <p:nvPr/>
              </p:nvSpPr>
              <p:spPr bwMode="auto">
                <a:xfrm>
                  <a:off x="3909102" y="1172318"/>
                  <a:ext cx="637905" cy="94080"/>
                </a:xfrm>
                <a:custGeom>
                  <a:avLst/>
                  <a:gdLst/>
                  <a:ahLst/>
                  <a:cxnLst>
                    <a:cxn ang="0">
                      <a:pos x="278" y="6"/>
                    </a:cxn>
                    <a:cxn ang="0">
                      <a:pos x="260" y="4"/>
                    </a:cxn>
                    <a:cxn ang="0">
                      <a:pos x="220" y="6"/>
                    </a:cxn>
                    <a:cxn ang="0">
                      <a:pos x="198" y="6"/>
                    </a:cxn>
                    <a:cxn ang="0">
                      <a:pos x="170" y="8"/>
                    </a:cxn>
                    <a:cxn ang="0">
                      <a:pos x="154" y="6"/>
                    </a:cxn>
                    <a:cxn ang="0">
                      <a:pos x="134" y="6"/>
                    </a:cxn>
                    <a:cxn ang="0">
                      <a:pos x="118" y="10"/>
                    </a:cxn>
                    <a:cxn ang="0">
                      <a:pos x="100" y="16"/>
                    </a:cxn>
                    <a:cxn ang="0">
                      <a:pos x="126" y="14"/>
                    </a:cxn>
                    <a:cxn ang="0">
                      <a:pos x="142" y="12"/>
                    </a:cxn>
                    <a:cxn ang="0">
                      <a:pos x="150" y="12"/>
                    </a:cxn>
                    <a:cxn ang="0">
                      <a:pos x="168" y="14"/>
                    </a:cxn>
                    <a:cxn ang="0">
                      <a:pos x="184" y="14"/>
                    </a:cxn>
                    <a:cxn ang="0">
                      <a:pos x="156" y="16"/>
                    </a:cxn>
                    <a:cxn ang="0">
                      <a:pos x="138" y="20"/>
                    </a:cxn>
                    <a:cxn ang="0">
                      <a:pos x="134" y="30"/>
                    </a:cxn>
                    <a:cxn ang="0">
                      <a:pos x="130" y="30"/>
                    </a:cxn>
                    <a:cxn ang="0">
                      <a:pos x="124" y="26"/>
                    </a:cxn>
                    <a:cxn ang="0">
                      <a:pos x="104" y="26"/>
                    </a:cxn>
                    <a:cxn ang="0">
                      <a:pos x="96" y="30"/>
                    </a:cxn>
                    <a:cxn ang="0">
                      <a:pos x="68" y="34"/>
                    </a:cxn>
                    <a:cxn ang="0">
                      <a:pos x="62" y="40"/>
                    </a:cxn>
                    <a:cxn ang="0">
                      <a:pos x="88" y="38"/>
                    </a:cxn>
                    <a:cxn ang="0">
                      <a:pos x="68" y="42"/>
                    </a:cxn>
                    <a:cxn ang="0">
                      <a:pos x="84" y="46"/>
                    </a:cxn>
                    <a:cxn ang="0">
                      <a:pos x="74" y="46"/>
                    </a:cxn>
                    <a:cxn ang="0">
                      <a:pos x="36" y="44"/>
                    </a:cxn>
                    <a:cxn ang="0">
                      <a:pos x="30" y="48"/>
                    </a:cxn>
                    <a:cxn ang="0">
                      <a:pos x="4" y="52"/>
                    </a:cxn>
                    <a:cxn ang="0">
                      <a:pos x="8" y="58"/>
                    </a:cxn>
                    <a:cxn ang="0">
                      <a:pos x="28" y="56"/>
                    </a:cxn>
                    <a:cxn ang="0">
                      <a:pos x="56" y="62"/>
                    </a:cxn>
                    <a:cxn ang="0">
                      <a:pos x="72" y="58"/>
                    </a:cxn>
                    <a:cxn ang="0">
                      <a:pos x="92" y="58"/>
                    </a:cxn>
                    <a:cxn ang="0">
                      <a:pos x="106" y="58"/>
                    </a:cxn>
                    <a:cxn ang="0">
                      <a:pos x="122" y="62"/>
                    </a:cxn>
                    <a:cxn ang="0">
                      <a:pos x="142" y="56"/>
                    </a:cxn>
                    <a:cxn ang="0">
                      <a:pos x="160" y="54"/>
                    </a:cxn>
                    <a:cxn ang="0">
                      <a:pos x="152" y="46"/>
                    </a:cxn>
                    <a:cxn ang="0">
                      <a:pos x="176" y="46"/>
                    </a:cxn>
                    <a:cxn ang="0">
                      <a:pos x="178" y="40"/>
                    </a:cxn>
                    <a:cxn ang="0">
                      <a:pos x="194" y="40"/>
                    </a:cxn>
                    <a:cxn ang="0">
                      <a:pos x="224" y="44"/>
                    </a:cxn>
                    <a:cxn ang="0">
                      <a:pos x="236" y="38"/>
                    </a:cxn>
                    <a:cxn ang="0">
                      <a:pos x="256" y="40"/>
                    </a:cxn>
                    <a:cxn ang="0">
                      <a:pos x="278" y="36"/>
                    </a:cxn>
                    <a:cxn ang="0">
                      <a:pos x="308" y="36"/>
                    </a:cxn>
                    <a:cxn ang="0">
                      <a:pos x="358" y="24"/>
                    </a:cxn>
                    <a:cxn ang="0">
                      <a:pos x="398" y="16"/>
                    </a:cxn>
                    <a:cxn ang="0">
                      <a:pos x="420" y="8"/>
                    </a:cxn>
                    <a:cxn ang="0">
                      <a:pos x="386" y="4"/>
                    </a:cxn>
                    <a:cxn ang="0">
                      <a:pos x="358" y="0"/>
                    </a:cxn>
                    <a:cxn ang="0">
                      <a:pos x="306" y="6"/>
                    </a:cxn>
                  </a:cxnLst>
                  <a:rect l="0" t="0" r="r" b="b"/>
                  <a:pathLst>
                    <a:path w="420" h="62">
                      <a:moveTo>
                        <a:pt x="306" y="6"/>
                      </a:moveTo>
                      <a:lnTo>
                        <a:pt x="306" y="6"/>
                      </a:lnTo>
                      <a:lnTo>
                        <a:pt x="292" y="4"/>
                      </a:lnTo>
                      <a:lnTo>
                        <a:pt x="278" y="6"/>
                      </a:lnTo>
                      <a:lnTo>
                        <a:pt x="278" y="6"/>
                      </a:lnTo>
                      <a:lnTo>
                        <a:pt x="272" y="6"/>
                      </a:lnTo>
                      <a:lnTo>
                        <a:pt x="266" y="6"/>
                      </a:lnTo>
                      <a:lnTo>
                        <a:pt x="260" y="4"/>
                      </a:lnTo>
                      <a:lnTo>
                        <a:pt x="254" y="4"/>
                      </a:lnTo>
                      <a:lnTo>
                        <a:pt x="254" y="4"/>
                      </a:lnTo>
                      <a:lnTo>
                        <a:pt x="238" y="4"/>
                      </a:lnTo>
                      <a:lnTo>
                        <a:pt x="220" y="6"/>
                      </a:lnTo>
                      <a:lnTo>
                        <a:pt x="220" y="6"/>
                      </a:lnTo>
                      <a:lnTo>
                        <a:pt x="212" y="6"/>
                      </a:lnTo>
                      <a:lnTo>
                        <a:pt x="204" y="6"/>
                      </a:lnTo>
                      <a:lnTo>
                        <a:pt x="198" y="6"/>
                      </a:lnTo>
                      <a:lnTo>
                        <a:pt x="192" y="6"/>
                      </a:lnTo>
                      <a:lnTo>
                        <a:pt x="192" y="6"/>
                      </a:lnTo>
                      <a:lnTo>
                        <a:pt x="180" y="6"/>
                      </a:lnTo>
                      <a:lnTo>
                        <a:pt x="170" y="8"/>
                      </a:lnTo>
                      <a:lnTo>
                        <a:pt x="170" y="8"/>
                      </a:lnTo>
                      <a:lnTo>
                        <a:pt x="164" y="8"/>
                      </a:lnTo>
                      <a:lnTo>
                        <a:pt x="160" y="6"/>
                      </a:lnTo>
                      <a:lnTo>
                        <a:pt x="154" y="6"/>
                      </a:lnTo>
                      <a:lnTo>
                        <a:pt x="150" y="6"/>
                      </a:lnTo>
                      <a:lnTo>
                        <a:pt x="150" y="6"/>
                      </a:lnTo>
                      <a:lnTo>
                        <a:pt x="140" y="6"/>
                      </a:lnTo>
                      <a:lnTo>
                        <a:pt x="134" y="6"/>
                      </a:lnTo>
                      <a:lnTo>
                        <a:pt x="132" y="8"/>
                      </a:lnTo>
                      <a:lnTo>
                        <a:pt x="132" y="8"/>
                      </a:lnTo>
                      <a:lnTo>
                        <a:pt x="126" y="8"/>
                      </a:lnTo>
                      <a:lnTo>
                        <a:pt x="118" y="10"/>
                      </a:lnTo>
                      <a:lnTo>
                        <a:pt x="108" y="12"/>
                      </a:lnTo>
                      <a:lnTo>
                        <a:pt x="102" y="14"/>
                      </a:lnTo>
                      <a:lnTo>
                        <a:pt x="102" y="14"/>
                      </a:lnTo>
                      <a:lnTo>
                        <a:pt x="100" y="16"/>
                      </a:lnTo>
                      <a:lnTo>
                        <a:pt x="102" y="16"/>
                      </a:lnTo>
                      <a:lnTo>
                        <a:pt x="110" y="16"/>
                      </a:lnTo>
                      <a:lnTo>
                        <a:pt x="118" y="14"/>
                      </a:lnTo>
                      <a:lnTo>
                        <a:pt x="126" y="14"/>
                      </a:lnTo>
                      <a:lnTo>
                        <a:pt x="126" y="14"/>
                      </a:lnTo>
                      <a:lnTo>
                        <a:pt x="130" y="16"/>
                      </a:lnTo>
                      <a:lnTo>
                        <a:pt x="134" y="14"/>
                      </a:lnTo>
                      <a:lnTo>
                        <a:pt x="142" y="12"/>
                      </a:lnTo>
                      <a:lnTo>
                        <a:pt x="142" y="12"/>
                      </a:lnTo>
                      <a:lnTo>
                        <a:pt x="148" y="14"/>
                      </a:lnTo>
                      <a:lnTo>
                        <a:pt x="148" y="14"/>
                      </a:lnTo>
                      <a:lnTo>
                        <a:pt x="150" y="12"/>
                      </a:lnTo>
                      <a:lnTo>
                        <a:pt x="150" y="12"/>
                      </a:lnTo>
                      <a:lnTo>
                        <a:pt x="158" y="12"/>
                      </a:lnTo>
                      <a:lnTo>
                        <a:pt x="168" y="14"/>
                      </a:lnTo>
                      <a:lnTo>
                        <a:pt x="168" y="14"/>
                      </a:lnTo>
                      <a:lnTo>
                        <a:pt x="180" y="14"/>
                      </a:lnTo>
                      <a:lnTo>
                        <a:pt x="184" y="14"/>
                      </a:lnTo>
                      <a:lnTo>
                        <a:pt x="184" y="14"/>
                      </a:lnTo>
                      <a:lnTo>
                        <a:pt x="184" y="14"/>
                      </a:lnTo>
                      <a:lnTo>
                        <a:pt x="174" y="16"/>
                      </a:lnTo>
                      <a:lnTo>
                        <a:pt x="162" y="16"/>
                      </a:lnTo>
                      <a:lnTo>
                        <a:pt x="162" y="16"/>
                      </a:lnTo>
                      <a:lnTo>
                        <a:pt x="156" y="16"/>
                      </a:lnTo>
                      <a:lnTo>
                        <a:pt x="150" y="18"/>
                      </a:lnTo>
                      <a:lnTo>
                        <a:pt x="146" y="20"/>
                      </a:lnTo>
                      <a:lnTo>
                        <a:pt x="138" y="20"/>
                      </a:lnTo>
                      <a:lnTo>
                        <a:pt x="138" y="20"/>
                      </a:lnTo>
                      <a:lnTo>
                        <a:pt x="136" y="20"/>
                      </a:lnTo>
                      <a:lnTo>
                        <a:pt x="134" y="22"/>
                      </a:lnTo>
                      <a:lnTo>
                        <a:pt x="134" y="26"/>
                      </a:lnTo>
                      <a:lnTo>
                        <a:pt x="134" y="30"/>
                      </a:lnTo>
                      <a:lnTo>
                        <a:pt x="134" y="32"/>
                      </a:lnTo>
                      <a:lnTo>
                        <a:pt x="134" y="30"/>
                      </a:lnTo>
                      <a:lnTo>
                        <a:pt x="134" y="30"/>
                      </a:lnTo>
                      <a:lnTo>
                        <a:pt x="130" y="30"/>
                      </a:lnTo>
                      <a:lnTo>
                        <a:pt x="126" y="30"/>
                      </a:lnTo>
                      <a:lnTo>
                        <a:pt x="124" y="28"/>
                      </a:lnTo>
                      <a:lnTo>
                        <a:pt x="124" y="26"/>
                      </a:lnTo>
                      <a:lnTo>
                        <a:pt x="124" y="26"/>
                      </a:lnTo>
                      <a:lnTo>
                        <a:pt x="124" y="26"/>
                      </a:lnTo>
                      <a:lnTo>
                        <a:pt x="122" y="26"/>
                      </a:lnTo>
                      <a:lnTo>
                        <a:pt x="116" y="26"/>
                      </a:lnTo>
                      <a:lnTo>
                        <a:pt x="104" y="26"/>
                      </a:lnTo>
                      <a:lnTo>
                        <a:pt x="104" y="26"/>
                      </a:lnTo>
                      <a:lnTo>
                        <a:pt x="94" y="28"/>
                      </a:lnTo>
                      <a:lnTo>
                        <a:pt x="96" y="30"/>
                      </a:lnTo>
                      <a:lnTo>
                        <a:pt x="96" y="30"/>
                      </a:lnTo>
                      <a:lnTo>
                        <a:pt x="94" y="32"/>
                      </a:lnTo>
                      <a:lnTo>
                        <a:pt x="76" y="32"/>
                      </a:lnTo>
                      <a:lnTo>
                        <a:pt x="76" y="32"/>
                      </a:lnTo>
                      <a:lnTo>
                        <a:pt x="68" y="34"/>
                      </a:lnTo>
                      <a:lnTo>
                        <a:pt x="62" y="36"/>
                      </a:lnTo>
                      <a:lnTo>
                        <a:pt x="60" y="38"/>
                      </a:lnTo>
                      <a:lnTo>
                        <a:pt x="62" y="40"/>
                      </a:lnTo>
                      <a:lnTo>
                        <a:pt x="62" y="40"/>
                      </a:lnTo>
                      <a:lnTo>
                        <a:pt x="68" y="40"/>
                      </a:lnTo>
                      <a:lnTo>
                        <a:pt x="74" y="40"/>
                      </a:lnTo>
                      <a:lnTo>
                        <a:pt x="88" y="38"/>
                      </a:lnTo>
                      <a:lnTo>
                        <a:pt x="88" y="38"/>
                      </a:lnTo>
                      <a:lnTo>
                        <a:pt x="90" y="40"/>
                      </a:lnTo>
                      <a:lnTo>
                        <a:pt x="86" y="40"/>
                      </a:lnTo>
                      <a:lnTo>
                        <a:pt x="68" y="42"/>
                      </a:lnTo>
                      <a:lnTo>
                        <a:pt x="68" y="42"/>
                      </a:lnTo>
                      <a:lnTo>
                        <a:pt x="68" y="42"/>
                      </a:lnTo>
                      <a:lnTo>
                        <a:pt x="68" y="42"/>
                      </a:lnTo>
                      <a:lnTo>
                        <a:pt x="76" y="44"/>
                      </a:lnTo>
                      <a:lnTo>
                        <a:pt x="84" y="46"/>
                      </a:lnTo>
                      <a:lnTo>
                        <a:pt x="84" y="46"/>
                      </a:lnTo>
                      <a:lnTo>
                        <a:pt x="84" y="46"/>
                      </a:lnTo>
                      <a:lnTo>
                        <a:pt x="84" y="46"/>
                      </a:lnTo>
                      <a:lnTo>
                        <a:pt x="74" y="46"/>
                      </a:lnTo>
                      <a:lnTo>
                        <a:pt x="62" y="44"/>
                      </a:lnTo>
                      <a:lnTo>
                        <a:pt x="62" y="44"/>
                      </a:lnTo>
                      <a:lnTo>
                        <a:pt x="48" y="42"/>
                      </a:lnTo>
                      <a:lnTo>
                        <a:pt x="36" y="44"/>
                      </a:lnTo>
                      <a:lnTo>
                        <a:pt x="36" y="44"/>
                      </a:lnTo>
                      <a:lnTo>
                        <a:pt x="32" y="44"/>
                      </a:lnTo>
                      <a:lnTo>
                        <a:pt x="30" y="46"/>
                      </a:lnTo>
                      <a:lnTo>
                        <a:pt x="30" y="48"/>
                      </a:lnTo>
                      <a:lnTo>
                        <a:pt x="28" y="48"/>
                      </a:lnTo>
                      <a:lnTo>
                        <a:pt x="28" y="48"/>
                      </a:lnTo>
                      <a:lnTo>
                        <a:pt x="18" y="50"/>
                      </a:lnTo>
                      <a:lnTo>
                        <a:pt x="4" y="52"/>
                      </a:lnTo>
                      <a:lnTo>
                        <a:pt x="4" y="52"/>
                      </a:lnTo>
                      <a:lnTo>
                        <a:pt x="0" y="54"/>
                      </a:lnTo>
                      <a:lnTo>
                        <a:pt x="0" y="56"/>
                      </a:lnTo>
                      <a:lnTo>
                        <a:pt x="8" y="58"/>
                      </a:lnTo>
                      <a:lnTo>
                        <a:pt x="8" y="58"/>
                      </a:lnTo>
                      <a:lnTo>
                        <a:pt x="18" y="58"/>
                      </a:lnTo>
                      <a:lnTo>
                        <a:pt x="22" y="58"/>
                      </a:lnTo>
                      <a:lnTo>
                        <a:pt x="28" y="56"/>
                      </a:lnTo>
                      <a:lnTo>
                        <a:pt x="34" y="58"/>
                      </a:lnTo>
                      <a:lnTo>
                        <a:pt x="34" y="58"/>
                      </a:lnTo>
                      <a:lnTo>
                        <a:pt x="50" y="62"/>
                      </a:lnTo>
                      <a:lnTo>
                        <a:pt x="56" y="62"/>
                      </a:lnTo>
                      <a:lnTo>
                        <a:pt x="62" y="62"/>
                      </a:lnTo>
                      <a:lnTo>
                        <a:pt x="62" y="62"/>
                      </a:lnTo>
                      <a:lnTo>
                        <a:pt x="68" y="60"/>
                      </a:lnTo>
                      <a:lnTo>
                        <a:pt x="72" y="58"/>
                      </a:lnTo>
                      <a:lnTo>
                        <a:pt x="76" y="56"/>
                      </a:lnTo>
                      <a:lnTo>
                        <a:pt x="80" y="56"/>
                      </a:lnTo>
                      <a:lnTo>
                        <a:pt x="80" y="56"/>
                      </a:lnTo>
                      <a:lnTo>
                        <a:pt x="92" y="58"/>
                      </a:lnTo>
                      <a:lnTo>
                        <a:pt x="98" y="60"/>
                      </a:lnTo>
                      <a:lnTo>
                        <a:pt x="102" y="60"/>
                      </a:lnTo>
                      <a:lnTo>
                        <a:pt x="102" y="60"/>
                      </a:lnTo>
                      <a:lnTo>
                        <a:pt x="106" y="58"/>
                      </a:lnTo>
                      <a:lnTo>
                        <a:pt x="112" y="60"/>
                      </a:lnTo>
                      <a:lnTo>
                        <a:pt x="116" y="62"/>
                      </a:lnTo>
                      <a:lnTo>
                        <a:pt x="122" y="62"/>
                      </a:lnTo>
                      <a:lnTo>
                        <a:pt x="122" y="62"/>
                      </a:lnTo>
                      <a:lnTo>
                        <a:pt x="128" y="60"/>
                      </a:lnTo>
                      <a:lnTo>
                        <a:pt x="132" y="58"/>
                      </a:lnTo>
                      <a:lnTo>
                        <a:pt x="136" y="56"/>
                      </a:lnTo>
                      <a:lnTo>
                        <a:pt x="142" y="56"/>
                      </a:lnTo>
                      <a:lnTo>
                        <a:pt x="142" y="56"/>
                      </a:lnTo>
                      <a:lnTo>
                        <a:pt x="154" y="56"/>
                      </a:lnTo>
                      <a:lnTo>
                        <a:pt x="160" y="56"/>
                      </a:lnTo>
                      <a:lnTo>
                        <a:pt x="160" y="54"/>
                      </a:lnTo>
                      <a:lnTo>
                        <a:pt x="158" y="52"/>
                      </a:lnTo>
                      <a:lnTo>
                        <a:pt x="158" y="52"/>
                      </a:lnTo>
                      <a:lnTo>
                        <a:pt x="150" y="46"/>
                      </a:lnTo>
                      <a:lnTo>
                        <a:pt x="152" y="46"/>
                      </a:lnTo>
                      <a:lnTo>
                        <a:pt x="158" y="46"/>
                      </a:lnTo>
                      <a:lnTo>
                        <a:pt x="158" y="46"/>
                      </a:lnTo>
                      <a:lnTo>
                        <a:pt x="172" y="48"/>
                      </a:lnTo>
                      <a:lnTo>
                        <a:pt x="176" y="46"/>
                      </a:lnTo>
                      <a:lnTo>
                        <a:pt x="174" y="42"/>
                      </a:lnTo>
                      <a:lnTo>
                        <a:pt x="174" y="42"/>
                      </a:lnTo>
                      <a:lnTo>
                        <a:pt x="172" y="38"/>
                      </a:lnTo>
                      <a:lnTo>
                        <a:pt x="178" y="40"/>
                      </a:lnTo>
                      <a:lnTo>
                        <a:pt x="178" y="40"/>
                      </a:lnTo>
                      <a:lnTo>
                        <a:pt x="186" y="42"/>
                      </a:lnTo>
                      <a:lnTo>
                        <a:pt x="190" y="40"/>
                      </a:lnTo>
                      <a:lnTo>
                        <a:pt x="194" y="40"/>
                      </a:lnTo>
                      <a:lnTo>
                        <a:pt x="198" y="40"/>
                      </a:lnTo>
                      <a:lnTo>
                        <a:pt x="198" y="40"/>
                      </a:lnTo>
                      <a:lnTo>
                        <a:pt x="214" y="42"/>
                      </a:lnTo>
                      <a:lnTo>
                        <a:pt x="224" y="44"/>
                      </a:lnTo>
                      <a:lnTo>
                        <a:pt x="228" y="42"/>
                      </a:lnTo>
                      <a:lnTo>
                        <a:pt x="230" y="40"/>
                      </a:lnTo>
                      <a:lnTo>
                        <a:pt x="230" y="40"/>
                      </a:lnTo>
                      <a:lnTo>
                        <a:pt x="236" y="38"/>
                      </a:lnTo>
                      <a:lnTo>
                        <a:pt x="240" y="36"/>
                      </a:lnTo>
                      <a:lnTo>
                        <a:pt x="248" y="38"/>
                      </a:lnTo>
                      <a:lnTo>
                        <a:pt x="248" y="38"/>
                      </a:lnTo>
                      <a:lnTo>
                        <a:pt x="256" y="40"/>
                      </a:lnTo>
                      <a:lnTo>
                        <a:pt x="262" y="40"/>
                      </a:lnTo>
                      <a:lnTo>
                        <a:pt x="268" y="38"/>
                      </a:lnTo>
                      <a:lnTo>
                        <a:pt x="268" y="38"/>
                      </a:lnTo>
                      <a:lnTo>
                        <a:pt x="278" y="36"/>
                      </a:lnTo>
                      <a:lnTo>
                        <a:pt x="284" y="38"/>
                      </a:lnTo>
                      <a:lnTo>
                        <a:pt x="294" y="38"/>
                      </a:lnTo>
                      <a:lnTo>
                        <a:pt x="308" y="36"/>
                      </a:lnTo>
                      <a:lnTo>
                        <a:pt x="308" y="36"/>
                      </a:lnTo>
                      <a:lnTo>
                        <a:pt x="324" y="32"/>
                      </a:lnTo>
                      <a:lnTo>
                        <a:pt x="336" y="30"/>
                      </a:lnTo>
                      <a:lnTo>
                        <a:pt x="346" y="28"/>
                      </a:lnTo>
                      <a:lnTo>
                        <a:pt x="358" y="24"/>
                      </a:lnTo>
                      <a:lnTo>
                        <a:pt x="358" y="24"/>
                      </a:lnTo>
                      <a:lnTo>
                        <a:pt x="370" y="20"/>
                      </a:lnTo>
                      <a:lnTo>
                        <a:pt x="380" y="18"/>
                      </a:lnTo>
                      <a:lnTo>
                        <a:pt x="398" y="16"/>
                      </a:lnTo>
                      <a:lnTo>
                        <a:pt x="398" y="16"/>
                      </a:lnTo>
                      <a:lnTo>
                        <a:pt x="408" y="14"/>
                      </a:lnTo>
                      <a:lnTo>
                        <a:pt x="418" y="10"/>
                      </a:lnTo>
                      <a:lnTo>
                        <a:pt x="420" y="8"/>
                      </a:lnTo>
                      <a:lnTo>
                        <a:pt x="418" y="6"/>
                      </a:lnTo>
                      <a:lnTo>
                        <a:pt x="404" y="6"/>
                      </a:lnTo>
                      <a:lnTo>
                        <a:pt x="404" y="6"/>
                      </a:lnTo>
                      <a:lnTo>
                        <a:pt x="386" y="4"/>
                      </a:lnTo>
                      <a:lnTo>
                        <a:pt x="378" y="2"/>
                      </a:lnTo>
                      <a:lnTo>
                        <a:pt x="372" y="0"/>
                      </a:lnTo>
                      <a:lnTo>
                        <a:pt x="358" y="0"/>
                      </a:lnTo>
                      <a:lnTo>
                        <a:pt x="358" y="0"/>
                      </a:lnTo>
                      <a:lnTo>
                        <a:pt x="344" y="2"/>
                      </a:lnTo>
                      <a:lnTo>
                        <a:pt x="330" y="6"/>
                      </a:lnTo>
                      <a:lnTo>
                        <a:pt x="320" y="6"/>
                      </a:lnTo>
                      <a:lnTo>
                        <a:pt x="306" y="6"/>
                      </a:lnTo>
                      <a:lnTo>
                        <a:pt x="306" y="6"/>
                      </a:lnTo>
                      <a:close/>
                    </a:path>
                  </a:pathLst>
                </a:custGeom>
                <a:solidFill>
                  <a:schemeClr val="tx1">
                    <a:alpha val="9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4" name="Freeform 119"/>
                <p:cNvSpPr>
                  <a:spLocks/>
                </p:cNvSpPr>
                <p:nvPr/>
              </p:nvSpPr>
              <p:spPr bwMode="auto">
                <a:xfrm>
                  <a:off x="3742032" y="1272468"/>
                  <a:ext cx="57715" cy="21244"/>
                </a:xfrm>
                <a:custGeom>
                  <a:avLst/>
                  <a:gdLst/>
                  <a:ahLst/>
                  <a:cxnLst>
                    <a:cxn ang="0">
                      <a:pos x="32" y="2"/>
                    </a:cxn>
                    <a:cxn ang="0">
                      <a:pos x="32" y="2"/>
                    </a:cxn>
                    <a:cxn ang="0">
                      <a:pos x="38" y="4"/>
                    </a:cxn>
                    <a:cxn ang="0">
                      <a:pos x="38" y="6"/>
                    </a:cxn>
                    <a:cxn ang="0">
                      <a:pos x="38" y="8"/>
                    </a:cxn>
                    <a:cxn ang="0">
                      <a:pos x="36" y="10"/>
                    </a:cxn>
                    <a:cxn ang="0">
                      <a:pos x="36" y="10"/>
                    </a:cxn>
                    <a:cxn ang="0">
                      <a:pos x="26" y="12"/>
                    </a:cxn>
                    <a:cxn ang="0">
                      <a:pos x="14" y="14"/>
                    </a:cxn>
                    <a:cxn ang="0">
                      <a:pos x="14" y="14"/>
                    </a:cxn>
                    <a:cxn ang="0">
                      <a:pos x="6" y="12"/>
                    </a:cxn>
                    <a:cxn ang="0">
                      <a:pos x="0" y="12"/>
                    </a:cxn>
                    <a:cxn ang="0">
                      <a:pos x="0" y="10"/>
                    </a:cxn>
                    <a:cxn ang="0">
                      <a:pos x="4" y="8"/>
                    </a:cxn>
                    <a:cxn ang="0">
                      <a:pos x="4" y="8"/>
                    </a:cxn>
                    <a:cxn ang="0">
                      <a:pos x="22" y="8"/>
                    </a:cxn>
                    <a:cxn ang="0">
                      <a:pos x="26" y="6"/>
                    </a:cxn>
                    <a:cxn ang="0">
                      <a:pos x="24" y="6"/>
                    </a:cxn>
                    <a:cxn ang="0">
                      <a:pos x="24" y="6"/>
                    </a:cxn>
                    <a:cxn ang="0">
                      <a:pos x="14" y="6"/>
                    </a:cxn>
                    <a:cxn ang="0">
                      <a:pos x="12" y="6"/>
                    </a:cxn>
                    <a:cxn ang="0">
                      <a:pos x="12" y="6"/>
                    </a:cxn>
                    <a:cxn ang="0">
                      <a:pos x="12" y="6"/>
                    </a:cxn>
                    <a:cxn ang="0">
                      <a:pos x="18" y="2"/>
                    </a:cxn>
                    <a:cxn ang="0">
                      <a:pos x="24" y="0"/>
                    </a:cxn>
                    <a:cxn ang="0">
                      <a:pos x="32" y="2"/>
                    </a:cxn>
                    <a:cxn ang="0">
                      <a:pos x="32" y="2"/>
                    </a:cxn>
                  </a:cxnLst>
                  <a:rect l="0" t="0" r="r" b="b"/>
                  <a:pathLst>
                    <a:path w="38" h="14">
                      <a:moveTo>
                        <a:pt x="32" y="2"/>
                      </a:moveTo>
                      <a:lnTo>
                        <a:pt x="32" y="2"/>
                      </a:lnTo>
                      <a:lnTo>
                        <a:pt x="38" y="4"/>
                      </a:lnTo>
                      <a:lnTo>
                        <a:pt x="38" y="6"/>
                      </a:lnTo>
                      <a:lnTo>
                        <a:pt x="38" y="8"/>
                      </a:lnTo>
                      <a:lnTo>
                        <a:pt x="36" y="10"/>
                      </a:lnTo>
                      <a:lnTo>
                        <a:pt x="36" y="10"/>
                      </a:lnTo>
                      <a:lnTo>
                        <a:pt x="26" y="12"/>
                      </a:lnTo>
                      <a:lnTo>
                        <a:pt x="14" y="14"/>
                      </a:lnTo>
                      <a:lnTo>
                        <a:pt x="14" y="14"/>
                      </a:lnTo>
                      <a:lnTo>
                        <a:pt x="6" y="12"/>
                      </a:lnTo>
                      <a:lnTo>
                        <a:pt x="0" y="12"/>
                      </a:lnTo>
                      <a:lnTo>
                        <a:pt x="0" y="10"/>
                      </a:lnTo>
                      <a:lnTo>
                        <a:pt x="4" y="8"/>
                      </a:lnTo>
                      <a:lnTo>
                        <a:pt x="4" y="8"/>
                      </a:lnTo>
                      <a:lnTo>
                        <a:pt x="22" y="8"/>
                      </a:lnTo>
                      <a:lnTo>
                        <a:pt x="26" y="6"/>
                      </a:lnTo>
                      <a:lnTo>
                        <a:pt x="24" y="6"/>
                      </a:lnTo>
                      <a:lnTo>
                        <a:pt x="24" y="6"/>
                      </a:lnTo>
                      <a:lnTo>
                        <a:pt x="14" y="6"/>
                      </a:lnTo>
                      <a:lnTo>
                        <a:pt x="12" y="6"/>
                      </a:lnTo>
                      <a:lnTo>
                        <a:pt x="12" y="6"/>
                      </a:lnTo>
                      <a:lnTo>
                        <a:pt x="12" y="6"/>
                      </a:lnTo>
                      <a:lnTo>
                        <a:pt x="18" y="2"/>
                      </a:lnTo>
                      <a:lnTo>
                        <a:pt x="24" y="0"/>
                      </a:lnTo>
                      <a:lnTo>
                        <a:pt x="32" y="2"/>
                      </a:lnTo>
                      <a:lnTo>
                        <a:pt x="32" y="2"/>
                      </a:lnTo>
                      <a:close/>
                    </a:path>
                  </a:pathLst>
                </a:custGeom>
                <a:solidFill>
                  <a:schemeClr val="tx1">
                    <a:alpha val="9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5" name="Freeform 120"/>
                <p:cNvSpPr>
                  <a:spLocks/>
                </p:cNvSpPr>
                <p:nvPr/>
              </p:nvSpPr>
              <p:spPr bwMode="auto">
                <a:xfrm>
                  <a:off x="3602301" y="1236050"/>
                  <a:ext cx="167070" cy="45523"/>
                </a:xfrm>
                <a:custGeom>
                  <a:avLst/>
                  <a:gdLst/>
                  <a:ahLst/>
                  <a:cxnLst>
                    <a:cxn ang="0">
                      <a:pos x="78" y="28"/>
                    </a:cxn>
                    <a:cxn ang="0">
                      <a:pos x="66" y="28"/>
                    </a:cxn>
                    <a:cxn ang="0">
                      <a:pos x="60" y="26"/>
                    </a:cxn>
                    <a:cxn ang="0">
                      <a:pos x="54" y="28"/>
                    </a:cxn>
                    <a:cxn ang="0">
                      <a:pos x="46" y="30"/>
                    </a:cxn>
                    <a:cxn ang="0">
                      <a:pos x="44" y="26"/>
                    </a:cxn>
                    <a:cxn ang="0">
                      <a:pos x="40" y="22"/>
                    </a:cxn>
                    <a:cxn ang="0">
                      <a:pos x="26" y="26"/>
                    </a:cxn>
                    <a:cxn ang="0">
                      <a:pos x="18" y="22"/>
                    </a:cxn>
                    <a:cxn ang="0">
                      <a:pos x="16" y="18"/>
                    </a:cxn>
                    <a:cxn ang="0">
                      <a:pos x="20" y="16"/>
                    </a:cxn>
                    <a:cxn ang="0">
                      <a:pos x="18" y="14"/>
                    </a:cxn>
                    <a:cxn ang="0">
                      <a:pos x="4" y="10"/>
                    </a:cxn>
                    <a:cxn ang="0">
                      <a:pos x="6" y="8"/>
                    </a:cxn>
                    <a:cxn ang="0">
                      <a:pos x="22" y="8"/>
                    </a:cxn>
                    <a:cxn ang="0">
                      <a:pos x="32" y="8"/>
                    </a:cxn>
                    <a:cxn ang="0">
                      <a:pos x="38" y="14"/>
                    </a:cxn>
                    <a:cxn ang="0">
                      <a:pos x="38" y="16"/>
                    </a:cxn>
                    <a:cxn ang="0">
                      <a:pos x="38" y="8"/>
                    </a:cxn>
                    <a:cxn ang="0">
                      <a:pos x="44" y="2"/>
                    </a:cxn>
                    <a:cxn ang="0">
                      <a:pos x="62" y="0"/>
                    </a:cxn>
                    <a:cxn ang="0">
                      <a:pos x="66" y="0"/>
                    </a:cxn>
                    <a:cxn ang="0">
                      <a:pos x="66" y="2"/>
                    </a:cxn>
                    <a:cxn ang="0">
                      <a:pos x="60" y="16"/>
                    </a:cxn>
                    <a:cxn ang="0">
                      <a:pos x="62" y="14"/>
                    </a:cxn>
                    <a:cxn ang="0">
                      <a:pos x="74" y="6"/>
                    </a:cxn>
                    <a:cxn ang="0">
                      <a:pos x="80" y="4"/>
                    </a:cxn>
                    <a:cxn ang="0">
                      <a:pos x="110" y="6"/>
                    </a:cxn>
                    <a:cxn ang="0">
                      <a:pos x="110" y="8"/>
                    </a:cxn>
                    <a:cxn ang="0">
                      <a:pos x="102" y="12"/>
                    </a:cxn>
                    <a:cxn ang="0">
                      <a:pos x="90" y="14"/>
                    </a:cxn>
                    <a:cxn ang="0">
                      <a:pos x="88" y="16"/>
                    </a:cxn>
                    <a:cxn ang="0">
                      <a:pos x="78" y="28"/>
                    </a:cxn>
                  </a:cxnLst>
                  <a:rect l="0" t="0" r="r" b="b"/>
                  <a:pathLst>
                    <a:path w="110" h="30">
                      <a:moveTo>
                        <a:pt x="78" y="28"/>
                      </a:moveTo>
                      <a:lnTo>
                        <a:pt x="78" y="28"/>
                      </a:lnTo>
                      <a:lnTo>
                        <a:pt x="70" y="30"/>
                      </a:lnTo>
                      <a:lnTo>
                        <a:pt x="66" y="28"/>
                      </a:lnTo>
                      <a:lnTo>
                        <a:pt x="64" y="26"/>
                      </a:lnTo>
                      <a:lnTo>
                        <a:pt x="60" y="26"/>
                      </a:lnTo>
                      <a:lnTo>
                        <a:pt x="60" y="26"/>
                      </a:lnTo>
                      <a:lnTo>
                        <a:pt x="54" y="28"/>
                      </a:lnTo>
                      <a:lnTo>
                        <a:pt x="48" y="30"/>
                      </a:lnTo>
                      <a:lnTo>
                        <a:pt x="46" y="30"/>
                      </a:lnTo>
                      <a:lnTo>
                        <a:pt x="44" y="26"/>
                      </a:lnTo>
                      <a:lnTo>
                        <a:pt x="44" y="26"/>
                      </a:lnTo>
                      <a:lnTo>
                        <a:pt x="42" y="24"/>
                      </a:lnTo>
                      <a:lnTo>
                        <a:pt x="40" y="22"/>
                      </a:lnTo>
                      <a:lnTo>
                        <a:pt x="34" y="24"/>
                      </a:lnTo>
                      <a:lnTo>
                        <a:pt x="26" y="26"/>
                      </a:lnTo>
                      <a:lnTo>
                        <a:pt x="22" y="24"/>
                      </a:lnTo>
                      <a:lnTo>
                        <a:pt x="18" y="22"/>
                      </a:lnTo>
                      <a:lnTo>
                        <a:pt x="18" y="22"/>
                      </a:lnTo>
                      <a:lnTo>
                        <a:pt x="16" y="18"/>
                      </a:lnTo>
                      <a:lnTo>
                        <a:pt x="18" y="16"/>
                      </a:lnTo>
                      <a:lnTo>
                        <a:pt x="20" y="16"/>
                      </a:lnTo>
                      <a:lnTo>
                        <a:pt x="18" y="14"/>
                      </a:lnTo>
                      <a:lnTo>
                        <a:pt x="18" y="14"/>
                      </a:lnTo>
                      <a:lnTo>
                        <a:pt x="12" y="12"/>
                      </a:lnTo>
                      <a:lnTo>
                        <a:pt x="4" y="10"/>
                      </a:lnTo>
                      <a:lnTo>
                        <a:pt x="0" y="8"/>
                      </a:lnTo>
                      <a:lnTo>
                        <a:pt x="6" y="8"/>
                      </a:lnTo>
                      <a:lnTo>
                        <a:pt x="6" y="8"/>
                      </a:lnTo>
                      <a:lnTo>
                        <a:pt x="22" y="8"/>
                      </a:lnTo>
                      <a:lnTo>
                        <a:pt x="32" y="8"/>
                      </a:lnTo>
                      <a:lnTo>
                        <a:pt x="32" y="8"/>
                      </a:lnTo>
                      <a:lnTo>
                        <a:pt x="36" y="10"/>
                      </a:lnTo>
                      <a:lnTo>
                        <a:pt x="38" y="14"/>
                      </a:lnTo>
                      <a:lnTo>
                        <a:pt x="38" y="16"/>
                      </a:lnTo>
                      <a:lnTo>
                        <a:pt x="38" y="16"/>
                      </a:lnTo>
                      <a:lnTo>
                        <a:pt x="38" y="16"/>
                      </a:lnTo>
                      <a:lnTo>
                        <a:pt x="38" y="8"/>
                      </a:lnTo>
                      <a:lnTo>
                        <a:pt x="40" y="4"/>
                      </a:lnTo>
                      <a:lnTo>
                        <a:pt x="44" y="2"/>
                      </a:lnTo>
                      <a:lnTo>
                        <a:pt x="44" y="2"/>
                      </a:lnTo>
                      <a:lnTo>
                        <a:pt x="62" y="0"/>
                      </a:lnTo>
                      <a:lnTo>
                        <a:pt x="66" y="0"/>
                      </a:lnTo>
                      <a:lnTo>
                        <a:pt x="66" y="0"/>
                      </a:lnTo>
                      <a:lnTo>
                        <a:pt x="66" y="2"/>
                      </a:lnTo>
                      <a:lnTo>
                        <a:pt x="66" y="2"/>
                      </a:lnTo>
                      <a:lnTo>
                        <a:pt x="60" y="12"/>
                      </a:lnTo>
                      <a:lnTo>
                        <a:pt x="60" y="16"/>
                      </a:lnTo>
                      <a:lnTo>
                        <a:pt x="62" y="14"/>
                      </a:lnTo>
                      <a:lnTo>
                        <a:pt x="62" y="14"/>
                      </a:lnTo>
                      <a:lnTo>
                        <a:pt x="68" y="8"/>
                      </a:lnTo>
                      <a:lnTo>
                        <a:pt x="74" y="6"/>
                      </a:lnTo>
                      <a:lnTo>
                        <a:pt x="80" y="4"/>
                      </a:lnTo>
                      <a:lnTo>
                        <a:pt x="80" y="4"/>
                      </a:lnTo>
                      <a:lnTo>
                        <a:pt x="102" y="4"/>
                      </a:lnTo>
                      <a:lnTo>
                        <a:pt x="110" y="6"/>
                      </a:lnTo>
                      <a:lnTo>
                        <a:pt x="110" y="6"/>
                      </a:lnTo>
                      <a:lnTo>
                        <a:pt x="110" y="8"/>
                      </a:lnTo>
                      <a:lnTo>
                        <a:pt x="110" y="8"/>
                      </a:lnTo>
                      <a:lnTo>
                        <a:pt x="102" y="12"/>
                      </a:lnTo>
                      <a:lnTo>
                        <a:pt x="96" y="12"/>
                      </a:lnTo>
                      <a:lnTo>
                        <a:pt x="90" y="14"/>
                      </a:lnTo>
                      <a:lnTo>
                        <a:pt x="88" y="16"/>
                      </a:lnTo>
                      <a:lnTo>
                        <a:pt x="88" y="16"/>
                      </a:lnTo>
                      <a:lnTo>
                        <a:pt x="82" y="24"/>
                      </a:lnTo>
                      <a:lnTo>
                        <a:pt x="78" y="28"/>
                      </a:lnTo>
                      <a:lnTo>
                        <a:pt x="78" y="28"/>
                      </a:lnTo>
                      <a:close/>
                    </a:path>
                  </a:pathLst>
                </a:custGeom>
                <a:solidFill>
                  <a:schemeClr val="tx1">
                    <a:alpha val="9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6" name="Freeform 121"/>
                <p:cNvSpPr>
                  <a:spLocks/>
                </p:cNvSpPr>
                <p:nvPr/>
              </p:nvSpPr>
              <p:spPr bwMode="auto">
                <a:xfrm>
                  <a:off x="3778483" y="1220875"/>
                  <a:ext cx="51640" cy="18209"/>
                </a:xfrm>
                <a:custGeom>
                  <a:avLst/>
                  <a:gdLst/>
                  <a:ahLst/>
                  <a:cxnLst>
                    <a:cxn ang="0">
                      <a:pos x="4" y="10"/>
                    </a:cxn>
                    <a:cxn ang="0">
                      <a:pos x="4" y="10"/>
                    </a:cxn>
                    <a:cxn ang="0">
                      <a:pos x="12" y="4"/>
                    </a:cxn>
                    <a:cxn ang="0">
                      <a:pos x="22" y="0"/>
                    </a:cxn>
                    <a:cxn ang="0">
                      <a:pos x="30" y="0"/>
                    </a:cxn>
                    <a:cxn ang="0">
                      <a:pos x="32" y="0"/>
                    </a:cxn>
                    <a:cxn ang="0">
                      <a:pos x="32" y="0"/>
                    </a:cxn>
                    <a:cxn ang="0">
                      <a:pos x="32" y="0"/>
                    </a:cxn>
                    <a:cxn ang="0">
                      <a:pos x="32" y="2"/>
                    </a:cxn>
                    <a:cxn ang="0">
                      <a:pos x="34" y="6"/>
                    </a:cxn>
                    <a:cxn ang="0">
                      <a:pos x="34" y="8"/>
                    </a:cxn>
                    <a:cxn ang="0">
                      <a:pos x="34" y="8"/>
                    </a:cxn>
                    <a:cxn ang="0">
                      <a:pos x="34" y="8"/>
                    </a:cxn>
                    <a:cxn ang="0">
                      <a:pos x="30" y="10"/>
                    </a:cxn>
                    <a:cxn ang="0">
                      <a:pos x="26" y="8"/>
                    </a:cxn>
                    <a:cxn ang="0">
                      <a:pos x="22" y="8"/>
                    </a:cxn>
                    <a:cxn ang="0">
                      <a:pos x="16" y="10"/>
                    </a:cxn>
                    <a:cxn ang="0">
                      <a:pos x="16" y="10"/>
                    </a:cxn>
                    <a:cxn ang="0">
                      <a:pos x="2" y="12"/>
                    </a:cxn>
                    <a:cxn ang="0">
                      <a:pos x="0" y="12"/>
                    </a:cxn>
                    <a:cxn ang="0">
                      <a:pos x="4" y="10"/>
                    </a:cxn>
                    <a:cxn ang="0">
                      <a:pos x="4" y="10"/>
                    </a:cxn>
                  </a:cxnLst>
                  <a:rect l="0" t="0" r="r" b="b"/>
                  <a:pathLst>
                    <a:path w="34" h="12">
                      <a:moveTo>
                        <a:pt x="4" y="10"/>
                      </a:moveTo>
                      <a:lnTo>
                        <a:pt x="4" y="10"/>
                      </a:lnTo>
                      <a:lnTo>
                        <a:pt x="12" y="4"/>
                      </a:lnTo>
                      <a:lnTo>
                        <a:pt x="22" y="0"/>
                      </a:lnTo>
                      <a:lnTo>
                        <a:pt x="30" y="0"/>
                      </a:lnTo>
                      <a:lnTo>
                        <a:pt x="32" y="0"/>
                      </a:lnTo>
                      <a:lnTo>
                        <a:pt x="32" y="0"/>
                      </a:lnTo>
                      <a:lnTo>
                        <a:pt x="32" y="0"/>
                      </a:lnTo>
                      <a:lnTo>
                        <a:pt x="32" y="2"/>
                      </a:lnTo>
                      <a:lnTo>
                        <a:pt x="34" y="6"/>
                      </a:lnTo>
                      <a:lnTo>
                        <a:pt x="34" y="8"/>
                      </a:lnTo>
                      <a:lnTo>
                        <a:pt x="34" y="8"/>
                      </a:lnTo>
                      <a:lnTo>
                        <a:pt x="34" y="8"/>
                      </a:lnTo>
                      <a:lnTo>
                        <a:pt x="30" y="10"/>
                      </a:lnTo>
                      <a:lnTo>
                        <a:pt x="26" y="8"/>
                      </a:lnTo>
                      <a:lnTo>
                        <a:pt x="22" y="8"/>
                      </a:lnTo>
                      <a:lnTo>
                        <a:pt x="16" y="10"/>
                      </a:lnTo>
                      <a:lnTo>
                        <a:pt x="16" y="10"/>
                      </a:lnTo>
                      <a:lnTo>
                        <a:pt x="2" y="12"/>
                      </a:lnTo>
                      <a:lnTo>
                        <a:pt x="0" y="12"/>
                      </a:lnTo>
                      <a:lnTo>
                        <a:pt x="4" y="10"/>
                      </a:lnTo>
                      <a:lnTo>
                        <a:pt x="4" y="10"/>
                      </a:lnTo>
                      <a:close/>
                    </a:path>
                  </a:pathLst>
                </a:custGeom>
                <a:solidFill>
                  <a:schemeClr val="tx1">
                    <a:alpha val="9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7" name="Freeform 122"/>
                <p:cNvSpPr>
                  <a:spLocks/>
                </p:cNvSpPr>
                <p:nvPr/>
              </p:nvSpPr>
              <p:spPr bwMode="auto">
                <a:xfrm>
                  <a:off x="3483833" y="1229980"/>
                  <a:ext cx="94167" cy="18209"/>
                </a:xfrm>
                <a:custGeom>
                  <a:avLst/>
                  <a:gdLst/>
                  <a:ahLst/>
                  <a:cxnLst>
                    <a:cxn ang="0">
                      <a:pos x="2" y="12"/>
                    </a:cxn>
                    <a:cxn ang="0">
                      <a:pos x="2" y="12"/>
                    </a:cxn>
                    <a:cxn ang="0">
                      <a:pos x="12" y="12"/>
                    </a:cxn>
                    <a:cxn ang="0">
                      <a:pos x="20" y="10"/>
                    </a:cxn>
                    <a:cxn ang="0">
                      <a:pos x="36" y="8"/>
                    </a:cxn>
                    <a:cxn ang="0">
                      <a:pos x="36" y="8"/>
                    </a:cxn>
                    <a:cxn ang="0">
                      <a:pos x="56" y="4"/>
                    </a:cxn>
                    <a:cxn ang="0">
                      <a:pos x="62" y="2"/>
                    </a:cxn>
                    <a:cxn ang="0">
                      <a:pos x="58" y="2"/>
                    </a:cxn>
                    <a:cxn ang="0">
                      <a:pos x="58" y="2"/>
                    </a:cxn>
                    <a:cxn ang="0">
                      <a:pos x="46" y="2"/>
                    </a:cxn>
                    <a:cxn ang="0">
                      <a:pos x="36" y="0"/>
                    </a:cxn>
                    <a:cxn ang="0">
                      <a:pos x="36" y="0"/>
                    </a:cxn>
                    <a:cxn ang="0">
                      <a:pos x="24" y="2"/>
                    </a:cxn>
                    <a:cxn ang="0">
                      <a:pos x="22" y="4"/>
                    </a:cxn>
                    <a:cxn ang="0">
                      <a:pos x="24" y="4"/>
                    </a:cxn>
                    <a:cxn ang="0">
                      <a:pos x="24" y="4"/>
                    </a:cxn>
                    <a:cxn ang="0">
                      <a:pos x="24" y="6"/>
                    </a:cxn>
                    <a:cxn ang="0">
                      <a:pos x="22" y="6"/>
                    </a:cxn>
                    <a:cxn ang="0">
                      <a:pos x="12" y="8"/>
                    </a:cxn>
                    <a:cxn ang="0">
                      <a:pos x="2" y="10"/>
                    </a:cxn>
                    <a:cxn ang="0">
                      <a:pos x="0" y="10"/>
                    </a:cxn>
                    <a:cxn ang="0">
                      <a:pos x="2" y="12"/>
                    </a:cxn>
                    <a:cxn ang="0">
                      <a:pos x="2" y="12"/>
                    </a:cxn>
                  </a:cxnLst>
                  <a:rect l="0" t="0" r="r" b="b"/>
                  <a:pathLst>
                    <a:path w="62" h="12">
                      <a:moveTo>
                        <a:pt x="2" y="12"/>
                      </a:moveTo>
                      <a:lnTo>
                        <a:pt x="2" y="12"/>
                      </a:lnTo>
                      <a:lnTo>
                        <a:pt x="12" y="12"/>
                      </a:lnTo>
                      <a:lnTo>
                        <a:pt x="20" y="10"/>
                      </a:lnTo>
                      <a:lnTo>
                        <a:pt x="36" y="8"/>
                      </a:lnTo>
                      <a:lnTo>
                        <a:pt x="36" y="8"/>
                      </a:lnTo>
                      <a:lnTo>
                        <a:pt x="56" y="4"/>
                      </a:lnTo>
                      <a:lnTo>
                        <a:pt x="62" y="2"/>
                      </a:lnTo>
                      <a:lnTo>
                        <a:pt x="58" y="2"/>
                      </a:lnTo>
                      <a:lnTo>
                        <a:pt x="58" y="2"/>
                      </a:lnTo>
                      <a:lnTo>
                        <a:pt x="46" y="2"/>
                      </a:lnTo>
                      <a:lnTo>
                        <a:pt x="36" y="0"/>
                      </a:lnTo>
                      <a:lnTo>
                        <a:pt x="36" y="0"/>
                      </a:lnTo>
                      <a:lnTo>
                        <a:pt x="24" y="2"/>
                      </a:lnTo>
                      <a:lnTo>
                        <a:pt x="22" y="4"/>
                      </a:lnTo>
                      <a:lnTo>
                        <a:pt x="24" y="4"/>
                      </a:lnTo>
                      <a:lnTo>
                        <a:pt x="24" y="4"/>
                      </a:lnTo>
                      <a:lnTo>
                        <a:pt x="24" y="6"/>
                      </a:lnTo>
                      <a:lnTo>
                        <a:pt x="22" y="6"/>
                      </a:lnTo>
                      <a:lnTo>
                        <a:pt x="12" y="8"/>
                      </a:lnTo>
                      <a:lnTo>
                        <a:pt x="2" y="10"/>
                      </a:lnTo>
                      <a:lnTo>
                        <a:pt x="0" y="10"/>
                      </a:lnTo>
                      <a:lnTo>
                        <a:pt x="2" y="12"/>
                      </a:lnTo>
                      <a:lnTo>
                        <a:pt x="2" y="12"/>
                      </a:lnTo>
                      <a:close/>
                    </a:path>
                  </a:pathLst>
                </a:custGeom>
                <a:solidFill>
                  <a:schemeClr val="tx1">
                    <a:alpha val="9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8" name="Freeform 123"/>
                <p:cNvSpPr>
                  <a:spLocks/>
                </p:cNvSpPr>
                <p:nvPr/>
              </p:nvSpPr>
              <p:spPr bwMode="auto">
                <a:xfrm>
                  <a:off x="3738995" y="1208736"/>
                  <a:ext cx="63791" cy="27314"/>
                </a:xfrm>
                <a:custGeom>
                  <a:avLst/>
                  <a:gdLst/>
                  <a:ahLst/>
                  <a:cxnLst>
                    <a:cxn ang="0">
                      <a:pos x="4" y="18"/>
                    </a:cxn>
                    <a:cxn ang="0">
                      <a:pos x="4" y="18"/>
                    </a:cxn>
                    <a:cxn ang="0">
                      <a:pos x="12" y="18"/>
                    </a:cxn>
                    <a:cxn ang="0">
                      <a:pos x="18" y="16"/>
                    </a:cxn>
                    <a:cxn ang="0">
                      <a:pos x="26" y="12"/>
                    </a:cxn>
                    <a:cxn ang="0">
                      <a:pos x="26" y="12"/>
                    </a:cxn>
                    <a:cxn ang="0">
                      <a:pos x="36" y="10"/>
                    </a:cxn>
                    <a:cxn ang="0">
                      <a:pos x="40" y="8"/>
                    </a:cxn>
                    <a:cxn ang="0">
                      <a:pos x="42" y="6"/>
                    </a:cxn>
                    <a:cxn ang="0">
                      <a:pos x="42" y="6"/>
                    </a:cxn>
                    <a:cxn ang="0">
                      <a:pos x="42" y="4"/>
                    </a:cxn>
                    <a:cxn ang="0">
                      <a:pos x="42" y="0"/>
                    </a:cxn>
                    <a:cxn ang="0">
                      <a:pos x="40" y="0"/>
                    </a:cxn>
                    <a:cxn ang="0">
                      <a:pos x="32" y="2"/>
                    </a:cxn>
                    <a:cxn ang="0">
                      <a:pos x="32" y="2"/>
                    </a:cxn>
                    <a:cxn ang="0">
                      <a:pos x="8" y="6"/>
                    </a:cxn>
                    <a:cxn ang="0">
                      <a:pos x="0" y="8"/>
                    </a:cxn>
                    <a:cxn ang="0">
                      <a:pos x="0" y="10"/>
                    </a:cxn>
                    <a:cxn ang="0">
                      <a:pos x="0" y="10"/>
                    </a:cxn>
                    <a:cxn ang="0">
                      <a:pos x="0" y="10"/>
                    </a:cxn>
                    <a:cxn ang="0">
                      <a:pos x="4" y="12"/>
                    </a:cxn>
                    <a:cxn ang="0">
                      <a:pos x="8" y="12"/>
                    </a:cxn>
                    <a:cxn ang="0">
                      <a:pos x="10" y="12"/>
                    </a:cxn>
                    <a:cxn ang="0">
                      <a:pos x="8" y="12"/>
                    </a:cxn>
                    <a:cxn ang="0">
                      <a:pos x="8" y="12"/>
                    </a:cxn>
                    <a:cxn ang="0">
                      <a:pos x="0" y="16"/>
                    </a:cxn>
                    <a:cxn ang="0">
                      <a:pos x="0" y="18"/>
                    </a:cxn>
                    <a:cxn ang="0">
                      <a:pos x="4" y="18"/>
                    </a:cxn>
                    <a:cxn ang="0">
                      <a:pos x="4" y="18"/>
                    </a:cxn>
                  </a:cxnLst>
                  <a:rect l="0" t="0" r="r" b="b"/>
                  <a:pathLst>
                    <a:path w="42" h="18">
                      <a:moveTo>
                        <a:pt x="4" y="18"/>
                      </a:moveTo>
                      <a:lnTo>
                        <a:pt x="4" y="18"/>
                      </a:lnTo>
                      <a:lnTo>
                        <a:pt x="12" y="18"/>
                      </a:lnTo>
                      <a:lnTo>
                        <a:pt x="18" y="16"/>
                      </a:lnTo>
                      <a:lnTo>
                        <a:pt x="26" y="12"/>
                      </a:lnTo>
                      <a:lnTo>
                        <a:pt x="26" y="12"/>
                      </a:lnTo>
                      <a:lnTo>
                        <a:pt x="36" y="10"/>
                      </a:lnTo>
                      <a:lnTo>
                        <a:pt x="40" y="8"/>
                      </a:lnTo>
                      <a:lnTo>
                        <a:pt x="42" y="6"/>
                      </a:lnTo>
                      <a:lnTo>
                        <a:pt x="42" y="6"/>
                      </a:lnTo>
                      <a:lnTo>
                        <a:pt x="42" y="4"/>
                      </a:lnTo>
                      <a:lnTo>
                        <a:pt x="42" y="0"/>
                      </a:lnTo>
                      <a:lnTo>
                        <a:pt x="40" y="0"/>
                      </a:lnTo>
                      <a:lnTo>
                        <a:pt x="32" y="2"/>
                      </a:lnTo>
                      <a:lnTo>
                        <a:pt x="32" y="2"/>
                      </a:lnTo>
                      <a:lnTo>
                        <a:pt x="8" y="6"/>
                      </a:lnTo>
                      <a:lnTo>
                        <a:pt x="0" y="8"/>
                      </a:lnTo>
                      <a:lnTo>
                        <a:pt x="0" y="10"/>
                      </a:lnTo>
                      <a:lnTo>
                        <a:pt x="0" y="10"/>
                      </a:lnTo>
                      <a:lnTo>
                        <a:pt x="0" y="10"/>
                      </a:lnTo>
                      <a:lnTo>
                        <a:pt x="4" y="12"/>
                      </a:lnTo>
                      <a:lnTo>
                        <a:pt x="8" y="12"/>
                      </a:lnTo>
                      <a:lnTo>
                        <a:pt x="10" y="12"/>
                      </a:lnTo>
                      <a:lnTo>
                        <a:pt x="8" y="12"/>
                      </a:lnTo>
                      <a:lnTo>
                        <a:pt x="8" y="12"/>
                      </a:lnTo>
                      <a:lnTo>
                        <a:pt x="0" y="16"/>
                      </a:lnTo>
                      <a:lnTo>
                        <a:pt x="0" y="18"/>
                      </a:lnTo>
                      <a:lnTo>
                        <a:pt x="4" y="18"/>
                      </a:lnTo>
                      <a:lnTo>
                        <a:pt x="4" y="18"/>
                      </a:lnTo>
                      <a:close/>
                    </a:path>
                  </a:pathLst>
                </a:custGeom>
                <a:solidFill>
                  <a:schemeClr val="tx1">
                    <a:alpha val="9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9" name="Freeform 124"/>
                <p:cNvSpPr>
                  <a:spLocks/>
                </p:cNvSpPr>
                <p:nvPr/>
              </p:nvSpPr>
              <p:spPr bwMode="auto">
                <a:xfrm>
                  <a:off x="3881764" y="1187492"/>
                  <a:ext cx="164033" cy="54627"/>
                </a:xfrm>
                <a:custGeom>
                  <a:avLst/>
                  <a:gdLst/>
                  <a:ahLst/>
                  <a:cxnLst>
                    <a:cxn ang="0">
                      <a:pos x="10" y="36"/>
                    </a:cxn>
                    <a:cxn ang="0">
                      <a:pos x="10" y="36"/>
                    </a:cxn>
                    <a:cxn ang="0">
                      <a:pos x="0" y="32"/>
                    </a:cxn>
                    <a:cxn ang="0">
                      <a:pos x="0" y="32"/>
                    </a:cxn>
                    <a:cxn ang="0">
                      <a:pos x="4" y="30"/>
                    </a:cxn>
                    <a:cxn ang="0">
                      <a:pos x="4" y="30"/>
                    </a:cxn>
                    <a:cxn ang="0">
                      <a:pos x="6" y="28"/>
                    </a:cxn>
                    <a:cxn ang="0">
                      <a:pos x="8" y="28"/>
                    </a:cxn>
                    <a:cxn ang="0">
                      <a:pos x="14" y="26"/>
                    </a:cxn>
                    <a:cxn ang="0">
                      <a:pos x="14" y="26"/>
                    </a:cxn>
                    <a:cxn ang="0">
                      <a:pos x="18" y="26"/>
                    </a:cxn>
                    <a:cxn ang="0">
                      <a:pos x="20" y="24"/>
                    </a:cxn>
                    <a:cxn ang="0">
                      <a:pos x="18" y="22"/>
                    </a:cxn>
                    <a:cxn ang="0">
                      <a:pos x="18" y="18"/>
                    </a:cxn>
                    <a:cxn ang="0">
                      <a:pos x="18" y="16"/>
                    </a:cxn>
                    <a:cxn ang="0">
                      <a:pos x="22" y="14"/>
                    </a:cxn>
                    <a:cxn ang="0">
                      <a:pos x="22" y="14"/>
                    </a:cxn>
                    <a:cxn ang="0">
                      <a:pos x="30" y="12"/>
                    </a:cxn>
                    <a:cxn ang="0">
                      <a:pos x="38" y="12"/>
                    </a:cxn>
                    <a:cxn ang="0">
                      <a:pos x="44" y="12"/>
                    </a:cxn>
                    <a:cxn ang="0">
                      <a:pos x="50" y="10"/>
                    </a:cxn>
                    <a:cxn ang="0">
                      <a:pos x="50" y="10"/>
                    </a:cxn>
                    <a:cxn ang="0">
                      <a:pos x="58" y="6"/>
                    </a:cxn>
                    <a:cxn ang="0">
                      <a:pos x="70" y="4"/>
                    </a:cxn>
                    <a:cxn ang="0">
                      <a:pos x="70" y="4"/>
                    </a:cxn>
                    <a:cxn ang="0">
                      <a:pos x="84" y="0"/>
                    </a:cxn>
                    <a:cxn ang="0">
                      <a:pos x="86" y="2"/>
                    </a:cxn>
                    <a:cxn ang="0">
                      <a:pos x="84" y="6"/>
                    </a:cxn>
                    <a:cxn ang="0">
                      <a:pos x="84" y="6"/>
                    </a:cxn>
                    <a:cxn ang="0">
                      <a:pos x="82" y="8"/>
                    </a:cxn>
                    <a:cxn ang="0">
                      <a:pos x="84" y="8"/>
                    </a:cxn>
                    <a:cxn ang="0">
                      <a:pos x="92" y="6"/>
                    </a:cxn>
                    <a:cxn ang="0">
                      <a:pos x="104" y="6"/>
                    </a:cxn>
                    <a:cxn ang="0">
                      <a:pos x="106" y="6"/>
                    </a:cxn>
                    <a:cxn ang="0">
                      <a:pos x="108" y="10"/>
                    </a:cxn>
                    <a:cxn ang="0">
                      <a:pos x="108" y="10"/>
                    </a:cxn>
                    <a:cxn ang="0">
                      <a:pos x="104" y="14"/>
                    </a:cxn>
                    <a:cxn ang="0">
                      <a:pos x="100" y="16"/>
                    </a:cxn>
                    <a:cxn ang="0">
                      <a:pos x="98" y="16"/>
                    </a:cxn>
                    <a:cxn ang="0">
                      <a:pos x="100" y="16"/>
                    </a:cxn>
                    <a:cxn ang="0">
                      <a:pos x="100" y="16"/>
                    </a:cxn>
                    <a:cxn ang="0">
                      <a:pos x="102" y="18"/>
                    </a:cxn>
                    <a:cxn ang="0">
                      <a:pos x="100" y="18"/>
                    </a:cxn>
                    <a:cxn ang="0">
                      <a:pos x="88" y="20"/>
                    </a:cxn>
                    <a:cxn ang="0">
                      <a:pos x="88" y="20"/>
                    </a:cxn>
                    <a:cxn ang="0">
                      <a:pos x="74" y="24"/>
                    </a:cxn>
                    <a:cxn ang="0">
                      <a:pos x="66" y="28"/>
                    </a:cxn>
                    <a:cxn ang="0">
                      <a:pos x="60" y="28"/>
                    </a:cxn>
                    <a:cxn ang="0">
                      <a:pos x="60" y="28"/>
                    </a:cxn>
                    <a:cxn ang="0">
                      <a:pos x="42" y="26"/>
                    </a:cxn>
                    <a:cxn ang="0">
                      <a:pos x="36" y="26"/>
                    </a:cxn>
                    <a:cxn ang="0">
                      <a:pos x="36" y="28"/>
                    </a:cxn>
                    <a:cxn ang="0">
                      <a:pos x="36" y="28"/>
                    </a:cxn>
                    <a:cxn ang="0">
                      <a:pos x="36" y="28"/>
                    </a:cxn>
                    <a:cxn ang="0">
                      <a:pos x="36" y="30"/>
                    </a:cxn>
                    <a:cxn ang="0">
                      <a:pos x="34" y="32"/>
                    </a:cxn>
                    <a:cxn ang="0">
                      <a:pos x="26" y="34"/>
                    </a:cxn>
                    <a:cxn ang="0">
                      <a:pos x="26" y="34"/>
                    </a:cxn>
                    <a:cxn ang="0">
                      <a:pos x="20" y="32"/>
                    </a:cxn>
                    <a:cxn ang="0">
                      <a:pos x="18" y="34"/>
                    </a:cxn>
                    <a:cxn ang="0">
                      <a:pos x="16" y="36"/>
                    </a:cxn>
                    <a:cxn ang="0">
                      <a:pos x="10" y="36"/>
                    </a:cxn>
                    <a:cxn ang="0">
                      <a:pos x="10" y="36"/>
                    </a:cxn>
                  </a:cxnLst>
                  <a:rect l="0" t="0" r="r" b="b"/>
                  <a:pathLst>
                    <a:path w="108" h="36">
                      <a:moveTo>
                        <a:pt x="10" y="36"/>
                      </a:moveTo>
                      <a:lnTo>
                        <a:pt x="10" y="36"/>
                      </a:lnTo>
                      <a:lnTo>
                        <a:pt x="0" y="32"/>
                      </a:lnTo>
                      <a:lnTo>
                        <a:pt x="0" y="32"/>
                      </a:lnTo>
                      <a:lnTo>
                        <a:pt x="4" y="30"/>
                      </a:lnTo>
                      <a:lnTo>
                        <a:pt x="4" y="30"/>
                      </a:lnTo>
                      <a:lnTo>
                        <a:pt x="6" y="28"/>
                      </a:lnTo>
                      <a:lnTo>
                        <a:pt x="8" y="28"/>
                      </a:lnTo>
                      <a:lnTo>
                        <a:pt x="14" y="26"/>
                      </a:lnTo>
                      <a:lnTo>
                        <a:pt x="14" y="26"/>
                      </a:lnTo>
                      <a:lnTo>
                        <a:pt x="18" y="26"/>
                      </a:lnTo>
                      <a:lnTo>
                        <a:pt x="20" y="24"/>
                      </a:lnTo>
                      <a:lnTo>
                        <a:pt x="18" y="22"/>
                      </a:lnTo>
                      <a:lnTo>
                        <a:pt x="18" y="18"/>
                      </a:lnTo>
                      <a:lnTo>
                        <a:pt x="18" y="16"/>
                      </a:lnTo>
                      <a:lnTo>
                        <a:pt x="22" y="14"/>
                      </a:lnTo>
                      <a:lnTo>
                        <a:pt x="22" y="14"/>
                      </a:lnTo>
                      <a:lnTo>
                        <a:pt x="30" y="12"/>
                      </a:lnTo>
                      <a:lnTo>
                        <a:pt x="38" y="12"/>
                      </a:lnTo>
                      <a:lnTo>
                        <a:pt x="44" y="12"/>
                      </a:lnTo>
                      <a:lnTo>
                        <a:pt x="50" y="10"/>
                      </a:lnTo>
                      <a:lnTo>
                        <a:pt x="50" y="10"/>
                      </a:lnTo>
                      <a:lnTo>
                        <a:pt x="58" y="6"/>
                      </a:lnTo>
                      <a:lnTo>
                        <a:pt x="70" y="4"/>
                      </a:lnTo>
                      <a:lnTo>
                        <a:pt x="70" y="4"/>
                      </a:lnTo>
                      <a:lnTo>
                        <a:pt x="84" y="0"/>
                      </a:lnTo>
                      <a:lnTo>
                        <a:pt x="86" y="2"/>
                      </a:lnTo>
                      <a:lnTo>
                        <a:pt x="84" y="6"/>
                      </a:lnTo>
                      <a:lnTo>
                        <a:pt x="84" y="6"/>
                      </a:lnTo>
                      <a:lnTo>
                        <a:pt x="82" y="8"/>
                      </a:lnTo>
                      <a:lnTo>
                        <a:pt x="84" y="8"/>
                      </a:lnTo>
                      <a:lnTo>
                        <a:pt x="92" y="6"/>
                      </a:lnTo>
                      <a:lnTo>
                        <a:pt x="104" y="6"/>
                      </a:lnTo>
                      <a:lnTo>
                        <a:pt x="106" y="6"/>
                      </a:lnTo>
                      <a:lnTo>
                        <a:pt x="108" y="10"/>
                      </a:lnTo>
                      <a:lnTo>
                        <a:pt x="108" y="10"/>
                      </a:lnTo>
                      <a:lnTo>
                        <a:pt x="104" y="14"/>
                      </a:lnTo>
                      <a:lnTo>
                        <a:pt x="100" y="16"/>
                      </a:lnTo>
                      <a:lnTo>
                        <a:pt x="98" y="16"/>
                      </a:lnTo>
                      <a:lnTo>
                        <a:pt x="100" y="16"/>
                      </a:lnTo>
                      <a:lnTo>
                        <a:pt x="100" y="16"/>
                      </a:lnTo>
                      <a:lnTo>
                        <a:pt x="102" y="18"/>
                      </a:lnTo>
                      <a:lnTo>
                        <a:pt x="100" y="18"/>
                      </a:lnTo>
                      <a:lnTo>
                        <a:pt x="88" y="20"/>
                      </a:lnTo>
                      <a:lnTo>
                        <a:pt x="88" y="20"/>
                      </a:lnTo>
                      <a:lnTo>
                        <a:pt x="74" y="24"/>
                      </a:lnTo>
                      <a:lnTo>
                        <a:pt x="66" y="28"/>
                      </a:lnTo>
                      <a:lnTo>
                        <a:pt x="60" y="28"/>
                      </a:lnTo>
                      <a:lnTo>
                        <a:pt x="60" y="28"/>
                      </a:lnTo>
                      <a:lnTo>
                        <a:pt x="42" y="26"/>
                      </a:lnTo>
                      <a:lnTo>
                        <a:pt x="36" y="26"/>
                      </a:lnTo>
                      <a:lnTo>
                        <a:pt x="36" y="28"/>
                      </a:lnTo>
                      <a:lnTo>
                        <a:pt x="36" y="28"/>
                      </a:lnTo>
                      <a:lnTo>
                        <a:pt x="36" y="28"/>
                      </a:lnTo>
                      <a:lnTo>
                        <a:pt x="36" y="30"/>
                      </a:lnTo>
                      <a:lnTo>
                        <a:pt x="34" y="32"/>
                      </a:lnTo>
                      <a:lnTo>
                        <a:pt x="26" y="34"/>
                      </a:lnTo>
                      <a:lnTo>
                        <a:pt x="26" y="34"/>
                      </a:lnTo>
                      <a:lnTo>
                        <a:pt x="20" y="32"/>
                      </a:lnTo>
                      <a:lnTo>
                        <a:pt x="18" y="34"/>
                      </a:lnTo>
                      <a:lnTo>
                        <a:pt x="16" y="36"/>
                      </a:lnTo>
                      <a:lnTo>
                        <a:pt x="10" y="36"/>
                      </a:lnTo>
                      <a:lnTo>
                        <a:pt x="10" y="36"/>
                      </a:lnTo>
                      <a:close/>
                    </a:path>
                  </a:pathLst>
                </a:custGeom>
                <a:solidFill>
                  <a:schemeClr val="tx1">
                    <a:alpha val="9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1" name="Freeform 127"/>
                <p:cNvSpPr>
                  <a:spLocks/>
                </p:cNvSpPr>
                <p:nvPr/>
              </p:nvSpPr>
              <p:spPr bwMode="auto">
                <a:xfrm>
                  <a:off x="4537895" y="1375652"/>
                  <a:ext cx="54678" cy="21244"/>
                </a:xfrm>
                <a:custGeom>
                  <a:avLst/>
                  <a:gdLst/>
                  <a:ahLst/>
                  <a:cxnLst>
                    <a:cxn ang="0">
                      <a:pos x="24" y="2"/>
                    </a:cxn>
                    <a:cxn ang="0">
                      <a:pos x="24" y="2"/>
                    </a:cxn>
                    <a:cxn ang="0">
                      <a:pos x="16" y="2"/>
                    </a:cxn>
                    <a:cxn ang="0">
                      <a:pos x="16" y="2"/>
                    </a:cxn>
                    <a:cxn ang="0">
                      <a:pos x="6" y="0"/>
                    </a:cxn>
                    <a:cxn ang="0">
                      <a:pos x="6" y="0"/>
                    </a:cxn>
                    <a:cxn ang="0">
                      <a:pos x="2" y="2"/>
                    </a:cxn>
                    <a:cxn ang="0">
                      <a:pos x="2" y="2"/>
                    </a:cxn>
                    <a:cxn ang="0">
                      <a:pos x="2" y="2"/>
                    </a:cxn>
                    <a:cxn ang="0">
                      <a:pos x="0" y="6"/>
                    </a:cxn>
                    <a:cxn ang="0">
                      <a:pos x="4" y="8"/>
                    </a:cxn>
                    <a:cxn ang="0">
                      <a:pos x="4" y="8"/>
                    </a:cxn>
                    <a:cxn ang="0">
                      <a:pos x="6" y="8"/>
                    </a:cxn>
                    <a:cxn ang="0">
                      <a:pos x="10" y="10"/>
                    </a:cxn>
                    <a:cxn ang="0">
                      <a:pos x="10" y="10"/>
                    </a:cxn>
                    <a:cxn ang="0">
                      <a:pos x="14" y="12"/>
                    </a:cxn>
                    <a:cxn ang="0">
                      <a:pos x="18" y="12"/>
                    </a:cxn>
                    <a:cxn ang="0">
                      <a:pos x="18" y="12"/>
                    </a:cxn>
                    <a:cxn ang="0">
                      <a:pos x="24" y="14"/>
                    </a:cxn>
                    <a:cxn ang="0">
                      <a:pos x="32" y="12"/>
                    </a:cxn>
                    <a:cxn ang="0">
                      <a:pos x="32" y="12"/>
                    </a:cxn>
                    <a:cxn ang="0">
                      <a:pos x="34" y="12"/>
                    </a:cxn>
                    <a:cxn ang="0">
                      <a:pos x="36" y="10"/>
                    </a:cxn>
                    <a:cxn ang="0">
                      <a:pos x="36" y="8"/>
                    </a:cxn>
                    <a:cxn ang="0">
                      <a:pos x="34" y="6"/>
                    </a:cxn>
                    <a:cxn ang="0">
                      <a:pos x="34" y="6"/>
                    </a:cxn>
                    <a:cxn ang="0">
                      <a:pos x="28" y="4"/>
                    </a:cxn>
                    <a:cxn ang="0">
                      <a:pos x="24" y="2"/>
                    </a:cxn>
                    <a:cxn ang="0">
                      <a:pos x="24" y="2"/>
                    </a:cxn>
                  </a:cxnLst>
                  <a:rect l="0" t="0" r="r" b="b"/>
                  <a:pathLst>
                    <a:path w="36" h="14">
                      <a:moveTo>
                        <a:pt x="24" y="2"/>
                      </a:moveTo>
                      <a:lnTo>
                        <a:pt x="24" y="2"/>
                      </a:lnTo>
                      <a:lnTo>
                        <a:pt x="16" y="2"/>
                      </a:lnTo>
                      <a:lnTo>
                        <a:pt x="16" y="2"/>
                      </a:lnTo>
                      <a:lnTo>
                        <a:pt x="6" y="0"/>
                      </a:lnTo>
                      <a:lnTo>
                        <a:pt x="6" y="0"/>
                      </a:lnTo>
                      <a:lnTo>
                        <a:pt x="2" y="2"/>
                      </a:lnTo>
                      <a:lnTo>
                        <a:pt x="2" y="2"/>
                      </a:lnTo>
                      <a:lnTo>
                        <a:pt x="2" y="2"/>
                      </a:lnTo>
                      <a:lnTo>
                        <a:pt x="0" y="6"/>
                      </a:lnTo>
                      <a:lnTo>
                        <a:pt x="4" y="8"/>
                      </a:lnTo>
                      <a:lnTo>
                        <a:pt x="4" y="8"/>
                      </a:lnTo>
                      <a:lnTo>
                        <a:pt x="6" y="8"/>
                      </a:lnTo>
                      <a:lnTo>
                        <a:pt x="10" y="10"/>
                      </a:lnTo>
                      <a:lnTo>
                        <a:pt x="10" y="10"/>
                      </a:lnTo>
                      <a:lnTo>
                        <a:pt x="14" y="12"/>
                      </a:lnTo>
                      <a:lnTo>
                        <a:pt x="18" y="12"/>
                      </a:lnTo>
                      <a:lnTo>
                        <a:pt x="18" y="12"/>
                      </a:lnTo>
                      <a:lnTo>
                        <a:pt x="24" y="14"/>
                      </a:lnTo>
                      <a:lnTo>
                        <a:pt x="32" y="12"/>
                      </a:lnTo>
                      <a:lnTo>
                        <a:pt x="32" y="12"/>
                      </a:lnTo>
                      <a:lnTo>
                        <a:pt x="34" y="12"/>
                      </a:lnTo>
                      <a:lnTo>
                        <a:pt x="36" y="10"/>
                      </a:lnTo>
                      <a:lnTo>
                        <a:pt x="36" y="8"/>
                      </a:lnTo>
                      <a:lnTo>
                        <a:pt x="34" y="6"/>
                      </a:lnTo>
                      <a:lnTo>
                        <a:pt x="34" y="6"/>
                      </a:lnTo>
                      <a:lnTo>
                        <a:pt x="28" y="4"/>
                      </a:lnTo>
                      <a:lnTo>
                        <a:pt x="24" y="2"/>
                      </a:lnTo>
                      <a:lnTo>
                        <a:pt x="24" y="2"/>
                      </a:lnTo>
                      <a:close/>
                    </a:path>
                  </a:pathLst>
                </a:custGeom>
                <a:solidFill>
                  <a:schemeClr val="tx1">
                    <a:alpha val="9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
          <p:nvSpPr>
            <p:cNvPr id="921" name="Canada"/>
            <p:cNvSpPr>
              <a:spLocks/>
            </p:cNvSpPr>
            <p:nvPr/>
          </p:nvSpPr>
          <p:spPr bwMode="auto">
            <a:xfrm>
              <a:off x="2238400" y="1327095"/>
              <a:ext cx="2056483" cy="804231"/>
            </a:xfrm>
            <a:custGeom>
              <a:avLst/>
              <a:gdLst/>
              <a:ahLst/>
              <a:cxnLst/>
              <a:rect l="l" t="t" r="r" b="b"/>
              <a:pathLst>
                <a:path w="1791229" h="701146">
                  <a:moveTo>
                    <a:pt x="973667" y="518584"/>
                  </a:moveTo>
                  <a:lnTo>
                    <a:pt x="973667" y="518584"/>
                  </a:lnTo>
                  <a:lnTo>
                    <a:pt x="968375" y="521229"/>
                  </a:lnTo>
                  <a:close/>
                  <a:moveTo>
                    <a:pt x="63500" y="457729"/>
                  </a:moveTo>
                  <a:lnTo>
                    <a:pt x="68792" y="457729"/>
                  </a:lnTo>
                  <a:lnTo>
                    <a:pt x="74084" y="460375"/>
                  </a:lnTo>
                  <a:lnTo>
                    <a:pt x="76729" y="463021"/>
                  </a:lnTo>
                  <a:lnTo>
                    <a:pt x="76729" y="465667"/>
                  </a:lnTo>
                  <a:lnTo>
                    <a:pt x="79375" y="468312"/>
                  </a:lnTo>
                  <a:lnTo>
                    <a:pt x="89959" y="468312"/>
                  </a:lnTo>
                  <a:lnTo>
                    <a:pt x="92604" y="468312"/>
                  </a:lnTo>
                  <a:lnTo>
                    <a:pt x="97896" y="470958"/>
                  </a:lnTo>
                  <a:lnTo>
                    <a:pt x="103188" y="476250"/>
                  </a:lnTo>
                  <a:lnTo>
                    <a:pt x="105834" y="476250"/>
                  </a:lnTo>
                  <a:lnTo>
                    <a:pt x="111125" y="478896"/>
                  </a:lnTo>
                  <a:lnTo>
                    <a:pt x="111125" y="484188"/>
                  </a:lnTo>
                  <a:lnTo>
                    <a:pt x="113771" y="489479"/>
                  </a:lnTo>
                  <a:lnTo>
                    <a:pt x="116417" y="492125"/>
                  </a:lnTo>
                  <a:lnTo>
                    <a:pt x="113771" y="494771"/>
                  </a:lnTo>
                  <a:lnTo>
                    <a:pt x="113771" y="497417"/>
                  </a:lnTo>
                  <a:lnTo>
                    <a:pt x="116417" y="500063"/>
                  </a:lnTo>
                  <a:lnTo>
                    <a:pt x="121709" y="502708"/>
                  </a:lnTo>
                  <a:lnTo>
                    <a:pt x="124354" y="505354"/>
                  </a:lnTo>
                  <a:lnTo>
                    <a:pt x="124354" y="508000"/>
                  </a:lnTo>
                  <a:lnTo>
                    <a:pt x="129646" y="518584"/>
                  </a:lnTo>
                  <a:lnTo>
                    <a:pt x="129646" y="523875"/>
                  </a:lnTo>
                  <a:lnTo>
                    <a:pt x="129646" y="526521"/>
                  </a:lnTo>
                  <a:lnTo>
                    <a:pt x="116417" y="526521"/>
                  </a:lnTo>
                  <a:lnTo>
                    <a:pt x="108479" y="526521"/>
                  </a:lnTo>
                  <a:lnTo>
                    <a:pt x="100542" y="523875"/>
                  </a:lnTo>
                  <a:lnTo>
                    <a:pt x="89959" y="518584"/>
                  </a:lnTo>
                  <a:lnTo>
                    <a:pt x="87313" y="515938"/>
                  </a:lnTo>
                  <a:lnTo>
                    <a:pt x="87313" y="513292"/>
                  </a:lnTo>
                  <a:lnTo>
                    <a:pt x="89959" y="510646"/>
                  </a:lnTo>
                  <a:lnTo>
                    <a:pt x="84667" y="510646"/>
                  </a:lnTo>
                  <a:lnTo>
                    <a:pt x="79375" y="510646"/>
                  </a:lnTo>
                  <a:lnTo>
                    <a:pt x="74084" y="505354"/>
                  </a:lnTo>
                  <a:lnTo>
                    <a:pt x="74084" y="500063"/>
                  </a:lnTo>
                  <a:lnTo>
                    <a:pt x="71438" y="494771"/>
                  </a:lnTo>
                  <a:lnTo>
                    <a:pt x="66146" y="492125"/>
                  </a:lnTo>
                  <a:lnTo>
                    <a:pt x="63500" y="489479"/>
                  </a:lnTo>
                  <a:lnTo>
                    <a:pt x="63500" y="486833"/>
                  </a:lnTo>
                  <a:lnTo>
                    <a:pt x="60854" y="484188"/>
                  </a:lnTo>
                  <a:lnTo>
                    <a:pt x="58209" y="481542"/>
                  </a:lnTo>
                  <a:lnTo>
                    <a:pt x="58209" y="478896"/>
                  </a:lnTo>
                  <a:lnTo>
                    <a:pt x="55563" y="478896"/>
                  </a:lnTo>
                  <a:lnTo>
                    <a:pt x="52917" y="478896"/>
                  </a:lnTo>
                  <a:lnTo>
                    <a:pt x="50271" y="478896"/>
                  </a:lnTo>
                  <a:lnTo>
                    <a:pt x="50271" y="476250"/>
                  </a:lnTo>
                  <a:lnTo>
                    <a:pt x="55563" y="473604"/>
                  </a:lnTo>
                  <a:lnTo>
                    <a:pt x="55563" y="468312"/>
                  </a:lnTo>
                  <a:lnTo>
                    <a:pt x="55563" y="465667"/>
                  </a:lnTo>
                  <a:lnTo>
                    <a:pt x="52917" y="463021"/>
                  </a:lnTo>
                  <a:lnTo>
                    <a:pt x="52917" y="460375"/>
                  </a:lnTo>
                  <a:close/>
                  <a:moveTo>
                    <a:pt x="1270000" y="0"/>
                  </a:moveTo>
                  <a:lnTo>
                    <a:pt x="1277938" y="2646"/>
                  </a:lnTo>
                  <a:lnTo>
                    <a:pt x="1285875" y="7937"/>
                  </a:lnTo>
                  <a:lnTo>
                    <a:pt x="1285875" y="10583"/>
                  </a:lnTo>
                  <a:lnTo>
                    <a:pt x="1285875" y="13229"/>
                  </a:lnTo>
                  <a:lnTo>
                    <a:pt x="1283229" y="15875"/>
                  </a:lnTo>
                  <a:lnTo>
                    <a:pt x="1285875" y="18521"/>
                  </a:lnTo>
                  <a:lnTo>
                    <a:pt x="1291167" y="23812"/>
                  </a:lnTo>
                  <a:lnTo>
                    <a:pt x="1293813" y="26458"/>
                  </a:lnTo>
                  <a:lnTo>
                    <a:pt x="1293813" y="29104"/>
                  </a:lnTo>
                  <a:lnTo>
                    <a:pt x="1293813" y="31750"/>
                  </a:lnTo>
                  <a:lnTo>
                    <a:pt x="1285875" y="31750"/>
                  </a:lnTo>
                  <a:lnTo>
                    <a:pt x="1283229" y="31750"/>
                  </a:lnTo>
                  <a:lnTo>
                    <a:pt x="1283229" y="29104"/>
                  </a:lnTo>
                  <a:lnTo>
                    <a:pt x="1277938" y="29104"/>
                  </a:lnTo>
                  <a:lnTo>
                    <a:pt x="1275292" y="31750"/>
                  </a:lnTo>
                  <a:lnTo>
                    <a:pt x="1277938" y="34396"/>
                  </a:lnTo>
                  <a:lnTo>
                    <a:pt x="1277938" y="37042"/>
                  </a:lnTo>
                  <a:lnTo>
                    <a:pt x="1277938" y="39687"/>
                  </a:lnTo>
                  <a:lnTo>
                    <a:pt x="1275292" y="42333"/>
                  </a:lnTo>
                  <a:lnTo>
                    <a:pt x="1270000" y="44979"/>
                  </a:lnTo>
                  <a:lnTo>
                    <a:pt x="1277938" y="44979"/>
                  </a:lnTo>
                  <a:lnTo>
                    <a:pt x="1285875" y="47625"/>
                  </a:lnTo>
                  <a:lnTo>
                    <a:pt x="1285875" y="50271"/>
                  </a:lnTo>
                  <a:lnTo>
                    <a:pt x="1285875" y="52917"/>
                  </a:lnTo>
                  <a:lnTo>
                    <a:pt x="1277938" y="60854"/>
                  </a:lnTo>
                  <a:lnTo>
                    <a:pt x="1293813" y="60854"/>
                  </a:lnTo>
                  <a:lnTo>
                    <a:pt x="1299104" y="58208"/>
                  </a:lnTo>
                  <a:lnTo>
                    <a:pt x="1307042" y="52917"/>
                  </a:lnTo>
                  <a:lnTo>
                    <a:pt x="1312333" y="50271"/>
                  </a:lnTo>
                  <a:lnTo>
                    <a:pt x="1314979" y="50271"/>
                  </a:lnTo>
                  <a:lnTo>
                    <a:pt x="1322917" y="52917"/>
                  </a:lnTo>
                  <a:lnTo>
                    <a:pt x="1325563" y="55562"/>
                  </a:lnTo>
                  <a:lnTo>
                    <a:pt x="1328208" y="58208"/>
                  </a:lnTo>
                  <a:lnTo>
                    <a:pt x="1328208" y="63500"/>
                  </a:lnTo>
                  <a:lnTo>
                    <a:pt x="1322917" y="66146"/>
                  </a:lnTo>
                  <a:lnTo>
                    <a:pt x="1317625" y="71437"/>
                  </a:lnTo>
                  <a:lnTo>
                    <a:pt x="1317625" y="76729"/>
                  </a:lnTo>
                  <a:lnTo>
                    <a:pt x="1320271" y="82021"/>
                  </a:lnTo>
                  <a:lnTo>
                    <a:pt x="1320271" y="87312"/>
                  </a:lnTo>
                  <a:lnTo>
                    <a:pt x="1338792" y="76729"/>
                  </a:lnTo>
                  <a:lnTo>
                    <a:pt x="1352021" y="71437"/>
                  </a:lnTo>
                  <a:lnTo>
                    <a:pt x="1362604" y="68792"/>
                  </a:lnTo>
                  <a:lnTo>
                    <a:pt x="1370542" y="63500"/>
                  </a:lnTo>
                  <a:lnTo>
                    <a:pt x="1381125" y="58208"/>
                  </a:lnTo>
                  <a:lnTo>
                    <a:pt x="1391708" y="55562"/>
                  </a:lnTo>
                  <a:lnTo>
                    <a:pt x="1386417" y="52917"/>
                  </a:lnTo>
                  <a:lnTo>
                    <a:pt x="1383771" y="50271"/>
                  </a:lnTo>
                  <a:lnTo>
                    <a:pt x="1386417" y="47625"/>
                  </a:lnTo>
                  <a:lnTo>
                    <a:pt x="1389063" y="44979"/>
                  </a:lnTo>
                  <a:lnTo>
                    <a:pt x="1399646" y="39687"/>
                  </a:lnTo>
                  <a:lnTo>
                    <a:pt x="1407583" y="39687"/>
                  </a:lnTo>
                  <a:lnTo>
                    <a:pt x="1412875" y="39687"/>
                  </a:lnTo>
                  <a:lnTo>
                    <a:pt x="1423458" y="42333"/>
                  </a:lnTo>
                  <a:lnTo>
                    <a:pt x="1434042" y="44979"/>
                  </a:lnTo>
                  <a:lnTo>
                    <a:pt x="1441979" y="44979"/>
                  </a:lnTo>
                  <a:lnTo>
                    <a:pt x="1447271" y="47625"/>
                  </a:lnTo>
                  <a:lnTo>
                    <a:pt x="1463146" y="55562"/>
                  </a:lnTo>
                  <a:lnTo>
                    <a:pt x="1465792" y="58208"/>
                  </a:lnTo>
                  <a:lnTo>
                    <a:pt x="1463146" y="60854"/>
                  </a:lnTo>
                  <a:lnTo>
                    <a:pt x="1457854" y="60854"/>
                  </a:lnTo>
                  <a:lnTo>
                    <a:pt x="1457854" y="63500"/>
                  </a:lnTo>
                  <a:lnTo>
                    <a:pt x="1455208" y="66146"/>
                  </a:lnTo>
                  <a:lnTo>
                    <a:pt x="1447271" y="66146"/>
                  </a:lnTo>
                  <a:lnTo>
                    <a:pt x="1441979" y="66146"/>
                  </a:lnTo>
                  <a:lnTo>
                    <a:pt x="1441979" y="68792"/>
                  </a:lnTo>
                  <a:lnTo>
                    <a:pt x="1441979" y="71437"/>
                  </a:lnTo>
                  <a:lnTo>
                    <a:pt x="1441979" y="74083"/>
                  </a:lnTo>
                  <a:lnTo>
                    <a:pt x="1439333" y="76729"/>
                  </a:lnTo>
                  <a:lnTo>
                    <a:pt x="1439333" y="79375"/>
                  </a:lnTo>
                  <a:lnTo>
                    <a:pt x="1441979" y="82021"/>
                  </a:lnTo>
                  <a:lnTo>
                    <a:pt x="1441979" y="84667"/>
                  </a:lnTo>
                  <a:lnTo>
                    <a:pt x="1441979" y="87312"/>
                  </a:lnTo>
                  <a:lnTo>
                    <a:pt x="1431396" y="95250"/>
                  </a:lnTo>
                  <a:lnTo>
                    <a:pt x="1418167" y="97896"/>
                  </a:lnTo>
                  <a:lnTo>
                    <a:pt x="1410229" y="97896"/>
                  </a:lnTo>
                  <a:lnTo>
                    <a:pt x="1404938" y="97896"/>
                  </a:lnTo>
                  <a:lnTo>
                    <a:pt x="1394354" y="100542"/>
                  </a:lnTo>
                  <a:lnTo>
                    <a:pt x="1386417" y="103187"/>
                  </a:lnTo>
                  <a:lnTo>
                    <a:pt x="1381125" y="103187"/>
                  </a:lnTo>
                  <a:lnTo>
                    <a:pt x="1375833" y="103187"/>
                  </a:lnTo>
                  <a:lnTo>
                    <a:pt x="1370542" y="103187"/>
                  </a:lnTo>
                  <a:lnTo>
                    <a:pt x="1365250" y="105833"/>
                  </a:lnTo>
                  <a:lnTo>
                    <a:pt x="1362604" y="103187"/>
                  </a:lnTo>
                  <a:lnTo>
                    <a:pt x="1357313" y="97896"/>
                  </a:lnTo>
                  <a:lnTo>
                    <a:pt x="1349375" y="95250"/>
                  </a:lnTo>
                  <a:lnTo>
                    <a:pt x="1344083" y="92604"/>
                  </a:lnTo>
                  <a:lnTo>
                    <a:pt x="1342760" y="93266"/>
                  </a:lnTo>
                  <a:lnTo>
                    <a:pt x="1341438" y="92604"/>
                  </a:lnTo>
                  <a:lnTo>
                    <a:pt x="1338792" y="92604"/>
                  </a:lnTo>
                  <a:lnTo>
                    <a:pt x="1338792" y="95250"/>
                  </a:lnTo>
                  <a:lnTo>
                    <a:pt x="1342760" y="93266"/>
                  </a:lnTo>
                  <a:lnTo>
                    <a:pt x="1346729" y="95250"/>
                  </a:lnTo>
                  <a:lnTo>
                    <a:pt x="1354667" y="100542"/>
                  </a:lnTo>
                  <a:lnTo>
                    <a:pt x="1357313" y="105833"/>
                  </a:lnTo>
                  <a:lnTo>
                    <a:pt x="1357313" y="108479"/>
                  </a:lnTo>
                  <a:lnTo>
                    <a:pt x="1352021" y="108479"/>
                  </a:lnTo>
                  <a:lnTo>
                    <a:pt x="1344083" y="108479"/>
                  </a:lnTo>
                  <a:lnTo>
                    <a:pt x="1336146" y="108479"/>
                  </a:lnTo>
                  <a:lnTo>
                    <a:pt x="1333500" y="108479"/>
                  </a:lnTo>
                  <a:lnTo>
                    <a:pt x="1330854" y="103187"/>
                  </a:lnTo>
                  <a:lnTo>
                    <a:pt x="1330854" y="100542"/>
                  </a:lnTo>
                  <a:lnTo>
                    <a:pt x="1325563" y="100542"/>
                  </a:lnTo>
                  <a:lnTo>
                    <a:pt x="1320271" y="100542"/>
                  </a:lnTo>
                  <a:lnTo>
                    <a:pt x="1309688" y="103187"/>
                  </a:lnTo>
                  <a:lnTo>
                    <a:pt x="1304396" y="105833"/>
                  </a:lnTo>
                  <a:lnTo>
                    <a:pt x="1304396" y="108479"/>
                  </a:lnTo>
                  <a:lnTo>
                    <a:pt x="1312333" y="111125"/>
                  </a:lnTo>
                  <a:lnTo>
                    <a:pt x="1314979" y="111125"/>
                  </a:lnTo>
                  <a:lnTo>
                    <a:pt x="1314979" y="113771"/>
                  </a:lnTo>
                  <a:lnTo>
                    <a:pt x="1309688" y="116417"/>
                  </a:lnTo>
                  <a:lnTo>
                    <a:pt x="1293813" y="121708"/>
                  </a:lnTo>
                  <a:lnTo>
                    <a:pt x="1270000" y="127000"/>
                  </a:lnTo>
                  <a:lnTo>
                    <a:pt x="1264708" y="129646"/>
                  </a:lnTo>
                  <a:lnTo>
                    <a:pt x="1251479" y="127000"/>
                  </a:lnTo>
                  <a:lnTo>
                    <a:pt x="1246188" y="127000"/>
                  </a:lnTo>
                  <a:lnTo>
                    <a:pt x="1240896" y="124354"/>
                  </a:lnTo>
                  <a:lnTo>
                    <a:pt x="1238250" y="119062"/>
                  </a:lnTo>
                  <a:lnTo>
                    <a:pt x="1235604" y="116417"/>
                  </a:lnTo>
                  <a:lnTo>
                    <a:pt x="1232958" y="113771"/>
                  </a:lnTo>
                  <a:lnTo>
                    <a:pt x="1217083" y="113771"/>
                  </a:lnTo>
                  <a:lnTo>
                    <a:pt x="1227667" y="116417"/>
                  </a:lnTo>
                  <a:lnTo>
                    <a:pt x="1232958" y="121708"/>
                  </a:lnTo>
                  <a:lnTo>
                    <a:pt x="1238250" y="127000"/>
                  </a:lnTo>
                  <a:lnTo>
                    <a:pt x="1246188" y="129646"/>
                  </a:lnTo>
                  <a:lnTo>
                    <a:pt x="1259417" y="132292"/>
                  </a:lnTo>
                  <a:lnTo>
                    <a:pt x="1267354" y="132292"/>
                  </a:lnTo>
                  <a:lnTo>
                    <a:pt x="1270000" y="132292"/>
                  </a:lnTo>
                  <a:lnTo>
                    <a:pt x="1262063" y="137583"/>
                  </a:lnTo>
                  <a:lnTo>
                    <a:pt x="1240896" y="148167"/>
                  </a:lnTo>
                  <a:lnTo>
                    <a:pt x="1232958" y="153458"/>
                  </a:lnTo>
                  <a:lnTo>
                    <a:pt x="1222375" y="153458"/>
                  </a:lnTo>
                  <a:lnTo>
                    <a:pt x="1206500" y="153458"/>
                  </a:lnTo>
                  <a:lnTo>
                    <a:pt x="1198563" y="153458"/>
                  </a:lnTo>
                  <a:lnTo>
                    <a:pt x="1193271" y="148167"/>
                  </a:lnTo>
                  <a:lnTo>
                    <a:pt x="1190625" y="153458"/>
                  </a:lnTo>
                  <a:lnTo>
                    <a:pt x="1187979" y="156104"/>
                  </a:lnTo>
                  <a:lnTo>
                    <a:pt x="1177396" y="158750"/>
                  </a:lnTo>
                  <a:lnTo>
                    <a:pt x="1169458" y="158750"/>
                  </a:lnTo>
                  <a:lnTo>
                    <a:pt x="1158875" y="156104"/>
                  </a:lnTo>
                  <a:lnTo>
                    <a:pt x="1145646" y="153458"/>
                  </a:lnTo>
                  <a:lnTo>
                    <a:pt x="1116542" y="153458"/>
                  </a:lnTo>
                  <a:lnTo>
                    <a:pt x="1135063" y="156104"/>
                  </a:lnTo>
                  <a:lnTo>
                    <a:pt x="1135063" y="158750"/>
                  </a:lnTo>
                  <a:lnTo>
                    <a:pt x="1129771" y="161396"/>
                  </a:lnTo>
                  <a:lnTo>
                    <a:pt x="1143000" y="158750"/>
                  </a:lnTo>
                  <a:lnTo>
                    <a:pt x="1153583" y="158750"/>
                  </a:lnTo>
                  <a:lnTo>
                    <a:pt x="1158875" y="158750"/>
                  </a:lnTo>
                  <a:lnTo>
                    <a:pt x="1161521" y="164042"/>
                  </a:lnTo>
                  <a:lnTo>
                    <a:pt x="1164167" y="169333"/>
                  </a:lnTo>
                  <a:lnTo>
                    <a:pt x="1161521" y="171979"/>
                  </a:lnTo>
                  <a:lnTo>
                    <a:pt x="1153583" y="171979"/>
                  </a:lnTo>
                  <a:lnTo>
                    <a:pt x="1140354" y="171979"/>
                  </a:lnTo>
                  <a:lnTo>
                    <a:pt x="1124479" y="171979"/>
                  </a:lnTo>
                  <a:lnTo>
                    <a:pt x="1124479" y="174625"/>
                  </a:lnTo>
                  <a:lnTo>
                    <a:pt x="1129771" y="177271"/>
                  </a:lnTo>
                  <a:lnTo>
                    <a:pt x="1127125" y="179917"/>
                  </a:lnTo>
                  <a:lnTo>
                    <a:pt x="1111250" y="182562"/>
                  </a:lnTo>
                  <a:lnTo>
                    <a:pt x="1105958" y="185208"/>
                  </a:lnTo>
                  <a:lnTo>
                    <a:pt x="1100667" y="190500"/>
                  </a:lnTo>
                  <a:lnTo>
                    <a:pt x="1095375" y="190500"/>
                  </a:lnTo>
                  <a:lnTo>
                    <a:pt x="1087438" y="193146"/>
                  </a:lnTo>
                  <a:lnTo>
                    <a:pt x="1074208" y="198437"/>
                  </a:lnTo>
                  <a:lnTo>
                    <a:pt x="1066271" y="203729"/>
                  </a:lnTo>
                  <a:lnTo>
                    <a:pt x="1058333" y="206375"/>
                  </a:lnTo>
                  <a:lnTo>
                    <a:pt x="1053042" y="206375"/>
                  </a:lnTo>
                  <a:lnTo>
                    <a:pt x="1053042" y="209021"/>
                  </a:lnTo>
                  <a:lnTo>
                    <a:pt x="1047750" y="214312"/>
                  </a:lnTo>
                  <a:lnTo>
                    <a:pt x="1031875" y="219604"/>
                  </a:lnTo>
                  <a:lnTo>
                    <a:pt x="1026583" y="222250"/>
                  </a:lnTo>
                  <a:lnTo>
                    <a:pt x="1026583" y="224896"/>
                  </a:lnTo>
                  <a:lnTo>
                    <a:pt x="1026583" y="227542"/>
                  </a:lnTo>
                  <a:lnTo>
                    <a:pt x="1018646" y="227542"/>
                  </a:lnTo>
                  <a:lnTo>
                    <a:pt x="1013354" y="230187"/>
                  </a:lnTo>
                  <a:lnTo>
                    <a:pt x="1013354" y="232833"/>
                  </a:lnTo>
                  <a:lnTo>
                    <a:pt x="1008062" y="238125"/>
                  </a:lnTo>
                  <a:lnTo>
                    <a:pt x="1000125" y="243417"/>
                  </a:lnTo>
                  <a:lnTo>
                    <a:pt x="997479" y="251354"/>
                  </a:lnTo>
                  <a:lnTo>
                    <a:pt x="992187" y="256646"/>
                  </a:lnTo>
                  <a:lnTo>
                    <a:pt x="984250" y="264583"/>
                  </a:lnTo>
                  <a:lnTo>
                    <a:pt x="992187" y="264583"/>
                  </a:lnTo>
                  <a:lnTo>
                    <a:pt x="992187" y="272521"/>
                  </a:lnTo>
                  <a:lnTo>
                    <a:pt x="994833" y="269875"/>
                  </a:lnTo>
                  <a:lnTo>
                    <a:pt x="1000125" y="269875"/>
                  </a:lnTo>
                  <a:lnTo>
                    <a:pt x="1010708" y="267229"/>
                  </a:lnTo>
                  <a:lnTo>
                    <a:pt x="1016000" y="269875"/>
                  </a:lnTo>
                  <a:lnTo>
                    <a:pt x="1018646" y="272521"/>
                  </a:lnTo>
                  <a:lnTo>
                    <a:pt x="1018646" y="277812"/>
                  </a:lnTo>
                  <a:lnTo>
                    <a:pt x="1018646" y="280458"/>
                  </a:lnTo>
                  <a:lnTo>
                    <a:pt x="1018646" y="285750"/>
                  </a:lnTo>
                  <a:lnTo>
                    <a:pt x="1021292" y="291042"/>
                  </a:lnTo>
                  <a:lnTo>
                    <a:pt x="1021292" y="296333"/>
                  </a:lnTo>
                  <a:lnTo>
                    <a:pt x="1021292" y="298979"/>
                  </a:lnTo>
                  <a:lnTo>
                    <a:pt x="1010708" y="304271"/>
                  </a:lnTo>
                  <a:lnTo>
                    <a:pt x="1005417" y="304271"/>
                  </a:lnTo>
                  <a:lnTo>
                    <a:pt x="1002771" y="304271"/>
                  </a:lnTo>
                  <a:lnTo>
                    <a:pt x="994833" y="309562"/>
                  </a:lnTo>
                  <a:lnTo>
                    <a:pt x="1000125" y="306917"/>
                  </a:lnTo>
                  <a:lnTo>
                    <a:pt x="1010708" y="306917"/>
                  </a:lnTo>
                  <a:lnTo>
                    <a:pt x="1021292" y="304271"/>
                  </a:lnTo>
                  <a:lnTo>
                    <a:pt x="1034521" y="301625"/>
                  </a:lnTo>
                  <a:lnTo>
                    <a:pt x="1045104" y="298979"/>
                  </a:lnTo>
                  <a:lnTo>
                    <a:pt x="1050396" y="301625"/>
                  </a:lnTo>
                  <a:lnTo>
                    <a:pt x="1053042" y="304271"/>
                  </a:lnTo>
                  <a:lnTo>
                    <a:pt x="1055688" y="309562"/>
                  </a:lnTo>
                  <a:lnTo>
                    <a:pt x="1060979" y="312208"/>
                  </a:lnTo>
                  <a:lnTo>
                    <a:pt x="1074208" y="314854"/>
                  </a:lnTo>
                  <a:lnTo>
                    <a:pt x="1087438" y="317500"/>
                  </a:lnTo>
                  <a:lnTo>
                    <a:pt x="1092729" y="320146"/>
                  </a:lnTo>
                  <a:lnTo>
                    <a:pt x="1095375" y="322792"/>
                  </a:lnTo>
                  <a:lnTo>
                    <a:pt x="1098021" y="328083"/>
                  </a:lnTo>
                  <a:lnTo>
                    <a:pt x="1100667" y="328083"/>
                  </a:lnTo>
                  <a:lnTo>
                    <a:pt x="1103313" y="328083"/>
                  </a:lnTo>
                  <a:lnTo>
                    <a:pt x="1108604" y="330729"/>
                  </a:lnTo>
                  <a:lnTo>
                    <a:pt x="1119188" y="336021"/>
                  </a:lnTo>
                  <a:lnTo>
                    <a:pt x="1127125" y="336021"/>
                  </a:lnTo>
                  <a:lnTo>
                    <a:pt x="1132417" y="338667"/>
                  </a:lnTo>
                  <a:lnTo>
                    <a:pt x="1132417" y="343958"/>
                  </a:lnTo>
                  <a:lnTo>
                    <a:pt x="1132417" y="346604"/>
                  </a:lnTo>
                  <a:lnTo>
                    <a:pt x="1137708" y="346604"/>
                  </a:lnTo>
                  <a:lnTo>
                    <a:pt x="1150938" y="346604"/>
                  </a:lnTo>
                  <a:lnTo>
                    <a:pt x="1164167" y="346604"/>
                  </a:lnTo>
                  <a:lnTo>
                    <a:pt x="1174750" y="349250"/>
                  </a:lnTo>
                  <a:lnTo>
                    <a:pt x="1180042" y="351896"/>
                  </a:lnTo>
                  <a:lnTo>
                    <a:pt x="1187979" y="351896"/>
                  </a:lnTo>
                  <a:lnTo>
                    <a:pt x="1190625" y="351896"/>
                  </a:lnTo>
                  <a:lnTo>
                    <a:pt x="1187979" y="357188"/>
                  </a:lnTo>
                  <a:lnTo>
                    <a:pt x="1180042" y="362479"/>
                  </a:lnTo>
                  <a:lnTo>
                    <a:pt x="1180042" y="365125"/>
                  </a:lnTo>
                  <a:lnTo>
                    <a:pt x="1182688" y="367771"/>
                  </a:lnTo>
                  <a:lnTo>
                    <a:pt x="1182688" y="373063"/>
                  </a:lnTo>
                  <a:lnTo>
                    <a:pt x="1177396" y="375708"/>
                  </a:lnTo>
                  <a:lnTo>
                    <a:pt x="1174750" y="375708"/>
                  </a:lnTo>
                  <a:lnTo>
                    <a:pt x="1172104" y="375708"/>
                  </a:lnTo>
                  <a:lnTo>
                    <a:pt x="1166813" y="378354"/>
                  </a:lnTo>
                  <a:lnTo>
                    <a:pt x="1164167" y="378354"/>
                  </a:lnTo>
                  <a:lnTo>
                    <a:pt x="1153583" y="375708"/>
                  </a:lnTo>
                  <a:lnTo>
                    <a:pt x="1156229" y="378354"/>
                  </a:lnTo>
                  <a:lnTo>
                    <a:pt x="1158875" y="378354"/>
                  </a:lnTo>
                  <a:lnTo>
                    <a:pt x="1166813" y="381000"/>
                  </a:lnTo>
                  <a:lnTo>
                    <a:pt x="1172104" y="383646"/>
                  </a:lnTo>
                  <a:lnTo>
                    <a:pt x="1174750" y="383646"/>
                  </a:lnTo>
                  <a:lnTo>
                    <a:pt x="1174750" y="388938"/>
                  </a:lnTo>
                  <a:lnTo>
                    <a:pt x="1174750" y="394229"/>
                  </a:lnTo>
                  <a:lnTo>
                    <a:pt x="1174750" y="396875"/>
                  </a:lnTo>
                  <a:lnTo>
                    <a:pt x="1161521" y="396875"/>
                  </a:lnTo>
                  <a:lnTo>
                    <a:pt x="1169458" y="399521"/>
                  </a:lnTo>
                  <a:lnTo>
                    <a:pt x="1174750" y="404813"/>
                  </a:lnTo>
                  <a:lnTo>
                    <a:pt x="1177396" y="407458"/>
                  </a:lnTo>
                  <a:lnTo>
                    <a:pt x="1177396" y="412750"/>
                  </a:lnTo>
                  <a:lnTo>
                    <a:pt x="1177396" y="420688"/>
                  </a:lnTo>
                  <a:lnTo>
                    <a:pt x="1177396" y="425979"/>
                  </a:lnTo>
                  <a:lnTo>
                    <a:pt x="1180042" y="428625"/>
                  </a:lnTo>
                  <a:lnTo>
                    <a:pt x="1182688" y="431271"/>
                  </a:lnTo>
                  <a:lnTo>
                    <a:pt x="1177396" y="431271"/>
                  </a:lnTo>
                  <a:lnTo>
                    <a:pt x="1172104" y="436563"/>
                  </a:lnTo>
                  <a:lnTo>
                    <a:pt x="1166813" y="439208"/>
                  </a:lnTo>
                  <a:lnTo>
                    <a:pt x="1164167" y="444500"/>
                  </a:lnTo>
                  <a:lnTo>
                    <a:pt x="1172104" y="436563"/>
                  </a:lnTo>
                  <a:lnTo>
                    <a:pt x="1185333" y="431271"/>
                  </a:lnTo>
                  <a:lnTo>
                    <a:pt x="1187979" y="431271"/>
                  </a:lnTo>
                  <a:lnTo>
                    <a:pt x="1190625" y="431271"/>
                  </a:lnTo>
                  <a:lnTo>
                    <a:pt x="1190625" y="439208"/>
                  </a:lnTo>
                  <a:lnTo>
                    <a:pt x="1190625" y="447146"/>
                  </a:lnTo>
                  <a:lnTo>
                    <a:pt x="1190625" y="449792"/>
                  </a:lnTo>
                  <a:lnTo>
                    <a:pt x="1195917" y="447146"/>
                  </a:lnTo>
                  <a:lnTo>
                    <a:pt x="1198563" y="449792"/>
                  </a:lnTo>
                  <a:lnTo>
                    <a:pt x="1201208" y="449792"/>
                  </a:lnTo>
                  <a:lnTo>
                    <a:pt x="1201208" y="447146"/>
                  </a:lnTo>
                  <a:lnTo>
                    <a:pt x="1201208" y="444500"/>
                  </a:lnTo>
                  <a:lnTo>
                    <a:pt x="1206500" y="441854"/>
                  </a:lnTo>
                  <a:lnTo>
                    <a:pt x="1219729" y="439208"/>
                  </a:lnTo>
                  <a:lnTo>
                    <a:pt x="1222375" y="439208"/>
                  </a:lnTo>
                  <a:lnTo>
                    <a:pt x="1225021" y="441854"/>
                  </a:lnTo>
                  <a:lnTo>
                    <a:pt x="1227667" y="449792"/>
                  </a:lnTo>
                  <a:lnTo>
                    <a:pt x="1230313" y="452438"/>
                  </a:lnTo>
                  <a:lnTo>
                    <a:pt x="1235604" y="455083"/>
                  </a:lnTo>
                  <a:lnTo>
                    <a:pt x="1230313" y="449792"/>
                  </a:lnTo>
                  <a:lnTo>
                    <a:pt x="1230313" y="447146"/>
                  </a:lnTo>
                  <a:lnTo>
                    <a:pt x="1232958" y="447146"/>
                  </a:lnTo>
                  <a:lnTo>
                    <a:pt x="1240896" y="447146"/>
                  </a:lnTo>
                  <a:lnTo>
                    <a:pt x="1232958" y="441854"/>
                  </a:lnTo>
                  <a:lnTo>
                    <a:pt x="1230313" y="439208"/>
                  </a:lnTo>
                  <a:lnTo>
                    <a:pt x="1230313" y="433917"/>
                  </a:lnTo>
                  <a:lnTo>
                    <a:pt x="1232958" y="431271"/>
                  </a:lnTo>
                  <a:lnTo>
                    <a:pt x="1235604" y="431271"/>
                  </a:lnTo>
                  <a:lnTo>
                    <a:pt x="1246188" y="428625"/>
                  </a:lnTo>
                  <a:lnTo>
                    <a:pt x="1248833" y="425979"/>
                  </a:lnTo>
                  <a:lnTo>
                    <a:pt x="1254125" y="423333"/>
                  </a:lnTo>
                  <a:lnTo>
                    <a:pt x="1256771" y="418042"/>
                  </a:lnTo>
                  <a:lnTo>
                    <a:pt x="1256771" y="412750"/>
                  </a:lnTo>
                  <a:lnTo>
                    <a:pt x="1256771" y="404813"/>
                  </a:lnTo>
                  <a:lnTo>
                    <a:pt x="1259417" y="402167"/>
                  </a:lnTo>
                  <a:lnTo>
                    <a:pt x="1262063" y="396875"/>
                  </a:lnTo>
                  <a:lnTo>
                    <a:pt x="1259417" y="381000"/>
                  </a:lnTo>
                  <a:lnTo>
                    <a:pt x="1259417" y="375708"/>
                  </a:lnTo>
                  <a:lnTo>
                    <a:pt x="1256771" y="375708"/>
                  </a:lnTo>
                  <a:lnTo>
                    <a:pt x="1254125" y="373063"/>
                  </a:lnTo>
                  <a:lnTo>
                    <a:pt x="1251479" y="370417"/>
                  </a:lnTo>
                  <a:lnTo>
                    <a:pt x="1248833" y="367771"/>
                  </a:lnTo>
                  <a:lnTo>
                    <a:pt x="1246188" y="367771"/>
                  </a:lnTo>
                  <a:lnTo>
                    <a:pt x="1248833" y="362479"/>
                  </a:lnTo>
                  <a:lnTo>
                    <a:pt x="1259417" y="362479"/>
                  </a:lnTo>
                  <a:lnTo>
                    <a:pt x="1285875" y="357188"/>
                  </a:lnTo>
                  <a:lnTo>
                    <a:pt x="1299104" y="354542"/>
                  </a:lnTo>
                  <a:lnTo>
                    <a:pt x="1314979" y="346604"/>
                  </a:lnTo>
                  <a:lnTo>
                    <a:pt x="1330854" y="338667"/>
                  </a:lnTo>
                  <a:lnTo>
                    <a:pt x="1346729" y="325438"/>
                  </a:lnTo>
                  <a:lnTo>
                    <a:pt x="1359958" y="309562"/>
                  </a:lnTo>
                  <a:lnTo>
                    <a:pt x="1365250" y="296333"/>
                  </a:lnTo>
                  <a:lnTo>
                    <a:pt x="1365250" y="288396"/>
                  </a:lnTo>
                  <a:lnTo>
                    <a:pt x="1359958" y="280458"/>
                  </a:lnTo>
                  <a:lnTo>
                    <a:pt x="1349375" y="272521"/>
                  </a:lnTo>
                  <a:lnTo>
                    <a:pt x="1346729" y="269875"/>
                  </a:lnTo>
                  <a:lnTo>
                    <a:pt x="1346729" y="267229"/>
                  </a:lnTo>
                  <a:lnTo>
                    <a:pt x="1349375" y="264583"/>
                  </a:lnTo>
                  <a:lnTo>
                    <a:pt x="1349375" y="259292"/>
                  </a:lnTo>
                  <a:lnTo>
                    <a:pt x="1352021" y="256646"/>
                  </a:lnTo>
                  <a:lnTo>
                    <a:pt x="1367896" y="251354"/>
                  </a:lnTo>
                  <a:lnTo>
                    <a:pt x="1375833" y="248708"/>
                  </a:lnTo>
                  <a:lnTo>
                    <a:pt x="1375833" y="246062"/>
                  </a:lnTo>
                  <a:lnTo>
                    <a:pt x="1381125" y="243417"/>
                  </a:lnTo>
                  <a:lnTo>
                    <a:pt x="1386417" y="240771"/>
                  </a:lnTo>
                  <a:lnTo>
                    <a:pt x="1386417" y="238125"/>
                  </a:lnTo>
                  <a:lnTo>
                    <a:pt x="1383771" y="238125"/>
                  </a:lnTo>
                  <a:lnTo>
                    <a:pt x="1383771" y="235479"/>
                  </a:lnTo>
                  <a:lnTo>
                    <a:pt x="1386417" y="232833"/>
                  </a:lnTo>
                  <a:lnTo>
                    <a:pt x="1391708" y="230187"/>
                  </a:lnTo>
                  <a:lnTo>
                    <a:pt x="1399646" y="222250"/>
                  </a:lnTo>
                  <a:lnTo>
                    <a:pt x="1397000" y="219604"/>
                  </a:lnTo>
                  <a:lnTo>
                    <a:pt x="1394354" y="219604"/>
                  </a:lnTo>
                  <a:lnTo>
                    <a:pt x="1394354" y="216958"/>
                  </a:lnTo>
                  <a:lnTo>
                    <a:pt x="1397000" y="216958"/>
                  </a:lnTo>
                  <a:lnTo>
                    <a:pt x="1402292" y="211667"/>
                  </a:lnTo>
                  <a:lnTo>
                    <a:pt x="1404938" y="209021"/>
                  </a:lnTo>
                  <a:lnTo>
                    <a:pt x="1407583" y="203729"/>
                  </a:lnTo>
                  <a:lnTo>
                    <a:pt x="1410229" y="193146"/>
                  </a:lnTo>
                  <a:lnTo>
                    <a:pt x="1412875" y="185208"/>
                  </a:lnTo>
                  <a:lnTo>
                    <a:pt x="1418167" y="182562"/>
                  </a:lnTo>
                  <a:lnTo>
                    <a:pt x="1420813" y="179917"/>
                  </a:lnTo>
                  <a:lnTo>
                    <a:pt x="1434042" y="177271"/>
                  </a:lnTo>
                  <a:lnTo>
                    <a:pt x="1447271" y="177271"/>
                  </a:lnTo>
                  <a:lnTo>
                    <a:pt x="1473729" y="185208"/>
                  </a:lnTo>
                  <a:lnTo>
                    <a:pt x="1484313" y="187854"/>
                  </a:lnTo>
                  <a:lnTo>
                    <a:pt x="1492250" y="187854"/>
                  </a:lnTo>
                  <a:lnTo>
                    <a:pt x="1502833" y="182562"/>
                  </a:lnTo>
                  <a:lnTo>
                    <a:pt x="1505479" y="179917"/>
                  </a:lnTo>
                  <a:lnTo>
                    <a:pt x="1513417" y="182562"/>
                  </a:lnTo>
                  <a:lnTo>
                    <a:pt x="1521354" y="185208"/>
                  </a:lnTo>
                  <a:lnTo>
                    <a:pt x="1531937" y="193146"/>
                  </a:lnTo>
                  <a:lnTo>
                    <a:pt x="1531937" y="201083"/>
                  </a:lnTo>
                  <a:lnTo>
                    <a:pt x="1537229" y="206375"/>
                  </a:lnTo>
                  <a:lnTo>
                    <a:pt x="1539875" y="206375"/>
                  </a:lnTo>
                  <a:lnTo>
                    <a:pt x="1545167" y="209021"/>
                  </a:lnTo>
                  <a:lnTo>
                    <a:pt x="1550458" y="214312"/>
                  </a:lnTo>
                  <a:lnTo>
                    <a:pt x="1555750" y="211667"/>
                  </a:lnTo>
                  <a:lnTo>
                    <a:pt x="1558396" y="209021"/>
                  </a:lnTo>
                  <a:lnTo>
                    <a:pt x="1561042" y="209021"/>
                  </a:lnTo>
                  <a:lnTo>
                    <a:pt x="1563687" y="211667"/>
                  </a:lnTo>
                  <a:lnTo>
                    <a:pt x="1563687" y="214312"/>
                  </a:lnTo>
                  <a:lnTo>
                    <a:pt x="1561042" y="216958"/>
                  </a:lnTo>
                  <a:lnTo>
                    <a:pt x="1563687" y="219604"/>
                  </a:lnTo>
                  <a:lnTo>
                    <a:pt x="1566333" y="222250"/>
                  </a:lnTo>
                  <a:lnTo>
                    <a:pt x="1571625" y="219604"/>
                  </a:lnTo>
                  <a:lnTo>
                    <a:pt x="1576917" y="216958"/>
                  </a:lnTo>
                  <a:lnTo>
                    <a:pt x="1579562" y="216958"/>
                  </a:lnTo>
                  <a:lnTo>
                    <a:pt x="1582208" y="219604"/>
                  </a:lnTo>
                  <a:lnTo>
                    <a:pt x="1582208" y="222250"/>
                  </a:lnTo>
                  <a:lnTo>
                    <a:pt x="1576917" y="224896"/>
                  </a:lnTo>
                  <a:lnTo>
                    <a:pt x="1568979" y="227542"/>
                  </a:lnTo>
                  <a:lnTo>
                    <a:pt x="1563687" y="230187"/>
                  </a:lnTo>
                  <a:lnTo>
                    <a:pt x="1561042" y="230187"/>
                  </a:lnTo>
                  <a:lnTo>
                    <a:pt x="1563687" y="235479"/>
                  </a:lnTo>
                  <a:lnTo>
                    <a:pt x="1566333" y="238125"/>
                  </a:lnTo>
                  <a:lnTo>
                    <a:pt x="1550458" y="243417"/>
                  </a:lnTo>
                  <a:lnTo>
                    <a:pt x="1555750" y="243417"/>
                  </a:lnTo>
                  <a:lnTo>
                    <a:pt x="1558396" y="243417"/>
                  </a:lnTo>
                  <a:lnTo>
                    <a:pt x="1561042" y="246062"/>
                  </a:lnTo>
                  <a:lnTo>
                    <a:pt x="1561042" y="251354"/>
                  </a:lnTo>
                  <a:lnTo>
                    <a:pt x="1558396" y="254000"/>
                  </a:lnTo>
                  <a:lnTo>
                    <a:pt x="1547812" y="256646"/>
                  </a:lnTo>
                  <a:lnTo>
                    <a:pt x="1539875" y="261937"/>
                  </a:lnTo>
                  <a:lnTo>
                    <a:pt x="1537229" y="264583"/>
                  </a:lnTo>
                  <a:lnTo>
                    <a:pt x="1537229" y="267229"/>
                  </a:lnTo>
                  <a:lnTo>
                    <a:pt x="1550458" y="264583"/>
                  </a:lnTo>
                  <a:lnTo>
                    <a:pt x="1561042" y="264583"/>
                  </a:lnTo>
                  <a:lnTo>
                    <a:pt x="1563687" y="267229"/>
                  </a:lnTo>
                  <a:lnTo>
                    <a:pt x="1561042" y="272521"/>
                  </a:lnTo>
                  <a:lnTo>
                    <a:pt x="1550458" y="280458"/>
                  </a:lnTo>
                  <a:lnTo>
                    <a:pt x="1545167" y="280458"/>
                  </a:lnTo>
                  <a:lnTo>
                    <a:pt x="1542521" y="280458"/>
                  </a:lnTo>
                  <a:lnTo>
                    <a:pt x="1542521" y="275167"/>
                  </a:lnTo>
                  <a:lnTo>
                    <a:pt x="1537229" y="280458"/>
                  </a:lnTo>
                  <a:lnTo>
                    <a:pt x="1529292" y="285750"/>
                  </a:lnTo>
                  <a:lnTo>
                    <a:pt x="1537229" y="285750"/>
                  </a:lnTo>
                  <a:lnTo>
                    <a:pt x="1539875" y="288396"/>
                  </a:lnTo>
                  <a:lnTo>
                    <a:pt x="1539875" y="293687"/>
                  </a:lnTo>
                  <a:lnTo>
                    <a:pt x="1553104" y="283104"/>
                  </a:lnTo>
                  <a:lnTo>
                    <a:pt x="1566333" y="277812"/>
                  </a:lnTo>
                  <a:lnTo>
                    <a:pt x="1576917" y="275167"/>
                  </a:lnTo>
                  <a:lnTo>
                    <a:pt x="1576917" y="277812"/>
                  </a:lnTo>
                  <a:lnTo>
                    <a:pt x="1576917" y="280458"/>
                  </a:lnTo>
                  <a:lnTo>
                    <a:pt x="1576917" y="285750"/>
                  </a:lnTo>
                  <a:lnTo>
                    <a:pt x="1579562" y="285750"/>
                  </a:lnTo>
                  <a:lnTo>
                    <a:pt x="1584854" y="285750"/>
                  </a:lnTo>
                  <a:lnTo>
                    <a:pt x="1584854" y="288396"/>
                  </a:lnTo>
                  <a:lnTo>
                    <a:pt x="1590146" y="280458"/>
                  </a:lnTo>
                  <a:lnTo>
                    <a:pt x="1598083" y="275167"/>
                  </a:lnTo>
                  <a:lnTo>
                    <a:pt x="1606021" y="272521"/>
                  </a:lnTo>
                  <a:lnTo>
                    <a:pt x="1613958" y="267229"/>
                  </a:lnTo>
                  <a:lnTo>
                    <a:pt x="1616604" y="264583"/>
                  </a:lnTo>
                  <a:lnTo>
                    <a:pt x="1619250" y="267229"/>
                  </a:lnTo>
                  <a:lnTo>
                    <a:pt x="1619250" y="272521"/>
                  </a:lnTo>
                  <a:lnTo>
                    <a:pt x="1619250" y="275167"/>
                  </a:lnTo>
                  <a:lnTo>
                    <a:pt x="1621896" y="275167"/>
                  </a:lnTo>
                  <a:lnTo>
                    <a:pt x="1621896" y="272521"/>
                  </a:lnTo>
                  <a:lnTo>
                    <a:pt x="1624542" y="267229"/>
                  </a:lnTo>
                  <a:lnTo>
                    <a:pt x="1627187" y="264583"/>
                  </a:lnTo>
                  <a:lnTo>
                    <a:pt x="1635125" y="259292"/>
                  </a:lnTo>
                  <a:lnTo>
                    <a:pt x="1640417" y="259292"/>
                  </a:lnTo>
                  <a:lnTo>
                    <a:pt x="1643062" y="256646"/>
                  </a:lnTo>
                  <a:lnTo>
                    <a:pt x="1643062" y="251354"/>
                  </a:lnTo>
                  <a:lnTo>
                    <a:pt x="1643062" y="246062"/>
                  </a:lnTo>
                  <a:lnTo>
                    <a:pt x="1643062" y="243417"/>
                  </a:lnTo>
                  <a:lnTo>
                    <a:pt x="1645708" y="243417"/>
                  </a:lnTo>
                  <a:lnTo>
                    <a:pt x="1653646" y="235479"/>
                  </a:lnTo>
                  <a:lnTo>
                    <a:pt x="1658937" y="230187"/>
                  </a:lnTo>
                  <a:lnTo>
                    <a:pt x="1664229" y="224896"/>
                  </a:lnTo>
                  <a:lnTo>
                    <a:pt x="1666875" y="224896"/>
                  </a:lnTo>
                  <a:lnTo>
                    <a:pt x="1666875" y="227542"/>
                  </a:lnTo>
                  <a:lnTo>
                    <a:pt x="1672167" y="232833"/>
                  </a:lnTo>
                  <a:lnTo>
                    <a:pt x="1677458" y="235479"/>
                  </a:lnTo>
                  <a:lnTo>
                    <a:pt x="1680104" y="238125"/>
                  </a:lnTo>
                  <a:lnTo>
                    <a:pt x="1680104" y="240771"/>
                  </a:lnTo>
                  <a:lnTo>
                    <a:pt x="1680104" y="243417"/>
                  </a:lnTo>
                  <a:lnTo>
                    <a:pt x="1680104" y="246062"/>
                  </a:lnTo>
                  <a:lnTo>
                    <a:pt x="1682750" y="248708"/>
                  </a:lnTo>
                  <a:lnTo>
                    <a:pt x="1682750" y="251354"/>
                  </a:lnTo>
                  <a:lnTo>
                    <a:pt x="1682750" y="256646"/>
                  </a:lnTo>
                  <a:lnTo>
                    <a:pt x="1685396" y="256646"/>
                  </a:lnTo>
                  <a:lnTo>
                    <a:pt x="1688042" y="259292"/>
                  </a:lnTo>
                  <a:lnTo>
                    <a:pt x="1688042" y="264583"/>
                  </a:lnTo>
                  <a:lnTo>
                    <a:pt x="1688042" y="267229"/>
                  </a:lnTo>
                  <a:lnTo>
                    <a:pt x="1688042" y="269875"/>
                  </a:lnTo>
                  <a:lnTo>
                    <a:pt x="1693333" y="272521"/>
                  </a:lnTo>
                  <a:lnTo>
                    <a:pt x="1695979" y="277812"/>
                  </a:lnTo>
                  <a:lnTo>
                    <a:pt x="1695979" y="280458"/>
                  </a:lnTo>
                  <a:lnTo>
                    <a:pt x="1693333" y="285750"/>
                  </a:lnTo>
                  <a:lnTo>
                    <a:pt x="1701271" y="288396"/>
                  </a:lnTo>
                  <a:lnTo>
                    <a:pt x="1703917" y="291042"/>
                  </a:lnTo>
                  <a:lnTo>
                    <a:pt x="1703917" y="293687"/>
                  </a:lnTo>
                  <a:lnTo>
                    <a:pt x="1703917" y="296333"/>
                  </a:lnTo>
                  <a:lnTo>
                    <a:pt x="1695979" y="301625"/>
                  </a:lnTo>
                  <a:lnTo>
                    <a:pt x="1680104" y="306917"/>
                  </a:lnTo>
                  <a:lnTo>
                    <a:pt x="1688042" y="306917"/>
                  </a:lnTo>
                  <a:lnTo>
                    <a:pt x="1703917" y="304271"/>
                  </a:lnTo>
                  <a:lnTo>
                    <a:pt x="1706562" y="304271"/>
                  </a:lnTo>
                  <a:lnTo>
                    <a:pt x="1709208" y="304271"/>
                  </a:lnTo>
                  <a:lnTo>
                    <a:pt x="1706562" y="309562"/>
                  </a:lnTo>
                  <a:lnTo>
                    <a:pt x="1701271" y="314854"/>
                  </a:lnTo>
                  <a:lnTo>
                    <a:pt x="1701271" y="320146"/>
                  </a:lnTo>
                  <a:lnTo>
                    <a:pt x="1703917" y="322792"/>
                  </a:lnTo>
                  <a:lnTo>
                    <a:pt x="1706562" y="325438"/>
                  </a:lnTo>
                  <a:lnTo>
                    <a:pt x="1709208" y="328083"/>
                  </a:lnTo>
                  <a:lnTo>
                    <a:pt x="1709208" y="336021"/>
                  </a:lnTo>
                  <a:lnTo>
                    <a:pt x="1709208" y="343958"/>
                  </a:lnTo>
                  <a:lnTo>
                    <a:pt x="1711854" y="341313"/>
                  </a:lnTo>
                  <a:lnTo>
                    <a:pt x="1717146" y="341313"/>
                  </a:lnTo>
                  <a:lnTo>
                    <a:pt x="1719792" y="343958"/>
                  </a:lnTo>
                  <a:lnTo>
                    <a:pt x="1719792" y="346604"/>
                  </a:lnTo>
                  <a:lnTo>
                    <a:pt x="1719792" y="349250"/>
                  </a:lnTo>
                  <a:lnTo>
                    <a:pt x="1725083" y="349250"/>
                  </a:lnTo>
                  <a:lnTo>
                    <a:pt x="1730375" y="349250"/>
                  </a:lnTo>
                  <a:lnTo>
                    <a:pt x="1730375" y="351896"/>
                  </a:lnTo>
                  <a:lnTo>
                    <a:pt x="1735667" y="354542"/>
                  </a:lnTo>
                  <a:lnTo>
                    <a:pt x="1740958" y="354542"/>
                  </a:lnTo>
                  <a:lnTo>
                    <a:pt x="1740958" y="357188"/>
                  </a:lnTo>
                  <a:lnTo>
                    <a:pt x="1743604" y="359833"/>
                  </a:lnTo>
                  <a:lnTo>
                    <a:pt x="1748896" y="359833"/>
                  </a:lnTo>
                  <a:lnTo>
                    <a:pt x="1764771" y="362479"/>
                  </a:lnTo>
                  <a:lnTo>
                    <a:pt x="1767417" y="365125"/>
                  </a:lnTo>
                  <a:lnTo>
                    <a:pt x="1759479" y="367771"/>
                  </a:lnTo>
                  <a:lnTo>
                    <a:pt x="1735667" y="370417"/>
                  </a:lnTo>
                  <a:lnTo>
                    <a:pt x="1725083" y="373063"/>
                  </a:lnTo>
                  <a:lnTo>
                    <a:pt x="1711854" y="375708"/>
                  </a:lnTo>
                  <a:lnTo>
                    <a:pt x="1701271" y="375708"/>
                  </a:lnTo>
                  <a:lnTo>
                    <a:pt x="1701271" y="378354"/>
                  </a:lnTo>
                  <a:lnTo>
                    <a:pt x="1688042" y="386292"/>
                  </a:lnTo>
                  <a:lnTo>
                    <a:pt x="1701271" y="386292"/>
                  </a:lnTo>
                  <a:lnTo>
                    <a:pt x="1714500" y="383646"/>
                  </a:lnTo>
                  <a:lnTo>
                    <a:pt x="1738312" y="375708"/>
                  </a:lnTo>
                  <a:lnTo>
                    <a:pt x="1754187" y="373063"/>
                  </a:lnTo>
                  <a:lnTo>
                    <a:pt x="1759479" y="373063"/>
                  </a:lnTo>
                  <a:lnTo>
                    <a:pt x="1767417" y="375708"/>
                  </a:lnTo>
                  <a:lnTo>
                    <a:pt x="1770062" y="378354"/>
                  </a:lnTo>
                  <a:lnTo>
                    <a:pt x="1767417" y="381000"/>
                  </a:lnTo>
                  <a:lnTo>
                    <a:pt x="1764771" y="381000"/>
                  </a:lnTo>
                  <a:lnTo>
                    <a:pt x="1767417" y="383646"/>
                  </a:lnTo>
                  <a:lnTo>
                    <a:pt x="1770062" y="383646"/>
                  </a:lnTo>
                  <a:lnTo>
                    <a:pt x="1775354" y="383646"/>
                  </a:lnTo>
                  <a:lnTo>
                    <a:pt x="1780646" y="381000"/>
                  </a:lnTo>
                  <a:lnTo>
                    <a:pt x="1785937" y="383646"/>
                  </a:lnTo>
                  <a:lnTo>
                    <a:pt x="1791229" y="386292"/>
                  </a:lnTo>
                  <a:lnTo>
                    <a:pt x="1791229" y="391583"/>
                  </a:lnTo>
                  <a:lnTo>
                    <a:pt x="1785937" y="394229"/>
                  </a:lnTo>
                  <a:lnTo>
                    <a:pt x="1783292" y="396875"/>
                  </a:lnTo>
                  <a:lnTo>
                    <a:pt x="1785937" y="402167"/>
                  </a:lnTo>
                  <a:lnTo>
                    <a:pt x="1788583" y="404813"/>
                  </a:lnTo>
                  <a:lnTo>
                    <a:pt x="1785937" y="404813"/>
                  </a:lnTo>
                  <a:lnTo>
                    <a:pt x="1788583" y="407458"/>
                  </a:lnTo>
                  <a:lnTo>
                    <a:pt x="1791229" y="410104"/>
                  </a:lnTo>
                  <a:lnTo>
                    <a:pt x="1791229" y="412750"/>
                  </a:lnTo>
                  <a:lnTo>
                    <a:pt x="1791229" y="418042"/>
                  </a:lnTo>
                  <a:lnTo>
                    <a:pt x="1785937" y="420688"/>
                  </a:lnTo>
                  <a:lnTo>
                    <a:pt x="1778000" y="425979"/>
                  </a:lnTo>
                  <a:lnTo>
                    <a:pt x="1767417" y="431271"/>
                  </a:lnTo>
                  <a:lnTo>
                    <a:pt x="1762125" y="428625"/>
                  </a:lnTo>
                  <a:lnTo>
                    <a:pt x="1759479" y="428625"/>
                  </a:lnTo>
                  <a:lnTo>
                    <a:pt x="1743604" y="436563"/>
                  </a:lnTo>
                  <a:lnTo>
                    <a:pt x="1730375" y="441854"/>
                  </a:lnTo>
                  <a:lnTo>
                    <a:pt x="1727729" y="441854"/>
                  </a:lnTo>
                  <a:lnTo>
                    <a:pt x="1727729" y="444500"/>
                  </a:lnTo>
                  <a:lnTo>
                    <a:pt x="1727729" y="447146"/>
                  </a:lnTo>
                  <a:lnTo>
                    <a:pt x="1725083" y="447146"/>
                  </a:lnTo>
                  <a:lnTo>
                    <a:pt x="1722437" y="447146"/>
                  </a:lnTo>
                  <a:lnTo>
                    <a:pt x="1717146" y="452438"/>
                  </a:lnTo>
                  <a:lnTo>
                    <a:pt x="1714500" y="455083"/>
                  </a:lnTo>
                  <a:lnTo>
                    <a:pt x="1711854" y="455083"/>
                  </a:lnTo>
                  <a:lnTo>
                    <a:pt x="1706562" y="455083"/>
                  </a:lnTo>
                  <a:lnTo>
                    <a:pt x="1685396" y="463021"/>
                  </a:lnTo>
                  <a:lnTo>
                    <a:pt x="1666875" y="468313"/>
                  </a:lnTo>
                  <a:lnTo>
                    <a:pt x="1658937" y="468313"/>
                  </a:lnTo>
                  <a:lnTo>
                    <a:pt x="1651000" y="465667"/>
                  </a:lnTo>
                  <a:lnTo>
                    <a:pt x="1632479" y="468313"/>
                  </a:lnTo>
                  <a:lnTo>
                    <a:pt x="1621896" y="468313"/>
                  </a:lnTo>
                  <a:lnTo>
                    <a:pt x="1616604" y="468313"/>
                  </a:lnTo>
                  <a:lnTo>
                    <a:pt x="1606021" y="465667"/>
                  </a:lnTo>
                  <a:lnTo>
                    <a:pt x="1571625" y="465667"/>
                  </a:lnTo>
                  <a:lnTo>
                    <a:pt x="1521354" y="470959"/>
                  </a:lnTo>
                  <a:lnTo>
                    <a:pt x="1513417" y="473604"/>
                  </a:lnTo>
                  <a:lnTo>
                    <a:pt x="1510771" y="476250"/>
                  </a:lnTo>
                  <a:lnTo>
                    <a:pt x="1510771" y="478896"/>
                  </a:lnTo>
                  <a:lnTo>
                    <a:pt x="1508125" y="484188"/>
                  </a:lnTo>
                  <a:lnTo>
                    <a:pt x="1502833" y="486834"/>
                  </a:lnTo>
                  <a:lnTo>
                    <a:pt x="1481667" y="489479"/>
                  </a:lnTo>
                  <a:lnTo>
                    <a:pt x="1473729" y="492125"/>
                  </a:lnTo>
                  <a:lnTo>
                    <a:pt x="1468438" y="497417"/>
                  </a:lnTo>
                  <a:lnTo>
                    <a:pt x="1465792" y="500063"/>
                  </a:lnTo>
                  <a:lnTo>
                    <a:pt x="1460500" y="497417"/>
                  </a:lnTo>
                  <a:lnTo>
                    <a:pt x="1457854" y="497417"/>
                  </a:lnTo>
                  <a:lnTo>
                    <a:pt x="1455208" y="500063"/>
                  </a:lnTo>
                  <a:lnTo>
                    <a:pt x="1452563" y="502709"/>
                  </a:lnTo>
                  <a:lnTo>
                    <a:pt x="1447271" y="505354"/>
                  </a:lnTo>
                  <a:lnTo>
                    <a:pt x="1439333" y="508000"/>
                  </a:lnTo>
                  <a:lnTo>
                    <a:pt x="1431396" y="510646"/>
                  </a:lnTo>
                  <a:lnTo>
                    <a:pt x="1415521" y="523875"/>
                  </a:lnTo>
                  <a:lnTo>
                    <a:pt x="1399646" y="534459"/>
                  </a:lnTo>
                  <a:lnTo>
                    <a:pt x="1386417" y="542396"/>
                  </a:lnTo>
                  <a:lnTo>
                    <a:pt x="1378479" y="545042"/>
                  </a:lnTo>
                  <a:lnTo>
                    <a:pt x="1375833" y="547688"/>
                  </a:lnTo>
                  <a:lnTo>
                    <a:pt x="1370542" y="552979"/>
                  </a:lnTo>
                  <a:lnTo>
                    <a:pt x="1359958" y="560917"/>
                  </a:lnTo>
                  <a:lnTo>
                    <a:pt x="1373188" y="555625"/>
                  </a:lnTo>
                  <a:lnTo>
                    <a:pt x="1391708" y="545042"/>
                  </a:lnTo>
                  <a:lnTo>
                    <a:pt x="1412875" y="531813"/>
                  </a:lnTo>
                  <a:lnTo>
                    <a:pt x="1447271" y="518584"/>
                  </a:lnTo>
                  <a:lnTo>
                    <a:pt x="1481667" y="508000"/>
                  </a:lnTo>
                  <a:lnTo>
                    <a:pt x="1510771" y="500063"/>
                  </a:lnTo>
                  <a:lnTo>
                    <a:pt x="1529292" y="497417"/>
                  </a:lnTo>
                  <a:lnTo>
                    <a:pt x="1539875" y="500063"/>
                  </a:lnTo>
                  <a:lnTo>
                    <a:pt x="1547812" y="502709"/>
                  </a:lnTo>
                  <a:lnTo>
                    <a:pt x="1550458" y="508000"/>
                  </a:lnTo>
                  <a:lnTo>
                    <a:pt x="1547812" y="510646"/>
                  </a:lnTo>
                  <a:lnTo>
                    <a:pt x="1547812" y="508000"/>
                  </a:lnTo>
                  <a:lnTo>
                    <a:pt x="1545167" y="508000"/>
                  </a:lnTo>
                  <a:lnTo>
                    <a:pt x="1545167" y="510646"/>
                  </a:lnTo>
                  <a:lnTo>
                    <a:pt x="1545167" y="513292"/>
                  </a:lnTo>
                  <a:lnTo>
                    <a:pt x="1547812" y="513292"/>
                  </a:lnTo>
                  <a:lnTo>
                    <a:pt x="1547812" y="515938"/>
                  </a:lnTo>
                  <a:lnTo>
                    <a:pt x="1542521" y="518584"/>
                  </a:lnTo>
                  <a:lnTo>
                    <a:pt x="1539875" y="518584"/>
                  </a:lnTo>
                  <a:lnTo>
                    <a:pt x="1531937" y="518584"/>
                  </a:lnTo>
                  <a:lnTo>
                    <a:pt x="1524000" y="523875"/>
                  </a:lnTo>
                  <a:lnTo>
                    <a:pt x="1516063" y="526521"/>
                  </a:lnTo>
                  <a:lnTo>
                    <a:pt x="1510771" y="526521"/>
                  </a:lnTo>
                  <a:lnTo>
                    <a:pt x="1505479" y="526521"/>
                  </a:lnTo>
                  <a:lnTo>
                    <a:pt x="1497542" y="531813"/>
                  </a:lnTo>
                  <a:lnTo>
                    <a:pt x="1505479" y="531813"/>
                  </a:lnTo>
                  <a:lnTo>
                    <a:pt x="1508125" y="531813"/>
                  </a:lnTo>
                  <a:lnTo>
                    <a:pt x="1516063" y="531813"/>
                  </a:lnTo>
                  <a:lnTo>
                    <a:pt x="1518708" y="531813"/>
                  </a:lnTo>
                  <a:lnTo>
                    <a:pt x="1521354" y="534459"/>
                  </a:lnTo>
                  <a:lnTo>
                    <a:pt x="1521354" y="537104"/>
                  </a:lnTo>
                  <a:lnTo>
                    <a:pt x="1521354" y="539750"/>
                  </a:lnTo>
                  <a:lnTo>
                    <a:pt x="1516063" y="545042"/>
                  </a:lnTo>
                  <a:lnTo>
                    <a:pt x="1508125" y="547688"/>
                  </a:lnTo>
                  <a:lnTo>
                    <a:pt x="1513417" y="550334"/>
                  </a:lnTo>
                  <a:lnTo>
                    <a:pt x="1516063" y="555625"/>
                  </a:lnTo>
                  <a:lnTo>
                    <a:pt x="1521354" y="566209"/>
                  </a:lnTo>
                  <a:lnTo>
                    <a:pt x="1524000" y="576792"/>
                  </a:lnTo>
                  <a:lnTo>
                    <a:pt x="1531937" y="579438"/>
                  </a:lnTo>
                  <a:lnTo>
                    <a:pt x="1537229" y="582084"/>
                  </a:lnTo>
                  <a:lnTo>
                    <a:pt x="1539875" y="587375"/>
                  </a:lnTo>
                  <a:lnTo>
                    <a:pt x="1550458" y="590021"/>
                  </a:lnTo>
                  <a:lnTo>
                    <a:pt x="1558396" y="590021"/>
                  </a:lnTo>
                  <a:lnTo>
                    <a:pt x="1561042" y="592667"/>
                  </a:lnTo>
                  <a:lnTo>
                    <a:pt x="1561042" y="595313"/>
                  </a:lnTo>
                  <a:lnTo>
                    <a:pt x="1568979" y="592667"/>
                  </a:lnTo>
                  <a:lnTo>
                    <a:pt x="1576917" y="590021"/>
                  </a:lnTo>
                  <a:lnTo>
                    <a:pt x="1576917" y="592667"/>
                  </a:lnTo>
                  <a:lnTo>
                    <a:pt x="1576917" y="595313"/>
                  </a:lnTo>
                  <a:lnTo>
                    <a:pt x="1582208" y="592667"/>
                  </a:lnTo>
                  <a:lnTo>
                    <a:pt x="1587500" y="592667"/>
                  </a:lnTo>
                  <a:lnTo>
                    <a:pt x="1592792" y="592667"/>
                  </a:lnTo>
                  <a:lnTo>
                    <a:pt x="1592792" y="595313"/>
                  </a:lnTo>
                  <a:lnTo>
                    <a:pt x="1590146" y="595313"/>
                  </a:lnTo>
                  <a:lnTo>
                    <a:pt x="1595437" y="597959"/>
                  </a:lnTo>
                  <a:lnTo>
                    <a:pt x="1592792" y="603250"/>
                  </a:lnTo>
                  <a:lnTo>
                    <a:pt x="1584854" y="605896"/>
                  </a:lnTo>
                  <a:lnTo>
                    <a:pt x="1576917" y="608542"/>
                  </a:lnTo>
                  <a:lnTo>
                    <a:pt x="1568979" y="611188"/>
                  </a:lnTo>
                  <a:lnTo>
                    <a:pt x="1561042" y="616479"/>
                  </a:lnTo>
                  <a:lnTo>
                    <a:pt x="1553104" y="621771"/>
                  </a:lnTo>
                  <a:lnTo>
                    <a:pt x="1545167" y="619125"/>
                  </a:lnTo>
                  <a:lnTo>
                    <a:pt x="1539875" y="619125"/>
                  </a:lnTo>
                  <a:lnTo>
                    <a:pt x="1537229" y="621771"/>
                  </a:lnTo>
                  <a:lnTo>
                    <a:pt x="1537229" y="624417"/>
                  </a:lnTo>
                  <a:lnTo>
                    <a:pt x="1526646" y="624417"/>
                  </a:lnTo>
                  <a:lnTo>
                    <a:pt x="1518708" y="621771"/>
                  </a:lnTo>
                  <a:lnTo>
                    <a:pt x="1516063" y="624417"/>
                  </a:lnTo>
                  <a:lnTo>
                    <a:pt x="1513417" y="627063"/>
                  </a:lnTo>
                  <a:lnTo>
                    <a:pt x="1505479" y="629709"/>
                  </a:lnTo>
                  <a:lnTo>
                    <a:pt x="1500188" y="629709"/>
                  </a:lnTo>
                  <a:lnTo>
                    <a:pt x="1500188" y="632354"/>
                  </a:lnTo>
                  <a:lnTo>
                    <a:pt x="1502833" y="635000"/>
                  </a:lnTo>
                  <a:lnTo>
                    <a:pt x="1497542" y="637646"/>
                  </a:lnTo>
                  <a:lnTo>
                    <a:pt x="1489604" y="642938"/>
                  </a:lnTo>
                  <a:lnTo>
                    <a:pt x="1481667" y="645584"/>
                  </a:lnTo>
                  <a:lnTo>
                    <a:pt x="1476375" y="650875"/>
                  </a:lnTo>
                  <a:lnTo>
                    <a:pt x="1471083" y="650875"/>
                  </a:lnTo>
                  <a:lnTo>
                    <a:pt x="1468438" y="648229"/>
                  </a:lnTo>
                  <a:lnTo>
                    <a:pt x="1468438" y="650875"/>
                  </a:lnTo>
                  <a:lnTo>
                    <a:pt x="1468438" y="653521"/>
                  </a:lnTo>
                  <a:lnTo>
                    <a:pt x="1465792" y="656167"/>
                  </a:lnTo>
                  <a:lnTo>
                    <a:pt x="1460500" y="653521"/>
                  </a:lnTo>
                  <a:lnTo>
                    <a:pt x="1460500" y="650875"/>
                  </a:lnTo>
                  <a:lnTo>
                    <a:pt x="1460500" y="645584"/>
                  </a:lnTo>
                  <a:lnTo>
                    <a:pt x="1457854" y="640292"/>
                  </a:lnTo>
                  <a:lnTo>
                    <a:pt x="1460500" y="635000"/>
                  </a:lnTo>
                  <a:lnTo>
                    <a:pt x="1479021" y="619125"/>
                  </a:lnTo>
                  <a:lnTo>
                    <a:pt x="1492250" y="611188"/>
                  </a:lnTo>
                  <a:lnTo>
                    <a:pt x="1502833" y="608542"/>
                  </a:lnTo>
                  <a:lnTo>
                    <a:pt x="1513417" y="608542"/>
                  </a:lnTo>
                  <a:lnTo>
                    <a:pt x="1518708" y="608542"/>
                  </a:lnTo>
                  <a:lnTo>
                    <a:pt x="1539875" y="603250"/>
                  </a:lnTo>
                  <a:lnTo>
                    <a:pt x="1526646" y="605896"/>
                  </a:lnTo>
                  <a:lnTo>
                    <a:pt x="1513417" y="603250"/>
                  </a:lnTo>
                  <a:lnTo>
                    <a:pt x="1508125" y="603250"/>
                  </a:lnTo>
                  <a:lnTo>
                    <a:pt x="1500188" y="605896"/>
                  </a:lnTo>
                  <a:lnTo>
                    <a:pt x="1494896" y="605896"/>
                  </a:lnTo>
                  <a:lnTo>
                    <a:pt x="1489604" y="605896"/>
                  </a:lnTo>
                  <a:lnTo>
                    <a:pt x="1492250" y="603250"/>
                  </a:lnTo>
                  <a:lnTo>
                    <a:pt x="1500188" y="600604"/>
                  </a:lnTo>
                  <a:lnTo>
                    <a:pt x="1505479" y="597959"/>
                  </a:lnTo>
                  <a:lnTo>
                    <a:pt x="1505479" y="595313"/>
                  </a:lnTo>
                  <a:lnTo>
                    <a:pt x="1505479" y="590021"/>
                  </a:lnTo>
                  <a:lnTo>
                    <a:pt x="1500188" y="587375"/>
                  </a:lnTo>
                  <a:lnTo>
                    <a:pt x="1502833" y="592667"/>
                  </a:lnTo>
                  <a:lnTo>
                    <a:pt x="1500188" y="595313"/>
                  </a:lnTo>
                  <a:lnTo>
                    <a:pt x="1484313" y="605896"/>
                  </a:lnTo>
                  <a:lnTo>
                    <a:pt x="1471083" y="608542"/>
                  </a:lnTo>
                  <a:lnTo>
                    <a:pt x="1463146" y="608542"/>
                  </a:lnTo>
                  <a:lnTo>
                    <a:pt x="1457854" y="608542"/>
                  </a:lnTo>
                  <a:lnTo>
                    <a:pt x="1452563" y="611188"/>
                  </a:lnTo>
                  <a:lnTo>
                    <a:pt x="1449917" y="605896"/>
                  </a:lnTo>
                  <a:lnTo>
                    <a:pt x="1444625" y="605896"/>
                  </a:lnTo>
                  <a:lnTo>
                    <a:pt x="1444625" y="608542"/>
                  </a:lnTo>
                  <a:lnTo>
                    <a:pt x="1439333" y="603250"/>
                  </a:lnTo>
                  <a:lnTo>
                    <a:pt x="1436688" y="597959"/>
                  </a:lnTo>
                  <a:lnTo>
                    <a:pt x="1434042" y="595313"/>
                  </a:lnTo>
                  <a:lnTo>
                    <a:pt x="1431396" y="595313"/>
                  </a:lnTo>
                  <a:lnTo>
                    <a:pt x="1431396" y="590021"/>
                  </a:lnTo>
                  <a:lnTo>
                    <a:pt x="1441979" y="555625"/>
                  </a:lnTo>
                  <a:lnTo>
                    <a:pt x="1444625" y="552979"/>
                  </a:lnTo>
                  <a:lnTo>
                    <a:pt x="1441979" y="550334"/>
                  </a:lnTo>
                  <a:lnTo>
                    <a:pt x="1439333" y="547688"/>
                  </a:lnTo>
                  <a:lnTo>
                    <a:pt x="1436688" y="542396"/>
                  </a:lnTo>
                  <a:lnTo>
                    <a:pt x="1434042" y="542396"/>
                  </a:lnTo>
                  <a:lnTo>
                    <a:pt x="1418167" y="547688"/>
                  </a:lnTo>
                  <a:lnTo>
                    <a:pt x="1412875" y="550334"/>
                  </a:lnTo>
                  <a:lnTo>
                    <a:pt x="1410229" y="550334"/>
                  </a:lnTo>
                  <a:lnTo>
                    <a:pt x="1404938" y="547688"/>
                  </a:lnTo>
                  <a:lnTo>
                    <a:pt x="1402292" y="547688"/>
                  </a:lnTo>
                  <a:lnTo>
                    <a:pt x="1391708" y="555625"/>
                  </a:lnTo>
                  <a:lnTo>
                    <a:pt x="1386417" y="560917"/>
                  </a:lnTo>
                  <a:lnTo>
                    <a:pt x="1383771" y="563563"/>
                  </a:lnTo>
                  <a:lnTo>
                    <a:pt x="1378479" y="566209"/>
                  </a:lnTo>
                  <a:lnTo>
                    <a:pt x="1375833" y="571500"/>
                  </a:lnTo>
                  <a:lnTo>
                    <a:pt x="1367896" y="579438"/>
                  </a:lnTo>
                  <a:lnTo>
                    <a:pt x="1365250" y="582084"/>
                  </a:lnTo>
                  <a:lnTo>
                    <a:pt x="1365250" y="584729"/>
                  </a:lnTo>
                  <a:lnTo>
                    <a:pt x="1362604" y="590021"/>
                  </a:lnTo>
                  <a:lnTo>
                    <a:pt x="1357313" y="592667"/>
                  </a:lnTo>
                  <a:lnTo>
                    <a:pt x="1352021" y="595313"/>
                  </a:lnTo>
                  <a:lnTo>
                    <a:pt x="1346729" y="600604"/>
                  </a:lnTo>
                  <a:lnTo>
                    <a:pt x="1341438" y="603250"/>
                  </a:lnTo>
                  <a:lnTo>
                    <a:pt x="1338792" y="605896"/>
                  </a:lnTo>
                  <a:lnTo>
                    <a:pt x="1336146" y="605896"/>
                  </a:lnTo>
                  <a:lnTo>
                    <a:pt x="1328208" y="611188"/>
                  </a:lnTo>
                  <a:lnTo>
                    <a:pt x="1243542" y="611188"/>
                  </a:lnTo>
                  <a:lnTo>
                    <a:pt x="1238250" y="611188"/>
                  </a:lnTo>
                  <a:lnTo>
                    <a:pt x="1230313" y="613834"/>
                  </a:lnTo>
                  <a:lnTo>
                    <a:pt x="1222375" y="624417"/>
                  </a:lnTo>
                  <a:lnTo>
                    <a:pt x="1214438" y="632354"/>
                  </a:lnTo>
                  <a:lnTo>
                    <a:pt x="1206500" y="637646"/>
                  </a:lnTo>
                  <a:lnTo>
                    <a:pt x="1201208" y="640292"/>
                  </a:lnTo>
                  <a:lnTo>
                    <a:pt x="1190625" y="640292"/>
                  </a:lnTo>
                  <a:lnTo>
                    <a:pt x="1185333" y="640292"/>
                  </a:lnTo>
                  <a:lnTo>
                    <a:pt x="1187979" y="642938"/>
                  </a:lnTo>
                  <a:lnTo>
                    <a:pt x="1190625" y="642938"/>
                  </a:lnTo>
                  <a:lnTo>
                    <a:pt x="1190625" y="645584"/>
                  </a:lnTo>
                  <a:lnTo>
                    <a:pt x="1187979" y="645584"/>
                  </a:lnTo>
                  <a:lnTo>
                    <a:pt x="1185333" y="648229"/>
                  </a:lnTo>
                  <a:lnTo>
                    <a:pt x="1180042" y="648229"/>
                  </a:lnTo>
                  <a:lnTo>
                    <a:pt x="1172104" y="645584"/>
                  </a:lnTo>
                  <a:lnTo>
                    <a:pt x="1156229" y="645584"/>
                  </a:lnTo>
                  <a:lnTo>
                    <a:pt x="1137708" y="648229"/>
                  </a:lnTo>
                  <a:lnTo>
                    <a:pt x="1121833" y="656167"/>
                  </a:lnTo>
                  <a:lnTo>
                    <a:pt x="1111250" y="661459"/>
                  </a:lnTo>
                  <a:lnTo>
                    <a:pt x="1108604" y="664104"/>
                  </a:lnTo>
                  <a:lnTo>
                    <a:pt x="1111250" y="666750"/>
                  </a:lnTo>
                  <a:lnTo>
                    <a:pt x="1121833" y="669396"/>
                  </a:lnTo>
                  <a:lnTo>
                    <a:pt x="1121833" y="672042"/>
                  </a:lnTo>
                  <a:lnTo>
                    <a:pt x="1121833" y="674688"/>
                  </a:lnTo>
                  <a:lnTo>
                    <a:pt x="1113896" y="674688"/>
                  </a:lnTo>
                  <a:lnTo>
                    <a:pt x="1103313" y="674688"/>
                  </a:lnTo>
                  <a:lnTo>
                    <a:pt x="1098021" y="677334"/>
                  </a:lnTo>
                  <a:lnTo>
                    <a:pt x="1095375" y="679979"/>
                  </a:lnTo>
                  <a:lnTo>
                    <a:pt x="1100667" y="679979"/>
                  </a:lnTo>
                  <a:lnTo>
                    <a:pt x="1098021" y="682625"/>
                  </a:lnTo>
                  <a:lnTo>
                    <a:pt x="1087438" y="679979"/>
                  </a:lnTo>
                  <a:lnTo>
                    <a:pt x="1079500" y="679979"/>
                  </a:lnTo>
                  <a:lnTo>
                    <a:pt x="1074208" y="682625"/>
                  </a:lnTo>
                  <a:lnTo>
                    <a:pt x="1071563" y="685271"/>
                  </a:lnTo>
                  <a:lnTo>
                    <a:pt x="1068917" y="687917"/>
                  </a:lnTo>
                  <a:lnTo>
                    <a:pt x="1063625" y="687917"/>
                  </a:lnTo>
                  <a:lnTo>
                    <a:pt x="1060979" y="687917"/>
                  </a:lnTo>
                  <a:lnTo>
                    <a:pt x="1055688" y="690563"/>
                  </a:lnTo>
                  <a:lnTo>
                    <a:pt x="1045104" y="690563"/>
                  </a:lnTo>
                  <a:lnTo>
                    <a:pt x="1039812" y="695854"/>
                  </a:lnTo>
                  <a:lnTo>
                    <a:pt x="1034521" y="701146"/>
                  </a:lnTo>
                  <a:lnTo>
                    <a:pt x="1031875" y="701146"/>
                  </a:lnTo>
                  <a:lnTo>
                    <a:pt x="1031875" y="698500"/>
                  </a:lnTo>
                  <a:lnTo>
                    <a:pt x="1026583" y="698500"/>
                  </a:lnTo>
                  <a:lnTo>
                    <a:pt x="1023937" y="698500"/>
                  </a:lnTo>
                  <a:lnTo>
                    <a:pt x="1021292" y="698500"/>
                  </a:lnTo>
                  <a:lnTo>
                    <a:pt x="1016000" y="695854"/>
                  </a:lnTo>
                  <a:lnTo>
                    <a:pt x="1021292" y="690563"/>
                  </a:lnTo>
                  <a:lnTo>
                    <a:pt x="1026583" y="685271"/>
                  </a:lnTo>
                  <a:lnTo>
                    <a:pt x="1034521" y="685271"/>
                  </a:lnTo>
                  <a:lnTo>
                    <a:pt x="1037167" y="682625"/>
                  </a:lnTo>
                  <a:lnTo>
                    <a:pt x="1034521" y="679979"/>
                  </a:lnTo>
                  <a:lnTo>
                    <a:pt x="1034521" y="674688"/>
                  </a:lnTo>
                  <a:lnTo>
                    <a:pt x="1037167" y="669396"/>
                  </a:lnTo>
                  <a:lnTo>
                    <a:pt x="1042458" y="664104"/>
                  </a:lnTo>
                  <a:lnTo>
                    <a:pt x="1053042" y="661459"/>
                  </a:lnTo>
                  <a:lnTo>
                    <a:pt x="1063625" y="653521"/>
                  </a:lnTo>
                  <a:lnTo>
                    <a:pt x="1063625" y="648229"/>
                  </a:lnTo>
                  <a:lnTo>
                    <a:pt x="1063625" y="642938"/>
                  </a:lnTo>
                  <a:lnTo>
                    <a:pt x="1066271" y="640292"/>
                  </a:lnTo>
                  <a:lnTo>
                    <a:pt x="1071563" y="635000"/>
                  </a:lnTo>
                  <a:lnTo>
                    <a:pt x="1084792" y="627063"/>
                  </a:lnTo>
                  <a:lnTo>
                    <a:pt x="1084792" y="621771"/>
                  </a:lnTo>
                  <a:lnTo>
                    <a:pt x="1084792" y="616479"/>
                  </a:lnTo>
                  <a:lnTo>
                    <a:pt x="1084792" y="611188"/>
                  </a:lnTo>
                  <a:lnTo>
                    <a:pt x="1082146" y="608542"/>
                  </a:lnTo>
                  <a:lnTo>
                    <a:pt x="1079500" y="608542"/>
                  </a:lnTo>
                  <a:lnTo>
                    <a:pt x="1082146" y="605896"/>
                  </a:lnTo>
                  <a:lnTo>
                    <a:pt x="1084792" y="605896"/>
                  </a:lnTo>
                  <a:lnTo>
                    <a:pt x="1087438" y="608542"/>
                  </a:lnTo>
                  <a:lnTo>
                    <a:pt x="1090083" y="611188"/>
                  </a:lnTo>
                  <a:lnTo>
                    <a:pt x="1092729" y="621771"/>
                  </a:lnTo>
                  <a:lnTo>
                    <a:pt x="1095375" y="621771"/>
                  </a:lnTo>
                  <a:lnTo>
                    <a:pt x="1098021" y="621771"/>
                  </a:lnTo>
                  <a:lnTo>
                    <a:pt x="1100667" y="621771"/>
                  </a:lnTo>
                  <a:lnTo>
                    <a:pt x="1105958" y="624417"/>
                  </a:lnTo>
                  <a:lnTo>
                    <a:pt x="1108604" y="624417"/>
                  </a:lnTo>
                  <a:lnTo>
                    <a:pt x="1111250" y="619125"/>
                  </a:lnTo>
                  <a:lnTo>
                    <a:pt x="1111250" y="616479"/>
                  </a:lnTo>
                  <a:lnTo>
                    <a:pt x="1116542" y="616479"/>
                  </a:lnTo>
                  <a:lnTo>
                    <a:pt x="1119188" y="619125"/>
                  </a:lnTo>
                  <a:lnTo>
                    <a:pt x="1121833" y="619125"/>
                  </a:lnTo>
                  <a:lnTo>
                    <a:pt x="1121833" y="616479"/>
                  </a:lnTo>
                  <a:lnTo>
                    <a:pt x="1119188" y="613834"/>
                  </a:lnTo>
                  <a:lnTo>
                    <a:pt x="1119188" y="611188"/>
                  </a:lnTo>
                  <a:lnTo>
                    <a:pt x="1119188" y="603250"/>
                  </a:lnTo>
                  <a:lnTo>
                    <a:pt x="1119188" y="600604"/>
                  </a:lnTo>
                  <a:lnTo>
                    <a:pt x="1116542" y="597959"/>
                  </a:lnTo>
                  <a:lnTo>
                    <a:pt x="1113896" y="597959"/>
                  </a:lnTo>
                  <a:lnTo>
                    <a:pt x="1108604" y="592667"/>
                  </a:lnTo>
                  <a:lnTo>
                    <a:pt x="1103313" y="584729"/>
                  </a:lnTo>
                  <a:lnTo>
                    <a:pt x="1098021" y="584729"/>
                  </a:lnTo>
                  <a:lnTo>
                    <a:pt x="1090083" y="584729"/>
                  </a:lnTo>
                  <a:lnTo>
                    <a:pt x="1082146" y="582084"/>
                  </a:lnTo>
                  <a:lnTo>
                    <a:pt x="1071563" y="579438"/>
                  </a:lnTo>
                  <a:lnTo>
                    <a:pt x="1068917" y="579438"/>
                  </a:lnTo>
                  <a:lnTo>
                    <a:pt x="1060979" y="579438"/>
                  </a:lnTo>
                  <a:lnTo>
                    <a:pt x="1053042" y="579438"/>
                  </a:lnTo>
                  <a:lnTo>
                    <a:pt x="1042458" y="576792"/>
                  </a:lnTo>
                  <a:lnTo>
                    <a:pt x="1037167" y="574146"/>
                  </a:lnTo>
                  <a:lnTo>
                    <a:pt x="1037167" y="571500"/>
                  </a:lnTo>
                  <a:lnTo>
                    <a:pt x="1039812" y="568854"/>
                  </a:lnTo>
                  <a:lnTo>
                    <a:pt x="1034521" y="566209"/>
                  </a:lnTo>
                  <a:lnTo>
                    <a:pt x="1034521" y="560917"/>
                  </a:lnTo>
                  <a:lnTo>
                    <a:pt x="1037167" y="558271"/>
                  </a:lnTo>
                  <a:lnTo>
                    <a:pt x="1034521" y="552979"/>
                  </a:lnTo>
                  <a:lnTo>
                    <a:pt x="1031875" y="550334"/>
                  </a:lnTo>
                  <a:lnTo>
                    <a:pt x="1031875" y="547688"/>
                  </a:lnTo>
                  <a:lnTo>
                    <a:pt x="1037167" y="539750"/>
                  </a:lnTo>
                  <a:lnTo>
                    <a:pt x="1034521" y="539750"/>
                  </a:lnTo>
                  <a:lnTo>
                    <a:pt x="1026583" y="539750"/>
                  </a:lnTo>
                  <a:lnTo>
                    <a:pt x="1021292" y="539750"/>
                  </a:lnTo>
                  <a:lnTo>
                    <a:pt x="1018646" y="537104"/>
                  </a:lnTo>
                  <a:lnTo>
                    <a:pt x="1016000" y="531813"/>
                  </a:lnTo>
                  <a:lnTo>
                    <a:pt x="1013354" y="526521"/>
                  </a:lnTo>
                  <a:lnTo>
                    <a:pt x="1008062" y="518584"/>
                  </a:lnTo>
                  <a:lnTo>
                    <a:pt x="1005417" y="513292"/>
                  </a:lnTo>
                  <a:lnTo>
                    <a:pt x="1000125" y="513292"/>
                  </a:lnTo>
                  <a:lnTo>
                    <a:pt x="992187" y="513292"/>
                  </a:lnTo>
                  <a:lnTo>
                    <a:pt x="986896" y="510646"/>
                  </a:lnTo>
                  <a:lnTo>
                    <a:pt x="984250" y="510646"/>
                  </a:lnTo>
                  <a:lnTo>
                    <a:pt x="978958" y="508000"/>
                  </a:lnTo>
                  <a:lnTo>
                    <a:pt x="981604" y="513292"/>
                  </a:lnTo>
                  <a:lnTo>
                    <a:pt x="978958" y="515938"/>
                  </a:lnTo>
                  <a:lnTo>
                    <a:pt x="973667" y="518584"/>
                  </a:lnTo>
                  <a:lnTo>
                    <a:pt x="973667" y="513292"/>
                  </a:lnTo>
                  <a:lnTo>
                    <a:pt x="973667" y="510646"/>
                  </a:lnTo>
                  <a:lnTo>
                    <a:pt x="971021" y="513292"/>
                  </a:lnTo>
                  <a:lnTo>
                    <a:pt x="968375" y="515938"/>
                  </a:lnTo>
                  <a:lnTo>
                    <a:pt x="965729" y="518584"/>
                  </a:lnTo>
                  <a:lnTo>
                    <a:pt x="960437" y="521229"/>
                  </a:lnTo>
                  <a:lnTo>
                    <a:pt x="957792" y="523875"/>
                  </a:lnTo>
                  <a:lnTo>
                    <a:pt x="957792" y="521229"/>
                  </a:lnTo>
                  <a:lnTo>
                    <a:pt x="955146" y="518584"/>
                  </a:lnTo>
                  <a:lnTo>
                    <a:pt x="955146" y="515938"/>
                  </a:lnTo>
                  <a:lnTo>
                    <a:pt x="949854" y="521229"/>
                  </a:lnTo>
                  <a:lnTo>
                    <a:pt x="939271" y="529167"/>
                  </a:lnTo>
                  <a:lnTo>
                    <a:pt x="931333" y="531813"/>
                  </a:lnTo>
                  <a:lnTo>
                    <a:pt x="918104" y="534459"/>
                  </a:lnTo>
                  <a:lnTo>
                    <a:pt x="910167" y="531813"/>
                  </a:lnTo>
                  <a:lnTo>
                    <a:pt x="904875" y="529167"/>
                  </a:lnTo>
                  <a:lnTo>
                    <a:pt x="891646" y="526521"/>
                  </a:lnTo>
                  <a:lnTo>
                    <a:pt x="881062" y="529167"/>
                  </a:lnTo>
                  <a:lnTo>
                    <a:pt x="875771" y="529167"/>
                  </a:lnTo>
                  <a:lnTo>
                    <a:pt x="870479" y="526521"/>
                  </a:lnTo>
                  <a:lnTo>
                    <a:pt x="865187" y="523875"/>
                  </a:lnTo>
                  <a:lnTo>
                    <a:pt x="862542" y="523875"/>
                  </a:lnTo>
                  <a:lnTo>
                    <a:pt x="857250" y="523875"/>
                  </a:lnTo>
                  <a:lnTo>
                    <a:pt x="849312" y="521229"/>
                  </a:lnTo>
                  <a:lnTo>
                    <a:pt x="836083" y="515938"/>
                  </a:lnTo>
                  <a:lnTo>
                    <a:pt x="825500" y="513292"/>
                  </a:lnTo>
                  <a:lnTo>
                    <a:pt x="817562" y="510646"/>
                  </a:lnTo>
                  <a:lnTo>
                    <a:pt x="814917" y="510646"/>
                  </a:lnTo>
                  <a:lnTo>
                    <a:pt x="814917" y="505354"/>
                  </a:lnTo>
                  <a:lnTo>
                    <a:pt x="817562" y="502709"/>
                  </a:lnTo>
                  <a:lnTo>
                    <a:pt x="820208" y="494771"/>
                  </a:lnTo>
                  <a:lnTo>
                    <a:pt x="817562" y="492125"/>
                  </a:lnTo>
                  <a:lnTo>
                    <a:pt x="812271" y="494771"/>
                  </a:lnTo>
                  <a:lnTo>
                    <a:pt x="809625" y="494771"/>
                  </a:lnTo>
                  <a:lnTo>
                    <a:pt x="804333" y="500063"/>
                  </a:lnTo>
                  <a:lnTo>
                    <a:pt x="799042" y="508000"/>
                  </a:lnTo>
                  <a:lnTo>
                    <a:pt x="791104" y="510646"/>
                  </a:lnTo>
                  <a:lnTo>
                    <a:pt x="148167" y="510646"/>
                  </a:lnTo>
                  <a:lnTo>
                    <a:pt x="132292" y="494771"/>
                  </a:lnTo>
                  <a:lnTo>
                    <a:pt x="119063" y="481542"/>
                  </a:lnTo>
                  <a:lnTo>
                    <a:pt x="111125" y="476250"/>
                  </a:lnTo>
                  <a:lnTo>
                    <a:pt x="108479" y="470959"/>
                  </a:lnTo>
                  <a:lnTo>
                    <a:pt x="103188" y="465667"/>
                  </a:lnTo>
                  <a:lnTo>
                    <a:pt x="95250" y="463021"/>
                  </a:lnTo>
                  <a:lnTo>
                    <a:pt x="87313" y="463021"/>
                  </a:lnTo>
                  <a:lnTo>
                    <a:pt x="84667" y="460375"/>
                  </a:lnTo>
                  <a:lnTo>
                    <a:pt x="79375" y="457729"/>
                  </a:lnTo>
                  <a:lnTo>
                    <a:pt x="76729" y="452438"/>
                  </a:lnTo>
                  <a:lnTo>
                    <a:pt x="82021" y="447146"/>
                  </a:lnTo>
                  <a:lnTo>
                    <a:pt x="84667" y="439208"/>
                  </a:lnTo>
                  <a:lnTo>
                    <a:pt x="87313" y="428625"/>
                  </a:lnTo>
                  <a:lnTo>
                    <a:pt x="84667" y="415396"/>
                  </a:lnTo>
                  <a:lnTo>
                    <a:pt x="87313" y="404813"/>
                  </a:lnTo>
                  <a:lnTo>
                    <a:pt x="87313" y="402167"/>
                  </a:lnTo>
                  <a:lnTo>
                    <a:pt x="87313" y="399521"/>
                  </a:lnTo>
                  <a:lnTo>
                    <a:pt x="84667" y="396875"/>
                  </a:lnTo>
                  <a:lnTo>
                    <a:pt x="82021" y="394229"/>
                  </a:lnTo>
                  <a:lnTo>
                    <a:pt x="82021" y="391583"/>
                  </a:lnTo>
                  <a:lnTo>
                    <a:pt x="89958" y="375708"/>
                  </a:lnTo>
                  <a:lnTo>
                    <a:pt x="92604" y="373063"/>
                  </a:lnTo>
                  <a:lnTo>
                    <a:pt x="89958" y="373063"/>
                  </a:lnTo>
                  <a:lnTo>
                    <a:pt x="87313" y="373063"/>
                  </a:lnTo>
                  <a:lnTo>
                    <a:pt x="95250" y="359833"/>
                  </a:lnTo>
                  <a:lnTo>
                    <a:pt x="103188" y="357188"/>
                  </a:lnTo>
                  <a:lnTo>
                    <a:pt x="105833" y="351896"/>
                  </a:lnTo>
                  <a:lnTo>
                    <a:pt x="108479" y="349250"/>
                  </a:lnTo>
                  <a:lnTo>
                    <a:pt x="113771" y="343958"/>
                  </a:lnTo>
                  <a:lnTo>
                    <a:pt x="116417" y="341313"/>
                  </a:lnTo>
                  <a:lnTo>
                    <a:pt x="116417" y="338667"/>
                  </a:lnTo>
                  <a:lnTo>
                    <a:pt x="111125" y="333375"/>
                  </a:lnTo>
                  <a:lnTo>
                    <a:pt x="105833" y="328083"/>
                  </a:lnTo>
                  <a:lnTo>
                    <a:pt x="105833" y="325438"/>
                  </a:lnTo>
                  <a:lnTo>
                    <a:pt x="105833" y="322792"/>
                  </a:lnTo>
                  <a:lnTo>
                    <a:pt x="108479" y="320146"/>
                  </a:lnTo>
                  <a:lnTo>
                    <a:pt x="108479" y="317500"/>
                  </a:lnTo>
                  <a:lnTo>
                    <a:pt x="105833" y="317500"/>
                  </a:lnTo>
                  <a:lnTo>
                    <a:pt x="105833" y="312208"/>
                  </a:lnTo>
                  <a:lnTo>
                    <a:pt x="108479" y="304271"/>
                  </a:lnTo>
                  <a:lnTo>
                    <a:pt x="108479" y="296333"/>
                  </a:lnTo>
                  <a:lnTo>
                    <a:pt x="108479" y="277812"/>
                  </a:lnTo>
                  <a:lnTo>
                    <a:pt x="105833" y="261937"/>
                  </a:lnTo>
                  <a:lnTo>
                    <a:pt x="105833" y="256646"/>
                  </a:lnTo>
                  <a:lnTo>
                    <a:pt x="105833" y="254000"/>
                  </a:lnTo>
                  <a:lnTo>
                    <a:pt x="111125" y="248708"/>
                  </a:lnTo>
                  <a:lnTo>
                    <a:pt x="95250" y="248708"/>
                  </a:lnTo>
                  <a:lnTo>
                    <a:pt x="87313" y="251354"/>
                  </a:lnTo>
                  <a:lnTo>
                    <a:pt x="84667" y="254000"/>
                  </a:lnTo>
                  <a:lnTo>
                    <a:pt x="84667" y="256646"/>
                  </a:lnTo>
                  <a:lnTo>
                    <a:pt x="76729" y="256646"/>
                  </a:lnTo>
                  <a:lnTo>
                    <a:pt x="68792" y="256646"/>
                  </a:lnTo>
                  <a:lnTo>
                    <a:pt x="63500" y="259292"/>
                  </a:lnTo>
                  <a:lnTo>
                    <a:pt x="58208" y="261937"/>
                  </a:lnTo>
                  <a:lnTo>
                    <a:pt x="47625" y="261937"/>
                  </a:lnTo>
                  <a:lnTo>
                    <a:pt x="42333" y="259292"/>
                  </a:lnTo>
                  <a:lnTo>
                    <a:pt x="37042" y="254000"/>
                  </a:lnTo>
                  <a:lnTo>
                    <a:pt x="34396" y="243417"/>
                  </a:lnTo>
                  <a:lnTo>
                    <a:pt x="31750" y="243417"/>
                  </a:lnTo>
                  <a:lnTo>
                    <a:pt x="26458" y="243417"/>
                  </a:lnTo>
                  <a:lnTo>
                    <a:pt x="23812" y="243417"/>
                  </a:lnTo>
                  <a:lnTo>
                    <a:pt x="15875" y="240771"/>
                  </a:lnTo>
                  <a:lnTo>
                    <a:pt x="7937" y="240771"/>
                  </a:lnTo>
                  <a:lnTo>
                    <a:pt x="0" y="240771"/>
                  </a:lnTo>
                  <a:lnTo>
                    <a:pt x="42333" y="209021"/>
                  </a:lnTo>
                  <a:lnTo>
                    <a:pt x="84667" y="179917"/>
                  </a:lnTo>
                  <a:lnTo>
                    <a:pt x="164042" y="127000"/>
                  </a:lnTo>
                  <a:lnTo>
                    <a:pt x="232833" y="84667"/>
                  </a:lnTo>
                  <a:lnTo>
                    <a:pt x="293688" y="50271"/>
                  </a:lnTo>
                  <a:lnTo>
                    <a:pt x="309563" y="50271"/>
                  </a:lnTo>
                  <a:lnTo>
                    <a:pt x="325438" y="52917"/>
                  </a:lnTo>
                  <a:lnTo>
                    <a:pt x="357188" y="66146"/>
                  </a:lnTo>
                  <a:lnTo>
                    <a:pt x="365125" y="68792"/>
                  </a:lnTo>
                  <a:lnTo>
                    <a:pt x="365125" y="63500"/>
                  </a:lnTo>
                  <a:lnTo>
                    <a:pt x="365125" y="58208"/>
                  </a:lnTo>
                  <a:lnTo>
                    <a:pt x="367771" y="55562"/>
                  </a:lnTo>
                  <a:lnTo>
                    <a:pt x="373063" y="52917"/>
                  </a:lnTo>
                  <a:lnTo>
                    <a:pt x="386292" y="52917"/>
                  </a:lnTo>
                  <a:lnTo>
                    <a:pt x="399521" y="52917"/>
                  </a:lnTo>
                  <a:lnTo>
                    <a:pt x="407458" y="52917"/>
                  </a:lnTo>
                  <a:lnTo>
                    <a:pt x="410104" y="52917"/>
                  </a:lnTo>
                  <a:lnTo>
                    <a:pt x="404813" y="58208"/>
                  </a:lnTo>
                  <a:lnTo>
                    <a:pt x="402167" y="63500"/>
                  </a:lnTo>
                  <a:lnTo>
                    <a:pt x="404813" y="63500"/>
                  </a:lnTo>
                  <a:lnTo>
                    <a:pt x="423333" y="52917"/>
                  </a:lnTo>
                  <a:lnTo>
                    <a:pt x="433917" y="50271"/>
                  </a:lnTo>
                  <a:lnTo>
                    <a:pt x="444500" y="50271"/>
                  </a:lnTo>
                  <a:lnTo>
                    <a:pt x="455083" y="50271"/>
                  </a:lnTo>
                  <a:lnTo>
                    <a:pt x="468313" y="47625"/>
                  </a:lnTo>
                  <a:lnTo>
                    <a:pt x="497417" y="39687"/>
                  </a:lnTo>
                  <a:lnTo>
                    <a:pt x="515938" y="34396"/>
                  </a:lnTo>
                  <a:lnTo>
                    <a:pt x="523875" y="34396"/>
                  </a:lnTo>
                  <a:lnTo>
                    <a:pt x="529167" y="37042"/>
                  </a:lnTo>
                  <a:lnTo>
                    <a:pt x="531813" y="39687"/>
                  </a:lnTo>
                  <a:lnTo>
                    <a:pt x="523875" y="42333"/>
                  </a:lnTo>
                  <a:lnTo>
                    <a:pt x="497417" y="47625"/>
                  </a:lnTo>
                  <a:lnTo>
                    <a:pt x="484188" y="50271"/>
                  </a:lnTo>
                  <a:lnTo>
                    <a:pt x="473604" y="58208"/>
                  </a:lnTo>
                  <a:lnTo>
                    <a:pt x="484188" y="52917"/>
                  </a:lnTo>
                  <a:lnTo>
                    <a:pt x="497417" y="52917"/>
                  </a:lnTo>
                  <a:lnTo>
                    <a:pt x="515938" y="50271"/>
                  </a:lnTo>
                  <a:lnTo>
                    <a:pt x="526521" y="47625"/>
                  </a:lnTo>
                  <a:lnTo>
                    <a:pt x="534458" y="44979"/>
                  </a:lnTo>
                  <a:lnTo>
                    <a:pt x="537104" y="47625"/>
                  </a:lnTo>
                  <a:lnTo>
                    <a:pt x="537104" y="50271"/>
                  </a:lnTo>
                  <a:lnTo>
                    <a:pt x="539750" y="52917"/>
                  </a:lnTo>
                  <a:lnTo>
                    <a:pt x="547688" y="50271"/>
                  </a:lnTo>
                  <a:lnTo>
                    <a:pt x="563563" y="39687"/>
                  </a:lnTo>
                  <a:lnTo>
                    <a:pt x="563563" y="34396"/>
                  </a:lnTo>
                  <a:lnTo>
                    <a:pt x="563563" y="31750"/>
                  </a:lnTo>
                  <a:lnTo>
                    <a:pt x="566208" y="29104"/>
                  </a:lnTo>
                  <a:lnTo>
                    <a:pt x="568854" y="29104"/>
                  </a:lnTo>
                  <a:lnTo>
                    <a:pt x="582083" y="34396"/>
                  </a:lnTo>
                  <a:lnTo>
                    <a:pt x="587375" y="37042"/>
                  </a:lnTo>
                  <a:lnTo>
                    <a:pt x="590021" y="39687"/>
                  </a:lnTo>
                  <a:lnTo>
                    <a:pt x="590021" y="47625"/>
                  </a:lnTo>
                  <a:lnTo>
                    <a:pt x="590021" y="52917"/>
                  </a:lnTo>
                  <a:lnTo>
                    <a:pt x="600604" y="52917"/>
                  </a:lnTo>
                  <a:lnTo>
                    <a:pt x="605896" y="50271"/>
                  </a:lnTo>
                  <a:lnTo>
                    <a:pt x="605896" y="47625"/>
                  </a:lnTo>
                  <a:lnTo>
                    <a:pt x="605896" y="44979"/>
                  </a:lnTo>
                  <a:lnTo>
                    <a:pt x="611188" y="39687"/>
                  </a:lnTo>
                  <a:lnTo>
                    <a:pt x="616479" y="37042"/>
                  </a:lnTo>
                  <a:lnTo>
                    <a:pt x="616479" y="34396"/>
                  </a:lnTo>
                  <a:lnTo>
                    <a:pt x="619125" y="31750"/>
                  </a:lnTo>
                  <a:lnTo>
                    <a:pt x="627063" y="29104"/>
                  </a:lnTo>
                  <a:lnTo>
                    <a:pt x="642938" y="26458"/>
                  </a:lnTo>
                  <a:lnTo>
                    <a:pt x="645583" y="29104"/>
                  </a:lnTo>
                  <a:lnTo>
                    <a:pt x="640292" y="34396"/>
                  </a:lnTo>
                  <a:lnTo>
                    <a:pt x="632354" y="37042"/>
                  </a:lnTo>
                  <a:lnTo>
                    <a:pt x="635000" y="39687"/>
                  </a:lnTo>
                  <a:lnTo>
                    <a:pt x="635000" y="42333"/>
                  </a:lnTo>
                  <a:lnTo>
                    <a:pt x="627063" y="50271"/>
                  </a:lnTo>
                  <a:lnTo>
                    <a:pt x="645583" y="47625"/>
                  </a:lnTo>
                  <a:lnTo>
                    <a:pt x="653521" y="44979"/>
                  </a:lnTo>
                  <a:lnTo>
                    <a:pt x="658813" y="42333"/>
                  </a:lnTo>
                  <a:lnTo>
                    <a:pt x="669396" y="39687"/>
                  </a:lnTo>
                  <a:lnTo>
                    <a:pt x="682625" y="39687"/>
                  </a:lnTo>
                  <a:lnTo>
                    <a:pt x="693208" y="42333"/>
                  </a:lnTo>
                  <a:lnTo>
                    <a:pt x="703792" y="47625"/>
                  </a:lnTo>
                  <a:lnTo>
                    <a:pt x="722313" y="50271"/>
                  </a:lnTo>
                  <a:lnTo>
                    <a:pt x="759354" y="55562"/>
                  </a:lnTo>
                  <a:lnTo>
                    <a:pt x="769937" y="55562"/>
                  </a:lnTo>
                  <a:lnTo>
                    <a:pt x="772583" y="52917"/>
                  </a:lnTo>
                  <a:lnTo>
                    <a:pt x="769937" y="52917"/>
                  </a:lnTo>
                  <a:lnTo>
                    <a:pt x="767292" y="50271"/>
                  </a:lnTo>
                  <a:lnTo>
                    <a:pt x="769937" y="50271"/>
                  </a:lnTo>
                  <a:lnTo>
                    <a:pt x="785812" y="52917"/>
                  </a:lnTo>
                  <a:lnTo>
                    <a:pt x="791104" y="55562"/>
                  </a:lnTo>
                  <a:lnTo>
                    <a:pt x="793750" y="58208"/>
                  </a:lnTo>
                  <a:lnTo>
                    <a:pt x="796396" y="63500"/>
                  </a:lnTo>
                  <a:lnTo>
                    <a:pt x="796396" y="66146"/>
                  </a:lnTo>
                  <a:lnTo>
                    <a:pt x="788458" y="66146"/>
                  </a:lnTo>
                  <a:lnTo>
                    <a:pt x="783167" y="63500"/>
                  </a:lnTo>
                  <a:lnTo>
                    <a:pt x="772583" y="66146"/>
                  </a:lnTo>
                  <a:lnTo>
                    <a:pt x="769937" y="66146"/>
                  </a:lnTo>
                  <a:lnTo>
                    <a:pt x="764646" y="71437"/>
                  </a:lnTo>
                  <a:lnTo>
                    <a:pt x="777875" y="71437"/>
                  </a:lnTo>
                  <a:lnTo>
                    <a:pt x="780521" y="74083"/>
                  </a:lnTo>
                  <a:lnTo>
                    <a:pt x="783167" y="76729"/>
                  </a:lnTo>
                  <a:lnTo>
                    <a:pt x="793750" y="76729"/>
                  </a:lnTo>
                  <a:lnTo>
                    <a:pt x="801687" y="76729"/>
                  </a:lnTo>
                  <a:lnTo>
                    <a:pt x="809625" y="79375"/>
                  </a:lnTo>
                  <a:lnTo>
                    <a:pt x="814917" y="82021"/>
                  </a:lnTo>
                  <a:lnTo>
                    <a:pt x="825500" y="79375"/>
                  </a:lnTo>
                  <a:lnTo>
                    <a:pt x="838729" y="76729"/>
                  </a:lnTo>
                  <a:lnTo>
                    <a:pt x="846667" y="76729"/>
                  </a:lnTo>
                  <a:lnTo>
                    <a:pt x="854604" y="74083"/>
                  </a:lnTo>
                  <a:lnTo>
                    <a:pt x="862542" y="71437"/>
                  </a:lnTo>
                  <a:lnTo>
                    <a:pt x="873125" y="68792"/>
                  </a:lnTo>
                  <a:lnTo>
                    <a:pt x="881062" y="68792"/>
                  </a:lnTo>
                  <a:lnTo>
                    <a:pt x="896937" y="79375"/>
                  </a:lnTo>
                  <a:lnTo>
                    <a:pt x="902229" y="84667"/>
                  </a:lnTo>
                  <a:lnTo>
                    <a:pt x="896937" y="87312"/>
                  </a:lnTo>
                  <a:lnTo>
                    <a:pt x="894292" y="89958"/>
                  </a:lnTo>
                  <a:lnTo>
                    <a:pt x="889000" y="92604"/>
                  </a:lnTo>
                  <a:lnTo>
                    <a:pt x="886354" y="100542"/>
                  </a:lnTo>
                  <a:lnTo>
                    <a:pt x="886354" y="108479"/>
                  </a:lnTo>
                  <a:lnTo>
                    <a:pt x="889000" y="97896"/>
                  </a:lnTo>
                  <a:lnTo>
                    <a:pt x="891646" y="95250"/>
                  </a:lnTo>
                  <a:lnTo>
                    <a:pt x="899583" y="92604"/>
                  </a:lnTo>
                  <a:lnTo>
                    <a:pt x="904875" y="87312"/>
                  </a:lnTo>
                  <a:lnTo>
                    <a:pt x="904875" y="84667"/>
                  </a:lnTo>
                  <a:lnTo>
                    <a:pt x="904875" y="82021"/>
                  </a:lnTo>
                  <a:lnTo>
                    <a:pt x="904875" y="79375"/>
                  </a:lnTo>
                  <a:lnTo>
                    <a:pt x="915458" y="74083"/>
                  </a:lnTo>
                  <a:lnTo>
                    <a:pt x="933979" y="68792"/>
                  </a:lnTo>
                  <a:lnTo>
                    <a:pt x="947208" y="68792"/>
                  </a:lnTo>
                  <a:lnTo>
                    <a:pt x="955146" y="66146"/>
                  </a:lnTo>
                  <a:lnTo>
                    <a:pt x="965729" y="66146"/>
                  </a:lnTo>
                  <a:lnTo>
                    <a:pt x="968375" y="66146"/>
                  </a:lnTo>
                  <a:lnTo>
                    <a:pt x="971021" y="63500"/>
                  </a:lnTo>
                  <a:lnTo>
                    <a:pt x="968375" y="60854"/>
                  </a:lnTo>
                  <a:lnTo>
                    <a:pt x="965729" y="60854"/>
                  </a:lnTo>
                  <a:lnTo>
                    <a:pt x="960437" y="63500"/>
                  </a:lnTo>
                  <a:lnTo>
                    <a:pt x="957792" y="63500"/>
                  </a:lnTo>
                  <a:lnTo>
                    <a:pt x="955146" y="60854"/>
                  </a:lnTo>
                  <a:lnTo>
                    <a:pt x="952500" y="63500"/>
                  </a:lnTo>
                  <a:lnTo>
                    <a:pt x="947208" y="63500"/>
                  </a:lnTo>
                  <a:lnTo>
                    <a:pt x="944562" y="63500"/>
                  </a:lnTo>
                  <a:lnTo>
                    <a:pt x="941917" y="63500"/>
                  </a:lnTo>
                  <a:lnTo>
                    <a:pt x="936625" y="66146"/>
                  </a:lnTo>
                  <a:lnTo>
                    <a:pt x="928687" y="68792"/>
                  </a:lnTo>
                  <a:lnTo>
                    <a:pt x="926042" y="66146"/>
                  </a:lnTo>
                  <a:lnTo>
                    <a:pt x="923396" y="66146"/>
                  </a:lnTo>
                  <a:lnTo>
                    <a:pt x="918104" y="66146"/>
                  </a:lnTo>
                  <a:lnTo>
                    <a:pt x="918104" y="63500"/>
                  </a:lnTo>
                  <a:lnTo>
                    <a:pt x="918104" y="60854"/>
                  </a:lnTo>
                  <a:lnTo>
                    <a:pt x="923396" y="58208"/>
                  </a:lnTo>
                  <a:lnTo>
                    <a:pt x="933979" y="55562"/>
                  </a:lnTo>
                  <a:lnTo>
                    <a:pt x="949854" y="52917"/>
                  </a:lnTo>
                  <a:lnTo>
                    <a:pt x="960437" y="50271"/>
                  </a:lnTo>
                  <a:lnTo>
                    <a:pt x="968375" y="47625"/>
                  </a:lnTo>
                  <a:lnTo>
                    <a:pt x="978958" y="47625"/>
                  </a:lnTo>
                  <a:lnTo>
                    <a:pt x="981604" y="47625"/>
                  </a:lnTo>
                  <a:lnTo>
                    <a:pt x="981604" y="50271"/>
                  </a:lnTo>
                  <a:lnTo>
                    <a:pt x="978958" y="52917"/>
                  </a:lnTo>
                  <a:lnTo>
                    <a:pt x="976312" y="58208"/>
                  </a:lnTo>
                  <a:lnTo>
                    <a:pt x="976312" y="60854"/>
                  </a:lnTo>
                  <a:lnTo>
                    <a:pt x="981604" y="63500"/>
                  </a:lnTo>
                  <a:lnTo>
                    <a:pt x="981604" y="66146"/>
                  </a:lnTo>
                  <a:lnTo>
                    <a:pt x="984250" y="63500"/>
                  </a:lnTo>
                  <a:lnTo>
                    <a:pt x="989542" y="63500"/>
                  </a:lnTo>
                  <a:lnTo>
                    <a:pt x="989542" y="66146"/>
                  </a:lnTo>
                  <a:lnTo>
                    <a:pt x="989542" y="68792"/>
                  </a:lnTo>
                  <a:lnTo>
                    <a:pt x="992187" y="71437"/>
                  </a:lnTo>
                  <a:lnTo>
                    <a:pt x="1000125" y="74083"/>
                  </a:lnTo>
                  <a:lnTo>
                    <a:pt x="1010708" y="74083"/>
                  </a:lnTo>
                  <a:lnTo>
                    <a:pt x="1037167" y="74083"/>
                  </a:lnTo>
                  <a:lnTo>
                    <a:pt x="1053042" y="74083"/>
                  </a:lnTo>
                  <a:lnTo>
                    <a:pt x="1066271" y="71437"/>
                  </a:lnTo>
                  <a:lnTo>
                    <a:pt x="1079500" y="68792"/>
                  </a:lnTo>
                  <a:lnTo>
                    <a:pt x="1084792" y="71437"/>
                  </a:lnTo>
                  <a:lnTo>
                    <a:pt x="1090083" y="71437"/>
                  </a:lnTo>
                  <a:lnTo>
                    <a:pt x="1095375" y="76729"/>
                  </a:lnTo>
                  <a:lnTo>
                    <a:pt x="1098021" y="76729"/>
                  </a:lnTo>
                  <a:lnTo>
                    <a:pt x="1103313" y="74083"/>
                  </a:lnTo>
                  <a:lnTo>
                    <a:pt x="1111250" y="74083"/>
                  </a:lnTo>
                  <a:lnTo>
                    <a:pt x="1119188" y="71437"/>
                  </a:lnTo>
                  <a:lnTo>
                    <a:pt x="1121833" y="68792"/>
                  </a:lnTo>
                  <a:lnTo>
                    <a:pt x="1124479" y="66146"/>
                  </a:lnTo>
                  <a:lnTo>
                    <a:pt x="1127125" y="71437"/>
                  </a:lnTo>
                  <a:lnTo>
                    <a:pt x="1132417" y="76729"/>
                  </a:lnTo>
                  <a:lnTo>
                    <a:pt x="1137708" y="79375"/>
                  </a:lnTo>
                  <a:lnTo>
                    <a:pt x="1140354" y="79375"/>
                  </a:lnTo>
                  <a:lnTo>
                    <a:pt x="1143000" y="76729"/>
                  </a:lnTo>
                  <a:lnTo>
                    <a:pt x="1140354" y="74083"/>
                  </a:lnTo>
                  <a:lnTo>
                    <a:pt x="1135063" y="71437"/>
                  </a:lnTo>
                  <a:lnTo>
                    <a:pt x="1129771" y="68792"/>
                  </a:lnTo>
                  <a:lnTo>
                    <a:pt x="1127125" y="60854"/>
                  </a:lnTo>
                  <a:lnTo>
                    <a:pt x="1135063" y="63500"/>
                  </a:lnTo>
                  <a:lnTo>
                    <a:pt x="1140354" y="60854"/>
                  </a:lnTo>
                  <a:lnTo>
                    <a:pt x="1143000" y="58208"/>
                  </a:lnTo>
                  <a:lnTo>
                    <a:pt x="1145646" y="60854"/>
                  </a:lnTo>
                  <a:lnTo>
                    <a:pt x="1153583" y="66146"/>
                  </a:lnTo>
                  <a:lnTo>
                    <a:pt x="1158875" y="66146"/>
                  </a:lnTo>
                  <a:lnTo>
                    <a:pt x="1158875" y="68792"/>
                  </a:lnTo>
                  <a:lnTo>
                    <a:pt x="1156229" y="71437"/>
                  </a:lnTo>
                  <a:lnTo>
                    <a:pt x="1150938" y="74083"/>
                  </a:lnTo>
                  <a:lnTo>
                    <a:pt x="1150938" y="76729"/>
                  </a:lnTo>
                  <a:lnTo>
                    <a:pt x="1150938" y="79375"/>
                  </a:lnTo>
                  <a:lnTo>
                    <a:pt x="1143000" y="87312"/>
                  </a:lnTo>
                  <a:lnTo>
                    <a:pt x="1153583" y="82021"/>
                  </a:lnTo>
                  <a:lnTo>
                    <a:pt x="1158875" y="79375"/>
                  </a:lnTo>
                  <a:lnTo>
                    <a:pt x="1158875" y="74083"/>
                  </a:lnTo>
                  <a:lnTo>
                    <a:pt x="1166813" y="71437"/>
                  </a:lnTo>
                  <a:lnTo>
                    <a:pt x="1172104" y="68792"/>
                  </a:lnTo>
                  <a:lnTo>
                    <a:pt x="1177396" y="68792"/>
                  </a:lnTo>
                  <a:lnTo>
                    <a:pt x="1185333" y="71437"/>
                  </a:lnTo>
                  <a:lnTo>
                    <a:pt x="1195917" y="71437"/>
                  </a:lnTo>
                  <a:lnTo>
                    <a:pt x="1219729" y="68792"/>
                  </a:lnTo>
                  <a:lnTo>
                    <a:pt x="1222375" y="68792"/>
                  </a:lnTo>
                  <a:lnTo>
                    <a:pt x="1219729" y="66146"/>
                  </a:lnTo>
                  <a:lnTo>
                    <a:pt x="1217083" y="63500"/>
                  </a:lnTo>
                  <a:lnTo>
                    <a:pt x="1214438" y="66146"/>
                  </a:lnTo>
                  <a:lnTo>
                    <a:pt x="1211792" y="68792"/>
                  </a:lnTo>
                  <a:lnTo>
                    <a:pt x="1209146" y="66146"/>
                  </a:lnTo>
                  <a:lnTo>
                    <a:pt x="1206500" y="66146"/>
                  </a:lnTo>
                  <a:lnTo>
                    <a:pt x="1206500" y="63500"/>
                  </a:lnTo>
                  <a:lnTo>
                    <a:pt x="1211792" y="60854"/>
                  </a:lnTo>
                  <a:lnTo>
                    <a:pt x="1222375" y="58208"/>
                  </a:lnTo>
                  <a:lnTo>
                    <a:pt x="1227667" y="58208"/>
                  </a:lnTo>
                  <a:lnTo>
                    <a:pt x="1232958" y="58208"/>
                  </a:lnTo>
                  <a:lnTo>
                    <a:pt x="1240896" y="55562"/>
                  </a:lnTo>
                  <a:lnTo>
                    <a:pt x="1248833" y="50271"/>
                  </a:lnTo>
                  <a:lnTo>
                    <a:pt x="1243542" y="50271"/>
                  </a:lnTo>
                  <a:lnTo>
                    <a:pt x="1232958" y="52917"/>
                  </a:lnTo>
                  <a:lnTo>
                    <a:pt x="1222375" y="55562"/>
                  </a:lnTo>
                  <a:lnTo>
                    <a:pt x="1214438" y="52917"/>
                  </a:lnTo>
                  <a:lnTo>
                    <a:pt x="1209146" y="52917"/>
                  </a:lnTo>
                  <a:lnTo>
                    <a:pt x="1206500" y="52917"/>
                  </a:lnTo>
                  <a:lnTo>
                    <a:pt x="1201208" y="52917"/>
                  </a:lnTo>
                  <a:lnTo>
                    <a:pt x="1193271" y="47625"/>
                  </a:lnTo>
                  <a:lnTo>
                    <a:pt x="1190625" y="42333"/>
                  </a:lnTo>
                  <a:lnTo>
                    <a:pt x="1190625" y="37042"/>
                  </a:lnTo>
                  <a:lnTo>
                    <a:pt x="1201208" y="34396"/>
                  </a:lnTo>
                  <a:lnTo>
                    <a:pt x="1211792" y="31750"/>
                  </a:lnTo>
                  <a:lnTo>
                    <a:pt x="1214438" y="29104"/>
                  </a:lnTo>
                  <a:lnTo>
                    <a:pt x="1214438" y="26458"/>
                  </a:lnTo>
                  <a:lnTo>
                    <a:pt x="1214438" y="23812"/>
                  </a:lnTo>
                  <a:lnTo>
                    <a:pt x="1219729" y="21167"/>
                  </a:lnTo>
                  <a:lnTo>
                    <a:pt x="1232958" y="13229"/>
                  </a:lnTo>
                  <a:lnTo>
                    <a:pt x="1238250" y="10583"/>
                  </a:lnTo>
                  <a:lnTo>
                    <a:pt x="1240896" y="13229"/>
                  </a:lnTo>
                  <a:lnTo>
                    <a:pt x="1243542" y="13229"/>
                  </a:lnTo>
                  <a:lnTo>
                    <a:pt x="1248833" y="10583"/>
                  </a:lnTo>
                  <a:lnTo>
                    <a:pt x="1248833" y="7937"/>
                  </a:lnTo>
                  <a:lnTo>
                    <a:pt x="1246188" y="7937"/>
                  </a:lnTo>
                  <a:lnTo>
                    <a:pt x="1243542" y="7937"/>
                  </a:lnTo>
                  <a:lnTo>
                    <a:pt x="1246188" y="5292"/>
                  </a:lnTo>
                  <a:lnTo>
                    <a:pt x="1259417" y="2646"/>
                  </a:lnTo>
                  <a:close/>
                </a:path>
              </a:pathLst>
            </a:custGeom>
            <a:solidFill>
              <a:schemeClr val="tx1">
                <a:alpha val="9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922" name="Chile"/>
          <p:cNvSpPr>
            <a:spLocks/>
          </p:cNvSpPr>
          <p:nvPr/>
        </p:nvSpPr>
        <p:spPr bwMode="auto">
          <a:xfrm>
            <a:off x="2675084" y="3287379"/>
            <a:ext cx="278017" cy="899069"/>
          </a:xfrm>
          <a:custGeom>
            <a:avLst/>
            <a:gdLst/>
            <a:ahLst/>
            <a:cxnLst>
              <a:cxn ang="0">
                <a:pos x="218" y="766"/>
              </a:cxn>
              <a:cxn ang="0">
                <a:pos x="212" y="776"/>
              </a:cxn>
              <a:cxn ang="0">
                <a:pos x="186" y="786"/>
              </a:cxn>
              <a:cxn ang="0">
                <a:pos x="198" y="782"/>
              </a:cxn>
              <a:cxn ang="0">
                <a:pos x="184" y="766"/>
              </a:cxn>
              <a:cxn ang="0">
                <a:pos x="184" y="774"/>
              </a:cxn>
              <a:cxn ang="0">
                <a:pos x="198" y="774"/>
              </a:cxn>
              <a:cxn ang="0">
                <a:pos x="176" y="784"/>
              </a:cxn>
              <a:cxn ang="0">
                <a:pos x="160" y="770"/>
              </a:cxn>
              <a:cxn ang="0">
                <a:pos x="162" y="762"/>
              </a:cxn>
              <a:cxn ang="0">
                <a:pos x="158" y="760"/>
              </a:cxn>
              <a:cxn ang="0">
                <a:pos x="134" y="738"/>
              </a:cxn>
              <a:cxn ang="0">
                <a:pos x="124" y="720"/>
              </a:cxn>
              <a:cxn ang="0">
                <a:pos x="128" y="708"/>
              </a:cxn>
              <a:cxn ang="0">
                <a:pos x="112" y="696"/>
              </a:cxn>
              <a:cxn ang="0">
                <a:pos x="104" y="682"/>
              </a:cxn>
              <a:cxn ang="0">
                <a:pos x="104" y="680"/>
              </a:cxn>
              <a:cxn ang="0">
                <a:pos x="98" y="658"/>
              </a:cxn>
              <a:cxn ang="0">
                <a:pos x="76" y="656"/>
              </a:cxn>
              <a:cxn ang="0">
                <a:pos x="82" y="640"/>
              </a:cxn>
              <a:cxn ang="0">
                <a:pos x="108" y="640"/>
              </a:cxn>
              <a:cxn ang="0">
                <a:pos x="102" y="608"/>
              </a:cxn>
              <a:cxn ang="0">
                <a:pos x="96" y="574"/>
              </a:cxn>
              <a:cxn ang="0">
                <a:pos x="82" y="554"/>
              </a:cxn>
              <a:cxn ang="0">
                <a:pos x="68" y="536"/>
              </a:cxn>
              <a:cxn ang="0">
                <a:pos x="58" y="492"/>
              </a:cxn>
              <a:cxn ang="0">
                <a:pos x="42" y="460"/>
              </a:cxn>
              <a:cxn ang="0">
                <a:pos x="50" y="448"/>
              </a:cxn>
              <a:cxn ang="0">
                <a:pos x="50" y="420"/>
              </a:cxn>
              <a:cxn ang="0">
                <a:pos x="56" y="374"/>
              </a:cxn>
              <a:cxn ang="0">
                <a:pos x="30" y="288"/>
              </a:cxn>
              <a:cxn ang="0">
                <a:pos x="40" y="284"/>
              </a:cxn>
              <a:cxn ang="0">
                <a:pos x="30" y="270"/>
              </a:cxn>
              <a:cxn ang="0">
                <a:pos x="34" y="176"/>
              </a:cxn>
              <a:cxn ang="0">
                <a:pos x="22" y="136"/>
              </a:cxn>
              <a:cxn ang="0">
                <a:pos x="26" y="92"/>
              </a:cxn>
              <a:cxn ang="0">
                <a:pos x="16" y="52"/>
              </a:cxn>
              <a:cxn ang="0">
                <a:pos x="0" y="12"/>
              </a:cxn>
              <a:cxn ang="0">
                <a:pos x="42" y="38"/>
              </a:cxn>
              <a:cxn ang="0">
                <a:pos x="70" y="124"/>
              </a:cxn>
              <a:cxn ang="0">
                <a:pos x="78" y="158"/>
              </a:cxn>
              <a:cxn ang="0">
                <a:pos x="72" y="196"/>
              </a:cxn>
              <a:cxn ang="0">
                <a:pos x="74" y="234"/>
              </a:cxn>
              <a:cxn ang="0">
                <a:pos x="62" y="270"/>
              </a:cxn>
              <a:cxn ang="0">
                <a:pos x="60" y="326"/>
              </a:cxn>
              <a:cxn ang="0">
                <a:pos x="74" y="354"/>
              </a:cxn>
              <a:cxn ang="0">
                <a:pos x="92" y="376"/>
              </a:cxn>
              <a:cxn ang="0">
                <a:pos x="88" y="422"/>
              </a:cxn>
              <a:cxn ang="0">
                <a:pos x="98" y="476"/>
              </a:cxn>
              <a:cxn ang="0">
                <a:pos x="90" y="500"/>
              </a:cxn>
              <a:cxn ang="0">
                <a:pos x="104" y="546"/>
              </a:cxn>
              <a:cxn ang="0">
                <a:pos x="106" y="566"/>
              </a:cxn>
              <a:cxn ang="0">
                <a:pos x="110" y="586"/>
              </a:cxn>
              <a:cxn ang="0">
                <a:pos x="114" y="598"/>
              </a:cxn>
              <a:cxn ang="0">
                <a:pos x="126" y="622"/>
              </a:cxn>
              <a:cxn ang="0">
                <a:pos x="132" y="650"/>
              </a:cxn>
              <a:cxn ang="0">
                <a:pos x="134" y="682"/>
              </a:cxn>
              <a:cxn ang="0">
                <a:pos x="144" y="714"/>
              </a:cxn>
              <a:cxn ang="0">
                <a:pos x="162" y="730"/>
              </a:cxn>
              <a:cxn ang="0">
                <a:pos x="180" y="754"/>
              </a:cxn>
            </a:cxnLst>
            <a:rect l="0" t="0" r="r" b="b"/>
            <a:pathLst>
              <a:path w="244" h="790">
                <a:moveTo>
                  <a:pt x="244" y="764"/>
                </a:moveTo>
                <a:lnTo>
                  <a:pt x="244" y="764"/>
                </a:lnTo>
                <a:lnTo>
                  <a:pt x="238" y="762"/>
                </a:lnTo>
                <a:lnTo>
                  <a:pt x="236" y="762"/>
                </a:lnTo>
                <a:lnTo>
                  <a:pt x="234" y="762"/>
                </a:lnTo>
                <a:lnTo>
                  <a:pt x="230" y="762"/>
                </a:lnTo>
                <a:lnTo>
                  <a:pt x="230" y="762"/>
                </a:lnTo>
                <a:lnTo>
                  <a:pt x="228" y="762"/>
                </a:lnTo>
                <a:lnTo>
                  <a:pt x="224" y="764"/>
                </a:lnTo>
                <a:lnTo>
                  <a:pt x="222" y="766"/>
                </a:lnTo>
                <a:lnTo>
                  <a:pt x="218" y="766"/>
                </a:lnTo>
                <a:lnTo>
                  <a:pt x="218" y="766"/>
                </a:lnTo>
                <a:lnTo>
                  <a:pt x="216" y="764"/>
                </a:lnTo>
                <a:lnTo>
                  <a:pt x="216" y="766"/>
                </a:lnTo>
                <a:lnTo>
                  <a:pt x="214" y="766"/>
                </a:lnTo>
                <a:lnTo>
                  <a:pt x="212" y="768"/>
                </a:lnTo>
                <a:lnTo>
                  <a:pt x="212" y="768"/>
                </a:lnTo>
                <a:lnTo>
                  <a:pt x="210" y="768"/>
                </a:lnTo>
                <a:lnTo>
                  <a:pt x="210" y="770"/>
                </a:lnTo>
                <a:lnTo>
                  <a:pt x="212" y="772"/>
                </a:lnTo>
                <a:lnTo>
                  <a:pt x="212" y="776"/>
                </a:lnTo>
                <a:lnTo>
                  <a:pt x="212" y="776"/>
                </a:lnTo>
                <a:lnTo>
                  <a:pt x="210" y="782"/>
                </a:lnTo>
                <a:lnTo>
                  <a:pt x="212" y="786"/>
                </a:lnTo>
                <a:lnTo>
                  <a:pt x="212" y="786"/>
                </a:lnTo>
                <a:lnTo>
                  <a:pt x="212" y="790"/>
                </a:lnTo>
                <a:lnTo>
                  <a:pt x="210" y="790"/>
                </a:lnTo>
                <a:lnTo>
                  <a:pt x="204" y="790"/>
                </a:lnTo>
                <a:lnTo>
                  <a:pt x="198" y="790"/>
                </a:lnTo>
                <a:lnTo>
                  <a:pt x="198" y="790"/>
                </a:lnTo>
                <a:lnTo>
                  <a:pt x="190" y="788"/>
                </a:lnTo>
                <a:lnTo>
                  <a:pt x="188" y="788"/>
                </a:lnTo>
                <a:lnTo>
                  <a:pt x="186" y="786"/>
                </a:lnTo>
                <a:lnTo>
                  <a:pt x="186" y="786"/>
                </a:lnTo>
                <a:lnTo>
                  <a:pt x="188" y="784"/>
                </a:lnTo>
                <a:lnTo>
                  <a:pt x="188" y="782"/>
                </a:lnTo>
                <a:lnTo>
                  <a:pt x="194" y="780"/>
                </a:lnTo>
                <a:lnTo>
                  <a:pt x="194" y="780"/>
                </a:lnTo>
                <a:lnTo>
                  <a:pt x="196" y="782"/>
                </a:lnTo>
                <a:lnTo>
                  <a:pt x="198" y="784"/>
                </a:lnTo>
                <a:lnTo>
                  <a:pt x="198" y="786"/>
                </a:lnTo>
                <a:lnTo>
                  <a:pt x="198" y="786"/>
                </a:lnTo>
                <a:lnTo>
                  <a:pt x="198" y="786"/>
                </a:lnTo>
                <a:lnTo>
                  <a:pt x="198" y="782"/>
                </a:lnTo>
                <a:lnTo>
                  <a:pt x="200" y="780"/>
                </a:lnTo>
                <a:lnTo>
                  <a:pt x="202" y="778"/>
                </a:lnTo>
                <a:lnTo>
                  <a:pt x="202" y="778"/>
                </a:lnTo>
                <a:lnTo>
                  <a:pt x="204" y="776"/>
                </a:lnTo>
                <a:lnTo>
                  <a:pt x="204" y="774"/>
                </a:lnTo>
                <a:lnTo>
                  <a:pt x="202" y="770"/>
                </a:lnTo>
                <a:lnTo>
                  <a:pt x="200" y="768"/>
                </a:lnTo>
                <a:lnTo>
                  <a:pt x="200" y="768"/>
                </a:lnTo>
                <a:lnTo>
                  <a:pt x="192" y="764"/>
                </a:lnTo>
                <a:lnTo>
                  <a:pt x="188" y="766"/>
                </a:lnTo>
                <a:lnTo>
                  <a:pt x="184" y="766"/>
                </a:lnTo>
                <a:lnTo>
                  <a:pt x="184" y="766"/>
                </a:lnTo>
                <a:lnTo>
                  <a:pt x="182" y="768"/>
                </a:lnTo>
                <a:lnTo>
                  <a:pt x="180" y="768"/>
                </a:lnTo>
                <a:lnTo>
                  <a:pt x="178" y="768"/>
                </a:lnTo>
                <a:lnTo>
                  <a:pt x="174" y="766"/>
                </a:lnTo>
                <a:lnTo>
                  <a:pt x="174" y="766"/>
                </a:lnTo>
                <a:lnTo>
                  <a:pt x="172" y="768"/>
                </a:lnTo>
                <a:lnTo>
                  <a:pt x="172" y="770"/>
                </a:lnTo>
                <a:lnTo>
                  <a:pt x="180" y="774"/>
                </a:lnTo>
                <a:lnTo>
                  <a:pt x="180" y="774"/>
                </a:lnTo>
                <a:lnTo>
                  <a:pt x="184" y="774"/>
                </a:lnTo>
                <a:lnTo>
                  <a:pt x="186" y="772"/>
                </a:lnTo>
                <a:lnTo>
                  <a:pt x="188" y="770"/>
                </a:lnTo>
                <a:lnTo>
                  <a:pt x="190" y="770"/>
                </a:lnTo>
                <a:lnTo>
                  <a:pt x="190" y="770"/>
                </a:lnTo>
                <a:lnTo>
                  <a:pt x="192" y="770"/>
                </a:lnTo>
                <a:lnTo>
                  <a:pt x="194" y="768"/>
                </a:lnTo>
                <a:lnTo>
                  <a:pt x="196" y="768"/>
                </a:lnTo>
                <a:lnTo>
                  <a:pt x="200" y="770"/>
                </a:lnTo>
                <a:lnTo>
                  <a:pt x="200" y="770"/>
                </a:lnTo>
                <a:lnTo>
                  <a:pt x="200" y="774"/>
                </a:lnTo>
                <a:lnTo>
                  <a:pt x="198" y="774"/>
                </a:lnTo>
                <a:lnTo>
                  <a:pt x="196" y="776"/>
                </a:lnTo>
                <a:lnTo>
                  <a:pt x="192" y="778"/>
                </a:lnTo>
                <a:lnTo>
                  <a:pt x="192" y="778"/>
                </a:lnTo>
                <a:lnTo>
                  <a:pt x="188" y="780"/>
                </a:lnTo>
                <a:lnTo>
                  <a:pt x="184" y="782"/>
                </a:lnTo>
                <a:lnTo>
                  <a:pt x="182" y="782"/>
                </a:lnTo>
                <a:lnTo>
                  <a:pt x="182" y="784"/>
                </a:lnTo>
                <a:lnTo>
                  <a:pt x="182" y="784"/>
                </a:lnTo>
                <a:lnTo>
                  <a:pt x="182" y="786"/>
                </a:lnTo>
                <a:lnTo>
                  <a:pt x="180" y="786"/>
                </a:lnTo>
                <a:lnTo>
                  <a:pt x="176" y="784"/>
                </a:lnTo>
                <a:lnTo>
                  <a:pt x="172" y="782"/>
                </a:lnTo>
                <a:lnTo>
                  <a:pt x="170" y="778"/>
                </a:lnTo>
                <a:lnTo>
                  <a:pt x="170" y="778"/>
                </a:lnTo>
                <a:lnTo>
                  <a:pt x="170" y="776"/>
                </a:lnTo>
                <a:lnTo>
                  <a:pt x="166" y="776"/>
                </a:lnTo>
                <a:lnTo>
                  <a:pt x="164" y="778"/>
                </a:lnTo>
                <a:lnTo>
                  <a:pt x="164" y="776"/>
                </a:lnTo>
                <a:lnTo>
                  <a:pt x="164" y="776"/>
                </a:lnTo>
                <a:lnTo>
                  <a:pt x="164" y="774"/>
                </a:lnTo>
                <a:lnTo>
                  <a:pt x="162" y="772"/>
                </a:lnTo>
                <a:lnTo>
                  <a:pt x="160" y="770"/>
                </a:lnTo>
                <a:lnTo>
                  <a:pt x="162" y="770"/>
                </a:lnTo>
                <a:lnTo>
                  <a:pt x="162" y="770"/>
                </a:lnTo>
                <a:lnTo>
                  <a:pt x="164" y="768"/>
                </a:lnTo>
                <a:lnTo>
                  <a:pt x="160" y="768"/>
                </a:lnTo>
                <a:lnTo>
                  <a:pt x="156" y="766"/>
                </a:lnTo>
                <a:lnTo>
                  <a:pt x="154" y="764"/>
                </a:lnTo>
                <a:lnTo>
                  <a:pt x="154" y="764"/>
                </a:lnTo>
                <a:lnTo>
                  <a:pt x="152" y="762"/>
                </a:lnTo>
                <a:lnTo>
                  <a:pt x="154" y="762"/>
                </a:lnTo>
                <a:lnTo>
                  <a:pt x="158" y="762"/>
                </a:lnTo>
                <a:lnTo>
                  <a:pt x="162" y="762"/>
                </a:lnTo>
                <a:lnTo>
                  <a:pt x="162" y="762"/>
                </a:lnTo>
                <a:lnTo>
                  <a:pt x="162" y="760"/>
                </a:lnTo>
                <a:lnTo>
                  <a:pt x="160" y="756"/>
                </a:lnTo>
                <a:lnTo>
                  <a:pt x="150" y="748"/>
                </a:lnTo>
                <a:lnTo>
                  <a:pt x="150" y="748"/>
                </a:lnTo>
                <a:lnTo>
                  <a:pt x="152" y="752"/>
                </a:lnTo>
                <a:lnTo>
                  <a:pt x="156" y="756"/>
                </a:lnTo>
                <a:lnTo>
                  <a:pt x="160" y="760"/>
                </a:lnTo>
                <a:lnTo>
                  <a:pt x="160" y="760"/>
                </a:lnTo>
                <a:lnTo>
                  <a:pt x="158" y="760"/>
                </a:lnTo>
                <a:lnTo>
                  <a:pt x="158" y="760"/>
                </a:lnTo>
                <a:lnTo>
                  <a:pt x="154" y="758"/>
                </a:lnTo>
                <a:lnTo>
                  <a:pt x="148" y="754"/>
                </a:lnTo>
                <a:lnTo>
                  <a:pt x="146" y="748"/>
                </a:lnTo>
                <a:lnTo>
                  <a:pt x="144" y="744"/>
                </a:lnTo>
                <a:lnTo>
                  <a:pt x="144" y="744"/>
                </a:lnTo>
                <a:lnTo>
                  <a:pt x="138" y="744"/>
                </a:lnTo>
                <a:lnTo>
                  <a:pt x="136" y="742"/>
                </a:lnTo>
                <a:lnTo>
                  <a:pt x="132" y="740"/>
                </a:lnTo>
                <a:lnTo>
                  <a:pt x="132" y="740"/>
                </a:lnTo>
                <a:lnTo>
                  <a:pt x="132" y="738"/>
                </a:lnTo>
                <a:lnTo>
                  <a:pt x="134" y="738"/>
                </a:lnTo>
                <a:lnTo>
                  <a:pt x="140" y="736"/>
                </a:lnTo>
                <a:lnTo>
                  <a:pt x="140" y="736"/>
                </a:lnTo>
                <a:lnTo>
                  <a:pt x="136" y="736"/>
                </a:lnTo>
                <a:lnTo>
                  <a:pt x="132" y="734"/>
                </a:lnTo>
                <a:lnTo>
                  <a:pt x="130" y="732"/>
                </a:lnTo>
                <a:lnTo>
                  <a:pt x="124" y="730"/>
                </a:lnTo>
                <a:lnTo>
                  <a:pt x="124" y="730"/>
                </a:lnTo>
                <a:lnTo>
                  <a:pt x="118" y="728"/>
                </a:lnTo>
                <a:lnTo>
                  <a:pt x="124" y="722"/>
                </a:lnTo>
                <a:lnTo>
                  <a:pt x="124" y="722"/>
                </a:lnTo>
                <a:lnTo>
                  <a:pt x="124" y="720"/>
                </a:lnTo>
                <a:lnTo>
                  <a:pt x="126" y="718"/>
                </a:lnTo>
                <a:lnTo>
                  <a:pt x="130" y="720"/>
                </a:lnTo>
                <a:lnTo>
                  <a:pt x="132" y="724"/>
                </a:lnTo>
                <a:lnTo>
                  <a:pt x="132" y="724"/>
                </a:lnTo>
                <a:lnTo>
                  <a:pt x="134" y="722"/>
                </a:lnTo>
                <a:lnTo>
                  <a:pt x="134" y="722"/>
                </a:lnTo>
                <a:lnTo>
                  <a:pt x="132" y="718"/>
                </a:lnTo>
                <a:lnTo>
                  <a:pt x="130" y="718"/>
                </a:lnTo>
                <a:lnTo>
                  <a:pt x="130" y="714"/>
                </a:lnTo>
                <a:lnTo>
                  <a:pt x="128" y="708"/>
                </a:lnTo>
                <a:lnTo>
                  <a:pt x="128" y="708"/>
                </a:lnTo>
                <a:lnTo>
                  <a:pt x="124" y="716"/>
                </a:lnTo>
                <a:lnTo>
                  <a:pt x="122" y="716"/>
                </a:lnTo>
                <a:lnTo>
                  <a:pt x="120" y="712"/>
                </a:lnTo>
                <a:lnTo>
                  <a:pt x="120" y="712"/>
                </a:lnTo>
                <a:lnTo>
                  <a:pt x="118" y="710"/>
                </a:lnTo>
                <a:lnTo>
                  <a:pt x="116" y="710"/>
                </a:lnTo>
                <a:lnTo>
                  <a:pt x="116" y="708"/>
                </a:lnTo>
                <a:lnTo>
                  <a:pt x="114" y="704"/>
                </a:lnTo>
                <a:lnTo>
                  <a:pt x="114" y="704"/>
                </a:lnTo>
                <a:lnTo>
                  <a:pt x="112" y="698"/>
                </a:lnTo>
                <a:lnTo>
                  <a:pt x="112" y="696"/>
                </a:lnTo>
                <a:lnTo>
                  <a:pt x="114" y="692"/>
                </a:lnTo>
                <a:lnTo>
                  <a:pt x="114" y="692"/>
                </a:lnTo>
                <a:lnTo>
                  <a:pt x="110" y="694"/>
                </a:lnTo>
                <a:lnTo>
                  <a:pt x="108" y="694"/>
                </a:lnTo>
                <a:lnTo>
                  <a:pt x="108" y="692"/>
                </a:lnTo>
                <a:lnTo>
                  <a:pt x="106" y="688"/>
                </a:lnTo>
                <a:lnTo>
                  <a:pt x="106" y="688"/>
                </a:lnTo>
                <a:lnTo>
                  <a:pt x="102" y="684"/>
                </a:lnTo>
                <a:lnTo>
                  <a:pt x="102" y="682"/>
                </a:lnTo>
                <a:lnTo>
                  <a:pt x="104" y="682"/>
                </a:lnTo>
                <a:lnTo>
                  <a:pt x="104" y="682"/>
                </a:lnTo>
                <a:lnTo>
                  <a:pt x="108" y="682"/>
                </a:lnTo>
                <a:lnTo>
                  <a:pt x="110" y="682"/>
                </a:lnTo>
                <a:lnTo>
                  <a:pt x="114" y="682"/>
                </a:lnTo>
                <a:lnTo>
                  <a:pt x="124" y="684"/>
                </a:lnTo>
                <a:lnTo>
                  <a:pt x="124" y="684"/>
                </a:lnTo>
                <a:lnTo>
                  <a:pt x="118" y="680"/>
                </a:lnTo>
                <a:lnTo>
                  <a:pt x="116" y="678"/>
                </a:lnTo>
                <a:lnTo>
                  <a:pt x="114" y="678"/>
                </a:lnTo>
                <a:lnTo>
                  <a:pt x="112" y="678"/>
                </a:lnTo>
                <a:lnTo>
                  <a:pt x="108" y="680"/>
                </a:lnTo>
                <a:lnTo>
                  <a:pt x="104" y="680"/>
                </a:lnTo>
                <a:lnTo>
                  <a:pt x="102" y="678"/>
                </a:lnTo>
                <a:lnTo>
                  <a:pt x="102" y="678"/>
                </a:lnTo>
                <a:lnTo>
                  <a:pt x="96" y="676"/>
                </a:lnTo>
                <a:lnTo>
                  <a:pt x="96" y="674"/>
                </a:lnTo>
                <a:lnTo>
                  <a:pt x="100" y="670"/>
                </a:lnTo>
                <a:lnTo>
                  <a:pt x="100" y="670"/>
                </a:lnTo>
                <a:lnTo>
                  <a:pt x="102" y="664"/>
                </a:lnTo>
                <a:lnTo>
                  <a:pt x="102" y="660"/>
                </a:lnTo>
                <a:lnTo>
                  <a:pt x="102" y="658"/>
                </a:lnTo>
                <a:lnTo>
                  <a:pt x="98" y="658"/>
                </a:lnTo>
                <a:lnTo>
                  <a:pt x="98" y="658"/>
                </a:lnTo>
                <a:lnTo>
                  <a:pt x="96" y="658"/>
                </a:lnTo>
                <a:lnTo>
                  <a:pt x="90" y="658"/>
                </a:lnTo>
                <a:lnTo>
                  <a:pt x="86" y="658"/>
                </a:lnTo>
                <a:lnTo>
                  <a:pt x="82" y="656"/>
                </a:lnTo>
                <a:lnTo>
                  <a:pt x="82" y="656"/>
                </a:lnTo>
                <a:lnTo>
                  <a:pt x="80" y="654"/>
                </a:lnTo>
                <a:lnTo>
                  <a:pt x="80" y="656"/>
                </a:lnTo>
                <a:lnTo>
                  <a:pt x="80" y="662"/>
                </a:lnTo>
                <a:lnTo>
                  <a:pt x="80" y="662"/>
                </a:lnTo>
                <a:lnTo>
                  <a:pt x="78" y="658"/>
                </a:lnTo>
                <a:lnTo>
                  <a:pt x="76" y="656"/>
                </a:lnTo>
                <a:lnTo>
                  <a:pt x="74" y="656"/>
                </a:lnTo>
                <a:lnTo>
                  <a:pt x="78" y="650"/>
                </a:lnTo>
                <a:lnTo>
                  <a:pt x="78" y="650"/>
                </a:lnTo>
                <a:lnTo>
                  <a:pt x="80" y="648"/>
                </a:lnTo>
                <a:lnTo>
                  <a:pt x="82" y="648"/>
                </a:lnTo>
                <a:lnTo>
                  <a:pt x="82" y="648"/>
                </a:lnTo>
                <a:lnTo>
                  <a:pt x="84" y="646"/>
                </a:lnTo>
                <a:lnTo>
                  <a:pt x="84" y="646"/>
                </a:lnTo>
                <a:lnTo>
                  <a:pt x="84" y="642"/>
                </a:lnTo>
                <a:lnTo>
                  <a:pt x="84" y="642"/>
                </a:lnTo>
                <a:lnTo>
                  <a:pt x="82" y="640"/>
                </a:lnTo>
                <a:lnTo>
                  <a:pt x="88" y="638"/>
                </a:lnTo>
                <a:lnTo>
                  <a:pt x="88" y="638"/>
                </a:lnTo>
                <a:lnTo>
                  <a:pt x="90" y="638"/>
                </a:lnTo>
                <a:lnTo>
                  <a:pt x="94" y="638"/>
                </a:lnTo>
                <a:lnTo>
                  <a:pt x="98" y="642"/>
                </a:lnTo>
                <a:lnTo>
                  <a:pt x="102" y="646"/>
                </a:lnTo>
                <a:lnTo>
                  <a:pt x="104" y="646"/>
                </a:lnTo>
                <a:lnTo>
                  <a:pt x="104" y="646"/>
                </a:lnTo>
                <a:lnTo>
                  <a:pt x="106" y="644"/>
                </a:lnTo>
                <a:lnTo>
                  <a:pt x="106" y="642"/>
                </a:lnTo>
                <a:lnTo>
                  <a:pt x="108" y="640"/>
                </a:lnTo>
                <a:lnTo>
                  <a:pt x="110" y="636"/>
                </a:lnTo>
                <a:lnTo>
                  <a:pt x="110" y="636"/>
                </a:lnTo>
                <a:lnTo>
                  <a:pt x="112" y="632"/>
                </a:lnTo>
                <a:lnTo>
                  <a:pt x="112" y="630"/>
                </a:lnTo>
                <a:lnTo>
                  <a:pt x="102" y="624"/>
                </a:lnTo>
                <a:lnTo>
                  <a:pt x="102" y="624"/>
                </a:lnTo>
                <a:lnTo>
                  <a:pt x="98" y="618"/>
                </a:lnTo>
                <a:lnTo>
                  <a:pt x="100" y="614"/>
                </a:lnTo>
                <a:lnTo>
                  <a:pt x="100" y="612"/>
                </a:lnTo>
                <a:lnTo>
                  <a:pt x="102" y="608"/>
                </a:lnTo>
                <a:lnTo>
                  <a:pt x="102" y="608"/>
                </a:lnTo>
                <a:lnTo>
                  <a:pt x="100" y="604"/>
                </a:lnTo>
                <a:lnTo>
                  <a:pt x="102" y="602"/>
                </a:lnTo>
                <a:lnTo>
                  <a:pt x="102" y="600"/>
                </a:lnTo>
                <a:lnTo>
                  <a:pt x="102" y="596"/>
                </a:lnTo>
                <a:lnTo>
                  <a:pt x="102" y="596"/>
                </a:lnTo>
                <a:lnTo>
                  <a:pt x="98" y="590"/>
                </a:lnTo>
                <a:lnTo>
                  <a:pt x="100" y="586"/>
                </a:lnTo>
                <a:lnTo>
                  <a:pt x="102" y="584"/>
                </a:lnTo>
                <a:lnTo>
                  <a:pt x="98" y="578"/>
                </a:lnTo>
                <a:lnTo>
                  <a:pt x="98" y="578"/>
                </a:lnTo>
                <a:lnTo>
                  <a:pt x="96" y="574"/>
                </a:lnTo>
                <a:lnTo>
                  <a:pt x="96" y="572"/>
                </a:lnTo>
                <a:lnTo>
                  <a:pt x="96" y="570"/>
                </a:lnTo>
                <a:lnTo>
                  <a:pt x="96" y="566"/>
                </a:lnTo>
                <a:lnTo>
                  <a:pt x="96" y="566"/>
                </a:lnTo>
                <a:lnTo>
                  <a:pt x="92" y="564"/>
                </a:lnTo>
                <a:lnTo>
                  <a:pt x="92" y="560"/>
                </a:lnTo>
                <a:lnTo>
                  <a:pt x="90" y="558"/>
                </a:lnTo>
                <a:lnTo>
                  <a:pt x="88" y="554"/>
                </a:lnTo>
                <a:lnTo>
                  <a:pt x="88" y="554"/>
                </a:lnTo>
                <a:lnTo>
                  <a:pt x="84" y="552"/>
                </a:lnTo>
                <a:lnTo>
                  <a:pt x="82" y="554"/>
                </a:lnTo>
                <a:lnTo>
                  <a:pt x="80" y="554"/>
                </a:lnTo>
                <a:lnTo>
                  <a:pt x="76" y="554"/>
                </a:lnTo>
                <a:lnTo>
                  <a:pt x="76" y="554"/>
                </a:lnTo>
                <a:lnTo>
                  <a:pt x="74" y="552"/>
                </a:lnTo>
                <a:lnTo>
                  <a:pt x="74" y="554"/>
                </a:lnTo>
                <a:lnTo>
                  <a:pt x="72" y="556"/>
                </a:lnTo>
                <a:lnTo>
                  <a:pt x="72" y="554"/>
                </a:lnTo>
                <a:lnTo>
                  <a:pt x="72" y="554"/>
                </a:lnTo>
                <a:lnTo>
                  <a:pt x="68" y="548"/>
                </a:lnTo>
                <a:lnTo>
                  <a:pt x="70" y="542"/>
                </a:lnTo>
                <a:lnTo>
                  <a:pt x="68" y="536"/>
                </a:lnTo>
                <a:lnTo>
                  <a:pt x="64" y="528"/>
                </a:lnTo>
                <a:lnTo>
                  <a:pt x="64" y="528"/>
                </a:lnTo>
                <a:lnTo>
                  <a:pt x="62" y="524"/>
                </a:lnTo>
                <a:lnTo>
                  <a:pt x="62" y="522"/>
                </a:lnTo>
                <a:lnTo>
                  <a:pt x="66" y="518"/>
                </a:lnTo>
                <a:lnTo>
                  <a:pt x="68" y="514"/>
                </a:lnTo>
                <a:lnTo>
                  <a:pt x="68" y="512"/>
                </a:lnTo>
                <a:lnTo>
                  <a:pt x="68" y="506"/>
                </a:lnTo>
                <a:lnTo>
                  <a:pt x="62" y="500"/>
                </a:lnTo>
                <a:lnTo>
                  <a:pt x="62" y="500"/>
                </a:lnTo>
                <a:lnTo>
                  <a:pt x="58" y="492"/>
                </a:lnTo>
                <a:lnTo>
                  <a:pt x="58" y="486"/>
                </a:lnTo>
                <a:lnTo>
                  <a:pt x="56" y="482"/>
                </a:lnTo>
                <a:lnTo>
                  <a:pt x="54" y="478"/>
                </a:lnTo>
                <a:lnTo>
                  <a:pt x="54" y="478"/>
                </a:lnTo>
                <a:lnTo>
                  <a:pt x="54" y="478"/>
                </a:lnTo>
                <a:lnTo>
                  <a:pt x="56" y="476"/>
                </a:lnTo>
                <a:lnTo>
                  <a:pt x="56" y="474"/>
                </a:lnTo>
                <a:lnTo>
                  <a:pt x="50" y="468"/>
                </a:lnTo>
                <a:lnTo>
                  <a:pt x="50" y="468"/>
                </a:lnTo>
                <a:lnTo>
                  <a:pt x="44" y="464"/>
                </a:lnTo>
                <a:lnTo>
                  <a:pt x="42" y="460"/>
                </a:lnTo>
                <a:lnTo>
                  <a:pt x="40" y="456"/>
                </a:lnTo>
                <a:lnTo>
                  <a:pt x="42" y="452"/>
                </a:lnTo>
                <a:lnTo>
                  <a:pt x="42" y="452"/>
                </a:lnTo>
                <a:lnTo>
                  <a:pt x="42" y="448"/>
                </a:lnTo>
                <a:lnTo>
                  <a:pt x="44" y="448"/>
                </a:lnTo>
                <a:lnTo>
                  <a:pt x="44" y="452"/>
                </a:lnTo>
                <a:lnTo>
                  <a:pt x="44" y="452"/>
                </a:lnTo>
                <a:lnTo>
                  <a:pt x="46" y="454"/>
                </a:lnTo>
                <a:lnTo>
                  <a:pt x="48" y="456"/>
                </a:lnTo>
                <a:lnTo>
                  <a:pt x="52" y="454"/>
                </a:lnTo>
                <a:lnTo>
                  <a:pt x="50" y="448"/>
                </a:lnTo>
                <a:lnTo>
                  <a:pt x="50" y="448"/>
                </a:lnTo>
                <a:lnTo>
                  <a:pt x="48" y="442"/>
                </a:lnTo>
                <a:lnTo>
                  <a:pt x="50" y="440"/>
                </a:lnTo>
                <a:lnTo>
                  <a:pt x="52" y="438"/>
                </a:lnTo>
                <a:lnTo>
                  <a:pt x="52" y="436"/>
                </a:lnTo>
                <a:lnTo>
                  <a:pt x="52" y="436"/>
                </a:lnTo>
                <a:lnTo>
                  <a:pt x="50" y="430"/>
                </a:lnTo>
                <a:lnTo>
                  <a:pt x="50" y="428"/>
                </a:lnTo>
                <a:lnTo>
                  <a:pt x="52" y="426"/>
                </a:lnTo>
                <a:lnTo>
                  <a:pt x="50" y="420"/>
                </a:lnTo>
                <a:lnTo>
                  <a:pt x="50" y="420"/>
                </a:lnTo>
                <a:lnTo>
                  <a:pt x="50" y="416"/>
                </a:lnTo>
                <a:lnTo>
                  <a:pt x="50" y="414"/>
                </a:lnTo>
                <a:lnTo>
                  <a:pt x="52" y="412"/>
                </a:lnTo>
                <a:lnTo>
                  <a:pt x="56" y="410"/>
                </a:lnTo>
                <a:lnTo>
                  <a:pt x="56" y="406"/>
                </a:lnTo>
                <a:lnTo>
                  <a:pt x="56" y="402"/>
                </a:lnTo>
                <a:lnTo>
                  <a:pt x="56" y="402"/>
                </a:lnTo>
                <a:lnTo>
                  <a:pt x="54" y="392"/>
                </a:lnTo>
                <a:lnTo>
                  <a:pt x="56" y="386"/>
                </a:lnTo>
                <a:lnTo>
                  <a:pt x="56" y="382"/>
                </a:lnTo>
                <a:lnTo>
                  <a:pt x="56" y="374"/>
                </a:lnTo>
                <a:lnTo>
                  <a:pt x="56" y="374"/>
                </a:lnTo>
                <a:lnTo>
                  <a:pt x="54" y="366"/>
                </a:lnTo>
                <a:lnTo>
                  <a:pt x="52" y="360"/>
                </a:lnTo>
                <a:lnTo>
                  <a:pt x="50" y="352"/>
                </a:lnTo>
                <a:lnTo>
                  <a:pt x="46" y="342"/>
                </a:lnTo>
                <a:lnTo>
                  <a:pt x="46" y="342"/>
                </a:lnTo>
                <a:lnTo>
                  <a:pt x="40" y="326"/>
                </a:lnTo>
                <a:lnTo>
                  <a:pt x="34" y="312"/>
                </a:lnTo>
                <a:lnTo>
                  <a:pt x="30" y="290"/>
                </a:lnTo>
                <a:lnTo>
                  <a:pt x="30" y="290"/>
                </a:lnTo>
                <a:lnTo>
                  <a:pt x="30" y="288"/>
                </a:lnTo>
                <a:lnTo>
                  <a:pt x="32" y="290"/>
                </a:lnTo>
                <a:lnTo>
                  <a:pt x="34" y="292"/>
                </a:lnTo>
                <a:lnTo>
                  <a:pt x="36" y="290"/>
                </a:lnTo>
                <a:lnTo>
                  <a:pt x="36" y="290"/>
                </a:lnTo>
                <a:lnTo>
                  <a:pt x="36" y="290"/>
                </a:lnTo>
                <a:lnTo>
                  <a:pt x="36" y="288"/>
                </a:lnTo>
                <a:lnTo>
                  <a:pt x="34" y="286"/>
                </a:lnTo>
                <a:lnTo>
                  <a:pt x="36" y="284"/>
                </a:lnTo>
                <a:lnTo>
                  <a:pt x="36" y="284"/>
                </a:lnTo>
                <a:lnTo>
                  <a:pt x="38" y="284"/>
                </a:lnTo>
                <a:lnTo>
                  <a:pt x="40" y="284"/>
                </a:lnTo>
                <a:lnTo>
                  <a:pt x="40" y="286"/>
                </a:lnTo>
                <a:lnTo>
                  <a:pt x="42" y="284"/>
                </a:lnTo>
                <a:lnTo>
                  <a:pt x="42" y="284"/>
                </a:lnTo>
                <a:lnTo>
                  <a:pt x="40" y="282"/>
                </a:lnTo>
                <a:lnTo>
                  <a:pt x="38" y="280"/>
                </a:lnTo>
                <a:lnTo>
                  <a:pt x="36" y="280"/>
                </a:lnTo>
                <a:lnTo>
                  <a:pt x="36" y="274"/>
                </a:lnTo>
                <a:lnTo>
                  <a:pt x="36" y="274"/>
                </a:lnTo>
                <a:lnTo>
                  <a:pt x="34" y="272"/>
                </a:lnTo>
                <a:lnTo>
                  <a:pt x="34" y="270"/>
                </a:lnTo>
                <a:lnTo>
                  <a:pt x="30" y="270"/>
                </a:lnTo>
                <a:lnTo>
                  <a:pt x="30" y="268"/>
                </a:lnTo>
                <a:lnTo>
                  <a:pt x="28" y="264"/>
                </a:lnTo>
                <a:lnTo>
                  <a:pt x="30" y="246"/>
                </a:lnTo>
                <a:lnTo>
                  <a:pt x="30" y="246"/>
                </a:lnTo>
                <a:lnTo>
                  <a:pt x="32" y="222"/>
                </a:lnTo>
                <a:lnTo>
                  <a:pt x="32" y="202"/>
                </a:lnTo>
                <a:lnTo>
                  <a:pt x="32" y="202"/>
                </a:lnTo>
                <a:lnTo>
                  <a:pt x="34" y="188"/>
                </a:lnTo>
                <a:lnTo>
                  <a:pt x="36" y="182"/>
                </a:lnTo>
                <a:lnTo>
                  <a:pt x="36" y="178"/>
                </a:lnTo>
                <a:lnTo>
                  <a:pt x="34" y="176"/>
                </a:lnTo>
                <a:lnTo>
                  <a:pt x="34" y="176"/>
                </a:lnTo>
                <a:lnTo>
                  <a:pt x="30" y="170"/>
                </a:lnTo>
                <a:lnTo>
                  <a:pt x="30" y="168"/>
                </a:lnTo>
                <a:lnTo>
                  <a:pt x="32" y="164"/>
                </a:lnTo>
                <a:lnTo>
                  <a:pt x="30" y="158"/>
                </a:lnTo>
                <a:lnTo>
                  <a:pt x="30" y="158"/>
                </a:lnTo>
                <a:lnTo>
                  <a:pt x="28" y="152"/>
                </a:lnTo>
                <a:lnTo>
                  <a:pt x="26" y="148"/>
                </a:lnTo>
                <a:lnTo>
                  <a:pt x="26" y="142"/>
                </a:lnTo>
                <a:lnTo>
                  <a:pt x="22" y="136"/>
                </a:lnTo>
                <a:lnTo>
                  <a:pt x="22" y="136"/>
                </a:lnTo>
                <a:lnTo>
                  <a:pt x="20" y="132"/>
                </a:lnTo>
                <a:lnTo>
                  <a:pt x="22" y="130"/>
                </a:lnTo>
                <a:lnTo>
                  <a:pt x="24" y="126"/>
                </a:lnTo>
                <a:lnTo>
                  <a:pt x="26" y="114"/>
                </a:lnTo>
                <a:lnTo>
                  <a:pt x="26" y="114"/>
                </a:lnTo>
                <a:lnTo>
                  <a:pt x="24" y="106"/>
                </a:lnTo>
                <a:lnTo>
                  <a:pt x="22" y="106"/>
                </a:lnTo>
                <a:lnTo>
                  <a:pt x="22" y="104"/>
                </a:lnTo>
                <a:lnTo>
                  <a:pt x="24" y="100"/>
                </a:lnTo>
                <a:lnTo>
                  <a:pt x="24" y="100"/>
                </a:lnTo>
                <a:lnTo>
                  <a:pt x="26" y="92"/>
                </a:lnTo>
                <a:lnTo>
                  <a:pt x="24" y="88"/>
                </a:lnTo>
                <a:lnTo>
                  <a:pt x="22" y="84"/>
                </a:lnTo>
                <a:lnTo>
                  <a:pt x="18" y="78"/>
                </a:lnTo>
                <a:lnTo>
                  <a:pt x="18" y="78"/>
                </a:lnTo>
                <a:lnTo>
                  <a:pt x="16" y="72"/>
                </a:lnTo>
                <a:lnTo>
                  <a:pt x="18" y="70"/>
                </a:lnTo>
                <a:lnTo>
                  <a:pt x="20" y="70"/>
                </a:lnTo>
                <a:lnTo>
                  <a:pt x="18" y="66"/>
                </a:lnTo>
                <a:lnTo>
                  <a:pt x="18" y="66"/>
                </a:lnTo>
                <a:lnTo>
                  <a:pt x="18" y="58"/>
                </a:lnTo>
                <a:lnTo>
                  <a:pt x="16" y="52"/>
                </a:lnTo>
                <a:lnTo>
                  <a:pt x="16" y="46"/>
                </a:lnTo>
                <a:lnTo>
                  <a:pt x="14" y="40"/>
                </a:lnTo>
                <a:lnTo>
                  <a:pt x="14" y="40"/>
                </a:lnTo>
                <a:lnTo>
                  <a:pt x="10" y="34"/>
                </a:lnTo>
                <a:lnTo>
                  <a:pt x="10" y="32"/>
                </a:lnTo>
                <a:lnTo>
                  <a:pt x="10" y="30"/>
                </a:lnTo>
                <a:lnTo>
                  <a:pt x="8" y="26"/>
                </a:lnTo>
                <a:lnTo>
                  <a:pt x="8" y="26"/>
                </a:lnTo>
                <a:lnTo>
                  <a:pt x="4" y="16"/>
                </a:lnTo>
                <a:lnTo>
                  <a:pt x="0" y="12"/>
                </a:lnTo>
                <a:lnTo>
                  <a:pt x="0" y="12"/>
                </a:lnTo>
                <a:lnTo>
                  <a:pt x="10" y="8"/>
                </a:lnTo>
                <a:lnTo>
                  <a:pt x="12" y="6"/>
                </a:lnTo>
                <a:lnTo>
                  <a:pt x="10" y="4"/>
                </a:lnTo>
                <a:lnTo>
                  <a:pt x="10" y="2"/>
                </a:lnTo>
                <a:lnTo>
                  <a:pt x="10" y="0"/>
                </a:lnTo>
                <a:lnTo>
                  <a:pt x="14" y="0"/>
                </a:lnTo>
                <a:lnTo>
                  <a:pt x="14" y="0"/>
                </a:lnTo>
                <a:lnTo>
                  <a:pt x="24" y="10"/>
                </a:lnTo>
                <a:lnTo>
                  <a:pt x="30" y="16"/>
                </a:lnTo>
                <a:lnTo>
                  <a:pt x="34" y="24"/>
                </a:lnTo>
                <a:lnTo>
                  <a:pt x="42" y="38"/>
                </a:lnTo>
                <a:lnTo>
                  <a:pt x="42" y="38"/>
                </a:lnTo>
                <a:lnTo>
                  <a:pt x="46" y="46"/>
                </a:lnTo>
                <a:lnTo>
                  <a:pt x="46" y="54"/>
                </a:lnTo>
                <a:lnTo>
                  <a:pt x="48" y="64"/>
                </a:lnTo>
                <a:lnTo>
                  <a:pt x="52" y="74"/>
                </a:lnTo>
                <a:lnTo>
                  <a:pt x="52" y="74"/>
                </a:lnTo>
                <a:lnTo>
                  <a:pt x="60" y="86"/>
                </a:lnTo>
                <a:lnTo>
                  <a:pt x="64" y="98"/>
                </a:lnTo>
                <a:lnTo>
                  <a:pt x="66" y="114"/>
                </a:lnTo>
                <a:lnTo>
                  <a:pt x="68" y="120"/>
                </a:lnTo>
                <a:lnTo>
                  <a:pt x="70" y="124"/>
                </a:lnTo>
                <a:lnTo>
                  <a:pt x="74" y="126"/>
                </a:lnTo>
                <a:lnTo>
                  <a:pt x="84" y="124"/>
                </a:lnTo>
                <a:lnTo>
                  <a:pt x="84" y="124"/>
                </a:lnTo>
                <a:lnTo>
                  <a:pt x="88" y="126"/>
                </a:lnTo>
                <a:lnTo>
                  <a:pt x="88" y="128"/>
                </a:lnTo>
                <a:lnTo>
                  <a:pt x="90" y="130"/>
                </a:lnTo>
                <a:lnTo>
                  <a:pt x="90" y="130"/>
                </a:lnTo>
                <a:lnTo>
                  <a:pt x="86" y="148"/>
                </a:lnTo>
                <a:lnTo>
                  <a:pt x="84" y="152"/>
                </a:lnTo>
                <a:lnTo>
                  <a:pt x="78" y="158"/>
                </a:lnTo>
                <a:lnTo>
                  <a:pt x="78" y="158"/>
                </a:lnTo>
                <a:lnTo>
                  <a:pt x="68" y="164"/>
                </a:lnTo>
                <a:lnTo>
                  <a:pt x="68" y="166"/>
                </a:lnTo>
                <a:lnTo>
                  <a:pt x="68" y="168"/>
                </a:lnTo>
                <a:lnTo>
                  <a:pt x="72" y="170"/>
                </a:lnTo>
                <a:lnTo>
                  <a:pt x="72" y="172"/>
                </a:lnTo>
                <a:lnTo>
                  <a:pt x="70" y="176"/>
                </a:lnTo>
                <a:lnTo>
                  <a:pt x="70" y="176"/>
                </a:lnTo>
                <a:lnTo>
                  <a:pt x="66" y="184"/>
                </a:lnTo>
                <a:lnTo>
                  <a:pt x="66" y="188"/>
                </a:lnTo>
                <a:lnTo>
                  <a:pt x="68" y="192"/>
                </a:lnTo>
                <a:lnTo>
                  <a:pt x="72" y="196"/>
                </a:lnTo>
                <a:lnTo>
                  <a:pt x="76" y="202"/>
                </a:lnTo>
                <a:lnTo>
                  <a:pt x="76" y="204"/>
                </a:lnTo>
                <a:lnTo>
                  <a:pt x="74" y="208"/>
                </a:lnTo>
                <a:lnTo>
                  <a:pt x="74" y="208"/>
                </a:lnTo>
                <a:lnTo>
                  <a:pt x="78" y="212"/>
                </a:lnTo>
                <a:lnTo>
                  <a:pt x="80" y="214"/>
                </a:lnTo>
                <a:lnTo>
                  <a:pt x="80" y="218"/>
                </a:lnTo>
                <a:lnTo>
                  <a:pt x="78" y="224"/>
                </a:lnTo>
                <a:lnTo>
                  <a:pt x="78" y="224"/>
                </a:lnTo>
                <a:lnTo>
                  <a:pt x="74" y="230"/>
                </a:lnTo>
                <a:lnTo>
                  <a:pt x="74" y="234"/>
                </a:lnTo>
                <a:lnTo>
                  <a:pt x="72" y="238"/>
                </a:lnTo>
                <a:lnTo>
                  <a:pt x="70" y="242"/>
                </a:lnTo>
                <a:lnTo>
                  <a:pt x="70" y="242"/>
                </a:lnTo>
                <a:lnTo>
                  <a:pt x="66" y="246"/>
                </a:lnTo>
                <a:lnTo>
                  <a:pt x="68" y="248"/>
                </a:lnTo>
                <a:lnTo>
                  <a:pt x="68" y="252"/>
                </a:lnTo>
                <a:lnTo>
                  <a:pt x="66" y="256"/>
                </a:lnTo>
                <a:lnTo>
                  <a:pt x="66" y="256"/>
                </a:lnTo>
                <a:lnTo>
                  <a:pt x="62" y="260"/>
                </a:lnTo>
                <a:lnTo>
                  <a:pt x="62" y="264"/>
                </a:lnTo>
                <a:lnTo>
                  <a:pt x="62" y="270"/>
                </a:lnTo>
                <a:lnTo>
                  <a:pt x="64" y="276"/>
                </a:lnTo>
                <a:lnTo>
                  <a:pt x="64" y="282"/>
                </a:lnTo>
                <a:lnTo>
                  <a:pt x="64" y="282"/>
                </a:lnTo>
                <a:lnTo>
                  <a:pt x="62" y="288"/>
                </a:lnTo>
                <a:lnTo>
                  <a:pt x="62" y="292"/>
                </a:lnTo>
                <a:lnTo>
                  <a:pt x="64" y="296"/>
                </a:lnTo>
                <a:lnTo>
                  <a:pt x="62" y="304"/>
                </a:lnTo>
                <a:lnTo>
                  <a:pt x="62" y="304"/>
                </a:lnTo>
                <a:lnTo>
                  <a:pt x="60" y="310"/>
                </a:lnTo>
                <a:lnTo>
                  <a:pt x="60" y="316"/>
                </a:lnTo>
                <a:lnTo>
                  <a:pt x="60" y="326"/>
                </a:lnTo>
                <a:lnTo>
                  <a:pt x="62" y="332"/>
                </a:lnTo>
                <a:lnTo>
                  <a:pt x="66" y="334"/>
                </a:lnTo>
                <a:lnTo>
                  <a:pt x="66" y="334"/>
                </a:lnTo>
                <a:lnTo>
                  <a:pt x="68" y="334"/>
                </a:lnTo>
                <a:lnTo>
                  <a:pt x="70" y="336"/>
                </a:lnTo>
                <a:lnTo>
                  <a:pt x="72" y="340"/>
                </a:lnTo>
                <a:lnTo>
                  <a:pt x="70" y="344"/>
                </a:lnTo>
                <a:lnTo>
                  <a:pt x="70" y="344"/>
                </a:lnTo>
                <a:lnTo>
                  <a:pt x="68" y="346"/>
                </a:lnTo>
                <a:lnTo>
                  <a:pt x="70" y="350"/>
                </a:lnTo>
                <a:lnTo>
                  <a:pt x="74" y="354"/>
                </a:lnTo>
                <a:lnTo>
                  <a:pt x="80" y="360"/>
                </a:lnTo>
                <a:lnTo>
                  <a:pt x="82" y="364"/>
                </a:lnTo>
                <a:lnTo>
                  <a:pt x="82" y="368"/>
                </a:lnTo>
                <a:lnTo>
                  <a:pt x="82" y="368"/>
                </a:lnTo>
                <a:lnTo>
                  <a:pt x="82" y="376"/>
                </a:lnTo>
                <a:lnTo>
                  <a:pt x="84" y="376"/>
                </a:lnTo>
                <a:lnTo>
                  <a:pt x="86" y="374"/>
                </a:lnTo>
                <a:lnTo>
                  <a:pt x="86" y="374"/>
                </a:lnTo>
                <a:lnTo>
                  <a:pt x="90" y="374"/>
                </a:lnTo>
                <a:lnTo>
                  <a:pt x="92" y="374"/>
                </a:lnTo>
                <a:lnTo>
                  <a:pt x="92" y="376"/>
                </a:lnTo>
                <a:lnTo>
                  <a:pt x="92" y="382"/>
                </a:lnTo>
                <a:lnTo>
                  <a:pt x="92" y="382"/>
                </a:lnTo>
                <a:lnTo>
                  <a:pt x="90" y="388"/>
                </a:lnTo>
                <a:lnTo>
                  <a:pt x="92" y="392"/>
                </a:lnTo>
                <a:lnTo>
                  <a:pt x="94" y="396"/>
                </a:lnTo>
                <a:lnTo>
                  <a:pt x="90" y="402"/>
                </a:lnTo>
                <a:lnTo>
                  <a:pt x="90" y="402"/>
                </a:lnTo>
                <a:lnTo>
                  <a:pt x="94" y="406"/>
                </a:lnTo>
                <a:lnTo>
                  <a:pt x="96" y="410"/>
                </a:lnTo>
                <a:lnTo>
                  <a:pt x="94" y="416"/>
                </a:lnTo>
                <a:lnTo>
                  <a:pt x="88" y="422"/>
                </a:lnTo>
                <a:lnTo>
                  <a:pt x="88" y="422"/>
                </a:lnTo>
                <a:lnTo>
                  <a:pt x="84" y="430"/>
                </a:lnTo>
                <a:lnTo>
                  <a:pt x="82" y="436"/>
                </a:lnTo>
                <a:lnTo>
                  <a:pt x="84" y="442"/>
                </a:lnTo>
                <a:lnTo>
                  <a:pt x="84" y="452"/>
                </a:lnTo>
                <a:lnTo>
                  <a:pt x="84" y="452"/>
                </a:lnTo>
                <a:lnTo>
                  <a:pt x="86" y="456"/>
                </a:lnTo>
                <a:lnTo>
                  <a:pt x="88" y="460"/>
                </a:lnTo>
                <a:lnTo>
                  <a:pt x="92" y="466"/>
                </a:lnTo>
                <a:lnTo>
                  <a:pt x="98" y="472"/>
                </a:lnTo>
                <a:lnTo>
                  <a:pt x="98" y="476"/>
                </a:lnTo>
                <a:lnTo>
                  <a:pt x="98" y="480"/>
                </a:lnTo>
                <a:lnTo>
                  <a:pt x="98" y="480"/>
                </a:lnTo>
                <a:lnTo>
                  <a:pt x="96" y="482"/>
                </a:lnTo>
                <a:lnTo>
                  <a:pt x="92" y="484"/>
                </a:lnTo>
                <a:lnTo>
                  <a:pt x="92" y="484"/>
                </a:lnTo>
                <a:lnTo>
                  <a:pt x="94" y="490"/>
                </a:lnTo>
                <a:lnTo>
                  <a:pt x="94" y="490"/>
                </a:lnTo>
                <a:lnTo>
                  <a:pt x="96" y="494"/>
                </a:lnTo>
                <a:lnTo>
                  <a:pt x="94" y="496"/>
                </a:lnTo>
                <a:lnTo>
                  <a:pt x="90" y="500"/>
                </a:lnTo>
                <a:lnTo>
                  <a:pt x="90" y="500"/>
                </a:lnTo>
                <a:lnTo>
                  <a:pt x="92" y="504"/>
                </a:lnTo>
                <a:lnTo>
                  <a:pt x="92" y="504"/>
                </a:lnTo>
                <a:lnTo>
                  <a:pt x="92" y="506"/>
                </a:lnTo>
                <a:lnTo>
                  <a:pt x="90" y="508"/>
                </a:lnTo>
                <a:lnTo>
                  <a:pt x="90" y="510"/>
                </a:lnTo>
                <a:lnTo>
                  <a:pt x="92" y="514"/>
                </a:lnTo>
                <a:lnTo>
                  <a:pt x="92" y="514"/>
                </a:lnTo>
                <a:lnTo>
                  <a:pt x="92" y="522"/>
                </a:lnTo>
                <a:lnTo>
                  <a:pt x="94" y="530"/>
                </a:lnTo>
                <a:lnTo>
                  <a:pt x="100" y="540"/>
                </a:lnTo>
                <a:lnTo>
                  <a:pt x="104" y="546"/>
                </a:lnTo>
                <a:lnTo>
                  <a:pt x="104" y="548"/>
                </a:lnTo>
                <a:lnTo>
                  <a:pt x="102" y="550"/>
                </a:lnTo>
                <a:lnTo>
                  <a:pt x="102" y="550"/>
                </a:lnTo>
                <a:lnTo>
                  <a:pt x="98" y="552"/>
                </a:lnTo>
                <a:lnTo>
                  <a:pt x="100" y="554"/>
                </a:lnTo>
                <a:lnTo>
                  <a:pt x="102" y="556"/>
                </a:lnTo>
                <a:lnTo>
                  <a:pt x="102" y="560"/>
                </a:lnTo>
                <a:lnTo>
                  <a:pt x="102" y="560"/>
                </a:lnTo>
                <a:lnTo>
                  <a:pt x="102" y="562"/>
                </a:lnTo>
                <a:lnTo>
                  <a:pt x="102" y="564"/>
                </a:lnTo>
                <a:lnTo>
                  <a:pt x="106" y="566"/>
                </a:lnTo>
                <a:lnTo>
                  <a:pt x="108" y="566"/>
                </a:lnTo>
                <a:lnTo>
                  <a:pt x="108" y="570"/>
                </a:lnTo>
                <a:lnTo>
                  <a:pt x="108" y="570"/>
                </a:lnTo>
                <a:lnTo>
                  <a:pt x="106" y="570"/>
                </a:lnTo>
                <a:lnTo>
                  <a:pt x="108" y="572"/>
                </a:lnTo>
                <a:lnTo>
                  <a:pt x="110" y="574"/>
                </a:lnTo>
                <a:lnTo>
                  <a:pt x="114" y="576"/>
                </a:lnTo>
                <a:lnTo>
                  <a:pt x="114" y="578"/>
                </a:lnTo>
                <a:lnTo>
                  <a:pt x="112" y="582"/>
                </a:lnTo>
                <a:lnTo>
                  <a:pt x="112" y="582"/>
                </a:lnTo>
                <a:lnTo>
                  <a:pt x="110" y="586"/>
                </a:lnTo>
                <a:lnTo>
                  <a:pt x="110" y="588"/>
                </a:lnTo>
                <a:lnTo>
                  <a:pt x="112" y="590"/>
                </a:lnTo>
                <a:lnTo>
                  <a:pt x="114" y="588"/>
                </a:lnTo>
                <a:lnTo>
                  <a:pt x="114" y="588"/>
                </a:lnTo>
                <a:lnTo>
                  <a:pt x="118" y="586"/>
                </a:lnTo>
                <a:lnTo>
                  <a:pt x="120" y="586"/>
                </a:lnTo>
                <a:lnTo>
                  <a:pt x="122" y="590"/>
                </a:lnTo>
                <a:lnTo>
                  <a:pt x="120" y="594"/>
                </a:lnTo>
                <a:lnTo>
                  <a:pt x="120" y="594"/>
                </a:lnTo>
                <a:lnTo>
                  <a:pt x="118" y="598"/>
                </a:lnTo>
                <a:lnTo>
                  <a:pt x="114" y="598"/>
                </a:lnTo>
                <a:lnTo>
                  <a:pt x="114" y="600"/>
                </a:lnTo>
                <a:lnTo>
                  <a:pt x="114" y="604"/>
                </a:lnTo>
                <a:lnTo>
                  <a:pt x="114" y="604"/>
                </a:lnTo>
                <a:lnTo>
                  <a:pt x="120" y="608"/>
                </a:lnTo>
                <a:lnTo>
                  <a:pt x="126" y="612"/>
                </a:lnTo>
                <a:lnTo>
                  <a:pt x="130" y="614"/>
                </a:lnTo>
                <a:lnTo>
                  <a:pt x="130" y="616"/>
                </a:lnTo>
                <a:lnTo>
                  <a:pt x="128" y="618"/>
                </a:lnTo>
                <a:lnTo>
                  <a:pt x="128" y="618"/>
                </a:lnTo>
                <a:lnTo>
                  <a:pt x="126" y="620"/>
                </a:lnTo>
                <a:lnTo>
                  <a:pt x="126" y="622"/>
                </a:lnTo>
                <a:lnTo>
                  <a:pt x="126" y="624"/>
                </a:lnTo>
                <a:lnTo>
                  <a:pt x="124" y="628"/>
                </a:lnTo>
                <a:lnTo>
                  <a:pt x="124" y="628"/>
                </a:lnTo>
                <a:lnTo>
                  <a:pt x="124" y="628"/>
                </a:lnTo>
                <a:lnTo>
                  <a:pt x="124" y="630"/>
                </a:lnTo>
                <a:lnTo>
                  <a:pt x="128" y="632"/>
                </a:lnTo>
                <a:lnTo>
                  <a:pt x="134" y="636"/>
                </a:lnTo>
                <a:lnTo>
                  <a:pt x="134" y="640"/>
                </a:lnTo>
                <a:lnTo>
                  <a:pt x="134" y="644"/>
                </a:lnTo>
                <a:lnTo>
                  <a:pt x="134" y="644"/>
                </a:lnTo>
                <a:lnTo>
                  <a:pt x="132" y="650"/>
                </a:lnTo>
                <a:lnTo>
                  <a:pt x="132" y="656"/>
                </a:lnTo>
                <a:lnTo>
                  <a:pt x="136" y="662"/>
                </a:lnTo>
                <a:lnTo>
                  <a:pt x="138" y="668"/>
                </a:lnTo>
                <a:lnTo>
                  <a:pt x="138" y="670"/>
                </a:lnTo>
                <a:lnTo>
                  <a:pt x="138" y="672"/>
                </a:lnTo>
                <a:lnTo>
                  <a:pt x="138" y="672"/>
                </a:lnTo>
                <a:lnTo>
                  <a:pt x="134" y="676"/>
                </a:lnTo>
                <a:lnTo>
                  <a:pt x="136" y="676"/>
                </a:lnTo>
                <a:lnTo>
                  <a:pt x="136" y="678"/>
                </a:lnTo>
                <a:lnTo>
                  <a:pt x="134" y="682"/>
                </a:lnTo>
                <a:lnTo>
                  <a:pt x="134" y="682"/>
                </a:lnTo>
                <a:lnTo>
                  <a:pt x="134" y="684"/>
                </a:lnTo>
                <a:lnTo>
                  <a:pt x="134" y="688"/>
                </a:lnTo>
                <a:lnTo>
                  <a:pt x="138" y="690"/>
                </a:lnTo>
                <a:lnTo>
                  <a:pt x="142" y="694"/>
                </a:lnTo>
                <a:lnTo>
                  <a:pt x="142" y="696"/>
                </a:lnTo>
                <a:lnTo>
                  <a:pt x="140" y="698"/>
                </a:lnTo>
                <a:lnTo>
                  <a:pt x="140" y="698"/>
                </a:lnTo>
                <a:lnTo>
                  <a:pt x="140" y="704"/>
                </a:lnTo>
                <a:lnTo>
                  <a:pt x="142" y="708"/>
                </a:lnTo>
                <a:lnTo>
                  <a:pt x="144" y="710"/>
                </a:lnTo>
                <a:lnTo>
                  <a:pt x="144" y="714"/>
                </a:lnTo>
                <a:lnTo>
                  <a:pt x="144" y="714"/>
                </a:lnTo>
                <a:lnTo>
                  <a:pt x="142" y="720"/>
                </a:lnTo>
                <a:lnTo>
                  <a:pt x="142" y="726"/>
                </a:lnTo>
                <a:lnTo>
                  <a:pt x="146" y="734"/>
                </a:lnTo>
                <a:lnTo>
                  <a:pt x="148" y="738"/>
                </a:lnTo>
                <a:lnTo>
                  <a:pt x="148" y="738"/>
                </a:lnTo>
                <a:lnTo>
                  <a:pt x="150" y="736"/>
                </a:lnTo>
                <a:lnTo>
                  <a:pt x="154" y="734"/>
                </a:lnTo>
                <a:lnTo>
                  <a:pt x="158" y="730"/>
                </a:lnTo>
                <a:lnTo>
                  <a:pt x="162" y="730"/>
                </a:lnTo>
                <a:lnTo>
                  <a:pt x="162" y="730"/>
                </a:lnTo>
                <a:lnTo>
                  <a:pt x="166" y="734"/>
                </a:lnTo>
                <a:lnTo>
                  <a:pt x="166" y="738"/>
                </a:lnTo>
                <a:lnTo>
                  <a:pt x="164" y="740"/>
                </a:lnTo>
                <a:lnTo>
                  <a:pt x="166" y="744"/>
                </a:lnTo>
                <a:lnTo>
                  <a:pt x="166" y="744"/>
                </a:lnTo>
                <a:lnTo>
                  <a:pt x="168" y="748"/>
                </a:lnTo>
                <a:lnTo>
                  <a:pt x="168" y="750"/>
                </a:lnTo>
                <a:lnTo>
                  <a:pt x="170" y="752"/>
                </a:lnTo>
                <a:lnTo>
                  <a:pt x="176" y="752"/>
                </a:lnTo>
                <a:lnTo>
                  <a:pt x="176" y="752"/>
                </a:lnTo>
                <a:lnTo>
                  <a:pt x="180" y="754"/>
                </a:lnTo>
                <a:lnTo>
                  <a:pt x="184" y="756"/>
                </a:lnTo>
                <a:lnTo>
                  <a:pt x="184" y="758"/>
                </a:lnTo>
                <a:lnTo>
                  <a:pt x="218" y="758"/>
                </a:lnTo>
                <a:lnTo>
                  <a:pt x="218" y="758"/>
                </a:lnTo>
                <a:lnTo>
                  <a:pt x="222" y="760"/>
                </a:lnTo>
                <a:lnTo>
                  <a:pt x="226" y="758"/>
                </a:lnTo>
                <a:lnTo>
                  <a:pt x="232" y="760"/>
                </a:lnTo>
                <a:lnTo>
                  <a:pt x="244" y="764"/>
                </a:lnTo>
                <a:lnTo>
                  <a:pt x="244" y="764"/>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23" name="China"/>
          <p:cNvSpPr>
            <a:spLocks/>
          </p:cNvSpPr>
          <p:nvPr/>
        </p:nvSpPr>
        <p:spPr bwMode="auto">
          <a:xfrm>
            <a:off x="5954313" y="1323084"/>
            <a:ext cx="1200940" cy="853547"/>
          </a:xfrm>
          <a:custGeom>
            <a:avLst/>
            <a:gdLst/>
            <a:ahLst/>
            <a:cxnLst>
              <a:cxn ang="0">
                <a:pos x="124" y="124"/>
              </a:cxn>
              <a:cxn ang="0">
                <a:pos x="80" y="176"/>
              </a:cxn>
              <a:cxn ang="0">
                <a:pos x="96" y="230"/>
              </a:cxn>
              <a:cxn ang="0">
                <a:pos x="42" y="262"/>
              </a:cxn>
              <a:cxn ang="0">
                <a:pos x="8" y="296"/>
              </a:cxn>
              <a:cxn ang="0">
                <a:pos x="26" y="338"/>
              </a:cxn>
              <a:cxn ang="0">
                <a:pos x="94" y="366"/>
              </a:cxn>
              <a:cxn ang="0">
                <a:pos x="156" y="450"/>
              </a:cxn>
              <a:cxn ang="0">
                <a:pos x="200" y="498"/>
              </a:cxn>
              <a:cxn ang="0">
                <a:pos x="288" y="534"/>
              </a:cxn>
              <a:cxn ang="0">
                <a:pos x="372" y="558"/>
              </a:cxn>
              <a:cxn ang="0">
                <a:pos x="432" y="550"/>
              </a:cxn>
              <a:cxn ang="0">
                <a:pos x="524" y="522"/>
              </a:cxn>
              <a:cxn ang="0">
                <a:pos x="556" y="536"/>
              </a:cxn>
              <a:cxn ang="0">
                <a:pos x="602" y="604"/>
              </a:cxn>
              <a:cxn ang="0">
                <a:pos x="586" y="650"/>
              </a:cxn>
              <a:cxn ang="0">
                <a:pos x="596" y="674"/>
              </a:cxn>
              <a:cxn ang="0">
                <a:pos x="602" y="710"/>
              </a:cxn>
              <a:cxn ang="0">
                <a:pos x="666" y="724"/>
              </a:cxn>
              <a:cxn ang="0">
                <a:pos x="692" y="700"/>
              </a:cxn>
              <a:cxn ang="0">
                <a:pos x="730" y="694"/>
              </a:cxn>
              <a:cxn ang="0">
                <a:pos x="780" y="698"/>
              </a:cxn>
              <a:cxn ang="0">
                <a:pos x="806" y="718"/>
              </a:cxn>
              <a:cxn ang="0">
                <a:pos x="840" y="720"/>
              </a:cxn>
              <a:cxn ang="0">
                <a:pos x="860" y="732"/>
              </a:cxn>
              <a:cxn ang="0">
                <a:pos x="856" y="712"/>
              </a:cxn>
              <a:cxn ang="0">
                <a:pos x="912" y="694"/>
              </a:cxn>
              <a:cxn ang="0">
                <a:pos x="944" y="684"/>
              </a:cxn>
              <a:cxn ang="0">
                <a:pos x="986" y="656"/>
              </a:cxn>
              <a:cxn ang="0">
                <a:pos x="1012" y="620"/>
              </a:cxn>
              <a:cxn ang="0">
                <a:pos x="1026" y="582"/>
              </a:cxn>
              <a:cxn ang="0">
                <a:pos x="1034" y="530"/>
              </a:cxn>
              <a:cxn ang="0">
                <a:pos x="992" y="510"/>
              </a:cxn>
              <a:cxn ang="0">
                <a:pos x="1016" y="492"/>
              </a:cxn>
              <a:cxn ang="0">
                <a:pos x="988" y="472"/>
              </a:cxn>
              <a:cxn ang="0">
                <a:pos x="974" y="442"/>
              </a:cxn>
              <a:cxn ang="0">
                <a:pos x="922" y="402"/>
              </a:cxn>
              <a:cxn ang="0">
                <a:pos x="942" y="370"/>
              </a:cxn>
              <a:cxn ang="0">
                <a:pos x="962" y="348"/>
              </a:cxn>
              <a:cxn ang="0">
                <a:pos x="906" y="352"/>
              </a:cxn>
              <a:cxn ang="0">
                <a:pos x="834" y="310"/>
              </a:cxn>
              <a:cxn ang="0">
                <a:pos x="886" y="270"/>
              </a:cxn>
              <a:cxn ang="0">
                <a:pos x="904" y="302"/>
              </a:cxn>
              <a:cxn ang="0">
                <a:pos x="916" y="306"/>
              </a:cxn>
              <a:cxn ang="0">
                <a:pos x="980" y="256"/>
              </a:cxn>
              <a:cxn ang="0">
                <a:pos x="1032" y="224"/>
              </a:cxn>
              <a:cxn ang="0">
                <a:pos x="1038" y="186"/>
              </a:cxn>
              <a:cxn ang="0">
                <a:pos x="1042" y="120"/>
              </a:cxn>
              <a:cxn ang="0">
                <a:pos x="970" y="96"/>
              </a:cxn>
              <a:cxn ang="0">
                <a:pos x="764" y="0"/>
              </a:cxn>
              <a:cxn ang="0">
                <a:pos x="730" y="26"/>
              </a:cxn>
              <a:cxn ang="0">
                <a:pos x="644" y="90"/>
              </a:cxn>
              <a:cxn ang="0">
                <a:pos x="710" y="100"/>
              </a:cxn>
              <a:cxn ang="0">
                <a:pos x="750" y="132"/>
              </a:cxn>
              <a:cxn ang="0">
                <a:pos x="684" y="168"/>
              </a:cxn>
              <a:cxn ang="0">
                <a:pos x="678" y="206"/>
              </a:cxn>
              <a:cxn ang="0">
                <a:pos x="526" y="222"/>
              </a:cxn>
              <a:cxn ang="0">
                <a:pos x="412" y="210"/>
              </a:cxn>
              <a:cxn ang="0">
                <a:pos x="380" y="176"/>
              </a:cxn>
              <a:cxn ang="0">
                <a:pos x="276" y="156"/>
              </a:cxn>
              <a:cxn ang="0">
                <a:pos x="226" y="108"/>
              </a:cxn>
            </a:cxnLst>
            <a:rect l="0" t="0" r="r" b="b"/>
            <a:pathLst>
              <a:path w="1054" h="750">
                <a:moveTo>
                  <a:pt x="182" y="88"/>
                </a:moveTo>
                <a:lnTo>
                  <a:pt x="182" y="88"/>
                </a:lnTo>
                <a:lnTo>
                  <a:pt x="180" y="88"/>
                </a:lnTo>
                <a:lnTo>
                  <a:pt x="176" y="88"/>
                </a:lnTo>
                <a:lnTo>
                  <a:pt x="176" y="88"/>
                </a:lnTo>
                <a:lnTo>
                  <a:pt x="174" y="90"/>
                </a:lnTo>
                <a:lnTo>
                  <a:pt x="172" y="92"/>
                </a:lnTo>
                <a:lnTo>
                  <a:pt x="160" y="92"/>
                </a:lnTo>
                <a:lnTo>
                  <a:pt x="156" y="92"/>
                </a:lnTo>
                <a:lnTo>
                  <a:pt x="152" y="96"/>
                </a:lnTo>
                <a:lnTo>
                  <a:pt x="152" y="104"/>
                </a:lnTo>
                <a:lnTo>
                  <a:pt x="154" y="116"/>
                </a:lnTo>
                <a:lnTo>
                  <a:pt x="154" y="116"/>
                </a:lnTo>
                <a:lnTo>
                  <a:pt x="154" y="118"/>
                </a:lnTo>
                <a:lnTo>
                  <a:pt x="152" y="120"/>
                </a:lnTo>
                <a:lnTo>
                  <a:pt x="144" y="124"/>
                </a:lnTo>
                <a:lnTo>
                  <a:pt x="134" y="126"/>
                </a:lnTo>
                <a:lnTo>
                  <a:pt x="124" y="124"/>
                </a:lnTo>
                <a:lnTo>
                  <a:pt x="124" y="124"/>
                </a:lnTo>
                <a:lnTo>
                  <a:pt x="118" y="122"/>
                </a:lnTo>
                <a:lnTo>
                  <a:pt x="114" y="122"/>
                </a:lnTo>
                <a:lnTo>
                  <a:pt x="110" y="124"/>
                </a:lnTo>
                <a:lnTo>
                  <a:pt x="110" y="128"/>
                </a:lnTo>
                <a:lnTo>
                  <a:pt x="110" y="138"/>
                </a:lnTo>
                <a:lnTo>
                  <a:pt x="112" y="156"/>
                </a:lnTo>
                <a:lnTo>
                  <a:pt x="112" y="156"/>
                </a:lnTo>
                <a:lnTo>
                  <a:pt x="112" y="160"/>
                </a:lnTo>
                <a:lnTo>
                  <a:pt x="112" y="162"/>
                </a:lnTo>
                <a:lnTo>
                  <a:pt x="104" y="162"/>
                </a:lnTo>
                <a:lnTo>
                  <a:pt x="94" y="162"/>
                </a:lnTo>
                <a:lnTo>
                  <a:pt x="86" y="164"/>
                </a:lnTo>
                <a:lnTo>
                  <a:pt x="86" y="164"/>
                </a:lnTo>
                <a:lnTo>
                  <a:pt x="80" y="168"/>
                </a:lnTo>
                <a:lnTo>
                  <a:pt x="78" y="172"/>
                </a:lnTo>
                <a:lnTo>
                  <a:pt x="78" y="176"/>
                </a:lnTo>
                <a:lnTo>
                  <a:pt x="80" y="176"/>
                </a:lnTo>
                <a:lnTo>
                  <a:pt x="80" y="176"/>
                </a:lnTo>
                <a:lnTo>
                  <a:pt x="82" y="176"/>
                </a:lnTo>
                <a:lnTo>
                  <a:pt x="86" y="178"/>
                </a:lnTo>
                <a:lnTo>
                  <a:pt x="94" y="188"/>
                </a:lnTo>
                <a:lnTo>
                  <a:pt x="102" y="196"/>
                </a:lnTo>
                <a:lnTo>
                  <a:pt x="104" y="202"/>
                </a:lnTo>
                <a:lnTo>
                  <a:pt x="102" y="204"/>
                </a:lnTo>
                <a:lnTo>
                  <a:pt x="102" y="204"/>
                </a:lnTo>
                <a:lnTo>
                  <a:pt x="100" y="208"/>
                </a:lnTo>
                <a:lnTo>
                  <a:pt x="100" y="212"/>
                </a:lnTo>
                <a:lnTo>
                  <a:pt x="104" y="216"/>
                </a:lnTo>
                <a:lnTo>
                  <a:pt x="106" y="222"/>
                </a:lnTo>
                <a:lnTo>
                  <a:pt x="106" y="224"/>
                </a:lnTo>
                <a:lnTo>
                  <a:pt x="102" y="226"/>
                </a:lnTo>
                <a:lnTo>
                  <a:pt x="102" y="226"/>
                </a:lnTo>
                <a:lnTo>
                  <a:pt x="102" y="228"/>
                </a:lnTo>
                <a:lnTo>
                  <a:pt x="100" y="230"/>
                </a:lnTo>
                <a:lnTo>
                  <a:pt x="96" y="230"/>
                </a:lnTo>
                <a:lnTo>
                  <a:pt x="90" y="232"/>
                </a:lnTo>
                <a:lnTo>
                  <a:pt x="86" y="232"/>
                </a:lnTo>
                <a:lnTo>
                  <a:pt x="86" y="236"/>
                </a:lnTo>
                <a:lnTo>
                  <a:pt x="86" y="236"/>
                </a:lnTo>
                <a:lnTo>
                  <a:pt x="84" y="238"/>
                </a:lnTo>
                <a:lnTo>
                  <a:pt x="82" y="240"/>
                </a:lnTo>
                <a:lnTo>
                  <a:pt x="76" y="242"/>
                </a:lnTo>
                <a:lnTo>
                  <a:pt x="68" y="248"/>
                </a:lnTo>
                <a:lnTo>
                  <a:pt x="68" y="248"/>
                </a:lnTo>
                <a:lnTo>
                  <a:pt x="64" y="250"/>
                </a:lnTo>
                <a:lnTo>
                  <a:pt x="62" y="250"/>
                </a:lnTo>
                <a:lnTo>
                  <a:pt x="60" y="248"/>
                </a:lnTo>
                <a:lnTo>
                  <a:pt x="52" y="250"/>
                </a:lnTo>
                <a:lnTo>
                  <a:pt x="52" y="250"/>
                </a:lnTo>
                <a:lnTo>
                  <a:pt x="48" y="252"/>
                </a:lnTo>
                <a:lnTo>
                  <a:pt x="44" y="254"/>
                </a:lnTo>
                <a:lnTo>
                  <a:pt x="42" y="260"/>
                </a:lnTo>
                <a:lnTo>
                  <a:pt x="42" y="262"/>
                </a:lnTo>
                <a:lnTo>
                  <a:pt x="40" y="262"/>
                </a:lnTo>
                <a:lnTo>
                  <a:pt x="32" y="260"/>
                </a:lnTo>
                <a:lnTo>
                  <a:pt x="32" y="260"/>
                </a:lnTo>
                <a:lnTo>
                  <a:pt x="24" y="258"/>
                </a:lnTo>
                <a:lnTo>
                  <a:pt x="22" y="258"/>
                </a:lnTo>
                <a:lnTo>
                  <a:pt x="22" y="258"/>
                </a:lnTo>
                <a:lnTo>
                  <a:pt x="22" y="262"/>
                </a:lnTo>
                <a:lnTo>
                  <a:pt x="16" y="260"/>
                </a:lnTo>
                <a:lnTo>
                  <a:pt x="16" y="260"/>
                </a:lnTo>
                <a:lnTo>
                  <a:pt x="14" y="260"/>
                </a:lnTo>
                <a:lnTo>
                  <a:pt x="10" y="260"/>
                </a:lnTo>
                <a:lnTo>
                  <a:pt x="4" y="266"/>
                </a:lnTo>
                <a:lnTo>
                  <a:pt x="2" y="276"/>
                </a:lnTo>
                <a:lnTo>
                  <a:pt x="0" y="290"/>
                </a:lnTo>
                <a:lnTo>
                  <a:pt x="0" y="290"/>
                </a:lnTo>
                <a:lnTo>
                  <a:pt x="2" y="294"/>
                </a:lnTo>
                <a:lnTo>
                  <a:pt x="6" y="296"/>
                </a:lnTo>
                <a:lnTo>
                  <a:pt x="8" y="296"/>
                </a:lnTo>
                <a:lnTo>
                  <a:pt x="12" y="294"/>
                </a:lnTo>
                <a:lnTo>
                  <a:pt x="18" y="294"/>
                </a:lnTo>
                <a:lnTo>
                  <a:pt x="20" y="296"/>
                </a:lnTo>
                <a:lnTo>
                  <a:pt x="20" y="300"/>
                </a:lnTo>
                <a:lnTo>
                  <a:pt x="20" y="300"/>
                </a:lnTo>
                <a:lnTo>
                  <a:pt x="20" y="306"/>
                </a:lnTo>
                <a:lnTo>
                  <a:pt x="22" y="310"/>
                </a:lnTo>
                <a:lnTo>
                  <a:pt x="28" y="312"/>
                </a:lnTo>
                <a:lnTo>
                  <a:pt x="30" y="316"/>
                </a:lnTo>
                <a:lnTo>
                  <a:pt x="30" y="316"/>
                </a:lnTo>
                <a:lnTo>
                  <a:pt x="32" y="324"/>
                </a:lnTo>
                <a:lnTo>
                  <a:pt x="30" y="328"/>
                </a:lnTo>
                <a:lnTo>
                  <a:pt x="30" y="328"/>
                </a:lnTo>
                <a:lnTo>
                  <a:pt x="22" y="330"/>
                </a:lnTo>
                <a:lnTo>
                  <a:pt x="22" y="332"/>
                </a:lnTo>
                <a:lnTo>
                  <a:pt x="24" y="334"/>
                </a:lnTo>
                <a:lnTo>
                  <a:pt x="24" y="334"/>
                </a:lnTo>
                <a:lnTo>
                  <a:pt x="26" y="338"/>
                </a:lnTo>
                <a:lnTo>
                  <a:pt x="26" y="338"/>
                </a:lnTo>
                <a:lnTo>
                  <a:pt x="30" y="338"/>
                </a:lnTo>
                <a:lnTo>
                  <a:pt x="32" y="336"/>
                </a:lnTo>
                <a:lnTo>
                  <a:pt x="38" y="338"/>
                </a:lnTo>
                <a:lnTo>
                  <a:pt x="52" y="344"/>
                </a:lnTo>
                <a:lnTo>
                  <a:pt x="52" y="344"/>
                </a:lnTo>
                <a:lnTo>
                  <a:pt x="68" y="352"/>
                </a:lnTo>
                <a:lnTo>
                  <a:pt x="68" y="354"/>
                </a:lnTo>
                <a:lnTo>
                  <a:pt x="68" y="356"/>
                </a:lnTo>
                <a:lnTo>
                  <a:pt x="68" y="356"/>
                </a:lnTo>
                <a:lnTo>
                  <a:pt x="66" y="362"/>
                </a:lnTo>
                <a:lnTo>
                  <a:pt x="68" y="366"/>
                </a:lnTo>
                <a:lnTo>
                  <a:pt x="70" y="366"/>
                </a:lnTo>
                <a:lnTo>
                  <a:pt x="76" y="366"/>
                </a:lnTo>
                <a:lnTo>
                  <a:pt x="86" y="366"/>
                </a:lnTo>
                <a:lnTo>
                  <a:pt x="90" y="366"/>
                </a:lnTo>
                <a:lnTo>
                  <a:pt x="94" y="366"/>
                </a:lnTo>
                <a:lnTo>
                  <a:pt x="94" y="366"/>
                </a:lnTo>
                <a:lnTo>
                  <a:pt x="98" y="368"/>
                </a:lnTo>
                <a:lnTo>
                  <a:pt x="102" y="370"/>
                </a:lnTo>
                <a:lnTo>
                  <a:pt x="110" y="370"/>
                </a:lnTo>
                <a:lnTo>
                  <a:pt x="116" y="372"/>
                </a:lnTo>
                <a:lnTo>
                  <a:pt x="124" y="378"/>
                </a:lnTo>
                <a:lnTo>
                  <a:pt x="132" y="388"/>
                </a:lnTo>
                <a:lnTo>
                  <a:pt x="144" y="404"/>
                </a:lnTo>
                <a:lnTo>
                  <a:pt x="144" y="404"/>
                </a:lnTo>
                <a:lnTo>
                  <a:pt x="138" y="412"/>
                </a:lnTo>
                <a:lnTo>
                  <a:pt x="138" y="414"/>
                </a:lnTo>
                <a:lnTo>
                  <a:pt x="140" y="416"/>
                </a:lnTo>
                <a:lnTo>
                  <a:pt x="148" y="424"/>
                </a:lnTo>
                <a:lnTo>
                  <a:pt x="152" y="430"/>
                </a:lnTo>
                <a:lnTo>
                  <a:pt x="156" y="436"/>
                </a:lnTo>
                <a:lnTo>
                  <a:pt x="156" y="436"/>
                </a:lnTo>
                <a:lnTo>
                  <a:pt x="158" y="444"/>
                </a:lnTo>
                <a:lnTo>
                  <a:pt x="158" y="448"/>
                </a:lnTo>
                <a:lnTo>
                  <a:pt x="156" y="450"/>
                </a:lnTo>
                <a:lnTo>
                  <a:pt x="152" y="450"/>
                </a:lnTo>
                <a:lnTo>
                  <a:pt x="148" y="450"/>
                </a:lnTo>
                <a:lnTo>
                  <a:pt x="148" y="450"/>
                </a:lnTo>
                <a:lnTo>
                  <a:pt x="150" y="454"/>
                </a:lnTo>
                <a:lnTo>
                  <a:pt x="150" y="454"/>
                </a:lnTo>
                <a:lnTo>
                  <a:pt x="156" y="460"/>
                </a:lnTo>
                <a:lnTo>
                  <a:pt x="156" y="464"/>
                </a:lnTo>
                <a:lnTo>
                  <a:pt x="156" y="470"/>
                </a:lnTo>
                <a:lnTo>
                  <a:pt x="160" y="478"/>
                </a:lnTo>
                <a:lnTo>
                  <a:pt x="160" y="478"/>
                </a:lnTo>
                <a:lnTo>
                  <a:pt x="164" y="482"/>
                </a:lnTo>
                <a:lnTo>
                  <a:pt x="168" y="484"/>
                </a:lnTo>
                <a:lnTo>
                  <a:pt x="176" y="488"/>
                </a:lnTo>
                <a:lnTo>
                  <a:pt x="182" y="488"/>
                </a:lnTo>
                <a:lnTo>
                  <a:pt x="188" y="492"/>
                </a:lnTo>
                <a:lnTo>
                  <a:pt x="188" y="492"/>
                </a:lnTo>
                <a:lnTo>
                  <a:pt x="194" y="496"/>
                </a:lnTo>
                <a:lnTo>
                  <a:pt x="200" y="498"/>
                </a:lnTo>
                <a:lnTo>
                  <a:pt x="208" y="500"/>
                </a:lnTo>
                <a:lnTo>
                  <a:pt x="214" y="508"/>
                </a:lnTo>
                <a:lnTo>
                  <a:pt x="214" y="508"/>
                </a:lnTo>
                <a:lnTo>
                  <a:pt x="220" y="512"/>
                </a:lnTo>
                <a:lnTo>
                  <a:pt x="220" y="512"/>
                </a:lnTo>
                <a:lnTo>
                  <a:pt x="226" y="514"/>
                </a:lnTo>
                <a:lnTo>
                  <a:pt x="232" y="514"/>
                </a:lnTo>
                <a:lnTo>
                  <a:pt x="238" y="514"/>
                </a:lnTo>
                <a:lnTo>
                  <a:pt x="244" y="518"/>
                </a:lnTo>
                <a:lnTo>
                  <a:pt x="244" y="518"/>
                </a:lnTo>
                <a:lnTo>
                  <a:pt x="248" y="520"/>
                </a:lnTo>
                <a:lnTo>
                  <a:pt x="250" y="520"/>
                </a:lnTo>
                <a:lnTo>
                  <a:pt x="254" y="518"/>
                </a:lnTo>
                <a:lnTo>
                  <a:pt x="260" y="518"/>
                </a:lnTo>
                <a:lnTo>
                  <a:pt x="266" y="520"/>
                </a:lnTo>
                <a:lnTo>
                  <a:pt x="272" y="524"/>
                </a:lnTo>
                <a:lnTo>
                  <a:pt x="272" y="524"/>
                </a:lnTo>
                <a:lnTo>
                  <a:pt x="288" y="534"/>
                </a:lnTo>
                <a:lnTo>
                  <a:pt x="296" y="538"/>
                </a:lnTo>
                <a:lnTo>
                  <a:pt x="302" y="538"/>
                </a:lnTo>
                <a:lnTo>
                  <a:pt x="306" y="542"/>
                </a:lnTo>
                <a:lnTo>
                  <a:pt x="306" y="542"/>
                </a:lnTo>
                <a:lnTo>
                  <a:pt x="308" y="546"/>
                </a:lnTo>
                <a:lnTo>
                  <a:pt x="310" y="548"/>
                </a:lnTo>
                <a:lnTo>
                  <a:pt x="314" y="546"/>
                </a:lnTo>
                <a:lnTo>
                  <a:pt x="320" y="546"/>
                </a:lnTo>
                <a:lnTo>
                  <a:pt x="322" y="548"/>
                </a:lnTo>
                <a:lnTo>
                  <a:pt x="324" y="554"/>
                </a:lnTo>
                <a:lnTo>
                  <a:pt x="324" y="554"/>
                </a:lnTo>
                <a:lnTo>
                  <a:pt x="326" y="554"/>
                </a:lnTo>
                <a:lnTo>
                  <a:pt x="328" y="554"/>
                </a:lnTo>
                <a:lnTo>
                  <a:pt x="336" y="552"/>
                </a:lnTo>
                <a:lnTo>
                  <a:pt x="352" y="552"/>
                </a:lnTo>
                <a:lnTo>
                  <a:pt x="360" y="554"/>
                </a:lnTo>
                <a:lnTo>
                  <a:pt x="372" y="558"/>
                </a:lnTo>
                <a:lnTo>
                  <a:pt x="372" y="558"/>
                </a:lnTo>
                <a:lnTo>
                  <a:pt x="372" y="552"/>
                </a:lnTo>
                <a:lnTo>
                  <a:pt x="374" y="550"/>
                </a:lnTo>
                <a:lnTo>
                  <a:pt x="376" y="548"/>
                </a:lnTo>
                <a:lnTo>
                  <a:pt x="380" y="548"/>
                </a:lnTo>
                <a:lnTo>
                  <a:pt x="380" y="548"/>
                </a:lnTo>
                <a:lnTo>
                  <a:pt x="384" y="546"/>
                </a:lnTo>
                <a:lnTo>
                  <a:pt x="384" y="548"/>
                </a:lnTo>
                <a:lnTo>
                  <a:pt x="386" y="566"/>
                </a:lnTo>
                <a:lnTo>
                  <a:pt x="386" y="566"/>
                </a:lnTo>
                <a:lnTo>
                  <a:pt x="390" y="554"/>
                </a:lnTo>
                <a:lnTo>
                  <a:pt x="394" y="548"/>
                </a:lnTo>
                <a:lnTo>
                  <a:pt x="400" y="544"/>
                </a:lnTo>
                <a:lnTo>
                  <a:pt x="408" y="544"/>
                </a:lnTo>
                <a:lnTo>
                  <a:pt x="408" y="544"/>
                </a:lnTo>
                <a:lnTo>
                  <a:pt x="418" y="544"/>
                </a:lnTo>
                <a:lnTo>
                  <a:pt x="424" y="546"/>
                </a:lnTo>
                <a:lnTo>
                  <a:pt x="428" y="548"/>
                </a:lnTo>
                <a:lnTo>
                  <a:pt x="432" y="550"/>
                </a:lnTo>
                <a:lnTo>
                  <a:pt x="432" y="550"/>
                </a:lnTo>
                <a:lnTo>
                  <a:pt x="434" y="552"/>
                </a:lnTo>
                <a:lnTo>
                  <a:pt x="436" y="550"/>
                </a:lnTo>
                <a:lnTo>
                  <a:pt x="436" y="550"/>
                </a:lnTo>
                <a:lnTo>
                  <a:pt x="446" y="548"/>
                </a:lnTo>
                <a:lnTo>
                  <a:pt x="462" y="540"/>
                </a:lnTo>
                <a:lnTo>
                  <a:pt x="462" y="540"/>
                </a:lnTo>
                <a:lnTo>
                  <a:pt x="472" y="536"/>
                </a:lnTo>
                <a:lnTo>
                  <a:pt x="476" y="532"/>
                </a:lnTo>
                <a:lnTo>
                  <a:pt x="478" y="530"/>
                </a:lnTo>
                <a:lnTo>
                  <a:pt x="482" y="526"/>
                </a:lnTo>
                <a:lnTo>
                  <a:pt x="482" y="526"/>
                </a:lnTo>
                <a:lnTo>
                  <a:pt x="490" y="526"/>
                </a:lnTo>
                <a:lnTo>
                  <a:pt x="494" y="528"/>
                </a:lnTo>
                <a:lnTo>
                  <a:pt x="502" y="528"/>
                </a:lnTo>
                <a:lnTo>
                  <a:pt x="512" y="526"/>
                </a:lnTo>
                <a:lnTo>
                  <a:pt x="512" y="526"/>
                </a:lnTo>
                <a:lnTo>
                  <a:pt x="524" y="522"/>
                </a:lnTo>
                <a:lnTo>
                  <a:pt x="526" y="524"/>
                </a:lnTo>
                <a:lnTo>
                  <a:pt x="526" y="526"/>
                </a:lnTo>
                <a:lnTo>
                  <a:pt x="524" y="530"/>
                </a:lnTo>
                <a:lnTo>
                  <a:pt x="526" y="530"/>
                </a:lnTo>
                <a:lnTo>
                  <a:pt x="532" y="530"/>
                </a:lnTo>
                <a:lnTo>
                  <a:pt x="532" y="530"/>
                </a:lnTo>
                <a:lnTo>
                  <a:pt x="528" y="536"/>
                </a:lnTo>
                <a:lnTo>
                  <a:pt x="528" y="538"/>
                </a:lnTo>
                <a:lnTo>
                  <a:pt x="528" y="538"/>
                </a:lnTo>
                <a:lnTo>
                  <a:pt x="532" y="538"/>
                </a:lnTo>
                <a:lnTo>
                  <a:pt x="538" y="538"/>
                </a:lnTo>
                <a:lnTo>
                  <a:pt x="538" y="538"/>
                </a:lnTo>
                <a:lnTo>
                  <a:pt x="542" y="540"/>
                </a:lnTo>
                <a:lnTo>
                  <a:pt x="544" y="538"/>
                </a:lnTo>
                <a:lnTo>
                  <a:pt x="548" y="536"/>
                </a:lnTo>
                <a:lnTo>
                  <a:pt x="548" y="536"/>
                </a:lnTo>
                <a:lnTo>
                  <a:pt x="552" y="536"/>
                </a:lnTo>
                <a:lnTo>
                  <a:pt x="556" y="536"/>
                </a:lnTo>
                <a:lnTo>
                  <a:pt x="562" y="538"/>
                </a:lnTo>
                <a:lnTo>
                  <a:pt x="570" y="544"/>
                </a:lnTo>
                <a:lnTo>
                  <a:pt x="570" y="544"/>
                </a:lnTo>
                <a:lnTo>
                  <a:pt x="580" y="552"/>
                </a:lnTo>
                <a:lnTo>
                  <a:pt x="582" y="556"/>
                </a:lnTo>
                <a:lnTo>
                  <a:pt x="582" y="558"/>
                </a:lnTo>
                <a:lnTo>
                  <a:pt x="586" y="556"/>
                </a:lnTo>
                <a:lnTo>
                  <a:pt x="586" y="556"/>
                </a:lnTo>
                <a:lnTo>
                  <a:pt x="588" y="554"/>
                </a:lnTo>
                <a:lnTo>
                  <a:pt x="590" y="556"/>
                </a:lnTo>
                <a:lnTo>
                  <a:pt x="592" y="564"/>
                </a:lnTo>
                <a:lnTo>
                  <a:pt x="594" y="578"/>
                </a:lnTo>
                <a:lnTo>
                  <a:pt x="596" y="586"/>
                </a:lnTo>
                <a:lnTo>
                  <a:pt x="600" y="594"/>
                </a:lnTo>
                <a:lnTo>
                  <a:pt x="600" y="594"/>
                </a:lnTo>
                <a:lnTo>
                  <a:pt x="604" y="602"/>
                </a:lnTo>
                <a:lnTo>
                  <a:pt x="604" y="604"/>
                </a:lnTo>
                <a:lnTo>
                  <a:pt x="602" y="604"/>
                </a:lnTo>
                <a:lnTo>
                  <a:pt x="598" y="602"/>
                </a:lnTo>
                <a:lnTo>
                  <a:pt x="596" y="602"/>
                </a:lnTo>
                <a:lnTo>
                  <a:pt x="596" y="602"/>
                </a:lnTo>
                <a:lnTo>
                  <a:pt x="590" y="612"/>
                </a:lnTo>
                <a:lnTo>
                  <a:pt x="586" y="616"/>
                </a:lnTo>
                <a:lnTo>
                  <a:pt x="582" y="622"/>
                </a:lnTo>
                <a:lnTo>
                  <a:pt x="582" y="624"/>
                </a:lnTo>
                <a:lnTo>
                  <a:pt x="584" y="628"/>
                </a:lnTo>
                <a:lnTo>
                  <a:pt x="584" y="628"/>
                </a:lnTo>
                <a:lnTo>
                  <a:pt x="584" y="632"/>
                </a:lnTo>
                <a:lnTo>
                  <a:pt x="582" y="634"/>
                </a:lnTo>
                <a:lnTo>
                  <a:pt x="580" y="634"/>
                </a:lnTo>
                <a:lnTo>
                  <a:pt x="578" y="636"/>
                </a:lnTo>
                <a:lnTo>
                  <a:pt x="578" y="636"/>
                </a:lnTo>
                <a:lnTo>
                  <a:pt x="576" y="642"/>
                </a:lnTo>
                <a:lnTo>
                  <a:pt x="578" y="644"/>
                </a:lnTo>
                <a:lnTo>
                  <a:pt x="582" y="648"/>
                </a:lnTo>
                <a:lnTo>
                  <a:pt x="586" y="650"/>
                </a:lnTo>
                <a:lnTo>
                  <a:pt x="588" y="654"/>
                </a:lnTo>
                <a:lnTo>
                  <a:pt x="588" y="654"/>
                </a:lnTo>
                <a:lnTo>
                  <a:pt x="586" y="656"/>
                </a:lnTo>
                <a:lnTo>
                  <a:pt x="580" y="658"/>
                </a:lnTo>
                <a:lnTo>
                  <a:pt x="576" y="660"/>
                </a:lnTo>
                <a:lnTo>
                  <a:pt x="574" y="660"/>
                </a:lnTo>
                <a:lnTo>
                  <a:pt x="574" y="662"/>
                </a:lnTo>
                <a:lnTo>
                  <a:pt x="574" y="662"/>
                </a:lnTo>
                <a:lnTo>
                  <a:pt x="574" y="666"/>
                </a:lnTo>
                <a:lnTo>
                  <a:pt x="576" y="666"/>
                </a:lnTo>
                <a:lnTo>
                  <a:pt x="588" y="662"/>
                </a:lnTo>
                <a:lnTo>
                  <a:pt x="588" y="662"/>
                </a:lnTo>
                <a:lnTo>
                  <a:pt x="598" y="660"/>
                </a:lnTo>
                <a:lnTo>
                  <a:pt x="600" y="662"/>
                </a:lnTo>
                <a:lnTo>
                  <a:pt x="598" y="666"/>
                </a:lnTo>
                <a:lnTo>
                  <a:pt x="598" y="666"/>
                </a:lnTo>
                <a:lnTo>
                  <a:pt x="596" y="672"/>
                </a:lnTo>
                <a:lnTo>
                  <a:pt x="596" y="674"/>
                </a:lnTo>
                <a:lnTo>
                  <a:pt x="600" y="676"/>
                </a:lnTo>
                <a:lnTo>
                  <a:pt x="600" y="678"/>
                </a:lnTo>
                <a:lnTo>
                  <a:pt x="600" y="678"/>
                </a:lnTo>
                <a:lnTo>
                  <a:pt x="600" y="680"/>
                </a:lnTo>
                <a:lnTo>
                  <a:pt x="602" y="682"/>
                </a:lnTo>
                <a:lnTo>
                  <a:pt x="606" y="684"/>
                </a:lnTo>
                <a:lnTo>
                  <a:pt x="610" y="682"/>
                </a:lnTo>
                <a:lnTo>
                  <a:pt x="610" y="682"/>
                </a:lnTo>
                <a:lnTo>
                  <a:pt x="612" y="684"/>
                </a:lnTo>
                <a:lnTo>
                  <a:pt x="612" y="684"/>
                </a:lnTo>
                <a:lnTo>
                  <a:pt x="612" y="686"/>
                </a:lnTo>
                <a:lnTo>
                  <a:pt x="616" y="686"/>
                </a:lnTo>
                <a:lnTo>
                  <a:pt x="620" y="686"/>
                </a:lnTo>
                <a:lnTo>
                  <a:pt x="620" y="688"/>
                </a:lnTo>
                <a:lnTo>
                  <a:pt x="620" y="688"/>
                </a:lnTo>
                <a:lnTo>
                  <a:pt x="602" y="706"/>
                </a:lnTo>
                <a:lnTo>
                  <a:pt x="602" y="706"/>
                </a:lnTo>
                <a:lnTo>
                  <a:pt x="602" y="710"/>
                </a:lnTo>
                <a:lnTo>
                  <a:pt x="604" y="712"/>
                </a:lnTo>
                <a:lnTo>
                  <a:pt x="614" y="712"/>
                </a:lnTo>
                <a:lnTo>
                  <a:pt x="628" y="712"/>
                </a:lnTo>
                <a:lnTo>
                  <a:pt x="628" y="712"/>
                </a:lnTo>
                <a:lnTo>
                  <a:pt x="630" y="718"/>
                </a:lnTo>
                <a:lnTo>
                  <a:pt x="634" y="722"/>
                </a:lnTo>
                <a:lnTo>
                  <a:pt x="638" y="724"/>
                </a:lnTo>
                <a:lnTo>
                  <a:pt x="642" y="724"/>
                </a:lnTo>
                <a:lnTo>
                  <a:pt x="650" y="726"/>
                </a:lnTo>
                <a:lnTo>
                  <a:pt x="654" y="728"/>
                </a:lnTo>
                <a:lnTo>
                  <a:pt x="656" y="728"/>
                </a:lnTo>
                <a:lnTo>
                  <a:pt x="656" y="728"/>
                </a:lnTo>
                <a:lnTo>
                  <a:pt x="658" y="732"/>
                </a:lnTo>
                <a:lnTo>
                  <a:pt x="664" y="734"/>
                </a:lnTo>
                <a:lnTo>
                  <a:pt x="666" y="732"/>
                </a:lnTo>
                <a:lnTo>
                  <a:pt x="666" y="730"/>
                </a:lnTo>
                <a:lnTo>
                  <a:pt x="668" y="728"/>
                </a:lnTo>
                <a:lnTo>
                  <a:pt x="666" y="724"/>
                </a:lnTo>
                <a:lnTo>
                  <a:pt x="666" y="724"/>
                </a:lnTo>
                <a:lnTo>
                  <a:pt x="662" y="718"/>
                </a:lnTo>
                <a:lnTo>
                  <a:pt x="658" y="712"/>
                </a:lnTo>
                <a:lnTo>
                  <a:pt x="656" y="708"/>
                </a:lnTo>
                <a:lnTo>
                  <a:pt x="654" y="704"/>
                </a:lnTo>
                <a:lnTo>
                  <a:pt x="654" y="704"/>
                </a:lnTo>
                <a:lnTo>
                  <a:pt x="656" y="702"/>
                </a:lnTo>
                <a:lnTo>
                  <a:pt x="658" y="700"/>
                </a:lnTo>
                <a:lnTo>
                  <a:pt x="668" y="698"/>
                </a:lnTo>
                <a:lnTo>
                  <a:pt x="668" y="698"/>
                </a:lnTo>
                <a:lnTo>
                  <a:pt x="678" y="696"/>
                </a:lnTo>
                <a:lnTo>
                  <a:pt x="678" y="696"/>
                </a:lnTo>
                <a:lnTo>
                  <a:pt x="682" y="696"/>
                </a:lnTo>
                <a:lnTo>
                  <a:pt x="686" y="700"/>
                </a:lnTo>
                <a:lnTo>
                  <a:pt x="688" y="702"/>
                </a:lnTo>
                <a:lnTo>
                  <a:pt x="692" y="702"/>
                </a:lnTo>
                <a:lnTo>
                  <a:pt x="692" y="702"/>
                </a:lnTo>
                <a:lnTo>
                  <a:pt x="692" y="700"/>
                </a:lnTo>
                <a:lnTo>
                  <a:pt x="690" y="698"/>
                </a:lnTo>
                <a:lnTo>
                  <a:pt x="690" y="694"/>
                </a:lnTo>
                <a:lnTo>
                  <a:pt x="692" y="690"/>
                </a:lnTo>
                <a:lnTo>
                  <a:pt x="692" y="690"/>
                </a:lnTo>
                <a:lnTo>
                  <a:pt x="694" y="688"/>
                </a:lnTo>
                <a:lnTo>
                  <a:pt x="696" y="690"/>
                </a:lnTo>
                <a:lnTo>
                  <a:pt x="698" y="692"/>
                </a:lnTo>
                <a:lnTo>
                  <a:pt x="700" y="696"/>
                </a:lnTo>
                <a:lnTo>
                  <a:pt x="704" y="696"/>
                </a:lnTo>
                <a:lnTo>
                  <a:pt x="706" y="694"/>
                </a:lnTo>
                <a:lnTo>
                  <a:pt x="706" y="694"/>
                </a:lnTo>
                <a:lnTo>
                  <a:pt x="712" y="694"/>
                </a:lnTo>
                <a:lnTo>
                  <a:pt x="714" y="696"/>
                </a:lnTo>
                <a:lnTo>
                  <a:pt x="716" y="696"/>
                </a:lnTo>
                <a:lnTo>
                  <a:pt x="720" y="696"/>
                </a:lnTo>
                <a:lnTo>
                  <a:pt x="720" y="696"/>
                </a:lnTo>
                <a:lnTo>
                  <a:pt x="726" y="694"/>
                </a:lnTo>
                <a:lnTo>
                  <a:pt x="730" y="694"/>
                </a:lnTo>
                <a:lnTo>
                  <a:pt x="732" y="694"/>
                </a:lnTo>
                <a:lnTo>
                  <a:pt x="730" y="688"/>
                </a:lnTo>
                <a:lnTo>
                  <a:pt x="730" y="688"/>
                </a:lnTo>
                <a:lnTo>
                  <a:pt x="732" y="684"/>
                </a:lnTo>
                <a:lnTo>
                  <a:pt x="736" y="682"/>
                </a:lnTo>
                <a:lnTo>
                  <a:pt x="746" y="678"/>
                </a:lnTo>
                <a:lnTo>
                  <a:pt x="746" y="678"/>
                </a:lnTo>
                <a:lnTo>
                  <a:pt x="750" y="678"/>
                </a:lnTo>
                <a:lnTo>
                  <a:pt x="750" y="678"/>
                </a:lnTo>
                <a:lnTo>
                  <a:pt x="752" y="682"/>
                </a:lnTo>
                <a:lnTo>
                  <a:pt x="754" y="684"/>
                </a:lnTo>
                <a:lnTo>
                  <a:pt x="756" y="688"/>
                </a:lnTo>
                <a:lnTo>
                  <a:pt x="760" y="690"/>
                </a:lnTo>
                <a:lnTo>
                  <a:pt x="768" y="690"/>
                </a:lnTo>
                <a:lnTo>
                  <a:pt x="768" y="690"/>
                </a:lnTo>
                <a:lnTo>
                  <a:pt x="776" y="692"/>
                </a:lnTo>
                <a:lnTo>
                  <a:pt x="782" y="694"/>
                </a:lnTo>
                <a:lnTo>
                  <a:pt x="780" y="698"/>
                </a:lnTo>
                <a:lnTo>
                  <a:pt x="774" y="700"/>
                </a:lnTo>
                <a:lnTo>
                  <a:pt x="774" y="700"/>
                </a:lnTo>
                <a:lnTo>
                  <a:pt x="770" y="704"/>
                </a:lnTo>
                <a:lnTo>
                  <a:pt x="768" y="706"/>
                </a:lnTo>
                <a:lnTo>
                  <a:pt x="774" y="710"/>
                </a:lnTo>
                <a:lnTo>
                  <a:pt x="774" y="710"/>
                </a:lnTo>
                <a:lnTo>
                  <a:pt x="776" y="714"/>
                </a:lnTo>
                <a:lnTo>
                  <a:pt x="780" y="712"/>
                </a:lnTo>
                <a:lnTo>
                  <a:pt x="780" y="712"/>
                </a:lnTo>
                <a:lnTo>
                  <a:pt x="782" y="712"/>
                </a:lnTo>
                <a:lnTo>
                  <a:pt x="784" y="712"/>
                </a:lnTo>
                <a:lnTo>
                  <a:pt x="788" y="716"/>
                </a:lnTo>
                <a:lnTo>
                  <a:pt x="794" y="720"/>
                </a:lnTo>
                <a:lnTo>
                  <a:pt x="796" y="720"/>
                </a:lnTo>
                <a:lnTo>
                  <a:pt x="800" y="720"/>
                </a:lnTo>
                <a:lnTo>
                  <a:pt x="800" y="720"/>
                </a:lnTo>
                <a:lnTo>
                  <a:pt x="806" y="718"/>
                </a:lnTo>
                <a:lnTo>
                  <a:pt x="806" y="718"/>
                </a:lnTo>
                <a:lnTo>
                  <a:pt x="810" y="716"/>
                </a:lnTo>
                <a:lnTo>
                  <a:pt x="810" y="714"/>
                </a:lnTo>
                <a:lnTo>
                  <a:pt x="810" y="712"/>
                </a:lnTo>
                <a:lnTo>
                  <a:pt x="812" y="710"/>
                </a:lnTo>
                <a:lnTo>
                  <a:pt x="812" y="710"/>
                </a:lnTo>
                <a:lnTo>
                  <a:pt x="812" y="710"/>
                </a:lnTo>
                <a:lnTo>
                  <a:pt x="814" y="712"/>
                </a:lnTo>
                <a:lnTo>
                  <a:pt x="818" y="714"/>
                </a:lnTo>
                <a:lnTo>
                  <a:pt x="822" y="718"/>
                </a:lnTo>
                <a:lnTo>
                  <a:pt x="826" y="716"/>
                </a:lnTo>
                <a:lnTo>
                  <a:pt x="830" y="714"/>
                </a:lnTo>
                <a:lnTo>
                  <a:pt x="830" y="714"/>
                </a:lnTo>
                <a:lnTo>
                  <a:pt x="828" y="718"/>
                </a:lnTo>
                <a:lnTo>
                  <a:pt x="830" y="720"/>
                </a:lnTo>
                <a:lnTo>
                  <a:pt x="834" y="720"/>
                </a:lnTo>
                <a:lnTo>
                  <a:pt x="838" y="716"/>
                </a:lnTo>
                <a:lnTo>
                  <a:pt x="838" y="716"/>
                </a:lnTo>
                <a:lnTo>
                  <a:pt x="840" y="720"/>
                </a:lnTo>
                <a:lnTo>
                  <a:pt x="838" y="720"/>
                </a:lnTo>
                <a:lnTo>
                  <a:pt x="834" y="726"/>
                </a:lnTo>
                <a:lnTo>
                  <a:pt x="834" y="726"/>
                </a:lnTo>
                <a:lnTo>
                  <a:pt x="834" y="730"/>
                </a:lnTo>
                <a:lnTo>
                  <a:pt x="834" y="734"/>
                </a:lnTo>
                <a:lnTo>
                  <a:pt x="840" y="742"/>
                </a:lnTo>
                <a:lnTo>
                  <a:pt x="840" y="742"/>
                </a:lnTo>
                <a:lnTo>
                  <a:pt x="840" y="744"/>
                </a:lnTo>
                <a:lnTo>
                  <a:pt x="842" y="746"/>
                </a:lnTo>
                <a:lnTo>
                  <a:pt x="846" y="750"/>
                </a:lnTo>
                <a:lnTo>
                  <a:pt x="852" y="748"/>
                </a:lnTo>
                <a:lnTo>
                  <a:pt x="852" y="748"/>
                </a:lnTo>
                <a:lnTo>
                  <a:pt x="858" y="746"/>
                </a:lnTo>
                <a:lnTo>
                  <a:pt x="860" y="742"/>
                </a:lnTo>
                <a:lnTo>
                  <a:pt x="862" y="738"/>
                </a:lnTo>
                <a:lnTo>
                  <a:pt x="862" y="734"/>
                </a:lnTo>
                <a:lnTo>
                  <a:pt x="862" y="734"/>
                </a:lnTo>
                <a:lnTo>
                  <a:pt x="860" y="732"/>
                </a:lnTo>
                <a:lnTo>
                  <a:pt x="858" y="732"/>
                </a:lnTo>
                <a:lnTo>
                  <a:pt x="856" y="732"/>
                </a:lnTo>
                <a:lnTo>
                  <a:pt x="856" y="730"/>
                </a:lnTo>
                <a:lnTo>
                  <a:pt x="856" y="730"/>
                </a:lnTo>
                <a:lnTo>
                  <a:pt x="856" y="728"/>
                </a:lnTo>
                <a:lnTo>
                  <a:pt x="854" y="726"/>
                </a:lnTo>
                <a:lnTo>
                  <a:pt x="850" y="726"/>
                </a:lnTo>
                <a:lnTo>
                  <a:pt x="848" y="726"/>
                </a:lnTo>
                <a:lnTo>
                  <a:pt x="848" y="726"/>
                </a:lnTo>
                <a:lnTo>
                  <a:pt x="846" y="724"/>
                </a:lnTo>
                <a:lnTo>
                  <a:pt x="848" y="722"/>
                </a:lnTo>
                <a:lnTo>
                  <a:pt x="852" y="720"/>
                </a:lnTo>
                <a:lnTo>
                  <a:pt x="856" y="718"/>
                </a:lnTo>
                <a:lnTo>
                  <a:pt x="856" y="716"/>
                </a:lnTo>
                <a:lnTo>
                  <a:pt x="856" y="714"/>
                </a:lnTo>
                <a:lnTo>
                  <a:pt x="852" y="710"/>
                </a:lnTo>
                <a:lnTo>
                  <a:pt x="852" y="710"/>
                </a:lnTo>
                <a:lnTo>
                  <a:pt x="856" y="712"/>
                </a:lnTo>
                <a:lnTo>
                  <a:pt x="862" y="716"/>
                </a:lnTo>
                <a:lnTo>
                  <a:pt x="866" y="716"/>
                </a:lnTo>
                <a:lnTo>
                  <a:pt x="866" y="716"/>
                </a:lnTo>
                <a:lnTo>
                  <a:pt x="868" y="714"/>
                </a:lnTo>
                <a:lnTo>
                  <a:pt x="868" y="714"/>
                </a:lnTo>
                <a:lnTo>
                  <a:pt x="870" y="710"/>
                </a:lnTo>
                <a:lnTo>
                  <a:pt x="874" y="710"/>
                </a:lnTo>
                <a:lnTo>
                  <a:pt x="878" y="710"/>
                </a:lnTo>
                <a:lnTo>
                  <a:pt x="882" y="706"/>
                </a:lnTo>
                <a:lnTo>
                  <a:pt x="882" y="706"/>
                </a:lnTo>
                <a:lnTo>
                  <a:pt x="890" y="704"/>
                </a:lnTo>
                <a:lnTo>
                  <a:pt x="898" y="702"/>
                </a:lnTo>
                <a:lnTo>
                  <a:pt x="906" y="698"/>
                </a:lnTo>
                <a:lnTo>
                  <a:pt x="906" y="696"/>
                </a:lnTo>
                <a:lnTo>
                  <a:pt x="906" y="692"/>
                </a:lnTo>
                <a:lnTo>
                  <a:pt x="906" y="692"/>
                </a:lnTo>
                <a:lnTo>
                  <a:pt x="910" y="694"/>
                </a:lnTo>
                <a:lnTo>
                  <a:pt x="912" y="694"/>
                </a:lnTo>
                <a:lnTo>
                  <a:pt x="916" y="690"/>
                </a:lnTo>
                <a:lnTo>
                  <a:pt x="916" y="680"/>
                </a:lnTo>
                <a:lnTo>
                  <a:pt x="916" y="680"/>
                </a:lnTo>
                <a:lnTo>
                  <a:pt x="920" y="686"/>
                </a:lnTo>
                <a:lnTo>
                  <a:pt x="922" y="686"/>
                </a:lnTo>
                <a:lnTo>
                  <a:pt x="922" y="686"/>
                </a:lnTo>
                <a:lnTo>
                  <a:pt x="924" y="684"/>
                </a:lnTo>
                <a:lnTo>
                  <a:pt x="928" y="686"/>
                </a:lnTo>
                <a:lnTo>
                  <a:pt x="928" y="686"/>
                </a:lnTo>
                <a:lnTo>
                  <a:pt x="930" y="688"/>
                </a:lnTo>
                <a:lnTo>
                  <a:pt x="932" y="688"/>
                </a:lnTo>
                <a:lnTo>
                  <a:pt x="934" y="684"/>
                </a:lnTo>
                <a:lnTo>
                  <a:pt x="938" y="680"/>
                </a:lnTo>
                <a:lnTo>
                  <a:pt x="938" y="680"/>
                </a:lnTo>
                <a:lnTo>
                  <a:pt x="940" y="680"/>
                </a:lnTo>
                <a:lnTo>
                  <a:pt x="940" y="680"/>
                </a:lnTo>
                <a:lnTo>
                  <a:pt x="942" y="682"/>
                </a:lnTo>
                <a:lnTo>
                  <a:pt x="944" y="684"/>
                </a:lnTo>
                <a:lnTo>
                  <a:pt x="948" y="680"/>
                </a:lnTo>
                <a:lnTo>
                  <a:pt x="954" y="676"/>
                </a:lnTo>
                <a:lnTo>
                  <a:pt x="958" y="676"/>
                </a:lnTo>
                <a:lnTo>
                  <a:pt x="962" y="676"/>
                </a:lnTo>
                <a:lnTo>
                  <a:pt x="962" y="676"/>
                </a:lnTo>
                <a:lnTo>
                  <a:pt x="966" y="676"/>
                </a:lnTo>
                <a:lnTo>
                  <a:pt x="968" y="674"/>
                </a:lnTo>
                <a:lnTo>
                  <a:pt x="970" y="670"/>
                </a:lnTo>
                <a:lnTo>
                  <a:pt x="976" y="670"/>
                </a:lnTo>
                <a:lnTo>
                  <a:pt x="976" y="670"/>
                </a:lnTo>
                <a:lnTo>
                  <a:pt x="982" y="668"/>
                </a:lnTo>
                <a:lnTo>
                  <a:pt x="982" y="666"/>
                </a:lnTo>
                <a:lnTo>
                  <a:pt x="982" y="666"/>
                </a:lnTo>
                <a:lnTo>
                  <a:pt x="984" y="664"/>
                </a:lnTo>
                <a:lnTo>
                  <a:pt x="984" y="664"/>
                </a:lnTo>
                <a:lnTo>
                  <a:pt x="986" y="662"/>
                </a:lnTo>
                <a:lnTo>
                  <a:pt x="988" y="660"/>
                </a:lnTo>
                <a:lnTo>
                  <a:pt x="986" y="656"/>
                </a:lnTo>
                <a:lnTo>
                  <a:pt x="986" y="654"/>
                </a:lnTo>
                <a:lnTo>
                  <a:pt x="990" y="652"/>
                </a:lnTo>
                <a:lnTo>
                  <a:pt x="990" y="652"/>
                </a:lnTo>
                <a:lnTo>
                  <a:pt x="994" y="650"/>
                </a:lnTo>
                <a:lnTo>
                  <a:pt x="994" y="648"/>
                </a:lnTo>
                <a:lnTo>
                  <a:pt x="996" y="644"/>
                </a:lnTo>
                <a:lnTo>
                  <a:pt x="998" y="642"/>
                </a:lnTo>
                <a:lnTo>
                  <a:pt x="998" y="642"/>
                </a:lnTo>
                <a:lnTo>
                  <a:pt x="1002" y="640"/>
                </a:lnTo>
                <a:lnTo>
                  <a:pt x="1002" y="638"/>
                </a:lnTo>
                <a:lnTo>
                  <a:pt x="1002" y="634"/>
                </a:lnTo>
                <a:lnTo>
                  <a:pt x="1004" y="632"/>
                </a:lnTo>
                <a:lnTo>
                  <a:pt x="1008" y="632"/>
                </a:lnTo>
                <a:lnTo>
                  <a:pt x="1008" y="632"/>
                </a:lnTo>
                <a:lnTo>
                  <a:pt x="1014" y="632"/>
                </a:lnTo>
                <a:lnTo>
                  <a:pt x="1014" y="628"/>
                </a:lnTo>
                <a:lnTo>
                  <a:pt x="1012" y="622"/>
                </a:lnTo>
                <a:lnTo>
                  <a:pt x="1012" y="620"/>
                </a:lnTo>
                <a:lnTo>
                  <a:pt x="1014" y="616"/>
                </a:lnTo>
                <a:lnTo>
                  <a:pt x="1014" y="616"/>
                </a:lnTo>
                <a:lnTo>
                  <a:pt x="1018" y="610"/>
                </a:lnTo>
                <a:lnTo>
                  <a:pt x="1018" y="610"/>
                </a:lnTo>
                <a:lnTo>
                  <a:pt x="1014" y="610"/>
                </a:lnTo>
                <a:lnTo>
                  <a:pt x="1012" y="608"/>
                </a:lnTo>
                <a:lnTo>
                  <a:pt x="1012" y="608"/>
                </a:lnTo>
                <a:lnTo>
                  <a:pt x="1008" y="606"/>
                </a:lnTo>
                <a:lnTo>
                  <a:pt x="1012" y="604"/>
                </a:lnTo>
                <a:lnTo>
                  <a:pt x="1018" y="604"/>
                </a:lnTo>
                <a:lnTo>
                  <a:pt x="1020" y="602"/>
                </a:lnTo>
                <a:lnTo>
                  <a:pt x="1020" y="598"/>
                </a:lnTo>
                <a:lnTo>
                  <a:pt x="1020" y="598"/>
                </a:lnTo>
                <a:lnTo>
                  <a:pt x="1022" y="592"/>
                </a:lnTo>
                <a:lnTo>
                  <a:pt x="1024" y="590"/>
                </a:lnTo>
                <a:lnTo>
                  <a:pt x="1026" y="588"/>
                </a:lnTo>
                <a:lnTo>
                  <a:pt x="1026" y="582"/>
                </a:lnTo>
                <a:lnTo>
                  <a:pt x="1026" y="582"/>
                </a:lnTo>
                <a:lnTo>
                  <a:pt x="1026" y="566"/>
                </a:lnTo>
                <a:lnTo>
                  <a:pt x="1028" y="560"/>
                </a:lnTo>
                <a:lnTo>
                  <a:pt x="1030" y="558"/>
                </a:lnTo>
                <a:lnTo>
                  <a:pt x="1030" y="556"/>
                </a:lnTo>
                <a:lnTo>
                  <a:pt x="1030" y="556"/>
                </a:lnTo>
                <a:lnTo>
                  <a:pt x="1030" y="552"/>
                </a:lnTo>
                <a:lnTo>
                  <a:pt x="1030" y="550"/>
                </a:lnTo>
                <a:lnTo>
                  <a:pt x="1034" y="546"/>
                </a:lnTo>
                <a:lnTo>
                  <a:pt x="1036" y="544"/>
                </a:lnTo>
                <a:lnTo>
                  <a:pt x="1036" y="542"/>
                </a:lnTo>
                <a:lnTo>
                  <a:pt x="1032" y="538"/>
                </a:lnTo>
                <a:lnTo>
                  <a:pt x="1032" y="538"/>
                </a:lnTo>
                <a:lnTo>
                  <a:pt x="1028" y="536"/>
                </a:lnTo>
                <a:lnTo>
                  <a:pt x="1032" y="536"/>
                </a:lnTo>
                <a:lnTo>
                  <a:pt x="1034" y="534"/>
                </a:lnTo>
                <a:lnTo>
                  <a:pt x="1036" y="534"/>
                </a:lnTo>
                <a:lnTo>
                  <a:pt x="1034" y="530"/>
                </a:lnTo>
                <a:lnTo>
                  <a:pt x="1034" y="530"/>
                </a:lnTo>
                <a:lnTo>
                  <a:pt x="1032" y="526"/>
                </a:lnTo>
                <a:lnTo>
                  <a:pt x="1030" y="526"/>
                </a:lnTo>
                <a:lnTo>
                  <a:pt x="1028" y="528"/>
                </a:lnTo>
                <a:lnTo>
                  <a:pt x="1024" y="528"/>
                </a:lnTo>
                <a:lnTo>
                  <a:pt x="1024" y="528"/>
                </a:lnTo>
                <a:lnTo>
                  <a:pt x="1028" y="526"/>
                </a:lnTo>
                <a:lnTo>
                  <a:pt x="1032" y="520"/>
                </a:lnTo>
                <a:lnTo>
                  <a:pt x="1032" y="520"/>
                </a:lnTo>
                <a:lnTo>
                  <a:pt x="1026" y="520"/>
                </a:lnTo>
                <a:lnTo>
                  <a:pt x="1022" y="518"/>
                </a:lnTo>
                <a:lnTo>
                  <a:pt x="1016" y="514"/>
                </a:lnTo>
                <a:lnTo>
                  <a:pt x="1010" y="510"/>
                </a:lnTo>
                <a:lnTo>
                  <a:pt x="1008" y="510"/>
                </a:lnTo>
                <a:lnTo>
                  <a:pt x="1004" y="510"/>
                </a:lnTo>
                <a:lnTo>
                  <a:pt x="1004" y="510"/>
                </a:lnTo>
                <a:lnTo>
                  <a:pt x="998" y="512"/>
                </a:lnTo>
                <a:lnTo>
                  <a:pt x="994" y="510"/>
                </a:lnTo>
                <a:lnTo>
                  <a:pt x="992" y="510"/>
                </a:lnTo>
                <a:lnTo>
                  <a:pt x="984" y="514"/>
                </a:lnTo>
                <a:lnTo>
                  <a:pt x="984" y="514"/>
                </a:lnTo>
                <a:lnTo>
                  <a:pt x="988" y="512"/>
                </a:lnTo>
                <a:lnTo>
                  <a:pt x="990" y="508"/>
                </a:lnTo>
                <a:lnTo>
                  <a:pt x="996" y="508"/>
                </a:lnTo>
                <a:lnTo>
                  <a:pt x="1000" y="508"/>
                </a:lnTo>
                <a:lnTo>
                  <a:pt x="1000" y="506"/>
                </a:lnTo>
                <a:lnTo>
                  <a:pt x="1000" y="506"/>
                </a:lnTo>
                <a:lnTo>
                  <a:pt x="1000" y="504"/>
                </a:lnTo>
                <a:lnTo>
                  <a:pt x="1004" y="502"/>
                </a:lnTo>
                <a:lnTo>
                  <a:pt x="1008" y="502"/>
                </a:lnTo>
                <a:lnTo>
                  <a:pt x="1008" y="498"/>
                </a:lnTo>
                <a:lnTo>
                  <a:pt x="1008" y="498"/>
                </a:lnTo>
                <a:lnTo>
                  <a:pt x="1008" y="496"/>
                </a:lnTo>
                <a:lnTo>
                  <a:pt x="1012" y="494"/>
                </a:lnTo>
                <a:lnTo>
                  <a:pt x="1014" y="492"/>
                </a:lnTo>
                <a:lnTo>
                  <a:pt x="1016" y="492"/>
                </a:lnTo>
                <a:lnTo>
                  <a:pt x="1016" y="492"/>
                </a:lnTo>
                <a:lnTo>
                  <a:pt x="1014" y="488"/>
                </a:lnTo>
                <a:lnTo>
                  <a:pt x="1012" y="484"/>
                </a:lnTo>
                <a:lnTo>
                  <a:pt x="1004" y="480"/>
                </a:lnTo>
                <a:lnTo>
                  <a:pt x="998" y="478"/>
                </a:lnTo>
                <a:lnTo>
                  <a:pt x="996" y="478"/>
                </a:lnTo>
                <a:lnTo>
                  <a:pt x="996" y="478"/>
                </a:lnTo>
                <a:lnTo>
                  <a:pt x="994" y="476"/>
                </a:lnTo>
                <a:lnTo>
                  <a:pt x="990" y="476"/>
                </a:lnTo>
                <a:lnTo>
                  <a:pt x="984" y="478"/>
                </a:lnTo>
                <a:lnTo>
                  <a:pt x="978" y="478"/>
                </a:lnTo>
                <a:lnTo>
                  <a:pt x="974" y="476"/>
                </a:lnTo>
                <a:lnTo>
                  <a:pt x="972" y="472"/>
                </a:lnTo>
                <a:lnTo>
                  <a:pt x="972" y="472"/>
                </a:lnTo>
                <a:lnTo>
                  <a:pt x="976" y="476"/>
                </a:lnTo>
                <a:lnTo>
                  <a:pt x="980" y="476"/>
                </a:lnTo>
                <a:lnTo>
                  <a:pt x="984" y="474"/>
                </a:lnTo>
                <a:lnTo>
                  <a:pt x="984" y="474"/>
                </a:lnTo>
                <a:lnTo>
                  <a:pt x="988" y="472"/>
                </a:lnTo>
                <a:lnTo>
                  <a:pt x="990" y="472"/>
                </a:lnTo>
                <a:lnTo>
                  <a:pt x="998" y="474"/>
                </a:lnTo>
                <a:lnTo>
                  <a:pt x="1004" y="476"/>
                </a:lnTo>
                <a:lnTo>
                  <a:pt x="1010" y="478"/>
                </a:lnTo>
                <a:lnTo>
                  <a:pt x="1010" y="478"/>
                </a:lnTo>
                <a:lnTo>
                  <a:pt x="1010" y="474"/>
                </a:lnTo>
                <a:lnTo>
                  <a:pt x="1010" y="472"/>
                </a:lnTo>
                <a:lnTo>
                  <a:pt x="1004" y="470"/>
                </a:lnTo>
                <a:lnTo>
                  <a:pt x="1004" y="470"/>
                </a:lnTo>
                <a:lnTo>
                  <a:pt x="1000" y="466"/>
                </a:lnTo>
                <a:lnTo>
                  <a:pt x="998" y="464"/>
                </a:lnTo>
                <a:lnTo>
                  <a:pt x="998" y="462"/>
                </a:lnTo>
                <a:lnTo>
                  <a:pt x="994" y="462"/>
                </a:lnTo>
                <a:lnTo>
                  <a:pt x="994" y="462"/>
                </a:lnTo>
                <a:lnTo>
                  <a:pt x="988" y="460"/>
                </a:lnTo>
                <a:lnTo>
                  <a:pt x="982" y="456"/>
                </a:lnTo>
                <a:lnTo>
                  <a:pt x="978" y="450"/>
                </a:lnTo>
                <a:lnTo>
                  <a:pt x="974" y="442"/>
                </a:lnTo>
                <a:lnTo>
                  <a:pt x="974" y="442"/>
                </a:lnTo>
                <a:lnTo>
                  <a:pt x="972" y="436"/>
                </a:lnTo>
                <a:lnTo>
                  <a:pt x="970" y="434"/>
                </a:lnTo>
                <a:lnTo>
                  <a:pt x="966" y="434"/>
                </a:lnTo>
                <a:lnTo>
                  <a:pt x="964" y="430"/>
                </a:lnTo>
                <a:lnTo>
                  <a:pt x="964" y="430"/>
                </a:lnTo>
                <a:lnTo>
                  <a:pt x="962" y="424"/>
                </a:lnTo>
                <a:lnTo>
                  <a:pt x="962" y="424"/>
                </a:lnTo>
                <a:lnTo>
                  <a:pt x="958" y="422"/>
                </a:lnTo>
                <a:lnTo>
                  <a:pt x="956" y="420"/>
                </a:lnTo>
                <a:lnTo>
                  <a:pt x="956" y="420"/>
                </a:lnTo>
                <a:lnTo>
                  <a:pt x="950" y="414"/>
                </a:lnTo>
                <a:lnTo>
                  <a:pt x="946" y="410"/>
                </a:lnTo>
                <a:lnTo>
                  <a:pt x="936" y="406"/>
                </a:lnTo>
                <a:lnTo>
                  <a:pt x="928" y="404"/>
                </a:lnTo>
                <a:lnTo>
                  <a:pt x="924" y="404"/>
                </a:lnTo>
                <a:lnTo>
                  <a:pt x="922" y="402"/>
                </a:lnTo>
                <a:lnTo>
                  <a:pt x="922" y="402"/>
                </a:lnTo>
                <a:lnTo>
                  <a:pt x="922" y="400"/>
                </a:lnTo>
                <a:lnTo>
                  <a:pt x="924" y="396"/>
                </a:lnTo>
                <a:lnTo>
                  <a:pt x="930" y="392"/>
                </a:lnTo>
                <a:lnTo>
                  <a:pt x="932" y="390"/>
                </a:lnTo>
                <a:lnTo>
                  <a:pt x="932" y="388"/>
                </a:lnTo>
                <a:lnTo>
                  <a:pt x="928" y="386"/>
                </a:lnTo>
                <a:lnTo>
                  <a:pt x="928" y="386"/>
                </a:lnTo>
                <a:lnTo>
                  <a:pt x="926" y="386"/>
                </a:lnTo>
                <a:lnTo>
                  <a:pt x="926" y="386"/>
                </a:lnTo>
                <a:lnTo>
                  <a:pt x="932" y="384"/>
                </a:lnTo>
                <a:lnTo>
                  <a:pt x="936" y="382"/>
                </a:lnTo>
                <a:lnTo>
                  <a:pt x="938" y="380"/>
                </a:lnTo>
                <a:lnTo>
                  <a:pt x="938" y="378"/>
                </a:lnTo>
                <a:lnTo>
                  <a:pt x="938" y="378"/>
                </a:lnTo>
                <a:lnTo>
                  <a:pt x="936" y="374"/>
                </a:lnTo>
                <a:lnTo>
                  <a:pt x="938" y="374"/>
                </a:lnTo>
                <a:lnTo>
                  <a:pt x="940" y="372"/>
                </a:lnTo>
                <a:lnTo>
                  <a:pt x="942" y="370"/>
                </a:lnTo>
                <a:lnTo>
                  <a:pt x="942" y="370"/>
                </a:lnTo>
                <a:lnTo>
                  <a:pt x="944" y="368"/>
                </a:lnTo>
                <a:lnTo>
                  <a:pt x="944" y="368"/>
                </a:lnTo>
                <a:lnTo>
                  <a:pt x="946" y="368"/>
                </a:lnTo>
                <a:lnTo>
                  <a:pt x="948" y="364"/>
                </a:lnTo>
                <a:lnTo>
                  <a:pt x="948" y="364"/>
                </a:lnTo>
                <a:lnTo>
                  <a:pt x="950" y="362"/>
                </a:lnTo>
                <a:lnTo>
                  <a:pt x="952" y="360"/>
                </a:lnTo>
                <a:lnTo>
                  <a:pt x="956" y="360"/>
                </a:lnTo>
                <a:lnTo>
                  <a:pt x="958" y="360"/>
                </a:lnTo>
                <a:lnTo>
                  <a:pt x="960" y="360"/>
                </a:lnTo>
                <a:lnTo>
                  <a:pt x="960" y="358"/>
                </a:lnTo>
                <a:lnTo>
                  <a:pt x="960" y="358"/>
                </a:lnTo>
                <a:lnTo>
                  <a:pt x="962" y="356"/>
                </a:lnTo>
                <a:lnTo>
                  <a:pt x="962" y="354"/>
                </a:lnTo>
                <a:lnTo>
                  <a:pt x="962" y="354"/>
                </a:lnTo>
                <a:lnTo>
                  <a:pt x="964" y="350"/>
                </a:lnTo>
                <a:lnTo>
                  <a:pt x="962" y="348"/>
                </a:lnTo>
                <a:lnTo>
                  <a:pt x="956" y="348"/>
                </a:lnTo>
                <a:lnTo>
                  <a:pt x="956" y="348"/>
                </a:lnTo>
                <a:lnTo>
                  <a:pt x="948" y="346"/>
                </a:lnTo>
                <a:lnTo>
                  <a:pt x="942" y="348"/>
                </a:lnTo>
                <a:lnTo>
                  <a:pt x="940" y="348"/>
                </a:lnTo>
                <a:lnTo>
                  <a:pt x="938" y="346"/>
                </a:lnTo>
                <a:lnTo>
                  <a:pt x="938" y="346"/>
                </a:lnTo>
                <a:lnTo>
                  <a:pt x="934" y="342"/>
                </a:lnTo>
                <a:lnTo>
                  <a:pt x="926" y="342"/>
                </a:lnTo>
                <a:lnTo>
                  <a:pt x="920" y="342"/>
                </a:lnTo>
                <a:lnTo>
                  <a:pt x="918" y="342"/>
                </a:lnTo>
                <a:lnTo>
                  <a:pt x="918" y="344"/>
                </a:lnTo>
                <a:lnTo>
                  <a:pt x="918" y="344"/>
                </a:lnTo>
                <a:lnTo>
                  <a:pt x="916" y="346"/>
                </a:lnTo>
                <a:lnTo>
                  <a:pt x="914" y="348"/>
                </a:lnTo>
                <a:lnTo>
                  <a:pt x="908" y="348"/>
                </a:lnTo>
                <a:lnTo>
                  <a:pt x="908" y="348"/>
                </a:lnTo>
                <a:lnTo>
                  <a:pt x="906" y="352"/>
                </a:lnTo>
                <a:lnTo>
                  <a:pt x="902" y="354"/>
                </a:lnTo>
                <a:lnTo>
                  <a:pt x="894" y="354"/>
                </a:lnTo>
                <a:lnTo>
                  <a:pt x="886" y="350"/>
                </a:lnTo>
                <a:lnTo>
                  <a:pt x="884" y="348"/>
                </a:lnTo>
                <a:lnTo>
                  <a:pt x="884" y="346"/>
                </a:lnTo>
                <a:lnTo>
                  <a:pt x="884" y="346"/>
                </a:lnTo>
                <a:lnTo>
                  <a:pt x="886" y="342"/>
                </a:lnTo>
                <a:lnTo>
                  <a:pt x="884" y="338"/>
                </a:lnTo>
                <a:lnTo>
                  <a:pt x="882" y="336"/>
                </a:lnTo>
                <a:lnTo>
                  <a:pt x="880" y="334"/>
                </a:lnTo>
                <a:lnTo>
                  <a:pt x="868" y="332"/>
                </a:lnTo>
                <a:lnTo>
                  <a:pt x="856" y="334"/>
                </a:lnTo>
                <a:lnTo>
                  <a:pt x="856" y="334"/>
                </a:lnTo>
                <a:lnTo>
                  <a:pt x="852" y="328"/>
                </a:lnTo>
                <a:lnTo>
                  <a:pt x="850" y="324"/>
                </a:lnTo>
                <a:lnTo>
                  <a:pt x="842" y="318"/>
                </a:lnTo>
                <a:lnTo>
                  <a:pt x="836" y="314"/>
                </a:lnTo>
                <a:lnTo>
                  <a:pt x="834" y="310"/>
                </a:lnTo>
                <a:lnTo>
                  <a:pt x="834" y="304"/>
                </a:lnTo>
                <a:lnTo>
                  <a:pt x="834" y="304"/>
                </a:lnTo>
                <a:lnTo>
                  <a:pt x="836" y="298"/>
                </a:lnTo>
                <a:lnTo>
                  <a:pt x="840" y="296"/>
                </a:lnTo>
                <a:lnTo>
                  <a:pt x="844" y="296"/>
                </a:lnTo>
                <a:lnTo>
                  <a:pt x="850" y="296"/>
                </a:lnTo>
                <a:lnTo>
                  <a:pt x="856" y="298"/>
                </a:lnTo>
                <a:lnTo>
                  <a:pt x="860" y="298"/>
                </a:lnTo>
                <a:lnTo>
                  <a:pt x="864" y="296"/>
                </a:lnTo>
                <a:lnTo>
                  <a:pt x="866" y="290"/>
                </a:lnTo>
                <a:lnTo>
                  <a:pt x="866" y="290"/>
                </a:lnTo>
                <a:lnTo>
                  <a:pt x="868" y="286"/>
                </a:lnTo>
                <a:lnTo>
                  <a:pt x="870" y="282"/>
                </a:lnTo>
                <a:lnTo>
                  <a:pt x="876" y="280"/>
                </a:lnTo>
                <a:lnTo>
                  <a:pt x="884" y="276"/>
                </a:lnTo>
                <a:lnTo>
                  <a:pt x="886" y="274"/>
                </a:lnTo>
                <a:lnTo>
                  <a:pt x="886" y="270"/>
                </a:lnTo>
                <a:lnTo>
                  <a:pt x="886" y="270"/>
                </a:lnTo>
                <a:lnTo>
                  <a:pt x="888" y="268"/>
                </a:lnTo>
                <a:lnTo>
                  <a:pt x="888" y="266"/>
                </a:lnTo>
                <a:lnTo>
                  <a:pt x="892" y="266"/>
                </a:lnTo>
                <a:lnTo>
                  <a:pt x="896" y="266"/>
                </a:lnTo>
                <a:lnTo>
                  <a:pt x="894" y="260"/>
                </a:lnTo>
                <a:lnTo>
                  <a:pt x="894" y="260"/>
                </a:lnTo>
                <a:lnTo>
                  <a:pt x="900" y="264"/>
                </a:lnTo>
                <a:lnTo>
                  <a:pt x="904" y="268"/>
                </a:lnTo>
                <a:lnTo>
                  <a:pt x="914" y="270"/>
                </a:lnTo>
                <a:lnTo>
                  <a:pt x="918" y="272"/>
                </a:lnTo>
                <a:lnTo>
                  <a:pt x="918" y="274"/>
                </a:lnTo>
                <a:lnTo>
                  <a:pt x="916" y="280"/>
                </a:lnTo>
                <a:lnTo>
                  <a:pt x="910" y="286"/>
                </a:lnTo>
                <a:lnTo>
                  <a:pt x="910" y="286"/>
                </a:lnTo>
                <a:lnTo>
                  <a:pt x="904" y="294"/>
                </a:lnTo>
                <a:lnTo>
                  <a:pt x="902" y="298"/>
                </a:lnTo>
                <a:lnTo>
                  <a:pt x="902" y="300"/>
                </a:lnTo>
                <a:lnTo>
                  <a:pt x="904" y="302"/>
                </a:lnTo>
                <a:lnTo>
                  <a:pt x="910" y="300"/>
                </a:lnTo>
                <a:lnTo>
                  <a:pt x="912" y="300"/>
                </a:lnTo>
                <a:lnTo>
                  <a:pt x="910" y="300"/>
                </a:lnTo>
                <a:lnTo>
                  <a:pt x="910" y="300"/>
                </a:lnTo>
                <a:lnTo>
                  <a:pt x="908" y="302"/>
                </a:lnTo>
                <a:lnTo>
                  <a:pt x="908" y="304"/>
                </a:lnTo>
                <a:lnTo>
                  <a:pt x="910" y="304"/>
                </a:lnTo>
                <a:lnTo>
                  <a:pt x="908" y="306"/>
                </a:lnTo>
                <a:lnTo>
                  <a:pt x="908" y="306"/>
                </a:lnTo>
                <a:lnTo>
                  <a:pt x="904" y="310"/>
                </a:lnTo>
                <a:lnTo>
                  <a:pt x="904" y="312"/>
                </a:lnTo>
                <a:lnTo>
                  <a:pt x="906" y="312"/>
                </a:lnTo>
                <a:lnTo>
                  <a:pt x="912" y="312"/>
                </a:lnTo>
                <a:lnTo>
                  <a:pt x="912" y="312"/>
                </a:lnTo>
                <a:lnTo>
                  <a:pt x="914" y="310"/>
                </a:lnTo>
                <a:lnTo>
                  <a:pt x="914" y="308"/>
                </a:lnTo>
                <a:lnTo>
                  <a:pt x="914" y="308"/>
                </a:lnTo>
                <a:lnTo>
                  <a:pt x="916" y="306"/>
                </a:lnTo>
                <a:lnTo>
                  <a:pt x="916" y="306"/>
                </a:lnTo>
                <a:lnTo>
                  <a:pt x="922" y="302"/>
                </a:lnTo>
                <a:lnTo>
                  <a:pt x="928" y="294"/>
                </a:lnTo>
                <a:lnTo>
                  <a:pt x="936" y="288"/>
                </a:lnTo>
                <a:lnTo>
                  <a:pt x="942" y="286"/>
                </a:lnTo>
                <a:lnTo>
                  <a:pt x="948" y="284"/>
                </a:lnTo>
                <a:lnTo>
                  <a:pt x="948" y="284"/>
                </a:lnTo>
                <a:lnTo>
                  <a:pt x="954" y="284"/>
                </a:lnTo>
                <a:lnTo>
                  <a:pt x="956" y="282"/>
                </a:lnTo>
                <a:lnTo>
                  <a:pt x="962" y="278"/>
                </a:lnTo>
                <a:lnTo>
                  <a:pt x="962" y="278"/>
                </a:lnTo>
                <a:lnTo>
                  <a:pt x="964" y="276"/>
                </a:lnTo>
                <a:lnTo>
                  <a:pt x="964" y="276"/>
                </a:lnTo>
                <a:lnTo>
                  <a:pt x="972" y="270"/>
                </a:lnTo>
                <a:lnTo>
                  <a:pt x="976" y="266"/>
                </a:lnTo>
                <a:lnTo>
                  <a:pt x="978" y="262"/>
                </a:lnTo>
                <a:lnTo>
                  <a:pt x="980" y="256"/>
                </a:lnTo>
                <a:lnTo>
                  <a:pt x="980" y="256"/>
                </a:lnTo>
                <a:lnTo>
                  <a:pt x="984" y="250"/>
                </a:lnTo>
                <a:lnTo>
                  <a:pt x="988" y="244"/>
                </a:lnTo>
                <a:lnTo>
                  <a:pt x="992" y="242"/>
                </a:lnTo>
                <a:lnTo>
                  <a:pt x="996" y="240"/>
                </a:lnTo>
                <a:lnTo>
                  <a:pt x="1008" y="240"/>
                </a:lnTo>
                <a:lnTo>
                  <a:pt x="1008" y="240"/>
                </a:lnTo>
                <a:lnTo>
                  <a:pt x="1016" y="242"/>
                </a:lnTo>
                <a:lnTo>
                  <a:pt x="1022" y="240"/>
                </a:lnTo>
                <a:lnTo>
                  <a:pt x="1024" y="238"/>
                </a:lnTo>
                <a:lnTo>
                  <a:pt x="1020" y="234"/>
                </a:lnTo>
                <a:lnTo>
                  <a:pt x="1020" y="234"/>
                </a:lnTo>
                <a:lnTo>
                  <a:pt x="1018" y="232"/>
                </a:lnTo>
                <a:lnTo>
                  <a:pt x="1018" y="232"/>
                </a:lnTo>
                <a:lnTo>
                  <a:pt x="1024" y="230"/>
                </a:lnTo>
                <a:lnTo>
                  <a:pt x="1032" y="228"/>
                </a:lnTo>
                <a:lnTo>
                  <a:pt x="1032" y="226"/>
                </a:lnTo>
                <a:lnTo>
                  <a:pt x="1032" y="224"/>
                </a:lnTo>
                <a:lnTo>
                  <a:pt x="1032" y="224"/>
                </a:lnTo>
                <a:lnTo>
                  <a:pt x="1030" y="220"/>
                </a:lnTo>
                <a:lnTo>
                  <a:pt x="1032" y="218"/>
                </a:lnTo>
                <a:lnTo>
                  <a:pt x="1036" y="216"/>
                </a:lnTo>
                <a:lnTo>
                  <a:pt x="1036" y="212"/>
                </a:lnTo>
                <a:lnTo>
                  <a:pt x="1036" y="212"/>
                </a:lnTo>
                <a:lnTo>
                  <a:pt x="1036" y="212"/>
                </a:lnTo>
                <a:lnTo>
                  <a:pt x="1038" y="212"/>
                </a:lnTo>
                <a:lnTo>
                  <a:pt x="1044" y="218"/>
                </a:lnTo>
                <a:lnTo>
                  <a:pt x="1050" y="222"/>
                </a:lnTo>
                <a:lnTo>
                  <a:pt x="1052" y="220"/>
                </a:lnTo>
                <a:lnTo>
                  <a:pt x="1054" y="218"/>
                </a:lnTo>
                <a:lnTo>
                  <a:pt x="1054" y="218"/>
                </a:lnTo>
                <a:lnTo>
                  <a:pt x="1050" y="214"/>
                </a:lnTo>
                <a:lnTo>
                  <a:pt x="1046" y="208"/>
                </a:lnTo>
                <a:lnTo>
                  <a:pt x="1044" y="198"/>
                </a:lnTo>
                <a:lnTo>
                  <a:pt x="1044" y="198"/>
                </a:lnTo>
                <a:lnTo>
                  <a:pt x="1042" y="192"/>
                </a:lnTo>
                <a:lnTo>
                  <a:pt x="1038" y="186"/>
                </a:lnTo>
                <a:lnTo>
                  <a:pt x="1028" y="180"/>
                </a:lnTo>
                <a:lnTo>
                  <a:pt x="1022" y="174"/>
                </a:lnTo>
                <a:lnTo>
                  <a:pt x="1022" y="172"/>
                </a:lnTo>
                <a:lnTo>
                  <a:pt x="1026" y="170"/>
                </a:lnTo>
                <a:lnTo>
                  <a:pt x="1026" y="170"/>
                </a:lnTo>
                <a:lnTo>
                  <a:pt x="1034" y="162"/>
                </a:lnTo>
                <a:lnTo>
                  <a:pt x="1040" y="158"/>
                </a:lnTo>
                <a:lnTo>
                  <a:pt x="1042" y="154"/>
                </a:lnTo>
                <a:lnTo>
                  <a:pt x="1042" y="152"/>
                </a:lnTo>
                <a:lnTo>
                  <a:pt x="1042" y="146"/>
                </a:lnTo>
                <a:lnTo>
                  <a:pt x="1044" y="144"/>
                </a:lnTo>
                <a:lnTo>
                  <a:pt x="1046" y="142"/>
                </a:lnTo>
                <a:lnTo>
                  <a:pt x="1046" y="142"/>
                </a:lnTo>
                <a:lnTo>
                  <a:pt x="1052" y="136"/>
                </a:lnTo>
                <a:lnTo>
                  <a:pt x="1054" y="132"/>
                </a:lnTo>
                <a:lnTo>
                  <a:pt x="1052" y="128"/>
                </a:lnTo>
                <a:lnTo>
                  <a:pt x="1048" y="126"/>
                </a:lnTo>
                <a:lnTo>
                  <a:pt x="1042" y="120"/>
                </a:lnTo>
                <a:lnTo>
                  <a:pt x="1040" y="116"/>
                </a:lnTo>
                <a:lnTo>
                  <a:pt x="1042" y="112"/>
                </a:lnTo>
                <a:lnTo>
                  <a:pt x="1042" y="112"/>
                </a:lnTo>
                <a:lnTo>
                  <a:pt x="1046" y="106"/>
                </a:lnTo>
                <a:lnTo>
                  <a:pt x="1046" y="102"/>
                </a:lnTo>
                <a:lnTo>
                  <a:pt x="1044" y="96"/>
                </a:lnTo>
                <a:lnTo>
                  <a:pt x="1038" y="92"/>
                </a:lnTo>
                <a:lnTo>
                  <a:pt x="1034" y="90"/>
                </a:lnTo>
                <a:lnTo>
                  <a:pt x="1028" y="88"/>
                </a:lnTo>
                <a:lnTo>
                  <a:pt x="1020" y="88"/>
                </a:lnTo>
                <a:lnTo>
                  <a:pt x="1014" y="92"/>
                </a:lnTo>
                <a:lnTo>
                  <a:pt x="1014" y="92"/>
                </a:lnTo>
                <a:lnTo>
                  <a:pt x="1002" y="98"/>
                </a:lnTo>
                <a:lnTo>
                  <a:pt x="998" y="102"/>
                </a:lnTo>
                <a:lnTo>
                  <a:pt x="992" y="102"/>
                </a:lnTo>
                <a:lnTo>
                  <a:pt x="986" y="102"/>
                </a:lnTo>
                <a:lnTo>
                  <a:pt x="978" y="100"/>
                </a:lnTo>
                <a:lnTo>
                  <a:pt x="970" y="96"/>
                </a:lnTo>
                <a:lnTo>
                  <a:pt x="958" y="90"/>
                </a:lnTo>
                <a:lnTo>
                  <a:pt x="958" y="90"/>
                </a:lnTo>
                <a:lnTo>
                  <a:pt x="948" y="84"/>
                </a:lnTo>
                <a:lnTo>
                  <a:pt x="938" y="80"/>
                </a:lnTo>
                <a:lnTo>
                  <a:pt x="918" y="74"/>
                </a:lnTo>
                <a:lnTo>
                  <a:pt x="906" y="70"/>
                </a:lnTo>
                <a:lnTo>
                  <a:pt x="896" y="64"/>
                </a:lnTo>
                <a:lnTo>
                  <a:pt x="884" y="56"/>
                </a:lnTo>
                <a:lnTo>
                  <a:pt x="870" y="46"/>
                </a:lnTo>
                <a:lnTo>
                  <a:pt x="870" y="46"/>
                </a:lnTo>
                <a:lnTo>
                  <a:pt x="856" y="34"/>
                </a:lnTo>
                <a:lnTo>
                  <a:pt x="842" y="24"/>
                </a:lnTo>
                <a:lnTo>
                  <a:pt x="830" y="16"/>
                </a:lnTo>
                <a:lnTo>
                  <a:pt x="816" y="10"/>
                </a:lnTo>
                <a:lnTo>
                  <a:pt x="804" y="6"/>
                </a:lnTo>
                <a:lnTo>
                  <a:pt x="790" y="2"/>
                </a:lnTo>
                <a:lnTo>
                  <a:pt x="778" y="0"/>
                </a:lnTo>
                <a:lnTo>
                  <a:pt x="764" y="0"/>
                </a:lnTo>
                <a:lnTo>
                  <a:pt x="764" y="0"/>
                </a:lnTo>
                <a:lnTo>
                  <a:pt x="746" y="0"/>
                </a:lnTo>
                <a:lnTo>
                  <a:pt x="738" y="4"/>
                </a:lnTo>
                <a:lnTo>
                  <a:pt x="732" y="6"/>
                </a:lnTo>
                <a:lnTo>
                  <a:pt x="722" y="8"/>
                </a:lnTo>
                <a:lnTo>
                  <a:pt x="722" y="8"/>
                </a:lnTo>
                <a:lnTo>
                  <a:pt x="714" y="8"/>
                </a:lnTo>
                <a:lnTo>
                  <a:pt x="708" y="10"/>
                </a:lnTo>
                <a:lnTo>
                  <a:pt x="706" y="12"/>
                </a:lnTo>
                <a:lnTo>
                  <a:pt x="704" y="14"/>
                </a:lnTo>
                <a:lnTo>
                  <a:pt x="706" y="16"/>
                </a:lnTo>
                <a:lnTo>
                  <a:pt x="708" y="18"/>
                </a:lnTo>
                <a:lnTo>
                  <a:pt x="718" y="18"/>
                </a:lnTo>
                <a:lnTo>
                  <a:pt x="718" y="18"/>
                </a:lnTo>
                <a:lnTo>
                  <a:pt x="726" y="18"/>
                </a:lnTo>
                <a:lnTo>
                  <a:pt x="730" y="20"/>
                </a:lnTo>
                <a:lnTo>
                  <a:pt x="730" y="22"/>
                </a:lnTo>
                <a:lnTo>
                  <a:pt x="730" y="26"/>
                </a:lnTo>
                <a:lnTo>
                  <a:pt x="726" y="32"/>
                </a:lnTo>
                <a:lnTo>
                  <a:pt x="722" y="42"/>
                </a:lnTo>
                <a:lnTo>
                  <a:pt x="722" y="42"/>
                </a:lnTo>
                <a:lnTo>
                  <a:pt x="720" y="54"/>
                </a:lnTo>
                <a:lnTo>
                  <a:pt x="718" y="60"/>
                </a:lnTo>
                <a:lnTo>
                  <a:pt x="716" y="68"/>
                </a:lnTo>
                <a:lnTo>
                  <a:pt x="712" y="72"/>
                </a:lnTo>
                <a:lnTo>
                  <a:pt x="704" y="76"/>
                </a:lnTo>
                <a:lnTo>
                  <a:pt x="694" y="76"/>
                </a:lnTo>
                <a:lnTo>
                  <a:pt x="678" y="74"/>
                </a:lnTo>
                <a:lnTo>
                  <a:pt x="678" y="74"/>
                </a:lnTo>
                <a:lnTo>
                  <a:pt x="654" y="68"/>
                </a:lnTo>
                <a:lnTo>
                  <a:pt x="654" y="68"/>
                </a:lnTo>
                <a:lnTo>
                  <a:pt x="644" y="74"/>
                </a:lnTo>
                <a:lnTo>
                  <a:pt x="640" y="78"/>
                </a:lnTo>
                <a:lnTo>
                  <a:pt x="640" y="82"/>
                </a:lnTo>
                <a:lnTo>
                  <a:pt x="642" y="84"/>
                </a:lnTo>
                <a:lnTo>
                  <a:pt x="644" y="90"/>
                </a:lnTo>
                <a:lnTo>
                  <a:pt x="644" y="92"/>
                </a:lnTo>
                <a:lnTo>
                  <a:pt x="638" y="96"/>
                </a:lnTo>
                <a:lnTo>
                  <a:pt x="638" y="96"/>
                </a:lnTo>
                <a:lnTo>
                  <a:pt x="632" y="100"/>
                </a:lnTo>
                <a:lnTo>
                  <a:pt x="632" y="104"/>
                </a:lnTo>
                <a:lnTo>
                  <a:pt x="632" y="106"/>
                </a:lnTo>
                <a:lnTo>
                  <a:pt x="634" y="108"/>
                </a:lnTo>
                <a:lnTo>
                  <a:pt x="640" y="108"/>
                </a:lnTo>
                <a:lnTo>
                  <a:pt x="656" y="106"/>
                </a:lnTo>
                <a:lnTo>
                  <a:pt x="656" y="106"/>
                </a:lnTo>
                <a:lnTo>
                  <a:pt x="672" y="104"/>
                </a:lnTo>
                <a:lnTo>
                  <a:pt x="682" y="104"/>
                </a:lnTo>
                <a:lnTo>
                  <a:pt x="688" y="104"/>
                </a:lnTo>
                <a:lnTo>
                  <a:pt x="692" y="106"/>
                </a:lnTo>
                <a:lnTo>
                  <a:pt x="696" y="108"/>
                </a:lnTo>
                <a:lnTo>
                  <a:pt x="698" y="106"/>
                </a:lnTo>
                <a:lnTo>
                  <a:pt x="710" y="100"/>
                </a:lnTo>
                <a:lnTo>
                  <a:pt x="710" y="100"/>
                </a:lnTo>
                <a:lnTo>
                  <a:pt x="714" y="96"/>
                </a:lnTo>
                <a:lnTo>
                  <a:pt x="720" y="92"/>
                </a:lnTo>
                <a:lnTo>
                  <a:pt x="724" y="92"/>
                </a:lnTo>
                <a:lnTo>
                  <a:pt x="728" y="94"/>
                </a:lnTo>
                <a:lnTo>
                  <a:pt x="742" y="98"/>
                </a:lnTo>
                <a:lnTo>
                  <a:pt x="760" y="110"/>
                </a:lnTo>
                <a:lnTo>
                  <a:pt x="760" y="110"/>
                </a:lnTo>
                <a:lnTo>
                  <a:pt x="764" y="112"/>
                </a:lnTo>
                <a:lnTo>
                  <a:pt x="768" y="116"/>
                </a:lnTo>
                <a:lnTo>
                  <a:pt x="770" y="120"/>
                </a:lnTo>
                <a:lnTo>
                  <a:pt x="770" y="124"/>
                </a:lnTo>
                <a:lnTo>
                  <a:pt x="768" y="126"/>
                </a:lnTo>
                <a:lnTo>
                  <a:pt x="766" y="128"/>
                </a:lnTo>
                <a:lnTo>
                  <a:pt x="762" y="130"/>
                </a:lnTo>
                <a:lnTo>
                  <a:pt x="758" y="130"/>
                </a:lnTo>
                <a:lnTo>
                  <a:pt x="758" y="130"/>
                </a:lnTo>
                <a:lnTo>
                  <a:pt x="752" y="130"/>
                </a:lnTo>
                <a:lnTo>
                  <a:pt x="750" y="132"/>
                </a:lnTo>
                <a:lnTo>
                  <a:pt x="748" y="134"/>
                </a:lnTo>
                <a:lnTo>
                  <a:pt x="742" y="134"/>
                </a:lnTo>
                <a:lnTo>
                  <a:pt x="742" y="134"/>
                </a:lnTo>
                <a:lnTo>
                  <a:pt x="734" y="134"/>
                </a:lnTo>
                <a:lnTo>
                  <a:pt x="730" y="136"/>
                </a:lnTo>
                <a:lnTo>
                  <a:pt x="724" y="144"/>
                </a:lnTo>
                <a:lnTo>
                  <a:pt x="724" y="144"/>
                </a:lnTo>
                <a:lnTo>
                  <a:pt x="718" y="150"/>
                </a:lnTo>
                <a:lnTo>
                  <a:pt x="714" y="152"/>
                </a:lnTo>
                <a:lnTo>
                  <a:pt x="708" y="154"/>
                </a:lnTo>
                <a:lnTo>
                  <a:pt x="702" y="154"/>
                </a:lnTo>
                <a:lnTo>
                  <a:pt x="700" y="156"/>
                </a:lnTo>
                <a:lnTo>
                  <a:pt x="698" y="160"/>
                </a:lnTo>
                <a:lnTo>
                  <a:pt x="698" y="160"/>
                </a:lnTo>
                <a:lnTo>
                  <a:pt x="696" y="166"/>
                </a:lnTo>
                <a:lnTo>
                  <a:pt x="692" y="168"/>
                </a:lnTo>
                <a:lnTo>
                  <a:pt x="688" y="168"/>
                </a:lnTo>
                <a:lnTo>
                  <a:pt x="684" y="168"/>
                </a:lnTo>
                <a:lnTo>
                  <a:pt x="678" y="164"/>
                </a:lnTo>
                <a:lnTo>
                  <a:pt x="674" y="164"/>
                </a:lnTo>
                <a:lnTo>
                  <a:pt x="672" y="168"/>
                </a:lnTo>
                <a:lnTo>
                  <a:pt x="672" y="168"/>
                </a:lnTo>
                <a:lnTo>
                  <a:pt x="672" y="172"/>
                </a:lnTo>
                <a:lnTo>
                  <a:pt x="674" y="176"/>
                </a:lnTo>
                <a:lnTo>
                  <a:pt x="678" y="178"/>
                </a:lnTo>
                <a:lnTo>
                  <a:pt x="686" y="180"/>
                </a:lnTo>
                <a:lnTo>
                  <a:pt x="686" y="180"/>
                </a:lnTo>
                <a:lnTo>
                  <a:pt x="690" y="182"/>
                </a:lnTo>
                <a:lnTo>
                  <a:pt x="694" y="184"/>
                </a:lnTo>
                <a:lnTo>
                  <a:pt x="694" y="190"/>
                </a:lnTo>
                <a:lnTo>
                  <a:pt x="694" y="194"/>
                </a:lnTo>
                <a:lnTo>
                  <a:pt x="690" y="198"/>
                </a:lnTo>
                <a:lnTo>
                  <a:pt x="688" y="202"/>
                </a:lnTo>
                <a:lnTo>
                  <a:pt x="684" y="206"/>
                </a:lnTo>
                <a:lnTo>
                  <a:pt x="678" y="206"/>
                </a:lnTo>
                <a:lnTo>
                  <a:pt x="678" y="206"/>
                </a:lnTo>
                <a:lnTo>
                  <a:pt x="676" y="206"/>
                </a:lnTo>
                <a:lnTo>
                  <a:pt x="674" y="208"/>
                </a:lnTo>
                <a:lnTo>
                  <a:pt x="670" y="214"/>
                </a:lnTo>
                <a:lnTo>
                  <a:pt x="668" y="216"/>
                </a:lnTo>
                <a:lnTo>
                  <a:pt x="664" y="218"/>
                </a:lnTo>
                <a:lnTo>
                  <a:pt x="658" y="220"/>
                </a:lnTo>
                <a:lnTo>
                  <a:pt x="650" y="220"/>
                </a:lnTo>
                <a:lnTo>
                  <a:pt x="650" y="220"/>
                </a:lnTo>
                <a:lnTo>
                  <a:pt x="632" y="220"/>
                </a:lnTo>
                <a:lnTo>
                  <a:pt x="620" y="222"/>
                </a:lnTo>
                <a:lnTo>
                  <a:pt x="610" y="224"/>
                </a:lnTo>
                <a:lnTo>
                  <a:pt x="602" y="228"/>
                </a:lnTo>
                <a:lnTo>
                  <a:pt x="594" y="230"/>
                </a:lnTo>
                <a:lnTo>
                  <a:pt x="584" y="232"/>
                </a:lnTo>
                <a:lnTo>
                  <a:pt x="572" y="232"/>
                </a:lnTo>
                <a:lnTo>
                  <a:pt x="554" y="230"/>
                </a:lnTo>
                <a:lnTo>
                  <a:pt x="554" y="230"/>
                </a:lnTo>
                <a:lnTo>
                  <a:pt x="526" y="222"/>
                </a:lnTo>
                <a:lnTo>
                  <a:pt x="520" y="218"/>
                </a:lnTo>
                <a:lnTo>
                  <a:pt x="516" y="216"/>
                </a:lnTo>
                <a:lnTo>
                  <a:pt x="512" y="214"/>
                </a:lnTo>
                <a:lnTo>
                  <a:pt x="502" y="212"/>
                </a:lnTo>
                <a:lnTo>
                  <a:pt x="502" y="212"/>
                </a:lnTo>
                <a:lnTo>
                  <a:pt x="492" y="210"/>
                </a:lnTo>
                <a:lnTo>
                  <a:pt x="484" y="208"/>
                </a:lnTo>
                <a:lnTo>
                  <a:pt x="476" y="208"/>
                </a:lnTo>
                <a:lnTo>
                  <a:pt x="468" y="210"/>
                </a:lnTo>
                <a:lnTo>
                  <a:pt x="468" y="210"/>
                </a:lnTo>
                <a:lnTo>
                  <a:pt x="458" y="212"/>
                </a:lnTo>
                <a:lnTo>
                  <a:pt x="448" y="210"/>
                </a:lnTo>
                <a:lnTo>
                  <a:pt x="440" y="210"/>
                </a:lnTo>
                <a:lnTo>
                  <a:pt x="430" y="210"/>
                </a:lnTo>
                <a:lnTo>
                  <a:pt x="430" y="210"/>
                </a:lnTo>
                <a:lnTo>
                  <a:pt x="424" y="210"/>
                </a:lnTo>
                <a:lnTo>
                  <a:pt x="418" y="210"/>
                </a:lnTo>
                <a:lnTo>
                  <a:pt x="412" y="210"/>
                </a:lnTo>
                <a:lnTo>
                  <a:pt x="404" y="216"/>
                </a:lnTo>
                <a:lnTo>
                  <a:pt x="404" y="216"/>
                </a:lnTo>
                <a:lnTo>
                  <a:pt x="400" y="218"/>
                </a:lnTo>
                <a:lnTo>
                  <a:pt x="398" y="218"/>
                </a:lnTo>
                <a:lnTo>
                  <a:pt x="398" y="212"/>
                </a:lnTo>
                <a:lnTo>
                  <a:pt x="398" y="204"/>
                </a:lnTo>
                <a:lnTo>
                  <a:pt x="396" y="200"/>
                </a:lnTo>
                <a:lnTo>
                  <a:pt x="392" y="196"/>
                </a:lnTo>
                <a:lnTo>
                  <a:pt x="392" y="196"/>
                </a:lnTo>
                <a:lnTo>
                  <a:pt x="388" y="192"/>
                </a:lnTo>
                <a:lnTo>
                  <a:pt x="386" y="188"/>
                </a:lnTo>
                <a:lnTo>
                  <a:pt x="386" y="184"/>
                </a:lnTo>
                <a:lnTo>
                  <a:pt x="384" y="184"/>
                </a:lnTo>
                <a:lnTo>
                  <a:pt x="384" y="184"/>
                </a:lnTo>
                <a:lnTo>
                  <a:pt x="382" y="184"/>
                </a:lnTo>
                <a:lnTo>
                  <a:pt x="380" y="182"/>
                </a:lnTo>
                <a:lnTo>
                  <a:pt x="380" y="178"/>
                </a:lnTo>
                <a:lnTo>
                  <a:pt x="380" y="176"/>
                </a:lnTo>
                <a:lnTo>
                  <a:pt x="376" y="178"/>
                </a:lnTo>
                <a:lnTo>
                  <a:pt x="376" y="178"/>
                </a:lnTo>
                <a:lnTo>
                  <a:pt x="374" y="180"/>
                </a:lnTo>
                <a:lnTo>
                  <a:pt x="368" y="180"/>
                </a:lnTo>
                <a:lnTo>
                  <a:pt x="354" y="178"/>
                </a:lnTo>
                <a:lnTo>
                  <a:pt x="334" y="170"/>
                </a:lnTo>
                <a:lnTo>
                  <a:pt x="334" y="170"/>
                </a:lnTo>
                <a:lnTo>
                  <a:pt x="324" y="166"/>
                </a:lnTo>
                <a:lnTo>
                  <a:pt x="314" y="166"/>
                </a:lnTo>
                <a:lnTo>
                  <a:pt x="284" y="170"/>
                </a:lnTo>
                <a:lnTo>
                  <a:pt x="284" y="170"/>
                </a:lnTo>
                <a:lnTo>
                  <a:pt x="274" y="170"/>
                </a:lnTo>
                <a:lnTo>
                  <a:pt x="272" y="170"/>
                </a:lnTo>
                <a:lnTo>
                  <a:pt x="274" y="168"/>
                </a:lnTo>
                <a:lnTo>
                  <a:pt x="278" y="164"/>
                </a:lnTo>
                <a:lnTo>
                  <a:pt x="278" y="160"/>
                </a:lnTo>
                <a:lnTo>
                  <a:pt x="276" y="156"/>
                </a:lnTo>
                <a:lnTo>
                  <a:pt x="276" y="156"/>
                </a:lnTo>
                <a:lnTo>
                  <a:pt x="272" y="152"/>
                </a:lnTo>
                <a:lnTo>
                  <a:pt x="274" y="148"/>
                </a:lnTo>
                <a:lnTo>
                  <a:pt x="274" y="146"/>
                </a:lnTo>
                <a:lnTo>
                  <a:pt x="270" y="142"/>
                </a:lnTo>
                <a:lnTo>
                  <a:pt x="270" y="142"/>
                </a:lnTo>
                <a:lnTo>
                  <a:pt x="264" y="138"/>
                </a:lnTo>
                <a:lnTo>
                  <a:pt x="260" y="134"/>
                </a:lnTo>
                <a:lnTo>
                  <a:pt x="256" y="126"/>
                </a:lnTo>
                <a:lnTo>
                  <a:pt x="254" y="118"/>
                </a:lnTo>
                <a:lnTo>
                  <a:pt x="250" y="116"/>
                </a:lnTo>
                <a:lnTo>
                  <a:pt x="246" y="114"/>
                </a:lnTo>
                <a:lnTo>
                  <a:pt x="246" y="114"/>
                </a:lnTo>
                <a:lnTo>
                  <a:pt x="238" y="110"/>
                </a:lnTo>
                <a:lnTo>
                  <a:pt x="236" y="108"/>
                </a:lnTo>
                <a:lnTo>
                  <a:pt x="236" y="108"/>
                </a:lnTo>
                <a:lnTo>
                  <a:pt x="232" y="106"/>
                </a:lnTo>
                <a:lnTo>
                  <a:pt x="230" y="104"/>
                </a:lnTo>
                <a:lnTo>
                  <a:pt x="226" y="108"/>
                </a:lnTo>
                <a:lnTo>
                  <a:pt x="224" y="110"/>
                </a:lnTo>
                <a:lnTo>
                  <a:pt x="220" y="110"/>
                </a:lnTo>
                <a:lnTo>
                  <a:pt x="218" y="110"/>
                </a:lnTo>
                <a:lnTo>
                  <a:pt x="214" y="106"/>
                </a:lnTo>
                <a:lnTo>
                  <a:pt x="214" y="106"/>
                </a:lnTo>
                <a:lnTo>
                  <a:pt x="208" y="102"/>
                </a:lnTo>
                <a:lnTo>
                  <a:pt x="204" y="100"/>
                </a:lnTo>
                <a:lnTo>
                  <a:pt x="196" y="98"/>
                </a:lnTo>
                <a:lnTo>
                  <a:pt x="190" y="96"/>
                </a:lnTo>
                <a:lnTo>
                  <a:pt x="186" y="94"/>
                </a:lnTo>
                <a:lnTo>
                  <a:pt x="184" y="90"/>
                </a:lnTo>
                <a:lnTo>
                  <a:pt x="182" y="88"/>
                </a:lnTo>
                <a:lnTo>
                  <a:pt x="182" y="88"/>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24" name="Costa Rica"/>
          <p:cNvSpPr>
            <a:spLocks/>
          </p:cNvSpPr>
          <p:nvPr/>
        </p:nvSpPr>
        <p:spPr bwMode="auto">
          <a:xfrm>
            <a:off x="2276289" y="2449765"/>
            <a:ext cx="82038" cy="81941"/>
          </a:xfrm>
          <a:custGeom>
            <a:avLst/>
            <a:gdLst/>
            <a:ahLst/>
            <a:cxnLst>
              <a:cxn ang="0">
                <a:pos x="6" y="2"/>
              </a:cxn>
              <a:cxn ang="0">
                <a:pos x="14" y="0"/>
              </a:cxn>
              <a:cxn ang="0">
                <a:pos x="22" y="2"/>
              </a:cxn>
              <a:cxn ang="0">
                <a:pos x="28" y="0"/>
              </a:cxn>
              <a:cxn ang="0">
                <a:pos x="38" y="6"/>
              </a:cxn>
              <a:cxn ang="0">
                <a:pos x="42" y="6"/>
              </a:cxn>
              <a:cxn ang="0">
                <a:pos x="48" y="6"/>
              </a:cxn>
              <a:cxn ang="0">
                <a:pos x="56" y="4"/>
              </a:cxn>
              <a:cxn ang="0">
                <a:pos x="56" y="4"/>
              </a:cxn>
              <a:cxn ang="0">
                <a:pos x="58" y="10"/>
              </a:cxn>
              <a:cxn ang="0">
                <a:pos x="60" y="16"/>
              </a:cxn>
              <a:cxn ang="0">
                <a:pos x="72" y="32"/>
              </a:cxn>
              <a:cxn ang="0">
                <a:pos x="68" y="34"/>
              </a:cxn>
              <a:cxn ang="0">
                <a:pos x="64" y="38"/>
              </a:cxn>
              <a:cxn ang="0">
                <a:pos x="66" y="44"/>
              </a:cxn>
              <a:cxn ang="0">
                <a:pos x="66" y="50"/>
              </a:cxn>
              <a:cxn ang="0">
                <a:pos x="64" y="54"/>
              </a:cxn>
              <a:cxn ang="0">
                <a:pos x="64" y="60"/>
              </a:cxn>
              <a:cxn ang="0">
                <a:pos x="62" y="62"/>
              </a:cxn>
              <a:cxn ang="0">
                <a:pos x="62" y="66"/>
              </a:cxn>
              <a:cxn ang="0">
                <a:pos x="62" y="72"/>
              </a:cxn>
              <a:cxn ang="0">
                <a:pos x="60" y="70"/>
              </a:cxn>
              <a:cxn ang="0">
                <a:pos x="58" y="66"/>
              </a:cxn>
              <a:cxn ang="0">
                <a:pos x="56" y="66"/>
              </a:cxn>
              <a:cxn ang="0">
                <a:pos x="58" y="62"/>
              </a:cxn>
              <a:cxn ang="0">
                <a:pos x="56" y="60"/>
              </a:cxn>
              <a:cxn ang="0">
                <a:pos x="52" y="60"/>
              </a:cxn>
              <a:cxn ang="0">
                <a:pos x="52" y="62"/>
              </a:cxn>
              <a:cxn ang="0">
                <a:pos x="54" y="64"/>
              </a:cxn>
              <a:cxn ang="0">
                <a:pos x="48" y="62"/>
              </a:cxn>
              <a:cxn ang="0">
                <a:pos x="48" y="56"/>
              </a:cxn>
              <a:cxn ang="0">
                <a:pos x="46" y="54"/>
              </a:cxn>
              <a:cxn ang="0">
                <a:pos x="48" y="50"/>
              </a:cxn>
              <a:cxn ang="0">
                <a:pos x="36" y="42"/>
              </a:cxn>
              <a:cxn ang="0">
                <a:pos x="26" y="36"/>
              </a:cxn>
              <a:cxn ang="0">
                <a:pos x="24" y="32"/>
              </a:cxn>
              <a:cxn ang="0">
                <a:pos x="22" y="26"/>
              </a:cxn>
              <a:cxn ang="0">
                <a:pos x="16" y="24"/>
              </a:cxn>
              <a:cxn ang="0">
                <a:pos x="18" y="28"/>
              </a:cxn>
              <a:cxn ang="0">
                <a:pos x="20" y="30"/>
              </a:cxn>
              <a:cxn ang="0">
                <a:pos x="18" y="34"/>
              </a:cxn>
              <a:cxn ang="0">
                <a:pos x="14" y="32"/>
              </a:cxn>
              <a:cxn ang="0">
                <a:pos x="6" y="24"/>
              </a:cxn>
              <a:cxn ang="0">
                <a:pos x="8" y="20"/>
              </a:cxn>
              <a:cxn ang="0">
                <a:pos x="6" y="14"/>
              </a:cxn>
              <a:cxn ang="0">
                <a:pos x="6" y="10"/>
              </a:cxn>
              <a:cxn ang="0">
                <a:pos x="2" y="8"/>
              </a:cxn>
              <a:cxn ang="0">
                <a:pos x="0" y="6"/>
              </a:cxn>
              <a:cxn ang="0">
                <a:pos x="6" y="4"/>
              </a:cxn>
              <a:cxn ang="0">
                <a:pos x="6" y="2"/>
              </a:cxn>
            </a:cxnLst>
            <a:rect l="0" t="0" r="r" b="b"/>
            <a:pathLst>
              <a:path w="72" h="72">
                <a:moveTo>
                  <a:pt x="6" y="2"/>
                </a:moveTo>
                <a:lnTo>
                  <a:pt x="6" y="2"/>
                </a:lnTo>
                <a:lnTo>
                  <a:pt x="10" y="0"/>
                </a:lnTo>
                <a:lnTo>
                  <a:pt x="14" y="0"/>
                </a:lnTo>
                <a:lnTo>
                  <a:pt x="18" y="2"/>
                </a:lnTo>
                <a:lnTo>
                  <a:pt x="22" y="2"/>
                </a:lnTo>
                <a:lnTo>
                  <a:pt x="22" y="2"/>
                </a:lnTo>
                <a:lnTo>
                  <a:pt x="28" y="0"/>
                </a:lnTo>
                <a:lnTo>
                  <a:pt x="34" y="2"/>
                </a:lnTo>
                <a:lnTo>
                  <a:pt x="38" y="6"/>
                </a:lnTo>
                <a:lnTo>
                  <a:pt x="42" y="6"/>
                </a:lnTo>
                <a:lnTo>
                  <a:pt x="42" y="6"/>
                </a:lnTo>
                <a:lnTo>
                  <a:pt x="46" y="4"/>
                </a:lnTo>
                <a:lnTo>
                  <a:pt x="48" y="6"/>
                </a:lnTo>
                <a:lnTo>
                  <a:pt x="50" y="6"/>
                </a:lnTo>
                <a:lnTo>
                  <a:pt x="56" y="4"/>
                </a:lnTo>
                <a:lnTo>
                  <a:pt x="56" y="4"/>
                </a:lnTo>
                <a:lnTo>
                  <a:pt x="56" y="4"/>
                </a:lnTo>
                <a:lnTo>
                  <a:pt x="58" y="6"/>
                </a:lnTo>
                <a:lnTo>
                  <a:pt x="58" y="10"/>
                </a:lnTo>
                <a:lnTo>
                  <a:pt x="58" y="10"/>
                </a:lnTo>
                <a:lnTo>
                  <a:pt x="60" y="16"/>
                </a:lnTo>
                <a:lnTo>
                  <a:pt x="62" y="22"/>
                </a:lnTo>
                <a:lnTo>
                  <a:pt x="72" y="32"/>
                </a:lnTo>
                <a:lnTo>
                  <a:pt x="72" y="32"/>
                </a:lnTo>
                <a:lnTo>
                  <a:pt x="68" y="34"/>
                </a:lnTo>
                <a:lnTo>
                  <a:pt x="64" y="36"/>
                </a:lnTo>
                <a:lnTo>
                  <a:pt x="64" y="38"/>
                </a:lnTo>
                <a:lnTo>
                  <a:pt x="64" y="40"/>
                </a:lnTo>
                <a:lnTo>
                  <a:pt x="66" y="44"/>
                </a:lnTo>
                <a:lnTo>
                  <a:pt x="68" y="48"/>
                </a:lnTo>
                <a:lnTo>
                  <a:pt x="66" y="50"/>
                </a:lnTo>
                <a:lnTo>
                  <a:pt x="66" y="50"/>
                </a:lnTo>
                <a:lnTo>
                  <a:pt x="64" y="54"/>
                </a:lnTo>
                <a:lnTo>
                  <a:pt x="64" y="58"/>
                </a:lnTo>
                <a:lnTo>
                  <a:pt x="64" y="60"/>
                </a:lnTo>
                <a:lnTo>
                  <a:pt x="62" y="62"/>
                </a:lnTo>
                <a:lnTo>
                  <a:pt x="62" y="62"/>
                </a:lnTo>
                <a:lnTo>
                  <a:pt x="60" y="64"/>
                </a:lnTo>
                <a:lnTo>
                  <a:pt x="62" y="66"/>
                </a:lnTo>
                <a:lnTo>
                  <a:pt x="62" y="68"/>
                </a:lnTo>
                <a:lnTo>
                  <a:pt x="62" y="72"/>
                </a:lnTo>
                <a:lnTo>
                  <a:pt x="62" y="72"/>
                </a:lnTo>
                <a:lnTo>
                  <a:pt x="60" y="70"/>
                </a:lnTo>
                <a:lnTo>
                  <a:pt x="60" y="68"/>
                </a:lnTo>
                <a:lnTo>
                  <a:pt x="58" y="66"/>
                </a:lnTo>
                <a:lnTo>
                  <a:pt x="58" y="66"/>
                </a:lnTo>
                <a:lnTo>
                  <a:pt x="56" y="66"/>
                </a:lnTo>
                <a:lnTo>
                  <a:pt x="56" y="64"/>
                </a:lnTo>
                <a:lnTo>
                  <a:pt x="58" y="62"/>
                </a:lnTo>
                <a:lnTo>
                  <a:pt x="56" y="60"/>
                </a:lnTo>
                <a:lnTo>
                  <a:pt x="56" y="60"/>
                </a:lnTo>
                <a:lnTo>
                  <a:pt x="52" y="58"/>
                </a:lnTo>
                <a:lnTo>
                  <a:pt x="52" y="60"/>
                </a:lnTo>
                <a:lnTo>
                  <a:pt x="52" y="62"/>
                </a:lnTo>
                <a:lnTo>
                  <a:pt x="52" y="62"/>
                </a:lnTo>
                <a:lnTo>
                  <a:pt x="54" y="62"/>
                </a:lnTo>
                <a:lnTo>
                  <a:pt x="54" y="64"/>
                </a:lnTo>
                <a:lnTo>
                  <a:pt x="48" y="62"/>
                </a:lnTo>
                <a:lnTo>
                  <a:pt x="48" y="62"/>
                </a:lnTo>
                <a:lnTo>
                  <a:pt x="44" y="60"/>
                </a:lnTo>
                <a:lnTo>
                  <a:pt x="48" y="56"/>
                </a:lnTo>
                <a:lnTo>
                  <a:pt x="48" y="56"/>
                </a:lnTo>
                <a:lnTo>
                  <a:pt x="46" y="54"/>
                </a:lnTo>
                <a:lnTo>
                  <a:pt x="46" y="52"/>
                </a:lnTo>
                <a:lnTo>
                  <a:pt x="48" y="50"/>
                </a:lnTo>
                <a:lnTo>
                  <a:pt x="48" y="50"/>
                </a:lnTo>
                <a:lnTo>
                  <a:pt x="36" y="42"/>
                </a:lnTo>
                <a:lnTo>
                  <a:pt x="26" y="36"/>
                </a:lnTo>
                <a:lnTo>
                  <a:pt x="26" y="36"/>
                </a:lnTo>
                <a:lnTo>
                  <a:pt x="24" y="32"/>
                </a:lnTo>
                <a:lnTo>
                  <a:pt x="24" y="32"/>
                </a:lnTo>
                <a:lnTo>
                  <a:pt x="26" y="30"/>
                </a:lnTo>
                <a:lnTo>
                  <a:pt x="22" y="26"/>
                </a:lnTo>
                <a:lnTo>
                  <a:pt x="22" y="26"/>
                </a:lnTo>
                <a:lnTo>
                  <a:pt x="16" y="24"/>
                </a:lnTo>
                <a:lnTo>
                  <a:pt x="16" y="24"/>
                </a:lnTo>
                <a:lnTo>
                  <a:pt x="18" y="28"/>
                </a:lnTo>
                <a:lnTo>
                  <a:pt x="18" y="28"/>
                </a:lnTo>
                <a:lnTo>
                  <a:pt x="20" y="30"/>
                </a:lnTo>
                <a:lnTo>
                  <a:pt x="20" y="32"/>
                </a:lnTo>
                <a:lnTo>
                  <a:pt x="18" y="34"/>
                </a:lnTo>
                <a:lnTo>
                  <a:pt x="14" y="32"/>
                </a:lnTo>
                <a:lnTo>
                  <a:pt x="14" y="32"/>
                </a:lnTo>
                <a:lnTo>
                  <a:pt x="6" y="26"/>
                </a:lnTo>
                <a:lnTo>
                  <a:pt x="6" y="24"/>
                </a:lnTo>
                <a:lnTo>
                  <a:pt x="8" y="20"/>
                </a:lnTo>
                <a:lnTo>
                  <a:pt x="8" y="20"/>
                </a:lnTo>
                <a:lnTo>
                  <a:pt x="6" y="16"/>
                </a:lnTo>
                <a:lnTo>
                  <a:pt x="6" y="14"/>
                </a:lnTo>
                <a:lnTo>
                  <a:pt x="6" y="10"/>
                </a:lnTo>
                <a:lnTo>
                  <a:pt x="6" y="10"/>
                </a:lnTo>
                <a:lnTo>
                  <a:pt x="4" y="8"/>
                </a:lnTo>
                <a:lnTo>
                  <a:pt x="2" y="8"/>
                </a:lnTo>
                <a:lnTo>
                  <a:pt x="0" y="6"/>
                </a:lnTo>
                <a:lnTo>
                  <a:pt x="0" y="6"/>
                </a:lnTo>
                <a:lnTo>
                  <a:pt x="0" y="6"/>
                </a:lnTo>
                <a:lnTo>
                  <a:pt x="6" y="4"/>
                </a:lnTo>
                <a:lnTo>
                  <a:pt x="6" y="4"/>
                </a:lnTo>
                <a:lnTo>
                  <a:pt x="6" y="2"/>
                </a:lnTo>
                <a:lnTo>
                  <a:pt x="6" y="2"/>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25" name="Colombia"/>
          <p:cNvSpPr>
            <a:spLocks/>
          </p:cNvSpPr>
          <p:nvPr/>
        </p:nvSpPr>
        <p:spPr bwMode="auto">
          <a:xfrm>
            <a:off x="2428971" y="2406518"/>
            <a:ext cx="289411" cy="484815"/>
          </a:xfrm>
          <a:custGeom>
            <a:avLst/>
            <a:gdLst/>
            <a:ahLst/>
            <a:cxnLst>
              <a:cxn ang="0">
                <a:pos x="60" y="110"/>
              </a:cxn>
              <a:cxn ang="0">
                <a:pos x="62" y="100"/>
              </a:cxn>
              <a:cxn ang="0">
                <a:pos x="64" y="92"/>
              </a:cxn>
              <a:cxn ang="0">
                <a:pos x="80" y="78"/>
              </a:cxn>
              <a:cxn ang="0">
                <a:pos x="84" y="60"/>
              </a:cxn>
              <a:cxn ang="0">
                <a:pos x="92" y="42"/>
              </a:cxn>
              <a:cxn ang="0">
                <a:pos x="110" y="36"/>
              </a:cxn>
              <a:cxn ang="0">
                <a:pos x="114" y="34"/>
              </a:cxn>
              <a:cxn ang="0">
                <a:pos x="152" y="16"/>
              </a:cxn>
              <a:cxn ang="0">
                <a:pos x="160" y="2"/>
              </a:cxn>
              <a:cxn ang="0">
                <a:pos x="176" y="0"/>
              </a:cxn>
              <a:cxn ang="0">
                <a:pos x="176" y="14"/>
              </a:cxn>
              <a:cxn ang="0">
                <a:pos x="142" y="50"/>
              </a:cxn>
              <a:cxn ang="0">
                <a:pos x="130" y="78"/>
              </a:cxn>
              <a:cxn ang="0">
                <a:pos x="134" y="86"/>
              </a:cxn>
              <a:cxn ang="0">
                <a:pos x="140" y="94"/>
              </a:cxn>
              <a:cxn ang="0">
                <a:pos x="144" y="128"/>
              </a:cxn>
              <a:cxn ang="0">
                <a:pos x="170" y="144"/>
              </a:cxn>
              <a:cxn ang="0">
                <a:pos x="196" y="148"/>
              </a:cxn>
              <a:cxn ang="0">
                <a:pos x="228" y="164"/>
              </a:cxn>
              <a:cxn ang="0">
                <a:pos x="244" y="166"/>
              </a:cxn>
              <a:cxn ang="0">
                <a:pos x="240" y="178"/>
              </a:cxn>
              <a:cxn ang="0">
                <a:pos x="236" y="200"/>
              </a:cxn>
              <a:cxn ang="0">
                <a:pos x="248" y="224"/>
              </a:cxn>
              <a:cxn ang="0">
                <a:pos x="246" y="250"/>
              </a:cxn>
              <a:cxn ang="0">
                <a:pos x="248" y="288"/>
              </a:cxn>
              <a:cxn ang="0">
                <a:pos x="244" y="274"/>
              </a:cxn>
              <a:cxn ang="0">
                <a:pos x="238" y="276"/>
              </a:cxn>
              <a:cxn ang="0">
                <a:pos x="232" y="278"/>
              </a:cxn>
              <a:cxn ang="0">
                <a:pos x="196" y="290"/>
              </a:cxn>
              <a:cxn ang="0">
                <a:pos x="208" y="300"/>
              </a:cxn>
              <a:cxn ang="0">
                <a:pos x="196" y="306"/>
              </a:cxn>
              <a:cxn ang="0">
                <a:pos x="200" y="334"/>
              </a:cxn>
              <a:cxn ang="0">
                <a:pos x="200" y="382"/>
              </a:cxn>
              <a:cxn ang="0">
                <a:pos x="180" y="416"/>
              </a:cxn>
              <a:cxn ang="0">
                <a:pos x="190" y="388"/>
              </a:cxn>
              <a:cxn ang="0">
                <a:pos x="172" y="388"/>
              </a:cxn>
              <a:cxn ang="0">
                <a:pos x="150" y="386"/>
              </a:cxn>
              <a:cxn ang="0">
                <a:pos x="124" y="374"/>
              </a:cxn>
              <a:cxn ang="0">
                <a:pos x="114" y="356"/>
              </a:cxn>
              <a:cxn ang="0">
                <a:pos x="98" y="336"/>
              </a:cxn>
              <a:cxn ang="0">
                <a:pos x="56" y="316"/>
              </a:cxn>
              <a:cxn ang="0">
                <a:pos x="46" y="318"/>
              </a:cxn>
              <a:cxn ang="0">
                <a:pos x="4" y="292"/>
              </a:cxn>
              <a:cxn ang="0">
                <a:pos x="4" y="284"/>
              </a:cxn>
              <a:cxn ang="0">
                <a:pos x="18" y="272"/>
              </a:cxn>
              <a:cxn ang="0">
                <a:pos x="20" y="256"/>
              </a:cxn>
              <a:cxn ang="0">
                <a:pos x="38" y="244"/>
              </a:cxn>
              <a:cxn ang="0">
                <a:pos x="52" y="222"/>
              </a:cxn>
              <a:cxn ang="0">
                <a:pos x="48" y="222"/>
              </a:cxn>
              <a:cxn ang="0">
                <a:pos x="44" y="210"/>
              </a:cxn>
              <a:cxn ang="0">
                <a:pos x="38" y="176"/>
              </a:cxn>
              <a:cxn ang="0">
                <a:pos x="44" y="162"/>
              </a:cxn>
              <a:cxn ang="0">
                <a:pos x="40" y="146"/>
              </a:cxn>
              <a:cxn ang="0">
                <a:pos x="34" y="140"/>
              </a:cxn>
              <a:cxn ang="0">
                <a:pos x="30" y="132"/>
              </a:cxn>
              <a:cxn ang="0">
                <a:pos x="36" y="122"/>
              </a:cxn>
              <a:cxn ang="0">
                <a:pos x="44" y="114"/>
              </a:cxn>
              <a:cxn ang="0">
                <a:pos x="44" y="104"/>
              </a:cxn>
              <a:cxn ang="0">
                <a:pos x="46" y="94"/>
              </a:cxn>
            </a:cxnLst>
            <a:rect l="0" t="0" r="r" b="b"/>
            <a:pathLst>
              <a:path w="254" h="426">
                <a:moveTo>
                  <a:pt x="46" y="94"/>
                </a:moveTo>
                <a:lnTo>
                  <a:pt x="46" y="94"/>
                </a:lnTo>
                <a:lnTo>
                  <a:pt x="48" y="96"/>
                </a:lnTo>
                <a:lnTo>
                  <a:pt x="50" y="98"/>
                </a:lnTo>
                <a:lnTo>
                  <a:pt x="54" y="102"/>
                </a:lnTo>
                <a:lnTo>
                  <a:pt x="60" y="110"/>
                </a:lnTo>
                <a:lnTo>
                  <a:pt x="60" y="110"/>
                </a:lnTo>
                <a:lnTo>
                  <a:pt x="58" y="106"/>
                </a:lnTo>
                <a:lnTo>
                  <a:pt x="58" y="106"/>
                </a:lnTo>
                <a:lnTo>
                  <a:pt x="60" y="104"/>
                </a:lnTo>
                <a:lnTo>
                  <a:pt x="60" y="104"/>
                </a:lnTo>
                <a:lnTo>
                  <a:pt x="62" y="100"/>
                </a:lnTo>
                <a:lnTo>
                  <a:pt x="58" y="98"/>
                </a:lnTo>
                <a:lnTo>
                  <a:pt x="56" y="98"/>
                </a:lnTo>
                <a:lnTo>
                  <a:pt x="56" y="96"/>
                </a:lnTo>
                <a:lnTo>
                  <a:pt x="56" y="96"/>
                </a:lnTo>
                <a:lnTo>
                  <a:pt x="60" y="94"/>
                </a:lnTo>
                <a:lnTo>
                  <a:pt x="64" y="92"/>
                </a:lnTo>
                <a:lnTo>
                  <a:pt x="68" y="86"/>
                </a:lnTo>
                <a:lnTo>
                  <a:pt x="68" y="86"/>
                </a:lnTo>
                <a:lnTo>
                  <a:pt x="72" y="80"/>
                </a:lnTo>
                <a:lnTo>
                  <a:pt x="76" y="78"/>
                </a:lnTo>
                <a:lnTo>
                  <a:pt x="80" y="78"/>
                </a:lnTo>
                <a:lnTo>
                  <a:pt x="80" y="78"/>
                </a:lnTo>
                <a:lnTo>
                  <a:pt x="84" y="74"/>
                </a:lnTo>
                <a:lnTo>
                  <a:pt x="82" y="72"/>
                </a:lnTo>
                <a:lnTo>
                  <a:pt x="82" y="70"/>
                </a:lnTo>
                <a:lnTo>
                  <a:pt x="82" y="66"/>
                </a:lnTo>
                <a:lnTo>
                  <a:pt x="82" y="66"/>
                </a:lnTo>
                <a:lnTo>
                  <a:pt x="84" y="60"/>
                </a:lnTo>
                <a:lnTo>
                  <a:pt x="84" y="56"/>
                </a:lnTo>
                <a:lnTo>
                  <a:pt x="84" y="52"/>
                </a:lnTo>
                <a:lnTo>
                  <a:pt x="86" y="50"/>
                </a:lnTo>
                <a:lnTo>
                  <a:pt x="86" y="50"/>
                </a:lnTo>
                <a:lnTo>
                  <a:pt x="88" y="46"/>
                </a:lnTo>
                <a:lnTo>
                  <a:pt x="92" y="42"/>
                </a:lnTo>
                <a:lnTo>
                  <a:pt x="96" y="38"/>
                </a:lnTo>
                <a:lnTo>
                  <a:pt x="102" y="36"/>
                </a:lnTo>
                <a:lnTo>
                  <a:pt x="102" y="36"/>
                </a:lnTo>
                <a:lnTo>
                  <a:pt x="110" y="34"/>
                </a:lnTo>
                <a:lnTo>
                  <a:pt x="110" y="34"/>
                </a:lnTo>
                <a:lnTo>
                  <a:pt x="110" y="36"/>
                </a:lnTo>
                <a:lnTo>
                  <a:pt x="108" y="40"/>
                </a:lnTo>
                <a:lnTo>
                  <a:pt x="108" y="40"/>
                </a:lnTo>
                <a:lnTo>
                  <a:pt x="112" y="42"/>
                </a:lnTo>
                <a:lnTo>
                  <a:pt x="112" y="42"/>
                </a:lnTo>
                <a:lnTo>
                  <a:pt x="112" y="38"/>
                </a:lnTo>
                <a:lnTo>
                  <a:pt x="114" y="34"/>
                </a:lnTo>
                <a:lnTo>
                  <a:pt x="120" y="30"/>
                </a:lnTo>
                <a:lnTo>
                  <a:pt x="124" y="28"/>
                </a:lnTo>
                <a:lnTo>
                  <a:pt x="124" y="28"/>
                </a:lnTo>
                <a:lnTo>
                  <a:pt x="128" y="28"/>
                </a:lnTo>
                <a:lnTo>
                  <a:pt x="132" y="26"/>
                </a:lnTo>
                <a:lnTo>
                  <a:pt x="152" y="16"/>
                </a:lnTo>
                <a:lnTo>
                  <a:pt x="152" y="16"/>
                </a:lnTo>
                <a:lnTo>
                  <a:pt x="156" y="12"/>
                </a:lnTo>
                <a:lnTo>
                  <a:pt x="160" y="10"/>
                </a:lnTo>
                <a:lnTo>
                  <a:pt x="160" y="8"/>
                </a:lnTo>
                <a:lnTo>
                  <a:pt x="160" y="6"/>
                </a:lnTo>
                <a:lnTo>
                  <a:pt x="160" y="2"/>
                </a:lnTo>
                <a:lnTo>
                  <a:pt x="162" y="2"/>
                </a:lnTo>
                <a:lnTo>
                  <a:pt x="162" y="2"/>
                </a:lnTo>
                <a:lnTo>
                  <a:pt x="168" y="2"/>
                </a:lnTo>
                <a:lnTo>
                  <a:pt x="168" y="0"/>
                </a:lnTo>
                <a:lnTo>
                  <a:pt x="170" y="0"/>
                </a:lnTo>
                <a:lnTo>
                  <a:pt x="176" y="0"/>
                </a:lnTo>
                <a:lnTo>
                  <a:pt x="176" y="0"/>
                </a:lnTo>
                <a:lnTo>
                  <a:pt x="180" y="2"/>
                </a:lnTo>
                <a:lnTo>
                  <a:pt x="182" y="6"/>
                </a:lnTo>
                <a:lnTo>
                  <a:pt x="182" y="10"/>
                </a:lnTo>
                <a:lnTo>
                  <a:pt x="176" y="14"/>
                </a:lnTo>
                <a:lnTo>
                  <a:pt x="176" y="14"/>
                </a:lnTo>
                <a:lnTo>
                  <a:pt x="162" y="22"/>
                </a:lnTo>
                <a:lnTo>
                  <a:pt x="150" y="44"/>
                </a:lnTo>
                <a:lnTo>
                  <a:pt x="150" y="44"/>
                </a:lnTo>
                <a:lnTo>
                  <a:pt x="148" y="44"/>
                </a:lnTo>
                <a:lnTo>
                  <a:pt x="142" y="50"/>
                </a:lnTo>
                <a:lnTo>
                  <a:pt x="142" y="50"/>
                </a:lnTo>
                <a:lnTo>
                  <a:pt x="140" y="56"/>
                </a:lnTo>
                <a:lnTo>
                  <a:pt x="140" y="58"/>
                </a:lnTo>
                <a:lnTo>
                  <a:pt x="140" y="62"/>
                </a:lnTo>
                <a:lnTo>
                  <a:pt x="138" y="66"/>
                </a:lnTo>
                <a:lnTo>
                  <a:pt x="138" y="66"/>
                </a:lnTo>
                <a:lnTo>
                  <a:pt x="130" y="78"/>
                </a:lnTo>
                <a:lnTo>
                  <a:pt x="128" y="84"/>
                </a:lnTo>
                <a:lnTo>
                  <a:pt x="128" y="84"/>
                </a:lnTo>
                <a:lnTo>
                  <a:pt x="128" y="84"/>
                </a:lnTo>
                <a:lnTo>
                  <a:pt x="130" y="84"/>
                </a:lnTo>
                <a:lnTo>
                  <a:pt x="132" y="84"/>
                </a:lnTo>
                <a:lnTo>
                  <a:pt x="134" y="86"/>
                </a:lnTo>
                <a:lnTo>
                  <a:pt x="134" y="86"/>
                </a:lnTo>
                <a:lnTo>
                  <a:pt x="136" y="88"/>
                </a:lnTo>
                <a:lnTo>
                  <a:pt x="138" y="86"/>
                </a:lnTo>
                <a:lnTo>
                  <a:pt x="140" y="88"/>
                </a:lnTo>
                <a:lnTo>
                  <a:pt x="140" y="94"/>
                </a:lnTo>
                <a:lnTo>
                  <a:pt x="140" y="94"/>
                </a:lnTo>
                <a:lnTo>
                  <a:pt x="144" y="110"/>
                </a:lnTo>
                <a:lnTo>
                  <a:pt x="144" y="116"/>
                </a:lnTo>
                <a:lnTo>
                  <a:pt x="144" y="122"/>
                </a:lnTo>
                <a:lnTo>
                  <a:pt x="144" y="122"/>
                </a:lnTo>
                <a:lnTo>
                  <a:pt x="144" y="124"/>
                </a:lnTo>
                <a:lnTo>
                  <a:pt x="144" y="128"/>
                </a:lnTo>
                <a:lnTo>
                  <a:pt x="150" y="132"/>
                </a:lnTo>
                <a:lnTo>
                  <a:pt x="156" y="136"/>
                </a:lnTo>
                <a:lnTo>
                  <a:pt x="162" y="140"/>
                </a:lnTo>
                <a:lnTo>
                  <a:pt x="162" y="140"/>
                </a:lnTo>
                <a:lnTo>
                  <a:pt x="166" y="142"/>
                </a:lnTo>
                <a:lnTo>
                  <a:pt x="170" y="144"/>
                </a:lnTo>
                <a:lnTo>
                  <a:pt x="176" y="142"/>
                </a:lnTo>
                <a:lnTo>
                  <a:pt x="182" y="140"/>
                </a:lnTo>
                <a:lnTo>
                  <a:pt x="186" y="142"/>
                </a:lnTo>
                <a:lnTo>
                  <a:pt x="190" y="144"/>
                </a:lnTo>
                <a:lnTo>
                  <a:pt x="190" y="144"/>
                </a:lnTo>
                <a:lnTo>
                  <a:pt x="196" y="148"/>
                </a:lnTo>
                <a:lnTo>
                  <a:pt x="200" y="148"/>
                </a:lnTo>
                <a:lnTo>
                  <a:pt x="206" y="156"/>
                </a:lnTo>
                <a:lnTo>
                  <a:pt x="206" y="156"/>
                </a:lnTo>
                <a:lnTo>
                  <a:pt x="214" y="162"/>
                </a:lnTo>
                <a:lnTo>
                  <a:pt x="220" y="164"/>
                </a:lnTo>
                <a:lnTo>
                  <a:pt x="228" y="164"/>
                </a:lnTo>
                <a:lnTo>
                  <a:pt x="238" y="160"/>
                </a:lnTo>
                <a:lnTo>
                  <a:pt x="238" y="160"/>
                </a:lnTo>
                <a:lnTo>
                  <a:pt x="244" y="160"/>
                </a:lnTo>
                <a:lnTo>
                  <a:pt x="246" y="160"/>
                </a:lnTo>
                <a:lnTo>
                  <a:pt x="246" y="162"/>
                </a:lnTo>
                <a:lnTo>
                  <a:pt x="244" y="166"/>
                </a:lnTo>
                <a:lnTo>
                  <a:pt x="244" y="166"/>
                </a:lnTo>
                <a:lnTo>
                  <a:pt x="242" y="170"/>
                </a:lnTo>
                <a:lnTo>
                  <a:pt x="242" y="172"/>
                </a:lnTo>
                <a:lnTo>
                  <a:pt x="242" y="176"/>
                </a:lnTo>
                <a:lnTo>
                  <a:pt x="240" y="178"/>
                </a:lnTo>
                <a:lnTo>
                  <a:pt x="240" y="178"/>
                </a:lnTo>
                <a:lnTo>
                  <a:pt x="238" y="180"/>
                </a:lnTo>
                <a:lnTo>
                  <a:pt x="240" y="184"/>
                </a:lnTo>
                <a:lnTo>
                  <a:pt x="240" y="188"/>
                </a:lnTo>
                <a:lnTo>
                  <a:pt x="238" y="194"/>
                </a:lnTo>
                <a:lnTo>
                  <a:pt x="238" y="194"/>
                </a:lnTo>
                <a:lnTo>
                  <a:pt x="236" y="200"/>
                </a:lnTo>
                <a:lnTo>
                  <a:pt x="238" y="204"/>
                </a:lnTo>
                <a:lnTo>
                  <a:pt x="238" y="212"/>
                </a:lnTo>
                <a:lnTo>
                  <a:pt x="240" y="218"/>
                </a:lnTo>
                <a:lnTo>
                  <a:pt x="246" y="218"/>
                </a:lnTo>
                <a:lnTo>
                  <a:pt x="246" y="218"/>
                </a:lnTo>
                <a:lnTo>
                  <a:pt x="248" y="224"/>
                </a:lnTo>
                <a:lnTo>
                  <a:pt x="248" y="230"/>
                </a:lnTo>
                <a:lnTo>
                  <a:pt x="246" y="236"/>
                </a:lnTo>
                <a:lnTo>
                  <a:pt x="240" y="248"/>
                </a:lnTo>
                <a:lnTo>
                  <a:pt x="240" y="248"/>
                </a:lnTo>
                <a:lnTo>
                  <a:pt x="242" y="248"/>
                </a:lnTo>
                <a:lnTo>
                  <a:pt x="246" y="250"/>
                </a:lnTo>
                <a:lnTo>
                  <a:pt x="250" y="258"/>
                </a:lnTo>
                <a:lnTo>
                  <a:pt x="252" y="272"/>
                </a:lnTo>
                <a:lnTo>
                  <a:pt x="254" y="290"/>
                </a:lnTo>
                <a:lnTo>
                  <a:pt x="254" y="290"/>
                </a:lnTo>
                <a:lnTo>
                  <a:pt x="250" y="290"/>
                </a:lnTo>
                <a:lnTo>
                  <a:pt x="248" y="288"/>
                </a:lnTo>
                <a:lnTo>
                  <a:pt x="248" y="282"/>
                </a:lnTo>
                <a:lnTo>
                  <a:pt x="248" y="276"/>
                </a:lnTo>
                <a:lnTo>
                  <a:pt x="248" y="274"/>
                </a:lnTo>
                <a:lnTo>
                  <a:pt x="246" y="274"/>
                </a:lnTo>
                <a:lnTo>
                  <a:pt x="246" y="274"/>
                </a:lnTo>
                <a:lnTo>
                  <a:pt x="244" y="274"/>
                </a:lnTo>
                <a:lnTo>
                  <a:pt x="242" y="276"/>
                </a:lnTo>
                <a:lnTo>
                  <a:pt x="242" y="278"/>
                </a:lnTo>
                <a:lnTo>
                  <a:pt x="240" y="278"/>
                </a:lnTo>
                <a:lnTo>
                  <a:pt x="240" y="278"/>
                </a:lnTo>
                <a:lnTo>
                  <a:pt x="238" y="278"/>
                </a:lnTo>
                <a:lnTo>
                  <a:pt x="238" y="276"/>
                </a:lnTo>
                <a:lnTo>
                  <a:pt x="236" y="274"/>
                </a:lnTo>
                <a:lnTo>
                  <a:pt x="232" y="274"/>
                </a:lnTo>
                <a:lnTo>
                  <a:pt x="232" y="274"/>
                </a:lnTo>
                <a:lnTo>
                  <a:pt x="230" y="274"/>
                </a:lnTo>
                <a:lnTo>
                  <a:pt x="232" y="276"/>
                </a:lnTo>
                <a:lnTo>
                  <a:pt x="232" y="278"/>
                </a:lnTo>
                <a:lnTo>
                  <a:pt x="226" y="280"/>
                </a:lnTo>
                <a:lnTo>
                  <a:pt x="226" y="280"/>
                </a:lnTo>
                <a:lnTo>
                  <a:pt x="212" y="282"/>
                </a:lnTo>
                <a:lnTo>
                  <a:pt x="196" y="284"/>
                </a:lnTo>
                <a:lnTo>
                  <a:pt x="196" y="284"/>
                </a:lnTo>
                <a:lnTo>
                  <a:pt x="196" y="290"/>
                </a:lnTo>
                <a:lnTo>
                  <a:pt x="198" y="292"/>
                </a:lnTo>
                <a:lnTo>
                  <a:pt x="202" y="294"/>
                </a:lnTo>
                <a:lnTo>
                  <a:pt x="202" y="294"/>
                </a:lnTo>
                <a:lnTo>
                  <a:pt x="204" y="294"/>
                </a:lnTo>
                <a:lnTo>
                  <a:pt x="206" y="296"/>
                </a:lnTo>
                <a:lnTo>
                  <a:pt x="208" y="300"/>
                </a:lnTo>
                <a:lnTo>
                  <a:pt x="208" y="306"/>
                </a:lnTo>
                <a:lnTo>
                  <a:pt x="208" y="306"/>
                </a:lnTo>
                <a:lnTo>
                  <a:pt x="206" y="306"/>
                </a:lnTo>
                <a:lnTo>
                  <a:pt x="206" y="306"/>
                </a:lnTo>
                <a:lnTo>
                  <a:pt x="200" y="306"/>
                </a:lnTo>
                <a:lnTo>
                  <a:pt x="196" y="306"/>
                </a:lnTo>
                <a:lnTo>
                  <a:pt x="192" y="310"/>
                </a:lnTo>
                <a:lnTo>
                  <a:pt x="190" y="312"/>
                </a:lnTo>
                <a:lnTo>
                  <a:pt x="192" y="316"/>
                </a:lnTo>
                <a:lnTo>
                  <a:pt x="192" y="316"/>
                </a:lnTo>
                <a:lnTo>
                  <a:pt x="196" y="324"/>
                </a:lnTo>
                <a:lnTo>
                  <a:pt x="200" y="334"/>
                </a:lnTo>
                <a:lnTo>
                  <a:pt x="204" y="342"/>
                </a:lnTo>
                <a:lnTo>
                  <a:pt x="204" y="344"/>
                </a:lnTo>
                <a:lnTo>
                  <a:pt x="204" y="346"/>
                </a:lnTo>
                <a:lnTo>
                  <a:pt x="204" y="346"/>
                </a:lnTo>
                <a:lnTo>
                  <a:pt x="202" y="358"/>
                </a:lnTo>
                <a:lnTo>
                  <a:pt x="200" y="382"/>
                </a:lnTo>
                <a:lnTo>
                  <a:pt x="196" y="406"/>
                </a:lnTo>
                <a:lnTo>
                  <a:pt x="194" y="416"/>
                </a:lnTo>
                <a:lnTo>
                  <a:pt x="192" y="426"/>
                </a:lnTo>
                <a:lnTo>
                  <a:pt x="192" y="426"/>
                </a:lnTo>
                <a:lnTo>
                  <a:pt x="182" y="420"/>
                </a:lnTo>
                <a:lnTo>
                  <a:pt x="180" y="416"/>
                </a:lnTo>
                <a:lnTo>
                  <a:pt x="182" y="412"/>
                </a:lnTo>
                <a:lnTo>
                  <a:pt x="186" y="402"/>
                </a:lnTo>
                <a:lnTo>
                  <a:pt x="186" y="402"/>
                </a:lnTo>
                <a:lnTo>
                  <a:pt x="190" y="398"/>
                </a:lnTo>
                <a:lnTo>
                  <a:pt x="190" y="392"/>
                </a:lnTo>
                <a:lnTo>
                  <a:pt x="190" y="388"/>
                </a:lnTo>
                <a:lnTo>
                  <a:pt x="188" y="386"/>
                </a:lnTo>
                <a:lnTo>
                  <a:pt x="184" y="384"/>
                </a:lnTo>
                <a:lnTo>
                  <a:pt x="182" y="384"/>
                </a:lnTo>
                <a:lnTo>
                  <a:pt x="176" y="386"/>
                </a:lnTo>
                <a:lnTo>
                  <a:pt x="176" y="386"/>
                </a:lnTo>
                <a:lnTo>
                  <a:pt x="172" y="388"/>
                </a:lnTo>
                <a:lnTo>
                  <a:pt x="170" y="386"/>
                </a:lnTo>
                <a:lnTo>
                  <a:pt x="164" y="384"/>
                </a:lnTo>
                <a:lnTo>
                  <a:pt x="158" y="382"/>
                </a:lnTo>
                <a:lnTo>
                  <a:pt x="156" y="384"/>
                </a:lnTo>
                <a:lnTo>
                  <a:pt x="150" y="386"/>
                </a:lnTo>
                <a:lnTo>
                  <a:pt x="150" y="386"/>
                </a:lnTo>
                <a:lnTo>
                  <a:pt x="142" y="388"/>
                </a:lnTo>
                <a:lnTo>
                  <a:pt x="138" y="388"/>
                </a:lnTo>
                <a:lnTo>
                  <a:pt x="132" y="386"/>
                </a:lnTo>
                <a:lnTo>
                  <a:pt x="128" y="386"/>
                </a:lnTo>
                <a:lnTo>
                  <a:pt x="128" y="386"/>
                </a:lnTo>
                <a:lnTo>
                  <a:pt x="124" y="374"/>
                </a:lnTo>
                <a:lnTo>
                  <a:pt x="122" y="368"/>
                </a:lnTo>
                <a:lnTo>
                  <a:pt x="118" y="366"/>
                </a:lnTo>
                <a:lnTo>
                  <a:pt x="116" y="362"/>
                </a:lnTo>
                <a:lnTo>
                  <a:pt x="116" y="362"/>
                </a:lnTo>
                <a:lnTo>
                  <a:pt x="114" y="358"/>
                </a:lnTo>
                <a:lnTo>
                  <a:pt x="114" y="356"/>
                </a:lnTo>
                <a:lnTo>
                  <a:pt x="108" y="354"/>
                </a:lnTo>
                <a:lnTo>
                  <a:pt x="104" y="352"/>
                </a:lnTo>
                <a:lnTo>
                  <a:pt x="102" y="348"/>
                </a:lnTo>
                <a:lnTo>
                  <a:pt x="100" y="344"/>
                </a:lnTo>
                <a:lnTo>
                  <a:pt x="100" y="344"/>
                </a:lnTo>
                <a:lnTo>
                  <a:pt x="98" y="336"/>
                </a:lnTo>
                <a:lnTo>
                  <a:pt x="92" y="330"/>
                </a:lnTo>
                <a:lnTo>
                  <a:pt x="86" y="328"/>
                </a:lnTo>
                <a:lnTo>
                  <a:pt x="80" y="328"/>
                </a:lnTo>
                <a:lnTo>
                  <a:pt x="80" y="328"/>
                </a:lnTo>
                <a:lnTo>
                  <a:pt x="62" y="318"/>
                </a:lnTo>
                <a:lnTo>
                  <a:pt x="56" y="316"/>
                </a:lnTo>
                <a:lnTo>
                  <a:pt x="54" y="316"/>
                </a:lnTo>
                <a:lnTo>
                  <a:pt x="56" y="318"/>
                </a:lnTo>
                <a:lnTo>
                  <a:pt x="56" y="318"/>
                </a:lnTo>
                <a:lnTo>
                  <a:pt x="54" y="318"/>
                </a:lnTo>
                <a:lnTo>
                  <a:pt x="54" y="320"/>
                </a:lnTo>
                <a:lnTo>
                  <a:pt x="46" y="318"/>
                </a:lnTo>
                <a:lnTo>
                  <a:pt x="38" y="314"/>
                </a:lnTo>
                <a:lnTo>
                  <a:pt x="32" y="310"/>
                </a:lnTo>
                <a:lnTo>
                  <a:pt x="32" y="310"/>
                </a:lnTo>
                <a:lnTo>
                  <a:pt x="28" y="304"/>
                </a:lnTo>
                <a:lnTo>
                  <a:pt x="22" y="300"/>
                </a:lnTo>
                <a:lnTo>
                  <a:pt x="4" y="292"/>
                </a:lnTo>
                <a:lnTo>
                  <a:pt x="4" y="292"/>
                </a:lnTo>
                <a:lnTo>
                  <a:pt x="4" y="288"/>
                </a:lnTo>
                <a:lnTo>
                  <a:pt x="2" y="290"/>
                </a:lnTo>
                <a:lnTo>
                  <a:pt x="0" y="288"/>
                </a:lnTo>
                <a:lnTo>
                  <a:pt x="4" y="284"/>
                </a:lnTo>
                <a:lnTo>
                  <a:pt x="4" y="284"/>
                </a:lnTo>
                <a:lnTo>
                  <a:pt x="10" y="278"/>
                </a:lnTo>
                <a:lnTo>
                  <a:pt x="14" y="276"/>
                </a:lnTo>
                <a:lnTo>
                  <a:pt x="16" y="276"/>
                </a:lnTo>
                <a:lnTo>
                  <a:pt x="18" y="276"/>
                </a:lnTo>
                <a:lnTo>
                  <a:pt x="18" y="276"/>
                </a:lnTo>
                <a:lnTo>
                  <a:pt x="18" y="272"/>
                </a:lnTo>
                <a:lnTo>
                  <a:pt x="16" y="268"/>
                </a:lnTo>
                <a:lnTo>
                  <a:pt x="14" y="266"/>
                </a:lnTo>
                <a:lnTo>
                  <a:pt x="14" y="260"/>
                </a:lnTo>
                <a:lnTo>
                  <a:pt x="14" y="260"/>
                </a:lnTo>
                <a:lnTo>
                  <a:pt x="18" y="258"/>
                </a:lnTo>
                <a:lnTo>
                  <a:pt x="20" y="256"/>
                </a:lnTo>
                <a:lnTo>
                  <a:pt x="28" y="254"/>
                </a:lnTo>
                <a:lnTo>
                  <a:pt x="34" y="252"/>
                </a:lnTo>
                <a:lnTo>
                  <a:pt x="36" y="250"/>
                </a:lnTo>
                <a:lnTo>
                  <a:pt x="36" y="248"/>
                </a:lnTo>
                <a:lnTo>
                  <a:pt x="36" y="248"/>
                </a:lnTo>
                <a:lnTo>
                  <a:pt x="38" y="244"/>
                </a:lnTo>
                <a:lnTo>
                  <a:pt x="42" y="238"/>
                </a:lnTo>
                <a:lnTo>
                  <a:pt x="48" y="232"/>
                </a:lnTo>
                <a:lnTo>
                  <a:pt x="54" y="226"/>
                </a:lnTo>
                <a:lnTo>
                  <a:pt x="54" y="226"/>
                </a:lnTo>
                <a:lnTo>
                  <a:pt x="52" y="224"/>
                </a:lnTo>
                <a:lnTo>
                  <a:pt x="52" y="222"/>
                </a:lnTo>
                <a:lnTo>
                  <a:pt x="54" y="222"/>
                </a:lnTo>
                <a:lnTo>
                  <a:pt x="52" y="220"/>
                </a:lnTo>
                <a:lnTo>
                  <a:pt x="52" y="220"/>
                </a:lnTo>
                <a:lnTo>
                  <a:pt x="50" y="222"/>
                </a:lnTo>
                <a:lnTo>
                  <a:pt x="50" y="222"/>
                </a:lnTo>
                <a:lnTo>
                  <a:pt x="48" y="222"/>
                </a:lnTo>
                <a:lnTo>
                  <a:pt x="44" y="222"/>
                </a:lnTo>
                <a:lnTo>
                  <a:pt x="44" y="222"/>
                </a:lnTo>
                <a:lnTo>
                  <a:pt x="42" y="220"/>
                </a:lnTo>
                <a:lnTo>
                  <a:pt x="40" y="216"/>
                </a:lnTo>
                <a:lnTo>
                  <a:pt x="44" y="210"/>
                </a:lnTo>
                <a:lnTo>
                  <a:pt x="44" y="210"/>
                </a:lnTo>
                <a:lnTo>
                  <a:pt x="44" y="204"/>
                </a:lnTo>
                <a:lnTo>
                  <a:pt x="44" y="198"/>
                </a:lnTo>
                <a:lnTo>
                  <a:pt x="42" y="182"/>
                </a:lnTo>
                <a:lnTo>
                  <a:pt x="42" y="182"/>
                </a:lnTo>
                <a:lnTo>
                  <a:pt x="40" y="178"/>
                </a:lnTo>
                <a:lnTo>
                  <a:pt x="38" y="176"/>
                </a:lnTo>
                <a:lnTo>
                  <a:pt x="38" y="176"/>
                </a:lnTo>
                <a:lnTo>
                  <a:pt x="38" y="174"/>
                </a:lnTo>
                <a:lnTo>
                  <a:pt x="38" y="174"/>
                </a:lnTo>
                <a:lnTo>
                  <a:pt x="44" y="170"/>
                </a:lnTo>
                <a:lnTo>
                  <a:pt x="46" y="168"/>
                </a:lnTo>
                <a:lnTo>
                  <a:pt x="44" y="162"/>
                </a:lnTo>
                <a:lnTo>
                  <a:pt x="44" y="162"/>
                </a:lnTo>
                <a:lnTo>
                  <a:pt x="40" y="154"/>
                </a:lnTo>
                <a:lnTo>
                  <a:pt x="42" y="154"/>
                </a:lnTo>
                <a:lnTo>
                  <a:pt x="42" y="152"/>
                </a:lnTo>
                <a:lnTo>
                  <a:pt x="42" y="152"/>
                </a:lnTo>
                <a:lnTo>
                  <a:pt x="40" y="146"/>
                </a:lnTo>
                <a:lnTo>
                  <a:pt x="40" y="144"/>
                </a:lnTo>
                <a:lnTo>
                  <a:pt x="38" y="144"/>
                </a:lnTo>
                <a:lnTo>
                  <a:pt x="38" y="144"/>
                </a:lnTo>
                <a:lnTo>
                  <a:pt x="38" y="144"/>
                </a:lnTo>
                <a:lnTo>
                  <a:pt x="36" y="140"/>
                </a:lnTo>
                <a:lnTo>
                  <a:pt x="34" y="140"/>
                </a:lnTo>
                <a:lnTo>
                  <a:pt x="32" y="140"/>
                </a:lnTo>
                <a:lnTo>
                  <a:pt x="32" y="138"/>
                </a:lnTo>
                <a:lnTo>
                  <a:pt x="32" y="138"/>
                </a:lnTo>
                <a:lnTo>
                  <a:pt x="30" y="134"/>
                </a:lnTo>
                <a:lnTo>
                  <a:pt x="30" y="134"/>
                </a:lnTo>
                <a:lnTo>
                  <a:pt x="30" y="132"/>
                </a:lnTo>
                <a:lnTo>
                  <a:pt x="30" y="132"/>
                </a:lnTo>
                <a:lnTo>
                  <a:pt x="32" y="128"/>
                </a:lnTo>
                <a:lnTo>
                  <a:pt x="34" y="124"/>
                </a:lnTo>
                <a:lnTo>
                  <a:pt x="34" y="124"/>
                </a:lnTo>
                <a:lnTo>
                  <a:pt x="34" y="122"/>
                </a:lnTo>
                <a:lnTo>
                  <a:pt x="36" y="122"/>
                </a:lnTo>
                <a:lnTo>
                  <a:pt x="38" y="122"/>
                </a:lnTo>
                <a:lnTo>
                  <a:pt x="44" y="120"/>
                </a:lnTo>
                <a:lnTo>
                  <a:pt x="44" y="120"/>
                </a:lnTo>
                <a:lnTo>
                  <a:pt x="46" y="116"/>
                </a:lnTo>
                <a:lnTo>
                  <a:pt x="46" y="114"/>
                </a:lnTo>
                <a:lnTo>
                  <a:pt x="44" y="114"/>
                </a:lnTo>
                <a:lnTo>
                  <a:pt x="46" y="110"/>
                </a:lnTo>
                <a:lnTo>
                  <a:pt x="46" y="110"/>
                </a:lnTo>
                <a:lnTo>
                  <a:pt x="48" y="108"/>
                </a:lnTo>
                <a:lnTo>
                  <a:pt x="46" y="108"/>
                </a:lnTo>
                <a:lnTo>
                  <a:pt x="44" y="106"/>
                </a:lnTo>
                <a:lnTo>
                  <a:pt x="44" y="104"/>
                </a:lnTo>
                <a:lnTo>
                  <a:pt x="44" y="104"/>
                </a:lnTo>
                <a:lnTo>
                  <a:pt x="44" y="102"/>
                </a:lnTo>
                <a:lnTo>
                  <a:pt x="44" y="100"/>
                </a:lnTo>
                <a:lnTo>
                  <a:pt x="44" y="98"/>
                </a:lnTo>
                <a:lnTo>
                  <a:pt x="46" y="94"/>
                </a:lnTo>
                <a:lnTo>
                  <a:pt x="46" y="94"/>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26" name="Croatia and Slovenia"/>
          <p:cNvSpPr>
            <a:spLocks/>
          </p:cNvSpPr>
          <p:nvPr/>
        </p:nvSpPr>
        <p:spPr bwMode="auto">
          <a:xfrm>
            <a:off x="4621200" y="1480136"/>
            <a:ext cx="221046" cy="143396"/>
          </a:xfrm>
          <a:custGeom>
            <a:avLst/>
            <a:gdLst/>
            <a:ahLst/>
            <a:cxnLst>
              <a:cxn ang="0">
                <a:pos x="112" y="94"/>
              </a:cxn>
              <a:cxn ang="0">
                <a:pos x="104" y="88"/>
              </a:cxn>
              <a:cxn ang="0">
                <a:pos x="106" y="86"/>
              </a:cxn>
              <a:cxn ang="0">
                <a:pos x="98" y="86"/>
              </a:cxn>
              <a:cxn ang="0">
                <a:pos x="82" y="80"/>
              </a:cxn>
              <a:cxn ang="0">
                <a:pos x="82" y="78"/>
              </a:cxn>
              <a:cxn ang="0">
                <a:pos x="68" y="72"/>
              </a:cxn>
              <a:cxn ang="0">
                <a:pos x="58" y="66"/>
              </a:cxn>
              <a:cxn ang="0">
                <a:pos x="40" y="54"/>
              </a:cxn>
              <a:cxn ang="0">
                <a:pos x="40" y="50"/>
              </a:cxn>
              <a:cxn ang="0">
                <a:pos x="28" y="42"/>
              </a:cxn>
              <a:cxn ang="0">
                <a:pos x="24" y="32"/>
              </a:cxn>
              <a:cxn ang="0">
                <a:pos x="20" y="40"/>
              </a:cxn>
              <a:cxn ang="0">
                <a:pos x="14" y="40"/>
              </a:cxn>
              <a:cxn ang="0">
                <a:pos x="10" y="28"/>
              </a:cxn>
              <a:cxn ang="0">
                <a:pos x="12" y="24"/>
              </a:cxn>
              <a:cxn ang="0">
                <a:pos x="6" y="18"/>
              </a:cxn>
              <a:cxn ang="0">
                <a:pos x="2" y="12"/>
              </a:cxn>
              <a:cxn ang="0">
                <a:pos x="0" y="8"/>
              </a:cxn>
              <a:cxn ang="0">
                <a:pos x="26" y="4"/>
              </a:cxn>
              <a:cxn ang="0">
                <a:pos x="34" y="4"/>
              </a:cxn>
              <a:cxn ang="0">
                <a:pos x="44" y="2"/>
              </a:cxn>
              <a:cxn ang="0">
                <a:pos x="50" y="0"/>
              </a:cxn>
              <a:cxn ang="0">
                <a:pos x="56" y="4"/>
              </a:cxn>
              <a:cxn ang="0">
                <a:pos x="58" y="8"/>
              </a:cxn>
              <a:cxn ang="0">
                <a:pos x="68" y="14"/>
              </a:cxn>
              <a:cxn ang="0">
                <a:pos x="84" y="20"/>
              </a:cxn>
              <a:cxn ang="0">
                <a:pos x="90" y="22"/>
              </a:cxn>
              <a:cxn ang="0">
                <a:pos x="104" y="14"/>
              </a:cxn>
              <a:cxn ang="0">
                <a:pos x="112" y="16"/>
              </a:cxn>
              <a:cxn ang="0">
                <a:pos x="132" y="14"/>
              </a:cxn>
              <a:cxn ang="0">
                <a:pos x="138" y="22"/>
              </a:cxn>
              <a:cxn ang="0">
                <a:pos x="142" y="26"/>
              </a:cxn>
              <a:cxn ang="0">
                <a:pos x="148" y="32"/>
              </a:cxn>
              <a:cxn ang="0">
                <a:pos x="152" y="38"/>
              </a:cxn>
              <a:cxn ang="0">
                <a:pos x="156" y="44"/>
              </a:cxn>
              <a:cxn ang="0">
                <a:pos x="162" y="46"/>
              </a:cxn>
              <a:cxn ang="0">
                <a:pos x="170" y="48"/>
              </a:cxn>
              <a:cxn ang="0">
                <a:pos x="174" y="48"/>
              </a:cxn>
              <a:cxn ang="0">
                <a:pos x="174" y="54"/>
              </a:cxn>
              <a:cxn ang="0">
                <a:pos x="174" y="60"/>
              </a:cxn>
              <a:cxn ang="0">
                <a:pos x="180" y="74"/>
              </a:cxn>
              <a:cxn ang="0">
                <a:pos x="180" y="80"/>
              </a:cxn>
              <a:cxn ang="0">
                <a:pos x="180" y="88"/>
              </a:cxn>
              <a:cxn ang="0">
                <a:pos x="184" y="94"/>
              </a:cxn>
              <a:cxn ang="0">
                <a:pos x="194" y="110"/>
              </a:cxn>
              <a:cxn ang="0">
                <a:pos x="190" y="114"/>
              </a:cxn>
              <a:cxn ang="0">
                <a:pos x="184" y="114"/>
              </a:cxn>
              <a:cxn ang="0">
                <a:pos x="178" y="118"/>
              </a:cxn>
              <a:cxn ang="0">
                <a:pos x="162" y="122"/>
              </a:cxn>
              <a:cxn ang="0">
                <a:pos x="152" y="120"/>
              </a:cxn>
              <a:cxn ang="0">
                <a:pos x="142" y="110"/>
              </a:cxn>
              <a:cxn ang="0">
                <a:pos x="140" y="106"/>
              </a:cxn>
              <a:cxn ang="0">
                <a:pos x="134" y="92"/>
              </a:cxn>
              <a:cxn ang="0">
                <a:pos x="118" y="92"/>
              </a:cxn>
              <a:cxn ang="0">
                <a:pos x="120" y="96"/>
              </a:cxn>
            </a:cxnLst>
            <a:rect l="0" t="0" r="r" b="b"/>
            <a:pathLst>
              <a:path w="194" h="126">
                <a:moveTo>
                  <a:pt x="118" y="98"/>
                </a:moveTo>
                <a:lnTo>
                  <a:pt x="118" y="98"/>
                </a:lnTo>
                <a:lnTo>
                  <a:pt x="116" y="96"/>
                </a:lnTo>
                <a:lnTo>
                  <a:pt x="112" y="94"/>
                </a:lnTo>
                <a:lnTo>
                  <a:pt x="112" y="94"/>
                </a:lnTo>
                <a:lnTo>
                  <a:pt x="108" y="92"/>
                </a:lnTo>
                <a:lnTo>
                  <a:pt x="104" y="88"/>
                </a:lnTo>
                <a:lnTo>
                  <a:pt x="104" y="88"/>
                </a:lnTo>
                <a:lnTo>
                  <a:pt x="102" y="88"/>
                </a:lnTo>
                <a:lnTo>
                  <a:pt x="102" y="86"/>
                </a:lnTo>
                <a:lnTo>
                  <a:pt x="106" y="86"/>
                </a:lnTo>
                <a:lnTo>
                  <a:pt x="106" y="86"/>
                </a:lnTo>
                <a:lnTo>
                  <a:pt x="104" y="86"/>
                </a:lnTo>
                <a:lnTo>
                  <a:pt x="104" y="86"/>
                </a:lnTo>
                <a:lnTo>
                  <a:pt x="98" y="86"/>
                </a:lnTo>
                <a:lnTo>
                  <a:pt x="98" y="86"/>
                </a:lnTo>
                <a:lnTo>
                  <a:pt x="90" y="84"/>
                </a:lnTo>
                <a:lnTo>
                  <a:pt x="84" y="82"/>
                </a:lnTo>
                <a:lnTo>
                  <a:pt x="84" y="82"/>
                </a:lnTo>
                <a:lnTo>
                  <a:pt x="82" y="80"/>
                </a:lnTo>
                <a:lnTo>
                  <a:pt x="84" y="80"/>
                </a:lnTo>
                <a:lnTo>
                  <a:pt x="84" y="80"/>
                </a:lnTo>
                <a:lnTo>
                  <a:pt x="82" y="78"/>
                </a:lnTo>
                <a:lnTo>
                  <a:pt x="82" y="78"/>
                </a:lnTo>
                <a:lnTo>
                  <a:pt x="70" y="70"/>
                </a:lnTo>
                <a:lnTo>
                  <a:pt x="70" y="70"/>
                </a:lnTo>
                <a:lnTo>
                  <a:pt x="68" y="70"/>
                </a:lnTo>
                <a:lnTo>
                  <a:pt x="68" y="72"/>
                </a:lnTo>
                <a:lnTo>
                  <a:pt x="66" y="72"/>
                </a:lnTo>
                <a:lnTo>
                  <a:pt x="64" y="70"/>
                </a:lnTo>
                <a:lnTo>
                  <a:pt x="64" y="70"/>
                </a:lnTo>
                <a:lnTo>
                  <a:pt x="58" y="66"/>
                </a:lnTo>
                <a:lnTo>
                  <a:pt x="52" y="62"/>
                </a:lnTo>
                <a:lnTo>
                  <a:pt x="52" y="62"/>
                </a:lnTo>
                <a:lnTo>
                  <a:pt x="40" y="56"/>
                </a:lnTo>
                <a:lnTo>
                  <a:pt x="40" y="54"/>
                </a:lnTo>
                <a:lnTo>
                  <a:pt x="42" y="52"/>
                </a:lnTo>
                <a:lnTo>
                  <a:pt x="42" y="52"/>
                </a:lnTo>
                <a:lnTo>
                  <a:pt x="44" y="52"/>
                </a:lnTo>
                <a:lnTo>
                  <a:pt x="40" y="50"/>
                </a:lnTo>
                <a:lnTo>
                  <a:pt x="40" y="50"/>
                </a:lnTo>
                <a:lnTo>
                  <a:pt x="32" y="46"/>
                </a:lnTo>
                <a:lnTo>
                  <a:pt x="30" y="44"/>
                </a:lnTo>
                <a:lnTo>
                  <a:pt x="28" y="42"/>
                </a:lnTo>
                <a:lnTo>
                  <a:pt x="28" y="42"/>
                </a:lnTo>
                <a:lnTo>
                  <a:pt x="28" y="36"/>
                </a:lnTo>
                <a:lnTo>
                  <a:pt x="26" y="34"/>
                </a:lnTo>
                <a:lnTo>
                  <a:pt x="24" y="32"/>
                </a:lnTo>
                <a:lnTo>
                  <a:pt x="24" y="30"/>
                </a:lnTo>
                <a:lnTo>
                  <a:pt x="24" y="30"/>
                </a:lnTo>
                <a:lnTo>
                  <a:pt x="22" y="36"/>
                </a:lnTo>
                <a:lnTo>
                  <a:pt x="20" y="40"/>
                </a:lnTo>
                <a:lnTo>
                  <a:pt x="20" y="40"/>
                </a:lnTo>
                <a:lnTo>
                  <a:pt x="16" y="42"/>
                </a:lnTo>
                <a:lnTo>
                  <a:pt x="16" y="42"/>
                </a:lnTo>
                <a:lnTo>
                  <a:pt x="14" y="40"/>
                </a:lnTo>
                <a:lnTo>
                  <a:pt x="14" y="40"/>
                </a:lnTo>
                <a:lnTo>
                  <a:pt x="10" y="32"/>
                </a:lnTo>
                <a:lnTo>
                  <a:pt x="8" y="30"/>
                </a:lnTo>
                <a:lnTo>
                  <a:pt x="10" y="28"/>
                </a:lnTo>
                <a:lnTo>
                  <a:pt x="10" y="28"/>
                </a:lnTo>
                <a:lnTo>
                  <a:pt x="12" y="26"/>
                </a:lnTo>
                <a:lnTo>
                  <a:pt x="14" y="26"/>
                </a:lnTo>
                <a:lnTo>
                  <a:pt x="12" y="24"/>
                </a:lnTo>
                <a:lnTo>
                  <a:pt x="10" y="24"/>
                </a:lnTo>
                <a:lnTo>
                  <a:pt x="10" y="24"/>
                </a:lnTo>
                <a:lnTo>
                  <a:pt x="10" y="20"/>
                </a:lnTo>
                <a:lnTo>
                  <a:pt x="6" y="18"/>
                </a:lnTo>
                <a:lnTo>
                  <a:pt x="4" y="16"/>
                </a:lnTo>
                <a:lnTo>
                  <a:pt x="2" y="14"/>
                </a:lnTo>
                <a:lnTo>
                  <a:pt x="2" y="14"/>
                </a:lnTo>
                <a:lnTo>
                  <a:pt x="2" y="12"/>
                </a:lnTo>
                <a:lnTo>
                  <a:pt x="2" y="12"/>
                </a:lnTo>
                <a:lnTo>
                  <a:pt x="0" y="10"/>
                </a:lnTo>
                <a:lnTo>
                  <a:pt x="0" y="8"/>
                </a:lnTo>
                <a:lnTo>
                  <a:pt x="0" y="8"/>
                </a:lnTo>
                <a:lnTo>
                  <a:pt x="14" y="10"/>
                </a:lnTo>
                <a:lnTo>
                  <a:pt x="20" y="8"/>
                </a:lnTo>
                <a:lnTo>
                  <a:pt x="20" y="8"/>
                </a:lnTo>
                <a:lnTo>
                  <a:pt x="26" y="4"/>
                </a:lnTo>
                <a:lnTo>
                  <a:pt x="28" y="2"/>
                </a:lnTo>
                <a:lnTo>
                  <a:pt x="30" y="2"/>
                </a:lnTo>
                <a:lnTo>
                  <a:pt x="30" y="2"/>
                </a:lnTo>
                <a:lnTo>
                  <a:pt x="34" y="4"/>
                </a:lnTo>
                <a:lnTo>
                  <a:pt x="36" y="2"/>
                </a:lnTo>
                <a:lnTo>
                  <a:pt x="36" y="2"/>
                </a:lnTo>
                <a:lnTo>
                  <a:pt x="40" y="0"/>
                </a:lnTo>
                <a:lnTo>
                  <a:pt x="44" y="2"/>
                </a:lnTo>
                <a:lnTo>
                  <a:pt x="44" y="2"/>
                </a:lnTo>
                <a:lnTo>
                  <a:pt x="48" y="4"/>
                </a:lnTo>
                <a:lnTo>
                  <a:pt x="50" y="2"/>
                </a:lnTo>
                <a:lnTo>
                  <a:pt x="50" y="0"/>
                </a:lnTo>
                <a:lnTo>
                  <a:pt x="50" y="0"/>
                </a:lnTo>
                <a:lnTo>
                  <a:pt x="54" y="2"/>
                </a:lnTo>
                <a:lnTo>
                  <a:pt x="56" y="2"/>
                </a:lnTo>
                <a:lnTo>
                  <a:pt x="56" y="4"/>
                </a:lnTo>
                <a:lnTo>
                  <a:pt x="56" y="4"/>
                </a:lnTo>
                <a:lnTo>
                  <a:pt x="56" y="4"/>
                </a:lnTo>
                <a:lnTo>
                  <a:pt x="58" y="6"/>
                </a:lnTo>
                <a:lnTo>
                  <a:pt x="58" y="8"/>
                </a:lnTo>
                <a:lnTo>
                  <a:pt x="58" y="8"/>
                </a:lnTo>
                <a:lnTo>
                  <a:pt x="60" y="10"/>
                </a:lnTo>
                <a:lnTo>
                  <a:pt x="60" y="10"/>
                </a:lnTo>
                <a:lnTo>
                  <a:pt x="68" y="14"/>
                </a:lnTo>
                <a:lnTo>
                  <a:pt x="72" y="16"/>
                </a:lnTo>
                <a:lnTo>
                  <a:pt x="72" y="16"/>
                </a:lnTo>
                <a:lnTo>
                  <a:pt x="78" y="18"/>
                </a:lnTo>
                <a:lnTo>
                  <a:pt x="84" y="20"/>
                </a:lnTo>
                <a:lnTo>
                  <a:pt x="84" y="20"/>
                </a:lnTo>
                <a:lnTo>
                  <a:pt x="86" y="22"/>
                </a:lnTo>
                <a:lnTo>
                  <a:pt x="90" y="22"/>
                </a:lnTo>
                <a:lnTo>
                  <a:pt x="90" y="22"/>
                </a:lnTo>
                <a:lnTo>
                  <a:pt x="94" y="20"/>
                </a:lnTo>
                <a:lnTo>
                  <a:pt x="96" y="16"/>
                </a:lnTo>
                <a:lnTo>
                  <a:pt x="96" y="16"/>
                </a:lnTo>
                <a:lnTo>
                  <a:pt x="104" y="14"/>
                </a:lnTo>
                <a:lnTo>
                  <a:pt x="108" y="14"/>
                </a:lnTo>
                <a:lnTo>
                  <a:pt x="110" y="14"/>
                </a:lnTo>
                <a:lnTo>
                  <a:pt x="110" y="14"/>
                </a:lnTo>
                <a:lnTo>
                  <a:pt x="112" y="16"/>
                </a:lnTo>
                <a:lnTo>
                  <a:pt x="120" y="14"/>
                </a:lnTo>
                <a:lnTo>
                  <a:pt x="120" y="14"/>
                </a:lnTo>
                <a:lnTo>
                  <a:pt x="130" y="14"/>
                </a:lnTo>
                <a:lnTo>
                  <a:pt x="132" y="14"/>
                </a:lnTo>
                <a:lnTo>
                  <a:pt x="132" y="14"/>
                </a:lnTo>
                <a:lnTo>
                  <a:pt x="134" y="18"/>
                </a:lnTo>
                <a:lnTo>
                  <a:pt x="136" y="20"/>
                </a:lnTo>
                <a:lnTo>
                  <a:pt x="138" y="22"/>
                </a:lnTo>
                <a:lnTo>
                  <a:pt x="138" y="24"/>
                </a:lnTo>
                <a:lnTo>
                  <a:pt x="138" y="24"/>
                </a:lnTo>
                <a:lnTo>
                  <a:pt x="140" y="26"/>
                </a:lnTo>
                <a:lnTo>
                  <a:pt x="142" y="26"/>
                </a:lnTo>
                <a:lnTo>
                  <a:pt x="144" y="28"/>
                </a:lnTo>
                <a:lnTo>
                  <a:pt x="146" y="30"/>
                </a:lnTo>
                <a:lnTo>
                  <a:pt x="146" y="30"/>
                </a:lnTo>
                <a:lnTo>
                  <a:pt x="148" y="32"/>
                </a:lnTo>
                <a:lnTo>
                  <a:pt x="152" y="36"/>
                </a:lnTo>
                <a:lnTo>
                  <a:pt x="152" y="36"/>
                </a:lnTo>
                <a:lnTo>
                  <a:pt x="152" y="38"/>
                </a:lnTo>
                <a:lnTo>
                  <a:pt x="152" y="38"/>
                </a:lnTo>
                <a:lnTo>
                  <a:pt x="150" y="40"/>
                </a:lnTo>
                <a:lnTo>
                  <a:pt x="150" y="40"/>
                </a:lnTo>
                <a:lnTo>
                  <a:pt x="154" y="44"/>
                </a:lnTo>
                <a:lnTo>
                  <a:pt x="156" y="44"/>
                </a:lnTo>
                <a:lnTo>
                  <a:pt x="158" y="44"/>
                </a:lnTo>
                <a:lnTo>
                  <a:pt x="158" y="44"/>
                </a:lnTo>
                <a:lnTo>
                  <a:pt x="160" y="44"/>
                </a:lnTo>
                <a:lnTo>
                  <a:pt x="162" y="46"/>
                </a:lnTo>
                <a:lnTo>
                  <a:pt x="166" y="50"/>
                </a:lnTo>
                <a:lnTo>
                  <a:pt x="166" y="50"/>
                </a:lnTo>
                <a:lnTo>
                  <a:pt x="168" y="50"/>
                </a:lnTo>
                <a:lnTo>
                  <a:pt x="170" y="48"/>
                </a:lnTo>
                <a:lnTo>
                  <a:pt x="172" y="48"/>
                </a:lnTo>
                <a:lnTo>
                  <a:pt x="174" y="48"/>
                </a:lnTo>
                <a:lnTo>
                  <a:pt x="174" y="48"/>
                </a:lnTo>
                <a:lnTo>
                  <a:pt x="174" y="48"/>
                </a:lnTo>
                <a:lnTo>
                  <a:pt x="174" y="50"/>
                </a:lnTo>
                <a:lnTo>
                  <a:pt x="170" y="52"/>
                </a:lnTo>
                <a:lnTo>
                  <a:pt x="170" y="52"/>
                </a:lnTo>
                <a:lnTo>
                  <a:pt x="174" y="54"/>
                </a:lnTo>
                <a:lnTo>
                  <a:pt x="178" y="56"/>
                </a:lnTo>
                <a:lnTo>
                  <a:pt x="178" y="56"/>
                </a:lnTo>
                <a:lnTo>
                  <a:pt x="176" y="58"/>
                </a:lnTo>
                <a:lnTo>
                  <a:pt x="174" y="60"/>
                </a:lnTo>
                <a:lnTo>
                  <a:pt x="176" y="64"/>
                </a:lnTo>
                <a:lnTo>
                  <a:pt x="176" y="64"/>
                </a:lnTo>
                <a:lnTo>
                  <a:pt x="178" y="70"/>
                </a:lnTo>
                <a:lnTo>
                  <a:pt x="180" y="74"/>
                </a:lnTo>
                <a:lnTo>
                  <a:pt x="180" y="74"/>
                </a:lnTo>
                <a:lnTo>
                  <a:pt x="182" y="78"/>
                </a:lnTo>
                <a:lnTo>
                  <a:pt x="180" y="80"/>
                </a:lnTo>
                <a:lnTo>
                  <a:pt x="180" y="80"/>
                </a:lnTo>
                <a:lnTo>
                  <a:pt x="178" y="82"/>
                </a:lnTo>
                <a:lnTo>
                  <a:pt x="180" y="84"/>
                </a:lnTo>
                <a:lnTo>
                  <a:pt x="180" y="86"/>
                </a:lnTo>
                <a:lnTo>
                  <a:pt x="180" y="88"/>
                </a:lnTo>
                <a:lnTo>
                  <a:pt x="180" y="88"/>
                </a:lnTo>
                <a:lnTo>
                  <a:pt x="178" y="90"/>
                </a:lnTo>
                <a:lnTo>
                  <a:pt x="180" y="92"/>
                </a:lnTo>
                <a:lnTo>
                  <a:pt x="184" y="94"/>
                </a:lnTo>
                <a:lnTo>
                  <a:pt x="184" y="94"/>
                </a:lnTo>
                <a:lnTo>
                  <a:pt x="192" y="100"/>
                </a:lnTo>
                <a:lnTo>
                  <a:pt x="194" y="106"/>
                </a:lnTo>
                <a:lnTo>
                  <a:pt x="194" y="110"/>
                </a:lnTo>
                <a:lnTo>
                  <a:pt x="194" y="110"/>
                </a:lnTo>
                <a:lnTo>
                  <a:pt x="192" y="112"/>
                </a:lnTo>
                <a:lnTo>
                  <a:pt x="190" y="114"/>
                </a:lnTo>
                <a:lnTo>
                  <a:pt x="190" y="114"/>
                </a:lnTo>
                <a:lnTo>
                  <a:pt x="190" y="116"/>
                </a:lnTo>
                <a:lnTo>
                  <a:pt x="188" y="116"/>
                </a:lnTo>
                <a:lnTo>
                  <a:pt x="184" y="114"/>
                </a:lnTo>
                <a:lnTo>
                  <a:pt x="184" y="114"/>
                </a:lnTo>
                <a:lnTo>
                  <a:pt x="182" y="114"/>
                </a:lnTo>
                <a:lnTo>
                  <a:pt x="180" y="114"/>
                </a:lnTo>
                <a:lnTo>
                  <a:pt x="178" y="118"/>
                </a:lnTo>
                <a:lnTo>
                  <a:pt x="178" y="118"/>
                </a:lnTo>
                <a:lnTo>
                  <a:pt x="174" y="122"/>
                </a:lnTo>
                <a:lnTo>
                  <a:pt x="170" y="122"/>
                </a:lnTo>
                <a:lnTo>
                  <a:pt x="162" y="122"/>
                </a:lnTo>
                <a:lnTo>
                  <a:pt x="162" y="122"/>
                </a:lnTo>
                <a:lnTo>
                  <a:pt x="158" y="122"/>
                </a:lnTo>
                <a:lnTo>
                  <a:pt x="154" y="126"/>
                </a:lnTo>
                <a:lnTo>
                  <a:pt x="154" y="126"/>
                </a:lnTo>
                <a:lnTo>
                  <a:pt x="152" y="120"/>
                </a:lnTo>
                <a:lnTo>
                  <a:pt x="150" y="116"/>
                </a:lnTo>
                <a:lnTo>
                  <a:pt x="144" y="112"/>
                </a:lnTo>
                <a:lnTo>
                  <a:pt x="144" y="112"/>
                </a:lnTo>
                <a:lnTo>
                  <a:pt x="142" y="110"/>
                </a:lnTo>
                <a:lnTo>
                  <a:pt x="142" y="108"/>
                </a:lnTo>
                <a:lnTo>
                  <a:pt x="140" y="108"/>
                </a:lnTo>
                <a:lnTo>
                  <a:pt x="140" y="106"/>
                </a:lnTo>
                <a:lnTo>
                  <a:pt x="140" y="106"/>
                </a:lnTo>
                <a:lnTo>
                  <a:pt x="138" y="100"/>
                </a:lnTo>
                <a:lnTo>
                  <a:pt x="136" y="94"/>
                </a:lnTo>
                <a:lnTo>
                  <a:pt x="136" y="94"/>
                </a:lnTo>
                <a:lnTo>
                  <a:pt x="134" y="92"/>
                </a:lnTo>
                <a:lnTo>
                  <a:pt x="130" y="90"/>
                </a:lnTo>
                <a:lnTo>
                  <a:pt x="124" y="90"/>
                </a:lnTo>
                <a:lnTo>
                  <a:pt x="124" y="90"/>
                </a:lnTo>
                <a:lnTo>
                  <a:pt x="118" y="92"/>
                </a:lnTo>
                <a:lnTo>
                  <a:pt x="118" y="92"/>
                </a:lnTo>
                <a:lnTo>
                  <a:pt x="118" y="94"/>
                </a:lnTo>
                <a:lnTo>
                  <a:pt x="118" y="94"/>
                </a:lnTo>
                <a:lnTo>
                  <a:pt x="120" y="96"/>
                </a:lnTo>
                <a:lnTo>
                  <a:pt x="120" y="96"/>
                </a:lnTo>
                <a:lnTo>
                  <a:pt x="118" y="98"/>
                </a:lnTo>
                <a:lnTo>
                  <a:pt x="118" y="98"/>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27" name="Czech Republic"/>
          <p:cNvSpPr>
            <a:spLocks/>
          </p:cNvSpPr>
          <p:nvPr/>
        </p:nvSpPr>
        <p:spPr bwMode="auto">
          <a:xfrm>
            <a:off x="4584740" y="1382262"/>
            <a:ext cx="143566" cy="61456"/>
          </a:xfrm>
          <a:custGeom>
            <a:avLst/>
            <a:gdLst/>
            <a:ahLst/>
            <a:cxnLst>
              <a:cxn ang="0">
                <a:pos x="100" y="54"/>
              </a:cxn>
              <a:cxn ang="0">
                <a:pos x="106" y="48"/>
              </a:cxn>
              <a:cxn ang="0">
                <a:pos x="110" y="46"/>
              </a:cxn>
              <a:cxn ang="0">
                <a:pos x="118" y="38"/>
              </a:cxn>
              <a:cxn ang="0">
                <a:pos x="126" y="28"/>
              </a:cxn>
              <a:cxn ang="0">
                <a:pos x="116" y="22"/>
              </a:cxn>
              <a:cxn ang="0">
                <a:pos x="102" y="18"/>
              </a:cxn>
              <a:cxn ang="0">
                <a:pos x="100" y="16"/>
              </a:cxn>
              <a:cxn ang="0">
                <a:pos x="96" y="12"/>
              </a:cxn>
              <a:cxn ang="0">
                <a:pos x="92" y="12"/>
              </a:cxn>
              <a:cxn ang="0">
                <a:pos x="86" y="10"/>
              </a:cxn>
              <a:cxn ang="0">
                <a:pos x="86" y="12"/>
              </a:cxn>
              <a:cxn ang="0">
                <a:pos x="86" y="14"/>
              </a:cxn>
              <a:cxn ang="0">
                <a:pos x="82" y="16"/>
              </a:cxn>
              <a:cxn ang="0">
                <a:pos x="82" y="16"/>
              </a:cxn>
              <a:cxn ang="0">
                <a:pos x="76" y="12"/>
              </a:cxn>
              <a:cxn ang="0">
                <a:pos x="72" y="10"/>
              </a:cxn>
              <a:cxn ang="0">
                <a:pos x="52" y="6"/>
              </a:cxn>
              <a:cxn ang="0">
                <a:pos x="48" y="6"/>
              </a:cxn>
              <a:cxn ang="0">
                <a:pos x="44" y="6"/>
              </a:cxn>
              <a:cxn ang="0">
                <a:pos x="40" y="2"/>
              </a:cxn>
              <a:cxn ang="0">
                <a:pos x="34" y="4"/>
              </a:cxn>
              <a:cxn ang="0">
                <a:pos x="30" y="8"/>
              </a:cxn>
              <a:cxn ang="0">
                <a:pos x="24" y="10"/>
              </a:cxn>
              <a:cxn ang="0">
                <a:pos x="12" y="14"/>
              </a:cxn>
              <a:cxn ang="0">
                <a:pos x="0" y="14"/>
              </a:cxn>
              <a:cxn ang="0">
                <a:pos x="0" y="16"/>
              </a:cxn>
              <a:cxn ang="0">
                <a:pos x="8" y="26"/>
              </a:cxn>
              <a:cxn ang="0">
                <a:pos x="12" y="30"/>
              </a:cxn>
              <a:cxn ang="0">
                <a:pos x="16" y="32"/>
              </a:cxn>
              <a:cxn ang="0">
                <a:pos x="28" y="40"/>
              </a:cxn>
              <a:cxn ang="0">
                <a:pos x="32" y="42"/>
              </a:cxn>
              <a:cxn ang="0">
                <a:pos x="32" y="46"/>
              </a:cxn>
              <a:cxn ang="0">
                <a:pos x="40" y="48"/>
              </a:cxn>
              <a:cxn ang="0">
                <a:pos x="44" y="48"/>
              </a:cxn>
              <a:cxn ang="0">
                <a:pos x="48" y="48"/>
              </a:cxn>
              <a:cxn ang="0">
                <a:pos x="50" y="44"/>
              </a:cxn>
              <a:cxn ang="0">
                <a:pos x="50" y="38"/>
              </a:cxn>
              <a:cxn ang="0">
                <a:pos x="52" y="38"/>
              </a:cxn>
              <a:cxn ang="0">
                <a:pos x="62" y="42"/>
              </a:cxn>
              <a:cxn ang="0">
                <a:pos x="64" y="44"/>
              </a:cxn>
              <a:cxn ang="0">
                <a:pos x="68" y="42"/>
              </a:cxn>
              <a:cxn ang="0">
                <a:pos x="72" y="42"/>
              </a:cxn>
              <a:cxn ang="0">
                <a:pos x="90" y="52"/>
              </a:cxn>
              <a:cxn ang="0">
                <a:pos x="94" y="54"/>
              </a:cxn>
              <a:cxn ang="0">
                <a:pos x="100" y="54"/>
              </a:cxn>
            </a:cxnLst>
            <a:rect l="0" t="0" r="r" b="b"/>
            <a:pathLst>
              <a:path w="126" h="54">
                <a:moveTo>
                  <a:pt x="100" y="54"/>
                </a:moveTo>
                <a:lnTo>
                  <a:pt x="100" y="54"/>
                </a:lnTo>
                <a:lnTo>
                  <a:pt x="102" y="52"/>
                </a:lnTo>
                <a:lnTo>
                  <a:pt x="106" y="48"/>
                </a:lnTo>
                <a:lnTo>
                  <a:pt x="110" y="46"/>
                </a:lnTo>
                <a:lnTo>
                  <a:pt x="110" y="46"/>
                </a:lnTo>
                <a:lnTo>
                  <a:pt x="118" y="42"/>
                </a:lnTo>
                <a:lnTo>
                  <a:pt x="118" y="38"/>
                </a:lnTo>
                <a:lnTo>
                  <a:pt x="120" y="34"/>
                </a:lnTo>
                <a:lnTo>
                  <a:pt x="126" y="28"/>
                </a:lnTo>
                <a:lnTo>
                  <a:pt x="126" y="28"/>
                </a:lnTo>
                <a:lnTo>
                  <a:pt x="116" y="22"/>
                </a:lnTo>
                <a:lnTo>
                  <a:pt x="108" y="20"/>
                </a:lnTo>
                <a:lnTo>
                  <a:pt x="102" y="18"/>
                </a:lnTo>
                <a:lnTo>
                  <a:pt x="100" y="16"/>
                </a:lnTo>
                <a:lnTo>
                  <a:pt x="100" y="16"/>
                </a:lnTo>
                <a:lnTo>
                  <a:pt x="98" y="12"/>
                </a:lnTo>
                <a:lnTo>
                  <a:pt x="96" y="12"/>
                </a:lnTo>
                <a:lnTo>
                  <a:pt x="96" y="12"/>
                </a:lnTo>
                <a:lnTo>
                  <a:pt x="92" y="12"/>
                </a:lnTo>
                <a:lnTo>
                  <a:pt x="88" y="10"/>
                </a:lnTo>
                <a:lnTo>
                  <a:pt x="86" y="10"/>
                </a:lnTo>
                <a:lnTo>
                  <a:pt x="86" y="12"/>
                </a:lnTo>
                <a:lnTo>
                  <a:pt x="86" y="12"/>
                </a:lnTo>
                <a:lnTo>
                  <a:pt x="88" y="14"/>
                </a:lnTo>
                <a:lnTo>
                  <a:pt x="86" y="14"/>
                </a:lnTo>
                <a:lnTo>
                  <a:pt x="84" y="14"/>
                </a:lnTo>
                <a:lnTo>
                  <a:pt x="82" y="16"/>
                </a:lnTo>
                <a:lnTo>
                  <a:pt x="82" y="16"/>
                </a:lnTo>
                <a:lnTo>
                  <a:pt x="82" y="16"/>
                </a:lnTo>
                <a:lnTo>
                  <a:pt x="80" y="14"/>
                </a:lnTo>
                <a:lnTo>
                  <a:pt x="76" y="12"/>
                </a:lnTo>
                <a:lnTo>
                  <a:pt x="72" y="10"/>
                </a:lnTo>
                <a:lnTo>
                  <a:pt x="72" y="10"/>
                </a:lnTo>
                <a:lnTo>
                  <a:pt x="58" y="8"/>
                </a:lnTo>
                <a:lnTo>
                  <a:pt x="52" y="6"/>
                </a:lnTo>
                <a:lnTo>
                  <a:pt x="50" y="4"/>
                </a:lnTo>
                <a:lnTo>
                  <a:pt x="48" y="6"/>
                </a:lnTo>
                <a:lnTo>
                  <a:pt x="48" y="6"/>
                </a:lnTo>
                <a:lnTo>
                  <a:pt x="44" y="6"/>
                </a:lnTo>
                <a:lnTo>
                  <a:pt x="40" y="2"/>
                </a:lnTo>
                <a:lnTo>
                  <a:pt x="40" y="2"/>
                </a:lnTo>
                <a:lnTo>
                  <a:pt x="38" y="0"/>
                </a:lnTo>
                <a:lnTo>
                  <a:pt x="34" y="4"/>
                </a:lnTo>
                <a:lnTo>
                  <a:pt x="34" y="4"/>
                </a:lnTo>
                <a:lnTo>
                  <a:pt x="30" y="8"/>
                </a:lnTo>
                <a:lnTo>
                  <a:pt x="24" y="10"/>
                </a:lnTo>
                <a:lnTo>
                  <a:pt x="24" y="10"/>
                </a:lnTo>
                <a:lnTo>
                  <a:pt x="12" y="14"/>
                </a:lnTo>
                <a:lnTo>
                  <a:pt x="12" y="14"/>
                </a:lnTo>
                <a:lnTo>
                  <a:pt x="4" y="14"/>
                </a:lnTo>
                <a:lnTo>
                  <a:pt x="0" y="14"/>
                </a:lnTo>
                <a:lnTo>
                  <a:pt x="0" y="16"/>
                </a:lnTo>
                <a:lnTo>
                  <a:pt x="0" y="16"/>
                </a:lnTo>
                <a:lnTo>
                  <a:pt x="4" y="20"/>
                </a:lnTo>
                <a:lnTo>
                  <a:pt x="8" y="26"/>
                </a:lnTo>
                <a:lnTo>
                  <a:pt x="8" y="26"/>
                </a:lnTo>
                <a:lnTo>
                  <a:pt x="12" y="30"/>
                </a:lnTo>
                <a:lnTo>
                  <a:pt x="16" y="32"/>
                </a:lnTo>
                <a:lnTo>
                  <a:pt x="16" y="32"/>
                </a:lnTo>
                <a:lnTo>
                  <a:pt x="24" y="38"/>
                </a:lnTo>
                <a:lnTo>
                  <a:pt x="28" y="40"/>
                </a:lnTo>
                <a:lnTo>
                  <a:pt x="28" y="40"/>
                </a:lnTo>
                <a:lnTo>
                  <a:pt x="32" y="42"/>
                </a:lnTo>
                <a:lnTo>
                  <a:pt x="32" y="46"/>
                </a:lnTo>
                <a:lnTo>
                  <a:pt x="32" y="46"/>
                </a:lnTo>
                <a:lnTo>
                  <a:pt x="38" y="48"/>
                </a:lnTo>
                <a:lnTo>
                  <a:pt x="40" y="48"/>
                </a:lnTo>
                <a:lnTo>
                  <a:pt x="40" y="48"/>
                </a:lnTo>
                <a:lnTo>
                  <a:pt x="44" y="48"/>
                </a:lnTo>
                <a:lnTo>
                  <a:pt x="46" y="48"/>
                </a:lnTo>
                <a:lnTo>
                  <a:pt x="48" y="48"/>
                </a:lnTo>
                <a:lnTo>
                  <a:pt x="48" y="48"/>
                </a:lnTo>
                <a:lnTo>
                  <a:pt x="50" y="44"/>
                </a:lnTo>
                <a:lnTo>
                  <a:pt x="50" y="40"/>
                </a:lnTo>
                <a:lnTo>
                  <a:pt x="50" y="38"/>
                </a:lnTo>
                <a:lnTo>
                  <a:pt x="52" y="38"/>
                </a:lnTo>
                <a:lnTo>
                  <a:pt x="52" y="38"/>
                </a:lnTo>
                <a:lnTo>
                  <a:pt x="58" y="40"/>
                </a:lnTo>
                <a:lnTo>
                  <a:pt x="62" y="42"/>
                </a:lnTo>
                <a:lnTo>
                  <a:pt x="62" y="42"/>
                </a:lnTo>
                <a:lnTo>
                  <a:pt x="64" y="44"/>
                </a:lnTo>
                <a:lnTo>
                  <a:pt x="66" y="42"/>
                </a:lnTo>
                <a:lnTo>
                  <a:pt x="68" y="42"/>
                </a:lnTo>
                <a:lnTo>
                  <a:pt x="72" y="42"/>
                </a:lnTo>
                <a:lnTo>
                  <a:pt x="72" y="42"/>
                </a:lnTo>
                <a:lnTo>
                  <a:pt x="82" y="48"/>
                </a:lnTo>
                <a:lnTo>
                  <a:pt x="90" y="52"/>
                </a:lnTo>
                <a:lnTo>
                  <a:pt x="90" y="52"/>
                </a:lnTo>
                <a:lnTo>
                  <a:pt x="94" y="54"/>
                </a:lnTo>
                <a:lnTo>
                  <a:pt x="96" y="54"/>
                </a:lnTo>
                <a:lnTo>
                  <a:pt x="100" y="54"/>
                </a:lnTo>
                <a:lnTo>
                  <a:pt x="100" y="54"/>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28" name="Denmark"/>
          <p:cNvSpPr>
            <a:spLocks/>
          </p:cNvSpPr>
          <p:nvPr/>
        </p:nvSpPr>
        <p:spPr bwMode="auto">
          <a:xfrm>
            <a:off x="4493586" y="1247969"/>
            <a:ext cx="82038" cy="59180"/>
          </a:xfrm>
          <a:custGeom>
            <a:avLst/>
            <a:gdLst/>
            <a:ahLst/>
            <a:cxnLst/>
            <a:rect l="l" t="t" r="r" b="b"/>
            <a:pathLst>
              <a:path w="95250" h="68792">
                <a:moveTo>
                  <a:pt x="47625" y="52918"/>
                </a:moveTo>
                <a:lnTo>
                  <a:pt x="50271" y="52918"/>
                </a:lnTo>
                <a:lnTo>
                  <a:pt x="52917" y="55564"/>
                </a:lnTo>
                <a:lnTo>
                  <a:pt x="55563" y="55564"/>
                </a:lnTo>
                <a:lnTo>
                  <a:pt x="55563" y="52918"/>
                </a:lnTo>
                <a:lnTo>
                  <a:pt x="58208" y="55564"/>
                </a:lnTo>
                <a:lnTo>
                  <a:pt x="60854" y="58210"/>
                </a:lnTo>
                <a:lnTo>
                  <a:pt x="58208" y="60855"/>
                </a:lnTo>
                <a:lnTo>
                  <a:pt x="55563" y="63501"/>
                </a:lnTo>
                <a:lnTo>
                  <a:pt x="50271" y="63501"/>
                </a:lnTo>
                <a:lnTo>
                  <a:pt x="44979" y="60855"/>
                </a:lnTo>
                <a:lnTo>
                  <a:pt x="37042" y="58210"/>
                </a:lnTo>
                <a:lnTo>
                  <a:pt x="34396" y="55564"/>
                </a:lnTo>
                <a:lnTo>
                  <a:pt x="37042" y="55564"/>
                </a:lnTo>
                <a:close/>
                <a:moveTo>
                  <a:pt x="87313" y="34397"/>
                </a:moveTo>
                <a:lnTo>
                  <a:pt x="92604" y="34397"/>
                </a:lnTo>
                <a:lnTo>
                  <a:pt x="95250" y="34397"/>
                </a:lnTo>
                <a:lnTo>
                  <a:pt x="95250" y="39689"/>
                </a:lnTo>
                <a:lnTo>
                  <a:pt x="95250" y="44980"/>
                </a:lnTo>
                <a:lnTo>
                  <a:pt x="92604" y="47626"/>
                </a:lnTo>
                <a:lnTo>
                  <a:pt x="89959" y="50272"/>
                </a:lnTo>
                <a:lnTo>
                  <a:pt x="92604" y="52918"/>
                </a:lnTo>
                <a:lnTo>
                  <a:pt x="95250" y="52918"/>
                </a:lnTo>
                <a:lnTo>
                  <a:pt x="92604" y="55564"/>
                </a:lnTo>
                <a:lnTo>
                  <a:pt x="89959" y="58210"/>
                </a:lnTo>
                <a:lnTo>
                  <a:pt x="87313" y="60855"/>
                </a:lnTo>
                <a:lnTo>
                  <a:pt x="89959" y="66147"/>
                </a:lnTo>
                <a:lnTo>
                  <a:pt x="84667" y="66147"/>
                </a:lnTo>
                <a:lnTo>
                  <a:pt x="76729" y="63501"/>
                </a:lnTo>
                <a:lnTo>
                  <a:pt x="74084" y="63501"/>
                </a:lnTo>
                <a:lnTo>
                  <a:pt x="74084" y="60855"/>
                </a:lnTo>
                <a:lnTo>
                  <a:pt x="76729" y="60855"/>
                </a:lnTo>
                <a:lnTo>
                  <a:pt x="79375" y="58210"/>
                </a:lnTo>
                <a:lnTo>
                  <a:pt x="74084" y="60855"/>
                </a:lnTo>
                <a:lnTo>
                  <a:pt x="68792" y="60855"/>
                </a:lnTo>
                <a:lnTo>
                  <a:pt x="66146" y="58210"/>
                </a:lnTo>
                <a:lnTo>
                  <a:pt x="66146" y="52918"/>
                </a:lnTo>
                <a:lnTo>
                  <a:pt x="66146" y="50272"/>
                </a:lnTo>
                <a:lnTo>
                  <a:pt x="63500" y="47626"/>
                </a:lnTo>
                <a:lnTo>
                  <a:pt x="66146" y="44980"/>
                </a:lnTo>
                <a:lnTo>
                  <a:pt x="74084" y="44980"/>
                </a:lnTo>
                <a:lnTo>
                  <a:pt x="79375" y="42334"/>
                </a:lnTo>
                <a:lnTo>
                  <a:pt x="76729" y="39689"/>
                </a:lnTo>
                <a:lnTo>
                  <a:pt x="82021" y="39689"/>
                </a:lnTo>
                <a:lnTo>
                  <a:pt x="84667" y="44980"/>
                </a:lnTo>
                <a:lnTo>
                  <a:pt x="84667" y="42334"/>
                </a:lnTo>
                <a:lnTo>
                  <a:pt x="87313" y="42334"/>
                </a:lnTo>
                <a:lnTo>
                  <a:pt x="87313" y="44980"/>
                </a:lnTo>
                <a:lnTo>
                  <a:pt x="89959" y="42334"/>
                </a:lnTo>
                <a:lnTo>
                  <a:pt x="89959" y="39689"/>
                </a:lnTo>
                <a:lnTo>
                  <a:pt x="87313" y="39689"/>
                </a:lnTo>
                <a:lnTo>
                  <a:pt x="84667" y="39689"/>
                </a:lnTo>
                <a:lnTo>
                  <a:pt x="84667" y="37043"/>
                </a:lnTo>
                <a:close/>
                <a:moveTo>
                  <a:pt x="29105" y="13229"/>
                </a:moveTo>
                <a:lnTo>
                  <a:pt x="34396" y="15875"/>
                </a:lnTo>
                <a:lnTo>
                  <a:pt x="37042" y="18521"/>
                </a:lnTo>
                <a:lnTo>
                  <a:pt x="39688" y="23812"/>
                </a:lnTo>
                <a:lnTo>
                  <a:pt x="39688" y="26458"/>
                </a:lnTo>
                <a:lnTo>
                  <a:pt x="42334" y="26458"/>
                </a:lnTo>
                <a:lnTo>
                  <a:pt x="42334" y="29104"/>
                </a:lnTo>
                <a:lnTo>
                  <a:pt x="47626" y="29104"/>
                </a:lnTo>
                <a:lnTo>
                  <a:pt x="52917" y="29104"/>
                </a:lnTo>
                <a:lnTo>
                  <a:pt x="55563" y="31750"/>
                </a:lnTo>
                <a:lnTo>
                  <a:pt x="55563" y="34396"/>
                </a:lnTo>
                <a:lnTo>
                  <a:pt x="50272" y="34396"/>
                </a:lnTo>
                <a:lnTo>
                  <a:pt x="47626" y="37042"/>
                </a:lnTo>
                <a:lnTo>
                  <a:pt x="44980" y="39688"/>
                </a:lnTo>
                <a:lnTo>
                  <a:pt x="42334" y="39688"/>
                </a:lnTo>
                <a:lnTo>
                  <a:pt x="39688" y="42333"/>
                </a:lnTo>
                <a:lnTo>
                  <a:pt x="39688" y="44979"/>
                </a:lnTo>
                <a:lnTo>
                  <a:pt x="37042" y="47625"/>
                </a:lnTo>
                <a:lnTo>
                  <a:pt x="34396" y="47625"/>
                </a:lnTo>
                <a:lnTo>
                  <a:pt x="34396" y="50271"/>
                </a:lnTo>
                <a:lnTo>
                  <a:pt x="37042" y="52917"/>
                </a:lnTo>
                <a:lnTo>
                  <a:pt x="34396" y="52917"/>
                </a:lnTo>
                <a:lnTo>
                  <a:pt x="31751" y="55563"/>
                </a:lnTo>
                <a:lnTo>
                  <a:pt x="29105" y="58209"/>
                </a:lnTo>
                <a:lnTo>
                  <a:pt x="31751" y="60854"/>
                </a:lnTo>
                <a:lnTo>
                  <a:pt x="31751" y="63500"/>
                </a:lnTo>
                <a:lnTo>
                  <a:pt x="37042" y="63500"/>
                </a:lnTo>
                <a:lnTo>
                  <a:pt x="39688" y="66146"/>
                </a:lnTo>
                <a:lnTo>
                  <a:pt x="37042" y="66146"/>
                </a:lnTo>
                <a:lnTo>
                  <a:pt x="31751" y="68792"/>
                </a:lnTo>
                <a:lnTo>
                  <a:pt x="26459" y="66146"/>
                </a:lnTo>
                <a:lnTo>
                  <a:pt x="21167" y="66146"/>
                </a:lnTo>
                <a:lnTo>
                  <a:pt x="15875" y="66146"/>
                </a:lnTo>
                <a:lnTo>
                  <a:pt x="15875" y="63500"/>
                </a:lnTo>
                <a:lnTo>
                  <a:pt x="15875" y="60854"/>
                </a:lnTo>
                <a:lnTo>
                  <a:pt x="15875" y="55563"/>
                </a:lnTo>
                <a:lnTo>
                  <a:pt x="13230" y="55563"/>
                </a:lnTo>
                <a:lnTo>
                  <a:pt x="10584" y="52917"/>
                </a:lnTo>
                <a:lnTo>
                  <a:pt x="7938" y="50271"/>
                </a:lnTo>
                <a:lnTo>
                  <a:pt x="10584" y="50271"/>
                </a:lnTo>
                <a:lnTo>
                  <a:pt x="7938" y="47625"/>
                </a:lnTo>
                <a:lnTo>
                  <a:pt x="7938" y="42333"/>
                </a:lnTo>
                <a:lnTo>
                  <a:pt x="5292" y="42333"/>
                </a:lnTo>
                <a:lnTo>
                  <a:pt x="2646" y="42333"/>
                </a:lnTo>
                <a:lnTo>
                  <a:pt x="2646" y="39688"/>
                </a:lnTo>
                <a:lnTo>
                  <a:pt x="2646" y="37042"/>
                </a:lnTo>
                <a:lnTo>
                  <a:pt x="5292" y="34396"/>
                </a:lnTo>
                <a:lnTo>
                  <a:pt x="5292" y="31750"/>
                </a:lnTo>
                <a:lnTo>
                  <a:pt x="2646" y="29104"/>
                </a:lnTo>
                <a:lnTo>
                  <a:pt x="0" y="26458"/>
                </a:lnTo>
                <a:lnTo>
                  <a:pt x="0" y="23812"/>
                </a:lnTo>
                <a:lnTo>
                  <a:pt x="0" y="21167"/>
                </a:lnTo>
                <a:lnTo>
                  <a:pt x="2646" y="18521"/>
                </a:lnTo>
                <a:lnTo>
                  <a:pt x="5292" y="18521"/>
                </a:lnTo>
                <a:lnTo>
                  <a:pt x="7938" y="23812"/>
                </a:lnTo>
                <a:lnTo>
                  <a:pt x="13230" y="23812"/>
                </a:lnTo>
                <a:lnTo>
                  <a:pt x="13230" y="21167"/>
                </a:lnTo>
                <a:lnTo>
                  <a:pt x="13230" y="18521"/>
                </a:lnTo>
                <a:lnTo>
                  <a:pt x="15875" y="15875"/>
                </a:lnTo>
                <a:lnTo>
                  <a:pt x="18521" y="15875"/>
                </a:lnTo>
                <a:lnTo>
                  <a:pt x="18521" y="18521"/>
                </a:lnTo>
                <a:lnTo>
                  <a:pt x="18521" y="23812"/>
                </a:lnTo>
                <a:lnTo>
                  <a:pt x="21167" y="23812"/>
                </a:lnTo>
                <a:lnTo>
                  <a:pt x="21167" y="15875"/>
                </a:lnTo>
                <a:lnTo>
                  <a:pt x="23813" y="15875"/>
                </a:lnTo>
                <a:lnTo>
                  <a:pt x="26459" y="15875"/>
                </a:lnTo>
                <a:close/>
                <a:moveTo>
                  <a:pt x="10584" y="10583"/>
                </a:moveTo>
                <a:lnTo>
                  <a:pt x="13230" y="10583"/>
                </a:lnTo>
                <a:lnTo>
                  <a:pt x="15876" y="10583"/>
                </a:lnTo>
                <a:lnTo>
                  <a:pt x="18522" y="10583"/>
                </a:lnTo>
                <a:lnTo>
                  <a:pt x="21167" y="13229"/>
                </a:lnTo>
                <a:lnTo>
                  <a:pt x="18522" y="13229"/>
                </a:lnTo>
                <a:lnTo>
                  <a:pt x="13230" y="13229"/>
                </a:lnTo>
                <a:lnTo>
                  <a:pt x="10584" y="18521"/>
                </a:lnTo>
                <a:lnTo>
                  <a:pt x="10584" y="21167"/>
                </a:lnTo>
                <a:lnTo>
                  <a:pt x="7938" y="18521"/>
                </a:lnTo>
                <a:lnTo>
                  <a:pt x="5292" y="15875"/>
                </a:lnTo>
                <a:close/>
                <a:moveTo>
                  <a:pt x="42334" y="0"/>
                </a:moveTo>
                <a:lnTo>
                  <a:pt x="44980" y="0"/>
                </a:lnTo>
                <a:lnTo>
                  <a:pt x="44980" y="2646"/>
                </a:lnTo>
                <a:lnTo>
                  <a:pt x="42334" y="2646"/>
                </a:lnTo>
                <a:lnTo>
                  <a:pt x="44980" y="5292"/>
                </a:lnTo>
                <a:lnTo>
                  <a:pt x="44980" y="7938"/>
                </a:lnTo>
                <a:lnTo>
                  <a:pt x="44980" y="10583"/>
                </a:lnTo>
                <a:lnTo>
                  <a:pt x="42334" y="13229"/>
                </a:lnTo>
                <a:lnTo>
                  <a:pt x="39689" y="18521"/>
                </a:lnTo>
                <a:lnTo>
                  <a:pt x="34397" y="13229"/>
                </a:lnTo>
                <a:lnTo>
                  <a:pt x="29105" y="10583"/>
                </a:lnTo>
                <a:lnTo>
                  <a:pt x="26459" y="10583"/>
                </a:lnTo>
                <a:lnTo>
                  <a:pt x="23813" y="13229"/>
                </a:lnTo>
                <a:lnTo>
                  <a:pt x="21167" y="13229"/>
                </a:lnTo>
                <a:lnTo>
                  <a:pt x="23813" y="10583"/>
                </a:lnTo>
                <a:lnTo>
                  <a:pt x="29105" y="5292"/>
                </a:lnTo>
                <a:lnTo>
                  <a:pt x="37043" y="2646"/>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29" name="Estonia"/>
          <p:cNvSpPr>
            <a:spLocks/>
          </p:cNvSpPr>
          <p:nvPr/>
        </p:nvSpPr>
        <p:spPr bwMode="auto">
          <a:xfrm>
            <a:off x="4792112" y="1211554"/>
            <a:ext cx="84317" cy="34142"/>
          </a:xfrm>
          <a:custGeom>
            <a:avLst/>
            <a:gdLst/>
            <a:ahLst/>
            <a:cxnLst>
              <a:cxn ang="0">
                <a:pos x="18" y="30"/>
              </a:cxn>
              <a:cxn ang="0">
                <a:pos x="18" y="24"/>
              </a:cxn>
              <a:cxn ang="0">
                <a:pos x="14" y="24"/>
              </a:cxn>
              <a:cxn ang="0">
                <a:pos x="14" y="26"/>
              </a:cxn>
              <a:cxn ang="0">
                <a:pos x="10" y="24"/>
              </a:cxn>
              <a:cxn ang="0">
                <a:pos x="10" y="22"/>
              </a:cxn>
              <a:cxn ang="0">
                <a:pos x="6" y="20"/>
              </a:cxn>
              <a:cxn ang="0">
                <a:pos x="4" y="16"/>
              </a:cxn>
              <a:cxn ang="0">
                <a:pos x="6" y="16"/>
              </a:cxn>
              <a:cxn ang="0">
                <a:pos x="8" y="14"/>
              </a:cxn>
              <a:cxn ang="0">
                <a:pos x="0" y="12"/>
              </a:cxn>
              <a:cxn ang="0">
                <a:pos x="0" y="10"/>
              </a:cxn>
              <a:cxn ang="0">
                <a:pos x="0" y="8"/>
              </a:cxn>
              <a:cxn ang="0">
                <a:pos x="4" y="6"/>
              </a:cxn>
              <a:cxn ang="0">
                <a:pos x="8" y="4"/>
              </a:cxn>
              <a:cxn ang="0">
                <a:pos x="10" y="2"/>
              </a:cxn>
              <a:cxn ang="0">
                <a:pos x="14" y="2"/>
              </a:cxn>
              <a:cxn ang="0">
                <a:pos x="16" y="2"/>
              </a:cxn>
              <a:cxn ang="0">
                <a:pos x="20" y="2"/>
              </a:cxn>
              <a:cxn ang="0">
                <a:pos x="22" y="2"/>
              </a:cxn>
              <a:cxn ang="0">
                <a:pos x="24" y="0"/>
              </a:cxn>
              <a:cxn ang="0">
                <a:pos x="28" y="0"/>
              </a:cxn>
              <a:cxn ang="0">
                <a:pos x="30" y="0"/>
              </a:cxn>
              <a:cxn ang="0">
                <a:pos x="34" y="0"/>
              </a:cxn>
              <a:cxn ang="0">
                <a:pos x="38" y="2"/>
              </a:cxn>
              <a:cxn ang="0">
                <a:pos x="40" y="0"/>
              </a:cxn>
              <a:cxn ang="0">
                <a:pos x="44" y="2"/>
              </a:cxn>
              <a:cxn ang="0">
                <a:pos x="52" y="6"/>
              </a:cxn>
              <a:cxn ang="0">
                <a:pos x="62" y="6"/>
              </a:cxn>
              <a:cxn ang="0">
                <a:pos x="68" y="6"/>
              </a:cxn>
              <a:cxn ang="0">
                <a:pos x="70" y="4"/>
              </a:cxn>
              <a:cxn ang="0">
                <a:pos x="74" y="8"/>
              </a:cxn>
              <a:cxn ang="0">
                <a:pos x="72" y="26"/>
              </a:cxn>
              <a:cxn ang="0">
                <a:pos x="60" y="30"/>
              </a:cxn>
              <a:cxn ang="0">
                <a:pos x="56" y="28"/>
              </a:cxn>
              <a:cxn ang="0">
                <a:pos x="46" y="28"/>
              </a:cxn>
              <a:cxn ang="0">
                <a:pos x="44" y="26"/>
              </a:cxn>
              <a:cxn ang="0">
                <a:pos x="44" y="24"/>
              </a:cxn>
              <a:cxn ang="0">
                <a:pos x="32" y="24"/>
              </a:cxn>
              <a:cxn ang="0">
                <a:pos x="28" y="24"/>
              </a:cxn>
              <a:cxn ang="0">
                <a:pos x="18" y="30"/>
              </a:cxn>
            </a:cxnLst>
            <a:rect l="0" t="0" r="r" b="b"/>
            <a:pathLst>
              <a:path w="74" h="30">
                <a:moveTo>
                  <a:pt x="18" y="30"/>
                </a:moveTo>
                <a:lnTo>
                  <a:pt x="18" y="30"/>
                </a:lnTo>
                <a:lnTo>
                  <a:pt x="18" y="26"/>
                </a:lnTo>
                <a:lnTo>
                  <a:pt x="18" y="24"/>
                </a:lnTo>
                <a:lnTo>
                  <a:pt x="16" y="22"/>
                </a:lnTo>
                <a:lnTo>
                  <a:pt x="14" y="24"/>
                </a:lnTo>
                <a:lnTo>
                  <a:pt x="14" y="24"/>
                </a:lnTo>
                <a:lnTo>
                  <a:pt x="14" y="26"/>
                </a:lnTo>
                <a:lnTo>
                  <a:pt x="12" y="26"/>
                </a:lnTo>
                <a:lnTo>
                  <a:pt x="10" y="24"/>
                </a:lnTo>
                <a:lnTo>
                  <a:pt x="10" y="22"/>
                </a:lnTo>
                <a:lnTo>
                  <a:pt x="10" y="22"/>
                </a:lnTo>
                <a:lnTo>
                  <a:pt x="8" y="20"/>
                </a:lnTo>
                <a:lnTo>
                  <a:pt x="6" y="20"/>
                </a:lnTo>
                <a:lnTo>
                  <a:pt x="4" y="18"/>
                </a:lnTo>
                <a:lnTo>
                  <a:pt x="4" y="16"/>
                </a:lnTo>
                <a:lnTo>
                  <a:pt x="4" y="16"/>
                </a:lnTo>
                <a:lnTo>
                  <a:pt x="6" y="16"/>
                </a:lnTo>
                <a:lnTo>
                  <a:pt x="8" y="14"/>
                </a:lnTo>
                <a:lnTo>
                  <a:pt x="8" y="14"/>
                </a:lnTo>
                <a:lnTo>
                  <a:pt x="2" y="14"/>
                </a:lnTo>
                <a:lnTo>
                  <a:pt x="0" y="12"/>
                </a:lnTo>
                <a:lnTo>
                  <a:pt x="0" y="10"/>
                </a:lnTo>
                <a:lnTo>
                  <a:pt x="0" y="10"/>
                </a:lnTo>
                <a:lnTo>
                  <a:pt x="2" y="8"/>
                </a:lnTo>
                <a:lnTo>
                  <a:pt x="0" y="8"/>
                </a:lnTo>
                <a:lnTo>
                  <a:pt x="0" y="6"/>
                </a:lnTo>
                <a:lnTo>
                  <a:pt x="4" y="6"/>
                </a:lnTo>
                <a:lnTo>
                  <a:pt x="4" y="6"/>
                </a:lnTo>
                <a:lnTo>
                  <a:pt x="8" y="4"/>
                </a:lnTo>
                <a:lnTo>
                  <a:pt x="10" y="4"/>
                </a:lnTo>
                <a:lnTo>
                  <a:pt x="10" y="2"/>
                </a:lnTo>
                <a:lnTo>
                  <a:pt x="14" y="2"/>
                </a:lnTo>
                <a:lnTo>
                  <a:pt x="14" y="2"/>
                </a:lnTo>
                <a:lnTo>
                  <a:pt x="16" y="2"/>
                </a:lnTo>
                <a:lnTo>
                  <a:pt x="16" y="2"/>
                </a:lnTo>
                <a:lnTo>
                  <a:pt x="18" y="0"/>
                </a:lnTo>
                <a:lnTo>
                  <a:pt x="20" y="2"/>
                </a:lnTo>
                <a:lnTo>
                  <a:pt x="20" y="2"/>
                </a:lnTo>
                <a:lnTo>
                  <a:pt x="22" y="2"/>
                </a:lnTo>
                <a:lnTo>
                  <a:pt x="24" y="0"/>
                </a:lnTo>
                <a:lnTo>
                  <a:pt x="24" y="0"/>
                </a:lnTo>
                <a:lnTo>
                  <a:pt x="28" y="0"/>
                </a:lnTo>
                <a:lnTo>
                  <a:pt x="28" y="0"/>
                </a:lnTo>
                <a:lnTo>
                  <a:pt x="30" y="0"/>
                </a:lnTo>
                <a:lnTo>
                  <a:pt x="30" y="0"/>
                </a:lnTo>
                <a:lnTo>
                  <a:pt x="32" y="0"/>
                </a:lnTo>
                <a:lnTo>
                  <a:pt x="34" y="0"/>
                </a:lnTo>
                <a:lnTo>
                  <a:pt x="34" y="0"/>
                </a:lnTo>
                <a:lnTo>
                  <a:pt x="38" y="2"/>
                </a:lnTo>
                <a:lnTo>
                  <a:pt x="38" y="2"/>
                </a:lnTo>
                <a:lnTo>
                  <a:pt x="40" y="0"/>
                </a:lnTo>
                <a:lnTo>
                  <a:pt x="44" y="2"/>
                </a:lnTo>
                <a:lnTo>
                  <a:pt x="44" y="2"/>
                </a:lnTo>
                <a:lnTo>
                  <a:pt x="48" y="6"/>
                </a:lnTo>
                <a:lnTo>
                  <a:pt x="52" y="6"/>
                </a:lnTo>
                <a:lnTo>
                  <a:pt x="56" y="6"/>
                </a:lnTo>
                <a:lnTo>
                  <a:pt x="62" y="6"/>
                </a:lnTo>
                <a:lnTo>
                  <a:pt x="62" y="6"/>
                </a:lnTo>
                <a:lnTo>
                  <a:pt x="68" y="6"/>
                </a:lnTo>
                <a:lnTo>
                  <a:pt x="70" y="4"/>
                </a:lnTo>
                <a:lnTo>
                  <a:pt x="70" y="4"/>
                </a:lnTo>
                <a:lnTo>
                  <a:pt x="74" y="6"/>
                </a:lnTo>
                <a:lnTo>
                  <a:pt x="74" y="8"/>
                </a:lnTo>
                <a:lnTo>
                  <a:pt x="72" y="12"/>
                </a:lnTo>
                <a:lnTo>
                  <a:pt x="72" y="26"/>
                </a:lnTo>
                <a:lnTo>
                  <a:pt x="72" y="26"/>
                </a:lnTo>
                <a:lnTo>
                  <a:pt x="60" y="30"/>
                </a:lnTo>
                <a:lnTo>
                  <a:pt x="60" y="30"/>
                </a:lnTo>
                <a:lnTo>
                  <a:pt x="56" y="28"/>
                </a:lnTo>
                <a:lnTo>
                  <a:pt x="50" y="28"/>
                </a:lnTo>
                <a:lnTo>
                  <a:pt x="46" y="28"/>
                </a:lnTo>
                <a:lnTo>
                  <a:pt x="44" y="28"/>
                </a:lnTo>
                <a:lnTo>
                  <a:pt x="44" y="26"/>
                </a:lnTo>
                <a:lnTo>
                  <a:pt x="44" y="26"/>
                </a:lnTo>
                <a:lnTo>
                  <a:pt x="44" y="24"/>
                </a:lnTo>
                <a:lnTo>
                  <a:pt x="42" y="24"/>
                </a:lnTo>
                <a:lnTo>
                  <a:pt x="32" y="24"/>
                </a:lnTo>
                <a:lnTo>
                  <a:pt x="32" y="24"/>
                </a:lnTo>
                <a:lnTo>
                  <a:pt x="28" y="24"/>
                </a:lnTo>
                <a:lnTo>
                  <a:pt x="24" y="24"/>
                </a:lnTo>
                <a:lnTo>
                  <a:pt x="18" y="30"/>
                </a:lnTo>
                <a:lnTo>
                  <a:pt x="18" y="30"/>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30" name="Finland"/>
          <p:cNvSpPr>
            <a:spLocks/>
          </p:cNvSpPr>
          <p:nvPr/>
        </p:nvSpPr>
        <p:spPr bwMode="auto">
          <a:xfrm>
            <a:off x="4696401" y="1027187"/>
            <a:ext cx="214209" cy="182090"/>
          </a:xfrm>
          <a:custGeom>
            <a:avLst/>
            <a:gdLst/>
            <a:ahLst/>
            <a:cxnLst>
              <a:cxn ang="0">
                <a:pos x="130" y="144"/>
              </a:cxn>
              <a:cxn ang="0">
                <a:pos x="108" y="148"/>
              </a:cxn>
              <a:cxn ang="0">
                <a:pos x="94" y="150"/>
              </a:cxn>
              <a:cxn ang="0">
                <a:pos x="82" y="150"/>
              </a:cxn>
              <a:cxn ang="0">
                <a:pos x="68" y="156"/>
              </a:cxn>
              <a:cxn ang="0">
                <a:pos x="58" y="156"/>
              </a:cxn>
              <a:cxn ang="0">
                <a:pos x="52" y="152"/>
              </a:cxn>
              <a:cxn ang="0">
                <a:pos x="44" y="148"/>
              </a:cxn>
              <a:cxn ang="0">
                <a:pos x="38" y="146"/>
              </a:cxn>
              <a:cxn ang="0">
                <a:pos x="34" y="136"/>
              </a:cxn>
              <a:cxn ang="0">
                <a:pos x="32" y="130"/>
              </a:cxn>
              <a:cxn ang="0">
                <a:pos x="30" y="124"/>
              </a:cxn>
              <a:cxn ang="0">
                <a:pos x="28" y="120"/>
              </a:cxn>
              <a:cxn ang="0">
                <a:pos x="30" y="116"/>
              </a:cxn>
              <a:cxn ang="0">
                <a:pos x="28" y="112"/>
              </a:cxn>
              <a:cxn ang="0">
                <a:pos x="34" y="110"/>
              </a:cxn>
              <a:cxn ang="0">
                <a:pos x="34" y="108"/>
              </a:cxn>
              <a:cxn ang="0">
                <a:pos x="40" y="106"/>
              </a:cxn>
              <a:cxn ang="0">
                <a:pos x="48" y="102"/>
              </a:cxn>
              <a:cxn ang="0">
                <a:pos x="56" y="98"/>
              </a:cxn>
              <a:cxn ang="0">
                <a:pos x="60" y="96"/>
              </a:cxn>
              <a:cxn ang="0">
                <a:pos x="66" y="94"/>
              </a:cxn>
              <a:cxn ang="0">
                <a:pos x="80" y="84"/>
              </a:cxn>
              <a:cxn ang="0">
                <a:pos x="88" y="84"/>
              </a:cxn>
              <a:cxn ang="0">
                <a:pos x="86" y="78"/>
              </a:cxn>
              <a:cxn ang="0">
                <a:pos x="70" y="72"/>
              </a:cxn>
              <a:cxn ang="0">
                <a:pos x="60" y="66"/>
              </a:cxn>
              <a:cxn ang="0">
                <a:pos x="54" y="54"/>
              </a:cxn>
              <a:cxn ang="0">
                <a:pos x="46" y="42"/>
              </a:cxn>
              <a:cxn ang="0">
                <a:pos x="42" y="36"/>
              </a:cxn>
              <a:cxn ang="0">
                <a:pos x="8" y="26"/>
              </a:cxn>
              <a:cxn ang="0">
                <a:pos x="2" y="18"/>
              </a:cxn>
              <a:cxn ang="0">
                <a:pos x="8" y="14"/>
              </a:cxn>
              <a:cxn ang="0">
                <a:pos x="36" y="24"/>
              </a:cxn>
              <a:cxn ang="0">
                <a:pos x="54" y="26"/>
              </a:cxn>
              <a:cxn ang="0">
                <a:pos x="68" y="32"/>
              </a:cxn>
              <a:cxn ang="0">
                <a:pos x="80" y="22"/>
              </a:cxn>
              <a:cxn ang="0">
                <a:pos x="84" y="12"/>
              </a:cxn>
              <a:cxn ang="0">
                <a:pos x="102" y="2"/>
              </a:cxn>
              <a:cxn ang="0">
                <a:pos x="112" y="2"/>
              </a:cxn>
              <a:cxn ang="0">
                <a:pos x="124" y="10"/>
              </a:cxn>
              <a:cxn ang="0">
                <a:pos x="124" y="20"/>
              </a:cxn>
              <a:cxn ang="0">
                <a:pos x="132" y="30"/>
              </a:cxn>
              <a:cxn ang="0">
                <a:pos x="142" y="40"/>
              </a:cxn>
              <a:cxn ang="0">
                <a:pos x="150" y="54"/>
              </a:cxn>
              <a:cxn ang="0">
                <a:pos x="158" y="66"/>
              </a:cxn>
              <a:cxn ang="0">
                <a:pos x="164" y="76"/>
              </a:cxn>
              <a:cxn ang="0">
                <a:pos x="164" y="84"/>
              </a:cxn>
              <a:cxn ang="0">
                <a:pos x="170" y="94"/>
              </a:cxn>
              <a:cxn ang="0">
                <a:pos x="188" y="108"/>
              </a:cxn>
              <a:cxn ang="0">
                <a:pos x="180" y="120"/>
              </a:cxn>
              <a:cxn ang="0">
                <a:pos x="172" y="126"/>
              </a:cxn>
              <a:cxn ang="0">
                <a:pos x="148" y="142"/>
              </a:cxn>
            </a:cxnLst>
            <a:rect l="0" t="0" r="r" b="b"/>
            <a:pathLst>
              <a:path w="188" h="160">
                <a:moveTo>
                  <a:pt x="148" y="146"/>
                </a:moveTo>
                <a:lnTo>
                  <a:pt x="148" y="146"/>
                </a:lnTo>
                <a:lnTo>
                  <a:pt x="138" y="146"/>
                </a:lnTo>
                <a:lnTo>
                  <a:pt x="132" y="146"/>
                </a:lnTo>
                <a:lnTo>
                  <a:pt x="130" y="144"/>
                </a:lnTo>
                <a:lnTo>
                  <a:pt x="126" y="146"/>
                </a:lnTo>
                <a:lnTo>
                  <a:pt x="126" y="146"/>
                </a:lnTo>
                <a:lnTo>
                  <a:pt x="118" y="148"/>
                </a:lnTo>
                <a:lnTo>
                  <a:pt x="112" y="148"/>
                </a:lnTo>
                <a:lnTo>
                  <a:pt x="108" y="148"/>
                </a:lnTo>
                <a:lnTo>
                  <a:pt x="104" y="148"/>
                </a:lnTo>
                <a:lnTo>
                  <a:pt x="104" y="148"/>
                </a:lnTo>
                <a:lnTo>
                  <a:pt x="100" y="150"/>
                </a:lnTo>
                <a:lnTo>
                  <a:pt x="96" y="150"/>
                </a:lnTo>
                <a:lnTo>
                  <a:pt x="94" y="150"/>
                </a:lnTo>
                <a:lnTo>
                  <a:pt x="92" y="152"/>
                </a:lnTo>
                <a:lnTo>
                  <a:pt x="92" y="152"/>
                </a:lnTo>
                <a:lnTo>
                  <a:pt x="90" y="152"/>
                </a:lnTo>
                <a:lnTo>
                  <a:pt x="86" y="152"/>
                </a:lnTo>
                <a:lnTo>
                  <a:pt x="82" y="150"/>
                </a:lnTo>
                <a:lnTo>
                  <a:pt x="78" y="150"/>
                </a:lnTo>
                <a:lnTo>
                  <a:pt x="78" y="150"/>
                </a:lnTo>
                <a:lnTo>
                  <a:pt x="72" y="154"/>
                </a:lnTo>
                <a:lnTo>
                  <a:pt x="70" y="154"/>
                </a:lnTo>
                <a:lnTo>
                  <a:pt x="68" y="156"/>
                </a:lnTo>
                <a:lnTo>
                  <a:pt x="68" y="156"/>
                </a:lnTo>
                <a:lnTo>
                  <a:pt x="62" y="158"/>
                </a:lnTo>
                <a:lnTo>
                  <a:pt x="56" y="160"/>
                </a:lnTo>
                <a:lnTo>
                  <a:pt x="56" y="160"/>
                </a:lnTo>
                <a:lnTo>
                  <a:pt x="58" y="156"/>
                </a:lnTo>
                <a:lnTo>
                  <a:pt x="58" y="154"/>
                </a:lnTo>
                <a:lnTo>
                  <a:pt x="56" y="154"/>
                </a:lnTo>
                <a:lnTo>
                  <a:pt x="56" y="154"/>
                </a:lnTo>
                <a:lnTo>
                  <a:pt x="52" y="154"/>
                </a:lnTo>
                <a:lnTo>
                  <a:pt x="52" y="152"/>
                </a:lnTo>
                <a:lnTo>
                  <a:pt x="52" y="146"/>
                </a:lnTo>
                <a:lnTo>
                  <a:pt x="52" y="146"/>
                </a:lnTo>
                <a:lnTo>
                  <a:pt x="46" y="150"/>
                </a:lnTo>
                <a:lnTo>
                  <a:pt x="44" y="150"/>
                </a:lnTo>
                <a:lnTo>
                  <a:pt x="44" y="148"/>
                </a:lnTo>
                <a:lnTo>
                  <a:pt x="44" y="146"/>
                </a:lnTo>
                <a:lnTo>
                  <a:pt x="42" y="144"/>
                </a:lnTo>
                <a:lnTo>
                  <a:pt x="40" y="144"/>
                </a:lnTo>
                <a:lnTo>
                  <a:pt x="40" y="144"/>
                </a:lnTo>
                <a:lnTo>
                  <a:pt x="38" y="146"/>
                </a:lnTo>
                <a:lnTo>
                  <a:pt x="36" y="144"/>
                </a:lnTo>
                <a:lnTo>
                  <a:pt x="36" y="142"/>
                </a:lnTo>
                <a:lnTo>
                  <a:pt x="36" y="138"/>
                </a:lnTo>
                <a:lnTo>
                  <a:pt x="36" y="138"/>
                </a:lnTo>
                <a:lnTo>
                  <a:pt x="34" y="136"/>
                </a:lnTo>
                <a:lnTo>
                  <a:pt x="34" y="134"/>
                </a:lnTo>
                <a:lnTo>
                  <a:pt x="36" y="134"/>
                </a:lnTo>
                <a:lnTo>
                  <a:pt x="34" y="132"/>
                </a:lnTo>
                <a:lnTo>
                  <a:pt x="34" y="132"/>
                </a:lnTo>
                <a:lnTo>
                  <a:pt x="32" y="130"/>
                </a:lnTo>
                <a:lnTo>
                  <a:pt x="30" y="128"/>
                </a:lnTo>
                <a:lnTo>
                  <a:pt x="30" y="128"/>
                </a:lnTo>
                <a:lnTo>
                  <a:pt x="30" y="126"/>
                </a:lnTo>
                <a:lnTo>
                  <a:pt x="30" y="126"/>
                </a:lnTo>
                <a:lnTo>
                  <a:pt x="30" y="124"/>
                </a:lnTo>
                <a:lnTo>
                  <a:pt x="28" y="124"/>
                </a:lnTo>
                <a:lnTo>
                  <a:pt x="28" y="124"/>
                </a:lnTo>
                <a:lnTo>
                  <a:pt x="28" y="122"/>
                </a:lnTo>
                <a:lnTo>
                  <a:pt x="28" y="122"/>
                </a:lnTo>
                <a:lnTo>
                  <a:pt x="28" y="120"/>
                </a:lnTo>
                <a:lnTo>
                  <a:pt x="28" y="118"/>
                </a:lnTo>
                <a:lnTo>
                  <a:pt x="28" y="118"/>
                </a:lnTo>
                <a:lnTo>
                  <a:pt x="28" y="118"/>
                </a:lnTo>
                <a:lnTo>
                  <a:pt x="28" y="116"/>
                </a:lnTo>
                <a:lnTo>
                  <a:pt x="30" y="116"/>
                </a:lnTo>
                <a:lnTo>
                  <a:pt x="28" y="116"/>
                </a:lnTo>
                <a:lnTo>
                  <a:pt x="28" y="116"/>
                </a:lnTo>
                <a:lnTo>
                  <a:pt x="26" y="114"/>
                </a:lnTo>
                <a:lnTo>
                  <a:pt x="26" y="112"/>
                </a:lnTo>
                <a:lnTo>
                  <a:pt x="28" y="112"/>
                </a:lnTo>
                <a:lnTo>
                  <a:pt x="30" y="112"/>
                </a:lnTo>
                <a:lnTo>
                  <a:pt x="30" y="112"/>
                </a:lnTo>
                <a:lnTo>
                  <a:pt x="32" y="112"/>
                </a:lnTo>
                <a:lnTo>
                  <a:pt x="32" y="112"/>
                </a:lnTo>
                <a:lnTo>
                  <a:pt x="34" y="110"/>
                </a:lnTo>
                <a:lnTo>
                  <a:pt x="32" y="110"/>
                </a:lnTo>
                <a:lnTo>
                  <a:pt x="32" y="110"/>
                </a:lnTo>
                <a:lnTo>
                  <a:pt x="30" y="108"/>
                </a:lnTo>
                <a:lnTo>
                  <a:pt x="32" y="108"/>
                </a:lnTo>
                <a:lnTo>
                  <a:pt x="34" y="108"/>
                </a:lnTo>
                <a:lnTo>
                  <a:pt x="34" y="108"/>
                </a:lnTo>
                <a:lnTo>
                  <a:pt x="38" y="106"/>
                </a:lnTo>
                <a:lnTo>
                  <a:pt x="38" y="106"/>
                </a:lnTo>
                <a:lnTo>
                  <a:pt x="38" y="106"/>
                </a:lnTo>
                <a:lnTo>
                  <a:pt x="40" y="106"/>
                </a:lnTo>
                <a:lnTo>
                  <a:pt x="42" y="104"/>
                </a:lnTo>
                <a:lnTo>
                  <a:pt x="44" y="102"/>
                </a:lnTo>
                <a:lnTo>
                  <a:pt x="46" y="102"/>
                </a:lnTo>
                <a:lnTo>
                  <a:pt x="46" y="102"/>
                </a:lnTo>
                <a:lnTo>
                  <a:pt x="48" y="102"/>
                </a:lnTo>
                <a:lnTo>
                  <a:pt x="50" y="100"/>
                </a:lnTo>
                <a:lnTo>
                  <a:pt x="50" y="98"/>
                </a:lnTo>
                <a:lnTo>
                  <a:pt x="54" y="98"/>
                </a:lnTo>
                <a:lnTo>
                  <a:pt x="54" y="98"/>
                </a:lnTo>
                <a:lnTo>
                  <a:pt x="56" y="98"/>
                </a:lnTo>
                <a:lnTo>
                  <a:pt x="56" y="98"/>
                </a:lnTo>
                <a:lnTo>
                  <a:pt x="58" y="96"/>
                </a:lnTo>
                <a:lnTo>
                  <a:pt x="58" y="96"/>
                </a:lnTo>
                <a:lnTo>
                  <a:pt x="58" y="96"/>
                </a:lnTo>
                <a:lnTo>
                  <a:pt x="60" y="96"/>
                </a:lnTo>
                <a:lnTo>
                  <a:pt x="60" y="94"/>
                </a:lnTo>
                <a:lnTo>
                  <a:pt x="62" y="94"/>
                </a:lnTo>
                <a:lnTo>
                  <a:pt x="64" y="94"/>
                </a:lnTo>
                <a:lnTo>
                  <a:pt x="64" y="94"/>
                </a:lnTo>
                <a:lnTo>
                  <a:pt x="66" y="94"/>
                </a:lnTo>
                <a:lnTo>
                  <a:pt x="68" y="92"/>
                </a:lnTo>
                <a:lnTo>
                  <a:pt x="72" y="90"/>
                </a:lnTo>
                <a:lnTo>
                  <a:pt x="72" y="90"/>
                </a:lnTo>
                <a:lnTo>
                  <a:pt x="76" y="88"/>
                </a:lnTo>
                <a:lnTo>
                  <a:pt x="80" y="84"/>
                </a:lnTo>
                <a:lnTo>
                  <a:pt x="80" y="84"/>
                </a:lnTo>
                <a:lnTo>
                  <a:pt x="82" y="82"/>
                </a:lnTo>
                <a:lnTo>
                  <a:pt x="84" y="84"/>
                </a:lnTo>
                <a:lnTo>
                  <a:pt x="84" y="84"/>
                </a:lnTo>
                <a:lnTo>
                  <a:pt x="88" y="84"/>
                </a:lnTo>
                <a:lnTo>
                  <a:pt x="88" y="84"/>
                </a:lnTo>
                <a:lnTo>
                  <a:pt x="88" y="84"/>
                </a:lnTo>
                <a:lnTo>
                  <a:pt x="88" y="82"/>
                </a:lnTo>
                <a:lnTo>
                  <a:pt x="86" y="80"/>
                </a:lnTo>
                <a:lnTo>
                  <a:pt x="86" y="78"/>
                </a:lnTo>
                <a:lnTo>
                  <a:pt x="86" y="78"/>
                </a:lnTo>
                <a:lnTo>
                  <a:pt x="84" y="76"/>
                </a:lnTo>
                <a:lnTo>
                  <a:pt x="82" y="74"/>
                </a:lnTo>
                <a:lnTo>
                  <a:pt x="76" y="72"/>
                </a:lnTo>
                <a:lnTo>
                  <a:pt x="70" y="72"/>
                </a:lnTo>
                <a:lnTo>
                  <a:pt x="66" y="70"/>
                </a:lnTo>
                <a:lnTo>
                  <a:pt x="66" y="70"/>
                </a:lnTo>
                <a:lnTo>
                  <a:pt x="62" y="68"/>
                </a:lnTo>
                <a:lnTo>
                  <a:pt x="60" y="66"/>
                </a:lnTo>
                <a:lnTo>
                  <a:pt x="60" y="66"/>
                </a:lnTo>
                <a:lnTo>
                  <a:pt x="56" y="64"/>
                </a:lnTo>
                <a:lnTo>
                  <a:pt x="56" y="64"/>
                </a:lnTo>
                <a:lnTo>
                  <a:pt x="56" y="60"/>
                </a:lnTo>
                <a:lnTo>
                  <a:pt x="56" y="56"/>
                </a:lnTo>
                <a:lnTo>
                  <a:pt x="54" y="54"/>
                </a:lnTo>
                <a:lnTo>
                  <a:pt x="50" y="50"/>
                </a:lnTo>
                <a:lnTo>
                  <a:pt x="50" y="50"/>
                </a:lnTo>
                <a:lnTo>
                  <a:pt x="46" y="46"/>
                </a:lnTo>
                <a:lnTo>
                  <a:pt x="46" y="44"/>
                </a:lnTo>
                <a:lnTo>
                  <a:pt x="46" y="42"/>
                </a:lnTo>
                <a:lnTo>
                  <a:pt x="44" y="42"/>
                </a:lnTo>
                <a:lnTo>
                  <a:pt x="44" y="42"/>
                </a:lnTo>
                <a:lnTo>
                  <a:pt x="42" y="40"/>
                </a:lnTo>
                <a:lnTo>
                  <a:pt x="42" y="38"/>
                </a:lnTo>
                <a:lnTo>
                  <a:pt x="42" y="36"/>
                </a:lnTo>
                <a:lnTo>
                  <a:pt x="36" y="32"/>
                </a:lnTo>
                <a:lnTo>
                  <a:pt x="36" y="32"/>
                </a:lnTo>
                <a:lnTo>
                  <a:pt x="28" y="28"/>
                </a:lnTo>
                <a:lnTo>
                  <a:pt x="18" y="28"/>
                </a:lnTo>
                <a:lnTo>
                  <a:pt x="8" y="26"/>
                </a:lnTo>
                <a:lnTo>
                  <a:pt x="4" y="24"/>
                </a:lnTo>
                <a:lnTo>
                  <a:pt x="0" y="20"/>
                </a:lnTo>
                <a:lnTo>
                  <a:pt x="0" y="20"/>
                </a:lnTo>
                <a:lnTo>
                  <a:pt x="2" y="20"/>
                </a:lnTo>
                <a:lnTo>
                  <a:pt x="2" y="18"/>
                </a:lnTo>
                <a:lnTo>
                  <a:pt x="2" y="18"/>
                </a:lnTo>
                <a:lnTo>
                  <a:pt x="2" y="16"/>
                </a:lnTo>
                <a:lnTo>
                  <a:pt x="2" y="16"/>
                </a:lnTo>
                <a:lnTo>
                  <a:pt x="6" y="14"/>
                </a:lnTo>
                <a:lnTo>
                  <a:pt x="8" y="14"/>
                </a:lnTo>
                <a:lnTo>
                  <a:pt x="10" y="16"/>
                </a:lnTo>
                <a:lnTo>
                  <a:pt x="10" y="16"/>
                </a:lnTo>
                <a:lnTo>
                  <a:pt x="14" y="18"/>
                </a:lnTo>
                <a:lnTo>
                  <a:pt x="20" y="20"/>
                </a:lnTo>
                <a:lnTo>
                  <a:pt x="36" y="24"/>
                </a:lnTo>
                <a:lnTo>
                  <a:pt x="36" y="24"/>
                </a:lnTo>
                <a:lnTo>
                  <a:pt x="46" y="26"/>
                </a:lnTo>
                <a:lnTo>
                  <a:pt x="52" y="26"/>
                </a:lnTo>
                <a:lnTo>
                  <a:pt x="54" y="26"/>
                </a:lnTo>
                <a:lnTo>
                  <a:pt x="54" y="26"/>
                </a:lnTo>
                <a:lnTo>
                  <a:pt x="56" y="22"/>
                </a:lnTo>
                <a:lnTo>
                  <a:pt x="58" y="24"/>
                </a:lnTo>
                <a:lnTo>
                  <a:pt x="58" y="24"/>
                </a:lnTo>
                <a:lnTo>
                  <a:pt x="66" y="30"/>
                </a:lnTo>
                <a:lnTo>
                  <a:pt x="68" y="32"/>
                </a:lnTo>
                <a:lnTo>
                  <a:pt x="72" y="30"/>
                </a:lnTo>
                <a:lnTo>
                  <a:pt x="72" y="30"/>
                </a:lnTo>
                <a:lnTo>
                  <a:pt x="74" y="24"/>
                </a:lnTo>
                <a:lnTo>
                  <a:pt x="80" y="22"/>
                </a:lnTo>
                <a:lnTo>
                  <a:pt x="80" y="22"/>
                </a:lnTo>
                <a:lnTo>
                  <a:pt x="82" y="20"/>
                </a:lnTo>
                <a:lnTo>
                  <a:pt x="82" y="18"/>
                </a:lnTo>
                <a:lnTo>
                  <a:pt x="82" y="18"/>
                </a:lnTo>
                <a:lnTo>
                  <a:pt x="80" y="14"/>
                </a:lnTo>
                <a:lnTo>
                  <a:pt x="84" y="12"/>
                </a:lnTo>
                <a:lnTo>
                  <a:pt x="92" y="6"/>
                </a:lnTo>
                <a:lnTo>
                  <a:pt x="92" y="6"/>
                </a:lnTo>
                <a:lnTo>
                  <a:pt x="94" y="4"/>
                </a:lnTo>
                <a:lnTo>
                  <a:pt x="96" y="4"/>
                </a:lnTo>
                <a:lnTo>
                  <a:pt x="102" y="2"/>
                </a:lnTo>
                <a:lnTo>
                  <a:pt x="102" y="2"/>
                </a:lnTo>
                <a:lnTo>
                  <a:pt x="108" y="0"/>
                </a:lnTo>
                <a:lnTo>
                  <a:pt x="110" y="0"/>
                </a:lnTo>
                <a:lnTo>
                  <a:pt x="112" y="2"/>
                </a:lnTo>
                <a:lnTo>
                  <a:pt x="112" y="2"/>
                </a:lnTo>
                <a:lnTo>
                  <a:pt x="112" y="4"/>
                </a:lnTo>
                <a:lnTo>
                  <a:pt x="116" y="6"/>
                </a:lnTo>
                <a:lnTo>
                  <a:pt x="122" y="8"/>
                </a:lnTo>
                <a:lnTo>
                  <a:pt x="122" y="8"/>
                </a:lnTo>
                <a:lnTo>
                  <a:pt x="124" y="10"/>
                </a:lnTo>
                <a:lnTo>
                  <a:pt x="124" y="12"/>
                </a:lnTo>
                <a:lnTo>
                  <a:pt x="122" y="16"/>
                </a:lnTo>
                <a:lnTo>
                  <a:pt x="122" y="18"/>
                </a:lnTo>
                <a:lnTo>
                  <a:pt x="122" y="18"/>
                </a:lnTo>
                <a:lnTo>
                  <a:pt x="124" y="20"/>
                </a:lnTo>
                <a:lnTo>
                  <a:pt x="124" y="22"/>
                </a:lnTo>
                <a:lnTo>
                  <a:pt x="126" y="26"/>
                </a:lnTo>
                <a:lnTo>
                  <a:pt x="126" y="26"/>
                </a:lnTo>
                <a:lnTo>
                  <a:pt x="128" y="30"/>
                </a:lnTo>
                <a:lnTo>
                  <a:pt x="132" y="30"/>
                </a:lnTo>
                <a:lnTo>
                  <a:pt x="134" y="30"/>
                </a:lnTo>
                <a:lnTo>
                  <a:pt x="138" y="34"/>
                </a:lnTo>
                <a:lnTo>
                  <a:pt x="138" y="34"/>
                </a:lnTo>
                <a:lnTo>
                  <a:pt x="142" y="38"/>
                </a:lnTo>
                <a:lnTo>
                  <a:pt x="142" y="40"/>
                </a:lnTo>
                <a:lnTo>
                  <a:pt x="142" y="44"/>
                </a:lnTo>
                <a:lnTo>
                  <a:pt x="142" y="46"/>
                </a:lnTo>
                <a:lnTo>
                  <a:pt x="142" y="48"/>
                </a:lnTo>
                <a:lnTo>
                  <a:pt x="150" y="54"/>
                </a:lnTo>
                <a:lnTo>
                  <a:pt x="150" y="54"/>
                </a:lnTo>
                <a:lnTo>
                  <a:pt x="158" y="60"/>
                </a:lnTo>
                <a:lnTo>
                  <a:pt x="160" y="64"/>
                </a:lnTo>
                <a:lnTo>
                  <a:pt x="160" y="66"/>
                </a:lnTo>
                <a:lnTo>
                  <a:pt x="158" y="66"/>
                </a:lnTo>
                <a:lnTo>
                  <a:pt x="158" y="66"/>
                </a:lnTo>
                <a:lnTo>
                  <a:pt x="156" y="68"/>
                </a:lnTo>
                <a:lnTo>
                  <a:pt x="158" y="70"/>
                </a:lnTo>
                <a:lnTo>
                  <a:pt x="160" y="74"/>
                </a:lnTo>
                <a:lnTo>
                  <a:pt x="164" y="76"/>
                </a:lnTo>
                <a:lnTo>
                  <a:pt x="164" y="76"/>
                </a:lnTo>
                <a:lnTo>
                  <a:pt x="166" y="78"/>
                </a:lnTo>
                <a:lnTo>
                  <a:pt x="162" y="80"/>
                </a:lnTo>
                <a:lnTo>
                  <a:pt x="162" y="82"/>
                </a:lnTo>
                <a:lnTo>
                  <a:pt x="164" y="84"/>
                </a:lnTo>
                <a:lnTo>
                  <a:pt x="164" y="84"/>
                </a:lnTo>
                <a:lnTo>
                  <a:pt x="172" y="88"/>
                </a:lnTo>
                <a:lnTo>
                  <a:pt x="174" y="90"/>
                </a:lnTo>
                <a:lnTo>
                  <a:pt x="174" y="92"/>
                </a:lnTo>
                <a:lnTo>
                  <a:pt x="172" y="94"/>
                </a:lnTo>
                <a:lnTo>
                  <a:pt x="170" y="94"/>
                </a:lnTo>
                <a:lnTo>
                  <a:pt x="170" y="96"/>
                </a:lnTo>
                <a:lnTo>
                  <a:pt x="180" y="100"/>
                </a:lnTo>
                <a:lnTo>
                  <a:pt x="180" y="100"/>
                </a:lnTo>
                <a:lnTo>
                  <a:pt x="188" y="104"/>
                </a:lnTo>
                <a:lnTo>
                  <a:pt x="188" y="108"/>
                </a:lnTo>
                <a:lnTo>
                  <a:pt x="186" y="112"/>
                </a:lnTo>
                <a:lnTo>
                  <a:pt x="182" y="116"/>
                </a:lnTo>
                <a:lnTo>
                  <a:pt x="182" y="116"/>
                </a:lnTo>
                <a:lnTo>
                  <a:pt x="180" y="118"/>
                </a:lnTo>
                <a:lnTo>
                  <a:pt x="180" y="120"/>
                </a:lnTo>
                <a:lnTo>
                  <a:pt x="180" y="122"/>
                </a:lnTo>
                <a:lnTo>
                  <a:pt x="178" y="122"/>
                </a:lnTo>
                <a:lnTo>
                  <a:pt x="178" y="122"/>
                </a:lnTo>
                <a:lnTo>
                  <a:pt x="174" y="122"/>
                </a:lnTo>
                <a:lnTo>
                  <a:pt x="172" y="126"/>
                </a:lnTo>
                <a:lnTo>
                  <a:pt x="168" y="130"/>
                </a:lnTo>
                <a:lnTo>
                  <a:pt x="160" y="134"/>
                </a:lnTo>
                <a:lnTo>
                  <a:pt x="160" y="134"/>
                </a:lnTo>
                <a:lnTo>
                  <a:pt x="152" y="140"/>
                </a:lnTo>
                <a:lnTo>
                  <a:pt x="148" y="142"/>
                </a:lnTo>
                <a:lnTo>
                  <a:pt x="148" y="146"/>
                </a:lnTo>
                <a:lnTo>
                  <a:pt x="148" y="146"/>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31" name="France"/>
          <p:cNvSpPr>
            <a:spLocks/>
          </p:cNvSpPr>
          <p:nvPr/>
        </p:nvSpPr>
        <p:spPr bwMode="auto">
          <a:xfrm>
            <a:off x="4247473" y="1386815"/>
            <a:ext cx="252950" cy="198023"/>
          </a:xfrm>
          <a:custGeom>
            <a:avLst/>
            <a:gdLst/>
            <a:ahLst/>
            <a:cxnLst>
              <a:cxn ang="0">
                <a:pos x="210" y="152"/>
              </a:cxn>
              <a:cxn ang="0">
                <a:pos x="196" y="160"/>
              </a:cxn>
              <a:cxn ang="0">
                <a:pos x="180" y="152"/>
              </a:cxn>
              <a:cxn ang="0">
                <a:pos x="168" y="154"/>
              </a:cxn>
              <a:cxn ang="0">
                <a:pos x="146" y="164"/>
              </a:cxn>
              <a:cxn ang="0">
                <a:pos x="136" y="172"/>
              </a:cxn>
              <a:cxn ang="0">
                <a:pos x="120" y="172"/>
              </a:cxn>
              <a:cxn ang="0">
                <a:pos x="108" y="172"/>
              </a:cxn>
              <a:cxn ang="0">
                <a:pos x="94" y="172"/>
              </a:cxn>
              <a:cxn ang="0">
                <a:pos x="74" y="164"/>
              </a:cxn>
              <a:cxn ang="0">
                <a:pos x="60" y="160"/>
              </a:cxn>
              <a:cxn ang="0">
                <a:pos x="50" y="154"/>
              </a:cxn>
              <a:cxn ang="0">
                <a:pos x="62" y="132"/>
              </a:cxn>
              <a:cxn ang="0">
                <a:pos x="74" y="120"/>
              </a:cxn>
              <a:cxn ang="0">
                <a:pos x="68" y="100"/>
              </a:cxn>
              <a:cxn ang="0">
                <a:pos x="66" y="96"/>
              </a:cxn>
              <a:cxn ang="0">
                <a:pos x="48" y="82"/>
              </a:cxn>
              <a:cxn ang="0">
                <a:pos x="48" y="76"/>
              </a:cxn>
              <a:cxn ang="0">
                <a:pos x="44" y="72"/>
              </a:cxn>
              <a:cxn ang="0">
                <a:pos x="36" y="66"/>
              </a:cxn>
              <a:cxn ang="0">
                <a:pos x="26" y="66"/>
              </a:cxn>
              <a:cxn ang="0">
                <a:pos x="8" y="62"/>
              </a:cxn>
              <a:cxn ang="0">
                <a:pos x="4" y="56"/>
              </a:cxn>
              <a:cxn ang="0">
                <a:pos x="6" y="52"/>
              </a:cxn>
              <a:cxn ang="0">
                <a:pos x="0" y="46"/>
              </a:cxn>
              <a:cxn ang="0">
                <a:pos x="16" y="44"/>
              </a:cxn>
              <a:cxn ang="0">
                <a:pos x="30" y="44"/>
              </a:cxn>
              <a:cxn ang="0">
                <a:pos x="40" y="44"/>
              </a:cxn>
              <a:cxn ang="0">
                <a:pos x="54" y="46"/>
              </a:cxn>
              <a:cxn ang="0">
                <a:pos x="54" y="34"/>
              </a:cxn>
              <a:cxn ang="0">
                <a:pos x="54" y="24"/>
              </a:cxn>
              <a:cxn ang="0">
                <a:pos x="64" y="30"/>
              </a:cxn>
              <a:cxn ang="0">
                <a:pos x="72" y="32"/>
              </a:cxn>
              <a:cxn ang="0">
                <a:pos x="86" y="30"/>
              </a:cxn>
              <a:cxn ang="0">
                <a:pos x="92" y="22"/>
              </a:cxn>
              <a:cxn ang="0">
                <a:pos x="112" y="14"/>
              </a:cxn>
              <a:cxn ang="0">
                <a:pos x="116" y="4"/>
              </a:cxn>
              <a:cxn ang="0">
                <a:pos x="132" y="4"/>
              </a:cxn>
              <a:cxn ang="0">
                <a:pos x="148" y="10"/>
              </a:cxn>
              <a:cxn ang="0">
                <a:pos x="156" y="18"/>
              </a:cxn>
              <a:cxn ang="0">
                <a:pos x="162" y="16"/>
              </a:cxn>
              <a:cxn ang="0">
                <a:pos x="170" y="28"/>
              </a:cxn>
              <a:cxn ang="0">
                <a:pos x="176" y="26"/>
              </a:cxn>
              <a:cxn ang="0">
                <a:pos x="194" y="30"/>
              </a:cxn>
              <a:cxn ang="0">
                <a:pos x="214" y="38"/>
              </a:cxn>
              <a:cxn ang="0">
                <a:pos x="214" y="56"/>
              </a:cxn>
              <a:cxn ang="0">
                <a:pos x="212" y="68"/>
              </a:cxn>
              <a:cxn ang="0">
                <a:pos x="204" y="70"/>
              </a:cxn>
              <a:cxn ang="0">
                <a:pos x="192" y="80"/>
              </a:cxn>
              <a:cxn ang="0">
                <a:pos x="194" y="94"/>
              </a:cxn>
              <a:cxn ang="0">
                <a:pos x="206" y="98"/>
              </a:cxn>
              <a:cxn ang="0">
                <a:pos x="210" y="110"/>
              </a:cxn>
              <a:cxn ang="0">
                <a:pos x="206" y="118"/>
              </a:cxn>
              <a:cxn ang="0">
                <a:pos x="210" y="132"/>
              </a:cxn>
              <a:cxn ang="0">
                <a:pos x="222" y="140"/>
              </a:cxn>
            </a:cxnLst>
            <a:rect l="0" t="0" r="r" b="b"/>
            <a:pathLst>
              <a:path w="222" h="174">
                <a:moveTo>
                  <a:pt x="220" y="146"/>
                </a:moveTo>
                <a:lnTo>
                  <a:pt x="220" y="146"/>
                </a:lnTo>
                <a:lnTo>
                  <a:pt x="214" y="148"/>
                </a:lnTo>
                <a:lnTo>
                  <a:pt x="214" y="148"/>
                </a:lnTo>
                <a:lnTo>
                  <a:pt x="210" y="150"/>
                </a:lnTo>
                <a:lnTo>
                  <a:pt x="210" y="152"/>
                </a:lnTo>
                <a:lnTo>
                  <a:pt x="210" y="152"/>
                </a:lnTo>
                <a:lnTo>
                  <a:pt x="208" y="152"/>
                </a:lnTo>
                <a:lnTo>
                  <a:pt x="204" y="156"/>
                </a:lnTo>
                <a:lnTo>
                  <a:pt x="204" y="156"/>
                </a:lnTo>
                <a:lnTo>
                  <a:pt x="200" y="160"/>
                </a:lnTo>
                <a:lnTo>
                  <a:pt x="196" y="160"/>
                </a:lnTo>
                <a:lnTo>
                  <a:pt x="196" y="160"/>
                </a:lnTo>
                <a:lnTo>
                  <a:pt x="196" y="160"/>
                </a:lnTo>
                <a:lnTo>
                  <a:pt x="194" y="160"/>
                </a:lnTo>
                <a:lnTo>
                  <a:pt x="190" y="156"/>
                </a:lnTo>
                <a:lnTo>
                  <a:pt x="190" y="156"/>
                </a:lnTo>
                <a:lnTo>
                  <a:pt x="186" y="154"/>
                </a:lnTo>
                <a:lnTo>
                  <a:pt x="182" y="154"/>
                </a:lnTo>
                <a:lnTo>
                  <a:pt x="182" y="154"/>
                </a:lnTo>
                <a:lnTo>
                  <a:pt x="180" y="152"/>
                </a:lnTo>
                <a:lnTo>
                  <a:pt x="180" y="152"/>
                </a:lnTo>
                <a:lnTo>
                  <a:pt x="178" y="150"/>
                </a:lnTo>
                <a:lnTo>
                  <a:pt x="176" y="150"/>
                </a:lnTo>
                <a:lnTo>
                  <a:pt x="176" y="150"/>
                </a:lnTo>
                <a:lnTo>
                  <a:pt x="172" y="152"/>
                </a:lnTo>
                <a:lnTo>
                  <a:pt x="168" y="154"/>
                </a:lnTo>
                <a:lnTo>
                  <a:pt x="168" y="154"/>
                </a:lnTo>
                <a:lnTo>
                  <a:pt x="162" y="154"/>
                </a:lnTo>
                <a:lnTo>
                  <a:pt x="160" y="154"/>
                </a:lnTo>
                <a:lnTo>
                  <a:pt x="160" y="154"/>
                </a:lnTo>
                <a:lnTo>
                  <a:pt x="156" y="156"/>
                </a:lnTo>
                <a:lnTo>
                  <a:pt x="150" y="162"/>
                </a:lnTo>
                <a:lnTo>
                  <a:pt x="150" y="162"/>
                </a:lnTo>
                <a:lnTo>
                  <a:pt x="146" y="164"/>
                </a:lnTo>
                <a:lnTo>
                  <a:pt x="144" y="168"/>
                </a:lnTo>
                <a:lnTo>
                  <a:pt x="144" y="168"/>
                </a:lnTo>
                <a:lnTo>
                  <a:pt x="142" y="170"/>
                </a:lnTo>
                <a:lnTo>
                  <a:pt x="142" y="172"/>
                </a:lnTo>
                <a:lnTo>
                  <a:pt x="142" y="172"/>
                </a:lnTo>
                <a:lnTo>
                  <a:pt x="140" y="170"/>
                </a:lnTo>
                <a:lnTo>
                  <a:pt x="136" y="172"/>
                </a:lnTo>
                <a:lnTo>
                  <a:pt x="136" y="172"/>
                </a:lnTo>
                <a:lnTo>
                  <a:pt x="130" y="172"/>
                </a:lnTo>
                <a:lnTo>
                  <a:pt x="128" y="172"/>
                </a:lnTo>
                <a:lnTo>
                  <a:pt x="126" y="174"/>
                </a:lnTo>
                <a:lnTo>
                  <a:pt x="126" y="174"/>
                </a:lnTo>
                <a:lnTo>
                  <a:pt x="124" y="174"/>
                </a:lnTo>
                <a:lnTo>
                  <a:pt x="120" y="172"/>
                </a:lnTo>
                <a:lnTo>
                  <a:pt x="118" y="172"/>
                </a:lnTo>
                <a:lnTo>
                  <a:pt x="114" y="174"/>
                </a:lnTo>
                <a:lnTo>
                  <a:pt x="114" y="174"/>
                </a:lnTo>
                <a:lnTo>
                  <a:pt x="112" y="174"/>
                </a:lnTo>
                <a:lnTo>
                  <a:pt x="110" y="174"/>
                </a:lnTo>
                <a:lnTo>
                  <a:pt x="108" y="174"/>
                </a:lnTo>
                <a:lnTo>
                  <a:pt x="108" y="172"/>
                </a:lnTo>
                <a:lnTo>
                  <a:pt x="108" y="172"/>
                </a:lnTo>
                <a:lnTo>
                  <a:pt x="106" y="172"/>
                </a:lnTo>
                <a:lnTo>
                  <a:pt x="102" y="170"/>
                </a:lnTo>
                <a:lnTo>
                  <a:pt x="98" y="168"/>
                </a:lnTo>
                <a:lnTo>
                  <a:pt x="96" y="168"/>
                </a:lnTo>
                <a:lnTo>
                  <a:pt x="96" y="168"/>
                </a:lnTo>
                <a:lnTo>
                  <a:pt x="94" y="172"/>
                </a:lnTo>
                <a:lnTo>
                  <a:pt x="94" y="172"/>
                </a:lnTo>
                <a:lnTo>
                  <a:pt x="90" y="172"/>
                </a:lnTo>
                <a:lnTo>
                  <a:pt x="90" y="172"/>
                </a:lnTo>
                <a:lnTo>
                  <a:pt x="86" y="170"/>
                </a:lnTo>
                <a:lnTo>
                  <a:pt x="80" y="168"/>
                </a:lnTo>
                <a:lnTo>
                  <a:pt x="80" y="168"/>
                </a:lnTo>
                <a:lnTo>
                  <a:pt x="74" y="164"/>
                </a:lnTo>
                <a:lnTo>
                  <a:pt x="70" y="164"/>
                </a:lnTo>
                <a:lnTo>
                  <a:pt x="70" y="164"/>
                </a:lnTo>
                <a:lnTo>
                  <a:pt x="66" y="164"/>
                </a:lnTo>
                <a:lnTo>
                  <a:pt x="64" y="162"/>
                </a:lnTo>
                <a:lnTo>
                  <a:pt x="62" y="160"/>
                </a:lnTo>
                <a:lnTo>
                  <a:pt x="60" y="160"/>
                </a:lnTo>
                <a:lnTo>
                  <a:pt x="60" y="160"/>
                </a:lnTo>
                <a:lnTo>
                  <a:pt x="56" y="160"/>
                </a:lnTo>
                <a:lnTo>
                  <a:pt x="56" y="158"/>
                </a:lnTo>
                <a:lnTo>
                  <a:pt x="56" y="156"/>
                </a:lnTo>
                <a:lnTo>
                  <a:pt x="54" y="156"/>
                </a:lnTo>
                <a:lnTo>
                  <a:pt x="54" y="156"/>
                </a:lnTo>
                <a:lnTo>
                  <a:pt x="52" y="156"/>
                </a:lnTo>
                <a:lnTo>
                  <a:pt x="50" y="154"/>
                </a:lnTo>
                <a:lnTo>
                  <a:pt x="50" y="154"/>
                </a:lnTo>
                <a:lnTo>
                  <a:pt x="54" y="154"/>
                </a:lnTo>
                <a:lnTo>
                  <a:pt x="56" y="150"/>
                </a:lnTo>
                <a:lnTo>
                  <a:pt x="56" y="150"/>
                </a:lnTo>
                <a:lnTo>
                  <a:pt x="58" y="142"/>
                </a:lnTo>
                <a:lnTo>
                  <a:pt x="62" y="132"/>
                </a:lnTo>
                <a:lnTo>
                  <a:pt x="62" y="132"/>
                </a:lnTo>
                <a:lnTo>
                  <a:pt x="64" y="126"/>
                </a:lnTo>
                <a:lnTo>
                  <a:pt x="66" y="116"/>
                </a:lnTo>
                <a:lnTo>
                  <a:pt x="66" y="116"/>
                </a:lnTo>
                <a:lnTo>
                  <a:pt x="68" y="114"/>
                </a:lnTo>
                <a:lnTo>
                  <a:pt x="70" y="114"/>
                </a:lnTo>
                <a:lnTo>
                  <a:pt x="74" y="120"/>
                </a:lnTo>
                <a:lnTo>
                  <a:pt x="74" y="120"/>
                </a:lnTo>
                <a:lnTo>
                  <a:pt x="72" y="114"/>
                </a:lnTo>
                <a:lnTo>
                  <a:pt x="70" y="112"/>
                </a:lnTo>
                <a:lnTo>
                  <a:pt x="68" y="110"/>
                </a:lnTo>
                <a:lnTo>
                  <a:pt x="68" y="106"/>
                </a:lnTo>
                <a:lnTo>
                  <a:pt x="68" y="106"/>
                </a:lnTo>
                <a:lnTo>
                  <a:pt x="70" y="102"/>
                </a:lnTo>
                <a:lnTo>
                  <a:pt x="68" y="100"/>
                </a:lnTo>
                <a:lnTo>
                  <a:pt x="68" y="100"/>
                </a:lnTo>
                <a:lnTo>
                  <a:pt x="68" y="98"/>
                </a:lnTo>
                <a:lnTo>
                  <a:pt x="68" y="96"/>
                </a:lnTo>
                <a:lnTo>
                  <a:pt x="70" y="94"/>
                </a:lnTo>
                <a:lnTo>
                  <a:pt x="68" y="96"/>
                </a:lnTo>
                <a:lnTo>
                  <a:pt x="68" y="96"/>
                </a:lnTo>
                <a:lnTo>
                  <a:pt x="66" y="96"/>
                </a:lnTo>
                <a:lnTo>
                  <a:pt x="66" y="96"/>
                </a:lnTo>
                <a:lnTo>
                  <a:pt x="62" y="92"/>
                </a:lnTo>
                <a:lnTo>
                  <a:pt x="62" y="92"/>
                </a:lnTo>
                <a:lnTo>
                  <a:pt x="56" y="90"/>
                </a:lnTo>
                <a:lnTo>
                  <a:pt x="52" y="88"/>
                </a:lnTo>
                <a:lnTo>
                  <a:pt x="52" y="88"/>
                </a:lnTo>
                <a:lnTo>
                  <a:pt x="48" y="82"/>
                </a:lnTo>
                <a:lnTo>
                  <a:pt x="48" y="82"/>
                </a:lnTo>
                <a:lnTo>
                  <a:pt x="48" y="80"/>
                </a:lnTo>
                <a:lnTo>
                  <a:pt x="48" y="80"/>
                </a:lnTo>
                <a:lnTo>
                  <a:pt x="48" y="78"/>
                </a:lnTo>
                <a:lnTo>
                  <a:pt x="48" y="78"/>
                </a:lnTo>
                <a:lnTo>
                  <a:pt x="48" y="78"/>
                </a:lnTo>
                <a:lnTo>
                  <a:pt x="48" y="76"/>
                </a:lnTo>
                <a:lnTo>
                  <a:pt x="48" y="76"/>
                </a:lnTo>
                <a:lnTo>
                  <a:pt x="50" y="76"/>
                </a:lnTo>
                <a:lnTo>
                  <a:pt x="48" y="74"/>
                </a:lnTo>
                <a:lnTo>
                  <a:pt x="48" y="74"/>
                </a:lnTo>
                <a:lnTo>
                  <a:pt x="44" y="74"/>
                </a:lnTo>
                <a:lnTo>
                  <a:pt x="44" y="72"/>
                </a:lnTo>
                <a:lnTo>
                  <a:pt x="44" y="72"/>
                </a:lnTo>
                <a:lnTo>
                  <a:pt x="44" y="72"/>
                </a:lnTo>
                <a:lnTo>
                  <a:pt x="44" y="70"/>
                </a:lnTo>
                <a:lnTo>
                  <a:pt x="44" y="70"/>
                </a:lnTo>
                <a:lnTo>
                  <a:pt x="40" y="68"/>
                </a:lnTo>
                <a:lnTo>
                  <a:pt x="40" y="68"/>
                </a:lnTo>
                <a:lnTo>
                  <a:pt x="38" y="66"/>
                </a:lnTo>
                <a:lnTo>
                  <a:pt x="36" y="66"/>
                </a:lnTo>
                <a:lnTo>
                  <a:pt x="34" y="66"/>
                </a:lnTo>
                <a:lnTo>
                  <a:pt x="34" y="66"/>
                </a:lnTo>
                <a:lnTo>
                  <a:pt x="32" y="66"/>
                </a:lnTo>
                <a:lnTo>
                  <a:pt x="30" y="68"/>
                </a:lnTo>
                <a:lnTo>
                  <a:pt x="28" y="68"/>
                </a:lnTo>
                <a:lnTo>
                  <a:pt x="26" y="66"/>
                </a:lnTo>
                <a:lnTo>
                  <a:pt x="26" y="66"/>
                </a:lnTo>
                <a:lnTo>
                  <a:pt x="24" y="64"/>
                </a:lnTo>
                <a:lnTo>
                  <a:pt x="18" y="62"/>
                </a:lnTo>
                <a:lnTo>
                  <a:pt x="18" y="62"/>
                </a:lnTo>
                <a:lnTo>
                  <a:pt x="16" y="60"/>
                </a:lnTo>
                <a:lnTo>
                  <a:pt x="14" y="60"/>
                </a:lnTo>
                <a:lnTo>
                  <a:pt x="12" y="62"/>
                </a:lnTo>
                <a:lnTo>
                  <a:pt x="8" y="62"/>
                </a:lnTo>
                <a:lnTo>
                  <a:pt x="8" y="62"/>
                </a:lnTo>
                <a:lnTo>
                  <a:pt x="6" y="60"/>
                </a:lnTo>
                <a:lnTo>
                  <a:pt x="6" y="58"/>
                </a:lnTo>
                <a:lnTo>
                  <a:pt x="6" y="58"/>
                </a:lnTo>
                <a:lnTo>
                  <a:pt x="4" y="56"/>
                </a:lnTo>
                <a:lnTo>
                  <a:pt x="4" y="56"/>
                </a:lnTo>
                <a:lnTo>
                  <a:pt x="4" y="56"/>
                </a:lnTo>
                <a:lnTo>
                  <a:pt x="4" y="54"/>
                </a:lnTo>
                <a:lnTo>
                  <a:pt x="8" y="54"/>
                </a:lnTo>
                <a:lnTo>
                  <a:pt x="8" y="54"/>
                </a:lnTo>
                <a:lnTo>
                  <a:pt x="8" y="54"/>
                </a:lnTo>
                <a:lnTo>
                  <a:pt x="8" y="52"/>
                </a:lnTo>
                <a:lnTo>
                  <a:pt x="6" y="52"/>
                </a:lnTo>
                <a:lnTo>
                  <a:pt x="6" y="52"/>
                </a:lnTo>
                <a:lnTo>
                  <a:pt x="6" y="52"/>
                </a:lnTo>
                <a:lnTo>
                  <a:pt x="6" y="52"/>
                </a:lnTo>
                <a:lnTo>
                  <a:pt x="6" y="50"/>
                </a:lnTo>
                <a:lnTo>
                  <a:pt x="0" y="50"/>
                </a:lnTo>
                <a:lnTo>
                  <a:pt x="0" y="50"/>
                </a:lnTo>
                <a:lnTo>
                  <a:pt x="0" y="48"/>
                </a:lnTo>
                <a:lnTo>
                  <a:pt x="0" y="46"/>
                </a:lnTo>
                <a:lnTo>
                  <a:pt x="0" y="46"/>
                </a:lnTo>
                <a:lnTo>
                  <a:pt x="4" y="46"/>
                </a:lnTo>
                <a:lnTo>
                  <a:pt x="8" y="46"/>
                </a:lnTo>
                <a:lnTo>
                  <a:pt x="8" y="46"/>
                </a:lnTo>
                <a:lnTo>
                  <a:pt x="14" y="44"/>
                </a:lnTo>
                <a:lnTo>
                  <a:pt x="16" y="44"/>
                </a:lnTo>
                <a:lnTo>
                  <a:pt x="16" y="44"/>
                </a:lnTo>
                <a:lnTo>
                  <a:pt x="18" y="42"/>
                </a:lnTo>
                <a:lnTo>
                  <a:pt x="22" y="42"/>
                </a:lnTo>
                <a:lnTo>
                  <a:pt x="22" y="42"/>
                </a:lnTo>
                <a:lnTo>
                  <a:pt x="26" y="40"/>
                </a:lnTo>
                <a:lnTo>
                  <a:pt x="28" y="42"/>
                </a:lnTo>
                <a:lnTo>
                  <a:pt x="28" y="42"/>
                </a:lnTo>
                <a:lnTo>
                  <a:pt x="30" y="44"/>
                </a:lnTo>
                <a:lnTo>
                  <a:pt x="30" y="46"/>
                </a:lnTo>
                <a:lnTo>
                  <a:pt x="32" y="46"/>
                </a:lnTo>
                <a:lnTo>
                  <a:pt x="32" y="46"/>
                </a:lnTo>
                <a:lnTo>
                  <a:pt x="36" y="44"/>
                </a:lnTo>
                <a:lnTo>
                  <a:pt x="38" y="44"/>
                </a:lnTo>
                <a:lnTo>
                  <a:pt x="38" y="44"/>
                </a:lnTo>
                <a:lnTo>
                  <a:pt x="40" y="44"/>
                </a:lnTo>
                <a:lnTo>
                  <a:pt x="44" y="44"/>
                </a:lnTo>
                <a:lnTo>
                  <a:pt x="44" y="44"/>
                </a:lnTo>
                <a:lnTo>
                  <a:pt x="48" y="46"/>
                </a:lnTo>
                <a:lnTo>
                  <a:pt x="52" y="46"/>
                </a:lnTo>
                <a:lnTo>
                  <a:pt x="52" y="46"/>
                </a:lnTo>
                <a:lnTo>
                  <a:pt x="54" y="46"/>
                </a:lnTo>
                <a:lnTo>
                  <a:pt x="54" y="46"/>
                </a:lnTo>
                <a:lnTo>
                  <a:pt x="52" y="44"/>
                </a:lnTo>
                <a:lnTo>
                  <a:pt x="52" y="42"/>
                </a:lnTo>
                <a:lnTo>
                  <a:pt x="52" y="42"/>
                </a:lnTo>
                <a:lnTo>
                  <a:pt x="54" y="40"/>
                </a:lnTo>
                <a:lnTo>
                  <a:pt x="54" y="36"/>
                </a:lnTo>
                <a:lnTo>
                  <a:pt x="54" y="36"/>
                </a:lnTo>
                <a:lnTo>
                  <a:pt x="54" y="34"/>
                </a:lnTo>
                <a:lnTo>
                  <a:pt x="52" y="30"/>
                </a:lnTo>
                <a:lnTo>
                  <a:pt x="52" y="30"/>
                </a:lnTo>
                <a:lnTo>
                  <a:pt x="50" y="24"/>
                </a:lnTo>
                <a:lnTo>
                  <a:pt x="50" y="24"/>
                </a:lnTo>
                <a:lnTo>
                  <a:pt x="50" y="24"/>
                </a:lnTo>
                <a:lnTo>
                  <a:pt x="52" y="22"/>
                </a:lnTo>
                <a:lnTo>
                  <a:pt x="54" y="24"/>
                </a:lnTo>
                <a:lnTo>
                  <a:pt x="54" y="24"/>
                </a:lnTo>
                <a:lnTo>
                  <a:pt x="58" y="24"/>
                </a:lnTo>
                <a:lnTo>
                  <a:pt x="60" y="24"/>
                </a:lnTo>
                <a:lnTo>
                  <a:pt x="60" y="24"/>
                </a:lnTo>
                <a:lnTo>
                  <a:pt x="60" y="24"/>
                </a:lnTo>
                <a:lnTo>
                  <a:pt x="62" y="28"/>
                </a:lnTo>
                <a:lnTo>
                  <a:pt x="64" y="30"/>
                </a:lnTo>
                <a:lnTo>
                  <a:pt x="64" y="30"/>
                </a:lnTo>
                <a:lnTo>
                  <a:pt x="64" y="34"/>
                </a:lnTo>
                <a:lnTo>
                  <a:pt x="66" y="34"/>
                </a:lnTo>
                <a:lnTo>
                  <a:pt x="68" y="34"/>
                </a:lnTo>
                <a:lnTo>
                  <a:pt x="68" y="34"/>
                </a:lnTo>
                <a:lnTo>
                  <a:pt x="70" y="32"/>
                </a:lnTo>
                <a:lnTo>
                  <a:pt x="72" y="32"/>
                </a:lnTo>
                <a:lnTo>
                  <a:pt x="72" y="32"/>
                </a:lnTo>
                <a:lnTo>
                  <a:pt x="74" y="32"/>
                </a:lnTo>
                <a:lnTo>
                  <a:pt x="76" y="32"/>
                </a:lnTo>
                <a:lnTo>
                  <a:pt x="78" y="30"/>
                </a:lnTo>
                <a:lnTo>
                  <a:pt x="82" y="30"/>
                </a:lnTo>
                <a:lnTo>
                  <a:pt x="82" y="30"/>
                </a:lnTo>
                <a:lnTo>
                  <a:pt x="86" y="30"/>
                </a:lnTo>
                <a:lnTo>
                  <a:pt x="84" y="28"/>
                </a:lnTo>
                <a:lnTo>
                  <a:pt x="84" y="28"/>
                </a:lnTo>
                <a:lnTo>
                  <a:pt x="84" y="26"/>
                </a:lnTo>
                <a:lnTo>
                  <a:pt x="86" y="24"/>
                </a:lnTo>
                <a:lnTo>
                  <a:pt x="86" y="24"/>
                </a:lnTo>
                <a:lnTo>
                  <a:pt x="88" y="24"/>
                </a:lnTo>
                <a:lnTo>
                  <a:pt x="92" y="22"/>
                </a:lnTo>
                <a:lnTo>
                  <a:pt x="92" y="22"/>
                </a:lnTo>
                <a:lnTo>
                  <a:pt x="100" y="20"/>
                </a:lnTo>
                <a:lnTo>
                  <a:pt x="100" y="20"/>
                </a:lnTo>
                <a:lnTo>
                  <a:pt x="108" y="18"/>
                </a:lnTo>
                <a:lnTo>
                  <a:pt x="110" y="18"/>
                </a:lnTo>
                <a:lnTo>
                  <a:pt x="112" y="14"/>
                </a:lnTo>
                <a:lnTo>
                  <a:pt x="112" y="14"/>
                </a:lnTo>
                <a:lnTo>
                  <a:pt x="112" y="12"/>
                </a:lnTo>
                <a:lnTo>
                  <a:pt x="112" y="10"/>
                </a:lnTo>
                <a:lnTo>
                  <a:pt x="112" y="10"/>
                </a:lnTo>
                <a:lnTo>
                  <a:pt x="114" y="8"/>
                </a:lnTo>
                <a:lnTo>
                  <a:pt x="116" y="6"/>
                </a:lnTo>
                <a:lnTo>
                  <a:pt x="116" y="6"/>
                </a:lnTo>
                <a:lnTo>
                  <a:pt x="116" y="4"/>
                </a:lnTo>
                <a:lnTo>
                  <a:pt x="116" y="2"/>
                </a:lnTo>
                <a:lnTo>
                  <a:pt x="118" y="2"/>
                </a:lnTo>
                <a:lnTo>
                  <a:pt x="118" y="2"/>
                </a:lnTo>
                <a:lnTo>
                  <a:pt x="128" y="0"/>
                </a:lnTo>
                <a:lnTo>
                  <a:pt x="128" y="0"/>
                </a:lnTo>
                <a:lnTo>
                  <a:pt x="130" y="2"/>
                </a:lnTo>
                <a:lnTo>
                  <a:pt x="132" y="4"/>
                </a:lnTo>
                <a:lnTo>
                  <a:pt x="136" y="4"/>
                </a:lnTo>
                <a:lnTo>
                  <a:pt x="136" y="4"/>
                </a:lnTo>
                <a:lnTo>
                  <a:pt x="140" y="6"/>
                </a:lnTo>
                <a:lnTo>
                  <a:pt x="142" y="8"/>
                </a:lnTo>
                <a:lnTo>
                  <a:pt x="142" y="8"/>
                </a:lnTo>
                <a:lnTo>
                  <a:pt x="146" y="10"/>
                </a:lnTo>
                <a:lnTo>
                  <a:pt x="148" y="10"/>
                </a:lnTo>
                <a:lnTo>
                  <a:pt x="148" y="10"/>
                </a:lnTo>
                <a:lnTo>
                  <a:pt x="152" y="12"/>
                </a:lnTo>
                <a:lnTo>
                  <a:pt x="152" y="16"/>
                </a:lnTo>
                <a:lnTo>
                  <a:pt x="152" y="16"/>
                </a:lnTo>
                <a:lnTo>
                  <a:pt x="152" y="18"/>
                </a:lnTo>
                <a:lnTo>
                  <a:pt x="156" y="18"/>
                </a:lnTo>
                <a:lnTo>
                  <a:pt x="156" y="18"/>
                </a:lnTo>
                <a:lnTo>
                  <a:pt x="158" y="18"/>
                </a:lnTo>
                <a:lnTo>
                  <a:pt x="160" y="14"/>
                </a:lnTo>
                <a:lnTo>
                  <a:pt x="160" y="14"/>
                </a:lnTo>
                <a:lnTo>
                  <a:pt x="162" y="14"/>
                </a:lnTo>
                <a:lnTo>
                  <a:pt x="162" y="14"/>
                </a:lnTo>
                <a:lnTo>
                  <a:pt x="162" y="16"/>
                </a:lnTo>
                <a:lnTo>
                  <a:pt x="162" y="16"/>
                </a:lnTo>
                <a:lnTo>
                  <a:pt x="162" y="20"/>
                </a:lnTo>
                <a:lnTo>
                  <a:pt x="162" y="22"/>
                </a:lnTo>
                <a:lnTo>
                  <a:pt x="164" y="24"/>
                </a:lnTo>
                <a:lnTo>
                  <a:pt x="164" y="24"/>
                </a:lnTo>
                <a:lnTo>
                  <a:pt x="166" y="24"/>
                </a:lnTo>
                <a:lnTo>
                  <a:pt x="168" y="26"/>
                </a:lnTo>
                <a:lnTo>
                  <a:pt x="170" y="28"/>
                </a:lnTo>
                <a:lnTo>
                  <a:pt x="170" y="28"/>
                </a:lnTo>
                <a:lnTo>
                  <a:pt x="170" y="28"/>
                </a:lnTo>
                <a:lnTo>
                  <a:pt x="172" y="28"/>
                </a:lnTo>
                <a:lnTo>
                  <a:pt x="172" y="28"/>
                </a:lnTo>
                <a:lnTo>
                  <a:pt x="174" y="26"/>
                </a:lnTo>
                <a:lnTo>
                  <a:pt x="174" y="26"/>
                </a:lnTo>
                <a:lnTo>
                  <a:pt x="176" y="26"/>
                </a:lnTo>
                <a:lnTo>
                  <a:pt x="176" y="26"/>
                </a:lnTo>
                <a:lnTo>
                  <a:pt x="178" y="26"/>
                </a:lnTo>
                <a:lnTo>
                  <a:pt x="180" y="28"/>
                </a:lnTo>
                <a:lnTo>
                  <a:pt x="180" y="28"/>
                </a:lnTo>
                <a:lnTo>
                  <a:pt x="188" y="28"/>
                </a:lnTo>
                <a:lnTo>
                  <a:pt x="188" y="28"/>
                </a:lnTo>
                <a:lnTo>
                  <a:pt x="194" y="30"/>
                </a:lnTo>
                <a:lnTo>
                  <a:pt x="194" y="30"/>
                </a:lnTo>
                <a:lnTo>
                  <a:pt x="198" y="34"/>
                </a:lnTo>
                <a:lnTo>
                  <a:pt x="200" y="36"/>
                </a:lnTo>
                <a:lnTo>
                  <a:pt x="202" y="36"/>
                </a:lnTo>
                <a:lnTo>
                  <a:pt x="202" y="36"/>
                </a:lnTo>
                <a:lnTo>
                  <a:pt x="208" y="36"/>
                </a:lnTo>
                <a:lnTo>
                  <a:pt x="214" y="38"/>
                </a:lnTo>
                <a:lnTo>
                  <a:pt x="214" y="38"/>
                </a:lnTo>
                <a:lnTo>
                  <a:pt x="220" y="40"/>
                </a:lnTo>
                <a:lnTo>
                  <a:pt x="220" y="40"/>
                </a:lnTo>
                <a:lnTo>
                  <a:pt x="220" y="42"/>
                </a:lnTo>
                <a:lnTo>
                  <a:pt x="220" y="42"/>
                </a:lnTo>
                <a:lnTo>
                  <a:pt x="216" y="48"/>
                </a:lnTo>
                <a:lnTo>
                  <a:pt x="214" y="56"/>
                </a:lnTo>
                <a:lnTo>
                  <a:pt x="214" y="56"/>
                </a:lnTo>
                <a:lnTo>
                  <a:pt x="212" y="60"/>
                </a:lnTo>
                <a:lnTo>
                  <a:pt x="212" y="64"/>
                </a:lnTo>
                <a:lnTo>
                  <a:pt x="212" y="64"/>
                </a:lnTo>
                <a:lnTo>
                  <a:pt x="214" y="66"/>
                </a:lnTo>
                <a:lnTo>
                  <a:pt x="214" y="66"/>
                </a:lnTo>
                <a:lnTo>
                  <a:pt x="212" y="68"/>
                </a:lnTo>
                <a:lnTo>
                  <a:pt x="210" y="68"/>
                </a:lnTo>
                <a:lnTo>
                  <a:pt x="210" y="68"/>
                </a:lnTo>
                <a:lnTo>
                  <a:pt x="206" y="68"/>
                </a:lnTo>
                <a:lnTo>
                  <a:pt x="204" y="68"/>
                </a:lnTo>
                <a:lnTo>
                  <a:pt x="202" y="70"/>
                </a:lnTo>
                <a:lnTo>
                  <a:pt x="204" y="70"/>
                </a:lnTo>
                <a:lnTo>
                  <a:pt x="204" y="70"/>
                </a:lnTo>
                <a:lnTo>
                  <a:pt x="204" y="72"/>
                </a:lnTo>
                <a:lnTo>
                  <a:pt x="204" y="72"/>
                </a:lnTo>
                <a:lnTo>
                  <a:pt x="202" y="74"/>
                </a:lnTo>
                <a:lnTo>
                  <a:pt x="202" y="74"/>
                </a:lnTo>
                <a:lnTo>
                  <a:pt x="196" y="78"/>
                </a:lnTo>
                <a:lnTo>
                  <a:pt x="194" y="78"/>
                </a:lnTo>
                <a:lnTo>
                  <a:pt x="192" y="80"/>
                </a:lnTo>
                <a:lnTo>
                  <a:pt x="192" y="80"/>
                </a:lnTo>
                <a:lnTo>
                  <a:pt x="190" y="88"/>
                </a:lnTo>
                <a:lnTo>
                  <a:pt x="188" y="96"/>
                </a:lnTo>
                <a:lnTo>
                  <a:pt x="188" y="96"/>
                </a:lnTo>
                <a:lnTo>
                  <a:pt x="190" y="98"/>
                </a:lnTo>
                <a:lnTo>
                  <a:pt x="190" y="96"/>
                </a:lnTo>
                <a:lnTo>
                  <a:pt x="194" y="94"/>
                </a:lnTo>
                <a:lnTo>
                  <a:pt x="194" y="94"/>
                </a:lnTo>
                <a:lnTo>
                  <a:pt x="198" y="92"/>
                </a:lnTo>
                <a:lnTo>
                  <a:pt x="200" y="92"/>
                </a:lnTo>
                <a:lnTo>
                  <a:pt x="202" y="92"/>
                </a:lnTo>
                <a:lnTo>
                  <a:pt x="202" y="92"/>
                </a:lnTo>
                <a:lnTo>
                  <a:pt x="204" y="94"/>
                </a:lnTo>
                <a:lnTo>
                  <a:pt x="206" y="98"/>
                </a:lnTo>
                <a:lnTo>
                  <a:pt x="206" y="98"/>
                </a:lnTo>
                <a:lnTo>
                  <a:pt x="206" y="100"/>
                </a:lnTo>
                <a:lnTo>
                  <a:pt x="208" y="102"/>
                </a:lnTo>
                <a:lnTo>
                  <a:pt x="208" y="102"/>
                </a:lnTo>
                <a:lnTo>
                  <a:pt x="208" y="106"/>
                </a:lnTo>
                <a:lnTo>
                  <a:pt x="210" y="110"/>
                </a:lnTo>
                <a:lnTo>
                  <a:pt x="210" y="110"/>
                </a:lnTo>
                <a:lnTo>
                  <a:pt x="210" y="110"/>
                </a:lnTo>
                <a:lnTo>
                  <a:pt x="212" y="110"/>
                </a:lnTo>
                <a:lnTo>
                  <a:pt x="212" y="112"/>
                </a:lnTo>
                <a:lnTo>
                  <a:pt x="212" y="112"/>
                </a:lnTo>
                <a:lnTo>
                  <a:pt x="212" y="112"/>
                </a:lnTo>
                <a:lnTo>
                  <a:pt x="206" y="118"/>
                </a:lnTo>
                <a:lnTo>
                  <a:pt x="206" y="118"/>
                </a:lnTo>
                <a:lnTo>
                  <a:pt x="206" y="120"/>
                </a:lnTo>
                <a:lnTo>
                  <a:pt x="208" y="120"/>
                </a:lnTo>
                <a:lnTo>
                  <a:pt x="212" y="122"/>
                </a:lnTo>
                <a:lnTo>
                  <a:pt x="212" y="124"/>
                </a:lnTo>
                <a:lnTo>
                  <a:pt x="212" y="124"/>
                </a:lnTo>
                <a:lnTo>
                  <a:pt x="210" y="128"/>
                </a:lnTo>
                <a:lnTo>
                  <a:pt x="210" y="132"/>
                </a:lnTo>
                <a:lnTo>
                  <a:pt x="210" y="132"/>
                </a:lnTo>
                <a:lnTo>
                  <a:pt x="212" y="138"/>
                </a:lnTo>
                <a:lnTo>
                  <a:pt x="212" y="138"/>
                </a:lnTo>
                <a:lnTo>
                  <a:pt x="214" y="140"/>
                </a:lnTo>
                <a:lnTo>
                  <a:pt x="214" y="140"/>
                </a:lnTo>
                <a:lnTo>
                  <a:pt x="220" y="140"/>
                </a:lnTo>
                <a:lnTo>
                  <a:pt x="222" y="140"/>
                </a:lnTo>
                <a:lnTo>
                  <a:pt x="222" y="142"/>
                </a:lnTo>
                <a:lnTo>
                  <a:pt x="222" y="142"/>
                </a:lnTo>
                <a:lnTo>
                  <a:pt x="220" y="146"/>
                </a:lnTo>
                <a:lnTo>
                  <a:pt x="220" y="146"/>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32" name="Germany"/>
          <p:cNvSpPr>
            <a:spLocks/>
          </p:cNvSpPr>
          <p:nvPr/>
        </p:nvSpPr>
        <p:spPr bwMode="auto">
          <a:xfrm>
            <a:off x="4457125" y="1304874"/>
            <a:ext cx="182306" cy="163881"/>
          </a:xfrm>
          <a:custGeom>
            <a:avLst/>
            <a:gdLst/>
            <a:ahLst/>
            <a:cxnLst>
              <a:cxn ang="0">
                <a:pos x="48" y="0"/>
              </a:cxn>
              <a:cxn ang="0">
                <a:pos x="50" y="6"/>
              </a:cxn>
              <a:cxn ang="0">
                <a:pos x="46" y="8"/>
              </a:cxn>
              <a:cxn ang="0">
                <a:pos x="50" y="10"/>
              </a:cxn>
              <a:cxn ang="0">
                <a:pos x="52" y="14"/>
              </a:cxn>
              <a:cxn ang="0">
                <a:pos x="60" y="18"/>
              </a:cxn>
              <a:cxn ang="0">
                <a:pos x="58" y="18"/>
              </a:cxn>
              <a:cxn ang="0">
                <a:pos x="48" y="18"/>
              </a:cxn>
              <a:cxn ang="0">
                <a:pos x="46" y="26"/>
              </a:cxn>
              <a:cxn ang="0">
                <a:pos x="40" y="28"/>
              </a:cxn>
              <a:cxn ang="0">
                <a:pos x="38" y="26"/>
              </a:cxn>
              <a:cxn ang="0">
                <a:pos x="36" y="22"/>
              </a:cxn>
              <a:cxn ang="0">
                <a:pos x="22" y="28"/>
              </a:cxn>
              <a:cxn ang="0">
                <a:pos x="18" y="34"/>
              </a:cxn>
              <a:cxn ang="0">
                <a:pos x="18" y="36"/>
              </a:cxn>
              <a:cxn ang="0">
                <a:pos x="16" y="48"/>
              </a:cxn>
              <a:cxn ang="0">
                <a:pos x="14" y="54"/>
              </a:cxn>
              <a:cxn ang="0">
                <a:pos x="2" y="60"/>
              </a:cxn>
              <a:cxn ang="0">
                <a:pos x="0" y="70"/>
              </a:cxn>
              <a:cxn ang="0">
                <a:pos x="0" y="76"/>
              </a:cxn>
              <a:cxn ang="0">
                <a:pos x="0" y="84"/>
              </a:cxn>
              <a:cxn ang="0">
                <a:pos x="4" y="100"/>
              </a:cxn>
              <a:cxn ang="0">
                <a:pos x="16" y="108"/>
              </a:cxn>
              <a:cxn ang="0">
                <a:pos x="30" y="110"/>
              </a:cxn>
              <a:cxn ang="0">
                <a:pos x="32" y="120"/>
              </a:cxn>
              <a:cxn ang="0">
                <a:pos x="28" y="136"/>
              </a:cxn>
              <a:cxn ang="0">
                <a:pos x="42" y="140"/>
              </a:cxn>
              <a:cxn ang="0">
                <a:pos x="48" y="138"/>
              </a:cxn>
              <a:cxn ang="0">
                <a:pos x="68" y="140"/>
              </a:cxn>
              <a:cxn ang="0">
                <a:pos x="88" y="144"/>
              </a:cxn>
              <a:cxn ang="0">
                <a:pos x="94" y="140"/>
              </a:cxn>
              <a:cxn ang="0">
                <a:pos x="104" y="140"/>
              </a:cxn>
              <a:cxn ang="0">
                <a:pos x="114" y="138"/>
              </a:cxn>
              <a:cxn ang="0">
                <a:pos x="122" y="134"/>
              </a:cxn>
              <a:cxn ang="0">
                <a:pos x="126" y="134"/>
              </a:cxn>
              <a:cxn ang="0">
                <a:pos x="132" y="136"/>
              </a:cxn>
              <a:cxn ang="0">
                <a:pos x="132" y="130"/>
              </a:cxn>
              <a:cxn ang="0">
                <a:pos x="132" y="126"/>
              </a:cxn>
              <a:cxn ang="0">
                <a:pos x="138" y="120"/>
              </a:cxn>
              <a:cxn ang="0">
                <a:pos x="144" y="114"/>
              </a:cxn>
              <a:cxn ang="0">
                <a:pos x="128" y="100"/>
              </a:cxn>
              <a:cxn ang="0">
                <a:pos x="116" y="88"/>
              </a:cxn>
              <a:cxn ang="0">
                <a:pos x="124" y="82"/>
              </a:cxn>
              <a:cxn ang="0">
                <a:pos x="146" y="72"/>
              </a:cxn>
              <a:cxn ang="0">
                <a:pos x="156" y="74"/>
              </a:cxn>
              <a:cxn ang="0">
                <a:pos x="160" y="68"/>
              </a:cxn>
              <a:cxn ang="0">
                <a:pos x="154" y="42"/>
              </a:cxn>
              <a:cxn ang="0">
                <a:pos x="148" y="38"/>
              </a:cxn>
              <a:cxn ang="0">
                <a:pos x="142" y="32"/>
              </a:cxn>
              <a:cxn ang="0">
                <a:pos x="146" y="22"/>
              </a:cxn>
              <a:cxn ang="0">
                <a:pos x="140" y="14"/>
              </a:cxn>
              <a:cxn ang="0">
                <a:pos x="136" y="8"/>
              </a:cxn>
              <a:cxn ang="0">
                <a:pos x="130" y="12"/>
              </a:cxn>
              <a:cxn ang="0">
                <a:pos x="118" y="14"/>
              </a:cxn>
              <a:cxn ang="0">
                <a:pos x="122" y="10"/>
              </a:cxn>
              <a:cxn ang="0">
                <a:pos x="110" y="14"/>
              </a:cxn>
              <a:cxn ang="0">
                <a:pos x="98" y="14"/>
              </a:cxn>
              <a:cxn ang="0">
                <a:pos x="86" y="14"/>
              </a:cxn>
              <a:cxn ang="0">
                <a:pos x="78" y="12"/>
              </a:cxn>
              <a:cxn ang="0">
                <a:pos x="76" y="8"/>
              </a:cxn>
              <a:cxn ang="0">
                <a:pos x="68" y="8"/>
              </a:cxn>
              <a:cxn ang="0">
                <a:pos x="62" y="2"/>
              </a:cxn>
            </a:cxnLst>
            <a:rect l="0" t="0" r="r" b="b"/>
            <a:pathLst>
              <a:path w="160" h="144">
                <a:moveTo>
                  <a:pt x="60" y="0"/>
                </a:moveTo>
                <a:lnTo>
                  <a:pt x="60" y="0"/>
                </a:lnTo>
                <a:lnTo>
                  <a:pt x="56" y="2"/>
                </a:lnTo>
                <a:lnTo>
                  <a:pt x="52" y="0"/>
                </a:lnTo>
                <a:lnTo>
                  <a:pt x="48" y="0"/>
                </a:lnTo>
                <a:lnTo>
                  <a:pt x="44" y="0"/>
                </a:lnTo>
                <a:lnTo>
                  <a:pt x="44" y="0"/>
                </a:lnTo>
                <a:lnTo>
                  <a:pt x="48" y="6"/>
                </a:lnTo>
                <a:lnTo>
                  <a:pt x="48" y="6"/>
                </a:lnTo>
                <a:lnTo>
                  <a:pt x="50" y="6"/>
                </a:lnTo>
                <a:lnTo>
                  <a:pt x="48" y="6"/>
                </a:lnTo>
                <a:lnTo>
                  <a:pt x="48" y="6"/>
                </a:lnTo>
                <a:lnTo>
                  <a:pt x="46" y="8"/>
                </a:lnTo>
                <a:lnTo>
                  <a:pt x="46" y="8"/>
                </a:lnTo>
                <a:lnTo>
                  <a:pt x="46" y="8"/>
                </a:lnTo>
                <a:lnTo>
                  <a:pt x="48" y="8"/>
                </a:lnTo>
                <a:lnTo>
                  <a:pt x="50" y="8"/>
                </a:lnTo>
                <a:lnTo>
                  <a:pt x="50" y="10"/>
                </a:lnTo>
                <a:lnTo>
                  <a:pt x="50" y="10"/>
                </a:lnTo>
                <a:lnTo>
                  <a:pt x="50" y="10"/>
                </a:lnTo>
                <a:lnTo>
                  <a:pt x="52" y="12"/>
                </a:lnTo>
                <a:lnTo>
                  <a:pt x="52" y="12"/>
                </a:lnTo>
                <a:lnTo>
                  <a:pt x="54" y="12"/>
                </a:lnTo>
                <a:lnTo>
                  <a:pt x="54" y="12"/>
                </a:lnTo>
                <a:lnTo>
                  <a:pt x="52" y="14"/>
                </a:lnTo>
                <a:lnTo>
                  <a:pt x="52" y="14"/>
                </a:lnTo>
                <a:lnTo>
                  <a:pt x="54" y="16"/>
                </a:lnTo>
                <a:lnTo>
                  <a:pt x="56" y="16"/>
                </a:lnTo>
                <a:lnTo>
                  <a:pt x="56" y="16"/>
                </a:lnTo>
                <a:lnTo>
                  <a:pt x="60" y="18"/>
                </a:lnTo>
                <a:lnTo>
                  <a:pt x="64" y="22"/>
                </a:lnTo>
                <a:lnTo>
                  <a:pt x="64" y="22"/>
                </a:lnTo>
                <a:lnTo>
                  <a:pt x="60" y="20"/>
                </a:lnTo>
                <a:lnTo>
                  <a:pt x="58" y="18"/>
                </a:lnTo>
                <a:lnTo>
                  <a:pt x="58" y="18"/>
                </a:lnTo>
                <a:lnTo>
                  <a:pt x="54" y="18"/>
                </a:lnTo>
                <a:lnTo>
                  <a:pt x="50" y="16"/>
                </a:lnTo>
                <a:lnTo>
                  <a:pt x="50" y="16"/>
                </a:lnTo>
                <a:lnTo>
                  <a:pt x="48" y="16"/>
                </a:lnTo>
                <a:lnTo>
                  <a:pt x="48" y="18"/>
                </a:lnTo>
                <a:lnTo>
                  <a:pt x="46" y="22"/>
                </a:lnTo>
                <a:lnTo>
                  <a:pt x="46" y="22"/>
                </a:lnTo>
                <a:lnTo>
                  <a:pt x="46" y="24"/>
                </a:lnTo>
                <a:lnTo>
                  <a:pt x="46" y="26"/>
                </a:lnTo>
                <a:lnTo>
                  <a:pt x="46" y="26"/>
                </a:lnTo>
                <a:lnTo>
                  <a:pt x="44" y="24"/>
                </a:lnTo>
                <a:lnTo>
                  <a:pt x="40" y="26"/>
                </a:lnTo>
                <a:lnTo>
                  <a:pt x="40" y="26"/>
                </a:lnTo>
                <a:lnTo>
                  <a:pt x="40" y="26"/>
                </a:lnTo>
                <a:lnTo>
                  <a:pt x="40" y="28"/>
                </a:lnTo>
                <a:lnTo>
                  <a:pt x="40" y="28"/>
                </a:lnTo>
                <a:lnTo>
                  <a:pt x="38" y="28"/>
                </a:lnTo>
                <a:lnTo>
                  <a:pt x="38" y="26"/>
                </a:lnTo>
                <a:lnTo>
                  <a:pt x="38" y="26"/>
                </a:lnTo>
                <a:lnTo>
                  <a:pt x="38" y="26"/>
                </a:lnTo>
                <a:lnTo>
                  <a:pt x="38" y="26"/>
                </a:lnTo>
                <a:lnTo>
                  <a:pt x="38" y="26"/>
                </a:lnTo>
                <a:lnTo>
                  <a:pt x="38" y="24"/>
                </a:lnTo>
                <a:lnTo>
                  <a:pt x="38" y="24"/>
                </a:lnTo>
                <a:lnTo>
                  <a:pt x="36" y="22"/>
                </a:lnTo>
                <a:lnTo>
                  <a:pt x="30" y="24"/>
                </a:lnTo>
                <a:lnTo>
                  <a:pt x="30" y="24"/>
                </a:lnTo>
                <a:lnTo>
                  <a:pt x="28" y="24"/>
                </a:lnTo>
                <a:lnTo>
                  <a:pt x="22" y="28"/>
                </a:lnTo>
                <a:lnTo>
                  <a:pt x="22" y="28"/>
                </a:lnTo>
                <a:lnTo>
                  <a:pt x="20" y="30"/>
                </a:lnTo>
                <a:lnTo>
                  <a:pt x="18" y="30"/>
                </a:lnTo>
                <a:lnTo>
                  <a:pt x="18" y="30"/>
                </a:lnTo>
                <a:lnTo>
                  <a:pt x="18" y="32"/>
                </a:lnTo>
                <a:lnTo>
                  <a:pt x="18" y="34"/>
                </a:lnTo>
                <a:lnTo>
                  <a:pt x="18" y="32"/>
                </a:lnTo>
                <a:lnTo>
                  <a:pt x="18" y="32"/>
                </a:lnTo>
                <a:lnTo>
                  <a:pt x="16" y="34"/>
                </a:lnTo>
                <a:lnTo>
                  <a:pt x="18" y="34"/>
                </a:lnTo>
                <a:lnTo>
                  <a:pt x="18" y="36"/>
                </a:lnTo>
                <a:lnTo>
                  <a:pt x="16" y="38"/>
                </a:lnTo>
                <a:lnTo>
                  <a:pt x="16" y="38"/>
                </a:lnTo>
                <a:lnTo>
                  <a:pt x="14" y="44"/>
                </a:lnTo>
                <a:lnTo>
                  <a:pt x="14" y="46"/>
                </a:lnTo>
                <a:lnTo>
                  <a:pt x="16" y="48"/>
                </a:lnTo>
                <a:lnTo>
                  <a:pt x="16" y="48"/>
                </a:lnTo>
                <a:lnTo>
                  <a:pt x="18" y="48"/>
                </a:lnTo>
                <a:lnTo>
                  <a:pt x="18" y="50"/>
                </a:lnTo>
                <a:lnTo>
                  <a:pt x="14" y="54"/>
                </a:lnTo>
                <a:lnTo>
                  <a:pt x="14" y="54"/>
                </a:lnTo>
                <a:lnTo>
                  <a:pt x="10" y="56"/>
                </a:lnTo>
                <a:lnTo>
                  <a:pt x="4" y="56"/>
                </a:lnTo>
                <a:lnTo>
                  <a:pt x="4" y="56"/>
                </a:lnTo>
                <a:lnTo>
                  <a:pt x="2" y="58"/>
                </a:lnTo>
                <a:lnTo>
                  <a:pt x="2" y="60"/>
                </a:lnTo>
                <a:lnTo>
                  <a:pt x="2" y="60"/>
                </a:lnTo>
                <a:lnTo>
                  <a:pt x="2" y="62"/>
                </a:lnTo>
                <a:lnTo>
                  <a:pt x="2" y="66"/>
                </a:lnTo>
                <a:lnTo>
                  <a:pt x="0" y="68"/>
                </a:lnTo>
                <a:lnTo>
                  <a:pt x="0" y="70"/>
                </a:lnTo>
                <a:lnTo>
                  <a:pt x="0" y="70"/>
                </a:lnTo>
                <a:lnTo>
                  <a:pt x="2" y="72"/>
                </a:lnTo>
                <a:lnTo>
                  <a:pt x="0" y="72"/>
                </a:lnTo>
                <a:lnTo>
                  <a:pt x="0" y="74"/>
                </a:lnTo>
                <a:lnTo>
                  <a:pt x="0" y="76"/>
                </a:lnTo>
                <a:lnTo>
                  <a:pt x="0" y="76"/>
                </a:lnTo>
                <a:lnTo>
                  <a:pt x="2" y="78"/>
                </a:lnTo>
                <a:lnTo>
                  <a:pt x="2" y="80"/>
                </a:lnTo>
                <a:lnTo>
                  <a:pt x="0" y="84"/>
                </a:lnTo>
                <a:lnTo>
                  <a:pt x="0" y="84"/>
                </a:lnTo>
                <a:lnTo>
                  <a:pt x="4" y="88"/>
                </a:lnTo>
                <a:lnTo>
                  <a:pt x="4" y="92"/>
                </a:lnTo>
                <a:lnTo>
                  <a:pt x="4" y="92"/>
                </a:lnTo>
                <a:lnTo>
                  <a:pt x="6" y="94"/>
                </a:lnTo>
                <a:lnTo>
                  <a:pt x="4" y="100"/>
                </a:lnTo>
                <a:lnTo>
                  <a:pt x="4" y="100"/>
                </a:lnTo>
                <a:lnTo>
                  <a:pt x="10" y="102"/>
                </a:lnTo>
                <a:lnTo>
                  <a:pt x="10" y="102"/>
                </a:lnTo>
                <a:lnTo>
                  <a:pt x="14" y="106"/>
                </a:lnTo>
                <a:lnTo>
                  <a:pt x="16" y="108"/>
                </a:lnTo>
                <a:lnTo>
                  <a:pt x="18" y="108"/>
                </a:lnTo>
                <a:lnTo>
                  <a:pt x="18" y="108"/>
                </a:lnTo>
                <a:lnTo>
                  <a:pt x="24" y="108"/>
                </a:lnTo>
                <a:lnTo>
                  <a:pt x="30" y="110"/>
                </a:lnTo>
                <a:lnTo>
                  <a:pt x="30" y="110"/>
                </a:lnTo>
                <a:lnTo>
                  <a:pt x="36" y="112"/>
                </a:lnTo>
                <a:lnTo>
                  <a:pt x="36" y="112"/>
                </a:lnTo>
                <a:lnTo>
                  <a:pt x="36" y="114"/>
                </a:lnTo>
                <a:lnTo>
                  <a:pt x="36" y="114"/>
                </a:lnTo>
                <a:lnTo>
                  <a:pt x="32" y="120"/>
                </a:lnTo>
                <a:lnTo>
                  <a:pt x="30" y="128"/>
                </a:lnTo>
                <a:lnTo>
                  <a:pt x="30" y="128"/>
                </a:lnTo>
                <a:lnTo>
                  <a:pt x="28" y="132"/>
                </a:lnTo>
                <a:lnTo>
                  <a:pt x="28" y="136"/>
                </a:lnTo>
                <a:lnTo>
                  <a:pt x="28" y="136"/>
                </a:lnTo>
                <a:lnTo>
                  <a:pt x="30" y="138"/>
                </a:lnTo>
                <a:lnTo>
                  <a:pt x="30" y="138"/>
                </a:lnTo>
                <a:lnTo>
                  <a:pt x="32" y="138"/>
                </a:lnTo>
                <a:lnTo>
                  <a:pt x="32" y="138"/>
                </a:lnTo>
                <a:lnTo>
                  <a:pt x="42" y="140"/>
                </a:lnTo>
                <a:lnTo>
                  <a:pt x="46" y="140"/>
                </a:lnTo>
                <a:lnTo>
                  <a:pt x="48" y="140"/>
                </a:lnTo>
                <a:lnTo>
                  <a:pt x="48" y="138"/>
                </a:lnTo>
                <a:lnTo>
                  <a:pt x="48" y="138"/>
                </a:lnTo>
                <a:lnTo>
                  <a:pt x="48" y="138"/>
                </a:lnTo>
                <a:lnTo>
                  <a:pt x="48" y="138"/>
                </a:lnTo>
                <a:lnTo>
                  <a:pt x="52" y="138"/>
                </a:lnTo>
                <a:lnTo>
                  <a:pt x="66" y="142"/>
                </a:lnTo>
                <a:lnTo>
                  <a:pt x="66" y="142"/>
                </a:lnTo>
                <a:lnTo>
                  <a:pt x="68" y="140"/>
                </a:lnTo>
                <a:lnTo>
                  <a:pt x="72" y="140"/>
                </a:lnTo>
                <a:lnTo>
                  <a:pt x="80" y="142"/>
                </a:lnTo>
                <a:lnTo>
                  <a:pt x="80" y="142"/>
                </a:lnTo>
                <a:lnTo>
                  <a:pt x="86" y="144"/>
                </a:lnTo>
                <a:lnTo>
                  <a:pt x="88" y="144"/>
                </a:lnTo>
                <a:lnTo>
                  <a:pt x="90" y="142"/>
                </a:lnTo>
                <a:lnTo>
                  <a:pt x="90" y="142"/>
                </a:lnTo>
                <a:lnTo>
                  <a:pt x="90" y="140"/>
                </a:lnTo>
                <a:lnTo>
                  <a:pt x="92" y="140"/>
                </a:lnTo>
                <a:lnTo>
                  <a:pt x="94" y="140"/>
                </a:lnTo>
                <a:lnTo>
                  <a:pt x="96" y="138"/>
                </a:lnTo>
                <a:lnTo>
                  <a:pt x="96" y="138"/>
                </a:lnTo>
                <a:lnTo>
                  <a:pt x="96" y="138"/>
                </a:lnTo>
                <a:lnTo>
                  <a:pt x="98" y="138"/>
                </a:lnTo>
                <a:lnTo>
                  <a:pt x="104" y="140"/>
                </a:lnTo>
                <a:lnTo>
                  <a:pt x="104" y="140"/>
                </a:lnTo>
                <a:lnTo>
                  <a:pt x="106" y="140"/>
                </a:lnTo>
                <a:lnTo>
                  <a:pt x="108" y="140"/>
                </a:lnTo>
                <a:lnTo>
                  <a:pt x="114" y="138"/>
                </a:lnTo>
                <a:lnTo>
                  <a:pt x="114" y="138"/>
                </a:lnTo>
                <a:lnTo>
                  <a:pt x="116" y="136"/>
                </a:lnTo>
                <a:lnTo>
                  <a:pt x="118" y="134"/>
                </a:lnTo>
                <a:lnTo>
                  <a:pt x="118" y="134"/>
                </a:lnTo>
                <a:lnTo>
                  <a:pt x="120" y="134"/>
                </a:lnTo>
                <a:lnTo>
                  <a:pt x="122" y="134"/>
                </a:lnTo>
                <a:lnTo>
                  <a:pt x="122" y="134"/>
                </a:lnTo>
                <a:lnTo>
                  <a:pt x="124" y="134"/>
                </a:lnTo>
                <a:lnTo>
                  <a:pt x="124" y="134"/>
                </a:lnTo>
                <a:lnTo>
                  <a:pt x="126" y="134"/>
                </a:lnTo>
                <a:lnTo>
                  <a:pt x="126" y="134"/>
                </a:lnTo>
                <a:lnTo>
                  <a:pt x="128" y="136"/>
                </a:lnTo>
                <a:lnTo>
                  <a:pt x="130" y="138"/>
                </a:lnTo>
                <a:lnTo>
                  <a:pt x="130" y="138"/>
                </a:lnTo>
                <a:lnTo>
                  <a:pt x="132" y="138"/>
                </a:lnTo>
                <a:lnTo>
                  <a:pt x="132" y="136"/>
                </a:lnTo>
                <a:lnTo>
                  <a:pt x="132" y="134"/>
                </a:lnTo>
                <a:lnTo>
                  <a:pt x="132" y="134"/>
                </a:lnTo>
                <a:lnTo>
                  <a:pt x="132" y="132"/>
                </a:lnTo>
                <a:lnTo>
                  <a:pt x="132" y="132"/>
                </a:lnTo>
                <a:lnTo>
                  <a:pt x="132" y="130"/>
                </a:lnTo>
                <a:lnTo>
                  <a:pt x="132" y="130"/>
                </a:lnTo>
                <a:lnTo>
                  <a:pt x="132" y="130"/>
                </a:lnTo>
                <a:lnTo>
                  <a:pt x="130" y="128"/>
                </a:lnTo>
                <a:lnTo>
                  <a:pt x="130" y="128"/>
                </a:lnTo>
                <a:lnTo>
                  <a:pt x="132" y="126"/>
                </a:lnTo>
                <a:lnTo>
                  <a:pt x="132" y="126"/>
                </a:lnTo>
                <a:lnTo>
                  <a:pt x="134" y="126"/>
                </a:lnTo>
                <a:lnTo>
                  <a:pt x="136" y="124"/>
                </a:lnTo>
                <a:lnTo>
                  <a:pt x="138" y="122"/>
                </a:lnTo>
                <a:lnTo>
                  <a:pt x="138" y="120"/>
                </a:lnTo>
                <a:lnTo>
                  <a:pt x="138" y="120"/>
                </a:lnTo>
                <a:lnTo>
                  <a:pt x="140" y="120"/>
                </a:lnTo>
                <a:lnTo>
                  <a:pt x="142" y="118"/>
                </a:lnTo>
                <a:lnTo>
                  <a:pt x="144" y="114"/>
                </a:lnTo>
                <a:lnTo>
                  <a:pt x="144" y="114"/>
                </a:lnTo>
                <a:lnTo>
                  <a:pt x="144" y="110"/>
                </a:lnTo>
                <a:lnTo>
                  <a:pt x="140" y="108"/>
                </a:lnTo>
                <a:lnTo>
                  <a:pt x="140" y="108"/>
                </a:lnTo>
                <a:lnTo>
                  <a:pt x="136" y="106"/>
                </a:lnTo>
                <a:lnTo>
                  <a:pt x="128" y="100"/>
                </a:lnTo>
                <a:lnTo>
                  <a:pt x="128" y="100"/>
                </a:lnTo>
                <a:lnTo>
                  <a:pt x="124" y="98"/>
                </a:lnTo>
                <a:lnTo>
                  <a:pt x="120" y="94"/>
                </a:lnTo>
                <a:lnTo>
                  <a:pt x="120" y="94"/>
                </a:lnTo>
                <a:lnTo>
                  <a:pt x="116" y="88"/>
                </a:lnTo>
                <a:lnTo>
                  <a:pt x="112" y="84"/>
                </a:lnTo>
                <a:lnTo>
                  <a:pt x="112" y="84"/>
                </a:lnTo>
                <a:lnTo>
                  <a:pt x="112" y="82"/>
                </a:lnTo>
                <a:lnTo>
                  <a:pt x="116" y="82"/>
                </a:lnTo>
                <a:lnTo>
                  <a:pt x="124" y="82"/>
                </a:lnTo>
                <a:lnTo>
                  <a:pt x="124" y="82"/>
                </a:lnTo>
                <a:lnTo>
                  <a:pt x="136" y="78"/>
                </a:lnTo>
                <a:lnTo>
                  <a:pt x="136" y="78"/>
                </a:lnTo>
                <a:lnTo>
                  <a:pt x="142" y="76"/>
                </a:lnTo>
                <a:lnTo>
                  <a:pt x="146" y="72"/>
                </a:lnTo>
                <a:lnTo>
                  <a:pt x="146" y="72"/>
                </a:lnTo>
                <a:lnTo>
                  <a:pt x="150" y="68"/>
                </a:lnTo>
                <a:lnTo>
                  <a:pt x="152" y="70"/>
                </a:lnTo>
                <a:lnTo>
                  <a:pt x="152" y="70"/>
                </a:lnTo>
                <a:lnTo>
                  <a:pt x="156" y="74"/>
                </a:lnTo>
                <a:lnTo>
                  <a:pt x="160" y="74"/>
                </a:lnTo>
                <a:lnTo>
                  <a:pt x="160" y="74"/>
                </a:lnTo>
                <a:lnTo>
                  <a:pt x="160" y="72"/>
                </a:lnTo>
                <a:lnTo>
                  <a:pt x="160" y="68"/>
                </a:lnTo>
                <a:lnTo>
                  <a:pt x="160" y="68"/>
                </a:lnTo>
                <a:lnTo>
                  <a:pt x="158" y="60"/>
                </a:lnTo>
                <a:lnTo>
                  <a:pt x="154" y="50"/>
                </a:lnTo>
                <a:lnTo>
                  <a:pt x="154" y="50"/>
                </a:lnTo>
                <a:lnTo>
                  <a:pt x="154" y="46"/>
                </a:lnTo>
                <a:lnTo>
                  <a:pt x="154" y="42"/>
                </a:lnTo>
                <a:lnTo>
                  <a:pt x="154" y="42"/>
                </a:lnTo>
                <a:lnTo>
                  <a:pt x="152" y="40"/>
                </a:lnTo>
                <a:lnTo>
                  <a:pt x="150" y="40"/>
                </a:lnTo>
                <a:lnTo>
                  <a:pt x="148" y="38"/>
                </a:lnTo>
                <a:lnTo>
                  <a:pt x="148" y="38"/>
                </a:lnTo>
                <a:lnTo>
                  <a:pt x="144" y="36"/>
                </a:lnTo>
                <a:lnTo>
                  <a:pt x="142" y="36"/>
                </a:lnTo>
                <a:lnTo>
                  <a:pt x="142" y="34"/>
                </a:lnTo>
                <a:lnTo>
                  <a:pt x="142" y="34"/>
                </a:lnTo>
                <a:lnTo>
                  <a:pt x="142" y="32"/>
                </a:lnTo>
                <a:lnTo>
                  <a:pt x="144" y="28"/>
                </a:lnTo>
                <a:lnTo>
                  <a:pt x="146" y="26"/>
                </a:lnTo>
                <a:lnTo>
                  <a:pt x="146" y="26"/>
                </a:lnTo>
                <a:lnTo>
                  <a:pt x="146" y="26"/>
                </a:lnTo>
                <a:lnTo>
                  <a:pt x="146" y="22"/>
                </a:lnTo>
                <a:lnTo>
                  <a:pt x="146" y="18"/>
                </a:lnTo>
                <a:lnTo>
                  <a:pt x="146" y="18"/>
                </a:lnTo>
                <a:lnTo>
                  <a:pt x="142" y="16"/>
                </a:lnTo>
                <a:lnTo>
                  <a:pt x="140" y="14"/>
                </a:lnTo>
                <a:lnTo>
                  <a:pt x="140" y="14"/>
                </a:lnTo>
                <a:lnTo>
                  <a:pt x="138" y="12"/>
                </a:lnTo>
                <a:lnTo>
                  <a:pt x="138" y="10"/>
                </a:lnTo>
                <a:lnTo>
                  <a:pt x="138" y="10"/>
                </a:lnTo>
                <a:lnTo>
                  <a:pt x="136" y="8"/>
                </a:lnTo>
                <a:lnTo>
                  <a:pt x="136" y="8"/>
                </a:lnTo>
                <a:lnTo>
                  <a:pt x="134" y="8"/>
                </a:lnTo>
                <a:lnTo>
                  <a:pt x="132" y="10"/>
                </a:lnTo>
                <a:lnTo>
                  <a:pt x="132" y="12"/>
                </a:lnTo>
                <a:lnTo>
                  <a:pt x="130" y="12"/>
                </a:lnTo>
                <a:lnTo>
                  <a:pt x="130" y="12"/>
                </a:lnTo>
                <a:lnTo>
                  <a:pt x="128" y="10"/>
                </a:lnTo>
                <a:lnTo>
                  <a:pt x="124" y="10"/>
                </a:lnTo>
                <a:lnTo>
                  <a:pt x="124" y="10"/>
                </a:lnTo>
                <a:lnTo>
                  <a:pt x="118" y="14"/>
                </a:lnTo>
                <a:lnTo>
                  <a:pt x="118" y="14"/>
                </a:lnTo>
                <a:lnTo>
                  <a:pt x="116" y="14"/>
                </a:lnTo>
                <a:lnTo>
                  <a:pt x="118" y="12"/>
                </a:lnTo>
                <a:lnTo>
                  <a:pt x="118" y="12"/>
                </a:lnTo>
                <a:lnTo>
                  <a:pt x="122" y="10"/>
                </a:lnTo>
                <a:lnTo>
                  <a:pt x="122" y="10"/>
                </a:lnTo>
                <a:lnTo>
                  <a:pt x="122" y="10"/>
                </a:lnTo>
                <a:lnTo>
                  <a:pt x="118" y="10"/>
                </a:lnTo>
                <a:lnTo>
                  <a:pt x="118" y="10"/>
                </a:lnTo>
                <a:lnTo>
                  <a:pt x="114" y="12"/>
                </a:lnTo>
                <a:lnTo>
                  <a:pt x="110" y="14"/>
                </a:lnTo>
                <a:lnTo>
                  <a:pt x="110" y="14"/>
                </a:lnTo>
                <a:lnTo>
                  <a:pt x="104" y="14"/>
                </a:lnTo>
                <a:lnTo>
                  <a:pt x="100" y="14"/>
                </a:lnTo>
                <a:lnTo>
                  <a:pt x="100" y="14"/>
                </a:lnTo>
                <a:lnTo>
                  <a:pt x="98" y="14"/>
                </a:lnTo>
                <a:lnTo>
                  <a:pt x="94" y="16"/>
                </a:lnTo>
                <a:lnTo>
                  <a:pt x="94" y="16"/>
                </a:lnTo>
                <a:lnTo>
                  <a:pt x="92" y="16"/>
                </a:lnTo>
                <a:lnTo>
                  <a:pt x="90" y="16"/>
                </a:lnTo>
                <a:lnTo>
                  <a:pt x="86" y="14"/>
                </a:lnTo>
                <a:lnTo>
                  <a:pt x="86" y="14"/>
                </a:lnTo>
                <a:lnTo>
                  <a:pt x="82" y="14"/>
                </a:lnTo>
                <a:lnTo>
                  <a:pt x="78" y="14"/>
                </a:lnTo>
                <a:lnTo>
                  <a:pt x="78" y="14"/>
                </a:lnTo>
                <a:lnTo>
                  <a:pt x="78" y="12"/>
                </a:lnTo>
                <a:lnTo>
                  <a:pt x="80" y="12"/>
                </a:lnTo>
                <a:lnTo>
                  <a:pt x="82" y="10"/>
                </a:lnTo>
                <a:lnTo>
                  <a:pt x="78" y="8"/>
                </a:lnTo>
                <a:lnTo>
                  <a:pt x="78" y="8"/>
                </a:lnTo>
                <a:lnTo>
                  <a:pt x="76" y="8"/>
                </a:lnTo>
                <a:lnTo>
                  <a:pt x="74" y="6"/>
                </a:lnTo>
                <a:lnTo>
                  <a:pt x="74" y="6"/>
                </a:lnTo>
                <a:lnTo>
                  <a:pt x="70" y="6"/>
                </a:lnTo>
                <a:lnTo>
                  <a:pt x="68" y="8"/>
                </a:lnTo>
                <a:lnTo>
                  <a:pt x="68" y="8"/>
                </a:lnTo>
                <a:lnTo>
                  <a:pt x="66" y="4"/>
                </a:lnTo>
                <a:lnTo>
                  <a:pt x="62" y="6"/>
                </a:lnTo>
                <a:lnTo>
                  <a:pt x="62" y="6"/>
                </a:lnTo>
                <a:lnTo>
                  <a:pt x="64" y="4"/>
                </a:lnTo>
                <a:lnTo>
                  <a:pt x="62" y="2"/>
                </a:lnTo>
                <a:lnTo>
                  <a:pt x="60" y="0"/>
                </a:lnTo>
                <a:lnTo>
                  <a:pt x="60" y="0"/>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33" name="Greece"/>
          <p:cNvSpPr>
            <a:spLocks/>
          </p:cNvSpPr>
          <p:nvPr/>
        </p:nvSpPr>
        <p:spPr bwMode="auto">
          <a:xfrm>
            <a:off x="4782997" y="1598494"/>
            <a:ext cx="129893" cy="134291"/>
          </a:xfrm>
          <a:custGeom>
            <a:avLst/>
            <a:gdLst/>
            <a:ahLst/>
            <a:cxnLst>
              <a:cxn ang="0">
                <a:pos x="6" y="50"/>
              </a:cxn>
              <a:cxn ang="0">
                <a:pos x="12" y="58"/>
              </a:cxn>
              <a:cxn ang="0">
                <a:pos x="20" y="66"/>
              </a:cxn>
              <a:cxn ang="0">
                <a:pos x="24" y="64"/>
              </a:cxn>
              <a:cxn ang="0">
                <a:pos x="28" y="64"/>
              </a:cxn>
              <a:cxn ang="0">
                <a:pos x="22" y="68"/>
              </a:cxn>
              <a:cxn ang="0">
                <a:pos x="30" y="74"/>
              </a:cxn>
              <a:cxn ang="0">
                <a:pos x="44" y="74"/>
              </a:cxn>
              <a:cxn ang="0">
                <a:pos x="58" y="78"/>
              </a:cxn>
              <a:cxn ang="0">
                <a:pos x="52" y="80"/>
              </a:cxn>
              <a:cxn ang="0">
                <a:pos x="36" y="78"/>
              </a:cxn>
              <a:cxn ang="0">
                <a:pos x="26" y="82"/>
              </a:cxn>
              <a:cxn ang="0">
                <a:pos x="28" y="92"/>
              </a:cxn>
              <a:cxn ang="0">
                <a:pos x="38" y="98"/>
              </a:cxn>
              <a:cxn ang="0">
                <a:pos x="46" y="110"/>
              </a:cxn>
              <a:cxn ang="0">
                <a:pos x="54" y="110"/>
              </a:cxn>
              <a:cxn ang="0">
                <a:pos x="58" y="114"/>
              </a:cxn>
              <a:cxn ang="0">
                <a:pos x="66" y="118"/>
              </a:cxn>
              <a:cxn ang="0">
                <a:pos x="60" y="102"/>
              </a:cxn>
              <a:cxn ang="0">
                <a:pos x="58" y="96"/>
              </a:cxn>
              <a:cxn ang="0">
                <a:pos x="64" y="98"/>
              </a:cxn>
              <a:cxn ang="0">
                <a:pos x="66" y="92"/>
              </a:cxn>
              <a:cxn ang="0">
                <a:pos x="64" y="86"/>
              </a:cxn>
              <a:cxn ang="0">
                <a:pos x="78" y="90"/>
              </a:cxn>
              <a:cxn ang="0">
                <a:pos x="80" y="80"/>
              </a:cxn>
              <a:cxn ang="0">
                <a:pos x="66" y="70"/>
              </a:cxn>
              <a:cxn ang="0">
                <a:pos x="56" y="64"/>
              </a:cxn>
              <a:cxn ang="0">
                <a:pos x="50" y="58"/>
              </a:cxn>
              <a:cxn ang="0">
                <a:pos x="50" y="50"/>
              </a:cxn>
              <a:cxn ang="0">
                <a:pos x="56" y="54"/>
              </a:cxn>
              <a:cxn ang="0">
                <a:pos x="56" y="46"/>
              </a:cxn>
              <a:cxn ang="0">
                <a:pos x="48" y="36"/>
              </a:cxn>
              <a:cxn ang="0">
                <a:pos x="48" y="30"/>
              </a:cxn>
              <a:cxn ang="0">
                <a:pos x="60" y="34"/>
              </a:cxn>
              <a:cxn ang="0">
                <a:pos x="64" y="36"/>
              </a:cxn>
              <a:cxn ang="0">
                <a:pos x="68" y="38"/>
              </a:cxn>
              <a:cxn ang="0">
                <a:pos x="70" y="36"/>
              </a:cxn>
              <a:cxn ang="0">
                <a:pos x="68" y="28"/>
              </a:cxn>
              <a:cxn ang="0">
                <a:pos x="76" y="24"/>
              </a:cxn>
              <a:cxn ang="0">
                <a:pos x="84" y="20"/>
              </a:cxn>
              <a:cxn ang="0">
                <a:pos x="90" y="22"/>
              </a:cxn>
              <a:cxn ang="0">
                <a:pos x="108" y="22"/>
              </a:cxn>
              <a:cxn ang="0">
                <a:pos x="112" y="10"/>
              </a:cxn>
              <a:cxn ang="0">
                <a:pos x="110" y="2"/>
              </a:cxn>
              <a:cxn ang="0">
                <a:pos x="106" y="6"/>
              </a:cxn>
              <a:cxn ang="0">
                <a:pos x="94" y="6"/>
              </a:cxn>
              <a:cxn ang="0">
                <a:pos x="78" y="4"/>
              </a:cxn>
              <a:cxn ang="0">
                <a:pos x="66" y="6"/>
              </a:cxn>
              <a:cxn ang="0">
                <a:pos x="48" y="10"/>
              </a:cxn>
              <a:cxn ang="0">
                <a:pos x="40" y="10"/>
              </a:cxn>
              <a:cxn ang="0">
                <a:pos x="20" y="18"/>
              </a:cxn>
              <a:cxn ang="0">
                <a:pos x="10" y="30"/>
              </a:cxn>
              <a:cxn ang="0">
                <a:pos x="2" y="44"/>
              </a:cxn>
            </a:cxnLst>
            <a:rect l="0" t="0" r="r" b="b"/>
            <a:pathLst>
              <a:path w="114" h="118">
                <a:moveTo>
                  <a:pt x="2" y="48"/>
                </a:moveTo>
                <a:lnTo>
                  <a:pt x="2" y="48"/>
                </a:lnTo>
                <a:lnTo>
                  <a:pt x="0" y="48"/>
                </a:lnTo>
                <a:lnTo>
                  <a:pt x="2" y="50"/>
                </a:lnTo>
                <a:lnTo>
                  <a:pt x="2" y="50"/>
                </a:lnTo>
                <a:lnTo>
                  <a:pt x="6" y="50"/>
                </a:lnTo>
                <a:lnTo>
                  <a:pt x="8" y="52"/>
                </a:lnTo>
                <a:lnTo>
                  <a:pt x="8" y="54"/>
                </a:lnTo>
                <a:lnTo>
                  <a:pt x="8" y="54"/>
                </a:lnTo>
                <a:lnTo>
                  <a:pt x="10" y="56"/>
                </a:lnTo>
                <a:lnTo>
                  <a:pt x="10" y="56"/>
                </a:lnTo>
                <a:lnTo>
                  <a:pt x="12" y="58"/>
                </a:lnTo>
                <a:lnTo>
                  <a:pt x="14" y="58"/>
                </a:lnTo>
                <a:lnTo>
                  <a:pt x="14" y="58"/>
                </a:lnTo>
                <a:lnTo>
                  <a:pt x="16" y="62"/>
                </a:lnTo>
                <a:lnTo>
                  <a:pt x="20" y="66"/>
                </a:lnTo>
                <a:lnTo>
                  <a:pt x="20" y="66"/>
                </a:lnTo>
                <a:lnTo>
                  <a:pt x="20" y="66"/>
                </a:lnTo>
                <a:lnTo>
                  <a:pt x="22" y="66"/>
                </a:lnTo>
                <a:lnTo>
                  <a:pt x="22" y="62"/>
                </a:lnTo>
                <a:lnTo>
                  <a:pt x="22" y="62"/>
                </a:lnTo>
                <a:lnTo>
                  <a:pt x="22" y="62"/>
                </a:lnTo>
                <a:lnTo>
                  <a:pt x="22" y="62"/>
                </a:lnTo>
                <a:lnTo>
                  <a:pt x="24" y="64"/>
                </a:lnTo>
                <a:lnTo>
                  <a:pt x="26" y="62"/>
                </a:lnTo>
                <a:lnTo>
                  <a:pt x="26" y="62"/>
                </a:lnTo>
                <a:lnTo>
                  <a:pt x="26" y="62"/>
                </a:lnTo>
                <a:lnTo>
                  <a:pt x="26" y="64"/>
                </a:lnTo>
                <a:lnTo>
                  <a:pt x="28" y="64"/>
                </a:lnTo>
                <a:lnTo>
                  <a:pt x="28" y="64"/>
                </a:lnTo>
                <a:lnTo>
                  <a:pt x="30" y="66"/>
                </a:lnTo>
                <a:lnTo>
                  <a:pt x="28" y="66"/>
                </a:lnTo>
                <a:lnTo>
                  <a:pt x="28" y="66"/>
                </a:lnTo>
                <a:lnTo>
                  <a:pt x="22" y="66"/>
                </a:lnTo>
                <a:lnTo>
                  <a:pt x="22" y="68"/>
                </a:lnTo>
                <a:lnTo>
                  <a:pt x="22" y="68"/>
                </a:lnTo>
                <a:lnTo>
                  <a:pt x="24" y="72"/>
                </a:lnTo>
                <a:lnTo>
                  <a:pt x="26" y="74"/>
                </a:lnTo>
                <a:lnTo>
                  <a:pt x="26" y="74"/>
                </a:lnTo>
                <a:lnTo>
                  <a:pt x="28" y="76"/>
                </a:lnTo>
                <a:lnTo>
                  <a:pt x="30" y="74"/>
                </a:lnTo>
                <a:lnTo>
                  <a:pt x="30" y="74"/>
                </a:lnTo>
                <a:lnTo>
                  <a:pt x="32" y="72"/>
                </a:lnTo>
                <a:lnTo>
                  <a:pt x="34" y="74"/>
                </a:lnTo>
                <a:lnTo>
                  <a:pt x="38" y="76"/>
                </a:lnTo>
                <a:lnTo>
                  <a:pt x="40" y="76"/>
                </a:lnTo>
                <a:lnTo>
                  <a:pt x="40" y="76"/>
                </a:lnTo>
                <a:lnTo>
                  <a:pt x="44" y="74"/>
                </a:lnTo>
                <a:lnTo>
                  <a:pt x="50" y="78"/>
                </a:lnTo>
                <a:lnTo>
                  <a:pt x="50" y="78"/>
                </a:lnTo>
                <a:lnTo>
                  <a:pt x="54" y="80"/>
                </a:lnTo>
                <a:lnTo>
                  <a:pt x="58" y="78"/>
                </a:lnTo>
                <a:lnTo>
                  <a:pt x="58" y="78"/>
                </a:lnTo>
                <a:lnTo>
                  <a:pt x="58" y="78"/>
                </a:lnTo>
                <a:lnTo>
                  <a:pt x="58" y="78"/>
                </a:lnTo>
                <a:lnTo>
                  <a:pt x="56" y="80"/>
                </a:lnTo>
                <a:lnTo>
                  <a:pt x="58" y="82"/>
                </a:lnTo>
                <a:lnTo>
                  <a:pt x="58" y="82"/>
                </a:lnTo>
                <a:lnTo>
                  <a:pt x="52" y="80"/>
                </a:lnTo>
                <a:lnTo>
                  <a:pt x="52" y="80"/>
                </a:lnTo>
                <a:lnTo>
                  <a:pt x="48" y="80"/>
                </a:lnTo>
                <a:lnTo>
                  <a:pt x="44" y="78"/>
                </a:lnTo>
                <a:lnTo>
                  <a:pt x="44" y="78"/>
                </a:lnTo>
                <a:lnTo>
                  <a:pt x="40" y="78"/>
                </a:lnTo>
                <a:lnTo>
                  <a:pt x="38" y="78"/>
                </a:lnTo>
                <a:lnTo>
                  <a:pt x="36" y="78"/>
                </a:lnTo>
                <a:lnTo>
                  <a:pt x="34" y="78"/>
                </a:lnTo>
                <a:lnTo>
                  <a:pt x="34" y="78"/>
                </a:lnTo>
                <a:lnTo>
                  <a:pt x="32" y="78"/>
                </a:lnTo>
                <a:lnTo>
                  <a:pt x="30" y="80"/>
                </a:lnTo>
                <a:lnTo>
                  <a:pt x="28" y="82"/>
                </a:lnTo>
                <a:lnTo>
                  <a:pt x="26" y="82"/>
                </a:lnTo>
                <a:lnTo>
                  <a:pt x="26" y="82"/>
                </a:lnTo>
                <a:lnTo>
                  <a:pt x="24" y="84"/>
                </a:lnTo>
                <a:lnTo>
                  <a:pt x="26" y="86"/>
                </a:lnTo>
                <a:lnTo>
                  <a:pt x="26" y="86"/>
                </a:lnTo>
                <a:lnTo>
                  <a:pt x="28" y="88"/>
                </a:lnTo>
                <a:lnTo>
                  <a:pt x="28" y="92"/>
                </a:lnTo>
                <a:lnTo>
                  <a:pt x="28" y="92"/>
                </a:lnTo>
                <a:lnTo>
                  <a:pt x="30" y="90"/>
                </a:lnTo>
                <a:lnTo>
                  <a:pt x="32" y="90"/>
                </a:lnTo>
                <a:lnTo>
                  <a:pt x="36" y="94"/>
                </a:lnTo>
                <a:lnTo>
                  <a:pt x="38" y="98"/>
                </a:lnTo>
                <a:lnTo>
                  <a:pt x="38" y="98"/>
                </a:lnTo>
                <a:lnTo>
                  <a:pt x="36" y="100"/>
                </a:lnTo>
                <a:lnTo>
                  <a:pt x="36" y="100"/>
                </a:lnTo>
                <a:lnTo>
                  <a:pt x="34" y="102"/>
                </a:lnTo>
                <a:lnTo>
                  <a:pt x="36" y="104"/>
                </a:lnTo>
                <a:lnTo>
                  <a:pt x="46" y="110"/>
                </a:lnTo>
                <a:lnTo>
                  <a:pt x="46" y="110"/>
                </a:lnTo>
                <a:lnTo>
                  <a:pt x="50" y="112"/>
                </a:lnTo>
                <a:lnTo>
                  <a:pt x="50" y="112"/>
                </a:lnTo>
                <a:lnTo>
                  <a:pt x="52" y="110"/>
                </a:lnTo>
                <a:lnTo>
                  <a:pt x="52" y="110"/>
                </a:lnTo>
                <a:lnTo>
                  <a:pt x="52" y="108"/>
                </a:lnTo>
                <a:lnTo>
                  <a:pt x="54" y="110"/>
                </a:lnTo>
                <a:lnTo>
                  <a:pt x="54" y="114"/>
                </a:lnTo>
                <a:lnTo>
                  <a:pt x="54" y="114"/>
                </a:lnTo>
                <a:lnTo>
                  <a:pt x="56" y="116"/>
                </a:lnTo>
                <a:lnTo>
                  <a:pt x="56" y="116"/>
                </a:lnTo>
                <a:lnTo>
                  <a:pt x="58" y="116"/>
                </a:lnTo>
                <a:lnTo>
                  <a:pt x="58" y="114"/>
                </a:lnTo>
                <a:lnTo>
                  <a:pt x="58" y="114"/>
                </a:lnTo>
                <a:lnTo>
                  <a:pt x="58" y="112"/>
                </a:lnTo>
                <a:lnTo>
                  <a:pt x="60" y="112"/>
                </a:lnTo>
                <a:lnTo>
                  <a:pt x="64" y="116"/>
                </a:lnTo>
                <a:lnTo>
                  <a:pt x="64" y="116"/>
                </a:lnTo>
                <a:lnTo>
                  <a:pt x="66" y="118"/>
                </a:lnTo>
                <a:lnTo>
                  <a:pt x="66" y="116"/>
                </a:lnTo>
                <a:lnTo>
                  <a:pt x="64" y="112"/>
                </a:lnTo>
                <a:lnTo>
                  <a:pt x="64" y="112"/>
                </a:lnTo>
                <a:lnTo>
                  <a:pt x="60" y="106"/>
                </a:lnTo>
                <a:lnTo>
                  <a:pt x="60" y="106"/>
                </a:lnTo>
                <a:lnTo>
                  <a:pt x="60" y="102"/>
                </a:lnTo>
                <a:lnTo>
                  <a:pt x="60" y="102"/>
                </a:lnTo>
                <a:lnTo>
                  <a:pt x="60" y="100"/>
                </a:lnTo>
                <a:lnTo>
                  <a:pt x="60" y="100"/>
                </a:lnTo>
                <a:lnTo>
                  <a:pt x="58" y="98"/>
                </a:lnTo>
                <a:lnTo>
                  <a:pt x="56" y="96"/>
                </a:lnTo>
                <a:lnTo>
                  <a:pt x="58" y="96"/>
                </a:lnTo>
                <a:lnTo>
                  <a:pt x="58" y="96"/>
                </a:lnTo>
                <a:lnTo>
                  <a:pt x="60" y="98"/>
                </a:lnTo>
                <a:lnTo>
                  <a:pt x="62" y="98"/>
                </a:lnTo>
                <a:lnTo>
                  <a:pt x="62" y="98"/>
                </a:lnTo>
                <a:lnTo>
                  <a:pt x="62" y="100"/>
                </a:lnTo>
                <a:lnTo>
                  <a:pt x="64" y="98"/>
                </a:lnTo>
                <a:lnTo>
                  <a:pt x="66" y="96"/>
                </a:lnTo>
                <a:lnTo>
                  <a:pt x="66" y="96"/>
                </a:lnTo>
                <a:lnTo>
                  <a:pt x="68" y="94"/>
                </a:lnTo>
                <a:lnTo>
                  <a:pt x="68" y="94"/>
                </a:lnTo>
                <a:lnTo>
                  <a:pt x="66" y="92"/>
                </a:lnTo>
                <a:lnTo>
                  <a:pt x="66" y="92"/>
                </a:lnTo>
                <a:lnTo>
                  <a:pt x="64" y="90"/>
                </a:lnTo>
                <a:lnTo>
                  <a:pt x="64" y="88"/>
                </a:lnTo>
                <a:lnTo>
                  <a:pt x="64" y="88"/>
                </a:lnTo>
                <a:lnTo>
                  <a:pt x="64" y="88"/>
                </a:lnTo>
                <a:lnTo>
                  <a:pt x="62" y="86"/>
                </a:lnTo>
                <a:lnTo>
                  <a:pt x="64" y="86"/>
                </a:lnTo>
                <a:lnTo>
                  <a:pt x="70" y="86"/>
                </a:lnTo>
                <a:lnTo>
                  <a:pt x="70" y="86"/>
                </a:lnTo>
                <a:lnTo>
                  <a:pt x="74" y="84"/>
                </a:lnTo>
                <a:lnTo>
                  <a:pt x="76" y="86"/>
                </a:lnTo>
                <a:lnTo>
                  <a:pt x="76" y="86"/>
                </a:lnTo>
                <a:lnTo>
                  <a:pt x="78" y="90"/>
                </a:lnTo>
                <a:lnTo>
                  <a:pt x="80" y="90"/>
                </a:lnTo>
                <a:lnTo>
                  <a:pt x="80" y="88"/>
                </a:lnTo>
                <a:lnTo>
                  <a:pt x="80" y="88"/>
                </a:lnTo>
                <a:lnTo>
                  <a:pt x="82" y="84"/>
                </a:lnTo>
                <a:lnTo>
                  <a:pt x="80" y="80"/>
                </a:lnTo>
                <a:lnTo>
                  <a:pt x="80" y="80"/>
                </a:lnTo>
                <a:lnTo>
                  <a:pt x="76" y="76"/>
                </a:lnTo>
                <a:lnTo>
                  <a:pt x="72" y="74"/>
                </a:lnTo>
                <a:lnTo>
                  <a:pt x="72" y="74"/>
                </a:lnTo>
                <a:lnTo>
                  <a:pt x="68" y="74"/>
                </a:lnTo>
                <a:lnTo>
                  <a:pt x="66" y="70"/>
                </a:lnTo>
                <a:lnTo>
                  <a:pt x="66" y="70"/>
                </a:lnTo>
                <a:lnTo>
                  <a:pt x="62" y="68"/>
                </a:lnTo>
                <a:lnTo>
                  <a:pt x="56" y="68"/>
                </a:lnTo>
                <a:lnTo>
                  <a:pt x="56" y="68"/>
                </a:lnTo>
                <a:lnTo>
                  <a:pt x="56" y="68"/>
                </a:lnTo>
                <a:lnTo>
                  <a:pt x="56" y="66"/>
                </a:lnTo>
                <a:lnTo>
                  <a:pt x="56" y="64"/>
                </a:lnTo>
                <a:lnTo>
                  <a:pt x="56" y="62"/>
                </a:lnTo>
                <a:lnTo>
                  <a:pt x="56" y="62"/>
                </a:lnTo>
                <a:lnTo>
                  <a:pt x="56" y="60"/>
                </a:lnTo>
                <a:lnTo>
                  <a:pt x="54" y="58"/>
                </a:lnTo>
                <a:lnTo>
                  <a:pt x="54" y="58"/>
                </a:lnTo>
                <a:lnTo>
                  <a:pt x="50" y="58"/>
                </a:lnTo>
                <a:lnTo>
                  <a:pt x="52" y="56"/>
                </a:lnTo>
                <a:lnTo>
                  <a:pt x="52" y="56"/>
                </a:lnTo>
                <a:lnTo>
                  <a:pt x="54" y="56"/>
                </a:lnTo>
                <a:lnTo>
                  <a:pt x="52" y="52"/>
                </a:lnTo>
                <a:lnTo>
                  <a:pt x="52" y="52"/>
                </a:lnTo>
                <a:lnTo>
                  <a:pt x="50" y="50"/>
                </a:lnTo>
                <a:lnTo>
                  <a:pt x="52" y="50"/>
                </a:lnTo>
                <a:lnTo>
                  <a:pt x="54" y="50"/>
                </a:lnTo>
                <a:lnTo>
                  <a:pt x="54" y="50"/>
                </a:lnTo>
                <a:lnTo>
                  <a:pt x="56" y="52"/>
                </a:lnTo>
                <a:lnTo>
                  <a:pt x="56" y="54"/>
                </a:lnTo>
                <a:lnTo>
                  <a:pt x="56" y="54"/>
                </a:lnTo>
                <a:lnTo>
                  <a:pt x="56" y="56"/>
                </a:lnTo>
                <a:lnTo>
                  <a:pt x="58" y="56"/>
                </a:lnTo>
                <a:lnTo>
                  <a:pt x="58" y="56"/>
                </a:lnTo>
                <a:lnTo>
                  <a:pt x="60" y="54"/>
                </a:lnTo>
                <a:lnTo>
                  <a:pt x="58" y="52"/>
                </a:lnTo>
                <a:lnTo>
                  <a:pt x="56" y="46"/>
                </a:lnTo>
                <a:lnTo>
                  <a:pt x="56" y="46"/>
                </a:lnTo>
                <a:lnTo>
                  <a:pt x="52" y="44"/>
                </a:lnTo>
                <a:lnTo>
                  <a:pt x="50" y="42"/>
                </a:lnTo>
                <a:lnTo>
                  <a:pt x="50" y="42"/>
                </a:lnTo>
                <a:lnTo>
                  <a:pt x="48" y="38"/>
                </a:lnTo>
                <a:lnTo>
                  <a:pt x="48" y="36"/>
                </a:lnTo>
                <a:lnTo>
                  <a:pt x="48" y="36"/>
                </a:lnTo>
                <a:lnTo>
                  <a:pt x="48" y="34"/>
                </a:lnTo>
                <a:lnTo>
                  <a:pt x="48" y="32"/>
                </a:lnTo>
                <a:lnTo>
                  <a:pt x="48" y="30"/>
                </a:lnTo>
                <a:lnTo>
                  <a:pt x="48" y="30"/>
                </a:lnTo>
                <a:lnTo>
                  <a:pt x="48" y="30"/>
                </a:lnTo>
                <a:lnTo>
                  <a:pt x="52" y="30"/>
                </a:lnTo>
                <a:lnTo>
                  <a:pt x="52" y="32"/>
                </a:lnTo>
                <a:lnTo>
                  <a:pt x="52" y="32"/>
                </a:lnTo>
                <a:lnTo>
                  <a:pt x="54" y="34"/>
                </a:lnTo>
                <a:lnTo>
                  <a:pt x="56" y="34"/>
                </a:lnTo>
                <a:lnTo>
                  <a:pt x="60" y="34"/>
                </a:lnTo>
                <a:lnTo>
                  <a:pt x="60" y="34"/>
                </a:lnTo>
                <a:lnTo>
                  <a:pt x="60" y="36"/>
                </a:lnTo>
                <a:lnTo>
                  <a:pt x="60" y="38"/>
                </a:lnTo>
                <a:lnTo>
                  <a:pt x="60" y="38"/>
                </a:lnTo>
                <a:lnTo>
                  <a:pt x="64" y="38"/>
                </a:lnTo>
                <a:lnTo>
                  <a:pt x="64" y="36"/>
                </a:lnTo>
                <a:lnTo>
                  <a:pt x="64" y="36"/>
                </a:lnTo>
                <a:lnTo>
                  <a:pt x="64" y="36"/>
                </a:lnTo>
                <a:lnTo>
                  <a:pt x="66" y="38"/>
                </a:lnTo>
                <a:lnTo>
                  <a:pt x="66" y="38"/>
                </a:lnTo>
                <a:lnTo>
                  <a:pt x="68" y="38"/>
                </a:lnTo>
                <a:lnTo>
                  <a:pt x="68" y="38"/>
                </a:lnTo>
                <a:lnTo>
                  <a:pt x="66" y="34"/>
                </a:lnTo>
                <a:lnTo>
                  <a:pt x="66" y="34"/>
                </a:lnTo>
                <a:lnTo>
                  <a:pt x="66" y="34"/>
                </a:lnTo>
                <a:lnTo>
                  <a:pt x="66" y="34"/>
                </a:lnTo>
                <a:lnTo>
                  <a:pt x="70" y="36"/>
                </a:lnTo>
                <a:lnTo>
                  <a:pt x="70" y="36"/>
                </a:lnTo>
                <a:lnTo>
                  <a:pt x="72" y="36"/>
                </a:lnTo>
                <a:lnTo>
                  <a:pt x="72" y="36"/>
                </a:lnTo>
                <a:lnTo>
                  <a:pt x="70" y="32"/>
                </a:lnTo>
                <a:lnTo>
                  <a:pt x="70" y="32"/>
                </a:lnTo>
                <a:lnTo>
                  <a:pt x="68" y="30"/>
                </a:lnTo>
                <a:lnTo>
                  <a:pt x="68" y="28"/>
                </a:lnTo>
                <a:lnTo>
                  <a:pt x="68" y="28"/>
                </a:lnTo>
                <a:lnTo>
                  <a:pt x="70" y="26"/>
                </a:lnTo>
                <a:lnTo>
                  <a:pt x="72" y="26"/>
                </a:lnTo>
                <a:lnTo>
                  <a:pt x="74" y="26"/>
                </a:lnTo>
                <a:lnTo>
                  <a:pt x="76" y="24"/>
                </a:lnTo>
                <a:lnTo>
                  <a:pt x="76" y="24"/>
                </a:lnTo>
                <a:lnTo>
                  <a:pt x="76" y="22"/>
                </a:lnTo>
                <a:lnTo>
                  <a:pt x="78" y="22"/>
                </a:lnTo>
                <a:lnTo>
                  <a:pt x="82" y="24"/>
                </a:lnTo>
                <a:lnTo>
                  <a:pt x="82" y="22"/>
                </a:lnTo>
                <a:lnTo>
                  <a:pt x="82" y="22"/>
                </a:lnTo>
                <a:lnTo>
                  <a:pt x="84" y="20"/>
                </a:lnTo>
                <a:lnTo>
                  <a:pt x="86" y="20"/>
                </a:lnTo>
                <a:lnTo>
                  <a:pt x="88" y="20"/>
                </a:lnTo>
                <a:lnTo>
                  <a:pt x="88" y="22"/>
                </a:lnTo>
                <a:lnTo>
                  <a:pt x="88" y="22"/>
                </a:lnTo>
                <a:lnTo>
                  <a:pt x="88" y="22"/>
                </a:lnTo>
                <a:lnTo>
                  <a:pt x="90" y="22"/>
                </a:lnTo>
                <a:lnTo>
                  <a:pt x="96" y="22"/>
                </a:lnTo>
                <a:lnTo>
                  <a:pt x="96" y="22"/>
                </a:lnTo>
                <a:lnTo>
                  <a:pt x="100" y="22"/>
                </a:lnTo>
                <a:lnTo>
                  <a:pt x="104" y="22"/>
                </a:lnTo>
                <a:lnTo>
                  <a:pt x="108" y="22"/>
                </a:lnTo>
                <a:lnTo>
                  <a:pt x="108" y="22"/>
                </a:lnTo>
                <a:lnTo>
                  <a:pt x="110" y="18"/>
                </a:lnTo>
                <a:lnTo>
                  <a:pt x="110" y="16"/>
                </a:lnTo>
                <a:lnTo>
                  <a:pt x="108" y="12"/>
                </a:lnTo>
                <a:lnTo>
                  <a:pt x="108" y="12"/>
                </a:lnTo>
                <a:lnTo>
                  <a:pt x="110" y="10"/>
                </a:lnTo>
                <a:lnTo>
                  <a:pt x="112" y="10"/>
                </a:lnTo>
                <a:lnTo>
                  <a:pt x="112" y="8"/>
                </a:lnTo>
                <a:lnTo>
                  <a:pt x="114" y="6"/>
                </a:lnTo>
                <a:lnTo>
                  <a:pt x="114" y="6"/>
                </a:lnTo>
                <a:lnTo>
                  <a:pt x="114" y="4"/>
                </a:lnTo>
                <a:lnTo>
                  <a:pt x="114" y="4"/>
                </a:lnTo>
                <a:lnTo>
                  <a:pt x="110" y="2"/>
                </a:lnTo>
                <a:lnTo>
                  <a:pt x="110" y="2"/>
                </a:lnTo>
                <a:lnTo>
                  <a:pt x="106" y="0"/>
                </a:lnTo>
                <a:lnTo>
                  <a:pt x="106" y="4"/>
                </a:lnTo>
                <a:lnTo>
                  <a:pt x="106" y="4"/>
                </a:lnTo>
                <a:lnTo>
                  <a:pt x="106" y="4"/>
                </a:lnTo>
                <a:lnTo>
                  <a:pt x="106" y="6"/>
                </a:lnTo>
                <a:lnTo>
                  <a:pt x="102" y="6"/>
                </a:lnTo>
                <a:lnTo>
                  <a:pt x="98" y="4"/>
                </a:lnTo>
                <a:lnTo>
                  <a:pt x="96" y="6"/>
                </a:lnTo>
                <a:lnTo>
                  <a:pt x="96" y="6"/>
                </a:lnTo>
                <a:lnTo>
                  <a:pt x="96" y="6"/>
                </a:lnTo>
                <a:lnTo>
                  <a:pt x="94" y="6"/>
                </a:lnTo>
                <a:lnTo>
                  <a:pt x="88" y="6"/>
                </a:lnTo>
                <a:lnTo>
                  <a:pt x="88" y="6"/>
                </a:lnTo>
                <a:lnTo>
                  <a:pt x="86" y="6"/>
                </a:lnTo>
                <a:lnTo>
                  <a:pt x="82" y="4"/>
                </a:lnTo>
                <a:lnTo>
                  <a:pt x="82" y="4"/>
                </a:lnTo>
                <a:lnTo>
                  <a:pt x="78" y="4"/>
                </a:lnTo>
                <a:lnTo>
                  <a:pt x="74" y="4"/>
                </a:lnTo>
                <a:lnTo>
                  <a:pt x="74" y="4"/>
                </a:lnTo>
                <a:lnTo>
                  <a:pt x="72" y="2"/>
                </a:lnTo>
                <a:lnTo>
                  <a:pt x="70" y="2"/>
                </a:lnTo>
                <a:lnTo>
                  <a:pt x="66" y="6"/>
                </a:lnTo>
                <a:lnTo>
                  <a:pt x="66" y="6"/>
                </a:lnTo>
                <a:lnTo>
                  <a:pt x="64" y="6"/>
                </a:lnTo>
                <a:lnTo>
                  <a:pt x="60" y="6"/>
                </a:lnTo>
                <a:lnTo>
                  <a:pt x="52" y="6"/>
                </a:lnTo>
                <a:lnTo>
                  <a:pt x="52" y="6"/>
                </a:lnTo>
                <a:lnTo>
                  <a:pt x="50" y="8"/>
                </a:lnTo>
                <a:lnTo>
                  <a:pt x="48" y="10"/>
                </a:lnTo>
                <a:lnTo>
                  <a:pt x="48" y="10"/>
                </a:lnTo>
                <a:lnTo>
                  <a:pt x="48" y="12"/>
                </a:lnTo>
                <a:lnTo>
                  <a:pt x="46" y="12"/>
                </a:lnTo>
                <a:lnTo>
                  <a:pt x="42" y="10"/>
                </a:lnTo>
                <a:lnTo>
                  <a:pt x="42" y="10"/>
                </a:lnTo>
                <a:lnTo>
                  <a:pt x="40" y="10"/>
                </a:lnTo>
                <a:lnTo>
                  <a:pt x="38" y="10"/>
                </a:lnTo>
                <a:lnTo>
                  <a:pt x="36" y="14"/>
                </a:lnTo>
                <a:lnTo>
                  <a:pt x="36" y="14"/>
                </a:lnTo>
                <a:lnTo>
                  <a:pt x="32" y="18"/>
                </a:lnTo>
                <a:lnTo>
                  <a:pt x="28" y="18"/>
                </a:lnTo>
                <a:lnTo>
                  <a:pt x="20" y="18"/>
                </a:lnTo>
                <a:lnTo>
                  <a:pt x="20" y="18"/>
                </a:lnTo>
                <a:lnTo>
                  <a:pt x="16" y="18"/>
                </a:lnTo>
                <a:lnTo>
                  <a:pt x="12" y="22"/>
                </a:lnTo>
                <a:lnTo>
                  <a:pt x="12" y="22"/>
                </a:lnTo>
                <a:lnTo>
                  <a:pt x="12" y="26"/>
                </a:lnTo>
                <a:lnTo>
                  <a:pt x="10" y="30"/>
                </a:lnTo>
                <a:lnTo>
                  <a:pt x="8" y="36"/>
                </a:lnTo>
                <a:lnTo>
                  <a:pt x="8" y="36"/>
                </a:lnTo>
                <a:lnTo>
                  <a:pt x="6" y="42"/>
                </a:lnTo>
                <a:lnTo>
                  <a:pt x="2" y="44"/>
                </a:lnTo>
                <a:lnTo>
                  <a:pt x="2" y="44"/>
                </a:lnTo>
                <a:lnTo>
                  <a:pt x="2" y="44"/>
                </a:lnTo>
                <a:lnTo>
                  <a:pt x="2" y="46"/>
                </a:lnTo>
                <a:lnTo>
                  <a:pt x="2" y="46"/>
                </a:lnTo>
                <a:lnTo>
                  <a:pt x="2" y="48"/>
                </a:lnTo>
                <a:lnTo>
                  <a:pt x="2" y="48"/>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34" name="Hungary"/>
          <p:cNvSpPr>
            <a:spLocks/>
          </p:cNvSpPr>
          <p:nvPr/>
        </p:nvSpPr>
        <p:spPr bwMode="auto">
          <a:xfrm>
            <a:off x="4678171" y="1434613"/>
            <a:ext cx="127614" cy="70560"/>
          </a:xfrm>
          <a:custGeom>
            <a:avLst/>
            <a:gdLst/>
            <a:ahLst/>
            <a:cxnLst>
              <a:cxn ang="0">
                <a:pos x="112" y="14"/>
              </a:cxn>
              <a:cxn ang="0">
                <a:pos x="106" y="8"/>
              </a:cxn>
              <a:cxn ang="0">
                <a:pos x="106" y="4"/>
              </a:cxn>
              <a:cxn ang="0">
                <a:pos x="98" y="6"/>
              </a:cxn>
              <a:cxn ang="0">
                <a:pos x="90" y="2"/>
              </a:cxn>
              <a:cxn ang="0">
                <a:pos x="82" y="2"/>
              </a:cxn>
              <a:cxn ang="0">
                <a:pos x="76" y="4"/>
              </a:cxn>
              <a:cxn ang="0">
                <a:pos x="72" y="4"/>
              </a:cxn>
              <a:cxn ang="0">
                <a:pos x="62" y="10"/>
              </a:cxn>
              <a:cxn ang="0">
                <a:pos x="54" y="12"/>
              </a:cxn>
              <a:cxn ang="0">
                <a:pos x="44" y="14"/>
              </a:cxn>
              <a:cxn ang="0">
                <a:pos x="40" y="16"/>
              </a:cxn>
              <a:cxn ang="0">
                <a:pos x="42" y="18"/>
              </a:cxn>
              <a:cxn ang="0">
                <a:pos x="38" y="20"/>
              </a:cxn>
              <a:cxn ang="0">
                <a:pos x="30" y="20"/>
              </a:cxn>
              <a:cxn ang="0">
                <a:pos x="18" y="18"/>
              </a:cxn>
              <a:cxn ang="0">
                <a:pos x="14" y="22"/>
              </a:cxn>
              <a:cxn ang="0">
                <a:pos x="6" y="20"/>
              </a:cxn>
              <a:cxn ang="0">
                <a:pos x="2" y="20"/>
              </a:cxn>
              <a:cxn ang="0">
                <a:pos x="6" y="24"/>
              </a:cxn>
              <a:cxn ang="0">
                <a:pos x="8" y="26"/>
              </a:cxn>
              <a:cxn ang="0">
                <a:pos x="6" y="30"/>
              </a:cxn>
              <a:cxn ang="0">
                <a:pos x="6" y="34"/>
              </a:cxn>
              <a:cxn ang="0">
                <a:pos x="0" y="40"/>
              </a:cxn>
              <a:cxn ang="0">
                <a:pos x="4" y="42"/>
              </a:cxn>
              <a:cxn ang="0">
                <a:pos x="6" y="44"/>
              </a:cxn>
              <a:cxn ang="0">
                <a:pos x="6" y="44"/>
              </a:cxn>
              <a:cxn ang="0">
                <a:pos x="8" y="48"/>
              </a:cxn>
              <a:cxn ang="0">
                <a:pos x="10" y="50"/>
              </a:cxn>
              <a:cxn ang="0">
                <a:pos x="18" y="54"/>
              </a:cxn>
              <a:cxn ang="0">
                <a:pos x="22" y="56"/>
              </a:cxn>
              <a:cxn ang="0">
                <a:pos x="34" y="60"/>
              </a:cxn>
              <a:cxn ang="0">
                <a:pos x="36" y="62"/>
              </a:cxn>
              <a:cxn ang="0">
                <a:pos x="40" y="62"/>
              </a:cxn>
              <a:cxn ang="0">
                <a:pos x="46" y="56"/>
              </a:cxn>
              <a:cxn ang="0">
                <a:pos x="54" y="54"/>
              </a:cxn>
              <a:cxn ang="0">
                <a:pos x="60" y="54"/>
              </a:cxn>
              <a:cxn ang="0">
                <a:pos x="62" y="56"/>
              </a:cxn>
              <a:cxn ang="0">
                <a:pos x="70" y="54"/>
              </a:cxn>
              <a:cxn ang="0">
                <a:pos x="82" y="54"/>
              </a:cxn>
              <a:cxn ang="0">
                <a:pos x="86" y="54"/>
              </a:cxn>
              <a:cxn ang="0">
                <a:pos x="90" y="50"/>
              </a:cxn>
              <a:cxn ang="0">
                <a:pos x="98" y="38"/>
              </a:cxn>
              <a:cxn ang="0">
                <a:pos x="104" y="28"/>
              </a:cxn>
              <a:cxn ang="0">
                <a:pos x="102" y="24"/>
              </a:cxn>
              <a:cxn ang="0">
                <a:pos x="104" y="20"/>
              </a:cxn>
              <a:cxn ang="0">
                <a:pos x="112" y="14"/>
              </a:cxn>
            </a:cxnLst>
            <a:rect l="0" t="0" r="r" b="b"/>
            <a:pathLst>
              <a:path w="112" h="62">
                <a:moveTo>
                  <a:pt x="112" y="14"/>
                </a:moveTo>
                <a:lnTo>
                  <a:pt x="112" y="14"/>
                </a:lnTo>
                <a:lnTo>
                  <a:pt x="110" y="12"/>
                </a:lnTo>
                <a:lnTo>
                  <a:pt x="106" y="8"/>
                </a:lnTo>
                <a:lnTo>
                  <a:pt x="106" y="8"/>
                </a:lnTo>
                <a:lnTo>
                  <a:pt x="106" y="4"/>
                </a:lnTo>
                <a:lnTo>
                  <a:pt x="106" y="4"/>
                </a:lnTo>
                <a:lnTo>
                  <a:pt x="98" y="6"/>
                </a:lnTo>
                <a:lnTo>
                  <a:pt x="90" y="2"/>
                </a:lnTo>
                <a:lnTo>
                  <a:pt x="90" y="2"/>
                </a:lnTo>
                <a:lnTo>
                  <a:pt x="84" y="0"/>
                </a:lnTo>
                <a:lnTo>
                  <a:pt x="82" y="2"/>
                </a:lnTo>
                <a:lnTo>
                  <a:pt x="80" y="4"/>
                </a:lnTo>
                <a:lnTo>
                  <a:pt x="76" y="4"/>
                </a:lnTo>
                <a:lnTo>
                  <a:pt x="76" y="4"/>
                </a:lnTo>
                <a:lnTo>
                  <a:pt x="72" y="4"/>
                </a:lnTo>
                <a:lnTo>
                  <a:pt x="68" y="6"/>
                </a:lnTo>
                <a:lnTo>
                  <a:pt x="62" y="10"/>
                </a:lnTo>
                <a:lnTo>
                  <a:pt x="62" y="10"/>
                </a:lnTo>
                <a:lnTo>
                  <a:pt x="54" y="12"/>
                </a:lnTo>
                <a:lnTo>
                  <a:pt x="44" y="14"/>
                </a:lnTo>
                <a:lnTo>
                  <a:pt x="44" y="14"/>
                </a:lnTo>
                <a:lnTo>
                  <a:pt x="42" y="14"/>
                </a:lnTo>
                <a:lnTo>
                  <a:pt x="40" y="16"/>
                </a:lnTo>
                <a:lnTo>
                  <a:pt x="42" y="18"/>
                </a:lnTo>
                <a:lnTo>
                  <a:pt x="42" y="18"/>
                </a:lnTo>
                <a:lnTo>
                  <a:pt x="40" y="20"/>
                </a:lnTo>
                <a:lnTo>
                  <a:pt x="38" y="20"/>
                </a:lnTo>
                <a:lnTo>
                  <a:pt x="30" y="20"/>
                </a:lnTo>
                <a:lnTo>
                  <a:pt x="30" y="20"/>
                </a:lnTo>
                <a:lnTo>
                  <a:pt x="24" y="20"/>
                </a:lnTo>
                <a:lnTo>
                  <a:pt x="18" y="18"/>
                </a:lnTo>
                <a:lnTo>
                  <a:pt x="18" y="18"/>
                </a:lnTo>
                <a:lnTo>
                  <a:pt x="14" y="22"/>
                </a:lnTo>
                <a:lnTo>
                  <a:pt x="12" y="22"/>
                </a:lnTo>
                <a:lnTo>
                  <a:pt x="6" y="20"/>
                </a:lnTo>
                <a:lnTo>
                  <a:pt x="6" y="20"/>
                </a:lnTo>
                <a:lnTo>
                  <a:pt x="2" y="20"/>
                </a:lnTo>
                <a:lnTo>
                  <a:pt x="2" y="20"/>
                </a:lnTo>
                <a:lnTo>
                  <a:pt x="6" y="24"/>
                </a:lnTo>
                <a:lnTo>
                  <a:pt x="6" y="24"/>
                </a:lnTo>
                <a:lnTo>
                  <a:pt x="8" y="26"/>
                </a:lnTo>
                <a:lnTo>
                  <a:pt x="8" y="28"/>
                </a:lnTo>
                <a:lnTo>
                  <a:pt x="6" y="30"/>
                </a:lnTo>
                <a:lnTo>
                  <a:pt x="6" y="34"/>
                </a:lnTo>
                <a:lnTo>
                  <a:pt x="6" y="34"/>
                </a:lnTo>
                <a:lnTo>
                  <a:pt x="4" y="36"/>
                </a:lnTo>
                <a:lnTo>
                  <a:pt x="0" y="40"/>
                </a:lnTo>
                <a:lnTo>
                  <a:pt x="0" y="40"/>
                </a:lnTo>
                <a:lnTo>
                  <a:pt x="4" y="42"/>
                </a:lnTo>
                <a:lnTo>
                  <a:pt x="6" y="42"/>
                </a:lnTo>
                <a:lnTo>
                  <a:pt x="6" y="44"/>
                </a:lnTo>
                <a:lnTo>
                  <a:pt x="6" y="44"/>
                </a:lnTo>
                <a:lnTo>
                  <a:pt x="6" y="44"/>
                </a:lnTo>
                <a:lnTo>
                  <a:pt x="8" y="46"/>
                </a:lnTo>
                <a:lnTo>
                  <a:pt x="8" y="48"/>
                </a:lnTo>
                <a:lnTo>
                  <a:pt x="8" y="48"/>
                </a:lnTo>
                <a:lnTo>
                  <a:pt x="10" y="50"/>
                </a:lnTo>
                <a:lnTo>
                  <a:pt x="10" y="50"/>
                </a:lnTo>
                <a:lnTo>
                  <a:pt x="18" y="54"/>
                </a:lnTo>
                <a:lnTo>
                  <a:pt x="22" y="56"/>
                </a:lnTo>
                <a:lnTo>
                  <a:pt x="22" y="56"/>
                </a:lnTo>
                <a:lnTo>
                  <a:pt x="28" y="58"/>
                </a:lnTo>
                <a:lnTo>
                  <a:pt x="34" y="60"/>
                </a:lnTo>
                <a:lnTo>
                  <a:pt x="34" y="60"/>
                </a:lnTo>
                <a:lnTo>
                  <a:pt x="36" y="62"/>
                </a:lnTo>
                <a:lnTo>
                  <a:pt x="40" y="62"/>
                </a:lnTo>
                <a:lnTo>
                  <a:pt x="40" y="62"/>
                </a:lnTo>
                <a:lnTo>
                  <a:pt x="44" y="60"/>
                </a:lnTo>
                <a:lnTo>
                  <a:pt x="46" y="56"/>
                </a:lnTo>
                <a:lnTo>
                  <a:pt x="46" y="56"/>
                </a:lnTo>
                <a:lnTo>
                  <a:pt x="54" y="54"/>
                </a:lnTo>
                <a:lnTo>
                  <a:pt x="58" y="54"/>
                </a:lnTo>
                <a:lnTo>
                  <a:pt x="60" y="54"/>
                </a:lnTo>
                <a:lnTo>
                  <a:pt x="60" y="54"/>
                </a:lnTo>
                <a:lnTo>
                  <a:pt x="62" y="56"/>
                </a:lnTo>
                <a:lnTo>
                  <a:pt x="70" y="54"/>
                </a:lnTo>
                <a:lnTo>
                  <a:pt x="70" y="54"/>
                </a:lnTo>
                <a:lnTo>
                  <a:pt x="80" y="54"/>
                </a:lnTo>
                <a:lnTo>
                  <a:pt x="82" y="54"/>
                </a:lnTo>
                <a:lnTo>
                  <a:pt x="82" y="54"/>
                </a:lnTo>
                <a:lnTo>
                  <a:pt x="86" y="54"/>
                </a:lnTo>
                <a:lnTo>
                  <a:pt x="90" y="50"/>
                </a:lnTo>
                <a:lnTo>
                  <a:pt x="90" y="50"/>
                </a:lnTo>
                <a:lnTo>
                  <a:pt x="98" y="38"/>
                </a:lnTo>
                <a:lnTo>
                  <a:pt x="98" y="38"/>
                </a:lnTo>
                <a:lnTo>
                  <a:pt x="102" y="34"/>
                </a:lnTo>
                <a:lnTo>
                  <a:pt x="104" y="28"/>
                </a:lnTo>
                <a:lnTo>
                  <a:pt x="104" y="28"/>
                </a:lnTo>
                <a:lnTo>
                  <a:pt x="102" y="24"/>
                </a:lnTo>
                <a:lnTo>
                  <a:pt x="104" y="20"/>
                </a:lnTo>
                <a:lnTo>
                  <a:pt x="104" y="20"/>
                </a:lnTo>
                <a:lnTo>
                  <a:pt x="112" y="14"/>
                </a:lnTo>
                <a:lnTo>
                  <a:pt x="112" y="14"/>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35" name="Iceland"/>
          <p:cNvSpPr>
            <a:spLocks/>
          </p:cNvSpPr>
          <p:nvPr/>
        </p:nvSpPr>
        <p:spPr bwMode="auto">
          <a:xfrm>
            <a:off x="3898813" y="1086367"/>
            <a:ext cx="182306" cy="56903"/>
          </a:xfrm>
          <a:custGeom>
            <a:avLst/>
            <a:gdLst/>
            <a:ahLst/>
            <a:cxnLst>
              <a:cxn ang="0">
                <a:pos x="28" y="44"/>
              </a:cxn>
              <a:cxn ang="0">
                <a:pos x="42" y="44"/>
              </a:cxn>
              <a:cxn ang="0">
                <a:pos x="58" y="48"/>
              </a:cxn>
              <a:cxn ang="0">
                <a:pos x="88" y="48"/>
              </a:cxn>
              <a:cxn ang="0">
                <a:pos x="106" y="42"/>
              </a:cxn>
              <a:cxn ang="0">
                <a:pos x="124" y="36"/>
              </a:cxn>
              <a:cxn ang="0">
                <a:pos x="138" y="34"/>
              </a:cxn>
              <a:cxn ang="0">
                <a:pos x="146" y="30"/>
              </a:cxn>
              <a:cxn ang="0">
                <a:pos x="152" y="26"/>
              </a:cxn>
              <a:cxn ang="0">
                <a:pos x="154" y="22"/>
              </a:cxn>
              <a:cxn ang="0">
                <a:pos x="160" y="18"/>
              </a:cxn>
              <a:cxn ang="0">
                <a:pos x="156" y="16"/>
              </a:cxn>
              <a:cxn ang="0">
                <a:pos x="152" y="12"/>
              </a:cxn>
              <a:cxn ang="0">
                <a:pos x="140" y="12"/>
              </a:cxn>
              <a:cxn ang="0">
                <a:pos x="144" y="6"/>
              </a:cxn>
              <a:cxn ang="0">
                <a:pos x="144" y="4"/>
              </a:cxn>
              <a:cxn ang="0">
                <a:pos x="146" y="2"/>
              </a:cxn>
              <a:cxn ang="0">
                <a:pos x="130" y="6"/>
              </a:cxn>
              <a:cxn ang="0">
                <a:pos x="126" y="2"/>
              </a:cxn>
              <a:cxn ang="0">
                <a:pos x="118" y="2"/>
              </a:cxn>
              <a:cxn ang="0">
                <a:pos x="116" y="6"/>
              </a:cxn>
              <a:cxn ang="0">
                <a:pos x="110" y="6"/>
              </a:cxn>
              <a:cxn ang="0">
                <a:pos x="104" y="10"/>
              </a:cxn>
              <a:cxn ang="0">
                <a:pos x="96" y="12"/>
              </a:cxn>
              <a:cxn ang="0">
                <a:pos x="90" y="10"/>
              </a:cxn>
              <a:cxn ang="0">
                <a:pos x="84" y="6"/>
              </a:cxn>
              <a:cxn ang="0">
                <a:pos x="74" y="10"/>
              </a:cxn>
              <a:cxn ang="0">
                <a:pos x="70" y="12"/>
              </a:cxn>
              <a:cxn ang="0">
                <a:pos x="68" y="8"/>
              </a:cxn>
              <a:cxn ang="0">
                <a:pos x="60" y="12"/>
              </a:cxn>
              <a:cxn ang="0">
                <a:pos x="58" y="16"/>
              </a:cxn>
              <a:cxn ang="0">
                <a:pos x="54" y="16"/>
              </a:cxn>
              <a:cxn ang="0">
                <a:pos x="50" y="22"/>
              </a:cxn>
              <a:cxn ang="0">
                <a:pos x="46" y="18"/>
              </a:cxn>
              <a:cxn ang="0">
                <a:pos x="46" y="16"/>
              </a:cxn>
              <a:cxn ang="0">
                <a:pos x="46" y="12"/>
              </a:cxn>
              <a:cxn ang="0">
                <a:pos x="42" y="8"/>
              </a:cxn>
              <a:cxn ang="0">
                <a:pos x="34" y="4"/>
              </a:cxn>
              <a:cxn ang="0">
                <a:pos x="30" y="6"/>
              </a:cxn>
              <a:cxn ang="0">
                <a:pos x="30" y="8"/>
              </a:cxn>
              <a:cxn ang="0">
                <a:pos x="32" y="12"/>
              </a:cxn>
              <a:cxn ang="0">
                <a:pos x="18" y="8"/>
              </a:cxn>
              <a:cxn ang="0">
                <a:pos x="14" y="10"/>
              </a:cxn>
              <a:cxn ang="0">
                <a:pos x="12" y="12"/>
              </a:cxn>
              <a:cxn ang="0">
                <a:pos x="18" y="14"/>
              </a:cxn>
              <a:cxn ang="0">
                <a:pos x="10" y="14"/>
              </a:cxn>
              <a:cxn ang="0">
                <a:pos x="8" y="16"/>
              </a:cxn>
              <a:cxn ang="0">
                <a:pos x="0" y="18"/>
              </a:cxn>
              <a:cxn ang="0">
                <a:pos x="4" y="18"/>
              </a:cxn>
              <a:cxn ang="0">
                <a:pos x="24" y="18"/>
              </a:cxn>
              <a:cxn ang="0">
                <a:pos x="38" y="18"/>
              </a:cxn>
              <a:cxn ang="0">
                <a:pos x="26" y="24"/>
              </a:cxn>
              <a:cxn ang="0">
                <a:pos x="30" y="24"/>
              </a:cxn>
              <a:cxn ang="0">
                <a:pos x="30" y="26"/>
              </a:cxn>
              <a:cxn ang="0">
                <a:pos x="4" y="30"/>
              </a:cxn>
              <a:cxn ang="0">
                <a:pos x="10" y="30"/>
              </a:cxn>
              <a:cxn ang="0">
                <a:pos x="24" y="30"/>
              </a:cxn>
              <a:cxn ang="0">
                <a:pos x="32" y="34"/>
              </a:cxn>
              <a:cxn ang="0">
                <a:pos x="36" y="36"/>
              </a:cxn>
              <a:cxn ang="0">
                <a:pos x="32" y="36"/>
              </a:cxn>
              <a:cxn ang="0">
                <a:pos x="16" y="44"/>
              </a:cxn>
            </a:cxnLst>
            <a:rect l="0" t="0" r="r" b="b"/>
            <a:pathLst>
              <a:path w="160" h="50">
                <a:moveTo>
                  <a:pt x="16" y="44"/>
                </a:moveTo>
                <a:lnTo>
                  <a:pt x="16" y="44"/>
                </a:lnTo>
                <a:lnTo>
                  <a:pt x="22" y="44"/>
                </a:lnTo>
                <a:lnTo>
                  <a:pt x="22" y="44"/>
                </a:lnTo>
                <a:lnTo>
                  <a:pt x="28" y="44"/>
                </a:lnTo>
                <a:lnTo>
                  <a:pt x="34" y="44"/>
                </a:lnTo>
                <a:lnTo>
                  <a:pt x="34" y="44"/>
                </a:lnTo>
                <a:lnTo>
                  <a:pt x="36" y="44"/>
                </a:lnTo>
                <a:lnTo>
                  <a:pt x="36" y="44"/>
                </a:lnTo>
                <a:lnTo>
                  <a:pt x="42" y="44"/>
                </a:lnTo>
                <a:lnTo>
                  <a:pt x="46" y="44"/>
                </a:lnTo>
                <a:lnTo>
                  <a:pt x="54" y="48"/>
                </a:lnTo>
                <a:lnTo>
                  <a:pt x="54" y="48"/>
                </a:lnTo>
                <a:lnTo>
                  <a:pt x="58" y="48"/>
                </a:lnTo>
                <a:lnTo>
                  <a:pt x="58" y="48"/>
                </a:lnTo>
                <a:lnTo>
                  <a:pt x="66" y="50"/>
                </a:lnTo>
                <a:lnTo>
                  <a:pt x="76" y="50"/>
                </a:lnTo>
                <a:lnTo>
                  <a:pt x="76" y="50"/>
                </a:lnTo>
                <a:lnTo>
                  <a:pt x="88" y="48"/>
                </a:lnTo>
                <a:lnTo>
                  <a:pt x="88" y="48"/>
                </a:lnTo>
                <a:lnTo>
                  <a:pt x="94" y="44"/>
                </a:lnTo>
                <a:lnTo>
                  <a:pt x="94" y="44"/>
                </a:lnTo>
                <a:lnTo>
                  <a:pt x="100" y="42"/>
                </a:lnTo>
                <a:lnTo>
                  <a:pt x="106" y="42"/>
                </a:lnTo>
                <a:lnTo>
                  <a:pt x="106" y="42"/>
                </a:lnTo>
                <a:lnTo>
                  <a:pt x="112" y="40"/>
                </a:lnTo>
                <a:lnTo>
                  <a:pt x="112" y="40"/>
                </a:lnTo>
                <a:lnTo>
                  <a:pt x="116" y="40"/>
                </a:lnTo>
                <a:lnTo>
                  <a:pt x="116" y="40"/>
                </a:lnTo>
                <a:lnTo>
                  <a:pt x="124" y="36"/>
                </a:lnTo>
                <a:lnTo>
                  <a:pt x="124" y="36"/>
                </a:lnTo>
                <a:lnTo>
                  <a:pt x="130" y="34"/>
                </a:lnTo>
                <a:lnTo>
                  <a:pt x="136" y="34"/>
                </a:lnTo>
                <a:lnTo>
                  <a:pt x="136" y="34"/>
                </a:lnTo>
                <a:lnTo>
                  <a:pt x="138" y="34"/>
                </a:lnTo>
                <a:lnTo>
                  <a:pt x="138" y="34"/>
                </a:lnTo>
                <a:lnTo>
                  <a:pt x="144" y="32"/>
                </a:lnTo>
                <a:lnTo>
                  <a:pt x="144" y="32"/>
                </a:lnTo>
                <a:lnTo>
                  <a:pt x="146" y="30"/>
                </a:lnTo>
                <a:lnTo>
                  <a:pt x="146" y="30"/>
                </a:lnTo>
                <a:lnTo>
                  <a:pt x="146" y="28"/>
                </a:lnTo>
                <a:lnTo>
                  <a:pt x="148" y="26"/>
                </a:lnTo>
                <a:lnTo>
                  <a:pt x="148" y="26"/>
                </a:lnTo>
                <a:lnTo>
                  <a:pt x="150" y="26"/>
                </a:lnTo>
                <a:lnTo>
                  <a:pt x="152" y="26"/>
                </a:lnTo>
                <a:lnTo>
                  <a:pt x="152" y="26"/>
                </a:lnTo>
                <a:lnTo>
                  <a:pt x="152" y="26"/>
                </a:lnTo>
                <a:lnTo>
                  <a:pt x="152" y="26"/>
                </a:lnTo>
                <a:lnTo>
                  <a:pt x="154" y="24"/>
                </a:lnTo>
                <a:lnTo>
                  <a:pt x="154" y="22"/>
                </a:lnTo>
                <a:lnTo>
                  <a:pt x="154" y="22"/>
                </a:lnTo>
                <a:lnTo>
                  <a:pt x="158" y="22"/>
                </a:lnTo>
                <a:lnTo>
                  <a:pt x="158" y="22"/>
                </a:lnTo>
                <a:lnTo>
                  <a:pt x="160" y="20"/>
                </a:lnTo>
                <a:lnTo>
                  <a:pt x="160" y="18"/>
                </a:lnTo>
                <a:lnTo>
                  <a:pt x="160" y="18"/>
                </a:lnTo>
                <a:lnTo>
                  <a:pt x="158" y="18"/>
                </a:lnTo>
                <a:lnTo>
                  <a:pt x="154" y="18"/>
                </a:lnTo>
                <a:lnTo>
                  <a:pt x="154" y="18"/>
                </a:lnTo>
                <a:lnTo>
                  <a:pt x="156" y="16"/>
                </a:lnTo>
                <a:lnTo>
                  <a:pt x="156" y="16"/>
                </a:lnTo>
                <a:lnTo>
                  <a:pt x="156" y="14"/>
                </a:lnTo>
                <a:lnTo>
                  <a:pt x="156" y="14"/>
                </a:lnTo>
                <a:lnTo>
                  <a:pt x="152" y="12"/>
                </a:lnTo>
                <a:lnTo>
                  <a:pt x="152" y="12"/>
                </a:lnTo>
                <a:lnTo>
                  <a:pt x="148" y="12"/>
                </a:lnTo>
                <a:lnTo>
                  <a:pt x="148" y="12"/>
                </a:lnTo>
                <a:lnTo>
                  <a:pt x="148" y="12"/>
                </a:lnTo>
                <a:lnTo>
                  <a:pt x="148" y="12"/>
                </a:lnTo>
                <a:lnTo>
                  <a:pt x="140" y="12"/>
                </a:lnTo>
                <a:lnTo>
                  <a:pt x="140" y="12"/>
                </a:lnTo>
                <a:lnTo>
                  <a:pt x="144" y="10"/>
                </a:lnTo>
                <a:lnTo>
                  <a:pt x="146" y="8"/>
                </a:lnTo>
                <a:lnTo>
                  <a:pt x="144" y="6"/>
                </a:lnTo>
                <a:lnTo>
                  <a:pt x="144" y="6"/>
                </a:lnTo>
                <a:lnTo>
                  <a:pt x="140" y="6"/>
                </a:lnTo>
                <a:lnTo>
                  <a:pt x="140" y="6"/>
                </a:lnTo>
                <a:lnTo>
                  <a:pt x="140" y="6"/>
                </a:lnTo>
                <a:lnTo>
                  <a:pt x="140" y="6"/>
                </a:lnTo>
                <a:lnTo>
                  <a:pt x="144" y="4"/>
                </a:lnTo>
                <a:lnTo>
                  <a:pt x="144" y="4"/>
                </a:lnTo>
                <a:lnTo>
                  <a:pt x="144" y="4"/>
                </a:lnTo>
                <a:lnTo>
                  <a:pt x="144" y="4"/>
                </a:lnTo>
                <a:lnTo>
                  <a:pt x="146" y="2"/>
                </a:lnTo>
                <a:lnTo>
                  <a:pt x="146" y="2"/>
                </a:lnTo>
                <a:lnTo>
                  <a:pt x="140" y="2"/>
                </a:lnTo>
                <a:lnTo>
                  <a:pt x="136" y="4"/>
                </a:lnTo>
                <a:lnTo>
                  <a:pt x="136" y="4"/>
                </a:lnTo>
                <a:lnTo>
                  <a:pt x="130" y="6"/>
                </a:lnTo>
                <a:lnTo>
                  <a:pt x="130" y="6"/>
                </a:lnTo>
                <a:lnTo>
                  <a:pt x="130" y="4"/>
                </a:lnTo>
                <a:lnTo>
                  <a:pt x="130" y="4"/>
                </a:lnTo>
                <a:lnTo>
                  <a:pt x="130" y="4"/>
                </a:lnTo>
                <a:lnTo>
                  <a:pt x="130" y="4"/>
                </a:lnTo>
                <a:lnTo>
                  <a:pt x="126" y="2"/>
                </a:lnTo>
                <a:lnTo>
                  <a:pt x="124" y="0"/>
                </a:lnTo>
                <a:lnTo>
                  <a:pt x="124" y="0"/>
                </a:lnTo>
                <a:lnTo>
                  <a:pt x="124" y="0"/>
                </a:lnTo>
                <a:lnTo>
                  <a:pt x="124" y="0"/>
                </a:lnTo>
                <a:lnTo>
                  <a:pt x="118" y="2"/>
                </a:lnTo>
                <a:lnTo>
                  <a:pt x="118" y="2"/>
                </a:lnTo>
                <a:lnTo>
                  <a:pt x="116" y="2"/>
                </a:lnTo>
                <a:lnTo>
                  <a:pt x="116" y="2"/>
                </a:lnTo>
                <a:lnTo>
                  <a:pt x="118" y="4"/>
                </a:lnTo>
                <a:lnTo>
                  <a:pt x="116" y="6"/>
                </a:lnTo>
                <a:lnTo>
                  <a:pt x="116" y="6"/>
                </a:lnTo>
                <a:lnTo>
                  <a:pt x="118" y="6"/>
                </a:lnTo>
                <a:lnTo>
                  <a:pt x="118" y="6"/>
                </a:lnTo>
                <a:lnTo>
                  <a:pt x="114" y="6"/>
                </a:lnTo>
                <a:lnTo>
                  <a:pt x="110" y="6"/>
                </a:lnTo>
                <a:lnTo>
                  <a:pt x="110" y="6"/>
                </a:lnTo>
                <a:lnTo>
                  <a:pt x="108" y="8"/>
                </a:lnTo>
                <a:lnTo>
                  <a:pt x="106" y="8"/>
                </a:lnTo>
                <a:lnTo>
                  <a:pt x="106" y="10"/>
                </a:lnTo>
                <a:lnTo>
                  <a:pt x="104" y="10"/>
                </a:lnTo>
                <a:lnTo>
                  <a:pt x="104" y="10"/>
                </a:lnTo>
                <a:lnTo>
                  <a:pt x="98" y="8"/>
                </a:lnTo>
                <a:lnTo>
                  <a:pt x="92" y="8"/>
                </a:lnTo>
                <a:lnTo>
                  <a:pt x="92" y="8"/>
                </a:lnTo>
                <a:lnTo>
                  <a:pt x="96" y="12"/>
                </a:lnTo>
                <a:lnTo>
                  <a:pt x="96" y="12"/>
                </a:lnTo>
                <a:lnTo>
                  <a:pt x="96" y="12"/>
                </a:lnTo>
                <a:lnTo>
                  <a:pt x="96" y="12"/>
                </a:lnTo>
                <a:lnTo>
                  <a:pt x="92" y="12"/>
                </a:lnTo>
                <a:lnTo>
                  <a:pt x="90" y="10"/>
                </a:lnTo>
                <a:lnTo>
                  <a:pt x="90" y="10"/>
                </a:lnTo>
                <a:lnTo>
                  <a:pt x="88" y="8"/>
                </a:lnTo>
                <a:lnTo>
                  <a:pt x="88" y="8"/>
                </a:lnTo>
                <a:lnTo>
                  <a:pt x="88" y="8"/>
                </a:lnTo>
                <a:lnTo>
                  <a:pt x="84" y="6"/>
                </a:lnTo>
                <a:lnTo>
                  <a:pt x="84" y="6"/>
                </a:lnTo>
                <a:lnTo>
                  <a:pt x="76" y="10"/>
                </a:lnTo>
                <a:lnTo>
                  <a:pt x="76" y="10"/>
                </a:lnTo>
                <a:lnTo>
                  <a:pt x="74" y="10"/>
                </a:lnTo>
                <a:lnTo>
                  <a:pt x="74" y="10"/>
                </a:lnTo>
                <a:lnTo>
                  <a:pt x="76" y="12"/>
                </a:lnTo>
                <a:lnTo>
                  <a:pt x="76" y="12"/>
                </a:lnTo>
                <a:lnTo>
                  <a:pt x="74" y="14"/>
                </a:lnTo>
                <a:lnTo>
                  <a:pt x="74" y="14"/>
                </a:lnTo>
                <a:lnTo>
                  <a:pt x="70" y="12"/>
                </a:lnTo>
                <a:lnTo>
                  <a:pt x="70" y="10"/>
                </a:lnTo>
                <a:lnTo>
                  <a:pt x="70" y="10"/>
                </a:lnTo>
                <a:lnTo>
                  <a:pt x="68" y="10"/>
                </a:lnTo>
                <a:lnTo>
                  <a:pt x="68" y="10"/>
                </a:lnTo>
                <a:lnTo>
                  <a:pt x="68" y="8"/>
                </a:lnTo>
                <a:lnTo>
                  <a:pt x="66" y="8"/>
                </a:lnTo>
                <a:lnTo>
                  <a:pt x="62" y="8"/>
                </a:lnTo>
                <a:lnTo>
                  <a:pt x="62" y="8"/>
                </a:lnTo>
                <a:lnTo>
                  <a:pt x="60" y="12"/>
                </a:lnTo>
                <a:lnTo>
                  <a:pt x="60" y="12"/>
                </a:lnTo>
                <a:lnTo>
                  <a:pt x="62" y="14"/>
                </a:lnTo>
                <a:lnTo>
                  <a:pt x="62" y="14"/>
                </a:lnTo>
                <a:lnTo>
                  <a:pt x="60" y="16"/>
                </a:lnTo>
                <a:lnTo>
                  <a:pt x="60" y="16"/>
                </a:lnTo>
                <a:lnTo>
                  <a:pt x="58" y="16"/>
                </a:lnTo>
                <a:lnTo>
                  <a:pt x="58" y="16"/>
                </a:lnTo>
                <a:lnTo>
                  <a:pt x="56" y="16"/>
                </a:lnTo>
                <a:lnTo>
                  <a:pt x="56" y="16"/>
                </a:lnTo>
                <a:lnTo>
                  <a:pt x="54" y="16"/>
                </a:lnTo>
                <a:lnTo>
                  <a:pt x="54" y="16"/>
                </a:lnTo>
                <a:lnTo>
                  <a:pt x="50" y="18"/>
                </a:lnTo>
                <a:lnTo>
                  <a:pt x="50" y="18"/>
                </a:lnTo>
                <a:lnTo>
                  <a:pt x="50" y="20"/>
                </a:lnTo>
                <a:lnTo>
                  <a:pt x="50" y="20"/>
                </a:lnTo>
                <a:lnTo>
                  <a:pt x="50" y="22"/>
                </a:lnTo>
                <a:lnTo>
                  <a:pt x="50" y="22"/>
                </a:lnTo>
                <a:lnTo>
                  <a:pt x="48" y="22"/>
                </a:lnTo>
                <a:lnTo>
                  <a:pt x="48" y="22"/>
                </a:lnTo>
                <a:lnTo>
                  <a:pt x="46" y="20"/>
                </a:lnTo>
                <a:lnTo>
                  <a:pt x="46" y="18"/>
                </a:lnTo>
                <a:lnTo>
                  <a:pt x="46" y="18"/>
                </a:lnTo>
                <a:lnTo>
                  <a:pt x="40" y="16"/>
                </a:lnTo>
                <a:lnTo>
                  <a:pt x="40" y="16"/>
                </a:lnTo>
                <a:lnTo>
                  <a:pt x="46" y="16"/>
                </a:lnTo>
                <a:lnTo>
                  <a:pt x="46" y="16"/>
                </a:lnTo>
                <a:lnTo>
                  <a:pt x="46" y="16"/>
                </a:lnTo>
                <a:lnTo>
                  <a:pt x="46" y="16"/>
                </a:lnTo>
                <a:lnTo>
                  <a:pt x="48" y="14"/>
                </a:lnTo>
                <a:lnTo>
                  <a:pt x="46" y="12"/>
                </a:lnTo>
                <a:lnTo>
                  <a:pt x="46" y="12"/>
                </a:lnTo>
                <a:lnTo>
                  <a:pt x="46" y="10"/>
                </a:lnTo>
                <a:lnTo>
                  <a:pt x="46" y="10"/>
                </a:lnTo>
                <a:lnTo>
                  <a:pt x="44" y="10"/>
                </a:lnTo>
                <a:lnTo>
                  <a:pt x="42" y="8"/>
                </a:lnTo>
                <a:lnTo>
                  <a:pt x="42" y="8"/>
                </a:lnTo>
                <a:lnTo>
                  <a:pt x="40" y="6"/>
                </a:lnTo>
                <a:lnTo>
                  <a:pt x="40" y="6"/>
                </a:lnTo>
                <a:lnTo>
                  <a:pt x="38" y="4"/>
                </a:lnTo>
                <a:lnTo>
                  <a:pt x="34" y="4"/>
                </a:lnTo>
                <a:lnTo>
                  <a:pt x="34" y="4"/>
                </a:lnTo>
                <a:lnTo>
                  <a:pt x="26" y="4"/>
                </a:lnTo>
                <a:lnTo>
                  <a:pt x="26" y="4"/>
                </a:lnTo>
                <a:lnTo>
                  <a:pt x="24" y="6"/>
                </a:lnTo>
                <a:lnTo>
                  <a:pt x="24" y="6"/>
                </a:lnTo>
                <a:lnTo>
                  <a:pt x="30" y="6"/>
                </a:lnTo>
                <a:lnTo>
                  <a:pt x="30" y="6"/>
                </a:lnTo>
                <a:lnTo>
                  <a:pt x="32" y="6"/>
                </a:lnTo>
                <a:lnTo>
                  <a:pt x="32" y="6"/>
                </a:lnTo>
                <a:lnTo>
                  <a:pt x="30" y="8"/>
                </a:lnTo>
                <a:lnTo>
                  <a:pt x="30" y="8"/>
                </a:lnTo>
                <a:lnTo>
                  <a:pt x="32" y="8"/>
                </a:lnTo>
                <a:lnTo>
                  <a:pt x="32" y="8"/>
                </a:lnTo>
                <a:lnTo>
                  <a:pt x="34" y="10"/>
                </a:lnTo>
                <a:lnTo>
                  <a:pt x="34" y="12"/>
                </a:lnTo>
                <a:lnTo>
                  <a:pt x="32" y="12"/>
                </a:lnTo>
                <a:lnTo>
                  <a:pt x="32" y="12"/>
                </a:lnTo>
                <a:lnTo>
                  <a:pt x="22" y="8"/>
                </a:lnTo>
                <a:lnTo>
                  <a:pt x="22" y="8"/>
                </a:lnTo>
                <a:lnTo>
                  <a:pt x="18" y="8"/>
                </a:lnTo>
                <a:lnTo>
                  <a:pt x="18" y="8"/>
                </a:lnTo>
                <a:lnTo>
                  <a:pt x="18" y="10"/>
                </a:lnTo>
                <a:lnTo>
                  <a:pt x="20" y="10"/>
                </a:lnTo>
                <a:lnTo>
                  <a:pt x="20" y="10"/>
                </a:lnTo>
                <a:lnTo>
                  <a:pt x="16" y="10"/>
                </a:lnTo>
                <a:lnTo>
                  <a:pt x="14" y="10"/>
                </a:lnTo>
                <a:lnTo>
                  <a:pt x="14" y="10"/>
                </a:lnTo>
                <a:lnTo>
                  <a:pt x="14" y="12"/>
                </a:lnTo>
                <a:lnTo>
                  <a:pt x="16" y="12"/>
                </a:lnTo>
                <a:lnTo>
                  <a:pt x="16" y="12"/>
                </a:lnTo>
                <a:lnTo>
                  <a:pt x="12" y="12"/>
                </a:lnTo>
                <a:lnTo>
                  <a:pt x="12" y="12"/>
                </a:lnTo>
                <a:lnTo>
                  <a:pt x="14" y="14"/>
                </a:lnTo>
                <a:lnTo>
                  <a:pt x="18" y="14"/>
                </a:lnTo>
                <a:lnTo>
                  <a:pt x="18" y="14"/>
                </a:lnTo>
                <a:lnTo>
                  <a:pt x="18" y="14"/>
                </a:lnTo>
                <a:lnTo>
                  <a:pt x="18" y="14"/>
                </a:lnTo>
                <a:lnTo>
                  <a:pt x="14" y="16"/>
                </a:lnTo>
                <a:lnTo>
                  <a:pt x="14" y="16"/>
                </a:lnTo>
                <a:lnTo>
                  <a:pt x="10" y="14"/>
                </a:lnTo>
                <a:lnTo>
                  <a:pt x="10" y="14"/>
                </a:lnTo>
                <a:lnTo>
                  <a:pt x="8" y="14"/>
                </a:lnTo>
                <a:lnTo>
                  <a:pt x="8" y="14"/>
                </a:lnTo>
                <a:lnTo>
                  <a:pt x="8" y="14"/>
                </a:lnTo>
                <a:lnTo>
                  <a:pt x="8" y="16"/>
                </a:lnTo>
                <a:lnTo>
                  <a:pt x="8" y="16"/>
                </a:lnTo>
                <a:lnTo>
                  <a:pt x="8" y="16"/>
                </a:lnTo>
                <a:lnTo>
                  <a:pt x="8" y="16"/>
                </a:lnTo>
                <a:lnTo>
                  <a:pt x="4" y="16"/>
                </a:lnTo>
                <a:lnTo>
                  <a:pt x="0" y="18"/>
                </a:lnTo>
                <a:lnTo>
                  <a:pt x="0" y="18"/>
                </a:lnTo>
                <a:lnTo>
                  <a:pt x="0" y="18"/>
                </a:lnTo>
                <a:lnTo>
                  <a:pt x="0" y="18"/>
                </a:lnTo>
                <a:lnTo>
                  <a:pt x="0" y="18"/>
                </a:lnTo>
                <a:lnTo>
                  <a:pt x="4" y="18"/>
                </a:lnTo>
                <a:lnTo>
                  <a:pt x="4" y="18"/>
                </a:lnTo>
                <a:lnTo>
                  <a:pt x="8" y="20"/>
                </a:lnTo>
                <a:lnTo>
                  <a:pt x="12" y="20"/>
                </a:lnTo>
                <a:lnTo>
                  <a:pt x="12" y="20"/>
                </a:lnTo>
                <a:lnTo>
                  <a:pt x="24" y="18"/>
                </a:lnTo>
                <a:lnTo>
                  <a:pt x="24" y="18"/>
                </a:lnTo>
                <a:lnTo>
                  <a:pt x="24" y="18"/>
                </a:lnTo>
                <a:lnTo>
                  <a:pt x="24" y="18"/>
                </a:lnTo>
                <a:lnTo>
                  <a:pt x="28" y="18"/>
                </a:lnTo>
                <a:lnTo>
                  <a:pt x="28" y="18"/>
                </a:lnTo>
                <a:lnTo>
                  <a:pt x="38" y="18"/>
                </a:lnTo>
                <a:lnTo>
                  <a:pt x="38" y="18"/>
                </a:lnTo>
                <a:lnTo>
                  <a:pt x="38" y="20"/>
                </a:lnTo>
                <a:lnTo>
                  <a:pt x="38" y="20"/>
                </a:lnTo>
                <a:lnTo>
                  <a:pt x="30" y="20"/>
                </a:lnTo>
                <a:lnTo>
                  <a:pt x="26" y="24"/>
                </a:lnTo>
                <a:lnTo>
                  <a:pt x="26" y="24"/>
                </a:lnTo>
                <a:lnTo>
                  <a:pt x="30" y="24"/>
                </a:lnTo>
                <a:lnTo>
                  <a:pt x="30" y="24"/>
                </a:lnTo>
                <a:lnTo>
                  <a:pt x="30" y="24"/>
                </a:lnTo>
                <a:lnTo>
                  <a:pt x="30" y="24"/>
                </a:lnTo>
                <a:lnTo>
                  <a:pt x="36" y="24"/>
                </a:lnTo>
                <a:lnTo>
                  <a:pt x="38" y="24"/>
                </a:lnTo>
                <a:lnTo>
                  <a:pt x="38" y="24"/>
                </a:lnTo>
                <a:lnTo>
                  <a:pt x="38" y="24"/>
                </a:lnTo>
                <a:lnTo>
                  <a:pt x="30" y="26"/>
                </a:lnTo>
                <a:lnTo>
                  <a:pt x="22" y="26"/>
                </a:lnTo>
                <a:lnTo>
                  <a:pt x="22" y="26"/>
                </a:lnTo>
                <a:lnTo>
                  <a:pt x="12" y="28"/>
                </a:lnTo>
                <a:lnTo>
                  <a:pt x="4" y="30"/>
                </a:lnTo>
                <a:lnTo>
                  <a:pt x="4" y="30"/>
                </a:lnTo>
                <a:lnTo>
                  <a:pt x="6" y="30"/>
                </a:lnTo>
                <a:lnTo>
                  <a:pt x="6" y="30"/>
                </a:lnTo>
                <a:lnTo>
                  <a:pt x="6" y="30"/>
                </a:lnTo>
                <a:lnTo>
                  <a:pt x="6" y="30"/>
                </a:lnTo>
                <a:lnTo>
                  <a:pt x="10" y="30"/>
                </a:lnTo>
                <a:lnTo>
                  <a:pt x="10" y="30"/>
                </a:lnTo>
                <a:lnTo>
                  <a:pt x="18" y="28"/>
                </a:lnTo>
                <a:lnTo>
                  <a:pt x="24" y="30"/>
                </a:lnTo>
                <a:lnTo>
                  <a:pt x="24" y="30"/>
                </a:lnTo>
                <a:lnTo>
                  <a:pt x="24" y="30"/>
                </a:lnTo>
                <a:lnTo>
                  <a:pt x="24" y="30"/>
                </a:lnTo>
                <a:lnTo>
                  <a:pt x="26" y="32"/>
                </a:lnTo>
                <a:lnTo>
                  <a:pt x="26" y="32"/>
                </a:lnTo>
                <a:lnTo>
                  <a:pt x="28" y="34"/>
                </a:lnTo>
                <a:lnTo>
                  <a:pt x="32" y="34"/>
                </a:lnTo>
                <a:lnTo>
                  <a:pt x="32" y="34"/>
                </a:lnTo>
                <a:lnTo>
                  <a:pt x="32" y="34"/>
                </a:lnTo>
                <a:lnTo>
                  <a:pt x="30" y="36"/>
                </a:lnTo>
                <a:lnTo>
                  <a:pt x="30" y="36"/>
                </a:lnTo>
                <a:lnTo>
                  <a:pt x="36" y="36"/>
                </a:lnTo>
                <a:lnTo>
                  <a:pt x="36" y="36"/>
                </a:lnTo>
                <a:lnTo>
                  <a:pt x="36" y="36"/>
                </a:lnTo>
                <a:lnTo>
                  <a:pt x="36" y="36"/>
                </a:lnTo>
                <a:lnTo>
                  <a:pt x="32" y="36"/>
                </a:lnTo>
                <a:lnTo>
                  <a:pt x="32" y="36"/>
                </a:lnTo>
                <a:lnTo>
                  <a:pt x="30" y="38"/>
                </a:lnTo>
                <a:lnTo>
                  <a:pt x="28" y="40"/>
                </a:lnTo>
                <a:lnTo>
                  <a:pt x="18" y="42"/>
                </a:lnTo>
                <a:lnTo>
                  <a:pt x="18" y="42"/>
                </a:lnTo>
                <a:lnTo>
                  <a:pt x="16" y="44"/>
                </a:lnTo>
                <a:lnTo>
                  <a:pt x="16" y="44"/>
                </a:lnTo>
                <a:lnTo>
                  <a:pt x="16" y="44"/>
                </a:lnTo>
                <a:lnTo>
                  <a:pt x="16" y="44"/>
                </a:lnTo>
                <a:lnTo>
                  <a:pt x="16" y="44"/>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36" name="India"/>
          <p:cNvSpPr>
            <a:spLocks/>
          </p:cNvSpPr>
          <p:nvPr/>
        </p:nvSpPr>
        <p:spPr bwMode="auto">
          <a:xfrm>
            <a:off x="5924688" y="1739614"/>
            <a:ext cx="669975" cy="792092"/>
          </a:xfrm>
          <a:custGeom>
            <a:avLst/>
            <a:gdLst/>
            <a:ahLst/>
            <a:cxnLst>
              <a:cxn ang="0">
                <a:pos x="388" y="234"/>
              </a:cxn>
              <a:cxn ang="0">
                <a:pos x="350" y="234"/>
              </a:cxn>
              <a:cxn ang="0">
                <a:pos x="300" y="212"/>
              </a:cxn>
              <a:cxn ang="0">
                <a:pos x="276" y="206"/>
              </a:cxn>
              <a:cxn ang="0">
                <a:pos x="230" y="174"/>
              </a:cxn>
              <a:cxn ang="0">
                <a:pos x="240" y="142"/>
              </a:cxn>
              <a:cxn ang="0">
                <a:pos x="182" y="104"/>
              </a:cxn>
              <a:cxn ang="0">
                <a:pos x="182" y="70"/>
              </a:cxn>
              <a:cxn ang="0">
                <a:pos x="128" y="4"/>
              </a:cxn>
              <a:cxn ang="0">
                <a:pos x="128" y="28"/>
              </a:cxn>
              <a:cxn ang="0">
                <a:pos x="66" y="40"/>
              </a:cxn>
              <a:cxn ang="0">
                <a:pos x="82" y="54"/>
              </a:cxn>
              <a:cxn ang="0">
                <a:pos x="104" y="66"/>
              </a:cxn>
              <a:cxn ang="0">
                <a:pos x="102" y="98"/>
              </a:cxn>
              <a:cxn ang="0">
                <a:pos x="88" y="150"/>
              </a:cxn>
              <a:cxn ang="0">
                <a:pos x="44" y="192"/>
              </a:cxn>
              <a:cxn ang="0">
                <a:pos x="28" y="218"/>
              </a:cxn>
              <a:cxn ang="0">
                <a:pos x="68" y="270"/>
              </a:cxn>
              <a:cxn ang="0">
                <a:pos x="54" y="276"/>
              </a:cxn>
              <a:cxn ang="0">
                <a:pos x="12" y="282"/>
              </a:cxn>
              <a:cxn ang="0">
                <a:pos x="18" y="306"/>
              </a:cxn>
              <a:cxn ang="0">
                <a:pos x="44" y="324"/>
              </a:cxn>
              <a:cxn ang="0">
                <a:pos x="20" y="334"/>
              </a:cxn>
              <a:cxn ang="0">
                <a:pos x="58" y="376"/>
              </a:cxn>
              <a:cxn ang="0">
                <a:pos x="88" y="354"/>
              </a:cxn>
              <a:cxn ang="0">
                <a:pos x="94" y="354"/>
              </a:cxn>
              <a:cxn ang="0">
                <a:pos x="110" y="386"/>
              </a:cxn>
              <a:cxn ang="0">
                <a:pos x="114" y="410"/>
              </a:cxn>
              <a:cxn ang="0">
                <a:pos x="142" y="508"/>
              </a:cxn>
              <a:cxn ang="0">
                <a:pos x="168" y="572"/>
              </a:cxn>
              <a:cxn ang="0">
                <a:pos x="210" y="660"/>
              </a:cxn>
              <a:cxn ang="0">
                <a:pos x="252" y="690"/>
              </a:cxn>
              <a:cxn ang="0">
                <a:pos x="264" y="660"/>
              </a:cxn>
              <a:cxn ang="0">
                <a:pos x="284" y="638"/>
              </a:cxn>
              <a:cxn ang="0">
                <a:pos x="288" y="582"/>
              </a:cxn>
              <a:cxn ang="0">
                <a:pos x="286" y="532"/>
              </a:cxn>
              <a:cxn ang="0">
                <a:pos x="300" y="490"/>
              </a:cxn>
              <a:cxn ang="0">
                <a:pos x="328" y="464"/>
              </a:cxn>
              <a:cxn ang="0">
                <a:pos x="352" y="432"/>
              </a:cxn>
              <a:cxn ang="0">
                <a:pos x="382" y="390"/>
              </a:cxn>
              <a:cxn ang="0">
                <a:pos x="398" y="354"/>
              </a:cxn>
              <a:cxn ang="0">
                <a:pos x="420" y="332"/>
              </a:cxn>
              <a:cxn ang="0">
                <a:pos x="432" y="338"/>
              </a:cxn>
              <a:cxn ang="0">
                <a:pos x="430" y="308"/>
              </a:cxn>
              <a:cxn ang="0">
                <a:pos x="408" y="268"/>
              </a:cxn>
              <a:cxn ang="0">
                <a:pos x="390" y="238"/>
              </a:cxn>
              <a:cxn ang="0">
                <a:pos x="418" y="228"/>
              </a:cxn>
              <a:cxn ang="0">
                <a:pos x="436" y="240"/>
              </a:cxn>
              <a:cxn ang="0">
                <a:pos x="502" y="266"/>
              </a:cxn>
              <a:cxn ang="0">
                <a:pos x="470" y="296"/>
              </a:cxn>
              <a:cxn ang="0">
                <a:pos x="492" y="300"/>
              </a:cxn>
              <a:cxn ang="0">
                <a:pos x="528" y="332"/>
              </a:cxn>
              <a:cxn ang="0">
                <a:pos x="540" y="290"/>
              </a:cxn>
              <a:cxn ang="0">
                <a:pos x="540" y="236"/>
              </a:cxn>
              <a:cxn ang="0">
                <a:pos x="582" y="190"/>
              </a:cxn>
              <a:cxn ang="0">
                <a:pos x="558" y="172"/>
              </a:cxn>
              <a:cxn ang="0">
                <a:pos x="538" y="160"/>
              </a:cxn>
              <a:cxn ang="0">
                <a:pos x="462" y="184"/>
              </a:cxn>
              <a:cxn ang="0">
                <a:pos x="470" y="206"/>
              </a:cxn>
              <a:cxn ang="0">
                <a:pos x="412" y="200"/>
              </a:cxn>
            </a:cxnLst>
            <a:rect l="0" t="0" r="r" b="b"/>
            <a:pathLst>
              <a:path w="588" h="696">
                <a:moveTo>
                  <a:pt x="398" y="192"/>
                </a:moveTo>
                <a:lnTo>
                  <a:pt x="398" y="192"/>
                </a:lnTo>
                <a:lnTo>
                  <a:pt x="400" y="196"/>
                </a:lnTo>
                <a:lnTo>
                  <a:pt x="400" y="200"/>
                </a:lnTo>
                <a:lnTo>
                  <a:pt x="394" y="206"/>
                </a:lnTo>
                <a:lnTo>
                  <a:pt x="388" y="212"/>
                </a:lnTo>
                <a:lnTo>
                  <a:pt x="386" y="216"/>
                </a:lnTo>
                <a:lnTo>
                  <a:pt x="388" y="218"/>
                </a:lnTo>
                <a:lnTo>
                  <a:pt x="388" y="218"/>
                </a:lnTo>
                <a:lnTo>
                  <a:pt x="390" y="224"/>
                </a:lnTo>
                <a:lnTo>
                  <a:pt x="390" y="230"/>
                </a:lnTo>
                <a:lnTo>
                  <a:pt x="388" y="234"/>
                </a:lnTo>
                <a:lnTo>
                  <a:pt x="386" y="238"/>
                </a:lnTo>
                <a:lnTo>
                  <a:pt x="386" y="238"/>
                </a:lnTo>
                <a:lnTo>
                  <a:pt x="378" y="238"/>
                </a:lnTo>
                <a:lnTo>
                  <a:pt x="374" y="238"/>
                </a:lnTo>
                <a:lnTo>
                  <a:pt x="372" y="238"/>
                </a:lnTo>
                <a:lnTo>
                  <a:pt x="368" y="238"/>
                </a:lnTo>
                <a:lnTo>
                  <a:pt x="368" y="238"/>
                </a:lnTo>
                <a:lnTo>
                  <a:pt x="362" y="238"/>
                </a:lnTo>
                <a:lnTo>
                  <a:pt x="360" y="236"/>
                </a:lnTo>
                <a:lnTo>
                  <a:pt x="358" y="234"/>
                </a:lnTo>
                <a:lnTo>
                  <a:pt x="350" y="234"/>
                </a:lnTo>
                <a:lnTo>
                  <a:pt x="350" y="234"/>
                </a:lnTo>
                <a:lnTo>
                  <a:pt x="344" y="234"/>
                </a:lnTo>
                <a:lnTo>
                  <a:pt x="340" y="230"/>
                </a:lnTo>
                <a:lnTo>
                  <a:pt x="338" y="228"/>
                </a:lnTo>
                <a:lnTo>
                  <a:pt x="334" y="228"/>
                </a:lnTo>
                <a:lnTo>
                  <a:pt x="334" y="228"/>
                </a:lnTo>
                <a:lnTo>
                  <a:pt x="332" y="228"/>
                </a:lnTo>
                <a:lnTo>
                  <a:pt x="332" y="226"/>
                </a:lnTo>
                <a:lnTo>
                  <a:pt x="330" y="222"/>
                </a:lnTo>
                <a:lnTo>
                  <a:pt x="324" y="218"/>
                </a:lnTo>
                <a:lnTo>
                  <a:pt x="324" y="218"/>
                </a:lnTo>
                <a:lnTo>
                  <a:pt x="306" y="212"/>
                </a:lnTo>
                <a:lnTo>
                  <a:pt x="300" y="212"/>
                </a:lnTo>
                <a:lnTo>
                  <a:pt x="298" y="212"/>
                </a:lnTo>
                <a:lnTo>
                  <a:pt x="296" y="214"/>
                </a:lnTo>
                <a:lnTo>
                  <a:pt x="296" y="214"/>
                </a:lnTo>
                <a:lnTo>
                  <a:pt x="296" y="214"/>
                </a:lnTo>
                <a:lnTo>
                  <a:pt x="292" y="214"/>
                </a:lnTo>
                <a:lnTo>
                  <a:pt x="280" y="212"/>
                </a:lnTo>
                <a:lnTo>
                  <a:pt x="280" y="212"/>
                </a:lnTo>
                <a:lnTo>
                  <a:pt x="276" y="212"/>
                </a:lnTo>
                <a:lnTo>
                  <a:pt x="276" y="210"/>
                </a:lnTo>
                <a:lnTo>
                  <a:pt x="278" y="208"/>
                </a:lnTo>
                <a:lnTo>
                  <a:pt x="276" y="206"/>
                </a:lnTo>
                <a:lnTo>
                  <a:pt x="276" y="206"/>
                </a:lnTo>
                <a:lnTo>
                  <a:pt x="262" y="202"/>
                </a:lnTo>
                <a:lnTo>
                  <a:pt x="254" y="198"/>
                </a:lnTo>
                <a:lnTo>
                  <a:pt x="246" y="192"/>
                </a:lnTo>
                <a:lnTo>
                  <a:pt x="246" y="192"/>
                </a:lnTo>
                <a:lnTo>
                  <a:pt x="242" y="188"/>
                </a:lnTo>
                <a:lnTo>
                  <a:pt x="238" y="188"/>
                </a:lnTo>
                <a:lnTo>
                  <a:pt x="232" y="188"/>
                </a:lnTo>
                <a:lnTo>
                  <a:pt x="226" y="184"/>
                </a:lnTo>
                <a:lnTo>
                  <a:pt x="226" y="184"/>
                </a:lnTo>
                <a:lnTo>
                  <a:pt x="222" y="182"/>
                </a:lnTo>
                <a:lnTo>
                  <a:pt x="224" y="178"/>
                </a:lnTo>
                <a:lnTo>
                  <a:pt x="230" y="174"/>
                </a:lnTo>
                <a:lnTo>
                  <a:pt x="236" y="168"/>
                </a:lnTo>
                <a:lnTo>
                  <a:pt x="236" y="168"/>
                </a:lnTo>
                <a:lnTo>
                  <a:pt x="240" y="162"/>
                </a:lnTo>
                <a:lnTo>
                  <a:pt x="240" y="160"/>
                </a:lnTo>
                <a:lnTo>
                  <a:pt x="238" y="158"/>
                </a:lnTo>
                <a:lnTo>
                  <a:pt x="240" y="156"/>
                </a:lnTo>
                <a:lnTo>
                  <a:pt x="240" y="156"/>
                </a:lnTo>
                <a:lnTo>
                  <a:pt x="244" y="148"/>
                </a:lnTo>
                <a:lnTo>
                  <a:pt x="246" y="146"/>
                </a:lnTo>
                <a:lnTo>
                  <a:pt x="246" y="146"/>
                </a:lnTo>
                <a:lnTo>
                  <a:pt x="240" y="142"/>
                </a:lnTo>
                <a:lnTo>
                  <a:pt x="240" y="142"/>
                </a:lnTo>
                <a:lnTo>
                  <a:pt x="234" y="134"/>
                </a:lnTo>
                <a:lnTo>
                  <a:pt x="226" y="132"/>
                </a:lnTo>
                <a:lnTo>
                  <a:pt x="220" y="130"/>
                </a:lnTo>
                <a:lnTo>
                  <a:pt x="214" y="126"/>
                </a:lnTo>
                <a:lnTo>
                  <a:pt x="214" y="126"/>
                </a:lnTo>
                <a:lnTo>
                  <a:pt x="208" y="122"/>
                </a:lnTo>
                <a:lnTo>
                  <a:pt x="202" y="122"/>
                </a:lnTo>
                <a:lnTo>
                  <a:pt x="194" y="118"/>
                </a:lnTo>
                <a:lnTo>
                  <a:pt x="190" y="116"/>
                </a:lnTo>
                <a:lnTo>
                  <a:pt x="186" y="112"/>
                </a:lnTo>
                <a:lnTo>
                  <a:pt x="186" y="112"/>
                </a:lnTo>
                <a:lnTo>
                  <a:pt x="182" y="104"/>
                </a:lnTo>
                <a:lnTo>
                  <a:pt x="182" y="98"/>
                </a:lnTo>
                <a:lnTo>
                  <a:pt x="182" y="94"/>
                </a:lnTo>
                <a:lnTo>
                  <a:pt x="176" y="88"/>
                </a:lnTo>
                <a:lnTo>
                  <a:pt x="176" y="88"/>
                </a:lnTo>
                <a:lnTo>
                  <a:pt x="174" y="84"/>
                </a:lnTo>
                <a:lnTo>
                  <a:pt x="174" y="84"/>
                </a:lnTo>
                <a:lnTo>
                  <a:pt x="178" y="84"/>
                </a:lnTo>
                <a:lnTo>
                  <a:pt x="182" y="84"/>
                </a:lnTo>
                <a:lnTo>
                  <a:pt x="184" y="82"/>
                </a:lnTo>
                <a:lnTo>
                  <a:pt x="184" y="78"/>
                </a:lnTo>
                <a:lnTo>
                  <a:pt x="182" y="70"/>
                </a:lnTo>
                <a:lnTo>
                  <a:pt x="182" y="70"/>
                </a:lnTo>
                <a:lnTo>
                  <a:pt x="178" y="64"/>
                </a:lnTo>
                <a:lnTo>
                  <a:pt x="174" y="58"/>
                </a:lnTo>
                <a:lnTo>
                  <a:pt x="166" y="50"/>
                </a:lnTo>
                <a:lnTo>
                  <a:pt x="164" y="48"/>
                </a:lnTo>
                <a:lnTo>
                  <a:pt x="164" y="46"/>
                </a:lnTo>
                <a:lnTo>
                  <a:pt x="170" y="38"/>
                </a:lnTo>
                <a:lnTo>
                  <a:pt x="170" y="38"/>
                </a:lnTo>
                <a:lnTo>
                  <a:pt x="158" y="22"/>
                </a:lnTo>
                <a:lnTo>
                  <a:pt x="150" y="12"/>
                </a:lnTo>
                <a:lnTo>
                  <a:pt x="142" y="6"/>
                </a:lnTo>
                <a:lnTo>
                  <a:pt x="136" y="4"/>
                </a:lnTo>
                <a:lnTo>
                  <a:pt x="128" y="4"/>
                </a:lnTo>
                <a:lnTo>
                  <a:pt x="124" y="2"/>
                </a:lnTo>
                <a:lnTo>
                  <a:pt x="120" y="0"/>
                </a:lnTo>
                <a:lnTo>
                  <a:pt x="120" y="0"/>
                </a:lnTo>
                <a:lnTo>
                  <a:pt x="122" y="4"/>
                </a:lnTo>
                <a:lnTo>
                  <a:pt x="126" y="6"/>
                </a:lnTo>
                <a:lnTo>
                  <a:pt x="130" y="8"/>
                </a:lnTo>
                <a:lnTo>
                  <a:pt x="134" y="16"/>
                </a:lnTo>
                <a:lnTo>
                  <a:pt x="134" y="16"/>
                </a:lnTo>
                <a:lnTo>
                  <a:pt x="138" y="22"/>
                </a:lnTo>
                <a:lnTo>
                  <a:pt x="138" y="26"/>
                </a:lnTo>
                <a:lnTo>
                  <a:pt x="134" y="28"/>
                </a:lnTo>
                <a:lnTo>
                  <a:pt x="128" y="28"/>
                </a:lnTo>
                <a:lnTo>
                  <a:pt x="128" y="28"/>
                </a:lnTo>
                <a:lnTo>
                  <a:pt x="116" y="30"/>
                </a:lnTo>
                <a:lnTo>
                  <a:pt x="108" y="32"/>
                </a:lnTo>
                <a:lnTo>
                  <a:pt x="100" y="34"/>
                </a:lnTo>
                <a:lnTo>
                  <a:pt x="80" y="32"/>
                </a:lnTo>
                <a:lnTo>
                  <a:pt x="80" y="32"/>
                </a:lnTo>
                <a:lnTo>
                  <a:pt x="70" y="30"/>
                </a:lnTo>
                <a:lnTo>
                  <a:pt x="64" y="30"/>
                </a:lnTo>
                <a:lnTo>
                  <a:pt x="62" y="32"/>
                </a:lnTo>
                <a:lnTo>
                  <a:pt x="60" y="32"/>
                </a:lnTo>
                <a:lnTo>
                  <a:pt x="62" y="36"/>
                </a:lnTo>
                <a:lnTo>
                  <a:pt x="66" y="40"/>
                </a:lnTo>
                <a:lnTo>
                  <a:pt x="66" y="40"/>
                </a:lnTo>
                <a:lnTo>
                  <a:pt x="62" y="40"/>
                </a:lnTo>
                <a:lnTo>
                  <a:pt x="62" y="42"/>
                </a:lnTo>
                <a:lnTo>
                  <a:pt x="64" y="44"/>
                </a:lnTo>
                <a:lnTo>
                  <a:pt x="68" y="48"/>
                </a:lnTo>
                <a:lnTo>
                  <a:pt x="70" y="50"/>
                </a:lnTo>
                <a:lnTo>
                  <a:pt x="70" y="54"/>
                </a:lnTo>
                <a:lnTo>
                  <a:pt x="70" y="54"/>
                </a:lnTo>
                <a:lnTo>
                  <a:pt x="70" y="56"/>
                </a:lnTo>
                <a:lnTo>
                  <a:pt x="72" y="58"/>
                </a:lnTo>
                <a:lnTo>
                  <a:pt x="76" y="56"/>
                </a:lnTo>
                <a:lnTo>
                  <a:pt x="82" y="54"/>
                </a:lnTo>
                <a:lnTo>
                  <a:pt x="84" y="54"/>
                </a:lnTo>
                <a:lnTo>
                  <a:pt x="86" y="54"/>
                </a:lnTo>
                <a:lnTo>
                  <a:pt x="86" y="54"/>
                </a:lnTo>
                <a:lnTo>
                  <a:pt x="88" y="58"/>
                </a:lnTo>
                <a:lnTo>
                  <a:pt x="88" y="60"/>
                </a:lnTo>
                <a:lnTo>
                  <a:pt x="88" y="64"/>
                </a:lnTo>
                <a:lnTo>
                  <a:pt x="88" y="66"/>
                </a:lnTo>
                <a:lnTo>
                  <a:pt x="90" y="68"/>
                </a:lnTo>
                <a:lnTo>
                  <a:pt x="98" y="66"/>
                </a:lnTo>
                <a:lnTo>
                  <a:pt x="98" y="66"/>
                </a:lnTo>
                <a:lnTo>
                  <a:pt x="102" y="66"/>
                </a:lnTo>
                <a:lnTo>
                  <a:pt x="104" y="66"/>
                </a:lnTo>
                <a:lnTo>
                  <a:pt x="102" y="70"/>
                </a:lnTo>
                <a:lnTo>
                  <a:pt x="102" y="76"/>
                </a:lnTo>
                <a:lnTo>
                  <a:pt x="102" y="78"/>
                </a:lnTo>
                <a:lnTo>
                  <a:pt x="104" y="78"/>
                </a:lnTo>
                <a:lnTo>
                  <a:pt x="104" y="78"/>
                </a:lnTo>
                <a:lnTo>
                  <a:pt x="108" y="80"/>
                </a:lnTo>
                <a:lnTo>
                  <a:pt x="106" y="82"/>
                </a:lnTo>
                <a:lnTo>
                  <a:pt x="102" y="86"/>
                </a:lnTo>
                <a:lnTo>
                  <a:pt x="98" y="88"/>
                </a:lnTo>
                <a:lnTo>
                  <a:pt x="98" y="92"/>
                </a:lnTo>
                <a:lnTo>
                  <a:pt x="98" y="96"/>
                </a:lnTo>
                <a:lnTo>
                  <a:pt x="102" y="98"/>
                </a:lnTo>
                <a:lnTo>
                  <a:pt x="102" y="98"/>
                </a:lnTo>
                <a:lnTo>
                  <a:pt x="108" y="106"/>
                </a:lnTo>
                <a:lnTo>
                  <a:pt x="108" y="106"/>
                </a:lnTo>
                <a:lnTo>
                  <a:pt x="106" y="108"/>
                </a:lnTo>
                <a:lnTo>
                  <a:pt x="102" y="110"/>
                </a:lnTo>
                <a:lnTo>
                  <a:pt x="100" y="114"/>
                </a:lnTo>
                <a:lnTo>
                  <a:pt x="96" y="120"/>
                </a:lnTo>
                <a:lnTo>
                  <a:pt x="96" y="128"/>
                </a:lnTo>
                <a:lnTo>
                  <a:pt x="96" y="128"/>
                </a:lnTo>
                <a:lnTo>
                  <a:pt x="94" y="138"/>
                </a:lnTo>
                <a:lnTo>
                  <a:pt x="92" y="146"/>
                </a:lnTo>
                <a:lnTo>
                  <a:pt x="88" y="150"/>
                </a:lnTo>
                <a:lnTo>
                  <a:pt x="84" y="152"/>
                </a:lnTo>
                <a:lnTo>
                  <a:pt x="78" y="156"/>
                </a:lnTo>
                <a:lnTo>
                  <a:pt x="76" y="158"/>
                </a:lnTo>
                <a:lnTo>
                  <a:pt x="76" y="162"/>
                </a:lnTo>
                <a:lnTo>
                  <a:pt x="76" y="162"/>
                </a:lnTo>
                <a:lnTo>
                  <a:pt x="74" y="166"/>
                </a:lnTo>
                <a:lnTo>
                  <a:pt x="70" y="174"/>
                </a:lnTo>
                <a:lnTo>
                  <a:pt x="64" y="182"/>
                </a:lnTo>
                <a:lnTo>
                  <a:pt x="52" y="190"/>
                </a:lnTo>
                <a:lnTo>
                  <a:pt x="52" y="190"/>
                </a:lnTo>
                <a:lnTo>
                  <a:pt x="46" y="192"/>
                </a:lnTo>
                <a:lnTo>
                  <a:pt x="44" y="192"/>
                </a:lnTo>
                <a:lnTo>
                  <a:pt x="42" y="190"/>
                </a:lnTo>
                <a:lnTo>
                  <a:pt x="40" y="188"/>
                </a:lnTo>
                <a:lnTo>
                  <a:pt x="40" y="186"/>
                </a:lnTo>
                <a:lnTo>
                  <a:pt x="34" y="190"/>
                </a:lnTo>
                <a:lnTo>
                  <a:pt x="34" y="190"/>
                </a:lnTo>
                <a:lnTo>
                  <a:pt x="20" y="204"/>
                </a:lnTo>
                <a:lnTo>
                  <a:pt x="18" y="210"/>
                </a:lnTo>
                <a:lnTo>
                  <a:pt x="18" y="212"/>
                </a:lnTo>
                <a:lnTo>
                  <a:pt x="18" y="214"/>
                </a:lnTo>
                <a:lnTo>
                  <a:pt x="18" y="214"/>
                </a:lnTo>
                <a:lnTo>
                  <a:pt x="24" y="216"/>
                </a:lnTo>
                <a:lnTo>
                  <a:pt x="28" y="218"/>
                </a:lnTo>
                <a:lnTo>
                  <a:pt x="30" y="222"/>
                </a:lnTo>
                <a:lnTo>
                  <a:pt x="30" y="228"/>
                </a:lnTo>
                <a:lnTo>
                  <a:pt x="30" y="228"/>
                </a:lnTo>
                <a:lnTo>
                  <a:pt x="30" y="232"/>
                </a:lnTo>
                <a:lnTo>
                  <a:pt x="32" y="236"/>
                </a:lnTo>
                <a:lnTo>
                  <a:pt x="36" y="240"/>
                </a:lnTo>
                <a:lnTo>
                  <a:pt x="46" y="246"/>
                </a:lnTo>
                <a:lnTo>
                  <a:pt x="58" y="256"/>
                </a:lnTo>
                <a:lnTo>
                  <a:pt x="58" y="256"/>
                </a:lnTo>
                <a:lnTo>
                  <a:pt x="64" y="262"/>
                </a:lnTo>
                <a:lnTo>
                  <a:pt x="68" y="266"/>
                </a:lnTo>
                <a:lnTo>
                  <a:pt x="68" y="270"/>
                </a:lnTo>
                <a:lnTo>
                  <a:pt x="66" y="270"/>
                </a:lnTo>
                <a:lnTo>
                  <a:pt x="62" y="272"/>
                </a:lnTo>
                <a:lnTo>
                  <a:pt x="62" y="272"/>
                </a:lnTo>
                <a:lnTo>
                  <a:pt x="64" y="274"/>
                </a:lnTo>
                <a:lnTo>
                  <a:pt x="64" y="274"/>
                </a:lnTo>
                <a:lnTo>
                  <a:pt x="70" y="278"/>
                </a:lnTo>
                <a:lnTo>
                  <a:pt x="62" y="280"/>
                </a:lnTo>
                <a:lnTo>
                  <a:pt x="62" y="280"/>
                </a:lnTo>
                <a:lnTo>
                  <a:pt x="56" y="282"/>
                </a:lnTo>
                <a:lnTo>
                  <a:pt x="54" y="280"/>
                </a:lnTo>
                <a:lnTo>
                  <a:pt x="54" y="278"/>
                </a:lnTo>
                <a:lnTo>
                  <a:pt x="54" y="276"/>
                </a:lnTo>
                <a:lnTo>
                  <a:pt x="48" y="278"/>
                </a:lnTo>
                <a:lnTo>
                  <a:pt x="48" y="278"/>
                </a:lnTo>
                <a:lnTo>
                  <a:pt x="40" y="280"/>
                </a:lnTo>
                <a:lnTo>
                  <a:pt x="34" y="280"/>
                </a:lnTo>
                <a:lnTo>
                  <a:pt x="28" y="280"/>
                </a:lnTo>
                <a:lnTo>
                  <a:pt x="24" y="282"/>
                </a:lnTo>
                <a:lnTo>
                  <a:pt x="24" y="282"/>
                </a:lnTo>
                <a:lnTo>
                  <a:pt x="20" y="282"/>
                </a:lnTo>
                <a:lnTo>
                  <a:pt x="18" y="282"/>
                </a:lnTo>
                <a:lnTo>
                  <a:pt x="16" y="280"/>
                </a:lnTo>
                <a:lnTo>
                  <a:pt x="12" y="282"/>
                </a:lnTo>
                <a:lnTo>
                  <a:pt x="12" y="282"/>
                </a:lnTo>
                <a:lnTo>
                  <a:pt x="8" y="286"/>
                </a:lnTo>
                <a:lnTo>
                  <a:pt x="6" y="286"/>
                </a:lnTo>
                <a:lnTo>
                  <a:pt x="4" y="286"/>
                </a:lnTo>
                <a:lnTo>
                  <a:pt x="0" y="292"/>
                </a:lnTo>
                <a:lnTo>
                  <a:pt x="0" y="292"/>
                </a:lnTo>
                <a:lnTo>
                  <a:pt x="6" y="296"/>
                </a:lnTo>
                <a:lnTo>
                  <a:pt x="10" y="298"/>
                </a:lnTo>
                <a:lnTo>
                  <a:pt x="14" y="300"/>
                </a:lnTo>
                <a:lnTo>
                  <a:pt x="22" y="300"/>
                </a:lnTo>
                <a:lnTo>
                  <a:pt x="22" y="300"/>
                </a:lnTo>
                <a:lnTo>
                  <a:pt x="18" y="302"/>
                </a:lnTo>
                <a:lnTo>
                  <a:pt x="18" y="306"/>
                </a:lnTo>
                <a:lnTo>
                  <a:pt x="20" y="310"/>
                </a:lnTo>
                <a:lnTo>
                  <a:pt x="20" y="310"/>
                </a:lnTo>
                <a:lnTo>
                  <a:pt x="22" y="316"/>
                </a:lnTo>
                <a:lnTo>
                  <a:pt x="22" y="322"/>
                </a:lnTo>
                <a:lnTo>
                  <a:pt x="24" y="326"/>
                </a:lnTo>
                <a:lnTo>
                  <a:pt x="26" y="326"/>
                </a:lnTo>
                <a:lnTo>
                  <a:pt x="30" y="324"/>
                </a:lnTo>
                <a:lnTo>
                  <a:pt x="30" y="324"/>
                </a:lnTo>
                <a:lnTo>
                  <a:pt x="32" y="324"/>
                </a:lnTo>
                <a:lnTo>
                  <a:pt x="36" y="324"/>
                </a:lnTo>
                <a:lnTo>
                  <a:pt x="40" y="324"/>
                </a:lnTo>
                <a:lnTo>
                  <a:pt x="44" y="324"/>
                </a:lnTo>
                <a:lnTo>
                  <a:pt x="44" y="324"/>
                </a:lnTo>
                <a:lnTo>
                  <a:pt x="44" y="330"/>
                </a:lnTo>
                <a:lnTo>
                  <a:pt x="42" y="332"/>
                </a:lnTo>
                <a:lnTo>
                  <a:pt x="40" y="334"/>
                </a:lnTo>
                <a:lnTo>
                  <a:pt x="40" y="334"/>
                </a:lnTo>
                <a:lnTo>
                  <a:pt x="34" y="336"/>
                </a:lnTo>
                <a:lnTo>
                  <a:pt x="30" y="336"/>
                </a:lnTo>
                <a:lnTo>
                  <a:pt x="26" y="334"/>
                </a:lnTo>
                <a:lnTo>
                  <a:pt x="24" y="334"/>
                </a:lnTo>
                <a:lnTo>
                  <a:pt x="24" y="334"/>
                </a:lnTo>
                <a:lnTo>
                  <a:pt x="22" y="336"/>
                </a:lnTo>
                <a:lnTo>
                  <a:pt x="20" y="334"/>
                </a:lnTo>
                <a:lnTo>
                  <a:pt x="18" y="334"/>
                </a:lnTo>
                <a:lnTo>
                  <a:pt x="18" y="334"/>
                </a:lnTo>
                <a:lnTo>
                  <a:pt x="18" y="334"/>
                </a:lnTo>
                <a:lnTo>
                  <a:pt x="16" y="336"/>
                </a:lnTo>
                <a:lnTo>
                  <a:pt x="16" y="338"/>
                </a:lnTo>
                <a:lnTo>
                  <a:pt x="18" y="342"/>
                </a:lnTo>
                <a:lnTo>
                  <a:pt x="24" y="344"/>
                </a:lnTo>
                <a:lnTo>
                  <a:pt x="24" y="344"/>
                </a:lnTo>
                <a:lnTo>
                  <a:pt x="32" y="352"/>
                </a:lnTo>
                <a:lnTo>
                  <a:pt x="40" y="362"/>
                </a:lnTo>
                <a:lnTo>
                  <a:pt x="52" y="374"/>
                </a:lnTo>
                <a:lnTo>
                  <a:pt x="58" y="376"/>
                </a:lnTo>
                <a:lnTo>
                  <a:pt x="64" y="378"/>
                </a:lnTo>
                <a:lnTo>
                  <a:pt x="64" y="378"/>
                </a:lnTo>
                <a:lnTo>
                  <a:pt x="68" y="378"/>
                </a:lnTo>
                <a:lnTo>
                  <a:pt x="70" y="376"/>
                </a:lnTo>
                <a:lnTo>
                  <a:pt x="72" y="374"/>
                </a:lnTo>
                <a:lnTo>
                  <a:pt x="80" y="370"/>
                </a:lnTo>
                <a:lnTo>
                  <a:pt x="80" y="370"/>
                </a:lnTo>
                <a:lnTo>
                  <a:pt x="84" y="368"/>
                </a:lnTo>
                <a:lnTo>
                  <a:pt x="88" y="364"/>
                </a:lnTo>
                <a:lnTo>
                  <a:pt x="90" y="360"/>
                </a:lnTo>
                <a:lnTo>
                  <a:pt x="88" y="354"/>
                </a:lnTo>
                <a:lnTo>
                  <a:pt x="88" y="354"/>
                </a:lnTo>
                <a:lnTo>
                  <a:pt x="86" y="348"/>
                </a:lnTo>
                <a:lnTo>
                  <a:pt x="88" y="344"/>
                </a:lnTo>
                <a:lnTo>
                  <a:pt x="92" y="336"/>
                </a:lnTo>
                <a:lnTo>
                  <a:pt x="92" y="336"/>
                </a:lnTo>
                <a:lnTo>
                  <a:pt x="92" y="342"/>
                </a:lnTo>
                <a:lnTo>
                  <a:pt x="94" y="344"/>
                </a:lnTo>
                <a:lnTo>
                  <a:pt x="98" y="344"/>
                </a:lnTo>
                <a:lnTo>
                  <a:pt x="106" y="342"/>
                </a:lnTo>
                <a:lnTo>
                  <a:pt x="106" y="342"/>
                </a:lnTo>
                <a:lnTo>
                  <a:pt x="96" y="346"/>
                </a:lnTo>
                <a:lnTo>
                  <a:pt x="94" y="350"/>
                </a:lnTo>
                <a:lnTo>
                  <a:pt x="94" y="354"/>
                </a:lnTo>
                <a:lnTo>
                  <a:pt x="94" y="354"/>
                </a:lnTo>
                <a:lnTo>
                  <a:pt x="96" y="356"/>
                </a:lnTo>
                <a:lnTo>
                  <a:pt x="98" y="358"/>
                </a:lnTo>
                <a:lnTo>
                  <a:pt x="100" y="358"/>
                </a:lnTo>
                <a:lnTo>
                  <a:pt x="100" y="358"/>
                </a:lnTo>
                <a:lnTo>
                  <a:pt x="98" y="362"/>
                </a:lnTo>
                <a:lnTo>
                  <a:pt x="100" y="366"/>
                </a:lnTo>
                <a:lnTo>
                  <a:pt x="106" y="366"/>
                </a:lnTo>
                <a:lnTo>
                  <a:pt x="106" y="366"/>
                </a:lnTo>
                <a:lnTo>
                  <a:pt x="102" y="370"/>
                </a:lnTo>
                <a:lnTo>
                  <a:pt x="102" y="372"/>
                </a:lnTo>
                <a:lnTo>
                  <a:pt x="110" y="386"/>
                </a:lnTo>
                <a:lnTo>
                  <a:pt x="110" y="386"/>
                </a:lnTo>
                <a:lnTo>
                  <a:pt x="106" y="390"/>
                </a:lnTo>
                <a:lnTo>
                  <a:pt x="106" y="396"/>
                </a:lnTo>
                <a:lnTo>
                  <a:pt x="106" y="400"/>
                </a:lnTo>
                <a:lnTo>
                  <a:pt x="106" y="404"/>
                </a:lnTo>
                <a:lnTo>
                  <a:pt x="106" y="404"/>
                </a:lnTo>
                <a:lnTo>
                  <a:pt x="108" y="408"/>
                </a:lnTo>
                <a:lnTo>
                  <a:pt x="108" y="412"/>
                </a:lnTo>
                <a:lnTo>
                  <a:pt x="110" y="414"/>
                </a:lnTo>
                <a:lnTo>
                  <a:pt x="112" y="412"/>
                </a:lnTo>
                <a:lnTo>
                  <a:pt x="112" y="412"/>
                </a:lnTo>
                <a:lnTo>
                  <a:pt x="114" y="410"/>
                </a:lnTo>
                <a:lnTo>
                  <a:pt x="112" y="414"/>
                </a:lnTo>
                <a:lnTo>
                  <a:pt x="110" y="420"/>
                </a:lnTo>
                <a:lnTo>
                  <a:pt x="110" y="424"/>
                </a:lnTo>
                <a:lnTo>
                  <a:pt x="112" y="430"/>
                </a:lnTo>
                <a:lnTo>
                  <a:pt x="112" y="430"/>
                </a:lnTo>
                <a:lnTo>
                  <a:pt x="116" y="446"/>
                </a:lnTo>
                <a:lnTo>
                  <a:pt x="122" y="466"/>
                </a:lnTo>
                <a:lnTo>
                  <a:pt x="128" y="488"/>
                </a:lnTo>
                <a:lnTo>
                  <a:pt x="132" y="496"/>
                </a:lnTo>
                <a:lnTo>
                  <a:pt x="138" y="502"/>
                </a:lnTo>
                <a:lnTo>
                  <a:pt x="138" y="502"/>
                </a:lnTo>
                <a:lnTo>
                  <a:pt x="142" y="508"/>
                </a:lnTo>
                <a:lnTo>
                  <a:pt x="146" y="514"/>
                </a:lnTo>
                <a:lnTo>
                  <a:pt x="152" y="528"/>
                </a:lnTo>
                <a:lnTo>
                  <a:pt x="156" y="542"/>
                </a:lnTo>
                <a:lnTo>
                  <a:pt x="160" y="548"/>
                </a:lnTo>
                <a:lnTo>
                  <a:pt x="164" y="554"/>
                </a:lnTo>
                <a:lnTo>
                  <a:pt x="164" y="554"/>
                </a:lnTo>
                <a:lnTo>
                  <a:pt x="164" y="554"/>
                </a:lnTo>
                <a:lnTo>
                  <a:pt x="162" y="554"/>
                </a:lnTo>
                <a:lnTo>
                  <a:pt x="162" y="554"/>
                </a:lnTo>
                <a:lnTo>
                  <a:pt x="162" y="558"/>
                </a:lnTo>
                <a:lnTo>
                  <a:pt x="168" y="572"/>
                </a:lnTo>
                <a:lnTo>
                  <a:pt x="168" y="572"/>
                </a:lnTo>
                <a:lnTo>
                  <a:pt x="176" y="588"/>
                </a:lnTo>
                <a:lnTo>
                  <a:pt x="186" y="602"/>
                </a:lnTo>
                <a:lnTo>
                  <a:pt x="194" y="618"/>
                </a:lnTo>
                <a:lnTo>
                  <a:pt x="198" y="628"/>
                </a:lnTo>
                <a:lnTo>
                  <a:pt x="198" y="636"/>
                </a:lnTo>
                <a:lnTo>
                  <a:pt x="198" y="636"/>
                </a:lnTo>
                <a:lnTo>
                  <a:pt x="200" y="638"/>
                </a:lnTo>
                <a:lnTo>
                  <a:pt x="202" y="640"/>
                </a:lnTo>
                <a:lnTo>
                  <a:pt x="206" y="644"/>
                </a:lnTo>
                <a:lnTo>
                  <a:pt x="208" y="654"/>
                </a:lnTo>
                <a:lnTo>
                  <a:pt x="208" y="654"/>
                </a:lnTo>
                <a:lnTo>
                  <a:pt x="210" y="660"/>
                </a:lnTo>
                <a:lnTo>
                  <a:pt x="212" y="664"/>
                </a:lnTo>
                <a:lnTo>
                  <a:pt x="214" y="668"/>
                </a:lnTo>
                <a:lnTo>
                  <a:pt x="218" y="674"/>
                </a:lnTo>
                <a:lnTo>
                  <a:pt x="218" y="674"/>
                </a:lnTo>
                <a:lnTo>
                  <a:pt x="222" y="682"/>
                </a:lnTo>
                <a:lnTo>
                  <a:pt x="226" y="686"/>
                </a:lnTo>
                <a:lnTo>
                  <a:pt x="236" y="692"/>
                </a:lnTo>
                <a:lnTo>
                  <a:pt x="236" y="692"/>
                </a:lnTo>
                <a:lnTo>
                  <a:pt x="242" y="696"/>
                </a:lnTo>
                <a:lnTo>
                  <a:pt x="246" y="694"/>
                </a:lnTo>
                <a:lnTo>
                  <a:pt x="248" y="692"/>
                </a:lnTo>
                <a:lnTo>
                  <a:pt x="252" y="690"/>
                </a:lnTo>
                <a:lnTo>
                  <a:pt x="252" y="690"/>
                </a:lnTo>
                <a:lnTo>
                  <a:pt x="258" y="688"/>
                </a:lnTo>
                <a:lnTo>
                  <a:pt x="260" y="686"/>
                </a:lnTo>
                <a:lnTo>
                  <a:pt x="260" y="680"/>
                </a:lnTo>
                <a:lnTo>
                  <a:pt x="260" y="676"/>
                </a:lnTo>
                <a:lnTo>
                  <a:pt x="262" y="674"/>
                </a:lnTo>
                <a:lnTo>
                  <a:pt x="268" y="670"/>
                </a:lnTo>
                <a:lnTo>
                  <a:pt x="274" y="666"/>
                </a:lnTo>
                <a:lnTo>
                  <a:pt x="274" y="666"/>
                </a:lnTo>
                <a:lnTo>
                  <a:pt x="272" y="664"/>
                </a:lnTo>
                <a:lnTo>
                  <a:pt x="266" y="662"/>
                </a:lnTo>
                <a:lnTo>
                  <a:pt x="264" y="660"/>
                </a:lnTo>
                <a:lnTo>
                  <a:pt x="264" y="660"/>
                </a:lnTo>
                <a:lnTo>
                  <a:pt x="264" y="656"/>
                </a:lnTo>
                <a:lnTo>
                  <a:pt x="266" y="654"/>
                </a:lnTo>
                <a:lnTo>
                  <a:pt x="266" y="654"/>
                </a:lnTo>
                <a:lnTo>
                  <a:pt x="270" y="650"/>
                </a:lnTo>
                <a:lnTo>
                  <a:pt x="270" y="646"/>
                </a:lnTo>
                <a:lnTo>
                  <a:pt x="270" y="640"/>
                </a:lnTo>
                <a:lnTo>
                  <a:pt x="272" y="638"/>
                </a:lnTo>
                <a:lnTo>
                  <a:pt x="278" y="638"/>
                </a:lnTo>
                <a:lnTo>
                  <a:pt x="278" y="638"/>
                </a:lnTo>
                <a:lnTo>
                  <a:pt x="284" y="640"/>
                </a:lnTo>
                <a:lnTo>
                  <a:pt x="284" y="638"/>
                </a:lnTo>
                <a:lnTo>
                  <a:pt x="284" y="636"/>
                </a:lnTo>
                <a:lnTo>
                  <a:pt x="282" y="630"/>
                </a:lnTo>
                <a:lnTo>
                  <a:pt x="282" y="622"/>
                </a:lnTo>
                <a:lnTo>
                  <a:pt x="282" y="622"/>
                </a:lnTo>
                <a:lnTo>
                  <a:pt x="284" y="616"/>
                </a:lnTo>
                <a:lnTo>
                  <a:pt x="282" y="610"/>
                </a:lnTo>
                <a:lnTo>
                  <a:pt x="280" y="604"/>
                </a:lnTo>
                <a:lnTo>
                  <a:pt x="280" y="598"/>
                </a:lnTo>
                <a:lnTo>
                  <a:pt x="280" y="598"/>
                </a:lnTo>
                <a:lnTo>
                  <a:pt x="282" y="592"/>
                </a:lnTo>
                <a:lnTo>
                  <a:pt x="286" y="588"/>
                </a:lnTo>
                <a:lnTo>
                  <a:pt x="288" y="582"/>
                </a:lnTo>
                <a:lnTo>
                  <a:pt x="290" y="572"/>
                </a:lnTo>
                <a:lnTo>
                  <a:pt x="290" y="572"/>
                </a:lnTo>
                <a:lnTo>
                  <a:pt x="292" y="562"/>
                </a:lnTo>
                <a:lnTo>
                  <a:pt x="292" y="558"/>
                </a:lnTo>
                <a:lnTo>
                  <a:pt x="292" y="554"/>
                </a:lnTo>
                <a:lnTo>
                  <a:pt x="286" y="550"/>
                </a:lnTo>
                <a:lnTo>
                  <a:pt x="286" y="550"/>
                </a:lnTo>
                <a:lnTo>
                  <a:pt x="280" y="548"/>
                </a:lnTo>
                <a:lnTo>
                  <a:pt x="284" y="544"/>
                </a:lnTo>
                <a:lnTo>
                  <a:pt x="286" y="542"/>
                </a:lnTo>
                <a:lnTo>
                  <a:pt x="286" y="538"/>
                </a:lnTo>
                <a:lnTo>
                  <a:pt x="286" y="532"/>
                </a:lnTo>
                <a:lnTo>
                  <a:pt x="284" y="524"/>
                </a:lnTo>
                <a:lnTo>
                  <a:pt x="284" y="524"/>
                </a:lnTo>
                <a:lnTo>
                  <a:pt x="280" y="514"/>
                </a:lnTo>
                <a:lnTo>
                  <a:pt x="280" y="506"/>
                </a:lnTo>
                <a:lnTo>
                  <a:pt x="280" y="500"/>
                </a:lnTo>
                <a:lnTo>
                  <a:pt x="282" y="496"/>
                </a:lnTo>
                <a:lnTo>
                  <a:pt x="286" y="494"/>
                </a:lnTo>
                <a:lnTo>
                  <a:pt x="290" y="492"/>
                </a:lnTo>
                <a:lnTo>
                  <a:pt x="294" y="494"/>
                </a:lnTo>
                <a:lnTo>
                  <a:pt x="294" y="494"/>
                </a:lnTo>
                <a:lnTo>
                  <a:pt x="298" y="494"/>
                </a:lnTo>
                <a:lnTo>
                  <a:pt x="300" y="490"/>
                </a:lnTo>
                <a:lnTo>
                  <a:pt x="300" y="488"/>
                </a:lnTo>
                <a:lnTo>
                  <a:pt x="304" y="484"/>
                </a:lnTo>
                <a:lnTo>
                  <a:pt x="304" y="484"/>
                </a:lnTo>
                <a:lnTo>
                  <a:pt x="306" y="482"/>
                </a:lnTo>
                <a:lnTo>
                  <a:pt x="306" y="480"/>
                </a:lnTo>
                <a:lnTo>
                  <a:pt x="308" y="478"/>
                </a:lnTo>
                <a:lnTo>
                  <a:pt x="314" y="476"/>
                </a:lnTo>
                <a:lnTo>
                  <a:pt x="314" y="476"/>
                </a:lnTo>
                <a:lnTo>
                  <a:pt x="320" y="474"/>
                </a:lnTo>
                <a:lnTo>
                  <a:pt x="324" y="472"/>
                </a:lnTo>
                <a:lnTo>
                  <a:pt x="328" y="464"/>
                </a:lnTo>
                <a:lnTo>
                  <a:pt x="328" y="464"/>
                </a:lnTo>
                <a:lnTo>
                  <a:pt x="330" y="462"/>
                </a:lnTo>
                <a:lnTo>
                  <a:pt x="328" y="462"/>
                </a:lnTo>
                <a:lnTo>
                  <a:pt x="326" y="460"/>
                </a:lnTo>
                <a:lnTo>
                  <a:pt x="324" y="460"/>
                </a:lnTo>
                <a:lnTo>
                  <a:pt x="326" y="458"/>
                </a:lnTo>
                <a:lnTo>
                  <a:pt x="332" y="454"/>
                </a:lnTo>
                <a:lnTo>
                  <a:pt x="332" y="454"/>
                </a:lnTo>
                <a:lnTo>
                  <a:pt x="340" y="450"/>
                </a:lnTo>
                <a:lnTo>
                  <a:pt x="344" y="442"/>
                </a:lnTo>
                <a:lnTo>
                  <a:pt x="348" y="436"/>
                </a:lnTo>
                <a:lnTo>
                  <a:pt x="352" y="432"/>
                </a:lnTo>
                <a:lnTo>
                  <a:pt x="352" y="432"/>
                </a:lnTo>
                <a:lnTo>
                  <a:pt x="358" y="426"/>
                </a:lnTo>
                <a:lnTo>
                  <a:pt x="362" y="420"/>
                </a:lnTo>
                <a:lnTo>
                  <a:pt x="364" y="412"/>
                </a:lnTo>
                <a:lnTo>
                  <a:pt x="366" y="408"/>
                </a:lnTo>
                <a:lnTo>
                  <a:pt x="368" y="402"/>
                </a:lnTo>
                <a:lnTo>
                  <a:pt x="372" y="398"/>
                </a:lnTo>
                <a:lnTo>
                  <a:pt x="380" y="394"/>
                </a:lnTo>
                <a:lnTo>
                  <a:pt x="380" y="394"/>
                </a:lnTo>
                <a:lnTo>
                  <a:pt x="376" y="392"/>
                </a:lnTo>
                <a:lnTo>
                  <a:pt x="378" y="390"/>
                </a:lnTo>
                <a:lnTo>
                  <a:pt x="380" y="390"/>
                </a:lnTo>
                <a:lnTo>
                  <a:pt x="382" y="390"/>
                </a:lnTo>
                <a:lnTo>
                  <a:pt x="382" y="392"/>
                </a:lnTo>
                <a:lnTo>
                  <a:pt x="382" y="392"/>
                </a:lnTo>
                <a:lnTo>
                  <a:pt x="388" y="390"/>
                </a:lnTo>
                <a:lnTo>
                  <a:pt x="392" y="388"/>
                </a:lnTo>
                <a:lnTo>
                  <a:pt x="398" y="382"/>
                </a:lnTo>
                <a:lnTo>
                  <a:pt x="400" y="374"/>
                </a:lnTo>
                <a:lnTo>
                  <a:pt x="402" y="370"/>
                </a:lnTo>
                <a:lnTo>
                  <a:pt x="402" y="370"/>
                </a:lnTo>
                <a:lnTo>
                  <a:pt x="404" y="366"/>
                </a:lnTo>
                <a:lnTo>
                  <a:pt x="404" y="364"/>
                </a:lnTo>
                <a:lnTo>
                  <a:pt x="400" y="358"/>
                </a:lnTo>
                <a:lnTo>
                  <a:pt x="398" y="354"/>
                </a:lnTo>
                <a:lnTo>
                  <a:pt x="398" y="352"/>
                </a:lnTo>
                <a:lnTo>
                  <a:pt x="400" y="350"/>
                </a:lnTo>
                <a:lnTo>
                  <a:pt x="400" y="350"/>
                </a:lnTo>
                <a:lnTo>
                  <a:pt x="410" y="346"/>
                </a:lnTo>
                <a:lnTo>
                  <a:pt x="414" y="342"/>
                </a:lnTo>
                <a:lnTo>
                  <a:pt x="414" y="340"/>
                </a:lnTo>
                <a:lnTo>
                  <a:pt x="414" y="340"/>
                </a:lnTo>
                <a:lnTo>
                  <a:pt x="418" y="340"/>
                </a:lnTo>
                <a:lnTo>
                  <a:pt x="418" y="340"/>
                </a:lnTo>
                <a:lnTo>
                  <a:pt x="420" y="338"/>
                </a:lnTo>
                <a:lnTo>
                  <a:pt x="420" y="334"/>
                </a:lnTo>
                <a:lnTo>
                  <a:pt x="420" y="332"/>
                </a:lnTo>
                <a:lnTo>
                  <a:pt x="420" y="334"/>
                </a:lnTo>
                <a:lnTo>
                  <a:pt x="420" y="334"/>
                </a:lnTo>
                <a:lnTo>
                  <a:pt x="422" y="338"/>
                </a:lnTo>
                <a:lnTo>
                  <a:pt x="422" y="342"/>
                </a:lnTo>
                <a:lnTo>
                  <a:pt x="422" y="344"/>
                </a:lnTo>
                <a:lnTo>
                  <a:pt x="424" y="346"/>
                </a:lnTo>
                <a:lnTo>
                  <a:pt x="424" y="346"/>
                </a:lnTo>
                <a:lnTo>
                  <a:pt x="428" y="344"/>
                </a:lnTo>
                <a:lnTo>
                  <a:pt x="430" y="342"/>
                </a:lnTo>
                <a:lnTo>
                  <a:pt x="430" y="340"/>
                </a:lnTo>
                <a:lnTo>
                  <a:pt x="432" y="338"/>
                </a:lnTo>
                <a:lnTo>
                  <a:pt x="432" y="338"/>
                </a:lnTo>
                <a:lnTo>
                  <a:pt x="434" y="338"/>
                </a:lnTo>
                <a:lnTo>
                  <a:pt x="434" y="340"/>
                </a:lnTo>
                <a:lnTo>
                  <a:pt x="434" y="342"/>
                </a:lnTo>
                <a:lnTo>
                  <a:pt x="436" y="342"/>
                </a:lnTo>
                <a:lnTo>
                  <a:pt x="436" y="342"/>
                </a:lnTo>
                <a:lnTo>
                  <a:pt x="436" y="332"/>
                </a:lnTo>
                <a:lnTo>
                  <a:pt x="436" y="324"/>
                </a:lnTo>
                <a:lnTo>
                  <a:pt x="434" y="320"/>
                </a:lnTo>
                <a:lnTo>
                  <a:pt x="430" y="316"/>
                </a:lnTo>
                <a:lnTo>
                  <a:pt x="428" y="312"/>
                </a:lnTo>
                <a:lnTo>
                  <a:pt x="428" y="310"/>
                </a:lnTo>
                <a:lnTo>
                  <a:pt x="430" y="308"/>
                </a:lnTo>
                <a:lnTo>
                  <a:pt x="430" y="308"/>
                </a:lnTo>
                <a:lnTo>
                  <a:pt x="430" y="304"/>
                </a:lnTo>
                <a:lnTo>
                  <a:pt x="430" y="304"/>
                </a:lnTo>
                <a:lnTo>
                  <a:pt x="428" y="302"/>
                </a:lnTo>
                <a:lnTo>
                  <a:pt x="428" y="294"/>
                </a:lnTo>
                <a:lnTo>
                  <a:pt x="428" y="294"/>
                </a:lnTo>
                <a:lnTo>
                  <a:pt x="428" y="290"/>
                </a:lnTo>
                <a:lnTo>
                  <a:pt x="426" y="288"/>
                </a:lnTo>
                <a:lnTo>
                  <a:pt x="418" y="282"/>
                </a:lnTo>
                <a:lnTo>
                  <a:pt x="410" y="278"/>
                </a:lnTo>
                <a:lnTo>
                  <a:pt x="408" y="274"/>
                </a:lnTo>
                <a:lnTo>
                  <a:pt x="408" y="268"/>
                </a:lnTo>
                <a:lnTo>
                  <a:pt x="408" y="268"/>
                </a:lnTo>
                <a:lnTo>
                  <a:pt x="410" y="262"/>
                </a:lnTo>
                <a:lnTo>
                  <a:pt x="414" y="260"/>
                </a:lnTo>
                <a:lnTo>
                  <a:pt x="416" y="258"/>
                </a:lnTo>
                <a:lnTo>
                  <a:pt x="418" y="256"/>
                </a:lnTo>
                <a:lnTo>
                  <a:pt x="418" y="256"/>
                </a:lnTo>
                <a:lnTo>
                  <a:pt x="418" y="254"/>
                </a:lnTo>
                <a:lnTo>
                  <a:pt x="414" y="250"/>
                </a:lnTo>
                <a:lnTo>
                  <a:pt x="404" y="246"/>
                </a:lnTo>
                <a:lnTo>
                  <a:pt x="394" y="240"/>
                </a:lnTo>
                <a:lnTo>
                  <a:pt x="390" y="238"/>
                </a:lnTo>
                <a:lnTo>
                  <a:pt x="390" y="238"/>
                </a:lnTo>
                <a:lnTo>
                  <a:pt x="392" y="236"/>
                </a:lnTo>
                <a:lnTo>
                  <a:pt x="398" y="234"/>
                </a:lnTo>
                <a:lnTo>
                  <a:pt x="402" y="232"/>
                </a:lnTo>
                <a:lnTo>
                  <a:pt x="404" y="228"/>
                </a:lnTo>
                <a:lnTo>
                  <a:pt x="404" y="228"/>
                </a:lnTo>
                <a:lnTo>
                  <a:pt x="404" y="216"/>
                </a:lnTo>
                <a:lnTo>
                  <a:pt x="406" y="214"/>
                </a:lnTo>
                <a:lnTo>
                  <a:pt x="408" y="214"/>
                </a:lnTo>
                <a:lnTo>
                  <a:pt x="408" y="214"/>
                </a:lnTo>
                <a:lnTo>
                  <a:pt x="414" y="228"/>
                </a:lnTo>
                <a:lnTo>
                  <a:pt x="416" y="230"/>
                </a:lnTo>
                <a:lnTo>
                  <a:pt x="418" y="228"/>
                </a:lnTo>
                <a:lnTo>
                  <a:pt x="418" y="224"/>
                </a:lnTo>
                <a:lnTo>
                  <a:pt x="420" y="224"/>
                </a:lnTo>
                <a:lnTo>
                  <a:pt x="422" y="226"/>
                </a:lnTo>
                <a:lnTo>
                  <a:pt x="422" y="226"/>
                </a:lnTo>
                <a:lnTo>
                  <a:pt x="424" y="230"/>
                </a:lnTo>
                <a:lnTo>
                  <a:pt x="424" y="234"/>
                </a:lnTo>
                <a:lnTo>
                  <a:pt x="424" y="236"/>
                </a:lnTo>
                <a:lnTo>
                  <a:pt x="426" y="234"/>
                </a:lnTo>
                <a:lnTo>
                  <a:pt x="426" y="234"/>
                </a:lnTo>
                <a:lnTo>
                  <a:pt x="430" y="232"/>
                </a:lnTo>
                <a:lnTo>
                  <a:pt x="432" y="232"/>
                </a:lnTo>
                <a:lnTo>
                  <a:pt x="436" y="240"/>
                </a:lnTo>
                <a:lnTo>
                  <a:pt x="440" y="250"/>
                </a:lnTo>
                <a:lnTo>
                  <a:pt x="446" y="256"/>
                </a:lnTo>
                <a:lnTo>
                  <a:pt x="452" y="258"/>
                </a:lnTo>
                <a:lnTo>
                  <a:pt x="452" y="258"/>
                </a:lnTo>
                <a:lnTo>
                  <a:pt x="458" y="262"/>
                </a:lnTo>
                <a:lnTo>
                  <a:pt x="466" y="262"/>
                </a:lnTo>
                <a:lnTo>
                  <a:pt x="482" y="260"/>
                </a:lnTo>
                <a:lnTo>
                  <a:pt x="494" y="260"/>
                </a:lnTo>
                <a:lnTo>
                  <a:pt x="498" y="260"/>
                </a:lnTo>
                <a:lnTo>
                  <a:pt x="502" y="264"/>
                </a:lnTo>
                <a:lnTo>
                  <a:pt x="502" y="264"/>
                </a:lnTo>
                <a:lnTo>
                  <a:pt x="502" y="266"/>
                </a:lnTo>
                <a:lnTo>
                  <a:pt x="500" y="270"/>
                </a:lnTo>
                <a:lnTo>
                  <a:pt x="496" y="274"/>
                </a:lnTo>
                <a:lnTo>
                  <a:pt x="496" y="278"/>
                </a:lnTo>
                <a:lnTo>
                  <a:pt x="496" y="278"/>
                </a:lnTo>
                <a:lnTo>
                  <a:pt x="498" y="282"/>
                </a:lnTo>
                <a:lnTo>
                  <a:pt x="494" y="282"/>
                </a:lnTo>
                <a:lnTo>
                  <a:pt x="486" y="284"/>
                </a:lnTo>
                <a:lnTo>
                  <a:pt x="480" y="284"/>
                </a:lnTo>
                <a:lnTo>
                  <a:pt x="476" y="286"/>
                </a:lnTo>
                <a:lnTo>
                  <a:pt x="472" y="290"/>
                </a:lnTo>
                <a:lnTo>
                  <a:pt x="470" y="296"/>
                </a:lnTo>
                <a:lnTo>
                  <a:pt x="470" y="296"/>
                </a:lnTo>
                <a:lnTo>
                  <a:pt x="472" y="300"/>
                </a:lnTo>
                <a:lnTo>
                  <a:pt x="474" y="302"/>
                </a:lnTo>
                <a:lnTo>
                  <a:pt x="478" y="302"/>
                </a:lnTo>
                <a:lnTo>
                  <a:pt x="480" y="304"/>
                </a:lnTo>
                <a:lnTo>
                  <a:pt x="480" y="304"/>
                </a:lnTo>
                <a:lnTo>
                  <a:pt x="482" y="306"/>
                </a:lnTo>
                <a:lnTo>
                  <a:pt x="484" y="304"/>
                </a:lnTo>
                <a:lnTo>
                  <a:pt x="484" y="302"/>
                </a:lnTo>
                <a:lnTo>
                  <a:pt x="488" y="302"/>
                </a:lnTo>
                <a:lnTo>
                  <a:pt x="488" y="302"/>
                </a:lnTo>
                <a:lnTo>
                  <a:pt x="490" y="302"/>
                </a:lnTo>
                <a:lnTo>
                  <a:pt x="492" y="300"/>
                </a:lnTo>
                <a:lnTo>
                  <a:pt x="494" y="300"/>
                </a:lnTo>
                <a:lnTo>
                  <a:pt x="498" y="302"/>
                </a:lnTo>
                <a:lnTo>
                  <a:pt x="498" y="302"/>
                </a:lnTo>
                <a:lnTo>
                  <a:pt x="502" y="312"/>
                </a:lnTo>
                <a:lnTo>
                  <a:pt x="506" y="326"/>
                </a:lnTo>
                <a:lnTo>
                  <a:pt x="510" y="338"/>
                </a:lnTo>
                <a:lnTo>
                  <a:pt x="514" y="342"/>
                </a:lnTo>
                <a:lnTo>
                  <a:pt x="516" y="344"/>
                </a:lnTo>
                <a:lnTo>
                  <a:pt x="516" y="344"/>
                </a:lnTo>
                <a:lnTo>
                  <a:pt x="522" y="344"/>
                </a:lnTo>
                <a:lnTo>
                  <a:pt x="526" y="340"/>
                </a:lnTo>
                <a:lnTo>
                  <a:pt x="528" y="332"/>
                </a:lnTo>
                <a:lnTo>
                  <a:pt x="526" y="318"/>
                </a:lnTo>
                <a:lnTo>
                  <a:pt x="526" y="318"/>
                </a:lnTo>
                <a:lnTo>
                  <a:pt x="528" y="314"/>
                </a:lnTo>
                <a:lnTo>
                  <a:pt x="528" y="310"/>
                </a:lnTo>
                <a:lnTo>
                  <a:pt x="532" y="310"/>
                </a:lnTo>
                <a:lnTo>
                  <a:pt x="534" y="312"/>
                </a:lnTo>
                <a:lnTo>
                  <a:pt x="538" y="312"/>
                </a:lnTo>
                <a:lnTo>
                  <a:pt x="540" y="312"/>
                </a:lnTo>
                <a:lnTo>
                  <a:pt x="540" y="308"/>
                </a:lnTo>
                <a:lnTo>
                  <a:pt x="540" y="302"/>
                </a:lnTo>
                <a:lnTo>
                  <a:pt x="540" y="302"/>
                </a:lnTo>
                <a:lnTo>
                  <a:pt x="540" y="290"/>
                </a:lnTo>
                <a:lnTo>
                  <a:pt x="542" y="282"/>
                </a:lnTo>
                <a:lnTo>
                  <a:pt x="540" y="274"/>
                </a:lnTo>
                <a:lnTo>
                  <a:pt x="538" y="268"/>
                </a:lnTo>
                <a:lnTo>
                  <a:pt x="534" y="262"/>
                </a:lnTo>
                <a:lnTo>
                  <a:pt x="534" y="262"/>
                </a:lnTo>
                <a:lnTo>
                  <a:pt x="532" y="256"/>
                </a:lnTo>
                <a:lnTo>
                  <a:pt x="534" y="252"/>
                </a:lnTo>
                <a:lnTo>
                  <a:pt x="538" y="248"/>
                </a:lnTo>
                <a:lnTo>
                  <a:pt x="538" y="242"/>
                </a:lnTo>
                <a:lnTo>
                  <a:pt x="538" y="242"/>
                </a:lnTo>
                <a:lnTo>
                  <a:pt x="538" y="238"/>
                </a:lnTo>
                <a:lnTo>
                  <a:pt x="540" y="236"/>
                </a:lnTo>
                <a:lnTo>
                  <a:pt x="548" y="228"/>
                </a:lnTo>
                <a:lnTo>
                  <a:pt x="558" y="218"/>
                </a:lnTo>
                <a:lnTo>
                  <a:pt x="568" y="204"/>
                </a:lnTo>
                <a:lnTo>
                  <a:pt x="568" y="204"/>
                </a:lnTo>
                <a:lnTo>
                  <a:pt x="572" y="202"/>
                </a:lnTo>
                <a:lnTo>
                  <a:pt x="576" y="200"/>
                </a:lnTo>
                <a:lnTo>
                  <a:pt x="584" y="200"/>
                </a:lnTo>
                <a:lnTo>
                  <a:pt x="588" y="200"/>
                </a:lnTo>
                <a:lnTo>
                  <a:pt x="588" y="198"/>
                </a:lnTo>
                <a:lnTo>
                  <a:pt x="584" y="194"/>
                </a:lnTo>
                <a:lnTo>
                  <a:pt x="584" y="194"/>
                </a:lnTo>
                <a:lnTo>
                  <a:pt x="582" y="190"/>
                </a:lnTo>
                <a:lnTo>
                  <a:pt x="582" y="188"/>
                </a:lnTo>
                <a:lnTo>
                  <a:pt x="586" y="186"/>
                </a:lnTo>
                <a:lnTo>
                  <a:pt x="588" y="184"/>
                </a:lnTo>
                <a:lnTo>
                  <a:pt x="586" y="180"/>
                </a:lnTo>
                <a:lnTo>
                  <a:pt x="584" y="176"/>
                </a:lnTo>
                <a:lnTo>
                  <a:pt x="574" y="170"/>
                </a:lnTo>
                <a:lnTo>
                  <a:pt x="574" y="170"/>
                </a:lnTo>
                <a:lnTo>
                  <a:pt x="570" y="172"/>
                </a:lnTo>
                <a:lnTo>
                  <a:pt x="568" y="174"/>
                </a:lnTo>
                <a:lnTo>
                  <a:pt x="564" y="172"/>
                </a:lnTo>
                <a:lnTo>
                  <a:pt x="564" y="172"/>
                </a:lnTo>
                <a:lnTo>
                  <a:pt x="558" y="172"/>
                </a:lnTo>
                <a:lnTo>
                  <a:pt x="554" y="172"/>
                </a:lnTo>
                <a:lnTo>
                  <a:pt x="554" y="172"/>
                </a:lnTo>
                <a:lnTo>
                  <a:pt x="554" y="170"/>
                </a:lnTo>
                <a:lnTo>
                  <a:pt x="558" y="164"/>
                </a:lnTo>
                <a:lnTo>
                  <a:pt x="558" y="164"/>
                </a:lnTo>
                <a:lnTo>
                  <a:pt x="552" y="164"/>
                </a:lnTo>
                <a:lnTo>
                  <a:pt x="550" y="164"/>
                </a:lnTo>
                <a:lnTo>
                  <a:pt x="552" y="160"/>
                </a:lnTo>
                <a:lnTo>
                  <a:pt x="552" y="158"/>
                </a:lnTo>
                <a:lnTo>
                  <a:pt x="550" y="156"/>
                </a:lnTo>
                <a:lnTo>
                  <a:pt x="538" y="160"/>
                </a:lnTo>
                <a:lnTo>
                  <a:pt x="538" y="160"/>
                </a:lnTo>
                <a:lnTo>
                  <a:pt x="528" y="162"/>
                </a:lnTo>
                <a:lnTo>
                  <a:pt x="520" y="162"/>
                </a:lnTo>
                <a:lnTo>
                  <a:pt x="516" y="160"/>
                </a:lnTo>
                <a:lnTo>
                  <a:pt x="508" y="160"/>
                </a:lnTo>
                <a:lnTo>
                  <a:pt x="508" y="160"/>
                </a:lnTo>
                <a:lnTo>
                  <a:pt x="504" y="164"/>
                </a:lnTo>
                <a:lnTo>
                  <a:pt x="502" y="166"/>
                </a:lnTo>
                <a:lnTo>
                  <a:pt x="498" y="170"/>
                </a:lnTo>
                <a:lnTo>
                  <a:pt x="488" y="174"/>
                </a:lnTo>
                <a:lnTo>
                  <a:pt x="488" y="174"/>
                </a:lnTo>
                <a:lnTo>
                  <a:pt x="472" y="182"/>
                </a:lnTo>
                <a:lnTo>
                  <a:pt x="462" y="184"/>
                </a:lnTo>
                <a:lnTo>
                  <a:pt x="462" y="184"/>
                </a:lnTo>
                <a:lnTo>
                  <a:pt x="464" y="188"/>
                </a:lnTo>
                <a:lnTo>
                  <a:pt x="466" y="190"/>
                </a:lnTo>
                <a:lnTo>
                  <a:pt x="476" y="190"/>
                </a:lnTo>
                <a:lnTo>
                  <a:pt x="476" y="190"/>
                </a:lnTo>
                <a:lnTo>
                  <a:pt x="478" y="192"/>
                </a:lnTo>
                <a:lnTo>
                  <a:pt x="480" y="196"/>
                </a:lnTo>
                <a:lnTo>
                  <a:pt x="480" y="206"/>
                </a:lnTo>
                <a:lnTo>
                  <a:pt x="480" y="206"/>
                </a:lnTo>
                <a:lnTo>
                  <a:pt x="480" y="206"/>
                </a:lnTo>
                <a:lnTo>
                  <a:pt x="478" y="208"/>
                </a:lnTo>
                <a:lnTo>
                  <a:pt x="470" y="206"/>
                </a:lnTo>
                <a:lnTo>
                  <a:pt x="462" y="206"/>
                </a:lnTo>
                <a:lnTo>
                  <a:pt x="454" y="208"/>
                </a:lnTo>
                <a:lnTo>
                  <a:pt x="454" y="208"/>
                </a:lnTo>
                <a:lnTo>
                  <a:pt x="450" y="210"/>
                </a:lnTo>
                <a:lnTo>
                  <a:pt x="444" y="210"/>
                </a:lnTo>
                <a:lnTo>
                  <a:pt x="440" y="208"/>
                </a:lnTo>
                <a:lnTo>
                  <a:pt x="436" y="204"/>
                </a:lnTo>
                <a:lnTo>
                  <a:pt x="436" y="204"/>
                </a:lnTo>
                <a:lnTo>
                  <a:pt x="432" y="202"/>
                </a:lnTo>
                <a:lnTo>
                  <a:pt x="424" y="202"/>
                </a:lnTo>
                <a:lnTo>
                  <a:pt x="418" y="202"/>
                </a:lnTo>
                <a:lnTo>
                  <a:pt x="412" y="200"/>
                </a:lnTo>
                <a:lnTo>
                  <a:pt x="412" y="200"/>
                </a:lnTo>
                <a:lnTo>
                  <a:pt x="410" y="182"/>
                </a:lnTo>
                <a:lnTo>
                  <a:pt x="410" y="180"/>
                </a:lnTo>
                <a:lnTo>
                  <a:pt x="406" y="182"/>
                </a:lnTo>
                <a:lnTo>
                  <a:pt x="406" y="182"/>
                </a:lnTo>
                <a:lnTo>
                  <a:pt x="402" y="182"/>
                </a:lnTo>
                <a:lnTo>
                  <a:pt x="400" y="184"/>
                </a:lnTo>
                <a:lnTo>
                  <a:pt x="398" y="186"/>
                </a:lnTo>
                <a:lnTo>
                  <a:pt x="398" y="192"/>
                </a:lnTo>
                <a:lnTo>
                  <a:pt x="398" y="192"/>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37" name="Indonesia"/>
          <p:cNvSpPr>
            <a:spLocks/>
          </p:cNvSpPr>
          <p:nvPr/>
        </p:nvSpPr>
        <p:spPr bwMode="auto">
          <a:xfrm>
            <a:off x="6619729" y="2597712"/>
            <a:ext cx="1107509" cy="468882"/>
          </a:xfrm>
          <a:custGeom>
            <a:avLst/>
            <a:gdLst/>
            <a:ahLst/>
            <a:cxnLst/>
            <a:rect l="l" t="t" r="r" b="b"/>
            <a:pathLst>
              <a:path w="1285875" h="545042">
                <a:moveTo>
                  <a:pt x="767292" y="529167"/>
                </a:moveTo>
                <a:lnTo>
                  <a:pt x="769938" y="529167"/>
                </a:lnTo>
                <a:lnTo>
                  <a:pt x="769938" y="531813"/>
                </a:lnTo>
                <a:lnTo>
                  <a:pt x="769938" y="534459"/>
                </a:lnTo>
                <a:lnTo>
                  <a:pt x="769938" y="537105"/>
                </a:lnTo>
                <a:lnTo>
                  <a:pt x="767292" y="537105"/>
                </a:lnTo>
                <a:lnTo>
                  <a:pt x="764646" y="539750"/>
                </a:lnTo>
                <a:lnTo>
                  <a:pt x="762000" y="542396"/>
                </a:lnTo>
                <a:lnTo>
                  <a:pt x="759354" y="542396"/>
                </a:lnTo>
                <a:lnTo>
                  <a:pt x="756708" y="542396"/>
                </a:lnTo>
                <a:lnTo>
                  <a:pt x="754063" y="545042"/>
                </a:lnTo>
                <a:lnTo>
                  <a:pt x="751417" y="542396"/>
                </a:lnTo>
                <a:lnTo>
                  <a:pt x="751417" y="539750"/>
                </a:lnTo>
                <a:lnTo>
                  <a:pt x="756708" y="537105"/>
                </a:lnTo>
                <a:lnTo>
                  <a:pt x="759354" y="534459"/>
                </a:lnTo>
                <a:lnTo>
                  <a:pt x="762000" y="534459"/>
                </a:lnTo>
                <a:lnTo>
                  <a:pt x="759354" y="531813"/>
                </a:lnTo>
                <a:lnTo>
                  <a:pt x="762000" y="531813"/>
                </a:lnTo>
                <a:close/>
                <a:moveTo>
                  <a:pt x="669396" y="497417"/>
                </a:moveTo>
                <a:lnTo>
                  <a:pt x="677333" y="497417"/>
                </a:lnTo>
                <a:lnTo>
                  <a:pt x="685271" y="500063"/>
                </a:lnTo>
                <a:lnTo>
                  <a:pt x="687917" y="502709"/>
                </a:lnTo>
                <a:lnTo>
                  <a:pt x="690563" y="502709"/>
                </a:lnTo>
                <a:lnTo>
                  <a:pt x="695854" y="500063"/>
                </a:lnTo>
                <a:lnTo>
                  <a:pt x="695854" y="502709"/>
                </a:lnTo>
                <a:lnTo>
                  <a:pt x="698500" y="508000"/>
                </a:lnTo>
                <a:lnTo>
                  <a:pt x="701146" y="510646"/>
                </a:lnTo>
                <a:lnTo>
                  <a:pt x="701146" y="513292"/>
                </a:lnTo>
                <a:lnTo>
                  <a:pt x="703792" y="513292"/>
                </a:lnTo>
                <a:lnTo>
                  <a:pt x="706438" y="515938"/>
                </a:lnTo>
                <a:lnTo>
                  <a:pt x="706438" y="518584"/>
                </a:lnTo>
                <a:lnTo>
                  <a:pt x="706438" y="523875"/>
                </a:lnTo>
                <a:lnTo>
                  <a:pt x="701146" y="526521"/>
                </a:lnTo>
                <a:lnTo>
                  <a:pt x="698500" y="526521"/>
                </a:lnTo>
                <a:lnTo>
                  <a:pt x="693208" y="529167"/>
                </a:lnTo>
                <a:lnTo>
                  <a:pt x="687917" y="526521"/>
                </a:lnTo>
                <a:lnTo>
                  <a:pt x="685271" y="523875"/>
                </a:lnTo>
                <a:lnTo>
                  <a:pt x="685271" y="521230"/>
                </a:lnTo>
                <a:lnTo>
                  <a:pt x="679979" y="518584"/>
                </a:lnTo>
                <a:lnTo>
                  <a:pt x="672042" y="515938"/>
                </a:lnTo>
                <a:lnTo>
                  <a:pt x="666750" y="513292"/>
                </a:lnTo>
                <a:lnTo>
                  <a:pt x="661458" y="513292"/>
                </a:lnTo>
                <a:lnTo>
                  <a:pt x="653521" y="508000"/>
                </a:lnTo>
                <a:lnTo>
                  <a:pt x="650875" y="505355"/>
                </a:lnTo>
                <a:lnTo>
                  <a:pt x="653521" y="502709"/>
                </a:lnTo>
                <a:lnTo>
                  <a:pt x="658812" y="500063"/>
                </a:lnTo>
                <a:lnTo>
                  <a:pt x="664104" y="500063"/>
                </a:lnTo>
                <a:close/>
                <a:moveTo>
                  <a:pt x="881063" y="463021"/>
                </a:moveTo>
                <a:lnTo>
                  <a:pt x="883709" y="465667"/>
                </a:lnTo>
                <a:lnTo>
                  <a:pt x="886354" y="465667"/>
                </a:lnTo>
                <a:lnTo>
                  <a:pt x="889000" y="465667"/>
                </a:lnTo>
                <a:lnTo>
                  <a:pt x="886354" y="468313"/>
                </a:lnTo>
                <a:lnTo>
                  <a:pt x="881063" y="473604"/>
                </a:lnTo>
                <a:lnTo>
                  <a:pt x="875771" y="478896"/>
                </a:lnTo>
                <a:lnTo>
                  <a:pt x="865188" y="478896"/>
                </a:lnTo>
                <a:lnTo>
                  <a:pt x="859896" y="481542"/>
                </a:lnTo>
                <a:lnTo>
                  <a:pt x="857250" y="484188"/>
                </a:lnTo>
                <a:lnTo>
                  <a:pt x="854604" y="484188"/>
                </a:lnTo>
                <a:lnTo>
                  <a:pt x="851959" y="484188"/>
                </a:lnTo>
                <a:lnTo>
                  <a:pt x="849313" y="484188"/>
                </a:lnTo>
                <a:lnTo>
                  <a:pt x="846667" y="486834"/>
                </a:lnTo>
                <a:lnTo>
                  <a:pt x="844021" y="489479"/>
                </a:lnTo>
                <a:lnTo>
                  <a:pt x="838729" y="492125"/>
                </a:lnTo>
                <a:lnTo>
                  <a:pt x="836084" y="494771"/>
                </a:lnTo>
                <a:lnTo>
                  <a:pt x="833438" y="494771"/>
                </a:lnTo>
                <a:lnTo>
                  <a:pt x="833438" y="497417"/>
                </a:lnTo>
                <a:lnTo>
                  <a:pt x="830792" y="502709"/>
                </a:lnTo>
                <a:lnTo>
                  <a:pt x="828146" y="505354"/>
                </a:lnTo>
                <a:lnTo>
                  <a:pt x="825500" y="508000"/>
                </a:lnTo>
                <a:lnTo>
                  <a:pt x="822854" y="508000"/>
                </a:lnTo>
                <a:lnTo>
                  <a:pt x="820209" y="510646"/>
                </a:lnTo>
                <a:lnTo>
                  <a:pt x="817563" y="513292"/>
                </a:lnTo>
                <a:lnTo>
                  <a:pt x="814917" y="515938"/>
                </a:lnTo>
                <a:lnTo>
                  <a:pt x="812271" y="518584"/>
                </a:lnTo>
                <a:lnTo>
                  <a:pt x="806979" y="518584"/>
                </a:lnTo>
                <a:lnTo>
                  <a:pt x="804334" y="518584"/>
                </a:lnTo>
                <a:lnTo>
                  <a:pt x="804334" y="521229"/>
                </a:lnTo>
                <a:lnTo>
                  <a:pt x="801688" y="521229"/>
                </a:lnTo>
                <a:lnTo>
                  <a:pt x="796396" y="523875"/>
                </a:lnTo>
                <a:lnTo>
                  <a:pt x="780521" y="526521"/>
                </a:lnTo>
                <a:lnTo>
                  <a:pt x="777875" y="526521"/>
                </a:lnTo>
                <a:lnTo>
                  <a:pt x="777875" y="523875"/>
                </a:lnTo>
                <a:lnTo>
                  <a:pt x="783167" y="518584"/>
                </a:lnTo>
                <a:lnTo>
                  <a:pt x="785813" y="518584"/>
                </a:lnTo>
                <a:lnTo>
                  <a:pt x="783167" y="515938"/>
                </a:lnTo>
                <a:lnTo>
                  <a:pt x="780521" y="513292"/>
                </a:lnTo>
                <a:lnTo>
                  <a:pt x="783167" y="505354"/>
                </a:lnTo>
                <a:lnTo>
                  <a:pt x="785813" y="502709"/>
                </a:lnTo>
                <a:lnTo>
                  <a:pt x="788459" y="500063"/>
                </a:lnTo>
                <a:lnTo>
                  <a:pt x="793750" y="497417"/>
                </a:lnTo>
                <a:lnTo>
                  <a:pt x="799042" y="497417"/>
                </a:lnTo>
                <a:lnTo>
                  <a:pt x="804334" y="494771"/>
                </a:lnTo>
                <a:lnTo>
                  <a:pt x="806979" y="492125"/>
                </a:lnTo>
                <a:lnTo>
                  <a:pt x="809625" y="489479"/>
                </a:lnTo>
                <a:lnTo>
                  <a:pt x="817563" y="486834"/>
                </a:lnTo>
                <a:lnTo>
                  <a:pt x="820209" y="484188"/>
                </a:lnTo>
                <a:lnTo>
                  <a:pt x="825500" y="478896"/>
                </a:lnTo>
                <a:lnTo>
                  <a:pt x="833438" y="476250"/>
                </a:lnTo>
                <a:lnTo>
                  <a:pt x="838729" y="470959"/>
                </a:lnTo>
                <a:lnTo>
                  <a:pt x="844021" y="468313"/>
                </a:lnTo>
                <a:lnTo>
                  <a:pt x="854604" y="468313"/>
                </a:lnTo>
                <a:lnTo>
                  <a:pt x="859896" y="468313"/>
                </a:lnTo>
                <a:lnTo>
                  <a:pt x="865188" y="465667"/>
                </a:lnTo>
                <a:lnTo>
                  <a:pt x="870479" y="465667"/>
                </a:lnTo>
                <a:close/>
                <a:moveTo>
                  <a:pt x="584729" y="460375"/>
                </a:moveTo>
                <a:lnTo>
                  <a:pt x="590020" y="460375"/>
                </a:lnTo>
                <a:lnTo>
                  <a:pt x="592666" y="463021"/>
                </a:lnTo>
                <a:lnTo>
                  <a:pt x="597958" y="465667"/>
                </a:lnTo>
                <a:lnTo>
                  <a:pt x="595312" y="468313"/>
                </a:lnTo>
                <a:lnTo>
                  <a:pt x="592666" y="470959"/>
                </a:lnTo>
                <a:lnTo>
                  <a:pt x="592666" y="476250"/>
                </a:lnTo>
                <a:lnTo>
                  <a:pt x="592666" y="478896"/>
                </a:lnTo>
                <a:lnTo>
                  <a:pt x="590020" y="481542"/>
                </a:lnTo>
                <a:lnTo>
                  <a:pt x="587375" y="481542"/>
                </a:lnTo>
                <a:lnTo>
                  <a:pt x="582083" y="481542"/>
                </a:lnTo>
                <a:lnTo>
                  <a:pt x="576791" y="478896"/>
                </a:lnTo>
                <a:lnTo>
                  <a:pt x="571500" y="478896"/>
                </a:lnTo>
                <a:lnTo>
                  <a:pt x="571500" y="476250"/>
                </a:lnTo>
                <a:lnTo>
                  <a:pt x="574146" y="476250"/>
                </a:lnTo>
                <a:lnTo>
                  <a:pt x="576791" y="476250"/>
                </a:lnTo>
                <a:lnTo>
                  <a:pt x="579437" y="473605"/>
                </a:lnTo>
                <a:lnTo>
                  <a:pt x="579437" y="470959"/>
                </a:lnTo>
                <a:lnTo>
                  <a:pt x="579437" y="465667"/>
                </a:lnTo>
                <a:lnTo>
                  <a:pt x="579437" y="463021"/>
                </a:lnTo>
                <a:close/>
                <a:moveTo>
                  <a:pt x="785813" y="457730"/>
                </a:moveTo>
                <a:lnTo>
                  <a:pt x="788459" y="457730"/>
                </a:lnTo>
                <a:lnTo>
                  <a:pt x="791104" y="457730"/>
                </a:lnTo>
                <a:lnTo>
                  <a:pt x="793750" y="457730"/>
                </a:lnTo>
                <a:lnTo>
                  <a:pt x="791104" y="460376"/>
                </a:lnTo>
                <a:lnTo>
                  <a:pt x="788459" y="463022"/>
                </a:lnTo>
                <a:lnTo>
                  <a:pt x="783167" y="463022"/>
                </a:lnTo>
                <a:lnTo>
                  <a:pt x="783167" y="460376"/>
                </a:lnTo>
                <a:close/>
                <a:moveTo>
                  <a:pt x="822854" y="455084"/>
                </a:moveTo>
                <a:lnTo>
                  <a:pt x="825500" y="455084"/>
                </a:lnTo>
                <a:lnTo>
                  <a:pt x="825500" y="457730"/>
                </a:lnTo>
                <a:lnTo>
                  <a:pt x="828146" y="457730"/>
                </a:lnTo>
                <a:lnTo>
                  <a:pt x="833437" y="455084"/>
                </a:lnTo>
                <a:lnTo>
                  <a:pt x="836083" y="455084"/>
                </a:lnTo>
                <a:lnTo>
                  <a:pt x="836083" y="460375"/>
                </a:lnTo>
                <a:lnTo>
                  <a:pt x="836083" y="463021"/>
                </a:lnTo>
                <a:lnTo>
                  <a:pt x="828146" y="465667"/>
                </a:lnTo>
                <a:lnTo>
                  <a:pt x="820208" y="465667"/>
                </a:lnTo>
                <a:lnTo>
                  <a:pt x="817562" y="465667"/>
                </a:lnTo>
                <a:lnTo>
                  <a:pt x="820208" y="463021"/>
                </a:lnTo>
                <a:lnTo>
                  <a:pt x="822854" y="460375"/>
                </a:lnTo>
                <a:lnTo>
                  <a:pt x="820208" y="457730"/>
                </a:lnTo>
                <a:close/>
                <a:moveTo>
                  <a:pt x="814916" y="455084"/>
                </a:moveTo>
                <a:lnTo>
                  <a:pt x="817562" y="457730"/>
                </a:lnTo>
                <a:lnTo>
                  <a:pt x="817562" y="460375"/>
                </a:lnTo>
                <a:lnTo>
                  <a:pt x="814916" y="465667"/>
                </a:lnTo>
                <a:lnTo>
                  <a:pt x="812271" y="468313"/>
                </a:lnTo>
                <a:lnTo>
                  <a:pt x="809625" y="468313"/>
                </a:lnTo>
                <a:lnTo>
                  <a:pt x="806979" y="468313"/>
                </a:lnTo>
                <a:lnTo>
                  <a:pt x="806979" y="463022"/>
                </a:lnTo>
                <a:lnTo>
                  <a:pt x="809625" y="460375"/>
                </a:lnTo>
                <a:lnTo>
                  <a:pt x="812271" y="460375"/>
                </a:lnTo>
                <a:lnTo>
                  <a:pt x="812271" y="457730"/>
                </a:lnTo>
                <a:close/>
                <a:moveTo>
                  <a:pt x="801688" y="455084"/>
                </a:moveTo>
                <a:lnTo>
                  <a:pt x="804333" y="455084"/>
                </a:lnTo>
                <a:lnTo>
                  <a:pt x="806979" y="457730"/>
                </a:lnTo>
                <a:lnTo>
                  <a:pt x="806979" y="460376"/>
                </a:lnTo>
                <a:lnTo>
                  <a:pt x="804333" y="463022"/>
                </a:lnTo>
                <a:lnTo>
                  <a:pt x="801688" y="465667"/>
                </a:lnTo>
                <a:lnTo>
                  <a:pt x="801688" y="468313"/>
                </a:lnTo>
                <a:lnTo>
                  <a:pt x="801688" y="470959"/>
                </a:lnTo>
                <a:lnTo>
                  <a:pt x="799042" y="470959"/>
                </a:lnTo>
                <a:lnTo>
                  <a:pt x="796396" y="470959"/>
                </a:lnTo>
                <a:lnTo>
                  <a:pt x="791104" y="470959"/>
                </a:lnTo>
                <a:lnTo>
                  <a:pt x="788458" y="470959"/>
                </a:lnTo>
                <a:lnTo>
                  <a:pt x="791104" y="468313"/>
                </a:lnTo>
                <a:lnTo>
                  <a:pt x="793750" y="463022"/>
                </a:lnTo>
                <a:lnTo>
                  <a:pt x="796396" y="460376"/>
                </a:lnTo>
                <a:lnTo>
                  <a:pt x="796396" y="457730"/>
                </a:lnTo>
                <a:close/>
                <a:moveTo>
                  <a:pt x="642937" y="455084"/>
                </a:moveTo>
                <a:lnTo>
                  <a:pt x="645583" y="457730"/>
                </a:lnTo>
                <a:lnTo>
                  <a:pt x="648229" y="457730"/>
                </a:lnTo>
                <a:lnTo>
                  <a:pt x="645583" y="463022"/>
                </a:lnTo>
                <a:lnTo>
                  <a:pt x="648229" y="463022"/>
                </a:lnTo>
                <a:lnTo>
                  <a:pt x="650875" y="463022"/>
                </a:lnTo>
                <a:lnTo>
                  <a:pt x="653520" y="463022"/>
                </a:lnTo>
                <a:lnTo>
                  <a:pt x="656166" y="463022"/>
                </a:lnTo>
                <a:lnTo>
                  <a:pt x="658812" y="463022"/>
                </a:lnTo>
                <a:lnTo>
                  <a:pt x="661458" y="463022"/>
                </a:lnTo>
                <a:lnTo>
                  <a:pt x="664104" y="465667"/>
                </a:lnTo>
                <a:lnTo>
                  <a:pt x="661458" y="468313"/>
                </a:lnTo>
                <a:lnTo>
                  <a:pt x="661458" y="470959"/>
                </a:lnTo>
                <a:lnTo>
                  <a:pt x="664104" y="470959"/>
                </a:lnTo>
                <a:lnTo>
                  <a:pt x="664104" y="473605"/>
                </a:lnTo>
                <a:lnTo>
                  <a:pt x="661458" y="473605"/>
                </a:lnTo>
                <a:lnTo>
                  <a:pt x="658812" y="473605"/>
                </a:lnTo>
                <a:lnTo>
                  <a:pt x="653520" y="473605"/>
                </a:lnTo>
                <a:lnTo>
                  <a:pt x="648229" y="476251"/>
                </a:lnTo>
                <a:lnTo>
                  <a:pt x="653520" y="476251"/>
                </a:lnTo>
                <a:lnTo>
                  <a:pt x="656166" y="476251"/>
                </a:lnTo>
                <a:lnTo>
                  <a:pt x="653520" y="478897"/>
                </a:lnTo>
                <a:lnTo>
                  <a:pt x="648229" y="481542"/>
                </a:lnTo>
                <a:lnTo>
                  <a:pt x="645583" y="481542"/>
                </a:lnTo>
                <a:lnTo>
                  <a:pt x="642937" y="478897"/>
                </a:lnTo>
                <a:lnTo>
                  <a:pt x="642937" y="476251"/>
                </a:lnTo>
                <a:lnTo>
                  <a:pt x="640291" y="478897"/>
                </a:lnTo>
                <a:lnTo>
                  <a:pt x="637645" y="481542"/>
                </a:lnTo>
                <a:lnTo>
                  <a:pt x="635000" y="481542"/>
                </a:lnTo>
                <a:lnTo>
                  <a:pt x="632354" y="481542"/>
                </a:lnTo>
                <a:lnTo>
                  <a:pt x="629708" y="481542"/>
                </a:lnTo>
                <a:lnTo>
                  <a:pt x="627062" y="484188"/>
                </a:lnTo>
                <a:lnTo>
                  <a:pt x="621770" y="486834"/>
                </a:lnTo>
                <a:lnTo>
                  <a:pt x="616479" y="486834"/>
                </a:lnTo>
                <a:lnTo>
                  <a:pt x="613833" y="486834"/>
                </a:lnTo>
                <a:lnTo>
                  <a:pt x="611187" y="486834"/>
                </a:lnTo>
                <a:lnTo>
                  <a:pt x="608541" y="486834"/>
                </a:lnTo>
                <a:lnTo>
                  <a:pt x="603250" y="484188"/>
                </a:lnTo>
                <a:lnTo>
                  <a:pt x="600604" y="481542"/>
                </a:lnTo>
                <a:lnTo>
                  <a:pt x="600604" y="478897"/>
                </a:lnTo>
                <a:lnTo>
                  <a:pt x="603250" y="476251"/>
                </a:lnTo>
                <a:lnTo>
                  <a:pt x="603250" y="473605"/>
                </a:lnTo>
                <a:lnTo>
                  <a:pt x="600604" y="470959"/>
                </a:lnTo>
                <a:lnTo>
                  <a:pt x="603250" y="468313"/>
                </a:lnTo>
                <a:lnTo>
                  <a:pt x="608541" y="465667"/>
                </a:lnTo>
                <a:lnTo>
                  <a:pt x="608541" y="463022"/>
                </a:lnTo>
                <a:lnTo>
                  <a:pt x="611187" y="463022"/>
                </a:lnTo>
                <a:lnTo>
                  <a:pt x="619125" y="463022"/>
                </a:lnTo>
                <a:lnTo>
                  <a:pt x="621770" y="463022"/>
                </a:lnTo>
                <a:lnTo>
                  <a:pt x="624416" y="465667"/>
                </a:lnTo>
                <a:lnTo>
                  <a:pt x="627062" y="470959"/>
                </a:lnTo>
                <a:lnTo>
                  <a:pt x="629708" y="473605"/>
                </a:lnTo>
                <a:lnTo>
                  <a:pt x="637645" y="470959"/>
                </a:lnTo>
                <a:lnTo>
                  <a:pt x="640291" y="470959"/>
                </a:lnTo>
                <a:lnTo>
                  <a:pt x="640291" y="468313"/>
                </a:lnTo>
                <a:lnTo>
                  <a:pt x="635000" y="465667"/>
                </a:lnTo>
                <a:lnTo>
                  <a:pt x="632354" y="465667"/>
                </a:lnTo>
                <a:lnTo>
                  <a:pt x="627062" y="463022"/>
                </a:lnTo>
                <a:lnTo>
                  <a:pt x="627062" y="460376"/>
                </a:lnTo>
                <a:lnTo>
                  <a:pt x="629708" y="457730"/>
                </a:lnTo>
                <a:lnTo>
                  <a:pt x="632354" y="457730"/>
                </a:lnTo>
                <a:lnTo>
                  <a:pt x="637645" y="457730"/>
                </a:lnTo>
                <a:close/>
                <a:moveTo>
                  <a:pt x="767292" y="452438"/>
                </a:moveTo>
                <a:lnTo>
                  <a:pt x="772583" y="452438"/>
                </a:lnTo>
                <a:lnTo>
                  <a:pt x="777875" y="452438"/>
                </a:lnTo>
                <a:lnTo>
                  <a:pt x="777875" y="455084"/>
                </a:lnTo>
                <a:lnTo>
                  <a:pt x="780521" y="460375"/>
                </a:lnTo>
                <a:lnTo>
                  <a:pt x="777875" y="463021"/>
                </a:lnTo>
                <a:lnTo>
                  <a:pt x="775229" y="463021"/>
                </a:lnTo>
                <a:lnTo>
                  <a:pt x="775229" y="465667"/>
                </a:lnTo>
                <a:lnTo>
                  <a:pt x="772583" y="465667"/>
                </a:lnTo>
                <a:lnTo>
                  <a:pt x="769937" y="468313"/>
                </a:lnTo>
                <a:lnTo>
                  <a:pt x="769937" y="470959"/>
                </a:lnTo>
                <a:lnTo>
                  <a:pt x="767292" y="470959"/>
                </a:lnTo>
                <a:lnTo>
                  <a:pt x="764646" y="470959"/>
                </a:lnTo>
                <a:lnTo>
                  <a:pt x="764646" y="473605"/>
                </a:lnTo>
                <a:lnTo>
                  <a:pt x="762000" y="473605"/>
                </a:lnTo>
                <a:lnTo>
                  <a:pt x="759354" y="473605"/>
                </a:lnTo>
                <a:lnTo>
                  <a:pt x="759354" y="476250"/>
                </a:lnTo>
                <a:lnTo>
                  <a:pt x="756708" y="476250"/>
                </a:lnTo>
                <a:lnTo>
                  <a:pt x="754062" y="476250"/>
                </a:lnTo>
                <a:lnTo>
                  <a:pt x="751417" y="476250"/>
                </a:lnTo>
                <a:lnTo>
                  <a:pt x="748771" y="478896"/>
                </a:lnTo>
                <a:lnTo>
                  <a:pt x="743479" y="476250"/>
                </a:lnTo>
                <a:lnTo>
                  <a:pt x="738187" y="473605"/>
                </a:lnTo>
                <a:lnTo>
                  <a:pt x="732896" y="476250"/>
                </a:lnTo>
                <a:lnTo>
                  <a:pt x="727604" y="481542"/>
                </a:lnTo>
                <a:lnTo>
                  <a:pt x="724958" y="481542"/>
                </a:lnTo>
                <a:lnTo>
                  <a:pt x="719667" y="481542"/>
                </a:lnTo>
                <a:lnTo>
                  <a:pt x="717021" y="481542"/>
                </a:lnTo>
                <a:lnTo>
                  <a:pt x="711729" y="481542"/>
                </a:lnTo>
                <a:lnTo>
                  <a:pt x="706438" y="481542"/>
                </a:lnTo>
                <a:lnTo>
                  <a:pt x="703792" y="481542"/>
                </a:lnTo>
                <a:lnTo>
                  <a:pt x="693208" y="476250"/>
                </a:lnTo>
                <a:lnTo>
                  <a:pt x="687917" y="476250"/>
                </a:lnTo>
                <a:lnTo>
                  <a:pt x="682625" y="476250"/>
                </a:lnTo>
                <a:lnTo>
                  <a:pt x="679979" y="476250"/>
                </a:lnTo>
                <a:lnTo>
                  <a:pt x="677333" y="476250"/>
                </a:lnTo>
                <a:lnTo>
                  <a:pt x="672042" y="476250"/>
                </a:lnTo>
                <a:lnTo>
                  <a:pt x="674688" y="473605"/>
                </a:lnTo>
                <a:lnTo>
                  <a:pt x="672042" y="468313"/>
                </a:lnTo>
                <a:lnTo>
                  <a:pt x="672042" y="465667"/>
                </a:lnTo>
                <a:lnTo>
                  <a:pt x="674688" y="465667"/>
                </a:lnTo>
                <a:lnTo>
                  <a:pt x="674688" y="463021"/>
                </a:lnTo>
                <a:lnTo>
                  <a:pt x="677333" y="463021"/>
                </a:lnTo>
                <a:lnTo>
                  <a:pt x="679979" y="463021"/>
                </a:lnTo>
                <a:lnTo>
                  <a:pt x="679979" y="460375"/>
                </a:lnTo>
                <a:lnTo>
                  <a:pt x="682625" y="460375"/>
                </a:lnTo>
                <a:lnTo>
                  <a:pt x="685271" y="457730"/>
                </a:lnTo>
                <a:lnTo>
                  <a:pt x="687917" y="460375"/>
                </a:lnTo>
                <a:lnTo>
                  <a:pt x="690563" y="460375"/>
                </a:lnTo>
                <a:lnTo>
                  <a:pt x="693208" y="463021"/>
                </a:lnTo>
                <a:lnTo>
                  <a:pt x="695854" y="463021"/>
                </a:lnTo>
                <a:lnTo>
                  <a:pt x="698500" y="463021"/>
                </a:lnTo>
                <a:lnTo>
                  <a:pt x="701146" y="463021"/>
                </a:lnTo>
                <a:lnTo>
                  <a:pt x="703792" y="463021"/>
                </a:lnTo>
                <a:lnTo>
                  <a:pt x="709083" y="463021"/>
                </a:lnTo>
                <a:lnTo>
                  <a:pt x="711729" y="463021"/>
                </a:lnTo>
                <a:lnTo>
                  <a:pt x="714375" y="463021"/>
                </a:lnTo>
                <a:lnTo>
                  <a:pt x="719667" y="460375"/>
                </a:lnTo>
                <a:lnTo>
                  <a:pt x="722313" y="463021"/>
                </a:lnTo>
                <a:lnTo>
                  <a:pt x="727604" y="463021"/>
                </a:lnTo>
                <a:lnTo>
                  <a:pt x="730250" y="465667"/>
                </a:lnTo>
                <a:lnTo>
                  <a:pt x="732896" y="465667"/>
                </a:lnTo>
                <a:lnTo>
                  <a:pt x="738187" y="465667"/>
                </a:lnTo>
                <a:lnTo>
                  <a:pt x="740833" y="468313"/>
                </a:lnTo>
                <a:lnTo>
                  <a:pt x="740833" y="465667"/>
                </a:lnTo>
                <a:lnTo>
                  <a:pt x="743479" y="465667"/>
                </a:lnTo>
                <a:lnTo>
                  <a:pt x="743479" y="463021"/>
                </a:lnTo>
                <a:lnTo>
                  <a:pt x="748771" y="463021"/>
                </a:lnTo>
                <a:lnTo>
                  <a:pt x="754062" y="460375"/>
                </a:lnTo>
                <a:lnTo>
                  <a:pt x="762000" y="460375"/>
                </a:lnTo>
                <a:lnTo>
                  <a:pt x="769937" y="457730"/>
                </a:lnTo>
                <a:lnTo>
                  <a:pt x="772583" y="457730"/>
                </a:lnTo>
                <a:lnTo>
                  <a:pt x="769937" y="455084"/>
                </a:lnTo>
                <a:lnTo>
                  <a:pt x="767292" y="455084"/>
                </a:lnTo>
                <a:close/>
                <a:moveTo>
                  <a:pt x="560917" y="452438"/>
                </a:moveTo>
                <a:lnTo>
                  <a:pt x="568854" y="455084"/>
                </a:lnTo>
                <a:lnTo>
                  <a:pt x="571500" y="460375"/>
                </a:lnTo>
                <a:lnTo>
                  <a:pt x="576792" y="463021"/>
                </a:lnTo>
                <a:lnTo>
                  <a:pt x="574146" y="465667"/>
                </a:lnTo>
                <a:lnTo>
                  <a:pt x="571500" y="465667"/>
                </a:lnTo>
                <a:lnTo>
                  <a:pt x="571500" y="468313"/>
                </a:lnTo>
                <a:lnTo>
                  <a:pt x="568854" y="470959"/>
                </a:lnTo>
                <a:lnTo>
                  <a:pt x="566208" y="468313"/>
                </a:lnTo>
                <a:lnTo>
                  <a:pt x="566208" y="470959"/>
                </a:lnTo>
                <a:lnTo>
                  <a:pt x="563562" y="473605"/>
                </a:lnTo>
                <a:lnTo>
                  <a:pt x="560917" y="476250"/>
                </a:lnTo>
                <a:lnTo>
                  <a:pt x="560917" y="478896"/>
                </a:lnTo>
                <a:lnTo>
                  <a:pt x="558271" y="478896"/>
                </a:lnTo>
                <a:lnTo>
                  <a:pt x="555625" y="478896"/>
                </a:lnTo>
                <a:lnTo>
                  <a:pt x="555625" y="476250"/>
                </a:lnTo>
                <a:lnTo>
                  <a:pt x="555625" y="473605"/>
                </a:lnTo>
                <a:lnTo>
                  <a:pt x="555625" y="470959"/>
                </a:lnTo>
                <a:lnTo>
                  <a:pt x="552979" y="468313"/>
                </a:lnTo>
                <a:lnTo>
                  <a:pt x="545041" y="465667"/>
                </a:lnTo>
                <a:lnTo>
                  <a:pt x="542396" y="463021"/>
                </a:lnTo>
                <a:lnTo>
                  <a:pt x="539750" y="460375"/>
                </a:lnTo>
                <a:lnTo>
                  <a:pt x="542396" y="457729"/>
                </a:lnTo>
                <a:lnTo>
                  <a:pt x="547687" y="457729"/>
                </a:lnTo>
                <a:lnTo>
                  <a:pt x="552979" y="455084"/>
                </a:lnTo>
                <a:lnTo>
                  <a:pt x="558271" y="455084"/>
                </a:lnTo>
                <a:close/>
                <a:moveTo>
                  <a:pt x="867834" y="439209"/>
                </a:moveTo>
                <a:lnTo>
                  <a:pt x="873126" y="439209"/>
                </a:lnTo>
                <a:lnTo>
                  <a:pt x="878417" y="444500"/>
                </a:lnTo>
                <a:lnTo>
                  <a:pt x="881063" y="444500"/>
                </a:lnTo>
                <a:lnTo>
                  <a:pt x="881063" y="447146"/>
                </a:lnTo>
                <a:lnTo>
                  <a:pt x="878417" y="449792"/>
                </a:lnTo>
                <a:lnTo>
                  <a:pt x="870480" y="449792"/>
                </a:lnTo>
                <a:lnTo>
                  <a:pt x="865188" y="452438"/>
                </a:lnTo>
                <a:lnTo>
                  <a:pt x="862542" y="452438"/>
                </a:lnTo>
                <a:lnTo>
                  <a:pt x="854605" y="452438"/>
                </a:lnTo>
                <a:lnTo>
                  <a:pt x="846667" y="452438"/>
                </a:lnTo>
                <a:lnTo>
                  <a:pt x="851959" y="444500"/>
                </a:lnTo>
                <a:lnTo>
                  <a:pt x="854605" y="441855"/>
                </a:lnTo>
                <a:lnTo>
                  <a:pt x="857251" y="441855"/>
                </a:lnTo>
                <a:lnTo>
                  <a:pt x="862542" y="441855"/>
                </a:lnTo>
                <a:lnTo>
                  <a:pt x="865188" y="441855"/>
                </a:lnTo>
                <a:close/>
                <a:moveTo>
                  <a:pt x="1185333" y="436563"/>
                </a:moveTo>
                <a:lnTo>
                  <a:pt x="1190625" y="436563"/>
                </a:lnTo>
                <a:lnTo>
                  <a:pt x="1195916" y="436563"/>
                </a:lnTo>
                <a:lnTo>
                  <a:pt x="1198562" y="439209"/>
                </a:lnTo>
                <a:lnTo>
                  <a:pt x="1195916" y="444501"/>
                </a:lnTo>
                <a:lnTo>
                  <a:pt x="1193271" y="447147"/>
                </a:lnTo>
                <a:lnTo>
                  <a:pt x="1195916" y="449792"/>
                </a:lnTo>
                <a:lnTo>
                  <a:pt x="1195916" y="463022"/>
                </a:lnTo>
                <a:lnTo>
                  <a:pt x="1193271" y="468313"/>
                </a:lnTo>
                <a:lnTo>
                  <a:pt x="1190625" y="470959"/>
                </a:lnTo>
                <a:lnTo>
                  <a:pt x="1187979" y="470959"/>
                </a:lnTo>
                <a:lnTo>
                  <a:pt x="1182687" y="470959"/>
                </a:lnTo>
                <a:lnTo>
                  <a:pt x="1174750" y="473605"/>
                </a:lnTo>
                <a:lnTo>
                  <a:pt x="1172104" y="470959"/>
                </a:lnTo>
                <a:lnTo>
                  <a:pt x="1172104" y="468313"/>
                </a:lnTo>
                <a:lnTo>
                  <a:pt x="1180042" y="444501"/>
                </a:lnTo>
                <a:close/>
                <a:moveTo>
                  <a:pt x="529166" y="412750"/>
                </a:moveTo>
                <a:lnTo>
                  <a:pt x="534458" y="415396"/>
                </a:lnTo>
                <a:lnTo>
                  <a:pt x="531812" y="418042"/>
                </a:lnTo>
                <a:lnTo>
                  <a:pt x="529166" y="418042"/>
                </a:lnTo>
                <a:lnTo>
                  <a:pt x="526520" y="420687"/>
                </a:lnTo>
                <a:lnTo>
                  <a:pt x="526520" y="423333"/>
                </a:lnTo>
                <a:lnTo>
                  <a:pt x="523875" y="423333"/>
                </a:lnTo>
                <a:lnTo>
                  <a:pt x="518583" y="423333"/>
                </a:lnTo>
                <a:lnTo>
                  <a:pt x="510645" y="423333"/>
                </a:lnTo>
                <a:lnTo>
                  <a:pt x="508000" y="425979"/>
                </a:lnTo>
                <a:lnTo>
                  <a:pt x="505354" y="428625"/>
                </a:lnTo>
                <a:lnTo>
                  <a:pt x="500062" y="425979"/>
                </a:lnTo>
                <a:lnTo>
                  <a:pt x="494771" y="428625"/>
                </a:lnTo>
                <a:lnTo>
                  <a:pt x="492125" y="428625"/>
                </a:lnTo>
                <a:lnTo>
                  <a:pt x="492125" y="425979"/>
                </a:lnTo>
                <a:lnTo>
                  <a:pt x="494771" y="423333"/>
                </a:lnTo>
                <a:lnTo>
                  <a:pt x="492125" y="420687"/>
                </a:lnTo>
                <a:lnTo>
                  <a:pt x="494771" y="418042"/>
                </a:lnTo>
                <a:lnTo>
                  <a:pt x="502708" y="415396"/>
                </a:lnTo>
                <a:lnTo>
                  <a:pt x="513291" y="415396"/>
                </a:lnTo>
                <a:lnTo>
                  <a:pt x="521229" y="415396"/>
                </a:lnTo>
                <a:close/>
                <a:moveTo>
                  <a:pt x="312208" y="383646"/>
                </a:moveTo>
                <a:lnTo>
                  <a:pt x="314854" y="386292"/>
                </a:lnTo>
                <a:lnTo>
                  <a:pt x="317500" y="386292"/>
                </a:lnTo>
                <a:lnTo>
                  <a:pt x="325438" y="383646"/>
                </a:lnTo>
                <a:lnTo>
                  <a:pt x="328083" y="386292"/>
                </a:lnTo>
                <a:lnTo>
                  <a:pt x="333375" y="388938"/>
                </a:lnTo>
                <a:lnTo>
                  <a:pt x="336021" y="388938"/>
                </a:lnTo>
                <a:lnTo>
                  <a:pt x="338667" y="386292"/>
                </a:lnTo>
                <a:lnTo>
                  <a:pt x="341313" y="386292"/>
                </a:lnTo>
                <a:lnTo>
                  <a:pt x="346604" y="386292"/>
                </a:lnTo>
                <a:lnTo>
                  <a:pt x="351896" y="388938"/>
                </a:lnTo>
                <a:lnTo>
                  <a:pt x="354542" y="388938"/>
                </a:lnTo>
                <a:lnTo>
                  <a:pt x="357188" y="391583"/>
                </a:lnTo>
                <a:lnTo>
                  <a:pt x="359833" y="391583"/>
                </a:lnTo>
                <a:lnTo>
                  <a:pt x="362479" y="391583"/>
                </a:lnTo>
                <a:lnTo>
                  <a:pt x="362479" y="394229"/>
                </a:lnTo>
                <a:lnTo>
                  <a:pt x="365125" y="394229"/>
                </a:lnTo>
                <a:lnTo>
                  <a:pt x="367771" y="394229"/>
                </a:lnTo>
                <a:lnTo>
                  <a:pt x="373063" y="391583"/>
                </a:lnTo>
                <a:lnTo>
                  <a:pt x="378354" y="394229"/>
                </a:lnTo>
                <a:lnTo>
                  <a:pt x="381000" y="399521"/>
                </a:lnTo>
                <a:lnTo>
                  <a:pt x="378354" y="402167"/>
                </a:lnTo>
                <a:lnTo>
                  <a:pt x="375708" y="404813"/>
                </a:lnTo>
                <a:lnTo>
                  <a:pt x="378354" y="404813"/>
                </a:lnTo>
                <a:lnTo>
                  <a:pt x="381000" y="407458"/>
                </a:lnTo>
                <a:lnTo>
                  <a:pt x="388938" y="407458"/>
                </a:lnTo>
                <a:lnTo>
                  <a:pt x="407458" y="407458"/>
                </a:lnTo>
                <a:lnTo>
                  <a:pt x="412750" y="410104"/>
                </a:lnTo>
                <a:lnTo>
                  <a:pt x="418042" y="407458"/>
                </a:lnTo>
                <a:lnTo>
                  <a:pt x="420688" y="407458"/>
                </a:lnTo>
                <a:lnTo>
                  <a:pt x="425979" y="410104"/>
                </a:lnTo>
                <a:lnTo>
                  <a:pt x="428625" y="407458"/>
                </a:lnTo>
                <a:lnTo>
                  <a:pt x="428625" y="404813"/>
                </a:lnTo>
                <a:lnTo>
                  <a:pt x="431271" y="396875"/>
                </a:lnTo>
                <a:lnTo>
                  <a:pt x="436563" y="394229"/>
                </a:lnTo>
                <a:lnTo>
                  <a:pt x="441854" y="394229"/>
                </a:lnTo>
                <a:lnTo>
                  <a:pt x="444500" y="399521"/>
                </a:lnTo>
                <a:lnTo>
                  <a:pt x="447146" y="404813"/>
                </a:lnTo>
                <a:lnTo>
                  <a:pt x="449792" y="407458"/>
                </a:lnTo>
                <a:lnTo>
                  <a:pt x="455083" y="407458"/>
                </a:lnTo>
                <a:lnTo>
                  <a:pt x="457729" y="404813"/>
                </a:lnTo>
                <a:lnTo>
                  <a:pt x="463021" y="407458"/>
                </a:lnTo>
                <a:lnTo>
                  <a:pt x="468313" y="410104"/>
                </a:lnTo>
                <a:lnTo>
                  <a:pt x="473604" y="415396"/>
                </a:lnTo>
                <a:lnTo>
                  <a:pt x="478896" y="418042"/>
                </a:lnTo>
                <a:lnTo>
                  <a:pt x="489479" y="420688"/>
                </a:lnTo>
                <a:lnTo>
                  <a:pt x="489479" y="423333"/>
                </a:lnTo>
                <a:lnTo>
                  <a:pt x="489479" y="428625"/>
                </a:lnTo>
                <a:lnTo>
                  <a:pt x="489479" y="431271"/>
                </a:lnTo>
                <a:lnTo>
                  <a:pt x="492125" y="431271"/>
                </a:lnTo>
                <a:lnTo>
                  <a:pt x="492125" y="436563"/>
                </a:lnTo>
                <a:lnTo>
                  <a:pt x="494771" y="439208"/>
                </a:lnTo>
                <a:lnTo>
                  <a:pt x="500063" y="441854"/>
                </a:lnTo>
                <a:lnTo>
                  <a:pt x="510646" y="444500"/>
                </a:lnTo>
                <a:lnTo>
                  <a:pt x="515938" y="441854"/>
                </a:lnTo>
                <a:lnTo>
                  <a:pt x="523875" y="441854"/>
                </a:lnTo>
                <a:lnTo>
                  <a:pt x="526521" y="441854"/>
                </a:lnTo>
                <a:lnTo>
                  <a:pt x="539750" y="447146"/>
                </a:lnTo>
                <a:lnTo>
                  <a:pt x="542396" y="449792"/>
                </a:lnTo>
                <a:lnTo>
                  <a:pt x="537104" y="457729"/>
                </a:lnTo>
                <a:lnTo>
                  <a:pt x="534458" y="463021"/>
                </a:lnTo>
                <a:lnTo>
                  <a:pt x="534458" y="465667"/>
                </a:lnTo>
                <a:lnTo>
                  <a:pt x="539750" y="470959"/>
                </a:lnTo>
                <a:lnTo>
                  <a:pt x="542396" y="476250"/>
                </a:lnTo>
                <a:lnTo>
                  <a:pt x="545042" y="478896"/>
                </a:lnTo>
                <a:lnTo>
                  <a:pt x="539750" y="478896"/>
                </a:lnTo>
                <a:lnTo>
                  <a:pt x="537104" y="478896"/>
                </a:lnTo>
                <a:lnTo>
                  <a:pt x="529167" y="476250"/>
                </a:lnTo>
                <a:lnTo>
                  <a:pt x="521229" y="470959"/>
                </a:lnTo>
                <a:lnTo>
                  <a:pt x="515938" y="470959"/>
                </a:lnTo>
                <a:lnTo>
                  <a:pt x="510646" y="470959"/>
                </a:lnTo>
                <a:lnTo>
                  <a:pt x="489479" y="470959"/>
                </a:lnTo>
                <a:lnTo>
                  <a:pt x="478896" y="470959"/>
                </a:lnTo>
                <a:lnTo>
                  <a:pt x="473604" y="468313"/>
                </a:lnTo>
                <a:lnTo>
                  <a:pt x="463021" y="468313"/>
                </a:lnTo>
                <a:lnTo>
                  <a:pt x="452438" y="465667"/>
                </a:lnTo>
                <a:lnTo>
                  <a:pt x="444500" y="463021"/>
                </a:lnTo>
                <a:lnTo>
                  <a:pt x="439208" y="457729"/>
                </a:lnTo>
                <a:lnTo>
                  <a:pt x="428625" y="455083"/>
                </a:lnTo>
                <a:lnTo>
                  <a:pt x="410104" y="455083"/>
                </a:lnTo>
                <a:lnTo>
                  <a:pt x="399521" y="449792"/>
                </a:lnTo>
                <a:lnTo>
                  <a:pt x="388938" y="447146"/>
                </a:lnTo>
                <a:lnTo>
                  <a:pt x="381000" y="444500"/>
                </a:lnTo>
                <a:lnTo>
                  <a:pt x="375708" y="447146"/>
                </a:lnTo>
                <a:lnTo>
                  <a:pt x="370417" y="447146"/>
                </a:lnTo>
                <a:lnTo>
                  <a:pt x="365125" y="444500"/>
                </a:lnTo>
                <a:lnTo>
                  <a:pt x="359833" y="441854"/>
                </a:lnTo>
                <a:lnTo>
                  <a:pt x="354542" y="441854"/>
                </a:lnTo>
                <a:lnTo>
                  <a:pt x="351896" y="441854"/>
                </a:lnTo>
                <a:lnTo>
                  <a:pt x="346604" y="439208"/>
                </a:lnTo>
                <a:lnTo>
                  <a:pt x="328083" y="433917"/>
                </a:lnTo>
                <a:lnTo>
                  <a:pt x="317500" y="433917"/>
                </a:lnTo>
                <a:lnTo>
                  <a:pt x="314854" y="431271"/>
                </a:lnTo>
                <a:lnTo>
                  <a:pt x="314854" y="428625"/>
                </a:lnTo>
                <a:lnTo>
                  <a:pt x="320146" y="425979"/>
                </a:lnTo>
                <a:lnTo>
                  <a:pt x="328083" y="420688"/>
                </a:lnTo>
                <a:lnTo>
                  <a:pt x="330729" y="420688"/>
                </a:lnTo>
                <a:lnTo>
                  <a:pt x="330729" y="418042"/>
                </a:lnTo>
                <a:lnTo>
                  <a:pt x="325438" y="418042"/>
                </a:lnTo>
                <a:lnTo>
                  <a:pt x="322792" y="418042"/>
                </a:lnTo>
                <a:lnTo>
                  <a:pt x="320146" y="418042"/>
                </a:lnTo>
                <a:lnTo>
                  <a:pt x="317500" y="418042"/>
                </a:lnTo>
                <a:lnTo>
                  <a:pt x="312208" y="415396"/>
                </a:lnTo>
                <a:lnTo>
                  <a:pt x="306917" y="415396"/>
                </a:lnTo>
                <a:lnTo>
                  <a:pt x="296333" y="412750"/>
                </a:lnTo>
                <a:lnTo>
                  <a:pt x="291042" y="412750"/>
                </a:lnTo>
                <a:lnTo>
                  <a:pt x="293688" y="407458"/>
                </a:lnTo>
                <a:lnTo>
                  <a:pt x="296333" y="407458"/>
                </a:lnTo>
                <a:lnTo>
                  <a:pt x="301625" y="410104"/>
                </a:lnTo>
                <a:lnTo>
                  <a:pt x="304271" y="407458"/>
                </a:lnTo>
                <a:lnTo>
                  <a:pt x="304271" y="402167"/>
                </a:lnTo>
                <a:lnTo>
                  <a:pt x="306917" y="402167"/>
                </a:lnTo>
                <a:lnTo>
                  <a:pt x="306917" y="396875"/>
                </a:lnTo>
                <a:lnTo>
                  <a:pt x="304271" y="391583"/>
                </a:lnTo>
                <a:lnTo>
                  <a:pt x="306917" y="386292"/>
                </a:lnTo>
                <a:close/>
                <a:moveTo>
                  <a:pt x="756708" y="362480"/>
                </a:moveTo>
                <a:lnTo>
                  <a:pt x="759353" y="362480"/>
                </a:lnTo>
                <a:lnTo>
                  <a:pt x="764645" y="365126"/>
                </a:lnTo>
                <a:lnTo>
                  <a:pt x="767291" y="367772"/>
                </a:lnTo>
                <a:lnTo>
                  <a:pt x="767291" y="373063"/>
                </a:lnTo>
                <a:lnTo>
                  <a:pt x="767291" y="375709"/>
                </a:lnTo>
                <a:lnTo>
                  <a:pt x="764645" y="378355"/>
                </a:lnTo>
                <a:lnTo>
                  <a:pt x="759353" y="375709"/>
                </a:lnTo>
                <a:lnTo>
                  <a:pt x="756708" y="370417"/>
                </a:lnTo>
                <a:lnTo>
                  <a:pt x="754062" y="365126"/>
                </a:lnTo>
                <a:close/>
                <a:moveTo>
                  <a:pt x="777875" y="341313"/>
                </a:moveTo>
                <a:lnTo>
                  <a:pt x="777875" y="346605"/>
                </a:lnTo>
                <a:lnTo>
                  <a:pt x="777875" y="349250"/>
                </a:lnTo>
                <a:lnTo>
                  <a:pt x="777875" y="351896"/>
                </a:lnTo>
                <a:lnTo>
                  <a:pt x="780521" y="354542"/>
                </a:lnTo>
                <a:lnTo>
                  <a:pt x="780521" y="357188"/>
                </a:lnTo>
                <a:lnTo>
                  <a:pt x="780521" y="359834"/>
                </a:lnTo>
                <a:lnTo>
                  <a:pt x="775229" y="362480"/>
                </a:lnTo>
                <a:lnTo>
                  <a:pt x="769938" y="362480"/>
                </a:lnTo>
                <a:lnTo>
                  <a:pt x="767292" y="359834"/>
                </a:lnTo>
                <a:lnTo>
                  <a:pt x="767292" y="357188"/>
                </a:lnTo>
                <a:lnTo>
                  <a:pt x="767292" y="354542"/>
                </a:lnTo>
                <a:lnTo>
                  <a:pt x="769938" y="351896"/>
                </a:lnTo>
                <a:lnTo>
                  <a:pt x="767292" y="349250"/>
                </a:lnTo>
                <a:lnTo>
                  <a:pt x="767292" y="346605"/>
                </a:lnTo>
                <a:lnTo>
                  <a:pt x="769938" y="343959"/>
                </a:lnTo>
                <a:close/>
                <a:moveTo>
                  <a:pt x="785813" y="330730"/>
                </a:moveTo>
                <a:lnTo>
                  <a:pt x="791105" y="336022"/>
                </a:lnTo>
                <a:lnTo>
                  <a:pt x="793751" y="336022"/>
                </a:lnTo>
                <a:lnTo>
                  <a:pt x="796397" y="338667"/>
                </a:lnTo>
                <a:lnTo>
                  <a:pt x="793751" y="338667"/>
                </a:lnTo>
                <a:lnTo>
                  <a:pt x="791105" y="341313"/>
                </a:lnTo>
                <a:lnTo>
                  <a:pt x="793751" y="346605"/>
                </a:lnTo>
                <a:lnTo>
                  <a:pt x="796397" y="351897"/>
                </a:lnTo>
                <a:lnTo>
                  <a:pt x="799042" y="349251"/>
                </a:lnTo>
                <a:lnTo>
                  <a:pt x="801688" y="349251"/>
                </a:lnTo>
                <a:lnTo>
                  <a:pt x="804334" y="351897"/>
                </a:lnTo>
                <a:lnTo>
                  <a:pt x="801688" y="354542"/>
                </a:lnTo>
                <a:lnTo>
                  <a:pt x="799042" y="354542"/>
                </a:lnTo>
                <a:lnTo>
                  <a:pt x="796397" y="357188"/>
                </a:lnTo>
                <a:lnTo>
                  <a:pt x="793751" y="359834"/>
                </a:lnTo>
                <a:lnTo>
                  <a:pt x="793751" y="365126"/>
                </a:lnTo>
                <a:lnTo>
                  <a:pt x="791105" y="365126"/>
                </a:lnTo>
                <a:lnTo>
                  <a:pt x="785813" y="365126"/>
                </a:lnTo>
                <a:lnTo>
                  <a:pt x="783167" y="362480"/>
                </a:lnTo>
                <a:lnTo>
                  <a:pt x="783167" y="354542"/>
                </a:lnTo>
                <a:lnTo>
                  <a:pt x="783167" y="343959"/>
                </a:lnTo>
                <a:lnTo>
                  <a:pt x="780521" y="336022"/>
                </a:lnTo>
                <a:lnTo>
                  <a:pt x="783167" y="333376"/>
                </a:lnTo>
                <a:close/>
                <a:moveTo>
                  <a:pt x="865188" y="296334"/>
                </a:moveTo>
                <a:lnTo>
                  <a:pt x="870480" y="296334"/>
                </a:lnTo>
                <a:lnTo>
                  <a:pt x="878417" y="296334"/>
                </a:lnTo>
                <a:lnTo>
                  <a:pt x="889001" y="298980"/>
                </a:lnTo>
                <a:lnTo>
                  <a:pt x="894292" y="304271"/>
                </a:lnTo>
                <a:lnTo>
                  <a:pt x="894292" y="306917"/>
                </a:lnTo>
                <a:lnTo>
                  <a:pt x="894292" y="309563"/>
                </a:lnTo>
                <a:lnTo>
                  <a:pt x="891647" y="314854"/>
                </a:lnTo>
                <a:lnTo>
                  <a:pt x="894292" y="314854"/>
                </a:lnTo>
                <a:lnTo>
                  <a:pt x="896938" y="317500"/>
                </a:lnTo>
                <a:lnTo>
                  <a:pt x="896938" y="320146"/>
                </a:lnTo>
                <a:lnTo>
                  <a:pt x="883709" y="322792"/>
                </a:lnTo>
                <a:lnTo>
                  <a:pt x="873126" y="320146"/>
                </a:lnTo>
                <a:lnTo>
                  <a:pt x="867834" y="317500"/>
                </a:lnTo>
                <a:lnTo>
                  <a:pt x="859896" y="306917"/>
                </a:lnTo>
                <a:lnTo>
                  <a:pt x="859896" y="304271"/>
                </a:lnTo>
                <a:lnTo>
                  <a:pt x="859896" y="298980"/>
                </a:lnTo>
                <a:lnTo>
                  <a:pt x="862542" y="298980"/>
                </a:lnTo>
                <a:close/>
                <a:moveTo>
                  <a:pt x="933979" y="285750"/>
                </a:moveTo>
                <a:lnTo>
                  <a:pt x="941917" y="285750"/>
                </a:lnTo>
                <a:lnTo>
                  <a:pt x="949854" y="285750"/>
                </a:lnTo>
                <a:lnTo>
                  <a:pt x="955146" y="288396"/>
                </a:lnTo>
                <a:lnTo>
                  <a:pt x="957792" y="285750"/>
                </a:lnTo>
                <a:lnTo>
                  <a:pt x="960438" y="285750"/>
                </a:lnTo>
                <a:lnTo>
                  <a:pt x="960438" y="288396"/>
                </a:lnTo>
                <a:lnTo>
                  <a:pt x="963084" y="291042"/>
                </a:lnTo>
                <a:lnTo>
                  <a:pt x="968375" y="288396"/>
                </a:lnTo>
                <a:lnTo>
                  <a:pt x="973667" y="288396"/>
                </a:lnTo>
                <a:lnTo>
                  <a:pt x="984250" y="288396"/>
                </a:lnTo>
                <a:lnTo>
                  <a:pt x="989542" y="288396"/>
                </a:lnTo>
                <a:lnTo>
                  <a:pt x="992188" y="288396"/>
                </a:lnTo>
                <a:lnTo>
                  <a:pt x="994834" y="288396"/>
                </a:lnTo>
                <a:lnTo>
                  <a:pt x="994834" y="291042"/>
                </a:lnTo>
                <a:lnTo>
                  <a:pt x="997480" y="296333"/>
                </a:lnTo>
                <a:lnTo>
                  <a:pt x="1000125" y="296333"/>
                </a:lnTo>
                <a:lnTo>
                  <a:pt x="1000125" y="298979"/>
                </a:lnTo>
                <a:lnTo>
                  <a:pt x="1000125" y="304271"/>
                </a:lnTo>
                <a:lnTo>
                  <a:pt x="1000125" y="306917"/>
                </a:lnTo>
                <a:lnTo>
                  <a:pt x="1002771" y="309563"/>
                </a:lnTo>
                <a:lnTo>
                  <a:pt x="1002771" y="317500"/>
                </a:lnTo>
                <a:lnTo>
                  <a:pt x="1000125" y="320146"/>
                </a:lnTo>
                <a:lnTo>
                  <a:pt x="997480" y="322792"/>
                </a:lnTo>
                <a:lnTo>
                  <a:pt x="989542" y="317500"/>
                </a:lnTo>
                <a:lnTo>
                  <a:pt x="984250" y="314854"/>
                </a:lnTo>
                <a:lnTo>
                  <a:pt x="978959" y="312208"/>
                </a:lnTo>
                <a:lnTo>
                  <a:pt x="976313" y="304271"/>
                </a:lnTo>
                <a:lnTo>
                  <a:pt x="968375" y="304271"/>
                </a:lnTo>
                <a:lnTo>
                  <a:pt x="965729" y="304271"/>
                </a:lnTo>
                <a:lnTo>
                  <a:pt x="965729" y="306917"/>
                </a:lnTo>
                <a:lnTo>
                  <a:pt x="960438" y="306917"/>
                </a:lnTo>
                <a:lnTo>
                  <a:pt x="952500" y="306917"/>
                </a:lnTo>
                <a:lnTo>
                  <a:pt x="949854" y="309563"/>
                </a:lnTo>
                <a:lnTo>
                  <a:pt x="944563" y="309563"/>
                </a:lnTo>
                <a:lnTo>
                  <a:pt x="941917" y="306917"/>
                </a:lnTo>
                <a:lnTo>
                  <a:pt x="939271" y="304271"/>
                </a:lnTo>
                <a:lnTo>
                  <a:pt x="936625" y="306917"/>
                </a:lnTo>
                <a:lnTo>
                  <a:pt x="933979" y="309563"/>
                </a:lnTo>
                <a:lnTo>
                  <a:pt x="931333" y="312208"/>
                </a:lnTo>
                <a:lnTo>
                  <a:pt x="926042" y="309563"/>
                </a:lnTo>
                <a:lnTo>
                  <a:pt x="926042" y="306917"/>
                </a:lnTo>
                <a:lnTo>
                  <a:pt x="923396" y="306917"/>
                </a:lnTo>
                <a:lnTo>
                  <a:pt x="918104" y="309563"/>
                </a:lnTo>
                <a:lnTo>
                  <a:pt x="915458" y="314854"/>
                </a:lnTo>
                <a:lnTo>
                  <a:pt x="915458" y="306917"/>
                </a:lnTo>
                <a:lnTo>
                  <a:pt x="918104" y="304271"/>
                </a:lnTo>
                <a:lnTo>
                  <a:pt x="923396" y="301625"/>
                </a:lnTo>
                <a:lnTo>
                  <a:pt x="923396" y="293687"/>
                </a:lnTo>
                <a:lnTo>
                  <a:pt x="923396" y="291042"/>
                </a:lnTo>
                <a:lnTo>
                  <a:pt x="926042" y="288396"/>
                </a:lnTo>
                <a:close/>
                <a:moveTo>
                  <a:pt x="973667" y="251355"/>
                </a:moveTo>
                <a:lnTo>
                  <a:pt x="981604" y="251355"/>
                </a:lnTo>
                <a:lnTo>
                  <a:pt x="981604" y="254001"/>
                </a:lnTo>
                <a:lnTo>
                  <a:pt x="981604" y="259292"/>
                </a:lnTo>
                <a:lnTo>
                  <a:pt x="976313" y="261938"/>
                </a:lnTo>
                <a:lnTo>
                  <a:pt x="968375" y="261938"/>
                </a:lnTo>
                <a:lnTo>
                  <a:pt x="963083" y="256646"/>
                </a:lnTo>
                <a:lnTo>
                  <a:pt x="963083" y="254001"/>
                </a:lnTo>
                <a:lnTo>
                  <a:pt x="965729" y="254001"/>
                </a:lnTo>
                <a:close/>
                <a:moveTo>
                  <a:pt x="1037167" y="198438"/>
                </a:moveTo>
                <a:lnTo>
                  <a:pt x="1047751" y="201084"/>
                </a:lnTo>
                <a:lnTo>
                  <a:pt x="1058334" y="206375"/>
                </a:lnTo>
                <a:lnTo>
                  <a:pt x="1060980" y="209021"/>
                </a:lnTo>
                <a:lnTo>
                  <a:pt x="1063625" y="211667"/>
                </a:lnTo>
                <a:lnTo>
                  <a:pt x="1066271" y="214313"/>
                </a:lnTo>
                <a:lnTo>
                  <a:pt x="1074209" y="214313"/>
                </a:lnTo>
                <a:lnTo>
                  <a:pt x="1076855" y="214313"/>
                </a:lnTo>
                <a:lnTo>
                  <a:pt x="1079500" y="211667"/>
                </a:lnTo>
                <a:lnTo>
                  <a:pt x="1087438" y="216959"/>
                </a:lnTo>
                <a:lnTo>
                  <a:pt x="1084792" y="216959"/>
                </a:lnTo>
                <a:lnTo>
                  <a:pt x="1084792" y="219605"/>
                </a:lnTo>
                <a:lnTo>
                  <a:pt x="1087438" y="224896"/>
                </a:lnTo>
                <a:lnTo>
                  <a:pt x="1090084" y="230188"/>
                </a:lnTo>
                <a:lnTo>
                  <a:pt x="1090084" y="232834"/>
                </a:lnTo>
                <a:lnTo>
                  <a:pt x="1087438" y="238125"/>
                </a:lnTo>
                <a:lnTo>
                  <a:pt x="1084792" y="246063"/>
                </a:lnTo>
                <a:lnTo>
                  <a:pt x="1084792" y="254000"/>
                </a:lnTo>
                <a:lnTo>
                  <a:pt x="1090084" y="275167"/>
                </a:lnTo>
                <a:lnTo>
                  <a:pt x="1095375" y="272521"/>
                </a:lnTo>
                <a:lnTo>
                  <a:pt x="1095375" y="277813"/>
                </a:lnTo>
                <a:lnTo>
                  <a:pt x="1095375" y="283105"/>
                </a:lnTo>
                <a:lnTo>
                  <a:pt x="1098021" y="283105"/>
                </a:lnTo>
                <a:lnTo>
                  <a:pt x="1098021" y="280459"/>
                </a:lnTo>
                <a:lnTo>
                  <a:pt x="1100667" y="283105"/>
                </a:lnTo>
                <a:lnTo>
                  <a:pt x="1100667" y="285751"/>
                </a:lnTo>
                <a:lnTo>
                  <a:pt x="1103313" y="293688"/>
                </a:lnTo>
                <a:lnTo>
                  <a:pt x="1108605" y="293688"/>
                </a:lnTo>
                <a:lnTo>
                  <a:pt x="1113896" y="296334"/>
                </a:lnTo>
                <a:lnTo>
                  <a:pt x="1121834" y="293688"/>
                </a:lnTo>
                <a:lnTo>
                  <a:pt x="1121834" y="291042"/>
                </a:lnTo>
                <a:lnTo>
                  <a:pt x="1121834" y="288396"/>
                </a:lnTo>
                <a:lnTo>
                  <a:pt x="1124480" y="283105"/>
                </a:lnTo>
                <a:lnTo>
                  <a:pt x="1129771" y="280459"/>
                </a:lnTo>
                <a:lnTo>
                  <a:pt x="1129771" y="277813"/>
                </a:lnTo>
                <a:lnTo>
                  <a:pt x="1132417" y="272521"/>
                </a:lnTo>
                <a:lnTo>
                  <a:pt x="1135063" y="269875"/>
                </a:lnTo>
                <a:lnTo>
                  <a:pt x="1137709" y="267230"/>
                </a:lnTo>
                <a:lnTo>
                  <a:pt x="1137709" y="264584"/>
                </a:lnTo>
                <a:lnTo>
                  <a:pt x="1137709" y="261938"/>
                </a:lnTo>
                <a:lnTo>
                  <a:pt x="1140355" y="256646"/>
                </a:lnTo>
                <a:lnTo>
                  <a:pt x="1145646" y="254000"/>
                </a:lnTo>
                <a:lnTo>
                  <a:pt x="1148292" y="254000"/>
                </a:lnTo>
                <a:lnTo>
                  <a:pt x="1150938" y="254000"/>
                </a:lnTo>
                <a:lnTo>
                  <a:pt x="1150938" y="256646"/>
                </a:lnTo>
                <a:lnTo>
                  <a:pt x="1153584" y="254000"/>
                </a:lnTo>
                <a:lnTo>
                  <a:pt x="1156230" y="251355"/>
                </a:lnTo>
                <a:lnTo>
                  <a:pt x="1156230" y="246063"/>
                </a:lnTo>
                <a:lnTo>
                  <a:pt x="1158875" y="243417"/>
                </a:lnTo>
                <a:lnTo>
                  <a:pt x="1172105" y="232834"/>
                </a:lnTo>
                <a:lnTo>
                  <a:pt x="1182688" y="230188"/>
                </a:lnTo>
                <a:lnTo>
                  <a:pt x="1190625" y="232834"/>
                </a:lnTo>
                <a:lnTo>
                  <a:pt x="1219729" y="248709"/>
                </a:lnTo>
                <a:lnTo>
                  <a:pt x="1235604" y="254000"/>
                </a:lnTo>
                <a:lnTo>
                  <a:pt x="1251479" y="261938"/>
                </a:lnTo>
                <a:lnTo>
                  <a:pt x="1259417" y="264584"/>
                </a:lnTo>
                <a:lnTo>
                  <a:pt x="1262063" y="264584"/>
                </a:lnTo>
                <a:lnTo>
                  <a:pt x="1264709" y="264584"/>
                </a:lnTo>
                <a:lnTo>
                  <a:pt x="1272646" y="267230"/>
                </a:lnTo>
                <a:lnTo>
                  <a:pt x="1277938" y="269875"/>
                </a:lnTo>
                <a:lnTo>
                  <a:pt x="1280584" y="272521"/>
                </a:lnTo>
                <a:lnTo>
                  <a:pt x="1285875" y="275167"/>
                </a:lnTo>
                <a:lnTo>
                  <a:pt x="1280584" y="343959"/>
                </a:lnTo>
                <a:lnTo>
                  <a:pt x="1275292" y="404813"/>
                </a:lnTo>
                <a:lnTo>
                  <a:pt x="1264709" y="492126"/>
                </a:lnTo>
                <a:lnTo>
                  <a:pt x="1262063" y="492126"/>
                </a:lnTo>
                <a:lnTo>
                  <a:pt x="1259417" y="489480"/>
                </a:lnTo>
                <a:lnTo>
                  <a:pt x="1254125" y="481543"/>
                </a:lnTo>
                <a:lnTo>
                  <a:pt x="1248834" y="473605"/>
                </a:lnTo>
                <a:lnTo>
                  <a:pt x="1246188" y="470959"/>
                </a:lnTo>
                <a:lnTo>
                  <a:pt x="1243542" y="468314"/>
                </a:lnTo>
                <a:lnTo>
                  <a:pt x="1238250" y="465668"/>
                </a:lnTo>
                <a:lnTo>
                  <a:pt x="1238250" y="463022"/>
                </a:lnTo>
                <a:lnTo>
                  <a:pt x="1240896" y="460376"/>
                </a:lnTo>
                <a:lnTo>
                  <a:pt x="1240896" y="455084"/>
                </a:lnTo>
                <a:lnTo>
                  <a:pt x="1235604" y="460376"/>
                </a:lnTo>
                <a:lnTo>
                  <a:pt x="1232959" y="463022"/>
                </a:lnTo>
                <a:lnTo>
                  <a:pt x="1227667" y="463022"/>
                </a:lnTo>
                <a:lnTo>
                  <a:pt x="1219729" y="463022"/>
                </a:lnTo>
                <a:lnTo>
                  <a:pt x="1217084" y="463022"/>
                </a:lnTo>
                <a:lnTo>
                  <a:pt x="1214438" y="460376"/>
                </a:lnTo>
                <a:lnTo>
                  <a:pt x="1209146" y="463022"/>
                </a:lnTo>
                <a:lnTo>
                  <a:pt x="1203854" y="463022"/>
                </a:lnTo>
                <a:lnTo>
                  <a:pt x="1201209" y="460376"/>
                </a:lnTo>
                <a:lnTo>
                  <a:pt x="1201209" y="455084"/>
                </a:lnTo>
                <a:lnTo>
                  <a:pt x="1198563" y="449792"/>
                </a:lnTo>
                <a:lnTo>
                  <a:pt x="1195917" y="447147"/>
                </a:lnTo>
                <a:lnTo>
                  <a:pt x="1198563" y="444501"/>
                </a:lnTo>
                <a:lnTo>
                  <a:pt x="1201209" y="439209"/>
                </a:lnTo>
                <a:lnTo>
                  <a:pt x="1193271" y="433917"/>
                </a:lnTo>
                <a:lnTo>
                  <a:pt x="1190625" y="431272"/>
                </a:lnTo>
                <a:lnTo>
                  <a:pt x="1195917" y="428626"/>
                </a:lnTo>
                <a:lnTo>
                  <a:pt x="1206500" y="428626"/>
                </a:lnTo>
                <a:lnTo>
                  <a:pt x="1195917" y="423334"/>
                </a:lnTo>
                <a:lnTo>
                  <a:pt x="1187980" y="418042"/>
                </a:lnTo>
                <a:lnTo>
                  <a:pt x="1187980" y="412751"/>
                </a:lnTo>
                <a:lnTo>
                  <a:pt x="1190625" y="412751"/>
                </a:lnTo>
                <a:lnTo>
                  <a:pt x="1193271" y="410105"/>
                </a:lnTo>
                <a:lnTo>
                  <a:pt x="1195917" y="407459"/>
                </a:lnTo>
                <a:lnTo>
                  <a:pt x="1201209" y="407459"/>
                </a:lnTo>
                <a:lnTo>
                  <a:pt x="1211792" y="410105"/>
                </a:lnTo>
                <a:lnTo>
                  <a:pt x="1203854" y="404813"/>
                </a:lnTo>
                <a:lnTo>
                  <a:pt x="1193271" y="402167"/>
                </a:lnTo>
                <a:lnTo>
                  <a:pt x="1187980" y="396876"/>
                </a:lnTo>
                <a:lnTo>
                  <a:pt x="1185334" y="394230"/>
                </a:lnTo>
                <a:lnTo>
                  <a:pt x="1187980" y="394230"/>
                </a:lnTo>
                <a:lnTo>
                  <a:pt x="1190625" y="391584"/>
                </a:lnTo>
                <a:lnTo>
                  <a:pt x="1193271" y="391584"/>
                </a:lnTo>
                <a:lnTo>
                  <a:pt x="1193271" y="388938"/>
                </a:lnTo>
                <a:lnTo>
                  <a:pt x="1187980" y="383647"/>
                </a:lnTo>
                <a:lnTo>
                  <a:pt x="1182688" y="378355"/>
                </a:lnTo>
                <a:lnTo>
                  <a:pt x="1182688" y="375709"/>
                </a:lnTo>
                <a:lnTo>
                  <a:pt x="1193271" y="373063"/>
                </a:lnTo>
                <a:lnTo>
                  <a:pt x="1185334" y="373063"/>
                </a:lnTo>
                <a:lnTo>
                  <a:pt x="1182688" y="373063"/>
                </a:lnTo>
                <a:lnTo>
                  <a:pt x="1193271" y="367771"/>
                </a:lnTo>
                <a:lnTo>
                  <a:pt x="1182688" y="367771"/>
                </a:lnTo>
                <a:lnTo>
                  <a:pt x="1177396" y="365126"/>
                </a:lnTo>
                <a:lnTo>
                  <a:pt x="1180042" y="362480"/>
                </a:lnTo>
                <a:lnTo>
                  <a:pt x="1182688" y="357188"/>
                </a:lnTo>
                <a:lnTo>
                  <a:pt x="1177396" y="359834"/>
                </a:lnTo>
                <a:lnTo>
                  <a:pt x="1174750" y="357188"/>
                </a:lnTo>
                <a:lnTo>
                  <a:pt x="1172105" y="351896"/>
                </a:lnTo>
                <a:lnTo>
                  <a:pt x="1169459" y="349251"/>
                </a:lnTo>
                <a:lnTo>
                  <a:pt x="1164167" y="349251"/>
                </a:lnTo>
                <a:lnTo>
                  <a:pt x="1156230" y="349251"/>
                </a:lnTo>
                <a:lnTo>
                  <a:pt x="1145646" y="343959"/>
                </a:lnTo>
                <a:lnTo>
                  <a:pt x="1135063" y="338667"/>
                </a:lnTo>
                <a:lnTo>
                  <a:pt x="1124480" y="338667"/>
                </a:lnTo>
                <a:lnTo>
                  <a:pt x="1119188" y="341313"/>
                </a:lnTo>
                <a:lnTo>
                  <a:pt x="1116542" y="338667"/>
                </a:lnTo>
                <a:lnTo>
                  <a:pt x="1116542" y="336021"/>
                </a:lnTo>
                <a:lnTo>
                  <a:pt x="1111250" y="336021"/>
                </a:lnTo>
                <a:lnTo>
                  <a:pt x="1108605" y="333376"/>
                </a:lnTo>
                <a:lnTo>
                  <a:pt x="1108605" y="330730"/>
                </a:lnTo>
                <a:lnTo>
                  <a:pt x="1105959" y="330730"/>
                </a:lnTo>
                <a:lnTo>
                  <a:pt x="1100667" y="328084"/>
                </a:lnTo>
                <a:lnTo>
                  <a:pt x="1098021" y="325438"/>
                </a:lnTo>
                <a:lnTo>
                  <a:pt x="1095375" y="320146"/>
                </a:lnTo>
                <a:lnTo>
                  <a:pt x="1090084" y="317501"/>
                </a:lnTo>
                <a:lnTo>
                  <a:pt x="1082146" y="314855"/>
                </a:lnTo>
                <a:lnTo>
                  <a:pt x="1082146" y="312209"/>
                </a:lnTo>
                <a:lnTo>
                  <a:pt x="1084792" y="312209"/>
                </a:lnTo>
                <a:lnTo>
                  <a:pt x="1090084" y="309563"/>
                </a:lnTo>
                <a:lnTo>
                  <a:pt x="1084792" y="309563"/>
                </a:lnTo>
                <a:lnTo>
                  <a:pt x="1082146" y="312209"/>
                </a:lnTo>
                <a:lnTo>
                  <a:pt x="1079500" y="312209"/>
                </a:lnTo>
                <a:lnTo>
                  <a:pt x="1076855" y="312209"/>
                </a:lnTo>
                <a:lnTo>
                  <a:pt x="1074209" y="309563"/>
                </a:lnTo>
                <a:lnTo>
                  <a:pt x="1074209" y="306917"/>
                </a:lnTo>
                <a:lnTo>
                  <a:pt x="1074209" y="304271"/>
                </a:lnTo>
                <a:lnTo>
                  <a:pt x="1074209" y="301626"/>
                </a:lnTo>
                <a:lnTo>
                  <a:pt x="1074209" y="298980"/>
                </a:lnTo>
                <a:lnTo>
                  <a:pt x="1074209" y="296334"/>
                </a:lnTo>
                <a:lnTo>
                  <a:pt x="1076855" y="296334"/>
                </a:lnTo>
                <a:lnTo>
                  <a:pt x="1076855" y="293688"/>
                </a:lnTo>
                <a:lnTo>
                  <a:pt x="1071563" y="296334"/>
                </a:lnTo>
                <a:lnTo>
                  <a:pt x="1071563" y="301626"/>
                </a:lnTo>
                <a:lnTo>
                  <a:pt x="1068917" y="301626"/>
                </a:lnTo>
                <a:lnTo>
                  <a:pt x="1068917" y="304271"/>
                </a:lnTo>
                <a:lnTo>
                  <a:pt x="1071563" y="306917"/>
                </a:lnTo>
                <a:lnTo>
                  <a:pt x="1071563" y="309563"/>
                </a:lnTo>
                <a:lnTo>
                  <a:pt x="1066271" y="312209"/>
                </a:lnTo>
                <a:lnTo>
                  <a:pt x="1063625" y="314855"/>
                </a:lnTo>
                <a:lnTo>
                  <a:pt x="1063625" y="320146"/>
                </a:lnTo>
                <a:lnTo>
                  <a:pt x="1063625" y="322792"/>
                </a:lnTo>
                <a:lnTo>
                  <a:pt x="1055688" y="325438"/>
                </a:lnTo>
                <a:lnTo>
                  <a:pt x="1050396" y="325438"/>
                </a:lnTo>
                <a:lnTo>
                  <a:pt x="1047751" y="322792"/>
                </a:lnTo>
                <a:lnTo>
                  <a:pt x="1047751" y="314855"/>
                </a:lnTo>
                <a:lnTo>
                  <a:pt x="1042459" y="309563"/>
                </a:lnTo>
                <a:lnTo>
                  <a:pt x="1042459" y="306917"/>
                </a:lnTo>
                <a:lnTo>
                  <a:pt x="1047751" y="304271"/>
                </a:lnTo>
                <a:lnTo>
                  <a:pt x="1050396" y="304271"/>
                </a:lnTo>
                <a:lnTo>
                  <a:pt x="1050396" y="301626"/>
                </a:lnTo>
                <a:lnTo>
                  <a:pt x="1047751" y="301626"/>
                </a:lnTo>
                <a:lnTo>
                  <a:pt x="1047751" y="296334"/>
                </a:lnTo>
                <a:lnTo>
                  <a:pt x="1047751" y="293688"/>
                </a:lnTo>
                <a:lnTo>
                  <a:pt x="1045105" y="293688"/>
                </a:lnTo>
                <a:lnTo>
                  <a:pt x="1042459" y="293688"/>
                </a:lnTo>
                <a:lnTo>
                  <a:pt x="1039813" y="288396"/>
                </a:lnTo>
                <a:lnTo>
                  <a:pt x="1034521" y="285751"/>
                </a:lnTo>
                <a:lnTo>
                  <a:pt x="1031876" y="283105"/>
                </a:lnTo>
                <a:lnTo>
                  <a:pt x="1029230" y="280459"/>
                </a:lnTo>
                <a:lnTo>
                  <a:pt x="1023938" y="277813"/>
                </a:lnTo>
                <a:lnTo>
                  <a:pt x="1021292" y="277813"/>
                </a:lnTo>
                <a:lnTo>
                  <a:pt x="1018646" y="277813"/>
                </a:lnTo>
                <a:lnTo>
                  <a:pt x="1016001" y="275167"/>
                </a:lnTo>
                <a:lnTo>
                  <a:pt x="1018646" y="272521"/>
                </a:lnTo>
                <a:lnTo>
                  <a:pt x="1026584" y="267230"/>
                </a:lnTo>
                <a:lnTo>
                  <a:pt x="1037167" y="267230"/>
                </a:lnTo>
                <a:lnTo>
                  <a:pt x="1045105" y="267230"/>
                </a:lnTo>
                <a:lnTo>
                  <a:pt x="1047751" y="269875"/>
                </a:lnTo>
                <a:lnTo>
                  <a:pt x="1047751" y="267230"/>
                </a:lnTo>
                <a:lnTo>
                  <a:pt x="1050396" y="264584"/>
                </a:lnTo>
                <a:lnTo>
                  <a:pt x="1053042" y="261938"/>
                </a:lnTo>
                <a:lnTo>
                  <a:pt x="1060980" y="261938"/>
                </a:lnTo>
                <a:lnTo>
                  <a:pt x="1060980" y="267230"/>
                </a:lnTo>
                <a:lnTo>
                  <a:pt x="1066271" y="264584"/>
                </a:lnTo>
                <a:lnTo>
                  <a:pt x="1074209" y="264584"/>
                </a:lnTo>
                <a:lnTo>
                  <a:pt x="1076855" y="264584"/>
                </a:lnTo>
                <a:lnTo>
                  <a:pt x="1076855" y="261938"/>
                </a:lnTo>
                <a:lnTo>
                  <a:pt x="1074209" y="259292"/>
                </a:lnTo>
                <a:lnTo>
                  <a:pt x="1074209" y="254000"/>
                </a:lnTo>
                <a:lnTo>
                  <a:pt x="1074209" y="251355"/>
                </a:lnTo>
                <a:lnTo>
                  <a:pt x="1071563" y="254000"/>
                </a:lnTo>
                <a:lnTo>
                  <a:pt x="1068917" y="256646"/>
                </a:lnTo>
                <a:lnTo>
                  <a:pt x="1060980" y="256646"/>
                </a:lnTo>
                <a:lnTo>
                  <a:pt x="1055688" y="254000"/>
                </a:lnTo>
                <a:lnTo>
                  <a:pt x="1050396" y="256646"/>
                </a:lnTo>
                <a:lnTo>
                  <a:pt x="1047751" y="256646"/>
                </a:lnTo>
                <a:lnTo>
                  <a:pt x="1045105" y="256646"/>
                </a:lnTo>
                <a:lnTo>
                  <a:pt x="1039813" y="256646"/>
                </a:lnTo>
                <a:lnTo>
                  <a:pt x="1037167" y="256646"/>
                </a:lnTo>
                <a:lnTo>
                  <a:pt x="1034521" y="259292"/>
                </a:lnTo>
                <a:lnTo>
                  <a:pt x="1029230" y="256646"/>
                </a:lnTo>
                <a:lnTo>
                  <a:pt x="1023938" y="254000"/>
                </a:lnTo>
                <a:lnTo>
                  <a:pt x="1023938" y="251355"/>
                </a:lnTo>
                <a:lnTo>
                  <a:pt x="1026584" y="251355"/>
                </a:lnTo>
                <a:lnTo>
                  <a:pt x="1026584" y="248709"/>
                </a:lnTo>
                <a:lnTo>
                  <a:pt x="1023938" y="243417"/>
                </a:lnTo>
                <a:lnTo>
                  <a:pt x="1026584" y="243417"/>
                </a:lnTo>
                <a:lnTo>
                  <a:pt x="1029230" y="240771"/>
                </a:lnTo>
                <a:lnTo>
                  <a:pt x="1026584" y="240771"/>
                </a:lnTo>
                <a:lnTo>
                  <a:pt x="1023938" y="238125"/>
                </a:lnTo>
                <a:lnTo>
                  <a:pt x="1021292" y="235480"/>
                </a:lnTo>
                <a:lnTo>
                  <a:pt x="1016001" y="238125"/>
                </a:lnTo>
                <a:lnTo>
                  <a:pt x="1013355" y="238125"/>
                </a:lnTo>
                <a:lnTo>
                  <a:pt x="1010709" y="235480"/>
                </a:lnTo>
                <a:lnTo>
                  <a:pt x="1010709" y="232834"/>
                </a:lnTo>
                <a:lnTo>
                  <a:pt x="1005417" y="232834"/>
                </a:lnTo>
                <a:lnTo>
                  <a:pt x="1002771" y="235480"/>
                </a:lnTo>
                <a:lnTo>
                  <a:pt x="1000126" y="235480"/>
                </a:lnTo>
                <a:lnTo>
                  <a:pt x="989542" y="230188"/>
                </a:lnTo>
                <a:lnTo>
                  <a:pt x="994834" y="227542"/>
                </a:lnTo>
                <a:lnTo>
                  <a:pt x="994834" y="224896"/>
                </a:lnTo>
                <a:lnTo>
                  <a:pt x="997480" y="222250"/>
                </a:lnTo>
                <a:lnTo>
                  <a:pt x="1002771" y="222250"/>
                </a:lnTo>
                <a:lnTo>
                  <a:pt x="1002771" y="219605"/>
                </a:lnTo>
                <a:lnTo>
                  <a:pt x="1005417" y="214313"/>
                </a:lnTo>
                <a:lnTo>
                  <a:pt x="1010709" y="214313"/>
                </a:lnTo>
                <a:lnTo>
                  <a:pt x="1013355" y="211667"/>
                </a:lnTo>
                <a:lnTo>
                  <a:pt x="1016001" y="209021"/>
                </a:lnTo>
                <a:lnTo>
                  <a:pt x="1018646" y="206375"/>
                </a:lnTo>
                <a:lnTo>
                  <a:pt x="1023938" y="203730"/>
                </a:lnTo>
                <a:lnTo>
                  <a:pt x="1029230" y="201084"/>
                </a:lnTo>
                <a:close/>
                <a:moveTo>
                  <a:pt x="825500" y="132292"/>
                </a:moveTo>
                <a:lnTo>
                  <a:pt x="828146" y="132292"/>
                </a:lnTo>
                <a:lnTo>
                  <a:pt x="833438" y="132292"/>
                </a:lnTo>
                <a:lnTo>
                  <a:pt x="838729" y="132292"/>
                </a:lnTo>
                <a:lnTo>
                  <a:pt x="838729" y="134938"/>
                </a:lnTo>
                <a:lnTo>
                  <a:pt x="836083" y="140229"/>
                </a:lnTo>
                <a:lnTo>
                  <a:pt x="833438" y="145521"/>
                </a:lnTo>
                <a:lnTo>
                  <a:pt x="830792" y="153459"/>
                </a:lnTo>
                <a:lnTo>
                  <a:pt x="825500" y="156104"/>
                </a:lnTo>
                <a:lnTo>
                  <a:pt x="817563" y="161396"/>
                </a:lnTo>
                <a:lnTo>
                  <a:pt x="817563" y="164042"/>
                </a:lnTo>
                <a:lnTo>
                  <a:pt x="814917" y="166688"/>
                </a:lnTo>
                <a:lnTo>
                  <a:pt x="814917" y="169334"/>
                </a:lnTo>
                <a:lnTo>
                  <a:pt x="809625" y="174625"/>
                </a:lnTo>
                <a:lnTo>
                  <a:pt x="796396" y="179917"/>
                </a:lnTo>
                <a:lnTo>
                  <a:pt x="783167" y="182563"/>
                </a:lnTo>
                <a:lnTo>
                  <a:pt x="777875" y="179917"/>
                </a:lnTo>
                <a:lnTo>
                  <a:pt x="775229" y="177271"/>
                </a:lnTo>
                <a:lnTo>
                  <a:pt x="772583" y="177271"/>
                </a:lnTo>
                <a:lnTo>
                  <a:pt x="769937" y="174625"/>
                </a:lnTo>
                <a:lnTo>
                  <a:pt x="762000" y="174625"/>
                </a:lnTo>
                <a:lnTo>
                  <a:pt x="751416" y="174625"/>
                </a:lnTo>
                <a:lnTo>
                  <a:pt x="748770" y="174625"/>
                </a:lnTo>
                <a:lnTo>
                  <a:pt x="746125" y="174625"/>
                </a:lnTo>
                <a:lnTo>
                  <a:pt x="743479" y="171979"/>
                </a:lnTo>
                <a:lnTo>
                  <a:pt x="732895" y="171979"/>
                </a:lnTo>
                <a:lnTo>
                  <a:pt x="722312" y="174625"/>
                </a:lnTo>
                <a:lnTo>
                  <a:pt x="717020" y="177271"/>
                </a:lnTo>
                <a:lnTo>
                  <a:pt x="709083" y="185209"/>
                </a:lnTo>
                <a:lnTo>
                  <a:pt x="703791" y="193146"/>
                </a:lnTo>
                <a:lnTo>
                  <a:pt x="703791" y="201084"/>
                </a:lnTo>
                <a:lnTo>
                  <a:pt x="706437" y="209021"/>
                </a:lnTo>
                <a:lnTo>
                  <a:pt x="711729" y="216959"/>
                </a:lnTo>
                <a:lnTo>
                  <a:pt x="717020" y="219604"/>
                </a:lnTo>
                <a:lnTo>
                  <a:pt x="719666" y="224896"/>
                </a:lnTo>
                <a:lnTo>
                  <a:pt x="719666" y="232834"/>
                </a:lnTo>
                <a:lnTo>
                  <a:pt x="727604" y="232834"/>
                </a:lnTo>
                <a:lnTo>
                  <a:pt x="730250" y="230188"/>
                </a:lnTo>
                <a:lnTo>
                  <a:pt x="730250" y="227542"/>
                </a:lnTo>
                <a:lnTo>
                  <a:pt x="735541" y="222250"/>
                </a:lnTo>
                <a:lnTo>
                  <a:pt x="743479" y="216959"/>
                </a:lnTo>
                <a:lnTo>
                  <a:pt x="746125" y="219604"/>
                </a:lnTo>
                <a:lnTo>
                  <a:pt x="748770" y="219604"/>
                </a:lnTo>
                <a:lnTo>
                  <a:pt x="756708" y="216959"/>
                </a:lnTo>
                <a:lnTo>
                  <a:pt x="762000" y="214313"/>
                </a:lnTo>
                <a:lnTo>
                  <a:pt x="767291" y="214313"/>
                </a:lnTo>
                <a:lnTo>
                  <a:pt x="772583" y="214313"/>
                </a:lnTo>
                <a:lnTo>
                  <a:pt x="777875" y="211667"/>
                </a:lnTo>
                <a:lnTo>
                  <a:pt x="777875" y="209021"/>
                </a:lnTo>
                <a:lnTo>
                  <a:pt x="780521" y="206375"/>
                </a:lnTo>
                <a:lnTo>
                  <a:pt x="788458" y="206375"/>
                </a:lnTo>
                <a:lnTo>
                  <a:pt x="796396" y="209021"/>
                </a:lnTo>
                <a:lnTo>
                  <a:pt x="796396" y="214313"/>
                </a:lnTo>
                <a:lnTo>
                  <a:pt x="793750" y="222250"/>
                </a:lnTo>
                <a:lnTo>
                  <a:pt x="788458" y="227542"/>
                </a:lnTo>
                <a:lnTo>
                  <a:pt x="785813" y="224896"/>
                </a:lnTo>
                <a:lnTo>
                  <a:pt x="783167" y="222250"/>
                </a:lnTo>
                <a:lnTo>
                  <a:pt x="777875" y="219604"/>
                </a:lnTo>
                <a:lnTo>
                  <a:pt x="775229" y="224896"/>
                </a:lnTo>
                <a:lnTo>
                  <a:pt x="772583" y="232834"/>
                </a:lnTo>
                <a:lnTo>
                  <a:pt x="769937" y="240771"/>
                </a:lnTo>
                <a:lnTo>
                  <a:pt x="764645" y="246063"/>
                </a:lnTo>
                <a:lnTo>
                  <a:pt x="759354" y="246063"/>
                </a:lnTo>
                <a:lnTo>
                  <a:pt x="754062" y="251354"/>
                </a:lnTo>
                <a:lnTo>
                  <a:pt x="748770" y="256646"/>
                </a:lnTo>
                <a:lnTo>
                  <a:pt x="746125" y="256646"/>
                </a:lnTo>
                <a:lnTo>
                  <a:pt x="740833" y="256646"/>
                </a:lnTo>
                <a:lnTo>
                  <a:pt x="746125" y="259292"/>
                </a:lnTo>
                <a:lnTo>
                  <a:pt x="748770" y="261938"/>
                </a:lnTo>
                <a:lnTo>
                  <a:pt x="748770" y="267229"/>
                </a:lnTo>
                <a:lnTo>
                  <a:pt x="746125" y="269875"/>
                </a:lnTo>
                <a:lnTo>
                  <a:pt x="748770" y="269875"/>
                </a:lnTo>
                <a:lnTo>
                  <a:pt x="754062" y="272521"/>
                </a:lnTo>
                <a:lnTo>
                  <a:pt x="756708" y="283104"/>
                </a:lnTo>
                <a:lnTo>
                  <a:pt x="759354" y="285750"/>
                </a:lnTo>
                <a:lnTo>
                  <a:pt x="762000" y="288396"/>
                </a:lnTo>
                <a:lnTo>
                  <a:pt x="764645" y="293688"/>
                </a:lnTo>
                <a:lnTo>
                  <a:pt x="764645" y="304271"/>
                </a:lnTo>
                <a:lnTo>
                  <a:pt x="767291" y="312209"/>
                </a:lnTo>
                <a:lnTo>
                  <a:pt x="769937" y="314854"/>
                </a:lnTo>
                <a:lnTo>
                  <a:pt x="772583" y="314854"/>
                </a:lnTo>
                <a:lnTo>
                  <a:pt x="772583" y="320146"/>
                </a:lnTo>
                <a:lnTo>
                  <a:pt x="772583" y="325438"/>
                </a:lnTo>
                <a:lnTo>
                  <a:pt x="775229" y="325438"/>
                </a:lnTo>
                <a:lnTo>
                  <a:pt x="777875" y="325438"/>
                </a:lnTo>
                <a:lnTo>
                  <a:pt x="777875" y="330729"/>
                </a:lnTo>
                <a:lnTo>
                  <a:pt x="777875" y="336021"/>
                </a:lnTo>
                <a:lnTo>
                  <a:pt x="775229" y="338667"/>
                </a:lnTo>
                <a:lnTo>
                  <a:pt x="767291" y="338667"/>
                </a:lnTo>
                <a:lnTo>
                  <a:pt x="762000" y="341313"/>
                </a:lnTo>
                <a:lnTo>
                  <a:pt x="759354" y="341313"/>
                </a:lnTo>
                <a:lnTo>
                  <a:pt x="756708" y="346604"/>
                </a:lnTo>
                <a:lnTo>
                  <a:pt x="756708" y="351896"/>
                </a:lnTo>
                <a:lnTo>
                  <a:pt x="759354" y="357188"/>
                </a:lnTo>
                <a:lnTo>
                  <a:pt x="756708" y="357188"/>
                </a:lnTo>
                <a:lnTo>
                  <a:pt x="746125" y="354542"/>
                </a:lnTo>
                <a:lnTo>
                  <a:pt x="740833" y="351896"/>
                </a:lnTo>
                <a:lnTo>
                  <a:pt x="738187" y="346604"/>
                </a:lnTo>
                <a:lnTo>
                  <a:pt x="738187" y="343959"/>
                </a:lnTo>
                <a:lnTo>
                  <a:pt x="738187" y="338667"/>
                </a:lnTo>
                <a:lnTo>
                  <a:pt x="743479" y="333375"/>
                </a:lnTo>
                <a:lnTo>
                  <a:pt x="743479" y="330729"/>
                </a:lnTo>
                <a:lnTo>
                  <a:pt x="743479" y="328084"/>
                </a:lnTo>
                <a:lnTo>
                  <a:pt x="735541" y="325438"/>
                </a:lnTo>
                <a:lnTo>
                  <a:pt x="727604" y="317500"/>
                </a:lnTo>
                <a:lnTo>
                  <a:pt x="724958" y="309563"/>
                </a:lnTo>
                <a:lnTo>
                  <a:pt x="724958" y="306917"/>
                </a:lnTo>
                <a:lnTo>
                  <a:pt x="727604" y="304271"/>
                </a:lnTo>
                <a:lnTo>
                  <a:pt x="730250" y="296334"/>
                </a:lnTo>
                <a:lnTo>
                  <a:pt x="732895" y="291042"/>
                </a:lnTo>
                <a:lnTo>
                  <a:pt x="727604" y="283104"/>
                </a:lnTo>
                <a:lnTo>
                  <a:pt x="724958" y="280459"/>
                </a:lnTo>
                <a:lnTo>
                  <a:pt x="719666" y="280459"/>
                </a:lnTo>
                <a:lnTo>
                  <a:pt x="719666" y="285750"/>
                </a:lnTo>
                <a:lnTo>
                  <a:pt x="717020" y="288396"/>
                </a:lnTo>
                <a:lnTo>
                  <a:pt x="711729" y="296334"/>
                </a:lnTo>
                <a:lnTo>
                  <a:pt x="706437" y="301625"/>
                </a:lnTo>
                <a:lnTo>
                  <a:pt x="706437" y="304271"/>
                </a:lnTo>
                <a:lnTo>
                  <a:pt x="709083" y="306917"/>
                </a:lnTo>
                <a:lnTo>
                  <a:pt x="711729" y="309563"/>
                </a:lnTo>
                <a:lnTo>
                  <a:pt x="714375" y="312209"/>
                </a:lnTo>
                <a:lnTo>
                  <a:pt x="711729" y="322792"/>
                </a:lnTo>
                <a:lnTo>
                  <a:pt x="709083" y="330729"/>
                </a:lnTo>
                <a:lnTo>
                  <a:pt x="709083" y="333375"/>
                </a:lnTo>
                <a:lnTo>
                  <a:pt x="711729" y="336021"/>
                </a:lnTo>
                <a:lnTo>
                  <a:pt x="714375" y="343959"/>
                </a:lnTo>
                <a:lnTo>
                  <a:pt x="714375" y="354542"/>
                </a:lnTo>
                <a:lnTo>
                  <a:pt x="714375" y="359834"/>
                </a:lnTo>
                <a:lnTo>
                  <a:pt x="711729" y="362479"/>
                </a:lnTo>
                <a:lnTo>
                  <a:pt x="709083" y="367771"/>
                </a:lnTo>
                <a:lnTo>
                  <a:pt x="706437" y="370417"/>
                </a:lnTo>
                <a:lnTo>
                  <a:pt x="711729" y="378354"/>
                </a:lnTo>
                <a:lnTo>
                  <a:pt x="711729" y="381000"/>
                </a:lnTo>
                <a:lnTo>
                  <a:pt x="701145" y="383646"/>
                </a:lnTo>
                <a:lnTo>
                  <a:pt x="693208" y="386292"/>
                </a:lnTo>
                <a:lnTo>
                  <a:pt x="685270" y="383646"/>
                </a:lnTo>
                <a:lnTo>
                  <a:pt x="682625" y="381000"/>
                </a:lnTo>
                <a:lnTo>
                  <a:pt x="679979" y="378354"/>
                </a:lnTo>
                <a:lnTo>
                  <a:pt x="679979" y="370417"/>
                </a:lnTo>
                <a:lnTo>
                  <a:pt x="682625" y="365125"/>
                </a:lnTo>
                <a:lnTo>
                  <a:pt x="682625" y="359834"/>
                </a:lnTo>
                <a:lnTo>
                  <a:pt x="682625" y="354542"/>
                </a:lnTo>
                <a:lnTo>
                  <a:pt x="685270" y="346604"/>
                </a:lnTo>
                <a:lnTo>
                  <a:pt x="687916" y="341313"/>
                </a:lnTo>
                <a:lnTo>
                  <a:pt x="690562" y="333375"/>
                </a:lnTo>
                <a:lnTo>
                  <a:pt x="685270" y="322792"/>
                </a:lnTo>
                <a:lnTo>
                  <a:pt x="677333" y="314854"/>
                </a:lnTo>
                <a:lnTo>
                  <a:pt x="674687" y="312209"/>
                </a:lnTo>
                <a:lnTo>
                  <a:pt x="672041" y="312209"/>
                </a:lnTo>
                <a:lnTo>
                  <a:pt x="666750" y="312209"/>
                </a:lnTo>
                <a:lnTo>
                  <a:pt x="664104" y="309563"/>
                </a:lnTo>
                <a:lnTo>
                  <a:pt x="664104" y="306917"/>
                </a:lnTo>
                <a:lnTo>
                  <a:pt x="666750" y="301625"/>
                </a:lnTo>
                <a:lnTo>
                  <a:pt x="672041" y="298979"/>
                </a:lnTo>
                <a:lnTo>
                  <a:pt x="672041" y="293688"/>
                </a:lnTo>
                <a:lnTo>
                  <a:pt x="672041" y="285750"/>
                </a:lnTo>
                <a:lnTo>
                  <a:pt x="669395" y="275167"/>
                </a:lnTo>
                <a:lnTo>
                  <a:pt x="672041" y="272521"/>
                </a:lnTo>
                <a:lnTo>
                  <a:pt x="677333" y="269875"/>
                </a:lnTo>
                <a:lnTo>
                  <a:pt x="674687" y="259292"/>
                </a:lnTo>
                <a:lnTo>
                  <a:pt x="674687" y="251354"/>
                </a:lnTo>
                <a:lnTo>
                  <a:pt x="677333" y="243417"/>
                </a:lnTo>
                <a:lnTo>
                  <a:pt x="679979" y="235479"/>
                </a:lnTo>
                <a:lnTo>
                  <a:pt x="685270" y="230188"/>
                </a:lnTo>
                <a:lnTo>
                  <a:pt x="687916" y="230188"/>
                </a:lnTo>
                <a:lnTo>
                  <a:pt x="690562" y="235479"/>
                </a:lnTo>
                <a:lnTo>
                  <a:pt x="690562" y="230188"/>
                </a:lnTo>
                <a:lnTo>
                  <a:pt x="687916" y="227542"/>
                </a:lnTo>
                <a:lnTo>
                  <a:pt x="685270" y="224896"/>
                </a:lnTo>
                <a:lnTo>
                  <a:pt x="687916" y="214313"/>
                </a:lnTo>
                <a:lnTo>
                  <a:pt x="687916" y="206375"/>
                </a:lnTo>
                <a:lnTo>
                  <a:pt x="687916" y="203729"/>
                </a:lnTo>
                <a:lnTo>
                  <a:pt x="687916" y="201084"/>
                </a:lnTo>
                <a:lnTo>
                  <a:pt x="690562" y="195792"/>
                </a:lnTo>
                <a:lnTo>
                  <a:pt x="690562" y="190500"/>
                </a:lnTo>
                <a:lnTo>
                  <a:pt x="687916" y="182563"/>
                </a:lnTo>
                <a:lnTo>
                  <a:pt x="687916" y="174625"/>
                </a:lnTo>
                <a:lnTo>
                  <a:pt x="690562" y="171979"/>
                </a:lnTo>
                <a:lnTo>
                  <a:pt x="693208" y="169334"/>
                </a:lnTo>
                <a:lnTo>
                  <a:pt x="695854" y="166688"/>
                </a:lnTo>
                <a:lnTo>
                  <a:pt x="695854" y="164042"/>
                </a:lnTo>
                <a:lnTo>
                  <a:pt x="693208" y="164042"/>
                </a:lnTo>
                <a:lnTo>
                  <a:pt x="695854" y="161396"/>
                </a:lnTo>
                <a:lnTo>
                  <a:pt x="698500" y="158750"/>
                </a:lnTo>
                <a:lnTo>
                  <a:pt x="701145" y="164042"/>
                </a:lnTo>
                <a:lnTo>
                  <a:pt x="703791" y="166688"/>
                </a:lnTo>
                <a:lnTo>
                  <a:pt x="709083" y="164042"/>
                </a:lnTo>
                <a:lnTo>
                  <a:pt x="714375" y="158750"/>
                </a:lnTo>
                <a:lnTo>
                  <a:pt x="714375" y="153459"/>
                </a:lnTo>
                <a:lnTo>
                  <a:pt x="717020" y="148167"/>
                </a:lnTo>
                <a:lnTo>
                  <a:pt x="722312" y="145521"/>
                </a:lnTo>
                <a:lnTo>
                  <a:pt x="727604" y="145521"/>
                </a:lnTo>
                <a:lnTo>
                  <a:pt x="730250" y="150813"/>
                </a:lnTo>
                <a:lnTo>
                  <a:pt x="735541" y="153459"/>
                </a:lnTo>
                <a:lnTo>
                  <a:pt x="740833" y="153459"/>
                </a:lnTo>
                <a:lnTo>
                  <a:pt x="748770" y="153459"/>
                </a:lnTo>
                <a:lnTo>
                  <a:pt x="756708" y="156104"/>
                </a:lnTo>
                <a:lnTo>
                  <a:pt x="762000" y="158750"/>
                </a:lnTo>
                <a:lnTo>
                  <a:pt x="769937" y="158750"/>
                </a:lnTo>
                <a:lnTo>
                  <a:pt x="775229" y="156104"/>
                </a:lnTo>
                <a:lnTo>
                  <a:pt x="783167" y="158750"/>
                </a:lnTo>
                <a:lnTo>
                  <a:pt x="791104" y="158750"/>
                </a:lnTo>
                <a:lnTo>
                  <a:pt x="801688" y="153459"/>
                </a:lnTo>
                <a:lnTo>
                  <a:pt x="812271" y="148167"/>
                </a:lnTo>
                <a:lnTo>
                  <a:pt x="817563" y="142875"/>
                </a:lnTo>
                <a:lnTo>
                  <a:pt x="817563" y="140229"/>
                </a:lnTo>
                <a:lnTo>
                  <a:pt x="820208" y="137584"/>
                </a:lnTo>
                <a:lnTo>
                  <a:pt x="825500" y="134938"/>
                </a:lnTo>
                <a:close/>
                <a:moveTo>
                  <a:pt x="907521" y="116417"/>
                </a:moveTo>
                <a:lnTo>
                  <a:pt x="910166" y="116417"/>
                </a:lnTo>
                <a:lnTo>
                  <a:pt x="912812" y="119063"/>
                </a:lnTo>
                <a:lnTo>
                  <a:pt x="910166" y="121709"/>
                </a:lnTo>
                <a:lnTo>
                  <a:pt x="907521" y="127000"/>
                </a:lnTo>
                <a:lnTo>
                  <a:pt x="907521" y="129646"/>
                </a:lnTo>
                <a:lnTo>
                  <a:pt x="910166" y="132292"/>
                </a:lnTo>
                <a:lnTo>
                  <a:pt x="912812" y="134938"/>
                </a:lnTo>
                <a:lnTo>
                  <a:pt x="912812" y="140229"/>
                </a:lnTo>
                <a:lnTo>
                  <a:pt x="910166" y="145521"/>
                </a:lnTo>
                <a:lnTo>
                  <a:pt x="907521" y="150813"/>
                </a:lnTo>
                <a:lnTo>
                  <a:pt x="904875" y="153459"/>
                </a:lnTo>
                <a:lnTo>
                  <a:pt x="907521" y="156105"/>
                </a:lnTo>
                <a:lnTo>
                  <a:pt x="912812" y="158750"/>
                </a:lnTo>
                <a:lnTo>
                  <a:pt x="912812" y="156105"/>
                </a:lnTo>
                <a:lnTo>
                  <a:pt x="912812" y="153459"/>
                </a:lnTo>
                <a:lnTo>
                  <a:pt x="918104" y="150813"/>
                </a:lnTo>
                <a:lnTo>
                  <a:pt x="920750" y="150813"/>
                </a:lnTo>
                <a:lnTo>
                  <a:pt x="918104" y="148167"/>
                </a:lnTo>
                <a:lnTo>
                  <a:pt x="920750" y="142875"/>
                </a:lnTo>
                <a:lnTo>
                  <a:pt x="931333" y="140229"/>
                </a:lnTo>
                <a:lnTo>
                  <a:pt x="933979" y="145521"/>
                </a:lnTo>
                <a:lnTo>
                  <a:pt x="933979" y="150813"/>
                </a:lnTo>
                <a:lnTo>
                  <a:pt x="931333" y="156105"/>
                </a:lnTo>
                <a:lnTo>
                  <a:pt x="928687" y="158750"/>
                </a:lnTo>
                <a:lnTo>
                  <a:pt x="920750" y="161396"/>
                </a:lnTo>
                <a:lnTo>
                  <a:pt x="920750" y="164042"/>
                </a:lnTo>
                <a:lnTo>
                  <a:pt x="926041" y="164042"/>
                </a:lnTo>
                <a:lnTo>
                  <a:pt x="933979" y="166688"/>
                </a:lnTo>
                <a:lnTo>
                  <a:pt x="933979" y="171980"/>
                </a:lnTo>
                <a:lnTo>
                  <a:pt x="933979" y="177271"/>
                </a:lnTo>
                <a:lnTo>
                  <a:pt x="936625" y="179917"/>
                </a:lnTo>
                <a:lnTo>
                  <a:pt x="941916" y="185209"/>
                </a:lnTo>
                <a:lnTo>
                  <a:pt x="920750" y="174625"/>
                </a:lnTo>
                <a:lnTo>
                  <a:pt x="915458" y="174625"/>
                </a:lnTo>
                <a:lnTo>
                  <a:pt x="912812" y="177271"/>
                </a:lnTo>
                <a:lnTo>
                  <a:pt x="912812" y="179917"/>
                </a:lnTo>
                <a:lnTo>
                  <a:pt x="915458" y="182563"/>
                </a:lnTo>
                <a:lnTo>
                  <a:pt x="915458" y="185209"/>
                </a:lnTo>
                <a:lnTo>
                  <a:pt x="915458" y="187855"/>
                </a:lnTo>
                <a:lnTo>
                  <a:pt x="915458" y="193146"/>
                </a:lnTo>
                <a:lnTo>
                  <a:pt x="918104" y="198438"/>
                </a:lnTo>
                <a:lnTo>
                  <a:pt x="926041" y="216959"/>
                </a:lnTo>
                <a:lnTo>
                  <a:pt x="918104" y="211667"/>
                </a:lnTo>
                <a:lnTo>
                  <a:pt x="910166" y="206376"/>
                </a:lnTo>
                <a:lnTo>
                  <a:pt x="907521" y="203730"/>
                </a:lnTo>
                <a:lnTo>
                  <a:pt x="907521" y="201084"/>
                </a:lnTo>
                <a:lnTo>
                  <a:pt x="904875" y="198438"/>
                </a:lnTo>
                <a:lnTo>
                  <a:pt x="902229" y="195792"/>
                </a:lnTo>
                <a:lnTo>
                  <a:pt x="902229" y="190500"/>
                </a:lnTo>
                <a:lnTo>
                  <a:pt x="904875" y="182563"/>
                </a:lnTo>
                <a:lnTo>
                  <a:pt x="902229" y="177271"/>
                </a:lnTo>
                <a:lnTo>
                  <a:pt x="902229" y="174625"/>
                </a:lnTo>
                <a:lnTo>
                  <a:pt x="899583" y="171980"/>
                </a:lnTo>
                <a:lnTo>
                  <a:pt x="896937" y="169334"/>
                </a:lnTo>
                <a:lnTo>
                  <a:pt x="896937" y="166688"/>
                </a:lnTo>
                <a:lnTo>
                  <a:pt x="904875" y="164042"/>
                </a:lnTo>
                <a:lnTo>
                  <a:pt x="899583" y="161396"/>
                </a:lnTo>
                <a:lnTo>
                  <a:pt x="896937" y="161396"/>
                </a:lnTo>
                <a:lnTo>
                  <a:pt x="896937" y="156105"/>
                </a:lnTo>
                <a:lnTo>
                  <a:pt x="896937" y="148167"/>
                </a:lnTo>
                <a:lnTo>
                  <a:pt x="896937" y="132292"/>
                </a:lnTo>
                <a:lnTo>
                  <a:pt x="904875" y="121709"/>
                </a:lnTo>
                <a:close/>
                <a:moveTo>
                  <a:pt x="584729" y="39688"/>
                </a:moveTo>
                <a:lnTo>
                  <a:pt x="590021" y="39688"/>
                </a:lnTo>
                <a:lnTo>
                  <a:pt x="592666" y="39688"/>
                </a:lnTo>
                <a:lnTo>
                  <a:pt x="597958" y="42334"/>
                </a:lnTo>
                <a:lnTo>
                  <a:pt x="605896" y="39688"/>
                </a:lnTo>
                <a:lnTo>
                  <a:pt x="621771" y="42334"/>
                </a:lnTo>
                <a:lnTo>
                  <a:pt x="627062" y="52917"/>
                </a:lnTo>
                <a:lnTo>
                  <a:pt x="629708" y="58209"/>
                </a:lnTo>
                <a:lnTo>
                  <a:pt x="632354" y="63500"/>
                </a:lnTo>
                <a:lnTo>
                  <a:pt x="627062" y="66146"/>
                </a:lnTo>
                <a:lnTo>
                  <a:pt x="624416" y="68792"/>
                </a:lnTo>
                <a:lnTo>
                  <a:pt x="624416" y="71438"/>
                </a:lnTo>
                <a:lnTo>
                  <a:pt x="619125" y="74084"/>
                </a:lnTo>
                <a:lnTo>
                  <a:pt x="621771" y="76730"/>
                </a:lnTo>
                <a:lnTo>
                  <a:pt x="627062" y="79375"/>
                </a:lnTo>
                <a:lnTo>
                  <a:pt x="629708" y="82021"/>
                </a:lnTo>
                <a:lnTo>
                  <a:pt x="632354" y="87313"/>
                </a:lnTo>
                <a:lnTo>
                  <a:pt x="632354" y="95250"/>
                </a:lnTo>
                <a:lnTo>
                  <a:pt x="635000" y="100542"/>
                </a:lnTo>
                <a:lnTo>
                  <a:pt x="640291" y="108480"/>
                </a:lnTo>
                <a:lnTo>
                  <a:pt x="645583" y="113771"/>
                </a:lnTo>
                <a:lnTo>
                  <a:pt x="648229" y="116417"/>
                </a:lnTo>
                <a:lnTo>
                  <a:pt x="645583" y="119063"/>
                </a:lnTo>
                <a:lnTo>
                  <a:pt x="635000" y="119063"/>
                </a:lnTo>
                <a:lnTo>
                  <a:pt x="640291" y="127000"/>
                </a:lnTo>
                <a:lnTo>
                  <a:pt x="645583" y="127000"/>
                </a:lnTo>
                <a:lnTo>
                  <a:pt x="650875" y="129646"/>
                </a:lnTo>
                <a:lnTo>
                  <a:pt x="658812" y="137584"/>
                </a:lnTo>
                <a:lnTo>
                  <a:pt x="664104" y="142875"/>
                </a:lnTo>
                <a:lnTo>
                  <a:pt x="666750" y="145521"/>
                </a:lnTo>
                <a:lnTo>
                  <a:pt x="666750" y="148167"/>
                </a:lnTo>
                <a:lnTo>
                  <a:pt x="666750" y="150813"/>
                </a:lnTo>
                <a:lnTo>
                  <a:pt x="664104" y="153459"/>
                </a:lnTo>
                <a:lnTo>
                  <a:pt x="653521" y="153459"/>
                </a:lnTo>
                <a:lnTo>
                  <a:pt x="645583" y="153459"/>
                </a:lnTo>
                <a:lnTo>
                  <a:pt x="645583" y="156105"/>
                </a:lnTo>
                <a:lnTo>
                  <a:pt x="640291" y="156105"/>
                </a:lnTo>
                <a:lnTo>
                  <a:pt x="637646" y="158750"/>
                </a:lnTo>
                <a:lnTo>
                  <a:pt x="635000" y="158750"/>
                </a:lnTo>
                <a:lnTo>
                  <a:pt x="637646" y="161396"/>
                </a:lnTo>
                <a:lnTo>
                  <a:pt x="635000" y="161396"/>
                </a:lnTo>
                <a:lnTo>
                  <a:pt x="635000" y="169334"/>
                </a:lnTo>
                <a:lnTo>
                  <a:pt x="632354" y="182563"/>
                </a:lnTo>
                <a:lnTo>
                  <a:pt x="632354" y="187855"/>
                </a:lnTo>
                <a:lnTo>
                  <a:pt x="629708" y="190500"/>
                </a:lnTo>
                <a:lnTo>
                  <a:pt x="627062" y="193146"/>
                </a:lnTo>
                <a:lnTo>
                  <a:pt x="629708" y="198438"/>
                </a:lnTo>
                <a:lnTo>
                  <a:pt x="632354" y="201084"/>
                </a:lnTo>
                <a:lnTo>
                  <a:pt x="635000" y="201084"/>
                </a:lnTo>
                <a:lnTo>
                  <a:pt x="637646" y="201084"/>
                </a:lnTo>
                <a:lnTo>
                  <a:pt x="635000" y="209021"/>
                </a:lnTo>
                <a:lnTo>
                  <a:pt x="632354" y="211667"/>
                </a:lnTo>
                <a:lnTo>
                  <a:pt x="627062" y="211667"/>
                </a:lnTo>
                <a:lnTo>
                  <a:pt x="621771" y="211667"/>
                </a:lnTo>
                <a:lnTo>
                  <a:pt x="621771" y="216959"/>
                </a:lnTo>
                <a:lnTo>
                  <a:pt x="619125" y="219605"/>
                </a:lnTo>
                <a:lnTo>
                  <a:pt x="613833" y="222250"/>
                </a:lnTo>
                <a:lnTo>
                  <a:pt x="608541" y="224896"/>
                </a:lnTo>
                <a:lnTo>
                  <a:pt x="605896" y="222250"/>
                </a:lnTo>
                <a:lnTo>
                  <a:pt x="605896" y="224896"/>
                </a:lnTo>
                <a:lnTo>
                  <a:pt x="608541" y="224896"/>
                </a:lnTo>
                <a:lnTo>
                  <a:pt x="608541" y="227542"/>
                </a:lnTo>
                <a:lnTo>
                  <a:pt x="603250" y="230188"/>
                </a:lnTo>
                <a:lnTo>
                  <a:pt x="597958" y="235480"/>
                </a:lnTo>
                <a:lnTo>
                  <a:pt x="600604" y="235480"/>
                </a:lnTo>
                <a:lnTo>
                  <a:pt x="603250" y="238125"/>
                </a:lnTo>
                <a:lnTo>
                  <a:pt x="600604" y="240771"/>
                </a:lnTo>
                <a:lnTo>
                  <a:pt x="597958" y="246063"/>
                </a:lnTo>
                <a:lnTo>
                  <a:pt x="600604" y="246063"/>
                </a:lnTo>
                <a:lnTo>
                  <a:pt x="592666" y="251355"/>
                </a:lnTo>
                <a:lnTo>
                  <a:pt x="595312" y="251355"/>
                </a:lnTo>
                <a:lnTo>
                  <a:pt x="597958" y="251355"/>
                </a:lnTo>
                <a:lnTo>
                  <a:pt x="597958" y="256646"/>
                </a:lnTo>
                <a:lnTo>
                  <a:pt x="597958" y="261938"/>
                </a:lnTo>
                <a:lnTo>
                  <a:pt x="603250" y="261938"/>
                </a:lnTo>
                <a:lnTo>
                  <a:pt x="605896" y="264584"/>
                </a:lnTo>
                <a:lnTo>
                  <a:pt x="597958" y="280459"/>
                </a:lnTo>
                <a:lnTo>
                  <a:pt x="592666" y="275167"/>
                </a:lnTo>
                <a:lnTo>
                  <a:pt x="595312" y="283105"/>
                </a:lnTo>
                <a:lnTo>
                  <a:pt x="597958" y="288396"/>
                </a:lnTo>
                <a:lnTo>
                  <a:pt x="595312" y="296334"/>
                </a:lnTo>
                <a:lnTo>
                  <a:pt x="582083" y="312209"/>
                </a:lnTo>
                <a:lnTo>
                  <a:pt x="574146" y="317501"/>
                </a:lnTo>
                <a:lnTo>
                  <a:pt x="563562" y="325438"/>
                </a:lnTo>
                <a:lnTo>
                  <a:pt x="555625" y="328084"/>
                </a:lnTo>
                <a:lnTo>
                  <a:pt x="552979" y="325438"/>
                </a:lnTo>
                <a:lnTo>
                  <a:pt x="552979" y="322792"/>
                </a:lnTo>
                <a:lnTo>
                  <a:pt x="550333" y="314855"/>
                </a:lnTo>
                <a:lnTo>
                  <a:pt x="547687" y="309563"/>
                </a:lnTo>
                <a:lnTo>
                  <a:pt x="542396" y="304271"/>
                </a:lnTo>
                <a:lnTo>
                  <a:pt x="539750" y="301626"/>
                </a:lnTo>
                <a:lnTo>
                  <a:pt x="534458" y="304271"/>
                </a:lnTo>
                <a:lnTo>
                  <a:pt x="529166" y="304271"/>
                </a:lnTo>
                <a:lnTo>
                  <a:pt x="526521" y="301626"/>
                </a:lnTo>
                <a:lnTo>
                  <a:pt x="529166" y="301626"/>
                </a:lnTo>
                <a:lnTo>
                  <a:pt x="529166" y="298980"/>
                </a:lnTo>
                <a:lnTo>
                  <a:pt x="526521" y="296334"/>
                </a:lnTo>
                <a:lnTo>
                  <a:pt x="521229" y="296334"/>
                </a:lnTo>
                <a:lnTo>
                  <a:pt x="518583" y="296334"/>
                </a:lnTo>
                <a:lnTo>
                  <a:pt x="518583" y="298980"/>
                </a:lnTo>
                <a:lnTo>
                  <a:pt x="513291" y="296334"/>
                </a:lnTo>
                <a:lnTo>
                  <a:pt x="510645" y="296334"/>
                </a:lnTo>
                <a:lnTo>
                  <a:pt x="505354" y="296334"/>
                </a:lnTo>
                <a:lnTo>
                  <a:pt x="502708" y="301626"/>
                </a:lnTo>
                <a:lnTo>
                  <a:pt x="500062" y="301626"/>
                </a:lnTo>
                <a:lnTo>
                  <a:pt x="494770" y="298980"/>
                </a:lnTo>
                <a:lnTo>
                  <a:pt x="489479" y="296334"/>
                </a:lnTo>
                <a:lnTo>
                  <a:pt x="484187" y="296334"/>
                </a:lnTo>
                <a:lnTo>
                  <a:pt x="481541" y="296334"/>
                </a:lnTo>
                <a:lnTo>
                  <a:pt x="470958" y="301626"/>
                </a:lnTo>
                <a:lnTo>
                  <a:pt x="470958" y="298980"/>
                </a:lnTo>
                <a:lnTo>
                  <a:pt x="468312" y="298980"/>
                </a:lnTo>
                <a:lnTo>
                  <a:pt x="468312" y="291042"/>
                </a:lnTo>
                <a:lnTo>
                  <a:pt x="468312" y="288396"/>
                </a:lnTo>
                <a:lnTo>
                  <a:pt x="465666" y="293688"/>
                </a:lnTo>
                <a:lnTo>
                  <a:pt x="463020" y="291042"/>
                </a:lnTo>
                <a:lnTo>
                  <a:pt x="460375" y="288396"/>
                </a:lnTo>
                <a:lnTo>
                  <a:pt x="457729" y="288396"/>
                </a:lnTo>
                <a:lnTo>
                  <a:pt x="455083" y="291042"/>
                </a:lnTo>
                <a:lnTo>
                  <a:pt x="452437" y="293688"/>
                </a:lnTo>
                <a:lnTo>
                  <a:pt x="449791" y="291042"/>
                </a:lnTo>
                <a:lnTo>
                  <a:pt x="444500" y="291042"/>
                </a:lnTo>
                <a:lnTo>
                  <a:pt x="441854" y="291042"/>
                </a:lnTo>
                <a:lnTo>
                  <a:pt x="439208" y="291042"/>
                </a:lnTo>
                <a:lnTo>
                  <a:pt x="436562" y="288396"/>
                </a:lnTo>
                <a:lnTo>
                  <a:pt x="433916" y="288396"/>
                </a:lnTo>
                <a:lnTo>
                  <a:pt x="428625" y="291042"/>
                </a:lnTo>
                <a:lnTo>
                  <a:pt x="425979" y="291042"/>
                </a:lnTo>
                <a:lnTo>
                  <a:pt x="423333" y="280459"/>
                </a:lnTo>
                <a:lnTo>
                  <a:pt x="423333" y="267230"/>
                </a:lnTo>
                <a:lnTo>
                  <a:pt x="423333" y="256646"/>
                </a:lnTo>
                <a:lnTo>
                  <a:pt x="423333" y="251355"/>
                </a:lnTo>
                <a:lnTo>
                  <a:pt x="420687" y="248709"/>
                </a:lnTo>
                <a:lnTo>
                  <a:pt x="418041" y="246063"/>
                </a:lnTo>
                <a:lnTo>
                  <a:pt x="423333" y="240771"/>
                </a:lnTo>
                <a:lnTo>
                  <a:pt x="423333" y="235480"/>
                </a:lnTo>
                <a:lnTo>
                  <a:pt x="420687" y="230188"/>
                </a:lnTo>
                <a:lnTo>
                  <a:pt x="418041" y="227542"/>
                </a:lnTo>
                <a:lnTo>
                  <a:pt x="415395" y="222250"/>
                </a:lnTo>
                <a:lnTo>
                  <a:pt x="415395" y="219605"/>
                </a:lnTo>
                <a:lnTo>
                  <a:pt x="410104" y="222250"/>
                </a:lnTo>
                <a:lnTo>
                  <a:pt x="404812" y="222250"/>
                </a:lnTo>
                <a:lnTo>
                  <a:pt x="404812" y="219605"/>
                </a:lnTo>
                <a:lnTo>
                  <a:pt x="404812" y="216959"/>
                </a:lnTo>
                <a:lnTo>
                  <a:pt x="407458" y="209021"/>
                </a:lnTo>
                <a:lnTo>
                  <a:pt x="404812" y="209021"/>
                </a:lnTo>
                <a:lnTo>
                  <a:pt x="399520" y="209021"/>
                </a:lnTo>
                <a:lnTo>
                  <a:pt x="396875" y="209021"/>
                </a:lnTo>
                <a:lnTo>
                  <a:pt x="396875" y="203730"/>
                </a:lnTo>
                <a:lnTo>
                  <a:pt x="396875" y="195792"/>
                </a:lnTo>
                <a:lnTo>
                  <a:pt x="399520" y="195792"/>
                </a:lnTo>
                <a:lnTo>
                  <a:pt x="402166" y="198438"/>
                </a:lnTo>
                <a:lnTo>
                  <a:pt x="404812" y="195792"/>
                </a:lnTo>
                <a:lnTo>
                  <a:pt x="402166" y="193146"/>
                </a:lnTo>
                <a:lnTo>
                  <a:pt x="399520" y="193146"/>
                </a:lnTo>
                <a:lnTo>
                  <a:pt x="396875" y="193146"/>
                </a:lnTo>
                <a:lnTo>
                  <a:pt x="394229" y="187855"/>
                </a:lnTo>
                <a:lnTo>
                  <a:pt x="396875" y="182563"/>
                </a:lnTo>
                <a:lnTo>
                  <a:pt x="399520" y="179917"/>
                </a:lnTo>
                <a:lnTo>
                  <a:pt x="399520" y="177271"/>
                </a:lnTo>
                <a:lnTo>
                  <a:pt x="396875" y="171980"/>
                </a:lnTo>
                <a:lnTo>
                  <a:pt x="394229" y="169334"/>
                </a:lnTo>
                <a:lnTo>
                  <a:pt x="396875" y="164042"/>
                </a:lnTo>
                <a:lnTo>
                  <a:pt x="396875" y="158750"/>
                </a:lnTo>
                <a:lnTo>
                  <a:pt x="399520" y="153459"/>
                </a:lnTo>
                <a:lnTo>
                  <a:pt x="396875" y="142875"/>
                </a:lnTo>
                <a:lnTo>
                  <a:pt x="396875" y="137584"/>
                </a:lnTo>
                <a:lnTo>
                  <a:pt x="399520" y="132292"/>
                </a:lnTo>
                <a:lnTo>
                  <a:pt x="402166" y="129646"/>
                </a:lnTo>
                <a:lnTo>
                  <a:pt x="402166" y="127000"/>
                </a:lnTo>
                <a:lnTo>
                  <a:pt x="402166" y="124355"/>
                </a:lnTo>
                <a:lnTo>
                  <a:pt x="407458" y="121709"/>
                </a:lnTo>
                <a:lnTo>
                  <a:pt x="410104" y="124355"/>
                </a:lnTo>
                <a:lnTo>
                  <a:pt x="410104" y="127000"/>
                </a:lnTo>
                <a:lnTo>
                  <a:pt x="412750" y="127000"/>
                </a:lnTo>
                <a:lnTo>
                  <a:pt x="415395" y="132292"/>
                </a:lnTo>
                <a:lnTo>
                  <a:pt x="420687" y="134938"/>
                </a:lnTo>
                <a:lnTo>
                  <a:pt x="420687" y="140230"/>
                </a:lnTo>
                <a:lnTo>
                  <a:pt x="420687" y="142875"/>
                </a:lnTo>
                <a:lnTo>
                  <a:pt x="423333" y="145521"/>
                </a:lnTo>
                <a:lnTo>
                  <a:pt x="428625" y="148167"/>
                </a:lnTo>
                <a:lnTo>
                  <a:pt x="428625" y="150813"/>
                </a:lnTo>
                <a:lnTo>
                  <a:pt x="431270" y="156105"/>
                </a:lnTo>
                <a:lnTo>
                  <a:pt x="436562" y="158750"/>
                </a:lnTo>
                <a:lnTo>
                  <a:pt x="447145" y="156105"/>
                </a:lnTo>
                <a:lnTo>
                  <a:pt x="457729" y="153459"/>
                </a:lnTo>
                <a:lnTo>
                  <a:pt x="465666" y="153459"/>
                </a:lnTo>
                <a:lnTo>
                  <a:pt x="468312" y="153459"/>
                </a:lnTo>
                <a:lnTo>
                  <a:pt x="473604" y="150813"/>
                </a:lnTo>
                <a:lnTo>
                  <a:pt x="478895" y="148167"/>
                </a:lnTo>
                <a:lnTo>
                  <a:pt x="481541" y="145521"/>
                </a:lnTo>
                <a:lnTo>
                  <a:pt x="481541" y="142875"/>
                </a:lnTo>
                <a:lnTo>
                  <a:pt x="486833" y="140230"/>
                </a:lnTo>
                <a:lnTo>
                  <a:pt x="492125" y="137584"/>
                </a:lnTo>
                <a:lnTo>
                  <a:pt x="497416" y="137584"/>
                </a:lnTo>
                <a:lnTo>
                  <a:pt x="500062" y="137584"/>
                </a:lnTo>
                <a:lnTo>
                  <a:pt x="500062" y="140230"/>
                </a:lnTo>
                <a:lnTo>
                  <a:pt x="502708" y="142875"/>
                </a:lnTo>
                <a:lnTo>
                  <a:pt x="508000" y="145521"/>
                </a:lnTo>
                <a:lnTo>
                  <a:pt x="518583" y="145521"/>
                </a:lnTo>
                <a:lnTo>
                  <a:pt x="531812" y="140230"/>
                </a:lnTo>
                <a:lnTo>
                  <a:pt x="537104" y="137584"/>
                </a:lnTo>
                <a:lnTo>
                  <a:pt x="539750" y="134938"/>
                </a:lnTo>
                <a:lnTo>
                  <a:pt x="545041" y="129646"/>
                </a:lnTo>
                <a:lnTo>
                  <a:pt x="547687" y="124355"/>
                </a:lnTo>
                <a:lnTo>
                  <a:pt x="550333" y="119063"/>
                </a:lnTo>
                <a:lnTo>
                  <a:pt x="552979" y="108480"/>
                </a:lnTo>
                <a:lnTo>
                  <a:pt x="555625" y="95250"/>
                </a:lnTo>
                <a:lnTo>
                  <a:pt x="558271" y="89959"/>
                </a:lnTo>
                <a:lnTo>
                  <a:pt x="563562" y="84667"/>
                </a:lnTo>
                <a:lnTo>
                  <a:pt x="568854" y="79375"/>
                </a:lnTo>
                <a:lnTo>
                  <a:pt x="574146" y="74084"/>
                </a:lnTo>
                <a:lnTo>
                  <a:pt x="574146" y="63500"/>
                </a:lnTo>
                <a:lnTo>
                  <a:pt x="574146" y="52917"/>
                </a:lnTo>
                <a:lnTo>
                  <a:pt x="574146" y="50271"/>
                </a:lnTo>
                <a:lnTo>
                  <a:pt x="576791" y="47625"/>
                </a:lnTo>
                <a:lnTo>
                  <a:pt x="576791" y="44980"/>
                </a:lnTo>
                <a:lnTo>
                  <a:pt x="579437" y="42334"/>
                </a:lnTo>
                <a:close/>
                <a:moveTo>
                  <a:pt x="10583" y="0"/>
                </a:moveTo>
                <a:lnTo>
                  <a:pt x="13229" y="0"/>
                </a:lnTo>
                <a:lnTo>
                  <a:pt x="23812" y="5292"/>
                </a:lnTo>
                <a:lnTo>
                  <a:pt x="34396" y="10583"/>
                </a:lnTo>
                <a:lnTo>
                  <a:pt x="42333" y="13229"/>
                </a:lnTo>
                <a:lnTo>
                  <a:pt x="47625" y="13229"/>
                </a:lnTo>
                <a:lnTo>
                  <a:pt x="55562" y="10583"/>
                </a:lnTo>
                <a:lnTo>
                  <a:pt x="60854" y="10583"/>
                </a:lnTo>
                <a:lnTo>
                  <a:pt x="63500" y="10583"/>
                </a:lnTo>
                <a:lnTo>
                  <a:pt x="68791" y="13229"/>
                </a:lnTo>
                <a:lnTo>
                  <a:pt x="71437" y="13229"/>
                </a:lnTo>
                <a:lnTo>
                  <a:pt x="74083" y="15875"/>
                </a:lnTo>
                <a:lnTo>
                  <a:pt x="76729" y="21167"/>
                </a:lnTo>
                <a:lnTo>
                  <a:pt x="79375" y="29104"/>
                </a:lnTo>
                <a:lnTo>
                  <a:pt x="82021" y="31750"/>
                </a:lnTo>
                <a:lnTo>
                  <a:pt x="87312" y="34396"/>
                </a:lnTo>
                <a:lnTo>
                  <a:pt x="89958" y="37042"/>
                </a:lnTo>
                <a:lnTo>
                  <a:pt x="92604" y="39687"/>
                </a:lnTo>
                <a:lnTo>
                  <a:pt x="92604" y="44979"/>
                </a:lnTo>
                <a:lnTo>
                  <a:pt x="89958" y="47625"/>
                </a:lnTo>
                <a:lnTo>
                  <a:pt x="97895" y="52917"/>
                </a:lnTo>
                <a:lnTo>
                  <a:pt x="105833" y="55562"/>
                </a:lnTo>
                <a:lnTo>
                  <a:pt x="105833" y="58208"/>
                </a:lnTo>
                <a:lnTo>
                  <a:pt x="108479" y="60854"/>
                </a:lnTo>
                <a:lnTo>
                  <a:pt x="116416" y="63500"/>
                </a:lnTo>
                <a:lnTo>
                  <a:pt x="129645" y="71437"/>
                </a:lnTo>
                <a:lnTo>
                  <a:pt x="137583" y="79375"/>
                </a:lnTo>
                <a:lnTo>
                  <a:pt x="140229" y="87312"/>
                </a:lnTo>
                <a:lnTo>
                  <a:pt x="142875" y="92604"/>
                </a:lnTo>
                <a:lnTo>
                  <a:pt x="145520" y="92604"/>
                </a:lnTo>
                <a:lnTo>
                  <a:pt x="148166" y="95250"/>
                </a:lnTo>
                <a:lnTo>
                  <a:pt x="150812" y="103187"/>
                </a:lnTo>
                <a:lnTo>
                  <a:pt x="153458" y="108479"/>
                </a:lnTo>
                <a:lnTo>
                  <a:pt x="158750" y="108479"/>
                </a:lnTo>
                <a:lnTo>
                  <a:pt x="161395" y="113771"/>
                </a:lnTo>
                <a:lnTo>
                  <a:pt x="169333" y="124354"/>
                </a:lnTo>
                <a:lnTo>
                  <a:pt x="169333" y="119062"/>
                </a:lnTo>
                <a:lnTo>
                  <a:pt x="166687" y="113771"/>
                </a:lnTo>
                <a:lnTo>
                  <a:pt x="166687" y="111125"/>
                </a:lnTo>
                <a:lnTo>
                  <a:pt x="169333" y="111125"/>
                </a:lnTo>
                <a:lnTo>
                  <a:pt x="171979" y="111125"/>
                </a:lnTo>
                <a:lnTo>
                  <a:pt x="174625" y="113771"/>
                </a:lnTo>
                <a:lnTo>
                  <a:pt x="177270" y="119062"/>
                </a:lnTo>
                <a:lnTo>
                  <a:pt x="179916" y="124354"/>
                </a:lnTo>
                <a:lnTo>
                  <a:pt x="182562" y="127000"/>
                </a:lnTo>
                <a:lnTo>
                  <a:pt x="185208" y="127000"/>
                </a:lnTo>
                <a:lnTo>
                  <a:pt x="190500" y="127000"/>
                </a:lnTo>
                <a:lnTo>
                  <a:pt x="193145" y="129646"/>
                </a:lnTo>
                <a:lnTo>
                  <a:pt x="201083" y="142875"/>
                </a:lnTo>
                <a:lnTo>
                  <a:pt x="209020" y="156104"/>
                </a:lnTo>
                <a:lnTo>
                  <a:pt x="211666" y="158750"/>
                </a:lnTo>
                <a:lnTo>
                  <a:pt x="216958" y="161396"/>
                </a:lnTo>
                <a:lnTo>
                  <a:pt x="222250" y="164042"/>
                </a:lnTo>
                <a:lnTo>
                  <a:pt x="227541" y="166687"/>
                </a:lnTo>
                <a:lnTo>
                  <a:pt x="230187" y="171979"/>
                </a:lnTo>
                <a:lnTo>
                  <a:pt x="230187" y="174625"/>
                </a:lnTo>
                <a:lnTo>
                  <a:pt x="219604" y="179917"/>
                </a:lnTo>
                <a:lnTo>
                  <a:pt x="211666" y="185208"/>
                </a:lnTo>
                <a:lnTo>
                  <a:pt x="232833" y="177271"/>
                </a:lnTo>
                <a:lnTo>
                  <a:pt x="238125" y="174625"/>
                </a:lnTo>
                <a:lnTo>
                  <a:pt x="240770" y="174625"/>
                </a:lnTo>
                <a:lnTo>
                  <a:pt x="246062" y="177271"/>
                </a:lnTo>
                <a:lnTo>
                  <a:pt x="251354" y="182562"/>
                </a:lnTo>
                <a:lnTo>
                  <a:pt x="253999" y="185208"/>
                </a:lnTo>
                <a:lnTo>
                  <a:pt x="251354" y="187854"/>
                </a:lnTo>
                <a:lnTo>
                  <a:pt x="240770" y="193146"/>
                </a:lnTo>
                <a:lnTo>
                  <a:pt x="232833" y="198437"/>
                </a:lnTo>
                <a:lnTo>
                  <a:pt x="230187" y="198437"/>
                </a:lnTo>
                <a:lnTo>
                  <a:pt x="232833" y="201083"/>
                </a:lnTo>
                <a:lnTo>
                  <a:pt x="238125" y="203729"/>
                </a:lnTo>
                <a:lnTo>
                  <a:pt x="238125" y="206375"/>
                </a:lnTo>
                <a:lnTo>
                  <a:pt x="238125" y="209021"/>
                </a:lnTo>
                <a:lnTo>
                  <a:pt x="238125" y="214312"/>
                </a:lnTo>
                <a:lnTo>
                  <a:pt x="238125" y="216958"/>
                </a:lnTo>
                <a:lnTo>
                  <a:pt x="243416" y="219604"/>
                </a:lnTo>
                <a:lnTo>
                  <a:pt x="248708" y="224896"/>
                </a:lnTo>
                <a:lnTo>
                  <a:pt x="251354" y="224896"/>
                </a:lnTo>
                <a:lnTo>
                  <a:pt x="259291" y="224896"/>
                </a:lnTo>
                <a:lnTo>
                  <a:pt x="264583" y="224896"/>
                </a:lnTo>
                <a:lnTo>
                  <a:pt x="267229" y="224896"/>
                </a:lnTo>
                <a:lnTo>
                  <a:pt x="269874" y="232833"/>
                </a:lnTo>
                <a:lnTo>
                  <a:pt x="267229" y="240771"/>
                </a:lnTo>
                <a:lnTo>
                  <a:pt x="267229" y="248708"/>
                </a:lnTo>
                <a:lnTo>
                  <a:pt x="269874" y="251354"/>
                </a:lnTo>
                <a:lnTo>
                  <a:pt x="275166" y="251354"/>
                </a:lnTo>
                <a:lnTo>
                  <a:pt x="277812" y="251354"/>
                </a:lnTo>
                <a:lnTo>
                  <a:pt x="280458" y="251354"/>
                </a:lnTo>
                <a:lnTo>
                  <a:pt x="280458" y="256646"/>
                </a:lnTo>
                <a:lnTo>
                  <a:pt x="277812" y="267229"/>
                </a:lnTo>
                <a:lnTo>
                  <a:pt x="277812" y="275167"/>
                </a:lnTo>
                <a:lnTo>
                  <a:pt x="280458" y="267229"/>
                </a:lnTo>
                <a:lnTo>
                  <a:pt x="280458" y="264583"/>
                </a:lnTo>
                <a:lnTo>
                  <a:pt x="291041" y="267229"/>
                </a:lnTo>
                <a:lnTo>
                  <a:pt x="298979" y="269875"/>
                </a:lnTo>
                <a:lnTo>
                  <a:pt x="301624" y="275167"/>
                </a:lnTo>
                <a:lnTo>
                  <a:pt x="301624" y="277812"/>
                </a:lnTo>
                <a:lnTo>
                  <a:pt x="304270" y="277812"/>
                </a:lnTo>
                <a:lnTo>
                  <a:pt x="306916" y="280458"/>
                </a:lnTo>
                <a:lnTo>
                  <a:pt x="309562" y="283104"/>
                </a:lnTo>
                <a:lnTo>
                  <a:pt x="306916" y="283104"/>
                </a:lnTo>
                <a:lnTo>
                  <a:pt x="309562" y="285750"/>
                </a:lnTo>
                <a:lnTo>
                  <a:pt x="312208" y="285750"/>
                </a:lnTo>
                <a:lnTo>
                  <a:pt x="312208" y="288396"/>
                </a:lnTo>
                <a:lnTo>
                  <a:pt x="306916" y="291042"/>
                </a:lnTo>
                <a:lnTo>
                  <a:pt x="304270" y="296333"/>
                </a:lnTo>
                <a:lnTo>
                  <a:pt x="304270" y="298979"/>
                </a:lnTo>
                <a:lnTo>
                  <a:pt x="304270" y="304271"/>
                </a:lnTo>
                <a:lnTo>
                  <a:pt x="306916" y="306917"/>
                </a:lnTo>
                <a:lnTo>
                  <a:pt x="306916" y="309562"/>
                </a:lnTo>
                <a:lnTo>
                  <a:pt x="304270" y="317500"/>
                </a:lnTo>
                <a:lnTo>
                  <a:pt x="301624" y="328083"/>
                </a:lnTo>
                <a:lnTo>
                  <a:pt x="301624" y="330729"/>
                </a:lnTo>
                <a:lnTo>
                  <a:pt x="304270" y="336021"/>
                </a:lnTo>
                <a:lnTo>
                  <a:pt x="301624" y="351896"/>
                </a:lnTo>
                <a:lnTo>
                  <a:pt x="304270" y="378354"/>
                </a:lnTo>
                <a:lnTo>
                  <a:pt x="304270" y="381000"/>
                </a:lnTo>
                <a:lnTo>
                  <a:pt x="301624" y="383646"/>
                </a:lnTo>
                <a:lnTo>
                  <a:pt x="296333" y="378354"/>
                </a:lnTo>
                <a:lnTo>
                  <a:pt x="293687" y="373063"/>
                </a:lnTo>
                <a:lnTo>
                  <a:pt x="291041" y="373063"/>
                </a:lnTo>
                <a:lnTo>
                  <a:pt x="291041" y="375708"/>
                </a:lnTo>
                <a:lnTo>
                  <a:pt x="291041" y="381000"/>
                </a:lnTo>
                <a:lnTo>
                  <a:pt x="285749" y="381000"/>
                </a:lnTo>
                <a:lnTo>
                  <a:pt x="280458" y="378354"/>
                </a:lnTo>
                <a:lnTo>
                  <a:pt x="275166" y="375708"/>
                </a:lnTo>
                <a:lnTo>
                  <a:pt x="272520" y="375708"/>
                </a:lnTo>
                <a:lnTo>
                  <a:pt x="269874" y="375708"/>
                </a:lnTo>
                <a:lnTo>
                  <a:pt x="267229" y="373063"/>
                </a:lnTo>
                <a:lnTo>
                  <a:pt x="264583" y="373063"/>
                </a:lnTo>
                <a:lnTo>
                  <a:pt x="267229" y="378354"/>
                </a:lnTo>
                <a:lnTo>
                  <a:pt x="272520" y="381000"/>
                </a:lnTo>
                <a:lnTo>
                  <a:pt x="269874" y="383646"/>
                </a:lnTo>
                <a:lnTo>
                  <a:pt x="264583" y="378354"/>
                </a:lnTo>
                <a:lnTo>
                  <a:pt x="261937" y="373063"/>
                </a:lnTo>
                <a:lnTo>
                  <a:pt x="259291" y="367771"/>
                </a:lnTo>
                <a:lnTo>
                  <a:pt x="253999" y="365125"/>
                </a:lnTo>
                <a:lnTo>
                  <a:pt x="251354" y="359833"/>
                </a:lnTo>
                <a:lnTo>
                  <a:pt x="248708" y="357188"/>
                </a:lnTo>
                <a:lnTo>
                  <a:pt x="246062" y="351896"/>
                </a:lnTo>
                <a:lnTo>
                  <a:pt x="240770" y="351896"/>
                </a:lnTo>
                <a:lnTo>
                  <a:pt x="232833" y="349250"/>
                </a:lnTo>
                <a:lnTo>
                  <a:pt x="227541" y="341313"/>
                </a:lnTo>
                <a:lnTo>
                  <a:pt x="222250" y="333375"/>
                </a:lnTo>
                <a:lnTo>
                  <a:pt x="211666" y="325437"/>
                </a:lnTo>
                <a:lnTo>
                  <a:pt x="206375" y="317500"/>
                </a:lnTo>
                <a:lnTo>
                  <a:pt x="201083" y="312208"/>
                </a:lnTo>
                <a:lnTo>
                  <a:pt x="198437" y="304271"/>
                </a:lnTo>
                <a:lnTo>
                  <a:pt x="195791" y="296333"/>
                </a:lnTo>
                <a:lnTo>
                  <a:pt x="193145" y="293687"/>
                </a:lnTo>
                <a:lnTo>
                  <a:pt x="187854" y="291042"/>
                </a:lnTo>
                <a:lnTo>
                  <a:pt x="177270" y="285750"/>
                </a:lnTo>
                <a:lnTo>
                  <a:pt x="174625" y="277812"/>
                </a:lnTo>
                <a:lnTo>
                  <a:pt x="169333" y="269875"/>
                </a:lnTo>
                <a:lnTo>
                  <a:pt x="164041" y="259292"/>
                </a:lnTo>
                <a:lnTo>
                  <a:pt x="161395" y="256646"/>
                </a:lnTo>
                <a:lnTo>
                  <a:pt x="161395" y="254000"/>
                </a:lnTo>
                <a:lnTo>
                  <a:pt x="164041" y="251354"/>
                </a:lnTo>
                <a:lnTo>
                  <a:pt x="158750" y="240771"/>
                </a:lnTo>
                <a:lnTo>
                  <a:pt x="142875" y="216958"/>
                </a:lnTo>
                <a:lnTo>
                  <a:pt x="137583" y="198437"/>
                </a:lnTo>
                <a:lnTo>
                  <a:pt x="134937" y="190500"/>
                </a:lnTo>
                <a:lnTo>
                  <a:pt x="134937" y="187854"/>
                </a:lnTo>
                <a:lnTo>
                  <a:pt x="132291" y="185208"/>
                </a:lnTo>
                <a:lnTo>
                  <a:pt x="124354" y="182562"/>
                </a:lnTo>
                <a:lnTo>
                  <a:pt x="119062" y="179917"/>
                </a:lnTo>
                <a:lnTo>
                  <a:pt x="116416" y="179917"/>
                </a:lnTo>
                <a:lnTo>
                  <a:pt x="116416" y="174625"/>
                </a:lnTo>
                <a:lnTo>
                  <a:pt x="116416" y="169333"/>
                </a:lnTo>
                <a:lnTo>
                  <a:pt x="113770" y="166687"/>
                </a:lnTo>
                <a:lnTo>
                  <a:pt x="113770" y="161396"/>
                </a:lnTo>
                <a:lnTo>
                  <a:pt x="113770" y="156104"/>
                </a:lnTo>
                <a:lnTo>
                  <a:pt x="113770" y="150812"/>
                </a:lnTo>
                <a:lnTo>
                  <a:pt x="111125" y="145521"/>
                </a:lnTo>
                <a:lnTo>
                  <a:pt x="108479" y="137583"/>
                </a:lnTo>
                <a:lnTo>
                  <a:pt x="111125" y="132292"/>
                </a:lnTo>
                <a:lnTo>
                  <a:pt x="92604" y="116417"/>
                </a:lnTo>
                <a:lnTo>
                  <a:pt x="84666" y="113771"/>
                </a:lnTo>
                <a:lnTo>
                  <a:pt x="79375" y="111125"/>
                </a:lnTo>
                <a:lnTo>
                  <a:pt x="76729" y="113771"/>
                </a:lnTo>
                <a:lnTo>
                  <a:pt x="74083" y="111125"/>
                </a:lnTo>
                <a:lnTo>
                  <a:pt x="76729" y="100542"/>
                </a:lnTo>
                <a:lnTo>
                  <a:pt x="74083" y="95250"/>
                </a:lnTo>
                <a:lnTo>
                  <a:pt x="71437" y="89958"/>
                </a:lnTo>
                <a:lnTo>
                  <a:pt x="68791" y="87312"/>
                </a:lnTo>
                <a:lnTo>
                  <a:pt x="66146" y="82021"/>
                </a:lnTo>
                <a:lnTo>
                  <a:pt x="63500" y="76729"/>
                </a:lnTo>
                <a:lnTo>
                  <a:pt x="60854" y="74083"/>
                </a:lnTo>
                <a:lnTo>
                  <a:pt x="55562" y="71437"/>
                </a:lnTo>
                <a:lnTo>
                  <a:pt x="50271" y="66146"/>
                </a:lnTo>
                <a:lnTo>
                  <a:pt x="47625" y="60854"/>
                </a:lnTo>
                <a:lnTo>
                  <a:pt x="44979" y="60854"/>
                </a:lnTo>
                <a:lnTo>
                  <a:pt x="39687" y="60854"/>
                </a:lnTo>
                <a:lnTo>
                  <a:pt x="34396" y="60854"/>
                </a:lnTo>
                <a:lnTo>
                  <a:pt x="34396" y="52917"/>
                </a:lnTo>
                <a:lnTo>
                  <a:pt x="31750" y="47625"/>
                </a:lnTo>
                <a:lnTo>
                  <a:pt x="29104" y="44979"/>
                </a:lnTo>
                <a:lnTo>
                  <a:pt x="23812" y="37042"/>
                </a:lnTo>
                <a:lnTo>
                  <a:pt x="15875" y="31750"/>
                </a:lnTo>
                <a:lnTo>
                  <a:pt x="10583" y="23812"/>
                </a:lnTo>
                <a:lnTo>
                  <a:pt x="7937" y="15875"/>
                </a:lnTo>
                <a:lnTo>
                  <a:pt x="2646" y="10583"/>
                </a:lnTo>
                <a:lnTo>
                  <a:pt x="0" y="10583"/>
                </a:lnTo>
                <a:lnTo>
                  <a:pt x="5291" y="2646"/>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38" name="Iraq"/>
          <p:cNvSpPr>
            <a:spLocks/>
          </p:cNvSpPr>
          <p:nvPr/>
        </p:nvSpPr>
        <p:spPr bwMode="auto">
          <a:xfrm>
            <a:off x="5213695" y="1703196"/>
            <a:ext cx="248392" cy="211680"/>
          </a:xfrm>
          <a:custGeom>
            <a:avLst/>
            <a:gdLst/>
            <a:ahLst/>
            <a:cxnLst>
              <a:cxn ang="0">
                <a:pos x="34" y="126"/>
              </a:cxn>
              <a:cxn ang="0">
                <a:pos x="72" y="142"/>
              </a:cxn>
              <a:cxn ang="0">
                <a:pos x="94" y="158"/>
              </a:cxn>
              <a:cxn ang="0">
                <a:pos x="120" y="180"/>
              </a:cxn>
              <a:cxn ang="0">
                <a:pos x="172" y="186"/>
              </a:cxn>
              <a:cxn ang="0">
                <a:pos x="182" y="180"/>
              </a:cxn>
              <a:cxn ang="0">
                <a:pos x="192" y="168"/>
              </a:cxn>
              <a:cxn ang="0">
                <a:pos x="202" y="172"/>
              </a:cxn>
              <a:cxn ang="0">
                <a:pos x="208" y="170"/>
              </a:cxn>
              <a:cxn ang="0">
                <a:pos x="214" y="176"/>
              </a:cxn>
              <a:cxn ang="0">
                <a:pos x="218" y="172"/>
              </a:cxn>
              <a:cxn ang="0">
                <a:pos x="212" y="160"/>
              </a:cxn>
              <a:cxn ang="0">
                <a:pos x="204" y="158"/>
              </a:cxn>
              <a:cxn ang="0">
                <a:pos x="198" y="146"/>
              </a:cxn>
              <a:cxn ang="0">
                <a:pos x="196" y="136"/>
              </a:cxn>
              <a:cxn ang="0">
                <a:pos x="182" y="116"/>
              </a:cxn>
              <a:cxn ang="0">
                <a:pos x="172" y="108"/>
              </a:cxn>
              <a:cxn ang="0">
                <a:pos x="156" y="100"/>
              </a:cxn>
              <a:cxn ang="0">
                <a:pos x="148" y="94"/>
              </a:cxn>
              <a:cxn ang="0">
                <a:pos x="148" y="86"/>
              </a:cxn>
              <a:cxn ang="0">
                <a:pos x="138" y="78"/>
              </a:cxn>
              <a:cxn ang="0">
                <a:pos x="142" y="74"/>
              </a:cxn>
              <a:cxn ang="0">
                <a:pos x="138" y="68"/>
              </a:cxn>
              <a:cxn ang="0">
                <a:pos x="146" y="50"/>
              </a:cxn>
              <a:cxn ang="0">
                <a:pos x="144" y="44"/>
              </a:cxn>
              <a:cxn ang="0">
                <a:pos x="148" y="36"/>
              </a:cxn>
              <a:cxn ang="0">
                <a:pos x="148" y="32"/>
              </a:cxn>
              <a:cxn ang="0">
                <a:pos x="134" y="32"/>
              </a:cxn>
              <a:cxn ang="0">
                <a:pos x="128" y="22"/>
              </a:cxn>
              <a:cxn ang="0">
                <a:pos x="128" y="20"/>
              </a:cxn>
              <a:cxn ang="0">
                <a:pos x="124" y="18"/>
              </a:cxn>
              <a:cxn ang="0">
                <a:pos x="116" y="8"/>
              </a:cxn>
              <a:cxn ang="0">
                <a:pos x="106" y="10"/>
              </a:cxn>
              <a:cxn ang="0">
                <a:pos x="98" y="6"/>
              </a:cxn>
              <a:cxn ang="0">
                <a:pos x="90" y="4"/>
              </a:cxn>
              <a:cxn ang="0">
                <a:pos x="76" y="0"/>
              </a:cxn>
              <a:cxn ang="0">
                <a:pos x="62" y="6"/>
              </a:cxn>
              <a:cxn ang="0">
                <a:pos x="50" y="16"/>
              </a:cxn>
              <a:cxn ang="0">
                <a:pos x="46" y="26"/>
              </a:cxn>
              <a:cxn ang="0">
                <a:pos x="48" y="42"/>
              </a:cxn>
              <a:cxn ang="0">
                <a:pos x="50" y="58"/>
              </a:cxn>
              <a:cxn ang="0">
                <a:pos x="44" y="64"/>
              </a:cxn>
              <a:cxn ang="0">
                <a:pos x="8" y="110"/>
              </a:cxn>
              <a:cxn ang="0">
                <a:pos x="12" y="124"/>
              </a:cxn>
            </a:cxnLst>
            <a:rect l="0" t="0" r="r" b="b"/>
            <a:pathLst>
              <a:path w="218" h="186">
                <a:moveTo>
                  <a:pt x="12" y="124"/>
                </a:moveTo>
                <a:lnTo>
                  <a:pt x="12" y="124"/>
                </a:lnTo>
                <a:lnTo>
                  <a:pt x="34" y="126"/>
                </a:lnTo>
                <a:lnTo>
                  <a:pt x="46" y="128"/>
                </a:lnTo>
                <a:lnTo>
                  <a:pt x="72" y="142"/>
                </a:lnTo>
                <a:lnTo>
                  <a:pt x="72" y="142"/>
                </a:lnTo>
                <a:lnTo>
                  <a:pt x="84" y="146"/>
                </a:lnTo>
                <a:lnTo>
                  <a:pt x="88" y="150"/>
                </a:lnTo>
                <a:lnTo>
                  <a:pt x="94" y="158"/>
                </a:lnTo>
                <a:lnTo>
                  <a:pt x="108" y="170"/>
                </a:lnTo>
                <a:lnTo>
                  <a:pt x="108" y="170"/>
                </a:lnTo>
                <a:lnTo>
                  <a:pt x="120" y="180"/>
                </a:lnTo>
                <a:lnTo>
                  <a:pt x="132" y="184"/>
                </a:lnTo>
                <a:lnTo>
                  <a:pt x="148" y="186"/>
                </a:lnTo>
                <a:lnTo>
                  <a:pt x="172" y="186"/>
                </a:lnTo>
                <a:lnTo>
                  <a:pt x="172" y="186"/>
                </a:lnTo>
                <a:lnTo>
                  <a:pt x="178" y="184"/>
                </a:lnTo>
                <a:lnTo>
                  <a:pt x="182" y="180"/>
                </a:lnTo>
                <a:lnTo>
                  <a:pt x="186" y="172"/>
                </a:lnTo>
                <a:lnTo>
                  <a:pt x="188" y="170"/>
                </a:lnTo>
                <a:lnTo>
                  <a:pt x="192" y="168"/>
                </a:lnTo>
                <a:lnTo>
                  <a:pt x="196" y="170"/>
                </a:lnTo>
                <a:lnTo>
                  <a:pt x="202" y="172"/>
                </a:lnTo>
                <a:lnTo>
                  <a:pt x="202" y="172"/>
                </a:lnTo>
                <a:lnTo>
                  <a:pt x="204" y="168"/>
                </a:lnTo>
                <a:lnTo>
                  <a:pt x="206" y="168"/>
                </a:lnTo>
                <a:lnTo>
                  <a:pt x="208" y="170"/>
                </a:lnTo>
                <a:lnTo>
                  <a:pt x="208" y="170"/>
                </a:lnTo>
                <a:lnTo>
                  <a:pt x="212" y="176"/>
                </a:lnTo>
                <a:lnTo>
                  <a:pt x="214" y="176"/>
                </a:lnTo>
                <a:lnTo>
                  <a:pt x="214" y="174"/>
                </a:lnTo>
                <a:lnTo>
                  <a:pt x="218" y="172"/>
                </a:lnTo>
                <a:lnTo>
                  <a:pt x="218" y="172"/>
                </a:lnTo>
                <a:lnTo>
                  <a:pt x="214" y="166"/>
                </a:lnTo>
                <a:lnTo>
                  <a:pt x="212" y="162"/>
                </a:lnTo>
                <a:lnTo>
                  <a:pt x="212" y="160"/>
                </a:lnTo>
                <a:lnTo>
                  <a:pt x="208" y="158"/>
                </a:lnTo>
                <a:lnTo>
                  <a:pt x="208" y="158"/>
                </a:lnTo>
                <a:lnTo>
                  <a:pt x="204" y="158"/>
                </a:lnTo>
                <a:lnTo>
                  <a:pt x="202" y="154"/>
                </a:lnTo>
                <a:lnTo>
                  <a:pt x="200" y="150"/>
                </a:lnTo>
                <a:lnTo>
                  <a:pt x="198" y="146"/>
                </a:lnTo>
                <a:lnTo>
                  <a:pt x="198" y="146"/>
                </a:lnTo>
                <a:lnTo>
                  <a:pt x="198" y="142"/>
                </a:lnTo>
                <a:lnTo>
                  <a:pt x="196" y="136"/>
                </a:lnTo>
                <a:lnTo>
                  <a:pt x="188" y="120"/>
                </a:lnTo>
                <a:lnTo>
                  <a:pt x="188" y="120"/>
                </a:lnTo>
                <a:lnTo>
                  <a:pt x="182" y="116"/>
                </a:lnTo>
                <a:lnTo>
                  <a:pt x="180" y="114"/>
                </a:lnTo>
                <a:lnTo>
                  <a:pt x="178" y="112"/>
                </a:lnTo>
                <a:lnTo>
                  <a:pt x="172" y="108"/>
                </a:lnTo>
                <a:lnTo>
                  <a:pt x="172" y="108"/>
                </a:lnTo>
                <a:lnTo>
                  <a:pt x="164" y="102"/>
                </a:lnTo>
                <a:lnTo>
                  <a:pt x="156" y="100"/>
                </a:lnTo>
                <a:lnTo>
                  <a:pt x="150" y="98"/>
                </a:lnTo>
                <a:lnTo>
                  <a:pt x="148" y="96"/>
                </a:lnTo>
                <a:lnTo>
                  <a:pt x="148" y="94"/>
                </a:lnTo>
                <a:lnTo>
                  <a:pt x="148" y="94"/>
                </a:lnTo>
                <a:lnTo>
                  <a:pt x="148" y="90"/>
                </a:lnTo>
                <a:lnTo>
                  <a:pt x="148" y="86"/>
                </a:lnTo>
                <a:lnTo>
                  <a:pt x="142" y="82"/>
                </a:lnTo>
                <a:lnTo>
                  <a:pt x="138" y="80"/>
                </a:lnTo>
                <a:lnTo>
                  <a:pt x="138" y="78"/>
                </a:lnTo>
                <a:lnTo>
                  <a:pt x="140" y="76"/>
                </a:lnTo>
                <a:lnTo>
                  <a:pt x="140" y="76"/>
                </a:lnTo>
                <a:lnTo>
                  <a:pt x="142" y="74"/>
                </a:lnTo>
                <a:lnTo>
                  <a:pt x="140" y="74"/>
                </a:lnTo>
                <a:lnTo>
                  <a:pt x="138" y="72"/>
                </a:lnTo>
                <a:lnTo>
                  <a:pt x="138" y="68"/>
                </a:lnTo>
                <a:lnTo>
                  <a:pt x="138" y="68"/>
                </a:lnTo>
                <a:lnTo>
                  <a:pt x="144" y="56"/>
                </a:lnTo>
                <a:lnTo>
                  <a:pt x="146" y="50"/>
                </a:lnTo>
                <a:lnTo>
                  <a:pt x="144" y="48"/>
                </a:lnTo>
                <a:lnTo>
                  <a:pt x="144" y="48"/>
                </a:lnTo>
                <a:lnTo>
                  <a:pt x="144" y="44"/>
                </a:lnTo>
                <a:lnTo>
                  <a:pt x="146" y="42"/>
                </a:lnTo>
                <a:lnTo>
                  <a:pt x="146" y="40"/>
                </a:lnTo>
                <a:lnTo>
                  <a:pt x="148" y="36"/>
                </a:lnTo>
                <a:lnTo>
                  <a:pt x="148" y="36"/>
                </a:lnTo>
                <a:lnTo>
                  <a:pt x="148" y="32"/>
                </a:lnTo>
                <a:lnTo>
                  <a:pt x="148" y="32"/>
                </a:lnTo>
                <a:lnTo>
                  <a:pt x="140" y="34"/>
                </a:lnTo>
                <a:lnTo>
                  <a:pt x="140" y="34"/>
                </a:lnTo>
                <a:lnTo>
                  <a:pt x="134" y="32"/>
                </a:lnTo>
                <a:lnTo>
                  <a:pt x="132" y="28"/>
                </a:lnTo>
                <a:lnTo>
                  <a:pt x="130" y="26"/>
                </a:lnTo>
                <a:lnTo>
                  <a:pt x="128" y="22"/>
                </a:lnTo>
                <a:lnTo>
                  <a:pt x="128" y="22"/>
                </a:lnTo>
                <a:lnTo>
                  <a:pt x="126" y="22"/>
                </a:lnTo>
                <a:lnTo>
                  <a:pt x="128" y="20"/>
                </a:lnTo>
                <a:lnTo>
                  <a:pt x="128" y="20"/>
                </a:lnTo>
                <a:lnTo>
                  <a:pt x="124" y="18"/>
                </a:lnTo>
                <a:lnTo>
                  <a:pt x="124" y="18"/>
                </a:lnTo>
                <a:lnTo>
                  <a:pt x="122" y="14"/>
                </a:lnTo>
                <a:lnTo>
                  <a:pt x="120" y="10"/>
                </a:lnTo>
                <a:lnTo>
                  <a:pt x="116" y="8"/>
                </a:lnTo>
                <a:lnTo>
                  <a:pt x="116" y="8"/>
                </a:lnTo>
                <a:lnTo>
                  <a:pt x="108" y="12"/>
                </a:lnTo>
                <a:lnTo>
                  <a:pt x="106" y="10"/>
                </a:lnTo>
                <a:lnTo>
                  <a:pt x="104" y="6"/>
                </a:lnTo>
                <a:lnTo>
                  <a:pt x="102" y="6"/>
                </a:lnTo>
                <a:lnTo>
                  <a:pt x="98" y="6"/>
                </a:lnTo>
                <a:lnTo>
                  <a:pt x="98" y="6"/>
                </a:lnTo>
                <a:lnTo>
                  <a:pt x="94" y="4"/>
                </a:lnTo>
                <a:lnTo>
                  <a:pt x="90" y="4"/>
                </a:lnTo>
                <a:lnTo>
                  <a:pt x="86" y="2"/>
                </a:lnTo>
                <a:lnTo>
                  <a:pt x="76" y="0"/>
                </a:lnTo>
                <a:lnTo>
                  <a:pt x="76" y="0"/>
                </a:lnTo>
                <a:lnTo>
                  <a:pt x="70" y="0"/>
                </a:lnTo>
                <a:lnTo>
                  <a:pt x="66" y="2"/>
                </a:lnTo>
                <a:lnTo>
                  <a:pt x="62" y="6"/>
                </a:lnTo>
                <a:lnTo>
                  <a:pt x="62" y="6"/>
                </a:lnTo>
                <a:lnTo>
                  <a:pt x="56" y="12"/>
                </a:lnTo>
                <a:lnTo>
                  <a:pt x="50" y="16"/>
                </a:lnTo>
                <a:lnTo>
                  <a:pt x="50" y="16"/>
                </a:lnTo>
                <a:lnTo>
                  <a:pt x="46" y="22"/>
                </a:lnTo>
                <a:lnTo>
                  <a:pt x="46" y="26"/>
                </a:lnTo>
                <a:lnTo>
                  <a:pt x="48" y="32"/>
                </a:lnTo>
                <a:lnTo>
                  <a:pt x="50" y="36"/>
                </a:lnTo>
                <a:lnTo>
                  <a:pt x="48" y="42"/>
                </a:lnTo>
                <a:lnTo>
                  <a:pt x="48" y="42"/>
                </a:lnTo>
                <a:lnTo>
                  <a:pt x="48" y="52"/>
                </a:lnTo>
                <a:lnTo>
                  <a:pt x="50" y="58"/>
                </a:lnTo>
                <a:lnTo>
                  <a:pt x="50" y="60"/>
                </a:lnTo>
                <a:lnTo>
                  <a:pt x="44" y="64"/>
                </a:lnTo>
                <a:lnTo>
                  <a:pt x="44" y="64"/>
                </a:lnTo>
                <a:lnTo>
                  <a:pt x="0" y="92"/>
                </a:lnTo>
                <a:lnTo>
                  <a:pt x="0" y="92"/>
                </a:lnTo>
                <a:lnTo>
                  <a:pt x="8" y="110"/>
                </a:lnTo>
                <a:lnTo>
                  <a:pt x="10" y="118"/>
                </a:lnTo>
                <a:lnTo>
                  <a:pt x="12" y="124"/>
                </a:lnTo>
                <a:lnTo>
                  <a:pt x="12" y="124"/>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39" name="Ireland"/>
          <p:cNvSpPr>
            <a:spLocks/>
          </p:cNvSpPr>
          <p:nvPr/>
        </p:nvSpPr>
        <p:spPr bwMode="auto">
          <a:xfrm>
            <a:off x="4138089" y="1291218"/>
            <a:ext cx="86596" cy="79664"/>
          </a:xfrm>
          <a:custGeom>
            <a:avLst/>
            <a:gdLst/>
            <a:ahLst/>
            <a:cxnLst>
              <a:cxn ang="0">
                <a:pos x="66" y="2"/>
              </a:cxn>
              <a:cxn ang="0">
                <a:pos x="58" y="2"/>
              </a:cxn>
              <a:cxn ang="0">
                <a:pos x="56" y="4"/>
              </a:cxn>
              <a:cxn ang="0">
                <a:pos x="50" y="2"/>
              </a:cxn>
              <a:cxn ang="0">
                <a:pos x="44" y="4"/>
              </a:cxn>
              <a:cxn ang="0">
                <a:pos x="42" y="8"/>
              </a:cxn>
              <a:cxn ang="0">
                <a:pos x="36" y="10"/>
              </a:cxn>
              <a:cxn ang="0">
                <a:pos x="44" y="14"/>
              </a:cxn>
              <a:cxn ang="0">
                <a:pos x="42" y="16"/>
              </a:cxn>
              <a:cxn ang="0">
                <a:pos x="38" y="20"/>
              </a:cxn>
              <a:cxn ang="0">
                <a:pos x="32" y="18"/>
              </a:cxn>
              <a:cxn ang="0">
                <a:pos x="20" y="18"/>
              </a:cxn>
              <a:cxn ang="0">
                <a:pos x="16" y="20"/>
              </a:cxn>
              <a:cxn ang="0">
                <a:pos x="14" y="22"/>
              </a:cxn>
              <a:cxn ang="0">
                <a:pos x="14" y="24"/>
              </a:cxn>
              <a:cxn ang="0">
                <a:pos x="18" y="28"/>
              </a:cxn>
              <a:cxn ang="0">
                <a:pos x="16" y="30"/>
              </a:cxn>
              <a:cxn ang="0">
                <a:pos x="12" y="32"/>
              </a:cxn>
              <a:cxn ang="0">
                <a:pos x="10" y="34"/>
              </a:cxn>
              <a:cxn ang="0">
                <a:pos x="14" y="36"/>
              </a:cxn>
              <a:cxn ang="0">
                <a:pos x="20" y="38"/>
              </a:cxn>
              <a:cxn ang="0">
                <a:pos x="28" y="38"/>
              </a:cxn>
              <a:cxn ang="0">
                <a:pos x="22" y="42"/>
              </a:cxn>
              <a:cxn ang="0">
                <a:pos x="20" y="46"/>
              </a:cxn>
              <a:cxn ang="0">
                <a:pos x="14" y="48"/>
              </a:cxn>
              <a:cxn ang="0">
                <a:pos x="20" y="50"/>
              </a:cxn>
              <a:cxn ang="0">
                <a:pos x="28" y="46"/>
              </a:cxn>
              <a:cxn ang="0">
                <a:pos x="32" y="48"/>
              </a:cxn>
              <a:cxn ang="0">
                <a:pos x="14" y="52"/>
              </a:cxn>
              <a:cxn ang="0">
                <a:pos x="14" y="56"/>
              </a:cxn>
              <a:cxn ang="0">
                <a:pos x="8" y="56"/>
              </a:cxn>
              <a:cxn ang="0">
                <a:pos x="2" y="58"/>
              </a:cxn>
              <a:cxn ang="0">
                <a:pos x="14" y="58"/>
              </a:cxn>
              <a:cxn ang="0">
                <a:pos x="0" y="62"/>
              </a:cxn>
              <a:cxn ang="0">
                <a:pos x="6" y="64"/>
              </a:cxn>
              <a:cxn ang="0">
                <a:pos x="6" y="66"/>
              </a:cxn>
              <a:cxn ang="0">
                <a:pos x="10" y="66"/>
              </a:cxn>
              <a:cxn ang="0">
                <a:pos x="12" y="68"/>
              </a:cxn>
              <a:cxn ang="0">
                <a:pos x="12" y="70"/>
              </a:cxn>
              <a:cxn ang="0">
                <a:pos x="26" y="68"/>
              </a:cxn>
              <a:cxn ang="0">
                <a:pos x="36" y="66"/>
              </a:cxn>
              <a:cxn ang="0">
                <a:pos x="42" y="64"/>
              </a:cxn>
              <a:cxn ang="0">
                <a:pos x="48" y="60"/>
              </a:cxn>
              <a:cxn ang="0">
                <a:pos x="58" y="60"/>
              </a:cxn>
              <a:cxn ang="0">
                <a:pos x="60" y="60"/>
              </a:cxn>
              <a:cxn ang="0">
                <a:pos x="68" y="60"/>
              </a:cxn>
              <a:cxn ang="0">
                <a:pos x="70" y="56"/>
              </a:cxn>
              <a:cxn ang="0">
                <a:pos x="76" y="50"/>
              </a:cxn>
              <a:cxn ang="0">
                <a:pos x="76" y="44"/>
              </a:cxn>
              <a:cxn ang="0">
                <a:pos x="74" y="38"/>
              </a:cxn>
              <a:cxn ang="0">
                <a:pos x="76" y="34"/>
              </a:cxn>
              <a:cxn ang="0">
                <a:pos x="74" y="30"/>
              </a:cxn>
              <a:cxn ang="0">
                <a:pos x="74" y="26"/>
              </a:cxn>
              <a:cxn ang="0">
                <a:pos x="72" y="24"/>
              </a:cxn>
              <a:cxn ang="0">
                <a:pos x="66" y="20"/>
              </a:cxn>
              <a:cxn ang="0">
                <a:pos x="58" y="20"/>
              </a:cxn>
              <a:cxn ang="0">
                <a:pos x="52" y="12"/>
              </a:cxn>
              <a:cxn ang="0">
                <a:pos x="56" y="8"/>
              </a:cxn>
            </a:cxnLst>
            <a:rect l="0" t="0" r="r" b="b"/>
            <a:pathLst>
              <a:path w="76" h="70">
                <a:moveTo>
                  <a:pt x="60" y="6"/>
                </a:moveTo>
                <a:lnTo>
                  <a:pt x="60" y="6"/>
                </a:lnTo>
                <a:lnTo>
                  <a:pt x="64" y="4"/>
                </a:lnTo>
                <a:lnTo>
                  <a:pt x="64" y="4"/>
                </a:lnTo>
                <a:lnTo>
                  <a:pt x="66" y="2"/>
                </a:lnTo>
                <a:lnTo>
                  <a:pt x="62" y="0"/>
                </a:lnTo>
                <a:lnTo>
                  <a:pt x="62" y="0"/>
                </a:lnTo>
                <a:lnTo>
                  <a:pt x="60" y="0"/>
                </a:lnTo>
                <a:lnTo>
                  <a:pt x="58" y="2"/>
                </a:lnTo>
                <a:lnTo>
                  <a:pt x="58" y="2"/>
                </a:lnTo>
                <a:lnTo>
                  <a:pt x="58" y="2"/>
                </a:lnTo>
                <a:lnTo>
                  <a:pt x="58" y="4"/>
                </a:lnTo>
                <a:lnTo>
                  <a:pt x="56" y="6"/>
                </a:lnTo>
                <a:lnTo>
                  <a:pt x="56" y="6"/>
                </a:lnTo>
                <a:lnTo>
                  <a:pt x="56" y="4"/>
                </a:lnTo>
                <a:lnTo>
                  <a:pt x="54" y="2"/>
                </a:lnTo>
                <a:lnTo>
                  <a:pt x="54" y="2"/>
                </a:lnTo>
                <a:lnTo>
                  <a:pt x="52" y="2"/>
                </a:lnTo>
                <a:lnTo>
                  <a:pt x="50" y="2"/>
                </a:lnTo>
                <a:lnTo>
                  <a:pt x="50" y="2"/>
                </a:lnTo>
                <a:lnTo>
                  <a:pt x="48" y="2"/>
                </a:lnTo>
                <a:lnTo>
                  <a:pt x="46" y="2"/>
                </a:lnTo>
                <a:lnTo>
                  <a:pt x="46" y="2"/>
                </a:lnTo>
                <a:lnTo>
                  <a:pt x="44" y="2"/>
                </a:lnTo>
                <a:lnTo>
                  <a:pt x="44" y="4"/>
                </a:lnTo>
                <a:lnTo>
                  <a:pt x="42" y="6"/>
                </a:lnTo>
                <a:lnTo>
                  <a:pt x="42" y="6"/>
                </a:lnTo>
                <a:lnTo>
                  <a:pt x="40" y="6"/>
                </a:lnTo>
                <a:lnTo>
                  <a:pt x="42" y="8"/>
                </a:lnTo>
                <a:lnTo>
                  <a:pt x="42" y="8"/>
                </a:lnTo>
                <a:lnTo>
                  <a:pt x="40" y="8"/>
                </a:lnTo>
                <a:lnTo>
                  <a:pt x="40" y="8"/>
                </a:lnTo>
                <a:lnTo>
                  <a:pt x="38" y="10"/>
                </a:lnTo>
                <a:lnTo>
                  <a:pt x="36" y="10"/>
                </a:lnTo>
                <a:lnTo>
                  <a:pt x="36" y="10"/>
                </a:lnTo>
                <a:lnTo>
                  <a:pt x="34" y="12"/>
                </a:lnTo>
                <a:lnTo>
                  <a:pt x="36" y="12"/>
                </a:lnTo>
                <a:lnTo>
                  <a:pt x="36" y="12"/>
                </a:lnTo>
                <a:lnTo>
                  <a:pt x="40" y="14"/>
                </a:lnTo>
                <a:lnTo>
                  <a:pt x="44" y="14"/>
                </a:lnTo>
                <a:lnTo>
                  <a:pt x="44" y="14"/>
                </a:lnTo>
                <a:lnTo>
                  <a:pt x="44" y="14"/>
                </a:lnTo>
                <a:lnTo>
                  <a:pt x="42" y="16"/>
                </a:lnTo>
                <a:lnTo>
                  <a:pt x="42" y="16"/>
                </a:lnTo>
                <a:lnTo>
                  <a:pt x="42" y="16"/>
                </a:lnTo>
                <a:lnTo>
                  <a:pt x="38" y="18"/>
                </a:lnTo>
                <a:lnTo>
                  <a:pt x="38" y="18"/>
                </a:lnTo>
                <a:lnTo>
                  <a:pt x="36" y="18"/>
                </a:lnTo>
                <a:lnTo>
                  <a:pt x="38" y="20"/>
                </a:lnTo>
                <a:lnTo>
                  <a:pt x="38" y="20"/>
                </a:lnTo>
                <a:lnTo>
                  <a:pt x="38" y="20"/>
                </a:lnTo>
                <a:lnTo>
                  <a:pt x="38" y="20"/>
                </a:lnTo>
                <a:lnTo>
                  <a:pt x="36" y="20"/>
                </a:lnTo>
                <a:lnTo>
                  <a:pt x="32" y="18"/>
                </a:lnTo>
                <a:lnTo>
                  <a:pt x="32" y="18"/>
                </a:lnTo>
                <a:lnTo>
                  <a:pt x="30" y="20"/>
                </a:lnTo>
                <a:lnTo>
                  <a:pt x="28" y="20"/>
                </a:lnTo>
                <a:lnTo>
                  <a:pt x="28" y="18"/>
                </a:lnTo>
                <a:lnTo>
                  <a:pt x="28" y="18"/>
                </a:lnTo>
                <a:lnTo>
                  <a:pt x="20" y="18"/>
                </a:lnTo>
                <a:lnTo>
                  <a:pt x="20" y="18"/>
                </a:lnTo>
                <a:lnTo>
                  <a:pt x="16" y="18"/>
                </a:lnTo>
                <a:lnTo>
                  <a:pt x="16" y="18"/>
                </a:lnTo>
                <a:lnTo>
                  <a:pt x="14" y="20"/>
                </a:lnTo>
                <a:lnTo>
                  <a:pt x="16" y="20"/>
                </a:lnTo>
                <a:lnTo>
                  <a:pt x="16" y="20"/>
                </a:lnTo>
                <a:lnTo>
                  <a:pt x="16" y="20"/>
                </a:lnTo>
                <a:lnTo>
                  <a:pt x="16" y="24"/>
                </a:lnTo>
                <a:lnTo>
                  <a:pt x="16" y="24"/>
                </a:lnTo>
                <a:lnTo>
                  <a:pt x="14" y="22"/>
                </a:lnTo>
                <a:lnTo>
                  <a:pt x="12" y="24"/>
                </a:lnTo>
                <a:lnTo>
                  <a:pt x="12" y="24"/>
                </a:lnTo>
                <a:lnTo>
                  <a:pt x="12" y="24"/>
                </a:lnTo>
                <a:lnTo>
                  <a:pt x="14" y="24"/>
                </a:lnTo>
                <a:lnTo>
                  <a:pt x="14" y="24"/>
                </a:lnTo>
                <a:lnTo>
                  <a:pt x="16" y="26"/>
                </a:lnTo>
                <a:lnTo>
                  <a:pt x="18" y="26"/>
                </a:lnTo>
                <a:lnTo>
                  <a:pt x="18" y="26"/>
                </a:lnTo>
                <a:lnTo>
                  <a:pt x="20" y="26"/>
                </a:lnTo>
                <a:lnTo>
                  <a:pt x="18" y="28"/>
                </a:lnTo>
                <a:lnTo>
                  <a:pt x="18" y="28"/>
                </a:lnTo>
                <a:lnTo>
                  <a:pt x="14" y="28"/>
                </a:lnTo>
                <a:lnTo>
                  <a:pt x="16" y="30"/>
                </a:lnTo>
                <a:lnTo>
                  <a:pt x="16" y="30"/>
                </a:lnTo>
                <a:lnTo>
                  <a:pt x="16" y="30"/>
                </a:lnTo>
                <a:lnTo>
                  <a:pt x="16" y="32"/>
                </a:lnTo>
                <a:lnTo>
                  <a:pt x="12" y="30"/>
                </a:lnTo>
                <a:lnTo>
                  <a:pt x="12" y="30"/>
                </a:lnTo>
                <a:lnTo>
                  <a:pt x="10" y="32"/>
                </a:lnTo>
                <a:lnTo>
                  <a:pt x="12" y="32"/>
                </a:lnTo>
                <a:lnTo>
                  <a:pt x="12" y="32"/>
                </a:lnTo>
                <a:lnTo>
                  <a:pt x="10" y="34"/>
                </a:lnTo>
                <a:lnTo>
                  <a:pt x="10" y="34"/>
                </a:lnTo>
                <a:lnTo>
                  <a:pt x="10" y="34"/>
                </a:lnTo>
                <a:lnTo>
                  <a:pt x="10" y="34"/>
                </a:lnTo>
                <a:lnTo>
                  <a:pt x="14" y="34"/>
                </a:lnTo>
                <a:lnTo>
                  <a:pt x="14" y="34"/>
                </a:lnTo>
                <a:lnTo>
                  <a:pt x="16" y="34"/>
                </a:lnTo>
                <a:lnTo>
                  <a:pt x="14" y="36"/>
                </a:lnTo>
                <a:lnTo>
                  <a:pt x="14" y="36"/>
                </a:lnTo>
                <a:lnTo>
                  <a:pt x="14" y="36"/>
                </a:lnTo>
                <a:lnTo>
                  <a:pt x="18" y="36"/>
                </a:lnTo>
                <a:lnTo>
                  <a:pt x="18" y="36"/>
                </a:lnTo>
                <a:lnTo>
                  <a:pt x="20" y="36"/>
                </a:lnTo>
                <a:lnTo>
                  <a:pt x="20" y="38"/>
                </a:lnTo>
                <a:lnTo>
                  <a:pt x="20" y="38"/>
                </a:lnTo>
                <a:lnTo>
                  <a:pt x="20" y="38"/>
                </a:lnTo>
                <a:lnTo>
                  <a:pt x="22" y="38"/>
                </a:lnTo>
                <a:lnTo>
                  <a:pt x="28" y="38"/>
                </a:lnTo>
                <a:lnTo>
                  <a:pt x="28" y="38"/>
                </a:lnTo>
                <a:lnTo>
                  <a:pt x="30" y="38"/>
                </a:lnTo>
                <a:lnTo>
                  <a:pt x="26" y="40"/>
                </a:lnTo>
                <a:lnTo>
                  <a:pt x="26" y="40"/>
                </a:lnTo>
                <a:lnTo>
                  <a:pt x="24" y="40"/>
                </a:lnTo>
                <a:lnTo>
                  <a:pt x="22" y="42"/>
                </a:lnTo>
                <a:lnTo>
                  <a:pt x="22" y="42"/>
                </a:lnTo>
                <a:lnTo>
                  <a:pt x="20" y="44"/>
                </a:lnTo>
                <a:lnTo>
                  <a:pt x="22" y="44"/>
                </a:lnTo>
                <a:lnTo>
                  <a:pt x="22" y="44"/>
                </a:lnTo>
                <a:lnTo>
                  <a:pt x="20" y="46"/>
                </a:lnTo>
                <a:lnTo>
                  <a:pt x="18" y="46"/>
                </a:lnTo>
                <a:lnTo>
                  <a:pt x="18" y="46"/>
                </a:lnTo>
                <a:lnTo>
                  <a:pt x="18" y="46"/>
                </a:lnTo>
                <a:lnTo>
                  <a:pt x="14" y="48"/>
                </a:lnTo>
                <a:lnTo>
                  <a:pt x="14" y="48"/>
                </a:lnTo>
                <a:lnTo>
                  <a:pt x="12" y="50"/>
                </a:lnTo>
                <a:lnTo>
                  <a:pt x="14" y="50"/>
                </a:lnTo>
                <a:lnTo>
                  <a:pt x="14" y="50"/>
                </a:lnTo>
                <a:lnTo>
                  <a:pt x="18" y="50"/>
                </a:lnTo>
                <a:lnTo>
                  <a:pt x="20" y="50"/>
                </a:lnTo>
                <a:lnTo>
                  <a:pt x="20" y="50"/>
                </a:lnTo>
                <a:lnTo>
                  <a:pt x="24" y="50"/>
                </a:lnTo>
                <a:lnTo>
                  <a:pt x="28" y="48"/>
                </a:lnTo>
                <a:lnTo>
                  <a:pt x="28" y="48"/>
                </a:lnTo>
                <a:lnTo>
                  <a:pt x="28" y="46"/>
                </a:lnTo>
                <a:lnTo>
                  <a:pt x="28" y="48"/>
                </a:lnTo>
                <a:lnTo>
                  <a:pt x="28" y="48"/>
                </a:lnTo>
                <a:lnTo>
                  <a:pt x="28" y="48"/>
                </a:lnTo>
                <a:lnTo>
                  <a:pt x="32" y="48"/>
                </a:lnTo>
                <a:lnTo>
                  <a:pt x="32" y="48"/>
                </a:lnTo>
                <a:lnTo>
                  <a:pt x="18" y="50"/>
                </a:lnTo>
                <a:lnTo>
                  <a:pt x="18" y="50"/>
                </a:lnTo>
                <a:lnTo>
                  <a:pt x="16" y="50"/>
                </a:lnTo>
                <a:lnTo>
                  <a:pt x="14" y="52"/>
                </a:lnTo>
                <a:lnTo>
                  <a:pt x="14" y="52"/>
                </a:lnTo>
                <a:lnTo>
                  <a:pt x="12" y="54"/>
                </a:lnTo>
                <a:lnTo>
                  <a:pt x="12" y="54"/>
                </a:lnTo>
                <a:lnTo>
                  <a:pt x="12" y="54"/>
                </a:lnTo>
                <a:lnTo>
                  <a:pt x="12" y="54"/>
                </a:lnTo>
                <a:lnTo>
                  <a:pt x="14" y="56"/>
                </a:lnTo>
                <a:lnTo>
                  <a:pt x="14" y="56"/>
                </a:lnTo>
                <a:lnTo>
                  <a:pt x="12" y="56"/>
                </a:lnTo>
                <a:lnTo>
                  <a:pt x="10" y="56"/>
                </a:lnTo>
                <a:lnTo>
                  <a:pt x="10" y="56"/>
                </a:lnTo>
                <a:lnTo>
                  <a:pt x="8" y="56"/>
                </a:lnTo>
                <a:lnTo>
                  <a:pt x="4" y="56"/>
                </a:lnTo>
                <a:lnTo>
                  <a:pt x="4" y="56"/>
                </a:lnTo>
                <a:lnTo>
                  <a:pt x="0" y="58"/>
                </a:lnTo>
                <a:lnTo>
                  <a:pt x="0" y="58"/>
                </a:lnTo>
                <a:lnTo>
                  <a:pt x="2" y="58"/>
                </a:lnTo>
                <a:lnTo>
                  <a:pt x="2" y="58"/>
                </a:lnTo>
                <a:lnTo>
                  <a:pt x="6" y="58"/>
                </a:lnTo>
                <a:lnTo>
                  <a:pt x="6" y="58"/>
                </a:lnTo>
                <a:lnTo>
                  <a:pt x="14" y="58"/>
                </a:lnTo>
                <a:lnTo>
                  <a:pt x="14" y="58"/>
                </a:lnTo>
                <a:lnTo>
                  <a:pt x="10" y="58"/>
                </a:lnTo>
                <a:lnTo>
                  <a:pt x="10" y="58"/>
                </a:lnTo>
                <a:lnTo>
                  <a:pt x="2" y="62"/>
                </a:lnTo>
                <a:lnTo>
                  <a:pt x="2" y="62"/>
                </a:lnTo>
                <a:lnTo>
                  <a:pt x="0" y="62"/>
                </a:lnTo>
                <a:lnTo>
                  <a:pt x="0" y="64"/>
                </a:lnTo>
                <a:lnTo>
                  <a:pt x="4" y="64"/>
                </a:lnTo>
                <a:lnTo>
                  <a:pt x="4" y="64"/>
                </a:lnTo>
                <a:lnTo>
                  <a:pt x="6" y="64"/>
                </a:lnTo>
                <a:lnTo>
                  <a:pt x="6" y="64"/>
                </a:lnTo>
                <a:lnTo>
                  <a:pt x="8" y="64"/>
                </a:lnTo>
                <a:lnTo>
                  <a:pt x="8" y="64"/>
                </a:lnTo>
                <a:lnTo>
                  <a:pt x="16" y="62"/>
                </a:lnTo>
                <a:lnTo>
                  <a:pt x="16" y="62"/>
                </a:lnTo>
                <a:lnTo>
                  <a:pt x="6" y="66"/>
                </a:lnTo>
                <a:lnTo>
                  <a:pt x="6" y="66"/>
                </a:lnTo>
                <a:lnTo>
                  <a:pt x="6" y="66"/>
                </a:lnTo>
                <a:lnTo>
                  <a:pt x="6" y="68"/>
                </a:lnTo>
                <a:lnTo>
                  <a:pt x="10" y="66"/>
                </a:lnTo>
                <a:lnTo>
                  <a:pt x="10" y="66"/>
                </a:lnTo>
                <a:lnTo>
                  <a:pt x="12" y="66"/>
                </a:lnTo>
                <a:lnTo>
                  <a:pt x="16" y="66"/>
                </a:lnTo>
                <a:lnTo>
                  <a:pt x="16" y="66"/>
                </a:lnTo>
                <a:lnTo>
                  <a:pt x="14" y="68"/>
                </a:lnTo>
                <a:lnTo>
                  <a:pt x="12" y="68"/>
                </a:lnTo>
                <a:lnTo>
                  <a:pt x="12" y="68"/>
                </a:lnTo>
                <a:lnTo>
                  <a:pt x="10" y="70"/>
                </a:lnTo>
                <a:lnTo>
                  <a:pt x="10" y="70"/>
                </a:lnTo>
                <a:lnTo>
                  <a:pt x="12" y="70"/>
                </a:lnTo>
                <a:lnTo>
                  <a:pt x="12" y="70"/>
                </a:lnTo>
                <a:lnTo>
                  <a:pt x="16" y="70"/>
                </a:lnTo>
                <a:lnTo>
                  <a:pt x="18" y="70"/>
                </a:lnTo>
                <a:lnTo>
                  <a:pt x="18" y="70"/>
                </a:lnTo>
                <a:lnTo>
                  <a:pt x="22" y="70"/>
                </a:lnTo>
                <a:lnTo>
                  <a:pt x="26" y="68"/>
                </a:lnTo>
                <a:lnTo>
                  <a:pt x="26" y="68"/>
                </a:lnTo>
                <a:lnTo>
                  <a:pt x="30" y="68"/>
                </a:lnTo>
                <a:lnTo>
                  <a:pt x="32" y="68"/>
                </a:lnTo>
                <a:lnTo>
                  <a:pt x="32" y="68"/>
                </a:lnTo>
                <a:lnTo>
                  <a:pt x="36" y="66"/>
                </a:lnTo>
                <a:lnTo>
                  <a:pt x="38" y="66"/>
                </a:lnTo>
                <a:lnTo>
                  <a:pt x="38" y="66"/>
                </a:lnTo>
                <a:lnTo>
                  <a:pt x="40" y="64"/>
                </a:lnTo>
                <a:lnTo>
                  <a:pt x="42" y="64"/>
                </a:lnTo>
                <a:lnTo>
                  <a:pt x="42" y="64"/>
                </a:lnTo>
                <a:lnTo>
                  <a:pt x="44" y="62"/>
                </a:lnTo>
                <a:lnTo>
                  <a:pt x="44" y="62"/>
                </a:lnTo>
                <a:lnTo>
                  <a:pt x="46" y="62"/>
                </a:lnTo>
                <a:lnTo>
                  <a:pt x="48" y="60"/>
                </a:lnTo>
                <a:lnTo>
                  <a:pt x="48" y="60"/>
                </a:lnTo>
                <a:lnTo>
                  <a:pt x="50" y="60"/>
                </a:lnTo>
                <a:lnTo>
                  <a:pt x="52" y="60"/>
                </a:lnTo>
                <a:lnTo>
                  <a:pt x="52" y="60"/>
                </a:lnTo>
                <a:lnTo>
                  <a:pt x="58" y="60"/>
                </a:lnTo>
                <a:lnTo>
                  <a:pt x="58" y="60"/>
                </a:lnTo>
                <a:lnTo>
                  <a:pt x="60" y="54"/>
                </a:lnTo>
                <a:lnTo>
                  <a:pt x="60" y="54"/>
                </a:lnTo>
                <a:lnTo>
                  <a:pt x="60" y="60"/>
                </a:lnTo>
                <a:lnTo>
                  <a:pt x="60" y="60"/>
                </a:lnTo>
                <a:lnTo>
                  <a:pt x="60" y="60"/>
                </a:lnTo>
                <a:lnTo>
                  <a:pt x="62" y="60"/>
                </a:lnTo>
                <a:lnTo>
                  <a:pt x="64" y="58"/>
                </a:lnTo>
                <a:lnTo>
                  <a:pt x="64" y="58"/>
                </a:lnTo>
                <a:lnTo>
                  <a:pt x="64" y="58"/>
                </a:lnTo>
                <a:lnTo>
                  <a:pt x="68" y="60"/>
                </a:lnTo>
                <a:lnTo>
                  <a:pt x="70" y="60"/>
                </a:lnTo>
                <a:lnTo>
                  <a:pt x="70" y="60"/>
                </a:lnTo>
                <a:lnTo>
                  <a:pt x="72" y="60"/>
                </a:lnTo>
                <a:lnTo>
                  <a:pt x="70" y="58"/>
                </a:lnTo>
                <a:lnTo>
                  <a:pt x="70" y="56"/>
                </a:lnTo>
                <a:lnTo>
                  <a:pt x="70" y="56"/>
                </a:lnTo>
                <a:lnTo>
                  <a:pt x="74" y="52"/>
                </a:lnTo>
                <a:lnTo>
                  <a:pt x="74" y="52"/>
                </a:lnTo>
                <a:lnTo>
                  <a:pt x="74" y="50"/>
                </a:lnTo>
                <a:lnTo>
                  <a:pt x="76" y="50"/>
                </a:lnTo>
                <a:lnTo>
                  <a:pt x="76" y="50"/>
                </a:lnTo>
                <a:lnTo>
                  <a:pt x="76" y="48"/>
                </a:lnTo>
                <a:lnTo>
                  <a:pt x="76" y="46"/>
                </a:lnTo>
                <a:lnTo>
                  <a:pt x="76" y="46"/>
                </a:lnTo>
                <a:lnTo>
                  <a:pt x="76" y="44"/>
                </a:lnTo>
                <a:lnTo>
                  <a:pt x="76" y="42"/>
                </a:lnTo>
                <a:lnTo>
                  <a:pt x="76" y="42"/>
                </a:lnTo>
                <a:lnTo>
                  <a:pt x="74" y="38"/>
                </a:lnTo>
                <a:lnTo>
                  <a:pt x="74" y="38"/>
                </a:lnTo>
                <a:lnTo>
                  <a:pt x="74" y="38"/>
                </a:lnTo>
                <a:lnTo>
                  <a:pt x="74" y="38"/>
                </a:lnTo>
                <a:lnTo>
                  <a:pt x="76" y="36"/>
                </a:lnTo>
                <a:lnTo>
                  <a:pt x="76" y="36"/>
                </a:lnTo>
                <a:lnTo>
                  <a:pt x="76" y="36"/>
                </a:lnTo>
                <a:lnTo>
                  <a:pt x="76" y="34"/>
                </a:lnTo>
                <a:lnTo>
                  <a:pt x="76" y="34"/>
                </a:lnTo>
                <a:lnTo>
                  <a:pt x="76" y="34"/>
                </a:lnTo>
                <a:lnTo>
                  <a:pt x="76" y="34"/>
                </a:lnTo>
                <a:lnTo>
                  <a:pt x="74" y="30"/>
                </a:lnTo>
                <a:lnTo>
                  <a:pt x="74" y="30"/>
                </a:lnTo>
                <a:lnTo>
                  <a:pt x="74" y="30"/>
                </a:lnTo>
                <a:lnTo>
                  <a:pt x="72" y="28"/>
                </a:lnTo>
                <a:lnTo>
                  <a:pt x="72" y="28"/>
                </a:lnTo>
                <a:lnTo>
                  <a:pt x="72" y="26"/>
                </a:lnTo>
                <a:lnTo>
                  <a:pt x="74" y="26"/>
                </a:lnTo>
                <a:lnTo>
                  <a:pt x="74" y="26"/>
                </a:lnTo>
                <a:lnTo>
                  <a:pt x="76" y="26"/>
                </a:lnTo>
                <a:lnTo>
                  <a:pt x="76" y="26"/>
                </a:lnTo>
                <a:lnTo>
                  <a:pt x="76" y="26"/>
                </a:lnTo>
                <a:lnTo>
                  <a:pt x="72" y="24"/>
                </a:lnTo>
                <a:lnTo>
                  <a:pt x="68" y="24"/>
                </a:lnTo>
                <a:lnTo>
                  <a:pt x="68" y="24"/>
                </a:lnTo>
                <a:lnTo>
                  <a:pt x="68" y="24"/>
                </a:lnTo>
                <a:lnTo>
                  <a:pt x="66" y="22"/>
                </a:lnTo>
                <a:lnTo>
                  <a:pt x="66" y="20"/>
                </a:lnTo>
                <a:lnTo>
                  <a:pt x="66" y="20"/>
                </a:lnTo>
                <a:lnTo>
                  <a:pt x="62" y="16"/>
                </a:lnTo>
                <a:lnTo>
                  <a:pt x="60" y="18"/>
                </a:lnTo>
                <a:lnTo>
                  <a:pt x="60" y="18"/>
                </a:lnTo>
                <a:lnTo>
                  <a:pt x="58" y="20"/>
                </a:lnTo>
                <a:lnTo>
                  <a:pt x="56" y="20"/>
                </a:lnTo>
                <a:lnTo>
                  <a:pt x="50" y="18"/>
                </a:lnTo>
                <a:lnTo>
                  <a:pt x="50" y="18"/>
                </a:lnTo>
                <a:lnTo>
                  <a:pt x="48" y="14"/>
                </a:lnTo>
                <a:lnTo>
                  <a:pt x="52" y="12"/>
                </a:lnTo>
                <a:lnTo>
                  <a:pt x="52" y="12"/>
                </a:lnTo>
                <a:lnTo>
                  <a:pt x="52" y="12"/>
                </a:lnTo>
                <a:lnTo>
                  <a:pt x="52" y="10"/>
                </a:lnTo>
                <a:lnTo>
                  <a:pt x="54" y="8"/>
                </a:lnTo>
                <a:lnTo>
                  <a:pt x="56" y="8"/>
                </a:lnTo>
                <a:lnTo>
                  <a:pt x="56" y="8"/>
                </a:lnTo>
                <a:lnTo>
                  <a:pt x="58" y="8"/>
                </a:lnTo>
                <a:lnTo>
                  <a:pt x="60" y="6"/>
                </a:lnTo>
                <a:lnTo>
                  <a:pt x="60" y="6"/>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40" name="Israel"/>
          <p:cNvSpPr>
            <a:spLocks/>
          </p:cNvSpPr>
          <p:nvPr/>
        </p:nvSpPr>
        <p:spPr bwMode="auto">
          <a:xfrm>
            <a:off x="5120262" y="1819278"/>
            <a:ext cx="34183" cy="91045"/>
          </a:xfrm>
          <a:custGeom>
            <a:avLst/>
            <a:gdLst/>
            <a:ahLst/>
            <a:cxnLst>
              <a:cxn ang="0">
                <a:pos x="20" y="80"/>
              </a:cxn>
              <a:cxn ang="0">
                <a:pos x="20" y="80"/>
              </a:cxn>
              <a:cxn ang="0">
                <a:pos x="2" y="50"/>
              </a:cxn>
              <a:cxn ang="0">
                <a:pos x="2" y="50"/>
              </a:cxn>
              <a:cxn ang="0">
                <a:pos x="0" y="48"/>
              </a:cxn>
              <a:cxn ang="0">
                <a:pos x="0" y="44"/>
              </a:cxn>
              <a:cxn ang="0">
                <a:pos x="2" y="42"/>
              </a:cxn>
              <a:cxn ang="0">
                <a:pos x="4" y="40"/>
              </a:cxn>
              <a:cxn ang="0">
                <a:pos x="2" y="36"/>
              </a:cxn>
              <a:cxn ang="0">
                <a:pos x="2" y="36"/>
              </a:cxn>
              <a:cxn ang="0">
                <a:pos x="4" y="28"/>
              </a:cxn>
              <a:cxn ang="0">
                <a:pos x="6" y="24"/>
              </a:cxn>
              <a:cxn ang="0">
                <a:pos x="6" y="22"/>
              </a:cxn>
              <a:cxn ang="0">
                <a:pos x="8" y="16"/>
              </a:cxn>
              <a:cxn ang="0">
                <a:pos x="8" y="16"/>
              </a:cxn>
              <a:cxn ang="0">
                <a:pos x="8" y="12"/>
              </a:cxn>
              <a:cxn ang="0">
                <a:pos x="10" y="8"/>
              </a:cxn>
              <a:cxn ang="0">
                <a:pos x="12" y="4"/>
              </a:cxn>
              <a:cxn ang="0">
                <a:pos x="12" y="0"/>
              </a:cxn>
              <a:cxn ang="0">
                <a:pos x="30" y="0"/>
              </a:cxn>
              <a:cxn ang="0">
                <a:pos x="28" y="6"/>
              </a:cxn>
              <a:cxn ang="0">
                <a:pos x="28" y="6"/>
              </a:cxn>
              <a:cxn ang="0">
                <a:pos x="24" y="6"/>
              </a:cxn>
              <a:cxn ang="0">
                <a:pos x="24" y="8"/>
              </a:cxn>
              <a:cxn ang="0">
                <a:pos x="24" y="10"/>
              </a:cxn>
              <a:cxn ang="0">
                <a:pos x="22" y="12"/>
              </a:cxn>
              <a:cxn ang="0">
                <a:pos x="22" y="12"/>
              </a:cxn>
              <a:cxn ang="0">
                <a:pos x="20" y="12"/>
              </a:cxn>
              <a:cxn ang="0">
                <a:pos x="20" y="10"/>
              </a:cxn>
              <a:cxn ang="0">
                <a:pos x="18" y="8"/>
              </a:cxn>
              <a:cxn ang="0">
                <a:pos x="16" y="8"/>
              </a:cxn>
              <a:cxn ang="0">
                <a:pos x="16" y="8"/>
              </a:cxn>
              <a:cxn ang="0">
                <a:pos x="14" y="10"/>
              </a:cxn>
              <a:cxn ang="0">
                <a:pos x="12" y="12"/>
              </a:cxn>
              <a:cxn ang="0">
                <a:pos x="12" y="18"/>
              </a:cxn>
              <a:cxn ang="0">
                <a:pos x="14" y="24"/>
              </a:cxn>
              <a:cxn ang="0">
                <a:pos x="14" y="26"/>
              </a:cxn>
              <a:cxn ang="0">
                <a:pos x="14" y="26"/>
              </a:cxn>
              <a:cxn ang="0">
                <a:pos x="16" y="28"/>
              </a:cxn>
              <a:cxn ang="0">
                <a:pos x="18" y="30"/>
              </a:cxn>
              <a:cxn ang="0">
                <a:pos x="16" y="34"/>
              </a:cxn>
              <a:cxn ang="0">
                <a:pos x="12" y="36"/>
              </a:cxn>
              <a:cxn ang="0">
                <a:pos x="12" y="40"/>
              </a:cxn>
              <a:cxn ang="0">
                <a:pos x="12" y="40"/>
              </a:cxn>
              <a:cxn ang="0">
                <a:pos x="14" y="40"/>
              </a:cxn>
              <a:cxn ang="0">
                <a:pos x="16" y="40"/>
              </a:cxn>
              <a:cxn ang="0">
                <a:pos x="20" y="38"/>
              </a:cxn>
              <a:cxn ang="0">
                <a:pos x="22" y="38"/>
              </a:cxn>
              <a:cxn ang="0">
                <a:pos x="24" y="40"/>
              </a:cxn>
              <a:cxn ang="0">
                <a:pos x="24" y="46"/>
              </a:cxn>
              <a:cxn ang="0">
                <a:pos x="24" y="46"/>
              </a:cxn>
              <a:cxn ang="0">
                <a:pos x="22" y="64"/>
              </a:cxn>
              <a:cxn ang="0">
                <a:pos x="20" y="80"/>
              </a:cxn>
              <a:cxn ang="0">
                <a:pos x="20" y="80"/>
              </a:cxn>
            </a:cxnLst>
            <a:rect l="0" t="0" r="r" b="b"/>
            <a:pathLst>
              <a:path w="30" h="80">
                <a:moveTo>
                  <a:pt x="20" y="80"/>
                </a:moveTo>
                <a:lnTo>
                  <a:pt x="20" y="80"/>
                </a:lnTo>
                <a:lnTo>
                  <a:pt x="2" y="50"/>
                </a:lnTo>
                <a:lnTo>
                  <a:pt x="2" y="50"/>
                </a:lnTo>
                <a:lnTo>
                  <a:pt x="0" y="48"/>
                </a:lnTo>
                <a:lnTo>
                  <a:pt x="0" y="44"/>
                </a:lnTo>
                <a:lnTo>
                  <a:pt x="2" y="42"/>
                </a:lnTo>
                <a:lnTo>
                  <a:pt x="4" y="40"/>
                </a:lnTo>
                <a:lnTo>
                  <a:pt x="2" y="36"/>
                </a:lnTo>
                <a:lnTo>
                  <a:pt x="2" y="36"/>
                </a:lnTo>
                <a:lnTo>
                  <a:pt x="4" y="28"/>
                </a:lnTo>
                <a:lnTo>
                  <a:pt x="6" y="24"/>
                </a:lnTo>
                <a:lnTo>
                  <a:pt x="6" y="22"/>
                </a:lnTo>
                <a:lnTo>
                  <a:pt x="8" y="16"/>
                </a:lnTo>
                <a:lnTo>
                  <a:pt x="8" y="16"/>
                </a:lnTo>
                <a:lnTo>
                  <a:pt x="8" y="12"/>
                </a:lnTo>
                <a:lnTo>
                  <a:pt x="10" y="8"/>
                </a:lnTo>
                <a:lnTo>
                  <a:pt x="12" y="4"/>
                </a:lnTo>
                <a:lnTo>
                  <a:pt x="12" y="0"/>
                </a:lnTo>
                <a:lnTo>
                  <a:pt x="30" y="0"/>
                </a:lnTo>
                <a:lnTo>
                  <a:pt x="28" y="6"/>
                </a:lnTo>
                <a:lnTo>
                  <a:pt x="28" y="6"/>
                </a:lnTo>
                <a:lnTo>
                  <a:pt x="24" y="6"/>
                </a:lnTo>
                <a:lnTo>
                  <a:pt x="24" y="8"/>
                </a:lnTo>
                <a:lnTo>
                  <a:pt x="24" y="10"/>
                </a:lnTo>
                <a:lnTo>
                  <a:pt x="22" y="12"/>
                </a:lnTo>
                <a:lnTo>
                  <a:pt x="22" y="12"/>
                </a:lnTo>
                <a:lnTo>
                  <a:pt x="20" y="12"/>
                </a:lnTo>
                <a:lnTo>
                  <a:pt x="20" y="10"/>
                </a:lnTo>
                <a:lnTo>
                  <a:pt x="18" y="8"/>
                </a:lnTo>
                <a:lnTo>
                  <a:pt x="16" y="8"/>
                </a:lnTo>
                <a:lnTo>
                  <a:pt x="16" y="8"/>
                </a:lnTo>
                <a:lnTo>
                  <a:pt x="14" y="10"/>
                </a:lnTo>
                <a:lnTo>
                  <a:pt x="12" y="12"/>
                </a:lnTo>
                <a:lnTo>
                  <a:pt x="12" y="18"/>
                </a:lnTo>
                <a:lnTo>
                  <a:pt x="14" y="24"/>
                </a:lnTo>
                <a:lnTo>
                  <a:pt x="14" y="26"/>
                </a:lnTo>
                <a:lnTo>
                  <a:pt x="14" y="26"/>
                </a:lnTo>
                <a:lnTo>
                  <a:pt x="16" y="28"/>
                </a:lnTo>
                <a:lnTo>
                  <a:pt x="18" y="30"/>
                </a:lnTo>
                <a:lnTo>
                  <a:pt x="16" y="34"/>
                </a:lnTo>
                <a:lnTo>
                  <a:pt x="12" y="36"/>
                </a:lnTo>
                <a:lnTo>
                  <a:pt x="12" y="40"/>
                </a:lnTo>
                <a:lnTo>
                  <a:pt x="12" y="40"/>
                </a:lnTo>
                <a:lnTo>
                  <a:pt x="14" y="40"/>
                </a:lnTo>
                <a:lnTo>
                  <a:pt x="16" y="40"/>
                </a:lnTo>
                <a:lnTo>
                  <a:pt x="20" y="38"/>
                </a:lnTo>
                <a:lnTo>
                  <a:pt x="22" y="38"/>
                </a:lnTo>
                <a:lnTo>
                  <a:pt x="24" y="40"/>
                </a:lnTo>
                <a:lnTo>
                  <a:pt x="24" y="46"/>
                </a:lnTo>
                <a:lnTo>
                  <a:pt x="24" y="46"/>
                </a:lnTo>
                <a:lnTo>
                  <a:pt x="22" y="64"/>
                </a:lnTo>
                <a:lnTo>
                  <a:pt x="20" y="80"/>
                </a:lnTo>
                <a:lnTo>
                  <a:pt x="20" y="80"/>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41" name="Italy"/>
          <p:cNvSpPr>
            <a:spLocks/>
          </p:cNvSpPr>
          <p:nvPr/>
        </p:nvSpPr>
        <p:spPr bwMode="auto">
          <a:xfrm>
            <a:off x="4482192" y="1477859"/>
            <a:ext cx="257507" cy="243545"/>
          </a:xfrm>
          <a:custGeom>
            <a:avLst/>
            <a:gdLst/>
            <a:ahLst/>
            <a:cxnLst/>
            <a:rect l="l" t="t" r="r" b="b"/>
            <a:pathLst>
              <a:path w="298979" h="283104">
                <a:moveTo>
                  <a:pt x="235479" y="238125"/>
                </a:moveTo>
                <a:lnTo>
                  <a:pt x="235479" y="240771"/>
                </a:lnTo>
                <a:lnTo>
                  <a:pt x="232833" y="248708"/>
                </a:lnTo>
                <a:lnTo>
                  <a:pt x="227542" y="254000"/>
                </a:lnTo>
                <a:lnTo>
                  <a:pt x="224896" y="256646"/>
                </a:lnTo>
                <a:lnTo>
                  <a:pt x="224896" y="259292"/>
                </a:lnTo>
                <a:lnTo>
                  <a:pt x="227542" y="261938"/>
                </a:lnTo>
                <a:lnTo>
                  <a:pt x="224896" y="261938"/>
                </a:lnTo>
                <a:lnTo>
                  <a:pt x="224896" y="264583"/>
                </a:lnTo>
                <a:lnTo>
                  <a:pt x="224896" y="267229"/>
                </a:lnTo>
                <a:lnTo>
                  <a:pt x="224896" y="269875"/>
                </a:lnTo>
                <a:lnTo>
                  <a:pt x="224896" y="275167"/>
                </a:lnTo>
                <a:lnTo>
                  <a:pt x="222250" y="280458"/>
                </a:lnTo>
                <a:lnTo>
                  <a:pt x="222250" y="283104"/>
                </a:lnTo>
                <a:lnTo>
                  <a:pt x="219604" y="283104"/>
                </a:lnTo>
                <a:lnTo>
                  <a:pt x="214313" y="280458"/>
                </a:lnTo>
                <a:lnTo>
                  <a:pt x="211667" y="280458"/>
                </a:lnTo>
                <a:lnTo>
                  <a:pt x="209021" y="280458"/>
                </a:lnTo>
                <a:lnTo>
                  <a:pt x="206375" y="280458"/>
                </a:lnTo>
                <a:lnTo>
                  <a:pt x="201083" y="275167"/>
                </a:lnTo>
                <a:lnTo>
                  <a:pt x="198438" y="272521"/>
                </a:lnTo>
                <a:lnTo>
                  <a:pt x="190500" y="272521"/>
                </a:lnTo>
                <a:lnTo>
                  <a:pt x="185208" y="272521"/>
                </a:lnTo>
                <a:lnTo>
                  <a:pt x="182562" y="269875"/>
                </a:lnTo>
                <a:lnTo>
                  <a:pt x="177271" y="264583"/>
                </a:lnTo>
                <a:lnTo>
                  <a:pt x="169333" y="261938"/>
                </a:lnTo>
                <a:lnTo>
                  <a:pt x="164042" y="259292"/>
                </a:lnTo>
                <a:lnTo>
                  <a:pt x="156104" y="256646"/>
                </a:lnTo>
                <a:lnTo>
                  <a:pt x="153458" y="254000"/>
                </a:lnTo>
                <a:lnTo>
                  <a:pt x="156104" y="248708"/>
                </a:lnTo>
                <a:lnTo>
                  <a:pt x="161396" y="243417"/>
                </a:lnTo>
                <a:lnTo>
                  <a:pt x="164042" y="243417"/>
                </a:lnTo>
                <a:lnTo>
                  <a:pt x="166687" y="243417"/>
                </a:lnTo>
                <a:lnTo>
                  <a:pt x="171979" y="246063"/>
                </a:lnTo>
                <a:lnTo>
                  <a:pt x="174625" y="243417"/>
                </a:lnTo>
                <a:lnTo>
                  <a:pt x="179917" y="243417"/>
                </a:lnTo>
                <a:lnTo>
                  <a:pt x="182562" y="243417"/>
                </a:lnTo>
                <a:lnTo>
                  <a:pt x="187854" y="246063"/>
                </a:lnTo>
                <a:lnTo>
                  <a:pt x="190500" y="246063"/>
                </a:lnTo>
                <a:lnTo>
                  <a:pt x="195792" y="248708"/>
                </a:lnTo>
                <a:lnTo>
                  <a:pt x="198438" y="246063"/>
                </a:lnTo>
                <a:lnTo>
                  <a:pt x="201083" y="246063"/>
                </a:lnTo>
                <a:lnTo>
                  <a:pt x="203729" y="246063"/>
                </a:lnTo>
                <a:lnTo>
                  <a:pt x="209021" y="246063"/>
                </a:lnTo>
                <a:lnTo>
                  <a:pt x="211667" y="243417"/>
                </a:lnTo>
                <a:lnTo>
                  <a:pt x="214313" y="240771"/>
                </a:lnTo>
                <a:lnTo>
                  <a:pt x="219604" y="243417"/>
                </a:lnTo>
                <a:lnTo>
                  <a:pt x="222250" y="243417"/>
                </a:lnTo>
                <a:lnTo>
                  <a:pt x="224896" y="243417"/>
                </a:lnTo>
                <a:lnTo>
                  <a:pt x="227542" y="240771"/>
                </a:lnTo>
                <a:lnTo>
                  <a:pt x="232833" y="240771"/>
                </a:lnTo>
                <a:close/>
                <a:moveTo>
                  <a:pt x="127000" y="0"/>
                </a:moveTo>
                <a:lnTo>
                  <a:pt x="129646" y="2646"/>
                </a:lnTo>
                <a:lnTo>
                  <a:pt x="129646" y="5292"/>
                </a:lnTo>
                <a:lnTo>
                  <a:pt x="132291" y="5292"/>
                </a:lnTo>
                <a:lnTo>
                  <a:pt x="137583" y="7937"/>
                </a:lnTo>
                <a:lnTo>
                  <a:pt x="140229" y="10583"/>
                </a:lnTo>
                <a:lnTo>
                  <a:pt x="145521" y="10583"/>
                </a:lnTo>
                <a:lnTo>
                  <a:pt x="150812" y="13229"/>
                </a:lnTo>
                <a:lnTo>
                  <a:pt x="156104" y="13229"/>
                </a:lnTo>
                <a:lnTo>
                  <a:pt x="161396" y="13229"/>
                </a:lnTo>
                <a:lnTo>
                  <a:pt x="161396" y="15875"/>
                </a:lnTo>
                <a:lnTo>
                  <a:pt x="164042" y="18521"/>
                </a:lnTo>
                <a:lnTo>
                  <a:pt x="164042" y="21167"/>
                </a:lnTo>
                <a:lnTo>
                  <a:pt x="166688" y="23812"/>
                </a:lnTo>
                <a:lnTo>
                  <a:pt x="169333" y="26458"/>
                </a:lnTo>
                <a:lnTo>
                  <a:pt x="174625" y="29104"/>
                </a:lnTo>
                <a:lnTo>
                  <a:pt x="174625" y="34396"/>
                </a:lnTo>
                <a:lnTo>
                  <a:pt x="171979" y="34396"/>
                </a:lnTo>
                <a:lnTo>
                  <a:pt x="169333" y="31750"/>
                </a:lnTo>
                <a:lnTo>
                  <a:pt x="169333" y="29104"/>
                </a:lnTo>
                <a:lnTo>
                  <a:pt x="166688" y="31750"/>
                </a:lnTo>
                <a:lnTo>
                  <a:pt x="164042" y="37042"/>
                </a:lnTo>
                <a:lnTo>
                  <a:pt x="158750" y="39687"/>
                </a:lnTo>
                <a:lnTo>
                  <a:pt x="148166" y="39687"/>
                </a:lnTo>
                <a:lnTo>
                  <a:pt x="145521" y="42333"/>
                </a:lnTo>
                <a:lnTo>
                  <a:pt x="145521" y="44979"/>
                </a:lnTo>
                <a:lnTo>
                  <a:pt x="148166" y="50271"/>
                </a:lnTo>
                <a:lnTo>
                  <a:pt x="148166" y="52917"/>
                </a:lnTo>
                <a:lnTo>
                  <a:pt x="145521" y="52917"/>
                </a:lnTo>
                <a:lnTo>
                  <a:pt x="142875" y="55562"/>
                </a:lnTo>
                <a:lnTo>
                  <a:pt x="145521" y="60854"/>
                </a:lnTo>
                <a:lnTo>
                  <a:pt x="145521" y="63500"/>
                </a:lnTo>
                <a:lnTo>
                  <a:pt x="145521" y="68791"/>
                </a:lnTo>
                <a:lnTo>
                  <a:pt x="145521" y="71437"/>
                </a:lnTo>
                <a:lnTo>
                  <a:pt x="148166" y="74083"/>
                </a:lnTo>
                <a:lnTo>
                  <a:pt x="156104" y="76729"/>
                </a:lnTo>
                <a:lnTo>
                  <a:pt x="166688" y="82021"/>
                </a:lnTo>
                <a:lnTo>
                  <a:pt x="171979" y="89958"/>
                </a:lnTo>
                <a:lnTo>
                  <a:pt x="177271" y="97896"/>
                </a:lnTo>
                <a:lnTo>
                  <a:pt x="182563" y="108479"/>
                </a:lnTo>
                <a:lnTo>
                  <a:pt x="187854" y="113771"/>
                </a:lnTo>
                <a:lnTo>
                  <a:pt x="193146" y="119062"/>
                </a:lnTo>
                <a:lnTo>
                  <a:pt x="206375" y="132291"/>
                </a:lnTo>
                <a:lnTo>
                  <a:pt x="211667" y="134937"/>
                </a:lnTo>
                <a:lnTo>
                  <a:pt x="214313" y="134937"/>
                </a:lnTo>
                <a:lnTo>
                  <a:pt x="222250" y="137583"/>
                </a:lnTo>
                <a:lnTo>
                  <a:pt x="224896" y="137583"/>
                </a:lnTo>
                <a:lnTo>
                  <a:pt x="230188" y="137583"/>
                </a:lnTo>
                <a:lnTo>
                  <a:pt x="232833" y="137583"/>
                </a:lnTo>
                <a:lnTo>
                  <a:pt x="238125" y="137583"/>
                </a:lnTo>
                <a:lnTo>
                  <a:pt x="243417" y="142875"/>
                </a:lnTo>
                <a:lnTo>
                  <a:pt x="240771" y="145521"/>
                </a:lnTo>
                <a:lnTo>
                  <a:pt x="235479" y="148166"/>
                </a:lnTo>
                <a:lnTo>
                  <a:pt x="240771" y="150812"/>
                </a:lnTo>
                <a:lnTo>
                  <a:pt x="254000" y="156104"/>
                </a:lnTo>
                <a:lnTo>
                  <a:pt x="264583" y="161396"/>
                </a:lnTo>
                <a:lnTo>
                  <a:pt x="272521" y="166687"/>
                </a:lnTo>
                <a:lnTo>
                  <a:pt x="277813" y="171979"/>
                </a:lnTo>
                <a:lnTo>
                  <a:pt x="285750" y="171979"/>
                </a:lnTo>
                <a:lnTo>
                  <a:pt x="293688" y="177271"/>
                </a:lnTo>
                <a:lnTo>
                  <a:pt x="298979" y="182562"/>
                </a:lnTo>
                <a:lnTo>
                  <a:pt x="298979" y="185208"/>
                </a:lnTo>
                <a:lnTo>
                  <a:pt x="296333" y="187854"/>
                </a:lnTo>
                <a:lnTo>
                  <a:pt x="296333" y="190500"/>
                </a:lnTo>
                <a:lnTo>
                  <a:pt x="296333" y="193146"/>
                </a:lnTo>
                <a:lnTo>
                  <a:pt x="293688" y="193146"/>
                </a:lnTo>
                <a:lnTo>
                  <a:pt x="291042" y="187854"/>
                </a:lnTo>
                <a:lnTo>
                  <a:pt x="285750" y="182562"/>
                </a:lnTo>
                <a:lnTo>
                  <a:pt x="277813" y="182562"/>
                </a:lnTo>
                <a:lnTo>
                  <a:pt x="275167" y="182562"/>
                </a:lnTo>
                <a:lnTo>
                  <a:pt x="272521" y="179916"/>
                </a:lnTo>
                <a:lnTo>
                  <a:pt x="269875" y="177271"/>
                </a:lnTo>
                <a:lnTo>
                  <a:pt x="267229" y="179916"/>
                </a:lnTo>
                <a:lnTo>
                  <a:pt x="261938" y="185208"/>
                </a:lnTo>
                <a:lnTo>
                  <a:pt x="261938" y="187854"/>
                </a:lnTo>
                <a:lnTo>
                  <a:pt x="261938" y="193146"/>
                </a:lnTo>
                <a:lnTo>
                  <a:pt x="261938" y="195791"/>
                </a:lnTo>
                <a:lnTo>
                  <a:pt x="259292" y="198437"/>
                </a:lnTo>
                <a:lnTo>
                  <a:pt x="264583" y="198437"/>
                </a:lnTo>
                <a:lnTo>
                  <a:pt x="269875" y="203729"/>
                </a:lnTo>
                <a:lnTo>
                  <a:pt x="269875" y="206375"/>
                </a:lnTo>
                <a:lnTo>
                  <a:pt x="275167" y="211666"/>
                </a:lnTo>
                <a:lnTo>
                  <a:pt x="275167" y="214312"/>
                </a:lnTo>
                <a:lnTo>
                  <a:pt x="275167" y="216958"/>
                </a:lnTo>
                <a:lnTo>
                  <a:pt x="272521" y="216958"/>
                </a:lnTo>
                <a:lnTo>
                  <a:pt x="269875" y="216958"/>
                </a:lnTo>
                <a:lnTo>
                  <a:pt x="267229" y="216958"/>
                </a:lnTo>
                <a:lnTo>
                  <a:pt x="267229" y="222250"/>
                </a:lnTo>
                <a:lnTo>
                  <a:pt x="267229" y="227541"/>
                </a:lnTo>
                <a:lnTo>
                  <a:pt x="261938" y="232833"/>
                </a:lnTo>
                <a:lnTo>
                  <a:pt x="259292" y="235479"/>
                </a:lnTo>
                <a:lnTo>
                  <a:pt x="256646" y="240771"/>
                </a:lnTo>
                <a:lnTo>
                  <a:pt x="254000" y="246062"/>
                </a:lnTo>
                <a:lnTo>
                  <a:pt x="251354" y="248708"/>
                </a:lnTo>
                <a:lnTo>
                  <a:pt x="243417" y="251354"/>
                </a:lnTo>
                <a:lnTo>
                  <a:pt x="240771" y="251354"/>
                </a:lnTo>
                <a:lnTo>
                  <a:pt x="238125" y="248708"/>
                </a:lnTo>
                <a:lnTo>
                  <a:pt x="235479" y="246062"/>
                </a:lnTo>
                <a:lnTo>
                  <a:pt x="238125" y="243417"/>
                </a:lnTo>
                <a:lnTo>
                  <a:pt x="240771" y="235479"/>
                </a:lnTo>
                <a:lnTo>
                  <a:pt x="240771" y="232833"/>
                </a:lnTo>
                <a:lnTo>
                  <a:pt x="238125" y="230187"/>
                </a:lnTo>
                <a:lnTo>
                  <a:pt x="240771" y="227541"/>
                </a:lnTo>
                <a:lnTo>
                  <a:pt x="246063" y="222250"/>
                </a:lnTo>
                <a:lnTo>
                  <a:pt x="243417" y="216958"/>
                </a:lnTo>
                <a:lnTo>
                  <a:pt x="238125" y="206375"/>
                </a:lnTo>
                <a:lnTo>
                  <a:pt x="235479" y="201083"/>
                </a:lnTo>
                <a:lnTo>
                  <a:pt x="232833" y="195791"/>
                </a:lnTo>
                <a:lnTo>
                  <a:pt x="232833" y="190500"/>
                </a:lnTo>
                <a:lnTo>
                  <a:pt x="227542" y="190500"/>
                </a:lnTo>
                <a:lnTo>
                  <a:pt x="222250" y="190500"/>
                </a:lnTo>
                <a:lnTo>
                  <a:pt x="216958" y="187854"/>
                </a:lnTo>
                <a:lnTo>
                  <a:pt x="211667" y="185208"/>
                </a:lnTo>
                <a:lnTo>
                  <a:pt x="209021" y="182562"/>
                </a:lnTo>
                <a:lnTo>
                  <a:pt x="209021" y="179916"/>
                </a:lnTo>
                <a:lnTo>
                  <a:pt x="211667" y="179916"/>
                </a:lnTo>
                <a:lnTo>
                  <a:pt x="206375" y="177271"/>
                </a:lnTo>
                <a:lnTo>
                  <a:pt x="198438" y="174625"/>
                </a:lnTo>
                <a:lnTo>
                  <a:pt x="195792" y="171979"/>
                </a:lnTo>
                <a:lnTo>
                  <a:pt x="195792" y="166687"/>
                </a:lnTo>
                <a:lnTo>
                  <a:pt x="193146" y="169333"/>
                </a:lnTo>
                <a:lnTo>
                  <a:pt x="187854" y="169333"/>
                </a:lnTo>
                <a:lnTo>
                  <a:pt x="185208" y="166687"/>
                </a:lnTo>
                <a:lnTo>
                  <a:pt x="182563" y="164041"/>
                </a:lnTo>
                <a:lnTo>
                  <a:pt x="179917" y="161396"/>
                </a:lnTo>
                <a:lnTo>
                  <a:pt x="171979" y="161396"/>
                </a:lnTo>
                <a:lnTo>
                  <a:pt x="164042" y="158750"/>
                </a:lnTo>
                <a:lnTo>
                  <a:pt x="148166" y="145521"/>
                </a:lnTo>
                <a:lnTo>
                  <a:pt x="145521" y="142875"/>
                </a:lnTo>
                <a:lnTo>
                  <a:pt x="142875" y="140229"/>
                </a:lnTo>
                <a:lnTo>
                  <a:pt x="140229" y="137583"/>
                </a:lnTo>
                <a:lnTo>
                  <a:pt x="132291" y="132291"/>
                </a:lnTo>
                <a:lnTo>
                  <a:pt x="129646" y="127000"/>
                </a:lnTo>
                <a:lnTo>
                  <a:pt x="129646" y="124354"/>
                </a:lnTo>
                <a:lnTo>
                  <a:pt x="127000" y="124354"/>
                </a:lnTo>
                <a:lnTo>
                  <a:pt x="121708" y="124354"/>
                </a:lnTo>
                <a:lnTo>
                  <a:pt x="119062" y="124354"/>
                </a:lnTo>
                <a:lnTo>
                  <a:pt x="116416" y="119062"/>
                </a:lnTo>
                <a:lnTo>
                  <a:pt x="111125" y="111125"/>
                </a:lnTo>
                <a:lnTo>
                  <a:pt x="103187" y="103187"/>
                </a:lnTo>
                <a:lnTo>
                  <a:pt x="100541" y="100541"/>
                </a:lnTo>
                <a:lnTo>
                  <a:pt x="97896" y="97896"/>
                </a:lnTo>
                <a:lnTo>
                  <a:pt x="97896" y="95250"/>
                </a:lnTo>
                <a:lnTo>
                  <a:pt x="95250" y="92604"/>
                </a:lnTo>
                <a:lnTo>
                  <a:pt x="92604" y="89958"/>
                </a:lnTo>
                <a:lnTo>
                  <a:pt x="89958" y="84666"/>
                </a:lnTo>
                <a:lnTo>
                  <a:pt x="84666" y="79375"/>
                </a:lnTo>
                <a:lnTo>
                  <a:pt x="74083" y="74083"/>
                </a:lnTo>
                <a:lnTo>
                  <a:pt x="63500" y="71437"/>
                </a:lnTo>
                <a:lnTo>
                  <a:pt x="52916" y="71437"/>
                </a:lnTo>
                <a:lnTo>
                  <a:pt x="47625" y="71437"/>
                </a:lnTo>
                <a:lnTo>
                  <a:pt x="42333" y="74083"/>
                </a:lnTo>
                <a:lnTo>
                  <a:pt x="29104" y="82021"/>
                </a:lnTo>
                <a:lnTo>
                  <a:pt x="18521" y="87312"/>
                </a:lnTo>
                <a:lnTo>
                  <a:pt x="21166" y="82021"/>
                </a:lnTo>
                <a:lnTo>
                  <a:pt x="21166" y="79375"/>
                </a:lnTo>
                <a:lnTo>
                  <a:pt x="18521" y="79375"/>
                </a:lnTo>
                <a:lnTo>
                  <a:pt x="10583" y="79375"/>
                </a:lnTo>
                <a:lnTo>
                  <a:pt x="7937" y="76729"/>
                </a:lnTo>
                <a:lnTo>
                  <a:pt x="5291" y="68791"/>
                </a:lnTo>
                <a:lnTo>
                  <a:pt x="5291" y="63500"/>
                </a:lnTo>
                <a:lnTo>
                  <a:pt x="7937" y="58208"/>
                </a:lnTo>
                <a:lnTo>
                  <a:pt x="7937" y="55562"/>
                </a:lnTo>
                <a:lnTo>
                  <a:pt x="2646" y="52917"/>
                </a:lnTo>
                <a:lnTo>
                  <a:pt x="0" y="52917"/>
                </a:lnTo>
                <a:lnTo>
                  <a:pt x="0" y="50271"/>
                </a:lnTo>
                <a:lnTo>
                  <a:pt x="7937" y="42333"/>
                </a:lnTo>
                <a:lnTo>
                  <a:pt x="7937" y="39687"/>
                </a:lnTo>
                <a:lnTo>
                  <a:pt x="5291" y="39687"/>
                </a:lnTo>
                <a:lnTo>
                  <a:pt x="2646" y="34396"/>
                </a:lnTo>
                <a:lnTo>
                  <a:pt x="2646" y="29104"/>
                </a:lnTo>
                <a:lnTo>
                  <a:pt x="7937" y="26458"/>
                </a:lnTo>
                <a:lnTo>
                  <a:pt x="15875" y="26458"/>
                </a:lnTo>
                <a:lnTo>
                  <a:pt x="21166" y="29104"/>
                </a:lnTo>
                <a:lnTo>
                  <a:pt x="23812" y="26458"/>
                </a:lnTo>
                <a:lnTo>
                  <a:pt x="29104" y="21167"/>
                </a:lnTo>
                <a:lnTo>
                  <a:pt x="34396" y="15875"/>
                </a:lnTo>
                <a:lnTo>
                  <a:pt x="39687" y="15875"/>
                </a:lnTo>
                <a:lnTo>
                  <a:pt x="39687" y="18521"/>
                </a:lnTo>
                <a:lnTo>
                  <a:pt x="39687" y="21167"/>
                </a:lnTo>
                <a:lnTo>
                  <a:pt x="42333" y="23812"/>
                </a:lnTo>
                <a:lnTo>
                  <a:pt x="50271" y="26458"/>
                </a:lnTo>
                <a:lnTo>
                  <a:pt x="52916" y="26458"/>
                </a:lnTo>
                <a:lnTo>
                  <a:pt x="55562" y="21167"/>
                </a:lnTo>
                <a:lnTo>
                  <a:pt x="58208" y="18521"/>
                </a:lnTo>
                <a:lnTo>
                  <a:pt x="60854" y="15875"/>
                </a:lnTo>
                <a:lnTo>
                  <a:pt x="60854" y="13229"/>
                </a:lnTo>
                <a:lnTo>
                  <a:pt x="63500" y="13229"/>
                </a:lnTo>
                <a:lnTo>
                  <a:pt x="66146" y="15875"/>
                </a:lnTo>
                <a:lnTo>
                  <a:pt x="68791" y="15875"/>
                </a:lnTo>
                <a:lnTo>
                  <a:pt x="71437" y="15875"/>
                </a:lnTo>
                <a:lnTo>
                  <a:pt x="74083" y="18521"/>
                </a:lnTo>
                <a:lnTo>
                  <a:pt x="76729" y="18521"/>
                </a:lnTo>
                <a:lnTo>
                  <a:pt x="76729" y="15875"/>
                </a:lnTo>
                <a:lnTo>
                  <a:pt x="74083" y="10583"/>
                </a:lnTo>
                <a:lnTo>
                  <a:pt x="76729" y="10583"/>
                </a:lnTo>
                <a:lnTo>
                  <a:pt x="82021" y="10583"/>
                </a:lnTo>
                <a:lnTo>
                  <a:pt x="82021" y="7937"/>
                </a:lnTo>
                <a:lnTo>
                  <a:pt x="87312" y="5292"/>
                </a:lnTo>
                <a:lnTo>
                  <a:pt x="92604" y="7937"/>
                </a:lnTo>
                <a:lnTo>
                  <a:pt x="95250" y="7937"/>
                </a:lnTo>
                <a:lnTo>
                  <a:pt x="97896" y="7937"/>
                </a:lnTo>
                <a:lnTo>
                  <a:pt x="100541" y="5292"/>
                </a:lnTo>
                <a:lnTo>
                  <a:pt x="103187" y="2646"/>
                </a:lnTo>
                <a:lnTo>
                  <a:pt x="111125" y="2646"/>
                </a:lnTo>
                <a:lnTo>
                  <a:pt x="119062" y="2646"/>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42" name="Japan"/>
          <p:cNvSpPr>
            <a:spLocks/>
          </p:cNvSpPr>
          <p:nvPr/>
        </p:nvSpPr>
        <p:spPr bwMode="auto">
          <a:xfrm>
            <a:off x="7250963" y="1507448"/>
            <a:ext cx="216488" cy="359628"/>
          </a:xfrm>
          <a:custGeom>
            <a:avLst/>
            <a:gdLst/>
            <a:ahLst/>
            <a:cxnLst/>
            <a:rect l="l" t="t" r="r" b="b"/>
            <a:pathLst>
              <a:path w="251354" h="418042">
                <a:moveTo>
                  <a:pt x="21166" y="336021"/>
                </a:moveTo>
                <a:lnTo>
                  <a:pt x="29104" y="336021"/>
                </a:lnTo>
                <a:lnTo>
                  <a:pt x="29104" y="338667"/>
                </a:lnTo>
                <a:lnTo>
                  <a:pt x="29104" y="341313"/>
                </a:lnTo>
                <a:lnTo>
                  <a:pt x="34396" y="343959"/>
                </a:lnTo>
                <a:lnTo>
                  <a:pt x="39687" y="343959"/>
                </a:lnTo>
                <a:lnTo>
                  <a:pt x="42333" y="343959"/>
                </a:lnTo>
                <a:lnTo>
                  <a:pt x="44979" y="341313"/>
                </a:lnTo>
                <a:lnTo>
                  <a:pt x="47625" y="341313"/>
                </a:lnTo>
                <a:lnTo>
                  <a:pt x="52917" y="346604"/>
                </a:lnTo>
                <a:lnTo>
                  <a:pt x="52917" y="351896"/>
                </a:lnTo>
                <a:lnTo>
                  <a:pt x="55562" y="351896"/>
                </a:lnTo>
                <a:lnTo>
                  <a:pt x="60854" y="354542"/>
                </a:lnTo>
                <a:lnTo>
                  <a:pt x="63500" y="357188"/>
                </a:lnTo>
                <a:lnTo>
                  <a:pt x="66146" y="359834"/>
                </a:lnTo>
                <a:lnTo>
                  <a:pt x="66146" y="362480"/>
                </a:lnTo>
                <a:lnTo>
                  <a:pt x="66146" y="365125"/>
                </a:lnTo>
                <a:lnTo>
                  <a:pt x="63500" y="370417"/>
                </a:lnTo>
                <a:lnTo>
                  <a:pt x="63500" y="378355"/>
                </a:lnTo>
                <a:lnTo>
                  <a:pt x="66146" y="391584"/>
                </a:lnTo>
                <a:lnTo>
                  <a:pt x="66146" y="394230"/>
                </a:lnTo>
                <a:lnTo>
                  <a:pt x="66146" y="396875"/>
                </a:lnTo>
                <a:lnTo>
                  <a:pt x="63500" y="402167"/>
                </a:lnTo>
                <a:lnTo>
                  <a:pt x="63500" y="410105"/>
                </a:lnTo>
                <a:lnTo>
                  <a:pt x="63500" y="412750"/>
                </a:lnTo>
                <a:lnTo>
                  <a:pt x="60854" y="415396"/>
                </a:lnTo>
                <a:lnTo>
                  <a:pt x="55562" y="418042"/>
                </a:lnTo>
                <a:lnTo>
                  <a:pt x="55562" y="415396"/>
                </a:lnTo>
                <a:lnTo>
                  <a:pt x="58208" y="412750"/>
                </a:lnTo>
                <a:lnTo>
                  <a:pt x="58208" y="410105"/>
                </a:lnTo>
                <a:lnTo>
                  <a:pt x="55562" y="410105"/>
                </a:lnTo>
                <a:lnTo>
                  <a:pt x="52917" y="407459"/>
                </a:lnTo>
                <a:lnTo>
                  <a:pt x="52917" y="410105"/>
                </a:lnTo>
                <a:lnTo>
                  <a:pt x="52917" y="412750"/>
                </a:lnTo>
                <a:lnTo>
                  <a:pt x="50271" y="415396"/>
                </a:lnTo>
                <a:lnTo>
                  <a:pt x="47625" y="415396"/>
                </a:lnTo>
                <a:lnTo>
                  <a:pt x="42333" y="415396"/>
                </a:lnTo>
                <a:lnTo>
                  <a:pt x="42333" y="412750"/>
                </a:lnTo>
                <a:lnTo>
                  <a:pt x="42333" y="410105"/>
                </a:lnTo>
                <a:lnTo>
                  <a:pt x="39687" y="407459"/>
                </a:lnTo>
                <a:lnTo>
                  <a:pt x="37042" y="404813"/>
                </a:lnTo>
                <a:lnTo>
                  <a:pt x="31750" y="402167"/>
                </a:lnTo>
                <a:lnTo>
                  <a:pt x="29104" y="399521"/>
                </a:lnTo>
                <a:lnTo>
                  <a:pt x="29104" y="396875"/>
                </a:lnTo>
                <a:lnTo>
                  <a:pt x="34396" y="394230"/>
                </a:lnTo>
                <a:lnTo>
                  <a:pt x="34396" y="388938"/>
                </a:lnTo>
                <a:lnTo>
                  <a:pt x="34396" y="383646"/>
                </a:lnTo>
                <a:lnTo>
                  <a:pt x="29104" y="381000"/>
                </a:lnTo>
                <a:lnTo>
                  <a:pt x="29104" y="378355"/>
                </a:lnTo>
                <a:lnTo>
                  <a:pt x="29104" y="375709"/>
                </a:lnTo>
                <a:lnTo>
                  <a:pt x="26458" y="370417"/>
                </a:lnTo>
                <a:lnTo>
                  <a:pt x="18521" y="365125"/>
                </a:lnTo>
                <a:lnTo>
                  <a:pt x="18521" y="367771"/>
                </a:lnTo>
                <a:lnTo>
                  <a:pt x="21166" y="370417"/>
                </a:lnTo>
                <a:lnTo>
                  <a:pt x="18521" y="373063"/>
                </a:lnTo>
                <a:lnTo>
                  <a:pt x="15875" y="375709"/>
                </a:lnTo>
                <a:lnTo>
                  <a:pt x="13229" y="373063"/>
                </a:lnTo>
                <a:lnTo>
                  <a:pt x="13229" y="370417"/>
                </a:lnTo>
                <a:lnTo>
                  <a:pt x="10583" y="370417"/>
                </a:lnTo>
                <a:lnTo>
                  <a:pt x="5291" y="367771"/>
                </a:lnTo>
                <a:lnTo>
                  <a:pt x="2646" y="359834"/>
                </a:lnTo>
                <a:lnTo>
                  <a:pt x="0" y="357188"/>
                </a:lnTo>
                <a:lnTo>
                  <a:pt x="0" y="354542"/>
                </a:lnTo>
                <a:lnTo>
                  <a:pt x="2646" y="349250"/>
                </a:lnTo>
                <a:lnTo>
                  <a:pt x="5291" y="351896"/>
                </a:lnTo>
                <a:lnTo>
                  <a:pt x="7937" y="351896"/>
                </a:lnTo>
                <a:lnTo>
                  <a:pt x="7937" y="343959"/>
                </a:lnTo>
                <a:lnTo>
                  <a:pt x="10583" y="341313"/>
                </a:lnTo>
                <a:lnTo>
                  <a:pt x="13229" y="338667"/>
                </a:lnTo>
                <a:close/>
                <a:moveTo>
                  <a:pt x="89959" y="325438"/>
                </a:moveTo>
                <a:lnTo>
                  <a:pt x="97896" y="325438"/>
                </a:lnTo>
                <a:lnTo>
                  <a:pt x="105834" y="325438"/>
                </a:lnTo>
                <a:lnTo>
                  <a:pt x="105834" y="328084"/>
                </a:lnTo>
                <a:lnTo>
                  <a:pt x="111126" y="328084"/>
                </a:lnTo>
                <a:lnTo>
                  <a:pt x="116417" y="333376"/>
                </a:lnTo>
                <a:lnTo>
                  <a:pt x="119063" y="336021"/>
                </a:lnTo>
                <a:lnTo>
                  <a:pt x="119063" y="338667"/>
                </a:lnTo>
                <a:lnTo>
                  <a:pt x="119063" y="341313"/>
                </a:lnTo>
                <a:lnTo>
                  <a:pt x="113772" y="349250"/>
                </a:lnTo>
                <a:lnTo>
                  <a:pt x="113772" y="351896"/>
                </a:lnTo>
                <a:lnTo>
                  <a:pt x="113772" y="354542"/>
                </a:lnTo>
                <a:lnTo>
                  <a:pt x="111126" y="354542"/>
                </a:lnTo>
                <a:lnTo>
                  <a:pt x="105834" y="351896"/>
                </a:lnTo>
                <a:lnTo>
                  <a:pt x="103188" y="349250"/>
                </a:lnTo>
                <a:lnTo>
                  <a:pt x="97896" y="351896"/>
                </a:lnTo>
                <a:lnTo>
                  <a:pt x="95251" y="354542"/>
                </a:lnTo>
                <a:lnTo>
                  <a:pt x="95251" y="359834"/>
                </a:lnTo>
                <a:lnTo>
                  <a:pt x="92605" y="365125"/>
                </a:lnTo>
                <a:lnTo>
                  <a:pt x="95251" y="367771"/>
                </a:lnTo>
                <a:lnTo>
                  <a:pt x="89959" y="367771"/>
                </a:lnTo>
                <a:lnTo>
                  <a:pt x="87313" y="367771"/>
                </a:lnTo>
                <a:lnTo>
                  <a:pt x="84667" y="365125"/>
                </a:lnTo>
                <a:lnTo>
                  <a:pt x="82021" y="365125"/>
                </a:lnTo>
                <a:lnTo>
                  <a:pt x="79375" y="359834"/>
                </a:lnTo>
                <a:lnTo>
                  <a:pt x="79375" y="357188"/>
                </a:lnTo>
                <a:lnTo>
                  <a:pt x="76729" y="354542"/>
                </a:lnTo>
                <a:lnTo>
                  <a:pt x="74083" y="354542"/>
                </a:lnTo>
                <a:lnTo>
                  <a:pt x="68792" y="354542"/>
                </a:lnTo>
                <a:lnTo>
                  <a:pt x="66146" y="357188"/>
                </a:lnTo>
                <a:lnTo>
                  <a:pt x="66146" y="354542"/>
                </a:lnTo>
                <a:lnTo>
                  <a:pt x="68792" y="351896"/>
                </a:lnTo>
                <a:lnTo>
                  <a:pt x="68792" y="343959"/>
                </a:lnTo>
                <a:lnTo>
                  <a:pt x="71437" y="338667"/>
                </a:lnTo>
                <a:lnTo>
                  <a:pt x="76729" y="330730"/>
                </a:lnTo>
                <a:lnTo>
                  <a:pt x="79375" y="330730"/>
                </a:lnTo>
                <a:lnTo>
                  <a:pt x="82021" y="330730"/>
                </a:lnTo>
                <a:lnTo>
                  <a:pt x="82021" y="333376"/>
                </a:lnTo>
                <a:lnTo>
                  <a:pt x="87313" y="330730"/>
                </a:lnTo>
                <a:lnTo>
                  <a:pt x="87313" y="328084"/>
                </a:lnTo>
                <a:close/>
                <a:moveTo>
                  <a:pt x="150813" y="111125"/>
                </a:moveTo>
                <a:lnTo>
                  <a:pt x="158750" y="113771"/>
                </a:lnTo>
                <a:lnTo>
                  <a:pt x="164042" y="113771"/>
                </a:lnTo>
                <a:lnTo>
                  <a:pt x="166688" y="113771"/>
                </a:lnTo>
                <a:lnTo>
                  <a:pt x="169333" y="116417"/>
                </a:lnTo>
                <a:lnTo>
                  <a:pt x="169333" y="121708"/>
                </a:lnTo>
                <a:lnTo>
                  <a:pt x="169333" y="127000"/>
                </a:lnTo>
                <a:lnTo>
                  <a:pt x="171979" y="129646"/>
                </a:lnTo>
                <a:lnTo>
                  <a:pt x="182563" y="132292"/>
                </a:lnTo>
                <a:lnTo>
                  <a:pt x="193146" y="137584"/>
                </a:lnTo>
                <a:lnTo>
                  <a:pt x="203729" y="142875"/>
                </a:lnTo>
                <a:lnTo>
                  <a:pt x="214313" y="156104"/>
                </a:lnTo>
                <a:lnTo>
                  <a:pt x="216958" y="164042"/>
                </a:lnTo>
                <a:lnTo>
                  <a:pt x="219604" y="171979"/>
                </a:lnTo>
                <a:lnTo>
                  <a:pt x="224896" y="190500"/>
                </a:lnTo>
                <a:lnTo>
                  <a:pt x="227542" y="195792"/>
                </a:lnTo>
                <a:lnTo>
                  <a:pt x="224896" y="198438"/>
                </a:lnTo>
                <a:lnTo>
                  <a:pt x="222250" y="195792"/>
                </a:lnTo>
                <a:lnTo>
                  <a:pt x="219604" y="195792"/>
                </a:lnTo>
                <a:lnTo>
                  <a:pt x="216958" y="198438"/>
                </a:lnTo>
                <a:lnTo>
                  <a:pt x="216958" y="206375"/>
                </a:lnTo>
                <a:lnTo>
                  <a:pt x="222250" y="211667"/>
                </a:lnTo>
                <a:lnTo>
                  <a:pt x="230188" y="219605"/>
                </a:lnTo>
                <a:lnTo>
                  <a:pt x="235479" y="227542"/>
                </a:lnTo>
                <a:lnTo>
                  <a:pt x="235479" y="235480"/>
                </a:lnTo>
                <a:lnTo>
                  <a:pt x="235479" y="254000"/>
                </a:lnTo>
                <a:lnTo>
                  <a:pt x="238125" y="261938"/>
                </a:lnTo>
                <a:lnTo>
                  <a:pt x="240771" y="264584"/>
                </a:lnTo>
                <a:lnTo>
                  <a:pt x="248708" y="269875"/>
                </a:lnTo>
                <a:lnTo>
                  <a:pt x="251354" y="275167"/>
                </a:lnTo>
                <a:lnTo>
                  <a:pt x="248708" y="280459"/>
                </a:lnTo>
                <a:lnTo>
                  <a:pt x="246063" y="288396"/>
                </a:lnTo>
                <a:lnTo>
                  <a:pt x="246063" y="293688"/>
                </a:lnTo>
                <a:lnTo>
                  <a:pt x="243417" y="296334"/>
                </a:lnTo>
                <a:lnTo>
                  <a:pt x="238125" y="301626"/>
                </a:lnTo>
                <a:lnTo>
                  <a:pt x="238125" y="293688"/>
                </a:lnTo>
                <a:lnTo>
                  <a:pt x="235479" y="283105"/>
                </a:lnTo>
                <a:lnTo>
                  <a:pt x="232833" y="280459"/>
                </a:lnTo>
                <a:lnTo>
                  <a:pt x="230188" y="280459"/>
                </a:lnTo>
                <a:lnTo>
                  <a:pt x="227542" y="283105"/>
                </a:lnTo>
                <a:lnTo>
                  <a:pt x="227542" y="285751"/>
                </a:lnTo>
                <a:lnTo>
                  <a:pt x="230188" y="288396"/>
                </a:lnTo>
                <a:lnTo>
                  <a:pt x="230188" y="291042"/>
                </a:lnTo>
                <a:lnTo>
                  <a:pt x="230188" y="293688"/>
                </a:lnTo>
                <a:lnTo>
                  <a:pt x="230188" y="296334"/>
                </a:lnTo>
                <a:lnTo>
                  <a:pt x="227542" y="296334"/>
                </a:lnTo>
                <a:lnTo>
                  <a:pt x="222250" y="298980"/>
                </a:lnTo>
                <a:lnTo>
                  <a:pt x="224896" y="301626"/>
                </a:lnTo>
                <a:lnTo>
                  <a:pt x="224896" y="306917"/>
                </a:lnTo>
                <a:lnTo>
                  <a:pt x="222250" y="309563"/>
                </a:lnTo>
                <a:lnTo>
                  <a:pt x="219604" y="309563"/>
                </a:lnTo>
                <a:lnTo>
                  <a:pt x="216958" y="306917"/>
                </a:lnTo>
                <a:lnTo>
                  <a:pt x="214313" y="304271"/>
                </a:lnTo>
                <a:lnTo>
                  <a:pt x="211667" y="301626"/>
                </a:lnTo>
                <a:lnTo>
                  <a:pt x="209021" y="301626"/>
                </a:lnTo>
                <a:lnTo>
                  <a:pt x="206375" y="306917"/>
                </a:lnTo>
                <a:lnTo>
                  <a:pt x="203729" y="309563"/>
                </a:lnTo>
                <a:lnTo>
                  <a:pt x="198438" y="312209"/>
                </a:lnTo>
                <a:lnTo>
                  <a:pt x="190500" y="312209"/>
                </a:lnTo>
                <a:lnTo>
                  <a:pt x="174625" y="309563"/>
                </a:lnTo>
                <a:lnTo>
                  <a:pt x="171979" y="309563"/>
                </a:lnTo>
                <a:lnTo>
                  <a:pt x="174625" y="306917"/>
                </a:lnTo>
                <a:lnTo>
                  <a:pt x="171979" y="306917"/>
                </a:lnTo>
                <a:lnTo>
                  <a:pt x="164042" y="306917"/>
                </a:lnTo>
                <a:lnTo>
                  <a:pt x="161396" y="304271"/>
                </a:lnTo>
                <a:lnTo>
                  <a:pt x="158750" y="304271"/>
                </a:lnTo>
                <a:lnTo>
                  <a:pt x="158750" y="306917"/>
                </a:lnTo>
                <a:lnTo>
                  <a:pt x="158750" y="309563"/>
                </a:lnTo>
                <a:lnTo>
                  <a:pt x="161396" y="312209"/>
                </a:lnTo>
                <a:lnTo>
                  <a:pt x="164042" y="312209"/>
                </a:lnTo>
                <a:lnTo>
                  <a:pt x="166688" y="312209"/>
                </a:lnTo>
                <a:lnTo>
                  <a:pt x="169333" y="314855"/>
                </a:lnTo>
                <a:lnTo>
                  <a:pt x="171979" y="317501"/>
                </a:lnTo>
                <a:lnTo>
                  <a:pt x="169333" y="320146"/>
                </a:lnTo>
                <a:lnTo>
                  <a:pt x="166688" y="322792"/>
                </a:lnTo>
                <a:lnTo>
                  <a:pt x="164042" y="328084"/>
                </a:lnTo>
                <a:lnTo>
                  <a:pt x="164042" y="333376"/>
                </a:lnTo>
                <a:lnTo>
                  <a:pt x="164042" y="336021"/>
                </a:lnTo>
                <a:lnTo>
                  <a:pt x="166688" y="338667"/>
                </a:lnTo>
                <a:lnTo>
                  <a:pt x="161396" y="341313"/>
                </a:lnTo>
                <a:lnTo>
                  <a:pt x="153458" y="338667"/>
                </a:lnTo>
                <a:lnTo>
                  <a:pt x="145521" y="336021"/>
                </a:lnTo>
                <a:lnTo>
                  <a:pt x="140229" y="336021"/>
                </a:lnTo>
                <a:lnTo>
                  <a:pt x="134938" y="333376"/>
                </a:lnTo>
                <a:lnTo>
                  <a:pt x="132292" y="333376"/>
                </a:lnTo>
                <a:lnTo>
                  <a:pt x="132292" y="325438"/>
                </a:lnTo>
                <a:lnTo>
                  <a:pt x="132292" y="320146"/>
                </a:lnTo>
                <a:lnTo>
                  <a:pt x="129646" y="317501"/>
                </a:lnTo>
                <a:lnTo>
                  <a:pt x="127000" y="314855"/>
                </a:lnTo>
                <a:lnTo>
                  <a:pt x="129646" y="309563"/>
                </a:lnTo>
                <a:lnTo>
                  <a:pt x="119063" y="312209"/>
                </a:lnTo>
                <a:lnTo>
                  <a:pt x="105833" y="309563"/>
                </a:lnTo>
                <a:lnTo>
                  <a:pt x="100542" y="312209"/>
                </a:lnTo>
                <a:lnTo>
                  <a:pt x="97896" y="312209"/>
                </a:lnTo>
                <a:lnTo>
                  <a:pt x="97896" y="314855"/>
                </a:lnTo>
                <a:lnTo>
                  <a:pt x="92604" y="314855"/>
                </a:lnTo>
                <a:lnTo>
                  <a:pt x="87313" y="314855"/>
                </a:lnTo>
                <a:lnTo>
                  <a:pt x="84667" y="317501"/>
                </a:lnTo>
                <a:lnTo>
                  <a:pt x="82020" y="320146"/>
                </a:lnTo>
                <a:lnTo>
                  <a:pt x="76729" y="317501"/>
                </a:lnTo>
                <a:lnTo>
                  <a:pt x="74083" y="317501"/>
                </a:lnTo>
                <a:lnTo>
                  <a:pt x="71437" y="320146"/>
                </a:lnTo>
                <a:lnTo>
                  <a:pt x="71437" y="322792"/>
                </a:lnTo>
                <a:lnTo>
                  <a:pt x="66145" y="320146"/>
                </a:lnTo>
                <a:lnTo>
                  <a:pt x="63500" y="322792"/>
                </a:lnTo>
                <a:lnTo>
                  <a:pt x="60854" y="328084"/>
                </a:lnTo>
                <a:lnTo>
                  <a:pt x="58208" y="333376"/>
                </a:lnTo>
                <a:lnTo>
                  <a:pt x="55562" y="333376"/>
                </a:lnTo>
                <a:lnTo>
                  <a:pt x="52916" y="333376"/>
                </a:lnTo>
                <a:lnTo>
                  <a:pt x="44979" y="330730"/>
                </a:lnTo>
                <a:lnTo>
                  <a:pt x="37041" y="333376"/>
                </a:lnTo>
                <a:lnTo>
                  <a:pt x="29104" y="333376"/>
                </a:lnTo>
                <a:lnTo>
                  <a:pt x="23812" y="333376"/>
                </a:lnTo>
                <a:lnTo>
                  <a:pt x="18520" y="328084"/>
                </a:lnTo>
                <a:lnTo>
                  <a:pt x="13229" y="322792"/>
                </a:lnTo>
                <a:lnTo>
                  <a:pt x="13229" y="320146"/>
                </a:lnTo>
                <a:lnTo>
                  <a:pt x="15875" y="320146"/>
                </a:lnTo>
                <a:lnTo>
                  <a:pt x="23812" y="317501"/>
                </a:lnTo>
                <a:lnTo>
                  <a:pt x="26458" y="317501"/>
                </a:lnTo>
                <a:lnTo>
                  <a:pt x="29104" y="314855"/>
                </a:lnTo>
                <a:lnTo>
                  <a:pt x="34395" y="304271"/>
                </a:lnTo>
                <a:lnTo>
                  <a:pt x="39687" y="296334"/>
                </a:lnTo>
                <a:lnTo>
                  <a:pt x="44979" y="291042"/>
                </a:lnTo>
                <a:lnTo>
                  <a:pt x="42333" y="288396"/>
                </a:lnTo>
                <a:lnTo>
                  <a:pt x="50270" y="285751"/>
                </a:lnTo>
                <a:lnTo>
                  <a:pt x="58208" y="283105"/>
                </a:lnTo>
                <a:lnTo>
                  <a:pt x="63500" y="283105"/>
                </a:lnTo>
                <a:lnTo>
                  <a:pt x="76729" y="280459"/>
                </a:lnTo>
                <a:lnTo>
                  <a:pt x="95250" y="275167"/>
                </a:lnTo>
                <a:lnTo>
                  <a:pt x="97896" y="275167"/>
                </a:lnTo>
                <a:lnTo>
                  <a:pt x="100542" y="275167"/>
                </a:lnTo>
                <a:lnTo>
                  <a:pt x="103188" y="277813"/>
                </a:lnTo>
                <a:lnTo>
                  <a:pt x="105833" y="275167"/>
                </a:lnTo>
                <a:lnTo>
                  <a:pt x="111125" y="275167"/>
                </a:lnTo>
                <a:lnTo>
                  <a:pt x="113771" y="277813"/>
                </a:lnTo>
                <a:lnTo>
                  <a:pt x="116417" y="280459"/>
                </a:lnTo>
                <a:lnTo>
                  <a:pt x="121708" y="277813"/>
                </a:lnTo>
                <a:lnTo>
                  <a:pt x="124354" y="275167"/>
                </a:lnTo>
                <a:lnTo>
                  <a:pt x="121708" y="272521"/>
                </a:lnTo>
                <a:lnTo>
                  <a:pt x="119063" y="269875"/>
                </a:lnTo>
                <a:lnTo>
                  <a:pt x="119063" y="261938"/>
                </a:lnTo>
                <a:lnTo>
                  <a:pt x="119063" y="254000"/>
                </a:lnTo>
                <a:lnTo>
                  <a:pt x="116417" y="248709"/>
                </a:lnTo>
                <a:lnTo>
                  <a:pt x="113771" y="243417"/>
                </a:lnTo>
                <a:lnTo>
                  <a:pt x="116417" y="235480"/>
                </a:lnTo>
                <a:lnTo>
                  <a:pt x="124354" y="224896"/>
                </a:lnTo>
                <a:lnTo>
                  <a:pt x="127000" y="224896"/>
                </a:lnTo>
                <a:lnTo>
                  <a:pt x="129646" y="224896"/>
                </a:lnTo>
                <a:lnTo>
                  <a:pt x="129646" y="227542"/>
                </a:lnTo>
                <a:lnTo>
                  <a:pt x="129646" y="232834"/>
                </a:lnTo>
                <a:lnTo>
                  <a:pt x="127000" y="235480"/>
                </a:lnTo>
                <a:lnTo>
                  <a:pt x="129646" y="235480"/>
                </a:lnTo>
                <a:lnTo>
                  <a:pt x="132292" y="238125"/>
                </a:lnTo>
                <a:lnTo>
                  <a:pt x="132292" y="243417"/>
                </a:lnTo>
                <a:lnTo>
                  <a:pt x="137583" y="243417"/>
                </a:lnTo>
                <a:lnTo>
                  <a:pt x="145521" y="235480"/>
                </a:lnTo>
                <a:lnTo>
                  <a:pt x="158750" y="224896"/>
                </a:lnTo>
                <a:lnTo>
                  <a:pt x="164042" y="219605"/>
                </a:lnTo>
                <a:lnTo>
                  <a:pt x="164042" y="214313"/>
                </a:lnTo>
                <a:lnTo>
                  <a:pt x="164042" y="209021"/>
                </a:lnTo>
                <a:lnTo>
                  <a:pt x="166688" y="203729"/>
                </a:lnTo>
                <a:lnTo>
                  <a:pt x="169333" y="193146"/>
                </a:lnTo>
                <a:lnTo>
                  <a:pt x="166688" y="182563"/>
                </a:lnTo>
                <a:lnTo>
                  <a:pt x="164042" y="174625"/>
                </a:lnTo>
                <a:lnTo>
                  <a:pt x="158750" y="169334"/>
                </a:lnTo>
                <a:lnTo>
                  <a:pt x="156104" y="166688"/>
                </a:lnTo>
                <a:lnTo>
                  <a:pt x="153458" y="166688"/>
                </a:lnTo>
                <a:lnTo>
                  <a:pt x="150813" y="166688"/>
                </a:lnTo>
                <a:lnTo>
                  <a:pt x="148167" y="164042"/>
                </a:lnTo>
                <a:lnTo>
                  <a:pt x="148167" y="161396"/>
                </a:lnTo>
                <a:lnTo>
                  <a:pt x="150813" y="158750"/>
                </a:lnTo>
                <a:lnTo>
                  <a:pt x="150813" y="153459"/>
                </a:lnTo>
                <a:lnTo>
                  <a:pt x="140229" y="142875"/>
                </a:lnTo>
                <a:lnTo>
                  <a:pt x="137583" y="140229"/>
                </a:lnTo>
                <a:lnTo>
                  <a:pt x="137583" y="137584"/>
                </a:lnTo>
                <a:lnTo>
                  <a:pt x="142875" y="132292"/>
                </a:lnTo>
                <a:lnTo>
                  <a:pt x="140229" y="129646"/>
                </a:lnTo>
                <a:lnTo>
                  <a:pt x="137583" y="127000"/>
                </a:lnTo>
                <a:lnTo>
                  <a:pt x="137583" y="124354"/>
                </a:lnTo>
                <a:lnTo>
                  <a:pt x="140229" y="121708"/>
                </a:lnTo>
                <a:lnTo>
                  <a:pt x="142875" y="121708"/>
                </a:lnTo>
                <a:lnTo>
                  <a:pt x="148167" y="124354"/>
                </a:lnTo>
                <a:lnTo>
                  <a:pt x="153458" y="127000"/>
                </a:lnTo>
                <a:lnTo>
                  <a:pt x="156104" y="127000"/>
                </a:lnTo>
                <a:lnTo>
                  <a:pt x="158750" y="119063"/>
                </a:lnTo>
                <a:lnTo>
                  <a:pt x="158750" y="116417"/>
                </a:lnTo>
                <a:lnTo>
                  <a:pt x="153458" y="119063"/>
                </a:lnTo>
                <a:lnTo>
                  <a:pt x="150813" y="121708"/>
                </a:lnTo>
                <a:lnTo>
                  <a:pt x="148167" y="121708"/>
                </a:lnTo>
                <a:lnTo>
                  <a:pt x="148167" y="116417"/>
                </a:lnTo>
                <a:lnTo>
                  <a:pt x="148167" y="113771"/>
                </a:lnTo>
                <a:close/>
                <a:moveTo>
                  <a:pt x="89958" y="0"/>
                </a:moveTo>
                <a:lnTo>
                  <a:pt x="92604" y="0"/>
                </a:lnTo>
                <a:lnTo>
                  <a:pt x="95250" y="2646"/>
                </a:lnTo>
                <a:lnTo>
                  <a:pt x="105833" y="10584"/>
                </a:lnTo>
                <a:lnTo>
                  <a:pt x="113771" y="15875"/>
                </a:lnTo>
                <a:lnTo>
                  <a:pt x="124354" y="21167"/>
                </a:lnTo>
                <a:lnTo>
                  <a:pt x="134937" y="23813"/>
                </a:lnTo>
                <a:lnTo>
                  <a:pt x="142875" y="29104"/>
                </a:lnTo>
                <a:lnTo>
                  <a:pt x="153458" y="34396"/>
                </a:lnTo>
                <a:lnTo>
                  <a:pt x="164042" y="37042"/>
                </a:lnTo>
                <a:lnTo>
                  <a:pt x="185208" y="42334"/>
                </a:lnTo>
                <a:lnTo>
                  <a:pt x="193146" y="44979"/>
                </a:lnTo>
                <a:lnTo>
                  <a:pt x="195792" y="42334"/>
                </a:lnTo>
                <a:lnTo>
                  <a:pt x="203729" y="37042"/>
                </a:lnTo>
                <a:lnTo>
                  <a:pt x="209021" y="29104"/>
                </a:lnTo>
                <a:lnTo>
                  <a:pt x="211667" y="29104"/>
                </a:lnTo>
                <a:lnTo>
                  <a:pt x="209021" y="42334"/>
                </a:lnTo>
                <a:lnTo>
                  <a:pt x="209021" y="47625"/>
                </a:lnTo>
                <a:lnTo>
                  <a:pt x="211667" y="50271"/>
                </a:lnTo>
                <a:lnTo>
                  <a:pt x="216958" y="50271"/>
                </a:lnTo>
                <a:lnTo>
                  <a:pt x="216958" y="52917"/>
                </a:lnTo>
                <a:lnTo>
                  <a:pt x="219604" y="58209"/>
                </a:lnTo>
                <a:lnTo>
                  <a:pt x="222250" y="58209"/>
                </a:lnTo>
                <a:lnTo>
                  <a:pt x="230188" y="58209"/>
                </a:lnTo>
                <a:lnTo>
                  <a:pt x="235479" y="58209"/>
                </a:lnTo>
                <a:lnTo>
                  <a:pt x="227542" y="63500"/>
                </a:lnTo>
                <a:lnTo>
                  <a:pt x="216958" y="71438"/>
                </a:lnTo>
                <a:lnTo>
                  <a:pt x="211667" y="71438"/>
                </a:lnTo>
                <a:lnTo>
                  <a:pt x="203729" y="71438"/>
                </a:lnTo>
                <a:lnTo>
                  <a:pt x="198437" y="74084"/>
                </a:lnTo>
                <a:lnTo>
                  <a:pt x="193146" y="79375"/>
                </a:lnTo>
                <a:lnTo>
                  <a:pt x="193146" y="84667"/>
                </a:lnTo>
                <a:lnTo>
                  <a:pt x="193146" y="89959"/>
                </a:lnTo>
                <a:lnTo>
                  <a:pt x="198437" y="95251"/>
                </a:lnTo>
                <a:lnTo>
                  <a:pt x="195792" y="95251"/>
                </a:lnTo>
                <a:lnTo>
                  <a:pt x="187854" y="95251"/>
                </a:lnTo>
                <a:lnTo>
                  <a:pt x="177271" y="92605"/>
                </a:lnTo>
                <a:lnTo>
                  <a:pt x="169333" y="89959"/>
                </a:lnTo>
                <a:lnTo>
                  <a:pt x="161396" y="89959"/>
                </a:lnTo>
                <a:lnTo>
                  <a:pt x="150812" y="84667"/>
                </a:lnTo>
                <a:lnTo>
                  <a:pt x="145521" y="82021"/>
                </a:lnTo>
                <a:lnTo>
                  <a:pt x="142875" y="82021"/>
                </a:lnTo>
                <a:lnTo>
                  <a:pt x="137583" y="84667"/>
                </a:lnTo>
                <a:lnTo>
                  <a:pt x="134937" y="87313"/>
                </a:lnTo>
                <a:lnTo>
                  <a:pt x="132291" y="89959"/>
                </a:lnTo>
                <a:lnTo>
                  <a:pt x="129646" y="87313"/>
                </a:lnTo>
                <a:lnTo>
                  <a:pt x="121708" y="87313"/>
                </a:lnTo>
                <a:lnTo>
                  <a:pt x="116416" y="89959"/>
                </a:lnTo>
                <a:lnTo>
                  <a:pt x="116416" y="92605"/>
                </a:lnTo>
                <a:lnTo>
                  <a:pt x="124354" y="95251"/>
                </a:lnTo>
                <a:lnTo>
                  <a:pt x="134937" y="97896"/>
                </a:lnTo>
                <a:lnTo>
                  <a:pt x="142875" y="103188"/>
                </a:lnTo>
                <a:lnTo>
                  <a:pt x="148166" y="108480"/>
                </a:lnTo>
                <a:lnTo>
                  <a:pt x="137583" y="111126"/>
                </a:lnTo>
                <a:lnTo>
                  <a:pt x="134937" y="116417"/>
                </a:lnTo>
                <a:lnTo>
                  <a:pt x="132291" y="119063"/>
                </a:lnTo>
                <a:lnTo>
                  <a:pt x="127000" y="119063"/>
                </a:lnTo>
                <a:lnTo>
                  <a:pt x="124354" y="119063"/>
                </a:lnTo>
                <a:lnTo>
                  <a:pt x="121708" y="116417"/>
                </a:lnTo>
                <a:lnTo>
                  <a:pt x="121708" y="108480"/>
                </a:lnTo>
                <a:lnTo>
                  <a:pt x="121708" y="103188"/>
                </a:lnTo>
                <a:lnTo>
                  <a:pt x="119062" y="103188"/>
                </a:lnTo>
                <a:lnTo>
                  <a:pt x="116416" y="100542"/>
                </a:lnTo>
                <a:lnTo>
                  <a:pt x="108479" y="97896"/>
                </a:lnTo>
                <a:lnTo>
                  <a:pt x="103187" y="95251"/>
                </a:lnTo>
                <a:lnTo>
                  <a:pt x="100541" y="89959"/>
                </a:lnTo>
                <a:lnTo>
                  <a:pt x="103187" y="84667"/>
                </a:lnTo>
                <a:lnTo>
                  <a:pt x="105833" y="82021"/>
                </a:lnTo>
                <a:lnTo>
                  <a:pt x="105833" y="79375"/>
                </a:lnTo>
                <a:lnTo>
                  <a:pt x="103187" y="74084"/>
                </a:lnTo>
                <a:lnTo>
                  <a:pt x="97895" y="71438"/>
                </a:lnTo>
                <a:lnTo>
                  <a:pt x="97895" y="68792"/>
                </a:lnTo>
                <a:lnTo>
                  <a:pt x="100541" y="68792"/>
                </a:lnTo>
                <a:lnTo>
                  <a:pt x="105833" y="68792"/>
                </a:lnTo>
                <a:lnTo>
                  <a:pt x="111125" y="68792"/>
                </a:lnTo>
                <a:lnTo>
                  <a:pt x="116416" y="63500"/>
                </a:lnTo>
                <a:lnTo>
                  <a:pt x="116416" y="60855"/>
                </a:lnTo>
                <a:lnTo>
                  <a:pt x="111125" y="55563"/>
                </a:lnTo>
                <a:lnTo>
                  <a:pt x="108479" y="50271"/>
                </a:lnTo>
                <a:lnTo>
                  <a:pt x="108479" y="47625"/>
                </a:lnTo>
                <a:lnTo>
                  <a:pt x="108479" y="42334"/>
                </a:lnTo>
                <a:lnTo>
                  <a:pt x="111125" y="39688"/>
                </a:lnTo>
                <a:lnTo>
                  <a:pt x="108479" y="37042"/>
                </a:lnTo>
                <a:lnTo>
                  <a:pt x="103187" y="34396"/>
                </a:lnTo>
                <a:lnTo>
                  <a:pt x="100541" y="31750"/>
                </a:lnTo>
                <a:lnTo>
                  <a:pt x="95250" y="21167"/>
                </a:lnTo>
                <a:lnTo>
                  <a:pt x="89958" y="15875"/>
                </a:lnTo>
                <a:lnTo>
                  <a:pt x="84666" y="13229"/>
                </a:lnTo>
                <a:lnTo>
                  <a:pt x="84666" y="10584"/>
                </a:lnTo>
                <a:lnTo>
                  <a:pt x="87312" y="7938"/>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43" name="Kazakhstan"/>
          <p:cNvSpPr>
            <a:spLocks/>
          </p:cNvSpPr>
          <p:nvPr/>
        </p:nvSpPr>
        <p:spPr bwMode="auto">
          <a:xfrm>
            <a:off x="5313963" y="1288942"/>
            <a:ext cx="840886" cy="345971"/>
          </a:xfrm>
          <a:custGeom>
            <a:avLst/>
            <a:gdLst/>
            <a:ahLst/>
            <a:cxnLst>
              <a:cxn ang="0">
                <a:pos x="474" y="288"/>
              </a:cxn>
              <a:cxn ang="0">
                <a:pos x="456" y="304"/>
              </a:cxn>
              <a:cxn ang="0">
                <a:pos x="420" y="292"/>
              </a:cxn>
              <a:cxn ang="0">
                <a:pos x="378" y="236"/>
              </a:cxn>
              <a:cxn ang="0">
                <a:pos x="354" y="238"/>
              </a:cxn>
              <a:cxn ang="0">
                <a:pos x="298" y="216"/>
              </a:cxn>
              <a:cxn ang="0">
                <a:pos x="288" y="192"/>
              </a:cxn>
              <a:cxn ang="0">
                <a:pos x="276" y="178"/>
              </a:cxn>
              <a:cxn ang="0">
                <a:pos x="252" y="176"/>
              </a:cxn>
              <a:cxn ang="0">
                <a:pos x="240" y="186"/>
              </a:cxn>
              <a:cxn ang="0">
                <a:pos x="206" y="202"/>
              </a:cxn>
              <a:cxn ang="0">
                <a:pos x="198" y="278"/>
              </a:cxn>
              <a:cxn ang="0">
                <a:pos x="156" y="282"/>
              </a:cxn>
              <a:cxn ang="0">
                <a:pos x="150" y="250"/>
              </a:cxn>
              <a:cxn ang="0">
                <a:pos x="128" y="240"/>
              </a:cxn>
              <a:cxn ang="0">
                <a:pos x="98" y="222"/>
              </a:cxn>
              <a:cxn ang="0">
                <a:pos x="102" y="214"/>
              </a:cxn>
              <a:cxn ang="0">
                <a:pos x="96" y="204"/>
              </a:cxn>
              <a:cxn ang="0">
                <a:pos x="120" y="192"/>
              </a:cxn>
              <a:cxn ang="0">
                <a:pos x="134" y="192"/>
              </a:cxn>
              <a:cxn ang="0">
                <a:pos x="132" y="172"/>
              </a:cxn>
              <a:cxn ang="0">
                <a:pos x="122" y="152"/>
              </a:cxn>
              <a:cxn ang="0">
                <a:pos x="82" y="160"/>
              </a:cxn>
              <a:cxn ang="0">
                <a:pos x="54" y="168"/>
              </a:cxn>
              <a:cxn ang="0">
                <a:pos x="46" y="150"/>
              </a:cxn>
              <a:cxn ang="0">
                <a:pos x="16" y="142"/>
              </a:cxn>
              <a:cxn ang="0">
                <a:pos x="0" y="126"/>
              </a:cxn>
              <a:cxn ang="0">
                <a:pos x="10" y="86"/>
              </a:cxn>
              <a:cxn ang="0">
                <a:pos x="32" y="94"/>
              </a:cxn>
              <a:cxn ang="0">
                <a:pos x="38" y="78"/>
              </a:cxn>
              <a:cxn ang="0">
                <a:pos x="56" y="64"/>
              </a:cxn>
              <a:cxn ang="0">
                <a:pos x="86" y="66"/>
              </a:cxn>
              <a:cxn ang="0">
                <a:pos x="118" y="72"/>
              </a:cxn>
              <a:cxn ang="0">
                <a:pos x="148" y="74"/>
              </a:cxn>
              <a:cxn ang="0">
                <a:pos x="172" y="78"/>
              </a:cxn>
              <a:cxn ang="0">
                <a:pos x="198" y="82"/>
              </a:cxn>
              <a:cxn ang="0">
                <a:pos x="246" y="84"/>
              </a:cxn>
              <a:cxn ang="0">
                <a:pos x="230" y="66"/>
              </a:cxn>
              <a:cxn ang="0">
                <a:pos x="228" y="46"/>
              </a:cxn>
              <a:cxn ang="0">
                <a:pos x="208" y="36"/>
              </a:cxn>
              <a:cxn ang="0">
                <a:pos x="282" y="22"/>
              </a:cxn>
              <a:cxn ang="0">
                <a:pos x="338" y="10"/>
              </a:cxn>
              <a:cxn ang="0">
                <a:pos x="374" y="4"/>
              </a:cxn>
              <a:cxn ang="0">
                <a:pos x="382" y="22"/>
              </a:cxn>
              <a:cxn ang="0">
                <a:pos x="406" y="22"/>
              </a:cxn>
              <a:cxn ang="0">
                <a:pos x="422" y="34"/>
              </a:cxn>
              <a:cxn ang="0">
                <a:pos x="444" y="24"/>
              </a:cxn>
              <a:cxn ang="0">
                <a:pos x="462" y="26"/>
              </a:cxn>
              <a:cxn ang="0">
                <a:pos x="568" y="88"/>
              </a:cxn>
              <a:cxn ang="0">
                <a:pos x="592" y="90"/>
              </a:cxn>
              <a:cxn ang="0">
                <a:pos x="640" y="96"/>
              </a:cxn>
              <a:cxn ang="0">
                <a:pos x="664" y="108"/>
              </a:cxn>
              <a:cxn ang="0">
                <a:pos x="690" y="104"/>
              </a:cxn>
              <a:cxn ang="0">
                <a:pos x="726" y="114"/>
              </a:cxn>
              <a:cxn ang="0">
                <a:pos x="722" y="122"/>
              </a:cxn>
              <a:cxn ang="0">
                <a:pos x="696" y="156"/>
              </a:cxn>
              <a:cxn ang="0">
                <a:pos x="674" y="186"/>
              </a:cxn>
              <a:cxn ang="0">
                <a:pos x="640" y="206"/>
              </a:cxn>
              <a:cxn ang="0">
                <a:pos x="664" y="234"/>
              </a:cxn>
              <a:cxn ang="0">
                <a:pos x="658" y="258"/>
              </a:cxn>
              <a:cxn ang="0">
                <a:pos x="634" y="250"/>
              </a:cxn>
              <a:cxn ang="0">
                <a:pos x="544" y="250"/>
              </a:cxn>
              <a:cxn ang="0">
                <a:pos x="512" y="252"/>
              </a:cxn>
            </a:cxnLst>
            <a:rect l="0" t="0" r="r" b="b"/>
            <a:pathLst>
              <a:path w="738" h="304">
                <a:moveTo>
                  <a:pt x="498" y="260"/>
                </a:moveTo>
                <a:lnTo>
                  <a:pt x="498" y="260"/>
                </a:lnTo>
                <a:lnTo>
                  <a:pt x="492" y="264"/>
                </a:lnTo>
                <a:lnTo>
                  <a:pt x="492" y="264"/>
                </a:lnTo>
                <a:lnTo>
                  <a:pt x="486" y="270"/>
                </a:lnTo>
                <a:lnTo>
                  <a:pt x="484" y="276"/>
                </a:lnTo>
                <a:lnTo>
                  <a:pt x="480" y="282"/>
                </a:lnTo>
                <a:lnTo>
                  <a:pt x="474" y="288"/>
                </a:lnTo>
                <a:lnTo>
                  <a:pt x="474" y="288"/>
                </a:lnTo>
                <a:lnTo>
                  <a:pt x="468" y="292"/>
                </a:lnTo>
                <a:lnTo>
                  <a:pt x="466" y="296"/>
                </a:lnTo>
                <a:lnTo>
                  <a:pt x="466" y="300"/>
                </a:lnTo>
                <a:lnTo>
                  <a:pt x="466" y="302"/>
                </a:lnTo>
                <a:lnTo>
                  <a:pt x="466" y="304"/>
                </a:lnTo>
                <a:lnTo>
                  <a:pt x="462" y="304"/>
                </a:lnTo>
                <a:lnTo>
                  <a:pt x="462" y="304"/>
                </a:lnTo>
                <a:lnTo>
                  <a:pt x="458" y="304"/>
                </a:lnTo>
                <a:lnTo>
                  <a:pt x="456" y="304"/>
                </a:lnTo>
                <a:lnTo>
                  <a:pt x="458" y="300"/>
                </a:lnTo>
                <a:lnTo>
                  <a:pt x="460" y="298"/>
                </a:lnTo>
                <a:lnTo>
                  <a:pt x="456" y="298"/>
                </a:lnTo>
                <a:lnTo>
                  <a:pt x="456" y="298"/>
                </a:lnTo>
                <a:lnTo>
                  <a:pt x="438" y="300"/>
                </a:lnTo>
                <a:lnTo>
                  <a:pt x="430" y="300"/>
                </a:lnTo>
                <a:lnTo>
                  <a:pt x="426" y="298"/>
                </a:lnTo>
                <a:lnTo>
                  <a:pt x="422" y="296"/>
                </a:lnTo>
                <a:lnTo>
                  <a:pt x="420" y="292"/>
                </a:lnTo>
                <a:lnTo>
                  <a:pt x="418" y="280"/>
                </a:lnTo>
                <a:lnTo>
                  <a:pt x="408" y="282"/>
                </a:lnTo>
                <a:lnTo>
                  <a:pt x="398" y="266"/>
                </a:lnTo>
                <a:lnTo>
                  <a:pt x="406" y="266"/>
                </a:lnTo>
                <a:lnTo>
                  <a:pt x="402" y="248"/>
                </a:lnTo>
                <a:lnTo>
                  <a:pt x="394" y="254"/>
                </a:lnTo>
                <a:lnTo>
                  <a:pt x="394" y="254"/>
                </a:lnTo>
                <a:lnTo>
                  <a:pt x="382" y="240"/>
                </a:lnTo>
                <a:lnTo>
                  <a:pt x="378" y="236"/>
                </a:lnTo>
                <a:lnTo>
                  <a:pt x="374" y="234"/>
                </a:lnTo>
                <a:lnTo>
                  <a:pt x="370" y="234"/>
                </a:lnTo>
                <a:lnTo>
                  <a:pt x="364" y="232"/>
                </a:lnTo>
                <a:lnTo>
                  <a:pt x="364" y="232"/>
                </a:lnTo>
                <a:lnTo>
                  <a:pt x="360" y="228"/>
                </a:lnTo>
                <a:lnTo>
                  <a:pt x="360" y="232"/>
                </a:lnTo>
                <a:lnTo>
                  <a:pt x="358" y="236"/>
                </a:lnTo>
                <a:lnTo>
                  <a:pt x="356" y="238"/>
                </a:lnTo>
                <a:lnTo>
                  <a:pt x="354" y="238"/>
                </a:lnTo>
                <a:lnTo>
                  <a:pt x="354" y="238"/>
                </a:lnTo>
                <a:lnTo>
                  <a:pt x="308" y="236"/>
                </a:lnTo>
                <a:lnTo>
                  <a:pt x="308" y="236"/>
                </a:lnTo>
                <a:lnTo>
                  <a:pt x="306" y="236"/>
                </a:lnTo>
                <a:lnTo>
                  <a:pt x="302" y="234"/>
                </a:lnTo>
                <a:lnTo>
                  <a:pt x="298" y="226"/>
                </a:lnTo>
                <a:lnTo>
                  <a:pt x="296" y="220"/>
                </a:lnTo>
                <a:lnTo>
                  <a:pt x="296" y="216"/>
                </a:lnTo>
                <a:lnTo>
                  <a:pt x="298" y="216"/>
                </a:lnTo>
                <a:lnTo>
                  <a:pt x="298" y="216"/>
                </a:lnTo>
                <a:lnTo>
                  <a:pt x="298" y="214"/>
                </a:lnTo>
                <a:lnTo>
                  <a:pt x="298" y="212"/>
                </a:lnTo>
                <a:lnTo>
                  <a:pt x="296" y="206"/>
                </a:lnTo>
                <a:lnTo>
                  <a:pt x="292" y="198"/>
                </a:lnTo>
                <a:lnTo>
                  <a:pt x="290" y="196"/>
                </a:lnTo>
                <a:lnTo>
                  <a:pt x="286" y="194"/>
                </a:lnTo>
                <a:lnTo>
                  <a:pt x="286" y="194"/>
                </a:lnTo>
                <a:lnTo>
                  <a:pt x="288" y="192"/>
                </a:lnTo>
                <a:lnTo>
                  <a:pt x="288" y="192"/>
                </a:lnTo>
                <a:lnTo>
                  <a:pt x="286" y="190"/>
                </a:lnTo>
                <a:lnTo>
                  <a:pt x="286" y="190"/>
                </a:lnTo>
                <a:lnTo>
                  <a:pt x="284" y="190"/>
                </a:lnTo>
                <a:lnTo>
                  <a:pt x="282" y="188"/>
                </a:lnTo>
                <a:lnTo>
                  <a:pt x="282" y="182"/>
                </a:lnTo>
                <a:lnTo>
                  <a:pt x="280" y="180"/>
                </a:lnTo>
                <a:lnTo>
                  <a:pt x="280" y="178"/>
                </a:lnTo>
                <a:lnTo>
                  <a:pt x="276" y="178"/>
                </a:lnTo>
                <a:lnTo>
                  <a:pt x="270" y="178"/>
                </a:lnTo>
                <a:lnTo>
                  <a:pt x="270" y="178"/>
                </a:lnTo>
                <a:lnTo>
                  <a:pt x="264" y="180"/>
                </a:lnTo>
                <a:lnTo>
                  <a:pt x="260" y="178"/>
                </a:lnTo>
                <a:lnTo>
                  <a:pt x="258" y="178"/>
                </a:lnTo>
                <a:lnTo>
                  <a:pt x="258" y="176"/>
                </a:lnTo>
                <a:lnTo>
                  <a:pt x="256" y="174"/>
                </a:lnTo>
                <a:lnTo>
                  <a:pt x="252" y="176"/>
                </a:lnTo>
                <a:lnTo>
                  <a:pt x="252" y="176"/>
                </a:lnTo>
                <a:lnTo>
                  <a:pt x="250" y="178"/>
                </a:lnTo>
                <a:lnTo>
                  <a:pt x="248" y="178"/>
                </a:lnTo>
                <a:lnTo>
                  <a:pt x="246" y="174"/>
                </a:lnTo>
                <a:lnTo>
                  <a:pt x="244" y="172"/>
                </a:lnTo>
                <a:lnTo>
                  <a:pt x="244" y="180"/>
                </a:lnTo>
                <a:lnTo>
                  <a:pt x="244" y="180"/>
                </a:lnTo>
                <a:lnTo>
                  <a:pt x="244" y="188"/>
                </a:lnTo>
                <a:lnTo>
                  <a:pt x="244" y="192"/>
                </a:lnTo>
                <a:lnTo>
                  <a:pt x="240" y="186"/>
                </a:lnTo>
                <a:lnTo>
                  <a:pt x="236" y="182"/>
                </a:lnTo>
                <a:lnTo>
                  <a:pt x="236" y="182"/>
                </a:lnTo>
                <a:lnTo>
                  <a:pt x="234" y="190"/>
                </a:lnTo>
                <a:lnTo>
                  <a:pt x="234" y="190"/>
                </a:lnTo>
                <a:lnTo>
                  <a:pt x="234" y="192"/>
                </a:lnTo>
                <a:lnTo>
                  <a:pt x="230" y="194"/>
                </a:lnTo>
                <a:lnTo>
                  <a:pt x="218" y="196"/>
                </a:lnTo>
                <a:lnTo>
                  <a:pt x="212" y="200"/>
                </a:lnTo>
                <a:lnTo>
                  <a:pt x="206" y="202"/>
                </a:lnTo>
                <a:lnTo>
                  <a:pt x="204" y="206"/>
                </a:lnTo>
                <a:lnTo>
                  <a:pt x="204" y="212"/>
                </a:lnTo>
                <a:lnTo>
                  <a:pt x="204" y="212"/>
                </a:lnTo>
                <a:lnTo>
                  <a:pt x="226" y="288"/>
                </a:lnTo>
                <a:lnTo>
                  <a:pt x="226" y="288"/>
                </a:lnTo>
                <a:lnTo>
                  <a:pt x="210" y="288"/>
                </a:lnTo>
                <a:lnTo>
                  <a:pt x="204" y="284"/>
                </a:lnTo>
                <a:lnTo>
                  <a:pt x="198" y="278"/>
                </a:lnTo>
                <a:lnTo>
                  <a:pt x="198" y="278"/>
                </a:lnTo>
                <a:lnTo>
                  <a:pt x="196" y="274"/>
                </a:lnTo>
                <a:lnTo>
                  <a:pt x="190" y="270"/>
                </a:lnTo>
                <a:lnTo>
                  <a:pt x="184" y="266"/>
                </a:lnTo>
                <a:lnTo>
                  <a:pt x="178" y="266"/>
                </a:lnTo>
                <a:lnTo>
                  <a:pt x="172" y="266"/>
                </a:lnTo>
                <a:lnTo>
                  <a:pt x="164" y="268"/>
                </a:lnTo>
                <a:lnTo>
                  <a:pt x="160" y="274"/>
                </a:lnTo>
                <a:lnTo>
                  <a:pt x="156" y="282"/>
                </a:lnTo>
                <a:lnTo>
                  <a:pt x="156" y="282"/>
                </a:lnTo>
                <a:lnTo>
                  <a:pt x="152" y="280"/>
                </a:lnTo>
                <a:lnTo>
                  <a:pt x="148" y="278"/>
                </a:lnTo>
                <a:lnTo>
                  <a:pt x="146" y="272"/>
                </a:lnTo>
                <a:lnTo>
                  <a:pt x="146" y="266"/>
                </a:lnTo>
                <a:lnTo>
                  <a:pt x="148" y="264"/>
                </a:lnTo>
                <a:lnTo>
                  <a:pt x="148" y="264"/>
                </a:lnTo>
                <a:lnTo>
                  <a:pt x="150" y="260"/>
                </a:lnTo>
                <a:lnTo>
                  <a:pt x="150" y="256"/>
                </a:lnTo>
                <a:lnTo>
                  <a:pt x="150" y="250"/>
                </a:lnTo>
                <a:lnTo>
                  <a:pt x="150" y="250"/>
                </a:lnTo>
                <a:lnTo>
                  <a:pt x="150" y="246"/>
                </a:lnTo>
                <a:lnTo>
                  <a:pt x="148" y="246"/>
                </a:lnTo>
                <a:lnTo>
                  <a:pt x="138" y="248"/>
                </a:lnTo>
                <a:lnTo>
                  <a:pt x="128" y="248"/>
                </a:lnTo>
                <a:lnTo>
                  <a:pt x="126" y="248"/>
                </a:lnTo>
                <a:lnTo>
                  <a:pt x="126" y="244"/>
                </a:lnTo>
                <a:lnTo>
                  <a:pt x="126" y="244"/>
                </a:lnTo>
                <a:lnTo>
                  <a:pt x="128" y="240"/>
                </a:lnTo>
                <a:lnTo>
                  <a:pt x="126" y="240"/>
                </a:lnTo>
                <a:lnTo>
                  <a:pt x="120" y="238"/>
                </a:lnTo>
                <a:lnTo>
                  <a:pt x="114" y="238"/>
                </a:lnTo>
                <a:lnTo>
                  <a:pt x="112" y="236"/>
                </a:lnTo>
                <a:lnTo>
                  <a:pt x="110" y="232"/>
                </a:lnTo>
                <a:lnTo>
                  <a:pt x="110" y="232"/>
                </a:lnTo>
                <a:lnTo>
                  <a:pt x="106" y="226"/>
                </a:lnTo>
                <a:lnTo>
                  <a:pt x="102" y="224"/>
                </a:lnTo>
                <a:lnTo>
                  <a:pt x="98" y="222"/>
                </a:lnTo>
                <a:lnTo>
                  <a:pt x="94" y="222"/>
                </a:lnTo>
                <a:lnTo>
                  <a:pt x="86" y="222"/>
                </a:lnTo>
                <a:lnTo>
                  <a:pt x="82" y="220"/>
                </a:lnTo>
                <a:lnTo>
                  <a:pt x="80" y="216"/>
                </a:lnTo>
                <a:lnTo>
                  <a:pt x="80" y="216"/>
                </a:lnTo>
                <a:lnTo>
                  <a:pt x="80" y="214"/>
                </a:lnTo>
                <a:lnTo>
                  <a:pt x="84" y="214"/>
                </a:lnTo>
                <a:lnTo>
                  <a:pt x="92" y="212"/>
                </a:lnTo>
                <a:lnTo>
                  <a:pt x="102" y="214"/>
                </a:lnTo>
                <a:lnTo>
                  <a:pt x="106" y="212"/>
                </a:lnTo>
                <a:lnTo>
                  <a:pt x="108" y="212"/>
                </a:lnTo>
                <a:lnTo>
                  <a:pt x="108" y="212"/>
                </a:lnTo>
                <a:lnTo>
                  <a:pt x="110" y="210"/>
                </a:lnTo>
                <a:lnTo>
                  <a:pt x="106" y="210"/>
                </a:lnTo>
                <a:lnTo>
                  <a:pt x="102" y="208"/>
                </a:lnTo>
                <a:lnTo>
                  <a:pt x="96" y="206"/>
                </a:lnTo>
                <a:lnTo>
                  <a:pt x="96" y="206"/>
                </a:lnTo>
                <a:lnTo>
                  <a:pt x="96" y="204"/>
                </a:lnTo>
                <a:lnTo>
                  <a:pt x="94" y="202"/>
                </a:lnTo>
                <a:lnTo>
                  <a:pt x="98" y="196"/>
                </a:lnTo>
                <a:lnTo>
                  <a:pt x="102" y="192"/>
                </a:lnTo>
                <a:lnTo>
                  <a:pt x="106" y="192"/>
                </a:lnTo>
                <a:lnTo>
                  <a:pt x="108" y="192"/>
                </a:lnTo>
                <a:lnTo>
                  <a:pt x="108" y="192"/>
                </a:lnTo>
                <a:lnTo>
                  <a:pt x="112" y="194"/>
                </a:lnTo>
                <a:lnTo>
                  <a:pt x="116" y="192"/>
                </a:lnTo>
                <a:lnTo>
                  <a:pt x="120" y="192"/>
                </a:lnTo>
                <a:lnTo>
                  <a:pt x="126" y="196"/>
                </a:lnTo>
                <a:lnTo>
                  <a:pt x="126" y="196"/>
                </a:lnTo>
                <a:lnTo>
                  <a:pt x="130" y="198"/>
                </a:lnTo>
                <a:lnTo>
                  <a:pt x="134" y="200"/>
                </a:lnTo>
                <a:lnTo>
                  <a:pt x="138" y="198"/>
                </a:lnTo>
                <a:lnTo>
                  <a:pt x="136" y="196"/>
                </a:lnTo>
                <a:lnTo>
                  <a:pt x="136" y="196"/>
                </a:lnTo>
                <a:lnTo>
                  <a:pt x="134" y="194"/>
                </a:lnTo>
                <a:lnTo>
                  <a:pt x="134" y="192"/>
                </a:lnTo>
                <a:lnTo>
                  <a:pt x="138" y="190"/>
                </a:lnTo>
                <a:lnTo>
                  <a:pt x="140" y="188"/>
                </a:lnTo>
                <a:lnTo>
                  <a:pt x="140" y="186"/>
                </a:lnTo>
                <a:lnTo>
                  <a:pt x="138" y="184"/>
                </a:lnTo>
                <a:lnTo>
                  <a:pt x="138" y="184"/>
                </a:lnTo>
                <a:lnTo>
                  <a:pt x="136" y="180"/>
                </a:lnTo>
                <a:lnTo>
                  <a:pt x="136" y="178"/>
                </a:lnTo>
                <a:lnTo>
                  <a:pt x="136" y="174"/>
                </a:lnTo>
                <a:lnTo>
                  <a:pt x="132" y="172"/>
                </a:lnTo>
                <a:lnTo>
                  <a:pt x="132" y="172"/>
                </a:lnTo>
                <a:lnTo>
                  <a:pt x="130" y="172"/>
                </a:lnTo>
                <a:lnTo>
                  <a:pt x="130" y="168"/>
                </a:lnTo>
                <a:lnTo>
                  <a:pt x="130" y="166"/>
                </a:lnTo>
                <a:lnTo>
                  <a:pt x="128" y="162"/>
                </a:lnTo>
                <a:lnTo>
                  <a:pt x="128" y="162"/>
                </a:lnTo>
                <a:lnTo>
                  <a:pt x="124" y="160"/>
                </a:lnTo>
                <a:lnTo>
                  <a:pt x="124" y="154"/>
                </a:lnTo>
                <a:lnTo>
                  <a:pt x="122" y="152"/>
                </a:lnTo>
                <a:lnTo>
                  <a:pt x="120" y="152"/>
                </a:lnTo>
                <a:lnTo>
                  <a:pt x="116" y="150"/>
                </a:lnTo>
                <a:lnTo>
                  <a:pt x="110" y="150"/>
                </a:lnTo>
                <a:lnTo>
                  <a:pt x="110" y="150"/>
                </a:lnTo>
                <a:lnTo>
                  <a:pt x="90" y="154"/>
                </a:lnTo>
                <a:lnTo>
                  <a:pt x="88" y="154"/>
                </a:lnTo>
                <a:lnTo>
                  <a:pt x="86" y="156"/>
                </a:lnTo>
                <a:lnTo>
                  <a:pt x="86" y="156"/>
                </a:lnTo>
                <a:lnTo>
                  <a:pt x="82" y="160"/>
                </a:lnTo>
                <a:lnTo>
                  <a:pt x="78" y="162"/>
                </a:lnTo>
                <a:lnTo>
                  <a:pt x="74" y="162"/>
                </a:lnTo>
                <a:lnTo>
                  <a:pt x="68" y="166"/>
                </a:lnTo>
                <a:lnTo>
                  <a:pt x="68" y="166"/>
                </a:lnTo>
                <a:lnTo>
                  <a:pt x="60" y="170"/>
                </a:lnTo>
                <a:lnTo>
                  <a:pt x="58" y="172"/>
                </a:lnTo>
                <a:lnTo>
                  <a:pt x="58" y="172"/>
                </a:lnTo>
                <a:lnTo>
                  <a:pt x="58" y="170"/>
                </a:lnTo>
                <a:lnTo>
                  <a:pt x="54" y="168"/>
                </a:lnTo>
                <a:lnTo>
                  <a:pt x="54" y="168"/>
                </a:lnTo>
                <a:lnTo>
                  <a:pt x="52" y="166"/>
                </a:lnTo>
                <a:lnTo>
                  <a:pt x="52" y="164"/>
                </a:lnTo>
                <a:lnTo>
                  <a:pt x="56" y="162"/>
                </a:lnTo>
                <a:lnTo>
                  <a:pt x="56" y="160"/>
                </a:lnTo>
                <a:lnTo>
                  <a:pt x="56" y="158"/>
                </a:lnTo>
                <a:lnTo>
                  <a:pt x="54" y="154"/>
                </a:lnTo>
                <a:lnTo>
                  <a:pt x="46" y="150"/>
                </a:lnTo>
                <a:lnTo>
                  <a:pt x="46" y="150"/>
                </a:lnTo>
                <a:lnTo>
                  <a:pt x="38" y="144"/>
                </a:lnTo>
                <a:lnTo>
                  <a:pt x="32" y="144"/>
                </a:lnTo>
                <a:lnTo>
                  <a:pt x="30" y="144"/>
                </a:lnTo>
                <a:lnTo>
                  <a:pt x="26" y="140"/>
                </a:lnTo>
                <a:lnTo>
                  <a:pt x="26" y="140"/>
                </a:lnTo>
                <a:lnTo>
                  <a:pt x="24" y="140"/>
                </a:lnTo>
                <a:lnTo>
                  <a:pt x="22" y="140"/>
                </a:lnTo>
                <a:lnTo>
                  <a:pt x="18" y="142"/>
                </a:lnTo>
                <a:lnTo>
                  <a:pt x="16" y="142"/>
                </a:lnTo>
                <a:lnTo>
                  <a:pt x="14" y="142"/>
                </a:lnTo>
                <a:lnTo>
                  <a:pt x="12" y="140"/>
                </a:lnTo>
                <a:lnTo>
                  <a:pt x="10" y="136"/>
                </a:lnTo>
                <a:lnTo>
                  <a:pt x="10" y="136"/>
                </a:lnTo>
                <a:lnTo>
                  <a:pt x="10" y="132"/>
                </a:lnTo>
                <a:lnTo>
                  <a:pt x="8" y="132"/>
                </a:lnTo>
                <a:lnTo>
                  <a:pt x="2" y="130"/>
                </a:lnTo>
                <a:lnTo>
                  <a:pt x="2" y="128"/>
                </a:lnTo>
                <a:lnTo>
                  <a:pt x="0" y="126"/>
                </a:lnTo>
                <a:lnTo>
                  <a:pt x="4" y="118"/>
                </a:lnTo>
                <a:lnTo>
                  <a:pt x="4" y="118"/>
                </a:lnTo>
                <a:lnTo>
                  <a:pt x="8" y="108"/>
                </a:lnTo>
                <a:lnTo>
                  <a:pt x="8" y="106"/>
                </a:lnTo>
                <a:lnTo>
                  <a:pt x="6" y="102"/>
                </a:lnTo>
                <a:lnTo>
                  <a:pt x="6" y="98"/>
                </a:lnTo>
                <a:lnTo>
                  <a:pt x="6" y="98"/>
                </a:lnTo>
                <a:lnTo>
                  <a:pt x="8" y="92"/>
                </a:lnTo>
                <a:lnTo>
                  <a:pt x="10" y="86"/>
                </a:lnTo>
                <a:lnTo>
                  <a:pt x="12" y="84"/>
                </a:lnTo>
                <a:lnTo>
                  <a:pt x="14" y="88"/>
                </a:lnTo>
                <a:lnTo>
                  <a:pt x="14" y="88"/>
                </a:lnTo>
                <a:lnTo>
                  <a:pt x="20" y="98"/>
                </a:lnTo>
                <a:lnTo>
                  <a:pt x="24" y="102"/>
                </a:lnTo>
                <a:lnTo>
                  <a:pt x="30" y="100"/>
                </a:lnTo>
                <a:lnTo>
                  <a:pt x="30" y="100"/>
                </a:lnTo>
                <a:lnTo>
                  <a:pt x="32" y="98"/>
                </a:lnTo>
                <a:lnTo>
                  <a:pt x="32" y="94"/>
                </a:lnTo>
                <a:lnTo>
                  <a:pt x="28" y="90"/>
                </a:lnTo>
                <a:lnTo>
                  <a:pt x="22" y="84"/>
                </a:lnTo>
                <a:lnTo>
                  <a:pt x="22" y="84"/>
                </a:lnTo>
                <a:lnTo>
                  <a:pt x="26" y="84"/>
                </a:lnTo>
                <a:lnTo>
                  <a:pt x="30" y="86"/>
                </a:lnTo>
                <a:lnTo>
                  <a:pt x="32" y="86"/>
                </a:lnTo>
                <a:lnTo>
                  <a:pt x="34" y="82"/>
                </a:lnTo>
                <a:lnTo>
                  <a:pt x="34" y="82"/>
                </a:lnTo>
                <a:lnTo>
                  <a:pt x="38" y="78"/>
                </a:lnTo>
                <a:lnTo>
                  <a:pt x="42" y="74"/>
                </a:lnTo>
                <a:lnTo>
                  <a:pt x="46" y="70"/>
                </a:lnTo>
                <a:lnTo>
                  <a:pt x="46" y="66"/>
                </a:lnTo>
                <a:lnTo>
                  <a:pt x="46" y="66"/>
                </a:lnTo>
                <a:lnTo>
                  <a:pt x="46" y="62"/>
                </a:lnTo>
                <a:lnTo>
                  <a:pt x="50" y="60"/>
                </a:lnTo>
                <a:lnTo>
                  <a:pt x="54" y="62"/>
                </a:lnTo>
                <a:lnTo>
                  <a:pt x="56" y="64"/>
                </a:lnTo>
                <a:lnTo>
                  <a:pt x="56" y="64"/>
                </a:lnTo>
                <a:lnTo>
                  <a:pt x="60" y="68"/>
                </a:lnTo>
                <a:lnTo>
                  <a:pt x="62" y="68"/>
                </a:lnTo>
                <a:lnTo>
                  <a:pt x="68" y="66"/>
                </a:lnTo>
                <a:lnTo>
                  <a:pt x="72" y="62"/>
                </a:lnTo>
                <a:lnTo>
                  <a:pt x="76" y="62"/>
                </a:lnTo>
                <a:lnTo>
                  <a:pt x="78" y="64"/>
                </a:lnTo>
                <a:lnTo>
                  <a:pt x="78" y="64"/>
                </a:lnTo>
                <a:lnTo>
                  <a:pt x="84" y="66"/>
                </a:lnTo>
                <a:lnTo>
                  <a:pt x="86" y="66"/>
                </a:lnTo>
                <a:lnTo>
                  <a:pt x="92" y="64"/>
                </a:lnTo>
                <a:lnTo>
                  <a:pt x="94" y="64"/>
                </a:lnTo>
                <a:lnTo>
                  <a:pt x="98" y="64"/>
                </a:lnTo>
                <a:lnTo>
                  <a:pt x="104" y="68"/>
                </a:lnTo>
                <a:lnTo>
                  <a:pt x="112" y="74"/>
                </a:lnTo>
                <a:lnTo>
                  <a:pt x="112" y="74"/>
                </a:lnTo>
                <a:lnTo>
                  <a:pt x="114" y="76"/>
                </a:lnTo>
                <a:lnTo>
                  <a:pt x="116" y="76"/>
                </a:lnTo>
                <a:lnTo>
                  <a:pt x="118" y="72"/>
                </a:lnTo>
                <a:lnTo>
                  <a:pt x="118" y="70"/>
                </a:lnTo>
                <a:lnTo>
                  <a:pt x="120" y="70"/>
                </a:lnTo>
                <a:lnTo>
                  <a:pt x="126" y="72"/>
                </a:lnTo>
                <a:lnTo>
                  <a:pt x="134" y="76"/>
                </a:lnTo>
                <a:lnTo>
                  <a:pt x="134" y="76"/>
                </a:lnTo>
                <a:lnTo>
                  <a:pt x="142" y="80"/>
                </a:lnTo>
                <a:lnTo>
                  <a:pt x="146" y="82"/>
                </a:lnTo>
                <a:lnTo>
                  <a:pt x="148" y="78"/>
                </a:lnTo>
                <a:lnTo>
                  <a:pt x="148" y="74"/>
                </a:lnTo>
                <a:lnTo>
                  <a:pt x="148" y="74"/>
                </a:lnTo>
                <a:lnTo>
                  <a:pt x="150" y="72"/>
                </a:lnTo>
                <a:lnTo>
                  <a:pt x="152" y="74"/>
                </a:lnTo>
                <a:lnTo>
                  <a:pt x="156" y="74"/>
                </a:lnTo>
                <a:lnTo>
                  <a:pt x="162" y="74"/>
                </a:lnTo>
                <a:lnTo>
                  <a:pt x="162" y="74"/>
                </a:lnTo>
                <a:lnTo>
                  <a:pt x="168" y="72"/>
                </a:lnTo>
                <a:lnTo>
                  <a:pt x="170" y="76"/>
                </a:lnTo>
                <a:lnTo>
                  <a:pt x="172" y="78"/>
                </a:lnTo>
                <a:lnTo>
                  <a:pt x="178" y="76"/>
                </a:lnTo>
                <a:lnTo>
                  <a:pt x="178" y="76"/>
                </a:lnTo>
                <a:lnTo>
                  <a:pt x="194" y="72"/>
                </a:lnTo>
                <a:lnTo>
                  <a:pt x="200" y="70"/>
                </a:lnTo>
                <a:lnTo>
                  <a:pt x="202" y="72"/>
                </a:lnTo>
                <a:lnTo>
                  <a:pt x="202" y="74"/>
                </a:lnTo>
                <a:lnTo>
                  <a:pt x="202" y="74"/>
                </a:lnTo>
                <a:lnTo>
                  <a:pt x="198" y="78"/>
                </a:lnTo>
                <a:lnTo>
                  <a:pt x="198" y="82"/>
                </a:lnTo>
                <a:lnTo>
                  <a:pt x="200" y="84"/>
                </a:lnTo>
                <a:lnTo>
                  <a:pt x="204" y="84"/>
                </a:lnTo>
                <a:lnTo>
                  <a:pt x="210" y="82"/>
                </a:lnTo>
                <a:lnTo>
                  <a:pt x="214" y="80"/>
                </a:lnTo>
                <a:lnTo>
                  <a:pt x="216" y="76"/>
                </a:lnTo>
                <a:lnTo>
                  <a:pt x="216" y="76"/>
                </a:lnTo>
                <a:lnTo>
                  <a:pt x="230" y="82"/>
                </a:lnTo>
                <a:lnTo>
                  <a:pt x="240" y="84"/>
                </a:lnTo>
                <a:lnTo>
                  <a:pt x="246" y="84"/>
                </a:lnTo>
                <a:lnTo>
                  <a:pt x="250" y="82"/>
                </a:lnTo>
                <a:lnTo>
                  <a:pt x="252" y="80"/>
                </a:lnTo>
                <a:lnTo>
                  <a:pt x="252" y="74"/>
                </a:lnTo>
                <a:lnTo>
                  <a:pt x="252" y="74"/>
                </a:lnTo>
                <a:lnTo>
                  <a:pt x="252" y="70"/>
                </a:lnTo>
                <a:lnTo>
                  <a:pt x="250" y="68"/>
                </a:lnTo>
                <a:lnTo>
                  <a:pt x="246" y="66"/>
                </a:lnTo>
                <a:lnTo>
                  <a:pt x="242" y="66"/>
                </a:lnTo>
                <a:lnTo>
                  <a:pt x="230" y="66"/>
                </a:lnTo>
                <a:lnTo>
                  <a:pt x="214" y="62"/>
                </a:lnTo>
                <a:lnTo>
                  <a:pt x="214" y="62"/>
                </a:lnTo>
                <a:lnTo>
                  <a:pt x="208" y="60"/>
                </a:lnTo>
                <a:lnTo>
                  <a:pt x="208" y="60"/>
                </a:lnTo>
                <a:lnTo>
                  <a:pt x="208" y="58"/>
                </a:lnTo>
                <a:lnTo>
                  <a:pt x="218" y="52"/>
                </a:lnTo>
                <a:lnTo>
                  <a:pt x="228" y="48"/>
                </a:lnTo>
                <a:lnTo>
                  <a:pt x="228" y="48"/>
                </a:lnTo>
                <a:lnTo>
                  <a:pt x="228" y="46"/>
                </a:lnTo>
                <a:lnTo>
                  <a:pt x="222" y="46"/>
                </a:lnTo>
                <a:lnTo>
                  <a:pt x="222" y="46"/>
                </a:lnTo>
                <a:lnTo>
                  <a:pt x="214" y="44"/>
                </a:lnTo>
                <a:lnTo>
                  <a:pt x="214" y="42"/>
                </a:lnTo>
                <a:lnTo>
                  <a:pt x="214" y="42"/>
                </a:lnTo>
                <a:lnTo>
                  <a:pt x="216" y="40"/>
                </a:lnTo>
                <a:lnTo>
                  <a:pt x="212" y="38"/>
                </a:lnTo>
                <a:lnTo>
                  <a:pt x="212" y="38"/>
                </a:lnTo>
                <a:lnTo>
                  <a:pt x="208" y="36"/>
                </a:lnTo>
                <a:lnTo>
                  <a:pt x="208" y="34"/>
                </a:lnTo>
                <a:lnTo>
                  <a:pt x="214" y="28"/>
                </a:lnTo>
                <a:lnTo>
                  <a:pt x="214" y="28"/>
                </a:lnTo>
                <a:lnTo>
                  <a:pt x="218" y="26"/>
                </a:lnTo>
                <a:lnTo>
                  <a:pt x="226" y="24"/>
                </a:lnTo>
                <a:lnTo>
                  <a:pt x="246" y="22"/>
                </a:lnTo>
                <a:lnTo>
                  <a:pt x="246" y="22"/>
                </a:lnTo>
                <a:lnTo>
                  <a:pt x="266" y="22"/>
                </a:lnTo>
                <a:lnTo>
                  <a:pt x="282" y="22"/>
                </a:lnTo>
                <a:lnTo>
                  <a:pt x="288" y="20"/>
                </a:lnTo>
                <a:lnTo>
                  <a:pt x="290" y="18"/>
                </a:lnTo>
                <a:lnTo>
                  <a:pt x="290" y="18"/>
                </a:lnTo>
                <a:lnTo>
                  <a:pt x="294" y="16"/>
                </a:lnTo>
                <a:lnTo>
                  <a:pt x="302" y="16"/>
                </a:lnTo>
                <a:lnTo>
                  <a:pt x="328" y="14"/>
                </a:lnTo>
                <a:lnTo>
                  <a:pt x="328" y="14"/>
                </a:lnTo>
                <a:lnTo>
                  <a:pt x="334" y="12"/>
                </a:lnTo>
                <a:lnTo>
                  <a:pt x="338" y="10"/>
                </a:lnTo>
                <a:lnTo>
                  <a:pt x="342" y="6"/>
                </a:lnTo>
                <a:lnTo>
                  <a:pt x="348" y="2"/>
                </a:lnTo>
                <a:lnTo>
                  <a:pt x="350" y="2"/>
                </a:lnTo>
                <a:lnTo>
                  <a:pt x="356" y="2"/>
                </a:lnTo>
                <a:lnTo>
                  <a:pt x="356" y="2"/>
                </a:lnTo>
                <a:lnTo>
                  <a:pt x="364" y="2"/>
                </a:lnTo>
                <a:lnTo>
                  <a:pt x="370" y="0"/>
                </a:lnTo>
                <a:lnTo>
                  <a:pt x="374" y="0"/>
                </a:lnTo>
                <a:lnTo>
                  <a:pt x="374" y="4"/>
                </a:lnTo>
                <a:lnTo>
                  <a:pt x="374" y="4"/>
                </a:lnTo>
                <a:lnTo>
                  <a:pt x="376" y="10"/>
                </a:lnTo>
                <a:lnTo>
                  <a:pt x="378" y="12"/>
                </a:lnTo>
                <a:lnTo>
                  <a:pt x="380" y="12"/>
                </a:lnTo>
                <a:lnTo>
                  <a:pt x="378" y="16"/>
                </a:lnTo>
                <a:lnTo>
                  <a:pt x="378" y="16"/>
                </a:lnTo>
                <a:lnTo>
                  <a:pt x="378" y="16"/>
                </a:lnTo>
                <a:lnTo>
                  <a:pt x="378" y="18"/>
                </a:lnTo>
                <a:lnTo>
                  <a:pt x="382" y="22"/>
                </a:lnTo>
                <a:lnTo>
                  <a:pt x="388" y="22"/>
                </a:lnTo>
                <a:lnTo>
                  <a:pt x="392" y="22"/>
                </a:lnTo>
                <a:lnTo>
                  <a:pt x="392" y="22"/>
                </a:lnTo>
                <a:lnTo>
                  <a:pt x="394" y="20"/>
                </a:lnTo>
                <a:lnTo>
                  <a:pt x="396" y="20"/>
                </a:lnTo>
                <a:lnTo>
                  <a:pt x="398" y="22"/>
                </a:lnTo>
                <a:lnTo>
                  <a:pt x="402" y="24"/>
                </a:lnTo>
                <a:lnTo>
                  <a:pt x="404" y="24"/>
                </a:lnTo>
                <a:lnTo>
                  <a:pt x="406" y="22"/>
                </a:lnTo>
                <a:lnTo>
                  <a:pt x="406" y="22"/>
                </a:lnTo>
                <a:lnTo>
                  <a:pt x="408" y="20"/>
                </a:lnTo>
                <a:lnTo>
                  <a:pt x="412" y="22"/>
                </a:lnTo>
                <a:lnTo>
                  <a:pt x="416" y="22"/>
                </a:lnTo>
                <a:lnTo>
                  <a:pt x="422" y="22"/>
                </a:lnTo>
                <a:lnTo>
                  <a:pt x="422" y="22"/>
                </a:lnTo>
                <a:lnTo>
                  <a:pt x="420" y="32"/>
                </a:lnTo>
                <a:lnTo>
                  <a:pt x="422" y="34"/>
                </a:lnTo>
                <a:lnTo>
                  <a:pt x="422" y="34"/>
                </a:lnTo>
                <a:lnTo>
                  <a:pt x="428" y="32"/>
                </a:lnTo>
                <a:lnTo>
                  <a:pt x="432" y="32"/>
                </a:lnTo>
                <a:lnTo>
                  <a:pt x="438" y="32"/>
                </a:lnTo>
                <a:lnTo>
                  <a:pt x="438" y="32"/>
                </a:lnTo>
                <a:lnTo>
                  <a:pt x="444" y="32"/>
                </a:lnTo>
                <a:lnTo>
                  <a:pt x="444" y="30"/>
                </a:lnTo>
                <a:lnTo>
                  <a:pt x="442" y="26"/>
                </a:lnTo>
                <a:lnTo>
                  <a:pt x="442" y="26"/>
                </a:lnTo>
                <a:lnTo>
                  <a:pt x="444" y="24"/>
                </a:lnTo>
                <a:lnTo>
                  <a:pt x="444" y="24"/>
                </a:lnTo>
                <a:lnTo>
                  <a:pt x="450" y="24"/>
                </a:lnTo>
                <a:lnTo>
                  <a:pt x="452" y="22"/>
                </a:lnTo>
                <a:lnTo>
                  <a:pt x="456" y="20"/>
                </a:lnTo>
                <a:lnTo>
                  <a:pt x="460" y="20"/>
                </a:lnTo>
                <a:lnTo>
                  <a:pt x="460" y="20"/>
                </a:lnTo>
                <a:lnTo>
                  <a:pt x="470" y="20"/>
                </a:lnTo>
                <a:lnTo>
                  <a:pt x="470" y="22"/>
                </a:lnTo>
                <a:lnTo>
                  <a:pt x="462" y="26"/>
                </a:lnTo>
                <a:lnTo>
                  <a:pt x="462" y="26"/>
                </a:lnTo>
                <a:lnTo>
                  <a:pt x="486" y="34"/>
                </a:lnTo>
                <a:lnTo>
                  <a:pt x="506" y="42"/>
                </a:lnTo>
                <a:lnTo>
                  <a:pt x="520" y="50"/>
                </a:lnTo>
                <a:lnTo>
                  <a:pt x="532" y="56"/>
                </a:lnTo>
                <a:lnTo>
                  <a:pt x="548" y="72"/>
                </a:lnTo>
                <a:lnTo>
                  <a:pt x="562" y="84"/>
                </a:lnTo>
                <a:lnTo>
                  <a:pt x="562" y="84"/>
                </a:lnTo>
                <a:lnTo>
                  <a:pt x="568" y="88"/>
                </a:lnTo>
                <a:lnTo>
                  <a:pt x="572" y="88"/>
                </a:lnTo>
                <a:lnTo>
                  <a:pt x="574" y="86"/>
                </a:lnTo>
                <a:lnTo>
                  <a:pt x="576" y="82"/>
                </a:lnTo>
                <a:lnTo>
                  <a:pt x="578" y="78"/>
                </a:lnTo>
                <a:lnTo>
                  <a:pt x="580" y="78"/>
                </a:lnTo>
                <a:lnTo>
                  <a:pt x="584" y="84"/>
                </a:lnTo>
                <a:lnTo>
                  <a:pt x="584" y="84"/>
                </a:lnTo>
                <a:lnTo>
                  <a:pt x="588" y="88"/>
                </a:lnTo>
                <a:lnTo>
                  <a:pt x="592" y="90"/>
                </a:lnTo>
                <a:lnTo>
                  <a:pt x="598" y="88"/>
                </a:lnTo>
                <a:lnTo>
                  <a:pt x="606" y="88"/>
                </a:lnTo>
                <a:lnTo>
                  <a:pt x="618" y="84"/>
                </a:lnTo>
                <a:lnTo>
                  <a:pt x="624" y="84"/>
                </a:lnTo>
                <a:lnTo>
                  <a:pt x="628" y="88"/>
                </a:lnTo>
                <a:lnTo>
                  <a:pt x="628" y="88"/>
                </a:lnTo>
                <a:lnTo>
                  <a:pt x="632" y="94"/>
                </a:lnTo>
                <a:lnTo>
                  <a:pt x="636" y="94"/>
                </a:lnTo>
                <a:lnTo>
                  <a:pt x="640" y="96"/>
                </a:lnTo>
                <a:lnTo>
                  <a:pt x="646" y="102"/>
                </a:lnTo>
                <a:lnTo>
                  <a:pt x="646" y="102"/>
                </a:lnTo>
                <a:lnTo>
                  <a:pt x="648" y="104"/>
                </a:lnTo>
                <a:lnTo>
                  <a:pt x="650" y="106"/>
                </a:lnTo>
                <a:lnTo>
                  <a:pt x="654" y="104"/>
                </a:lnTo>
                <a:lnTo>
                  <a:pt x="658" y="104"/>
                </a:lnTo>
                <a:lnTo>
                  <a:pt x="660" y="104"/>
                </a:lnTo>
                <a:lnTo>
                  <a:pt x="664" y="108"/>
                </a:lnTo>
                <a:lnTo>
                  <a:pt x="664" y="108"/>
                </a:lnTo>
                <a:lnTo>
                  <a:pt x="668" y="110"/>
                </a:lnTo>
                <a:lnTo>
                  <a:pt x="672" y="110"/>
                </a:lnTo>
                <a:lnTo>
                  <a:pt x="676" y="110"/>
                </a:lnTo>
                <a:lnTo>
                  <a:pt x="678" y="108"/>
                </a:lnTo>
                <a:lnTo>
                  <a:pt x="678" y="108"/>
                </a:lnTo>
                <a:lnTo>
                  <a:pt x="680" y="106"/>
                </a:lnTo>
                <a:lnTo>
                  <a:pt x="682" y="104"/>
                </a:lnTo>
                <a:lnTo>
                  <a:pt x="690" y="104"/>
                </a:lnTo>
                <a:lnTo>
                  <a:pt x="690" y="104"/>
                </a:lnTo>
                <a:lnTo>
                  <a:pt x="694" y="104"/>
                </a:lnTo>
                <a:lnTo>
                  <a:pt x="696" y="104"/>
                </a:lnTo>
                <a:lnTo>
                  <a:pt x="700" y="102"/>
                </a:lnTo>
                <a:lnTo>
                  <a:pt x="708" y="102"/>
                </a:lnTo>
                <a:lnTo>
                  <a:pt x="708" y="102"/>
                </a:lnTo>
                <a:lnTo>
                  <a:pt x="714" y="104"/>
                </a:lnTo>
                <a:lnTo>
                  <a:pt x="718" y="108"/>
                </a:lnTo>
                <a:lnTo>
                  <a:pt x="722" y="112"/>
                </a:lnTo>
                <a:lnTo>
                  <a:pt x="726" y="114"/>
                </a:lnTo>
                <a:lnTo>
                  <a:pt x="726" y="114"/>
                </a:lnTo>
                <a:lnTo>
                  <a:pt x="728" y="114"/>
                </a:lnTo>
                <a:lnTo>
                  <a:pt x="728" y="116"/>
                </a:lnTo>
                <a:lnTo>
                  <a:pt x="730" y="118"/>
                </a:lnTo>
                <a:lnTo>
                  <a:pt x="738" y="118"/>
                </a:lnTo>
                <a:lnTo>
                  <a:pt x="738" y="118"/>
                </a:lnTo>
                <a:lnTo>
                  <a:pt x="736" y="120"/>
                </a:lnTo>
                <a:lnTo>
                  <a:pt x="734" y="122"/>
                </a:lnTo>
                <a:lnTo>
                  <a:pt x="722" y="122"/>
                </a:lnTo>
                <a:lnTo>
                  <a:pt x="718" y="122"/>
                </a:lnTo>
                <a:lnTo>
                  <a:pt x="714" y="126"/>
                </a:lnTo>
                <a:lnTo>
                  <a:pt x="714" y="134"/>
                </a:lnTo>
                <a:lnTo>
                  <a:pt x="716" y="146"/>
                </a:lnTo>
                <a:lnTo>
                  <a:pt x="716" y="146"/>
                </a:lnTo>
                <a:lnTo>
                  <a:pt x="716" y="148"/>
                </a:lnTo>
                <a:lnTo>
                  <a:pt x="714" y="150"/>
                </a:lnTo>
                <a:lnTo>
                  <a:pt x="706" y="154"/>
                </a:lnTo>
                <a:lnTo>
                  <a:pt x="696" y="156"/>
                </a:lnTo>
                <a:lnTo>
                  <a:pt x="686" y="154"/>
                </a:lnTo>
                <a:lnTo>
                  <a:pt x="686" y="154"/>
                </a:lnTo>
                <a:lnTo>
                  <a:pt x="680" y="152"/>
                </a:lnTo>
                <a:lnTo>
                  <a:pt x="676" y="152"/>
                </a:lnTo>
                <a:lnTo>
                  <a:pt x="672" y="154"/>
                </a:lnTo>
                <a:lnTo>
                  <a:pt x="672" y="158"/>
                </a:lnTo>
                <a:lnTo>
                  <a:pt x="672" y="168"/>
                </a:lnTo>
                <a:lnTo>
                  <a:pt x="674" y="186"/>
                </a:lnTo>
                <a:lnTo>
                  <a:pt x="674" y="186"/>
                </a:lnTo>
                <a:lnTo>
                  <a:pt x="674" y="190"/>
                </a:lnTo>
                <a:lnTo>
                  <a:pt x="674" y="192"/>
                </a:lnTo>
                <a:lnTo>
                  <a:pt x="666" y="192"/>
                </a:lnTo>
                <a:lnTo>
                  <a:pt x="656" y="192"/>
                </a:lnTo>
                <a:lnTo>
                  <a:pt x="648" y="194"/>
                </a:lnTo>
                <a:lnTo>
                  <a:pt x="648" y="194"/>
                </a:lnTo>
                <a:lnTo>
                  <a:pt x="642" y="198"/>
                </a:lnTo>
                <a:lnTo>
                  <a:pt x="640" y="202"/>
                </a:lnTo>
                <a:lnTo>
                  <a:pt x="640" y="206"/>
                </a:lnTo>
                <a:lnTo>
                  <a:pt x="642" y="206"/>
                </a:lnTo>
                <a:lnTo>
                  <a:pt x="642" y="206"/>
                </a:lnTo>
                <a:lnTo>
                  <a:pt x="644" y="206"/>
                </a:lnTo>
                <a:lnTo>
                  <a:pt x="648" y="208"/>
                </a:lnTo>
                <a:lnTo>
                  <a:pt x="656" y="218"/>
                </a:lnTo>
                <a:lnTo>
                  <a:pt x="664" y="226"/>
                </a:lnTo>
                <a:lnTo>
                  <a:pt x="666" y="232"/>
                </a:lnTo>
                <a:lnTo>
                  <a:pt x="664" y="234"/>
                </a:lnTo>
                <a:lnTo>
                  <a:pt x="664" y="234"/>
                </a:lnTo>
                <a:lnTo>
                  <a:pt x="662" y="238"/>
                </a:lnTo>
                <a:lnTo>
                  <a:pt x="662" y="242"/>
                </a:lnTo>
                <a:lnTo>
                  <a:pt x="666" y="246"/>
                </a:lnTo>
                <a:lnTo>
                  <a:pt x="668" y="252"/>
                </a:lnTo>
                <a:lnTo>
                  <a:pt x="668" y="254"/>
                </a:lnTo>
                <a:lnTo>
                  <a:pt x="664" y="256"/>
                </a:lnTo>
                <a:lnTo>
                  <a:pt x="664" y="256"/>
                </a:lnTo>
                <a:lnTo>
                  <a:pt x="660" y="260"/>
                </a:lnTo>
                <a:lnTo>
                  <a:pt x="658" y="258"/>
                </a:lnTo>
                <a:lnTo>
                  <a:pt x="656" y="254"/>
                </a:lnTo>
                <a:lnTo>
                  <a:pt x="654" y="254"/>
                </a:lnTo>
                <a:lnTo>
                  <a:pt x="650" y="254"/>
                </a:lnTo>
                <a:lnTo>
                  <a:pt x="650" y="254"/>
                </a:lnTo>
                <a:lnTo>
                  <a:pt x="642" y="254"/>
                </a:lnTo>
                <a:lnTo>
                  <a:pt x="638" y="252"/>
                </a:lnTo>
                <a:lnTo>
                  <a:pt x="638" y="250"/>
                </a:lnTo>
                <a:lnTo>
                  <a:pt x="634" y="250"/>
                </a:lnTo>
                <a:lnTo>
                  <a:pt x="634" y="250"/>
                </a:lnTo>
                <a:lnTo>
                  <a:pt x="624" y="250"/>
                </a:lnTo>
                <a:lnTo>
                  <a:pt x="608" y="250"/>
                </a:lnTo>
                <a:lnTo>
                  <a:pt x="576" y="250"/>
                </a:lnTo>
                <a:lnTo>
                  <a:pt x="576" y="250"/>
                </a:lnTo>
                <a:lnTo>
                  <a:pt x="564" y="248"/>
                </a:lnTo>
                <a:lnTo>
                  <a:pt x="554" y="244"/>
                </a:lnTo>
                <a:lnTo>
                  <a:pt x="546" y="244"/>
                </a:lnTo>
                <a:lnTo>
                  <a:pt x="544" y="246"/>
                </a:lnTo>
                <a:lnTo>
                  <a:pt x="544" y="250"/>
                </a:lnTo>
                <a:lnTo>
                  <a:pt x="544" y="250"/>
                </a:lnTo>
                <a:lnTo>
                  <a:pt x="542" y="254"/>
                </a:lnTo>
                <a:lnTo>
                  <a:pt x="542" y="254"/>
                </a:lnTo>
                <a:lnTo>
                  <a:pt x="536" y="254"/>
                </a:lnTo>
                <a:lnTo>
                  <a:pt x="528" y="252"/>
                </a:lnTo>
                <a:lnTo>
                  <a:pt x="524" y="250"/>
                </a:lnTo>
                <a:lnTo>
                  <a:pt x="520" y="252"/>
                </a:lnTo>
                <a:lnTo>
                  <a:pt x="520" y="252"/>
                </a:lnTo>
                <a:lnTo>
                  <a:pt x="512" y="252"/>
                </a:lnTo>
                <a:lnTo>
                  <a:pt x="510" y="252"/>
                </a:lnTo>
                <a:lnTo>
                  <a:pt x="506" y="252"/>
                </a:lnTo>
                <a:lnTo>
                  <a:pt x="498" y="260"/>
                </a:lnTo>
                <a:lnTo>
                  <a:pt x="498" y="260"/>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44" name="Latvia"/>
          <p:cNvSpPr>
            <a:spLocks/>
          </p:cNvSpPr>
          <p:nvPr/>
        </p:nvSpPr>
        <p:spPr bwMode="auto">
          <a:xfrm>
            <a:off x="4753372" y="1238867"/>
            <a:ext cx="129893" cy="47799"/>
          </a:xfrm>
          <a:custGeom>
            <a:avLst/>
            <a:gdLst/>
            <a:ahLst/>
            <a:cxnLst>
              <a:cxn ang="0">
                <a:pos x="2" y="42"/>
              </a:cxn>
              <a:cxn ang="0">
                <a:pos x="0" y="32"/>
              </a:cxn>
              <a:cxn ang="0">
                <a:pos x="2" y="28"/>
              </a:cxn>
              <a:cxn ang="0">
                <a:pos x="4" y="22"/>
              </a:cxn>
              <a:cxn ang="0">
                <a:pos x="6" y="16"/>
              </a:cxn>
              <a:cxn ang="0">
                <a:pos x="10" y="12"/>
              </a:cxn>
              <a:cxn ang="0">
                <a:pos x="16" y="8"/>
              </a:cxn>
              <a:cxn ang="0">
                <a:pos x="22" y="6"/>
              </a:cxn>
              <a:cxn ang="0">
                <a:pos x="24" y="8"/>
              </a:cxn>
              <a:cxn ang="0">
                <a:pos x="28" y="12"/>
              </a:cxn>
              <a:cxn ang="0">
                <a:pos x="32" y="12"/>
              </a:cxn>
              <a:cxn ang="0">
                <a:pos x="34" y="16"/>
              </a:cxn>
              <a:cxn ang="0">
                <a:pos x="38" y="20"/>
              </a:cxn>
              <a:cxn ang="0">
                <a:pos x="42" y="22"/>
              </a:cxn>
              <a:cxn ang="0">
                <a:pos x="46" y="22"/>
              </a:cxn>
              <a:cxn ang="0">
                <a:pos x="50" y="22"/>
              </a:cxn>
              <a:cxn ang="0">
                <a:pos x="54" y="16"/>
              </a:cxn>
              <a:cxn ang="0">
                <a:pos x="54" y="14"/>
              </a:cxn>
              <a:cxn ang="0">
                <a:pos x="52" y="6"/>
              </a:cxn>
              <a:cxn ang="0">
                <a:pos x="58" y="0"/>
              </a:cxn>
              <a:cxn ang="0">
                <a:pos x="66" y="0"/>
              </a:cxn>
              <a:cxn ang="0">
                <a:pos x="76" y="0"/>
              </a:cxn>
              <a:cxn ang="0">
                <a:pos x="78" y="2"/>
              </a:cxn>
              <a:cxn ang="0">
                <a:pos x="78" y="4"/>
              </a:cxn>
              <a:cxn ang="0">
                <a:pos x="84" y="4"/>
              </a:cxn>
              <a:cxn ang="0">
                <a:pos x="94" y="6"/>
              </a:cxn>
              <a:cxn ang="0">
                <a:pos x="106" y="2"/>
              </a:cxn>
              <a:cxn ang="0">
                <a:pos x="104" y="6"/>
              </a:cxn>
              <a:cxn ang="0">
                <a:pos x="108" y="6"/>
              </a:cxn>
              <a:cxn ang="0">
                <a:pos x="108" y="10"/>
              </a:cxn>
              <a:cxn ang="0">
                <a:pos x="108" y="14"/>
              </a:cxn>
              <a:cxn ang="0">
                <a:pos x="112" y="22"/>
              </a:cxn>
              <a:cxn ang="0">
                <a:pos x="110" y="24"/>
              </a:cxn>
              <a:cxn ang="0">
                <a:pos x="112" y="30"/>
              </a:cxn>
              <a:cxn ang="0">
                <a:pos x="112" y="34"/>
              </a:cxn>
              <a:cxn ang="0">
                <a:pos x="108" y="34"/>
              </a:cxn>
              <a:cxn ang="0">
                <a:pos x="100" y="38"/>
              </a:cxn>
              <a:cxn ang="0">
                <a:pos x="96" y="42"/>
              </a:cxn>
              <a:cxn ang="0">
                <a:pos x="74" y="38"/>
              </a:cxn>
              <a:cxn ang="0">
                <a:pos x="62" y="32"/>
              </a:cxn>
              <a:cxn ang="0">
                <a:pos x="58" y="34"/>
              </a:cxn>
              <a:cxn ang="0">
                <a:pos x="50" y="34"/>
              </a:cxn>
              <a:cxn ang="0">
                <a:pos x="40" y="30"/>
              </a:cxn>
              <a:cxn ang="0">
                <a:pos x="32" y="30"/>
              </a:cxn>
              <a:cxn ang="0">
                <a:pos x="18" y="30"/>
              </a:cxn>
              <a:cxn ang="0">
                <a:pos x="8" y="36"/>
              </a:cxn>
              <a:cxn ang="0">
                <a:pos x="2" y="42"/>
              </a:cxn>
            </a:cxnLst>
            <a:rect l="0" t="0" r="r" b="b"/>
            <a:pathLst>
              <a:path w="114" h="42">
                <a:moveTo>
                  <a:pt x="2" y="42"/>
                </a:moveTo>
                <a:lnTo>
                  <a:pt x="2" y="42"/>
                </a:lnTo>
                <a:lnTo>
                  <a:pt x="0" y="34"/>
                </a:lnTo>
                <a:lnTo>
                  <a:pt x="0" y="32"/>
                </a:lnTo>
                <a:lnTo>
                  <a:pt x="2" y="28"/>
                </a:lnTo>
                <a:lnTo>
                  <a:pt x="2" y="28"/>
                </a:lnTo>
                <a:lnTo>
                  <a:pt x="4" y="26"/>
                </a:lnTo>
                <a:lnTo>
                  <a:pt x="4" y="22"/>
                </a:lnTo>
                <a:lnTo>
                  <a:pt x="4" y="20"/>
                </a:lnTo>
                <a:lnTo>
                  <a:pt x="6" y="16"/>
                </a:lnTo>
                <a:lnTo>
                  <a:pt x="6" y="16"/>
                </a:lnTo>
                <a:lnTo>
                  <a:pt x="10" y="12"/>
                </a:lnTo>
                <a:lnTo>
                  <a:pt x="16" y="8"/>
                </a:lnTo>
                <a:lnTo>
                  <a:pt x="16" y="8"/>
                </a:lnTo>
                <a:lnTo>
                  <a:pt x="20" y="6"/>
                </a:lnTo>
                <a:lnTo>
                  <a:pt x="22" y="6"/>
                </a:lnTo>
                <a:lnTo>
                  <a:pt x="24" y="8"/>
                </a:lnTo>
                <a:lnTo>
                  <a:pt x="24" y="8"/>
                </a:lnTo>
                <a:lnTo>
                  <a:pt x="26" y="10"/>
                </a:lnTo>
                <a:lnTo>
                  <a:pt x="28" y="12"/>
                </a:lnTo>
                <a:lnTo>
                  <a:pt x="32" y="12"/>
                </a:lnTo>
                <a:lnTo>
                  <a:pt x="32" y="12"/>
                </a:lnTo>
                <a:lnTo>
                  <a:pt x="34" y="14"/>
                </a:lnTo>
                <a:lnTo>
                  <a:pt x="34" y="16"/>
                </a:lnTo>
                <a:lnTo>
                  <a:pt x="36" y="18"/>
                </a:lnTo>
                <a:lnTo>
                  <a:pt x="38" y="20"/>
                </a:lnTo>
                <a:lnTo>
                  <a:pt x="38" y="20"/>
                </a:lnTo>
                <a:lnTo>
                  <a:pt x="42" y="22"/>
                </a:lnTo>
                <a:lnTo>
                  <a:pt x="44" y="22"/>
                </a:lnTo>
                <a:lnTo>
                  <a:pt x="46" y="22"/>
                </a:lnTo>
                <a:lnTo>
                  <a:pt x="46" y="22"/>
                </a:lnTo>
                <a:lnTo>
                  <a:pt x="50" y="22"/>
                </a:lnTo>
                <a:lnTo>
                  <a:pt x="52" y="20"/>
                </a:lnTo>
                <a:lnTo>
                  <a:pt x="54" y="16"/>
                </a:lnTo>
                <a:lnTo>
                  <a:pt x="54" y="16"/>
                </a:lnTo>
                <a:lnTo>
                  <a:pt x="54" y="14"/>
                </a:lnTo>
                <a:lnTo>
                  <a:pt x="54" y="10"/>
                </a:lnTo>
                <a:lnTo>
                  <a:pt x="52" y="6"/>
                </a:lnTo>
                <a:lnTo>
                  <a:pt x="52" y="6"/>
                </a:lnTo>
                <a:lnTo>
                  <a:pt x="58" y="0"/>
                </a:lnTo>
                <a:lnTo>
                  <a:pt x="62" y="0"/>
                </a:lnTo>
                <a:lnTo>
                  <a:pt x="66" y="0"/>
                </a:lnTo>
                <a:lnTo>
                  <a:pt x="66" y="0"/>
                </a:lnTo>
                <a:lnTo>
                  <a:pt x="76" y="0"/>
                </a:lnTo>
                <a:lnTo>
                  <a:pt x="78" y="0"/>
                </a:lnTo>
                <a:lnTo>
                  <a:pt x="78" y="2"/>
                </a:lnTo>
                <a:lnTo>
                  <a:pt x="78" y="2"/>
                </a:lnTo>
                <a:lnTo>
                  <a:pt x="78" y="4"/>
                </a:lnTo>
                <a:lnTo>
                  <a:pt x="80" y="4"/>
                </a:lnTo>
                <a:lnTo>
                  <a:pt x="84" y="4"/>
                </a:lnTo>
                <a:lnTo>
                  <a:pt x="90" y="4"/>
                </a:lnTo>
                <a:lnTo>
                  <a:pt x="94" y="6"/>
                </a:lnTo>
                <a:lnTo>
                  <a:pt x="94" y="6"/>
                </a:lnTo>
                <a:lnTo>
                  <a:pt x="106" y="2"/>
                </a:lnTo>
                <a:lnTo>
                  <a:pt x="106" y="2"/>
                </a:lnTo>
                <a:lnTo>
                  <a:pt x="104" y="6"/>
                </a:lnTo>
                <a:lnTo>
                  <a:pt x="106" y="6"/>
                </a:lnTo>
                <a:lnTo>
                  <a:pt x="108" y="6"/>
                </a:lnTo>
                <a:lnTo>
                  <a:pt x="108" y="10"/>
                </a:lnTo>
                <a:lnTo>
                  <a:pt x="108" y="10"/>
                </a:lnTo>
                <a:lnTo>
                  <a:pt x="106" y="14"/>
                </a:lnTo>
                <a:lnTo>
                  <a:pt x="108" y="14"/>
                </a:lnTo>
                <a:lnTo>
                  <a:pt x="110" y="16"/>
                </a:lnTo>
                <a:lnTo>
                  <a:pt x="112" y="22"/>
                </a:lnTo>
                <a:lnTo>
                  <a:pt x="112" y="22"/>
                </a:lnTo>
                <a:lnTo>
                  <a:pt x="110" y="24"/>
                </a:lnTo>
                <a:lnTo>
                  <a:pt x="110" y="26"/>
                </a:lnTo>
                <a:lnTo>
                  <a:pt x="112" y="30"/>
                </a:lnTo>
                <a:lnTo>
                  <a:pt x="114" y="34"/>
                </a:lnTo>
                <a:lnTo>
                  <a:pt x="112" y="34"/>
                </a:lnTo>
                <a:lnTo>
                  <a:pt x="108" y="34"/>
                </a:lnTo>
                <a:lnTo>
                  <a:pt x="108" y="34"/>
                </a:lnTo>
                <a:lnTo>
                  <a:pt x="102" y="36"/>
                </a:lnTo>
                <a:lnTo>
                  <a:pt x="100" y="38"/>
                </a:lnTo>
                <a:lnTo>
                  <a:pt x="100" y="40"/>
                </a:lnTo>
                <a:lnTo>
                  <a:pt x="96" y="42"/>
                </a:lnTo>
                <a:lnTo>
                  <a:pt x="96" y="42"/>
                </a:lnTo>
                <a:lnTo>
                  <a:pt x="74" y="38"/>
                </a:lnTo>
                <a:lnTo>
                  <a:pt x="66" y="36"/>
                </a:lnTo>
                <a:lnTo>
                  <a:pt x="62" y="32"/>
                </a:lnTo>
                <a:lnTo>
                  <a:pt x="58" y="34"/>
                </a:lnTo>
                <a:lnTo>
                  <a:pt x="58" y="34"/>
                </a:lnTo>
                <a:lnTo>
                  <a:pt x="54" y="34"/>
                </a:lnTo>
                <a:lnTo>
                  <a:pt x="50" y="34"/>
                </a:lnTo>
                <a:lnTo>
                  <a:pt x="46" y="32"/>
                </a:lnTo>
                <a:lnTo>
                  <a:pt x="40" y="30"/>
                </a:lnTo>
                <a:lnTo>
                  <a:pt x="40" y="30"/>
                </a:lnTo>
                <a:lnTo>
                  <a:pt x="32" y="30"/>
                </a:lnTo>
                <a:lnTo>
                  <a:pt x="24" y="30"/>
                </a:lnTo>
                <a:lnTo>
                  <a:pt x="18" y="30"/>
                </a:lnTo>
                <a:lnTo>
                  <a:pt x="12" y="32"/>
                </a:lnTo>
                <a:lnTo>
                  <a:pt x="8" y="36"/>
                </a:lnTo>
                <a:lnTo>
                  <a:pt x="2" y="42"/>
                </a:lnTo>
                <a:lnTo>
                  <a:pt x="2" y="42"/>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45" name="Lithuania"/>
          <p:cNvSpPr>
            <a:spLocks/>
          </p:cNvSpPr>
          <p:nvPr/>
        </p:nvSpPr>
        <p:spPr bwMode="auto">
          <a:xfrm>
            <a:off x="4755651" y="1273008"/>
            <a:ext cx="107105" cy="52351"/>
          </a:xfrm>
          <a:custGeom>
            <a:avLst/>
            <a:gdLst/>
            <a:ahLst/>
            <a:cxnLst>
              <a:cxn ang="0">
                <a:pos x="26" y="34"/>
              </a:cxn>
              <a:cxn ang="0">
                <a:pos x="30" y="34"/>
              </a:cxn>
              <a:cxn ang="0">
                <a:pos x="34" y="36"/>
              </a:cxn>
              <a:cxn ang="0">
                <a:pos x="36" y="36"/>
              </a:cxn>
              <a:cxn ang="0">
                <a:pos x="42" y="42"/>
              </a:cxn>
              <a:cxn ang="0">
                <a:pos x="50" y="44"/>
              </a:cxn>
              <a:cxn ang="0">
                <a:pos x="58" y="46"/>
              </a:cxn>
              <a:cxn ang="0">
                <a:pos x="64" y="44"/>
              </a:cxn>
              <a:cxn ang="0">
                <a:pos x="70" y="44"/>
              </a:cxn>
              <a:cxn ang="0">
                <a:pos x="74" y="44"/>
              </a:cxn>
              <a:cxn ang="0">
                <a:pos x="74" y="42"/>
              </a:cxn>
              <a:cxn ang="0">
                <a:pos x="72" y="38"/>
              </a:cxn>
              <a:cxn ang="0">
                <a:pos x="72" y="34"/>
              </a:cxn>
              <a:cxn ang="0">
                <a:pos x="76" y="28"/>
              </a:cxn>
              <a:cxn ang="0">
                <a:pos x="82" y="26"/>
              </a:cxn>
              <a:cxn ang="0">
                <a:pos x="84" y="24"/>
              </a:cxn>
              <a:cxn ang="0">
                <a:pos x="92" y="24"/>
              </a:cxn>
              <a:cxn ang="0">
                <a:pos x="94" y="22"/>
              </a:cxn>
              <a:cxn ang="0">
                <a:pos x="92" y="18"/>
              </a:cxn>
              <a:cxn ang="0">
                <a:pos x="94" y="12"/>
              </a:cxn>
              <a:cxn ang="0">
                <a:pos x="72" y="8"/>
              </a:cxn>
              <a:cxn ang="0">
                <a:pos x="60" y="2"/>
              </a:cxn>
              <a:cxn ang="0">
                <a:pos x="56" y="4"/>
              </a:cxn>
              <a:cxn ang="0">
                <a:pos x="48" y="4"/>
              </a:cxn>
              <a:cxn ang="0">
                <a:pos x="38" y="0"/>
              </a:cxn>
              <a:cxn ang="0">
                <a:pos x="30" y="0"/>
              </a:cxn>
              <a:cxn ang="0">
                <a:pos x="16" y="0"/>
              </a:cxn>
              <a:cxn ang="0">
                <a:pos x="6" y="6"/>
              </a:cxn>
              <a:cxn ang="0">
                <a:pos x="0" y="12"/>
              </a:cxn>
              <a:cxn ang="0">
                <a:pos x="2" y="20"/>
              </a:cxn>
              <a:cxn ang="0">
                <a:pos x="2" y="24"/>
              </a:cxn>
              <a:cxn ang="0">
                <a:pos x="6" y="26"/>
              </a:cxn>
              <a:cxn ang="0">
                <a:pos x="8" y="26"/>
              </a:cxn>
              <a:cxn ang="0">
                <a:pos x="22" y="24"/>
              </a:cxn>
              <a:cxn ang="0">
                <a:pos x="26" y="26"/>
              </a:cxn>
              <a:cxn ang="0">
                <a:pos x="28" y="30"/>
              </a:cxn>
              <a:cxn ang="0">
                <a:pos x="26" y="34"/>
              </a:cxn>
            </a:cxnLst>
            <a:rect l="0" t="0" r="r" b="b"/>
            <a:pathLst>
              <a:path w="94" h="46">
                <a:moveTo>
                  <a:pt x="26" y="34"/>
                </a:moveTo>
                <a:lnTo>
                  <a:pt x="26" y="34"/>
                </a:lnTo>
                <a:lnTo>
                  <a:pt x="30" y="34"/>
                </a:lnTo>
                <a:lnTo>
                  <a:pt x="30" y="34"/>
                </a:lnTo>
                <a:lnTo>
                  <a:pt x="32" y="36"/>
                </a:lnTo>
                <a:lnTo>
                  <a:pt x="34" y="36"/>
                </a:lnTo>
                <a:lnTo>
                  <a:pt x="34" y="36"/>
                </a:lnTo>
                <a:lnTo>
                  <a:pt x="36" y="36"/>
                </a:lnTo>
                <a:lnTo>
                  <a:pt x="38" y="38"/>
                </a:lnTo>
                <a:lnTo>
                  <a:pt x="42" y="42"/>
                </a:lnTo>
                <a:lnTo>
                  <a:pt x="42" y="42"/>
                </a:lnTo>
                <a:lnTo>
                  <a:pt x="50" y="44"/>
                </a:lnTo>
                <a:lnTo>
                  <a:pt x="54" y="46"/>
                </a:lnTo>
                <a:lnTo>
                  <a:pt x="58" y="46"/>
                </a:lnTo>
                <a:lnTo>
                  <a:pt x="64" y="44"/>
                </a:lnTo>
                <a:lnTo>
                  <a:pt x="64" y="44"/>
                </a:lnTo>
                <a:lnTo>
                  <a:pt x="68" y="44"/>
                </a:lnTo>
                <a:lnTo>
                  <a:pt x="70" y="44"/>
                </a:lnTo>
                <a:lnTo>
                  <a:pt x="72" y="44"/>
                </a:lnTo>
                <a:lnTo>
                  <a:pt x="74" y="44"/>
                </a:lnTo>
                <a:lnTo>
                  <a:pt x="74" y="44"/>
                </a:lnTo>
                <a:lnTo>
                  <a:pt x="74" y="42"/>
                </a:lnTo>
                <a:lnTo>
                  <a:pt x="72" y="40"/>
                </a:lnTo>
                <a:lnTo>
                  <a:pt x="72" y="38"/>
                </a:lnTo>
                <a:lnTo>
                  <a:pt x="72" y="34"/>
                </a:lnTo>
                <a:lnTo>
                  <a:pt x="72" y="34"/>
                </a:lnTo>
                <a:lnTo>
                  <a:pt x="74" y="30"/>
                </a:lnTo>
                <a:lnTo>
                  <a:pt x="76" y="28"/>
                </a:lnTo>
                <a:lnTo>
                  <a:pt x="78" y="28"/>
                </a:lnTo>
                <a:lnTo>
                  <a:pt x="82" y="26"/>
                </a:lnTo>
                <a:lnTo>
                  <a:pt x="82" y="26"/>
                </a:lnTo>
                <a:lnTo>
                  <a:pt x="84" y="24"/>
                </a:lnTo>
                <a:lnTo>
                  <a:pt x="88" y="24"/>
                </a:lnTo>
                <a:lnTo>
                  <a:pt x="92" y="24"/>
                </a:lnTo>
                <a:lnTo>
                  <a:pt x="94" y="22"/>
                </a:lnTo>
                <a:lnTo>
                  <a:pt x="94" y="22"/>
                </a:lnTo>
                <a:lnTo>
                  <a:pt x="94" y="18"/>
                </a:lnTo>
                <a:lnTo>
                  <a:pt x="92" y="18"/>
                </a:lnTo>
                <a:lnTo>
                  <a:pt x="92" y="16"/>
                </a:lnTo>
                <a:lnTo>
                  <a:pt x="94" y="12"/>
                </a:lnTo>
                <a:lnTo>
                  <a:pt x="94" y="12"/>
                </a:lnTo>
                <a:lnTo>
                  <a:pt x="72" y="8"/>
                </a:lnTo>
                <a:lnTo>
                  <a:pt x="64" y="6"/>
                </a:lnTo>
                <a:lnTo>
                  <a:pt x="60" y="2"/>
                </a:lnTo>
                <a:lnTo>
                  <a:pt x="56" y="4"/>
                </a:lnTo>
                <a:lnTo>
                  <a:pt x="56" y="4"/>
                </a:lnTo>
                <a:lnTo>
                  <a:pt x="52" y="4"/>
                </a:lnTo>
                <a:lnTo>
                  <a:pt x="48" y="4"/>
                </a:lnTo>
                <a:lnTo>
                  <a:pt x="44" y="2"/>
                </a:lnTo>
                <a:lnTo>
                  <a:pt x="38" y="0"/>
                </a:lnTo>
                <a:lnTo>
                  <a:pt x="38" y="0"/>
                </a:lnTo>
                <a:lnTo>
                  <a:pt x="30" y="0"/>
                </a:lnTo>
                <a:lnTo>
                  <a:pt x="22" y="0"/>
                </a:lnTo>
                <a:lnTo>
                  <a:pt x="16" y="0"/>
                </a:lnTo>
                <a:lnTo>
                  <a:pt x="10" y="2"/>
                </a:lnTo>
                <a:lnTo>
                  <a:pt x="6" y="6"/>
                </a:lnTo>
                <a:lnTo>
                  <a:pt x="0" y="12"/>
                </a:lnTo>
                <a:lnTo>
                  <a:pt x="0" y="12"/>
                </a:lnTo>
                <a:lnTo>
                  <a:pt x="0" y="18"/>
                </a:lnTo>
                <a:lnTo>
                  <a:pt x="2" y="20"/>
                </a:lnTo>
                <a:lnTo>
                  <a:pt x="2" y="22"/>
                </a:lnTo>
                <a:lnTo>
                  <a:pt x="2" y="24"/>
                </a:lnTo>
                <a:lnTo>
                  <a:pt x="2" y="24"/>
                </a:lnTo>
                <a:lnTo>
                  <a:pt x="6" y="26"/>
                </a:lnTo>
                <a:lnTo>
                  <a:pt x="8" y="26"/>
                </a:lnTo>
                <a:lnTo>
                  <a:pt x="8" y="26"/>
                </a:lnTo>
                <a:lnTo>
                  <a:pt x="16" y="26"/>
                </a:lnTo>
                <a:lnTo>
                  <a:pt x="22" y="24"/>
                </a:lnTo>
                <a:lnTo>
                  <a:pt x="26" y="26"/>
                </a:lnTo>
                <a:lnTo>
                  <a:pt x="26" y="26"/>
                </a:lnTo>
                <a:lnTo>
                  <a:pt x="28" y="28"/>
                </a:lnTo>
                <a:lnTo>
                  <a:pt x="28" y="30"/>
                </a:lnTo>
                <a:lnTo>
                  <a:pt x="26" y="34"/>
                </a:lnTo>
                <a:lnTo>
                  <a:pt x="26" y="34"/>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46" name="Luxembourg"/>
          <p:cNvSpPr>
            <a:spLocks/>
          </p:cNvSpPr>
          <p:nvPr/>
        </p:nvSpPr>
        <p:spPr bwMode="auto">
          <a:xfrm>
            <a:off x="4452567" y="1409576"/>
            <a:ext cx="11394" cy="9104"/>
          </a:xfrm>
          <a:custGeom>
            <a:avLst/>
            <a:gdLst/>
            <a:ahLst/>
            <a:cxnLst>
              <a:cxn ang="0">
                <a:pos x="8" y="8"/>
              </a:cxn>
              <a:cxn ang="0">
                <a:pos x="8" y="8"/>
              </a:cxn>
              <a:cxn ang="0">
                <a:pos x="0" y="8"/>
              </a:cxn>
              <a:cxn ang="0">
                <a:pos x="0" y="8"/>
              </a:cxn>
              <a:cxn ang="0">
                <a:pos x="4" y="4"/>
              </a:cxn>
              <a:cxn ang="0">
                <a:pos x="8" y="0"/>
              </a:cxn>
              <a:cxn ang="0">
                <a:pos x="8" y="0"/>
              </a:cxn>
              <a:cxn ang="0">
                <a:pos x="10" y="2"/>
              </a:cxn>
              <a:cxn ang="0">
                <a:pos x="8" y="8"/>
              </a:cxn>
              <a:cxn ang="0">
                <a:pos x="8" y="8"/>
              </a:cxn>
            </a:cxnLst>
            <a:rect l="0" t="0" r="r" b="b"/>
            <a:pathLst>
              <a:path w="10" h="8">
                <a:moveTo>
                  <a:pt x="8" y="8"/>
                </a:moveTo>
                <a:lnTo>
                  <a:pt x="8" y="8"/>
                </a:lnTo>
                <a:lnTo>
                  <a:pt x="0" y="8"/>
                </a:lnTo>
                <a:lnTo>
                  <a:pt x="0" y="8"/>
                </a:lnTo>
                <a:lnTo>
                  <a:pt x="4" y="4"/>
                </a:lnTo>
                <a:lnTo>
                  <a:pt x="8" y="0"/>
                </a:lnTo>
                <a:lnTo>
                  <a:pt x="8" y="0"/>
                </a:lnTo>
                <a:lnTo>
                  <a:pt x="10" y="2"/>
                </a:lnTo>
                <a:lnTo>
                  <a:pt x="8" y="8"/>
                </a:lnTo>
                <a:lnTo>
                  <a:pt x="8" y="8"/>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47" name="Malaysia"/>
          <p:cNvSpPr>
            <a:spLocks/>
          </p:cNvSpPr>
          <p:nvPr/>
        </p:nvSpPr>
        <p:spPr bwMode="auto">
          <a:xfrm>
            <a:off x="6740507" y="2552191"/>
            <a:ext cx="464988" cy="182090"/>
          </a:xfrm>
          <a:custGeom>
            <a:avLst/>
            <a:gdLst/>
            <a:ahLst/>
            <a:cxnLst/>
            <a:rect l="l" t="t" r="r" b="b"/>
            <a:pathLst>
              <a:path w="539875" h="211667">
                <a:moveTo>
                  <a:pt x="5292" y="26458"/>
                </a:moveTo>
                <a:lnTo>
                  <a:pt x="10584" y="26458"/>
                </a:lnTo>
                <a:lnTo>
                  <a:pt x="21167" y="31750"/>
                </a:lnTo>
                <a:lnTo>
                  <a:pt x="26459" y="37041"/>
                </a:lnTo>
                <a:lnTo>
                  <a:pt x="34396" y="39687"/>
                </a:lnTo>
                <a:lnTo>
                  <a:pt x="42334" y="37041"/>
                </a:lnTo>
                <a:lnTo>
                  <a:pt x="44980" y="34396"/>
                </a:lnTo>
                <a:lnTo>
                  <a:pt x="47625" y="31750"/>
                </a:lnTo>
                <a:lnTo>
                  <a:pt x="52917" y="26458"/>
                </a:lnTo>
                <a:lnTo>
                  <a:pt x="60855" y="37041"/>
                </a:lnTo>
                <a:lnTo>
                  <a:pt x="66146" y="39687"/>
                </a:lnTo>
                <a:lnTo>
                  <a:pt x="71438" y="44979"/>
                </a:lnTo>
                <a:lnTo>
                  <a:pt x="74084" y="47625"/>
                </a:lnTo>
                <a:lnTo>
                  <a:pt x="76730" y="52916"/>
                </a:lnTo>
                <a:lnTo>
                  <a:pt x="87313" y="58208"/>
                </a:lnTo>
                <a:lnTo>
                  <a:pt x="97896" y="68791"/>
                </a:lnTo>
                <a:lnTo>
                  <a:pt x="103188" y="76729"/>
                </a:lnTo>
                <a:lnTo>
                  <a:pt x="105834" y="84666"/>
                </a:lnTo>
                <a:lnTo>
                  <a:pt x="105834" y="92604"/>
                </a:lnTo>
                <a:lnTo>
                  <a:pt x="105834" y="100541"/>
                </a:lnTo>
                <a:lnTo>
                  <a:pt x="103188" y="105833"/>
                </a:lnTo>
                <a:lnTo>
                  <a:pt x="100542" y="108479"/>
                </a:lnTo>
                <a:lnTo>
                  <a:pt x="92605" y="113771"/>
                </a:lnTo>
                <a:lnTo>
                  <a:pt x="95250" y="116416"/>
                </a:lnTo>
                <a:lnTo>
                  <a:pt x="100542" y="124354"/>
                </a:lnTo>
                <a:lnTo>
                  <a:pt x="97896" y="129646"/>
                </a:lnTo>
                <a:lnTo>
                  <a:pt x="97896" y="134937"/>
                </a:lnTo>
                <a:lnTo>
                  <a:pt x="103188" y="145521"/>
                </a:lnTo>
                <a:lnTo>
                  <a:pt x="108480" y="153458"/>
                </a:lnTo>
                <a:lnTo>
                  <a:pt x="111126" y="158750"/>
                </a:lnTo>
                <a:lnTo>
                  <a:pt x="113771" y="164041"/>
                </a:lnTo>
                <a:lnTo>
                  <a:pt x="121709" y="174625"/>
                </a:lnTo>
                <a:lnTo>
                  <a:pt x="132292" y="187854"/>
                </a:lnTo>
                <a:lnTo>
                  <a:pt x="132292" y="193145"/>
                </a:lnTo>
                <a:lnTo>
                  <a:pt x="132292" y="195791"/>
                </a:lnTo>
                <a:lnTo>
                  <a:pt x="129646" y="198437"/>
                </a:lnTo>
                <a:lnTo>
                  <a:pt x="127001" y="198437"/>
                </a:lnTo>
                <a:lnTo>
                  <a:pt x="119063" y="195791"/>
                </a:lnTo>
                <a:lnTo>
                  <a:pt x="116417" y="193145"/>
                </a:lnTo>
                <a:lnTo>
                  <a:pt x="113771" y="195791"/>
                </a:lnTo>
                <a:lnTo>
                  <a:pt x="111126" y="198437"/>
                </a:lnTo>
                <a:lnTo>
                  <a:pt x="108480" y="195791"/>
                </a:lnTo>
                <a:lnTo>
                  <a:pt x="100542" y="187854"/>
                </a:lnTo>
                <a:lnTo>
                  <a:pt x="95250" y="182562"/>
                </a:lnTo>
                <a:lnTo>
                  <a:pt x="84667" y="177270"/>
                </a:lnTo>
                <a:lnTo>
                  <a:pt x="79375" y="174625"/>
                </a:lnTo>
                <a:lnTo>
                  <a:pt x="76730" y="171979"/>
                </a:lnTo>
                <a:lnTo>
                  <a:pt x="74084" y="169333"/>
                </a:lnTo>
                <a:lnTo>
                  <a:pt x="60855" y="161396"/>
                </a:lnTo>
                <a:lnTo>
                  <a:pt x="55563" y="158750"/>
                </a:lnTo>
                <a:lnTo>
                  <a:pt x="52917" y="156104"/>
                </a:lnTo>
                <a:lnTo>
                  <a:pt x="50271" y="153458"/>
                </a:lnTo>
                <a:lnTo>
                  <a:pt x="44980" y="148166"/>
                </a:lnTo>
                <a:lnTo>
                  <a:pt x="37042" y="142875"/>
                </a:lnTo>
                <a:lnTo>
                  <a:pt x="37042" y="140229"/>
                </a:lnTo>
                <a:lnTo>
                  <a:pt x="39688" y="137583"/>
                </a:lnTo>
                <a:lnTo>
                  <a:pt x="39688" y="132291"/>
                </a:lnTo>
                <a:lnTo>
                  <a:pt x="37042" y="129646"/>
                </a:lnTo>
                <a:lnTo>
                  <a:pt x="31750" y="121708"/>
                </a:lnTo>
                <a:lnTo>
                  <a:pt x="26459" y="116416"/>
                </a:lnTo>
                <a:lnTo>
                  <a:pt x="26459" y="113771"/>
                </a:lnTo>
                <a:lnTo>
                  <a:pt x="26459" y="108479"/>
                </a:lnTo>
                <a:lnTo>
                  <a:pt x="29104" y="105833"/>
                </a:lnTo>
                <a:lnTo>
                  <a:pt x="26459" y="103187"/>
                </a:lnTo>
                <a:lnTo>
                  <a:pt x="21167" y="97896"/>
                </a:lnTo>
                <a:lnTo>
                  <a:pt x="21167" y="92604"/>
                </a:lnTo>
                <a:lnTo>
                  <a:pt x="18521" y="84666"/>
                </a:lnTo>
                <a:lnTo>
                  <a:pt x="15875" y="79375"/>
                </a:lnTo>
                <a:lnTo>
                  <a:pt x="13229" y="74083"/>
                </a:lnTo>
                <a:lnTo>
                  <a:pt x="13229" y="71437"/>
                </a:lnTo>
                <a:lnTo>
                  <a:pt x="13229" y="68791"/>
                </a:lnTo>
                <a:lnTo>
                  <a:pt x="13229" y="66146"/>
                </a:lnTo>
                <a:lnTo>
                  <a:pt x="10584" y="60854"/>
                </a:lnTo>
                <a:lnTo>
                  <a:pt x="10584" y="52916"/>
                </a:lnTo>
                <a:lnTo>
                  <a:pt x="7938" y="42333"/>
                </a:lnTo>
                <a:lnTo>
                  <a:pt x="0" y="29104"/>
                </a:lnTo>
                <a:close/>
                <a:moveTo>
                  <a:pt x="455209" y="0"/>
                </a:moveTo>
                <a:lnTo>
                  <a:pt x="460500" y="0"/>
                </a:lnTo>
                <a:lnTo>
                  <a:pt x="460500" y="5292"/>
                </a:lnTo>
                <a:lnTo>
                  <a:pt x="460500" y="7937"/>
                </a:lnTo>
                <a:lnTo>
                  <a:pt x="463146" y="7937"/>
                </a:lnTo>
                <a:lnTo>
                  <a:pt x="468438" y="5292"/>
                </a:lnTo>
                <a:lnTo>
                  <a:pt x="468438" y="2646"/>
                </a:lnTo>
                <a:lnTo>
                  <a:pt x="468438" y="0"/>
                </a:lnTo>
                <a:lnTo>
                  <a:pt x="471084" y="0"/>
                </a:lnTo>
                <a:lnTo>
                  <a:pt x="473729" y="0"/>
                </a:lnTo>
                <a:lnTo>
                  <a:pt x="476375" y="0"/>
                </a:lnTo>
                <a:lnTo>
                  <a:pt x="476375" y="5292"/>
                </a:lnTo>
                <a:lnTo>
                  <a:pt x="476375" y="10583"/>
                </a:lnTo>
                <a:lnTo>
                  <a:pt x="481667" y="10583"/>
                </a:lnTo>
                <a:lnTo>
                  <a:pt x="486959" y="7937"/>
                </a:lnTo>
                <a:lnTo>
                  <a:pt x="486959" y="10583"/>
                </a:lnTo>
                <a:lnTo>
                  <a:pt x="486959" y="13229"/>
                </a:lnTo>
                <a:lnTo>
                  <a:pt x="489604" y="15875"/>
                </a:lnTo>
                <a:lnTo>
                  <a:pt x="492250" y="18521"/>
                </a:lnTo>
                <a:lnTo>
                  <a:pt x="489604" y="21167"/>
                </a:lnTo>
                <a:lnTo>
                  <a:pt x="484313" y="23812"/>
                </a:lnTo>
                <a:lnTo>
                  <a:pt x="486959" y="26459"/>
                </a:lnTo>
                <a:lnTo>
                  <a:pt x="492250" y="29104"/>
                </a:lnTo>
                <a:lnTo>
                  <a:pt x="484313" y="31750"/>
                </a:lnTo>
                <a:lnTo>
                  <a:pt x="492250" y="34396"/>
                </a:lnTo>
                <a:lnTo>
                  <a:pt x="497542" y="31750"/>
                </a:lnTo>
                <a:lnTo>
                  <a:pt x="500188" y="29104"/>
                </a:lnTo>
                <a:lnTo>
                  <a:pt x="502834" y="31750"/>
                </a:lnTo>
                <a:lnTo>
                  <a:pt x="505479" y="37042"/>
                </a:lnTo>
                <a:lnTo>
                  <a:pt x="505479" y="42334"/>
                </a:lnTo>
                <a:lnTo>
                  <a:pt x="505479" y="44979"/>
                </a:lnTo>
                <a:lnTo>
                  <a:pt x="508125" y="42334"/>
                </a:lnTo>
                <a:lnTo>
                  <a:pt x="510771" y="39688"/>
                </a:lnTo>
                <a:lnTo>
                  <a:pt x="516063" y="42334"/>
                </a:lnTo>
                <a:lnTo>
                  <a:pt x="521354" y="44979"/>
                </a:lnTo>
                <a:lnTo>
                  <a:pt x="526646" y="47625"/>
                </a:lnTo>
                <a:lnTo>
                  <a:pt x="529292" y="50271"/>
                </a:lnTo>
                <a:lnTo>
                  <a:pt x="531938" y="47625"/>
                </a:lnTo>
                <a:lnTo>
                  <a:pt x="534584" y="47625"/>
                </a:lnTo>
                <a:lnTo>
                  <a:pt x="539875" y="52917"/>
                </a:lnTo>
                <a:lnTo>
                  <a:pt x="539875" y="58209"/>
                </a:lnTo>
                <a:lnTo>
                  <a:pt x="537229" y="60854"/>
                </a:lnTo>
                <a:lnTo>
                  <a:pt x="534584" y="60854"/>
                </a:lnTo>
                <a:lnTo>
                  <a:pt x="526646" y="60854"/>
                </a:lnTo>
                <a:lnTo>
                  <a:pt x="524000" y="63500"/>
                </a:lnTo>
                <a:lnTo>
                  <a:pt x="518709" y="66146"/>
                </a:lnTo>
                <a:lnTo>
                  <a:pt x="516063" y="66146"/>
                </a:lnTo>
                <a:lnTo>
                  <a:pt x="510771" y="66146"/>
                </a:lnTo>
                <a:lnTo>
                  <a:pt x="508125" y="71438"/>
                </a:lnTo>
                <a:lnTo>
                  <a:pt x="513417" y="76729"/>
                </a:lnTo>
                <a:lnTo>
                  <a:pt x="524000" y="79375"/>
                </a:lnTo>
                <a:lnTo>
                  <a:pt x="529292" y="79375"/>
                </a:lnTo>
                <a:lnTo>
                  <a:pt x="524000" y="82021"/>
                </a:lnTo>
                <a:lnTo>
                  <a:pt x="516063" y="84667"/>
                </a:lnTo>
                <a:lnTo>
                  <a:pt x="508125" y="89959"/>
                </a:lnTo>
                <a:lnTo>
                  <a:pt x="502834" y="89959"/>
                </a:lnTo>
                <a:lnTo>
                  <a:pt x="492250" y="84667"/>
                </a:lnTo>
                <a:lnTo>
                  <a:pt x="492250" y="92604"/>
                </a:lnTo>
                <a:lnTo>
                  <a:pt x="489604" y="95250"/>
                </a:lnTo>
                <a:lnTo>
                  <a:pt x="473729" y="92604"/>
                </a:lnTo>
                <a:lnTo>
                  <a:pt x="465792" y="95250"/>
                </a:lnTo>
                <a:lnTo>
                  <a:pt x="460500" y="92604"/>
                </a:lnTo>
                <a:lnTo>
                  <a:pt x="457855" y="92604"/>
                </a:lnTo>
                <a:lnTo>
                  <a:pt x="452563" y="92604"/>
                </a:lnTo>
                <a:lnTo>
                  <a:pt x="447271" y="95250"/>
                </a:lnTo>
                <a:lnTo>
                  <a:pt x="444625" y="97896"/>
                </a:lnTo>
                <a:lnTo>
                  <a:pt x="444625" y="100542"/>
                </a:lnTo>
                <a:lnTo>
                  <a:pt x="441980" y="103188"/>
                </a:lnTo>
                <a:lnTo>
                  <a:pt x="441980" y="105834"/>
                </a:lnTo>
                <a:lnTo>
                  <a:pt x="441980" y="116417"/>
                </a:lnTo>
                <a:lnTo>
                  <a:pt x="441980" y="127000"/>
                </a:lnTo>
                <a:lnTo>
                  <a:pt x="436688" y="132292"/>
                </a:lnTo>
                <a:lnTo>
                  <a:pt x="431396" y="137584"/>
                </a:lnTo>
                <a:lnTo>
                  <a:pt x="426105" y="142875"/>
                </a:lnTo>
                <a:lnTo>
                  <a:pt x="423459" y="148167"/>
                </a:lnTo>
                <a:lnTo>
                  <a:pt x="420813" y="161396"/>
                </a:lnTo>
                <a:lnTo>
                  <a:pt x="418167" y="171980"/>
                </a:lnTo>
                <a:lnTo>
                  <a:pt x="415521" y="177271"/>
                </a:lnTo>
                <a:lnTo>
                  <a:pt x="412875" y="182563"/>
                </a:lnTo>
                <a:lnTo>
                  <a:pt x="407584" y="187855"/>
                </a:lnTo>
                <a:lnTo>
                  <a:pt x="404938" y="190500"/>
                </a:lnTo>
                <a:lnTo>
                  <a:pt x="399646" y="193146"/>
                </a:lnTo>
                <a:lnTo>
                  <a:pt x="386417" y="198438"/>
                </a:lnTo>
                <a:lnTo>
                  <a:pt x="375834" y="198438"/>
                </a:lnTo>
                <a:lnTo>
                  <a:pt x="370542" y="195792"/>
                </a:lnTo>
                <a:lnTo>
                  <a:pt x="367896" y="193146"/>
                </a:lnTo>
                <a:lnTo>
                  <a:pt x="367896" y="190500"/>
                </a:lnTo>
                <a:lnTo>
                  <a:pt x="365250" y="190500"/>
                </a:lnTo>
                <a:lnTo>
                  <a:pt x="359959" y="190500"/>
                </a:lnTo>
                <a:lnTo>
                  <a:pt x="354667" y="193146"/>
                </a:lnTo>
                <a:lnTo>
                  <a:pt x="349375" y="195792"/>
                </a:lnTo>
                <a:lnTo>
                  <a:pt x="349375" y="198438"/>
                </a:lnTo>
                <a:lnTo>
                  <a:pt x="346730" y="201084"/>
                </a:lnTo>
                <a:lnTo>
                  <a:pt x="341438" y="203730"/>
                </a:lnTo>
                <a:lnTo>
                  <a:pt x="336146" y="206375"/>
                </a:lnTo>
                <a:lnTo>
                  <a:pt x="333501" y="206375"/>
                </a:lnTo>
                <a:lnTo>
                  <a:pt x="325563" y="206375"/>
                </a:lnTo>
                <a:lnTo>
                  <a:pt x="314980" y="209021"/>
                </a:lnTo>
                <a:lnTo>
                  <a:pt x="304396" y="211667"/>
                </a:lnTo>
                <a:lnTo>
                  <a:pt x="299105" y="209021"/>
                </a:lnTo>
                <a:lnTo>
                  <a:pt x="296459" y="203730"/>
                </a:lnTo>
                <a:lnTo>
                  <a:pt x="296459" y="201084"/>
                </a:lnTo>
                <a:lnTo>
                  <a:pt x="291167" y="198438"/>
                </a:lnTo>
                <a:lnTo>
                  <a:pt x="288521" y="195792"/>
                </a:lnTo>
                <a:lnTo>
                  <a:pt x="288521" y="193146"/>
                </a:lnTo>
                <a:lnTo>
                  <a:pt x="288521" y="187855"/>
                </a:lnTo>
                <a:lnTo>
                  <a:pt x="283230" y="185209"/>
                </a:lnTo>
                <a:lnTo>
                  <a:pt x="280584" y="179917"/>
                </a:lnTo>
                <a:lnTo>
                  <a:pt x="277938" y="179917"/>
                </a:lnTo>
                <a:lnTo>
                  <a:pt x="277938" y="177271"/>
                </a:lnTo>
                <a:lnTo>
                  <a:pt x="275292" y="174625"/>
                </a:lnTo>
                <a:lnTo>
                  <a:pt x="275292" y="171980"/>
                </a:lnTo>
                <a:lnTo>
                  <a:pt x="277938" y="171980"/>
                </a:lnTo>
                <a:lnTo>
                  <a:pt x="280584" y="177271"/>
                </a:lnTo>
                <a:lnTo>
                  <a:pt x="291167" y="177271"/>
                </a:lnTo>
                <a:lnTo>
                  <a:pt x="301751" y="177271"/>
                </a:lnTo>
                <a:lnTo>
                  <a:pt x="307042" y="179917"/>
                </a:lnTo>
                <a:lnTo>
                  <a:pt x="309688" y="185209"/>
                </a:lnTo>
                <a:lnTo>
                  <a:pt x="312334" y="185209"/>
                </a:lnTo>
                <a:lnTo>
                  <a:pt x="322917" y="187855"/>
                </a:lnTo>
                <a:lnTo>
                  <a:pt x="328209" y="190500"/>
                </a:lnTo>
                <a:lnTo>
                  <a:pt x="325563" y="187855"/>
                </a:lnTo>
                <a:lnTo>
                  <a:pt x="314980" y="182563"/>
                </a:lnTo>
                <a:lnTo>
                  <a:pt x="312334" y="179917"/>
                </a:lnTo>
                <a:lnTo>
                  <a:pt x="309688" y="177271"/>
                </a:lnTo>
                <a:lnTo>
                  <a:pt x="314980" y="169334"/>
                </a:lnTo>
                <a:lnTo>
                  <a:pt x="320271" y="164042"/>
                </a:lnTo>
                <a:lnTo>
                  <a:pt x="320271" y="161396"/>
                </a:lnTo>
                <a:lnTo>
                  <a:pt x="320271" y="158750"/>
                </a:lnTo>
                <a:lnTo>
                  <a:pt x="320271" y="156105"/>
                </a:lnTo>
                <a:lnTo>
                  <a:pt x="320271" y="153459"/>
                </a:lnTo>
                <a:lnTo>
                  <a:pt x="322917" y="148167"/>
                </a:lnTo>
                <a:lnTo>
                  <a:pt x="325563" y="142875"/>
                </a:lnTo>
                <a:lnTo>
                  <a:pt x="328209" y="142875"/>
                </a:lnTo>
                <a:lnTo>
                  <a:pt x="333501" y="142875"/>
                </a:lnTo>
                <a:lnTo>
                  <a:pt x="346730" y="134938"/>
                </a:lnTo>
                <a:lnTo>
                  <a:pt x="359959" y="129646"/>
                </a:lnTo>
                <a:lnTo>
                  <a:pt x="365250" y="124354"/>
                </a:lnTo>
                <a:lnTo>
                  <a:pt x="370542" y="113771"/>
                </a:lnTo>
                <a:lnTo>
                  <a:pt x="381125" y="92604"/>
                </a:lnTo>
                <a:lnTo>
                  <a:pt x="389063" y="82021"/>
                </a:lnTo>
                <a:lnTo>
                  <a:pt x="389063" y="74084"/>
                </a:lnTo>
                <a:lnTo>
                  <a:pt x="391709" y="71438"/>
                </a:lnTo>
                <a:lnTo>
                  <a:pt x="397000" y="68792"/>
                </a:lnTo>
                <a:lnTo>
                  <a:pt x="399646" y="71438"/>
                </a:lnTo>
                <a:lnTo>
                  <a:pt x="402292" y="74084"/>
                </a:lnTo>
                <a:lnTo>
                  <a:pt x="402292" y="76729"/>
                </a:lnTo>
                <a:lnTo>
                  <a:pt x="404938" y="79375"/>
                </a:lnTo>
                <a:lnTo>
                  <a:pt x="404938" y="76729"/>
                </a:lnTo>
                <a:lnTo>
                  <a:pt x="407584" y="79375"/>
                </a:lnTo>
                <a:lnTo>
                  <a:pt x="412875" y="87313"/>
                </a:lnTo>
                <a:lnTo>
                  <a:pt x="418167" y="89959"/>
                </a:lnTo>
                <a:lnTo>
                  <a:pt x="420813" y="87313"/>
                </a:lnTo>
                <a:lnTo>
                  <a:pt x="423459" y="79375"/>
                </a:lnTo>
                <a:lnTo>
                  <a:pt x="420813" y="71438"/>
                </a:lnTo>
                <a:lnTo>
                  <a:pt x="420813" y="66146"/>
                </a:lnTo>
                <a:lnTo>
                  <a:pt x="420813" y="63500"/>
                </a:lnTo>
                <a:lnTo>
                  <a:pt x="423459" y="60854"/>
                </a:lnTo>
                <a:lnTo>
                  <a:pt x="426105" y="60854"/>
                </a:lnTo>
                <a:lnTo>
                  <a:pt x="428750" y="60854"/>
                </a:lnTo>
                <a:lnTo>
                  <a:pt x="428750" y="68792"/>
                </a:lnTo>
                <a:lnTo>
                  <a:pt x="431396" y="74084"/>
                </a:lnTo>
                <a:lnTo>
                  <a:pt x="434042" y="74084"/>
                </a:lnTo>
                <a:lnTo>
                  <a:pt x="436688" y="71438"/>
                </a:lnTo>
                <a:lnTo>
                  <a:pt x="436688" y="68792"/>
                </a:lnTo>
                <a:lnTo>
                  <a:pt x="436688" y="66146"/>
                </a:lnTo>
                <a:lnTo>
                  <a:pt x="434042" y="58209"/>
                </a:lnTo>
                <a:lnTo>
                  <a:pt x="434042" y="52917"/>
                </a:lnTo>
                <a:lnTo>
                  <a:pt x="436688" y="52917"/>
                </a:lnTo>
                <a:lnTo>
                  <a:pt x="439334" y="50271"/>
                </a:lnTo>
                <a:lnTo>
                  <a:pt x="439334" y="47625"/>
                </a:lnTo>
                <a:lnTo>
                  <a:pt x="436688" y="42334"/>
                </a:lnTo>
                <a:lnTo>
                  <a:pt x="436688" y="39688"/>
                </a:lnTo>
                <a:lnTo>
                  <a:pt x="439334" y="37042"/>
                </a:lnTo>
                <a:lnTo>
                  <a:pt x="444625" y="31750"/>
                </a:lnTo>
                <a:lnTo>
                  <a:pt x="441980" y="29104"/>
                </a:lnTo>
                <a:lnTo>
                  <a:pt x="441980" y="26459"/>
                </a:lnTo>
                <a:lnTo>
                  <a:pt x="447271" y="21167"/>
                </a:lnTo>
                <a:lnTo>
                  <a:pt x="452563" y="13229"/>
                </a:lnTo>
                <a:lnTo>
                  <a:pt x="452563" y="7937"/>
                </a:lnTo>
                <a:lnTo>
                  <a:pt x="455209" y="2646"/>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48" name="Mexico"/>
          <p:cNvSpPr>
            <a:spLocks/>
          </p:cNvSpPr>
          <p:nvPr/>
        </p:nvSpPr>
        <p:spPr bwMode="auto">
          <a:xfrm>
            <a:off x="1690631" y="1842040"/>
            <a:ext cx="610725" cy="500747"/>
          </a:xfrm>
          <a:custGeom>
            <a:avLst/>
            <a:gdLst/>
            <a:ahLst/>
            <a:cxnLst>
              <a:cxn ang="0">
                <a:pos x="326" y="228"/>
              </a:cxn>
              <a:cxn ang="0">
                <a:pos x="324" y="274"/>
              </a:cxn>
              <a:cxn ang="0">
                <a:pos x="340" y="326"/>
              </a:cxn>
              <a:cxn ang="0">
                <a:pos x="360" y="342"/>
              </a:cxn>
              <a:cxn ang="0">
                <a:pos x="406" y="336"/>
              </a:cxn>
              <a:cxn ang="0">
                <a:pos x="430" y="330"/>
              </a:cxn>
              <a:cxn ang="0">
                <a:pos x="442" y="322"/>
              </a:cxn>
              <a:cxn ang="0">
                <a:pos x="456" y="296"/>
              </a:cxn>
              <a:cxn ang="0">
                <a:pos x="498" y="266"/>
              </a:cxn>
              <a:cxn ang="0">
                <a:pos x="532" y="270"/>
              </a:cxn>
              <a:cxn ang="0">
                <a:pos x="522" y="304"/>
              </a:cxn>
              <a:cxn ang="0">
                <a:pos x="516" y="314"/>
              </a:cxn>
              <a:cxn ang="0">
                <a:pos x="500" y="356"/>
              </a:cxn>
              <a:cxn ang="0">
                <a:pos x="492" y="346"/>
              </a:cxn>
              <a:cxn ang="0">
                <a:pos x="432" y="364"/>
              </a:cxn>
              <a:cxn ang="0">
                <a:pos x="428" y="386"/>
              </a:cxn>
              <a:cxn ang="0">
                <a:pos x="424" y="402"/>
              </a:cxn>
              <a:cxn ang="0">
                <a:pos x="380" y="420"/>
              </a:cxn>
              <a:cxn ang="0">
                <a:pos x="356" y="402"/>
              </a:cxn>
              <a:cxn ang="0">
                <a:pos x="350" y="406"/>
              </a:cxn>
              <a:cxn ang="0">
                <a:pos x="312" y="416"/>
              </a:cxn>
              <a:cxn ang="0">
                <a:pos x="274" y="402"/>
              </a:cxn>
              <a:cxn ang="0">
                <a:pos x="234" y="378"/>
              </a:cxn>
              <a:cxn ang="0">
                <a:pos x="186" y="352"/>
              </a:cxn>
              <a:cxn ang="0">
                <a:pos x="162" y="334"/>
              </a:cxn>
              <a:cxn ang="0">
                <a:pos x="144" y="308"/>
              </a:cxn>
              <a:cxn ang="0">
                <a:pos x="154" y="286"/>
              </a:cxn>
              <a:cxn ang="0">
                <a:pos x="160" y="266"/>
              </a:cxn>
              <a:cxn ang="0">
                <a:pos x="124" y="192"/>
              </a:cxn>
              <a:cxn ang="0">
                <a:pos x="118" y="186"/>
              </a:cxn>
              <a:cxn ang="0">
                <a:pos x="108" y="160"/>
              </a:cxn>
              <a:cxn ang="0">
                <a:pos x="94" y="134"/>
              </a:cxn>
              <a:cxn ang="0">
                <a:pos x="84" y="112"/>
              </a:cxn>
              <a:cxn ang="0">
                <a:pos x="72" y="90"/>
              </a:cxn>
              <a:cxn ang="0">
                <a:pos x="66" y="52"/>
              </a:cxn>
              <a:cxn ang="0">
                <a:pos x="50" y="26"/>
              </a:cxn>
              <a:cxn ang="0">
                <a:pos x="38" y="42"/>
              </a:cxn>
              <a:cxn ang="0">
                <a:pos x="50" y="90"/>
              </a:cxn>
              <a:cxn ang="0">
                <a:pos x="58" y="116"/>
              </a:cxn>
              <a:cxn ang="0">
                <a:pos x="68" y="148"/>
              </a:cxn>
              <a:cxn ang="0">
                <a:pos x="66" y="168"/>
              </a:cxn>
              <a:cxn ang="0">
                <a:pos x="76" y="164"/>
              </a:cxn>
              <a:cxn ang="0">
                <a:pos x="74" y="202"/>
              </a:cxn>
              <a:cxn ang="0">
                <a:pos x="86" y="214"/>
              </a:cxn>
              <a:cxn ang="0">
                <a:pos x="70" y="232"/>
              </a:cxn>
              <a:cxn ang="0">
                <a:pos x="46" y="192"/>
              </a:cxn>
              <a:cxn ang="0">
                <a:pos x="44" y="162"/>
              </a:cxn>
              <a:cxn ang="0">
                <a:pos x="24" y="140"/>
              </a:cxn>
              <a:cxn ang="0">
                <a:pos x="6" y="118"/>
              </a:cxn>
              <a:cxn ang="0">
                <a:pos x="22" y="114"/>
              </a:cxn>
              <a:cxn ang="0">
                <a:pos x="28" y="104"/>
              </a:cxn>
              <a:cxn ang="0">
                <a:pos x="4" y="60"/>
              </a:cxn>
              <a:cxn ang="0">
                <a:pos x="2" y="32"/>
              </a:cxn>
              <a:cxn ang="0">
                <a:pos x="4" y="2"/>
              </a:cxn>
              <a:cxn ang="0">
                <a:pos x="200" y="22"/>
              </a:cxn>
              <a:cxn ang="0">
                <a:pos x="224" y="46"/>
              </a:cxn>
              <a:cxn ang="0">
                <a:pos x="252" y="72"/>
              </a:cxn>
              <a:cxn ang="0">
                <a:pos x="278" y="68"/>
              </a:cxn>
              <a:cxn ang="0">
                <a:pos x="312" y="140"/>
              </a:cxn>
            </a:cxnLst>
            <a:rect l="0" t="0" r="r" b="b"/>
            <a:pathLst>
              <a:path w="536" h="440">
                <a:moveTo>
                  <a:pt x="346" y="160"/>
                </a:moveTo>
                <a:lnTo>
                  <a:pt x="346" y="160"/>
                </a:lnTo>
                <a:lnTo>
                  <a:pt x="346" y="168"/>
                </a:lnTo>
                <a:lnTo>
                  <a:pt x="344" y="174"/>
                </a:lnTo>
                <a:lnTo>
                  <a:pt x="338" y="182"/>
                </a:lnTo>
                <a:lnTo>
                  <a:pt x="338" y="182"/>
                </a:lnTo>
                <a:lnTo>
                  <a:pt x="334" y="188"/>
                </a:lnTo>
                <a:lnTo>
                  <a:pt x="332" y="196"/>
                </a:lnTo>
                <a:lnTo>
                  <a:pt x="328" y="212"/>
                </a:lnTo>
                <a:lnTo>
                  <a:pt x="326" y="228"/>
                </a:lnTo>
                <a:lnTo>
                  <a:pt x="324" y="236"/>
                </a:lnTo>
                <a:lnTo>
                  <a:pt x="322" y="242"/>
                </a:lnTo>
                <a:lnTo>
                  <a:pt x="322" y="242"/>
                </a:lnTo>
                <a:lnTo>
                  <a:pt x="320" y="246"/>
                </a:lnTo>
                <a:lnTo>
                  <a:pt x="318" y="252"/>
                </a:lnTo>
                <a:lnTo>
                  <a:pt x="320" y="260"/>
                </a:lnTo>
                <a:lnTo>
                  <a:pt x="324" y="266"/>
                </a:lnTo>
                <a:lnTo>
                  <a:pt x="324" y="270"/>
                </a:lnTo>
                <a:lnTo>
                  <a:pt x="324" y="274"/>
                </a:lnTo>
                <a:lnTo>
                  <a:pt x="324" y="274"/>
                </a:lnTo>
                <a:lnTo>
                  <a:pt x="322" y="278"/>
                </a:lnTo>
                <a:lnTo>
                  <a:pt x="322" y="282"/>
                </a:lnTo>
                <a:lnTo>
                  <a:pt x="324" y="292"/>
                </a:lnTo>
                <a:lnTo>
                  <a:pt x="334" y="312"/>
                </a:lnTo>
                <a:lnTo>
                  <a:pt x="334" y="312"/>
                </a:lnTo>
                <a:lnTo>
                  <a:pt x="336" y="318"/>
                </a:lnTo>
                <a:lnTo>
                  <a:pt x="336" y="322"/>
                </a:lnTo>
                <a:lnTo>
                  <a:pt x="336" y="324"/>
                </a:lnTo>
                <a:lnTo>
                  <a:pt x="340" y="326"/>
                </a:lnTo>
                <a:lnTo>
                  <a:pt x="340" y="326"/>
                </a:lnTo>
                <a:lnTo>
                  <a:pt x="342" y="328"/>
                </a:lnTo>
                <a:lnTo>
                  <a:pt x="342" y="330"/>
                </a:lnTo>
                <a:lnTo>
                  <a:pt x="342" y="334"/>
                </a:lnTo>
                <a:lnTo>
                  <a:pt x="344" y="338"/>
                </a:lnTo>
                <a:lnTo>
                  <a:pt x="346" y="338"/>
                </a:lnTo>
                <a:lnTo>
                  <a:pt x="348" y="338"/>
                </a:lnTo>
                <a:lnTo>
                  <a:pt x="348" y="338"/>
                </a:lnTo>
                <a:lnTo>
                  <a:pt x="352" y="338"/>
                </a:lnTo>
                <a:lnTo>
                  <a:pt x="356" y="340"/>
                </a:lnTo>
                <a:lnTo>
                  <a:pt x="360" y="342"/>
                </a:lnTo>
                <a:lnTo>
                  <a:pt x="360" y="342"/>
                </a:lnTo>
                <a:lnTo>
                  <a:pt x="366" y="346"/>
                </a:lnTo>
                <a:lnTo>
                  <a:pt x="372" y="346"/>
                </a:lnTo>
                <a:lnTo>
                  <a:pt x="378" y="344"/>
                </a:lnTo>
                <a:lnTo>
                  <a:pt x="378" y="344"/>
                </a:lnTo>
                <a:lnTo>
                  <a:pt x="386" y="340"/>
                </a:lnTo>
                <a:lnTo>
                  <a:pt x="392" y="340"/>
                </a:lnTo>
                <a:lnTo>
                  <a:pt x="398" y="338"/>
                </a:lnTo>
                <a:lnTo>
                  <a:pt x="406" y="336"/>
                </a:lnTo>
                <a:lnTo>
                  <a:pt x="406" y="336"/>
                </a:lnTo>
                <a:lnTo>
                  <a:pt x="412" y="334"/>
                </a:lnTo>
                <a:lnTo>
                  <a:pt x="416" y="332"/>
                </a:lnTo>
                <a:lnTo>
                  <a:pt x="420" y="332"/>
                </a:lnTo>
                <a:lnTo>
                  <a:pt x="424" y="330"/>
                </a:lnTo>
                <a:lnTo>
                  <a:pt x="424" y="330"/>
                </a:lnTo>
                <a:lnTo>
                  <a:pt x="428" y="328"/>
                </a:lnTo>
                <a:lnTo>
                  <a:pt x="432" y="328"/>
                </a:lnTo>
                <a:lnTo>
                  <a:pt x="432" y="330"/>
                </a:lnTo>
                <a:lnTo>
                  <a:pt x="430" y="330"/>
                </a:lnTo>
                <a:lnTo>
                  <a:pt x="430" y="330"/>
                </a:lnTo>
                <a:lnTo>
                  <a:pt x="426" y="332"/>
                </a:lnTo>
                <a:lnTo>
                  <a:pt x="426" y="334"/>
                </a:lnTo>
                <a:lnTo>
                  <a:pt x="428" y="334"/>
                </a:lnTo>
                <a:lnTo>
                  <a:pt x="434" y="332"/>
                </a:lnTo>
                <a:lnTo>
                  <a:pt x="434" y="332"/>
                </a:lnTo>
                <a:lnTo>
                  <a:pt x="438" y="330"/>
                </a:lnTo>
                <a:lnTo>
                  <a:pt x="436" y="328"/>
                </a:lnTo>
                <a:lnTo>
                  <a:pt x="436" y="326"/>
                </a:lnTo>
                <a:lnTo>
                  <a:pt x="436" y="326"/>
                </a:lnTo>
                <a:lnTo>
                  <a:pt x="442" y="322"/>
                </a:lnTo>
                <a:lnTo>
                  <a:pt x="442" y="322"/>
                </a:lnTo>
                <a:lnTo>
                  <a:pt x="444" y="320"/>
                </a:lnTo>
                <a:lnTo>
                  <a:pt x="446" y="318"/>
                </a:lnTo>
                <a:lnTo>
                  <a:pt x="446" y="312"/>
                </a:lnTo>
                <a:lnTo>
                  <a:pt x="448" y="308"/>
                </a:lnTo>
                <a:lnTo>
                  <a:pt x="450" y="306"/>
                </a:lnTo>
                <a:lnTo>
                  <a:pt x="452" y="304"/>
                </a:lnTo>
                <a:lnTo>
                  <a:pt x="452" y="304"/>
                </a:lnTo>
                <a:lnTo>
                  <a:pt x="454" y="302"/>
                </a:lnTo>
                <a:lnTo>
                  <a:pt x="456" y="296"/>
                </a:lnTo>
                <a:lnTo>
                  <a:pt x="456" y="280"/>
                </a:lnTo>
                <a:lnTo>
                  <a:pt x="456" y="280"/>
                </a:lnTo>
                <a:lnTo>
                  <a:pt x="456" y="276"/>
                </a:lnTo>
                <a:lnTo>
                  <a:pt x="460" y="274"/>
                </a:lnTo>
                <a:lnTo>
                  <a:pt x="470" y="268"/>
                </a:lnTo>
                <a:lnTo>
                  <a:pt x="482" y="266"/>
                </a:lnTo>
                <a:lnTo>
                  <a:pt x="488" y="266"/>
                </a:lnTo>
                <a:lnTo>
                  <a:pt x="488" y="266"/>
                </a:lnTo>
                <a:lnTo>
                  <a:pt x="492" y="268"/>
                </a:lnTo>
                <a:lnTo>
                  <a:pt x="498" y="266"/>
                </a:lnTo>
                <a:lnTo>
                  <a:pt x="504" y="264"/>
                </a:lnTo>
                <a:lnTo>
                  <a:pt x="514" y="264"/>
                </a:lnTo>
                <a:lnTo>
                  <a:pt x="514" y="264"/>
                </a:lnTo>
                <a:lnTo>
                  <a:pt x="520" y="264"/>
                </a:lnTo>
                <a:lnTo>
                  <a:pt x="524" y="264"/>
                </a:lnTo>
                <a:lnTo>
                  <a:pt x="526" y="264"/>
                </a:lnTo>
                <a:lnTo>
                  <a:pt x="528" y="266"/>
                </a:lnTo>
                <a:lnTo>
                  <a:pt x="528" y="266"/>
                </a:lnTo>
                <a:lnTo>
                  <a:pt x="532" y="270"/>
                </a:lnTo>
                <a:lnTo>
                  <a:pt x="532" y="270"/>
                </a:lnTo>
                <a:lnTo>
                  <a:pt x="534" y="272"/>
                </a:lnTo>
                <a:lnTo>
                  <a:pt x="536" y="274"/>
                </a:lnTo>
                <a:lnTo>
                  <a:pt x="536" y="274"/>
                </a:lnTo>
                <a:lnTo>
                  <a:pt x="536" y="280"/>
                </a:lnTo>
                <a:lnTo>
                  <a:pt x="534" y="284"/>
                </a:lnTo>
                <a:lnTo>
                  <a:pt x="530" y="288"/>
                </a:lnTo>
                <a:lnTo>
                  <a:pt x="526" y="292"/>
                </a:lnTo>
                <a:lnTo>
                  <a:pt x="526" y="292"/>
                </a:lnTo>
                <a:lnTo>
                  <a:pt x="524" y="300"/>
                </a:lnTo>
                <a:lnTo>
                  <a:pt x="522" y="304"/>
                </a:lnTo>
                <a:lnTo>
                  <a:pt x="518" y="304"/>
                </a:lnTo>
                <a:lnTo>
                  <a:pt x="518" y="304"/>
                </a:lnTo>
                <a:lnTo>
                  <a:pt x="516" y="306"/>
                </a:lnTo>
                <a:lnTo>
                  <a:pt x="516" y="306"/>
                </a:lnTo>
                <a:lnTo>
                  <a:pt x="518" y="306"/>
                </a:lnTo>
                <a:lnTo>
                  <a:pt x="518" y="306"/>
                </a:lnTo>
                <a:lnTo>
                  <a:pt x="518" y="306"/>
                </a:lnTo>
                <a:lnTo>
                  <a:pt x="520" y="308"/>
                </a:lnTo>
                <a:lnTo>
                  <a:pt x="520" y="310"/>
                </a:lnTo>
                <a:lnTo>
                  <a:pt x="516" y="314"/>
                </a:lnTo>
                <a:lnTo>
                  <a:pt x="516" y="314"/>
                </a:lnTo>
                <a:lnTo>
                  <a:pt x="512" y="322"/>
                </a:lnTo>
                <a:lnTo>
                  <a:pt x="508" y="330"/>
                </a:lnTo>
                <a:lnTo>
                  <a:pt x="506" y="338"/>
                </a:lnTo>
                <a:lnTo>
                  <a:pt x="504" y="342"/>
                </a:lnTo>
                <a:lnTo>
                  <a:pt x="504" y="342"/>
                </a:lnTo>
                <a:lnTo>
                  <a:pt x="502" y="344"/>
                </a:lnTo>
                <a:lnTo>
                  <a:pt x="502" y="350"/>
                </a:lnTo>
                <a:lnTo>
                  <a:pt x="502" y="354"/>
                </a:lnTo>
                <a:lnTo>
                  <a:pt x="500" y="356"/>
                </a:lnTo>
                <a:lnTo>
                  <a:pt x="500" y="356"/>
                </a:lnTo>
                <a:lnTo>
                  <a:pt x="500" y="350"/>
                </a:lnTo>
                <a:lnTo>
                  <a:pt x="498" y="346"/>
                </a:lnTo>
                <a:lnTo>
                  <a:pt x="498" y="344"/>
                </a:lnTo>
                <a:lnTo>
                  <a:pt x="498" y="338"/>
                </a:lnTo>
                <a:lnTo>
                  <a:pt x="498" y="338"/>
                </a:lnTo>
                <a:lnTo>
                  <a:pt x="494" y="344"/>
                </a:lnTo>
                <a:lnTo>
                  <a:pt x="492" y="346"/>
                </a:lnTo>
                <a:lnTo>
                  <a:pt x="492" y="346"/>
                </a:lnTo>
                <a:lnTo>
                  <a:pt x="492" y="346"/>
                </a:lnTo>
                <a:lnTo>
                  <a:pt x="484" y="354"/>
                </a:lnTo>
                <a:lnTo>
                  <a:pt x="480" y="358"/>
                </a:lnTo>
                <a:lnTo>
                  <a:pt x="478" y="358"/>
                </a:lnTo>
                <a:lnTo>
                  <a:pt x="476" y="358"/>
                </a:lnTo>
                <a:lnTo>
                  <a:pt x="474" y="356"/>
                </a:lnTo>
                <a:lnTo>
                  <a:pt x="472" y="356"/>
                </a:lnTo>
                <a:lnTo>
                  <a:pt x="468" y="360"/>
                </a:lnTo>
                <a:lnTo>
                  <a:pt x="434" y="360"/>
                </a:lnTo>
                <a:lnTo>
                  <a:pt x="434" y="360"/>
                </a:lnTo>
                <a:lnTo>
                  <a:pt x="432" y="364"/>
                </a:lnTo>
                <a:lnTo>
                  <a:pt x="434" y="368"/>
                </a:lnTo>
                <a:lnTo>
                  <a:pt x="436" y="370"/>
                </a:lnTo>
                <a:lnTo>
                  <a:pt x="438" y="374"/>
                </a:lnTo>
                <a:lnTo>
                  <a:pt x="438" y="374"/>
                </a:lnTo>
                <a:lnTo>
                  <a:pt x="436" y="378"/>
                </a:lnTo>
                <a:lnTo>
                  <a:pt x="432" y="378"/>
                </a:lnTo>
                <a:lnTo>
                  <a:pt x="428" y="380"/>
                </a:lnTo>
                <a:lnTo>
                  <a:pt x="426" y="384"/>
                </a:lnTo>
                <a:lnTo>
                  <a:pt x="426" y="384"/>
                </a:lnTo>
                <a:lnTo>
                  <a:pt x="428" y="386"/>
                </a:lnTo>
                <a:lnTo>
                  <a:pt x="432" y="388"/>
                </a:lnTo>
                <a:lnTo>
                  <a:pt x="436" y="390"/>
                </a:lnTo>
                <a:lnTo>
                  <a:pt x="436" y="392"/>
                </a:lnTo>
                <a:lnTo>
                  <a:pt x="436" y="392"/>
                </a:lnTo>
                <a:lnTo>
                  <a:pt x="436" y="396"/>
                </a:lnTo>
                <a:lnTo>
                  <a:pt x="438" y="398"/>
                </a:lnTo>
                <a:lnTo>
                  <a:pt x="440" y="400"/>
                </a:lnTo>
                <a:lnTo>
                  <a:pt x="440" y="404"/>
                </a:lnTo>
                <a:lnTo>
                  <a:pt x="440" y="404"/>
                </a:lnTo>
                <a:lnTo>
                  <a:pt x="424" y="402"/>
                </a:lnTo>
                <a:lnTo>
                  <a:pt x="418" y="404"/>
                </a:lnTo>
                <a:lnTo>
                  <a:pt x="412" y="406"/>
                </a:lnTo>
                <a:lnTo>
                  <a:pt x="408" y="410"/>
                </a:lnTo>
                <a:lnTo>
                  <a:pt x="402" y="416"/>
                </a:lnTo>
                <a:lnTo>
                  <a:pt x="400" y="426"/>
                </a:lnTo>
                <a:lnTo>
                  <a:pt x="396" y="440"/>
                </a:lnTo>
                <a:lnTo>
                  <a:pt x="396" y="440"/>
                </a:lnTo>
                <a:lnTo>
                  <a:pt x="392" y="434"/>
                </a:lnTo>
                <a:lnTo>
                  <a:pt x="388" y="428"/>
                </a:lnTo>
                <a:lnTo>
                  <a:pt x="380" y="420"/>
                </a:lnTo>
                <a:lnTo>
                  <a:pt x="380" y="420"/>
                </a:lnTo>
                <a:lnTo>
                  <a:pt x="368" y="412"/>
                </a:lnTo>
                <a:lnTo>
                  <a:pt x="362" y="408"/>
                </a:lnTo>
                <a:lnTo>
                  <a:pt x="358" y="408"/>
                </a:lnTo>
                <a:lnTo>
                  <a:pt x="354" y="406"/>
                </a:lnTo>
                <a:lnTo>
                  <a:pt x="354" y="406"/>
                </a:lnTo>
                <a:lnTo>
                  <a:pt x="358" y="404"/>
                </a:lnTo>
                <a:lnTo>
                  <a:pt x="358" y="402"/>
                </a:lnTo>
                <a:lnTo>
                  <a:pt x="358" y="400"/>
                </a:lnTo>
                <a:lnTo>
                  <a:pt x="356" y="402"/>
                </a:lnTo>
                <a:lnTo>
                  <a:pt x="356" y="402"/>
                </a:lnTo>
                <a:lnTo>
                  <a:pt x="352" y="402"/>
                </a:lnTo>
                <a:lnTo>
                  <a:pt x="350" y="402"/>
                </a:lnTo>
                <a:lnTo>
                  <a:pt x="348" y="402"/>
                </a:lnTo>
                <a:lnTo>
                  <a:pt x="346" y="404"/>
                </a:lnTo>
                <a:lnTo>
                  <a:pt x="346" y="404"/>
                </a:lnTo>
                <a:lnTo>
                  <a:pt x="344" y="404"/>
                </a:lnTo>
                <a:lnTo>
                  <a:pt x="346" y="406"/>
                </a:lnTo>
                <a:lnTo>
                  <a:pt x="348" y="406"/>
                </a:lnTo>
                <a:lnTo>
                  <a:pt x="350" y="406"/>
                </a:lnTo>
                <a:lnTo>
                  <a:pt x="346" y="408"/>
                </a:lnTo>
                <a:lnTo>
                  <a:pt x="346" y="408"/>
                </a:lnTo>
                <a:lnTo>
                  <a:pt x="340" y="408"/>
                </a:lnTo>
                <a:lnTo>
                  <a:pt x="338" y="410"/>
                </a:lnTo>
                <a:lnTo>
                  <a:pt x="334" y="412"/>
                </a:lnTo>
                <a:lnTo>
                  <a:pt x="328" y="412"/>
                </a:lnTo>
                <a:lnTo>
                  <a:pt x="328" y="412"/>
                </a:lnTo>
                <a:lnTo>
                  <a:pt x="322" y="414"/>
                </a:lnTo>
                <a:lnTo>
                  <a:pt x="318" y="416"/>
                </a:lnTo>
                <a:lnTo>
                  <a:pt x="312" y="416"/>
                </a:lnTo>
                <a:lnTo>
                  <a:pt x="304" y="412"/>
                </a:lnTo>
                <a:lnTo>
                  <a:pt x="304" y="412"/>
                </a:lnTo>
                <a:lnTo>
                  <a:pt x="300" y="412"/>
                </a:lnTo>
                <a:lnTo>
                  <a:pt x="294" y="412"/>
                </a:lnTo>
                <a:lnTo>
                  <a:pt x="290" y="410"/>
                </a:lnTo>
                <a:lnTo>
                  <a:pt x="284" y="406"/>
                </a:lnTo>
                <a:lnTo>
                  <a:pt x="284" y="406"/>
                </a:lnTo>
                <a:lnTo>
                  <a:pt x="282" y="404"/>
                </a:lnTo>
                <a:lnTo>
                  <a:pt x="278" y="404"/>
                </a:lnTo>
                <a:lnTo>
                  <a:pt x="274" y="402"/>
                </a:lnTo>
                <a:lnTo>
                  <a:pt x="270" y="396"/>
                </a:lnTo>
                <a:lnTo>
                  <a:pt x="270" y="396"/>
                </a:lnTo>
                <a:lnTo>
                  <a:pt x="266" y="394"/>
                </a:lnTo>
                <a:lnTo>
                  <a:pt x="260" y="392"/>
                </a:lnTo>
                <a:lnTo>
                  <a:pt x="256" y="392"/>
                </a:lnTo>
                <a:lnTo>
                  <a:pt x="250" y="386"/>
                </a:lnTo>
                <a:lnTo>
                  <a:pt x="250" y="386"/>
                </a:lnTo>
                <a:lnTo>
                  <a:pt x="248" y="384"/>
                </a:lnTo>
                <a:lnTo>
                  <a:pt x="242" y="382"/>
                </a:lnTo>
                <a:lnTo>
                  <a:pt x="234" y="378"/>
                </a:lnTo>
                <a:lnTo>
                  <a:pt x="224" y="374"/>
                </a:lnTo>
                <a:lnTo>
                  <a:pt x="220" y="370"/>
                </a:lnTo>
                <a:lnTo>
                  <a:pt x="216" y="366"/>
                </a:lnTo>
                <a:lnTo>
                  <a:pt x="216" y="366"/>
                </a:lnTo>
                <a:lnTo>
                  <a:pt x="214" y="360"/>
                </a:lnTo>
                <a:lnTo>
                  <a:pt x="212" y="360"/>
                </a:lnTo>
                <a:lnTo>
                  <a:pt x="208" y="360"/>
                </a:lnTo>
                <a:lnTo>
                  <a:pt x="200" y="358"/>
                </a:lnTo>
                <a:lnTo>
                  <a:pt x="200" y="358"/>
                </a:lnTo>
                <a:lnTo>
                  <a:pt x="186" y="352"/>
                </a:lnTo>
                <a:lnTo>
                  <a:pt x="182" y="348"/>
                </a:lnTo>
                <a:lnTo>
                  <a:pt x="182" y="346"/>
                </a:lnTo>
                <a:lnTo>
                  <a:pt x="178" y="344"/>
                </a:lnTo>
                <a:lnTo>
                  <a:pt x="178" y="344"/>
                </a:lnTo>
                <a:lnTo>
                  <a:pt x="174" y="342"/>
                </a:lnTo>
                <a:lnTo>
                  <a:pt x="170" y="340"/>
                </a:lnTo>
                <a:lnTo>
                  <a:pt x="168" y="338"/>
                </a:lnTo>
                <a:lnTo>
                  <a:pt x="164" y="336"/>
                </a:lnTo>
                <a:lnTo>
                  <a:pt x="164" y="336"/>
                </a:lnTo>
                <a:lnTo>
                  <a:pt x="162" y="334"/>
                </a:lnTo>
                <a:lnTo>
                  <a:pt x="162" y="332"/>
                </a:lnTo>
                <a:lnTo>
                  <a:pt x="162" y="330"/>
                </a:lnTo>
                <a:lnTo>
                  <a:pt x="158" y="328"/>
                </a:lnTo>
                <a:lnTo>
                  <a:pt x="158" y="328"/>
                </a:lnTo>
                <a:lnTo>
                  <a:pt x="154" y="324"/>
                </a:lnTo>
                <a:lnTo>
                  <a:pt x="152" y="320"/>
                </a:lnTo>
                <a:lnTo>
                  <a:pt x="148" y="314"/>
                </a:lnTo>
                <a:lnTo>
                  <a:pt x="146" y="310"/>
                </a:lnTo>
                <a:lnTo>
                  <a:pt x="146" y="310"/>
                </a:lnTo>
                <a:lnTo>
                  <a:pt x="144" y="308"/>
                </a:lnTo>
                <a:lnTo>
                  <a:pt x="146" y="308"/>
                </a:lnTo>
                <a:lnTo>
                  <a:pt x="148" y="304"/>
                </a:lnTo>
                <a:lnTo>
                  <a:pt x="152" y="302"/>
                </a:lnTo>
                <a:lnTo>
                  <a:pt x="148" y="300"/>
                </a:lnTo>
                <a:lnTo>
                  <a:pt x="148" y="300"/>
                </a:lnTo>
                <a:lnTo>
                  <a:pt x="144" y="300"/>
                </a:lnTo>
                <a:lnTo>
                  <a:pt x="146" y="296"/>
                </a:lnTo>
                <a:lnTo>
                  <a:pt x="150" y="292"/>
                </a:lnTo>
                <a:lnTo>
                  <a:pt x="154" y="286"/>
                </a:lnTo>
                <a:lnTo>
                  <a:pt x="154" y="286"/>
                </a:lnTo>
                <a:lnTo>
                  <a:pt x="156" y="282"/>
                </a:lnTo>
                <a:lnTo>
                  <a:pt x="158" y="282"/>
                </a:lnTo>
                <a:lnTo>
                  <a:pt x="160" y="282"/>
                </a:lnTo>
                <a:lnTo>
                  <a:pt x="158" y="278"/>
                </a:lnTo>
                <a:lnTo>
                  <a:pt x="158" y="278"/>
                </a:lnTo>
                <a:lnTo>
                  <a:pt x="158" y="274"/>
                </a:lnTo>
                <a:lnTo>
                  <a:pt x="160" y="274"/>
                </a:lnTo>
                <a:lnTo>
                  <a:pt x="162" y="274"/>
                </a:lnTo>
                <a:lnTo>
                  <a:pt x="160" y="266"/>
                </a:lnTo>
                <a:lnTo>
                  <a:pt x="160" y="266"/>
                </a:lnTo>
                <a:lnTo>
                  <a:pt x="158" y="260"/>
                </a:lnTo>
                <a:lnTo>
                  <a:pt x="158" y="258"/>
                </a:lnTo>
                <a:lnTo>
                  <a:pt x="156" y="252"/>
                </a:lnTo>
                <a:lnTo>
                  <a:pt x="150" y="242"/>
                </a:lnTo>
                <a:lnTo>
                  <a:pt x="150" y="242"/>
                </a:lnTo>
                <a:lnTo>
                  <a:pt x="140" y="222"/>
                </a:lnTo>
                <a:lnTo>
                  <a:pt x="134" y="210"/>
                </a:lnTo>
                <a:lnTo>
                  <a:pt x="124" y="194"/>
                </a:lnTo>
                <a:lnTo>
                  <a:pt x="124" y="194"/>
                </a:lnTo>
                <a:lnTo>
                  <a:pt x="124" y="192"/>
                </a:lnTo>
                <a:lnTo>
                  <a:pt x="126" y="192"/>
                </a:lnTo>
                <a:lnTo>
                  <a:pt x="128" y="194"/>
                </a:lnTo>
                <a:lnTo>
                  <a:pt x="130" y="194"/>
                </a:lnTo>
                <a:lnTo>
                  <a:pt x="126" y="188"/>
                </a:lnTo>
                <a:lnTo>
                  <a:pt x="126" y="188"/>
                </a:lnTo>
                <a:lnTo>
                  <a:pt x="122" y="186"/>
                </a:lnTo>
                <a:lnTo>
                  <a:pt x="122" y="186"/>
                </a:lnTo>
                <a:lnTo>
                  <a:pt x="122" y="188"/>
                </a:lnTo>
                <a:lnTo>
                  <a:pt x="118" y="186"/>
                </a:lnTo>
                <a:lnTo>
                  <a:pt x="118" y="186"/>
                </a:lnTo>
                <a:lnTo>
                  <a:pt x="112" y="180"/>
                </a:lnTo>
                <a:lnTo>
                  <a:pt x="110" y="178"/>
                </a:lnTo>
                <a:lnTo>
                  <a:pt x="110" y="174"/>
                </a:lnTo>
                <a:lnTo>
                  <a:pt x="110" y="174"/>
                </a:lnTo>
                <a:lnTo>
                  <a:pt x="108" y="172"/>
                </a:lnTo>
                <a:lnTo>
                  <a:pt x="108" y="172"/>
                </a:lnTo>
                <a:lnTo>
                  <a:pt x="106" y="172"/>
                </a:lnTo>
                <a:lnTo>
                  <a:pt x="106" y="166"/>
                </a:lnTo>
                <a:lnTo>
                  <a:pt x="106" y="166"/>
                </a:lnTo>
                <a:lnTo>
                  <a:pt x="108" y="160"/>
                </a:lnTo>
                <a:lnTo>
                  <a:pt x="110" y="156"/>
                </a:lnTo>
                <a:lnTo>
                  <a:pt x="110" y="152"/>
                </a:lnTo>
                <a:lnTo>
                  <a:pt x="110" y="152"/>
                </a:lnTo>
                <a:lnTo>
                  <a:pt x="104" y="144"/>
                </a:lnTo>
                <a:lnTo>
                  <a:pt x="102" y="142"/>
                </a:lnTo>
                <a:lnTo>
                  <a:pt x="100" y="142"/>
                </a:lnTo>
                <a:lnTo>
                  <a:pt x="100" y="142"/>
                </a:lnTo>
                <a:lnTo>
                  <a:pt x="98" y="142"/>
                </a:lnTo>
                <a:lnTo>
                  <a:pt x="96" y="140"/>
                </a:lnTo>
                <a:lnTo>
                  <a:pt x="94" y="134"/>
                </a:lnTo>
                <a:lnTo>
                  <a:pt x="94" y="134"/>
                </a:lnTo>
                <a:lnTo>
                  <a:pt x="94" y="130"/>
                </a:lnTo>
                <a:lnTo>
                  <a:pt x="90" y="126"/>
                </a:lnTo>
                <a:lnTo>
                  <a:pt x="86" y="124"/>
                </a:lnTo>
                <a:lnTo>
                  <a:pt x="86" y="118"/>
                </a:lnTo>
                <a:lnTo>
                  <a:pt x="86" y="118"/>
                </a:lnTo>
                <a:lnTo>
                  <a:pt x="88" y="114"/>
                </a:lnTo>
                <a:lnTo>
                  <a:pt x="86" y="112"/>
                </a:lnTo>
                <a:lnTo>
                  <a:pt x="86" y="110"/>
                </a:lnTo>
                <a:lnTo>
                  <a:pt x="84" y="112"/>
                </a:lnTo>
                <a:lnTo>
                  <a:pt x="84" y="112"/>
                </a:lnTo>
                <a:lnTo>
                  <a:pt x="84" y="114"/>
                </a:lnTo>
                <a:lnTo>
                  <a:pt x="82" y="112"/>
                </a:lnTo>
                <a:lnTo>
                  <a:pt x="78" y="106"/>
                </a:lnTo>
                <a:lnTo>
                  <a:pt x="78" y="106"/>
                </a:lnTo>
                <a:lnTo>
                  <a:pt x="72" y="98"/>
                </a:lnTo>
                <a:lnTo>
                  <a:pt x="72" y="96"/>
                </a:lnTo>
                <a:lnTo>
                  <a:pt x="72" y="94"/>
                </a:lnTo>
                <a:lnTo>
                  <a:pt x="72" y="94"/>
                </a:lnTo>
                <a:lnTo>
                  <a:pt x="72" y="90"/>
                </a:lnTo>
                <a:lnTo>
                  <a:pt x="72" y="88"/>
                </a:lnTo>
                <a:lnTo>
                  <a:pt x="70" y="84"/>
                </a:lnTo>
                <a:lnTo>
                  <a:pt x="70" y="76"/>
                </a:lnTo>
                <a:lnTo>
                  <a:pt x="70" y="76"/>
                </a:lnTo>
                <a:lnTo>
                  <a:pt x="70" y="66"/>
                </a:lnTo>
                <a:lnTo>
                  <a:pt x="70" y="62"/>
                </a:lnTo>
                <a:lnTo>
                  <a:pt x="68" y="58"/>
                </a:lnTo>
                <a:lnTo>
                  <a:pt x="68" y="58"/>
                </a:lnTo>
                <a:lnTo>
                  <a:pt x="66" y="54"/>
                </a:lnTo>
                <a:lnTo>
                  <a:pt x="66" y="52"/>
                </a:lnTo>
                <a:lnTo>
                  <a:pt x="68" y="44"/>
                </a:lnTo>
                <a:lnTo>
                  <a:pt x="68" y="42"/>
                </a:lnTo>
                <a:lnTo>
                  <a:pt x="66" y="38"/>
                </a:lnTo>
                <a:lnTo>
                  <a:pt x="64" y="34"/>
                </a:lnTo>
                <a:lnTo>
                  <a:pt x="58" y="32"/>
                </a:lnTo>
                <a:lnTo>
                  <a:pt x="58" y="32"/>
                </a:lnTo>
                <a:lnTo>
                  <a:pt x="58" y="28"/>
                </a:lnTo>
                <a:lnTo>
                  <a:pt x="56" y="26"/>
                </a:lnTo>
                <a:lnTo>
                  <a:pt x="54" y="24"/>
                </a:lnTo>
                <a:lnTo>
                  <a:pt x="50" y="26"/>
                </a:lnTo>
                <a:lnTo>
                  <a:pt x="50" y="26"/>
                </a:lnTo>
                <a:lnTo>
                  <a:pt x="48" y="28"/>
                </a:lnTo>
                <a:lnTo>
                  <a:pt x="46" y="26"/>
                </a:lnTo>
                <a:lnTo>
                  <a:pt x="44" y="22"/>
                </a:lnTo>
                <a:lnTo>
                  <a:pt x="40" y="20"/>
                </a:lnTo>
                <a:lnTo>
                  <a:pt x="40" y="20"/>
                </a:lnTo>
                <a:lnTo>
                  <a:pt x="42" y="24"/>
                </a:lnTo>
                <a:lnTo>
                  <a:pt x="42" y="28"/>
                </a:lnTo>
                <a:lnTo>
                  <a:pt x="40" y="36"/>
                </a:lnTo>
                <a:lnTo>
                  <a:pt x="38" y="42"/>
                </a:lnTo>
                <a:lnTo>
                  <a:pt x="38" y="44"/>
                </a:lnTo>
                <a:lnTo>
                  <a:pt x="40" y="46"/>
                </a:lnTo>
                <a:lnTo>
                  <a:pt x="40" y="46"/>
                </a:lnTo>
                <a:lnTo>
                  <a:pt x="40" y="52"/>
                </a:lnTo>
                <a:lnTo>
                  <a:pt x="38" y="62"/>
                </a:lnTo>
                <a:lnTo>
                  <a:pt x="40" y="72"/>
                </a:lnTo>
                <a:lnTo>
                  <a:pt x="42" y="78"/>
                </a:lnTo>
                <a:lnTo>
                  <a:pt x="42" y="78"/>
                </a:lnTo>
                <a:lnTo>
                  <a:pt x="46" y="84"/>
                </a:lnTo>
                <a:lnTo>
                  <a:pt x="50" y="90"/>
                </a:lnTo>
                <a:lnTo>
                  <a:pt x="54" y="98"/>
                </a:lnTo>
                <a:lnTo>
                  <a:pt x="54" y="104"/>
                </a:lnTo>
                <a:lnTo>
                  <a:pt x="54" y="106"/>
                </a:lnTo>
                <a:lnTo>
                  <a:pt x="56" y="106"/>
                </a:lnTo>
                <a:lnTo>
                  <a:pt x="56" y="106"/>
                </a:lnTo>
                <a:lnTo>
                  <a:pt x="56" y="106"/>
                </a:lnTo>
                <a:lnTo>
                  <a:pt x="58" y="110"/>
                </a:lnTo>
                <a:lnTo>
                  <a:pt x="58" y="114"/>
                </a:lnTo>
                <a:lnTo>
                  <a:pt x="58" y="116"/>
                </a:lnTo>
                <a:lnTo>
                  <a:pt x="58" y="116"/>
                </a:lnTo>
                <a:lnTo>
                  <a:pt x="60" y="118"/>
                </a:lnTo>
                <a:lnTo>
                  <a:pt x="58" y="122"/>
                </a:lnTo>
                <a:lnTo>
                  <a:pt x="58" y="126"/>
                </a:lnTo>
                <a:lnTo>
                  <a:pt x="62" y="130"/>
                </a:lnTo>
                <a:lnTo>
                  <a:pt x="62" y="130"/>
                </a:lnTo>
                <a:lnTo>
                  <a:pt x="66" y="136"/>
                </a:lnTo>
                <a:lnTo>
                  <a:pt x="66" y="140"/>
                </a:lnTo>
                <a:lnTo>
                  <a:pt x="66" y="144"/>
                </a:lnTo>
                <a:lnTo>
                  <a:pt x="68" y="148"/>
                </a:lnTo>
                <a:lnTo>
                  <a:pt x="68" y="148"/>
                </a:lnTo>
                <a:lnTo>
                  <a:pt x="70" y="150"/>
                </a:lnTo>
                <a:lnTo>
                  <a:pt x="68" y="150"/>
                </a:lnTo>
                <a:lnTo>
                  <a:pt x="68" y="152"/>
                </a:lnTo>
                <a:lnTo>
                  <a:pt x="68" y="156"/>
                </a:lnTo>
                <a:lnTo>
                  <a:pt x="68" y="156"/>
                </a:lnTo>
                <a:lnTo>
                  <a:pt x="66" y="162"/>
                </a:lnTo>
                <a:lnTo>
                  <a:pt x="64" y="166"/>
                </a:lnTo>
                <a:lnTo>
                  <a:pt x="66" y="168"/>
                </a:lnTo>
                <a:lnTo>
                  <a:pt x="66" y="168"/>
                </a:lnTo>
                <a:lnTo>
                  <a:pt x="66" y="168"/>
                </a:lnTo>
                <a:lnTo>
                  <a:pt x="68" y="166"/>
                </a:lnTo>
                <a:lnTo>
                  <a:pt x="70" y="164"/>
                </a:lnTo>
                <a:lnTo>
                  <a:pt x="68" y="162"/>
                </a:lnTo>
                <a:lnTo>
                  <a:pt x="68" y="160"/>
                </a:lnTo>
                <a:lnTo>
                  <a:pt x="68" y="160"/>
                </a:lnTo>
                <a:lnTo>
                  <a:pt x="70" y="154"/>
                </a:lnTo>
                <a:lnTo>
                  <a:pt x="70" y="154"/>
                </a:lnTo>
                <a:lnTo>
                  <a:pt x="74" y="160"/>
                </a:lnTo>
                <a:lnTo>
                  <a:pt x="74" y="160"/>
                </a:lnTo>
                <a:lnTo>
                  <a:pt x="76" y="164"/>
                </a:lnTo>
                <a:lnTo>
                  <a:pt x="76" y="168"/>
                </a:lnTo>
                <a:lnTo>
                  <a:pt x="74" y="174"/>
                </a:lnTo>
                <a:lnTo>
                  <a:pt x="74" y="174"/>
                </a:lnTo>
                <a:lnTo>
                  <a:pt x="74" y="184"/>
                </a:lnTo>
                <a:lnTo>
                  <a:pt x="74" y="188"/>
                </a:lnTo>
                <a:lnTo>
                  <a:pt x="72" y="192"/>
                </a:lnTo>
                <a:lnTo>
                  <a:pt x="72" y="192"/>
                </a:lnTo>
                <a:lnTo>
                  <a:pt x="70" y="194"/>
                </a:lnTo>
                <a:lnTo>
                  <a:pt x="72" y="198"/>
                </a:lnTo>
                <a:lnTo>
                  <a:pt x="74" y="202"/>
                </a:lnTo>
                <a:lnTo>
                  <a:pt x="76" y="202"/>
                </a:lnTo>
                <a:lnTo>
                  <a:pt x="78" y="202"/>
                </a:lnTo>
                <a:lnTo>
                  <a:pt x="78" y="202"/>
                </a:lnTo>
                <a:lnTo>
                  <a:pt x="80" y="202"/>
                </a:lnTo>
                <a:lnTo>
                  <a:pt x="82" y="204"/>
                </a:lnTo>
                <a:lnTo>
                  <a:pt x="82" y="208"/>
                </a:lnTo>
                <a:lnTo>
                  <a:pt x="84" y="210"/>
                </a:lnTo>
                <a:lnTo>
                  <a:pt x="84" y="210"/>
                </a:lnTo>
                <a:lnTo>
                  <a:pt x="86" y="210"/>
                </a:lnTo>
                <a:lnTo>
                  <a:pt x="86" y="214"/>
                </a:lnTo>
                <a:lnTo>
                  <a:pt x="86" y="218"/>
                </a:lnTo>
                <a:lnTo>
                  <a:pt x="86" y="220"/>
                </a:lnTo>
                <a:lnTo>
                  <a:pt x="86" y="220"/>
                </a:lnTo>
                <a:lnTo>
                  <a:pt x="88" y="222"/>
                </a:lnTo>
                <a:lnTo>
                  <a:pt x="88" y="226"/>
                </a:lnTo>
                <a:lnTo>
                  <a:pt x="84" y="230"/>
                </a:lnTo>
                <a:lnTo>
                  <a:pt x="76" y="234"/>
                </a:lnTo>
                <a:lnTo>
                  <a:pt x="76" y="234"/>
                </a:lnTo>
                <a:lnTo>
                  <a:pt x="72" y="234"/>
                </a:lnTo>
                <a:lnTo>
                  <a:pt x="70" y="232"/>
                </a:lnTo>
                <a:lnTo>
                  <a:pt x="68" y="228"/>
                </a:lnTo>
                <a:lnTo>
                  <a:pt x="66" y="220"/>
                </a:lnTo>
                <a:lnTo>
                  <a:pt x="64" y="216"/>
                </a:lnTo>
                <a:lnTo>
                  <a:pt x="60" y="214"/>
                </a:lnTo>
                <a:lnTo>
                  <a:pt x="60" y="214"/>
                </a:lnTo>
                <a:lnTo>
                  <a:pt x="54" y="210"/>
                </a:lnTo>
                <a:lnTo>
                  <a:pt x="50" y="204"/>
                </a:lnTo>
                <a:lnTo>
                  <a:pt x="48" y="198"/>
                </a:lnTo>
                <a:lnTo>
                  <a:pt x="48" y="198"/>
                </a:lnTo>
                <a:lnTo>
                  <a:pt x="46" y="192"/>
                </a:lnTo>
                <a:lnTo>
                  <a:pt x="44" y="190"/>
                </a:lnTo>
                <a:lnTo>
                  <a:pt x="42" y="190"/>
                </a:lnTo>
                <a:lnTo>
                  <a:pt x="42" y="190"/>
                </a:lnTo>
                <a:lnTo>
                  <a:pt x="42" y="192"/>
                </a:lnTo>
                <a:lnTo>
                  <a:pt x="40" y="190"/>
                </a:lnTo>
                <a:lnTo>
                  <a:pt x="40" y="186"/>
                </a:lnTo>
                <a:lnTo>
                  <a:pt x="42" y="176"/>
                </a:lnTo>
                <a:lnTo>
                  <a:pt x="42" y="176"/>
                </a:lnTo>
                <a:lnTo>
                  <a:pt x="44" y="168"/>
                </a:lnTo>
                <a:lnTo>
                  <a:pt x="44" y="162"/>
                </a:lnTo>
                <a:lnTo>
                  <a:pt x="42" y="158"/>
                </a:lnTo>
                <a:lnTo>
                  <a:pt x="40" y="154"/>
                </a:lnTo>
                <a:lnTo>
                  <a:pt x="34" y="148"/>
                </a:lnTo>
                <a:lnTo>
                  <a:pt x="32" y="144"/>
                </a:lnTo>
                <a:lnTo>
                  <a:pt x="32" y="140"/>
                </a:lnTo>
                <a:lnTo>
                  <a:pt x="32" y="140"/>
                </a:lnTo>
                <a:lnTo>
                  <a:pt x="30" y="142"/>
                </a:lnTo>
                <a:lnTo>
                  <a:pt x="28" y="140"/>
                </a:lnTo>
                <a:lnTo>
                  <a:pt x="26" y="138"/>
                </a:lnTo>
                <a:lnTo>
                  <a:pt x="24" y="140"/>
                </a:lnTo>
                <a:lnTo>
                  <a:pt x="24" y="140"/>
                </a:lnTo>
                <a:lnTo>
                  <a:pt x="20" y="140"/>
                </a:lnTo>
                <a:lnTo>
                  <a:pt x="20" y="138"/>
                </a:lnTo>
                <a:lnTo>
                  <a:pt x="16" y="132"/>
                </a:lnTo>
                <a:lnTo>
                  <a:pt x="10" y="128"/>
                </a:lnTo>
                <a:lnTo>
                  <a:pt x="10" y="128"/>
                </a:lnTo>
                <a:lnTo>
                  <a:pt x="8" y="126"/>
                </a:lnTo>
                <a:lnTo>
                  <a:pt x="10" y="124"/>
                </a:lnTo>
                <a:lnTo>
                  <a:pt x="10" y="122"/>
                </a:lnTo>
                <a:lnTo>
                  <a:pt x="6" y="118"/>
                </a:lnTo>
                <a:lnTo>
                  <a:pt x="6" y="118"/>
                </a:lnTo>
                <a:lnTo>
                  <a:pt x="4" y="116"/>
                </a:lnTo>
                <a:lnTo>
                  <a:pt x="4" y="114"/>
                </a:lnTo>
                <a:lnTo>
                  <a:pt x="12" y="114"/>
                </a:lnTo>
                <a:lnTo>
                  <a:pt x="12" y="114"/>
                </a:lnTo>
                <a:lnTo>
                  <a:pt x="16" y="114"/>
                </a:lnTo>
                <a:lnTo>
                  <a:pt x="20" y="112"/>
                </a:lnTo>
                <a:lnTo>
                  <a:pt x="20" y="112"/>
                </a:lnTo>
                <a:lnTo>
                  <a:pt x="22" y="114"/>
                </a:lnTo>
                <a:lnTo>
                  <a:pt x="22" y="114"/>
                </a:lnTo>
                <a:lnTo>
                  <a:pt x="24" y="116"/>
                </a:lnTo>
                <a:lnTo>
                  <a:pt x="26" y="116"/>
                </a:lnTo>
                <a:lnTo>
                  <a:pt x="26" y="114"/>
                </a:lnTo>
                <a:lnTo>
                  <a:pt x="26" y="112"/>
                </a:lnTo>
                <a:lnTo>
                  <a:pt x="26" y="112"/>
                </a:lnTo>
                <a:lnTo>
                  <a:pt x="24" y="112"/>
                </a:lnTo>
                <a:lnTo>
                  <a:pt x="22" y="110"/>
                </a:lnTo>
                <a:lnTo>
                  <a:pt x="26" y="106"/>
                </a:lnTo>
                <a:lnTo>
                  <a:pt x="26" y="106"/>
                </a:lnTo>
                <a:lnTo>
                  <a:pt x="28" y="104"/>
                </a:lnTo>
                <a:lnTo>
                  <a:pt x="30" y="98"/>
                </a:lnTo>
                <a:lnTo>
                  <a:pt x="26" y="92"/>
                </a:lnTo>
                <a:lnTo>
                  <a:pt x="20" y="84"/>
                </a:lnTo>
                <a:lnTo>
                  <a:pt x="20" y="84"/>
                </a:lnTo>
                <a:lnTo>
                  <a:pt x="8" y="72"/>
                </a:lnTo>
                <a:lnTo>
                  <a:pt x="6" y="68"/>
                </a:lnTo>
                <a:lnTo>
                  <a:pt x="6" y="64"/>
                </a:lnTo>
                <a:lnTo>
                  <a:pt x="6" y="64"/>
                </a:lnTo>
                <a:lnTo>
                  <a:pt x="6" y="60"/>
                </a:lnTo>
                <a:lnTo>
                  <a:pt x="4" y="60"/>
                </a:lnTo>
                <a:lnTo>
                  <a:pt x="2" y="60"/>
                </a:lnTo>
                <a:lnTo>
                  <a:pt x="4" y="54"/>
                </a:lnTo>
                <a:lnTo>
                  <a:pt x="4" y="54"/>
                </a:lnTo>
                <a:lnTo>
                  <a:pt x="4" y="48"/>
                </a:lnTo>
                <a:lnTo>
                  <a:pt x="2" y="46"/>
                </a:lnTo>
                <a:lnTo>
                  <a:pt x="0" y="44"/>
                </a:lnTo>
                <a:lnTo>
                  <a:pt x="2" y="38"/>
                </a:lnTo>
                <a:lnTo>
                  <a:pt x="2" y="38"/>
                </a:lnTo>
                <a:lnTo>
                  <a:pt x="2" y="34"/>
                </a:lnTo>
                <a:lnTo>
                  <a:pt x="2" y="32"/>
                </a:lnTo>
                <a:lnTo>
                  <a:pt x="0" y="28"/>
                </a:lnTo>
                <a:lnTo>
                  <a:pt x="2" y="24"/>
                </a:lnTo>
                <a:lnTo>
                  <a:pt x="2" y="24"/>
                </a:lnTo>
                <a:lnTo>
                  <a:pt x="4" y="18"/>
                </a:lnTo>
                <a:lnTo>
                  <a:pt x="2" y="14"/>
                </a:lnTo>
                <a:lnTo>
                  <a:pt x="0" y="12"/>
                </a:lnTo>
                <a:lnTo>
                  <a:pt x="2" y="8"/>
                </a:lnTo>
                <a:lnTo>
                  <a:pt x="2" y="8"/>
                </a:lnTo>
                <a:lnTo>
                  <a:pt x="4" y="4"/>
                </a:lnTo>
                <a:lnTo>
                  <a:pt x="4" y="2"/>
                </a:lnTo>
                <a:lnTo>
                  <a:pt x="2" y="2"/>
                </a:lnTo>
                <a:lnTo>
                  <a:pt x="4" y="0"/>
                </a:lnTo>
                <a:lnTo>
                  <a:pt x="4" y="0"/>
                </a:lnTo>
                <a:lnTo>
                  <a:pt x="30" y="0"/>
                </a:lnTo>
                <a:lnTo>
                  <a:pt x="50" y="0"/>
                </a:lnTo>
                <a:lnTo>
                  <a:pt x="50" y="4"/>
                </a:lnTo>
                <a:lnTo>
                  <a:pt x="114" y="30"/>
                </a:lnTo>
                <a:lnTo>
                  <a:pt x="162" y="30"/>
                </a:lnTo>
                <a:lnTo>
                  <a:pt x="168" y="22"/>
                </a:lnTo>
                <a:lnTo>
                  <a:pt x="200" y="22"/>
                </a:lnTo>
                <a:lnTo>
                  <a:pt x="200" y="22"/>
                </a:lnTo>
                <a:lnTo>
                  <a:pt x="202" y="24"/>
                </a:lnTo>
                <a:lnTo>
                  <a:pt x="210" y="30"/>
                </a:lnTo>
                <a:lnTo>
                  <a:pt x="210" y="30"/>
                </a:lnTo>
                <a:lnTo>
                  <a:pt x="214" y="34"/>
                </a:lnTo>
                <a:lnTo>
                  <a:pt x="214" y="36"/>
                </a:lnTo>
                <a:lnTo>
                  <a:pt x="216" y="38"/>
                </a:lnTo>
                <a:lnTo>
                  <a:pt x="220" y="42"/>
                </a:lnTo>
                <a:lnTo>
                  <a:pt x="220" y="42"/>
                </a:lnTo>
                <a:lnTo>
                  <a:pt x="224" y="46"/>
                </a:lnTo>
                <a:lnTo>
                  <a:pt x="226" y="50"/>
                </a:lnTo>
                <a:lnTo>
                  <a:pt x="226" y="56"/>
                </a:lnTo>
                <a:lnTo>
                  <a:pt x="226" y="64"/>
                </a:lnTo>
                <a:lnTo>
                  <a:pt x="226" y="66"/>
                </a:lnTo>
                <a:lnTo>
                  <a:pt x="230" y="70"/>
                </a:lnTo>
                <a:lnTo>
                  <a:pt x="230" y="70"/>
                </a:lnTo>
                <a:lnTo>
                  <a:pt x="238" y="76"/>
                </a:lnTo>
                <a:lnTo>
                  <a:pt x="244" y="78"/>
                </a:lnTo>
                <a:lnTo>
                  <a:pt x="248" y="78"/>
                </a:lnTo>
                <a:lnTo>
                  <a:pt x="252" y="72"/>
                </a:lnTo>
                <a:lnTo>
                  <a:pt x="252" y="72"/>
                </a:lnTo>
                <a:lnTo>
                  <a:pt x="256" y="68"/>
                </a:lnTo>
                <a:lnTo>
                  <a:pt x="258" y="66"/>
                </a:lnTo>
                <a:lnTo>
                  <a:pt x="262" y="66"/>
                </a:lnTo>
                <a:lnTo>
                  <a:pt x="264" y="64"/>
                </a:lnTo>
                <a:lnTo>
                  <a:pt x="264" y="64"/>
                </a:lnTo>
                <a:lnTo>
                  <a:pt x="266" y="64"/>
                </a:lnTo>
                <a:lnTo>
                  <a:pt x="268" y="64"/>
                </a:lnTo>
                <a:lnTo>
                  <a:pt x="278" y="68"/>
                </a:lnTo>
                <a:lnTo>
                  <a:pt x="278" y="68"/>
                </a:lnTo>
                <a:lnTo>
                  <a:pt x="286" y="70"/>
                </a:lnTo>
                <a:lnTo>
                  <a:pt x="290" y="76"/>
                </a:lnTo>
                <a:lnTo>
                  <a:pt x="296" y="84"/>
                </a:lnTo>
                <a:lnTo>
                  <a:pt x="300" y="100"/>
                </a:lnTo>
                <a:lnTo>
                  <a:pt x="300" y="100"/>
                </a:lnTo>
                <a:lnTo>
                  <a:pt x="304" y="120"/>
                </a:lnTo>
                <a:lnTo>
                  <a:pt x="308" y="128"/>
                </a:lnTo>
                <a:lnTo>
                  <a:pt x="310" y="132"/>
                </a:lnTo>
                <a:lnTo>
                  <a:pt x="312" y="140"/>
                </a:lnTo>
                <a:lnTo>
                  <a:pt x="312" y="140"/>
                </a:lnTo>
                <a:lnTo>
                  <a:pt x="312" y="148"/>
                </a:lnTo>
                <a:lnTo>
                  <a:pt x="314" y="150"/>
                </a:lnTo>
                <a:lnTo>
                  <a:pt x="316" y="152"/>
                </a:lnTo>
                <a:lnTo>
                  <a:pt x="326" y="156"/>
                </a:lnTo>
                <a:lnTo>
                  <a:pt x="346" y="160"/>
                </a:lnTo>
                <a:lnTo>
                  <a:pt x="346" y="160"/>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49" name="Netherlands"/>
          <p:cNvSpPr>
            <a:spLocks/>
          </p:cNvSpPr>
          <p:nvPr/>
        </p:nvSpPr>
        <p:spPr bwMode="auto">
          <a:xfrm>
            <a:off x="4416106" y="1336740"/>
            <a:ext cx="61529" cy="54627"/>
          </a:xfrm>
          <a:custGeom>
            <a:avLst/>
            <a:gdLst/>
            <a:ahLst/>
            <a:cxnLst>
              <a:cxn ang="0">
                <a:pos x="32" y="48"/>
              </a:cxn>
              <a:cxn ang="0">
                <a:pos x="32" y="42"/>
              </a:cxn>
              <a:cxn ang="0">
                <a:pos x="28" y="40"/>
              </a:cxn>
              <a:cxn ang="0">
                <a:pos x="26" y="38"/>
              </a:cxn>
              <a:cxn ang="0">
                <a:pos x="20" y="38"/>
              </a:cxn>
              <a:cxn ang="0">
                <a:pos x="12" y="40"/>
              </a:cxn>
              <a:cxn ang="0">
                <a:pos x="0" y="34"/>
              </a:cxn>
              <a:cxn ang="0">
                <a:pos x="6" y="36"/>
              </a:cxn>
              <a:cxn ang="0">
                <a:pos x="10" y="36"/>
              </a:cxn>
              <a:cxn ang="0">
                <a:pos x="14" y="36"/>
              </a:cxn>
              <a:cxn ang="0">
                <a:pos x="16" y="34"/>
              </a:cxn>
              <a:cxn ang="0">
                <a:pos x="14" y="34"/>
              </a:cxn>
              <a:cxn ang="0">
                <a:pos x="10" y="32"/>
              </a:cxn>
              <a:cxn ang="0">
                <a:pos x="16" y="30"/>
              </a:cxn>
              <a:cxn ang="0">
                <a:pos x="12" y="30"/>
              </a:cxn>
              <a:cxn ang="0">
                <a:pos x="10" y="26"/>
              </a:cxn>
              <a:cxn ang="0">
                <a:pos x="16" y="18"/>
              </a:cxn>
              <a:cxn ang="0">
                <a:pos x="22" y="8"/>
              </a:cxn>
              <a:cxn ang="0">
                <a:pos x="24" y="8"/>
              </a:cxn>
              <a:cxn ang="0">
                <a:pos x="26" y="10"/>
              </a:cxn>
              <a:cxn ang="0">
                <a:pos x="26" y="14"/>
              </a:cxn>
              <a:cxn ang="0">
                <a:pos x="30" y="16"/>
              </a:cxn>
              <a:cxn ang="0">
                <a:pos x="28" y="16"/>
              </a:cxn>
              <a:cxn ang="0">
                <a:pos x="28" y="20"/>
              </a:cxn>
              <a:cxn ang="0">
                <a:pos x="26" y="20"/>
              </a:cxn>
              <a:cxn ang="0">
                <a:pos x="30" y="20"/>
              </a:cxn>
              <a:cxn ang="0">
                <a:pos x="34" y="16"/>
              </a:cxn>
              <a:cxn ang="0">
                <a:pos x="36" y="14"/>
              </a:cxn>
              <a:cxn ang="0">
                <a:pos x="36" y="10"/>
              </a:cxn>
              <a:cxn ang="0">
                <a:pos x="34" y="4"/>
              </a:cxn>
              <a:cxn ang="0">
                <a:pos x="38" y="2"/>
              </a:cxn>
              <a:cxn ang="0">
                <a:pos x="44" y="2"/>
              </a:cxn>
              <a:cxn ang="0">
                <a:pos x="52" y="0"/>
              </a:cxn>
              <a:cxn ang="0">
                <a:pos x="52" y="2"/>
              </a:cxn>
              <a:cxn ang="0">
                <a:pos x="52" y="6"/>
              </a:cxn>
              <a:cxn ang="0">
                <a:pos x="52" y="10"/>
              </a:cxn>
              <a:cxn ang="0">
                <a:pos x="50" y="18"/>
              </a:cxn>
              <a:cxn ang="0">
                <a:pos x="54" y="20"/>
              </a:cxn>
              <a:cxn ang="0">
                <a:pos x="50" y="26"/>
              </a:cxn>
              <a:cxn ang="0">
                <a:pos x="40" y="28"/>
              </a:cxn>
              <a:cxn ang="0">
                <a:pos x="38" y="32"/>
              </a:cxn>
              <a:cxn ang="0">
                <a:pos x="36" y="40"/>
              </a:cxn>
              <a:cxn ang="0">
                <a:pos x="38" y="44"/>
              </a:cxn>
              <a:cxn ang="0">
                <a:pos x="36" y="48"/>
              </a:cxn>
            </a:cxnLst>
            <a:rect l="0" t="0" r="r" b="b"/>
            <a:pathLst>
              <a:path w="54" h="48">
                <a:moveTo>
                  <a:pt x="36" y="48"/>
                </a:moveTo>
                <a:lnTo>
                  <a:pt x="36" y="48"/>
                </a:lnTo>
                <a:lnTo>
                  <a:pt x="32" y="48"/>
                </a:lnTo>
                <a:lnTo>
                  <a:pt x="32" y="44"/>
                </a:lnTo>
                <a:lnTo>
                  <a:pt x="32" y="44"/>
                </a:lnTo>
                <a:lnTo>
                  <a:pt x="32" y="42"/>
                </a:lnTo>
                <a:lnTo>
                  <a:pt x="30" y="42"/>
                </a:lnTo>
                <a:lnTo>
                  <a:pt x="28" y="42"/>
                </a:lnTo>
                <a:lnTo>
                  <a:pt x="28" y="40"/>
                </a:lnTo>
                <a:lnTo>
                  <a:pt x="28" y="40"/>
                </a:lnTo>
                <a:lnTo>
                  <a:pt x="28" y="38"/>
                </a:lnTo>
                <a:lnTo>
                  <a:pt x="26" y="38"/>
                </a:lnTo>
                <a:lnTo>
                  <a:pt x="22" y="38"/>
                </a:lnTo>
                <a:lnTo>
                  <a:pt x="22" y="38"/>
                </a:lnTo>
                <a:lnTo>
                  <a:pt x="20" y="38"/>
                </a:lnTo>
                <a:lnTo>
                  <a:pt x="18" y="38"/>
                </a:lnTo>
                <a:lnTo>
                  <a:pt x="12" y="40"/>
                </a:lnTo>
                <a:lnTo>
                  <a:pt x="12" y="40"/>
                </a:lnTo>
                <a:lnTo>
                  <a:pt x="6" y="40"/>
                </a:lnTo>
                <a:lnTo>
                  <a:pt x="0" y="34"/>
                </a:lnTo>
                <a:lnTo>
                  <a:pt x="0" y="34"/>
                </a:lnTo>
                <a:lnTo>
                  <a:pt x="4" y="36"/>
                </a:lnTo>
                <a:lnTo>
                  <a:pt x="6" y="36"/>
                </a:lnTo>
                <a:lnTo>
                  <a:pt x="6" y="36"/>
                </a:lnTo>
                <a:lnTo>
                  <a:pt x="8" y="38"/>
                </a:lnTo>
                <a:lnTo>
                  <a:pt x="8" y="36"/>
                </a:lnTo>
                <a:lnTo>
                  <a:pt x="10" y="36"/>
                </a:lnTo>
                <a:lnTo>
                  <a:pt x="12" y="36"/>
                </a:lnTo>
                <a:lnTo>
                  <a:pt x="12" y="36"/>
                </a:lnTo>
                <a:lnTo>
                  <a:pt x="14" y="36"/>
                </a:lnTo>
                <a:lnTo>
                  <a:pt x="16" y="38"/>
                </a:lnTo>
                <a:lnTo>
                  <a:pt x="16" y="38"/>
                </a:lnTo>
                <a:lnTo>
                  <a:pt x="16" y="34"/>
                </a:lnTo>
                <a:lnTo>
                  <a:pt x="16" y="34"/>
                </a:lnTo>
                <a:lnTo>
                  <a:pt x="14" y="34"/>
                </a:lnTo>
                <a:lnTo>
                  <a:pt x="14" y="34"/>
                </a:lnTo>
                <a:lnTo>
                  <a:pt x="12" y="32"/>
                </a:lnTo>
                <a:lnTo>
                  <a:pt x="10" y="32"/>
                </a:lnTo>
                <a:lnTo>
                  <a:pt x="10" y="32"/>
                </a:lnTo>
                <a:lnTo>
                  <a:pt x="10" y="32"/>
                </a:lnTo>
                <a:lnTo>
                  <a:pt x="14" y="32"/>
                </a:lnTo>
                <a:lnTo>
                  <a:pt x="16" y="30"/>
                </a:lnTo>
                <a:lnTo>
                  <a:pt x="16" y="30"/>
                </a:lnTo>
                <a:lnTo>
                  <a:pt x="16" y="30"/>
                </a:lnTo>
                <a:lnTo>
                  <a:pt x="12" y="30"/>
                </a:lnTo>
                <a:lnTo>
                  <a:pt x="10" y="28"/>
                </a:lnTo>
                <a:lnTo>
                  <a:pt x="10" y="26"/>
                </a:lnTo>
                <a:lnTo>
                  <a:pt x="10" y="26"/>
                </a:lnTo>
                <a:lnTo>
                  <a:pt x="14" y="22"/>
                </a:lnTo>
                <a:lnTo>
                  <a:pt x="16" y="18"/>
                </a:lnTo>
                <a:lnTo>
                  <a:pt x="16" y="18"/>
                </a:lnTo>
                <a:lnTo>
                  <a:pt x="20" y="12"/>
                </a:lnTo>
                <a:lnTo>
                  <a:pt x="22" y="8"/>
                </a:lnTo>
                <a:lnTo>
                  <a:pt x="22" y="8"/>
                </a:lnTo>
                <a:lnTo>
                  <a:pt x="24" y="6"/>
                </a:lnTo>
                <a:lnTo>
                  <a:pt x="24" y="8"/>
                </a:lnTo>
                <a:lnTo>
                  <a:pt x="24" y="8"/>
                </a:lnTo>
                <a:lnTo>
                  <a:pt x="24" y="10"/>
                </a:lnTo>
                <a:lnTo>
                  <a:pt x="26" y="10"/>
                </a:lnTo>
                <a:lnTo>
                  <a:pt x="26" y="10"/>
                </a:lnTo>
                <a:lnTo>
                  <a:pt x="28" y="10"/>
                </a:lnTo>
                <a:lnTo>
                  <a:pt x="28" y="10"/>
                </a:lnTo>
                <a:lnTo>
                  <a:pt x="26" y="14"/>
                </a:lnTo>
                <a:lnTo>
                  <a:pt x="28" y="14"/>
                </a:lnTo>
                <a:lnTo>
                  <a:pt x="28" y="14"/>
                </a:lnTo>
                <a:lnTo>
                  <a:pt x="30" y="16"/>
                </a:lnTo>
                <a:lnTo>
                  <a:pt x="28" y="16"/>
                </a:lnTo>
                <a:lnTo>
                  <a:pt x="28" y="16"/>
                </a:lnTo>
                <a:lnTo>
                  <a:pt x="28" y="16"/>
                </a:lnTo>
                <a:lnTo>
                  <a:pt x="28" y="18"/>
                </a:lnTo>
                <a:lnTo>
                  <a:pt x="28" y="18"/>
                </a:lnTo>
                <a:lnTo>
                  <a:pt x="28" y="20"/>
                </a:lnTo>
                <a:lnTo>
                  <a:pt x="26" y="20"/>
                </a:lnTo>
                <a:lnTo>
                  <a:pt x="26" y="20"/>
                </a:lnTo>
                <a:lnTo>
                  <a:pt x="26" y="20"/>
                </a:lnTo>
                <a:lnTo>
                  <a:pt x="28" y="20"/>
                </a:lnTo>
                <a:lnTo>
                  <a:pt x="30" y="20"/>
                </a:lnTo>
                <a:lnTo>
                  <a:pt x="30" y="20"/>
                </a:lnTo>
                <a:lnTo>
                  <a:pt x="32" y="18"/>
                </a:lnTo>
                <a:lnTo>
                  <a:pt x="34" y="16"/>
                </a:lnTo>
                <a:lnTo>
                  <a:pt x="34" y="16"/>
                </a:lnTo>
                <a:lnTo>
                  <a:pt x="36" y="16"/>
                </a:lnTo>
                <a:lnTo>
                  <a:pt x="36" y="14"/>
                </a:lnTo>
                <a:lnTo>
                  <a:pt x="36" y="14"/>
                </a:lnTo>
                <a:lnTo>
                  <a:pt x="36" y="10"/>
                </a:lnTo>
                <a:lnTo>
                  <a:pt x="38" y="10"/>
                </a:lnTo>
                <a:lnTo>
                  <a:pt x="36" y="10"/>
                </a:lnTo>
                <a:lnTo>
                  <a:pt x="36" y="10"/>
                </a:lnTo>
                <a:lnTo>
                  <a:pt x="34" y="8"/>
                </a:lnTo>
                <a:lnTo>
                  <a:pt x="34" y="4"/>
                </a:lnTo>
                <a:lnTo>
                  <a:pt x="34" y="4"/>
                </a:lnTo>
                <a:lnTo>
                  <a:pt x="34" y="2"/>
                </a:lnTo>
                <a:lnTo>
                  <a:pt x="38" y="2"/>
                </a:lnTo>
                <a:lnTo>
                  <a:pt x="38" y="2"/>
                </a:lnTo>
                <a:lnTo>
                  <a:pt x="42" y="2"/>
                </a:lnTo>
                <a:lnTo>
                  <a:pt x="44" y="2"/>
                </a:lnTo>
                <a:lnTo>
                  <a:pt x="44" y="2"/>
                </a:lnTo>
                <a:lnTo>
                  <a:pt x="48" y="0"/>
                </a:lnTo>
                <a:lnTo>
                  <a:pt x="52" y="0"/>
                </a:lnTo>
                <a:lnTo>
                  <a:pt x="54" y="0"/>
                </a:lnTo>
                <a:lnTo>
                  <a:pt x="54" y="0"/>
                </a:lnTo>
                <a:lnTo>
                  <a:pt x="52" y="2"/>
                </a:lnTo>
                <a:lnTo>
                  <a:pt x="54" y="4"/>
                </a:lnTo>
                <a:lnTo>
                  <a:pt x="54" y="4"/>
                </a:lnTo>
                <a:lnTo>
                  <a:pt x="52" y="6"/>
                </a:lnTo>
                <a:lnTo>
                  <a:pt x="54" y="6"/>
                </a:lnTo>
                <a:lnTo>
                  <a:pt x="54" y="8"/>
                </a:lnTo>
                <a:lnTo>
                  <a:pt x="52" y="10"/>
                </a:lnTo>
                <a:lnTo>
                  <a:pt x="52" y="10"/>
                </a:lnTo>
                <a:lnTo>
                  <a:pt x="50" y="16"/>
                </a:lnTo>
                <a:lnTo>
                  <a:pt x="50" y="18"/>
                </a:lnTo>
                <a:lnTo>
                  <a:pt x="52" y="20"/>
                </a:lnTo>
                <a:lnTo>
                  <a:pt x="52" y="20"/>
                </a:lnTo>
                <a:lnTo>
                  <a:pt x="54" y="20"/>
                </a:lnTo>
                <a:lnTo>
                  <a:pt x="54" y="22"/>
                </a:lnTo>
                <a:lnTo>
                  <a:pt x="50" y="26"/>
                </a:lnTo>
                <a:lnTo>
                  <a:pt x="50" y="26"/>
                </a:lnTo>
                <a:lnTo>
                  <a:pt x="46" y="28"/>
                </a:lnTo>
                <a:lnTo>
                  <a:pt x="40" y="28"/>
                </a:lnTo>
                <a:lnTo>
                  <a:pt x="40" y="28"/>
                </a:lnTo>
                <a:lnTo>
                  <a:pt x="38" y="30"/>
                </a:lnTo>
                <a:lnTo>
                  <a:pt x="38" y="32"/>
                </a:lnTo>
                <a:lnTo>
                  <a:pt x="38" y="32"/>
                </a:lnTo>
                <a:lnTo>
                  <a:pt x="38" y="34"/>
                </a:lnTo>
                <a:lnTo>
                  <a:pt x="38" y="38"/>
                </a:lnTo>
                <a:lnTo>
                  <a:pt x="36" y="40"/>
                </a:lnTo>
                <a:lnTo>
                  <a:pt x="36" y="42"/>
                </a:lnTo>
                <a:lnTo>
                  <a:pt x="36" y="42"/>
                </a:lnTo>
                <a:lnTo>
                  <a:pt x="38" y="44"/>
                </a:lnTo>
                <a:lnTo>
                  <a:pt x="36" y="44"/>
                </a:lnTo>
                <a:lnTo>
                  <a:pt x="36" y="46"/>
                </a:lnTo>
                <a:lnTo>
                  <a:pt x="36" y="48"/>
                </a:lnTo>
                <a:lnTo>
                  <a:pt x="36" y="48"/>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51" name="Norway"/>
          <p:cNvSpPr>
            <a:spLocks/>
          </p:cNvSpPr>
          <p:nvPr/>
        </p:nvSpPr>
        <p:spPr bwMode="auto">
          <a:xfrm>
            <a:off x="4425221" y="1011254"/>
            <a:ext cx="432977" cy="234441"/>
          </a:xfrm>
          <a:custGeom>
            <a:avLst/>
            <a:gdLst/>
            <a:ahLst/>
            <a:cxnLst>
              <a:cxn ang="0">
                <a:pos x="96" y="176"/>
              </a:cxn>
              <a:cxn ang="0">
                <a:pos x="94" y="184"/>
              </a:cxn>
              <a:cxn ang="0">
                <a:pos x="80" y="194"/>
              </a:cxn>
              <a:cxn ang="0">
                <a:pos x="60" y="204"/>
              </a:cxn>
              <a:cxn ang="0">
                <a:pos x="34" y="206"/>
              </a:cxn>
              <a:cxn ang="0">
                <a:pos x="18" y="196"/>
              </a:cxn>
              <a:cxn ang="0">
                <a:pos x="14" y="182"/>
              </a:cxn>
              <a:cxn ang="0">
                <a:pos x="26" y="170"/>
              </a:cxn>
              <a:cxn ang="0">
                <a:pos x="6" y="182"/>
              </a:cxn>
              <a:cxn ang="0">
                <a:pos x="16" y="168"/>
              </a:cxn>
              <a:cxn ang="0">
                <a:pos x="10" y="162"/>
              </a:cxn>
              <a:cxn ang="0">
                <a:pos x="0" y="158"/>
              </a:cxn>
              <a:cxn ang="0">
                <a:pos x="2" y="152"/>
              </a:cxn>
              <a:cxn ang="0">
                <a:pos x="16" y="148"/>
              </a:cxn>
              <a:cxn ang="0">
                <a:pos x="36" y="148"/>
              </a:cxn>
              <a:cxn ang="0">
                <a:pos x="24" y="146"/>
              </a:cxn>
              <a:cxn ang="0">
                <a:pos x="6" y="146"/>
              </a:cxn>
              <a:cxn ang="0">
                <a:pos x="6" y="134"/>
              </a:cxn>
              <a:cxn ang="0">
                <a:pos x="34" y="122"/>
              </a:cxn>
              <a:cxn ang="0">
                <a:pos x="52" y="118"/>
              </a:cxn>
              <a:cxn ang="0">
                <a:pos x="70" y="110"/>
              </a:cxn>
              <a:cxn ang="0">
                <a:pos x="90" y="110"/>
              </a:cxn>
              <a:cxn ang="0">
                <a:pos x="90" y="108"/>
              </a:cxn>
              <a:cxn ang="0">
                <a:pos x="90" y="100"/>
              </a:cxn>
              <a:cxn ang="0">
                <a:pos x="108" y="88"/>
              </a:cxn>
              <a:cxn ang="0">
                <a:pos x="126" y="72"/>
              </a:cxn>
              <a:cxn ang="0">
                <a:pos x="134" y="64"/>
              </a:cxn>
              <a:cxn ang="0">
                <a:pos x="148" y="56"/>
              </a:cxn>
              <a:cxn ang="0">
                <a:pos x="166" y="48"/>
              </a:cxn>
              <a:cxn ang="0">
                <a:pos x="182" y="38"/>
              </a:cxn>
              <a:cxn ang="0">
                <a:pos x="196" y="30"/>
              </a:cxn>
              <a:cxn ang="0">
                <a:pos x="220" y="26"/>
              </a:cxn>
              <a:cxn ang="0">
                <a:pos x="242" y="22"/>
              </a:cxn>
              <a:cxn ang="0">
                <a:pos x="260" y="16"/>
              </a:cxn>
              <a:cxn ang="0">
                <a:pos x="290" y="10"/>
              </a:cxn>
              <a:cxn ang="0">
                <a:pos x="310" y="12"/>
              </a:cxn>
              <a:cxn ang="0">
                <a:pos x="320" y="2"/>
              </a:cxn>
              <a:cxn ang="0">
                <a:pos x="324" y="16"/>
              </a:cxn>
              <a:cxn ang="0">
                <a:pos x="336" y="12"/>
              </a:cxn>
              <a:cxn ang="0">
                <a:pos x="348" y="4"/>
              </a:cxn>
              <a:cxn ang="0">
                <a:pos x="354" y="10"/>
              </a:cxn>
              <a:cxn ang="0">
                <a:pos x="372" y="12"/>
              </a:cxn>
              <a:cxn ang="0">
                <a:pos x="364" y="18"/>
              </a:cxn>
              <a:cxn ang="0">
                <a:pos x="368" y="32"/>
              </a:cxn>
              <a:cxn ang="0">
                <a:pos x="360" y="30"/>
              </a:cxn>
              <a:cxn ang="0">
                <a:pos x="350" y="16"/>
              </a:cxn>
              <a:cxn ang="0">
                <a:pos x="330" y="20"/>
              </a:cxn>
              <a:cxn ang="0">
                <a:pos x="312" y="38"/>
              </a:cxn>
              <a:cxn ang="0">
                <a:pos x="292" y="40"/>
              </a:cxn>
              <a:cxn ang="0">
                <a:pos x="248" y="30"/>
              </a:cxn>
              <a:cxn ang="0">
                <a:pos x="240" y="34"/>
              </a:cxn>
              <a:cxn ang="0">
                <a:pos x="208" y="42"/>
              </a:cxn>
              <a:cxn ang="0">
                <a:pos x="170" y="60"/>
              </a:cxn>
              <a:cxn ang="0">
                <a:pos x="154" y="72"/>
              </a:cxn>
              <a:cxn ang="0">
                <a:pos x="148" y="94"/>
              </a:cxn>
              <a:cxn ang="0">
                <a:pos x="116" y="112"/>
              </a:cxn>
              <a:cxn ang="0">
                <a:pos x="120" y="134"/>
              </a:cxn>
              <a:cxn ang="0">
                <a:pos x="120" y="150"/>
              </a:cxn>
              <a:cxn ang="0">
                <a:pos x="112" y="172"/>
              </a:cxn>
              <a:cxn ang="0">
                <a:pos x="110" y="186"/>
              </a:cxn>
            </a:cxnLst>
            <a:rect l="0" t="0" r="r" b="b"/>
            <a:pathLst>
              <a:path w="380" h="206">
                <a:moveTo>
                  <a:pt x="108" y="186"/>
                </a:moveTo>
                <a:lnTo>
                  <a:pt x="108" y="186"/>
                </a:lnTo>
                <a:lnTo>
                  <a:pt x="104" y="184"/>
                </a:lnTo>
                <a:lnTo>
                  <a:pt x="102" y="184"/>
                </a:lnTo>
                <a:lnTo>
                  <a:pt x="98" y="186"/>
                </a:lnTo>
                <a:lnTo>
                  <a:pt x="98" y="182"/>
                </a:lnTo>
                <a:lnTo>
                  <a:pt x="98" y="182"/>
                </a:lnTo>
                <a:lnTo>
                  <a:pt x="96" y="176"/>
                </a:lnTo>
                <a:lnTo>
                  <a:pt x="96" y="170"/>
                </a:lnTo>
                <a:lnTo>
                  <a:pt x="96" y="170"/>
                </a:lnTo>
                <a:lnTo>
                  <a:pt x="94" y="176"/>
                </a:lnTo>
                <a:lnTo>
                  <a:pt x="94" y="178"/>
                </a:lnTo>
                <a:lnTo>
                  <a:pt x="92" y="178"/>
                </a:lnTo>
                <a:lnTo>
                  <a:pt x="92" y="178"/>
                </a:lnTo>
                <a:lnTo>
                  <a:pt x="94" y="180"/>
                </a:lnTo>
                <a:lnTo>
                  <a:pt x="94" y="184"/>
                </a:lnTo>
                <a:lnTo>
                  <a:pt x="94" y="186"/>
                </a:lnTo>
                <a:lnTo>
                  <a:pt x="90" y="188"/>
                </a:lnTo>
                <a:lnTo>
                  <a:pt x="90" y="188"/>
                </a:lnTo>
                <a:lnTo>
                  <a:pt x="84" y="188"/>
                </a:lnTo>
                <a:lnTo>
                  <a:pt x="80" y="186"/>
                </a:lnTo>
                <a:lnTo>
                  <a:pt x="80" y="186"/>
                </a:lnTo>
                <a:lnTo>
                  <a:pt x="80" y="190"/>
                </a:lnTo>
                <a:lnTo>
                  <a:pt x="80" y="194"/>
                </a:lnTo>
                <a:lnTo>
                  <a:pt x="76" y="196"/>
                </a:lnTo>
                <a:lnTo>
                  <a:pt x="74" y="198"/>
                </a:lnTo>
                <a:lnTo>
                  <a:pt x="74" y="198"/>
                </a:lnTo>
                <a:lnTo>
                  <a:pt x="70" y="198"/>
                </a:lnTo>
                <a:lnTo>
                  <a:pt x="68" y="200"/>
                </a:lnTo>
                <a:lnTo>
                  <a:pt x="64" y="202"/>
                </a:lnTo>
                <a:lnTo>
                  <a:pt x="60" y="204"/>
                </a:lnTo>
                <a:lnTo>
                  <a:pt x="60" y="204"/>
                </a:lnTo>
                <a:lnTo>
                  <a:pt x="54" y="204"/>
                </a:lnTo>
                <a:lnTo>
                  <a:pt x="50" y="206"/>
                </a:lnTo>
                <a:lnTo>
                  <a:pt x="48" y="206"/>
                </a:lnTo>
                <a:lnTo>
                  <a:pt x="44" y="206"/>
                </a:lnTo>
                <a:lnTo>
                  <a:pt x="44" y="206"/>
                </a:lnTo>
                <a:lnTo>
                  <a:pt x="40" y="204"/>
                </a:lnTo>
                <a:lnTo>
                  <a:pt x="36" y="206"/>
                </a:lnTo>
                <a:lnTo>
                  <a:pt x="34" y="206"/>
                </a:lnTo>
                <a:lnTo>
                  <a:pt x="38" y="204"/>
                </a:lnTo>
                <a:lnTo>
                  <a:pt x="38" y="204"/>
                </a:lnTo>
                <a:lnTo>
                  <a:pt x="26" y="202"/>
                </a:lnTo>
                <a:lnTo>
                  <a:pt x="26" y="200"/>
                </a:lnTo>
                <a:lnTo>
                  <a:pt x="30" y="198"/>
                </a:lnTo>
                <a:lnTo>
                  <a:pt x="30" y="198"/>
                </a:lnTo>
                <a:lnTo>
                  <a:pt x="22" y="198"/>
                </a:lnTo>
                <a:lnTo>
                  <a:pt x="18" y="196"/>
                </a:lnTo>
                <a:lnTo>
                  <a:pt x="16" y="194"/>
                </a:lnTo>
                <a:lnTo>
                  <a:pt x="16" y="194"/>
                </a:lnTo>
                <a:lnTo>
                  <a:pt x="14" y="192"/>
                </a:lnTo>
                <a:lnTo>
                  <a:pt x="10" y="190"/>
                </a:lnTo>
                <a:lnTo>
                  <a:pt x="8" y="188"/>
                </a:lnTo>
                <a:lnTo>
                  <a:pt x="10" y="184"/>
                </a:lnTo>
                <a:lnTo>
                  <a:pt x="10" y="184"/>
                </a:lnTo>
                <a:lnTo>
                  <a:pt x="14" y="182"/>
                </a:lnTo>
                <a:lnTo>
                  <a:pt x="16" y="182"/>
                </a:lnTo>
                <a:lnTo>
                  <a:pt x="18" y="184"/>
                </a:lnTo>
                <a:lnTo>
                  <a:pt x="22" y="184"/>
                </a:lnTo>
                <a:lnTo>
                  <a:pt x="22" y="184"/>
                </a:lnTo>
                <a:lnTo>
                  <a:pt x="18" y="180"/>
                </a:lnTo>
                <a:lnTo>
                  <a:pt x="18" y="178"/>
                </a:lnTo>
                <a:lnTo>
                  <a:pt x="26" y="170"/>
                </a:lnTo>
                <a:lnTo>
                  <a:pt x="26" y="170"/>
                </a:lnTo>
                <a:lnTo>
                  <a:pt x="18" y="174"/>
                </a:lnTo>
                <a:lnTo>
                  <a:pt x="16" y="176"/>
                </a:lnTo>
                <a:lnTo>
                  <a:pt x="16" y="176"/>
                </a:lnTo>
                <a:lnTo>
                  <a:pt x="14" y="178"/>
                </a:lnTo>
                <a:lnTo>
                  <a:pt x="14" y="178"/>
                </a:lnTo>
                <a:lnTo>
                  <a:pt x="10" y="178"/>
                </a:lnTo>
                <a:lnTo>
                  <a:pt x="10" y="176"/>
                </a:lnTo>
                <a:lnTo>
                  <a:pt x="6" y="182"/>
                </a:lnTo>
                <a:lnTo>
                  <a:pt x="6" y="182"/>
                </a:lnTo>
                <a:lnTo>
                  <a:pt x="6" y="170"/>
                </a:lnTo>
                <a:lnTo>
                  <a:pt x="8" y="168"/>
                </a:lnTo>
                <a:lnTo>
                  <a:pt x="10" y="168"/>
                </a:lnTo>
                <a:lnTo>
                  <a:pt x="10" y="168"/>
                </a:lnTo>
                <a:lnTo>
                  <a:pt x="12" y="170"/>
                </a:lnTo>
                <a:lnTo>
                  <a:pt x="14" y="170"/>
                </a:lnTo>
                <a:lnTo>
                  <a:pt x="16" y="168"/>
                </a:lnTo>
                <a:lnTo>
                  <a:pt x="16" y="166"/>
                </a:lnTo>
                <a:lnTo>
                  <a:pt x="16" y="166"/>
                </a:lnTo>
                <a:lnTo>
                  <a:pt x="14" y="166"/>
                </a:lnTo>
                <a:lnTo>
                  <a:pt x="12" y="166"/>
                </a:lnTo>
                <a:lnTo>
                  <a:pt x="10" y="166"/>
                </a:lnTo>
                <a:lnTo>
                  <a:pt x="10" y="164"/>
                </a:lnTo>
                <a:lnTo>
                  <a:pt x="10" y="164"/>
                </a:lnTo>
                <a:lnTo>
                  <a:pt x="10" y="162"/>
                </a:lnTo>
                <a:lnTo>
                  <a:pt x="8" y="164"/>
                </a:lnTo>
                <a:lnTo>
                  <a:pt x="8" y="164"/>
                </a:lnTo>
                <a:lnTo>
                  <a:pt x="8" y="162"/>
                </a:lnTo>
                <a:lnTo>
                  <a:pt x="8" y="162"/>
                </a:lnTo>
                <a:lnTo>
                  <a:pt x="4" y="162"/>
                </a:lnTo>
                <a:lnTo>
                  <a:pt x="2" y="162"/>
                </a:lnTo>
                <a:lnTo>
                  <a:pt x="0" y="158"/>
                </a:lnTo>
                <a:lnTo>
                  <a:pt x="0" y="158"/>
                </a:lnTo>
                <a:lnTo>
                  <a:pt x="2" y="158"/>
                </a:lnTo>
                <a:lnTo>
                  <a:pt x="4" y="158"/>
                </a:lnTo>
                <a:lnTo>
                  <a:pt x="6" y="156"/>
                </a:lnTo>
                <a:lnTo>
                  <a:pt x="8" y="154"/>
                </a:lnTo>
                <a:lnTo>
                  <a:pt x="8" y="154"/>
                </a:lnTo>
                <a:lnTo>
                  <a:pt x="2" y="156"/>
                </a:lnTo>
                <a:lnTo>
                  <a:pt x="0" y="154"/>
                </a:lnTo>
                <a:lnTo>
                  <a:pt x="2" y="152"/>
                </a:lnTo>
                <a:lnTo>
                  <a:pt x="2" y="152"/>
                </a:lnTo>
                <a:lnTo>
                  <a:pt x="2" y="150"/>
                </a:lnTo>
                <a:lnTo>
                  <a:pt x="0" y="150"/>
                </a:lnTo>
                <a:lnTo>
                  <a:pt x="0" y="148"/>
                </a:lnTo>
                <a:lnTo>
                  <a:pt x="4" y="148"/>
                </a:lnTo>
                <a:lnTo>
                  <a:pt x="4" y="148"/>
                </a:lnTo>
                <a:lnTo>
                  <a:pt x="12" y="148"/>
                </a:lnTo>
                <a:lnTo>
                  <a:pt x="16" y="148"/>
                </a:lnTo>
                <a:lnTo>
                  <a:pt x="18" y="148"/>
                </a:lnTo>
                <a:lnTo>
                  <a:pt x="18" y="148"/>
                </a:lnTo>
                <a:lnTo>
                  <a:pt x="22" y="148"/>
                </a:lnTo>
                <a:lnTo>
                  <a:pt x="24" y="148"/>
                </a:lnTo>
                <a:lnTo>
                  <a:pt x="26" y="148"/>
                </a:lnTo>
                <a:lnTo>
                  <a:pt x="32" y="148"/>
                </a:lnTo>
                <a:lnTo>
                  <a:pt x="32" y="148"/>
                </a:lnTo>
                <a:lnTo>
                  <a:pt x="36" y="148"/>
                </a:lnTo>
                <a:lnTo>
                  <a:pt x="38" y="146"/>
                </a:lnTo>
                <a:lnTo>
                  <a:pt x="38" y="144"/>
                </a:lnTo>
                <a:lnTo>
                  <a:pt x="38" y="144"/>
                </a:lnTo>
                <a:lnTo>
                  <a:pt x="36" y="146"/>
                </a:lnTo>
                <a:lnTo>
                  <a:pt x="34" y="146"/>
                </a:lnTo>
                <a:lnTo>
                  <a:pt x="28" y="146"/>
                </a:lnTo>
                <a:lnTo>
                  <a:pt x="28" y="146"/>
                </a:lnTo>
                <a:lnTo>
                  <a:pt x="24" y="146"/>
                </a:lnTo>
                <a:lnTo>
                  <a:pt x="22" y="146"/>
                </a:lnTo>
                <a:lnTo>
                  <a:pt x="22" y="146"/>
                </a:lnTo>
                <a:lnTo>
                  <a:pt x="18" y="146"/>
                </a:lnTo>
                <a:lnTo>
                  <a:pt x="18" y="146"/>
                </a:lnTo>
                <a:lnTo>
                  <a:pt x="14" y="146"/>
                </a:lnTo>
                <a:lnTo>
                  <a:pt x="12" y="146"/>
                </a:lnTo>
                <a:lnTo>
                  <a:pt x="6" y="146"/>
                </a:lnTo>
                <a:lnTo>
                  <a:pt x="6" y="146"/>
                </a:lnTo>
                <a:lnTo>
                  <a:pt x="2" y="146"/>
                </a:lnTo>
                <a:lnTo>
                  <a:pt x="0" y="144"/>
                </a:lnTo>
                <a:lnTo>
                  <a:pt x="4" y="140"/>
                </a:lnTo>
                <a:lnTo>
                  <a:pt x="10" y="140"/>
                </a:lnTo>
                <a:lnTo>
                  <a:pt x="10" y="140"/>
                </a:lnTo>
                <a:lnTo>
                  <a:pt x="2" y="138"/>
                </a:lnTo>
                <a:lnTo>
                  <a:pt x="2" y="136"/>
                </a:lnTo>
                <a:lnTo>
                  <a:pt x="6" y="134"/>
                </a:lnTo>
                <a:lnTo>
                  <a:pt x="6" y="134"/>
                </a:lnTo>
                <a:lnTo>
                  <a:pt x="10" y="132"/>
                </a:lnTo>
                <a:lnTo>
                  <a:pt x="14" y="130"/>
                </a:lnTo>
                <a:lnTo>
                  <a:pt x="14" y="130"/>
                </a:lnTo>
                <a:lnTo>
                  <a:pt x="22" y="126"/>
                </a:lnTo>
                <a:lnTo>
                  <a:pt x="28" y="124"/>
                </a:lnTo>
                <a:lnTo>
                  <a:pt x="28" y="124"/>
                </a:lnTo>
                <a:lnTo>
                  <a:pt x="34" y="122"/>
                </a:lnTo>
                <a:lnTo>
                  <a:pt x="40" y="124"/>
                </a:lnTo>
                <a:lnTo>
                  <a:pt x="40" y="124"/>
                </a:lnTo>
                <a:lnTo>
                  <a:pt x="38" y="118"/>
                </a:lnTo>
                <a:lnTo>
                  <a:pt x="42" y="118"/>
                </a:lnTo>
                <a:lnTo>
                  <a:pt x="42" y="118"/>
                </a:lnTo>
                <a:lnTo>
                  <a:pt x="50" y="116"/>
                </a:lnTo>
                <a:lnTo>
                  <a:pt x="52" y="116"/>
                </a:lnTo>
                <a:lnTo>
                  <a:pt x="52" y="118"/>
                </a:lnTo>
                <a:lnTo>
                  <a:pt x="52" y="118"/>
                </a:lnTo>
                <a:lnTo>
                  <a:pt x="54" y="114"/>
                </a:lnTo>
                <a:lnTo>
                  <a:pt x="58" y="114"/>
                </a:lnTo>
                <a:lnTo>
                  <a:pt x="62" y="112"/>
                </a:lnTo>
                <a:lnTo>
                  <a:pt x="66" y="114"/>
                </a:lnTo>
                <a:lnTo>
                  <a:pt x="66" y="114"/>
                </a:lnTo>
                <a:lnTo>
                  <a:pt x="66" y="110"/>
                </a:lnTo>
                <a:lnTo>
                  <a:pt x="70" y="110"/>
                </a:lnTo>
                <a:lnTo>
                  <a:pt x="74" y="110"/>
                </a:lnTo>
                <a:lnTo>
                  <a:pt x="76" y="112"/>
                </a:lnTo>
                <a:lnTo>
                  <a:pt x="76" y="112"/>
                </a:lnTo>
                <a:lnTo>
                  <a:pt x="76" y="106"/>
                </a:lnTo>
                <a:lnTo>
                  <a:pt x="82" y="110"/>
                </a:lnTo>
                <a:lnTo>
                  <a:pt x="82" y="110"/>
                </a:lnTo>
                <a:lnTo>
                  <a:pt x="88" y="110"/>
                </a:lnTo>
                <a:lnTo>
                  <a:pt x="90" y="110"/>
                </a:lnTo>
                <a:lnTo>
                  <a:pt x="92" y="110"/>
                </a:lnTo>
                <a:lnTo>
                  <a:pt x="98" y="112"/>
                </a:lnTo>
                <a:lnTo>
                  <a:pt x="98" y="112"/>
                </a:lnTo>
                <a:lnTo>
                  <a:pt x="96" y="110"/>
                </a:lnTo>
                <a:lnTo>
                  <a:pt x="96" y="108"/>
                </a:lnTo>
                <a:lnTo>
                  <a:pt x="100" y="106"/>
                </a:lnTo>
                <a:lnTo>
                  <a:pt x="100" y="106"/>
                </a:lnTo>
                <a:lnTo>
                  <a:pt x="90" y="108"/>
                </a:lnTo>
                <a:lnTo>
                  <a:pt x="82" y="106"/>
                </a:lnTo>
                <a:lnTo>
                  <a:pt x="82" y="106"/>
                </a:lnTo>
                <a:lnTo>
                  <a:pt x="84" y="106"/>
                </a:lnTo>
                <a:lnTo>
                  <a:pt x="84" y="104"/>
                </a:lnTo>
                <a:lnTo>
                  <a:pt x="84" y="104"/>
                </a:lnTo>
                <a:lnTo>
                  <a:pt x="86" y="102"/>
                </a:lnTo>
                <a:lnTo>
                  <a:pt x="86" y="102"/>
                </a:lnTo>
                <a:lnTo>
                  <a:pt x="90" y="100"/>
                </a:lnTo>
                <a:lnTo>
                  <a:pt x="92" y="98"/>
                </a:lnTo>
                <a:lnTo>
                  <a:pt x="94" y="98"/>
                </a:lnTo>
                <a:lnTo>
                  <a:pt x="96" y="96"/>
                </a:lnTo>
                <a:lnTo>
                  <a:pt x="96" y="96"/>
                </a:lnTo>
                <a:lnTo>
                  <a:pt x="100" y="94"/>
                </a:lnTo>
                <a:lnTo>
                  <a:pt x="106" y="90"/>
                </a:lnTo>
                <a:lnTo>
                  <a:pt x="106" y="90"/>
                </a:lnTo>
                <a:lnTo>
                  <a:pt x="108" y="88"/>
                </a:lnTo>
                <a:lnTo>
                  <a:pt x="110" y="84"/>
                </a:lnTo>
                <a:lnTo>
                  <a:pt x="110" y="82"/>
                </a:lnTo>
                <a:lnTo>
                  <a:pt x="114" y="82"/>
                </a:lnTo>
                <a:lnTo>
                  <a:pt x="114" y="82"/>
                </a:lnTo>
                <a:lnTo>
                  <a:pt x="118" y="80"/>
                </a:lnTo>
                <a:lnTo>
                  <a:pt x="120" y="76"/>
                </a:lnTo>
                <a:lnTo>
                  <a:pt x="124" y="74"/>
                </a:lnTo>
                <a:lnTo>
                  <a:pt x="126" y="72"/>
                </a:lnTo>
                <a:lnTo>
                  <a:pt x="126" y="72"/>
                </a:lnTo>
                <a:lnTo>
                  <a:pt x="130" y="72"/>
                </a:lnTo>
                <a:lnTo>
                  <a:pt x="130" y="70"/>
                </a:lnTo>
                <a:lnTo>
                  <a:pt x="130" y="68"/>
                </a:lnTo>
                <a:lnTo>
                  <a:pt x="132" y="68"/>
                </a:lnTo>
                <a:lnTo>
                  <a:pt x="132" y="68"/>
                </a:lnTo>
                <a:lnTo>
                  <a:pt x="134" y="66"/>
                </a:lnTo>
                <a:lnTo>
                  <a:pt x="134" y="64"/>
                </a:lnTo>
                <a:lnTo>
                  <a:pt x="136" y="62"/>
                </a:lnTo>
                <a:lnTo>
                  <a:pt x="138" y="62"/>
                </a:lnTo>
                <a:lnTo>
                  <a:pt x="138" y="62"/>
                </a:lnTo>
                <a:lnTo>
                  <a:pt x="142" y="60"/>
                </a:lnTo>
                <a:lnTo>
                  <a:pt x="144" y="58"/>
                </a:lnTo>
                <a:lnTo>
                  <a:pt x="146" y="56"/>
                </a:lnTo>
                <a:lnTo>
                  <a:pt x="148" y="56"/>
                </a:lnTo>
                <a:lnTo>
                  <a:pt x="148" y="56"/>
                </a:lnTo>
                <a:lnTo>
                  <a:pt x="150" y="56"/>
                </a:lnTo>
                <a:lnTo>
                  <a:pt x="152" y="54"/>
                </a:lnTo>
                <a:lnTo>
                  <a:pt x="154" y="52"/>
                </a:lnTo>
                <a:lnTo>
                  <a:pt x="160" y="52"/>
                </a:lnTo>
                <a:lnTo>
                  <a:pt x="160" y="52"/>
                </a:lnTo>
                <a:lnTo>
                  <a:pt x="164" y="52"/>
                </a:lnTo>
                <a:lnTo>
                  <a:pt x="166" y="50"/>
                </a:lnTo>
                <a:lnTo>
                  <a:pt x="166" y="48"/>
                </a:lnTo>
                <a:lnTo>
                  <a:pt x="168" y="48"/>
                </a:lnTo>
                <a:lnTo>
                  <a:pt x="168" y="48"/>
                </a:lnTo>
                <a:lnTo>
                  <a:pt x="172" y="46"/>
                </a:lnTo>
                <a:lnTo>
                  <a:pt x="172" y="44"/>
                </a:lnTo>
                <a:lnTo>
                  <a:pt x="174" y="42"/>
                </a:lnTo>
                <a:lnTo>
                  <a:pt x="178" y="40"/>
                </a:lnTo>
                <a:lnTo>
                  <a:pt x="178" y="40"/>
                </a:lnTo>
                <a:lnTo>
                  <a:pt x="182" y="38"/>
                </a:lnTo>
                <a:lnTo>
                  <a:pt x="184" y="38"/>
                </a:lnTo>
                <a:lnTo>
                  <a:pt x="186" y="36"/>
                </a:lnTo>
                <a:lnTo>
                  <a:pt x="188" y="36"/>
                </a:lnTo>
                <a:lnTo>
                  <a:pt x="188" y="36"/>
                </a:lnTo>
                <a:lnTo>
                  <a:pt x="192" y="34"/>
                </a:lnTo>
                <a:lnTo>
                  <a:pt x="192" y="32"/>
                </a:lnTo>
                <a:lnTo>
                  <a:pt x="194" y="30"/>
                </a:lnTo>
                <a:lnTo>
                  <a:pt x="196" y="30"/>
                </a:lnTo>
                <a:lnTo>
                  <a:pt x="196" y="30"/>
                </a:lnTo>
                <a:lnTo>
                  <a:pt x="200" y="30"/>
                </a:lnTo>
                <a:lnTo>
                  <a:pt x="206" y="28"/>
                </a:lnTo>
                <a:lnTo>
                  <a:pt x="210" y="26"/>
                </a:lnTo>
                <a:lnTo>
                  <a:pt x="214" y="26"/>
                </a:lnTo>
                <a:lnTo>
                  <a:pt x="214" y="26"/>
                </a:lnTo>
                <a:lnTo>
                  <a:pt x="218" y="26"/>
                </a:lnTo>
                <a:lnTo>
                  <a:pt x="220" y="26"/>
                </a:lnTo>
                <a:lnTo>
                  <a:pt x="224" y="24"/>
                </a:lnTo>
                <a:lnTo>
                  <a:pt x="228" y="24"/>
                </a:lnTo>
                <a:lnTo>
                  <a:pt x="228" y="24"/>
                </a:lnTo>
                <a:lnTo>
                  <a:pt x="232" y="24"/>
                </a:lnTo>
                <a:lnTo>
                  <a:pt x="234" y="24"/>
                </a:lnTo>
                <a:lnTo>
                  <a:pt x="238" y="22"/>
                </a:lnTo>
                <a:lnTo>
                  <a:pt x="242" y="22"/>
                </a:lnTo>
                <a:lnTo>
                  <a:pt x="242" y="22"/>
                </a:lnTo>
                <a:lnTo>
                  <a:pt x="248" y="22"/>
                </a:lnTo>
                <a:lnTo>
                  <a:pt x="248" y="20"/>
                </a:lnTo>
                <a:lnTo>
                  <a:pt x="248" y="18"/>
                </a:lnTo>
                <a:lnTo>
                  <a:pt x="252" y="18"/>
                </a:lnTo>
                <a:lnTo>
                  <a:pt x="252" y="18"/>
                </a:lnTo>
                <a:lnTo>
                  <a:pt x="256" y="18"/>
                </a:lnTo>
                <a:lnTo>
                  <a:pt x="258" y="16"/>
                </a:lnTo>
                <a:lnTo>
                  <a:pt x="260" y="16"/>
                </a:lnTo>
                <a:lnTo>
                  <a:pt x="264" y="16"/>
                </a:lnTo>
                <a:lnTo>
                  <a:pt x="264" y="16"/>
                </a:lnTo>
                <a:lnTo>
                  <a:pt x="268" y="16"/>
                </a:lnTo>
                <a:lnTo>
                  <a:pt x="276" y="16"/>
                </a:lnTo>
                <a:lnTo>
                  <a:pt x="276" y="16"/>
                </a:lnTo>
                <a:lnTo>
                  <a:pt x="282" y="14"/>
                </a:lnTo>
                <a:lnTo>
                  <a:pt x="286" y="12"/>
                </a:lnTo>
                <a:lnTo>
                  <a:pt x="290" y="10"/>
                </a:lnTo>
                <a:lnTo>
                  <a:pt x="294" y="14"/>
                </a:lnTo>
                <a:lnTo>
                  <a:pt x="294" y="14"/>
                </a:lnTo>
                <a:lnTo>
                  <a:pt x="298" y="10"/>
                </a:lnTo>
                <a:lnTo>
                  <a:pt x="300" y="8"/>
                </a:lnTo>
                <a:lnTo>
                  <a:pt x="304" y="10"/>
                </a:lnTo>
                <a:lnTo>
                  <a:pt x="308" y="16"/>
                </a:lnTo>
                <a:lnTo>
                  <a:pt x="308" y="16"/>
                </a:lnTo>
                <a:lnTo>
                  <a:pt x="310" y="12"/>
                </a:lnTo>
                <a:lnTo>
                  <a:pt x="310" y="10"/>
                </a:lnTo>
                <a:lnTo>
                  <a:pt x="308" y="8"/>
                </a:lnTo>
                <a:lnTo>
                  <a:pt x="306" y="6"/>
                </a:lnTo>
                <a:lnTo>
                  <a:pt x="310" y="4"/>
                </a:lnTo>
                <a:lnTo>
                  <a:pt x="310" y="4"/>
                </a:lnTo>
                <a:lnTo>
                  <a:pt x="316" y="0"/>
                </a:lnTo>
                <a:lnTo>
                  <a:pt x="318" y="2"/>
                </a:lnTo>
                <a:lnTo>
                  <a:pt x="320" y="2"/>
                </a:lnTo>
                <a:lnTo>
                  <a:pt x="324" y="2"/>
                </a:lnTo>
                <a:lnTo>
                  <a:pt x="324" y="2"/>
                </a:lnTo>
                <a:lnTo>
                  <a:pt x="326" y="2"/>
                </a:lnTo>
                <a:lnTo>
                  <a:pt x="326" y="4"/>
                </a:lnTo>
                <a:lnTo>
                  <a:pt x="324" y="10"/>
                </a:lnTo>
                <a:lnTo>
                  <a:pt x="320" y="16"/>
                </a:lnTo>
                <a:lnTo>
                  <a:pt x="322" y="16"/>
                </a:lnTo>
                <a:lnTo>
                  <a:pt x="324" y="16"/>
                </a:lnTo>
                <a:lnTo>
                  <a:pt x="324" y="16"/>
                </a:lnTo>
                <a:lnTo>
                  <a:pt x="330" y="12"/>
                </a:lnTo>
                <a:lnTo>
                  <a:pt x="332" y="8"/>
                </a:lnTo>
                <a:lnTo>
                  <a:pt x="334" y="6"/>
                </a:lnTo>
                <a:lnTo>
                  <a:pt x="336" y="4"/>
                </a:lnTo>
                <a:lnTo>
                  <a:pt x="336" y="4"/>
                </a:lnTo>
                <a:lnTo>
                  <a:pt x="336" y="8"/>
                </a:lnTo>
                <a:lnTo>
                  <a:pt x="336" y="12"/>
                </a:lnTo>
                <a:lnTo>
                  <a:pt x="338" y="12"/>
                </a:lnTo>
                <a:lnTo>
                  <a:pt x="338" y="12"/>
                </a:lnTo>
                <a:lnTo>
                  <a:pt x="340" y="10"/>
                </a:lnTo>
                <a:lnTo>
                  <a:pt x="340" y="6"/>
                </a:lnTo>
                <a:lnTo>
                  <a:pt x="342" y="4"/>
                </a:lnTo>
                <a:lnTo>
                  <a:pt x="346" y="4"/>
                </a:lnTo>
                <a:lnTo>
                  <a:pt x="346" y="4"/>
                </a:lnTo>
                <a:lnTo>
                  <a:pt x="348" y="4"/>
                </a:lnTo>
                <a:lnTo>
                  <a:pt x="350" y="6"/>
                </a:lnTo>
                <a:lnTo>
                  <a:pt x="350" y="8"/>
                </a:lnTo>
                <a:lnTo>
                  <a:pt x="348" y="10"/>
                </a:lnTo>
                <a:lnTo>
                  <a:pt x="348" y="10"/>
                </a:lnTo>
                <a:lnTo>
                  <a:pt x="348" y="10"/>
                </a:lnTo>
                <a:lnTo>
                  <a:pt x="352" y="10"/>
                </a:lnTo>
                <a:lnTo>
                  <a:pt x="352" y="10"/>
                </a:lnTo>
                <a:lnTo>
                  <a:pt x="354" y="10"/>
                </a:lnTo>
                <a:lnTo>
                  <a:pt x="356" y="10"/>
                </a:lnTo>
                <a:lnTo>
                  <a:pt x="356" y="10"/>
                </a:lnTo>
                <a:lnTo>
                  <a:pt x="360" y="8"/>
                </a:lnTo>
                <a:lnTo>
                  <a:pt x="362" y="8"/>
                </a:lnTo>
                <a:lnTo>
                  <a:pt x="364" y="10"/>
                </a:lnTo>
                <a:lnTo>
                  <a:pt x="366" y="12"/>
                </a:lnTo>
                <a:lnTo>
                  <a:pt x="366" y="12"/>
                </a:lnTo>
                <a:lnTo>
                  <a:pt x="372" y="12"/>
                </a:lnTo>
                <a:lnTo>
                  <a:pt x="376" y="12"/>
                </a:lnTo>
                <a:lnTo>
                  <a:pt x="380" y="16"/>
                </a:lnTo>
                <a:lnTo>
                  <a:pt x="380" y="16"/>
                </a:lnTo>
                <a:lnTo>
                  <a:pt x="380" y="18"/>
                </a:lnTo>
                <a:lnTo>
                  <a:pt x="378" y="18"/>
                </a:lnTo>
                <a:lnTo>
                  <a:pt x="372" y="18"/>
                </a:lnTo>
                <a:lnTo>
                  <a:pt x="364" y="18"/>
                </a:lnTo>
                <a:lnTo>
                  <a:pt x="364" y="18"/>
                </a:lnTo>
                <a:lnTo>
                  <a:pt x="378" y="22"/>
                </a:lnTo>
                <a:lnTo>
                  <a:pt x="378" y="22"/>
                </a:lnTo>
                <a:lnTo>
                  <a:pt x="378" y="26"/>
                </a:lnTo>
                <a:lnTo>
                  <a:pt x="376" y="26"/>
                </a:lnTo>
                <a:lnTo>
                  <a:pt x="374" y="26"/>
                </a:lnTo>
                <a:lnTo>
                  <a:pt x="372" y="26"/>
                </a:lnTo>
                <a:lnTo>
                  <a:pt x="372" y="26"/>
                </a:lnTo>
                <a:lnTo>
                  <a:pt x="368" y="32"/>
                </a:lnTo>
                <a:lnTo>
                  <a:pt x="366" y="36"/>
                </a:lnTo>
                <a:lnTo>
                  <a:pt x="364" y="40"/>
                </a:lnTo>
                <a:lnTo>
                  <a:pt x="364" y="40"/>
                </a:lnTo>
                <a:lnTo>
                  <a:pt x="362" y="36"/>
                </a:lnTo>
                <a:lnTo>
                  <a:pt x="362" y="34"/>
                </a:lnTo>
                <a:lnTo>
                  <a:pt x="360" y="32"/>
                </a:lnTo>
                <a:lnTo>
                  <a:pt x="360" y="32"/>
                </a:lnTo>
                <a:lnTo>
                  <a:pt x="360" y="30"/>
                </a:lnTo>
                <a:lnTo>
                  <a:pt x="362" y="26"/>
                </a:lnTo>
                <a:lnTo>
                  <a:pt x="362" y="24"/>
                </a:lnTo>
                <a:lnTo>
                  <a:pt x="360" y="22"/>
                </a:lnTo>
                <a:lnTo>
                  <a:pt x="360" y="22"/>
                </a:lnTo>
                <a:lnTo>
                  <a:pt x="354" y="20"/>
                </a:lnTo>
                <a:lnTo>
                  <a:pt x="350" y="18"/>
                </a:lnTo>
                <a:lnTo>
                  <a:pt x="350" y="16"/>
                </a:lnTo>
                <a:lnTo>
                  <a:pt x="350" y="16"/>
                </a:lnTo>
                <a:lnTo>
                  <a:pt x="348" y="14"/>
                </a:lnTo>
                <a:lnTo>
                  <a:pt x="346" y="14"/>
                </a:lnTo>
                <a:lnTo>
                  <a:pt x="340" y="16"/>
                </a:lnTo>
                <a:lnTo>
                  <a:pt x="340" y="16"/>
                </a:lnTo>
                <a:lnTo>
                  <a:pt x="334" y="18"/>
                </a:lnTo>
                <a:lnTo>
                  <a:pt x="332" y="18"/>
                </a:lnTo>
                <a:lnTo>
                  <a:pt x="330" y="20"/>
                </a:lnTo>
                <a:lnTo>
                  <a:pt x="330" y="20"/>
                </a:lnTo>
                <a:lnTo>
                  <a:pt x="322" y="26"/>
                </a:lnTo>
                <a:lnTo>
                  <a:pt x="318" y="28"/>
                </a:lnTo>
                <a:lnTo>
                  <a:pt x="320" y="32"/>
                </a:lnTo>
                <a:lnTo>
                  <a:pt x="320" y="32"/>
                </a:lnTo>
                <a:lnTo>
                  <a:pt x="320" y="34"/>
                </a:lnTo>
                <a:lnTo>
                  <a:pt x="318" y="36"/>
                </a:lnTo>
                <a:lnTo>
                  <a:pt x="318" y="36"/>
                </a:lnTo>
                <a:lnTo>
                  <a:pt x="312" y="38"/>
                </a:lnTo>
                <a:lnTo>
                  <a:pt x="310" y="44"/>
                </a:lnTo>
                <a:lnTo>
                  <a:pt x="310" y="44"/>
                </a:lnTo>
                <a:lnTo>
                  <a:pt x="306" y="46"/>
                </a:lnTo>
                <a:lnTo>
                  <a:pt x="304" y="44"/>
                </a:lnTo>
                <a:lnTo>
                  <a:pt x="296" y="38"/>
                </a:lnTo>
                <a:lnTo>
                  <a:pt x="296" y="38"/>
                </a:lnTo>
                <a:lnTo>
                  <a:pt x="294" y="36"/>
                </a:lnTo>
                <a:lnTo>
                  <a:pt x="292" y="40"/>
                </a:lnTo>
                <a:lnTo>
                  <a:pt x="292" y="40"/>
                </a:lnTo>
                <a:lnTo>
                  <a:pt x="290" y="40"/>
                </a:lnTo>
                <a:lnTo>
                  <a:pt x="284" y="40"/>
                </a:lnTo>
                <a:lnTo>
                  <a:pt x="274" y="38"/>
                </a:lnTo>
                <a:lnTo>
                  <a:pt x="274" y="38"/>
                </a:lnTo>
                <a:lnTo>
                  <a:pt x="258" y="34"/>
                </a:lnTo>
                <a:lnTo>
                  <a:pt x="252" y="32"/>
                </a:lnTo>
                <a:lnTo>
                  <a:pt x="248" y="30"/>
                </a:lnTo>
                <a:lnTo>
                  <a:pt x="248" y="30"/>
                </a:lnTo>
                <a:lnTo>
                  <a:pt x="246" y="28"/>
                </a:lnTo>
                <a:lnTo>
                  <a:pt x="244" y="28"/>
                </a:lnTo>
                <a:lnTo>
                  <a:pt x="240" y="30"/>
                </a:lnTo>
                <a:lnTo>
                  <a:pt x="240" y="30"/>
                </a:lnTo>
                <a:lnTo>
                  <a:pt x="240" y="32"/>
                </a:lnTo>
                <a:lnTo>
                  <a:pt x="240" y="32"/>
                </a:lnTo>
                <a:lnTo>
                  <a:pt x="240" y="34"/>
                </a:lnTo>
                <a:lnTo>
                  <a:pt x="238" y="34"/>
                </a:lnTo>
                <a:lnTo>
                  <a:pt x="238" y="34"/>
                </a:lnTo>
                <a:lnTo>
                  <a:pt x="226" y="40"/>
                </a:lnTo>
                <a:lnTo>
                  <a:pt x="218" y="44"/>
                </a:lnTo>
                <a:lnTo>
                  <a:pt x="218" y="44"/>
                </a:lnTo>
                <a:lnTo>
                  <a:pt x="214" y="44"/>
                </a:lnTo>
                <a:lnTo>
                  <a:pt x="212" y="44"/>
                </a:lnTo>
                <a:lnTo>
                  <a:pt x="208" y="42"/>
                </a:lnTo>
                <a:lnTo>
                  <a:pt x="206" y="40"/>
                </a:lnTo>
                <a:lnTo>
                  <a:pt x="204" y="40"/>
                </a:lnTo>
                <a:lnTo>
                  <a:pt x="194" y="44"/>
                </a:lnTo>
                <a:lnTo>
                  <a:pt x="194" y="44"/>
                </a:lnTo>
                <a:lnTo>
                  <a:pt x="184" y="50"/>
                </a:lnTo>
                <a:lnTo>
                  <a:pt x="176" y="54"/>
                </a:lnTo>
                <a:lnTo>
                  <a:pt x="176" y="54"/>
                </a:lnTo>
                <a:lnTo>
                  <a:pt x="170" y="60"/>
                </a:lnTo>
                <a:lnTo>
                  <a:pt x="168" y="64"/>
                </a:lnTo>
                <a:lnTo>
                  <a:pt x="168" y="68"/>
                </a:lnTo>
                <a:lnTo>
                  <a:pt x="166" y="70"/>
                </a:lnTo>
                <a:lnTo>
                  <a:pt x="166" y="70"/>
                </a:lnTo>
                <a:lnTo>
                  <a:pt x="162" y="70"/>
                </a:lnTo>
                <a:lnTo>
                  <a:pt x="160" y="70"/>
                </a:lnTo>
                <a:lnTo>
                  <a:pt x="156" y="70"/>
                </a:lnTo>
                <a:lnTo>
                  <a:pt x="154" y="72"/>
                </a:lnTo>
                <a:lnTo>
                  <a:pt x="154" y="72"/>
                </a:lnTo>
                <a:lnTo>
                  <a:pt x="152" y="74"/>
                </a:lnTo>
                <a:lnTo>
                  <a:pt x="152" y="78"/>
                </a:lnTo>
                <a:lnTo>
                  <a:pt x="152" y="82"/>
                </a:lnTo>
                <a:lnTo>
                  <a:pt x="150" y="86"/>
                </a:lnTo>
                <a:lnTo>
                  <a:pt x="150" y="86"/>
                </a:lnTo>
                <a:lnTo>
                  <a:pt x="148" y="90"/>
                </a:lnTo>
                <a:lnTo>
                  <a:pt x="148" y="94"/>
                </a:lnTo>
                <a:lnTo>
                  <a:pt x="148" y="96"/>
                </a:lnTo>
                <a:lnTo>
                  <a:pt x="146" y="98"/>
                </a:lnTo>
                <a:lnTo>
                  <a:pt x="138" y="100"/>
                </a:lnTo>
                <a:lnTo>
                  <a:pt x="138" y="100"/>
                </a:lnTo>
                <a:lnTo>
                  <a:pt x="130" y="102"/>
                </a:lnTo>
                <a:lnTo>
                  <a:pt x="126" y="106"/>
                </a:lnTo>
                <a:lnTo>
                  <a:pt x="122" y="110"/>
                </a:lnTo>
                <a:lnTo>
                  <a:pt x="116" y="112"/>
                </a:lnTo>
                <a:lnTo>
                  <a:pt x="116" y="112"/>
                </a:lnTo>
                <a:lnTo>
                  <a:pt x="116" y="114"/>
                </a:lnTo>
                <a:lnTo>
                  <a:pt x="118" y="116"/>
                </a:lnTo>
                <a:lnTo>
                  <a:pt x="118" y="120"/>
                </a:lnTo>
                <a:lnTo>
                  <a:pt x="118" y="120"/>
                </a:lnTo>
                <a:lnTo>
                  <a:pt x="118" y="126"/>
                </a:lnTo>
                <a:lnTo>
                  <a:pt x="118" y="130"/>
                </a:lnTo>
                <a:lnTo>
                  <a:pt x="120" y="134"/>
                </a:lnTo>
                <a:lnTo>
                  <a:pt x="120" y="134"/>
                </a:lnTo>
                <a:lnTo>
                  <a:pt x="120" y="138"/>
                </a:lnTo>
                <a:lnTo>
                  <a:pt x="122" y="140"/>
                </a:lnTo>
                <a:lnTo>
                  <a:pt x="124" y="142"/>
                </a:lnTo>
                <a:lnTo>
                  <a:pt x="126" y="144"/>
                </a:lnTo>
                <a:lnTo>
                  <a:pt x="126" y="144"/>
                </a:lnTo>
                <a:lnTo>
                  <a:pt x="124" y="148"/>
                </a:lnTo>
                <a:lnTo>
                  <a:pt x="120" y="150"/>
                </a:lnTo>
                <a:lnTo>
                  <a:pt x="120" y="150"/>
                </a:lnTo>
                <a:lnTo>
                  <a:pt x="122" y="156"/>
                </a:lnTo>
                <a:lnTo>
                  <a:pt x="122" y="160"/>
                </a:lnTo>
                <a:lnTo>
                  <a:pt x="120" y="164"/>
                </a:lnTo>
                <a:lnTo>
                  <a:pt x="118" y="166"/>
                </a:lnTo>
                <a:lnTo>
                  <a:pt x="114" y="170"/>
                </a:lnTo>
                <a:lnTo>
                  <a:pt x="112" y="172"/>
                </a:lnTo>
                <a:lnTo>
                  <a:pt x="112" y="172"/>
                </a:lnTo>
                <a:lnTo>
                  <a:pt x="112" y="174"/>
                </a:lnTo>
                <a:lnTo>
                  <a:pt x="112" y="176"/>
                </a:lnTo>
                <a:lnTo>
                  <a:pt x="110" y="178"/>
                </a:lnTo>
                <a:lnTo>
                  <a:pt x="112" y="180"/>
                </a:lnTo>
                <a:lnTo>
                  <a:pt x="112" y="180"/>
                </a:lnTo>
                <a:lnTo>
                  <a:pt x="114" y="184"/>
                </a:lnTo>
                <a:lnTo>
                  <a:pt x="112" y="186"/>
                </a:lnTo>
                <a:lnTo>
                  <a:pt x="110" y="186"/>
                </a:lnTo>
                <a:lnTo>
                  <a:pt x="108" y="186"/>
                </a:lnTo>
                <a:lnTo>
                  <a:pt x="108" y="186"/>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52" name="Peru"/>
          <p:cNvSpPr>
            <a:spLocks/>
          </p:cNvSpPr>
          <p:nvPr/>
        </p:nvSpPr>
        <p:spPr bwMode="auto">
          <a:xfrm>
            <a:off x="2376558" y="2779803"/>
            <a:ext cx="328150" cy="521233"/>
          </a:xfrm>
          <a:custGeom>
            <a:avLst/>
            <a:gdLst/>
            <a:ahLst/>
            <a:cxnLst>
              <a:cxn ang="0">
                <a:pos x="6" y="96"/>
              </a:cxn>
              <a:cxn ang="0">
                <a:pos x="6" y="104"/>
              </a:cxn>
              <a:cxn ang="0">
                <a:pos x="4" y="114"/>
              </a:cxn>
              <a:cxn ang="0">
                <a:pos x="6" y="122"/>
              </a:cxn>
              <a:cxn ang="0">
                <a:pos x="14" y="140"/>
              </a:cxn>
              <a:cxn ang="0">
                <a:pos x="30" y="170"/>
              </a:cxn>
              <a:cxn ang="0">
                <a:pos x="46" y="188"/>
              </a:cxn>
              <a:cxn ang="0">
                <a:pos x="60" y="204"/>
              </a:cxn>
              <a:cxn ang="0">
                <a:pos x="76" y="234"/>
              </a:cxn>
              <a:cxn ang="0">
                <a:pos x="96" y="286"/>
              </a:cxn>
              <a:cxn ang="0">
                <a:pos x="108" y="310"/>
              </a:cxn>
              <a:cxn ang="0">
                <a:pos x="110" y="322"/>
              </a:cxn>
              <a:cxn ang="0">
                <a:pos x="124" y="350"/>
              </a:cxn>
              <a:cxn ang="0">
                <a:pos x="118" y="350"/>
              </a:cxn>
              <a:cxn ang="0">
                <a:pos x="138" y="372"/>
              </a:cxn>
              <a:cxn ang="0">
                <a:pos x="162" y="392"/>
              </a:cxn>
              <a:cxn ang="0">
                <a:pos x="196" y="410"/>
              </a:cxn>
              <a:cxn ang="0">
                <a:pos x="244" y="440"/>
              </a:cxn>
              <a:cxn ang="0">
                <a:pos x="272" y="454"/>
              </a:cxn>
              <a:cxn ang="0">
                <a:pos x="276" y="446"/>
              </a:cxn>
              <a:cxn ang="0">
                <a:pos x="278" y="430"/>
              </a:cxn>
              <a:cxn ang="0">
                <a:pos x="286" y="412"/>
              </a:cxn>
              <a:cxn ang="0">
                <a:pos x="282" y="390"/>
              </a:cxn>
              <a:cxn ang="0">
                <a:pos x="284" y="380"/>
              </a:cxn>
              <a:cxn ang="0">
                <a:pos x="280" y="362"/>
              </a:cxn>
              <a:cxn ang="0">
                <a:pos x="276" y="334"/>
              </a:cxn>
              <a:cxn ang="0">
                <a:pos x="282" y="316"/>
              </a:cxn>
              <a:cxn ang="0">
                <a:pos x="250" y="280"/>
              </a:cxn>
              <a:cxn ang="0">
                <a:pos x="238" y="264"/>
              </a:cxn>
              <a:cxn ang="0">
                <a:pos x="238" y="244"/>
              </a:cxn>
              <a:cxn ang="0">
                <a:pos x="234" y="238"/>
              </a:cxn>
              <a:cxn ang="0">
                <a:pos x="202" y="250"/>
              </a:cxn>
              <a:cxn ang="0">
                <a:pos x="192" y="240"/>
              </a:cxn>
              <a:cxn ang="0">
                <a:pos x="188" y="232"/>
              </a:cxn>
              <a:cxn ang="0">
                <a:pos x="176" y="212"/>
              </a:cxn>
              <a:cxn ang="0">
                <a:pos x="166" y="188"/>
              </a:cxn>
              <a:cxn ang="0">
                <a:pos x="166" y="178"/>
              </a:cxn>
              <a:cxn ang="0">
                <a:pos x="180" y="158"/>
              </a:cxn>
              <a:cxn ang="0">
                <a:pos x="188" y="136"/>
              </a:cxn>
              <a:cxn ang="0">
                <a:pos x="204" y="120"/>
              </a:cxn>
              <a:cxn ang="0">
                <a:pos x="226" y="104"/>
              </a:cxn>
              <a:cxn ang="0">
                <a:pos x="238" y="98"/>
              </a:cxn>
              <a:cxn ang="0">
                <a:pos x="232" y="74"/>
              </a:cxn>
              <a:cxn ang="0">
                <a:pos x="234" y="58"/>
              </a:cxn>
              <a:cxn ang="0">
                <a:pos x="218" y="60"/>
              </a:cxn>
              <a:cxn ang="0">
                <a:pos x="196" y="58"/>
              </a:cxn>
              <a:cxn ang="0">
                <a:pos x="174" y="58"/>
              </a:cxn>
              <a:cxn ang="0">
                <a:pos x="162" y="34"/>
              </a:cxn>
              <a:cxn ang="0">
                <a:pos x="150" y="24"/>
              </a:cxn>
              <a:cxn ang="0">
                <a:pos x="138" y="2"/>
              </a:cxn>
              <a:cxn ang="0">
                <a:pos x="128" y="24"/>
              </a:cxn>
              <a:cxn ang="0">
                <a:pos x="98" y="60"/>
              </a:cxn>
              <a:cxn ang="0">
                <a:pos x="70" y="76"/>
              </a:cxn>
              <a:cxn ang="0">
                <a:pos x="60" y="92"/>
              </a:cxn>
              <a:cxn ang="0">
                <a:pos x="46" y="106"/>
              </a:cxn>
              <a:cxn ang="0">
                <a:pos x="28" y="98"/>
              </a:cxn>
              <a:cxn ang="0">
                <a:pos x="18" y="86"/>
              </a:cxn>
            </a:cxnLst>
            <a:rect l="0" t="0" r="r" b="b"/>
            <a:pathLst>
              <a:path w="288" h="458">
                <a:moveTo>
                  <a:pt x="18" y="86"/>
                </a:moveTo>
                <a:lnTo>
                  <a:pt x="18" y="86"/>
                </a:lnTo>
                <a:lnTo>
                  <a:pt x="14" y="88"/>
                </a:lnTo>
                <a:lnTo>
                  <a:pt x="10" y="92"/>
                </a:lnTo>
                <a:lnTo>
                  <a:pt x="6" y="96"/>
                </a:lnTo>
                <a:lnTo>
                  <a:pt x="4" y="98"/>
                </a:lnTo>
                <a:lnTo>
                  <a:pt x="6" y="100"/>
                </a:lnTo>
                <a:lnTo>
                  <a:pt x="6" y="100"/>
                </a:lnTo>
                <a:lnTo>
                  <a:pt x="6" y="102"/>
                </a:lnTo>
                <a:lnTo>
                  <a:pt x="6" y="104"/>
                </a:lnTo>
                <a:lnTo>
                  <a:pt x="4" y="106"/>
                </a:lnTo>
                <a:lnTo>
                  <a:pt x="6" y="112"/>
                </a:lnTo>
                <a:lnTo>
                  <a:pt x="6" y="112"/>
                </a:lnTo>
                <a:lnTo>
                  <a:pt x="6" y="112"/>
                </a:lnTo>
                <a:lnTo>
                  <a:pt x="4" y="114"/>
                </a:lnTo>
                <a:lnTo>
                  <a:pt x="2" y="114"/>
                </a:lnTo>
                <a:lnTo>
                  <a:pt x="0" y="114"/>
                </a:lnTo>
                <a:lnTo>
                  <a:pt x="0" y="116"/>
                </a:lnTo>
                <a:lnTo>
                  <a:pt x="6" y="122"/>
                </a:lnTo>
                <a:lnTo>
                  <a:pt x="6" y="122"/>
                </a:lnTo>
                <a:lnTo>
                  <a:pt x="12" y="128"/>
                </a:lnTo>
                <a:lnTo>
                  <a:pt x="12" y="132"/>
                </a:lnTo>
                <a:lnTo>
                  <a:pt x="12" y="136"/>
                </a:lnTo>
                <a:lnTo>
                  <a:pt x="14" y="140"/>
                </a:lnTo>
                <a:lnTo>
                  <a:pt x="14" y="140"/>
                </a:lnTo>
                <a:lnTo>
                  <a:pt x="14" y="146"/>
                </a:lnTo>
                <a:lnTo>
                  <a:pt x="14" y="152"/>
                </a:lnTo>
                <a:lnTo>
                  <a:pt x="20" y="160"/>
                </a:lnTo>
                <a:lnTo>
                  <a:pt x="20" y="160"/>
                </a:lnTo>
                <a:lnTo>
                  <a:pt x="30" y="170"/>
                </a:lnTo>
                <a:lnTo>
                  <a:pt x="36" y="174"/>
                </a:lnTo>
                <a:lnTo>
                  <a:pt x="40" y="178"/>
                </a:lnTo>
                <a:lnTo>
                  <a:pt x="42" y="182"/>
                </a:lnTo>
                <a:lnTo>
                  <a:pt x="42" y="182"/>
                </a:lnTo>
                <a:lnTo>
                  <a:pt x="46" y="188"/>
                </a:lnTo>
                <a:lnTo>
                  <a:pt x="50" y="192"/>
                </a:lnTo>
                <a:lnTo>
                  <a:pt x="54" y="196"/>
                </a:lnTo>
                <a:lnTo>
                  <a:pt x="58" y="202"/>
                </a:lnTo>
                <a:lnTo>
                  <a:pt x="58" y="202"/>
                </a:lnTo>
                <a:lnTo>
                  <a:pt x="60" y="204"/>
                </a:lnTo>
                <a:lnTo>
                  <a:pt x="62" y="206"/>
                </a:lnTo>
                <a:lnTo>
                  <a:pt x="66" y="210"/>
                </a:lnTo>
                <a:lnTo>
                  <a:pt x="70" y="220"/>
                </a:lnTo>
                <a:lnTo>
                  <a:pt x="70" y="220"/>
                </a:lnTo>
                <a:lnTo>
                  <a:pt x="76" y="234"/>
                </a:lnTo>
                <a:lnTo>
                  <a:pt x="82" y="248"/>
                </a:lnTo>
                <a:lnTo>
                  <a:pt x="88" y="262"/>
                </a:lnTo>
                <a:lnTo>
                  <a:pt x="92" y="274"/>
                </a:lnTo>
                <a:lnTo>
                  <a:pt x="92" y="274"/>
                </a:lnTo>
                <a:lnTo>
                  <a:pt x="96" y="286"/>
                </a:lnTo>
                <a:lnTo>
                  <a:pt x="100" y="290"/>
                </a:lnTo>
                <a:lnTo>
                  <a:pt x="104" y="296"/>
                </a:lnTo>
                <a:lnTo>
                  <a:pt x="106" y="304"/>
                </a:lnTo>
                <a:lnTo>
                  <a:pt x="106" y="304"/>
                </a:lnTo>
                <a:lnTo>
                  <a:pt x="108" y="310"/>
                </a:lnTo>
                <a:lnTo>
                  <a:pt x="110" y="314"/>
                </a:lnTo>
                <a:lnTo>
                  <a:pt x="112" y="316"/>
                </a:lnTo>
                <a:lnTo>
                  <a:pt x="112" y="320"/>
                </a:lnTo>
                <a:lnTo>
                  <a:pt x="112" y="320"/>
                </a:lnTo>
                <a:lnTo>
                  <a:pt x="110" y="322"/>
                </a:lnTo>
                <a:lnTo>
                  <a:pt x="112" y="326"/>
                </a:lnTo>
                <a:lnTo>
                  <a:pt x="116" y="336"/>
                </a:lnTo>
                <a:lnTo>
                  <a:pt x="122" y="344"/>
                </a:lnTo>
                <a:lnTo>
                  <a:pt x="124" y="350"/>
                </a:lnTo>
                <a:lnTo>
                  <a:pt x="124" y="350"/>
                </a:lnTo>
                <a:lnTo>
                  <a:pt x="122" y="350"/>
                </a:lnTo>
                <a:lnTo>
                  <a:pt x="120" y="348"/>
                </a:lnTo>
                <a:lnTo>
                  <a:pt x="118" y="348"/>
                </a:lnTo>
                <a:lnTo>
                  <a:pt x="118" y="350"/>
                </a:lnTo>
                <a:lnTo>
                  <a:pt x="118" y="350"/>
                </a:lnTo>
                <a:lnTo>
                  <a:pt x="122" y="356"/>
                </a:lnTo>
                <a:lnTo>
                  <a:pt x="128" y="360"/>
                </a:lnTo>
                <a:lnTo>
                  <a:pt x="134" y="364"/>
                </a:lnTo>
                <a:lnTo>
                  <a:pt x="138" y="372"/>
                </a:lnTo>
                <a:lnTo>
                  <a:pt x="138" y="372"/>
                </a:lnTo>
                <a:lnTo>
                  <a:pt x="144" y="376"/>
                </a:lnTo>
                <a:lnTo>
                  <a:pt x="150" y="380"/>
                </a:lnTo>
                <a:lnTo>
                  <a:pt x="156" y="386"/>
                </a:lnTo>
                <a:lnTo>
                  <a:pt x="162" y="392"/>
                </a:lnTo>
                <a:lnTo>
                  <a:pt x="162" y="392"/>
                </a:lnTo>
                <a:lnTo>
                  <a:pt x="170" y="398"/>
                </a:lnTo>
                <a:lnTo>
                  <a:pt x="178" y="400"/>
                </a:lnTo>
                <a:lnTo>
                  <a:pt x="186" y="404"/>
                </a:lnTo>
                <a:lnTo>
                  <a:pt x="196" y="410"/>
                </a:lnTo>
                <a:lnTo>
                  <a:pt x="196" y="410"/>
                </a:lnTo>
                <a:lnTo>
                  <a:pt x="220" y="422"/>
                </a:lnTo>
                <a:lnTo>
                  <a:pt x="236" y="430"/>
                </a:lnTo>
                <a:lnTo>
                  <a:pt x="242" y="436"/>
                </a:lnTo>
                <a:lnTo>
                  <a:pt x="244" y="440"/>
                </a:lnTo>
                <a:lnTo>
                  <a:pt x="244" y="440"/>
                </a:lnTo>
                <a:lnTo>
                  <a:pt x="248" y="444"/>
                </a:lnTo>
                <a:lnTo>
                  <a:pt x="252" y="448"/>
                </a:lnTo>
                <a:lnTo>
                  <a:pt x="262" y="458"/>
                </a:lnTo>
                <a:lnTo>
                  <a:pt x="262" y="458"/>
                </a:lnTo>
                <a:lnTo>
                  <a:pt x="272" y="454"/>
                </a:lnTo>
                <a:lnTo>
                  <a:pt x="274" y="452"/>
                </a:lnTo>
                <a:lnTo>
                  <a:pt x="272" y="450"/>
                </a:lnTo>
                <a:lnTo>
                  <a:pt x="272" y="448"/>
                </a:lnTo>
                <a:lnTo>
                  <a:pt x="272" y="446"/>
                </a:lnTo>
                <a:lnTo>
                  <a:pt x="276" y="446"/>
                </a:lnTo>
                <a:lnTo>
                  <a:pt x="276" y="446"/>
                </a:lnTo>
                <a:lnTo>
                  <a:pt x="278" y="438"/>
                </a:lnTo>
                <a:lnTo>
                  <a:pt x="278" y="436"/>
                </a:lnTo>
                <a:lnTo>
                  <a:pt x="276" y="434"/>
                </a:lnTo>
                <a:lnTo>
                  <a:pt x="278" y="430"/>
                </a:lnTo>
                <a:lnTo>
                  <a:pt x="278" y="430"/>
                </a:lnTo>
                <a:lnTo>
                  <a:pt x="282" y="424"/>
                </a:lnTo>
                <a:lnTo>
                  <a:pt x="282" y="422"/>
                </a:lnTo>
                <a:lnTo>
                  <a:pt x="282" y="418"/>
                </a:lnTo>
                <a:lnTo>
                  <a:pt x="286" y="412"/>
                </a:lnTo>
                <a:lnTo>
                  <a:pt x="286" y="412"/>
                </a:lnTo>
                <a:lnTo>
                  <a:pt x="288" y="406"/>
                </a:lnTo>
                <a:lnTo>
                  <a:pt x="288" y="402"/>
                </a:lnTo>
                <a:lnTo>
                  <a:pt x="286" y="396"/>
                </a:lnTo>
                <a:lnTo>
                  <a:pt x="282" y="390"/>
                </a:lnTo>
                <a:lnTo>
                  <a:pt x="282" y="388"/>
                </a:lnTo>
                <a:lnTo>
                  <a:pt x="284" y="384"/>
                </a:lnTo>
                <a:lnTo>
                  <a:pt x="284" y="384"/>
                </a:lnTo>
                <a:lnTo>
                  <a:pt x="284" y="382"/>
                </a:lnTo>
                <a:lnTo>
                  <a:pt x="284" y="380"/>
                </a:lnTo>
                <a:lnTo>
                  <a:pt x="280" y="376"/>
                </a:lnTo>
                <a:lnTo>
                  <a:pt x="278" y="374"/>
                </a:lnTo>
                <a:lnTo>
                  <a:pt x="276" y="372"/>
                </a:lnTo>
                <a:lnTo>
                  <a:pt x="276" y="368"/>
                </a:lnTo>
                <a:lnTo>
                  <a:pt x="280" y="362"/>
                </a:lnTo>
                <a:lnTo>
                  <a:pt x="280" y="362"/>
                </a:lnTo>
                <a:lnTo>
                  <a:pt x="280" y="358"/>
                </a:lnTo>
                <a:lnTo>
                  <a:pt x="280" y="354"/>
                </a:lnTo>
                <a:lnTo>
                  <a:pt x="278" y="344"/>
                </a:lnTo>
                <a:lnTo>
                  <a:pt x="276" y="334"/>
                </a:lnTo>
                <a:lnTo>
                  <a:pt x="276" y="328"/>
                </a:lnTo>
                <a:lnTo>
                  <a:pt x="278" y="324"/>
                </a:lnTo>
                <a:lnTo>
                  <a:pt x="278" y="324"/>
                </a:lnTo>
                <a:lnTo>
                  <a:pt x="280" y="318"/>
                </a:lnTo>
                <a:lnTo>
                  <a:pt x="282" y="316"/>
                </a:lnTo>
                <a:lnTo>
                  <a:pt x="278" y="306"/>
                </a:lnTo>
                <a:lnTo>
                  <a:pt x="268" y="296"/>
                </a:lnTo>
                <a:lnTo>
                  <a:pt x="256" y="278"/>
                </a:lnTo>
                <a:lnTo>
                  <a:pt x="256" y="278"/>
                </a:lnTo>
                <a:lnTo>
                  <a:pt x="250" y="280"/>
                </a:lnTo>
                <a:lnTo>
                  <a:pt x="246" y="282"/>
                </a:lnTo>
                <a:lnTo>
                  <a:pt x="244" y="280"/>
                </a:lnTo>
                <a:lnTo>
                  <a:pt x="242" y="280"/>
                </a:lnTo>
                <a:lnTo>
                  <a:pt x="240" y="272"/>
                </a:lnTo>
                <a:lnTo>
                  <a:pt x="238" y="264"/>
                </a:lnTo>
                <a:lnTo>
                  <a:pt x="238" y="264"/>
                </a:lnTo>
                <a:lnTo>
                  <a:pt x="236" y="252"/>
                </a:lnTo>
                <a:lnTo>
                  <a:pt x="236" y="248"/>
                </a:lnTo>
                <a:lnTo>
                  <a:pt x="238" y="244"/>
                </a:lnTo>
                <a:lnTo>
                  <a:pt x="238" y="244"/>
                </a:lnTo>
                <a:lnTo>
                  <a:pt x="240" y="240"/>
                </a:lnTo>
                <a:lnTo>
                  <a:pt x="238" y="238"/>
                </a:lnTo>
                <a:lnTo>
                  <a:pt x="236" y="236"/>
                </a:lnTo>
                <a:lnTo>
                  <a:pt x="234" y="238"/>
                </a:lnTo>
                <a:lnTo>
                  <a:pt x="234" y="238"/>
                </a:lnTo>
                <a:lnTo>
                  <a:pt x="222" y="248"/>
                </a:lnTo>
                <a:lnTo>
                  <a:pt x="218" y="250"/>
                </a:lnTo>
                <a:lnTo>
                  <a:pt x="208" y="250"/>
                </a:lnTo>
                <a:lnTo>
                  <a:pt x="208" y="250"/>
                </a:lnTo>
                <a:lnTo>
                  <a:pt x="202" y="250"/>
                </a:lnTo>
                <a:lnTo>
                  <a:pt x="198" y="248"/>
                </a:lnTo>
                <a:lnTo>
                  <a:pt x="196" y="248"/>
                </a:lnTo>
                <a:lnTo>
                  <a:pt x="194" y="246"/>
                </a:lnTo>
                <a:lnTo>
                  <a:pt x="194" y="242"/>
                </a:lnTo>
                <a:lnTo>
                  <a:pt x="192" y="240"/>
                </a:lnTo>
                <a:lnTo>
                  <a:pt x="190" y="240"/>
                </a:lnTo>
                <a:lnTo>
                  <a:pt x="190" y="240"/>
                </a:lnTo>
                <a:lnTo>
                  <a:pt x="184" y="240"/>
                </a:lnTo>
                <a:lnTo>
                  <a:pt x="186" y="236"/>
                </a:lnTo>
                <a:lnTo>
                  <a:pt x="188" y="232"/>
                </a:lnTo>
                <a:lnTo>
                  <a:pt x="186" y="230"/>
                </a:lnTo>
                <a:lnTo>
                  <a:pt x="184" y="226"/>
                </a:lnTo>
                <a:lnTo>
                  <a:pt x="184" y="226"/>
                </a:lnTo>
                <a:lnTo>
                  <a:pt x="180" y="220"/>
                </a:lnTo>
                <a:lnTo>
                  <a:pt x="176" y="212"/>
                </a:lnTo>
                <a:lnTo>
                  <a:pt x="174" y="204"/>
                </a:lnTo>
                <a:lnTo>
                  <a:pt x="170" y="198"/>
                </a:lnTo>
                <a:lnTo>
                  <a:pt x="170" y="198"/>
                </a:lnTo>
                <a:lnTo>
                  <a:pt x="166" y="190"/>
                </a:lnTo>
                <a:lnTo>
                  <a:pt x="166" y="188"/>
                </a:lnTo>
                <a:lnTo>
                  <a:pt x="168" y="186"/>
                </a:lnTo>
                <a:lnTo>
                  <a:pt x="168" y="186"/>
                </a:lnTo>
                <a:lnTo>
                  <a:pt x="168" y="186"/>
                </a:lnTo>
                <a:lnTo>
                  <a:pt x="166" y="182"/>
                </a:lnTo>
                <a:lnTo>
                  <a:pt x="166" y="178"/>
                </a:lnTo>
                <a:lnTo>
                  <a:pt x="168" y="174"/>
                </a:lnTo>
                <a:lnTo>
                  <a:pt x="170" y="172"/>
                </a:lnTo>
                <a:lnTo>
                  <a:pt x="176" y="166"/>
                </a:lnTo>
                <a:lnTo>
                  <a:pt x="178" y="164"/>
                </a:lnTo>
                <a:lnTo>
                  <a:pt x="180" y="158"/>
                </a:lnTo>
                <a:lnTo>
                  <a:pt x="180" y="158"/>
                </a:lnTo>
                <a:lnTo>
                  <a:pt x="182" y="150"/>
                </a:lnTo>
                <a:lnTo>
                  <a:pt x="184" y="144"/>
                </a:lnTo>
                <a:lnTo>
                  <a:pt x="186" y="140"/>
                </a:lnTo>
                <a:lnTo>
                  <a:pt x="188" y="136"/>
                </a:lnTo>
                <a:lnTo>
                  <a:pt x="188" y="136"/>
                </a:lnTo>
                <a:lnTo>
                  <a:pt x="190" y="132"/>
                </a:lnTo>
                <a:lnTo>
                  <a:pt x="194" y="128"/>
                </a:lnTo>
                <a:lnTo>
                  <a:pt x="198" y="124"/>
                </a:lnTo>
                <a:lnTo>
                  <a:pt x="204" y="120"/>
                </a:lnTo>
                <a:lnTo>
                  <a:pt x="204" y="120"/>
                </a:lnTo>
                <a:lnTo>
                  <a:pt x="212" y="112"/>
                </a:lnTo>
                <a:lnTo>
                  <a:pt x="218" y="108"/>
                </a:lnTo>
                <a:lnTo>
                  <a:pt x="224" y="108"/>
                </a:lnTo>
                <a:lnTo>
                  <a:pt x="226" y="104"/>
                </a:lnTo>
                <a:lnTo>
                  <a:pt x="226" y="104"/>
                </a:lnTo>
                <a:lnTo>
                  <a:pt x="230" y="102"/>
                </a:lnTo>
                <a:lnTo>
                  <a:pt x="232" y="102"/>
                </a:lnTo>
                <a:lnTo>
                  <a:pt x="234" y="102"/>
                </a:lnTo>
                <a:lnTo>
                  <a:pt x="238" y="98"/>
                </a:lnTo>
                <a:lnTo>
                  <a:pt x="238" y="98"/>
                </a:lnTo>
                <a:lnTo>
                  <a:pt x="228" y="92"/>
                </a:lnTo>
                <a:lnTo>
                  <a:pt x="226" y="88"/>
                </a:lnTo>
                <a:lnTo>
                  <a:pt x="228" y="84"/>
                </a:lnTo>
                <a:lnTo>
                  <a:pt x="232" y="74"/>
                </a:lnTo>
                <a:lnTo>
                  <a:pt x="232" y="74"/>
                </a:lnTo>
                <a:lnTo>
                  <a:pt x="236" y="70"/>
                </a:lnTo>
                <a:lnTo>
                  <a:pt x="236" y="64"/>
                </a:lnTo>
                <a:lnTo>
                  <a:pt x="236" y="60"/>
                </a:lnTo>
                <a:lnTo>
                  <a:pt x="234" y="58"/>
                </a:lnTo>
                <a:lnTo>
                  <a:pt x="230" y="56"/>
                </a:lnTo>
                <a:lnTo>
                  <a:pt x="228" y="56"/>
                </a:lnTo>
                <a:lnTo>
                  <a:pt x="222" y="58"/>
                </a:lnTo>
                <a:lnTo>
                  <a:pt x="222" y="58"/>
                </a:lnTo>
                <a:lnTo>
                  <a:pt x="218" y="60"/>
                </a:lnTo>
                <a:lnTo>
                  <a:pt x="216" y="58"/>
                </a:lnTo>
                <a:lnTo>
                  <a:pt x="210" y="56"/>
                </a:lnTo>
                <a:lnTo>
                  <a:pt x="204" y="54"/>
                </a:lnTo>
                <a:lnTo>
                  <a:pt x="202" y="56"/>
                </a:lnTo>
                <a:lnTo>
                  <a:pt x="196" y="58"/>
                </a:lnTo>
                <a:lnTo>
                  <a:pt x="196" y="58"/>
                </a:lnTo>
                <a:lnTo>
                  <a:pt x="188" y="60"/>
                </a:lnTo>
                <a:lnTo>
                  <a:pt x="184" y="60"/>
                </a:lnTo>
                <a:lnTo>
                  <a:pt x="178" y="58"/>
                </a:lnTo>
                <a:lnTo>
                  <a:pt x="174" y="58"/>
                </a:lnTo>
                <a:lnTo>
                  <a:pt x="174" y="58"/>
                </a:lnTo>
                <a:lnTo>
                  <a:pt x="170" y="46"/>
                </a:lnTo>
                <a:lnTo>
                  <a:pt x="168" y="40"/>
                </a:lnTo>
                <a:lnTo>
                  <a:pt x="164" y="38"/>
                </a:lnTo>
                <a:lnTo>
                  <a:pt x="162" y="34"/>
                </a:lnTo>
                <a:lnTo>
                  <a:pt x="162" y="34"/>
                </a:lnTo>
                <a:lnTo>
                  <a:pt x="160" y="30"/>
                </a:lnTo>
                <a:lnTo>
                  <a:pt x="160" y="28"/>
                </a:lnTo>
                <a:lnTo>
                  <a:pt x="154" y="26"/>
                </a:lnTo>
                <a:lnTo>
                  <a:pt x="150" y="24"/>
                </a:lnTo>
                <a:lnTo>
                  <a:pt x="148" y="20"/>
                </a:lnTo>
                <a:lnTo>
                  <a:pt x="146" y="16"/>
                </a:lnTo>
                <a:lnTo>
                  <a:pt x="146" y="16"/>
                </a:lnTo>
                <a:lnTo>
                  <a:pt x="144" y="8"/>
                </a:lnTo>
                <a:lnTo>
                  <a:pt x="138" y="2"/>
                </a:lnTo>
                <a:lnTo>
                  <a:pt x="132" y="0"/>
                </a:lnTo>
                <a:lnTo>
                  <a:pt x="126" y="0"/>
                </a:lnTo>
                <a:lnTo>
                  <a:pt x="126" y="0"/>
                </a:lnTo>
                <a:lnTo>
                  <a:pt x="128" y="16"/>
                </a:lnTo>
                <a:lnTo>
                  <a:pt x="128" y="24"/>
                </a:lnTo>
                <a:lnTo>
                  <a:pt x="122" y="32"/>
                </a:lnTo>
                <a:lnTo>
                  <a:pt x="122" y="32"/>
                </a:lnTo>
                <a:lnTo>
                  <a:pt x="114" y="42"/>
                </a:lnTo>
                <a:lnTo>
                  <a:pt x="108" y="52"/>
                </a:lnTo>
                <a:lnTo>
                  <a:pt x="98" y="60"/>
                </a:lnTo>
                <a:lnTo>
                  <a:pt x="84" y="68"/>
                </a:lnTo>
                <a:lnTo>
                  <a:pt x="84" y="68"/>
                </a:lnTo>
                <a:lnTo>
                  <a:pt x="74" y="72"/>
                </a:lnTo>
                <a:lnTo>
                  <a:pt x="72" y="74"/>
                </a:lnTo>
                <a:lnTo>
                  <a:pt x="70" y="76"/>
                </a:lnTo>
                <a:lnTo>
                  <a:pt x="66" y="80"/>
                </a:lnTo>
                <a:lnTo>
                  <a:pt x="66" y="80"/>
                </a:lnTo>
                <a:lnTo>
                  <a:pt x="60" y="84"/>
                </a:lnTo>
                <a:lnTo>
                  <a:pt x="60" y="88"/>
                </a:lnTo>
                <a:lnTo>
                  <a:pt x="60" y="92"/>
                </a:lnTo>
                <a:lnTo>
                  <a:pt x="58" y="96"/>
                </a:lnTo>
                <a:lnTo>
                  <a:pt x="54" y="100"/>
                </a:lnTo>
                <a:lnTo>
                  <a:pt x="54" y="100"/>
                </a:lnTo>
                <a:lnTo>
                  <a:pt x="50" y="104"/>
                </a:lnTo>
                <a:lnTo>
                  <a:pt x="46" y="106"/>
                </a:lnTo>
                <a:lnTo>
                  <a:pt x="42" y="104"/>
                </a:lnTo>
                <a:lnTo>
                  <a:pt x="38" y="102"/>
                </a:lnTo>
                <a:lnTo>
                  <a:pt x="32" y="98"/>
                </a:lnTo>
                <a:lnTo>
                  <a:pt x="30" y="98"/>
                </a:lnTo>
                <a:lnTo>
                  <a:pt x="28" y="98"/>
                </a:lnTo>
                <a:lnTo>
                  <a:pt x="28" y="98"/>
                </a:lnTo>
                <a:lnTo>
                  <a:pt x="20" y="100"/>
                </a:lnTo>
                <a:lnTo>
                  <a:pt x="18" y="98"/>
                </a:lnTo>
                <a:lnTo>
                  <a:pt x="16" y="94"/>
                </a:lnTo>
                <a:lnTo>
                  <a:pt x="18" y="86"/>
                </a:lnTo>
                <a:lnTo>
                  <a:pt x="18" y="86"/>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53" name="Philippines"/>
          <p:cNvSpPr>
            <a:spLocks/>
          </p:cNvSpPr>
          <p:nvPr/>
        </p:nvSpPr>
        <p:spPr bwMode="auto">
          <a:xfrm>
            <a:off x="7143858" y="2210772"/>
            <a:ext cx="232439" cy="386941"/>
          </a:xfrm>
          <a:custGeom>
            <a:avLst/>
            <a:gdLst/>
            <a:ahLst/>
            <a:cxnLst/>
            <a:rect l="l" t="t" r="r" b="b"/>
            <a:pathLst>
              <a:path w="269874" h="449791">
                <a:moveTo>
                  <a:pt x="132292" y="410104"/>
                </a:moveTo>
                <a:lnTo>
                  <a:pt x="137584" y="410104"/>
                </a:lnTo>
                <a:lnTo>
                  <a:pt x="142875" y="412750"/>
                </a:lnTo>
                <a:lnTo>
                  <a:pt x="145521" y="415396"/>
                </a:lnTo>
                <a:lnTo>
                  <a:pt x="142875" y="418042"/>
                </a:lnTo>
                <a:lnTo>
                  <a:pt x="140230" y="420687"/>
                </a:lnTo>
                <a:lnTo>
                  <a:pt x="137584" y="423333"/>
                </a:lnTo>
                <a:lnTo>
                  <a:pt x="134938" y="423333"/>
                </a:lnTo>
                <a:lnTo>
                  <a:pt x="132292" y="420687"/>
                </a:lnTo>
                <a:lnTo>
                  <a:pt x="127000" y="415396"/>
                </a:lnTo>
                <a:lnTo>
                  <a:pt x="127000" y="412750"/>
                </a:lnTo>
                <a:lnTo>
                  <a:pt x="129646" y="412750"/>
                </a:lnTo>
                <a:close/>
                <a:moveTo>
                  <a:pt x="232833" y="306916"/>
                </a:moveTo>
                <a:lnTo>
                  <a:pt x="240770" y="314854"/>
                </a:lnTo>
                <a:lnTo>
                  <a:pt x="246062" y="320145"/>
                </a:lnTo>
                <a:lnTo>
                  <a:pt x="248708" y="322791"/>
                </a:lnTo>
                <a:lnTo>
                  <a:pt x="251353" y="325437"/>
                </a:lnTo>
                <a:lnTo>
                  <a:pt x="248708" y="328083"/>
                </a:lnTo>
                <a:lnTo>
                  <a:pt x="251353" y="330729"/>
                </a:lnTo>
                <a:lnTo>
                  <a:pt x="253999" y="328083"/>
                </a:lnTo>
                <a:lnTo>
                  <a:pt x="253999" y="333374"/>
                </a:lnTo>
                <a:lnTo>
                  <a:pt x="251353" y="336020"/>
                </a:lnTo>
                <a:lnTo>
                  <a:pt x="253999" y="338666"/>
                </a:lnTo>
                <a:lnTo>
                  <a:pt x="256645" y="341312"/>
                </a:lnTo>
                <a:lnTo>
                  <a:pt x="259291" y="343958"/>
                </a:lnTo>
                <a:lnTo>
                  <a:pt x="259291" y="346604"/>
                </a:lnTo>
                <a:lnTo>
                  <a:pt x="256645" y="349249"/>
                </a:lnTo>
                <a:lnTo>
                  <a:pt x="253999" y="351895"/>
                </a:lnTo>
                <a:lnTo>
                  <a:pt x="253999" y="354541"/>
                </a:lnTo>
                <a:lnTo>
                  <a:pt x="256645" y="354541"/>
                </a:lnTo>
                <a:lnTo>
                  <a:pt x="259291" y="354541"/>
                </a:lnTo>
                <a:lnTo>
                  <a:pt x="261937" y="354541"/>
                </a:lnTo>
                <a:lnTo>
                  <a:pt x="261937" y="357187"/>
                </a:lnTo>
                <a:lnTo>
                  <a:pt x="261937" y="359833"/>
                </a:lnTo>
                <a:lnTo>
                  <a:pt x="264583" y="359833"/>
                </a:lnTo>
                <a:lnTo>
                  <a:pt x="264583" y="362479"/>
                </a:lnTo>
                <a:lnTo>
                  <a:pt x="264583" y="367770"/>
                </a:lnTo>
                <a:lnTo>
                  <a:pt x="261937" y="370416"/>
                </a:lnTo>
                <a:lnTo>
                  <a:pt x="264583" y="373062"/>
                </a:lnTo>
                <a:lnTo>
                  <a:pt x="267228" y="375708"/>
                </a:lnTo>
                <a:lnTo>
                  <a:pt x="269874" y="380999"/>
                </a:lnTo>
                <a:lnTo>
                  <a:pt x="267228" y="386291"/>
                </a:lnTo>
                <a:lnTo>
                  <a:pt x="267228" y="388937"/>
                </a:lnTo>
                <a:lnTo>
                  <a:pt x="264583" y="394229"/>
                </a:lnTo>
                <a:lnTo>
                  <a:pt x="261937" y="394229"/>
                </a:lnTo>
                <a:lnTo>
                  <a:pt x="259291" y="396874"/>
                </a:lnTo>
                <a:lnTo>
                  <a:pt x="261937" y="402166"/>
                </a:lnTo>
                <a:lnTo>
                  <a:pt x="261937" y="407458"/>
                </a:lnTo>
                <a:lnTo>
                  <a:pt x="261937" y="412749"/>
                </a:lnTo>
                <a:lnTo>
                  <a:pt x="261937" y="415395"/>
                </a:lnTo>
                <a:lnTo>
                  <a:pt x="259291" y="410104"/>
                </a:lnTo>
                <a:lnTo>
                  <a:pt x="256645" y="404812"/>
                </a:lnTo>
                <a:lnTo>
                  <a:pt x="256645" y="402166"/>
                </a:lnTo>
                <a:lnTo>
                  <a:pt x="256645" y="399520"/>
                </a:lnTo>
                <a:lnTo>
                  <a:pt x="253999" y="396874"/>
                </a:lnTo>
                <a:lnTo>
                  <a:pt x="251353" y="394229"/>
                </a:lnTo>
                <a:lnTo>
                  <a:pt x="251353" y="388937"/>
                </a:lnTo>
                <a:lnTo>
                  <a:pt x="248708" y="383645"/>
                </a:lnTo>
                <a:lnTo>
                  <a:pt x="248708" y="380999"/>
                </a:lnTo>
                <a:lnTo>
                  <a:pt x="246062" y="383645"/>
                </a:lnTo>
                <a:lnTo>
                  <a:pt x="246062" y="388937"/>
                </a:lnTo>
                <a:lnTo>
                  <a:pt x="246062" y="394229"/>
                </a:lnTo>
                <a:lnTo>
                  <a:pt x="243416" y="396874"/>
                </a:lnTo>
                <a:lnTo>
                  <a:pt x="240770" y="396874"/>
                </a:lnTo>
                <a:lnTo>
                  <a:pt x="240770" y="399520"/>
                </a:lnTo>
                <a:lnTo>
                  <a:pt x="240770" y="402166"/>
                </a:lnTo>
                <a:lnTo>
                  <a:pt x="240770" y="404812"/>
                </a:lnTo>
                <a:lnTo>
                  <a:pt x="238124" y="407458"/>
                </a:lnTo>
                <a:lnTo>
                  <a:pt x="240770" y="410104"/>
                </a:lnTo>
                <a:lnTo>
                  <a:pt x="240770" y="412749"/>
                </a:lnTo>
                <a:lnTo>
                  <a:pt x="243416" y="412749"/>
                </a:lnTo>
                <a:lnTo>
                  <a:pt x="246062" y="412749"/>
                </a:lnTo>
                <a:lnTo>
                  <a:pt x="248708" y="412749"/>
                </a:lnTo>
                <a:lnTo>
                  <a:pt x="251353" y="418041"/>
                </a:lnTo>
                <a:lnTo>
                  <a:pt x="253999" y="420687"/>
                </a:lnTo>
                <a:lnTo>
                  <a:pt x="253999" y="428624"/>
                </a:lnTo>
                <a:lnTo>
                  <a:pt x="253999" y="431270"/>
                </a:lnTo>
                <a:lnTo>
                  <a:pt x="253999" y="436562"/>
                </a:lnTo>
                <a:lnTo>
                  <a:pt x="246062" y="441854"/>
                </a:lnTo>
                <a:lnTo>
                  <a:pt x="246062" y="444499"/>
                </a:lnTo>
                <a:lnTo>
                  <a:pt x="246062" y="447145"/>
                </a:lnTo>
                <a:lnTo>
                  <a:pt x="243416" y="449791"/>
                </a:lnTo>
                <a:lnTo>
                  <a:pt x="238124" y="447145"/>
                </a:lnTo>
                <a:lnTo>
                  <a:pt x="235478" y="444499"/>
                </a:lnTo>
                <a:lnTo>
                  <a:pt x="232833" y="441854"/>
                </a:lnTo>
                <a:lnTo>
                  <a:pt x="235478" y="441854"/>
                </a:lnTo>
                <a:lnTo>
                  <a:pt x="235478" y="433916"/>
                </a:lnTo>
                <a:lnTo>
                  <a:pt x="235478" y="431270"/>
                </a:lnTo>
                <a:lnTo>
                  <a:pt x="232833" y="433916"/>
                </a:lnTo>
                <a:lnTo>
                  <a:pt x="232833" y="436562"/>
                </a:lnTo>
                <a:lnTo>
                  <a:pt x="230187" y="436562"/>
                </a:lnTo>
                <a:lnTo>
                  <a:pt x="224895" y="433916"/>
                </a:lnTo>
                <a:lnTo>
                  <a:pt x="216958" y="431270"/>
                </a:lnTo>
                <a:lnTo>
                  <a:pt x="209020" y="428624"/>
                </a:lnTo>
                <a:lnTo>
                  <a:pt x="201083" y="423333"/>
                </a:lnTo>
                <a:lnTo>
                  <a:pt x="195791" y="418041"/>
                </a:lnTo>
                <a:lnTo>
                  <a:pt x="193145" y="415395"/>
                </a:lnTo>
                <a:lnTo>
                  <a:pt x="193145" y="412749"/>
                </a:lnTo>
                <a:lnTo>
                  <a:pt x="195791" y="410104"/>
                </a:lnTo>
                <a:lnTo>
                  <a:pt x="193145" y="407458"/>
                </a:lnTo>
                <a:lnTo>
                  <a:pt x="190499" y="402166"/>
                </a:lnTo>
                <a:lnTo>
                  <a:pt x="190499" y="399520"/>
                </a:lnTo>
                <a:lnTo>
                  <a:pt x="190499" y="394229"/>
                </a:lnTo>
                <a:lnTo>
                  <a:pt x="190499" y="388937"/>
                </a:lnTo>
                <a:lnTo>
                  <a:pt x="193145" y="386291"/>
                </a:lnTo>
                <a:lnTo>
                  <a:pt x="195791" y="386291"/>
                </a:lnTo>
                <a:lnTo>
                  <a:pt x="198437" y="383645"/>
                </a:lnTo>
                <a:lnTo>
                  <a:pt x="198437" y="380999"/>
                </a:lnTo>
                <a:lnTo>
                  <a:pt x="201083" y="380999"/>
                </a:lnTo>
                <a:lnTo>
                  <a:pt x="201083" y="378354"/>
                </a:lnTo>
                <a:lnTo>
                  <a:pt x="198437" y="375708"/>
                </a:lnTo>
                <a:lnTo>
                  <a:pt x="190499" y="367770"/>
                </a:lnTo>
                <a:lnTo>
                  <a:pt x="185208" y="365124"/>
                </a:lnTo>
                <a:lnTo>
                  <a:pt x="182562" y="365124"/>
                </a:lnTo>
                <a:lnTo>
                  <a:pt x="182562" y="367770"/>
                </a:lnTo>
                <a:lnTo>
                  <a:pt x="185208" y="370416"/>
                </a:lnTo>
                <a:lnTo>
                  <a:pt x="182562" y="373062"/>
                </a:lnTo>
                <a:lnTo>
                  <a:pt x="182562" y="375708"/>
                </a:lnTo>
                <a:lnTo>
                  <a:pt x="185208" y="378354"/>
                </a:lnTo>
                <a:lnTo>
                  <a:pt x="182562" y="380999"/>
                </a:lnTo>
                <a:lnTo>
                  <a:pt x="179916" y="378354"/>
                </a:lnTo>
                <a:lnTo>
                  <a:pt x="177270" y="375708"/>
                </a:lnTo>
                <a:lnTo>
                  <a:pt x="174624" y="378354"/>
                </a:lnTo>
                <a:lnTo>
                  <a:pt x="174624" y="380999"/>
                </a:lnTo>
                <a:lnTo>
                  <a:pt x="171979" y="380999"/>
                </a:lnTo>
                <a:lnTo>
                  <a:pt x="169333" y="378354"/>
                </a:lnTo>
                <a:lnTo>
                  <a:pt x="166687" y="378354"/>
                </a:lnTo>
                <a:lnTo>
                  <a:pt x="164041" y="375708"/>
                </a:lnTo>
                <a:lnTo>
                  <a:pt x="161395" y="373062"/>
                </a:lnTo>
                <a:lnTo>
                  <a:pt x="161395" y="370416"/>
                </a:lnTo>
                <a:lnTo>
                  <a:pt x="161395" y="367770"/>
                </a:lnTo>
                <a:lnTo>
                  <a:pt x="158750" y="367770"/>
                </a:lnTo>
                <a:lnTo>
                  <a:pt x="156104" y="367770"/>
                </a:lnTo>
                <a:lnTo>
                  <a:pt x="153458" y="370416"/>
                </a:lnTo>
                <a:lnTo>
                  <a:pt x="150812" y="373062"/>
                </a:lnTo>
                <a:lnTo>
                  <a:pt x="150812" y="380999"/>
                </a:lnTo>
                <a:lnTo>
                  <a:pt x="150812" y="383645"/>
                </a:lnTo>
                <a:lnTo>
                  <a:pt x="150812" y="388937"/>
                </a:lnTo>
                <a:lnTo>
                  <a:pt x="148166" y="394229"/>
                </a:lnTo>
                <a:lnTo>
                  <a:pt x="145520" y="396874"/>
                </a:lnTo>
                <a:lnTo>
                  <a:pt x="142875" y="399520"/>
                </a:lnTo>
                <a:lnTo>
                  <a:pt x="134937" y="399520"/>
                </a:lnTo>
                <a:lnTo>
                  <a:pt x="132291" y="399520"/>
                </a:lnTo>
                <a:lnTo>
                  <a:pt x="132291" y="396874"/>
                </a:lnTo>
                <a:lnTo>
                  <a:pt x="132291" y="391583"/>
                </a:lnTo>
                <a:lnTo>
                  <a:pt x="132291" y="388937"/>
                </a:lnTo>
                <a:lnTo>
                  <a:pt x="137583" y="388937"/>
                </a:lnTo>
                <a:lnTo>
                  <a:pt x="137583" y="386291"/>
                </a:lnTo>
                <a:lnTo>
                  <a:pt x="134937" y="386291"/>
                </a:lnTo>
                <a:lnTo>
                  <a:pt x="134937" y="383645"/>
                </a:lnTo>
                <a:lnTo>
                  <a:pt x="137583" y="380999"/>
                </a:lnTo>
                <a:lnTo>
                  <a:pt x="137583" y="378354"/>
                </a:lnTo>
                <a:lnTo>
                  <a:pt x="140229" y="375708"/>
                </a:lnTo>
                <a:lnTo>
                  <a:pt x="137583" y="370416"/>
                </a:lnTo>
                <a:lnTo>
                  <a:pt x="137583" y="365124"/>
                </a:lnTo>
                <a:lnTo>
                  <a:pt x="140229" y="362479"/>
                </a:lnTo>
                <a:lnTo>
                  <a:pt x="145520" y="359833"/>
                </a:lnTo>
                <a:lnTo>
                  <a:pt x="150812" y="357187"/>
                </a:lnTo>
                <a:lnTo>
                  <a:pt x="158750" y="357187"/>
                </a:lnTo>
                <a:lnTo>
                  <a:pt x="161395" y="354541"/>
                </a:lnTo>
                <a:lnTo>
                  <a:pt x="158750" y="351895"/>
                </a:lnTo>
                <a:lnTo>
                  <a:pt x="158750" y="349249"/>
                </a:lnTo>
                <a:lnTo>
                  <a:pt x="161395" y="349249"/>
                </a:lnTo>
                <a:lnTo>
                  <a:pt x="161395" y="346604"/>
                </a:lnTo>
                <a:lnTo>
                  <a:pt x="158750" y="346604"/>
                </a:lnTo>
                <a:lnTo>
                  <a:pt x="161395" y="343958"/>
                </a:lnTo>
                <a:lnTo>
                  <a:pt x="164041" y="343958"/>
                </a:lnTo>
                <a:lnTo>
                  <a:pt x="164041" y="341312"/>
                </a:lnTo>
                <a:lnTo>
                  <a:pt x="169333" y="341312"/>
                </a:lnTo>
                <a:lnTo>
                  <a:pt x="171979" y="341312"/>
                </a:lnTo>
                <a:lnTo>
                  <a:pt x="174624" y="338666"/>
                </a:lnTo>
                <a:lnTo>
                  <a:pt x="177270" y="338666"/>
                </a:lnTo>
                <a:lnTo>
                  <a:pt x="177270" y="336020"/>
                </a:lnTo>
                <a:lnTo>
                  <a:pt x="182562" y="336020"/>
                </a:lnTo>
                <a:lnTo>
                  <a:pt x="185208" y="338666"/>
                </a:lnTo>
                <a:lnTo>
                  <a:pt x="187854" y="341312"/>
                </a:lnTo>
                <a:lnTo>
                  <a:pt x="187854" y="349249"/>
                </a:lnTo>
                <a:lnTo>
                  <a:pt x="187854" y="351895"/>
                </a:lnTo>
                <a:lnTo>
                  <a:pt x="185208" y="351895"/>
                </a:lnTo>
                <a:lnTo>
                  <a:pt x="182562" y="351895"/>
                </a:lnTo>
                <a:lnTo>
                  <a:pt x="182562" y="354541"/>
                </a:lnTo>
                <a:lnTo>
                  <a:pt x="185208" y="354541"/>
                </a:lnTo>
                <a:lnTo>
                  <a:pt x="190499" y="351895"/>
                </a:lnTo>
                <a:lnTo>
                  <a:pt x="195791" y="349249"/>
                </a:lnTo>
                <a:lnTo>
                  <a:pt x="195791" y="346604"/>
                </a:lnTo>
                <a:lnTo>
                  <a:pt x="195791" y="341312"/>
                </a:lnTo>
                <a:lnTo>
                  <a:pt x="198437" y="341312"/>
                </a:lnTo>
                <a:lnTo>
                  <a:pt x="201083" y="343958"/>
                </a:lnTo>
                <a:lnTo>
                  <a:pt x="206374" y="343958"/>
                </a:lnTo>
                <a:lnTo>
                  <a:pt x="206374" y="341312"/>
                </a:lnTo>
                <a:lnTo>
                  <a:pt x="209020" y="336020"/>
                </a:lnTo>
                <a:lnTo>
                  <a:pt x="211666" y="336020"/>
                </a:lnTo>
                <a:lnTo>
                  <a:pt x="214312" y="338666"/>
                </a:lnTo>
                <a:lnTo>
                  <a:pt x="216958" y="338666"/>
                </a:lnTo>
                <a:lnTo>
                  <a:pt x="219604" y="333374"/>
                </a:lnTo>
                <a:lnTo>
                  <a:pt x="219604" y="330729"/>
                </a:lnTo>
                <a:lnTo>
                  <a:pt x="222249" y="330729"/>
                </a:lnTo>
                <a:lnTo>
                  <a:pt x="224895" y="333374"/>
                </a:lnTo>
                <a:lnTo>
                  <a:pt x="227541" y="333374"/>
                </a:lnTo>
                <a:lnTo>
                  <a:pt x="230187" y="333374"/>
                </a:lnTo>
                <a:lnTo>
                  <a:pt x="230187" y="330729"/>
                </a:lnTo>
                <a:lnTo>
                  <a:pt x="230187" y="325437"/>
                </a:lnTo>
                <a:lnTo>
                  <a:pt x="230187" y="317499"/>
                </a:lnTo>
                <a:lnTo>
                  <a:pt x="230187" y="312208"/>
                </a:lnTo>
                <a:lnTo>
                  <a:pt x="232833" y="309562"/>
                </a:lnTo>
                <a:close/>
                <a:moveTo>
                  <a:pt x="195791" y="298979"/>
                </a:moveTo>
                <a:lnTo>
                  <a:pt x="201083" y="301625"/>
                </a:lnTo>
                <a:lnTo>
                  <a:pt x="203728" y="301625"/>
                </a:lnTo>
                <a:lnTo>
                  <a:pt x="206374" y="304271"/>
                </a:lnTo>
                <a:lnTo>
                  <a:pt x="206374" y="306917"/>
                </a:lnTo>
                <a:lnTo>
                  <a:pt x="203728" y="309563"/>
                </a:lnTo>
                <a:lnTo>
                  <a:pt x="206374" y="312208"/>
                </a:lnTo>
                <a:lnTo>
                  <a:pt x="203728" y="312208"/>
                </a:lnTo>
                <a:lnTo>
                  <a:pt x="201083" y="314854"/>
                </a:lnTo>
                <a:lnTo>
                  <a:pt x="198437" y="317500"/>
                </a:lnTo>
                <a:lnTo>
                  <a:pt x="193145" y="317500"/>
                </a:lnTo>
                <a:lnTo>
                  <a:pt x="182562" y="317500"/>
                </a:lnTo>
                <a:lnTo>
                  <a:pt x="179916" y="317500"/>
                </a:lnTo>
                <a:lnTo>
                  <a:pt x="177270" y="317500"/>
                </a:lnTo>
                <a:lnTo>
                  <a:pt x="179916" y="314854"/>
                </a:lnTo>
                <a:lnTo>
                  <a:pt x="182562" y="314854"/>
                </a:lnTo>
                <a:lnTo>
                  <a:pt x="182562" y="312208"/>
                </a:lnTo>
                <a:lnTo>
                  <a:pt x="182562" y="309563"/>
                </a:lnTo>
                <a:lnTo>
                  <a:pt x="185208" y="306917"/>
                </a:lnTo>
                <a:lnTo>
                  <a:pt x="187854" y="306917"/>
                </a:lnTo>
                <a:lnTo>
                  <a:pt x="190499" y="301625"/>
                </a:lnTo>
                <a:close/>
                <a:moveTo>
                  <a:pt x="156104" y="264583"/>
                </a:moveTo>
                <a:lnTo>
                  <a:pt x="158750" y="264583"/>
                </a:lnTo>
                <a:lnTo>
                  <a:pt x="164042" y="267229"/>
                </a:lnTo>
                <a:lnTo>
                  <a:pt x="166687" y="267229"/>
                </a:lnTo>
                <a:lnTo>
                  <a:pt x="169333" y="272520"/>
                </a:lnTo>
                <a:lnTo>
                  <a:pt x="169333" y="275166"/>
                </a:lnTo>
                <a:lnTo>
                  <a:pt x="169333" y="280458"/>
                </a:lnTo>
                <a:lnTo>
                  <a:pt x="164042" y="285750"/>
                </a:lnTo>
                <a:lnTo>
                  <a:pt x="164042" y="288395"/>
                </a:lnTo>
                <a:lnTo>
                  <a:pt x="164042" y="291041"/>
                </a:lnTo>
                <a:lnTo>
                  <a:pt x="161396" y="296333"/>
                </a:lnTo>
                <a:lnTo>
                  <a:pt x="156104" y="298979"/>
                </a:lnTo>
                <a:lnTo>
                  <a:pt x="156104" y="301625"/>
                </a:lnTo>
                <a:lnTo>
                  <a:pt x="158750" y="306917"/>
                </a:lnTo>
                <a:lnTo>
                  <a:pt x="158750" y="312208"/>
                </a:lnTo>
                <a:lnTo>
                  <a:pt x="158750" y="314854"/>
                </a:lnTo>
                <a:lnTo>
                  <a:pt x="161396" y="317500"/>
                </a:lnTo>
                <a:lnTo>
                  <a:pt x="164042" y="320146"/>
                </a:lnTo>
                <a:lnTo>
                  <a:pt x="164042" y="325438"/>
                </a:lnTo>
                <a:lnTo>
                  <a:pt x="161396" y="330729"/>
                </a:lnTo>
                <a:lnTo>
                  <a:pt x="158750" y="330729"/>
                </a:lnTo>
                <a:lnTo>
                  <a:pt x="156104" y="333375"/>
                </a:lnTo>
                <a:lnTo>
                  <a:pt x="153458" y="330729"/>
                </a:lnTo>
                <a:lnTo>
                  <a:pt x="150812" y="328083"/>
                </a:lnTo>
                <a:lnTo>
                  <a:pt x="148167" y="328083"/>
                </a:lnTo>
                <a:lnTo>
                  <a:pt x="142875" y="325438"/>
                </a:lnTo>
                <a:lnTo>
                  <a:pt x="137583" y="322792"/>
                </a:lnTo>
                <a:lnTo>
                  <a:pt x="137583" y="317500"/>
                </a:lnTo>
                <a:lnTo>
                  <a:pt x="137583" y="312208"/>
                </a:lnTo>
                <a:lnTo>
                  <a:pt x="137583" y="309563"/>
                </a:lnTo>
                <a:lnTo>
                  <a:pt x="140229" y="309563"/>
                </a:lnTo>
                <a:lnTo>
                  <a:pt x="145521" y="309563"/>
                </a:lnTo>
                <a:lnTo>
                  <a:pt x="145521" y="306917"/>
                </a:lnTo>
                <a:lnTo>
                  <a:pt x="145521" y="301625"/>
                </a:lnTo>
                <a:lnTo>
                  <a:pt x="145521" y="296333"/>
                </a:lnTo>
                <a:lnTo>
                  <a:pt x="145521" y="293687"/>
                </a:lnTo>
                <a:lnTo>
                  <a:pt x="148167" y="291041"/>
                </a:lnTo>
                <a:lnTo>
                  <a:pt x="145521" y="285750"/>
                </a:lnTo>
                <a:lnTo>
                  <a:pt x="148167" y="283104"/>
                </a:lnTo>
                <a:lnTo>
                  <a:pt x="150812" y="280458"/>
                </a:lnTo>
                <a:lnTo>
                  <a:pt x="150812" y="272520"/>
                </a:lnTo>
                <a:lnTo>
                  <a:pt x="150812" y="269875"/>
                </a:lnTo>
                <a:lnTo>
                  <a:pt x="150812" y="267229"/>
                </a:lnTo>
                <a:close/>
                <a:moveTo>
                  <a:pt x="182562" y="261937"/>
                </a:moveTo>
                <a:lnTo>
                  <a:pt x="182562" y="264583"/>
                </a:lnTo>
                <a:lnTo>
                  <a:pt x="185208" y="267229"/>
                </a:lnTo>
                <a:lnTo>
                  <a:pt x="185208" y="269874"/>
                </a:lnTo>
                <a:lnTo>
                  <a:pt x="185208" y="272520"/>
                </a:lnTo>
                <a:lnTo>
                  <a:pt x="185208" y="280458"/>
                </a:lnTo>
                <a:lnTo>
                  <a:pt x="185208" y="283104"/>
                </a:lnTo>
                <a:lnTo>
                  <a:pt x="179916" y="285750"/>
                </a:lnTo>
                <a:lnTo>
                  <a:pt x="177271" y="288395"/>
                </a:lnTo>
                <a:lnTo>
                  <a:pt x="177271" y="291041"/>
                </a:lnTo>
                <a:lnTo>
                  <a:pt x="174625" y="293687"/>
                </a:lnTo>
                <a:lnTo>
                  <a:pt x="174625" y="296333"/>
                </a:lnTo>
                <a:lnTo>
                  <a:pt x="174625" y="298979"/>
                </a:lnTo>
                <a:lnTo>
                  <a:pt x="171979" y="312208"/>
                </a:lnTo>
                <a:lnTo>
                  <a:pt x="166687" y="317500"/>
                </a:lnTo>
                <a:lnTo>
                  <a:pt x="164041" y="317500"/>
                </a:lnTo>
                <a:lnTo>
                  <a:pt x="164041" y="306917"/>
                </a:lnTo>
                <a:lnTo>
                  <a:pt x="166687" y="296333"/>
                </a:lnTo>
                <a:lnTo>
                  <a:pt x="169333" y="291041"/>
                </a:lnTo>
                <a:lnTo>
                  <a:pt x="171979" y="285750"/>
                </a:lnTo>
                <a:lnTo>
                  <a:pt x="177271" y="272520"/>
                </a:lnTo>
                <a:lnTo>
                  <a:pt x="179916" y="264583"/>
                </a:lnTo>
                <a:close/>
                <a:moveTo>
                  <a:pt x="52917" y="254000"/>
                </a:moveTo>
                <a:lnTo>
                  <a:pt x="55562" y="254000"/>
                </a:lnTo>
                <a:lnTo>
                  <a:pt x="58208" y="256646"/>
                </a:lnTo>
                <a:lnTo>
                  <a:pt x="60854" y="261937"/>
                </a:lnTo>
                <a:lnTo>
                  <a:pt x="58208" y="264583"/>
                </a:lnTo>
                <a:lnTo>
                  <a:pt x="58208" y="267229"/>
                </a:lnTo>
                <a:lnTo>
                  <a:pt x="58208" y="269875"/>
                </a:lnTo>
                <a:lnTo>
                  <a:pt x="60854" y="269875"/>
                </a:lnTo>
                <a:lnTo>
                  <a:pt x="60854" y="272521"/>
                </a:lnTo>
                <a:lnTo>
                  <a:pt x="63500" y="275167"/>
                </a:lnTo>
                <a:lnTo>
                  <a:pt x="66146" y="275167"/>
                </a:lnTo>
                <a:lnTo>
                  <a:pt x="66146" y="277812"/>
                </a:lnTo>
                <a:lnTo>
                  <a:pt x="63500" y="280458"/>
                </a:lnTo>
                <a:lnTo>
                  <a:pt x="60854" y="280458"/>
                </a:lnTo>
                <a:lnTo>
                  <a:pt x="60854" y="285750"/>
                </a:lnTo>
                <a:lnTo>
                  <a:pt x="60854" y="288396"/>
                </a:lnTo>
                <a:lnTo>
                  <a:pt x="58208" y="291041"/>
                </a:lnTo>
                <a:lnTo>
                  <a:pt x="47625" y="296333"/>
                </a:lnTo>
                <a:lnTo>
                  <a:pt x="39687" y="301625"/>
                </a:lnTo>
                <a:lnTo>
                  <a:pt x="39687" y="304271"/>
                </a:lnTo>
                <a:lnTo>
                  <a:pt x="42333" y="306917"/>
                </a:lnTo>
                <a:lnTo>
                  <a:pt x="42333" y="312208"/>
                </a:lnTo>
                <a:lnTo>
                  <a:pt x="37042" y="314854"/>
                </a:lnTo>
                <a:lnTo>
                  <a:pt x="37042" y="320146"/>
                </a:lnTo>
                <a:lnTo>
                  <a:pt x="34396" y="322792"/>
                </a:lnTo>
                <a:lnTo>
                  <a:pt x="31750" y="322792"/>
                </a:lnTo>
                <a:lnTo>
                  <a:pt x="26458" y="325438"/>
                </a:lnTo>
                <a:lnTo>
                  <a:pt x="23812" y="325438"/>
                </a:lnTo>
                <a:lnTo>
                  <a:pt x="23812" y="328083"/>
                </a:lnTo>
                <a:lnTo>
                  <a:pt x="23812" y="333375"/>
                </a:lnTo>
                <a:lnTo>
                  <a:pt x="21166" y="336021"/>
                </a:lnTo>
                <a:lnTo>
                  <a:pt x="15875" y="341312"/>
                </a:lnTo>
                <a:lnTo>
                  <a:pt x="10583" y="343958"/>
                </a:lnTo>
                <a:lnTo>
                  <a:pt x="7937" y="346604"/>
                </a:lnTo>
                <a:lnTo>
                  <a:pt x="5291" y="346604"/>
                </a:lnTo>
                <a:lnTo>
                  <a:pt x="2646" y="346604"/>
                </a:lnTo>
                <a:lnTo>
                  <a:pt x="0" y="343958"/>
                </a:lnTo>
                <a:lnTo>
                  <a:pt x="2646" y="341312"/>
                </a:lnTo>
                <a:lnTo>
                  <a:pt x="2646" y="336021"/>
                </a:lnTo>
                <a:lnTo>
                  <a:pt x="5291" y="333375"/>
                </a:lnTo>
                <a:lnTo>
                  <a:pt x="7937" y="330729"/>
                </a:lnTo>
                <a:lnTo>
                  <a:pt x="10583" y="325438"/>
                </a:lnTo>
                <a:lnTo>
                  <a:pt x="13229" y="322792"/>
                </a:lnTo>
                <a:lnTo>
                  <a:pt x="15875" y="320146"/>
                </a:lnTo>
                <a:lnTo>
                  <a:pt x="18521" y="317500"/>
                </a:lnTo>
                <a:lnTo>
                  <a:pt x="21166" y="314854"/>
                </a:lnTo>
                <a:lnTo>
                  <a:pt x="23812" y="309563"/>
                </a:lnTo>
                <a:lnTo>
                  <a:pt x="26458" y="304271"/>
                </a:lnTo>
                <a:lnTo>
                  <a:pt x="29104" y="301625"/>
                </a:lnTo>
                <a:lnTo>
                  <a:pt x="29104" y="296333"/>
                </a:lnTo>
                <a:lnTo>
                  <a:pt x="31750" y="293687"/>
                </a:lnTo>
                <a:lnTo>
                  <a:pt x="34396" y="293687"/>
                </a:lnTo>
                <a:lnTo>
                  <a:pt x="37042" y="291041"/>
                </a:lnTo>
                <a:lnTo>
                  <a:pt x="37042" y="288396"/>
                </a:lnTo>
                <a:lnTo>
                  <a:pt x="39687" y="283104"/>
                </a:lnTo>
                <a:lnTo>
                  <a:pt x="42333" y="280458"/>
                </a:lnTo>
                <a:lnTo>
                  <a:pt x="44979" y="280458"/>
                </a:lnTo>
                <a:lnTo>
                  <a:pt x="50271" y="275167"/>
                </a:lnTo>
                <a:lnTo>
                  <a:pt x="50271" y="272521"/>
                </a:lnTo>
                <a:lnTo>
                  <a:pt x="47625" y="269875"/>
                </a:lnTo>
                <a:lnTo>
                  <a:pt x="50271" y="267229"/>
                </a:lnTo>
                <a:lnTo>
                  <a:pt x="50271" y="264583"/>
                </a:lnTo>
                <a:lnTo>
                  <a:pt x="52917" y="259292"/>
                </a:lnTo>
                <a:close/>
                <a:moveTo>
                  <a:pt x="185208" y="246062"/>
                </a:moveTo>
                <a:lnTo>
                  <a:pt x="187854" y="246062"/>
                </a:lnTo>
                <a:lnTo>
                  <a:pt x="190500" y="248708"/>
                </a:lnTo>
                <a:lnTo>
                  <a:pt x="198438" y="253999"/>
                </a:lnTo>
                <a:lnTo>
                  <a:pt x="198438" y="251354"/>
                </a:lnTo>
                <a:lnTo>
                  <a:pt x="201083" y="251354"/>
                </a:lnTo>
                <a:lnTo>
                  <a:pt x="201083" y="248708"/>
                </a:lnTo>
                <a:lnTo>
                  <a:pt x="203729" y="251354"/>
                </a:lnTo>
                <a:lnTo>
                  <a:pt x="206375" y="256645"/>
                </a:lnTo>
                <a:lnTo>
                  <a:pt x="206375" y="264583"/>
                </a:lnTo>
                <a:lnTo>
                  <a:pt x="206375" y="267229"/>
                </a:lnTo>
                <a:lnTo>
                  <a:pt x="211667" y="267229"/>
                </a:lnTo>
                <a:lnTo>
                  <a:pt x="214313" y="269874"/>
                </a:lnTo>
                <a:lnTo>
                  <a:pt x="216959" y="272520"/>
                </a:lnTo>
                <a:lnTo>
                  <a:pt x="216959" y="275166"/>
                </a:lnTo>
                <a:lnTo>
                  <a:pt x="219604" y="277812"/>
                </a:lnTo>
                <a:lnTo>
                  <a:pt x="222250" y="280458"/>
                </a:lnTo>
                <a:lnTo>
                  <a:pt x="222250" y="283104"/>
                </a:lnTo>
                <a:lnTo>
                  <a:pt x="219604" y="283104"/>
                </a:lnTo>
                <a:lnTo>
                  <a:pt x="222250" y="285750"/>
                </a:lnTo>
                <a:lnTo>
                  <a:pt x="222250" y="288395"/>
                </a:lnTo>
                <a:lnTo>
                  <a:pt x="219604" y="285750"/>
                </a:lnTo>
                <a:lnTo>
                  <a:pt x="216959" y="283104"/>
                </a:lnTo>
                <a:lnTo>
                  <a:pt x="211667" y="280458"/>
                </a:lnTo>
                <a:lnTo>
                  <a:pt x="211667" y="283104"/>
                </a:lnTo>
                <a:lnTo>
                  <a:pt x="211667" y="285750"/>
                </a:lnTo>
                <a:lnTo>
                  <a:pt x="214313" y="296333"/>
                </a:lnTo>
                <a:lnTo>
                  <a:pt x="211667" y="293687"/>
                </a:lnTo>
                <a:lnTo>
                  <a:pt x="206375" y="291041"/>
                </a:lnTo>
                <a:lnTo>
                  <a:pt x="203729" y="291041"/>
                </a:lnTo>
                <a:lnTo>
                  <a:pt x="203729" y="285750"/>
                </a:lnTo>
                <a:lnTo>
                  <a:pt x="203729" y="283104"/>
                </a:lnTo>
                <a:lnTo>
                  <a:pt x="201083" y="283104"/>
                </a:lnTo>
                <a:lnTo>
                  <a:pt x="201083" y="280458"/>
                </a:lnTo>
                <a:lnTo>
                  <a:pt x="201083" y="277812"/>
                </a:lnTo>
                <a:lnTo>
                  <a:pt x="203729" y="275166"/>
                </a:lnTo>
                <a:lnTo>
                  <a:pt x="203729" y="269874"/>
                </a:lnTo>
                <a:lnTo>
                  <a:pt x="201083" y="264583"/>
                </a:lnTo>
                <a:lnTo>
                  <a:pt x="195792" y="261937"/>
                </a:lnTo>
                <a:lnTo>
                  <a:pt x="195792" y="264583"/>
                </a:lnTo>
                <a:lnTo>
                  <a:pt x="195792" y="267229"/>
                </a:lnTo>
                <a:lnTo>
                  <a:pt x="193146" y="264583"/>
                </a:lnTo>
                <a:lnTo>
                  <a:pt x="190500" y="264583"/>
                </a:lnTo>
                <a:lnTo>
                  <a:pt x="190500" y="261937"/>
                </a:lnTo>
                <a:lnTo>
                  <a:pt x="190500" y="259291"/>
                </a:lnTo>
                <a:lnTo>
                  <a:pt x="187854" y="253999"/>
                </a:lnTo>
                <a:lnTo>
                  <a:pt x="185208" y="251354"/>
                </a:lnTo>
                <a:close/>
                <a:moveTo>
                  <a:pt x="116416" y="232833"/>
                </a:moveTo>
                <a:lnTo>
                  <a:pt x="119061" y="232833"/>
                </a:lnTo>
                <a:lnTo>
                  <a:pt x="121707" y="232833"/>
                </a:lnTo>
                <a:lnTo>
                  <a:pt x="126999" y="232833"/>
                </a:lnTo>
                <a:lnTo>
                  <a:pt x="132291" y="235479"/>
                </a:lnTo>
                <a:lnTo>
                  <a:pt x="134937" y="238125"/>
                </a:lnTo>
                <a:lnTo>
                  <a:pt x="137583" y="240770"/>
                </a:lnTo>
                <a:lnTo>
                  <a:pt x="140229" y="240770"/>
                </a:lnTo>
                <a:lnTo>
                  <a:pt x="145520" y="238125"/>
                </a:lnTo>
                <a:lnTo>
                  <a:pt x="148166" y="238125"/>
                </a:lnTo>
                <a:lnTo>
                  <a:pt x="148166" y="240770"/>
                </a:lnTo>
                <a:lnTo>
                  <a:pt x="148166" y="243416"/>
                </a:lnTo>
                <a:lnTo>
                  <a:pt x="158749" y="240770"/>
                </a:lnTo>
                <a:lnTo>
                  <a:pt x="161395" y="240770"/>
                </a:lnTo>
                <a:lnTo>
                  <a:pt x="158749" y="243416"/>
                </a:lnTo>
                <a:lnTo>
                  <a:pt x="158749" y="246062"/>
                </a:lnTo>
                <a:lnTo>
                  <a:pt x="158749" y="248708"/>
                </a:lnTo>
                <a:lnTo>
                  <a:pt x="156104" y="251354"/>
                </a:lnTo>
                <a:lnTo>
                  <a:pt x="153458" y="254000"/>
                </a:lnTo>
                <a:lnTo>
                  <a:pt x="153458" y="256645"/>
                </a:lnTo>
                <a:lnTo>
                  <a:pt x="150812" y="259291"/>
                </a:lnTo>
                <a:lnTo>
                  <a:pt x="145520" y="259291"/>
                </a:lnTo>
                <a:lnTo>
                  <a:pt x="145520" y="261937"/>
                </a:lnTo>
                <a:lnTo>
                  <a:pt x="145520" y="264583"/>
                </a:lnTo>
                <a:lnTo>
                  <a:pt x="145520" y="267229"/>
                </a:lnTo>
                <a:lnTo>
                  <a:pt x="142874" y="269875"/>
                </a:lnTo>
                <a:lnTo>
                  <a:pt x="134937" y="269875"/>
                </a:lnTo>
                <a:lnTo>
                  <a:pt x="132291" y="269875"/>
                </a:lnTo>
                <a:lnTo>
                  <a:pt x="132291" y="272521"/>
                </a:lnTo>
                <a:lnTo>
                  <a:pt x="132291" y="280458"/>
                </a:lnTo>
                <a:lnTo>
                  <a:pt x="132291" y="283104"/>
                </a:lnTo>
                <a:lnTo>
                  <a:pt x="129645" y="283104"/>
                </a:lnTo>
                <a:lnTo>
                  <a:pt x="124353" y="283104"/>
                </a:lnTo>
                <a:lnTo>
                  <a:pt x="124353" y="280458"/>
                </a:lnTo>
                <a:lnTo>
                  <a:pt x="124353" y="277812"/>
                </a:lnTo>
                <a:lnTo>
                  <a:pt x="126999" y="272521"/>
                </a:lnTo>
                <a:lnTo>
                  <a:pt x="124353" y="269875"/>
                </a:lnTo>
                <a:lnTo>
                  <a:pt x="124353" y="267229"/>
                </a:lnTo>
                <a:lnTo>
                  <a:pt x="124353" y="264583"/>
                </a:lnTo>
                <a:lnTo>
                  <a:pt x="124353" y="259291"/>
                </a:lnTo>
                <a:lnTo>
                  <a:pt x="124353" y="256645"/>
                </a:lnTo>
                <a:lnTo>
                  <a:pt x="124353" y="254000"/>
                </a:lnTo>
                <a:lnTo>
                  <a:pt x="124353" y="248708"/>
                </a:lnTo>
                <a:lnTo>
                  <a:pt x="124353" y="246062"/>
                </a:lnTo>
                <a:lnTo>
                  <a:pt x="124353" y="240770"/>
                </a:lnTo>
                <a:lnTo>
                  <a:pt x="126999" y="238125"/>
                </a:lnTo>
                <a:lnTo>
                  <a:pt x="124353" y="238125"/>
                </a:lnTo>
                <a:lnTo>
                  <a:pt x="119061" y="238125"/>
                </a:lnTo>
                <a:lnTo>
                  <a:pt x="113770" y="238125"/>
                </a:lnTo>
                <a:lnTo>
                  <a:pt x="116416" y="235479"/>
                </a:lnTo>
                <a:close/>
                <a:moveTo>
                  <a:pt x="148166" y="206375"/>
                </a:moveTo>
                <a:lnTo>
                  <a:pt x="150812" y="206375"/>
                </a:lnTo>
                <a:lnTo>
                  <a:pt x="156104" y="211667"/>
                </a:lnTo>
                <a:lnTo>
                  <a:pt x="158750" y="214312"/>
                </a:lnTo>
                <a:lnTo>
                  <a:pt x="164041" y="216958"/>
                </a:lnTo>
                <a:lnTo>
                  <a:pt x="166687" y="219604"/>
                </a:lnTo>
                <a:lnTo>
                  <a:pt x="171979" y="219604"/>
                </a:lnTo>
                <a:lnTo>
                  <a:pt x="174625" y="222250"/>
                </a:lnTo>
                <a:lnTo>
                  <a:pt x="177271" y="224896"/>
                </a:lnTo>
                <a:lnTo>
                  <a:pt x="182562" y="238125"/>
                </a:lnTo>
                <a:lnTo>
                  <a:pt x="182562" y="243417"/>
                </a:lnTo>
                <a:lnTo>
                  <a:pt x="179916" y="240771"/>
                </a:lnTo>
                <a:lnTo>
                  <a:pt x="174625" y="238125"/>
                </a:lnTo>
                <a:lnTo>
                  <a:pt x="169333" y="235479"/>
                </a:lnTo>
                <a:lnTo>
                  <a:pt x="166687" y="232833"/>
                </a:lnTo>
                <a:lnTo>
                  <a:pt x="164041" y="232833"/>
                </a:lnTo>
                <a:lnTo>
                  <a:pt x="161395" y="230188"/>
                </a:lnTo>
                <a:lnTo>
                  <a:pt x="161395" y="227542"/>
                </a:lnTo>
                <a:lnTo>
                  <a:pt x="158750" y="227542"/>
                </a:lnTo>
                <a:lnTo>
                  <a:pt x="156104" y="230188"/>
                </a:lnTo>
                <a:lnTo>
                  <a:pt x="153458" y="235479"/>
                </a:lnTo>
                <a:lnTo>
                  <a:pt x="153458" y="238125"/>
                </a:lnTo>
                <a:lnTo>
                  <a:pt x="150812" y="235479"/>
                </a:lnTo>
                <a:lnTo>
                  <a:pt x="150812" y="230188"/>
                </a:lnTo>
                <a:lnTo>
                  <a:pt x="150812" y="227542"/>
                </a:lnTo>
                <a:lnTo>
                  <a:pt x="153458" y="224896"/>
                </a:lnTo>
                <a:lnTo>
                  <a:pt x="150812" y="224896"/>
                </a:lnTo>
                <a:lnTo>
                  <a:pt x="148166" y="224896"/>
                </a:lnTo>
                <a:lnTo>
                  <a:pt x="150812" y="219604"/>
                </a:lnTo>
                <a:lnTo>
                  <a:pt x="148166" y="209021"/>
                </a:lnTo>
                <a:close/>
                <a:moveTo>
                  <a:pt x="195791" y="203729"/>
                </a:moveTo>
                <a:lnTo>
                  <a:pt x="198437" y="203729"/>
                </a:lnTo>
                <a:lnTo>
                  <a:pt x="201083" y="203729"/>
                </a:lnTo>
                <a:lnTo>
                  <a:pt x="206374" y="203729"/>
                </a:lnTo>
                <a:lnTo>
                  <a:pt x="206374" y="206375"/>
                </a:lnTo>
                <a:lnTo>
                  <a:pt x="206374" y="209021"/>
                </a:lnTo>
                <a:lnTo>
                  <a:pt x="209020" y="209021"/>
                </a:lnTo>
                <a:lnTo>
                  <a:pt x="214312" y="209021"/>
                </a:lnTo>
                <a:lnTo>
                  <a:pt x="214312" y="211666"/>
                </a:lnTo>
                <a:lnTo>
                  <a:pt x="211666" y="211666"/>
                </a:lnTo>
                <a:lnTo>
                  <a:pt x="211666" y="214312"/>
                </a:lnTo>
                <a:lnTo>
                  <a:pt x="214312" y="214312"/>
                </a:lnTo>
                <a:lnTo>
                  <a:pt x="211666" y="219604"/>
                </a:lnTo>
                <a:lnTo>
                  <a:pt x="211666" y="222250"/>
                </a:lnTo>
                <a:lnTo>
                  <a:pt x="211666" y="224895"/>
                </a:lnTo>
                <a:lnTo>
                  <a:pt x="216958" y="230187"/>
                </a:lnTo>
                <a:lnTo>
                  <a:pt x="219603" y="230187"/>
                </a:lnTo>
                <a:lnTo>
                  <a:pt x="219603" y="232833"/>
                </a:lnTo>
                <a:lnTo>
                  <a:pt x="219603" y="235479"/>
                </a:lnTo>
                <a:lnTo>
                  <a:pt x="222249" y="238125"/>
                </a:lnTo>
                <a:lnTo>
                  <a:pt x="224895" y="238125"/>
                </a:lnTo>
                <a:lnTo>
                  <a:pt x="224895" y="240770"/>
                </a:lnTo>
                <a:lnTo>
                  <a:pt x="230187" y="243416"/>
                </a:lnTo>
                <a:lnTo>
                  <a:pt x="232832" y="246062"/>
                </a:lnTo>
                <a:lnTo>
                  <a:pt x="235478" y="248708"/>
                </a:lnTo>
                <a:lnTo>
                  <a:pt x="232832" y="248708"/>
                </a:lnTo>
                <a:lnTo>
                  <a:pt x="230187" y="253999"/>
                </a:lnTo>
                <a:lnTo>
                  <a:pt x="230187" y="256645"/>
                </a:lnTo>
                <a:lnTo>
                  <a:pt x="230187" y="259291"/>
                </a:lnTo>
                <a:lnTo>
                  <a:pt x="227541" y="259291"/>
                </a:lnTo>
                <a:lnTo>
                  <a:pt x="224895" y="259291"/>
                </a:lnTo>
                <a:lnTo>
                  <a:pt x="222249" y="259291"/>
                </a:lnTo>
                <a:lnTo>
                  <a:pt x="219603" y="259291"/>
                </a:lnTo>
                <a:lnTo>
                  <a:pt x="216958" y="253999"/>
                </a:lnTo>
                <a:lnTo>
                  <a:pt x="216958" y="251354"/>
                </a:lnTo>
                <a:lnTo>
                  <a:pt x="214312" y="251354"/>
                </a:lnTo>
                <a:lnTo>
                  <a:pt x="209020" y="251354"/>
                </a:lnTo>
                <a:lnTo>
                  <a:pt x="206374" y="251354"/>
                </a:lnTo>
                <a:lnTo>
                  <a:pt x="206374" y="248708"/>
                </a:lnTo>
                <a:lnTo>
                  <a:pt x="203728" y="246062"/>
                </a:lnTo>
                <a:lnTo>
                  <a:pt x="198437" y="246062"/>
                </a:lnTo>
                <a:lnTo>
                  <a:pt x="198437" y="243416"/>
                </a:lnTo>
                <a:lnTo>
                  <a:pt x="203728" y="238125"/>
                </a:lnTo>
                <a:lnTo>
                  <a:pt x="203728" y="235479"/>
                </a:lnTo>
                <a:lnTo>
                  <a:pt x="203728" y="232833"/>
                </a:lnTo>
                <a:lnTo>
                  <a:pt x="201083" y="232833"/>
                </a:lnTo>
                <a:lnTo>
                  <a:pt x="198437" y="232833"/>
                </a:lnTo>
                <a:lnTo>
                  <a:pt x="193145" y="224895"/>
                </a:lnTo>
                <a:lnTo>
                  <a:pt x="190499" y="224895"/>
                </a:lnTo>
                <a:lnTo>
                  <a:pt x="187854" y="222250"/>
                </a:lnTo>
                <a:lnTo>
                  <a:pt x="182562" y="216958"/>
                </a:lnTo>
                <a:lnTo>
                  <a:pt x="179916" y="211666"/>
                </a:lnTo>
                <a:lnTo>
                  <a:pt x="177270" y="209021"/>
                </a:lnTo>
                <a:lnTo>
                  <a:pt x="177270" y="206375"/>
                </a:lnTo>
                <a:lnTo>
                  <a:pt x="179916" y="206375"/>
                </a:lnTo>
                <a:lnTo>
                  <a:pt x="182562" y="206375"/>
                </a:lnTo>
                <a:lnTo>
                  <a:pt x="187854" y="206375"/>
                </a:lnTo>
                <a:lnTo>
                  <a:pt x="193145" y="206375"/>
                </a:lnTo>
                <a:close/>
                <a:moveTo>
                  <a:pt x="60854" y="179916"/>
                </a:moveTo>
                <a:lnTo>
                  <a:pt x="63500" y="179916"/>
                </a:lnTo>
                <a:lnTo>
                  <a:pt x="66145" y="179916"/>
                </a:lnTo>
                <a:lnTo>
                  <a:pt x="68791" y="179916"/>
                </a:lnTo>
                <a:lnTo>
                  <a:pt x="74083" y="179916"/>
                </a:lnTo>
                <a:lnTo>
                  <a:pt x="76729" y="179916"/>
                </a:lnTo>
                <a:lnTo>
                  <a:pt x="79375" y="182562"/>
                </a:lnTo>
                <a:lnTo>
                  <a:pt x="84666" y="182562"/>
                </a:lnTo>
                <a:lnTo>
                  <a:pt x="87312" y="182562"/>
                </a:lnTo>
                <a:lnTo>
                  <a:pt x="92604" y="185208"/>
                </a:lnTo>
                <a:lnTo>
                  <a:pt x="97895" y="187853"/>
                </a:lnTo>
                <a:lnTo>
                  <a:pt x="100541" y="187853"/>
                </a:lnTo>
                <a:lnTo>
                  <a:pt x="100541" y="190499"/>
                </a:lnTo>
                <a:lnTo>
                  <a:pt x="103187" y="193145"/>
                </a:lnTo>
                <a:lnTo>
                  <a:pt x="103187" y="195791"/>
                </a:lnTo>
                <a:lnTo>
                  <a:pt x="103187" y="198437"/>
                </a:lnTo>
                <a:lnTo>
                  <a:pt x="103187" y="203729"/>
                </a:lnTo>
                <a:lnTo>
                  <a:pt x="105833" y="209020"/>
                </a:lnTo>
                <a:lnTo>
                  <a:pt x="108479" y="209020"/>
                </a:lnTo>
                <a:lnTo>
                  <a:pt x="105833" y="211666"/>
                </a:lnTo>
                <a:lnTo>
                  <a:pt x="103187" y="216958"/>
                </a:lnTo>
                <a:lnTo>
                  <a:pt x="97895" y="216958"/>
                </a:lnTo>
                <a:lnTo>
                  <a:pt x="89958" y="214312"/>
                </a:lnTo>
                <a:lnTo>
                  <a:pt x="87312" y="211666"/>
                </a:lnTo>
                <a:lnTo>
                  <a:pt x="87312" y="209020"/>
                </a:lnTo>
                <a:lnTo>
                  <a:pt x="84666" y="206374"/>
                </a:lnTo>
                <a:lnTo>
                  <a:pt x="82020" y="203729"/>
                </a:lnTo>
                <a:lnTo>
                  <a:pt x="79375" y="201083"/>
                </a:lnTo>
                <a:lnTo>
                  <a:pt x="79375" y="198437"/>
                </a:lnTo>
                <a:lnTo>
                  <a:pt x="76729" y="190499"/>
                </a:lnTo>
                <a:lnTo>
                  <a:pt x="71437" y="190499"/>
                </a:lnTo>
                <a:lnTo>
                  <a:pt x="66145" y="187853"/>
                </a:lnTo>
                <a:lnTo>
                  <a:pt x="66145" y="185208"/>
                </a:lnTo>
                <a:lnTo>
                  <a:pt x="63500" y="185208"/>
                </a:lnTo>
                <a:lnTo>
                  <a:pt x="60854" y="185208"/>
                </a:lnTo>
                <a:close/>
                <a:moveTo>
                  <a:pt x="111125" y="177270"/>
                </a:moveTo>
                <a:lnTo>
                  <a:pt x="116416" y="177270"/>
                </a:lnTo>
                <a:lnTo>
                  <a:pt x="119062" y="179916"/>
                </a:lnTo>
                <a:lnTo>
                  <a:pt x="119062" y="182562"/>
                </a:lnTo>
                <a:lnTo>
                  <a:pt x="121708" y="182562"/>
                </a:lnTo>
                <a:lnTo>
                  <a:pt x="124354" y="185207"/>
                </a:lnTo>
                <a:lnTo>
                  <a:pt x="127000" y="187853"/>
                </a:lnTo>
                <a:lnTo>
                  <a:pt x="124354" y="187853"/>
                </a:lnTo>
                <a:lnTo>
                  <a:pt x="121708" y="193145"/>
                </a:lnTo>
                <a:lnTo>
                  <a:pt x="119062" y="193145"/>
                </a:lnTo>
                <a:lnTo>
                  <a:pt x="113770" y="193145"/>
                </a:lnTo>
                <a:lnTo>
                  <a:pt x="108479" y="187853"/>
                </a:lnTo>
                <a:lnTo>
                  <a:pt x="105833" y="187853"/>
                </a:lnTo>
                <a:lnTo>
                  <a:pt x="108479" y="185207"/>
                </a:lnTo>
                <a:lnTo>
                  <a:pt x="111125" y="179916"/>
                </a:lnTo>
                <a:close/>
                <a:moveTo>
                  <a:pt x="87312" y="0"/>
                </a:moveTo>
                <a:lnTo>
                  <a:pt x="89958" y="0"/>
                </a:lnTo>
                <a:lnTo>
                  <a:pt x="92604" y="2646"/>
                </a:lnTo>
                <a:lnTo>
                  <a:pt x="95250" y="5292"/>
                </a:lnTo>
                <a:lnTo>
                  <a:pt x="95250" y="10583"/>
                </a:lnTo>
                <a:lnTo>
                  <a:pt x="95250" y="13229"/>
                </a:lnTo>
                <a:lnTo>
                  <a:pt x="92604" y="13229"/>
                </a:lnTo>
                <a:lnTo>
                  <a:pt x="89958" y="15875"/>
                </a:lnTo>
                <a:lnTo>
                  <a:pt x="92604" y="21167"/>
                </a:lnTo>
                <a:lnTo>
                  <a:pt x="95250" y="23812"/>
                </a:lnTo>
                <a:lnTo>
                  <a:pt x="92604" y="29104"/>
                </a:lnTo>
                <a:lnTo>
                  <a:pt x="92604" y="42333"/>
                </a:lnTo>
                <a:lnTo>
                  <a:pt x="95250" y="47625"/>
                </a:lnTo>
                <a:lnTo>
                  <a:pt x="97896" y="50271"/>
                </a:lnTo>
                <a:lnTo>
                  <a:pt x="103187" y="50271"/>
                </a:lnTo>
                <a:lnTo>
                  <a:pt x="103187" y="52916"/>
                </a:lnTo>
                <a:lnTo>
                  <a:pt x="105833" y="55562"/>
                </a:lnTo>
                <a:lnTo>
                  <a:pt x="105833" y="58208"/>
                </a:lnTo>
                <a:lnTo>
                  <a:pt x="108479" y="58208"/>
                </a:lnTo>
                <a:lnTo>
                  <a:pt x="111125" y="58208"/>
                </a:lnTo>
                <a:lnTo>
                  <a:pt x="111125" y="63500"/>
                </a:lnTo>
                <a:lnTo>
                  <a:pt x="111125" y="68791"/>
                </a:lnTo>
                <a:lnTo>
                  <a:pt x="111125" y="74083"/>
                </a:lnTo>
                <a:lnTo>
                  <a:pt x="108479" y="76729"/>
                </a:lnTo>
                <a:lnTo>
                  <a:pt x="108479" y="79375"/>
                </a:lnTo>
                <a:lnTo>
                  <a:pt x="108479" y="82021"/>
                </a:lnTo>
                <a:lnTo>
                  <a:pt x="108479" y="84666"/>
                </a:lnTo>
                <a:lnTo>
                  <a:pt x="103187" y="87312"/>
                </a:lnTo>
                <a:lnTo>
                  <a:pt x="100541" y="87312"/>
                </a:lnTo>
                <a:lnTo>
                  <a:pt x="103187" y="84666"/>
                </a:lnTo>
                <a:lnTo>
                  <a:pt x="97896" y="87312"/>
                </a:lnTo>
                <a:lnTo>
                  <a:pt x="92604" y="89958"/>
                </a:lnTo>
                <a:lnTo>
                  <a:pt x="89958" y="89958"/>
                </a:lnTo>
                <a:lnTo>
                  <a:pt x="84666" y="89958"/>
                </a:lnTo>
                <a:lnTo>
                  <a:pt x="82021" y="92604"/>
                </a:lnTo>
                <a:lnTo>
                  <a:pt x="82021" y="95250"/>
                </a:lnTo>
                <a:lnTo>
                  <a:pt x="84666" y="97896"/>
                </a:lnTo>
                <a:lnTo>
                  <a:pt x="87312" y="97896"/>
                </a:lnTo>
                <a:lnTo>
                  <a:pt x="87312" y="100541"/>
                </a:lnTo>
                <a:lnTo>
                  <a:pt x="87312" y="105833"/>
                </a:lnTo>
                <a:lnTo>
                  <a:pt x="87312" y="108479"/>
                </a:lnTo>
                <a:lnTo>
                  <a:pt x="87312" y="111125"/>
                </a:lnTo>
                <a:lnTo>
                  <a:pt x="89958" y="113771"/>
                </a:lnTo>
                <a:lnTo>
                  <a:pt x="92604" y="113771"/>
                </a:lnTo>
                <a:lnTo>
                  <a:pt x="92604" y="119062"/>
                </a:lnTo>
                <a:lnTo>
                  <a:pt x="95250" y="124354"/>
                </a:lnTo>
                <a:lnTo>
                  <a:pt x="97896" y="129646"/>
                </a:lnTo>
                <a:lnTo>
                  <a:pt x="100541" y="134937"/>
                </a:lnTo>
                <a:lnTo>
                  <a:pt x="100541" y="137583"/>
                </a:lnTo>
                <a:lnTo>
                  <a:pt x="95250" y="134937"/>
                </a:lnTo>
                <a:lnTo>
                  <a:pt x="95250" y="140229"/>
                </a:lnTo>
                <a:lnTo>
                  <a:pt x="97896" y="145521"/>
                </a:lnTo>
                <a:lnTo>
                  <a:pt x="100541" y="148166"/>
                </a:lnTo>
                <a:lnTo>
                  <a:pt x="103187" y="150812"/>
                </a:lnTo>
                <a:lnTo>
                  <a:pt x="105833" y="153458"/>
                </a:lnTo>
                <a:lnTo>
                  <a:pt x="108479" y="158750"/>
                </a:lnTo>
                <a:lnTo>
                  <a:pt x="116417" y="158750"/>
                </a:lnTo>
                <a:lnTo>
                  <a:pt x="116417" y="156104"/>
                </a:lnTo>
                <a:lnTo>
                  <a:pt x="121708" y="158750"/>
                </a:lnTo>
                <a:lnTo>
                  <a:pt x="119062" y="156104"/>
                </a:lnTo>
                <a:lnTo>
                  <a:pt x="116417" y="153458"/>
                </a:lnTo>
                <a:lnTo>
                  <a:pt x="119062" y="150812"/>
                </a:lnTo>
                <a:lnTo>
                  <a:pt x="121708" y="153458"/>
                </a:lnTo>
                <a:lnTo>
                  <a:pt x="121708" y="150812"/>
                </a:lnTo>
                <a:lnTo>
                  <a:pt x="121708" y="148166"/>
                </a:lnTo>
                <a:lnTo>
                  <a:pt x="124354" y="148166"/>
                </a:lnTo>
                <a:lnTo>
                  <a:pt x="129646" y="148166"/>
                </a:lnTo>
                <a:lnTo>
                  <a:pt x="132292" y="150812"/>
                </a:lnTo>
                <a:lnTo>
                  <a:pt x="134938" y="153458"/>
                </a:lnTo>
                <a:lnTo>
                  <a:pt x="134938" y="156104"/>
                </a:lnTo>
                <a:lnTo>
                  <a:pt x="134938" y="158750"/>
                </a:lnTo>
                <a:lnTo>
                  <a:pt x="142875" y="158750"/>
                </a:lnTo>
                <a:lnTo>
                  <a:pt x="145521" y="158750"/>
                </a:lnTo>
                <a:lnTo>
                  <a:pt x="145521" y="156104"/>
                </a:lnTo>
                <a:lnTo>
                  <a:pt x="142875" y="153458"/>
                </a:lnTo>
                <a:lnTo>
                  <a:pt x="140230" y="150812"/>
                </a:lnTo>
                <a:lnTo>
                  <a:pt x="142875" y="150812"/>
                </a:lnTo>
                <a:lnTo>
                  <a:pt x="145521" y="150812"/>
                </a:lnTo>
                <a:lnTo>
                  <a:pt x="145521" y="148166"/>
                </a:lnTo>
                <a:lnTo>
                  <a:pt x="148167" y="148166"/>
                </a:lnTo>
                <a:lnTo>
                  <a:pt x="148167" y="150812"/>
                </a:lnTo>
                <a:lnTo>
                  <a:pt x="150813" y="150812"/>
                </a:lnTo>
                <a:lnTo>
                  <a:pt x="150813" y="153458"/>
                </a:lnTo>
                <a:lnTo>
                  <a:pt x="150813" y="156104"/>
                </a:lnTo>
                <a:lnTo>
                  <a:pt x="153459" y="156104"/>
                </a:lnTo>
                <a:lnTo>
                  <a:pt x="156105" y="158750"/>
                </a:lnTo>
                <a:lnTo>
                  <a:pt x="161396" y="161396"/>
                </a:lnTo>
                <a:lnTo>
                  <a:pt x="164042" y="161396"/>
                </a:lnTo>
                <a:lnTo>
                  <a:pt x="164042" y="164041"/>
                </a:lnTo>
                <a:lnTo>
                  <a:pt x="161396" y="166687"/>
                </a:lnTo>
                <a:lnTo>
                  <a:pt x="158751" y="166687"/>
                </a:lnTo>
                <a:lnTo>
                  <a:pt x="156105" y="166687"/>
                </a:lnTo>
                <a:lnTo>
                  <a:pt x="153459" y="166687"/>
                </a:lnTo>
                <a:lnTo>
                  <a:pt x="150813" y="166687"/>
                </a:lnTo>
                <a:lnTo>
                  <a:pt x="150813" y="171979"/>
                </a:lnTo>
                <a:lnTo>
                  <a:pt x="156105" y="171979"/>
                </a:lnTo>
                <a:lnTo>
                  <a:pt x="161396" y="174625"/>
                </a:lnTo>
                <a:lnTo>
                  <a:pt x="164042" y="177271"/>
                </a:lnTo>
                <a:lnTo>
                  <a:pt x="166688" y="179916"/>
                </a:lnTo>
                <a:lnTo>
                  <a:pt x="169334" y="179916"/>
                </a:lnTo>
                <a:lnTo>
                  <a:pt x="169334" y="182562"/>
                </a:lnTo>
                <a:lnTo>
                  <a:pt x="169334" y="185208"/>
                </a:lnTo>
                <a:lnTo>
                  <a:pt x="174626" y="185208"/>
                </a:lnTo>
                <a:lnTo>
                  <a:pt x="177271" y="182562"/>
                </a:lnTo>
                <a:lnTo>
                  <a:pt x="179917" y="182562"/>
                </a:lnTo>
                <a:lnTo>
                  <a:pt x="179917" y="185208"/>
                </a:lnTo>
                <a:lnTo>
                  <a:pt x="179917" y="187854"/>
                </a:lnTo>
                <a:lnTo>
                  <a:pt x="179917" y="193146"/>
                </a:lnTo>
                <a:lnTo>
                  <a:pt x="179917" y="201083"/>
                </a:lnTo>
                <a:lnTo>
                  <a:pt x="177271" y="203729"/>
                </a:lnTo>
                <a:lnTo>
                  <a:pt x="174626" y="203729"/>
                </a:lnTo>
                <a:lnTo>
                  <a:pt x="169334" y="203729"/>
                </a:lnTo>
                <a:lnTo>
                  <a:pt x="166688" y="201083"/>
                </a:lnTo>
                <a:lnTo>
                  <a:pt x="164042" y="198437"/>
                </a:lnTo>
                <a:lnTo>
                  <a:pt x="161396" y="195791"/>
                </a:lnTo>
                <a:lnTo>
                  <a:pt x="161396" y="193146"/>
                </a:lnTo>
                <a:lnTo>
                  <a:pt x="156105" y="187854"/>
                </a:lnTo>
                <a:lnTo>
                  <a:pt x="153459" y="187854"/>
                </a:lnTo>
                <a:lnTo>
                  <a:pt x="153459" y="190500"/>
                </a:lnTo>
                <a:lnTo>
                  <a:pt x="150813" y="187854"/>
                </a:lnTo>
                <a:lnTo>
                  <a:pt x="150813" y="185208"/>
                </a:lnTo>
                <a:lnTo>
                  <a:pt x="148167" y="179916"/>
                </a:lnTo>
                <a:lnTo>
                  <a:pt x="145521" y="177271"/>
                </a:lnTo>
                <a:lnTo>
                  <a:pt x="140230" y="174625"/>
                </a:lnTo>
                <a:lnTo>
                  <a:pt x="137584" y="174625"/>
                </a:lnTo>
                <a:lnTo>
                  <a:pt x="137584" y="171979"/>
                </a:lnTo>
                <a:lnTo>
                  <a:pt x="129646" y="166687"/>
                </a:lnTo>
                <a:lnTo>
                  <a:pt x="127000" y="164041"/>
                </a:lnTo>
                <a:lnTo>
                  <a:pt x="124354" y="161396"/>
                </a:lnTo>
                <a:lnTo>
                  <a:pt x="124354" y="164041"/>
                </a:lnTo>
                <a:lnTo>
                  <a:pt x="127000" y="166687"/>
                </a:lnTo>
                <a:lnTo>
                  <a:pt x="129646" y="169333"/>
                </a:lnTo>
                <a:lnTo>
                  <a:pt x="129646" y="171979"/>
                </a:lnTo>
                <a:lnTo>
                  <a:pt x="127000" y="171979"/>
                </a:lnTo>
                <a:lnTo>
                  <a:pt x="129646" y="174625"/>
                </a:lnTo>
                <a:lnTo>
                  <a:pt x="132292" y="177271"/>
                </a:lnTo>
                <a:lnTo>
                  <a:pt x="134938" y="179916"/>
                </a:lnTo>
                <a:lnTo>
                  <a:pt x="132292" y="179916"/>
                </a:lnTo>
                <a:lnTo>
                  <a:pt x="127000" y="179916"/>
                </a:lnTo>
                <a:lnTo>
                  <a:pt x="124354" y="177271"/>
                </a:lnTo>
                <a:lnTo>
                  <a:pt x="121708" y="171979"/>
                </a:lnTo>
                <a:lnTo>
                  <a:pt x="119062" y="169333"/>
                </a:lnTo>
                <a:lnTo>
                  <a:pt x="113771" y="169333"/>
                </a:lnTo>
                <a:lnTo>
                  <a:pt x="111125" y="166687"/>
                </a:lnTo>
                <a:lnTo>
                  <a:pt x="105833" y="164041"/>
                </a:lnTo>
                <a:lnTo>
                  <a:pt x="105833" y="161396"/>
                </a:lnTo>
                <a:lnTo>
                  <a:pt x="103187" y="161396"/>
                </a:lnTo>
                <a:lnTo>
                  <a:pt x="100541" y="164041"/>
                </a:lnTo>
                <a:lnTo>
                  <a:pt x="100541" y="166687"/>
                </a:lnTo>
                <a:lnTo>
                  <a:pt x="100541" y="169333"/>
                </a:lnTo>
                <a:lnTo>
                  <a:pt x="97896" y="171979"/>
                </a:lnTo>
                <a:lnTo>
                  <a:pt x="95250" y="174625"/>
                </a:lnTo>
                <a:lnTo>
                  <a:pt x="89958" y="174625"/>
                </a:lnTo>
                <a:lnTo>
                  <a:pt x="87312" y="171979"/>
                </a:lnTo>
                <a:lnTo>
                  <a:pt x="87312" y="169333"/>
                </a:lnTo>
                <a:lnTo>
                  <a:pt x="87312" y="166687"/>
                </a:lnTo>
                <a:lnTo>
                  <a:pt x="84666" y="166687"/>
                </a:lnTo>
                <a:lnTo>
                  <a:pt x="82021" y="166687"/>
                </a:lnTo>
                <a:lnTo>
                  <a:pt x="82021" y="164041"/>
                </a:lnTo>
                <a:lnTo>
                  <a:pt x="84666" y="161396"/>
                </a:lnTo>
                <a:lnTo>
                  <a:pt x="82021" y="158750"/>
                </a:lnTo>
                <a:lnTo>
                  <a:pt x="79375" y="156104"/>
                </a:lnTo>
                <a:lnTo>
                  <a:pt x="76729" y="158750"/>
                </a:lnTo>
                <a:lnTo>
                  <a:pt x="76729" y="161396"/>
                </a:lnTo>
                <a:lnTo>
                  <a:pt x="74083" y="164041"/>
                </a:lnTo>
                <a:lnTo>
                  <a:pt x="74083" y="158750"/>
                </a:lnTo>
                <a:lnTo>
                  <a:pt x="71437" y="153458"/>
                </a:lnTo>
                <a:lnTo>
                  <a:pt x="71437" y="150812"/>
                </a:lnTo>
                <a:lnTo>
                  <a:pt x="76729" y="145521"/>
                </a:lnTo>
                <a:lnTo>
                  <a:pt x="82021" y="142875"/>
                </a:lnTo>
                <a:lnTo>
                  <a:pt x="79375" y="140229"/>
                </a:lnTo>
                <a:lnTo>
                  <a:pt x="76729" y="132291"/>
                </a:lnTo>
                <a:lnTo>
                  <a:pt x="74083" y="132291"/>
                </a:lnTo>
                <a:lnTo>
                  <a:pt x="71437" y="132291"/>
                </a:lnTo>
                <a:lnTo>
                  <a:pt x="71437" y="134937"/>
                </a:lnTo>
                <a:lnTo>
                  <a:pt x="68791" y="132291"/>
                </a:lnTo>
                <a:lnTo>
                  <a:pt x="66146" y="132291"/>
                </a:lnTo>
                <a:lnTo>
                  <a:pt x="66146" y="134937"/>
                </a:lnTo>
                <a:lnTo>
                  <a:pt x="68791" y="140229"/>
                </a:lnTo>
                <a:lnTo>
                  <a:pt x="71437" y="140229"/>
                </a:lnTo>
                <a:lnTo>
                  <a:pt x="68791" y="142875"/>
                </a:lnTo>
                <a:lnTo>
                  <a:pt x="66146" y="142875"/>
                </a:lnTo>
                <a:lnTo>
                  <a:pt x="63500" y="142875"/>
                </a:lnTo>
                <a:lnTo>
                  <a:pt x="60854" y="137583"/>
                </a:lnTo>
                <a:lnTo>
                  <a:pt x="55562" y="134937"/>
                </a:lnTo>
                <a:lnTo>
                  <a:pt x="55562" y="132291"/>
                </a:lnTo>
                <a:lnTo>
                  <a:pt x="55562" y="129646"/>
                </a:lnTo>
                <a:lnTo>
                  <a:pt x="55562" y="127000"/>
                </a:lnTo>
                <a:lnTo>
                  <a:pt x="52916" y="127000"/>
                </a:lnTo>
                <a:lnTo>
                  <a:pt x="50270" y="127000"/>
                </a:lnTo>
                <a:lnTo>
                  <a:pt x="50270" y="129646"/>
                </a:lnTo>
                <a:lnTo>
                  <a:pt x="47625" y="127000"/>
                </a:lnTo>
                <a:lnTo>
                  <a:pt x="42333" y="124354"/>
                </a:lnTo>
                <a:lnTo>
                  <a:pt x="39687" y="119062"/>
                </a:lnTo>
                <a:lnTo>
                  <a:pt x="39687" y="113771"/>
                </a:lnTo>
                <a:lnTo>
                  <a:pt x="39687" y="108479"/>
                </a:lnTo>
                <a:lnTo>
                  <a:pt x="39687" y="105833"/>
                </a:lnTo>
                <a:lnTo>
                  <a:pt x="39687" y="103187"/>
                </a:lnTo>
                <a:lnTo>
                  <a:pt x="39687" y="100541"/>
                </a:lnTo>
                <a:lnTo>
                  <a:pt x="39687" y="97896"/>
                </a:lnTo>
                <a:lnTo>
                  <a:pt x="34395" y="92604"/>
                </a:lnTo>
                <a:lnTo>
                  <a:pt x="34395" y="87312"/>
                </a:lnTo>
                <a:lnTo>
                  <a:pt x="34395" y="84666"/>
                </a:lnTo>
                <a:lnTo>
                  <a:pt x="31750" y="84666"/>
                </a:lnTo>
                <a:lnTo>
                  <a:pt x="29104" y="84666"/>
                </a:lnTo>
                <a:lnTo>
                  <a:pt x="29104" y="82021"/>
                </a:lnTo>
                <a:lnTo>
                  <a:pt x="29104" y="76729"/>
                </a:lnTo>
                <a:lnTo>
                  <a:pt x="29104" y="74083"/>
                </a:lnTo>
                <a:lnTo>
                  <a:pt x="31750" y="74083"/>
                </a:lnTo>
                <a:lnTo>
                  <a:pt x="34395" y="71437"/>
                </a:lnTo>
                <a:lnTo>
                  <a:pt x="37041" y="71437"/>
                </a:lnTo>
                <a:lnTo>
                  <a:pt x="37041" y="76729"/>
                </a:lnTo>
                <a:lnTo>
                  <a:pt x="39687" y="76729"/>
                </a:lnTo>
                <a:lnTo>
                  <a:pt x="42333" y="76729"/>
                </a:lnTo>
                <a:lnTo>
                  <a:pt x="42333" y="79375"/>
                </a:lnTo>
                <a:lnTo>
                  <a:pt x="42333" y="82021"/>
                </a:lnTo>
                <a:lnTo>
                  <a:pt x="44979" y="84666"/>
                </a:lnTo>
                <a:lnTo>
                  <a:pt x="50270" y="84666"/>
                </a:lnTo>
                <a:lnTo>
                  <a:pt x="52916" y="84666"/>
                </a:lnTo>
                <a:lnTo>
                  <a:pt x="55562" y="82021"/>
                </a:lnTo>
                <a:lnTo>
                  <a:pt x="58208" y="76729"/>
                </a:lnTo>
                <a:lnTo>
                  <a:pt x="52916" y="74083"/>
                </a:lnTo>
                <a:lnTo>
                  <a:pt x="50270" y="74083"/>
                </a:lnTo>
                <a:lnTo>
                  <a:pt x="50270" y="71437"/>
                </a:lnTo>
                <a:lnTo>
                  <a:pt x="47625" y="68791"/>
                </a:lnTo>
                <a:lnTo>
                  <a:pt x="47625" y="66146"/>
                </a:lnTo>
                <a:lnTo>
                  <a:pt x="47625" y="63500"/>
                </a:lnTo>
                <a:lnTo>
                  <a:pt x="50270" y="60854"/>
                </a:lnTo>
                <a:lnTo>
                  <a:pt x="50270" y="58208"/>
                </a:lnTo>
                <a:lnTo>
                  <a:pt x="50270" y="55562"/>
                </a:lnTo>
                <a:lnTo>
                  <a:pt x="47625" y="52916"/>
                </a:lnTo>
                <a:lnTo>
                  <a:pt x="44979" y="50271"/>
                </a:lnTo>
                <a:lnTo>
                  <a:pt x="44979" y="47625"/>
                </a:lnTo>
                <a:lnTo>
                  <a:pt x="44979" y="44979"/>
                </a:lnTo>
                <a:lnTo>
                  <a:pt x="42333" y="42333"/>
                </a:lnTo>
                <a:lnTo>
                  <a:pt x="42333" y="39687"/>
                </a:lnTo>
                <a:lnTo>
                  <a:pt x="42333" y="37042"/>
                </a:lnTo>
                <a:lnTo>
                  <a:pt x="39687" y="37042"/>
                </a:lnTo>
                <a:lnTo>
                  <a:pt x="39687" y="34396"/>
                </a:lnTo>
                <a:lnTo>
                  <a:pt x="39687" y="31750"/>
                </a:lnTo>
                <a:lnTo>
                  <a:pt x="42333" y="29104"/>
                </a:lnTo>
                <a:lnTo>
                  <a:pt x="39687" y="26458"/>
                </a:lnTo>
                <a:lnTo>
                  <a:pt x="42333" y="23812"/>
                </a:lnTo>
                <a:lnTo>
                  <a:pt x="42333" y="21167"/>
                </a:lnTo>
                <a:lnTo>
                  <a:pt x="42333" y="18521"/>
                </a:lnTo>
                <a:lnTo>
                  <a:pt x="44979" y="15875"/>
                </a:lnTo>
                <a:lnTo>
                  <a:pt x="42333" y="13229"/>
                </a:lnTo>
                <a:lnTo>
                  <a:pt x="44979" y="10583"/>
                </a:lnTo>
                <a:lnTo>
                  <a:pt x="47625" y="7937"/>
                </a:lnTo>
                <a:lnTo>
                  <a:pt x="44979" y="7937"/>
                </a:lnTo>
                <a:lnTo>
                  <a:pt x="42333" y="5292"/>
                </a:lnTo>
                <a:lnTo>
                  <a:pt x="44979" y="5292"/>
                </a:lnTo>
                <a:lnTo>
                  <a:pt x="47625" y="2646"/>
                </a:lnTo>
                <a:lnTo>
                  <a:pt x="50270" y="5292"/>
                </a:lnTo>
                <a:lnTo>
                  <a:pt x="52916" y="2646"/>
                </a:lnTo>
                <a:lnTo>
                  <a:pt x="55562" y="5292"/>
                </a:lnTo>
                <a:lnTo>
                  <a:pt x="60854" y="5292"/>
                </a:lnTo>
                <a:lnTo>
                  <a:pt x="63500" y="2646"/>
                </a:lnTo>
                <a:lnTo>
                  <a:pt x="74083" y="5292"/>
                </a:lnTo>
                <a:lnTo>
                  <a:pt x="79375" y="7937"/>
                </a:lnTo>
                <a:lnTo>
                  <a:pt x="84666" y="7937"/>
                </a:lnTo>
                <a:lnTo>
                  <a:pt x="87312" y="5292"/>
                </a:lnTo>
                <a:lnTo>
                  <a:pt x="87312" y="2646"/>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54" name="Poland"/>
          <p:cNvSpPr>
            <a:spLocks/>
          </p:cNvSpPr>
          <p:nvPr/>
        </p:nvSpPr>
        <p:spPr bwMode="auto">
          <a:xfrm>
            <a:off x="4618922" y="1304875"/>
            <a:ext cx="209652" cy="118358"/>
          </a:xfrm>
          <a:custGeom>
            <a:avLst/>
            <a:gdLst/>
            <a:ahLst/>
            <a:cxnLst>
              <a:cxn ang="0">
                <a:pos x="18" y="72"/>
              </a:cxn>
              <a:cxn ang="0">
                <a:pos x="16" y="60"/>
              </a:cxn>
              <a:cxn ang="0">
                <a:pos x="12" y="46"/>
              </a:cxn>
              <a:cxn ang="0">
                <a:pos x="10" y="40"/>
              </a:cxn>
              <a:cxn ang="0">
                <a:pos x="6" y="38"/>
              </a:cxn>
              <a:cxn ang="0">
                <a:pos x="0" y="34"/>
              </a:cxn>
              <a:cxn ang="0">
                <a:pos x="2" y="28"/>
              </a:cxn>
              <a:cxn ang="0">
                <a:pos x="4" y="26"/>
              </a:cxn>
              <a:cxn ang="0">
                <a:pos x="4" y="18"/>
              </a:cxn>
              <a:cxn ang="0">
                <a:pos x="10" y="18"/>
              </a:cxn>
              <a:cxn ang="0">
                <a:pos x="16" y="12"/>
              </a:cxn>
              <a:cxn ang="0">
                <a:pos x="32" y="8"/>
              </a:cxn>
              <a:cxn ang="0">
                <a:pos x="50" y="6"/>
              </a:cxn>
              <a:cxn ang="0">
                <a:pos x="64" y="0"/>
              </a:cxn>
              <a:cxn ang="0">
                <a:pos x="82" y="0"/>
              </a:cxn>
              <a:cxn ang="0">
                <a:pos x="90" y="6"/>
              </a:cxn>
              <a:cxn ang="0">
                <a:pos x="86" y="4"/>
              </a:cxn>
              <a:cxn ang="0">
                <a:pos x="84" y="6"/>
              </a:cxn>
              <a:cxn ang="0">
                <a:pos x="86" y="10"/>
              </a:cxn>
              <a:cxn ang="0">
                <a:pos x="94" y="10"/>
              </a:cxn>
              <a:cxn ang="0">
                <a:pos x="98" y="4"/>
              </a:cxn>
              <a:cxn ang="0">
                <a:pos x="94" y="12"/>
              </a:cxn>
              <a:cxn ang="0">
                <a:pos x="96" y="12"/>
              </a:cxn>
              <a:cxn ang="0">
                <a:pos x="100" y="8"/>
              </a:cxn>
              <a:cxn ang="0">
                <a:pos x="120" y="10"/>
              </a:cxn>
              <a:cxn ang="0">
                <a:pos x="130" y="8"/>
              </a:cxn>
              <a:cxn ang="0">
                <a:pos x="144" y="8"/>
              </a:cxn>
              <a:cxn ang="0">
                <a:pos x="150" y="6"/>
              </a:cxn>
              <a:cxn ang="0">
                <a:pos x="154" y="8"/>
              </a:cxn>
              <a:cxn ang="0">
                <a:pos x="158" y="10"/>
              </a:cxn>
              <a:cxn ang="0">
                <a:pos x="164" y="18"/>
              </a:cxn>
              <a:cxn ang="0">
                <a:pos x="170" y="26"/>
              </a:cxn>
              <a:cxn ang="0">
                <a:pos x="166" y="38"/>
              </a:cxn>
              <a:cxn ang="0">
                <a:pos x="162" y="44"/>
              </a:cxn>
              <a:cxn ang="0">
                <a:pos x="168" y="58"/>
              </a:cxn>
              <a:cxn ang="0">
                <a:pos x="180" y="72"/>
              </a:cxn>
              <a:cxn ang="0">
                <a:pos x="184" y="76"/>
              </a:cxn>
              <a:cxn ang="0">
                <a:pos x="180" y="78"/>
              </a:cxn>
              <a:cxn ang="0">
                <a:pos x="180" y="80"/>
              </a:cxn>
              <a:cxn ang="0">
                <a:pos x="174" y="86"/>
              </a:cxn>
              <a:cxn ang="0">
                <a:pos x="166" y="96"/>
              </a:cxn>
              <a:cxn ang="0">
                <a:pos x="164" y="104"/>
              </a:cxn>
              <a:cxn ang="0">
                <a:pos x="160" y="104"/>
              </a:cxn>
              <a:cxn ang="0">
                <a:pos x="140" y="98"/>
              </a:cxn>
              <a:cxn ang="0">
                <a:pos x="132" y="98"/>
              </a:cxn>
              <a:cxn ang="0">
                <a:pos x="130" y="102"/>
              </a:cxn>
              <a:cxn ang="0">
                <a:pos x="122" y="98"/>
              </a:cxn>
              <a:cxn ang="0">
                <a:pos x="118" y="100"/>
              </a:cxn>
              <a:cxn ang="0">
                <a:pos x="112" y="98"/>
              </a:cxn>
              <a:cxn ang="0">
                <a:pos x="106" y="98"/>
              </a:cxn>
              <a:cxn ang="0">
                <a:pos x="96" y="96"/>
              </a:cxn>
              <a:cxn ang="0">
                <a:pos x="72" y="86"/>
              </a:cxn>
              <a:cxn ang="0">
                <a:pos x="68" y="80"/>
              </a:cxn>
              <a:cxn ang="0">
                <a:pos x="62" y="80"/>
              </a:cxn>
              <a:cxn ang="0">
                <a:pos x="56" y="80"/>
              </a:cxn>
              <a:cxn ang="0">
                <a:pos x="56" y="82"/>
              </a:cxn>
              <a:cxn ang="0">
                <a:pos x="52" y="84"/>
              </a:cxn>
              <a:cxn ang="0">
                <a:pos x="46" y="80"/>
              </a:cxn>
              <a:cxn ang="0">
                <a:pos x="28" y="76"/>
              </a:cxn>
              <a:cxn ang="0">
                <a:pos x="18" y="74"/>
              </a:cxn>
            </a:cxnLst>
            <a:rect l="0" t="0" r="r" b="b"/>
            <a:pathLst>
              <a:path w="184" h="104">
                <a:moveTo>
                  <a:pt x="18" y="74"/>
                </a:moveTo>
                <a:lnTo>
                  <a:pt x="18" y="74"/>
                </a:lnTo>
                <a:lnTo>
                  <a:pt x="18" y="72"/>
                </a:lnTo>
                <a:lnTo>
                  <a:pt x="18" y="68"/>
                </a:lnTo>
                <a:lnTo>
                  <a:pt x="18" y="68"/>
                </a:lnTo>
                <a:lnTo>
                  <a:pt x="16" y="60"/>
                </a:lnTo>
                <a:lnTo>
                  <a:pt x="12" y="50"/>
                </a:lnTo>
                <a:lnTo>
                  <a:pt x="12" y="50"/>
                </a:lnTo>
                <a:lnTo>
                  <a:pt x="12" y="46"/>
                </a:lnTo>
                <a:lnTo>
                  <a:pt x="12" y="42"/>
                </a:lnTo>
                <a:lnTo>
                  <a:pt x="12" y="42"/>
                </a:lnTo>
                <a:lnTo>
                  <a:pt x="10" y="40"/>
                </a:lnTo>
                <a:lnTo>
                  <a:pt x="8" y="40"/>
                </a:lnTo>
                <a:lnTo>
                  <a:pt x="6" y="38"/>
                </a:lnTo>
                <a:lnTo>
                  <a:pt x="6" y="38"/>
                </a:lnTo>
                <a:lnTo>
                  <a:pt x="2" y="36"/>
                </a:lnTo>
                <a:lnTo>
                  <a:pt x="0" y="36"/>
                </a:lnTo>
                <a:lnTo>
                  <a:pt x="0" y="34"/>
                </a:lnTo>
                <a:lnTo>
                  <a:pt x="0" y="34"/>
                </a:lnTo>
                <a:lnTo>
                  <a:pt x="0" y="32"/>
                </a:lnTo>
                <a:lnTo>
                  <a:pt x="2" y="28"/>
                </a:lnTo>
                <a:lnTo>
                  <a:pt x="4" y="26"/>
                </a:lnTo>
                <a:lnTo>
                  <a:pt x="4" y="26"/>
                </a:lnTo>
                <a:lnTo>
                  <a:pt x="4" y="26"/>
                </a:lnTo>
                <a:lnTo>
                  <a:pt x="4" y="22"/>
                </a:lnTo>
                <a:lnTo>
                  <a:pt x="4" y="18"/>
                </a:lnTo>
                <a:lnTo>
                  <a:pt x="4" y="18"/>
                </a:lnTo>
                <a:lnTo>
                  <a:pt x="8" y="18"/>
                </a:lnTo>
                <a:lnTo>
                  <a:pt x="8" y="18"/>
                </a:lnTo>
                <a:lnTo>
                  <a:pt x="10" y="18"/>
                </a:lnTo>
                <a:lnTo>
                  <a:pt x="10" y="16"/>
                </a:lnTo>
                <a:lnTo>
                  <a:pt x="12" y="12"/>
                </a:lnTo>
                <a:lnTo>
                  <a:pt x="16" y="12"/>
                </a:lnTo>
                <a:lnTo>
                  <a:pt x="16" y="12"/>
                </a:lnTo>
                <a:lnTo>
                  <a:pt x="32" y="8"/>
                </a:lnTo>
                <a:lnTo>
                  <a:pt x="32" y="8"/>
                </a:lnTo>
                <a:lnTo>
                  <a:pt x="42" y="8"/>
                </a:lnTo>
                <a:lnTo>
                  <a:pt x="44" y="8"/>
                </a:lnTo>
                <a:lnTo>
                  <a:pt x="50" y="6"/>
                </a:lnTo>
                <a:lnTo>
                  <a:pt x="50" y="6"/>
                </a:lnTo>
                <a:lnTo>
                  <a:pt x="54" y="2"/>
                </a:lnTo>
                <a:lnTo>
                  <a:pt x="64" y="0"/>
                </a:lnTo>
                <a:lnTo>
                  <a:pt x="64" y="0"/>
                </a:lnTo>
                <a:lnTo>
                  <a:pt x="74" y="0"/>
                </a:lnTo>
                <a:lnTo>
                  <a:pt x="82" y="0"/>
                </a:lnTo>
                <a:lnTo>
                  <a:pt x="82" y="0"/>
                </a:lnTo>
                <a:lnTo>
                  <a:pt x="88" y="4"/>
                </a:lnTo>
                <a:lnTo>
                  <a:pt x="90" y="6"/>
                </a:lnTo>
                <a:lnTo>
                  <a:pt x="88" y="6"/>
                </a:lnTo>
                <a:lnTo>
                  <a:pt x="88" y="6"/>
                </a:lnTo>
                <a:lnTo>
                  <a:pt x="86" y="4"/>
                </a:lnTo>
                <a:lnTo>
                  <a:pt x="84" y="4"/>
                </a:lnTo>
                <a:lnTo>
                  <a:pt x="84" y="6"/>
                </a:lnTo>
                <a:lnTo>
                  <a:pt x="84" y="6"/>
                </a:lnTo>
                <a:lnTo>
                  <a:pt x="84" y="8"/>
                </a:lnTo>
                <a:lnTo>
                  <a:pt x="86" y="10"/>
                </a:lnTo>
                <a:lnTo>
                  <a:pt x="86" y="10"/>
                </a:lnTo>
                <a:lnTo>
                  <a:pt x="90" y="12"/>
                </a:lnTo>
                <a:lnTo>
                  <a:pt x="94" y="10"/>
                </a:lnTo>
                <a:lnTo>
                  <a:pt x="94" y="10"/>
                </a:lnTo>
                <a:lnTo>
                  <a:pt x="98" y="6"/>
                </a:lnTo>
                <a:lnTo>
                  <a:pt x="98" y="6"/>
                </a:lnTo>
                <a:lnTo>
                  <a:pt x="98" y="4"/>
                </a:lnTo>
                <a:lnTo>
                  <a:pt x="98" y="6"/>
                </a:lnTo>
                <a:lnTo>
                  <a:pt x="98" y="6"/>
                </a:lnTo>
                <a:lnTo>
                  <a:pt x="94" y="12"/>
                </a:lnTo>
                <a:lnTo>
                  <a:pt x="94" y="12"/>
                </a:lnTo>
                <a:lnTo>
                  <a:pt x="96" y="12"/>
                </a:lnTo>
                <a:lnTo>
                  <a:pt x="96" y="12"/>
                </a:lnTo>
                <a:lnTo>
                  <a:pt x="98" y="12"/>
                </a:lnTo>
                <a:lnTo>
                  <a:pt x="98" y="12"/>
                </a:lnTo>
                <a:lnTo>
                  <a:pt x="100" y="8"/>
                </a:lnTo>
                <a:lnTo>
                  <a:pt x="100" y="8"/>
                </a:lnTo>
                <a:lnTo>
                  <a:pt x="114" y="8"/>
                </a:lnTo>
                <a:lnTo>
                  <a:pt x="120" y="10"/>
                </a:lnTo>
                <a:lnTo>
                  <a:pt x="126" y="10"/>
                </a:lnTo>
                <a:lnTo>
                  <a:pt x="130" y="8"/>
                </a:lnTo>
                <a:lnTo>
                  <a:pt x="130" y="8"/>
                </a:lnTo>
                <a:lnTo>
                  <a:pt x="136" y="6"/>
                </a:lnTo>
                <a:lnTo>
                  <a:pt x="140" y="8"/>
                </a:lnTo>
                <a:lnTo>
                  <a:pt x="144" y="8"/>
                </a:lnTo>
                <a:lnTo>
                  <a:pt x="146" y="6"/>
                </a:lnTo>
                <a:lnTo>
                  <a:pt x="146" y="6"/>
                </a:lnTo>
                <a:lnTo>
                  <a:pt x="150" y="6"/>
                </a:lnTo>
                <a:lnTo>
                  <a:pt x="150" y="6"/>
                </a:lnTo>
                <a:lnTo>
                  <a:pt x="152" y="8"/>
                </a:lnTo>
                <a:lnTo>
                  <a:pt x="154" y="8"/>
                </a:lnTo>
                <a:lnTo>
                  <a:pt x="154" y="8"/>
                </a:lnTo>
                <a:lnTo>
                  <a:pt x="156" y="8"/>
                </a:lnTo>
                <a:lnTo>
                  <a:pt x="158" y="10"/>
                </a:lnTo>
                <a:lnTo>
                  <a:pt x="162" y="14"/>
                </a:lnTo>
                <a:lnTo>
                  <a:pt x="162" y="14"/>
                </a:lnTo>
                <a:lnTo>
                  <a:pt x="164" y="18"/>
                </a:lnTo>
                <a:lnTo>
                  <a:pt x="166" y="24"/>
                </a:lnTo>
                <a:lnTo>
                  <a:pt x="166" y="24"/>
                </a:lnTo>
                <a:lnTo>
                  <a:pt x="170" y="26"/>
                </a:lnTo>
                <a:lnTo>
                  <a:pt x="172" y="30"/>
                </a:lnTo>
                <a:lnTo>
                  <a:pt x="172" y="34"/>
                </a:lnTo>
                <a:lnTo>
                  <a:pt x="166" y="38"/>
                </a:lnTo>
                <a:lnTo>
                  <a:pt x="166" y="38"/>
                </a:lnTo>
                <a:lnTo>
                  <a:pt x="162" y="40"/>
                </a:lnTo>
                <a:lnTo>
                  <a:pt x="162" y="44"/>
                </a:lnTo>
                <a:lnTo>
                  <a:pt x="166" y="48"/>
                </a:lnTo>
                <a:lnTo>
                  <a:pt x="168" y="58"/>
                </a:lnTo>
                <a:lnTo>
                  <a:pt x="168" y="58"/>
                </a:lnTo>
                <a:lnTo>
                  <a:pt x="172" y="66"/>
                </a:lnTo>
                <a:lnTo>
                  <a:pt x="176" y="70"/>
                </a:lnTo>
                <a:lnTo>
                  <a:pt x="180" y="72"/>
                </a:lnTo>
                <a:lnTo>
                  <a:pt x="184" y="74"/>
                </a:lnTo>
                <a:lnTo>
                  <a:pt x="184" y="74"/>
                </a:lnTo>
                <a:lnTo>
                  <a:pt x="184" y="76"/>
                </a:lnTo>
                <a:lnTo>
                  <a:pt x="182" y="74"/>
                </a:lnTo>
                <a:lnTo>
                  <a:pt x="180" y="74"/>
                </a:lnTo>
                <a:lnTo>
                  <a:pt x="180" y="78"/>
                </a:lnTo>
                <a:lnTo>
                  <a:pt x="180" y="78"/>
                </a:lnTo>
                <a:lnTo>
                  <a:pt x="182" y="80"/>
                </a:lnTo>
                <a:lnTo>
                  <a:pt x="180" y="80"/>
                </a:lnTo>
                <a:lnTo>
                  <a:pt x="176" y="82"/>
                </a:lnTo>
                <a:lnTo>
                  <a:pt x="174" y="86"/>
                </a:lnTo>
                <a:lnTo>
                  <a:pt x="174" y="86"/>
                </a:lnTo>
                <a:lnTo>
                  <a:pt x="168" y="92"/>
                </a:lnTo>
                <a:lnTo>
                  <a:pt x="166" y="94"/>
                </a:lnTo>
                <a:lnTo>
                  <a:pt x="166" y="96"/>
                </a:lnTo>
                <a:lnTo>
                  <a:pt x="166" y="100"/>
                </a:lnTo>
                <a:lnTo>
                  <a:pt x="166" y="100"/>
                </a:lnTo>
                <a:lnTo>
                  <a:pt x="164" y="104"/>
                </a:lnTo>
                <a:lnTo>
                  <a:pt x="164" y="104"/>
                </a:lnTo>
                <a:lnTo>
                  <a:pt x="160" y="104"/>
                </a:lnTo>
                <a:lnTo>
                  <a:pt x="160" y="104"/>
                </a:lnTo>
                <a:lnTo>
                  <a:pt x="152" y="104"/>
                </a:lnTo>
                <a:lnTo>
                  <a:pt x="146" y="100"/>
                </a:lnTo>
                <a:lnTo>
                  <a:pt x="140" y="98"/>
                </a:lnTo>
                <a:lnTo>
                  <a:pt x="136" y="96"/>
                </a:lnTo>
                <a:lnTo>
                  <a:pt x="136" y="96"/>
                </a:lnTo>
                <a:lnTo>
                  <a:pt x="132" y="98"/>
                </a:lnTo>
                <a:lnTo>
                  <a:pt x="132" y="100"/>
                </a:lnTo>
                <a:lnTo>
                  <a:pt x="132" y="100"/>
                </a:lnTo>
                <a:lnTo>
                  <a:pt x="130" y="102"/>
                </a:lnTo>
                <a:lnTo>
                  <a:pt x="130" y="102"/>
                </a:lnTo>
                <a:lnTo>
                  <a:pt x="126" y="100"/>
                </a:lnTo>
                <a:lnTo>
                  <a:pt x="122" y="98"/>
                </a:lnTo>
                <a:lnTo>
                  <a:pt x="122" y="98"/>
                </a:lnTo>
                <a:lnTo>
                  <a:pt x="120" y="98"/>
                </a:lnTo>
                <a:lnTo>
                  <a:pt x="118" y="100"/>
                </a:lnTo>
                <a:lnTo>
                  <a:pt x="116" y="100"/>
                </a:lnTo>
                <a:lnTo>
                  <a:pt x="112" y="98"/>
                </a:lnTo>
                <a:lnTo>
                  <a:pt x="112" y="98"/>
                </a:lnTo>
                <a:lnTo>
                  <a:pt x="108" y="94"/>
                </a:lnTo>
                <a:lnTo>
                  <a:pt x="106" y="98"/>
                </a:lnTo>
                <a:lnTo>
                  <a:pt x="106" y="98"/>
                </a:lnTo>
                <a:lnTo>
                  <a:pt x="104" y="100"/>
                </a:lnTo>
                <a:lnTo>
                  <a:pt x="96" y="96"/>
                </a:lnTo>
                <a:lnTo>
                  <a:pt x="96" y="96"/>
                </a:lnTo>
                <a:lnTo>
                  <a:pt x="86" y="90"/>
                </a:lnTo>
                <a:lnTo>
                  <a:pt x="78" y="88"/>
                </a:lnTo>
                <a:lnTo>
                  <a:pt x="72" y="86"/>
                </a:lnTo>
                <a:lnTo>
                  <a:pt x="70" y="84"/>
                </a:lnTo>
                <a:lnTo>
                  <a:pt x="70" y="84"/>
                </a:lnTo>
                <a:lnTo>
                  <a:pt x="68" y="80"/>
                </a:lnTo>
                <a:lnTo>
                  <a:pt x="66" y="80"/>
                </a:lnTo>
                <a:lnTo>
                  <a:pt x="66" y="80"/>
                </a:lnTo>
                <a:lnTo>
                  <a:pt x="62" y="80"/>
                </a:lnTo>
                <a:lnTo>
                  <a:pt x="58" y="78"/>
                </a:lnTo>
                <a:lnTo>
                  <a:pt x="56" y="78"/>
                </a:lnTo>
                <a:lnTo>
                  <a:pt x="56" y="80"/>
                </a:lnTo>
                <a:lnTo>
                  <a:pt x="56" y="80"/>
                </a:lnTo>
                <a:lnTo>
                  <a:pt x="58" y="82"/>
                </a:lnTo>
                <a:lnTo>
                  <a:pt x="56" y="82"/>
                </a:lnTo>
                <a:lnTo>
                  <a:pt x="54" y="82"/>
                </a:lnTo>
                <a:lnTo>
                  <a:pt x="52" y="84"/>
                </a:lnTo>
                <a:lnTo>
                  <a:pt x="52" y="84"/>
                </a:lnTo>
                <a:lnTo>
                  <a:pt x="52" y="84"/>
                </a:lnTo>
                <a:lnTo>
                  <a:pt x="50" y="82"/>
                </a:lnTo>
                <a:lnTo>
                  <a:pt x="46" y="80"/>
                </a:lnTo>
                <a:lnTo>
                  <a:pt x="42" y="78"/>
                </a:lnTo>
                <a:lnTo>
                  <a:pt x="42" y="78"/>
                </a:lnTo>
                <a:lnTo>
                  <a:pt x="28" y="76"/>
                </a:lnTo>
                <a:lnTo>
                  <a:pt x="22" y="74"/>
                </a:lnTo>
                <a:lnTo>
                  <a:pt x="20" y="72"/>
                </a:lnTo>
                <a:lnTo>
                  <a:pt x="18" y="74"/>
                </a:lnTo>
                <a:lnTo>
                  <a:pt x="18" y="74"/>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55" name="Portugal"/>
          <p:cNvSpPr>
            <a:spLocks/>
          </p:cNvSpPr>
          <p:nvPr/>
        </p:nvSpPr>
        <p:spPr bwMode="auto">
          <a:xfrm>
            <a:off x="4135810" y="1596219"/>
            <a:ext cx="63807" cy="127463"/>
          </a:xfrm>
          <a:custGeom>
            <a:avLst/>
            <a:gdLst/>
            <a:ahLst/>
            <a:cxnLst>
              <a:cxn ang="0">
                <a:pos x="32" y="110"/>
              </a:cxn>
              <a:cxn ang="0">
                <a:pos x="22" y="112"/>
              </a:cxn>
              <a:cxn ang="0">
                <a:pos x="18" y="110"/>
              </a:cxn>
              <a:cxn ang="0">
                <a:pos x="12" y="110"/>
              </a:cxn>
              <a:cxn ang="0">
                <a:pos x="4" y="110"/>
              </a:cxn>
              <a:cxn ang="0">
                <a:pos x="2" y="108"/>
              </a:cxn>
              <a:cxn ang="0">
                <a:pos x="6" y="104"/>
              </a:cxn>
              <a:cxn ang="0">
                <a:pos x="10" y="98"/>
              </a:cxn>
              <a:cxn ang="0">
                <a:pos x="10" y="94"/>
              </a:cxn>
              <a:cxn ang="0">
                <a:pos x="10" y="92"/>
              </a:cxn>
              <a:cxn ang="0">
                <a:pos x="10" y="80"/>
              </a:cxn>
              <a:cxn ang="0">
                <a:pos x="12" y="78"/>
              </a:cxn>
              <a:cxn ang="0">
                <a:pos x="4" y="80"/>
              </a:cxn>
              <a:cxn ang="0">
                <a:pos x="4" y="72"/>
              </a:cxn>
              <a:cxn ang="0">
                <a:pos x="2" y="72"/>
              </a:cxn>
              <a:cxn ang="0">
                <a:pos x="0" y="68"/>
              </a:cxn>
              <a:cxn ang="0">
                <a:pos x="0" y="62"/>
              </a:cxn>
              <a:cxn ang="0">
                <a:pos x="0" y="58"/>
              </a:cxn>
              <a:cxn ang="0">
                <a:pos x="6" y="52"/>
              </a:cxn>
              <a:cxn ang="0">
                <a:pos x="8" y="46"/>
              </a:cxn>
              <a:cxn ang="0">
                <a:pos x="12" y="32"/>
              </a:cxn>
              <a:cxn ang="0">
                <a:pos x="16" y="18"/>
              </a:cxn>
              <a:cxn ang="0">
                <a:pos x="16" y="12"/>
              </a:cxn>
              <a:cxn ang="0">
                <a:pos x="16" y="10"/>
              </a:cxn>
              <a:cxn ang="0">
                <a:pos x="16" y="6"/>
              </a:cxn>
              <a:cxn ang="0">
                <a:pos x="18" y="2"/>
              </a:cxn>
              <a:cxn ang="0">
                <a:pos x="20" y="0"/>
              </a:cxn>
              <a:cxn ang="0">
                <a:pos x="30" y="0"/>
              </a:cxn>
              <a:cxn ang="0">
                <a:pos x="30" y="4"/>
              </a:cxn>
              <a:cxn ang="0">
                <a:pos x="32" y="6"/>
              </a:cxn>
              <a:cxn ang="0">
                <a:pos x="42" y="6"/>
              </a:cxn>
              <a:cxn ang="0">
                <a:pos x="50" y="4"/>
              </a:cxn>
              <a:cxn ang="0">
                <a:pos x="54" y="8"/>
              </a:cxn>
              <a:cxn ang="0">
                <a:pos x="56" y="10"/>
              </a:cxn>
              <a:cxn ang="0">
                <a:pos x="52" y="14"/>
              </a:cxn>
              <a:cxn ang="0">
                <a:pos x="46" y="24"/>
              </a:cxn>
              <a:cxn ang="0">
                <a:pos x="44" y="24"/>
              </a:cxn>
              <a:cxn ang="0">
                <a:pos x="46" y="28"/>
              </a:cxn>
              <a:cxn ang="0">
                <a:pos x="44" y="36"/>
              </a:cxn>
              <a:cxn ang="0">
                <a:pos x="44" y="38"/>
              </a:cxn>
              <a:cxn ang="0">
                <a:pos x="46" y="42"/>
              </a:cxn>
              <a:cxn ang="0">
                <a:pos x="42" y="52"/>
              </a:cxn>
              <a:cxn ang="0">
                <a:pos x="34" y="52"/>
              </a:cxn>
              <a:cxn ang="0">
                <a:pos x="40" y="64"/>
              </a:cxn>
              <a:cxn ang="0">
                <a:pos x="40" y="72"/>
              </a:cxn>
              <a:cxn ang="0">
                <a:pos x="36" y="80"/>
              </a:cxn>
              <a:cxn ang="0">
                <a:pos x="40" y="86"/>
              </a:cxn>
              <a:cxn ang="0">
                <a:pos x="38" y="92"/>
              </a:cxn>
              <a:cxn ang="0">
                <a:pos x="32" y="102"/>
              </a:cxn>
              <a:cxn ang="0">
                <a:pos x="34" y="106"/>
              </a:cxn>
            </a:cxnLst>
            <a:rect l="0" t="0" r="r" b="b"/>
            <a:pathLst>
              <a:path w="56" h="112">
                <a:moveTo>
                  <a:pt x="34" y="106"/>
                </a:moveTo>
                <a:lnTo>
                  <a:pt x="34" y="106"/>
                </a:lnTo>
                <a:lnTo>
                  <a:pt x="32" y="110"/>
                </a:lnTo>
                <a:lnTo>
                  <a:pt x="28" y="110"/>
                </a:lnTo>
                <a:lnTo>
                  <a:pt x="28" y="110"/>
                </a:lnTo>
                <a:lnTo>
                  <a:pt x="22" y="112"/>
                </a:lnTo>
                <a:lnTo>
                  <a:pt x="20" y="112"/>
                </a:lnTo>
                <a:lnTo>
                  <a:pt x="18" y="110"/>
                </a:lnTo>
                <a:lnTo>
                  <a:pt x="18" y="110"/>
                </a:lnTo>
                <a:lnTo>
                  <a:pt x="16" y="110"/>
                </a:lnTo>
                <a:lnTo>
                  <a:pt x="12" y="110"/>
                </a:lnTo>
                <a:lnTo>
                  <a:pt x="12" y="110"/>
                </a:lnTo>
                <a:lnTo>
                  <a:pt x="10" y="110"/>
                </a:lnTo>
                <a:lnTo>
                  <a:pt x="4" y="110"/>
                </a:lnTo>
                <a:lnTo>
                  <a:pt x="4" y="110"/>
                </a:lnTo>
                <a:lnTo>
                  <a:pt x="2" y="110"/>
                </a:lnTo>
                <a:lnTo>
                  <a:pt x="2" y="108"/>
                </a:lnTo>
                <a:lnTo>
                  <a:pt x="2" y="108"/>
                </a:lnTo>
                <a:lnTo>
                  <a:pt x="2" y="108"/>
                </a:lnTo>
                <a:lnTo>
                  <a:pt x="4" y="106"/>
                </a:lnTo>
                <a:lnTo>
                  <a:pt x="6" y="104"/>
                </a:lnTo>
                <a:lnTo>
                  <a:pt x="8" y="100"/>
                </a:lnTo>
                <a:lnTo>
                  <a:pt x="8" y="100"/>
                </a:lnTo>
                <a:lnTo>
                  <a:pt x="10" y="98"/>
                </a:lnTo>
                <a:lnTo>
                  <a:pt x="10" y="94"/>
                </a:lnTo>
                <a:lnTo>
                  <a:pt x="10" y="94"/>
                </a:lnTo>
                <a:lnTo>
                  <a:pt x="10" y="94"/>
                </a:lnTo>
                <a:lnTo>
                  <a:pt x="10" y="94"/>
                </a:lnTo>
                <a:lnTo>
                  <a:pt x="10" y="94"/>
                </a:lnTo>
                <a:lnTo>
                  <a:pt x="10" y="92"/>
                </a:lnTo>
                <a:lnTo>
                  <a:pt x="10" y="92"/>
                </a:lnTo>
                <a:lnTo>
                  <a:pt x="10" y="86"/>
                </a:lnTo>
                <a:lnTo>
                  <a:pt x="10" y="80"/>
                </a:lnTo>
                <a:lnTo>
                  <a:pt x="10" y="80"/>
                </a:lnTo>
                <a:lnTo>
                  <a:pt x="10" y="78"/>
                </a:lnTo>
                <a:lnTo>
                  <a:pt x="12" y="78"/>
                </a:lnTo>
                <a:lnTo>
                  <a:pt x="12" y="78"/>
                </a:lnTo>
                <a:lnTo>
                  <a:pt x="6" y="80"/>
                </a:lnTo>
                <a:lnTo>
                  <a:pt x="4" y="80"/>
                </a:lnTo>
                <a:lnTo>
                  <a:pt x="2" y="78"/>
                </a:lnTo>
                <a:lnTo>
                  <a:pt x="2" y="78"/>
                </a:lnTo>
                <a:lnTo>
                  <a:pt x="4" y="72"/>
                </a:lnTo>
                <a:lnTo>
                  <a:pt x="4" y="72"/>
                </a:lnTo>
                <a:lnTo>
                  <a:pt x="4" y="72"/>
                </a:lnTo>
                <a:lnTo>
                  <a:pt x="2" y="72"/>
                </a:lnTo>
                <a:lnTo>
                  <a:pt x="2" y="72"/>
                </a:lnTo>
                <a:lnTo>
                  <a:pt x="0" y="72"/>
                </a:lnTo>
                <a:lnTo>
                  <a:pt x="0" y="68"/>
                </a:lnTo>
                <a:lnTo>
                  <a:pt x="0" y="68"/>
                </a:lnTo>
                <a:lnTo>
                  <a:pt x="0" y="64"/>
                </a:lnTo>
                <a:lnTo>
                  <a:pt x="0" y="62"/>
                </a:lnTo>
                <a:lnTo>
                  <a:pt x="0" y="58"/>
                </a:lnTo>
                <a:lnTo>
                  <a:pt x="0" y="58"/>
                </a:lnTo>
                <a:lnTo>
                  <a:pt x="0" y="58"/>
                </a:lnTo>
                <a:lnTo>
                  <a:pt x="2" y="56"/>
                </a:lnTo>
                <a:lnTo>
                  <a:pt x="6" y="52"/>
                </a:lnTo>
                <a:lnTo>
                  <a:pt x="6" y="52"/>
                </a:lnTo>
                <a:lnTo>
                  <a:pt x="8" y="48"/>
                </a:lnTo>
                <a:lnTo>
                  <a:pt x="8" y="46"/>
                </a:lnTo>
                <a:lnTo>
                  <a:pt x="8" y="46"/>
                </a:lnTo>
                <a:lnTo>
                  <a:pt x="8" y="44"/>
                </a:lnTo>
                <a:lnTo>
                  <a:pt x="8" y="44"/>
                </a:lnTo>
                <a:lnTo>
                  <a:pt x="12" y="32"/>
                </a:lnTo>
                <a:lnTo>
                  <a:pt x="12" y="32"/>
                </a:lnTo>
                <a:lnTo>
                  <a:pt x="14" y="26"/>
                </a:lnTo>
                <a:lnTo>
                  <a:pt x="16" y="18"/>
                </a:lnTo>
                <a:lnTo>
                  <a:pt x="16" y="18"/>
                </a:lnTo>
                <a:lnTo>
                  <a:pt x="16" y="14"/>
                </a:lnTo>
                <a:lnTo>
                  <a:pt x="16" y="12"/>
                </a:lnTo>
                <a:lnTo>
                  <a:pt x="16" y="10"/>
                </a:lnTo>
                <a:lnTo>
                  <a:pt x="16" y="10"/>
                </a:lnTo>
                <a:lnTo>
                  <a:pt x="16" y="10"/>
                </a:lnTo>
                <a:lnTo>
                  <a:pt x="16" y="8"/>
                </a:lnTo>
                <a:lnTo>
                  <a:pt x="16" y="6"/>
                </a:lnTo>
                <a:lnTo>
                  <a:pt x="16" y="6"/>
                </a:lnTo>
                <a:lnTo>
                  <a:pt x="16" y="4"/>
                </a:lnTo>
                <a:lnTo>
                  <a:pt x="16" y="4"/>
                </a:lnTo>
                <a:lnTo>
                  <a:pt x="18" y="2"/>
                </a:lnTo>
                <a:lnTo>
                  <a:pt x="16" y="2"/>
                </a:lnTo>
                <a:lnTo>
                  <a:pt x="16" y="2"/>
                </a:lnTo>
                <a:lnTo>
                  <a:pt x="20" y="0"/>
                </a:lnTo>
                <a:lnTo>
                  <a:pt x="24" y="0"/>
                </a:lnTo>
                <a:lnTo>
                  <a:pt x="24" y="0"/>
                </a:lnTo>
                <a:lnTo>
                  <a:pt x="30" y="0"/>
                </a:lnTo>
                <a:lnTo>
                  <a:pt x="30" y="2"/>
                </a:lnTo>
                <a:lnTo>
                  <a:pt x="30" y="4"/>
                </a:lnTo>
                <a:lnTo>
                  <a:pt x="30" y="4"/>
                </a:lnTo>
                <a:lnTo>
                  <a:pt x="30" y="6"/>
                </a:lnTo>
                <a:lnTo>
                  <a:pt x="32" y="6"/>
                </a:lnTo>
                <a:lnTo>
                  <a:pt x="32" y="6"/>
                </a:lnTo>
                <a:lnTo>
                  <a:pt x="38" y="4"/>
                </a:lnTo>
                <a:lnTo>
                  <a:pt x="42" y="6"/>
                </a:lnTo>
                <a:lnTo>
                  <a:pt x="42" y="6"/>
                </a:lnTo>
                <a:lnTo>
                  <a:pt x="44" y="6"/>
                </a:lnTo>
                <a:lnTo>
                  <a:pt x="46" y="6"/>
                </a:lnTo>
                <a:lnTo>
                  <a:pt x="50" y="4"/>
                </a:lnTo>
                <a:lnTo>
                  <a:pt x="52" y="6"/>
                </a:lnTo>
                <a:lnTo>
                  <a:pt x="52" y="6"/>
                </a:lnTo>
                <a:lnTo>
                  <a:pt x="54" y="8"/>
                </a:lnTo>
                <a:lnTo>
                  <a:pt x="54" y="10"/>
                </a:lnTo>
                <a:lnTo>
                  <a:pt x="54" y="10"/>
                </a:lnTo>
                <a:lnTo>
                  <a:pt x="56" y="10"/>
                </a:lnTo>
                <a:lnTo>
                  <a:pt x="56" y="12"/>
                </a:lnTo>
                <a:lnTo>
                  <a:pt x="52" y="14"/>
                </a:lnTo>
                <a:lnTo>
                  <a:pt x="52" y="14"/>
                </a:lnTo>
                <a:lnTo>
                  <a:pt x="50" y="18"/>
                </a:lnTo>
                <a:lnTo>
                  <a:pt x="48" y="22"/>
                </a:lnTo>
                <a:lnTo>
                  <a:pt x="46" y="24"/>
                </a:lnTo>
                <a:lnTo>
                  <a:pt x="44" y="24"/>
                </a:lnTo>
                <a:lnTo>
                  <a:pt x="44" y="24"/>
                </a:lnTo>
                <a:lnTo>
                  <a:pt x="44" y="24"/>
                </a:lnTo>
                <a:lnTo>
                  <a:pt x="44" y="24"/>
                </a:lnTo>
                <a:lnTo>
                  <a:pt x="46" y="28"/>
                </a:lnTo>
                <a:lnTo>
                  <a:pt x="46" y="28"/>
                </a:lnTo>
                <a:lnTo>
                  <a:pt x="46" y="32"/>
                </a:lnTo>
                <a:lnTo>
                  <a:pt x="46" y="34"/>
                </a:lnTo>
                <a:lnTo>
                  <a:pt x="44" y="36"/>
                </a:lnTo>
                <a:lnTo>
                  <a:pt x="44" y="36"/>
                </a:lnTo>
                <a:lnTo>
                  <a:pt x="44" y="36"/>
                </a:lnTo>
                <a:lnTo>
                  <a:pt x="44" y="38"/>
                </a:lnTo>
                <a:lnTo>
                  <a:pt x="46" y="38"/>
                </a:lnTo>
                <a:lnTo>
                  <a:pt x="46" y="42"/>
                </a:lnTo>
                <a:lnTo>
                  <a:pt x="46" y="42"/>
                </a:lnTo>
                <a:lnTo>
                  <a:pt x="44" y="48"/>
                </a:lnTo>
                <a:lnTo>
                  <a:pt x="44" y="50"/>
                </a:lnTo>
                <a:lnTo>
                  <a:pt x="42" y="52"/>
                </a:lnTo>
                <a:lnTo>
                  <a:pt x="42" y="52"/>
                </a:lnTo>
                <a:lnTo>
                  <a:pt x="36" y="52"/>
                </a:lnTo>
                <a:lnTo>
                  <a:pt x="34" y="52"/>
                </a:lnTo>
                <a:lnTo>
                  <a:pt x="36" y="54"/>
                </a:lnTo>
                <a:lnTo>
                  <a:pt x="36" y="54"/>
                </a:lnTo>
                <a:lnTo>
                  <a:pt x="40" y="64"/>
                </a:lnTo>
                <a:lnTo>
                  <a:pt x="40" y="64"/>
                </a:lnTo>
                <a:lnTo>
                  <a:pt x="42" y="68"/>
                </a:lnTo>
                <a:lnTo>
                  <a:pt x="40" y="72"/>
                </a:lnTo>
                <a:lnTo>
                  <a:pt x="40" y="72"/>
                </a:lnTo>
                <a:lnTo>
                  <a:pt x="36" y="76"/>
                </a:lnTo>
                <a:lnTo>
                  <a:pt x="36" y="80"/>
                </a:lnTo>
                <a:lnTo>
                  <a:pt x="38" y="82"/>
                </a:lnTo>
                <a:lnTo>
                  <a:pt x="38" y="82"/>
                </a:lnTo>
                <a:lnTo>
                  <a:pt x="40" y="86"/>
                </a:lnTo>
                <a:lnTo>
                  <a:pt x="40" y="88"/>
                </a:lnTo>
                <a:lnTo>
                  <a:pt x="40" y="88"/>
                </a:lnTo>
                <a:lnTo>
                  <a:pt x="38" y="92"/>
                </a:lnTo>
                <a:lnTo>
                  <a:pt x="34" y="98"/>
                </a:lnTo>
                <a:lnTo>
                  <a:pt x="34" y="98"/>
                </a:lnTo>
                <a:lnTo>
                  <a:pt x="32" y="102"/>
                </a:lnTo>
                <a:lnTo>
                  <a:pt x="32" y="104"/>
                </a:lnTo>
                <a:lnTo>
                  <a:pt x="34" y="106"/>
                </a:lnTo>
                <a:lnTo>
                  <a:pt x="34" y="106"/>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56" name="Qatar"/>
          <p:cNvSpPr>
            <a:spLocks/>
          </p:cNvSpPr>
          <p:nvPr/>
        </p:nvSpPr>
        <p:spPr bwMode="auto">
          <a:xfrm>
            <a:off x="5519057" y="2010471"/>
            <a:ext cx="27346" cy="36418"/>
          </a:xfrm>
          <a:custGeom>
            <a:avLst/>
            <a:gdLst/>
            <a:ahLst/>
            <a:cxnLst>
              <a:cxn ang="0">
                <a:pos x="22" y="32"/>
              </a:cxn>
              <a:cxn ang="0">
                <a:pos x="22" y="32"/>
              </a:cxn>
              <a:cxn ang="0">
                <a:pos x="24" y="28"/>
              </a:cxn>
              <a:cxn ang="0">
                <a:pos x="22" y="24"/>
              </a:cxn>
              <a:cxn ang="0">
                <a:pos x="22" y="18"/>
              </a:cxn>
              <a:cxn ang="0">
                <a:pos x="22" y="16"/>
              </a:cxn>
              <a:cxn ang="0">
                <a:pos x="22" y="16"/>
              </a:cxn>
              <a:cxn ang="0">
                <a:pos x="24" y="14"/>
              </a:cxn>
              <a:cxn ang="0">
                <a:pos x="24" y="12"/>
              </a:cxn>
              <a:cxn ang="0">
                <a:pos x="22" y="8"/>
              </a:cxn>
              <a:cxn ang="0">
                <a:pos x="14" y="0"/>
              </a:cxn>
              <a:cxn ang="0">
                <a:pos x="14" y="0"/>
              </a:cxn>
              <a:cxn ang="0">
                <a:pos x="12" y="0"/>
              </a:cxn>
              <a:cxn ang="0">
                <a:pos x="10" y="2"/>
              </a:cxn>
              <a:cxn ang="0">
                <a:pos x="6" y="8"/>
              </a:cxn>
              <a:cxn ang="0">
                <a:pos x="6" y="8"/>
              </a:cxn>
              <a:cxn ang="0">
                <a:pos x="4" y="8"/>
              </a:cxn>
              <a:cxn ang="0">
                <a:pos x="4" y="8"/>
              </a:cxn>
              <a:cxn ang="0">
                <a:pos x="4" y="6"/>
              </a:cxn>
              <a:cxn ang="0">
                <a:pos x="2" y="6"/>
              </a:cxn>
              <a:cxn ang="0">
                <a:pos x="2" y="6"/>
              </a:cxn>
              <a:cxn ang="0">
                <a:pos x="2" y="8"/>
              </a:cxn>
              <a:cxn ang="0">
                <a:pos x="0" y="10"/>
              </a:cxn>
              <a:cxn ang="0">
                <a:pos x="6" y="24"/>
              </a:cxn>
              <a:cxn ang="0">
                <a:pos x="6" y="24"/>
              </a:cxn>
              <a:cxn ang="0">
                <a:pos x="14" y="30"/>
              </a:cxn>
              <a:cxn ang="0">
                <a:pos x="22" y="32"/>
              </a:cxn>
              <a:cxn ang="0">
                <a:pos x="22" y="32"/>
              </a:cxn>
            </a:cxnLst>
            <a:rect l="0" t="0" r="r" b="b"/>
            <a:pathLst>
              <a:path w="24" h="32">
                <a:moveTo>
                  <a:pt x="22" y="32"/>
                </a:moveTo>
                <a:lnTo>
                  <a:pt x="22" y="32"/>
                </a:lnTo>
                <a:lnTo>
                  <a:pt x="24" y="28"/>
                </a:lnTo>
                <a:lnTo>
                  <a:pt x="22" y="24"/>
                </a:lnTo>
                <a:lnTo>
                  <a:pt x="22" y="18"/>
                </a:lnTo>
                <a:lnTo>
                  <a:pt x="22" y="16"/>
                </a:lnTo>
                <a:lnTo>
                  <a:pt x="22" y="16"/>
                </a:lnTo>
                <a:lnTo>
                  <a:pt x="24" y="14"/>
                </a:lnTo>
                <a:lnTo>
                  <a:pt x="24" y="12"/>
                </a:lnTo>
                <a:lnTo>
                  <a:pt x="22" y="8"/>
                </a:lnTo>
                <a:lnTo>
                  <a:pt x="14" y="0"/>
                </a:lnTo>
                <a:lnTo>
                  <a:pt x="14" y="0"/>
                </a:lnTo>
                <a:lnTo>
                  <a:pt x="12" y="0"/>
                </a:lnTo>
                <a:lnTo>
                  <a:pt x="10" y="2"/>
                </a:lnTo>
                <a:lnTo>
                  <a:pt x="6" y="8"/>
                </a:lnTo>
                <a:lnTo>
                  <a:pt x="6" y="8"/>
                </a:lnTo>
                <a:lnTo>
                  <a:pt x="4" y="8"/>
                </a:lnTo>
                <a:lnTo>
                  <a:pt x="4" y="8"/>
                </a:lnTo>
                <a:lnTo>
                  <a:pt x="4" y="6"/>
                </a:lnTo>
                <a:lnTo>
                  <a:pt x="2" y="6"/>
                </a:lnTo>
                <a:lnTo>
                  <a:pt x="2" y="6"/>
                </a:lnTo>
                <a:lnTo>
                  <a:pt x="2" y="8"/>
                </a:lnTo>
                <a:lnTo>
                  <a:pt x="0" y="10"/>
                </a:lnTo>
                <a:lnTo>
                  <a:pt x="6" y="24"/>
                </a:lnTo>
                <a:lnTo>
                  <a:pt x="6" y="24"/>
                </a:lnTo>
                <a:lnTo>
                  <a:pt x="14" y="30"/>
                </a:lnTo>
                <a:lnTo>
                  <a:pt x="22" y="32"/>
                </a:lnTo>
                <a:lnTo>
                  <a:pt x="22" y="32"/>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57" name="Romania"/>
          <p:cNvSpPr>
            <a:spLocks/>
          </p:cNvSpPr>
          <p:nvPr/>
        </p:nvSpPr>
        <p:spPr bwMode="auto">
          <a:xfrm>
            <a:off x="4771603" y="1441441"/>
            <a:ext cx="200536" cy="113807"/>
          </a:xfrm>
          <a:custGeom>
            <a:avLst/>
            <a:gdLst/>
            <a:ahLst/>
            <a:cxnLst>
              <a:cxn ang="0">
                <a:pos x="8" y="44"/>
              </a:cxn>
              <a:cxn ang="0">
                <a:pos x="20" y="28"/>
              </a:cxn>
              <a:cxn ang="0">
                <a:pos x="22" y="14"/>
              </a:cxn>
              <a:cxn ang="0">
                <a:pos x="36" y="6"/>
              </a:cxn>
              <a:cxn ang="0">
                <a:pos x="44" y="8"/>
              </a:cxn>
              <a:cxn ang="0">
                <a:pos x="54" y="8"/>
              </a:cxn>
              <a:cxn ang="0">
                <a:pos x="60" y="8"/>
              </a:cxn>
              <a:cxn ang="0">
                <a:pos x="70" y="4"/>
              </a:cxn>
              <a:cxn ang="0">
                <a:pos x="80" y="4"/>
              </a:cxn>
              <a:cxn ang="0">
                <a:pos x="94" y="2"/>
              </a:cxn>
              <a:cxn ang="0">
                <a:pos x="112" y="2"/>
              </a:cxn>
              <a:cxn ang="0">
                <a:pos x="120" y="8"/>
              </a:cxn>
              <a:cxn ang="0">
                <a:pos x="126" y="20"/>
              </a:cxn>
              <a:cxn ang="0">
                <a:pos x="132" y="24"/>
              </a:cxn>
              <a:cxn ang="0">
                <a:pos x="134" y="28"/>
              </a:cxn>
              <a:cxn ang="0">
                <a:pos x="136" y="34"/>
              </a:cxn>
              <a:cxn ang="0">
                <a:pos x="136" y="38"/>
              </a:cxn>
              <a:cxn ang="0">
                <a:pos x="138" y="46"/>
              </a:cxn>
              <a:cxn ang="0">
                <a:pos x="142" y="50"/>
              </a:cxn>
              <a:cxn ang="0">
                <a:pos x="144" y="54"/>
              </a:cxn>
              <a:cxn ang="0">
                <a:pos x="152" y="64"/>
              </a:cxn>
              <a:cxn ang="0">
                <a:pos x="158" y="62"/>
              </a:cxn>
              <a:cxn ang="0">
                <a:pos x="176" y="60"/>
              </a:cxn>
              <a:cxn ang="0">
                <a:pos x="174" y="62"/>
              </a:cxn>
              <a:cxn ang="0">
                <a:pos x="174" y="70"/>
              </a:cxn>
              <a:cxn ang="0">
                <a:pos x="168" y="72"/>
              </a:cxn>
              <a:cxn ang="0">
                <a:pos x="166" y="70"/>
              </a:cxn>
              <a:cxn ang="0">
                <a:pos x="164" y="74"/>
              </a:cxn>
              <a:cxn ang="0">
                <a:pos x="164" y="78"/>
              </a:cxn>
              <a:cxn ang="0">
                <a:pos x="162" y="92"/>
              </a:cxn>
              <a:cxn ang="0">
                <a:pos x="162" y="98"/>
              </a:cxn>
              <a:cxn ang="0">
                <a:pos x="150" y="94"/>
              </a:cxn>
              <a:cxn ang="0">
                <a:pos x="130" y="90"/>
              </a:cxn>
              <a:cxn ang="0">
                <a:pos x="122" y="88"/>
              </a:cxn>
              <a:cxn ang="0">
                <a:pos x="102" y="98"/>
              </a:cxn>
              <a:cxn ang="0">
                <a:pos x="92" y="100"/>
              </a:cxn>
              <a:cxn ang="0">
                <a:pos x="72" y="98"/>
              </a:cxn>
              <a:cxn ang="0">
                <a:pos x="56" y="96"/>
              </a:cxn>
              <a:cxn ang="0">
                <a:pos x="50" y="92"/>
              </a:cxn>
              <a:cxn ang="0">
                <a:pos x="42" y="88"/>
              </a:cxn>
              <a:cxn ang="0">
                <a:pos x="42" y="82"/>
              </a:cxn>
              <a:cxn ang="0">
                <a:pos x="38" y="82"/>
              </a:cxn>
              <a:cxn ang="0">
                <a:pos x="30" y="80"/>
              </a:cxn>
              <a:cxn ang="0">
                <a:pos x="24" y="78"/>
              </a:cxn>
              <a:cxn ang="0">
                <a:pos x="20" y="72"/>
              </a:cxn>
              <a:cxn ang="0">
                <a:pos x="16" y="66"/>
              </a:cxn>
              <a:cxn ang="0">
                <a:pos x="10" y="60"/>
              </a:cxn>
              <a:cxn ang="0">
                <a:pos x="6" y="56"/>
              </a:cxn>
              <a:cxn ang="0">
                <a:pos x="0" y="48"/>
              </a:cxn>
            </a:cxnLst>
            <a:rect l="0" t="0" r="r" b="b"/>
            <a:pathLst>
              <a:path w="176" h="100">
                <a:moveTo>
                  <a:pt x="0" y="48"/>
                </a:moveTo>
                <a:lnTo>
                  <a:pt x="0" y="48"/>
                </a:lnTo>
                <a:lnTo>
                  <a:pt x="4" y="48"/>
                </a:lnTo>
                <a:lnTo>
                  <a:pt x="8" y="44"/>
                </a:lnTo>
                <a:lnTo>
                  <a:pt x="8" y="44"/>
                </a:lnTo>
                <a:lnTo>
                  <a:pt x="16" y="32"/>
                </a:lnTo>
                <a:lnTo>
                  <a:pt x="16" y="32"/>
                </a:lnTo>
                <a:lnTo>
                  <a:pt x="20" y="28"/>
                </a:lnTo>
                <a:lnTo>
                  <a:pt x="22" y="22"/>
                </a:lnTo>
                <a:lnTo>
                  <a:pt x="22" y="22"/>
                </a:lnTo>
                <a:lnTo>
                  <a:pt x="20" y="18"/>
                </a:lnTo>
                <a:lnTo>
                  <a:pt x="22" y="14"/>
                </a:lnTo>
                <a:lnTo>
                  <a:pt x="22" y="14"/>
                </a:lnTo>
                <a:lnTo>
                  <a:pt x="30" y="8"/>
                </a:lnTo>
                <a:lnTo>
                  <a:pt x="30" y="8"/>
                </a:lnTo>
                <a:lnTo>
                  <a:pt x="36" y="6"/>
                </a:lnTo>
                <a:lnTo>
                  <a:pt x="40" y="6"/>
                </a:lnTo>
                <a:lnTo>
                  <a:pt x="42" y="8"/>
                </a:lnTo>
                <a:lnTo>
                  <a:pt x="44" y="8"/>
                </a:lnTo>
                <a:lnTo>
                  <a:pt x="44" y="8"/>
                </a:lnTo>
                <a:lnTo>
                  <a:pt x="46" y="6"/>
                </a:lnTo>
                <a:lnTo>
                  <a:pt x="48" y="6"/>
                </a:lnTo>
                <a:lnTo>
                  <a:pt x="50" y="8"/>
                </a:lnTo>
                <a:lnTo>
                  <a:pt x="54" y="8"/>
                </a:lnTo>
                <a:lnTo>
                  <a:pt x="54" y="8"/>
                </a:lnTo>
                <a:lnTo>
                  <a:pt x="58" y="6"/>
                </a:lnTo>
                <a:lnTo>
                  <a:pt x="60" y="8"/>
                </a:lnTo>
                <a:lnTo>
                  <a:pt x="60" y="8"/>
                </a:lnTo>
                <a:lnTo>
                  <a:pt x="62" y="6"/>
                </a:lnTo>
                <a:lnTo>
                  <a:pt x="62" y="6"/>
                </a:lnTo>
                <a:lnTo>
                  <a:pt x="66" y="4"/>
                </a:lnTo>
                <a:lnTo>
                  <a:pt x="70" y="4"/>
                </a:lnTo>
                <a:lnTo>
                  <a:pt x="74" y="6"/>
                </a:lnTo>
                <a:lnTo>
                  <a:pt x="76" y="6"/>
                </a:lnTo>
                <a:lnTo>
                  <a:pt x="76" y="6"/>
                </a:lnTo>
                <a:lnTo>
                  <a:pt x="80" y="4"/>
                </a:lnTo>
                <a:lnTo>
                  <a:pt x="86" y="4"/>
                </a:lnTo>
                <a:lnTo>
                  <a:pt x="92" y="4"/>
                </a:lnTo>
                <a:lnTo>
                  <a:pt x="94" y="2"/>
                </a:lnTo>
                <a:lnTo>
                  <a:pt x="94" y="2"/>
                </a:lnTo>
                <a:lnTo>
                  <a:pt x="100" y="0"/>
                </a:lnTo>
                <a:lnTo>
                  <a:pt x="104" y="2"/>
                </a:lnTo>
                <a:lnTo>
                  <a:pt x="110" y="2"/>
                </a:lnTo>
                <a:lnTo>
                  <a:pt x="112" y="2"/>
                </a:lnTo>
                <a:lnTo>
                  <a:pt x="112" y="2"/>
                </a:lnTo>
                <a:lnTo>
                  <a:pt x="116" y="2"/>
                </a:lnTo>
                <a:lnTo>
                  <a:pt x="116" y="2"/>
                </a:lnTo>
                <a:lnTo>
                  <a:pt x="120" y="8"/>
                </a:lnTo>
                <a:lnTo>
                  <a:pt x="122" y="12"/>
                </a:lnTo>
                <a:lnTo>
                  <a:pt x="122" y="12"/>
                </a:lnTo>
                <a:lnTo>
                  <a:pt x="124" y="14"/>
                </a:lnTo>
                <a:lnTo>
                  <a:pt x="126" y="20"/>
                </a:lnTo>
                <a:lnTo>
                  <a:pt x="126" y="20"/>
                </a:lnTo>
                <a:lnTo>
                  <a:pt x="128" y="22"/>
                </a:lnTo>
                <a:lnTo>
                  <a:pt x="130" y="22"/>
                </a:lnTo>
                <a:lnTo>
                  <a:pt x="132" y="24"/>
                </a:lnTo>
                <a:lnTo>
                  <a:pt x="132" y="24"/>
                </a:lnTo>
                <a:lnTo>
                  <a:pt x="132" y="24"/>
                </a:lnTo>
                <a:lnTo>
                  <a:pt x="132" y="26"/>
                </a:lnTo>
                <a:lnTo>
                  <a:pt x="134" y="28"/>
                </a:lnTo>
                <a:lnTo>
                  <a:pt x="136" y="30"/>
                </a:lnTo>
                <a:lnTo>
                  <a:pt x="136" y="32"/>
                </a:lnTo>
                <a:lnTo>
                  <a:pt x="136" y="32"/>
                </a:lnTo>
                <a:lnTo>
                  <a:pt x="136" y="34"/>
                </a:lnTo>
                <a:lnTo>
                  <a:pt x="136" y="36"/>
                </a:lnTo>
                <a:lnTo>
                  <a:pt x="136" y="38"/>
                </a:lnTo>
                <a:lnTo>
                  <a:pt x="136" y="38"/>
                </a:lnTo>
                <a:lnTo>
                  <a:pt x="136" y="38"/>
                </a:lnTo>
                <a:lnTo>
                  <a:pt x="136" y="40"/>
                </a:lnTo>
                <a:lnTo>
                  <a:pt x="138" y="42"/>
                </a:lnTo>
                <a:lnTo>
                  <a:pt x="138" y="46"/>
                </a:lnTo>
                <a:lnTo>
                  <a:pt x="138" y="46"/>
                </a:lnTo>
                <a:lnTo>
                  <a:pt x="138" y="46"/>
                </a:lnTo>
                <a:lnTo>
                  <a:pt x="140" y="48"/>
                </a:lnTo>
                <a:lnTo>
                  <a:pt x="142" y="48"/>
                </a:lnTo>
                <a:lnTo>
                  <a:pt x="142" y="50"/>
                </a:lnTo>
                <a:lnTo>
                  <a:pt x="142" y="50"/>
                </a:lnTo>
                <a:lnTo>
                  <a:pt x="144" y="52"/>
                </a:lnTo>
                <a:lnTo>
                  <a:pt x="144" y="54"/>
                </a:lnTo>
                <a:lnTo>
                  <a:pt x="144" y="54"/>
                </a:lnTo>
                <a:lnTo>
                  <a:pt x="144" y="56"/>
                </a:lnTo>
                <a:lnTo>
                  <a:pt x="146" y="60"/>
                </a:lnTo>
                <a:lnTo>
                  <a:pt x="146" y="60"/>
                </a:lnTo>
                <a:lnTo>
                  <a:pt x="152" y="64"/>
                </a:lnTo>
                <a:lnTo>
                  <a:pt x="156" y="66"/>
                </a:lnTo>
                <a:lnTo>
                  <a:pt x="158" y="64"/>
                </a:lnTo>
                <a:lnTo>
                  <a:pt x="158" y="62"/>
                </a:lnTo>
                <a:lnTo>
                  <a:pt x="158" y="62"/>
                </a:lnTo>
                <a:lnTo>
                  <a:pt x="164" y="60"/>
                </a:lnTo>
                <a:lnTo>
                  <a:pt x="166" y="60"/>
                </a:lnTo>
                <a:lnTo>
                  <a:pt x="170" y="58"/>
                </a:lnTo>
                <a:lnTo>
                  <a:pt x="176" y="60"/>
                </a:lnTo>
                <a:lnTo>
                  <a:pt x="176" y="60"/>
                </a:lnTo>
                <a:lnTo>
                  <a:pt x="174" y="62"/>
                </a:lnTo>
                <a:lnTo>
                  <a:pt x="174" y="62"/>
                </a:lnTo>
                <a:lnTo>
                  <a:pt x="174" y="62"/>
                </a:lnTo>
                <a:lnTo>
                  <a:pt x="174" y="68"/>
                </a:lnTo>
                <a:lnTo>
                  <a:pt x="174" y="68"/>
                </a:lnTo>
                <a:lnTo>
                  <a:pt x="174" y="70"/>
                </a:lnTo>
                <a:lnTo>
                  <a:pt x="174" y="70"/>
                </a:lnTo>
                <a:lnTo>
                  <a:pt x="170" y="70"/>
                </a:lnTo>
                <a:lnTo>
                  <a:pt x="170" y="70"/>
                </a:lnTo>
                <a:lnTo>
                  <a:pt x="168" y="72"/>
                </a:lnTo>
                <a:lnTo>
                  <a:pt x="168" y="72"/>
                </a:lnTo>
                <a:lnTo>
                  <a:pt x="168" y="70"/>
                </a:lnTo>
                <a:lnTo>
                  <a:pt x="168" y="68"/>
                </a:lnTo>
                <a:lnTo>
                  <a:pt x="166" y="70"/>
                </a:lnTo>
                <a:lnTo>
                  <a:pt x="166" y="70"/>
                </a:lnTo>
                <a:lnTo>
                  <a:pt x="164" y="70"/>
                </a:lnTo>
                <a:lnTo>
                  <a:pt x="164" y="70"/>
                </a:lnTo>
                <a:lnTo>
                  <a:pt x="166" y="72"/>
                </a:lnTo>
                <a:lnTo>
                  <a:pt x="164" y="74"/>
                </a:lnTo>
                <a:lnTo>
                  <a:pt x="164" y="74"/>
                </a:lnTo>
                <a:lnTo>
                  <a:pt x="164" y="76"/>
                </a:lnTo>
                <a:lnTo>
                  <a:pt x="164" y="78"/>
                </a:lnTo>
                <a:lnTo>
                  <a:pt x="164" y="78"/>
                </a:lnTo>
                <a:lnTo>
                  <a:pt x="162" y="80"/>
                </a:lnTo>
                <a:lnTo>
                  <a:pt x="162" y="84"/>
                </a:lnTo>
                <a:lnTo>
                  <a:pt x="162" y="84"/>
                </a:lnTo>
                <a:lnTo>
                  <a:pt x="162" y="92"/>
                </a:lnTo>
                <a:lnTo>
                  <a:pt x="162" y="92"/>
                </a:lnTo>
                <a:lnTo>
                  <a:pt x="162" y="96"/>
                </a:lnTo>
                <a:lnTo>
                  <a:pt x="162" y="98"/>
                </a:lnTo>
                <a:lnTo>
                  <a:pt x="162" y="98"/>
                </a:lnTo>
                <a:lnTo>
                  <a:pt x="156" y="96"/>
                </a:lnTo>
                <a:lnTo>
                  <a:pt x="154" y="96"/>
                </a:lnTo>
                <a:lnTo>
                  <a:pt x="152" y="94"/>
                </a:lnTo>
                <a:lnTo>
                  <a:pt x="150" y="94"/>
                </a:lnTo>
                <a:lnTo>
                  <a:pt x="150" y="94"/>
                </a:lnTo>
                <a:lnTo>
                  <a:pt x="138" y="94"/>
                </a:lnTo>
                <a:lnTo>
                  <a:pt x="134" y="92"/>
                </a:lnTo>
                <a:lnTo>
                  <a:pt x="130" y="90"/>
                </a:lnTo>
                <a:lnTo>
                  <a:pt x="130" y="90"/>
                </a:lnTo>
                <a:lnTo>
                  <a:pt x="130" y="88"/>
                </a:lnTo>
                <a:lnTo>
                  <a:pt x="128" y="88"/>
                </a:lnTo>
                <a:lnTo>
                  <a:pt x="122" y="88"/>
                </a:lnTo>
                <a:lnTo>
                  <a:pt x="122" y="88"/>
                </a:lnTo>
                <a:lnTo>
                  <a:pt x="112" y="92"/>
                </a:lnTo>
                <a:lnTo>
                  <a:pt x="106" y="94"/>
                </a:lnTo>
                <a:lnTo>
                  <a:pt x="102" y="98"/>
                </a:lnTo>
                <a:lnTo>
                  <a:pt x="102" y="98"/>
                </a:lnTo>
                <a:lnTo>
                  <a:pt x="98" y="100"/>
                </a:lnTo>
                <a:lnTo>
                  <a:pt x="92" y="100"/>
                </a:lnTo>
                <a:lnTo>
                  <a:pt x="92" y="100"/>
                </a:lnTo>
                <a:lnTo>
                  <a:pt x="84" y="98"/>
                </a:lnTo>
                <a:lnTo>
                  <a:pt x="78" y="98"/>
                </a:lnTo>
                <a:lnTo>
                  <a:pt x="78" y="98"/>
                </a:lnTo>
                <a:lnTo>
                  <a:pt x="72" y="98"/>
                </a:lnTo>
                <a:lnTo>
                  <a:pt x="66" y="98"/>
                </a:lnTo>
                <a:lnTo>
                  <a:pt x="66" y="98"/>
                </a:lnTo>
                <a:lnTo>
                  <a:pt x="60" y="96"/>
                </a:lnTo>
                <a:lnTo>
                  <a:pt x="56" y="96"/>
                </a:lnTo>
                <a:lnTo>
                  <a:pt x="56" y="96"/>
                </a:lnTo>
                <a:lnTo>
                  <a:pt x="52" y="96"/>
                </a:lnTo>
                <a:lnTo>
                  <a:pt x="50" y="92"/>
                </a:lnTo>
                <a:lnTo>
                  <a:pt x="50" y="92"/>
                </a:lnTo>
                <a:lnTo>
                  <a:pt x="50" y="92"/>
                </a:lnTo>
                <a:lnTo>
                  <a:pt x="46" y="90"/>
                </a:lnTo>
                <a:lnTo>
                  <a:pt x="46" y="90"/>
                </a:lnTo>
                <a:lnTo>
                  <a:pt x="42" y="88"/>
                </a:lnTo>
                <a:lnTo>
                  <a:pt x="38" y="86"/>
                </a:lnTo>
                <a:lnTo>
                  <a:pt x="38" y="86"/>
                </a:lnTo>
                <a:lnTo>
                  <a:pt x="42" y="84"/>
                </a:lnTo>
                <a:lnTo>
                  <a:pt x="42" y="82"/>
                </a:lnTo>
                <a:lnTo>
                  <a:pt x="42" y="82"/>
                </a:lnTo>
                <a:lnTo>
                  <a:pt x="42" y="82"/>
                </a:lnTo>
                <a:lnTo>
                  <a:pt x="40" y="82"/>
                </a:lnTo>
                <a:lnTo>
                  <a:pt x="38" y="82"/>
                </a:lnTo>
                <a:lnTo>
                  <a:pt x="36" y="84"/>
                </a:lnTo>
                <a:lnTo>
                  <a:pt x="34" y="84"/>
                </a:lnTo>
                <a:lnTo>
                  <a:pt x="34" y="84"/>
                </a:lnTo>
                <a:lnTo>
                  <a:pt x="30" y="80"/>
                </a:lnTo>
                <a:lnTo>
                  <a:pt x="28" y="78"/>
                </a:lnTo>
                <a:lnTo>
                  <a:pt x="26" y="78"/>
                </a:lnTo>
                <a:lnTo>
                  <a:pt x="26" y="78"/>
                </a:lnTo>
                <a:lnTo>
                  <a:pt x="24" y="78"/>
                </a:lnTo>
                <a:lnTo>
                  <a:pt x="22" y="78"/>
                </a:lnTo>
                <a:lnTo>
                  <a:pt x="18" y="74"/>
                </a:lnTo>
                <a:lnTo>
                  <a:pt x="18" y="74"/>
                </a:lnTo>
                <a:lnTo>
                  <a:pt x="20" y="72"/>
                </a:lnTo>
                <a:lnTo>
                  <a:pt x="20" y="72"/>
                </a:lnTo>
                <a:lnTo>
                  <a:pt x="20" y="70"/>
                </a:lnTo>
                <a:lnTo>
                  <a:pt x="20" y="70"/>
                </a:lnTo>
                <a:lnTo>
                  <a:pt x="16" y="66"/>
                </a:lnTo>
                <a:lnTo>
                  <a:pt x="14" y="64"/>
                </a:lnTo>
                <a:lnTo>
                  <a:pt x="14" y="64"/>
                </a:lnTo>
                <a:lnTo>
                  <a:pt x="12" y="62"/>
                </a:lnTo>
                <a:lnTo>
                  <a:pt x="10" y="60"/>
                </a:lnTo>
                <a:lnTo>
                  <a:pt x="8" y="60"/>
                </a:lnTo>
                <a:lnTo>
                  <a:pt x="6" y="58"/>
                </a:lnTo>
                <a:lnTo>
                  <a:pt x="6" y="58"/>
                </a:lnTo>
                <a:lnTo>
                  <a:pt x="6" y="56"/>
                </a:lnTo>
                <a:lnTo>
                  <a:pt x="4" y="54"/>
                </a:lnTo>
                <a:lnTo>
                  <a:pt x="2" y="52"/>
                </a:lnTo>
                <a:lnTo>
                  <a:pt x="0" y="48"/>
                </a:lnTo>
                <a:lnTo>
                  <a:pt x="0" y="48"/>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58" name="Russia"/>
          <p:cNvSpPr>
            <a:spLocks/>
          </p:cNvSpPr>
          <p:nvPr/>
        </p:nvSpPr>
        <p:spPr bwMode="auto">
          <a:xfrm>
            <a:off x="4839967" y="938419"/>
            <a:ext cx="2887271" cy="664628"/>
          </a:xfrm>
          <a:custGeom>
            <a:avLst/>
            <a:gdLst/>
            <a:ahLst/>
            <a:cxnLst>
              <a:cxn ang="0">
                <a:pos x="2058" y="364"/>
              </a:cxn>
              <a:cxn ang="0">
                <a:pos x="1906" y="312"/>
              </a:cxn>
              <a:cxn ang="0">
                <a:pos x="2140" y="236"/>
              </a:cxn>
              <a:cxn ang="0">
                <a:pos x="2222" y="192"/>
              </a:cxn>
              <a:cxn ang="0">
                <a:pos x="2226" y="266"/>
              </a:cxn>
              <a:cxn ang="0">
                <a:pos x="2366" y="316"/>
              </a:cxn>
              <a:cxn ang="0">
                <a:pos x="2314" y="256"/>
              </a:cxn>
              <a:cxn ang="0">
                <a:pos x="2382" y="214"/>
              </a:cxn>
              <a:cxn ang="0">
                <a:pos x="2382" y="142"/>
              </a:cxn>
              <a:cxn ang="0">
                <a:pos x="2494" y="146"/>
              </a:cxn>
              <a:cxn ang="0">
                <a:pos x="2522" y="104"/>
              </a:cxn>
              <a:cxn ang="0">
                <a:pos x="2122" y="72"/>
              </a:cxn>
              <a:cxn ang="0">
                <a:pos x="2002" y="74"/>
              </a:cxn>
              <a:cxn ang="0">
                <a:pos x="1694" y="40"/>
              </a:cxn>
              <a:cxn ang="0">
                <a:pos x="1582" y="36"/>
              </a:cxn>
              <a:cxn ang="0">
                <a:pos x="1468" y="48"/>
              </a:cxn>
              <a:cxn ang="0">
                <a:pos x="1302" y="42"/>
              </a:cxn>
              <a:cxn ang="0">
                <a:pos x="1152" y="34"/>
              </a:cxn>
              <a:cxn ang="0">
                <a:pos x="1086" y="38"/>
              </a:cxn>
              <a:cxn ang="0">
                <a:pos x="1044" y="8"/>
              </a:cxn>
              <a:cxn ang="0">
                <a:pos x="932" y="14"/>
              </a:cxn>
              <a:cxn ang="0">
                <a:pos x="818" y="14"/>
              </a:cxn>
              <a:cxn ang="0">
                <a:pos x="718" y="36"/>
              </a:cxn>
              <a:cxn ang="0">
                <a:pos x="782" y="62"/>
              </a:cxn>
              <a:cxn ang="0">
                <a:pos x="698" y="64"/>
              </a:cxn>
              <a:cxn ang="0">
                <a:pos x="646" y="62"/>
              </a:cxn>
              <a:cxn ang="0">
                <a:pos x="698" y="92"/>
              </a:cxn>
              <a:cxn ang="0">
                <a:pos x="676" y="114"/>
              </a:cxn>
              <a:cxn ang="0">
                <a:pos x="566" y="36"/>
              </a:cxn>
              <a:cxn ang="0">
                <a:pos x="608" y="90"/>
              </a:cxn>
              <a:cxn ang="0">
                <a:pos x="470" y="102"/>
              </a:cxn>
              <a:cxn ang="0">
                <a:pos x="386" y="96"/>
              </a:cxn>
              <a:cxn ang="0">
                <a:pos x="302" y="110"/>
              </a:cxn>
              <a:cxn ang="0">
                <a:pos x="256" y="100"/>
              </a:cxn>
              <a:cxn ang="0">
                <a:pos x="198" y="130"/>
              </a:cxn>
              <a:cxn ang="0">
                <a:pos x="144" y="152"/>
              </a:cxn>
              <a:cxn ang="0">
                <a:pos x="110" y="148"/>
              </a:cxn>
              <a:cxn ang="0">
                <a:pos x="64" y="120"/>
              </a:cxn>
              <a:cxn ang="0">
                <a:pos x="200" y="118"/>
              </a:cxn>
              <a:cxn ang="0">
                <a:pos x="44" y="86"/>
              </a:cxn>
              <a:cxn ang="0">
                <a:pos x="30" y="146"/>
              </a:cxn>
              <a:cxn ang="0">
                <a:pos x="28" y="222"/>
              </a:cxn>
              <a:cxn ang="0">
                <a:pos x="28" y="242"/>
              </a:cxn>
              <a:cxn ang="0">
                <a:pos x="84" y="296"/>
              </a:cxn>
              <a:cxn ang="0">
                <a:pos x="112" y="338"/>
              </a:cxn>
              <a:cxn ang="0">
                <a:pos x="220" y="398"/>
              </a:cxn>
              <a:cxn ang="0">
                <a:pos x="262" y="470"/>
              </a:cxn>
              <a:cxn ang="0">
                <a:pos x="338" y="540"/>
              </a:cxn>
              <a:cxn ang="0">
                <a:pos x="440" y="508"/>
              </a:cxn>
              <a:cxn ang="0">
                <a:pos x="438" y="448"/>
              </a:cxn>
              <a:cxn ang="0">
                <a:pos x="450" y="390"/>
              </a:cxn>
              <a:cxn ang="0">
                <a:pos x="564" y="382"/>
              </a:cxn>
              <a:cxn ang="0">
                <a:pos x="630" y="370"/>
              </a:cxn>
              <a:cxn ang="0">
                <a:pos x="764" y="310"/>
              </a:cxn>
              <a:cxn ang="0">
                <a:pos x="854" y="340"/>
              </a:cxn>
              <a:cxn ang="0">
                <a:pos x="1040" y="392"/>
              </a:cxn>
              <a:cxn ang="0">
                <a:pos x="1154" y="426"/>
              </a:cxn>
              <a:cxn ang="0">
                <a:pos x="1234" y="388"/>
              </a:cxn>
              <a:cxn ang="0">
                <a:pos x="1316" y="378"/>
              </a:cxn>
              <a:cxn ang="0">
                <a:pos x="1572" y="410"/>
              </a:cxn>
              <a:cxn ang="0">
                <a:pos x="1768" y="340"/>
              </a:cxn>
              <a:cxn ang="0">
                <a:pos x="2032" y="470"/>
              </a:cxn>
            </a:cxnLst>
            <a:rect l="0" t="0" r="r" b="b"/>
            <a:pathLst>
              <a:path w="2534" h="584">
                <a:moveTo>
                  <a:pt x="2032" y="556"/>
                </a:moveTo>
                <a:lnTo>
                  <a:pt x="2032" y="556"/>
                </a:lnTo>
                <a:lnTo>
                  <a:pt x="2034" y="556"/>
                </a:lnTo>
                <a:lnTo>
                  <a:pt x="2036" y="554"/>
                </a:lnTo>
                <a:lnTo>
                  <a:pt x="2040" y="548"/>
                </a:lnTo>
                <a:lnTo>
                  <a:pt x="2046" y="546"/>
                </a:lnTo>
                <a:lnTo>
                  <a:pt x="2048" y="546"/>
                </a:lnTo>
                <a:lnTo>
                  <a:pt x="2050" y="550"/>
                </a:lnTo>
                <a:lnTo>
                  <a:pt x="2050" y="550"/>
                </a:lnTo>
                <a:lnTo>
                  <a:pt x="2050" y="554"/>
                </a:lnTo>
                <a:lnTo>
                  <a:pt x="2054" y="554"/>
                </a:lnTo>
                <a:lnTo>
                  <a:pt x="2056" y="554"/>
                </a:lnTo>
                <a:lnTo>
                  <a:pt x="2060" y="552"/>
                </a:lnTo>
                <a:lnTo>
                  <a:pt x="2068" y="546"/>
                </a:lnTo>
                <a:lnTo>
                  <a:pt x="2076" y="534"/>
                </a:lnTo>
                <a:lnTo>
                  <a:pt x="2084" y="522"/>
                </a:lnTo>
                <a:lnTo>
                  <a:pt x="2090" y="506"/>
                </a:lnTo>
                <a:lnTo>
                  <a:pt x="2094" y="492"/>
                </a:lnTo>
                <a:lnTo>
                  <a:pt x="2094" y="478"/>
                </a:lnTo>
                <a:lnTo>
                  <a:pt x="2094" y="478"/>
                </a:lnTo>
                <a:lnTo>
                  <a:pt x="2094" y="470"/>
                </a:lnTo>
                <a:lnTo>
                  <a:pt x="2094" y="460"/>
                </a:lnTo>
                <a:lnTo>
                  <a:pt x="2096" y="436"/>
                </a:lnTo>
                <a:lnTo>
                  <a:pt x="2096" y="426"/>
                </a:lnTo>
                <a:lnTo>
                  <a:pt x="2094" y="416"/>
                </a:lnTo>
                <a:lnTo>
                  <a:pt x="2088" y="408"/>
                </a:lnTo>
                <a:lnTo>
                  <a:pt x="2080" y="404"/>
                </a:lnTo>
                <a:lnTo>
                  <a:pt x="2080" y="404"/>
                </a:lnTo>
                <a:lnTo>
                  <a:pt x="2068" y="398"/>
                </a:lnTo>
                <a:lnTo>
                  <a:pt x="2062" y="392"/>
                </a:lnTo>
                <a:lnTo>
                  <a:pt x="2060" y="388"/>
                </a:lnTo>
                <a:lnTo>
                  <a:pt x="2062" y="384"/>
                </a:lnTo>
                <a:lnTo>
                  <a:pt x="2066" y="378"/>
                </a:lnTo>
                <a:lnTo>
                  <a:pt x="2066" y="374"/>
                </a:lnTo>
                <a:lnTo>
                  <a:pt x="2066" y="370"/>
                </a:lnTo>
                <a:lnTo>
                  <a:pt x="2058" y="364"/>
                </a:lnTo>
                <a:lnTo>
                  <a:pt x="2058" y="364"/>
                </a:lnTo>
                <a:lnTo>
                  <a:pt x="2042" y="354"/>
                </a:lnTo>
                <a:lnTo>
                  <a:pt x="2028" y="344"/>
                </a:lnTo>
                <a:lnTo>
                  <a:pt x="2014" y="334"/>
                </a:lnTo>
                <a:lnTo>
                  <a:pt x="1996" y="326"/>
                </a:lnTo>
                <a:lnTo>
                  <a:pt x="1996" y="326"/>
                </a:lnTo>
                <a:lnTo>
                  <a:pt x="1986" y="324"/>
                </a:lnTo>
                <a:lnTo>
                  <a:pt x="1980" y="324"/>
                </a:lnTo>
                <a:lnTo>
                  <a:pt x="1978" y="324"/>
                </a:lnTo>
                <a:lnTo>
                  <a:pt x="1976" y="326"/>
                </a:lnTo>
                <a:lnTo>
                  <a:pt x="1974" y="332"/>
                </a:lnTo>
                <a:lnTo>
                  <a:pt x="1972" y="332"/>
                </a:lnTo>
                <a:lnTo>
                  <a:pt x="1966" y="330"/>
                </a:lnTo>
                <a:lnTo>
                  <a:pt x="1966" y="330"/>
                </a:lnTo>
                <a:lnTo>
                  <a:pt x="1962" y="328"/>
                </a:lnTo>
                <a:lnTo>
                  <a:pt x="1958" y="328"/>
                </a:lnTo>
                <a:lnTo>
                  <a:pt x="1954" y="330"/>
                </a:lnTo>
                <a:lnTo>
                  <a:pt x="1950" y="332"/>
                </a:lnTo>
                <a:lnTo>
                  <a:pt x="1944" y="326"/>
                </a:lnTo>
                <a:lnTo>
                  <a:pt x="1944" y="326"/>
                </a:lnTo>
                <a:lnTo>
                  <a:pt x="1942" y="322"/>
                </a:lnTo>
                <a:lnTo>
                  <a:pt x="1942" y="318"/>
                </a:lnTo>
                <a:lnTo>
                  <a:pt x="1948" y="312"/>
                </a:lnTo>
                <a:lnTo>
                  <a:pt x="1952" y="310"/>
                </a:lnTo>
                <a:lnTo>
                  <a:pt x="1952" y="308"/>
                </a:lnTo>
                <a:lnTo>
                  <a:pt x="1950" y="306"/>
                </a:lnTo>
                <a:lnTo>
                  <a:pt x="1942" y="306"/>
                </a:lnTo>
                <a:lnTo>
                  <a:pt x="1942" y="306"/>
                </a:lnTo>
                <a:lnTo>
                  <a:pt x="1934" y="304"/>
                </a:lnTo>
                <a:lnTo>
                  <a:pt x="1932" y="306"/>
                </a:lnTo>
                <a:lnTo>
                  <a:pt x="1936" y="312"/>
                </a:lnTo>
                <a:lnTo>
                  <a:pt x="1938" y="314"/>
                </a:lnTo>
                <a:lnTo>
                  <a:pt x="1936" y="316"/>
                </a:lnTo>
                <a:lnTo>
                  <a:pt x="1930" y="318"/>
                </a:lnTo>
                <a:lnTo>
                  <a:pt x="1916" y="316"/>
                </a:lnTo>
                <a:lnTo>
                  <a:pt x="1916" y="316"/>
                </a:lnTo>
                <a:lnTo>
                  <a:pt x="1910" y="314"/>
                </a:lnTo>
                <a:lnTo>
                  <a:pt x="1906" y="312"/>
                </a:lnTo>
                <a:lnTo>
                  <a:pt x="1906" y="306"/>
                </a:lnTo>
                <a:lnTo>
                  <a:pt x="1906" y="300"/>
                </a:lnTo>
                <a:lnTo>
                  <a:pt x="1912" y="286"/>
                </a:lnTo>
                <a:lnTo>
                  <a:pt x="1922" y="272"/>
                </a:lnTo>
                <a:lnTo>
                  <a:pt x="1922" y="272"/>
                </a:lnTo>
                <a:lnTo>
                  <a:pt x="1926" y="262"/>
                </a:lnTo>
                <a:lnTo>
                  <a:pt x="1930" y="254"/>
                </a:lnTo>
                <a:lnTo>
                  <a:pt x="1930" y="246"/>
                </a:lnTo>
                <a:lnTo>
                  <a:pt x="1932" y="242"/>
                </a:lnTo>
                <a:lnTo>
                  <a:pt x="1934" y="240"/>
                </a:lnTo>
                <a:lnTo>
                  <a:pt x="1950" y="232"/>
                </a:lnTo>
                <a:lnTo>
                  <a:pt x="1950" y="232"/>
                </a:lnTo>
                <a:lnTo>
                  <a:pt x="1964" y="228"/>
                </a:lnTo>
                <a:lnTo>
                  <a:pt x="1976" y="228"/>
                </a:lnTo>
                <a:lnTo>
                  <a:pt x="1984" y="228"/>
                </a:lnTo>
                <a:lnTo>
                  <a:pt x="1990" y="230"/>
                </a:lnTo>
                <a:lnTo>
                  <a:pt x="1998" y="232"/>
                </a:lnTo>
                <a:lnTo>
                  <a:pt x="2006" y="234"/>
                </a:lnTo>
                <a:lnTo>
                  <a:pt x="2018" y="234"/>
                </a:lnTo>
                <a:lnTo>
                  <a:pt x="2034" y="232"/>
                </a:lnTo>
                <a:lnTo>
                  <a:pt x="2034" y="232"/>
                </a:lnTo>
                <a:lnTo>
                  <a:pt x="2058" y="228"/>
                </a:lnTo>
                <a:lnTo>
                  <a:pt x="2068" y="228"/>
                </a:lnTo>
                <a:lnTo>
                  <a:pt x="2072" y="230"/>
                </a:lnTo>
                <a:lnTo>
                  <a:pt x="2080" y="230"/>
                </a:lnTo>
                <a:lnTo>
                  <a:pt x="2080" y="230"/>
                </a:lnTo>
                <a:lnTo>
                  <a:pt x="2092" y="230"/>
                </a:lnTo>
                <a:lnTo>
                  <a:pt x="2096" y="232"/>
                </a:lnTo>
                <a:lnTo>
                  <a:pt x="2096" y="234"/>
                </a:lnTo>
                <a:lnTo>
                  <a:pt x="2094" y="238"/>
                </a:lnTo>
                <a:lnTo>
                  <a:pt x="2092" y="242"/>
                </a:lnTo>
                <a:lnTo>
                  <a:pt x="2092" y="244"/>
                </a:lnTo>
                <a:lnTo>
                  <a:pt x="2096" y="246"/>
                </a:lnTo>
                <a:lnTo>
                  <a:pt x="2106" y="244"/>
                </a:lnTo>
                <a:lnTo>
                  <a:pt x="2106" y="244"/>
                </a:lnTo>
                <a:lnTo>
                  <a:pt x="2136" y="238"/>
                </a:lnTo>
                <a:lnTo>
                  <a:pt x="2140" y="236"/>
                </a:lnTo>
                <a:lnTo>
                  <a:pt x="2142" y="234"/>
                </a:lnTo>
                <a:lnTo>
                  <a:pt x="2140" y="232"/>
                </a:lnTo>
                <a:lnTo>
                  <a:pt x="2134" y="228"/>
                </a:lnTo>
                <a:lnTo>
                  <a:pt x="2134" y="228"/>
                </a:lnTo>
                <a:lnTo>
                  <a:pt x="2126" y="222"/>
                </a:lnTo>
                <a:lnTo>
                  <a:pt x="2126" y="220"/>
                </a:lnTo>
                <a:lnTo>
                  <a:pt x="2128" y="220"/>
                </a:lnTo>
                <a:lnTo>
                  <a:pt x="2132" y="216"/>
                </a:lnTo>
                <a:lnTo>
                  <a:pt x="2136" y="212"/>
                </a:lnTo>
                <a:lnTo>
                  <a:pt x="2136" y="204"/>
                </a:lnTo>
                <a:lnTo>
                  <a:pt x="2136" y="204"/>
                </a:lnTo>
                <a:lnTo>
                  <a:pt x="2136" y="196"/>
                </a:lnTo>
                <a:lnTo>
                  <a:pt x="2136" y="194"/>
                </a:lnTo>
                <a:lnTo>
                  <a:pt x="2138" y="194"/>
                </a:lnTo>
                <a:lnTo>
                  <a:pt x="2142" y="194"/>
                </a:lnTo>
                <a:lnTo>
                  <a:pt x="2144" y="194"/>
                </a:lnTo>
                <a:lnTo>
                  <a:pt x="2148" y="192"/>
                </a:lnTo>
                <a:lnTo>
                  <a:pt x="2148" y="192"/>
                </a:lnTo>
                <a:lnTo>
                  <a:pt x="2154" y="190"/>
                </a:lnTo>
                <a:lnTo>
                  <a:pt x="2158" y="190"/>
                </a:lnTo>
                <a:lnTo>
                  <a:pt x="2164" y="188"/>
                </a:lnTo>
                <a:lnTo>
                  <a:pt x="2172" y="184"/>
                </a:lnTo>
                <a:lnTo>
                  <a:pt x="2172" y="184"/>
                </a:lnTo>
                <a:lnTo>
                  <a:pt x="2176" y="182"/>
                </a:lnTo>
                <a:lnTo>
                  <a:pt x="2178" y="184"/>
                </a:lnTo>
                <a:lnTo>
                  <a:pt x="2182" y="190"/>
                </a:lnTo>
                <a:lnTo>
                  <a:pt x="2186" y="194"/>
                </a:lnTo>
                <a:lnTo>
                  <a:pt x="2194" y="200"/>
                </a:lnTo>
                <a:lnTo>
                  <a:pt x="2194" y="200"/>
                </a:lnTo>
                <a:lnTo>
                  <a:pt x="2208" y="204"/>
                </a:lnTo>
                <a:lnTo>
                  <a:pt x="2212" y="204"/>
                </a:lnTo>
                <a:lnTo>
                  <a:pt x="2214" y="202"/>
                </a:lnTo>
                <a:lnTo>
                  <a:pt x="2214" y="198"/>
                </a:lnTo>
                <a:lnTo>
                  <a:pt x="2216" y="196"/>
                </a:lnTo>
                <a:lnTo>
                  <a:pt x="2218" y="194"/>
                </a:lnTo>
                <a:lnTo>
                  <a:pt x="2218" y="194"/>
                </a:lnTo>
                <a:lnTo>
                  <a:pt x="2222" y="192"/>
                </a:lnTo>
                <a:lnTo>
                  <a:pt x="2222" y="190"/>
                </a:lnTo>
                <a:lnTo>
                  <a:pt x="2220" y="186"/>
                </a:lnTo>
                <a:lnTo>
                  <a:pt x="2218" y="184"/>
                </a:lnTo>
                <a:lnTo>
                  <a:pt x="2218" y="182"/>
                </a:lnTo>
                <a:lnTo>
                  <a:pt x="2220" y="180"/>
                </a:lnTo>
                <a:lnTo>
                  <a:pt x="2226" y="178"/>
                </a:lnTo>
                <a:lnTo>
                  <a:pt x="2226" y="178"/>
                </a:lnTo>
                <a:lnTo>
                  <a:pt x="2238" y="176"/>
                </a:lnTo>
                <a:lnTo>
                  <a:pt x="2244" y="176"/>
                </a:lnTo>
                <a:lnTo>
                  <a:pt x="2242" y="178"/>
                </a:lnTo>
                <a:lnTo>
                  <a:pt x="2236" y="180"/>
                </a:lnTo>
                <a:lnTo>
                  <a:pt x="2236" y="180"/>
                </a:lnTo>
                <a:lnTo>
                  <a:pt x="2232" y="182"/>
                </a:lnTo>
                <a:lnTo>
                  <a:pt x="2232" y="186"/>
                </a:lnTo>
                <a:lnTo>
                  <a:pt x="2236" y="192"/>
                </a:lnTo>
                <a:lnTo>
                  <a:pt x="2244" y="198"/>
                </a:lnTo>
                <a:lnTo>
                  <a:pt x="2252" y="202"/>
                </a:lnTo>
                <a:lnTo>
                  <a:pt x="2252" y="202"/>
                </a:lnTo>
                <a:lnTo>
                  <a:pt x="2254" y="202"/>
                </a:lnTo>
                <a:lnTo>
                  <a:pt x="2252" y="204"/>
                </a:lnTo>
                <a:lnTo>
                  <a:pt x="2248" y="210"/>
                </a:lnTo>
                <a:lnTo>
                  <a:pt x="2244" y="216"/>
                </a:lnTo>
                <a:lnTo>
                  <a:pt x="2242" y="220"/>
                </a:lnTo>
                <a:lnTo>
                  <a:pt x="2244" y="224"/>
                </a:lnTo>
                <a:lnTo>
                  <a:pt x="2244" y="224"/>
                </a:lnTo>
                <a:lnTo>
                  <a:pt x="2244" y="228"/>
                </a:lnTo>
                <a:lnTo>
                  <a:pt x="2244" y="234"/>
                </a:lnTo>
                <a:lnTo>
                  <a:pt x="2238" y="242"/>
                </a:lnTo>
                <a:lnTo>
                  <a:pt x="2232" y="250"/>
                </a:lnTo>
                <a:lnTo>
                  <a:pt x="2230" y="254"/>
                </a:lnTo>
                <a:lnTo>
                  <a:pt x="2230" y="256"/>
                </a:lnTo>
                <a:lnTo>
                  <a:pt x="2230" y="256"/>
                </a:lnTo>
                <a:lnTo>
                  <a:pt x="2232" y="258"/>
                </a:lnTo>
                <a:lnTo>
                  <a:pt x="2232" y="260"/>
                </a:lnTo>
                <a:lnTo>
                  <a:pt x="2228" y="260"/>
                </a:lnTo>
                <a:lnTo>
                  <a:pt x="2226" y="264"/>
                </a:lnTo>
                <a:lnTo>
                  <a:pt x="2226" y="266"/>
                </a:lnTo>
                <a:lnTo>
                  <a:pt x="2228" y="268"/>
                </a:lnTo>
                <a:lnTo>
                  <a:pt x="2228" y="268"/>
                </a:lnTo>
                <a:lnTo>
                  <a:pt x="2232" y="276"/>
                </a:lnTo>
                <a:lnTo>
                  <a:pt x="2232" y="278"/>
                </a:lnTo>
                <a:lnTo>
                  <a:pt x="2232" y="280"/>
                </a:lnTo>
                <a:lnTo>
                  <a:pt x="2230" y="282"/>
                </a:lnTo>
                <a:lnTo>
                  <a:pt x="2232" y="288"/>
                </a:lnTo>
                <a:lnTo>
                  <a:pt x="2232" y="288"/>
                </a:lnTo>
                <a:lnTo>
                  <a:pt x="2250" y="304"/>
                </a:lnTo>
                <a:lnTo>
                  <a:pt x="2264" y="314"/>
                </a:lnTo>
                <a:lnTo>
                  <a:pt x="2278" y="320"/>
                </a:lnTo>
                <a:lnTo>
                  <a:pt x="2294" y="330"/>
                </a:lnTo>
                <a:lnTo>
                  <a:pt x="2294" y="330"/>
                </a:lnTo>
                <a:lnTo>
                  <a:pt x="2312" y="342"/>
                </a:lnTo>
                <a:lnTo>
                  <a:pt x="2330" y="352"/>
                </a:lnTo>
                <a:lnTo>
                  <a:pt x="2348" y="362"/>
                </a:lnTo>
                <a:lnTo>
                  <a:pt x="2362" y="374"/>
                </a:lnTo>
                <a:lnTo>
                  <a:pt x="2362" y="374"/>
                </a:lnTo>
                <a:lnTo>
                  <a:pt x="2372" y="380"/>
                </a:lnTo>
                <a:lnTo>
                  <a:pt x="2374" y="380"/>
                </a:lnTo>
                <a:lnTo>
                  <a:pt x="2376" y="378"/>
                </a:lnTo>
                <a:lnTo>
                  <a:pt x="2378" y="372"/>
                </a:lnTo>
                <a:lnTo>
                  <a:pt x="2376" y="362"/>
                </a:lnTo>
                <a:lnTo>
                  <a:pt x="2376" y="362"/>
                </a:lnTo>
                <a:lnTo>
                  <a:pt x="2374" y="352"/>
                </a:lnTo>
                <a:lnTo>
                  <a:pt x="2370" y="346"/>
                </a:lnTo>
                <a:lnTo>
                  <a:pt x="2370" y="342"/>
                </a:lnTo>
                <a:lnTo>
                  <a:pt x="2374" y="340"/>
                </a:lnTo>
                <a:lnTo>
                  <a:pt x="2374" y="340"/>
                </a:lnTo>
                <a:lnTo>
                  <a:pt x="2378" y="338"/>
                </a:lnTo>
                <a:lnTo>
                  <a:pt x="2376" y="336"/>
                </a:lnTo>
                <a:lnTo>
                  <a:pt x="2372" y="332"/>
                </a:lnTo>
                <a:lnTo>
                  <a:pt x="2366" y="324"/>
                </a:lnTo>
                <a:lnTo>
                  <a:pt x="2366" y="324"/>
                </a:lnTo>
                <a:lnTo>
                  <a:pt x="2364" y="320"/>
                </a:lnTo>
                <a:lnTo>
                  <a:pt x="2364" y="318"/>
                </a:lnTo>
                <a:lnTo>
                  <a:pt x="2366" y="316"/>
                </a:lnTo>
                <a:lnTo>
                  <a:pt x="2370" y="314"/>
                </a:lnTo>
                <a:lnTo>
                  <a:pt x="2370" y="312"/>
                </a:lnTo>
                <a:lnTo>
                  <a:pt x="2370" y="310"/>
                </a:lnTo>
                <a:lnTo>
                  <a:pt x="2368" y="306"/>
                </a:lnTo>
                <a:lnTo>
                  <a:pt x="2368" y="306"/>
                </a:lnTo>
                <a:lnTo>
                  <a:pt x="2364" y="298"/>
                </a:lnTo>
                <a:lnTo>
                  <a:pt x="2362" y="298"/>
                </a:lnTo>
                <a:lnTo>
                  <a:pt x="2358" y="298"/>
                </a:lnTo>
                <a:lnTo>
                  <a:pt x="2352" y="292"/>
                </a:lnTo>
                <a:lnTo>
                  <a:pt x="2352" y="292"/>
                </a:lnTo>
                <a:lnTo>
                  <a:pt x="2348" y="284"/>
                </a:lnTo>
                <a:lnTo>
                  <a:pt x="2348" y="282"/>
                </a:lnTo>
                <a:lnTo>
                  <a:pt x="2350" y="282"/>
                </a:lnTo>
                <a:lnTo>
                  <a:pt x="2352" y="284"/>
                </a:lnTo>
                <a:lnTo>
                  <a:pt x="2352" y="284"/>
                </a:lnTo>
                <a:lnTo>
                  <a:pt x="2352" y="284"/>
                </a:lnTo>
                <a:lnTo>
                  <a:pt x="2354" y="284"/>
                </a:lnTo>
                <a:lnTo>
                  <a:pt x="2358" y="280"/>
                </a:lnTo>
                <a:lnTo>
                  <a:pt x="2358" y="278"/>
                </a:lnTo>
                <a:lnTo>
                  <a:pt x="2356" y="276"/>
                </a:lnTo>
                <a:lnTo>
                  <a:pt x="2352" y="274"/>
                </a:lnTo>
                <a:lnTo>
                  <a:pt x="2344" y="270"/>
                </a:lnTo>
                <a:lnTo>
                  <a:pt x="2344" y="270"/>
                </a:lnTo>
                <a:lnTo>
                  <a:pt x="2338" y="268"/>
                </a:lnTo>
                <a:lnTo>
                  <a:pt x="2334" y="264"/>
                </a:lnTo>
                <a:lnTo>
                  <a:pt x="2334" y="262"/>
                </a:lnTo>
                <a:lnTo>
                  <a:pt x="2334" y="260"/>
                </a:lnTo>
                <a:lnTo>
                  <a:pt x="2334" y="258"/>
                </a:lnTo>
                <a:lnTo>
                  <a:pt x="2332" y="256"/>
                </a:lnTo>
                <a:lnTo>
                  <a:pt x="2330" y="254"/>
                </a:lnTo>
                <a:lnTo>
                  <a:pt x="2324" y="252"/>
                </a:lnTo>
                <a:lnTo>
                  <a:pt x="2324" y="252"/>
                </a:lnTo>
                <a:lnTo>
                  <a:pt x="2312" y="252"/>
                </a:lnTo>
                <a:lnTo>
                  <a:pt x="2310" y="252"/>
                </a:lnTo>
                <a:lnTo>
                  <a:pt x="2310" y="254"/>
                </a:lnTo>
                <a:lnTo>
                  <a:pt x="2314" y="256"/>
                </a:lnTo>
                <a:lnTo>
                  <a:pt x="2314" y="256"/>
                </a:lnTo>
                <a:lnTo>
                  <a:pt x="2312" y="258"/>
                </a:lnTo>
                <a:lnTo>
                  <a:pt x="2312" y="258"/>
                </a:lnTo>
                <a:lnTo>
                  <a:pt x="2308" y="258"/>
                </a:lnTo>
                <a:lnTo>
                  <a:pt x="2306" y="256"/>
                </a:lnTo>
                <a:lnTo>
                  <a:pt x="2300" y="250"/>
                </a:lnTo>
                <a:lnTo>
                  <a:pt x="2298" y="242"/>
                </a:lnTo>
                <a:lnTo>
                  <a:pt x="2296" y="236"/>
                </a:lnTo>
                <a:lnTo>
                  <a:pt x="2296" y="236"/>
                </a:lnTo>
                <a:lnTo>
                  <a:pt x="2294" y="230"/>
                </a:lnTo>
                <a:lnTo>
                  <a:pt x="2288" y="226"/>
                </a:lnTo>
                <a:lnTo>
                  <a:pt x="2288" y="224"/>
                </a:lnTo>
                <a:lnTo>
                  <a:pt x="2288" y="222"/>
                </a:lnTo>
                <a:lnTo>
                  <a:pt x="2298" y="222"/>
                </a:lnTo>
                <a:lnTo>
                  <a:pt x="2298" y="222"/>
                </a:lnTo>
                <a:lnTo>
                  <a:pt x="2308" y="222"/>
                </a:lnTo>
                <a:lnTo>
                  <a:pt x="2308" y="220"/>
                </a:lnTo>
                <a:lnTo>
                  <a:pt x="2308" y="218"/>
                </a:lnTo>
                <a:lnTo>
                  <a:pt x="2306" y="216"/>
                </a:lnTo>
                <a:lnTo>
                  <a:pt x="2308" y="214"/>
                </a:lnTo>
                <a:lnTo>
                  <a:pt x="2314" y="212"/>
                </a:lnTo>
                <a:lnTo>
                  <a:pt x="2314" y="212"/>
                </a:lnTo>
                <a:lnTo>
                  <a:pt x="2320" y="214"/>
                </a:lnTo>
                <a:lnTo>
                  <a:pt x="2324" y="216"/>
                </a:lnTo>
                <a:lnTo>
                  <a:pt x="2326" y="220"/>
                </a:lnTo>
                <a:lnTo>
                  <a:pt x="2328" y="222"/>
                </a:lnTo>
                <a:lnTo>
                  <a:pt x="2328" y="226"/>
                </a:lnTo>
                <a:lnTo>
                  <a:pt x="2330" y="226"/>
                </a:lnTo>
                <a:lnTo>
                  <a:pt x="2334" y="216"/>
                </a:lnTo>
                <a:lnTo>
                  <a:pt x="2334" y="216"/>
                </a:lnTo>
                <a:lnTo>
                  <a:pt x="2336" y="210"/>
                </a:lnTo>
                <a:lnTo>
                  <a:pt x="2340" y="208"/>
                </a:lnTo>
                <a:lnTo>
                  <a:pt x="2344" y="206"/>
                </a:lnTo>
                <a:lnTo>
                  <a:pt x="2350" y="206"/>
                </a:lnTo>
                <a:lnTo>
                  <a:pt x="2362" y="208"/>
                </a:lnTo>
                <a:lnTo>
                  <a:pt x="2374" y="214"/>
                </a:lnTo>
                <a:lnTo>
                  <a:pt x="2374" y="214"/>
                </a:lnTo>
                <a:lnTo>
                  <a:pt x="2382" y="214"/>
                </a:lnTo>
                <a:lnTo>
                  <a:pt x="2384" y="212"/>
                </a:lnTo>
                <a:lnTo>
                  <a:pt x="2388" y="208"/>
                </a:lnTo>
                <a:lnTo>
                  <a:pt x="2392" y="206"/>
                </a:lnTo>
                <a:lnTo>
                  <a:pt x="2392" y="206"/>
                </a:lnTo>
                <a:lnTo>
                  <a:pt x="2400" y="198"/>
                </a:lnTo>
                <a:lnTo>
                  <a:pt x="2412" y="188"/>
                </a:lnTo>
                <a:lnTo>
                  <a:pt x="2426" y="178"/>
                </a:lnTo>
                <a:lnTo>
                  <a:pt x="2432" y="176"/>
                </a:lnTo>
                <a:lnTo>
                  <a:pt x="2436" y="176"/>
                </a:lnTo>
                <a:lnTo>
                  <a:pt x="2436" y="176"/>
                </a:lnTo>
                <a:lnTo>
                  <a:pt x="2440" y="176"/>
                </a:lnTo>
                <a:lnTo>
                  <a:pt x="2444" y="176"/>
                </a:lnTo>
                <a:lnTo>
                  <a:pt x="2448" y="172"/>
                </a:lnTo>
                <a:lnTo>
                  <a:pt x="2448" y="170"/>
                </a:lnTo>
                <a:lnTo>
                  <a:pt x="2446" y="168"/>
                </a:lnTo>
                <a:lnTo>
                  <a:pt x="2442" y="166"/>
                </a:lnTo>
                <a:lnTo>
                  <a:pt x="2434" y="164"/>
                </a:lnTo>
                <a:lnTo>
                  <a:pt x="2434" y="164"/>
                </a:lnTo>
                <a:lnTo>
                  <a:pt x="2420" y="162"/>
                </a:lnTo>
                <a:lnTo>
                  <a:pt x="2412" y="158"/>
                </a:lnTo>
                <a:lnTo>
                  <a:pt x="2404" y="156"/>
                </a:lnTo>
                <a:lnTo>
                  <a:pt x="2396" y="154"/>
                </a:lnTo>
                <a:lnTo>
                  <a:pt x="2396" y="154"/>
                </a:lnTo>
                <a:lnTo>
                  <a:pt x="2388" y="152"/>
                </a:lnTo>
                <a:lnTo>
                  <a:pt x="2382" y="148"/>
                </a:lnTo>
                <a:lnTo>
                  <a:pt x="2376" y="146"/>
                </a:lnTo>
                <a:lnTo>
                  <a:pt x="2372" y="148"/>
                </a:lnTo>
                <a:lnTo>
                  <a:pt x="2370" y="150"/>
                </a:lnTo>
                <a:lnTo>
                  <a:pt x="2370" y="150"/>
                </a:lnTo>
                <a:lnTo>
                  <a:pt x="2368" y="150"/>
                </a:lnTo>
                <a:lnTo>
                  <a:pt x="2364" y="150"/>
                </a:lnTo>
                <a:lnTo>
                  <a:pt x="2362" y="150"/>
                </a:lnTo>
                <a:lnTo>
                  <a:pt x="2360" y="148"/>
                </a:lnTo>
                <a:lnTo>
                  <a:pt x="2362" y="146"/>
                </a:lnTo>
                <a:lnTo>
                  <a:pt x="2364" y="144"/>
                </a:lnTo>
                <a:lnTo>
                  <a:pt x="2370" y="142"/>
                </a:lnTo>
                <a:lnTo>
                  <a:pt x="2382" y="142"/>
                </a:lnTo>
                <a:lnTo>
                  <a:pt x="2382" y="142"/>
                </a:lnTo>
                <a:lnTo>
                  <a:pt x="2392" y="140"/>
                </a:lnTo>
                <a:lnTo>
                  <a:pt x="2400" y="138"/>
                </a:lnTo>
                <a:lnTo>
                  <a:pt x="2404" y="136"/>
                </a:lnTo>
                <a:lnTo>
                  <a:pt x="2406" y="134"/>
                </a:lnTo>
                <a:lnTo>
                  <a:pt x="2404" y="132"/>
                </a:lnTo>
                <a:lnTo>
                  <a:pt x="2404" y="130"/>
                </a:lnTo>
                <a:lnTo>
                  <a:pt x="2398" y="128"/>
                </a:lnTo>
                <a:lnTo>
                  <a:pt x="2398" y="128"/>
                </a:lnTo>
                <a:lnTo>
                  <a:pt x="2394" y="126"/>
                </a:lnTo>
                <a:lnTo>
                  <a:pt x="2394" y="124"/>
                </a:lnTo>
                <a:lnTo>
                  <a:pt x="2400" y="122"/>
                </a:lnTo>
                <a:lnTo>
                  <a:pt x="2408" y="122"/>
                </a:lnTo>
                <a:lnTo>
                  <a:pt x="2412" y="122"/>
                </a:lnTo>
                <a:lnTo>
                  <a:pt x="2414" y="126"/>
                </a:lnTo>
                <a:lnTo>
                  <a:pt x="2414" y="126"/>
                </a:lnTo>
                <a:lnTo>
                  <a:pt x="2416" y="132"/>
                </a:lnTo>
                <a:lnTo>
                  <a:pt x="2420" y="136"/>
                </a:lnTo>
                <a:lnTo>
                  <a:pt x="2424" y="136"/>
                </a:lnTo>
                <a:lnTo>
                  <a:pt x="2428" y="136"/>
                </a:lnTo>
                <a:lnTo>
                  <a:pt x="2432" y="136"/>
                </a:lnTo>
                <a:lnTo>
                  <a:pt x="2434" y="138"/>
                </a:lnTo>
                <a:lnTo>
                  <a:pt x="2432" y="140"/>
                </a:lnTo>
                <a:lnTo>
                  <a:pt x="2432" y="140"/>
                </a:lnTo>
                <a:lnTo>
                  <a:pt x="2432" y="142"/>
                </a:lnTo>
                <a:lnTo>
                  <a:pt x="2434" y="142"/>
                </a:lnTo>
                <a:lnTo>
                  <a:pt x="2442" y="142"/>
                </a:lnTo>
                <a:lnTo>
                  <a:pt x="2454" y="140"/>
                </a:lnTo>
                <a:lnTo>
                  <a:pt x="2460" y="140"/>
                </a:lnTo>
                <a:lnTo>
                  <a:pt x="2462" y="142"/>
                </a:lnTo>
                <a:lnTo>
                  <a:pt x="2462" y="142"/>
                </a:lnTo>
                <a:lnTo>
                  <a:pt x="2468" y="148"/>
                </a:lnTo>
                <a:lnTo>
                  <a:pt x="2472" y="150"/>
                </a:lnTo>
                <a:lnTo>
                  <a:pt x="2476" y="150"/>
                </a:lnTo>
                <a:lnTo>
                  <a:pt x="2480" y="148"/>
                </a:lnTo>
                <a:lnTo>
                  <a:pt x="2488" y="146"/>
                </a:lnTo>
                <a:lnTo>
                  <a:pt x="2494" y="146"/>
                </a:lnTo>
                <a:lnTo>
                  <a:pt x="2500" y="148"/>
                </a:lnTo>
                <a:lnTo>
                  <a:pt x="2500" y="148"/>
                </a:lnTo>
                <a:lnTo>
                  <a:pt x="2516" y="152"/>
                </a:lnTo>
                <a:lnTo>
                  <a:pt x="2528" y="152"/>
                </a:lnTo>
                <a:lnTo>
                  <a:pt x="2532" y="150"/>
                </a:lnTo>
                <a:lnTo>
                  <a:pt x="2534" y="150"/>
                </a:lnTo>
                <a:lnTo>
                  <a:pt x="2532" y="146"/>
                </a:lnTo>
                <a:lnTo>
                  <a:pt x="2528" y="144"/>
                </a:lnTo>
                <a:lnTo>
                  <a:pt x="2528" y="144"/>
                </a:lnTo>
                <a:lnTo>
                  <a:pt x="2522" y="140"/>
                </a:lnTo>
                <a:lnTo>
                  <a:pt x="2522" y="136"/>
                </a:lnTo>
                <a:lnTo>
                  <a:pt x="2522" y="136"/>
                </a:lnTo>
                <a:lnTo>
                  <a:pt x="2520" y="134"/>
                </a:lnTo>
                <a:lnTo>
                  <a:pt x="2512" y="130"/>
                </a:lnTo>
                <a:lnTo>
                  <a:pt x="2512" y="130"/>
                </a:lnTo>
                <a:lnTo>
                  <a:pt x="2504" y="128"/>
                </a:lnTo>
                <a:lnTo>
                  <a:pt x="2502" y="126"/>
                </a:lnTo>
                <a:lnTo>
                  <a:pt x="2510" y="126"/>
                </a:lnTo>
                <a:lnTo>
                  <a:pt x="2522" y="126"/>
                </a:lnTo>
                <a:lnTo>
                  <a:pt x="2524" y="126"/>
                </a:lnTo>
                <a:lnTo>
                  <a:pt x="2522" y="124"/>
                </a:lnTo>
                <a:lnTo>
                  <a:pt x="2522" y="124"/>
                </a:lnTo>
                <a:lnTo>
                  <a:pt x="2520" y="122"/>
                </a:lnTo>
                <a:lnTo>
                  <a:pt x="2520" y="120"/>
                </a:lnTo>
                <a:lnTo>
                  <a:pt x="2526" y="118"/>
                </a:lnTo>
                <a:lnTo>
                  <a:pt x="2532" y="118"/>
                </a:lnTo>
                <a:lnTo>
                  <a:pt x="2532" y="116"/>
                </a:lnTo>
                <a:lnTo>
                  <a:pt x="2532" y="116"/>
                </a:lnTo>
                <a:lnTo>
                  <a:pt x="2532" y="116"/>
                </a:lnTo>
                <a:lnTo>
                  <a:pt x="2530" y="114"/>
                </a:lnTo>
                <a:lnTo>
                  <a:pt x="2530" y="114"/>
                </a:lnTo>
                <a:lnTo>
                  <a:pt x="2530" y="110"/>
                </a:lnTo>
                <a:lnTo>
                  <a:pt x="2530" y="108"/>
                </a:lnTo>
                <a:lnTo>
                  <a:pt x="2530" y="106"/>
                </a:lnTo>
                <a:lnTo>
                  <a:pt x="2528" y="104"/>
                </a:lnTo>
                <a:lnTo>
                  <a:pt x="2522" y="104"/>
                </a:lnTo>
                <a:lnTo>
                  <a:pt x="2522" y="104"/>
                </a:lnTo>
                <a:lnTo>
                  <a:pt x="2490" y="100"/>
                </a:lnTo>
                <a:lnTo>
                  <a:pt x="2458" y="94"/>
                </a:lnTo>
                <a:lnTo>
                  <a:pt x="2458" y="94"/>
                </a:lnTo>
                <a:lnTo>
                  <a:pt x="2446" y="94"/>
                </a:lnTo>
                <a:lnTo>
                  <a:pt x="2442" y="94"/>
                </a:lnTo>
                <a:lnTo>
                  <a:pt x="2442" y="96"/>
                </a:lnTo>
                <a:lnTo>
                  <a:pt x="2442" y="98"/>
                </a:lnTo>
                <a:lnTo>
                  <a:pt x="2450" y="102"/>
                </a:lnTo>
                <a:lnTo>
                  <a:pt x="2450" y="102"/>
                </a:lnTo>
                <a:lnTo>
                  <a:pt x="2460" y="106"/>
                </a:lnTo>
                <a:lnTo>
                  <a:pt x="2468" y="110"/>
                </a:lnTo>
                <a:lnTo>
                  <a:pt x="2474" y="114"/>
                </a:lnTo>
                <a:lnTo>
                  <a:pt x="2474" y="114"/>
                </a:lnTo>
                <a:lnTo>
                  <a:pt x="2466" y="114"/>
                </a:lnTo>
                <a:lnTo>
                  <a:pt x="2458" y="112"/>
                </a:lnTo>
                <a:lnTo>
                  <a:pt x="2448" y="106"/>
                </a:lnTo>
                <a:lnTo>
                  <a:pt x="2448" y="106"/>
                </a:lnTo>
                <a:lnTo>
                  <a:pt x="2436" y="102"/>
                </a:lnTo>
                <a:lnTo>
                  <a:pt x="2420" y="98"/>
                </a:lnTo>
                <a:lnTo>
                  <a:pt x="2400" y="96"/>
                </a:lnTo>
                <a:lnTo>
                  <a:pt x="2370" y="90"/>
                </a:lnTo>
                <a:lnTo>
                  <a:pt x="2370" y="90"/>
                </a:lnTo>
                <a:lnTo>
                  <a:pt x="2340" y="84"/>
                </a:lnTo>
                <a:lnTo>
                  <a:pt x="2320" y="80"/>
                </a:lnTo>
                <a:lnTo>
                  <a:pt x="2304" y="80"/>
                </a:lnTo>
                <a:lnTo>
                  <a:pt x="2290" y="82"/>
                </a:lnTo>
                <a:lnTo>
                  <a:pt x="2290" y="82"/>
                </a:lnTo>
                <a:lnTo>
                  <a:pt x="2284" y="84"/>
                </a:lnTo>
                <a:lnTo>
                  <a:pt x="2276" y="84"/>
                </a:lnTo>
                <a:lnTo>
                  <a:pt x="2258" y="80"/>
                </a:lnTo>
                <a:lnTo>
                  <a:pt x="2238" y="76"/>
                </a:lnTo>
                <a:lnTo>
                  <a:pt x="2216" y="74"/>
                </a:lnTo>
                <a:lnTo>
                  <a:pt x="2216" y="74"/>
                </a:lnTo>
                <a:lnTo>
                  <a:pt x="2168" y="74"/>
                </a:lnTo>
                <a:lnTo>
                  <a:pt x="2128" y="70"/>
                </a:lnTo>
                <a:lnTo>
                  <a:pt x="2128" y="70"/>
                </a:lnTo>
                <a:lnTo>
                  <a:pt x="2122" y="72"/>
                </a:lnTo>
                <a:lnTo>
                  <a:pt x="2122" y="72"/>
                </a:lnTo>
                <a:lnTo>
                  <a:pt x="2128" y="76"/>
                </a:lnTo>
                <a:lnTo>
                  <a:pt x="2134" y="80"/>
                </a:lnTo>
                <a:lnTo>
                  <a:pt x="2136" y="84"/>
                </a:lnTo>
                <a:lnTo>
                  <a:pt x="2136" y="86"/>
                </a:lnTo>
                <a:lnTo>
                  <a:pt x="2136" y="86"/>
                </a:lnTo>
                <a:lnTo>
                  <a:pt x="2130" y="88"/>
                </a:lnTo>
                <a:lnTo>
                  <a:pt x="2124" y="86"/>
                </a:lnTo>
                <a:lnTo>
                  <a:pt x="2118" y="84"/>
                </a:lnTo>
                <a:lnTo>
                  <a:pt x="2110" y="84"/>
                </a:lnTo>
                <a:lnTo>
                  <a:pt x="2110" y="84"/>
                </a:lnTo>
                <a:lnTo>
                  <a:pt x="2104" y="82"/>
                </a:lnTo>
                <a:lnTo>
                  <a:pt x="2102" y="80"/>
                </a:lnTo>
                <a:lnTo>
                  <a:pt x="2094" y="72"/>
                </a:lnTo>
                <a:lnTo>
                  <a:pt x="2092" y="68"/>
                </a:lnTo>
                <a:lnTo>
                  <a:pt x="2090" y="66"/>
                </a:lnTo>
                <a:lnTo>
                  <a:pt x="2086" y="68"/>
                </a:lnTo>
                <a:lnTo>
                  <a:pt x="2082" y="70"/>
                </a:lnTo>
                <a:lnTo>
                  <a:pt x="2082" y="70"/>
                </a:lnTo>
                <a:lnTo>
                  <a:pt x="2078" y="74"/>
                </a:lnTo>
                <a:lnTo>
                  <a:pt x="2076" y="74"/>
                </a:lnTo>
                <a:lnTo>
                  <a:pt x="2068" y="74"/>
                </a:lnTo>
                <a:lnTo>
                  <a:pt x="2050" y="74"/>
                </a:lnTo>
                <a:lnTo>
                  <a:pt x="2050" y="74"/>
                </a:lnTo>
                <a:lnTo>
                  <a:pt x="2034" y="74"/>
                </a:lnTo>
                <a:lnTo>
                  <a:pt x="2032" y="72"/>
                </a:lnTo>
                <a:lnTo>
                  <a:pt x="2030" y="70"/>
                </a:lnTo>
                <a:lnTo>
                  <a:pt x="2030" y="70"/>
                </a:lnTo>
                <a:lnTo>
                  <a:pt x="2028" y="68"/>
                </a:lnTo>
                <a:lnTo>
                  <a:pt x="2016" y="68"/>
                </a:lnTo>
                <a:lnTo>
                  <a:pt x="2016" y="68"/>
                </a:lnTo>
                <a:lnTo>
                  <a:pt x="2006" y="70"/>
                </a:lnTo>
                <a:lnTo>
                  <a:pt x="2006" y="70"/>
                </a:lnTo>
                <a:lnTo>
                  <a:pt x="2006" y="72"/>
                </a:lnTo>
                <a:lnTo>
                  <a:pt x="2010" y="72"/>
                </a:lnTo>
                <a:lnTo>
                  <a:pt x="2002" y="74"/>
                </a:lnTo>
                <a:lnTo>
                  <a:pt x="2002" y="74"/>
                </a:lnTo>
                <a:lnTo>
                  <a:pt x="1988" y="74"/>
                </a:lnTo>
                <a:lnTo>
                  <a:pt x="1980" y="72"/>
                </a:lnTo>
                <a:lnTo>
                  <a:pt x="1970" y="68"/>
                </a:lnTo>
                <a:lnTo>
                  <a:pt x="1950" y="66"/>
                </a:lnTo>
                <a:lnTo>
                  <a:pt x="1950" y="66"/>
                </a:lnTo>
                <a:lnTo>
                  <a:pt x="1934" y="66"/>
                </a:lnTo>
                <a:lnTo>
                  <a:pt x="1924" y="62"/>
                </a:lnTo>
                <a:lnTo>
                  <a:pt x="1908" y="60"/>
                </a:lnTo>
                <a:lnTo>
                  <a:pt x="1876" y="56"/>
                </a:lnTo>
                <a:lnTo>
                  <a:pt x="1876" y="56"/>
                </a:lnTo>
                <a:lnTo>
                  <a:pt x="1844" y="56"/>
                </a:lnTo>
                <a:lnTo>
                  <a:pt x="1836" y="56"/>
                </a:lnTo>
                <a:lnTo>
                  <a:pt x="1836" y="58"/>
                </a:lnTo>
                <a:lnTo>
                  <a:pt x="1836" y="58"/>
                </a:lnTo>
                <a:lnTo>
                  <a:pt x="1836" y="58"/>
                </a:lnTo>
                <a:lnTo>
                  <a:pt x="1838" y="60"/>
                </a:lnTo>
                <a:lnTo>
                  <a:pt x="1836" y="60"/>
                </a:lnTo>
                <a:lnTo>
                  <a:pt x="1832" y="60"/>
                </a:lnTo>
                <a:lnTo>
                  <a:pt x="1824" y="60"/>
                </a:lnTo>
                <a:lnTo>
                  <a:pt x="1816" y="56"/>
                </a:lnTo>
                <a:lnTo>
                  <a:pt x="1816" y="56"/>
                </a:lnTo>
                <a:lnTo>
                  <a:pt x="1808" y="50"/>
                </a:lnTo>
                <a:lnTo>
                  <a:pt x="1796" y="48"/>
                </a:lnTo>
                <a:lnTo>
                  <a:pt x="1780" y="48"/>
                </a:lnTo>
                <a:lnTo>
                  <a:pt x="1760" y="50"/>
                </a:lnTo>
                <a:lnTo>
                  <a:pt x="1760" y="50"/>
                </a:lnTo>
                <a:lnTo>
                  <a:pt x="1752" y="52"/>
                </a:lnTo>
                <a:lnTo>
                  <a:pt x="1744" y="52"/>
                </a:lnTo>
                <a:lnTo>
                  <a:pt x="1730" y="50"/>
                </a:lnTo>
                <a:lnTo>
                  <a:pt x="1718" y="48"/>
                </a:lnTo>
                <a:lnTo>
                  <a:pt x="1704" y="46"/>
                </a:lnTo>
                <a:lnTo>
                  <a:pt x="1704" y="46"/>
                </a:lnTo>
                <a:lnTo>
                  <a:pt x="1690" y="46"/>
                </a:lnTo>
                <a:lnTo>
                  <a:pt x="1694" y="44"/>
                </a:lnTo>
                <a:lnTo>
                  <a:pt x="1698" y="42"/>
                </a:lnTo>
                <a:lnTo>
                  <a:pt x="1698" y="40"/>
                </a:lnTo>
                <a:lnTo>
                  <a:pt x="1694" y="40"/>
                </a:lnTo>
                <a:lnTo>
                  <a:pt x="1682" y="38"/>
                </a:lnTo>
                <a:lnTo>
                  <a:pt x="1682" y="38"/>
                </a:lnTo>
                <a:lnTo>
                  <a:pt x="1674" y="38"/>
                </a:lnTo>
                <a:lnTo>
                  <a:pt x="1670" y="40"/>
                </a:lnTo>
                <a:lnTo>
                  <a:pt x="1668" y="42"/>
                </a:lnTo>
                <a:lnTo>
                  <a:pt x="1668" y="44"/>
                </a:lnTo>
                <a:lnTo>
                  <a:pt x="1666" y="48"/>
                </a:lnTo>
                <a:lnTo>
                  <a:pt x="1664" y="48"/>
                </a:lnTo>
                <a:lnTo>
                  <a:pt x="1660" y="48"/>
                </a:lnTo>
                <a:lnTo>
                  <a:pt x="1660" y="48"/>
                </a:lnTo>
                <a:lnTo>
                  <a:pt x="1656" y="48"/>
                </a:lnTo>
                <a:lnTo>
                  <a:pt x="1656" y="46"/>
                </a:lnTo>
                <a:lnTo>
                  <a:pt x="1660" y="44"/>
                </a:lnTo>
                <a:lnTo>
                  <a:pt x="1664" y="40"/>
                </a:lnTo>
                <a:lnTo>
                  <a:pt x="1664" y="40"/>
                </a:lnTo>
                <a:lnTo>
                  <a:pt x="1662" y="38"/>
                </a:lnTo>
                <a:lnTo>
                  <a:pt x="1662" y="38"/>
                </a:lnTo>
                <a:lnTo>
                  <a:pt x="1654" y="38"/>
                </a:lnTo>
                <a:lnTo>
                  <a:pt x="1648" y="38"/>
                </a:lnTo>
                <a:lnTo>
                  <a:pt x="1642" y="44"/>
                </a:lnTo>
                <a:lnTo>
                  <a:pt x="1642" y="44"/>
                </a:lnTo>
                <a:lnTo>
                  <a:pt x="1638" y="44"/>
                </a:lnTo>
                <a:lnTo>
                  <a:pt x="1632" y="40"/>
                </a:lnTo>
                <a:lnTo>
                  <a:pt x="1632" y="40"/>
                </a:lnTo>
                <a:lnTo>
                  <a:pt x="1632" y="38"/>
                </a:lnTo>
                <a:lnTo>
                  <a:pt x="1636" y="36"/>
                </a:lnTo>
                <a:lnTo>
                  <a:pt x="1642" y="36"/>
                </a:lnTo>
                <a:lnTo>
                  <a:pt x="1642" y="36"/>
                </a:lnTo>
                <a:lnTo>
                  <a:pt x="1654" y="34"/>
                </a:lnTo>
                <a:lnTo>
                  <a:pt x="1656" y="34"/>
                </a:lnTo>
                <a:lnTo>
                  <a:pt x="1642" y="32"/>
                </a:lnTo>
                <a:lnTo>
                  <a:pt x="1642" y="32"/>
                </a:lnTo>
                <a:lnTo>
                  <a:pt x="1618" y="32"/>
                </a:lnTo>
                <a:lnTo>
                  <a:pt x="1590" y="32"/>
                </a:lnTo>
                <a:lnTo>
                  <a:pt x="1590" y="32"/>
                </a:lnTo>
                <a:lnTo>
                  <a:pt x="1584" y="32"/>
                </a:lnTo>
                <a:lnTo>
                  <a:pt x="1582" y="36"/>
                </a:lnTo>
                <a:lnTo>
                  <a:pt x="1582" y="38"/>
                </a:lnTo>
                <a:lnTo>
                  <a:pt x="1584" y="42"/>
                </a:lnTo>
                <a:lnTo>
                  <a:pt x="1586" y="46"/>
                </a:lnTo>
                <a:lnTo>
                  <a:pt x="1584" y="48"/>
                </a:lnTo>
                <a:lnTo>
                  <a:pt x="1580" y="50"/>
                </a:lnTo>
                <a:lnTo>
                  <a:pt x="1572" y="48"/>
                </a:lnTo>
                <a:lnTo>
                  <a:pt x="1572" y="48"/>
                </a:lnTo>
                <a:lnTo>
                  <a:pt x="1564" y="48"/>
                </a:lnTo>
                <a:lnTo>
                  <a:pt x="1556" y="50"/>
                </a:lnTo>
                <a:lnTo>
                  <a:pt x="1544" y="48"/>
                </a:lnTo>
                <a:lnTo>
                  <a:pt x="1520" y="42"/>
                </a:lnTo>
                <a:lnTo>
                  <a:pt x="1520" y="42"/>
                </a:lnTo>
                <a:lnTo>
                  <a:pt x="1514" y="40"/>
                </a:lnTo>
                <a:lnTo>
                  <a:pt x="1516" y="42"/>
                </a:lnTo>
                <a:lnTo>
                  <a:pt x="1528" y="52"/>
                </a:lnTo>
                <a:lnTo>
                  <a:pt x="1542" y="62"/>
                </a:lnTo>
                <a:lnTo>
                  <a:pt x="1544" y="64"/>
                </a:lnTo>
                <a:lnTo>
                  <a:pt x="1538" y="66"/>
                </a:lnTo>
                <a:lnTo>
                  <a:pt x="1538" y="66"/>
                </a:lnTo>
                <a:lnTo>
                  <a:pt x="1534" y="66"/>
                </a:lnTo>
                <a:lnTo>
                  <a:pt x="1534" y="68"/>
                </a:lnTo>
                <a:lnTo>
                  <a:pt x="1534" y="70"/>
                </a:lnTo>
                <a:lnTo>
                  <a:pt x="1530" y="68"/>
                </a:lnTo>
                <a:lnTo>
                  <a:pt x="1530" y="68"/>
                </a:lnTo>
                <a:lnTo>
                  <a:pt x="1510" y="64"/>
                </a:lnTo>
                <a:lnTo>
                  <a:pt x="1492" y="56"/>
                </a:lnTo>
                <a:lnTo>
                  <a:pt x="1492" y="56"/>
                </a:lnTo>
                <a:lnTo>
                  <a:pt x="1484" y="54"/>
                </a:lnTo>
                <a:lnTo>
                  <a:pt x="1484" y="54"/>
                </a:lnTo>
                <a:lnTo>
                  <a:pt x="1482" y="56"/>
                </a:lnTo>
                <a:lnTo>
                  <a:pt x="1474" y="56"/>
                </a:lnTo>
                <a:lnTo>
                  <a:pt x="1474" y="56"/>
                </a:lnTo>
                <a:lnTo>
                  <a:pt x="1468" y="54"/>
                </a:lnTo>
                <a:lnTo>
                  <a:pt x="1470" y="52"/>
                </a:lnTo>
                <a:lnTo>
                  <a:pt x="1472" y="50"/>
                </a:lnTo>
                <a:lnTo>
                  <a:pt x="1472" y="48"/>
                </a:lnTo>
                <a:lnTo>
                  <a:pt x="1468" y="48"/>
                </a:lnTo>
                <a:lnTo>
                  <a:pt x="1468" y="48"/>
                </a:lnTo>
                <a:lnTo>
                  <a:pt x="1458" y="44"/>
                </a:lnTo>
                <a:lnTo>
                  <a:pt x="1454" y="40"/>
                </a:lnTo>
                <a:lnTo>
                  <a:pt x="1452" y="38"/>
                </a:lnTo>
                <a:lnTo>
                  <a:pt x="1452" y="38"/>
                </a:lnTo>
                <a:lnTo>
                  <a:pt x="1448" y="34"/>
                </a:lnTo>
                <a:lnTo>
                  <a:pt x="1440" y="32"/>
                </a:lnTo>
                <a:lnTo>
                  <a:pt x="1418" y="28"/>
                </a:lnTo>
                <a:lnTo>
                  <a:pt x="1418" y="28"/>
                </a:lnTo>
                <a:lnTo>
                  <a:pt x="1396" y="20"/>
                </a:lnTo>
                <a:lnTo>
                  <a:pt x="1384" y="18"/>
                </a:lnTo>
                <a:lnTo>
                  <a:pt x="1380" y="18"/>
                </a:lnTo>
                <a:lnTo>
                  <a:pt x="1376" y="20"/>
                </a:lnTo>
                <a:lnTo>
                  <a:pt x="1376" y="20"/>
                </a:lnTo>
                <a:lnTo>
                  <a:pt x="1370" y="22"/>
                </a:lnTo>
                <a:lnTo>
                  <a:pt x="1366" y="22"/>
                </a:lnTo>
                <a:lnTo>
                  <a:pt x="1360" y="20"/>
                </a:lnTo>
                <a:lnTo>
                  <a:pt x="1356" y="20"/>
                </a:lnTo>
                <a:lnTo>
                  <a:pt x="1356" y="20"/>
                </a:lnTo>
                <a:lnTo>
                  <a:pt x="1344" y="20"/>
                </a:lnTo>
                <a:lnTo>
                  <a:pt x="1338" y="20"/>
                </a:lnTo>
                <a:lnTo>
                  <a:pt x="1336" y="22"/>
                </a:lnTo>
                <a:lnTo>
                  <a:pt x="1336" y="22"/>
                </a:lnTo>
                <a:lnTo>
                  <a:pt x="1332" y="24"/>
                </a:lnTo>
                <a:lnTo>
                  <a:pt x="1328" y="26"/>
                </a:lnTo>
                <a:lnTo>
                  <a:pt x="1326" y="26"/>
                </a:lnTo>
                <a:lnTo>
                  <a:pt x="1326" y="28"/>
                </a:lnTo>
                <a:lnTo>
                  <a:pt x="1336" y="32"/>
                </a:lnTo>
                <a:lnTo>
                  <a:pt x="1336" y="32"/>
                </a:lnTo>
                <a:lnTo>
                  <a:pt x="1344" y="38"/>
                </a:lnTo>
                <a:lnTo>
                  <a:pt x="1342" y="38"/>
                </a:lnTo>
                <a:lnTo>
                  <a:pt x="1340" y="38"/>
                </a:lnTo>
                <a:lnTo>
                  <a:pt x="1312" y="38"/>
                </a:lnTo>
                <a:lnTo>
                  <a:pt x="1312" y="38"/>
                </a:lnTo>
                <a:lnTo>
                  <a:pt x="1300" y="38"/>
                </a:lnTo>
                <a:lnTo>
                  <a:pt x="1300" y="40"/>
                </a:lnTo>
                <a:lnTo>
                  <a:pt x="1302" y="42"/>
                </a:lnTo>
                <a:lnTo>
                  <a:pt x="1302" y="42"/>
                </a:lnTo>
                <a:lnTo>
                  <a:pt x="1300" y="44"/>
                </a:lnTo>
                <a:lnTo>
                  <a:pt x="1298" y="44"/>
                </a:lnTo>
                <a:lnTo>
                  <a:pt x="1286" y="44"/>
                </a:lnTo>
                <a:lnTo>
                  <a:pt x="1274" y="42"/>
                </a:lnTo>
                <a:lnTo>
                  <a:pt x="1270" y="40"/>
                </a:lnTo>
                <a:lnTo>
                  <a:pt x="1270" y="38"/>
                </a:lnTo>
                <a:lnTo>
                  <a:pt x="1270" y="38"/>
                </a:lnTo>
                <a:lnTo>
                  <a:pt x="1270" y="38"/>
                </a:lnTo>
                <a:lnTo>
                  <a:pt x="1268" y="36"/>
                </a:lnTo>
                <a:lnTo>
                  <a:pt x="1266" y="36"/>
                </a:lnTo>
                <a:lnTo>
                  <a:pt x="1266" y="36"/>
                </a:lnTo>
                <a:lnTo>
                  <a:pt x="1266" y="36"/>
                </a:lnTo>
                <a:lnTo>
                  <a:pt x="1266" y="34"/>
                </a:lnTo>
                <a:lnTo>
                  <a:pt x="1268" y="32"/>
                </a:lnTo>
                <a:lnTo>
                  <a:pt x="1270" y="32"/>
                </a:lnTo>
                <a:lnTo>
                  <a:pt x="1268" y="30"/>
                </a:lnTo>
                <a:lnTo>
                  <a:pt x="1268" y="30"/>
                </a:lnTo>
                <a:lnTo>
                  <a:pt x="1264" y="30"/>
                </a:lnTo>
                <a:lnTo>
                  <a:pt x="1258" y="30"/>
                </a:lnTo>
                <a:lnTo>
                  <a:pt x="1246" y="32"/>
                </a:lnTo>
                <a:lnTo>
                  <a:pt x="1226" y="32"/>
                </a:lnTo>
                <a:lnTo>
                  <a:pt x="1226" y="32"/>
                </a:lnTo>
                <a:lnTo>
                  <a:pt x="1210" y="34"/>
                </a:lnTo>
                <a:lnTo>
                  <a:pt x="1204" y="34"/>
                </a:lnTo>
                <a:lnTo>
                  <a:pt x="1200" y="36"/>
                </a:lnTo>
                <a:lnTo>
                  <a:pt x="1192" y="38"/>
                </a:lnTo>
                <a:lnTo>
                  <a:pt x="1192" y="38"/>
                </a:lnTo>
                <a:lnTo>
                  <a:pt x="1184" y="38"/>
                </a:lnTo>
                <a:lnTo>
                  <a:pt x="1182" y="36"/>
                </a:lnTo>
                <a:lnTo>
                  <a:pt x="1182" y="34"/>
                </a:lnTo>
                <a:lnTo>
                  <a:pt x="1180" y="32"/>
                </a:lnTo>
                <a:lnTo>
                  <a:pt x="1176" y="30"/>
                </a:lnTo>
                <a:lnTo>
                  <a:pt x="1168" y="30"/>
                </a:lnTo>
                <a:lnTo>
                  <a:pt x="1168" y="30"/>
                </a:lnTo>
                <a:lnTo>
                  <a:pt x="1156" y="32"/>
                </a:lnTo>
                <a:lnTo>
                  <a:pt x="1152" y="34"/>
                </a:lnTo>
                <a:lnTo>
                  <a:pt x="1150" y="34"/>
                </a:lnTo>
                <a:lnTo>
                  <a:pt x="1148" y="34"/>
                </a:lnTo>
                <a:lnTo>
                  <a:pt x="1148" y="34"/>
                </a:lnTo>
                <a:lnTo>
                  <a:pt x="1144" y="34"/>
                </a:lnTo>
                <a:lnTo>
                  <a:pt x="1140" y="34"/>
                </a:lnTo>
                <a:lnTo>
                  <a:pt x="1136" y="34"/>
                </a:lnTo>
                <a:lnTo>
                  <a:pt x="1132" y="32"/>
                </a:lnTo>
                <a:lnTo>
                  <a:pt x="1132" y="32"/>
                </a:lnTo>
                <a:lnTo>
                  <a:pt x="1130" y="30"/>
                </a:lnTo>
                <a:lnTo>
                  <a:pt x="1126" y="30"/>
                </a:lnTo>
                <a:lnTo>
                  <a:pt x="1118" y="30"/>
                </a:lnTo>
                <a:lnTo>
                  <a:pt x="1118" y="30"/>
                </a:lnTo>
                <a:lnTo>
                  <a:pt x="1114" y="32"/>
                </a:lnTo>
                <a:lnTo>
                  <a:pt x="1112" y="34"/>
                </a:lnTo>
                <a:lnTo>
                  <a:pt x="1122" y="36"/>
                </a:lnTo>
                <a:lnTo>
                  <a:pt x="1122" y="36"/>
                </a:lnTo>
                <a:lnTo>
                  <a:pt x="1116" y="38"/>
                </a:lnTo>
                <a:lnTo>
                  <a:pt x="1112" y="36"/>
                </a:lnTo>
                <a:lnTo>
                  <a:pt x="1108" y="36"/>
                </a:lnTo>
                <a:lnTo>
                  <a:pt x="1106" y="38"/>
                </a:lnTo>
                <a:lnTo>
                  <a:pt x="1106" y="38"/>
                </a:lnTo>
                <a:lnTo>
                  <a:pt x="1102" y="40"/>
                </a:lnTo>
                <a:lnTo>
                  <a:pt x="1098" y="42"/>
                </a:lnTo>
                <a:lnTo>
                  <a:pt x="1088" y="42"/>
                </a:lnTo>
                <a:lnTo>
                  <a:pt x="1088" y="42"/>
                </a:lnTo>
                <a:lnTo>
                  <a:pt x="1088" y="42"/>
                </a:lnTo>
                <a:lnTo>
                  <a:pt x="1086" y="42"/>
                </a:lnTo>
                <a:lnTo>
                  <a:pt x="1080" y="46"/>
                </a:lnTo>
                <a:lnTo>
                  <a:pt x="1080" y="46"/>
                </a:lnTo>
                <a:lnTo>
                  <a:pt x="1070" y="48"/>
                </a:lnTo>
                <a:lnTo>
                  <a:pt x="1068" y="48"/>
                </a:lnTo>
                <a:lnTo>
                  <a:pt x="1076" y="44"/>
                </a:lnTo>
                <a:lnTo>
                  <a:pt x="1076" y="44"/>
                </a:lnTo>
                <a:lnTo>
                  <a:pt x="1082" y="42"/>
                </a:lnTo>
                <a:lnTo>
                  <a:pt x="1084" y="40"/>
                </a:lnTo>
                <a:lnTo>
                  <a:pt x="1084" y="38"/>
                </a:lnTo>
                <a:lnTo>
                  <a:pt x="1086" y="38"/>
                </a:lnTo>
                <a:lnTo>
                  <a:pt x="1086" y="38"/>
                </a:lnTo>
                <a:lnTo>
                  <a:pt x="1092" y="38"/>
                </a:lnTo>
                <a:lnTo>
                  <a:pt x="1094" y="36"/>
                </a:lnTo>
                <a:lnTo>
                  <a:pt x="1096" y="34"/>
                </a:lnTo>
                <a:lnTo>
                  <a:pt x="1102" y="32"/>
                </a:lnTo>
                <a:lnTo>
                  <a:pt x="1102" y="32"/>
                </a:lnTo>
                <a:lnTo>
                  <a:pt x="1112" y="26"/>
                </a:lnTo>
                <a:lnTo>
                  <a:pt x="1120" y="24"/>
                </a:lnTo>
                <a:lnTo>
                  <a:pt x="1120" y="24"/>
                </a:lnTo>
                <a:lnTo>
                  <a:pt x="1122" y="22"/>
                </a:lnTo>
                <a:lnTo>
                  <a:pt x="1120" y="18"/>
                </a:lnTo>
                <a:lnTo>
                  <a:pt x="1118" y="16"/>
                </a:lnTo>
                <a:lnTo>
                  <a:pt x="1114" y="16"/>
                </a:lnTo>
                <a:lnTo>
                  <a:pt x="1114" y="16"/>
                </a:lnTo>
                <a:lnTo>
                  <a:pt x="1106" y="16"/>
                </a:lnTo>
                <a:lnTo>
                  <a:pt x="1102" y="16"/>
                </a:lnTo>
                <a:lnTo>
                  <a:pt x="1100" y="14"/>
                </a:lnTo>
                <a:lnTo>
                  <a:pt x="1100" y="14"/>
                </a:lnTo>
                <a:lnTo>
                  <a:pt x="1108" y="14"/>
                </a:lnTo>
                <a:lnTo>
                  <a:pt x="1114" y="14"/>
                </a:lnTo>
                <a:lnTo>
                  <a:pt x="1116" y="14"/>
                </a:lnTo>
                <a:lnTo>
                  <a:pt x="1116" y="14"/>
                </a:lnTo>
                <a:lnTo>
                  <a:pt x="1114" y="12"/>
                </a:lnTo>
                <a:lnTo>
                  <a:pt x="1106" y="8"/>
                </a:lnTo>
                <a:lnTo>
                  <a:pt x="1096" y="6"/>
                </a:lnTo>
                <a:lnTo>
                  <a:pt x="1088" y="6"/>
                </a:lnTo>
                <a:lnTo>
                  <a:pt x="1088" y="6"/>
                </a:lnTo>
                <a:lnTo>
                  <a:pt x="1086" y="8"/>
                </a:lnTo>
                <a:lnTo>
                  <a:pt x="1080" y="6"/>
                </a:lnTo>
                <a:lnTo>
                  <a:pt x="1058" y="4"/>
                </a:lnTo>
                <a:lnTo>
                  <a:pt x="1058" y="4"/>
                </a:lnTo>
                <a:lnTo>
                  <a:pt x="1048" y="6"/>
                </a:lnTo>
                <a:lnTo>
                  <a:pt x="1046" y="6"/>
                </a:lnTo>
                <a:lnTo>
                  <a:pt x="1048" y="8"/>
                </a:lnTo>
                <a:lnTo>
                  <a:pt x="1046" y="8"/>
                </a:lnTo>
                <a:lnTo>
                  <a:pt x="1046" y="8"/>
                </a:lnTo>
                <a:lnTo>
                  <a:pt x="1044" y="8"/>
                </a:lnTo>
                <a:lnTo>
                  <a:pt x="1042" y="6"/>
                </a:lnTo>
                <a:lnTo>
                  <a:pt x="1038" y="6"/>
                </a:lnTo>
                <a:lnTo>
                  <a:pt x="1028" y="6"/>
                </a:lnTo>
                <a:lnTo>
                  <a:pt x="1028" y="6"/>
                </a:lnTo>
                <a:lnTo>
                  <a:pt x="1018" y="6"/>
                </a:lnTo>
                <a:lnTo>
                  <a:pt x="1008" y="4"/>
                </a:lnTo>
                <a:lnTo>
                  <a:pt x="998" y="2"/>
                </a:lnTo>
                <a:lnTo>
                  <a:pt x="998" y="2"/>
                </a:lnTo>
                <a:lnTo>
                  <a:pt x="992" y="2"/>
                </a:lnTo>
                <a:lnTo>
                  <a:pt x="988" y="2"/>
                </a:lnTo>
                <a:lnTo>
                  <a:pt x="980" y="4"/>
                </a:lnTo>
                <a:lnTo>
                  <a:pt x="980" y="4"/>
                </a:lnTo>
                <a:lnTo>
                  <a:pt x="976" y="10"/>
                </a:lnTo>
                <a:lnTo>
                  <a:pt x="974" y="10"/>
                </a:lnTo>
                <a:lnTo>
                  <a:pt x="976" y="6"/>
                </a:lnTo>
                <a:lnTo>
                  <a:pt x="976" y="6"/>
                </a:lnTo>
                <a:lnTo>
                  <a:pt x="976" y="2"/>
                </a:lnTo>
                <a:lnTo>
                  <a:pt x="974" y="2"/>
                </a:lnTo>
                <a:lnTo>
                  <a:pt x="966" y="4"/>
                </a:lnTo>
                <a:lnTo>
                  <a:pt x="960" y="8"/>
                </a:lnTo>
                <a:lnTo>
                  <a:pt x="962" y="4"/>
                </a:lnTo>
                <a:lnTo>
                  <a:pt x="962" y="4"/>
                </a:lnTo>
                <a:lnTo>
                  <a:pt x="966" y="0"/>
                </a:lnTo>
                <a:lnTo>
                  <a:pt x="958" y="0"/>
                </a:lnTo>
                <a:lnTo>
                  <a:pt x="958" y="0"/>
                </a:lnTo>
                <a:lnTo>
                  <a:pt x="946" y="0"/>
                </a:lnTo>
                <a:lnTo>
                  <a:pt x="940" y="4"/>
                </a:lnTo>
                <a:lnTo>
                  <a:pt x="940" y="4"/>
                </a:lnTo>
                <a:lnTo>
                  <a:pt x="932" y="6"/>
                </a:lnTo>
                <a:lnTo>
                  <a:pt x="932" y="8"/>
                </a:lnTo>
                <a:lnTo>
                  <a:pt x="932" y="10"/>
                </a:lnTo>
                <a:lnTo>
                  <a:pt x="932" y="10"/>
                </a:lnTo>
                <a:lnTo>
                  <a:pt x="930" y="10"/>
                </a:lnTo>
                <a:lnTo>
                  <a:pt x="928" y="10"/>
                </a:lnTo>
                <a:lnTo>
                  <a:pt x="928" y="12"/>
                </a:lnTo>
                <a:lnTo>
                  <a:pt x="932" y="14"/>
                </a:lnTo>
                <a:lnTo>
                  <a:pt x="932" y="14"/>
                </a:lnTo>
                <a:lnTo>
                  <a:pt x="922" y="12"/>
                </a:lnTo>
                <a:lnTo>
                  <a:pt x="916" y="10"/>
                </a:lnTo>
                <a:lnTo>
                  <a:pt x="908" y="10"/>
                </a:lnTo>
                <a:lnTo>
                  <a:pt x="908" y="10"/>
                </a:lnTo>
                <a:lnTo>
                  <a:pt x="904" y="10"/>
                </a:lnTo>
                <a:lnTo>
                  <a:pt x="904" y="10"/>
                </a:lnTo>
                <a:lnTo>
                  <a:pt x="904" y="12"/>
                </a:lnTo>
                <a:lnTo>
                  <a:pt x="898" y="14"/>
                </a:lnTo>
                <a:lnTo>
                  <a:pt x="898" y="14"/>
                </a:lnTo>
                <a:lnTo>
                  <a:pt x="892" y="14"/>
                </a:lnTo>
                <a:lnTo>
                  <a:pt x="890" y="14"/>
                </a:lnTo>
                <a:lnTo>
                  <a:pt x="890" y="12"/>
                </a:lnTo>
                <a:lnTo>
                  <a:pt x="888" y="12"/>
                </a:lnTo>
                <a:lnTo>
                  <a:pt x="888" y="12"/>
                </a:lnTo>
                <a:lnTo>
                  <a:pt x="888" y="12"/>
                </a:lnTo>
                <a:lnTo>
                  <a:pt x="888" y="10"/>
                </a:lnTo>
                <a:lnTo>
                  <a:pt x="888" y="10"/>
                </a:lnTo>
                <a:lnTo>
                  <a:pt x="882" y="8"/>
                </a:lnTo>
                <a:lnTo>
                  <a:pt x="882" y="8"/>
                </a:lnTo>
                <a:lnTo>
                  <a:pt x="872" y="8"/>
                </a:lnTo>
                <a:lnTo>
                  <a:pt x="870" y="8"/>
                </a:lnTo>
                <a:lnTo>
                  <a:pt x="872" y="10"/>
                </a:lnTo>
                <a:lnTo>
                  <a:pt x="872" y="10"/>
                </a:lnTo>
                <a:lnTo>
                  <a:pt x="874" y="10"/>
                </a:lnTo>
                <a:lnTo>
                  <a:pt x="872" y="10"/>
                </a:lnTo>
                <a:lnTo>
                  <a:pt x="862" y="10"/>
                </a:lnTo>
                <a:lnTo>
                  <a:pt x="862" y="10"/>
                </a:lnTo>
                <a:lnTo>
                  <a:pt x="846" y="12"/>
                </a:lnTo>
                <a:lnTo>
                  <a:pt x="840" y="14"/>
                </a:lnTo>
                <a:lnTo>
                  <a:pt x="838" y="14"/>
                </a:lnTo>
                <a:lnTo>
                  <a:pt x="836" y="14"/>
                </a:lnTo>
                <a:lnTo>
                  <a:pt x="836" y="14"/>
                </a:lnTo>
                <a:lnTo>
                  <a:pt x="832" y="14"/>
                </a:lnTo>
                <a:lnTo>
                  <a:pt x="828" y="14"/>
                </a:lnTo>
                <a:lnTo>
                  <a:pt x="824" y="14"/>
                </a:lnTo>
                <a:lnTo>
                  <a:pt x="818" y="14"/>
                </a:lnTo>
                <a:lnTo>
                  <a:pt x="818" y="14"/>
                </a:lnTo>
                <a:lnTo>
                  <a:pt x="812" y="14"/>
                </a:lnTo>
                <a:lnTo>
                  <a:pt x="810" y="14"/>
                </a:lnTo>
                <a:lnTo>
                  <a:pt x="808" y="16"/>
                </a:lnTo>
                <a:lnTo>
                  <a:pt x="806" y="16"/>
                </a:lnTo>
                <a:lnTo>
                  <a:pt x="806" y="16"/>
                </a:lnTo>
                <a:lnTo>
                  <a:pt x="802" y="16"/>
                </a:lnTo>
                <a:lnTo>
                  <a:pt x="800" y="18"/>
                </a:lnTo>
                <a:lnTo>
                  <a:pt x="796" y="18"/>
                </a:lnTo>
                <a:lnTo>
                  <a:pt x="786" y="18"/>
                </a:lnTo>
                <a:lnTo>
                  <a:pt x="786" y="18"/>
                </a:lnTo>
                <a:lnTo>
                  <a:pt x="780" y="18"/>
                </a:lnTo>
                <a:lnTo>
                  <a:pt x="776" y="20"/>
                </a:lnTo>
                <a:lnTo>
                  <a:pt x="776" y="20"/>
                </a:lnTo>
                <a:lnTo>
                  <a:pt x="774" y="20"/>
                </a:lnTo>
                <a:lnTo>
                  <a:pt x="774" y="22"/>
                </a:lnTo>
                <a:lnTo>
                  <a:pt x="776" y="22"/>
                </a:lnTo>
                <a:lnTo>
                  <a:pt x="776" y="24"/>
                </a:lnTo>
                <a:lnTo>
                  <a:pt x="776" y="24"/>
                </a:lnTo>
                <a:lnTo>
                  <a:pt x="780" y="26"/>
                </a:lnTo>
                <a:lnTo>
                  <a:pt x="786" y="28"/>
                </a:lnTo>
                <a:lnTo>
                  <a:pt x="790" y="28"/>
                </a:lnTo>
                <a:lnTo>
                  <a:pt x="790" y="28"/>
                </a:lnTo>
                <a:lnTo>
                  <a:pt x="786" y="30"/>
                </a:lnTo>
                <a:lnTo>
                  <a:pt x="786" y="32"/>
                </a:lnTo>
                <a:lnTo>
                  <a:pt x="784" y="34"/>
                </a:lnTo>
                <a:lnTo>
                  <a:pt x="784" y="32"/>
                </a:lnTo>
                <a:lnTo>
                  <a:pt x="784" y="32"/>
                </a:lnTo>
                <a:lnTo>
                  <a:pt x="784" y="28"/>
                </a:lnTo>
                <a:lnTo>
                  <a:pt x="784" y="28"/>
                </a:lnTo>
                <a:lnTo>
                  <a:pt x="778" y="30"/>
                </a:lnTo>
                <a:lnTo>
                  <a:pt x="768" y="30"/>
                </a:lnTo>
                <a:lnTo>
                  <a:pt x="768" y="30"/>
                </a:lnTo>
                <a:lnTo>
                  <a:pt x="746" y="32"/>
                </a:lnTo>
                <a:lnTo>
                  <a:pt x="728" y="34"/>
                </a:lnTo>
                <a:lnTo>
                  <a:pt x="728" y="34"/>
                </a:lnTo>
                <a:lnTo>
                  <a:pt x="724" y="34"/>
                </a:lnTo>
                <a:lnTo>
                  <a:pt x="718" y="36"/>
                </a:lnTo>
                <a:lnTo>
                  <a:pt x="718" y="38"/>
                </a:lnTo>
                <a:lnTo>
                  <a:pt x="718" y="40"/>
                </a:lnTo>
                <a:lnTo>
                  <a:pt x="732" y="46"/>
                </a:lnTo>
                <a:lnTo>
                  <a:pt x="732" y="46"/>
                </a:lnTo>
                <a:lnTo>
                  <a:pt x="746" y="52"/>
                </a:lnTo>
                <a:lnTo>
                  <a:pt x="752" y="52"/>
                </a:lnTo>
                <a:lnTo>
                  <a:pt x="758" y="50"/>
                </a:lnTo>
                <a:lnTo>
                  <a:pt x="764" y="54"/>
                </a:lnTo>
                <a:lnTo>
                  <a:pt x="764" y="54"/>
                </a:lnTo>
                <a:lnTo>
                  <a:pt x="772" y="56"/>
                </a:lnTo>
                <a:lnTo>
                  <a:pt x="780" y="58"/>
                </a:lnTo>
                <a:lnTo>
                  <a:pt x="784" y="58"/>
                </a:lnTo>
                <a:lnTo>
                  <a:pt x="786" y="60"/>
                </a:lnTo>
                <a:lnTo>
                  <a:pt x="786" y="62"/>
                </a:lnTo>
                <a:lnTo>
                  <a:pt x="786" y="62"/>
                </a:lnTo>
                <a:lnTo>
                  <a:pt x="790" y="66"/>
                </a:lnTo>
                <a:lnTo>
                  <a:pt x="796" y="70"/>
                </a:lnTo>
                <a:lnTo>
                  <a:pt x="814" y="74"/>
                </a:lnTo>
                <a:lnTo>
                  <a:pt x="814" y="74"/>
                </a:lnTo>
                <a:lnTo>
                  <a:pt x="820" y="78"/>
                </a:lnTo>
                <a:lnTo>
                  <a:pt x="822" y="80"/>
                </a:lnTo>
                <a:lnTo>
                  <a:pt x="820" y="80"/>
                </a:lnTo>
                <a:lnTo>
                  <a:pt x="814" y="80"/>
                </a:lnTo>
                <a:lnTo>
                  <a:pt x="806" y="78"/>
                </a:lnTo>
                <a:lnTo>
                  <a:pt x="806" y="78"/>
                </a:lnTo>
                <a:lnTo>
                  <a:pt x="800" y="74"/>
                </a:lnTo>
                <a:lnTo>
                  <a:pt x="796" y="76"/>
                </a:lnTo>
                <a:lnTo>
                  <a:pt x="796" y="78"/>
                </a:lnTo>
                <a:lnTo>
                  <a:pt x="796" y="78"/>
                </a:lnTo>
                <a:lnTo>
                  <a:pt x="796" y="76"/>
                </a:lnTo>
                <a:lnTo>
                  <a:pt x="792" y="74"/>
                </a:lnTo>
                <a:lnTo>
                  <a:pt x="786" y="72"/>
                </a:lnTo>
                <a:lnTo>
                  <a:pt x="786" y="72"/>
                </a:lnTo>
                <a:lnTo>
                  <a:pt x="782" y="70"/>
                </a:lnTo>
                <a:lnTo>
                  <a:pt x="780" y="68"/>
                </a:lnTo>
                <a:lnTo>
                  <a:pt x="782" y="64"/>
                </a:lnTo>
                <a:lnTo>
                  <a:pt x="782" y="62"/>
                </a:lnTo>
                <a:lnTo>
                  <a:pt x="782" y="62"/>
                </a:lnTo>
                <a:lnTo>
                  <a:pt x="770" y="60"/>
                </a:lnTo>
                <a:lnTo>
                  <a:pt x="770" y="60"/>
                </a:lnTo>
                <a:lnTo>
                  <a:pt x="758" y="60"/>
                </a:lnTo>
                <a:lnTo>
                  <a:pt x="748" y="58"/>
                </a:lnTo>
                <a:lnTo>
                  <a:pt x="740" y="56"/>
                </a:lnTo>
                <a:lnTo>
                  <a:pt x="734" y="54"/>
                </a:lnTo>
                <a:lnTo>
                  <a:pt x="734" y="54"/>
                </a:lnTo>
                <a:lnTo>
                  <a:pt x="722" y="52"/>
                </a:lnTo>
                <a:lnTo>
                  <a:pt x="708" y="48"/>
                </a:lnTo>
                <a:lnTo>
                  <a:pt x="708" y="48"/>
                </a:lnTo>
                <a:lnTo>
                  <a:pt x="694" y="46"/>
                </a:lnTo>
                <a:lnTo>
                  <a:pt x="690" y="46"/>
                </a:lnTo>
                <a:lnTo>
                  <a:pt x="688" y="46"/>
                </a:lnTo>
                <a:lnTo>
                  <a:pt x="690" y="48"/>
                </a:lnTo>
                <a:lnTo>
                  <a:pt x="690" y="48"/>
                </a:lnTo>
                <a:lnTo>
                  <a:pt x="690" y="50"/>
                </a:lnTo>
                <a:lnTo>
                  <a:pt x="688" y="50"/>
                </a:lnTo>
                <a:lnTo>
                  <a:pt x="680" y="48"/>
                </a:lnTo>
                <a:lnTo>
                  <a:pt x="680" y="48"/>
                </a:lnTo>
                <a:lnTo>
                  <a:pt x="676" y="48"/>
                </a:lnTo>
                <a:lnTo>
                  <a:pt x="672" y="50"/>
                </a:lnTo>
                <a:lnTo>
                  <a:pt x="670" y="52"/>
                </a:lnTo>
                <a:lnTo>
                  <a:pt x="674" y="54"/>
                </a:lnTo>
                <a:lnTo>
                  <a:pt x="674" y="54"/>
                </a:lnTo>
                <a:lnTo>
                  <a:pt x="680" y="56"/>
                </a:lnTo>
                <a:lnTo>
                  <a:pt x="682" y="58"/>
                </a:lnTo>
                <a:lnTo>
                  <a:pt x="684" y="60"/>
                </a:lnTo>
                <a:lnTo>
                  <a:pt x="690" y="60"/>
                </a:lnTo>
                <a:lnTo>
                  <a:pt x="690" y="60"/>
                </a:lnTo>
                <a:lnTo>
                  <a:pt x="694" y="60"/>
                </a:lnTo>
                <a:lnTo>
                  <a:pt x="700" y="62"/>
                </a:lnTo>
                <a:lnTo>
                  <a:pt x="712" y="66"/>
                </a:lnTo>
                <a:lnTo>
                  <a:pt x="712" y="66"/>
                </a:lnTo>
                <a:lnTo>
                  <a:pt x="710" y="66"/>
                </a:lnTo>
                <a:lnTo>
                  <a:pt x="706" y="66"/>
                </a:lnTo>
                <a:lnTo>
                  <a:pt x="698" y="64"/>
                </a:lnTo>
                <a:lnTo>
                  <a:pt x="698" y="64"/>
                </a:lnTo>
                <a:lnTo>
                  <a:pt x="692" y="62"/>
                </a:lnTo>
                <a:lnTo>
                  <a:pt x="688" y="62"/>
                </a:lnTo>
                <a:lnTo>
                  <a:pt x="686" y="62"/>
                </a:lnTo>
                <a:lnTo>
                  <a:pt x="682" y="62"/>
                </a:lnTo>
                <a:lnTo>
                  <a:pt x="682" y="62"/>
                </a:lnTo>
                <a:lnTo>
                  <a:pt x="680" y="60"/>
                </a:lnTo>
                <a:lnTo>
                  <a:pt x="678" y="62"/>
                </a:lnTo>
                <a:lnTo>
                  <a:pt x="676" y="62"/>
                </a:lnTo>
                <a:lnTo>
                  <a:pt x="674" y="62"/>
                </a:lnTo>
                <a:lnTo>
                  <a:pt x="674" y="62"/>
                </a:lnTo>
                <a:lnTo>
                  <a:pt x="672" y="60"/>
                </a:lnTo>
                <a:lnTo>
                  <a:pt x="670" y="60"/>
                </a:lnTo>
                <a:lnTo>
                  <a:pt x="666" y="58"/>
                </a:lnTo>
                <a:lnTo>
                  <a:pt x="658" y="50"/>
                </a:lnTo>
                <a:lnTo>
                  <a:pt x="658" y="50"/>
                </a:lnTo>
                <a:lnTo>
                  <a:pt x="646" y="40"/>
                </a:lnTo>
                <a:lnTo>
                  <a:pt x="638" y="36"/>
                </a:lnTo>
                <a:lnTo>
                  <a:pt x="630" y="32"/>
                </a:lnTo>
                <a:lnTo>
                  <a:pt x="626" y="32"/>
                </a:lnTo>
                <a:lnTo>
                  <a:pt x="626" y="32"/>
                </a:lnTo>
                <a:lnTo>
                  <a:pt x="626" y="34"/>
                </a:lnTo>
                <a:lnTo>
                  <a:pt x="628" y="34"/>
                </a:lnTo>
                <a:lnTo>
                  <a:pt x="634" y="38"/>
                </a:lnTo>
                <a:lnTo>
                  <a:pt x="638" y="42"/>
                </a:lnTo>
                <a:lnTo>
                  <a:pt x="638" y="44"/>
                </a:lnTo>
                <a:lnTo>
                  <a:pt x="638" y="46"/>
                </a:lnTo>
                <a:lnTo>
                  <a:pt x="638" y="46"/>
                </a:lnTo>
                <a:lnTo>
                  <a:pt x="634" y="48"/>
                </a:lnTo>
                <a:lnTo>
                  <a:pt x="634" y="50"/>
                </a:lnTo>
                <a:lnTo>
                  <a:pt x="636" y="54"/>
                </a:lnTo>
                <a:lnTo>
                  <a:pt x="636" y="56"/>
                </a:lnTo>
                <a:lnTo>
                  <a:pt x="636" y="56"/>
                </a:lnTo>
                <a:lnTo>
                  <a:pt x="636" y="58"/>
                </a:lnTo>
                <a:lnTo>
                  <a:pt x="638" y="60"/>
                </a:lnTo>
                <a:lnTo>
                  <a:pt x="640" y="60"/>
                </a:lnTo>
                <a:lnTo>
                  <a:pt x="646" y="62"/>
                </a:lnTo>
                <a:lnTo>
                  <a:pt x="646" y="62"/>
                </a:lnTo>
                <a:lnTo>
                  <a:pt x="650" y="64"/>
                </a:lnTo>
                <a:lnTo>
                  <a:pt x="654" y="66"/>
                </a:lnTo>
                <a:lnTo>
                  <a:pt x="658" y="68"/>
                </a:lnTo>
                <a:lnTo>
                  <a:pt x="660" y="74"/>
                </a:lnTo>
                <a:lnTo>
                  <a:pt x="660" y="74"/>
                </a:lnTo>
                <a:lnTo>
                  <a:pt x="660" y="76"/>
                </a:lnTo>
                <a:lnTo>
                  <a:pt x="662" y="80"/>
                </a:lnTo>
                <a:lnTo>
                  <a:pt x="666" y="82"/>
                </a:lnTo>
                <a:lnTo>
                  <a:pt x="672" y="84"/>
                </a:lnTo>
                <a:lnTo>
                  <a:pt x="676" y="86"/>
                </a:lnTo>
                <a:lnTo>
                  <a:pt x="676" y="86"/>
                </a:lnTo>
                <a:lnTo>
                  <a:pt x="678" y="90"/>
                </a:lnTo>
                <a:lnTo>
                  <a:pt x="682" y="90"/>
                </a:lnTo>
                <a:lnTo>
                  <a:pt x="690" y="88"/>
                </a:lnTo>
                <a:lnTo>
                  <a:pt x="690" y="88"/>
                </a:lnTo>
                <a:lnTo>
                  <a:pt x="694" y="86"/>
                </a:lnTo>
                <a:lnTo>
                  <a:pt x="700" y="86"/>
                </a:lnTo>
                <a:lnTo>
                  <a:pt x="706" y="88"/>
                </a:lnTo>
                <a:lnTo>
                  <a:pt x="712" y="92"/>
                </a:lnTo>
                <a:lnTo>
                  <a:pt x="712" y="92"/>
                </a:lnTo>
                <a:lnTo>
                  <a:pt x="720" y="96"/>
                </a:lnTo>
                <a:lnTo>
                  <a:pt x="720" y="98"/>
                </a:lnTo>
                <a:lnTo>
                  <a:pt x="716" y="98"/>
                </a:lnTo>
                <a:lnTo>
                  <a:pt x="716" y="98"/>
                </a:lnTo>
                <a:lnTo>
                  <a:pt x="714" y="100"/>
                </a:lnTo>
                <a:lnTo>
                  <a:pt x="714" y="102"/>
                </a:lnTo>
                <a:lnTo>
                  <a:pt x="726" y="106"/>
                </a:lnTo>
                <a:lnTo>
                  <a:pt x="726" y="106"/>
                </a:lnTo>
                <a:lnTo>
                  <a:pt x="718" y="106"/>
                </a:lnTo>
                <a:lnTo>
                  <a:pt x="714" y="104"/>
                </a:lnTo>
                <a:lnTo>
                  <a:pt x="712" y="102"/>
                </a:lnTo>
                <a:lnTo>
                  <a:pt x="710" y="100"/>
                </a:lnTo>
                <a:lnTo>
                  <a:pt x="708" y="94"/>
                </a:lnTo>
                <a:lnTo>
                  <a:pt x="704" y="94"/>
                </a:lnTo>
                <a:lnTo>
                  <a:pt x="698" y="92"/>
                </a:lnTo>
                <a:lnTo>
                  <a:pt x="698" y="92"/>
                </a:lnTo>
                <a:lnTo>
                  <a:pt x="690" y="94"/>
                </a:lnTo>
                <a:lnTo>
                  <a:pt x="686" y="96"/>
                </a:lnTo>
                <a:lnTo>
                  <a:pt x="686" y="96"/>
                </a:lnTo>
                <a:lnTo>
                  <a:pt x="684" y="96"/>
                </a:lnTo>
                <a:lnTo>
                  <a:pt x="684" y="98"/>
                </a:lnTo>
                <a:lnTo>
                  <a:pt x="686" y="102"/>
                </a:lnTo>
                <a:lnTo>
                  <a:pt x="690" y="104"/>
                </a:lnTo>
                <a:lnTo>
                  <a:pt x="690" y="104"/>
                </a:lnTo>
                <a:lnTo>
                  <a:pt x="698" y="108"/>
                </a:lnTo>
                <a:lnTo>
                  <a:pt x="696" y="112"/>
                </a:lnTo>
                <a:lnTo>
                  <a:pt x="696" y="112"/>
                </a:lnTo>
                <a:lnTo>
                  <a:pt x="692" y="120"/>
                </a:lnTo>
                <a:lnTo>
                  <a:pt x="690" y="122"/>
                </a:lnTo>
                <a:lnTo>
                  <a:pt x="684" y="126"/>
                </a:lnTo>
                <a:lnTo>
                  <a:pt x="684" y="126"/>
                </a:lnTo>
                <a:lnTo>
                  <a:pt x="676" y="132"/>
                </a:lnTo>
                <a:lnTo>
                  <a:pt x="674" y="132"/>
                </a:lnTo>
                <a:lnTo>
                  <a:pt x="670" y="130"/>
                </a:lnTo>
                <a:lnTo>
                  <a:pt x="670" y="130"/>
                </a:lnTo>
                <a:lnTo>
                  <a:pt x="664" y="130"/>
                </a:lnTo>
                <a:lnTo>
                  <a:pt x="658" y="130"/>
                </a:lnTo>
                <a:lnTo>
                  <a:pt x="654" y="130"/>
                </a:lnTo>
                <a:lnTo>
                  <a:pt x="654" y="130"/>
                </a:lnTo>
                <a:lnTo>
                  <a:pt x="658" y="128"/>
                </a:lnTo>
                <a:lnTo>
                  <a:pt x="662" y="126"/>
                </a:lnTo>
                <a:lnTo>
                  <a:pt x="662" y="126"/>
                </a:lnTo>
                <a:lnTo>
                  <a:pt x="664" y="126"/>
                </a:lnTo>
                <a:lnTo>
                  <a:pt x="664" y="124"/>
                </a:lnTo>
                <a:lnTo>
                  <a:pt x="664" y="122"/>
                </a:lnTo>
                <a:lnTo>
                  <a:pt x="668" y="122"/>
                </a:lnTo>
                <a:lnTo>
                  <a:pt x="668" y="122"/>
                </a:lnTo>
                <a:lnTo>
                  <a:pt x="670" y="120"/>
                </a:lnTo>
                <a:lnTo>
                  <a:pt x="670" y="118"/>
                </a:lnTo>
                <a:lnTo>
                  <a:pt x="670" y="116"/>
                </a:lnTo>
                <a:lnTo>
                  <a:pt x="672" y="116"/>
                </a:lnTo>
                <a:lnTo>
                  <a:pt x="672" y="116"/>
                </a:lnTo>
                <a:lnTo>
                  <a:pt x="676" y="114"/>
                </a:lnTo>
                <a:lnTo>
                  <a:pt x="678" y="112"/>
                </a:lnTo>
                <a:lnTo>
                  <a:pt x="678" y="108"/>
                </a:lnTo>
                <a:lnTo>
                  <a:pt x="680" y="106"/>
                </a:lnTo>
                <a:lnTo>
                  <a:pt x="680" y="106"/>
                </a:lnTo>
                <a:lnTo>
                  <a:pt x="680" y="104"/>
                </a:lnTo>
                <a:lnTo>
                  <a:pt x="678" y="100"/>
                </a:lnTo>
                <a:lnTo>
                  <a:pt x="672" y="98"/>
                </a:lnTo>
                <a:lnTo>
                  <a:pt x="662" y="96"/>
                </a:lnTo>
                <a:lnTo>
                  <a:pt x="662" y="96"/>
                </a:lnTo>
                <a:lnTo>
                  <a:pt x="654" y="92"/>
                </a:lnTo>
                <a:lnTo>
                  <a:pt x="652" y="88"/>
                </a:lnTo>
                <a:lnTo>
                  <a:pt x="648" y="84"/>
                </a:lnTo>
                <a:lnTo>
                  <a:pt x="644" y="82"/>
                </a:lnTo>
                <a:lnTo>
                  <a:pt x="636" y="78"/>
                </a:lnTo>
                <a:lnTo>
                  <a:pt x="636" y="78"/>
                </a:lnTo>
                <a:lnTo>
                  <a:pt x="632" y="78"/>
                </a:lnTo>
                <a:lnTo>
                  <a:pt x="632" y="76"/>
                </a:lnTo>
                <a:lnTo>
                  <a:pt x="632" y="74"/>
                </a:lnTo>
                <a:lnTo>
                  <a:pt x="628" y="68"/>
                </a:lnTo>
                <a:lnTo>
                  <a:pt x="628" y="68"/>
                </a:lnTo>
                <a:lnTo>
                  <a:pt x="620" y="64"/>
                </a:lnTo>
                <a:lnTo>
                  <a:pt x="614" y="60"/>
                </a:lnTo>
                <a:lnTo>
                  <a:pt x="608" y="58"/>
                </a:lnTo>
                <a:lnTo>
                  <a:pt x="606" y="56"/>
                </a:lnTo>
                <a:lnTo>
                  <a:pt x="606" y="54"/>
                </a:lnTo>
                <a:lnTo>
                  <a:pt x="606" y="54"/>
                </a:lnTo>
                <a:lnTo>
                  <a:pt x="606" y="52"/>
                </a:lnTo>
                <a:lnTo>
                  <a:pt x="606" y="50"/>
                </a:lnTo>
                <a:lnTo>
                  <a:pt x="600" y="44"/>
                </a:lnTo>
                <a:lnTo>
                  <a:pt x="590" y="38"/>
                </a:lnTo>
                <a:lnTo>
                  <a:pt x="586" y="38"/>
                </a:lnTo>
                <a:lnTo>
                  <a:pt x="584" y="38"/>
                </a:lnTo>
                <a:lnTo>
                  <a:pt x="584" y="38"/>
                </a:lnTo>
                <a:lnTo>
                  <a:pt x="578" y="38"/>
                </a:lnTo>
                <a:lnTo>
                  <a:pt x="574" y="36"/>
                </a:lnTo>
                <a:lnTo>
                  <a:pt x="570" y="36"/>
                </a:lnTo>
                <a:lnTo>
                  <a:pt x="566" y="36"/>
                </a:lnTo>
                <a:lnTo>
                  <a:pt x="566" y="36"/>
                </a:lnTo>
                <a:lnTo>
                  <a:pt x="562" y="36"/>
                </a:lnTo>
                <a:lnTo>
                  <a:pt x="556" y="36"/>
                </a:lnTo>
                <a:lnTo>
                  <a:pt x="554" y="36"/>
                </a:lnTo>
                <a:lnTo>
                  <a:pt x="552" y="38"/>
                </a:lnTo>
                <a:lnTo>
                  <a:pt x="556" y="44"/>
                </a:lnTo>
                <a:lnTo>
                  <a:pt x="556" y="44"/>
                </a:lnTo>
                <a:lnTo>
                  <a:pt x="560" y="52"/>
                </a:lnTo>
                <a:lnTo>
                  <a:pt x="558" y="54"/>
                </a:lnTo>
                <a:lnTo>
                  <a:pt x="558" y="56"/>
                </a:lnTo>
                <a:lnTo>
                  <a:pt x="554" y="56"/>
                </a:lnTo>
                <a:lnTo>
                  <a:pt x="552" y="58"/>
                </a:lnTo>
                <a:lnTo>
                  <a:pt x="550" y="60"/>
                </a:lnTo>
                <a:lnTo>
                  <a:pt x="550" y="60"/>
                </a:lnTo>
                <a:lnTo>
                  <a:pt x="550" y="64"/>
                </a:lnTo>
                <a:lnTo>
                  <a:pt x="552" y="62"/>
                </a:lnTo>
                <a:lnTo>
                  <a:pt x="556" y="66"/>
                </a:lnTo>
                <a:lnTo>
                  <a:pt x="556" y="66"/>
                </a:lnTo>
                <a:lnTo>
                  <a:pt x="560" y="70"/>
                </a:lnTo>
                <a:lnTo>
                  <a:pt x="560" y="72"/>
                </a:lnTo>
                <a:lnTo>
                  <a:pt x="558" y="72"/>
                </a:lnTo>
                <a:lnTo>
                  <a:pt x="562" y="76"/>
                </a:lnTo>
                <a:lnTo>
                  <a:pt x="562" y="76"/>
                </a:lnTo>
                <a:lnTo>
                  <a:pt x="566" y="80"/>
                </a:lnTo>
                <a:lnTo>
                  <a:pt x="566" y="80"/>
                </a:lnTo>
                <a:lnTo>
                  <a:pt x="566" y="78"/>
                </a:lnTo>
                <a:lnTo>
                  <a:pt x="572" y="80"/>
                </a:lnTo>
                <a:lnTo>
                  <a:pt x="572" y="80"/>
                </a:lnTo>
                <a:lnTo>
                  <a:pt x="582" y="82"/>
                </a:lnTo>
                <a:lnTo>
                  <a:pt x="586" y="82"/>
                </a:lnTo>
                <a:lnTo>
                  <a:pt x="588" y="82"/>
                </a:lnTo>
                <a:lnTo>
                  <a:pt x="592" y="86"/>
                </a:lnTo>
                <a:lnTo>
                  <a:pt x="592" y="86"/>
                </a:lnTo>
                <a:lnTo>
                  <a:pt x="598" y="90"/>
                </a:lnTo>
                <a:lnTo>
                  <a:pt x="604" y="92"/>
                </a:lnTo>
                <a:lnTo>
                  <a:pt x="608" y="90"/>
                </a:lnTo>
                <a:lnTo>
                  <a:pt x="608" y="90"/>
                </a:lnTo>
                <a:lnTo>
                  <a:pt x="610" y="96"/>
                </a:lnTo>
                <a:lnTo>
                  <a:pt x="610" y="98"/>
                </a:lnTo>
                <a:lnTo>
                  <a:pt x="608" y="100"/>
                </a:lnTo>
                <a:lnTo>
                  <a:pt x="608" y="98"/>
                </a:lnTo>
                <a:lnTo>
                  <a:pt x="608" y="98"/>
                </a:lnTo>
                <a:lnTo>
                  <a:pt x="602" y="98"/>
                </a:lnTo>
                <a:lnTo>
                  <a:pt x="592" y="98"/>
                </a:lnTo>
                <a:lnTo>
                  <a:pt x="580" y="96"/>
                </a:lnTo>
                <a:lnTo>
                  <a:pt x="574" y="94"/>
                </a:lnTo>
                <a:lnTo>
                  <a:pt x="574" y="94"/>
                </a:lnTo>
                <a:lnTo>
                  <a:pt x="568" y="92"/>
                </a:lnTo>
                <a:lnTo>
                  <a:pt x="556" y="90"/>
                </a:lnTo>
                <a:lnTo>
                  <a:pt x="542" y="88"/>
                </a:lnTo>
                <a:lnTo>
                  <a:pt x="534" y="88"/>
                </a:lnTo>
                <a:lnTo>
                  <a:pt x="534" y="88"/>
                </a:lnTo>
                <a:lnTo>
                  <a:pt x="530" y="88"/>
                </a:lnTo>
                <a:lnTo>
                  <a:pt x="518" y="86"/>
                </a:lnTo>
                <a:lnTo>
                  <a:pt x="518" y="86"/>
                </a:lnTo>
                <a:lnTo>
                  <a:pt x="500" y="86"/>
                </a:lnTo>
                <a:lnTo>
                  <a:pt x="484" y="84"/>
                </a:lnTo>
                <a:lnTo>
                  <a:pt x="484" y="84"/>
                </a:lnTo>
                <a:lnTo>
                  <a:pt x="472" y="84"/>
                </a:lnTo>
                <a:lnTo>
                  <a:pt x="464" y="86"/>
                </a:lnTo>
                <a:lnTo>
                  <a:pt x="464" y="86"/>
                </a:lnTo>
                <a:lnTo>
                  <a:pt x="464" y="88"/>
                </a:lnTo>
                <a:lnTo>
                  <a:pt x="466" y="88"/>
                </a:lnTo>
                <a:lnTo>
                  <a:pt x="478" y="92"/>
                </a:lnTo>
                <a:lnTo>
                  <a:pt x="478" y="92"/>
                </a:lnTo>
                <a:lnTo>
                  <a:pt x="482" y="92"/>
                </a:lnTo>
                <a:lnTo>
                  <a:pt x="482" y="94"/>
                </a:lnTo>
                <a:lnTo>
                  <a:pt x="474" y="96"/>
                </a:lnTo>
                <a:lnTo>
                  <a:pt x="474" y="96"/>
                </a:lnTo>
                <a:lnTo>
                  <a:pt x="468" y="96"/>
                </a:lnTo>
                <a:lnTo>
                  <a:pt x="468" y="98"/>
                </a:lnTo>
                <a:lnTo>
                  <a:pt x="470" y="100"/>
                </a:lnTo>
                <a:lnTo>
                  <a:pt x="470" y="102"/>
                </a:lnTo>
                <a:lnTo>
                  <a:pt x="470" y="102"/>
                </a:lnTo>
                <a:lnTo>
                  <a:pt x="468" y="100"/>
                </a:lnTo>
                <a:lnTo>
                  <a:pt x="466" y="100"/>
                </a:lnTo>
                <a:lnTo>
                  <a:pt x="464" y="98"/>
                </a:lnTo>
                <a:lnTo>
                  <a:pt x="464" y="98"/>
                </a:lnTo>
                <a:lnTo>
                  <a:pt x="464" y="98"/>
                </a:lnTo>
                <a:lnTo>
                  <a:pt x="464" y="96"/>
                </a:lnTo>
                <a:lnTo>
                  <a:pt x="462" y="96"/>
                </a:lnTo>
                <a:lnTo>
                  <a:pt x="462" y="94"/>
                </a:lnTo>
                <a:lnTo>
                  <a:pt x="466" y="94"/>
                </a:lnTo>
                <a:lnTo>
                  <a:pt x="466" y="94"/>
                </a:lnTo>
                <a:lnTo>
                  <a:pt x="462" y="92"/>
                </a:lnTo>
                <a:lnTo>
                  <a:pt x="458" y="92"/>
                </a:lnTo>
                <a:lnTo>
                  <a:pt x="454" y="94"/>
                </a:lnTo>
                <a:lnTo>
                  <a:pt x="454" y="94"/>
                </a:lnTo>
                <a:lnTo>
                  <a:pt x="448" y="96"/>
                </a:lnTo>
                <a:lnTo>
                  <a:pt x="438" y="98"/>
                </a:lnTo>
                <a:lnTo>
                  <a:pt x="438" y="98"/>
                </a:lnTo>
                <a:lnTo>
                  <a:pt x="434" y="100"/>
                </a:lnTo>
                <a:lnTo>
                  <a:pt x="428" y="98"/>
                </a:lnTo>
                <a:lnTo>
                  <a:pt x="422" y="96"/>
                </a:lnTo>
                <a:lnTo>
                  <a:pt x="412" y="96"/>
                </a:lnTo>
                <a:lnTo>
                  <a:pt x="412" y="96"/>
                </a:lnTo>
                <a:lnTo>
                  <a:pt x="402" y="98"/>
                </a:lnTo>
                <a:lnTo>
                  <a:pt x="400" y="100"/>
                </a:lnTo>
                <a:lnTo>
                  <a:pt x="400" y="102"/>
                </a:lnTo>
                <a:lnTo>
                  <a:pt x="396" y="100"/>
                </a:lnTo>
                <a:lnTo>
                  <a:pt x="396" y="100"/>
                </a:lnTo>
                <a:lnTo>
                  <a:pt x="392" y="100"/>
                </a:lnTo>
                <a:lnTo>
                  <a:pt x="388" y="102"/>
                </a:lnTo>
                <a:lnTo>
                  <a:pt x="384" y="102"/>
                </a:lnTo>
                <a:lnTo>
                  <a:pt x="386" y="102"/>
                </a:lnTo>
                <a:lnTo>
                  <a:pt x="386" y="102"/>
                </a:lnTo>
                <a:lnTo>
                  <a:pt x="388" y="100"/>
                </a:lnTo>
                <a:lnTo>
                  <a:pt x="386" y="100"/>
                </a:lnTo>
                <a:lnTo>
                  <a:pt x="386" y="98"/>
                </a:lnTo>
                <a:lnTo>
                  <a:pt x="386" y="98"/>
                </a:lnTo>
                <a:lnTo>
                  <a:pt x="386" y="96"/>
                </a:lnTo>
                <a:lnTo>
                  <a:pt x="388" y="96"/>
                </a:lnTo>
                <a:lnTo>
                  <a:pt x="390" y="98"/>
                </a:lnTo>
                <a:lnTo>
                  <a:pt x="392" y="96"/>
                </a:lnTo>
                <a:lnTo>
                  <a:pt x="392" y="96"/>
                </a:lnTo>
                <a:lnTo>
                  <a:pt x="390" y="96"/>
                </a:lnTo>
                <a:lnTo>
                  <a:pt x="388" y="94"/>
                </a:lnTo>
                <a:lnTo>
                  <a:pt x="374" y="96"/>
                </a:lnTo>
                <a:lnTo>
                  <a:pt x="374" y="96"/>
                </a:lnTo>
                <a:lnTo>
                  <a:pt x="368" y="98"/>
                </a:lnTo>
                <a:lnTo>
                  <a:pt x="368" y="100"/>
                </a:lnTo>
                <a:lnTo>
                  <a:pt x="368" y="102"/>
                </a:lnTo>
                <a:lnTo>
                  <a:pt x="366" y="104"/>
                </a:lnTo>
                <a:lnTo>
                  <a:pt x="366" y="104"/>
                </a:lnTo>
                <a:lnTo>
                  <a:pt x="364" y="106"/>
                </a:lnTo>
                <a:lnTo>
                  <a:pt x="364" y="104"/>
                </a:lnTo>
                <a:lnTo>
                  <a:pt x="364" y="102"/>
                </a:lnTo>
                <a:lnTo>
                  <a:pt x="366" y="100"/>
                </a:lnTo>
                <a:lnTo>
                  <a:pt x="366" y="100"/>
                </a:lnTo>
                <a:lnTo>
                  <a:pt x="364" y="98"/>
                </a:lnTo>
                <a:lnTo>
                  <a:pt x="360" y="98"/>
                </a:lnTo>
                <a:lnTo>
                  <a:pt x="354" y="98"/>
                </a:lnTo>
                <a:lnTo>
                  <a:pt x="348" y="100"/>
                </a:lnTo>
                <a:lnTo>
                  <a:pt x="344" y="100"/>
                </a:lnTo>
                <a:lnTo>
                  <a:pt x="344" y="100"/>
                </a:lnTo>
                <a:lnTo>
                  <a:pt x="340" y="98"/>
                </a:lnTo>
                <a:lnTo>
                  <a:pt x="334" y="100"/>
                </a:lnTo>
                <a:lnTo>
                  <a:pt x="320" y="106"/>
                </a:lnTo>
                <a:lnTo>
                  <a:pt x="320" y="106"/>
                </a:lnTo>
                <a:lnTo>
                  <a:pt x="314" y="106"/>
                </a:lnTo>
                <a:lnTo>
                  <a:pt x="310" y="106"/>
                </a:lnTo>
                <a:lnTo>
                  <a:pt x="308" y="106"/>
                </a:lnTo>
                <a:lnTo>
                  <a:pt x="304" y="106"/>
                </a:lnTo>
                <a:lnTo>
                  <a:pt x="304" y="106"/>
                </a:lnTo>
                <a:lnTo>
                  <a:pt x="302" y="108"/>
                </a:lnTo>
                <a:lnTo>
                  <a:pt x="300" y="106"/>
                </a:lnTo>
                <a:lnTo>
                  <a:pt x="300" y="106"/>
                </a:lnTo>
                <a:lnTo>
                  <a:pt x="302" y="110"/>
                </a:lnTo>
                <a:lnTo>
                  <a:pt x="302" y="110"/>
                </a:lnTo>
                <a:lnTo>
                  <a:pt x="304" y="116"/>
                </a:lnTo>
                <a:lnTo>
                  <a:pt x="304" y="116"/>
                </a:lnTo>
                <a:lnTo>
                  <a:pt x="302" y="118"/>
                </a:lnTo>
                <a:lnTo>
                  <a:pt x="302" y="118"/>
                </a:lnTo>
                <a:lnTo>
                  <a:pt x="300" y="122"/>
                </a:lnTo>
                <a:lnTo>
                  <a:pt x="300" y="122"/>
                </a:lnTo>
                <a:lnTo>
                  <a:pt x="298" y="120"/>
                </a:lnTo>
                <a:lnTo>
                  <a:pt x="296" y="122"/>
                </a:lnTo>
                <a:lnTo>
                  <a:pt x="296" y="122"/>
                </a:lnTo>
                <a:lnTo>
                  <a:pt x="292" y="122"/>
                </a:lnTo>
                <a:lnTo>
                  <a:pt x="290" y="122"/>
                </a:lnTo>
                <a:lnTo>
                  <a:pt x="288" y="122"/>
                </a:lnTo>
                <a:lnTo>
                  <a:pt x="286" y="122"/>
                </a:lnTo>
                <a:lnTo>
                  <a:pt x="286" y="122"/>
                </a:lnTo>
                <a:lnTo>
                  <a:pt x="284" y="122"/>
                </a:lnTo>
                <a:lnTo>
                  <a:pt x="282" y="122"/>
                </a:lnTo>
                <a:lnTo>
                  <a:pt x="280" y="122"/>
                </a:lnTo>
                <a:lnTo>
                  <a:pt x="278" y="122"/>
                </a:lnTo>
                <a:lnTo>
                  <a:pt x="278" y="122"/>
                </a:lnTo>
                <a:lnTo>
                  <a:pt x="274" y="122"/>
                </a:lnTo>
                <a:lnTo>
                  <a:pt x="272" y="120"/>
                </a:lnTo>
                <a:lnTo>
                  <a:pt x="268" y="118"/>
                </a:lnTo>
                <a:lnTo>
                  <a:pt x="264" y="118"/>
                </a:lnTo>
                <a:lnTo>
                  <a:pt x="264" y="118"/>
                </a:lnTo>
                <a:lnTo>
                  <a:pt x="260" y="116"/>
                </a:lnTo>
                <a:lnTo>
                  <a:pt x="256" y="114"/>
                </a:lnTo>
                <a:lnTo>
                  <a:pt x="256" y="112"/>
                </a:lnTo>
                <a:lnTo>
                  <a:pt x="260" y="110"/>
                </a:lnTo>
                <a:lnTo>
                  <a:pt x="260" y="110"/>
                </a:lnTo>
                <a:lnTo>
                  <a:pt x="266" y="110"/>
                </a:lnTo>
                <a:lnTo>
                  <a:pt x="266" y="110"/>
                </a:lnTo>
                <a:lnTo>
                  <a:pt x="258" y="104"/>
                </a:lnTo>
                <a:lnTo>
                  <a:pt x="258" y="104"/>
                </a:lnTo>
                <a:lnTo>
                  <a:pt x="256" y="102"/>
                </a:lnTo>
                <a:lnTo>
                  <a:pt x="256" y="102"/>
                </a:lnTo>
                <a:lnTo>
                  <a:pt x="256" y="100"/>
                </a:lnTo>
                <a:lnTo>
                  <a:pt x="252" y="100"/>
                </a:lnTo>
                <a:lnTo>
                  <a:pt x="252" y="100"/>
                </a:lnTo>
                <a:lnTo>
                  <a:pt x="232" y="94"/>
                </a:lnTo>
                <a:lnTo>
                  <a:pt x="224" y="94"/>
                </a:lnTo>
                <a:lnTo>
                  <a:pt x="224" y="94"/>
                </a:lnTo>
                <a:lnTo>
                  <a:pt x="224" y="94"/>
                </a:lnTo>
                <a:lnTo>
                  <a:pt x="228" y="96"/>
                </a:lnTo>
                <a:lnTo>
                  <a:pt x="232" y="100"/>
                </a:lnTo>
                <a:lnTo>
                  <a:pt x="236" y="106"/>
                </a:lnTo>
                <a:lnTo>
                  <a:pt x="236" y="106"/>
                </a:lnTo>
                <a:lnTo>
                  <a:pt x="240" y="112"/>
                </a:lnTo>
                <a:lnTo>
                  <a:pt x="240" y="116"/>
                </a:lnTo>
                <a:lnTo>
                  <a:pt x="240" y="116"/>
                </a:lnTo>
                <a:lnTo>
                  <a:pt x="244" y="118"/>
                </a:lnTo>
                <a:lnTo>
                  <a:pt x="244" y="118"/>
                </a:lnTo>
                <a:lnTo>
                  <a:pt x="250" y="118"/>
                </a:lnTo>
                <a:lnTo>
                  <a:pt x="250" y="122"/>
                </a:lnTo>
                <a:lnTo>
                  <a:pt x="250" y="122"/>
                </a:lnTo>
                <a:lnTo>
                  <a:pt x="250" y="130"/>
                </a:lnTo>
                <a:lnTo>
                  <a:pt x="250" y="132"/>
                </a:lnTo>
                <a:lnTo>
                  <a:pt x="248" y="132"/>
                </a:lnTo>
                <a:lnTo>
                  <a:pt x="248" y="132"/>
                </a:lnTo>
                <a:lnTo>
                  <a:pt x="244" y="130"/>
                </a:lnTo>
                <a:lnTo>
                  <a:pt x="240" y="132"/>
                </a:lnTo>
                <a:lnTo>
                  <a:pt x="238" y="134"/>
                </a:lnTo>
                <a:lnTo>
                  <a:pt x="240" y="132"/>
                </a:lnTo>
                <a:lnTo>
                  <a:pt x="240" y="132"/>
                </a:lnTo>
                <a:lnTo>
                  <a:pt x="240" y="128"/>
                </a:lnTo>
                <a:lnTo>
                  <a:pt x="238" y="128"/>
                </a:lnTo>
                <a:lnTo>
                  <a:pt x="226" y="128"/>
                </a:lnTo>
                <a:lnTo>
                  <a:pt x="226" y="128"/>
                </a:lnTo>
                <a:lnTo>
                  <a:pt x="224" y="128"/>
                </a:lnTo>
                <a:lnTo>
                  <a:pt x="222" y="126"/>
                </a:lnTo>
                <a:lnTo>
                  <a:pt x="218" y="126"/>
                </a:lnTo>
                <a:lnTo>
                  <a:pt x="208" y="128"/>
                </a:lnTo>
                <a:lnTo>
                  <a:pt x="208" y="128"/>
                </a:lnTo>
                <a:lnTo>
                  <a:pt x="198" y="130"/>
                </a:lnTo>
                <a:lnTo>
                  <a:pt x="192" y="134"/>
                </a:lnTo>
                <a:lnTo>
                  <a:pt x="192" y="134"/>
                </a:lnTo>
                <a:lnTo>
                  <a:pt x="188" y="136"/>
                </a:lnTo>
                <a:lnTo>
                  <a:pt x="186" y="138"/>
                </a:lnTo>
                <a:lnTo>
                  <a:pt x="184" y="138"/>
                </a:lnTo>
                <a:lnTo>
                  <a:pt x="184" y="138"/>
                </a:lnTo>
                <a:lnTo>
                  <a:pt x="184" y="138"/>
                </a:lnTo>
                <a:lnTo>
                  <a:pt x="184" y="140"/>
                </a:lnTo>
                <a:lnTo>
                  <a:pt x="186" y="142"/>
                </a:lnTo>
                <a:lnTo>
                  <a:pt x="196" y="146"/>
                </a:lnTo>
                <a:lnTo>
                  <a:pt x="204" y="148"/>
                </a:lnTo>
                <a:lnTo>
                  <a:pt x="208" y="150"/>
                </a:lnTo>
                <a:lnTo>
                  <a:pt x="208" y="152"/>
                </a:lnTo>
                <a:lnTo>
                  <a:pt x="208" y="152"/>
                </a:lnTo>
                <a:lnTo>
                  <a:pt x="206" y="152"/>
                </a:lnTo>
                <a:lnTo>
                  <a:pt x="204" y="152"/>
                </a:lnTo>
                <a:lnTo>
                  <a:pt x="200" y="152"/>
                </a:lnTo>
                <a:lnTo>
                  <a:pt x="196" y="152"/>
                </a:lnTo>
                <a:lnTo>
                  <a:pt x="196" y="152"/>
                </a:lnTo>
                <a:lnTo>
                  <a:pt x="190" y="154"/>
                </a:lnTo>
                <a:lnTo>
                  <a:pt x="184" y="152"/>
                </a:lnTo>
                <a:lnTo>
                  <a:pt x="178" y="150"/>
                </a:lnTo>
                <a:lnTo>
                  <a:pt x="166" y="152"/>
                </a:lnTo>
                <a:lnTo>
                  <a:pt x="166" y="152"/>
                </a:lnTo>
                <a:lnTo>
                  <a:pt x="164" y="152"/>
                </a:lnTo>
                <a:lnTo>
                  <a:pt x="166" y="152"/>
                </a:lnTo>
                <a:lnTo>
                  <a:pt x="166" y="150"/>
                </a:lnTo>
                <a:lnTo>
                  <a:pt x="162" y="148"/>
                </a:lnTo>
                <a:lnTo>
                  <a:pt x="162" y="148"/>
                </a:lnTo>
                <a:lnTo>
                  <a:pt x="152" y="148"/>
                </a:lnTo>
                <a:lnTo>
                  <a:pt x="150" y="148"/>
                </a:lnTo>
                <a:lnTo>
                  <a:pt x="148" y="148"/>
                </a:lnTo>
                <a:lnTo>
                  <a:pt x="148" y="148"/>
                </a:lnTo>
                <a:lnTo>
                  <a:pt x="144" y="152"/>
                </a:lnTo>
                <a:lnTo>
                  <a:pt x="144" y="152"/>
                </a:lnTo>
                <a:lnTo>
                  <a:pt x="144" y="152"/>
                </a:lnTo>
                <a:lnTo>
                  <a:pt x="144" y="152"/>
                </a:lnTo>
                <a:lnTo>
                  <a:pt x="146" y="154"/>
                </a:lnTo>
                <a:lnTo>
                  <a:pt x="146" y="156"/>
                </a:lnTo>
                <a:lnTo>
                  <a:pt x="150" y="158"/>
                </a:lnTo>
                <a:lnTo>
                  <a:pt x="158" y="158"/>
                </a:lnTo>
                <a:lnTo>
                  <a:pt x="158" y="158"/>
                </a:lnTo>
                <a:lnTo>
                  <a:pt x="164" y="158"/>
                </a:lnTo>
                <a:lnTo>
                  <a:pt x="170" y="160"/>
                </a:lnTo>
                <a:lnTo>
                  <a:pt x="170" y="162"/>
                </a:lnTo>
                <a:lnTo>
                  <a:pt x="170" y="162"/>
                </a:lnTo>
                <a:lnTo>
                  <a:pt x="170" y="162"/>
                </a:lnTo>
                <a:lnTo>
                  <a:pt x="168" y="164"/>
                </a:lnTo>
                <a:lnTo>
                  <a:pt x="166" y="166"/>
                </a:lnTo>
                <a:lnTo>
                  <a:pt x="166" y="166"/>
                </a:lnTo>
                <a:lnTo>
                  <a:pt x="164" y="166"/>
                </a:lnTo>
                <a:lnTo>
                  <a:pt x="164" y="166"/>
                </a:lnTo>
                <a:lnTo>
                  <a:pt x="158" y="164"/>
                </a:lnTo>
                <a:lnTo>
                  <a:pt x="150" y="164"/>
                </a:lnTo>
                <a:lnTo>
                  <a:pt x="142" y="164"/>
                </a:lnTo>
                <a:lnTo>
                  <a:pt x="138" y="162"/>
                </a:lnTo>
                <a:lnTo>
                  <a:pt x="138" y="162"/>
                </a:lnTo>
                <a:lnTo>
                  <a:pt x="136" y="160"/>
                </a:lnTo>
                <a:lnTo>
                  <a:pt x="132" y="160"/>
                </a:lnTo>
                <a:lnTo>
                  <a:pt x="122" y="158"/>
                </a:lnTo>
                <a:lnTo>
                  <a:pt x="122" y="158"/>
                </a:lnTo>
                <a:lnTo>
                  <a:pt x="116" y="158"/>
                </a:lnTo>
                <a:lnTo>
                  <a:pt x="116" y="156"/>
                </a:lnTo>
                <a:lnTo>
                  <a:pt x="118" y="156"/>
                </a:lnTo>
                <a:lnTo>
                  <a:pt x="120" y="156"/>
                </a:lnTo>
                <a:lnTo>
                  <a:pt x="118" y="154"/>
                </a:lnTo>
                <a:lnTo>
                  <a:pt x="118" y="154"/>
                </a:lnTo>
                <a:lnTo>
                  <a:pt x="116" y="152"/>
                </a:lnTo>
                <a:lnTo>
                  <a:pt x="116" y="150"/>
                </a:lnTo>
                <a:lnTo>
                  <a:pt x="116" y="150"/>
                </a:lnTo>
                <a:lnTo>
                  <a:pt x="112" y="150"/>
                </a:lnTo>
                <a:lnTo>
                  <a:pt x="112" y="150"/>
                </a:lnTo>
                <a:lnTo>
                  <a:pt x="110" y="148"/>
                </a:lnTo>
                <a:lnTo>
                  <a:pt x="110" y="148"/>
                </a:lnTo>
                <a:lnTo>
                  <a:pt x="110" y="146"/>
                </a:lnTo>
                <a:lnTo>
                  <a:pt x="110" y="144"/>
                </a:lnTo>
                <a:lnTo>
                  <a:pt x="110" y="144"/>
                </a:lnTo>
                <a:lnTo>
                  <a:pt x="110" y="142"/>
                </a:lnTo>
                <a:lnTo>
                  <a:pt x="110" y="142"/>
                </a:lnTo>
                <a:lnTo>
                  <a:pt x="110" y="140"/>
                </a:lnTo>
                <a:lnTo>
                  <a:pt x="110" y="138"/>
                </a:lnTo>
                <a:lnTo>
                  <a:pt x="110" y="138"/>
                </a:lnTo>
                <a:lnTo>
                  <a:pt x="110" y="136"/>
                </a:lnTo>
                <a:lnTo>
                  <a:pt x="108" y="136"/>
                </a:lnTo>
                <a:lnTo>
                  <a:pt x="106" y="136"/>
                </a:lnTo>
                <a:lnTo>
                  <a:pt x="102" y="136"/>
                </a:lnTo>
                <a:lnTo>
                  <a:pt x="102" y="136"/>
                </a:lnTo>
                <a:lnTo>
                  <a:pt x="98" y="134"/>
                </a:lnTo>
                <a:lnTo>
                  <a:pt x="94" y="134"/>
                </a:lnTo>
                <a:lnTo>
                  <a:pt x="90" y="134"/>
                </a:lnTo>
                <a:lnTo>
                  <a:pt x="84" y="132"/>
                </a:lnTo>
                <a:lnTo>
                  <a:pt x="84" y="132"/>
                </a:lnTo>
                <a:lnTo>
                  <a:pt x="80" y="130"/>
                </a:lnTo>
                <a:lnTo>
                  <a:pt x="82" y="130"/>
                </a:lnTo>
                <a:lnTo>
                  <a:pt x="84" y="128"/>
                </a:lnTo>
                <a:lnTo>
                  <a:pt x="78" y="128"/>
                </a:lnTo>
                <a:lnTo>
                  <a:pt x="78" y="128"/>
                </a:lnTo>
                <a:lnTo>
                  <a:pt x="74" y="126"/>
                </a:lnTo>
                <a:lnTo>
                  <a:pt x="74" y="126"/>
                </a:lnTo>
                <a:lnTo>
                  <a:pt x="74" y="126"/>
                </a:lnTo>
                <a:lnTo>
                  <a:pt x="72" y="124"/>
                </a:lnTo>
                <a:lnTo>
                  <a:pt x="66" y="124"/>
                </a:lnTo>
                <a:lnTo>
                  <a:pt x="60" y="122"/>
                </a:lnTo>
                <a:lnTo>
                  <a:pt x="58" y="122"/>
                </a:lnTo>
                <a:lnTo>
                  <a:pt x="56" y="120"/>
                </a:lnTo>
                <a:lnTo>
                  <a:pt x="56" y="120"/>
                </a:lnTo>
                <a:lnTo>
                  <a:pt x="56" y="118"/>
                </a:lnTo>
                <a:lnTo>
                  <a:pt x="58" y="120"/>
                </a:lnTo>
                <a:lnTo>
                  <a:pt x="60" y="120"/>
                </a:lnTo>
                <a:lnTo>
                  <a:pt x="64" y="120"/>
                </a:lnTo>
                <a:lnTo>
                  <a:pt x="64" y="120"/>
                </a:lnTo>
                <a:lnTo>
                  <a:pt x="68" y="120"/>
                </a:lnTo>
                <a:lnTo>
                  <a:pt x="72" y="120"/>
                </a:lnTo>
                <a:lnTo>
                  <a:pt x="74" y="122"/>
                </a:lnTo>
                <a:lnTo>
                  <a:pt x="76" y="122"/>
                </a:lnTo>
                <a:lnTo>
                  <a:pt x="76" y="122"/>
                </a:lnTo>
                <a:lnTo>
                  <a:pt x="78" y="120"/>
                </a:lnTo>
                <a:lnTo>
                  <a:pt x="80" y="122"/>
                </a:lnTo>
                <a:lnTo>
                  <a:pt x="80" y="122"/>
                </a:lnTo>
                <a:lnTo>
                  <a:pt x="82" y="122"/>
                </a:lnTo>
                <a:lnTo>
                  <a:pt x="82" y="122"/>
                </a:lnTo>
                <a:lnTo>
                  <a:pt x="86" y="122"/>
                </a:lnTo>
                <a:lnTo>
                  <a:pt x="88" y="124"/>
                </a:lnTo>
                <a:lnTo>
                  <a:pt x="90" y="124"/>
                </a:lnTo>
                <a:lnTo>
                  <a:pt x="92" y="124"/>
                </a:lnTo>
                <a:lnTo>
                  <a:pt x="92" y="124"/>
                </a:lnTo>
                <a:lnTo>
                  <a:pt x="96" y="122"/>
                </a:lnTo>
                <a:lnTo>
                  <a:pt x="98" y="126"/>
                </a:lnTo>
                <a:lnTo>
                  <a:pt x="102" y="126"/>
                </a:lnTo>
                <a:lnTo>
                  <a:pt x="108" y="128"/>
                </a:lnTo>
                <a:lnTo>
                  <a:pt x="118" y="130"/>
                </a:lnTo>
                <a:lnTo>
                  <a:pt x="134" y="130"/>
                </a:lnTo>
                <a:lnTo>
                  <a:pt x="134" y="130"/>
                </a:lnTo>
                <a:lnTo>
                  <a:pt x="156" y="132"/>
                </a:lnTo>
                <a:lnTo>
                  <a:pt x="168" y="134"/>
                </a:lnTo>
                <a:lnTo>
                  <a:pt x="178" y="134"/>
                </a:lnTo>
                <a:lnTo>
                  <a:pt x="178" y="134"/>
                </a:lnTo>
                <a:lnTo>
                  <a:pt x="186" y="132"/>
                </a:lnTo>
                <a:lnTo>
                  <a:pt x="192" y="128"/>
                </a:lnTo>
                <a:lnTo>
                  <a:pt x="198" y="124"/>
                </a:lnTo>
                <a:lnTo>
                  <a:pt x="198" y="124"/>
                </a:lnTo>
                <a:lnTo>
                  <a:pt x="200" y="122"/>
                </a:lnTo>
                <a:lnTo>
                  <a:pt x="200" y="122"/>
                </a:lnTo>
                <a:lnTo>
                  <a:pt x="200" y="120"/>
                </a:lnTo>
                <a:lnTo>
                  <a:pt x="200" y="120"/>
                </a:lnTo>
                <a:lnTo>
                  <a:pt x="200" y="120"/>
                </a:lnTo>
                <a:lnTo>
                  <a:pt x="200" y="120"/>
                </a:lnTo>
                <a:lnTo>
                  <a:pt x="200" y="118"/>
                </a:lnTo>
                <a:lnTo>
                  <a:pt x="196" y="114"/>
                </a:lnTo>
                <a:lnTo>
                  <a:pt x="190" y="110"/>
                </a:lnTo>
                <a:lnTo>
                  <a:pt x="190" y="110"/>
                </a:lnTo>
                <a:lnTo>
                  <a:pt x="186" y="110"/>
                </a:lnTo>
                <a:lnTo>
                  <a:pt x="184" y="108"/>
                </a:lnTo>
                <a:lnTo>
                  <a:pt x="182" y="108"/>
                </a:lnTo>
                <a:lnTo>
                  <a:pt x="182" y="108"/>
                </a:lnTo>
                <a:lnTo>
                  <a:pt x="178" y="106"/>
                </a:lnTo>
                <a:lnTo>
                  <a:pt x="170" y="104"/>
                </a:lnTo>
                <a:lnTo>
                  <a:pt x="162" y="102"/>
                </a:lnTo>
                <a:lnTo>
                  <a:pt x="154" y="102"/>
                </a:lnTo>
                <a:lnTo>
                  <a:pt x="154" y="102"/>
                </a:lnTo>
                <a:lnTo>
                  <a:pt x="150" y="102"/>
                </a:lnTo>
                <a:lnTo>
                  <a:pt x="144" y="102"/>
                </a:lnTo>
                <a:lnTo>
                  <a:pt x="132" y="98"/>
                </a:lnTo>
                <a:lnTo>
                  <a:pt x="122" y="96"/>
                </a:lnTo>
                <a:lnTo>
                  <a:pt x="116" y="94"/>
                </a:lnTo>
                <a:lnTo>
                  <a:pt x="114" y="96"/>
                </a:lnTo>
                <a:lnTo>
                  <a:pt x="114" y="96"/>
                </a:lnTo>
                <a:lnTo>
                  <a:pt x="110" y="96"/>
                </a:lnTo>
                <a:lnTo>
                  <a:pt x="106" y="96"/>
                </a:lnTo>
                <a:lnTo>
                  <a:pt x="94" y="92"/>
                </a:lnTo>
                <a:lnTo>
                  <a:pt x="84" y="90"/>
                </a:lnTo>
                <a:lnTo>
                  <a:pt x="74" y="90"/>
                </a:lnTo>
                <a:lnTo>
                  <a:pt x="74" y="90"/>
                </a:lnTo>
                <a:lnTo>
                  <a:pt x="56" y="90"/>
                </a:lnTo>
                <a:lnTo>
                  <a:pt x="56" y="90"/>
                </a:lnTo>
                <a:lnTo>
                  <a:pt x="52" y="92"/>
                </a:lnTo>
                <a:lnTo>
                  <a:pt x="48" y="90"/>
                </a:lnTo>
                <a:lnTo>
                  <a:pt x="48" y="90"/>
                </a:lnTo>
                <a:lnTo>
                  <a:pt x="40" y="90"/>
                </a:lnTo>
                <a:lnTo>
                  <a:pt x="32" y="88"/>
                </a:lnTo>
                <a:lnTo>
                  <a:pt x="32" y="88"/>
                </a:lnTo>
                <a:lnTo>
                  <a:pt x="36" y="88"/>
                </a:lnTo>
                <a:lnTo>
                  <a:pt x="42" y="88"/>
                </a:lnTo>
                <a:lnTo>
                  <a:pt x="44" y="86"/>
                </a:lnTo>
                <a:lnTo>
                  <a:pt x="44" y="86"/>
                </a:lnTo>
                <a:lnTo>
                  <a:pt x="34" y="84"/>
                </a:lnTo>
                <a:lnTo>
                  <a:pt x="30" y="84"/>
                </a:lnTo>
                <a:lnTo>
                  <a:pt x="28" y="84"/>
                </a:lnTo>
                <a:lnTo>
                  <a:pt x="28" y="86"/>
                </a:lnTo>
                <a:lnTo>
                  <a:pt x="28" y="86"/>
                </a:lnTo>
                <a:lnTo>
                  <a:pt x="28" y="88"/>
                </a:lnTo>
                <a:lnTo>
                  <a:pt x="24" y="86"/>
                </a:lnTo>
                <a:lnTo>
                  <a:pt x="20" y="86"/>
                </a:lnTo>
                <a:lnTo>
                  <a:pt x="14" y="86"/>
                </a:lnTo>
                <a:lnTo>
                  <a:pt x="14" y="86"/>
                </a:lnTo>
                <a:lnTo>
                  <a:pt x="14" y="90"/>
                </a:lnTo>
                <a:lnTo>
                  <a:pt x="12" y="90"/>
                </a:lnTo>
                <a:lnTo>
                  <a:pt x="10" y="90"/>
                </a:lnTo>
                <a:lnTo>
                  <a:pt x="8" y="90"/>
                </a:lnTo>
                <a:lnTo>
                  <a:pt x="8" y="90"/>
                </a:lnTo>
                <a:lnTo>
                  <a:pt x="4" y="96"/>
                </a:lnTo>
                <a:lnTo>
                  <a:pt x="2" y="100"/>
                </a:lnTo>
                <a:lnTo>
                  <a:pt x="0" y="104"/>
                </a:lnTo>
                <a:lnTo>
                  <a:pt x="0" y="104"/>
                </a:lnTo>
                <a:lnTo>
                  <a:pt x="4" y="108"/>
                </a:lnTo>
                <a:lnTo>
                  <a:pt x="6" y="108"/>
                </a:lnTo>
                <a:lnTo>
                  <a:pt x="8" y="108"/>
                </a:lnTo>
                <a:lnTo>
                  <a:pt x="12" y="112"/>
                </a:lnTo>
                <a:lnTo>
                  <a:pt x="12" y="112"/>
                </a:lnTo>
                <a:lnTo>
                  <a:pt x="16" y="116"/>
                </a:lnTo>
                <a:lnTo>
                  <a:pt x="16" y="118"/>
                </a:lnTo>
                <a:lnTo>
                  <a:pt x="16" y="122"/>
                </a:lnTo>
                <a:lnTo>
                  <a:pt x="16" y="124"/>
                </a:lnTo>
                <a:lnTo>
                  <a:pt x="16" y="126"/>
                </a:lnTo>
                <a:lnTo>
                  <a:pt x="24" y="132"/>
                </a:lnTo>
                <a:lnTo>
                  <a:pt x="24" y="132"/>
                </a:lnTo>
                <a:lnTo>
                  <a:pt x="32" y="138"/>
                </a:lnTo>
                <a:lnTo>
                  <a:pt x="34" y="142"/>
                </a:lnTo>
                <a:lnTo>
                  <a:pt x="34" y="144"/>
                </a:lnTo>
                <a:lnTo>
                  <a:pt x="32" y="144"/>
                </a:lnTo>
                <a:lnTo>
                  <a:pt x="32" y="144"/>
                </a:lnTo>
                <a:lnTo>
                  <a:pt x="30" y="146"/>
                </a:lnTo>
                <a:lnTo>
                  <a:pt x="32" y="148"/>
                </a:lnTo>
                <a:lnTo>
                  <a:pt x="34" y="152"/>
                </a:lnTo>
                <a:lnTo>
                  <a:pt x="38" y="154"/>
                </a:lnTo>
                <a:lnTo>
                  <a:pt x="38" y="154"/>
                </a:lnTo>
                <a:lnTo>
                  <a:pt x="40" y="156"/>
                </a:lnTo>
                <a:lnTo>
                  <a:pt x="36" y="158"/>
                </a:lnTo>
                <a:lnTo>
                  <a:pt x="36" y="160"/>
                </a:lnTo>
                <a:lnTo>
                  <a:pt x="38" y="162"/>
                </a:lnTo>
                <a:lnTo>
                  <a:pt x="38" y="162"/>
                </a:lnTo>
                <a:lnTo>
                  <a:pt x="46" y="166"/>
                </a:lnTo>
                <a:lnTo>
                  <a:pt x="48" y="168"/>
                </a:lnTo>
                <a:lnTo>
                  <a:pt x="48" y="170"/>
                </a:lnTo>
                <a:lnTo>
                  <a:pt x="46" y="172"/>
                </a:lnTo>
                <a:lnTo>
                  <a:pt x="44" y="172"/>
                </a:lnTo>
                <a:lnTo>
                  <a:pt x="44" y="174"/>
                </a:lnTo>
                <a:lnTo>
                  <a:pt x="54" y="178"/>
                </a:lnTo>
                <a:lnTo>
                  <a:pt x="54" y="178"/>
                </a:lnTo>
                <a:lnTo>
                  <a:pt x="62" y="182"/>
                </a:lnTo>
                <a:lnTo>
                  <a:pt x="62" y="186"/>
                </a:lnTo>
                <a:lnTo>
                  <a:pt x="60" y="190"/>
                </a:lnTo>
                <a:lnTo>
                  <a:pt x="56" y="194"/>
                </a:lnTo>
                <a:lnTo>
                  <a:pt x="56" y="194"/>
                </a:lnTo>
                <a:lnTo>
                  <a:pt x="54" y="196"/>
                </a:lnTo>
                <a:lnTo>
                  <a:pt x="54" y="198"/>
                </a:lnTo>
                <a:lnTo>
                  <a:pt x="54" y="200"/>
                </a:lnTo>
                <a:lnTo>
                  <a:pt x="52" y="200"/>
                </a:lnTo>
                <a:lnTo>
                  <a:pt x="52" y="200"/>
                </a:lnTo>
                <a:lnTo>
                  <a:pt x="48" y="200"/>
                </a:lnTo>
                <a:lnTo>
                  <a:pt x="46" y="204"/>
                </a:lnTo>
                <a:lnTo>
                  <a:pt x="42" y="208"/>
                </a:lnTo>
                <a:lnTo>
                  <a:pt x="34" y="212"/>
                </a:lnTo>
                <a:lnTo>
                  <a:pt x="34" y="212"/>
                </a:lnTo>
                <a:lnTo>
                  <a:pt x="26" y="218"/>
                </a:lnTo>
                <a:lnTo>
                  <a:pt x="22" y="220"/>
                </a:lnTo>
                <a:lnTo>
                  <a:pt x="22" y="224"/>
                </a:lnTo>
                <a:lnTo>
                  <a:pt x="22" y="224"/>
                </a:lnTo>
                <a:lnTo>
                  <a:pt x="28" y="222"/>
                </a:lnTo>
                <a:lnTo>
                  <a:pt x="30" y="222"/>
                </a:lnTo>
                <a:lnTo>
                  <a:pt x="28" y="224"/>
                </a:lnTo>
                <a:lnTo>
                  <a:pt x="28" y="224"/>
                </a:lnTo>
                <a:lnTo>
                  <a:pt x="26" y="224"/>
                </a:lnTo>
                <a:lnTo>
                  <a:pt x="30" y="226"/>
                </a:lnTo>
                <a:lnTo>
                  <a:pt x="38" y="226"/>
                </a:lnTo>
                <a:lnTo>
                  <a:pt x="38" y="226"/>
                </a:lnTo>
                <a:lnTo>
                  <a:pt x="42" y="226"/>
                </a:lnTo>
                <a:lnTo>
                  <a:pt x="44" y="228"/>
                </a:lnTo>
                <a:lnTo>
                  <a:pt x="48" y="230"/>
                </a:lnTo>
                <a:lnTo>
                  <a:pt x="52" y="230"/>
                </a:lnTo>
                <a:lnTo>
                  <a:pt x="52" y="230"/>
                </a:lnTo>
                <a:lnTo>
                  <a:pt x="56" y="230"/>
                </a:lnTo>
                <a:lnTo>
                  <a:pt x="58" y="230"/>
                </a:lnTo>
                <a:lnTo>
                  <a:pt x="64" y="230"/>
                </a:lnTo>
                <a:lnTo>
                  <a:pt x="64" y="230"/>
                </a:lnTo>
                <a:lnTo>
                  <a:pt x="64" y="232"/>
                </a:lnTo>
                <a:lnTo>
                  <a:pt x="64" y="234"/>
                </a:lnTo>
                <a:lnTo>
                  <a:pt x="62" y="236"/>
                </a:lnTo>
                <a:lnTo>
                  <a:pt x="58" y="236"/>
                </a:lnTo>
                <a:lnTo>
                  <a:pt x="58" y="236"/>
                </a:lnTo>
                <a:lnTo>
                  <a:pt x="48" y="234"/>
                </a:lnTo>
                <a:lnTo>
                  <a:pt x="46" y="234"/>
                </a:lnTo>
                <a:lnTo>
                  <a:pt x="44" y="236"/>
                </a:lnTo>
                <a:lnTo>
                  <a:pt x="44" y="236"/>
                </a:lnTo>
                <a:lnTo>
                  <a:pt x="42" y="240"/>
                </a:lnTo>
                <a:lnTo>
                  <a:pt x="38" y="238"/>
                </a:lnTo>
                <a:lnTo>
                  <a:pt x="36" y="238"/>
                </a:lnTo>
                <a:lnTo>
                  <a:pt x="34" y="240"/>
                </a:lnTo>
                <a:lnTo>
                  <a:pt x="34" y="240"/>
                </a:lnTo>
                <a:lnTo>
                  <a:pt x="34" y="242"/>
                </a:lnTo>
                <a:lnTo>
                  <a:pt x="32" y="242"/>
                </a:lnTo>
                <a:lnTo>
                  <a:pt x="30" y="240"/>
                </a:lnTo>
                <a:lnTo>
                  <a:pt x="28" y="240"/>
                </a:lnTo>
                <a:lnTo>
                  <a:pt x="28" y="240"/>
                </a:lnTo>
                <a:lnTo>
                  <a:pt x="28" y="240"/>
                </a:lnTo>
                <a:lnTo>
                  <a:pt x="28" y="242"/>
                </a:lnTo>
                <a:lnTo>
                  <a:pt x="30" y="242"/>
                </a:lnTo>
                <a:lnTo>
                  <a:pt x="28" y="244"/>
                </a:lnTo>
                <a:lnTo>
                  <a:pt x="28" y="244"/>
                </a:lnTo>
                <a:lnTo>
                  <a:pt x="32" y="246"/>
                </a:lnTo>
                <a:lnTo>
                  <a:pt x="32" y="248"/>
                </a:lnTo>
                <a:lnTo>
                  <a:pt x="30" y="252"/>
                </a:lnTo>
                <a:lnTo>
                  <a:pt x="30" y="266"/>
                </a:lnTo>
                <a:lnTo>
                  <a:pt x="30" y="266"/>
                </a:lnTo>
                <a:lnTo>
                  <a:pt x="28" y="270"/>
                </a:lnTo>
                <a:lnTo>
                  <a:pt x="30" y="270"/>
                </a:lnTo>
                <a:lnTo>
                  <a:pt x="32" y="270"/>
                </a:lnTo>
                <a:lnTo>
                  <a:pt x="32" y="274"/>
                </a:lnTo>
                <a:lnTo>
                  <a:pt x="32" y="274"/>
                </a:lnTo>
                <a:lnTo>
                  <a:pt x="30" y="278"/>
                </a:lnTo>
                <a:lnTo>
                  <a:pt x="32" y="278"/>
                </a:lnTo>
                <a:lnTo>
                  <a:pt x="34" y="280"/>
                </a:lnTo>
                <a:lnTo>
                  <a:pt x="36" y="286"/>
                </a:lnTo>
                <a:lnTo>
                  <a:pt x="36" y="286"/>
                </a:lnTo>
                <a:lnTo>
                  <a:pt x="40" y="288"/>
                </a:lnTo>
                <a:lnTo>
                  <a:pt x="48" y="288"/>
                </a:lnTo>
                <a:lnTo>
                  <a:pt x="56" y="288"/>
                </a:lnTo>
                <a:lnTo>
                  <a:pt x="58" y="290"/>
                </a:lnTo>
                <a:lnTo>
                  <a:pt x="58" y="290"/>
                </a:lnTo>
                <a:lnTo>
                  <a:pt x="58" y="290"/>
                </a:lnTo>
                <a:lnTo>
                  <a:pt x="60" y="292"/>
                </a:lnTo>
                <a:lnTo>
                  <a:pt x="60" y="292"/>
                </a:lnTo>
                <a:lnTo>
                  <a:pt x="64" y="290"/>
                </a:lnTo>
                <a:lnTo>
                  <a:pt x="72" y="284"/>
                </a:lnTo>
                <a:lnTo>
                  <a:pt x="72" y="284"/>
                </a:lnTo>
                <a:lnTo>
                  <a:pt x="74" y="284"/>
                </a:lnTo>
                <a:lnTo>
                  <a:pt x="78" y="286"/>
                </a:lnTo>
                <a:lnTo>
                  <a:pt x="82" y="288"/>
                </a:lnTo>
                <a:lnTo>
                  <a:pt x="82" y="288"/>
                </a:lnTo>
                <a:lnTo>
                  <a:pt x="86" y="290"/>
                </a:lnTo>
                <a:lnTo>
                  <a:pt x="86" y="292"/>
                </a:lnTo>
                <a:lnTo>
                  <a:pt x="84" y="294"/>
                </a:lnTo>
                <a:lnTo>
                  <a:pt x="84" y="296"/>
                </a:lnTo>
                <a:lnTo>
                  <a:pt x="88" y="300"/>
                </a:lnTo>
                <a:lnTo>
                  <a:pt x="88" y="300"/>
                </a:lnTo>
                <a:lnTo>
                  <a:pt x="92" y="302"/>
                </a:lnTo>
                <a:lnTo>
                  <a:pt x="92" y="306"/>
                </a:lnTo>
                <a:lnTo>
                  <a:pt x="92" y="306"/>
                </a:lnTo>
                <a:lnTo>
                  <a:pt x="92" y="306"/>
                </a:lnTo>
                <a:lnTo>
                  <a:pt x="94" y="308"/>
                </a:lnTo>
                <a:lnTo>
                  <a:pt x="108" y="314"/>
                </a:lnTo>
                <a:lnTo>
                  <a:pt x="108" y="314"/>
                </a:lnTo>
                <a:lnTo>
                  <a:pt x="112" y="314"/>
                </a:lnTo>
                <a:lnTo>
                  <a:pt x="116" y="314"/>
                </a:lnTo>
                <a:lnTo>
                  <a:pt x="116" y="314"/>
                </a:lnTo>
                <a:lnTo>
                  <a:pt x="120" y="316"/>
                </a:lnTo>
                <a:lnTo>
                  <a:pt x="120" y="318"/>
                </a:lnTo>
                <a:lnTo>
                  <a:pt x="118" y="318"/>
                </a:lnTo>
                <a:lnTo>
                  <a:pt x="122" y="320"/>
                </a:lnTo>
                <a:lnTo>
                  <a:pt x="122" y="320"/>
                </a:lnTo>
                <a:lnTo>
                  <a:pt x="126" y="320"/>
                </a:lnTo>
                <a:lnTo>
                  <a:pt x="130" y="320"/>
                </a:lnTo>
                <a:lnTo>
                  <a:pt x="130" y="320"/>
                </a:lnTo>
                <a:lnTo>
                  <a:pt x="134" y="324"/>
                </a:lnTo>
                <a:lnTo>
                  <a:pt x="136" y="324"/>
                </a:lnTo>
                <a:lnTo>
                  <a:pt x="140" y="326"/>
                </a:lnTo>
                <a:lnTo>
                  <a:pt x="140" y="326"/>
                </a:lnTo>
                <a:lnTo>
                  <a:pt x="142" y="328"/>
                </a:lnTo>
                <a:lnTo>
                  <a:pt x="144" y="330"/>
                </a:lnTo>
                <a:lnTo>
                  <a:pt x="142" y="334"/>
                </a:lnTo>
                <a:lnTo>
                  <a:pt x="136" y="336"/>
                </a:lnTo>
                <a:lnTo>
                  <a:pt x="136" y="336"/>
                </a:lnTo>
                <a:lnTo>
                  <a:pt x="128" y="338"/>
                </a:lnTo>
                <a:lnTo>
                  <a:pt x="124" y="338"/>
                </a:lnTo>
                <a:lnTo>
                  <a:pt x="120" y="336"/>
                </a:lnTo>
                <a:lnTo>
                  <a:pt x="120" y="336"/>
                </a:lnTo>
                <a:lnTo>
                  <a:pt x="116" y="334"/>
                </a:lnTo>
                <a:lnTo>
                  <a:pt x="114" y="334"/>
                </a:lnTo>
                <a:lnTo>
                  <a:pt x="112" y="336"/>
                </a:lnTo>
                <a:lnTo>
                  <a:pt x="112" y="338"/>
                </a:lnTo>
                <a:lnTo>
                  <a:pt x="112" y="342"/>
                </a:lnTo>
                <a:lnTo>
                  <a:pt x="122" y="354"/>
                </a:lnTo>
                <a:lnTo>
                  <a:pt x="122" y="354"/>
                </a:lnTo>
                <a:lnTo>
                  <a:pt x="124" y="354"/>
                </a:lnTo>
                <a:lnTo>
                  <a:pt x="126" y="352"/>
                </a:lnTo>
                <a:lnTo>
                  <a:pt x="130" y="352"/>
                </a:lnTo>
                <a:lnTo>
                  <a:pt x="142" y="352"/>
                </a:lnTo>
                <a:lnTo>
                  <a:pt x="142" y="352"/>
                </a:lnTo>
                <a:lnTo>
                  <a:pt x="156" y="352"/>
                </a:lnTo>
                <a:lnTo>
                  <a:pt x="160" y="354"/>
                </a:lnTo>
                <a:lnTo>
                  <a:pt x="160" y="356"/>
                </a:lnTo>
                <a:lnTo>
                  <a:pt x="164" y="358"/>
                </a:lnTo>
                <a:lnTo>
                  <a:pt x="164" y="358"/>
                </a:lnTo>
                <a:lnTo>
                  <a:pt x="168" y="358"/>
                </a:lnTo>
                <a:lnTo>
                  <a:pt x="168" y="362"/>
                </a:lnTo>
                <a:lnTo>
                  <a:pt x="166" y="368"/>
                </a:lnTo>
                <a:lnTo>
                  <a:pt x="164" y="372"/>
                </a:lnTo>
                <a:lnTo>
                  <a:pt x="166" y="372"/>
                </a:lnTo>
                <a:lnTo>
                  <a:pt x="170" y="372"/>
                </a:lnTo>
                <a:lnTo>
                  <a:pt x="170" y="372"/>
                </a:lnTo>
                <a:lnTo>
                  <a:pt x="182" y="372"/>
                </a:lnTo>
                <a:lnTo>
                  <a:pt x="182" y="374"/>
                </a:lnTo>
                <a:lnTo>
                  <a:pt x="188" y="378"/>
                </a:lnTo>
                <a:lnTo>
                  <a:pt x="188" y="378"/>
                </a:lnTo>
                <a:lnTo>
                  <a:pt x="192" y="380"/>
                </a:lnTo>
                <a:lnTo>
                  <a:pt x="194" y="384"/>
                </a:lnTo>
                <a:lnTo>
                  <a:pt x="194" y="386"/>
                </a:lnTo>
                <a:lnTo>
                  <a:pt x="194" y="388"/>
                </a:lnTo>
                <a:lnTo>
                  <a:pt x="192" y="392"/>
                </a:lnTo>
                <a:lnTo>
                  <a:pt x="192" y="392"/>
                </a:lnTo>
                <a:lnTo>
                  <a:pt x="196" y="394"/>
                </a:lnTo>
                <a:lnTo>
                  <a:pt x="196" y="394"/>
                </a:lnTo>
                <a:lnTo>
                  <a:pt x="206" y="398"/>
                </a:lnTo>
                <a:lnTo>
                  <a:pt x="208" y="402"/>
                </a:lnTo>
                <a:lnTo>
                  <a:pt x="212" y="402"/>
                </a:lnTo>
                <a:lnTo>
                  <a:pt x="220" y="398"/>
                </a:lnTo>
                <a:lnTo>
                  <a:pt x="220" y="398"/>
                </a:lnTo>
                <a:lnTo>
                  <a:pt x="226" y="396"/>
                </a:lnTo>
                <a:lnTo>
                  <a:pt x="228" y="396"/>
                </a:lnTo>
                <a:lnTo>
                  <a:pt x="234" y="398"/>
                </a:lnTo>
                <a:lnTo>
                  <a:pt x="242" y="404"/>
                </a:lnTo>
                <a:lnTo>
                  <a:pt x="246" y="406"/>
                </a:lnTo>
                <a:lnTo>
                  <a:pt x="252" y="406"/>
                </a:lnTo>
                <a:lnTo>
                  <a:pt x="252" y="406"/>
                </a:lnTo>
                <a:lnTo>
                  <a:pt x="260" y="406"/>
                </a:lnTo>
                <a:lnTo>
                  <a:pt x="264" y="408"/>
                </a:lnTo>
                <a:lnTo>
                  <a:pt x="268" y="410"/>
                </a:lnTo>
                <a:lnTo>
                  <a:pt x="278" y="410"/>
                </a:lnTo>
                <a:lnTo>
                  <a:pt x="278" y="410"/>
                </a:lnTo>
                <a:lnTo>
                  <a:pt x="284" y="412"/>
                </a:lnTo>
                <a:lnTo>
                  <a:pt x="284" y="412"/>
                </a:lnTo>
                <a:lnTo>
                  <a:pt x="280" y="418"/>
                </a:lnTo>
                <a:lnTo>
                  <a:pt x="276" y="422"/>
                </a:lnTo>
                <a:lnTo>
                  <a:pt x="274" y="422"/>
                </a:lnTo>
                <a:lnTo>
                  <a:pt x="278" y="424"/>
                </a:lnTo>
                <a:lnTo>
                  <a:pt x="278" y="424"/>
                </a:lnTo>
                <a:lnTo>
                  <a:pt x="280" y="424"/>
                </a:lnTo>
                <a:lnTo>
                  <a:pt x="280" y="426"/>
                </a:lnTo>
                <a:lnTo>
                  <a:pt x="278" y="430"/>
                </a:lnTo>
                <a:lnTo>
                  <a:pt x="278" y="432"/>
                </a:lnTo>
                <a:lnTo>
                  <a:pt x="280" y="432"/>
                </a:lnTo>
                <a:lnTo>
                  <a:pt x="280" y="432"/>
                </a:lnTo>
                <a:lnTo>
                  <a:pt x="284" y="436"/>
                </a:lnTo>
                <a:lnTo>
                  <a:pt x="286" y="438"/>
                </a:lnTo>
                <a:lnTo>
                  <a:pt x="286" y="440"/>
                </a:lnTo>
                <a:lnTo>
                  <a:pt x="284" y="444"/>
                </a:lnTo>
                <a:lnTo>
                  <a:pt x="280" y="448"/>
                </a:lnTo>
                <a:lnTo>
                  <a:pt x="274" y="452"/>
                </a:lnTo>
                <a:lnTo>
                  <a:pt x="274" y="452"/>
                </a:lnTo>
                <a:lnTo>
                  <a:pt x="270" y="454"/>
                </a:lnTo>
                <a:lnTo>
                  <a:pt x="264" y="458"/>
                </a:lnTo>
                <a:lnTo>
                  <a:pt x="262" y="462"/>
                </a:lnTo>
                <a:lnTo>
                  <a:pt x="262" y="470"/>
                </a:lnTo>
                <a:lnTo>
                  <a:pt x="262" y="470"/>
                </a:lnTo>
                <a:lnTo>
                  <a:pt x="282" y="466"/>
                </a:lnTo>
                <a:lnTo>
                  <a:pt x="284" y="466"/>
                </a:lnTo>
                <a:lnTo>
                  <a:pt x="284" y="468"/>
                </a:lnTo>
                <a:lnTo>
                  <a:pt x="280" y="472"/>
                </a:lnTo>
                <a:lnTo>
                  <a:pt x="280" y="472"/>
                </a:lnTo>
                <a:lnTo>
                  <a:pt x="274" y="476"/>
                </a:lnTo>
                <a:lnTo>
                  <a:pt x="268" y="478"/>
                </a:lnTo>
                <a:lnTo>
                  <a:pt x="262" y="478"/>
                </a:lnTo>
                <a:lnTo>
                  <a:pt x="260" y="478"/>
                </a:lnTo>
                <a:lnTo>
                  <a:pt x="268" y="484"/>
                </a:lnTo>
                <a:lnTo>
                  <a:pt x="268" y="484"/>
                </a:lnTo>
                <a:lnTo>
                  <a:pt x="274" y="492"/>
                </a:lnTo>
                <a:lnTo>
                  <a:pt x="274" y="492"/>
                </a:lnTo>
                <a:lnTo>
                  <a:pt x="272" y="492"/>
                </a:lnTo>
                <a:lnTo>
                  <a:pt x="266" y="492"/>
                </a:lnTo>
                <a:lnTo>
                  <a:pt x="264" y="494"/>
                </a:lnTo>
                <a:lnTo>
                  <a:pt x="262" y="498"/>
                </a:lnTo>
                <a:lnTo>
                  <a:pt x="262" y="498"/>
                </a:lnTo>
                <a:lnTo>
                  <a:pt x="258" y="502"/>
                </a:lnTo>
                <a:lnTo>
                  <a:pt x="256" y="506"/>
                </a:lnTo>
                <a:lnTo>
                  <a:pt x="252" y="506"/>
                </a:lnTo>
                <a:lnTo>
                  <a:pt x="248" y="506"/>
                </a:lnTo>
                <a:lnTo>
                  <a:pt x="250" y="510"/>
                </a:lnTo>
                <a:lnTo>
                  <a:pt x="250" y="510"/>
                </a:lnTo>
                <a:lnTo>
                  <a:pt x="252" y="512"/>
                </a:lnTo>
                <a:lnTo>
                  <a:pt x="256" y="514"/>
                </a:lnTo>
                <a:lnTo>
                  <a:pt x="268" y="518"/>
                </a:lnTo>
                <a:lnTo>
                  <a:pt x="282" y="524"/>
                </a:lnTo>
                <a:lnTo>
                  <a:pt x="290" y="528"/>
                </a:lnTo>
                <a:lnTo>
                  <a:pt x="298" y="534"/>
                </a:lnTo>
                <a:lnTo>
                  <a:pt x="298" y="534"/>
                </a:lnTo>
                <a:lnTo>
                  <a:pt x="300" y="534"/>
                </a:lnTo>
                <a:lnTo>
                  <a:pt x="304" y="532"/>
                </a:lnTo>
                <a:lnTo>
                  <a:pt x="312" y="532"/>
                </a:lnTo>
                <a:lnTo>
                  <a:pt x="322" y="536"/>
                </a:lnTo>
                <a:lnTo>
                  <a:pt x="322" y="536"/>
                </a:lnTo>
                <a:lnTo>
                  <a:pt x="338" y="540"/>
                </a:lnTo>
                <a:lnTo>
                  <a:pt x="352" y="542"/>
                </a:lnTo>
                <a:lnTo>
                  <a:pt x="364" y="544"/>
                </a:lnTo>
                <a:lnTo>
                  <a:pt x="370" y="546"/>
                </a:lnTo>
                <a:lnTo>
                  <a:pt x="376" y="550"/>
                </a:lnTo>
                <a:lnTo>
                  <a:pt x="376" y="550"/>
                </a:lnTo>
                <a:lnTo>
                  <a:pt x="386" y="556"/>
                </a:lnTo>
                <a:lnTo>
                  <a:pt x="392" y="556"/>
                </a:lnTo>
                <a:lnTo>
                  <a:pt x="400" y="554"/>
                </a:lnTo>
                <a:lnTo>
                  <a:pt x="406" y="554"/>
                </a:lnTo>
                <a:lnTo>
                  <a:pt x="414" y="556"/>
                </a:lnTo>
                <a:lnTo>
                  <a:pt x="414" y="556"/>
                </a:lnTo>
                <a:lnTo>
                  <a:pt x="422" y="560"/>
                </a:lnTo>
                <a:lnTo>
                  <a:pt x="426" y="564"/>
                </a:lnTo>
                <a:lnTo>
                  <a:pt x="432" y="570"/>
                </a:lnTo>
                <a:lnTo>
                  <a:pt x="448" y="578"/>
                </a:lnTo>
                <a:lnTo>
                  <a:pt x="448" y="578"/>
                </a:lnTo>
                <a:lnTo>
                  <a:pt x="462" y="584"/>
                </a:lnTo>
                <a:lnTo>
                  <a:pt x="470" y="584"/>
                </a:lnTo>
                <a:lnTo>
                  <a:pt x="478" y="580"/>
                </a:lnTo>
                <a:lnTo>
                  <a:pt x="484" y="576"/>
                </a:lnTo>
                <a:lnTo>
                  <a:pt x="484" y="576"/>
                </a:lnTo>
                <a:lnTo>
                  <a:pt x="472" y="566"/>
                </a:lnTo>
                <a:lnTo>
                  <a:pt x="464" y="556"/>
                </a:lnTo>
                <a:lnTo>
                  <a:pt x="460" y="546"/>
                </a:lnTo>
                <a:lnTo>
                  <a:pt x="456" y="536"/>
                </a:lnTo>
                <a:lnTo>
                  <a:pt x="456" y="536"/>
                </a:lnTo>
                <a:lnTo>
                  <a:pt x="454" y="532"/>
                </a:lnTo>
                <a:lnTo>
                  <a:pt x="450" y="528"/>
                </a:lnTo>
                <a:lnTo>
                  <a:pt x="440" y="522"/>
                </a:lnTo>
                <a:lnTo>
                  <a:pt x="434" y="518"/>
                </a:lnTo>
                <a:lnTo>
                  <a:pt x="436" y="518"/>
                </a:lnTo>
                <a:lnTo>
                  <a:pt x="440" y="516"/>
                </a:lnTo>
                <a:lnTo>
                  <a:pt x="440" y="516"/>
                </a:lnTo>
                <a:lnTo>
                  <a:pt x="444" y="514"/>
                </a:lnTo>
                <a:lnTo>
                  <a:pt x="444" y="512"/>
                </a:lnTo>
                <a:lnTo>
                  <a:pt x="440" y="510"/>
                </a:lnTo>
                <a:lnTo>
                  <a:pt x="440" y="508"/>
                </a:lnTo>
                <a:lnTo>
                  <a:pt x="440" y="508"/>
                </a:lnTo>
                <a:lnTo>
                  <a:pt x="440" y="508"/>
                </a:lnTo>
                <a:lnTo>
                  <a:pt x="444" y="506"/>
                </a:lnTo>
                <a:lnTo>
                  <a:pt x="444" y="504"/>
                </a:lnTo>
                <a:lnTo>
                  <a:pt x="444" y="496"/>
                </a:lnTo>
                <a:lnTo>
                  <a:pt x="442" y="490"/>
                </a:lnTo>
                <a:lnTo>
                  <a:pt x="444" y="490"/>
                </a:lnTo>
                <a:lnTo>
                  <a:pt x="448" y="492"/>
                </a:lnTo>
                <a:lnTo>
                  <a:pt x="448" y="492"/>
                </a:lnTo>
                <a:lnTo>
                  <a:pt x="452" y="494"/>
                </a:lnTo>
                <a:lnTo>
                  <a:pt x="458" y="492"/>
                </a:lnTo>
                <a:lnTo>
                  <a:pt x="460" y="488"/>
                </a:lnTo>
                <a:lnTo>
                  <a:pt x="462" y="484"/>
                </a:lnTo>
                <a:lnTo>
                  <a:pt x="462" y="484"/>
                </a:lnTo>
                <a:lnTo>
                  <a:pt x="462" y="480"/>
                </a:lnTo>
                <a:lnTo>
                  <a:pt x="466" y="482"/>
                </a:lnTo>
                <a:lnTo>
                  <a:pt x="470" y="482"/>
                </a:lnTo>
                <a:lnTo>
                  <a:pt x="474" y="480"/>
                </a:lnTo>
                <a:lnTo>
                  <a:pt x="474" y="480"/>
                </a:lnTo>
                <a:lnTo>
                  <a:pt x="474" y="478"/>
                </a:lnTo>
                <a:lnTo>
                  <a:pt x="470" y="476"/>
                </a:lnTo>
                <a:lnTo>
                  <a:pt x="470" y="476"/>
                </a:lnTo>
                <a:lnTo>
                  <a:pt x="468" y="474"/>
                </a:lnTo>
                <a:lnTo>
                  <a:pt x="468" y="472"/>
                </a:lnTo>
                <a:lnTo>
                  <a:pt x="472" y="470"/>
                </a:lnTo>
                <a:lnTo>
                  <a:pt x="472" y="468"/>
                </a:lnTo>
                <a:lnTo>
                  <a:pt x="472" y="466"/>
                </a:lnTo>
                <a:lnTo>
                  <a:pt x="470" y="462"/>
                </a:lnTo>
                <a:lnTo>
                  <a:pt x="462" y="458"/>
                </a:lnTo>
                <a:lnTo>
                  <a:pt x="462" y="458"/>
                </a:lnTo>
                <a:lnTo>
                  <a:pt x="454" y="452"/>
                </a:lnTo>
                <a:lnTo>
                  <a:pt x="448" y="452"/>
                </a:lnTo>
                <a:lnTo>
                  <a:pt x="446" y="452"/>
                </a:lnTo>
                <a:lnTo>
                  <a:pt x="442" y="448"/>
                </a:lnTo>
                <a:lnTo>
                  <a:pt x="442" y="448"/>
                </a:lnTo>
                <a:lnTo>
                  <a:pt x="440" y="448"/>
                </a:lnTo>
                <a:lnTo>
                  <a:pt x="438" y="448"/>
                </a:lnTo>
                <a:lnTo>
                  <a:pt x="434" y="450"/>
                </a:lnTo>
                <a:lnTo>
                  <a:pt x="432" y="450"/>
                </a:lnTo>
                <a:lnTo>
                  <a:pt x="430" y="450"/>
                </a:lnTo>
                <a:lnTo>
                  <a:pt x="428" y="448"/>
                </a:lnTo>
                <a:lnTo>
                  <a:pt x="426" y="444"/>
                </a:lnTo>
                <a:lnTo>
                  <a:pt x="426" y="444"/>
                </a:lnTo>
                <a:lnTo>
                  <a:pt x="426" y="440"/>
                </a:lnTo>
                <a:lnTo>
                  <a:pt x="424" y="440"/>
                </a:lnTo>
                <a:lnTo>
                  <a:pt x="418" y="438"/>
                </a:lnTo>
                <a:lnTo>
                  <a:pt x="418" y="436"/>
                </a:lnTo>
                <a:lnTo>
                  <a:pt x="416" y="434"/>
                </a:lnTo>
                <a:lnTo>
                  <a:pt x="420" y="426"/>
                </a:lnTo>
                <a:lnTo>
                  <a:pt x="420" y="426"/>
                </a:lnTo>
                <a:lnTo>
                  <a:pt x="424" y="416"/>
                </a:lnTo>
                <a:lnTo>
                  <a:pt x="424" y="414"/>
                </a:lnTo>
                <a:lnTo>
                  <a:pt x="422" y="410"/>
                </a:lnTo>
                <a:lnTo>
                  <a:pt x="422" y="406"/>
                </a:lnTo>
                <a:lnTo>
                  <a:pt x="422" y="406"/>
                </a:lnTo>
                <a:lnTo>
                  <a:pt x="424" y="400"/>
                </a:lnTo>
                <a:lnTo>
                  <a:pt x="426" y="394"/>
                </a:lnTo>
                <a:lnTo>
                  <a:pt x="428" y="392"/>
                </a:lnTo>
                <a:lnTo>
                  <a:pt x="430" y="396"/>
                </a:lnTo>
                <a:lnTo>
                  <a:pt x="430" y="396"/>
                </a:lnTo>
                <a:lnTo>
                  <a:pt x="436" y="406"/>
                </a:lnTo>
                <a:lnTo>
                  <a:pt x="440" y="410"/>
                </a:lnTo>
                <a:lnTo>
                  <a:pt x="446" y="408"/>
                </a:lnTo>
                <a:lnTo>
                  <a:pt x="446" y="408"/>
                </a:lnTo>
                <a:lnTo>
                  <a:pt x="448" y="406"/>
                </a:lnTo>
                <a:lnTo>
                  <a:pt x="448" y="402"/>
                </a:lnTo>
                <a:lnTo>
                  <a:pt x="444" y="398"/>
                </a:lnTo>
                <a:lnTo>
                  <a:pt x="438" y="392"/>
                </a:lnTo>
                <a:lnTo>
                  <a:pt x="438" y="392"/>
                </a:lnTo>
                <a:lnTo>
                  <a:pt x="442" y="392"/>
                </a:lnTo>
                <a:lnTo>
                  <a:pt x="446" y="394"/>
                </a:lnTo>
                <a:lnTo>
                  <a:pt x="448" y="394"/>
                </a:lnTo>
                <a:lnTo>
                  <a:pt x="450" y="390"/>
                </a:lnTo>
                <a:lnTo>
                  <a:pt x="450" y="390"/>
                </a:lnTo>
                <a:lnTo>
                  <a:pt x="454" y="386"/>
                </a:lnTo>
                <a:lnTo>
                  <a:pt x="458" y="382"/>
                </a:lnTo>
                <a:lnTo>
                  <a:pt x="462" y="378"/>
                </a:lnTo>
                <a:lnTo>
                  <a:pt x="462" y="374"/>
                </a:lnTo>
                <a:lnTo>
                  <a:pt x="462" y="374"/>
                </a:lnTo>
                <a:lnTo>
                  <a:pt x="462" y="370"/>
                </a:lnTo>
                <a:lnTo>
                  <a:pt x="466" y="368"/>
                </a:lnTo>
                <a:lnTo>
                  <a:pt x="470" y="370"/>
                </a:lnTo>
                <a:lnTo>
                  <a:pt x="472" y="372"/>
                </a:lnTo>
                <a:lnTo>
                  <a:pt x="472" y="372"/>
                </a:lnTo>
                <a:lnTo>
                  <a:pt x="476" y="376"/>
                </a:lnTo>
                <a:lnTo>
                  <a:pt x="478" y="376"/>
                </a:lnTo>
                <a:lnTo>
                  <a:pt x="484" y="374"/>
                </a:lnTo>
                <a:lnTo>
                  <a:pt x="488" y="370"/>
                </a:lnTo>
                <a:lnTo>
                  <a:pt x="492" y="370"/>
                </a:lnTo>
                <a:lnTo>
                  <a:pt x="494" y="372"/>
                </a:lnTo>
                <a:lnTo>
                  <a:pt x="494" y="372"/>
                </a:lnTo>
                <a:lnTo>
                  <a:pt x="500" y="374"/>
                </a:lnTo>
                <a:lnTo>
                  <a:pt x="502" y="374"/>
                </a:lnTo>
                <a:lnTo>
                  <a:pt x="508" y="372"/>
                </a:lnTo>
                <a:lnTo>
                  <a:pt x="510" y="372"/>
                </a:lnTo>
                <a:lnTo>
                  <a:pt x="514" y="372"/>
                </a:lnTo>
                <a:lnTo>
                  <a:pt x="520" y="376"/>
                </a:lnTo>
                <a:lnTo>
                  <a:pt x="528" y="382"/>
                </a:lnTo>
                <a:lnTo>
                  <a:pt x="528" y="382"/>
                </a:lnTo>
                <a:lnTo>
                  <a:pt x="530" y="384"/>
                </a:lnTo>
                <a:lnTo>
                  <a:pt x="532" y="384"/>
                </a:lnTo>
                <a:lnTo>
                  <a:pt x="534" y="380"/>
                </a:lnTo>
                <a:lnTo>
                  <a:pt x="534" y="378"/>
                </a:lnTo>
                <a:lnTo>
                  <a:pt x="536" y="378"/>
                </a:lnTo>
                <a:lnTo>
                  <a:pt x="542" y="380"/>
                </a:lnTo>
                <a:lnTo>
                  <a:pt x="550" y="384"/>
                </a:lnTo>
                <a:lnTo>
                  <a:pt x="550" y="384"/>
                </a:lnTo>
                <a:lnTo>
                  <a:pt x="558" y="388"/>
                </a:lnTo>
                <a:lnTo>
                  <a:pt x="562" y="390"/>
                </a:lnTo>
                <a:lnTo>
                  <a:pt x="564" y="386"/>
                </a:lnTo>
                <a:lnTo>
                  <a:pt x="564" y="382"/>
                </a:lnTo>
                <a:lnTo>
                  <a:pt x="564" y="382"/>
                </a:lnTo>
                <a:lnTo>
                  <a:pt x="566" y="380"/>
                </a:lnTo>
                <a:lnTo>
                  <a:pt x="568" y="382"/>
                </a:lnTo>
                <a:lnTo>
                  <a:pt x="572" y="382"/>
                </a:lnTo>
                <a:lnTo>
                  <a:pt x="578" y="382"/>
                </a:lnTo>
                <a:lnTo>
                  <a:pt x="578" y="382"/>
                </a:lnTo>
                <a:lnTo>
                  <a:pt x="584" y="380"/>
                </a:lnTo>
                <a:lnTo>
                  <a:pt x="586" y="384"/>
                </a:lnTo>
                <a:lnTo>
                  <a:pt x="588" y="386"/>
                </a:lnTo>
                <a:lnTo>
                  <a:pt x="594" y="384"/>
                </a:lnTo>
                <a:lnTo>
                  <a:pt x="594" y="384"/>
                </a:lnTo>
                <a:lnTo>
                  <a:pt x="610" y="380"/>
                </a:lnTo>
                <a:lnTo>
                  <a:pt x="616" y="378"/>
                </a:lnTo>
                <a:lnTo>
                  <a:pt x="618" y="380"/>
                </a:lnTo>
                <a:lnTo>
                  <a:pt x="618" y="382"/>
                </a:lnTo>
                <a:lnTo>
                  <a:pt x="618" y="382"/>
                </a:lnTo>
                <a:lnTo>
                  <a:pt x="614" y="386"/>
                </a:lnTo>
                <a:lnTo>
                  <a:pt x="614" y="390"/>
                </a:lnTo>
                <a:lnTo>
                  <a:pt x="616" y="392"/>
                </a:lnTo>
                <a:lnTo>
                  <a:pt x="620" y="392"/>
                </a:lnTo>
                <a:lnTo>
                  <a:pt x="626" y="390"/>
                </a:lnTo>
                <a:lnTo>
                  <a:pt x="630" y="388"/>
                </a:lnTo>
                <a:lnTo>
                  <a:pt x="632" y="384"/>
                </a:lnTo>
                <a:lnTo>
                  <a:pt x="632" y="384"/>
                </a:lnTo>
                <a:lnTo>
                  <a:pt x="646" y="390"/>
                </a:lnTo>
                <a:lnTo>
                  <a:pt x="656" y="392"/>
                </a:lnTo>
                <a:lnTo>
                  <a:pt x="662" y="392"/>
                </a:lnTo>
                <a:lnTo>
                  <a:pt x="666" y="390"/>
                </a:lnTo>
                <a:lnTo>
                  <a:pt x="668" y="388"/>
                </a:lnTo>
                <a:lnTo>
                  <a:pt x="668" y="382"/>
                </a:lnTo>
                <a:lnTo>
                  <a:pt x="668" y="382"/>
                </a:lnTo>
                <a:lnTo>
                  <a:pt x="668" y="378"/>
                </a:lnTo>
                <a:lnTo>
                  <a:pt x="666" y="376"/>
                </a:lnTo>
                <a:lnTo>
                  <a:pt x="662" y="374"/>
                </a:lnTo>
                <a:lnTo>
                  <a:pt x="658" y="374"/>
                </a:lnTo>
                <a:lnTo>
                  <a:pt x="646" y="374"/>
                </a:lnTo>
                <a:lnTo>
                  <a:pt x="630" y="370"/>
                </a:lnTo>
                <a:lnTo>
                  <a:pt x="630" y="370"/>
                </a:lnTo>
                <a:lnTo>
                  <a:pt x="624" y="368"/>
                </a:lnTo>
                <a:lnTo>
                  <a:pt x="624" y="368"/>
                </a:lnTo>
                <a:lnTo>
                  <a:pt x="624" y="366"/>
                </a:lnTo>
                <a:lnTo>
                  <a:pt x="634" y="360"/>
                </a:lnTo>
                <a:lnTo>
                  <a:pt x="644" y="356"/>
                </a:lnTo>
                <a:lnTo>
                  <a:pt x="644" y="356"/>
                </a:lnTo>
                <a:lnTo>
                  <a:pt x="644" y="354"/>
                </a:lnTo>
                <a:lnTo>
                  <a:pt x="638" y="354"/>
                </a:lnTo>
                <a:lnTo>
                  <a:pt x="638" y="354"/>
                </a:lnTo>
                <a:lnTo>
                  <a:pt x="630" y="352"/>
                </a:lnTo>
                <a:lnTo>
                  <a:pt x="630" y="350"/>
                </a:lnTo>
                <a:lnTo>
                  <a:pt x="630" y="350"/>
                </a:lnTo>
                <a:lnTo>
                  <a:pt x="632" y="348"/>
                </a:lnTo>
                <a:lnTo>
                  <a:pt x="628" y="346"/>
                </a:lnTo>
                <a:lnTo>
                  <a:pt x="628" y="346"/>
                </a:lnTo>
                <a:lnTo>
                  <a:pt x="624" y="344"/>
                </a:lnTo>
                <a:lnTo>
                  <a:pt x="624" y="342"/>
                </a:lnTo>
                <a:lnTo>
                  <a:pt x="630" y="336"/>
                </a:lnTo>
                <a:lnTo>
                  <a:pt x="630" y="336"/>
                </a:lnTo>
                <a:lnTo>
                  <a:pt x="634" y="334"/>
                </a:lnTo>
                <a:lnTo>
                  <a:pt x="642" y="332"/>
                </a:lnTo>
                <a:lnTo>
                  <a:pt x="662" y="330"/>
                </a:lnTo>
                <a:lnTo>
                  <a:pt x="662" y="330"/>
                </a:lnTo>
                <a:lnTo>
                  <a:pt x="682" y="330"/>
                </a:lnTo>
                <a:lnTo>
                  <a:pt x="698" y="330"/>
                </a:lnTo>
                <a:lnTo>
                  <a:pt x="704" y="328"/>
                </a:lnTo>
                <a:lnTo>
                  <a:pt x="706" y="326"/>
                </a:lnTo>
                <a:lnTo>
                  <a:pt x="706" y="326"/>
                </a:lnTo>
                <a:lnTo>
                  <a:pt x="710" y="324"/>
                </a:lnTo>
                <a:lnTo>
                  <a:pt x="718" y="324"/>
                </a:lnTo>
                <a:lnTo>
                  <a:pt x="744" y="322"/>
                </a:lnTo>
                <a:lnTo>
                  <a:pt x="744" y="322"/>
                </a:lnTo>
                <a:lnTo>
                  <a:pt x="750" y="320"/>
                </a:lnTo>
                <a:lnTo>
                  <a:pt x="754" y="318"/>
                </a:lnTo>
                <a:lnTo>
                  <a:pt x="758" y="314"/>
                </a:lnTo>
                <a:lnTo>
                  <a:pt x="764" y="310"/>
                </a:lnTo>
                <a:lnTo>
                  <a:pt x="766" y="310"/>
                </a:lnTo>
                <a:lnTo>
                  <a:pt x="772" y="310"/>
                </a:lnTo>
                <a:lnTo>
                  <a:pt x="772" y="310"/>
                </a:lnTo>
                <a:lnTo>
                  <a:pt x="780" y="310"/>
                </a:lnTo>
                <a:lnTo>
                  <a:pt x="786" y="308"/>
                </a:lnTo>
                <a:lnTo>
                  <a:pt x="790" y="308"/>
                </a:lnTo>
                <a:lnTo>
                  <a:pt x="790" y="312"/>
                </a:lnTo>
                <a:lnTo>
                  <a:pt x="790" y="312"/>
                </a:lnTo>
                <a:lnTo>
                  <a:pt x="792" y="318"/>
                </a:lnTo>
                <a:lnTo>
                  <a:pt x="794" y="320"/>
                </a:lnTo>
                <a:lnTo>
                  <a:pt x="796" y="320"/>
                </a:lnTo>
                <a:lnTo>
                  <a:pt x="794" y="324"/>
                </a:lnTo>
                <a:lnTo>
                  <a:pt x="794" y="324"/>
                </a:lnTo>
                <a:lnTo>
                  <a:pt x="794" y="324"/>
                </a:lnTo>
                <a:lnTo>
                  <a:pt x="794" y="326"/>
                </a:lnTo>
                <a:lnTo>
                  <a:pt x="798" y="330"/>
                </a:lnTo>
                <a:lnTo>
                  <a:pt x="804" y="330"/>
                </a:lnTo>
                <a:lnTo>
                  <a:pt x="808" y="330"/>
                </a:lnTo>
                <a:lnTo>
                  <a:pt x="808" y="330"/>
                </a:lnTo>
                <a:lnTo>
                  <a:pt x="810" y="328"/>
                </a:lnTo>
                <a:lnTo>
                  <a:pt x="812" y="328"/>
                </a:lnTo>
                <a:lnTo>
                  <a:pt x="814" y="330"/>
                </a:lnTo>
                <a:lnTo>
                  <a:pt x="818" y="332"/>
                </a:lnTo>
                <a:lnTo>
                  <a:pt x="820" y="332"/>
                </a:lnTo>
                <a:lnTo>
                  <a:pt x="822" y="330"/>
                </a:lnTo>
                <a:lnTo>
                  <a:pt x="822" y="330"/>
                </a:lnTo>
                <a:lnTo>
                  <a:pt x="824" y="328"/>
                </a:lnTo>
                <a:lnTo>
                  <a:pt x="828" y="330"/>
                </a:lnTo>
                <a:lnTo>
                  <a:pt x="832" y="330"/>
                </a:lnTo>
                <a:lnTo>
                  <a:pt x="838" y="330"/>
                </a:lnTo>
                <a:lnTo>
                  <a:pt x="838" y="330"/>
                </a:lnTo>
                <a:lnTo>
                  <a:pt x="836" y="340"/>
                </a:lnTo>
                <a:lnTo>
                  <a:pt x="838" y="342"/>
                </a:lnTo>
                <a:lnTo>
                  <a:pt x="838" y="342"/>
                </a:lnTo>
                <a:lnTo>
                  <a:pt x="844" y="340"/>
                </a:lnTo>
                <a:lnTo>
                  <a:pt x="848" y="340"/>
                </a:lnTo>
                <a:lnTo>
                  <a:pt x="854" y="340"/>
                </a:lnTo>
                <a:lnTo>
                  <a:pt x="854" y="340"/>
                </a:lnTo>
                <a:lnTo>
                  <a:pt x="860" y="340"/>
                </a:lnTo>
                <a:lnTo>
                  <a:pt x="860" y="338"/>
                </a:lnTo>
                <a:lnTo>
                  <a:pt x="858" y="334"/>
                </a:lnTo>
                <a:lnTo>
                  <a:pt x="858" y="334"/>
                </a:lnTo>
                <a:lnTo>
                  <a:pt x="860" y="332"/>
                </a:lnTo>
                <a:lnTo>
                  <a:pt x="860" y="332"/>
                </a:lnTo>
                <a:lnTo>
                  <a:pt x="866" y="332"/>
                </a:lnTo>
                <a:lnTo>
                  <a:pt x="868" y="330"/>
                </a:lnTo>
                <a:lnTo>
                  <a:pt x="872" y="328"/>
                </a:lnTo>
                <a:lnTo>
                  <a:pt x="876" y="328"/>
                </a:lnTo>
                <a:lnTo>
                  <a:pt x="876" y="328"/>
                </a:lnTo>
                <a:lnTo>
                  <a:pt x="886" y="328"/>
                </a:lnTo>
                <a:lnTo>
                  <a:pt x="886" y="330"/>
                </a:lnTo>
                <a:lnTo>
                  <a:pt x="878" y="334"/>
                </a:lnTo>
                <a:lnTo>
                  <a:pt x="878" y="334"/>
                </a:lnTo>
                <a:lnTo>
                  <a:pt x="902" y="342"/>
                </a:lnTo>
                <a:lnTo>
                  <a:pt x="922" y="350"/>
                </a:lnTo>
                <a:lnTo>
                  <a:pt x="936" y="358"/>
                </a:lnTo>
                <a:lnTo>
                  <a:pt x="948" y="364"/>
                </a:lnTo>
                <a:lnTo>
                  <a:pt x="964" y="380"/>
                </a:lnTo>
                <a:lnTo>
                  <a:pt x="978" y="392"/>
                </a:lnTo>
                <a:lnTo>
                  <a:pt x="978" y="392"/>
                </a:lnTo>
                <a:lnTo>
                  <a:pt x="984" y="396"/>
                </a:lnTo>
                <a:lnTo>
                  <a:pt x="988" y="396"/>
                </a:lnTo>
                <a:lnTo>
                  <a:pt x="990" y="394"/>
                </a:lnTo>
                <a:lnTo>
                  <a:pt x="992" y="390"/>
                </a:lnTo>
                <a:lnTo>
                  <a:pt x="994" y="386"/>
                </a:lnTo>
                <a:lnTo>
                  <a:pt x="996" y="386"/>
                </a:lnTo>
                <a:lnTo>
                  <a:pt x="1000" y="392"/>
                </a:lnTo>
                <a:lnTo>
                  <a:pt x="1000" y="392"/>
                </a:lnTo>
                <a:lnTo>
                  <a:pt x="1004" y="396"/>
                </a:lnTo>
                <a:lnTo>
                  <a:pt x="1008" y="398"/>
                </a:lnTo>
                <a:lnTo>
                  <a:pt x="1014" y="396"/>
                </a:lnTo>
                <a:lnTo>
                  <a:pt x="1022" y="396"/>
                </a:lnTo>
                <a:lnTo>
                  <a:pt x="1034" y="392"/>
                </a:lnTo>
                <a:lnTo>
                  <a:pt x="1040" y="392"/>
                </a:lnTo>
                <a:lnTo>
                  <a:pt x="1044" y="396"/>
                </a:lnTo>
                <a:lnTo>
                  <a:pt x="1044" y="396"/>
                </a:lnTo>
                <a:lnTo>
                  <a:pt x="1048" y="402"/>
                </a:lnTo>
                <a:lnTo>
                  <a:pt x="1052" y="402"/>
                </a:lnTo>
                <a:lnTo>
                  <a:pt x="1056" y="404"/>
                </a:lnTo>
                <a:lnTo>
                  <a:pt x="1062" y="410"/>
                </a:lnTo>
                <a:lnTo>
                  <a:pt x="1062" y="410"/>
                </a:lnTo>
                <a:lnTo>
                  <a:pt x="1064" y="412"/>
                </a:lnTo>
                <a:lnTo>
                  <a:pt x="1066" y="414"/>
                </a:lnTo>
                <a:lnTo>
                  <a:pt x="1070" y="412"/>
                </a:lnTo>
                <a:lnTo>
                  <a:pt x="1074" y="412"/>
                </a:lnTo>
                <a:lnTo>
                  <a:pt x="1076" y="412"/>
                </a:lnTo>
                <a:lnTo>
                  <a:pt x="1080" y="416"/>
                </a:lnTo>
                <a:lnTo>
                  <a:pt x="1080" y="416"/>
                </a:lnTo>
                <a:lnTo>
                  <a:pt x="1084" y="418"/>
                </a:lnTo>
                <a:lnTo>
                  <a:pt x="1088" y="418"/>
                </a:lnTo>
                <a:lnTo>
                  <a:pt x="1092" y="418"/>
                </a:lnTo>
                <a:lnTo>
                  <a:pt x="1094" y="416"/>
                </a:lnTo>
                <a:lnTo>
                  <a:pt x="1094" y="416"/>
                </a:lnTo>
                <a:lnTo>
                  <a:pt x="1096" y="414"/>
                </a:lnTo>
                <a:lnTo>
                  <a:pt x="1098" y="412"/>
                </a:lnTo>
                <a:lnTo>
                  <a:pt x="1106" y="412"/>
                </a:lnTo>
                <a:lnTo>
                  <a:pt x="1106" y="412"/>
                </a:lnTo>
                <a:lnTo>
                  <a:pt x="1110" y="412"/>
                </a:lnTo>
                <a:lnTo>
                  <a:pt x="1112" y="412"/>
                </a:lnTo>
                <a:lnTo>
                  <a:pt x="1116" y="410"/>
                </a:lnTo>
                <a:lnTo>
                  <a:pt x="1124" y="410"/>
                </a:lnTo>
                <a:lnTo>
                  <a:pt x="1124" y="410"/>
                </a:lnTo>
                <a:lnTo>
                  <a:pt x="1130" y="412"/>
                </a:lnTo>
                <a:lnTo>
                  <a:pt x="1134" y="416"/>
                </a:lnTo>
                <a:lnTo>
                  <a:pt x="1138" y="420"/>
                </a:lnTo>
                <a:lnTo>
                  <a:pt x="1142" y="422"/>
                </a:lnTo>
                <a:lnTo>
                  <a:pt x="1142" y="422"/>
                </a:lnTo>
                <a:lnTo>
                  <a:pt x="1144" y="422"/>
                </a:lnTo>
                <a:lnTo>
                  <a:pt x="1144" y="424"/>
                </a:lnTo>
                <a:lnTo>
                  <a:pt x="1146" y="426"/>
                </a:lnTo>
                <a:lnTo>
                  <a:pt x="1154" y="426"/>
                </a:lnTo>
                <a:lnTo>
                  <a:pt x="1154" y="426"/>
                </a:lnTo>
                <a:lnTo>
                  <a:pt x="1158" y="426"/>
                </a:lnTo>
                <a:lnTo>
                  <a:pt x="1160" y="426"/>
                </a:lnTo>
                <a:lnTo>
                  <a:pt x="1160" y="426"/>
                </a:lnTo>
                <a:lnTo>
                  <a:pt x="1162" y="424"/>
                </a:lnTo>
                <a:lnTo>
                  <a:pt x="1162" y="420"/>
                </a:lnTo>
                <a:lnTo>
                  <a:pt x="1164" y="418"/>
                </a:lnTo>
                <a:lnTo>
                  <a:pt x="1168" y="416"/>
                </a:lnTo>
                <a:lnTo>
                  <a:pt x="1168" y="416"/>
                </a:lnTo>
                <a:lnTo>
                  <a:pt x="1172" y="414"/>
                </a:lnTo>
                <a:lnTo>
                  <a:pt x="1176" y="410"/>
                </a:lnTo>
                <a:lnTo>
                  <a:pt x="1178" y="408"/>
                </a:lnTo>
                <a:lnTo>
                  <a:pt x="1182" y="410"/>
                </a:lnTo>
                <a:lnTo>
                  <a:pt x="1182" y="410"/>
                </a:lnTo>
                <a:lnTo>
                  <a:pt x="1184" y="410"/>
                </a:lnTo>
                <a:lnTo>
                  <a:pt x="1184" y="410"/>
                </a:lnTo>
                <a:lnTo>
                  <a:pt x="1184" y="406"/>
                </a:lnTo>
                <a:lnTo>
                  <a:pt x="1186" y="402"/>
                </a:lnTo>
                <a:lnTo>
                  <a:pt x="1186" y="402"/>
                </a:lnTo>
                <a:lnTo>
                  <a:pt x="1188" y="402"/>
                </a:lnTo>
                <a:lnTo>
                  <a:pt x="1188" y="402"/>
                </a:lnTo>
                <a:lnTo>
                  <a:pt x="1192" y="402"/>
                </a:lnTo>
                <a:lnTo>
                  <a:pt x="1196" y="400"/>
                </a:lnTo>
                <a:lnTo>
                  <a:pt x="1200" y="398"/>
                </a:lnTo>
                <a:lnTo>
                  <a:pt x="1204" y="398"/>
                </a:lnTo>
                <a:lnTo>
                  <a:pt x="1204" y="398"/>
                </a:lnTo>
                <a:lnTo>
                  <a:pt x="1206" y="398"/>
                </a:lnTo>
                <a:lnTo>
                  <a:pt x="1210" y="394"/>
                </a:lnTo>
                <a:lnTo>
                  <a:pt x="1214" y="392"/>
                </a:lnTo>
                <a:lnTo>
                  <a:pt x="1216" y="390"/>
                </a:lnTo>
                <a:lnTo>
                  <a:pt x="1218" y="392"/>
                </a:lnTo>
                <a:lnTo>
                  <a:pt x="1218" y="392"/>
                </a:lnTo>
                <a:lnTo>
                  <a:pt x="1220" y="392"/>
                </a:lnTo>
                <a:lnTo>
                  <a:pt x="1222" y="392"/>
                </a:lnTo>
                <a:lnTo>
                  <a:pt x="1226" y="390"/>
                </a:lnTo>
                <a:lnTo>
                  <a:pt x="1230" y="388"/>
                </a:lnTo>
                <a:lnTo>
                  <a:pt x="1234" y="388"/>
                </a:lnTo>
                <a:lnTo>
                  <a:pt x="1236" y="388"/>
                </a:lnTo>
                <a:lnTo>
                  <a:pt x="1236" y="388"/>
                </a:lnTo>
                <a:lnTo>
                  <a:pt x="1238" y="392"/>
                </a:lnTo>
                <a:lnTo>
                  <a:pt x="1240" y="392"/>
                </a:lnTo>
                <a:lnTo>
                  <a:pt x="1246" y="392"/>
                </a:lnTo>
                <a:lnTo>
                  <a:pt x="1250" y="392"/>
                </a:lnTo>
                <a:lnTo>
                  <a:pt x="1254" y="394"/>
                </a:lnTo>
                <a:lnTo>
                  <a:pt x="1256" y="398"/>
                </a:lnTo>
                <a:lnTo>
                  <a:pt x="1256" y="398"/>
                </a:lnTo>
                <a:lnTo>
                  <a:pt x="1262" y="404"/>
                </a:lnTo>
                <a:lnTo>
                  <a:pt x="1264" y="404"/>
                </a:lnTo>
                <a:lnTo>
                  <a:pt x="1268" y="404"/>
                </a:lnTo>
                <a:lnTo>
                  <a:pt x="1272" y="404"/>
                </a:lnTo>
                <a:lnTo>
                  <a:pt x="1272" y="404"/>
                </a:lnTo>
                <a:lnTo>
                  <a:pt x="1276" y="406"/>
                </a:lnTo>
                <a:lnTo>
                  <a:pt x="1280" y="408"/>
                </a:lnTo>
                <a:lnTo>
                  <a:pt x="1286" y="408"/>
                </a:lnTo>
                <a:lnTo>
                  <a:pt x="1296" y="410"/>
                </a:lnTo>
                <a:lnTo>
                  <a:pt x="1296" y="410"/>
                </a:lnTo>
                <a:lnTo>
                  <a:pt x="1308" y="410"/>
                </a:lnTo>
                <a:lnTo>
                  <a:pt x="1314" y="408"/>
                </a:lnTo>
                <a:lnTo>
                  <a:pt x="1318" y="408"/>
                </a:lnTo>
                <a:lnTo>
                  <a:pt x="1320" y="408"/>
                </a:lnTo>
                <a:lnTo>
                  <a:pt x="1320" y="408"/>
                </a:lnTo>
                <a:lnTo>
                  <a:pt x="1324" y="408"/>
                </a:lnTo>
                <a:lnTo>
                  <a:pt x="1326" y="404"/>
                </a:lnTo>
                <a:lnTo>
                  <a:pt x="1328" y="402"/>
                </a:lnTo>
                <a:lnTo>
                  <a:pt x="1328" y="400"/>
                </a:lnTo>
                <a:lnTo>
                  <a:pt x="1326" y="398"/>
                </a:lnTo>
                <a:lnTo>
                  <a:pt x="1322" y="394"/>
                </a:lnTo>
                <a:lnTo>
                  <a:pt x="1322" y="394"/>
                </a:lnTo>
                <a:lnTo>
                  <a:pt x="1310" y="388"/>
                </a:lnTo>
                <a:lnTo>
                  <a:pt x="1308" y="386"/>
                </a:lnTo>
                <a:lnTo>
                  <a:pt x="1308" y="386"/>
                </a:lnTo>
                <a:lnTo>
                  <a:pt x="1312" y="384"/>
                </a:lnTo>
                <a:lnTo>
                  <a:pt x="1316" y="378"/>
                </a:lnTo>
                <a:lnTo>
                  <a:pt x="1316" y="378"/>
                </a:lnTo>
                <a:lnTo>
                  <a:pt x="1316" y="372"/>
                </a:lnTo>
                <a:lnTo>
                  <a:pt x="1314" y="368"/>
                </a:lnTo>
                <a:lnTo>
                  <a:pt x="1312" y="364"/>
                </a:lnTo>
                <a:lnTo>
                  <a:pt x="1312" y="360"/>
                </a:lnTo>
                <a:lnTo>
                  <a:pt x="1314" y="358"/>
                </a:lnTo>
                <a:lnTo>
                  <a:pt x="1314" y="358"/>
                </a:lnTo>
                <a:lnTo>
                  <a:pt x="1326" y="362"/>
                </a:lnTo>
                <a:lnTo>
                  <a:pt x="1336" y="364"/>
                </a:lnTo>
                <a:lnTo>
                  <a:pt x="1352" y="368"/>
                </a:lnTo>
                <a:lnTo>
                  <a:pt x="1352" y="368"/>
                </a:lnTo>
                <a:lnTo>
                  <a:pt x="1362" y="372"/>
                </a:lnTo>
                <a:lnTo>
                  <a:pt x="1368" y="376"/>
                </a:lnTo>
                <a:lnTo>
                  <a:pt x="1378" y="390"/>
                </a:lnTo>
                <a:lnTo>
                  <a:pt x="1382" y="396"/>
                </a:lnTo>
                <a:lnTo>
                  <a:pt x="1388" y="402"/>
                </a:lnTo>
                <a:lnTo>
                  <a:pt x="1398" y="404"/>
                </a:lnTo>
                <a:lnTo>
                  <a:pt x="1410" y="404"/>
                </a:lnTo>
                <a:lnTo>
                  <a:pt x="1410" y="404"/>
                </a:lnTo>
                <a:lnTo>
                  <a:pt x="1434" y="400"/>
                </a:lnTo>
                <a:lnTo>
                  <a:pt x="1442" y="402"/>
                </a:lnTo>
                <a:lnTo>
                  <a:pt x="1446" y="402"/>
                </a:lnTo>
                <a:lnTo>
                  <a:pt x="1454" y="402"/>
                </a:lnTo>
                <a:lnTo>
                  <a:pt x="1454" y="402"/>
                </a:lnTo>
                <a:lnTo>
                  <a:pt x="1466" y="402"/>
                </a:lnTo>
                <a:lnTo>
                  <a:pt x="1472" y="404"/>
                </a:lnTo>
                <a:lnTo>
                  <a:pt x="1474" y="408"/>
                </a:lnTo>
                <a:lnTo>
                  <a:pt x="1478" y="410"/>
                </a:lnTo>
                <a:lnTo>
                  <a:pt x="1480" y="414"/>
                </a:lnTo>
                <a:lnTo>
                  <a:pt x="1486" y="416"/>
                </a:lnTo>
                <a:lnTo>
                  <a:pt x="1494" y="416"/>
                </a:lnTo>
                <a:lnTo>
                  <a:pt x="1506" y="414"/>
                </a:lnTo>
                <a:lnTo>
                  <a:pt x="1506" y="414"/>
                </a:lnTo>
                <a:lnTo>
                  <a:pt x="1524" y="414"/>
                </a:lnTo>
                <a:lnTo>
                  <a:pt x="1540" y="414"/>
                </a:lnTo>
                <a:lnTo>
                  <a:pt x="1554" y="414"/>
                </a:lnTo>
                <a:lnTo>
                  <a:pt x="1572" y="410"/>
                </a:lnTo>
                <a:lnTo>
                  <a:pt x="1572" y="410"/>
                </a:lnTo>
                <a:lnTo>
                  <a:pt x="1588" y="404"/>
                </a:lnTo>
                <a:lnTo>
                  <a:pt x="1600" y="402"/>
                </a:lnTo>
                <a:lnTo>
                  <a:pt x="1614" y="402"/>
                </a:lnTo>
                <a:lnTo>
                  <a:pt x="1632" y="406"/>
                </a:lnTo>
                <a:lnTo>
                  <a:pt x="1632" y="406"/>
                </a:lnTo>
                <a:lnTo>
                  <a:pt x="1656" y="412"/>
                </a:lnTo>
                <a:lnTo>
                  <a:pt x="1656" y="412"/>
                </a:lnTo>
                <a:lnTo>
                  <a:pt x="1672" y="414"/>
                </a:lnTo>
                <a:lnTo>
                  <a:pt x="1682" y="414"/>
                </a:lnTo>
                <a:lnTo>
                  <a:pt x="1690" y="410"/>
                </a:lnTo>
                <a:lnTo>
                  <a:pt x="1694" y="406"/>
                </a:lnTo>
                <a:lnTo>
                  <a:pt x="1696" y="398"/>
                </a:lnTo>
                <a:lnTo>
                  <a:pt x="1698" y="392"/>
                </a:lnTo>
                <a:lnTo>
                  <a:pt x="1700" y="380"/>
                </a:lnTo>
                <a:lnTo>
                  <a:pt x="1700" y="380"/>
                </a:lnTo>
                <a:lnTo>
                  <a:pt x="1704" y="370"/>
                </a:lnTo>
                <a:lnTo>
                  <a:pt x="1708" y="364"/>
                </a:lnTo>
                <a:lnTo>
                  <a:pt x="1708" y="360"/>
                </a:lnTo>
                <a:lnTo>
                  <a:pt x="1708" y="358"/>
                </a:lnTo>
                <a:lnTo>
                  <a:pt x="1704" y="356"/>
                </a:lnTo>
                <a:lnTo>
                  <a:pt x="1696" y="356"/>
                </a:lnTo>
                <a:lnTo>
                  <a:pt x="1696" y="356"/>
                </a:lnTo>
                <a:lnTo>
                  <a:pt x="1686" y="356"/>
                </a:lnTo>
                <a:lnTo>
                  <a:pt x="1684" y="354"/>
                </a:lnTo>
                <a:lnTo>
                  <a:pt x="1682" y="352"/>
                </a:lnTo>
                <a:lnTo>
                  <a:pt x="1684" y="350"/>
                </a:lnTo>
                <a:lnTo>
                  <a:pt x="1686" y="348"/>
                </a:lnTo>
                <a:lnTo>
                  <a:pt x="1692" y="346"/>
                </a:lnTo>
                <a:lnTo>
                  <a:pt x="1700" y="346"/>
                </a:lnTo>
                <a:lnTo>
                  <a:pt x="1700" y="346"/>
                </a:lnTo>
                <a:lnTo>
                  <a:pt x="1710" y="344"/>
                </a:lnTo>
                <a:lnTo>
                  <a:pt x="1716" y="342"/>
                </a:lnTo>
                <a:lnTo>
                  <a:pt x="1724" y="338"/>
                </a:lnTo>
                <a:lnTo>
                  <a:pt x="1742" y="338"/>
                </a:lnTo>
                <a:lnTo>
                  <a:pt x="1742" y="338"/>
                </a:lnTo>
                <a:lnTo>
                  <a:pt x="1756" y="338"/>
                </a:lnTo>
                <a:lnTo>
                  <a:pt x="1768" y="340"/>
                </a:lnTo>
                <a:lnTo>
                  <a:pt x="1782" y="344"/>
                </a:lnTo>
                <a:lnTo>
                  <a:pt x="1794" y="348"/>
                </a:lnTo>
                <a:lnTo>
                  <a:pt x="1808" y="354"/>
                </a:lnTo>
                <a:lnTo>
                  <a:pt x="1820" y="362"/>
                </a:lnTo>
                <a:lnTo>
                  <a:pt x="1834" y="372"/>
                </a:lnTo>
                <a:lnTo>
                  <a:pt x="1848" y="384"/>
                </a:lnTo>
                <a:lnTo>
                  <a:pt x="1848" y="384"/>
                </a:lnTo>
                <a:lnTo>
                  <a:pt x="1862" y="394"/>
                </a:lnTo>
                <a:lnTo>
                  <a:pt x="1874" y="402"/>
                </a:lnTo>
                <a:lnTo>
                  <a:pt x="1884" y="408"/>
                </a:lnTo>
                <a:lnTo>
                  <a:pt x="1896" y="412"/>
                </a:lnTo>
                <a:lnTo>
                  <a:pt x="1916" y="418"/>
                </a:lnTo>
                <a:lnTo>
                  <a:pt x="1926" y="422"/>
                </a:lnTo>
                <a:lnTo>
                  <a:pt x="1936" y="428"/>
                </a:lnTo>
                <a:lnTo>
                  <a:pt x="1936" y="428"/>
                </a:lnTo>
                <a:lnTo>
                  <a:pt x="1948" y="434"/>
                </a:lnTo>
                <a:lnTo>
                  <a:pt x="1956" y="438"/>
                </a:lnTo>
                <a:lnTo>
                  <a:pt x="1964" y="440"/>
                </a:lnTo>
                <a:lnTo>
                  <a:pt x="1970" y="440"/>
                </a:lnTo>
                <a:lnTo>
                  <a:pt x="1976" y="440"/>
                </a:lnTo>
                <a:lnTo>
                  <a:pt x="1980" y="436"/>
                </a:lnTo>
                <a:lnTo>
                  <a:pt x="1992" y="430"/>
                </a:lnTo>
                <a:lnTo>
                  <a:pt x="1992" y="430"/>
                </a:lnTo>
                <a:lnTo>
                  <a:pt x="1998" y="426"/>
                </a:lnTo>
                <a:lnTo>
                  <a:pt x="2006" y="426"/>
                </a:lnTo>
                <a:lnTo>
                  <a:pt x="2012" y="428"/>
                </a:lnTo>
                <a:lnTo>
                  <a:pt x="2016" y="430"/>
                </a:lnTo>
                <a:lnTo>
                  <a:pt x="2022" y="434"/>
                </a:lnTo>
                <a:lnTo>
                  <a:pt x="2024" y="440"/>
                </a:lnTo>
                <a:lnTo>
                  <a:pt x="2024" y="444"/>
                </a:lnTo>
                <a:lnTo>
                  <a:pt x="2020" y="450"/>
                </a:lnTo>
                <a:lnTo>
                  <a:pt x="2020" y="450"/>
                </a:lnTo>
                <a:lnTo>
                  <a:pt x="2018" y="454"/>
                </a:lnTo>
                <a:lnTo>
                  <a:pt x="2020" y="458"/>
                </a:lnTo>
                <a:lnTo>
                  <a:pt x="2026" y="464"/>
                </a:lnTo>
                <a:lnTo>
                  <a:pt x="2030" y="466"/>
                </a:lnTo>
                <a:lnTo>
                  <a:pt x="2032" y="470"/>
                </a:lnTo>
                <a:lnTo>
                  <a:pt x="2030" y="474"/>
                </a:lnTo>
                <a:lnTo>
                  <a:pt x="2024" y="480"/>
                </a:lnTo>
                <a:lnTo>
                  <a:pt x="2024" y="480"/>
                </a:lnTo>
                <a:lnTo>
                  <a:pt x="2022" y="482"/>
                </a:lnTo>
                <a:lnTo>
                  <a:pt x="2020" y="484"/>
                </a:lnTo>
                <a:lnTo>
                  <a:pt x="2020" y="490"/>
                </a:lnTo>
                <a:lnTo>
                  <a:pt x="2020" y="492"/>
                </a:lnTo>
                <a:lnTo>
                  <a:pt x="2018" y="496"/>
                </a:lnTo>
                <a:lnTo>
                  <a:pt x="2012" y="500"/>
                </a:lnTo>
                <a:lnTo>
                  <a:pt x="2004" y="508"/>
                </a:lnTo>
                <a:lnTo>
                  <a:pt x="2004" y="508"/>
                </a:lnTo>
                <a:lnTo>
                  <a:pt x="2000" y="510"/>
                </a:lnTo>
                <a:lnTo>
                  <a:pt x="2000" y="512"/>
                </a:lnTo>
                <a:lnTo>
                  <a:pt x="2006" y="518"/>
                </a:lnTo>
                <a:lnTo>
                  <a:pt x="2016" y="524"/>
                </a:lnTo>
                <a:lnTo>
                  <a:pt x="2020" y="530"/>
                </a:lnTo>
                <a:lnTo>
                  <a:pt x="2022" y="536"/>
                </a:lnTo>
                <a:lnTo>
                  <a:pt x="2022" y="536"/>
                </a:lnTo>
                <a:lnTo>
                  <a:pt x="2024" y="546"/>
                </a:lnTo>
                <a:lnTo>
                  <a:pt x="2028" y="552"/>
                </a:lnTo>
                <a:lnTo>
                  <a:pt x="2032" y="556"/>
                </a:lnTo>
                <a:lnTo>
                  <a:pt x="2032" y="556"/>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59" name="Slovakia"/>
          <p:cNvSpPr>
            <a:spLocks/>
          </p:cNvSpPr>
          <p:nvPr/>
        </p:nvSpPr>
        <p:spPr bwMode="auto">
          <a:xfrm>
            <a:off x="4698680" y="1411852"/>
            <a:ext cx="102547" cy="45523"/>
          </a:xfrm>
          <a:custGeom>
            <a:avLst/>
            <a:gdLst/>
            <a:ahLst/>
            <a:cxnLst>
              <a:cxn ang="0">
                <a:pos x="26" y="2"/>
              </a:cxn>
              <a:cxn ang="0">
                <a:pos x="36" y="4"/>
              </a:cxn>
              <a:cxn ang="0">
                <a:pos x="38" y="0"/>
              </a:cxn>
              <a:cxn ang="0">
                <a:pos x="42" y="4"/>
              </a:cxn>
              <a:cxn ang="0">
                <a:pos x="48" y="6"/>
              </a:cxn>
              <a:cxn ang="0">
                <a:pos x="52" y="4"/>
              </a:cxn>
              <a:cxn ang="0">
                <a:pos x="56" y="6"/>
              </a:cxn>
              <a:cxn ang="0">
                <a:pos x="60" y="8"/>
              </a:cxn>
              <a:cxn ang="0">
                <a:pos x="62" y="6"/>
              </a:cxn>
              <a:cxn ang="0">
                <a:pos x="66" y="2"/>
              </a:cxn>
              <a:cxn ang="0">
                <a:pos x="70" y="4"/>
              </a:cxn>
              <a:cxn ang="0">
                <a:pos x="82" y="10"/>
              </a:cxn>
              <a:cxn ang="0">
                <a:pos x="90" y="10"/>
              </a:cxn>
              <a:cxn ang="0">
                <a:pos x="90" y="16"/>
              </a:cxn>
              <a:cxn ang="0">
                <a:pos x="88" y="20"/>
              </a:cxn>
              <a:cxn ang="0">
                <a:pos x="88" y="22"/>
              </a:cxn>
              <a:cxn ang="0">
                <a:pos x="88" y="24"/>
              </a:cxn>
              <a:cxn ang="0">
                <a:pos x="72" y="22"/>
              </a:cxn>
              <a:cxn ang="0">
                <a:pos x="66" y="20"/>
              </a:cxn>
              <a:cxn ang="0">
                <a:pos x="62" y="24"/>
              </a:cxn>
              <a:cxn ang="0">
                <a:pos x="58" y="24"/>
              </a:cxn>
              <a:cxn ang="0">
                <a:pos x="50" y="26"/>
              </a:cxn>
              <a:cxn ang="0">
                <a:pos x="44" y="30"/>
              </a:cxn>
              <a:cxn ang="0">
                <a:pos x="26" y="34"/>
              </a:cxn>
              <a:cxn ang="0">
                <a:pos x="24" y="34"/>
              </a:cxn>
              <a:cxn ang="0">
                <a:pos x="24" y="38"/>
              </a:cxn>
              <a:cxn ang="0">
                <a:pos x="22" y="40"/>
              </a:cxn>
              <a:cxn ang="0">
                <a:pos x="12" y="40"/>
              </a:cxn>
              <a:cxn ang="0">
                <a:pos x="6" y="40"/>
              </a:cxn>
              <a:cxn ang="0">
                <a:pos x="0" y="38"/>
              </a:cxn>
              <a:cxn ang="0">
                <a:pos x="0" y="28"/>
              </a:cxn>
              <a:cxn ang="0">
                <a:pos x="2" y="26"/>
              </a:cxn>
              <a:cxn ang="0">
                <a:pos x="10" y="20"/>
              </a:cxn>
              <a:cxn ang="0">
                <a:pos x="18" y="16"/>
              </a:cxn>
              <a:cxn ang="0">
                <a:pos x="20" y="8"/>
              </a:cxn>
              <a:cxn ang="0">
                <a:pos x="26" y="2"/>
              </a:cxn>
            </a:cxnLst>
            <a:rect l="0" t="0" r="r" b="b"/>
            <a:pathLst>
              <a:path w="90" h="40">
                <a:moveTo>
                  <a:pt x="26" y="2"/>
                </a:moveTo>
                <a:lnTo>
                  <a:pt x="26" y="2"/>
                </a:lnTo>
                <a:lnTo>
                  <a:pt x="34" y="6"/>
                </a:lnTo>
                <a:lnTo>
                  <a:pt x="36" y="4"/>
                </a:lnTo>
                <a:lnTo>
                  <a:pt x="36" y="4"/>
                </a:lnTo>
                <a:lnTo>
                  <a:pt x="38" y="0"/>
                </a:lnTo>
                <a:lnTo>
                  <a:pt x="42" y="4"/>
                </a:lnTo>
                <a:lnTo>
                  <a:pt x="42" y="4"/>
                </a:lnTo>
                <a:lnTo>
                  <a:pt x="46" y="6"/>
                </a:lnTo>
                <a:lnTo>
                  <a:pt x="48" y="6"/>
                </a:lnTo>
                <a:lnTo>
                  <a:pt x="50" y="4"/>
                </a:lnTo>
                <a:lnTo>
                  <a:pt x="52" y="4"/>
                </a:lnTo>
                <a:lnTo>
                  <a:pt x="52" y="4"/>
                </a:lnTo>
                <a:lnTo>
                  <a:pt x="56" y="6"/>
                </a:lnTo>
                <a:lnTo>
                  <a:pt x="60" y="8"/>
                </a:lnTo>
                <a:lnTo>
                  <a:pt x="60" y="8"/>
                </a:lnTo>
                <a:lnTo>
                  <a:pt x="62" y="6"/>
                </a:lnTo>
                <a:lnTo>
                  <a:pt x="62" y="6"/>
                </a:lnTo>
                <a:lnTo>
                  <a:pt x="62" y="4"/>
                </a:lnTo>
                <a:lnTo>
                  <a:pt x="66" y="2"/>
                </a:lnTo>
                <a:lnTo>
                  <a:pt x="66" y="2"/>
                </a:lnTo>
                <a:lnTo>
                  <a:pt x="70" y="4"/>
                </a:lnTo>
                <a:lnTo>
                  <a:pt x="76" y="6"/>
                </a:lnTo>
                <a:lnTo>
                  <a:pt x="82" y="10"/>
                </a:lnTo>
                <a:lnTo>
                  <a:pt x="90" y="10"/>
                </a:lnTo>
                <a:lnTo>
                  <a:pt x="90" y="10"/>
                </a:lnTo>
                <a:lnTo>
                  <a:pt x="90" y="12"/>
                </a:lnTo>
                <a:lnTo>
                  <a:pt x="90" y="16"/>
                </a:lnTo>
                <a:lnTo>
                  <a:pt x="90" y="16"/>
                </a:lnTo>
                <a:lnTo>
                  <a:pt x="88" y="20"/>
                </a:lnTo>
                <a:lnTo>
                  <a:pt x="88" y="22"/>
                </a:lnTo>
                <a:lnTo>
                  <a:pt x="88" y="22"/>
                </a:lnTo>
                <a:lnTo>
                  <a:pt x="88" y="24"/>
                </a:lnTo>
                <a:lnTo>
                  <a:pt x="88" y="24"/>
                </a:lnTo>
                <a:lnTo>
                  <a:pt x="80" y="26"/>
                </a:lnTo>
                <a:lnTo>
                  <a:pt x="72" y="22"/>
                </a:lnTo>
                <a:lnTo>
                  <a:pt x="72" y="22"/>
                </a:lnTo>
                <a:lnTo>
                  <a:pt x="66" y="20"/>
                </a:lnTo>
                <a:lnTo>
                  <a:pt x="64" y="22"/>
                </a:lnTo>
                <a:lnTo>
                  <a:pt x="62" y="24"/>
                </a:lnTo>
                <a:lnTo>
                  <a:pt x="58" y="24"/>
                </a:lnTo>
                <a:lnTo>
                  <a:pt x="58" y="24"/>
                </a:lnTo>
                <a:lnTo>
                  <a:pt x="54" y="24"/>
                </a:lnTo>
                <a:lnTo>
                  <a:pt x="50" y="26"/>
                </a:lnTo>
                <a:lnTo>
                  <a:pt x="44" y="30"/>
                </a:lnTo>
                <a:lnTo>
                  <a:pt x="44" y="30"/>
                </a:lnTo>
                <a:lnTo>
                  <a:pt x="36" y="32"/>
                </a:lnTo>
                <a:lnTo>
                  <a:pt x="26" y="34"/>
                </a:lnTo>
                <a:lnTo>
                  <a:pt x="26" y="34"/>
                </a:lnTo>
                <a:lnTo>
                  <a:pt x="24" y="34"/>
                </a:lnTo>
                <a:lnTo>
                  <a:pt x="22" y="36"/>
                </a:lnTo>
                <a:lnTo>
                  <a:pt x="24" y="38"/>
                </a:lnTo>
                <a:lnTo>
                  <a:pt x="24" y="38"/>
                </a:lnTo>
                <a:lnTo>
                  <a:pt x="22" y="40"/>
                </a:lnTo>
                <a:lnTo>
                  <a:pt x="20" y="40"/>
                </a:lnTo>
                <a:lnTo>
                  <a:pt x="12" y="40"/>
                </a:lnTo>
                <a:lnTo>
                  <a:pt x="12" y="40"/>
                </a:lnTo>
                <a:lnTo>
                  <a:pt x="6" y="40"/>
                </a:lnTo>
                <a:lnTo>
                  <a:pt x="0" y="38"/>
                </a:lnTo>
                <a:lnTo>
                  <a:pt x="0" y="38"/>
                </a:lnTo>
                <a:lnTo>
                  <a:pt x="0" y="32"/>
                </a:lnTo>
                <a:lnTo>
                  <a:pt x="0" y="28"/>
                </a:lnTo>
                <a:lnTo>
                  <a:pt x="0" y="28"/>
                </a:lnTo>
                <a:lnTo>
                  <a:pt x="2" y="26"/>
                </a:lnTo>
                <a:lnTo>
                  <a:pt x="6" y="22"/>
                </a:lnTo>
                <a:lnTo>
                  <a:pt x="10" y="20"/>
                </a:lnTo>
                <a:lnTo>
                  <a:pt x="10" y="20"/>
                </a:lnTo>
                <a:lnTo>
                  <a:pt x="18" y="16"/>
                </a:lnTo>
                <a:lnTo>
                  <a:pt x="18" y="12"/>
                </a:lnTo>
                <a:lnTo>
                  <a:pt x="20" y="8"/>
                </a:lnTo>
                <a:lnTo>
                  <a:pt x="26" y="2"/>
                </a:lnTo>
                <a:lnTo>
                  <a:pt x="26" y="2"/>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60" name="South Africa"/>
          <p:cNvSpPr>
            <a:spLocks/>
          </p:cNvSpPr>
          <p:nvPr/>
        </p:nvSpPr>
        <p:spPr bwMode="auto">
          <a:xfrm>
            <a:off x="4707796" y="3412565"/>
            <a:ext cx="389679" cy="348248"/>
          </a:xfrm>
          <a:custGeom>
            <a:avLst/>
            <a:gdLst/>
            <a:ahLst/>
            <a:cxnLst>
              <a:cxn ang="0">
                <a:pos x="292" y="0"/>
              </a:cxn>
              <a:cxn ang="0">
                <a:pos x="312" y="4"/>
              </a:cxn>
              <a:cxn ang="0">
                <a:pos x="326" y="6"/>
              </a:cxn>
              <a:cxn ang="0">
                <a:pos x="332" y="44"/>
              </a:cxn>
              <a:cxn ang="0">
                <a:pos x="326" y="74"/>
              </a:cxn>
              <a:cxn ang="0">
                <a:pos x="310" y="84"/>
              </a:cxn>
              <a:cxn ang="0">
                <a:pos x="300" y="102"/>
              </a:cxn>
              <a:cxn ang="0">
                <a:pos x="308" y="118"/>
              </a:cxn>
              <a:cxn ang="0">
                <a:pos x="328" y="122"/>
              </a:cxn>
              <a:cxn ang="0">
                <a:pos x="328" y="112"/>
              </a:cxn>
              <a:cxn ang="0">
                <a:pos x="336" y="134"/>
              </a:cxn>
              <a:cxn ang="0">
                <a:pos x="318" y="158"/>
              </a:cxn>
              <a:cxn ang="0">
                <a:pos x="294" y="188"/>
              </a:cxn>
              <a:cxn ang="0">
                <a:pos x="266" y="222"/>
              </a:cxn>
              <a:cxn ang="0">
                <a:pos x="246" y="246"/>
              </a:cxn>
              <a:cxn ang="0">
                <a:pos x="226" y="270"/>
              </a:cxn>
              <a:cxn ang="0">
                <a:pos x="196" y="284"/>
              </a:cxn>
              <a:cxn ang="0">
                <a:pos x="184" y="290"/>
              </a:cxn>
              <a:cxn ang="0">
                <a:pos x="174" y="294"/>
              </a:cxn>
              <a:cxn ang="0">
                <a:pos x="164" y="298"/>
              </a:cxn>
              <a:cxn ang="0">
                <a:pos x="142" y="294"/>
              </a:cxn>
              <a:cxn ang="0">
                <a:pos x="128" y="292"/>
              </a:cxn>
              <a:cxn ang="0">
                <a:pos x="116" y="298"/>
              </a:cxn>
              <a:cxn ang="0">
                <a:pos x="104" y="300"/>
              </a:cxn>
              <a:cxn ang="0">
                <a:pos x="86" y="304"/>
              </a:cxn>
              <a:cxn ang="0">
                <a:pos x="68" y="304"/>
              </a:cxn>
              <a:cxn ang="0">
                <a:pos x="50" y="294"/>
              </a:cxn>
              <a:cxn ang="0">
                <a:pos x="52" y="304"/>
              </a:cxn>
              <a:cxn ang="0">
                <a:pos x="42" y="296"/>
              </a:cxn>
              <a:cxn ang="0">
                <a:pos x="38" y="282"/>
              </a:cxn>
              <a:cxn ang="0">
                <a:pos x="36" y="270"/>
              </a:cxn>
              <a:cxn ang="0">
                <a:pos x="40" y="256"/>
              </a:cxn>
              <a:cxn ang="0">
                <a:pos x="40" y="236"/>
              </a:cxn>
              <a:cxn ang="0">
                <a:pos x="30" y="222"/>
              </a:cxn>
              <a:cxn ang="0">
                <a:pos x="16" y="198"/>
              </a:cxn>
              <a:cxn ang="0">
                <a:pos x="10" y="160"/>
              </a:cxn>
              <a:cxn ang="0">
                <a:pos x="12" y="144"/>
              </a:cxn>
              <a:cxn ang="0">
                <a:pos x="28" y="142"/>
              </a:cxn>
              <a:cxn ang="0">
                <a:pos x="38" y="158"/>
              </a:cxn>
              <a:cxn ang="0">
                <a:pos x="56" y="156"/>
              </a:cxn>
              <a:cxn ang="0">
                <a:pos x="72" y="146"/>
              </a:cxn>
              <a:cxn ang="0">
                <a:pos x="90" y="72"/>
              </a:cxn>
              <a:cxn ang="0">
                <a:pos x="106" y="94"/>
              </a:cxn>
              <a:cxn ang="0">
                <a:pos x="102" y="112"/>
              </a:cxn>
              <a:cxn ang="0">
                <a:pos x="118" y="112"/>
              </a:cxn>
              <a:cxn ang="0">
                <a:pos x="126" y="106"/>
              </a:cxn>
              <a:cxn ang="0">
                <a:pos x="130" y="106"/>
              </a:cxn>
              <a:cxn ang="0">
                <a:pos x="142" y="94"/>
              </a:cxn>
              <a:cxn ang="0">
                <a:pos x="142" y="86"/>
              </a:cxn>
              <a:cxn ang="0">
                <a:pos x="164" y="78"/>
              </a:cxn>
              <a:cxn ang="0">
                <a:pos x="174" y="84"/>
              </a:cxn>
              <a:cxn ang="0">
                <a:pos x="192" y="82"/>
              </a:cxn>
              <a:cxn ang="0">
                <a:pos x="212" y="62"/>
              </a:cxn>
              <a:cxn ang="0">
                <a:pos x="230" y="46"/>
              </a:cxn>
              <a:cxn ang="0">
                <a:pos x="246" y="24"/>
              </a:cxn>
              <a:cxn ang="0">
                <a:pos x="268" y="8"/>
              </a:cxn>
              <a:cxn ang="0">
                <a:pos x="278" y="4"/>
              </a:cxn>
            </a:cxnLst>
            <a:rect l="0" t="0" r="r" b="b"/>
            <a:pathLst>
              <a:path w="342" h="306">
                <a:moveTo>
                  <a:pt x="282" y="2"/>
                </a:moveTo>
                <a:lnTo>
                  <a:pt x="282" y="2"/>
                </a:lnTo>
                <a:lnTo>
                  <a:pt x="286" y="0"/>
                </a:lnTo>
                <a:lnTo>
                  <a:pt x="292" y="0"/>
                </a:lnTo>
                <a:lnTo>
                  <a:pt x="298" y="2"/>
                </a:lnTo>
                <a:lnTo>
                  <a:pt x="306" y="4"/>
                </a:lnTo>
                <a:lnTo>
                  <a:pt x="312" y="4"/>
                </a:lnTo>
                <a:lnTo>
                  <a:pt x="312" y="4"/>
                </a:lnTo>
                <a:lnTo>
                  <a:pt x="320" y="4"/>
                </a:lnTo>
                <a:lnTo>
                  <a:pt x="324" y="6"/>
                </a:lnTo>
                <a:lnTo>
                  <a:pt x="326" y="6"/>
                </a:lnTo>
                <a:lnTo>
                  <a:pt x="326" y="6"/>
                </a:lnTo>
                <a:lnTo>
                  <a:pt x="332" y="18"/>
                </a:lnTo>
                <a:lnTo>
                  <a:pt x="332" y="22"/>
                </a:lnTo>
                <a:lnTo>
                  <a:pt x="330" y="30"/>
                </a:lnTo>
                <a:lnTo>
                  <a:pt x="332" y="44"/>
                </a:lnTo>
                <a:lnTo>
                  <a:pt x="332" y="44"/>
                </a:lnTo>
                <a:lnTo>
                  <a:pt x="332" y="58"/>
                </a:lnTo>
                <a:lnTo>
                  <a:pt x="330" y="66"/>
                </a:lnTo>
                <a:lnTo>
                  <a:pt x="326" y="74"/>
                </a:lnTo>
                <a:lnTo>
                  <a:pt x="322" y="88"/>
                </a:lnTo>
                <a:lnTo>
                  <a:pt x="322" y="88"/>
                </a:lnTo>
                <a:lnTo>
                  <a:pt x="314" y="84"/>
                </a:lnTo>
                <a:lnTo>
                  <a:pt x="310" y="84"/>
                </a:lnTo>
                <a:lnTo>
                  <a:pt x="308" y="88"/>
                </a:lnTo>
                <a:lnTo>
                  <a:pt x="304" y="94"/>
                </a:lnTo>
                <a:lnTo>
                  <a:pt x="304" y="94"/>
                </a:lnTo>
                <a:lnTo>
                  <a:pt x="300" y="102"/>
                </a:lnTo>
                <a:lnTo>
                  <a:pt x="300" y="108"/>
                </a:lnTo>
                <a:lnTo>
                  <a:pt x="300" y="112"/>
                </a:lnTo>
                <a:lnTo>
                  <a:pt x="308" y="118"/>
                </a:lnTo>
                <a:lnTo>
                  <a:pt x="308" y="118"/>
                </a:lnTo>
                <a:lnTo>
                  <a:pt x="316" y="122"/>
                </a:lnTo>
                <a:lnTo>
                  <a:pt x="320" y="124"/>
                </a:lnTo>
                <a:lnTo>
                  <a:pt x="324" y="124"/>
                </a:lnTo>
                <a:lnTo>
                  <a:pt x="328" y="122"/>
                </a:lnTo>
                <a:lnTo>
                  <a:pt x="328" y="122"/>
                </a:lnTo>
                <a:lnTo>
                  <a:pt x="330" y="120"/>
                </a:lnTo>
                <a:lnTo>
                  <a:pt x="330" y="116"/>
                </a:lnTo>
                <a:lnTo>
                  <a:pt x="328" y="112"/>
                </a:lnTo>
                <a:lnTo>
                  <a:pt x="330" y="110"/>
                </a:lnTo>
                <a:lnTo>
                  <a:pt x="342" y="110"/>
                </a:lnTo>
                <a:lnTo>
                  <a:pt x="342" y="110"/>
                </a:lnTo>
                <a:lnTo>
                  <a:pt x="336" y="134"/>
                </a:lnTo>
                <a:lnTo>
                  <a:pt x="332" y="148"/>
                </a:lnTo>
                <a:lnTo>
                  <a:pt x="328" y="154"/>
                </a:lnTo>
                <a:lnTo>
                  <a:pt x="326" y="156"/>
                </a:lnTo>
                <a:lnTo>
                  <a:pt x="318" y="158"/>
                </a:lnTo>
                <a:lnTo>
                  <a:pt x="318" y="158"/>
                </a:lnTo>
                <a:lnTo>
                  <a:pt x="312" y="160"/>
                </a:lnTo>
                <a:lnTo>
                  <a:pt x="306" y="168"/>
                </a:lnTo>
                <a:lnTo>
                  <a:pt x="294" y="188"/>
                </a:lnTo>
                <a:lnTo>
                  <a:pt x="282" y="210"/>
                </a:lnTo>
                <a:lnTo>
                  <a:pt x="274" y="218"/>
                </a:lnTo>
                <a:lnTo>
                  <a:pt x="266" y="222"/>
                </a:lnTo>
                <a:lnTo>
                  <a:pt x="266" y="222"/>
                </a:lnTo>
                <a:lnTo>
                  <a:pt x="262" y="224"/>
                </a:lnTo>
                <a:lnTo>
                  <a:pt x="260" y="226"/>
                </a:lnTo>
                <a:lnTo>
                  <a:pt x="252" y="236"/>
                </a:lnTo>
                <a:lnTo>
                  <a:pt x="246" y="246"/>
                </a:lnTo>
                <a:lnTo>
                  <a:pt x="240" y="252"/>
                </a:lnTo>
                <a:lnTo>
                  <a:pt x="240" y="252"/>
                </a:lnTo>
                <a:lnTo>
                  <a:pt x="234" y="260"/>
                </a:lnTo>
                <a:lnTo>
                  <a:pt x="226" y="270"/>
                </a:lnTo>
                <a:lnTo>
                  <a:pt x="222" y="274"/>
                </a:lnTo>
                <a:lnTo>
                  <a:pt x="214" y="278"/>
                </a:lnTo>
                <a:lnTo>
                  <a:pt x="206" y="282"/>
                </a:lnTo>
                <a:lnTo>
                  <a:pt x="196" y="284"/>
                </a:lnTo>
                <a:lnTo>
                  <a:pt x="196" y="284"/>
                </a:lnTo>
                <a:lnTo>
                  <a:pt x="192" y="284"/>
                </a:lnTo>
                <a:lnTo>
                  <a:pt x="188" y="286"/>
                </a:lnTo>
                <a:lnTo>
                  <a:pt x="184" y="290"/>
                </a:lnTo>
                <a:lnTo>
                  <a:pt x="180" y="294"/>
                </a:lnTo>
                <a:lnTo>
                  <a:pt x="178" y="294"/>
                </a:lnTo>
                <a:lnTo>
                  <a:pt x="174" y="294"/>
                </a:lnTo>
                <a:lnTo>
                  <a:pt x="174" y="294"/>
                </a:lnTo>
                <a:lnTo>
                  <a:pt x="170" y="292"/>
                </a:lnTo>
                <a:lnTo>
                  <a:pt x="168" y="294"/>
                </a:lnTo>
                <a:lnTo>
                  <a:pt x="166" y="296"/>
                </a:lnTo>
                <a:lnTo>
                  <a:pt x="164" y="298"/>
                </a:lnTo>
                <a:lnTo>
                  <a:pt x="158" y="296"/>
                </a:lnTo>
                <a:lnTo>
                  <a:pt x="158" y="296"/>
                </a:lnTo>
                <a:lnTo>
                  <a:pt x="148" y="294"/>
                </a:lnTo>
                <a:lnTo>
                  <a:pt x="142" y="294"/>
                </a:lnTo>
                <a:lnTo>
                  <a:pt x="136" y="294"/>
                </a:lnTo>
                <a:lnTo>
                  <a:pt x="136" y="294"/>
                </a:lnTo>
                <a:lnTo>
                  <a:pt x="132" y="294"/>
                </a:lnTo>
                <a:lnTo>
                  <a:pt x="128" y="292"/>
                </a:lnTo>
                <a:lnTo>
                  <a:pt x="122" y="292"/>
                </a:lnTo>
                <a:lnTo>
                  <a:pt x="118" y="294"/>
                </a:lnTo>
                <a:lnTo>
                  <a:pt x="118" y="294"/>
                </a:lnTo>
                <a:lnTo>
                  <a:pt x="116" y="298"/>
                </a:lnTo>
                <a:lnTo>
                  <a:pt x="112" y="300"/>
                </a:lnTo>
                <a:lnTo>
                  <a:pt x="108" y="300"/>
                </a:lnTo>
                <a:lnTo>
                  <a:pt x="104" y="300"/>
                </a:lnTo>
                <a:lnTo>
                  <a:pt x="104" y="300"/>
                </a:lnTo>
                <a:lnTo>
                  <a:pt x="100" y="302"/>
                </a:lnTo>
                <a:lnTo>
                  <a:pt x="98" y="300"/>
                </a:lnTo>
                <a:lnTo>
                  <a:pt x="94" y="300"/>
                </a:lnTo>
                <a:lnTo>
                  <a:pt x="86" y="304"/>
                </a:lnTo>
                <a:lnTo>
                  <a:pt x="86" y="304"/>
                </a:lnTo>
                <a:lnTo>
                  <a:pt x="80" y="306"/>
                </a:lnTo>
                <a:lnTo>
                  <a:pt x="74" y="306"/>
                </a:lnTo>
                <a:lnTo>
                  <a:pt x="68" y="304"/>
                </a:lnTo>
                <a:lnTo>
                  <a:pt x="64" y="302"/>
                </a:lnTo>
                <a:lnTo>
                  <a:pt x="56" y="296"/>
                </a:lnTo>
                <a:lnTo>
                  <a:pt x="54" y="294"/>
                </a:lnTo>
                <a:lnTo>
                  <a:pt x="50" y="294"/>
                </a:lnTo>
                <a:lnTo>
                  <a:pt x="50" y="294"/>
                </a:lnTo>
                <a:lnTo>
                  <a:pt x="48" y="296"/>
                </a:lnTo>
                <a:lnTo>
                  <a:pt x="50" y="300"/>
                </a:lnTo>
                <a:lnTo>
                  <a:pt x="52" y="304"/>
                </a:lnTo>
                <a:lnTo>
                  <a:pt x="52" y="304"/>
                </a:lnTo>
                <a:lnTo>
                  <a:pt x="46" y="300"/>
                </a:lnTo>
                <a:lnTo>
                  <a:pt x="44" y="298"/>
                </a:lnTo>
                <a:lnTo>
                  <a:pt x="42" y="296"/>
                </a:lnTo>
                <a:lnTo>
                  <a:pt x="42" y="294"/>
                </a:lnTo>
                <a:lnTo>
                  <a:pt x="42" y="288"/>
                </a:lnTo>
                <a:lnTo>
                  <a:pt x="42" y="284"/>
                </a:lnTo>
                <a:lnTo>
                  <a:pt x="38" y="282"/>
                </a:lnTo>
                <a:lnTo>
                  <a:pt x="38" y="282"/>
                </a:lnTo>
                <a:lnTo>
                  <a:pt x="36" y="278"/>
                </a:lnTo>
                <a:lnTo>
                  <a:pt x="36" y="274"/>
                </a:lnTo>
                <a:lnTo>
                  <a:pt x="36" y="270"/>
                </a:lnTo>
                <a:lnTo>
                  <a:pt x="32" y="264"/>
                </a:lnTo>
                <a:lnTo>
                  <a:pt x="32" y="264"/>
                </a:lnTo>
                <a:lnTo>
                  <a:pt x="38" y="260"/>
                </a:lnTo>
                <a:lnTo>
                  <a:pt x="40" y="256"/>
                </a:lnTo>
                <a:lnTo>
                  <a:pt x="38" y="250"/>
                </a:lnTo>
                <a:lnTo>
                  <a:pt x="38" y="250"/>
                </a:lnTo>
                <a:lnTo>
                  <a:pt x="38" y="244"/>
                </a:lnTo>
                <a:lnTo>
                  <a:pt x="40" y="236"/>
                </a:lnTo>
                <a:lnTo>
                  <a:pt x="40" y="234"/>
                </a:lnTo>
                <a:lnTo>
                  <a:pt x="38" y="230"/>
                </a:lnTo>
                <a:lnTo>
                  <a:pt x="36" y="226"/>
                </a:lnTo>
                <a:lnTo>
                  <a:pt x="30" y="222"/>
                </a:lnTo>
                <a:lnTo>
                  <a:pt x="30" y="222"/>
                </a:lnTo>
                <a:lnTo>
                  <a:pt x="24" y="216"/>
                </a:lnTo>
                <a:lnTo>
                  <a:pt x="20" y="206"/>
                </a:lnTo>
                <a:lnTo>
                  <a:pt x="16" y="198"/>
                </a:lnTo>
                <a:lnTo>
                  <a:pt x="14" y="186"/>
                </a:lnTo>
                <a:lnTo>
                  <a:pt x="12" y="170"/>
                </a:lnTo>
                <a:lnTo>
                  <a:pt x="10" y="162"/>
                </a:lnTo>
                <a:lnTo>
                  <a:pt x="10" y="160"/>
                </a:lnTo>
                <a:lnTo>
                  <a:pt x="10" y="160"/>
                </a:lnTo>
                <a:lnTo>
                  <a:pt x="0" y="152"/>
                </a:lnTo>
                <a:lnTo>
                  <a:pt x="0" y="152"/>
                </a:lnTo>
                <a:lnTo>
                  <a:pt x="12" y="144"/>
                </a:lnTo>
                <a:lnTo>
                  <a:pt x="18" y="142"/>
                </a:lnTo>
                <a:lnTo>
                  <a:pt x="24" y="140"/>
                </a:lnTo>
                <a:lnTo>
                  <a:pt x="24" y="140"/>
                </a:lnTo>
                <a:lnTo>
                  <a:pt x="28" y="142"/>
                </a:lnTo>
                <a:lnTo>
                  <a:pt x="28" y="144"/>
                </a:lnTo>
                <a:lnTo>
                  <a:pt x="30" y="150"/>
                </a:lnTo>
                <a:lnTo>
                  <a:pt x="34" y="156"/>
                </a:lnTo>
                <a:lnTo>
                  <a:pt x="38" y="158"/>
                </a:lnTo>
                <a:lnTo>
                  <a:pt x="42" y="158"/>
                </a:lnTo>
                <a:lnTo>
                  <a:pt x="42" y="158"/>
                </a:lnTo>
                <a:lnTo>
                  <a:pt x="50" y="158"/>
                </a:lnTo>
                <a:lnTo>
                  <a:pt x="56" y="156"/>
                </a:lnTo>
                <a:lnTo>
                  <a:pt x="60" y="154"/>
                </a:lnTo>
                <a:lnTo>
                  <a:pt x="64" y="152"/>
                </a:lnTo>
                <a:lnTo>
                  <a:pt x="68" y="148"/>
                </a:lnTo>
                <a:lnTo>
                  <a:pt x="72" y="146"/>
                </a:lnTo>
                <a:lnTo>
                  <a:pt x="76" y="146"/>
                </a:lnTo>
                <a:lnTo>
                  <a:pt x="80" y="68"/>
                </a:lnTo>
                <a:lnTo>
                  <a:pt x="80" y="68"/>
                </a:lnTo>
                <a:lnTo>
                  <a:pt x="90" y="72"/>
                </a:lnTo>
                <a:lnTo>
                  <a:pt x="96" y="76"/>
                </a:lnTo>
                <a:lnTo>
                  <a:pt x="100" y="80"/>
                </a:lnTo>
                <a:lnTo>
                  <a:pt x="104" y="86"/>
                </a:lnTo>
                <a:lnTo>
                  <a:pt x="106" y="94"/>
                </a:lnTo>
                <a:lnTo>
                  <a:pt x="106" y="100"/>
                </a:lnTo>
                <a:lnTo>
                  <a:pt x="106" y="100"/>
                </a:lnTo>
                <a:lnTo>
                  <a:pt x="102" y="110"/>
                </a:lnTo>
                <a:lnTo>
                  <a:pt x="102" y="112"/>
                </a:lnTo>
                <a:lnTo>
                  <a:pt x="108" y="112"/>
                </a:lnTo>
                <a:lnTo>
                  <a:pt x="108" y="112"/>
                </a:lnTo>
                <a:lnTo>
                  <a:pt x="114" y="112"/>
                </a:lnTo>
                <a:lnTo>
                  <a:pt x="118" y="112"/>
                </a:lnTo>
                <a:lnTo>
                  <a:pt x="122" y="112"/>
                </a:lnTo>
                <a:lnTo>
                  <a:pt x="122" y="110"/>
                </a:lnTo>
                <a:lnTo>
                  <a:pt x="122" y="110"/>
                </a:lnTo>
                <a:lnTo>
                  <a:pt x="126" y="106"/>
                </a:lnTo>
                <a:lnTo>
                  <a:pt x="128" y="108"/>
                </a:lnTo>
                <a:lnTo>
                  <a:pt x="128" y="108"/>
                </a:lnTo>
                <a:lnTo>
                  <a:pt x="130" y="106"/>
                </a:lnTo>
                <a:lnTo>
                  <a:pt x="130" y="106"/>
                </a:lnTo>
                <a:lnTo>
                  <a:pt x="134" y="100"/>
                </a:lnTo>
                <a:lnTo>
                  <a:pt x="138" y="96"/>
                </a:lnTo>
                <a:lnTo>
                  <a:pt x="142" y="94"/>
                </a:lnTo>
                <a:lnTo>
                  <a:pt x="142" y="94"/>
                </a:lnTo>
                <a:lnTo>
                  <a:pt x="142" y="92"/>
                </a:lnTo>
                <a:lnTo>
                  <a:pt x="142" y="92"/>
                </a:lnTo>
                <a:lnTo>
                  <a:pt x="140" y="90"/>
                </a:lnTo>
                <a:lnTo>
                  <a:pt x="142" y="86"/>
                </a:lnTo>
                <a:lnTo>
                  <a:pt x="146" y="82"/>
                </a:lnTo>
                <a:lnTo>
                  <a:pt x="154" y="78"/>
                </a:lnTo>
                <a:lnTo>
                  <a:pt x="164" y="78"/>
                </a:lnTo>
                <a:lnTo>
                  <a:pt x="164" y="78"/>
                </a:lnTo>
                <a:lnTo>
                  <a:pt x="168" y="78"/>
                </a:lnTo>
                <a:lnTo>
                  <a:pt x="168" y="80"/>
                </a:lnTo>
                <a:lnTo>
                  <a:pt x="168" y="82"/>
                </a:lnTo>
                <a:lnTo>
                  <a:pt x="174" y="84"/>
                </a:lnTo>
                <a:lnTo>
                  <a:pt x="174" y="84"/>
                </a:lnTo>
                <a:lnTo>
                  <a:pt x="180" y="86"/>
                </a:lnTo>
                <a:lnTo>
                  <a:pt x="184" y="86"/>
                </a:lnTo>
                <a:lnTo>
                  <a:pt x="192" y="82"/>
                </a:lnTo>
                <a:lnTo>
                  <a:pt x="198" y="80"/>
                </a:lnTo>
                <a:lnTo>
                  <a:pt x="206" y="78"/>
                </a:lnTo>
                <a:lnTo>
                  <a:pt x="206" y="78"/>
                </a:lnTo>
                <a:lnTo>
                  <a:pt x="212" y="62"/>
                </a:lnTo>
                <a:lnTo>
                  <a:pt x="218" y="56"/>
                </a:lnTo>
                <a:lnTo>
                  <a:pt x="224" y="52"/>
                </a:lnTo>
                <a:lnTo>
                  <a:pt x="230" y="46"/>
                </a:lnTo>
                <a:lnTo>
                  <a:pt x="230" y="46"/>
                </a:lnTo>
                <a:lnTo>
                  <a:pt x="238" y="32"/>
                </a:lnTo>
                <a:lnTo>
                  <a:pt x="242" y="26"/>
                </a:lnTo>
                <a:lnTo>
                  <a:pt x="246" y="24"/>
                </a:lnTo>
                <a:lnTo>
                  <a:pt x="246" y="24"/>
                </a:lnTo>
                <a:lnTo>
                  <a:pt x="256" y="18"/>
                </a:lnTo>
                <a:lnTo>
                  <a:pt x="260" y="14"/>
                </a:lnTo>
                <a:lnTo>
                  <a:pt x="262" y="10"/>
                </a:lnTo>
                <a:lnTo>
                  <a:pt x="268" y="8"/>
                </a:lnTo>
                <a:lnTo>
                  <a:pt x="268" y="8"/>
                </a:lnTo>
                <a:lnTo>
                  <a:pt x="274" y="8"/>
                </a:lnTo>
                <a:lnTo>
                  <a:pt x="276" y="6"/>
                </a:lnTo>
                <a:lnTo>
                  <a:pt x="278" y="4"/>
                </a:lnTo>
                <a:lnTo>
                  <a:pt x="282" y="2"/>
                </a:lnTo>
                <a:lnTo>
                  <a:pt x="282" y="2"/>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61" name="South Korea"/>
          <p:cNvSpPr>
            <a:spLocks/>
          </p:cNvSpPr>
          <p:nvPr/>
        </p:nvSpPr>
        <p:spPr bwMode="auto">
          <a:xfrm>
            <a:off x="7121071" y="1669054"/>
            <a:ext cx="95711" cy="122911"/>
          </a:xfrm>
          <a:custGeom>
            <a:avLst/>
            <a:gdLst/>
            <a:ahLst/>
            <a:cxnLst>
              <a:cxn ang="0">
                <a:pos x="0" y="26"/>
              </a:cxn>
              <a:cxn ang="0">
                <a:pos x="6" y="28"/>
              </a:cxn>
              <a:cxn ang="0">
                <a:pos x="10" y="32"/>
              </a:cxn>
              <a:cxn ang="0">
                <a:pos x="8" y="34"/>
              </a:cxn>
              <a:cxn ang="0">
                <a:pos x="8" y="36"/>
              </a:cxn>
              <a:cxn ang="0">
                <a:pos x="16" y="42"/>
              </a:cxn>
              <a:cxn ang="0">
                <a:pos x="12" y="40"/>
              </a:cxn>
              <a:cxn ang="0">
                <a:pos x="8" y="40"/>
              </a:cxn>
              <a:cxn ang="0">
                <a:pos x="4" y="40"/>
              </a:cxn>
              <a:cxn ang="0">
                <a:pos x="2" y="44"/>
              </a:cxn>
              <a:cxn ang="0">
                <a:pos x="2" y="48"/>
              </a:cxn>
              <a:cxn ang="0">
                <a:pos x="8" y="48"/>
              </a:cxn>
              <a:cxn ang="0">
                <a:pos x="14" y="56"/>
              </a:cxn>
              <a:cxn ang="0">
                <a:pos x="16" y="60"/>
              </a:cxn>
              <a:cxn ang="0">
                <a:pos x="18" y="64"/>
              </a:cxn>
              <a:cxn ang="0">
                <a:pos x="20" y="64"/>
              </a:cxn>
              <a:cxn ang="0">
                <a:pos x="22" y="68"/>
              </a:cxn>
              <a:cxn ang="0">
                <a:pos x="24" y="70"/>
              </a:cxn>
              <a:cxn ang="0">
                <a:pos x="20" y="76"/>
              </a:cxn>
              <a:cxn ang="0">
                <a:pos x="24" y="76"/>
              </a:cxn>
              <a:cxn ang="0">
                <a:pos x="20" y="80"/>
              </a:cxn>
              <a:cxn ang="0">
                <a:pos x="20" y="90"/>
              </a:cxn>
              <a:cxn ang="0">
                <a:pos x="24" y="92"/>
              </a:cxn>
              <a:cxn ang="0">
                <a:pos x="24" y="98"/>
              </a:cxn>
              <a:cxn ang="0">
                <a:pos x="26" y="98"/>
              </a:cxn>
              <a:cxn ang="0">
                <a:pos x="28" y="100"/>
              </a:cxn>
              <a:cxn ang="0">
                <a:pos x="28" y="106"/>
              </a:cxn>
              <a:cxn ang="0">
                <a:pos x="30" y="108"/>
              </a:cxn>
              <a:cxn ang="0">
                <a:pos x="36" y="104"/>
              </a:cxn>
              <a:cxn ang="0">
                <a:pos x="42" y="102"/>
              </a:cxn>
              <a:cxn ang="0">
                <a:pos x="48" y="98"/>
              </a:cxn>
              <a:cxn ang="0">
                <a:pos x="46" y="100"/>
              </a:cxn>
              <a:cxn ang="0">
                <a:pos x="52" y="100"/>
              </a:cxn>
              <a:cxn ang="0">
                <a:pos x="52" y="98"/>
              </a:cxn>
              <a:cxn ang="0">
                <a:pos x="52" y="98"/>
              </a:cxn>
              <a:cxn ang="0">
                <a:pos x="58" y="98"/>
              </a:cxn>
              <a:cxn ang="0">
                <a:pos x="58" y="94"/>
              </a:cxn>
              <a:cxn ang="0">
                <a:pos x="62" y="92"/>
              </a:cxn>
              <a:cxn ang="0">
                <a:pos x="64" y="96"/>
              </a:cxn>
              <a:cxn ang="0">
                <a:pos x="68" y="96"/>
              </a:cxn>
              <a:cxn ang="0">
                <a:pos x="70" y="98"/>
              </a:cxn>
              <a:cxn ang="0">
                <a:pos x="74" y="96"/>
              </a:cxn>
              <a:cxn ang="0">
                <a:pos x="68" y="96"/>
              </a:cxn>
              <a:cxn ang="0">
                <a:pos x="68" y="94"/>
              </a:cxn>
              <a:cxn ang="0">
                <a:pos x="70" y="92"/>
              </a:cxn>
              <a:cxn ang="0">
                <a:pos x="78" y="90"/>
              </a:cxn>
              <a:cxn ang="0">
                <a:pos x="82" y="82"/>
              </a:cxn>
              <a:cxn ang="0">
                <a:pos x="84" y="76"/>
              </a:cxn>
              <a:cxn ang="0">
                <a:pos x="80" y="64"/>
              </a:cxn>
              <a:cxn ang="0">
                <a:pos x="78" y="62"/>
              </a:cxn>
              <a:cxn ang="0">
                <a:pos x="76" y="58"/>
              </a:cxn>
              <a:cxn ang="0">
                <a:pos x="74" y="46"/>
              </a:cxn>
              <a:cxn ang="0">
                <a:pos x="56" y="20"/>
              </a:cxn>
              <a:cxn ang="0">
                <a:pos x="44" y="12"/>
              </a:cxn>
              <a:cxn ang="0">
                <a:pos x="28" y="2"/>
              </a:cxn>
              <a:cxn ang="0">
                <a:pos x="20" y="6"/>
              </a:cxn>
              <a:cxn ang="0">
                <a:pos x="8" y="12"/>
              </a:cxn>
            </a:cxnLst>
            <a:rect l="0" t="0" r="r" b="b"/>
            <a:pathLst>
              <a:path w="84" h="108">
                <a:moveTo>
                  <a:pt x="0" y="22"/>
                </a:moveTo>
                <a:lnTo>
                  <a:pt x="0" y="22"/>
                </a:lnTo>
                <a:lnTo>
                  <a:pt x="0" y="26"/>
                </a:lnTo>
                <a:lnTo>
                  <a:pt x="4" y="28"/>
                </a:lnTo>
                <a:lnTo>
                  <a:pt x="4" y="28"/>
                </a:lnTo>
                <a:lnTo>
                  <a:pt x="6" y="28"/>
                </a:lnTo>
                <a:lnTo>
                  <a:pt x="6" y="30"/>
                </a:lnTo>
                <a:lnTo>
                  <a:pt x="8" y="32"/>
                </a:lnTo>
                <a:lnTo>
                  <a:pt x="10" y="32"/>
                </a:lnTo>
                <a:lnTo>
                  <a:pt x="10" y="32"/>
                </a:lnTo>
                <a:lnTo>
                  <a:pt x="10" y="32"/>
                </a:lnTo>
                <a:lnTo>
                  <a:pt x="8" y="34"/>
                </a:lnTo>
                <a:lnTo>
                  <a:pt x="6" y="36"/>
                </a:lnTo>
                <a:lnTo>
                  <a:pt x="8" y="36"/>
                </a:lnTo>
                <a:lnTo>
                  <a:pt x="8" y="36"/>
                </a:lnTo>
                <a:lnTo>
                  <a:pt x="16" y="40"/>
                </a:lnTo>
                <a:lnTo>
                  <a:pt x="18" y="40"/>
                </a:lnTo>
                <a:lnTo>
                  <a:pt x="16" y="42"/>
                </a:lnTo>
                <a:lnTo>
                  <a:pt x="16" y="42"/>
                </a:lnTo>
                <a:lnTo>
                  <a:pt x="14" y="42"/>
                </a:lnTo>
                <a:lnTo>
                  <a:pt x="12" y="40"/>
                </a:lnTo>
                <a:lnTo>
                  <a:pt x="10" y="40"/>
                </a:lnTo>
                <a:lnTo>
                  <a:pt x="8" y="40"/>
                </a:lnTo>
                <a:lnTo>
                  <a:pt x="8" y="40"/>
                </a:lnTo>
                <a:lnTo>
                  <a:pt x="8" y="40"/>
                </a:lnTo>
                <a:lnTo>
                  <a:pt x="4" y="40"/>
                </a:lnTo>
                <a:lnTo>
                  <a:pt x="4" y="40"/>
                </a:lnTo>
                <a:lnTo>
                  <a:pt x="2" y="42"/>
                </a:lnTo>
                <a:lnTo>
                  <a:pt x="2" y="42"/>
                </a:lnTo>
                <a:lnTo>
                  <a:pt x="2" y="44"/>
                </a:lnTo>
                <a:lnTo>
                  <a:pt x="2" y="46"/>
                </a:lnTo>
                <a:lnTo>
                  <a:pt x="2" y="46"/>
                </a:lnTo>
                <a:lnTo>
                  <a:pt x="2" y="48"/>
                </a:lnTo>
                <a:lnTo>
                  <a:pt x="2" y="48"/>
                </a:lnTo>
                <a:lnTo>
                  <a:pt x="6" y="48"/>
                </a:lnTo>
                <a:lnTo>
                  <a:pt x="8" y="48"/>
                </a:lnTo>
                <a:lnTo>
                  <a:pt x="8" y="48"/>
                </a:lnTo>
                <a:lnTo>
                  <a:pt x="14" y="56"/>
                </a:lnTo>
                <a:lnTo>
                  <a:pt x="14" y="56"/>
                </a:lnTo>
                <a:lnTo>
                  <a:pt x="14" y="58"/>
                </a:lnTo>
                <a:lnTo>
                  <a:pt x="16" y="60"/>
                </a:lnTo>
                <a:lnTo>
                  <a:pt x="16" y="60"/>
                </a:lnTo>
                <a:lnTo>
                  <a:pt x="18" y="60"/>
                </a:lnTo>
                <a:lnTo>
                  <a:pt x="18" y="62"/>
                </a:lnTo>
                <a:lnTo>
                  <a:pt x="18" y="64"/>
                </a:lnTo>
                <a:lnTo>
                  <a:pt x="20" y="64"/>
                </a:lnTo>
                <a:lnTo>
                  <a:pt x="20" y="64"/>
                </a:lnTo>
                <a:lnTo>
                  <a:pt x="20" y="64"/>
                </a:lnTo>
                <a:lnTo>
                  <a:pt x="20" y="64"/>
                </a:lnTo>
                <a:lnTo>
                  <a:pt x="18" y="66"/>
                </a:lnTo>
                <a:lnTo>
                  <a:pt x="22" y="68"/>
                </a:lnTo>
                <a:lnTo>
                  <a:pt x="22" y="68"/>
                </a:lnTo>
                <a:lnTo>
                  <a:pt x="24" y="70"/>
                </a:lnTo>
                <a:lnTo>
                  <a:pt x="24" y="70"/>
                </a:lnTo>
                <a:lnTo>
                  <a:pt x="20" y="72"/>
                </a:lnTo>
                <a:lnTo>
                  <a:pt x="20" y="72"/>
                </a:lnTo>
                <a:lnTo>
                  <a:pt x="20" y="76"/>
                </a:lnTo>
                <a:lnTo>
                  <a:pt x="22" y="76"/>
                </a:lnTo>
                <a:lnTo>
                  <a:pt x="22" y="76"/>
                </a:lnTo>
                <a:lnTo>
                  <a:pt x="24" y="76"/>
                </a:lnTo>
                <a:lnTo>
                  <a:pt x="22" y="76"/>
                </a:lnTo>
                <a:lnTo>
                  <a:pt x="22" y="78"/>
                </a:lnTo>
                <a:lnTo>
                  <a:pt x="20" y="80"/>
                </a:lnTo>
                <a:lnTo>
                  <a:pt x="20" y="80"/>
                </a:lnTo>
                <a:lnTo>
                  <a:pt x="20" y="86"/>
                </a:lnTo>
                <a:lnTo>
                  <a:pt x="20" y="90"/>
                </a:lnTo>
                <a:lnTo>
                  <a:pt x="22" y="92"/>
                </a:lnTo>
                <a:lnTo>
                  <a:pt x="22" y="92"/>
                </a:lnTo>
                <a:lnTo>
                  <a:pt x="24" y="92"/>
                </a:lnTo>
                <a:lnTo>
                  <a:pt x="24" y="94"/>
                </a:lnTo>
                <a:lnTo>
                  <a:pt x="24" y="94"/>
                </a:lnTo>
                <a:lnTo>
                  <a:pt x="24" y="98"/>
                </a:lnTo>
                <a:lnTo>
                  <a:pt x="26" y="98"/>
                </a:lnTo>
                <a:lnTo>
                  <a:pt x="26" y="98"/>
                </a:lnTo>
                <a:lnTo>
                  <a:pt x="26" y="98"/>
                </a:lnTo>
                <a:lnTo>
                  <a:pt x="26" y="100"/>
                </a:lnTo>
                <a:lnTo>
                  <a:pt x="28" y="100"/>
                </a:lnTo>
                <a:lnTo>
                  <a:pt x="28" y="100"/>
                </a:lnTo>
                <a:lnTo>
                  <a:pt x="28" y="100"/>
                </a:lnTo>
                <a:lnTo>
                  <a:pt x="28" y="102"/>
                </a:lnTo>
                <a:lnTo>
                  <a:pt x="28" y="106"/>
                </a:lnTo>
                <a:lnTo>
                  <a:pt x="28" y="106"/>
                </a:lnTo>
                <a:lnTo>
                  <a:pt x="28" y="108"/>
                </a:lnTo>
                <a:lnTo>
                  <a:pt x="30" y="108"/>
                </a:lnTo>
                <a:lnTo>
                  <a:pt x="32" y="108"/>
                </a:lnTo>
                <a:lnTo>
                  <a:pt x="36" y="104"/>
                </a:lnTo>
                <a:lnTo>
                  <a:pt x="36" y="104"/>
                </a:lnTo>
                <a:lnTo>
                  <a:pt x="38" y="104"/>
                </a:lnTo>
                <a:lnTo>
                  <a:pt x="40" y="104"/>
                </a:lnTo>
                <a:lnTo>
                  <a:pt x="42" y="102"/>
                </a:lnTo>
                <a:lnTo>
                  <a:pt x="42" y="102"/>
                </a:lnTo>
                <a:lnTo>
                  <a:pt x="46" y="98"/>
                </a:lnTo>
                <a:lnTo>
                  <a:pt x="48" y="98"/>
                </a:lnTo>
                <a:lnTo>
                  <a:pt x="48" y="98"/>
                </a:lnTo>
                <a:lnTo>
                  <a:pt x="48" y="100"/>
                </a:lnTo>
                <a:lnTo>
                  <a:pt x="46" y="100"/>
                </a:lnTo>
                <a:lnTo>
                  <a:pt x="48" y="100"/>
                </a:lnTo>
                <a:lnTo>
                  <a:pt x="48" y="100"/>
                </a:lnTo>
                <a:lnTo>
                  <a:pt x="52" y="100"/>
                </a:lnTo>
                <a:lnTo>
                  <a:pt x="52" y="98"/>
                </a:lnTo>
                <a:lnTo>
                  <a:pt x="52" y="98"/>
                </a:lnTo>
                <a:lnTo>
                  <a:pt x="52" y="98"/>
                </a:lnTo>
                <a:lnTo>
                  <a:pt x="52" y="96"/>
                </a:lnTo>
                <a:lnTo>
                  <a:pt x="52" y="98"/>
                </a:lnTo>
                <a:lnTo>
                  <a:pt x="52" y="98"/>
                </a:lnTo>
                <a:lnTo>
                  <a:pt x="56" y="98"/>
                </a:lnTo>
                <a:lnTo>
                  <a:pt x="58" y="98"/>
                </a:lnTo>
                <a:lnTo>
                  <a:pt x="58" y="98"/>
                </a:lnTo>
                <a:lnTo>
                  <a:pt x="58" y="98"/>
                </a:lnTo>
                <a:lnTo>
                  <a:pt x="56" y="96"/>
                </a:lnTo>
                <a:lnTo>
                  <a:pt x="58" y="94"/>
                </a:lnTo>
                <a:lnTo>
                  <a:pt x="58" y="94"/>
                </a:lnTo>
                <a:lnTo>
                  <a:pt x="62" y="92"/>
                </a:lnTo>
                <a:lnTo>
                  <a:pt x="62" y="92"/>
                </a:lnTo>
                <a:lnTo>
                  <a:pt x="62" y="94"/>
                </a:lnTo>
                <a:lnTo>
                  <a:pt x="62" y="94"/>
                </a:lnTo>
                <a:lnTo>
                  <a:pt x="64" y="96"/>
                </a:lnTo>
                <a:lnTo>
                  <a:pt x="66" y="96"/>
                </a:lnTo>
                <a:lnTo>
                  <a:pt x="66" y="96"/>
                </a:lnTo>
                <a:lnTo>
                  <a:pt x="68" y="96"/>
                </a:lnTo>
                <a:lnTo>
                  <a:pt x="68" y="98"/>
                </a:lnTo>
                <a:lnTo>
                  <a:pt x="68" y="98"/>
                </a:lnTo>
                <a:lnTo>
                  <a:pt x="70" y="98"/>
                </a:lnTo>
                <a:lnTo>
                  <a:pt x="70" y="98"/>
                </a:lnTo>
                <a:lnTo>
                  <a:pt x="74" y="96"/>
                </a:lnTo>
                <a:lnTo>
                  <a:pt x="74" y="96"/>
                </a:lnTo>
                <a:lnTo>
                  <a:pt x="72" y="96"/>
                </a:lnTo>
                <a:lnTo>
                  <a:pt x="72" y="96"/>
                </a:lnTo>
                <a:lnTo>
                  <a:pt x="68" y="96"/>
                </a:lnTo>
                <a:lnTo>
                  <a:pt x="66" y="94"/>
                </a:lnTo>
                <a:lnTo>
                  <a:pt x="66" y="94"/>
                </a:lnTo>
                <a:lnTo>
                  <a:pt x="68" y="94"/>
                </a:lnTo>
                <a:lnTo>
                  <a:pt x="70" y="94"/>
                </a:lnTo>
                <a:lnTo>
                  <a:pt x="70" y="92"/>
                </a:lnTo>
                <a:lnTo>
                  <a:pt x="70" y="92"/>
                </a:lnTo>
                <a:lnTo>
                  <a:pt x="72" y="94"/>
                </a:lnTo>
                <a:lnTo>
                  <a:pt x="74" y="92"/>
                </a:lnTo>
                <a:lnTo>
                  <a:pt x="78" y="90"/>
                </a:lnTo>
                <a:lnTo>
                  <a:pt x="80" y="86"/>
                </a:lnTo>
                <a:lnTo>
                  <a:pt x="80" y="86"/>
                </a:lnTo>
                <a:lnTo>
                  <a:pt x="82" y="82"/>
                </a:lnTo>
                <a:lnTo>
                  <a:pt x="82" y="82"/>
                </a:lnTo>
                <a:lnTo>
                  <a:pt x="84" y="76"/>
                </a:lnTo>
                <a:lnTo>
                  <a:pt x="84" y="76"/>
                </a:lnTo>
                <a:lnTo>
                  <a:pt x="82" y="64"/>
                </a:lnTo>
                <a:lnTo>
                  <a:pt x="82" y="64"/>
                </a:lnTo>
                <a:lnTo>
                  <a:pt x="80" y="64"/>
                </a:lnTo>
                <a:lnTo>
                  <a:pt x="80" y="64"/>
                </a:lnTo>
                <a:lnTo>
                  <a:pt x="80" y="64"/>
                </a:lnTo>
                <a:lnTo>
                  <a:pt x="78" y="62"/>
                </a:lnTo>
                <a:lnTo>
                  <a:pt x="76" y="62"/>
                </a:lnTo>
                <a:lnTo>
                  <a:pt x="76" y="58"/>
                </a:lnTo>
                <a:lnTo>
                  <a:pt x="76" y="58"/>
                </a:lnTo>
                <a:lnTo>
                  <a:pt x="76" y="52"/>
                </a:lnTo>
                <a:lnTo>
                  <a:pt x="74" y="46"/>
                </a:lnTo>
                <a:lnTo>
                  <a:pt x="74" y="46"/>
                </a:lnTo>
                <a:lnTo>
                  <a:pt x="66" y="32"/>
                </a:lnTo>
                <a:lnTo>
                  <a:pt x="56" y="20"/>
                </a:lnTo>
                <a:lnTo>
                  <a:pt x="56" y="20"/>
                </a:lnTo>
                <a:lnTo>
                  <a:pt x="50" y="16"/>
                </a:lnTo>
                <a:lnTo>
                  <a:pt x="44" y="12"/>
                </a:lnTo>
                <a:lnTo>
                  <a:pt x="44" y="12"/>
                </a:lnTo>
                <a:lnTo>
                  <a:pt x="30" y="0"/>
                </a:lnTo>
                <a:lnTo>
                  <a:pt x="30" y="0"/>
                </a:lnTo>
                <a:lnTo>
                  <a:pt x="28" y="2"/>
                </a:lnTo>
                <a:lnTo>
                  <a:pt x="28" y="4"/>
                </a:lnTo>
                <a:lnTo>
                  <a:pt x="26" y="6"/>
                </a:lnTo>
                <a:lnTo>
                  <a:pt x="20" y="6"/>
                </a:lnTo>
                <a:lnTo>
                  <a:pt x="20" y="6"/>
                </a:lnTo>
                <a:lnTo>
                  <a:pt x="12" y="8"/>
                </a:lnTo>
                <a:lnTo>
                  <a:pt x="8" y="12"/>
                </a:lnTo>
                <a:lnTo>
                  <a:pt x="0" y="22"/>
                </a:lnTo>
                <a:lnTo>
                  <a:pt x="0" y="22"/>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62" name="Spain"/>
          <p:cNvSpPr>
            <a:spLocks/>
          </p:cNvSpPr>
          <p:nvPr/>
        </p:nvSpPr>
        <p:spPr bwMode="auto">
          <a:xfrm>
            <a:off x="4147205" y="1557523"/>
            <a:ext cx="394236" cy="186642"/>
          </a:xfrm>
          <a:custGeom>
            <a:avLst/>
            <a:gdLst/>
            <a:ahLst/>
            <a:cxnLst/>
            <a:rect l="l" t="t" r="r" b="b"/>
            <a:pathLst>
              <a:path w="457728" h="216958">
                <a:moveTo>
                  <a:pt x="452437" y="15875"/>
                </a:moveTo>
                <a:lnTo>
                  <a:pt x="452437" y="21167"/>
                </a:lnTo>
                <a:lnTo>
                  <a:pt x="455082" y="31750"/>
                </a:lnTo>
                <a:lnTo>
                  <a:pt x="457728" y="42333"/>
                </a:lnTo>
                <a:lnTo>
                  <a:pt x="455082" y="50271"/>
                </a:lnTo>
                <a:lnTo>
                  <a:pt x="452437" y="63500"/>
                </a:lnTo>
                <a:lnTo>
                  <a:pt x="449791" y="63500"/>
                </a:lnTo>
                <a:lnTo>
                  <a:pt x="449791" y="60854"/>
                </a:lnTo>
                <a:lnTo>
                  <a:pt x="447145" y="58208"/>
                </a:lnTo>
                <a:lnTo>
                  <a:pt x="444499" y="58208"/>
                </a:lnTo>
                <a:lnTo>
                  <a:pt x="439208" y="55563"/>
                </a:lnTo>
                <a:lnTo>
                  <a:pt x="439208" y="52917"/>
                </a:lnTo>
                <a:lnTo>
                  <a:pt x="439208" y="50271"/>
                </a:lnTo>
                <a:lnTo>
                  <a:pt x="436562" y="50271"/>
                </a:lnTo>
                <a:lnTo>
                  <a:pt x="436562" y="47625"/>
                </a:lnTo>
                <a:lnTo>
                  <a:pt x="436562" y="44979"/>
                </a:lnTo>
                <a:lnTo>
                  <a:pt x="436562" y="42333"/>
                </a:lnTo>
                <a:lnTo>
                  <a:pt x="433916" y="39688"/>
                </a:lnTo>
                <a:lnTo>
                  <a:pt x="433916" y="37042"/>
                </a:lnTo>
                <a:lnTo>
                  <a:pt x="433916" y="34396"/>
                </a:lnTo>
                <a:lnTo>
                  <a:pt x="433916" y="31750"/>
                </a:lnTo>
                <a:lnTo>
                  <a:pt x="433916" y="29104"/>
                </a:lnTo>
                <a:lnTo>
                  <a:pt x="433916" y="26458"/>
                </a:lnTo>
                <a:lnTo>
                  <a:pt x="436562" y="26458"/>
                </a:lnTo>
                <a:lnTo>
                  <a:pt x="439208" y="26458"/>
                </a:lnTo>
                <a:lnTo>
                  <a:pt x="439208" y="23813"/>
                </a:lnTo>
                <a:lnTo>
                  <a:pt x="441853" y="21167"/>
                </a:lnTo>
                <a:lnTo>
                  <a:pt x="444499" y="21167"/>
                </a:lnTo>
                <a:lnTo>
                  <a:pt x="447145" y="21167"/>
                </a:lnTo>
                <a:lnTo>
                  <a:pt x="449791" y="18521"/>
                </a:lnTo>
                <a:close/>
                <a:moveTo>
                  <a:pt x="23812" y="0"/>
                </a:moveTo>
                <a:lnTo>
                  <a:pt x="29104" y="0"/>
                </a:lnTo>
                <a:lnTo>
                  <a:pt x="31750" y="0"/>
                </a:lnTo>
                <a:lnTo>
                  <a:pt x="34396" y="0"/>
                </a:lnTo>
                <a:lnTo>
                  <a:pt x="39687" y="2646"/>
                </a:lnTo>
                <a:lnTo>
                  <a:pt x="47625" y="5292"/>
                </a:lnTo>
                <a:lnTo>
                  <a:pt x="60854" y="5292"/>
                </a:lnTo>
                <a:lnTo>
                  <a:pt x="71437" y="2646"/>
                </a:lnTo>
                <a:lnTo>
                  <a:pt x="76729" y="2646"/>
                </a:lnTo>
                <a:lnTo>
                  <a:pt x="79375" y="2646"/>
                </a:lnTo>
                <a:lnTo>
                  <a:pt x="82021" y="2646"/>
                </a:lnTo>
                <a:lnTo>
                  <a:pt x="111125" y="5292"/>
                </a:lnTo>
                <a:lnTo>
                  <a:pt x="121708" y="5292"/>
                </a:lnTo>
                <a:lnTo>
                  <a:pt x="127000" y="2646"/>
                </a:lnTo>
                <a:lnTo>
                  <a:pt x="129646" y="2646"/>
                </a:lnTo>
                <a:lnTo>
                  <a:pt x="137583" y="7937"/>
                </a:lnTo>
                <a:lnTo>
                  <a:pt x="140229" y="7937"/>
                </a:lnTo>
                <a:lnTo>
                  <a:pt x="142875" y="5292"/>
                </a:lnTo>
                <a:lnTo>
                  <a:pt x="145521" y="5292"/>
                </a:lnTo>
                <a:lnTo>
                  <a:pt x="158750" y="7937"/>
                </a:lnTo>
                <a:lnTo>
                  <a:pt x="164042" y="7937"/>
                </a:lnTo>
                <a:lnTo>
                  <a:pt x="171979" y="5292"/>
                </a:lnTo>
                <a:lnTo>
                  <a:pt x="174625" y="5292"/>
                </a:lnTo>
                <a:lnTo>
                  <a:pt x="179917" y="5292"/>
                </a:lnTo>
                <a:lnTo>
                  <a:pt x="182563" y="5292"/>
                </a:lnTo>
                <a:lnTo>
                  <a:pt x="185209" y="7937"/>
                </a:lnTo>
                <a:lnTo>
                  <a:pt x="187854" y="7937"/>
                </a:lnTo>
                <a:lnTo>
                  <a:pt x="190500" y="7937"/>
                </a:lnTo>
                <a:lnTo>
                  <a:pt x="190500" y="10583"/>
                </a:lnTo>
                <a:lnTo>
                  <a:pt x="190500" y="13229"/>
                </a:lnTo>
                <a:lnTo>
                  <a:pt x="195792" y="13229"/>
                </a:lnTo>
                <a:lnTo>
                  <a:pt x="198438" y="13229"/>
                </a:lnTo>
                <a:lnTo>
                  <a:pt x="201084" y="15875"/>
                </a:lnTo>
                <a:lnTo>
                  <a:pt x="203729" y="18521"/>
                </a:lnTo>
                <a:lnTo>
                  <a:pt x="209021" y="18521"/>
                </a:lnTo>
                <a:lnTo>
                  <a:pt x="214313" y="18521"/>
                </a:lnTo>
                <a:lnTo>
                  <a:pt x="222250" y="23813"/>
                </a:lnTo>
                <a:lnTo>
                  <a:pt x="230188" y="26458"/>
                </a:lnTo>
                <a:lnTo>
                  <a:pt x="235479" y="29104"/>
                </a:lnTo>
                <a:lnTo>
                  <a:pt x="240771" y="29104"/>
                </a:lnTo>
                <a:lnTo>
                  <a:pt x="243417" y="23813"/>
                </a:lnTo>
                <a:lnTo>
                  <a:pt x="246063" y="23813"/>
                </a:lnTo>
                <a:lnTo>
                  <a:pt x="251354" y="26458"/>
                </a:lnTo>
                <a:lnTo>
                  <a:pt x="256646" y="29104"/>
                </a:lnTo>
                <a:lnTo>
                  <a:pt x="259292" y="29104"/>
                </a:lnTo>
                <a:lnTo>
                  <a:pt x="259292" y="31750"/>
                </a:lnTo>
                <a:lnTo>
                  <a:pt x="261938" y="31750"/>
                </a:lnTo>
                <a:lnTo>
                  <a:pt x="264584" y="31750"/>
                </a:lnTo>
                <a:lnTo>
                  <a:pt x="267229" y="31750"/>
                </a:lnTo>
                <a:lnTo>
                  <a:pt x="272521" y="29104"/>
                </a:lnTo>
                <a:lnTo>
                  <a:pt x="275167" y="29104"/>
                </a:lnTo>
                <a:lnTo>
                  <a:pt x="280459" y="31750"/>
                </a:lnTo>
                <a:lnTo>
                  <a:pt x="283104" y="31750"/>
                </a:lnTo>
                <a:lnTo>
                  <a:pt x="285750" y="29104"/>
                </a:lnTo>
                <a:lnTo>
                  <a:pt x="288396" y="29104"/>
                </a:lnTo>
                <a:lnTo>
                  <a:pt x="296334" y="29104"/>
                </a:lnTo>
                <a:lnTo>
                  <a:pt x="301625" y="26458"/>
                </a:lnTo>
                <a:lnTo>
                  <a:pt x="304271" y="29104"/>
                </a:lnTo>
                <a:lnTo>
                  <a:pt x="309563" y="31750"/>
                </a:lnTo>
                <a:lnTo>
                  <a:pt x="306917" y="34396"/>
                </a:lnTo>
                <a:lnTo>
                  <a:pt x="304271" y="34396"/>
                </a:lnTo>
                <a:lnTo>
                  <a:pt x="304271" y="37042"/>
                </a:lnTo>
                <a:lnTo>
                  <a:pt x="306917" y="37042"/>
                </a:lnTo>
                <a:lnTo>
                  <a:pt x="304271" y="39688"/>
                </a:lnTo>
                <a:lnTo>
                  <a:pt x="304271" y="44979"/>
                </a:lnTo>
                <a:lnTo>
                  <a:pt x="304271" y="50271"/>
                </a:lnTo>
                <a:lnTo>
                  <a:pt x="301625" y="50271"/>
                </a:lnTo>
                <a:lnTo>
                  <a:pt x="298979" y="52917"/>
                </a:lnTo>
                <a:lnTo>
                  <a:pt x="291042" y="55563"/>
                </a:lnTo>
                <a:lnTo>
                  <a:pt x="283104" y="60854"/>
                </a:lnTo>
                <a:lnTo>
                  <a:pt x="280459" y="63500"/>
                </a:lnTo>
                <a:lnTo>
                  <a:pt x="275167" y="63500"/>
                </a:lnTo>
                <a:lnTo>
                  <a:pt x="259292" y="71438"/>
                </a:lnTo>
                <a:lnTo>
                  <a:pt x="246063" y="76729"/>
                </a:lnTo>
                <a:lnTo>
                  <a:pt x="246063" y="79375"/>
                </a:lnTo>
                <a:lnTo>
                  <a:pt x="246063" y="84667"/>
                </a:lnTo>
                <a:lnTo>
                  <a:pt x="243417" y="87312"/>
                </a:lnTo>
                <a:lnTo>
                  <a:pt x="240771" y="84667"/>
                </a:lnTo>
                <a:lnTo>
                  <a:pt x="238125" y="89958"/>
                </a:lnTo>
                <a:lnTo>
                  <a:pt x="227542" y="100542"/>
                </a:lnTo>
                <a:lnTo>
                  <a:pt x="222250" y="103187"/>
                </a:lnTo>
                <a:lnTo>
                  <a:pt x="216959" y="108479"/>
                </a:lnTo>
                <a:lnTo>
                  <a:pt x="214313" y="113771"/>
                </a:lnTo>
                <a:lnTo>
                  <a:pt x="214313" y="119062"/>
                </a:lnTo>
                <a:lnTo>
                  <a:pt x="216959" y="127000"/>
                </a:lnTo>
                <a:lnTo>
                  <a:pt x="222250" y="129646"/>
                </a:lnTo>
                <a:lnTo>
                  <a:pt x="224896" y="132292"/>
                </a:lnTo>
                <a:lnTo>
                  <a:pt x="227542" y="132292"/>
                </a:lnTo>
                <a:lnTo>
                  <a:pt x="227542" y="134937"/>
                </a:lnTo>
                <a:lnTo>
                  <a:pt x="222250" y="137583"/>
                </a:lnTo>
                <a:lnTo>
                  <a:pt x="219604" y="142875"/>
                </a:lnTo>
                <a:lnTo>
                  <a:pt x="219604" y="145521"/>
                </a:lnTo>
                <a:lnTo>
                  <a:pt x="216959" y="148167"/>
                </a:lnTo>
                <a:lnTo>
                  <a:pt x="216959" y="150812"/>
                </a:lnTo>
                <a:lnTo>
                  <a:pt x="216959" y="153458"/>
                </a:lnTo>
                <a:lnTo>
                  <a:pt x="214313" y="153458"/>
                </a:lnTo>
                <a:lnTo>
                  <a:pt x="214313" y="156104"/>
                </a:lnTo>
                <a:lnTo>
                  <a:pt x="214313" y="161396"/>
                </a:lnTo>
                <a:lnTo>
                  <a:pt x="214313" y="164042"/>
                </a:lnTo>
                <a:lnTo>
                  <a:pt x="211667" y="166687"/>
                </a:lnTo>
                <a:lnTo>
                  <a:pt x="206375" y="166687"/>
                </a:lnTo>
                <a:lnTo>
                  <a:pt x="201084" y="169333"/>
                </a:lnTo>
                <a:lnTo>
                  <a:pt x="198438" y="171979"/>
                </a:lnTo>
                <a:lnTo>
                  <a:pt x="193146" y="174625"/>
                </a:lnTo>
                <a:lnTo>
                  <a:pt x="185209" y="179917"/>
                </a:lnTo>
                <a:lnTo>
                  <a:pt x="182563" y="190500"/>
                </a:lnTo>
                <a:lnTo>
                  <a:pt x="179917" y="193146"/>
                </a:lnTo>
                <a:lnTo>
                  <a:pt x="177271" y="193146"/>
                </a:lnTo>
                <a:lnTo>
                  <a:pt x="174625" y="193146"/>
                </a:lnTo>
                <a:lnTo>
                  <a:pt x="169333" y="195792"/>
                </a:lnTo>
                <a:lnTo>
                  <a:pt x="156104" y="195792"/>
                </a:lnTo>
                <a:lnTo>
                  <a:pt x="148167" y="198437"/>
                </a:lnTo>
                <a:lnTo>
                  <a:pt x="140229" y="201083"/>
                </a:lnTo>
                <a:lnTo>
                  <a:pt x="132292" y="203729"/>
                </a:lnTo>
                <a:lnTo>
                  <a:pt x="127000" y="203729"/>
                </a:lnTo>
                <a:lnTo>
                  <a:pt x="121708" y="203729"/>
                </a:lnTo>
                <a:lnTo>
                  <a:pt x="108479" y="209021"/>
                </a:lnTo>
                <a:lnTo>
                  <a:pt x="100542" y="214312"/>
                </a:lnTo>
                <a:lnTo>
                  <a:pt x="95250" y="216958"/>
                </a:lnTo>
                <a:lnTo>
                  <a:pt x="89958" y="216958"/>
                </a:lnTo>
                <a:lnTo>
                  <a:pt x="87313" y="216958"/>
                </a:lnTo>
                <a:lnTo>
                  <a:pt x="84667" y="214312"/>
                </a:lnTo>
                <a:lnTo>
                  <a:pt x="79375" y="214312"/>
                </a:lnTo>
                <a:lnTo>
                  <a:pt x="76729" y="209021"/>
                </a:lnTo>
                <a:lnTo>
                  <a:pt x="79375" y="206375"/>
                </a:lnTo>
                <a:lnTo>
                  <a:pt x="79375" y="203729"/>
                </a:lnTo>
                <a:lnTo>
                  <a:pt x="76729" y="203729"/>
                </a:lnTo>
                <a:lnTo>
                  <a:pt x="74083" y="201083"/>
                </a:lnTo>
                <a:lnTo>
                  <a:pt x="76729" y="198437"/>
                </a:lnTo>
                <a:lnTo>
                  <a:pt x="74083" y="198437"/>
                </a:lnTo>
                <a:lnTo>
                  <a:pt x="68792" y="195792"/>
                </a:lnTo>
                <a:lnTo>
                  <a:pt x="63500" y="193146"/>
                </a:lnTo>
                <a:lnTo>
                  <a:pt x="58208" y="190500"/>
                </a:lnTo>
                <a:lnTo>
                  <a:pt x="55562" y="190500"/>
                </a:lnTo>
                <a:lnTo>
                  <a:pt x="55562" y="187854"/>
                </a:lnTo>
                <a:lnTo>
                  <a:pt x="47625" y="187854"/>
                </a:lnTo>
                <a:lnTo>
                  <a:pt x="39687" y="187854"/>
                </a:lnTo>
                <a:lnTo>
                  <a:pt x="34396" y="187854"/>
                </a:lnTo>
                <a:lnTo>
                  <a:pt x="31750" y="185208"/>
                </a:lnTo>
                <a:lnTo>
                  <a:pt x="29104" y="182562"/>
                </a:lnTo>
                <a:lnTo>
                  <a:pt x="29104" y="179917"/>
                </a:lnTo>
                <a:lnTo>
                  <a:pt x="31750" y="174625"/>
                </a:lnTo>
                <a:lnTo>
                  <a:pt x="37042" y="166687"/>
                </a:lnTo>
                <a:lnTo>
                  <a:pt x="39687" y="161396"/>
                </a:lnTo>
                <a:lnTo>
                  <a:pt x="39687" y="158750"/>
                </a:lnTo>
                <a:lnTo>
                  <a:pt x="37042" y="153458"/>
                </a:lnTo>
                <a:lnTo>
                  <a:pt x="34396" y="150812"/>
                </a:lnTo>
                <a:lnTo>
                  <a:pt x="34396" y="145521"/>
                </a:lnTo>
                <a:lnTo>
                  <a:pt x="39687" y="140229"/>
                </a:lnTo>
                <a:lnTo>
                  <a:pt x="42333" y="134937"/>
                </a:lnTo>
                <a:lnTo>
                  <a:pt x="39687" y="129646"/>
                </a:lnTo>
                <a:lnTo>
                  <a:pt x="34396" y="116417"/>
                </a:lnTo>
                <a:lnTo>
                  <a:pt x="31750" y="113771"/>
                </a:lnTo>
                <a:lnTo>
                  <a:pt x="34396" y="113771"/>
                </a:lnTo>
                <a:lnTo>
                  <a:pt x="42333" y="113771"/>
                </a:lnTo>
                <a:lnTo>
                  <a:pt x="44979" y="111125"/>
                </a:lnTo>
                <a:lnTo>
                  <a:pt x="44979" y="108479"/>
                </a:lnTo>
                <a:lnTo>
                  <a:pt x="47625" y="100542"/>
                </a:lnTo>
                <a:lnTo>
                  <a:pt x="47625" y="95250"/>
                </a:lnTo>
                <a:lnTo>
                  <a:pt x="44979" y="95250"/>
                </a:lnTo>
                <a:lnTo>
                  <a:pt x="44979" y="92604"/>
                </a:lnTo>
                <a:lnTo>
                  <a:pt x="47625" y="89958"/>
                </a:lnTo>
                <a:lnTo>
                  <a:pt x="47625" y="87312"/>
                </a:lnTo>
                <a:lnTo>
                  <a:pt x="47625" y="82021"/>
                </a:lnTo>
                <a:lnTo>
                  <a:pt x="44979" y="76729"/>
                </a:lnTo>
                <a:lnTo>
                  <a:pt x="47625" y="76729"/>
                </a:lnTo>
                <a:lnTo>
                  <a:pt x="50271" y="74083"/>
                </a:lnTo>
                <a:lnTo>
                  <a:pt x="52917" y="68792"/>
                </a:lnTo>
                <a:lnTo>
                  <a:pt x="55562" y="63500"/>
                </a:lnTo>
                <a:lnTo>
                  <a:pt x="60854" y="60854"/>
                </a:lnTo>
                <a:lnTo>
                  <a:pt x="60854" y="58208"/>
                </a:lnTo>
                <a:lnTo>
                  <a:pt x="58208" y="58208"/>
                </a:lnTo>
                <a:lnTo>
                  <a:pt x="58208" y="55563"/>
                </a:lnTo>
                <a:lnTo>
                  <a:pt x="55562" y="52917"/>
                </a:lnTo>
                <a:lnTo>
                  <a:pt x="52917" y="50271"/>
                </a:lnTo>
                <a:lnTo>
                  <a:pt x="47625" y="52917"/>
                </a:lnTo>
                <a:lnTo>
                  <a:pt x="44979" y="52917"/>
                </a:lnTo>
                <a:lnTo>
                  <a:pt x="42333" y="52917"/>
                </a:lnTo>
                <a:lnTo>
                  <a:pt x="37042" y="50271"/>
                </a:lnTo>
                <a:lnTo>
                  <a:pt x="29104" y="52917"/>
                </a:lnTo>
                <a:lnTo>
                  <a:pt x="26458" y="52917"/>
                </a:lnTo>
                <a:lnTo>
                  <a:pt x="26458" y="50271"/>
                </a:lnTo>
                <a:lnTo>
                  <a:pt x="26458" y="47625"/>
                </a:lnTo>
                <a:lnTo>
                  <a:pt x="26458" y="44979"/>
                </a:lnTo>
                <a:lnTo>
                  <a:pt x="18521" y="44979"/>
                </a:lnTo>
                <a:lnTo>
                  <a:pt x="13229" y="44979"/>
                </a:lnTo>
                <a:lnTo>
                  <a:pt x="7937" y="47625"/>
                </a:lnTo>
                <a:lnTo>
                  <a:pt x="5292" y="42333"/>
                </a:lnTo>
                <a:lnTo>
                  <a:pt x="7937" y="39688"/>
                </a:lnTo>
                <a:lnTo>
                  <a:pt x="13229" y="37042"/>
                </a:lnTo>
                <a:lnTo>
                  <a:pt x="10583" y="37042"/>
                </a:lnTo>
                <a:lnTo>
                  <a:pt x="7937" y="37042"/>
                </a:lnTo>
                <a:lnTo>
                  <a:pt x="7937" y="34396"/>
                </a:lnTo>
                <a:lnTo>
                  <a:pt x="7937" y="29104"/>
                </a:lnTo>
                <a:lnTo>
                  <a:pt x="5292" y="26458"/>
                </a:lnTo>
                <a:lnTo>
                  <a:pt x="2646" y="26458"/>
                </a:lnTo>
                <a:lnTo>
                  <a:pt x="5292" y="23813"/>
                </a:lnTo>
                <a:lnTo>
                  <a:pt x="5292" y="21167"/>
                </a:lnTo>
                <a:lnTo>
                  <a:pt x="2646" y="18521"/>
                </a:lnTo>
                <a:lnTo>
                  <a:pt x="0" y="18521"/>
                </a:lnTo>
                <a:lnTo>
                  <a:pt x="0" y="15875"/>
                </a:lnTo>
                <a:lnTo>
                  <a:pt x="0" y="13229"/>
                </a:lnTo>
                <a:lnTo>
                  <a:pt x="7937" y="10583"/>
                </a:lnTo>
                <a:lnTo>
                  <a:pt x="10583" y="7937"/>
                </a:lnTo>
                <a:lnTo>
                  <a:pt x="15875" y="7937"/>
                </a:lnTo>
                <a:lnTo>
                  <a:pt x="18521" y="7937"/>
                </a:lnTo>
                <a:lnTo>
                  <a:pt x="23812" y="5292"/>
                </a:lnTo>
                <a:lnTo>
                  <a:pt x="21167" y="2646"/>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63" name="Sweden"/>
          <p:cNvSpPr>
            <a:spLocks/>
          </p:cNvSpPr>
          <p:nvPr/>
        </p:nvSpPr>
        <p:spPr bwMode="auto">
          <a:xfrm>
            <a:off x="4543721" y="1049948"/>
            <a:ext cx="221046" cy="245822"/>
          </a:xfrm>
          <a:custGeom>
            <a:avLst/>
            <a:gdLst/>
            <a:ahLst/>
            <a:cxnLst>
              <a:cxn ang="0">
                <a:pos x="152" y="8"/>
              </a:cxn>
              <a:cxn ang="0">
                <a:pos x="176" y="18"/>
              </a:cxn>
              <a:cxn ang="0">
                <a:pos x="180" y="24"/>
              </a:cxn>
              <a:cxn ang="0">
                <a:pos x="190" y="36"/>
              </a:cxn>
              <a:cxn ang="0">
                <a:pos x="194" y="46"/>
              </a:cxn>
              <a:cxn ang="0">
                <a:pos x="188" y="50"/>
              </a:cxn>
              <a:cxn ang="0">
                <a:pos x="174" y="48"/>
              </a:cxn>
              <a:cxn ang="0">
                <a:pos x="166" y="52"/>
              </a:cxn>
              <a:cxn ang="0">
                <a:pos x="160" y="58"/>
              </a:cxn>
              <a:cxn ang="0">
                <a:pos x="150" y="74"/>
              </a:cxn>
              <a:cxn ang="0">
                <a:pos x="138" y="80"/>
              </a:cxn>
              <a:cxn ang="0">
                <a:pos x="130" y="84"/>
              </a:cxn>
              <a:cxn ang="0">
                <a:pos x="116" y="86"/>
              </a:cxn>
              <a:cxn ang="0">
                <a:pos x="108" y="90"/>
              </a:cxn>
              <a:cxn ang="0">
                <a:pos x="102" y="92"/>
              </a:cxn>
              <a:cxn ang="0">
                <a:pos x="100" y="108"/>
              </a:cxn>
              <a:cxn ang="0">
                <a:pos x="104" y="126"/>
              </a:cxn>
              <a:cxn ang="0">
                <a:pos x="114" y="126"/>
              </a:cxn>
              <a:cxn ang="0">
                <a:pos x="128" y="134"/>
              </a:cxn>
              <a:cxn ang="0">
                <a:pos x="124" y="140"/>
              </a:cxn>
              <a:cxn ang="0">
                <a:pos x="108" y="138"/>
              </a:cxn>
              <a:cxn ang="0">
                <a:pos x="130" y="140"/>
              </a:cxn>
              <a:cxn ang="0">
                <a:pos x="118" y="150"/>
              </a:cxn>
              <a:cxn ang="0">
                <a:pos x="110" y="148"/>
              </a:cxn>
              <a:cxn ang="0">
                <a:pos x="94" y="152"/>
              </a:cxn>
              <a:cxn ang="0">
                <a:pos x="102" y="158"/>
              </a:cxn>
              <a:cxn ang="0">
                <a:pos x="100" y="164"/>
              </a:cxn>
              <a:cxn ang="0">
                <a:pos x="100" y="176"/>
              </a:cxn>
              <a:cxn ang="0">
                <a:pos x="96" y="192"/>
              </a:cxn>
              <a:cxn ang="0">
                <a:pos x="84" y="202"/>
              </a:cxn>
              <a:cxn ang="0">
                <a:pos x="72" y="202"/>
              </a:cxn>
              <a:cxn ang="0">
                <a:pos x="66" y="210"/>
              </a:cxn>
              <a:cxn ang="0">
                <a:pos x="66" y="214"/>
              </a:cxn>
              <a:cxn ang="0">
                <a:pos x="44" y="216"/>
              </a:cxn>
              <a:cxn ang="0">
                <a:pos x="32" y="200"/>
              </a:cxn>
              <a:cxn ang="0">
                <a:pos x="36" y="196"/>
              </a:cxn>
              <a:cxn ang="0">
                <a:pos x="28" y="188"/>
              </a:cxn>
              <a:cxn ang="0">
                <a:pos x="18" y="174"/>
              </a:cxn>
              <a:cxn ang="0">
                <a:pos x="14" y="168"/>
              </a:cxn>
              <a:cxn ang="0">
                <a:pos x="10" y="164"/>
              </a:cxn>
              <a:cxn ang="0">
                <a:pos x="4" y="156"/>
              </a:cxn>
              <a:cxn ang="0">
                <a:pos x="6" y="152"/>
              </a:cxn>
              <a:cxn ang="0">
                <a:pos x="6" y="144"/>
              </a:cxn>
              <a:cxn ang="0">
                <a:pos x="10" y="136"/>
              </a:cxn>
              <a:cxn ang="0">
                <a:pos x="16" y="116"/>
              </a:cxn>
              <a:cxn ang="0">
                <a:pos x="20" y="108"/>
              </a:cxn>
              <a:cxn ang="0">
                <a:pos x="14" y="96"/>
              </a:cxn>
              <a:cxn ang="0">
                <a:pos x="12" y="80"/>
              </a:cxn>
              <a:cxn ang="0">
                <a:pos x="26" y="68"/>
              </a:cxn>
              <a:cxn ang="0">
                <a:pos x="44" y="60"/>
              </a:cxn>
              <a:cxn ang="0">
                <a:pos x="48" y="44"/>
              </a:cxn>
              <a:cxn ang="0">
                <a:pos x="56" y="36"/>
              </a:cxn>
              <a:cxn ang="0">
                <a:pos x="64" y="30"/>
              </a:cxn>
              <a:cxn ang="0">
                <a:pos x="90" y="10"/>
              </a:cxn>
              <a:cxn ang="0">
                <a:pos x="108" y="10"/>
              </a:cxn>
              <a:cxn ang="0">
                <a:pos x="134" y="0"/>
              </a:cxn>
            </a:cxnLst>
            <a:rect l="0" t="0" r="r" b="b"/>
            <a:pathLst>
              <a:path w="194" h="216">
                <a:moveTo>
                  <a:pt x="134" y="0"/>
                </a:moveTo>
                <a:lnTo>
                  <a:pt x="134" y="0"/>
                </a:lnTo>
                <a:lnTo>
                  <a:pt x="138" y="4"/>
                </a:lnTo>
                <a:lnTo>
                  <a:pt x="142" y="6"/>
                </a:lnTo>
                <a:lnTo>
                  <a:pt x="152" y="8"/>
                </a:lnTo>
                <a:lnTo>
                  <a:pt x="162" y="8"/>
                </a:lnTo>
                <a:lnTo>
                  <a:pt x="170" y="12"/>
                </a:lnTo>
                <a:lnTo>
                  <a:pt x="170" y="12"/>
                </a:lnTo>
                <a:lnTo>
                  <a:pt x="176" y="16"/>
                </a:lnTo>
                <a:lnTo>
                  <a:pt x="176" y="18"/>
                </a:lnTo>
                <a:lnTo>
                  <a:pt x="176" y="20"/>
                </a:lnTo>
                <a:lnTo>
                  <a:pt x="178" y="22"/>
                </a:lnTo>
                <a:lnTo>
                  <a:pt x="178" y="22"/>
                </a:lnTo>
                <a:lnTo>
                  <a:pt x="180" y="22"/>
                </a:lnTo>
                <a:lnTo>
                  <a:pt x="180" y="24"/>
                </a:lnTo>
                <a:lnTo>
                  <a:pt x="180" y="26"/>
                </a:lnTo>
                <a:lnTo>
                  <a:pt x="184" y="30"/>
                </a:lnTo>
                <a:lnTo>
                  <a:pt x="184" y="30"/>
                </a:lnTo>
                <a:lnTo>
                  <a:pt x="188" y="34"/>
                </a:lnTo>
                <a:lnTo>
                  <a:pt x="190" y="36"/>
                </a:lnTo>
                <a:lnTo>
                  <a:pt x="190" y="40"/>
                </a:lnTo>
                <a:lnTo>
                  <a:pt x="190" y="44"/>
                </a:lnTo>
                <a:lnTo>
                  <a:pt x="190" y="44"/>
                </a:lnTo>
                <a:lnTo>
                  <a:pt x="194" y="46"/>
                </a:lnTo>
                <a:lnTo>
                  <a:pt x="194" y="46"/>
                </a:lnTo>
                <a:lnTo>
                  <a:pt x="192" y="50"/>
                </a:lnTo>
                <a:lnTo>
                  <a:pt x="190" y="50"/>
                </a:lnTo>
                <a:lnTo>
                  <a:pt x="188" y="48"/>
                </a:lnTo>
                <a:lnTo>
                  <a:pt x="188" y="50"/>
                </a:lnTo>
                <a:lnTo>
                  <a:pt x="188" y="50"/>
                </a:lnTo>
                <a:lnTo>
                  <a:pt x="186" y="52"/>
                </a:lnTo>
                <a:lnTo>
                  <a:pt x="182" y="50"/>
                </a:lnTo>
                <a:lnTo>
                  <a:pt x="180" y="48"/>
                </a:lnTo>
                <a:lnTo>
                  <a:pt x="174" y="48"/>
                </a:lnTo>
                <a:lnTo>
                  <a:pt x="174" y="48"/>
                </a:lnTo>
                <a:lnTo>
                  <a:pt x="170" y="48"/>
                </a:lnTo>
                <a:lnTo>
                  <a:pt x="168" y="50"/>
                </a:lnTo>
                <a:lnTo>
                  <a:pt x="168" y="50"/>
                </a:lnTo>
                <a:lnTo>
                  <a:pt x="168" y="52"/>
                </a:lnTo>
                <a:lnTo>
                  <a:pt x="166" y="52"/>
                </a:lnTo>
                <a:lnTo>
                  <a:pt x="164" y="52"/>
                </a:lnTo>
                <a:lnTo>
                  <a:pt x="160" y="54"/>
                </a:lnTo>
                <a:lnTo>
                  <a:pt x="160" y="54"/>
                </a:lnTo>
                <a:lnTo>
                  <a:pt x="158" y="56"/>
                </a:lnTo>
                <a:lnTo>
                  <a:pt x="160" y="58"/>
                </a:lnTo>
                <a:lnTo>
                  <a:pt x="162" y="60"/>
                </a:lnTo>
                <a:lnTo>
                  <a:pt x="160" y="64"/>
                </a:lnTo>
                <a:lnTo>
                  <a:pt x="160" y="64"/>
                </a:lnTo>
                <a:lnTo>
                  <a:pt x="154" y="70"/>
                </a:lnTo>
                <a:lnTo>
                  <a:pt x="150" y="74"/>
                </a:lnTo>
                <a:lnTo>
                  <a:pt x="150" y="74"/>
                </a:lnTo>
                <a:lnTo>
                  <a:pt x="148" y="78"/>
                </a:lnTo>
                <a:lnTo>
                  <a:pt x="144" y="78"/>
                </a:lnTo>
                <a:lnTo>
                  <a:pt x="142" y="78"/>
                </a:lnTo>
                <a:lnTo>
                  <a:pt x="138" y="80"/>
                </a:lnTo>
                <a:lnTo>
                  <a:pt x="138" y="80"/>
                </a:lnTo>
                <a:lnTo>
                  <a:pt x="136" y="82"/>
                </a:lnTo>
                <a:lnTo>
                  <a:pt x="134" y="82"/>
                </a:lnTo>
                <a:lnTo>
                  <a:pt x="132" y="82"/>
                </a:lnTo>
                <a:lnTo>
                  <a:pt x="130" y="84"/>
                </a:lnTo>
                <a:lnTo>
                  <a:pt x="130" y="84"/>
                </a:lnTo>
                <a:lnTo>
                  <a:pt x="126" y="86"/>
                </a:lnTo>
                <a:lnTo>
                  <a:pt x="122" y="86"/>
                </a:lnTo>
                <a:lnTo>
                  <a:pt x="120" y="84"/>
                </a:lnTo>
                <a:lnTo>
                  <a:pt x="116" y="86"/>
                </a:lnTo>
                <a:lnTo>
                  <a:pt x="116" y="86"/>
                </a:lnTo>
                <a:lnTo>
                  <a:pt x="112" y="88"/>
                </a:lnTo>
                <a:lnTo>
                  <a:pt x="112" y="88"/>
                </a:lnTo>
                <a:lnTo>
                  <a:pt x="110" y="88"/>
                </a:lnTo>
                <a:lnTo>
                  <a:pt x="108" y="90"/>
                </a:lnTo>
                <a:lnTo>
                  <a:pt x="108" y="90"/>
                </a:lnTo>
                <a:lnTo>
                  <a:pt x="106" y="92"/>
                </a:lnTo>
                <a:lnTo>
                  <a:pt x="104" y="90"/>
                </a:lnTo>
                <a:lnTo>
                  <a:pt x="102" y="90"/>
                </a:lnTo>
                <a:lnTo>
                  <a:pt x="102" y="92"/>
                </a:lnTo>
                <a:lnTo>
                  <a:pt x="102" y="92"/>
                </a:lnTo>
                <a:lnTo>
                  <a:pt x="102" y="98"/>
                </a:lnTo>
                <a:lnTo>
                  <a:pt x="102" y="102"/>
                </a:lnTo>
                <a:lnTo>
                  <a:pt x="100" y="104"/>
                </a:lnTo>
                <a:lnTo>
                  <a:pt x="100" y="108"/>
                </a:lnTo>
                <a:lnTo>
                  <a:pt x="100" y="108"/>
                </a:lnTo>
                <a:lnTo>
                  <a:pt x="100" y="112"/>
                </a:lnTo>
                <a:lnTo>
                  <a:pt x="98" y="116"/>
                </a:lnTo>
                <a:lnTo>
                  <a:pt x="100" y="120"/>
                </a:lnTo>
                <a:lnTo>
                  <a:pt x="104" y="126"/>
                </a:lnTo>
                <a:lnTo>
                  <a:pt x="104" y="126"/>
                </a:lnTo>
                <a:lnTo>
                  <a:pt x="110" y="128"/>
                </a:lnTo>
                <a:lnTo>
                  <a:pt x="112" y="128"/>
                </a:lnTo>
                <a:lnTo>
                  <a:pt x="112" y="126"/>
                </a:lnTo>
                <a:lnTo>
                  <a:pt x="114" y="126"/>
                </a:lnTo>
                <a:lnTo>
                  <a:pt x="114" y="126"/>
                </a:lnTo>
                <a:lnTo>
                  <a:pt x="118" y="128"/>
                </a:lnTo>
                <a:lnTo>
                  <a:pt x="124" y="132"/>
                </a:lnTo>
                <a:lnTo>
                  <a:pt x="124" y="132"/>
                </a:lnTo>
                <a:lnTo>
                  <a:pt x="128" y="134"/>
                </a:lnTo>
                <a:lnTo>
                  <a:pt x="132" y="136"/>
                </a:lnTo>
                <a:lnTo>
                  <a:pt x="132" y="136"/>
                </a:lnTo>
                <a:lnTo>
                  <a:pt x="130" y="138"/>
                </a:lnTo>
                <a:lnTo>
                  <a:pt x="130" y="138"/>
                </a:lnTo>
                <a:lnTo>
                  <a:pt x="124" y="140"/>
                </a:lnTo>
                <a:lnTo>
                  <a:pt x="122" y="140"/>
                </a:lnTo>
                <a:lnTo>
                  <a:pt x="120" y="140"/>
                </a:lnTo>
                <a:lnTo>
                  <a:pt x="120" y="140"/>
                </a:lnTo>
                <a:lnTo>
                  <a:pt x="114" y="138"/>
                </a:lnTo>
                <a:lnTo>
                  <a:pt x="108" y="138"/>
                </a:lnTo>
                <a:lnTo>
                  <a:pt x="108" y="138"/>
                </a:lnTo>
                <a:lnTo>
                  <a:pt x="116" y="140"/>
                </a:lnTo>
                <a:lnTo>
                  <a:pt x="120" y="142"/>
                </a:lnTo>
                <a:lnTo>
                  <a:pt x="122" y="142"/>
                </a:lnTo>
                <a:lnTo>
                  <a:pt x="130" y="140"/>
                </a:lnTo>
                <a:lnTo>
                  <a:pt x="130" y="140"/>
                </a:lnTo>
                <a:lnTo>
                  <a:pt x="126" y="148"/>
                </a:lnTo>
                <a:lnTo>
                  <a:pt x="122" y="150"/>
                </a:lnTo>
                <a:lnTo>
                  <a:pt x="120" y="148"/>
                </a:lnTo>
                <a:lnTo>
                  <a:pt x="118" y="150"/>
                </a:lnTo>
                <a:lnTo>
                  <a:pt x="118" y="150"/>
                </a:lnTo>
                <a:lnTo>
                  <a:pt x="116" y="152"/>
                </a:lnTo>
                <a:lnTo>
                  <a:pt x="116" y="152"/>
                </a:lnTo>
                <a:lnTo>
                  <a:pt x="110" y="148"/>
                </a:lnTo>
                <a:lnTo>
                  <a:pt x="110" y="148"/>
                </a:lnTo>
                <a:lnTo>
                  <a:pt x="112" y="150"/>
                </a:lnTo>
                <a:lnTo>
                  <a:pt x="110" y="152"/>
                </a:lnTo>
                <a:lnTo>
                  <a:pt x="106" y="154"/>
                </a:lnTo>
                <a:lnTo>
                  <a:pt x="100" y="152"/>
                </a:lnTo>
                <a:lnTo>
                  <a:pt x="94" y="152"/>
                </a:lnTo>
                <a:lnTo>
                  <a:pt x="94" y="152"/>
                </a:lnTo>
                <a:lnTo>
                  <a:pt x="102" y="156"/>
                </a:lnTo>
                <a:lnTo>
                  <a:pt x="104" y="156"/>
                </a:lnTo>
                <a:lnTo>
                  <a:pt x="102" y="158"/>
                </a:lnTo>
                <a:lnTo>
                  <a:pt x="102" y="158"/>
                </a:lnTo>
                <a:lnTo>
                  <a:pt x="102" y="160"/>
                </a:lnTo>
                <a:lnTo>
                  <a:pt x="102" y="160"/>
                </a:lnTo>
                <a:lnTo>
                  <a:pt x="102" y="162"/>
                </a:lnTo>
                <a:lnTo>
                  <a:pt x="100" y="164"/>
                </a:lnTo>
                <a:lnTo>
                  <a:pt x="100" y="164"/>
                </a:lnTo>
                <a:lnTo>
                  <a:pt x="98" y="168"/>
                </a:lnTo>
                <a:lnTo>
                  <a:pt x="100" y="170"/>
                </a:lnTo>
                <a:lnTo>
                  <a:pt x="100" y="174"/>
                </a:lnTo>
                <a:lnTo>
                  <a:pt x="100" y="176"/>
                </a:lnTo>
                <a:lnTo>
                  <a:pt x="100" y="176"/>
                </a:lnTo>
                <a:lnTo>
                  <a:pt x="98" y="180"/>
                </a:lnTo>
                <a:lnTo>
                  <a:pt x="98" y="184"/>
                </a:lnTo>
                <a:lnTo>
                  <a:pt x="98" y="188"/>
                </a:lnTo>
                <a:lnTo>
                  <a:pt x="96" y="192"/>
                </a:lnTo>
                <a:lnTo>
                  <a:pt x="96" y="192"/>
                </a:lnTo>
                <a:lnTo>
                  <a:pt x="96" y="198"/>
                </a:lnTo>
                <a:lnTo>
                  <a:pt x="94" y="200"/>
                </a:lnTo>
                <a:lnTo>
                  <a:pt x="88" y="202"/>
                </a:lnTo>
                <a:lnTo>
                  <a:pt x="88" y="202"/>
                </a:lnTo>
                <a:lnTo>
                  <a:pt x="84" y="202"/>
                </a:lnTo>
                <a:lnTo>
                  <a:pt x="80" y="200"/>
                </a:lnTo>
                <a:lnTo>
                  <a:pt x="76" y="200"/>
                </a:lnTo>
                <a:lnTo>
                  <a:pt x="74" y="202"/>
                </a:lnTo>
                <a:lnTo>
                  <a:pt x="74" y="202"/>
                </a:lnTo>
                <a:lnTo>
                  <a:pt x="72" y="202"/>
                </a:lnTo>
                <a:lnTo>
                  <a:pt x="72" y="202"/>
                </a:lnTo>
                <a:lnTo>
                  <a:pt x="70" y="202"/>
                </a:lnTo>
                <a:lnTo>
                  <a:pt x="68" y="206"/>
                </a:lnTo>
                <a:lnTo>
                  <a:pt x="68" y="206"/>
                </a:lnTo>
                <a:lnTo>
                  <a:pt x="66" y="210"/>
                </a:lnTo>
                <a:lnTo>
                  <a:pt x="68" y="210"/>
                </a:lnTo>
                <a:lnTo>
                  <a:pt x="68" y="212"/>
                </a:lnTo>
                <a:lnTo>
                  <a:pt x="68" y="214"/>
                </a:lnTo>
                <a:lnTo>
                  <a:pt x="68" y="214"/>
                </a:lnTo>
                <a:lnTo>
                  <a:pt x="66" y="214"/>
                </a:lnTo>
                <a:lnTo>
                  <a:pt x="60" y="214"/>
                </a:lnTo>
                <a:lnTo>
                  <a:pt x="56" y="212"/>
                </a:lnTo>
                <a:lnTo>
                  <a:pt x="50" y="214"/>
                </a:lnTo>
                <a:lnTo>
                  <a:pt x="50" y="214"/>
                </a:lnTo>
                <a:lnTo>
                  <a:pt x="44" y="216"/>
                </a:lnTo>
                <a:lnTo>
                  <a:pt x="42" y="214"/>
                </a:lnTo>
                <a:lnTo>
                  <a:pt x="40" y="210"/>
                </a:lnTo>
                <a:lnTo>
                  <a:pt x="36" y="206"/>
                </a:lnTo>
                <a:lnTo>
                  <a:pt x="36" y="206"/>
                </a:lnTo>
                <a:lnTo>
                  <a:pt x="32" y="200"/>
                </a:lnTo>
                <a:lnTo>
                  <a:pt x="30" y="198"/>
                </a:lnTo>
                <a:lnTo>
                  <a:pt x="30" y="198"/>
                </a:lnTo>
                <a:lnTo>
                  <a:pt x="34" y="198"/>
                </a:lnTo>
                <a:lnTo>
                  <a:pt x="36" y="198"/>
                </a:lnTo>
                <a:lnTo>
                  <a:pt x="36" y="196"/>
                </a:lnTo>
                <a:lnTo>
                  <a:pt x="34" y="194"/>
                </a:lnTo>
                <a:lnTo>
                  <a:pt x="34" y="194"/>
                </a:lnTo>
                <a:lnTo>
                  <a:pt x="32" y="192"/>
                </a:lnTo>
                <a:lnTo>
                  <a:pt x="28" y="188"/>
                </a:lnTo>
                <a:lnTo>
                  <a:pt x="28" y="188"/>
                </a:lnTo>
                <a:lnTo>
                  <a:pt x="24" y="186"/>
                </a:lnTo>
                <a:lnTo>
                  <a:pt x="22" y="182"/>
                </a:lnTo>
                <a:lnTo>
                  <a:pt x="20" y="174"/>
                </a:lnTo>
                <a:lnTo>
                  <a:pt x="20" y="174"/>
                </a:lnTo>
                <a:lnTo>
                  <a:pt x="18" y="174"/>
                </a:lnTo>
                <a:lnTo>
                  <a:pt x="18" y="174"/>
                </a:lnTo>
                <a:lnTo>
                  <a:pt x="16" y="174"/>
                </a:lnTo>
                <a:lnTo>
                  <a:pt x="16" y="172"/>
                </a:lnTo>
                <a:lnTo>
                  <a:pt x="16" y="172"/>
                </a:lnTo>
                <a:lnTo>
                  <a:pt x="14" y="168"/>
                </a:lnTo>
                <a:lnTo>
                  <a:pt x="12" y="170"/>
                </a:lnTo>
                <a:lnTo>
                  <a:pt x="12" y="170"/>
                </a:lnTo>
                <a:lnTo>
                  <a:pt x="12" y="166"/>
                </a:lnTo>
                <a:lnTo>
                  <a:pt x="12" y="166"/>
                </a:lnTo>
                <a:lnTo>
                  <a:pt x="10" y="164"/>
                </a:lnTo>
                <a:lnTo>
                  <a:pt x="10" y="164"/>
                </a:lnTo>
                <a:lnTo>
                  <a:pt x="8" y="164"/>
                </a:lnTo>
                <a:lnTo>
                  <a:pt x="6" y="160"/>
                </a:lnTo>
                <a:lnTo>
                  <a:pt x="6" y="160"/>
                </a:lnTo>
                <a:lnTo>
                  <a:pt x="4" y="156"/>
                </a:lnTo>
                <a:lnTo>
                  <a:pt x="2" y="154"/>
                </a:lnTo>
                <a:lnTo>
                  <a:pt x="0" y="152"/>
                </a:lnTo>
                <a:lnTo>
                  <a:pt x="4" y="152"/>
                </a:lnTo>
                <a:lnTo>
                  <a:pt x="4" y="152"/>
                </a:lnTo>
                <a:lnTo>
                  <a:pt x="6" y="152"/>
                </a:lnTo>
                <a:lnTo>
                  <a:pt x="8" y="152"/>
                </a:lnTo>
                <a:lnTo>
                  <a:pt x="10" y="150"/>
                </a:lnTo>
                <a:lnTo>
                  <a:pt x="8" y="146"/>
                </a:lnTo>
                <a:lnTo>
                  <a:pt x="8" y="146"/>
                </a:lnTo>
                <a:lnTo>
                  <a:pt x="6" y="144"/>
                </a:lnTo>
                <a:lnTo>
                  <a:pt x="8" y="142"/>
                </a:lnTo>
                <a:lnTo>
                  <a:pt x="8" y="140"/>
                </a:lnTo>
                <a:lnTo>
                  <a:pt x="8" y="138"/>
                </a:lnTo>
                <a:lnTo>
                  <a:pt x="8" y="138"/>
                </a:lnTo>
                <a:lnTo>
                  <a:pt x="10" y="136"/>
                </a:lnTo>
                <a:lnTo>
                  <a:pt x="14" y="132"/>
                </a:lnTo>
                <a:lnTo>
                  <a:pt x="16" y="130"/>
                </a:lnTo>
                <a:lnTo>
                  <a:pt x="18" y="126"/>
                </a:lnTo>
                <a:lnTo>
                  <a:pt x="18" y="122"/>
                </a:lnTo>
                <a:lnTo>
                  <a:pt x="16" y="116"/>
                </a:lnTo>
                <a:lnTo>
                  <a:pt x="16" y="116"/>
                </a:lnTo>
                <a:lnTo>
                  <a:pt x="20" y="114"/>
                </a:lnTo>
                <a:lnTo>
                  <a:pt x="22" y="110"/>
                </a:lnTo>
                <a:lnTo>
                  <a:pt x="22" y="110"/>
                </a:lnTo>
                <a:lnTo>
                  <a:pt x="20" y="108"/>
                </a:lnTo>
                <a:lnTo>
                  <a:pt x="18" y="106"/>
                </a:lnTo>
                <a:lnTo>
                  <a:pt x="16" y="104"/>
                </a:lnTo>
                <a:lnTo>
                  <a:pt x="16" y="100"/>
                </a:lnTo>
                <a:lnTo>
                  <a:pt x="16" y="100"/>
                </a:lnTo>
                <a:lnTo>
                  <a:pt x="14" y="96"/>
                </a:lnTo>
                <a:lnTo>
                  <a:pt x="14" y="92"/>
                </a:lnTo>
                <a:lnTo>
                  <a:pt x="14" y="86"/>
                </a:lnTo>
                <a:lnTo>
                  <a:pt x="14" y="86"/>
                </a:lnTo>
                <a:lnTo>
                  <a:pt x="14" y="82"/>
                </a:lnTo>
                <a:lnTo>
                  <a:pt x="12" y="80"/>
                </a:lnTo>
                <a:lnTo>
                  <a:pt x="12" y="78"/>
                </a:lnTo>
                <a:lnTo>
                  <a:pt x="12" y="78"/>
                </a:lnTo>
                <a:lnTo>
                  <a:pt x="18" y="76"/>
                </a:lnTo>
                <a:lnTo>
                  <a:pt x="22" y="72"/>
                </a:lnTo>
                <a:lnTo>
                  <a:pt x="26" y="68"/>
                </a:lnTo>
                <a:lnTo>
                  <a:pt x="34" y="66"/>
                </a:lnTo>
                <a:lnTo>
                  <a:pt x="34" y="66"/>
                </a:lnTo>
                <a:lnTo>
                  <a:pt x="42" y="64"/>
                </a:lnTo>
                <a:lnTo>
                  <a:pt x="44" y="62"/>
                </a:lnTo>
                <a:lnTo>
                  <a:pt x="44" y="60"/>
                </a:lnTo>
                <a:lnTo>
                  <a:pt x="44" y="56"/>
                </a:lnTo>
                <a:lnTo>
                  <a:pt x="46" y="52"/>
                </a:lnTo>
                <a:lnTo>
                  <a:pt x="46" y="52"/>
                </a:lnTo>
                <a:lnTo>
                  <a:pt x="48" y="48"/>
                </a:lnTo>
                <a:lnTo>
                  <a:pt x="48" y="44"/>
                </a:lnTo>
                <a:lnTo>
                  <a:pt x="48" y="40"/>
                </a:lnTo>
                <a:lnTo>
                  <a:pt x="50" y="38"/>
                </a:lnTo>
                <a:lnTo>
                  <a:pt x="50" y="38"/>
                </a:lnTo>
                <a:lnTo>
                  <a:pt x="52" y="36"/>
                </a:lnTo>
                <a:lnTo>
                  <a:pt x="56" y="36"/>
                </a:lnTo>
                <a:lnTo>
                  <a:pt x="58" y="36"/>
                </a:lnTo>
                <a:lnTo>
                  <a:pt x="62" y="36"/>
                </a:lnTo>
                <a:lnTo>
                  <a:pt x="62" y="36"/>
                </a:lnTo>
                <a:lnTo>
                  <a:pt x="64" y="34"/>
                </a:lnTo>
                <a:lnTo>
                  <a:pt x="64" y="30"/>
                </a:lnTo>
                <a:lnTo>
                  <a:pt x="66" y="26"/>
                </a:lnTo>
                <a:lnTo>
                  <a:pt x="72" y="20"/>
                </a:lnTo>
                <a:lnTo>
                  <a:pt x="72" y="20"/>
                </a:lnTo>
                <a:lnTo>
                  <a:pt x="80" y="16"/>
                </a:lnTo>
                <a:lnTo>
                  <a:pt x="90" y="10"/>
                </a:lnTo>
                <a:lnTo>
                  <a:pt x="90" y="10"/>
                </a:lnTo>
                <a:lnTo>
                  <a:pt x="100" y="6"/>
                </a:lnTo>
                <a:lnTo>
                  <a:pt x="102" y="6"/>
                </a:lnTo>
                <a:lnTo>
                  <a:pt x="104" y="8"/>
                </a:lnTo>
                <a:lnTo>
                  <a:pt x="108" y="10"/>
                </a:lnTo>
                <a:lnTo>
                  <a:pt x="110" y="10"/>
                </a:lnTo>
                <a:lnTo>
                  <a:pt x="114" y="10"/>
                </a:lnTo>
                <a:lnTo>
                  <a:pt x="114" y="10"/>
                </a:lnTo>
                <a:lnTo>
                  <a:pt x="122" y="6"/>
                </a:lnTo>
                <a:lnTo>
                  <a:pt x="134" y="0"/>
                </a:lnTo>
                <a:lnTo>
                  <a:pt x="134" y="0"/>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64" name="Switzerland"/>
          <p:cNvSpPr>
            <a:spLocks/>
          </p:cNvSpPr>
          <p:nvPr/>
        </p:nvSpPr>
        <p:spPr bwMode="auto">
          <a:xfrm>
            <a:off x="4461683" y="1461927"/>
            <a:ext cx="91152" cy="40970"/>
          </a:xfrm>
          <a:custGeom>
            <a:avLst/>
            <a:gdLst/>
            <a:ahLst/>
            <a:cxnLst>
              <a:cxn ang="0">
                <a:pos x="20" y="36"/>
              </a:cxn>
              <a:cxn ang="0">
                <a:pos x="18" y="32"/>
              </a:cxn>
              <a:cxn ang="0">
                <a:pos x="16" y="28"/>
              </a:cxn>
              <a:cxn ang="0">
                <a:pos x="14" y="26"/>
              </a:cxn>
              <a:cxn ang="0">
                <a:pos x="10" y="26"/>
              </a:cxn>
              <a:cxn ang="0">
                <a:pos x="6" y="28"/>
              </a:cxn>
              <a:cxn ang="0">
                <a:pos x="2" y="32"/>
              </a:cxn>
              <a:cxn ang="0">
                <a:pos x="0" y="30"/>
              </a:cxn>
              <a:cxn ang="0">
                <a:pos x="4" y="14"/>
              </a:cxn>
              <a:cxn ang="0">
                <a:pos x="6" y="12"/>
              </a:cxn>
              <a:cxn ang="0">
                <a:pos x="14" y="8"/>
              </a:cxn>
              <a:cxn ang="0">
                <a:pos x="16" y="6"/>
              </a:cxn>
              <a:cxn ang="0">
                <a:pos x="16" y="4"/>
              </a:cxn>
              <a:cxn ang="0">
                <a:pos x="14" y="4"/>
              </a:cxn>
              <a:cxn ang="0">
                <a:pos x="18" y="2"/>
              </a:cxn>
              <a:cxn ang="0">
                <a:pos x="22" y="2"/>
              </a:cxn>
              <a:cxn ang="0">
                <a:pos x="26" y="0"/>
              </a:cxn>
              <a:cxn ang="0">
                <a:pos x="28" y="0"/>
              </a:cxn>
              <a:cxn ang="0">
                <a:pos x="38" y="2"/>
              </a:cxn>
              <a:cxn ang="0">
                <a:pos x="44" y="2"/>
              </a:cxn>
              <a:cxn ang="0">
                <a:pos x="44" y="0"/>
              </a:cxn>
              <a:cxn ang="0">
                <a:pos x="44" y="0"/>
              </a:cxn>
              <a:cxn ang="0">
                <a:pos x="62" y="4"/>
              </a:cxn>
              <a:cxn ang="0">
                <a:pos x="66" y="6"/>
              </a:cxn>
              <a:cxn ang="0">
                <a:pos x="64" y="10"/>
              </a:cxn>
              <a:cxn ang="0">
                <a:pos x="66" y="12"/>
              </a:cxn>
              <a:cxn ang="0">
                <a:pos x="70" y="14"/>
              </a:cxn>
              <a:cxn ang="0">
                <a:pos x="74" y="16"/>
              </a:cxn>
              <a:cxn ang="0">
                <a:pos x="78" y="14"/>
              </a:cxn>
              <a:cxn ang="0">
                <a:pos x="80" y="20"/>
              </a:cxn>
              <a:cxn ang="0">
                <a:pos x="80" y="22"/>
              </a:cxn>
              <a:cxn ang="0">
                <a:pos x="76" y="22"/>
              </a:cxn>
              <a:cxn ang="0">
                <a:pos x="74" y="22"/>
              </a:cxn>
              <a:cxn ang="0">
                <a:pos x="76" y="26"/>
              </a:cxn>
              <a:cxn ang="0">
                <a:pos x="76" y="28"/>
              </a:cxn>
              <a:cxn ang="0">
                <a:pos x="74" y="28"/>
              </a:cxn>
              <a:cxn ang="0">
                <a:pos x="70" y="26"/>
              </a:cxn>
              <a:cxn ang="0">
                <a:pos x="68" y="26"/>
              </a:cxn>
              <a:cxn ang="0">
                <a:pos x="66" y="24"/>
              </a:cxn>
              <a:cxn ang="0">
                <a:pos x="64" y="26"/>
              </a:cxn>
              <a:cxn ang="0">
                <a:pos x="60" y="30"/>
              </a:cxn>
              <a:cxn ang="0">
                <a:pos x="58" y="34"/>
              </a:cxn>
              <a:cxn ang="0">
                <a:pos x="56" y="34"/>
              </a:cxn>
              <a:cxn ang="0">
                <a:pos x="50" y="32"/>
              </a:cxn>
              <a:cxn ang="0">
                <a:pos x="48" y="28"/>
              </a:cxn>
              <a:cxn ang="0">
                <a:pos x="48" y="26"/>
              </a:cxn>
              <a:cxn ang="0">
                <a:pos x="44" y="26"/>
              </a:cxn>
              <a:cxn ang="0">
                <a:pos x="36" y="34"/>
              </a:cxn>
              <a:cxn ang="0">
                <a:pos x="34" y="36"/>
              </a:cxn>
              <a:cxn ang="0">
                <a:pos x="30" y="34"/>
              </a:cxn>
              <a:cxn ang="0">
                <a:pos x="20" y="36"/>
              </a:cxn>
            </a:cxnLst>
            <a:rect l="0" t="0" r="r" b="b"/>
            <a:pathLst>
              <a:path w="80" h="36">
                <a:moveTo>
                  <a:pt x="20" y="36"/>
                </a:moveTo>
                <a:lnTo>
                  <a:pt x="20" y="36"/>
                </a:lnTo>
                <a:lnTo>
                  <a:pt x="18" y="34"/>
                </a:lnTo>
                <a:lnTo>
                  <a:pt x="18" y="32"/>
                </a:lnTo>
                <a:lnTo>
                  <a:pt x="18" y="32"/>
                </a:lnTo>
                <a:lnTo>
                  <a:pt x="16" y="28"/>
                </a:lnTo>
                <a:lnTo>
                  <a:pt x="14" y="26"/>
                </a:lnTo>
                <a:lnTo>
                  <a:pt x="14" y="26"/>
                </a:lnTo>
                <a:lnTo>
                  <a:pt x="12" y="26"/>
                </a:lnTo>
                <a:lnTo>
                  <a:pt x="10" y="26"/>
                </a:lnTo>
                <a:lnTo>
                  <a:pt x="6" y="28"/>
                </a:lnTo>
                <a:lnTo>
                  <a:pt x="6" y="28"/>
                </a:lnTo>
                <a:lnTo>
                  <a:pt x="2" y="30"/>
                </a:lnTo>
                <a:lnTo>
                  <a:pt x="2" y="32"/>
                </a:lnTo>
                <a:lnTo>
                  <a:pt x="0" y="30"/>
                </a:lnTo>
                <a:lnTo>
                  <a:pt x="0" y="30"/>
                </a:lnTo>
                <a:lnTo>
                  <a:pt x="2" y="22"/>
                </a:lnTo>
                <a:lnTo>
                  <a:pt x="4" y="14"/>
                </a:lnTo>
                <a:lnTo>
                  <a:pt x="4" y="14"/>
                </a:lnTo>
                <a:lnTo>
                  <a:pt x="6" y="12"/>
                </a:lnTo>
                <a:lnTo>
                  <a:pt x="8" y="12"/>
                </a:lnTo>
                <a:lnTo>
                  <a:pt x="14" y="8"/>
                </a:lnTo>
                <a:lnTo>
                  <a:pt x="14" y="8"/>
                </a:lnTo>
                <a:lnTo>
                  <a:pt x="16" y="6"/>
                </a:lnTo>
                <a:lnTo>
                  <a:pt x="16" y="6"/>
                </a:lnTo>
                <a:lnTo>
                  <a:pt x="16" y="4"/>
                </a:lnTo>
                <a:lnTo>
                  <a:pt x="16" y="4"/>
                </a:lnTo>
                <a:lnTo>
                  <a:pt x="14" y="4"/>
                </a:lnTo>
                <a:lnTo>
                  <a:pt x="16" y="2"/>
                </a:lnTo>
                <a:lnTo>
                  <a:pt x="18" y="2"/>
                </a:lnTo>
                <a:lnTo>
                  <a:pt x="22" y="2"/>
                </a:lnTo>
                <a:lnTo>
                  <a:pt x="22" y="2"/>
                </a:lnTo>
                <a:lnTo>
                  <a:pt x="24" y="2"/>
                </a:lnTo>
                <a:lnTo>
                  <a:pt x="26" y="0"/>
                </a:lnTo>
                <a:lnTo>
                  <a:pt x="26" y="0"/>
                </a:lnTo>
                <a:lnTo>
                  <a:pt x="28" y="0"/>
                </a:lnTo>
                <a:lnTo>
                  <a:pt x="28" y="0"/>
                </a:lnTo>
                <a:lnTo>
                  <a:pt x="38" y="2"/>
                </a:lnTo>
                <a:lnTo>
                  <a:pt x="42" y="2"/>
                </a:lnTo>
                <a:lnTo>
                  <a:pt x="44" y="2"/>
                </a:lnTo>
                <a:lnTo>
                  <a:pt x="44" y="0"/>
                </a:lnTo>
                <a:lnTo>
                  <a:pt x="44" y="0"/>
                </a:lnTo>
                <a:lnTo>
                  <a:pt x="44" y="0"/>
                </a:lnTo>
                <a:lnTo>
                  <a:pt x="44" y="0"/>
                </a:lnTo>
                <a:lnTo>
                  <a:pt x="48" y="0"/>
                </a:lnTo>
                <a:lnTo>
                  <a:pt x="62" y="4"/>
                </a:lnTo>
                <a:lnTo>
                  <a:pt x="62" y="4"/>
                </a:lnTo>
                <a:lnTo>
                  <a:pt x="66" y="6"/>
                </a:lnTo>
                <a:lnTo>
                  <a:pt x="64" y="8"/>
                </a:lnTo>
                <a:lnTo>
                  <a:pt x="64" y="10"/>
                </a:lnTo>
                <a:lnTo>
                  <a:pt x="66" y="12"/>
                </a:lnTo>
                <a:lnTo>
                  <a:pt x="66" y="12"/>
                </a:lnTo>
                <a:lnTo>
                  <a:pt x="70" y="12"/>
                </a:lnTo>
                <a:lnTo>
                  <a:pt x="70" y="14"/>
                </a:lnTo>
                <a:lnTo>
                  <a:pt x="72" y="16"/>
                </a:lnTo>
                <a:lnTo>
                  <a:pt x="74" y="16"/>
                </a:lnTo>
                <a:lnTo>
                  <a:pt x="74" y="16"/>
                </a:lnTo>
                <a:lnTo>
                  <a:pt x="78" y="14"/>
                </a:lnTo>
                <a:lnTo>
                  <a:pt x="78" y="16"/>
                </a:lnTo>
                <a:lnTo>
                  <a:pt x="80" y="20"/>
                </a:lnTo>
                <a:lnTo>
                  <a:pt x="80" y="20"/>
                </a:lnTo>
                <a:lnTo>
                  <a:pt x="80" y="22"/>
                </a:lnTo>
                <a:lnTo>
                  <a:pt x="76" y="22"/>
                </a:lnTo>
                <a:lnTo>
                  <a:pt x="76" y="22"/>
                </a:lnTo>
                <a:lnTo>
                  <a:pt x="74" y="22"/>
                </a:lnTo>
                <a:lnTo>
                  <a:pt x="74" y="22"/>
                </a:lnTo>
                <a:lnTo>
                  <a:pt x="76" y="26"/>
                </a:lnTo>
                <a:lnTo>
                  <a:pt x="76" y="26"/>
                </a:lnTo>
                <a:lnTo>
                  <a:pt x="76" y="28"/>
                </a:lnTo>
                <a:lnTo>
                  <a:pt x="76" y="28"/>
                </a:lnTo>
                <a:lnTo>
                  <a:pt x="74" y="28"/>
                </a:lnTo>
                <a:lnTo>
                  <a:pt x="74" y="28"/>
                </a:lnTo>
                <a:lnTo>
                  <a:pt x="72" y="26"/>
                </a:lnTo>
                <a:lnTo>
                  <a:pt x="70" y="26"/>
                </a:lnTo>
                <a:lnTo>
                  <a:pt x="70" y="26"/>
                </a:lnTo>
                <a:lnTo>
                  <a:pt x="68" y="26"/>
                </a:lnTo>
                <a:lnTo>
                  <a:pt x="66" y="24"/>
                </a:lnTo>
                <a:lnTo>
                  <a:pt x="66" y="24"/>
                </a:lnTo>
                <a:lnTo>
                  <a:pt x="64" y="24"/>
                </a:lnTo>
                <a:lnTo>
                  <a:pt x="64" y="26"/>
                </a:lnTo>
                <a:lnTo>
                  <a:pt x="62" y="28"/>
                </a:lnTo>
                <a:lnTo>
                  <a:pt x="60" y="30"/>
                </a:lnTo>
                <a:lnTo>
                  <a:pt x="60" y="30"/>
                </a:lnTo>
                <a:lnTo>
                  <a:pt x="58" y="34"/>
                </a:lnTo>
                <a:lnTo>
                  <a:pt x="58" y="34"/>
                </a:lnTo>
                <a:lnTo>
                  <a:pt x="56" y="34"/>
                </a:lnTo>
                <a:lnTo>
                  <a:pt x="56" y="34"/>
                </a:lnTo>
                <a:lnTo>
                  <a:pt x="50" y="32"/>
                </a:lnTo>
                <a:lnTo>
                  <a:pt x="48" y="30"/>
                </a:lnTo>
                <a:lnTo>
                  <a:pt x="48" y="28"/>
                </a:lnTo>
                <a:lnTo>
                  <a:pt x="48" y="28"/>
                </a:lnTo>
                <a:lnTo>
                  <a:pt x="48" y="26"/>
                </a:lnTo>
                <a:lnTo>
                  <a:pt x="44" y="26"/>
                </a:lnTo>
                <a:lnTo>
                  <a:pt x="44" y="26"/>
                </a:lnTo>
                <a:lnTo>
                  <a:pt x="40" y="30"/>
                </a:lnTo>
                <a:lnTo>
                  <a:pt x="36" y="34"/>
                </a:lnTo>
                <a:lnTo>
                  <a:pt x="36" y="34"/>
                </a:lnTo>
                <a:lnTo>
                  <a:pt x="34" y="36"/>
                </a:lnTo>
                <a:lnTo>
                  <a:pt x="30" y="34"/>
                </a:lnTo>
                <a:lnTo>
                  <a:pt x="30" y="34"/>
                </a:lnTo>
                <a:lnTo>
                  <a:pt x="24" y="34"/>
                </a:lnTo>
                <a:lnTo>
                  <a:pt x="20" y="36"/>
                </a:lnTo>
                <a:lnTo>
                  <a:pt x="20" y="36"/>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65" name="Taiwan"/>
          <p:cNvSpPr>
            <a:spLocks/>
          </p:cNvSpPr>
          <p:nvPr/>
        </p:nvSpPr>
        <p:spPr bwMode="auto">
          <a:xfrm>
            <a:off x="7134744" y="2040063"/>
            <a:ext cx="36461" cy="88769"/>
          </a:xfrm>
          <a:custGeom>
            <a:avLst/>
            <a:gdLst/>
            <a:ahLst/>
            <a:cxnLst>
              <a:cxn ang="0">
                <a:pos x="14" y="4"/>
              </a:cxn>
              <a:cxn ang="0">
                <a:pos x="14" y="4"/>
              </a:cxn>
              <a:cxn ang="0">
                <a:pos x="12" y="4"/>
              </a:cxn>
              <a:cxn ang="0">
                <a:pos x="10" y="6"/>
              </a:cxn>
              <a:cxn ang="0">
                <a:pos x="10" y="8"/>
              </a:cxn>
              <a:cxn ang="0">
                <a:pos x="10" y="10"/>
              </a:cxn>
              <a:cxn ang="0">
                <a:pos x="10" y="10"/>
              </a:cxn>
              <a:cxn ang="0">
                <a:pos x="6" y="20"/>
              </a:cxn>
              <a:cxn ang="0">
                <a:pos x="2" y="30"/>
              </a:cxn>
              <a:cxn ang="0">
                <a:pos x="2" y="30"/>
              </a:cxn>
              <a:cxn ang="0">
                <a:pos x="0" y="36"/>
              </a:cxn>
              <a:cxn ang="0">
                <a:pos x="0" y="42"/>
              </a:cxn>
              <a:cxn ang="0">
                <a:pos x="2" y="44"/>
              </a:cxn>
              <a:cxn ang="0">
                <a:pos x="4" y="50"/>
              </a:cxn>
              <a:cxn ang="0">
                <a:pos x="4" y="50"/>
              </a:cxn>
              <a:cxn ang="0">
                <a:pos x="4" y="54"/>
              </a:cxn>
              <a:cxn ang="0">
                <a:pos x="6" y="56"/>
              </a:cxn>
              <a:cxn ang="0">
                <a:pos x="10" y="58"/>
              </a:cxn>
              <a:cxn ang="0">
                <a:pos x="10" y="58"/>
              </a:cxn>
              <a:cxn ang="0">
                <a:pos x="14" y="66"/>
              </a:cxn>
              <a:cxn ang="0">
                <a:pos x="20" y="68"/>
              </a:cxn>
              <a:cxn ang="0">
                <a:pos x="20" y="68"/>
              </a:cxn>
              <a:cxn ang="0">
                <a:pos x="24" y="72"/>
              </a:cxn>
              <a:cxn ang="0">
                <a:pos x="24" y="76"/>
              </a:cxn>
              <a:cxn ang="0">
                <a:pos x="24" y="76"/>
              </a:cxn>
              <a:cxn ang="0">
                <a:pos x="24" y="76"/>
              </a:cxn>
              <a:cxn ang="0">
                <a:pos x="26" y="78"/>
              </a:cxn>
              <a:cxn ang="0">
                <a:pos x="30" y="76"/>
              </a:cxn>
              <a:cxn ang="0">
                <a:pos x="30" y="76"/>
              </a:cxn>
              <a:cxn ang="0">
                <a:pos x="28" y="70"/>
              </a:cxn>
              <a:cxn ang="0">
                <a:pos x="28" y="64"/>
              </a:cxn>
              <a:cxn ang="0">
                <a:pos x="28" y="64"/>
              </a:cxn>
              <a:cxn ang="0">
                <a:pos x="30" y="62"/>
              </a:cxn>
              <a:cxn ang="0">
                <a:pos x="32" y="60"/>
              </a:cxn>
              <a:cxn ang="0">
                <a:pos x="32" y="56"/>
              </a:cxn>
              <a:cxn ang="0">
                <a:pos x="32" y="52"/>
              </a:cxn>
              <a:cxn ang="0">
                <a:pos x="32" y="52"/>
              </a:cxn>
              <a:cxn ang="0">
                <a:pos x="32" y="42"/>
              </a:cxn>
              <a:cxn ang="0">
                <a:pos x="32" y="38"/>
              </a:cxn>
              <a:cxn ang="0">
                <a:pos x="30" y="34"/>
              </a:cxn>
              <a:cxn ang="0">
                <a:pos x="30" y="34"/>
              </a:cxn>
              <a:cxn ang="0">
                <a:pos x="28" y="30"/>
              </a:cxn>
              <a:cxn ang="0">
                <a:pos x="28" y="28"/>
              </a:cxn>
              <a:cxn ang="0">
                <a:pos x="28" y="28"/>
              </a:cxn>
              <a:cxn ang="0">
                <a:pos x="30" y="22"/>
              </a:cxn>
              <a:cxn ang="0">
                <a:pos x="28" y="14"/>
              </a:cxn>
              <a:cxn ang="0">
                <a:pos x="28" y="14"/>
              </a:cxn>
              <a:cxn ang="0">
                <a:pos x="28" y="10"/>
              </a:cxn>
              <a:cxn ang="0">
                <a:pos x="28" y="8"/>
              </a:cxn>
              <a:cxn ang="0">
                <a:pos x="28" y="8"/>
              </a:cxn>
              <a:cxn ang="0">
                <a:pos x="28" y="8"/>
              </a:cxn>
              <a:cxn ang="0">
                <a:pos x="30" y="6"/>
              </a:cxn>
              <a:cxn ang="0">
                <a:pos x="30" y="4"/>
              </a:cxn>
              <a:cxn ang="0">
                <a:pos x="22" y="0"/>
              </a:cxn>
              <a:cxn ang="0">
                <a:pos x="22" y="0"/>
              </a:cxn>
              <a:cxn ang="0">
                <a:pos x="20" y="0"/>
              </a:cxn>
              <a:cxn ang="0">
                <a:pos x="18" y="2"/>
              </a:cxn>
              <a:cxn ang="0">
                <a:pos x="16" y="2"/>
              </a:cxn>
              <a:cxn ang="0">
                <a:pos x="14" y="4"/>
              </a:cxn>
              <a:cxn ang="0">
                <a:pos x="14" y="4"/>
              </a:cxn>
            </a:cxnLst>
            <a:rect l="0" t="0" r="r" b="b"/>
            <a:pathLst>
              <a:path w="32" h="78">
                <a:moveTo>
                  <a:pt x="14" y="4"/>
                </a:moveTo>
                <a:lnTo>
                  <a:pt x="14" y="4"/>
                </a:lnTo>
                <a:lnTo>
                  <a:pt x="12" y="4"/>
                </a:lnTo>
                <a:lnTo>
                  <a:pt x="10" y="6"/>
                </a:lnTo>
                <a:lnTo>
                  <a:pt x="10" y="8"/>
                </a:lnTo>
                <a:lnTo>
                  <a:pt x="10" y="10"/>
                </a:lnTo>
                <a:lnTo>
                  <a:pt x="10" y="10"/>
                </a:lnTo>
                <a:lnTo>
                  <a:pt x="6" y="20"/>
                </a:lnTo>
                <a:lnTo>
                  <a:pt x="2" y="30"/>
                </a:lnTo>
                <a:lnTo>
                  <a:pt x="2" y="30"/>
                </a:lnTo>
                <a:lnTo>
                  <a:pt x="0" y="36"/>
                </a:lnTo>
                <a:lnTo>
                  <a:pt x="0" y="42"/>
                </a:lnTo>
                <a:lnTo>
                  <a:pt x="2" y="44"/>
                </a:lnTo>
                <a:lnTo>
                  <a:pt x="4" y="50"/>
                </a:lnTo>
                <a:lnTo>
                  <a:pt x="4" y="50"/>
                </a:lnTo>
                <a:lnTo>
                  <a:pt x="4" y="54"/>
                </a:lnTo>
                <a:lnTo>
                  <a:pt x="6" y="56"/>
                </a:lnTo>
                <a:lnTo>
                  <a:pt x="10" y="58"/>
                </a:lnTo>
                <a:lnTo>
                  <a:pt x="10" y="58"/>
                </a:lnTo>
                <a:lnTo>
                  <a:pt x="14" y="66"/>
                </a:lnTo>
                <a:lnTo>
                  <a:pt x="20" y="68"/>
                </a:lnTo>
                <a:lnTo>
                  <a:pt x="20" y="68"/>
                </a:lnTo>
                <a:lnTo>
                  <a:pt x="24" y="72"/>
                </a:lnTo>
                <a:lnTo>
                  <a:pt x="24" y="76"/>
                </a:lnTo>
                <a:lnTo>
                  <a:pt x="24" y="76"/>
                </a:lnTo>
                <a:lnTo>
                  <a:pt x="24" y="76"/>
                </a:lnTo>
                <a:lnTo>
                  <a:pt x="26" y="78"/>
                </a:lnTo>
                <a:lnTo>
                  <a:pt x="30" y="76"/>
                </a:lnTo>
                <a:lnTo>
                  <a:pt x="30" y="76"/>
                </a:lnTo>
                <a:lnTo>
                  <a:pt x="28" y="70"/>
                </a:lnTo>
                <a:lnTo>
                  <a:pt x="28" y="64"/>
                </a:lnTo>
                <a:lnTo>
                  <a:pt x="28" y="64"/>
                </a:lnTo>
                <a:lnTo>
                  <a:pt x="30" y="62"/>
                </a:lnTo>
                <a:lnTo>
                  <a:pt x="32" y="60"/>
                </a:lnTo>
                <a:lnTo>
                  <a:pt x="32" y="56"/>
                </a:lnTo>
                <a:lnTo>
                  <a:pt x="32" y="52"/>
                </a:lnTo>
                <a:lnTo>
                  <a:pt x="32" y="52"/>
                </a:lnTo>
                <a:lnTo>
                  <a:pt x="32" y="42"/>
                </a:lnTo>
                <a:lnTo>
                  <a:pt x="32" y="38"/>
                </a:lnTo>
                <a:lnTo>
                  <a:pt x="30" y="34"/>
                </a:lnTo>
                <a:lnTo>
                  <a:pt x="30" y="34"/>
                </a:lnTo>
                <a:lnTo>
                  <a:pt x="28" y="30"/>
                </a:lnTo>
                <a:lnTo>
                  <a:pt x="28" y="28"/>
                </a:lnTo>
                <a:lnTo>
                  <a:pt x="28" y="28"/>
                </a:lnTo>
                <a:lnTo>
                  <a:pt x="30" y="22"/>
                </a:lnTo>
                <a:lnTo>
                  <a:pt x="28" y="14"/>
                </a:lnTo>
                <a:lnTo>
                  <a:pt x="28" y="14"/>
                </a:lnTo>
                <a:lnTo>
                  <a:pt x="28" y="10"/>
                </a:lnTo>
                <a:lnTo>
                  <a:pt x="28" y="8"/>
                </a:lnTo>
                <a:lnTo>
                  <a:pt x="28" y="8"/>
                </a:lnTo>
                <a:lnTo>
                  <a:pt x="28" y="8"/>
                </a:lnTo>
                <a:lnTo>
                  <a:pt x="30" y="6"/>
                </a:lnTo>
                <a:lnTo>
                  <a:pt x="30" y="4"/>
                </a:lnTo>
                <a:lnTo>
                  <a:pt x="22" y="0"/>
                </a:lnTo>
                <a:lnTo>
                  <a:pt x="22" y="0"/>
                </a:lnTo>
                <a:lnTo>
                  <a:pt x="20" y="0"/>
                </a:lnTo>
                <a:lnTo>
                  <a:pt x="18" y="2"/>
                </a:lnTo>
                <a:lnTo>
                  <a:pt x="16" y="2"/>
                </a:lnTo>
                <a:lnTo>
                  <a:pt x="14" y="4"/>
                </a:lnTo>
                <a:lnTo>
                  <a:pt x="14" y="4"/>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66" name="Thailand"/>
          <p:cNvSpPr>
            <a:spLocks/>
          </p:cNvSpPr>
          <p:nvPr/>
        </p:nvSpPr>
        <p:spPr bwMode="auto">
          <a:xfrm>
            <a:off x="6637961" y="2176630"/>
            <a:ext cx="221046" cy="409703"/>
          </a:xfrm>
          <a:custGeom>
            <a:avLst/>
            <a:gdLst/>
            <a:ahLst/>
            <a:cxnLst>
              <a:cxn ang="0">
                <a:pos x="114" y="336"/>
              </a:cxn>
              <a:cxn ang="0">
                <a:pos x="100" y="312"/>
              </a:cxn>
              <a:cxn ang="0">
                <a:pos x="86" y="290"/>
              </a:cxn>
              <a:cxn ang="0">
                <a:pos x="72" y="276"/>
              </a:cxn>
              <a:cxn ang="0">
                <a:pos x="68" y="246"/>
              </a:cxn>
              <a:cxn ang="0">
                <a:pos x="76" y="216"/>
              </a:cxn>
              <a:cxn ang="0">
                <a:pos x="72" y="184"/>
              </a:cxn>
              <a:cxn ang="0">
                <a:pos x="70" y="160"/>
              </a:cxn>
              <a:cxn ang="0">
                <a:pos x="80" y="158"/>
              </a:cxn>
              <a:cxn ang="0">
                <a:pos x="94" y="162"/>
              </a:cxn>
              <a:cxn ang="0">
                <a:pos x="94" y="182"/>
              </a:cxn>
              <a:cxn ang="0">
                <a:pos x="110" y="186"/>
              </a:cxn>
              <a:cxn ang="0">
                <a:pos x="124" y="204"/>
              </a:cxn>
              <a:cxn ang="0">
                <a:pos x="130" y="204"/>
              </a:cxn>
              <a:cxn ang="0">
                <a:pos x="136" y="214"/>
              </a:cxn>
              <a:cxn ang="0">
                <a:pos x="144" y="210"/>
              </a:cxn>
              <a:cxn ang="0">
                <a:pos x="126" y="178"/>
              </a:cxn>
              <a:cxn ang="0">
                <a:pos x="154" y="156"/>
              </a:cxn>
              <a:cxn ang="0">
                <a:pos x="166" y="154"/>
              </a:cxn>
              <a:cxn ang="0">
                <a:pos x="186" y="150"/>
              </a:cxn>
              <a:cxn ang="0">
                <a:pos x="194" y="132"/>
              </a:cxn>
              <a:cxn ang="0">
                <a:pos x="186" y="116"/>
              </a:cxn>
              <a:cxn ang="0">
                <a:pos x="164" y="104"/>
              </a:cxn>
              <a:cxn ang="0">
                <a:pos x="154" y="76"/>
              </a:cxn>
              <a:cxn ang="0">
                <a:pos x="120" y="56"/>
              </a:cxn>
              <a:cxn ang="0">
                <a:pos x="96" y="54"/>
              </a:cxn>
              <a:cxn ang="0">
                <a:pos x="72" y="60"/>
              </a:cxn>
              <a:cxn ang="0">
                <a:pos x="78" y="20"/>
              </a:cxn>
              <a:cxn ang="0">
                <a:pos x="60" y="14"/>
              </a:cxn>
              <a:cxn ang="0">
                <a:pos x="52" y="4"/>
              </a:cxn>
              <a:cxn ang="0">
                <a:pos x="30" y="6"/>
              </a:cxn>
              <a:cxn ang="0">
                <a:pos x="12" y="12"/>
              </a:cxn>
              <a:cxn ang="0">
                <a:pos x="12" y="34"/>
              </a:cxn>
              <a:cxn ang="0">
                <a:pos x="0" y="42"/>
              </a:cxn>
              <a:cxn ang="0">
                <a:pos x="6" y="54"/>
              </a:cxn>
              <a:cxn ang="0">
                <a:pos x="22" y="74"/>
              </a:cxn>
              <a:cxn ang="0">
                <a:pos x="50" y="98"/>
              </a:cxn>
              <a:cxn ang="0">
                <a:pos x="38" y="104"/>
              </a:cxn>
              <a:cxn ang="0">
                <a:pos x="38" y="122"/>
              </a:cxn>
              <a:cxn ang="0">
                <a:pos x="34" y="138"/>
              </a:cxn>
              <a:cxn ang="0">
                <a:pos x="58" y="164"/>
              </a:cxn>
              <a:cxn ang="0">
                <a:pos x="68" y="214"/>
              </a:cxn>
              <a:cxn ang="0">
                <a:pos x="56" y="248"/>
              </a:cxn>
              <a:cxn ang="0">
                <a:pos x="54" y="264"/>
              </a:cxn>
              <a:cxn ang="0">
                <a:pos x="50" y="284"/>
              </a:cxn>
              <a:cxn ang="0">
                <a:pos x="44" y="302"/>
              </a:cxn>
              <a:cxn ang="0">
                <a:pos x="52" y="304"/>
              </a:cxn>
              <a:cxn ang="0">
                <a:pos x="58" y="310"/>
              </a:cxn>
              <a:cxn ang="0">
                <a:pos x="66" y="322"/>
              </a:cxn>
              <a:cxn ang="0">
                <a:pos x="70" y="320"/>
              </a:cxn>
              <a:cxn ang="0">
                <a:pos x="76" y="338"/>
              </a:cxn>
              <a:cxn ang="0">
                <a:pos x="98" y="350"/>
              </a:cxn>
              <a:cxn ang="0">
                <a:pos x="124" y="356"/>
              </a:cxn>
            </a:cxnLst>
            <a:rect l="0" t="0" r="r" b="b"/>
            <a:pathLst>
              <a:path w="194" h="360">
                <a:moveTo>
                  <a:pt x="130" y="350"/>
                </a:moveTo>
                <a:lnTo>
                  <a:pt x="130" y="350"/>
                </a:lnTo>
                <a:lnTo>
                  <a:pt x="126" y="342"/>
                </a:lnTo>
                <a:lnTo>
                  <a:pt x="120" y="338"/>
                </a:lnTo>
                <a:lnTo>
                  <a:pt x="118" y="336"/>
                </a:lnTo>
                <a:lnTo>
                  <a:pt x="114" y="336"/>
                </a:lnTo>
                <a:lnTo>
                  <a:pt x="110" y="336"/>
                </a:lnTo>
                <a:lnTo>
                  <a:pt x="108" y="334"/>
                </a:lnTo>
                <a:lnTo>
                  <a:pt x="104" y="328"/>
                </a:lnTo>
                <a:lnTo>
                  <a:pt x="102" y="320"/>
                </a:lnTo>
                <a:lnTo>
                  <a:pt x="102" y="320"/>
                </a:lnTo>
                <a:lnTo>
                  <a:pt x="100" y="312"/>
                </a:lnTo>
                <a:lnTo>
                  <a:pt x="98" y="306"/>
                </a:lnTo>
                <a:lnTo>
                  <a:pt x="96" y="304"/>
                </a:lnTo>
                <a:lnTo>
                  <a:pt x="94" y="302"/>
                </a:lnTo>
                <a:lnTo>
                  <a:pt x="90" y="300"/>
                </a:lnTo>
                <a:lnTo>
                  <a:pt x="86" y="290"/>
                </a:lnTo>
                <a:lnTo>
                  <a:pt x="86" y="290"/>
                </a:lnTo>
                <a:lnTo>
                  <a:pt x="84" y="280"/>
                </a:lnTo>
                <a:lnTo>
                  <a:pt x="82" y="276"/>
                </a:lnTo>
                <a:lnTo>
                  <a:pt x="78" y="278"/>
                </a:lnTo>
                <a:lnTo>
                  <a:pt x="70" y="280"/>
                </a:lnTo>
                <a:lnTo>
                  <a:pt x="70" y="280"/>
                </a:lnTo>
                <a:lnTo>
                  <a:pt x="72" y="276"/>
                </a:lnTo>
                <a:lnTo>
                  <a:pt x="70" y="274"/>
                </a:lnTo>
                <a:lnTo>
                  <a:pt x="68" y="266"/>
                </a:lnTo>
                <a:lnTo>
                  <a:pt x="66" y="256"/>
                </a:lnTo>
                <a:lnTo>
                  <a:pt x="66" y="252"/>
                </a:lnTo>
                <a:lnTo>
                  <a:pt x="68" y="246"/>
                </a:lnTo>
                <a:lnTo>
                  <a:pt x="68" y="246"/>
                </a:lnTo>
                <a:lnTo>
                  <a:pt x="70" y="236"/>
                </a:lnTo>
                <a:lnTo>
                  <a:pt x="68" y="232"/>
                </a:lnTo>
                <a:lnTo>
                  <a:pt x="68" y="228"/>
                </a:lnTo>
                <a:lnTo>
                  <a:pt x="72" y="220"/>
                </a:lnTo>
                <a:lnTo>
                  <a:pt x="72" y="220"/>
                </a:lnTo>
                <a:lnTo>
                  <a:pt x="76" y="216"/>
                </a:lnTo>
                <a:lnTo>
                  <a:pt x="78" y="210"/>
                </a:lnTo>
                <a:lnTo>
                  <a:pt x="76" y="206"/>
                </a:lnTo>
                <a:lnTo>
                  <a:pt x="76" y="202"/>
                </a:lnTo>
                <a:lnTo>
                  <a:pt x="72" y="194"/>
                </a:lnTo>
                <a:lnTo>
                  <a:pt x="72" y="190"/>
                </a:lnTo>
                <a:lnTo>
                  <a:pt x="72" y="184"/>
                </a:lnTo>
                <a:lnTo>
                  <a:pt x="72" y="184"/>
                </a:lnTo>
                <a:lnTo>
                  <a:pt x="74" y="178"/>
                </a:lnTo>
                <a:lnTo>
                  <a:pt x="72" y="174"/>
                </a:lnTo>
                <a:lnTo>
                  <a:pt x="70" y="166"/>
                </a:lnTo>
                <a:lnTo>
                  <a:pt x="68" y="162"/>
                </a:lnTo>
                <a:lnTo>
                  <a:pt x="70" y="160"/>
                </a:lnTo>
                <a:lnTo>
                  <a:pt x="72" y="160"/>
                </a:lnTo>
                <a:lnTo>
                  <a:pt x="72" y="160"/>
                </a:lnTo>
                <a:lnTo>
                  <a:pt x="78" y="160"/>
                </a:lnTo>
                <a:lnTo>
                  <a:pt x="82" y="158"/>
                </a:lnTo>
                <a:lnTo>
                  <a:pt x="82" y="158"/>
                </a:lnTo>
                <a:lnTo>
                  <a:pt x="80" y="158"/>
                </a:lnTo>
                <a:lnTo>
                  <a:pt x="80" y="158"/>
                </a:lnTo>
                <a:lnTo>
                  <a:pt x="82" y="160"/>
                </a:lnTo>
                <a:lnTo>
                  <a:pt x="84" y="162"/>
                </a:lnTo>
                <a:lnTo>
                  <a:pt x="90" y="162"/>
                </a:lnTo>
                <a:lnTo>
                  <a:pt x="92" y="160"/>
                </a:lnTo>
                <a:lnTo>
                  <a:pt x="94" y="162"/>
                </a:lnTo>
                <a:lnTo>
                  <a:pt x="94" y="164"/>
                </a:lnTo>
                <a:lnTo>
                  <a:pt x="92" y="168"/>
                </a:lnTo>
                <a:lnTo>
                  <a:pt x="92" y="168"/>
                </a:lnTo>
                <a:lnTo>
                  <a:pt x="90" y="176"/>
                </a:lnTo>
                <a:lnTo>
                  <a:pt x="92" y="180"/>
                </a:lnTo>
                <a:lnTo>
                  <a:pt x="94" y="182"/>
                </a:lnTo>
                <a:lnTo>
                  <a:pt x="98" y="182"/>
                </a:lnTo>
                <a:lnTo>
                  <a:pt x="98" y="182"/>
                </a:lnTo>
                <a:lnTo>
                  <a:pt x="100" y="182"/>
                </a:lnTo>
                <a:lnTo>
                  <a:pt x="102" y="184"/>
                </a:lnTo>
                <a:lnTo>
                  <a:pt x="106" y="186"/>
                </a:lnTo>
                <a:lnTo>
                  <a:pt x="110" y="186"/>
                </a:lnTo>
                <a:lnTo>
                  <a:pt x="110" y="186"/>
                </a:lnTo>
                <a:lnTo>
                  <a:pt x="112" y="186"/>
                </a:lnTo>
                <a:lnTo>
                  <a:pt x="114" y="186"/>
                </a:lnTo>
                <a:lnTo>
                  <a:pt x="116" y="192"/>
                </a:lnTo>
                <a:lnTo>
                  <a:pt x="118" y="198"/>
                </a:lnTo>
                <a:lnTo>
                  <a:pt x="124" y="204"/>
                </a:lnTo>
                <a:lnTo>
                  <a:pt x="124" y="204"/>
                </a:lnTo>
                <a:lnTo>
                  <a:pt x="128" y="206"/>
                </a:lnTo>
                <a:lnTo>
                  <a:pt x="128" y="206"/>
                </a:lnTo>
                <a:lnTo>
                  <a:pt x="130" y="204"/>
                </a:lnTo>
                <a:lnTo>
                  <a:pt x="130" y="204"/>
                </a:lnTo>
                <a:lnTo>
                  <a:pt x="130" y="204"/>
                </a:lnTo>
                <a:lnTo>
                  <a:pt x="132" y="204"/>
                </a:lnTo>
                <a:lnTo>
                  <a:pt x="132" y="206"/>
                </a:lnTo>
                <a:lnTo>
                  <a:pt x="132" y="208"/>
                </a:lnTo>
                <a:lnTo>
                  <a:pt x="134" y="210"/>
                </a:lnTo>
                <a:lnTo>
                  <a:pt x="134" y="210"/>
                </a:lnTo>
                <a:lnTo>
                  <a:pt x="136" y="214"/>
                </a:lnTo>
                <a:lnTo>
                  <a:pt x="138" y="218"/>
                </a:lnTo>
                <a:lnTo>
                  <a:pt x="140" y="222"/>
                </a:lnTo>
                <a:lnTo>
                  <a:pt x="144" y="226"/>
                </a:lnTo>
                <a:lnTo>
                  <a:pt x="144" y="226"/>
                </a:lnTo>
                <a:lnTo>
                  <a:pt x="146" y="218"/>
                </a:lnTo>
                <a:lnTo>
                  <a:pt x="144" y="210"/>
                </a:lnTo>
                <a:lnTo>
                  <a:pt x="142" y="204"/>
                </a:lnTo>
                <a:lnTo>
                  <a:pt x="136" y="198"/>
                </a:lnTo>
                <a:lnTo>
                  <a:pt x="128" y="188"/>
                </a:lnTo>
                <a:lnTo>
                  <a:pt x="126" y="182"/>
                </a:lnTo>
                <a:lnTo>
                  <a:pt x="126" y="178"/>
                </a:lnTo>
                <a:lnTo>
                  <a:pt x="126" y="178"/>
                </a:lnTo>
                <a:lnTo>
                  <a:pt x="136" y="166"/>
                </a:lnTo>
                <a:lnTo>
                  <a:pt x="142" y="156"/>
                </a:lnTo>
                <a:lnTo>
                  <a:pt x="142" y="156"/>
                </a:lnTo>
                <a:lnTo>
                  <a:pt x="146" y="154"/>
                </a:lnTo>
                <a:lnTo>
                  <a:pt x="150" y="154"/>
                </a:lnTo>
                <a:lnTo>
                  <a:pt x="154" y="156"/>
                </a:lnTo>
                <a:lnTo>
                  <a:pt x="156" y="154"/>
                </a:lnTo>
                <a:lnTo>
                  <a:pt x="156" y="154"/>
                </a:lnTo>
                <a:lnTo>
                  <a:pt x="160" y="154"/>
                </a:lnTo>
                <a:lnTo>
                  <a:pt x="162" y="154"/>
                </a:lnTo>
                <a:lnTo>
                  <a:pt x="164" y="156"/>
                </a:lnTo>
                <a:lnTo>
                  <a:pt x="166" y="154"/>
                </a:lnTo>
                <a:lnTo>
                  <a:pt x="166" y="154"/>
                </a:lnTo>
                <a:lnTo>
                  <a:pt x="170" y="154"/>
                </a:lnTo>
                <a:lnTo>
                  <a:pt x="172" y="154"/>
                </a:lnTo>
                <a:lnTo>
                  <a:pt x="178" y="154"/>
                </a:lnTo>
                <a:lnTo>
                  <a:pt x="186" y="150"/>
                </a:lnTo>
                <a:lnTo>
                  <a:pt x="186" y="150"/>
                </a:lnTo>
                <a:lnTo>
                  <a:pt x="188" y="146"/>
                </a:lnTo>
                <a:lnTo>
                  <a:pt x="190" y="144"/>
                </a:lnTo>
                <a:lnTo>
                  <a:pt x="190" y="140"/>
                </a:lnTo>
                <a:lnTo>
                  <a:pt x="192" y="136"/>
                </a:lnTo>
                <a:lnTo>
                  <a:pt x="192" y="136"/>
                </a:lnTo>
                <a:lnTo>
                  <a:pt x="194" y="132"/>
                </a:lnTo>
                <a:lnTo>
                  <a:pt x="192" y="130"/>
                </a:lnTo>
                <a:lnTo>
                  <a:pt x="190" y="126"/>
                </a:lnTo>
                <a:lnTo>
                  <a:pt x="188" y="122"/>
                </a:lnTo>
                <a:lnTo>
                  <a:pt x="188" y="122"/>
                </a:lnTo>
                <a:lnTo>
                  <a:pt x="188" y="118"/>
                </a:lnTo>
                <a:lnTo>
                  <a:pt x="186" y="116"/>
                </a:lnTo>
                <a:lnTo>
                  <a:pt x="182" y="114"/>
                </a:lnTo>
                <a:lnTo>
                  <a:pt x="180" y="110"/>
                </a:lnTo>
                <a:lnTo>
                  <a:pt x="180" y="110"/>
                </a:lnTo>
                <a:lnTo>
                  <a:pt x="176" y="110"/>
                </a:lnTo>
                <a:lnTo>
                  <a:pt x="172" y="110"/>
                </a:lnTo>
                <a:lnTo>
                  <a:pt x="164" y="104"/>
                </a:lnTo>
                <a:lnTo>
                  <a:pt x="158" y="94"/>
                </a:lnTo>
                <a:lnTo>
                  <a:pt x="158" y="90"/>
                </a:lnTo>
                <a:lnTo>
                  <a:pt x="158" y="86"/>
                </a:lnTo>
                <a:lnTo>
                  <a:pt x="158" y="86"/>
                </a:lnTo>
                <a:lnTo>
                  <a:pt x="158" y="80"/>
                </a:lnTo>
                <a:lnTo>
                  <a:pt x="154" y="76"/>
                </a:lnTo>
                <a:lnTo>
                  <a:pt x="148" y="72"/>
                </a:lnTo>
                <a:lnTo>
                  <a:pt x="136" y="62"/>
                </a:lnTo>
                <a:lnTo>
                  <a:pt x="136" y="62"/>
                </a:lnTo>
                <a:lnTo>
                  <a:pt x="130" y="56"/>
                </a:lnTo>
                <a:lnTo>
                  <a:pt x="126" y="54"/>
                </a:lnTo>
                <a:lnTo>
                  <a:pt x="120" y="56"/>
                </a:lnTo>
                <a:lnTo>
                  <a:pt x="114" y="56"/>
                </a:lnTo>
                <a:lnTo>
                  <a:pt x="110" y="58"/>
                </a:lnTo>
                <a:lnTo>
                  <a:pt x="106" y="60"/>
                </a:lnTo>
                <a:lnTo>
                  <a:pt x="102" y="58"/>
                </a:lnTo>
                <a:lnTo>
                  <a:pt x="96" y="54"/>
                </a:lnTo>
                <a:lnTo>
                  <a:pt x="96" y="54"/>
                </a:lnTo>
                <a:lnTo>
                  <a:pt x="92" y="50"/>
                </a:lnTo>
                <a:lnTo>
                  <a:pt x="88" y="50"/>
                </a:lnTo>
                <a:lnTo>
                  <a:pt x="84" y="52"/>
                </a:lnTo>
                <a:lnTo>
                  <a:pt x="80" y="54"/>
                </a:lnTo>
                <a:lnTo>
                  <a:pt x="74" y="58"/>
                </a:lnTo>
                <a:lnTo>
                  <a:pt x="72" y="60"/>
                </a:lnTo>
                <a:lnTo>
                  <a:pt x="70" y="58"/>
                </a:lnTo>
                <a:lnTo>
                  <a:pt x="70" y="58"/>
                </a:lnTo>
                <a:lnTo>
                  <a:pt x="70" y="52"/>
                </a:lnTo>
                <a:lnTo>
                  <a:pt x="70" y="46"/>
                </a:lnTo>
                <a:lnTo>
                  <a:pt x="72" y="32"/>
                </a:lnTo>
                <a:lnTo>
                  <a:pt x="78" y="20"/>
                </a:lnTo>
                <a:lnTo>
                  <a:pt x="78" y="14"/>
                </a:lnTo>
                <a:lnTo>
                  <a:pt x="78" y="14"/>
                </a:lnTo>
                <a:lnTo>
                  <a:pt x="76" y="12"/>
                </a:lnTo>
                <a:lnTo>
                  <a:pt x="74" y="12"/>
                </a:lnTo>
                <a:lnTo>
                  <a:pt x="68" y="12"/>
                </a:lnTo>
                <a:lnTo>
                  <a:pt x="60" y="14"/>
                </a:lnTo>
                <a:lnTo>
                  <a:pt x="58" y="12"/>
                </a:lnTo>
                <a:lnTo>
                  <a:pt x="56" y="8"/>
                </a:lnTo>
                <a:lnTo>
                  <a:pt x="56" y="8"/>
                </a:lnTo>
                <a:lnTo>
                  <a:pt x="54" y="4"/>
                </a:lnTo>
                <a:lnTo>
                  <a:pt x="54" y="4"/>
                </a:lnTo>
                <a:lnTo>
                  <a:pt x="52" y="4"/>
                </a:lnTo>
                <a:lnTo>
                  <a:pt x="50" y="0"/>
                </a:lnTo>
                <a:lnTo>
                  <a:pt x="50" y="0"/>
                </a:lnTo>
                <a:lnTo>
                  <a:pt x="34" y="2"/>
                </a:lnTo>
                <a:lnTo>
                  <a:pt x="32" y="2"/>
                </a:lnTo>
                <a:lnTo>
                  <a:pt x="30" y="6"/>
                </a:lnTo>
                <a:lnTo>
                  <a:pt x="30" y="6"/>
                </a:lnTo>
                <a:lnTo>
                  <a:pt x="30" y="8"/>
                </a:lnTo>
                <a:lnTo>
                  <a:pt x="28" y="8"/>
                </a:lnTo>
                <a:lnTo>
                  <a:pt x="24" y="8"/>
                </a:lnTo>
                <a:lnTo>
                  <a:pt x="18" y="8"/>
                </a:lnTo>
                <a:lnTo>
                  <a:pt x="14" y="10"/>
                </a:lnTo>
                <a:lnTo>
                  <a:pt x="12" y="12"/>
                </a:lnTo>
                <a:lnTo>
                  <a:pt x="12" y="12"/>
                </a:lnTo>
                <a:lnTo>
                  <a:pt x="10" y="16"/>
                </a:lnTo>
                <a:lnTo>
                  <a:pt x="8" y="20"/>
                </a:lnTo>
                <a:lnTo>
                  <a:pt x="10" y="26"/>
                </a:lnTo>
                <a:lnTo>
                  <a:pt x="12" y="30"/>
                </a:lnTo>
                <a:lnTo>
                  <a:pt x="12" y="34"/>
                </a:lnTo>
                <a:lnTo>
                  <a:pt x="10" y="36"/>
                </a:lnTo>
                <a:lnTo>
                  <a:pt x="10" y="36"/>
                </a:lnTo>
                <a:lnTo>
                  <a:pt x="8" y="40"/>
                </a:lnTo>
                <a:lnTo>
                  <a:pt x="4" y="40"/>
                </a:lnTo>
                <a:lnTo>
                  <a:pt x="2" y="40"/>
                </a:lnTo>
                <a:lnTo>
                  <a:pt x="0" y="42"/>
                </a:lnTo>
                <a:lnTo>
                  <a:pt x="0" y="42"/>
                </a:lnTo>
                <a:lnTo>
                  <a:pt x="0" y="46"/>
                </a:lnTo>
                <a:lnTo>
                  <a:pt x="2" y="48"/>
                </a:lnTo>
                <a:lnTo>
                  <a:pt x="4" y="52"/>
                </a:lnTo>
                <a:lnTo>
                  <a:pt x="6" y="54"/>
                </a:lnTo>
                <a:lnTo>
                  <a:pt x="6" y="54"/>
                </a:lnTo>
                <a:lnTo>
                  <a:pt x="4" y="56"/>
                </a:lnTo>
                <a:lnTo>
                  <a:pt x="4" y="58"/>
                </a:lnTo>
                <a:lnTo>
                  <a:pt x="10" y="62"/>
                </a:lnTo>
                <a:lnTo>
                  <a:pt x="16" y="68"/>
                </a:lnTo>
                <a:lnTo>
                  <a:pt x="22" y="74"/>
                </a:lnTo>
                <a:lnTo>
                  <a:pt x="22" y="74"/>
                </a:lnTo>
                <a:lnTo>
                  <a:pt x="30" y="82"/>
                </a:lnTo>
                <a:lnTo>
                  <a:pt x="38" y="88"/>
                </a:lnTo>
                <a:lnTo>
                  <a:pt x="46" y="92"/>
                </a:lnTo>
                <a:lnTo>
                  <a:pt x="50" y="96"/>
                </a:lnTo>
                <a:lnTo>
                  <a:pt x="50" y="96"/>
                </a:lnTo>
                <a:lnTo>
                  <a:pt x="50" y="98"/>
                </a:lnTo>
                <a:lnTo>
                  <a:pt x="48" y="98"/>
                </a:lnTo>
                <a:lnTo>
                  <a:pt x="44" y="98"/>
                </a:lnTo>
                <a:lnTo>
                  <a:pt x="40" y="100"/>
                </a:lnTo>
                <a:lnTo>
                  <a:pt x="40" y="102"/>
                </a:lnTo>
                <a:lnTo>
                  <a:pt x="38" y="104"/>
                </a:lnTo>
                <a:lnTo>
                  <a:pt x="38" y="104"/>
                </a:lnTo>
                <a:lnTo>
                  <a:pt x="38" y="108"/>
                </a:lnTo>
                <a:lnTo>
                  <a:pt x="40" y="110"/>
                </a:lnTo>
                <a:lnTo>
                  <a:pt x="40" y="112"/>
                </a:lnTo>
                <a:lnTo>
                  <a:pt x="38" y="118"/>
                </a:lnTo>
                <a:lnTo>
                  <a:pt x="38" y="118"/>
                </a:lnTo>
                <a:lnTo>
                  <a:pt x="38" y="122"/>
                </a:lnTo>
                <a:lnTo>
                  <a:pt x="38" y="126"/>
                </a:lnTo>
                <a:lnTo>
                  <a:pt x="40" y="130"/>
                </a:lnTo>
                <a:lnTo>
                  <a:pt x="38" y="132"/>
                </a:lnTo>
                <a:lnTo>
                  <a:pt x="38" y="132"/>
                </a:lnTo>
                <a:lnTo>
                  <a:pt x="36" y="134"/>
                </a:lnTo>
                <a:lnTo>
                  <a:pt x="34" y="138"/>
                </a:lnTo>
                <a:lnTo>
                  <a:pt x="36" y="142"/>
                </a:lnTo>
                <a:lnTo>
                  <a:pt x="42" y="150"/>
                </a:lnTo>
                <a:lnTo>
                  <a:pt x="52" y="158"/>
                </a:lnTo>
                <a:lnTo>
                  <a:pt x="52" y="158"/>
                </a:lnTo>
                <a:lnTo>
                  <a:pt x="56" y="160"/>
                </a:lnTo>
                <a:lnTo>
                  <a:pt x="58" y="164"/>
                </a:lnTo>
                <a:lnTo>
                  <a:pt x="58" y="172"/>
                </a:lnTo>
                <a:lnTo>
                  <a:pt x="58" y="184"/>
                </a:lnTo>
                <a:lnTo>
                  <a:pt x="60" y="192"/>
                </a:lnTo>
                <a:lnTo>
                  <a:pt x="64" y="204"/>
                </a:lnTo>
                <a:lnTo>
                  <a:pt x="64" y="204"/>
                </a:lnTo>
                <a:lnTo>
                  <a:pt x="68" y="214"/>
                </a:lnTo>
                <a:lnTo>
                  <a:pt x="68" y="220"/>
                </a:lnTo>
                <a:lnTo>
                  <a:pt x="66" y="226"/>
                </a:lnTo>
                <a:lnTo>
                  <a:pt x="64" y="232"/>
                </a:lnTo>
                <a:lnTo>
                  <a:pt x="58" y="240"/>
                </a:lnTo>
                <a:lnTo>
                  <a:pt x="56" y="244"/>
                </a:lnTo>
                <a:lnTo>
                  <a:pt x="56" y="248"/>
                </a:lnTo>
                <a:lnTo>
                  <a:pt x="56" y="248"/>
                </a:lnTo>
                <a:lnTo>
                  <a:pt x="56" y="256"/>
                </a:lnTo>
                <a:lnTo>
                  <a:pt x="56" y="258"/>
                </a:lnTo>
                <a:lnTo>
                  <a:pt x="54" y="260"/>
                </a:lnTo>
                <a:lnTo>
                  <a:pt x="54" y="264"/>
                </a:lnTo>
                <a:lnTo>
                  <a:pt x="54" y="264"/>
                </a:lnTo>
                <a:lnTo>
                  <a:pt x="50" y="270"/>
                </a:lnTo>
                <a:lnTo>
                  <a:pt x="48" y="274"/>
                </a:lnTo>
                <a:lnTo>
                  <a:pt x="46" y="278"/>
                </a:lnTo>
                <a:lnTo>
                  <a:pt x="46" y="282"/>
                </a:lnTo>
                <a:lnTo>
                  <a:pt x="50" y="284"/>
                </a:lnTo>
                <a:lnTo>
                  <a:pt x="50" y="284"/>
                </a:lnTo>
                <a:lnTo>
                  <a:pt x="46" y="288"/>
                </a:lnTo>
                <a:lnTo>
                  <a:pt x="44" y="290"/>
                </a:lnTo>
                <a:lnTo>
                  <a:pt x="46" y="292"/>
                </a:lnTo>
                <a:lnTo>
                  <a:pt x="44" y="298"/>
                </a:lnTo>
                <a:lnTo>
                  <a:pt x="44" y="298"/>
                </a:lnTo>
                <a:lnTo>
                  <a:pt x="44" y="302"/>
                </a:lnTo>
                <a:lnTo>
                  <a:pt x="46" y="304"/>
                </a:lnTo>
                <a:lnTo>
                  <a:pt x="48" y="306"/>
                </a:lnTo>
                <a:lnTo>
                  <a:pt x="50" y="308"/>
                </a:lnTo>
                <a:lnTo>
                  <a:pt x="50" y="308"/>
                </a:lnTo>
                <a:lnTo>
                  <a:pt x="52" y="306"/>
                </a:lnTo>
                <a:lnTo>
                  <a:pt x="52" y="304"/>
                </a:lnTo>
                <a:lnTo>
                  <a:pt x="52" y="302"/>
                </a:lnTo>
                <a:lnTo>
                  <a:pt x="56" y="304"/>
                </a:lnTo>
                <a:lnTo>
                  <a:pt x="56" y="304"/>
                </a:lnTo>
                <a:lnTo>
                  <a:pt x="58" y="306"/>
                </a:lnTo>
                <a:lnTo>
                  <a:pt x="58" y="308"/>
                </a:lnTo>
                <a:lnTo>
                  <a:pt x="58" y="310"/>
                </a:lnTo>
                <a:lnTo>
                  <a:pt x="62" y="310"/>
                </a:lnTo>
                <a:lnTo>
                  <a:pt x="62" y="310"/>
                </a:lnTo>
                <a:lnTo>
                  <a:pt x="66" y="312"/>
                </a:lnTo>
                <a:lnTo>
                  <a:pt x="64" y="316"/>
                </a:lnTo>
                <a:lnTo>
                  <a:pt x="64" y="318"/>
                </a:lnTo>
                <a:lnTo>
                  <a:pt x="66" y="322"/>
                </a:lnTo>
                <a:lnTo>
                  <a:pt x="66" y="322"/>
                </a:lnTo>
                <a:lnTo>
                  <a:pt x="66" y="322"/>
                </a:lnTo>
                <a:lnTo>
                  <a:pt x="68" y="320"/>
                </a:lnTo>
                <a:lnTo>
                  <a:pt x="68" y="316"/>
                </a:lnTo>
                <a:lnTo>
                  <a:pt x="68" y="316"/>
                </a:lnTo>
                <a:lnTo>
                  <a:pt x="70" y="320"/>
                </a:lnTo>
                <a:lnTo>
                  <a:pt x="70" y="324"/>
                </a:lnTo>
                <a:lnTo>
                  <a:pt x="72" y="328"/>
                </a:lnTo>
                <a:lnTo>
                  <a:pt x="78" y="330"/>
                </a:lnTo>
                <a:lnTo>
                  <a:pt x="78" y="330"/>
                </a:lnTo>
                <a:lnTo>
                  <a:pt x="74" y="336"/>
                </a:lnTo>
                <a:lnTo>
                  <a:pt x="76" y="338"/>
                </a:lnTo>
                <a:lnTo>
                  <a:pt x="76" y="340"/>
                </a:lnTo>
                <a:lnTo>
                  <a:pt x="82" y="342"/>
                </a:lnTo>
                <a:lnTo>
                  <a:pt x="90" y="352"/>
                </a:lnTo>
                <a:lnTo>
                  <a:pt x="90" y="352"/>
                </a:lnTo>
                <a:lnTo>
                  <a:pt x="94" y="350"/>
                </a:lnTo>
                <a:lnTo>
                  <a:pt x="98" y="350"/>
                </a:lnTo>
                <a:lnTo>
                  <a:pt x="106" y="354"/>
                </a:lnTo>
                <a:lnTo>
                  <a:pt x="110" y="358"/>
                </a:lnTo>
                <a:lnTo>
                  <a:pt x="116" y="360"/>
                </a:lnTo>
                <a:lnTo>
                  <a:pt x="116" y="360"/>
                </a:lnTo>
                <a:lnTo>
                  <a:pt x="122" y="358"/>
                </a:lnTo>
                <a:lnTo>
                  <a:pt x="124" y="356"/>
                </a:lnTo>
                <a:lnTo>
                  <a:pt x="126" y="354"/>
                </a:lnTo>
                <a:lnTo>
                  <a:pt x="130" y="350"/>
                </a:lnTo>
                <a:lnTo>
                  <a:pt x="130" y="350"/>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67" name="Turkey"/>
          <p:cNvSpPr>
            <a:spLocks/>
          </p:cNvSpPr>
          <p:nvPr/>
        </p:nvSpPr>
        <p:spPr bwMode="auto">
          <a:xfrm>
            <a:off x="4919726" y="1591666"/>
            <a:ext cx="426140" cy="152501"/>
          </a:xfrm>
          <a:custGeom>
            <a:avLst/>
            <a:gdLst/>
            <a:ahLst/>
            <a:cxnLst>
              <a:cxn ang="0">
                <a:pos x="260" y="22"/>
              </a:cxn>
              <a:cxn ang="0">
                <a:pos x="236" y="20"/>
              </a:cxn>
              <a:cxn ang="0">
                <a:pos x="202" y="18"/>
              </a:cxn>
              <a:cxn ang="0">
                <a:pos x="186" y="12"/>
              </a:cxn>
              <a:cxn ang="0">
                <a:pos x="172" y="6"/>
              </a:cxn>
              <a:cxn ang="0">
                <a:pos x="156" y="2"/>
              </a:cxn>
              <a:cxn ang="0">
                <a:pos x="126" y="4"/>
              </a:cxn>
              <a:cxn ang="0">
                <a:pos x="98" y="14"/>
              </a:cxn>
              <a:cxn ang="0">
                <a:pos x="68" y="20"/>
              </a:cxn>
              <a:cxn ang="0">
                <a:pos x="48" y="24"/>
              </a:cxn>
              <a:cxn ang="0">
                <a:pos x="72" y="28"/>
              </a:cxn>
              <a:cxn ang="0">
                <a:pos x="54" y="32"/>
              </a:cxn>
              <a:cxn ang="0">
                <a:pos x="32" y="34"/>
              </a:cxn>
              <a:cxn ang="0">
                <a:pos x="22" y="36"/>
              </a:cxn>
              <a:cxn ang="0">
                <a:pos x="8" y="42"/>
              </a:cxn>
              <a:cxn ang="0">
                <a:pos x="0" y="52"/>
              </a:cxn>
              <a:cxn ang="0">
                <a:pos x="4" y="56"/>
              </a:cxn>
              <a:cxn ang="0">
                <a:pos x="10" y="62"/>
              </a:cxn>
              <a:cxn ang="0">
                <a:pos x="12" y="68"/>
              </a:cxn>
              <a:cxn ang="0">
                <a:pos x="12" y="74"/>
              </a:cxn>
              <a:cxn ang="0">
                <a:pos x="8" y="74"/>
              </a:cxn>
              <a:cxn ang="0">
                <a:pos x="4" y="78"/>
              </a:cxn>
              <a:cxn ang="0">
                <a:pos x="8" y="88"/>
              </a:cxn>
              <a:cxn ang="0">
                <a:pos x="22" y="92"/>
              </a:cxn>
              <a:cxn ang="0">
                <a:pos x="24" y="102"/>
              </a:cxn>
              <a:cxn ang="0">
                <a:pos x="34" y="106"/>
              </a:cxn>
              <a:cxn ang="0">
                <a:pos x="34" y="110"/>
              </a:cxn>
              <a:cxn ang="0">
                <a:pos x="32" y="114"/>
              </a:cxn>
              <a:cxn ang="0">
                <a:pos x="38" y="118"/>
              </a:cxn>
              <a:cxn ang="0">
                <a:pos x="36" y="122"/>
              </a:cxn>
              <a:cxn ang="0">
                <a:pos x="52" y="122"/>
              </a:cxn>
              <a:cxn ang="0">
                <a:pos x="66" y="120"/>
              </a:cxn>
              <a:cxn ang="0">
                <a:pos x="68" y="124"/>
              </a:cxn>
              <a:cxn ang="0">
                <a:pos x="82" y="132"/>
              </a:cxn>
              <a:cxn ang="0">
                <a:pos x="98" y="124"/>
              </a:cxn>
              <a:cxn ang="0">
                <a:pos x="106" y="118"/>
              </a:cxn>
              <a:cxn ang="0">
                <a:pos x="128" y="128"/>
              </a:cxn>
              <a:cxn ang="0">
                <a:pos x="156" y="132"/>
              </a:cxn>
              <a:cxn ang="0">
                <a:pos x="166" y="120"/>
              </a:cxn>
              <a:cxn ang="0">
                <a:pos x="188" y="122"/>
              </a:cxn>
              <a:cxn ang="0">
                <a:pos x="196" y="120"/>
              </a:cxn>
              <a:cxn ang="0">
                <a:pos x="192" y="130"/>
              </a:cxn>
              <a:cxn ang="0">
                <a:pos x="208" y="130"/>
              </a:cxn>
              <a:cxn ang="0">
                <a:pos x="218" y="116"/>
              </a:cxn>
              <a:cxn ang="0">
                <a:pos x="250" y="114"/>
              </a:cxn>
              <a:cxn ang="0">
                <a:pos x="298" y="104"/>
              </a:cxn>
              <a:cxn ang="0">
                <a:pos x="320" y="104"/>
              </a:cxn>
              <a:cxn ang="0">
                <a:pos x="334" y="98"/>
              </a:cxn>
              <a:cxn ang="0">
                <a:pos x="356" y="104"/>
              </a:cxn>
              <a:cxn ang="0">
                <a:pos x="374" y="106"/>
              </a:cxn>
              <a:cxn ang="0">
                <a:pos x="370" y="100"/>
              </a:cxn>
              <a:cxn ang="0">
                <a:pos x="362" y="92"/>
              </a:cxn>
              <a:cxn ang="0">
                <a:pos x="354" y="74"/>
              </a:cxn>
              <a:cxn ang="0">
                <a:pos x="346" y="56"/>
              </a:cxn>
              <a:cxn ang="0">
                <a:pos x="354" y="52"/>
              </a:cxn>
              <a:cxn ang="0">
                <a:pos x="350" y="40"/>
              </a:cxn>
              <a:cxn ang="0">
                <a:pos x="332" y="34"/>
              </a:cxn>
              <a:cxn ang="0">
                <a:pos x="328" y="18"/>
              </a:cxn>
              <a:cxn ang="0">
                <a:pos x="320" y="10"/>
              </a:cxn>
              <a:cxn ang="0">
                <a:pos x="306" y="10"/>
              </a:cxn>
            </a:cxnLst>
            <a:rect l="0" t="0" r="r" b="b"/>
            <a:pathLst>
              <a:path w="374" h="134">
                <a:moveTo>
                  <a:pt x="282" y="6"/>
                </a:moveTo>
                <a:lnTo>
                  <a:pt x="282" y="6"/>
                </a:lnTo>
                <a:lnTo>
                  <a:pt x="274" y="16"/>
                </a:lnTo>
                <a:lnTo>
                  <a:pt x="268" y="20"/>
                </a:lnTo>
                <a:lnTo>
                  <a:pt x="260" y="22"/>
                </a:lnTo>
                <a:lnTo>
                  <a:pt x="254" y="22"/>
                </a:lnTo>
                <a:lnTo>
                  <a:pt x="246" y="18"/>
                </a:lnTo>
                <a:lnTo>
                  <a:pt x="240" y="18"/>
                </a:lnTo>
                <a:lnTo>
                  <a:pt x="236" y="20"/>
                </a:lnTo>
                <a:lnTo>
                  <a:pt x="236" y="20"/>
                </a:lnTo>
                <a:lnTo>
                  <a:pt x="224" y="22"/>
                </a:lnTo>
                <a:lnTo>
                  <a:pt x="216" y="22"/>
                </a:lnTo>
                <a:lnTo>
                  <a:pt x="206" y="20"/>
                </a:lnTo>
                <a:lnTo>
                  <a:pt x="206" y="20"/>
                </a:lnTo>
                <a:lnTo>
                  <a:pt x="202" y="18"/>
                </a:lnTo>
                <a:lnTo>
                  <a:pt x="202" y="16"/>
                </a:lnTo>
                <a:lnTo>
                  <a:pt x="200" y="14"/>
                </a:lnTo>
                <a:lnTo>
                  <a:pt x="194" y="14"/>
                </a:lnTo>
                <a:lnTo>
                  <a:pt x="194" y="14"/>
                </a:lnTo>
                <a:lnTo>
                  <a:pt x="186" y="12"/>
                </a:lnTo>
                <a:lnTo>
                  <a:pt x="184" y="10"/>
                </a:lnTo>
                <a:lnTo>
                  <a:pt x="182" y="8"/>
                </a:lnTo>
                <a:lnTo>
                  <a:pt x="176" y="6"/>
                </a:lnTo>
                <a:lnTo>
                  <a:pt x="176" y="6"/>
                </a:lnTo>
                <a:lnTo>
                  <a:pt x="172" y="6"/>
                </a:lnTo>
                <a:lnTo>
                  <a:pt x="170" y="6"/>
                </a:lnTo>
                <a:lnTo>
                  <a:pt x="164" y="2"/>
                </a:lnTo>
                <a:lnTo>
                  <a:pt x="162" y="0"/>
                </a:lnTo>
                <a:lnTo>
                  <a:pt x="160" y="0"/>
                </a:lnTo>
                <a:lnTo>
                  <a:pt x="156" y="2"/>
                </a:lnTo>
                <a:lnTo>
                  <a:pt x="156" y="2"/>
                </a:lnTo>
                <a:lnTo>
                  <a:pt x="150" y="4"/>
                </a:lnTo>
                <a:lnTo>
                  <a:pt x="140" y="4"/>
                </a:lnTo>
                <a:lnTo>
                  <a:pt x="130" y="4"/>
                </a:lnTo>
                <a:lnTo>
                  <a:pt x="126" y="4"/>
                </a:lnTo>
                <a:lnTo>
                  <a:pt x="122" y="8"/>
                </a:lnTo>
                <a:lnTo>
                  <a:pt x="122" y="8"/>
                </a:lnTo>
                <a:lnTo>
                  <a:pt x="112" y="10"/>
                </a:lnTo>
                <a:lnTo>
                  <a:pt x="106" y="12"/>
                </a:lnTo>
                <a:lnTo>
                  <a:pt x="98" y="14"/>
                </a:lnTo>
                <a:lnTo>
                  <a:pt x="92" y="20"/>
                </a:lnTo>
                <a:lnTo>
                  <a:pt x="92" y="20"/>
                </a:lnTo>
                <a:lnTo>
                  <a:pt x="86" y="22"/>
                </a:lnTo>
                <a:lnTo>
                  <a:pt x="82" y="22"/>
                </a:lnTo>
                <a:lnTo>
                  <a:pt x="68" y="20"/>
                </a:lnTo>
                <a:lnTo>
                  <a:pt x="58" y="18"/>
                </a:lnTo>
                <a:lnTo>
                  <a:pt x="52" y="18"/>
                </a:lnTo>
                <a:lnTo>
                  <a:pt x="50" y="20"/>
                </a:lnTo>
                <a:lnTo>
                  <a:pt x="50" y="20"/>
                </a:lnTo>
                <a:lnTo>
                  <a:pt x="48" y="24"/>
                </a:lnTo>
                <a:lnTo>
                  <a:pt x="50" y="24"/>
                </a:lnTo>
                <a:lnTo>
                  <a:pt x="54" y="26"/>
                </a:lnTo>
                <a:lnTo>
                  <a:pt x="62" y="26"/>
                </a:lnTo>
                <a:lnTo>
                  <a:pt x="72" y="28"/>
                </a:lnTo>
                <a:lnTo>
                  <a:pt x="72" y="28"/>
                </a:lnTo>
                <a:lnTo>
                  <a:pt x="56" y="30"/>
                </a:lnTo>
                <a:lnTo>
                  <a:pt x="52" y="32"/>
                </a:lnTo>
                <a:lnTo>
                  <a:pt x="52" y="32"/>
                </a:lnTo>
                <a:lnTo>
                  <a:pt x="54" y="32"/>
                </a:lnTo>
                <a:lnTo>
                  <a:pt x="54" y="32"/>
                </a:lnTo>
                <a:lnTo>
                  <a:pt x="54" y="34"/>
                </a:lnTo>
                <a:lnTo>
                  <a:pt x="54" y="34"/>
                </a:lnTo>
                <a:lnTo>
                  <a:pt x="46" y="36"/>
                </a:lnTo>
                <a:lnTo>
                  <a:pt x="38" y="36"/>
                </a:lnTo>
                <a:lnTo>
                  <a:pt x="32" y="34"/>
                </a:lnTo>
                <a:lnTo>
                  <a:pt x="32" y="34"/>
                </a:lnTo>
                <a:lnTo>
                  <a:pt x="30" y="34"/>
                </a:lnTo>
                <a:lnTo>
                  <a:pt x="28" y="36"/>
                </a:lnTo>
                <a:lnTo>
                  <a:pt x="24" y="36"/>
                </a:lnTo>
                <a:lnTo>
                  <a:pt x="22" y="36"/>
                </a:lnTo>
                <a:lnTo>
                  <a:pt x="22" y="36"/>
                </a:lnTo>
                <a:lnTo>
                  <a:pt x="20" y="34"/>
                </a:lnTo>
                <a:lnTo>
                  <a:pt x="16" y="36"/>
                </a:lnTo>
                <a:lnTo>
                  <a:pt x="8" y="42"/>
                </a:lnTo>
                <a:lnTo>
                  <a:pt x="8" y="42"/>
                </a:lnTo>
                <a:lnTo>
                  <a:pt x="0" y="42"/>
                </a:lnTo>
                <a:lnTo>
                  <a:pt x="0" y="44"/>
                </a:lnTo>
                <a:lnTo>
                  <a:pt x="0" y="46"/>
                </a:lnTo>
                <a:lnTo>
                  <a:pt x="0" y="46"/>
                </a:lnTo>
                <a:lnTo>
                  <a:pt x="0" y="52"/>
                </a:lnTo>
                <a:lnTo>
                  <a:pt x="0" y="54"/>
                </a:lnTo>
                <a:lnTo>
                  <a:pt x="2" y="54"/>
                </a:lnTo>
                <a:lnTo>
                  <a:pt x="10" y="54"/>
                </a:lnTo>
                <a:lnTo>
                  <a:pt x="10" y="54"/>
                </a:lnTo>
                <a:lnTo>
                  <a:pt x="4" y="56"/>
                </a:lnTo>
                <a:lnTo>
                  <a:pt x="6" y="60"/>
                </a:lnTo>
                <a:lnTo>
                  <a:pt x="10" y="60"/>
                </a:lnTo>
                <a:lnTo>
                  <a:pt x="10" y="62"/>
                </a:lnTo>
                <a:lnTo>
                  <a:pt x="10" y="62"/>
                </a:lnTo>
                <a:lnTo>
                  <a:pt x="10" y="62"/>
                </a:lnTo>
                <a:lnTo>
                  <a:pt x="10" y="64"/>
                </a:lnTo>
                <a:lnTo>
                  <a:pt x="12" y="66"/>
                </a:lnTo>
                <a:lnTo>
                  <a:pt x="12" y="66"/>
                </a:lnTo>
                <a:lnTo>
                  <a:pt x="12" y="68"/>
                </a:lnTo>
                <a:lnTo>
                  <a:pt x="12" y="68"/>
                </a:lnTo>
                <a:lnTo>
                  <a:pt x="10" y="68"/>
                </a:lnTo>
                <a:lnTo>
                  <a:pt x="10" y="70"/>
                </a:lnTo>
                <a:lnTo>
                  <a:pt x="12" y="72"/>
                </a:lnTo>
                <a:lnTo>
                  <a:pt x="14" y="74"/>
                </a:lnTo>
                <a:lnTo>
                  <a:pt x="12" y="74"/>
                </a:lnTo>
                <a:lnTo>
                  <a:pt x="12" y="74"/>
                </a:lnTo>
                <a:lnTo>
                  <a:pt x="10" y="76"/>
                </a:lnTo>
                <a:lnTo>
                  <a:pt x="10" y="78"/>
                </a:lnTo>
                <a:lnTo>
                  <a:pt x="8" y="74"/>
                </a:lnTo>
                <a:lnTo>
                  <a:pt x="8" y="74"/>
                </a:lnTo>
                <a:lnTo>
                  <a:pt x="6" y="72"/>
                </a:lnTo>
                <a:lnTo>
                  <a:pt x="4" y="74"/>
                </a:lnTo>
                <a:lnTo>
                  <a:pt x="2" y="76"/>
                </a:lnTo>
                <a:lnTo>
                  <a:pt x="4" y="78"/>
                </a:lnTo>
                <a:lnTo>
                  <a:pt x="4" y="78"/>
                </a:lnTo>
                <a:lnTo>
                  <a:pt x="6" y="82"/>
                </a:lnTo>
                <a:lnTo>
                  <a:pt x="6" y="86"/>
                </a:lnTo>
                <a:lnTo>
                  <a:pt x="6" y="88"/>
                </a:lnTo>
                <a:lnTo>
                  <a:pt x="8" y="88"/>
                </a:lnTo>
                <a:lnTo>
                  <a:pt x="8" y="88"/>
                </a:lnTo>
                <a:lnTo>
                  <a:pt x="10" y="86"/>
                </a:lnTo>
                <a:lnTo>
                  <a:pt x="14" y="86"/>
                </a:lnTo>
                <a:lnTo>
                  <a:pt x="18" y="90"/>
                </a:lnTo>
                <a:lnTo>
                  <a:pt x="18" y="90"/>
                </a:lnTo>
                <a:lnTo>
                  <a:pt x="22" y="92"/>
                </a:lnTo>
                <a:lnTo>
                  <a:pt x="24" y="94"/>
                </a:lnTo>
                <a:lnTo>
                  <a:pt x="22" y="98"/>
                </a:lnTo>
                <a:lnTo>
                  <a:pt x="22" y="100"/>
                </a:lnTo>
                <a:lnTo>
                  <a:pt x="22" y="102"/>
                </a:lnTo>
                <a:lnTo>
                  <a:pt x="24" y="102"/>
                </a:lnTo>
                <a:lnTo>
                  <a:pt x="24" y="102"/>
                </a:lnTo>
                <a:lnTo>
                  <a:pt x="28" y="102"/>
                </a:lnTo>
                <a:lnTo>
                  <a:pt x="30" y="104"/>
                </a:lnTo>
                <a:lnTo>
                  <a:pt x="32" y="106"/>
                </a:lnTo>
                <a:lnTo>
                  <a:pt x="34" y="106"/>
                </a:lnTo>
                <a:lnTo>
                  <a:pt x="34" y="106"/>
                </a:lnTo>
                <a:lnTo>
                  <a:pt x="36" y="106"/>
                </a:lnTo>
                <a:lnTo>
                  <a:pt x="38" y="108"/>
                </a:lnTo>
                <a:lnTo>
                  <a:pt x="36" y="110"/>
                </a:lnTo>
                <a:lnTo>
                  <a:pt x="34" y="110"/>
                </a:lnTo>
                <a:lnTo>
                  <a:pt x="34" y="110"/>
                </a:lnTo>
                <a:lnTo>
                  <a:pt x="32" y="110"/>
                </a:lnTo>
                <a:lnTo>
                  <a:pt x="32" y="112"/>
                </a:lnTo>
                <a:lnTo>
                  <a:pt x="32" y="114"/>
                </a:lnTo>
                <a:lnTo>
                  <a:pt x="32" y="114"/>
                </a:lnTo>
                <a:lnTo>
                  <a:pt x="40" y="114"/>
                </a:lnTo>
                <a:lnTo>
                  <a:pt x="46" y="114"/>
                </a:lnTo>
                <a:lnTo>
                  <a:pt x="46" y="114"/>
                </a:lnTo>
                <a:lnTo>
                  <a:pt x="44" y="116"/>
                </a:lnTo>
                <a:lnTo>
                  <a:pt x="38" y="118"/>
                </a:lnTo>
                <a:lnTo>
                  <a:pt x="34" y="118"/>
                </a:lnTo>
                <a:lnTo>
                  <a:pt x="32" y="120"/>
                </a:lnTo>
                <a:lnTo>
                  <a:pt x="34" y="120"/>
                </a:lnTo>
                <a:lnTo>
                  <a:pt x="34" y="120"/>
                </a:lnTo>
                <a:lnTo>
                  <a:pt x="36" y="122"/>
                </a:lnTo>
                <a:lnTo>
                  <a:pt x="40" y="120"/>
                </a:lnTo>
                <a:lnTo>
                  <a:pt x="42" y="120"/>
                </a:lnTo>
                <a:lnTo>
                  <a:pt x="46" y="122"/>
                </a:lnTo>
                <a:lnTo>
                  <a:pt x="46" y="122"/>
                </a:lnTo>
                <a:lnTo>
                  <a:pt x="52" y="122"/>
                </a:lnTo>
                <a:lnTo>
                  <a:pt x="56" y="120"/>
                </a:lnTo>
                <a:lnTo>
                  <a:pt x="58" y="118"/>
                </a:lnTo>
                <a:lnTo>
                  <a:pt x="58" y="118"/>
                </a:lnTo>
                <a:lnTo>
                  <a:pt x="60" y="120"/>
                </a:lnTo>
                <a:lnTo>
                  <a:pt x="66" y="120"/>
                </a:lnTo>
                <a:lnTo>
                  <a:pt x="68" y="122"/>
                </a:lnTo>
                <a:lnTo>
                  <a:pt x="70" y="122"/>
                </a:lnTo>
                <a:lnTo>
                  <a:pt x="68" y="122"/>
                </a:lnTo>
                <a:lnTo>
                  <a:pt x="68" y="122"/>
                </a:lnTo>
                <a:lnTo>
                  <a:pt x="68" y="124"/>
                </a:lnTo>
                <a:lnTo>
                  <a:pt x="68" y="126"/>
                </a:lnTo>
                <a:lnTo>
                  <a:pt x="72" y="130"/>
                </a:lnTo>
                <a:lnTo>
                  <a:pt x="78" y="134"/>
                </a:lnTo>
                <a:lnTo>
                  <a:pt x="80" y="134"/>
                </a:lnTo>
                <a:lnTo>
                  <a:pt x="82" y="132"/>
                </a:lnTo>
                <a:lnTo>
                  <a:pt x="82" y="132"/>
                </a:lnTo>
                <a:lnTo>
                  <a:pt x="84" y="130"/>
                </a:lnTo>
                <a:lnTo>
                  <a:pt x="92" y="130"/>
                </a:lnTo>
                <a:lnTo>
                  <a:pt x="96" y="126"/>
                </a:lnTo>
                <a:lnTo>
                  <a:pt x="98" y="124"/>
                </a:lnTo>
                <a:lnTo>
                  <a:pt x="98" y="122"/>
                </a:lnTo>
                <a:lnTo>
                  <a:pt x="98" y="122"/>
                </a:lnTo>
                <a:lnTo>
                  <a:pt x="98" y="118"/>
                </a:lnTo>
                <a:lnTo>
                  <a:pt x="102" y="118"/>
                </a:lnTo>
                <a:lnTo>
                  <a:pt x="106" y="118"/>
                </a:lnTo>
                <a:lnTo>
                  <a:pt x="112" y="120"/>
                </a:lnTo>
                <a:lnTo>
                  <a:pt x="112" y="120"/>
                </a:lnTo>
                <a:lnTo>
                  <a:pt x="118" y="122"/>
                </a:lnTo>
                <a:lnTo>
                  <a:pt x="122" y="124"/>
                </a:lnTo>
                <a:lnTo>
                  <a:pt x="128" y="128"/>
                </a:lnTo>
                <a:lnTo>
                  <a:pt x="134" y="134"/>
                </a:lnTo>
                <a:lnTo>
                  <a:pt x="134" y="134"/>
                </a:lnTo>
                <a:lnTo>
                  <a:pt x="140" y="134"/>
                </a:lnTo>
                <a:lnTo>
                  <a:pt x="146" y="134"/>
                </a:lnTo>
                <a:lnTo>
                  <a:pt x="156" y="132"/>
                </a:lnTo>
                <a:lnTo>
                  <a:pt x="156" y="132"/>
                </a:lnTo>
                <a:lnTo>
                  <a:pt x="158" y="132"/>
                </a:lnTo>
                <a:lnTo>
                  <a:pt x="160" y="130"/>
                </a:lnTo>
                <a:lnTo>
                  <a:pt x="160" y="126"/>
                </a:lnTo>
                <a:lnTo>
                  <a:pt x="166" y="120"/>
                </a:lnTo>
                <a:lnTo>
                  <a:pt x="166" y="120"/>
                </a:lnTo>
                <a:lnTo>
                  <a:pt x="172" y="116"/>
                </a:lnTo>
                <a:lnTo>
                  <a:pt x="176" y="118"/>
                </a:lnTo>
                <a:lnTo>
                  <a:pt x="180" y="120"/>
                </a:lnTo>
                <a:lnTo>
                  <a:pt x="188" y="122"/>
                </a:lnTo>
                <a:lnTo>
                  <a:pt x="188" y="122"/>
                </a:lnTo>
                <a:lnTo>
                  <a:pt x="190" y="120"/>
                </a:lnTo>
                <a:lnTo>
                  <a:pt x="192" y="118"/>
                </a:lnTo>
                <a:lnTo>
                  <a:pt x="194" y="118"/>
                </a:lnTo>
                <a:lnTo>
                  <a:pt x="196" y="120"/>
                </a:lnTo>
                <a:lnTo>
                  <a:pt x="196" y="120"/>
                </a:lnTo>
                <a:lnTo>
                  <a:pt x="198" y="124"/>
                </a:lnTo>
                <a:lnTo>
                  <a:pt x="196" y="126"/>
                </a:lnTo>
                <a:lnTo>
                  <a:pt x="194" y="128"/>
                </a:lnTo>
                <a:lnTo>
                  <a:pt x="192" y="130"/>
                </a:lnTo>
                <a:lnTo>
                  <a:pt x="194" y="132"/>
                </a:lnTo>
                <a:lnTo>
                  <a:pt x="194" y="132"/>
                </a:lnTo>
                <a:lnTo>
                  <a:pt x="202" y="134"/>
                </a:lnTo>
                <a:lnTo>
                  <a:pt x="208" y="130"/>
                </a:lnTo>
                <a:lnTo>
                  <a:pt x="208" y="130"/>
                </a:lnTo>
                <a:lnTo>
                  <a:pt x="206" y="124"/>
                </a:lnTo>
                <a:lnTo>
                  <a:pt x="206" y="114"/>
                </a:lnTo>
                <a:lnTo>
                  <a:pt x="206" y="114"/>
                </a:lnTo>
                <a:lnTo>
                  <a:pt x="212" y="116"/>
                </a:lnTo>
                <a:lnTo>
                  <a:pt x="218" y="116"/>
                </a:lnTo>
                <a:lnTo>
                  <a:pt x="226" y="116"/>
                </a:lnTo>
                <a:lnTo>
                  <a:pt x="234" y="112"/>
                </a:lnTo>
                <a:lnTo>
                  <a:pt x="234" y="112"/>
                </a:lnTo>
                <a:lnTo>
                  <a:pt x="242" y="114"/>
                </a:lnTo>
                <a:lnTo>
                  <a:pt x="250" y="114"/>
                </a:lnTo>
                <a:lnTo>
                  <a:pt x="258" y="114"/>
                </a:lnTo>
                <a:lnTo>
                  <a:pt x="264" y="112"/>
                </a:lnTo>
                <a:lnTo>
                  <a:pt x="278" y="106"/>
                </a:lnTo>
                <a:lnTo>
                  <a:pt x="288" y="104"/>
                </a:lnTo>
                <a:lnTo>
                  <a:pt x="298" y="104"/>
                </a:lnTo>
                <a:lnTo>
                  <a:pt x="298" y="104"/>
                </a:lnTo>
                <a:lnTo>
                  <a:pt x="308" y="102"/>
                </a:lnTo>
                <a:lnTo>
                  <a:pt x="312" y="100"/>
                </a:lnTo>
                <a:lnTo>
                  <a:pt x="316" y="100"/>
                </a:lnTo>
                <a:lnTo>
                  <a:pt x="320" y="104"/>
                </a:lnTo>
                <a:lnTo>
                  <a:pt x="320" y="104"/>
                </a:lnTo>
                <a:lnTo>
                  <a:pt x="324" y="100"/>
                </a:lnTo>
                <a:lnTo>
                  <a:pt x="328" y="98"/>
                </a:lnTo>
                <a:lnTo>
                  <a:pt x="334" y="98"/>
                </a:lnTo>
                <a:lnTo>
                  <a:pt x="334" y="98"/>
                </a:lnTo>
                <a:lnTo>
                  <a:pt x="344" y="100"/>
                </a:lnTo>
                <a:lnTo>
                  <a:pt x="348" y="102"/>
                </a:lnTo>
                <a:lnTo>
                  <a:pt x="352" y="102"/>
                </a:lnTo>
                <a:lnTo>
                  <a:pt x="356" y="104"/>
                </a:lnTo>
                <a:lnTo>
                  <a:pt x="356" y="104"/>
                </a:lnTo>
                <a:lnTo>
                  <a:pt x="360" y="104"/>
                </a:lnTo>
                <a:lnTo>
                  <a:pt x="362" y="104"/>
                </a:lnTo>
                <a:lnTo>
                  <a:pt x="364" y="108"/>
                </a:lnTo>
                <a:lnTo>
                  <a:pt x="366" y="110"/>
                </a:lnTo>
                <a:lnTo>
                  <a:pt x="374" y="106"/>
                </a:lnTo>
                <a:lnTo>
                  <a:pt x="374" y="106"/>
                </a:lnTo>
                <a:lnTo>
                  <a:pt x="374" y="104"/>
                </a:lnTo>
                <a:lnTo>
                  <a:pt x="372" y="102"/>
                </a:lnTo>
                <a:lnTo>
                  <a:pt x="372" y="102"/>
                </a:lnTo>
                <a:lnTo>
                  <a:pt x="370" y="100"/>
                </a:lnTo>
                <a:lnTo>
                  <a:pt x="368" y="96"/>
                </a:lnTo>
                <a:lnTo>
                  <a:pt x="368" y="92"/>
                </a:lnTo>
                <a:lnTo>
                  <a:pt x="366" y="92"/>
                </a:lnTo>
                <a:lnTo>
                  <a:pt x="366" y="92"/>
                </a:lnTo>
                <a:lnTo>
                  <a:pt x="362" y="92"/>
                </a:lnTo>
                <a:lnTo>
                  <a:pt x="358" y="88"/>
                </a:lnTo>
                <a:lnTo>
                  <a:pt x="354" y="82"/>
                </a:lnTo>
                <a:lnTo>
                  <a:pt x="354" y="78"/>
                </a:lnTo>
                <a:lnTo>
                  <a:pt x="354" y="78"/>
                </a:lnTo>
                <a:lnTo>
                  <a:pt x="354" y="74"/>
                </a:lnTo>
                <a:lnTo>
                  <a:pt x="352" y="72"/>
                </a:lnTo>
                <a:lnTo>
                  <a:pt x="350" y="70"/>
                </a:lnTo>
                <a:lnTo>
                  <a:pt x="348" y="66"/>
                </a:lnTo>
                <a:lnTo>
                  <a:pt x="348" y="66"/>
                </a:lnTo>
                <a:lnTo>
                  <a:pt x="346" y="56"/>
                </a:lnTo>
                <a:lnTo>
                  <a:pt x="346" y="54"/>
                </a:lnTo>
                <a:lnTo>
                  <a:pt x="350" y="54"/>
                </a:lnTo>
                <a:lnTo>
                  <a:pt x="350" y="54"/>
                </a:lnTo>
                <a:lnTo>
                  <a:pt x="354" y="54"/>
                </a:lnTo>
                <a:lnTo>
                  <a:pt x="354" y="52"/>
                </a:lnTo>
                <a:lnTo>
                  <a:pt x="354" y="50"/>
                </a:lnTo>
                <a:lnTo>
                  <a:pt x="356" y="46"/>
                </a:lnTo>
                <a:lnTo>
                  <a:pt x="356" y="46"/>
                </a:lnTo>
                <a:lnTo>
                  <a:pt x="352" y="42"/>
                </a:lnTo>
                <a:lnTo>
                  <a:pt x="350" y="40"/>
                </a:lnTo>
                <a:lnTo>
                  <a:pt x="348" y="38"/>
                </a:lnTo>
                <a:lnTo>
                  <a:pt x="340" y="36"/>
                </a:lnTo>
                <a:lnTo>
                  <a:pt x="340" y="36"/>
                </a:lnTo>
                <a:lnTo>
                  <a:pt x="334" y="34"/>
                </a:lnTo>
                <a:lnTo>
                  <a:pt x="332" y="34"/>
                </a:lnTo>
                <a:lnTo>
                  <a:pt x="332" y="32"/>
                </a:lnTo>
                <a:lnTo>
                  <a:pt x="332" y="28"/>
                </a:lnTo>
                <a:lnTo>
                  <a:pt x="332" y="24"/>
                </a:lnTo>
                <a:lnTo>
                  <a:pt x="332" y="22"/>
                </a:lnTo>
                <a:lnTo>
                  <a:pt x="328" y="18"/>
                </a:lnTo>
                <a:lnTo>
                  <a:pt x="328" y="18"/>
                </a:lnTo>
                <a:lnTo>
                  <a:pt x="322" y="18"/>
                </a:lnTo>
                <a:lnTo>
                  <a:pt x="320" y="16"/>
                </a:lnTo>
                <a:lnTo>
                  <a:pt x="318" y="14"/>
                </a:lnTo>
                <a:lnTo>
                  <a:pt x="320" y="10"/>
                </a:lnTo>
                <a:lnTo>
                  <a:pt x="320" y="8"/>
                </a:lnTo>
                <a:lnTo>
                  <a:pt x="320" y="6"/>
                </a:lnTo>
                <a:lnTo>
                  <a:pt x="316" y="8"/>
                </a:lnTo>
                <a:lnTo>
                  <a:pt x="316" y="8"/>
                </a:lnTo>
                <a:lnTo>
                  <a:pt x="306" y="10"/>
                </a:lnTo>
                <a:lnTo>
                  <a:pt x="296" y="8"/>
                </a:lnTo>
                <a:lnTo>
                  <a:pt x="290" y="6"/>
                </a:lnTo>
                <a:lnTo>
                  <a:pt x="282" y="6"/>
                </a:lnTo>
                <a:lnTo>
                  <a:pt x="282" y="6"/>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68" name="UAE"/>
          <p:cNvSpPr>
            <a:spLocks/>
          </p:cNvSpPr>
          <p:nvPr/>
        </p:nvSpPr>
        <p:spPr bwMode="auto">
          <a:xfrm>
            <a:off x="5544124" y="2010473"/>
            <a:ext cx="118499" cy="116083"/>
          </a:xfrm>
          <a:custGeom>
            <a:avLst/>
            <a:gdLst/>
            <a:ahLst/>
            <a:cxnLst>
              <a:cxn ang="0">
                <a:pos x="104" y="32"/>
              </a:cxn>
              <a:cxn ang="0">
                <a:pos x="100" y="18"/>
              </a:cxn>
              <a:cxn ang="0">
                <a:pos x="98" y="14"/>
              </a:cxn>
              <a:cxn ang="0">
                <a:pos x="96" y="14"/>
              </a:cxn>
              <a:cxn ang="0">
                <a:pos x="96" y="8"/>
              </a:cxn>
              <a:cxn ang="0">
                <a:pos x="96" y="2"/>
              </a:cxn>
              <a:cxn ang="0">
                <a:pos x="94" y="0"/>
              </a:cxn>
              <a:cxn ang="0">
                <a:pos x="88" y="4"/>
              </a:cxn>
              <a:cxn ang="0">
                <a:pos x="82" y="10"/>
              </a:cxn>
              <a:cxn ang="0">
                <a:pos x="78" y="16"/>
              </a:cxn>
              <a:cxn ang="0">
                <a:pos x="72" y="26"/>
              </a:cxn>
              <a:cxn ang="0">
                <a:pos x="60" y="36"/>
              </a:cxn>
              <a:cxn ang="0">
                <a:pos x="58" y="42"/>
              </a:cxn>
              <a:cxn ang="0">
                <a:pos x="56" y="44"/>
              </a:cxn>
              <a:cxn ang="0">
                <a:pos x="54" y="44"/>
              </a:cxn>
              <a:cxn ang="0">
                <a:pos x="52" y="46"/>
              </a:cxn>
              <a:cxn ang="0">
                <a:pos x="50" y="46"/>
              </a:cxn>
              <a:cxn ang="0">
                <a:pos x="46" y="46"/>
              </a:cxn>
              <a:cxn ang="0">
                <a:pos x="40" y="48"/>
              </a:cxn>
              <a:cxn ang="0">
                <a:pos x="36" y="48"/>
              </a:cxn>
              <a:cxn ang="0">
                <a:pos x="30" y="48"/>
              </a:cxn>
              <a:cxn ang="0">
                <a:pos x="16" y="48"/>
              </a:cxn>
              <a:cxn ang="0">
                <a:pos x="12" y="50"/>
              </a:cxn>
              <a:cxn ang="0">
                <a:pos x="6" y="42"/>
              </a:cxn>
              <a:cxn ang="0">
                <a:pos x="2" y="38"/>
              </a:cxn>
              <a:cxn ang="0">
                <a:pos x="0" y="44"/>
              </a:cxn>
              <a:cxn ang="0">
                <a:pos x="4" y="54"/>
              </a:cxn>
              <a:cxn ang="0">
                <a:pos x="12" y="66"/>
              </a:cxn>
              <a:cxn ang="0">
                <a:pos x="14" y="78"/>
              </a:cxn>
              <a:cxn ang="0">
                <a:pos x="66" y="102"/>
              </a:cxn>
              <a:cxn ang="0">
                <a:pos x="78" y="96"/>
              </a:cxn>
              <a:cxn ang="0">
                <a:pos x="80" y="86"/>
              </a:cxn>
              <a:cxn ang="0">
                <a:pos x="86" y="78"/>
              </a:cxn>
              <a:cxn ang="0">
                <a:pos x="86" y="74"/>
              </a:cxn>
              <a:cxn ang="0">
                <a:pos x="82" y="68"/>
              </a:cxn>
              <a:cxn ang="0">
                <a:pos x="82" y="68"/>
              </a:cxn>
              <a:cxn ang="0">
                <a:pos x="90" y="64"/>
              </a:cxn>
              <a:cxn ang="0">
                <a:pos x="96" y="60"/>
              </a:cxn>
              <a:cxn ang="0">
                <a:pos x="96" y="58"/>
              </a:cxn>
              <a:cxn ang="0">
                <a:pos x="90" y="52"/>
              </a:cxn>
              <a:cxn ang="0">
                <a:pos x="90" y="44"/>
              </a:cxn>
              <a:cxn ang="0">
                <a:pos x="92" y="36"/>
              </a:cxn>
              <a:cxn ang="0">
                <a:pos x="100" y="34"/>
              </a:cxn>
              <a:cxn ang="0">
                <a:pos x="104" y="32"/>
              </a:cxn>
            </a:cxnLst>
            <a:rect l="0" t="0" r="r" b="b"/>
            <a:pathLst>
              <a:path w="104" h="102">
                <a:moveTo>
                  <a:pt x="104" y="32"/>
                </a:moveTo>
                <a:lnTo>
                  <a:pt x="104" y="32"/>
                </a:lnTo>
                <a:lnTo>
                  <a:pt x="100" y="24"/>
                </a:lnTo>
                <a:lnTo>
                  <a:pt x="100" y="18"/>
                </a:lnTo>
                <a:lnTo>
                  <a:pt x="100" y="14"/>
                </a:lnTo>
                <a:lnTo>
                  <a:pt x="98" y="14"/>
                </a:lnTo>
                <a:lnTo>
                  <a:pt x="98" y="14"/>
                </a:lnTo>
                <a:lnTo>
                  <a:pt x="96" y="14"/>
                </a:lnTo>
                <a:lnTo>
                  <a:pt x="94" y="12"/>
                </a:lnTo>
                <a:lnTo>
                  <a:pt x="96" y="8"/>
                </a:lnTo>
                <a:lnTo>
                  <a:pt x="98" y="2"/>
                </a:lnTo>
                <a:lnTo>
                  <a:pt x="96" y="2"/>
                </a:lnTo>
                <a:lnTo>
                  <a:pt x="94" y="0"/>
                </a:lnTo>
                <a:lnTo>
                  <a:pt x="94" y="0"/>
                </a:lnTo>
                <a:lnTo>
                  <a:pt x="90" y="0"/>
                </a:lnTo>
                <a:lnTo>
                  <a:pt x="88" y="4"/>
                </a:lnTo>
                <a:lnTo>
                  <a:pt x="88" y="6"/>
                </a:lnTo>
                <a:lnTo>
                  <a:pt x="82" y="10"/>
                </a:lnTo>
                <a:lnTo>
                  <a:pt x="82" y="10"/>
                </a:lnTo>
                <a:lnTo>
                  <a:pt x="78" y="16"/>
                </a:lnTo>
                <a:lnTo>
                  <a:pt x="76" y="20"/>
                </a:lnTo>
                <a:lnTo>
                  <a:pt x="72" y="26"/>
                </a:lnTo>
                <a:lnTo>
                  <a:pt x="60" y="36"/>
                </a:lnTo>
                <a:lnTo>
                  <a:pt x="60" y="36"/>
                </a:lnTo>
                <a:lnTo>
                  <a:pt x="58" y="40"/>
                </a:lnTo>
                <a:lnTo>
                  <a:pt x="58" y="42"/>
                </a:lnTo>
                <a:lnTo>
                  <a:pt x="58" y="44"/>
                </a:lnTo>
                <a:lnTo>
                  <a:pt x="56" y="44"/>
                </a:lnTo>
                <a:lnTo>
                  <a:pt x="56" y="44"/>
                </a:lnTo>
                <a:lnTo>
                  <a:pt x="54" y="44"/>
                </a:lnTo>
                <a:lnTo>
                  <a:pt x="52" y="44"/>
                </a:lnTo>
                <a:lnTo>
                  <a:pt x="52" y="46"/>
                </a:lnTo>
                <a:lnTo>
                  <a:pt x="50" y="46"/>
                </a:lnTo>
                <a:lnTo>
                  <a:pt x="50" y="46"/>
                </a:lnTo>
                <a:lnTo>
                  <a:pt x="46" y="46"/>
                </a:lnTo>
                <a:lnTo>
                  <a:pt x="46" y="46"/>
                </a:lnTo>
                <a:lnTo>
                  <a:pt x="44" y="48"/>
                </a:lnTo>
                <a:lnTo>
                  <a:pt x="40" y="48"/>
                </a:lnTo>
                <a:lnTo>
                  <a:pt x="40" y="48"/>
                </a:lnTo>
                <a:lnTo>
                  <a:pt x="36" y="48"/>
                </a:lnTo>
                <a:lnTo>
                  <a:pt x="30" y="48"/>
                </a:lnTo>
                <a:lnTo>
                  <a:pt x="30" y="48"/>
                </a:lnTo>
                <a:lnTo>
                  <a:pt x="20" y="48"/>
                </a:lnTo>
                <a:lnTo>
                  <a:pt x="16" y="48"/>
                </a:lnTo>
                <a:lnTo>
                  <a:pt x="12" y="50"/>
                </a:lnTo>
                <a:lnTo>
                  <a:pt x="12" y="50"/>
                </a:lnTo>
                <a:lnTo>
                  <a:pt x="8" y="46"/>
                </a:lnTo>
                <a:lnTo>
                  <a:pt x="6" y="42"/>
                </a:lnTo>
                <a:lnTo>
                  <a:pt x="4" y="38"/>
                </a:lnTo>
                <a:lnTo>
                  <a:pt x="2" y="38"/>
                </a:lnTo>
                <a:lnTo>
                  <a:pt x="2" y="38"/>
                </a:lnTo>
                <a:lnTo>
                  <a:pt x="0" y="44"/>
                </a:lnTo>
                <a:lnTo>
                  <a:pt x="2" y="48"/>
                </a:lnTo>
                <a:lnTo>
                  <a:pt x="4" y="54"/>
                </a:lnTo>
                <a:lnTo>
                  <a:pt x="6" y="56"/>
                </a:lnTo>
                <a:lnTo>
                  <a:pt x="12" y="66"/>
                </a:lnTo>
                <a:lnTo>
                  <a:pt x="14" y="72"/>
                </a:lnTo>
                <a:lnTo>
                  <a:pt x="14" y="78"/>
                </a:lnTo>
                <a:lnTo>
                  <a:pt x="66" y="102"/>
                </a:lnTo>
                <a:lnTo>
                  <a:pt x="66" y="102"/>
                </a:lnTo>
                <a:lnTo>
                  <a:pt x="78" y="96"/>
                </a:lnTo>
                <a:lnTo>
                  <a:pt x="78" y="96"/>
                </a:lnTo>
                <a:lnTo>
                  <a:pt x="78" y="88"/>
                </a:lnTo>
                <a:lnTo>
                  <a:pt x="80" y="86"/>
                </a:lnTo>
                <a:lnTo>
                  <a:pt x="82" y="84"/>
                </a:lnTo>
                <a:lnTo>
                  <a:pt x="86" y="78"/>
                </a:lnTo>
                <a:lnTo>
                  <a:pt x="86" y="78"/>
                </a:lnTo>
                <a:lnTo>
                  <a:pt x="86" y="74"/>
                </a:lnTo>
                <a:lnTo>
                  <a:pt x="84" y="70"/>
                </a:lnTo>
                <a:lnTo>
                  <a:pt x="82" y="68"/>
                </a:lnTo>
                <a:lnTo>
                  <a:pt x="82" y="68"/>
                </a:lnTo>
                <a:lnTo>
                  <a:pt x="82" y="68"/>
                </a:lnTo>
                <a:lnTo>
                  <a:pt x="86" y="64"/>
                </a:lnTo>
                <a:lnTo>
                  <a:pt x="90" y="64"/>
                </a:lnTo>
                <a:lnTo>
                  <a:pt x="92" y="64"/>
                </a:lnTo>
                <a:lnTo>
                  <a:pt x="96" y="60"/>
                </a:lnTo>
                <a:lnTo>
                  <a:pt x="96" y="60"/>
                </a:lnTo>
                <a:lnTo>
                  <a:pt x="96" y="58"/>
                </a:lnTo>
                <a:lnTo>
                  <a:pt x="94" y="56"/>
                </a:lnTo>
                <a:lnTo>
                  <a:pt x="90" y="52"/>
                </a:lnTo>
                <a:lnTo>
                  <a:pt x="90" y="44"/>
                </a:lnTo>
                <a:lnTo>
                  <a:pt x="90" y="44"/>
                </a:lnTo>
                <a:lnTo>
                  <a:pt x="90" y="40"/>
                </a:lnTo>
                <a:lnTo>
                  <a:pt x="92" y="36"/>
                </a:lnTo>
                <a:lnTo>
                  <a:pt x="96" y="34"/>
                </a:lnTo>
                <a:lnTo>
                  <a:pt x="100" y="34"/>
                </a:lnTo>
                <a:lnTo>
                  <a:pt x="102" y="34"/>
                </a:lnTo>
                <a:lnTo>
                  <a:pt x="104" y="32"/>
                </a:lnTo>
                <a:lnTo>
                  <a:pt x="104" y="32"/>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69" name="Ukraine"/>
          <p:cNvSpPr>
            <a:spLocks/>
          </p:cNvSpPr>
          <p:nvPr/>
        </p:nvSpPr>
        <p:spPr bwMode="auto">
          <a:xfrm>
            <a:off x="4798948" y="1339016"/>
            <a:ext cx="366891" cy="195747"/>
          </a:xfrm>
          <a:custGeom>
            <a:avLst/>
            <a:gdLst/>
            <a:ahLst/>
            <a:cxnLst>
              <a:cxn ang="0">
                <a:pos x="0" y="88"/>
              </a:cxn>
              <a:cxn ang="0">
                <a:pos x="2" y="74"/>
              </a:cxn>
              <a:cxn ang="0">
                <a:pos x="8" y="64"/>
              </a:cxn>
              <a:cxn ang="0">
                <a:pos x="22" y="48"/>
              </a:cxn>
              <a:cxn ang="0">
                <a:pos x="22" y="42"/>
              </a:cxn>
              <a:cxn ang="0">
                <a:pos x="20" y="26"/>
              </a:cxn>
              <a:cxn ang="0">
                <a:pos x="80" y="30"/>
              </a:cxn>
              <a:cxn ang="0">
                <a:pos x="104" y="28"/>
              </a:cxn>
              <a:cxn ang="0">
                <a:pos x="120" y="20"/>
              </a:cxn>
              <a:cxn ang="0">
                <a:pos x="146" y="24"/>
              </a:cxn>
              <a:cxn ang="0">
                <a:pos x="146" y="2"/>
              </a:cxn>
              <a:cxn ang="0">
                <a:pos x="178" y="0"/>
              </a:cxn>
              <a:cxn ang="0">
                <a:pos x="204" y="6"/>
              </a:cxn>
              <a:cxn ang="0">
                <a:pos x="218" y="20"/>
              </a:cxn>
              <a:cxn ang="0">
                <a:pos x="230" y="36"/>
              </a:cxn>
              <a:cxn ang="0">
                <a:pos x="248" y="50"/>
              </a:cxn>
              <a:cxn ang="0">
                <a:pos x="282" y="54"/>
              </a:cxn>
              <a:cxn ang="0">
                <a:pos x="314" y="58"/>
              </a:cxn>
              <a:cxn ang="0">
                <a:pos x="314" y="72"/>
              </a:cxn>
              <a:cxn ang="0">
                <a:pos x="320" y="84"/>
              </a:cxn>
              <a:cxn ang="0">
                <a:pos x="306" y="102"/>
              </a:cxn>
              <a:cxn ang="0">
                <a:pos x="292" y="120"/>
              </a:cxn>
              <a:cxn ang="0">
                <a:pos x="274" y="128"/>
              </a:cxn>
              <a:cxn ang="0">
                <a:pos x="252" y="134"/>
              </a:cxn>
              <a:cxn ang="0">
                <a:pos x="244" y="136"/>
              </a:cxn>
              <a:cxn ang="0">
                <a:pos x="230" y="138"/>
              </a:cxn>
              <a:cxn ang="0">
                <a:pos x="232" y="140"/>
              </a:cxn>
              <a:cxn ang="0">
                <a:pos x="248" y="152"/>
              </a:cxn>
              <a:cxn ang="0">
                <a:pos x="272" y="152"/>
              </a:cxn>
              <a:cxn ang="0">
                <a:pos x="280" y="156"/>
              </a:cxn>
              <a:cxn ang="0">
                <a:pos x="262" y="158"/>
              </a:cxn>
              <a:cxn ang="0">
                <a:pos x="246" y="164"/>
              </a:cxn>
              <a:cxn ang="0">
                <a:pos x="226" y="168"/>
              </a:cxn>
              <a:cxn ang="0">
                <a:pos x="224" y="158"/>
              </a:cxn>
              <a:cxn ang="0">
                <a:pos x="208" y="152"/>
              </a:cxn>
              <a:cxn ang="0">
                <a:pos x="220" y="138"/>
              </a:cxn>
              <a:cxn ang="0">
                <a:pos x="212" y="138"/>
              </a:cxn>
              <a:cxn ang="0">
                <a:pos x="192" y="134"/>
              </a:cxn>
              <a:cxn ang="0">
                <a:pos x="190" y="128"/>
              </a:cxn>
              <a:cxn ang="0">
                <a:pos x="196" y="126"/>
              </a:cxn>
              <a:cxn ang="0">
                <a:pos x="176" y="130"/>
              </a:cxn>
              <a:cxn ang="0">
                <a:pos x="160" y="130"/>
              </a:cxn>
              <a:cxn ang="0">
                <a:pos x="158" y="140"/>
              </a:cxn>
              <a:cxn ang="0">
                <a:pos x="152" y="150"/>
              </a:cxn>
              <a:cxn ang="0">
                <a:pos x="132" y="156"/>
              </a:cxn>
              <a:cxn ang="0">
                <a:pos x="126" y="150"/>
              </a:cxn>
              <a:cxn ang="0">
                <a:pos x="138" y="138"/>
              </a:cxn>
              <a:cxn ang="0">
                <a:pos x="146" y="140"/>
              </a:cxn>
              <a:cxn ang="0">
                <a:pos x="146" y="128"/>
              </a:cxn>
              <a:cxn ang="0">
                <a:pos x="140" y="114"/>
              </a:cxn>
              <a:cxn ang="0">
                <a:pos x="138" y="100"/>
              </a:cxn>
              <a:cxn ang="0">
                <a:pos x="126" y="94"/>
              </a:cxn>
              <a:cxn ang="0">
                <a:pos x="116" y="90"/>
              </a:cxn>
              <a:cxn ang="0">
                <a:pos x="92" y="92"/>
              </a:cxn>
              <a:cxn ang="0">
                <a:pos x="70" y="92"/>
              </a:cxn>
              <a:cxn ang="0">
                <a:pos x="46" y="94"/>
              </a:cxn>
              <a:cxn ang="0">
                <a:pos x="30" y="98"/>
              </a:cxn>
              <a:cxn ang="0">
                <a:pos x="18" y="98"/>
              </a:cxn>
            </a:cxnLst>
            <a:rect l="0" t="0" r="r" b="b"/>
            <a:pathLst>
              <a:path w="322" h="172">
                <a:moveTo>
                  <a:pt x="6" y="98"/>
                </a:moveTo>
                <a:lnTo>
                  <a:pt x="6" y="98"/>
                </a:lnTo>
                <a:lnTo>
                  <a:pt x="4" y="96"/>
                </a:lnTo>
                <a:lnTo>
                  <a:pt x="0" y="92"/>
                </a:lnTo>
                <a:lnTo>
                  <a:pt x="0" y="92"/>
                </a:lnTo>
                <a:lnTo>
                  <a:pt x="0" y="88"/>
                </a:lnTo>
                <a:lnTo>
                  <a:pt x="0" y="88"/>
                </a:lnTo>
                <a:lnTo>
                  <a:pt x="0" y="86"/>
                </a:lnTo>
                <a:lnTo>
                  <a:pt x="0" y="86"/>
                </a:lnTo>
                <a:lnTo>
                  <a:pt x="0" y="84"/>
                </a:lnTo>
                <a:lnTo>
                  <a:pt x="2" y="80"/>
                </a:lnTo>
                <a:lnTo>
                  <a:pt x="2" y="80"/>
                </a:lnTo>
                <a:lnTo>
                  <a:pt x="2" y="76"/>
                </a:lnTo>
                <a:lnTo>
                  <a:pt x="2" y="74"/>
                </a:lnTo>
                <a:lnTo>
                  <a:pt x="2" y="74"/>
                </a:lnTo>
                <a:lnTo>
                  <a:pt x="6" y="74"/>
                </a:lnTo>
                <a:lnTo>
                  <a:pt x="6" y="74"/>
                </a:lnTo>
                <a:lnTo>
                  <a:pt x="8" y="70"/>
                </a:lnTo>
                <a:lnTo>
                  <a:pt x="8" y="70"/>
                </a:lnTo>
                <a:lnTo>
                  <a:pt x="8" y="66"/>
                </a:lnTo>
                <a:lnTo>
                  <a:pt x="8" y="64"/>
                </a:lnTo>
                <a:lnTo>
                  <a:pt x="10" y="62"/>
                </a:lnTo>
                <a:lnTo>
                  <a:pt x="16" y="56"/>
                </a:lnTo>
                <a:lnTo>
                  <a:pt x="16" y="56"/>
                </a:lnTo>
                <a:lnTo>
                  <a:pt x="18" y="52"/>
                </a:lnTo>
                <a:lnTo>
                  <a:pt x="22" y="50"/>
                </a:lnTo>
                <a:lnTo>
                  <a:pt x="24" y="50"/>
                </a:lnTo>
                <a:lnTo>
                  <a:pt x="22" y="48"/>
                </a:lnTo>
                <a:lnTo>
                  <a:pt x="22" y="48"/>
                </a:lnTo>
                <a:lnTo>
                  <a:pt x="22" y="44"/>
                </a:lnTo>
                <a:lnTo>
                  <a:pt x="24" y="44"/>
                </a:lnTo>
                <a:lnTo>
                  <a:pt x="26" y="46"/>
                </a:lnTo>
                <a:lnTo>
                  <a:pt x="26" y="44"/>
                </a:lnTo>
                <a:lnTo>
                  <a:pt x="26" y="44"/>
                </a:lnTo>
                <a:lnTo>
                  <a:pt x="22" y="42"/>
                </a:lnTo>
                <a:lnTo>
                  <a:pt x="18" y="40"/>
                </a:lnTo>
                <a:lnTo>
                  <a:pt x="14" y="36"/>
                </a:lnTo>
                <a:lnTo>
                  <a:pt x="10" y="28"/>
                </a:lnTo>
                <a:lnTo>
                  <a:pt x="10" y="28"/>
                </a:lnTo>
                <a:lnTo>
                  <a:pt x="16" y="24"/>
                </a:lnTo>
                <a:lnTo>
                  <a:pt x="18" y="24"/>
                </a:lnTo>
                <a:lnTo>
                  <a:pt x="20" y="26"/>
                </a:lnTo>
                <a:lnTo>
                  <a:pt x="30" y="22"/>
                </a:lnTo>
                <a:lnTo>
                  <a:pt x="30" y="22"/>
                </a:lnTo>
                <a:lnTo>
                  <a:pt x="40" y="20"/>
                </a:lnTo>
                <a:lnTo>
                  <a:pt x="48" y="20"/>
                </a:lnTo>
                <a:lnTo>
                  <a:pt x="62" y="24"/>
                </a:lnTo>
                <a:lnTo>
                  <a:pt x="74" y="28"/>
                </a:lnTo>
                <a:lnTo>
                  <a:pt x="80" y="30"/>
                </a:lnTo>
                <a:lnTo>
                  <a:pt x="88" y="28"/>
                </a:lnTo>
                <a:lnTo>
                  <a:pt x="88" y="28"/>
                </a:lnTo>
                <a:lnTo>
                  <a:pt x="96" y="24"/>
                </a:lnTo>
                <a:lnTo>
                  <a:pt x="98" y="26"/>
                </a:lnTo>
                <a:lnTo>
                  <a:pt x="98" y="26"/>
                </a:lnTo>
                <a:lnTo>
                  <a:pt x="100" y="28"/>
                </a:lnTo>
                <a:lnTo>
                  <a:pt x="104" y="28"/>
                </a:lnTo>
                <a:lnTo>
                  <a:pt x="104" y="28"/>
                </a:lnTo>
                <a:lnTo>
                  <a:pt x="110" y="26"/>
                </a:lnTo>
                <a:lnTo>
                  <a:pt x="110" y="26"/>
                </a:lnTo>
                <a:lnTo>
                  <a:pt x="112" y="28"/>
                </a:lnTo>
                <a:lnTo>
                  <a:pt x="116" y="24"/>
                </a:lnTo>
                <a:lnTo>
                  <a:pt x="116" y="24"/>
                </a:lnTo>
                <a:lnTo>
                  <a:pt x="120" y="20"/>
                </a:lnTo>
                <a:lnTo>
                  <a:pt x="122" y="20"/>
                </a:lnTo>
                <a:lnTo>
                  <a:pt x="124" y="22"/>
                </a:lnTo>
                <a:lnTo>
                  <a:pt x="130" y="22"/>
                </a:lnTo>
                <a:lnTo>
                  <a:pt x="130" y="22"/>
                </a:lnTo>
                <a:lnTo>
                  <a:pt x="136" y="22"/>
                </a:lnTo>
                <a:lnTo>
                  <a:pt x="142" y="24"/>
                </a:lnTo>
                <a:lnTo>
                  <a:pt x="146" y="24"/>
                </a:lnTo>
                <a:lnTo>
                  <a:pt x="148" y="22"/>
                </a:lnTo>
                <a:lnTo>
                  <a:pt x="148" y="20"/>
                </a:lnTo>
                <a:lnTo>
                  <a:pt x="148" y="20"/>
                </a:lnTo>
                <a:lnTo>
                  <a:pt x="146" y="14"/>
                </a:lnTo>
                <a:lnTo>
                  <a:pt x="144" y="8"/>
                </a:lnTo>
                <a:lnTo>
                  <a:pt x="144" y="4"/>
                </a:lnTo>
                <a:lnTo>
                  <a:pt x="146" y="2"/>
                </a:lnTo>
                <a:lnTo>
                  <a:pt x="150" y="2"/>
                </a:lnTo>
                <a:lnTo>
                  <a:pt x="158" y="2"/>
                </a:lnTo>
                <a:lnTo>
                  <a:pt x="158" y="2"/>
                </a:lnTo>
                <a:lnTo>
                  <a:pt x="160" y="2"/>
                </a:lnTo>
                <a:lnTo>
                  <a:pt x="162" y="0"/>
                </a:lnTo>
                <a:lnTo>
                  <a:pt x="166" y="0"/>
                </a:lnTo>
                <a:lnTo>
                  <a:pt x="178" y="0"/>
                </a:lnTo>
                <a:lnTo>
                  <a:pt x="178" y="0"/>
                </a:lnTo>
                <a:lnTo>
                  <a:pt x="192" y="0"/>
                </a:lnTo>
                <a:lnTo>
                  <a:pt x="196" y="2"/>
                </a:lnTo>
                <a:lnTo>
                  <a:pt x="196" y="4"/>
                </a:lnTo>
                <a:lnTo>
                  <a:pt x="200" y="6"/>
                </a:lnTo>
                <a:lnTo>
                  <a:pt x="200" y="6"/>
                </a:lnTo>
                <a:lnTo>
                  <a:pt x="204" y="6"/>
                </a:lnTo>
                <a:lnTo>
                  <a:pt x="204" y="10"/>
                </a:lnTo>
                <a:lnTo>
                  <a:pt x="202" y="16"/>
                </a:lnTo>
                <a:lnTo>
                  <a:pt x="200" y="20"/>
                </a:lnTo>
                <a:lnTo>
                  <a:pt x="202" y="20"/>
                </a:lnTo>
                <a:lnTo>
                  <a:pt x="206" y="20"/>
                </a:lnTo>
                <a:lnTo>
                  <a:pt x="206" y="20"/>
                </a:lnTo>
                <a:lnTo>
                  <a:pt x="218" y="20"/>
                </a:lnTo>
                <a:lnTo>
                  <a:pt x="218" y="22"/>
                </a:lnTo>
                <a:lnTo>
                  <a:pt x="224" y="26"/>
                </a:lnTo>
                <a:lnTo>
                  <a:pt x="224" y="26"/>
                </a:lnTo>
                <a:lnTo>
                  <a:pt x="228" y="28"/>
                </a:lnTo>
                <a:lnTo>
                  <a:pt x="230" y="32"/>
                </a:lnTo>
                <a:lnTo>
                  <a:pt x="230" y="34"/>
                </a:lnTo>
                <a:lnTo>
                  <a:pt x="230" y="36"/>
                </a:lnTo>
                <a:lnTo>
                  <a:pt x="228" y="40"/>
                </a:lnTo>
                <a:lnTo>
                  <a:pt x="228" y="40"/>
                </a:lnTo>
                <a:lnTo>
                  <a:pt x="232" y="42"/>
                </a:lnTo>
                <a:lnTo>
                  <a:pt x="232" y="42"/>
                </a:lnTo>
                <a:lnTo>
                  <a:pt x="242" y="46"/>
                </a:lnTo>
                <a:lnTo>
                  <a:pt x="244" y="50"/>
                </a:lnTo>
                <a:lnTo>
                  <a:pt x="248" y="50"/>
                </a:lnTo>
                <a:lnTo>
                  <a:pt x="256" y="46"/>
                </a:lnTo>
                <a:lnTo>
                  <a:pt x="256" y="46"/>
                </a:lnTo>
                <a:lnTo>
                  <a:pt x="262" y="44"/>
                </a:lnTo>
                <a:lnTo>
                  <a:pt x="264" y="44"/>
                </a:lnTo>
                <a:lnTo>
                  <a:pt x="270" y="46"/>
                </a:lnTo>
                <a:lnTo>
                  <a:pt x="278" y="52"/>
                </a:lnTo>
                <a:lnTo>
                  <a:pt x="282" y="54"/>
                </a:lnTo>
                <a:lnTo>
                  <a:pt x="288" y="54"/>
                </a:lnTo>
                <a:lnTo>
                  <a:pt x="288" y="54"/>
                </a:lnTo>
                <a:lnTo>
                  <a:pt x="296" y="54"/>
                </a:lnTo>
                <a:lnTo>
                  <a:pt x="300" y="56"/>
                </a:lnTo>
                <a:lnTo>
                  <a:pt x="304" y="58"/>
                </a:lnTo>
                <a:lnTo>
                  <a:pt x="314" y="58"/>
                </a:lnTo>
                <a:lnTo>
                  <a:pt x="314" y="58"/>
                </a:lnTo>
                <a:lnTo>
                  <a:pt x="320" y="60"/>
                </a:lnTo>
                <a:lnTo>
                  <a:pt x="320" y="60"/>
                </a:lnTo>
                <a:lnTo>
                  <a:pt x="316" y="66"/>
                </a:lnTo>
                <a:lnTo>
                  <a:pt x="312" y="70"/>
                </a:lnTo>
                <a:lnTo>
                  <a:pt x="310" y="70"/>
                </a:lnTo>
                <a:lnTo>
                  <a:pt x="314" y="72"/>
                </a:lnTo>
                <a:lnTo>
                  <a:pt x="314" y="72"/>
                </a:lnTo>
                <a:lnTo>
                  <a:pt x="316" y="72"/>
                </a:lnTo>
                <a:lnTo>
                  <a:pt x="316" y="74"/>
                </a:lnTo>
                <a:lnTo>
                  <a:pt x="314" y="78"/>
                </a:lnTo>
                <a:lnTo>
                  <a:pt x="314" y="80"/>
                </a:lnTo>
                <a:lnTo>
                  <a:pt x="316" y="80"/>
                </a:lnTo>
                <a:lnTo>
                  <a:pt x="316" y="80"/>
                </a:lnTo>
                <a:lnTo>
                  <a:pt x="320" y="84"/>
                </a:lnTo>
                <a:lnTo>
                  <a:pt x="322" y="86"/>
                </a:lnTo>
                <a:lnTo>
                  <a:pt x="322" y="88"/>
                </a:lnTo>
                <a:lnTo>
                  <a:pt x="320" y="92"/>
                </a:lnTo>
                <a:lnTo>
                  <a:pt x="316" y="96"/>
                </a:lnTo>
                <a:lnTo>
                  <a:pt x="310" y="100"/>
                </a:lnTo>
                <a:lnTo>
                  <a:pt x="310" y="100"/>
                </a:lnTo>
                <a:lnTo>
                  <a:pt x="306" y="102"/>
                </a:lnTo>
                <a:lnTo>
                  <a:pt x="300" y="106"/>
                </a:lnTo>
                <a:lnTo>
                  <a:pt x="298" y="110"/>
                </a:lnTo>
                <a:lnTo>
                  <a:pt x="298" y="118"/>
                </a:lnTo>
                <a:lnTo>
                  <a:pt x="298" y="118"/>
                </a:lnTo>
                <a:lnTo>
                  <a:pt x="296" y="120"/>
                </a:lnTo>
                <a:lnTo>
                  <a:pt x="292" y="120"/>
                </a:lnTo>
                <a:lnTo>
                  <a:pt x="292" y="120"/>
                </a:lnTo>
                <a:lnTo>
                  <a:pt x="288" y="122"/>
                </a:lnTo>
                <a:lnTo>
                  <a:pt x="286" y="122"/>
                </a:lnTo>
                <a:lnTo>
                  <a:pt x="284" y="122"/>
                </a:lnTo>
                <a:lnTo>
                  <a:pt x="280" y="126"/>
                </a:lnTo>
                <a:lnTo>
                  <a:pt x="280" y="126"/>
                </a:lnTo>
                <a:lnTo>
                  <a:pt x="276" y="130"/>
                </a:lnTo>
                <a:lnTo>
                  <a:pt x="274" y="128"/>
                </a:lnTo>
                <a:lnTo>
                  <a:pt x="272" y="128"/>
                </a:lnTo>
                <a:lnTo>
                  <a:pt x="268" y="132"/>
                </a:lnTo>
                <a:lnTo>
                  <a:pt x="268" y="132"/>
                </a:lnTo>
                <a:lnTo>
                  <a:pt x="264" y="136"/>
                </a:lnTo>
                <a:lnTo>
                  <a:pt x="258" y="134"/>
                </a:lnTo>
                <a:lnTo>
                  <a:pt x="258" y="134"/>
                </a:lnTo>
                <a:lnTo>
                  <a:pt x="252" y="134"/>
                </a:lnTo>
                <a:lnTo>
                  <a:pt x="248" y="136"/>
                </a:lnTo>
                <a:lnTo>
                  <a:pt x="244" y="138"/>
                </a:lnTo>
                <a:lnTo>
                  <a:pt x="238" y="138"/>
                </a:lnTo>
                <a:lnTo>
                  <a:pt x="238" y="138"/>
                </a:lnTo>
                <a:lnTo>
                  <a:pt x="236" y="138"/>
                </a:lnTo>
                <a:lnTo>
                  <a:pt x="236" y="138"/>
                </a:lnTo>
                <a:lnTo>
                  <a:pt x="244" y="136"/>
                </a:lnTo>
                <a:lnTo>
                  <a:pt x="244" y="136"/>
                </a:lnTo>
                <a:lnTo>
                  <a:pt x="246" y="136"/>
                </a:lnTo>
                <a:lnTo>
                  <a:pt x="244" y="134"/>
                </a:lnTo>
                <a:lnTo>
                  <a:pt x="238" y="136"/>
                </a:lnTo>
                <a:lnTo>
                  <a:pt x="238" y="136"/>
                </a:lnTo>
                <a:lnTo>
                  <a:pt x="232" y="138"/>
                </a:lnTo>
                <a:lnTo>
                  <a:pt x="230" y="138"/>
                </a:lnTo>
                <a:lnTo>
                  <a:pt x="228" y="136"/>
                </a:lnTo>
                <a:lnTo>
                  <a:pt x="228" y="136"/>
                </a:lnTo>
                <a:lnTo>
                  <a:pt x="228" y="138"/>
                </a:lnTo>
                <a:lnTo>
                  <a:pt x="228" y="140"/>
                </a:lnTo>
                <a:lnTo>
                  <a:pt x="230" y="140"/>
                </a:lnTo>
                <a:lnTo>
                  <a:pt x="232" y="140"/>
                </a:lnTo>
                <a:lnTo>
                  <a:pt x="232" y="140"/>
                </a:lnTo>
                <a:lnTo>
                  <a:pt x="236" y="140"/>
                </a:lnTo>
                <a:lnTo>
                  <a:pt x="238" y="142"/>
                </a:lnTo>
                <a:lnTo>
                  <a:pt x="238" y="142"/>
                </a:lnTo>
                <a:lnTo>
                  <a:pt x="246" y="146"/>
                </a:lnTo>
                <a:lnTo>
                  <a:pt x="250" y="148"/>
                </a:lnTo>
                <a:lnTo>
                  <a:pt x="250" y="150"/>
                </a:lnTo>
                <a:lnTo>
                  <a:pt x="248" y="152"/>
                </a:lnTo>
                <a:lnTo>
                  <a:pt x="248" y="152"/>
                </a:lnTo>
                <a:lnTo>
                  <a:pt x="254" y="152"/>
                </a:lnTo>
                <a:lnTo>
                  <a:pt x="258" y="152"/>
                </a:lnTo>
                <a:lnTo>
                  <a:pt x="262" y="154"/>
                </a:lnTo>
                <a:lnTo>
                  <a:pt x="266" y="152"/>
                </a:lnTo>
                <a:lnTo>
                  <a:pt x="266" y="152"/>
                </a:lnTo>
                <a:lnTo>
                  <a:pt x="272" y="152"/>
                </a:lnTo>
                <a:lnTo>
                  <a:pt x="280" y="152"/>
                </a:lnTo>
                <a:lnTo>
                  <a:pt x="280" y="152"/>
                </a:lnTo>
                <a:lnTo>
                  <a:pt x="282" y="154"/>
                </a:lnTo>
                <a:lnTo>
                  <a:pt x="282" y="154"/>
                </a:lnTo>
                <a:lnTo>
                  <a:pt x="280" y="154"/>
                </a:lnTo>
                <a:lnTo>
                  <a:pt x="280" y="156"/>
                </a:lnTo>
                <a:lnTo>
                  <a:pt x="280" y="156"/>
                </a:lnTo>
                <a:lnTo>
                  <a:pt x="278" y="158"/>
                </a:lnTo>
                <a:lnTo>
                  <a:pt x="278" y="158"/>
                </a:lnTo>
                <a:lnTo>
                  <a:pt x="276" y="158"/>
                </a:lnTo>
                <a:lnTo>
                  <a:pt x="276" y="158"/>
                </a:lnTo>
                <a:lnTo>
                  <a:pt x="272" y="160"/>
                </a:lnTo>
                <a:lnTo>
                  <a:pt x="268" y="158"/>
                </a:lnTo>
                <a:lnTo>
                  <a:pt x="262" y="158"/>
                </a:lnTo>
                <a:lnTo>
                  <a:pt x="260" y="158"/>
                </a:lnTo>
                <a:lnTo>
                  <a:pt x="258" y="160"/>
                </a:lnTo>
                <a:lnTo>
                  <a:pt x="258" y="160"/>
                </a:lnTo>
                <a:lnTo>
                  <a:pt x="256" y="162"/>
                </a:lnTo>
                <a:lnTo>
                  <a:pt x="248" y="164"/>
                </a:lnTo>
                <a:lnTo>
                  <a:pt x="248" y="164"/>
                </a:lnTo>
                <a:lnTo>
                  <a:pt x="246" y="164"/>
                </a:lnTo>
                <a:lnTo>
                  <a:pt x="244" y="166"/>
                </a:lnTo>
                <a:lnTo>
                  <a:pt x="242" y="170"/>
                </a:lnTo>
                <a:lnTo>
                  <a:pt x="240" y="172"/>
                </a:lnTo>
                <a:lnTo>
                  <a:pt x="238" y="172"/>
                </a:lnTo>
                <a:lnTo>
                  <a:pt x="228" y="170"/>
                </a:lnTo>
                <a:lnTo>
                  <a:pt x="228" y="170"/>
                </a:lnTo>
                <a:lnTo>
                  <a:pt x="226" y="168"/>
                </a:lnTo>
                <a:lnTo>
                  <a:pt x="226" y="168"/>
                </a:lnTo>
                <a:lnTo>
                  <a:pt x="228" y="164"/>
                </a:lnTo>
                <a:lnTo>
                  <a:pt x="230" y="160"/>
                </a:lnTo>
                <a:lnTo>
                  <a:pt x="228" y="160"/>
                </a:lnTo>
                <a:lnTo>
                  <a:pt x="226" y="160"/>
                </a:lnTo>
                <a:lnTo>
                  <a:pt x="226" y="160"/>
                </a:lnTo>
                <a:lnTo>
                  <a:pt x="224" y="158"/>
                </a:lnTo>
                <a:lnTo>
                  <a:pt x="222" y="158"/>
                </a:lnTo>
                <a:lnTo>
                  <a:pt x="222" y="154"/>
                </a:lnTo>
                <a:lnTo>
                  <a:pt x="218" y="152"/>
                </a:lnTo>
                <a:lnTo>
                  <a:pt x="212" y="154"/>
                </a:lnTo>
                <a:lnTo>
                  <a:pt x="212" y="154"/>
                </a:lnTo>
                <a:lnTo>
                  <a:pt x="210" y="154"/>
                </a:lnTo>
                <a:lnTo>
                  <a:pt x="208" y="152"/>
                </a:lnTo>
                <a:lnTo>
                  <a:pt x="210" y="148"/>
                </a:lnTo>
                <a:lnTo>
                  <a:pt x="210" y="148"/>
                </a:lnTo>
                <a:lnTo>
                  <a:pt x="216" y="144"/>
                </a:lnTo>
                <a:lnTo>
                  <a:pt x="224" y="140"/>
                </a:lnTo>
                <a:lnTo>
                  <a:pt x="224" y="140"/>
                </a:lnTo>
                <a:lnTo>
                  <a:pt x="220" y="140"/>
                </a:lnTo>
                <a:lnTo>
                  <a:pt x="220" y="138"/>
                </a:lnTo>
                <a:lnTo>
                  <a:pt x="220" y="138"/>
                </a:lnTo>
                <a:lnTo>
                  <a:pt x="220" y="138"/>
                </a:lnTo>
                <a:lnTo>
                  <a:pt x="218" y="140"/>
                </a:lnTo>
                <a:lnTo>
                  <a:pt x="216" y="140"/>
                </a:lnTo>
                <a:lnTo>
                  <a:pt x="214" y="140"/>
                </a:lnTo>
                <a:lnTo>
                  <a:pt x="214" y="140"/>
                </a:lnTo>
                <a:lnTo>
                  <a:pt x="212" y="138"/>
                </a:lnTo>
                <a:lnTo>
                  <a:pt x="210" y="138"/>
                </a:lnTo>
                <a:lnTo>
                  <a:pt x="206" y="138"/>
                </a:lnTo>
                <a:lnTo>
                  <a:pt x="200" y="136"/>
                </a:lnTo>
                <a:lnTo>
                  <a:pt x="200" y="136"/>
                </a:lnTo>
                <a:lnTo>
                  <a:pt x="194" y="134"/>
                </a:lnTo>
                <a:lnTo>
                  <a:pt x="192" y="134"/>
                </a:lnTo>
                <a:lnTo>
                  <a:pt x="192" y="134"/>
                </a:lnTo>
                <a:lnTo>
                  <a:pt x="190" y="132"/>
                </a:lnTo>
                <a:lnTo>
                  <a:pt x="190" y="132"/>
                </a:lnTo>
                <a:lnTo>
                  <a:pt x="194" y="132"/>
                </a:lnTo>
                <a:lnTo>
                  <a:pt x="198" y="130"/>
                </a:lnTo>
                <a:lnTo>
                  <a:pt x="194" y="130"/>
                </a:lnTo>
                <a:lnTo>
                  <a:pt x="194" y="130"/>
                </a:lnTo>
                <a:lnTo>
                  <a:pt x="190" y="128"/>
                </a:lnTo>
                <a:lnTo>
                  <a:pt x="194" y="128"/>
                </a:lnTo>
                <a:lnTo>
                  <a:pt x="194" y="128"/>
                </a:lnTo>
                <a:lnTo>
                  <a:pt x="206" y="128"/>
                </a:lnTo>
                <a:lnTo>
                  <a:pt x="206" y="128"/>
                </a:lnTo>
                <a:lnTo>
                  <a:pt x="206" y="128"/>
                </a:lnTo>
                <a:lnTo>
                  <a:pt x="196" y="126"/>
                </a:lnTo>
                <a:lnTo>
                  <a:pt x="196" y="126"/>
                </a:lnTo>
                <a:lnTo>
                  <a:pt x="190" y="124"/>
                </a:lnTo>
                <a:lnTo>
                  <a:pt x="188" y="126"/>
                </a:lnTo>
                <a:lnTo>
                  <a:pt x="186" y="126"/>
                </a:lnTo>
                <a:lnTo>
                  <a:pt x="182" y="128"/>
                </a:lnTo>
                <a:lnTo>
                  <a:pt x="182" y="128"/>
                </a:lnTo>
                <a:lnTo>
                  <a:pt x="178" y="128"/>
                </a:lnTo>
                <a:lnTo>
                  <a:pt x="176" y="130"/>
                </a:lnTo>
                <a:lnTo>
                  <a:pt x="172" y="132"/>
                </a:lnTo>
                <a:lnTo>
                  <a:pt x="168" y="134"/>
                </a:lnTo>
                <a:lnTo>
                  <a:pt x="168" y="134"/>
                </a:lnTo>
                <a:lnTo>
                  <a:pt x="164" y="134"/>
                </a:lnTo>
                <a:lnTo>
                  <a:pt x="164" y="132"/>
                </a:lnTo>
                <a:lnTo>
                  <a:pt x="164" y="132"/>
                </a:lnTo>
                <a:lnTo>
                  <a:pt x="160" y="130"/>
                </a:lnTo>
                <a:lnTo>
                  <a:pt x="160" y="130"/>
                </a:lnTo>
                <a:lnTo>
                  <a:pt x="162" y="132"/>
                </a:lnTo>
                <a:lnTo>
                  <a:pt x="162" y="132"/>
                </a:lnTo>
                <a:lnTo>
                  <a:pt x="164" y="136"/>
                </a:lnTo>
                <a:lnTo>
                  <a:pt x="162" y="138"/>
                </a:lnTo>
                <a:lnTo>
                  <a:pt x="162" y="138"/>
                </a:lnTo>
                <a:lnTo>
                  <a:pt x="158" y="140"/>
                </a:lnTo>
                <a:lnTo>
                  <a:pt x="154" y="144"/>
                </a:lnTo>
                <a:lnTo>
                  <a:pt x="154" y="144"/>
                </a:lnTo>
                <a:lnTo>
                  <a:pt x="154" y="146"/>
                </a:lnTo>
                <a:lnTo>
                  <a:pt x="154" y="148"/>
                </a:lnTo>
                <a:lnTo>
                  <a:pt x="154" y="148"/>
                </a:lnTo>
                <a:lnTo>
                  <a:pt x="152" y="150"/>
                </a:lnTo>
                <a:lnTo>
                  <a:pt x="152" y="150"/>
                </a:lnTo>
                <a:lnTo>
                  <a:pt x="146" y="148"/>
                </a:lnTo>
                <a:lnTo>
                  <a:pt x="142" y="150"/>
                </a:lnTo>
                <a:lnTo>
                  <a:pt x="140" y="150"/>
                </a:lnTo>
                <a:lnTo>
                  <a:pt x="134" y="152"/>
                </a:lnTo>
                <a:lnTo>
                  <a:pt x="134" y="152"/>
                </a:lnTo>
                <a:lnTo>
                  <a:pt x="134" y="154"/>
                </a:lnTo>
                <a:lnTo>
                  <a:pt x="132" y="156"/>
                </a:lnTo>
                <a:lnTo>
                  <a:pt x="128" y="154"/>
                </a:lnTo>
                <a:lnTo>
                  <a:pt x="122" y="150"/>
                </a:lnTo>
                <a:lnTo>
                  <a:pt x="122" y="150"/>
                </a:lnTo>
                <a:lnTo>
                  <a:pt x="124" y="150"/>
                </a:lnTo>
                <a:lnTo>
                  <a:pt x="124" y="150"/>
                </a:lnTo>
                <a:lnTo>
                  <a:pt x="126" y="150"/>
                </a:lnTo>
                <a:lnTo>
                  <a:pt x="126" y="150"/>
                </a:lnTo>
                <a:lnTo>
                  <a:pt x="130" y="148"/>
                </a:lnTo>
                <a:lnTo>
                  <a:pt x="130" y="144"/>
                </a:lnTo>
                <a:lnTo>
                  <a:pt x="132" y="136"/>
                </a:lnTo>
                <a:lnTo>
                  <a:pt x="132" y="136"/>
                </a:lnTo>
                <a:lnTo>
                  <a:pt x="134" y="136"/>
                </a:lnTo>
                <a:lnTo>
                  <a:pt x="136" y="138"/>
                </a:lnTo>
                <a:lnTo>
                  <a:pt x="138" y="138"/>
                </a:lnTo>
                <a:lnTo>
                  <a:pt x="140" y="138"/>
                </a:lnTo>
                <a:lnTo>
                  <a:pt x="140" y="138"/>
                </a:lnTo>
                <a:lnTo>
                  <a:pt x="140" y="138"/>
                </a:lnTo>
                <a:lnTo>
                  <a:pt x="142" y="140"/>
                </a:lnTo>
                <a:lnTo>
                  <a:pt x="144" y="140"/>
                </a:lnTo>
                <a:lnTo>
                  <a:pt x="146" y="140"/>
                </a:lnTo>
                <a:lnTo>
                  <a:pt x="146" y="140"/>
                </a:lnTo>
                <a:lnTo>
                  <a:pt x="150" y="138"/>
                </a:lnTo>
                <a:lnTo>
                  <a:pt x="152" y="138"/>
                </a:lnTo>
                <a:lnTo>
                  <a:pt x="150" y="138"/>
                </a:lnTo>
                <a:lnTo>
                  <a:pt x="150" y="138"/>
                </a:lnTo>
                <a:lnTo>
                  <a:pt x="148" y="134"/>
                </a:lnTo>
                <a:lnTo>
                  <a:pt x="148" y="132"/>
                </a:lnTo>
                <a:lnTo>
                  <a:pt x="146" y="128"/>
                </a:lnTo>
                <a:lnTo>
                  <a:pt x="144" y="124"/>
                </a:lnTo>
                <a:lnTo>
                  <a:pt x="144" y="124"/>
                </a:lnTo>
                <a:lnTo>
                  <a:pt x="144" y="122"/>
                </a:lnTo>
                <a:lnTo>
                  <a:pt x="144" y="120"/>
                </a:lnTo>
                <a:lnTo>
                  <a:pt x="142" y="118"/>
                </a:lnTo>
                <a:lnTo>
                  <a:pt x="140" y="114"/>
                </a:lnTo>
                <a:lnTo>
                  <a:pt x="140" y="114"/>
                </a:lnTo>
                <a:lnTo>
                  <a:pt x="138" y="108"/>
                </a:lnTo>
                <a:lnTo>
                  <a:pt x="138" y="106"/>
                </a:lnTo>
                <a:lnTo>
                  <a:pt x="138" y="104"/>
                </a:lnTo>
                <a:lnTo>
                  <a:pt x="138" y="102"/>
                </a:lnTo>
                <a:lnTo>
                  <a:pt x="138" y="102"/>
                </a:lnTo>
                <a:lnTo>
                  <a:pt x="136" y="100"/>
                </a:lnTo>
                <a:lnTo>
                  <a:pt x="138" y="100"/>
                </a:lnTo>
                <a:lnTo>
                  <a:pt x="136" y="98"/>
                </a:lnTo>
                <a:lnTo>
                  <a:pt x="134" y="98"/>
                </a:lnTo>
                <a:lnTo>
                  <a:pt x="134" y="98"/>
                </a:lnTo>
                <a:lnTo>
                  <a:pt x="132" y="96"/>
                </a:lnTo>
                <a:lnTo>
                  <a:pt x="130" y="96"/>
                </a:lnTo>
                <a:lnTo>
                  <a:pt x="128" y="94"/>
                </a:lnTo>
                <a:lnTo>
                  <a:pt x="126" y="94"/>
                </a:lnTo>
                <a:lnTo>
                  <a:pt x="126" y="94"/>
                </a:lnTo>
                <a:lnTo>
                  <a:pt x="124" y="94"/>
                </a:lnTo>
                <a:lnTo>
                  <a:pt x="122" y="92"/>
                </a:lnTo>
                <a:lnTo>
                  <a:pt x="122" y="92"/>
                </a:lnTo>
                <a:lnTo>
                  <a:pt x="120" y="92"/>
                </a:lnTo>
                <a:lnTo>
                  <a:pt x="120" y="92"/>
                </a:lnTo>
                <a:lnTo>
                  <a:pt x="116" y="90"/>
                </a:lnTo>
                <a:lnTo>
                  <a:pt x="112" y="88"/>
                </a:lnTo>
                <a:lnTo>
                  <a:pt x="108" y="86"/>
                </a:lnTo>
                <a:lnTo>
                  <a:pt x="102" y="90"/>
                </a:lnTo>
                <a:lnTo>
                  <a:pt x="102" y="90"/>
                </a:lnTo>
                <a:lnTo>
                  <a:pt x="96" y="92"/>
                </a:lnTo>
                <a:lnTo>
                  <a:pt x="92" y="92"/>
                </a:lnTo>
                <a:lnTo>
                  <a:pt x="92" y="92"/>
                </a:lnTo>
                <a:lnTo>
                  <a:pt x="88" y="92"/>
                </a:lnTo>
                <a:lnTo>
                  <a:pt x="88" y="92"/>
                </a:lnTo>
                <a:lnTo>
                  <a:pt x="86" y="92"/>
                </a:lnTo>
                <a:lnTo>
                  <a:pt x="80" y="92"/>
                </a:lnTo>
                <a:lnTo>
                  <a:pt x="76" y="90"/>
                </a:lnTo>
                <a:lnTo>
                  <a:pt x="70" y="92"/>
                </a:lnTo>
                <a:lnTo>
                  <a:pt x="70" y="92"/>
                </a:lnTo>
                <a:lnTo>
                  <a:pt x="68" y="94"/>
                </a:lnTo>
                <a:lnTo>
                  <a:pt x="62" y="94"/>
                </a:lnTo>
                <a:lnTo>
                  <a:pt x="56" y="94"/>
                </a:lnTo>
                <a:lnTo>
                  <a:pt x="52" y="96"/>
                </a:lnTo>
                <a:lnTo>
                  <a:pt x="52" y="96"/>
                </a:lnTo>
                <a:lnTo>
                  <a:pt x="50" y="96"/>
                </a:lnTo>
                <a:lnTo>
                  <a:pt x="46" y="94"/>
                </a:lnTo>
                <a:lnTo>
                  <a:pt x="42" y="94"/>
                </a:lnTo>
                <a:lnTo>
                  <a:pt x="38" y="96"/>
                </a:lnTo>
                <a:lnTo>
                  <a:pt x="38" y="96"/>
                </a:lnTo>
                <a:lnTo>
                  <a:pt x="36" y="98"/>
                </a:lnTo>
                <a:lnTo>
                  <a:pt x="36" y="98"/>
                </a:lnTo>
                <a:lnTo>
                  <a:pt x="34" y="96"/>
                </a:lnTo>
                <a:lnTo>
                  <a:pt x="30" y="98"/>
                </a:lnTo>
                <a:lnTo>
                  <a:pt x="30" y="98"/>
                </a:lnTo>
                <a:lnTo>
                  <a:pt x="26" y="98"/>
                </a:lnTo>
                <a:lnTo>
                  <a:pt x="24" y="96"/>
                </a:lnTo>
                <a:lnTo>
                  <a:pt x="22" y="96"/>
                </a:lnTo>
                <a:lnTo>
                  <a:pt x="20" y="98"/>
                </a:lnTo>
                <a:lnTo>
                  <a:pt x="20" y="98"/>
                </a:lnTo>
                <a:lnTo>
                  <a:pt x="18" y="98"/>
                </a:lnTo>
                <a:lnTo>
                  <a:pt x="16" y="96"/>
                </a:lnTo>
                <a:lnTo>
                  <a:pt x="12" y="96"/>
                </a:lnTo>
                <a:lnTo>
                  <a:pt x="6" y="98"/>
                </a:lnTo>
                <a:lnTo>
                  <a:pt x="6" y="98"/>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70" name="United Kingdom"/>
          <p:cNvSpPr>
            <a:spLocks/>
          </p:cNvSpPr>
          <p:nvPr/>
        </p:nvSpPr>
        <p:spPr bwMode="auto">
          <a:xfrm>
            <a:off x="4192779" y="1227486"/>
            <a:ext cx="173192" cy="175262"/>
          </a:xfrm>
          <a:custGeom>
            <a:avLst/>
            <a:gdLst/>
            <a:ahLst/>
            <a:cxnLst/>
            <a:rect l="l" t="t" r="r" b="b"/>
            <a:pathLst>
              <a:path w="201084" h="203729">
                <a:moveTo>
                  <a:pt x="31750" y="76729"/>
                </a:moveTo>
                <a:lnTo>
                  <a:pt x="37042" y="76729"/>
                </a:lnTo>
                <a:lnTo>
                  <a:pt x="39688" y="79375"/>
                </a:lnTo>
                <a:lnTo>
                  <a:pt x="42334" y="79375"/>
                </a:lnTo>
                <a:lnTo>
                  <a:pt x="42334" y="82021"/>
                </a:lnTo>
                <a:lnTo>
                  <a:pt x="42334" y="84667"/>
                </a:lnTo>
                <a:lnTo>
                  <a:pt x="47625" y="87312"/>
                </a:lnTo>
                <a:lnTo>
                  <a:pt x="47625" y="89958"/>
                </a:lnTo>
                <a:lnTo>
                  <a:pt x="44980" y="89958"/>
                </a:lnTo>
                <a:lnTo>
                  <a:pt x="42334" y="92604"/>
                </a:lnTo>
                <a:lnTo>
                  <a:pt x="47625" y="92604"/>
                </a:lnTo>
                <a:lnTo>
                  <a:pt x="50271" y="92604"/>
                </a:lnTo>
                <a:lnTo>
                  <a:pt x="50271" y="95250"/>
                </a:lnTo>
                <a:lnTo>
                  <a:pt x="52917" y="97896"/>
                </a:lnTo>
                <a:lnTo>
                  <a:pt x="50271" y="100542"/>
                </a:lnTo>
                <a:lnTo>
                  <a:pt x="47625" y="103187"/>
                </a:lnTo>
                <a:lnTo>
                  <a:pt x="44980" y="103187"/>
                </a:lnTo>
                <a:lnTo>
                  <a:pt x="42334" y="103187"/>
                </a:lnTo>
                <a:lnTo>
                  <a:pt x="42334" y="105833"/>
                </a:lnTo>
                <a:lnTo>
                  <a:pt x="37042" y="108479"/>
                </a:lnTo>
                <a:lnTo>
                  <a:pt x="31750" y="105833"/>
                </a:lnTo>
                <a:lnTo>
                  <a:pt x="26459" y="105833"/>
                </a:lnTo>
                <a:lnTo>
                  <a:pt x="23813" y="103187"/>
                </a:lnTo>
                <a:lnTo>
                  <a:pt x="23813" y="100542"/>
                </a:lnTo>
                <a:lnTo>
                  <a:pt x="18521" y="95250"/>
                </a:lnTo>
                <a:lnTo>
                  <a:pt x="15875" y="97896"/>
                </a:lnTo>
                <a:lnTo>
                  <a:pt x="13229" y="100542"/>
                </a:lnTo>
                <a:lnTo>
                  <a:pt x="10584" y="100542"/>
                </a:lnTo>
                <a:lnTo>
                  <a:pt x="2646" y="97896"/>
                </a:lnTo>
                <a:lnTo>
                  <a:pt x="0" y="92604"/>
                </a:lnTo>
                <a:lnTo>
                  <a:pt x="5292" y="89958"/>
                </a:lnTo>
                <a:lnTo>
                  <a:pt x="5292" y="87312"/>
                </a:lnTo>
                <a:lnTo>
                  <a:pt x="7938" y="84667"/>
                </a:lnTo>
                <a:lnTo>
                  <a:pt x="10584" y="84667"/>
                </a:lnTo>
                <a:lnTo>
                  <a:pt x="13229" y="84667"/>
                </a:lnTo>
                <a:lnTo>
                  <a:pt x="15875" y="82021"/>
                </a:lnTo>
                <a:lnTo>
                  <a:pt x="18521" y="82021"/>
                </a:lnTo>
                <a:lnTo>
                  <a:pt x="23813" y="79375"/>
                </a:lnTo>
                <a:lnTo>
                  <a:pt x="26459" y="79375"/>
                </a:lnTo>
                <a:close/>
                <a:moveTo>
                  <a:pt x="68792" y="0"/>
                </a:moveTo>
                <a:lnTo>
                  <a:pt x="74084" y="0"/>
                </a:lnTo>
                <a:lnTo>
                  <a:pt x="74084" y="2646"/>
                </a:lnTo>
                <a:lnTo>
                  <a:pt x="76730" y="2646"/>
                </a:lnTo>
                <a:lnTo>
                  <a:pt x="79376" y="2646"/>
                </a:lnTo>
                <a:lnTo>
                  <a:pt x="82021" y="2646"/>
                </a:lnTo>
                <a:lnTo>
                  <a:pt x="87313" y="0"/>
                </a:lnTo>
                <a:lnTo>
                  <a:pt x="97896" y="0"/>
                </a:lnTo>
                <a:lnTo>
                  <a:pt x="103188" y="0"/>
                </a:lnTo>
                <a:lnTo>
                  <a:pt x="103188" y="2646"/>
                </a:lnTo>
                <a:lnTo>
                  <a:pt x="103188" y="5292"/>
                </a:lnTo>
                <a:lnTo>
                  <a:pt x="100542" y="7937"/>
                </a:lnTo>
                <a:lnTo>
                  <a:pt x="87313" y="15875"/>
                </a:lnTo>
                <a:lnTo>
                  <a:pt x="84667" y="18521"/>
                </a:lnTo>
                <a:lnTo>
                  <a:pt x="87313" y="18521"/>
                </a:lnTo>
                <a:lnTo>
                  <a:pt x="87313" y="21167"/>
                </a:lnTo>
                <a:lnTo>
                  <a:pt x="84667" y="23812"/>
                </a:lnTo>
                <a:lnTo>
                  <a:pt x="82021" y="23812"/>
                </a:lnTo>
                <a:lnTo>
                  <a:pt x="82021" y="26458"/>
                </a:lnTo>
                <a:lnTo>
                  <a:pt x="87313" y="23812"/>
                </a:lnTo>
                <a:lnTo>
                  <a:pt x="95251" y="23812"/>
                </a:lnTo>
                <a:lnTo>
                  <a:pt x="103188" y="23812"/>
                </a:lnTo>
                <a:lnTo>
                  <a:pt x="111126" y="23812"/>
                </a:lnTo>
                <a:lnTo>
                  <a:pt x="116417" y="23812"/>
                </a:lnTo>
                <a:lnTo>
                  <a:pt x="121709" y="23812"/>
                </a:lnTo>
                <a:lnTo>
                  <a:pt x="124355" y="23812"/>
                </a:lnTo>
                <a:lnTo>
                  <a:pt x="127001" y="26458"/>
                </a:lnTo>
                <a:lnTo>
                  <a:pt x="127001" y="29104"/>
                </a:lnTo>
                <a:lnTo>
                  <a:pt x="124355" y="31750"/>
                </a:lnTo>
                <a:lnTo>
                  <a:pt x="121709" y="31750"/>
                </a:lnTo>
                <a:lnTo>
                  <a:pt x="121709" y="34396"/>
                </a:lnTo>
                <a:lnTo>
                  <a:pt x="119063" y="39687"/>
                </a:lnTo>
                <a:lnTo>
                  <a:pt x="116417" y="44979"/>
                </a:lnTo>
                <a:lnTo>
                  <a:pt x="111126" y="50271"/>
                </a:lnTo>
                <a:lnTo>
                  <a:pt x="105834" y="52917"/>
                </a:lnTo>
                <a:lnTo>
                  <a:pt x="108480" y="55562"/>
                </a:lnTo>
                <a:lnTo>
                  <a:pt x="108480" y="58208"/>
                </a:lnTo>
                <a:lnTo>
                  <a:pt x="103188" y="58208"/>
                </a:lnTo>
                <a:lnTo>
                  <a:pt x="100542" y="60854"/>
                </a:lnTo>
                <a:lnTo>
                  <a:pt x="92605" y="60854"/>
                </a:lnTo>
                <a:lnTo>
                  <a:pt x="87313" y="60854"/>
                </a:lnTo>
                <a:lnTo>
                  <a:pt x="92605" y="63500"/>
                </a:lnTo>
                <a:lnTo>
                  <a:pt x="100542" y="63500"/>
                </a:lnTo>
                <a:lnTo>
                  <a:pt x="108480" y="60854"/>
                </a:lnTo>
                <a:lnTo>
                  <a:pt x="113771" y="63500"/>
                </a:lnTo>
                <a:lnTo>
                  <a:pt x="119063" y="66146"/>
                </a:lnTo>
                <a:lnTo>
                  <a:pt x="121709" y="68792"/>
                </a:lnTo>
                <a:lnTo>
                  <a:pt x="127001" y="71437"/>
                </a:lnTo>
                <a:lnTo>
                  <a:pt x="129646" y="74083"/>
                </a:lnTo>
                <a:lnTo>
                  <a:pt x="129646" y="76729"/>
                </a:lnTo>
                <a:lnTo>
                  <a:pt x="132292" y="84667"/>
                </a:lnTo>
                <a:lnTo>
                  <a:pt x="134938" y="92604"/>
                </a:lnTo>
                <a:lnTo>
                  <a:pt x="137584" y="95250"/>
                </a:lnTo>
                <a:lnTo>
                  <a:pt x="140230" y="95250"/>
                </a:lnTo>
                <a:lnTo>
                  <a:pt x="148167" y="97896"/>
                </a:lnTo>
                <a:lnTo>
                  <a:pt x="153459" y="100542"/>
                </a:lnTo>
                <a:lnTo>
                  <a:pt x="158751" y="105833"/>
                </a:lnTo>
                <a:lnTo>
                  <a:pt x="161397" y="108479"/>
                </a:lnTo>
                <a:lnTo>
                  <a:pt x="158751" y="108479"/>
                </a:lnTo>
                <a:lnTo>
                  <a:pt x="158751" y="111125"/>
                </a:lnTo>
                <a:lnTo>
                  <a:pt x="164042" y="116417"/>
                </a:lnTo>
                <a:lnTo>
                  <a:pt x="164042" y="119062"/>
                </a:lnTo>
                <a:lnTo>
                  <a:pt x="161397" y="119062"/>
                </a:lnTo>
                <a:lnTo>
                  <a:pt x="153459" y="116417"/>
                </a:lnTo>
                <a:lnTo>
                  <a:pt x="166688" y="121708"/>
                </a:lnTo>
                <a:lnTo>
                  <a:pt x="169334" y="124354"/>
                </a:lnTo>
                <a:lnTo>
                  <a:pt x="171980" y="127000"/>
                </a:lnTo>
                <a:lnTo>
                  <a:pt x="169334" y="129646"/>
                </a:lnTo>
                <a:lnTo>
                  <a:pt x="166688" y="132292"/>
                </a:lnTo>
                <a:lnTo>
                  <a:pt x="164042" y="134937"/>
                </a:lnTo>
                <a:lnTo>
                  <a:pt x="166688" y="137583"/>
                </a:lnTo>
                <a:lnTo>
                  <a:pt x="171980" y="140229"/>
                </a:lnTo>
                <a:lnTo>
                  <a:pt x="174626" y="137583"/>
                </a:lnTo>
                <a:lnTo>
                  <a:pt x="177272" y="132292"/>
                </a:lnTo>
                <a:lnTo>
                  <a:pt x="179917" y="132292"/>
                </a:lnTo>
                <a:lnTo>
                  <a:pt x="187855" y="132292"/>
                </a:lnTo>
                <a:lnTo>
                  <a:pt x="198438" y="137583"/>
                </a:lnTo>
                <a:lnTo>
                  <a:pt x="201084" y="142875"/>
                </a:lnTo>
                <a:lnTo>
                  <a:pt x="201084" y="148167"/>
                </a:lnTo>
                <a:lnTo>
                  <a:pt x="198438" y="150812"/>
                </a:lnTo>
                <a:lnTo>
                  <a:pt x="198438" y="153458"/>
                </a:lnTo>
                <a:lnTo>
                  <a:pt x="195792" y="156104"/>
                </a:lnTo>
                <a:lnTo>
                  <a:pt x="190501" y="158750"/>
                </a:lnTo>
                <a:lnTo>
                  <a:pt x="193147" y="158750"/>
                </a:lnTo>
                <a:lnTo>
                  <a:pt x="190501" y="161396"/>
                </a:lnTo>
                <a:lnTo>
                  <a:pt x="185209" y="161396"/>
                </a:lnTo>
                <a:lnTo>
                  <a:pt x="182563" y="161396"/>
                </a:lnTo>
                <a:lnTo>
                  <a:pt x="182563" y="164042"/>
                </a:lnTo>
                <a:lnTo>
                  <a:pt x="185209" y="164042"/>
                </a:lnTo>
                <a:lnTo>
                  <a:pt x="185209" y="166687"/>
                </a:lnTo>
                <a:lnTo>
                  <a:pt x="179917" y="169333"/>
                </a:lnTo>
                <a:lnTo>
                  <a:pt x="174626" y="169333"/>
                </a:lnTo>
                <a:lnTo>
                  <a:pt x="171980" y="169333"/>
                </a:lnTo>
                <a:lnTo>
                  <a:pt x="185209" y="171979"/>
                </a:lnTo>
                <a:lnTo>
                  <a:pt x="193147" y="171979"/>
                </a:lnTo>
                <a:lnTo>
                  <a:pt x="195792" y="171979"/>
                </a:lnTo>
                <a:lnTo>
                  <a:pt x="195792" y="174625"/>
                </a:lnTo>
                <a:lnTo>
                  <a:pt x="195792" y="177271"/>
                </a:lnTo>
                <a:lnTo>
                  <a:pt x="193147" y="179917"/>
                </a:lnTo>
                <a:lnTo>
                  <a:pt x="187855" y="182562"/>
                </a:lnTo>
                <a:lnTo>
                  <a:pt x="185209" y="182562"/>
                </a:lnTo>
                <a:lnTo>
                  <a:pt x="182563" y="182562"/>
                </a:lnTo>
                <a:lnTo>
                  <a:pt x="179917" y="182562"/>
                </a:lnTo>
                <a:lnTo>
                  <a:pt x="177272" y="185208"/>
                </a:lnTo>
                <a:lnTo>
                  <a:pt x="171980" y="187854"/>
                </a:lnTo>
                <a:lnTo>
                  <a:pt x="166688" y="185208"/>
                </a:lnTo>
                <a:lnTo>
                  <a:pt x="158751" y="185208"/>
                </a:lnTo>
                <a:lnTo>
                  <a:pt x="150813" y="187854"/>
                </a:lnTo>
                <a:lnTo>
                  <a:pt x="148167" y="187854"/>
                </a:lnTo>
                <a:lnTo>
                  <a:pt x="145522" y="187854"/>
                </a:lnTo>
                <a:lnTo>
                  <a:pt x="142876" y="187854"/>
                </a:lnTo>
                <a:lnTo>
                  <a:pt x="140230" y="187854"/>
                </a:lnTo>
                <a:lnTo>
                  <a:pt x="137584" y="185208"/>
                </a:lnTo>
                <a:lnTo>
                  <a:pt x="134938" y="182562"/>
                </a:lnTo>
                <a:lnTo>
                  <a:pt x="134938" y="185208"/>
                </a:lnTo>
                <a:lnTo>
                  <a:pt x="134938" y="187854"/>
                </a:lnTo>
                <a:lnTo>
                  <a:pt x="132292" y="187854"/>
                </a:lnTo>
                <a:lnTo>
                  <a:pt x="124355" y="187854"/>
                </a:lnTo>
                <a:lnTo>
                  <a:pt x="121709" y="187854"/>
                </a:lnTo>
                <a:lnTo>
                  <a:pt x="124355" y="190500"/>
                </a:lnTo>
                <a:lnTo>
                  <a:pt x="121709" y="193146"/>
                </a:lnTo>
                <a:lnTo>
                  <a:pt x="116417" y="193146"/>
                </a:lnTo>
                <a:lnTo>
                  <a:pt x="111126" y="190500"/>
                </a:lnTo>
                <a:lnTo>
                  <a:pt x="108480" y="190500"/>
                </a:lnTo>
                <a:lnTo>
                  <a:pt x="103188" y="187854"/>
                </a:lnTo>
                <a:lnTo>
                  <a:pt x="97896" y="187854"/>
                </a:lnTo>
                <a:lnTo>
                  <a:pt x="92605" y="187854"/>
                </a:lnTo>
                <a:lnTo>
                  <a:pt x="89959" y="190500"/>
                </a:lnTo>
                <a:lnTo>
                  <a:pt x="87313" y="195792"/>
                </a:lnTo>
                <a:lnTo>
                  <a:pt x="84667" y="198437"/>
                </a:lnTo>
                <a:lnTo>
                  <a:pt x="79376" y="198437"/>
                </a:lnTo>
                <a:lnTo>
                  <a:pt x="76730" y="198437"/>
                </a:lnTo>
                <a:lnTo>
                  <a:pt x="74084" y="195792"/>
                </a:lnTo>
                <a:lnTo>
                  <a:pt x="71438" y="195792"/>
                </a:lnTo>
                <a:lnTo>
                  <a:pt x="68792" y="195792"/>
                </a:lnTo>
                <a:lnTo>
                  <a:pt x="63501" y="198437"/>
                </a:lnTo>
                <a:lnTo>
                  <a:pt x="60855" y="195792"/>
                </a:lnTo>
                <a:lnTo>
                  <a:pt x="60855" y="198437"/>
                </a:lnTo>
                <a:lnTo>
                  <a:pt x="58209" y="198437"/>
                </a:lnTo>
                <a:lnTo>
                  <a:pt x="55563" y="198437"/>
                </a:lnTo>
                <a:lnTo>
                  <a:pt x="52917" y="201083"/>
                </a:lnTo>
                <a:lnTo>
                  <a:pt x="52917" y="203729"/>
                </a:lnTo>
                <a:lnTo>
                  <a:pt x="50271" y="203729"/>
                </a:lnTo>
                <a:lnTo>
                  <a:pt x="47625" y="203729"/>
                </a:lnTo>
                <a:lnTo>
                  <a:pt x="44980" y="201083"/>
                </a:lnTo>
                <a:lnTo>
                  <a:pt x="42334" y="201083"/>
                </a:lnTo>
                <a:lnTo>
                  <a:pt x="39688" y="201083"/>
                </a:lnTo>
                <a:lnTo>
                  <a:pt x="42334" y="198437"/>
                </a:lnTo>
                <a:lnTo>
                  <a:pt x="47625" y="198437"/>
                </a:lnTo>
                <a:lnTo>
                  <a:pt x="52917" y="193146"/>
                </a:lnTo>
                <a:lnTo>
                  <a:pt x="63501" y="185208"/>
                </a:lnTo>
                <a:lnTo>
                  <a:pt x="66146" y="185208"/>
                </a:lnTo>
                <a:lnTo>
                  <a:pt x="66146" y="182562"/>
                </a:lnTo>
                <a:lnTo>
                  <a:pt x="66146" y="179917"/>
                </a:lnTo>
                <a:lnTo>
                  <a:pt x="68792" y="179917"/>
                </a:lnTo>
                <a:lnTo>
                  <a:pt x="71438" y="179917"/>
                </a:lnTo>
                <a:lnTo>
                  <a:pt x="71438" y="177271"/>
                </a:lnTo>
                <a:lnTo>
                  <a:pt x="74084" y="177271"/>
                </a:lnTo>
                <a:lnTo>
                  <a:pt x="84667" y="174625"/>
                </a:lnTo>
                <a:lnTo>
                  <a:pt x="87313" y="177271"/>
                </a:lnTo>
                <a:lnTo>
                  <a:pt x="95251" y="177271"/>
                </a:lnTo>
                <a:lnTo>
                  <a:pt x="97896" y="177271"/>
                </a:lnTo>
                <a:lnTo>
                  <a:pt x="100542" y="174625"/>
                </a:lnTo>
                <a:lnTo>
                  <a:pt x="103188" y="171979"/>
                </a:lnTo>
                <a:lnTo>
                  <a:pt x="105834" y="169333"/>
                </a:lnTo>
                <a:lnTo>
                  <a:pt x="108480" y="169333"/>
                </a:lnTo>
                <a:lnTo>
                  <a:pt x="111126" y="164042"/>
                </a:lnTo>
                <a:lnTo>
                  <a:pt x="105834" y="166687"/>
                </a:lnTo>
                <a:lnTo>
                  <a:pt x="100542" y="169333"/>
                </a:lnTo>
                <a:lnTo>
                  <a:pt x="95251" y="169333"/>
                </a:lnTo>
                <a:lnTo>
                  <a:pt x="89959" y="171979"/>
                </a:lnTo>
                <a:lnTo>
                  <a:pt x="87313" y="171979"/>
                </a:lnTo>
                <a:lnTo>
                  <a:pt x="84667" y="169333"/>
                </a:lnTo>
                <a:lnTo>
                  <a:pt x="82021" y="166687"/>
                </a:lnTo>
                <a:lnTo>
                  <a:pt x="74084" y="166687"/>
                </a:lnTo>
                <a:lnTo>
                  <a:pt x="71438" y="164042"/>
                </a:lnTo>
                <a:lnTo>
                  <a:pt x="68792" y="164042"/>
                </a:lnTo>
                <a:lnTo>
                  <a:pt x="66146" y="164042"/>
                </a:lnTo>
                <a:lnTo>
                  <a:pt x="60855" y="164042"/>
                </a:lnTo>
                <a:lnTo>
                  <a:pt x="58209" y="164042"/>
                </a:lnTo>
                <a:lnTo>
                  <a:pt x="55563" y="164042"/>
                </a:lnTo>
                <a:lnTo>
                  <a:pt x="52917" y="164042"/>
                </a:lnTo>
                <a:lnTo>
                  <a:pt x="50271" y="164042"/>
                </a:lnTo>
                <a:lnTo>
                  <a:pt x="52917" y="161396"/>
                </a:lnTo>
                <a:lnTo>
                  <a:pt x="50271" y="158750"/>
                </a:lnTo>
                <a:lnTo>
                  <a:pt x="52917" y="156104"/>
                </a:lnTo>
                <a:lnTo>
                  <a:pt x="66146" y="153458"/>
                </a:lnTo>
                <a:lnTo>
                  <a:pt x="74084" y="150812"/>
                </a:lnTo>
                <a:lnTo>
                  <a:pt x="76730" y="148167"/>
                </a:lnTo>
                <a:lnTo>
                  <a:pt x="79376" y="145521"/>
                </a:lnTo>
                <a:lnTo>
                  <a:pt x="76730" y="142875"/>
                </a:lnTo>
                <a:lnTo>
                  <a:pt x="79376" y="140229"/>
                </a:lnTo>
                <a:lnTo>
                  <a:pt x="76730" y="140229"/>
                </a:lnTo>
                <a:lnTo>
                  <a:pt x="76730" y="137583"/>
                </a:lnTo>
                <a:lnTo>
                  <a:pt x="79376" y="134937"/>
                </a:lnTo>
                <a:lnTo>
                  <a:pt x="71438" y="134937"/>
                </a:lnTo>
                <a:lnTo>
                  <a:pt x="68792" y="137583"/>
                </a:lnTo>
                <a:lnTo>
                  <a:pt x="66146" y="140229"/>
                </a:lnTo>
                <a:lnTo>
                  <a:pt x="63501" y="137583"/>
                </a:lnTo>
                <a:lnTo>
                  <a:pt x="68792" y="134937"/>
                </a:lnTo>
                <a:lnTo>
                  <a:pt x="71438" y="132292"/>
                </a:lnTo>
                <a:lnTo>
                  <a:pt x="74084" y="129646"/>
                </a:lnTo>
                <a:lnTo>
                  <a:pt x="74084" y="127000"/>
                </a:lnTo>
                <a:lnTo>
                  <a:pt x="68792" y="127000"/>
                </a:lnTo>
                <a:lnTo>
                  <a:pt x="66146" y="127000"/>
                </a:lnTo>
                <a:lnTo>
                  <a:pt x="68792" y="124354"/>
                </a:lnTo>
                <a:lnTo>
                  <a:pt x="74084" y="124354"/>
                </a:lnTo>
                <a:lnTo>
                  <a:pt x="76730" y="124354"/>
                </a:lnTo>
                <a:lnTo>
                  <a:pt x="76730" y="127000"/>
                </a:lnTo>
                <a:lnTo>
                  <a:pt x="84667" y="127000"/>
                </a:lnTo>
                <a:lnTo>
                  <a:pt x="87313" y="127000"/>
                </a:lnTo>
                <a:lnTo>
                  <a:pt x="92605" y="127000"/>
                </a:lnTo>
                <a:lnTo>
                  <a:pt x="95251" y="127000"/>
                </a:lnTo>
                <a:lnTo>
                  <a:pt x="97896" y="127000"/>
                </a:lnTo>
                <a:lnTo>
                  <a:pt x="97896" y="124354"/>
                </a:lnTo>
                <a:lnTo>
                  <a:pt x="103188" y="127000"/>
                </a:lnTo>
                <a:lnTo>
                  <a:pt x="105834" y="127000"/>
                </a:lnTo>
                <a:lnTo>
                  <a:pt x="108480" y="124354"/>
                </a:lnTo>
                <a:lnTo>
                  <a:pt x="103188" y="124354"/>
                </a:lnTo>
                <a:lnTo>
                  <a:pt x="97896" y="121708"/>
                </a:lnTo>
                <a:lnTo>
                  <a:pt x="103188" y="116417"/>
                </a:lnTo>
                <a:lnTo>
                  <a:pt x="100542" y="116417"/>
                </a:lnTo>
                <a:lnTo>
                  <a:pt x="100542" y="113771"/>
                </a:lnTo>
                <a:lnTo>
                  <a:pt x="105834" y="105833"/>
                </a:lnTo>
                <a:lnTo>
                  <a:pt x="103188" y="105833"/>
                </a:lnTo>
                <a:lnTo>
                  <a:pt x="100542" y="105833"/>
                </a:lnTo>
                <a:lnTo>
                  <a:pt x="97896" y="103187"/>
                </a:lnTo>
                <a:lnTo>
                  <a:pt x="97896" y="108479"/>
                </a:lnTo>
                <a:lnTo>
                  <a:pt x="92605" y="103187"/>
                </a:lnTo>
                <a:lnTo>
                  <a:pt x="89959" y="95250"/>
                </a:lnTo>
                <a:lnTo>
                  <a:pt x="92605" y="92604"/>
                </a:lnTo>
                <a:lnTo>
                  <a:pt x="97896" y="87312"/>
                </a:lnTo>
                <a:lnTo>
                  <a:pt x="95251" y="87312"/>
                </a:lnTo>
                <a:lnTo>
                  <a:pt x="89959" y="87312"/>
                </a:lnTo>
                <a:lnTo>
                  <a:pt x="89959" y="89958"/>
                </a:lnTo>
                <a:lnTo>
                  <a:pt x="87313" y="89958"/>
                </a:lnTo>
                <a:lnTo>
                  <a:pt x="84667" y="89958"/>
                </a:lnTo>
                <a:lnTo>
                  <a:pt x="82021" y="89958"/>
                </a:lnTo>
                <a:lnTo>
                  <a:pt x="82021" y="92604"/>
                </a:lnTo>
                <a:lnTo>
                  <a:pt x="79376" y="89958"/>
                </a:lnTo>
                <a:lnTo>
                  <a:pt x="76730" y="89958"/>
                </a:lnTo>
                <a:lnTo>
                  <a:pt x="74084" y="89958"/>
                </a:lnTo>
                <a:lnTo>
                  <a:pt x="71438" y="92604"/>
                </a:lnTo>
                <a:lnTo>
                  <a:pt x="66146" y="89958"/>
                </a:lnTo>
                <a:lnTo>
                  <a:pt x="63501" y="89958"/>
                </a:lnTo>
                <a:lnTo>
                  <a:pt x="63501" y="92604"/>
                </a:lnTo>
                <a:lnTo>
                  <a:pt x="60855" y="89958"/>
                </a:lnTo>
                <a:lnTo>
                  <a:pt x="58209" y="87312"/>
                </a:lnTo>
                <a:lnTo>
                  <a:pt x="60855" y="87312"/>
                </a:lnTo>
                <a:lnTo>
                  <a:pt x="63501" y="87312"/>
                </a:lnTo>
                <a:lnTo>
                  <a:pt x="63501" y="84667"/>
                </a:lnTo>
                <a:lnTo>
                  <a:pt x="63501" y="82021"/>
                </a:lnTo>
                <a:lnTo>
                  <a:pt x="66146" y="76729"/>
                </a:lnTo>
                <a:lnTo>
                  <a:pt x="68792" y="74083"/>
                </a:lnTo>
                <a:lnTo>
                  <a:pt x="71438" y="74083"/>
                </a:lnTo>
                <a:lnTo>
                  <a:pt x="68792" y="71437"/>
                </a:lnTo>
                <a:lnTo>
                  <a:pt x="66146" y="68792"/>
                </a:lnTo>
                <a:lnTo>
                  <a:pt x="66146" y="66146"/>
                </a:lnTo>
                <a:lnTo>
                  <a:pt x="68792" y="63500"/>
                </a:lnTo>
                <a:lnTo>
                  <a:pt x="66146" y="60854"/>
                </a:lnTo>
                <a:lnTo>
                  <a:pt x="68792" y="58208"/>
                </a:lnTo>
                <a:lnTo>
                  <a:pt x="63501" y="63500"/>
                </a:lnTo>
                <a:lnTo>
                  <a:pt x="60855" y="66146"/>
                </a:lnTo>
                <a:lnTo>
                  <a:pt x="58209" y="63500"/>
                </a:lnTo>
                <a:lnTo>
                  <a:pt x="55563" y="60854"/>
                </a:lnTo>
                <a:lnTo>
                  <a:pt x="55563" y="63500"/>
                </a:lnTo>
                <a:lnTo>
                  <a:pt x="55563" y="66146"/>
                </a:lnTo>
                <a:lnTo>
                  <a:pt x="55563" y="68792"/>
                </a:lnTo>
                <a:lnTo>
                  <a:pt x="50271" y="74083"/>
                </a:lnTo>
                <a:lnTo>
                  <a:pt x="50271" y="76729"/>
                </a:lnTo>
                <a:lnTo>
                  <a:pt x="47625" y="76729"/>
                </a:lnTo>
                <a:lnTo>
                  <a:pt x="47625" y="74083"/>
                </a:lnTo>
                <a:lnTo>
                  <a:pt x="52917" y="68792"/>
                </a:lnTo>
                <a:lnTo>
                  <a:pt x="52917" y="63500"/>
                </a:lnTo>
                <a:lnTo>
                  <a:pt x="52917" y="58208"/>
                </a:lnTo>
                <a:lnTo>
                  <a:pt x="55563" y="52917"/>
                </a:lnTo>
                <a:lnTo>
                  <a:pt x="55563" y="50271"/>
                </a:lnTo>
                <a:lnTo>
                  <a:pt x="55563" y="47625"/>
                </a:lnTo>
                <a:lnTo>
                  <a:pt x="52917" y="47625"/>
                </a:lnTo>
                <a:lnTo>
                  <a:pt x="52917" y="44979"/>
                </a:lnTo>
                <a:lnTo>
                  <a:pt x="47625" y="44979"/>
                </a:lnTo>
                <a:lnTo>
                  <a:pt x="42334" y="44979"/>
                </a:lnTo>
                <a:lnTo>
                  <a:pt x="44980" y="42333"/>
                </a:lnTo>
                <a:lnTo>
                  <a:pt x="50271" y="39687"/>
                </a:lnTo>
                <a:lnTo>
                  <a:pt x="52917" y="37042"/>
                </a:lnTo>
                <a:lnTo>
                  <a:pt x="55563" y="34396"/>
                </a:lnTo>
                <a:lnTo>
                  <a:pt x="58209" y="34396"/>
                </a:lnTo>
                <a:lnTo>
                  <a:pt x="52917" y="31750"/>
                </a:lnTo>
                <a:lnTo>
                  <a:pt x="55563" y="29104"/>
                </a:lnTo>
                <a:lnTo>
                  <a:pt x="55563" y="26458"/>
                </a:lnTo>
                <a:lnTo>
                  <a:pt x="52917" y="26458"/>
                </a:lnTo>
                <a:lnTo>
                  <a:pt x="55563" y="23812"/>
                </a:lnTo>
                <a:lnTo>
                  <a:pt x="52917" y="21167"/>
                </a:lnTo>
                <a:lnTo>
                  <a:pt x="50271" y="18521"/>
                </a:lnTo>
                <a:lnTo>
                  <a:pt x="52917" y="18521"/>
                </a:lnTo>
                <a:lnTo>
                  <a:pt x="58209" y="15875"/>
                </a:lnTo>
                <a:lnTo>
                  <a:pt x="60855" y="15875"/>
                </a:lnTo>
                <a:lnTo>
                  <a:pt x="63501" y="18521"/>
                </a:lnTo>
                <a:lnTo>
                  <a:pt x="66146" y="18521"/>
                </a:lnTo>
                <a:lnTo>
                  <a:pt x="60855" y="15875"/>
                </a:lnTo>
                <a:lnTo>
                  <a:pt x="58209" y="13229"/>
                </a:lnTo>
                <a:lnTo>
                  <a:pt x="60855" y="13229"/>
                </a:lnTo>
                <a:lnTo>
                  <a:pt x="60855" y="10583"/>
                </a:lnTo>
                <a:lnTo>
                  <a:pt x="60855" y="7937"/>
                </a:lnTo>
                <a:lnTo>
                  <a:pt x="63501" y="5292"/>
                </a:lnTo>
                <a:lnTo>
                  <a:pt x="66146" y="5292"/>
                </a:lnTo>
                <a:lnTo>
                  <a:pt x="68792" y="5292"/>
                </a:lnTo>
                <a:lnTo>
                  <a:pt x="66146" y="2646"/>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71" name="United States"/>
          <p:cNvSpPr>
            <a:spLocks/>
          </p:cNvSpPr>
          <p:nvPr/>
        </p:nvSpPr>
        <p:spPr bwMode="auto">
          <a:xfrm>
            <a:off x="1116367" y="1015806"/>
            <a:ext cx="1816223" cy="1026533"/>
          </a:xfrm>
          <a:custGeom>
            <a:avLst/>
            <a:gdLst/>
            <a:ahLst/>
            <a:cxnLst/>
            <a:rect l="l" t="t" r="r" b="b"/>
            <a:pathLst>
              <a:path w="2108729" h="1193271">
                <a:moveTo>
                  <a:pt x="1471083" y="468313"/>
                </a:moveTo>
                <a:lnTo>
                  <a:pt x="1473729" y="470959"/>
                </a:lnTo>
                <a:lnTo>
                  <a:pt x="1471083" y="478896"/>
                </a:lnTo>
                <a:lnTo>
                  <a:pt x="1468437" y="481542"/>
                </a:lnTo>
                <a:lnTo>
                  <a:pt x="1468437" y="486834"/>
                </a:lnTo>
                <a:lnTo>
                  <a:pt x="1471083" y="486834"/>
                </a:lnTo>
                <a:lnTo>
                  <a:pt x="1479021" y="489480"/>
                </a:lnTo>
                <a:lnTo>
                  <a:pt x="1489604" y="492126"/>
                </a:lnTo>
                <a:lnTo>
                  <a:pt x="1502833" y="497417"/>
                </a:lnTo>
                <a:lnTo>
                  <a:pt x="1510771" y="500063"/>
                </a:lnTo>
                <a:lnTo>
                  <a:pt x="1516062" y="500063"/>
                </a:lnTo>
                <a:lnTo>
                  <a:pt x="1518708" y="500063"/>
                </a:lnTo>
                <a:lnTo>
                  <a:pt x="1524000" y="502709"/>
                </a:lnTo>
                <a:lnTo>
                  <a:pt x="1529292" y="505355"/>
                </a:lnTo>
                <a:lnTo>
                  <a:pt x="1534583" y="505355"/>
                </a:lnTo>
                <a:lnTo>
                  <a:pt x="1545167" y="502709"/>
                </a:lnTo>
                <a:lnTo>
                  <a:pt x="1558396" y="505355"/>
                </a:lnTo>
                <a:lnTo>
                  <a:pt x="1563687" y="508001"/>
                </a:lnTo>
                <a:lnTo>
                  <a:pt x="1571625" y="510646"/>
                </a:lnTo>
                <a:lnTo>
                  <a:pt x="1558396" y="510646"/>
                </a:lnTo>
                <a:lnTo>
                  <a:pt x="1553104" y="513292"/>
                </a:lnTo>
                <a:lnTo>
                  <a:pt x="1539875" y="523876"/>
                </a:lnTo>
                <a:lnTo>
                  <a:pt x="1529292" y="529167"/>
                </a:lnTo>
                <a:lnTo>
                  <a:pt x="1521354" y="534459"/>
                </a:lnTo>
                <a:lnTo>
                  <a:pt x="1500187" y="545042"/>
                </a:lnTo>
                <a:lnTo>
                  <a:pt x="1494896" y="547688"/>
                </a:lnTo>
                <a:lnTo>
                  <a:pt x="1497542" y="550334"/>
                </a:lnTo>
                <a:lnTo>
                  <a:pt x="1516062" y="547688"/>
                </a:lnTo>
                <a:lnTo>
                  <a:pt x="1531937" y="547688"/>
                </a:lnTo>
                <a:lnTo>
                  <a:pt x="1531937" y="552980"/>
                </a:lnTo>
                <a:lnTo>
                  <a:pt x="1531937" y="555626"/>
                </a:lnTo>
                <a:lnTo>
                  <a:pt x="1534583" y="555626"/>
                </a:lnTo>
                <a:lnTo>
                  <a:pt x="1545167" y="552980"/>
                </a:lnTo>
                <a:lnTo>
                  <a:pt x="1553104" y="550334"/>
                </a:lnTo>
                <a:lnTo>
                  <a:pt x="1568979" y="545042"/>
                </a:lnTo>
                <a:lnTo>
                  <a:pt x="1579562" y="542396"/>
                </a:lnTo>
                <a:lnTo>
                  <a:pt x="1582208" y="537105"/>
                </a:lnTo>
                <a:lnTo>
                  <a:pt x="1587500" y="534459"/>
                </a:lnTo>
                <a:lnTo>
                  <a:pt x="1598083" y="529167"/>
                </a:lnTo>
                <a:lnTo>
                  <a:pt x="1606021" y="529167"/>
                </a:lnTo>
                <a:lnTo>
                  <a:pt x="1608667" y="529167"/>
                </a:lnTo>
                <a:lnTo>
                  <a:pt x="1600729" y="531813"/>
                </a:lnTo>
                <a:lnTo>
                  <a:pt x="1592792" y="537105"/>
                </a:lnTo>
                <a:lnTo>
                  <a:pt x="1590146" y="537105"/>
                </a:lnTo>
                <a:lnTo>
                  <a:pt x="1592792" y="539751"/>
                </a:lnTo>
                <a:lnTo>
                  <a:pt x="1598083" y="537105"/>
                </a:lnTo>
                <a:lnTo>
                  <a:pt x="1603375" y="537105"/>
                </a:lnTo>
                <a:lnTo>
                  <a:pt x="1608667" y="539751"/>
                </a:lnTo>
                <a:lnTo>
                  <a:pt x="1613958" y="542396"/>
                </a:lnTo>
                <a:lnTo>
                  <a:pt x="1613958" y="545042"/>
                </a:lnTo>
                <a:lnTo>
                  <a:pt x="1624542" y="550334"/>
                </a:lnTo>
                <a:lnTo>
                  <a:pt x="1635125" y="547688"/>
                </a:lnTo>
                <a:lnTo>
                  <a:pt x="1643062" y="547688"/>
                </a:lnTo>
                <a:lnTo>
                  <a:pt x="1651000" y="547688"/>
                </a:lnTo>
                <a:lnTo>
                  <a:pt x="1658937" y="547688"/>
                </a:lnTo>
                <a:lnTo>
                  <a:pt x="1669521" y="547688"/>
                </a:lnTo>
                <a:lnTo>
                  <a:pt x="1672167" y="550334"/>
                </a:lnTo>
                <a:lnTo>
                  <a:pt x="1669521" y="552980"/>
                </a:lnTo>
                <a:lnTo>
                  <a:pt x="1669521" y="555626"/>
                </a:lnTo>
                <a:lnTo>
                  <a:pt x="1677458" y="555626"/>
                </a:lnTo>
                <a:lnTo>
                  <a:pt x="1685396" y="555626"/>
                </a:lnTo>
                <a:lnTo>
                  <a:pt x="1688042" y="555626"/>
                </a:lnTo>
                <a:lnTo>
                  <a:pt x="1690687" y="555626"/>
                </a:lnTo>
                <a:lnTo>
                  <a:pt x="1695979" y="560917"/>
                </a:lnTo>
                <a:lnTo>
                  <a:pt x="1695979" y="563563"/>
                </a:lnTo>
                <a:lnTo>
                  <a:pt x="1695979" y="566209"/>
                </a:lnTo>
                <a:lnTo>
                  <a:pt x="1685396" y="566209"/>
                </a:lnTo>
                <a:lnTo>
                  <a:pt x="1674812" y="566209"/>
                </a:lnTo>
                <a:lnTo>
                  <a:pt x="1669521" y="566209"/>
                </a:lnTo>
                <a:lnTo>
                  <a:pt x="1669521" y="568855"/>
                </a:lnTo>
                <a:lnTo>
                  <a:pt x="1664229" y="566209"/>
                </a:lnTo>
                <a:lnTo>
                  <a:pt x="1658937" y="563563"/>
                </a:lnTo>
                <a:lnTo>
                  <a:pt x="1651000" y="566209"/>
                </a:lnTo>
                <a:lnTo>
                  <a:pt x="1648354" y="566209"/>
                </a:lnTo>
                <a:lnTo>
                  <a:pt x="1640417" y="566209"/>
                </a:lnTo>
                <a:lnTo>
                  <a:pt x="1635125" y="566209"/>
                </a:lnTo>
                <a:lnTo>
                  <a:pt x="1627187" y="571501"/>
                </a:lnTo>
                <a:lnTo>
                  <a:pt x="1619250" y="574146"/>
                </a:lnTo>
                <a:lnTo>
                  <a:pt x="1616604" y="574146"/>
                </a:lnTo>
                <a:lnTo>
                  <a:pt x="1613958" y="574146"/>
                </a:lnTo>
                <a:lnTo>
                  <a:pt x="1616604" y="571501"/>
                </a:lnTo>
                <a:lnTo>
                  <a:pt x="1616604" y="568855"/>
                </a:lnTo>
                <a:lnTo>
                  <a:pt x="1608667" y="574146"/>
                </a:lnTo>
                <a:lnTo>
                  <a:pt x="1595437" y="584730"/>
                </a:lnTo>
                <a:lnTo>
                  <a:pt x="1582208" y="597959"/>
                </a:lnTo>
                <a:lnTo>
                  <a:pt x="1595437" y="590021"/>
                </a:lnTo>
                <a:lnTo>
                  <a:pt x="1606021" y="584730"/>
                </a:lnTo>
                <a:lnTo>
                  <a:pt x="1613958" y="579438"/>
                </a:lnTo>
                <a:lnTo>
                  <a:pt x="1603375" y="590021"/>
                </a:lnTo>
                <a:lnTo>
                  <a:pt x="1592792" y="600605"/>
                </a:lnTo>
                <a:lnTo>
                  <a:pt x="1582208" y="611188"/>
                </a:lnTo>
                <a:lnTo>
                  <a:pt x="1571625" y="624417"/>
                </a:lnTo>
                <a:lnTo>
                  <a:pt x="1566333" y="629709"/>
                </a:lnTo>
                <a:lnTo>
                  <a:pt x="1563687" y="637646"/>
                </a:lnTo>
                <a:lnTo>
                  <a:pt x="1555750" y="648230"/>
                </a:lnTo>
                <a:lnTo>
                  <a:pt x="1545167" y="661459"/>
                </a:lnTo>
                <a:lnTo>
                  <a:pt x="1542521" y="674688"/>
                </a:lnTo>
                <a:lnTo>
                  <a:pt x="1545167" y="682626"/>
                </a:lnTo>
                <a:lnTo>
                  <a:pt x="1545167" y="685271"/>
                </a:lnTo>
                <a:lnTo>
                  <a:pt x="1550458" y="685271"/>
                </a:lnTo>
                <a:lnTo>
                  <a:pt x="1568979" y="679980"/>
                </a:lnTo>
                <a:lnTo>
                  <a:pt x="1579562" y="674688"/>
                </a:lnTo>
                <a:lnTo>
                  <a:pt x="1592792" y="666751"/>
                </a:lnTo>
                <a:lnTo>
                  <a:pt x="1600729" y="656167"/>
                </a:lnTo>
                <a:lnTo>
                  <a:pt x="1603375" y="645584"/>
                </a:lnTo>
                <a:lnTo>
                  <a:pt x="1606021" y="640292"/>
                </a:lnTo>
                <a:lnTo>
                  <a:pt x="1603375" y="635001"/>
                </a:lnTo>
                <a:lnTo>
                  <a:pt x="1600729" y="632355"/>
                </a:lnTo>
                <a:lnTo>
                  <a:pt x="1603375" y="629709"/>
                </a:lnTo>
                <a:lnTo>
                  <a:pt x="1608667" y="616480"/>
                </a:lnTo>
                <a:lnTo>
                  <a:pt x="1616604" y="605896"/>
                </a:lnTo>
                <a:lnTo>
                  <a:pt x="1619250" y="600605"/>
                </a:lnTo>
                <a:lnTo>
                  <a:pt x="1627187" y="592667"/>
                </a:lnTo>
                <a:lnTo>
                  <a:pt x="1629833" y="590021"/>
                </a:lnTo>
                <a:lnTo>
                  <a:pt x="1632479" y="590021"/>
                </a:lnTo>
                <a:lnTo>
                  <a:pt x="1635125" y="592667"/>
                </a:lnTo>
                <a:lnTo>
                  <a:pt x="1632479" y="597959"/>
                </a:lnTo>
                <a:lnTo>
                  <a:pt x="1635125" y="597959"/>
                </a:lnTo>
                <a:lnTo>
                  <a:pt x="1637771" y="592667"/>
                </a:lnTo>
                <a:lnTo>
                  <a:pt x="1640417" y="590021"/>
                </a:lnTo>
                <a:lnTo>
                  <a:pt x="1643062" y="587376"/>
                </a:lnTo>
                <a:lnTo>
                  <a:pt x="1648354" y="584730"/>
                </a:lnTo>
                <a:lnTo>
                  <a:pt x="1651000" y="579438"/>
                </a:lnTo>
                <a:lnTo>
                  <a:pt x="1653646" y="576792"/>
                </a:lnTo>
                <a:lnTo>
                  <a:pt x="1658937" y="574146"/>
                </a:lnTo>
                <a:lnTo>
                  <a:pt x="1666875" y="571501"/>
                </a:lnTo>
                <a:lnTo>
                  <a:pt x="1672167" y="571501"/>
                </a:lnTo>
                <a:lnTo>
                  <a:pt x="1677458" y="574146"/>
                </a:lnTo>
                <a:lnTo>
                  <a:pt x="1682750" y="579438"/>
                </a:lnTo>
                <a:lnTo>
                  <a:pt x="1685396" y="584730"/>
                </a:lnTo>
                <a:lnTo>
                  <a:pt x="1685396" y="587376"/>
                </a:lnTo>
                <a:lnTo>
                  <a:pt x="1688042" y="592667"/>
                </a:lnTo>
                <a:lnTo>
                  <a:pt x="1685396" y="600605"/>
                </a:lnTo>
                <a:lnTo>
                  <a:pt x="1680104" y="608542"/>
                </a:lnTo>
                <a:lnTo>
                  <a:pt x="1677458" y="611188"/>
                </a:lnTo>
                <a:lnTo>
                  <a:pt x="1677458" y="613834"/>
                </a:lnTo>
                <a:lnTo>
                  <a:pt x="1674812" y="616480"/>
                </a:lnTo>
                <a:lnTo>
                  <a:pt x="1669521" y="619126"/>
                </a:lnTo>
                <a:lnTo>
                  <a:pt x="1672167" y="621771"/>
                </a:lnTo>
                <a:lnTo>
                  <a:pt x="1677458" y="621771"/>
                </a:lnTo>
                <a:lnTo>
                  <a:pt x="1680104" y="621771"/>
                </a:lnTo>
                <a:lnTo>
                  <a:pt x="1682750" y="621771"/>
                </a:lnTo>
                <a:lnTo>
                  <a:pt x="1685396" y="619126"/>
                </a:lnTo>
                <a:lnTo>
                  <a:pt x="1685396" y="616480"/>
                </a:lnTo>
                <a:lnTo>
                  <a:pt x="1688042" y="616480"/>
                </a:lnTo>
                <a:lnTo>
                  <a:pt x="1690687" y="619126"/>
                </a:lnTo>
                <a:lnTo>
                  <a:pt x="1690687" y="627063"/>
                </a:lnTo>
                <a:lnTo>
                  <a:pt x="1688042" y="642938"/>
                </a:lnTo>
                <a:lnTo>
                  <a:pt x="1685396" y="650876"/>
                </a:lnTo>
                <a:lnTo>
                  <a:pt x="1682750" y="650876"/>
                </a:lnTo>
                <a:lnTo>
                  <a:pt x="1680104" y="650876"/>
                </a:lnTo>
                <a:lnTo>
                  <a:pt x="1677458" y="656167"/>
                </a:lnTo>
                <a:lnTo>
                  <a:pt x="1669521" y="669396"/>
                </a:lnTo>
                <a:lnTo>
                  <a:pt x="1658937" y="679980"/>
                </a:lnTo>
                <a:lnTo>
                  <a:pt x="1658937" y="682626"/>
                </a:lnTo>
                <a:lnTo>
                  <a:pt x="1666875" y="685271"/>
                </a:lnTo>
                <a:lnTo>
                  <a:pt x="1682750" y="690563"/>
                </a:lnTo>
                <a:lnTo>
                  <a:pt x="1688042" y="690563"/>
                </a:lnTo>
                <a:lnTo>
                  <a:pt x="1693333" y="687917"/>
                </a:lnTo>
                <a:lnTo>
                  <a:pt x="1695979" y="687917"/>
                </a:lnTo>
                <a:lnTo>
                  <a:pt x="1701271" y="687917"/>
                </a:lnTo>
                <a:lnTo>
                  <a:pt x="1711854" y="685271"/>
                </a:lnTo>
                <a:lnTo>
                  <a:pt x="1725083" y="677334"/>
                </a:lnTo>
                <a:lnTo>
                  <a:pt x="1740958" y="669396"/>
                </a:lnTo>
                <a:lnTo>
                  <a:pt x="1748896" y="666751"/>
                </a:lnTo>
                <a:lnTo>
                  <a:pt x="1756833" y="664105"/>
                </a:lnTo>
                <a:lnTo>
                  <a:pt x="1767417" y="658813"/>
                </a:lnTo>
                <a:lnTo>
                  <a:pt x="1778000" y="653521"/>
                </a:lnTo>
                <a:lnTo>
                  <a:pt x="1780646" y="650876"/>
                </a:lnTo>
                <a:lnTo>
                  <a:pt x="1778000" y="642938"/>
                </a:lnTo>
                <a:lnTo>
                  <a:pt x="1793875" y="642938"/>
                </a:lnTo>
                <a:lnTo>
                  <a:pt x="1801813" y="642938"/>
                </a:lnTo>
                <a:lnTo>
                  <a:pt x="1807104" y="642938"/>
                </a:lnTo>
                <a:lnTo>
                  <a:pt x="1820333" y="642938"/>
                </a:lnTo>
                <a:lnTo>
                  <a:pt x="1828271" y="640292"/>
                </a:lnTo>
                <a:lnTo>
                  <a:pt x="1833563" y="637646"/>
                </a:lnTo>
                <a:lnTo>
                  <a:pt x="1841500" y="635001"/>
                </a:lnTo>
                <a:lnTo>
                  <a:pt x="1854729" y="635001"/>
                </a:lnTo>
                <a:lnTo>
                  <a:pt x="1854729" y="632355"/>
                </a:lnTo>
                <a:lnTo>
                  <a:pt x="1854729" y="629709"/>
                </a:lnTo>
                <a:lnTo>
                  <a:pt x="1852083" y="627063"/>
                </a:lnTo>
                <a:lnTo>
                  <a:pt x="1854729" y="624417"/>
                </a:lnTo>
                <a:lnTo>
                  <a:pt x="1857375" y="621771"/>
                </a:lnTo>
                <a:lnTo>
                  <a:pt x="1854729" y="621771"/>
                </a:lnTo>
                <a:lnTo>
                  <a:pt x="1854729" y="619126"/>
                </a:lnTo>
                <a:lnTo>
                  <a:pt x="1860021" y="613834"/>
                </a:lnTo>
                <a:lnTo>
                  <a:pt x="1867958" y="608542"/>
                </a:lnTo>
                <a:lnTo>
                  <a:pt x="1875896" y="600605"/>
                </a:lnTo>
                <a:lnTo>
                  <a:pt x="1883833" y="590021"/>
                </a:lnTo>
                <a:lnTo>
                  <a:pt x="1891771" y="587376"/>
                </a:lnTo>
                <a:lnTo>
                  <a:pt x="1897063" y="587376"/>
                </a:lnTo>
                <a:lnTo>
                  <a:pt x="1981729" y="587376"/>
                </a:lnTo>
                <a:lnTo>
                  <a:pt x="1989667" y="582084"/>
                </a:lnTo>
                <a:lnTo>
                  <a:pt x="1992313" y="582084"/>
                </a:lnTo>
                <a:lnTo>
                  <a:pt x="1994958" y="579438"/>
                </a:lnTo>
                <a:lnTo>
                  <a:pt x="2000250" y="576792"/>
                </a:lnTo>
                <a:lnTo>
                  <a:pt x="2005542" y="571501"/>
                </a:lnTo>
                <a:lnTo>
                  <a:pt x="2010833" y="568855"/>
                </a:lnTo>
                <a:lnTo>
                  <a:pt x="2016125" y="566209"/>
                </a:lnTo>
                <a:lnTo>
                  <a:pt x="2018771" y="560917"/>
                </a:lnTo>
                <a:lnTo>
                  <a:pt x="2018771" y="558271"/>
                </a:lnTo>
                <a:lnTo>
                  <a:pt x="2021417" y="555626"/>
                </a:lnTo>
                <a:lnTo>
                  <a:pt x="2029354" y="547688"/>
                </a:lnTo>
                <a:lnTo>
                  <a:pt x="2032000" y="542396"/>
                </a:lnTo>
                <a:lnTo>
                  <a:pt x="2037292" y="539751"/>
                </a:lnTo>
                <a:lnTo>
                  <a:pt x="2039938" y="537105"/>
                </a:lnTo>
                <a:lnTo>
                  <a:pt x="2045229" y="531813"/>
                </a:lnTo>
                <a:lnTo>
                  <a:pt x="2055813" y="523876"/>
                </a:lnTo>
                <a:lnTo>
                  <a:pt x="2058458" y="523876"/>
                </a:lnTo>
                <a:lnTo>
                  <a:pt x="2063750" y="526521"/>
                </a:lnTo>
                <a:lnTo>
                  <a:pt x="2066396" y="526521"/>
                </a:lnTo>
                <a:lnTo>
                  <a:pt x="2071688" y="523876"/>
                </a:lnTo>
                <a:lnTo>
                  <a:pt x="2087563" y="518584"/>
                </a:lnTo>
                <a:lnTo>
                  <a:pt x="2090208" y="518584"/>
                </a:lnTo>
                <a:lnTo>
                  <a:pt x="2092854" y="523876"/>
                </a:lnTo>
                <a:lnTo>
                  <a:pt x="2095500" y="526521"/>
                </a:lnTo>
                <a:lnTo>
                  <a:pt x="2098146" y="529167"/>
                </a:lnTo>
                <a:lnTo>
                  <a:pt x="2095500" y="531813"/>
                </a:lnTo>
                <a:lnTo>
                  <a:pt x="2084917" y="566209"/>
                </a:lnTo>
                <a:lnTo>
                  <a:pt x="2084917" y="571501"/>
                </a:lnTo>
                <a:lnTo>
                  <a:pt x="2087563" y="571501"/>
                </a:lnTo>
                <a:lnTo>
                  <a:pt x="2090208" y="574146"/>
                </a:lnTo>
                <a:lnTo>
                  <a:pt x="2092854" y="579438"/>
                </a:lnTo>
                <a:lnTo>
                  <a:pt x="2098146" y="584730"/>
                </a:lnTo>
                <a:lnTo>
                  <a:pt x="2098146" y="582084"/>
                </a:lnTo>
                <a:lnTo>
                  <a:pt x="2103438" y="582084"/>
                </a:lnTo>
                <a:lnTo>
                  <a:pt x="2106083" y="587376"/>
                </a:lnTo>
                <a:lnTo>
                  <a:pt x="2108729" y="590021"/>
                </a:lnTo>
                <a:lnTo>
                  <a:pt x="2103438" y="592667"/>
                </a:lnTo>
                <a:lnTo>
                  <a:pt x="2092854" y="597959"/>
                </a:lnTo>
                <a:lnTo>
                  <a:pt x="2076979" y="605896"/>
                </a:lnTo>
                <a:lnTo>
                  <a:pt x="2074333" y="608542"/>
                </a:lnTo>
                <a:lnTo>
                  <a:pt x="2071688" y="608542"/>
                </a:lnTo>
                <a:lnTo>
                  <a:pt x="2066396" y="605896"/>
                </a:lnTo>
                <a:lnTo>
                  <a:pt x="2061104" y="603251"/>
                </a:lnTo>
                <a:lnTo>
                  <a:pt x="2058458" y="605896"/>
                </a:lnTo>
                <a:lnTo>
                  <a:pt x="2055813" y="611188"/>
                </a:lnTo>
                <a:lnTo>
                  <a:pt x="2053167" y="616480"/>
                </a:lnTo>
                <a:lnTo>
                  <a:pt x="2050521" y="613834"/>
                </a:lnTo>
                <a:lnTo>
                  <a:pt x="2050521" y="608542"/>
                </a:lnTo>
                <a:lnTo>
                  <a:pt x="2047875" y="605896"/>
                </a:lnTo>
                <a:lnTo>
                  <a:pt x="2047875" y="608542"/>
                </a:lnTo>
                <a:lnTo>
                  <a:pt x="2039938" y="619126"/>
                </a:lnTo>
                <a:lnTo>
                  <a:pt x="2037292" y="621771"/>
                </a:lnTo>
                <a:lnTo>
                  <a:pt x="2032000" y="619126"/>
                </a:lnTo>
                <a:lnTo>
                  <a:pt x="2026708" y="621771"/>
                </a:lnTo>
                <a:lnTo>
                  <a:pt x="2018771" y="624417"/>
                </a:lnTo>
                <a:lnTo>
                  <a:pt x="2013479" y="624417"/>
                </a:lnTo>
                <a:lnTo>
                  <a:pt x="2005542" y="627063"/>
                </a:lnTo>
                <a:lnTo>
                  <a:pt x="1997604" y="635001"/>
                </a:lnTo>
                <a:lnTo>
                  <a:pt x="1989667" y="645584"/>
                </a:lnTo>
                <a:lnTo>
                  <a:pt x="1981729" y="650876"/>
                </a:lnTo>
                <a:lnTo>
                  <a:pt x="1976438" y="661459"/>
                </a:lnTo>
                <a:lnTo>
                  <a:pt x="1973792" y="664105"/>
                </a:lnTo>
                <a:lnTo>
                  <a:pt x="1976438" y="672042"/>
                </a:lnTo>
                <a:lnTo>
                  <a:pt x="1979083" y="674688"/>
                </a:lnTo>
                <a:lnTo>
                  <a:pt x="1981729" y="674688"/>
                </a:lnTo>
                <a:lnTo>
                  <a:pt x="1987021" y="674688"/>
                </a:lnTo>
                <a:lnTo>
                  <a:pt x="1984375" y="682626"/>
                </a:lnTo>
                <a:lnTo>
                  <a:pt x="1981729" y="679980"/>
                </a:lnTo>
                <a:lnTo>
                  <a:pt x="1979083" y="679980"/>
                </a:lnTo>
                <a:lnTo>
                  <a:pt x="1971146" y="682626"/>
                </a:lnTo>
                <a:lnTo>
                  <a:pt x="1965854" y="685271"/>
                </a:lnTo>
                <a:lnTo>
                  <a:pt x="1963208" y="685271"/>
                </a:lnTo>
                <a:lnTo>
                  <a:pt x="1960563" y="679980"/>
                </a:lnTo>
                <a:lnTo>
                  <a:pt x="1957917" y="685271"/>
                </a:lnTo>
                <a:lnTo>
                  <a:pt x="1952625" y="687917"/>
                </a:lnTo>
                <a:lnTo>
                  <a:pt x="1947333" y="690563"/>
                </a:lnTo>
                <a:lnTo>
                  <a:pt x="1939396" y="690563"/>
                </a:lnTo>
                <a:lnTo>
                  <a:pt x="1934104" y="690563"/>
                </a:lnTo>
                <a:lnTo>
                  <a:pt x="1931458" y="693209"/>
                </a:lnTo>
                <a:lnTo>
                  <a:pt x="1918229" y="693209"/>
                </a:lnTo>
                <a:lnTo>
                  <a:pt x="1907646" y="695855"/>
                </a:lnTo>
                <a:lnTo>
                  <a:pt x="1899708" y="701146"/>
                </a:lnTo>
                <a:lnTo>
                  <a:pt x="1894417" y="703792"/>
                </a:lnTo>
                <a:lnTo>
                  <a:pt x="1889125" y="706438"/>
                </a:lnTo>
                <a:lnTo>
                  <a:pt x="1886479" y="709084"/>
                </a:lnTo>
                <a:lnTo>
                  <a:pt x="1883833" y="709084"/>
                </a:lnTo>
                <a:lnTo>
                  <a:pt x="1881188" y="714376"/>
                </a:lnTo>
                <a:lnTo>
                  <a:pt x="1881188" y="717021"/>
                </a:lnTo>
                <a:lnTo>
                  <a:pt x="1883833" y="717021"/>
                </a:lnTo>
                <a:lnTo>
                  <a:pt x="1878542" y="722313"/>
                </a:lnTo>
                <a:lnTo>
                  <a:pt x="1870604" y="730251"/>
                </a:lnTo>
                <a:lnTo>
                  <a:pt x="1865313" y="735542"/>
                </a:lnTo>
                <a:lnTo>
                  <a:pt x="1862667" y="738188"/>
                </a:lnTo>
                <a:lnTo>
                  <a:pt x="1860021" y="738188"/>
                </a:lnTo>
                <a:lnTo>
                  <a:pt x="1849438" y="732896"/>
                </a:lnTo>
                <a:lnTo>
                  <a:pt x="1852083" y="735542"/>
                </a:lnTo>
                <a:lnTo>
                  <a:pt x="1860021" y="740834"/>
                </a:lnTo>
                <a:lnTo>
                  <a:pt x="1854729" y="743480"/>
                </a:lnTo>
                <a:lnTo>
                  <a:pt x="1852083" y="743480"/>
                </a:lnTo>
                <a:lnTo>
                  <a:pt x="1849438" y="743480"/>
                </a:lnTo>
                <a:lnTo>
                  <a:pt x="1846792" y="746126"/>
                </a:lnTo>
                <a:lnTo>
                  <a:pt x="1844146" y="751417"/>
                </a:lnTo>
                <a:lnTo>
                  <a:pt x="1841500" y="751417"/>
                </a:lnTo>
                <a:lnTo>
                  <a:pt x="1836208" y="754063"/>
                </a:lnTo>
                <a:lnTo>
                  <a:pt x="1830917" y="759355"/>
                </a:lnTo>
                <a:lnTo>
                  <a:pt x="1825625" y="767292"/>
                </a:lnTo>
                <a:lnTo>
                  <a:pt x="1822979" y="762000"/>
                </a:lnTo>
                <a:lnTo>
                  <a:pt x="1822979" y="756709"/>
                </a:lnTo>
                <a:lnTo>
                  <a:pt x="1820333" y="754063"/>
                </a:lnTo>
                <a:lnTo>
                  <a:pt x="1815042" y="751417"/>
                </a:lnTo>
                <a:lnTo>
                  <a:pt x="1812396" y="746126"/>
                </a:lnTo>
                <a:lnTo>
                  <a:pt x="1812396" y="751417"/>
                </a:lnTo>
                <a:lnTo>
                  <a:pt x="1812396" y="754063"/>
                </a:lnTo>
                <a:lnTo>
                  <a:pt x="1817688" y="756709"/>
                </a:lnTo>
                <a:lnTo>
                  <a:pt x="1820333" y="759355"/>
                </a:lnTo>
                <a:lnTo>
                  <a:pt x="1820333" y="762000"/>
                </a:lnTo>
                <a:lnTo>
                  <a:pt x="1820333" y="764646"/>
                </a:lnTo>
                <a:lnTo>
                  <a:pt x="1822979" y="767292"/>
                </a:lnTo>
                <a:lnTo>
                  <a:pt x="1825625" y="769938"/>
                </a:lnTo>
                <a:lnTo>
                  <a:pt x="1825625" y="772584"/>
                </a:lnTo>
                <a:lnTo>
                  <a:pt x="1822979" y="780521"/>
                </a:lnTo>
                <a:lnTo>
                  <a:pt x="1812396" y="796396"/>
                </a:lnTo>
                <a:lnTo>
                  <a:pt x="1817688" y="785813"/>
                </a:lnTo>
                <a:lnTo>
                  <a:pt x="1820333" y="780521"/>
                </a:lnTo>
                <a:lnTo>
                  <a:pt x="1820333" y="777875"/>
                </a:lnTo>
                <a:lnTo>
                  <a:pt x="1817688" y="780521"/>
                </a:lnTo>
                <a:lnTo>
                  <a:pt x="1812396" y="785813"/>
                </a:lnTo>
                <a:lnTo>
                  <a:pt x="1807104" y="796396"/>
                </a:lnTo>
                <a:lnTo>
                  <a:pt x="1804458" y="804334"/>
                </a:lnTo>
                <a:lnTo>
                  <a:pt x="1799167" y="809625"/>
                </a:lnTo>
                <a:lnTo>
                  <a:pt x="1793875" y="809625"/>
                </a:lnTo>
                <a:lnTo>
                  <a:pt x="1791229" y="809625"/>
                </a:lnTo>
                <a:lnTo>
                  <a:pt x="1799167" y="799042"/>
                </a:lnTo>
                <a:lnTo>
                  <a:pt x="1799167" y="793750"/>
                </a:lnTo>
                <a:lnTo>
                  <a:pt x="1796521" y="791105"/>
                </a:lnTo>
                <a:lnTo>
                  <a:pt x="1793875" y="785813"/>
                </a:lnTo>
                <a:lnTo>
                  <a:pt x="1796521" y="783167"/>
                </a:lnTo>
                <a:lnTo>
                  <a:pt x="1796521" y="777875"/>
                </a:lnTo>
                <a:lnTo>
                  <a:pt x="1793875" y="775230"/>
                </a:lnTo>
                <a:lnTo>
                  <a:pt x="1793875" y="772584"/>
                </a:lnTo>
                <a:lnTo>
                  <a:pt x="1793875" y="769938"/>
                </a:lnTo>
                <a:lnTo>
                  <a:pt x="1796521" y="764646"/>
                </a:lnTo>
                <a:lnTo>
                  <a:pt x="1793875" y="764646"/>
                </a:lnTo>
                <a:lnTo>
                  <a:pt x="1793875" y="762000"/>
                </a:lnTo>
                <a:lnTo>
                  <a:pt x="1799167" y="759355"/>
                </a:lnTo>
                <a:lnTo>
                  <a:pt x="1804458" y="754063"/>
                </a:lnTo>
                <a:lnTo>
                  <a:pt x="1801813" y="754063"/>
                </a:lnTo>
                <a:lnTo>
                  <a:pt x="1788583" y="759355"/>
                </a:lnTo>
                <a:lnTo>
                  <a:pt x="1783292" y="764646"/>
                </a:lnTo>
                <a:lnTo>
                  <a:pt x="1783292" y="769938"/>
                </a:lnTo>
                <a:lnTo>
                  <a:pt x="1783292" y="772584"/>
                </a:lnTo>
                <a:lnTo>
                  <a:pt x="1780646" y="772584"/>
                </a:lnTo>
                <a:lnTo>
                  <a:pt x="1783292" y="777875"/>
                </a:lnTo>
                <a:lnTo>
                  <a:pt x="1780646" y="780521"/>
                </a:lnTo>
                <a:lnTo>
                  <a:pt x="1772708" y="777875"/>
                </a:lnTo>
                <a:lnTo>
                  <a:pt x="1780646" y="783167"/>
                </a:lnTo>
                <a:lnTo>
                  <a:pt x="1780646" y="785813"/>
                </a:lnTo>
                <a:lnTo>
                  <a:pt x="1783292" y="788459"/>
                </a:lnTo>
                <a:lnTo>
                  <a:pt x="1785938" y="793750"/>
                </a:lnTo>
                <a:lnTo>
                  <a:pt x="1780646" y="793750"/>
                </a:lnTo>
                <a:lnTo>
                  <a:pt x="1772708" y="793750"/>
                </a:lnTo>
                <a:lnTo>
                  <a:pt x="1775354" y="796396"/>
                </a:lnTo>
                <a:lnTo>
                  <a:pt x="1780646" y="799042"/>
                </a:lnTo>
                <a:lnTo>
                  <a:pt x="1783292" y="801688"/>
                </a:lnTo>
                <a:lnTo>
                  <a:pt x="1778000" y="806980"/>
                </a:lnTo>
                <a:lnTo>
                  <a:pt x="1780646" y="806980"/>
                </a:lnTo>
                <a:lnTo>
                  <a:pt x="1783292" y="806980"/>
                </a:lnTo>
                <a:lnTo>
                  <a:pt x="1785938" y="812271"/>
                </a:lnTo>
                <a:lnTo>
                  <a:pt x="1785938" y="820209"/>
                </a:lnTo>
                <a:lnTo>
                  <a:pt x="1785938" y="828146"/>
                </a:lnTo>
                <a:lnTo>
                  <a:pt x="1788583" y="844021"/>
                </a:lnTo>
                <a:lnTo>
                  <a:pt x="1785938" y="849313"/>
                </a:lnTo>
                <a:lnTo>
                  <a:pt x="1783292" y="851959"/>
                </a:lnTo>
                <a:lnTo>
                  <a:pt x="1772708" y="851959"/>
                </a:lnTo>
                <a:lnTo>
                  <a:pt x="1767417" y="851959"/>
                </a:lnTo>
                <a:lnTo>
                  <a:pt x="1764771" y="846667"/>
                </a:lnTo>
                <a:lnTo>
                  <a:pt x="1762125" y="854605"/>
                </a:lnTo>
                <a:lnTo>
                  <a:pt x="1764771" y="854605"/>
                </a:lnTo>
                <a:lnTo>
                  <a:pt x="1770063" y="854605"/>
                </a:lnTo>
                <a:lnTo>
                  <a:pt x="1775354" y="857250"/>
                </a:lnTo>
                <a:lnTo>
                  <a:pt x="1778000" y="857250"/>
                </a:lnTo>
                <a:lnTo>
                  <a:pt x="1780646" y="854605"/>
                </a:lnTo>
                <a:lnTo>
                  <a:pt x="1783292" y="857250"/>
                </a:lnTo>
                <a:lnTo>
                  <a:pt x="1783292" y="859896"/>
                </a:lnTo>
                <a:lnTo>
                  <a:pt x="1780646" y="865188"/>
                </a:lnTo>
                <a:lnTo>
                  <a:pt x="1775354" y="870480"/>
                </a:lnTo>
                <a:lnTo>
                  <a:pt x="1762125" y="867834"/>
                </a:lnTo>
                <a:lnTo>
                  <a:pt x="1756833" y="865188"/>
                </a:lnTo>
                <a:lnTo>
                  <a:pt x="1759479" y="870480"/>
                </a:lnTo>
                <a:lnTo>
                  <a:pt x="1762125" y="870480"/>
                </a:lnTo>
                <a:lnTo>
                  <a:pt x="1759479" y="873125"/>
                </a:lnTo>
                <a:lnTo>
                  <a:pt x="1756833" y="875771"/>
                </a:lnTo>
                <a:lnTo>
                  <a:pt x="1759479" y="875771"/>
                </a:lnTo>
                <a:lnTo>
                  <a:pt x="1764771" y="875771"/>
                </a:lnTo>
                <a:lnTo>
                  <a:pt x="1762125" y="881063"/>
                </a:lnTo>
                <a:lnTo>
                  <a:pt x="1759479" y="883709"/>
                </a:lnTo>
                <a:lnTo>
                  <a:pt x="1754188" y="886355"/>
                </a:lnTo>
                <a:lnTo>
                  <a:pt x="1746250" y="889000"/>
                </a:lnTo>
                <a:lnTo>
                  <a:pt x="1738313" y="891646"/>
                </a:lnTo>
                <a:lnTo>
                  <a:pt x="1733021" y="896938"/>
                </a:lnTo>
                <a:lnTo>
                  <a:pt x="1727729" y="902230"/>
                </a:lnTo>
                <a:lnTo>
                  <a:pt x="1725083" y="902230"/>
                </a:lnTo>
                <a:lnTo>
                  <a:pt x="1719792" y="904875"/>
                </a:lnTo>
                <a:lnTo>
                  <a:pt x="1711854" y="910167"/>
                </a:lnTo>
                <a:lnTo>
                  <a:pt x="1703917" y="918105"/>
                </a:lnTo>
                <a:lnTo>
                  <a:pt x="1701271" y="920750"/>
                </a:lnTo>
                <a:lnTo>
                  <a:pt x="1695979" y="920750"/>
                </a:lnTo>
                <a:lnTo>
                  <a:pt x="1690687" y="920750"/>
                </a:lnTo>
                <a:lnTo>
                  <a:pt x="1682750" y="923396"/>
                </a:lnTo>
                <a:lnTo>
                  <a:pt x="1672167" y="931334"/>
                </a:lnTo>
                <a:lnTo>
                  <a:pt x="1666875" y="939271"/>
                </a:lnTo>
                <a:lnTo>
                  <a:pt x="1664229" y="941917"/>
                </a:lnTo>
                <a:lnTo>
                  <a:pt x="1661583" y="941917"/>
                </a:lnTo>
                <a:lnTo>
                  <a:pt x="1658937" y="944563"/>
                </a:lnTo>
                <a:lnTo>
                  <a:pt x="1645708" y="955146"/>
                </a:lnTo>
                <a:lnTo>
                  <a:pt x="1640417" y="955146"/>
                </a:lnTo>
                <a:lnTo>
                  <a:pt x="1640417" y="952500"/>
                </a:lnTo>
                <a:lnTo>
                  <a:pt x="1637771" y="952500"/>
                </a:lnTo>
                <a:lnTo>
                  <a:pt x="1635125" y="955146"/>
                </a:lnTo>
                <a:lnTo>
                  <a:pt x="1632479" y="957792"/>
                </a:lnTo>
                <a:lnTo>
                  <a:pt x="1624542" y="955146"/>
                </a:lnTo>
                <a:lnTo>
                  <a:pt x="1621896" y="952500"/>
                </a:lnTo>
                <a:lnTo>
                  <a:pt x="1621896" y="955146"/>
                </a:lnTo>
                <a:lnTo>
                  <a:pt x="1624542" y="960438"/>
                </a:lnTo>
                <a:lnTo>
                  <a:pt x="1624542" y="963084"/>
                </a:lnTo>
                <a:lnTo>
                  <a:pt x="1621896" y="965730"/>
                </a:lnTo>
                <a:lnTo>
                  <a:pt x="1621896" y="968375"/>
                </a:lnTo>
                <a:lnTo>
                  <a:pt x="1621896" y="971021"/>
                </a:lnTo>
                <a:lnTo>
                  <a:pt x="1619250" y="971021"/>
                </a:lnTo>
                <a:lnTo>
                  <a:pt x="1616604" y="973667"/>
                </a:lnTo>
                <a:lnTo>
                  <a:pt x="1608667" y="978959"/>
                </a:lnTo>
                <a:lnTo>
                  <a:pt x="1592792" y="1000125"/>
                </a:lnTo>
                <a:lnTo>
                  <a:pt x="1587500" y="1013355"/>
                </a:lnTo>
                <a:lnTo>
                  <a:pt x="1587500" y="1018646"/>
                </a:lnTo>
                <a:lnTo>
                  <a:pt x="1584854" y="1023938"/>
                </a:lnTo>
                <a:lnTo>
                  <a:pt x="1582208" y="1031875"/>
                </a:lnTo>
                <a:lnTo>
                  <a:pt x="1582208" y="1045105"/>
                </a:lnTo>
                <a:lnTo>
                  <a:pt x="1587500" y="1071563"/>
                </a:lnTo>
                <a:lnTo>
                  <a:pt x="1587500" y="1076855"/>
                </a:lnTo>
                <a:lnTo>
                  <a:pt x="1590146" y="1076855"/>
                </a:lnTo>
                <a:lnTo>
                  <a:pt x="1590146" y="1079500"/>
                </a:lnTo>
                <a:lnTo>
                  <a:pt x="1592792" y="1100667"/>
                </a:lnTo>
                <a:lnTo>
                  <a:pt x="1592792" y="1108605"/>
                </a:lnTo>
                <a:lnTo>
                  <a:pt x="1592792" y="1111250"/>
                </a:lnTo>
                <a:lnTo>
                  <a:pt x="1590146" y="1108605"/>
                </a:lnTo>
                <a:lnTo>
                  <a:pt x="1587500" y="1098021"/>
                </a:lnTo>
                <a:lnTo>
                  <a:pt x="1587500" y="1111250"/>
                </a:lnTo>
                <a:lnTo>
                  <a:pt x="1592792" y="1119188"/>
                </a:lnTo>
                <a:lnTo>
                  <a:pt x="1595437" y="1127125"/>
                </a:lnTo>
                <a:lnTo>
                  <a:pt x="1595437" y="1132417"/>
                </a:lnTo>
                <a:lnTo>
                  <a:pt x="1598083" y="1137709"/>
                </a:lnTo>
                <a:lnTo>
                  <a:pt x="1598083" y="1148292"/>
                </a:lnTo>
                <a:lnTo>
                  <a:pt x="1587500" y="1172104"/>
                </a:lnTo>
                <a:lnTo>
                  <a:pt x="1584854" y="1180042"/>
                </a:lnTo>
                <a:lnTo>
                  <a:pt x="1584854" y="1182688"/>
                </a:lnTo>
                <a:lnTo>
                  <a:pt x="1584854" y="1185334"/>
                </a:lnTo>
                <a:lnTo>
                  <a:pt x="1579562" y="1187979"/>
                </a:lnTo>
                <a:lnTo>
                  <a:pt x="1576917" y="1187979"/>
                </a:lnTo>
                <a:lnTo>
                  <a:pt x="1574271" y="1187979"/>
                </a:lnTo>
                <a:lnTo>
                  <a:pt x="1574271" y="1190625"/>
                </a:lnTo>
                <a:lnTo>
                  <a:pt x="1571625" y="1190625"/>
                </a:lnTo>
                <a:lnTo>
                  <a:pt x="1568979" y="1190625"/>
                </a:lnTo>
                <a:lnTo>
                  <a:pt x="1566333" y="1193271"/>
                </a:lnTo>
                <a:lnTo>
                  <a:pt x="1558396" y="1193271"/>
                </a:lnTo>
                <a:lnTo>
                  <a:pt x="1553104" y="1190625"/>
                </a:lnTo>
                <a:lnTo>
                  <a:pt x="1553104" y="1185334"/>
                </a:lnTo>
                <a:lnTo>
                  <a:pt x="1555750" y="1185334"/>
                </a:lnTo>
                <a:lnTo>
                  <a:pt x="1558396" y="1187979"/>
                </a:lnTo>
                <a:lnTo>
                  <a:pt x="1558396" y="1185334"/>
                </a:lnTo>
                <a:lnTo>
                  <a:pt x="1558396" y="1182688"/>
                </a:lnTo>
                <a:lnTo>
                  <a:pt x="1561042" y="1180042"/>
                </a:lnTo>
                <a:lnTo>
                  <a:pt x="1563687" y="1180042"/>
                </a:lnTo>
                <a:lnTo>
                  <a:pt x="1561042" y="1177396"/>
                </a:lnTo>
                <a:lnTo>
                  <a:pt x="1555750" y="1174750"/>
                </a:lnTo>
                <a:lnTo>
                  <a:pt x="1553104" y="1169459"/>
                </a:lnTo>
                <a:lnTo>
                  <a:pt x="1550458" y="1166813"/>
                </a:lnTo>
                <a:lnTo>
                  <a:pt x="1545167" y="1166813"/>
                </a:lnTo>
                <a:lnTo>
                  <a:pt x="1542521" y="1164167"/>
                </a:lnTo>
                <a:lnTo>
                  <a:pt x="1542521" y="1153584"/>
                </a:lnTo>
                <a:lnTo>
                  <a:pt x="1539875" y="1145646"/>
                </a:lnTo>
                <a:lnTo>
                  <a:pt x="1539875" y="1143000"/>
                </a:lnTo>
                <a:lnTo>
                  <a:pt x="1542521" y="1137709"/>
                </a:lnTo>
                <a:lnTo>
                  <a:pt x="1542521" y="1135063"/>
                </a:lnTo>
                <a:lnTo>
                  <a:pt x="1537229" y="1135063"/>
                </a:lnTo>
                <a:lnTo>
                  <a:pt x="1531937" y="1119188"/>
                </a:lnTo>
                <a:lnTo>
                  <a:pt x="1531937" y="1111250"/>
                </a:lnTo>
                <a:lnTo>
                  <a:pt x="1531937" y="1108605"/>
                </a:lnTo>
                <a:lnTo>
                  <a:pt x="1531937" y="1103313"/>
                </a:lnTo>
                <a:lnTo>
                  <a:pt x="1531937" y="1100667"/>
                </a:lnTo>
                <a:lnTo>
                  <a:pt x="1531937" y="1095375"/>
                </a:lnTo>
                <a:lnTo>
                  <a:pt x="1539875" y="1082146"/>
                </a:lnTo>
                <a:lnTo>
                  <a:pt x="1542521" y="1071563"/>
                </a:lnTo>
                <a:lnTo>
                  <a:pt x="1542521" y="1066271"/>
                </a:lnTo>
                <a:lnTo>
                  <a:pt x="1539875" y="1063625"/>
                </a:lnTo>
                <a:lnTo>
                  <a:pt x="1534583" y="1058334"/>
                </a:lnTo>
                <a:lnTo>
                  <a:pt x="1534583" y="1053042"/>
                </a:lnTo>
                <a:lnTo>
                  <a:pt x="1531937" y="1047750"/>
                </a:lnTo>
                <a:lnTo>
                  <a:pt x="1526646" y="1045105"/>
                </a:lnTo>
                <a:lnTo>
                  <a:pt x="1521354" y="1042459"/>
                </a:lnTo>
                <a:lnTo>
                  <a:pt x="1518708" y="1037167"/>
                </a:lnTo>
                <a:lnTo>
                  <a:pt x="1513417" y="1037167"/>
                </a:lnTo>
                <a:lnTo>
                  <a:pt x="1505479" y="1039813"/>
                </a:lnTo>
                <a:lnTo>
                  <a:pt x="1494896" y="1045105"/>
                </a:lnTo>
                <a:lnTo>
                  <a:pt x="1489604" y="1045105"/>
                </a:lnTo>
                <a:lnTo>
                  <a:pt x="1486958" y="1045105"/>
                </a:lnTo>
                <a:lnTo>
                  <a:pt x="1484312" y="1045105"/>
                </a:lnTo>
                <a:lnTo>
                  <a:pt x="1479021" y="1047750"/>
                </a:lnTo>
                <a:lnTo>
                  <a:pt x="1476375" y="1047750"/>
                </a:lnTo>
                <a:lnTo>
                  <a:pt x="1473729" y="1045105"/>
                </a:lnTo>
                <a:lnTo>
                  <a:pt x="1476375" y="1042459"/>
                </a:lnTo>
                <a:lnTo>
                  <a:pt x="1479021" y="1039813"/>
                </a:lnTo>
                <a:lnTo>
                  <a:pt x="1476375" y="1037167"/>
                </a:lnTo>
                <a:lnTo>
                  <a:pt x="1447271" y="1031875"/>
                </a:lnTo>
                <a:lnTo>
                  <a:pt x="1439333" y="1026584"/>
                </a:lnTo>
                <a:lnTo>
                  <a:pt x="1447271" y="1026584"/>
                </a:lnTo>
                <a:lnTo>
                  <a:pt x="1457854" y="1023938"/>
                </a:lnTo>
                <a:lnTo>
                  <a:pt x="1441979" y="1023938"/>
                </a:lnTo>
                <a:lnTo>
                  <a:pt x="1436687" y="1023938"/>
                </a:lnTo>
                <a:lnTo>
                  <a:pt x="1434042" y="1023938"/>
                </a:lnTo>
                <a:lnTo>
                  <a:pt x="1434042" y="1026584"/>
                </a:lnTo>
                <a:lnTo>
                  <a:pt x="1436687" y="1026584"/>
                </a:lnTo>
                <a:lnTo>
                  <a:pt x="1434042" y="1029230"/>
                </a:lnTo>
                <a:lnTo>
                  <a:pt x="1426104" y="1029230"/>
                </a:lnTo>
                <a:lnTo>
                  <a:pt x="1418167" y="1029230"/>
                </a:lnTo>
                <a:lnTo>
                  <a:pt x="1410229" y="1023938"/>
                </a:lnTo>
                <a:lnTo>
                  <a:pt x="1410229" y="1026584"/>
                </a:lnTo>
                <a:lnTo>
                  <a:pt x="1399646" y="1031875"/>
                </a:lnTo>
                <a:lnTo>
                  <a:pt x="1394354" y="1031875"/>
                </a:lnTo>
                <a:lnTo>
                  <a:pt x="1391708" y="1029230"/>
                </a:lnTo>
                <a:lnTo>
                  <a:pt x="1391708" y="1021292"/>
                </a:lnTo>
                <a:lnTo>
                  <a:pt x="1389062" y="1031875"/>
                </a:lnTo>
                <a:lnTo>
                  <a:pt x="1389062" y="1034521"/>
                </a:lnTo>
                <a:lnTo>
                  <a:pt x="1383771" y="1034521"/>
                </a:lnTo>
                <a:lnTo>
                  <a:pt x="1370542" y="1034521"/>
                </a:lnTo>
                <a:lnTo>
                  <a:pt x="1365250" y="1034521"/>
                </a:lnTo>
                <a:lnTo>
                  <a:pt x="1359958" y="1034521"/>
                </a:lnTo>
                <a:lnTo>
                  <a:pt x="1352021" y="1031875"/>
                </a:lnTo>
                <a:lnTo>
                  <a:pt x="1346729" y="1029230"/>
                </a:lnTo>
                <a:lnTo>
                  <a:pt x="1344083" y="1031875"/>
                </a:lnTo>
                <a:lnTo>
                  <a:pt x="1344083" y="1037167"/>
                </a:lnTo>
                <a:lnTo>
                  <a:pt x="1344083" y="1039813"/>
                </a:lnTo>
                <a:lnTo>
                  <a:pt x="1352021" y="1039813"/>
                </a:lnTo>
                <a:lnTo>
                  <a:pt x="1359958" y="1042459"/>
                </a:lnTo>
                <a:lnTo>
                  <a:pt x="1359958" y="1045105"/>
                </a:lnTo>
                <a:lnTo>
                  <a:pt x="1359958" y="1047750"/>
                </a:lnTo>
                <a:lnTo>
                  <a:pt x="1359958" y="1050396"/>
                </a:lnTo>
                <a:lnTo>
                  <a:pt x="1362604" y="1053042"/>
                </a:lnTo>
                <a:lnTo>
                  <a:pt x="1365250" y="1053042"/>
                </a:lnTo>
                <a:lnTo>
                  <a:pt x="1365250" y="1055688"/>
                </a:lnTo>
                <a:lnTo>
                  <a:pt x="1365250" y="1058334"/>
                </a:lnTo>
                <a:lnTo>
                  <a:pt x="1367896" y="1060980"/>
                </a:lnTo>
                <a:lnTo>
                  <a:pt x="1370542" y="1063625"/>
                </a:lnTo>
                <a:lnTo>
                  <a:pt x="1367896" y="1066271"/>
                </a:lnTo>
                <a:lnTo>
                  <a:pt x="1359958" y="1066271"/>
                </a:lnTo>
                <a:lnTo>
                  <a:pt x="1357312" y="1063625"/>
                </a:lnTo>
                <a:lnTo>
                  <a:pt x="1354667" y="1060980"/>
                </a:lnTo>
                <a:lnTo>
                  <a:pt x="1352021" y="1063625"/>
                </a:lnTo>
                <a:lnTo>
                  <a:pt x="1349375" y="1066271"/>
                </a:lnTo>
                <a:lnTo>
                  <a:pt x="1344083" y="1063625"/>
                </a:lnTo>
                <a:lnTo>
                  <a:pt x="1338792" y="1060980"/>
                </a:lnTo>
                <a:lnTo>
                  <a:pt x="1330854" y="1060980"/>
                </a:lnTo>
                <a:lnTo>
                  <a:pt x="1322917" y="1058334"/>
                </a:lnTo>
                <a:lnTo>
                  <a:pt x="1320271" y="1055688"/>
                </a:lnTo>
                <a:lnTo>
                  <a:pt x="1317625" y="1053042"/>
                </a:lnTo>
                <a:lnTo>
                  <a:pt x="1317625" y="1055688"/>
                </a:lnTo>
                <a:lnTo>
                  <a:pt x="1314979" y="1055688"/>
                </a:lnTo>
                <a:lnTo>
                  <a:pt x="1312333" y="1053042"/>
                </a:lnTo>
                <a:lnTo>
                  <a:pt x="1309687" y="1047750"/>
                </a:lnTo>
                <a:lnTo>
                  <a:pt x="1307042" y="1047750"/>
                </a:lnTo>
                <a:lnTo>
                  <a:pt x="1304396" y="1050396"/>
                </a:lnTo>
                <a:lnTo>
                  <a:pt x="1299104" y="1053042"/>
                </a:lnTo>
                <a:lnTo>
                  <a:pt x="1293812" y="1053042"/>
                </a:lnTo>
                <a:lnTo>
                  <a:pt x="1288521" y="1053042"/>
                </a:lnTo>
                <a:lnTo>
                  <a:pt x="1277937" y="1047750"/>
                </a:lnTo>
                <a:lnTo>
                  <a:pt x="1272646" y="1045105"/>
                </a:lnTo>
                <a:lnTo>
                  <a:pt x="1267354" y="1042459"/>
                </a:lnTo>
                <a:lnTo>
                  <a:pt x="1259417" y="1045105"/>
                </a:lnTo>
                <a:lnTo>
                  <a:pt x="1248833" y="1050396"/>
                </a:lnTo>
                <a:lnTo>
                  <a:pt x="1232958" y="1060980"/>
                </a:lnTo>
                <a:lnTo>
                  <a:pt x="1227667" y="1063625"/>
                </a:lnTo>
                <a:lnTo>
                  <a:pt x="1230312" y="1060980"/>
                </a:lnTo>
                <a:lnTo>
                  <a:pt x="1230312" y="1058334"/>
                </a:lnTo>
                <a:lnTo>
                  <a:pt x="1230312" y="1055688"/>
                </a:lnTo>
                <a:lnTo>
                  <a:pt x="1230312" y="1050396"/>
                </a:lnTo>
                <a:lnTo>
                  <a:pt x="1235604" y="1045105"/>
                </a:lnTo>
                <a:lnTo>
                  <a:pt x="1225021" y="1050396"/>
                </a:lnTo>
                <a:lnTo>
                  <a:pt x="1225021" y="1053042"/>
                </a:lnTo>
                <a:lnTo>
                  <a:pt x="1225021" y="1055688"/>
                </a:lnTo>
                <a:lnTo>
                  <a:pt x="1222375" y="1058334"/>
                </a:lnTo>
                <a:lnTo>
                  <a:pt x="1222375" y="1060980"/>
                </a:lnTo>
                <a:lnTo>
                  <a:pt x="1225021" y="1063625"/>
                </a:lnTo>
                <a:lnTo>
                  <a:pt x="1222375" y="1066271"/>
                </a:lnTo>
                <a:lnTo>
                  <a:pt x="1214437" y="1068917"/>
                </a:lnTo>
                <a:lnTo>
                  <a:pt x="1209146" y="1071563"/>
                </a:lnTo>
                <a:lnTo>
                  <a:pt x="1203854" y="1076855"/>
                </a:lnTo>
                <a:lnTo>
                  <a:pt x="1198562" y="1079500"/>
                </a:lnTo>
                <a:lnTo>
                  <a:pt x="1195917" y="1079500"/>
                </a:lnTo>
                <a:lnTo>
                  <a:pt x="1193271" y="1079500"/>
                </a:lnTo>
                <a:lnTo>
                  <a:pt x="1190625" y="1079500"/>
                </a:lnTo>
                <a:lnTo>
                  <a:pt x="1187979" y="1082146"/>
                </a:lnTo>
                <a:lnTo>
                  <a:pt x="1185333" y="1082146"/>
                </a:lnTo>
                <a:lnTo>
                  <a:pt x="1180042" y="1079500"/>
                </a:lnTo>
                <a:lnTo>
                  <a:pt x="1180042" y="1082146"/>
                </a:lnTo>
                <a:lnTo>
                  <a:pt x="1180042" y="1084792"/>
                </a:lnTo>
                <a:lnTo>
                  <a:pt x="1177396" y="1084792"/>
                </a:lnTo>
                <a:lnTo>
                  <a:pt x="1177396" y="1087438"/>
                </a:lnTo>
                <a:lnTo>
                  <a:pt x="1177396" y="1092730"/>
                </a:lnTo>
                <a:lnTo>
                  <a:pt x="1174750" y="1095375"/>
                </a:lnTo>
                <a:lnTo>
                  <a:pt x="1169458" y="1092730"/>
                </a:lnTo>
                <a:lnTo>
                  <a:pt x="1169458" y="1095375"/>
                </a:lnTo>
                <a:lnTo>
                  <a:pt x="1166812" y="1100667"/>
                </a:lnTo>
                <a:lnTo>
                  <a:pt x="1164167" y="1105959"/>
                </a:lnTo>
                <a:lnTo>
                  <a:pt x="1158875" y="1108605"/>
                </a:lnTo>
                <a:lnTo>
                  <a:pt x="1156229" y="1111250"/>
                </a:lnTo>
                <a:lnTo>
                  <a:pt x="1150937" y="1113896"/>
                </a:lnTo>
                <a:lnTo>
                  <a:pt x="1148292" y="1119188"/>
                </a:lnTo>
                <a:lnTo>
                  <a:pt x="1145646" y="1119188"/>
                </a:lnTo>
                <a:lnTo>
                  <a:pt x="1143000" y="1119188"/>
                </a:lnTo>
                <a:lnTo>
                  <a:pt x="1143000" y="1121834"/>
                </a:lnTo>
                <a:lnTo>
                  <a:pt x="1140354" y="1121834"/>
                </a:lnTo>
                <a:lnTo>
                  <a:pt x="1135062" y="1121834"/>
                </a:lnTo>
                <a:lnTo>
                  <a:pt x="1135062" y="1124480"/>
                </a:lnTo>
                <a:lnTo>
                  <a:pt x="1135062" y="1127125"/>
                </a:lnTo>
                <a:lnTo>
                  <a:pt x="1135062" y="1135063"/>
                </a:lnTo>
                <a:lnTo>
                  <a:pt x="1132417" y="1143000"/>
                </a:lnTo>
                <a:lnTo>
                  <a:pt x="1129771" y="1145646"/>
                </a:lnTo>
                <a:lnTo>
                  <a:pt x="1127125" y="1148292"/>
                </a:lnTo>
                <a:lnTo>
                  <a:pt x="1127125" y="1153584"/>
                </a:lnTo>
                <a:lnTo>
                  <a:pt x="1129771" y="1156229"/>
                </a:lnTo>
                <a:lnTo>
                  <a:pt x="1127125" y="1158875"/>
                </a:lnTo>
                <a:lnTo>
                  <a:pt x="1127125" y="1164167"/>
                </a:lnTo>
                <a:lnTo>
                  <a:pt x="1124479" y="1172104"/>
                </a:lnTo>
                <a:lnTo>
                  <a:pt x="1098021" y="1166813"/>
                </a:lnTo>
                <a:lnTo>
                  <a:pt x="1084791" y="1161521"/>
                </a:lnTo>
                <a:lnTo>
                  <a:pt x="1082146" y="1158875"/>
                </a:lnTo>
                <a:lnTo>
                  <a:pt x="1079500" y="1156229"/>
                </a:lnTo>
                <a:lnTo>
                  <a:pt x="1079500" y="1145646"/>
                </a:lnTo>
                <a:lnTo>
                  <a:pt x="1076854" y="1135063"/>
                </a:lnTo>
                <a:lnTo>
                  <a:pt x="1074208" y="1129771"/>
                </a:lnTo>
                <a:lnTo>
                  <a:pt x="1068916" y="1119188"/>
                </a:lnTo>
                <a:lnTo>
                  <a:pt x="1063625" y="1092730"/>
                </a:lnTo>
                <a:lnTo>
                  <a:pt x="1058333" y="1071563"/>
                </a:lnTo>
                <a:lnTo>
                  <a:pt x="1050396" y="1060980"/>
                </a:lnTo>
                <a:lnTo>
                  <a:pt x="1045104" y="1053042"/>
                </a:lnTo>
                <a:lnTo>
                  <a:pt x="1034521" y="1050396"/>
                </a:lnTo>
                <a:lnTo>
                  <a:pt x="1021291" y="1045105"/>
                </a:lnTo>
                <a:lnTo>
                  <a:pt x="1018646" y="1045105"/>
                </a:lnTo>
                <a:lnTo>
                  <a:pt x="1016000" y="1045105"/>
                </a:lnTo>
                <a:lnTo>
                  <a:pt x="1013354" y="1047750"/>
                </a:lnTo>
                <a:lnTo>
                  <a:pt x="1008062" y="1047750"/>
                </a:lnTo>
                <a:lnTo>
                  <a:pt x="1005416" y="1050396"/>
                </a:lnTo>
                <a:lnTo>
                  <a:pt x="1000125" y="1055688"/>
                </a:lnTo>
                <a:lnTo>
                  <a:pt x="994833" y="1063625"/>
                </a:lnTo>
                <a:lnTo>
                  <a:pt x="989541" y="1063625"/>
                </a:lnTo>
                <a:lnTo>
                  <a:pt x="981604" y="1060980"/>
                </a:lnTo>
                <a:lnTo>
                  <a:pt x="971021" y="1053042"/>
                </a:lnTo>
                <a:lnTo>
                  <a:pt x="965729" y="1047750"/>
                </a:lnTo>
                <a:lnTo>
                  <a:pt x="965729" y="1045105"/>
                </a:lnTo>
                <a:lnTo>
                  <a:pt x="965729" y="1034521"/>
                </a:lnTo>
                <a:lnTo>
                  <a:pt x="965729" y="1026584"/>
                </a:lnTo>
                <a:lnTo>
                  <a:pt x="963083" y="1021292"/>
                </a:lnTo>
                <a:lnTo>
                  <a:pt x="957791" y="1016000"/>
                </a:lnTo>
                <a:lnTo>
                  <a:pt x="952500" y="1010709"/>
                </a:lnTo>
                <a:lnTo>
                  <a:pt x="949854" y="1008063"/>
                </a:lnTo>
                <a:lnTo>
                  <a:pt x="949854" y="1005417"/>
                </a:lnTo>
                <a:lnTo>
                  <a:pt x="944562" y="1000125"/>
                </a:lnTo>
                <a:lnTo>
                  <a:pt x="933979" y="992188"/>
                </a:lnTo>
                <a:lnTo>
                  <a:pt x="931333" y="989542"/>
                </a:lnTo>
                <a:lnTo>
                  <a:pt x="889000" y="989542"/>
                </a:lnTo>
                <a:lnTo>
                  <a:pt x="881062" y="1000125"/>
                </a:lnTo>
                <a:lnTo>
                  <a:pt x="817562" y="1000125"/>
                </a:lnTo>
                <a:lnTo>
                  <a:pt x="732896" y="965730"/>
                </a:lnTo>
                <a:lnTo>
                  <a:pt x="732896" y="960438"/>
                </a:lnTo>
                <a:lnTo>
                  <a:pt x="706437" y="960438"/>
                </a:lnTo>
                <a:lnTo>
                  <a:pt x="672041" y="960438"/>
                </a:lnTo>
                <a:lnTo>
                  <a:pt x="674687" y="955146"/>
                </a:lnTo>
                <a:lnTo>
                  <a:pt x="672041" y="952500"/>
                </a:lnTo>
                <a:lnTo>
                  <a:pt x="669396" y="952500"/>
                </a:lnTo>
                <a:lnTo>
                  <a:pt x="672041" y="947209"/>
                </a:lnTo>
                <a:lnTo>
                  <a:pt x="674687" y="944563"/>
                </a:lnTo>
                <a:lnTo>
                  <a:pt x="672041" y="939271"/>
                </a:lnTo>
                <a:lnTo>
                  <a:pt x="656166" y="926042"/>
                </a:lnTo>
                <a:lnTo>
                  <a:pt x="648229" y="920750"/>
                </a:lnTo>
                <a:lnTo>
                  <a:pt x="642937" y="918105"/>
                </a:lnTo>
                <a:lnTo>
                  <a:pt x="637646" y="915459"/>
                </a:lnTo>
                <a:lnTo>
                  <a:pt x="637646" y="912813"/>
                </a:lnTo>
                <a:lnTo>
                  <a:pt x="635000" y="907521"/>
                </a:lnTo>
                <a:lnTo>
                  <a:pt x="629708" y="904875"/>
                </a:lnTo>
                <a:lnTo>
                  <a:pt x="619125" y="902230"/>
                </a:lnTo>
                <a:lnTo>
                  <a:pt x="611187" y="899584"/>
                </a:lnTo>
                <a:lnTo>
                  <a:pt x="608541" y="896938"/>
                </a:lnTo>
                <a:lnTo>
                  <a:pt x="608541" y="891646"/>
                </a:lnTo>
                <a:lnTo>
                  <a:pt x="611187" y="886355"/>
                </a:lnTo>
                <a:lnTo>
                  <a:pt x="608541" y="883709"/>
                </a:lnTo>
                <a:lnTo>
                  <a:pt x="608541" y="881063"/>
                </a:lnTo>
                <a:lnTo>
                  <a:pt x="608541" y="878417"/>
                </a:lnTo>
                <a:lnTo>
                  <a:pt x="608541" y="875771"/>
                </a:lnTo>
                <a:lnTo>
                  <a:pt x="605896" y="873125"/>
                </a:lnTo>
                <a:lnTo>
                  <a:pt x="603250" y="870480"/>
                </a:lnTo>
                <a:lnTo>
                  <a:pt x="605896" y="867834"/>
                </a:lnTo>
                <a:lnTo>
                  <a:pt x="608541" y="862542"/>
                </a:lnTo>
                <a:lnTo>
                  <a:pt x="608541" y="859896"/>
                </a:lnTo>
                <a:lnTo>
                  <a:pt x="603250" y="851959"/>
                </a:lnTo>
                <a:lnTo>
                  <a:pt x="600604" y="844021"/>
                </a:lnTo>
                <a:lnTo>
                  <a:pt x="600604" y="841375"/>
                </a:lnTo>
                <a:lnTo>
                  <a:pt x="605896" y="838730"/>
                </a:lnTo>
                <a:lnTo>
                  <a:pt x="608541" y="833438"/>
                </a:lnTo>
                <a:lnTo>
                  <a:pt x="608541" y="830792"/>
                </a:lnTo>
                <a:lnTo>
                  <a:pt x="603250" y="822855"/>
                </a:lnTo>
                <a:lnTo>
                  <a:pt x="597958" y="812271"/>
                </a:lnTo>
                <a:lnTo>
                  <a:pt x="597958" y="809625"/>
                </a:lnTo>
                <a:lnTo>
                  <a:pt x="603250" y="806980"/>
                </a:lnTo>
                <a:lnTo>
                  <a:pt x="611187" y="801688"/>
                </a:lnTo>
                <a:lnTo>
                  <a:pt x="613833" y="799042"/>
                </a:lnTo>
                <a:lnTo>
                  <a:pt x="616479" y="796396"/>
                </a:lnTo>
                <a:lnTo>
                  <a:pt x="613833" y="796396"/>
                </a:lnTo>
                <a:lnTo>
                  <a:pt x="608541" y="799042"/>
                </a:lnTo>
                <a:lnTo>
                  <a:pt x="605896" y="801688"/>
                </a:lnTo>
                <a:lnTo>
                  <a:pt x="603250" y="801688"/>
                </a:lnTo>
                <a:lnTo>
                  <a:pt x="600604" y="799042"/>
                </a:lnTo>
                <a:lnTo>
                  <a:pt x="597958" y="793750"/>
                </a:lnTo>
                <a:lnTo>
                  <a:pt x="597958" y="788459"/>
                </a:lnTo>
                <a:lnTo>
                  <a:pt x="597958" y="783167"/>
                </a:lnTo>
                <a:lnTo>
                  <a:pt x="600604" y="777875"/>
                </a:lnTo>
                <a:lnTo>
                  <a:pt x="600604" y="769938"/>
                </a:lnTo>
                <a:lnTo>
                  <a:pt x="600604" y="756709"/>
                </a:lnTo>
                <a:lnTo>
                  <a:pt x="605896" y="743480"/>
                </a:lnTo>
                <a:lnTo>
                  <a:pt x="605896" y="738188"/>
                </a:lnTo>
                <a:lnTo>
                  <a:pt x="605896" y="735542"/>
                </a:lnTo>
                <a:lnTo>
                  <a:pt x="603250" y="730251"/>
                </a:lnTo>
                <a:lnTo>
                  <a:pt x="603250" y="727605"/>
                </a:lnTo>
                <a:lnTo>
                  <a:pt x="603250" y="722313"/>
                </a:lnTo>
                <a:lnTo>
                  <a:pt x="605896" y="717021"/>
                </a:lnTo>
                <a:lnTo>
                  <a:pt x="613833" y="711730"/>
                </a:lnTo>
                <a:lnTo>
                  <a:pt x="619125" y="706438"/>
                </a:lnTo>
                <a:lnTo>
                  <a:pt x="616479" y="703792"/>
                </a:lnTo>
                <a:lnTo>
                  <a:pt x="619125" y="701146"/>
                </a:lnTo>
                <a:lnTo>
                  <a:pt x="629708" y="695855"/>
                </a:lnTo>
                <a:lnTo>
                  <a:pt x="629708" y="690563"/>
                </a:lnTo>
                <a:lnTo>
                  <a:pt x="629708" y="674688"/>
                </a:lnTo>
                <a:lnTo>
                  <a:pt x="632354" y="669396"/>
                </a:lnTo>
                <a:lnTo>
                  <a:pt x="635000" y="661459"/>
                </a:lnTo>
                <a:lnTo>
                  <a:pt x="640291" y="653521"/>
                </a:lnTo>
                <a:lnTo>
                  <a:pt x="648229" y="648230"/>
                </a:lnTo>
                <a:lnTo>
                  <a:pt x="677333" y="616480"/>
                </a:lnTo>
                <a:lnTo>
                  <a:pt x="695854" y="590021"/>
                </a:lnTo>
                <a:lnTo>
                  <a:pt x="711729" y="568855"/>
                </a:lnTo>
                <a:lnTo>
                  <a:pt x="727604" y="571501"/>
                </a:lnTo>
                <a:lnTo>
                  <a:pt x="735541" y="574146"/>
                </a:lnTo>
                <a:lnTo>
                  <a:pt x="730250" y="568855"/>
                </a:lnTo>
                <a:lnTo>
                  <a:pt x="722312" y="566209"/>
                </a:lnTo>
                <a:lnTo>
                  <a:pt x="717021" y="563563"/>
                </a:lnTo>
                <a:lnTo>
                  <a:pt x="714375" y="560917"/>
                </a:lnTo>
                <a:lnTo>
                  <a:pt x="717021" y="558271"/>
                </a:lnTo>
                <a:lnTo>
                  <a:pt x="727604" y="542396"/>
                </a:lnTo>
                <a:lnTo>
                  <a:pt x="730250" y="534459"/>
                </a:lnTo>
                <a:lnTo>
                  <a:pt x="732896" y="526521"/>
                </a:lnTo>
                <a:lnTo>
                  <a:pt x="732896" y="518584"/>
                </a:lnTo>
                <a:lnTo>
                  <a:pt x="735541" y="508001"/>
                </a:lnTo>
                <a:lnTo>
                  <a:pt x="740833" y="502709"/>
                </a:lnTo>
                <a:lnTo>
                  <a:pt x="746125" y="502709"/>
                </a:lnTo>
                <a:lnTo>
                  <a:pt x="751416" y="505355"/>
                </a:lnTo>
                <a:lnTo>
                  <a:pt x="762000" y="508001"/>
                </a:lnTo>
                <a:lnTo>
                  <a:pt x="772583" y="508001"/>
                </a:lnTo>
                <a:lnTo>
                  <a:pt x="780521" y="508001"/>
                </a:lnTo>
                <a:lnTo>
                  <a:pt x="783166" y="510646"/>
                </a:lnTo>
                <a:lnTo>
                  <a:pt x="783166" y="513292"/>
                </a:lnTo>
                <a:lnTo>
                  <a:pt x="780521" y="518584"/>
                </a:lnTo>
                <a:lnTo>
                  <a:pt x="780521" y="523876"/>
                </a:lnTo>
                <a:lnTo>
                  <a:pt x="783166" y="526521"/>
                </a:lnTo>
                <a:lnTo>
                  <a:pt x="788458" y="515938"/>
                </a:lnTo>
                <a:lnTo>
                  <a:pt x="793750" y="510646"/>
                </a:lnTo>
                <a:lnTo>
                  <a:pt x="796396" y="508001"/>
                </a:lnTo>
                <a:lnTo>
                  <a:pt x="804333" y="505355"/>
                </a:lnTo>
                <a:lnTo>
                  <a:pt x="806979" y="505355"/>
                </a:lnTo>
                <a:lnTo>
                  <a:pt x="801687" y="500063"/>
                </a:lnTo>
                <a:lnTo>
                  <a:pt x="799041" y="494771"/>
                </a:lnTo>
                <a:lnTo>
                  <a:pt x="801687" y="494771"/>
                </a:lnTo>
                <a:lnTo>
                  <a:pt x="806979" y="492126"/>
                </a:lnTo>
                <a:lnTo>
                  <a:pt x="801687" y="486834"/>
                </a:lnTo>
                <a:lnTo>
                  <a:pt x="1444625" y="486834"/>
                </a:lnTo>
                <a:lnTo>
                  <a:pt x="1452562" y="484188"/>
                </a:lnTo>
                <a:lnTo>
                  <a:pt x="1457854" y="476251"/>
                </a:lnTo>
                <a:lnTo>
                  <a:pt x="1463146" y="470959"/>
                </a:lnTo>
                <a:lnTo>
                  <a:pt x="1465792" y="470959"/>
                </a:lnTo>
                <a:close/>
                <a:moveTo>
                  <a:pt x="296333" y="272521"/>
                </a:moveTo>
                <a:lnTo>
                  <a:pt x="301625" y="275167"/>
                </a:lnTo>
                <a:lnTo>
                  <a:pt x="306916" y="277813"/>
                </a:lnTo>
                <a:lnTo>
                  <a:pt x="312208" y="277813"/>
                </a:lnTo>
                <a:lnTo>
                  <a:pt x="317500" y="277813"/>
                </a:lnTo>
                <a:lnTo>
                  <a:pt x="317500" y="280459"/>
                </a:lnTo>
                <a:lnTo>
                  <a:pt x="320145" y="283105"/>
                </a:lnTo>
                <a:lnTo>
                  <a:pt x="322791" y="285750"/>
                </a:lnTo>
                <a:lnTo>
                  <a:pt x="325437" y="285750"/>
                </a:lnTo>
                <a:lnTo>
                  <a:pt x="322791" y="288396"/>
                </a:lnTo>
                <a:lnTo>
                  <a:pt x="320145" y="288396"/>
                </a:lnTo>
                <a:lnTo>
                  <a:pt x="320145" y="291042"/>
                </a:lnTo>
                <a:lnTo>
                  <a:pt x="322791" y="296334"/>
                </a:lnTo>
                <a:lnTo>
                  <a:pt x="322791" y="298980"/>
                </a:lnTo>
                <a:lnTo>
                  <a:pt x="317500" y="298980"/>
                </a:lnTo>
                <a:lnTo>
                  <a:pt x="304270" y="298980"/>
                </a:lnTo>
                <a:lnTo>
                  <a:pt x="312208" y="301626"/>
                </a:lnTo>
                <a:lnTo>
                  <a:pt x="309562" y="304271"/>
                </a:lnTo>
                <a:lnTo>
                  <a:pt x="304270" y="306917"/>
                </a:lnTo>
                <a:lnTo>
                  <a:pt x="296333" y="306917"/>
                </a:lnTo>
                <a:lnTo>
                  <a:pt x="291041" y="306917"/>
                </a:lnTo>
                <a:lnTo>
                  <a:pt x="285750" y="306917"/>
                </a:lnTo>
                <a:lnTo>
                  <a:pt x="283104" y="306917"/>
                </a:lnTo>
                <a:lnTo>
                  <a:pt x="269875" y="312209"/>
                </a:lnTo>
                <a:lnTo>
                  <a:pt x="256646" y="312209"/>
                </a:lnTo>
                <a:lnTo>
                  <a:pt x="251354" y="312209"/>
                </a:lnTo>
                <a:lnTo>
                  <a:pt x="259291" y="309563"/>
                </a:lnTo>
                <a:lnTo>
                  <a:pt x="264583" y="304271"/>
                </a:lnTo>
                <a:lnTo>
                  <a:pt x="256646" y="306917"/>
                </a:lnTo>
                <a:lnTo>
                  <a:pt x="246062" y="306917"/>
                </a:lnTo>
                <a:lnTo>
                  <a:pt x="246062" y="304271"/>
                </a:lnTo>
                <a:lnTo>
                  <a:pt x="246062" y="301626"/>
                </a:lnTo>
                <a:lnTo>
                  <a:pt x="243417" y="298980"/>
                </a:lnTo>
                <a:lnTo>
                  <a:pt x="238125" y="296334"/>
                </a:lnTo>
                <a:lnTo>
                  <a:pt x="235479" y="293688"/>
                </a:lnTo>
                <a:lnTo>
                  <a:pt x="238125" y="293688"/>
                </a:lnTo>
                <a:lnTo>
                  <a:pt x="246062" y="288396"/>
                </a:lnTo>
                <a:lnTo>
                  <a:pt x="267229" y="285750"/>
                </a:lnTo>
                <a:lnTo>
                  <a:pt x="269875" y="285750"/>
                </a:lnTo>
                <a:lnTo>
                  <a:pt x="272521" y="285750"/>
                </a:lnTo>
                <a:lnTo>
                  <a:pt x="272521" y="288396"/>
                </a:lnTo>
                <a:lnTo>
                  <a:pt x="275166" y="288396"/>
                </a:lnTo>
                <a:lnTo>
                  <a:pt x="277812" y="285750"/>
                </a:lnTo>
                <a:lnTo>
                  <a:pt x="275166" y="285750"/>
                </a:lnTo>
                <a:lnTo>
                  <a:pt x="275166" y="283105"/>
                </a:lnTo>
                <a:lnTo>
                  <a:pt x="275166" y="280459"/>
                </a:lnTo>
                <a:lnTo>
                  <a:pt x="280458" y="280459"/>
                </a:lnTo>
                <a:lnTo>
                  <a:pt x="283104" y="280459"/>
                </a:lnTo>
                <a:lnTo>
                  <a:pt x="283104" y="283105"/>
                </a:lnTo>
                <a:lnTo>
                  <a:pt x="285750" y="280459"/>
                </a:lnTo>
                <a:lnTo>
                  <a:pt x="291041" y="275167"/>
                </a:lnTo>
                <a:close/>
                <a:moveTo>
                  <a:pt x="669396" y="0"/>
                </a:moveTo>
                <a:lnTo>
                  <a:pt x="693208" y="0"/>
                </a:lnTo>
                <a:lnTo>
                  <a:pt x="706437" y="0"/>
                </a:lnTo>
                <a:lnTo>
                  <a:pt x="706437" y="2646"/>
                </a:lnTo>
                <a:lnTo>
                  <a:pt x="703792" y="2646"/>
                </a:lnTo>
                <a:lnTo>
                  <a:pt x="701146" y="7937"/>
                </a:lnTo>
                <a:lnTo>
                  <a:pt x="706437" y="7937"/>
                </a:lnTo>
                <a:lnTo>
                  <a:pt x="717021" y="5292"/>
                </a:lnTo>
                <a:lnTo>
                  <a:pt x="714375" y="2646"/>
                </a:lnTo>
                <a:lnTo>
                  <a:pt x="711729" y="0"/>
                </a:lnTo>
                <a:lnTo>
                  <a:pt x="714375" y="0"/>
                </a:lnTo>
                <a:lnTo>
                  <a:pt x="722312" y="0"/>
                </a:lnTo>
                <a:lnTo>
                  <a:pt x="727604" y="2646"/>
                </a:lnTo>
                <a:lnTo>
                  <a:pt x="732896" y="2646"/>
                </a:lnTo>
                <a:lnTo>
                  <a:pt x="748771" y="2646"/>
                </a:lnTo>
                <a:lnTo>
                  <a:pt x="764646" y="2646"/>
                </a:lnTo>
                <a:lnTo>
                  <a:pt x="767292" y="2646"/>
                </a:lnTo>
                <a:lnTo>
                  <a:pt x="767292" y="5292"/>
                </a:lnTo>
                <a:lnTo>
                  <a:pt x="762000" y="7937"/>
                </a:lnTo>
                <a:lnTo>
                  <a:pt x="751417" y="13229"/>
                </a:lnTo>
                <a:lnTo>
                  <a:pt x="762000" y="15875"/>
                </a:lnTo>
                <a:lnTo>
                  <a:pt x="769937" y="15875"/>
                </a:lnTo>
                <a:lnTo>
                  <a:pt x="780521" y="13229"/>
                </a:lnTo>
                <a:lnTo>
                  <a:pt x="788458" y="10583"/>
                </a:lnTo>
                <a:lnTo>
                  <a:pt x="791104" y="10583"/>
                </a:lnTo>
                <a:lnTo>
                  <a:pt x="796396" y="10583"/>
                </a:lnTo>
                <a:lnTo>
                  <a:pt x="804333" y="13229"/>
                </a:lnTo>
                <a:lnTo>
                  <a:pt x="809625" y="13229"/>
                </a:lnTo>
                <a:lnTo>
                  <a:pt x="814917" y="13229"/>
                </a:lnTo>
                <a:lnTo>
                  <a:pt x="825500" y="13229"/>
                </a:lnTo>
                <a:lnTo>
                  <a:pt x="833437" y="13229"/>
                </a:lnTo>
                <a:lnTo>
                  <a:pt x="844021" y="13229"/>
                </a:lnTo>
                <a:lnTo>
                  <a:pt x="859896" y="13229"/>
                </a:lnTo>
                <a:lnTo>
                  <a:pt x="889000" y="23812"/>
                </a:lnTo>
                <a:lnTo>
                  <a:pt x="891646" y="18521"/>
                </a:lnTo>
                <a:lnTo>
                  <a:pt x="894291" y="13229"/>
                </a:lnTo>
                <a:lnTo>
                  <a:pt x="899583" y="10583"/>
                </a:lnTo>
                <a:lnTo>
                  <a:pt x="902229" y="10583"/>
                </a:lnTo>
                <a:lnTo>
                  <a:pt x="907521" y="10583"/>
                </a:lnTo>
                <a:lnTo>
                  <a:pt x="912812" y="13229"/>
                </a:lnTo>
                <a:lnTo>
                  <a:pt x="915458" y="18521"/>
                </a:lnTo>
                <a:lnTo>
                  <a:pt x="920750" y="18521"/>
                </a:lnTo>
                <a:lnTo>
                  <a:pt x="928687" y="18521"/>
                </a:lnTo>
                <a:lnTo>
                  <a:pt x="939271" y="21167"/>
                </a:lnTo>
                <a:lnTo>
                  <a:pt x="941916" y="21167"/>
                </a:lnTo>
                <a:lnTo>
                  <a:pt x="947208" y="26458"/>
                </a:lnTo>
                <a:lnTo>
                  <a:pt x="886354" y="60854"/>
                </a:lnTo>
                <a:lnTo>
                  <a:pt x="817562" y="103188"/>
                </a:lnTo>
                <a:lnTo>
                  <a:pt x="738187" y="156104"/>
                </a:lnTo>
                <a:lnTo>
                  <a:pt x="695854" y="185209"/>
                </a:lnTo>
                <a:lnTo>
                  <a:pt x="653521" y="216959"/>
                </a:lnTo>
                <a:lnTo>
                  <a:pt x="661458" y="216959"/>
                </a:lnTo>
                <a:lnTo>
                  <a:pt x="669396" y="216959"/>
                </a:lnTo>
                <a:lnTo>
                  <a:pt x="677333" y="219604"/>
                </a:lnTo>
                <a:lnTo>
                  <a:pt x="679979" y="219604"/>
                </a:lnTo>
                <a:lnTo>
                  <a:pt x="685271" y="219604"/>
                </a:lnTo>
                <a:lnTo>
                  <a:pt x="687917" y="219604"/>
                </a:lnTo>
                <a:lnTo>
                  <a:pt x="690562" y="230188"/>
                </a:lnTo>
                <a:lnTo>
                  <a:pt x="695854" y="235479"/>
                </a:lnTo>
                <a:lnTo>
                  <a:pt x="701146" y="238125"/>
                </a:lnTo>
                <a:lnTo>
                  <a:pt x="711729" y="238125"/>
                </a:lnTo>
                <a:lnTo>
                  <a:pt x="717021" y="235479"/>
                </a:lnTo>
                <a:lnTo>
                  <a:pt x="722312" y="232834"/>
                </a:lnTo>
                <a:lnTo>
                  <a:pt x="730250" y="232834"/>
                </a:lnTo>
                <a:lnTo>
                  <a:pt x="738187" y="232834"/>
                </a:lnTo>
                <a:lnTo>
                  <a:pt x="738187" y="230188"/>
                </a:lnTo>
                <a:lnTo>
                  <a:pt x="740833" y="227542"/>
                </a:lnTo>
                <a:lnTo>
                  <a:pt x="748771" y="224896"/>
                </a:lnTo>
                <a:lnTo>
                  <a:pt x="764646" y="224896"/>
                </a:lnTo>
                <a:lnTo>
                  <a:pt x="759354" y="230188"/>
                </a:lnTo>
                <a:lnTo>
                  <a:pt x="759354" y="232834"/>
                </a:lnTo>
                <a:lnTo>
                  <a:pt x="759354" y="238125"/>
                </a:lnTo>
                <a:lnTo>
                  <a:pt x="762000" y="254000"/>
                </a:lnTo>
                <a:lnTo>
                  <a:pt x="762000" y="272521"/>
                </a:lnTo>
                <a:lnTo>
                  <a:pt x="762000" y="280459"/>
                </a:lnTo>
                <a:lnTo>
                  <a:pt x="759354" y="288396"/>
                </a:lnTo>
                <a:lnTo>
                  <a:pt x="759354" y="293688"/>
                </a:lnTo>
                <a:lnTo>
                  <a:pt x="762000" y="293688"/>
                </a:lnTo>
                <a:lnTo>
                  <a:pt x="762000" y="296334"/>
                </a:lnTo>
                <a:lnTo>
                  <a:pt x="759354" y="298980"/>
                </a:lnTo>
                <a:lnTo>
                  <a:pt x="759354" y="301625"/>
                </a:lnTo>
                <a:lnTo>
                  <a:pt x="759354" y="304271"/>
                </a:lnTo>
                <a:lnTo>
                  <a:pt x="764646" y="309563"/>
                </a:lnTo>
                <a:lnTo>
                  <a:pt x="769937" y="314855"/>
                </a:lnTo>
                <a:lnTo>
                  <a:pt x="769937" y="317500"/>
                </a:lnTo>
                <a:lnTo>
                  <a:pt x="767292" y="320146"/>
                </a:lnTo>
                <a:lnTo>
                  <a:pt x="762000" y="325438"/>
                </a:lnTo>
                <a:lnTo>
                  <a:pt x="759354" y="328084"/>
                </a:lnTo>
                <a:lnTo>
                  <a:pt x="756708" y="333375"/>
                </a:lnTo>
                <a:lnTo>
                  <a:pt x="748771" y="336021"/>
                </a:lnTo>
                <a:lnTo>
                  <a:pt x="751417" y="328084"/>
                </a:lnTo>
                <a:lnTo>
                  <a:pt x="754062" y="322792"/>
                </a:lnTo>
                <a:lnTo>
                  <a:pt x="751417" y="320146"/>
                </a:lnTo>
                <a:lnTo>
                  <a:pt x="748771" y="320146"/>
                </a:lnTo>
                <a:lnTo>
                  <a:pt x="746125" y="320146"/>
                </a:lnTo>
                <a:lnTo>
                  <a:pt x="746125" y="317500"/>
                </a:lnTo>
                <a:lnTo>
                  <a:pt x="746125" y="312209"/>
                </a:lnTo>
                <a:lnTo>
                  <a:pt x="748771" y="306917"/>
                </a:lnTo>
                <a:lnTo>
                  <a:pt x="751417" y="304271"/>
                </a:lnTo>
                <a:lnTo>
                  <a:pt x="751417" y="301625"/>
                </a:lnTo>
                <a:lnTo>
                  <a:pt x="746125" y="296334"/>
                </a:lnTo>
                <a:lnTo>
                  <a:pt x="743479" y="291042"/>
                </a:lnTo>
                <a:lnTo>
                  <a:pt x="746125" y="288396"/>
                </a:lnTo>
                <a:lnTo>
                  <a:pt x="748771" y="280459"/>
                </a:lnTo>
                <a:lnTo>
                  <a:pt x="748771" y="275167"/>
                </a:lnTo>
                <a:lnTo>
                  <a:pt x="746125" y="269875"/>
                </a:lnTo>
                <a:lnTo>
                  <a:pt x="743479" y="259292"/>
                </a:lnTo>
                <a:lnTo>
                  <a:pt x="746125" y="256646"/>
                </a:lnTo>
                <a:lnTo>
                  <a:pt x="748771" y="251354"/>
                </a:lnTo>
                <a:lnTo>
                  <a:pt x="754062" y="240771"/>
                </a:lnTo>
                <a:lnTo>
                  <a:pt x="751417" y="238125"/>
                </a:lnTo>
                <a:lnTo>
                  <a:pt x="743479" y="240771"/>
                </a:lnTo>
                <a:lnTo>
                  <a:pt x="732896" y="248709"/>
                </a:lnTo>
                <a:lnTo>
                  <a:pt x="727604" y="254000"/>
                </a:lnTo>
                <a:lnTo>
                  <a:pt x="724958" y="256646"/>
                </a:lnTo>
                <a:lnTo>
                  <a:pt x="719667" y="254000"/>
                </a:lnTo>
                <a:lnTo>
                  <a:pt x="719667" y="251354"/>
                </a:lnTo>
                <a:lnTo>
                  <a:pt x="717021" y="248709"/>
                </a:lnTo>
                <a:lnTo>
                  <a:pt x="714375" y="246063"/>
                </a:lnTo>
                <a:lnTo>
                  <a:pt x="709083" y="248709"/>
                </a:lnTo>
                <a:lnTo>
                  <a:pt x="701146" y="251354"/>
                </a:lnTo>
                <a:lnTo>
                  <a:pt x="693208" y="256646"/>
                </a:lnTo>
                <a:lnTo>
                  <a:pt x="687917" y="254000"/>
                </a:lnTo>
                <a:lnTo>
                  <a:pt x="682625" y="251354"/>
                </a:lnTo>
                <a:lnTo>
                  <a:pt x="682625" y="248709"/>
                </a:lnTo>
                <a:lnTo>
                  <a:pt x="685271" y="246063"/>
                </a:lnTo>
                <a:lnTo>
                  <a:pt x="687917" y="243417"/>
                </a:lnTo>
                <a:lnTo>
                  <a:pt x="685271" y="243417"/>
                </a:lnTo>
                <a:lnTo>
                  <a:pt x="682625" y="240771"/>
                </a:lnTo>
                <a:lnTo>
                  <a:pt x="677333" y="235479"/>
                </a:lnTo>
                <a:lnTo>
                  <a:pt x="679979" y="230188"/>
                </a:lnTo>
                <a:lnTo>
                  <a:pt x="682625" y="227542"/>
                </a:lnTo>
                <a:lnTo>
                  <a:pt x="674687" y="227542"/>
                </a:lnTo>
                <a:lnTo>
                  <a:pt x="650875" y="230188"/>
                </a:lnTo>
                <a:lnTo>
                  <a:pt x="629708" y="227542"/>
                </a:lnTo>
                <a:lnTo>
                  <a:pt x="616479" y="222250"/>
                </a:lnTo>
                <a:lnTo>
                  <a:pt x="605896" y="219604"/>
                </a:lnTo>
                <a:lnTo>
                  <a:pt x="587375" y="222250"/>
                </a:lnTo>
                <a:lnTo>
                  <a:pt x="568854" y="222250"/>
                </a:lnTo>
                <a:lnTo>
                  <a:pt x="560916" y="219604"/>
                </a:lnTo>
                <a:lnTo>
                  <a:pt x="558271" y="216959"/>
                </a:lnTo>
                <a:lnTo>
                  <a:pt x="550333" y="214313"/>
                </a:lnTo>
                <a:lnTo>
                  <a:pt x="542396" y="214313"/>
                </a:lnTo>
                <a:lnTo>
                  <a:pt x="539750" y="211667"/>
                </a:lnTo>
                <a:lnTo>
                  <a:pt x="539750" y="209021"/>
                </a:lnTo>
                <a:lnTo>
                  <a:pt x="542396" y="206375"/>
                </a:lnTo>
                <a:lnTo>
                  <a:pt x="550333" y="201084"/>
                </a:lnTo>
                <a:lnTo>
                  <a:pt x="545041" y="201084"/>
                </a:lnTo>
                <a:lnTo>
                  <a:pt x="539750" y="198438"/>
                </a:lnTo>
                <a:lnTo>
                  <a:pt x="537104" y="198438"/>
                </a:lnTo>
                <a:lnTo>
                  <a:pt x="531812" y="190500"/>
                </a:lnTo>
                <a:lnTo>
                  <a:pt x="529166" y="187854"/>
                </a:lnTo>
                <a:lnTo>
                  <a:pt x="526521" y="185209"/>
                </a:lnTo>
                <a:lnTo>
                  <a:pt x="523875" y="187854"/>
                </a:lnTo>
                <a:lnTo>
                  <a:pt x="508000" y="193146"/>
                </a:lnTo>
                <a:lnTo>
                  <a:pt x="497416" y="193146"/>
                </a:lnTo>
                <a:lnTo>
                  <a:pt x="489479" y="195792"/>
                </a:lnTo>
                <a:lnTo>
                  <a:pt x="484187" y="198438"/>
                </a:lnTo>
                <a:lnTo>
                  <a:pt x="481541" y="203729"/>
                </a:lnTo>
                <a:lnTo>
                  <a:pt x="481541" y="209021"/>
                </a:lnTo>
                <a:lnTo>
                  <a:pt x="481541" y="211667"/>
                </a:lnTo>
                <a:lnTo>
                  <a:pt x="481541" y="214313"/>
                </a:lnTo>
                <a:lnTo>
                  <a:pt x="486833" y="214313"/>
                </a:lnTo>
                <a:lnTo>
                  <a:pt x="500062" y="214313"/>
                </a:lnTo>
                <a:lnTo>
                  <a:pt x="518583" y="211667"/>
                </a:lnTo>
                <a:lnTo>
                  <a:pt x="505354" y="219604"/>
                </a:lnTo>
                <a:lnTo>
                  <a:pt x="494771" y="222250"/>
                </a:lnTo>
                <a:lnTo>
                  <a:pt x="481541" y="222250"/>
                </a:lnTo>
                <a:lnTo>
                  <a:pt x="473604" y="222250"/>
                </a:lnTo>
                <a:lnTo>
                  <a:pt x="468312" y="222250"/>
                </a:lnTo>
                <a:lnTo>
                  <a:pt x="463021" y="224896"/>
                </a:lnTo>
                <a:lnTo>
                  <a:pt x="460375" y="224896"/>
                </a:lnTo>
                <a:lnTo>
                  <a:pt x="452437" y="224896"/>
                </a:lnTo>
                <a:lnTo>
                  <a:pt x="441854" y="227542"/>
                </a:lnTo>
                <a:lnTo>
                  <a:pt x="425979" y="235479"/>
                </a:lnTo>
                <a:lnTo>
                  <a:pt x="412750" y="238125"/>
                </a:lnTo>
                <a:lnTo>
                  <a:pt x="402166" y="238125"/>
                </a:lnTo>
                <a:lnTo>
                  <a:pt x="402166" y="235479"/>
                </a:lnTo>
                <a:lnTo>
                  <a:pt x="399521" y="232834"/>
                </a:lnTo>
                <a:lnTo>
                  <a:pt x="402166" y="230188"/>
                </a:lnTo>
                <a:lnTo>
                  <a:pt x="404812" y="227542"/>
                </a:lnTo>
                <a:lnTo>
                  <a:pt x="418041" y="227542"/>
                </a:lnTo>
                <a:lnTo>
                  <a:pt x="428625" y="224896"/>
                </a:lnTo>
                <a:lnTo>
                  <a:pt x="433916" y="222250"/>
                </a:lnTo>
                <a:lnTo>
                  <a:pt x="439208" y="216959"/>
                </a:lnTo>
                <a:lnTo>
                  <a:pt x="412750" y="222250"/>
                </a:lnTo>
                <a:lnTo>
                  <a:pt x="404812" y="222250"/>
                </a:lnTo>
                <a:lnTo>
                  <a:pt x="404812" y="219604"/>
                </a:lnTo>
                <a:lnTo>
                  <a:pt x="407458" y="216959"/>
                </a:lnTo>
                <a:lnTo>
                  <a:pt x="415396" y="209021"/>
                </a:lnTo>
                <a:lnTo>
                  <a:pt x="431271" y="198438"/>
                </a:lnTo>
                <a:lnTo>
                  <a:pt x="447146" y="190500"/>
                </a:lnTo>
                <a:lnTo>
                  <a:pt x="457729" y="187854"/>
                </a:lnTo>
                <a:lnTo>
                  <a:pt x="465666" y="187854"/>
                </a:lnTo>
                <a:lnTo>
                  <a:pt x="457729" y="185209"/>
                </a:lnTo>
                <a:lnTo>
                  <a:pt x="457729" y="179917"/>
                </a:lnTo>
                <a:lnTo>
                  <a:pt x="460375" y="174625"/>
                </a:lnTo>
                <a:lnTo>
                  <a:pt x="468312" y="166688"/>
                </a:lnTo>
                <a:lnTo>
                  <a:pt x="444500" y="182563"/>
                </a:lnTo>
                <a:lnTo>
                  <a:pt x="428625" y="190500"/>
                </a:lnTo>
                <a:lnTo>
                  <a:pt x="418041" y="193146"/>
                </a:lnTo>
                <a:lnTo>
                  <a:pt x="402166" y="193146"/>
                </a:lnTo>
                <a:lnTo>
                  <a:pt x="399521" y="193146"/>
                </a:lnTo>
                <a:lnTo>
                  <a:pt x="412750" y="195792"/>
                </a:lnTo>
                <a:lnTo>
                  <a:pt x="418041" y="198438"/>
                </a:lnTo>
                <a:lnTo>
                  <a:pt x="415396" y="201084"/>
                </a:lnTo>
                <a:lnTo>
                  <a:pt x="407458" y="203729"/>
                </a:lnTo>
                <a:lnTo>
                  <a:pt x="386292" y="206375"/>
                </a:lnTo>
                <a:lnTo>
                  <a:pt x="381000" y="209021"/>
                </a:lnTo>
                <a:lnTo>
                  <a:pt x="383646" y="209021"/>
                </a:lnTo>
                <a:lnTo>
                  <a:pt x="391583" y="214313"/>
                </a:lnTo>
                <a:lnTo>
                  <a:pt x="396875" y="216959"/>
                </a:lnTo>
                <a:lnTo>
                  <a:pt x="396875" y="219604"/>
                </a:lnTo>
                <a:lnTo>
                  <a:pt x="388937" y="222250"/>
                </a:lnTo>
                <a:lnTo>
                  <a:pt x="373062" y="224896"/>
                </a:lnTo>
                <a:lnTo>
                  <a:pt x="349250" y="227542"/>
                </a:lnTo>
                <a:lnTo>
                  <a:pt x="336021" y="230188"/>
                </a:lnTo>
                <a:lnTo>
                  <a:pt x="325437" y="230188"/>
                </a:lnTo>
                <a:lnTo>
                  <a:pt x="320146" y="232834"/>
                </a:lnTo>
                <a:lnTo>
                  <a:pt x="317500" y="235479"/>
                </a:lnTo>
                <a:lnTo>
                  <a:pt x="320146" y="235479"/>
                </a:lnTo>
                <a:lnTo>
                  <a:pt x="336021" y="235479"/>
                </a:lnTo>
                <a:lnTo>
                  <a:pt x="346604" y="238125"/>
                </a:lnTo>
                <a:lnTo>
                  <a:pt x="349250" y="240771"/>
                </a:lnTo>
                <a:lnTo>
                  <a:pt x="343958" y="246063"/>
                </a:lnTo>
                <a:lnTo>
                  <a:pt x="338667" y="248709"/>
                </a:lnTo>
                <a:lnTo>
                  <a:pt x="336021" y="248709"/>
                </a:lnTo>
                <a:lnTo>
                  <a:pt x="328083" y="248709"/>
                </a:lnTo>
                <a:lnTo>
                  <a:pt x="322792" y="248709"/>
                </a:lnTo>
                <a:lnTo>
                  <a:pt x="320146" y="248709"/>
                </a:lnTo>
                <a:lnTo>
                  <a:pt x="322792" y="251354"/>
                </a:lnTo>
                <a:lnTo>
                  <a:pt x="320146" y="254000"/>
                </a:lnTo>
                <a:lnTo>
                  <a:pt x="320146" y="256646"/>
                </a:lnTo>
                <a:lnTo>
                  <a:pt x="312208" y="256646"/>
                </a:lnTo>
                <a:lnTo>
                  <a:pt x="304271" y="256646"/>
                </a:lnTo>
                <a:lnTo>
                  <a:pt x="301625" y="256646"/>
                </a:lnTo>
                <a:lnTo>
                  <a:pt x="301625" y="259292"/>
                </a:lnTo>
                <a:lnTo>
                  <a:pt x="298979" y="261938"/>
                </a:lnTo>
                <a:lnTo>
                  <a:pt x="288396" y="264584"/>
                </a:lnTo>
                <a:lnTo>
                  <a:pt x="277812" y="267229"/>
                </a:lnTo>
                <a:lnTo>
                  <a:pt x="272521" y="272521"/>
                </a:lnTo>
                <a:lnTo>
                  <a:pt x="269875" y="275167"/>
                </a:lnTo>
                <a:lnTo>
                  <a:pt x="267229" y="275167"/>
                </a:lnTo>
                <a:lnTo>
                  <a:pt x="256646" y="277813"/>
                </a:lnTo>
                <a:lnTo>
                  <a:pt x="246062" y="277813"/>
                </a:lnTo>
                <a:lnTo>
                  <a:pt x="243417" y="280459"/>
                </a:lnTo>
                <a:lnTo>
                  <a:pt x="238125" y="283104"/>
                </a:lnTo>
                <a:lnTo>
                  <a:pt x="238125" y="285750"/>
                </a:lnTo>
                <a:lnTo>
                  <a:pt x="235479" y="285750"/>
                </a:lnTo>
                <a:lnTo>
                  <a:pt x="230187" y="285750"/>
                </a:lnTo>
                <a:lnTo>
                  <a:pt x="224896" y="285750"/>
                </a:lnTo>
                <a:lnTo>
                  <a:pt x="222250" y="288396"/>
                </a:lnTo>
                <a:lnTo>
                  <a:pt x="222250" y="293688"/>
                </a:lnTo>
                <a:lnTo>
                  <a:pt x="216958" y="296334"/>
                </a:lnTo>
                <a:lnTo>
                  <a:pt x="206375" y="296334"/>
                </a:lnTo>
                <a:lnTo>
                  <a:pt x="195792" y="296334"/>
                </a:lnTo>
                <a:lnTo>
                  <a:pt x="190500" y="298980"/>
                </a:lnTo>
                <a:lnTo>
                  <a:pt x="187854" y="301625"/>
                </a:lnTo>
                <a:lnTo>
                  <a:pt x="185208" y="304271"/>
                </a:lnTo>
                <a:lnTo>
                  <a:pt x="179917" y="306917"/>
                </a:lnTo>
                <a:lnTo>
                  <a:pt x="171979" y="306917"/>
                </a:lnTo>
                <a:lnTo>
                  <a:pt x="161396" y="306917"/>
                </a:lnTo>
                <a:lnTo>
                  <a:pt x="156104" y="306917"/>
                </a:lnTo>
                <a:lnTo>
                  <a:pt x="148167" y="309563"/>
                </a:lnTo>
                <a:lnTo>
                  <a:pt x="137583" y="314855"/>
                </a:lnTo>
                <a:lnTo>
                  <a:pt x="132292" y="317500"/>
                </a:lnTo>
                <a:lnTo>
                  <a:pt x="116417" y="320146"/>
                </a:lnTo>
                <a:lnTo>
                  <a:pt x="103187" y="322792"/>
                </a:lnTo>
                <a:lnTo>
                  <a:pt x="97896" y="322792"/>
                </a:lnTo>
                <a:lnTo>
                  <a:pt x="89958" y="322792"/>
                </a:lnTo>
                <a:lnTo>
                  <a:pt x="79375" y="325438"/>
                </a:lnTo>
                <a:lnTo>
                  <a:pt x="55562" y="333375"/>
                </a:lnTo>
                <a:lnTo>
                  <a:pt x="29104" y="336021"/>
                </a:lnTo>
                <a:lnTo>
                  <a:pt x="5292" y="341313"/>
                </a:lnTo>
                <a:lnTo>
                  <a:pt x="0" y="338667"/>
                </a:lnTo>
                <a:lnTo>
                  <a:pt x="2646" y="333375"/>
                </a:lnTo>
                <a:lnTo>
                  <a:pt x="7937" y="330730"/>
                </a:lnTo>
                <a:lnTo>
                  <a:pt x="18521" y="325438"/>
                </a:lnTo>
                <a:lnTo>
                  <a:pt x="42333" y="320146"/>
                </a:lnTo>
                <a:lnTo>
                  <a:pt x="63500" y="317500"/>
                </a:lnTo>
                <a:lnTo>
                  <a:pt x="71437" y="314855"/>
                </a:lnTo>
                <a:lnTo>
                  <a:pt x="71437" y="312209"/>
                </a:lnTo>
                <a:lnTo>
                  <a:pt x="79375" y="320146"/>
                </a:lnTo>
                <a:lnTo>
                  <a:pt x="84667" y="320146"/>
                </a:lnTo>
                <a:lnTo>
                  <a:pt x="87312" y="314855"/>
                </a:lnTo>
                <a:lnTo>
                  <a:pt x="87312" y="312209"/>
                </a:lnTo>
                <a:lnTo>
                  <a:pt x="95250" y="309563"/>
                </a:lnTo>
                <a:lnTo>
                  <a:pt x="129646" y="301625"/>
                </a:lnTo>
                <a:lnTo>
                  <a:pt x="148167" y="296334"/>
                </a:lnTo>
                <a:lnTo>
                  <a:pt x="156104" y="291042"/>
                </a:lnTo>
                <a:lnTo>
                  <a:pt x="161396" y="285750"/>
                </a:lnTo>
                <a:lnTo>
                  <a:pt x="177271" y="280459"/>
                </a:lnTo>
                <a:lnTo>
                  <a:pt x="201083" y="275167"/>
                </a:lnTo>
                <a:lnTo>
                  <a:pt x="216958" y="267229"/>
                </a:lnTo>
                <a:lnTo>
                  <a:pt x="243417" y="256646"/>
                </a:lnTo>
                <a:lnTo>
                  <a:pt x="248708" y="251354"/>
                </a:lnTo>
                <a:lnTo>
                  <a:pt x="254000" y="246063"/>
                </a:lnTo>
                <a:lnTo>
                  <a:pt x="240771" y="254000"/>
                </a:lnTo>
                <a:lnTo>
                  <a:pt x="232833" y="256646"/>
                </a:lnTo>
                <a:lnTo>
                  <a:pt x="224896" y="256646"/>
                </a:lnTo>
                <a:lnTo>
                  <a:pt x="222250" y="254000"/>
                </a:lnTo>
                <a:lnTo>
                  <a:pt x="216958" y="251354"/>
                </a:lnTo>
                <a:lnTo>
                  <a:pt x="214312" y="251354"/>
                </a:lnTo>
                <a:lnTo>
                  <a:pt x="214312" y="254000"/>
                </a:lnTo>
                <a:lnTo>
                  <a:pt x="211667" y="259292"/>
                </a:lnTo>
                <a:lnTo>
                  <a:pt x="209021" y="259292"/>
                </a:lnTo>
                <a:lnTo>
                  <a:pt x="203729" y="256646"/>
                </a:lnTo>
                <a:lnTo>
                  <a:pt x="195792" y="254000"/>
                </a:lnTo>
                <a:lnTo>
                  <a:pt x="193146" y="251354"/>
                </a:lnTo>
                <a:lnTo>
                  <a:pt x="190500" y="251354"/>
                </a:lnTo>
                <a:lnTo>
                  <a:pt x="187854" y="251354"/>
                </a:lnTo>
                <a:lnTo>
                  <a:pt x="185208" y="248709"/>
                </a:lnTo>
                <a:lnTo>
                  <a:pt x="179917" y="246063"/>
                </a:lnTo>
                <a:lnTo>
                  <a:pt x="166687" y="248709"/>
                </a:lnTo>
                <a:lnTo>
                  <a:pt x="153458" y="254000"/>
                </a:lnTo>
                <a:lnTo>
                  <a:pt x="153458" y="251354"/>
                </a:lnTo>
                <a:lnTo>
                  <a:pt x="156104" y="246063"/>
                </a:lnTo>
                <a:lnTo>
                  <a:pt x="164042" y="240771"/>
                </a:lnTo>
                <a:lnTo>
                  <a:pt x="177271" y="235479"/>
                </a:lnTo>
                <a:lnTo>
                  <a:pt x="182562" y="232834"/>
                </a:lnTo>
                <a:lnTo>
                  <a:pt x="179917" y="227542"/>
                </a:lnTo>
                <a:lnTo>
                  <a:pt x="177271" y="227542"/>
                </a:lnTo>
                <a:lnTo>
                  <a:pt x="179917" y="224896"/>
                </a:lnTo>
                <a:lnTo>
                  <a:pt x="185208" y="219604"/>
                </a:lnTo>
                <a:lnTo>
                  <a:pt x="209021" y="211667"/>
                </a:lnTo>
                <a:lnTo>
                  <a:pt x="198437" y="211667"/>
                </a:lnTo>
                <a:lnTo>
                  <a:pt x="187854" y="211667"/>
                </a:lnTo>
                <a:lnTo>
                  <a:pt x="177271" y="216959"/>
                </a:lnTo>
                <a:lnTo>
                  <a:pt x="171979" y="222250"/>
                </a:lnTo>
                <a:lnTo>
                  <a:pt x="166687" y="224896"/>
                </a:lnTo>
                <a:lnTo>
                  <a:pt x="156104" y="227542"/>
                </a:lnTo>
                <a:lnTo>
                  <a:pt x="145521" y="224896"/>
                </a:lnTo>
                <a:lnTo>
                  <a:pt x="142875" y="222250"/>
                </a:lnTo>
                <a:lnTo>
                  <a:pt x="140229" y="216959"/>
                </a:lnTo>
                <a:lnTo>
                  <a:pt x="137583" y="214313"/>
                </a:lnTo>
                <a:lnTo>
                  <a:pt x="134937" y="214313"/>
                </a:lnTo>
                <a:lnTo>
                  <a:pt x="142875" y="209021"/>
                </a:lnTo>
                <a:lnTo>
                  <a:pt x="150812" y="206375"/>
                </a:lnTo>
                <a:lnTo>
                  <a:pt x="153458" y="206375"/>
                </a:lnTo>
                <a:lnTo>
                  <a:pt x="156104" y="209021"/>
                </a:lnTo>
                <a:lnTo>
                  <a:pt x="156104" y="206375"/>
                </a:lnTo>
                <a:lnTo>
                  <a:pt x="156104" y="203729"/>
                </a:lnTo>
                <a:lnTo>
                  <a:pt x="150812" y="203729"/>
                </a:lnTo>
                <a:lnTo>
                  <a:pt x="142875" y="206375"/>
                </a:lnTo>
                <a:lnTo>
                  <a:pt x="132292" y="211667"/>
                </a:lnTo>
                <a:lnTo>
                  <a:pt x="129646" y="211667"/>
                </a:lnTo>
                <a:lnTo>
                  <a:pt x="129646" y="206375"/>
                </a:lnTo>
                <a:lnTo>
                  <a:pt x="129646" y="203729"/>
                </a:lnTo>
                <a:lnTo>
                  <a:pt x="132292" y="198438"/>
                </a:lnTo>
                <a:lnTo>
                  <a:pt x="137583" y="195792"/>
                </a:lnTo>
                <a:lnTo>
                  <a:pt x="148167" y="193146"/>
                </a:lnTo>
                <a:lnTo>
                  <a:pt x="156104" y="193146"/>
                </a:lnTo>
                <a:lnTo>
                  <a:pt x="156104" y="190500"/>
                </a:lnTo>
                <a:lnTo>
                  <a:pt x="140229" y="190500"/>
                </a:lnTo>
                <a:lnTo>
                  <a:pt x="134937" y="190500"/>
                </a:lnTo>
                <a:lnTo>
                  <a:pt x="137583" y="187854"/>
                </a:lnTo>
                <a:lnTo>
                  <a:pt x="137583" y="185209"/>
                </a:lnTo>
                <a:lnTo>
                  <a:pt x="134937" y="185209"/>
                </a:lnTo>
                <a:lnTo>
                  <a:pt x="134937" y="182563"/>
                </a:lnTo>
                <a:lnTo>
                  <a:pt x="134937" y="179917"/>
                </a:lnTo>
                <a:lnTo>
                  <a:pt x="140229" y="177271"/>
                </a:lnTo>
                <a:lnTo>
                  <a:pt x="145521" y="174625"/>
                </a:lnTo>
                <a:lnTo>
                  <a:pt x="148167" y="174625"/>
                </a:lnTo>
                <a:lnTo>
                  <a:pt x="150812" y="174625"/>
                </a:lnTo>
                <a:lnTo>
                  <a:pt x="153458" y="177271"/>
                </a:lnTo>
                <a:lnTo>
                  <a:pt x="156104" y="177271"/>
                </a:lnTo>
                <a:lnTo>
                  <a:pt x="161396" y="174625"/>
                </a:lnTo>
                <a:lnTo>
                  <a:pt x="171979" y="169334"/>
                </a:lnTo>
                <a:lnTo>
                  <a:pt x="187854" y="164042"/>
                </a:lnTo>
                <a:lnTo>
                  <a:pt x="193146" y="161396"/>
                </a:lnTo>
                <a:lnTo>
                  <a:pt x="190500" y="161396"/>
                </a:lnTo>
                <a:lnTo>
                  <a:pt x="187854" y="158750"/>
                </a:lnTo>
                <a:lnTo>
                  <a:pt x="198437" y="156104"/>
                </a:lnTo>
                <a:lnTo>
                  <a:pt x="211667" y="156104"/>
                </a:lnTo>
                <a:lnTo>
                  <a:pt x="216958" y="158750"/>
                </a:lnTo>
                <a:lnTo>
                  <a:pt x="219604" y="161396"/>
                </a:lnTo>
                <a:lnTo>
                  <a:pt x="224896" y="161396"/>
                </a:lnTo>
                <a:lnTo>
                  <a:pt x="232833" y="158750"/>
                </a:lnTo>
                <a:lnTo>
                  <a:pt x="246062" y="161396"/>
                </a:lnTo>
                <a:lnTo>
                  <a:pt x="254000" y="161396"/>
                </a:lnTo>
                <a:lnTo>
                  <a:pt x="256646" y="161396"/>
                </a:lnTo>
                <a:lnTo>
                  <a:pt x="256646" y="158750"/>
                </a:lnTo>
                <a:lnTo>
                  <a:pt x="256646" y="156104"/>
                </a:lnTo>
                <a:lnTo>
                  <a:pt x="259292" y="156104"/>
                </a:lnTo>
                <a:lnTo>
                  <a:pt x="267229" y="153458"/>
                </a:lnTo>
                <a:lnTo>
                  <a:pt x="275167" y="153458"/>
                </a:lnTo>
                <a:lnTo>
                  <a:pt x="280458" y="156104"/>
                </a:lnTo>
                <a:lnTo>
                  <a:pt x="283104" y="158750"/>
                </a:lnTo>
                <a:lnTo>
                  <a:pt x="285750" y="158750"/>
                </a:lnTo>
                <a:lnTo>
                  <a:pt x="291042" y="156104"/>
                </a:lnTo>
                <a:lnTo>
                  <a:pt x="293687" y="156104"/>
                </a:lnTo>
                <a:lnTo>
                  <a:pt x="301625" y="156104"/>
                </a:lnTo>
                <a:lnTo>
                  <a:pt x="306917" y="153458"/>
                </a:lnTo>
                <a:lnTo>
                  <a:pt x="306917" y="150813"/>
                </a:lnTo>
                <a:lnTo>
                  <a:pt x="309562" y="145521"/>
                </a:lnTo>
                <a:lnTo>
                  <a:pt x="309562" y="140229"/>
                </a:lnTo>
                <a:lnTo>
                  <a:pt x="312208" y="137583"/>
                </a:lnTo>
                <a:lnTo>
                  <a:pt x="314854" y="137583"/>
                </a:lnTo>
                <a:lnTo>
                  <a:pt x="322792" y="140229"/>
                </a:lnTo>
                <a:lnTo>
                  <a:pt x="330729" y="142875"/>
                </a:lnTo>
                <a:lnTo>
                  <a:pt x="338667" y="142875"/>
                </a:lnTo>
                <a:lnTo>
                  <a:pt x="351896" y="137583"/>
                </a:lnTo>
                <a:lnTo>
                  <a:pt x="362479" y="132292"/>
                </a:lnTo>
                <a:lnTo>
                  <a:pt x="367771" y="127000"/>
                </a:lnTo>
                <a:lnTo>
                  <a:pt x="367771" y="124354"/>
                </a:lnTo>
                <a:lnTo>
                  <a:pt x="365125" y="124354"/>
                </a:lnTo>
                <a:lnTo>
                  <a:pt x="354542" y="121708"/>
                </a:lnTo>
                <a:lnTo>
                  <a:pt x="341312" y="121708"/>
                </a:lnTo>
                <a:lnTo>
                  <a:pt x="336021" y="124354"/>
                </a:lnTo>
                <a:lnTo>
                  <a:pt x="333375" y="127000"/>
                </a:lnTo>
                <a:lnTo>
                  <a:pt x="330729" y="129646"/>
                </a:lnTo>
                <a:lnTo>
                  <a:pt x="328083" y="129646"/>
                </a:lnTo>
                <a:lnTo>
                  <a:pt x="320146" y="127000"/>
                </a:lnTo>
                <a:lnTo>
                  <a:pt x="306917" y="124354"/>
                </a:lnTo>
                <a:lnTo>
                  <a:pt x="288396" y="127000"/>
                </a:lnTo>
                <a:lnTo>
                  <a:pt x="277812" y="124354"/>
                </a:lnTo>
                <a:lnTo>
                  <a:pt x="269875" y="121708"/>
                </a:lnTo>
                <a:lnTo>
                  <a:pt x="267229" y="119063"/>
                </a:lnTo>
                <a:lnTo>
                  <a:pt x="261937" y="113771"/>
                </a:lnTo>
                <a:lnTo>
                  <a:pt x="256646" y="113771"/>
                </a:lnTo>
                <a:lnTo>
                  <a:pt x="256646" y="111125"/>
                </a:lnTo>
                <a:lnTo>
                  <a:pt x="267229" y="111125"/>
                </a:lnTo>
                <a:lnTo>
                  <a:pt x="272521" y="111125"/>
                </a:lnTo>
                <a:lnTo>
                  <a:pt x="254000" y="105833"/>
                </a:lnTo>
                <a:lnTo>
                  <a:pt x="243417" y="100542"/>
                </a:lnTo>
                <a:lnTo>
                  <a:pt x="240771" y="97896"/>
                </a:lnTo>
                <a:lnTo>
                  <a:pt x="240771" y="95250"/>
                </a:lnTo>
                <a:lnTo>
                  <a:pt x="243417" y="92604"/>
                </a:lnTo>
                <a:lnTo>
                  <a:pt x="254000" y="92604"/>
                </a:lnTo>
                <a:lnTo>
                  <a:pt x="264583" y="95250"/>
                </a:lnTo>
                <a:lnTo>
                  <a:pt x="272521" y="92604"/>
                </a:lnTo>
                <a:lnTo>
                  <a:pt x="283104" y="92604"/>
                </a:lnTo>
                <a:lnTo>
                  <a:pt x="301625" y="92604"/>
                </a:lnTo>
                <a:lnTo>
                  <a:pt x="314854" y="92604"/>
                </a:lnTo>
                <a:lnTo>
                  <a:pt x="317500" y="89958"/>
                </a:lnTo>
                <a:lnTo>
                  <a:pt x="314854" y="89958"/>
                </a:lnTo>
                <a:lnTo>
                  <a:pt x="312208" y="87313"/>
                </a:lnTo>
                <a:lnTo>
                  <a:pt x="312208" y="84667"/>
                </a:lnTo>
                <a:lnTo>
                  <a:pt x="317500" y="84667"/>
                </a:lnTo>
                <a:lnTo>
                  <a:pt x="349250" y="82021"/>
                </a:lnTo>
                <a:lnTo>
                  <a:pt x="367771" y="82021"/>
                </a:lnTo>
                <a:lnTo>
                  <a:pt x="386292" y="76729"/>
                </a:lnTo>
                <a:lnTo>
                  <a:pt x="399521" y="76729"/>
                </a:lnTo>
                <a:lnTo>
                  <a:pt x="410104" y="76729"/>
                </a:lnTo>
                <a:lnTo>
                  <a:pt x="410104" y="79375"/>
                </a:lnTo>
                <a:lnTo>
                  <a:pt x="410104" y="82021"/>
                </a:lnTo>
                <a:lnTo>
                  <a:pt x="402166" y="89958"/>
                </a:lnTo>
                <a:lnTo>
                  <a:pt x="410104" y="89958"/>
                </a:lnTo>
                <a:lnTo>
                  <a:pt x="415396" y="92604"/>
                </a:lnTo>
                <a:lnTo>
                  <a:pt x="420687" y="95250"/>
                </a:lnTo>
                <a:lnTo>
                  <a:pt x="428625" y="95250"/>
                </a:lnTo>
                <a:lnTo>
                  <a:pt x="436562" y="92604"/>
                </a:lnTo>
                <a:lnTo>
                  <a:pt x="436562" y="87313"/>
                </a:lnTo>
                <a:lnTo>
                  <a:pt x="433916" y="84667"/>
                </a:lnTo>
                <a:lnTo>
                  <a:pt x="436562" y="84667"/>
                </a:lnTo>
                <a:lnTo>
                  <a:pt x="441854" y="84667"/>
                </a:lnTo>
                <a:lnTo>
                  <a:pt x="447146" y="87313"/>
                </a:lnTo>
                <a:lnTo>
                  <a:pt x="455083" y="89958"/>
                </a:lnTo>
                <a:lnTo>
                  <a:pt x="468312" y="89958"/>
                </a:lnTo>
                <a:lnTo>
                  <a:pt x="455083" y="87313"/>
                </a:lnTo>
                <a:lnTo>
                  <a:pt x="452437" y="84667"/>
                </a:lnTo>
                <a:lnTo>
                  <a:pt x="457729" y="82021"/>
                </a:lnTo>
                <a:lnTo>
                  <a:pt x="468312" y="76729"/>
                </a:lnTo>
                <a:lnTo>
                  <a:pt x="457729" y="79375"/>
                </a:lnTo>
                <a:lnTo>
                  <a:pt x="447146" y="76729"/>
                </a:lnTo>
                <a:lnTo>
                  <a:pt x="439208" y="71438"/>
                </a:lnTo>
                <a:lnTo>
                  <a:pt x="433916" y="71438"/>
                </a:lnTo>
                <a:lnTo>
                  <a:pt x="431271" y="71438"/>
                </a:lnTo>
                <a:lnTo>
                  <a:pt x="431271" y="74083"/>
                </a:lnTo>
                <a:lnTo>
                  <a:pt x="431271" y="79375"/>
                </a:lnTo>
                <a:lnTo>
                  <a:pt x="425979" y="76729"/>
                </a:lnTo>
                <a:lnTo>
                  <a:pt x="415396" y="71438"/>
                </a:lnTo>
                <a:lnTo>
                  <a:pt x="407458" y="68792"/>
                </a:lnTo>
                <a:lnTo>
                  <a:pt x="399521" y="66146"/>
                </a:lnTo>
                <a:lnTo>
                  <a:pt x="394229" y="60854"/>
                </a:lnTo>
                <a:lnTo>
                  <a:pt x="388937" y="55563"/>
                </a:lnTo>
                <a:lnTo>
                  <a:pt x="383646" y="55563"/>
                </a:lnTo>
                <a:lnTo>
                  <a:pt x="373062" y="55563"/>
                </a:lnTo>
                <a:lnTo>
                  <a:pt x="365125" y="55563"/>
                </a:lnTo>
                <a:lnTo>
                  <a:pt x="362479" y="52917"/>
                </a:lnTo>
                <a:lnTo>
                  <a:pt x="365125" y="47625"/>
                </a:lnTo>
                <a:lnTo>
                  <a:pt x="367771" y="47625"/>
                </a:lnTo>
                <a:lnTo>
                  <a:pt x="373062" y="47625"/>
                </a:lnTo>
                <a:lnTo>
                  <a:pt x="386292" y="39687"/>
                </a:lnTo>
                <a:lnTo>
                  <a:pt x="394229" y="37042"/>
                </a:lnTo>
                <a:lnTo>
                  <a:pt x="399521" y="34396"/>
                </a:lnTo>
                <a:lnTo>
                  <a:pt x="407458" y="37042"/>
                </a:lnTo>
                <a:lnTo>
                  <a:pt x="415396" y="39687"/>
                </a:lnTo>
                <a:lnTo>
                  <a:pt x="418041" y="42333"/>
                </a:lnTo>
                <a:lnTo>
                  <a:pt x="423333" y="42333"/>
                </a:lnTo>
                <a:lnTo>
                  <a:pt x="428625" y="42333"/>
                </a:lnTo>
                <a:lnTo>
                  <a:pt x="436562" y="42333"/>
                </a:lnTo>
                <a:lnTo>
                  <a:pt x="447146" y="42333"/>
                </a:lnTo>
                <a:lnTo>
                  <a:pt x="473604" y="34396"/>
                </a:lnTo>
                <a:lnTo>
                  <a:pt x="486833" y="31750"/>
                </a:lnTo>
                <a:lnTo>
                  <a:pt x="492125" y="26458"/>
                </a:lnTo>
                <a:lnTo>
                  <a:pt x="500062" y="23812"/>
                </a:lnTo>
                <a:lnTo>
                  <a:pt x="518583" y="18521"/>
                </a:lnTo>
                <a:lnTo>
                  <a:pt x="534458" y="15875"/>
                </a:lnTo>
                <a:lnTo>
                  <a:pt x="542396" y="15875"/>
                </a:lnTo>
                <a:lnTo>
                  <a:pt x="550333" y="15875"/>
                </a:lnTo>
                <a:lnTo>
                  <a:pt x="566208" y="10583"/>
                </a:lnTo>
                <a:lnTo>
                  <a:pt x="576791" y="7937"/>
                </a:lnTo>
                <a:lnTo>
                  <a:pt x="582083" y="7937"/>
                </a:lnTo>
                <a:lnTo>
                  <a:pt x="582083" y="10583"/>
                </a:lnTo>
                <a:lnTo>
                  <a:pt x="579437" y="13229"/>
                </a:lnTo>
                <a:lnTo>
                  <a:pt x="579437" y="15875"/>
                </a:lnTo>
                <a:lnTo>
                  <a:pt x="582083" y="18521"/>
                </a:lnTo>
                <a:lnTo>
                  <a:pt x="587375" y="21167"/>
                </a:lnTo>
                <a:lnTo>
                  <a:pt x="590021" y="18521"/>
                </a:lnTo>
                <a:lnTo>
                  <a:pt x="590021" y="15875"/>
                </a:lnTo>
                <a:lnTo>
                  <a:pt x="590021" y="13229"/>
                </a:lnTo>
                <a:lnTo>
                  <a:pt x="584729" y="10583"/>
                </a:lnTo>
                <a:lnTo>
                  <a:pt x="587375" y="7937"/>
                </a:lnTo>
                <a:lnTo>
                  <a:pt x="603250" y="7937"/>
                </a:lnTo>
                <a:lnTo>
                  <a:pt x="613833" y="5292"/>
                </a:lnTo>
                <a:lnTo>
                  <a:pt x="611187" y="7937"/>
                </a:lnTo>
                <a:lnTo>
                  <a:pt x="605896" y="10583"/>
                </a:lnTo>
                <a:lnTo>
                  <a:pt x="605896" y="13229"/>
                </a:lnTo>
                <a:lnTo>
                  <a:pt x="611187" y="13229"/>
                </a:lnTo>
                <a:lnTo>
                  <a:pt x="619125" y="10583"/>
                </a:lnTo>
                <a:lnTo>
                  <a:pt x="642937" y="5292"/>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73" name="Venezuela"/>
          <p:cNvSpPr>
            <a:spLocks/>
          </p:cNvSpPr>
          <p:nvPr/>
        </p:nvSpPr>
        <p:spPr bwMode="auto">
          <a:xfrm>
            <a:off x="2574815" y="2411071"/>
            <a:ext cx="323593" cy="339143"/>
          </a:xfrm>
          <a:custGeom>
            <a:avLst/>
            <a:gdLst/>
            <a:ahLst/>
            <a:cxnLst>
              <a:cxn ang="0">
                <a:pos x="266" y="94"/>
              </a:cxn>
              <a:cxn ang="0">
                <a:pos x="270" y="84"/>
              </a:cxn>
              <a:cxn ang="0">
                <a:pos x="266" y="80"/>
              </a:cxn>
              <a:cxn ang="0">
                <a:pos x="262" y="70"/>
              </a:cxn>
              <a:cxn ang="0">
                <a:pos x="236" y="56"/>
              </a:cxn>
              <a:cxn ang="0">
                <a:pos x="226" y="40"/>
              </a:cxn>
              <a:cxn ang="0">
                <a:pos x="242" y="36"/>
              </a:cxn>
              <a:cxn ang="0">
                <a:pos x="226" y="32"/>
              </a:cxn>
              <a:cxn ang="0">
                <a:pos x="202" y="34"/>
              </a:cxn>
              <a:cxn ang="0">
                <a:pos x="204" y="42"/>
              </a:cxn>
              <a:cxn ang="0">
                <a:pos x="166" y="44"/>
              </a:cxn>
              <a:cxn ang="0">
                <a:pos x="148" y="36"/>
              </a:cxn>
              <a:cxn ang="0">
                <a:pos x="116" y="30"/>
              </a:cxn>
              <a:cxn ang="0">
                <a:pos x="106" y="18"/>
              </a:cxn>
              <a:cxn ang="0">
                <a:pos x="86" y="12"/>
              </a:cxn>
              <a:cxn ang="0">
                <a:pos x="74" y="6"/>
              </a:cxn>
              <a:cxn ang="0">
                <a:pos x="84" y="12"/>
              </a:cxn>
              <a:cxn ang="0">
                <a:pos x="78" y="16"/>
              </a:cxn>
              <a:cxn ang="0">
                <a:pos x="54" y="32"/>
              </a:cxn>
              <a:cxn ang="0">
                <a:pos x="48" y="46"/>
              </a:cxn>
              <a:cxn ang="0">
                <a:pos x="54" y="54"/>
              </a:cxn>
              <a:cxn ang="0">
                <a:pos x="42" y="76"/>
              </a:cxn>
              <a:cxn ang="0">
                <a:pos x="30" y="64"/>
              </a:cxn>
              <a:cxn ang="0">
                <a:pos x="40" y="50"/>
              </a:cxn>
              <a:cxn ang="0">
                <a:pos x="46" y="38"/>
              </a:cxn>
              <a:cxn ang="0">
                <a:pos x="40" y="18"/>
              </a:cxn>
              <a:cxn ang="0">
                <a:pos x="48" y="10"/>
              </a:cxn>
              <a:cxn ang="0">
                <a:pos x="14" y="46"/>
              </a:cxn>
              <a:cxn ang="0">
                <a:pos x="2" y="74"/>
              </a:cxn>
              <a:cxn ang="0">
                <a:pos x="6" y="82"/>
              </a:cxn>
              <a:cxn ang="0">
                <a:pos x="12" y="90"/>
              </a:cxn>
              <a:cxn ang="0">
                <a:pos x="16" y="124"/>
              </a:cxn>
              <a:cxn ang="0">
                <a:pos x="42" y="140"/>
              </a:cxn>
              <a:cxn ang="0">
                <a:pos x="68" y="144"/>
              </a:cxn>
              <a:cxn ang="0">
                <a:pos x="100" y="160"/>
              </a:cxn>
              <a:cxn ang="0">
                <a:pos x="116" y="162"/>
              </a:cxn>
              <a:cxn ang="0">
                <a:pos x="112" y="174"/>
              </a:cxn>
              <a:cxn ang="0">
                <a:pos x="108" y="196"/>
              </a:cxn>
              <a:cxn ang="0">
                <a:pos x="120" y="220"/>
              </a:cxn>
              <a:cxn ang="0">
                <a:pos x="118" y="246"/>
              </a:cxn>
              <a:cxn ang="0">
                <a:pos x="132" y="290"/>
              </a:cxn>
              <a:cxn ang="0">
                <a:pos x="152" y="298"/>
              </a:cxn>
              <a:cxn ang="0">
                <a:pos x="170" y="292"/>
              </a:cxn>
              <a:cxn ang="0">
                <a:pos x="186" y="280"/>
              </a:cxn>
              <a:cxn ang="0">
                <a:pos x="194" y="266"/>
              </a:cxn>
              <a:cxn ang="0">
                <a:pos x="202" y="252"/>
              </a:cxn>
              <a:cxn ang="0">
                <a:pos x="190" y="228"/>
              </a:cxn>
              <a:cxn ang="0">
                <a:pos x="180" y="208"/>
              </a:cxn>
              <a:cxn ang="0">
                <a:pos x="208" y="212"/>
              </a:cxn>
              <a:cxn ang="0">
                <a:pos x="232" y="212"/>
              </a:cxn>
              <a:cxn ang="0">
                <a:pos x="236" y="208"/>
              </a:cxn>
              <a:cxn ang="0">
                <a:pos x="260" y="194"/>
              </a:cxn>
              <a:cxn ang="0">
                <a:pos x="256" y="162"/>
              </a:cxn>
              <a:cxn ang="0">
                <a:pos x="260" y="144"/>
              </a:cxn>
              <a:cxn ang="0">
                <a:pos x="274" y="130"/>
              </a:cxn>
              <a:cxn ang="0">
                <a:pos x="264" y="124"/>
              </a:cxn>
              <a:cxn ang="0">
                <a:pos x="268" y="112"/>
              </a:cxn>
              <a:cxn ang="0">
                <a:pos x="284" y="106"/>
              </a:cxn>
            </a:cxnLst>
            <a:rect l="0" t="0" r="r" b="b"/>
            <a:pathLst>
              <a:path w="284" h="298">
                <a:moveTo>
                  <a:pt x="284" y="100"/>
                </a:moveTo>
                <a:lnTo>
                  <a:pt x="284" y="100"/>
                </a:lnTo>
                <a:lnTo>
                  <a:pt x="278" y="92"/>
                </a:lnTo>
                <a:lnTo>
                  <a:pt x="274" y="92"/>
                </a:lnTo>
                <a:lnTo>
                  <a:pt x="270" y="94"/>
                </a:lnTo>
                <a:lnTo>
                  <a:pt x="266" y="94"/>
                </a:lnTo>
                <a:lnTo>
                  <a:pt x="260" y="92"/>
                </a:lnTo>
                <a:lnTo>
                  <a:pt x="260" y="92"/>
                </a:lnTo>
                <a:lnTo>
                  <a:pt x="268" y="92"/>
                </a:lnTo>
                <a:lnTo>
                  <a:pt x="270" y="90"/>
                </a:lnTo>
                <a:lnTo>
                  <a:pt x="272" y="88"/>
                </a:lnTo>
                <a:lnTo>
                  <a:pt x="270" y="84"/>
                </a:lnTo>
                <a:lnTo>
                  <a:pt x="270" y="84"/>
                </a:lnTo>
                <a:lnTo>
                  <a:pt x="270" y="82"/>
                </a:lnTo>
                <a:lnTo>
                  <a:pt x="268" y="82"/>
                </a:lnTo>
                <a:lnTo>
                  <a:pt x="266" y="82"/>
                </a:lnTo>
                <a:lnTo>
                  <a:pt x="266" y="80"/>
                </a:lnTo>
                <a:lnTo>
                  <a:pt x="266" y="80"/>
                </a:lnTo>
                <a:lnTo>
                  <a:pt x="268" y="80"/>
                </a:lnTo>
                <a:lnTo>
                  <a:pt x="266" y="78"/>
                </a:lnTo>
                <a:lnTo>
                  <a:pt x="264" y="78"/>
                </a:lnTo>
                <a:lnTo>
                  <a:pt x="264" y="76"/>
                </a:lnTo>
                <a:lnTo>
                  <a:pt x="264" y="76"/>
                </a:lnTo>
                <a:lnTo>
                  <a:pt x="262" y="70"/>
                </a:lnTo>
                <a:lnTo>
                  <a:pt x="258" y="66"/>
                </a:lnTo>
                <a:lnTo>
                  <a:pt x="250" y="60"/>
                </a:lnTo>
                <a:lnTo>
                  <a:pt x="250" y="60"/>
                </a:lnTo>
                <a:lnTo>
                  <a:pt x="244" y="54"/>
                </a:lnTo>
                <a:lnTo>
                  <a:pt x="240" y="54"/>
                </a:lnTo>
                <a:lnTo>
                  <a:pt x="236" y="56"/>
                </a:lnTo>
                <a:lnTo>
                  <a:pt x="236" y="56"/>
                </a:lnTo>
                <a:lnTo>
                  <a:pt x="232" y="48"/>
                </a:lnTo>
                <a:lnTo>
                  <a:pt x="230" y="42"/>
                </a:lnTo>
                <a:lnTo>
                  <a:pt x="228" y="40"/>
                </a:lnTo>
                <a:lnTo>
                  <a:pt x="226" y="40"/>
                </a:lnTo>
                <a:lnTo>
                  <a:pt x="226" y="40"/>
                </a:lnTo>
                <a:lnTo>
                  <a:pt x="222" y="40"/>
                </a:lnTo>
                <a:lnTo>
                  <a:pt x="220" y="40"/>
                </a:lnTo>
                <a:lnTo>
                  <a:pt x="222" y="38"/>
                </a:lnTo>
                <a:lnTo>
                  <a:pt x="228" y="38"/>
                </a:lnTo>
                <a:lnTo>
                  <a:pt x="228" y="38"/>
                </a:lnTo>
                <a:lnTo>
                  <a:pt x="242" y="36"/>
                </a:lnTo>
                <a:lnTo>
                  <a:pt x="246" y="36"/>
                </a:lnTo>
                <a:lnTo>
                  <a:pt x="248" y="34"/>
                </a:lnTo>
                <a:lnTo>
                  <a:pt x="248" y="34"/>
                </a:lnTo>
                <a:lnTo>
                  <a:pt x="232" y="34"/>
                </a:lnTo>
                <a:lnTo>
                  <a:pt x="232" y="34"/>
                </a:lnTo>
                <a:lnTo>
                  <a:pt x="226" y="32"/>
                </a:lnTo>
                <a:lnTo>
                  <a:pt x="224" y="34"/>
                </a:lnTo>
                <a:lnTo>
                  <a:pt x="220" y="34"/>
                </a:lnTo>
                <a:lnTo>
                  <a:pt x="214" y="34"/>
                </a:lnTo>
                <a:lnTo>
                  <a:pt x="214" y="34"/>
                </a:lnTo>
                <a:lnTo>
                  <a:pt x="206" y="32"/>
                </a:lnTo>
                <a:lnTo>
                  <a:pt x="202" y="34"/>
                </a:lnTo>
                <a:lnTo>
                  <a:pt x="202" y="34"/>
                </a:lnTo>
                <a:lnTo>
                  <a:pt x="204" y="34"/>
                </a:lnTo>
                <a:lnTo>
                  <a:pt x="212" y="36"/>
                </a:lnTo>
                <a:lnTo>
                  <a:pt x="212" y="36"/>
                </a:lnTo>
                <a:lnTo>
                  <a:pt x="206" y="38"/>
                </a:lnTo>
                <a:lnTo>
                  <a:pt x="204" y="42"/>
                </a:lnTo>
                <a:lnTo>
                  <a:pt x="202" y="44"/>
                </a:lnTo>
                <a:lnTo>
                  <a:pt x="192" y="46"/>
                </a:lnTo>
                <a:lnTo>
                  <a:pt x="192" y="46"/>
                </a:lnTo>
                <a:lnTo>
                  <a:pt x="178" y="48"/>
                </a:lnTo>
                <a:lnTo>
                  <a:pt x="170" y="46"/>
                </a:lnTo>
                <a:lnTo>
                  <a:pt x="166" y="44"/>
                </a:lnTo>
                <a:lnTo>
                  <a:pt x="166" y="40"/>
                </a:lnTo>
                <a:lnTo>
                  <a:pt x="166" y="40"/>
                </a:lnTo>
                <a:lnTo>
                  <a:pt x="166" y="40"/>
                </a:lnTo>
                <a:lnTo>
                  <a:pt x="166" y="38"/>
                </a:lnTo>
                <a:lnTo>
                  <a:pt x="160" y="36"/>
                </a:lnTo>
                <a:lnTo>
                  <a:pt x="148" y="36"/>
                </a:lnTo>
                <a:lnTo>
                  <a:pt x="136" y="36"/>
                </a:lnTo>
                <a:lnTo>
                  <a:pt x="136" y="36"/>
                </a:lnTo>
                <a:lnTo>
                  <a:pt x="124" y="38"/>
                </a:lnTo>
                <a:lnTo>
                  <a:pt x="116" y="36"/>
                </a:lnTo>
                <a:lnTo>
                  <a:pt x="114" y="32"/>
                </a:lnTo>
                <a:lnTo>
                  <a:pt x="116" y="30"/>
                </a:lnTo>
                <a:lnTo>
                  <a:pt x="116" y="30"/>
                </a:lnTo>
                <a:lnTo>
                  <a:pt x="118" y="28"/>
                </a:lnTo>
                <a:lnTo>
                  <a:pt x="116" y="24"/>
                </a:lnTo>
                <a:lnTo>
                  <a:pt x="108" y="18"/>
                </a:lnTo>
                <a:lnTo>
                  <a:pt x="108" y="18"/>
                </a:lnTo>
                <a:lnTo>
                  <a:pt x="106" y="18"/>
                </a:lnTo>
                <a:lnTo>
                  <a:pt x="104" y="18"/>
                </a:lnTo>
                <a:lnTo>
                  <a:pt x="102" y="18"/>
                </a:lnTo>
                <a:lnTo>
                  <a:pt x="98" y="16"/>
                </a:lnTo>
                <a:lnTo>
                  <a:pt x="98" y="16"/>
                </a:lnTo>
                <a:lnTo>
                  <a:pt x="88" y="14"/>
                </a:lnTo>
                <a:lnTo>
                  <a:pt x="86" y="12"/>
                </a:lnTo>
                <a:lnTo>
                  <a:pt x="86" y="8"/>
                </a:lnTo>
                <a:lnTo>
                  <a:pt x="86" y="8"/>
                </a:lnTo>
                <a:lnTo>
                  <a:pt x="84" y="2"/>
                </a:lnTo>
                <a:lnTo>
                  <a:pt x="80" y="0"/>
                </a:lnTo>
                <a:lnTo>
                  <a:pt x="76" y="2"/>
                </a:lnTo>
                <a:lnTo>
                  <a:pt x="74" y="6"/>
                </a:lnTo>
                <a:lnTo>
                  <a:pt x="74" y="6"/>
                </a:lnTo>
                <a:lnTo>
                  <a:pt x="74" y="12"/>
                </a:lnTo>
                <a:lnTo>
                  <a:pt x="76" y="12"/>
                </a:lnTo>
                <a:lnTo>
                  <a:pt x="80" y="12"/>
                </a:lnTo>
                <a:lnTo>
                  <a:pt x="80" y="12"/>
                </a:lnTo>
                <a:lnTo>
                  <a:pt x="84" y="12"/>
                </a:lnTo>
                <a:lnTo>
                  <a:pt x="84" y="14"/>
                </a:lnTo>
                <a:lnTo>
                  <a:pt x="84" y="16"/>
                </a:lnTo>
                <a:lnTo>
                  <a:pt x="80" y="16"/>
                </a:lnTo>
                <a:lnTo>
                  <a:pt x="80" y="16"/>
                </a:lnTo>
                <a:lnTo>
                  <a:pt x="78" y="16"/>
                </a:lnTo>
                <a:lnTo>
                  <a:pt x="78" y="16"/>
                </a:lnTo>
                <a:lnTo>
                  <a:pt x="76" y="20"/>
                </a:lnTo>
                <a:lnTo>
                  <a:pt x="72" y="22"/>
                </a:lnTo>
                <a:lnTo>
                  <a:pt x="72" y="22"/>
                </a:lnTo>
                <a:lnTo>
                  <a:pt x="62" y="24"/>
                </a:lnTo>
                <a:lnTo>
                  <a:pt x="54" y="32"/>
                </a:lnTo>
                <a:lnTo>
                  <a:pt x="54" y="32"/>
                </a:lnTo>
                <a:lnTo>
                  <a:pt x="52" y="36"/>
                </a:lnTo>
                <a:lnTo>
                  <a:pt x="50" y="40"/>
                </a:lnTo>
                <a:lnTo>
                  <a:pt x="50" y="42"/>
                </a:lnTo>
                <a:lnTo>
                  <a:pt x="50" y="44"/>
                </a:lnTo>
                <a:lnTo>
                  <a:pt x="50" y="44"/>
                </a:lnTo>
                <a:lnTo>
                  <a:pt x="48" y="46"/>
                </a:lnTo>
                <a:lnTo>
                  <a:pt x="50" y="48"/>
                </a:lnTo>
                <a:lnTo>
                  <a:pt x="52" y="48"/>
                </a:lnTo>
                <a:lnTo>
                  <a:pt x="52" y="52"/>
                </a:lnTo>
                <a:lnTo>
                  <a:pt x="52" y="52"/>
                </a:lnTo>
                <a:lnTo>
                  <a:pt x="54" y="52"/>
                </a:lnTo>
                <a:lnTo>
                  <a:pt x="54" y="54"/>
                </a:lnTo>
                <a:lnTo>
                  <a:pt x="56" y="62"/>
                </a:lnTo>
                <a:lnTo>
                  <a:pt x="56" y="70"/>
                </a:lnTo>
                <a:lnTo>
                  <a:pt x="56" y="70"/>
                </a:lnTo>
                <a:lnTo>
                  <a:pt x="54" y="74"/>
                </a:lnTo>
                <a:lnTo>
                  <a:pt x="48" y="76"/>
                </a:lnTo>
                <a:lnTo>
                  <a:pt x="42" y="76"/>
                </a:lnTo>
                <a:lnTo>
                  <a:pt x="40" y="74"/>
                </a:lnTo>
                <a:lnTo>
                  <a:pt x="40" y="72"/>
                </a:lnTo>
                <a:lnTo>
                  <a:pt x="40" y="72"/>
                </a:lnTo>
                <a:lnTo>
                  <a:pt x="38" y="68"/>
                </a:lnTo>
                <a:lnTo>
                  <a:pt x="34" y="66"/>
                </a:lnTo>
                <a:lnTo>
                  <a:pt x="30" y="64"/>
                </a:lnTo>
                <a:lnTo>
                  <a:pt x="30" y="62"/>
                </a:lnTo>
                <a:lnTo>
                  <a:pt x="30" y="58"/>
                </a:lnTo>
                <a:lnTo>
                  <a:pt x="30" y="58"/>
                </a:lnTo>
                <a:lnTo>
                  <a:pt x="32" y="56"/>
                </a:lnTo>
                <a:lnTo>
                  <a:pt x="34" y="54"/>
                </a:lnTo>
                <a:lnTo>
                  <a:pt x="40" y="50"/>
                </a:lnTo>
                <a:lnTo>
                  <a:pt x="44" y="46"/>
                </a:lnTo>
                <a:lnTo>
                  <a:pt x="46" y="44"/>
                </a:lnTo>
                <a:lnTo>
                  <a:pt x="44" y="42"/>
                </a:lnTo>
                <a:lnTo>
                  <a:pt x="44" y="42"/>
                </a:lnTo>
                <a:lnTo>
                  <a:pt x="42" y="38"/>
                </a:lnTo>
                <a:lnTo>
                  <a:pt x="46" y="38"/>
                </a:lnTo>
                <a:lnTo>
                  <a:pt x="48" y="38"/>
                </a:lnTo>
                <a:lnTo>
                  <a:pt x="46" y="32"/>
                </a:lnTo>
                <a:lnTo>
                  <a:pt x="46" y="32"/>
                </a:lnTo>
                <a:lnTo>
                  <a:pt x="40" y="24"/>
                </a:lnTo>
                <a:lnTo>
                  <a:pt x="38" y="20"/>
                </a:lnTo>
                <a:lnTo>
                  <a:pt x="40" y="18"/>
                </a:lnTo>
                <a:lnTo>
                  <a:pt x="42" y="16"/>
                </a:lnTo>
                <a:lnTo>
                  <a:pt x="42" y="16"/>
                </a:lnTo>
                <a:lnTo>
                  <a:pt x="48" y="12"/>
                </a:lnTo>
                <a:lnTo>
                  <a:pt x="48" y="12"/>
                </a:lnTo>
                <a:lnTo>
                  <a:pt x="48" y="10"/>
                </a:lnTo>
                <a:lnTo>
                  <a:pt x="48" y="10"/>
                </a:lnTo>
                <a:lnTo>
                  <a:pt x="34" y="18"/>
                </a:lnTo>
                <a:lnTo>
                  <a:pt x="22" y="40"/>
                </a:lnTo>
                <a:lnTo>
                  <a:pt x="22" y="40"/>
                </a:lnTo>
                <a:lnTo>
                  <a:pt x="20" y="40"/>
                </a:lnTo>
                <a:lnTo>
                  <a:pt x="14" y="46"/>
                </a:lnTo>
                <a:lnTo>
                  <a:pt x="14" y="46"/>
                </a:lnTo>
                <a:lnTo>
                  <a:pt x="12" y="52"/>
                </a:lnTo>
                <a:lnTo>
                  <a:pt x="12" y="54"/>
                </a:lnTo>
                <a:lnTo>
                  <a:pt x="12" y="58"/>
                </a:lnTo>
                <a:lnTo>
                  <a:pt x="10" y="62"/>
                </a:lnTo>
                <a:lnTo>
                  <a:pt x="10" y="62"/>
                </a:lnTo>
                <a:lnTo>
                  <a:pt x="2" y="74"/>
                </a:lnTo>
                <a:lnTo>
                  <a:pt x="0" y="80"/>
                </a:lnTo>
                <a:lnTo>
                  <a:pt x="0" y="80"/>
                </a:lnTo>
                <a:lnTo>
                  <a:pt x="0" y="80"/>
                </a:lnTo>
                <a:lnTo>
                  <a:pt x="2" y="80"/>
                </a:lnTo>
                <a:lnTo>
                  <a:pt x="4" y="80"/>
                </a:lnTo>
                <a:lnTo>
                  <a:pt x="6" y="82"/>
                </a:lnTo>
                <a:lnTo>
                  <a:pt x="6" y="82"/>
                </a:lnTo>
                <a:lnTo>
                  <a:pt x="8" y="84"/>
                </a:lnTo>
                <a:lnTo>
                  <a:pt x="10" y="82"/>
                </a:lnTo>
                <a:lnTo>
                  <a:pt x="12" y="84"/>
                </a:lnTo>
                <a:lnTo>
                  <a:pt x="12" y="90"/>
                </a:lnTo>
                <a:lnTo>
                  <a:pt x="12" y="90"/>
                </a:lnTo>
                <a:lnTo>
                  <a:pt x="16" y="106"/>
                </a:lnTo>
                <a:lnTo>
                  <a:pt x="16" y="112"/>
                </a:lnTo>
                <a:lnTo>
                  <a:pt x="16" y="118"/>
                </a:lnTo>
                <a:lnTo>
                  <a:pt x="16" y="118"/>
                </a:lnTo>
                <a:lnTo>
                  <a:pt x="16" y="120"/>
                </a:lnTo>
                <a:lnTo>
                  <a:pt x="16" y="124"/>
                </a:lnTo>
                <a:lnTo>
                  <a:pt x="22" y="128"/>
                </a:lnTo>
                <a:lnTo>
                  <a:pt x="28" y="132"/>
                </a:lnTo>
                <a:lnTo>
                  <a:pt x="34" y="136"/>
                </a:lnTo>
                <a:lnTo>
                  <a:pt x="34" y="136"/>
                </a:lnTo>
                <a:lnTo>
                  <a:pt x="38" y="138"/>
                </a:lnTo>
                <a:lnTo>
                  <a:pt x="42" y="140"/>
                </a:lnTo>
                <a:lnTo>
                  <a:pt x="48" y="138"/>
                </a:lnTo>
                <a:lnTo>
                  <a:pt x="54" y="136"/>
                </a:lnTo>
                <a:lnTo>
                  <a:pt x="58" y="138"/>
                </a:lnTo>
                <a:lnTo>
                  <a:pt x="62" y="140"/>
                </a:lnTo>
                <a:lnTo>
                  <a:pt x="62" y="140"/>
                </a:lnTo>
                <a:lnTo>
                  <a:pt x="68" y="144"/>
                </a:lnTo>
                <a:lnTo>
                  <a:pt x="72" y="144"/>
                </a:lnTo>
                <a:lnTo>
                  <a:pt x="78" y="152"/>
                </a:lnTo>
                <a:lnTo>
                  <a:pt x="78" y="152"/>
                </a:lnTo>
                <a:lnTo>
                  <a:pt x="86" y="158"/>
                </a:lnTo>
                <a:lnTo>
                  <a:pt x="92" y="160"/>
                </a:lnTo>
                <a:lnTo>
                  <a:pt x="100" y="160"/>
                </a:lnTo>
                <a:lnTo>
                  <a:pt x="110" y="156"/>
                </a:lnTo>
                <a:lnTo>
                  <a:pt x="110" y="156"/>
                </a:lnTo>
                <a:lnTo>
                  <a:pt x="116" y="156"/>
                </a:lnTo>
                <a:lnTo>
                  <a:pt x="118" y="156"/>
                </a:lnTo>
                <a:lnTo>
                  <a:pt x="118" y="158"/>
                </a:lnTo>
                <a:lnTo>
                  <a:pt x="116" y="162"/>
                </a:lnTo>
                <a:lnTo>
                  <a:pt x="116" y="162"/>
                </a:lnTo>
                <a:lnTo>
                  <a:pt x="114" y="166"/>
                </a:lnTo>
                <a:lnTo>
                  <a:pt x="114" y="168"/>
                </a:lnTo>
                <a:lnTo>
                  <a:pt x="114" y="172"/>
                </a:lnTo>
                <a:lnTo>
                  <a:pt x="112" y="174"/>
                </a:lnTo>
                <a:lnTo>
                  <a:pt x="112" y="174"/>
                </a:lnTo>
                <a:lnTo>
                  <a:pt x="110" y="176"/>
                </a:lnTo>
                <a:lnTo>
                  <a:pt x="112" y="180"/>
                </a:lnTo>
                <a:lnTo>
                  <a:pt x="112" y="184"/>
                </a:lnTo>
                <a:lnTo>
                  <a:pt x="110" y="190"/>
                </a:lnTo>
                <a:lnTo>
                  <a:pt x="110" y="190"/>
                </a:lnTo>
                <a:lnTo>
                  <a:pt x="108" y="196"/>
                </a:lnTo>
                <a:lnTo>
                  <a:pt x="110" y="200"/>
                </a:lnTo>
                <a:lnTo>
                  <a:pt x="110" y="208"/>
                </a:lnTo>
                <a:lnTo>
                  <a:pt x="112" y="214"/>
                </a:lnTo>
                <a:lnTo>
                  <a:pt x="118" y="214"/>
                </a:lnTo>
                <a:lnTo>
                  <a:pt x="118" y="214"/>
                </a:lnTo>
                <a:lnTo>
                  <a:pt x="120" y="220"/>
                </a:lnTo>
                <a:lnTo>
                  <a:pt x="120" y="226"/>
                </a:lnTo>
                <a:lnTo>
                  <a:pt x="118" y="232"/>
                </a:lnTo>
                <a:lnTo>
                  <a:pt x="112" y="244"/>
                </a:lnTo>
                <a:lnTo>
                  <a:pt x="112" y="244"/>
                </a:lnTo>
                <a:lnTo>
                  <a:pt x="114" y="244"/>
                </a:lnTo>
                <a:lnTo>
                  <a:pt x="118" y="246"/>
                </a:lnTo>
                <a:lnTo>
                  <a:pt x="122" y="254"/>
                </a:lnTo>
                <a:lnTo>
                  <a:pt x="124" y="268"/>
                </a:lnTo>
                <a:lnTo>
                  <a:pt x="126" y="286"/>
                </a:lnTo>
                <a:lnTo>
                  <a:pt x="126" y="286"/>
                </a:lnTo>
                <a:lnTo>
                  <a:pt x="130" y="290"/>
                </a:lnTo>
                <a:lnTo>
                  <a:pt x="132" y="290"/>
                </a:lnTo>
                <a:lnTo>
                  <a:pt x="134" y="290"/>
                </a:lnTo>
                <a:lnTo>
                  <a:pt x="134" y="290"/>
                </a:lnTo>
                <a:lnTo>
                  <a:pt x="138" y="292"/>
                </a:lnTo>
                <a:lnTo>
                  <a:pt x="144" y="296"/>
                </a:lnTo>
                <a:lnTo>
                  <a:pt x="150" y="298"/>
                </a:lnTo>
                <a:lnTo>
                  <a:pt x="152" y="298"/>
                </a:lnTo>
                <a:lnTo>
                  <a:pt x="154" y="298"/>
                </a:lnTo>
                <a:lnTo>
                  <a:pt x="154" y="298"/>
                </a:lnTo>
                <a:lnTo>
                  <a:pt x="160" y="296"/>
                </a:lnTo>
                <a:lnTo>
                  <a:pt x="162" y="296"/>
                </a:lnTo>
                <a:lnTo>
                  <a:pt x="166" y="296"/>
                </a:lnTo>
                <a:lnTo>
                  <a:pt x="170" y="292"/>
                </a:lnTo>
                <a:lnTo>
                  <a:pt x="170" y="292"/>
                </a:lnTo>
                <a:lnTo>
                  <a:pt x="178" y="284"/>
                </a:lnTo>
                <a:lnTo>
                  <a:pt x="182" y="282"/>
                </a:lnTo>
                <a:lnTo>
                  <a:pt x="184" y="282"/>
                </a:lnTo>
                <a:lnTo>
                  <a:pt x="186" y="280"/>
                </a:lnTo>
                <a:lnTo>
                  <a:pt x="186" y="280"/>
                </a:lnTo>
                <a:lnTo>
                  <a:pt x="188" y="278"/>
                </a:lnTo>
                <a:lnTo>
                  <a:pt x="190" y="278"/>
                </a:lnTo>
                <a:lnTo>
                  <a:pt x="192" y="278"/>
                </a:lnTo>
                <a:lnTo>
                  <a:pt x="194" y="272"/>
                </a:lnTo>
                <a:lnTo>
                  <a:pt x="194" y="272"/>
                </a:lnTo>
                <a:lnTo>
                  <a:pt x="194" y="266"/>
                </a:lnTo>
                <a:lnTo>
                  <a:pt x="198" y="264"/>
                </a:lnTo>
                <a:lnTo>
                  <a:pt x="202" y="264"/>
                </a:lnTo>
                <a:lnTo>
                  <a:pt x="210" y="260"/>
                </a:lnTo>
                <a:lnTo>
                  <a:pt x="210" y="260"/>
                </a:lnTo>
                <a:lnTo>
                  <a:pt x="208" y="252"/>
                </a:lnTo>
                <a:lnTo>
                  <a:pt x="202" y="252"/>
                </a:lnTo>
                <a:lnTo>
                  <a:pt x="202" y="252"/>
                </a:lnTo>
                <a:lnTo>
                  <a:pt x="198" y="252"/>
                </a:lnTo>
                <a:lnTo>
                  <a:pt x="194" y="250"/>
                </a:lnTo>
                <a:lnTo>
                  <a:pt x="190" y="244"/>
                </a:lnTo>
                <a:lnTo>
                  <a:pt x="188" y="236"/>
                </a:lnTo>
                <a:lnTo>
                  <a:pt x="190" y="228"/>
                </a:lnTo>
                <a:lnTo>
                  <a:pt x="190" y="228"/>
                </a:lnTo>
                <a:lnTo>
                  <a:pt x="190" y="224"/>
                </a:lnTo>
                <a:lnTo>
                  <a:pt x="190" y="220"/>
                </a:lnTo>
                <a:lnTo>
                  <a:pt x="184" y="214"/>
                </a:lnTo>
                <a:lnTo>
                  <a:pt x="180" y="210"/>
                </a:lnTo>
                <a:lnTo>
                  <a:pt x="180" y="208"/>
                </a:lnTo>
                <a:lnTo>
                  <a:pt x="184" y="206"/>
                </a:lnTo>
                <a:lnTo>
                  <a:pt x="184" y="206"/>
                </a:lnTo>
                <a:lnTo>
                  <a:pt x="190" y="206"/>
                </a:lnTo>
                <a:lnTo>
                  <a:pt x="194" y="206"/>
                </a:lnTo>
                <a:lnTo>
                  <a:pt x="202" y="210"/>
                </a:lnTo>
                <a:lnTo>
                  <a:pt x="208" y="212"/>
                </a:lnTo>
                <a:lnTo>
                  <a:pt x="210" y="212"/>
                </a:lnTo>
                <a:lnTo>
                  <a:pt x="216" y="212"/>
                </a:lnTo>
                <a:lnTo>
                  <a:pt x="216" y="212"/>
                </a:lnTo>
                <a:lnTo>
                  <a:pt x="224" y="210"/>
                </a:lnTo>
                <a:lnTo>
                  <a:pt x="230" y="212"/>
                </a:lnTo>
                <a:lnTo>
                  <a:pt x="232" y="212"/>
                </a:lnTo>
                <a:lnTo>
                  <a:pt x="234" y="212"/>
                </a:lnTo>
                <a:lnTo>
                  <a:pt x="234" y="212"/>
                </a:lnTo>
                <a:lnTo>
                  <a:pt x="236" y="210"/>
                </a:lnTo>
                <a:lnTo>
                  <a:pt x="236" y="210"/>
                </a:lnTo>
                <a:lnTo>
                  <a:pt x="234" y="208"/>
                </a:lnTo>
                <a:lnTo>
                  <a:pt x="236" y="208"/>
                </a:lnTo>
                <a:lnTo>
                  <a:pt x="236" y="208"/>
                </a:lnTo>
                <a:lnTo>
                  <a:pt x="242" y="206"/>
                </a:lnTo>
                <a:lnTo>
                  <a:pt x="248" y="204"/>
                </a:lnTo>
                <a:lnTo>
                  <a:pt x="256" y="198"/>
                </a:lnTo>
                <a:lnTo>
                  <a:pt x="256" y="198"/>
                </a:lnTo>
                <a:lnTo>
                  <a:pt x="260" y="194"/>
                </a:lnTo>
                <a:lnTo>
                  <a:pt x="264" y="192"/>
                </a:lnTo>
                <a:lnTo>
                  <a:pt x="266" y="190"/>
                </a:lnTo>
                <a:lnTo>
                  <a:pt x="268" y="182"/>
                </a:lnTo>
                <a:lnTo>
                  <a:pt x="268" y="182"/>
                </a:lnTo>
                <a:lnTo>
                  <a:pt x="258" y="168"/>
                </a:lnTo>
                <a:lnTo>
                  <a:pt x="256" y="162"/>
                </a:lnTo>
                <a:lnTo>
                  <a:pt x="254" y="158"/>
                </a:lnTo>
                <a:lnTo>
                  <a:pt x="254" y="158"/>
                </a:lnTo>
                <a:lnTo>
                  <a:pt x="256" y="154"/>
                </a:lnTo>
                <a:lnTo>
                  <a:pt x="258" y="150"/>
                </a:lnTo>
                <a:lnTo>
                  <a:pt x="262" y="148"/>
                </a:lnTo>
                <a:lnTo>
                  <a:pt x="260" y="144"/>
                </a:lnTo>
                <a:lnTo>
                  <a:pt x="260" y="144"/>
                </a:lnTo>
                <a:lnTo>
                  <a:pt x="260" y="140"/>
                </a:lnTo>
                <a:lnTo>
                  <a:pt x="260" y="138"/>
                </a:lnTo>
                <a:lnTo>
                  <a:pt x="270" y="132"/>
                </a:lnTo>
                <a:lnTo>
                  <a:pt x="270" y="132"/>
                </a:lnTo>
                <a:lnTo>
                  <a:pt x="274" y="130"/>
                </a:lnTo>
                <a:lnTo>
                  <a:pt x="274" y="126"/>
                </a:lnTo>
                <a:lnTo>
                  <a:pt x="272" y="124"/>
                </a:lnTo>
                <a:lnTo>
                  <a:pt x="268" y="124"/>
                </a:lnTo>
                <a:lnTo>
                  <a:pt x="268" y="124"/>
                </a:lnTo>
                <a:lnTo>
                  <a:pt x="264" y="126"/>
                </a:lnTo>
                <a:lnTo>
                  <a:pt x="264" y="124"/>
                </a:lnTo>
                <a:lnTo>
                  <a:pt x="266" y="122"/>
                </a:lnTo>
                <a:lnTo>
                  <a:pt x="266" y="118"/>
                </a:lnTo>
                <a:lnTo>
                  <a:pt x="266" y="118"/>
                </a:lnTo>
                <a:lnTo>
                  <a:pt x="266" y="116"/>
                </a:lnTo>
                <a:lnTo>
                  <a:pt x="266" y="114"/>
                </a:lnTo>
                <a:lnTo>
                  <a:pt x="268" y="112"/>
                </a:lnTo>
                <a:lnTo>
                  <a:pt x="270" y="110"/>
                </a:lnTo>
                <a:lnTo>
                  <a:pt x="270" y="110"/>
                </a:lnTo>
                <a:lnTo>
                  <a:pt x="272" y="108"/>
                </a:lnTo>
                <a:lnTo>
                  <a:pt x="274" y="106"/>
                </a:lnTo>
                <a:lnTo>
                  <a:pt x="280" y="106"/>
                </a:lnTo>
                <a:lnTo>
                  <a:pt x="284" y="106"/>
                </a:lnTo>
                <a:lnTo>
                  <a:pt x="284" y="104"/>
                </a:lnTo>
                <a:lnTo>
                  <a:pt x="284" y="100"/>
                </a:lnTo>
                <a:lnTo>
                  <a:pt x="284" y="100"/>
                </a:lnTo>
                <a:close/>
              </a:path>
            </a:pathLst>
          </a:custGeom>
          <a:solidFill>
            <a:schemeClr val="tx1">
              <a:alpha val="99000"/>
            </a:schemeClr>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033" name="Montenegro"/>
          <p:cNvSpPr>
            <a:spLocks/>
          </p:cNvSpPr>
          <p:nvPr/>
        </p:nvSpPr>
        <p:spPr bwMode="auto">
          <a:xfrm>
            <a:off x="4745708" y="1558689"/>
            <a:ext cx="34298" cy="38438"/>
          </a:xfrm>
          <a:custGeom>
            <a:avLst/>
            <a:gdLst>
              <a:gd name="T0" fmla="*/ 744 w 744"/>
              <a:gd name="T1" fmla="*/ 364 h 834"/>
              <a:gd name="T2" fmla="*/ 654 w 744"/>
              <a:gd name="T3" fmla="*/ 258 h 834"/>
              <a:gd name="T4" fmla="*/ 586 w 744"/>
              <a:gd name="T5" fmla="*/ 208 h 834"/>
              <a:gd name="T6" fmla="*/ 529 w 744"/>
              <a:gd name="T7" fmla="*/ 208 h 834"/>
              <a:gd name="T8" fmla="*/ 517 w 744"/>
              <a:gd name="T9" fmla="*/ 178 h 834"/>
              <a:gd name="T10" fmla="*/ 435 w 744"/>
              <a:gd name="T11" fmla="*/ 133 h 834"/>
              <a:gd name="T12" fmla="*/ 317 w 744"/>
              <a:gd name="T13" fmla="*/ 0 h 834"/>
              <a:gd name="T14" fmla="*/ 220 w 744"/>
              <a:gd name="T15" fmla="*/ 0 h 834"/>
              <a:gd name="T16" fmla="*/ 272 w 744"/>
              <a:gd name="T17" fmla="*/ 114 h 834"/>
              <a:gd name="T18" fmla="*/ 208 w 744"/>
              <a:gd name="T19" fmla="*/ 126 h 834"/>
              <a:gd name="T20" fmla="*/ 182 w 744"/>
              <a:gd name="T21" fmla="*/ 55 h 834"/>
              <a:gd name="T22" fmla="*/ 102 w 744"/>
              <a:gd name="T23" fmla="*/ 107 h 834"/>
              <a:gd name="T24" fmla="*/ 106 w 744"/>
              <a:gd name="T25" fmla="*/ 234 h 834"/>
              <a:gd name="T26" fmla="*/ 57 w 744"/>
              <a:gd name="T27" fmla="*/ 234 h 834"/>
              <a:gd name="T28" fmla="*/ 19 w 744"/>
              <a:gd name="T29" fmla="*/ 364 h 834"/>
              <a:gd name="T30" fmla="*/ 87 w 744"/>
              <a:gd name="T31" fmla="*/ 447 h 834"/>
              <a:gd name="T32" fmla="*/ 7 w 744"/>
              <a:gd name="T33" fmla="*/ 473 h 834"/>
              <a:gd name="T34" fmla="*/ 26 w 744"/>
              <a:gd name="T35" fmla="*/ 579 h 834"/>
              <a:gd name="T36" fmla="*/ 0 w 744"/>
              <a:gd name="T37" fmla="*/ 603 h 834"/>
              <a:gd name="T38" fmla="*/ 0 w 744"/>
              <a:gd name="T39" fmla="*/ 612 h 834"/>
              <a:gd name="T40" fmla="*/ 45 w 744"/>
              <a:gd name="T41" fmla="*/ 612 h 834"/>
              <a:gd name="T42" fmla="*/ 135 w 744"/>
              <a:gd name="T43" fmla="*/ 699 h 834"/>
              <a:gd name="T44" fmla="*/ 224 w 744"/>
              <a:gd name="T45" fmla="*/ 744 h 834"/>
              <a:gd name="T46" fmla="*/ 314 w 744"/>
              <a:gd name="T47" fmla="*/ 789 h 834"/>
              <a:gd name="T48" fmla="*/ 359 w 744"/>
              <a:gd name="T49" fmla="*/ 834 h 834"/>
              <a:gd name="T50" fmla="*/ 366 w 744"/>
              <a:gd name="T51" fmla="*/ 827 h 834"/>
              <a:gd name="T52" fmla="*/ 361 w 744"/>
              <a:gd name="T53" fmla="*/ 747 h 834"/>
              <a:gd name="T54" fmla="*/ 359 w 744"/>
              <a:gd name="T55" fmla="*/ 744 h 834"/>
              <a:gd name="T56" fmla="*/ 359 w 744"/>
              <a:gd name="T57" fmla="*/ 699 h 834"/>
              <a:gd name="T58" fmla="*/ 340 w 744"/>
              <a:gd name="T59" fmla="*/ 699 h 834"/>
              <a:gd name="T60" fmla="*/ 503 w 744"/>
              <a:gd name="T61" fmla="*/ 409 h 834"/>
              <a:gd name="T62" fmla="*/ 529 w 744"/>
              <a:gd name="T63" fmla="*/ 536 h 834"/>
              <a:gd name="T64" fmla="*/ 616 w 744"/>
              <a:gd name="T65" fmla="*/ 492 h 834"/>
              <a:gd name="T66" fmla="*/ 616 w 744"/>
              <a:gd name="T67" fmla="*/ 435 h 834"/>
              <a:gd name="T68" fmla="*/ 616 w 744"/>
              <a:gd name="T69" fmla="*/ 364 h 834"/>
              <a:gd name="T70" fmla="*/ 706 w 744"/>
              <a:gd name="T71" fmla="*/ 364 h 834"/>
              <a:gd name="T72" fmla="*/ 744 w 744"/>
              <a:gd name="T73" fmla="*/ 364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4" h="834">
                <a:moveTo>
                  <a:pt x="744" y="364"/>
                </a:moveTo>
                <a:lnTo>
                  <a:pt x="654" y="258"/>
                </a:lnTo>
                <a:lnTo>
                  <a:pt x="586" y="208"/>
                </a:lnTo>
                <a:lnTo>
                  <a:pt x="529" y="208"/>
                </a:lnTo>
                <a:lnTo>
                  <a:pt x="517" y="178"/>
                </a:lnTo>
                <a:lnTo>
                  <a:pt x="435" y="133"/>
                </a:lnTo>
                <a:lnTo>
                  <a:pt x="317" y="0"/>
                </a:lnTo>
                <a:lnTo>
                  <a:pt x="220" y="0"/>
                </a:lnTo>
                <a:lnTo>
                  <a:pt x="272" y="114"/>
                </a:lnTo>
                <a:lnTo>
                  <a:pt x="208" y="126"/>
                </a:lnTo>
                <a:lnTo>
                  <a:pt x="182" y="55"/>
                </a:lnTo>
                <a:lnTo>
                  <a:pt x="102" y="107"/>
                </a:lnTo>
                <a:lnTo>
                  <a:pt x="106" y="234"/>
                </a:lnTo>
                <a:lnTo>
                  <a:pt x="57" y="234"/>
                </a:lnTo>
                <a:lnTo>
                  <a:pt x="19" y="364"/>
                </a:lnTo>
                <a:lnTo>
                  <a:pt x="87" y="447"/>
                </a:lnTo>
                <a:lnTo>
                  <a:pt x="7" y="473"/>
                </a:lnTo>
                <a:lnTo>
                  <a:pt x="26" y="579"/>
                </a:lnTo>
                <a:lnTo>
                  <a:pt x="0" y="603"/>
                </a:lnTo>
                <a:lnTo>
                  <a:pt x="0" y="612"/>
                </a:lnTo>
                <a:lnTo>
                  <a:pt x="45" y="612"/>
                </a:lnTo>
                <a:lnTo>
                  <a:pt x="135" y="699"/>
                </a:lnTo>
                <a:lnTo>
                  <a:pt x="224" y="744"/>
                </a:lnTo>
                <a:lnTo>
                  <a:pt x="314" y="789"/>
                </a:lnTo>
                <a:lnTo>
                  <a:pt x="359" y="834"/>
                </a:lnTo>
                <a:lnTo>
                  <a:pt x="366" y="827"/>
                </a:lnTo>
                <a:lnTo>
                  <a:pt x="361" y="747"/>
                </a:lnTo>
                <a:lnTo>
                  <a:pt x="359" y="744"/>
                </a:lnTo>
                <a:lnTo>
                  <a:pt x="359" y="699"/>
                </a:lnTo>
                <a:lnTo>
                  <a:pt x="340" y="699"/>
                </a:lnTo>
                <a:lnTo>
                  <a:pt x="503" y="409"/>
                </a:lnTo>
                <a:lnTo>
                  <a:pt x="529" y="536"/>
                </a:lnTo>
                <a:lnTo>
                  <a:pt x="616" y="492"/>
                </a:lnTo>
                <a:lnTo>
                  <a:pt x="616" y="435"/>
                </a:lnTo>
                <a:lnTo>
                  <a:pt x="616" y="364"/>
                </a:lnTo>
                <a:lnTo>
                  <a:pt x="706" y="364"/>
                </a:lnTo>
                <a:lnTo>
                  <a:pt x="744" y="364"/>
                </a:lnTo>
                <a:close/>
              </a:path>
            </a:pathLst>
          </a:custGeom>
          <a:solidFill>
            <a:schemeClr val="tx1"/>
          </a:solidFill>
          <a:ln w="6350">
            <a:solidFill>
              <a:srgbClr val="FFFFFF"/>
            </a:solidFill>
          </a:ln>
        </p:spPr>
        <p:txBody>
          <a:bodyPr vert="horz" wrap="square" lIns="68589" tIns="34295" rIns="68589" bIns="34295" numCol="1" anchor="t" anchorCtr="0" compatLnSpc="1">
            <a:prstTxWarp prst="textNoShape">
              <a:avLst/>
            </a:prstTxWarp>
          </a:bodyPr>
          <a:lstStyle/>
          <a:p>
            <a:endParaRPr lang="en-US" dirty="0"/>
          </a:p>
        </p:txBody>
      </p:sp>
      <p:sp>
        <p:nvSpPr>
          <p:cNvPr id="443" name="Monaco"/>
          <p:cNvSpPr>
            <a:spLocks/>
          </p:cNvSpPr>
          <p:nvPr/>
        </p:nvSpPr>
        <p:spPr bwMode="auto">
          <a:xfrm>
            <a:off x="4487381" y="1545416"/>
            <a:ext cx="11394" cy="9104"/>
          </a:xfrm>
          <a:custGeom>
            <a:avLst/>
            <a:gdLst/>
            <a:ahLst/>
            <a:cxnLst>
              <a:cxn ang="0">
                <a:pos x="8" y="8"/>
              </a:cxn>
              <a:cxn ang="0">
                <a:pos x="8" y="8"/>
              </a:cxn>
              <a:cxn ang="0">
                <a:pos x="0" y="8"/>
              </a:cxn>
              <a:cxn ang="0">
                <a:pos x="0" y="8"/>
              </a:cxn>
              <a:cxn ang="0">
                <a:pos x="4" y="4"/>
              </a:cxn>
              <a:cxn ang="0">
                <a:pos x="8" y="0"/>
              </a:cxn>
              <a:cxn ang="0">
                <a:pos x="8" y="0"/>
              </a:cxn>
              <a:cxn ang="0">
                <a:pos x="10" y="2"/>
              </a:cxn>
              <a:cxn ang="0">
                <a:pos x="8" y="8"/>
              </a:cxn>
              <a:cxn ang="0">
                <a:pos x="8" y="8"/>
              </a:cxn>
            </a:cxnLst>
            <a:rect l="0" t="0" r="r" b="b"/>
            <a:pathLst>
              <a:path w="10" h="8">
                <a:moveTo>
                  <a:pt x="8" y="8"/>
                </a:moveTo>
                <a:lnTo>
                  <a:pt x="8" y="8"/>
                </a:lnTo>
                <a:lnTo>
                  <a:pt x="0" y="8"/>
                </a:lnTo>
                <a:lnTo>
                  <a:pt x="0" y="8"/>
                </a:lnTo>
                <a:lnTo>
                  <a:pt x="4" y="4"/>
                </a:lnTo>
                <a:lnTo>
                  <a:pt x="8" y="0"/>
                </a:lnTo>
                <a:lnTo>
                  <a:pt x="8" y="0"/>
                </a:lnTo>
                <a:lnTo>
                  <a:pt x="10" y="2"/>
                </a:lnTo>
                <a:lnTo>
                  <a:pt x="8" y="8"/>
                </a:lnTo>
                <a:lnTo>
                  <a:pt x="8" y="8"/>
                </a:lnTo>
                <a:close/>
              </a:path>
            </a:pathLst>
          </a:custGeom>
          <a:solidFill>
            <a:schemeClr val="tx1"/>
          </a:solidFill>
          <a:ln w="6350">
            <a:solidFill>
              <a:srgbClr val="FFFFFF"/>
            </a:solid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421" name="Malta"/>
          <p:cNvSpPr>
            <a:spLocks/>
          </p:cNvSpPr>
          <p:nvPr/>
        </p:nvSpPr>
        <p:spPr bwMode="auto">
          <a:xfrm>
            <a:off x="4642444" y="1742242"/>
            <a:ext cx="13673" cy="11381"/>
          </a:xfrm>
          <a:custGeom>
            <a:avLst/>
            <a:gdLst/>
            <a:ahLst/>
            <a:cxnLst>
              <a:cxn ang="0">
                <a:pos x="6" y="0"/>
              </a:cxn>
              <a:cxn ang="0">
                <a:pos x="6" y="0"/>
              </a:cxn>
              <a:cxn ang="0">
                <a:pos x="4" y="0"/>
              </a:cxn>
              <a:cxn ang="0">
                <a:pos x="2" y="2"/>
              </a:cxn>
              <a:cxn ang="0">
                <a:pos x="2" y="2"/>
              </a:cxn>
              <a:cxn ang="0">
                <a:pos x="2" y="4"/>
              </a:cxn>
              <a:cxn ang="0">
                <a:pos x="2" y="4"/>
              </a:cxn>
              <a:cxn ang="0">
                <a:pos x="4" y="6"/>
              </a:cxn>
              <a:cxn ang="0">
                <a:pos x="4" y="6"/>
              </a:cxn>
              <a:cxn ang="0">
                <a:pos x="4" y="6"/>
              </a:cxn>
              <a:cxn ang="0">
                <a:pos x="4" y="6"/>
              </a:cxn>
              <a:cxn ang="0">
                <a:pos x="0" y="6"/>
              </a:cxn>
              <a:cxn ang="0">
                <a:pos x="0" y="6"/>
              </a:cxn>
              <a:cxn ang="0">
                <a:pos x="0" y="6"/>
              </a:cxn>
              <a:cxn ang="0">
                <a:pos x="0" y="6"/>
              </a:cxn>
              <a:cxn ang="0">
                <a:pos x="0" y="6"/>
              </a:cxn>
              <a:cxn ang="0">
                <a:pos x="0" y="6"/>
              </a:cxn>
              <a:cxn ang="0">
                <a:pos x="2" y="8"/>
              </a:cxn>
              <a:cxn ang="0">
                <a:pos x="6" y="10"/>
              </a:cxn>
              <a:cxn ang="0">
                <a:pos x="6" y="10"/>
              </a:cxn>
              <a:cxn ang="0">
                <a:pos x="8" y="10"/>
              </a:cxn>
              <a:cxn ang="0">
                <a:pos x="12" y="8"/>
              </a:cxn>
              <a:cxn ang="0">
                <a:pos x="12" y="8"/>
              </a:cxn>
              <a:cxn ang="0">
                <a:pos x="12" y="8"/>
              </a:cxn>
              <a:cxn ang="0">
                <a:pos x="12" y="6"/>
              </a:cxn>
              <a:cxn ang="0">
                <a:pos x="12" y="6"/>
              </a:cxn>
              <a:cxn ang="0">
                <a:pos x="12" y="4"/>
              </a:cxn>
              <a:cxn ang="0">
                <a:pos x="12" y="4"/>
              </a:cxn>
              <a:cxn ang="0">
                <a:pos x="12" y="2"/>
              </a:cxn>
              <a:cxn ang="0">
                <a:pos x="12" y="2"/>
              </a:cxn>
              <a:cxn ang="0">
                <a:pos x="12" y="0"/>
              </a:cxn>
              <a:cxn ang="0">
                <a:pos x="12" y="0"/>
              </a:cxn>
              <a:cxn ang="0">
                <a:pos x="10" y="0"/>
              </a:cxn>
              <a:cxn ang="0">
                <a:pos x="10" y="0"/>
              </a:cxn>
              <a:cxn ang="0">
                <a:pos x="6" y="0"/>
              </a:cxn>
              <a:cxn ang="0">
                <a:pos x="6" y="0"/>
              </a:cxn>
            </a:cxnLst>
            <a:rect l="0" t="0" r="r" b="b"/>
            <a:pathLst>
              <a:path w="12" h="10">
                <a:moveTo>
                  <a:pt x="6" y="0"/>
                </a:moveTo>
                <a:lnTo>
                  <a:pt x="6" y="0"/>
                </a:lnTo>
                <a:lnTo>
                  <a:pt x="4" y="0"/>
                </a:lnTo>
                <a:lnTo>
                  <a:pt x="2" y="2"/>
                </a:lnTo>
                <a:lnTo>
                  <a:pt x="2" y="2"/>
                </a:lnTo>
                <a:lnTo>
                  <a:pt x="2" y="4"/>
                </a:lnTo>
                <a:lnTo>
                  <a:pt x="2" y="4"/>
                </a:lnTo>
                <a:lnTo>
                  <a:pt x="4" y="6"/>
                </a:lnTo>
                <a:lnTo>
                  <a:pt x="4" y="6"/>
                </a:lnTo>
                <a:lnTo>
                  <a:pt x="4" y="6"/>
                </a:lnTo>
                <a:lnTo>
                  <a:pt x="4" y="6"/>
                </a:lnTo>
                <a:lnTo>
                  <a:pt x="0" y="6"/>
                </a:lnTo>
                <a:lnTo>
                  <a:pt x="0" y="6"/>
                </a:lnTo>
                <a:lnTo>
                  <a:pt x="0" y="6"/>
                </a:lnTo>
                <a:lnTo>
                  <a:pt x="0" y="6"/>
                </a:lnTo>
                <a:lnTo>
                  <a:pt x="0" y="6"/>
                </a:lnTo>
                <a:lnTo>
                  <a:pt x="0" y="6"/>
                </a:lnTo>
                <a:lnTo>
                  <a:pt x="2" y="8"/>
                </a:lnTo>
                <a:lnTo>
                  <a:pt x="6" y="10"/>
                </a:lnTo>
                <a:lnTo>
                  <a:pt x="6" y="10"/>
                </a:lnTo>
                <a:lnTo>
                  <a:pt x="8" y="10"/>
                </a:lnTo>
                <a:lnTo>
                  <a:pt x="12" y="8"/>
                </a:lnTo>
                <a:lnTo>
                  <a:pt x="12" y="8"/>
                </a:lnTo>
                <a:lnTo>
                  <a:pt x="12" y="8"/>
                </a:lnTo>
                <a:lnTo>
                  <a:pt x="12" y="6"/>
                </a:lnTo>
                <a:lnTo>
                  <a:pt x="12" y="6"/>
                </a:lnTo>
                <a:lnTo>
                  <a:pt x="12" y="4"/>
                </a:lnTo>
                <a:lnTo>
                  <a:pt x="12" y="4"/>
                </a:lnTo>
                <a:lnTo>
                  <a:pt x="12" y="2"/>
                </a:lnTo>
                <a:lnTo>
                  <a:pt x="12" y="2"/>
                </a:lnTo>
                <a:lnTo>
                  <a:pt x="12" y="0"/>
                </a:lnTo>
                <a:lnTo>
                  <a:pt x="12" y="0"/>
                </a:lnTo>
                <a:lnTo>
                  <a:pt x="10" y="0"/>
                </a:lnTo>
                <a:lnTo>
                  <a:pt x="10" y="0"/>
                </a:lnTo>
                <a:lnTo>
                  <a:pt x="6" y="0"/>
                </a:lnTo>
                <a:lnTo>
                  <a:pt x="6" y="0"/>
                </a:lnTo>
                <a:close/>
              </a:path>
            </a:pathLst>
          </a:custGeom>
          <a:solidFill>
            <a:schemeClr val="tx1"/>
          </a:solidFill>
          <a:ln w="6350">
            <a:solidFill>
              <a:srgbClr val="FFFFFF"/>
            </a:solid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688" name="Eritrea"/>
          <p:cNvSpPr>
            <a:spLocks/>
          </p:cNvSpPr>
          <p:nvPr/>
        </p:nvSpPr>
        <p:spPr bwMode="auto">
          <a:xfrm>
            <a:off x="5206018" y="2233632"/>
            <a:ext cx="182306" cy="176099"/>
          </a:xfrm>
          <a:custGeom>
            <a:avLst/>
            <a:gdLst/>
            <a:ahLst/>
            <a:cxnLst/>
            <a:rect l="l" t="t" r="r" b="b"/>
            <a:pathLst>
              <a:path w="243012" h="234798">
                <a:moveTo>
                  <a:pt x="238480" y="223855"/>
                </a:moveTo>
                <a:lnTo>
                  <a:pt x="243012" y="230648"/>
                </a:lnTo>
                <a:lnTo>
                  <a:pt x="243012" y="234798"/>
                </a:lnTo>
                <a:close/>
                <a:moveTo>
                  <a:pt x="60753" y="0"/>
                </a:moveTo>
                <a:lnTo>
                  <a:pt x="85054" y="36418"/>
                </a:lnTo>
                <a:lnTo>
                  <a:pt x="91130" y="51592"/>
                </a:lnTo>
                <a:lnTo>
                  <a:pt x="97205" y="75871"/>
                </a:lnTo>
                <a:lnTo>
                  <a:pt x="103280" y="97115"/>
                </a:lnTo>
                <a:lnTo>
                  <a:pt x="109356" y="109254"/>
                </a:lnTo>
                <a:lnTo>
                  <a:pt x="112393" y="109254"/>
                </a:lnTo>
                <a:lnTo>
                  <a:pt x="115431" y="109254"/>
                </a:lnTo>
                <a:lnTo>
                  <a:pt x="118469" y="106219"/>
                </a:lnTo>
                <a:lnTo>
                  <a:pt x="121506" y="112289"/>
                </a:lnTo>
                <a:lnTo>
                  <a:pt x="127582" y="118359"/>
                </a:lnTo>
                <a:lnTo>
                  <a:pt x="130619" y="121394"/>
                </a:lnTo>
                <a:lnTo>
                  <a:pt x="136694" y="124428"/>
                </a:lnTo>
                <a:lnTo>
                  <a:pt x="142770" y="127463"/>
                </a:lnTo>
                <a:lnTo>
                  <a:pt x="148845" y="130498"/>
                </a:lnTo>
                <a:lnTo>
                  <a:pt x="151883" y="133533"/>
                </a:lnTo>
                <a:lnTo>
                  <a:pt x="157958" y="133533"/>
                </a:lnTo>
                <a:lnTo>
                  <a:pt x="160996" y="136568"/>
                </a:lnTo>
                <a:lnTo>
                  <a:pt x="167071" y="139603"/>
                </a:lnTo>
                <a:lnTo>
                  <a:pt x="176184" y="151742"/>
                </a:lnTo>
                <a:lnTo>
                  <a:pt x="185297" y="163881"/>
                </a:lnTo>
                <a:lnTo>
                  <a:pt x="197447" y="176021"/>
                </a:lnTo>
                <a:lnTo>
                  <a:pt x="206560" y="185125"/>
                </a:lnTo>
                <a:lnTo>
                  <a:pt x="209598" y="194230"/>
                </a:lnTo>
                <a:lnTo>
                  <a:pt x="209598" y="197264"/>
                </a:lnTo>
                <a:lnTo>
                  <a:pt x="212636" y="200299"/>
                </a:lnTo>
                <a:lnTo>
                  <a:pt x="218711" y="200299"/>
                </a:lnTo>
                <a:lnTo>
                  <a:pt x="218711" y="203334"/>
                </a:lnTo>
                <a:lnTo>
                  <a:pt x="227824" y="215473"/>
                </a:lnTo>
                <a:lnTo>
                  <a:pt x="231091" y="217649"/>
                </a:lnTo>
                <a:lnTo>
                  <a:pt x="210412" y="209084"/>
                </a:lnTo>
                <a:cubicBezTo>
                  <a:pt x="207930" y="209084"/>
                  <a:pt x="205505" y="209325"/>
                  <a:pt x="203576" y="211916"/>
                </a:cubicBezTo>
                <a:lnTo>
                  <a:pt x="194410" y="197264"/>
                </a:lnTo>
                <a:lnTo>
                  <a:pt x="173146" y="176021"/>
                </a:lnTo>
                <a:lnTo>
                  <a:pt x="164033" y="166916"/>
                </a:lnTo>
                <a:lnTo>
                  <a:pt x="151883" y="157812"/>
                </a:lnTo>
                <a:lnTo>
                  <a:pt x="139732" y="154777"/>
                </a:lnTo>
                <a:lnTo>
                  <a:pt x="124544" y="154777"/>
                </a:lnTo>
                <a:lnTo>
                  <a:pt x="112393" y="154777"/>
                </a:lnTo>
                <a:lnTo>
                  <a:pt x="106318" y="154777"/>
                </a:lnTo>
                <a:lnTo>
                  <a:pt x="100243" y="154777"/>
                </a:lnTo>
                <a:lnTo>
                  <a:pt x="91130" y="157812"/>
                </a:lnTo>
                <a:lnTo>
                  <a:pt x="82017" y="157812"/>
                </a:lnTo>
                <a:lnTo>
                  <a:pt x="72904" y="157812"/>
                </a:lnTo>
                <a:lnTo>
                  <a:pt x="66829" y="154777"/>
                </a:lnTo>
                <a:lnTo>
                  <a:pt x="63791" y="151742"/>
                </a:lnTo>
                <a:lnTo>
                  <a:pt x="57716" y="145672"/>
                </a:lnTo>
                <a:lnTo>
                  <a:pt x="57716" y="142637"/>
                </a:lnTo>
                <a:lnTo>
                  <a:pt x="51640" y="142637"/>
                </a:lnTo>
                <a:lnTo>
                  <a:pt x="48603" y="145672"/>
                </a:lnTo>
                <a:lnTo>
                  <a:pt x="45565" y="151742"/>
                </a:lnTo>
                <a:lnTo>
                  <a:pt x="42527" y="160846"/>
                </a:lnTo>
                <a:lnTo>
                  <a:pt x="36452" y="163881"/>
                </a:lnTo>
                <a:lnTo>
                  <a:pt x="33414" y="163881"/>
                </a:lnTo>
                <a:lnTo>
                  <a:pt x="33414" y="160846"/>
                </a:lnTo>
                <a:lnTo>
                  <a:pt x="30377" y="157812"/>
                </a:lnTo>
                <a:lnTo>
                  <a:pt x="27339" y="154777"/>
                </a:lnTo>
                <a:lnTo>
                  <a:pt x="21264" y="154777"/>
                </a:lnTo>
                <a:lnTo>
                  <a:pt x="0" y="160846"/>
                </a:lnTo>
                <a:lnTo>
                  <a:pt x="6076" y="121394"/>
                </a:lnTo>
                <a:lnTo>
                  <a:pt x="15188" y="66767"/>
                </a:lnTo>
                <a:lnTo>
                  <a:pt x="18226" y="48557"/>
                </a:lnTo>
                <a:lnTo>
                  <a:pt x="21264" y="39453"/>
                </a:lnTo>
                <a:lnTo>
                  <a:pt x="27339" y="30348"/>
                </a:lnTo>
                <a:lnTo>
                  <a:pt x="33414" y="27314"/>
                </a:lnTo>
                <a:lnTo>
                  <a:pt x="45565" y="18209"/>
                </a:lnTo>
                <a:lnTo>
                  <a:pt x="54678" y="9105"/>
                </a:lnTo>
                <a:close/>
              </a:path>
            </a:pathLst>
          </a:custGeom>
          <a:solidFill>
            <a:schemeClr val="tx1"/>
          </a:solidFill>
          <a:ln w="6350">
            <a:solidFill>
              <a:srgbClr val="FFFFFF"/>
            </a:solid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030" name="Djibouti"/>
          <p:cNvSpPr/>
          <p:nvPr/>
        </p:nvSpPr>
        <p:spPr bwMode="auto">
          <a:xfrm>
            <a:off x="5347306" y="2390445"/>
            <a:ext cx="41018" cy="50315"/>
          </a:xfrm>
          <a:custGeom>
            <a:avLst/>
            <a:gdLst/>
            <a:ahLst/>
            <a:cxnLst/>
            <a:rect l="l" t="t" r="r" b="b"/>
            <a:pathLst>
              <a:path w="54677" h="67086">
                <a:moveTo>
                  <a:pt x="22077" y="0"/>
                </a:moveTo>
                <a:lnTo>
                  <a:pt x="42756" y="8565"/>
                </a:lnTo>
                <a:lnTo>
                  <a:pt x="48602" y="12459"/>
                </a:lnTo>
                <a:lnTo>
                  <a:pt x="50145" y="14771"/>
                </a:lnTo>
                <a:lnTo>
                  <a:pt x="54677" y="25714"/>
                </a:lnTo>
                <a:lnTo>
                  <a:pt x="54677" y="27633"/>
                </a:lnTo>
                <a:lnTo>
                  <a:pt x="54677" y="33703"/>
                </a:lnTo>
                <a:lnTo>
                  <a:pt x="51640" y="42807"/>
                </a:lnTo>
                <a:lnTo>
                  <a:pt x="45564" y="45842"/>
                </a:lnTo>
                <a:lnTo>
                  <a:pt x="39489" y="48877"/>
                </a:lnTo>
                <a:lnTo>
                  <a:pt x="33414" y="48877"/>
                </a:lnTo>
                <a:lnTo>
                  <a:pt x="21263" y="54947"/>
                </a:lnTo>
                <a:lnTo>
                  <a:pt x="27338" y="54947"/>
                </a:lnTo>
                <a:lnTo>
                  <a:pt x="39489" y="51912"/>
                </a:lnTo>
                <a:lnTo>
                  <a:pt x="42527" y="51912"/>
                </a:lnTo>
                <a:lnTo>
                  <a:pt x="45564" y="54947"/>
                </a:lnTo>
                <a:lnTo>
                  <a:pt x="33414" y="67086"/>
                </a:lnTo>
                <a:lnTo>
                  <a:pt x="27338" y="64051"/>
                </a:lnTo>
                <a:lnTo>
                  <a:pt x="21263" y="64051"/>
                </a:lnTo>
                <a:lnTo>
                  <a:pt x="15188" y="67086"/>
                </a:lnTo>
                <a:lnTo>
                  <a:pt x="9112" y="67086"/>
                </a:lnTo>
                <a:lnTo>
                  <a:pt x="6075" y="67086"/>
                </a:lnTo>
                <a:lnTo>
                  <a:pt x="3037" y="61016"/>
                </a:lnTo>
                <a:lnTo>
                  <a:pt x="0" y="57982"/>
                </a:lnTo>
                <a:lnTo>
                  <a:pt x="0" y="45842"/>
                </a:lnTo>
                <a:lnTo>
                  <a:pt x="6075" y="24598"/>
                </a:lnTo>
                <a:lnTo>
                  <a:pt x="9112" y="15494"/>
                </a:lnTo>
                <a:lnTo>
                  <a:pt x="15188" y="12459"/>
                </a:lnTo>
                <a:lnTo>
                  <a:pt x="21263" y="12459"/>
                </a:lnTo>
                <a:lnTo>
                  <a:pt x="15241" y="2832"/>
                </a:lnTo>
                <a:cubicBezTo>
                  <a:pt x="17170" y="241"/>
                  <a:pt x="19595" y="0"/>
                  <a:pt x="22077" y="0"/>
                </a:cubicBezTo>
                <a:close/>
              </a:path>
            </a:pathLst>
          </a:custGeom>
          <a:solidFill>
            <a:schemeClr val="tx1"/>
          </a:solidFill>
          <a:ln w="6350">
            <a:solidFill>
              <a:srgbClr val="FFFFFF"/>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685" name="Cyprus"/>
          <p:cNvSpPr>
            <a:spLocks/>
          </p:cNvSpPr>
          <p:nvPr/>
        </p:nvSpPr>
        <p:spPr bwMode="auto">
          <a:xfrm>
            <a:off x="5105969" y="1751371"/>
            <a:ext cx="20579" cy="6858"/>
          </a:xfrm>
          <a:custGeom>
            <a:avLst/>
            <a:gdLst/>
            <a:ahLst/>
            <a:cxnLst>
              <a:cxn ang="0">
                <a:pos x="14" y="4"/>
              </a:cxn>
              <a:cxn ang="0">
                <a:pos x="14" y="4"/>
              </a:cxn>
              <a:cxn ang="0">
                <a:pos x="12" y="4"/>
              </a:cxn>
              <a:cxn ang="0">
                <a:pos x="10" y="6"/>
              </a:cxn>
              <a:cxn ang="0">
                <a:pos x="10" y="8"/>
              </a:cxn>
              <a:cxn ang="0">
                <a:pos x="10" y="10"/>
              </a:cxn>
              <a:cxn ang="0">
                <a:pos x="10" y="10"/>
              </a:cxn>
              <a:cxn ang="0">
                <a:pos x="6" y="20"/>
              </a:cxn>
              <a:cxn ang="0">
                <a:pos x="2" y="30"/>
              </a:cxn>
              <a:cxn ang="0">
                <a:pos x="2" y="30"/>
              </a:cxn>
              <a:cxn ang="0">
                <a:pos x="0" y="36"/>
              </a:cxn>
              <a:cxn ang="0">
                <a:pos x="0" y="42"/>
              </a:cxn>
              <a:cxn ang="0">
                <a:pos x="2" y="44"/>
              </a:cxn>
              <a:cxn ang="0">
                <a:pos x="4" y="50"/>
              </a:cxn>
              <a:cxn ang="0">
                <a:pos x="4" y="50"/>
              </a:cxn>
              <a:cxn ang="0">
                <a:pos x="4" y="54"/>
              </a:cxn>
              <a:cxn ang="0">
                <a:pos x="6" y="56"/>
              </a:cxn>
              <a:cxn ang="0">
                <a:pos x="10" y="58"/>
              </a:cxn>
              <a:cxn ang="0">
                <a:pos x="10" y="58"/>
              </a:cxn>
              <a:cxn ang="0">
                <a:pos x="14" y="66"/>
              </a:cxn>
              <a:cxn ang="0">
                <a:pos x="20" y="68"/>
              </a:cxn>
              <a:cxn ang="0">
                <a:pos x="20" y="68"/>
              </a:cxn>
              <a:cxn ang="0">
                <a:pos x="24" y="72"/>
              </a:cxn>
              <a:cxn ang="0">
                <a:pos x="24" y="76"/>
              </a:cxn>
              <a:cxn ang="0">
                <a:pos x="24" y="76"/>
              </a:cxn>
              <a:cxn ang="0">
                <a:pos x="24" y="76"/>
              </a:cxn>
              <a:cxn ang="0">
                <a:pos x="26" y="78"/>
              </a:cxn>
              <a:cxn ang="0">
                <a:pos x="30" y="76"/>
              </a:cxn>
              <a:cxn ang="0">
                <a:pos x="30" y="76"/>
              </a:cxn>
              <a:cxn ang="0">
                <a:pos x="28" y="70"/>
              </a:cxn>
              <a:cxn ang="0">
                <a:pos x="28" y="64"/>
              </a:cxn>
              <a:cxn ang="0">
                <a:pos x="28" y="64"/>
              </a:cxn>
              <a:cxn ang="0">
                <a:pos x="30" y="62"/>
              </a:cxn>
              <a:cxn ang="0">
                <a:pos x="32" y="60"/>
              </a:cxn>
              <a:cxn ang="0">
                <a:pos x="32" y="56"/>
              </a:cxn>
              <a:cxn ang="0">
                <a:pos x="32" y="52"/>
              </a:cxn>
              <a:cxn ang="0">
                <a:pos x="32" y="52"/>
              </a:cxn>
              <a:cxn ang="0">
                <a:pos x="32" y="42"/>
              </a:cxn>
              <a:cxn ang="0">
                <a:pos x="32" y="38"/>
              </a:cxn>
              <a:cxn ang="0">
                <a:pos x="30" y="34"/>
              </a:cxn>
              <a:cxn ang="0">
                <a:pos x="30" y="34"/>
              </a:cxn>
              <a:cxn ang="0">
                <a:pos x="28" y="30"/>
              </a:cxn>
              <a:cxn ang="0">
                <a:pos x="28" y="28"/>
              </a:cxn>
              <a:cxn ang="0">
                <a:pos x="28" y="28"/>
              </a:cxn>
              <a:cxn ang="0">
                <a:pos x="30" y="22"/>
              </a:cxn>
              <a:cxn ang="0">
                <a:pos x="28" y="14"/>
              </a:cxn>
              <a:cxn ang="0">
                <a:pos x="28" y="14"/>
              </a:cxn>
              <a:cxn ang="0">
                <a:pos x="28" y="10"/>
              </a:cxn>
              <a:cxn ang="0">
                <a:pos x="28" y="8"/>
              </a:cxn>
              <a:cxn ang="0">
                <a:pos x="28" y="8"/>
              </a:cxn>
              <a:cxn ang="0">
                <a:pos x="28" y="8"/>
              </a:cxn>
              <a:cxn ang="0">
                <a:pos x="30" y="6"/>
              </a:cxn>
              <a:cxn ang="0">
                <a:pos x="30" y="4"/>
              </a:cxn>
              <a:cxn ang="0">
                <a:pos x="22" y="0"/>
              </a:cxn>
              <a:cxn ang="0">
                <a:pos x="22" y="0"/>
              </a:cxn>
              <a:cxn ang="0">
                <a:pos x="20" y="0"/>
              </a:cxn>
              <a:cxn ang="0">
                <a:pos x="18" y="2"/>
              </a:cxn>
              <a:cxn ang="0">
                <a:pos x="16" y="2"/>
              </a:cxn>
              <a:cxn ang="0">
                <a:pos x="14" y="4"/>
              </a:cxn>
              <a:cxn ang="0">
                <a:pos x="14" y="4"/>
              </a:cxn>
            </a:cxnLst>
            <a:rect l="0" t="0" r="r" b="b"/>
            <a:pathLst>
              <a:path w="32" h="78">
                <a:moveTo>
                  <a:pt x="14" y="4"/>
                </a:moveTo>
                <a:lnTo>
                  <a:pt x="14" y="4"/>
                </a:lnTo>
                <a:lnTo>
                  <a:pt x="12" y="4"/>
                </a:lnTo>
                <a:lnTo>
                  <a:pt x="10" y="6"/>
                </a:lnTo>
                <a:lnTo>
                  <a:pt x="10" y="8"/>
                </a:lnTo>
                <a:lnTo>
                  <a:pt x="10" y="10"/>
                </a:lnTo>
                <a:lnTo>
                  <a:pt x="10" y="10"/>
                </a:lnTo>
                <a:lnTo>
                  <a:pt x="6" y="20"/>
                </a:lnTo>
                <a:lnTo>
                  <a:pt x="2" y="30"/>
                </a:lnTo>
                <a:lnTo>
                  <a:pt x="2" y="30"/>
                </a:lnTo>
                <a:lnTo>
                  <a:pt x="0" y="36"/>
                </a:lnTo>
                <a:lnTo>
                  <a:pt x="0" y="42"/>
                </a:lnTo>
                <a:lnTo>
                  <a:pt x="2" y="44"/>
                </a:lnTo>
                <a:lnTo>
                  <a:pt x="4" y="50"/>
                </a:lnTo>
                <a:lnTo>
                  <a:pt x="4" y="50"/>
                </a:lnTo>
                <a:lnTo>
                  <a:pt x="4" y="54"/>
                </a:lnTo>
                <a:lnTo>
                  <a:pt x="6" y="56"/>
                </a:lnTo>
                <a:lnTo>
                  <a:pt x="10" y="58"/>
                </a:lnTo>
                <a:lnTo>
                  <a:pt x="10" y="58"/>
                </a:lnTo>
                <a:lnTo>
                  <a:pt x="14" y="66"/>
                </a:lnTo>
                <a:lnTo>
                  <a:pt x="20" y="68"/>
                </a:lnTo>
                <a:lnTo>
                  <a:pt x="20" y="68"/>
                </a:lnTo>
                <a:lnTo>
                  <a:pt x="24" y="72"/>
                </a:lnTo>
                <a:lnTo>
                  <a:pt x="24" y="76"/>
                </a:lnTo>
                <a:lnTo>
                  <a:pt x="24" y="76"/>
                </a:lnTo>
                <a:lnTo>
                  <a:pt x="24" y="76"/>
                </a:lnTo>
                <a:lnTo>
                  <a:pt x="26" y="78"/>
                </a:lnTo>
                <a:lnTo>
                  <a:pt x="30" y="76"/>
                </a:lnTo>
                <a:lnTo>
                  <a:pt x="30" y="76"/>
                </a:lnTo>
                <a:lnTo>
                  <a:pt x="28" y="70"/>
                </a:lnTo>
                <a:lnTo>
                  <a:pt x="28" y="64"/>
                </a:lnTo>
                <a:lnTo>
                  <a:pt x="28" y="64"/>
                </a:lnTo>
                <a:lnTo>
                  <a:pt x="30" y="62"/>
                </a:lnTo>
                <a:lnTo>
                  <a:pt x="32" y="60"/>
                </a:lnTo>
                <a:lnTo>
                  <a:pt x="32" y="56"/>
                </a:lnTo>
                <a:lnTo>
                  <a:pt x="32" y="52"/>
                </a:lnTo>
                <a:lnTo>
                  <a:pt x="32" y="52"/>
                </a:lnTo>
                <a:lnTo>
                  <a:pt x="32" y="42"/>
                </a:lnTo>
                <a:lnTo>
                  <a:pt x="32" y="38"/>
                </a:lnTo>
                <a:lnTo>
                  <a:pt x="30" y="34"/>
                </a:lnTo>
                <a:lnTo>
                  <a:pt x="30" y="34"/>
                </a:lnTo>
                <a:lnTo>
                  <a:pt x="28" y="30"/>
                </a:lnTo>
                <a:lnTo>
                  <a:pt x="28" y="28"/>
                </a:lnTo>
                <a:lnTo>
                  <a:pt x="28" y="28"/>
                </a:lnTo>
                <a:lnTo>
                  <a:pt x="30" y="22"/>
                </a:lnTo>
                <a:lnTo>
                  <a:pt x="28" y="14"/>
                </a:lnTo>
                <a:lnTo>
                  <a:pt x="28" y="14"/>
                </a:lnTo>
                <a:lnTo>
                  <a:pt x="28" y="10"/>
                </a:lnTo>
                <a:lnTo>
                  <a:pt x="28" y="8"/>
                </a:lnTo>
                <a:lnTo>
                  <a:pt x="28" y="8"/>
                </a:lnTo>
                <a:lnTo>
                  <a:pt x="28" y="8"/>
                </a:lnTo>
                <a:lnTo>
                  <a:pt x="30" y="6"/>
                </a:lnTo>
                <a:lnTo>
                  <a:pt x="30" y="4"/>
                </a:lnTo>
                <a:lnTo>
                  <a:pt x="22" y="0"/>
                </a:lnTo>
                <a:lnTo>
                  <a:pt x="22" y="0"/>
                </a:lnTo>
                <a:lnTo>
                  <a:pt x="20" y="0"/>
                </a:lnTo>
                <a:lnTo>
                  <a:pt x="18" y="2"/>
                </a:lnTo>
                <a:lnTo>
                  <a:pt x="16" y="2"/>
                </a:lnTo>
                <a:lnTo>
                  <a:pt x="14" y="4"/>
                </a:lnTo>
                <a:lnTo>
                  <a:pt x="14" y="4"/>
                </a:lnTo>
                <a:close/>
              </a:path>
            </a:pathLst>
          </a:custGeom>
          <a:solidFill>
            <a:schemeClr val="accent6"/>
          </a:solidFill>
          <a:ln w="6350">
            <a:solidFill>
              <a:srgbClr val="FFFFFF"/>
            </a:solid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74" name="Luxembourg"/>
          <p:cNvSpPr>
            <a:spLocks/>
          </p:cNvSpPr>
          <p:nvPr/>
        </p:nvSpPr>
        <p:spPr bwMode="auto">
          <a:xfrm>
            <a:off x="4453419" y="1409675"/>
            <a:ext cx="11394" cy="9104"/>
          </a:xfrm>
          <a:custGeom>
            <a:avLst/>
            <a:gdLst/>
            <a:ahLst/>
            <a:cxnLst>
              <a:cxn ang="0">
                <a:pos x="8" y="8"/>
              </a:cxn>
              <a:cxn ang="0">
                <a:pos x="8" y="8"/>
              </a:cxn>
              <a:cxn ang="0">
                <a:pos x="0" y="8"/>
              </a:cxn>
              <a:cxn ang="0">
                <a:pos x="0" y="8"/>
              </a:cxn>
              <a:cxn ang="0">
                <a:pos x="4" y="4"/>
              </a:cxn>
              <a:cxn ang="0">
                <a:pos x="8" y="0"/>
              </a:cxn>
              <a:cxn ang="0">
                <a:pos x="8" y="0"/>
              </a:cxn>
              <a:cxn ang="0">
                <a:pos x="10" y="2"/>
              </a:cxn>
              <a:cxn ang="0">
                <a:pos x="8" y="8"/>
              </a:cxn>
              <a:cxn ang="0">
                <a:pos x="8" y="8"/>
              </a:cxn>
            </a:cxnLst>
            <a:rect l="0" t="0" r="r" b="b"/>
            <a:pathLst>
              <a:path w="10" h="8">
                <a:moveTo>
                  <a:pt x="8" y="8"/>
                </a:moveTo>
                <a:lnTo>
                  <a:pt x="8" y="8"/>
                </a:lnTo>
                <a:lnTo>
                  <a:pt x="0" y="8"/>
                </a:lnTo>
                <a:lnTo>
                  <a:pt x="0" y="8"/>
                </a:lnTo>
                <a:lnTo>
                  <a:pt x="4" y="4"/>
                </a:lnTo>
                <a:lnTo>
                  <a:pt x="8" y="0"/>
                </a:lnTo>
                <a:lnTo>
                  <a:pt x="8" y="0"/>
                </a:lnTo>
                <a:lnTo>
                  <a:pt x="10" y="2"/>
                </a:lnTo>
                <a:lnTo>
                  <a:pt x="8" y="8"/>
                </a:lnTo>
                <a:lnTo>
                  <a:pt x="8" y="8"/>
                </a:lnTo>
                <a:close/>
              </a:path>
            </a:pathLst>
          </a:custGeom>
          <a:solidFill>
            <a:schemeClr val="accent3"/>
          </a:solidFill>
          <a:ln w="6350">
            <a:solidFill>
              <a:srgbClr val="FFFFFF"/>
            </a:solid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615" name="Bahrain"/>
          <p:cNvSpPr>
            <a:spLocks/>
          </p:cNvSpPr>
          <p:nvPr/>
        </p:nvSpPr>
        <p:spPr bwMode="auto">
          <a:xfrm rot="16200000">
            <a:off x="5509086" y="1997197"/>
            <a:ext cx="11391" cy="9107"/>
          </a:xfrm>
          <a:custGeom>
            <a:avLst/>
            <a:gdLst/>
            <a:ahLst/>
            <a:cxnLst>
              <a:cxn ang="0">
                <a:pos x="8" y="8"/>
              </a:cxn>
              <a:cxn ang="0">
                <a:pos x="8" y="8"/>
              </a:cxn>
              <a:cxn ang="0">
                <a:pos x="0" y="8"/>
              </a:cxn>
              <a:cxn ang="0">
                <a:pos x="0" y="8"/>
              </a:cxn>
              <a:cxn ang="0">
                <a:pos x="4" y="4"/>
              </a:cxn>
              <a:cxn ang="0">
                <a:pos x="8" y="0"/>
              </a:cxn>
              <a:cxn ang="0">
                <a:pos x="8" y="0"/>
              </a:cxn>
              <a:cxn ang="0">
                <a:pos x="10" y="2"/>
              </a:cxn>
              <a:cxn ang="0">
                <a:pos x="8" y="8"/>
              </a:cxn>
              <a:cxn ang="0">
                <a:pos x="8" y="8"/>
              </a:cxn>
            </a:cxnLst>
            <a:rect l="0" t="0" r="r" b="b"/>
            <a:pathLst>
              <a:path w="10" h="8">
                <a:moveTo>
                  <a:pt x="8" y="8"/>
                </a:moveTo>
                <a:lnTo>
                  <a:pt x="8" y="8"/>
                </a:lnTo>
                <a:lnTo>
                  <a:pt x="0" y="8"/>
                </a:lnTo>
                <a:lnTo>
                  <a:pt x="0" y="8"/>
                </a:lnTo>
                <a:lnTo>
                  <a:pt x="4" y="4"/>
                </a:lnTo>
                <a:lnTo>
                  <a:pt x="8" y="0"/>
                </a:lnTo>
                <a:lnTo>
                  <a:pt x="8" y="0"/>
                </a:lnTo>
                <a:lnTo>
                  <a:pt x="10" y="2"/>
                </a:lnTo>
                <a:lnTo>
                  <a:pt x="8" y="8"/>
                </a:lnTo>
                <a:lnTo>
                  <a:pt x="8" y="8"/>
                </a:lnTo>
                <a:close/>
              </a:path>
            </a:pathLst>
          </a:custGeom>
          <a:solidFill>
            <a:schemeClr val="tx1"/>
          </a:solidFill>
          <a:ln w="6350">
            <a:solidFill>
              <a:srgbClr val="FFFFFF"/>
            </a:solid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617" name="Bahrain"/>
          <p:cNvSpPr>
            <a:spLocks/>
          </p:cNvSpPr>
          <p:nvPr/>
        </p:nvSpPr>
        <p:spPr bwMode="auto">
          <a:xfrm rot="16200000">
            <a:off x="5509098" y="1997209"/>
            <a:ext cx="11391" cy="9107"/>
          </a:xfrm>
          <a:custGeom>
            <a:avLst/>
            <a:gdLst/>
            <a:ahLst/>
            <a:cxnLst>
              <a:cxn ang="0">
                <a:pos x="8" y="8"/>
              </a:cxn>
              <a:cxn ang="0">
                <a:pos x="8" y="8"/>
              </a:cxn>
              <a:cxn ang="0">
                <a:pos x="0" y="8"/>
              </a:cxn>
              <a:cxn ang="0">
                <a:pos x="0" y="8"/>
              </a:cxn>
              <a:cxn ang="0">
                <a:pos x="4" y="4"/>
              </a:cxn>
              <a:cxn ang="0">
                <a:pos x="8" y="0"/>
              </a:cxn>
              <a:cxn ang="0">
                <a:pos x="8" y="0"/>
              </a:cxn>
              <a:cxn ang="0">
                <a:pos x="10" y="2"/>
              </a:cxn>
              <a:cxn ang="0">
                <a:pos x="8" y="8"/>
              </a:cxn>
              <a:cxn ang="0">
                <a:pos x="8" y="8"/>
              </a:cxn>
            </a:cxnLst>
            <a:rect l="0" t="0" r="r" b="b"/>
            <a:pathLst>
              <a:path w="10" h="8">
                <a:moveTo>
                  <a:pt x="8" y="8"/>
                </a:moveTo>
                <a:lnTo>
                  <a:pt x="8" y="8"/>
                </a:lnTo>
                <a:lnTo>
                  <a:pt x="0" y="8"/>
                </a:lnTo>
                <a:lnTo>
                  <a:pt x="0" y="8"/>
                </a:lnTo>
                <a:lnTo>
                  <a:pt x="4" y="4"/>
                </a:lnTo>
                <a:lnTo>
                  <a:pt x="8" y="0"/>
                </a:lnTo>
                <a:lnTo>
                  <a:pt x="8" y="0"/>
                </a:lnTo>
                <a:lnTo>
                  <a:pt x="10" y="2"/>
                </a:lnTo>
                <a:lnTo>
                  <a:pt x="8" y="8"/>
                </a:lnTo>
                <a:lnTo>
                  <a:pt x="8" y="8"/>
                </a:lnTo>
                <a:close/>
              </a:path>
            </a:pathLst>
          </a:custGeom>
          <a:solidFill>
            <a:schemeClr val="accent1"/>
          </a:solidFill>
          <a:ln w="6350">
            <a:solidFill>
              <a:srgbClr val="FFFFFF"/>
            </a:solid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025" name="Bosnia and Herzegovina"/>
          <p:cNvSpPr>
            <a:spLocks/>
          </p:cNvSpPr>
          <p:nvPr/>
        </p:nvSpPr>
        <p:spPr bwMode="auto">
          <a:xfrm>
            <a:off x="4702267" y="1519386"/>
            <a:ext cx="68059" cy="66079"/>
          </a:xfrm>
          <a:custGeom>
            <a:avLst/>
            <a:gdLst>
              <a:gd name="T0" fmla="*/ 435 w 832"/>
              <a:gd name="T1" fmla="*/ 694 h 808"/>
              <a:gd name="T2" fmla="*/ 350 w 832"/>
              <a:gd name="T3" fmla="*/ 600 h 808"/>
              <a:gd name="T4" fmla="*/ 350 w 832"/>
              <a:gd name="T5" fmla="*/ 529 h 808"/>
              <a:gd name="T6" fmla="*/ 265 w 832"/>
              <a:gd name="T7" fmla="*/ 498 h 808"/>
              <a:gd name="T8" fmla="*/ 102 w 832"/>
              <a:gd name="T9" fmla="*/ 302 h 808"/>
              <a:gd name="T10" fmla="*/ 71 w 832"/>
              <a:gd name="T11" fmla="*/ 196 h 808"/>
              <a:gd name="T12" fmla="*/ 71 w 832"/>
              <a:gd name="T13" fmla="*/ 158 h 808"/>
              <a:gd name="T14" fmla="*/ 0 w 832"/>
              <a:gd name="T15" fmla="*/ 158 h 808"/>
              <a:gd name="T16" fmla="*/ 0 w 832"/>
              <a:gd name="T17" fmla="*/ 0 h 808"/>
              <a:gd name="T18" fmla="*/ 128 w 832"/>
              <a:gd name="T19" fmla="*/ 57 h 808"/>
              <a:gd name="T20" fmla="*/ 177 w 832"/>
              <a:gd name="T21" fmla="*/ 0 h 808"/>
              <a:gd name="T22" fmla="*/ 260 w 832"/>
              <a:gd name="T23" fmla="*/ 0 h 808"/>
              <a:gd name="T24" fmla="*/ 350 w 832"/>
              <a:gd name="T25" fmla="*/ 57 h 808"/>
              <a:gd name="T26" fmla="*/ 480 w 832"/>
              <a:gd name="T27" fmla="*/ 71 h 808"/>
              <a:gd name="T28" fmla="*/ 508 w 832"/>
              <a:gd name="T29" fmla="*/ 38 h 808"/>
              <a:gd name="T30" fmla="*/ 643 w 832"/>
              <a:gd name="T31" fmla="*/ 52 h 808"/>
              <a:gd name="T32" fmla="*/ 699 w 832"/>
              <a:gd name="T33" fmla="*/ 109 h 808"/>
              <a:gd name="T34" fmla="*/ 782 w 832"/>
              <a:gd name="T35" fmla="*/ 113 h 808"/>
              <a:gd name="T36" fmla="*/ 782 w 832"/>
              <a:gd name="T37" fmla="*/ 203 h 808"/>
              <a:gd name="T38" fmla="*/ 732 w 832"/>
              <a:gd name="T39" fmla="*/ 246 h 808"/>
              <a:gd name="T40" fmla="*/ 832 w 832"/>
              <a:gd name="T41" fmla="*/ 347 h 808"/>
              <a:gd name="T42" fmla="*/ 832 w 832"/>
              <a:gd name="T43" fmla="*/ 409 h 808"/>
              <a:gd name="T44" fmla="*/ 789 w 832"/>
              <a:gd name="T45" fmla="*/ 409 h 808"/>
              <a:gd name="T46" fmla="*/ 832 w 832"/>
              <a:gd name="T47" fmla="*/ 479 h 808"/>
              <a:gd name="T48" fmla="*/ 832 w 832"/>
              <a:gd name="T49" fmla="*/ 510 h 808"/>
              <a:gd name="T50" fmla="*/ 763 w 832"/>
              <a:gd name="T51" fmla="*/ 491 h 808"/>
              <a:gd name="T52" fmla="*/ 695 w 832"/>
              <a:gd name="T53" fmla="*/ 505 h 808"/>
              <a:gd name="T54" fmla="*/ 732 w 832"/>
              <a:gd name="T55" fmla="*/ 581 h 808"/>
              <a:gd name="T56" fmla="*/ 688 w 832"/>
              <a:gd name="T57" fmla="*/ 567 h 808"/>
              <a:gd name="T58" fmla="*/ 643 w 832"/>
              <a:gd name="T59" fmla="*/ 605 h 808"/>
              <a:gd name="T60" fmla="*/ 650 w 832"/>
              <a:gd name="T61" fmla="*/ 650 h 808"/>
              <a:gd name="T62" fmla="*/ 612 w 832"/>
              <a:gd name="T63" fmla="*/ 650 h 808"/>
              <a:gd name="T64" fmla="*/ 593 w 832"/>
              <a:gd name="T65" fmla="*/ 737 h 808"/>
              <a:gd name="T66" fmla="*/ 612 w 832"/>
              <a:gd name="T67" fmla="*/ 808 h 808"/>
              <a:gd name="T68" fmla="*/ 555 w 832"/>
              <a:gd name="T69" fmla="*/ 808 h 808"/>
              <a:gd name="T70" fmla="*/ 435 w 832"/>
              <a:gd name="T71" fmla="*/ 694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32" h="808">
                <a:moveTo>
                  <a:pt x="435" y="694"/>
                </a:moveTo>
                <a:lnTo>
                  <a:pt x="350" y="600"/>
                </a:lnTo>
                <a:lnTo>
                  <a:pt x="350" y="529"/>
                </a:lnTo>
                <a:lnTo>
                  <a:pt x="265" y="498"/>
                </a:lnTo>
                <a:lnTo>
                  <a:pt x="102" y="302"/>
                </a:lnTo>
                <a:lnTo>
                  <a:pt x="71" y="196"/>
                </a:lnTo>
                <a:lnTo>
                  <a:pt x="71" y="158"/>
                </a:lnTo>
                <a:lnTo>
                  <a:pt x="0" y="158"/>
                </a:lnTo>
                <a:lnTo>
                  <a:pt x="0" y="0"/>
                </a:lnTo>
                <a:lnTo>
                  <a:pt x="128" y="57"/>
                </a:lnTo>
                <a:lnTo>
                  <a:pt x="177" y="0"/>
                </a:lnTo>
                <a:lnTo>
                  <a:pt x="260" y="0"/>
                </a:lnTo>
                <a:lnTo>
                  <a:pt x="350" y="57"/>
                </a:lnTo>
                <a:lnTo>
                  <a:pt x="480" y="71"/>
                </a:lnTo>
                <a:lnTo>
                  <a:pt x="508" y="38"/>
                </a:lnTo>
                <a:lnTo>
                  <a:pt x="643" y="52"/>
                </a:lnTo>
                <a:lnTo>
                  <a:pt x="699" y="109"/>
                </a:lnTo>
                <a:lnTo>
                  <a:pt x="782" y="113"/>
                </a:lnTo>
                <a:lnTo>
                  <a:pt x="782" y="203"/>
                </a:lnTo>
                <a:lnTo>
                  <a:pt x="732" y="246"/>
                </a:lnTo>
                <a:lnTo>
                  <a:pt x="832" y="347"/>
                </a:lnTo>
                <a:lnTo>
                  <a:pt x="832" y="409"/>
                </a:lnTo>
                <a:lnTo>
                  <a:pt x="789" y="409"/>
                </a:lnTo>
                <a:lnTo>
                  <a:pt x="832" y="479"/>
                </a:lnTo>
                <a:lnTo>
                  <a:pt x="832" y="510"/>
                </a:lnTo>
                <a:lnTo>
                  <a:pt x="763" y="491"/>
                </a:lnTo>
                <a:lnTo>
                  <a:pt x="695" y="505"/>
                </a:lnTo>
                <a:lnTo>
                  <a:pt x="732" y="581"/>
                </a:lnTo>
                <a:lnTo>
                  <a:pt x="688" y="567"/>
                </a:lnTo>
                <a:lnTo>
                  <a:pt x="643" y="605"/>
                </a:lnTo>
                <a:lnTo>
                  <a:pt x="650" y="650"/>
                </a:lnTo>
                <a:lnTo>
                  <a:pt x="612" y="650"/>
                </a:lnTo>
                <a:lnTo>
                  <a:pt x="593" y="737"/>
                </a:lnTo>
                <a:lnTo>
                  <a:pt x="612" y="808"/>
                </a:lnTo>
                <a:lnTo>
                  <a:pt x="555" y="808"/>
                </a:lnTo>
                <a:lnTo>
                  <a:pt x="435" y="694"/>
                </a:lnTo>
                <a:close/>
              </a:path>
            </a:pathLst>
          </a:custGeom>
          <a:solidFill>
            <a:schemeClr val="tx1"/>
          </a:solidFill>
          <a:ln w="6350" cap="flat">
            <a:solidFill>
              <a:srgbClr val="FFFFFF"/>
            </a:solidFill>
            <a:prstDash val="solid"/>
            <a:miter lim="800000"/>
            <a:headEnd/>
            <a:tailEnd/>
          </a:ln>
        </p:spPr>
        <p:txBody>
          <a:bodyPr vert="horz" wrap="square" lIns="68589" tIns="34295" rIns="68589" bIns="34295" numCol="1" anchor="t" anchorCtr="0" compatLnSpc="1">
            <a:prstTxWarp prst="textNoShape">
              <a:avLst/>
            </a:prstTxWarp>
          </a:bodyPr>
          <a:lstStyle/>
          <a:p>
            <a:endParaRPr lang="en-US" dirty="0"/>
          </a:p>
        </p:txBody>
      </p:sp>
      <p:sp>
        <p:nvSpPr>
          <p:cNvPr id="642" name="Andora"/>
          <p:cNvSpPr>
            <a:spLocks/>
          </p:cNvSpPr>
          <p:nvPr/>
        </p:nvSpPr>
        <p:spPr bwMode="auto">
          <a:xfrm>
            <a:off x="4354851" y="1576156"/>
            <a:ext cx="13673" cy="11381"/>
          </a:xfrm>
          <a:custGeom>
            <a:avLst/>
            <a:gdLst/>
            <a:ahLst/>
            <a:cxnLst>
              <a:cxn ang="0">
                <a:pos x="6" y="0"/>
              </a:cxn>
              <a:cxn ang="0">
                <a:pos x="6" y="0"/>
              </a:cxn>
              <a:cxn ang="0">
                <a:pos x="4" y="0"/>
              </a:cxn>
              <a:cxn ang="0">
                <a:pos x="2" y="2"/>
              </a:cxn>
              <a:cxn ang="0">
                <a:pos x="2" y="2"/>
              </a:cxn>
              <a:cxn ang="0">
                <a:pos x="2" y="4"/>
              </a:cxn>
              <a:cxn ang="0">
                <a:pos x="2" y="4"/>
              </a:cxn>
              <a:cxn ang="0">
                <a:pos x="4" y="6"/>
              </a:cxn>
              <a:cxn ang="0">
                <a:pos x="4" y="6"/>
              </a:cxn>
              <a:cxn ang="0">
                <a:pos x="4" y="6"/>
              </a:cxn>
              <a:cxn ang="0">
                <a:pos x="4" y="6"/>
              </a:cxn>
              <a:cxn ang="0">
                <a:pos x="0" y="6"/>
              </a:cxn>
              <a:cxn ang="0">
                <a:pos x="0" y="6"/>
              </a:cxn>
              <a:cxn ang="0">
                <a:pos x="0" y="6"/>
              </a:cxn>
              <a:cxn ang="0">
                <a:pos x="0" y="6"/>
              </a:cxn>
              <a:cxn ang="0">
                <a:pos x="0" y="6"/>
              </a:cxn>
              <a:cxn ang="0">
                <a:pos x="0" y="6"/>
              </a:cxn>
              <a:cxn ang="0">
                <a:pos x="2" y="8"/>
              </a:cxn>
              <a:cxn ang="0">
                <a:pos x="6" y="10"/>
              </a:cxn>
              <a:cxn ang="0">
                <a:pos x="6" y="10"/>
              </a:cxn>
              <a:cxn ang="0">
                <a:pos x="8" y="10"/>
              </a:cxn>
              <a:cxn ang="0">
                <a:pos x="12" y="8"/>
              </a:cxn>
              <a:cxn ang="0">
                <a:pos x="12" y="8"/>
              </a:cxn>
              <a:cxn ang="0">
                <a:pos x="12" y="8"/>
              </a:cxn>
              <a:cxn ang="0">
                <a:pos x="12" y="6"/>
              </a:cxn>
              <a:cxn ang="0">
                <a:pos x="12" y="6"/>
              </a:cxn>
              <a:cxn ang="0">
                <a:pos x="12" y="4"/>
              </a:cxn>
              <a:cxn ang="0">
                <a:pos x="12" y="4"/>
              </a:cxn>
              <a:cxn ang="0">
                <a:pos x="12" y="2"/>
              </a:cxn>
              <a:cxn ang="0">
                <a:pos x="12" y="2"/>
              </a:cxn>
              <a:cxn ang="0">
                <a:pos x="12" y="0"/>
              </a:cxn>
              <a:cxn ang="0">
                <a:pos x="12" y="0"/>
              </a:cxn>
              <a:cxn ang="0">
                <a:pos x="10" y="0"/>
              </a:cxn>
              <a:cxn ang="0">
                <a:pos x="10" y="0"/>
              </a:cxn>
              <a:cxn ang="0">
                <a:pos x="6" y="0"/>
              </a:cxn>
              <a:cxn ang="0">
                <a:pos x="6" y="0"/>
              </a:cxn>
            </a:cxnLst>
            <a:rect l="0" t="0" r="r" b="b"/>
            <a:pathLst>
              <a:path w="12" h="10">
                <a:moveTo>
                  <a:pt x="6" y="0"/>
                </a:moveTo>
                <a:lnTo>
                  <a:pt x="6" y="0"/>
                </a:lnTo>
                <a:lnTo>
                  <a:pt x="4" y="0"/>
                </a:lnTo>
                <a:lnTo>
                  <a:pt x="2" y="2"/>
                </a:lnTo>
                <a:lnTo>
                  <a:pt x="2" y="2"/>
                </a:lnTo>
                <a:lnTo>
                  <a:pt x="2" y="4"/>
                </a:lnTo>
                <a:lnTo>
                  <a:pt x="2" y="4"/>
                </a:lnTo>
                <a:lnTo>
                  <a:pt x="4" y="6"/>
                </a:lnTo>
                <a:lnTo>
                  <a:pt x="4" y="6"/>
                </a:lnTo>
                <a:lnTo>
                  <a:pt x="4" y="6"/>
                </a:lnTo>
                <a:lnTo>
                  <a:pt x="4" y="6"/>
                </a:lnTo>
                <a:lnTo>
                  <a:pt x="0" y="6"/>
                </a:lnTo>
                <a:lnTo>
                  <a:pt x="0" y="6"/>
                </a:lnTo>
                <a:lnTo>
                  <a:pt x="0" y="6"/>
                </a:lnTo>
                <a:lnTo>
                  <a:pt x="0" y="6"/>
                </a:lnTo>
                <a:lnTo>
                  <a:pt x="0" y="6"/>
                </a:lnTo>
                <a:lnTo>
                  <a:pt x="0" y="6"/>
                </a:lnTo>
                <a:lnTo>
                  <a:pt x="2" y="8"/>
                </a:lnTo>
                <a:lnTo>
                  <a:pt x="6" y="10"/>
                </a:lnTo>
                <a:lnTo>
                  <a:pt x="6" y="10"/>
                </a:lnTo>
                <a:lnTo>
                  <a:pt x="8" y="10"/>
                </a:lnTo>
                <a:lnTo>
                  <a:pt x="12" y="8"/>
                </a:lnTo>
                <a:lnTo>
                  <a:pt x="12" y="8"/>
                </a:lnTo>
                <a:lnTo>
                  <a:pt x="12" y="8"/>
                </a:lnTo>
                <a:lnTo>
                  <a:pt x="12" y="6"/>
                </a:lnTo>
                <a:lnTo>
                  <a:pt x="12" y="6"/>
                </a:lnTo>
                <a:lnTo>
                  <a:pt x="12" y="4"/>
                </a:lnTo>
                <a:lnTo>
                  <a:pt x="12" y="4"/>
                </a:lnTo>
                <a:lnTo>
                  <a:pt x="12" y="2"/>
                </a:lnTo>
                <a:lnTo>
                  <a:pt x="12" y="2"/>
                </a:lnTo>
                <a:lnTo>
                  <a:pt x="12" y="0"/>
                </a:lnTo>
                <a:lnTo>
                  <a:pt x="12" y="0"/>
                </a:lnTo>
                <a:lnTo>
                  <a:pt x="10" y="0"/>
                </a:lnTo>
                <a:lnTo>
                  <a:pt x="10" y="0"/>
                </a:lnTo>
                <a:lnTo>
                  <a:pt x="6" y="0"/>
                </a:lnTo>
                <a:lnTo>
                  <a:pt x="6" y="0"/>
                </a:lnTo>
                <a:close/>
              </a:path>
            </a:pathLst>
          </a:custGeom>
          <a:solidFill>
            <a:schemeClr val="accent6"/>
          </a:solidFill>
          <a:ln w="6350">
            <a:solidFill>
              <a:srgbClr val="FFFFFF"/>
            </a:solid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650" name="Bahamas"/>
          <p:cNvSpPr>
            <a:spLocks/>
          </p:cNvSpPr>
          <p:nvPr/>
        </p:nvSpPr>
        <p:spPr bwMode="auto">
          <a:xfrm rot="9136277">
            <a:off x="2525235" y="2060412"/>
            <a:ext cx="13720" cy="25037"/>
          </a:xfrm>
          <a:custGeom>
            <a:avLst/>
            <a:gdLst/>
            <a:ahLst/>
            <a:cxnLst>
              <a:cxn ang="0">
                <a:pos x="24" y="22"/>
              </a:cxn>
              <a:cxn ang="0">
                <a:pos x="24" y="22"/>
              </a:cxn>
              <a:cxn ang="0">
                <a:pos x="22" y="18"/>
              </a:cxn>
              <a:cxn ang="0">
                <a:pos x="18" y="16"/>
              </a:cxn>
              <a:cxn ang="0">
                <a:pos x="18" y="16"/>
              </a:cxn>
              <a:cxn ang="0">
                <a:pos x="16" y="16"/>
              </a:cxn>
              <a:cxn ang="0">
                <a:pos x="14" y="14"/>
              </a:cxn>
              <a:cxn ang="0">
                <a:pos x="12" y="10"/>
              </a:cxn>
              <a:cxn ang="0">
                <a:pos x="12" y="10"/>
              </a:cxn>
              <a:cxn ang="0">
                <a:pos x="10" y="8"/>
              </a:cxn>
              <a:cxn ang="0">
                <a:pos x="6" y="6"/>
              </a:cxn>
              <a:cxn ang="0">
                <a:pos x="6" y="6"/>
              </a:cxn>
              <a:cxn ang="0">
                <a:pos x="2" y="4"/>
              </a:cxn>
              <a:cxn ang="0">
                <a:pos x="0" y="4"/>
              </a:cxn>
              <a:cxn ang="0">
                <a:pos x="2" y="2"/>
              </a:cxn>
              <a:cxn ang="0">
                <a:pos x="2" y="2"/>
              </a:cxn>
              <a:cxn ang="0">
                <a:pos x="10" y="0"/>
              </a:cxn>
              <a:cxn ang="0">
                <a:pos x="14" y="0"/>
              </a:cxn>
              <a:cxn ang="0">
                <a:pos x="14" y="0"/>
              </a:cxn>
              <a:cxn ang="0">
                <a:pos x="16" y="0"/>
              </a:cxn>
              <a:cxn ang="0">
                <a:pos x="22" y="0"/>
              </a:cxn>
              <a:cxn ang="0">
                <a:pos x="22" y="0"/>
              </a:cxn>
              <a:cxn ang="0">
                <a:pos x="34" y="2"/>
              </a:cxn>
              <a:cxn ang="0">
                <a:pos x="34" y="2"/>
              </a:cxn>
              <a:cxn ang="0">
                <a:pos x="38" y="6"/>
              </a:cxn>
              <a:cxn ang="0">
                <a:pos x="40" y="8"/>
              </a:cxn>
              <a:cxn ang="0">
                <a:pos x="44" y="10"/>
              </a:cxn>
              <a:cxn ang="0">
                <a:pos x="44" y="10"/>
              </a:cxn>
              <a:cxn ang="0">
                <a:pos x="48" y="12"/>
              </a:cxn>
              <a:cxn ang="0">
                <a:pos x="50" y="14"/>
              </a:cxn>
              <a:cxn ang="0">
                <a:pos x="50" y="14"/>
              </a:cxn>
              <a:cxn ang="0">
                <a:pos x="48" y="16"/>
              </a:cxn>
              <a:cxn ang="0">
                <a:pos x="44" y="16"/>
              </a:cxn>
              <a:cxn ang="0">
                <a:pos x="44" y="16"/>
              </a:cxn>
              <a:cxn ang="0">
                <a:pos x="40" y="18"/>
              </a:cxn>
              <a:cxn ang="0">
                <a:pos x="34" y="18"/>
              </a:cxn>
              <a:cxn ang="0">
                <a:pos x="34" y="18"/>
              </a:cxn>
              <a:cxn ang="0">
                <a:pos x="32" y="16"/>
              </a:cxn>
              <a:cxn ang="0">
                <a:pos x="32" y="18"/>
              </a:cxn>
              <a:cxn ang="0">
                <a:pos x="32" y="18"/>
              </a:cxn>
              <a:cxn ang="0">
                <a:pos x="30" y="20"/>
              </a:cxn>
              <a:cxn ang="0">
                <a:pos x="28" y="18"/>
              </a:cxn>
              <a:cxn ang="0">
                <a:pos x="28" y="18"/>
              </a:cxn>
              <a:cxn ang="0">
                <a:pos x="26" y="18"/>
              </a:cxn>
              <a:cxn ang="0">
                <a:pos x="26" y="20"/>
              </a:cxn>
              <a:cxn ang="0">
                <a:pos x="26" y="20"/>
              </a:cxn>
              <a:cxn ang="0">
                <a:pos x="26" y="22"/>
              </a:cxn>
              <a:cxn ang="0">
                <a:pos x="24" y="22"/>
              </a:cxn>
              <a:cxn ang="0">
                <a:pos x="24" y="22"/>
              </a:cxn>
            </a:cxnLst>
            <a:rect l="0" t="0" r="r" b="b"/>
            <a:pathLst>
              <a:path w="50" h="22">
                <a:moveTo>
                  <a:pt x="24" y="22"/>
                </a:moveTo>
                <a:lnTo>
                  <a:pt x="24" y="22"/>
                </a:lnTo>
                <a:lnTo>
                  <a:pt x="22" y="18"/>
                </a:lnTo>
                <a:lnTo>
                  <a:pt x="18" y="16"/>
                </a:lnTo>
                <a:lnTo>
                  <a:pt x="18" y="16"/>
                </a:lnTo>
                <a:lnTo>
                  <a:pt x="16" y="16"/>
                </a:lnTo>
                <a:lnTo>
                  <a:pt x="14" y="14"/>
                </a:lnTo>
                <a:lnTo>
                  <a:pt x="12" y="10"/>
                </a:lnTo>
                <a:lnTo>
                  <a:pt x="12" y="10"/>
                </a:lnTo>
                <a:lnTo>
                  <a:pt x="10" y="8"/>
                </a:lnTo>
                <a:lnTo>
                  <a:pt x="6" y="6"/>
                </a:lnTo>
                <a:lnTo>
                  <a:pt x="6" y="6"/>
                </a:lnTo>
                <a:lnTo>
                  <a:pt x="2" y="4"/>
                </a:lnTo>
                <a:lnTo>
                  <a:pt x="0" y="4"/>
                </a:lnTo>
                <a:lnTo>
                  <a:pt x="2" y="2"/>
                </a:lnTo>
                <a:lnTo>
                  <a:pt x="2" y="2"/>
                </a:lnTo>
                <a:lnTo>
                  <a:pt x="10" y="0"/>
                </a:lnTo>
                <a:lnTo>
                  <a:pt x="14" y="0"/>
                </a:lnTo>
                <a:lnTo>
                  <a:pt x="14" y="0"/>
                </a:lnTo>
                <a:lnTo>
                  <a:pt x="16" y="0"/>
                </a:lnTo>
                <a:lnTo>
                  <a:pt x="22" y="0"/>
                </a:lnTo>
                <a:lnTo>
                  <a:pt x="22" y="0"/>
                </a:lnTo>
                <a:lnTo>
                  <a:pt x="34" y="2"/>
                </a:lnTo>
                <a:lnTo>
                  <a:pt x="34" y="2"/>
                </a:lnTo>
                <a:lnTo>
                  <a:pt x="38" y="6"/>
                </a:lnTo>
                <a:lnTo>
                  <a:pt x="40" y="8"/>
                </a:lnTo>
                <a:lnTo>
                  <a:pt x="44" y="10"/>
                </a:lnTo>
                <a:lnTo>
                  <a:pt x="44" y="10"/>
                </a:lnTo>
                <a:lnTo>
                  <a:pt x="48" y="12"/>
                </a:lnTo>
                <a:lnTo>
                  <a:pt x="50" y="14"/>
                </a:lnTo>
                <a:lnTo>
                  <a:pt x="50" y="14"/>
                </a:lnTo>
                <a:lnTo>
                  <a:pt x="48" y="16"/>
                </a:lnTo>
                <a:lnTo>
                  <a:pt x="44" y="16"/>
                </a:lnTo>
                <a:lnTo>
                  <a:pt x="44" y="16"/>
                </a:lnTo>
                <a:lnTo>
                  <a:pt x="40" y="18"/>
                </a:lnTo>
                <a:lnTo>
                  <a:pt x="34" y="18"/>
                </a:lnTo>
                <a:lnTo>
                  <a:pt x="34" y="18"/>
                </a:lnTo>
                <a:lnTo>
                  <a:pt x="32" y="16"/>
                </a:lnTo>
                <a:lnTo>
                  <a:pt x="32" y="18"/>
                </a:lnTo>
                <a:lnTo>
                  <a:pt x="32" y="18"/>
                </a:lnTo>
                <a:lnTo>
                  <a:pt x="30" y="20"/>
                </a:lnTo>
                <a:lnTo>
                  <a:pt x="28" y="18"/>
                </a:lnTo>
                <a:lnTo>
                  <a:pt x="28" y="18"/>
                </a:lnTo>
                <a:lnTo>
                  <a:pt x="26" y="18"/>
                </a:lnTo>
                <a:lnTo>
                  <a:pt x="26" y="20"/>
                </a:lnTo>
                <a:lnTo>
                  <a:pt x="26" y="20"/>
                </a:lnTo>
                <a:lnTo>
                  <a:pt x="26" y="22"/>
                </a:lnTo>
                <a:lnTo>
                  <a:pt x="24" y="22"/>
                </a:lnTo>
                <a:lnTo>
                  <a:pt x="24" y="22"/>
                </a:lnTo>
                <a:close/>
              </a:path>
            </a:pathLst>
          </a:custGeom>
          <a:solidFill>
            <a:schemeClr val="tx1"/>
          </a:solidFill>
          <a:ln w="6350">
            <a:solidFill>
              <a:srgbClr val="FFFFFF"/>
            </a:solid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686" name="Cyprus"/>
          <p:cNvSpPr>
            <a:spLocks/>
          </p:cNvSpPr>
          <p:nvPr/>
        </p:nvSpPr>
        <p:spPr bwMode="auto">
          <a:xfrm>
            <a:off x="5104194" y="1751383"/>
            <a:ext cx="20579" cy="6858"/>
          </a:xfrm>
          <a:custGeom>
            <a:avLst/>
            <a:gdLst/>
            <a:ahLst/>
            <a:cxnLst>
              <a:cxn ang="0">
                <a:pos x="14" y="4"/>
              </a:cxn>
              <a:cxn ang="0">
                <a:pos x="14" y="4"/>
              </a:cxn>
              <a:cxn ang="0">
                <a:pos x="12" y="4"/>
              </a:cxn>
              <a:cxn ang="0">
                <a:pos x="10" y="6"/>
              </a:cxn>
              <a:cxn ang="0">
                <a:pos x="10" y="8"/>
              </a:cxn>
              <a:cxn ang="0">
                <a:pos x="10" y="10"/>
              </a:cxn>
              <a:cxn ang="0">
                <a:pos x="10" y="10"/>
              </a:cxn>
              <a:cxn ang="0">
                <a:pos x="6" y="20"/>
              </a:cxn>
              <a:cxn ang="0">
                <a:pos x="2" y="30"/>
              </a:cxn>
              <a:cxn ang="0">
                <a:pos x="2" y="30"/>
              </a:cxn>
              <a:cxn ang="0">
                <a:pos x="0" y="36"/>
              </a:cxn>
              <a:cxn ang="0">
                <a:pos x="0" y="42"/>
              </a:cxn>
              <a:cxn ang="0">
                <a:pos x="2" y="44"/>
              </a:cxn>
              <a:cxn ang="0">
                <a:pos x="4" y="50"/>
              </a:cxn>
              <a:cxn ang="0">
                <a:pos x="4" y="50"/>
              </a:cxn>
              <a:cxn ang="0">
                <a:pos x="4" y="54"/>
              </a:cxn>
              <a:cxn ang="0">
                <a:pos x="6" y="56"/>
              </a:cxn>
              <a:cxn ang="0">
                <a:pos x="10" y="58"/>
              </a:cxn>
              <a:cxn ang="0">
                <a:pos x="10" y="58"/>
              </a:cxn>
              <a:cxn ang="0">
                <a:pos x="14" y="66"/>
              </a:cxn>
              <a:cxn ang="0">
                <a:pos x="20" y="68"/>
              </a:cxn>
              <a:cxn ang="0">
                <a:pos x="20" y="68"/>
              </a:cxn>
              <a:cxn ang="0">
                <a:pos x="24" y="72"/>
              </a:cxn>
              <a:cxn ang="0">
                <a:pos x="24" y="76"/>
              </a:cxn>
              <a:cxn ang="0">
                <a:pos x="24" y="76"/>
              </a:cxn>
              <a:cxn ang="0">
                <a:pos x="24" y="76"/>
              </a:cxn>
              <a:cxn ang="0">
                <a:pos x="26" y="78"/>
              </a:cxn>
              <a:cxn ang="0">
                <a:pos x="30" y="76"/>
              </a:cxn>
              <a:cxn ang="0">
                <a:pos x="30" y="76"/>
              </a:cxn>
              <a:cxn ang="0">
                <a:pos x="28" y="70"/>
              </a:cxn>
              <a:cxn ang="0">
                <a:pos x="28" y="64"/>
              </a:cxn>
              <a:cxn ang="0">
                <a:pos x="28" y="64"/>
              </a:cxn>
              <a:cxn ang="0">
                <a:pos x="30" y="62"/>
              </a:cxn>
              <a:cxn ang="0">
                <a:pos x="32" y="60"/>
              </a:cxn>
              <a:cxn ang="0">
                <a:pos x="32" y="56"/>
              </a:cxn>
              <a:cxn ang="0">
                <a:pos x="32" y="52"/>
              </a:cxn>
              <a:cxn ang="0">
                <a:pos x="32" y="52"/>
              </a:cxn>
              <a:cxn ang="0">
                <a:pos x="32" y="42"/>
              </a:cxn>
              <a:cxn ang="0">
                <a:pos x="32" y="38"/>
              </a:cxn>
              <a:cxn ang="0">
                <a:pos x="30" y="34"/>
              </a:cxn>
              <a:cxn ang="0">
                <a:pos x="30" y="34"/>
              </a:cxn>
              <a:cxn ang="0">
                <a:pos x="28" y="30"/>
              </a:cxn>
              <a:cxn ang="0">
                <a:pos x="28" y="28"/>
              </a:cxn>
              <a:cxn ang="0">
                <a:pos x="28" y="28"/>
              </a:cxn>
              <a:cxn ang="0">
                <a:pos x="30" y="22"/>
              </a:cxn>
              <a:cxn ang="0">
                <a:pos x="28" y="14"/>
              </a:cxn>
              <a:cxn ang="0">
                <a:pos x="28" y="14"/>
              </a:cxn>
              <a:cxn ang="0">
                <a:pos x="28" y="10"/>
              </a:cxn>
              <a:cxn ang="0">
                <a:pos x="28" y="8"/>
              </a:cxn>
              <a:cxn ang="0">
                <a:pos x="28" y="8"/>
              </a:cxn>
              <a:cxn ang="0">
                <a:pos x="28" y="8"/>
              </a:cxn>
              <a:cxn ang="0">
                <a:pos x="30" y="6"/>
              </a:cxn>
              <a:cxn ang="0">
                <a:pos x="30" y="4"/>
              </a:cxn>
              <a:cxn ang="0">
                <a:pos x="22" y="0"/>
              </a:cxn>
              <a:cxn ang="0">
                <a:pos x="22" y="0"/>
              </a:cxn>
              <a:cxn ang="0">
                <a:pos x="20" y="0"/>
              </a:cxn>
              <a:cxn ang="0">
                <a:pos x="18" y="2"/>
              </a:cxn>
              <a:cxn ang="0">
                <a:pos x="16" y="2"/>
              </a:cxn>
              <a:cxn ang="0">
                <a:pos x="14" y="4"/>
              </a:cxn>
              <a:cxn ang="0">
                <a:pos x="14" y="4"/>
              </a:cxn>
            </a:cxnLst>
            <a:rect l="0" t="0" r="r" b="b"/>
            <a:pathLst>
              <a:path w="32" h="78">
                <a:moveTo>
                  <a:pt x="14" y="4"/>
                </a:moveTo>
                <a:lnTo>
                  <a:pt x="14" y="4"/>
                </a:lnTo>
                <a:lnTo>
                  <a:pt x="12" y="4"/>
                </a:lnTo>
                <a:lnTo>
                  <a:pt x="10" y="6"/>
                </a:lnTo>
                <a:lnTo>
                  <a:pt x="10" y="8"/>
                </a:lnTo>
                <a:lnTo>
                  <a:pt x="10" y="10"/>
                </a:lnTo>
                <a:lnTo>
                  <a:pt x="10" y="10"/>
                </a:lnTo>
                <a:lnTo>
                  <a:pt x="6" y="20"/>
                </a:lnTo>
                <a:lnTo>
                  <a:pt x="2" y="30"/>
                </a:lnTo>
                <a:lnTo>
                  <a:pt x="2" y="30"/>
                </a:lnTo>
                <a:lnTo>
                  <a:pt x="0" y="36"/>
                </a:lnTo>
                <a:lnTo>
                  <a:pt x="0" y="42"/>
                </a:lnTo>
                <a:lnTo>
                  <a:pt x="2" y="44"/>
                </a:lnTo>
                <a:lnTo>
                  <a:pt x="4" y="50"/>
                </a:lnTo>
                <a:lnTo>
                  <a:pt x="4" y="50"/>
                </a:lnTo>
                <a:lnTo>
                  <a:pt x="4" y="54"/>
                </a:lnTo>
                <a:lnTo>
                  <a:pt x="6" y="56"/>
                </a:lnTo>
                <a:lnTo>
                  <a:pt x="10" y="58"/>
                </a:lnTo>
                <a:lnTo>
                  <a:pt x="10" y="58"/>
                </a:lnTo>
                <a:lnTo>
                  <a:pt x="14" y="66"/>
                </a:lnTo>
                <a:lnTo>
                  <a:pt x="20" y="68"/>
                </a:lnTo>
                <a:lnTo>
                  <a:pt x="20" y="68"/>
                </a:lnTo>
                <a:lnTo>
                  <a:pt x="24" y="72"/>
                </a:lnTo>
                <a:lnTo>
                  <a:pt x="24" y="76"/>
                </a:lnTo>
                <a:lnTo>
                  <a:pt x="24" y="76"/>
                </a:lnTo>
                <a:lnTo>
                  <a:pt x="24" y="76"/>
                </a:lnTo>
                <a:lnTo>
                  <a:pt x="26" y="78"/>
                </a:lnTo>
                <a:lnTo>
                  <a:pt x="30" y="76"/>
                </a:lnTo>
                <a:lnTo>
                  <a:pt x="30" y="76"/>
                </a:lnTo>
                <a:lnTo>
                  <a:pt x="28" y="70"/>
                </a:lnTo>
                <a:lnTo>
                  <a:pt x="28" y="64"/>
                </a:lnTo>
                <a:lnTo>
                  <a:pt x="28" y="64"/>
                </a:lnTo>
                <a:lnTo>
                  <a:pt x="30" y="62"/>
                </a:lnTo>
                <a:lnTo>
                  <a:pt x="32" y="60"/>
                </a:lnTo>
                <a:lnTo>
                  <a:pt x="32" y="56"/>
                </a:lnTo>
                <a:lnTo>
                  <a:pt x="32" y="52"/>
                </a:lnTo>
                <a:lnTo>
                  <a:pt x="32" y="52"/>
                </a:lnTo>
                <a:lnTo>
                  <a:pt x="32" y="42"/>
                </a:lnTo>
                <a:lnTo>
                  <a:pt x="32" y="38"/>
                </a:lnTo>
                <a:lnTo>
                  <a:pt x="30" y="34"/>
                </a:lnTo>
                <a:lnTo>
                  <a:pt x="30" y="34"/>
                </a:lnTo>
                <a:lnTo>
                  <a:pt x="28" y="30"/>
                </a:lnTo>
                <a:lnTo>
                  <a:pt x="28" y="28"/>
                </a:lnTo>
                <a:lnTo>
                  <a:pt x="28" y="28"/>
                </a:lnTo>
                <a:lnTo>
                  <a:pt x="30" y="22"/>
                </a:lnTo>
                <a:lnTo>
                  <a:pt x="28" y="14"/>
                </a:lnTo>
                <a:lnTo>
                  <a:pt x="28" y="14"/>
                </a:lnTo>
                <a:lnTo>
                  <a:pt x="28" y="10"/>
                </a:lnTo>
                <a:lnTo>
                  <a:pt x="28" y="8"/>
                </a:lnTo>
                <a:lnTo>
                  <a:pt x="28" y="8"/>
                </a:lnTo>
                <a:lnTo>
                  <a:pt x="28" y="8"/>
                </a:lnTo>
                <a:lnTo>
                  <a:pt x="30" y="6"/>
                </a:lnTo>
                <a:lnTo>
                  <a:pt x="30" y="4"/>
                </a:lnTo>
                <a:lnTo>
                  <a:pt x="22" y="0"/>
                </a:lnTo>
                <a:lnTo>
                  <a:pt x="22" y="0"/>
                </a:lnTo>
                <a:lnTo>
                  <a:pt x="20" y="0"/>
                </a:lnTo>
                <a:lnTo>
                  <a:pt x="18" y="2"/>
                </a:lnTo>
                <a:lnTo>
                  <a:pt x="16" y="2"/>
                </a:lnTo>
                <a:lnTo>
                  <a:pt x="14" y="4"/>
                </a:lnTo>
                <a:lnTo>
                  <a:pt x="14" y="4"/>
                </a:lnTo>
                <a:close/>
              </a:path>
            </a:pathLst>
          </a:custGeom>
          <a:solidFill>
            <a:schemeClr val="accent6"/>
          </a:solidFill>
          <a:ln w="6350">
            <a:solidFill>
              <a:srgbClr val="FFFFFF"/>
            </a:solid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755" name="Liechtenstein"/>
          <p:cNvSpPr>
            <a:spLocks/>
          </p:cNvSpPr>
          <p:nvPr/>
        </p:nvSpPr>
        <p:spPr bwMode="auto">
          <a:xfrm>
            <a:off x="4529912" y="1463665"/>
            <a:ext cx="6860" cy="11381"/>
          </a:xfrm>
          <a:custGeom>
            <a:avLst/>
            <a:gdLst/>
            <a:ahLst/>
            <a:cxnLst>
              <a:cxn ang="0">
                <a:pos x="6" y="0"/>
              </a:cxn>
              <a:cxn ang="0">
                <a:pos x="6" y="0"/>
              </a:cxn>
              <a:cxn ang="0">
                <a:pos x="4" y="0"/>
              </a:cxn>
              <a:cxn ang="0">
                <a:pos x="2" y="2"/>
              </a:cxn>
              <a:cxn ang="0">
                <a:pos x="2" y="2"/>
              </a:cxn>
              <a:cxn ang="0">
                <a:pos x="2" y="4"/>
              </a:cxn>
              <a:cxn ang="0">
                <a:pos x="2" y="4"/>
              </a:cxn>
              <a:cxn ang="0">
                <a:pos x="4" y="6"/>
              </a:cxn>
              <a:cxn ang="0">
                <a:pos x="4" y="6"/>
              </a:cxn>
              <a:cxn ang="0">
                <a:pos x="4" y="6"/>
              </a:cxn>
              <a:cxn ang="0">
                <a:pos x="4" y="6"/>
              </a:cxn>
              <a:cxn ang="0">
                <a:pos x="0" y="6"/>
              </a:cxn>
              <a:cxn ang="0">
                <a:pos x="0" y="6"/>
              </a:cxn>
              <a:cxn ang="0">
                <a:pos x="0" y="6"/>
              </a:cxn>
              <a:cxn ang="0">
                <a:pos x="0" y="6"/>
              </a:cxn>
              <a:cxn ang="0">
                <a:pos x="0" y="6"/>
              </a:cxn>
              <a:cxn ang="0">
                <a:pos x="0" y="6"/>
              </a:cxn>
              <a:cxn ang="0">
                <a:pos x="2" y="8"/>
              </a:cxn>
              <a:cxn ang="0">
                <a:pos x="6" y="10"/>
              </a:cxn>
              <a:cxn ang="0">
                <a:pos x="6" y="10"/>
              </a:cxn>
              <a:cxn ang="0">
                <a:pos x="8" y="10"/>
              </a:cxn>
              <a:cxn ang="0">
                <a:pos x="12" y="8"/>
              </a:cxn>
              <a:cxn ang="0">
                <a:pos x="12" y="8"/>
              </a:cxn>
              <a:cxn ang="0">
                <a:pos x="12" y="8"/>
              </a:cxn>
              <a:cxn ang="0">
                <a:pos x="12" y="6"/>
              </a:cxn>
              <a:cxn ang="0">
                <a:pos x="12" y="6"/>
              </a:cxn>
              <a:cxn ang="0">
                <a:pos x="12" y="4"/>
              </a:cxn>
              <a:cxn ang="0">
                <a:pos x="12" y="4"/>
              </a:cxn>
              <a:cxn ang="0">
                <a:pos x="12" y="2"/>
              </a:cxn>
              <a:cxn ang="0">
                <a:pos x="12" y="2"/>
              </a:cxn>
              <a:cxn ang="0">
                <a:pos x="12" y="0"/>
              </a:cxn>
              <a:cxn ang="0">
                <a:pos x="12" y="0"/>
              </a:cxn>
              <a:cxn ang="0">
                <a:pos x="10" y="0"/>
              </a:cxn>
              <a:cxn ang="0">
                <a:pos x="10" y="0"/>
              </a:cxn>
              <a:cxn ang="0">
                <a:pos x="6" y="0"/>
              </a:cxn>
              <a:cxn ang="0">
                <a:pos x="6" y="0"/>
              </a:cxn>
            </a:cxnLst>
            <a:rect l="0" t="0" r="r" b="b"/>
            <a:pathLst>
              <a:path w="12" h="10">
                <a:moveTo>
                  <a:pt x="6" y="0"/>
                </a:moveTo>
                <a:lnTo>
                  <a:pt x="6" y="0"/>
                </a:lnTo>
                <a:lnTo>
                  <a:pt x="4" y="0"/>
                </a:lnTo>
                <a:lnTo>
                  <a:pt x="2" y="2"/>
                </a:lnTo>
                <a:lnTo>
                  <a:pt x="2" y="2"/>
                </a:lnTo>
                <a:lnTo>
                  <a:pt x="2" y="4"/>
                </a:lnTo>
                <a:lnTo>
                  <a:pt x="2" y="4"/>
                </a:lnTo>
                <a:lnTo>
                  <a:pt x="4" y="6"/>
                </a:lnTo>
                <a:lnTo>
                  <a:pt x="4" y="6"/>
                </a:lnTo>
                <a:lnTo>
                  <a:pt x="4" y="6"/>
                </a:lnTo>
                <a:lnTo>
                  <a:pt x="4" y="6"/>
                </a:lnTo>
                <a:lnTo>
                  <a:pt x="0" y="6"/>
                </a:lnTo>
                <a:lnTo>
                  <a:pt x="0" y="6"/>
                </a:lnTo>
                <a:lnTo>
                  <a:pt x="0" y="6"/>
                </a:lnTo>
                <a:lnTo>
                  <a:pt x="0" y="6"/>
                </a:lnTo>
                <a:lnTo>
                  <a:pt x="0" y="6"/>
                </a:lnTo>
                <a:lnTo>
                  <a:pt x="0" y="6"/>
                </a:lnTo>
                <a:lnTo>
                  <a:pt x="2" y="8"/>
                </a:lnTo>
                <a:lnTo>
                  <a:pt x="6" y="10"/>
                </a:lnTo>
                <a:lnTo>
                  <a:pt x="6" y="10"/>
                </a:lnTo>
                <a:lnTo>
                  <a:pt x="8" y="10"/>
                </a:lnTo>
                <a:lnTo>
                  <a:pt x="12" y="8"/>
                </a:lnTo>
                <a:lnTo>
                  <a:pt x="12" y="8"/>
                </a:lnTo>
                <a:lnTo>
                  <a:pt x="12" y="8"/>
                </a:lnTo>
                <a:lnTo>
                  <a:pt x="12" y="6"/>
                </a:lnTo>
                <a:lnTo>
                  <a:pt x="12" y="6"/>
                </a:lnTo>
                <a:lnTo>
                  <a:pt x="12" y="4"/>
                </a:lnTo>
                <a:lnTo>
                  <a:pt x="12" y="4"/>
                </a:lnTo>
                <a:lnTo>
                  <a:pt x="12" y="2"/>
                </a:lnTo>
                <a:lnTo>
                  <a:pt x="12" y="2"/>
                </a:lnTo>
                <a:lnTo>
                  <a:pt x="12" y="0"/>
                </a:lnTo>
                <a:lnTo>
                  <a:pt x="12" y="0"/>
                </a:lnTo>
                <a:lnTo>
                  <a:pt x="10" y="0"/>
                </a:lnTo>
                <a:lnTo>
                  <a:pt x="10" y="0"/>
                </a:lnTo>
                <a:lnTo>
                  <a:pt x="6" y="0"/>
                </a:lnTo>
                <a:lnTo>
                  <a:pt x="6" y="0"/>
                </a:lnTo>
                <a:close/>
              </a:path>
            </a:pathLst>
          </a:custGeom>
          <a:solidFill>
            <a:schemeClr val="accent6"/>
          </a:solidFill>
          <a:ln w="6350">
            <a:solidFill>
              <a:srgbClr val="FFFFFF"/>
            </a:solid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397" name="Luxembourg"/>
          <p:cNvSpPr>
            <a:spLocks/>
          </p:cNvSpPr>
          <p:nvPr/>
        </p:nvSpPr>
        <p:spPr bwMode="auto">
          <a:xfrm>
            <a:off x="4453431" y="1409687"/>
            <a:ext cx="11394" cy="9104"/>
          </a:xfrm>
          <a:custGeom>
            <a:avLst/>
            <a:gdLst/>
            <a:ahLst/>
            <a:cxnLst>
              <a:cxn ang="0">
                <a:pos x="8" y="8"/>
              </a:cxn>
              <a:cxn ang="0">
                <a:pos x="8" y="8"/>
              </a:cxn>
              <a:cxn ang="0">
                <a:pos x="0" y="8"/>
              </a:cxn>
              <a:cxn ang="0">
                <a:pos x="0" y="8"/>
              </a:cxn>
              <a:cxn ang="0">
                <a:pos x="4" y="4"/>
              </a:cxn>
              <a:cxn ang="0">
                <a:pos x="8" y="0"/>
              </a:cxn>
              <a:cxn ang="0">
                <a:pos x="8" y="0"/>
              </a:cxn>
              <a:cxn ang="0">
                <a:pos x="10" y="2"/>
              </a:cxn>
              <a:cxn ang="0">
                <a:pos x="8" y="8"/>
              </a:cxn>
              <a:cxn ang="0">
                <a:pos x="8" y="8"/>
              </a:cxn>
            </a:cxnLst>
            <a:rect l="0" t="0" r="r" b="b"/>
            <a:pathLst>
              <a:path w="10" h="8">
                <a:moveTo>
                  <a:pt x="8" y="8"/>
                </a:moveTo>
                <a:lnTo>
                  <a:pt x="8" y="8"/>
                </a:lnTo>
                <a:lnTo>
                  <a:pt x="0" y="8"/>
                </a:lnTo>
                <a:lnTo>
                  <a:pt x="0" y="8"/>
                </a:lnTo>
                <a:lnTo>
                  <a:pt x="4" y="4"/>
                </a:lnTo>
                <a:lnTo>
                  <a:pt x="8" y="0"/>
                </a:lnTo>
                <a:lnTo>
                  <a:pt x="8" y="0"/>
                </a:lnTo>
                <a:lnTo>
                  <a:pt x="10" y="2"/>
                </a:lnTo>
                <a:lnTo>
                  <a:pt x="8" y="8"/>
                </a:lnTo>
                <a:lnTo>
                  <a:pt x="8" y="8"/>
                </a:lnTo>
                <a:close/>
              </a:path>
            </a:pathLst>
          </a:custGeom>
          <a:solidFill>
            <a:schemeClr val="accent6"/>
          </a:solidFill>
          <a:ln w="6350">
            <a:solidFill>
              <a:srgbClr val="FFFFFF"/>
            </a:solid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444" name="Monaco"/>
          <p:cNvSpPr>
            <a:spLocks/>
          </p:cNvSpPr>
          <p:nvPr/>
        </p:nvSpPr>
        <p:spPr bwMode="auto">
          <a:xfrm>
            <a:off x="4487381" y="1545416"/>
            <a:ext cx="11394" cy="9104"/>
          </a:xfrm>
          <a:custGeom>
            <a:avLst/>
            <a:gdLst/>
            <a:ahLst/>
            <a:cxnLst>
              <a:cxn ang="0">
                <a:pos x="8" y="8"/>
              </a:cxn>
              <a:cxn ang="0">
                <a:pos x="8" y="8"/>
              </a:cxn>
              <a:cxn ang="0">
                <a:pos x="0" y="8"/>
              </a:cxn>
              <a:cxn ang="0">
                <a:pos x="0" y="8"/>
              </a:cxn>
              <a:cxn ang="0">
                <a:pos x="4" y="4"/>
              </a:cxn>
              <a:cxn ang="0">
                <a:pos x="8" y="0"/>
              </a:cxn>
              <a:cxn ang="0">
                <a:pos x="8" y="0"/>
              </a:cxn>
              <a:cxn ang="0">
                <a:pos x="10" y="2"/>
              </a:cxn>
              <a:cxn ang="0">
                <a:pos x="8" y="8"/>
              </a:cxn>
              <a:cxn ang="0">
                <a:pos x="8" y="8"/>
              </a:cxn>
            </a:cxnLst>
            <a:rect l="0" t="0" r="r" b="b"/>
            <a:pathLst>
              <a:path w="10" h="8">
                <a:moveTo>
                  <a:pt x="8" y="8"/>
                </a:moveTo>
                <a:lnTo>
                  <a:pt x="8" y="8"/>
                </a:lnTo>
                <a:lnTo>
                  <a:pt x="0" y="8"/>
                </a:lnTo>
                <a:lnTo>
                  <a:pt x="0" y="8"/>
                </a:lnTo>
                <a:lnTo>
                  <a:pt x="4" y="4"/>
                </a:lnTo>
                <a:lnTo>
                  <a:pt x="8" y="0"/>
                </a:lnTo>
                <a:lnTo>
                  <a:pt x="8" y="0"/>
                </a:lnTo>
                <a:lnTo>
                  <a:pt x="10" y="2"/>
                </a:lnTo>
                <a:lnTo>
                  <a:pt x="8" y="8"/>
                </a:lnTo>
                <a:lnTo>
                  <a:pt x="8" y="8"/>
                </a:lnTo>
                <a:close/>
              </a:path>
            </a:pathLst>
          </a:custGeom>
          <a:solidFill>
            <a:schemeClr val="accent6"/>
          </a:solidFill>
          <a:ln w="6350">
            <a:solidFill>
              <a:srgbClr val="FFFFFF"/>
            </a:solidFill>
            <a:round/>
            <a:headEnd/>
            <a:tailEnd/>
          </a:ln>
        </p:spPr>
        <p:txBody>
          <a:bodyPr vert="horz" wrap="square" lIns="68589" tIns="34295" rIns="68589" bIns="34295" numCol="1" anchor="t" anchorCtr="0" compatLnSpc="1">
            <a:prstTxWarp prst="textNoShape">
              <a:avLst/>
            </a:prstTxWarp>
          </a:bodyPr>
          <a:lstStyle/>
          <a:p>
            <a:endParaRPr lang="en-US" dirty="0"/>
          </a:p>
        </p:txBody>
      </p:sp>
      <p:grpSp>
        <p:nvGrpSpPr>
          <p:cNvPr id="1041" name="East Timor (Timor-Leste)"/>
          <p:cNvGrpSpPr/>
          <p:nvPr/>
        </p:nvGrpSpPr>
        <p:grpSpPr>
          <a:xfrm>
            <a:off x="7309428" y="2992631"/>
            <a:ext cx="81580" cy="34527"/>
            <a:chOff x="7387430" y="3852863"/>
            <a:chExt cx="108745" cy="46036"/>
          </a:xfrm>
          <a:solidFill>
            <a:schemeClr val="tx1"/>
          </a:solidFill>
        </p:grpSpPr>
        <p:sp>
          <p:nvSpPr>
            <p:cNvPr id="1039" name="Timor-Leste"/>
            <p:cNvSpPr>
              <a:spLocks/>
            </p:cNvSpPr>
            <p:nvPr/>
          </p:nvSpPr>
          <p:spPr bwMode="auto">
            <a:xfrm>
              <a:off x="7387430" y="3890962"/>
              <a:ext cx="11113" cy="7937"/>
            </a:xfrm>
            <a:custGeom>
              <a:avLst/>
              <a:gdLst>
                <a:gd name="T0" fmla="*/ 2 w 7"/>
                <a:gd name="T1" fmla="*/ 0 h 5"/>
                <a:gd name="T2" fmla="*/ 5 w 7"/>
                <a:gd name="T3" fmla="*/ 0 h 5"/>
                <a:gd name="T4" fmla="*/ 5 w 7"/>
                <a:gd name="T5" fmla="*/ 0 h 5"/>
                <a:gd name="T6" fmla="*/ 7 w 7"/>
                <a:gd name="T7" fmla="*/ 0 h 5"/>
                <a:gd name="T8" fmla="*/ 5 w 7"/>
                <a:gd name="T9" fmla="*/ 3 h 5"/>
                <a:gd name="T10" fmla="*/ 5 w 7"/>
                <a:gd name="T11" fmla="*/ 5 h 5"/>
                <a:gd name="T12" fmla="*/ 0 w 7"/>
                <a:gd name="T13" fmla="*/ 5 h 5"/>
                <a:gd name="T14" fmla="*/ 0 w 7"/>
                <a:gd name="T15" fmla="*/ 3 h 5"/>
                <a:gd name="T16" fmla="*/ 2 w 7"/>
                <a:gd name="T17" fmla="*/ 0 h 5"/>
                <a:gd name="T18" fmla="*/ 2 w 7"/>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2" y="0"/>
                  </a:moveTo>
                  <a:lnTo>
                    <a:pt x="5" y="0"/>
                  </a:lnTo>
                  <a:lnTo>
                    <a:pt x="5" y="0"/>
                  </a:lnTo>
                  <a:lnTo>
                    <a:pt x="7" y="0"/>
                  </a:lnTo>
                  <a:lnTo>
                    <a:pt x="5" y="3"/>
                  </a:lnTo>
                  <a:lnTo>
                    <a:pt x="5" y="5"/>
                  </a:lnTo>
                  <a:lnTo>
                    <a:pt x="0" y="5"/>
                  </a:lnTo>
                  <a:lnTo>
                    <a:pt x="0" y="3"/>
                  </a:lnTo>
                  <a:lnTo>
                    <a:pt x="2" y="0"/>
                  </a:lnTo>
                  <a:lnTo>
                    <a:pt x="2" y="0"/>
                  </a:lnTo>
                  <a:close/>
                </a:path>
              </a:pathLst>
            </a:custGeom>
            <a:grpFill/>
            <a:ln w="6350">
              <a:no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040" name="Timor-Leste"/>
            <p:cNvSpPr>
              <a:spLocks/>
            </p:cNvSpPr>
            <p:nvPr/>
          </p:nvSpPr>
          <p:spPr bwMode="auto">
            <a:xfrm>
              <a:off x="7413625" y="3852863"/>
              <a:ext cx="82550" cy="39687"/>
            </a:xfrm>
            <a:custGeom>
              <a:avLst/>
              <a:gdLst>
                <a:gd name="T0" fmla="*/ 52 w 52"/>
                <a:gd name="T1" fmla="*/ 2 h 25"/>
                <a:gd name="T2" fmla="*/ 49 w 52"/>
                <a:gd name="T3" fmla="*/ 2 h 25"/>
                <a:gd name="T4" fmla="*/ 47 w 52"/>
                <a:gd name="T5" fmla="*/ 2 h 25"/>
                <a:gd name="T6" fmla="*/ 44 w 52"/>
                <a:gd name="T7" fmla="*/ 0 h 25"/>
                <a:gd name="T8" fmla="*/ 35 w 52"/>
                <a:gd name="T9" fmla="*/ 2 h 25"/>
                <a:gd name="T10" fmla="*/ 33 w 52"/>
                <a:gd name="T11" fmla="*/ 2 h 25"/>
                <a:gd name="T12" fmla="*/ 28 w 52"/>
                <a:gd name="T13" fmla="*/ 4 h 25"/>
                <a:gd name="T14" fmla="*/ 23 w 52"/>
                <a:gd name="T15" fmla="*/ 4 h 25"/>
                <a:gd name="T16" fmla="*/ 14 w 52"/>
                <a:gd name="T17" fmla="*/ 4 h 25"/>
                <a:gd name="T18" fmla="*/ 9 w 52"/>
                <a:gd name="T19" fmla="*/ 7 h 25"/>
                <a:gd name="T20" fmla="*/ 4 w 52"/>
                <a:gd name="T21" fmla="*/ 11 h 25"/>
                <a:gd name="T22" fmla="*/ 0 w 52"/>
                <a:gd name="T23" fmla="*/ 14 h 25"/>
                <a:gd name="T24" fmla="*/ 0 w 52"/>
                <a:gd name="T25" fmla="*/ 18 h 25"/>
                <a:gd name="T26" fmla="*/ 2 w 52"/>
                <a:gd name="T27" fmla="*/ 18 h 25"/>
                <a:gd name="T28" fmla="*/ 7 w 52"/>
                <a:gd name="T29" fmla="*/ 14 h 25"/>
                <a:gd name="T30" fmla="*/ 9 w 52"/>
                <a:gd name="T31" fmla="*/ 21 h 25"/>
                <a:gd name="T32" fmla="*/ 2 w 52"/>
                <a:gd name="T33" fmla="*/ 21 h 25"/>
                <a:gd name="T34" fmla="*/ 4 w 52"/>
                <a:gd name="T35" fmla="*/ 25 h 25"/>
                <a:gd name="T36" fmla="*/ 7 w 52"/>
                <a:gd name="T37" fmla="*/ 25 h 25"/>
                <a:gd name="T38" fmla="*/ 9 w 52"/>
                <a:gd name="T39" fmla="*/ 25 h 25"/>
                <a:gd name="T40" fmla="*/ 14 w 52"/>
                <a:gd name="T41" fmla="*/ 23 h 25"/>
                <a:gd name="T42" fmla="*/ 16 w 52"/>
                <a:gd name="T43" fmla="*/ 21 h 25"/>
                <a:gd name="T44" fmla="*/ 18 w 52"/>
                <a:gd name="T45" fmla="*/ 18 h 25"/>
                <a:gd name="T46" fmla="*/ 21 w 52"/>
                <a:gd name="T47" fmla="*/ 18 h 25"/>
                <a:gd name="T48" fmla="*/ 23 w 52"/>
                <a:gd name="T49" fmla="*/ 18 h 25"/>
                <a:gd name="T50" fmla="*/ 26 w 52"/>
                <a:gd name="T51" fmla="*/ 18 h 25"/>
                <a:gd name="T52" fmla="*/ 28 w 52"/>
                <a:gd name="T53" fmla="*/ 16 h 25"/>
                <a:gd name="T54" fmla="*/ 33 w 52"/>
                <a:gd name="T55" fmla="*/ 14 h 25"/>
                <a:gd name="T56" fmla="*/ 40 w 52"/>
                <a:gd name="T57" fmla="*/ 14 h 25"/>
                <a:gd name="T58" fmla="*/ 44 w 52"/>
                <a:gd name="T59" fmla="*/ 9 h 25"/>
                <a:gd name="T60" fmla="*/ 49 w 52"/>
                <a:gd name="T61" fmla="*/ 4 h 25"/>
                <a:gd name="T62" fmla="*/ 52 w 52"/>
                <a:gd name="T63" fmla="*/ 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 h="25">
                  <a:moveTo>
                    <a:pt x="52" y="2"/>
                  </a:moveTo>
                  <a:lnTo>
                    <a:pt x="49" y="2"/>
                  </a:lnTo>
                  <a:lnTo>
                    <a:pt x="47" y="2"/>
                  </a:lnTo>
                  <a:lnTo>
                    <a:pt x="44" y="0"/>
                  </a:lnTo>
                  <a:lnTo>
                    <a:pt x="35" y="2"/>
                  </a:lnTo>
                  <a:lnTo>
                    <a:pt x="33" y="2"/>
                  </a:lnTo>
                  <a:lnTo>
                    <a:pt x="28" y="4"/>
                  </a:lnTo>
                  <a:lnTo>
                    <a:pt x="23" y="4"/>
                  </a:lnTo>
                  <a:lnTo>
                    <a:pt x="14" y="4"/>
                  </a:lnTo>
                  <a:lnTo>
                    <a:pt x="9" y="7"/>
                  </a:lnTo>
                  <a:lnTo>
                    <a:pt x="4" y="11"/>
                  </a:lnTo>
                  <a:lnTo>
                    <a:pt x="0" y="14"/>
                  </a:lnTo>
                  <a:lnTo>
                    <a:pt x="0" y="18"/>
                  </a:lnTo>
                  <a:lnTo>
                    <a:pt x="2" y="18"/>
                  </a:lnTo>
                  <a:lnTo>
                    <a:pt x="7" y="14"/>
                  </a:lnTo>
                  <a:lnTo>
                    <a:pt x="9" y="21"/>
                  </a:lnTo>
                  <a:lnTo>
                    <a:pt x="2" y="21"/>
                  </a:lnTo>
                  <a:lnTo>
                    <a:pt x="4" y="25"/>
                  </a:lnTo>
                  <a:lnTo>
                    <a:pt x="7" y="25"/>
                  </a:lnTo>
                  <a:lnTo>
                    <a:pt x="9" y="25"/>
                  </a:lnTo>
                  <a:lnTo>
                    <a:pt x="14" y="23"/>
                  </a:lnTo>
                  <a:lnTo>
                    <a:pt x="16" y="21"/>
                  </a:lnTo>
                  <a:lnTo>
                    <a:pt x="18" y="18"/>
                  </a:lnTo>
                  <a:lnTo>
                    <a:pt x="21" y="18"/>
                  </a:lnTo>
                  <a:lnTo>
                    <a:pt x="23" y="18"/>
                  </a:lnTo>
                  <a:lnTo>
                    <a:pt x="26" y="18"/>
                  </a:lnTo>
                  <a:lnTo>
                    <a:pt x="28" y="16"/>
                  </a:lnTo>
                  <a:lnTo>
                    <a:pt x="33" y="14"/>
                  </a:lnTo>
                  <a:lnTo>
                    <a:pt x="40" y="14"/>
                  </a:lnTo>
                  <a:lnTo>
                    <a:pt x="44" y="9"/>
                  </a:lnTo>
                  <a:lnTo>
                    <a:pt x="49" y="4"/>
                  </a:lnTo>
                  <a:lnTo>
                    <a:pt x="52" y="2"/>
                  </a:lnTo>
                  <a:close/>
                </a:path>
              </a:pathLst>
            </a:custGeom>
            <a:grpFill/>
            <a:ln w="6350">
              <a:noFill/>
              <a:round/>
              <a:headEnd/>
              <a:tailEnd/>
            </a:ln>
            <a:extLst/>
          </p:spPr>
          <p:txBody>
            <a:bodyPr vert="horz" wrap="square" lIns="91440" tIns="45720" rIns="91440" bIns="45720" numCol="1" anchor="t" anchorCtr="0" compatLnSpc="1">
              <a:prstTxWarp prst="textNoShape">
                <a:avLst/>
              </a:prstTxWarp>
            </a:bodyPr>
            <a:lstStyle/>
            <a:p>
              <a:endParaRPr lang="en-US" dirty="0"/>
            </a:p>
          </p:txBody>
        </p:sp>
      </p:grpSp>
      <p:sp>
        <p:nvSpPr>
          <p:cNvPr id="675" name="Luxembourg"/>
          <p:cNvSpPr>
            <a:spLocks/>
          </p:cNvSpPr>
          <p:nvPr/>
        </p:nvSpPr>
        <p:spPr bwMode="auto">
          <a:xfrm>
            <a:off x="4453431" y="1409687"/>
            <a:ext cx="11394" cy="9104"/>
          </a:xfrm>
          <a:custGeom>
            <a:avLst/>
            <a:gdLst/>
            <a:ahLst/>
            <a:cxnLst>
              <a:cxn ang="0">
                <a:pos x="8" y="8"/>
              </a:cxn>
              <a:cxn ang="0">
                <a:pos x="8" y="8"/>
              </a:cxn>
              <a:cxn ang="0">
                <a:pos x="0" y="8"/>
              </a:cxn>
              <a:cxn ang="0">
                <a:pos x="0" y="8"/>
              </a:cxn>
              <a:cxn ang="0">
                <a:pos x="4" y="4"/>
              </a:cxn>
              <a:cxn ang="0">
                <a:pos x="8" y="0"/>
              </a:cxn>
              <a:cxn ang="0">
                <a:pos x="8" y="0"/>
              </a:cxn>
              <a:cxn ang="0">
                <a:pos x="10" y="2"/>
              </a:cxn>
              <a:cxn ang="0">
                <a:pos x="8" y="8"/>
              </a:cxn>
              <a:cxn ang="0">
                <a:pos x="8" y="8"/>
              </a:cxn>
            </a:cxnLst>
            <a:rect l="0" t="0" r="r" b="b"/>
            <a:pathLst>
              <a:path w="10" h="8">
                <a:moveTo>
                  <a:pt x="8" y="8"/>
                </a:moveTo>
                <a:lnTo>
                  <a:pt x="8" y="8"/>
                </a:lnTo>
                <a:lnTo>
                  <a:pt x="0" y="8"/>
                </a:lnTo>
                <a:lnTo>
                  <a:pt x="0" y="8"/>
                </a:lnTo>
                <a:lnTo>
                  <a:pt x="4" y="4"/>
                </a:lnTo>
                <a:lnTo>
                  <a:pt x="8" y="0"/>
                </a:lnTo>
                <a:lnTo>
                  <a:pt x="8" y="0"/>
                </a:lnTo>
                <a:lnTo>
                  <a:pt x="10" y="2"/>
                </a:lnTo>
                <a:lnTo>
                  <a:pt x="8" y="8"/>
                </a:lnTo>
                <a:lnTo>
                  <a:pt x="8" y="8"/>
                </a:lnTo>
                <a:close/>
              </a:path>
            </a:pathLst>
          </a:custGeom>
          <a:pattFill prst="wdUpDiag">
            <a:fgClr>
              <a:schemeClr val="accent5">
                <a:lumMod val="75000"/>
              </a:schemeClr>
            </a:fgClr>
            <a:bgClr>
              <a:schemeClr val="accent6"/>
            </a:bgClr>
          </a:pattFill>
          <a:ln w="63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sz="900" dirty="0">
              <a:solidFill>
                <a:schemeClr val="bg1">
                  <a:alpha val="99000"/>
                </a:schemeClr>
              </a:solidFill>
            </a:endParaRPr>
          </a:p>
        </p:txBody>
      </p:sp>
      <p:sp>
        <p:nvSpPr>
          <p:cNvPr id="422" name="Malta"/>
          <p:cNvSpPr>
            <a:spLocks/>
          </p:cNvSpPr>
          <p:nvPr/>
        </p:nvSpPr>
        <p:spPr bwMode="auto">
          <a:xfrm>
            <a:off x="4642444" y="1742242"/>
            <a:ext cx="13673" cy="11381"/>
          </a:xfrm>
          <a:custGeom>
            <a:avLst/>
            <a:gdLst/>
            <a:ahLst/>
            <a:cxnLst>
              <a:cxn ang="0">
                <a:pos x="6" y="0"/>
              </a:cxn>
              <a:cxn ang="0">
                <a:pos x="6" y="0"/>
              </a:cxn>
              <a:cxn ang="0">
                <a:pos x="4" y="0"/>
              </a:cxn>
              <a:cxn ang="0">
                <a:pos x="2" y="2"/>
              </a:cxn>
              <a:cxn ang="0">
                <a:pos x="2" y="2"/>
              </a:cxn>
              <a:cxn ang="0">
                <a:pos x="2" y="4"/>
              </a:cxn>
              <a:cxn ang="0">
                <a:pos x="2" y="4"/>
              </a:cxn>
              <a:cxn ang="0">
                <a:pos x="4" y="6"/>
              </a:cxn>
              <a:cxn ang="0">
                <a:pos x="4" y="6"/>
              </a:cxn>
              <a:cxn ang="0">
                <a:pos x="4" y="6"/>
              </a:cxn>
              <a:cxn ang="0">
                <a:pos x="4" y="6"/>
              </a:cxn>
              <a:cxn ang="0">
                <a:pos x="0" y="6"/>
              </a:cxn>
              <a:cxn ang="0">
                <a:pos x="0" y="6"/>
              </a:cxn>
              <a:cxn ang="0">
                <a:pos x="0" y="6"/>
              </a:cxn>
              <a:cxn ang="0">
                <a:pos x="0" y="6"/>
              </a:cxn>
              <a:cxn ang="0">
                <a:pos x="0" y="6"/>
              </a:cxn>
              <a:cxn ang="0">
                <a:pos x="0" y="6"/>
              </a:cxn>
              <a:cxn ang="0">
                <a:pos x="2" y="8"/>
              </a:cxn>
              <a:cxn ang="0">
                <a:pos x="6" y="10"/>
              </a:cxn>
              <a:cxn ang="0">
                <a:pos x="6" y="10"/>
              </a:cxn>
              <a:cxn ang="0">
                <a:pos x="8" y="10"/>
              </a:cxn>
              <a:cxn ang="0">
                <a:pos x="12" y="8"/>
              </a:cxn>
              <a:cxn ang="0">
                <a:pos x="12" y="8"/>
              </a:cxn>
              <a:cxn ang="0">
                <a:pos x="12" y="8"/>
              </a:cxn>
              <a:cxn ang="0">
                <a:pos x="12" y="6"/>
              </a:cxn>
              <a:cxn ang="0">
                <a:pos x="12" y="6"/>
              </a:cxn>
              <a:cxn ang="0">
                <a:pos x="12" y="4"/>
              </a:cxn>
              <a:cxn ang="0">
                <a:pos x="12" y="4"/>
              </a:cxn>
              <a:cxn ang="0">
                <a:pos x="12" y="2"/>
              </a:cxn>
              <a:cxn ang="0">
                <a:pos x="12" y="2"/>
              </a:cxn>
              <a:cxn ang="0">
                <a:pos x="12" y="0"/>
              </a:cxn>
              <a:cxn ang="0">
                <a:pos x="12" y="0"/>
              </a:cxn>
              <a:cxn ang="0">
                <a:pos x="10" y="0"/>
              </a:cxn>
              <a:cxn ang="0">
                <a:pos x="10" y="0"/>
              </a:cxn>
              <a:cxn ang="0">
                <a:pos x="6" y="0"/>
              </a:cxn>
              <a:cxn ang="0">
                <a:pos x="6" y="0"/>
              </a:cxn>
            </a:cxnLst>
            <a:rect l="0" t="0" r="r" b="b"/>
            <a:pathLst>
              <a:path w="12" h="10">
                <a:moveTo>
                  <a:pt x="6" y="0"/>
                </a:moveTo>
                <a:lnTo>
                  <a:pt x="6" y="0"/>
                </a:lnTo>
                <a:lnTo>
                  <a:pt x="4" y="0"/>
                </a:lnTo>
                <a:lnTo>
                  <a:pt x="2" y="2"/>
                </a:lnTo>
                <a:lnTo>
                  <a:pt x="2" y="2"/>
                </a:lnTo>
                <a:lnTo>
                  <a:pt x="2" y="4"/>
                </a:lnTo>
                <a:lnTo>
                  <a:pt x="2" y="4"/>
                </a:lnTo>
                <a:lnTo>
                  <a:pt x="4" y="6"/>
                </a:lnTo>
                <a:lnTo>
                  <a:pt x="4" y="6"/>
                </a:lnTo>
                <a:lnTo>
                  <a:pt x="4" y="6"/>
                </a:lnTo>
                <a:lnTo>
                  <a:pt x="4" y="6"/>
                </a:lnTo>
                <a:lnTo>
                  <a:pt x="0" y="6"/>
                </a:lnTo>
                <a:lnTo>
                  <a:pt x="0" y="6"/>
                </a:lnTo>
                <a:lnTo>
                  <a:pt x="0" y="6"/>
                </a:lnTo>
                <a:lnTo>
                  <a:pt x="0" y="6"/>
                </a:lnTo>
                <a:lnTo>
                  <a:pt x="0" y="6"/>
                </a:lnTo>
                <a:lnTo>
                  <a:pt x="0" y="6"/>
                </a:lnTo>
                <a:lnTo>
                  <a:pt x="2" y="8"/>
                </a:lnTo>
                <a:lnTo>
                  <a:pt x="6" y="10"/>
                </a:lnTo>
                <a:lnTo>
                  <a:pt x="6" y="10"/>
                </a:lnTo>
                <a:lnTo>
                  <a:pt x="8" y="10"/>
                </a:lnTo>
                <a:lnTo>
                  <a:pt x="12" y="8"/>
                </a:lnTo>
                <a:lnTo>
                  <a:pt x="12" y="8"/>
                </a:lnTo>
                <a:lnTo>
                  <a:pt x="12" y="8"/>
                </a:lnTo>
                <a:lnTo>
                  <a:pt x="12" y="6"/>
                </a:lnTo>
                <a:lnTo>
                  <a:pt x="12" y="6"/>
                </a:lnTo>
                <a:lnTo>
                  <a:pt x="12" y="4"/>
                </a:lnTo>
                <a:lnTo>
                  <a:pt x="12" y="4"/>
                </a:lnTo>
                <a:lnTo>
                  <a:pt x="12" y="2"/>
                </a:lnTo>
                <a:lnTo>
                  <a:pt x="12" y="2"/>
                </a:lnTo>
                <a:lnTo>
                  <a:pt x="12" y="0"/>
                </a:lnTo>
                <a:lnTo>
                  <a:pt x="12" y="0"/>
                </a:lnTo>
                <a:lnTo>
                  <a:pt x="10" y="0"/>
                </a:lnTo>
                <a:lnTo>
                  <a:pt x="10" y="0"/>
                </a:lnTo>
                <a:lnTo>
                  <a:pt x="6" y="0"/>
                </a:lnTo>
                <a:lnTo>
                  <a:pt x="6" y="0"/>
                </a:lnTo>
                <a:close/>
              </a:path>
            </a:pathLst>
          </a:custGeom>
          <a:solidFill>
            <a:schemeClr val="accent6"/>
          </a:solidFill>
          <a:ln w="6350">
            <a:solidFill>
              <a:srgbClr val="FFFFFF"/>
            </a:solid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661" name="Brunei"/>
          <p:cNvSpPr>
            <a:spLocks/>
          </p:cNvSpPr>
          <p:nvPr/>
        </p:nvSpPr>
        <p:spPr bwMode="auto">
          <a:xfrm>
            <a:off x="7076345" y="2597811"/>
            <a:ext cx="34183" cy="31866"/>
          </a:xfrm>
          <a:custGeom>
            <a:avLst/>
            <a:gdLst/>
            <a:ahLst/>
            <a:cxnLst>
              <a:cxn ang="0">
                <a:pos x="0" y="12"/>
              </a:cxn>
              <a:cxn ang="0">
                <a:pos x="0" y="12"/>
              </a:cxn>
              <a:cxn ang="0">
                <a:pos x="4" y="10"/>
              </a:cxn>
              <a:cxn ang="0">
                <a:pos x="6" y="8"/>
              </a:cxn>
              <a:cxn ang="0">
                <a:pos x="10" y="6"/>
              </a:cxn>
              <a:cxn ang="0">
                <a:pos x="18" y="2"/>
              </a:cxn>
              <a:cxn ang="0">
                <a:pos x="18" y="2"/>
              </a:cxn>
              <a:cxn ang="0">
                <a:pos x="24" y="0"/>
              </a:cxn>
              <a:cxn ang="0">
                <a:pos x="28" y="0"/>
              </a:cxn>
              <a:cxn ang="0">
                <a:pos x="28" y="0"/>
              </a:cxn>
              <a:cxn ang="0">
                <a:pos x="28" y="4"/>
              </a:cxn>
              <a:cxn ang="0">
                <a:pos x="30" y="10"/>
              </a:cxn>
              <a:cxn ang="0">
                <a:pos x="30" y="10"/>
              </a:cxn>
              <a:cxn ang="0">
                <a:pos x="30" y="12"/>
              </a:cxn>
              <a:cxn ang="0">
                <a:pos x="30" y="14"/>
              </a:cxn>
              <a:cxn ang="0">
                <a:pos x="28" y="16"/>
              </a:cxn>
              <a:cxn ang="0">
                <a:pos x="28" y="16"/>
              </a:cxn>
              <a:cxn ang="0">
                <a:pos x="26" y="16"/>
              </a:cxn>
              <a:cxn ang="0">
                <a:pos x="26" y="16"/>
              </a:cxn>
              <a:cxn ang="0">
                <a:pos x="24" y="12"/>
              </a:cxn>
              <a:cxn ang="0">
                <a:pos x="24" y="6"/>
              </a:cxn>
              <a:cxn ang="0">
                <a:pos x="22" y="6"/>
              </a:cxn>
              <a:cxn ang="0">
                <a:pos x="20" y="6"/>
              </a:cxn>
              <a:cxn ang="0">
                <a:pos x="20" y="6"/>
              </a:cxn>
              <a:cxn ang="0">
                <a:pos x="18" y="8"/>
              </a:cxn>
              <a:cxn ang="0">
                <a:pos x="18" y="10"/>
              </a:cxn>
              <a:cxn ang="0">
                <a:pos x="18" y="14"/>
              </a:cxn>
              <a:cxn ang="0">
                <a:pos x="20" y="20"/>
              </a:cxn>
              <a:cxn ang="0">
                <a:pos x="18" y="26"/>
              </a:cxn>
              <a:cxn ang="0">
                <a:pos x="18" y="26"/>
              </a:cxn>
              <a:cxn ang="0">
                <a:pos x="16" y="28"/>
              </a:cxn>
              <a:cxn ang="0">
                <a:pos x="12" y="26"/>
              </a:cxn>
              <a:cxn ang="0">
                <a:pos x="8" y="20"/>
              </a:cxn>
              <a:cxn ang="0">
                <a:pos x="8" y="20"/>
              </a:cxn>
              <a:cxn ang="0">
                <a:pos x="6" y="18"/>
              </a:cxn>
              <a:cxn ang="0">
                <a:pos x="6" y="18"/>
              </a:cxn>
              <a:cxn ang="0">
                <a:pos x="6" y="20"/>
              </a:cxn>
              <a:cxn ang="0">
                <a:pos x="4" y="18"/>
              </a:cxn>
              <a:cxn ang="0">
                <a:pos x="4" y="18"/>
              </a:cxn>
              <a:cxn ang="0">
                <a:pos x="4" y="16"/>
              </a:cxn>
              <a:cxn ang="0">
                <a:pos x="2" y="14"/>
              </a:cxn>
              <a:cxn ang="0">
                <a:pos x="0" y="12"/>
              </a:cxn>
              <a:cxn ang="0">
                <a:pos x="0" y="12"/>
              </a:cxn>
            </a:cxnLst>
            <a:rect l="0" t="0" r="r" b="b"/>
            <a:pathLst>
              <a:path w="30" h="28">
                <a:moveTo>
                  <a:pt x="0" y="12"/>
                </a:moveTo>
                <a:lnTo>
                  <a:pt x="0" y="12"/>
                </a:lnTo>
                <a:lnTo>
                  <a:pt x="4" y="10"/>
                </a:lnTo>
                <a:lnTo>
                  <a:pt x="6" y="8"/>
                </a:lnTo>
                <a:lnTo>
                  <a:pt x="10" y="6"/>
                </a:lnTo>
                <a:lnTo>
                  <a:pt x="18" y="2"/>
                </a:lnTo>
                <a:lnTo>
                  <a:pt x="18" y="2"/>
                </a:lnTo>
                <a:lnTo>
                  <a:pt x="24" y="0"/>
                </a:lnTo>
                <a:lnTo>
                  <a:pt x="28" y="0"/>
                </a:lnTo>
                <a:lnTo>
                  <a:pt x="28" y="0"/>
                </a:lnTo>
                <a:lnTo>
                  <a:pt x="28" y="4"/>
                </a:lnTo>
                <a:lnTo>
                  <a:pt x="30" y="10"/>
                </a:lnTo>
                <a:lnTo>
                  <a:pt x="30" y="10"/>
                </a:lnTo>
                <a:lnTo>
                  <a:pt x="30" y="12"/>
                </a:lnTo>
                <a:lnTo>
                  <a:pt x="30" y="14"/>
                </a:lnTo>
                <a:lnTo>
                  <a:pt x="28" y="16"/>
                </a:lnTo>
                <a:lnTo>
                  <a:pt x="28" y="16"/>
                </a:lnTo>
                <a:lnTo>
                  <a:pt x="26" y="16"/>
                </a:lnTo>
                <a:lnTo>
                  <a:pt x="26" y="16"/>
                </a:lnTo>
                <a:lnTo>
                  <a:pt x="24" y="12"/>
                </a:lnTo>
                <a:lnTo>
                  <a:pt x="24" y="6"/>
                </a:lnTo>
                <a:lnTo>
                  <a:pt x="22" y="6"/>
                </a:lnTo>
                <a:lnTo>
                  <a:pt x="20" y="6"/>
                </a:lnTo>
                <a:lnTo>
                  <a:pt x="20" y="6"/>
                </a:lnTo>
                <a:lnTo>
                  <a:pt x="18" y="8"/>
                </a:lnTo>
                <a:lnTo>
                  <a:pt x="18" y="10"/>
                </a:lnTo>
                <a:lnTo>
                  <a:pt x="18" y="14"/>
                </a:lnTo>
                <a:lnTo>
                  <a:pt x="20" y="20"/>
                </a:lnTo>
                <a:lnTo>
                  <a:pt x="18" y="26"/>
                </a:lnTo>
                <a:lnTo>
                  <a:pt x="18" y="26"/>
                </a:lnTo>
                <a:lnTo>
                  <a:pt x="16" y="28"/>
                </a:lnTo>
                <a:lnTo>
                  <a:pt x="12" y="26"/>
                </a:lnTo>
                <a:lnTo>
                  <a:pt x="8" y="20"/>
                </a:lnTo>
                <a:lnTo>
                  <a:pt x="8" y="20"/>
                </a:lnTo>
                <a:lnTo>
                  <a:pt x="6" y="18"/>
                </a:lnTo>
                <a:lnTo>
                  <a:pt x="6" y="18"/>
                </a:lnTo>
                <a:lnTo>
                  <a:pt x="6" y="20"/>
                </a:lnTo>
                <a:lnTo>
                  <a:pt x="4" y="18"/>
                </a:lnTo>
                <a:lnTo>
                  <a:pt x="4" y="18"/>
                </a:lnTo>
                <a:lnTo>
                  <a:pt x="4" y="16"/>
                </a:lnTo>
                <a:lnTo>
                  <a:pt x="2" y="14"/>
                </a:lnTo>
                <a:lnTo>
                  <a:pt x="0" y="12"/>
                </a:lnTo>
                <a:lnTo>
                  <a:pt x="0" y="12"/>
                </a:lnTo>
                <a:close/>
              </a:path>
            </a:pathLst>
          </a:custGeom>
          <a:solidFill>
            <a:schemeClr val="tx1"/>
          </a:solidFill>
          <a:ln w="6350">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2" name="Freeform 133"/>
          <p:cNvSpPr>
            <a:spLocks/>
          </p:cNvSpPr>
          <p:nvPr/>
        </p:nvSpPr>
        <p:spPr bwMode="auto">
          <a:xfrm>
            <a:off x="7981040" y="2848185"/>
            <a:ext cx="47856" cy="52351"/>
          </a:xfrm>
          <a:custGeom>
            <a:avLst/>
            <a:gdLst/>
            <a:ahLst/>
            <a:cxnLst>
              <a:cxn ang="0">
                <a:pos x="34" y="46"/>
              </a:cxn>
              <a:cxn ang="0">
                <a:pos x="34" y="46"/>
              </a:cxn>
              <a:cxn ang="0">
                <a:pos x="32" y="46"/>
              </a:cxn>
              <a:cxn ang="0">
                <a:pos x="30" y="44"/>
              </a:cxn>
              <a:cxn ang="0">
                <a:pos x="30" y="38"/>
              </a:cxn>
              <a:cxn ang="0">
                <a:pos x="30" y="30"/>
              </a:cxn>
              <a:cxn ang="0">
                <a:pos x="28" y="28"/>
              </a:cxn>
              <a:cxn ang="0">
                <a:pos x="26" y="24"/>
              </a:cxn>
              <a:cxn ang="0">
                <a:pos x="26" y="24"/>
              </a:cxn>
              <a:cxn ang="0">
                <a:pos x="12" y="10"/>
              </a:cxn>
              <a:cxn ang="0">
                <a:pos x="4" y="4"/>
              </a:cxn>
              <a:cxn ang="0">
                <a:pos x="4" y="4"/>
              </a:cxn>
              <a:cxn ang="0">
                <a:pos x="0" y="2"/>
              </a:cxn>
              <a:cxn ang="0">
                <a:pos x="0" y="0"/>
              </a:cxn>
              <a:cxn ang="0">
                <a:pos x="2" y="0"/>
              </a:cxn>
              <a:cxn ang="0">
                <a:pos x="2" y="0"/>
              </a:cxn>
              <a:cxn ang="0">
                <a:pos x="6" y="0"/>
              </a:cxn>
              <a:cxn ang="0">
                <a:pos x="10" y="4"/>
              </a:cxn>
              <a:cxn ang="0">
                <a:pos x="20" y="14"/>
              </a:cxn>
              <a:cxn ang="0">
                <a:pos x="20" y="14"/>
              </a:cxn>
              <a:cxn ang="0">
                <a:pos x="32" y="26"/>
              </a:cxn>
              <a:cxn ang="0">
                <a:pos x="34" y="28"/>
              </a:cxn>
              <a:cxn ang="0">
                <a:pos x="36" y="30"/>
              </a:cxn>
              <a:cxn ang="0">
                <a:pos x="36" y="30"/>
              </a:cxn>
              <a:cxn ang="0">
                <a:pos x="36" y="30"/>
              </a:cxn>
              <a:cxn ang="0">
                <a:pos x="40" y="32"/>
              </a:cxn>
              <a:cxn ang="0">
                <a:pos x="42" y="34"/>
              </a:cxn>
              <a:cxn ang="0">
                <a:pos x="40" y="36"/>
              </a:cxn>
              <a:cxn ang="0">
                <a:pos x="40" y="36"/>
              </a:cxn>
              <a:cxn ang="0">
                <a:pos x="38" y="40"/>
              </a:cxn>
              <a:cxn ang="0">
                <a:pos x="36" y="44"/>
              </a:cxn>
              <a:cxn ang="0">
                <a:pos x="36" y="46"/>
              </a:cxn>
              <a:cxn ang="0">
                <a:pos x="34" y="46"/>
              </a:cxn>
              <a:cxn ang="0">
                <a:pos x="34" y="46"/>
              </a:cxn>
            </a:cxnLst>
            <a:rect l="0" t="0" r="r" b="b"/>
            <a:pathLst>
              <a:path w="42" h="46">
                <a:moveTo>
                  <a:pt x="34" y="46"/>
                </a:moveTo>
                <a:lnTo>
                  <a:pt x="34" y="46"/>
                </a:lnTo>
                <a:lnTo>
                  <a:pt x="32" y="46"/>
                </a:lnTo>
                <a:lnTo>
                  <a:pt x="30" y="44"/>
                </a:lnTo>
                <a:lnTo>
                  <a:pt x="30" y="38"/>
                </a:lnTo>
                <a:lnTo>
                  <a:pt x="30" y="30"/>
                </a:lnTo>
                <a:lnTo>
                  <a:pt x="28" y="28"/>
                </a:lnTo>
                <a:lnTo>
                  <a:pt x="26" y="24"/>
                </a:lnTo>
                <a:lnTo>
                  <a:pt x="26" y="24"/>
                </a:lnTo>
                <a:lnTo>
                  <a:pt x="12" y="10"/>
                </a:lnTo>
                <a:lnTo>
                  <a:pt x="4" y="4"/>
                </a:lnTo>
                <a:lnTo>
                  <a:pt x="4" y="4"/>
                </a:lnTo>
                <a:lnTo>
                  <a:pt x="0" y="2"/>
                </a:lnTo>
                <a:lnTo>
                  <a:pt x="0" y="0"/>
                </a:lnTo>
                <a:lnTo>
                  <a:pt x="2" y="0"/>
                </a:lnTo>
                <a:lnTo>
                  <a:pt x="2" y="0"/>
                </a:lnTo>
                <a:lnTo>
                  <a:pt x="6" y="0"/>
                </a:lnTo>
                <a:lnTo>
                  <a:pt x="10" y="4"/>
                </a:lnTo>
                <a:lnTo>
                  <a:pt x="20" y="14"/>
                </a:lnTo>
                <a:lnTo>
                  <a:pt x="20" y="14"/>
                </a:lnTo>
                <a:lnTo>
                  <a:pt x="32" y="26"/>
                </a:lnTo>
                <a:lnTo>
                  <a:pt x="34" y="28"/>
                </a:lnTo>
                <a:lnTo>
                  <a:pt x="36" y="30"/>
                </a:lnTo>
                <a:lnTo>
                  <a:pt x="36" y="30"/>
                </a:lnTo>
                <a:lnTo>
                  <a:pt x="36" y="30"/>
                </a:lnTo>
                <a:lnTo>
                  <a:pt x="40" y="32"/>
                </a:lnTo>
                <a:lnTo>
                  <a:pt x="42" y="34"/>
                </a:lnTo>
                <a:lnTo>
                  <a:pt x="40" y="36"/>
                </a:lnTo>
                <a:lnTo>
                  <a:pt x="40" y="36"/>
                </a:lnTo>
                <a:lnTo>
                  <a:pt x="38" y="40"/>
                </a:lnTo>
                <a:lnTo>
                  <a:pt x="36" y="44"/>
                </a:lnTo>
                <a:lnTo>
                  <a:pt x="36" y="46"/>
                </a:lnTo>
                <a:lnTo>
                  <a:pt x="34" y="46"/>
                </a:lnTo>
                <a:lnTo>
                  <a:pt x="34" y="46"/>
                </a:lnTo>
                <a:close/>
              </a:path>
            </a:pathLst>
          </a:custGeom>
          <a:solidFill>
            <a:schemeClr val="tx1"/>
          </a:solidFill>
          <a:ln w="6350">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599" name="New Zealand"/>
          <p:cNvSpPr>
            <a:spLocks/>
          </p:cNvSpPr>
          <p:nvPr/>
        </p:nvSpPr>
        <p:spPr bwMode="auto">
          <a:xfrm>
            <a:off x="7862541" y="3704007"/>
            <a:ext cx="439813" cy="314106"/>
          </a:xfrm>
          <a:custGeom>
            <a:avLst/>
            <a:gdLst/>
            <a:ahLst/>
            <a:cxnLst/>
            <a:rect l="l" t="t" r="r" b="b"/>
            <a:pathLst>
              <a:path w="510646" h="365126">
                <a:moveTo>
                  <a:pt x="227542" y="275168"/>
                </a:moveTo>
                <a:lnTo>
                  <a:pt x="227542" y="277814"/>
                </a:lnTo>
                <a:lnTo>
                  <a:pt x="230188" y="277814"/>
                </a:lnTo>
                <a:lnTo>
                  <a:pt x="230188" y="275168"/>
                </a:lnTo>
                <a:close/>
                <a:moveTo>
                  <a:pt x="293688" y="185209"/>
                </a:moveTo>
                <a:lnTo>
                  <a:pt x="301625" y="187855"/>
                </a:lnTo>
                <a:lnTo>
                  <a:pt x="296334" y="187855"/>
                </a:lnTo>
                <a:lnTo>
                  <a:pt x="291042" y="187855"/>
                </a:lnTo>
                <a:lnTo>
                  <a:pt x="291042" y="190501"/>
                </a:lnTo>
                <a:lnTo>
                  <a:pt x="291042" y="193147"/>
                </a:lnTo>
                <a:lnTo>
                  <a:pt x="293688" y="193147"/>
                </a:lnTo>
                <a:lnTo>
                  <a:pt x="293688" y="195793"/>
                </a:lnTo>
                <a:lnTo>
                  <a:pt x="291042" y="198438"/>
                </a:lnTo>
                <a:lnTo>
                  <a:pt x="293688" y="201084"/>
                </a:lnTo>
                <a:lnTo>
                  <a:pt x="296334" y="198438"/>
                </a:lnTo>
                <a:lnTo>
                  <a:pt x="301625" y="195793"/>
                </a:lnTo>
                <a:lnTo>
                  <a:pt x="304271" y="195793"/>
                </a:lnTo>
                <a:lnTo>
                  <a:pt x="306917" y="193147"/>
                </a:lnTo>
                <a:lnTo>
                  <a:pt x="309563" y="190501"/>
                </a:lnTo>
                <a:lnTo>
                  <a:pt x="312208" y="190501"/>
                </a:lnTo>
                <a:lnTo>
                  <a:pt x="312208" y="193147"/>
                </a:lnTo>
                <a:lnTo>
                  <a:pt x="309563" y="193147"/>
                </a:lnTo>
                <a:lnTo>
                  <a:pt x="309563" y="195793"/>
                </a:lnTo>
                <a:lnTo>
                  <a:pt x="312208" y="195793"/>
                </a:lnTo>
                <a:lnTo>
                  <a:pt x="314854" y="195793"/>
                </a:lnTo>
                <a:lnTo>
                  <a:pt x="317500" y="198438"/>
                </a:lnTo>
                <a:lnTo>
                  <a:pt x="314854" y="198438"/>
                </a:lnTo>
                <a:lnTo>
                  <a:pt x="317500" y="201084"/>
                </a:lnTo>
                <a:lnTo>
                  <a:pt x="320146" y="201084"/>
                </a:lnTo>
                <a:lnTo>
                  <a:pt x="317500" y="203730"/>
                </a:lnTo>
                <a:lnTo>
                  <a:pt x="314854" y="203730"/>
                </a:lnTo>
                <a:lnTo>
                  <a:pt x="312208" y="206376"/>
                </a:lnTo>
                <a:lnTo>
                  <a:pt x="309563" y="206376"/>
                </a:lnTo>
                <a:lnTo>
                  <a:pt x="312208" y="209022"/>
                </a:lnTo>
                <a:lnTo>
                  <a:pt x="312208" y="211668"/>
                </a:lnTo>
                <a:lnTo>
                  <a:pt x="309563" y="216959"/>
                </a:lnTo>
                <a:lnTo>
                  <a:pt x="296334" y="224897"/>
                </a:lnTo>
                <a:lnTo>
                  <a:pt x="293688" y="227543"/>
                </a:lnTo>
                <a:lnTo>
                  <a:pt x="291042" y="230188"/>
                </a:lnTo>
                <a:lnTo>
                  <a:pt x="283104" y="232834"/>
                </a:lnTo>
                <a:lnTo>
                  <a:pt x="280458" y="235480"/>
                </a:lnTo>
                <a:lnTo>
                  <a:pt x="283104" y="235480"/>
                </a:lnTo>
                <a:lnTo>
                  <a:pt x="283104" y="238126"/>
                </a:lnTo>
                <a:lnTo>
                  <a:pt x="280458" y="238126"/>
                </a:lnTo>
                <a:lnTo>
                  <a:pt x="277813" y="238126"/>
                </a:lnTo>
                <a:lnTo>
                  <a:pt x="275167" y="238126"/>
                </a:lnTo>
                <a:lnTo>
                  <a:pt x="275167" y="240772"/>
                </a:lnTo>
                <a:lnTo>
                  <a:pt x="261938" y="251355"/>
                </a:lnTo>
                <a:lnTo>
                  <a:pt x="259292" y="251355"/>
                </a:lnTo>
                <a:lnTo>
                  <a:pt x="259292" y="254001"/>
                </a:lnTo>
                <a:lnTo>
                  <a:pt x="256646" y="256647"/>
                </a:lnTo>
                <a:lnTo>
                  <a:pt x="254000" y="256647"/>
                </a:lnTo>
                <a:lnTo>
                  <a:pt x="251354" y="259293"/>
                </a:lnTo>
                <a:lnTo>
                  <a:pt x="243417" y="259293"/>
                </a:lnTo>
                <a:lnTo>
                  <a:pt x="235479" y="259293"/>
                </a:lnTo>
                <a:lnTo>
                  <a:pt x="232833" y="261939"/>
                </a:lnTo>
                <a:lnTo>
                  <a:pt x="230188" y="267230"/>
                </a:lnTo>
                <a:lnTo>
                  <a:pt x="227542" y="267230"/>
                </a:lnTo>
                <a:lnTo>
                  <a:pt x="227542" y="269876"/>
                </a:lnTo>
                <a:lnTo>
                  <a:pt x="227542" y="272522"/>
                </a:lnTo>
                <a:lnTo>
                  <a:pt x="230188" y="272522"/>
                </a:lnTo>
                <a:lnTo>
                  <a:pt x="232833" y="272522"/>
                </a:lnTo>
                <a:lnTo>
                  <a:pt x="232833" y="275168"/>
                </a:lnTo>
                <a:lnTo>
                  <a:pt x="235479" y="275168"/>
                </a:lnTo>
                <a:lnTo>
                  <a:pt x="235479" y="277814"/>
                </a:lnTo>
                <a:lnTo>
                  <a:pt x="235479" y="280459"/>
                </a:lnTo>
                <a:lnTo>
                  <a:pt x="232833" y="280459"/>
                </a:lnTo>
                <a:lnTo>
                  <a:pt x="230188" y="280459"/>
                </a:lnTo>
                <a:lnTo>
                  <a:pt x="232833" y="283105"/>
                </a:lnTo>
                <a:lnTo>
                  <a:pt x="230188" y="283105"/>
                </a:lnTo>
                <a:lnTo>
                  <a:pt x="227542" y="283105"/>
                </a:lnTo>
                <a:lnTo>
                  <a:pt x="224896" y="283105"/>
                </a:lnTo>
                <a:lnTo>
                  <a:pt x="222250" y="280459"/>
                </a:lnTo>
                <a:lnTo>
                  <a:pt x="219604" y="280459"/>
                </a:lnTo>
                <a:lnTo>
                  <a:pt x="219604" y="277814"/>
                </a:lnTo>
                <a:lnTo>
                  <a:pt x="216958" y="277814"/>
                </a:lnTo>
                <a:lnTo>
                  <a:pt x="209021" y="277814"/>
                </a:lnTo>
                <a:lnTo>
                  <a:pt x="193146" y="283105"/>
                </a:lnTo>
                <a:lnTo>
                  <a:pt x="174625" y="293689"/>
                </a:lnTo>
                <a:lnTo>
                  <a:pt x="171979" y="296334"/>
                </a:lnTo>
                <a:lnTo>
                  <a:pt x="169333" y="298980"/>
                </a:lnTo>
                <a:lnTo>
                  <a:pt x="164042" y="304272"/>
                </a:lnTo>
                <a:lnTo>
                  <a:pt x="161396" y="306918"/>
                </a:lnTo>
                <a:lnTo>
                  <a:pt x="161396" y="312209"/>
                </a:lnTo>
                <a:lnTo>
                  <a:pt x="158750" y="314855"/>
                </a:lnTo>
                <a:lnTo>
                  <a:pt x="150813" y="317501"/>
                </a:lnTo>
                <a:lnTo>
                  <a:pt x="142875" y="322793"/>
                </a:lnTo>
                <a:lnTo>
                  <a:pt x="140229" y="325439"/>
                </a:lnTo>
                <a:lnTo>
                  <a:pt x="137584" y="328085"/>
                </a:lnTo>
                <a:lnTo>
                  <a:pt x="132292" y="330730"/>
                </a:lnTo>
                <a:lnTo>
                  <a:pt x="124354" y="333376"/>
                </a:lnTo>
                <a:lnTo>
                  <a:pt x="121709" y="338668"/>
                </a:lnTo>
                <a:lnTo>
                  <a:pt x="119063" y="338668"/>
                </a:lnTo>
                <a:lnTo>
                  <a:pt x="116417" y="341314"/>
                </a:lnTo>
                <a:lnTo>
                  <a:pt x="108479" y="343960"/>
                </a:lnTo>
                <a:lnTo>
                  <a:pt x="105834" y="349251"/>
                </a:lnTo>
                <a:lnTo>
                  <a:pt x="103188" y="351897"/>
                </a:lnTo>
                <a:lnTo>
                  <a:pt x="95250" y="357189"/>
                </a:lnTo>
                <a:lnTo>
                  <a:pt x="92604" y="359835"/>
                </a:lnTo>
                <a:lnTo>
                  <a:pt x="89959" y="359835"/>
                </a:lnTo>
                <a:lnTo>
                  <a:pt x="84667" y="359835"/>
                </a:lnTo>
                <a:lnTo>
                  <a:pt x="82021" y="359835"/>
                </a:lnTo>
                <a:lnTo>
                  <a:pt x="79375" y="362480"/>
                </a:lnTo>
                <a:lnTo>
                  <a:pt x="76729" y="362480"/>
                </a:lnTo>
                <a:lnTo>
                  <a:pt x="71438" y="365126"/>
                </a:lnTo>
                <a:lnTo>
                  <a:pt x="63500" y="365126"/>
                </a:lnTo>
                <a:lnTo>
                  <a:pt x="58209" y="362480"/>
                </a:lnTo>
                <a:lnTo>
                  <a:pt x="52917" y="362480"/>
                </a:lnTo>
                <a:lnTo>
                  <a:pt x="42334" y="362480"/>
                </a:lnTo>
                <a:lnTo>
                  <a:pt x="37042" y="362480"/>
                </a:lnTo>
                <a:lnTo>
                  <a:pt x="37042" y="359835"/>
                </a:lnTo>
                <a:lnTo>
                  <a:pt x="37042" y="357189"/>
                </a:lnTo>
                <a:lnTo>
                  <a:pt x="34396" y="357189"/>
                </a:lnTo>
                <a:lnTo>
                  <a:pt x="29104" y="357189"/>
                </a:lnTo>
                <a:lnTo>
                  <a:pt x="26459" y="354543"/>
                </a:lnTo>
                <a:lnTo>
                  <a:pt x="23813" y="354543"/>
                </a:lnTo>
                <a:lnTo>
                  <a:pt x="21167" y="354543"/>
                </a:lnTo>
                <a:lnTo>
                  <a:pt x="18521" y="357189"/>
                </a:lnTo>
                <a:lnTo>
                  <a:pt x="18521" y="354543"/>
                </a:lnTo>
                <a:lnTo>
                  <a:pt x="10584" y="354543"/>
                </a:lnTo>
                <a:lnTo>
                  <a:pt x="5292" y="351897"/>
                </a:lnTo>
                <a:lnTo>
                  <a:pt x="0" y="349251"/>
                </a:lnTo>
                <a:lnTo>
                  <a:pt x="0" y="346605"/>
                </a:lnTo>
                <a:lnTo>
                  <a:pt x="2646" y="346605"/>
                </a:lnTo>
                <a:lnTo>
                  <a:pt x="10584" y="346605"/>
                </a:lnTo>
                <a:lnTo>
                  <a:pt x="10584" y="343960"/>
                </a:lnTo>
                <a:lnTo>
                  <a:pt x="7938" y="343960"/>
                </a:lnTo>
                <a:lnTo>
                  <a:pt x="5292" y="341314"/>
                </a:lnTo>
                <a:lnTo>
                  <a:pt x="7938" y="338668"/>
                </a:lnTo>
                <a:lnTo>
                  <a:pt x="2646" y="338668"/>
                </a:lnTo>
                <a:lnTo>
                  <a:pt x="2646" y="336022"/>
                </a:lnTo>
                <a:lnTo>
                  <a:pt x="7938" y="333376"/>
                </a:lnTo>
                <a:lnTo>
                  <a:pt x="10584" y="330730"/>
                </a:lnTo>
                <a:lnTo>
                  <a:pt x="18521" y="328085"/>
                </a:lnTo>
                <a:lnTo>
                  <a:pt x="18521" y="325439"/>
                </a:lnTo>
                <a:lnTo>
                  <a:pt x="23813" y="325439"/>
                </a:lnTo>
                <a:lnTo>
                  <a:pt x="26459" y="322793"/>
                </a:lnTo>
                <a:lnTo>
                  <a:pt x="26459" y="320147"/>
                </a:lnTo>
                <a:lnTo>
                  <a:pt x="29104" y="320147"/>
                </a:lnTo>
                <a:lnTo>
                  <a:pt x="39688" y="314855"/>
                </a:lnTo>
                <a:lnTo>
                  <a:pt x="47625" y="312209"/>
                </a:lnTo>
                <a:lnTo>
                  <a:pt x="55563" y="309564"/>
                </a:lnTo>
                <a:lnTo>
                  <a:pt x="60854" y="309564"/>
                </a:lnTo>
                <a:lnTo>
                  <a:pt x="66146" y="306918"/>
                </a:lnTo>
                <a:lnTo>
                  <a:pt x="71438" y="301626"/>
                </a:lnTo>
                <a:lnTo>
                  <a:pt x="74084" y="301626"/>
                </a:lnTo>
                <a:lnTo>
                  <a:pt x="79375" y="298980"/>
                </a:lnTo>
                <a:lnTo>
                  <a:pt x="87313" y="296334"/>
                </a:lnTo>
                <a:lnTo>
                  <a:pt x="92604" y="291043"/>
                </a:lnTo>
                <a:lnTo>
                  <a:pt x="97896" y="288397"/>
                </a:lnTo>
                <a:lnTo>
                  <a:pt x="100542" y="288397"/>
                </a:lnTo>
                <a:lnTo>
                  <a:pt x="108479" y="288397"/>
                </a:lnTo>
                <a:lnTo>
                  <a:pt x="111125" y="285751"/>
                </a:lnTo>
                <a:lnTo>
                  <a:pt x="116417" y="283105"/>
                </a:lnTo>
                <a:lnTo>
                  <a:pt x="121709" y="280459"/>
                </a:lnTo>
                <a:lnTo>
                  <a:pt x="127000" y="277814"/>
                </a:lnTo>
                <a:lnTo>
                  <a:pt x="140229" y="272522"/>
                </a:lnTo>
                <a:lnTo>
                  <a:pt x="142875" y="269876"/>
                </a:lnTo>
                <a:lnTo>
                  <a:pt x="145521" y="269876"/>
                </a:lnTo>
                <a:lnTo>
                  <a:pt x="145521" y="272522"/>
                </a:lnTo>
                <a:lnTo>
                  <a:pt x="148167" y="269876"/>
                </a:lnTo>
                <a:lnTo>
                  <a:pt x="156104" y="267230"/>
                </a:lnTo>
                <a:lnTo>
                  <a:pt x="161396" y="264584"/>
                </a:lnTo>
                <a:lnTo>
                  <a:pt x="166688" y="261939"/>
                </a:lnTo>
                <a:lnTo>
                  <a:pt x="174625" y="256647"/>
                </a:lnTo>
                <a:lnTo>
                  <a:pt x="182563" y="254001"/>
                </a:lnTo>
                <a:lnTo>
                  <a:pt x="187854" y="248709"/>
                </a:lnTo>
                <a:lnTo>
                  <a:pt x="193146" y="248709"/>
                </a:lnTo>
                <a:lnTo>
                  <a:pt x="206375" y="243418"/>
                </a:lnTo>
                <a:lnTo>
                  <a:pt x="214313" y="238126"/>
                </a:lnTo>
                <a:lnTo>
                  <a:pt x="216958" y="235480"/>
                </a:lnTo>
                <a:lnTo>
                  <a:pt x="219604" y="235480"/>
                </a:lnTo>
                <a:lnTo>
                  <a:pt x="222250" y="235480"/>
                </a:lnTo>
                <a:lnTo>
                  <a:pt x="227542" y="230188"/>
                </a:lnTo>
                <a:lnTo>
                  <a:pt x="232833" y="222251"/>
                </a:lnTo>
                <a:lnTo>
                  <a:pt x="238125" y="216959"/>
                </a:lnTo>
                <a:lnTo>
                  <a:pt x="240771" y="214313"/>
                </a:lnTo>
                <a:lnTo>
                  <a:pt x="248708" y="214313"/>
                </a:lnTo>
                <a:lnTo>
                  <a:pt x="259292" y="209022"/>
                </a:lnTo>
                <a:lnTo>
                  <a:pt x="264583" y="206376"/>
                </a:lnTo>
                <a:lnTo>
                  <a:pt x="269875" y="203730"/>
                </a:lnTo>
                <a:lnTo>
                  <a:pt x="275167" y="195793"/>
                </a:lnTo>
                <a:lnTo>
                  <a:pt x="283104" y="190501"/>
                </a:lnTo>
                <a:lnTo>
                  <a:pt x="288396" y="187855"/>
                </a:lnTo>
                <a:close/>
                <a:moveTo>
                  <a:pt x="444500" y="37041"/>
                </a:moveTo>
                <a:lnTo>
                  <a:pt x="444500" y="39687"/>
                </a:lnTo>
                <a:lnTo>
                  <a:pt x="447146" y="39687"/>
                </a:lnTo>
                <a:close/>
                <a:moveTo>
                  <a:pt x="425979" y="0"/>
                </a:moveTo>
                <a:lnTo>
                  <a:pt x="431271" y="0"/>
                </a:lnTo>
                <a:lnTo>
                  <a:pt x="431271" y="2646"/>
                </a:lnTo>
                <a:lnTo>
                  <a:pt x="431271" y="5291"/>
                </a:lnTo>
                <a:lnTo>
                  <a:pt x="433917" y="7937"/>
                </a:lnTo>
                <a:lnTo>
                  <a:pt x="433917" y="10583"/>
                </a:lnTo>
                <a:lnTo>
                  <a:pt x="433917" y="13229"/>
                </a:lnTo>
                <a:lnTo>
                  <a:pt x="436563" y="13229"/>
                </a:lnTo>
                <a:lnTo>
                  <a:pt x="439208" y="13229"/>
                </a:lnTo>
                <a:lnTo>
                  <a:pt x="436563" y="15875"/>
                </a:lnTo>
                <a:lnTo>
                  <a:pt x="439208" y="15875"/>
                </a:lnTo>
                <a:lnTo>
                  <a:pt x="441854" y="15875"/>
                </a:lnTo>
                <a:lnTo>
                  <a:pt x="444500" y="18521"/>
                </a:lnTo>
                <a:lnTo>
                  <a:pt x="441854" y="18521"/>
                </a:lnTo>
                <a:lnTo>
                  <a:pt x="444500" y="21166"/>
                </a:lnTo>
                <a:lnTo>
                  <a:pt x="447146" y="21166"/>
                </a:lnTo>
                <a:lnTo>
                  <a:pt x="447146" y="23812"/>
                </a:lnTo>
                <a:lnTo>
                  <a:pt x="449792" y="26458"/>
                </a:lnTo>
                <a:lnTo>
                  <a:pt x="449792" y="29104"/>
                </a:lnTo>
                <a:lnTo>
                  <a:pt x="452438" y="31750"/>
                </a:lnTo>
                <a:lnTo>
                  <a:pt x="452438" y="37041"/>
                </a:lnTo>
                <a:lnTo>
                  <a:pt x="449792" y="37041"/>
                </a:lnTo>
                <a:lnTo>
                  <a:pt x="449792" y="39687"/>
                </a:lnTo>
                <a:lnTo>
                  <a:pt x="449792" y="42333"/>
                </a:lnTo>
                <a:lnTo>
                  <a:pt x="447146" y="42333"/>
                </a:lnTo>
                <a:lnTo>
                  <a:pt x="444500" y="44979"/>
                </a:lnTo>
                <a:lnTo>
                  <a:pt x="444500" y="47625"/>
                </a:lnTo>
                <a:lnTo>
                  <a:pt x="444500" y="50271"/>
                </a:lnTo>
                <a:lnTo>
                  <a:pt x="444500" y="52916"/>
                </a:lnTo>
                <a:lnTo>
                  <a:pt x="444500" y="55562"/>
                </a:lnTo>
                <a:lnTo>
                  <a:pt x="447146" y="55562"/>
                </a:lnTo>
                <a:lnTo>
                  <a:pt x="444500" y="58208"/>
                </a:lnTo>
                <a:lnTo>
                  <a:pt x="441854" y="60854"/>
                </a:lnTo>
                <a:lnTo>
                  <a:pt x="441854" y="63500"/>
                </a:lnTo>
                <a:lnTo>
                  <a:pt x="441854" y="66146"/>
                </a:lnTo>
                <a:lnTo>
                  <a:pt x="441854" y="68791"/>
                </a:lnTo>
                <a:lnTo>
                  <a:pt x="441854" y="71437"/>
                </a:lnTo>
                <a:lnTo>
                  <a:pt x="439208" y="74083"/>
                </a:lnTo>
                <a:lnTo>
                  <a:pt x="436563" y="71437"/>
                </a:lnTo>
                <a:lnTo>
                  <a:pt x="436563" y="74083"/>
                </a:lnTo>
                <a:lnTo>
                  <a:pt x="439208" y="74083"/>
                </a:lnTo>
                <a:lnTo>
                  <a:pt x="439208" y="76729"/>
                </a:lnTo>
                <a:lnTo>
                  <a:pt x="441854" y="74083"/>
                </a:lnTo>
                <a:lnTo>
                  <a:pt x="444500" y="74083"/>
                </a:lnTo>
                <a:lnTo>
                  <a:pt x="444500" y="76729"/>
                </a:lnTo>
                <a:lnTo>
                  <a:pt x="447146" y="76729"/>
                </a:lnTo>
                <a:lnTo>
                  <a:pt x="447146" y="79375"/>
                </a:lnTo>
                <a:lnTo>
                  <a:pt x="447146" y="82021"/>
                </a:lnTo>
                <a:lnTo>
                  <a:pt x="447146" y="84666"/>
                </a:lnTo>
                <a:lnTo>
                  <a:pt x="449792" y="84666"/>
                </a:lnTo>
                <a:lnTo>
                  <a:pt x="452438" y="84666"/>
                </a:lnTo>
                <a:lnTo>
                  <a:pt x="452438" y="82021"/>
                </a:lnTo>
                <a:lnTo>
                  <a:pt x="452438" y="79375"/>
                </a:lnTo>
                <a:lnTo>
                  <a:pt x="452438" y="76729"/>
                </a:lnTo>
                <a:lnTo>
                  <a:pt x="452438" y="74083"/>
                </a:lnTo>
                <a:lnTo>
                  <a:pt x="452438" y="71437"/>
                </a:lnTo>
                <a:lnTo>
                  <a:pt x="452438" y="68791"/>
                </a:lnTo>
                <a:lnTo>
                  <a:pt x="452438" y="66146"/>
                </a:lnTo>
                <a:lnTo>
                  <a:pt x="455084" y="68791"/>
                </a:lnTo>
                <a:lnTo>
                  <a:pt x="457729" y="68791"/>
                </a:lnTo>
                <a:lnTo>
                  <a:pt x="455084" y="71437"/>
                </a:lnTo>
                <a:lnTo>
                  <a:pt x="457729" y="71437"/>
                </a:lnTo>
                <a:lnTo>
                  <a:pt x="460375" y="71437"/>
                </a:lnTo>
                <a:lnTo>
                  <a:pt x="457729" y="74083"/>
                </a:lnTo>
                <a:lnTo>
                  <a:pt x="455084" y="74083"/>
                </a:lnTo>
                <a:lnTo>
                  <a:pt x="457729" y="76729"/>
                </a:lnTo>
                <a:lnTo>
                  <a:pt x="457729" y="79375"/>
                </a:lnTo>
                <a:lnTo>
                  <a:pt x="457729" y="87312"/>
                </a:lnTo>
                <a:lnTo>
                  <a:pt x="455084" y="89958"/>
                </a:lnTo>
                <a:lnTo>
                  <a:pt x="457729" y="92604"/>
                </a:lnTo>
                <a:lnTo>
                  <a:pt x="457729" y="95250"/>
                </a:lnTo>
                <a:lnTo>
                  <a:pt x="460375" y="97896"/>
                </a:lnTo>
                <a:lnTo>
                  <a:pt x="468313" y="100542"/>
                </a:lnTo>
                <a:lnTo>
                  <a:pt x="473604" y="103187"/>
                </a:lnTo>
                <a:lnTo>
                  <a:pt x="478896" y="103187"/>
                </a:lnTo>
                <a:lnTo>
                  <a:pt x="484188" y="100542"/>
                </a:lnTo>
                <a:lnTo>
                  <a:pt x="489479" y="97896"/>
                </a:lnTo>
                <a:lnTo>
                  <a:pt x="492125" y="97896"/>
                </a:lnTo>
                <a:lnTo>
                  <a:pt x="500063" y="95250"/>
                </a:lnTo>
                <a:lnTo>
                  <a:pt x="502708" y="95250"/>
                </a:lnTo>
                <a:lnTo>
                  <a:pt x="508000" y="95250"/>
                </a:lnTo>
                <a:lnTo>
                  <a:pt x="508000" y="97896"/>
                </a:lnTo>
                <a:lnTo>
                  <a:pt x="510646" y="100542"/>
                </a:lnTo>
                <a:lnTo>
                  <a:pt x="508000" y="103187"/>
                </a:lnTo>
                <a:lnTo>
                  <a:pt x="505354" y="105833"/>
                </a:lnTo>
                <a:lnTo>
                  <a:pt x="505354" y="108479"/>
                </a:lnTo>
                <a:lnTo>
                  <a:pt x="502708" y="111125"/>
                </a:lnTo>
                <a:lnTo>
                  <a:pt x="502708" y="113771"/>
                </a:lnTo>
                <a:lnTo>
                  <a:pt x="500063" y="116417"/>
                </a:lnTo>
                <a:lnTo>
                  <a:pt x="497417" y="119062"/>
                </a:lnTo>
                <a:lnTo>
                  <a:pt x="497417" y="121708"/>
                </a:lnTo>
                <a:lnTo>
                  <a:pt x="489479" y="124354"/>
                </a:lnTo>
                <a:lnTo>
                  <a:pt x="486834" y="124354"/>
                </a:lnTo>
                <a:lnTo>
                  <a:pt x="484188" y="124354"/>
                </a:lnTo>
                <a:lnTo>
                  <a:pt x="481542" y="127000"/>
                </a:lnTo>
                <a:lnTo>
                  <a:pt x="478896" y="132292"/>
                </a:lnTo>
                <a:lnTo>
                  <a:pt x="476250" y="137583"/>
                </a:lnTo>
                <a:lnTo>
                  <a:pt x="473604" y="140229"/>
                </a:lnTo>
                <a:lnTo>
                  <a:pt x="476250" y="140229"/>
                </a:lnTo>
                <a:lnTo>
                  <a:pt x="478896" y="142875"/>
                </a:lnTo>
                <a:lnTo>
                  <a:pt x="476250" y="142875"/>
                </a:lnTo>
                <a:lnTo>
                  <a:pt x="470958" y="148167"/>
                </a:lnTo>
                <a:lnTo>
                  <a:pt x="470958" y="145521"/>
                </a:lnTo>
                <a:lnTo>
                  <a:pt x="470958" y="142875"/>
                </a:lnTo>
                <a:lnTo>
                  <a:pt x="473604" y="142875"/>
                </a:lnTo>
                <a:lnTo>
                  <a:pt x="470958" y="140229"/>
                </a:lnTo>
                <a:lnTo>
                  <a:pt x="455084" y="140229"/>
                </a:lnTo>
                <a:lnTo>
                  <a:pt x="436563" y="145521"/>
                </a:lnTo>
                <a:lnTo>
                  <a:pt x="433917" y="148167"/>
                </a:lnTo>
                <a:lnTo>
                  <a:pt x="433917" y="150812"/>
                </a:lnTo>
                <a:lnTo>
                  <a:pt x="428625" y="153458"/>
                </a:lnTo>
                <a:lnTo>
                  <a:pt x="428625" y="156104"/>
                </a:lnTo>
                <a:lnTo>
                  <a:pt x="425979" y="158750"/>
                </a:lnTo>
                <a:lnTo>
                  <a:pt x="425979" y="161396"/>
                </a:lnTo>
                <a:lnTo>
                  <a:pt x="428625" y="161396"/>
                </a:lnTo>
                <a:lnTo>
                  <a:pt x="428625" y="164042"/>
                </a:lnTo>
                <a:lnTo>
                  <a:pt x="425979" y="164042"/>
                </a:lnTo>
                <a:lnTo>
                  <a:pt x="423334" y="164042"/>
                </a:lnTo>
                <a:lnTo>
                  <a:pt x="420688" y="166687"/>
                </a:lnTo>
                <a:lnTo>
                  <a:pt x="418042" y="169333"/>
                </a:lnTo>
                <a:lnTo>
                  <a:pt x="415396" y="171979"/>
                </a:lnTo>
                <a:lnTo>
                  <a:pt x="412750" y="174625"/>
                </a:lnTo>
                <a:lnTo>
                  <a:pt x="410104" y="174625"/>
                </a:lnTo>
                <a:lnTo>
                  <a:pt x="407458" y="174625"/>
                </a:lnTo>
                <a:lnTo>
                  <a:pt x="404813" y="177271"/>
                </a:lnTo>
                <a:lnTo>
                  <a:pt x="402167" y="182562"/>
                </a:lnTo>
                <a:lnTo>
                  <a:pt x="396875" y="182562"/>
                </a:lnTo>
                <a:lnTo>
                  <a:pt x="394229" y="185208"/>
                </a:lnTo>
                <a:lnTo>
                  <a:pt x="391584" y="185208"/>
                </a:lnTo>
                <a:lnTo>
                  <a:pt x="388938" y="187855"/>
                </a:lnTo>
                <a:lnTo>
                  <a:pt x="381000" y="193146"/>
                </a:lnTo>
                <a:lnTo>
                  <a:pt x="378354" y="195792"/>
                </a:lnTo>
                <a:lnTo>
                  <a:pt x="375708" y="198438"/>
                </a:lnTo>
                <a:lnTo>
                  <a:pt x="373063" y="201084"/>
                </a:lnTo>
                <a:lnTo>
                  <a:pt x="367771" y="203730"/>
                </a:lnTo>
                <a:lnTo>
                  <a:pt x="359834" y="206375"/>
                </a:lnTo>
                <a:lnTo>
                  <a:pt x="354542" y="209021"/>
                </a:lnTo>
                <a:lnTo>
                  <a:pt x="354542" y="206375"/>
                </a:lnTo>
                <a:lnTo>
                  <a:pt x="351896" y="203730"/>
                </a:lnTo>
                <a:lnTo>
                  <a:pt x="349250" y="203730"/>
                </a:lnTo>
                <a:lnTo>
                  <a:pt x="346604" y="206375"/>
                </a:lnTo>
                <a:lnTo>
                  <a:pt x="346604" y="203730"/>
                </a:lnTo>
                <a:lnTo>
                  <a:pt x="346604" y="201084"/>
                </a:lnTo>
                <a:lnTo>
                  <a:pt x="346604" y="198438"/>
                </a:lnTo>
                <a:lnTo>
                  <a:pt x="343958" y="198438"/>
                </a:lnTo>
                <a:lnTo>
                  <a:pt x="343958" y="201084"/>
                </a:lnTo>
                <a:lnTo>
                  <a:pt x="341313" y="203730"/>
                </a:lnTo>
                <a:lnTo>
                  <a:pt x="338667" y="203730"/>
                </a:lnTo>
                <a:lnTo>
                  <a:pt x="336021" y="201084"/>
                </a:lnTo>
                <a:lnTo>
                  <a:pt x="336021" y="198438"/>
                </a:lnTo>
                <a:lnTo>
                  <a:pt x="338667" y="198438"/>
                </a:lnTo>
                <a:lnTo>
                  <a:pt x="341313" y="195792"/>
                </a:lnTo>
                <a:lnTo>
                  <a:pt x="343958" y="193146"/>
                </a:lnTo>
                <a:lnTo>
                  <a:pt x="346604" y="193146"/>
                </a:lnTo>
                <a:lnTo>
                  <a:pt x="349250" y="190500"/>
                </a:lnTo>
                <a:lnTo>
                  <a:pt x="354542" y="185208"/>
                </a:lnTo>
                <a:lnTo>
                  <a:pt x="359834" y="177271"/>
                </a:lnTo>
                <a:lnTo>
                  <a:pt x="362479" y="171979"/>
                </a:lnTo>
                <a:lnTo>
                  <a:pt x="362479" y="169333"/>
                </a:lnTo>
                <a:lnTo>
                  <a:pt x="359834" y="164042"/>
                </a:lnTo>
                <a:lnTo>
                  <a:pt x="357188" y="164042"/>
                </a:lnTo>
                <a:lnTo>
                  <a:pt x="354542" y="161396"/>
                </a:lnTo>
                <a:lnTo>
                  <a:pt x="351896" y="158750"/>
                </a:lnTo>
                <a:lnTo>
                  <a:pt x="349250" y="158750"/>
                </a:lnTo>
                <a:lnTo>
                  <a:pt x="346604" y="156104"/>
                </a:lnTo>
                <a:lnTo>
                  <a:pt x="346604" y="150812"/>
                </a:lnTo>
                <a:lnTo>
                  <a:pt x="349250" y="148167"/>
                </a:lnTo>
                <a:lnTo>
                  <a:pt x="354542" y="142875"/>
                </a:lnTo>
                <a:lnTo>
                  <a:pt x="359834" y="140229"/>
                </a:lnTo>
                <a:lnTo>
                  <a:pt x="365125" y="137583"/>
                </a:lnTo>
                <a:lnTo>
                  <a:pt x="370417" y="137583"/>
                </a:lnTo>
                <a:lnTo>
                  <a:pt x="373063" y="134937"/>
                </a:lnTo>
                <a:lnTo>
                  <a:pt x="381000" y="129646"/>
                </a:lnTo>
                <a:lnTo>
                  <a:pt x="386292" y="127000"/>
                </a:lnTo>
                <a:lnTo>
                  <a:pt x="388938" y="121708"/>
                </a:lnTo>
                <a:lnTo>
                  <a:pt x="394229" y="119062"/>
                </a:lnTo>
                <a:lnTo>
                  <a:pt x="396875" y="119062"/>
                </a:lnTo>
                <a:lnTo>
                  <a:pt x="402167" y="111125"/>
                </a:lnTo>
                <a:lnTo>
                  <a:pt x="404813" y="103187"/>
                </a:lnTo>
                <a:lnTo>
                  <a:pt x="407458" y="103187"/>
                </a:lnTo>
                <a:lnTo>
                  <a:pt x="407458" y="105833"/>
                </a:lnTo>
                <a:lnTo>
                  <a:pt x="412750" y="103187"/>
                </a:lnTo>
                <a:lnTo>
                  <a:pt x="410104" y="103187"/>
                </a:lnTo>
                <a:lnTo>
                  <a:pt x="410104" y="100542"/>
                </a:lnTo>
                <a:lnTo>
                  <a:pt x="412750" y="97896"/>
                </a:lnTo>
                <a:lnTo>
                  <a:pt x="415396" y="97896"/>
                </a:lnTo>
                <a:lnTo>
                  <a:pt x="418042" y="92604"/>
                </a:lnTo>
                <a:lnTo>
                  <a:pt x="420688" y="89958"/>
                </a:lnTo>
                <a:lnTo>
                  <a:pt x="423334" y="84666"/>
                </a:lnTo>
                <a:lnTo>
                  <a:pt x="425979" y="82021"/>
                </a:lnTo>
                <a:lnTo>
                  <a:pt x="425979" y="84666"/>
                </a:lnTo>
                <a:lnTo>
                  <a:pt x="428625" y="82021"/>
                </a:lnTo>
                <a:lnTo>
                  <a:pt x="433917" y="82021"/>
                </a:lnTo>
                <a:lnTo>
                  <a:pt x="431271" y="79375"/>
                </a:lnTo>
                <a:lnTo>
                  <a:pt x="431271" y="76729"/>
                </a:lnTo>
                <a:lnTo>
                  <a:pt x="428625" y="79375"/>
                </a:lnTo>
                <a:lnTo>
                  <a:pt x="425979" y="79375"/>
                </a:lnTo>
                <a:lnTo>
                  <a:pt x="423334" y="76729"/>
                </a:lnTo>
                <a:lnTo>
                  <a:pt x="425979" y="76729"/>
                </a:lnTo>
                <a:lnTo>
                  <a:pt x="425979" y="74083"/>
                </a:lnTo>
                <a:lnTo>
                  <a:pt x="428625" y="71437"/>
                </a:lnTo>
                <a:lnTo>
                  <a:pt x="428625" y="58208"/>
                </a:lnTo>
                <a:lnTo>
                  <a:pt x="428625" y="55562"/>
                </a:lnTo>
                <a:lnTo>
                  <a:pt x="431271" y="55562"/>
                </a:lnTo>
                <a:lnTo>
                  <a:pt x="431271" y="58208"/>
                </a:lnTo>
                <a:lnTo>
                  <a:pt x="431271" y="60854"/>
                </a:lnTo>
                <a:lnTo>
                  <a:pt x="433917" y="60854"/>
                </a:lnTo>
                <a:lnTo>
                  <a:pt x="436563" y="60854"/>
                </a:lnTo>
                <a:lnTo>
                  <a:pt x="436563" y="58208"/>
                </a:lnTo>
                <a:lnTo>
                  <a:pt x="436563" y="55562"/>
                </a:lnTo>
                <a:lnTo>
                  <a:pt x="433917" y="55562"/>
                </a:lnTo>
                <a:lnTo>
                  <a:pt x="431271" y="52916"/>
                </a:lnTo>
                <a:lnTo>
                  <a:pt x="433917" y="52916"/>
                </a:lnTo>
                <a:lnTo>
                  <a:pt x="436563" y="52916"/>
                </a:lnTo>
                <a:lnTo>
                  <a:pt x="439208" y="50271"/>
                </a:lnTo>
                <a:lnTo>
                  <a:pt x="436563" y="50271"/>
                </a:lnTo>
                <a:lnTo>
                  <a:pt x="433917" y="50271"/>
                </a:lnTo>
                <a:lnTo>
                  <a:pt x="433917" y="47625"/>
                </a:lnTo>
                <a:lnTo>
                  <a:pt x="431271" y="50271"/>
                </a:lnTo>
                <a:lnTo>
                  <a:pt x="431271" y="52916"/>
                </a:lnTo>
                <a:lnTo>
                  <a:pt x="428625" y="52916"/>
                </a:lnTo>
                <a:lnTo>
                  <a:pt x="428625" y="50271"/>
                </a:lnTo>
                <a:lnTo>
                  <a:pt x="428625" y="42333"/>
                </a:lnTo>
                <a:lnTo>
                  <a:pt x="428625" y="37041"/>
                </a:lnTo>
                <a:lnTo>
                  <a:pt x="425979" y="29104"/>
                </a:lnTo>
                <a:lnTo>
                  <a:pt x="425979" y="26458"/>
                </a:lnTo>
                <a:lnTo>
                  <a:pt x="428625" y="26458"/>
                </a:lnTo>
                <a:lnTo>
                  <a:pt x="431271" y="23812"/>
                </a:lnTo>
                <a:lnTo>
                  <a:pt x="428625" y="23812"/>
                </a:lnTo>
                <a:lnTo>
                  <a:pt x="425979" y="26458"/>
                </a:lnTo>
                <a:lnTo>
                  <a:pt x="425979" y="21166"/>
                </a:lnTo>
                <a:lnTo>
                  <a:pt x="425979" y="15875"/>
                </a:lnTo>
                <a:lnTo>
                  <a:pt x="428625" y="15875"/>
                </a:lnTo>
                <a:lnTo>
                  <a:pt x="428625" y="7937"/>
                </a:lnTo>
                <a:close/>
              </a:path>
            </a:pathLst>
          </a:custGeom>
          <a:solidFill>
            <a:schemeClr val="tx1"/>
          </a:solidFill>
          <a:ln w="6350">
            <a:solidFill>
              <a:srgbClr val="FFFFFF"/>
            </a:solid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636" name="Vietnam"/>
          <p:cNvSpPr>
            <a:spLocks/>
          </p:cNvSpPr>
          <p:nvPr/>
        </p:nvSpPr>
        <p:spPr bwMode="auto">
          <a:xfrm>
            <a:off x="6716292" y="2094788"/>
            <a:ext cx="241555" cy="414255"/>
          </a:xfrm>
          <a:custGeom>
            <a:avLst/>
            <a:gdLst/>
            <a:ahLst/>
            <a:cxnLst>
              <a:cxn ang="0">
                <a:pos x="118" y="330"/>
              </a:cxn>
              <a:cxn ang="0">
                <a:pos x="118" y="356"/>
              </a:cxn>
              <a:cxn ang="0">
                <a:pos x="118" y="364"/>
              </a:cxn>
              <a:cxn ang="0">
                <a:pos x="130" y="362"/>
              </a:cxn>
              <a:cxn ang="0">
                <a:pos x="136" y="354"/>
              </a:cxn>
              <a:cxn ang="0">
                <a:pos x="146" y="350"/>
              </a:cxn>
              <a:cxn ang="0">
                <a:pos x="152" y="344"/>
              </a:cxn>
              <a:cxn ang="0">
                <a:pos x="148" y="332"/>
              </a:cxn>
              <a:cxn ang="0">
                <a:pos x="158" y="344"/>
              </a:cxn>
              <a:cxn ang="0">
                <a:pos x="162" y="330"/>
              </a:cxn>
              <a:cxn ang="0">
                <a:pos x="162" y="326"/>
              </a:cxn>
              <a:cxn ang="0">
                <a:pos x="182" y="312"/>
              </a:cxn>
              <a:cxn ang="0">
                <a:pos x="198" y="300"/>
              </a:cxn>
              <a:cxn ang="0">
                <a:pos x="206" y="290"/>
              </a:cxn>
              <a:cxn ang="0">
                <a:pos x="210" y="280"/>
              </a:cxn>
              <a:cxn ang="0">
                <a:pos x="208" y="274"/>
              </a:cxn>
              <a:cxn ang="0">
                <a:pos x="208" y="260"/>
              </a:cxn>
              <a:cxn ang="0">
                <a:pos x="208" y="254"/>
              </a:cxn>
              <a:cxn ang="0">
                <a:pos x="206" y="242"/>
              </a:cxn>
              <a:cxn ang="0">
                <a:pos x="202" y="230"/>
              </a:cxn>
              <a:cxn ang="0">
                <a:pos x="188" y="198"/>
              </a:cxn>
              <a:cxn ang="0">
                <a:pos x="184" y="190"/>
              </a:cxn>
              <a:cxn ang="0">
                <a:pos x="168" y="178"/>
              </a:cxn>
              <a:cxn ang="0">
                <a:pos x="136" y="148"/>
              </a:cxn>
              <a:cxn ang="0">
                <a:pos x="118" y="124"/>
              </a:cxn>
              <a:cxn ang="0">
                <a:pos x="104" y="108"/>
              </a:cxn>
              <a:cxn ang="0">
                <a:pos x="106" y="78"/>
              </a:cxn>
              <a:cxn ang="0">
                <a:pos x="116" y="62"/>
              </a:cxn>
              <a:cxn ang="0">
                <a:pos x="124" y="56"/>
              </a:cxn>
              <a:cxn ang="0">
                <a:pos x="132" y="44"/>
              </a:cxn>
              <a:cxn ang="0">
                <a:pos x="120" y="38"/>
              </a:cxn>
              <a:cxn ang="0">
                <a:pos x="108" y="36"/>
              </a:cxn>
              <a:cxn ang="0">
                <a:pos x="106" y="22"/>
              </a:cxn>
              <a:cxn ang="0">
                <a:pos x="100" y="12"/>
              </a:cxn>
              <a:cxn ang="0">
                <a:pos x="84" y="4"/>
              </a:cxn>
              <a:cxn ang="0">
                <a:pos x="68" y="4"/>
              </a:cxn>
              <a:cxn ang="0">
                <a:pos x="62" y="16"/>
              </a:cxn>
              <a:cxn ang="0">
                <a:pos x="46" y="18"/>
              </a:cxn>
              <a:cxn ang="0">
                <a:pos x="32" y="18"/>
              </a:cxn>
              <a:cxn ang="0">
                <a:pos x="24" y="12"/>
              </a:cxn>
              <a:cxn ang="0">
                <a:pos x="24" y="24"/>
              </a:cxn>
              <a:cxn ang="0">
                <a:pos x="10" y="18"/>
              </a:cxn>
              <a:cxn ang="0">
                <a:pos x="18" y="40"/>
              </a:cxn>
              <a:cxn ang="0">
                <a:pos x="26" y="52"/>
              </a:cxn>
              <a:cxn ang="0">
                <a:pos x="50" y="62"/>
              </a:cxn>
              <a:cxn ang="0">
                <a:pos x="86" y="74"/>
              </a:cxn>
              <a:cxn ang="0">
                <a:pos x="80" y="88"/>
              </a:cxn>
              <a:cxn ang="0">
                <a:pos x="62" y="94"/>
              </a:cxn>
              <a:cxn ang="0">
                <a:pos x="88" y="108"/>
              </a:cxn>
              <a:cxn ang="0">
                <a:pos x="98" y="118"/>
              </a:cxn>
              <a:cxn ang="0">
                <a:pos x="114" y="142"/>
              </a:cxn>
              <a:cxn ang="0">
                <a:pos x="126" y="162"/>
              </a:cxn>
              <a:cxn ang="0">
                <a:pos x="152" y="176"/>
              </a:cxn>
              <a:cxn ang="0">
                <a:pos x="164" y="196"/>
              </a:cxn>
              <a:cxn ang="0">
                <a:pos x="180" y="232"/>
              </a:cxn>
              <a:cxn ang="0">
                <a:pos x="172" y="266"/>
              </a:cxn>
              <a:cxn ang="0">
                <a:pos x="174" y="284"/>
              </a:cxn>
              <a:cxn ang="0">
                <a:pos x="152" y="292"/>
              </a:cxn>
              <a:cxn ang="0">
                <a:pos x="134" y="300"/>
              </a:cxn>
              <a:cxn ang="0">
                <a:pos x="146" y="312"/>
              </a:cxn>
              <a:cxn ang="0">
                <a:pos x="142" y="316"/>
              </a:cxn>
              <a:cxn ang="0">
                <a:pos x="130" y="312"/>
              </a:cxn>
              <a:cxn ang="0">
                <a:pos x="108" y="324"/>
              </a:cxn>
            </a:cxnLst>
            <a:rect l="0" t="0" r="r" b="b"/>
            <a:pathLst>
              <a:path w="212" h="364">
                <a:moveTo>
                  <a:pt x="108" y="324"/>
                </a:moveTo>
                <a:lnTo>
                  <a:pt x="108" y="324"/>
                </a:lnTo>
                <a:lnTo>
                  <a:pt x="114" y="326"/>
                </a:lnTo>
                <a:lnTo>
                  <a:pt x="116" y="328"/>
                </a:lnTo>
                <a:lnTo>
                  <a:pt x="118" y="330"/>
                </a:lnTo>
                <a:lnTo>
                  <a:pt x="122" y="330"/>
                </a:lnTo>
                <a:lnTo>
                  <a:pt x="122" y="330"/>
                </a:lnTo>
                <a:lnTo>
                  <a:pt x="118" y="340"/>
                </a:lnTo>
                <a:lnTo>
                  <a:pt x="118" y="346"/>
                </a:lnTo>
                <a:lnTo>
                  <a:pt x="118" y="356"/>
                </a:lnTo>
                <a:lnTo>
                  <a:pt x="120" y="360"/>
                </a:lnTo>
                <a:lnTo>
                  <a:pt x="120" y="362"/>
                </a:lnTo>
                <a:lnTo>
                  <a:pt x="120" y="362"/>
                </a:lnTo>
                <a:lnTo>
                  <a:pt x="120" y="362"/>
                </a:lnTo>
                <a:lnTo>
                  <a:pt x="118" y="364"/>
                </a:lnTo>
                <a:lnTo>
                  <a:pt x="124" y="364"/>
                </a:lnTo>
                <a:lnTo>
                  <a:pt x="124" y="364"/>
                </a:lnTo>
                <a:lnTo>
                  <a:pt x="128" y="364"/>
                </a:lnTo>
                <a:lnTo>
                  <a:pt x="128" y="362"/>
                </a:lnTo>
                <a:lnTo>
                  <a:pt x="130" y="362"/>
                </a:lnTo>
                <a:lnTo>
                  <a:pt x="132" y="360"/>
                </a:lnTo>
                <a:lnTo>
                  <a:pt x="132" y="360"/>
                </a:lnTo>
                <a:lnTo>
                  <a:pt x="134" y="360"/>
                </a:lnTo>
                <a:lnTo>
                  <a:pt x="134" y="356"/>
                </a:lnTo>
                <a:lnTo>
                  <a:pt x="136" y="354"/>
                </a:lnTo>
                <a:lnTo>
                  <a:pt x="142" y="354"/>
                </a:lnTo>
                <a:lnTo>
                  <a:pt x="142" y="354"/>
                </a:lnTo>
                <a:lnTo>
                  <a:pt x="146" y="352"/>
                </a:lnTo>
                <a:lnTo>
                  <a:pt x="146" y="352"/>
                </a:lnTo>
                <a:lnTo>
                  <a:pt x="146" y="350"/>
                </a:lnTo>
                <a:lnTo>
                  <a:pt x="148" y="350"/>
                </a:lnTo>
                <a:lnTo>
                  <a:pt x="148" y="350"/>
                </a:lnTo>
                <a:lnTo>
                  <a:pt x="152" y="350"/>
                </a:lnTo>
                <a:lnTo>
                  <a:pt x="152" y="348"/>
                </a:lnTo>
                <a:lnTo>
                  <a:pt x="152" y="344"/>
                </a:lnTo>
                <a:lnTo>
                  <a:pt x="148" y="340"/>
                </a:lnTo>
                <a:lnTo>
                  <a:pt x="148" y="340"/>
                </a:lnTo>
                <a:lnTo>
                  <a:pt x="146" y="336"/>
                </a:lnTo>
                <a:lnTo>
                  <a:pt x="146" y="334"/>
                </a:lnTo>
                <a:lnTo>
                  <a:pt x="148" y="332"/>
                </a:lnTo>
                <a:lnTo>
                  <a:pt x="148" y="334"/>
                </a:lnTo>
                <a:lnTo>
                  <a:pt x="148" y="334"/>
                </a:lnTo>
                <a:lnTo>
                  <a:pt x="152" y="342"/>
                </a:lnTo>
                <a:lnTo>
                  <a:pt x="156" y="344"/>
                </a:lnTo>
                <a:lnTo>
                  <a:pt x="158" y="344"/>
                </a:lnTo>
                <a:lnTo>
                  <a:pt x="158" y="344"/>
                </a:lnTo>
                <a:lnTo>
                  <a:pt x="158" y="340"/>
                </a:lnTo>
                <a:lnTo>
                  <a:pt x="158" y="338"/>
                </a:lnTo>
                <a:lnTo>
                  <a:pt x="160" y="334"/>
                </a:lnTo>
                <a:lnTo>
                  <a:pt x="162" y="330"/>
                </a:lnTo>
                <a:lnTo>
                  <a:pt x="162" y="330"/>
                </a:lnTo>
                <a:lnTo>
                  <a:pt x="162" y="328"/>
                </a:lnTo>
                <a:lnTo>
                  <a:pt x="162" y="326"/>
                </a:lnTo>
                <a:lnTo>
                  <a:pt x="160" y="326"/>
                </a:lnTo>
                <a:lnTo>
                  <a:pt x="162" y="326"/>
                </a:lnTo>
                <a:lnTo>
                  <a:pt x="162" y="326"/>
                </a:lnTo>
                <a:lnTo>
                  <a:pt x="166" y="324"/>
                </a:lnTo>
                <a:lnTo>
                  <a:pt x="174" y="320"/>
                </a:lnTo>
                <a:lnTo>
                  <a:pt x="182" y="312"/>
                </a:lnTo>
                <a:lnTo>
                  <a:pt x="182" y="312"/>
                </a:lnTo>
                <a:lnTo>
                  <a:pt x="186" y="312"/>
                </a:lnTo>
                <a:lnTo>
                  <a:pt x="190" y="308"/>
                </a:lnTo>
                <a:lnTo>
                  <a:pt x="190" y="308"/>
                </a:lnTo>
                <a:lnTo>
                  <a:pt x="196" y="304"/>
                </a:lnTo>
                <a:lnTo>
                  <a:pt x="198" y="300"/>
                </a:lnTo>
                <a:lnTo>
                  <a:pt x="200" y="296"/>
                </a:lnTo>
                <a:lnTo>
                  <a:pt x="200" y="296"/>
                </a:lnTo>
                <a:lnTo>
                  <a:pt x="200" y="292"/>
                </a:lnTo>
                <a:lnTo>
                  <a:pt x="202" y="290"/>
                </a:lnTo>
                <a:lnTo>
                  <a:pt x="206" y="290"/>
                </a:lnTo>
                <a:lnTo>
                  <a:pt x="208" y="292"/>
                </a:lnTo>
                <a:lnTo>
                  <a:pt x="208" y="288"/>
                </a:lnTo>
                <a:lnTo>
                  <a:pt x="208" y="288"/>
                </a:lnTo>
                <a:lnTo>
                  <a:pt x="210" y="284"/>
                </a:lnTo>
                <a:lnTo>
                  <a:pt x="210" y="280"/>
                </a:lnTo>
                <a:lnTo>
                  <a:pt x="212" y="278"/>
                </a:lnTo>
                <a:lnTo>
                  <a:pt x="208" y="278"/>
                </a:lnTo>
                <a:lnTo>
                  <a:pt x="208" y="278"/>
                </a:lnTo>
                <a:lnTo>
                  <a:pt x="204" y="278"/>
                </a:lnTo>
                <a:lnTo>
                  <a:pt x="208" y="274"/>
                </a:lnTo>
                <a:lnTo>
                  <a:pt x="208" y="274"/>
                </a:lnTo>
                <a:lnTo>
                  <a:pt x="208" y="270"/>
                </a:lnTo>
                <a:lnTo>
                  <a:pt x="208" y="264"/>
                </a:lnTo>
                <a:lnTo>
                  <a:pt x="206" y="262"/>
                </a:lnTo>
                <a:lnTo>
                  <a:pt x="208" y="260"/>
                </a:lnTo>
                <a:lnTo>
                  <a:pt x="208" y="260"/>
                </a:lnTo>
                <a:lnTo>
                  <a:pt x="212" y="260"/>
                </a:lnTo>
                <a:lnTo>
                  <a:pt x="212" y="260"/>
                </a:lnTo>
                <a:lnTo>
                  <a:pt x="208" y="254"/>
                </a:lnTo>
                <a:lnTo>
                  <a:pt x="208" y="254"/>
                </a:lnTo>
                <a:lnTo>
                  <a:pt x="206" y="250"/>
                </a:lnTo>
                <a:lnTo>
                  <a:pt x="208" y="248"/>
                </a:lnTo>
                <a:lnTo>
                  <a:pt x="208" y="246"/>
                </a:lnTo>
                <a:lnTo>
                  <a:pt x="206" y="242"/>
                </a:lnTo>
                <a:lnTo>
                  <a:pt x="206" y="242"/>
                </a:lnTo>
                <a:lnTo>
                  <a:pt x="202" y="238"/>
                </a:lnTo>
                <a:lnTo>
                  <a:pt x="202" y="236"/>
                </a:lnTo>
                <a:lnTo>
                  <a:pt x="204" y="234"/>
                </a:lnTo>
                <a:lnTo>
                  <a:pt x="202" y="230"/>
                </a:lnTo>
                <a:lnTo>
                  <a:pt x="202" y="230"/>
                </a:lnTo>
                <a:lnTo>
                  <a:pt x="200" y="226"/>
                </a:lnTo>
                <a:lnTo>
                  <a:pt x="200" y="220"/>
                </a:lnTo>
                <a:lnTo>
                  <a:pt x="196" y="212"/>
                </a:lnTo>
                <a:lnTo>
                  <a:pt x="188" y="198"/>
                </a:lnTo>
                <a:lnTo>
                  <a:pt x="188" y="198"/>
                </a:lnTo>
                <a:lnTo>
                  <a:pt x="186" y="194"/>
                </a:lnTo>
                <a:lnTo>
                  <a:pt x="186" y="192"/>
                </a:lnTo>
                <a:lnTo>
                  <a:pt x="186" y="190"/>
                </a:lnTo>
                <a:lnTo>
                  <a:pt x="184" y="190"/>
                </a:lnTo>
                <a:lnTo>
                  <a:pt x="184" y="190"/>
                </a:lnTo>
                <a:lnTo>
                  <a:pt x="182" y="190"/>
                </a:lnTo>
                <a:lnTo>
                  <a:pt x="180" y="190"/>
                </a:lnTo>
                <a:lnTo>
                  <a:pt x="174" y="182"/>
                </a:lnTo>
                <a:lnTo>
                  <a:pt x="174" y="182"/>
                </a:lnTo>
                <a:lnTo>
                  <a:pt x="168" y="178"/>
                </a:lnTo>
                <a:lnTo>
                  <a:pt x="160" y="172"/>
                </a:lnTo>
                <a:lnTo>
                  <a:pt x="154" y="168"/>
                </a:lnTo>
                <a:lnTo>
                  <a:pt x="146" y="158"/>
                </a:lnTo>
                <a:lnTo>
                  <a:pt x="146" y="158"/>
                </a:lnTo>
                <a:lnTo>
                  <a:pt x="136" y="148"/>
                </a:lnTo>
                <a:lnTo>
                  <a:pt x="128" y="140"/>
                </a:lnTo>
                <a:lnTo>
                  <a:pt x="120" y="132"/>
                </a:lnTo>
                <a:lnTo>
                  <a:pt x="118" y="128"/>
                </a:lnTo>
                <a:lnTo>
                  <a:pt x="118" y="124"/>
                </a:lnTo>
                <a:lnTo>
                  <a:pt x="118" y="124"/>
                </a:lnTo>
                <a:lnTo>
                  <a:pt x="118" y="120"/>
                </a:lnTo>
                <a:lnTo>
                  <a:pt x="116" y="118"/>
                </a:lnTo>
                <a:lnTo>
                  <a:pt x="110" y="116"/>
                </a:lnTo>
                <a:lnTo>
                  <a:pt x="104" y="108"/>
                </a:lnTo>
                <a:lnTo>
                  <a:pt x="104" y="108"/>
                </a:lnTo>
                <a:lnTo>
                  <a:pt x="96" y="96"/>
                </a:lnTo>
                <a:lnTo>
                  <a:pt x="96" y="92"/>
                </a:lnTo>
                <a:lnTo>
                  <a:pt x="100" y="88"/>
                </a:lnTo>
                <a:lnTo>
                  <a:pt x="100" y="88"/>
                </a:lnTo>
                <a:lnTo>
                  <a:pt x="106" y="78"/>
                </a:lnTo>
                <a:lnTo>
                  <a:pt x="112" y="74"/>
                </a:lnTo>
                <a:lnTo>
                  <a:pt x="114" y="72"/>
                </a:lnTo>
                <a:lnTo>
                  <a:pt x="116" y="66"/>
                </a:lnTo>
                <a:lnTo>
                  <a:pt x="116" y="66"/>
                </a:lnTo>
                <a:lnTo>
                  <a:pt x="116" y="62"/>
                </a:lnTo>
                <a:lnTo>
                  <a:pt x="118" y="60"/>
                </a:lnTo>
                <a:lnTo>
                  <a:pt x="120" y="60"/>
                </a:lnTo>
                <a:lnTo>
                  <a:pt x="124" y="60"/>
                </a:lnTo>
                <a:lnTo>
                  <a:pt x="126" y="58"/>
                </a:lnTo>
                <a:lnTo>
                  <a:pt x="124" y="56"/>
                </a:lnTo>
                <a:lnTo>
                  <a:pt x="124" y="56"/>
                </a:lnTo>
                <a:lnTo>
                  <a:pt x="124" y="54"/>
                </a:lnTo>
                <a:lnTo>
                  <a:pt x="126" y="54"/>
                </a:lnTo>
                <a:lnTo>
                  <a:pt x="130" y="52"/>
                </a:lnTo>
                <a:lnTo>
                  <a:pt x="132" y="44"/>
                </a:lnTo>
                <a:lnTo>
                  <a:pt x="132" y="42"/>
                </a:lnTo>
                <a:lnTo>
                  <a:pt x="132" y="42"/>
                </a:lnTo>
                <a:lnTo>
                  <a:pt x="128" y="42"/>
                </a:lnTo>
                <a:lnTo>
                  <a:pt x="126" y="42"/>
                </a:lnTo>
                <a:lnTo>
                  <a:pt x="120" y="38"/>
                </a:lnTo>
                <a:lnTo>
                  <a:pt x="116" y="34"/>
                </a:lnTo>
                <a:lnTo>
                  <a:pt x="114" y="34"/>
                </a:lnTo>
                <a:lnTo>
                  <a:pt x="112" y="34"/>
                </a:lnTo>
                <a:lnTo>
                  <a:pt x="112" y="34"/>
                </a:lnTo>
                <a:lnTo>
                  <a:pt x="108" y="36"/>
                </a:lnTo>
                <a:lnTo>
                  <a:pt x="106" y="32"/>
                </a:lnTo>
                <a:lnTo>
                  <a:pt x="106" y="32"/>
                </a:lnTo>
                <a:lnTo>
                  <a:pt x="100" y="28"/>
                </a:lnTo>
                <a:lnTo>
                  <a:pt x="102" y="26"/>
                </a:lnTo>
                <a:lnTo>
                  <a:pt x="106" y="22"/>
                </a:lnTo>
                <a:lnTo>
                  <a:pt x="106" y="22"/>
                </a:lnTo>
                <a:lnTo>
                  <a:pt x="112" y="20"/>
                </a:lnTo>
                <a:lnTo>
                  <a:pt x="114" y="16"/>
                </a:lnTo>
                <a:lnTo>
                  <a:pt x="108" y="14"/>
                </a:lnTo>
                <a:lnTo>
                  <a:pt x="100" y="12"/>
                </a:lnTo>
                <a:lnTo>
                  <a:pt x="100" y="12"/>
                </a:lnTo>
                <a:lnTo>
                  <a:pt x="92" y="12"/>
                </a:lnTo>
                <a:lnTo>
                  <a:pt x="88" y="10"/>
                </a:lnTo>
                <a:lnTo>
                  <a:pt x="86" y="6"/>
                </a:lnTo>
                <a:lnTo>
                  <a:pt x="84" y="4"/>
                </a:lnTo>
                <a:lnTo>
                  <a:pt x="82" y="0"/>
                </a:lnTo>
                <a:lnTo>
                  <a:pt x="82" y="0"/>
                </a:lnTo>
                <a:lnTo>
                  <a:pt x="78" y="0"/>
                </a:lnTo>
                <a:lnTo>
                  <a:pt x="78" y="0"/>
                </a:lnTo>
                <a:lnTo>
                  <a:pt x="68" y="4"/>
                </a:lnTo>
                <a:lnTo>
                  <a:pt x="64" y="6"/>
                </a:lnTo>
                <a:lnTo>
                  <a:pt x="62" y="10"/>
                </a:lnTo>
                <a:lnTo>
                  <a:pt x="62" y="10"/>
                </a:lnTo>
                <a:lnTo>
                  <a:pt x="64" y="16"/>
                </a:lnTo>
                <a:lnTo>
                  <a:pt x="62" y="16"/>
                </a:lnTo>
                <a:lnTo>
                  <a:pt x="58" y="16"/>
                </a:lnTo>
                <a:lnTo>
                  <a:pt x="52" y="18"/>
                </a:lnTo>
                <a:lnTo>
                  <a:pt x="52" y="18"/>
                </a:lnTo>
                <a:lnTo>
                  <a:pt x="48" y="18"/>
                </a:lnTo>
                <a:lnTo>
                  <a:pt x="46" y="18"/>
                </a:lnTo>
                <a:lnTo>
                  <a:pt x="44" y="16"/>
                </a:lnTo>
                <a:lnTo>
                  <a:pt x="38" y="16"/>
                </a:lnTo>
                <a:lnTo>
                  <a:pt x="38" y="16"/>
                </a:lnTo>
                <a:lnTo>
                  <a:pt x="36" y="18"/>
                </a:lnTo>
                <a:lnTo>
                  <a:pt x="32" y="18"/>
                </a:lnTo>
                <a:lnTo>
                  <a:pt x="30" y="14"/>
                </a:lnTo>
                <a:lnTo>
                  <a:pt x="28" y="12"/>
                </a:lnTo>
                <a:lnTo>
                  <a:pt x="26" y="10"/>
                </a:lnTo>
                <a:lnTo>
                  <a:pt x="24" y="12"/>
                </a:lnTo>
                <a:lnTo>
                  <a:pt x="24" y="12"/>
                </a:lnTo>
                <a:lnTo>
                  <a:pt x="22" y="16"/>
                </a:lnTo>
                <a:lnTo>
                  <a:pt x="22" y="20"/>
                </a:lnTo>
                <a:lnTo>
                  <a:pt x="24" y="22"/>
                </a:lnTo>
                <a:lnTo>
                  <a:pt x="24" y="24"/>
                </a:lnTo>
                <a:lnTo>
                  <a:pt x="24" y="24"/>
                </a:lnTo>
                <a:lnTo>
                  <a:pt x="20" y="24"/>
                </a:lnTo>
                <a:lnTo>
                  <a:pt x="18" y="22"/>
                </a:lnTo>
                <a:lnTo>
                  <a:pt x="14" y="18"/>
                </a:lnTo>
                <a:lnTo>
                  <a:pt x="10" y="18"/>
                </a:lnTo>
                <a:lnTo>
                  <a:pt x="10" y="18"/>
                </a:lnTo>
                <a:lnTo>
                  <a:pt x="0" y="20"/>
                </a:lnTo>
                <a:lnTo>
                  <a:pt x="0" y="20"/>
                </a:lnTo>
                <a:lnTo>
                  <a:pt x="4" y="26"/>
                </a:lnTo>
                <a:lnTo>
                  <a:pt x="8" y="32"/>
                </a:lnTo>
                <a:lnTo>
                  <a:pt x="18" y="40"/>
                </a:lnTo>
                <a:lnTo>
                  <a:pt x="26" y="44"/>
                </a:lnTo>
                <a:lnTo>
                  <a:pt x="26" y="46"/>
                </a:lnTo>
                <a:lnTo>
                  <a:pt x="26" y="50"/>
                </a:lnTo>
                <a:lnTo>
                  <a:pt x="26" y="50"/>
                </a:lnTo>
                <a:lnTo>
                  <a:pt x="26" y="52"/>
                </a:lnTo>
                <a:lnTo>
                  <a:pt x="28" y="54"/>
                </a:lnTo>
                <a:lnTo>
                  <a:pt x="32" y="58"/>
                </a:lnTo>
                <a:lnTo>
                  <a:pt x="40" y="60"/>
                </a:lnTo>
                <a:lnTo>
                  <a:pt x="50" y="62"/>
                </a:lnTo>
                <a:lnTo>
                  <a:pt x="50" y="62"/>
                </a:lnTo>
                <a:lnTo>
                  <a:pt x="70" y="62"/>
                </a:lnTo>
                <a:lnTo>
                  <a:pt x="76" y="64"/>
                </a:lnTo>
                <a:lnTo>
                  <a:pt x="80" y="66"/>
                </a:lnTo>
                <a:lnTo>
                  <a:pt x="80" y="66"/>
                </a:lnTo>
                <a:lnTo>
                  <a:pt x="86" y="74"/>
                </a:lnTo>
                <a:lnTo>
                  <a:pt x="88" y="78"/>
                </a:lnTo>
                <a:lnTo>
                  <a:pt x="88" y="78"/>
                </a:lnTo>
                <a:lnTo>
                  <a:pt x="86" y="84"/>
                </a:lnTo>
                <a:lnTo>
                  <a:pt x="84" y="88"/>
                </a:lnTo>
                <a:lnTo>
                  <a:pt x="80" y="88"/>
                </a:lnTo>
                <a:lnTo>
                  <a:pt x="76" y="88"/>
                </a:lnTo>
                <a:lnTo>
                  <a:pt x="76" y="88"/>
                </a:lnTo>
                <a:lnTo>
                  <a:pt x="70" y="88"/>
                </a:lnTo>
                <a:lnTo>
                  <a:pt x="64" y="92"/>
                </a:lnTo>
                <a:lnTo>
                  <a:pt x="62" y="94"/>
                </a:lnTo>
                <a:lnTo>
                  <a:pt x="62" y="96"/>
                </a:lnTo>
                <a:lnTo>
                  <a:pt x="66" y="100"/>
                </a:lnTo>
                <a:lnTo>
                  <a:pt x="72" y="102"/>
                </a:lnTo>
                <a:lnTo>
                  <a:pt x="72" y="102"/>
                </a:lnTo>
                <a:lnTo>
                  <a:pt x="88" y="108"/>
                </a:lnTo>
                <a:lnTo>
                  <a:pt x="92" y="112"/>
                </a:lnTo>
                <a:lnTo>
                  <a:pt x="94" y="114"/>
                </a:lnTo>
                <a:lnTo>
                  <a:pt x="96" y="116"/>
                </a:lnTo>
                <a:lnTo>
                  <a:pt x="96" y="116"/>
                </a:lnTo>
                <a:lnTo>
                  <a:pt x="98" y="118"/>
                </a:lnTo>
                <a:lnTo>
                  <a:pt x="98" y="120"/>
                </a:lnTo>
                <a:lnTo>
                  <a:pt x="100" y="128"/>
                </a:lnTo>
                <a:lnTo>
                  <a:pt x="104" y="136"/>
                </a:lnTo>
                <a:lnTo>
                  <a:pt x="108" y="140"/>
                </a:lnTo>
                <a:lnTo>
                  <a:pt x="114" y="142"/>
                </a:lnTo>
                <a:lnTo>
                  <a:pt x="114" y="142"/>
                </a:lnTo>
                <a:lnTo>
                  <a:pt x="120" y="146"/>
                </a:lnTo>
                <a:lnTo>
                  <a:pt x="122" y="150"/>
                </a:lnTo>
                <a:lnTo>
                  <a:pt x="124" y="158"/>
                </a:lnTo>
                <a:lnTo>
                  <a:pt x="126" y="162"/>
                </a:lnTo>
                <a:lnTo>
                  <a:pt x="128" y="168"/>
                </a:lnTo>
                <a:lnTo>
                  <a:pt x="134" y="170"/>
                </a:lnTo>
                <a:lnTo>
                  <a:pt x="142" y="174"/>
                </a:lnTo>
                <a:lnTo>
                  <a:pt x="142" y="174"/>
                </a:lnTo>
                <a:lnTo>
                  <a:pt x="152" y="176"/>
                </a:lnTo>
                <a:lnTo>
                  <a:pt x="158" y="180"/>
                </a:lnTo>
                <a:lnTo>
                  <a:pt x="162" y="182"/>
                </a:lnTo>
                <a:lnTo>
                  <a:pt x="164" y="186"/>
                </a:lnTo>
                <a:lnTo>
                  <a:pt x="164" y="194"/>
                </a:lnTo>
                <a:lnTo>
                  <a:pt x="164" y="196"/>
                </a:lnTo>
                <a:lnTo>
                  <a:pt x="166" y="200"/>
                </a:lnTo>
                <a:lnTo>
                  <a:pt x="166" y="200"/>
                </a:lnTo>
                <a:lnTo>
                  <a:pt x="174" y="214"/>
                </a:lnTo>
                <a:lnTo>
                  <a:pt x="178" y="224"/>
                </a:lnTo>
                <a:lnTo>
                  <a:pt x="180" y="232"/>
                </a:lnTo>
                <a:lnTo>
                  <a:pt x="180" y="232"/>
                </a:lnTo>
                <a:lnTo>
                  <a:pt x="178" y="240"/>
                </a:lnTo>
                <a:lnTo>
                  <a:pt x="174" y="250"/>
                </a:lnTo>
                <a:lnTo>
                  <a:pt x="172" y="260"/>
                </a:lnTo>
                <a:lnTo>
                  <a:pt x="172" y="266"/>
                </a:lnTo>
                <a:lnTo>
                  <a:pt x="174" y="270"/>
                </a:lnTo>
                <a:lnTo>
                  <a:pt x="174" y="270"/>
                </a:lnTo>
                <a:lnTo>
                  <a:pt x="180" y="276"/>
                </a:lnTo>
                <a:lnTo>
                  <a:pt x="178" y="282"/>
                </a:lnTo>
                <a:lnTo>
                  <a:pt x="174" y="284"/>
                </a:lnTo>
                <a:lnTo>
                  <a:pt x="168" y="284"/>
                </a:lnTo>
                <a:lnTo>
                  <a:pt x="168" y="284"/>
                </a:lnTo>
                <a:lnTo>
                  <a:pt x="164" y="282"/>
                </a:lnTo>
                <a:lnTo>
                  <a:pt x="160" y="284"/>
                </a:lnTo>
                <a:lnTo>
                  <a:pt x="152" y="292"/>
                </a:lnTo>
                <a:lnTo>
                  <a:pt x="152" y="292"/>
                </a:lnTo>
                <a:lnTo>
                  <a:pt x="144" y="298"/>
                </a:lnTo>
                <a:lnTo>
                  <a:pt x="140" y="300"/>
                </a:lnTo>
                <a:lnTo>
                  <a:pt x="138" y="298"/>
                </a:lnTo>
                <a:lnTo>
                  <a:pt x="134" y="300"/>
                </a:lnTo>
                <a:lnTo>
                  <a:pt x="134" y="300"/>
                </a:lnTo>
                <a:lnTo>
                  <a:pt x="134" y="302"/>
                </a:lnTo>
                <a:lnTo>
                  <a:pt x="136" y="304"/>
                </a:lnTo>
                <a:lnTo>
                  <a:pt x="140" y="308"/>
                </a:lnTo>
                <a:lnTo>
                  <a:pt x="146" y="312"/>
                </a:lnTo>
                <a:lnTo>
                  <a:pt x="146" y="314"/>
                </a:lnTo>
                <a:lnTo>
                  <a:pt x="146" y="316"/>
                </a:lnTo>
                <a:lnTo>
                  <a:pt x="146" y="316"/>
                </a:lnTo>
                <a:lnTo>
                  <a:pt x="144" y="316"/>
                </a:lnTo>
                <a:lnTo>
                  <a:pt x="142" y="316"/>
                </a:lnTo>
                <a:lnTo>
                  <a:pt x="140" y="312"/>
                </a:lnTo>
                <a:lnTo>
                  <a:pt x="136" y="310"/>
                </a:lnTo>
                <a:lnTo>
                  <a:pt x="132" y="310"/>
                </a:lnTo>
                <a:lnTo>
                  <a:pt x="130" y="312"/>
                </a:lnTo>
                <a:lnTo>
                  <a:pt x="130" y="312"/>
                </a:lnTo>
                <a:lnTo>
                  <a:pt x="120" y="316"/>
                </a:lnTo>
                <a:lnTo>
                  <a:pt x="114" y="318"/>
                </a:lnTo>
                <a:lnTo>
                  <a:pt x="112" y="320"/>
                </a:lnTo>
                <a:lnTo>
                  <a:pt x="108" y="324"/>
                </a:lnTo>
                <a:lnTo>
                  <a:pt x="108" y="324"/>
                </a:lnTo>
                <a:close/>
              </a:path>
            </a:pathLst>
          </a:custGeom>
          <a:solidFill>
            <a:schemeClr val="tx1"/>
          </a:solidFill>
          <a:ln w="6350">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307" name="Title 4"/>
          <p:cNvSpPr>
            <a:spLocks noGrp="1"/>
          </p:cNvSpPr>
          <p:nvPr>
            <p:ph type="title"/>
          </p:nvPr>
        </p:nvSpPr>
        <p:spPr>
          <a:xfrm>
            <a:off x="389436" y="171450"/>
            <a:ext cx="8363938" cy="747897"/>
          </a:xfrm>
        </p:spPr>
        <p:txBody>
          <a:bodyPr/>
          <a:lstStyle/>
          <a:p>
            <a:r>
              <a:rPr lang="en-US" b="1" dirty="0" smtClean="0"/>
              <a:t>PubCenter: </a:t>
            </a:r>
            <a:r>
              <a:rPr lang="en-US" dirty="0" smtClean="0"/>
              <a:t>36 Developer Countries</a:t>
            </a:r>
            <a:br>
              <a:rPr lang="en-US" dirty="0" smtClean="0"/>
            </a:br>
            <a:r>
              <a:rPr lang="en-US" sz="2100" dirty="0"/>
              <a:t>17 new</a:t>
            </a:r>
            <a:endParaRPr lang="en-US" sz="2100" dirty="0"/>
          </a:p>
        </p:txBody>
      </p:sp>
      <p:grpSp>
        <p:nvGrpSpPr>
          <p:cNvPr id="12" name="Group 11"/>
          <p:cNvGrpSpPr/>
          <p:nvPr/>
        </p:nvGrpSpPr>
        <p:grpSpPr>
          <a:xfrm>
            <a:off x="2428971" y="1291218"/>
            <a:ext cx="5873383" cy="3657020"/>
            <a:chOff x="3237784" y="1721623"/>
            <a:chExt cx="7829138" cy="4876027"/>
          </a:xfrm>
        </p:grpSpPr>
        <p:grpSp>
          <p:nvGrpSpPr>
            <p:cNvPr id="14" name="Coming Soon"/>
            <p:cNvGrpSpPr/>
            <p:nvPr/>
          </p:nvGrpSpPr>
          <p:grpSpPr>
            <a:xfrm>
              <a:off x="3237784" y="1721623"/>
              <a:ext cx="7829138" cy="3860307"/>
              <a:chOff x="3237784" y="1721623"/>
              <a:chExt cx="7829138" cy="3860307"/>
            </a:xfrm>
            <a:solidFill>
              <a:schemeClr val="accent3"/>
            </a:solidFill>
          </p:grpSpPr>
          <p:sp>
            <p:nvSpPr>
              <p:cNvPr id="309" name="Austria"/>
              <p:cNvSpPr>
                <a:spLocks/>
              </p:cNvSpPr>
              <p:nvPr/>
            </p:nvSpPr>
            <p:spPr bwMode="auto">
              <a:xfrm>
                <a:off x="6041527" y="1900678"/>
                <a:ext cx="221748" cy="88010"/>
              </a:xfrm>
              <a:custGeom>
                <a:avLst/>
                <a:gdLst/>
                <a:ahLst/>
                <a:cxnLst>
                  <a:cxn ang="0">
                    <a:pos x="76" y="12"/>
                  </a:cxn>
                  <a:cxn ang="0">
                    <a:pos x="72" y="14"/>
                  </a:cxn>
                  <a:cxn ang="0">
                    <a:pos x="68" y="20"/>
                  </a:cxn>
                  <a:cxn ang="0">
                    <a:pos x="64" y="22"/>
                  </a:cxn>
                  <a:cxn ang="0">
                    <a:pos x="66" y="24"/>
                  </a:cxn>
                  <a:cxn ang="0">
                    <a:pos x="66" y="26"/>
                  </a:cxn>
                  <a:cxn ang="0">
                    <a:pos x="66" y="30"/>
                  </a:cxn>
                  <a:cxn ang="0">
                    <a:pos x="64" y="32"/>
                  </a:cxn>
                  <a:cxn ang="0">
                    <a:pos x="60" y="28"/>
                  </a:cxn>
                  <a:cxn ang="0">
                    <a:pos x="56" y="28"/>
                  </a:cxn>
                  <a:cxn ang="0">
                    <a:pos x="52" y="28"/>
                  </a:cxn>
                  <a:cxn ang="0">
                    <a:pos x="48" y="32"/>
                  </a:cxn>
                  <a:cxn ang="0">
                    <a:pos x="40" y="34"/>
                  </a:cxn>
                  <a:cxn ang="0">
                    <a:pos x="32" y="32"/>
                  </a:cxn>
                  <a:cxn ang="0">
                    <a:pos x="30" y="32"/>
                  </a:cxn>
                  <a:cxn ang="0">
                    <a:pos x="24" y="34"/>
                  </a:cxn>
                  <a:cxn ang="0">
                    <a:pos x="22" y="38"/>
                  </a:cxn>
                  <a:cxn ang="0">
                    <a:pos x="14" y="36"/>
                  </a:cxn>
                  <a:cxn ang="0">
                    <a:pos x="0" y="36"/>
                  </a:cxn>
                  <a:cxn ang="0">
                    <a:pos x="2" y="40"/>
                  </a:cxn>
                  <a:cxn ang="0">
                    <a:pos x="4" y="44"/>
                  </a:cxn>
                  <a:cxn ang="0">
                    <a:pos x="10" y="48"/>
                  </a:cxn>
                  <a:cxn ang="0">
                    <a:pos x="16" y="46"/>
                  </a:cxn>
                  <a:cxn ang="0">
                    <a:pos x="18" y="52"/>
                  </a:cxn>
                  <a:cxn ang="0">
                    <a:pos x="26" y="52"/>
                  </a:cxn>
                  <a:cxn ang="0">
                    <a:pos x="32" y="50"/>
                  </a:cxn>
                  <a:cxn ang="0">
                    <a:pos x="40" y="48"/>
                  </a:cxn>
                  <a:cxn ang="0">
                    <a:pos x="52" y="46"/>
                  </a:cxn>
                  <a:cxn ang="0">
                    <a:pos x="54" y="48"/>
                  </a:cxn>
                  <a:cxn ang="0">
                    <a:pos x="60" y="52"/>
                  </a:cxn>
                  <a:cxn ang="0">
                    <a:pos x="66" y="54"/>
                  </a:cxn>
                  <a:cxn ang="0">
                    <a:pos x="74" y="56"/>
                  </a:cxn>
                  <a:cxn ang="0">
                    <a:pos x="78" y="56"/>
                  </a:cxn>
                  <a:cxn ang="0">
                    <a:pos x="98" y="56"/>
                  </a:cxn>
                  <a:cxn ang="0">
                    <a:pos x="108" y="50"/>
                  </a:cxn>
                  <a:cxn ang="0">
                    <a:pos x="114" y="50"/>
                  </a:cxn>
                  <a:cxn ang="0">
                    <a:pos x="122" y="50"/>
                  </a:cxn>
                  <a:cxn ang="0">
                    <a:pos x="128" y="50"/>
                  </a:cxn>
                  <a:cxn ang="0">
                    <a:pos x="132" y="44"/>
                  </a:cxn>
                  <a:cxn ang="0">
                    <a:pos x="134" y="38"/>
                  </a:cxn>
                  <a:cxn ang="0">
                    <a:pos x="134" y="32"/>
                  </a:cxn>
                  <a:cxn ang="0">
                    <a:pos x="130" y="28"/>
                  </a:cxn>
                  <a:cxn ang="0">
                    <a:pos x="140" y="30"/>
                  </a:cxn>
                  <a:cxn ang="0">
                    <a:pos x="146" y="26"/>
                  </a:cxn>
                  <a:cxn ang="0">
                    <a:pos x="146" y="16"/>
                  </a:cxn>
                  <a:cxn ang="0">
                    <a:pos x="136" y="14"/>
                  </a:cxn>
                  <a:cxn ang="0">
                    <a:pos x="118" y="4"/>
                  </a:cxn>
                  <a:cxn ang="0">
                    <a:pos x="112" y="4"/>
                  </a:cxn>
                  <a:cxn ang="0">
                    <a:pos x="108" y="4"/>
                  </a:cxn>
                  <a:cxn ang="0">
                    <a:pos x="98" y="0"/>
                  </a:cxn>
                  <a:cxn ang="0">
                    <a:pos x="96" y="6"/>
                  </a:cxn>
                  <a:cxn ang="0">
                    <a:pos x="92" y="10"/>
                  </a:cxn>
                  <a:cxn ang="0">
                    <a:pos x="86" y="10"/>
                  </a:cxn>
                  <a:cxn ang="0">
                    <a:pos x="78" y="8"/>
                  </a:cxn>
                </a:cxnLst>
                <a:rect l="0" t="0" r="r" b="b"/>
                <a:pathLst>
                  <a:path w="146" h="58">
                    <a:moveTo>
                      <a:pt x="78" y="8"/>
                    </a:moveTo>
                    <a:lnTo>
                      <a:pt x="78" y="8"/>
                    </a:lnTo>
                    <a:lnTo>
                      <a:pt x="76" y="12"/>
                    </a:lnTo>
                    <a:lnTo>
                      <a:pt x="74" y="14"/>
                    </a:lnTo>
                    <a:lnTo>
                      <a:pt x="72" y="14"/>
                    </a:lnTo>
                    <a:lnTo>
                      <a:pt x="72" y="14"/>
                    </a:lnTo>
                    <a:lnTo>
                      <a:pt x="72" y="16"/>
                    </a:lnTo>
                    <a:lnTo>
                      <a:pt x="70" y="18"/>
                    </a:lnTo>
                    <a:lnTo>
                      <a:pt x="68" y="20"/>
                    </a:lnTo>
                    <a:lnTo>
                      <a:pt x="66" y="20"/>
                    </a:lnTo>
                    <a:lnTo>
                      <a:pt x="66" y="20"/>
                    </a:lnTo>
                    <a:lnTo>
                      <a:pt x="64" y="22"/>
                    </a:lnTo>
                    <a:lnTo>
                      <a:pt x="64" y="22"/>
                    </a:lnTo>
                    <a:lnTo>
                      <a:pt x="66" y="24"/>
                    </a:lnTo>
                    <a:lnTo>
                      <a:pt x="66" y="24"/>
                    </a:lnTo>
                    <a:lnTo>
                      <a:pt x="66" y="24"/>
                    </a:lnTo>
                    <a:lnTo>
                      <a:pt x="66" y="26"/>
                    </a:lnTo>
                    <a:lnTo>
                      <a:pt x="66" y="26"/>
                    </a:lnTo>
                    <a:lnTo>
                      <a:pt x="66" y="28"/>
                    </a:lnTo>
                    <a:lnTo>
                      <a:pt x="66" y="28"/>
                    </a:lnTo>
                    <a:lnTo>
                      <a:pt x="66" y="30"/>
                    </a:lnTo>
                    <a:lnTo>
                      <a:pt x="66" y="32"/>
                    </a:lnTo>
                    <a:lnTo>
                      <a:pt x="64" y="32"/>
                    </a:lnTo>
                    <a:lnTo>
                      <a:pt x="64" y="32"/>
                    </a:lnTo>
                    <a:lnTo>
                      <a:pt x="62" y="30"/>
                    </a:lnTo>
                    <a:lnTo>
                      <a:pt x="60" y="28"/>
                    </a:lnTo>
                    <a:lnTo>
                      <a:pt x="60" y="28"/>
                    </a:lnTo>
                    <a:lnTo>
                      <a:pt x="58" y="28"/>
                    </a:lnTo>
                    <a:lnTo>
                      <a:pt x="58" y="28"/>
                    </a:lnTo>
                    <a:lnTo>
                      <a:pt x="56" y="28"/>
                    </a:lnTo>
                    <a:lnTo>
                      <a:pt x="56" y="28"/>
                    </a:lnTo>
                    <a:lnTo>
                      <a:pt x="54" y="28"/>
                    </a:lnTo>
                    <a:lnTo>
                      <a:pt x="52" y="28"/>
                    </a:lnTo>
                    <a:lnTo>
                      <a:pt x="52" y="28"/>
                    </a:lnTo>
                    <a:lnTo>
                      <a:pt x="50" y="30"/>
                    </a:lnTo>
                    <a:lnTo>
                      <a:pt x="48" y="32"/>
                    </a:lnTo>
                    <a:lnTo>
                      <a:pt x="48" y="32"/>
                    </a:lnTo>
                    <a:lnTo>
                      <a:pt x="42" y="34"/>
                    </a:lnTo>
                    <a:lnTo>
                      <a:pt x="40" y="34"/>
                    </a:lnTo>
                    <a:lnTo>
                      <a:pt x="38" y="34"/>
                    </a:lnTo>
                    <a:lnTo>
                      <a:pt x="38" y="34"/>
                    </a:lnTo>
                    <a:lnTo>
                      <a:pt x="32" y="32"/>
                    </a:lnTo>
                    <a:lnTo>
                      <a:pt x="30" y="32"/>
                    </a:lnTo>
                    <a:lnTo>
                      <a:pt x="30" y="32"/>
                    </a:lnTo>
                    <a:lnTo>
                      <a:pt x="30" y="32"/>
                    </a:lnTo>
                    <a:lnTo>
                      <a:pt x="28" y="34"/>
                    </a:lnTo>
                    <a:lnTo>
                      <a:pt x="26" y="34"/>
                    </a:lnTo>
                    <a:lnTo>
                      <a:pt x="24" y="34"/>
                    </a:lnTo>
                    <a:lnTo>
                      <a:pt x="24" y="36"/>
                    </a:lnTo>
                    <a:lnTo>
                      <a:pt x="24" y="36"/>
                    </a:lnTo>
                    <a:lnTo>
                      <a:pt x="22" y="38"/>
                    </a:lnTo>
                    <a:lnTo>
                      <a:pt x="20" y="38"/>
                    </a:lnTo>
                    <a:lnTo>
                      <a:pt x="14" y="36"/>
                    </a:lnTo>
                    <a:lnTo>
                      <a:pt x="14" y="36"/>
                    </a:lnTo>
                    <a:lnTo>
                      <a:pt x="6" y="34"/>
                    </a:lnTo>
                    <a:lnTo>
                      <a:pt x="2" y="34"/>
                    </a:lnTo>
                    <a:lnTo>
                      <a:pt x="0" y="36"/>
                    </a:lnTo>
                    <a:lnTo>
                      <a:pt x="0" y="36"/>
                    </a:lnTo>
                    <a:lnTo>
                      <a:pt x="4" y="38"/>
                    </a:lnTo>
                    <a:lnTo>
                      <a:pt x="2" y="40"/>
                    </a:lnTo>
                    <a:lnTo>
                      <a:pt x="2" y="42"/>
                    </a:lnTo>
                    <a:lnTo>
                      <a:pt x="4" y="44"/>
                    </a:lnTo>
                    <a:lnTo>
                      <a:pt x="4" y="44"/>
                    </a:lnTo>
                    <a:lnTo>
                      <a:pt x="8" y="44"/>
                    </a:lnTo>
                    <a:lnTo>
                      <a:pt x="8" y="46"/>
                    </a:lnTo>
                    <a:lnTo>
                      <a:pt x="10" y="48"/>
                    </a:lnTo>
                    <a:lnTo>
                      <a:pt x="12" y="48"/>
                    </a:lnTo>
                    <a:lnTo>
                      <a:pt x="12" y="48"/>
                    </a:lnTo>
                    <a:lnTo>
                      <a:pt x="16" y="46"/>
                    </a:lnTo>
                    <a:lnTo>
                      <a:pt x="16" y="48"/>
                    </a:lnTo>
                    <a:lnTo>
                      <a:pt x="18" y="52"/>
                    </a:lnTo>
                    <a:lnTo>
                      <a:pt x="18" y="52"/>
                    </a:lnTo>
                    <a:lnTo>
                      <a:pt x="22" y="50"/>
                    </a:lnTo>
                    <a:lnTo>
                      <a:pt x="26" y="52"/>
                    </a:lnTo>
                    <a:lnTo>
                      <a:pt x="26" y="52"/>
                    </a:lnTo>
                    <a:lnTo>
                      <a:pt x="28" y="52"/>
                    </a:lnTo>
                    <a:lnTo>
                      <a:pt x="30" y="52"/>
                    </a:lnTo>
                    <a:lnTo>
                      <a:pt x="32" y="50"/>
                    </a:lnTo>
                    <a:lnTo>
                      <a:pt x="34" y="48"/>
                    </a:lnTo>
                    <a:lnTo>
                      <a:pt x="34" y="48"/>
                    </a:lnTo>
                    <a:lnTo>
                      <a:pt x="40" y="48"/>
                    </a:lnTo>
                    <a:lnTo>
                      <a:pt x="46" y="48"/>
                    </a:lnTo>
                    <a:lnTo>
                      <a:pt x="46" y="48"/>
                    </a:lnTo>
                    <a:lnTo>
                      <a:pt x="52" y="46"/>
                    </a:lnTo>
                    <a:lnTo>
                      <a:pt x="54" y="48"/>
                    </a:lnTo>
                    <a:lnTo>
                      <a:pt x="54" y="48"/>
                    </a:lnTo>
                    <a:lnTo>
                      <a:pt x="54" y="48"/>
                    </a:lnTo>
                    <a:lnTo>
                      <a:pt x="54" y="50"/>
                    </a:lnTo>
                    <a:lnTo>
                      <a:pt x="56" y="50"/>
                    </a:lnTo>
                    <a:lnTo>
                      <a:pt x="60" y="52"/>
                    </a:lnTo>
                    <a:lnTo>
                      <a:pt x="60" y="52"/>
                    </a:lnTo>
                    <a:lnTo>
                      <a:pt x="62" y="54"/>
                    </a:lnTo>
                    <a:lnTo>
                      <a:pt x="66" y="54"/>
                    </a:lnTo>
                    <a:lnTo>
                      <a:pt x="66" y="54"/>
                    </a:lnTo>
                    <a:lnTo>
                      <a:pt x="70" y="56"/>
                    </a:lnTo>
                    <a:lnTo>
                      <a:pt x="74" y="56"/>
                    </a:lnTo>
                    <a:lnTo>
                      <a:pt x="78" y="56"/>
                    </a:lnTo>
                    <a:lnTo>
                      <a:pt x="78" y="56"/>
                    </a:lnTo>
                    <a:lnTo>
                      <a:pt x="78" y="56"/>
                    </a:lnTo>
                    <a:lnTo>
                      <a:pt x="92" y="58"/>
                    </a:lnTo>
                    <a:lnTo>
                      <a:pt x="98" y="56"/>
                    </a:lnTo>
                    <a:lnTo>
                      <a:pt x="98" y="56"/>
                    </a:lnTo>
                    <a:lnTo>
                      <a:pt x="104" y="52"/>
                    </a:lnTo>
                    <a:lnTo>
                      <a:pt x="106" y="50"/>
                    </a:lnTo>
                    <a:lnTo>
                      <a:pt x="108" y="50"/>
                    </a:lnTo>
                    <a:lnTo>
                      <a:pt x="108" y="50"/>
                    </a:lnTo>
                    <a:lnTo>
                      <a:pt x="112" y="52"/>
                    </a:lnTo>
                    <a:lnTo>
                      <a:pt x="114" y="50"/>
                    </a:lnTo>
                    <a:lnTo>
                      <a:pt x="114" y="50"/>
                    </a:lnTo>
                    <a:lnTo>
                      <a:pt x="118" y="48"/>
                    </a:lnTo>
                    <a:lnTo>
                      <a:pt x="122" y="50"/>
                    </a:lnTo>
                    <a:lnTo>
                      <a:pt x="122" y="50"/>
                    </a:lnTo>
                    <a:lnTo>
                      <a:pt x="126" y="52"/>
                    </a:lnTo>
                    <a:lnTo>
                      <a:pt x="128" y="50"/>
                    </a:lnTo>
                    <a:lnTo>
                      <a:pt x="128" y="48"/>
                    </a:lnTo>
                    <a:lnTo>
                      <a:pt x="128" y="48"/>
                    </a:lnTo>
                    <a:lnTo>
                      <a:pt x="132" y="44"/>
                    </a:lnTo>
                    <a:lnTo>
                      <a:pt x="134" y="42"/>
                    </a:lnTo>
                    <a:lnTo>
                      <a:pt x="134" y="42"/>
                    </a:lnTo>
                    <a:lnTo>
                      <a:pt x="134" y="38"/>
                    </a:lnTo>
                    <a:lnTo>
                      <a:pt x="136" y="36"/>
                    </a:lnTo>
                    <a:lnTo>
                      <a:pt x="136" y="34"/>
                    </a:lnTo>
                    <a:lnTo>
                      <a:pt x="134" y="32"/>
                    </a:lnTo>
                    <a:lnTo>
                      <a:pt x="134" y="32"/>
                    </a:lnTo>
                    <a:lnTo>
                      <a:pt x="130" y="28"/>
                    </a:lnTo>
                    <a:lnTo>
                      <a:pt x="130" y="28"/>
                    </a:lnTo>
                    <a:lnTo>
                      <a:pt x="134" y="28"/>
                    </a:lnTo>
                    <a:lnTo>
                      <a:pt x="134" y="28"/>
                    </a:lnTo>
                    <a:lnTo>
                      <a:pt x="140" y="30"/>
                    </a:lnTo>
                    <a:lnTo>
                      <a:pt x="142" y="30"/>
                    </a:lnTo>
                    <a:lnTo>
                      <a:pt x="146" y="26"/>
                    </a:lnTo>
                    <a:lnTo>
                      <a:pt x="146" y="26"/>
                    </a:lnTo>
                    <a:lnTo>
                      <a:pt x="146" y="20"/>
                    </a:lnTo>
                    <a:lnTo>
                      <a:pt x="146" y="16"/>
                    </a:lnTo>
                    <a:lnTo>
                      <a:pt x="146" y="16"/>
                    </a:lnTo>
                    <a:lnTo>
                      <a:pt x="142" y="16"/>
                    </a:lnTo>
                    <a:lnTo>
                      <a:pt x="140" y="16"/>
                    </a:lnTo>
                    <a:lnTo>
                      <a:pt x="136" y="14"/>
                    </a:lnTo>
                    <a:lnTo>
                      <a:pt x="136" y="14"/>
                    </a:lnTo>
                    <a:lnTo>
                      <a:pt x="128" y="10"/>
                    </a:lnTo>
                    <a:lnTo>
                      <a:pt x="118" y="4"/>
                    </a:lnTo>
                    <a:lnTo>
                      <a:pt x="118" y="4"/>
                    </a:lnTo>
                    <a:lnTo>
                      <a:pt x="114" y="4"/>
                    </a:lnTo>
                    <a:lnTo>
                      <a:pt x="112" y="4"/>
                    </a:lnTo>
                    <a:lnTo>
                      <a:pt x="110" y="6"/>
                    </a:lnTo>
                    <a:lnTo>
                      <a:pt x="108" y="4"/>
                    </a:lnTo>
                    <a:lnTo>
                      <a:pt x="108" y="4"/>
                    </a:lnTo>
                    <a:lnTo>
                      <a:pt x="104" y="2"/>
                    </a:lnTo>
                    <a:lnTo>
                      <a:pt x="98" y="0"/>
                    </a:lnTo>
                    <a:lnTo>
                      <a:pt x="98" y="0"/>
                    </a:lnTo>
                    <a:lnTo>
                      <a:pt x="96" y="0"/>
                    </a:lnTo>
                    <a:lnTo>
                      <a:pt x="96" y="2"/>
                    </a:lnTo>
                    <a:lnTo>
                      <a:pt x="96" y="6"/>
                    </a:lnTo>
                    <a:lnTo>
                      <a:pt x="94" y="10"/>
                    </a:lnTo>
                    <a:lnTo>
                      <a:pt x="94" y="10"/>
                    </a:lnTo>
                    <a:lnTo>
                      <a:pt x="92" y="10"/>
                    </a:lnTo>
                    <a:lnTo>
                      <a:pt x="90" y="10"/>
                    </a:lnTo>
                    <a:lnTo>
                      <a:pt x="86" y="10"/>
                    </a:lnTo>
                    <a:lnTo>
                      <a:pt x="86" y="10"/>
                    </a:lnTo>
                    <a:lnTo>
                      <a:pt x="84" y="10"/>
                    </a:lnTo>
                    <a:lnTo>
                      <a:pt x="78" y="8"/>
                    </a:lnTo>
                    <a:lnTo>
                      <a:pt x="78" y="8"/>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Brazil"/>
              <p:cNvSpPr>
                <a:spLocks/>
              </p:cNvSpPr>
              <p:nvPr/>
            </p:nvSpPr>
            <p:spPr bwMode="auto">
              <a:xfrm>
                <a:off x="3420042" y="3490931"/>
                <a:ext cx="1242396" cy="1465825"/>
              </a:xfrm>
              <a:custGeom>
                <a:avLst/>
                <a:gdLst/>
                <a:ahLst/>
                <a:cxnLst>
                  <a:cxn ang="0">
                    <a:pos x="496" y="82"/>
                  </a:cxn>
                  <a:cxn ang="0">
                    <a:pos x="476" y="152"/>
                  </a:cxn>
                  <a:cxn ang="0">
                    <a:pos x="474" y="168"/>
                  </a:cxn>
                  <a:cxn ang="0">
                    <a:pos x="502" y="128"/>
                  </a:cxn>
                  <a:cxn ang="0">
                    <a:pos x="536" y="152"/>
                  </a:cxn>
                  <a:cxn ang="0">
                    <a:pos x="502" y="174"/>
                  </a:cxn>
                  <a:cxn ang="0">
                    <a:pos x="522" y="196"/>
                  </a:cxn>
                  <a:cxn ang="0">
                    <a:pos x="552" y="150"/>
                  </a:cxn>
                  <a:cxn ang="0">
                    <a:pos x="612" y="188"/>
                  </a:cxn>
                  <a:cxn ang="0">
                    <a:pos x="666" y="212"/>
                  </a:cxn>
                  <a:cxn ang="0">
                    <a:pos x="766" y="254"/>
                  </a:cxn>
                  <a:cxn ang="0">
                    <a:pos x="818" y="322"/>
                  </a:cxn>
                  <a:cxn ang="0">
                    <a:pos x="762" y="434"/>
                  </a:cxn>
                  <a:cxn ang="0">
                    <a:pos x="736" y="488"/>
                  </a:cxn>
                  <a:cxn ang="0">
                    <a:pos x="734" y="580"/>
                  </a:cxn>
                  <a:cxn ang="0">
                    <a:pos x="724" y="632"/>
                  </a:cxn>
                  <a:cxn ang="0">
                    <a:pos x="700" y="692"/>
                  </a:cxn>
                  <a:cxn ang="0">
                    <a:pos x="650" y="708"/>
                  </a:cxn>
                  <a:cxn ang="0">
                    <a:pos x="582" y="774"/>
                  </a:cxn>
                  <a:cxn ang="0">
                    <a:pos x="584" y="836"/>
                  </a:cxn>
                  <a:cxn ang="0">
                    <a:pos x="554" y="888"/>
                  </a:cxn>
                  <a:cxn ang="0">
                    <a:pos x="526" y="952"/>
                  </a:cxn>
                  <a:cxn ang="0">
                    <a:pos x="494" y="924"/>
                  </a:cxn>
                  <a:cxn ang="0">
                    <a:pos x="448" y="900"/>
                  </a:cxn>
                  <a:cxn ang="0">
                    <a:pos x="408" y="876"/>
                  </a:cxn>
                  <a:cxn ang="0">
                    <a:pos x="440" y="838"/>
                  </a:cxn>
                  <a:cxn ang="0">
                    <a:pos x="456" y="818"/>
                  </a:cxn>
                  <a:cxn ang="0">
                    <a:pos x="456" y="776"/>
                  </a:cxn>
                  <a:cxn ang="0">
                    <a:pos x="428" y="734"/>
                  </a:cxn>
                  <a:cxn ang="0">
                    <a:pos x="404" y="696"/>
                  </a:cxn>
                  <a:cxn ang="0">
                    <a:pos x="376" y="648"/>
                  </a:cxn>
                  <a:cxn ang="0">
                    <a:pos x="364" y="602"/>
                  </a:cxn>
                  <a:cxn ang="0">
                    <a:pos x="344" y="566"/>
                  </a:cxn>
                  <a:cxn ang="0">
                    <a:pos x="298" y="530"/>
                  </a:cxn>
                  <a:cxn ang="0">
                    <a:pos x="272" y="488"/>
                  </a:cxn>
                  <a:cxn ang="0">
                    <a:pos x="224" y="454"/>
                  </a:cxn>
                  <a:cxn ang="0">
                    <a:pos x="182" y="394"/>
                  </a:cxn>
                  <a:cxn ang="0">
                    <a:pos x="130" y="416"/>
                  </a:cxn>
                  <a:cxn ang="0">
                    <a:pos x="78" y="422"/>
                  </a:cxn>
                  <a:cxn ang="0">
                    <a:pos x="68" y="380"/>
                  </a:cxn>
                  <a:cxn ang="0">
                    <a:pos x="18" y="382"/>
                  </a:cxn>
                  <a:cxn ang="0">
                    <a:pos x="2" y="328"/>
                  </a:cxn>
                  <a:cxn ang="0">
                    <a:pos x="20" y="282"/>
                  </a:cxn>
                  <a:cxn ang="0">
                    <a:pos x="64" y="244"/>
                  </a:cxn>
                  <a:cxn ang="0">
                    <a:pos x="80" y="148"/>
                  </a:cxn>
                  <a:cxn ang="0">
                    <a:pos x="86" y="110"/>
                  </a:cxn>
                  <a:cxn ang="0">
                    <a:pos x="110" y="88"/>
                  </a:cxn>
                  <a:cxn ang="0">
                    <a:pos x="128" y="88"/>
                  </a:cxn>
                  <a:cxn ang="0">
                    <a:pos x="158" y="116"/>
                  </a:cxn>
                  <a:cxn ang="0">
                    <a:pos x="194" y="98"/>
                  </a:cxn>
                  <a:cxn ang="0">
                    <a:pos x="210" y="70"/>
                  </a:cxn>
                  <a:cxn ang="0">
                    <a:pos x="192" y="24"/>
                  </a:cxn>
                  <a:cxn ang="0">
                    <a:pos x="244" y="28"/>
                  </a:cxn>
                  <a:cxn ang="0">
                    <a:pos x="276" y="0"/>
                  </a:cxn>
                  <a:cxn ang="0">
                    <a:pos x="296" y="24"/>
                  </a:cxn>
                  <a:cxn ang="0">
                    <a:pos x="294" y="60"/>
                  </a:cxn>
                  <a:cxn ang="0">
                    <a:pos x="304" y="96"/>
                  </a:cxn>
                  <a:cxn ang="0">
                    <a:pos x="342" y="86"/>
                  </a:cxn>
                  <a:cxn ang="0">
                    <a:pos x="374" y="80"/>
                  </a:cxn>
                  <a:cxn ang="0">
                    <a:pos x="394" y="74"/>
                  </a:cxn>
                  <a:cxn ang="0">
                    <a:pos x="418" y="80"/>
                  </a:cxn>
                  <a:cxn ang="0">
                    <a:pos x="448" y="62"/>
                  </a:cxn>
                  <a:cxn ang="0">
                    <a:pos x="466" y="24"/>
                  </a:cxn>
                </a:cxnLst>
                <a:rect l="0" t="0" r="r" b="b"/>
                <a:pathLst>
                  <a:path w="818" h="966">
                    <a:moveTo>
                      <a:pt x="468" y="20"/>
                    </a:moveTo>
                    <a:lnTo>
                      <a:pt x="468" y="20"/>
                    </a:lnTo>
                    <a:lnTo>
                      <a:pt x="470" y="20"/>
                    </a:lnTo>
                    <a:lnTo>
                      <a:pt x="472" y="22"/>
                    </a:lnTo>
                    <a:lnTo>
                      <a:pt x="476" y="28"/>
                    </a:lnTo>
                    <a:lnTo>
                      <a:pt x="476" y="28"/>
                    </a:lnTo>
                    <a:lnTo>
                      <a:pt x="480" y="30"/>
                    </a:lnTo>
                    <a:lnTo>
                      <a:pt x="480" y="30"/>
                    </a:lnTo>
                    <a:lnTo>
                      <a:pt x="482" y="34"/>
                    </a:lnTo>
                    <a:lnTo>
                      <a:pt x="482" y="34"/>
                    </a:lnTo>
                    <a:lnTo>
                      <a:pt x="490" y="64"/>
                    </a:lnTo>
                    <a:lnTo>
                      <a:pt x="496" y="82"/>
                    </a:lnTo>
                    <a:lnTo>
                      <a:pt x="496" y="82"/>
                    </a:lnTo>
                    <a:lnTo>
                      <a:pt x="504" y="86"/>
                    </a:lnTo>
                    <a:lnTo>
                      <a:pt x="508" y="92"/>
                    </a:lnTo>
                    <a:lnTo>
                      <a:pt x="506" y="98"/>
                    </a:lnTo>
                    <a:lnTo>
                      <a:pt x="502" y="104"/>
                    </a:lnTo>
                    <a:lnTo>
                      <a:pt x="502" y="104"/>
                    </a:lnTo>
                    <a:lnTo>
                      <a:pt x="498" y="110"/>
                    </a:lnTo>
                    <a:lnTo>
                      <a:pt x="496" y="114"/>
                    </a:lnTo>
                    <a:lnTo>
                      <a:pt x="492" y="118"/>
                    </a:lnTo>
                    <a:lnTo>
                      <a:pt x="488" y="122"/>
                    </a:lnTo>
                    <a:lnTo>
                      <a:pt x="488" y="122"/>
                    </a:lnTo>
                    <a:lnTo>
                      <a:pt x="482" y="128"/>
                    </a:lnTo>
                    <a:lnTo>
                      <a:pt x="480" y="134"/>
                    </a:lnTo>
                    <a:lnTo>
                      <a:pt x="476" y="152"/>
                    </a:lnTo>
                    <a:lnTo>
                      <a:pt x="476" y="152"/>
                    </a:lnTo>
                    <a:lnTo>
                      <a:pt x="474" y="156"/>
                    </a:lnTo>
                    <a:lnTo>
                      <a:pt x="472" y="160"/>
                    </a:lnTo>
                    <a:lnTo>
                      <a:pt x="464" y="168"/>
                    </a:lnTo>
                    <a:lnTo>
                      <a:pt x="460" y="170"/>
                    </a:lnTo>
                    <a:lnTo>
                      <a:pt x="462" y="168"/>
                    </a:lnTo>
                    <a:lnTo>
                      <a:pt x="462" y="168"/>
                    </a:lnTo>
                    <a:lnTo>
                      <a:pt x="464" y="166"/>
                    </a:lnTo>
                    <a:lnTo>
                      <a:pt x="468" y="166"/>
                    </a:lnTo>
                    <a:lnTo>
                      <a:pt x="472" y="172"/>
                    </a:lnTo>
                    <a:lnTo>
                      <a:pt x="476" y="184"/>
                    </a:lnTo>
                    <a:lnTo>
                      <a:pt x="476" y="184"/>
                    </a:lnTo>
                    <a:lnTo>
                      <a:pt x="474" y="168"/>
                    </a:lnTo>
                    <a:lnTo>
                      <a:pt x="474" y="168"/>
                    </a:lnTo>
                    <a:lnTo>
                      <a:pt x="474" y="166"/>
                    </a:lnTo>
                    <a:lnTo>
                      <a:pt x="476" y="164"/>
                    </a:lnTo>
                    <a:lnTo>
                      <a:pt x="482" y="160"/>
                    </a:lnTo>
                    <a:lnTo>
                      <a:pt x="488" y="158"/>
                    </a:lnTo>
                    <a:lnTo>
                      <a:pt x="492" y="152"/>
                    </a:lnTo>
                    <a:lnTo>
                      <a:pt x="492" y="152"/>
                    </a:lnTo>
                    <a:lnTo>
                      <a:pt x="492" y="148"/>
                    </a:lnTo>
                    <a:lnTo>
                      <a:pt x="492" y="144"/>
                    </a:lnTo>
                    <a:lnTo>
                      <a:pt x="492" y="140"/>
                    </a:lnTo>
                    <a:lnTo>
                      <a:pt x="496" y="134"/>
                    </a:lnTo>
                    <a:lnTo>
                      <a:pt x="496" y="134"/>
                    </a:lnTo>
                    <a:lnTo>
                      <a:pt x="502" y="128"/>
                    </a:lnTo>
                    <a:lnTo>
                      <a:pt x="506" y="128"/>
                    </a:lnTo>
                    <a:lnTo>
                      <a:pt x="510" y="130"/>
                    </a:lnTo>
                    <a:lnTo>
                      <a:pt x="520" y="130"/>
                    </a:lnTo>
                    <a:lnTo>
                      <a:pt x="520" y="130"/>
                    </a:lnTo>
                    <a:lnTo>
                      <a:pt x="540" y="128"/>
                    </a:lnTo>
                    <a:lnTo>
                      <a:pt x="544" y="130"/>
                    </a:lnTo>
                    <a:lnTo>
                      <a:pt x="546" y="132"/>
                    </a:lnTo>
                    <a:lnTo>
                      <a:pt x="544" y="134"/>
                    </a:lnTo>
                    <a:lnTo>
                      <a:pt x="544" y="134"/>
                    </a:lnTo>
                    <a:lnTo>
                      <a:pt x="542" y="140"/>
                    </a:lnTo>
                    <a:lnTo>
                      <a:pt x="542" y="142"/>
                    </a:lnTo>
                    <a:lnTo>
                      <a:pt x="540" y="146"/>
                    </a:lnTo>
                    <a:lnTo>
                      <a:pt x="536" y="152"/>
                    </a:lnTo>
                    <a:lnTo>
                      <a:pt x="536" y="152"/>
                    </a:lnTo>
                    <a:lnTo>
                      <a:pt x="530" y="158"/>
                    </a:lnTo>
                    <a:lnTo>
                      <a:pt x="530" y="160"/>
                    </a:lnTo>
                    <a:lnTo>
                      <a:pt x="532" y="164"/>
                    </a:lnTo>
                    <a:lnTo>
                      <a:pt x="528" y="166"/>
                    </a:lnTo>
                    <a:lnTo>
                      <a:pt x="528" y="166"/>
                    </a:lnTo>
                    <a:lnTo>
                      <a:pt x="524" y="168"/>
                    </a:lnTo>
                    <a:lnTo>
                      <a:pt x="520" y="168"/>
                    </a:lnTo>
                    <a:lnTo>
                      <a:pt x="516" y="170"/>
                    </a:lnTo>
                    <a:lnTo>
                      <a:pt x="510" y="172"/>
                    </a:lnTo>
                    <a:lnTo>
                      <a:pt x="510" y="172"/>
                    </a:lnTo>
                    <a:lnTo>
                      <a:pt x="506" y="174"/>
                    </a:lnTo>
                    <a:lnTo>
                      <a:pt x="502" y="174"/>
                    </a:lnTo>
                    <a:lnTo>
                      <a:pt x="500" y="174"/>
                    </a:lnTo>
                    <a:lnTo>
                      <a:pt x="492" y="176"/>
                    </a:lnTo>
                    <a:lnTo>
                      <a:pt x="492" y="176"/>
                    </a:lnTo>
                    <a:lnTo>
                      <a:pt x="498" y="176"/>
                    </a:lnTo>
                    <a:lnTo>
                      <a:pt x="500" y="178"/>
                    </a:lnTo>
                    <a:lnTo>
                      <a:pt x="504" y="180"/>
                    </a:lnTo>
                    <a:lnTo>
                      <a:pt x="512" y="176"/>
                    </a:lnTo>
                    <a:lnTo>
                      <a:pt x="512" y="176"/>
                    </a:lnTo>
                    <a:lnTo>
                      <a:pt x="518" y="174"/>
                    </a:lnTo>
                    <a:lnTo>
                      <a:pt x="518" y="176"/>
                    </a:lnTo>
                    <a:lnTo>
                      <a:pt x="518" y="184"/>
                    </a:lnTo>
                    <a:lnTo>
                      <a:pt x="518" y="190"/>
                    </a:lnTo>
                    <a:lnTo>
                      <a:pt x="522" y="196"/>
                    </a:lnTo>
                    <a:lnTo>
                      <a:pt x="522" y="196"/>
                    </a:lnTo>
                    <a:lnTo>
                      <a:pt x="522" y="184"/>
                    </a:lnTo>
                    <a:lnTo>
                      <a:pt x="524" y="176"/>
                    </a:lnTo>
                    <a:lnTo>
                      <a:pt x="528" y="172"/>
                    </a:lnTo>
                    <a:lnTo>
                      <a:pt x="534" y="172"/>
                    </a:lnTo>
                    <a:lnTo>
                      <a:pt x="534" y="172"/>
                    </a:lnTo>
                    <a:lnTo>
                      <a:pt x="536" y="170"/>
                    </a:lnTo>
                    <a:lnTo>
                      <a:pt x="536" y="168"/>
                    </a:lnTo>
                    <a:lnTo>
                      <a:pt x="538" y="162"/>
                    </a:lnTo>
                    <a:lnTo>
                      <a:pt x="542" y="156"/>
                    </a:lnTo>
                    <a:lnTo>
                      <a:pt x="546" y="152"/>
                    </a:lnTo>
                    <a:lnTo>
                      <a:pt x="552" y="150"/>
                    </a:lnTo>
                    <a:lnTo>
                      <a:pt x="552" y="150"/>
                    </a:lnTo>
                    <a:lnTo>
                      <a:pt x="558" y="148"/>
                    </a:lnTo>
                    <a:lnTo>
                      <a:pt x="564" y="148"/>
                    </a:lnTo>
                    <a:lnTo>
                      <a:pt x="572" y="152"/>
                    </a:lnTo>
                    <a:lnTo>
                      <a:pt x="582" y="160"/>
                    </a:lnTo>
                    <a:lnTo>
                      <a:pt x="598" y="168"/>
                    </a:lnTo>
                    <a:lnTo>
                      <a:pt x="598" y="168"/>
                    </a:lnTo>
                    <a:lnTo>
                      <a:pt x="614" y="176"/>
                    </a:lnTo>
                    <a:lnTo>
                      <a:pt x="618" y="182"/>
                    </a:lnTo>
                    <a:lnTo>
                      <a:pt x="618" y="184"/>
                    </a:lnTo>
                    <a:lnTo>
                      <a:pt x="618" y="184"/>
                    </a:lnTo>
                    <a:lnTo>
                      <a:pt x="614" y="186"/>
                    </a:lnTo>
                    <a:lnTo>
                      <a:pt x="614" y="186"/>
                    </a:lnTo>
                    <a:lnTo>
                      <a:pt x="612" y="188"/>
                    </a:lnTo>
                    <a:lnTo>
                      <a:pt x="612" y="188"/>
                    </a:lnTo>
                    <a:lnTo>
                      <a:pt x="616" y="190"/>
                    </a:lnTo>
                    <a:lnTo>
                      <a:pt x="618" y="196"/>
                    </a:lnTo>
                    <a:lnTo>
                      <a:pt x="618" y="198"/>
                    </a:lnTo>
                    <a:lnTo>
                      <a:pt x="618" y="204"/>
                    </a:lnTo>
                    <a:lnTo>
                      <a:pt x="618" y="204"/>
                    </a:lnTo>
                    <a:lnTo>
                      <a:pt x="624" y="198"/>
                    </a:lnTo>
                    <a:lnTo>
                      <a:pt x="626" y="196"/>
                    </a:lnTo>
                    <a:lnTo>
                      <a:pt x="632" y="196"/>
                    </a:lnTo>
                    <a:lnTo>
                      <a:pt x="640" y="200"/>
                    </a:lnTo>
                    <a:lnTo>
                      <a:pt x="640" y="200"/>
                    </a:lnTo>
                    <a:lnTo>
                      <a:pt x="654" y="208"/>
                    </a:lnTo>
                    <a:lnTo>
                      <a:pt x="666" y="212"/>
                    </a:lnTo>
                    <a:lnTo>
                      <a:pt x="678" y="216"/>
                    </a:lnTo>
                    <a:lnTo>
                      <a:pt x="684" y="216"/>
                    </a:lnTo>
                    <a:lnTo>
                      <a:pt x="684" y="216"/>
                    </a:lnTo>
                    <a:lnTo>
                      <a:pt x="694" y="212"/>
                    </a:lnTo>
                    <a:lnTo>
                      <a:pt x="704" y="214"/>
                    </a:lnTo>
                    <a:lnTo>
                      <a:pt x="712" y="218"/>
                    </a:lnTo>
                    <a:lnTo>
                      <a:pt x="724" y="226"/>
                    </a:lnTo>
                    <a:lnTo>
                      <a:pt x="724" y="226"/>
                    </a:lnTo>
                    <a:lnTo>
                      <a:pt x="736" y="234"/>
                    </a:lnTo>
                    <a:lnTo>
                      <a:pt x="746" y="242"/>
                    </a:lnTo>
                    <a:lnTo>
                      <a:pt x="756" y="248"/>
                    </a:lnTo>
                    <a:lnTo>
                      <a:pt x="766" y="254"/>
                    </a:lnTo>
                    <a:lnTo>
                      <a:pt x="766" y="254"/>
                    </a:lnTo>
                    <a:lnTo>
                      <a:pt x="770" y="256"/>
                    </a:lnTo>
                    <a:lnTo>
                      <a:pt x="776" y="258"/>
                    </a:lnTo>
                    <a:lnTo>
                      <a:pt x="786" y="258"/>
                    </a:lnTo>
                    <a:lnTo>
                      <a:pt x="792" y="258"/>
                    </a:lnTo>
                    <a:lnTo>
                      <a:pt x="798" y="258"/>
                    </a:lnTo>
                    <a:lnTo>
                      <a:pt x="802" y="262"/>
                    </a:lnTo>
                    <a:lnTo>
                      <a:pt x="806" y="266"/>
                    </a:lnTo>
                    <a:lnTo>
                      <a:pt x="806" y="266"/>
                    </a:lnTo>
                    <a:lnTo>
                      <a:pt x="814" y="286"/>
                    </a:lnTo>
                    <a:lnTo>
                      <a:pt x="818" y="298"/>
                    </a:lnTo>
                    <a:lnTo>
                      <a:pt x="818" y="310"/>
                    </a:lnTo>
                    <a:lnTo>
                      <a:pt x="818" y="310"/>
                    </a:lnTo>
                    <a:lnTo>
                      <a:pt x="818" y="322"/>
                    </a:lnTo>
                    <a:lnTo>
                      <a:pt x="818" y="338"/>
                    </a:lnTo>
                    <a:lnTo>
                      <a:pt x="816" y="352"/>
                    </a:lnTo>
                    <a:lnTo>
                      <a:pt x="814" y="358"/>
                    </a:lnTo>
                    <a:lnTo>
                      <a:pt x="810" y="364"/>
                    </a:lnTo>
                    <a:lnTo>
                      <a:pt x="810" y="364"/>
                    </a:lnTo>
                    <a:lnTo>
                      <a:pt x="802" y="372"/>
                    </a:lnTo>
                    <a:lnTo>
                      <a:pt x="798" y="382"/>
                    </a:lnTo>
                    <a:lnTo>
                      <a:pt x="790" y="390"/>
                    </a:lnTo>
                    <a:lnTo>
                      <a:pt x="782" y="402"/>
                    </a:lnTo>
                    <a:lnTo>
                      <a:pt x="782" y="402"/>
                    </a:lnTo>
                    <a:lnTo>
                      <a:pt x="774" y="408"/>
                    </a:lnTo>
                    <a:lnTo>
                      <a:pt x="770" y="416"/>
                    </a:lnTo>
                    <a:lnTo>
                      <a:pt x="762" y="434"/>
                    </a:lnTo>
                    <a:lnTo>
                      <a:pt x="756" y="450"/>
                    </a:lnTo>
                    <a:lnTo>
                      <a:pt x="752" y="458"/>
                    </a:lnTo>
                    <a:lnTo>
                      <a:pt x="746" y="464"/>
                    </a:lnTo>
                    <a:lnTo>
                      <a:pt x="746" y="464"/>
                    </a:lnTo>
                    <a:lnTo>
                      <a:pt x="744" y="464"/>
                    </a:lnTo>
                    <a:lnTo>
                      <a:pt x="740" y="464"/>
                    </a:lnTo>
                    <a:lnTo>
                      <a:pt x="734" y="460"/>
                    </a:lnTo>
                    <a:lnTo>
                      <a:pt x="732" y="460"/>
                    </a:lnTo>
                    <a:lnTo>
                      <a:pt x="732" y="460"/>
                    </a:lnTo>
                    <a:lnTo>
                      <a:pt x="736" y="470"/>
                    </a:lnTo>
                    <a:lnTo>
                      <a:pt x="736" y="470"/>
                    </a:lnTo>
                    <a:lnTo>
                      <a:pt x="738" y="478"/>
                    </a:lnTo>
                    <a:lnTo>
                      <a:pt x="736" y="488"/>
                    </a:lnTo>
                    <a:lnTo>
                      <a:pt x="736" y="500"/>
                    </a:lnTo>
                    <a:lnTo>
                      <a:pt x="738" y="508"/>
                    </a:lnTo>
                    <a:lnTo>
                      <a:pt x="740" y="516"/>
                    </a:lnTo>
                    <a:lnTo>
                      <a:pt x="740" y="516"/>
                    </a:lnTo>
                    <a:lnTo>
                      <a:pt x="742" y="522"/>
                    </a:lnTo>
                    <a:lnTo>
                      <a:pt x="744" y="526"/>
                    </a:lnTo>
                    <a:lnTo>
                      <a:pt x="742" y="536"/>
                    </a:lnTo>
                    <a:lnTo>
                      <a:pt x="738" y="546"/>
                    </a:lnTo>
                    <a:lnTo>
                      <a:pt x="738" y="562"/>
                    </a:lnTo>
                    <a:lnTo>
                      <a:pt x="738" y="562"/>
                    </a:lnTo>
                    <a:lnTo>
                      <a:pt x="738" y="570"/>
                    </a:lnTo>
                    <a:lnTo>
                      <a:pt x="738" y="574"/>
                    </a:lnTo>
                    <a:lnTo>
                      <a:pt x="734" y="580"/>
                    </a:lnTo>
                    <a:lnTo>
                      <a:pt x="732" y="584"/>
                    </a:lnTo>
                    <a:lnTo>
                      <a:pt x="732" y="586"/>
                    </a:lnTo>
                    <a:lnTo>
                      <a:pt x="732" y="590"/>
                    </a:lnTo>
                    <a:lnTo>
                      <a:pt x="734" y="596"/>
                    </a:lnTo>
                    <a:lnTo>
                      <a:pt x="734" y="596"/>
                    </a:lnTo>
                    <a:lnTo>
                      <a:pt x="736" y="604"/>
                    </a:lnTo>
                    <a:lnTo>
                      <a:pt x="736" y="608"/>
                    </a:lnTo>
                    <a:lnTo>
                      <a:pt x="732" y="610"/>
                    </a:lnTo>
                    <a:lnTo>
                      <a:pt x="730" y="614"/>
                    </a:lnTo>
                    <a:lnTo>
                      <a:pt x="726" y="616"/>
                    </a:lnTo>
                    <a:lnTo>
                      <a:pt x="724" y="620"/>
                    </a:lnTo>
                    <a:lnTo>
                      <a:pt x="722" y="624"/>
                    </a:lnTo>
                    <a:lnTo>
                      <a:pt x="724" y="632"/>
                    </a:lnTo>
                    <a:lnTo>
                      <a:pt x="724" y="632"/>
                    </a:lnTo>
                    <a:lnTo>
                      <a:pt x="724" y="640"/>
                    </a:lnTo>
                    <a:lnTo>
                      <a:pt x="724" y="646"/>
                    </a:lnTo>
                    <a:lnTo>
                      <a:pt x="720" y="652"/>
                    </a:lnTo>
                    <a:lnTo>
                      <a:pt x="716" y="656"/>
                    </a:lnTo>
                    <a:lnTo>
                      <a:pt x="710" y="660"/>
                    </a:lnTo>
                    <a:lnTo>
                      <a:pt x="708" y="664"/>
                    </a:lnTo>
                    <a:lnTo>
                      <a:pt x="704" y="670"/>
                    </a:lnTo>
                    <a:lnTo>
                      <a:pt x="704" y="678"/>
                    </a:lnTo>
                    <a:lnTo>
                      <a:pt x="704" y="678"/>
                    </a:lnTo>
                    <a:lnTo>
                      <a:pt x="704" y="688"/>
                    </a:lnTo>
                    <a:lnTo>
                      <a:pt x="702" y="690"/>
                    </a:lnTo>
                    <a:lnTo>
                      <a:pt x="700" y="692"/>
                    </a:lnTo>
                    <a:lnTo>
                      <a:pt x="696" y="694"/>
                    </a:lnTo>
                    <a:lnTo>
                      <a:pt x="690" y="698"/>
                    </a:lnTo>
                    <a:lnTo>
                      <a:pt x="690" y="698"/>
                    </a:lnTo>
                    <a:lnTo>
                      <a:pt x="680" y="708"/>
                    </a:lnTo>
                    <a:lnTo>
                      <a:pt x="676" y="710"/>
                    </a:lnTo>
                    <a:lnTo>
                      <a:pt x="674" y="710"/>
                    </a:lnTo>
                    <a:lnTo>
                      <a:pt x="670" y="708"/>
                    </a:lnTo>
                    <a:lnTo>
                      <a:pt x="668" y="708"/>
                    </a:lnTo>
                    <a:lnTo>
                      <a:pt x="668" y="708"/>
                    </a:lnTo>
                    <a:lnTo>
                      <a:pt x="668" y="708"/>
                    </a:lnTo>
                    <a:lnTo>
                      <a:pt x="664" y="710"/>
                    </a:lnTo>
                    <a:lnTo>
                      <a:pt x="658" y="710"/>
                    </a:lnTo>
                    <a:lnTo>
                      <a:pt x="650" y="708"/>
                    </a:lnTo>
                    <a:lnTo>
                      <a:pt x="642" y="708"/>
                    </a:lnTo>
                    <a:lnTo>
                      <a:pt x="640" y="708"/>
                    </a:lnTo>
                    <a:lnTo>
                      <a:pt x="636" y="712"/>
                    </a:lnTo>
                    <a:lnTo>
                      <a:pt x="636" y="712"/>
                    </a:lnTo>
                    <a:lnTo>
                      <a:pt x="630" y="718"/>
                    </a:lnTo>
                    <a:lnTo>
                      <a:pt x="622" y="722"/>
                    </a:lnTo>
                    <a:lnTo>
                      <a:pt x="612" y="730"/>
                    </a:lnTo>
                    <a:lnTo>
                      <a:pt x="596" y="746"/>
                    </a:lnTo>
                    <a:lnTo>
                      <a:pt x="596" y="746"/>
                    </a:lnTo>
                    <a:lnTo>
                      <a:pt x="588" y="754"/>
                    </a:lnTo>
                    <a:lnTo>
                      <a:pt x="584" y="762"/>
                    </a:lnTo>
                    <a:lnTo>
                      <a:pt x="582" y="768"/>
                    </a:lnTo>
                    <a:lnTo>
                      <a:pt x="582" y="774"/>
                    </a:lnTo>
                    <a:lnTo>
                      <a:pt x="584" y="784"/>
                    </a:lnTo>
                    <a:lnTo>
                      <a:pt x="586" y="788"/>
                    </a:lnTo>
                    <a:lnTo>
                      <a:pt x="586" y="788"/>
                    </a:lnTo>
                    <a:lnTo>
                      <a:pt x="584" y="796"/>
                    </a:lnTo>
                    <a:lnTo>
                      <a:pt x="586" y="802"/>
                    </a:lnTo>
                    <a:lnTo>
                      <a:pt x="588" y="812"/>
                    </a:lnTo>
                    <a:lnTo>
                      <a:pt x="590" y="820"/>
                    </a:lnTo>
                    <a:lnTo>
                      <a:pt x="590" y="824"/>
                    </a:lnTo>
                    <a:lnTo>
                      <a:pt x="586" y="828"/>
                    </a:lnTo>
                    <a:lnTo>
                      <a:pt x="586" y="828"/>
                    </a:lnTo>
                    <a:lnTo>
                      <a:pt x="584" y="830"/>
                    </a:lnTo>
                    <a:lnTo>
                      <a:pt x="584" y="832"/>
                    </a:lnTo>
                    <a:lnTo>
                      <a:pt x="584" y="836"/>
                    </a:lnTo>
                    <a:lnTo>
                      <a:pt x="584" y="840"/>
                    </a:lnTo>
                    <a:lnTo>
                      <a:pt x="582" y="842"/>
                    </a:lnTo>
                    <a:lnTo>
                      <a:pt x="578" y="846"/>
                    </a:lnTo>
                    <a:lnTo>
                      <a:pt x="570" y="852"/>
                    </a:lnTo>
                    <a:lnTo>
                      <a:pt x="570" y="852"/>
                    </a:lnTo>
                    <a:lnTo>
                      <a:pt x="564" y="858"/>
                    </a:lnTo>
                    <a:lnTo>
                      <a:pt x="558" y="862"/>
                    </a:lnTo>
                    <a:lnTo>
                      <a:pt x="556" y="866"/>
                    </a:lnTo>
                    <a:lnTo>
                      <a:pt x="556" y="870"/>
                    </a:lnTo>
                    <a:lnTo>
                      <a:pt x="558" y="878"/>
                    </a:lnTo>
                    <a:lnTo>
                      <a:pt x="556" y="882"/>
                    </a:lnTo>
                    <a:lnTo>
                      <a:pt x="554" y="888"/>
                    </a:lnTo>
                    <a:lnTo>
                      <a:pt x="554" y="888"/>
                    </a:lnTo>
                    <a:lnTo>
                      <a:pt x="552" y="892"/>
                    </a:lnTo>
                    <a:lnTo>
                      <a:pt x="550" y="898"/>
                    </a:lnTo>
                    <a:lnTo>
                      <a:pt x="550" y="908"/>
                    </a:lnTo>
                    <a:lnTo>
                      <a:pt x="550" y="914"/>
                    </a:lnTo>
                    <a:lnTo>
                      <a:pt x="548" y="918"/>
                    </a:lnTo>
                    <a:lnTo>
                      <a:pt x="544" y="924"/>
                    </a:lnTo>
                    <a:lnTo>
                      <a:pt x="536" y="928"/>
                    </a:lnTo>
                    <a:lnTo>
                      <a:pt x="536" y="928"/>
                    </a:lnTo>
                    <a:lnTo>
                      <a:pt x="532" y="934"/>
                    </a:lnTo>
                    <a:lnTo>
                      <a:pt x="528" y="936"/>
                    </a:lnTo>
                    <a:lnTo>
                      <a:pt x="528" y="942"/>
                    </a:lnTo>
                    <a:lnTo>
                      <a:pt x="528" y="946"/>
                    </a:lnTo>
                    <a:lnTo>
                      <a:pt x="526" y="952"/>
                    </a:lnTo>
                    <a:lnTo>
                      <a:pt x="520" y="958"/>
                    </a:lnTo>
                    <a:lnTo>
                      <a:pt x="510" y="966"/>
                    </a:lnTo>
                    <a:lnTo>
                      <a:pt x="510" y="966"/>
                    </a:lnTo>
                    <a:lnTo>
                      <a:pt x="506" y="958"/>
                    </a:lnTo>
                    <a:lnTo>
                      <a:pt x="508" y="950"/>
                    </a:lnTo>
                    <a:lnTo>
                      <a:pt x="508" y="950"/>
                    </a:lnTo>
                    <a:lnTo>
                      <a:pt x="510" y="942"/>
                    </a:lnTo>
                    <a:lnTo>
                      <a:pt x="510" y="940"/>
                    </a:lnTo>
                    <a:lnTo>
                      <a:pt x="506" y="938"/>
                    </a:lnTo>
                    <a:lnTo>
                      <a:pt x="502" y="932"/>
                    </a:lnTo>
                    <a:lnTo>
                      <a:pt x="502" y="932"/>
                    </a:lnTo>
                    <a:lnTo>
                      <a:pt x="496" y="926"/>
                    </a:lnTo>
                    <a:lnTo>
                      <a:pt x="494" y="924"/>
                    </a:lnTo>
                    <a:lnTo>
                      <a:pt x="492" y="924"/>
                    </a:lnTo>
                    <a:lnTo>
                      <a:pt x="486" y="918"/>
                    </a:lnTo>
                    <a:lnTo>
                      <a:pt x="486" y="918"/>
                    </a:lnTo>
                    <a:lnTo>
                      <a:pt x="478" y="910"/>
                    </a:lnTo>
                    <a:lnTo>
                      <a:pt x="470" y="906"/>
                    </a:lnTo>
                    <a:lnTo>
                      <a:pt x="464" y="906"/>
                    </a:lnTo>
                    <a:lnTo>
                      <a:pt x="460" y="902"/>
                    </a:lnTo>
                    <a:lnTo>
                      <a:pt x="460" y="902"/>
                    </a:lnTo>
                    <a:lnTo>
                      <a:pt x="456" y="898"/>
                    </a:lnTo>
                    <a:lnTo>
                      <a:pt x="454" y="900"/>
                    </a:lnTo>
                    <a:lnTo>
                      <a:pt x="450" y="900"/>
                    </a:lnTo>
                    <a:lnTo>
                      <a:pt x="450" y="900"/>
                    </a:lnTo>
                    <a:lnTo>
                      <a:pt x="448" y="900"/>
                    </a:lnTo>
                    <a:lnTo>
                      <a:pt x="448" y="898"/>
                    </a:lnTo>
                    <a:lnTo>
                      <a:pt x="446" y="894"/>
                    </a:lnTo>
                    <a:lnTo>
                      <a:pt x="446" y="888"/>
                    </a:lnTo>
                    <a:lnTo>
                      <a:pt x="444" y="882"/>
                    </a:lnTo>
                    <a:lnTo>
                      <a:pt x="444" y="882"/>
                    </a:lnTo>
                    <a:lnTo>
                      <a:pt x="438" y="874"/>
                    </a:lnTo>
                    <a:lnTo>
                      <a:pt x="436" y="870"/>
                    </a:lnTo>
                    <a:lnTo>
                      <a:pt x="434" y="868"/>
                    </a:lnTo>
                    <a:lnTo>
                      <a:pt x="434" y="868"/>
                    </a:lnTo>
                    <a:lnTo>
                      <a:pt x="426" y="870"/>
                    </a:lnTo>
                    <a:lnTo>
                      <a:pt x="420" y="872"/>
                    </a:lnTo>
                    <a:lnTo>
                      <a:pt x="416" y="876"/>
                    </a:lnTo>
                    <a:lnTo>
                      <a:pt x="408" y="876"/>
                    </a:lnTo>
                    <a:lnTo>
                      <a:pt x="408" y="876"/>
                    </a:lnTo>
                    <a:lnTo>
                      <a:pt x="410" y="874"/>
                    </a:lnTo>
                    <a:lnTo>
                      <a:pt x="414" y="870"/>
                    </a:lnTo>
                    <a:lnTo>
                      <a:pt x="414" y="870"/>
                    </a:lnTo>
                    <a:lnTo>
                      <a:pt x="416" y="868"/>
                    </a:lnTo>
                    <a:lnTo>
                      <a:pt x="418" y="866"/>
                    </a:lnTo>
                    <a:lnTo>
                      <a:pt x="420" y="860"/>
                    </a:lnTo>
                    <a:lnTo>
                      <a:pt x="428" y="846"/>
                    </a:lnTo>
                    <a:lnTo>
                      <a:pt x="428" y="846"/>
                    </a:lnTo>
                    <a:lnTo>
                      <a:pt x="434" y="840"/>
                    </a:lnTo>
                    <a:lnTo>
                      <a:pt x="436" y="840"/>
                    </a:lnTo>
                    <a:lnTo>
                      <a:pt x="438" y="840"/>
                    </a:lnTo>
                    <a:lnTo>
                      <a:pt x="440" y="838"/>
                    </a:lnTo>
                    <a:lnTo>
                      <a:pt x="440" y="838"/>
                    </a:lnTo>
                    <a:lnTo>
                      <a:pt x="440" y="834"/>
                    </a:lnTo>
                    <a:lnTo>
                      <a:pt x="438" y="834"/>
                    </a:lnTo>
                    <a:lnTo>
                      <a:pt x="438" y="832"/>
                    </a:lnTo>
                    <a:lnTo>
                      <a:pt x="438" y="830"/>
                    </a:lnTo>
                    <a:lnTo>
                      <a:pt x="438" y="830"/>
                    </a:lnTo>
                    <a:lnTo>
                      <a:pt x="440" y="828"/>
                    </a:lnTo>
                    <a:lnTo>
                      <a:pt x="442" y="828"/>
                    </a:lnTo>
                    <a:lnTo>
                      <a:pt x="446" y="826"/>
                    </a:lnTo>
                    <a:lnTo>
                      <a:pt x="448" y="824"/>
                    </a:lnTo>
                    <a:lnTo>
                      <a:pt x="448" y="824"/>
                    </a:lnTo>
                    <a:lnTo>
                      <a:pt x="452" y="818"/>
                    </a:lnTo>
                    <a:lnTo>
                      <a:pt x="456" y="818"/>
                    </a:lnTo>
                    <a:lnTo>
                      <a:pt x="460" y="816"/>
                    </a:lnTo>
                    <a:lnTo>
                      <a:pt x="464" y="810"/>
                    </a:lnTo>
                    <a:lnTo>
                      <a:pt x="464" y="810"/>
                    </a:lnTo>
                    <a:lnTo>
                      <a:pt x="470" y="800"/>
                    </a:lnTo>
                    <a:lnTo>
                      <a:pt x="468" y="796"/>
                    </a:lnTo>
                    <a:lnTo>
                      <a:pt x="466" y="794"/>
                    </a:lnTo>
                    <a:lnTo>
                      <a:pt x="466" y="792"/>
                    </a:lnTo>
                    <a:lnTo>
                      <a:pt x="466" y="792"/>
                    </a:lnTo>
                    <a:lnTo>
                      <a:pt x="466" y="786"/>
                    </a:lnTo>
                    <a:lnTo>
                      <a:pt x="464" y="780"/>
                    </a:lnTo>
                    <a:lnTo>
                      <a:pt x="462" y="778"/>
                    </a:lnTo>
                    <a:lnTo>
                      <a:pt x="460" y="776"/>
                    </a:lnTo>
                    <a:lnTo>
                      <a:pt x="456" y="776"/>
                    </a:lnTo>
                    <a:lnTo>
                      <a:pt x="450" y="778"/>
                    </a:lnTo>
                    <a:lnTo>
                      <a:pt x="450" y="778"/>
                    </a:lnTo>
                    <a:lnTo>
                      <a:pt x="452" y="762"/>
                    </a:lnTo>
                    <a:lnTo>
                      <a:pt x="452" y="754"/>
                    </a:lnTo>
                    <a:lnTo>
                      <a:pt x="450" y="750"/>
                    </a:lnTo>
                    <a:lnTo>
                      <a:pt x="448" y="744"/>
                    </a:lnTo>
                    <a:lnTo>
                      <a:pt x="448" y="744"/>
                    </a:lnTo>
                    <a:lnTo>
                      <a:pt x="448" y="736"/>
                    </a:lnTo>
                    <a:lnTo>
                      <a:pt x="446" y="734"/>
                    </a:lnTo>
                    <a:lnTo>
                      <a:pt x="440" y="732"/>
                    </a:lnTo>
                    <a:lnTo>
                      <a:pt x="434" y="734"/>
                    </a:lnTo>
                    <a:lnTo>
                      <a:pt x="434" y="734"/>
                    </a:lnTo>
                    <a:lnTo>
                      <a:pt x="428" y="734"/>
                    </a:lnTo>
                    <a:lnTo>
                      <a:pt x="426" y="732"/>
                    </a:lnTo>
                    <a:lnTo>
                      <a:pt x="426" y="728"/>
                    </a:lnTo>
                    <a:lnTo>
                      <a:pt x="424" y="720"/>
                    </a:lnTo>
                    <a:lnTo>
                      <a:pt x="424" y="720"/>
                    </a:lnTo>
                    <a:lnTo>
                      <a:pt x="422" y="714"/>
                    </a:lnTo>
                    <a:lnTo>
                      <a:pt x="424" y="708"/>
                    </a:lnTo>
                    <a:lnTo>
                      <a:pt x="424" y="704"/>
                    </a:lnTo>
                    <a:lnTo>
                      <a:pt x="422" y="702"/>
                    </a:lnTo>
                    <a:lnTo>
                      <a:pt x="418" y="700"/>
                    </a:lnTo>
                    <a:lnTo>
                      <a:pt x="418" y="700"/>
                    </a:lnTo>
                    <a:lnTo>
                      <a:pt x="412" y="696"/>
                    </a:lnTo>
                    <a:lnTo>
                      <a:pt x="408" y="696"/>
                    </a:lnTo>
                    <a:lnTo>
                      <a:pt x="404" y="696"/>
                    </a:lnTo>
                    <a:lnTo>
                      <a:pt x="404" y="696"/>
                    </a:lnTo>
                    <a:lnTo>
                      <a:pt x="396" y="696"/>
                    </a:lnTo>
                    <a:lnTo>
                      <a:pt x="390" y="694"/>
                    </a:lnTo>
                    <a:lnTo>
                      <a:pt x="384" y="692"/>
                    </a:lnTo>
                    <a:lnTo>
                      <a:pt x="376" y="690"/>
                    </a:lnTo>
                    <a:lnTo>
                      <a:pt x="376" y="690"/>
                    </a:lnTo>
                    <a:lnTo>
                      <a:pt x="370" y="690"/>
                    </a:lnTo>
                    <a:lnTo>
                      <a:pt x="370" y="686"/>
                    </a:lnTo>
                    <a:lnTo>
                      <a:pt x="376" y="668"/>
                    </a:lnTo>
                    <a:lnTo>
                      <a:pt x="376" y="668"/>
                    </a:lnTo>
                    <a:lnTo>
                      <a:pt x="378" y="658"/>
                    </a:lnTo>
                    <a:lnTo>
                      <a:pt x="378" y="654"/>
                    </a:lnTo>
                    <a:lnTo>
                      <a:pt x="376" y="648"/>
                    </a:lnTo>
                    <a:lnTo>
                      <a:pt x="370" y="640"/>
                    </a:lnTo>
                    <a:lnTo>
                      <a:pt x="370" y="640"/>
                    </a:lnTo>
                    <a:lnTo>
                      <a:pt x="364" y="632"/>
                    </a:lnTo>
                    <a:lnTo>
                      <a:pt x="364" y="630"/>
                    </a:lnTo>
                    <a:lnTo>
                      <a:pt x="364" y="626"/>
                    </a:lnTo>
                    <a:lnTo>
                      <a:pt x="362" y="620"/>
                    </a:lnTo>
                    <a:lnTo>
                      <a:pt x="362" y="620"/>
                    </a:lnTo>
                    <a:lnTo>
                      <a:pt x="366" y="618"/>
                    </a:lnTo>
                    <a:lnTo>
                      <a:pt x="362" y="612"/>
                    </a:lnTo>
                    <a:lnTo>
                      <a:pt x="362" y="612"/>
                    </a:lnTo>
                    <a:lnTo>
                      <a:pt x="362" y="610"/>
                    </a:lnTo>
                    <a:lnTo>
                      <a:pt x="362" y="606"/>
                    </a:lnTo>
                    <a:lnTo>
                      <a:pt x="364" y="602"/>
                    </a:lnTo>
                    <a:lnTo>
                      <a:pt x="364" y="598"/>
                    </a:lnTo>
                    <a:lnTo>
                      <a:pt x="364" y="598"/>
                    </a:lnTo>
                    <a:lnTo>
                      <a:pt x="362" y="596"/>
                    </a:lnTo>
                    <a:lnTo>
                      <a:pt x="362" y="592"/>
                    </a:lnTo>
                    <a:lnTo>
                      <a:pt x="366" y="588"/>
                    </a:lnTo>
                    <a:lnTo>
                      <a:pt x="366" y="582"/>
                    </a:lnTo>
                    <a:lnTo>
                      <a:pt x="364" y="580"/>
                    </a:lnTo>
                    <a:lnTo>
                      <a:pt x="362" y="578"/>
                    </a:lnTo>
                    <a:lnTo>
                      <a:pt x="362" y="578"/>
                    </a:lnTo>
                    <a:lnTo>
                      <a:pt x="358" y="574"/>
                    </a:lnTo>
                    <a:lnTo>
                      <a:pt x="356" y="570"/>
                    </a:lnTo>
                    <a:lnTo>
                      <a:pt x="352" y="568"/>
                    </a:lnTo>
                    <a:lnTo>
                      <a:pt x="344" y="566"/>
                    </a:lnTo>
                    <a:lnTo>
                      <a:pt x="344" y="566"/>
                    </a:lnTo>
                    <a:lnTo>
                      <a:pt x="338" y="564"/>
                    </a:lnTo>
                    <a:lnTo>
                      <a:pt x="338" y="562"/>
                    </a:lnTo>
                    <a:lnTo>
                      <a:pt x="338" y="560"/>
                    </a:lnTo>
                    <a:lnTo>
                      <a:pt x="342" y="556"/>
                    </a:lnTo>
                    <a:lnTo>
                      <a:pt x="342" y="552"/>
                    </a:lnTo>
                    <a:lnTo>
                      <a:pt x="342" y="548"/>
                    </a:lnTo>
                    <a:lnTo>
                      <a:pt x="308" y="548"/>
                    </a:lnTo>
                    <a:lnTo>
                      <a:pt x="308" y="548"/>
                    </a:lnTo>
                    <a:lnTo>
                      <a:pt x="298" y="534"/>
                    </a:lnTo>
                    <a:lnTo>
                      <a:pt x="296" y="530"/>
                    </a:lnTo>
                    <a:lnTo>
                      <a:pt x="298" y="530"/>
                    </a:lnTo>
                    <a:lnTo>
                      <a:pt x="298" y="530"/>
                    </a:lnTo>
                    <a:lnTo>
                      <a:pt x="298" y="528"/>
                    </a:lnTo>
                    <a:lnTo>
                      <a:pt x="298" y="528"/>
                    </a:lnTo>
                    <a:lnTo>
                      <a:pt x="296" y="524"/>
                    </a:lnTo>
                    <a:lnTo>
                      <a:pt x="298" y="522"/>
                    </a:lnTo>
                    <a:lnTo>
                      <a:pt x="298" y="518"/>
                    </a:lnTo>
                    <a:lnTo>
                      <a:pt x="296" y="514"/>
                    </a:lnTo>
                    <a:lnTo>
                      <a:pt x="296" y="514"/>
                    </a:lnTo>
                    <a:lnTo>
                      <a:pt x="296" y="506"/>
                    </a:lnTo>
                    <a:lnTo>
                      <a:pt x="296" y="502"/>
                    </a:lnTo>
                    <a:lnTo>
                      <a:pt x="294" y="498"/>
                    </a:lnTo>
                    <a:lnTo>
                      <a:pt x="284" y="492"/>
                    </a:lnTo>
                    <a:lnTo>
                      <a:pt x="284" y="492"/>
                    </a:lnTo>
                    <a:lnTo>
                      <a:pt x="272" y="488"/>
                    </a:lnTo>
                    <a:lnTo>
                      <a:pt x="270" y="484"/>
                    </a:lnTo>
                    <a:lnTo>
                      <a:pt x="268" y="482"/>
                    </a:lnTo>
                    <a:lnTo>
                      <a:pt x="260" y="478"/>
                    </a:lnTo>
                    <a:lnTo>
                      <a:pt x="260" y="478"/>
                    </a:lnTo>
                    <a:lnTo>
                      <a:pt x="250" y="474"/>
                    </a:lnTo>
                    <a:lnTo>
                      <a:pt x="248" y="470"/>
                    </a:lnTo>
                    <a:lnTo>
                      <a:pt x="246" y="466"/>
                    </a:lnTo>
                    <a:lnTo>
                      <a:pt x="240" y="464"/>
                    </a:lnTo>
                    <a:lnTo>
                      <a:pt x="240" y="464"/>
                    </a:lnTo>
                    <a:lnTo>
                      <a:pt x="238" y="464"/>
                    </a:lnTo>
                    <a:lnTo>
                      <a:pt x="234" y="462"/>
                    </a:lnTo>
                    <a:lnTo>
                      <a:pt x="230" y="458"/>
                    </a:lnTo>
                    <a:lnTo>
                      <a:pt x="224" y="454"/>
                    </a:lnTo>
                    <a:lnTo>
                      <a:pt x="220" y="454"/>
                    </a:lnTo>
                    <a:lnTo>
                      <a:pt x="214" y="454"/>
                    </a:lnTo>
                    <a:lnTo>
                      <a:pt x="214" y="454"/>
                    </a:lnTo>
                    <a:lnTo>
                      <a:pt x="206" y="454"/>
                    </a:lnTo>
                    <a:lnTo>
                      <a:pt x="202" y="452"/>
                    </a:lnTo>
                    <a:lnTo>
                      <a:pt x="198" y="448"/>
                    </a:lnTo>
                    <a:lnTo>
                      <a:pt x="196" y="444"/>
                    </a:lnTo>
                    <a:lnTo>
                      <a:pt x="192" y="440"/>
                    </a:lnTo>
                    <a:lnTo>
                      <a:pt x="192" y="440"/>
                    </a:lnTo>
                    <a:lnTo>
                      <a:pt x="188" y="438"/>
                    </a:lnTo>
                    <a:lnTo>
                      <a:pt x="186" y="434"/>
                    </a:lnTo>
                    <a:lnTo>
                      <a:pt x="182" y="420"/>
                    </a:lnTo>
                    <a:lnTo>
                      <a:pt x="182" y="394"/>
                    </a:lnTo>
                    <a:lnTo>
                      <a:pt x="182" y="394"/>
                    </a:lnTo>
                    <a:lnTo>
                      <a:pt x="180" y="390"/>
                    </a:lnTo>
                    <a:lnTo>
                      <a:pt x="176" y="390"/>
                    </a:lnTo>
                    <a:lnTo>
                      <a:pt x="166" y="390"/>
                    </a:lnTo>
                    <a:lnTo>
                      <a:pt x="154" y="394"/>
                    </a:lnTo>
                    <a:lnTo>
                      <a:pt x="148" y="398"/>
                    </a:lnTo>
                    <a:lnTo>
                      <a:pt x="148" y="398"/>
                    </a:lnTo>
                    <a:lnTo>
                      <a:pt x="142" y="404"/>
                    </a:lnTo>
                    <a:lnTo>
                      <a:pt x="136" y="406"/>
                    </a:lnTo>
                    <a:lnTo>
                      <a:pt x="132" y="408"/>
                    </a:lnTo>
                    <a:lnTo>
                      <a:pt x="132" y="412"/>
                    </a:lnTo>
                    <a:lnTo>
                      <a:pt x="132" y="412"/>
                    </a:lnTo>
                    <a:lnTo>
                      <a:pt x="130" y="416"/>
                    </a:lnTo>
                    <a:lnTo>
                      <a:pt x="128" y="418"/>
                    </a:lnTo>
                    <a:lnTo>
                      <a:pt x="124" y="418"/>
                    </a:lnTo>
                    <a:lnTo>
                      <a:pt x="118" y="420"/>
                    </a:lnTo>
                    <a:lnTo>
                      <a:pt x="118" y="420"/>
                    </a:lnTo>
                    <a:lnTo>
                      <a:pt x="114" y="424"/>
                    </a:lnTo>
                    <a:lnTo>
                      <a:pt x="110" y="424"/>
                    </a:lnTo>
                    <a:lnTo>
                      <a:pt x="104" y="420"/>
                    </a:lnTo>
                    <a:lnTo>
                      <a:pt x="98" y="420"/>
                    </a:lnTo>
                    <a:lnTo>
                      <a:pt x="90" y="420"/>
                    </a:lnTo>
                    <a:lnTo>
                      <a:pt x="90" y="420"/>
                    </a:lnTo>
                    <a:lnTo>
                      <a:pt x="84" y="422"/>
                    </a:lnTo>
                    <a:lnTo>
                      <a:pt x="80" y="424"/>
                    </a:lnTo>
                    <a:lnTo>
                      <a:pt x="78" y="422"/>
                    </a:lnTo>
                    <a:lnTo>
                      <a:pt x="76" y="422"/>
                    </a:lnTo>
                    <a:lnTo>
                      <a:pt x="74" y="414"/>
                    </a:lnTo>
                    <a:lnTo>
                      <a:pt x="72" y="406"/>
                    </a:lnTo>
                    <a:lnTo>
                      <a:pt x="72" y="406"/>
                    </a:lnTo>
                    <a:lnTo>
                      <a:pt x="70" y="394"/>
                    </a:lnTo>
                    <a:lnTo>
                      <a:pt x="70" y="390"/>
                    </a:lnTo>
                    <a:lnTo>
                      <a:pt x="72" y="386"/>
                    </a:lnTo>
                    <a:lnTo>
                      <a:pt x="72" y="386"/>
                    </a:lnTo>
                    <a:lnTo>
                      <a:pt x="74" y="382"/>
                    </a:lnTo>
                    <a:lnTo>
                      <a:pt x="72" y="380"/>
                    </a:lnTo>
                    <a:lnTo>
                      <a:pt x="70" y="378"/>
                    </a:lnTo>
                    <a:lnTo>
                      <a:pt x="68" y="380"/>
                    </a:lnTo>
                    <a:lnTo>
                      <a:pt x="68" y="380"/>
                    </a:lnTo>
                    <a:lnTo>
                      <a:pt x="56" y="390"/>
                    </a:lnTo>
                    <a:lnTo>
                      <a:pt x="52" y="392"/>
                    </a:lnTo>
                    <a:lnTo>
                      <a:pt x="42" y="392"/>
                    </a:lnTo>
                    <a:lnTo>
                      <a:pt x="42" y="392"/>
                    </a:lnTo>
                    <a:lnTo>
                      <a:pt x="36" y="392"/>
                    </a:lnTo>
                    <a:lnTo>
                      <a:pt x="32" y="390"/>
                    </a:lnTo>
                    <a:lnTo>
                      <a:pt x="30" y="390"/>
                    </a:lnTo>
                    <a:lnTo>
                      <a:pt x="28" y="388"/>
                    </a:lnTo>
                    <a:lnTo>
                      <a:pt x="28" y="384"/>
                    </a:lnTo>
                    <a:lnTo>
                      <a:pt x="26" y="382"/>
                    </a:lnTo>
                    <a:lnTo>
                      <a:pt x="24" y="382"/>
                    </a:lnTo>
                    <a:lnTo>
                      <a:pt x="24" y="382"/>
                    </a:lnTo>
                    <a:lnTo>
                      <a:pt x="18" y="382"/>
                    </a:lnTo>
                    <a:lnTo>
                      <a:pt x="20" y="378"/>
                    </a:lnTo>
                    <a:lnTo>
                      <a:pt x="22" y="374"/>
                    </a:lnTo>
                    <a:lnTo>
                      <a:pt x="20" y="372"/>
                    </a:lnTo>
                    <a:lnTo>
                      <a:pt x="18" y="368"/>
                    </a:lnTo>
                    <a:lnTo>
                      <a:pt x="18" y="368"/>
                    </a:lnTo>
                    <a:lnTo>
                      <a:pt x="14" y="362"/>
                    </a:lnTo>
                    <a:lnTo>
                      <a:pt x="10" y="354"/>
                    </a:lnTo>
                    <a:lnTo>
                      <a:pt x="8" y="346"/>
                    </a:lnTo>
                    <a:lnTo>
                      <a:pt x="4" y="340"/>
                    </a:lnTo>
                    <a:lnTo>
                      <a:pt x="4" y="340"/>
                    </a:lnTo>
                    <a:lnTo>
                      <a:pt x="0" y="332"/>
                    </a:lnTo>
                    <a:lnTo>
                      <a:pt x="0" y="330"/>
                    </a:lnTo>
                    <a:lnTo>
                      <a:pt x="2" y="328"/>
                    </a:lnTo>
                    <a:lnTo>
                      <a:pt x="2" y="328"/>
                    </a:lnTo>
                    <a:lnTo>
                      <a:pt x="2" y="328"/>
                    </a:lnTo>
                    <a:lnTo>
                      <a:pt x="0" y="324"/>
                    </a:lnTo>
                    <a:lnTo>
                      <a:pt x="0" y="320"/>
                    </a:lnTo>
                    <a:lnTo>
                      <a:pt x="2" y="316"/>
                    </a:lnTo>
                    <a:lnTo>
                      <a:pt x="4" y="314"/>
                    </a:lnTo>
                    <a:lnTo>
                      <a:pt x="10" y="308"/>
                    </a:lnTo>
                    <a:lnTo>
                      <a:pt x="12" y="306"/>
                    </a:lnTo>
                    <a:lnTo>
                      <a:pt x="14" y="300"/>
                    </a:lnTo>
                    <a:lnTo>
                      <a:pt x="14" y="300"/>
                    </a:lnTo>
                    <a:lnTo>
                      <a:pt x="16" y="292"/>
                    </a:lnTo>
                    <a:lnTo>
                      <a:pt x="18" y="286"/>
                    </a:lnTo>
                    <a:lnTo>
                      <a:pt x="20" y="282"/>
                    </a:lnTo>
                    <a:lnTo>
                      <a:pt x="22" y="278"/>
                    </a:lnTo>
                    <a:lnTo>
                      <a:pt x="22" y="278"/>
                    </a:lnTo>
                    <a:lnTo>
                      <a:pt x="24" y="274"/>
                    </a:lnTo>
                    <a:lnTo>
                      <a:pt x="28" y="270"/>
                    </a:lnTo>
                    <a:lnTo>
                      <a:pt x="32" y="266"/>
                    </a:lnTo>
                    <a:lnTo>
                      <a:pt x="38" y="262"/>
                    </a:lnTo>
                    <a:lnTo>
                      <a:pt x="38" y="262"/>
                    </a:lnTo>
                    <a:lnTo>
                      <a:pt x="46" y="254"/>
                    </a:lnTo>
                    <a:lnTo>
                      <a:pt x="52" y="250"/>
                    </a:lnTo>
                    <a:lnTo>
                      <a:pt x="58" y="250"/>
                    </a:lnTo>
                    <a:lnTo>
                      <a:pt x="60" y="246"/>
                    </a:lnTo>
                    <a:lnTo>
                      <a:pt x="60" y="246"/>
                    </a:lnTo>
                    <a:lnTo>
                      <a:pt x="64" y="244"/>
                    </a:lnTo>
                    <a:lnTo>
                      <a:pt x="66" y="244"/>
                    </a:lnTo>
                    <a:lnTo>
                      <a:pt x="68" y="244"/>
                    </a:lnTo>
                    <a:lnTo>
                      <a:pt x="72" y="240"/>
                    </a:lnTo>
                    <a:lnTo>
                      <a:pt x="72" y="240"/>
                    </a:lnTo>
                    <a:lnTo>
                      <a:pt x="74" y="230"/>
                    </a:lnTo>
                    <a:lnTo>
                      <a:pt x="76" y="220"/>
                    </a:lnTo>
                    <a:lnTo>
                      <a:pt x="80" y="196"/>
                    </a:lnTo>
                    <a:lnTo>
                      <a:pt x="82" y="172"/>
                    </a:lnTo>
                    <a:lnTo>
                      <a:pt x="84" y="160"/>
                    </a:lnTo>
                    <a:lnTo>
                      <a:pt x="84" y="160"/>
                    </a:lnTo>
                    <a:lnTo>
                      <a:pt x="84" y="158"/>
                    </a:lnTo>
                    <a:lnTo>
                      <a:pt x="84" y="156"/>
                    </a:lnTo>
                    <a:lnTo>
                      <a:pt x="80" y="148"/>
                    </a:lnTo>
                    <a:lnTo>
                      <a:pt x="76" y="138"/>
                    </a:lnTo>
                    <a:lnTo>
                      <a:pt x="72" y="130"/>
                    </a:lnTo>
                    <a:lnTo>
                      <a:pt x="72" y="130"/>
                    </a:lnTo>
                    <a:lnTo>
                      <a:pt x="70" y="126"/>
                    </a:lnTo>
                    <a:lnTo>
                      <a:pt x="72" y="124"/>
                    </a:lnTo>
                    <a:lnTo>
                      <a:pt x="76" y="120"/>
                    </a:lnTo>
                    <a:lnTo>
                      <a:pt x="80" y="120"/>
                    </a:lnTo>
                    <a:lnTo>
                      <a:pt x="86" y="120"/>
                    </a:lnTo>
                    <a:lnTo>
                      <a:pt x="86" y="120"/>
                    </a:lnTo>
                    <a:lnTo>
                      <a:pt x="88" y="120"/>
                    </a:lnTo>
                    <a:lnTo>
                      <a:pt x="88" y="120"/>
                    </a:lnTo>
                    <a:lnTo>
                      <a:pt x="88" y="114"/>
                    </a:lnTo>
                    <a:lnTo>
                      <a:pt x="86" y="110"/>
                    </a:lnTo>
                    <a:lnTo>
                      <a:pt x="84" y="108"/>
                    </a:lnTo>
                    <a:lnTo>
                      <a:pt x="82" y="108"/>
                    </a:lnTo>
                    <a:lnTo>
                      <a:pt x="82" y="108"/>
                    </a:lnTo>
                    <a:lnTo>
                      <a:pt x="78" y="106"/>
                    </a:lnTo>
                    <a:lnTo>
                      <a:pt x="76" y="104"/>
                    </a:lnTo>
                    <a:lnTo>
                      <a:pt x="76" y="98"/>
                    </a:lnTo>
                    <a:lnTo>
                      <a:pt x="76" y="98"/>
                    </a:lnTo>
                    <a:lnTo>
                      <a:pt x="92" y="96"/>
                    </a:lnTo>
                    <a:lnTo>
                      <a:pt x="106" y="94"/>
                    </a:lnTo>
                    <a:lnTo>
                      <a:pt x="106" y="94"/>
                    </a:lnTo>
                    <a:lnTo>
                      <a:pt x="112" y="92"/>
                    </a:lnTo>
                    <a:lnTo>
                      <a:pt x="112" y="90"/>
                    </a:lnTo>
                    <a:lnTo>
                      <a:pt x="110" y="88"/>
                    </a:lnTo>
                    <a:lnTo>
                      <a:pt x="112" y="88"/>
                    </a:lnTo>
                    <a:lnTo>
                      <a:pt x="112" y="88"/>
                    </a:lnTo>
                    <a:lnTo>
                      <a:pt x="116" y="88"/>
                    </a:lnTo>
                    <a:lnTo>
                      <a:pt x="118" y="90"/>
                    </a:lnTo>
                    <a:lnTo>
                      <a:pt x="118" y="92"/>
                    </a:lnTo>
                    <a:lnTo>
                      <a:pt x="120" y="92"/>
                    </a:lnTo>
                    <a:lnTo>
                      <a:pt x="120" y="92"/>
                    </a:lnTo>
                    <a:lnTo>
                      <a:pt x="122" y="92"/>
                    </a:lnTo>
                    <a:lnTo>
                      <a:pt x="122" y="90"/>
                    </a:lnTo>
                    <a:lnTo>
                      <a:pt x="124" y="88"/>
                    </a:lnTo>
                    <a:lnTo>
                      <a:pt x="126" y="88"/>
                    </a:lnTo>
                    <a:lnTo>
                      <a:pt x="126" y="88"/>
                    </a:lnTo>
                    <a:lnTo>
                      <a:pt x="128" y="88"/>
                    </a:lnTo>
                    <a:lnTo>
                      <a:pt x="128" y="90"/>
                    </a:lnTo>
                    <a:lnTo>
                      <a:pt x="128" y="96"/>
                    </a:lnTo>
                    <a:lnTo>
                      <a:pt x="128" y="102"/>
                    </a:lnTo>
                    <a:lnTo>
                      <a:pt x="130" y="104"/>
                    </a:lnTo>
                    <a:lnTo>
                      <a:pt x="134" y="104"/>
                    </a:lnTo>
                    <a:lnTo>
                      <a:pt x="134" y="104"/>
                    </a:lnTo>
                    <a:lnTo>
                      <a:pt x="138" y="108"/>
                    </a:lnTo>
                    <a:lnTo>
                      <a:pt x="140" y="108"/>
                    </a:lnTo>
                    <a:lnTo>
                      <a:pt x="142" y="108"/>
                    </a:lnTo>
                    <a:lnTo>
                      <a:pt x="142" y="108"/>
                    </a:lnTo>
                    <a:lnTo>
                      <a:pt x="146" y="110"/>
                    </a:lnTo>
                    <a:lnTo>
                      <a:pt x="152" y="114"/>
                    </a:lnTo>
                    <a:lnTo>
                      <a:pt x="158" y="116"/>
                    </a:lnTo>
                    <a:lnTo>
                      <a:pt x="160" y="116"/>
                    </a:lnTo>
                    <a:lnTo>
                      <a:pt x="162" y="116"/>
                    </a:lnTo>
                    <a:lnTo>
                      <a:pt x="162" y="116"/>
                    </a:lnTo>
                    <a:lnTo>
                      <a:pt x="168" y="114"/>
                    </a:lnTo>
                    <a:lnTo>
                      <a:pt x="170" y="114"/>
                    </a:lnTo>
                    <a:lnTo>
                      <a:pt x="174" y="114"/>
                    </a:lnTo>
                    <a:lnTo>
                      <a:pt x="178" y="110"/>
                    </a:lnTo>
                    <a:lnTo>
                      <a:pt x="178" y="110"/>
                    </a:lnTo>
                    <a:lnTo>
                      <a:pt x="186" y="102"/>
                    </a:lnTo>
                    <a:lnTo>
                      <a:pt x="190" y="100"/>
                    </a:lnTo>
                    <a:lnTo>
                      <a:pt x="192" y="100"/>
                    </a:lnTo>
                    <a:lnTo>
                      <a:pt x="194" y="98"/>
                    </a:lnTo>
                    <a:lnTo>
                      <a:pt x="194" y="98"/>
                    </a:lnTo>
                    <a:lnTo>
                      <a:pt x="196" y="96"/>
                    </a:lnTo>
                    <a:lnTo>
                      <a:pt x="198" y="96"/>
                    </a:lnTo>
                    <a:lnTo>
                      <a:pt x="200" y="96"/>
                    </a:lnTo>
                    <a:lnTo>
                      <a:pt x="202" y="90"/>
                    </a:lnTo>
                    <a:lnTo>
                      <a:pt x="202" y="90"/>
                    </a:lnTo>
                    <a:lnTo>
                      <a:pt x="202" y="84"/>
                    </a:lnTo>
                    <a:lnTo>
                      <a:pt x="206" y="82"/>
                    </a:lnTo>
                    <a:lnTo>
                      <a:pt x="210" y="82"/>
                    </a:lnTo>
                    <a:lnTo>
                      <a:pt x="218" y="78"/>
                    </a:lnTo>
                    <a:lnTo>
                      <a:pt x="218" y="78"/>
                    </a:lnTo>
                    <a:lnTo>
                      <a:pt x="216" y="70"/>
                    </a:lnTo>
                    <a:lnTo>
                      <a:pt x="210" y="70"/>
                    </a:lnTo>
                    <a:lnTo>
                      <a:pt x="210" y="70"/>
                    </a:lnTo>
                    <a:lnTo>
                      <a:pt x="206" y="70"/>
                    </a:lnTo>
                    <a:lnTo>
                      <a:pt x="202" y="68"/>
                    </a:lnTo>
                    <a:lnTo>
                      <a:pt x="198" y="62"/>
                    </a:lnTo>
                    <a:lnTo>
                      <a:pt x="196" y="54"/>
                    </a:lnTo>
                    <a:lnTo>
                      <a:pt x="198" y="46"/>
                    </a:lnTo>
                    <a:lnTo>
                      <a:pt x="198" y="46"/>
                    </a:lnTo>
                    <a:lnTo>
                      <a:pt x="198" y="42"/>
                    </a:lnTo>
                    <a:lnTo>
                      <a:pt x="198" y="38"/>
                    </a:lnTo>
                    <a:lnTo>
                      <a:pt x="192" y="32"/>
                    </a:lnTo>
                    <a:lnTo>
                      <a:pt x="188" y="28"/>
                    </a:lnTo>
                    <a:lnTo>
                      <a:pt x="188" y="26"/>
                    </a:lnTo>
                    <a:lnTo>
                      <a:pt x="192" y="24"/>
                    </a:lnTo>
                    <a:lnTo>
                      <a:pt x="192" y="24"/>
                    </a:lnTo>
                    <a:lnTo>
                      <a:pt x="198" y="24"/>
                    </a:lnTo>
                    <a:lnTo>
                      <a:pt x="202" y="24"/>
                    </a:lnTo>
                    <a:lnTo>
                      <a:pt x="210" y="28"/>
                    </a:lnTo>
                    <a:lnTo>
                      <a:pt x="216" y="30"/>
                    </a:lnTo>
                    <a:lnTo>
                      <a:pt x="218" y="30"/>
                    </a:lnTo>
                    <a:lnTo>
                      <a:pt x="224" y="30"/>
                    </a:lnTo>
                    <a:lnTo>
                      <a:pt x="224" y="30"/>
                    </a:lnTo>
                    <a:lnTo>
                      <a:pt x="232" y="28"/>
                    </a:lnTo>
                    <a:lnTo>
                      <a:pt x="238" y="30"/>
                    </a:lnTo>
                    <a:lnTo>
                      <a:pt x="240" y="30"/>
                    </a:lnTo>
                    <a:lnTo>
                      <a:pt x="242" y="30"/>
                    </a:lnTo>
                    <a:lnTo>
                      <a:pt x="242" y="30"/>
                    </a:lnTo>
                    <a:lnTo>
                      <a:pt x="244" y="28"/>
                    </a:lnTo>
                    <a:lnTo>
                      <a:pt x="244" y="28"/>
                    </a:lnTo>
                    <a:lnTo>
                      <a:pt x="242" y="26"/>
                    </a:lnTo>
                    <a:lnTo>
                      <a:pt x="244" y="26"/>
                    </a:lnTo>
                    <a:lnTo>
                      <a:pt x="244" y="26"/>
                    </a:lnTo>
                    <a:lnTo>
                      <a:pt x="250" y="24"/>
                    </a:lnTo>
                    <a:lnTo>
                      <a:pt x="256" y="22"/>
                    </a:lnTo>
                    <a:lnTo>
                      <a:pt x="264" y="16"/>
                    </a:lnTo>
                    <a:lnTo>
                      <a:pt x="264" y="16"/>
                    </a:lnTo>
                    <a:lnTo>
                      <a:pt x="268" y="12"/>
                    </a:lnTo>
                    <a:lnTo>
                      <a:pt x="272" y="10"/>
                    </a:lnTo>
                    <a:lnTo>
                      <a:pt x="274" y="8"/>
                    </a:lnTo>
                    <a:lnTo>
                      <a:pt x="276" y="0"/>
                    </a:lnTo>
                    <a:lnTo>
                      <a:pt x="276" y="0"/>
                    </a:lnTo>
                    <a:lnTo>
                      <a:pt x="282" y="2"/>
                    </a:lnTo>
                    <a:lnTo>
                      <a:pt x="286" y="2"/>
                    </a:lnTo>
                    <a:lnTo>
                      <a:pt x="288" y="2"/>
                    </a:lnTo>
                    <a:lnTo>
                      <a:pt x="288" y="8"/>
                    </a:lnTo>
                    <a:lnTo>
                      <a:pt x="288" y="8"/>
                    </a:lnTo>
                    <a:lnTo>
                      <a:pt x="286" y="12"/>
                    </a:lnTo>
                    <a:lnTo>
                      <a:pt x="290" y="12"/>
                    </a:lnTo>
                    <a:lnTo>
                      <a:pt x="294" y="12"/>
                    </a:lnTo>
                    <a:lnTo>
                      <a:pt x="294" y="14"/>
                    </a:lnTo>
                    <a:lnTo>
                      <a:pt x="294" y="16"/>
                    </a:lnTo>
                    <a:lnTo>
                      <a:pt x="294" y="16"/>
                    </a:lnTo>
                    <a:lnTo>
                      <a:pt x="296" y="20"/>
                    </a:lnTo>
                    <a:lnTo>
                      <a:pt x="296" y="24"/>
                    </a:lnTo>
                    <a:lnTo>
                      <a:pt x="300" y="26"/>
                    </a:lnTo>
                    <a:lnTo>
                      <a:pt x="300" y="26"/>
                    </a:lnTo>
                    <a:lnTo>
                      <a:pt x="300" y="28"/>
                    </a:lnTo>
                    <a:lnTo>
                      <a:pt x="294" y="36"/>
                    </a:lnTo>
                    <a:lnTo>
                      <a:pt x="294" y="36"/>
                    </a:lnTo>
                    <a:lnTo>
                      <a:pt x="290" y="42"/>
                    </a:lnTo>
                    <a:lnTo>
                      <a:pt x="290" y="46"/>
                    </a:lnTo>
                    <a:lnTo>
                      <a:pt x="292" y="48"/>
                    </a:lnTo>
                    <a:lnTo>
                      <a:pt x="290" y="50"/>
                    </a:lnTo>
                    <a:lnTo>
                      <a:pt x="290" y="50"/>
                    </a:lnTo>
                    <a:lnTo>
                      <a:pt x="290" y="54"/>
                    </a:lnTo>
                    <a:lnTo>
                      <a:pt x="292" y="56"/>
                    </a:lnTo>
                    <a:lnTo>
                      <a:pt x="294" y="60"/>
                    </a:lnTo>
                    <a:lnTo>
                      <a:pt x="292" y="62"/>
                    </a:lnTo>
                    <a:lnTo>
                      <a:pt x="292" y="62"/>
                    </a:lnTo>
                    <a:lnTo>
                      <a:pt x="290" y="66"/>
                    </a:lnTo>
                    <a:lnTo>
                      <a:pt x="292" y="68"/>
                    </a:lnTo>
                    <a:lnTo>
                      <a:pt x="294" y="70"/>
                    </a:lnTo>
                    <a:lnTo>
                      <a:pt x="296" y="76"/>
                    </a:lnTo>
                    <a:lnTo>
                      <a:pt x="296" y="76"/>
                    </a:lnTo>
                    <a:lnTo>
                      <a:pt x="298" y="84"/>
                    </a:lnTo>
                    <a:lnTo>
                      <a:pt x="300" y="86"/>
                    </a:lnTo>
                    <a:lnTo>
                      <a:pt x="302" y="88"/>
                    </a:lnTo>
                    <a:lnTo>
                      <a:pt x="302" y="90"/>
                    </a:lnTo>
                    <a:lnTo>
                      <a:pt x="302" y="90"/>
                    </a:lnTo>
                    <a:lnTo>
                      <a:pt x="304" y="96"/>
                    </a:lnTo>
                    <a:lnTo>
                      <a:pt x="308" y="98"/>
                    </a:lnTo>
                    <a:lnTo>
                      <a:pt x="310" y="100"/>
                    </a:lnTo>
                    <a:lnTo>
                      <a:pt x="314" y="102"/>
                    </a:lnTo>
                    <a:lnTo>
                      <a:pt x="314" y="102"/>
                    </a:lnTo>
                    <a:lnTo>
                      <a:pt x="316" y="100"/>
                    </a:lnTo>
                    <a:lnTo>
                      <a:pt x="318" y="98"/>
                    </a:lnTo>
                    <a:lnTo>
                      <a:pt x="322" y="100"/>
                    </a:lnTo>
                    <a:lnTo>
                      <a:pt x="322" y="100"/>
                    </a:lnTo>
                    <a:lnTo>
                      <a:pt x="322" y="96"/>
                    </a:lnTo>
                    <a:lnTo>
                      <a:pt x="326" y="92"/>
                    </a:lnTo>
                    <a:lnTo>
                      <a:pt x="334" y="90"/>
                    </a:lnTo>
                    <a:lnTo>
                      <a:pt x="334" y="90"/>
                    </a:lnTo>
                    <a:lnTo>
                      <a:pt x="342" y="86"/>
                    </a:lnTo>
                    <a:lnTo>
                      <a:pt x="344" y="84"/>
                    </a:lnTo>
                    <a:lnTo>
                      <a:pt x="346" y="82"/>
                    </a:lnTo>
                    <a:lnTo>
                      <a:pt x="348" y="82"/>
                    </a:lnTo>
                    <a:lnTo>
                      <a:pt x="348" y="82"/>
                    </a:lnTo>
                    <a:lnTo>
                      <a:pt x="348" y="82"/>
                    </a:lnTo>
                    <a:lnTo>
                      <a:pt x="350" y="84"/>
                    </a:lnTo>
                    <a:lnTo>
                      <a:pt x="352" y="86"/>
                    </a:lnTo>
                    <a:lnTo>
                      <a:pt x="360" y="84"/>
                    </a:lnTo>
                    <a:lnTo>
                      <a:pt x="360" y="84"/>
                    </a:lnTo>
                    <a:lnTo>
                      <a:pt x="374" y="86"/>
                    </a:lnTo>
                    <a:lnTo>
                      <a:pt x="378" y="84"/>
                    </a:lnTo>
                    <a:lnTo>
                      <a:pt x="378" y="82"/>
                    </a:lnTo>
                    <a:lnTo>
                      <a:pt x="374" y="80"/>
                    </a:lnTo>
                    <a:lnTo>
                      <a:pt x="372" y="78"/>
                    </a:lnTo>
                    <a:lnTo>
                      <a:pt x="376" y="76"/>
                    </a:lnTo>
                    <a:lnTo>
                      <a:pt x="376" y="76"/>
                    </a:lnTo>
                    <a:lnTo>
                      <a:pt x="378" y="78"/>
                    </a:lnTo>
                    <a:lnTo>
                      <a:pt x="380" y="78"/>
                    </a:lnTo>
                    <a:lnTo>
                      <a:pt x="384" y="78"/>
                    </a:lnTo>
                    <a:lnTo>
                      <a:pt x="384" y="78"/>
                    </a:lnTo>
                    <a:lnTo>
                      <a:pt x="386" y="78"/>
                    </a:lnTo>
                    <a:lnTo>
                      <a:pt x="388" y="76"/>
                    </a:lnTo>
                    <a:lnTo>
                      <a:pt x="388" y="74"/>
                    </a:lnTo>
                    <a:lnTo>
                      <a:pt x="392" y="72"/>
                    </a:lnTo>
                    <a:lnTo>
                      <a:pt x="392" y="72"/>
                    </a:lnTo>
                    <a:lnTo>
                      <a:pt x="394" y="74"/>
                    </a:lnTo>
                    <a:lnTo>
                      <a:pt x="396" y="74"/>
                    </a:lnTo>
                    <a:lnTo>
                      <a:pt x="396" y="76"/>
                    </a:lnTo>
                    <a:lnTo>
                      <a:pt x="400" y="76"/>
                    </a:lnTo>
                    <a:lnTo>
                      <a:pt x="400" y="76"/>
                    </a:lnTo>
                    <a:lnTo>
                      <a:pt x="404" y="78"/>
                    </a:lnTo>
                    <a:lnTo>
                      <a:pt x="406" y="78"/>
                    </a:lnTo>
                    <a:lnTo>
                      <a:pt x="406" y="78"/>
                    </a:lnTo>
                    <a:lnTo>
                      <a:pt x="410" y="78"/>
                    </a:lnTo>
                    <a:lnTo>
                      <a:pt x="410" y="80"/>
                    </a:lnTo>
                    <a:lnTo>
                      <a:pt x="412" y="80"/>
                    </a:lnTo>
                    <a:lnTo>
                      <a:pt x="414" y="80"/>
                    </a:lnTo>
                    <a:lnTo>
                      <a:pt x="414" y="80"/>
                    </a:lnTo>
                    <a:lnTo>
                      <a:pt x="418" y="80"/>
                    </a:lnTo>
                    <a:lnTo>
                      <a:pt x="420" y="84"/>
                    </a:lnTo>
                    <a:lnTo>
                      <a:pt x="422" y="84"/>
                    </a:lnTo>
                    <a:lnTo>
                      <a:pt x="430" y="82"/>
                    </a:lnTo>
                    <a:lnTo>
                      <a:pt x="430" y="82"/>
                    </a:lnTo>
                    <a:lnTo>
                      <a:pt x="438" y="80"/>
                    </a:lnTo>
                    <a:lnTo>
                      <a:pt x="440" y="78"/>
                    </a:lnTo>
                    <a:lnTo>
                      <a:pt x="440" y="74"/>
                    </a:lnTo>
                    <a:lnTo>
                      <a:pt x="440" y="74"/>
                    </a:lnTo>
                    <a:lnTo>
                      <a:pt x="442" y="70"/>
                    </a:lnTo>
                    <a:lnTo>
                      <a:pt x="444" y="70"/>
                    </a:lnTo>
                    <a:lnTo>
                      <a:pt x="446" y="68"/>
                    </a:lnTo>
                    <a:lnTo>
                      <a:pt x="448" y="62"/>
                    </a:lnTo>
                    <a:lnTo>
                      <a:pt x="448" y="62"/>
                    </a:lnTo>
                    <a:lnTo>
                      <a:pt x="450" y="54"/>
                    </a:lnTo>
                    <a:lnTo>
                      <a:pt x="454" y="50"/>
                    </a:lnTo>
                    <a:lnTo>
                      <a:pt x="456" y="48"/>
                    </a:lnTo>
                    <a:lnTo>
                      <a:pt x="456" y="46"/>
                    </a:lnTo>
                    <a:lnTo>
                      <a:pt x="456" y="46"/>
                    </a:lnTo>
                    <a:lnTo>
                      <a:pt x="458" y="40"/>
                    </a:lnTo>
                    <a:lnTo>
                      <a:pt x="460" y="38"/>
                    </a:lnTo>
                    <a:lnTo>
                      <a:pt x="462" y="36"/>
                    </a:lnTo>
                    <a:lnTo>
                      <a:pt x="462" y="32"/>
                    </a:lnTo>
                    <a:lnTo>
                      <a:pt x="462" y="32"/>
                    </a:lnTo>
                    <a:lnTo>
                      <a:pt x="462" y="26"/>
                    </a:lnTo>
                    <a:lnTo>
                      <a:pt x="464" y="26"/>
                    </a:lnTo>
                    <a:lnTo>
                      <a:pt x="466" y="24"/>
                    </a:lnTo>
                    <a:lnTo>
                      <a:pt x="468" y="20"/>
                    </a:lnTo>
                    <a:lnTo>
                      <a:pt x="468" y="20"/>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Chile"/>
              <p:cNvSpPr>
                <a:spLocks/>
              </p:cNvSpPr>
              <p:nvPr/>
            </p:nvSpPr>
            <p:spPr bwMode="auto">
              <a:xfrm>
                <a:off x="3565849" y="4383171"/>
                <a:ext cx="370593" cy="1198759"/>
              </a:xfrm>
              <a:custGeom>
                <a:avLst/>
                <a:gdLst/>
                <a:ahLst/>
                <a:cxnLst>
                  <a:cxn ang="0">
                    <a:pos x="218" y="766"/>
                  </a:cxn>
                  <a:cxn ang="0">
                    <a:pos x="212" y="776"/>
                  </a:cxn>
                  <a:cxn ang="0">
                    <a:pos x="186" y="786"/>
                  </a:cxn>
                  <a:cxn ang="0">
                    <a:pos x="198" y="782"/>
                  </a:cxn>
                  <a:cxn ang="0">
                    <a:pos x="184" y="766"/>
                  </a:cxn>
                  <a:cxn ang="0">
                    <a:pos x="184" y="774"/>
                  </a:cxn>
                  <a:cxn ang="0">
                    <a:pos x="198" y="774"/>
                  </a:cxn>
                  <a:cxn ang="0">
                    <a:pos x="176" y="784"/>
                  </a:cxn>
                  <a:cxn ang="0">
                    <a:pos x="160" y="770"/>
                  </a:cxn>
                  <a:cxn ang="0">
                    <a:pos x="162" y="762"/>
                  </a:cxn>
                  <a:cxn ang="0">
                    <a:pos x="158" y="760"/>
                  </a:cxn>
                  <a:cxn ang="0">
                    <a:pos x="134" y="738"/>
                  </a:cxn>
                  <a:cxn ang="0">
                    <a:pos x="124" y="720"/>
                  </a:cxn>
                  <a:cxn ang="0">
                    <a:pos x="128" y="708"/>
                  </a:cxn>
                  <a:cxn ang="0">
                    <a:pos x="112" y="696"/>
                  </a:cxn>
                  <a:cxn ang="0">
                    <a:pos x="104" y="682"/>
                  </a:cxn>
                  <a:cxn ang="0">
                    <a:pos x="104" y="680"/>
                  </a:cxn>
                  <a:cxn ang="0">
                    <a:pos x="98" y="658"/>
                  </a:cxn>
                  <a:cxn ang="0">
                    <a:pos x="76" y="656"/>
                  </a:cxn>
                  <a:cxn ang="0">
                    <a:pos x="82" y="640"/>
                  </a:cxn>
                  <a:cxn ang="0">
                    <a:pos x="108" y="640"/>
                  </a:cxn>
                  <a:cxn ang="0">
                    <a:pos x="102" y="608"/>
                  </a:cxn>
                  <a:cxn ang="0">
                    <a:pos x="96" y="574"/>
                  </a:cxn>
                  <a:cxn ang="0">
                    <a:pos x="82" y="554"/>
                  </a:cxn>
                  <a:cxn ang="0">
                    <a:pos x="68" y="536"/>
                  </a:cxn>
                  <a:cxn ang="0">
                    <a:pos x="58" y="492"/>
                  </a:cxn>
                  <a:cxn ang="0">
                    <a:pos x="42" y="460"/>
                  </a:cxn>
                  <a:cxn ang="0">
                    <a:pos x="50" y="448"/>
                  </a:cxn>
                  <a:cxn ang="0">
                    <a:pos x="50" y="420"/>
                  </a:cxn>
                  <a:cxn ang="0">
                    <a:pos x="56" y="374"/>
                  </a:cxn>
                  <a:cxn ang="0">
                    <a:pos x="30" y="288"/>
                  </a:cxn>
                  <a:cxn ang="0">
                    <a:pos x="40" y="284"/>
                  </a:cxn>
                  <a:cxn ang="0">
                    <a:pos x="30" y="270"/>
                  </a:cxn>
                  <a:cxn ang="0">
                    <a:pos x="34" y="176"/>
                  </a:cxn>
                  <a:cxn ang="0">
                    <a:pos x="22" y="136"/>
                  </a:cxn>
                  <a:cxn ang="0">
                    <a:pos x="26" y="92"/>
                  </a:cxn>
                  <a:cxn ang="0">
                    <a:pos x="16" y="52"/>
                  </a:cxn>
                  <a:cxn ang="0">
                    <a:pos x="0" y="12"/>
                  </a:cxn>
                  <a:cxn ang="0">
                    <a:pos x="42" y="38"/>
                  </a:cxn>
                  <a:cxn ang="0">
                    <a:pos x="70" y="124"/>
                  </a:cxn>
                  <a:cxn ang="0">
                    <a:pos x="78" y="158"/>
                  </a:cxn>
                  <a:cxn ang="0">
                    <a:pos x="72" y="196"/>
                  </a:cxn>
                  <a:cxn ang="0">
                    <a:pos x="74" y="234"/>
                  </a:cxn>
                  <a:cxn ang="0">
                    <a:pos x="62" y="270"/>
                  </a:cxn>
                  <a:cxn ang="0">
                    <a:pos x="60" y="326"/>
                  </a:cxn>
                  <a:cxn ang="0">
                    <a:pos x="74" y="354"/>
                  </a:cxn>
                  <a:cxn ang="0">
                    <a:pos x="92" y="376"/>
                  </a:cxn>
                  <a:cxn ang="0">
                    <a:pos x="88" y="422"/>
                  </a:cxn>
                  <a:cxn ang="0">
                    <a:pos x="98" y="476"/>
                  </a:cxn>
                  <a:cxn ang="0">
                    <a:pos x="90" y="500"/>
                  </a:cxn>
                  <a:cxn ang="0">
                    <a:pos x="104" y="546"/>
                  </a:cxn>
                  <a:cxn ang="0">
                    <a:pos x="106" y="566"/>
                  </a:cxn>
                  <a:cxn ang="0">
                    <a:pos x="110" y="586"/>
                  </a:cxn>
                  <a:cxn ang="0">
                    <a:pos x="114" y="598"/>
                  </a:cxn>
                  <a:cxn ang="0">
                    <a:pos x="126" y="622"/>
                  </a:cxn>
                  <a:cxn ang="0">
                    <a:pos x="132" y="650"/>
                  </a:cxn>
                  <a:cxn ang="0">
                    <a:pos x="134" y="682"/>
                  </a:cxn>
                  <a:cxn ang="0">
                    <a:pos x="144" y="714"/>
                  </a:cxn>
                  <a:cxn ang="0">
                    <a:pos x="162" y="730"/>
                  </a:cxn>
                  <a:cxn ang="0">
                    <a:pos x="180" y="754"/>
                  </a:cxn>
                </a:cxnLst>
                <a:rect l="0" t="0" r="r" b="b"/>
                <a:pathLst>
                  <a:path w="244" h="790">
                    <a:moveTo>
                      <a:pt x="244" y="764"/>
                    </a:moveTo>
                    <a:lnTo>
                      <a:pt x="244" y="764"/>
                    </a:lnTo>
                    <a:lnTo>
                      <a:pt x="238" y="762"/>
                    </a:lnTo>
                    <a:lnTo>
                      <a:pt x="236" y="762"/>
                    </a:lnTo>
                    <a:lnTo>
                      <a:pt x="234" y="762"/>
                    </a:lnTo>
                    <a:lnTo>
                      <a:pt x="230" y="762"/>
                    </a:lnTo>
                    <a:lnTo>
                      <a:pt x="230" y="762"/>
                    </a:lnTo>
                    <a:lnTo>
                      <a:pt x="228" y="762"/>
                    </a:lnTo>
                    <a:lnTo>
                      <a:pt x="224" y="764"/>
                    </a:lnTo>
                    <a:lnTo>
                      <a:pt x="222" y="766"/>
                    </a:lnTo>
                    <a:lnTo>
                      <a:pt x="218" y="766"/>
                    </a:lnTo>
                    <a:lnTo>
                      <a:pt x="218" y="766"/>
                    </a:lnTo>
                    <a:lnTo>
                      <a:pt x="216" y="764"/>
                    </a:lnTo>
                    <a:lnTo>
                      <a:pt x="216" y="766"/>
                    </a:lnTo>
                    <a:lnTo>
                      <a:pt x="214" y="766"/>
                    </a:lnTo>
                    <a:lnTo>
                      <a:pt x="212" y="768"/>
                    </a:lnTo>
                    <a:lnTo>
                      <a:pt x="212" y="768"/>
                    </a:lnTo>
                    <a:lnTo>
                      <a:pt x="210" y="768"/>
                    </a:lnTo>
                    <a:lnTo>
                      <a:pt x="210" y="770"/>
                    </a:lnTo>
                    <a:lnTo>
                      <a:pt x="212" y="772"/>
                    </a:lnTo>
                    <a:lnTo>
                      <a:pt x="212" y="776"/>
                    </a:lnTo>
                    <a:lnTo>
                      <a:pt x="212" y="776"/>
                    </a:lnTo>
                    <a:lnTo>
                      <a:pt x="210" y="782"/>
                    </a:lnTo>
                    <a:lnTo>
                      <a:pt x="212" y="786"/>
                    </a:lnTo>
                    <a:lnTo>
                      <a:pt x="212" y="786"/>
                    </a:lnTo>
                    <a:lnTo>
                      <a:pt x="212" y="790"/>
                    </a:lnTo>
                    <a:lnTo>
                      <a:pt x="210" y="790"/>
                    </a:lnTo>
                    <a:lnTo>
                      <a:pt x="204" y="790"/>
                    </a:lnTo>
                    <a:lnTo>
                      <a:pt x="198" y="790"/>
                    </a:lnTo>
                    <a:lnTo>
                      <a:pt x="198" y="790"/>
                    </a:lnTo>
                    <a:lnTo>
                      <a:pt x="190" y="788"/>
                    </a:lnTo>
                    <a:lnTo>
                      <a:pt x="188" y="788"/>
                    </a:lnTo>
                    <a:lnTo>
                      <a:pt x="186" y="786"/>
                    </a:lnTo>
                    <a:lnTo>
                      <a:pt x="186" y="786"/>
                    </a:lnTo>
                    <a:lnTo>
                      <a:pt x="188" y="784"/>
                    </a:lnTo>
                    <a:lnTo>
                      <a:pt x="188" y="782"/>
                    </a:lnTo>
                    <a:lnTo>
                      <a:pt x="194" y="780"/>
                    </a:lnTo>
                    <a:lnTo>
                      <a:pt x="194" y="780"/>
                    </a:lnTo>
                    <a:lnTo>
                      <a:pt x="196" y="782"/>
                    </a:lnTo>
                    <a:lnTo>
                      <a:pt x="198" y="784"/>
                    </a:lnTo>
                    <a:lnTo>
                      <a:pt x="198" y="786"/>
                    </a:lnTo>
                    <a:lnTo>
                      <a:pt x="198" y="786"/>
                    </a:lnTo>
                    <a:lnTo>
                      <a:pt x="198" y="786"/>
                    </a:lnTo>
                    <a:lnTo>
                      <a:pt x="198" y="782"/>
                    </a:lnTo>
                    <a:lnTo>
                      <a:pt x="200" y="780"/>
                    </a:lnTo>
                    <a:lnTo>
                      <a:pt x="202" y="778"/>
                    </a:lnTo>
                    <a:lnTo>
                      <a:pt x="202" y="778"/>
                    </a:lnTo>
                    <a:lnTo>
                      <a:pt x="204" y="776"/>
                    </a:lnTo>
                    <a:lnTo>
                      <a:pt x="204" y="774"/>
                    </a:lnTo>
                    <a:lnTo>
                      <a:pt x="202" y="770"/>
                    </a:lnTo>
                    <a:lnTo>
                      <a:pt x="200" y="768"/>
                    </a:lnTo>
                    <a:lnTo>
                      <a:pt x="200" y="768"/>
                    </a:lnTo>
                    <a:lnTo>
                      <a:pt x="192" y="764"/>
                    </a:lnTo>
                    <a:lnTo>
                      <a:pt x="188" y="766"/>
                    </a:lnTo>
                    <a:lnTo>
                      <a:pt x="184" y="766"/>
                    </a:lnTo>
                    <a:lnTo>
                      <a:pt x="184" y="766"/>
                    </a:lnTo>
                    <a:lnTo>
                      <a:pt x="182" y="768"/>
                    </a:lnTo>
                    <a:lnTo>
                      <a:pt x="180" y="768"/>
                    </a:lnTo>
                    <a:lnTo>
                      <a:pt x="178" y="768"/>
                    </a:lnTo>
                    <a:lnTo>
                      <a:pt x="174" y="766"/>
                    </a:lnTo>
                    <a:lnTo>
                      <a:pt x="174" y="766"/>
                    </a:lnTo>
                    <a:lnTo>
                      <a:pt x="172" y="768"/>
                    </a:lnTo>
                    <a:lnTo>
                      <a:pt x="172" y="770"/>
                    </a:lnTo>
                    <a:lnTo>
                      <a:pt x="180" y="774"/>
                    </a:lnTo>
                    <a:lnTo>
                      <a:pt x="180" y="774"/>
                    </a:lnTo>
                    <a:lnTo>
                      <a:pt x="184" y="774"/>
                    </a:lnTo>
                    <a:lnTo>
                      <a:pt x="186" y="772"/>
                    </a:lnTo>
                    <a:lnTo>
                      <a:pt x="188" y="770"/>
                    </a:lnTo>
                    <a:lnTo>
                      <a:pt x="190" y="770"/>
                    </a:lnTo>
                    <a:lnTo>
                      <a:pt x="190" y="770"/>
                    </a:lnTo>
                    <a:lnTo>
                      <a:pt x="192" y="770"/>
                    </a:lnTo>
                    <a:lnTo>
                      <a:pt x="194" y="768"/>
                    </a:lnTo>
                    <a:lnTo>
                      <a:pt x="196" y="768"/>
                    </a:lnTo>
                    <a:lnTo>
                      <a:pt x="200" y="770"/>
                    </a:lnTo>
                    <a:lnTo>
                      <a:pt x="200" y="770"/>
                    </a:lnTo>
                    <a:lnTo>
                      <a:pt x="200" y="774"/>
                    </a:lnTo>
                    <a:lnTo>
                      <a:pt x="198" y="774"/>
                    </a:lnTo>
                    <a:lnTo>
                      <a:pt x="196" y="776"/>
                    </a:lnTo>
                    <a:lnTo>
                      <a:pt x="192" y="778"/>
                    </a:lnTo>
                    <a:lnTo>
                      <a:pt x="192" y="778"/>
                    </a:lnTo>
                    <a:lnTo>
                      <a:pt x="188" y="780"/>
                    </a:lnTo>
                    <a:lnTo>
                      <a:pt x="184" y="782"/>
                    </a:lnTo>
                    <a:lnTo>
                      <a:pt x="182" y="782"/>
                    </a:lnTo>
                    <a:lnTo>
                      <a:pt x="182" y="784"/>
                    </a:lnTo>
                    <a:lnTo>
                      <a:pt x="182" y="784"/>
                    </a:lnTo>
                    <a:lnTo>
                      <a:pt x="182" y="786"/>
                    </a:lnTo>
                    <a:lnTo>
                      <a:pt x="180" y="786"/>
                    </a:lnTo>
                    <a:lnTo>
                      <a:pt x="176" y="784"/>
                    </a:lnTo>
                    <a:lnTo>
                      <a:pt x="172" y="782"/>
                    </a:lnTo>
                    <a:lnTo>
                      <a:pt x="170" y="778"/>
                    </a:lnTo>
                    <a:lnTo>
                      <a:pt x="170" y="778"/>
                    </a:lnTo>
                    <a:lnTo>
                      <a:pt x="170" y="776"/>
                    </a:lnTo>
                    <a:lnTo>
                      <a:pt x="166" y="776"/>
                    </a:lnTo>
                    <a:lnTo>
                      <a:pt x="164" y="778"/>
                    </a:lnTo>
                    <a:lnTo>
                      <a:pt x="164" y="776"/>
                    </a:lnTo>
                    <a:lnTo>
                      <a:pt x="164" y="776"/>
                    </a:lnTo>
                    <a:lnTo>
                      <a:pt x="164" y="774"/>
                    </a:lnTo>
                    <a:lnTo>
                      <a:pt x="162" y="772"/>
                    </a:lnTo>
                    <a:lnTo>
                      <a:pt x="160" y="770"/>
                    </a:lnTo>
                    <a:lnTo>
                      <a:pt x="162" y="770"/>
                    </a:lnTo>
                    <a:lnTo>
                      <a:pt x="162" y="770"/>
                    </a:lnTo>
                    <a:lnTo>
                      <a:pt x="164" y="768"/>
                    </a:lnTo>
                    <a:lnTo>
                      <a:pt x="160" y="768"/>
                    </a:lnTo>
                    <a:lnTo>
                      <a:pt x="156" y="766"/>
                    </a:lnTo>
                    <a:lnTo>
                      <a:pt x="154" y="764"/>
                    </a:lnTo>
                    <a:lnTo>
                      <a:pt x="154" y="764"/>
                    </a:lnTo>
                    <a:lnTo>
                      <a:pt x="152" y="762"/>
                    </a:lnTo>
                    <a:lnTo>
                      <a:pt x="154" y="762"/>
                    </a:lnTo>
                    <a:lnTo>
                      <a:pt x="158" y="762"/>
                    </a:lnTo>
                    <a:lnTo>
                      <a:pt x="162" y="762"/>
                    </a:lnTo>
                    <a:lnTo>
                      <a:pt x="162" y="762"/>
                    </a:lnTo>
                    <a:lnTo>
                      <a:pt x="162" y="760"/>
                    </a:lnTo>
                    <a:lnTo>
                      <a:pt x="160" y="756"/>
                    </a:lnTo>
                    <a:lnTo>
                      <a:pt x="150" y="748"/>
                    </a:lnTo>
                    <a:lnTo>
                      <a:pt x="150" y="748"/>
                    </a:lnTo>
                    <a:lnTo>
                      <a:pt x="152" y="752"/>
                    </a:lnTo>
                    <a:lnTo>
                      <a:pt x="156" y="756"/>
                    </a:lnTo>
                    <a:lnTo>
                      <a:pt x="160" y="760"/>
                    </a:lnTo>
                    <a:lnTo>
                      <a:pt x="160" y="760"/>
                    </a:lnTo>
                    <a:lnTo>
                      <a:pt x="158" y="760"/>
                    </a:lnTo>
                    <a:lnTo>
                      <a:pt x="158" y="760"/>
                    </a:lnTo>
                    <a:lnTo>
                      <a:pt x="154" y="758"/>
                    </a:lnTo>
                    <a:lnTo>
                      <a:pt x="148" y="754"/>
                    </a:lnTo>
                    <a:lnTo>
                      <a:pt x="146" y="748"/>
                    </a:lnTo>
                    <a:lnTo>
                      <a:pt x="144" y="744"/>
                    </a:lnTo>
                    <a:lnTo>
                      <a:pt x="144" y="744"/>
                    </a:lnTo>
                    <a:lnTo>
                      <a:pt x="138" y="744"/>
                    </a:lnTo>
                    <a:lnTo>
                      <a:pt x="136" y="742"/>
                    </a:lnTo>
                    <a:lnTo>
                      <a:pt x="132" y="740"/>
                    </a:lnTo>
                    <a:lnTo>
                      <a:pt x="132" y="740"/>
                    </a:lnTo>
                    <a:lnTo>
                      <a:pt x="132" y="738"/>
                    </a:lnTo>
                    <a:lnTo>
                      <a:pt x="134" y="738"/>
                    </a:lnTo>
                    <a:lnTo>
                      <a:pt x="140" y="736"/>
                    </a:lnTo>
                    <a:lnTo>
                      <a:pt x="140" y="736"/>
                    </a:lnTo>
                    <a:lnTo>
                      <a:pt x="136" y="736"/>
                    </a:lnTo>
                    <a:lnTo>
                      <a:pt x="132" y="734"/>
                    </a:lnTo>
                    <a:lnTo>
                      <a:pt x="130" y="732"/>
                    </a:lnTo>
                    <a:lnTo>
                      <a:pt x="124" y="730"/>
                    </a:lnTo>
                    <a:lnTo>
                      <a:pt x="124" y="730"/>
                    </a:lnTo>
                    <a:lnTo>
                      <a:pt x="118" y="728"/>
                    </a:lnTo>
                    <a:lnTo>
                      <a:pt x="124" y="722"/>
                    </a:lnTo>
                    <a:lnTo>
                      <a:pt x="124" y="722"/>
                    </a:lnTo>
                    <a:lnTo>
                      <a:pt x="124" y="720"/>
                    </a:lnTo>
                    <a:lnTo>
                      <a:pt x="126" y="718"/>
                    </a:lnTo>
                    <a:lnTo>
                      <a:pt x="130" y="720"/>
                    </a:lnTo>
                    <a:lnTo>
                      <a:pt x="132" y="724"/>
                    </a:lnTo>
                    <a:lnTo>
                      <a:pt x="132" y="724"/>
                    </a:lnTo>
                    <a:lnTo>
                      <a:pt x="134" y="722"/>
                    </a:lnTo>
                    <a:lnTo>
                      <a:pt x="134" y="722"/>
                    </a:lnTo>
                    <a:lnTo>
                      <a:pt x="132" y="718"/>
                    </a:lnTo>
                    <a:lnTo>
                      <a:pt x="130" y="718"/>
                    </a:lnTo>
                    <a:lnTo>
                      <a:pt x="130" y="714"/>
                    </a:lnTo>
                    <a:lnTo>
                      <a:pt x="128" y="708"/>
                    </a:lnTo>
                    <a:lnTo>
                      <a:pt x="128" y="708"/>
                    </a:lnTo>
                    <a:lnTo>
                      <a:pt x="124" y="716"/>
                    </a:lnTo>
                    <a:lnTo>
                      <a:pt x="122" y="716"/>
                    </a:lnTo>
                    <a:lnTo>
                      <a:pt x="120" y="712"/>
                    </a:lnTo>
                    <a:lnTo>
                      <a:pt x="120" y="712"/>
                    </a:lnTo>
                    <a:lnTo>
                      <a:pt x="118" y="710"/>
                    </a:lnTo>
                    <a:lnTo>
                      <a:pt x="116" y="710"/>
                    </a:lnTo>
                    <a:lnTo>
                      <a:pt x="116" y="708"/>
                    </a:lnTo>
                    <a:lnTo>
                      <a:pt x="114" y="704"/>
                    </a:lnTo>
                    <a:lnTo>
                      <a:pt x="114" y="704"/>
                    </a:lnTo>
                    <a:lnTo>
                      <a:pt x="112" y="698"/>
                    </a:lnTo>
                    <a:lnTo>
                      <a:pt x="112" y="696"/>
                    </a:lnTo>
                    <a:lnTo>
                      <a:pt x="114" y="692"/>
                    </a:lnTo>
                    <a:lnTo>
                      <a:pt x="114" y="692"/>
                    </a:lnTo>
                    <a:lnTo>
                      <a:pt x="110" y="694"/>
                    </a:lnTo>
                    <a:lnTo>
                      <a:pt x="108" y="694"/>
                    </a:lnTo>
                    <a:lnTo>
                      <a:pt x="108" y="692"/>
                    </a:lnTo>
                    <a:lnTo>
                      <a:pt x="106" y="688"/>
                    </a:lnTo>
                    <a:lnTo>
                      <a:pt x="106" y="688"/>
                    </a:lnTo>
                    <a:lnTo>
                      <a:pt x="102" y="684"/>
                    </a:lnTo>
                    <a:lnTo>
                      <a:pt x="102" y="682"/>
                    </a:lnTo>
                    <a:lnTo>
                      <a:pt x="104" y="682"/>
                    </a:lnTo>
                    <a:lnTo>
                      <a:pt x="104" y="682"/>
                    </a:lnTo>
                    <a:lnTo>
                      <a:pt x="108" y="682"/>
                    </a:lnTo>
                    <a:lnTo>
                      <a:pt x="110" y="682"/>
                    </a:lnTo>
                    <a:lnTo>
                      <a:pt x="114" y="682"/>
                    </a:lnTo>
                    <a:lnTo>
                      <a:pt x="124" y="684"/>
                    </a:lnTo>
                    <a:lnTo>
                      <a:pt x="124" y="684"/>
                    </a:lnTo>
                    <a:lnTo>
                      <a:pt x="118" y="680"/>
                    </a:lnTo>
                    <a:lnTo>
                      <a:pt x="116" y="678"/>
                    </a:lnTo>
                    <a:lnTo>
                      <a:pt x="114" y="678"/>
                    </a:lnTo>
                    <a:lnTo>
                      <a:pt x="112" y="678"/>
                    </a:lnTo>
                    <a:lnTo>
                      <a:pt x="108" y="680"/>
                    </a:lnTo>
                    <a:lnTo>
                      <a:pt x="104" y="680"/>
                    </a:lnTo>
                    <a:lnTo>
                      <a:pt x="102" y="678"/>
                    </a:lnTo>
                    <a:lnTo>
                      <a:pt x="102" y="678"/>
                    </a:lnTo>
                    <a:lnTo>
                      <a:pt x="96" y="676"/>
                    </a:lnTo>
                    <a:lnTo>
                      <a:pt x="96" y="674"/>
                    </a:lnTo>
                    <a:lnTo>
                      <a:pt x="100" y="670"/>
                    </a:lnTo>
                    <a:lnTo>
                      <a:pt x="100" y="670"/>
                    </a:lnTo>
                    <a:lnTo>
                      <a:pt x="102" y="664"/>
                    </a:lnTo>
                    <a:lnTo>
                      <a:pt x="102" y="660"/>
                    </a:lnTo>
                    <a:lnTo>
                      <a:pt x="102" y="658"/>
                    </a:lnTo>
                    <a:lnTo>
                      <a:pt x="98" y="658"/>
                    </a:lnTo>
                    <a:lnTo>
                      <a:pt x="98" y="658"/>
                    </a:lnTo>
                    <a:lnTo>
                      <a:pt x="96" y="658"/>
                    </a:lnTo>
                    <a:lnTo>
                      <a:pt x="90" y="658"/>
                    </a:lnTo>
                    <a:lnTo>
                      <a:pt x="86" y="658"/>
                    </a:lnTo>
                    <a:lnTo>
                      <a:pt x="82" y="656"/>
                    </a:lnTo>
                    <a:lnTo>
                      <a:pt x="82" y="656"/>
                    </a:lnTo>
                    <a:lnTo>
                      <a:pt x="80" y="654"/>
                    </a:lnTo>
                    <a:lnTo>
                      <a:pt x="80" y="656"/>
                    </a:lnTo>
                    <a:lnTo>
                      <a:pt x="80" y="662"/>
                    </a:lnTo>
                    <a:lnTo>
                      <a:pt x="80" y="662"/>
                    </a:lnTo>
                    <a:lnTo>
                      <a:pt x="78" y="658"/>
                    </a:lnTo>
                    <a:lnTo>
                      <a:pt x="76" y="656"/>
                    </a:lnTo>
                    <a:lnTo>
                      <a:pt x="74" y="656"/>
                    </a:lnTo>
                    <a:lnTo>
                      <a:pt x="78" y="650"/>
                    </a:lnTo>
                    <a:lnTo>
                      <a:pt x="78" y="650"/>
                    </a:lnTo>
                    <a:lnTo>
                      <a:pt x="80" y="648"/>
                    </a:lnTo>
                    <a:lnTo>
                      <a:pt x="82" y="648"/>
                    </a:lnTo>
                    <a:lnTo>
                      <a:pt x="82" y="648"/>
                    </a:lnTo>
                    <a:lnTo>
                      <a:pt x="84" y="646"/>
                    </a:lnTo>
                    <a:lnTo>
                      <a:pt x="84" y="646"/>
                    </a:lnTo>
                    <a:lnTo>
                      <a:pt x="84" y="642"/>
                    </a:lnTo>
                    <a:lnTo>
                      <a:pt x="84" y="642"/>
                    </a:lnTo>
                    <a:lnTo>
                      <a:pt x="82" y="640"/>
                    </a:lnTo>
                    <a:lnTo>
                      <a:pt x="88" y="638"/>
                    </a:lnTo>
                    <a:lnTo>
                      <a:pt x="88" y="638"/>
                    </a:lnTo>
                    <a:lnTo>
                      <a:pt x="90" y="638"/>
                    </a:lnTo>
                    <a:lnTo>
                      <a:pt x="94" y="638"/>
                    </a:lnTo>
                    <a:lnTo>
                      <a:pt x="98" y="642"/>
                    </a:lnTo>
                    <a:lnTo>
                      <a:pt x="102" y="646"/>
                    </a:lnTo>
                    <a:lnTo>
                      <a:pt x="104" y="646"/>
                    </a:lnTo>
                    <a:lnTo>
                      <a:pt x="104" y="646"/>
                    </a:lnTo>
                    <a:lnTo>
                      <a:pt x="106" y="644"/>
                    </a:lnTo>
                    <a:lnTo>
                      <a:pt x="106" y="642"/>
                    </a:lnTo>
                    <a:lnTo>
                      <a:pt x="108" y="640"/>
                    </a:lnTo>
                    <a:lnTo>
                      <a:pt x="110" y="636"/>
                    </a:lnTo>
                    <a:lnTo>
                      <a:pt x="110" y="636"/>
                    </a:lnTo>
                    <a:lnTo>
                      <a:pt x="112" y="632"/>
                    </a:lnTo>
                    <a:lnTo>
                      <a:pt x="112" y="630"/>
                    </a:lnTo>
                    <a:lnTo>
                      <a:pt x="102" y="624"/>
                    </a:lnTo>
                    <a:lnTo>
                      <a:pt x="102" y="624"/>
                    </a:lnTo>
                    <a:lnTo>
                      <a:pt x="98" y="618"/>
                    </a:lnTo>
                    <a:lnTo>
                      <a:pt x="100" y="614"/>
                    </a:lnTo>
                    <a:lnTo>
                      <a:pt x="100" y="612"/>
                    </a:lnTo>
                    <a:lnTo>
                      <a:pt x="102" y="608"/>
                    </a:lnTo>
                    <a:lnTo>
                      <a:pt x="102" y="608"/>
                    </a:lnTo>
                    <a:lnTo>
                      <a:pt x="100" y="604"/>
                    </a:lnTo>
                    <a:lnTo>
                      <a:pt x="102" y="602"/>
                    </a:lnTo>
                    <a:lnTo>
                      <a:pt x="102" y="600"/>
                    </a:lnTo>
                    <a:lnTo>
                      <a:pt x="102" y="596"/>
                    </a:lnTo>
                    <a:lnTo>
                      <a:pt x="102" y="596"/>
                    </a:lnTo>
                    <a:lnTo>
                      <a:pt x="98" y="590"/>
                    </a:lnTo>
                    <a:lnTo>
                      <a:pt x="100" y="586"/>
                    </a:lnTo>
                    <a:lnTo>
                      <a:pt x="102" y="584"/>
                    </a:lnTo>
                    <a:lnTo>
                      <a:pt x="98" y="578"/>
                    </a:lnTo>
                    <a:lnTo>
                      <a:pt x="98" y="578"/>
                    </a:lnTo>
                    <a:lnTo>
                      <a:pt x="96" y="574"/>
                    </a:lnTo>
                    <a:lnTo>
                      <a:pt x="96" y="572"/>
                    </a:lnTo>
                    <a:lnTo>
                      <a:pt x="96" y="570"/>
                    </a:lnTo>
                    <a:lnTo>
                      <a:pt x="96" y="566"/>
                    </a:lnTo>
                    <a:lnTo>
                      <a:pt x="96" y="566"/>
                    </a:lnTo>
                    <a:lnTo>
                      <a:pt x="92" y="564"/>
                    </a:lnTo>
                    <a:lnTo>
                      <a:pt x="92" y="560"/>
                    </a:lnTo>
                    <a:lnTo>
                      <a:pt x="90" y="558"/>
                    </a:lnTo>
                    <a:lnTo>
                      <a:pt x="88" y="554"/>
                    </a:lnTo>
                    <a:lnTo>
                      <a:pt x="88" y="554"/>
                    </a:lnTo>
                    <a:lnTo>
                      <a:pt x="84" y="552"/>
                    </a:lnTo>
                    <a:lnTo>
                      <a:pt x="82" y="554"/>
                    </a:lnTo>
                    <a:lnTo>
                      <a:pt x="80" y="554"/>
                    </a:lnTo>
                    <a:lnTo>
                      <a:pt x="76" y="554"/>
                    </a:lnTo>
                    <a:lnTo>
                      <a:pt x="76" y="554"/>
                    </a:lnTo>
                    <a:lnTo>
                      <a:pt x="74" y="552"/>
                    </a:lnTo>
                    <a:lnTo>
                      <a:pt x="74" y="554"/>
                    </a:lnTo>
                    <a:lnTo>
                      <a:pt x="72" y="556"/>
                    </a:lnTo>
                    <a:lnTo>
                      <a:pt x="72" y="554"/>
                    </a:lnTo>
                    <a:lnTo>
                      <a:pt x="72" y="554"/>
                    </a:lnTo>
                    <a:lnTo>
                      <a:pt x="68" y="548"/>
                    </a:lnTo>
                    <a:lnTo>
                      <a:pt x="70" y="542"/>
                    </a:lnTo>
                    <a:lnTo>
                      <a:pt x="68" y="536"/>
                    </a:lnTo>
                    <a:lnTo>
                      <a:pt x="64" y="528"/>
                    </a:lnTo>
                    <a:lnTo>
                      <a:pt x="64" y="528"/>
                    </a:lnTo>
                    <a:lnTo>
                      <a:pt x="62" y="524"/>
                    </a:lnTo>
                    <a:lnTo>
                      <a:pt x="62" y="522"/>
                    </a:lnTo>
                    <a:lnTo>
                      <a:pt x="66" y="518"/>
                    </a:lnTo>
                    <a:lnTo>
                      <a:pt x="68" y="514"/>
                    </a:lnTo>
                    <a:lnTo>
                      <a:pt x="68" y="512"/>
                    </a:lnTo>
                    <a:lnTo>
                      <a:pt x="68" y="506"/>
                    </a:lnTo>
                    <a:lnTo>
                      <a:pt x="62" y="500"/>
                    </a:lnTo>
                    <a:lnTo>
                      <a:pt x="62" y="500"/>
                    </a:lnTo>
                    <a:lnTo>
                      <a:pt x="58" y="492"/>
                    </a:lnTo>
                    <a:lnTo>
                      <a:pt x="58" y="486"/>
                    </a:lnTo>
                    <a:lnTo>
                      <a:pt x="56" y="482"/>
                    </a:lnTo>
                    <a:lnTo>
                      <a:pt x="54" y="478"/>
                    </a:lnTo>
                    <a:lnTo>
                      <a:pt x="54" y="478"/>
                    </a:lnTo>
                    <a:lnTo>
                      <a:pt x="54" y="478"/>
                    </a:lnTo>
                    <a:lnTo>
                      <a:pt x="56" y="476"/>
                    </a:lnTo>
                    <a:lnTo>
                      <a:pt x="56" y="474"/>
                    </a:lnTo>
                    <a:lnTo>
                      <a:pt x="50" y="468"/>
                    </a:lnTo>
                    <a:lnTo>
                      <a:pt x="50" y="468"/>
                    </a:lnTo>
                    <a:lnTo>
                      <a:pt x="44" y="464"/>
                    </a:lnTo>
                    <a:lnTo>
                      <a:pt x="42" y="460"/>
                    </a:lnTo>
                    <a:lnTo>
                      <a:pt x="40" y="456"/>
                    </a:lnTo>
                    <a:lnTo>
                      <a:pt x="42" y="452"/>
                    </a:lnTo>
                    <a:lnTo>
                      <a:pt x="42" y="452"/>
                    </a:lnTo>
                    <a:lnTo>
                      <a:pt x="42" y="448"/>
                    </a:lnTo>
                    <a:lnTo>
                      <a:pt x="44" y="448"/>
                    </a:lnTo>
                    <a:lnTo>
                      <a:pt x="44" y="452"/>
                    </a:lnTo>
                    <a:lnTo>
                      <a:pt x="44" y="452"/>
                    </a:lnTo>
                    <a:lnTo>
                      <a:pt x="46" y="454"/>
                    </a:lnTo>
                    <a:lnTo>
                      <a:pt x="48" y="456"/>
                    </a:lnTo>
                    <a:lnTo>
                      <a:pt x="52" y="454"/>
                    </a:lnTo>
                    <a:lnTo>
                      <a:pt x="50" y="448"/>
                    </a:lnTo>
                    <a:lnTo>
                      <a:pt x="50" y="448"/>
                    </a:lnTo>
                    <a:lnTo>
                      <a:pt x="48" y="442"/>
                    </a:lnTo>
                    <a:lnTo>
                      <a:pt x="50" y="440"/>
                    </a:lnTo>
                    <a:lnTo>
                      <a:pt x="52" y="438"/>
                    </a:lnTo>
                    <a:lnTo>
                      <a:pt x="52" y="436"/>
                    </a:lnTo>
                    <a:lnTo>
                      <a:pt x="52" y="436"/>
                    </a:lnTo>
                    <a:lnTo>
                      <a:pt x="50" y="430"/>
                    </a:lnTo>
                    <a:lnTo>
                      <a:pt x="50" y="428"/>
                    </a:lnTo>
                    <a:lnTo>
                      <a:pt x="52" y="426"/>
                    </a:lnTo>
                    <a:lnTo>
                      <a:pt x="50" y="420"/>
                    </a:lnTo>
                    <a:lnTo>
                      <a:pt x="50" y="420"/>
                    </a:lnTo>
                    <a:lnTo>
                      <a:pt x="50" y="416"/>
                    </a:lnTo>
                    <a:lnTo>
                      <a:pt x="50" y="414"/>
                    </a:lnTo>
                    <a:lnTo>
                      <a:pt x="52" y="412"/>
                    </a:lnTo>
                    <a:lnTo>
                      <a:pt x="56" y="410"/>
                    </a:lnTo>
                    <a:lnTo>
                      <a:pt x="56" y="406"/>
                    </a:lnTo>
                    <a:lnTo>
                      <a:pt x="56" y="402"/>
                    </a:lnTo>
                    <a:lnTo>
                      <a:pt x="56" y="402"/>
                    </a:lnTo>
                    <a:lnTo>
                      <a:pt x="54" y="392"/>
                    </a:lnTo>
                    <a:lnTo>
                      <a:pt x="56" y="386"/>
                    </a:lnTo>
                    <a:lnTo>
                      <a:pt x="56" y="382"/>
                    </a:lnTo>
                    <a:lnTo>
                      <a:pt x="56" y="374"/>
                    </a:lnTo>
                    <a:lnTo>
                      <a:pt x="56" y="374"/>
                    </a:lnTo>
                    <a:lnTo>
                      <a:pt x="54" y="366"/>
                    </a:lnTo>
                    <a:lnTo>
                      <a:pt x="52" y="360"/>
                    </a:lnTo>
                    <a:lnTo>
                      <a:pt x="50" y="352"/>
                    </a:lnTo>
                    <a:lnTo>
                      <a:pt x="46" y="342"/>
                    </a:lnTo>
                    <a:lnTo>
                      <a:pt x="46" y="342"/>
                    </a:lnTo>
                    <a:lnTo>
                      <a:pt x="40" y="326"/>
                    </a:lnTo>
                    <a:lnTo>
                      <a:pt x="34" y="312"/>
                    </a:lnTo>
                    <a:lnTo>
                      <a:pt x="30" y="290"/>
                    </a:lnTo>
                    <a:lnTo>
                      <a:pt x="30" y="290"/>
                    </a:lnTo>
                    <a:lnTo>
                      <a:pt x="30" y="288"/>
                    </a:lnTo>
                    <a:lnTo>
                      <a:pt x="32" y="290"/>
                    </a:lnTo>
                    <a:lnTo>
                      <a:pt x="34" y="292"/>
                    </a:lnTo>
                    <a:lnTo>
                      <a:pt x="36" y="290"/>
                    </a:lnTo>
                    <a:lnTo>
                      <a:pt x="36" y="290"/>
                    </a:lnTo>
                    <a:lnTo>
                      <a:pt x="36" y="290"/>
                    </a:lnTo>
                    <a:lnTo>
                      <a:pt x="36" y="288"/>
                    </a:lnTo>
                    <a:lnTo>
                      <a:pt x="34" y="286"/>
                    </a:lnTo>
                    <a:lnTo>
                      <a:pt x="36" y="284"/>
                    </a:lnTo>
                    <a:lnTo>
                      <a:pt x="36" y="284"/>
                    </a:lnTo>
                    <a:lnTo>
                      <a:pt x="38" y="284"/>
                    </a:lnTo>
                    <a:lnTo>
                      <a:pt x="40" y="284"/>
                    </a:lnTo>
                    <a:lnTo>
                      <a:pt x="40" y="286"/>
                    </a:lnTo>
                    <a:lnTo>
                      <a:pt x="42" y="284"/>
                    </a:lnTo>
                    <a:lnTo>
                      <a:pt x="42" y="284"/>
                    </a:lnTo>
                    <a:lnTo>
                      <a:pt x="40" y="282"/>
                    </a:lnTo>
                    <a:lnTo>
                      <a:pt x="38" y="280"/>
                    </a:lnTo>
                    <a:lnTo>
                      <a:pt x="36" y="280"/>
                    </a:lnTo>
                    <a:lnTo>
                      <a:pt x="36" y="274"/>
                    </a:lnTo>
                    <a:lnTo>
                      <a:pt x="36" y="274"/>
                    </a:lnTo>
                    <a:lnTo>
                      <a:pt x="34" y="272"/>
                    </a:lnTo>
                    <a:lnTo>
                      <a:pt x="34" y="270"/>
                    </a:lnTo>
                    <a:lnTo>
                      <a:pt x="30" y="270"/>
                    </a:lnTo>
                    <a:lnTo>
                      <a:pt x="30" y="268"/>
                    </a:lnTo>
                    <a:lnTo>
                      <a:pt x="28" y="264"/>
                    </a:lnTo>
                    <a:lnTo>
                      <a:pt x="30" y="246"/>
                    </a:lnTo>
                    <a:lnTo>
                      <a:pt x="30" y="246"/>
                    </a:lnTo>
                    <a:lnTo>
                      <a:pt x="32" y="222"/>
                    </a:lnTo>
                    <a:lnTo>
                      <a:pt x="32" y="202"/>
                    </a:lnTo>
                    <a:lnTo>
                      <a:pt x="32" y="202"/>
                    </a:lnTo>
                    <a:lnTo>
                      <a:pt x="34" y="188"/>
                    </a:lnTo>
                    <a:lnTo>
                      <a:pt x="36" y="182"/>
                    </a:lnTo>
                    <a:lnTo>
                      <a:pt x="36" y="178"/>
                    </a:lnTo>
                    <a:lnTo>
                      <a:pt x="34" y="176"/>
                    </a:lnTo>
                    <a:lnTo>
                      <a:pt x="34" y="176"/>
                    </a:lnTo>
                    <a:lnTo>
                      <a:pt x="30" y="170"/>
                    </a:lnTo>
                    <a:lnTo>
                      <a:pt x="30" y="168"/>
                    </a:lnTo>
                    <a:lnTo>
                      <a:pt x="32" y="164"/>
                    </a:lnTo>
                    <a:lnTo>
                      <a:pt x="30" y="158"/>
                    </a:lnTo>
                    <a:lnTo>
                      <a:pt x="30" y="158"/>
                    </a:lnTo>
                    <a:lnTo>
                      <a:pt x="28" y="152"/>
                    </a:lnTo>
                    <a:lnTo>
                      <a:pt x="26" y="148"/>
                    </a:lnTo>
                    <a:lnTo>
                      <a:pt x="26" y="142"/>
                    </a:lnTo>
                    <a:lnTo>
                      <a:pt x="22" y="136"/>
                    </a:lnTo>
                    <a:lnTo>
                      <a:pt x="22" y="136"/>
                    </a:lnTo>
                    <a:lnTo>
                      <a:pt x="20" y="132"/>
                    </a:lnTo>
                    <a:lnTo>
                      <a:pt x="22" y="130"/>
                    </a:lnTo>
                    <a:lnTo>
                      <a:pt x="24" y="126"/>
                    </a:lnTo>
                    <a:lnTo>
                      <a:pt x="26" y="114"/>
                    </a:lnTo>
                    <a:lnTo>
                      <a:pt x="26" y="114"/>
                    </a:lnTo>
                    <a:lnTo>
                      <a:pt x="24" y="106"/>
                    </a:lnTo>
                    <a:lnTo>
                      <a:pt x="22" y="106"/>
                    </a:lnTo>
                    <a:lnTo>
                      <a:pt x="22" y="104"/>
                    </a:lnTo>
                    <a:lnTo>
                      <a:pt x="24" y="100"/>
                    </a:lnTo>
                    <a:lnTo>
                      <a:pt x="24" y="100"/>
                    </a:lnTo>
                    <a:lnTo>
                      <a:pt x="26" y="92"/>
                    </a:lnTo>
                    <a:lnTo>
                      <a:pt x="24" y="88"/>
                    </a:lnTo>
                    <a:lnTo>
                      <a:pt x="22" y="84"/>
                    </a:lnTo>
                    <a:lnTo>
                      <a:pt x="18" y="78"/>
                    </a:lnTo>
                    <a:lnTo>
                      <a:pt x="18" y="78"/>
                    </a:lnTo>
                    <a:lnTo>
                      <a:pt x="16" y="72"/>
                    </a:lnTo>
                    <a:lnTo>
                      <a:pt x="18" y="70"/>
                    </a:lnTo>
                    <a:lnTo>
                      <a:pt x="20" y="70"/>
                    </a:lnTo>
                    <a:lnTo>
                      <a:pt x="18" y="66"/>
                    </a:lnTo>
                    <a:lnTo>
                      <a:pt x="18" y="66"/>
                    </a:lnTo>
                    <a:lnTo>
                      <a:pt x="18" y="58"/>
                    </a:lnTo>
                    <a:lnTo>
                      <a:pt x="16" y="52"/>
                    </a:lnTo>
                    <a:lnTo>
                      <a:pt x="16" y="46"/>
                    </a:lnTo>
                    <a:lnTo>
                      <a:pt x="14" y="40"/>
                    </a:lnTo>
                    <a:lnTo>
                      <a:pt x="14" y="40"/>
                    </a:lnTo>
                    <a:lnTo>
                      <a:pt x="10" y="34"/>
                    </a:lnTo>
                    <a:lnTo>
                      <a:pt x="10" y="32"/>
                    </a:lnTo>
                    <a:lnTo>
                      <a:pt x="10" y="30"/>
                    </a:lnTo>
                    <a:lnTo>
                      <a:pt x="8" y="26"/>
                    </a:lnTo>
                    <a:lnTo>
                      <a:pt x="8" y="26"/>
                    </a:lnTo>
                    <a:lnTo>
                      <a:pt x="4" y="16"/>
                    </a:lnTo>
                    <a:lnTo>
                      <a:pt x="0" y="12"/>
                    </a:lnTo>
                    <a:lnTo>
                      <a:pt x="0" y="12"/>
                    </a:lnTo>
                    <a:lnTo>
                      <a:pt x="10" y="8"/>
                    </a:lnTo>
                    <a:lnTo>
                      <a:pt x="12" y="6"/>
                    </a:lnTo>
                    <a:lnTo>
                      <a:pt x="10" y="4"/>
                    </a:lnTo>
                    <a:lnTo>
                      <a:pt x="10" y="2"/>
                    </a:lnTo>
                    <a:lnTo>
                      <a:pt x="10" y="0"/>
                    </a:lnTo>
                    <a:lnTo>
                      <a:pt x="14" y="0"/>
                    </a:lnTo>
                    <a:lnTo>
                      <a:pt x="14" y="0"/>
                    </a:lnTo>
                    <a:lnTo>
                      <a:pt x="24" y="10"/>
                    </a:lnTo>
                    <a:lnTo>
                      <a:pt x="30" y="16"/>
                    </a:lnTo>
                    <a:lnTo>
                      <a:pt x="34" y="24"/>
                    </a:lnTo>
                    <a:lnTo>
                      <a:pt x="42" y="38"/>
                    </a:lnTo>
                    <a:lnTo>
                      <a:pt x="42" y="38"/>
                    </a:lnTo>
                    <a:lnTo>
                      <a:pt x="46" y="46"/>
                    </a:lnTo>
                    <a:lnTo>
                      <a:pt x="46" y="54"/>
                    </a:lnTo>
                    <a:lnTo>
                      <a:pt x="48" y="64"/>
                    </a:lnTo>
                    <a:lnTo>
                      <a:pt x="52" y="74"/>
                    </a:lnTo>
                    <a:lnTo>
                      <a:pt x="52" y="74"/>
                    </a:lnTo>
                    <a:lnTo>
                      <a:pt x="60" y="86"/>
                    </a:lnTo>
                    <a:lnTo>
                      <a:pt x="64" y="98"/>
                    </a:lnTo>
                    <a:lnTo>
                      <a:pt x="66" y="114"/>
                    </a:lnTo>
                    <a:lnTo>
                      <a:pt x="68" y="120"/>
                    </a:lnTo>
                    <a:lnTo>
                      <a:pt x="70" y="124"/>
                    </a:lnTo>
                    <a:lnTo>
                      <a:pt x="74" y="126"/>
                    </a:lnTo>
                    <a:lnTo>
                      <a:pt x="84" y="124"/>
                    </a:lnTo>
                    <a:lnTo>
                      <a:pt x="84" y="124"/>
                    </a:lnTo>
                    <a:lnTo>
                      <a:pt x="88" y="126"/>
                    </a:lnTo>
                    <a:lnTo>
                      <a:pt x="88" y="128"/>
                    </a:lnTo>
                    <a:lnTo>
                      <a:pt x="90" y="130"/>
                    </a:lnTo>
                    <a:lnTo>
                      <a:pt x="90" y="130"/>
                    </a:lnTo>
                    <a:lnTo>
                      <a:pt x="86" y="148"/>
                    </a:lnTo>
                    <a:lnTo>
                      <a:pt x="84" y="152"/>
                    </a:lnTo>
                    <a:lnTo>
                      <a:pt x="78" y="158"/>
                    </a:lnTo>
                    <a:lnTo>
                      <a:pt x="78" y="158"/>
                    </a:lnTo>
                    <a:lnTo>
                      <a:pt x="68" y="164"/>
                    </a:lnTo>
                    <a:lnTo>
                      <a:pt x="68" y="166"/>
                    </a:lnTo>
                    <a:lnTo>
                      <a:pt x="68" y="168"/>
                    </a:lnTo>
                    <a:lnTo>
                      <a:pt x="72" y="170"/>
                    </a:lnTo>
                    <a:lnTo>
                      <a:pt x="72" y="172"/>
                    </a:lnTo>
                    <a:lnTo>
                      <a:pt x="70" y="176"/>
                    </a:lnTo>
                    <a:lnTo>
                      <a:pt x="70" y="176"/>
                    </a:lnTo>
                    <a:lnTo>
                      <a:pt x="66" y="184"/>
                    </a:lnTo>
                    <a:lnTo>
                      <a:pt x="66" y="188"/>
                    </a:lnTo>
                    <a:lnTo>
                      <a:pt x="68" y="192"/>
                    </a:lnTo>
                    <a:lnTo>
                      <a:pt x="72" y="196"/>
                    </a:lnTo>
                    <a:lnTo>
                      <a:pt x="76" y="202"/>
                    </a:lnTo>
                    <a:lnTo>
                      <a:pt x="76" y="204"/>
                    </a:lnTo>
                    <a:lnTo>
                      <a:pt x="74" y="208"/>
                    </a:lnTo>
                    <a:lnTo>
                      <a:pt x="74" y="208"/>
                    </a:lnTo>
                    <a:lnTo>
                      <a:pt x="78" y="212"/>
                    </a:lnTo>
                    <a:lnTo>
                      <a:pt x="80" y="214"/>
                    </a:lnTo>
                    <a:lnTo>
                      <a:pt x="80" y="218"/>
                    </a:lnTo>
                    <a:lnTo>
                      <a:pt x="78" y="224"/>
                    </a:lnTo>
                    <a:lnTo>
                      <a:pt x="78" y="224"/>
                    </a:lnTo>
                    <a:lnTo>
                      <a:pt x="74" y="230"/>
                    </a:lnTo>
                    <a:lnTo>
                      <a:pt x="74" y="234"/>
                    </a:lnTo>
                    <a:lnTo>
                      <a:pt x="72" y="238"/>
                    </a:lnTo>
                    <a:lnTo>
                      <a:pt x="70" y="242"/>
                    </a:lnTo>
                    <a:lnTo>
                      <a:pt x="70" y="242"/>
                    </a:lnTo>
                    <a:lnTo>
                      <a:pt x="66" y="246"/>
                    </a:lnTo>
                    <a:lnTo>
                      <a:pt x="68" y="248"/>
                    </a:lnTo>
                    <a:lnTo>
                      <a:pt x="68" y="252"/>
                    </a:lnTo>
                    <a:lnTo>
                      <a:pt x="66" y="256"/>
                    </a:lnTo>
                    <a:lnTo>
                      <a:pt x="66" y="256"/>
                    </a:lnTo>
                    <a:lnTo>
                      <a:pt x="62" y="260"/>
                    </a:lnTo>
                    <a:lnTo>
                      <a:pt x="62" y="264"/>
                    </a:lnTo>
                    <a:lnTo>
                      <a:pt x="62" y="270"/>
                    </a:lnTo>
                    <a:lnTo>
                      <a:pt x="64" y="276"/>
                    </a:lnTo>
                    <a:lnTo>
                      <a:pt x="64" y="282"/>
                    </a:lnTo>
                    <a:lnTo>
                      <a:pt x="64" y="282"/>
                    </a:lnTo>
                    <a:lnTo>
                      <a:pt x="62" y="288"/>
                    </a:lnTo>
                    <a:lnTo>
                      <a:pt x="62" y="292"/>
                    </a:lnTo>
                    <a:lnTo>
                      <a:pt x="64" y="296"/>
                    </a:lnTo>
                    <a:lnTo>
                      <a:pt x="62" y="304"/>
                    </a:lnTo>
                    <a:lnTo>
                      <a:pt x="62" y="304"/>
                    </a:lnTo>
                    <a:lnTo>
                      <a:pt x="60" y="310"/>
                    </a:lnTo>
                    <a:lnTo>
                      <a:pt x="60" y="316"/>
                    </a:lnTo>
                    <a:lnTo>
                      <a:pt x="60" y="326"/>
                    </a:lnTo>
                    <a:lnTo>
                      <a:pt x="62" y="332"/>
                    </a:lnTo>
                    <a:lnTo>
                      <a:pt x="66" y="334"/>
                    </a:lnTo>
                    <a:lnTo>
                      <a:pt x="66" y="334"/>
                    </a:lnTo>
                    <a:lnTo>
                      <a:pt x="68" y="334"/>
                    </a:lnTo>
                    <a:lnTo>
                      <a:pt x="70" y="336"/>
                    </a:lnTo>
                    <a:lnTo>
                      <a:pt x="72" y="340"/>
                    </a:lnTo>
                    <a:lnTo>
                      <a:pt x="70" y="344"/>
                    </a:lnTo>
                    <a:lnTo>
                      <a:pt x="70" y="344"/>
                    </a:lnTo>
                    <a:lnTo>
                      <a:pt x="68" y="346"/>
                    </a:lnTo>
                    <a:lnTo>
                      <a:pt x="70" y="350"/>
                    </a:lnTo>
                    <a:lnTo>
                      <a:pt x="74" y="354"/>
                    </a:lnTo>
                    <a:lnTo>
                      <a:pt x="80" y="360"/>
                    </a:lnTo>
                    <a:lnTo>
                      <a:pt x="82" y="364"/>
                    </a:lnTo>
                    <a:lnTo>
                      <a:pt x="82" y="368"/>
                    </a:lnTo>
                    <a:lnTo>
                      <a:pt x="82" y="368"/>
                    </a:lnTo>
                    <a:lnTo>
                      <a:pt x="82" y="376"/>
                    </a:lnTo>
                    <a:lnTo>
                      <a:pt x="84" y="376"/>
                    </a:lnTo>
                    <a:lnTo>
                      <a:pt x="86" y="374"/>
                    </a:lnTo>
                    <a:lnTo>
                      <a:pt x="86" y="374"/>
                    </a:lnTo>
                    <a:lnTo>
                      <a:pt x="90" y="374"/>
                    </a:lnTo>
                    <a:lnTo>
                      <a:pt x="92" y="374"/>
                    </a:lnTo>
                    <a:lnTo>
                      <a:pt x="92" y="376"/>
                    </a:lnTo>
                    <a:lnTo>
                      <a:pt x="92" y="382"/>
                    </a:lnTo>
                    <a:lnTo>
                      <a:pt x="92" y="382"/>
                    </a:lnTo>
                    <a:lnTo>
                      <a:pt x="90" y="388"/>
                    </a:lnTo>
                    <a:lnTo>
                      <a:pt x="92" y="392"/>
                    </a:lnTo>
                    <a:lnTo>
                      <a:pt x="94" y="396"/>
                    </a:lnTo>
                    <a:lnTo>
                      <a:pt x="90" y="402"/>
                    </a:lnTo>
                    <a:lnTo>
                      <a:pt x="90" y="402"/>
                    </a:lnTo>
                    <a:lnTo>
                      <a:pt x="94" y="406"/>
                    </a:lnTo>
                    <a:lnTo>
                      <a:pt x="96" y="410"/>
                    </a:lnTo>
                    <a:lnTo>
                      <a:pt x="94" y="416"/>
                    </a:lnTo>
                    <a:lnTo>
                      <a:pt x="88" y="422"/>
                    </a:lnTo>
                    <a:lnTo>
                      <a:pt x="88" y="422"/>
                    </a:lnTo>
                    <a:lnTo>
                      <a:pt x="84" y="430"/>
                    </a:lnTo>
                    <a:lnTo>
                      <a:pt x="82" y="436"/>
                    </a:lnTo>
                    <a:lnTo>
                      <a:pt x="84" y="442"/>
                    </a:lnTo>
                    <a:lnTo>
                      <a:pt x="84" y="452"/>
                    </a:lnTo>
                    <a:lnTo>
                      <a:pt x="84" y="452"/>
                    </a:lnTo>
                    <a:lnTo>
                      <a:pt x="86" y="456"/>
                    </a:lnTo>
                    <a:lnTo>
                      <a:pt x="88" y="460"/>
                    </a:lnTo>
                    <a:lnTo>
                      <a:pt x="92" y="466"/>
                    </a:lnTo>
                    <a:lnTo>
                      <a:pt x="98" y="472"/>
                    </a:lnTo>
                    <a:lnTo>
                      <a:pt x="98" y="476"/>
                    </a:lnTo>
                    <a:lnTo>
                      <a:pt x="98" y="480"/>
                    </a:lnTo>
                    <a:lnTo>
                      <a:pt x="98" y="480"/>
                    </a:lnTo>
                    <a:lnTo>
                      <a:pt x="96" y="482"/>
                    </a:lnTo>
                    <a:lnTo>
                      <a:pt x="92" y="484"/>
                    </a:lnTo>
                    <a:lnTo>
                      <a:pt x="92" y="484"/>
                    </a:lnTo>
                    <a:lnTo>
                      <a:pt x="94" y="490"/>
                    </a:lnTo>
                    <a:lnTo>
                      <a:pt x="94" y="490"/>
                    </a:lnTo>
                    <a:lnTo>
                      <a:pt x="96" y="494"/>
                    </a:lnTo>
                    <a:lnTo>
                      <a:pt x="94" y="496"/>
                    </a:lnTo>
                    <a:lnTo>
                      <a:pt x="90" y="500"/>
                    </a:lnTo>
                    <a:lnTo>
                      <a:pt x="90" y="500"/>
                    </a:lnTo>
                    <a:lnTo>
                      <a:pt x="92" y="504"/>
                    </a:lnTo>
                    <a:lnTo>
                      <a:pt x="92" y="504"/>
                    </a:lnTo>
                    <a:lnTo>
                      <a:pt x="92" y="506"/>
                    </a:lnTo>
                    <a:lnTo>
                      <a:pt x="90" y="508"/>
                    </a:lnTo>
                    <a:lnTo>
                      <a:pt x="90" y="510"/>
                    </a:lnTo>
                    <a:lnTo>
                      <a:pt x="92" y="514"/>
                    </a:lnTo>
                    <a:lnTo>
                      <a:pt x="92" y="514"/>
                    </a:lnTo>
                    <a:lnTo>
                      <a:pt x="92" y="522"/>
                    </a:lnTo>
                    <a:lnTo>
                      <a:pt x="94" y="530"/>
                    </a:lnTo>
                    <a:lnTo>
                      <a:pt x="100" y="540"/>
                    </a:lnTo>
                    <a:lnTo>
                      <a:pt x="104" y="546"/>
                    </a:lnTo>
                    <a:lnTo>
                      <a:pt x="104" y="548"/>
                    </a:lnTo>
                    <a:lnTo>
                      <a:pt x="102" y="550"/>
                    </a:lnTo>
                    <a:lnTo>
                      <a:pt x="102" y="550"/>
                    </a:lnTo>
                    <a:lnTo>
                      <a:pt x="98" y="552"/>
                    </a:lnTo>
                    <a:lnTo>
                      <a:pt x="100" y="554"/>
                    </a:lnTo>
                    <a:lnTo>
                      <a:pt x="102" y="556"/>
                    </a:lnTo>
                    <a:lnTo>
                      <a:pt x="102" y="560"/>
                    </a:lnTo>
                    <a:lnTo>
                      <a:pt x="102" y="560"/>
                    </a:lnTo>
                    <a:lnTo>
                      <a:pt x="102" y="562"/>
                    </a:lnTo>
                    <a:lnTo>
                      <a:pt x="102" y="564"/>
                    </a:lnTo>
                    <a:lnTo>
                      <a:pt x="106" y="566"/>
                    </a:lnTo>
                    <a:lnTo>
                      <a:pt x="108" y="566"/>
                    </a:lnTo>
                    <a:lnTo>
                      <a:pt x="108" y="570"/>
                    </a:lnTo>
                    <a:lnTo>
                      <a:pt x="108" y="570"/>
                    </a:lnTo>
                    <a:lnTo>
                      <a:pt x="106" y="570"/>
                    </a:lnTo>
                    <a:lnTo>
                      <a:pt x="108" y="572"/>
                    </a:lnTo>
                    <a:lnTo>
                      <a:pt x="110" y="574"/>
                    </a:lnTo>
                    <a:lnTo>
                      <a:pt x="114" y="576"/>
                    </a:lnTo>
                    <a:lnTo>
                      <a:pt x="114" y="578"/>
                    </a:lnTo>
                    <a:lnTo>
                      <a:pt x="112" y="582"/>
                    </a:lnTo>
                    <a:lnTo>
                      <a:pt x="112" y="582"/>
                    </a:lnTo>
                    <a:lnTo>
                      <a:pt x="110" y="586"/>
                    </a:lnTo>
                    <a:lnTo>
                      <a:pt x="110" y="588"/>
                    </a:lnTo>
                    <a:lnTo>
                      <a:pt x="112" y="590"/>
                    </a:lnTo>
                    <a:lnTo>
                      <a:pt x="114" y="588"/>
                    </a:lnTo>
                    <a:lnTo>
                      <a:pt x="114" y="588"/>
                    </a:lnTo>
                    <a:lnTo>
                      <a:pt x="118" y="586"/>
                    </a:lnTo>
                    <a:lnTo>
                      <a:pt x="120" y="586"/>
                    </a:lnTo>
                    <a:lnTo>
                      <a:pt x="122" y="590"/>
                    </a:lnTo>
                    <a:lnTo>
                      <a:pt x="120" y="594"/>
                    </a:lnTo>
                    <a:lnTo>
                      <a:pt x="120" y="594"/>
                    </a:lnTo>
                    <a:lnTo>
                      <a:pt x="118" y="598"/>
                    </a:lnTo>
                    <a:lnTo>
                      <a:pt x="114" y="598"/>
                    </a:lnTo>
                    <a:lnTo>
                      <a:pt x="114" y="600"/>
                    </a:lnTo>
                    <a:lnTo>
                      <a:pt x="114" y="604"/>
                    </a:lnTo>
                    <a:lnTo>
                      <a:pt x="114" y="604"/>
                    </a:lnTo>
                    <a:lnTo>
                      <a:pt x="120" y="608"/>
                    </a:lnTo>
                    <a:lnTo>
                      <a:pt x="126" y="612"/>
                    </a:lnTo>
                    <a:lnTo>
                      <a:pt x="130" y="614"/>
                    </a:lnTo>
                    <a:lnTo>
                      <a:pt x="130" y="616"/>
                    </a:lnTo>
                    <a:lnTo>
                      <a:pt x="128" y="618"/>
                    </a:lnTo>
                    <a:lnTo>
                      <a:pt x="128" y="618"/>
                    </a:lnTo>
                    <a:lnTo>
                      <a:pt x="126" y="620"/>
                    </a:lnTo>
                    <a:lnTo>
                      <a:pt x="126" y="622"/>
                    </a:lnTo>
                    <a:lnTo>
                      <a:pt x="126" y="624"/>
                    </a:lnTo>
                    <a:lnTo>
                      <a:pt x="124" y="628"/>
                    </a:lnTo>
                    <a:lnTo>
                      <a:pt x="124" y="628"/>
                    </a:lnTo>
                    <a:lnTo>
                      <a:pt x="124" y="628"/>
                    </a:lnTo>
                    <a:lnTo>
                      <a:pt x="124" y="630"/>
                    </a:lnTo>
                    <a:lnTo>
                      <a:pt x="128" y="632"/>
                    </a:lnTo>
                    <a:lnTo>
                      <a:pt x="134" y="636"/>
                    </a:lnTo>
                    <a:lnTo>
                      <a:pt x="134" y="640"/>
                    </a:lnTo>
                    <a:lnTo>
                      <a:pt x="134" y="644"/>
                    </a:lnTo>
                    <a:lnTo>
                      <a:pt x="134" y="644"/>
                    </a:lnTo>
                    <a:lnTo>
                      <a:pt x="132" y="650"/>
                    </a:lnTo>
                    <a:lnTo>
                      <a:pt x="132" y="656"/>
                    </a:lnTo>
                    <a:lnTo>
                      <a:pt x="136" y="662"/>
                    </a:lnTo>
                    <a:lnTo>
                      <a:pt x="138" y="668"/>
                    </a:lnTo>
                    <a:lnTo>
                      <a:pt x="138" y="670"/>
                    </a:lnTo>
                    <a:lnTo>
                      <a:pt x="138" y="672"/>
                    </a:lnTo>
                    <a:lnTo>
                      <a:pt x="138" y="672"/>
                    </a:lnTo>
                    <a:lnTo>
                      <a:pt x="134" y="676"/>
                    </a:lnTo>
                    <a:lnTo>
                      <a:pt x="136" y="676"/>
                    </a:lnTo>
                    <a:lnTo>
                      <a:pt x="136" y="678"/>
                    </a:lnTo>
                    <a:lnTo>
                      <a:pt x="134" y="682"/>
                    </a:lnTo>
                    <a:lnTo>
                      <a:pt x="134" y="682"/>
                    </a:lnTo>
                    <a:lnTo>
                      <a:pt x="134" y="684"/>
                    </a:lnTo>
                    <a:lnTo>
                      <a:pt x="134" y="688"/>
                    </a:lnTo>
                    <a:lnTo>
                      <a:pt x="138" y="690"/>
                    </a:lnTo>
                    <a:lnTo>
                      <a:pt x="142" y="694"/>
                    </a:lnTo>
                    <a:lnTo>
                      <a:pt x="142" y="696"/>
                    </a:lnTo>
                    <a:lnTo>
                      <a:pt x="140" y="698"/>
                    </a:lnTo>
                    <a:lnTo>
                      <a:pt x="140" y="698"/>
                    </a:lnTo>
                    <a:lnTo>
                      <a:pt x="140" y="704"/>
                    </a:lnTo>
                    <a:lnTo>
                      <a:pt x="142" y="708"/>
                    </a:lnTo>
                    <a:lnTo>
                      <a:pt x="144" y="710"/>
                    </a:lnTo>
                    <a:lnTo>
                      <a:pt x="144" y="714"/>
                    </a:lnTo>
                    <a:lnTo>
                      <a:pt x="144" y="714"/>
                    </a:lnTo>
                    <a:lnTo>
                      <a:pt x="142" y="720"/>
                    </a:lnTo>
                    <a:lnTo>
                      <a:pt x="142" y="726"/>
                    </a:lnTo>
                    <a:lnTo>
                      <a:pt x="146" y="734"/>
                    </a:lnTo>
                    <a:lnTo>
                      <a:pt x="148" y="738"/>
                    </a:lnTo>
                    <a:lnTo>
                      <a:pt x="148" y="738"/>
                    </a:lnTo>
                    <a:lnTo>
                      <a:pt x="150" y="736"/>
                    </a:lnTo>
                    <a:lnTo>
                      <a:pt x="154" y="734"/>
                    </a:lnTo>
                    <a:lnTo>
                      <a:pt x="158" y="730"/>
                    </a:lnTo>
                    <a:lnTo>
                      <a:pt x="162" y="730"/>
                    </a:lnTo>
                    <a:lnTo>
                      <a:pt x="162" y="730"/>
                    </a:lnTo>
                    <a:lnTo>
                      <a:pt x="166" y="734"/>
                    </a:lnTo>
                    <a:lnTo>
                      <a:pt x="166" y="738"/>
                    </a:lnTo>
                    <a:lnTo>
                      <a:pt x="164" y="740"/>
                    </a:lnTo>
                    <a:lnTo>
                      <a:pt x="166" y="744"/>
                    </a:lnTo>
                    <a:lnTo>
                      <a:pt x="166" y="744"/>
                    </a:lnTo>
                    <a:lnTo>
                      <a:pt x="168" y="748"/>
                    </a:lnTo>
                    <a:lnTo>
                      <a:pt x="168" y="750"/>
                    </a:lnTo>
                    <a:lnTo>
                      <a:pt x="170" y="752"/>
                    </a:lnTo>
                    <a:lnTo>
                      <a:pt x="176" y="752"/>
                    </a:lnTo>
                    <a:lnTo>
                      <a:pt x="176" y="752"/>
                    </a:lnTo>
                    <a:lnTo>
                      <a:pt x="180" y="754"/>
                    </a:lnTo>
                    <a:lnTo>
                      <a:pt x="184" y="756"/>
                    </a:lnTo>
                    <a:lnTo>
                      <a:pt x="184" y="758"/>
                    </a:lnTo>
                    <a:lnTo>
                      <a:pt x="218" y="758"/>
                    </a:lnTo>
                    <a:lnTo>
                      <a:pt x="218" y="758"/>
                    </a:lnTo>
                    <a:lnTo>
                      <a:pt x="222" y="760"/>
                    </a:lnTo>
                    <a:lnTo>
                      <a:pt x="226" y="758"/>
                    </a:lnTo>
                    <a:lnTo>
                      <a:pt x="232" y="760"/>
                    </a:lnTo>
                    <a:lnTo>
                      <a:pt x="244" y="764"/>
                    </a:lnTo>
                    <a:lnTo>
                      <a:pt x="244" y="764"/>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Colombia"/>
              <p:cNvSpPr>
                <a:spLocks/>
              </p:cNvSpPr>
              <p:nvPr/>
            </p:nvSpPr>
            <p:spPr bwMode="auto">
              <a:xfrm>
                <a:off x="3237784" y="3208690"/>
                <a:ext cx="385781" cy="646420"/>
              </a:xfrm>
              <a:custGeom>
                <a:avLst/>
                <a:gdLst/>
                <a:ahLst/>
                <a:cxnLst>
                  <a:cxn ang="0">
                    <a:pos x="60" y="110"/>
                  </a:cxn>
                  <a:cxn ang="0">
                    <a:pos x="62" y="100"/>
                  </a:cxn>
                  <a:cxn ang="0">
                    <a:pos x="64" y="92"/>
                  </a:cxn>
                  <a:cxn ang="0">
                    <a:pos x="80" y="78"/>
                  </a:cxn>
                  <a:cxn ang="0">
                    <a:pos x="84" y="60"/>
                  </a:cxn>
                  <a:cxn ang="0">
                    <a:pos x="92" y="42"/>
                  </a:cxn>
                  <a:cxn ang="0">
                    <a:pos x="110" y="36"/>
                  </a:cxn>
                  <a:cxn ang="0">
                    <a:pos x="114" y="34"/>
                  </a:cxn>
                  <a:cxn ang="0">
                    <a:pos x="152" y="16"/>
                  </a:cxn>
                  <a:cxn ang="0">
                    <a:pos x="160" y="2"/>
                  </a:cxn>
                  <a:cxn ang="0">
                    <a:pos x="176" y="0"/>
                  </a:cxn>
                  <a:cxn ang="0">
                    <a:pos x="176" y="14"/>
                  </a:cxn>
                  <a:cxn ang="0">
                    <a:pos x="142" y="50"/>
                  </a:cxn>
                  <a:cxn ang="0">
                    <a:pos x="130" y="78"/>
                  </a:cxn>
                  <a:cxn ang="0">
                    <a:pos x="134" y="86"/>
                  </a:cxn>
                  <a:cxn ang="0">
                    <a:pos x="140" y="94"/>
                  </a:cxn>
                  <a:cxn ang="0">
                    <a:pos x="144" y="128"/>
                  </a:cxn>
                  <a:cxn ang="0">
                    <a:pos x="170" y="144"/>
                  </a:cxn>
                  <a:cxn ang="0">
                    <a:pos x="196" y="148"/>
                  </a:cxn>
                  <a:cxn ang="0">
                    <a:pos x="228" y="164"/>
                  </a:cxn>
                  <a:cxn ang="0">
                    <a:pos x="244" y="166"/>
                  </a:cxn>
                  <a:cxn ang="0">
                    <a:pos x="240" y="178"/>
                  </a:cxn>
                  <a:cxn ang="0">
                    <a:pos x="236" y="200"/>
                  </a:cxn>
                  <a:cxn ang="0">
                    <a:pos x="248" y="224"/>
                  </a:cxn>
                  <a:cxn ang="0">
                    <a:pos x="246" y="250"/>
                  </a:cxn>
                  <a:cxn ang="0">
                    <a:pos x="248" y="288"/>
                  </a:cxn>
                  <a:cxn ang="0">
                    <a:pos x="244" y="274"/>
                  </a:cxn>
                  <a:cxn ang="0">
                    <a:pos x="238" y="276"/>
                  </a:cxn>
                  <a:cxn ang="0">
                    <a:pos x="232" y="278"/>
                  </a:cxn>
                  <a:cxn ang="0">
                    <a:pos x="196" y="290"/>
                  </a:cxn>
                  <a:cxn ang="0">
                    <a:pos x="208" y="300"/>
                  </a:cxn>
                  <a:cxn ang="0">
                    <a:pos x="196" y="306"/>
                  </a:cxn>
                  <a:cxn ang="0">
                    <a:pos x="200" y="334"/>
                  </a:cxn>
                  <a:cxn ang="0">
                    <a:pos x="200" y="382"/>
                  </a:cxn>
                  <a:cxn ang="0">
                    <a:pos x="180" y="416"/>
                  </a:cxn>
                  <a:cxn ang="0">
                    <a:pos x="190" y="388"/>
                  </a:cxn>
                  <a:cxn ang="0">
                    <a:pos x="172" y="388"/>
                  </a:cxn>
                  <a:cxn ang="0">
                    <a:pos x="150" y="386"/>
                  </a:cxn>
                  <a:cxn ang="0">
                    <a:pos x="124" y="374"/>
                  </a:cxn>
                  <a:cxn ang="0">
                    <a:pos x="114" y="356"/>
                  </a:cxn>
                  <a:cxn ang="0">
                    <a:pos x="98" y="336"/>
                  </a:cxn>
                  <a:cxn ang="0">
                    <a:pos x="56" y="316"/>
                  </a:cxn>
                  <a:cxn ang="0">
                    <a:pos x="46" y="318"/>
                  </a:cxn>
                  <a:cxn ang="0">
                    <a:pos x="4" y="292"/>
                  </a:cxn>
                  <a:cxn ang="0">
                    <a:pos x="4" y="284"/>
                  </a:cxn>
                  <a:cxn ang="0">
                    <a:pos x="18" y="272"/>
                  </a:cxn>
                  <a:cxn ang="0">
                    <a:pos x="20" y="256"/>
                  </a:cxn>
                  <a:cxn ang="0">
                    <a:pos x="38" y="244"/>
                  </a:cxn>
                  <a:cxn ang="0">
                    <a:pos x="52" y="222"/>
                  </a:cxn>
                  <a:cxn ang="0">
                    <a:pos x="48" y="222"/>
                  </a:cxn>
                  <a:cxn ang="0">
                    <a:pos x="44" y="210"/>
                  </a:cxn>
                  <a:cxn ang="0">
                    <a:pos x="38" y="176"/>
                  </a:cxn>
                  <a:cxn ang="0">
                    <a:pos x="44" y="162"/>
                  </a:cxn>
                  <a:cxn ang="0">
                    <a:pos x="40" y="146"/>
                  </a:cxn>
                  <a:cxn ang="0">
                    <a:pos x="34" y="140"/>
                  </a:cxn>
                  <a:cxn ang="0">
                    <a:pos x="30" y="132"/>
                  </a:cxn>
                  <a:cxn ang="0">
                    <a:pos x="36" y="122"/>
                  </a:cxn>
                  <a:cxn ang="0">
                    <a:pos x="44" y="114"/>
                  </a:cxn>
                  <a:cxn ang="0">
                    <a:pos x="44" y="104"/>
                  </a:cxn>
                  <a:cxn ang="0">
                    <a:pos x="46" y="94"/>
                  </a:cxn>
                </a:cxnLst>
                <a:rect l="0" t="0" r="r" b="b"/>
                <a:pathLst>
                  <a:path w="254" h="426">
                    <a:moveTo>
                      <a:pt x="46" y="94"/>
                    </a:moveTo>
                    <a:lnTo>
                      <a:pt x="46" y="94"/>
                    </a:lnTo>
                    <a:lnTo>
                      <a:pt x="48" y="96"/>
                    </a:lnTo>
                    <a:lnTo>
                      <a:pt x="50" y="98"/>
                    </a:lnTo>
                    <a:lnTo>
                      <a:pt x="54" y="102"/>
                    </a:lnTo>
                    <a:lnTo>
                      <a:pt x="60" y="110"/>
                    </a:lnTo>
                    <a:lnTo>
                      <a:pt x="60" y="110"/>
                    </a:lnTo>
                    <a:lnTo>
                      <a:pt x="58" y="106"/>
                    </a:lnTo>
                    <a:lnTo>
                      <a:pt x="58" y="106"/>
                    </a:lnTo>
                    <a:lnTo>
                      <a:pt x="60" y="104"/>
                    </a:lnTo>
                    <a:lnTo>
                      <a:pt x="60" y="104"/>
                    </a:lnTo>
                    <a:lnTo>
                      <a:pt x="62" y="100"/>
                    </a:lnTo>
                    <a:lnTo>
                      <a:pt x="58" y="98"/>
                    </a:lnTo>
                    <a:lnTo>
                      <a:pt x="56" y="98"/>
                    </a:lnTo>
                    <a:lnTo>
                      <a:pt x="56" y="96"/>
                    </a:lnTo>
                    <a:lnTo>
                      <a:pt x="56" y="96"/>
                    </a:lnTo>
                    <a:lnTo>
                      <a:pt x="60" y="94"/>
                    </a:lnTo>
                    <a:lnTo>
                      <a:pt x="64" y="92"/>
                    </a:lnTo>
                    <a:lnTo>
                      <a:pt x="68" y="86"/>
                    </a:lnTo>
                    <a:lnTo>
                      <a:pt x="68" y="86"/>
                    </a:lnTo>
                    <a:lnTo>
                      <a:pt x="72" y="80"/>
                    </a:lnTo>
                    <a:lnTo>
                      <a:pt x="76" y="78"/>
                    </a:lnTo>
                    <a:lnTo>
                      <a:pt x="80" y="78"/>
                    </a:lnTo>
                    <a:lnTo>
                      <a:pt x="80" y="78"/>
                    </a:lnTo>
                    <a:lnTo>
                      <a:pt x="84" y="74"/>
                    </a:lnTo>
                    <a:lnTo>
                      <a:pt x="82" y="72"/>
                    </a:lnTo>
                    <a:lnTo>
                      <a:pt x="82" y="70"/>
                    </a:lnTo>
                    <a:lnTo>
                      <a:pt x="82" y="66"/>
                    </a:lnTo>
                    <a:lnTo>
                      <a:pt x="82" y="66"/>
                    </a:lnTo>
                    <a:lnTo>
                      <a:pt x="84" y="60"/>
                    </a:lnTo>
                    <a:lnTo>
                      <a:pt x="84" y="56"/>
                    </a:lnTo>
                    <a:lnTo>
                      <a:pt x="84" y="52"/>
                    </a:lnTo>
                    <a:lnTo>
                      <a:pt x="86" y="50"/>
                    </a:lnTo>
                    <a:lnTo>
                      <a:pt x="86" y="50"/>
                    </a:lnTo>
                    <a:lnTo>
                      <a:pt x="88" y="46"/>
                    </a:lnTo>
                    <a:lnTo>
                      <a:pt x="92" y="42"/>
                    </a:lnTo>
                    <a:lnTo>
                      <a:pt x="96" y="38"/>
                    </a:lnTo>
                    <a:lnTo>
                      <a:pt x="102" y="36"/>
                    </a:lnTo>
                    <a:lnTo>
                      <a:pt x="102" y="36"/>
                    </a:lnTo>
                    <a:lnTo>
                      <a:pt x="110" y="34"/>
                    </a:lnTo>
                    <a:lnTo>
                      <a:pt x="110" y="34"/>
                    </a:lnTo>
                    <a:lnTo>
                      <a:pt x="110" y="36"/>
                    </a:lnTo>
                    <a:lnTo>
                      <a:pt x="108" y="40"/>
                    </a:lnTo>
                    <a:lnTo>
                      <a:pt x="108" y="40"/>
                    </a:lnTo>
                    <a:lnTo>
                      <a:pt x="112" y="42"/>
                    </a:lnTo>
                    <a:lnTo>
                      <a:pt x="112" y="42"/>
                    </a:lnTo>
                    <a:lnTo>
                      <a:pt x="112" y="38"/>
                    </a:lnTo>
                    <a:lnTo>
                      <a:pt x="114" y="34"/>
                    </a:lnTo>
                    <a:lnTo>
                      <a:pt x="120" y="30"/>
                    </a:lnTo>
                    <a:lnTo>
                      <a:pt x="124" y="28"/>
                    </a:lnTo>
                    <a:lnTo>
                      <a:pt x="124" y="28"/>
                    </a:lnTo>
                    <a:lnTo>
                      <a:pt x="128" y="28"/>
                    </a:lnTo>
                    <a:lnTo>
                      <a:pt x="132" y="26"/>
                    </a:lnTo>
                    <a:lnTo>
                      <a:pt x="152" y="16"/>
                    </a:lnTo>
                    <a:lnTo>
                      <a:pt x="152" y="16"/>
                    </a:lnTo>
                    <a:lnTo>
                      <a:pt x="156" y="12"/>
                    </a:lnTo>
                    <a:lnTo>
                      <a:pt x="160" y="10"/>
                    </a:lnTo>
                    <a:lnTo>
                      <a:pt x="160" y="8"/>
                    </a:lnTo>
                    <a:lnTo>
                      <a:pt x="160" y="6"/>
                    </a:lnTo>
                    <a:lnTo>
                      <a:pt x="160" y="2"/>
                    </a:lnTo>
                    <a:lnTo>
                      <a:pt x="162" y="2"/>
                    </a:lnTo>
                    <a:lnTo>
                      <a:pt x="162" y="2"/>
                    </a:lnTo>
                    <a:lnTo>
                      <a:pt x="168" y="2"/>
                    </a:lnTo>
                    <a:lnTo>
                      <a:pt x="168" y="0"/>
                    </a:lnTo>
                    <a:lnTo>
                      <a:pt x="170" y="0"/>
                    </a:lnTo>
                    <a:lnTo>
                      <a:pt x="176" y="0"/>
                    </a:lnTo>
                    <a:lnTo>
                      <a:pt x="176" y="0"/>
                    </a:lnTo>
                    <a:lnTo>
                      <a:pt x="180" y="2"/>
                    </a:lnTo>
                    <a:lnTo>
                      <a:pt x="182" y="6"/>
                    </a:lnTo>
                    <a:lnTo>
                      <a:pt x="182" y="10"/>
                    </a:lnTo>
                    <a:lnTo>
                      <a:pt x="176" y="14"/>
                    </a:lnTo>
                    <a:lnTo>
                      <a:pt x="176" y="14"/>
                    </a:lnTo>
                    <a:lnTo>
                      <a:pt x="162" y="22"/>
                    </a:lnTo>
                    <a:lnTo>
                      <a:pt x="150" y="44"/>
                    </a:lnTo>
                    <a:lnTo>
                      <a:pt x="150" y="44"/>
                    </a:lnTo>
                    <a:lnTo>
                      <a:pt x="148" y="44"/>
                    </a:lnTo>
                    <a:lnTo>
                      <a:pt x="142" y="50"/>
                    </a:lnTo>
                    <a:lnTo>
                      <a:pt x="142" y="50"/>
                    </a:lnTo>
                    <a:lnTo>
                      <a:pt x="140" y="56"/>
                    </a:lnTo>
                    <a:lnTo>
                      <a:pt x="140" y="58"/>
                    </a:lnTo>
                    <a:lnTo>
                      <a:pt x="140" y="62"/>
                    </a:lnTo>
                    <a:lnTo>
                      <a:pt x="138" y="66"/>
                    </a:lnTo>
                    <a:lnTo>
                      <a:pt x="138" y="66"/>
                    </a:lnTo>
                    <a:lnTo>
                      <a:pt x="130" y="78"/>
                    </a:lnTo>
                    <a:lnTo>
                      <a:pt x="128" y="84"/>
                    </a:lnTo>
                    <a:lnTo>
                      <a:pt x="128" y="84"/>
                    </a:lnTo>
                    <a:lnTo>
                      <a:pt x="128" y="84"/>
                    </a:lnTo>
                    <a:lnTo>
                      <a:pt x="130" y="84"/>
                    </a:lnTo>
                    <a:lnTo>
                      <a:pt x="132" y="84"/>
                    </a:lnTo>
                    <a:lnTo>
                      <a:pt x="134" y="86"/>
                    </a:lnTo>
                    <a:lnTo>
                      <a:pt x="134" y="86"/>
                    </a:lnTo>
                    <a:lnTo>
                      <a:pt x="136" y="88"/>
                    </a:lnTo>
                    <a:lnTo>
                      <a:pt x="138" y="86"/>
                    </a:lnTo>
                    <a:lnTo>
                      <a:pt x="140" y="88"/>
                    </a:lnTo>
                    <a:lnTo>
                      <a:pt x="140" y="94"/>
                    </a:lnTo>
                    <a:lnTo>
                      <a:pt x="140" y="94"/>
                    </a:lnTo>
                    <a:lnTo>
                      <a:pt x="144" y="110"/>
                    </a:lnTo>
                    <a:lnTo>
                      <a:pt x="144" y="116"/>
                    </a:lnTo>
                    <a:lnTo>
                      <a:pt x="144" y="122"/>
                    </a:lnTo>
                    <a:lnTo>
                      <a:pt x="144" y="122"/>
                    </a:lnTo>
                    <a:lnTo>
                      <a:pt x="144" y="124"/>
                    </a:lnTo>
                    <a:lnTo>
                      <a:pt x="144" y="128"/>
                    </a:lnTo>
                    <a:lnTo>
                      <a:pt x="150" y="132"/>
                    </a:lnTo>
                    <a:lnTo>
                      <a:pt x="156" y="136"/>
                    </a:lnTo>
                    <a:lnTo>
                      <a:pt x="162" y="140"/>
                    </a:lnTo>
                    <a:lnTo>
                      <a:pt x="162" y="140"/>
                    </a:lnTo>
                    <a:lnTo>
                      <a:pt x="166" y="142"/>
                    </a:lnTo>
                    <a:lnTo>
                      <a:pt x="170" y="144"/>
                    </a:lnTo>
                    <a:lnTo>
                      <a:pt x="176" y="142"/>
                    </a:lnTo>
                    <a:lnTo>
                      <a:pt x="182" y="140"/>
                    </a:lnTo>
                    <a:lnTo>
                      <a:pt x="186" y="142"/>
                    </a:lnTo>
                    <a:lnTo>
                      <a:pt x="190" y="144"/>
                    </a:lnTo>
                    <a:lnTo>
                      <a:pt x="190" y="144"/>
                    </a:lnTo>
                    <a:lnTo>
                      <a:pt x="196" y="148"/>
                    </a:lnTo>
                    <a:lnTo>
                      <a:pt x="200" y="148"/>
                    </a:lnTo>
                    <a:lnTo>
                      <a:pt x="206" y="156"/>
                    </a:lnTo>
                    <a:lnTo>
                      <a:pt x="206" y="156"/>
                    </a:lnTo>
                    <a:lnTo>
                      <a:pt x="214" y="162"/>
                    </a:lnTo>
                    <a:lnTo>
                      <a:pt x="220" y="164"/>
                    </a:lnTo>
                    <a:lnTo>
                      <a:pt x="228" y="164"/>
                    </a:lnTo>
                    <a:lnTo>
                      <a:pt x="238" y="160"/>
                    </a:lnTo>
                    <a:lnTo>
                      <a:pt x="238" y="160"/>
                    </a:lnTo>
                    <a:lnTo>
                      <a:pt x="244" y="160"/>
                    </a:lnTo>
                    <a:lnTo>
                      <a:pt x="246" y="160"/>
                    </a:lnTo>
                    <a:lnTo>
                      <a:pt x="246" y="162"/>
                    </a:lnTo>
                    <a:lnTo>
                      <a:pt x="244" y="166"/>
                    </a:lnTo>
                    <a:lnTo>
                      <a:pt x="244" y="166"/>
                    </a:lnTo>
                    <a:lnTo>
                      <a:pt x="242" y="170"/>
                    </a:lnTo>
                    <a:lnTo>
                      <a:pt x="242" y="172"/>
                    </a:lnTo>
                    <a:lnTo>
                      <a:pt x="242" y="176"/>
                    </a:lnTo>
                    <a:lnTo>
                      <a:pt x="240" y="178"/>
                    </a:lnTo>
                    <a:lnTo>
                      <a:pt x="240" y="178"/>
                    </a:lnTo>
                    <a:lnTo>
                      <a:pt x="238" y="180"/>
                    </a:lnTo>
                    <a:lnTo>
                      <a:pt x="240" y="184"/>
                    </a:lnTo>
                    <a:lnTo>
                      <a:pt x="240" y="188"/>
                    </a:lnTo>
                    <a:lnTo>
                      <a:pt x="238" y="194"/>
                    </a:lnTo>
                    <a:lnTo>
                      <a:pt x="238" y="194"/>
                    </a:lnTo>
                    <a:lnTo>
                      <a:pt x="236" y="200"/>
                    </a:lnTo>
                    <a:lnTo>
                      <a:pt x="238" y="204"/>
                    </a:lnTo>
                    <a:lnTo>
                      <a:pt x="238" y="212"/>
                    </a:lnTo>
                    <a:lnTo>
                      <a:pt x="240" y="218"/>
                    </a:lnTo>
                    <a:lnTo>
                      <a:pt x="246" y="218"/>
                    </a:lnTo>
                    <a:lnTo>
                      <a:pt x="246" y="218"/>
                    </a:lnTo>
                    <a:lnTo>
                      <a:pt x="248" y="224"/>
                    </a:lnTo>
                    <a:lnTo>
                      <a:pt x="248" y="230"/>
                    </a:lnTo>
                    <a:lnTo>
                      <a:pt x="246" y="236"/>
                    </a:lnTo>
                    <a:lnTo>
                      <a:pt x="240" y="248"/>
                    </a:lnTo>
                    <a:lnTo>
                      <a:pt x="240" y="248"/>
                    </a:lnTo>
                    <a:lnTo>
                      <a:pt x="242" y="248"/>
                    </a:lnTo>
                    <a:lnTo>
                      <a:pt x="246" y="250"/>
                    </a:lnTo>
                    <a:lnTo>
                      <a:pt x="250" y="258"/>
                    </a:lnTo>
                    <a:lnTo>
                      <a:pt x="252" y="272"/>
                    </a:lnTo>
                    <a:lnTo>
                      <a:pt x="254" y="290"/>
                    </a:lnTo>
                    <a:lnTo>
                      <a:pt x="254" y="290"/>
                    </a:lnTo>
                    <a:lnTo>
                      <a:pt x="250" y="290"/>
                    </a:lnTo>
                    <a:lnTo>
                      <a:pt x="248" y="288"/>
                    </a:lnTo>
                    <a:lnTo>
                      <a:pt x="248" y="282"/>
                    </a:lnTo>
                    <a:lnTo>
                      <a:pt x="248" y="276"/>
                    </a:lnTo>
                    <a:lnTo>
                      <a:pt x="248" y="274"/>
                    </a:lnTo>
                    <a:lnTo>
                      <a:pt x="246" y="274"/>
                    </a:lnTo>
                    <a:lnTo>
                      <a:pt x="246" y="274"/>
                    </a:lnTo>
                    <a:lnTo>
                      <a:pt x="244" y="274"/>
                    </a:lnTo>
                    <a:lnTo>
                      <a:pt x="242" y="276"/>
                    </a:lnTo>
                    <a:lnTo>
                      <a:pt x="242" y="278"/>
                    </a:lnTo>
                    <a:lnTo>
                      <a:pt x="240" y="278"/>
                    </a:lnTo>
                    <a:lnTo>
                      <a:pt x="240" y="278"/>
                    </a:lnTo>
                    <a:lnTo>
                      <a:pt x="238" y="278"/>
                    </a:lnTo>
                    <a:lnTo>
                      <a:pt x="238" y="276"/>
                    </a:lnTo>
                    <a:lnTo>
                      <a:pt x="236" y="274"/>
                    </a:lnTo>
                    <a:lnTo>
                      <a:pt x="232" y="274"/>
                    </a:lnTo>
                    <a:lnTo>
                      <a:pt x="232" y="274"/>
                    </a:lnTo>
                    <a:lnTo>
                      <a:pt x="230" y="274"/>
                    </a:lnTo>
                    <a:lnTo>
                      <a:pt x="232" y="276"/>
                    </a:lnTo>
                    <a:lnTo>
                      <a:pt x="232" y="278"/>
                    </a:lnTo>
                    <a:lnTo>
                      <a:pt x="226" y="280"/>
                    </a:lnTo>
                    <a:lnTo>
                      <a:pt x="226" y="280"/>
                    </a:lnTo>
                    <a:lnTo>
                      <a:pt x="212" y="282"/>
                    </a:lnTo>
                    <a:lnTo>
                      <a:pt x="196" y="284"/>
                    </a:lnTo>
                    <a:lnTo>
                      <a:pt x="196" y="284"/>
                    </a:lnTo>
                    <a:lnTo>
                      <a:pt x="196" y="290"/>
                    </a:lnTo>
                    <a:lnTo>
                      <a:pt x="198" y="292"/>
                    </a:lnTo>
                    <a:lnTo>
                      <a:pt x="202" y="294"/>
                    </a:lnTo>
                    <a:lnTo>
                      <a:pt x="202" y="294"/>
                    </a:lnTo>
                    <a:lnTo>
                      <a:pt x="204" y="294"/>
                    </a:lnTo>
                    <a:lnTo>
                      <a:pt x="206" y="296"/>
                    </a:lnTo>
                    <a:lnTo>
                      <a:pt x="208" y="300"/>
                    </a:lnTo>
                    <a:lnTo>
                      <a:pt x="208" y="306"/>
                    </a:lnTo>
                    <a:lnTo>
                      <a:pt x="208" y="306"/>
                    </a:lnTo>
                    <a:lnTo>
                      <a:pt x="206" y="306"/>
                    </a:lnTo>
                    <a:lnTo>
                      <a:pt x="206" y="306"/>
                    </a:lnTo>
                    <a:lnTo>
                      <a:pt x="200" y="306"/>
                    </a:lnTo>
                    <a:lnTo>
                      <a:pt x="196" y="306"/>
                    </a:lnTo>
                    <a:lnTo>
                      <a:pt x="192" y="310"/>
                    </a:lnTo>
                    <a:lnTo>
                      <a:pt x="190" y="312"/>
                    </a:lnTo>
                    <a:lnTo>
                      <a:pt x="192" y="316"/>
                    </a:lnTo>
                    <a:lnTo>
                      <a:pt x="192" y="316"/>
                    </a:lnTo>
                    <a:lnTo>
                      <a:pt x="196" y="324"/>
                    </a:lnTo>
                    <a:lnTo>
                      <a:pt x="200" y="334"/>
                    </a:lnTo>
                    <a:lnTo>
                      <a:pt x="204" y="342"/>
                    </a:lnTo>
                    <a:lnTo>
                      <a:pt x="204" y="344"/>
                    </a:lnTo>
                    <a:lnTo>
                      <a:pt x="204" y="346"/>
                    </a:lnTo>
                    <a:lnTo>
                      <a:pt x="204" y="346"/>
                    </a:lnTo>
                    <a:lnTo>
                      <a:pt x="202" y="358"/>
                    </a:lnTo>
                    <a:lnTo>
                      <a:pt x="200" y="382"/>
                    </a:lnTo>
                    <a:lnTo>
                      <a:pt x="196" y="406"/>
                    </a:lnTo>
                    <a:lnTo>
                      <a:pt x="194" y="416"/>
                    </a:lnTo>
                    <a:lnTo>
                      <a:pt x="192" y="426"/>
                    </a:lnTo>
                    <a:lnTo>
                      <a:pt x="192" y="426"/>
                    </a:lnTo>
                    <a:lnTo>
                      <a:pt x="182" y="420"/>
                    </a:lnTo>
                    <a:lnTo>
                      <a:pt x="180" y="416"/>
                    </a:lnTo>
                    <a:lnTo>
                      <a:pt x="182" y="412"/>
                    </a:lnTo>
                    <a:lnTo>
                      <a:pt x="186" y="402"/>
                    </a:lnTo>
                    <a:lnTo>
                      <a:pt x="186" y="402"/>
                    </a:lnTo>
                    <a:lnTo>
                      <a:pt x="190" y="398"/>
                    </a:lnTo>
                    <a:lnTo>
                      <a:pt x="190" y="392"/>
                    </a:lnTo>
                    <a:lnTo>
                      <a:pt x="190" y="388"/>
                    </a:lnTo>
                    <a:lnTo>
                      <a:pt x="188" y="386"/>
                    </a:lnTo>
                    <a:lnTo>
                      <a:pt x="184" y="384"/>
                    </a:lnTo>
                    <a:lnTo>
                      <a:pt x="182" y="384"/>
                    </a:lnTo>
                    <a:lnTo>
                      <a:pt x="176" y="386"/>
                    </a:lnTo>
                    <a:lnTo>
                      <a:pt x="176" y="386"/>
                    </a:lnTo>
                    <a:lnTo>
                      <a:pt x="172" y="388"/>
                    </a:lnTo>
                    <a:lnTo>
                      <a:pt x="170" y="386"/>
                    </a:lnTo>
                    <a:lnTo>
                      <a:pt x="164" y="384"/>
                    </a:lnTo>
                    <a:lnTo>
                      <a:pt x="158" y="382"/>
                    </a:lnTo>
                    <a:lnTo>
                      <a:pt x="156" y="384"/>
                    </a:lnTo>
                    <a:lnTo>
                      <a:pt x="150" y="386"/>
                    </a:lnTo>
                    <a:lnTo>
                      <a:pt x="150" y="386"/>
                    </a:lnTo>
                    <a:lnTo>
                      <a:pt x="142" y="388"/>
                    </a:lnTo>
                    <a:lnTo>
                      <a:pt x="138" y="388"/>
                    </a:lnTo>
                    <a:lnTo>
                      <a:pt x="132" y="386"/>
                    </a:lnTo>
                    <a:lnTo>
                      <a:pt x="128" y="386"/>
                    </a:lnTo>
                    <a:lnTo>
                      <a:pt x="128" y="386"/>
                    </a:lnTo>
                    <a:lnTo>
                      <a:pt x="124" y="374"/>
                    </a:lnTo>
                    <a:lnTo>
                      <a:pt x="122" y="368"/>
                    </a:lnTo>
                    <a:lnTo>
                      <a:pt x="118" y="366"/>
                    </a:lnTo>
                    <a:lnTo>
                      <a:pt x="116" y="362"/>
                    </a:lnTo>
                    <a:lnTo>
                      <a:pt x="116" y="362"/>
                    </a:lnTo>
                    <a:lnTo>
                      <a:pt x="114" y="358"/>
                    </a:lnTo>
                    <a:lnTo>
                      <a:pt x="114" y="356"/>
                    </a:lnTo>
                    <a:lnTo>
                      <a:pt x="108" y="354"/>
                    </a:lnTo>
                    <a:lnTo>
                      <a:pt x="104" y="352"/>
                    </a:lnTo>
                    <a:lnTo>
                      <a:pt x="102" y="348"/>
                    </a:lnTo>
                    <a:lnTo>
                      <a:pt x="100" y="344"/>
                    </a:lnTo>
                    <a:lnTo>
                      <a:pt x="100" y="344"/>
                    </a:lnTo>
                    <a:lnTo>
                      <a:pt x="98" y="336"/>
                    </a:lnTo>
                    <a:lnTo>
                      <a:pt x="92" y="330"/>
                    </a:lnTo>
                    <a:lnTo>
                      <a:pt x="86" y="328"/>
                    </a:lnTo>
                    <a:lnTo>
                      <a:pt x="80" y="328"/>
                    </a:lnTo>
                    <a:lnTo>
                      <a:pt x="80" y="328"/>
                    </a:lnTo>
                    <a:lnTo>
                      <a:pt x="62" y="318"/>
                    </a:lnTo>
                    <a:lnTo>
                      <a:pt x="56" y="316"/>
                    </a:lnTo>
                    <a:lnTo>
                      <a:pt x="54" y="316"/>
                    </a:lnTo>
                    <a:lnTo>
                      <a:pt x="56" y="318"/>
                    </a:lnTo>
                    <a:lnTo>
                      <a:pt x="56" y="318"/>
                    </a:lnTo>
                    <a:lnTo>
                      <a:pt x="54" y="318"/>
                    </a:lnTo>
                    <a:lnTo>
                      <a:pt x="54" y="320"/>
                    </a:lnTo>
                    <a:lnTo>
                      <a:pt x="46" y="318"/>
                    </a:lnTo>
                    <a:lnTo>
                      <a:pt x="38" y="314"/>
                    </a:lnTo>
                    <a:lnTo>
                      <a:pt x="32" y="310"/>
                    </a:lnTo>
                    <a:lnTo>
                      <a:pt x="32" y="310"/>
                    </a:lnTo>
                    <a:lnTo>
                      <a:pt x="28" y="304"/>
                    </a:lnTo>
                    <a:lnTo>
                      <a:pt x="22" y="300"/>
                    </a:lnTo>
                    <a:lnTo>
                      <a:pt x="4" y="292"/>
                    </a:lnTo>
                    <a:lnTo>
                      <a:pt x="4" y="292"/>
                    </a:lnTo>
                    <a:lnTo>
                      <a:pt x="4" y="288"/>
                    </a:lnTo>
                    <a:lnTo>
                      <a:pt x="2" y="290"/>
                    </a:lnTo>
                    <a:lnTo>
                      <a:pt x="0" y="288"/>
                    </a:lnTo>
                    <a:lnTo>
                      <a:pt x="4" y="284"/>
                    </a:lnTo>
                    <a:lnTo>
                      <a:pt x="4" y="284"/>
                    </a:lnTo>
                    <a:lnTo>
                      <a:pt x="10" y="278"/>
                    </a:lnTo>
                    <a:lnTo>
                      <a:pt x="14" y="276"/>
                    </a:lnTo>
                    <a:lnTo>
                      <a:pt x="16" y="276"/>
                    </a:lnTo>
                    <a:lnTo>
                      <a:pt x="18" y="276"/>
                    </a:lnTo>
                    <a:lnTo>
                      <a:pt x="18" y="276"/>
                    </a:lnTo>
                    <a:lnTo>
                      <a:pt x="18" y="272"/>
                    </a:lnTo>
                    <a:lnTo>
                      <a:pt x="16" y="268"/>
                    </a:lnTo>
                    <a:lnTo>
                      <a:pt x="14" y="266"/>
                    </a:lnTo>
                    <a:lnTo>
                      <a:pt x="14" y="260"/>
                    </a:lnTo>
                    <a:lnTo>
                      <a:pt x="14" y="260"/>
                    </a:lnTo>
                    <a:lnTo>
                      <a:pt x="18" y="258"/>
                    </a:lnTo>
                    <a:lnTo>
                      <a:pt x="20" y="256"/>
                    </a:lnTo>
                    <a:lnTo>
                      <a:pt x="28" y="254"/>
                    </a:lnTo>
                    <a:lnTo>
                      <a:pt x="34" y="252"/>
                    </a:lnTo>
                    <a:lnTo>
                      <a:pt x="36" y="250"/>
                    </a:lnTo>
                    <a:lnTo>
                      <a:pt x="36" y="248"/>
                    </a:lnTo>
                    <a:lnTo>
                      <a:pt x="36" y="248"/>
                    </a:lnTo>
                    <a:lnTo>
                      <a:pt x="38" y="244"/>
                    </a:lnTo>
                    <a:lnTo>
                      <a:pt x="42" y="238"/>
                    </a:lnTo>
                    <a:lnTo>
                      <a:pt x="48" y="232"/>
                    </a:lnTo>
                    <a:lnTo>
                      <a:pt x="54" y="226"/>
                    </a:lnTo>
                    <a:lnTo>
                      <a:pt x="54" y="226"/>
                    </a:lnTo>
                    <a:lnTo>
                      <a:pt x="52" y="224"/>
                    </a:lnTo>
                    <a:lnTo>
                      <a:pt x="52" y="222"/>
                    </a:lnTo>
                    <a:lnTo>
                      <a:pt x="54" y="222"/>
                    </a:lnTo>
                    <a:lnTo>
                      <a:pt x="52" y="220"/>
                    </a:lnTo>
                    <a:lnTo>
                      <a:pt x="52" y="220"/>
                    </a:lnTo>
                    <a:lnTo>
                      <a:pt x="50" y="222"/>
                    </a:lnTo>
                    <a:lnTo>
                      <a:pt x="50" y="222"/>
                    </a:lnTo>
                    <a:lnTo>
                      <a:pt x="48" y="222"/>
                    </a:lnTo>
                    <a:lnTo>
                      <a:pt x="44" y="222"/>
                    </a:lnTo>
                    <a:lnTo>
                      <a:pt x="44" y="222"/>
                    </a:lnTo>
                    <a:lnTo>
                      <a:pt x="42" y="220"/>
                    </a:lnTo>
                    <a:lnTo>
                      <a:pt x="40" y="216"/>
                    </a:lnTo>
                    <a:lnTo>
                      <a:pt x="44" y="210"/>
                    </a:lnTo>
                    <a:lnTo>
                      <a:pt x="44" y="210"/>
                    </a:lnTo>
                    <a:lnTo>
                      <a:pt x="44" y="204"/>
                    </a:lnTo>
                    <a:lnTo>
                      <a:pt x="44" y="198"/>
                    </a:lnTo>
                    <a:lnTo>
                      <a:pt x="42" y="182"/>
                    </a:lnTo>
                    <a:lnTo>
                      <a:pt x="42" y="182"/>
                    </a:lnTo>
                    <a:lnTo>
                      <a:pt x="40" y="178"/>
                    </a:lnTo>
                    <a:lnTo>
                      <a:pt x="38" y="176"/>
                    </a:lnTo>
                    <a:lnTo>
                      <a:pt x="38" y="176"/>
                    </a:lnTo>
                    <a:lnTo>
                      <a:pt x="38" y="174"/>
                    </a:lnTo>
                    <a:lnTo>
                      <a:pt x="38" y="174"/>
                    </a:lnTo>
                    <a:lnTo>
                      <a:pt x="44" y="170"/>
                    </a:lnTo>
                    <a:lnTo>
                      <a:pt x="46" y="168"/>
                    </a:lnTo>
                    <a:lnTo>
                      <a:pt x="44" y="162"/>
                    </a:lnTo>
                    <a:lnTo>
                      <a:pt x="44" y="162"/>
                    </a:lnTo>
                    <a:lnTo>
                      <a:pt x="40" y="154"/>
                    </a:lnTo>
                    <a:lnTo>
                      <a:pt x="42" y="154"/>
                    </a:lnTo>
                    <a:lnTo>
                      <a:pt x="42" y="152"/>
                    </a:lnTo>
                    <a:lnTo>
                      <a:pt x="42" y="152"/>
                    </a:lnTo>
                    <a:lnTo>
                      <a:pt x="40" y="146"/>
                    </a:lnTo>
                    <a:lnTo>
                      <a:pt x="40" y="144"/>
                    </a:lnTo>
                    <a:lnTo>
                      <a:pt x="38" y="144"/>
                    </a:lnTo>
                    <a:lnTo>
                      <a:pt x="38" y="144"/>
                    </a:lnTo>
                    <a:lnTo>
                      <a:pt x="38" y="144"/>
                    </a:lnTo>
                    <a:lnTo>
                      <a:pt x="36" y="140"/>
                    </a:lnTo>
                    <a:lnTo>
                      <a:pt x="34" y="140"/>
                    </a:lnTo>
                    <a:lnTo>
                      <a:pt x="32" y="140"/>
                    </a:lnTo>
                    <a:lnTo>
                      <a:pt x="32" y="138"/>
                    </a:lnTo>
                    <a:lnTo>
                      <a:pt x="32" y="138"/>
                    </a:lnTo>
                    <a:lnTo>
                      <a:pt x="30" y="134"/>
                    </a:lnTo>
                    <a:lnTo>
                      <a:pt x="30" y="134"/>
                    </a:lnTo>
                    <a:lnTo>
                      <a:pt x="30" y="132"/>
                    </a:lnTo>
                    <a:lnTo>
                      <a:pt x="30" y="132"/>
                    </a:lnTo>
                    <a:lnTo>
                      <a:pt x="32" y="128"/>
                    </a:lnTo>
                    <a:lnTo>
                      <a:pt x="34" y="124"/>
                    </a:lnTo>
                    <a:lnTo>
                      <a:pt x="34" y="124"/>
                    </a:lnTo>
                    <a:lnTo>
                      <a:pt x="34" y="122"/>
                    </a:lnTo>
                    <a:lnTo>
                      <a:pt x="36" y="122"/>
                    </a:lnTo>
                    <a:lnTo>
                      <a:pt x="38" y="122"/>
                    </a:lnTo>
                    <a:lnTo>
                      <a:pt x="44" y="120"/>
                    </a:lnTo>
                    <a:lnTo>
                      <a:pt x="44" y="120"/>
                    </a:lnTo>
                    <a:lnTo>
                      <a:pt x="46" y="116"/>
                    </a:lnTo>
                    <a:lnTo>
                      <a:pt x="46" y="114"/>
                    </a:lnTo>
                    <a:lnTo>
                      <a:pt x="44" y="114"/>
                    </a:lnTo>
                    <a:lnTo>
                      <a:pt x="46" y="110"/>
                    </a:lnTo>
                    <a:lnTo>
                      <a:pt x="46" y="110"/>
                    </a:lnTo>
                    <a:lnTo>
                      <a:pt x="48" y="108"/>
                    </a:lnTo>
                    <a:lnTo>
                      <a:pt x="46" y="108"/>
                    </a:lnTo>
                    <a:lnTo>
                      <a:pt x="44" y="106"/>
                    </a:lnTo>
                    <a:lnTo>
                      <a:pt x="44" y="104"/>
                    </a:lnTo>
                    <a:lnTo>
                      <a:pt x="44" y="104"/>
                    </a:lnTo>
                    <a:lnTo>
                      <a:pt x="44" y="102"/>
                    </a:lnTo>
                    <a:lnTo>
                      <a:pt x="44" y="100"/>
                    </a:lnTo>
                    <a:lnTo>
                      <a:pt x="44" y="98"/>
                    </a:lnTo>
                    <a:lnTo>
                      <a:pt x="46" y="94"/>
                    </a:lnTo>
                    <a:lnTo>
                      <a:pt x="46" y="94"/>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Czech Republic"/>
              <p:cNvSpPr>
                <a:spLocks/>
              </p:cNvSpPr>
              <p:nvPr/>
            </p:nvSpPr>
            <p:spPr bwMode="auto">
              <a:xfrm>
                <a:off x="6111394" y="1843016"/>
                <a:ext cx="191372" cy="81941"/>
              </a:xfrm>
              <a:custGeom>
                <a:avLst/>
                <a:gdLst/>
                <a:ahLst/>
                <a:cxnLst>
                  <a:cxn ang="0">
                    <a:pos x="100" y="54"/>
                  </a:cxn>
                  <a:cxn ang="0">
                    <a:pos x="106" y="48"/>
                  </a:cxn>
                  <a:cxn ang="0">
                    <a:pos x="110" y="46"/>
                  </a:cxn>
                  <a:cxn ang="0">
                    <a:pos x="118" y="38"/>
                  </a:cxn>
                  <a:cxn ang="0">
                    <a:pos x="126" y="28"/>
                  </a:cxn>
                  <a:cxn ang="0">
                    <a:pos x="116" y="22"/>
                  </a:cxn>
                  <a:cxn ang="0">
                    <a:pos x="102" y="18"/>
                  </a:cxn>
                  <a:cxn ang="0">
                    <a:pos x="100" y="16"/>
                  </a:cxn>
                  <a:cxn ang="0">
                    <a:pos x="96" y="12"/>
                  </a:cxn>
                  <a:cxn ang="0">
                    <a:pos x="92" y="12"/>
                  </a:cxn>
                  <a:cxn ang="0">
                    <a:pos x="86" y="10"/>
                  </a:cxn>
                  <a:cxn ang="0">
                    <a:pos x="86" y="12"/>
                  </a:cxn>
                  <a:cxn ang="0">
                    <a:pos x="86" y="14"/>
                  </a:cxn>
                  <a:cxn ang="0">
                    <a:pos x="82" y="16"/>
                  </a:cxn>
                  <a:cxn ang="0">
                    <a:pos x="82" y="16"/>
                  </a:cxn>
                  <a:cxn ang="0">
                    <a:pos x="76" y="12"/>
                  </a:cxn>
                  <a:cxn ang="0">
                    <a:pos x="72" y="10"/>
                  </a:cxn>
                  <a:cxn ang="0">
                    <a:pos x="52" y="6"/>
                  </a:cxn>
                  <a:cxn ang="0">
                    <a:pos x="48" y="6"/>
                  </a:cxn>
                  <a:cxn ang="0">
                    <a:pos x="44" y="6"/>
                  </a:cxn>
                  <a:cxn ang="0">
                    <a:pos x="40" y="2"/>
                  </a:cxn>
                  <a:cxn ang="0">
                    <a:pos x="34" y="4"/>
                  </a:cxn>
                  <a:cxn ang="0">
                    <a:pos x="30" y="8"/>
                  </a:cxn>
                  <a:cxn ang="0">
                    <a:pos x="24" y="10"/>
                  </a:cxn>
                  <a:cxn ang="0">
                    <a:pos x="12" y="14"/>
                  </a:cxn>
                  <a:cxn ang="0">
                    <a:pos x="0" y="14"/>
                  </a:cxn>
                  <a:cxn ang="0">
                    <a:pos x="0" y="16"/>
                  </a:cxn>
                  <a:cxn ang="0">
                    <a:pos x="8" y="26"/>
                  </a:cxn>
                  <a:cxn ang="0">
                    <a:pos x="12" y="30"/>
                  </a:cxn>
                  <a:cxn ang="0">
                    <a:pos x="16" y="32"/>
                  </a:cxn>
                  <a:cxn ang="0">
                    <a:pos x="28" y="40"/>
                  </a:cxn>
                  <a:cxn ang="0">
                    <a:pos x="32" y="42"/>
                  </a:cxn>
                  <a:cxn ang="0">
                    <a:pos x="32" y="46"/>
                  </a:cxn>
                  <a:cxn ang="0">
                    <a:pos x="40" y="48"/>
                  </a:cxn>
                  <a:cxn ang="0">
                    <a:pos x="44" y="48"/>
                  </a:cxn>
                  <a:cxn ang="0">
                    <a:pos x="48" y="48"/>
                  </a:cxn>
                  <a:cxn ang="0">
                    <a:pos x="50" y="44"/>
                  </a:cxn>
                  <a:cxn ang="0">
                    <a:pos x="50" y="38"/>
                  </a:cxn>
                  <a:cxn ang="0">
                    <a:pos x="52" y="38"/>
                  </a:cxn>
                  <a:cxn ang="0">
                    <a:pos x="62" y="42"/>
                  </a:cxn>
                  <a:cxn ang="0">
                    <a:pos x="64" y="44"/>
                  </a:cxn>
                  <a:cxn ang="0">
                    <a:pos x="68" y="42"/>
                  </a:cxn>
                  <a:cxn ang="0">
                    <a:pos x="72" y="42"/>
                  </a:cxn>
                  <a:cxn ang="0">
                    <a:pos x="90" y="52"/>
                  </a:cxn>
                  <a:cxn ang="0">
                    <a:pos x="94" y="54"/>
                  </a:cxn>
                  <a:cxn ang="0">
                    <a:pos x="100" y="54"/>
                  </a:cxn>
                </a:cxnLst>
                <a:rect l="0" t="0" r="r" b="b"/>
                <a:pathLst>
                  <a:path w="126" h="54">
                    <a:moveTo>
                      <a:pt x="100" y="54"/>
                    </a:moveTo>
                    <a:lnTo>
                      <a:pt x="100" y="54"/>
                    </a:lnTo>
                    <a:lnTo>
                      <a:pt x="102" y="52"/>
                    </a:lnTo>
                    <a:lnTo>
                      <a:pt x="106" y="48"/>
                    </a:lnTo>
                    <a:lnTo>
                      <a:pt x="110" y="46"/>
                    </a:lnTo>
                    <a:lnTo>
                      <a:pt x="110" y="46"/>
                    </a:lnTo>
                    <a:lnTo>
                      <a:pt x="118" y="42"/>
                    </a:lnTo>
                    <a:lnTo>
                      <a:pt x="118" y="38"/>
                    </a:lnTo>
                    <a:lnTo>
                      <a:pt x="120" y="34"/>
                    </a:lnTo>
                    <a:lnTo>
                      <a:pt x="126" y="28"/>
                    </a:lnTo>
                    <a:lnTo>
                      <a:pt x="126" y="28"/>
                    </a:lnTo>
                    <a:lnTo>
                      <a:pt x="116" y="22"/>
                    </a:lnTo>
                    <a:lnTo>
                      <a:pt x="108" y="20"/>
                    </a:lnTo>
                    <a:lnTo>
                      <a:pt x="102" y="18"/>
                    </a:lnTo>
                    <a:lnTo>
                      <a:pt x="100" y="16"/>
                    </a:lnTo>
                    <a:lnTo>
                      <a:pt x="100" y="16"/>
                    </a:lnTo>
                    <a:lnTo>
                      <a:pt x="98" y="12"/>
                    </a:lnTo>
                    <a:lnTo>
                      <a:pt x="96" y="12"/>
                    </a:lnTo>
                    <a:lnTo>
                      <a:pt x="96" y="12"/>
                    </a:lnTo>
                    <a:lnTo>
                      <a:pt x="92" y="12"/>
                    </a:lnTo>
                    <a:lnTo>
                      <a:pt x="88" y="10"/>
                    </a:lnTo>
                    <a:lnTo>
                      <a:pt x="86" y="10"/>
                    </a:lnTo>
                    <a:lnTo>
                      <a:pt x="86" y="12"/>
                    </a:lnTo>
                    <a:lnTo>
                      <a:pt x="86" y="12"/>
                    </a:lnTo>
                    <a:lnTo>
                      <a:pt x="88" y="14"/>
                    </a:lnTo>
                    <a:lnTo>
                      <a:pt x="86" y="14"/>
                    </a:lnTo>
                    <a:lnTo>
                      <a:pt x="84" y="14"/>
                    </a:lnTo>
                    <a:lnTo>
                      <a:pt x="82" y="16"/>
                    </a:lnTo>
                    <a:lnTo>
                      <a:pt x="82" y="16"/>
                    </a:lnTo>
                    <a:lnTo>
                      <a:pt x="82" y="16"/>
                    </a:lnTo>
                    <a:lnTo>
                      <a:pt x="80" y="14"/>
                    </a:lnTo>
                    <a:lnTo>
                      <a:pt x="76" y="12"/>
                    </a:lnTo>
                    <a:lnTo>
                      <a:pt x="72" y="10"/>
                    </a:lnTo>
                    <a:lnTo>
                      <a:pt x="72" y="10"/>
                    </a:lnTo>
                    <a:lnTo>
                      <a:pt x="58" y="8"/>
                    </a:lnTo>
                    <a:lnTo>
                      <a:pt x="52" y="6"/>
                    </a:lnTo>
                    <a:lnTo>
                      <a:pt x="50" y="4"/>
                    </a:lnTo>
                    <a:lnTo>
                      <a:pt x="48" y="6"/>
                    </a:lnTo>
                    <a:lnTo>
                      <a:pt x="48" y="6"/>
                    </a:lnTo>
                    <a:lnTo>
                      <a:pt x="44" y="6"/>
                    </a:lnTo>
                    <a:lnTo>
                      <a:pt x="40" y="2"/>
                    </a:lnTo>
                    <a:lnTo>
                      <a:pt x="40" y="2"/>
                    </a:lnTo>
                    <a:lnTo>
                      <a:pt x="38" y="0"/>
                    </a:lnTo>
                    <a:lnTo>
                      <a:pt x="34" y="4"/>
                    </a:lnTo>
                    <a:lnTo>
                      <a:pt x="34" y="4"/>
                    </a:lnTo>
                    <a:lnTo>
                      <a:pt x="30" y="8"/>
                    </a:lnTo>
                    <a:lnTo>
                      <a:pt x="24" y="10"/>
                    </a:lnTo>
                    <a:lnTo>
                      <a:pt x="24" y="10"/>
                    </a:lnTo>
                    <a:lnTo>
                      <a:pt x="12" y="14"/>
                    </a:lnTo>
                    <a:lnTo>
                      <a:pt x="12" y="14"/>
                    </a:lnTo>
                    <a:lnTo>
                      <a:pt x="4" y="14"/>
                    </a:lnTo>
                    <a:lnTo>
                      <a:pt x="0" y="14"/>
                    </a:lnTo>
                    <a:lnTo>
                      <a:pt x="0" y="16"/>
                    </a:lnTo>
                    <a:lnTo>
                      <a:pt x="0" y="16"/>
                    </a:lnTo>
                    <a:lnTo>
                      <a:pt x="4" y="20"/>
                    </a:lnTo>
                    <a:lnTo>
                      <a:pt x="8" y="26"/>
                    </a:lnTo>
                    <a:lnTo>
                      <a:pt x="8" y="26"/>
                    </a:lnTo>
                    <a:lnTo>
                      <a:pt x="12" y="30"/>
                    </a:lnTo>
                    <a:lnTo>
                      <a:pt x="16" y="32"/>
                    </a:lnTo>
                    <a:lnTo>
                      <a:pt x="16" y="32"/>
                    </a:lnTo>
                    <a:lnTo>
                      <a:pt x="24" y="38"/>
                    </a:lnTo>
                    <a:lnTo>
                      <a:pt x="28" y="40"/>
                    </a:lnTo>
                    <a:lnTo>
                      <a:pt x="28" y="40"/>
                    </a:lnTo>
                    <a:lnTo>
                      <a:pt x="32" y="42"/>
                    </a:lnTo>
                    <a:lnTo>
                      <a:pt x="32" y="46"/>
                    </a:lnTo>
                    <a:lnTo>
                      <a:pt x="32" y="46"/>
                    </a:lnTo>
                    <a:lnTo>
                      <a:pt x="38" y="48"/>
                    </a:lnTo>
                    <a:lnTo>
                      <a:pt x="40" y="48"/>
                    </a:lnTo>
                    <a:lnTo>
                      <a:pt x="40" y="48"/>
                    </a:lnTo>
                    <a:lnTo>
                      <a:pt x="44" y="48"/>
                    </a:lnTo>
                    <a:lnTo>
                      <a:pt x="46" y="48"/>
                    </a:lnTo>
                    <a:lnTo>
                      <a:pt x="48" y="48"/>
                    </a:lnTo>
                    <a:lnTo>
                      <a:pt x="48" y="48"/>
                    </a:lnTo>
                    <a:lnTo>
                      <a:pt x="50" y="44"/>
                    </a:lnTo>
                    <a:lnTo>
                      <a:pt x="50" y="40"/>
                    </a:lnTo>
                    <a:lnTo>
                      <a:pt x="50" y="38"/>
                    </a:lnTo>
                    <a:lnTo>
                      <a:pt x="52" y="38"/>
                    </a:lnTo>
                    <a:lnTo>
                      <a:pt x="52" y="38"/>
                    </a:lnTo>
                    <a:lnTo>
                      <a:pt x="58" y="40"/>
                    </a:lnTo>
                    <a:lnTo>
                      <a:pt x="62" y="42"/>
                    </a:lnTo>
                    <a:lnTo>
                      <a:pt x="62" y="42"/>
                    </a:lnTo>
                    <a:lnTo>
                      <a:pt x="64" y="44"/>
                    </a:lnTo>
                    <a:lnTo>
                      <a:pt x="66" y="42"/>
                    </a:lnTo>
                    <a:lnTo>
                      <a:pt x="68" y="42"/>
                    </a:lnTo>
                    <a:lnTo>
                      <a:pt x="72" y="42"/>
                    </a:lnTo>
                    <a:lnTo>
                      <a:pt x="72" y="42"/>
                    </a:lnTo>
                    <a:lnTo>
                      <a:pt x="82" y="48"/>
                    </a:lnTo>
                    <a:lnTo>
                      <a:pt x="90" y="52"/>
                    </a:lnTo>
                    <a:lnTo>
                      <a:pt x="90" y="52"/>
                    </a:lnTo>
                    <a:lnTo>
                      <a:pt x="94" y="54"/>
                    </a:lnTo>
                    <a:lnTo>
                      <a:pt x="96" y="54"/>
                    </a:lnTo>
                    <a:lnTo>
                      <a:pt x="100" y="54"/>
                    </a:lnTo>
                    <a:lnTo>
                      <a:pt x="100" y="54"/>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Greece"/>
              <p:cNvSpPr>
                <a:spLocks/>
              </p:cNvSpPr>
              <p:nvPr/>
            </p:nvSpPr>
            <p:spPr bwMode="auto">
              <a:xfrm>
                <a:off x="6375668" y="2131325"/>
                <a:ext cx="173146" cy="179055"/>
              </a:xfrm>
              <a:custGeom>
                <a:avLst/>
                <a:gdLst/>
                <a:ahLst/>
                <a:cxnLst>
                  <a:cxn ang="0">
                    <a:pos x="6" y="50"/>
                  </a:cxn>
                  <a:cxn ang="0">
                    <a:pos x="12" y="58"/>
                  </a:cxn>
                  <a:cxn ang="0">
                    <a:pos x="20" y="66"/>
                  </a:cxn>
                  <a:cxn ang="0">
                    <a:pos x="24" y="64"/>
                  </a:cxn>
                  <a:cxn ang="0">
                    <a:pos x="28" y="64"/>
                  </a:cxn>
                  <a:cxn ang="0">
                    <a:pos x="22" y="68"/>
                  </a:cxn>
                  <a:cxn ang="0">
                    <a:pos x="30" y="74"/>
                  </a:cxn>
                  <a:cxn ang="0">
                    <a:pos x="44" y="74"/>
                  </a:cxn>
                  <a:cxn ang="0">
                    <a:pos x="58" y="78"/>
                  </a:cxn>
                  <a:cxn ang="0">
                    <a:pos x="52" y="80"/>
                  </a:cxn>
                  <a:cxn ang="0">
                    <a:pos x="36" y="78"/>
                  </a:cxn>
                  <a:cxn ang="0">
                    <a:pos x="26" y="82"/>
                  </a:cxn>
                  <a:cxn ang="0">
                    <a:pos x="28" y="92"/>
                  </a:cxn>
                  <a:cxn ang="0">
                    <a:pos x="38" y="98"/>
                  </a:cxn>
                  <a:cxn ang="0">
                    <a:pos x="46" y="110"/>
                  </a:cxn>
                  <a:cxn ang="0">
                    <a:pos x="54" y="110"/>
                  </a:cxn>
                  <a:cxn ang="0">
                    <a:pos x="58" y="114"/>
                  </a:cxn>
                  <a:cxn ang="0">
                    <a:pos x="66" y="118"/>
                  </a:cxn>
                  <a:cxn ang="0">
                    <a:pos x="60" y="102"/>
                  </a:cxn>
                  <a:cxn ang="0">
                    <a:pos x="58" y="96"/>
                  </a:cxn>
                  <a:cxn ang="0">
                    <a:pos x="64" y="98"/>
                  </a:cxn>
                  <a:cxn ang="0">
                    <a:pos x="66" y="92"/>
                  </a:cxn>
                  <a:cxn ang="0">
                    <a:pos x="64" y="86"/>
                  </a:cxn>
                  <a:cxn ang="0">
                    <a:pos x="78" y="90"/>
                  </a:cxn>
                  <a:cxn ang="0">
                    <a:pos x="80" y="80"/>
                  </a:cxn>
                  <a:cxn ang="0">
                    <a:pos x="66" y="70"/>
                  </a:cxn>
                  <a:cxn ang="0">
                    <a:pos x="56" y="64"/>
                  </a:cxn>
                  <a:cxn ang="0">
                    <a:pos x="50" y="58"/>
                  </a:cxn>
                  <a:cxn ang="0">
                    <a:pos x="50" y="50"/>
                  </a:cxn>
                  <a:cxn ang="0">
                    <a:pos x="56" y="54"/>
                  </a:cxn>
                  <a:cxn ang="0">
                    <a:pos x="56" y="46"/>
                  </a:cxn>
                  <a:cxn ang="0">
                    <a:pos x="48" y="36"/>
                  </a:cxn>
                  <a:cxn ang="0">
                    <a:pos x="48" y="30"/>
                  </a:cxn>
                  <a:cxn ang="0">
                    <a:pos x="60" y="34"/>
                  </a:cxn>
                  <a:cxn ang="0">
                    <a:pos x="64" y="36"/>
                  </a:cxn>
                  <a:cxn ang="0">
                    <a:pos x="68" y="38"/>
                  </a:cxn>
                  <a:cxn ang="0">
                    <a:pos x="70" y="36"/>
                  </a:cxn>
                  <a:cxn ang="0">
                    <a:pos x="68" y="28"/>
                  </a:cxn>
                  <a:cxn ang="0">
                    <a:pos x="76" y="24"/>
                  </a:cxn>
                  <a:cxn ang="0">
                    <a:pos x="84" y="20"/>
                  </a:cxn>
                  <a:cxn ang="0">
                    <a:pos x="90" y="22"/>
                  </a:cxn>
                  <a:cxn ang="0">
                    <a:pos x="108" y="22"/>
                  </a:cxn>
                  <a:cxn ang="0">
                    <a:pos x="112" y="10"/>
                  </a:cxn>
                  <a:cxn ang="0">
                    <a:pos x="110" y="2"/>
                  </a:cxn>
                  <a:cxn ang="0">
                    <a:pos x="106" y="6"/>
                  </a:cxn>
                  <a:cxn ang="0">
                    <a:pos x="94" y="6"/>
                  </a:cxn>
                  <a:cxn ang="0">
                    <a:pos x="78" y="4"/>
                  </a:cxn>
                  <a:cxn ang="0">
                    <a:pos x="66" y="6"/>
                  </a:cxn>
                  <a:cxn ang="0">
                    <a:pos x="48" y="10"/>
                  </a:cxn>
                  <a:cxn ang="0">
                    <a:pos x="40" y="10"/>
                  </a:cxn>
                  <a:cxn ang="0">
                    <a:pos x="20" y="18"/>
                  </a:cxn>
                  <a:cxn ang="0">
                    <a:pos x="10" y="30"/>
                  </a:cxn>
                  <a:cxn ang="0">
                    <a:pos x="2" y="44"/>
                  </a:cxn>
                </a:cxnLst>
                <a:rect l="0" t="0" r="r" b="b"/>
                <a:pathLst>
                  <a:path w="114" h="118">
                    <a:moveTo>
                      <a:pt x="2" y="48"/>
                    </a:moveTo>
                    <a:lnTo>
                      <a:pt x="2" y="48"/>
                    </a:lnTo>
                    <a:lnTo>
                      <a:pt x="0" y="48"/>
                    </a:lnTo>
                    <a:lnTo>
                      <a:pt x="2" y="50"/>
                    </a:lnTo>
                    <a:lnTo>
                      <a:pt x="2" y="50"/>
                    </a:lnTo>
                    <a:lnTo>
                      <a:pt x="6" y="50"/>
                    </a:lnTo>
                    <a:lnTo>
                      <a:pt x="8" y="52"/>
                    </a:lnTo>
                    <a:lnTo>
                      <a:pt x="8" y="54"/>
                    </a:lnTo>
                    <a:lnTo>
                      <a:pt x="8" y="54"/>
                    </a:lnTo>
                    <a:lnTo>
                      <a:pt x="10" y="56"/>
                    </a:lnTo>
                    <a:lnTo>
                      <a:pt x="10" y="56"/>
                    </a:lnTo>
                    <a:lnTo>
                      <a:pt x="12" y="58"/>
                    </a:lnTo>
                    <a:lnTo>
                      <a:pt x="14" y="58"/>
                    </a:lnTo>
                    <a:lnTo>
                      <a:pt x="14" y="58"/>
                    </a:lnTo>
                    <a:lnTo>
                      <a:pt x="16" y="62"/>
                    </a:lnTo>
                    <a:lnTo>
                      <a:pt x="20" y="66"/>
                    </a:lnTo>
                    <a:lnTo>
                      <a:pt x="20" y="66"/>
                    </a:lnTo>
                    <a:lnTo>
                      <a:pt x="20" y="66"/>
                    </a:lnTo>
                    <a:lnTo>
                      <a:pt x="22" y="66"/>
                    </a:lnTo>
                    <a:lnTo>
                      <a:pt x="22" y="62"/>
                    </a:lnTo>
                    <a:lnTo>
                      <a:pt x="22" y="62"/>
                    </a:lnTo>
                    <a:lnTo>
                      <a:pt x="22" y="62"/>
                    </a:lnTo>
                    <a:lnTo>
                      <a:pt x="22" y="62"/>
                    </a:lnTo>
                    <a:lnTo>
                      <a:pt x="24" y="64"/>
                    </a:lnTo>
                    <a:lnTo>
                      <a:pt x="26" y="62"/>
                    </a:lnTo>
                    <a:lnTo>
                      <a:pt x="26" y="62"/>
                    </a:lnTo>
                    <a:lnTo>
                      <a:pt x="26" y="62"/>
                    </a:lnTo>
                    <a:lnTo>
                      <a:pt x="26" y="64"/>
                    </a:lnTo>
                    <a:lnTo>
                      <a:pt x="28" y="64"/>
                    </a:lnTo>
                    <a:lnTo>
                      <a:pt x="28" y="64"/>
                    </a:lnTo>
                    <a:lnTo>
                      <a:pt x="30" y="66"/>
                    </a:lnTo>
                    <a:lnTo>
                      <a:pt x="28" y="66"/>
                    </a:lnTo>
                    <a:lnTo>
                      <a:pt x="28" y="66"/>
                    </a:lnTo>
                    <a:lnTo>
                      <a:pt x="22" y="66"/>
                    </a:lnTo>
                    <a:lnTo>
                      <a:pt x="22" y="68"/>
                    </a:lnTo>
                    <a:lnTo>
                      <a:pt x="22" y="68"/>
                    </a:lnTo>
                    <a:lnTo>
                      <a:pt x="24" y="72"/>
                    </a:lnTo>
                    <a:lnTo>
                      <a:pt x="26" y="74"/>
                    </a:lnTo>
                    <a:lnTo>
                      <a:pt x="26" y="74"/>
                    </a:lnTo>
                    <a:lnTo>
                      <a:pt x="28" y="76"/>
                    </a:lnTo>
                    <a:lnTo>
                      <a:pt x="30" y="74"/>
                    </a:lnTo>
                    <a:lnTo>
                      <a:pt x="30" y="74"/>
                    </a:lnTo>
                    <a:lnTo>
                      <a:pt x="32" y="72"/>
                    </a:lnTo>
                    <a:lnTo>
                      <a:pt x="34" y="74"/>
                    </a:lnTo>
                    <a:lnTo>
                      <a:pt x="38" y="76"/>
                    </a:lnTo>
                    <a:lnTo>
                      <a:pt x="40" y="76"/>
                    </a:lnTo>
                    <a:lnTo>
                      <a:pt x="40" y="76"/>
                    </a:lnTo>
                    <a:lnTo>
                      <a:pt x="44" y="74"/>
                    </a:lnTo>
                    <a:lnTo>
                      <a:pt x="50" y="78"/>
                    </a:lnTo>
                    <a:lnTo>
                      <a:pt x="50" y="78"/>
                    </a:lnTo>
                    <a:lnTo>
                      <a:pt x="54" y="80"/>
                    </a:lnTo>
                    <a:lnTo>
                      <a:pt x="58" y="78"/>
                    </a:lnTo>
                    <a:lnTo>
                      <a:pt x="58" y="78"/>
                    </a:lnTo>
                    <a:lnTo>
                      <a:pt x="58" y="78"/>
                    </a:lnTo>
                    <a:lnTo>
                      <a:pt x="58" y="78"/>
                    </a:lnTo>
                    <a:lnTo>
                      <a:pt x="56" y="80"/>
                    </a:lnTo>
                    <a:lnTo>
                      <a:pt x="58" y="82"/>
                    </a:lnTo>
                    <a:lnTo>
                      <a:pt x="58" y="82"/>
                    </a:lnTo>
                    <a:lnTo>
                      <a:pt x="52" y="80"/>
                    </a:lnTo>
                    <a:lnTo>
                      <a:pt x="52" y="80"/>
                    </a:lnTo>
                    <a:lnTo>
                      <a:pt x="48" y="80"/>
                    </a:lnTo>
                    <a:lnTo>
                      <a:pt x="44" y="78"/>
                    </a:lnTo>
                    <a:lnTo>
                      <a:pt x="44" y="78"/>
                    </a:lnTo>
                    <a:lnTo>
                      <a:pt x="40" y="78"/>
                    </a:lnTo>
                    <a:lnTo>
                      <a:pt x="38" y="78"/>
                    </a:lnTo>
                    <a:lnTo>
                      <a:pt x="36" y="78"/>
                    </a:lnTo>
                    <a:lnTo>
                      <a:pt x="34" y="78"/>
                    </a:lnTo>
                    <a:lnTo>
                      <a:pt x="34" y="78"/>
                    </a:lnTo>
                    <a:lnTo>
                      <a:pt x="32" y="78"/>
                    </a:lnTo>
                    <a:lnTo>
                      <a:pt x="30" y="80"/>
                    </a:lnTo>
                    <a:lnTo>
                      <a:pt x="28" y="82"/>
                    </a:lnTo>
                    <a:lnTo>
                      <a:pt x="26" y="82"/>
                    </a:lnTo>
                    <a:lnTo>
                      <a:pt x="26" y="82"/>
                    </a:lnTo>
                    <a:lnTo>
                      <a:pt x="24" y="84"/>
                    </a:lnTo>
                    <a:lnTo>
                      <a:pt x="26" y="86"/>
                    </a:lnTo>
                    <a:lnTo>
                      <a:pt x="26" y="86"/>
                    </a:lnTo>
                    <a:lnTo>
                      <a:pt x="28" y="88"/>
                    </a:lnTo>
                    <a:lnTo>
                      <a:pt x="28" y="92"/>
                    </a:lnTo>
                    <a:lnTo>
                      <a:pt x="28" y="92"/>
                    </a:lnTo>
                    <a:lnTo>
                      <a:pt x="30" y="90"/>
                    </a:lnTo>
                    <a:lnTo>
                      <a:pt x="32" y="90"/>
                    </a:lnTo>
                    <a:lnTo>
                      <a:pt x="36" y="94"/>
                    </a:lnTo>
                    <a:lnTo>
                      <a:pt x="38" y="98"/>
                    </a:lnTo>
                    <a:lnTo>
                      <a:pt x="38" y="98"/>
                    </a:lnTo>
                    <a:lnTo>
                      <a:pt x="36" y="100"/>
                    </a:lnTo>
                    <a:lnTo>
                      <a:pt x="36" y="100"/>
                    </a:lnTo>
                    <a:lnTo>
                      <a:pt x="34" y="102"/>
                    </a:lnTo>
                    <a:lnTo>
                      <a:pt x="36" y="104"/>
                    </a:lnTo>
                    <a:lnTo>
                      <a:pt x="46" y="110"/>
                    </a:lnTo>
                    <a:lnTo>
                      <a:pt x="46" y="110"/>
                    </a:lnTo>
                    <a:lnTo>
                      <a:pt x="50" y="112"/>
                    </a:lnTo>
                    <a:lnTo>
                      <a:pt x="50" y="112"/>
                    </a:lnTo>
                    <a:lnTo>
                      <a:pt x="52" y="110"/>
                    </a:lnTo>
                    <a:lnTo>
                      <a:pt x="52" y="110"/>
                    </a:lnTo>
                    <a:lnTo>
                      <a:pt x="52" y="108"/>
                    </a:lnTo>
                    <a:lnTo>
                      <a:pt x="54" y="110"/>
                    </a:lnTo>
                    <a:lnTo>
                      <a:pt x="54" y="114"/>
                    </a:lnTo>
                    <a:lnTo>
                      <a:pt x="54" y="114"/>
                    </a:lnTo>
                    <a:lnTo>
                      <a:pt x="56" y="116"/>
                    </a:lnTo>
                    <a:lnTo>
                      <a:pt x="56" y="116"/>
                    </a:lnTo>
                    <a:lnTo>
                      <a:pt x="58" y="116"/>
                    </a:lnTo>
                    <a:lnTo>
                      <a:pt x="58" y="114"/>
                    </a:lnTo>
                    <a:lnTo>
                      <a:pt x="58" y="114"/>
                    </a:lnTo>
                    <a:lnTo>
                      <a:pt x="58" y="112"/>
                    </a:lnTo>
                    <a:lnTo>
                      <a:pt x="60" y="112"/>
                    </a:lnTo>
                    <a:lnTo>
                      <a:pt x="64" y="116"/>
                    </a:lnTo>
                    <a:lnTo>
                      <a:pt x="64" y="116"/>
                    </a:lnTo>
                    <a:lnTo>
                      <a:pt x="66" y="118"/>
                    </a:lnTo>
                    <a:lnTo>
                      <a:pt x="66" y="116"/>
                    </a:lnTo>
                    <a:lnTo>
                      <a:pt x="64" y="112"/>
                    </a:lnTo>
                    <a:lnTo>
                      <a:pt x="64" y="112"/>
                    </a:lnTo>
                    <a:lnTo>
                      <a:pt x="60" y="106"/>
                    </a:lnTo>
                    <a:lnTo>
                      <a:pt x="60" y="106"/>
                    </a:lnTo>
                    <a:lnTo>
                      <a:pt x="60" y="102"/>
                    </a:lnTo>
                    <a:lnTo>
                      <a:pt x="60" y="102"/>
                    </a:lnTo>
                    <a:lnTo>
                      <a:pt x="60" y="100"/>
                    </a:lnTo>
                    <a:lnTo>
                      <a:pt x="60" y="100"/>
                    </a:lnTo>
                    <a:lnTo>
                      <a:pt x="58" y="98"/>
                    </a:lnTo>
                    <a:lnTo>
                      <a:pt x="56" y="96"/>
                    </a:lnTo>
                    <a:lnTo>
                      <a:pt x="58" y="96"/>
                    </a:lnTo>
                    <a:lnTo>
                      <a:pt x="58" y="96"/>
                    </a:lnTo>
                    <a:lnTo>
                      <a:pt x="60" y="98"/>
                    </a:lnTo>
                    <a:lnTo>
                      <a:pt x="62" y="98"/>
                    </a:lnTo>
                    <a:lnTo>
                      <a:pt x="62" y="98"/>
                    </a:lnTo>
                    <a:lnTo>
                      <a:pt x="62" y="100"/>
                    </a:lnTo>
                    <a:lnTo>
                      <a:pt x="64" y="98"/>
                    </a:lnTo>
                    <a:lnTo>
                      <a:pt x="66" y="96"/>
                    </a:lnTo>
                    <a:lnTo>
                      <a:pt x="66" y="96"/>
                    </a:lnTo>
                    <a:lnTo>
                      <a:pt x="68" y="94"/>
                    </a:lnTo>
                    <a:lnTo>
                      <a:pt x="68" y="94"/>
                    </a:lnTo>
                    <a:lnTo>
                      <a:pt x="66" y="92"/>
                    </a:lnTo>
                    <a:lnTo>
                      <a:pt x="66" y="92"/>
                    </a:lnTo>
                    <a:lnTo>
                      <a:pt x="64" y="90"/>
                    </a:lnTo>
                    <a:lnTo>
                      <a:pt x="64" y="88"/>
                    </a:lnTo>
                    <a:lnTo>
                      <a:pt x="64" y="88"/>
                    </a:lnTo>
                    <a:lnTo>
                      <a:pt x="64" y="88"/>
                    </a:lnTo>
                    <a:lnTo>
                      <a:pt x="62" y="86"/>
                    </a:lnTo>
                    <a:lnTo>
                      <a:pt x="64" y="86"/>
                    </a:lnTo>
                    <a:lnTo>
                      <a:pt x="70" y="86"/>
                    </a:lnTo>
                    <a:lnTo>
                      <a:pt x="70" y="86"/>
                    </a:lnTo>
                    <a:lnTo>
                      <a:pt x="74" y="84"/>
                    </a:lnTo>
                    <a:lnTo>
                      <a:pt x="76" y="86"/>
                    </a:lnTo>
                    <a:lnTo>
                      <a:pt x="76" y="86"/>
                    </a:lnTo>
                    <a:lnTo>
                      <a:pt x="78" y="90"/>
                    </a:lnTo>
                    <a:lnTo>
                      <a:pt x="80" y="90"/>
                    </a:lnTo>
                    <a:lnTo>
                      <a:pt x="80" y="88"/>
                    </a:lnTo>
                    <a:lnTo>
                      <a:pt x="80" y="88"/>
                    </a:lnTo>
                    <a:lnTo>
                      <a:pt x="82" y="84"/>
                    </a:lnTo>
                    <a:lnTo>
                      <a:pt x="80" y="80"/>
                    </a:lnTo>
                    <a:lnTo>
                      <a:pt x="80" y="80"/>
                    </a:lnTo>
                    <a:lnTo>
                      <a:pt x="76" y="76"/>
                    </a:lnTo>
                    <a:lnTo>
                      <a:pt x="72" y="74"/>
                    </a:lnTo>
                    <a:lnTo>
                      <a:pt x="72" y="74"/>
                    </a:lnTo>
                    <a:lnTo>
                      <a:pt x="68" y="74"/>
                    </a:lnTo>
                    <a:lnTo>
                      <a:pt x="66" y="70"/>
                    </a:lnTo>
                    <a:lnTo>
                      <a:pt x="66" y="70"/>
                    </a:lnTo>
                    <a:lnTo>
                      <a:pt x="62" y="68"/>
                    </a:lnTo>
                    <a:lnTo>
                      <a:pt x="56" y="68"/>
                    </a:lnTo>
                    <a:lnTo>
                      <a:pt x="56" y="68"/>
                    </a:lnTo>
                    <a:lnTo>
                      <a:pt x="56" y="68"/>
                    </a:lnTo>
                    <a:lnTo>
                      <a:pt x="56" y="66"/>
                    </a:lnTo>
                    <a:lnTo>
                      <a:pt x="56" y="64"/>
                    </a:lnTo>
                    <a:lnTo>
                      <a:pt x="56" y="62"/>
                    </a:lnTo>
                    <a:lnTo>
                      <a:pt x="56" y="62"/>
                    </a:lnTo>
                    <a:lnTo>
                      <a:pt x="56" y="60"/>
                    </a:lnTo>
                    <a:lnTo>
                      <a:pt x="54" y="58"/>
                    </a:lnTo>
                    <a:lnTo>
                      <a:pt x="54" y="58"/>
                    </a:lnTo>
                    <a:lnTo>
                      <a:pt x="50" y="58"/>
                    </a:lnTo>
                    <a:lnTo>
                      <a:pt x="52" y="56"/>
                    </a:lnTo>
                    <a:lnTo>
                      <a:pt x="52" y="56"/>
                    </a:lnTo>
                    <a:lnTo>
                      <a:pt x="54" y="56"/>
                    </a:lnTo>
                    <a:lnTo>
                      <a:pt x="52" y="52"/>
                    </a:lnTo>
                    <a:lnTo>
                      <a:pt x="52" y="52"/>
                    </a:lnTo>
                    <a:lnTo>
                      <a:pt x="50" y="50"/>
                    </a:lnTo>
                    <a:lnTo>
                      <a:pt x="52" y="50"/>
                    </a:lnTo>
                    <a:lnTo>
                      <a:pt x="54" y="50"/>
                    </a:lnTo>
                    <a:lnTo>
                      <a:pt x="54" y="50"/>
                    </a:lnTo>
                    <a:lnTo>
                      <a:pt x="56" y="52"/>
                    </a:lnTo>
                    <a:lnTo>
                      <a:pt x="56" y="54"/>
                    </a:lnTo>
                    <a:lnTo>
                      <a:pt x="56" y="54"/>
                    </a:lnTo>
                    <a:lnTo>
                      <a:pt x="56" y="56"/>
                    </a:lnTo>
                    <a:lnTo>
                      <a:pt x="58" y="56"/>
                    </a:lnTo>
                    <a:lnTo>
                      <a:pt x="58" y="56"/>
                    </a:lnTo>
                    <a:lnTo>
                      <a:pt x="60" y="54"/>
                    </a:lnTo>
                    <a:lnTo>
                      <a:pt x="58" y="52"/>
                    </a:lnTo>
                    <a:lnTo>
                      <a:pt x="56" y="46"/>
                    </a:lnTo>
                    <a:lnTo>
                      <a:pt x="56" y="46"/>
                    </a:lnTo>
                    <a:lnTo>
                      <a:pt x="52" y="44"/>
                    </a:lnTo>
                    <a:lnTo>
                      <a:pt x="50" y="42"/>
                    </a:lnTo>
                    <a:lnTo>
                      <a:pt x="50" y="42"/>
                    </a:lnTo>
                    <a:lnTo>
                      <a:pt x="48" y="38"/>
                    </a:lnTo>
                    <a:lnTo>
                      <a:pt x="48" y="36"/>
                    </a:lnTo>
                    <a:lnTo>
                      <a:pt x="48" y="36"/>
                    </a:lnTo>
                    <a:lnTo>
                      <a:pt x="48" y="34"/>
                    </a:lnTo>
                    <a:lnTo>
                      <a:pt x="48" y="32"/>
                    </a:lnTo>
                    <a:lnTo>
                      <a:pt x="48" y="30"/>
                    </a:lnTo>
                    <a:lnTo>
                      <a:pt x="48" y="30"/>
                    </a:lnTo>
                    <a:lnTo>
                      <a:pt x="48" y="30"/>
                    </a:lnTo>
                    <a:lnTo>
                      <a:pt x="52" y="30"/>
                    </a:lnTo>
                    <a:lnTo>
                      <a:pt x="52" y="32"/>
                    </a:lnTo>
                    <a:lnTo>
                      <a:pt x="52" y="32"/>
                    </a:lnTo>
                    <a:lnTo>
                      <a:pt x="54" y="34"/>
                    </a:lnTo>
                    <a:lnTo>
                      <a:pt x="56" y="34"/>
                    </a:lnTo>
                    <a:lnTo>
                      <a:pt x="60" y="34"/>
                    </a:lnTo>
                    <a:lnTo>
                      <a:pt x="60" y="34"/>
                    </a:lnTo>
                    <a:lnTo>
                      <a:pt x="60" y="36"/>
                    </a:lnTo>
                    <a:lnTo>
                      <a:pt x="60" y="38"/>
                    </a:lnTo>
                    <a:lnTo>
                      <a:pt x="60" y="38"/>
                    </a:lnTo>
                    <a:lnTo>
                      <a:pt x="64" y="38"/>
                    </a:lnTo>
                    <a:lnTo>
                      <a:pt x="64" y="36"/>
                    </a:lnTo>
                    <a:lnTo>
                      <a:pt x="64" y="36"/>
                    </a:lnTo>
                    <a:lnTo>
                      <a:pt x="64" y="36"/>
                    </a:lnTo>
                    <a:lnTo>
                      <a:pt x="66" y="38"/>
                    </a:lnTo>
                    <a:lnTo>
                      <a:pt x="66" y="38"/>
                    </a:lnTo>
                    <a:lnTo>
                      <a:pt x="68" y="38"/>
                    </a:lnTo>
                    <a:lnTo>
                      <a:pt x="68" y="38"/>
                    </a:lnTo>
                    <a:lnTo>
                      <a:pt x="66" y="34"/>
                    </a:lnTo>
                    <a:lnTo>
                      <a:pt x="66" y="34"/>
                    </a:lnTo>
                    <a:lnTo>
                      <a:pt x="66" y="34"/>
                    </a:lnTo>
                    <a:lnTo>
                      <a:pt x="66" y="34"/>
                    </a:lnTo>
                    <a:lnTo>
                      <a:pt x="70" y="36"/>
                    </a:lnTo>
                    <a:lnTo>
                      <a:pt x="70" y="36"/>
                    </a:lnTo>
                    <a:lnTo>
                      <a:pt x="72" y="36"/>
                    </a:lnTo>
                    <a:lnTo>
                      <a:pt x="72" y="36"/>
                    </a:lnTo>
                    <a:lnTo>
                      <a:pt x="70" y="32"/>
                    </a:lnTo>
                    <a:lnTo>
                      <a:pt x="70" y="32"/>
                    </a:lnTo>
                    <a:lnTo>
                      <a:pt x="68" y="30"/>
                    </a:lnTo>
                    <a:lnTo>
                      <a:pt x="68" y="28"/>
                    </a:lnTo>
                    <a:lnTo>
                      <a:pt x="68" y="28"/>
                    </a:lnTo>
                    <a:lnTo>
                      <a:pt x="70" y="26"/>
                    </a:lnTo>
                    <a:lnTo>
                      <a:pt x="72" y="26"/>
                    </a:lnTo>
                    <a:lnTo>
                      <a:pt x="74" y="26"/>
                    </a:lnTo>
                    <a:lnTo>
                      <a:pt x="76" y="24"/>
                    </a:lnTo>
                    <a:lnTo>
                      <a:pt x="76" y="24"/>
                    </a:lnTo>
                    <a:lnTo>
                      <a:pt x="76" y="22"/>
                    </a:lnTo>
                    <a:lnTo>
                      <a:pt x="78" y="22"/>
                    </a:lnTo>
                    <a:lnTo>
                      <a:pt x="82" y="24"/>
                    </a:lnTo>
                    <a:lnTo>
                      <a:pt x="82" y="22"/>
                    </a:lnTo>
                    <a:lnTo>
                      <a:pt x="82" y="22"/>
                    </a:lnTo>
                    <a:lnTo>
                      <a:pt x="84" y="20"/>
                    </a:lnTo>
                    <a:lnTo>
                      <a:pt x="86" y="20"/>
                    </a:lnTo>
                    <a:lnTo>
                      <a:pt x="88" y="20"/>
                    </a:lnTo>
                    <a:lnTo>
                      <a:pt x="88" y="22"/>
                    </a:lnTo>
                    <a:lnTo>
                      <a:pt x="88" y="22"/>
                    </a:lnTo>
                    <a:lnTo>
                      <a:pt x="88" y="22"/>
                    </a:lnTo>
                    <a:lnTo>
                      <a:pt x="90" y="22"/>
                    </a:lnTo>
                    <a:lnTo>
                      <a:pt x="96" y="22"/>
                    </a:lnTo>
                    <a:lnTo>
                      <a:pt x="96" y="22"/>
                    </a:lnTo>
                    <a:lnTo>
                      <a:pt x="100" y="22"/>
                    </a:lnTo>
                    <a:lnTo>
                      <a:pt x="104" y="22"/>
                    </a:lnTo>
                    <a:lnTo>
                      <a:pt x="108" y="22"/>
                    </a:lnTo>
                    <a:lnTo>
                      <a:pt x="108" y="22"/>
                    </a:lnTo>
                    <a:lnTo>
                      <a:pt x="110" y="18"/>
                    </a:lnTo>
                    <a:lnTo>
                      <a:pt x="110" y="16"/>
                    </a:lnTo>
                    <a:lnTo>
                      <a:pt x="108" y="12"/>
                    </a:lnTo>
                    <a:lnTo>
                      <a:pt x="108" y="12"/>
                    </a:lnTo>
                    <a:lnTo>
                      <a:pt x="110" y="10"/>
                    </a:lnTo>
                    <a:lnTo>
                      <a:pt x="112" y="10"/>
                    </a:lnTo>
                    <a:lnTo>
                      <a:pt x="112" y="8"/>
                    </a:lnTo>
                    <a:lnTo>
                      <a:pt x="114" y="6"/>
                    </a:lnTo>
                    <a:lnTo>
                      <a:pt x="114" y="6"/>
                    </a:lnTo>
                    <a:lnTo>
                      <a:pt x="114" y="4"/>
                    </a:lnTo>
                    <a:lnTo>
                      <a:pt x="114" y="4"/>
                    </a:lnTo>
                    <a:lnTo>
                      <a:pt x="110" y="2"/>
                    </a:lnTo>
                    <a:lnTo>
                      <a:pt x="110" y="2"/>
                    </a:lnTo>
                    <a:lnTo>
                      <a:pt x="106" y="0"/>
                    </a:lnTo>
                    <a:lnTo>
                      <a:pt x="106" y="4"/>
                    </a:lnTo>
                    <a:lnTo>
                      <a:pt x="106" y="4"/>
                    </a:lnTo>
                    <a:lnTo>
                      <a:pt x="106" y="4"/>
                    </a:lnTo>
                    <a:lnTo>
                      <a:pt x="106" y="6"/>
                    </a:lnTo>
                    <a:lnTo>
                      <a:pt x="102" y="6"/>
                    </a:lnTo>
                    <a:lnTo>
                      <a:pt x="98" y="4"/>
                    </a:lnTo>
                    <a:lnTo>
                      <a:pt x="96" y="6"/>
                    </a:lnTo>
                    <a:lnTo>
                      <a:pt x="96" y="6"/>
                    </a:lnTo>
                    <a:lnTo>
                      <a:pt x="96" y="6"/>
                    </a:lnTo>
                    <a:lnTo>
                      <a:pt x="94" y="6"/>
                    </a:lnTo>
                    <a:lnTo>
                      <a:pt x="88" y="6"/>
                    </a:lnTo>
                    <a:lnTo>
                      <a:pt x="88" y="6"/>
                    </a:lnTo>
                    <a:lnTo>
                      <a:pt x="86" y="6"/>
                    </a:lnTo>
                    <a:lnTo>
                      <a:pt x="82" y="4"/>
                    </a:lnTo>
                    <a:lnTo>
                      <a:pt x="82" y="4"/>
                    </a:lnTo>
                    <a:lnTo>
                      <a:pt x="78" y="4"/>
                    </a:lnTo>
                    <a:lnTo>
                      <a:pt x="74" y="4"/>
                    </a:lnTo>
                    <a:lnTo>
                      <a:pt x="74" y="4"/>
                    </a:lnTo>
                    <a:lnTo>
                      <a:pt x="72" y="2"/>
                    </a:lnTo>
                    <a:lnTo>
                      <a:pt x="70" y="2"/>
                    </a:lnTo>
                    <a:lnTo>
                      <a:pt x="66" y="6"/>
                    </a:lnTo>
                    <a:lnTo>
                      <a:pt x="66" y="6"/>
                    </a:lnTo>
                    <a:lnTo>
                      <a:pt x="64" y="6"/>
                    </a:lnTo>
                    <a:lnTo>
                      <a:pt x="60" y="6"/>
                    </a:lnTo>
                    <a:lnTo>
                      <a:pt x="52" y="6"/>
                    </a:lnTo>
                    <a:lnTo>
                      <a:pt x="52" y="6"/>
                    </a:lnTo>
                    <a:lnTo>
                      <a:pt x="50" y="8"/>
                    </a:lnTo>
                    <a:lnTo>
                      <a:pt x="48" y="10"/>
                    </a:lnTo>
                    <a:lnTo>
                      <a:pt x="48" y="10"/>
                    </a:lnTo>
                    <a:lnTo>
                      <a:pt x="48" y="12"/>
                    </a:lnTo>
                    <a:lnTo>
                      <a:pt x="46" y="12"/>
                    </a:lnTo>
                    <a:lnTo>
                      <a:pt x="42" y="10"/>
                    </a:lnTo>
                    <a:lnTo>
                      <a:pt x="42" y="10"/>
                    </a:lnTo>
                    <a:lnTo>
                      <a:pt x="40" y="10"/>
                    </a:lnTo>
                    <a:lnTo>
                      <a:pt x="38" y="10"/>
                    </a:lnTo>
                    <a:lnTo>
                      <a:pt x="36" y="14"/>
                    </a:lnTo>
                    <a:lnTo>
                      <a:pt x="36" y="14"/>
                    </a:lnTo>
                    <a:lnTo>
                      <a:pt x="32" y="18"/>
                    </a:lnTo>
                    <a:lnTo>
                      <a:pt x="28" y="18"/>
                    </a:lnTo>
                    <a:lnTo>
                      <a:pt x="20" y="18"/>
                    </a:lnTo>
                    <a:lnTo>
                      <a:pt x="20" y="18"/>
                    </a:lnTo>
                    <a:lnTo>
                      <a:pt x="16" y="18"/>
                    </a:lnTo>
                    <a:lnTo>
                      <a:pt x="12" y="22"/>
                    </a:lnTo>
                    <a:lnTo>
                      <a:pt x="12" y="22"/>
                    </a:lnTo>
                    <a:lnTo>
                      <a:pt x="12" y="26"/>
                    </a:lnTo>
                    <a:lnTo>
                      <a:pt x="10" y="30"/>
                    </a:lnTo>
                    <a:lnTo>
                      <a:pt x="8" y="36"/>
                    </a:lnTo>
                    <a:lnTo>
                      <a:pt x="8" y="36"/>
                    </a:lnTo>
                    <a:lnTo>
                      <a:pt x="6" y="42"/>
                    </a:lnTo>
                    <a:lnTo>
                      <a:pt x="2" y="44"/>
                    </a:lnTo>
                    <a:lnTo>
                      <a:pt x="2" y="44"/>
                    </a:lnTo>
                    <a:lnTo>
                      <a:pt x="2" y="44"/>
                    </a:lnTo>
                    <a:lnTo>
                      <a:pt x="2" y="46"/>
                    </a:lnTo>
                    <a:lnTo>
                      <a:pt x="2" y="46"/>
                    </a:lnTo>
                    <a:lnTo>
                      <a:pt x="2" y="48"/>
                    </a:lnTo>
                    <a:lnTo>
                      <a:pt x="2" y="48"/>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Hungary"/>
              <p:cNvSpPr>
                <a:spLocks/>
              </p:cNvSpPr>
              <p:nvPr/>
            </p:nvSpPr>
            <p:spPr bwMode="auto">
              <a:xfrm>
                <a:off x="6235937" y="1912817"/>
                <a:ext cx="170108" cy="94080"/>
              </a:xfrm>
              <a:custGeom>
                <a:avLst/>
                <a:gdLst/>
                <a:ahLst/>
                <a:cxnLst>
                  <a:cxn ang="0">
                    <a:pos x="112" y="14"/>
                  </a:cxn>
                  <a:cxn ang="0">
                    <a:pos x="106" y="8"/>
                  </a:cxn>
                  <a:cxn ang="0">
                    <a:pos x="106" y="4"/>
                  </a:cxn>
                  <a:cxn ang="0">
                    <a:pos x="98" y="6"/>
                  </a:cxn>
                  <a:cxn ang="0">
                    <a:pos x="90" y="2"/>
                  </a:cxn>
                  <a:cxn ang="0">
                    <a:pos x="82" y="2"/>
                  </a:cxn>
                  <a:cxn ang="0">
                    <a:pos x="76" y="4"/>
                  </a:cxn>
                  <a:cxn ang="0">
                    <a:pos x="72" y="4"/>
                  </a:cxn>
                  <a:cxn ang="0">
                    <a:pos x="62" y="10"/>
                  </a:cxn>
                  <a:cxn ang="0">
                    <a:pos x="54" y="12"/>
                  </a:cxn>
                  <a:cxn ang="0">
                    <a:pos x="44" y="14"/>
                  </a:cxn>
                  <a:cxn ang="0">
                    <a:pos x="40" y="16"/>
                  </a:cxn>
                  <a:cxn ang="0">
                    <a:pos x="42" y="18"/>
                  </a:cxn>
                  <a:cxn ang="0">
                    <a:pos x="38" y="20"/>
                  </a:cxn>
                  <a:cxn ang="0">
                    <a:pos x="30" y="20"/>
                  </a:cxn>
                  <a:cxn ang="0">
                    <a:pos x="18" y="18"/>
                  </a:cxn>
                  <a:cxn ang="0">
                    <a:pos x="14" y="22"/>
                  </a:cxn>
                  <a:cxn ang="0">
                    <a:pos x="6" y="20"/>
                  </a:cxn>
                  <a:cxn ang="0">
                    <a:pos x="2" y="20"/>
                  </a:cxn>
                  <a:cxn ang="0">
                    <a:pos x="6" y="24"/>
                  </a:cxn>
                  <a:cxn ang="0">
                    <a:pos x="8" y="26"/>
                  </a:cxn>
                  <a:cxn ang="0">
                    <a:pos x="6" y="30"/>
                  </a:cxn>
                  <a:cxn ang="0">
                    <a:pos x="6" y="34"/>
                  </a:cxn>
                  <a:cxn ang="0">
                    <a:pos x="0" y="40"/>
                  </a:cxn>
                  <a:cxn ang="0">
                    <a:pos x="4" y="42"/>
                  </a:cxn>
                  <a:cxn ang="0">
                    <a:pos x="6" y="44"/>
                  </a:cxn>
                  <a:cxn ang="0">
                    <a:pos x="6" y="44"/>
                  </a:cxn>
                  <a:cxn ang="0">
                    <a:pos x="8" y="48"/>
                  </a:cxn>
                  <a:cxn ang="0">
                    <a:pos x="10" y="50"/>
                  </a:cxn>
                  <a:cxn ang="0">
                    <a:pos x="18" y="54"/>
                  </a:cxn>
                  <a:cxn ang="0">
                    <a:pos x="22" y="56"/>
                  </a:cxn>
                  <a:cxn ang="0">
                    <a:pos x="34" y="60"/>
                  </a:cxn>
                  <a:cxn ang="0">
                    <a:pos x="36" y="62"/>
                  </a:cxn>
                  <a:cxn ang="0">
                    <a:pos x="40" y="62"/>
                  </a:cxn>
                  <a:cxn ang="0">
                    <a:pos x="46" y="56"/>
                  </a:cxn>
                  <a:cxn ang="0">
                    <a:pos x="54" y="54"/>
                  </a:cxn>
                  <a:cxn ang="0">
                    <a:pos x="60" y="54"/>
                  </a:cxn>
                  <a:cxn ang="0">
                    <a:pos x="62" y="56"/>
                  </a:cxn>
                  <a:cxn ang="0">
                    <a:pos x="70" y="54"/>
                  </a:cxn>
                  <a:cxn ang="0">
                    <a:pos x="82" y="54"/>
                  </a:cxn>
                  <a:cxn ang="0">
                    <a:pos x="86" y="54"/>
                  </a:cxn>
                  <a:cxn ang="0">
                    <a:pos x="90" y="50"/>
                  </a:cxn>
                  <a:cxn ang="0">
                    <a:pos x="98" y="38"/>
                  </a:cxn>
                  <a:cxn ang="0">
                    <a:pos x="104" y="28"/>
                  </a:cxn>
                  <a:cxn ang="0">
                    <a:pos x="102" y="24"/>
                  </a:cxn>
                  <a:cxn ang="0">
                    <a:pos x="104" y="20"/>
                  </a:cxn>
                  <a:cxn ang="0">
                    <a:pos x="112" y="14"/>
                  </a:cxn>
                </a:cxnLst>
                <a:rect l="0" t="0" r="r" b="b"/>
                <a:pathLst>
                  <a:path w="112" h="62">
                    <a:moveTo>
                      <a:pt x="112" y="14"/>
                    </a:moveTo>
                    <a:lnTo>
                      <a:pt x="112" y="14"/>
                    </a:lnTo>
                    <a:lnTo>
                      <a:pt x="110" y="12"/>
                    </a:lnTo>
                    <a:lnTo>
                      <a:pt x="106" y="8"/>
                    </a:lnTo>
                    <a:lnTo>
                      <a:pt x="106" y="8"/>
                    </a:lnTo>
                    <a:lnTo>
                      <a:pt x="106" y="4"/>
                    </a:lnTo>
                    <a:lnTo>
                      <a:pt x="106" y="4"/>
                    </a:lnTo>
                    <a:lnTo>
                      <a:pt x="98" y="6"/>
                    </a:lnTo>
                    <a:lnTo>
                      <a:pt x="90" y="2"/>
                    </a:lnTo>
                    <a:lnTo>
                      <a:pt x="90" y="2"/>
                    </a:lnTo>
                    <a:lnTo>
                      <a:pt x="84" y="0"/>
                    </a:lnTo>
                    <a:lnTo>
                      <a:pt x="82" y="2"/>
                    </a:lnTo>
                    <a:lnTo>
                      <a:pt x="80" y="4"/>
                    </a:lnTo>
                    <a:lnTo>
                      <a:pt x="76" y="4"/>
                    </a:lnTo>
                    <a:lnTo>
                      <a:pt x="76" y="4"/>
                    </a:lnTo>
                    <a:lnTo>
                      <a:pt x="72" y="4"/>
                    </a:lnTo>
                    <a:lnTo>
                      <a:pt x="68" y="6"/>
                    </a:lnTo>
                    <a:lnTo>
                      <a:pt x="62" y="10"/>
                    </a:lnTo>
                    <a:lnTo>
                      <a:pt x="62" y="10"/>
                    </a:lnTo>
                    <a:lnTo>
                      <a:pt x="54" y="12"/>
                    </a:lnTo>
                    <a:lnTo>
                      <a:pt x="44" y="14"/>
                    </a:lnTo>
                    <a:lnTo>
                      <a:pt x="44" y="14"/>
                    </a:lnTo>
                    <a:lnTo>
                      <a:pt x="42" y="14"/>
                    </a:lnTo>
                    <a:lnTo>
                      <a:pt x="40" y="16"/>
                    </a:lnTo>
                    <a:lnTo>
                      <a:pt x="42" y="18"/>
                    </a:lnTo>
                    <a:lnTo>
                      <a:pt x="42" y="18"/>
                    </a:lnTo>
                    <a:lnTo>
                      <a:pt x="40" y="20"/>
                    </a:lnTo>
                    <a:lnTo>
                      <a:pt x="38" y="20"/>
                    </a:lnTo>
                    <a:lnTo>
                      <a:pt x="30" y="20"/>
                    </a:lnTo>
                    <a:lnTo>
                      <a:pt x="30" y="20"/>
                    </a:lnTo>
                    <a:lnTo>
                      <a:pt x="24" y="20"/>
                    </a:lnTo>
                    <a:lnTo>
                      <a:pt x="18" y="18"/>
                    </a:lnTo>
                    <a:lnTo>
                      <a:pt x="18" y="18"/>
                    </a:lnTo>
                    <a:lnTo>
                      <a:pt x="14" y="22"/>
                    </a:lnTo>
                    <a:lnTo>
                      <a:pt x="12" y="22"/>
                    </a:lnTo>
                    <a:lnTo>
                      <a:pt x="6" y="20"/>
                    </a:lnTo>
                    <a:lnTo>
                      <a:pt x="6" y="20"/>
                    </a:lnTo>
                    <a:lnTo>
                      <a:pt x="2" y="20"/>
                    </a:lnTo>
                    <a:lnTo>
                      <a:pt x="2" y="20"/>
                    </a:lnTo>
                    <a:lnTo>
                      <a:pt x="6" y="24"/>
                    </a:lnTo>
                    <a:lnTo>
                      <a:pt x="6" y="24"/>
                    </a:lnTo>
                    <a:lnTo>
                      <a:pt x="8" y="26"/>
                    </a:lnTo>
                    <a:lnTo>
                      <a:pt x="8" y="28"/>
                    </a:lnTo>
                    <a:lnTo>
                      <a:pt x="6" y="30"/>
                    </a:lnTo>
                    <a:lnTo>
                      <a:pt x="6" y="34"/>
                    </a:lnTo>
                    <a:lnTo>
                      <a:pt x="6" y="34"/>
                    </a:lnTo>
                    <a:lnTo>
                      <a:pt x="4" y="36"/>
                    </a:lnTo>
                    <a:lnTo>
                      <a:pt x="0" y="40"/>
                    </a:lnTo>
                    <a:lnTo>
                      <a:pt x="0" y="40"/>
                    </a:lnTo>
                    <a:lnTo>
                      <a:pt x="4" y="42"/>
                    </a:lnTo>
                    <a:lnTo>
                      <a:pt x="6" y="42"/>
                    </a:lnTo>
                    <a:lnTo>
                      <a:pt x="6" y="44"/>
                    </a:lnTo>
                    <a:lnTo>
                      <a:pt x="6" y="44"/>
                    </a:lnTo>
                    <a:lnTo>
                      <a:pt x="6" y="44"/>
                    </a:lnTo>
                    <a:lnTo>
                      <a:pt x="8" y="46"/>
                    </a:lnTo>
                    <a:lnTo>
                      <a:pt x="8" y="48"/>
                    </a:lnTo>
                    <a:lnTo>
                      <a:pt x="8" y="48"/>
                    </a:lnTo>
                    <a:lnTo>
                      <a:pt x="10" y="50"/>
                    </a:lnTo>
                    <a:lnTo>
                      <a:pt x="10" y="50"/>
                    </a:lnTo>
                    <a:lnTo>
                      <a:pt x="18" y="54"/>
                    </a:lnTo>
                    <a:lnTo>
                      <a:pt x="22" y="56"/>
                    </a:lnTo>
                    <a:lnTo>
                      <a:pt x="22" y="56"/>
                    </a:lnTo>
                    <a:lnTo>
                      <a:pt x="28" y="58"/>
                    </a:lnTo>
                    <a:lnTo>
                      <a:pt x="34" y="60"/>
                    </a:lnTo>
                    <a:lnTo>
                      <a:pt x="34" y="60"/>
                    </a:lnTo>
                    <a:lnTo>
                      <a:pt x="36" y="62"/>
                    </a:lnTo>
                    <a:lnTo>
                      <a:pt x="40" y="62"/>
                    </a:lnTo>
                    <a:lnTo>
                      <a:pt x="40" y="62"/>
                    </a:lnTo>
                    <a:lnTo>
                      <a:pt x="44" y="60"/>
                    </a:lnTo>
                    <a:lnTo>
                      <a:pt x="46" y="56"/>
                    </a:lnTo>
                    <a:lnTo>
                      <a:pt x="46" y="56"/>
                    </a:lnTo>
                    <a:lnTo>
                      <a:pt x="54" y="54"/>
                    </a:lnTo>
                    <a:lnTo>
                      <a:pt x="58" y="54"/>
                    </a:lnTo>
                    <a:lnTo>
                      <a:pt x="60" y="54"/>
                    </a:lnTo>
                    <a:lnTo>
                      <a:pt x="60" y="54"/>
                    </a:lnTo>
                    <a:lnTo>
                      <a:pt x="62" y="56"/>
                    </a:lnTo>
                    <a:lnTo>
                      <a:pt x="70" y="54"/>
                    </a:lnTo>
                    <a:lnTo>
                      <a:pt x="70" y="54"/>
                    </a:lnTo>
                    <a:lnTo>
                      <a:pt x="80" y="54"/>
                    </a:lnTo>
                    <a:lnTo>
                      <a:pt x="82" y="54"/>
                    </a:lnTo>
                    <a:lnTo>
                      <a:pt x="82" y="54"/>
                    </a:lnTo>
                    <a:lnTo>
                      <a:pt x="86" y="54"/>
                    </a:lnTo>
                    <a:lnTo>
                      <a:pt x="90" y="50"/>
                    </a:lnTo>
                    <a:lnTo>
                      <a:pt x="90" y="50"/>
                    </a:lnTo>
                    <a:lnTo>
                      <a:pt x="98" y="38"/>
                    </a:lnTo>
                    <a:lnTo>
                      <a:pt x="98" y="38"/>
                    </a:lnTo>
                    <a:lnTo>
                      <a:pt x="102" y="34"/>
                    </a:lnTo>
                    <a:lnTo>
                      <a:pt x="104" y="28"/>
                    </a:lnTo>
                    <a:lnTo>
                      <a:pt x="104" y="28"/>
                    </a:lnTo>
                    <a:lnTo>
                      <a:pt x="102" y="24"/>
                    </a:lnTo>
                    <a:lnTo>
                      <a:pt x="104" y="20"/>
                    </a:lnTo>
                    <a:lnTo>
                      <a:pt x="104" y="20"/>
                    </a:lnTo>
                    <a:lnTo>
                      <a:pt x="112" y="14"/>
                    </a:lnTo>
                    <a:lnTo>
                      <a:pt x="112" y="14"/>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Ireland"/>
              <p:cNvSpPr>
                <a:spLocks/>
              </p:cNvSpPr>
              <p:nvPr/>
            </p:nvSpPr>
            <p:spPr bwMode="auto">
              <a:xfrm>
                <a:off x="5516015" y="1721623"/>
                <a:ext cx="115431" cy="106219"/>
              </a:xfrm>
              <a:custGeom>
                <a:avLst/>
                <a:gdLst/>
                <a:ahLst/>
                <a:cxnLst>
                  <a:cxn ang="0">
                    <a:pos x="66" y="2"/>
                  </a:cxn>
                  <a:cxn ang="0">
                    <a:pos x="58" y="2"/>
                  </a:cxn>
                  <a:cxn ang="0">
                    <a:pos x="56" y="4"/>
                  </a:cxn>
                  <a:cxn ang="0">
                    <a:pos x="50" y="2"/>
                  </a:cxn>
                  <a:cxn ang="0">
                    <a:pos x="44" y="4"/>
                  </a:cxn>
                  <a:cxn ang="0">
                    <a:pos x="42" y="8"/>
                  </a:cxn>
                  <a:cxn ang="0">
                    <a:pos x="36" y="10"/>
                  </a:cxn>
                  <a:cxn ang="0">
                    <a:pos x="44" y="14"/>
                  </a:cxn>
                  <a:cxn ang="0">
                    <a:pos x="42" y="16"/>
                  </a:cxn>
                  <a:cxn ang="0">
                    <a:pos x="38" y="20"/>
                  </a:cxn>
                  <a:cxn ang="0">
                    <a:pos x="32" y="18"/>
                  </a:cxn>
                  <a:cxn ang="0">
                    <a:pos x="20" y="18"/>
                  </a:cxn>
                  <a:cxn ang="0">
                    <a:pos x="16" y="20"/>
                  </a:cxn>
                  <a:cxn ang="0">
                    <a:pos x="14" y="22"/>
                  </a:cxn>
                  <a:cxn ang="0">
                    <a:pos x="14" y="24"/>
                  </a:cxn>
                  <a:cxn ang="0">
                    <a:pos x="18" y="28"/>
                  </a:cxn>
                  <a:cxn ang="0">
                    <a:pos x="16" y="30"/>
                  </a:cxn>
                  <a:cxn ang="0">
                    <a:pos x="12" y="32"/>
                  </a:cxn>
                  <a:cxn ang="0">
                    <a:pos x="10" y="34"/>
                  </a:cxn>
                  <a:cxn ang="0">
                    <a:pos x="14" y="36"/>
                  </a:cxn>
                  <a:cxn ang="0">
                    <a:pos x="20" y="38"/>
                  </a:cxn>
                  <a:cxn ang="0">
                    <a:pos x="28" y="38"/>
                  </a:cxn>
                  <a:cxn ang="0">
                    <a:pos x="22" y="42"/>
                  </a:cxn>
                  <a:cxn ang="0">
                    <a:pos x="20" y="46"/>
                  </a:cxn>
                  <a:cxn ang="0">
                    <a:pos x="14" y="48"/>
                  </a:cxn>
                  <a:cxn ang="0">
                    <a:pos x="20" y="50"/>
                  </a:cxn>
                  <a:cxn ang="0">
                    <a:pos x="28" y="46"/>
                  </a:cxn>
                  <a:cxn ang="0">
                    <a:pos x="32" y="48"/>
                  </a:cxn>
                  <a:cxn ang="0">
                    <a:pos x="14" y="52"/>
                  </a:cxn>
                  <a:cxn ang="0">
                    <a:pos x="14" y="56"/>
                  </a:cxn>
                  <a:cxn ang="0">
                    <a:pos x="8" y="56"/>
                  </a:cxn>
                  <a:cxn ang="0">
                    <a:pos x="2" y="58"/>
                  </a:cxn>
                  <a:cxn ang="0">
                    <a:pos x="14" y="58"/>
                  </a:cxn>
                  <a:cxn ang="0">
                    <a:pos x="0" y="62"/>
                  </a:cxn>
                  <a:cxn ang="0">
                    <a:pos x="6" y="64"/>
                  </a:cxn>
                  <a:cxn ang="0">
                    <a:pos x="6" y="66"/>
                  </a:cxn>
                  <a:cxn ang="0">
                    <a:pos x="10" y="66"/>
                  </a:cxn>
                  <a:cxn ang="0">
                    <a:pos x="12" y="68"/>
                  </a:cxn>
                  <a:cxn ang="0">
                    <a:pos x="12" y="70"/>
                  </a:cxn>
                  <a:cxn ang="0">
                    <a:pos x="26" y="68"/>
                  </a:cxn>
                  <a:cxn ang="0">
                    <a:pos x="36" y="66"/>
                  </a:cxn>
                  <a:cxn ang="0">
                    <a:pos x="42" y="64"/>
                  </a:cxn>
                  <a:cxn ang="0">
                    <a:pos x="48" y="60"/>
                  </a:cxn>
                  <a:cxn ang="0">
                    <a:pos x="58" y="60"/>
                  </a:cxn>
                  <a:cxn ang="0">
                    <a:pos x="60" y="60"/>
                  </a:cxn>
                  <a:cxn ang="0">
                    <a:pos x="68" y="60"/>
                  </a:cxn>
                  <a:cxn ang="0">
                    <a:pos x="70" y="56"/>
                  </a:cxn>
                  <a:cxn ang="0">
                    <a:pos x="76" y="50"/>
                  </a:cxn>
                  <a:cxn ang="0">
                    <a:pos x="76" y="44"/>
                  </a:cxn>
                  <a:cxn ang="0">
                    <a:pos x="74" y="38"/>
                  </a:cxn>
                  <a:cxn ang="0">
                    <a:pos x="76" y="34"/>
                  </a:cxn>
                  <a:cxn ang="0">
                    <a:pos x="74" y="30"/>
                  </a:cxn>
                  <a:cxn ang="0">
                    <a:pos x="74" y="26"/>
                  </a:cxn>
                  <a:cxn ang="0">
                    <a:pos x="72" y="24"/>
                  </a:cxn>
                  <a:cxn ang="0">
                    <a:pos x="66" y="20"/>
                  </a:cxn>
                  <a:cxn ang="0">
                    <a:pos x="58" y="20"/>
                  </a:cxn>
                  <a:cxn ang="0">
                    <a:pos x="52" y="12"/>
                  </a:cxn>
                  <a:cxn ang="0">
                    <a:pos x="56" y="8"/>
                  </a:cxn>
                </a:cxnLst>
                <a:rect l="0" t="0" r="r" b="b"/>
                <a:pathLst>
                  <a:path w="76" h="70">
                    <a:moveTo>
                      <a:pt x="60" y="6"/>
                    </a:moveTo>
                    <a:lnTo>
                      <a:pt x="60" y="6"/>
                    </a:lnTo>
                    <a:lnTo>
                      <a:pt x="64" y="4"/>
                    </a:lnTo>
                    <a:lnTo>
                      <a:pt x="64" y="4"/>
                    </a:lnTo>
                    <a:lnTo>
                      <a:pt x="66" y="2"/>
                    </a:lnTo>
                    <a:lnTo>
                      <a:pt x="62" y="0"/>
                    </a:lnTo>
                    <a:lnTo>
                      <a:pt x="62" y="0"/>
                    </a:lnTo>
                    <a:lnTo>
                      <a:pt x="60" y="0"/>
                    </a:lnTo>
                    <a:lnTo>
                      <a:pt x="58" y="2"/>
                    </a:lnTo>
                    <a:lnTo>
                      <a:pt x="58" y="2"/>
                    </a:lnTo>
                    <a:lnTo>
                      <a:pt x="58" y="2"/>
                    </a:lnTo>
                    <a:lnTo>
                      <a:pt x="58" y="4"/>
                    </a:lnTo>
                    <a:lnTo>
                      <a:pt x="56" y="6"/>
                    </a:lnTo>
                    <a:lnTo>
                      <a:pt x="56" y="6"/>
                    </a:lnTo>
                    <a:lnTo>
                      <a:pt x="56" y="4"/>
                    </a:lnTo>
                    <a:lnTo>
                      <a:pt x="54" y="2"/>
                    </a:lnTo>
                    <a:lnTo>
                      <a:pt x="54" y="2"/>
                    </a:lnTo>
                    <a:lnTo>
                      <a:pt x="52" y="2"/>
                    </a:lnTo>
                    <a:lnTo>
                      <a:pt x="50" y="2"/>
                    </a:lnTo>
                    <a:lnTo>
                      <a:pt x="50" y="2"/>
                    </a:lnTo>
                    <a:lnTo>
                      <a:pt x="48" y="2"/>
                    </a:lnTo>
                    <a:lnTo>
                      <a:pt x="46" y="2"/>
                    </a:lnTo>
                    <a:lnTo>
                      <a:pt x="46" y="2"/>
                    </a:lnTo>
                    <a:lnTo>
                      <a:pt x="44" y="2"/>
                    </a:lnTo>
                    <a:lnTo>
                      <a:pt x="44" y="4"/>
                    </a:lnTo>
                    <a:lnTo>
                      <a:pt x="42" y="6"/>
                    </a:lnTo>
                    <a:lnTo>
                      <a:pt x="42" y="6"/>
                    </a:lnTo>
                    <a:lnTo>
                      <a:pt x="40" y="6"/>
                    </a:lnTo>
                    <a:lnTo>
                      <a:pt x="42" y="8"/>
                    </a:lnTo>
                    <a:lnTo>
                      <a:pt x="42" y="8"/>
                    </a:lnTo>
                    <a:lnTo>
                      <a:pt x="40" y="8"/>
                    </a:lnTo>
                    <a:lnTo>
                      <a:pt x="40" y="8"/>
                    </a:lnTo>
                    <a:lnTo>
                      <a:pt x="38" y="10"/>
                    </a:lnTo>
                    <a:lnTo>
                      <a:pt x="36" y="10"/>
                    </a:lnTo>
                    <a:lnTo>
                      <a:pt x="36" y="10"/>
                    </a:lnTo>
                    <a:lnTo>
                      <a:pt x="34" y="12"/>
                    </a:lnTo>
                    <a:lnTo>
                      <a:pt x="36" y="12"/>
                    </a:lnTo>
                    <a:lnTo>
                      <a:pt x="36" y="12"/>
                    </a:lnTo>
                    <a:lnTo>
                      <a:pt x="40" y="14"/>
                    </a:lnTo>
                    <a:lnTo>
                      <a:pt x="44" y="14"/>
                    </a:lnTo>
                    <a:lnTo>
                      <a:pt x="44" y="14"/>
                    </a:lnTo>
                    <a:lnTo>
                      <a:pt x="44" y="14"/>
                    </a:lnTo>
                    <a:lnTo>
                      <a:pt x="42" y="16"/>
                    </a:lnTo>
                    <a:lnTo>
                      <a:pt x="42" y="16"/>
                    </a:lnTo>
                    <a:lnTo>
                      <a:pt x="42" y="16"/>
                    </a:lnTo>
                    <a:lnTo>
                      <a:pt x="38" y="18"/>
                    </a:lnTo>
                    <a:lnTo>
                      <a:pt x="38" y="18"/>
                    </a:lnTo>
                    <a:lnTo>
                      <a:pt x="36" y="18"/>
                    </a:lnTo>
                    <a:lnTo>
                      <a:pt x="38" y="20"/>
                    </a:lnTo>
                    <a:lnTo>
                      <a:pt x="38" y="20"/>
                    </a:lnTo>
                    <a:lnTo>
                      <a:pt x="38" y="20"/>
                    </a:lnTo>
                    <a:lnTo>
                      <a:pt x="38" y="20"/>
                    </a:lnTo>
                    <a:lnTo>
                      <a:pt x="36" y="20"/>
                    </a:lnTo>
                    <a:lnTo>
                      <a:pt x="32" y="18"/>
                    </a:lnTo>
                    <a:lnTo>
                      <a:pt x="32" y="18"/>
                    </a:lnTo>
                    <a:lnTo>
                      <a:pt x="30" y="20"/>
                    </a:lnTo>
                    <a:lnTo>
                      <a:pt x="28" y="20"/>
                    </a:lnTo>
                    <a:lnTo>
                      <a:pt x="28" y="18"/>
                    </a:lnTo>
                    <a:lnTo>
                      <a:pt x="28" y="18"/>
                    </a:lnTo>
                    <a:lnTo>
                      <a:pt x="20" y="18"/>
                    </a:lnTo>
                    <a:lnTo>
                      <a:pt x="20" y="18"/>
                    </a:lnTo>
                    <a:lnTo>
                      <a:pt x="16" y="18"/>
                    </a:lnTo>
                    <a:lnTo>
                      <a:pt x="16" y="18"/>
                    </a:lnTo>
                    <a:lnTo>
                      <a:pt x="14" y="20"/>
                    </a:lnTo>
                    <a:lnTo>
                      <a:pt x="16" y="20"/>
                    </a:lnTo>
                    <a:lnTo>
                      <a:pt x="16" y="20"/>
                    </a:lnTo>
                    <a:lnTo>
                      <a:pt x="16" y="20"/>
                    </a:lnTo>
                    <a:lnTo>
                      <a:pt x="16" y="24"/>
                    </a:lnTo>
                    <a:lnTo>
                      <a:pt x="16" y="24"/>
                    </a:lnTo>
                    <a:lnTo>
                      <a:pt x="14" y="22"/>
                    </a:lnTo>
                    <a:lnTo>
                      <a:pt x="12" y="24"/>
                    </a:lnTo>
                    <a:lnTo>
                      <a:pt x="12" y="24"/>
                    </a:lnTo>
                    <a:lnTo>
                      <a:pt x="12" y="24"/>
                    </a:lnTo>
                    <a:lnTo>
                      <a:pt x="14" y="24"/>
                    </a:lnTo>
                    <a:lnTo>
                      <a:pt x="14" y="24"/>
                    </a:lnTo>
                    <a:lnTo>
                      <a:pt x="16" y="26"/>
                    </a:lnTo>
                    <a:lnTo>
                      <a:pt x="18" y="26"/>
                    </a:lnTo>
                    <a:lnTo>
                      <a:pt x="18" y="26"/>
                    </a:lnTo>
                    <a:lnTo>
                      <a:pt x="20" y="26"/>
                    </a:lnTo>
                    <a:lnTo>
                      <a:pt x="18" y="28"/>
                    </a:lnTo>
                    <a:lnTo>
                      <a:pt x="18" y="28"/>
                    </a:lnTo>
                    <a:lnTo>
                      <a:pt x="14" y="28"/>
                    </a:lnTo>
                    <a:lnTo>
                      <a:pt x="16" y="30"/>
                    </a:lnTo>
                    <a:lnTo>
                      <a:pt x="16" y="30"/>
                    </a:lnTo>
                    <a:lnTo>
                      <a:pt x="16" y="30"/>
                    </a:lnTo>
                    <a:lnTo>
                      <a:pt x="16" y="32"/>
                    </a:lnTo>
                    <a:lnTo>
                      <a:pt x="12" y="30"/>
                    </a:lnTo>
                    <a:lnTo>
                      <a:pt x="12" y="30"/>
                    </a:lnTo>
                    <a:lnTo>
                      <a:pt x="10" y="32"/>
                    </a:lnTo>
                    <a:lnTo>
                      <a:pt x="12" y="32"/>
                    </a:lnTo>
                    <a:lnTo>
                      <a:pt x="12" y="32"/>
                    </a:lnTo>
                    <a:lnTo>
                      <a:pt x="10" y="34"/>
                    </a:lnTo>
                    <a:lnTo>
                      <a:pt x="10" y="34"/>
                    </a:lnTo>
                    <a:lnTo>
                      <a:pt x="10" y="34"/>
                    </a:lnTo>
                    <a:lnTo>
                      <a:pt x="10" y="34"/>
                    </a:lnTo>
                    <a:lnTo>
                      <a:pt x="14" y="34"/>
                    </a:lnTo>
                    <a:lnTo>
                      <a:pt x="14" y="34"/>
                    </a:lnTo>
                    <a:lnTo>
                      <a:pt x="16" y="34"/>
                    </a:lnTo>
                    <a:lnTo>
                      <a:pt x="14" y="36"/>
                    </a:lnTo>
                    <a:lnTo>
                      <a:pt x="14" y="36"/>
                    </a:lnTo>
                    <a:lnTo>
                      <a:pt x="14" y="36"/>
                    </a:lnTo>
                    <a:lnTo>
                      <a:pt x="18" y="36"/>
                    </a:lnTo>
                    <a:lnTo>
                      <a:pt x="18" y="36"/>
                    </a:lnTo>
                    <a:lnTo>
                      <a:pt x="20" y="36"/>
                    </a:lnTo>
                    <a:lnTo>
                      <a:pt x="20" y="38"/>
                    </a:lnTo>
                    <a:lnTo>
                      <a:pt x="20" y="38"/>
                    </a:lnTo>
                    <a:lnTo>
                      <a:pt x="20" y="38"/>
                    </a:lnTo>
                    <a:lnTo>
                      <a:pt x="22" y="38"/>
                    </a:lnTo>
                    <a:lnTo>
                      <a:pt x="28" y="38"/>
                    </a:lnTo>
                    <a:lnTo>
                      <a:pt x="28" y="38"/>
                    </a:lnTo>
                    <a:lnTo>
                      <a:pt x="30" y="38"/>
                    </a:lnTo>
                    <a:lnTo>
                      <a:pt x="26" y="40"/>
                    </a:lnTo>
                    <a:lnTo>
                      <a:pt x="26" y="40"/>
                    </a:lnTo>
                    <a:lnTo>
                      <a:pt x="24" y="40"/>
                    </a:lnTo>
                    <a:lnTo>
                      <a:pt x="22" y="42"/>
                    </a:lnTo>
                    <a:lnTo>
                      <a:pt x="22" y="42"/>
                    </a:lnTo>
                    <a:lnTo>
                      <a:pt x="20" y="44"/>
                    </a:lnTo>
                    <a:lnTo>
                      <a:pt x="22" y="44"/>
                    </a:lnTo>
                    <a:lnTo>
                      <a:pt x="22" y="44"/>
                    </a:lnTo>
                    <a:lnTo>
                      <a:pt x="20" y="46"/>
                    </a:lnTo>
                    <a:lnTo>
                      <a:pt x="18" y="46"/>
                    </a:lnTo>
                    <a:lnTo>
                      <a:pt x="18" y="46"/>
                    </a:lnTo>
                    <a:lnTo>
                      <a:pt x="18" y="46"/>
                    </a:lnTo>
                    <a:lnTo>
                      <a:pt x="14" y="48"/>
                    </a:lnTo>
                    <a:lnTo>
                      <a:pt x="14" y="48"/>
                    </a:lnTo>
                    <a:lnTo>
                      <a:pt x="12" y="50"/>
                    </a:lnTo>
                    <a:lnTo>
                      <a:pt x="14" y="50"/>
                    </a:lnTo>
                    <a:lnTo>
                      <a:pt x="14" y="50"/>
                    </a:lnTo>
                    <a:lnTo>
                      <a:pt x="18" y="50"/>
                    </a:lnTo>
                    <a:lnTo>
                      <a:pt x="20" y="50"/>
                    </a:lnTo>
                    <a:lnTo>
                      <a:pt x="20" y="50"/>
                    </a:lnTo>
                    <a:lnTo>
                      <a:pt x="24" y="50"/>
                    </a:lnTo>
                    <a:lnTo>
                      <a:pt x="28" y="48"/>
                    </a:lnTo>
                    <a:lnTo>
                      <a:pt x="28" y="48"/>
                    </a:lnTo>
                    <a:lnTo>
                      <a:pt x="28" y="46"/>
                    </a:lnTo>
                    <a:lnTo>
                      <a:pt x="28" y="48"/>
                    </a:lnTo>
                    <a:lnTo>
                      <a:pt x="28" y="48"/>
                    </a:lnTo>
                    <a:lnTo>
                      <a:pt x="28" y="48"/>
                    </a:lnTo>
                    <a:lnTo>
                      <a:pt x="32" y="48"/>
                    </a:lnTo>
                    <a:lnTo>
                      <a:pt x="32" y="48"/>
                    </a:lnTo>
                    <a:lnTo>
                      <a:pt x="18" y="50"/>
                    </a:lnTo>
                    <a:lnTo>
                      <a:pt x="18" y="50"/>
                    </a:lnTo>
                    <a:lnTo>
                      <a:pt x="16" y="50"/>
                    </a:lnTo>
                    <a:lnTo>
                      <a:pt x="14" y="52"/>
                    </a:lnTo>
                    <a:lnTo>
                      <a:pt x="14" y="52"/>
                    </a:lnTo>
                    <a:lnTo>
                      <a:pt x="12" y="54"/>
                    </a:lnTo>
                    <a:lnTo>
                      <a:pt x="12" y="54"/>
                    </a:lnTo>
                    <a:lnTo>
                      <a:pt x="12" y="54"/>
                    </a:lnTo>
                    <a:lnTo>
                      <a:pt x="12" y="54"/>
                    </a:lnTo>
                    <a:lnTo>
                      <a:pt x="14" y="56"/>
                    </a:lnTo>
                    <a:lnTo>
                      <a:pt x="14" y="56"/>
                    </a:lnTo>
                    <a:lnTo>
                      <a:pt x="12" y="56"/>
                    </a:lnTo>
                    <a:lnTo>
                      <a:pt x="10" y="56"/>
                    </a:lnTo>
                    <a:lnTo>
                      <a:pt x="10" y="56"/>
                    </a:lnTo>
                    <a:lnTo>
                      <a:pt x="8" y="56"/>
                    </a:lnTo>
                    <a:lnTo>
                      <a:pt x="4" y="56"/>
                    </a:lnTo>
                    <a:lnTo>
                      <a:pt x="4" y="56"/>
                    </a:lnTo>
                    <a:lnTo>
                      <a:pt x="0" y="58"/>
                    </a:lnTo>
                    <a:lnTo>
                      <a:pt x="0" y="58"/>
                    </a:lnTo>
                    <a:lnTo>
                      <a:pt x="2" y="58"/>
                    </a:lnTo>
                    <a:lnTo>
                      <a:pt x="2" y="58"/>
                    </a:lnTo>
                    <a:lnTo>
                      <a:pt x="6" y="58"/>
                    </a:lnTo>
                    <a:lnTo>
                      <a:pt x="6" y="58"/>
                    </a:lnTo>
                    <a:lnTo>
                      <a:pt x="14" y="58"/>
                    </a:lnTo>
                    <a:lnTo>
                      <a:pt x="14" y="58"/>
                    </a:lnTo>
                    <a:lnTo>
                      <a:pt x="10" y="58"/>
                    </a:lnTo>
                    <a:lnTo>
                      <a:pt x="10" y="58"/>
                    </a:lnTo>
                    <a:lnTo>
                      <a:pt x="2" y="62"/>
                    </a:lnTo>
                    <a:lnTo>
                      <a:pt x="2" y="62"/>
                    </a:lnTo>
                    <a:lnTo>
                      <a:pt x="0" y="62"/>
                    </a:lnTo>
                    <a:lnTo>
                      <a:pt x="0" y="64"/>
                    </a:lnTo>
                    <a:lnTo>
                      <a:pt x="4" y="64"/>
                    </a:lnTo>
                    <a:lnTo>
                      <a:pt x="4" y="64"/>
                    </a:lnTo>
                    <a:lnTo>
                      <a:pt x="6" y="64"/>
                    </a:lnTo>
                    <a:lnTo>
                      <a:pt x="6" y="64"/>
                    </a:lnTo>
                    <a:lnTo>
                      <a:pt x="8" y="64"/>
                    </a:lnTo>
                    <a:lnTo>
                      <a:pt x="8" y="64"/>
                    </a:lnTo>
                    <a:lnTo>
                      <a:pt x="16" y="62"/>
                    </a:lnTo>
                    <a:lnTo>
                      <a:pt x="16" y="62"/>
                    </a:lnTo>
                    <a:lnTo>
                      <a:pt x="6" y="66"/>
                    </a:lnTo>
                    <a:lnTo>
                      <a:pt x="6" y="66"/>
                    </a:lnTo>
                    <a:lnTo>
                      <a:pt x="6" y="66"/>
                    </a:lnTo>
                    <a:lnTo>
                      <a:pt x="6" y="68"/>
                    </a:lnTo>
                    <a:lnTo>
                      <a:pt x="10" y="66"/>
                    </a:lnTo>
                    <a:lnTo>
                      <a:pt x="10" y="66"/>
                    </a:lnTo>
                    <a:lnTo>
                      <a:pt x="12" y="66"/>
                    </a:lnTo>
                    <a:lnTo>
                      <a:pt x="16" y="66"/>
                    </a:lnTo>
                    <a:lnTo>
                      <a:pt x="16" y="66"/>
                    </a:lnTo>
                    <a:lnTo>
                      <a:pt x="14" y="68"/>
                    </a:lnTo>
                    <a:lnTo>
                      <a:pt x="12" y="68"/>
                    </a:lnTo>
                    <a:lnTo>
                      <a:pt x="12" y="68"/>
                    </a:lnTo>
                    <a:lnTo>
                      <a:pt x="10" y="70"/>
                    </a:lnTo>
                    <a:lnTo>
                      <a:pt x="10" y="70"/>
                    </a:lnTo>
                    <a:lnTo>
                      <a:pt x="12" y="70"/>
                    </a:lnTo>
                    <a:lnTo>
                      <a:pt x="12" y="70"/>
                    </a:lnTo>
                    <a:lnTo>
                      <a:pt x="16" y="70"/>
                    </a:lnTo>
                    <a:lnTo>
                      <a:pt x="18" y="70"/>
                    </a:lnTo>
                    <a:lnTo>
                      <a:pt x="18" y="70"/>
                    </a:lnTo>
                    <a:lnTo>
                      <a:pt x="22" y="70"/>
                    </a:lnTo>
                    <a:lnTo>
                      <a:pt x="26" y="68"/>
                    </a:lnTo>
                    <a:lnTo>
                      <a:pt x="26" y="68"/>
                    </a:lnTo>
                    <a:lnTo>
                      <a:pt x="30" y="68"/>
                    </a:lnTo>
                    <a:lnTo>
                      <a:pt x="32" y="68"/>
                    </a:lnTo>
                    <a:lnTo>
                      <a:pt x="32" y="68"/>
                    </a:lnTo>
                    <a:lnTo>
                      <a:pt x="36" y="66"/>
                    </a:lnTo>
                    <a:lnTo>
                      <a:pt x="38" y="66"/>
                    </a:lnTo>
                    <a:lnTo>
                      <a:pt x="38" y="66"/>
                    </a:lnTo>
                    <a:lnTo>
                      <a:pt x="40" y="64"/>
                    </a:lnTo>
                    <a:lnTo>
                      <a:pt x="42" y="64"/>
                    </a:lnTo>
                    <a:lnTo>
                      <a:pt x="42" y="64"/>
                    </a:lnTo>
                    <a:lnTo>
                      <a:pt x="44" y="62"/>
                    </a:lnTo>
                    <a:lnTo>
                      <a:pt x="44" y="62"/>
                    </a:lnTo>
                    <a:lnTo>
                      <a:pt x="46" y="62"/>
                    </a:lnTo>
                    <a:lnTo>
                      <a:pt x="48" y="60"/>
                    </a:lnTo>
                    <a:lnTo>
                      <a:pt x="48" y="60"/>
                    </a:lnTo>
                    <a:lnTo>
                      <a:pt x="50" y="60"/>
                    </a:lnTo>
                    <a:lnTo>
                      <a:pt x="52" y="60"/>
                    </a:lnTo>
                    <a:lnTo>
                      <a:pt x="52" y="60"/>
                    </a:lnTo>
                    <a:lnTo>
                      <a:pt x="58" y="60"/>
                    </a:lnTo>
                    <a:lnTo>
                      <a:pt x="58" y="60"/>
                    </a:lnTo>
                    <a:lnTo>
                      <a:pt x="60" y="54"/>
                    </a:lnTo>
                    <a:lnTo>
                      <a:pt x="60" y="54"/>
                    </a:lnTo>
                    <a:lnTo>
                      <a:pt x="60" y="60"/>
                    </a:lnTo>
                    <a:lnTo>
                      <a:pt x="60" y="60"/>
                    </a:lnTo>
                    <a:lnTo>
                      <a:pt x="60" y="60"/>
                    </a:lnTo>
                    <a:lnTo>
                      <a:pt x="62" y="60"/>
                    </a:lnTo>
                    <a:lnTo>
                      <a:pt x="64" y="58"/>
                    </a:lnTo>
                    <a:lnTo>
                      <a:pt x="64" y="58"/>
                    </a:lnTo>
                    <a:lnTo>
                      <a:pt x="64" y="58"/>
                    </a:lnTo>
                    <a:lnTo>
                      <a:pt x="68" y="60"/>
                    </a:lnTo>
                    <a:lnTo>
                      <a:pt x="70" y="60"/>
                    </a:lnTo>
                    <a:lnTo>
                      <a:pt x="70" y="60"/>
                    </a:lnTo>
                    <a:lnTo>
                      <a:pt x="72" y="60"/>
                    </a:lnTo>
                    <a:lnTo>
                      <a:pt x="70" y="58"/>
                    </a:lnTo>
                    <a:lnTo>
                      <a:pt x="70" y="56"/>
                    </a:lnTo>
                    <a:lnTo>
                      <a:pt x="70" y="56"/>
                    </a:lnTo>
                    <a:lnTo>
                      <a:pt x="74" y="52"/>
                    </a:lnTo>
                    <a:lnTo>
                      <a:pt x="74" y="52"/>
                    </a:lnTo>
                    <a:lnTo>
                      <a:pt x="74" y="50"/>
                    </a:lnTo>
                    <a:lnTo>
                      <a:pt x="76" y="50"/>
                    </a:lnTo>
                    <a:lnTo>
                      <a:pt x="76" y="50"/>
                    </a:lnTo>
                    <a:lnTo>
                      <a:pt x="76" y="48"/>
                    </a:lnTo>
                    <a:lnTo>
                      <a:pt x="76" y="46"/>
                    </a:lnTo>
                    <a:lnTo>
                      <a:pt x="76" y="46"/>
                    </a:lnTo>
                    <a:lnTo>
                      <a:pt x="76" y="44"/>
                    </a:lnTo>
                    <a:lnTo>
                      <a:pt x="76" y="42"/>
                    </a:lnTo>
                    <a:lnTo>
                      <a:pt x="76" y="42"/>
                    </a:lnTo>
                    <a:lnTo>
                      <a:pt x="74" y="38"/>
                    </a:lnTo>
                    <a:lnTo>
                      <a:pt x="74" y="38"/>
                    </a:lnTo>
                    <a:lnTo>
                      <a:pt x="74" y="38"/>
                    </a:lnTo>
                    <a:lnTo>
                      <a:pt x="74" y="38"/>
                    </a:lnTo>
                    <a:lnTo>
                      <a:pt x="76" y="36"/>
                    </a:lnTo>
                    <a:lnTo>
                      <a:pt x="76" y="36"/>
                    </a:lnTo>
                    <a:lnTo>
                      <a:pt x="76" y="36"/>
                    </a:lnTo>
                    <a:lnTo>
                      <a:pt x="76" y="34"/>
                    </a:lnTo>
                    <a:lnTo>
                      <a:pt x="76" y="34"/>
                    </a:lnTo>
                    <a:lnTo>
                      <a:pt x="76" y="34"/>
                    </a:lnTo>
                    <a:lnTo>
                      <a:pt x="76" y="34"/>
                    </a:lnTo>
                    <a:lnTo>
                      <a:pt x="74" y="30"/>
                    </a:lnTo>
                    <a:lnTo>
                      <a:pt x="74" y="30"/>
                    </a:lnTo>
                    <a:lnTo>
                      <a:pt x="74" y="30"/>
                    </a:lnTo>
                    <a:lnTo>
                      <a:pt x="72" y="28"/>
                    </a:lnTo>
                    <a:lnTo>
                      <a:pt x="72" y="28"/>
                    </a:lnTo>
                    <a:lnTo>
                      <a:pt x="72" y="26"/>
                    </a:lnTo>
                    <a:lnTo>
                      <a:pt x="74" y="26"/>
                    </a:lnTo>
                    <a:lnTo>
                      <a:pt x="74" y="26"/>
                    </a:lnTo>
                    <a:lnTo>
                      <a:pt x="76" y="26"/>
                    </a:lnTo>
                    <a:lnTo>
                      <a:pt x="76" y="26"/>
                    </a:lnTo>
                    <a:lnTo>
                      <a:pt x="76" y="26"/>
                    </a:lnTo>
                    <a:lnTo>
                      <a:pt x="72" y="24"/>
                    </a:lnTo>
                    <a:lnTo>
                      <a:pt x="68" y="24"/>
                    </a:lnTo>
                    <a:lnTo>
                      <a:pt x="68" y="24"/>
                    </a:lnTo>
                    <a:lnTo>
                      <a:pt x="68" y="24"/>
                    </a:lnTo>
                    <a:lnTo>
                      <a:pt x="66" y="22"/>
                    </a:lnTo>
                    <a:lnTo>
                      <a:pt x="66" y="20"/>
                    </a:lnTo>
                    <a:lnTo>
                      <a:pt x="66" y="20"/>
                    </a:lnTo>
                    <a:lnTo>
                      <a:pt x="62" y="16"/>
                    </a:lnTo>
                    <a:lnTo>
                      <a:pt x="60" y="18"/>
                    </a:lnTo>
                    <a:lnTo>
                      <a:pt x="60" y="18"/>
                    </a:lnTo>
                    <a:lnTo>
                      <a:pt x="58" y="20"/>
                    </a:lnTo>
                    <a:lnTo>
                      <a:pt x="56" y="20"/>
                    </a:lnTo>
                    <a:lnTo>
                      <a:pt x="50" y="18"/>
                    </a:lnTo>
                    <a:lnTo>
                      <a:pt x="50" y="18"/>
                    </a:lnTo>
                    <a:lnTo>
                      <a:pt x="48" y="14"/>
                    </a:lnTo>
                    <a:lnTo>
                      <a:pt x="52" y="12"/>
                    </a:lnTo>
                    <a:lnTo>
                      <a:pt x="52" y="12"/>
                    </a:lnTo>
                    <a:lnTo>
                      <a:pt x="52" y="12"/>
                    </a:lnTo>
                    <a:lnTo>
                      <a:pt x="52" y="10"/>
                    </a:lnTo>
                    <a:lnTo>
                      <a:pt x="54" y="8"/>
                    </a:lnTo>
                    <a:lnTo>
                      <a:pt x="56" y="8"/>
                    </a:lnTo>
                    <a:lnTo>
                      <a:pt x="56" y="8"/>
                    </a:lnTo>
                    <a:lnTo>
                      <a:pt x="58" y="8"/>
                    </a:lnTo>
                    <a:lnTo>
                      <a:pt x="60" y="6"/>
                    </a:lnTo>
                    <a:lnTo>
                      <a:pt x="60" y="6"/>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Israel"/>
              <p:cNvSpPr>
                <a:spLocks/>
              </p:cNvSpPr>
              <p:nvPr/>
            </p:nvSpPr>
            <p:spPr bwMode="auto">
              <a:xfrm>
                <a:off x="6825238" y="2425704"/>
                <a:ext cx="45565" cy="121393"/>
              </a:xfrm>
              <a:custGeom>
                <a:avLst/>
                <a:gdLst/>
                <a:ahLst/>
                <a:cxnLst>
                  <a:cxn ang="0">
                    <a:pos x="20" y="80"/>
                  </a:cxn>
                  <a:cxn ang="0">
                    <a:pos x="20" y="80"/>
                  </a:cxn>
                  <a:cxn ang="0">
                    <a:pos x="2" y="50"/>
                  </a:cxn>
                  <a:cxn ang="0">
                    <a:pos x="2" y="50"/>
                  </a:cxn>
                  <a:cxn ang="0">
                    <a:pos x="0" y="48"/>
                  </a:cxn>
                  <a:cxn ang="0">
                    <a:pos x="0" y="44"/>
                  </a:cxn>
                  <a:cxn ang="0">
                    <a:pos x="2" y="42"/>
                  </a:cxn>
                  <a:cxn ang="0">
                    <a:pos x="4" y="40"/>
                  </a:cxn>
                  <a:cxn ang="0">
                    <a:pos x="2" y="36"/>
                  </a:cxn>
                  <a:cxn ang="0">
                    <a:pos x="2" y="36"/>
                  </a:cxn>
                  <a:cxn ang="0">
                    <a:pos x="4" y="28"/>
                  </a:cxn>
                  <a:cxn ang="0">
                    <a:pos x="6" y="24"/>
                  </a:cxn>
                  <a:cxn ang="0">
                    <a:pos x="6" y="22"/>
                  </a:cxn>
                  <a:cxn ang="0">
                    <a:pos x="8" y="16"/>
                  </a:cxn>
                  <a:cxn ang="0">
                    <a:pos x="8" y="16"/>
                  </a:cxn>
                  <a:cxn ang="0">
                    <a:pos x="8" y="12"/>
                  </a:cxn>
                  <a:cxn ang="0">
                    <a:pos x="10" y="8"/>
                  </a:cxn>
                  <a:cxn ang="0">
                    <a:pos x="12" y="4"/>
                  </a:cxn>
                  <a:cxn ang="0">
                    <a:pos x="12" y="0"/>
                  </a:cxn>
                  <a:cxn ang="0">
                    <a:pos x="30" y="0"/>
                  </a:cxn>
                  <a:cxn ang="0">
                    <a:pos x="28" y="6"/>
                  </a:cxn>
                  <a:cxn ang="0">
                    <a:pos x="28" y="6"/>
                  </a:cxn>
                  <a:cxn ang="0">
                    <a:pos x="24" y="6"/>
                  </a:cxn>
                  <a:cxn ang="0">
                    <a:pos x="24" y="8"/>
                  </a:cxn>
                  <a:cxn ang="0">
                    <a:pos x="24" y="10"/>
                  </a:cxn>
                  <a:cxn ang="0">
                    <a:pos x="22" y="12"/>
                  </a:cxn>
                  <a:cxn ang="0">
                    <a:pos x="22" y="12"/>
                  </a:cxn>
                  <a:cxn ang="0">
                    <a:pos x="20" y="12"/>
                  </a:cxn>
                  <a:cxn ang="0">
                    <a:pos x="20" y="10"/>
                  </a:cxn>
                  <a:cxn ang="0">
                    <a:pos x="18" y="8"/>
                  </a:cxn>
                  <a:cxn ang="0">
                    <a:pos x="16" y="8"/>
                  </a:cxn>
                  <a:cxn ang="0">
                    <a:pos x="16" y="8"/>
                  </a:cxn>
                  <a:cxn ang="0">
                    <a:pos x="14" y="10"/>
                  </a:cxn>
                  <a:cxn ang="0">
                    <a:pos x="12" y="12"/>
                  </a:cxn>
                  <a:cxn ang="0">
                    <a:pos x="12" y="18"/>
                  </a:cxn>
                  <a:cxn ang="0">
                    <a:pos x="14" y="24"/>
                  </a:cxn>
                  <a:cxn ang="0">
                    <a:pos x="14" y="26"/>
                  </a:cxn>
                  <a:cxn ang="0">
                    <a:pos x="14" y="26"/>
                  </a:cxn>
                  <a:cxn ang="0">
                    <a:pos x="16" y="28"/>
                  </a:cxn>
                  <a:cxn ang="0">
                    <a:pos x="18" y="30"/>
                  </a:cxn>
                  <a:cxn ang="0">
                    <a:pos x="16" y="34"/>
                  </a:cxn>
                  <a:cxn ang="0">
                    <a:pos x="12" y="36"/>
                  </a:cxn>
                  <a:cxn ang="0">
                    <a:pos x="12" y="40"/>
                  </a:cxn>
                  <a:cxn ang="0">
                    <a:pos x="12" y="40"/>
                  </a:cxn>
                  <a:cxn ang="0">
                    <a:pos x="14" y="40"/>
                  </a:cxn>
                  <a:cxn ang="0">
                    <a:pos x="16" y="40"/>
                  </a:cxn>
                  <a:cxn ang="0">
                    <a:pos x="20" y="38"/>
                  </a:cxn>
                  <a:cxn ang="0">
                    <a:pos x="22" y="38"/>
                  </a:cxn>
                  <a:cxn ang="0">
                    <a:pos x="24" y="40"/>
                  </a:cxn>
                  <a:cxn ang="0">
                    <a:pos x="24" y="46"/>
                  </a:cxn>
                  <a:cxn ang="0">
                    <a:pos x="24" y="46"/>
                  </a:cxn>
                  <a:cxn ang="0">
                    <a:pos x="22" y="64"/>
                  </a:cxn>
                  <a:cxn ang="0">
                    <a:pos x="20" y="80"/>
                  </a:cxn>
                  <a:cxn ang="0">
                    <a:pos x="20" y="80"/>
                  </a:cxn>
                </a:cxnLst>
                <a:rect l="0" t="0" r="r" b="b"/>
                <a:pathLst>
                  <a:path w="30" h="80">
                    <a:moveTo>
                      <a:pt x="20" y="80"/>
                    </a:moveTo>
                    <a:lnTo>
                      <a:pt x="20" y="80"/>
                    </a:lnTo>
                    <a:lnTo>
                      <a:pt x="2" y="50"/>
                    </a:lnTo>
                    <a:lnTo>
                      <a:pt x="2" y="50"/>
                    </a:lnTo>
                    <a:lnTo>
                      <a:pt x="0" y="48"/>
                    </a:lnTo>
                    <a:lnTo>
                      <a:pt x="0" y="44"/>
                    </a:lnTo>
                    <a:lnTo>
                      <a:pt x="2" y="42"/>
                    </a:lnTo>
                    <a:lnTo>
                      <a:pt x="4" y="40"/>
                    </a:lnTo>
                    <a:lnTo>
                      <a:pt x="2" y="36"/>
                    </a:lnTo>
                    <a:lnTo>
                      <a:pt x="2" y="36"/>
                    </a:lnTo>
                    <a:lnTo>
                      <a:pt x="4" y="28"/>
                    </a:lnTo>
                    <a:lnTo>
                      <a:pt x="6" y="24"/>
                    </a:lnTo>
                    <a:lnTo>
                      <a:pt x="6" y="22"/>
                    </a:lnTo>
                    <a:lnTo>
                      <a:pt x="8" y="16"/>
                    </a:lnTo>
                    <a:lnTo>
                      <a:pt x="8" y="16"/>
                    </a:lnTo>
                    <a:lnTo>
                      <a:pt x="8" y="12"/>
                    </a:lnTo>
                    <a:lnTo>
                      <a:pt x="10" y="8"/>
                    </a:lnTo>
                    <a:lnTo>
                      <a:pt x="12" y="4"/>
                    </a:lnTo>
                    <a:lnTo>
                      <a:pt x="12" y="0"/>
                    </a:lnTo>
                    <a:lnTo>
                      <a:pt x="30" y="0"/>
                    </a:lnTo>
                    <a:lnTo>
                      <a:pt x="28" y="6"/>
                    </a:lnTo>
                    <a:lnTo>
                      <a:pt x="28" y="6"/>
                    </a:lnTo>
                    <a:lnTo>
                      <a:pt x="24" y="6"/>
                    </a:lnTo>
                    <a:lnTo>
                      <a:pt x="24" y="8"/>
                    </a:lnTo>
                    <a:lnTo>
                      <a:pt x="24" y="10"/>
                    </a:lnTo>
                    <a:lnTo>
                      <a:pt x="22" y="12"/>
                    </a:lnTo>
                    <a:lnTo>
                      <a:pt x="22" y="12"/>
                    </a:lnTo>
                    <a:lnTo>
                      <a:pt x="20" y="12"/>
                    </a:lnTo>
                    <a:lnTo>
                      <a:pt x="20" y="10"/>
                    </a:lnTo>
                    <a:lnTo>
                      <a:pt x="18" y="8"/>
                    </a:lnTo>
                    <a:lnTo>
                      <a:pt x="16" y="8"/>
                    </a:lnTo>
                    <a:lnTo>
                      <a:pt x="16" y="8"/>
                    </a:lnTo>
                    <a:lnTo>
                      <a:pt x="14" y="10"/>
                    </a:lnTo>
                    <a:lnTo>
                      <a:pt x="12" y="12"/>
                    </a:lnTo>
                    <a:lnTo>
                      <a:pt x="12" y="18"/>
                    </a:lnTo>
                    <a:lnTo>
                      <a:pt x="14" y="24"/>
                    </a:lnTo>
                    <a:lnTo>
                      <a:pt x="14" y="26"/>
                    </a:lnTo>
                    <a:lnTo>
                      <a:pt x="14" y="26"/>
                    </a:lnTo>
                    <a:lnTo>
                      <a:pt x="16" y="28"/>
                    </a:lnTo>
                    <a:lnTo>
                      <a:pt x="18" y="30"/>
                    </a:lnTo>
                    <a:lnTo>
                      <a:pt x="16" y="34"/>
                    </a:lnTo>
                    <a:lnTo>
                      <a:pt x="12" y="36"/>
                    </a:lnTo>
                    <a:lnTo>
                      <a:pt x="12" y="40"/>
                    </a:lnTo>
                    <a:lnTo>
                      <a:pt x="12" y="40"/>
                    </a:lnTo>
                    <a:lnTo>
                      <a:pt x="14" y="40"/>
                    </a:lnTo>
                    <a:lnTo>
                      <a:pt x="16" y="40"/>
                    </a:lnTo>
                    <a:lnTo>
                      <a:pt x="20" y="38"/>
                    </a:lnTo>
                    <a:lnTo>
                      <a:pt x="22" y="38"/>
                    </a:lnTo>
                    <a:lnTo>
                      <a:pt x="24" y="40"/>
                    </a:lnTo>
                    <a:lnTo>
                      <a:pt x="24" y="46"/>
                    </a:lnTo>
                    <a:lnTo>
                      <a:pt x="24" y="46"/>
                    </a:lnTo>
                    <a:lnTo>
                      <a:pt x="22" y="64"/>
                    </a:lnTo>
                    <a:lnTo>
                      <a:pt x="20" y="80"/>
                    </a:lnTo>
                    <a:lnTo>
                      <a:pt x="20" y="80"/>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Luxembourg"/>
              <p:cNvSpPr>
                <a:spLocks/>
              </p:cNvSpPr>
              <p:nvPr/>
            </p:nvSpPr>
            <p:spPr bwMode="auto">
              <a:xfrm>
                <a:off x="5935210" y="1879434"/>
                <a:ext cx="15188" cy="12139"/>
              </a:xfrm>
              <a:custGeom>
                <a:avLst/>
                <a:gdLst/>
                <a:ahLst/>
                <a:cxnLst>
                  <a:cxn ang="0">
                    <a:pos x="8" y="8"/>
                  </a:cxn>
                  <a:cxn ang="0">
                    <a:pos x="8" y="8"/>
                  </a:cxn>
                  <a:cxn ang="0">
                    <a:pos x="0" y="8"/>
                  </a:cxn>
                  <a:cxn ang="0">
                    <a:pos x="0" y="8"/>
                  </a:cxn>
                  <a:cxn ang="0">
                    <a:pos x="4" y="4"/>
                  </a:cxn>
                  <a:cxn ang="0">
                    <a:pos x="8" y="0"/>
                  </a:cxn>
                  <a:cxn ang="0">
                    <a:pos x="8" y="0"/>
                  </a:cxn>
                  <a:cxn ang="0">
                    <a:pos x="10" y="2"/>
                  </a:cxn>
                  <a:cxn ang="0">
                    <a:pos x="8" y="8"/>
                  </a:cxn>
                  <a:cxn ang="0">
                    <a:pos x="8" y="8"/>
                  </a:cxn>
                </a:cxnLst>
                <a:rect l="0" t="0" r="r" b="b"/>
                <a:pathLst>
                  <a:path w="10" h="8">
                    <a:moveTo>
                      <a:pt x="8" y="8"/>
                    </a:moveTo>
                    <a:lnTo>
                      <a:pt x="8" y="8"/>
                    </a:lnTo>
                    <a:lnTo>
                      <a:pt x="0" y="8"/>
                    </a:lnTo>
                    <a:lnTo>
                      <a:pt x="0" y="8"/>
                    </a:lnTo>
                    <a:lnTo>
                      <a:pt x="4" y="4"/>
                    </a:lnTo>
                    <a:lnTo>
                      <a:pt x="8" y="0"/>
                    </a:lnTo>
                    <a:lnTo>
                      <a:pt x="8" y="0"/>
                    </a:lnTo>
                    <a:lnTo>
                      <a:pt x="10" y="2"/>
                    </a:lnTo>
                    <a:lnTo>
                      <a:pt x="8" y="8"/>
                    </a:lnTo>
                    <a:lnTo>
                      <a:pt x="8" y="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New Zealand"/>
              <p:cNvSpPr>
                <a:spLocks/>
              </p:cNvSpPr>
              <p:nvPr/>
            </p:nvSpPr>
            <p:spPr bwMode="auto">
              <a:xfrm>
                <a:off x="10480657" y="4938676"/>
                <a:ext cx="586265" cy="418808"/>
              </a:xfrm>
              <a:custGeom>
                <a:avLst/>
                <a:gdLst/>
                <a:ahLst/>
                <a:cxnLst/>
                <a:rect l="l" t="t" r="r" b="b"/>
                <a:pathLst>
                  <a:path w="510646" h="365126">
                    <a:moveTo>
                      <a:pt x="227542" y="275168"/>
                    </a:moveTo>
                    <a:lnTo>
                      <a:pt x="227542" y="277814"/>
                    </a:lnTo>
                    <a:lnTo>
                      <a:pt x="230188" y="277814"/>
                    </a:lnTo>
                    <a:lnTo>
                      <a:pt x="230188" y="275168"/>
                    </a:lnTo>
                    <a:close/>
                    <a:moveTo>
                      <a:pt x="293688" y="185209"/>
                    </a:moveTo>
                    <a:lnTo>
                      <a:pt x="301625" y="187855"/>
                    </a:lnTo>
                    <a:lnTo>
                      <a:pt x="296334" y="187855"/>
                    </a:lnTo>
                    <a:lnTo>
                      <a:pt x="291042" y="187855"/>
                    </a:lnTo>
                    <a:lnTo>
                      <a:pt x="291042" y="190501"/>
                    </a:lnTo>
                    <a:lnTo>
                      <a:pt x="291042" y="193147"/>
                    </a:lnTo>
                    <a:lnTo>
                      <a:pt x="293688" y="193147"/>
                    </a:lnTo>
                    <a:lnTo>
                      <a:pt x="293688" y="195793"/>
                    </a:lnTo>
                    <a:lnTo>
                      <a:pt x="291042" y="198438"/>
                    </a:lnTo>
                    <a:lnTo>
                      <a:pt x="293688" y="201084"/>
                    </a:lnTo>
                    <a:lnTo>
                      <a:pt x="296334" y="198438"/>
                    </a:lnTo>
                    <a:lnTo>
                      <a:pt x="301625" y="195793"/>
                    </a:lnTo>
                    <a:lnTo>
                      <a:pt x="304271" y="195793"/>
                    </a:lnTo>
                    <a:lnTo>
                      <a:pt x="306917" y="193147"/>
                    </a:lnTo>
                    <a:lnTo>
                      <a:pt x="309563" y="190501"/>
                    </a:lnTo>
                    <a:lnTo>
                      <a:pt x="312208" y="190501"/>
                    </a:lnTo>
                    <a:lnTo>
                      <a:pt x="312208" y="193147"/>
                    </a:lnTo>
                    <a:lnTo>
                      <a:pt x="309563" y="193147"/>
                    </a:lnTo>
                    <a:lnTo>
                      <a:pt x="309563" y="195793"/>
                    </a:lnTo>
                    <a:lnTo>
                      <a:pt x="312208" y="195793"/>
                    </a:lnTo>
                    <a:lnTo>
                      <a:pt x="314854" y="195793"/>
                    </a:lnTo>
                    <a:lnTo>
                      <a:pt x="317500" y="198438"/>
                    </a:lnTo>
                    <a:lnTo>
                      <a:pt x="314854" y="198438"/>
                    </a:lnTo>
                    <a:lnTo>
                      <a:pt x="317500" y="201084"/>
                    </a:lnTo>
                    <a:lnTo>
                      <a:pt x="320146" y="201084"/>
                    </a:lnTo>
                    <a:lnTo>
                      <a:pt x="317500" y="203730"/>
                    </a:lnTo>
                    <a:lnTo>
                      <a:pt x="314854" y="203730"/>
                    </a:lnTo>
                    <a:lnTo>
                      <a:pt x="312208" y="206376"/>
                    </a:lnTo>
                    <a:lnTo>
                      <a:pt x="309563" y="206376"/>
                    </a:lnTo>
                    <a:lnTo>
                      <a:pt x="312208" y="209022"/>
                    </a:lnTo>
                    <a:lnTo>
                      <a:pt x="312208" y="211668"/>
                    </a:lnTo>
                    <a:lnTo>
                      <a:pt x="309563" y="216959"/>
                    </a:lnTo>
                    <a:lnTo>
                      <a:pt x="296334" y="224897"/>
                    </a:lnTo>
                    <a:lnTo>
                      <a:pt x="293688" y="227543"/>
                    </a:lnTo>
                    <a:lnTo>
                      <a:pt x="291042" y="230188"/>
                    </a:lnTo>
                    <a:lnTo>
                      <a:pt x="283104" y="232834"/>
                    </a:lnTo>
                    <a:lnTo>
                      <a:pt x="280458" y="235480"/>
                    </a:lnTo>
                    <a:lnTo>
                      <a:pt x="283104" y="235480"/>
                    </a:lnTo>
                    <a:lnTo>
                      <a:pt x="283104" y="238126"/>
                    </a:lnTo>
                    <a:lnTo>
                      <a:pt x="280458" y="238126"/>
                    </a:lnTo>
                    <a:lnTo>
                      <a:pt x="277813" y="238126"/>
                    </a:lnTo>
                    <a:lnTo>
                      <a:pt x="275167" y="238126"/>
                    </a:lnTo>
                    <a:lnTo>
                      <a:pt x="275167" y="240772"/>
                    </a:lnTo>
                    <a:lnTo>
                      <a:pt x="261938" y="251355"/>
                    </a:lnTo>
                    <a:lnTo>
                      <a:pt x="259292" y="251355"/>
                    </a:lnTo>
                    <a:lnTo>
                      <a:pt x="259292" y="254001"/>
                    </a:lnTo>
                    <a:lnTo>
                      <a:pt x="256646" y="256647"/>
                    </a:lnTo>
                    <a:lnTo>
                      <a:pt x="254000" y="256647"/>
                    </a:lnTo>
                    <a:lnTo>
                      <a:pt x="251354" y="259293"/>
                    </a:lnTo>
                    <a:lnTo>
                      <a:pt x="243417" y="259293"/>
                    </a:lnTo>
                    <a:lnTo>
                      <a:pt x="235479" y="259293"/>
                    </a:lnTo>
                    <a:lnTo>
                      <a:pt x="232833" y="261939"/>
                    </a:lnTo>
                    <a:lnTo>
                      <a:pt x="230188" y="267230"/>
                    </a:lnTo>
                    <a:lnTo>
                      <a:pt x="227542" y="267230"/>
                    </a:lnTo>
                    <a:lnTo>
                      <a:pt x="227542" y="269876"/>
                    </a:lnTo>
                    <a:lnTo>
                      <a:pt x="227542" y="272522"/>
                    </a:lnTo>
                    <a:lnTo>
                      <a:pt x="230188" y="272522"/>
                    </a:lnTo>
                    <a:lnTo>
                      <a:pt x="232833" y="272522"/>
                    </a:lnTo>
                    <a:lnTo>
                      <a:pt x="232833" y="275168"/>
                    </a:lnTo>
                    <a:lnTo>
                      <a:pt x="235479" y="275168"/>
                    </a:lnTo>
                    <a:lnTo>
                      <a:pt x="235479" y="277814"/>
                    </a:lnTo>
                    <a:lnTo>
                      <a:pt x="235479" y="280459"/>
                    </a:lnTo>
                    <a:lnTo>
                      <a:pt x="232833" y="280459"/>
                    </a:lnTo>
                    <a:lnTo>
                      <a:pt x="230188" y="280459"/>
                    </a:lnTo>
                    <a:lnTo>
                      <a:pt x="232833" y="283105"/>
                    </a:lnTo>
                    <a:lnTo>
                      <a:pt x="230188" y="283105"/>
                    </a:lnTo>
                    <a:lnTo>
                      <a:pt x="227542" y="283105"/>
                    </a:lnTo>
                    <a:lnTo>
                      <a:pt x="224896" y="283105"/>
                    </a:lnTo>
                    <a:lnTo>
                      <a:pt x="222250" y="280459"/>
                    </a:lnTo>
                    <a:lnTo>
                      <a:pt x="219604" y="280459"/>
                    </a:lnTo>
                    <a:lnTo>
                      <a:pt x="219604" y="277814"/>
                    </a:lnTo>
                    <a:lnTo>
                      <a:pt x="216958" y="277814"/>
                    </a:lnTo>
                    <a:lnTo>
                      <a:pt x="209021" y="277814"/>
                    </a:lnTo>
                    <a:lnTo>
                      <a:pt x="193146" y="283105"/>
                    </a:lnTo>
                    <a:lnTo>
                      <a:pt x="174625" y="293689"/>
                    </a:lnTo>
                    <a:lnTo>
                      <a:pt x="171979" y="296334"/>
                    </a:lnTo>
                    <a:lnTo>
                      <a:pt x="169333" y="298980"/>
                    </a:lnTo>
                    <a:lnTo>
                      <a:pt x="164042" y="304272"/>
                    </a:lnTo>
                    <a:lnTo>
                      <a:pt x="161396" y="306918"/>
                    </a:lnTo>
                    <a:lnTo>
                      <a:pt x="161396" y="312209"/>
                    </a:lnTo>
                    <a:lnTo>
                      <a:pt x="158750" y="314855"/>
                    </a:lnTo>
                    <a:lnTo>
                      <a:pt x="150813" y="317501"/>
                    </a:lnTo>
                    <a:lnTo>
                      <a:pt x="142875" y="322793"/>
                    </a:lnTo>
                    <a:lnTo>
                      <a:pt x="140229" y="325439"/>
                    </a:lnTo>
                    <a:lnTo>
                      <a:pt x="137584" y="328085"/>
                    </a:lnTo>
                    <a:lnTo>
                      <a:pt x="132292" y="330730"/>
                    </a:lnTo>
                    <a:lnTo>
                      <a:pt x="124354" y="333376"/>
                    </a:lnTo>
                    <a:lnTo>
                      <a:pt x="121709" y="338668"/>
                    </a:lnTo>
                    <a:lnTo>
                      <a:pt x="119063" y="338668"/>
                    </a:lnTo>
                    <a:lnTo>
                      <a:pt x="116417" y="341314"/>
                    </a:lnTo>
                    <a:lnTo>
                      <a:pt x="108479" y="343960"/>
                    </a:lnTo>
                    <a:lnTo>
                      <a:pt x="105834" y="349251"/>
                    </a:lnTo>
                    <a:lnTo>
                      <a:pt x="103188" y="351897"/>
                    </a:lnTo>
                    <a:lnTo>
                      <a:pt x="95250" y="357189"/>
                    </a:lnTo>
                    <a:lnTo>
                      <a:pt x="92604" y="359835"/>
                    </a:lnTo>
                    <a:lnTo>
                      <a:pt x="89959" y="359835"/>
                    </a:lnTo>
                    <a:lnTo>
                      <a:pt x="84667" y="359835"/>
                    </a:lnTo>
                    <a:lnTo>
                      <a:pt x="82021" y="359835"/>
                    </a:lnTo>
                    <a:lnTo>
                      <a:pt x="79375" y="362480"/>
                    </a:lnTo>
                    <a:lnTo>
                      <a:pt x="76729" y="362480"/>
                    </a:lnTo>
                    <a:lnTo>
                      <a:pt x="71438" y="365126"/>
                    </a:lnTo>
                    <a:lnTo>
                      <a:pt x="63500" y="365126"/>
                    </a:lnTo>
                    <a:lnTo>
                      <a:pt x="58209" y="362480"/>
                    </a:lnTo>
                    <a:lnTo>
                      <a:pt x="52917" y="362480"/>
                    </a:lnTo>
                    <a:lnTo>
                      <a:pt x="42334" y="362480"/>
                    </a:lnTo>
                    <a:lnTo>
                      <a:pt x="37042" y="362480"/>
                    </a:lnTo>
                    <a:lnTo>
                      <a:pt x="37042" y="359835"/>
                    </a:lnTo>
                    <a:lnTo>
                      <a:pt x="37042" y="357189"/>
                    </a:lnTo>
                    <a:lnTo>
                      <a:pt x="34396" y="357189"/>
                    </a:lnTo>
                    <a:lnTo>
                      <a:pt x="29104" y="357189"/>
                    </a:lnTo>
                    <a:lnTo>
                      <a:pt x="26459" y="354543"/>
                    </a:lnTo>
                    <a:lnTo>
                      <a:pt x="23813" y="354543"/>
                    </a:lnTo>
                    <a:lnTo>
                      <a:pt x="21167" y="354543"/>
                    </a:lnTo>
                    <a:lnTo>
                      <a:pt x="18521" y="357189"/>
                    </a:lnTo>
                    <a:lnTo>
                      <a:pt x="18521" y="354543"/>
                    </a:lnTo>
                    <a:lnTo>
                      <a:pt x="10584" y="354543"/>
                    </a:lnTo>
                    <a:lnTo>
                      <a:pt x="5292" y="351897"/>
                    </a:lnTo>
                    <a:lnTo>
                      <a:pt x="0" y="349251"/>
                    </a:lnTo>
                    <a:lnTo>
                      <a:pt x="0" y="346605"/>
                    </a:lnTo>
                    <a:lnTo>
                      <a:pt x="2646" y="346605"/>
                    </a:lnTo>
                    <a:lnTo>
                      <a:pt x="10584" y="346605"/>
                    </a:lnTo>
                    <a:lnTo>
                      <a:pt x="10584" y="343960"/>
                    </a:lnTo>
                    <a:lnTo>
                      <a:pt x="7938" y="343960"/>
                    </a:lnTo>
                    <a:lnTo>
                      <a:pt x="5292" y="341314"/>
                    </a:lnTo>
                    <a:lnTo>
                      <a:pt x="7938" y="338668"/>
                    </a:lnTo>
                    <a:lnTo>
                      <a:pt x="2646" y="338668"/>
                    </a:lnTo>
                    <a:lnTo>
                      <a:pt x="2646" y="336022"/>
                    </a:lnTo>
                    <a:lnTo>
                      <a:pt x="7938" y="333376"/>
                    </a:lnTo>
                    <a:lnTo>
                      <a:pt x="10584" y="330730"/>
                    </a:lnTo>
                    <a:lnTo>
                      <a:pt x="18521" y="328085"/>
                    </a:lnTo>
                    <a:lnTo>
                      <a:pt x="18521" y="325439"/>
                    </a:lnTo>
                    <a:lnTo>
                      <a:pt x="23813" y="325439"/>
                    </a:lnTo>
                    <a:lnTo>
                      <a:pt x="26459" y="322793"/>
                    </a:lnTo>
                    <a:lnTo>
                      <a:pt x="26459" y="320147"/>
                    </a:lnTo>
                    <a:lnTo>
                      <a:pt x="29104" y="320147"/>
                    </a:lnTo>
                    <a:lnTo>
                      <a:pt x="39688" y="314855"/>
                    </a:lnTo>
                    <a:lnTo>
                      <a:pt x="47625" y="312209"/>
                    </a:lnTo>
                    <a:lnTo>
                      <a:pt x="55563" y="309564"/>
                    </a:lnTo>
                    <a:lnTo>
                      <a:pt x="60854" y="309564"/>
                    </a:lnTo>
                    <a:lnTo>
                      <a:pt x="66146" y="306918"/>
                    </a:lnTo>
                    <a:lnTo>
                      <a:pt x="71438" y="301626"/>
                    </a:lnTo>
                    <a:lnTo>
                      <a:pt x="74084" y="301626"/>
                    </a:lnTo>
                    <a:lnTo>
                      <a:pt x="79375" y="298980"/>
                    </a:lnTo>
                    <a:lnTo>
                      <a:pt x="87313" y="296334"/>
                    </a:lnTo>
                    <a:lnTo>
                      <a:pt x="92604" y="291043"/>
                    </a:lnTo>
                    <a:lnTo>
                      <a:pt x="97896" y="288397"/>
                    </a:lnTo>
                    <a:lnTo>
                      <a:pt x="100542" y="288397"/>
                    </a:lnTo>
                    <a:lnTo>
                      <a:pt x="108479" y="288397"/>
                    </a:lnTo>
                    <a:lnTo>
                      <a:pt x="111125" y="285751"/>
                    </a:lnTo>
                    <a:lnTo>
                      <a:pt x="116417" y="283105"/>
                    </a:lnTo>
                    <a:lnTo>
                      <a:pt x="121709" y="280459"/>
                    </a:lnTo>
                    <a:lnTo>
                      <a:pt x="127000" y="277814"/>
                    </a:lnTo>
                    <a:lnTo>
                      <a:pt x="140229" y="272522"/>
                    </a:lnTo>
                    <a:lnTo>
                      <a:pt x="142875" y="269876"/>
                    </a:lnTo>
                    <a:lnTo>
                      <a:pt x="145521" y="269876"/>
                    </a:lnTo>
                    <a:lnTo>
                      <a:pt x="145521" y="272522"/>
                    </a:lnTo>
                    <a:lnTo>
                      <a:pt x="148167" y="269876"/>
                    </a:lnTo>
                    <a:lnTo>
                      <a:pt x="156104" y="267230"/>
                    </a:lnTo>
                    <a:lnTo>
                      <a:pt x="161396" y="264584"/>
                    </a:lnTo>
                    <a:lnTo>
                      <a:pt x="166688" y="261939"/>
                    </a:lnTo>
                    <a:lnTo>
                      <a:pt x="174625" y="256647"/>
                    </a:lnTo>
                    <a:lnTo>
                      <a:pt x="182563" y="254001"/>
                    </a:lnTo>
                    <a:lnTo>
                      <a:pt x="187854" y="248709"/>
                    </a:lnTo>
                    <a:lnTo>
                      <a:pt x="193146" y="248709"/>
                    </a:lnTo>
                    <a:lnTo>
                      <a:pt x="206375" y="243418"/>
                    </a:lnTo>
                    <a:lnTo>
                      <a:pt x="214313" y="238126"/>
                    </a:lnTo>
                    <a:lnTo>
                      <a:pt x="216958" y="235480"/>
                    </a:lnTo>
                    <a:lnTo>
                      <a:pt x="219604" y="235480"/>
                    </a:lnTo>
                    <a:lnTo>
                      <a:pt x="222250" y="235480"/>
                    </a:lnTo>
                    <a:lnTo>
                      <a:pt x="227542" y="230188"/>
                    </a:lnTo>
                    <a:lnTo>
                      <a:pt x="232833" y="222251"/>
                    </a:lnTo>
                    <a:lnTo>
                      <a:pt x="238125" y="216959"/>
                    </a:lnTo>
                    <a:lnTo>
                      <a:pt x="240771" y="214313"/>
                    </a:lnTo>
                    <a:lnTo>
                      <a:pt x="248708" y="214313"/>
                    </a:lnTo>
                    <a:lnTo>
                      <a:pt x="259292" y="209022"/>
                    </a:lnTo>
                    <a:lnTo>
                      <a:pt x="264583" y="206376"/>
                    </a:lnTo>
                    <a:lnTo>
                      <a:pt x="269875" y="203730"/>
                    </a:lnTo>
                    <a:lnTo>
                      <a:pt x="275167" y="195793"/>
                    </a:lnTo>
                    <a:lnTo>
                      <a:pt x="283104" y="190501"/>
                    </a:lnTo>
                    <a:lnTo>
                      <a:pt x="288396" y="187855"/>
                    </a:lnTo>
                    <a:close/>
                    <a:moveTo>
                      <a:pt x="444500" y="37041"/>
                    </a:moveTo>
                    <a:lnTo>
                      <a:pt x="444500" y="39687"/>
                    </a:lnTo>
                    <a:lnTo>
                      <a:pt x="447146" y="39687"/>
                    </a:lnTo>
                    <a:close/>
                    <a:moveTo>
                      <a:pt x="425979" y="0"/>
                    </a:moveTo>
                    <a:lnTo>
                      <a:pt x="431271" y="0"/>
                    </a:lnTo>
                    <a:lnTo>
                      <a:pt x="431271" y="2646"/>
                    </a:lnTo>
                    <a:lnTo>
                      <a:pt x="431271" y="5291"/>
                    </a:lnTo>
                    <a:lnTo>
                      <a:pt x="433917" y="7937"/>
                    </a:lnTo>
                    <a:lnTo>
                      <a:pt x="433917" y="10583"/>
                    </a:lnTo>
                    <a:lnTo>
                      <a:pt x="433917" y="13229"/>
                    </a:lnTo>
                    <a:lnTo>
                      <a:pt x="436563" y="13229"/>
                    </a:lnTo>
                    <a:lnTo>
                      <a:pt x="439208" y="13229"/>
                    </a:lnTo>
                    <a:lnTo>
                      <a:pt x="436563" y="15875"/>
                    </a:lnTo>
                    <a:lnTo>
                      <a:pt x="439208" y="15875"/>
                    </a:lnTo>
                    <a:lnTo>
                      <a:pt x="441854" y="15875"/>
                    </a:lnTo>
                    <a:lnTo>
                      <a:pt x="444500" y="18521"/>
                    </a:lnTo>
                    <a:lnTo>
                      <a:pt x="441854" y="18521"/>
                    </a:lnTo>
                    <a:lnTo>
                      <a:pt x="444500" y="21166"/>
                    </a:lnTo>
                    <a:lnTo>
                      <a:pt x="447146" y="21166"/>
                    </a:lnTo>
                    <a:lnTo>
                      <a:pt x="447146" y="23812"/>
                    </a:lnTo>
                    <a:lnTo>
                      <a:pt x="449792" y="26458"/>
                    </a:lnTo>
                    <a:lnTo>
                      <a:pt x="449792" y="29104"/>
                    </a:lnTo>
                    <a:lnTo>
                      <a:pt x="452438" y="31750"/>
                    </a:lnTo>
                    <a:lnTo>
                      <a:pt x="452438" y="37041"/>
                    </a:lnTo>
                    <a:lnTo>
                      <a:pt x="449792" y="37041"/>
                    </a:lnTo>
                    <a:lnTo>
                      <a:pt x="449792" y="39687"/>
                    </a:lnTo>
                    <a:lnTo>
                      <a:pt x="449792" y="42333"/>
                    </a:lnTo>
                    <a:lnTo>
                      <a:pt x="447146" y="42333"/>
                    </a:lnTo>
                    <a:lnTo>
                      <a:pt x="444500" y="44979"/>
                    </a:lnTo>
                    <a:lnTo>
                      <a:pt x="444500" y="47625"/>
                    </a:lnTo>
                    <a:lnTo>
                      <a:pt x="444500" y="50271"/>
                    </a:lnTo>
                    <a:lnTo>
                      <a:pt x="444500" y="52916"/>
                    </a:lnTo>
                    <a:lnTo>
                      <a:pt x="444500" y="55562"/>
                    </a:lnTo>
                    <a:lnTo>
                      <a:pt x="447146" y="55562"/>
                    </a:lnTo>
                    <a:lnTo>
                      <a:pt x="444500" y="58208"/>
                    </a:lnTo>
                    <a:lnTo>
                      <a:pt x="441854" y="60854"/>
                    </a:lnTo>
                    <a:lnTo>
                      <a:pt x="441854" y="63500"/>
                    </a:lnTo>
                    <a:lnTo>
                      <a:pt x="441854" y="66146"/>
                    </a:lnTo>
                    <a:lnTo>
                      <a:pt x="441854" y="68791"/>
                    </a:lnTo>
                    <a:lnTo>
                      <a:pt x="441854" y="71437"/>
                    </a:lnTo>
                    <a:lnTo>
                      <a:pt x="439208" y="74083"/>
                    </a:lnTo>
                    <a:lnTo>
                      <a:pt x="436563" y="71437"/>
                    </a:lnTo>
                    <a:lnTo>
                      <a:pt x="436563" y="74083"/>
                    </a:lnTo>
                    <a:lnTo>
                      <a:pt x="439208" y="74083"/>
                    </a:lnTo>
                    <a:lnTo>
                      <a:pt x="439208" y="76729"/>
                    </a:lnTo>
                    <a:lnTo>
                      <a:pt x="441854" y="74083"/>
                    </a:lnTo>
                    <a:lnTo>
                      <a:pt x="444500" y="74083"/>
                    </a:lnTo>
                    <a:lnTo>
                      <a:pt x="444500" y="76729"/>
                    </a:lnTo>
                    <a:lnTo>
                      <a:pt x="447146" y="76729"/>
                    </a:lnTo>
                    <a:lnTo>
                      <a:pt x="447146" y="79375"/>
                    </a:lnTo>
                    <a:lnTo>
                      <a:pt x="447146" y="82021"/>
                    </a:lnTo>
                    <a:lnTo>
                      <a:pt x="447146" y="84666"/>
                    </a:lnTo>
                    <a:lnTo>
                      <a:pt x="449792" y="84666"/>
                    </a:lnTo>
                    <a:lnTo>
                      <a:pt x="452438" y="84666"/>
                    </a:lnTo>
                    <a:lnTo>
                      <a:pt x="452438" y="82021"/>
                    </a:lnTo>
                    <a:lnTo>
                      <a:pt x="452438" y="79375"/>
                    </a:lnTo>
                    <a:lnTo>
                      <a:pt x="452438" y="76729"/>
                    </a:lnTo>
                    <a:lnTo>
                      <a:pt x="452438" y="74083"/>
                    </a:lnTo>
                    <a:lnTo>
                      <a:pt x="452438" y="71437"/>
                    </a:lnTo>
                    <a:lnTo>
                      <a:pt x="452438" y="68791"/>
                    </a:lnTo>
                    <a:lnTo>
                      <a:pt x="452438" y="66146"/>
                    </a:lnTo>
                    <a:lnTo>
                      <a:pt x="455084" y="68791"/>
                    </a:lnTo>
                    <a:lnTo>
                      <a:pt x="457729" y="68791"/>
                    </a:lnTo>
                    <a:lnTo>
                      <a:pt x="455084" y="71437"/>
                    </a:lnTo>
                    <a:lnTo>
                      <a:pt x="457729" y="71437"/>
                    </a:lnTo>
                    <a:lnTo>
                      <a:pt x="460375" y="71437"/>
                    </a:lnTo>
                    <a:lnTo>
                      <a:pt x="457729" y="74083"/>
                    </a:lnTo>
                    <a:lnTo>
                      <a:pt x="455084" y="74083"/>
                    </a:lnTo>
                    <a:lnTo>
                      <a:pt x="457729" y="76729"/>
                    </a:lnTo>
                    <a:lnTo>
                      <a:pt x="457729" y="79375"/>
                    </a:lnTo>
                    <a:lnTo>
                      <a:pt x="457729" y="87312"/>
                    </a:lnTo>
                    <a:lnTo>
                      <a:pt x="455084" y="89958"/>
                    </a:lnTo>
                    <a:lnTo>
                      <a:pt x="457729" y="92604"/>
                    </a:lnTo>
                    <a:lnTo>
                      <a:pt x="457729" y="95250"/>
                    </a:lnTo>
                    <a:lnTo>
                      <a:pt x="460375" y="97896"/>
                    </a:lnTo>
                    <a:lnTo>
                      <a:pt x="468313" y="100542"/>
                    </a:lnTo>
                    <a:lnTo>
                      <a:pt x="473604" y="103187"/>
                    </a:lnTo>
                    <a:lnTo>
                      <a:pt x="478896" y="103187"/>
                    </a:lnTo>
                    <a:lnTo>
                      <a:pt x="484188" y="100542"/>
                    </a:lnTo>
                    <a:lnTo>
                      <a:pt x="489479" y="97896"/>
                    </a:lnTo>
                    <a:lnTo>
                      <a:pt x="492125" y="97896"/>
                    </a:lnTo>
                    <a:lnTo>
                      <a:pt x="500063" y="95250"/>
                    </a:lnTo>
                    <a:lnTo>
                      <a:pt x="502708" y="95250"/>
                    </a:lnTo>
                    <a:lnTo>
                      <a:pt x="508000" y="95250"/>
                    </a:lnTo>
                    <a:lnTo>
                      <a:pt x="508000" y="97896"/>
                    </a:lnTo>
                    <a:lnTo>
                      <a:pt x="510646" y="100542"/>
                    </a:lnTo>
                    <a:lnTo>
                      <a:pt x="508000" y="103187"/>
                    </a:lnTo>
                    <a:lnTo>
                      <a:pt x="505354" y="105833"/>
                    </a:lnTo>
                    <a:lnTo>
                      <a:pt x="505354" y="108479"/>
                    </a:lnTo>
                    <a:lnTo>
                      <a:pt x="502708" y="111125"/>
                    </a:lnTo>
                    <a:lnTo>
                      <a:pt x="502708" y="113771"/>
                    </a:lnTo>
                    <a:lnTo>
                      <a:pt x="500063" y="116417"/>
                    </a:lnTo>
                    <a:lnTo>
                      <a:pt x="497417" y="119062"/>
                    </a:lnTo>
                    <a:lnTo>
                      <a:pt x="497417" y="121708"/>
                    </a:lnTo>
                    <a:lnTo>
                      <a:pt x="489479" y="124354"/>
                    </a:lnTo>
                    <a:lnTo>
                      <a:pt x="486834" y="124354"/>
                    </a:lnTo>
                    <a:lnTo>
                      <a:pt x="484188" y="124354"/>
                    </a:lnTo>
                    <a:lnTo>
                      <a:pt x="481542" y="127000"/>
                    </a:lnTo>
                    <a:lnTo>
                      <a:pt x="478896" y="132292"/>
                    </a:lnTo>
                    <a:lnTo>
                      <a:pt x="476250" y="137583"/>
                    </a:lnTo>
                    <a:lnTo>
                      <a:pt x="473604" y="140229"/>
                    </a:lnTo>
                    <a:lnTo>
                      <a:pt x="476250" y="140229"/>
                    </a:lnTo>
                    <a:lnTo>
                      <a:pt x="478896" y="142875"/>
                    </a:lnTo>
                    <a:lnTo>
                      <a:pt x="476250" y="142875"/>
                    </a:lnTo>
                    <a:lnTo>
                      <a:pt x="470958" y="148167"/>
                    </a:lnTo>
                    <a:lnTo>
                      <a:pt x="470958" y="145521"/>
                    </a:lnTo>
                    <a:lnTo>
                      <a:pt x="470958" y="142875"/>
                    </a:lnTo>
                    <a:lnTo>
                      <a:pt x="473604" y="142875"/>
                    </a:lnTo>
                    <a:lnTo>
                      <a:pt x="470958" y="140229"/>
                    </a:lnTo>
                    <a:lnTo>
                      <a:pt x="455084" y="140229"/>
                    </a:lnTo>
                    <a:lnTo>
                      <a:pt x="436563" y="145521"/>
                    </a:lnTo>
                    <a:lnTo>
                      <a:pt x="433917" y="148167"/>
                    </a:lnTo>
                    <a:lnTo>
                      <a:pt x="433917" y="150812"/>
                    </a:lnTo>
                    <a:lnTo>
                      <a:pt x="428625" y="153458"/>
                    </a:lnTo>
                    <a:lnTo>
                      <a:pt x="428625" y="156104"/>
                    </a:lnTo>
                    <a:lnTo>
                      <a:pt x="425979" y="158750"/>
                    </a:lnTo>
                    <a:lnTo>
                      <a:pt x="425979" y="161396"/>
                    </a:lnTo>
                    <a:lnTo>
                      <a:pt x="428625" y="161396"/>
                    </a:lnTo>
                    <a:lnTo>
                      <a:pt x="428625" y="164042"/>
                    </a:lnTo>
                    <a:lnTo>
                      <a:pt x="425979" y="164042"/>
                    </a:lnTo>
                    <a:lnTo>
                      <a:pt x="423334" y="164042"/>
                    </a:lnTo>
                    <a:lnTo>
                      <a:pt x="420688" y="166687"/>
                    </a:lnTo>
                    <a:lnTo>
                      <a:pt x="418042" y="169333"/>
                    </a:lnTo>
                    <a:lnTo>
                      <a:pt x="415396" y="171979"/>
                    </a:lnTo>
                    <a:lnTo>
                      <a:pt x="412750" y="174625"/>
                    </a:lnTo>
                    <a:lnTo>
                      <a:pt x="410104" y="174625"/>
                    </a:lnTo>
                    <a:lnTo>
                      <a:pt x="407458" y="174625"/>
                    </a:lnTo>
                    <a:lnTo>
                      <a:pt x="404813" y="177271"/>
                    </a:lnTo>
                    <a:lnTo>
                      <a:pt x="402167" y="182562"/>
                    </a:lnTo>
                    <a:lnTo>
                      <a:pt x="396875" y="182562"/>
                    </a:lnTo>
                    <a:lnTo>
                      <a:pt x="394229" y="185208"/>
                    </a:lnTo>
                    <a:lnTo>
                      <a:pt x="391584" y="185208"/>
                    </a:lnTo>
                    <a:lnTo>
                      <a:pt x="388938" y="187855"/>
                    </a:lnTo>
                    <a:lnTo>
                      <a:pt x="381000" y="193146"/>
                    </a:lnTo>
                    <a:lnTo>
                      <a:pt x="378354" y="195792"/>
                    </a:lnTo>
                    <a:lnTo>
                      <a:pt x="375708" y="198438"/>
                    </a:lnTo>
                    <a:lnTo>
                      <a:pt x="373063" y="201084"/>
                    </a:lnTo>
                    <a:lnTo>
                      <a:pt x="367771" y="203730"/>
                    </a:lnTo>
                    <a:lnTo>
                      <a:pt x="359834" y="206375"/>
                    </a:lnTo>
                    <a:lnTo>
                      <a:pt x="354542" y="209021"/>
                    </a:lnTo>
                    <a:lnTo>
                      <a:pt x="354542" y="206375"/>
                    </a:lnTo>
                    <a:lnTo>
                      <a:pt x="351896" y="203730"/>
                    </a:lnTo>
                    <a:lnTo>
                      <a:pt x="349250" y="203730"/>
                    </a:lnTo>
                    <a:lnTo>
                      <a:pt x="346604" y="206375"/>
                    </a:lnTo>
                    <a:lnTo>
                      <a:pt x="346604" y="203730"/>
                    </a:lnTo>
                    <a:lnTo>
                      <a:pt x="346604" y="201084"/>
                    </a:lnTo>
                    <a:lnTo>
                      <a:pt x="346604" y="198438"/>
                    </a:lnTo>
                    <a:lnTo>
                      <a:pt x="343958" y="198438"/>
                    </a:lnTo>
                    <a:lnTo>
                      <a:pt x="343958" y="201084"/>
                    </a:lnTo>
                    <a:lnTo>
                      <a:pt x="341313" y="203730"/>
                    </a:lnTo>
                    <a:lnTo>
                      <a:pt x="338667" y="203730"/>
                    </a:lnTo>
                    <a:lnTo>
                      <a:pt x="336021" y="201084"/>
                    </a:lnTo>
                    <a:lnTo>
                      <a:pt x="336021" y="198438"/>
                    </a:lnTo>
                    <a:lnTo>
                      <a:pt x="338667" y="198438"/>
                    </a:lnTo>
                    <a:lnTo>
                      <a:pt x="341313" y="195792"/>
                    </a:lnTo>
                    <a:lnTo>
                      <a:pt x="343958" y="193146"/>
                    </a:lnTo>
                    <a:lnTo>
                      <a:pt x="346604" y="193146"/>
                    </a:lnTo>
                    <a:lnTo>
                      <a:pt x="349250" y="190500"/>
                    </a:lnTo>
                    <a:lnTo>
                      <a:pt x="354542" y="185208"/>
                    </a:lnTo>
                    <a:lnTo>
                      <a:pt x="359834" y="177271"/>
                    </a:lnTo>
                    <a:lnTo>
                      <a:pt x="362479" y="171979"/>
                    </a:lnTo>
                    <a:lnTo>
                      <a:pt x="362479" y="169333"/>
                    </a:lnTo>
                    <a:lnTo>
                      <a:pt x="359834" y="164042"/>
                    </a:lnTo>
                    <a:lnTo>
                      <a:pt x="357188" y="164042"/>
                    </a:lnTo>
                    <a:lnTo>
                      <a:pt x="354542" y="161396"/>
                    </a:lnTo>
                    <a:lnTo>
                      <a:pt x="351896" y="158750"/>
                    </a:lnTo>
                    <a:lnTo>
                      <a:pt x="349250" y="158750"/>
                    </a:lnTo>
                    <a:lnTo>
                      <a:pt x="346604" y="156104"/>
                    </a:lnTo>
                    <a:lnTo>
                      <a:pt x="346604" y="150812"/>
                    </a:lnTo>
                    <a:lnTo>
                      <a:pt x="349250" y="148167"/>
                    </a:lnTo>
                    <a:lnTo>
                      <a:pt x="354542" y="142875"/>
                    </a:lnTo>
                    <a:lnTo>
                      <a:pt x="359834" y="140229"/>
                    </a:lnTo>
                    <a:lnTo>
                      <a:pt x="365125" y="137583"/>
                    </a:lnTo>
                    <a:lnTo>
                      <a:pt x="370417" y="137583"/>
                    </a:lnTo>
                    <a:lnTo>
                      <a:pt x="373063" y="134937"/>
                    </a:lnTo>
                    <a:lnTo>
                      <a:pt x="381000" y="129646"/>
                    </a:lnTo>
                    <a:lnTo>
                      <a:pt x="386292" y="127000"/>
                    </a:lnTo>
                    <a:lnTo>
                      <a:pt x="388938" y="121708"/>
                    </a:lnTo>
                    <a:lnTo>
                      <a:pt x="394229" y="119062"/>
                    </a:lnTo>
                    <a:lnTo>
                      <a:pt x="396875" y="119062"/>
                    </a:lnTo>
                    <a:lnTo>
                      <a:pt x="402167" y="111125"/>
                    </a:lnTo>
                    <a:lnTo>
                      <a:pt x="404813" y="103187"/>
                    </a:lnTo>
                    <a:lnTo>
                      <a:pt x="407458" y="103187"/>
                    </a:lnTo>
                    <a:lnTo>
                      <a:pt x="407458" y="105833"/>
                    </a:lnTo>
                    <a:lnTo>
                      <a:pt x="412750" y="103187"/>
                    </a:lnTo>
                    <a:lnTo>
                      <a:pt x="410104" y="103187"/>
                    </a:lnTo>
                    <a:lnTo>
                      <a:pt x="410104" y="100542"/>
                    </a:lnTo>
                    <a:lnTo>
                      <a:pt x="412750" y="97896"/>
                    </a:lnTo>
                    <a:lnTo>
                      <a:pt x="415396" y="97896"/>
                    </a:lnTo>
                    <a:lnTo>
                      <a:pt x="418042" y="92604"/>
                    </a:lnTo>
                    <a:lnTo>
                      <a:pt x="420688" y="89958"/>
                    </a:lnTo>
                    <a:lnTo>
                      <a:pt x="423334" y="84666"/>
                    </a:lnTo>
                    <a:lnTo>
                      <a:pt x="425979" y="82021"/>
                    </a:lnTo>
                    <a:lnTo>
                      <a:pt x="425979" y="84666"/>
                    </a:lnTo>
                    <a:lnTo>
                      <a:pt x="428625" y="82021"/>
                    </a:lnTo>
                    <a:lnTo>
                      <a:pt x="433917" y="82021"/>
                    </a:lnTo>
                    <a:lnTo>
                      <a:pt x="431271" y="79375"/>
                    </a:lnTo>
                    <a:lnTo>
                      <a:pt x="431271" y="76729"/>
                    </a:lnTo>
                    <a:lnTo>
                      <a:pt x="428625" y="79375"/>
                    </a:lnTo>
                    <a:lnTo>
                      <a:pt x="425979" y="79375"/>
                    </a:lnTo>
                    <a:lnTo>
                      <a:pt x="423334" y="76729"/>
                    </a:lnTo>
                    <a:lnTo>
                      <a:pt x="425979" y="76729"/>
                    </a:lnTo>
                    <a:lnTo>
                      <a:pt x="425979" y="74083"/>
                    </a:lnTo>
                    <a:lnTo>
                      <a:pt x="428625" y="71437"/>
                    </a:lnTo>
                    <a:lnTo>
                      <a:pt x="428625" y="58208"/>
                    </a:lnTo>
                    <a:lnTo>
                      <a:pt x="428625" y="55562"/>
                    </a:lnTo>
                    <a:lnTo>
                      <a:pt x="431271" y="55562"/>
                    </a:lnTo>
                    <a:lnTo>
                      <a:pt x="431271" y="58208"/>
                    </a:lnTo>
                    <a:lnTo>
                      <a:pt x="431271" y="60854"/>
                    </a:lnTo>
                    <a:lnTo>
                      <a:pt x="433917" y="60854"/>
                    </a:lnTo>
                    <a:lnTo>
                      <a:pt x="436563" y="60854"/>
                    </a:lnTo>
                    <a:lnTo>
                      <a:pt x="436563" y="58208"/>
                    </a:lnTo>
                    <a:lnTo>
                      <a:pt x="436563" y="55562"/>
                    </a:lnTo>
                    <a:lnTo>
                      <a:pt x="433917" y="55562"/>
                    </a:lnTo>
                    <a:lnTo>
                      <a:pt x="431271" y="52916"/>
                    </a:lnTo>
                    <a:lnTo>
                      <a:pt x="433917" y="52916"/>
                    </a:lnTo>
                    <a:lnTo>
                      <a:pt x="436563" y="52916"/>
                    </a:lnTo>
                    <a:lnTo>
                      <a:pt x="439208" y="50271"/>
                    </a:lnTo>
                    <a:lnTo>
                      <a:pt x="436563" y="50271"/>
                    </a:lnTo>
                    <a:lnTo>
                      <a:pt x="433917" y="50271"/>
                    </a:lnTo>
                    <a:lnTo>
                      <a:pt x="433917" y="47625"/>
                    </a:lnTo>
                    <a:lnTo>
                      <a:pt x="431271" y="50271"/>
                    </a:lnTo>
                    <a:lnTo>
                      <a:pt x="431271" y="52916"/>
                    </a:lnTo>
                    <a:lnTo>
                      <a:pt x="428625" y="52916"/>
                    </a:lnTo>
                    <a:lnTo>
                      <a:pt x="428625" y="50271"/>
                    </a:lnTo>
                    <a:lnTo>
                      <a:pt x="428625" y="42333"/>
                    </a:lnTo>
                    <a:lnTo>
                      <a:pt x="428625" y="37041"/>
                    </a:lnTo>
                    <a:lnTo>
                      <a:pt x="425979" y="29104"/>
                    </a:lnTo>
                    <a:lnTo>
                      <a:pt x="425979" y="26458"/>
                    </a:lnTo>
                    <a:lnTo>
                      <a:pt x="428625" y="26458"/>
                    </a:lnTo>
                    <a:lnTo>
                      <a:pt x="431271" y="23812"/>
                    </a:lnTo>
                    <a:lnTo>
                      <a:pt x="428625" y="23812"/>
                    </a:lnTo>
                    <a:lnTo>
                      <a:pt x="425979" y="26458"/>
                    </a:lnTo>
                    <a:lnTo>
                      <a:pt x="425979" y="21166"/>
                    </a:lnTo>
                    <a:lnTo>
                      <a:pt x="425979" y="15875"/>
                    </a:lnTo>
                    <a:lnTo>
                      <a:pt x="428625" y="15875"/>
                    </a:lnTo>
                    <a:lnTo>
                      <a:pt x="428625" y="7937"/>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Poland"/>
              <p:cNvSpPr>
                <a:spLocks/>
              </p:cNvSpPr>
              <p:nvPr/>
            </p:nvSpPr>
            <p:spPr bwMode="auto">
              <a:xfrm>
                <a:off x="6156958" y="1739832"/>
                <a:ext cx="279463" cy="157811"/>
              </a:xfrm>
              <a:custGeom>
                <a:avLst/>
                <a:gdLst/>
                <a:ahLst/>
                <a:cxnLst>
                  <a:cxn ang="0">
                    <a:pos x="18" y="72"/>
                  </a:cxn>
                  <a:cxn ang="0">
                    <a:pos x="16" y="60"/>
                  </a:cxn>
                  <a:cxn ang="0">
                    <a:pos x="12" y="46"/>
                  </a:cxn>
                  <a:cxn ang="0">
                    <a:pos x="10" y="40"/>
                  </a:cxn>
                  <a:cxn ang="0">
                    <a:pos x="6" y="38"/>
                  </a:cxn>
                  <a:cxn ang="0">
                    <a:pos x="0" y="34"/>
                  </a:cxn>
                  <a:cxn ang="0">
                    <a:pos x="2" y="28"/>
                  </a:cxn>
                  <a:cxn ang="0">
                    <a:pos x="4" y="26"/>
                  </a:cxn>
                  <a:cxn ang="0">
                    <a:pos x="4" y="18"/>
                  </a:cxn>
                  <a:cxn ang="0">
                    <a:pos x="10" y="18"/>
                  </a:cxn>
                  <a:cxn ang="0">
                    <a:pos x="16" y="12"/>
                  </a:cxn>
                  <a:cxn ang="0">
                    <a:pos x="32" y="8"/>
                  </a:cxn>
                  <a:cxn ang="0">
                    <a:pos x="50" y="6"/>
                  </a:cxn>
                  <a:cxn ang="0">
                    <a:pos x="64" y="0"/>
                  </a:cxn>
                  <a:cxn ang="0">
                    <a:pos x="82" y="0"/>
                  </a:cxn>
                  <a:cxn ang="0">
                    <a:pos x="90" y="6"/>
                  </a:cxn>
                  <a:cxn ang="0">
                    <a:pos x="86" y="4"/>
                  </a:cxn>
                  <a:cxn ang="0">
                    <a:pos x="84" y="6"/>
                  </a:cxn>
                  <a:cxn ang="0">
                    <a:pos x="86" y="10"/>
                  </a:cxn>
                  <a:cxn ang="0">
                    <a:pos x="94" y="10"/>
                  </a:cxn>
                  <a:cxn ang="0">
                    <a:pos x="98" y="4"/>
                  </a:cxn>
                  <a:cxn ang="0">
                    <a:pos x="94" y="12"/>
                  </a:cxn>
                  <a:cxn ang="0">
                    <a:pos x="96" y="12"/>
                  </a:cxn>
                  <a:cxn ang="0">
                    <a:pos x="100" y="8"/>
                  </a:cxn>
                  <a:cxn ang="0">
                    <a:pos x="120" y="10"/>
                  </a:cxn>
                  <a:cxn ang="0">
                    <a:pos x="130" y="8"/>
                  </a:cxn>
                  <a:cxn ang="0">
                    <a:pos x="144" y="8"/>
                  </a:cxn>
                  <a:cxn ang="0">
                    <a:pos x="150" y="6"/>
                  </a:cxn>
                  <a:cxn ang="0">
                    <a:pos x="154" y="8"/>
                  </a:cxn>
                  <a:cxn ang="0">
                    <a:pos x="158" y="10"/>
                  </a:cxn>
                  <a:cxn ang="0">
                    <a:pos x="164" y="18"/>
                  </a:cxn>
                  <a:cxn ang="0">
                    <a:pos x="170" y="26"/>
                  </a:cxn>
                  <a:cxn ang="0">
                    <a:pos x="166" y="38"/>
                  </a:cxn>
                  <a:cxn ang="0">
                    <a:pos x="162" y="44"/>
                  </a:cxn>
                  <a:cxn ang="0">
                    <a:pos x="168" y="58"/>
                  </a:cxn>
                  <a:cxn ang="0">
                    <a:pos x="180" y="72"/>
                  </a:cxn>
                  <a:cxn ang="0">
                    <a:pos x="184" y="76"/>
                  </a:cxn>
                  <a:cxn ang="0">
                    <a:pos x="180" y="78"/>
                  </a:cxn>
                  <a:cxn ang="0">
                    <a:pos x="180" y="80"/>
                  </a:cxn>
                  <a:cxn ang="0">
                    <a:pos x="174" y="86"/>
                  </a:cxn>
                  <a:cxn ang="0">
                    <a:pos x="166" y="96"/>
                  </a:cxn>
                  <a:cxn ang="0">
                    <a:pos x="164" y="104"/>
                  </a:cxn>
                  <a:cxn ang="0">
                    <a:pos x="160" y="104"/>
                  </a:cxn>
                  <a:cxn ang="0">
                    <a:pos x="140" y="98"/>
                  </a:cxn>
                  <a:cxn ang="0">
                    <a:pos x="132" y="98"/>
                  </a:cxn>
                  <a:cxn ang="0">
                    <a:pos x="130" y="102"/>
                  </a:cxn>
                  <a:cxn ang="0">
                    <a:pos x="122" y="98"/>
                  </a:cxn>
                  <a:cxn ang="0">
                    <a:pos x="118" y="100"/>
                  </a:cxn>
                  <a:cxn ang="0">
                    <a:pos x="112" y="98"/>
                  </a:cxn>
                  <a:cxn ang="0">
                    <a:pos x="106" y="98"/>
                  </a:cxn>
                  <a:cxn ang="0">
                    <a:pos x="96" y="96"/>
                  </a:cxn>
                  <a:cxn ang="0">
                    <a:pos x="72" y="86"/>
                  </a:cxn>
                  <a:cxn ang="0">
                    <a:pos x="68" y="80"/>
                  </a:cxn>
                  <a:cxn ang="0">
                    <a:pos x="62" y="80"/>
                  </a:cxn>
                  <a:cxn ang="0">
                    <a:pos x="56" y="80"/>
                  </a:cxn>
                  <a:cxn ang="0">
                    <a:pos x="56" y="82"/>
                  </a:cxn>
                  <a:cxn ang="0">
                    <a:pos x="52" y="84"/>
                  </a:cxn>
                  <a:cxn ang="0">
                    <a:pos x="46" y="80"/>
                  </a:cxn>
                  <a:cxn ang="0">
                    <a:pos x="28" y="76"/>
                  </a:cxn>
                  <a:cxn ang="0">
                    <a:pos x="18" y="74"/>
                  </a:cxn>
                </a:cxnLst>
                <a:rect l="0" t="0" r="r" b="b"/>
                <a:pathLst>
                  <a:path w="184" h="104">
                    <a:moveTo>
                      <a:pt x="18" y="74"/>
                    </a:moveTo>
                    <a:lnTo>
                      <a:pt x="18" y="74"/>
                    </a:lnTo>
                    <a:lnTo>
                      <a:pt x="18" y="72"/>
                    </a:lnTo>
                    <a:lnTo>
                      <a:pt x="18" y="68"/>
                    </a:lnTo>
                    <a:lnTo>
                      <a:pt x="18" y="68"/>
                    </a:lnTo>
                    <a:lnTo>
                      <a:pt x="16" y="60"/>
                    </a:lnTo>
                    <a:lnTo>
                      <a:pt x="12" y="50"/>
                    </a:lnTo>
                    <a:lnTo>
                      <a:pt x="12" y="50"/>
                    </a:lnTo>
                    <a:lnTo>
                      <a:pt x="12" y="46"/>
                    </a:lnTo>
                    <a:lnTo>
                      <a:pt x="12" y="42"/>
                    </a:lnTo>
                    <a:lnTo>
                      <a:pt x="12" y="42"/>
                    </a:lnTo>
                    <a:lnTo>
                      <a:pt x="10" y="40"/>
                    </a:lnTo>
                    <a:lnTo>
                      <a:pt x="8" y="40"/>
                    </a:lnTo>
                    <a:lnTo>
                      <a:pt x="6" y="38"/>
                    </a:lnTo>
                    <a:lnTo>
                      <a:pt x="6" y="38"/>
                    </a:lnTo>
                    <a:lnTo>
                      <a:pt x="2" y="36"/>
                    </a:lnTo>
                    <a:lnTo>
                      <a:pt x="0" y="36"/>
                    </a:lnTo>
                    <a:lnTo>
                      <a:pt x="0" y="34"/>
                    </a:lnTo>
                    <a:lnTo>
                      <a:pt x="0" y="34"/>
                    </a:lnTo>
                    <a:lnTo>
                      <a:pt x="0" y="32"/>
                    </a:lnTo>
                    <a:lnTo>
                      <a:pt x="2" y="28"/>
                    </a:lnTo>
                    <a:lnTo>
                      <a:pt x="4" y="26"/>
                    </a:lnTo>
                    <a:lnTo>
                      <a:pt x="4" y="26"/>
                    </a:lnTo>
                    <a:lnTo>
                      <a:pt x="4" y="26"/>
                    </a:lnTo>
                    <a:lnTo>
                      <a:pt x="4" y="22"/>
                    </a:lnTo>
                    <a:lnTo>
                      <a:pt x="4" y="18"/>
                    </a:lnTo>
                    <a:lnTo>
                      <a:pt x="4" y="18"/>
                    </a:lnTo>
                    <a:lnTo>
                      <a:pt x="8" y="18"/>
                    </a:lnTo>
                    <a:lnTo>
                      <a:pt x="8" y="18"/>
                    </a:lnTo>
                    <a:lnTo>
                      <a:pt x="10" y="18"/>
                    </a:lnTo>
                    <a:lnTo>
                      <a:pt x="10" y="16"/>
                    </a:lnTo>
                    <a:lnTo>
                      <a:pt x="12" y="12"/>
                    </a:lnTo>
                    <a:lnTo>
                      <a:pt x="16" y="12"/>
                    </a:lnTo>
                    <a:lnTo>
                      <a:pt x="16" y="12"/>
                    </a:lnTo>
                    <a:lnTo>
                      <a:pt x="32" y="8"/>
                    </a:lnTo>
                    <a:lnTo>
                      <a:pt x="32" y="8"/>
                    </a:lnTo>
                    <a:lnTo>
                      <a:pt x="42" y="8"/>
                    </a:lnTo>
                    <a:lnTo>
                      <a:pt x="44" y="8"/>
                    </a:lnTo>
                    <a:lnTo>
                      <a:pt x="50" y="6"/>
                    </a:lnTo>
                    <a:lnTo>
                      <a:pt x="50" y="6"/>
                    </a:lnTo>
                    <a:lnTo>
                      <a:pt x="54" y="2"/>
                    </a:lnTo>
                    <a:lnTo>
                      <a:pt x="64" y="0"/>
                    </a:lnTo>
                    <a:lnTo>
                      <a:pt x="64" y="0"/>
                    </a:lnTo>
                    <a:lnTo>
                      <a:pt x="74" y="0"/>
                    </a:lnTo>
                    <a:lnTo>
                      <a:pt x="82" y="0"/>
                    </a:lnTo>
                    <a:lnTo>
                      <a:pt x="82" y="0"/>
                    </a:lnTo>
                    <a:lnTo>
                      <a:pt x="88" y="4"/>
                    </a:lnTo>
                    <a:lnTo>
                      <a:pt x="90" y="6"/>
                    </a:lnTo>
                    <a:lnTo>
                      <a:pt x="88" y="6"/>
                    </a:lnTo>
                    <a:lnTo>
                      <a:pt x="88" y="6"/>
                    </a:lnTo>
                    <a:lnTo>
                      <a:pt x="86" y="4"/>
                    </a:lnTo>
                    <a:lnTo>
                      <a:pt x="84" y="4"/>
                    </a:lnTo>
                    <a:lnTo>
                      <a:pt x="84" y="6"/>
                    </a:lnTo>
                    <a:lnTo>
                      <a:pt x="84" y="6"/>
                    </a:lnTo>
                    <a:lnTo>
                      <a:pt x="84" y="8"/>
                    </a:lnTo>
                    <a:lnTo>
                      <a:pt x="86" y="10"/>
                    </a:lnTo>
                    <a:lnTo>
                      <a:pt x="86" y="10"/>
                    </a:lnTo>
                    <a:lnTo>
                      <a:pt x="90" y="12"/>
                    </a:lnTo>
                    <a:lnTo>
                      <a:pt x="94" y="10"/>
                    </a:lnTo>
                    <a:lnTo>
                      <a:pt x="94" y="10"/>
                    </a:lnTo>
                    <a:lnTo>
                      <a:pt x="98" y="6"/>
                    </a:lnTo>
                    <a:lnTo>
                      <a:pt x="98" y="6"/>
                    </a:lnTo>
                    <a:lnTo>
                      <a:pt x="98" y="4"/>
                    </a:lnTo>
                    <a:lnTo>
                      <a:pt x="98" y="6"/>
                    </a:lnTo>
                    <a:lnTo>
                      <a:pt x="98" y="6"/>
                    </a:lnTo>
                    <a:lnTo>
                      <a:pt x="94" y="12"/>
                    </a:lnTo>
                    <a:lnTo>
                      <a:pt x="94" y="12"/>
                    </a:lnTo>
                    <a:lnTo>
                      <a:pt x="96" y="12"/>
                    </a:lnTo>
                    <a:lnTo>
                      <a:pt x="96" y="12"/>
                    </a:lnTo>
                    <a:lnTo>
                      <a:pt x="98" y="12"/>
                    </a:lnTo>
                    <a:lnTo>
                      <a:pt x="98" y="12"/>
                    </a:lnTo>
                    <a:lnTo>
                      <a:pt x="100" y="8"/>
                    </a:lnTo>
                    <a:lnTo>
                      <a:pt x="100" y="8"/>
                    </a:lnTo>
                    <a:lnTo>
                      <a:pt x="114" y="8"/>
                    </a:lnTo>
                    <a:lnTo>
                      <a:pt x="120" y="10"/>
                    </a:lnTo>
                    <a:lnTo>
                      <a:pt x="126" y="10"/>
                    </a:lnTo>
                    <a:lnTo>
                      <a:pt x="130" y="8"/>
                    </a:lnTo>
                    <a:lnTo>
                      <a:pt x="130" y="8"/>
                    </a:lnTo>
                    <a:lnTo>
                      <a:pt x="136" y="6"/>
                    </a:lnTo>
                    <a:lnTo>
                      <a:pt x="140" y="8"/>
                    </a:lnTo>
                    <a:lnTo>
                      <a:pt x="144" y="8"/>
                    </a:lnTo>
                    <a:lnTo>
                      <a:pt x="146" y="6"/>
                    </a:lnTo>
                    <a:lnTo>
                      <a:pt x="146" y="6"/>
                    </a:lnTo>
                    <a:lnTo>
                      <a:pt x="150" y="6"/>
                    </a:lnTo>
                    <a:lnTo>
                      <a:pt x="150" y="6"/>
                    </a:lnTo>
                    <a:lnTo>
                      <a:pt x="152" y="8"/>
                    </a:lnTo>
                    <a:lnTo>
                      <a:pt x="154" y="8"/>
                    </a:lnTo>
                    <a:lnTo>
                      <a:pt x="154" y="8"/>
                    </a:lnTo>
                    <a:lnTo>
                      <a:pt x="156" y="8"/>
                    </a:lnTo>
                    <a:lnTo>
                      <a:pt x="158" y="10"/>
                    </a:lnTo>
                    <a:lnTo>
                      <a:pt x="162" y="14"/>
                    </a:lnTo>
                    <a:lnTo>
                      <a:pt x="162" y="14"/>
                    </a:lnTo>
                    <a:lnTo>
                      <a:pt x="164" y="18"/>
                    </a:lnTo>
                    <a:lnTo>
                      <a:pt x="166" y="24"/>
                    </a:lnTo>
                    <a:lnTo>
                      <a:pt x="166" y="24"/>
                    </a:lnTo>
                    <a:lnTo>
                      <a:pt x="170" y="26"/>
                    </a:lnTo>
                    <a:lnTo>
                      <a:pt x="172" y="30"/>
                    </a:lnTo>
                    <a:lnTo>
                      <a:pt x="172" y="34"/>
                    </a:lnTo>
                    <a:lnTo>
                      <a:pt x="166" y="38"/>
                    </a:lnTo>
                    <a:lnTo>
                      <a:pt x="166" y="38"/>
                    </a:lnTo>
                    <a:lnTo>
                      <a:pt x="162" y="40"/>
                    </a:lnTo>
                    <a:lnTo>
                      <a:pt x="162" y="44"/>
                    </a:lnTo>
                    <a:lnTo>
                      <a:pt x="166" y="48"/>
                    </a:lnTo>
                    <a:lnTo>
                      <a:pt x="168" y="58"/>
                    </a:lnTo>
                    <a:lnTo>
                      <a:pt x="168" y="58"/>
                    </a:lnTo>
                    <a:lnTo>
                      <a:pt x="172" y="66"/>
                    </a:lnTo>
                    <a:lnTo>
                      <a:pt x="176" y="70"/>
                    </a:lnTo>
                    <a:lnTo>
                      <a:pt x="180" y="72"/>
                    </a:lnTo>
                    <a:lnTo>
                      <a:pt x="184" y="74"/>
                    </a:lnTo>
                    <a:lnTo>
                      <a:pt x="184" y="74"/>
                    </a:lnTo>
                    <a:lnTo>
                      <a:pt x="184" y="76"/>
                    </a:lnTo>
                    <a:lnTo>
                      <a:pt x="182" y="74"/>
                    </a:lnTo>
                    <a:lnTo>
                      <a:pt x="180" y="74"/>
                    </a:lnTo>
                    <a:lnTo>
                      <a:pt x="180" y="78"/>
                    </a:lnTo>
                    <a:lnTo>
                      <a:pt x="180" y="78"/>
                    </a:lnTo>
                    <a:lnTo>
                      <a:pt x="182" y="80"/>
                    </a:lnTo>
                    <a:lnTo>
                      <a:pt x="180" y="80"/>
                    </a:lnTo>
                    <a:lnTo>
                      <a:pt x="176" y="82"/>
                    </a:lnTo>
                    <a:lnTo>
                      <a:pt x="174" y="86"/>
                    </a:lnTo>
                    <a:lnTo>
                      <a:pt x="174" y="86"/>
                    </a:lnTo>
                    <a:lnTo>
                      <a:pt x="168" y="92"/>
                    </a:lnTo>
                    <a:lnTo>
                      <a:pt x="166" y="94"/>
                    </a:lnTo>
                    <a:lnTo>
                      <a:pt x="166" y="96"/>
                    </a:lnTo>
                    <a:lnTo>
                      <a:pt x="166" y="100"/>
                    </a:lnTo>
                    <a:lnTo>
                      <a:pt x="166" y="100"/>
                    </a:lnTo>
                    <a:lnTo>
                      <a:pt x="164" y="104"/>
                    </a:lnTo>
                    <a:lnTo>
                      <a:pt x="164" y="104"/>
                    </a:lnTo>
                    <a:lnTo>
                      <a:pt x="160" y="104"/>
                    </a:lnTo>
                    <a:lnTo>
                      <a:pt x="160" y="104"/>
                    </a:lnTo>
                    <a:lnTo>
                      <a:pt x="152" y="104"/>
                    </a:lnTo>
                    <a:lnTo>
                      <a:pt x="146" y="100"/>
                    </a:lnTo>
                    <a:lnTo>
                      <a:pt x="140" y="98"/>
                    </a:lnTo>
                    <a:lnTo>
                      <a:pt x="136" y="96"/>
                    </a:lnTo>
                    <a:lnTo>
                      <a:pt x="136" y="96"/>
                    </a:lnTo>
                    <a:lnTo>
                      <a:pt x="132" y="98"/>
                    </a:lnTo>
                    <a:lnTo>
                      <a:pt x="132" y="100"/>
                    </a:lnTo>
                    <a:lnTo>
                      <a:pt x="132" y="100"/>
                    </a:lnTo>
                    <a:lnTo>
                      <a:pt x="130" y="102"/>
                    </a:lnTo>
                    <a:lnTo>
                      <a:pt x="130" y="102"/>
                    </a:lnTo>
                    <a:lnTo>
                      <a:pt x="126" y="100"/>
                    </a:lnTo>
                    <a:lnTo>
                      <a:pt x="122" y="98"/>
                    </a:lnTo>
                    <a:lnTo>
                      <a:pt x="122" y="98"/>
                    </a:lnTo>
                    <a:lnTo>
                      <a:pt x="120" y="98"/>
                    </a:lnTo>
                    <a:lnTo>
                      <a:pt x="118" y="100"/>
                    </a:lnTo>
                    <a:lnTo>
                      <a:pt x="116" y="100"/>
                    </a:lnTo>
                    <a:lnTo>
                      <a:pt x="112" y="98"/>
                    </a:lnTo>
                    <a:lnTo>
                      <a:pt x="112" y="98"/>
                    </a:lnTo>
                    <a:lnTo>
                      <a:pt x="108" y="94"/>
                    </a:lnTo>
                    <a:lnTo>
                      <a:pt x="106" y="98"/>
                    </a:lnTo>
                    <a:lnTo>
                      <a:pt x="106" y="98"/>
                    </a:lnTo>
                    <a:lnTo>
                      <a:pt x="104" y="100"/>
                    </a:lnTo>
                    <a:lnTo>
                      <a:pt x="96" y="96"/>
                    </a:lnTo>
                    <a:lnTo>
                      <a:pt x="96" y="96"/>
                    </a:lnTo>
                    <a:lnTo>
                      <a:pt x="86" y="90"/>
                    </a:lnTo>
                    <a:lnTo>
                      <a:pt x="78" y="88"/>
                    </a:lnTo>
                    <a:lnTo>
                      <a:pt x="72" y="86"/>
                    </a:lnTo>
                    <a:lnTo>
                      <a:pt x="70" y="84"/>
                    </a:lnTo>
                    <a:lnTo>
                      <a:pt x="70" y="84"/>
                    </a:lnTo>
                    <a:lnTo>
                      <a:pt x="68" y="80"/>
                    </a:lnTo>
                    <a:lnTo>
                      <a:pt x="66" y="80"/>
                    </a:lnTo>
                    <a:lnTo>
                      <a:pt x="66" y="80"/>
                    </a:lnTo>
                    <a:lnTo>
                      <a:pt x="62" y="80"/>
                    </a:lnTo>
                    <a:lnTo>
                      <a:pt x="58" y="78"/>
                    </a:lnTo>
                    <a:lnTo>
                      <a:pt x="56" y="78"/>
                    </a:lnTo>
                    <a:lnTo>
                      <a:pt x="56" y="80"/>
                    </a:lnTo>
                    <a:lnTo>
                      <a:pt x="56" y="80"/>
                    </a:lnTo>
                    <a:lnTo>
                      <a:pt x="58" y="82"/>
                    </a:lnTo>
                    <a:lnTo>
                      <a:pt x="56" y="82"/>
                    </a:lnTo>
                    <a:lnTo>
                      <a:pt x="54" y="82"/>
                    </a:lnTo>
                    <a:lnTo>
                      <a:pt x="52" y="84"/>
                    </a:lnTo>
                    <a:lnTo>
                      <a:pt x="52" y="84"/>
                    </a:lnTo>
                    <a:lnTo>
                      <a:pt x="52" y="84"/>
                    </a:lnTo>
                    <a:lnTo>
                      <a:pt x="50" y="82"/>
                    </a:lnTo>
                    <a:lnTo>
                      <a:pt x="46" y="80"/>
                    </a:lnTo>
                    <a:lnTo>
                      <a:pt x="42" y="78"/>
                    </a:lnTo>
                    <a:lnTo>
                      <a:pt x="42" y="78"/>
                    </a:lnTo>
                    <a:lnTo>
                      <a:pt x="28" y="76"/>
                    </a:lnTo>
                    <a:lnTo>
                      <a:pt x="22" y="74"/>
                    </a:lnTo>
                    <a:lnTo>
                      <a:pt x="20" y="72"/>
                    </a:lnTo>
                    <a:lnTo>
                      <a:pt x="18" y="74"/>
                    </a:lnTo>
                    <a:lnTo>
                      <a:pt x="18" y="74"/>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Portugal"/>
              <p:cNvSpPr>
                <a:spLocks/>
              </p:cNvSpPr>
              <p:nvPr/>
            </p:nvSpPr>
            <p:spPr bwMode="auto">
              <a:xfrm>
                <a:off x="5512977" y="2128291"/>
                <a:ext cx="85054" cy="169951"/>
              </a:xfrm>
              <a:custGeom>
                <a:avLst/>
                <a:gdLst/>
                <a:ahLst/>
                <a:cxnLst>
                  <a:cxn ang="0">
                    <a:pos x="32" y="110"/>
                  </a:cxn>
                  <a:cxn ang="0">
                    <a:pos x="22" y="112"/>
                  </a:cxn>
                  <a:cxn ang="0">
                    <a:pos x="18" y="110"/>
                  </a:cxn>
                  <a:cxn ang="0">
                    <a:pos x="12" y="110"/>
                  </a:cxn>
                  <a:cxn ang="0">
                    <a:pos x="4" y="110"/>
                  </a:cxn>
                  <a:cxn ang="0">
                    <a:pos x="2" y="108"/>
                  </a:cxn>
                  <a:cxn ang="0">
                    <a:pos x="6" y="104"/>
                  </a:cxn>
                  <a:cxn ang="0">
                    <a:pos x="10" y="98"/>
                  </a:cxn>
                  <a:cxn ang="0">
                    <a:pos x="10" y="94"/>
                  </a:cxn>
                  <a:cxn ang="0">
                    <a:pos x="10" y="92"/>
                  </a:cxn>
                  <a:cxn ang="0">
                    <a:pos x="10" y="80"/>
                  </a:cxn>
                  <a:cxn ang="0">
                    <a:pos x="12" y="78"/>
                  </a:cxn>
                  <a:cxn ang="0">
                    <a:pos x="4" y="80"/>
                  </a:cxn>
                  <a:cxn ang="0">
                    <a:pos x="4" y="72"/>
                  </a:cxn>
                  <a:cxn ang="0">
                    <a:pos x="2" y="72"/>
                  </a:cxn>
                  <a:cxn ang="0">
                    <a:pos x="0" y="68"/>
                  </a:cxn>
                  <a:cxn ang="0">
                    <a:pos x="0" y="62"/>
                  </a:cxn>
                  <a:cxn ang="0">
                    <a:pos x="0" y="58"/>
                  </a:cxn>
                  <a:cxn ang="0">
                    <a:pos x="6" y="52"/>
                  </a:cxn>
                  <a:cxn ang="0">
                    <a:pos x="8" y="46"/>
                  </a:cxn>
                  <a:cxn ang="0">
                    <a:pos x="12" y="32"/>
                  </a:cxn>
                  <a:cxn ang="0">
                    <a:pos x="16" y="18"/>
                  </a:cxn>
                  <a:cxn ang="0">
                    <a:pos x="16" y="12"/>
                  </a:cxn>
                  <a:cxn ang="0">
                    <a:pos x="16" y="10"/>
                  </a:cxn>
                  <a:cxn ang="0">
                    <a:pos x="16" y="6"/>
                  </a:cxn>
                  <a:cxn ang="0">
                    <a:pos x="18" y="2"/>
                  </a:cxn>
                  <a:cxn ang="0">
                    <a:pos x="20" y="0"/>
                  </a:cxn>
                  <a:cxn ang="0">
                    <a:pos x="30" y="0"/>
                  </a:cxn>
                  <a:cxn ang="0">
                    <a:pos x="30" y="4"/>
                  </a:cxn>
                  <a:cxn ang="0">
                    <a:pos x="32" y="6"/>
                  </a:cxn>
                  <a:cxn ang="0">
                    <a:pos x="42" y="6"/>
                  </a:cxn>
                  <a:cxn ang="0">
                    <a:pos x="50" y="4"/>
                  </a:cxn>
                  <a:cxn ang="0">
                    <a:pos x="54" y="8"/>
                  </a:cxn>
                  <a:cxn ang="0">
                    <a:pos x="56" y="10"/>
                  </a:cxn>
                  <a:cxn ang="0">
                    <a:pos x="52" y="14"/>
                  </a:cxn>
                  <a:cxn ang="0">
                    <a:pos x="46" y="24"/>
                  </a:cxn>
                  <a:cxn ang="0">
                    <a:pos x="44" y="24"/>
                  </a:cxn>
                  <a:cxn ang="0">
                    <a:pos x="46" y="28"/>
                  </a:cxn>
                  <a:cxn ang="0">
                    <a:pos x="44" y="36"/>
                  </a:cxn>
                  <a:cxn ang="0">
                    <a:pos x="44" y="38"/>
                  </a:cxn>
                  <a:cxn ang="0">
                    <a:pos x="46" y="42"/>
                  </a:cxn>
                  <a:cxn ang="0">
                    <a:pos x="42" y="52"/>
                  </a:cxn>
                  <a:cxn ang="0">
                    <a:pos x="34" y="52"/>
                  </a:cxn>
                  <a:cxn ang="0">
                    <a:pos x="40" y="64"/>
                  </a:cxn>
                  <a:cxn ang="0">
                    <a:pos x="40" y="72"/>
                  </a:cxn>
                  <a:cxn ang="0">
                    <a:pos x="36" y="80"/>
                  </a:cxn>
                  <a:cxn ang="0">
                    <a:pos x="40" y="86"/>
                  </a:cxn>
                  <a:cxn ang="0">
                    <a:pos x="38" y="92"/>
                  </a:cxn>
                  <a:cxn ang="0">
                    <a:pos x="32" y="102"/>
                  </a:cxn>
                  <a:cxn ang="0">
                    <a:pos x="34" y="106"/>
                  </a:cxn>
                </a:cxnLst>
                <a:rect l="0" t="0" r="r" b="b"/>
                <a:pathLst>
                  <a:path w="56" h="112">
                    <a:moveTo>
                      <a:pt x="34" y="106"/>
                    </a:moveTo>
                    <a:lnTo>
                      <a:pt x="34" y="106"/>
                    </a:lnTo>
                    <a:lnTo>
                      <a:pt x="32" y="110"/>
                    </a:lnTo>
                    <a:lnTo>
                      <a:pt x="28" y="110"/>
                    </a:lnTo>
                    <a:lnTo>
                      <a:pt x="28" y="110"/>
                    </a:lnTo>
                    <a:lnTo>
                      <a:pt x="22" y="112"/>
                    </a:lnTo>
                    <a:lnTo>
                      <a:pt x="20" y="112"/>
                    </a:lnTo>
                    <a:lnTo>
                      <a:pt x="18" y="110"/>
                    </a:lnTo>
                    <a:lnTo>
                      <a:pt x="18" y="110"/>
                    </a:lnTo>
                    <a:lnTo>
                      <a:pt x="16" y="110"/>
                    </a:lnTo>
                    <a:lnTo>
                      <a:pt x="12" y="110"/>
                    </a:lnTo>
                    <a:lnTo>
                      <a:pt x="12" y="110"/>
                    </a:lnTo>
                    <a:lnTo>
                      <a:pt x="10" y="110"/>
                    </a:lnTo>
                    <a:lnTo>
                      <a:pt x="4" y="110"/>
                    </a:lnTo>
                    <a:lnTo>
                      <a:pt x="4" y="110"/>
                    </a:lnTo>
                    <a:lnTo>
                      <a:pt x="2" y="110"/>
                    </a:lnTo>
                    <a:lnTo>
                      <a:pt x="2" y="108"/>
                    </a:lnTo>
                    <a:lnTo>
                      <a:pt x="2" y="108"/>
                    </a:lnTo>
                    <a:lnTo>
                      <a:pt x="2" y="108"/>
                    </a:lnTo>
                    <a:lnTo>
                      <a:pt x="4" y="106"/>
                    </a:lnTo>
                    <a:lnTo>
                      <a:pt x="6" y="104"/>
                    </a:lnTo>
                    <a:lnTo>
                      <a:pt x="8" y="100"/>
                    </a:lnTo>
                    <a:lnTo>
                      <a:pt x="8" y="100"/>
                    </a:lnTo>
                    <a:lnTo>
                      <a:pt x="10" y="98"/>
                    </a:lnTo>
                    <a:lnTo>
                      <a:pt x="10" y="94"/>
                    </a:lnTo>
                    <a:lnTo>
                      <a:pt x="10" y="94"/>
                    </a:lnTo>
                    <a:lnTo>
                      <a:pt x="10" y="94"/>
                    </a:lnTo>
                    <a:lnTo>
                      <a:pt x="10" y="94"/>
                    </a:lnTo>
                    <a:lnTo>
                      <a:pt x="10" y="94"/>
                    </a:lnTo>
                    <a:lnTo>
                      <a:pt x="10" y="92"/>
                    </a:lnTo>
                    <a:lnTo>
                      <a:pt x="10" y="92"/>
                    </a:lnTo>
                    <a:lnTo>
                      <a:pt x="10" y="86"/>
                    </a:lnTo>
                    <a:lnTo>
                      <a:pt x="10" y="80"/>
                    </a:lnTo>
                    <a:lnTo>
                      <a:pt x="10" y="80"/>
                    </a:lnTo>
                    <a:lnTo>
                      <a:pt x="10" y="78"/>
                    </a:lnTo>
                    <a:lnTo>
                      <a:pt x="12" y="78"/>
                    </a:lnTo>
                    <a:lnTo>
                      <a:pt x="12" y="78"/>
                    </a:lnTo>
                    <a:lnTo>
                      <a:pt x="6" y="80"/>
                    </a:lnTo>
                    <a:lnTo>
                      <a:pt x="4" y="80"/>
                    </a:lnTo>
                    <a:lnTo>
                      <a:pt x="2" y="78"/>
                    </a:lnTo>
                    <a:lnTo>
                      <a:pt x="2" y="78"/>
                    </a:lnTo>
                    <a:lnTo>
                      <a:pt x="4" y="72"/>
                    </a:lnTo>
                    <a:lnTo>
                      <a:pt x="4" y="72"/>
                    </a:lnTo>
                    <a:lnTo>
                      <a:pt x="4" y="72"/>
                    </a:lnTo>
                    <a:lnTo>
                      <a:pt x="2" y="72"/>
                    </a:lnTo>
                    <a:lnTo>
                      <a:pt x="2" y="72"/>
                    </a:lnTo>
                    <a:lnTo>
                      <a:pt x="0" y="72"/>
                    </a:lnTo>
                    <a:lnTo>
                      <a:pt x="0" y="68"/>
                    </a:lnTo>
                    <a:lnTo>
                      <a:pt x="0" y="68"/>
                    </a:lnTo>
                    <a:lnTo>
                      <a:pt x="0" y="64"/>
                    </a:lnTo>
                    <a:lnTo>
                      <a:pt x="0" y="62"/>
                    </a:lnTo>
                    <a:lnTo>
                      <a:pt x="0" y="58"/>
                    </a:lnTo>
                    <a:lnTo>
                      <a:pt x="0" y="58"/>
                    </a:lnTo>
                    <a:lnTo>
                      <a:pt x="0" y="58"/>
                    </a:lnTo>
                    <a:lnTo>
                      <a:pt x="2" y="56"/>
                    </a:lnTo>
                    <a:lnTo>
                      <a:pt x="6" y="52"/>
                    </a:lnTo>
                    <a:lnTo>
                      <a:pt x="6" y="52"/>
                    </a:lnTo>
                    <a:lnTo>
                      <a:pt x="8" y="48"/>
                    </a:lnTo>
                    <a:lnTo>
                      <a:pt x="8" y="46"/>
                    </a:lnTo>
                    <a:lnTo>
                      <a:pt x="8" y="46"/>
                    </a:lnTo>
                    <a:lnTo>
                      <a:pt x="8" y="44"/>
                    </a:lnTo>
                    <a:lnTo>
                      <a:pt x="8" y="44"/>
                    </a:lnTo>
                    <a:lnTo>
                      <a:pt x="12" y="32"/>
                    </a:lnTo>
                    <a:lnTo>
                      <a:pt x="12" y="32"/>
                    </a:lnTo>
                    <a:lnTo>
                      <a:pt x="14" y="26"/>
                    </a:lnTo>
                    <a:lnTo>
                      <a:pt x="16" y="18"/>
                    </a:lnTo>
                    <a:lnTo>
                      <a:pt x="16" y="18"/>
                    </a:lnTo>
                    <a:lnTo>
                      <a:pt x="16" y="14"/>
                    </a:lnTo>
                    <a:lnTo>
                      <a:pt x="16" y="12"/>
                    </a:lnTo>
                    <a:lnTo>
                      <a:pt x="16" y="10"/>
                    </a:lnTo>
                    <a:lnTo>
                      <a:pt x="16" y="10"/>
                    </a:lnTo>
                    <a:lnTo>
                      <a:pt x="16" y="10"/>
                    </a:lnTo>
                    <a:lnTo>
                      <a:pt x="16" y="8"/>
                    </a:lnTo>
                    <a:lnTo>
                      <a:pt x="16" y="6"/>
                    </a:lnTo>
                    <a:lnTo>
                      <a:pt x="16" y="6"/>
                    </a:lnTo>
                    <a:lnTo>
                      <a:pt x="16" y="4"/>
                    </a:lnTo>
                    <a:lnTo>
                      <a:pt x="16" y="4"/>
                    </a:lnTo>
                    <a:lnTo>
                      <a:pt x="18" y="2"/>
                    </a:lnTo>
                    <a:lnTo>
                      <a:pt x="16" y="2"/>
                    </a:lnTo>
                    <a:lnTo>
                      <a:pt x="16" y="2"/>
                    </a:lnTo>
                    <a:lnTo>
                      <a:pt x="20" y="0"/>
                    </a:lnTo>
                    <a:lnTo>
                      <a:pt x="24" y="0"/>
                    </a:lnTo>
                    <a:lnTo>
                      <a:pt x="24" y="0"/>
                    </a:lnTo>
                    <a:lnTo>
                      <a:pt x="30" y="0"/>
                    </a:lnTo>
                    <a:lnTo>
                      <a:pt x="30" y="2"/>
                    </a:lnTo>
                    <a:lnTo>
                      <a:pt x="30" y="4"/>
                    </a:lnTo>
                    <a:lnTo>
                      <a:pt x="30" y="4"/>
                    </a:lnTo>
                    <a:lnTo>
                      <a:pt x="30" y="6"/>
                    </a:lnTo>
                    <a:lnTo>
                      <a:pt x="32" y="6"/>
                    </a:lnTo>
                    <a:lnTo>
                      <a:pt x="32" y="6"/>
                    </a:lnTo>
                    <a:lnTo>
                      <a:pt x="38" y="4"/>
                    </a:lnTo>
                    <a:lnTo>
                      <a:pt x="42" y="6"/>
                    </a:lnTo>
                    <a:lnTo>
                      <a:pt x="42" y="6"/>
                    </a:lnTo>
                    <a:lnTo>
                      <a:pt x="44" y="6"/>
                    </a:lnTo>
                    <a:lnTo>
                      <a:pt x="46" y="6"/>
                    </a:lnTo>
                    <a:lnTo>
                      <a:pt x="50" y="4"/>
                    </a:lnTo>
                    <a:lnTo>
                      <a:pt x="52" y="6"/>
                    </a:lnTo>
                    <a:lnTo>
                      <a:pt x="52" y="6"/>
                    </a:lnTo>
                    <a:lnTo>
                      <a:pt x="54" y="8"/>
                    </a:lnTo>
                    <a:lnTo>
                      <a:pt x="54" y="10"/>
                    </a:lnTo>
                    <a:lnTo>
                      <a:pt x="54" y="10"/>
                    </a:lnTo>
                    <a:lnTo>
                      <a:pt x="56" y="10"/>
                    </a:lnTo>
                    <a:lnTo>
                      <a:pt x="56" y="12"/>
                    </a:lnTo>
                    <a:lnTo>
                      <a:pt x="52" y="14"/>
                    </a:lnTo>
                    <a:lnTo>
                      <a:pt x="52" y="14"/>
                    </a:lnTo>
                    <a:lnTo>
                      <a:pt x="50" y="18"/>
                    </a:lnTo>
                    <a:lnTo>
                      <a:pt x="48" y="22"/>
                    </a:lnTo>
                    <a:lnTo>
                      <a:pt x="46" y="24"/>
                    </a:lnTo>
                    <a:lnTo>
                      <a:pt x="44" y="24"/>
                    </a:lnTo>
                    <a:lnTo>
                      <a:pt x="44" y="24"/>
                    </a:lnTo>
                    <a:lnTo>
                      <a:pt x="44" y="24"/>
                    </a:lnTo>
                    <a:lnTo>
                      <a:pt x="44" y="24"/>
                    </a:lnTo>
                    <a:lnTo>
                      <a:pt x="46" y="28"/>
                    </a:lnTo>
                    <a:lnTo>
                      <a:pt x="46" y="28"/>
                    </a:lnTo>
                    <a:lnTo>
                      <a:pt x="46" y="32"/>
                    </a:lnTo>
                    <a:lnTo>
                      <a:pt x="46" y="34"/>
                    </a:lnTo>
                    <a:lnTo>
                      <a:pt x="44" y="36"/>
                    </a:lnTo>
                    <a:lnTo>
                      <a:pt x="44" y="36"/>
                    </a:lnTo>
                    <a:lnTo>
                      <a:pt x="44" y="36"/>
                    </a:lnTo>
                    <a:lnTo>
                      <a:pt x="44" y="38"/>
                    </a:lnTo>
                    <a:lnTo>
                      <a:pt x="46" y="38"/>
                    </a:lnTo>
                    <a:lnTo>
                      <a:pt x="46" y="42"/>
                    </a:lnTo>
                    <a:lnTo>
                      <a:pt x="46" y="42"/>
                    </a:lnTo>
                    <a:lnTo>
                      <a:pt x="44" y="48"/>
                    </a:lnTo>
                    <a:lnTo>
                      <a:pt x="44" y="50"/>
                    </a:lnTo>
                    <a:lnTo>
                      <a:pt x="42" y="52"/>
                    </a:lnTo>
                    <a:lnTo>
                      <a:pt x="42" y="52"/>
                    </a:lnTo>
                    <a:lnTo>
                      <a:pt x="36" y="52"/>
                    </a:lnTo>
                    <a:lnTo>
                      <a:pt x="34" y="52"/>
                    </a:lnTo>
                    <a:lnTo>
                      <a:pt x="36" y="54"/>
                    </a:lnTo>
                    <a:lnTo>
                      <a:pt x="36" y="54"/>
                    </a:lnTo>
                    <a:lnTo>
                      <a:pt x="40" y="64"/>
                    </a:lnTo>
                    <a:lnTo>
                      <a:pt x="40" y="64"/>
                    </a:lnTo>
                    <a:lnTo>
                      <a:pt x="42" y="68"/>
                    </a:lnTo>
                    <a:lnTo>
                      <a:pt x="40" y="72"/>
                    </a:lnTo>
                    <a:lnTo>
                      <a:pt x="40" y="72"/>
                    </a:lnTo>
                    <a:lnTo>
                      <a:pt x="36" y="76"/>
                    </a:lnTo>
                    <a:lnTo>
                      <a:pt x="36" y="80"/>
                    </a:lnTo>
                    <a:lnTo>
                      <a:pt x="38" y="82"/>
                    </a:lnTo>
                    <a:lnTo>
                      <a:pt x="38" y="82"/>
                    </a:lnTo>
                    <a:lnTo>
                      <a:pt x="40" y="86"/>
                    </a:lnTo>
                    <a:lnTo>
                      <a:pt x="40" y="88"/>
                    </a:lnTo>
                    <a:lnTo>
                      <a:pt x="40" y="88"/>
                    </a:lnTo>
                    <a:lnTo>
                      <a:pt x="38" y="92"/>
                    </a:lnTo>
                    <a:lnTo>
                      <a:pt x="34" y="98"/>
                    </a:lnTo>
                    <a:lnTo>
                      <a:pt x="34" y="98"/>
                    </a:lnTo>
                    <a:lnTo>
                      <a:pt x="32" y="102"/>
                    </a:lnTo>
                    <a:lnTo>
                      <a:pt x="32" y="104"/>
                    </a:lnTo>
                    <a:lnTo>
                      <a:pt x="34" y="106"/>
                    </a:lnTo>
                    <a:lnTo>
                      <a:pt x="34" y="106"/>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Singapore"/>
              <p:cNvSpPr>
                <a:spLocks noEditPoints="1"/>
              </p:cNvSpPr>
              <p:nvPr/>
            </p:nvSpPr>
            <p:spPr bwMode="auto">
              <a:xfrm>
                <a:off x="9065088" y="3420935"/>
                <a:ext cx="106299" cy="203008"/>
              </a:xfrm>
              <a:custGeom>
                <a:avLst/>
                <a:gdLst>
                  <a:gd name="T0" fmla="*/ 54 w 108"/>
                  <a:gd name="T1" fmla="*/ 0 h 206"/>
                  <a:gd name="T2" fmla="*/ 0 w 108"/>
                  <a:gd name="T3" fmla="*/ 54 h 206"/>
                  <a:gd name="T4" fmla="*/ 0 w 108"/>
                  <a:gd name="T5" fmla="*/ 58 h 206"/>
                  <a:gd name="T6" fmla="*/ 1 w 108"/>
                  <a:gd name="T7" fmla="*/ 67 h 206"/>
                  <a:gd name="T8" fmla="*/ 53 w 108"/>
                  <a:gd name="T9" fmla="*/ 206 h 206"/>
                  <a:gd name="T10" fmla="*/ 107 w 108"/>
                  <a:gd name="T11" fmla="*/ 67 h 206"/>
                  <a:gd name="T12" fmla="*/ 108 w 108"/>
                  <a:gd name="T13" fmla="*/ 56 h 206"/>
                  <a:gd name="T14" fmla="*/ 108 w 108"/>
                  <a:gd name="T15" fmla="*/ 54 h 206"/>
                  <a:gd name="T16" fmla="*/ 54 w 108"/>
                  <a:gd name="T17" fmla="*/ 0 h 206"/>
                  <a:gd name="T18" fmla="*/ 54 w 108"/>
                  <a:gd name="T19" fmla="*/ 65 h 206"/>
                  <a:gd name="T20" fmla="*/ 37 w 108"/>
                  <a:gd name="T21" fmla="*/ 48 h 206"/>
                  <a:gd name="T22" fmla="*/ 54 w 108"/>
                  <a:gd name="T23" fmla="*/ 30 h 206"/>
                  <a:gd name="T24" fmla="*/ 71 w 108"/>
                  <a:gd name="T25" fmla="*/ 48 h 206"/>
                  <a:gd name="T26" fmla="*/ 54 w 108"/>
                  <a:gd name="T27" fmla="*/ 65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206">
                    <a:moveTo>
                      <a:pt x="54" y="0"/>
                    </a:moveTo>
                    <a:cubicBezTo>
                      <a:pt x="24" y="0"/>
                      <a:pt x="0" y="24"/>
                      <a:pt x="0" y="54"/>
                    </a:cubicBezTo>
                    <a:cubicBezTo>
                      <a:pt x="0" y="58"/>
                      <a:pt x="0" y="58"/>
                      <a:pt x="0" y="58"/>
                    </a:cubicBezTo>
                    <a:cubicBezTo>
                      <a:pt x="0" y="61"/>
                      <a:pt x="0" y="64"/>
                      <a:pt x="1" y="67"/>
                    </a:cubicBezTo>
                    <a:cubicBezTo>
                      <a:pt x="22" y="123"/>
                      <a:pt x="53" y="206"/>
                      <a:pt x="53" y="206"/>
                    </a:cubicBezTo>
                    <a:cubicBezTo>
                      <a:pt x="56" y="198"/>
                      <a:pt x="107" y="67"/>
                      <a:pt x="107" y="67"/>
                    </a:cubicBezTo>
                    <a:cubicBezTo>
                      <a:pt x="107" y="63"/>
                      <a:pt x="108" y="59"/>
                      <a:pt x="108" y="56"/>
                    </a:cubicBezTo>
                    <a:cubicBezTo>
                      <a:pt x="108" y="54"/>
                      <a:pt x="108" y="54"/>
                      <a:pt x="108" y="54"/>
                    </a:cubicBezTo>
                    <a:cubicBezTo>
                      <a:pt x="108" y="24"/>
                      <a:pt x="83" y="0"/>
                      <a:pt x="54" y="0"/>
                    </a:cubicBezTo>
                    <a:close/>
                    <a:moveTo>
                      <a:pt x="54" y="65"/>
                    </a:moveTo>
                    <a:cubicBezTo>
                      <a:pt x="45" y="65"/>
                      <a:pt x="37" y="57"/>
                      <a:pt x="37" y="48"/>
                    </a:cubicBezTo>
                    <a:cubicBezTo>
                      <a:pt x="37" y="38"/>
                      <a:pt x="45" y="30"/>
                      <a:pt x="54" y="30"/>
                    </a:cubicBezTo>
                    <a:cubicBezTo>
                      <a:pt x="63" y="30"/>
                      <a:pt x="71" y="38"/>
                      <a:pt x="71" y="48"/>
                    </a:cubicBezTo>
                    <a:cubicBezTo>
                      <a:pt x="71" y="57"/>
                      <a:pt x="63" y="65"/>
                      <a:pt x="54" y="65"/>
                    </a:cubicBez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South Africa"/>
              <p:cNvSpPr>
                <a:spLocks/>
              </p:cNvSpPr>
              <p:nvPr/>
            </p:nvSpPr>
            <p:spPr bwMode="auto">
              <a:xfrm>
                <a:off x="6275426" y="4550087"/>
                <a:ext cx="519437" cy="464330"/>
              </a:xfrm>
              <a:custGeom>
                <a:avLst/>
                <a:gdLst/>
                <a:ahLst/>
                <a:cxnLst>
                  <a:cxn ang="0">
                    <a:pos x="292" y="0"/>
                  </a:cxn>
                  <a:cxn ang="0">
                    <a:pos x="312" y="4"/>
                  </a:cxn>
                  <a:cxn ang="0">
                    <a:pos x="326" y="6"/>
                  </a:cxn>
                  <a:cxn ang="0">
                    <a:pos x="332" y="44"/>
                  </a:cxn>
                  <a:cxn ang="0">
                    <a:pos x="326" y="74"/>
                  </a:cxn>
                  <a:cxn ang="0">
                    <a:pos x="310" y="84"/>
                  </a:cxn>
                  <a:cxn ang="0">
                    <a:pos x="300" y="102"/>
                  </a:cxn>
                  <a:cxn ang="0">
                    <a:pos x="308" y="118"/>
                  </a:cxn>
                  <a:cxn ang="0">
                    <a:pos x="328" y="122"/>
                  </a:cxn>
                  <a:cxn ang="0">
                    <a:pos x="328" y="112"/>
                  </a:cxn>
                  <a:cxn ang="0">
                    <a:pos x="336" y="134"/>
                  </a:cxn>
                  <a:cxn ang="0">
                    <a:pos x="318" y="158"/>
                  </a:cxn>
                  <a:cxn ang="0">
                    <a:pos x="294" y="188"/>
                  </a:cxn>
                  <a:cxn ang="0">
                    <a:pos x="266" y="222"/>
                  </a:cxn>
                  <a:cxn ang="0">
                    <a:pos x="246" y="246"/>
                  </a:cxn>
                  <a:cxn ang="0">
                    <a:pos x="226" y="270"/>
                  </a:cxn>
                  <a:cxn ang="0">
                    <a:pos x="196" y="284"/>
                  </a:cxn>
                  <a:cxn ang="0">
                    <a:pos x="184" y="290"/>
                  </a:cxn>
                  <a:cxn ang="0">
                    <a:pos x="174" y="294"/>
                  </a:cxn>
                  <a:cxn ang="0">
                    <a:pos x="164" y="298"/>
                  </a:cxn>
                  <a:cxn ang="0">
                    <a:pos x="142" y="294"/>
                  </a:cxn>
                  <a:cxn ang="0">
                    <a:pos x="128" y="292"/>
                  </a:cxn>
                  <a:cxn ang="0">
                    <a:pos x="116" y="298"/>
                  </a:cxn>
                  <a:cxn ang="0">
                    <a:pos x="104" y="300"/>
                  </a:cxn>
                  <a:cxn ang="0">
                    <a:pos x="86" y="304"/>
                  </a:cxn>
                  <a:cxn ang="0">
                    <a:pos x="68" y="304"/>
                  </a:cxn>
                  <a:cxn ang="0">
                    <a:pos x="50" y="294"/>
                  </a:cxn>
                  <a:cxn ang="0">
                    <a:pos x="52" y="304"/>
                  </a:cxn>
                  <a:cxn ang="0">
                    <a:pos x="42" y="296"/>
                  </a:cxn>
                  <a:cxn ang="0">
                    <a:pos x="38" y="282"/>
                  </a:cxn>
                  <a:cxn ang="0">
                    <a:pos x="36" y="270"/>
                  </a:cxn>
                  <a:cxn ang="0">
                    <a:pos x="40" y="256"/>
                  </a:cxn>
                  <a:cxn ang="0">
                    <a:pos x="40" y="236"/>
                  </a:cxn>
                  <a:cxn ang="0">
                    <a:pos x="30" y="222"/>
                  </a:cxn>
                  <a:cxn ang="0">
                    <a:pos x="16" y="198"/>
                  </a:cxn>
                  <a:cxn ang="0">
                    <a:pos x="10" y="160"/>
                  </a:cxn>
                  <a:cxn ang="0">
                    <a:pos x="12" y="144"/>
                  </a:cxn>
                  <a:cxn ang="0">
                    <a:pos x="28" y="142"/>
                  </a:cxn>
                  <a:cxn ang="0">
                    <a:pos x="38" y="158"/>
                  </a:cxn>
                  <a:cxn ang="0">
                    <a:pos x="56" y="156"/>
                  </a:cxn>
                  <a:cxn ang="0">
                    <a:pos x="72" y="146"/>
                  </a:cxn>
                  <a:cxn ang="0">
                    <a:pos x="90" y="72"/>
                  </a:cxn>
                  <a:cxn ang="0">
                    <a:pos x="106" y="94"/>
                  </a:cxn>
                  <a:cxn ang="0">
                    <a:pos x="102" y="112"/>
                  </a:cxn>
                  <a:cxn ang="0">
                    <a:pos x="118" y="112"/>
                  </a:cxn>
                  <a:cxn ang="0">
                    <a:pos x="126" y="106"/>
                  </a:cxn>
                  <a:cxn ang="0">
                    <a:pos x="130" y="106"/>
                  </a:cxn>
                  <a:cxn ang="0">
                    <a:pos x="142" y="94"/>
                  </a:cxn>
                  <a:cxn ang="0">
                    <a:pos x="142" y="86"/>
                  </a:cxn>
                  <a:cxn ang="0">
                    <a:pos x="164" y="78"/>
                  </a:cxn>
                  <a:cxn ang="0">
                    <a:pos x="174" y="84"/>
                  </a:cxn>
                  <a:cxn ang="0">
                    <a:pos x="192" y="82"/>
                  </a:cxn>
                  <a:cxn ang="0">
                    <a:pos x="212" y="62"/>
                  </a:cxn>
                  <a:cxn ang="0">
                    <a:pos x="230" y="46"/>
                  </a:cxn>
                  <a:cxn ang="0">
                    <a:pos x="246" y="24"/>
                  </a:cxn>
                  <a:cxn ang="0">
                    <a:pos x="268" y="8"/>
                  </a:cxn>
                  <a:cxn ang="0">
                    <a:pos x="278" y="4"/>
                  </a:cxn>
                </a:cxnLst>
                <a:rect l="0" t="0" r="r" b="b"/>
                <a:pathLst>
                  <a:path w="342" h="306">
                    <a:moveTo>
                      <a:pt x="282" y="2"/>
                    </a:moveTo>
                    <a:lnTo>
                      <a:pt x="282" y="2"/>
                    </a:lnTo>
                    <a:lnTo>
                      <a:pt x="286" y="0"/>
                    </a:lnTo>
                    <a:lnTo>
                      <a:pt x="292" y="0"/>
                    </a:lnTo>
                    <a:lnTo>
                      <a:pt x="298" y="2"/>
                    </a:lnTo>
                    <a:lnTo>
                      <a:pt x="306" y="4"/>
                    </a:lnTo>
                    <a:lnTo>
                      <a:pt x="312" y="4"/>
                    </a:lnTo>
                    <a:lnTo>
                      <a:pt x="312" y="4"/>
                    </a:lnTo>
                    <a:lnTo>
                      <a:pt x="320" y="4"/>
                    </a:lnTo>
                    <a:lnTo>
                      <a:pt x="324" y="6"/>
                    </a:lnTo>
                    <a:lnTo>
                      <a:pt x="326" y="6"/>
                    </a:lnTo>
                    <a:lnTo>
                      <a:pt x="326" y="6"/>
                    </a:lnTo>
                    <a:lnTo>
                      <a:pt x="332" y="18"/>
                    </a:lnTo>
                    <a:lnTo>
                      <a:pt x="332" y="22"/>
                    </a:lnTo>
                    <a:lnTo>
                      <a:pt x="330" y="30"/>
                    </a:lnTo>
                    <a:lnTo>
                      <a:pt x="332" y="44"/>
                    </a:lnTo>
                    <a:lnTo>
                      <a:pt x="332" y="44"/>
                    </a:lnTo>
                    <a:lnTo>
                      <a:pt x="332" y="58"/>
                    </a:lnTo>
                    <a:lnTo>
                      <a:pt x="330" y="66"/>
                    </a:lnTo>
                    <a:lnTo>
                      <a:pt x="326" y="74"/>
                    </a:lnTo>
                    <a:lnTo>
                      <a:pt x="322" y="88"/>
                    </a:lnTo>
                    <a:lnTo>
                      <a:pt x="322" y="88"/>
                    </a:lnTo>
                    <a:lnTo>
                      <a:pt x="314" y="84"/>
                    </a:lnTo>
                    <a:lnTo>
                      <a:pt x="310" y="84"/>
                    </a:lnTo>
                    <a:lnTo>
                      <a:pt x="308" y="88"/>
                    </a:lnTo>
                    <a:lnTo>
                      <a:pt x="304" y="94"/>
                    </a:lnTo>
                    <a:lnTo>
                      <a:pt x="304" y="94"/>
                    </a:lnTo>
                    <a:lnTo>
                      <a:pt x="300" y="102"/>
                    </a:lnTo>
                    <a:lnTo>
                      <a:pt x="300" y="108"/>
                    </a:lnTo>
                    <a:lnTo>
                      <a:pt x="300" y="112"/>
                    </a:lnTo>
                    <a:lnTo>
                      <a:pt x="308" y="118"/>
                    </a:lnTo>
                    <a:lnTo>
                      <a:pt x="308" y="118"/>
                    </a:lnTo>
                    <a:lnTo>
                      <a:pt x="316" y="122"/>
                    </a:lnTo>
                    <a:lnTo>
                      <a:pt x="320" y="124"/>
                    </a:lnTo>
                    <a:lnTo>
                      <a:pt x="324" y="124"/>
                    </a:lnTo>
                    <a:lnTo>
                      <a:pt x="328" y="122"/>
                    </a:lnTo>
                    <a:lnTo>
                      <a:pt x="328" y="122"/>
                    </a:lnTo>
                    <a:lnTo>
                      <a:pt x="330" y="120"/>
                    </a:lnTo>
                    <a:lnTo>
                      <a:pt x="330" y="116"/>
                    </a:lnTo>
                    <a:lnTo>
                      <a:pt x="328" y="112"/>
                    </a:lnTo>
                    <a:lnTo>
                      <a:pt x="330" y="110"/>
                    </a:lnTo>
                    <a:lnTo>
                      <a:pt x="342" y="110"/>
                    </a:lnTo>
                    <a:lnTo>
                      <a:pt x="342" y="110"/>
                    </a:lnTo>
                    <a:lnTo>
                      <a:pt x="336" y="134"/>
                    </a:lnTo>
                    <a:lnTo>
                      <a:pt x="332" y="148"/>
                    </a:lnTo>
                    <a:lnTo>
                      <a:pt x="328" y="154"/>
                    </a:lnTo>
                    <a:lnTo>
                      <a:pt x="326" y="156"/>
                    </a:lnTo>
                    <a:lnTo>
                      <a:pt x="318" y="158"/>
                    </a:lnTo>
                    <a:lnTo>
                      <a:pt x="318" y="158"/>
                    </a:lnTo>
                    <a:lnTo>
                      <a:pt x="312" y="160"/>
                    </a:lnTo>
                    <a:lnTo>
                      <a:pt x="306" y="168"/>
                    </a:lnTo>
                    <a:lnTo>
                      <a:pt x="294" y="188"/>
                    </a:lnTo>
                    <a:lnTo>
                      <a:pt x="282" y="210"/>
                    </a:lnTo>
                    <a:lnTo>
                      <a:pt x="274" y="218"/>
                    </a:lnTo>
                    <a:lnTo>
                      <a:pt x="266" y="222"/>
                    </a:lnTo>
                    <a:lnTo>
                      <a:pt x="266" y="222"/>
                    </a:lnTo>
                    <a:lnTo>
                      <a:pt x="262" y="224"/>
                    </a:lnTo>
                    <a:lnTo>
                      <a:pt x="260" y="226"/>
                    </a:lnTo>
                    <a:lnTo>
                      <a:pt x="252" y="236"/>
                    </a:lnTo>
                    <a:lnTo>
                      <a:pt x="246" y="246"/>
                    </a:lnTo>
                    <a:lnTo>
                      <a:pt x="240" y="252"/>
                    </a:lnTo>
                    <a:lnTo>
                      <a:pt x="240" y="252"/>
                    </a:lnTo>
                    <a:lnTo>
                      <a:pt x="234" y="260"/>
                    </a:lnTo>
                    <a:lnTo>
                      <a:pt x="226" y="270"/>
                    </a:lnTo>
                    <a:lnTo>
                      <a:pt x="222" y="274"/>
                    </a:lnTo>
                    <a:lnTo>
                      <a:pt x="214" y="278"/>
                    </a:lnTo>
                    <a:lnTo>
                      <a:pt x="206" y="282"/>
                    </a:lnTo>
                    <a:lnTo>
                      <a:pt x="196" y="284"/>
                    </a:lnTo>
                    <a:lnTo>
                      <a:pt x="196" y="284"/>
                    </a:lnTo>
                    <a:lnTo>
                      <a:pt x="192" y="284"/>
                    </a:lnTo>
                    <a:lnTo>
                      <a:pt x="188" y="286"/>
                    </a:lnTo>
                    <a:lnTo>
                      <a:pt x="184" y="290"/>
                    </a:lnTo>
                    <a:lnTo>
                      <a:pt x="180" y="294"/>
                    </a:lnTo>
                    <a:lnTo>
                      <a:pt x="178" y="294"/>
                    </a:lnTo>
                    <a:lnTo>
                      <a:pt x="174" y="294"/>
                    </a:lnTo>
                    <a:lnTo>
                      <a:pt x="174" y="294"/>
                    </a:lnTo>
                    <a:lnTo>
                      <a:pt x="170" y="292"/>
                    </a:lnTo>
                    <a:lnTo>
                      <a:pt x="168" y="294"/>
                    </a:lnTo>
                    <a:lnTo>
                      <a:pt x="166" y="296"/>
                    </a:lnTo>
                    <a:lnTo>
                      <a:pt x="164" y="298"/>
                    </a:lnTo>
                    <a:lnTo>
                      <a:pt x="158" y="296"/>
                    </a:lnTo>
                    <a:lnTo>
                      <a:pt x="158" y="296"/>
                    </a:lnTo>
                    <a:lnTo>
                      <a:pt x="148" y="294"/>
                    </a:lnTo>
                    <a:lnTo>
                      <a:pt x="142" y="294"/>
                    </a:lnTo>
                    <a:lnTo>
                      <a:pt x="136" y="294"/>
                    </a:lnTo>
                    <a:lnTo>
                      <a:pt x="136" y="294"/>
                    </a:lnTo>
                    <a:lnTo>
                      <a:pt x="132" y="294"/>
                    </a:lnTo>
                    <a:lnTo>
                      <a:pt x="128" y="292"/>
                    </a:lnTo>
                    <a:lnTo>
                      <a:pt x="122" y="292"/>
                    </a:lnTo>
                    <a:lnTo>
                      <a:pt x="118" y="294"/>
                    </a:lnTo>
                    <a:lnTo>
                      <a:pt x="118" y="294"/>
                    </a:lnTo>
                    <a:lnTo>
                      <a:pt x="116" y="298"/>
                    </a:lnTo>
                    <a:lnTo>
                      <a:pt x="112" y="300"/>
                    </a:lnTo>
                    <a:lnTo>
                      <a:pt x="108" y="300"/>
                    </a:lnTo>
                    <a:lnTo>
                      <a:pt x="104" y="300"/>
                    </a:lnTo>
                    <a:lnTo>
                      <a:pt x="104" y="300"/>
                    </a:lnTo>
                    <a:lnTo>
                      <a:pt x="100" y="302"/>
                    </a:lnTo>
                    <a:lnTo>
                      <a:pt x="98" y="300"/>
                    </a:lnTo>
                    <a:lnTo>
                      <a:pt x="94" y="300"/>
                    </a:lnTo>
                    <a:lnTo>
                      <a:pt x="86" y="304"/>
                    </a:lnTo>
                    <a:lnTo>
                      <a:pt x="86" y="304"/>
                    </a:lnTo>
                    <a:lnTo>
                      <a:pt x="80" y="306"/>
                    </a:lnTo>
                    <a:lnTo>
                      <a:pt x="74" y="306"/>
                    </a:lnTo>
                    <a:lnTo>
                      <a:pt x="68" y="304"/>
                    </a:lnTo>
                    <a:lnTo>
                      <a:pt x="64" y="302"/>
                    </a:lnTo>
                    <a:lnTo>
                      <a:pt x="56" y="296"/>
                    </a:lnTo>
                    <a:lnTo>
                      <a:pt x="54" y="294"/>
                    </a:lnTo>
                    <a:lnTo>
                      <a:pt x="50" y="294"/>
                    </a:lnTo>
                    <a:lnTo>
                      <a:pt x="50" y="294"/>
                    </a:lnTo>
                    <a:lnTo>
                      <a:pt x="48" y="296"/>
                    </a:lnTo>
                    <a:lnTo>
                      <a:pt x="50" y="300"/>
                    </a:lnTo>
                    <a:lnTo>
                      <a:pt x="52" y="304"/>
                    </a:lnTo>
                    <a:lnTo>
                      <a:pt x="52" y="304"/>
                    </a:lnTo>
                    <a:lnTo>
                      <a:pt x="46" y="300"/>
                    </a:lnTo>
                    <a:lnTo>
                      <a:pt x="44" y="298"/>
                    </a:lnTo>
                    <a:lnTo>
                      <a:pt x="42" y="296"/>
                    </a:lnTo>
                    <a:lnTo>
                      <a:pt x="42" y="294"/>
                    </a:lnTo>
                    <a:lnTo>
                      <a:pt x="42" y="288"/>
                    </a:lnTo>
                    <a:lnTo>
                      <a:pt x="42" y="284"/>
                    </a:lnTo>
                    <a:lnTo>
                      <a:pt x="38" y="282"/>
                    </a:lnTo>
                    <a:lnTo>
                      <a:pt x="38" y="282"/>
                    </a:lnTo>
                    <a:lnTo>
                      <a:pt x="36" y="278"/>
                    </a:lnTo>
                    <a:lnTo>
                      <a:pt x="36" y="274"/>
                    </a:lnTo>
                    <a:lnTo>
                      <a:pt x="36" y="270"/>
                    </a:lnTo>
                    <a:lnTo>
                      <a:pt x="32" y="264"/>
                    </a:lnTo>
                    <a:lnTo>
                      <a:pt x="32" y="264"/>
                    </a:lnTo>
                    <a:lnTo>
                      <a:pt x="38" y="260"/>
                    </a:lnTo>
                    <a:lnTo>
                      <a:pt x="40" y="256"/>
                    </a:lnTo>
                    <a:lnTo>
                      <a:pt x="38" y="250"/>
                    </a:lnTo>
                    <a:lnTo>
                      <a:pt x="38" y="250"/>
                    </a:lnTo>
                    <a:lnTo>
                      <a:pt x="38" y="244"/>
                    </a:lnTo>
                    <a:lnTo>
                      <a:pt x="40" y="236"/>
                    </a:lnTo>
                    <a:lnTo>
                      <a:pt x="40" y="234"/>
                    </a:lnTo>
                    <a:lnTo>
                      <a:pt x="38" y="230"/>
                    </a:lnTo>
                    <a:lnTo>
                      <a:pt x="36" y="226"/>
                    </a:lnTo>
                    <a:lnTo>
                      <a:pt x="30" y="222"/>
                    </a:lnTo>
                    <a:lnTo>
                      <a:pt x="30" y="222"/>
                    </a:lnTo>
                    <a:lnTo>
                      <a:pt x="24" y="216"/>
                    </a:lnTo>
                    <a:lnTo>
                      <a:pt x="20" y="206"/>
                    </a:lnTo>
                    <a:lnTo>
                      <a:pt x="16" y="198"/>
                    </a:lnTo>
                    <a:lnTo>
                      <a:pt x="14" y="186"/>
                    </a:lnTo>
                    <a:lnTo>
                      <a:pt x="12" y="170"/>
                    </a:lnTo>
                    <a:lnTo>
                      <a:pt x="10" y="162"/>
                    </a:lnTo>
                    <a:lnTo>
                      <a:pt x="10" y="160"/>
                    </a:lnTo>
                    <a:lnTo>
                      <a:pt x="10" y="160"/>
                    </a:lnTo>
                    <a:lnTo>
                      <a:pt x="0" y="152"/>
                    </a:lnTo>
                    <a:lnTo>
                      <a:pt x="0" y="152"/>
                    </a:lnTo>
                    <a:lnTo>
                      <a:pt x="12" y="144"/>
                    </a:lnTo>
                    <a:lnTo>
                      <a:pt x="18" y="142"/>
                    </a:lnTo>
                    <a:lnTo>
                      <a:pt x="24" y="140"/>
                    </a:lnTo>
                    <a:lnTo>
                      <a:pt x="24" y="140"/>
                    </a:lnTo>
                    <a:lnTo>
                      <a:pt x="28" y="142"/>
                    </a:lnTo>
                    <a:lnTo>
                      <a:pt x="28" y="144"/>
                    </a:lnTo>
                    <a:lnTo>
                      <a:pt x="30" y="150"/>
                    </a:lnTo>
                    <a:lnTo>
                      <a:pt x="34" y="156"/>
                    </a:lnTo>
                    <a:lnTo>
                      <a:pt x="38" y="158"/>
                    </a:lnTo>
                    <a:lnTo>
                      <a:pt x="42" y="158"/>
                    </a:lnTo>
                    <a:lnTo>
                      <a:pt x="42" y="158"/>
                    </a:lnTo>
                    <a:lnTo>
                      <a:pt x="50" y="158"/>
                    </a:lnTo>
                    <a:lnTo>
                      <a:pt x="56" y="156"/>
                    </a:lnTo>
                    <a:lnTo>
                      <a:pt x="60" y="154"/>
                    </a:lnTo>
                    <a:lnTo>
                      <a:pt x="64" y="152"/>
                    </a:lnTo>
                    <a:lnTo>
                      <a:pt x="68" y="148"/>
                    </a:lnTo>
                    <a:lnTo>
                      <a:pt x="72" y="146"/>
                    </a:lnTo>
                    <a:lnTo>
                      <a:pt x="76" y="146"/>
                    </a:lnTo>
                    <a:lnTo>
                      <a:pt x="80" y="68"/>
                    </a:lnTo>
                    <a:lnTo>
                      <a:pt x="80" y="68"/>
                    </a:lnTo>
                    <a:lnTo>
                      <a:pt x="90" y="72"/>
                    </a:lnTo>
                    <a:lnTo>
                      <a:pt x="96" y="76"/>
                    </a:lnTo>
                    <a:lnTo>
                      <a:pt x="100" y="80"/>
                    </a:lnTo>
                    <a:lnTo>
                      <a:pt x="104" y="86"/>
                    </a:lnTo>
                    <a:lnTo>
                      <a:pt x="106" y="94"/>
                    </a:lnTo>
                    <a:lnTo>
                      <a:pt x="106" y="100"/>
                    </a:lnTo>
                    <a:lnTo>
                      <a:pt x="106" y="100"/>
                    </a:lnTo>
                    <a:lnTo>
                      <a:pt x="102" y="110"/>
                    </a:lnTo>
                    <a:lnTo>
                      <a:pt x="102" y="112"/>
                    </a:lnTo>
                    <a:lnTo>
                      <a:pt x="108" y="112"/>
                    </a:lnTo>
                    <a:lnTo>
                      <a:pt x="108" y="112"/>
                    </a:lnTo>
                    <a:lnTo>
                      <a:pt x="114" y="112"/>
                    </a:lnTo>
                    <a:lnTo>
                      <a:pt x="118" y="112"/>
                    </a:lnTo>
                    <a:lnTo>
                      <a:pt x="122" y="112"/>
                    </a:lnTo>
                    <a:lnTo>
                      <a:pt x="122" y="110"/>
                    </a:lnTo>
                    <a:lnTo>
                      <a:pt x="122" y="110"/>
                    </a:lnTo>
                    <a:lnTo>
                      <a:pt x="126" y="106"/>
                    </a:lnTo>
                    <a:lnTo>
                      <a:pt x="128" y="108"/>
                    </a:lnTo>
                    <a:lnTo>
                      <a:pt x="128" y="108"/>
                    </a:lnTo>
                    <a:lnTo>
                      <a:pt x="130" y="106"/>
                    </a:lnTo>
                    <a:lnTo>
                      <a:pt x="130" y="106"/>
                    </a:lnTo>
                    <a:lnTo>
                      <a:pt x="134" y="100"/>
                    </a:lnTo>
                    <a:lnTo>
                      <a:pt x="138" y="96"/>
                    </a:lnTo>
                    <a:lnTo>
                      <a:pt x="142" y="94"/>
                    </a:lnTo>
                    <a:lnTo>
                      <a:pt x="142" y="94"/>
                    </a:lnTo>
                    <a:lnTo>
                      <a:pt x="142" y="92"/>
                    </a:lnTo>
                    <a:lnTo>
                      <a:pt x="142" y="92"/>
                    </a:lnTo>
                    <a:lnTo>
                      <a:pt x="140" y="90"/>
                    </a:lnTo>
                    <a:lnTo>
                      <a:pt x="142" y="86"/>
                    </a:lnTo>
                    <a:lnTo>
                      <a:pt x="146" y="82"/>
                    </a:lnTo>
                    <a:lnTo>
                      <a:pt x="154" y="78"/>
                    </a:lnTo>
                    <a:lnTo>
                      <a:pt x="164" y="78"/>
                    </a:lnTo>
                    <a:lnTo>
                      <a:pt x="164" y="78"/>
                    </a:lnTo>
                    <a:lnTo>
                      <a:pt x="168" y="78"/>
                    </a:lnTo>
                    <a:lnTo>
                      <a:pt x="168" y="80"/>
                    </a:lnTo>
                    <a:lnTo>
                      <a:pt x="168" y="82"/>
                    </a:lnTo>
                    <a:lnTo>
                      <a:pt x="174" y="84"/>
                    </a:lnTo>
                    <a:lnTo>
                      <a:pt x="174" y="84"/>
                    </a:lnTo>
                    <a:lnTo>
                      <a:pt x="180" y="86"/>
                    </a:lnTo>
                    <a:lnTo>
                      <a:pt x="184" y="86"/>
                    </a:lnTo>
                    <a:lnTo>
                      <a:pt x="192" y="82"/>
                    </a:lnTo>
                    <a:lnTo>
                      <a:pt x="198" y="80"/>
                    </a:lnTo>
                    <a:lnTo>
                      <a:pt x="206" y="78"/>
                    </a:lnTo>
                    <a:lnTo>
                      <a:pt x="206" y="78"/>
                    </a:lnTo>
                    <a:lnTo>
                      <a:pt x="212" y="62"/>
                    </a:lnTo>
                    <a:lnTo>
                      <a:pt x="218" y="56"/>
                    </a:lnTo>
                    <a:lnTo>
                      <a:pt x="224" y="52"/>
                    </a:lnTo>
                    <a:lnTo>
                      <a:pt x="230" y="46"/>
                    </a:lnTo>
                    <a:lnTo>
                      <a:pt x="230" y="46"/>
                    </a:lnTo>
                    <a:lnTo>
                      <a:pt x="238" y="32"/>
                    </a:lnTo>
                    <a:lnTo>
                      <a:pt x="242" y="26"/>
                    </a:lnTo>
                    <a:lnTo>
                      <a:pt x="246" y="24"/>
                    </a:lnTo>
                    <a:lnTo>
                      <a:pt x="246" y="24"/>
                    </a:lnTo>
                    <a:lnTo>
                      <a:pt x="256" y="18"/>
                    </a:lnTo>
                    <a:lnTo>
                      <a:pt x="260" y="14"/>
                    </a:lnTo>
                    <a:lnTo>
                      <a:pt x="262" y="10"/>
                    </a:lnTo>
                    <a:lnTo>
                      <a:pt x="268" y="8"/>
                    </a:lnTo>
                    <a:lnTo>
                      <a:pt x="268" y="8"/>
                    </a:lnTo>
                    <a:lnTo>
                      <a:pt x="274" y="8"/>
                    </a:lnTo>
                    <a:lnTo>
                      <a:pt x="276" y="6"/>
                    </a:lnTo>
                    <a:lnTo>
                      <a:pt x="278" y="4"/>
                    </a:lnTo>
                    <a:lnTo>
                      <a:pt x="282" y="2"/>
                    </a:lnTo>
                    <a:lnTo>
                      <a:pt x="282" y="2"/>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South Korea"/>
              <p:cNvSpPr>
                <a:spLocks/>
              </p:cNvSpPr>
              <p:nvPr/>
            </p:nvSpPr>
            <p:spPr bwMode="auto">
              <a:xfrm>
                <a:off x="9492288" y="2225405"/>
                <a:ext cx="127581" cy="163881"/>
              </a:xfrm>
              <a:custGeom>
                <a:avLst/>
                <a:gdLst/>
                <a:ahLst/>
                <a:cxnLst>
                  <a:cxn ang="0">
                    <a:pos x="0" y="26"/>
                  </a:cxn>
                  <a:cxn ang="0">
                    <a:pos x="6" y="28"/>
                  </a:cxn>
                  <a:cxn ang="0">
                    <a:pos x="10" y="32"/>
                  </a:cxn>
                  <a:cxn ang="0">
                    <a:pos x="8" y="34"/>
                  </a:cxn>
                  <a:cxn ang="0">
                    <a:pos x="8" y="36"/>
                  </a:cxn>
                  <a:cxn ang="0">
                    <a:pos x="16" y="42"/>
                  </a:cxn>
                  <a:cxn ang="0">
                    <a:pos x="12" y="40"/>
                  </a:cxn>
                  <a:cxn ang="0">
                    <a:pos x="8" y="40"/>
                  </a:cxn>
                  <a:cxn ang="0">
                    <a:pos x="4" y="40"/>
                  </a:cxn>
                  <a:cxn ang="0">
                    <a:pos x="2" y="44"/>
                  </a:cxn>
                  <a:cxn ang="0">
                    <a:pos x="2" y="48"/>
                  </a:cxn>
                  <a:cxn ang="0">
                    <a:pos x="8" y="48"/>
                  </a:cxn>
                  <a:cxn ang="0">
                    <a:pos x="14" y="56"/>
                  </a:cxn>
                  <a:cxn ang="0">
                    <a:pos x="16" y="60"/>
                  </a:cxn>
                  <a:cxn ang="0">
                    <a:pos x="18" y="64"/>
                  </a:cxn>
                  <a:cxn ang="0">
                    <a:pos x="20" y="64"/>
                  </a:cxn>
                  <a:cxn ang="0">
                    <a:pos x="22" y="68"/>
                  </a:cxn>
                  <a:cxn ang="0">
                    <a:pos x="24" y="70"/>
                  </a:cxn>
                  <a:cxn ang="0">
                    <a:pos x="20" y="76"/>
                  </a:cxn>
                  <a:cxn ang="0">
                    <a:pos x="24" y="76"/>
                  </a:cxn>
                  <a:cxn ang="0">
                    <a:pos x="20" y="80"/>
                  </a:cxn>
                  <a:cxn ang="0">
                    <a:pos x="20" y="90"/>
                  </a:cxn>
                  <a:cxn ang="0">
                    <a:pos x="24" y="92"/>
                  </a:cxn>
                  <a:cxn ang="0">
                    <a:pos x="24" y="98"/>
                  </a:cxn>
                  <a:cxn ang="0">
                    <a:pos x="26" y="98"/>
                  </a:cxn>
                  <a:cxn ang="0">
                    <a:pos x="28" y="100"/>
                  </a:cxn>
                  <a:cxn ang="0">
                    <a:pos x="28" y="106"/>
                  </a:cxn>
                  <a:cxn ang="0">
                    <a:pos x="30" y="108"/>
                  </a:cxn>
                  <a:cxn ang="0">
                    <a:pos x="36" y="104"/>
                  </a:cxn>
                  <a:cxn ang="0">
                    <a:pos x="42" y="102"/>
                  </a:cxn>
                  <a:cxn ang="0">
                    <a:pos x="48" y="98"/>
                  </a:cxn>
                  <a:cxn ang="0">
                    <a:pos x="46" y="100"/>
                  </a:cxn>
                  <a:cxn ang="0">
                    <a:pos x="52" y="100"/>
                  </a:cxn>
                  <a:cxn ang="0">
                    <a:pos x="52" y="98"/>
                  </a:cxn>
                  <a:cxn ang="0">
                    <a:pos x="52" y="98"/>
                  </a:cxn>
                  <a:cxn ang="0">
                    <a:pos x="58" y="98"/>
                  </a:cxn>
                  <a:cxn ang="0">
                    <a:pos x="58" y="94"/>
                  </a:cxn>
                  <a:cxn ang="0">
                    <a:pos x="62" y="92"/>
                  </a:cxn>
                  <a:cxn ang="0">
                    <a:pos x="64" y="96"/>
                  </a:cxn>
                  <a:cxn ang="0">
                    <a:pos x="68" y="96"/>
                  </a:cxn>
                  <a:cxn ang="0">
                    <a:pos x="70" y="98"/>
                  </a:cxn>
                  <a:cxn ang="0">
                    <a:pos x="74" y="96"/>
                  </a:cxn>
                  <a:cxn ang="0">
                    <a:pos x="68" y="96"/>
                  </a:cxn>
                  <a:cxn ang="0">
                    <a:pos x="68" y="94"/>
                  </a:cxn>
                  <a:cxn ang="0">
                    <a:pos x="70" y="92"/>
                  </a:cxn>
                  <a:cxn ang="0">
                    <a:pos x="78" y="90"/>
                  </a:cxn>
                  <a:cxn ang="0">
                    <a:pos x="82" y="82"/>
                  </a:cxn>
                  <a:cxn ang="0">
                    <a:pos x="84" y="76"/>
                  </a:cxn>
                  <a:cxn ang="0">
                    <a:pos x="80" y="64"/>
                  </a:cxn>
                  <a:cxn ang="0">
                    <a:pos x="78" y="62"/>
                  </a:cxn>
                  <a:cxn ang="0">
                    <a:pos x="76" y="58"/>
                  </a:cxn>
                  <a:cxn ang="0">
                    <a:pos x="74" y="46"/>
                  </a:cxn>
                  <a:cxn ang="0">
                    <a:pos x="56" y="20"/>
                  </a:cxn>
                  <a:cxn ang="0">
                    <a:pos x="44" y="12"/>
                  </a:cxn>
                  <a:cxn ang="0">
                    <a:pos x="28" y="2"/>
                  </a:cxn>
                  <a:cxn ang="0">
                    <a:pos x="20" y="6"/>
                  </a:cxn>
                  <a:cxn ang="0">
                    <a:pos x="8" y="12"/>
                  </a:cxn>
                </a:cxnLst>
                <a:rect l="0" t="0" r="r" b="b"/>
                <a:pathLst>
                  <a:path w="84" h="108">
                    <a:moveTo>
                      <a:pt x="0" y="22"/>
                    </a:moveTo>
                    <a:lnTo>
                      <a:pt x="0" y="22"/>
                    </a:lnTo>
                    <a:lnTo>
                      <a:pt x="0" y="26"/>
                    </a:lnTo>
                    <a:lnTo>
                      <a:pt x="4" y="28"/>
                    </a:lnTo>
                    <a:lnTo>
                      <a:pt x="4" y="28"/>
                    </a:lnTo>
                    <a:lnTo>
                      <a:pt x="6" y="28"/>
                    </a:lnTo>
                    <a:lnTo>
                      <a:pt x="6" y="30"/>
                    </a:lnTo>
                    <a:lnTo>
                      <a:pt x="8" y="32"/>
                    </a:lnTo>
                    <a:lnTo>
                      <a:pt x="10" y="32"/>
                    </a:lnTo>
                    <a:lnTo>
                      <a:pt x="10" y="32"/>
                    </a:lnTo>
                    <a:lnTo>
                      <a:pt x="10" y="32"/>
                    </a:lnTo>
                    <a:lnTo>
                      <a:pt x="8" y="34"/>
                    </a:lnTo>
                    <a:lnTo>
                      <a:pt x="6" y="36"/>
                    </a:lnTo>
                    <a:lnTo>
                      <a:pt x="8" y="36"/>
                    </a:lnTo>
                    <a:lnTo>
                      <a:pt x="8" y="36"/>
                    </a:lnTo>
                    <a:lnTo>
                      <a:pt x="16" y="40"/>
                    </a:lnTo>
                    <a:lnTo>
                      <a:pt x="18" y="40"/>
                    </a:lnTo>
                    <a:lnTo>
                      <a:pt x="16" y="42"/>
                    </a:lnTo>
                    <a:lnTo>
                      <a:pt x="16" y="42"/>
                    </a:lnTo>
                    <a:lnTo>
                      <a:pt x="14" y="42"/>
                    </a:lnTo>
                    <a:lnTo>
                      <a:pt x="12" y="40"/>
                    </a:lnTo>
                    <a:lnTo>
                      <a:pt x="10" y="40"/>
                    </a:lnTo>
                    <a:lnTo>
                      <a:pt x="8" y="40"/>
                    </a:lnTo>
                    <a:lnTo>
                      <a:pt x="8" y="40"/>
                    </a:lnTo>
                    <a:lnTo>
                      <a:pt x="8" y="40"/>
                    </a:lnTo>
                    <a:lnTo>
                      <a:pt x="4" y="40"/>
                    </a:lnTo>
                    <a:lnTo>
                      <a:pt x="4" y="40"/>
                    </a:lnTo>
                    <a:lnTo>
                      <a:pt x="2" y="42"/>
                    </a:lnTo>
                    <a:lnTo>
                      <a:pt x="2" y="42"/>
                    </a:lnTo>
                    <a:lnTo>
                      <a:pt x="2" y="44"/>
                    </a:lnTo>
                    <a:lnTo>
                      <a:pt x="2" y="46"/>
                    </a:lnTo>
                    <a:lnTo>
                      <a:pt x="2" y="46"/>
                    </a:lnTo>
                    <a:lnTo>
                      <a:pt x="2" y="48"/>
                    </a:lnTo>
                    <a:lnTo>
                      <a:pt x="2" y="48"/>
                    </a:lnTo>
                    <a:lnTo>
                      <a:pt x="6" y="48"/>
                    </a:lnTo>
                    <a:lnTo>
                      <a:pt x="8" y="48"/>
                    </a:lnTo>
                    <a:lnTo>
                      <a:pt x="8" y="48"/>
                    </a:lnTo>
                    <a:lnTo>
                      <a:pt x="14" y="56"/>
                    </a:lnTo>
                    <a:lnTo>
                      <a:pt x="14" y="56"/>
                    </a:lnTo>
                    <a:lnTo>
                      <a:pt x="14" y="58"/>
                    </a:lnTo>
                    <a:lnTo>
                      <a:pt x="16" y="60"/>
                    </a:lnTo>
                    <a:lnTo>
                      <a:pt x="16" y="60"/>
                    </a:lnTo>
                    <a:lnTo>
                      <a:pt x="18" y="60"/>
                    </a:lnTo>
                    <a:lnTo>
                      <a:pt x="18" y="62"/>
                    </a:lnTo>
                    <a:lnTo>
                      <a:pt x="18" y="64"/>
                    </a:lnTo>
                    <a:lnTo>
                      <a:pt x="20" y="64"/>
                    </a:lnTo>
                    <a:lnTo>
                      <a:pt x="20" y="64"/>
                    </a:lnTo>
                    <a:lnTo>
                      <a:pt x="20" y="64"/>
                    </a:lnTo>
                    <a:lnTo>
                      <a:pt x="20" y="64"/>
                    </a:lnTo>
                    <a:lnTo>
                      <a:pt x="18" y="66"/>
                    </a:lnTo>
                    <a:lnTo>
                      <a:pt x="22" y="68"/>
                    </a:lnTo>
                    <a:lnTo>
                      <a:pt x="22" y="68"/>
                    </a:lnTo>
                    <a:lnTo>
                      <a:pt x="24" y="70"/>
                    </a:lnTo>
                    <a:lnTo>
                      <a:pt x="24" y="70"/>
                    </a:lnTo>
                    <a:lnTo>
                      <a:pt x="20" y="72"/>
                    </a:lnTo>
                    <a:lnTo>
                      <a:pt x="20" y="72"/>
                    </a:lnTo>
                    <a:lnTo>
                      <a:pt x="20" y="76"/>
                    </a:lnTo>
                    <a:lnTo>
                      <a:pt x="22" y="76"/>
                    </a:lnTo>
                    <a:lnTo>
                      <a:pt x="22" y="76"/>
                    </a:lnTo>
                    <a:lnTo>
                      <a:pt x="24" y="76"/>
                    </a:lnTo>
                    <a:lnTo>
                      <a:pt x="22" y="76"/>
                    </a:lnTo>
                    <a:lnTo>
                      <a:pt x="22" y="78"/>
                    </a:lnTo>
                    <a:lnTo>
                      <a:pt x="20" y="80"/>
                    </a:lnTo>
                    <a:lnTo>
                      <a:pt x="20" y="80"/>
                    </a:lnTo>
                    <a:lnTo>
                      <a:pt x="20" y="86"/>
                    </a:lnTo>
                    <a:lnTo>
                      <a:pt x="20" y="90"/>
                    </a:lnTo>
                    <a:lnTo>
                      <a:pt x="22" y="92"/>
                    </a:lnTo>
                    <a:lnTo>
                      <a:pt x="22" y="92"/>
                    </a:lnTo>
                    <a:lnTo>
                      <a:pt x="24" y="92"/>
                    </a:lnTo>
                    <a:lnTo>
                      <a:pt x="24" y="94"/>
                    </a:lnTo>
                    <a:lnTo>
                      <a:pt x="24" y="94"/>
                    </a:lnTo>
                    <a:lnTo>
                      <a:pt x="24" y="98"/>
                    </a:lnTo>
                    <a:lnTo>
                      <a:pt x="26" y="98"/>
                    </a:lnTo>
                    <a:lnTo>
                      <a:pt x="26" y="98"/>
                    </a:lnTo>
                    <a:lnTo>
                      <a:pt x="26" y="98"/>
                    </a:lnTo>
                    <a:lnTo>
                      <a:pt x="26" y="100"/>
                    </a:lnTo>
                    <a:lnTo>
                      <a:pt x="28" y="100"/>
                    </a:lnTo>
                    <a:lnTo>
                      <a:pt x="28" y="100"/>
                    </a:lnTo>
                    <a:lnTo>
                      <a:pt x="28" y="100"/>
                    </a:lnTo>
                    <a:lnTo>
                      <a:pt x="28" y="102"/>
                    </a:lnTo>
                    <a:lnTo>
                      <a:pt x="28" y="106"/>
                    </a:lnTo>
                    <a:lnTo>
                      <a:pt x="28" y="106"/>
                    </a:lnTo>
                    <a:lnTo>
                      <a:pt x="28" y="108"/>
                    </a:lnTo>
                    <a:lnTo>
                      <a:pt x="30" y="108"/>
                    </a:lnTo>
                    <a:lnTo>
                      <a:pt x="32" y="108"/>
                    </a:lnTo>
                    <a:lnTo>
                      <a:pt x="36" y="104"/>
                    </a:lnTo>
                    <a:lnTo>
                      <a:pt x="36" y="104"/>
                    </a:lnTo>
                    <a:lnTo>
                      <a:pt x="38" y="104"/>
                    </a:lnTo>
                    <a:lnTo>
                      <a:pt x="40" y="104"/>
                    </a:lnTo>
                    <a:lnTo>
                      <a:pt x="42" y="102"/>
                    </a:lnTo>
                    <a:lnTo>
                      <a:pt x="42" y="102"/>
                    </a:lnTo>
                    <a:lnTo>
                      <a:pt x="46" y="98"/>
                    </a:lnTo>
                    <a:lnTo>
                      <a:pt x="48" y="98"/>
                    </a:lnTo>
                    <a:lnTo>
                      <a:pt x="48" y="98"/>
                    </a:lnTo>
                    <a:lnTo>
                      <a:pt x="48" y="100"/>
                    </a:lnTo>
                    <a:lnTo>
                      <a:pt x="46" y="100"/>
                    </a:lnTo>
                    <a:lnTo>
                      <a:pt x="48" y="100"/>
                    </a:lnTo>
                    <a:lnTo>
                      <a:pt x="48" y="100"/>
                    </a:lnTo>
                    <a:lnTo>
                      <a:pt x="52" y="100"/>
                    </a:lnTo>
                    <a:lnTo>
                      <a:pt x="52" y="98"/>
                    </a:lnTo>
                    <a:lnTo>
                      <a:pt x="52" y="98"/>
                    </a:lnTo>
                    <a:lnTo>
                      <a:pt x="52" y="98"/>
                    </a:lnTo>
                    <a:lnTo>
                      <a:pt x="52" y="96"/>
                    </a:lnTo>
                    <a:lnTo>
                      <a:pt x="52" y="98"/>
                    </a:lnTo>
                    <a:lnTo>
                      <a:pt x="52" y="98"/>
                    </a:lnTo>
                    <a:lnTo>
                      <a:pt x="56" y="98"/>
                    </a:lnTo>
                    <a:lnTo>
                      <a:pt x="58" y="98"/>
                    </a:lnTo>
                    <a:lnTo>
                      <a:pt x="58" y="98"/>
                    </a:lnTo>
                    <a:lnTo>
                      <a:pt x="58" y="98"/>
                    </a:lnTo>
                    <a:lnTo>
                      <a:pt x="56" y="96"/>
                    </a:lnTo>
                    <a:lnTo>
                      <a:pt x="58" y="94"/>
                    </a:lnTo>
                    <a:lnTo>
                      <a:pt x="58" y="94"/>
                    </a:lnTo>
                    <a:lnTo>
                      <a:pt x="62" y="92"/>
                    </a:lnTo>
                    <a:lnTo>
                      <a:pt x="62" y="92"/>
                    </a:lnTo>
                    <a:lnTo>
                      <a:pt x="62" y="94"/>
                    </a:lnTo>
                    <a:lnTo>
                      <a:pt x="62" y="94"/>
                    </a:lnTo>
                    <a:lnTo>
                      <a:pt x="64" y="96"/>
                    </a:lnTo>
                    <a:lnTo>
                      <a:pt x="66" y="96"/>
                    </a:lnTo>
                    <a:lnTo>
                      <a:pt x="66" y="96"/>
                    </a:lnTo>
                    <a:lnTo>
                      <a:pt x="68" y="96"/>
                    </a:lnTo>
                    <a:lnTo>
                      <a:pt x="68" y="98"/>
                    </a:lnTo>
                    <a:lnTo>
                      <a:pt x="68" y="98"/>
                    </a:lnTo>
                    <a:lnTo>
                      <a:pt x="70" y="98"/>
                    </a:lnTo>
                    <a:lnTo>
                      <a:pt x="70" y="98"/>
                    </a:lnTo>
                    <a:lnTo>
                      <a:pt x="74" y="96"/>
                    </a:lnTo>
                    <a:lnTo>
                      <a:pt x="74" y="96"/>
                    </a:lnTo>
                    <a:lnTo>
                      <a:pt x="72" y="96"/>
                    </a:lnTo>
                    <a:lnTo>
                      <a:pt x="72" y="96"/>
                    </a:lnTo>
                    <a:lnTo>
                      <a:pt x="68" y="96"/>
                    </a:lnTo>
                    <a:lnTo>
                      <a:pt x="66" y="94"/>
                    </a:lnTo>
                    <a:lnTo>
                      <a:pt x="66" y="94"/>
                    </a:lnTo>
                    <a:lnTo>
                      <a:pt x="68" y="94"/>
                    </a:lnTo>
                    <a:lnTo>
                      <a:pt x="70" y="94"/>
                    </a:lnTo>
                    <a:lnTo>
                      <a:pt x="70" y="92"/>
                    </a:lnTo>
                    <a:lnTo>
                      <a:pt x="70" y="92"/>
                    </a:lnTo>
                    <a:lnTo>
                      <a:pt x="72" y="94"/>
                    </a:lnTo>
                    <a:lnTo>
                      <a:pt x="74" y="92"/>
                    </a:lnTo>
                    <a:lnTo>
                      <a:pt x="78" y="90"/>
                    </a:lnTo>
                    <a:lnTo>
                      <a:pt x="80" y="86"/>
                    </a:lnTo>
                    <a:lnTo>
                      <a:pt x="80" y="86"/>
                    </a:lnTo>
                    <a:lnTo>
                      <a:pt x="82" y="82"/>
                    </a:lnTo>
                    <a:lnTo>
                      <a:pt x="82" y="82"/>
                    </a:lnTo>
                    <a:lnTo>
                      <a:pt x="84" y="76"/>
                    </a:lnTo>
                    <a:lnTo>
                      <a:pt x="84" y="76"/>
                    </a:lnTo>
                    <a:lnTo>
                      <a:pt x="82" y="64"/>
                    </a:lnTo>
                    <a:lnTo>
                      <a:pt x="82" y="64"/>
                    </a:lnTo>
                    <a:lnTo>
                      <a:pt x="80" y="64"/>
                    </a:lnTo>
                    <a:lnTo>
                      <a:pt x="80" y="64"/>
                    </a:lnTo>
                    <a:lnTo>
                      <a:pt x="80" y="64"/>
                    </a:lnTo>
                    <a:lnTo>
                      <a:pt x="78" y="62"/>
                    </a:lnTo>
                    <a:lnTo>
                      <a:pt x="76" y="62"/>
                    </a:lnTo>
                    <a:lnTo>
                      <a:pt x="76" y="58"/>
                    </a:lnTo>
                    <a:lnTo>
                      <a:pt x="76" y="58"/>
                    </a:lnTo>
                    <a:lnTo>
                      <a:pt x="76" y="52"/>
                    </a:lnTo>
                    <a:lnTo>
                      <a:pt x="74" y="46"/>
                    </a:lnTo>
                    <a:lnTo>
                      <a:pt x="74" y="46"/>
                    </a:lnTo>
                    <a:lnTo>
                      <a:pt x="66" y="32"/>
                    </a:lnTo>
                    <a:lnTo>
                      <a:pt x="56" y="20"/>
                    </a:lnTo>
                    <a:lnTo>
                      <a:pt x="56" y="20"/>
                    </a:lnTo>
                    <a:lnTo>
                      <a:pt x="50" y="16"/>
                    </a:lnTo>
                    <a:lnTo>
                      <a:pt x="44" y="12"/>
                    </a:lnTo>
                    <a:lnTo>
                      <a:pt x="44" y="12"/>
                    </a:lnTo>
                    <a:lnTo>
                      <a:pt x="30" y="0"/>
                    </a:lnTo>
                    <a:lnTo>
                      <a:pt x="30" y="0"/>
                    </a:lnTo>
                    <a:lnTo>
                      <a:pt x="28" y="2"/>
                    </a:lnTo>
                    <a:lnTo>
                      <a:pt x="28" y="4"/>
                    </a:lnTo>
                    <a:lnTo>
                      <a:pt x="26" y="6"/>
                    </a:lnTo>
                    <a:lnTo>
                      <a:pt x="20" y="6"/>
                    </a:lnTo>
                    <a:lnTo>
                      <a:pt x="20" y="6"/>
                    </a:lnTo>
                    <a:lnTo>
                      <a:pt x="12" y="8"/>
                    </a:lnTo>
                    <a:lnTo>
                      <a:pt x="8" y="12"/>
                    </a:lnTo>
                    <a:lnTo>
                      <a:pt x="0" y="22"/>
                    </a:lnTo>
                    <a:lnTo>
                      <a:pt x="0" y="22"/>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Taiwan"/>
              <p:cNvSpPr>
                <a:spLocks/>
              </p:cNvSpPr>
              <p:nvPr/>
            </p:nvSpPr>
            <p:spPr bwMode="auto">
              <a:xfrm>
                <a:off x="9510514" y="2720083"/>
                <a:ext cx="48602" cy="118359"/>
              </a:xfrm>
              <a:custGeom>
                <a:avLst/>
                <a:gdLst/>
                <a:ahLst/>
                <a:cxnLst>
                  <a:cxn ang="0">
                    <a:pos x="14" y="4"/>
                  </a:cxn>
                  <a:cxn ang="0">
                    <a:pos x="14" y="4"/>
                  </a:cxn>
                  <a:cxn ang="0">
                    <a:pos x="12" y="4"/>
                  </a:cxn>
                  <a:cxn ang="0">
                    <a:pos x="10" y="6"/>
                  </a:cxn>
                  <a:cxn ang="0">
                    <a:pos x="10" y="8"/>
                  </a:cxn>
                  <a:cxn ang="0">
                    <a:pos x="10" y="10"/>
                  </a:cxn>
                  <a:cxn ang="0">
                    <a:pos x="10" y="10"/>
                  </a:cxn>
                  <a:cxn ang="0">
                    <a:pos x="6" y="20"/>
                  </a:cxn>
                  <a:cxn ang="0">
                    <a:pos x="2" y="30"/>
                  </a:cxn>
                  <a:cxn ang="0">
                    <a:pos x="2" y="30"/>
                  </a:cxn>
                  <a:cxn ang="0">
                    <a:pos x="0" y="36"/>
                  </a:cxn>
                  <a:cxn ang="0">
                    <a:pos x="0" y="42"/>
                  </a:cxn>
                  <a:cxn ang="0">
                    <a:pos x="2" y="44"/>
                  </a:cxn>
                  <a:cxn ang="0">
                    <a:pos x="4" y="50"/>
                  </a:cxn>
                  <a:cxn ang="0">
                    <a:pos x="4" y="50"/>
                  </a:cxn>
                  <a:cxn ang="0">
                    <a:pos x="4" y="54"/>
                  </a:cxn>
                  <a:cxn ang="0">
                    <a:pos x="6" y="56"/>
                  </a:cxn>
                  <a:cxn ang="0">
                    <a:pos x="10" y="58"/>
                  </a:cxn>
                  <a:cxn ang="0">
                    <a:pos x="10" y="58"/>
                  </a:cxn>
                  <a:cxn ang="0">
                    <a:pos x="14" y="66"/>
                  </a:cxn>
                  <a:cxn ang="0">
                    <a:pos x="20" y="68"/>
                  </a:cxn>
                  <a:cxn ang="0">
                    <a:pos x="20" y="68"/>
                  </a:cxn>
                  <a:cxn ang="0">
                    <a:pos x="24" y="72"/>
                  </a:cxn>
                  <a:cxn ang="0">
                    <a:pos x="24" y="76"/>
                  </a:cxn>
                  <a:cxn ang="0">
                    <a:pos x="24" y="76"/>
                  </a:cxn>
                  <a:cxn ang="0">
                    <a:pos x="24" y="76"/>
                  </a:cxn>
                  <a:cxn ang="0">
                    <a:pos x="26" y="78"/>
                  </a:cxn>
                  <a:cxn ang="0">
                    <a:pos x="30" y="76"/>
                  </a:cxn>
                  <a:cxn ang="0">
                    <a:pos x="30" y="76"/>
                  </a:cxn>
                  <a:cxn ang="0">
                    <a:pos x="28" y="70"/>
                  </a:cxn>
                  <a:cxn ang="0">
                    <a:pos x="28" y="64"/>
                  </a:cxn>
                  <a:cxn ang="0">
                    <a:pos x="28" y="64"/>
                  </a:cxn>
                  <a:cxn ang="0">
                    <a:pos x="30" y="62"/>
                  </a:cxn>
                  <a:cxn ang="0">
                    <a:pos x="32" y="60"/>
                  </a:cxn>
                  <a:cxn ang="0">
                    <a:pos x="32" y="56"/>
                  </a:cxn>
                  <a:cxn ang="0">
                    <a:pos x="32" y="52"/>
                  </a:cxn>
                  <a:cxn ang="0">
                    <a:pos x="32" y="52"/>
                  </a:cxn>
                  <a:cxn ang="0">
                    <a:pos x="32" y="42"/>
                  </a:cxn>
                  <a:cxn ang="0">
                    <a:pos x="32" y="38"/>
                  </a:cxn>
                  <a:cxn ang="0">
                    <a:pos x="30" y="34"/>
                  </a:cxn>
                  <a:cxn ang="0">
                    <a:pos x="30" y="34"/>
                  </a:cxn>
                  <a:cxn ang="0">
                    <a:pos x="28" y="30"/>
                  </a:cxn>
                  <a:cxn ang="0">
                    <a:pos x="28" y="28"/>
                  </a:cxn>
                  <a:cxn ang="0">
                    <a:pos x="28" y="28"/>
                  </a:cxn>
                  <a:cxn ang="0">
                    <a:pos x="30" y="22"/>
                  </a:cxn>
                  <a:cxn ang="0">
                    <a:pos x="28" y="14"/>
                  </a:cxn>
                  <a:cxn ang="0">
                    <a:pos x="28" y="14"/>
                  </a:cxn>
                  <a:cxn ang="0">
                    <a:pos x="28" y="10"/>
                  </a:cxn>
                  <a:cxn ang="0">
                    <a:pos x="28" y="8"/>
                  </a:cxn>
                  <a:cxn ang="0">
                    <a:pos x="28" y="8"/>
                  </a:cxn>
                  <a:cxn ang="0">
                    <a:pos x="28" y="8"/>
                  </a:cxn>
                  <a:cxn ang="0">
                    <a:pos x="30" y="6"/>
                  </a:cxn>
                  <a:cxn ang="0">
                    <a:pos x="30" y="4"/>
                  </a:cxn>
                  <a:cxn ang="0">
                    <a:pos x="22" y="0"/>
                  </a:cxn>
                  <a:cxn ang="0">
                    <a:pos x="22" y="0"/>
                  </a:cxn>
                  <a:cxn ang="0">
                    <a:pos x="20" y="0"/>
                  </a:cxn>
                  <a:cxn ang="0">
                    <a:pos x="18" y="2"/>
                  </a:cxn>
                  <a:cxn ang="0">
                    <a:pos x="16" y="2"/>
                  </a:cxn>
                  <a:cxn ang="0">
                    <a:pos x="14" y="4"/>
                  </a:cxn>
                  <a:cxn ang="0">
                    <a:pos x="14" y="4"/>
                  </a:cxn>
                </a:cxnLst>
                <a:rect l="0" t="0" r="r" b="b"/>
                <a:pathLst>
                  <a:path w="32" h="78">
                    <a:moveTo>
                      <a:pt x="14" y="4"/>
                    </a:moveTo>
                    <a:lnTo>
                      <a:pt x="14" y="4"/>
                    </a:lnTo>
                    <a:lnTo>
                      <a:pt x="12" y="4"/>
                    </a:lnTo>
                    <a:lnTo>
                      <a:pt x="10" y="6"/>
                    </a:lnTo>
                    <a:lnTo>
                      <a:pt x="10" y="8"/>
                    </a:lnTo>
                    <a:lnTo>
                      <a:pt x="10" y="10"/>
                    </a:lnTo>
                    <a:lnTo>
                      <a:pt x="10" y="10"/>
                    </a:lnTo>
                    <a:lnTo>
                      <a:pt x="6" y="20"/>
                    </a:lnTo>
                    <a:lnTo>
                      <a:pt x="2" y="30"/>
                    </a:lnTo>
                    <a:lnTo>
                      <a:pt x="2" y="30"/>
                    </a:lnTo>
                    <a:lnTo>
                      <a:pt x="0" y="36"/>
                    </a:lnTo>
                    <a:lnTo>
                      <a:pt x="0" y="42"/>
                    </a:lnTo>
                    <a:lnTo>
                      <a:pt x="2" y="44"/>
                    </a:lnTo>
                    <a:lnTo>
                      <a:pt x="4" y="50"/>
                    </a:lnTo>
                    <a:lnTo>
                      <a:pt x="4" y="50"/>
                    </a:lnTo>
                    <a:lnTo>
                      <a:pt x="4" y="54"/>
                    </a:lnTo>
                    <a:lnTo>
                      <a:pt x="6" y="56"/>
                    </a:lnTo>
                    <a:lnTo>
                      <a:pt x="10" y="58"/>
                    </a:lnTo>
                    <a:lnTo>
                      <a:pt x="10" y="58"/>
                    </a:lnTo>
                    <a:lnTo>
                      <a:pt x="14" y="66"/>
                    </a:lnTo>
                    <a:lnTo>
                      <a:pt x="20" y="68"/>
                    </a:lnTo>
                    <a:lnTo>
                      <a:pt x="20" y="68"/>
                    </a:lnTo>
                    <a:lnTo>
                      <a:pt x="24" y="72"/>
                    </a:lnTo>
                    <a:lnTo>
                      <a:pt x="24" y="76"/>
                    </a:lnTo>
                    <a:lnTo>
                      <a:pt x="24" y="76"/>
                    </a:lnTo>
                    <a:lnTo>
                      <a:pt x="24" y="76"/>
                    </a:lnTo>
                    <a:lnTo>
                      <a:pt x="26" y="78"/>
                    </a:lnTo>
                    <a:lnTo>
                      <a:pt x="30" y="76"/>
                    </a:lnTo>
                    <a:lnTo>
                      <a:pt x="30" y="76"/>
                    </a:lnTo>
                    <a:lnTo>
                      <a:pt x="28" y="70"/>
                    </a:lnTo>
                    <a:lnTo>
                      <a:pt x="28" y="64"/>
                    </a:lnTo>
                    <a:lnTo>
                      <a:pt x="28" y="64"/>
                    </a:lnTo>
                    <a:lnTo>
                      <a:pt x="30" y="62"/>
                    </a:lnTo>
                    <a:lnTo>
                      <a:pt x="32" y="60"/>
                    </a:lnTo>
                    <a:lnTo>
                      <a:pt x="32" y="56"/>
                    </a:lnTo>
                    <a:lnTo>
                      <a:pt x="32" y="52"/>
                    </a:lnTo>
                    <a:lnTo>
                      <a:pt x="32" y="52"/>
                    </a:lnTo>
                    <a:lnTo>
                      <a:pt x="32" y="42"/>
                    </a:lnTo>
                    <a:lnTo>
                      <a:pt x="32" y="38"/>
                    </a:lnTo>
                    <a:lnTo>
                      <a:pt x="30" y="34"/>
                    </a:lnTo>
                    <a:lnTo>
                      <a:pt x="30" y="34"/>
                    </a:lnTo>
                    <a:lnTo>
                      <a:pt x="28" y="30"/>
                    </a:lnTo>
                    <a:lnTo>
                      <a:pt x="28" y="28"/>
                    </a:lnTo>
                    <a:lnTo>
                      <a:pt x="28" y="28"/>
                    </a:lnTo>
                    <a:lnTo>
                      <a:pt x="30" y="22"/>
                    </a:lnTo>
                    <a:lnTo>
                      <a:pt x="28" y="14"/>
                    </a:lnTo>
                    <a:lnTo>
                      <a:pt x="28" y="14"/>
                    </a:lnTo>
                    <a:lnTo>
                      <a:pt x="28" y="10"/>
                    </a:lnTo>
                    <a:lnTo>
                      <a:pt x="28" y="8"/>
                    </a:lnTo>
                    <a:lnTo>
                      <a:pt x="28" y="8"/>
                    </a:lnTo>
                    <a:lnTo>
                      <a:pt x="28" y="8"/>
                    </a:lnTo>
                    <a:lnTo>
                      <a:pt x="30" y="6"/>
                    </a:lnTo>
                    <a:lnTo>
                      <a:pt x="30" y="4"/>
                    </a:lnTo>
                    <a:lnTo>
                      <a:pt x="22" y="0"/>
                    </a:lnTo>
                    <a:lnTo>
                      <a:pt x="22" y="0"/>
                    </a:lnTo>
                    <a:lnTo>
                      <a:pt x="20" y="0"/>
                    </a:lnTo>
                    <a:lnTo>
                      <a:pt x="18" y="2"/>
                    </a:lnTo>
                    <a:lnTo>
                      <a:pt x="16" y="2"/>
                    </a:lnTo>
                    <a:lnTo>
                      <a:pt x="14" y="4"/>
                    </a:lnTo>
                    <a:lnTo>
                      <a:pt x="14" y="4"/>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53" name="2"/>
            <p:cNvSpPr/>
            <p:nvPr/>
          </p:nvSpPr>
          <p:spPr>
            <a:xfrm>
              <a:off x="6091136" y="5909878"/>
              <a:ext cx="1639320" cy="68777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b="1" dirty="0">
                  <a:solidFill>
                    <a:schemeClr val="tx1"/>
                  </a:solidFill>
                </a:rPr>
                <a:t>Coming </a:t>
              </a:r>
              <a:r>
                <a:rPr lang="en-US" b="1" dirty="0" smtClean="0">
                  <a:solidFill>
                    <a:schemeClr val="tx1"/>
                  </a:solidFill>
                </a:rPr>
                <a:t>this year</a:t>
              </a:r>
              <a:endParaRPr lang="en-US" b="1" dirty="0">
                <a:solidFill>
                  <a:schemeClr val="tx1"/>
                </a:solidFill>
              </a:endParaRPr>
            </a:p>
          </p:txBody>
        </p:sp>
      </p:grpSp>
      <p:grpSp>
        <p:nvGrpSpPr>
          <p:cNvPr id="15" name="Group 14"/>
          <p:cNvGrpSpPr/>
          <p:nvPr/>
        </p:nvGrpSpPr>
        <p:grpSpPr>
          <a:xfrm>
            <a:off x="1116368" y="879239"/>
            <a:ext cx="6770389" cy="4068999"/>
            <a:chOff x="1488102" y="1172318"/>
            <a:chExt cx="9024835" cy="5425332"/>
          </a:xfrm>
          <a:solidFill>
            <a:schemeClr val="accent6"/>
          </a:solidFill>
        </p:grpSpPr>
        <p:grpSp>
          <p:nvGrpSpPr>
            <p:cNvPr id="13" name="Available"/>
            <p:cNvGrpSpPr/>
            <p:nvPr/>
          </p:nvGrpSpPr>
          <p:grpSpPr>
            <a:xfrm>
              <a:off x="1488102" y="1172318"/>
              <a:ext cx="9024835" cy="4097024"/>
              <a:chOff x="1488102" y="1172318"/>
              <a:chExt cx="9024835" cy="4097024"/>
            </a:xfrm>
            <a:grpFill/>
          </p:grpSpPr>
          <p:sp>
            <p:nvSpPr>
              <p:cNvPr id="255" name="Australia"/>
              <p:cNvSpPr>
                <a:spLocks/>
              </p:cNvSpPr>
              <p:nvPr/>
            </p:nvSpPr>
            <p:spPr bwMode="auto">
              <a:xfrm>
                <a:off x="9212826" y="4097896"/>
                <a:ext cx="1300111" cy="1171446"/>
              </a:xfrm>
              <a:custGeom>
                <a:avLst/>
                <a:gdLst/>
                <a:ahLst/>
                <a:cxnLst/>
                <a:rect l="l" t="t" r="r" b="b"/>
                <a:pathLst>
                  <a:path w="1132417" h="1021292">
                    <a:moveTo>
                      <a:pt x="743479" y="936625"/>
                    </a:moveTo>
                    <a:lnTo>
                      <a:pt x="751416" y="936625"/>
                    </a:lnTo>
                    <a:lnTo>
                      <a:pt x="754062" y="939271"/>
                    </a:lnTo>
                    <a:lnTo>
                      <a:pt x="751416" y="941917"/>
                    </a:lnTo>
                    <a:lnTo>
                      <a:pt x="748771" y="944563"/>
                    </a:lnTo>
                    <a:lnTo>
                      <a:pt x="748771" y="949854"/>
                    </a:lnTo>
                    <a:lnTo>
                      <a:pt x="748771" y="952500"/>
                    </a:lnTo>
                    <a:lnTo>
                      <a:pt x="746125" y="952500"/>
                    </a:lnTo>
                    <a:lnTo>
                      <a:pt x="743479" y="955146"/>
                    </a:lnTo>
                    <a:lnTo>
                      <a:pt x="740833" y="960438"/>
                    </a:lnTo>
                    <a:lnTo>
                      <a:pt x="738187" y="965730"/>
                    </a:lnTo>
                    <a:lnTo>
                      <a:pt x="732896" y="973667"/>
                    </a:lnTo>
                    <a:lnTo>
                      <a:pt x="727604" y="978959"/>
                    </a:lnTo>
                    <a:lnTo>
                      <a:pt x="727604" y="976313"/>
                    </a:lnTo>
                    <a:lnTo>
                      <a:pt x="727604" y="973667"/>
                    </a:lnTo>
                    <a:lnTo>
                      <a:pt x="724958" y="973667"/>
                    </a:lnTo>
                    <a:lnTo>
                      <a:pt x="719666" y="978959"/>
                    </a:lnTo>
                    <a:lnTo>
                      <a:pt x="709083" y="992188"/>
                    </a:lnTo>
                    <a:lnTo>
                      <a:pt x="701145" y="997480"/>
                    </a:lnTo>
                    <a:lnTo>
                      <a:pt x="695854" y="997480"/>
                    </a:lnTo>
                    <a:lnTo>
                      <a:pt x="690562" y="1000125"/>
                    </a:lnTo>
                    <a:lnTo>
                      <a:pt x="685270" y="1002771"/>
                    </a:lnTo>
                    <a:lnTo>
                      <a:pt x="679979" y="1005417"/>
                    </a:lnTo>
                    <a:lnTo>
                      <a:pt x="674687" y="1008063"/>
                    </a:lnTo>
                    <a:lnTo>
                      <a:pt x="666749" y="1008063"/>
                    </a:lnTo>
                    <a:lnTo>
                      <a:pt x="664104" y="1013355"/>
                    </a:lnTo>
                    <a:lnTo>
                      <a:pt x="656166" y="1018646"/>
                    </a:lnTo>
                    <a:lnTo>
                      <a:pt x="650874" y="1021292"/>
                    </a:lnTo>
                    <a:lnTo>
                      <a:pt x="645583" y="1018646"/>
                    </a:lnTo>
                    <a:lnTo>
                      <a:pt x="637645" y="1016001"/>
                    </a:lnTo>
                    <a:lnTo>
                      <a:pt x="640291" y="1016001"/>
                    </a:lnTo>
                    <a:lnTo>
                      <a:pt x="640291" y="1013355"/>
                    </a:lnTo>
                    <a:lnTo>
                      <a:pt x="637645" y="1008063"/>
                    </a:lnTo>
                    <a:lnTo>
                      <a:pt x="637645" y="1002771"/>
                    </a:lnTo>
                    <a:lnTo>
                      <a:pt x="640291" y="1000125"/>
                    </a:lnTo>
                    <a:lnTo>
                      <a:pt x="640291" y="994834"/>
                    </a:lnTo>
                    <a:lnTo>
                      <a:pt x="640291" y="986896"/>
                    </a:lnTo>
                    <a:lnTo>
                      <a:pt x="642937" y="981605"/>
                    </a:lnTo>
                    <a:lnTo>
                      <a:pt x="642937" y="976313"/>
                    </a:lnTo>
                    <a:lnTo>
                      <a:pt x="645583" y="976313"/>
                    </a:lnTo>
                    <a:lnTo>
                      <a:pt x="648229" y="978959"/>
                    </a:lnTo>
                    <a:lnTo>
                      <a:pt x="648229" y="984250"/>
                    </a:lnTo>
                    <a:lnTo>
                      <a:pt x="653520" y="973667"/>
                    </a:lnTo>
                    <a:lnTo>
                      <a:pt x="656166" y="968375"/>
                    </a:lnTo>
                    <a:lnTo>
                      <a:pt x="653520" y="963084"/>
                    </a:lnTo>
                    <a:lnTo>
                      <a:pt x="653520" y="957792"/>
                    </a:lnTo>
                    <a:lnTo>
                      <a:pt x="653520" y="955146"/>
                    </a:lnTo>
                    <a:lnTo>
                      <a:pt x="656166" y="947209"/>
                    </a:lnTo>
                    <a:lnTo>
                      <a:pt x="661458" y="941917"/>
                    </a:lnTo>
                    <a:lnTo>
                      <a:pt x="664104" y="941917"/>
                    </a:lnTo>
                    <a:lnTo>
                      <a:pt x="669395" y="941917"/>
                    </a:lnTo>
                    <a:lnTo>
                      <a:pt x="674687" y="944563"/>
                    </a:lnTo>
                    <a:lnTo>
                      <a:pt x="674687" y="941917"/>
                    </a:lnTo>
                    <a:lnTo>
                      <a:pt x="677333" y="941917"/>
                    </a:lnTo>
                    <a:lnTo>
                      <a:pt x="679979" y="941917"/>
                    </a:lnTo>
                    <a:lnTo>
                      <a:pt x="687916" y="944563"/>
                    </a:lnTo>
                    <a:lnTo>
                      <a:pt x="695854" y="947209"/>
                    </a:lnTo>
                    <a:lnTo>
                      <a:pt x="706437" y="947209"/>
                    </a:lnTo>
                    <a:lnTo>
                      <a:pt x="709083" y="947209"/>
                    </a:lnTo>
                    <a:lnTo>
                      <a:pt x="714375" y="947209"/>
                    </a:lnTo>
                    <a:lnTo>
                      <a:pt x="722312" y="944563"/>
                    </a:lnTo>
                    <a:lnTo>
                      <a:pt x="727604" y="944563"/>
                    </a:lnTo>
                    <a:lnTo>
                      <a:pt x="735541" y="939271"/>
                    </a:lnTo>
                    <a:close/>
                    <a:moveTo>
                      <a:pt x="965730" y="0"/>
                    </a:moveTo>
                    <a:lnTo>
                      <a:pt x="971021" y="0"/>
                    </a:lnTo>
                    <a:lnTo>
                      <a:pt x="973667" y="0"/>
                    </a:lnTo>
                    <a:lnTo>
                      <a:pt x="973667" y="2646"/>
                    </a:lnTo>
                    <a:lnTo>
                      <a:pt x="976313" y="5292"/>
                    </a:lnTo>
                    <a:lnTo>
                      <a:pt x="978959" y="10583"/>
                    </a:lnTo>
                    <a:lnTo>
                      <a:pt x="976313" y="18521"/>
                    </a:lnTo>
                    <a:lnTo>
                      <a:pt x="973667" y="26458"/>
                    </a:lnTo>
                    <a:lnTo>
                      <a:pt x="976313" y="29104"/>
                    </a:lnTo>
                    <a:lnTo>
                      <a:pt x="978959" y="31750"/>
                    </a:lnTo>
                    <a:lnTo>
                      <a:pt x="978959" y="37042"/>
                    </a:lnTo>
                    <a:lnTo>
                      <a:pt x="978959" y="39687"/>
                    </a:lnTo>
                    <a:lnTo>
                      <a:pt x="981605" y="42333"/>
                    </a:lnTo>
                    <a:lnTo>
                      <a:pt x="984251" y="44979"/>
                    </a:lnTo>
                    <a:lnTo>
                      <a:pt x="984251" y="50271"/>
                    </a:lnTo>
                    <a:lnTo>
                      <a:pt x="981605" y="52917"/>
                    </a:lnTo>
                    <a:lnTo>
                      <a:pt x="984251" y="52917"/>
                    </a:lnTo>
                    <a:lnTo>
                      <a:pt x="986896" y="50271"/>
                    </a:lnTo>
                    <a:lnTo>
                      <a:pt x="989542" y="52917"/>
                    </a:lnTo>
                    <a:lnTo>
                      <a:pt x="989542" y="55562"/>
                    </a:lnTo>
                    <a:lnTo>
                      <a:pt x="989542" y="58208"/>
                    </a:lnTo>
                    <a:lnTo>
                      <a:pt x="989542" y="60854"/>
                    </a:lnTo>
                    <a:lnTo>
                      <a:pt x="989542" y="68792"/>
                    </a:lnTo>
                    <a:lnTo>
                      <a:pt x="989542" y="74083"/>
                    </a:lnTo>
                    <a:lnTo>
                      <a:pt x="989542" y="82021"/>
                    </a:lnTo>
                    <a:lnTo>
                      <a:pt x="986896" y="89958"/>
                    </a:lnTo>
                    <a:lnTo>
                      <a:pt x="984251" y="95250"/>
                    </a:lnTo>
                    <a:lnTo>
                      <a:pt x="986896" y="97896"/>
                    </a:lnTo>
                    <a:lnTo>
                      <a:pt x="989542" y="100542"/>
                    </a:lnTo>
                    <a:lnTo>
                      <a:pt x="989542" y="105833"/>
                    </a:lnTo>
                    <a:lnTo>
                      <a:pt x="986896" y="111125"/>
                    </a:lnTo>
                    <a:lnTo>
                      <a:pt x="989542" y="113771"/>
                    </a:lnTo>
                    <a:lnTo>
                      <a:pt x="994834" y="113771"/>
                    </a:lnTo>
                    <a:lnTo>
                      <a:pt x="1000126" y="113771"/>
                    </a:lnTo>
                    <a:lnTo>
                      <a:pt x="1002771" y="111125"/>
                    </a:lnTo>
                    <a:lnTo>
                      <a:pt x="1008063" y="108479"/>
                    </a:lnTo>
                    <a:lnTo>
                      <a:pt x="1010709" y="113771"/>
                    </a:lnTo>
                    <a:lnTo>
                      <a:pt x="1008063" y="116417"/>
                    </a:lnTo>
                    <a:lnTo>
                      <a:pt x="1010709" y="119062"/>
                    </a:lnTo>
                    <a:lnTo>
                      <a:pt x="1016001" y="124354"/>
                    </a:lnTo>
                    <a:lnTo>
                      <a:pt x="1023938" y="129646"/>
                    </a:lnTo>
                    <a:lnTo>
                      <a:pt x="1026584" y="129646"/>
                    </a:lnTo>
                    <a:lnTo>
                      <a:pt x="1029230" y="132292"/>
                    </a:lnTo>
                    <a:lnTo>
                      <a:pt x="1031876" y="134937"/>
                    </a:lnTo>
                    <a:lnTo>
                      <a:pt x="1031876" y="140229"/>
                    </a:lnTo>
                    <a:lnTo>
                      <a:pt x="1026584" y="142875"/>
                    </a:lnTo>
                    <a:lnTo>
                      <a:pt x="1026584" y="148167"/>
                    </a:lnTo>
                    <a:lnTo>
                      <a:pt x="1026584" y="156104"/>
                    </a:lnTo>
                    <a:lnTo>
                      <a:pt x="1023938" y="158750"/>
                    </a:lnTo>
                    <a:lnTo>
                      <a:pt x="1021292" y="164041"/>
                    </a:lnTo>
                    <a:lnTo>
                      <a:pt x="1021292" y="166687"/>
                    </a:lnTo>
                    <a:lnTo>
                      <a:pt x="1021292" y="171979"/>
                    </a:lnTo>
                    <a:lnTo>
                      <a:pt x="1021292" y="177271"/>
                    </a:lnTo>
                    <a:lnTo>
                      <a:pt x="1018646" y="179916"/>
                    </a:lnTo>
                    <a:lnTo>
                      <a:pt x="1021292" y="187854"/>
                    </a:lnTo>
                    <a:lnTo>
                      <a:pt x="1026584" y="198437"/>
                    </a:lnTo>
                    <a:lnTo>
                      <a:pt x="1026584" y="209021"/>
                    </a:lnTo>
                    <a:lnTo>
                      <a:pt x="1026584" y="216958"/>
                    </a:lnTo>
                    <a:lnTo>
                      <a:pt x="1023938" y="224896"/>
                    </a:lnTo>
                    <a:lnTo>
                      <a:pt x="1018646" y="238125"/>
                    </a:lnTo>
                    <a:lnTo>
                      <a:pt x="1018646" y="243416"/>
                    </a:lnTo>
                    <a:lnTo>
                      <a:pt x="1018646" y="248708"/>
                    </a:lnTo>
                    <a:lnTo>
                      <a:pt x="1021292" y="254000"/>
                    </a:lnTo>
                    <a:lnTo>
                      <a:pt x="1023938" y="259291"/>
                    </a:lnTo>
                    <a:lnTo>
                      <a:pt x="1026584" y="264583"/>
                    </a:lnTo>
                    <a:lnTo>
                      <a:pt x="1037167" y="269875"/>
                    </a:lnTo>
                    <a:lnTo>
                      <a:pt x="1045105" y="275166"/>
                    </a:lnTo>
                    <a:lnTo>
                      <a:pt x="1047751" y="280458"/>
                    </a:lnTo>
                    <a:lnTo>
                      <a:pt x="1050396" y="285750"/>
                    </a:lnTo>
                    <a:lnTo>
                      <a:pt x="1055688" y="285750"/>
                    </a:lnTo>
                    <a:lnTo>
                      <a:pt x="1060980" y="285750"/>
                    </a:lnTo>
                    <a:lnTo>
                      <a:pt x="1063626" y="288396"/>
                    </a:lnTo>
                    <a:lnTo>
                      <a:pt x="1066271" y="291041"/>
                    </a:lnTo>
                    <a:lnTo>
                      <a:pt x="1068917" y="291041"/>
                    </a:lnTo>
                    <a:lnTo>
                      <a:pt x="1071563" y="291041"/>
                    </a:lnTo>
                    <a:lnTo>
                      <a:pt x="1071563" y="293687"/>
                    </a:lnTo>
                    <a:lnTo>
                      <a:pt x="1071563" y="298979"/>
                    </a:lnTo>
                    <a:lnTo>
                      <a:pt x="1076855" y="301625"/>
                    </a:lnTo>
                    <a:lnTo>
                      <a:pt x="1079501" y="304271"/>
                    </a:lnTo>
                    <a:lnTo>
                      <a:pt x="1082146" y="309562"/>
                    </a:lnTo>
                    <a:lnTo>
                      <a:pt x="1082146" y="317500"/>
                    </a:lnTo>
                    <a:lnTo>
                      <a:pt x="1079501" y="314854"/>
                    </a:lnTo>
                    <a:lnTo>
                      <a:pt x="1076855" y="314854"/>
                    </a:lnTo>
                    <a:lnTo>
                      <a:pt x="1074209" y="314854"/>
                    </a:lnTo>
                    <a:lnTo>
                      <a:pt x="1071563" y="317500"/>
                    </a:lnTo>
                    <a:lnTo>
                      <a:pt x="1074209" y="320146"/>
                    </a:lnTo>
                    <a:lnTo>
                      <a:pt x="1076855" y="325437"/>
                    </a:lnTo>
                    <a:lnTo>
                      <a:pt x="1079501" y="333375"/>
                    </a:lnTo>
                    <a:lnTo>
                      <a:pt x="1079501" y="336021"/>
                    </a:lnTo>
                    <a:lnTo>
                      <a:pt x="1079501" y="341312"/>
                    </a:lnTo>
                    <a:lnTo>
                      <a:pt x="1076855" y="346604"/>
                    </a:lnTo>
                    <a:lnTo>
                      <a:pt x="1076855" y="349250"/>
                    </a:lnTo>
                    <a:lnTo>
                      <a:pt x="1079501" y="351896"/>
                    </a:lnTo>
                    <a:lnTo>
                      <a:pt x="1079501" y="354541"/>
                    </a:lnTo>
                    <a:lnTo>
                      <a:pt x="1076855" y="367771"/>
                    </a:lnTo>
                    <a:lnTo>
                      <a:pt x="1079501" y="370416"/>
                    </a:lnTo>
                    <a:lnTo>
                      <a:pt x="1082146" y="375708"/>
                    </a:lnTo>
                    <a:lnTo>
                      <a:pt x="1084792" y="367771"/>
                    </a:lnTo>
                    <a:lnTo>
                      <a:pt x="1090084" y="365125"/>
                    </a:lnTo>
                    <a:lnTo>
                      <a:pt x="1095376" y="370416"/>
                    </a:lnTo>
                    <a:lnTo>
                      <a:pt x="1103313" y="378354"/>
                    </a:lnTo>
                    <a:lnTo>
                      <a:pt x="1100667" y="373062"/>
                    </a:lnTo>
                    <a:lnTo>
                      <a:pt x="1100667" y="370416"/>
                    </a:lnTo>
                    <a:lnTo>
                      <a:pt x="1100667" y="367771"/>
                    </a:lnTo>
                    <a:lnTo>
                      <a:pt x="1105959" y="367771"/>
                    </a:lnTo>
                    <a:lnTo>
                      <a:pt x="1108605" y="370416"/>
                    </a:lnTo>
                    <a:lnTo>
                      <a:pt x="1108605" y="378354"/>
                    </a:lnTo>
                    <a:lnTo>
                      <a:pt x="1103313" y="391583"/>
                    </a:lnTo>
                    <a:lnTo>
                      <a:pt x="1103313" y="396875"/>
                    </a:lnTo>
                    <a:lnTo>
                      <a:pt x="1100667" y="402166"/>
                    </a:lnTo>
                    <a:lnTo>
                      <a:pt x="1105959" y="410104"/>
                    </a:lnTo>
                    <a:lnTo>
                      <a:pt x="1108605" y="415396"/>
                    </a:lnTo>
                    <a:lnTo>
                      <a:pt x="1108605" y="418041"/>
                    </a:lnTo>
                    <a:lnTo>
                      <a:pt x="1108605" y="423333"/>
                    </a:lnTo>
                    <a:lnTo>
                      <a:pt x="1111251" y="423333"/>
                    </a:lnTo>
                    <a:lnTo>
                      <a:pt x="1113896" y="425979"/>
                    </a:lnTo>
                    <a:lnTo>
                      <a:pt x="1119188" y="447146"/>
                    </a:lnTo>
                    <a:lnTo>
                      <a:pt x="1121834" y="457729"/>
                    </a:lnTo>
                    <a:lnTo>
                      <a:pt x="1124480" y="455083"/>
                    </a:lnTo>
                    <a:lnTo>
                      <a:pt x="1127126" y="444500"/>
                    </a:lnTo>
                    <a:lnTo>
                      <a:pt x="1129771" y="441854"/>
                    </a:lnTo>
                    <a:lnTo>
                      <a:pt x="1132417" y="447146"/>
                    </a:lnTo>
                    <a:lnTo>
                      <a:pt x="1132417" y="449791"/>
                    </a:lnTo>
                    <a:lnTo>
                      <a:pt x="1129771" y="455083"/>
                    </a:lnTo>
                    <a:lnTo>
                      <a:pt x="1127126" y="463020"/>
                    </a:lnTo>
                    <a:lnTo>
                      <a:pt x="1124480" y="465666"/>
                    </a:lnTo>
                    <a:lnTo>
                      <a:pt x="1124480" y="473604"/>
                    </a:lnTo>
                    <a:lnTo>
                      <a:pt x="1127126" y="478895"/>
                    </a:lnTo>
                    <a:lnTo>
                      <a:pt x="1124480" y="484187"/>
                    </a:lnTo>
                    <a:lnTo>
                      <a:pt x="1119188" y="492125"/>
                    </a:lnTo>
                    <a:lnTo>
                      <a:pt x="1116542" y="500062"/>
                    </a:lnTo>
                    <a:lnTo>
                      <a:pt x="1113896" y="502708"/>
                    </a:lnTo>
                    <a:lnTo>
                      <a:pt x="1116542" y="505354"/>
                    </a:lnTo>
                    <a:lnTo>
                      <a:pt x="1119188" y="510645"/>
                    </a:lnTo>
                    <a:lnTo>
                      <a:pt x="1119188" y="518583"/>
                    </a:lnTo>
                    <a:lnTo>
                      <a:pt x="1113896" y="539750"/>
                    </a:lnTo>
                    <a:lnTo>
                      <a:pt x="1103313" y="563562"/>
                    </a:lnTo>
                    <a:lnTo>
                      <a:pt x="1095376" y="574145"/>
                    </a:lnTo>
                    <a:lnTo>
                      <a:pt x="1087438" y="584729"/>
                    </a:lnTo>
                    <a:lnTo>
                      <a:pt x="1074209" y="600604"/>
                    </a:lnTo>
                    <a:lnTo>
                      <a:pt x="1063626" y="616479"/>
                    </a:lnTo>
                    <a:lnTo>
                      <a:pt x="1058334" y="627062"/>
                    </a:lnTo>
                    <a:lnTo>
                      <a:pt x="1053042" y="635000"/>
                    </a:lnTo>
                    <a:lnTo>
                      <a:pt x="1042459" y="645583"/>
                    </a:lnTo>
                    <a:lnTo>
                      <a:pt x="1042459" y="650875"/>
                    </a:lnTo>
                    <a:lnTo>
                      <a:pt x="1045105" y="653520"/>
                    </a:lnTo>
                    <a:lnTo>
                      <a:pt x="1045105" y="658812"/>
                    </a:lnTo>
                    <a:lnTo>
                      <a:pt x="1039813" y="664104"/>
                    </a:lnTo>
                    <a:lnTo>
                      <a:pt x="1023938" y="677333"/>
                    </a:lnTo>
                    <a:lnTo>
                      <a:pt x="1000126" y="698500"/>
                    </a:lnTo>
                    <a:lnTo>
                      <a:pt x="997480" y="703791"/>
                    </a:lnTo>
                    <a:lnTo>
                      <a:pt x="992188" y="709083"/>
                    </a:lnTo>
                    <a:lnTo>
                      <a:pt x="981605" y="711729"/>
                    </a:lnTo>
                    <a:lnTo>
                      <a:pt x="973667" y="714375"/>
                    </a:lnTo>
                    <a:lnTo>
                      <a:pt x="973667" y="717020"/>
                    </a:lnTo>
                    <a:lnTo>
                      <a:pt x="973667" y="719666"/>
                    </a:lnTo>
                    <a:lnTo>
                      <a:pt x="973667" y="722312"/>
                    </a:lnTo>
                    <a:lnTo>
                      <a:pt x="971021" y="722312"/>
                    </a:lnTo>
                    <a:lnTo>
                      <a:pt x="965730" y="722312"/>
                    </a:lnTo>
                    <a:lnTo>
                      <a:pt x="960438" y="727604"/>
                    </a:lnTo>
                    <a:lnTo>
                      <a:pt x="949855" y="743479"/>
                    </a:lnTo>
                    <a:lnTo>
                      <a:pt x="933980" y="762000"/>
                    </a:lnTo>
                    <a:lnTo>
                      <a:pt x="918105" y="777875"/>
                    </a:lnTo>
                    <a:lnTo>
                      <a:pt x="912813" y="783166"/>
                    </a:lnTo>
                    <a:lnTo>
                      <a:pt x="910167" y="791104"/>
                    </a:lnTo>
                    <a:lnTo>
                      <a:pt x="907521" y="799041"/>
                    </a:lnTo>
                    <a:lnTo>
                      <a:pt x="904876" y="799041"/>
                    </a:lnTo>
                    <a:lnTo>
                      <a:pt x="899584" y="804333"/>
                    </a:lnTo>
                    <a:lnTo>
                      <a:pt x="891646" y="812270"/>
                    </a:lnTo>
                    <a:lnTo>
                      <a:pt x="883709" y="812270"/>
                    </a:lnTo>
                    <a:lnTo>
                      <a:pt x="878417" y="812270"/>
                    </a:lnTo>
                    <a:lnTo>
                      <a:pt x="873126" y="814916"/>
                    </a:lnTo>
                    <a:lnTo>
                      <a:pt x="867834" y="822854"/>
                    </a:lnTo>
                    <a:lnTo>
                      <a:pt x="862542" y="828145"/>
                    </a:lnTo>
                    <a:lnTo>
                      <a:pt x="857251" y="833437"/>
                    </a:lnTo>
                    <a:lnTo>
                      <a:pt x="851959" y="836083"/>
                    </a:lnTo>
                    <a:lnTo>
                      <a:pt x="849313" y="838729"/>
                    </a:lnTo>
                    <a:lnTo>
                      <a:pt x="846667" y="844020"/>
                    </a:lnTo>
                    <a:lnTo>
                      <a:pt x="844021" y="849312"/>
                    </a:lnTo>
                    <a:lnTo>
                      <a:pt x="844021" y="851958"/>
                    </a:lnTo>
                    <a:lnTo>
                      <a:pt x="841376" y="849312"/>
                    </a:lnTo>
                    <a:lnTo>
                      <a:pt x="838730" y="851958"/>
                    </a:lnTo>
                    <a:lnTo>
                      <a:pt x="836084" y="854604"/>
                    </a:lnTo>
                    <a:lnTo>
                      <a:pt x="825500" y="854604"/>
                    </a:lnTo>
                    <a:lnTo>
                      <a:pt x="799042" y="851958"/>
                    </a:lnTo>
                    <a:lnTo>
                      <a:pt x="791105" y="851958"/>
                    </a:lnTo>
                    <a:lnTo>
                      <a:pt x="785813" y="854604"/>
                    </a:lnTo>
                    <a:lnTo>
                      <a:pt x="772584" y="865187"/>
                    </a:lnTo>
                    <a:lnTo>
                      <a:pt x="762000" y="875770"/>
                    </a:lnTo>
                    <a:lnTo>
                      <a:pt x="748771" y="883708"/>
                    </a:lnTo>
                    <a:lnTo>
                      <a:pt x="740834" y="886354"/>
                    </a:lnTo>
                    <a:lnTo>
                      <a:pt x="738188" y="886354"/>
                    </a:lnTo>
                    <a:lnTo>
                      <a:pt x="738188" y="881062"/>
                    </a:lnTo>
                    <a:lnTo>
                      <a:pt x="732896" y="878416"/>
                    </a:lnTo>
                    <a:lnTo>
                      <a:pt x="724959" y="878416"/>
                    </a:lnTo>
                    <a:lnTo>
                      <a:pt x="722313" y="875770"/>
                    </a:lnTo>
                    <a:lnTo>
                      <a:pt x="722313" y="873125"/>
                    </a:lnTo>
                    <a:lnTo>
                      <a:pt x="724959" y="870479"/>
                    </a:lnTo>
                    <a:lnTo>
                      <a:pt x="727605" y="867833"/>
                    </a:lnTo>
                    <a:lnTo>
                      <a:pt x="719667" y="870479"/>
                    </a:lnTo>
                    <a:lnTo>
                      <a:pt x="711730" y="870479"/>
                    </a:lnTo>
                    <a:lnTo>
                      <a:pt x="714375" y="865187"/>
                    </a:lnTo>
                    <a:lnTo>
                      <a:pt x="719667" y="862541"/>
                    </a:lnTo>
                    <a:lnTo>
                      <a:pt x="717021" y="862541"/>
                    </a:lnTo>
                    <a:lnTo>
                      <a:pt x="714375" y="862541"/>
                    </a:lnTo>
                    <a:lnTo>
                      <a:pt x="711730" y="862541"/>
                    </a:lnTo>
                    <a:lnTo>
                      <a:pt x="714375" y="854604"/>
                    </a:lnTo>
                    <a:lnTo>
                      <a:pt x="714375" y="849312"/>
                    </a:lnTo>
                    <a:lnTo>
                      <a:pt x="711730" y="849312"/>
                    </a:lnTo>
                    <a:lnTo>
                      <a:pt x="709084" y="851958"/>
                    </a:lnTo>
                    <a:lnTo>
                      <a:pt x="703792" y="857250"/>
                    </a:lnTo>
                    <a:lnTo>
                      <a:pt x="703792" y="859895"/>
                    </a:lnTo>
                    <a:lnTo>
                      <a:pt x="709084" y="859895"/>
                    </a:lnTo>
                    <a:lnTo>
                      <a:pt x="709084" y="862541"/>
                    </a:lnTo>
                    <a:lnTo>
                      <a:pt x="703792" y="865187"/>
                    </a:lnTo>
                    <a:lnTo>
                      <a:pt x="701146" y="865187"/>
                    </a:lnTo>
                    <a:lnTo>
                      <a:pt x="695855" y="865187"/>
                    </a:lnTo>
                    <a:lnTo>
                      <a:pt x="687917" y="870479"/>
                    </a:lnTo>
                    <a:lnTo>
                      <a:pt x="679980" y="875770"/>
                    </a:lnTo>
                    <a:lnTo>
                      <a:pt x="677334" y="875770"/>
                    </a:lnTo>
                    <a:lnTo>
                      <a:pt x="677334" y="873125"/>
                    </a:lnTo>
                    <a:lnTo>
                      <a:pt x="672042" y="873125"/>
                    </a:lnTo>
                    <a:lnTo>
                      <a:pt x="664105" y="875770"/>
                    </a:lnTo>
                    <a:lnTo>
                      <a:pt x="658813" y="873125"/>
                    </a:lnTo>
                    <a:lnTo>
                      <a:pt x="656167" y="870479"/>
                    </a:lnTo>
                    <a:lnTo>
                      <a:pt x="648230" y="870479"/>
                    </a:lnTo>
                    <a:lnTo>
                      <a:pt x="642938" y="870479"/>
                    </a:lnTo>
                    <a:lnTo>
                      <a:pt x="637646" y="867833"/>
                    </a:lnTo>
                    <a:lnTo>
                      <a:pt x="629708" y="862541"/>
                    </a:lnTo>
                    <a:lnTo>
                      <a:pt x="616479" y="857250"/>
                    </a:lnTo>
                    <a:lnTo>
                      <a:pt x="605896" y="851958"/>
                    </a:lnTo>
                    <a:lnTo>
                      <a:pt x="605896" y="849312"/>
                    </a:lnTo>
                    <a:lnTo>
                      <a:pt x="605896" y="846666"/>
                    </a:lnTo>
                    <a:lnTo>
                      <a:pt x="605896" y="841375"/>
                    </a:lnTo>
                    <a:lnTo>
                      <a:pt x="603250" y="836083"/>
                    </a:lnTo>
                    <a:lnTo>
                      <a:pt x="600604" y="833437"/>
                    </a:lnTo>
                    <a:lnTo>
                      <a:pt x="597958" y="828145"/>
                    </a:lnTo>
                    <a:lnTo>
                      <a:pt x="597958" y="825500"/>
                    </a:lnTo>
                    <a:lnTo>
                      <a:pt x="603250" y="820208"/>
                    </a:lnTo>
                    <a:lnTo>
                      <a:pt x="611187" y="812270"/>
                    </a:lnTo>
                    <a:lnTo>
                      <a:pt x="613833" y="806979"/>
                    </a:lnTo>
                    <a:lnTo>
                      <a:pt x="616479" y="799041"/>
                    </a:lnTo>
                    <a:lnTo>
                      <a:pt x="616479" y="793750"/>
                    </a:lnTo>
                    <a:lnTo>
                      <a:pt x="619125" y="791104"/>
                    </a:lnTo>
                    <a:lnTo>
                      <a:pt x="627062" y="788458"/>
                    </a:lnTo>
                    <a:lnTo>
                      <a:pt x="632354" y="785812"/>
                    </a:lnTo>
                    <a:lnTo>
                      <a:pt x="627062" y="783166"/>
                    </a:lnTo>
                    <a:lnTo>
                      <a:pt x="621771" y="783166"/>
                    </a:lnTo>
                    <a:lnTo>
                      <a:pt x="619125" y="785812"/>
                    </a:lnTo>
                    <a:lnTo>
                      <a:pt x="613833" y="785812"/>
                    </a:lnTo>
                    <a:lnTo>
                      <a:pt x="597958" y="783166"/>
                    </a:lnTo>
                    <a:lnTo>
                      <a:pt x="608542" y="777875"/>
                    </a:lnTo>
                    <a:lnTo>
                      <a:pt x="613833" y="772583"/>
                    </a:lnTo>
                    <a:lnTo>
                      <a:pt x="613833" y="764645"/>
                    </a:lnTo>
                    <a:lnTo>
                      <a:pt x="613833" y="754062"/>
                    </a:lnTo>
                    <a:lnTo>
                      <a:pt x="613833" y="748770"/>
                    </a:lnTo>
                    <a:lnTo>
                      <a:pt x="611187" y="748770"/>
                    </a:lnTo>
                    <a:lnTo>
                      <a:pt x="600604" y="762000"/>
                    </a:lnTo>
                    <a:lnTo>
                      <a:pt x="595312" y="769937"/>
                    </a:lnTo>
                    <a:lnTo>
                      <a:pt x="590021" y="775229"/>
                    </a:lnTo>
                    <a:lnTo>
                      <a:pt x="582083" y="775229"/>
                    </a:lnTo>
                    <a:lnTo>
                      <a:pt x="574146" y="775229"/>
                    </a:lnTo>
                    <a:lnTo>
                      <a:pt x="568854" y="775229"/>
                    </a:lnTo>
                    <a:lnTo>
                      <a:pt x="566208" y="775229"/>
                    </a:lnTo>
                    <a:lnTo>
                      <a:pt x="566208" y="772583"/>
                    </a:lnTo>
                    <a:lnTo>
                      <a:pt x="566208" y="769937"/>
                    </a:lnTo>
                    <a:lnTo>
                      <a:pt x="574146" y="764645"/>
                    </a:lnTo>
                    <a:lnTo>
                      <a:pt x="579437" y="764645"/>
                    </a:lnTo>
                    <a:lnTo>
                      <a:pt x="584729" y="762000"/>
                    </a:lnTo>
                    <a:lnTo>
                      <a:pt x="584729" y="759354"/>
                    </a:lnTo>
                    <a:lnTo>
                      <a:pt x="587375" y="754062"/>
                    </a:lnTo>
                    <a:lnTo>
                      <a:pt x="590021" y="748770"/>
                    </a:lnTo>
                    <a:lnTo>
                      <a:pt x="597958" y="743479"/>
                    </a:lnTo>
                    <a:lnTo>
                      <a:pt x="608542" y="735541"/>
                    </a:lnTo>
                    <a:lnTo>
                      <a:pt x="619125" y="727604"/>
                    </a:lnTo>
                    <a:lnTo>
                      <a:pt x="619125" y="724958"/>
                    </a:lnTo>
                    <a:lnTo>
                      <a:pt x="619125" y="722312"/>
                    </a:lnTo>
                    <a:lnTo>
                      <a:pt x="616479" y="719666"/>
                    </a:lnTo>
                    <a:lnTo>
                      <a:pt x="621771" y="717020"/>
                    </a:lnTo>
                    <a:lnTo>
                      <a:pt x="624417" y="711729"/>
                    </a:lnTo>
                    <a:lnTo>
                      <a:pt x="624417" y="706437"/>
                    </a:lnTo>
                    <a:lnTo>
                      <a:pt x="621771" y="701145"/>
                    </a:lnTo>
                    <a:lnTo>
                      <a:pt x="627062" y="695854"/>
                    </a:lnTo>
                    <a:lnTo>
                      <a:pt x="619125" y="698500"/>
                    </a:lnTo>
                    <a:lnTo>
                      <a:pt x="616479" y="703791"/>
                    </a:lnTo>
                    <a:lnTo>
                      <a:pt x="613833" y="709083"/>
                    </a:lnTo>
                    <a:lnTo>
                      <a:pt x="611187" y="711729"/>
                    </a:lnTo>
                    <a:lnTo>
                      <a:pt x="608542" y="711729"/>
                    </a:lnTo>
                    <a:lnTo>
                      <a:pt x="605896" y="714375"/>
                    </a:lnTo>
                    <a:lnTo>
                      <a:pt x="600604" y="722312"/>
                    </a:lnTo>
                    <a:lnTo>
                      <a:pt x="595312" y="730250"/>
                    </a:lnTo>
                    <a:lnTo>
                      <a:pt x="592667" y="732895"/>
                    </a:lnTo>
                    <a:lnTo>
                      <a:pt x="587375" y="732895"/>
                    </a:lnTo>
                    <a:lnTo>
                      <a:pt x="582083" y="732895"/>
                    </a:lnTo>
                    <a:lnTo>
                      <a:pt x="574146" y="738187"/>
                    </a:lnTo>
                    <a:lnTo>
                      <a:pt x="563562" y="746125"/>
                    </a:lnTo>
                    <a:lnTo>
                      <a:pt x="550333" y="751416"/>
                    </a:lnTo>
                    <a:lnTo>
                      <a:pt x="547687" y="754062"/>
                    </a:lnTo>
                    <a:lnTo>
                      <a:pt x="550333" y="756708"/>
                    </a:lnTo>
                    <a:lnTo>
                      <a:pt x="545042" y="759354"/>
                    </a:lnTo>
                    <a:lnTo>
                      <a:pt x="534458" y="762000"/>
                    </a:lnTo>
                    <a:lnTo>
                      <a:pt x="531812" y="756708"/>
                    </a:lnTo>
                    <a:lnTo>
                      <a:pt x="529167" y="751416"/>
                    </a:lnTo>
                    <a:lnTo>
                      <a:pt x="531812" y="746125"/>
                    </a:lnTo>
                    <a:lnTo>
                      <a:pt x="534458" y="735541"/>
                    </a:lnTo>
                    <a:lnTo>
                      <a:pt x="534458" y="724958"/>
                    </a:lnTo>
                    <a:lnTo>
                      <a:pt x="534458" y="714375"/>
                    </a:lnTo>
                    <a:lnTo>
                      <a:pt x="531812" y="711729"/>
                    </a:lnTo>
                    <a:lnTo>
                      <a:pt x="526521" y="709083"/>
                    </a:lnTo>
                    <a:lnTo>
                      <a:pt x="518583" y="706437"/>
                    </a:lnTo>
                    <a:lnTo>
                      <a:pt x="515937" y="701145"/>
                    </a:lnTo>
                    <a:lnTo>
                      <a:pt x="513292" y="698500"/>
                    </a:lnTo>
                    <a:lnTo>
                      <a:pt x="515937" y="695854"/>
                    </a:lnTo>
                    <a:lnTo>
                      <a:pt x="515937" y="693208"/>
                    </a:lnTo>
                    <a:lnTo>
                      <a:pt x="513292" y="687916"/>
                    </a:lnTo>
                    <a:lnTo>
                      <a:pt x="508000" y="682625"/>
                    </a:lnTo>
                    <a:lnTo>
                      <a:pt x="500062" y="682625"/>
                    </a:lnTo>
                    <a:lnTo>
                      <a:pt x="494771" y="685270"/>
                    </a:lnTo>
                    <a:lnTo>
                      <a:pt x="492125" y="682625"/>
                    </a:lnTo>
                    <a:lnTo>
                      <a:pt x="492125" y="679979"/>
                    </a:lnTo>
                    <a:lnTo>
                      <a:pt x="486833" y="679979"/>
                    </a:lnTo>
                    <a:lnTo>
                      <a:pt x="481542" y="682625"/>
                    </a:lnTo>
                    <a:lnTo>
                      <a:pt x="476250" y="679979"/>
                    </a:lnTo>
                    <a:lnTo>
                      <a:pt x="468312" y="674687"/>
                    </a:lnTo>
                    <a:lnTo>
                      <a:pt x="460375" y="666750"/>
                    </a:lnTo>
                    <a:lnTo>
                      <a:pt x="455083" y="666750"/>
                    </a:lnTo>
                    <a:lnTo>
                      <a:pt x="449792" y="666750"/>
                    </a:lnTo>
                    <a:lnTo>
                      <a:pt x="439208" y="666750"/>
                    </a:lnTo>
                    <a:lnTo>
                      <a:pt x="428625" y="664104"/>
                    </a:lnTo>
                    <a:lnTo>
                      <a:pt x="415396" y="664104"/>
                    </a:lnTo>
                    <a:lnTo>
                      <a:pt x="399521" y="666750"/>
                    </a:lnTo>
                    <a:lnTo>
                      <a:pt x="381000" y="674687"/>
                    </a:lnTo>
                    <a:lnTo>
                      <a:pt x="370417" y="679979"/>
                    </a:lnTo>
                    <a:lnTo>
                      <a:pt x="362479" y="685270"/>
                    </a:lnTo>
                    <a:lnTo>
                      <a:pt x="346604" y="687916"/>
                    </a:lnTo>
                    <a:lnTo>
                      <a:pt x="322792" y="690562"/>
                    </a:lnTo>
                    <a:lnTo>
                      <a:pt x="309562" y="690562"/>
                    </a:lnTo>
                    <a:lnTo>
                      <a:pt x="296333" y="690562"/>
                    </a:lnTo>
                    <a:lnTo>
                      <a:pt x="285750" y="693208"/>
                    </a:lnTo>
                    <a:lnTo>
                      <a:pt x="264583" y="703791"/>
                    </a:lnTo>
                    <a:lnTo>
                      <a:pt x="256646" y="709083"/>
                    </a:lnTo>
                    <a:lnTo>
                      <a:pt x="248708" y="711729"/>
                    </a:lnTo>
                    <a:lnTo>
                      <a:pt x="238125" y="714375"/>
                    </a:lnTo>
                    <a:lnTo>
                      <a:pt x="238125" y="717020"/>
                    </a:lnTo>
                    <a:lnTo>
                      <a:pt x="235479" y="724958"/>
                    </a:lnTo>
                    <a:lnTo>
                      <a:pt x="224896" y="732895"/>
                    </a:lnTo>
                    <a:lnTo>
                      <a:pt x="211666" y="738187"/>
                    </a:lnTo>
                    <a:lnTo>
                      <a:pt x="206375" y="735541"/>
                    </a:lnTo>
                    <a:lnTo>
                      <a:pt x="203729" y="732895"/>
                    </a:lnTo>
                    <a:lnTo>
                      <a:pt x="201083" y="735541"/>
                    </a:lnTo>
                    <a:lnTo>
                      <a:pt x="198437" y="738187"/>
                    </a:lnTo>
                    <a:lnTo>
                      <a:pt x="193146" y="738187"/>
                    </a:lnTo>
                    <a:lnTo>
                      <a:pt x="187854" y="738187"/>
                    </a:lnTo>
                    <a:lnTo>
                      <a:pt x="179916" y="740833"/>
                    </a:lnTo>
                    <a:lnTo>
                      <a:pt x="177271" y="740833"/>
                    </a:lnTo>
                    <a:lnTo>
                      <a:pt x="174625" y="740833"/>
                    </a:lnTo>
                    <a:lnTo>
                      <a:pt x="169333" y="738187"/>
                    </a:lnTo>
                    <a:lnTo>
                      <a:pt x="166687" y="735541"/>
                    </a:lnTo>
                    <a:lnTo>
                      <a:pt x="164041" y="735541"/>
                    </a:lnTo>
                    <a:lnTo>
                      <a:pt x="156104" y="735541"/>
                    </a:lnTo>
                    <a:lnTo>
                      <a:pt x="148166" y="735541"/>
                    </a:lnTo>
                    <a:lnTo>
                      <a:pt x="140229" y="735541"/>
                    </a:lnTo>
                    <a:lnTo>
                      <a:pt x="124354" y="740833"/>
                    </a:lnTo>
                    <a:lnTo>
                      <a:pt x="119062" y="740833"/>
                    </a:lnTo>
                    <a:lnTo>
                      <a:pt x="116416" y="740833"/>
                    </a:lnTo>
                    <a:lnTo>
                      <a:pt x="108479" y="743479"/>
                    </a:lnTo>
                    <a:lnTo>
                      <a:pt x="100541" y="748770"/>
                    </a:lnTo>
                    <a:lnTo>
                      <a:pt x="97896" y="754062"/>
                    </a:lnTo>
                    <a:lnTo>
                      <a:pt x="97896" y="756708"/>
                    </a:lnTo>
                    <a:lnTo>
                      <a:pt x="92604" y="756708"/>
                    </a:lnTo>
                    <a:lnTo>
                      <a:pt x="87312" y="756708"/>
                    </a:lnTo>
                    <a:lnTo>
                      <a:pt x="84666" y="762000"/>
                    </a:lnTo>
                    <a:lnTo>
                      <a:pt x="79375" y="764645"/>
                    </a:lnTo>
                    <a:lnTo>
                      <a:pt x="76729" y="767291"/>
                    </a:lnTo>
                    <a:lnTo>
                      <a:pt x="71437" y="767291"/>
                    </a:lnTo>
                    <a:lnTo>
                      <a:pt x="68791" y="769937"/>
                    </a:lnTo>
                    <a:lnTo>
                      <a:pt x="66146" y="769937"/>
                    </a:lnTo>
                    <a:lnTo>
                      <a:pt x="60854" y="769937"/>
                    </a:lnTo>
                    <a:lnTo>
                      <a:pt x="58208" y="769937"/>
                    </a:lnTo>
                    <a:lnTo>
                      <a:pt x="55562" y="772583"/>
                    </a:lnTo>
                    <a:lnTo>
                      <a:pt x="52916" y="775229"/>
                    </a:lnTo>
                    <a:lnTo>
                      <a:pt x="47625" y="772583"/>
                    </a:lnTo>
                    <a:lnTo>
                      <a:pt x="39687" y="769937"/>
                    </a:lnTo>
                    <a:lnTo>
                      <a:pt x="37041" y="769937"/>
                    </a:lnTo>
                    <a:lnTo>
                      <a:pt x="31750" y="769937"/>
                    </a:lnTo>
                    <a:lnTo>
                      <a:pt x="29104" y="764645"/>
                    </a:lnTo>
                    <a:lnTo>
                      <a:pt x="23812" y="759354"/>
                    </a:lnTo>
                    <a:lnTo>
                      <a:pt x="21166" y="756708"/>
                    </a:lnTo>
                    <a:lnTo>
                      <a:pt x="13229" y="756708"/>
                    </a:lnTo>
                    <a:lnTo>
                      <a:pt x="7937" y="756708"/>
                    </a:lnTo>
                    <a:lnTo>
                      <a:pt x="7937" y="754062"/>
                    </a:lnTo>
                    <a:lnTo>
                      <a:pt x="5291" y="748770"/>
                    </a:lnTo>
                    <a:lnTo>
                      <a:pt x="5291" y="743479"/>
                    </a:lnTo>
                    <a:lnTo>
                      <a:pt x="2646" y="740833"/>
                    </a:lnTo>
                    <a:lnTo>
                      <a:pt x="0" y="738187"/>
                    </a:lnTo>
                    <a:lnTo>
                      <a:pt x="2646" y="735541"/>
                    </a:lnTo>
                    <a:lnTo>
                      <a:pt x="5291" y="732895"/>
                    </a:lnTo>
                    <a:lnTo>
                      <a:pt x="7937" y="735541"/>
                    </a:lnTo>
                    <a:lnTo>
                      <a:pt x="10583" y="735541"/>
                    </a:lnTo>
                    <a:lnTo>
                      <a:pt x="18521" y="732895"/>
                    </a:lnTo>
                    <a:lnTo>
                      <a:pt x="26458" y="730250"/>
                    </a:lnTo>
                    <a:lnTo>
                      <a:pt x="26458" y="727604"/>
                    </a:lnTo>
                    <a:lnTo>
                      <a:pt x="26458" y="724958"/>
                    </a:lnTo>
                    <a:lnTo>
                      <a:pt x="29104" y="719666"/>
                    </a:lnTo>
                    <a:lnTo>
                      <a:pt x="31750" y="714375"/>
                    </a:lnTo>
                    <a:lnTo>
                      <a:pt x="31750" y="709083"/>
                    </a:lnTo>
                    <a:lnTo>
                      <a:pt x="31750" y="703791"/>
                    </a:lnTo>
                    <a:lnTo>
                      <a:pt x="31750" y="698500"/>
                    </a:lnTo>
                    <a:lnTo>
                      <a:pt x="34396" y="695854"/>
                    </a:lnTo>
                    <a:lnTo>
                      <a:pt x="37041" y="698500"/>
                    </a:lnTo>
                    <a:lnTo>
                      <a:pt x="39687" y="701145"/>
                    </a:lnTo>
                    <a:lnTo>
                      <a:pt x="42333" y="698500"/>
                    </a:lnTo>
                    <a:lnTo>
                      <a:pt x="42333" y="695854"/>
                    </a:lnTo>
                    <a:lnTo>
                      <a:pt x="42333" y="693208"/>
                    </a:lnTo>
                    <a:lnTo>
                      <a:pt x="44979" y="685270"/>
                    </a:lnTo>
                    <a:lnTo>
                      <a:pt x="47625" y="677333"/>
                    </a:lnTo>
                    <a:lnTo>
                      <a:pt x="47625" y="669395"/>
                    </a:lnTo>
                    <a:lnTo>
                      <a:pt x="47625" y="650875"/>
                    </a:lnTo>
                    <a:lnTo>
                      <a:pt x="50271" y="627062"/>
                    </a:lnTo>
                    <a:lnTo>
                      <a:pt x="50271" y="616479"/>
                    </a:lnTo>
                    <a:lnTo>
                      <a:pt x="55562" y="605895"/>
                    </a:lnTo>
                    <a:lnTo>
                      <a:pt x="58208" y="595312"/>
                    </a:lnTo>
                    <a:lnTo>
                      <a:pt x="55562" y="584729"/>
                    </a:lnTo>
                    <a:lnTo>
                      <a:pt x="52916" y="574145"/>
                    </a:lnTo>
                    <a:lnTo>
                      <a:pt x="50271" y="566208"/>
                    </a:lnTo>
                    <a:lnTo>
                      <a:pt x="42333" y="550333"/>
                    </a:lnTo>
                    <a:lnTo>
                      <a:pt x="42333" y="542395"/>
                    </a:lnTo>
                    <a:lnTo>
                      <a:pt x="42333" y="537104"/>
                    </a:lnTo>
                    <a:lnTo>
                      <a:pt x="44979" y="531812"/>
                    </a:lnTo>
                    <a:lnTo>
                      <a:pt x="44979" y="523875"/>
                    </a:lnTo>
                    <a:lnTo>
                      <a:pt x="42333" y="515937"/>
                    </a:lnTo>
                    <a:lnTo>
                      <a:pt x="39687" y="497416"/>
                    </a:lnTo>
                    <a:lnTo>
                      <a:pt x="39687" y="492125"/>
                    </a:lnTo>
                    <a:lnTo>
                      <a:pt x="42333" y="489479"/>
                    </a:lnTo>
                    <a:lnTo>
                      <a:pt x="47625" y="494770"/>
                    </a:lnTo>
                    <a:lnTo>
                      <a:pt x="55562" y="500062"/>
                    </a:lnTo>
                    <a:lnTo>
                      <a:pt x="55562" y="494770"/>
                    </a:lnTo>
                    <a:lnTo>
                      <a:pt x="55562" y="484187"/>
                    </a:lnTo>
                    <a:lnTo>
                      <a:pt x="55562" y="473604"/>
                    </a:lnTo>
                    <a:lnTo>
                      <a:pt x="55562" y="468312"/>
                    </a:lnTo>
                    <a:lnTo>
                      <a:pt x="58208" y="465666"/>
                    </a:lnTo>
                    <a:lnTo>
                      <a:pt x="60854" y="468312"/>
                    </a:lnTo>
                    <a:lnTo>
                      <a:pt x="60854" y="476250"/>
                    </a:lnTo>
                    <a:lnTo>
                      <a:pt x="60854" y="484187"/>
                    </a:lnTo>
                    <a:lnTo>
                      <a:pt x="63500" y="497416"/>
                    </a:lnTo>
                    <a:lnTo>
                      <a:pt x="66146" y="492125"/>
                    </a:lnTo>
                    <a:lnTo>
                      <a:pt x="68791" y="486833"/>
                    </a:lnTo>
                    <a:lnTo>
                      <a:pt x="71437" y="484187"/>
                    </a:lnTo>
                    <a:lnTo>
                      <a:pt x="74083" y="478895"/>
                    </a:lnTo>
                    <a:lnTo>
                      <a:pt x="71437" y="463020"/>
                    </a:lnTo>
                    <a:lnTo>
                      <a:pt x="68791" y="447146"/>
                    </a:lnTo>
                    <a:lnTo>
                      <a:pt x="68791" y="439208"/>
                    </a:lnTo>
                    <a:lnTo>
                      <a:pt x="68791" y="431271"/>
                    </a:lnTo>
                    <a:lnTo>
                      <a:pt x="76729" y="423333"/>
                    </a:lnTo>
                    <a:lnTo>
                      <a:pt x="84666" y="418041"/>
                    </a:lnTo>
                    <a:lnTo>
                      <a:pt x="84666" y="412750"/>
                    </a:lnTo>
                    <a:lnTo>
                      <a:pt x="84666" y="410104"/>
                    </a:lnTo>
                    <a:lnTo>
                      <a:pt x="84666" y="407458"/>
                    </a:lnTo>
                    <a:lnTo>
                      <a:pt x="89958" y="404812"/>
                    </a:lnTo>
                    <a:lnTo>
                      <a:pt x="92604" y="402166"/>
                    </a:lnTo>
                    <a:lnTo>
                      <a:pt x="92604" y="399521"/>
                    </a:lnTo>
                    <a:lnTo>
                      <a:pt x="89958" y="396875"/>
                    </a:lnTo>
                    <a:lnTo>
                      <a:pt x="87312" y="394229"/>
                    </a:lnTo>
                    <a:lnTo>
                      <a:pt x="87312" y="391583"/>
                    </a:lnTo>
                    <a:lnTo>
                      <a:pt x="111125" y="365125"/>
                    </a:lnTo>
                    <a:lnTo>
                      <a:pt x="108479" y="378354"/>
                    </a:lnTo>
                    <a:lnTo>
                      <a:pt x="108479" y="383646"/>
                    </a:lnTo>
                    <a:lnTo>
                      <a:pt x="108479" y="386291"/>
                    </a:lnTo>
                    <a:lnTo>
                      <a:pt x="113771" y="381000"/>
                    </a:lnTo>
                    <a:lnTo>
                      <a:pt x="119062" y="378354"/>
                    </a:lnTo>
                    <a:lnTo>
                      <a:pt x="119062" y="370416"/>
                    </a:lnTo>
                    <a:lnTo>
                      <a:pt x="119062" y="365125"/>
                    </a:lnTo>
                    <a:lnTo>
                      <a:pt x="121708" y="362479"/>
                    </a:lnTo>
                    <a:lnTo>
                      <a:pt x="127000" y="359833"/>
                    </a:lnTo>
                    <a:lnTo>
                      <a:pt x="137583" y="357187"/>
                    </a:lnTo>
                    <a:lnTo>
                      <a:pt x="145521" y="351896"/>
                    </a:lnTo>
                    <a:lnTo>
                      <a:pt x="150812" y="343958"/>
                    </a:lnTo>
                    <a:lnTo>
                      <a:pt x="158750" y="333375"/>
                    </a:lnTo>
                    <a:lnTo>
                      <a:pt x="166687" y="325437"/>
                    </a:lnTo>
                    <a:lnTo>
                      <a:pt x="169333" y="325437"/>
                    </a:lnTo>
                    <a:lnTo>
                      <a:pt x="174625" y="328083"/>
                    </a:lnTo>
                    <a:lnTo>
                      <a:pt x="187854" y="325437"/>
                    </a:lnTo>
                    <a:lnTo>
                      <a:pt x="203729" y="320146"/>
                    </a:lnTo>
                    <a:lnTo>
                      <a:pt x="222250" y="317500"/>
                    </a:lnTo>
                    <a:lnTo>
                      <a:pt x="227542" y="317500"/>
                    </a:lnTo>
                    <a:lnTo>
                      <a:pt x="227542" y="314854"/>
                    </a:lnTo>
                    <a:lnTo>
                      <a:pt x="230187" y="312208"/>
                    </a:lnTo>
                    <a:lnTo>
                      <a:pt x="238125" y="309562"/>
                    </a:lnTo>
                    <a:lnTo>
                      <a:pt x="254000" y="306916"/>
                    </a:lnTo>
                    <a:lnTo>
                      <a:pt x="261937" y="304271"/>
                    </a:lnTo>
                    <a:lnTo>
                      <a:pt x="275167" y="298979"/>
                    </a:lnTo>
                    <a:lnTo>
                      <a:pt x="301625" y="293687"/>
                    </a:lnTo>
                    <a:lnTo>
                      <a:pt x="320146" y="285750"/>
                    </a:lnTo>
                    <a:lnTo>
                      <a:pt x="330729" y="277812"/>
                    </a:lnTo>
                    <a:lnTo>
                      <a:pt x="338667" y="267229"/>
                    </a:lnTo>
                    <a:lnTo>
                      <a:pt x="354542" y="240771"/>
                    </a:lnTo>
                    <a:lnTo>
                      <a:pt x="359833" y="235479"/>
                    </a:lnTo>
                    <a:lnTo>
                      <a:pt x="370417" y="235479"/>
                    </a:lnTo>
                    <a:lnTo>
                      <a:pt x="373062" y="232833"/>
                    </a:lnTo>
                    <a:lnTo>
                      <a:pt x="370417" y="230187"/>
                    </a:lnTo>
                    <a:lnTo>
                      <a:pt x="365125" y="224896"/>
                    </a:lnTo>
                    <a:lnTo>
                      <a:pt x="365125" y="222250"/>
                    </a:lnTo>
                    <a:lnTo>
                      <a:pt x="365125" y="219604"/>
                    </a:lnTo>
                    <a:lnTo>
                      <a:pt x="367771" y="211666"/>
                    </a:lnTo>
                    <a:lnTo>
                      <a:pt x="365125" y="209021"/>
                    </a:lnTo>
                    <a:lnTo>
                      <a:pt x="370417" y="203729"/>
                    </a:lnTo>
                    <a:lnTo>
                      <a:pt x="378354" y="195791"/>
                    </a:lnTo>
                    <a:lnTo>
                      <a:pt x="386292" y="190500"/>
                    </a:lnTo>
                    <a:lnTo>
                      <a:pt x="391583" y="185208"/>
                    </a:lnTo>
                    <a:lnTo>
                      <a:pt x="394229" y="185208"/>
                    </a:lnTo>
                    <a:lnTo>
                      <a:pt x="396875" y="185208"/>
                    </a:lnTo>
                    <a:lnTo>
                      <a:pt x="396875" y="187854"/>
                    </a:lnTo>
                    <a:lnTo>
                      <a:pt x="394229" y="190500"/>
                    </a:lnTo>
                    <a:lnTo>
                      <a:pt x="399521" y="198437"/>
                    </a:lnTo>
                    <a:lnTo>
                      <a:pt x="410104" y="214312"/>
                    </a:lnTo>
                    <a:lnTo>
                      <a:pt x="410104" y="206375"/>
                    </a:lnTo>
                    <a:lnTo>
                      <a:pt x="410104" y="201083"/>
                    </a:lnTo>
                    <a:lnTo>
                      <a:pt x="412750" y="195791"/>
                    </a:lnTo>
                    <a:lnTo>
                      <a:pt x="418042" y="195791"/>
                    </a:lnTo>
                    <a:lnTo>
                      <a:pt x="407458" y="182562"/>
                    </a:lnTo>
                    <a:lnTo>
                      <a:pt x="407458" y="179916"/>
                    </a:lnTo>
                    <a:lnTo>
                      <a:pt x="412750" y="179916"/>
                    </a:lnTo>
                    <a:lnTo>
                      <a:pt x="415396" y="177271"/>
                    </a:lnTo>
                    <a:lnTo>
                      <a:pt x="415396" y="171979"/>
                    </a:lnTo>
                    <a:lnTo>
                      <a:pt x="415396" y="166687"/>
                    </a:lnTo>
                    <a:lnTo>
                      <a:pt x="423333" y="169333"/>
                    </a:lnTo>
                    <a:lnTo>
                      <a:pt x="428625" y="171979"/>
                    </a:lnTo>
                    <a:lnTo>
                      <a:pt x="433917" y="174625"/>
                    </a:lnTo>
                    <a:lnTo>
                      <a:pt x="431271" y="177271"/>
                    </a:lnTo>
                    <a:lnTo>
                      <a:pt x="428625" y="182562"/>
                    </a:lnTo>
                    <a:lnTo>
                      <a:pt x="433917" y="179916"/>
                    </a:lnTo>
                    <a:lnTo>
                      <a:pt x="447146" y="182562"/>
                    </a:lnTo>
                    <a:lnTo>
                      <a:pt x="439208" y="177271"/>
                    </a:lnTo>
                    <a:lnTo>
                      <a:pt x="439208" y="174625"/>
                    </a:lnTo>
                    <a:lnTo>
                      <a:pt x="439208" y="171979"/>
                    </a:lnTo>
                    <a:lnTo>
                      <a:pt x="449792" y="158750"/>
                    </a:lnTo>
                    <a:lnTo>
                      <a:pt x="444500" y="161396"/>
                    </a:lnTo>
                    <a:lnTo>
                      <a:pt x="439208" y="171979"/>
                    </a:lnTo>
                    <a:lnTo>
                      <a:pt x="436562" y="164041"/>
                    </a:lnTo>
                    <a:lnTo>
                      <a:pt x="436562" y="158750"/>
                    </a:lnTo>
                    <a:lnTo>
                      <a:pt x="441854" y="153458"/>
                    </a:lnTo>
                    <a:lnTo>
                      <a:pt x="447146" y="150812"/>
                    </a:lnTo>
                    <a:lnTo>
                      <a:pt x="447146" y="148167"/>
                    </a:lnTo>
                    <a:lnTo>
                      <a:pt x="447146" y="145521"/>
                    </a:lnTo>
                    <a:lnTo>
                      <a:pt x="449792" y="142875"/>
                    </a:lnTo>
                    <a:lnTo>
                      <a:pt x="452437" y="145521"/>
                    </a:lnTo>
                    <a:lnTo>
                      <a:pt x="455083" y="148167"/>
                    </a:lnTo>
                    <a:lnTo>
                      <a:pt x="457729" y="150812"/>
                    </a:lnTo>
                    <a:lnTo>
                      <a:pt x="460375" y="148167"/>
                    </a:lnTo>
                    <a:lnTo>
                      <a:pt x="463021" y="145521"/>
                    </a:lnTo>
                    <a:lnTo>
                      <a:pt x="457729" y="140229"/>
                    </a:lnTo>
                    <a:lnTo>
                      <a:pt x="455083" y="137583"/>
                    </a:lnTo>
                    <a:lnTo>
                      <a:pt x="455083" y="134937"/>
                    </a:lnTo>
                    <a:lnTo>
                      <a:pt x="460375" y="132292"/>
                    </a:lnTo>
                    <a:lnTo>
                      <a:pt x="468312" y="132292"/>
                    </a:lnTo>
                    <a:lnTo>
                      <a:pt x="468312" y="129646"/>
                    </a:lnTo>
                    <a:lnTo>
                      <a:pt x="463021" y="127000"/>
                    </a:lnTo>
                    <a:lnTo>
                      <a:pt x="468312" y="127000"/>
                    </a:lnTo>
                    <a:lnTo>
                      <a:pt x="473604" y="127000"/>
                    </a:lnTo>
                    <a:lnTo>
                      <a:pt x="476250" y="124354"/>
                    </a:lnTo>
                    <a:lnTo>
                      <a:pt x="473604" y="121708"/>
                    </a:lnTo>
                    <a:lnTo>
                      <a:pt x="468312" y="116417"/>
                    </a:lnTo>
                    <a:lnTo>
                      <a:pt x="470958" y="116417"/>
                    </a:lnTo>
                    <a:lnTo>
                      <a:pt x="476250" y="116417"/>
                    </a:lnTo>
                    <a:lnTo>
                      <a:pt x="478896" y="113771"/>
                    </a:lnTo>
                    <a:lnTo>
                      <a:pt x="478896" y="111125"/>
                    </a:lnTo>
                    <a:lnTo>
                      <a:pt x="481542" y="108479"/>
                    </a:lnTo>
                    <a:lnTo>
                      <a:pt x="489479" y="116417"/>
                    </a:lnTo>
                    <a:lnTo>
                      <a:pt x="489479" y="111125"/>
                    </a:lnTo>
                    <a:lnTo>
                      <a:pt x="492125" y="108479"/>
                    </a:lnTo>
                    <a:lnTo>
                      <a:pt x="489479" y="105833"/>
                    </a:lnTo>
                    <a:lnTo>
                      <a:pt x="489479" y="100542"/>
                    </a:lnTo>
                    <a:lnTo>
                      <a:pt x="492125" y="97896"/>
                    </a:lnTo>
                    <a:lnTo>
                      <a:pt x="500062" y="95250"/>
                    </a:lnTo>
                    <a:lnTo>
                      <a:pt x="505354" y="95250"/>
                    </a:lnTo>
                    <a:lnTo>
                      <a:pt x="505354" y="97896"/>
                    </a:lnTo>
                    <a:lnTo>
                      <a:pt x="508000" y="97896"/>
                    </a:lnTo>
                    <a:lnTo>
                      <a:pt x="510646" y="97896"/>
                    </a:lnTo>
                    <a:lnTo>
                      <a:pt x="513292" y="95250"/>
                    </a:lnTo>
                    <a:lnTo>
                      <a:pt x="515937" y="97896"/>
                    </a:lnTo>
                    <a:lnTo>
                      <a:pt x="521229" y="100542"/>
                    </a:lnTo>
                    <a:lnTo>
                      <a:pt x="526521" y="100542"/>
                    </a:lnTo>
                    <a:lnTo>
                      <a:pt x="531812" y="100542"/>
                    </a:lnTo>
                    <a:lnTo>
                      <a:pt x="537104" y="108479"/>
                    </a:lnTo>
                    <a:lnTo>
                      <a:pt x="542396" y="116417"/>
                    </a:lnTo>
                    <a:lnTo>
                      <a:pt x="547687" y="119062"/>
                    </a:lnTo>
                    <a:lnTo>
                      <a:pt x="550333" y="121708"/>
                    </a:lnTo>
                    <a:lnTo>
                      <a:pt x="547687" y="124354"/>
                    </a:lnTo>
                    <a:lnTo>
                      <a:pt x="545042" y="127000"/>
                    </a:lnTo>
                    <a:lnTo>
                      <a:pt x="545042" y="129646"/>
                    </a:lnTo>
                    <a:lnTo>
                      <a:pt x="547687" y="132292"/>
                    </a:lnTo>
                    <a:lnTo>
                      <a:pt x="542396" y="140229"/>
                    </a:lnTo>
                    <a:lnTo>
                      <a:pt x="550333" y="134937"/>
                    </a:lnTo>
                    <a:lnTo>
                      <a:pt x="552979" y="134937"/>
                    </a:lnTo>
                    <a:lnTo>
                      <a:pt x="550333" y="132292"/>
                    </a:lnTo>
                    <a:lnTo>
                      <a:pt x="550333" y="127000"/>
                    </a:lnTo>
                    <a:lnTo>
                      <a:pt x="555625" y="127000"/>
                    </a:lnTo>
                    <a:lnTo>
                      <a:pt x="563562" y="127000"/>
                    </a:lnTo>
                    <a:lnTo>
                      <a:pt x="574146" y="129646"/>
                    </a:lnTo>
                    <a:lnTo>
                      <a:pt x="582083" y="132292"/>
                    </a:lnTo>
                    <a:lnTo>
                      <a:pt x="584729" y="134937"/>
                    </a:lnTo>
                    <a:lnTo>
                      <a:pt x="587375" y="140229"/>
                    </a:lnTo>
                    <a:lnTo>
                      <a:pt x="597958" y="148167"/>
                    </a:lnTo>
                    <a:lnTo>
                      <a:pt x="590021" y="137583"/>
                    </a:lnTo>
                    <a:lnTo>
                      <a:pt x="592667" y="134937"/>
                    </a:lnTo>
                    <a:lnTo>
                      <a:pt x="595312" y="132292"/>
                    </a:lnTo>
                    <a:lnTo>
                      <a:pt x="590021" y="132292"/>
                    </a:lnTo>
                    <a:lnTo>
                      <a:pt x="587375" y="129646"/>
                    </a:lnTo>
                    <a:lnTo>
                      <a:pt x="587375" y="124354"/>
                    </a:lnTo>
                    <a:lnTo>
                      <a:pt x="590021" y="121708"/>
                    </a:lnTo>
                    <a:lnTo>
                      <a:pt x="579437" y="119062"/>
                    </a:lnTo>
                    <a:lnTo>
                      <a:pt x="576792" y="116417"/>
                    </a:lnTo>
                    <a:lnTo>
                      <a:pt x="576792" y="113771"/>
                    </a:lnTo>
                    <a:lnTo>
                      <a:pt x="582083" y="108479"/>
                    </a:lnTo>
                    <a:lnTo>
                      <a:pt x="587375" y="97896"/>
                    </a:lnTo>
                    <a:lnTo>
                      <a:pt x="590021" y="100542"/>
                    </a:lnTo>
                    <a:lnTo>
                      <a:pt x="592667" y="97896"/>
                    </a:lnTo>
                    <a:lnTo>
                      <a:pt x="592667" y="95250"/>
                    </a:lnTo>
                    <a:lnTo>
                      <a:pt x="595312" y="87312"/>
                    </a:lnTo>
                    <a:lnTo>
                      <a:pt x="600604" y="84667"/>
                    </a:lnTo>
                    <a:lnTo>
                      <a:pt x="603250" y="79375"/>
                    </a:lnTo>
                    <a:lnTo>
                      <a:pt x="605896" y="74083"/>
                    </a:lnTo>
                    <a:lnTo>
                      <a:pt x="608542" y="74083"/>
                    </a:lnTo>
                    <a:lnTo>
                      <a:pt x="616479" y="74083"/>
                    </a:lnTo>
                    <a:lnTo>
                      <a:pt x="619125" y="74083"/>
                    </a:lnTo>
                    <a:lnTo>
                      <a:pt x="616479" y="68792"/>
                    </a:lnTo>
                    <a:lnTo>
                      <a:pt x="613833" y="66146"/>
                    </a:lnTo>
                    <a:lnTo>
                      <a:pt x="613833" y="63500"/>
                    </a:lnTo>
                    <a:lnTo>
                      <a:pt x="616479" y="63500"/>
                    </a:lnTo>
                    <a:lnTo>
                      <a:pt x="619125" y="60854"/>
                    </a:lnTo>
                    <a:lnTo>
                      <a:pt x="616479" y="58208"/>
                    </a:lnTo>
                    <a:lnTo>
                      <a:pt x="619125" y="55562"/>
                    </a:lnTo>
                    <a:lnTo>
                      <a:pt x="621771" y="52917"/>
                    </a:lnTo>
                    <a:lnTo>
                      <a:pt x="624417" y="52917"/>
                    </a:lnTo>
                    <a:lnTo>
                      <a:pt x="632354" y="55562"/>
                    </a:lnTo>
                    <a:lnTo>
                      <a:pt x="627062" y="52917"/>
                    </a:lnTo>
                    <a:lnTo>
                      <a:pt x="627062" y="50271"/>
                    </a:lnTo>
                    <a:lnTo>
                      <a:pt x="640292" y="42333"/>
                    </a:lnTo>
                    <a:lnTo>
                      <a:pt x="645584" y="42333"/>
                    </a:lnTo>
                    <a:lnTo>
                      <a:pt x="648230" y="44979"/>
                    </a:lnTo>
                    <a:lnTo>
                      <a:pt x="650875" y="47625"/>
                    </a:lnTo>
                    <a:lnTo>
                      <a:pt x="656167" y="47625"/>
                    </a:lnTo>
                    <a:lnTo>
                      <a:pt x="658813" y="44979"/>
                    </a:lnTo>
                    <a:lnTo>
                      <a:pt x="661459" y="47625"/>
                    </a:lnTo>
                    <a:lnTo>
                      <a:pt x="664105" y="47625"/>
                    </a:lnTo>
                    <a:lnTo>
                      <a:pt x="669396" y="47625"/>
                    </a:lnTo>
                    <a:lnTo>
                      <a:pt x="674688" y="42333"/>
                    </a:lnTo>
                    <a:lnTo>
                      <a:pt x="677334" y="39687"/>
                    </a:lnTo>
                    <a:lnTo>
                      <a:pt x="682625" y="39687"/>
                    </a:lnTo>
                    <a:lnTo>
                      <a:pt x="690563" y="42333"/>
                    </a:lnTo>
                    <a:lnTo>
                      <a:pt x="685271" y="37042"/>
                    </a:lnTo>
                    <a:lnTo>
                      <a:pt x="685271" y="31750"/>
                    </a:lnTo>
                    <a:lnTo>
                      <a:pt x="685271" y="26458"/>
                    </a:lnTo>
                    <a:lnTo>
                      <a:pt x="685271" y="21167"/>
                    </a:lnTo>
                    <a:lnTo>
                      <a:pt x="682625" y="23812"/>
                    </a:lnTo>
                    <a:lnTo>
                      <a:pt x="677334" y="23812"/>
                    </a:lnTo>
                    <a:lnTo>
                      <a:pt x="672042" y="21167"/>
                    </a:lnTo>
                    <a:lnTo>
                      <a:pt x="669396" y="13229"/>
                    </a:lnTo>
                    <a:lnTo>
                      <a:pt x="677334" y="13229"/>
                    </a:lnTo>
                    <a:lnTo>
                      <a:pt x="682625" y="13229"/>
                    </a:lnTo>
                    <a:lnTo>
                      <a:pt x="685271" y="13229"/>
                    </a:lnTo>
                    <a:lnTo>
                      <a:pt x="690563" y="18521"/>
                    </a:lnTo>
                    <a:lnTo>
                      <a:pt x="693209" y="18521"/>
                    </a:lnTo>
                    <a:lnTo>
                      <a:pt x="693209" y="15875"/>
                    </a:lnTo>
                    <a:lnTo>
                      <a:pt x="698500" y="18521"/>
                    </a:lnTo>
                    <a:lnTo>
                      <a:pt x="703792" y="29104"/>
                    </a:lnTo>
                    <a:lnTo>
                      <a:pt x="706438" y="31750"/>
                    </a:lnTo>
                    <a:lnTo>
                      <a:pt x="711730" y="34396"/>
                    </a:lnTo>
                    <a:lnTo>
                      <a:pt x="724959" y="31750"/>
                    </a:lnTo>
                    <a:lnTo>
                      <a:pt x="724959" y="34396"/>
                    </a:lnTo>
                    <a:lnTo>
                      <a:pt x="730250" y="34396"/>
                    </a:lnTo>
                    <a:lnTo>
                      <a:pt x="732896" y="37042"/>
                    </a:lnTo>
                    <a:lnTo>
                      <a:pt x="735542" y="39687"/>
                    </a:lnTo>
                    <a:lnTo>
                      <a:pt x="738188" y="37042"/>
                    </a:lnTo>
                    <a:lnTo>
                      <a:pt x="743480" y="34396"/>
                    </a:lnTo>
                    <a:lnTo>
                      <a:pt x="746125" y="37042"/>
                    </a:lnTo>
                    <a:lnTo>
                      <a:pt x="748771" y="37042"/>
                    </a:lnTo>
                    <a:lnTo>
                      <a:pt x="751417" y="37042"/>
                    </a:lnTo>
                    <a:lnTo>
                      <a:pt x="754063" y="39687"/>
                    </a:lnTo>
                    <a:lnTo>
                      <a:pt x="756709" y="42333"/>
                    </a:lnTo>
                    <a:lnTo>
                      <a:pt x="759355" y="42333"/>
                    </a:lnTo>
                    <a:lnTo>
                      <a:pt x="764646" y="37042"/>
                    </a:lnTo>
                    <a:lnTo>
                      <a:pt x="769938" y="34396"/>
                    </a:lnTo>
                    <a:lnTo>
                      <a:pt x="772584" y="34396"/>
                    </a:lnTo>
                    <a:lnTo>
                      <a:pt x="772584" y="37042"/>
                    </a:lnTo>
                    <a:lnTo>
                      <a:pt x="772584" y="39687"/>
                    </a:lnTo>
                    <a:lnTo>
                      <a:pt x="775230" y="39687"/>
                    </a:lnTo>
                    <a:lnTo>
                      <a:pt x="775230" y="42333"/>
                    </a:lnTo>
                    <a:lnTo>
                      <a:pt x="772584" y="44979"/>
                    </a:lnTo>
                    <a:lnTo>
                      <a:pt x="772584" y="47625"/>
                    </a:lnTo>
                    <a:lnTo>
                      <a:pt x="777875" y="47625"/>
                    </a:lnTo>
                    <a:lnTo>
                      <a:pt x="783167" y="47625"/>
                    </a:lnTo>
                    <a:lnTo>
                      <a:pt x="783167" y="44979"/>
                    </a:lnTo>
                    <a:lnTo>
                      <a:pt x="780521" y="44979"/>
                    </a:lnTo>
                    <a:lnTo>
                      <a:pt x="780521" y="42333"/>
                    </a:lnTo>
                    <a:lnTo>
                      <a:pt x="780521" y="39687"/>
                    </a:lnTo>
                    <a:lnTo>
                      <a:pt x="788459" y="34396"/>
                    </a:lnTo>
                    <a:lnTo>
                      <a:pt x="791105" y="34396"/>
                    </a:lnTo>
                    <a:lnTo>
                      <a:pt x="791105" y="37042"/>
                    </a:lnTo>
                    <a:lnTo>
                      <a:pt x="793750" y="44979"/>
                    </a:lnTo>
                    <a:lnTo>
                      <a:pt x="793750" y="50271"/>
                    </a:lnTo>
                    <a:lnTo>
                      <a:pt x="796396" y="50271"/>
                    </a:lnTo>
                    <a:lnTo>
                      <a:pt x="799042" y="47625"/>
                    </a:lnTo>
                    <a:lnTo>
                      <a:pt x="801688" y="44979"/>
                    </a:lnTo>
                    <a:lnTo>
                      <a:pt x="804334" y="47625"/>
                    </a:lnTo>
                    <a:lnTo>
                      <a:pt x="804334" y="52917"/>
                    </a:lnTo>
                    <a:lnTo>
                      <a:pt x="799042" y="55562"/>
                    </a:lnTo>
                    <a:lnTo>
                      <a:pt x="796396" y="58208"/>
                    </a:lnTo>
                    <a:lnTo>
                      <a:pt x="796396" y="60854"/>
                    </a:lnTo>
                    <a:lnTo>
                      <a:pt x="796396" y="63500"/>
                    </a:lnTo>
                    <a:lnTo>
                      <a:pt x="799042" y="66146"/>
                    </a:lnTo>
                    <a:lnTo>
                      <a:pt x="791105" y="66146"/>
                    </a:lnTo>
                    <a:lnTo>
                      <a:pt x="785813" y="66146"/>
                    </a:lnTo>
                    <a:lnTo>
                      <a:pt x="788459" y="68792"/>
                    </a:lnTo>
                    <a:lnTo>
                      <a:pt x="793750" y="71437"/>
                    </a:lnTo>
                    <a:lnTo>
                      <a:pt x="791105" y="74083"/>
                    </a:lnTo>
                    <a:lnTo>
                      <a:pt x="785813" y="79375"/>
                    </a:lnTo>
                    <a:lnTo>
                      <a:pt x="783167" y="82021"/>
                    </a:lnTo>
                    <a:lnTo>
                      <a:pt x="780521" y="82021"/>
                    </a:lnTo>
                    <a:lnTo>
                      <a:pt x="772584" y="76729"/>
                    </a:lnTo>
                    <a:lnTo>
                      <a:pt x="775230" y="79375"/>
                    </a:lnTo>
                    <a:lnTo>
                      <a:pt x="775230" y="82021"/>
                    </a:lnTo>
                    <a:lnTo>
                      <a:pt x="769938" y="84667"/>
                    </a:lnTo>
                    <a:lnTo>
                      <a:pt x="764646" y="84667"/>
                    </a:lnTo>
                    <a:lnTo>
                      <a:pt x="767292" y="87312"/>
                    </a:lnTo>
                    <a:lnTo>
                      <a:pt x="769938" y="89958"/>
                    </a:lnTo>
                    <a:lnTo>
                      <a:pt x="769938" y="92604"/>
                    </a:lnTo>
                    <a:lnTo>
                      <a:pt x="764646" y="95250"/>
                    </a:lnTo>
                    <a:lnTo>
                      <a:pt x="767292" y="97896"/>
                    </a:lnTo>
                    <a:lnTo>
                      <a:pt x="772584" y="97896"/>
                    </a:lnTo>
                    <a:lnTo>
                      <a:pt x="772584" y="100542"/>
                    </a:lnTo>
                    <a:lnTo>
                      <a:pt x="769938" y="100542"/>
                    </a:lnTo>
                    <a:lnTo>
                      <a:pt x="767292" y="105833"/>
                    </a:lnTo>
                    <a:lnTo>
                      <a:pt x="764646" y="111125"/>
                    </a:lnTo>
                    <a:lnTo>
                      <a:pt x="764646" y="113771"/>
                    </a:lnTo>
                    <a:lnTo>
                      <a:pt x="762000" y="113771"/>
                    </a:lnTo>
                    <a:lnTo>
                      <a:pt x="759355" y="116417"/>
                    </a:lnTo>
                    <a:lnTo>
                      <a:pt x="759355" y="119062"/>
                    </a:lnTo>
                    <a:lnTo>
                      <a:pt x="756709" y="124354"/>
                    </a:lnTo>
                    <a:lnTo>
                      <a:pt x="751417" y="129646"/>
                    </a:lnTo>
                    <a:lnTo>
                      <a:pt x="748771" y="132292"/>
                    </a:lnTo>
                    <a:lnTo>
                      <a:pt x="751417" y="134937"/>
                    </a:lnTo>
                    <a:lnTo>
                      <a:pt x="756709" y="137583"/>
                    </a:lnTo>
                    <a:lnTo>
                      <a:pt x="759355" y="137583"/>
                    </a:lnTo>
                    <a:lnTo>
                      <a:pt x="764646" y="142875"/>
                    </a:lnTo>
                    <a:lnTo>
                      <a:pt x="769938" y="150812"/>
                    </a:lnTo>
                    <a:lnTo>
                      <a:pt x="767292" y="158750"/>
                    </a:lnTo>
                    <a:lnTo>
                      <a:pt x="772584" y="161396"/>
                    </a:lnTo>
                    <a:lnTo>
                      <a:pt x="775230" y="166687"/>
                    </a:lnTo>
                    <a:lnTo>
                      <a:pt x="777875" y="169333"/>
                    </a:lnTo>
                    <a:lnTo>
                      <a:pt x="785813" y="169333"/>
                    </a:lnTo>
                    <a:lnTo>
                      <a:pt x="791105" y="171979"/>
                    </a:lnTo>
                    <a:lnTo>
                      <a:pt x="796396" y="174625"/>
                    </a:lnTo>
                    <a:lnTo>
                      <a:pt x="799042" y="179916"/>
                    </a:lnTo>
                    <a:lnTo>
                      <a:pt x="801688" y="179916"/>
                    </a:lnTo>
                    <a:lnTo>
                      <a:pt x="804334" y="179916"/>
                    </a:lnTo>
                    <a:lnTo>
                      <a:pt x="806980" y="185208"/>
                    </a:lnTo>
                    <a:lnTo>
                      <a:pt x="809625" y="190500"/>
                    </a:lnTo>
                    <a:lnTo>
                      <a:pt x="812271" y="190500"/>
                    </a:lnTo>
                    <a:lnTo>
                      <a:pt x="814917" y="190500"/>
                    </a:lnTo>
                    <a:lnTo>
                      <a:pt x="820209" y="193146"/>
                    </a:lnTo>
                    <a:lnTo>
                      <a:pt x="820209" y="195791"/>
                    </a:lnTo>
                    <a:lnTo>
                      <a:pt x="822855" y="195791"/>
                    </a:lnTo>
                    <a:lnTo>
                      <a:pt x="830792" y="195791"/>
                    </a:lnTo>
                    <a:lnTo>
                      <a:pt x="838730" y="198437"/>
                    </a:lnTo>
                    <a:lnTo>
                      <a:pt x="841376" y="198437"/>
                    </a:lnTo>
                    <a:lnTo>
                      <a:pt x="841376" y="203729"/>
                    </a:lnTo>
                    <a:lnTo>
                      <a:pt x="844021" y="209021"/>
                    </a:lnTo>
                    <a:lnTo>
                      <a:pt x="849313" y="211666"/>
                    </a:lnTo>
                    <a:lnTo>
                      <a:pt x="854605" y="211666"/>
                    </a:lnTo>
                    <a:lnTo>
                      <a:pt x="859896" y="214312"/>
                    </a:lnTo>
                    <a:lnTo>
                      <a:pt x="862542" y="216958"/>
                    </a:lnTo>
                    <a:lnTo>
                      <a:pt x="865188" y="214312"/>
                    </a:lnTo>
                    <a:lnTo>
                      <a:pt x="873126" y="216958"/>
                    </a:lnTo>
                    <a:lnTo>
                      <a:pt x="881063" y="214312"/>
                    </a:lnTo>
                    <a:lnTo>
                      <a:pt x="889001" y="211666"/>
                    </a:lnTo>
                    <a:lnTo>
                      <a:pt x="894292" y="206375"/>
                    </a:lnTo>
                    <a:lnTo>
                      <a:pt x="896938" y="198437"/>
                    </a:lnTo>
                    <a:lnTo>
                      <a:pt x="896938" y="190500"/>
                    </a:lnTo>
                    <a:lnTo>
                      <a:pt x="902230" y="182562"/>
                    </a:lnTo>
                    <a:lnTo>
                      <a:pt x="910167" y="169333"/>
                    </a:lnTo>
                    <a:lnTo>
                      <a:pt x="915459" y="158750"/>
                    </a:lnTo>
                    <a:lnTo>
                      <a:pt x="920751" y="148167"/>
                    </a:lnTo>
                    <a:lnTo>
                      <a:pt x="920751" y="140229"/>
                    </a:lnTo>
                    <a:lnTo>
                      <a:pt x="920751" y="134937"/>
                    </a:lnTo>
                    <a:lnTo>
                      <a:pt x="918105" y="127000"/>
                    </a:lnTo>
                    <a:lnTo>
                      <a:pt x="918105" y="119062"/>
                    </a:lnTo>
                    <a:lnTo>
                      <a:pt x="920751" y="105833"/>
                    </a:lnTo>
                    <a:lnTo>
                      <a:pt x="923396" y="92604"/>
                    </a:lnTo>
                    <a:lnTo>
                      <a:pt x="923396" y="87312"/>
                    </a:lnTo>
                    <a:lnTo>
                      <a:pt x="923396" y="84667"/>
                    </a:lnTo>
                    <a:lnTo>
                      <a:pt x="926042" y="79375"/>
                    </a:lnTo>
                    <a:lnTo>
                      <a:pt x="931334" y="71437"/>
                    </a:lnTo>
                    <a:lnTo>
                      <a:pt x="939271" y="63500"/>
                    </a:lnTo>
                    <a:lnTo>
                      <a:pt x="941917" y="58208"/>
                    </a:lnTo>
                    <a:lnTo>
                      <a:pt x="941917" y="55562"/>
                    </a:lnTo>
                    <a:lnTo>
                      <a:pt x="941917" y="50271"/>
                    </a:lnTo>
                    <a:lnTo>
                      <a:pt x="947209" y="47625"/>
                    </a:lnTo>
                    <a:lnTo>
                      <a:pt x="947209" y="44979"/>
                    </a:lnTo>
                    <a:lnTo>
                      <a:pt x="941917" y="42333"/>
                    </a:lnTo>
                    <a:lnTo>
                      <a:pt x="939271" y="37042"/>
                    </a:lnTo>
                    <a:lnTo>
                      <a:pt x="941917" y="34396"/>
                    </a:lnTo>
                    <a:lnTo>
                      <a:pt x="947209" y="26458"/>
                    </a:lnTo>
                    <a:lnTo>
                      <a:pt x="955146" y="18521"/>
                    </a:lnTo>
                    <a:lnTo>
                      <a:pt x="957792" y="13229"/>
                    </a:lnTo>
                    <a:lnTo>
                      <a:pt x="957792" y="10583"/>
                    </a:lnTo>
                    <a:lnTo>
                      <a:pt x="957792" y="7937"/>
                    </a:lnTo>
                    <a:lnTo>
                      <a:pt x="957792" y="5292"/>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Belgium"/>
              <p:cNvSpPr>
                <a:spLocks/>
              </p:cNvSpPr>
              <p:nvPr/>
            </p:nvSpPr>
            <p:spPr bwMode="auto">
              <a:xfrm>
                <a:off x="5856232" y="1833912"/>
                <a:ext cx="91129" cy="57662"/>
              </a:xfrm>
              <a:custGeom>
                <a:avLst/>
                <a:gdLst/>
                <a:ahLst/>
                <a:cxnLst>
                  <a:cxn ang="0">
                    <a:pos x="0" y="10"/>
                  </a:cxn>
                  <a:cxn ang="0">
                    <a:pos x="10" y="8"/>
                  </a:cxn>
                  <a:cxn ang="0">
                    <a:pos x="14" y="4"/>
                  </a:cxn>
                  <a:cxn ang="0">
                    <a:pos x="20" y="0"/>
                  </a:cxn>
                  <a:cxn ang="0">
                    <a:pos x="32" y="6"/>
                  </a:cxn>
                  <a:cxn ang="0">
                    <a:pos x="38" y="4"/>
                  </a:cxn>
                  <a:cxn ang="0">
                    <a:pos x="42" y="4"/>
                  </a:cxn>
                  <a:cxn ang="0">
                    <a:pos x="46" y="4"/>
                  </a:cxn>
                  <a:cxn ang="0">
                    <a:pos x="48" y="6"/>
                  </a:cxn>
                  <a:cxn ang="0">
                    <a:pos x="48" y="8"/>
                  </a:cxn>
                  <a:cxn ang="0">
                    <a:pos x="52" y="8"/>
                  </a:cxn>
                  <a:cxn ang="0">
                    <a:pos x="52" y="10"/>
                  </a:cxn>
                  <a:cxn ang="0">
                    <a:pos x="56" y="14"/>
                  </a:cxn>
                  <a:cxn ang="0">
                    <a:pos x="58" y="16"/>
                  </a:cxn>
                  <a:cxn ang="0">
                    <a:pos x="56" y="22"/>
                  </a:cxn>
                  <a:cxn ang="0">
                    <a:pos x="60" y="26"/>
                  </a:cxn>
                  <a:cxn ang="0">
                    <a:pos x="60" y="30"/>
                  </a:cxn>
                  <a:cxn ang="0">
                    <a:pos x="52" y="38"/>
                  </a:cxn>
                  <a:cxn ang="0">
                    <a:pos x="50" y="36"/>
                  </a:cxn>
                  <a:cxn ang="0">
                    <a:pos x="48" y="36"/>
                  </a:cxn>
                  <a:cxn ang="0">
                    <a:pos x="46" y="36"/>
                  </a:cxn>
                  <a:cxn ang="0">
                    <a:pos x="44" y="38"/>
                  </a:cxn>
                  <a:cxn ang="0">
                    <a:pos x="42" y="38"/>
                  </a:cxn>
                  <a:cxn ang="0">
                    <a:pos x="40" y="36"/>
                  </a:cxn>
                  <a:cxn ang="0">
                    <a:pos x="36" y="34"/>
                  </a:cxn>
                  <a:cxn ang="0">
                    <a:pos x="34" y="32"/>
                  </a:cxn>
                  <a:cxn ang="0">
                    <a:pos x="34" y="26"/>
                  </a:cxn>
                  <a:cxn ang="0">
                    <a:pos x="34" y="24"/>
                  </a:cxn>
                  <a:cxn ang="0">
                    <a:pos x="32" y="24"/>
                  </a:cxn>
                  <a:cxn ang="0">
                    <a:pos x="30" y="28"/>
                  </a:cxn>
                  <a:cxn ang="0">
                    <a:pos x="28" y="28"/>
                  </a:cxn>
                  <a:cxn ang="0">
                    <a:pos x="24" y="26"/>
                  </a:cxn>
                  <a:cxn ang="0">
                    <a:pos x="24" y="22"/>
                  </a:cxn>
                  <a:cxn ang="0">
                    <a:pos x="20" y="20"/>
                  </a:cxn>
                  <a:cxn ang="0">
                    <a:pos x="14" y="18"/>
                  </a:cxn>
                  <a:cxn ang="0">
                    <a:pos x="12" y="16"/>
                  </a:cxn>
                  <a:cxn ang="0">
                    <a:pos x="8" y="14"/>
                  </a:cxn>
                  <a:cxn ang="0">
                    <a:pos x="2" y="12"/>
                  </a:cxn>
                  <a:cxn ang="0">
                    <a:pos x="0" y="10"/>
                  </a:cxn>
                </a:cxnLst>
                <a:rect l="0" t="0" r="r" b="b"/>
                <a:pathLst>
                  <a:path w="60" h="38">
                    <a:moveTo>
                      <a:pt x="0" y="10"/>
                    </a:moveTo>
                    <a:lnTo>
                      <a:pt x="0" y="10"/>
                    </a:lnTo>
                    <a:lnTo>
                      <a:pt x="6" y="10"/>
                    </a:lnTo>
                    <a:lnTo>
                      <a:pt x="10" y="8"/>
                    </a:lnTo>
                    <a:lnTo>
                      <a:pt x="10" y="8"/>
                    </a:lnTo>
                    <a:lnTo>
                      <a:pt x="14" y="4"/>
                    </a:lnTo>
                    <a:lnTo>
                      <a:pt x="20" y="0"/>
                    </a:lnTo>
                    <a:lnTo>
                      <a:pt x="20" y="0"/>
                    </a:lnTo>
                    <a:lnTo>
                      <a:pt x="26" y="6"/>
                    </a:lnTo>
                    <a:lnTo>
                      <a:pt x="32" y="6"/>
                    </a:lnTo>
                    <a:lnTo>
                      <a:pt x="32" y="6"/>
                    </a:lnTo>
                    <a:lnTo>
                      <a:pt x="38" y="4"/>
                    </a:lnTo>
                    <a:lnTo>
                      <a:pt x="40" y="4"/>
                    </a:lnTo>
                    <a:lnTo>
                      <a:pt x="42" y="4"/>
                    </a:lnTo>
                    <a:lnTo>
                      <a:pt x="42" y="4"/>
                    </a:lnTo>
                    <a:lnTo>
                      <a:pt x="46" y="4"/>
                    </a:lnTo>
                    <a:lnTo>
                      <a:pt x="48" y="4"/>
                    </a:lnTo>
                    <a:lnTo>
                      <a:pt x="48" y="6"/>
                    </a:lnTo>
                    <a:lnTo>
                      <a:pt x="48" y="6"/>
                    </a:lnTo>
                    <a:lnTo>
                      <a:pt x="48" y="8"/>
                    </a:lnTo>
                    <a:lnTo>
                      <a:pt x="50" y="8"/>
                    </a:lnTo>
                    <a:lnTo>
                      <a:pt x="52" y="8"/>
                    </a:lnTo>
                    <a:lnTo>
                      <a:pt x="52" y="10"/>
                    </a:lnTo>
                    <a:lnTo>
                      <a:pt x="52" y="10"/>
                    </a:lnTo>
                    <a:lnTo>
                      <a:pt x="52" y="14"/>
                    </a:lnTo>
                    <a:lnTo>
                      <a:pt x="56" y="14"/>
                    </a:lnTo>
                    <a:lnTo>
                      <a:pt x="56" y="14"/>
                    </a:lnTo>
                    <a:lnTo>
                      <a:pt x="58" y="16"/>
                    </a:lnTo>
                    <a:lnTo>
                      <a:pt x="58" y="18"/>
                    </a:lnTo>
                    <a:lnTo>
                      <a:pt x="56" y="22"/>
                    </a:lnTo>
                    <a:lnTo>
                      <a:pt x="56" y="22"/>
                    </a:lnTo>
                    <a:lnTo>
                      <a:pt x="60" y="26"/>
                    </a:lnTo>
                    <a:lnTo>
                      <a:pt x="60" y="30"/>
                    </a:lnTo>
                    <a:lnTo>
                      <a:pt x="60" y="30"/>
                    </a:lnTo>
                    <a:lnTo>
                      <a:pt x="56" y="34"/>
                    </a:lnTo>
                    <a:lnTo>
                      <a:pt x="52" y="38"/>
                    </a:lnTo>
                    <a:lnTo>
                      <a:pt x="52" y="38"/>
                    </a:lnTo>
                    <a:lnTo>
                      <a:pt x="50" y="36"/>
                    </a:lnTo>
                    <a:lnTo>
                      <a:pt x="48" y="36"/>
                    </a:lnTo>
                    <a:lnTo>
                      <a:pt x="48" y="36"/>
                    </a:lnTo>
                    <a:lnTo>
                      <a:pt x="46" y="36"/>
                    </a:lnTo>
                    <a:lnTo>
                      <a:pt x="46" y="36"/>
                    </a:lnTo>
                    <a:lnTo>
                      <a:pt x="44" y="38"/>
                    </a:lnTo>
                    <a:lnTo>
                      <a:pt x="44" y="38"/>
                    </a:lnTo>
                    <a:lnTo>
                      <a:pt x="42" y="38"/>
                    </a:lnTo>
                    <a:lnTo>
                      <a:pt x="42" y="38"/>
                    </a:lnTo>
                    <a:lnTo>
                      <a:pt x="42" y="38"/>
                    </a:lnTo>
                    <a:lnTo>
                      <a:pt x="40" y="36"/>
                    </a:lnTo>
                    <a:lnTo>
                      <a:pt x="38" y="34"/>
                    </a:lnTo>
                    <a:lnTo>
                      <a:pt x="36" y="34"/>
                    </a:lnTo>
                    <a:lnTo>
                      <a:pt x="36" y="34"/>
                    </a:lnTo>
                    <a:lnTo>
                      <a:pt x="34" y="32"/>
                    </a:lnTo>
                    <a:lnTo>
                      <a:pt x="34" y="30"/>
                    </a:lnTo>
                    <a:lnTo>
                      <a:pt x="34" y="26"/>
                    </a:lnTo>
                    <a:lnTo>
                      <a:pt x="34" y="26"/>
                    </a:lnTo>
                    <a:lnTo>
                      <a:pt x="34" y="24"/>
                    </a:lnTo>
                    <a:lnTo>
                      <a:pt x="34" y="24"/>
                    </a:lnTo>
                    <a:lnTo>
                      <a:pt x="32" y="24"/>
                    </a:lnTo>
                    <a:lnTo>
                      <a:pt x="32" y="24"/>
                    </a:lnTo>
                    <a:lnTo>
                      <a:pt x="30" y="28"/>
                    </a:lnTo>
                    <a:lnTo>
                      <a:pt x="28" y="28"/>
                    </a:lnTo>
                    <a:lnTo>
                      <a:pt x="28" y="28"/>
                    </a:lnTo>
                    <a:lnTo>
                      <a:pt x="24" y="28"/>
                    </a:lnTo>
                    <a:lnTo>
                      <a:pt x="24" y="26"/>
                    </a:lnTo>
                    <a:lnTo>
                      <a:pt x="24" y="26"/>
                    </a:lnTo>
                    <a:lnTo>
                      <a:pt x="24" y="22"/>
                    </a:lnTo>
                    <a:lnTo>
                      <a:pt x="20" y="20"/>
                    </a:lnTo>
                    <a:lnTo>
                      <a:pt x="20" y="20"/>
                    </a:lnTo>
                    <a:lnTo>
                      <a:pt x="18" y="20"/>
                    </a:lnTo>
                    <a:lnTo>
                      <a:pt x="14" y="18"/>
                    </a:lnTo>
                    <a:lnTo>
                      <a:pt x="14" y="18"/>
                    </a:lnTo>
                    <a:lnTo>
                      <a:pt x="12" y="16"/>
                    </a:lnTo>
                    <a:lnTo>
                      <a:pt x="8" y="14"/>
                    </a:lnTo>
                    <a:lnTo>
                      <a:pt x="8" y="14"/>
                    </a:lnTo>
                    <a:lnTo>
                      <a:pt x="4" y="14"/>
                    </a:lnTo>
                    <a:lnTo>
                      <a:pt x="2" y="12"/>
                    </a:lnTo>
                    <a:lnTo>
                      <a:pt x="0" y="10"/>
                    </a:lnTo>
                    <a:lnTo>
                      <a:pt x="0" y="10"/>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Denmark"/>
              <p:cNvSpPr>
                <a:spLocks/>
              </p:cNvSpPr>
              <p:nvPr/>
            </p:nvSpPr>
            <p:spPr bwMode="auto">
              <a:xfrm>
                <a:off x="5989887" y="1663959"/>
                <a:ext cx="109355" cy="78906"/>
              </a:xfrm>
              <a:custGeom>
                <a:avLst/>
                <a:gdLst/>
                <a:ahLst/>
                <a:cxnLst/>
                <a:rect l="l" t="t" r="r" b="b"/>
                <a:pathLst>
                  <a:path w="95250" h="68792">
                    <a:moveTo>
                      <a:pt x="47625" y="52918"/>
                    </a:moveTo>
                    <a:lnTo>
                      <a:pt x="50271" y="52918"/>
                    </a:lnTo>
                    <a:lnTo>
                      <a:pt x="52917" y="55564"/>
                    </a:lnTo>
                    <a:lnTo>
                      <a:pt x="55563" y="55564"/>
                    </a:lnTo>
                    <a:lnTo>
                      <a:pt x="55563" y="52918"/>
                    </a:lnTo>
                    <a:lnTo>
                      <a:pt x="58208" y="55564"/>
                    </a:lnTo>
                    <a:lnTo>
                      <a:pt x="60854" y="58210"/>
                    </a:lnTo>
                    <a:lnTo>
                      <a:pt x="58208" y="60855"/>
                    </a:lnTo>
                    <a:lnTo>
                      <a:pt x="55563" y="63501"/>
                    </a:lnTo>
                    <a:lnTo>
                      <a:pt x="50271" y="63501"/>
                    </a:lnTo>
                    <a:lnTo>
                      <a:pt x="44979" y="60855"/>
                    </a:lnTo>
                    <a:lnTo>
                      <a:pt x="37042" y="58210"/>
                    </a:lnTo>
                    <a:lnTo>
                      <a:pt x="34396" y="55564"/>
                    </a:lnTo>
                    <a:lnTo>
                      <a:pt x="37042" y="55564"/>
                    </a:lnTo>
                    <a:close/>
                    <a:moveTo>
                      <a:pt x="87313" y="34397"/>
                    </a:moveTo>
                    <a:lnTo>
                      <a:pt x="92604" y="34397"/>
                    </a:lnTo>
                    <a:lnTo>
                      <a:pt x="95250" y="34397"/>
                    </a:lnTo>
                    <a:lnTo>
                      <a:pt x="95250" y="39689"/>
                    </a:lnTo>
                    <a:lnTo>
                      <a:pt x="95250" y="44980"/>
                    </a:lnTo>
                    <a:lnTo>
                      <a:pt x="92604" y="47626"/>
                    </a:lnTo>
                    <a:lnTo>
                      <a:pt x="89959" y="50272"/>
                    </a:lnTo>
                    <a:lnTo>
                      <a:pt x="92604" y="52918"/>
                    </a:lnTo>
                    <a:lnTo>
                      <a:pt x="95250" y="52918"/>
                    </a:lnTo>
                    <a:lnTo>
                      <a:pt x="92604" y="55564"/>
                    </a:lnTo>
                    <a:lnTo>
                      <a:pt x="89959" y="58210"/>
                    </a:lnTo>
                    <a:lnTo>
                      <a:pt x="87313" y="60855"/>
                    </a:lnTo>
                    <a:lnTo>
                      <a:pt x="89959" y="66147"/>
                    </a:lnTo>
                    <a:lnTo>
                      <a:pt x="84667" y="66147"/>
                    </a:lnTo>
                    <a:lnTo>
                      <a:pt x="76729" y="63501"/>
                    </a:lnTo>
                    <a:lnTo>
                      <a:pt x="74084" y="63501"/>
                    </a:lnTo>
                    <a:lnTo>
                      <a:pt x="74084" y="60855"/>
                    </a:lnTo>
                    <a:lnTo>
                      <a:pt x="76729" y="60855"/>
                    </a:lnTo>
                    <a:lnTo>
                      <a:pt x="79375" y="58210"/>
                    </a:lnTo>
                    <a:lnTo>
                      <a:pt x="74084" y="60855"/>
                    </a:lnTo>
                    <a:lnTo>
                      <a:pt x="68792" y="60855"/>
                    </a:lnTo>
                    <a:lnTo>
                      <a:pt x="66146" y="58210"/>
                    </a:lnTo>
                    <a:lnTo>
                      <a:pt x="66146" y="52918"/>
                    </a:lnTo>
                    <a:lnTo>
                      <a:pt x="66146" y="50272"/>
                    </a:lnTo>
                    <a:lnTo>
                      <a:pt x="63500" y="47626"/>
                    </a:lnTo>
                    <a:lnTo>
                      <a:pt x="66146" y="44980"/>
                    </a:lnTo>
                    <a:lnTo>
                      <a:pt x="74084" y="44980"/>
                    </a:lnTo>
                    <a:lnTo>
                      <a:pt x="79375" y="42334"/>
                    </a:lnTo>
                    <a:lnTo>
                      <a:pt x="76729" y="39689"/>
                    </a:lnTo>
                    <a:lnTo>
                      <a:pt x="82021" y="39689"/>
                    </a:lnTo>
                    <a:lnTo>
                      <a:pt x="84667" y="44980"/>
                    </a:lnTo>
                    <a:lnTo>
                      <a:pt x="84667" y="42334"/>
                    </a:lnTo>
                    <a:lnTo>
                      <a:pt x="87313" y="42334"/>
                    </a:lnTo>
                    <a:lnTo>
                      <a:pt x="87313" y="44980"/>
                    </a:lnTo>
                    <a:lnTo>
                      <a:pt x="89959" y="42334"/>
                    </a:lnTo>
                    <a:lnTo>
                      <a:pt x="89959" y="39689"/>
                    </a:lnTo>
                    <a:lnTo>
                      <a:pt x="87313" y="39689"/>
                    </a:lnTo>
                    <a:lnTo>
                      <a:pt x="84667" y="39689"/>
                    </a:lnTo>
                    <a:lnTo>
                      <a:pt x="84667" y="37043"/>
                    </a:lnTo>
                    <a:close/>
                    <a:moveTo>
                      <a:pt x="29105" y="13229"/>
                    </a:moveTo>
                    <a:lnTo>
                      <a:pt x="34396" y="15875"/>
                    </a:lnTo>
                    <a:lnTo>
                      <a:pt x="37042" y="18521"/>
                    </a:lnTo>
                    <a:lnTo>
                      <a:pt x="39688" y="23812"/>
                    </a:lnTo>
                    <a:lnTo>
                      <a:pt x="39688" y="26458"/>
                    </a:lnTo>
                    <a:lnTo>
                      <a:pt x="42334" y="26458"/>
                    </a:lnTo>
                    <a:lnTo>
                      <a:pt x="42334" y="29104"/>
                    </a:lnTo>
                    <a:lnTo>
                      <a:pt x="47626" y="29104"/>
                    </a:lnTo>
                    <a:lnTo>
                      <a:pt x="52917" y="29104"/>
                    </a:lnTo>
                    <a:lnTo>
                      <a:pt x="55563" y="31750"/>
                    </a:lnTo>
                    <a:lnTo>
                      <a:pt x="55563" y="34396"/>
                    </a:lnTo>
                    <a:lnTo>
                      <a:pt x="50272" y="34396"/>
                    </a:lnTo>
                    <a:lnTo>
                      <a:pt x="47626" y="37042"/>
                    </a:lnTo>
                    <a:lnTo>
                      <a:pt x="44980" y="39688"/>
                    </a:lnTo>
                    <a:lnTo>
                      <a:pt x="42334" y="39688"/>
                    </a:lnTo>
                    <a:lnTo>
                      <a:pt x="39688" y="42333"/>
                    </a:lnTo>
                    <a:lnTo>
                      <a:pt x="39688" y="44979"/>
                    </a:lnTo>
                    <a:lnTo>
                      <a:pt x="37042" y="47625"/>
                    </a:lnTo>
                    <a:lnTo>
                      <a:pt x="34396" y="47625"/>
                    </a:lnTo>
                    <a:lnTo>
                      <a:pt x="34396" y="50271"/>
                    </a:lnTo>
                    <a:lnTo>
                      <a:pt x="37042" y="52917"/>
                    </a:lnTo>
                    <a:lnTo>
                      <a:pt x="34396" y="52917"/>
                    </a:lnTo>
                    <a:lnTo>
                      <a:pt x="31751" y="55563"/>
                    </a:lnTo>
                    <a:lnTo>
                      <a:pt x="29105" y="58209"/>
                    </a:lnTo>
                    <a:lnTo>
                      <a:pt x="31751" y="60854"/>
                    </a:lnTo>
                    <a:lnTo>
                      <a:pt x="31751" y="63500"/>
                    </a:lnTo>
                    <a:lnTo>
                      <a:pt x="37042" y="63500"/>
                    </a:lnTo>
                    <a:lnTo>
                      <a:pt x="39688" y="66146"/>
                    </a:lnTo>
                    <a:lnTo>
                      <a:pt x="37042" y="66146"/>
                    </a:lnTo>
                    <a:lnTo>
                      <a:pt x="31751" y="68792"/>
                    </a:lnTo>
                    <a:lnTo>
                      <a:pt x="26459" y="66146"/>
                    </a:lnTo>
                    <a:lnTo>
                      <a:pt x="21167" y="66146"/>
                    </a:lnTo>
                    <a:lnTo>
                      <a:pt x="15875" y="66146"/>
                    </a:lnTo>
                    <a:lnTo>
                      <a:pt x="15875" y="63500"/>
                    </a:lnTo>
                    <a:lnTo>
                      <a:pt x="15875" y="60854"/>
                    </a:lnTo>
                    <a:lnTo>
                      <a:pt x="15875" y="55563"/>
                    </a:lnTo>
                    <a:lnTo>
                      <a:pt x="13230" y="55563"/>
                    </a:lnTo>
                    <a:lnTo>
                      <a:pt x="10584" y="52917"/>
                    </a:lnTo>
                    <a:lnTo>
                      <a:pt x="7938" y="50271"/>
                    </a:lnTo>
                    <a:lnTo>
                      <a:pt x="10584" y="50271"/>
                    </a:lnTo>
                    <a:lnTo>
                      <a:pt x="7938" y="47625"/>
                    </a:lnTo>
                    <a:lnTo>
                      <a:pt x="7938" y="42333"/>
                    </a:lnTo>
                    <a:lnTo>
                      <a:pt x="5292" y="42333"/>
                    </a:lnTo>
                    <a:lnTo>
                      <a:pt x="2646" y="42333"/>
                    </a:lnTo>
                    <a:lnTo>
                      <a:pt x="2646" y="39688"/>
                    </a:lnTo>
                    <a:lnTo>
                      <a:pt x="2646" y="37042"/>
                    </a:lnTo>
                    <a:lnTo>
                      <a:pt x="5292" y="34396"/>
                    </a:lnTo>
                    <a:lnTo>
                      <a:pt x="5292" y="31750"/>
                    </a:lnTo>
                    <a:lnTo>
                      <a:pt x="2646" y="29104"/>
                    </a:lnTo>
                    <a:lnTo>
                      <a:pt x="0" y="26458"/>
                    </a:lnTo>
                    <a:lnTo>
                      <a:pt x="0" y="23812"/>
                    </a:lnTo>
                    <a:lnTo>
                      <a:pt x="0" y="21167"/>
                    </a:lnTo>
                    <a:lnTo>
                      <a:pt x="2646" y="18521"/>
                    </a:lnTo>
                    <a:lnTo>
                      <a:pt x="5292" y="18521"/>
                    </a:lnTo>
                    <a:lnTo>
                      <a:pt x="7938" y="23812"/>
                    </a:lnTo>
                    <a:lnTo>
                      <a:pt x="13230" y="23812"/>
                    </a:lnTo>
                    <a:lnTo>
                      <a:pt x="13230" y="21167"/>
                    </a:lnTo>
                    <a:lnTo>
                      <a:pt x="13230" y="18521"/>
                    </a:lnTo>
                    <a:lnTo>
                      <a:pt x="15875" y="15875"/>
                    </a:lnTo>
                    <a:lnTo>
                      <a:pt x="18521" y="15875"/>
                    </a:lnTo>
                    <a:lnTo>
                      <a:pt x="18521" y="18521"/>
                    </a:lnTo>
                    <a:lnTo>
                      <a:pt x="18521" y="23812"/>
                    </a:lnTo>
                    <a:lnTo>
                      <a:pt x="21167" y="23812"/>
                    </a:lnTo>
                    <a:lnTo>
                      <a:pt x="21167" y="15875"/>
                    </a:lnTo>
                    <a:lnTo>
                      <a:pt x="23813" y="15875"/>
                    </a:lnTo>
                    <a:lnTo>
                      <a:pt x="26459" y="15875"/>
                    </a:lnTo>
                    <a:close/>
                    <a:moveTo>
                      <a:pt x="10584" y="10583"/>
                    </a:moveTo>
                    <a:lnTo>
                      <a:pt x="13230" y="10583"/>
                    </a:lnTo>
                    <a:lnTo>
                      <a:pt x="15876" y="10583"/>
                    </a:lnTo>
                    <a:lnTo>
                      <a:pt x="18522" y="10583"/>
                    </a:lnTo>
                    <a:lnTo>
                      <a:pt x="21167" y="13229"/>
                    </a:lnTo>
                    <a:lnTo>
                      <a:pt x="18522" y="13229"/>
                    </a:lnTo>
                    <a:lnTo>
                      <a:pt x="13230" y="13229"/>
                    </a:lnTo>
                    <a:lnTo>
                      <a:pt x="10584" y="18521"/>
                    </a:lnTo>
                    <a:lnTo>
                      <a:pt x="10584" y="21167"/>
                    </a:lnTo>
                    <a:lnTo>
                      <a:pt x="7938" y="18521"/>
                    </a:lnTo>
                    <a:lnTo>
                      <a:pt x="5292" y="15875"/>
                    </a:lnTo>
                    <a:close/>
                    <a:moveTo>
                      <a:pt x="42334" y="0"/>
                    </a:moveTo>
                    <a:lnTo>
                      <a:pt x="44980" y="0"/>
                    </a:lnTo>
                    <a:lnTo>
                      <a:pt x="44980" y="2646"/>
                    </a:lnTo>
                    <a:lnTo>
                      <a:pt x="42334" y="2646"/>
                    </a:lnTo>
                    <a:lnTo>
                      <a:pt x="44980" y="5292"/>
                    </a:lnTo>
                    <a:lnTo>
                      <a:pt x="44980" y="7938"/>
                    </a:lnTo>
                    <a:lnTo>
                      <a:pt x="44980" y="10583"/>
                    </a:lnTo>
                    <a:lnTo>
                      <a:pt x="42334" y="13229"/>
                    </a:lnTo>
                    <a:lnTo>
                      <a:pt x="39689" y="18521"/>
                    </a:lnTo>
                    <a:lnTo>
                      <a:pt x="34397" y="13229"/>
                    </a:lnTo>
                    <a:lnTo>
                      <a:pt x="29105" y="10583"/>
                    </a:lnTo>
                    <a:lnTo>
                      <a:pt x="26459" y="10583"/>
                    </a:lnTo>
                    <a:lnTo>
                      <a:pt x="23813" y="13229"/>
                    </a:lnTo>
                    <a:lnTo>
                      <a:pt x="21167" y="13229"/>
                    </a:lnTo>
                    <a:lnTo>
                      <a:pt x="23813" y="10583"/>
                    </a:lnTo>
                    <a:lnTo>
                      <a:pt x="29105" y="5292"/>
                    </a:lnTo>
                    <a:lnTo>
                      <a:pt x="37043" y="2646"/>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inland"/>
              <p:cNvSpPr>
                <a:spLocks/>
              </p:cNvSpPr>
              <p:nvPr/>
            </p:nvSpPr>
            <p:spPr bwMode="auto">
              <a:xfrm>
                <a:off x="6260237" y="1369582"/>
                <a:ext cx="285538" cy="242787"/>
              </a:xfrm>
              <a:custGeom>
                <a:avLst/>
                <a:gdLst/>
                <a:ahLst/>
                <a:cxnLst>
                  <a:cxn ang="0">
                    <a:pos x="130" y="144"/>
                  </a:cxn>
                  <a:cxn ang="0">
                    <a:pos x="108" y="148"/>
                  </a:cxn>
                  <a:cxn ang="0">
                    <a:pos x="94" y="150"/>
                  </a:cxn>
                  <a:cxn ang="0">
                    <a:pos x="82" y="150"/>
                  </a:cxn>
                  <a:cxn ang="0">
                    <a:pos x="68" y="156"/>
                  </a:cxn>
                  <a:cxn ang="0">
                    <a:pos x="58" y="156"/>
                  </a:cxn>
                  <a:cxn ang="0">
                    <a:pos x="52" y="152"/>
                  </a:cxn>
                  <a:cxn ang="0">
                    <a:pos x="44" y="148"/>
                  </a:cxn>
                  <a:cxn ang="0">
                    <a:pos x="38" y="146"/>
                  </a:cxn>
                  <a:cxn ang="0">
                    <a:pos x="34" y="136"/>
                  </a:cxn>
                  <a:cxn ang="0">
                    <a:pos x="32" y="130"/>
                  </a:cxn>
                  <a:cxn ang="0">
                    <a:pos x="30" y="124"/>
                  </a:cxn>
                  <a:cxn ang="0">
                    <a:pos x="28" y="120"/>
                  </a:cxn>
                  <a:cxn ang="0">
                    <a:pos x="30" y="116"/>
                  </a:cxn>
                  <a:cxn ang="0">
                    <a:pos x="28" y="112"/>
                  </a:cxn>
                  <a:cxn ang="0">
                    <a:pos x="34" y="110"/>
                  </a:cxn>
                  <a:cxn ang="0">
                    <a:pos x="34" y="108"/>
                  </a:cxn>
                  <a:cxn ang="0">
                    <a:pos x="40" y="106"/>
                  </a:cxn>
                  <a:cxn ang="0">
                    <a:pos x="48" y="102"/>
                  </a:cxn>
                  <a:cxn ang="0">
                    <a:pos x="56" y="98"/>
                  </a:cxn>
                  <a:cxn ang="0">
                    <a:pos x="60" y="96"/>
                  </a:cxn>
                  <a:cxn ang="0">
                    <a:pos x="66" y="94"/>
                  </a:cxn>
                  <a:cxn ang="0">
                    <a:pos x="80" y="84"/>
                  </a:cxn>
                  <a:cxn ang="0">
                    <a:pos x="88" y="84"/>
                  </a:cxn>
                  <a:cxn ang="0">
                    <a:pos x="86" y="78"/>
                  </a:cxn>
                  <a:cxn ang="0">
                    <a:pos x="70" y="72"/>
                  </a:cxn>
                  <a:cxn ang="0">
                    <a:pos x="60" y="66"/>
                  </a:cxn>
                  <a:cxn ang="0">
                    <a:pos x="54" y="54"/>
                  </a:cxn>
                  <a:cxn ang="0">
                    <a:pos x="46" y="42"/>
                  </a:cxn>
                  <a:cxn ang="0">
                    <a:pos x="42" y="36"/>
                  </a:cxn>
                  <a:cxn ang="0">
                    <a:pos x="8" y="26"/>
                  </a:cxn>
                  <a:cxn ang="0">
                    <a:pos x="2" y="18"/>
                  </a:cxn>
                  <a:cxn ang="0">
                    <a:pos x="8" y="14"/>
                  </a:cxn>
                  <a:cxn ang="0">
                    <a:pos x="36" y="24"/>
                  </a:cxn>
                  <a:cxn ang="0">
                    <a:pos x="54" y="26"/>
                  </a:cxn>
                  <a:cxn ang="0">
                    <a:pos x="68" y="32"/>
                  </a:cxn>
                  <a:cxn ang="0">
                    <a:pos x="80" y="22"/>
                  </a:cxn>
                  <a:cxn ang="0">
                    <a:pos x="84" y="12"/>
                  </a:cxn>
                  <a:cxn ang="0">
                    <a:pos x="102" y="2"/>
                  </a:cxn>
                  <a:cxn ang="0">
                    <a:pos x="112" y="2"/>
                  </a:cxn>
                  <a:cxn ang="0">
                    <a:pos x="124" y="10"/>
                  </a:cxn>
                  <a:cxn ang="0">
                    <a:pos x="124" y="20"/>
                  </a:cxn>
                  <a:cxn ang="0">
                    <a:pos x="132" y="30"/>
                  </a:cxn>
                  <a:cxn ang="0">
                    <a:pos x="142" y="40"/>
                  </a:cxn>
                  <a:cxn ang="0">
                    <a:pos x="150" y="54"/>
                  </a:cxn>
                  <a:cxn ang="0">
                    <a:pos x="158" y="66"/>
                  </a:cxn>
                  <a:cxn ang="0">
                    <a:pos x="164" y="76"/>
                  </a:cxn>
                  <a:cxn ang="0">
                    <a:pos x="164" y="84"/>
                  </a:cxn>
                  <a:cxn ang="0">
                    <a:pos x="170" y="94"/>
                  </a:cxn>
                  <a:cxn ang="0">
                    <a:pos x="188" y="108"/>
                  </a:cxn>
                  <a:cxn ang="0">
                    <a:pos x="180" y="120"/>
                  </a:cxn>
                  <a:cxn ang="0">
                    <a:pos x="172" y="126"/>
                  </a:cxn>
                  <a:cxn ang="0">
                    <a:pos x="148" y="142"/>
                  </a:cxn>
                </a:cxnLst>
                <a:rect l="0" t="0" r="r" b="b"/>
                <a:pathLst>
                  <a:path w="188" h="160">
                    <a:moveTo>
                      <a:pt x="148" y="146"/>
                    </a:moveTo>
                    <a:lnTo>
                      <a:pt x="148" y="146"/>
                    </a:lnTo>
                    <a:lnTo>
                      <a:pt x="138" y="146"/>
                    </a:lnTo>
                    <a:lnTo>
                      <a:pt x="132" y="146"/>
                    </a:lnTo>
                    <a:lnTo>
                      <a:pt x="130" y="144"/>
                    </a:lnTo>
                    <a:lnTo>
                      <a:pt x="126" y="146"/>
                    </a:lnTo>
                    <a:lnTo>
                      <a:pt x="126" y="146"/>
                    </a:lnTo>
                    <a:lnTo>
                      <a:pt x="118" y="148"/>
                    </a:lnTo>
                    <a:lnTo>
                      <a:pt x="112" y="148"/>
                    </a:lnTo>
                    <a:lnTo>
                      <a:pt x="108" y="148"/>
                    </a:lnTo>
                    <a:lnTo>
                      <a:pt x="104" y="148"/>
                    </a:lnTo>
                    <a:lnTo>
                      <a:pt x="104" y="148"/>
                    </a:lnTo>
                    <a:lnTo>
                      <a:pt x="100" y="150"/>
                    </a:lnTo>
                    <a:lnTo>
                      <a:pt x="96" y="150"/>
                    </a:lnTo>
                    <a:lnTo>
                      <a:pt x="94" y="150"/>
                    </a:lnTo>
                    <a:lnTo>
                      <a:pt x="92" y="152"/>
                    </a:lnTo>
                    <a:lnTo>
                      <a:pt x="92" y="152"/>
                    </a:lnTo>
                    <a:lnTo>
                      <a:pt x="90" y="152"/>
                    </a:lnTo>
                    <a:lnTo>
                      <a:pt x="86" y="152"/>
                    </a:lnTo>
                    <a:lnTo>
                      <a:pt x="82" y="150"/>
                    </a:lnTo>
                    <a:lnTo>
                      <a:pt x="78" y="150"/>
                    </a:lnTo>
                    <a:lnTo>
                      <a:pt x="78" y="150"/>
                    </a:lnTo>
                    <a:lnTo>
                      <a:pt x="72" y="154"/>
                    </a:lnTo>
                    <a:lnTo>
                      <a:pt x="70" y="154"/>
                    </a:lnTo>
                    <a:lnTo>
                      <a:pt x="68" y="156"/>
                    </a:lnTo>
                    <a:lnTo>
                      <a:pt x="68" y="156"/>
                    </a:lnTo>
                    <a:lnTo>
                      <a:pt x="62" y="158"/>
                    </a:lnTo>
                    <a:lnTo>
                      <a:pt x="56" y="160"/>
                    </a:lnTo>
                    <a:lnTo>
                      <a:pt x="56" y="160"/>
                    </a:lnTo>
                    <a:lnTo>
                      <a:pt x="58" y="156"/>
                    </a:lnTo>
                    <a:lnTo>
                      <a:pt x="58" y="154"/>
                    </a:lnTo>
                    <a:lnTo>
                      <a:pt x="56" y="154"/>
                    </a:lnTo>
                    <a:lnTo>
                      <a:pt x="56" y="154"/>
                    </a:lnTo>
                    <a:lnTo>
                      <a:pt x="52" y="154"/>
                    </a:lnTo>
                    <a:lnTo>
                      <a:pt x="52" y="152"/>
                    </a:lnTo>
                    <a:lnTo>
                      <a:pt x="52" y="146"/>
                    </a:lnTo>
                    <a:lnTo>
                      <a:pt x="52" y="146"/>
                    </a:lnTo>
                    <a:lnTo>
                      <a:pt x="46" y="150"/>
                    </a:lnTo>
                    <a:lnTo>
                      <a:pt x="44" y="150"/>
                    </a:lnTo>
                    <a:lnTo>
                      <a:pt x="44" y="148"/>
                    </a:lnTo>
                    <a:lnTo>
                      <a:pt x="44" y="146"/>
                    </a:lnTo>
                    <a:lnTo>
                      <a:pt x="42" y="144"/>
                    </a:lnTo>
                    <a:lnTo>
                      <a:pt x="40" y="144"/>
                    </a:lnTo>
                    <a:lnTo>
                      <a:pt x="40" y="144"/>
                    </a:lnTo>
                    <a:lnTo>
                      <a:pt x="38" y="146"/>
                    </a:lnTo>
                    <a:lnTo>
                      <a:pt x="36" y="144"/>
                    </a:lnTo>
                    <a:lnTo>
                      <a:pt x="36" y="142"/>
                    </a:lnTo>
                    <a:lnTo>
                      <a:pt x="36" y="138"/>
                    </a:lnTo>
                    <a:lnTo>
                      <a:pt x="36" y="138"/>
                    </a:lnTo>
                    <a:lnTo>
                      <a:pt x="34" y="136"/>
                    </a:lnTo>
                    <a:lnTo>
                      <a:pt x="34" y="134"/>
                    </a:lnTo>
                    <a:lnTo>
                      <a:pt x="36" y="134"/>
                    </a:lnTo>
                    <a:lnTo>
                      <a:pt x="34" y="132"/>
                    </a:lnTo>
                    <a:lnTo>
                      <a:pt x="34" y="132"/>
                    </a:lnTo>
                    <a:lnTo>
                      <a:pt x="32" y="130"/>
                    </a:lnTo>
                    <a:lnTo>
                      <a:pt x="30" y="128"/>
                    </a:lnTo>
                    <a:lnTo>
                      <a:pt x="30" y="128"/>
                    </a:lnTo>
                    <a:lnTo>
                      <a:pt x="30" y="126"/>
                    </a:lnTo>
                    <a:lnTo>
                      <a:pt x="30" y="126"/>
                    </a:lnTo>
                    <a:lnTo>
                      <a:pt x="30" y="124"/>
                    </a:lnTo>
                    <a:lnTo>
                      <a:pt x="28" y="124"/>
                    </a:lnTo>
                    <a:lnTo>
                      <a:pt x="28" y="124"/>
                    </a:lnTo>
                    <a:lnTo>
                      <a:pt x="28" y="122"/>
                    </a:lnTo>
                    <a:lnTo>
                      <a:pt x="28" y="122"/>
                    </a:lnTo>
                    <a:lnTo>
                      <a:pt x="28" y="120"/>
                    </a:lnTo>
                    <a:lnTo>
                      <a:pt x="28" y="118"/>
                    </a:lnTo>
                    <a:lnTo>
                      <a:pt x="28" y="118"/>
                    </a:lnTo>
                    <a:lnTo>
                      <a:pt x="28" y="118"/>
                    </a:lnTo>
                    <a:lnTo>
                      <a:pt x="28" y="116"/>
                    </a:lnTo>
                    <a:lnTo>
                      <a:pt x="30" y="116"/>
                    </a:lnTo>
                    <a:lnTo>
                      <a:pt x="28" y="116"/>
                    </a:lnTo>
                    <a:lnTo>
                      <a:pt x="28" y="116"/>
                    </a:lnTo>
                    <a:lnTo>
                      <a:pt x="26" y="114"/>
                    </a:lnTo>
                    <a:lnTo>
                      <a:pt x="26" y="112"/>
                    </a:lnTo>
                    <a:lnTo>
                      <a:pt x="28" y="112"/>
                    </a:lnTo>
                    <a:lnTo>
                      <a:pt x="30" y="112"/>
                    </a:lnTo>
                    <a:lnTo>
                      <a:pt x="30" y="112"/>
                    </a:lnTo>
                    <a:lnTo>
                      <a:pt x="32" y="112"/>
                    </a:lnTo>
                    <a:lnTo>
                      <a:pt x="32" y="112"/>
                    </a:lnTo>
                    <a:lnTo>
                      <a:pt x="34" y="110"/>
                    </a:lnTo>
                    <a:lnTo>
                      <a:pt x="32" y="110"/>
                    </a:lnTo>
                    <a:lnTo>
                      <a:pt x="32" y="110"/>
                    </a:lnTo>
                    <a:lnTo>
                      <a:pt x="30" y="108"/>
                    </a:lnTo>
                    <a:lnTo>
                      <a:pt x="32" y="108"/>
                    </a:lnTo>
                    <a:lnTo>
                      <a:pt x="34" y="108"/>
                    </a:lnTo>
                    <a:lnTo>
                      <a:pt x="34" y="108"/>
                    </a:lnTo>
                    <a:lnTo>
                      <a:pt x="38" y="106"/>
                    </a:lnTo>
                    <a:lnTo>
                      <a:pt x="38" y="106"/>
                    </a:lnTo>
                    <a:lnTo>
                      <a:pt x="38" y="106"/>
                    </a:lnTo>
                    <a:lnTo>
                      <a:pt x="40" y="106"/>
                    </a:lnTo>
                    <a:lnTo>
                      <a:pt x="42" y="104"/>
                    </a:lnTo>
                    <a:lnTo>
                      <a:pt x="44" y="102"/>
                    </a:lnTo>
                    <a:lnTo>
                      <a:pt x="46" y="102"/>
                    </a:lnTo>
                    <a:lnTo>
                      <a:pt x="46" y="102"/>
                    </a:lnTo>
                    <a:lnTo>
                      <a:pt x="48" y="102"/>
                    </a:lnTo>
                    <a:lnTo>
                      <a:pt x="50" y="100"/>
                    </a:lnTo>
                    <a:lnTo>
                      <a:pt x="50" y="98"/>
                    </a:lnTo>
                    <a:lnTo>
                      <a:pt x="54" y="98"/>
                    </a:lnTo>
                    <a:lnTo>
                      <a:pt x="54" y="98"/>
                    </a:lnTo>
                    <a:lnTo>
                      <a:pt x="56" y="98"/>
                    </a:lnTo>
                    <a:lnTo>
                      <a:pt x="56" y="98"/>
                    </a:lnTo>
                    <a:lnTo>
                      <a:pt x="58" y="96"/>
                    </a:lnTo>
                    <a:lnTo>
                      <a:pt x="58" y="96"/>
                    </a:lnTo>
                    <a:lnTo>
                      <a:pt x="58" y="96"/>
                    </a:lnTo>
                    <a:lnTo>
                      <a:pt x="60" y="96"/>
                    </a:lnTo>
                    <a:lnTo>
                      <a:pt x="60" y="94"/>
                    </a:lnTo>
                    <a:lnTo>
                      <a:pt x="62" y="94"/>
                    </a:lnTo>
                    <a:lnTo>
                      <a:pt x="64" y="94"/>
                    </a:lnTo>
                    <a:lnTo>
                      <a:pt x="64" y="94"/>
                    </a:lnTo>
                    <a:lnTo>
                      <a:pt x="66" y="94"/>
                    </a:lnTo>
                    <a:lnTo>
                      <a:pt x="68" y="92"/>
                    </a:lnTo>
                    <a:lnTo>
                      <a:pt x="72" y="90"/>
                    </a:lnTo>
                    <a:lnTo>
                      <a:pt x="72" y="90"/>
                    </a:lnTo>
                    <a:lnTo>
                      <a:pt x="76" y="88"/>
                    </a:lnTo>
                    <a:lnTo>
                      <a:pt x="80" y="84"/>
                    </a:lnTo>
                    <a:lnTo>
                      <a:pt x="80" y="84"/>
                    </a:lnTo>
                    <a:lnTo>
                      <a:pt x="82" y="82"/>
                    </a:lnTo>
                    <a:lnTo>
                      <a:pt x="84" y="84"/>
                    </a:lnTo>
                    <a:lnTo>
                      <a:pt x="84" y="84"/>
                    </a:lnTo>
                    <a:lnTo>
                      <a:pt x="88" y="84"/>
                    </a:lnTo>
                    <a:lnTo>
                      <a:pt x="88" y="84"/>
                    </a:lnTo>
                    <a:lnTo>
                      <a:pt x="88" y="84"/>
                    </a:lnTo>
                    <a:lnTo>
                      <a:pt x="88" y="82"/>
                    </a:lnTo>
                    <a:lnTo>
                      <a:pt x="86" y="80"/>
                    </a:lnTo>
                    <a:lnTo>
                      <a:pt x="86" y="78"/>
                    </a:lnTo>
                    <a:lnTo>
                      <a:pt x="86" y="78"/>
                    </a:lnTo>
                    <a:lnTo>
                      <a:pt x="84" y="76"/>
                    </a:lnTo>
                    <a:lnTo>
                      <a:pt x="82" y="74"/>
                    </a:lnTo>
                    <a:lnTo>
                      <a:pt x="76" y="72"/>
                    </a:lnTo>
                    <a:lnTo>
                      <a:pt x="70" y="72"/>
                    </a:lnTo>
                    <a:lnTo>
                      <a:pt x="66" y="70"/>
                    </a:lnTo>
                    <a:lnTo>
                      <a:pt x="66" y="70"/>
                    </a:lnTo>
                    <a:lnTo>
                      <a:pt x="62" y="68"/>
                    </a:lnTo>
                    <a:lnTo>
                      <a:pt x="60" y="66"/>
                    </a:lnTo>
                    <a:lnTo>
                      <a:pt x="60" y="66"/>
                    </a:lnTo>
                    <a:lnTo>
                      <a:pt x="56" y="64"/>
                    </a:lnTo>
                    <a:lnTo>
                      <a:pt x="56" y="64"/>
                    </a:lnTo>
                    <a:lnTo>
                      <a:pt x="56" y="60"/>
                    </a:lnTo>
                    <a:lnTo>
                      <a:pt x="56" y="56"/>
                    </a:lnTo>
                    <a:lnTo>
                      <a:pt x="54" y="54"/>
                    </a:lnTo>
                    <a:lnTo>
                      <a:pt x="50" y="50"/>
                    </a:lnTo>
                    <a:lnTo>
                      <a:pt x="50" y="50"/>
                    </a:lnTo>
                    <a:lnTo>
                      <a:pt x="46" y="46"/>
                    </a:lnTo>
                    <a:lnTo>
                      <a:pt x="46" y="44"/>
                    </a:lnTo>
                    <a:lnTo>
                      <a:pt x="46" y="42"/>
                    </a:lnTo>
                    <a:lnTo>
                      <a:pt x="44" y="42"/>
                    </a:lnTo>
                    <a:lnTo>
                      <a:pt x="44" y="42"/>
                    </a:lnTo>
                    <a:lnTo>
                      <a:pt x="42" y="40"/>
                    </a:lnTo>
                    <a:lnTo>
                      <a:pt x="42" y="38"/>
                    </a:lnTo>
                    <a:lnTo>
                      <a:pt x="42" y="36"/>
                    </a:lnTo>
                    <a:lnTo>
                      <a:pt x="36" y="32"/>
                    </a:lnTo>
                    <a:lnTo>
                      <a:pt x="36" y="32"/>
                    </a:lnTo>
                    <a:lnTo>
                      <a:pt x="28" y="28"/>
                    </a:lnTo>
                    <a:lnTo>
                      <a:pt x="18" y="28"/>
                    </a:lnTo>
                    <a:lnTo>
                      <a:pt x="8" y="26"/>
                    </a:lnTo>
                    <a:lnTo>
                      <a:pt x="4" y="24"/>
                    </a:lnTo>
                    <a:lnTo>
                      <a:pt x="0" y="20"/>
                    </a:lnTo>
                    <a:lnTo>
                      <a:pt x="0" y="20"/>
                    </a:lnTo>
                    <a:lnTo>
                      <a:pt x="2" y="20"/>
                    </a:lnTo>
                    <a:lnTo>
                      <a:pt x="2" y="18"/>
                    </a:lnTo>
                    <a:lnTo>
                      <a:pt x="2" y="18"/>
                    </a:lnTo>
                    <a:lnTo>
                      <a:pt x="2" y="16"/>
                    </a:lnTo>
                    <a:lnTo>
                      <a:pt x="2" y="16"/>
                    </a:lnTo>
                    <a:lnTo>
                      <a:pt x="6" y="14"/>
                    </a:lnTo>
                    <a:lnTo>
                      <a:pt x="8" y="14"/>
                    </a:lnTo>
                    <a:lnTo>
                      <a:pt x="10" y="16"/>
                    </a:lnTo>
                    <a:lnTo>
                      <a:pt x="10" y="16"/>
                    </a:lnTo>
                    <a:lnTo>
                      <a:pt x="14" y="18"/>
                    </a:lnTo>
                    <a:lnTo>
                      <a:pt x="20" y="20"/>
                    </a:lnTo>
                    <a:lnTo>
                      <a:pt x="36" y="24"/>
                    </a:lnTo>
                    <a:lnTo>
                      <a:pt x="36" y="24"/>
                    </a:lnTo>
                    <a:lnTo>
                      <a:pt x="46" y="26"/>
                    </a:lnTo>
                    <a:lnTo>
                      <a:pt x="52" y="26"/>
                    </a:lnTo>
                    <a:lnTo>
                      <a:pt x="54" y="26"/>
                    </a:lnTo>
                    <a:lnTo>
                      <a:pt x="54" y="26"/>
                    </a:lnTo>
                    <a:lnTo>
                      <a:pt x="56" y="22"/>
                    </a:lnTo>
                    <a:lnTo>
                      <a:pt x="58" y="24"/>
                    </a:lnTo>
                    <a:lnTo>
                      <a:pt x="58" y="24"/>
                    </a:lnTo>
                    <a:lnTo>
                      <a:pt x="66" y="30"/>
                    </a:lnTo>
                    <a:lnTo>
                      <a:pt x="68" y="32"/>
                    </a:lnTo>
                    <a:lnTo>
                      <a:pt x="72" y="30"/>
                    </a:lnTo>
                    <a:lnTo>
                      <a:pt x="72" y="30"/>
                    </a:lnTo>
                    <a:lnTo>
                      <a:pt x="74" y="24"/>
                    </a:lnTo>
                    <a:lnTo>
                      <a:pt x="80" y="22"/>
                    </a:lnTo>
                    <a:lnTo>
                      <a:pt x="80" y="22"/>
                    </a:lnTo>
                    <a:lnTo>
                      <a:pt x="82" y="20"/>
                    </a:lnTo>
                    <a:lnTo>
                      <a:pt x="82" y="18"/>
                    </a:lnTo>
                    <a:lnTo>
                      <a:pt x="82" y="18"/>
                    </a:lnTo>
                    <a:lnTo>
                      <a:pt x="80" y="14"/>
                    </a:lnTo>
                    <a:lnTo>
                      <a:pt x="84" y="12"/>
                    </a:lnTo>
                    <a:lnTo>
                      <a:pt x="92" y="6"/>
                    </a:lnTo>
                    <a:lnTo>
                      <a:pt x="92" y="6"/>
                    </a:lnTo>
                    <a:lnTo>
                      <a:pt x="94" y="4"/>
                    </a:lnTo>
                    <a:lnTo>
                      <a:pt x="96" y="4"/>
                    </a:lnTo>
                    <a:lnTo>
                      <a:pt x="102" y="2"/>
                    </a:lnTo>
                    <a:lnTo>
                      <a:pt x="102" y="2"/>
                    </a:lnTo>
                    <a:lnTo>
                      <a:pt x="108" y="0"/>
                    </a:lnTo>
                    <a:lnTo>
                      <a:pt x="110" y="0"/>
                    </a:lnTo>
                    <a:lnTo>
                      <a:pt x="112" y="2"/>
                    </a:lnTo>
                    <a:lnTo>
                      <a:pt x="112" y="2"/>
                    </a:lnTo>
                    <a:lnTo>
                      <a:pt x="112" y="4"/>
                    </a:lnTo>
                    <a:lnTo>
                      <a:pt x="116" y="6"/>
                    </a:lnTo>
                    <a:lnTo>
                      <a:pt x="122" y="8"/>
                    </a:lnTo>
                    <a:lnTo>
                      <a:pt x="122" y="8"/>
                    </a:lnTo>
                    <a:lnTo>
                      <a:pt x="124" y="10"/>
                    </a:lnTo>
                    <a:lnTo>
                      <a:pt x="124" y="12"/>
                    </a:lnTo>
                    <a:lnTo>
                      <a:pt x="122" y="16"/>
                    </a:lnTo>
                    <a:lnTo>
                      <a:pt x="122" y="18"/>
                    </a:lnTo>
                    <a:lnTo>
                      <a:pt x="122" y="18"/>
                    </a:lnTo>
                    <a:lnTo>
                      <a:pt x="124" y="20"/>
                    </a:lnTo>
                    <a:lnTo>
                      <a:pt x="124" y="22"/>
                    </a:lnTo>
                    <a:lnTo>
                      <a:pt x="126" y="26"/>
                    </a:lnTo>
                    <a:lnTo>
                      <a:pt x="126" y="26"/>
                    </a:lnTo>
                    <a:lnTo>
                      <a:pt x="128" y="30"/>
                    </a:lnTo>
                    <a:lnTo>
                      <a:pt x="132" y="30"/>
                    </a:lnTo>
                    <a:lnTo>
                      <a:pt x="134" y="30"/>
                    </a:lnTo>
                    <a:lnTo>
                      <a:pt x="138" y="34"/>
                    </a:lnTo>
                    <a:lnTo>
                      <a:pt x="138" y="34"/>
                    </a:lnTo>
                    <a:lnTo>
                      <a:pt x="142" y="38"/>
                    </a:lnTo>
                    <a:lnTo>
                      <a:pt x="142" y="40"/>
                    </a:lnTo>
                    <a:lnTo>
                      <a:pt x="142" y="44"/>
                    </a:lnTo>
                    <a:lnTo>
                      <a:pt x="142" y="46"/>
                    </a:lnTo>
                    <a:lnTo>
                      <a:pt x="142" y="48"/>
                    </a:lnTo>
                    <a:lnTo>
                      <a:pt x="150" y="54"/>
                    </a:lnTo>
                    <a:lnTo>
                      <a:pt x="150" y="54"/>
                    </a:lnTo>
                    <a:lnTo>
                      <a:pt x="158" y="60"/>
                    </a:lnTo>
                    <a:lnTo>
                      <a:pt x="160" y="64"/>
                    </a:lnTo>
                    <a:lnTo>
                      <a:pt x="160" y="66"/>
                    </a:lnTo>
                    <a:lnTo>
                      <a:pt x="158" y="66"/>
                    </a:lnTo>
                    <a:lnTo>
                      <a:pt x="158" y="66"/>
                    </a:lnTo>
                    <a:lnTo>
                      <a:pt x="156" y="68"/>
                    </a:lnTo>
                    <a:lnTo>
                      <a:pt x="158" y="70"/>
                    </a:lnTo>
                    <a:lnTo>
                      <a:pt x="160" y="74"/>
                    </a:lnTo>
                    <a:lnTo>
                      <a:pt x="164" y="76"/>
                    </a:lnTo>
                    <a:lnTo>
                      <a:pt x="164" y="76"/>
                    </a:lnTo>
                    <a:lnTo>
                      <a:pt x="166" y="78"/>
                    </a:lnTo>
                    <a:lnTo>
                      <a:pt x="162" y="80"/>
                    </a:lnTo>
                    <a:lnTo>
                      <a:pt x="162" y="82"/>
                    </a:lnTo>
                    <a:lnTo>
                      <a:pt x="164" y="84"/>
                    </a:lnTo>
                    <a:lnTo>
                      <a:pt x="164" y="84"/>
                    </a:lnTo>
                    <a:lnTo>
                      <a:pt x="172" y="88"/>
                    </a:lnTo>
                    <a:lnTo>
                      <a:pt x="174" y="90"/>
                    </a:lnTo>
                    <a:lnTo>
                      <a:pt x="174" y="92"/>
                    </a:lnTo>
                    <a:lnTo>
                      <a:pt x="172" y="94"/>
                    </a:lnTo>
                    <a:lnTo>
                      <a:pt x="170" y="94"/>
                    </a:lnTo>
                    <a:lnTo>
                      <a:pt x="170" y="96"/>
                    </a:lnTo>
                    <a:lnTo>
                      <a:pt x="180" y="100"/>
                    </a:lnTo>
                    <a:lnTo>
                      <a:pt x="180" y="100"/>
                    </a:lnTo>
                    <a:lnTo>
                      <a:pt x="188" y="104"/>
                    </a:lnTo>
                    <a:lnTo>
                      <a:pt x="188" y="108"/>
                    </a:lnTo>
                    <a:lnTo>
                      <a:pt x="186" y="112"/>
                    </a:lnTo>
                    <a:lnTo>
                      <a:pt x="182" y="116"/>
                    </a:lnTo>
                    <a:lnTo>
                      <a:pt x="182" y="116"/>
                    </a:lnTo>
                    <a:lnTo>
                      <a:pt x="180" y="118"/>
                    </a:lnTo>
                    <a:lnTo>
                      <a:pt x="180" y="120"/>
                    </a:lnTo>
                    <a:lnTo>
                      <a:pt x="180" y="122"/>
                    </a:lnTo>
                    <a:lnTo>
                      <a:pt x="178" y="122"/>
                    </a:lnTo>
                    <a:lnTo>
                      <a:pt x="178" y="122"/>
                    </a:lnTo>
                    <a:lnTo>
                      <a:pt x="174" y="122"/>
                    </a:lnTo>
                    <a:lnTo>
                      <a:pt x="172" y="126"/>
                    </a:lnTo>
                    <a:lnTo>
                      <a:pt x="168" y="130"/>
                    </a:lnTo>
                    <a:lnTo>
                      <a:pt x="160" y="134"/>
                    </a:lnTo>
                    <a:lnTo>
                      <a:pt x="160" y="134"/>
                    </a:lnTo>
                    <a:lnTo>
                      <a:pt x="152" y="140"/>
                    </a:lnTo>
                    <a:lnTo>
                      <a:pt x="148" y="142"/>
                    </a:lnTo>
                    <a:lnTo>
                      <a:pt x="148" y="146"/>
                    </a:lnTo>
                    <a:lnTo>
                      <a:pt x="148" y="146"/>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ance"/>
              <p:cNvSpPr>
                <a:spLocks/>
              </p:cNvSpPr>
              <p:nvPr/>
            </p:nvSpPr>
            <p:spPr bwMode="auto">
              <a:xfrm>
                <a:off x="5661822" y="1849086"/>
                <a:ext cx="337179" cy="264031"/>
              </a:xfrm>
              <a:custGeom>
                <a:avLst/>
                <a:gdLst/>
                <a:ahLst/>
                <a:cxnLst>
                  <a:cxn ang="0">
                    <a:pos x="210" y="152"/>
                  </a:cxn>
                  <a:cxn ang="0">
                    <a:pos x="196" y="160"/>
                  </a:cxn>
                  <a:cxn ang="0">
                    <a:pos x="180" y="152"/>
                  </a:cxn>
                  <a:cxn ang="0">
                    <a:pos x="168" y="154"/>
                  </a:cxn>
                  <a:cxn ang="0">
                    <a:pos x="146" y="164"/>
                  </a:cxn>
                  <a:cxn ang="0">
                    <a:pos x="136" y="172"/>
                  </a:cxn>
                  <a:cxn ang="0">
                    <a:pos x="120" y="172"/>
                  </a:cxn>
                  <a:cxn ang="0">
                    <a:pos x="108" y="172"/>
                  </a:cxn>
                  <a:cxn ang="0">
                    <a:pos x="94" y="172"/>
                  </a:cxn>
                  <a:cxn ang="0">
                    <a:pos x="74" y="164"/>
                  </a:cxn>
                  <a:cxn ang="0">
                    <a:pos x="60" y="160"/>
                  </a:cxn>
                  <a:cxn ang="0">
                    <a:pos x="50" y="154"/>
                  </a:cxn>
                  <a:cxn ang="0">
                    <a:pos x="62" y="132"/>
                  </a:cxn>
                  <a:cxn ang="0">
                    <a:pos x="74" y="120"/>
                  </a:cxn>
                  <a:cxn ang="0">
                    <a:pos x="68" y="100"/>
                  </a:cxn>
                  <a:cxn ang="0">
                    <a:pos x="66" y="96"/>
                  </a:cxn>
                  <a:cxn ang="0">
                    <a:pos x="48" y="82"/>
                  </a:cxn>
                  <a:cxn ang="0">
                    <a:pos x="48" y="76"/>
                  </a:cxn>
                  <a:cxn ang="0">
                    <a:pos x="44" y="72"/>
                  </a:cxn>
                  <a:cxn ang="0">
                    <a:pos x="36" y="66"/>
                  </a:cxn>
                  <a:cxn ang="0">
                    <a:pos x="26" y="66"/>
                  </a:cxn>
                  <a:cxn ang="0">
                    <a:pos x="8" y="62"/>
                  </a:cxn>
                  <a:cxn ang="0">
                    <a:pos x="4" y="56"/>
                  </a:cxn>
                  <a:cxn ang="0">
                    <a:pos x="6" y="52"/>
                  </a:cxn>
                  <a:cxn ang="0">
                    <a:pos x="0" y="46"/>
                  </a:cxn>
                  <a:cxn ang="0">
                    <a:pos x="16" y="44"/>
                  </a:cxn>
                  <a:cxn ang="0">
                    <a:pos x="30" y="44"/>
                  </a:cxn>
                  <a:cxn ang="0">
                    <a:pos x="40" y="44"/>
                  </a:cxn>
                  <a:cxn ang="0">
                    <a:pos x="54" y="46"/>
                  </a:cxn>
                  <a:cxn ang="0">
                    <a:pos x="54" y="34"/>
                  </a:cxn>
                  <a:cxn ang="0">
                    <a:pos x="54" y="24"/>
                  </a:cxn>
                  <a:cxn ang="0">
                    <a:pos x="64" y="30"/>
                  </a:cxn>
                  <a:cxn ang="0">
                    <a:pos x="72" y="32"/>
                  </a:cxn>
                  <a:cxn ang="0">
                    <a:pos x="86" y="30"/>
                  </a:cxn>
                  <a:cxn ang="0">
                    <a:pos x="92" y="22"/>
                  </a:cxn>
                  <a:cxn ang="0">
                    <a:pos x="112" y="14"/>
                  </a:cxn>
                  <a:cxn ang="0">
                    <a:pos x="116" y="4"/>
                  </a:cxn>
                  <a:cxn ang="0">
                    <a:pos x="132" y="4"/>
                  </a:cxn>
                  <a:cxn ang="0">
                    <a:pos x="148" y="10"/>
                  </a:cxn>
                  <a:cxn ang="0">
                    <a:pos x="156" y="18"/>
                  </a:cxn>
                  <a:cxn ang="0">
                    <a:pos x="162" y="16"/>
                  </a:cxn>
                  <a:cxn ang="0">
                    <a:pos x="170" y="28"/>
                  </a:cxn>
                  <a:cxn ang="0">
                    <a:pos x="176" y="26"/>
                  </a:cxn>
                  <a:cxn ang="0">
                    <a:pos x="194" y="30"/>
                  </a:cxn>
                  <a:cxn ang="0">
                    <a:pos x="214" y="38"/>
                  </a:cxn>
                  <a:cxn ang="0">
                    <a:pos x="214" y="56"/>
                  </a:cxn>
                  <a:cxn ang="0">
                    <a:pos x="212" y="68"/>
                  </a:cxn>
                  <a:cxn ang="0">
                    <a:pos x="204" y="70"/>
                  </a:cxn>
                  <a:cxn ang="0">
                    <a:pos x="192" y="80"/>
                  </a:cxn>
                  <a:cxn ang="0">
                    <a:pos x="194" y="94"/>
                  </a:cxn>
                  <a:cxn ang="0">
                    <a:pos x="206" y="98"/>
                  </a:cxn>
                  <a:cxn ang="0">
                    <a:pos x="210" y="110"/>
                  </a:cxn>
                  <a:cxn ang="0">
                    <a:pos x="206" y="118"/>
                  </a:cxn>
                  <a:cxn ang="0">
                    <a:pos x="210" y="132"/>
                  </a:cxn>
                  <a:cxn ang="0">
                    <a:pos x="222" y="140"/>
                  </a:cxn>
                </a:cxnLst>
                <a:rect l="0" t="0" r="r" b="b"/>
                <a:pathLst>
                  <a:path w="222" h="174">
                    <a:moveTo>
                      <a:pt x="220" y="146"/>
                    </a:moveTo>
                    <a:lnTo>
                      <a:pt x="220" y="146"/>
                    </a:lnTo>
                    <a:lnTo>
                      <a:pt x="214" y="148"/>
                    </a:lnTo>
                    <a:lnTo>
                      <a:pt x="214" y="148"/>
                    </a:lnTo>
                    <a:lnTo>
                      <a:pt x="210" y="150"/>
                    </a:lnTo>
                    <a:lnTo>
                      <a:pt x="210" y="152"/>
                    </a:lnTo>
                    <a:lnTo>
                      <a:pt x="210" y="152"/>
                    </a:lnTo>
                    <a:lnTo>
                      <a:pt x="208" y="152"/>
                    </a:lnTo>
                    <a:lnTo>
                      <a:pt x="204" y="156"/>
                    </a:lnTo>
                    <a:lnTo>
                      <a:pt x="204" y="156"/>
                    </a:lnTo>
                    <a:lnTo>
                      <a:pt x="200" y="160"/>
                    </a:lnTo>
                    <a:lnTo>
                      <a:pt x="196" y="160"/>
                    </a:lnTo>
                    <a:lnTo>
                      <a:pt x="196" y="160"/>
                    </a:lnTo>
                    <a:lnTo>
                      <a:pt x="196" y="160"/>
                    </a:lnTo>
                    <a:lnTo>
                      <a:pt x="194" y="160"/>
                    </a:lnTo>
                    <a:lnTo>
                      <a:pt x="190" y="156"/>
                    </a:lnTo>
                    <a:lnTo>
                      <a:pt x="190" y="156"/>
                    </a:lnTo>
                    <a:lnTo>
                      <a:pt x="186" y="154"/>
                    </a:lnTo>
                    <a:lnTo>
                      <a:pt x="182" y="154"/>
                    </a:lnTo>
                    <a:lnTo>
                      <a:pt x="182" y="154"/>
                    </a:lnTo>
                    <a:lnTo>
                      <a:pt x="180" y="152"/>
                    </a:lnTo>
                    <a:lnTo>
                      <a:pt x="180" y="152"/>
                    </a:lnTo>
                    <a:lnTo>
                      <a:pt x="178" y="150"/>
                    </a:lnTo>
                    <a:lnTo>
                      <a:pt x="176" y="150"/>
                    </a:lnTo>
                    <a:lnTo>
                      <a:pt x="176" y="150"/>
                    </a:lnTo>
                    <a:lnTo>
                      <a:pt x="172" y="152"/>
                    </a:lnTo>
                    <a:lnTo>
                      <a:pt x="168" y="154"/>
                    </a:lnTo>
                    <a:lnTo>
                      <a:pt x="168" y="154"/>
                    </a:lnTo>
                    <a:lnTo>
                      <a:pt x="162" y="154"/>
                    </a:lnTo>
                    <a:lnTo>
                      <a:pt x="160" y="154"/>
                    </a:lnTo>
                    <a:lnTo>
                      <a:pt x="160" y="154"/>
                    </a:lnTo>
                    <a:lnTo>
                      <a:pt x="156" y="156"/>
                    </a:lnTo>
                    <a:lnTo>
                      <a:pt x="150" y="162"/>
                    </a:lnTo>
                    <a:lnTo>
                      <a:pt x="150" y="162"/>
                    </a:lnTo>
                    <a:lnTo>
                      <a:pt x="146" y="164"/>
                    </a:lnTo>
                    <a:lnTo>
                      <a:pt x="144" y="168"/>
                    </a:lnTo>
                    <a:lnTo>
                      <a:pt x="144" y="168"/>
                    </a:lnTo>
                    <a:lnTo>
                      <a:pt x="142" y="170"/>
                    </a:lnTo>
                    <a:lnTo>
                      <a:pt x="142" y="172"/>
                    </a:lnTo>
                    <a:lnTo>
                      <a:pt x="142" y="172"/>
                    </a:lnTo>
                    <a:lnTo>
                      <a:pt x="140" y="170"/>
                    </a:lnTo>
                    <a:lnTo>
                      <a:pt x="136" y="172"/>
                    </a:lnTo>
                    <a:lnTo>
                      <a:pt x="136" y="172"/>
                    </a:lnTo>
                    <a:lnTo>
                      <a:pt x="130" y="172"/>
                    </a:lnTo>
                    <a:lnTo>
                      <a:pt x="128" y="172"/>
                    </a:lnTo>
                    <a:lnTo>
                      <a:pt x="126" y="174"/>
                    </a:lnTo>
                    <a:lnTo>
                      <a:pt x="126" y="174"/>
                    </a:lnTo>
                    <a:lnTo>
                      <a:pt x="124" y="174"/>
                    </a:lnTo>
                    <a:lnTo>
                      <a:pt x="120" y="172"/>
                    </a:lnTo>
                    <a:lnTo>
                      <a:pt x="118" y="172"/>
                    </a:lnTo>
                    <a:lnTo>
                      <a:pt x="114" y="174"/>
                    </a:lnTo>
                    <a:lnTo>
                      <a:pt x="114" y="174"/>
                    </a:lnTo>
                    <a:lnTo>
                      <a:pt x="112" y="174"/>
                    </a:lnTo>
                    <a:lnTo>
                      <a:pt x="110" y="174"/>
                    </a:lnTo>
                    <a:lnTo>
                      <a:pt x="108" y="174"/>
                    </a:lnTo>
                    <a:lnTo>
                      <a:pt x="108" y="172"/>
                    </a:lnTo>
                    <a:lnTo>
                      <a:pt x="108" y="172"/>
                    </a:lnTo>
                    <a:lnTo>
                      <a:pt x="106" y="172"/>
                    </a:lnTo>
                    <a:lnTo>
                      <a:pt x="102" y="170"/>
                    </a:lnTo>
                    <a:lnTo>
                      <a:pt x="98" y="168"/>
                    </a:lnTo>
                    <a:lnTo>
                      <a:pt x="96" y="168"/>
                    </a:lnTo>
                    <a:lnTo>
                      <a:pt x="96" y="168"/>
                    </a:lnTo>
                    <a:lnTo>
                      <a:pt x="94" y="172"/>
                    </a:lnTo>
                    <a:lnTo>
                      <a:pt x="94" y="172"/>
                    </a:lnTo>
                    <a:lnTo>
                      <a:pt x="90" y="172"/>
                    </a:lnTo>
                    <a:lnTo>
                      <a:pt x="90" y="172"/>
                    </a:lnTo>
                    <a:lnTo>
                      <a:pt x="86" y="170"/>
                    </a:lnTo>
                    <a:lnTo>
                      <a:pt x="80" y="168"/>
                    </a:lnTo>
                    <a:lnTo>
                      <a:pt x="80" y="168"/>
                    </a:lnTo>
                    <a:lnTo>
                      <a:pt x="74" y="164"/>
                    </a:lnTo>
                    <a:lnTo>
                      <a:pt x="70" y="164"/>
                    </a:lnTo>
                    <a:lnTo>
                      <a:pt x="70" y="164"/>
                    </a:lnTo>
                    <a:lnTo>
                      <a:pt x="66" y="164"/>
                    </a:lnTo>
                    <a:lnTo>
                      <a:pt x="64" y="162"/>
                    </a:lnTo>
                    <a:lnTo>
                      <a:pt x="62" y="160"/>
                    </a:lnTo>
                    <a:lnTo>
                      <a:pt x="60" y="160"/>
                    </a:lnTo>
                    <a:lnTo>
                      <a:pt x="60" y="160"/>
                    </a:lnTo>
                    <a:lnTo>
                      <a:pt x="56" y="160"/>
                    </a:lnTo>
                    <a:lnTo>
                      <a:pt x="56" y="158"/>
                    </a:lnTo>
                    <a:lnTo>
                      <a:pt x="56" y="156"/>
                    </a:lnTo>
                    <a:lnTo>
                      <a:pt x="54" y="156"/>
                    </a:lnTo>
                    <a:lnTo>
                      <a:pt x="54" y="156"/>
                    </a:lnTo>
                    <a:lnTo>
                      <a:pt x="52" y="156"/>
                    </a:lnTo>
                    <a:lnTo>
                      <a:pt x="50" y="154"/>
                    </a:lnTo>
                    <a:lnTo>
                      <a:pt x="50" y="154"/>
                    </a:lnTo>
                    <a:lnTo>
                      <a:pt x="54" y="154"/>
                    </a:lnTo>
                    <a:lnTo>
                      <a:pt x="56" y="150"/>
                    </a:lnTo>
                    <a:lnTo>
                      <a:pt x="56" y="150"/>
                    </a:lnTo>
                    <a:lnTo>
                      <a:pt x="58" y="142"/>
                    </a:lnTo>
                    <a:lnTo>
                      <a:pt x="62" y="132"/>
                    </a:lnTo>
                    <a:lnTo>
                      <a:pt x="62" y="132"/>
                    </a:lnTo>
                    <a:lnTo>
                      <a:pt x="64" y="126"/>
                    </a:lnTo>
                    <a:lnTo>
                      <a:pt x="66" y="116"/>
                    </a:lnTo>
                    <a:lnTo>
                      <a:pt x="66" y="116"/>
                    </a:lnTo>
                    <a:lnTo>
                      <a:pt x="68" y="114"/>
                    </a:lnTo>
                    <a:lnTo>
                      <a:pt x="70" y="114"/>
                    </a:lnTo>
                    <a:lnTo>
                      <a:pt x="74" y="120"/>
                    </a:lnTo>
                    <a:lnTo>
                      <a:pt x="74" y="120"/>
                    </a:lnTo>
                    <a:lnTo>
                      <a:pt x="72" y="114"/>
                    </a:lnTo>
                    <a:lnTo>
                      <a:pt x="70" y="112"/>
                    </a:lnTo>
                    <a:lnTo>
                      <a:pt x="68" y="110"/>
                    </a:lnTo>
                    <a:lnTo>
                      <a:pt x="68" y="106"/>
                    </a:lnTo>
                    <a:lnTo>
                      <a:pt x="68" y="106"/>
                    </a:lnTo>
                    <a:lnTo>
                      <a:pt x="70" y="102"/>
                    </a:lnTo>
                    <a:lnTo>
                      <a:pt x="68" y="100"/>
                    </a:lnTo>
                    <a:lnTo>
                      <a:pt x="68" y="100"/>
                    </a:lnTo>
                    <a:lnTo>
                      <a:pt x="68" y="98"/>
                    </a:lnTo>
                    <a:lnTo>
                      <a:pt x="68" y="96"/>
                    </a:lnTo>
                    <a:lnTo>
                      <a:pt x="70" y="94"/>
                    </a:lnTo>
                    <a:lnTo>
                      <a:pt x="68" y="96"/>
                    </a:lnTo>
                    <a:lnTo>
                      <a:pt x="68" y="96"/>
                    </a:lnTo>
                    <a:lnTo>
                      <a:pt x="66" y="96"/>
                    </a:lnTo>
                    <a:lnTo>
                      <a:pt x="66" y="96"/>
                    </a:lnTo>
                    <a:lnTo>
                      <a:pt x="62" y="92"/>
                    </a:lnTo>
                    <a:lnTo>
                      <a:pt x="62" y="92"/>
                    </a:lnTo>
                    <a:lnTo>
                      <a:pt x="56" y="90"/>
                    </a:lnTo>
                    <a:lnTo>
                      <a:pt x="52" y="88"/>
                    </a:lnTo>
                    <a:lnTo>
                      <a:pt x="52" y="88"/>
                    </a:lnTo>
                    <a:lnTo>
                      <a:pt x="48" y="82"/>
                    </a:lnTo>
                    <a:lnTo>
                      <a:pt x="48" y="82"/>
                    </a:lnTo>
                    <a:lnTo>
                      <a:pt x="48" y="80"/>
                    </a:lnTo>
                    <a:lnTo>
                      <a:pt x="48" y="80"/>
                    </a:lnTo>
                    <a:lnTo>
                      <a:pt x="48" y="78"/>
                    </a:lnTo>
                    <a:lnTo>
                      <a:pt x="48" y="78"/>
                    </a:lnTo>
                    <a:lnTo>
                      <a:pt x="48" y="78"/>
                    </a:lnTo>
                    <a:lnTo>
                      <a:pt x="48" y="76"/>
                    </a:lnTo>
                    <a:lnTo>
                      <a:pt x="48" y="76"/>
                    </a:lnTo>
                    <a:lnTo>
                      <a:pt x="50" y="76"/>
                    </a:lnTo>
                    <a:lnTo>
                      <a:pt x="48" y="74"/>
                    </a:lnTo>
                    <a:lnTo>
                      <a:pt x="48" y="74"/>
                    </a:lnTo>
                    <a:lnTo>
                      <a:pt x="44" y="74"/>
                    </a:lnTo>
                    <a:lnTo>
                      <a:pt x="44" y="72"/>
                    </a:lnTo>
                    <a:lnTo>
                      <a:pt x="44" y="72"/>
                    </a:lnTo>
                    <a:lnTo>
                      <a:pt x="44" y="72"/>
                    </a:lnTo>
                    <a:lnTo>
                      <a:pt x="44" y="70"/>
                    </a:lnTo>
                    <a:lnTo>
                      <a:pt x="44" y="70"/>
                    </a:lnTo>
                    <a:lnTo>
                      <a:pt x="40" y="68"/>
                    </a:lnTo>
                    <a:lnTo>
                      <a:pt x="40" y="68"/>
                    </a:lnTo>
                    <a:lnTo>
                      <a:pt x="38" y="66"/>
                    </a:lnTo>
                    <a:lnTo>
                      <a:pt x="36" y="66"/>
                    </a:lnTo>
                    <a:lnTo>
                      <a:pt x="34" y="66"/>
                    </a:lnTo>
                    <a:lnTo>
                      <a:pt x="34" y="66"/>
                    </a:lnTo>
                    <a:lnTo>
                      <a:pt x="32" y="66"/>
                    </a:lnTo>
                    <a:lnTo>
                      <a:pt x="30" y="68"/>
                    </a:lnTo>
                    <a:lnTo>
                      <a:pt x="28" y="68"/>
                    </a:lnTo>
                    <a:lnTo>
                      <a:pt x="26" y="66"/>
                    </a:lnTo>
                    <a:lnTo>
                      <a:pt x="26" y="66"/>
                    </a:lnTo>
                    <a:lnTo>
                      <a:pt x="24" y="64"/>
                    </a:lnTo>
                    <a:lnTo>
                      <a:pt x="18" y="62"/>
                    </a:lnTo>
                    <a:lnTo>
                      <a:pt x="18" y="62"/>
                    </a:lnTo>
                    <a:lnTo>
                      <a:pt x="16" y="60"/>
                    </a:lnTo>
                    <a:lnTo>
                      <a:pt x="14" y="60"/>
                    </a:lnTo>
                    <a:lnTo>
                      <a:pt x="12" y="62"/>
                    </a:lnTo>
                    <a:lnTo>
                      <a:pt x="8" y="62"/>
                    </a:lnTo>
                    <a:lnTo>
                      <a:pt x="8" y="62"/>
                    </a:lnTo>
                    <a:lnTo>
                      <a:pt x="6" y="60"/>
                    </a:lnTo>
                    <a:lnTo>
                      <a:pt x="6" y="58"/>
                    </a:lnTo>
                    <a:lnTo>
                      <a:pt x="6" y="58"/>
                    </a:lnTo>
                    <a:lnTo>
                      <a:pt x="4" y="56"/>
                    </a:lnTo>
                    <a:lnTo>
                      <a:pt x="4" y="56"/>
                    </a:lnTo>
                    <a:lnTo>
                      <a:pt x="4" y="56"/>
                    </a:lnTo>
                    <a:lnTo>
                      <a:pt x="4" y="54"/>
                    </a:lnTo>
                    <a:lnTo>
                      <a:pt x="8" y="54"/>
                    </a:lnTo>
                    <a:lnTo>
                      <a:pt x="8" y="54"/>
                    </a:lnTo>
                    <a:lnTo>
                      <a:pt x="8" y="54"/>
                    </a:lnTo>
                    <a:lnTo>
                      <a:pt x="8" y="52"/>
                    </a:lnTo>
                    <a:lnTo>
                      <a:pt x="6" y="52"/>
                    </a:lnTo>
                    <a:lnTo>
                      <a:pt x="6" y="52"/>
                    </a:lnTo>
                    <a:lnTo>
                      <a:pt x="6" y="52"/>
                    </a:lnTo>
                    <a:lnTo>
                      <a:pt x="6" y="52"/>
                    </a:lnTo>
                    <a:lnTo>
                      <a:pt x="6" y="50"/>
                    </a:lnTo>
                    <a:lnTo>
                      <a:pt x="0" y="50"/>
                    </a:lnTo>
                    <a:lnTo>
                      <a:pt x="0" y="50"/>
                    </a:lnTo>
                    <a:lnTo>
                      <a:pt x="0" y="48"/>
                    </a:lnTo>
                    <a:lnTo>
                      <a:pt x="0" y="46"/>
                    </a:lnTo>
                    <a:lnTo>
                      <a:pt x="0" y="46"/>
                    </a:lnTo>
                    <a:lnTo>
                      <a:pt x="4" y="46"/>
                    </a:lnTo>
                    <a:lnTo>
                      <a:pt x="8" y="46"/>
                    </a:lnTo>
                    <a:lnTo>
                      <a:pt x="8" y="46"/>
                    </a:lnTo>
                    <a:lnTo>
                      <a:pt x="14" y="44"/>
                    </a:lnTo>
                    <a:lnTo>
                      <a:pt x="16" y="44"/>
                    </a:lnTo>
                    <a:lnTo>
                      <a:pt x="16" y="44"/>
                    </a:lnTo>
                    <a:lnTo>
                      <a:pt x="18" y="42"/>
                    </a:lnTo>
                    <a:lnTo>
                      <a:pt x="22" y="42"/>
                    </a:lnTo>
                    <a:lnTo>
                      <a:pt x="22" y="42"/>
                    </a:lnTo>
                    <a:lnTo>
                      <a:pt x="26" y="40"/>
                    </a:lnTo>
                    <a:lnTo>
                      <a:pt x="28" y="42"/>
                    </a:lnTo>
                    <a:lnTo>
                      <a:pt x="28" y="42"/>
                    </a:lnTo>
                    <a:lnTo>
                      <a:pt x="30" y="44"/>
                    </a:lnTo>
                    <a:lnTo>
                      <a:pt x="30" y="46"/>
                    </a:lnTo>
                    <a:lnTo>
                      <a:pt x="32" y="46"/>
                    </a:lnTo>
                    <a:lnTo>
                      <a:pt x="32" y="46"/>
                    </a:lnTo>
                    <a:lnTo>
                      <a:pt x="36" y="44"/>
                    </a:lnTo>
                    <a:lnTo>
                      <a:pt x="38" y="44"/>
                    </a:lnTo>
                    <a:lnTo>
                      <a:pt x="38" y="44"/>
                    </a:lnTo>
                    <a:lnTo>
                      <a:pt x="40" y="44"/>
                    </a:lnTo>
                    <a:lnTo>
                      <a:pt x="44" y="44"/>
                    </a:lnTo>
                    <a:lnTo>
                      <a:pt x="44" y="44"/>
                    </a:lnTo>
                    <a:lnTo>
                      <a:pt x="48" y="46"/>
                    </a:lnTo>
                    <a:lnTo>
                      <a:pt x="52" y="46"/>
                    </a:lnTo>
                    <a:lnTo>
                      <a:pt x="52" y="46"/>
                    </a:lnTo>
                    <a:lnTo>
                      <a:pt x="54" y="46"/>
                    </a:lnTo>
                    <a:lnTo>
                      <a:pt x="54" y="46"/>
                    </a:lnTo>
                    <a:lnTo>
                      <a:pt x="52" y="44"/>
                    </a:lnTo>
                    <a:lnTo>
                      <a:pt x="52" y="42"/>
                    </a:lnTo>
                    <a:lnTo>
                      <a:pt x="52" y="42"/>
                    </a:lnTo>
                    <a:lnTo>
                      <a:pt x="54" y="40"/>
                    </a:lnTo>
                    <a:lnTo>
                      <a:pt x="54" y="36"/>
                    </a:lnTo>
                    <a:lnTo>
                      <a:pt x="54" y="36"/>
                    </a:lnTo>
                    <a:lnTo>
                      <a:pt x="54" y="34"/>
                    </a:lnTo>
                    <a:lnTo>
                      <a:pt x="52" y="30"/>
                    </a:lnTo>
                    <a:lnTo>
                      <a:pt x="52" y="30"/>
                    </a:lnTo>
                    <a:lnTo>
                      <a:pt x="50" y="24"/>
                    </a:lnTo>
                    <a:lnTo>
                      <a:pt x="50" y="24"/>
                    </a:lnTo>
                    <a:lnTo>
                      <a:pt x="50" y="24"/>
                    </a:lnTo>
                    <a:lnTo>
                      <a:pt x="52" y="22"/>
                    </a:lnTo>
                    <a:lnTo>
                      <a:pt x="54" y="24"/>
                    </a:lnTo>
                    <a:lnTo>
                      <a:pt x="54" y="24"/>
                    </a:lnTo>
                    <a:lnTo>
                      <a:pt x="58" y="24"/>
                    </a:lnTo>
                    <a:lnTo>
                      <a:pt x="60" y="24"/>
                    </a:lnTo>
                    <a:lnTo>
                      <a:pt x="60" y="24"/>
                    </a:lnTo>
                    <a:lnTo>
                      <a:pt x="60" y="24"/>
                    </a:lnTo>
                    <a:lnTo>
                      <a:pt x="62" y="28"/>
                    </a:lnTo>
                    <a:lnTo>
                      <a:pt x="64" y="30"/>
                    </a:lnTo>
                    <a:lnTo>
                      <a:pt x="64" y="30"/>
                    </a:lnTo>
                    <a:lnTo>
                      <a:pt x="64" y="34"/>
                    </a:lnTo>
                    <a:lnTo>
                      <a:pt x="66" y="34"/>
                    </a:lnTo>
                    <a:lnTo>
                      <a:pt x="68" y="34"/>
                    </a:lnTo>
                    <a:lnTo>
                      <a:pt x="68" y="34"/>
                    </a:lnTo>
                    <a:lnTo>
                      <a:pt x="70" y="32"/>
                    </a:lnTo>
                    <a:lnTo>
                      <a:pt x="72" y="32"/>
                    </a:lnTo>
                    <a:lnTo>
                      <a:pt x="72" y="32"/>
                    </a:lnTo>
                    <a:lnTo>
                      <a:pt x="74" y="32"/>
                    </a:lnTo>
                    <a:lnTo>
                      <a:pt x="76" y="32"/>
                    </a:lnTo>
                    <a:lnTo>
                      <a:pt x="78" y="30"/>
                    </a:lnTo>
                    <a:lnTo>
                      <a:pt x="82" y="30"/>
                    </a:lnTo>
                    <a:lnTo>
                      <a:pt x="82" y="30"/>
                    </a:lnTo>
                    <a:lnTo>
                      <a:pt x="86" y="30"/>
                    </a:lnTo>
                    <a:lnTo>
                      <a:pt x="84" y="28"/>
                    </a:lnTo>
                    <a:lnTo>
                      <a:pt x="84" y="28"/>
                    </a:lnTo>
                    <a:lnTo>
                      <a:pt x="84" y="26"/>
                    </a:lnTo>
                    <a:lnTo>
                      <a:pt x="86" y="24"/>
                    </a:lnTo>
                    <a:lnTo>
                      <a:pt x="86" y="24"/>
                    </a:lnTo>
                    <a:lnTo>
                      <a:pt x="88" y="24"/>
                    </a:lnTo>
                    <a:lnTo>
                      <a:pt x="92" y="22"/>
                    </a:lnTo>
                    <a:lnTo>
                      <a:pt x="92" y="22"/>
                    </a:lnTo>
                    <a:lnTo>
                      <a:pt x="100" y="20"/>
                    </a:lnTo>
                    <a:lnTo>
                      <a:pt x="100" y="20"/>
                    </a:lnTo>
                    <a:lnTo>
                      <a:pt x="108" y="18"/>
                    </a:lnTo>
                    <a:lnTo>
                      <a:pt x="110" y="18"/>
                    </a:lnTo>
                    <a:lnTo>
                      <a:pt x="112" y="14"/>
                    </a:lnTo>
                    <a:lnTo>
                      <a:pt x="112" y="14"/>
                    </a:lnTo>
                    <a:lnTo>
                      <a:pt x="112" y="12"/>
                    </a:lnTo>
                    <a:lnTo>
                      <a:pt x="112" y="10"/>
                    </a:lnTo>
                    <a:lnTo>
                      <a:pt x="112" y="10"/>
                    </a:lnTo>
                    <a:lnTo>
                      <a:pt x="114" y="8"/>
                    </a:lnTo>
                    <a:lnTo>
                      <a:pt x="116" y="6"/>
                    </a:lnTo>
                    <a:lnTo>
                      <a:pt x="116" y="6"/>
                    </a:lnTo>
                    <a:lnTo>
                      <a:pt x="116" y="4"/>
                    </a:lnTo>
                    <a:lnTo>
                      <a:pt x="116" y="2"/>
                    </a:lnTo>
                    <a:lnTo>
                      <a:pt x="118" y="2"/>
                    </a:lnTo>
                    <a:lnTo>
                      <a:pt x="118" y="2"/>
                    </a:lnTo>
                    <a:lnTo>
                      <a:pt x="128" y="0"/>
                    </a:lnTo>
                    <a:lnTo>
                      <a:pt x="128" y="0"/>
                    </a:lnTo>
                    <a:lnTo>
                      <a:pt x="130" y="2"/>
                    </a:lnTo>
                    <a:lnTo>
                      <a:pt x="132" y="4"/>
                    </a:lnTo>
                    <a:lnTo>
                      <a:pt x="136" y="4"/>
                    </a:lnTo>
                    <a:lnTo>
                      <a:pt x="136" y="4"/>
                    </a:lnTo>
                    <a:lnTo>
                      <a:pt x="140" y="6"/>
                    </a:lnTo>
                    <a:lnTo>
                      <a:pt x="142" y="8"/>
                    </a:lnTo>
                    <a:lnTo>
                      <a:pt x="142" y="8"/>
                    </a:lnTo>
                    <a:lnTo>
                      <a:pt x="146" y="10"/>
                    </a:lnTo>
                    <a:lnTo>
                      <a:pt x="148" y="10"/>
                    </a:lnTo>
                    <a:lnTo>
                      <a:pt x="148" y="10"/>
                    </a:lnTo>
                    <a:lnTo>
                      <a:pt x="152" y="12"/>
                    </a:lnTo>
                    <a:lnTo>
                      <a:pt x="152" y="16"/>
                    </a:lnTo>
                    <a:lnTo>
                      <a:pt x="152" y="16"/>
                    </a:lnTo>
                    <a:lnTo>
                      <a:pt x="152" y="18"/>
                    </a:lnTo>
                    <a:lnTo>
                      <a:pt x="156" y="18"/>
                    </a:lnTo>
                    <a:lnTo>
                      <a:pt x="156" y="18"/>
                    </a:lnTo>
                    <a:lnTo>
                      <a:pt x="158" y="18"/>
                    </a:lnTo>
                    <a:lnTo>
                      <a:pt x="160" y="14"/>
                    </a:lnTo>
                    <a:lnTo>
                      <a:pt x="160" y="14"/>
                    </a:lnTo>
                    <a:lnTo>
                      <a:pt x="162" y="14"/>
                    </a:lnTo>
                    <a:lnTo>
                      <a:pt x="162" y="14"/>
                    </a:lnTo>
                    <a:lnTo>
                      <a:pt x="162" y="16"/>
                    </a:lnTo>
                    <a:lnTo>
                      <a:pt x="162" y="16"/>
                    </a:lnTo>
                    <a:lnTo>
                      <a:pt x="162" y="20"/>
                    </a:lnTo>
                    <a:lnTo>
                      <a:pt x="162" y="22"/>
                    </a:lnTo>
                    <a:lnTo>
                      <a:pt x="164" y="24"/>
                    </a:lnTo>
                    <a:lnTo>
                      <a:pt x="164" y="24"/>
                    </a:lnTo>
                    <a:lnTo>
                      <a:pt x="166" y="24"/>
                    </a:lnTo>
                    <a:lnTo>
                      <a:pt x="168" y="26"/>
                    </a:lnTo>
                    <a:lnTo>
                      <a:pt x="170" y="28"/>
                    </a:lnTo>
                    <a:lnTo>
                      <a:pt x="170" y="28"/>
                    </a:lnTo>
                    <a:lnTo>
                      <a:pt x="170" y="28"/>
                    </a:lnTo>
                    <a:lnTo>
                      <a:pt x="172" y="28"/>
                    </a:lnTo>
                    <a:lnTo>
                      <a:pt x="172" y="28"/>
                    </a:lnTo>
                    <a:lnTo>
                      <a:pt x="174" y="26"/>
                    </a:lnTo>
                    <a:lnTo>
                      <a:pt x="174" y="26"/>
                    </a:lnTo>
                    <a:lnTo>
                      <a:pt x="176" y="26"/>
                    </a:lnTo>
                    <a:lnTo>
                      <a:pt x="176" y="26"/>
                    </a:lnTo>
                    <a:lnTo>
                      <a:pt x="178" y="26"/>
                    </a:lnTo>
                    <a:lnTo>
                      <a:pt x="180" y="28"/>
                    </a:lnTo>
                    <a:lnTo>
                      <a:pt x="180" y="28"/>
                    </a:lnTo>
                    <a:lnTo>
                      <a:pt x="188" y="28"/>
                    </a:lnTo>
                    <a:lnTo>
                      <a:pt x="188" y="28"/>
                    </a:lnTo>
                    <a:lnTo>
                      <a:pt x="194" y="30"/>
                    </a:lnTo>
                    <a:lnTo>
                      <a:pt x="194" y="30"/>
                    </a:lnTo>
                    <a:lnTo>
                      <a:pt x="198" y="34"/>
                    </a:lnTo>
                    <a:lnTo>
                      <a:pt x="200" y="36"/>
                    </a:lnTo>
                    <a:lnTo>
                      <a:pt x="202" y="36"/>
                    </a:lnTo>
                    <a:lnTo>
                      <a:pt x="202" y="36"/>
                    </a:lnTo>
                    <a:lnTo>
                      <a:pt x="208" y="36"/>
                    </a:lnTo>
                    <a:lnTo>
                      <a:pt x="214" y="38"/>
                    </a:lnTo>
                    <a:lnTo>
                      <a:pt x="214" y="38"/>
                    </a:lnTo>
                    <a:lnTo>
                      <a:pt x="220" y="40"/>
                    </a:lnTo>
                    <a:lnTo>
                      <a:pt x="220" y="40"/>
                    </a:lnTo>
                    <a:lnTo>
                      <a:pt x="220" y="42"/>
                    </a:lnTo>
                    <a:lnTo>
                      <a:pt x="220" y="42"/>
                    </a:lnTo>
                    <a:lnTo>
                      <a:pt x="216" y="48"/>
                    </a:lnTo>
                    <a:lnTo>
                      <a:pt x="214" y="56"/>
                    </a:lnTo>
                    <a:lnTo>
                      <a:pt x="214" y="56"/>
                    </a:lnTo>
                    <a:lnTo>
                      <a:pt x="212" y="60"/>
                    </a:lnTo>
                    <a:lnTo>
                      <a:pt x="212" y="64"/>
                    </a:lnTo>
                    <a:lnTo>
                      <a:pt x="212" y="64"/>
                    </a:lnTo>
                    <a:lnTo>
                      <a:pt x="214" y="66"/>
                    </a:lnTo>
                    <a:lnTo>
                      <a:pt x="214" y="66"/>
                    </a:lnTo>
                    <a:lnTo>
                      <a:pt x="212" y="68"/>
                    </a:lnTo>
                    <a:lnTo>
                      <a:pt x="210" y="68"/>
                    </a:lnTo>
                    <a:lnTo>
                      <a:pt x="210" y="68"/>
                    </a:lnTo>
                    <a:lnTo>
                      <a:pt x="206" y="68"/>
                    </a:lnTo>
                    <a:lnTo>
                      <a:pt x="204" y="68"/>
                    </a:lnTo>
                    <a:lnTo>
                      <a:pt x="202" y="70"/>
                    </a:lnTo>
                    <a:lnTo>
                      <a:pt x="204" y="70"/>
                    </a:lnTo>
                    <a:lnTo>
                      <a:pt x="204" y="70"/>
                    </a:lnTo>
                    <a:lnTo>
                      <a:pt x="204" y="72"/>
                    </a:lnTo>
                    <a:lnTo>
                      <a:pt x="204" y="72"/>
                    </a:lnTo>
                    <a:lnTo>
                      <a:pt x="202" y="74"/>
                    </a:lnTo>
                    <a:lnTo>
                      <a:pt x="202" y="74"/>
                    </a:lnTo>
                    <a:lnTo>
                      <a:pt x="196" y="78"/>
                    </a:lnTo>
                    <a:lnTo>
                      <a:pt x="194" y="78"/>
                    </a:lnTo>
                    <a:lnTo>
                      <a:pt x="192" y="80"/>
                    </a:lnTo>
                    <a:lnTo>
                      <a:pt x="192" y="80"/>
                    </a:lnTo>
                    <a:lnTo>
                      <a:pt x="190" y="88"/>
                    </a:lnTo>
                    <a:lnTo>
                      <a:pt x="188" y="96"/>
                    </a:lnTo>
                    <a:lnTo>
                      <a:pt x="188" y="96"/>
                    </a:lnTo>
                    <a:lnTo>
                      <a:pt x="190" y="98"/>
                    </a:lnTo>
                    <a:lnTo>
                      <a:pt x="190" y="96"/>
                    </a:lnTo>
                    <a:lnTo>
                      <a:pt x="194" y="94"/>
                    </a:lnTo>
                    <a:lnTo>
                      <a:pt x="194" y="94"/>
                    </a:lnTo>
                    <a:lnTo>
                      <a:pt x="198" y="92"/>
                    </a:lnTo>
                    <a:lnTo>
                      <a:pt x="200" y="92"/>
                    </a:lnTo>
                    <a:lnTo>
                      <a:pt x="202" y="92"/>
                    </a:lnTo>
                    <a:lnTo>
                      <a:pt x="202" y="92"/>
                    </a:lnTo>
                    <a:lnTo>
                      <a:pt x="204" y="94"/>
                    </a:lnTo>
                    <a:lnTo>
                      <a:pt x="206" y="98"/>
                    </a:lnTo>
                    <a:lnTo>
                      <a:pt x="206" y="98"/>
                    </a:lnTo>
                    <a:lnTo>
                      <a:pt x="206" y="100"/>
                    </a:lnTo>
                    <a:lnTo>
                      <a:pt x="208" y="102"/>
                    </a:lnTo>
                    <a:lnTo>
                      <a:pt x="208" y="102"/>
                    </a:lnTo>
                    <a:lnTo>
                      <a:pt x="208" y="106"/>
                    </a:lnTo>
                    <a:lnTo>
                      <a:pt x="210" y="110"/>
                    </a:lnTo>
                    <a:lnTo>
                      <a:pt x="210" y="110"/>
                    </a:lnTo>
                    <a:lnTo>
                      <a:pt x="210" y="110"/>
                    </a:lnTo>
                    <a:lnTo>
                      <a:pt x="212" y="110"/>
                    </a:lnTo>
                    <a:lnTo>
                      <a:pt x="212" y="112"/>
                    </a:lnTo>
                    <a:lnTo>
                      <a:pt x="212" y="112"/>
                    </a:lnTo>
                    <a:lnTo>
                      <a:pt x="212" y="112"/>
                    </a:lnTo>
                    <a:lnTo>
                      <a:pt x="206" y="118"/>
                    </a:lnTo>
                    <a:lnTo>
                      <a:pt x="206" y="118"/>
                    </a:lnTo>
                    <a:lnTo>
                      <a:pt x="206" y="120"/>
                    </a:lnTo>
                    <a:lnTo>
                      <a:pt x="208" y="120"/>
                    </a:lnTo>
                    <a:lnTo>
                      <a:pt x="212" y="122"/>
                    </a:lnTo>
                    <a:lnTo>
                      <a:pt x="212" y="124"/>
                    </a:lnTo>
                    <a:lnTo>
                      <a:pt x="212" y="124"/>
                    </a:lnTo>
                    <a:lnTo>
                      <a:pt x="210" y="128"/>
                    </a:lnTo>
                    <a:lnTo>
                      <a:pt x="210" y="132"/>
                    </a:lnTo>
                    <a:lnTo>
                      <a:pt x="210" y="132"/>
                    </a:lnTo>
                    <a:lnTo>
                      <a:pt x="212" y="138"/>
                    </a:lnTo>
                    <a:lnTo>
                      <a:pt x="212" y="138"/>
                    </a:lnTo>
                    <a:lnTo>
                      <a:pt x="214" y="140"/>
                    </a:lnTo>
                    <a:lnTo>
                      <a:pt x="214" y="140"/>
                    </a:lnTo>
                    <a:lnTo>
                      <a:pt x="220" y="140"/>
                    </a:lnTo>
                    <a:lnTo>
                      <a:pt x="222" y="140"/>
                    </a:lnTo>
                    <a:lnTo>
                      <a:pt x="222" y="142"/>
                    </a:lnTo>
                    <a:lnTo>
                      <a:pt x="222" y="142"/>
                    </a:lnTo>
                    <a:lnTo>
                      <a:pt x="220" y="146"/>
                    </a:lnTo>
                    <a:lnTo>
                      <a:pt x="220" y="146"/>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Germany"/>
              <p:cNvSpPr>
                <a:spLocks/>
              </p:cNvSpPr>
              <p:nvPr/>
            </p:nvSpPr>
            <p:spPr bwMode="auto">
              <a:xfrm>
                <a:off x="5941285" y="1739832"/>
                <a:ext cx="243012" cy="218508"/>
              </a:xfrm>
              <a:custGeom>
                <a:avLst/>
                <a:gdLst/>
                <a:ahLst/>
                <a:cxnLst>
                  <a:cxn ang="0">
                    <a:pos x="48" y="0"/>
                  </a:cxn>
                  <a:cxn ang="0">
                    <a:pos x="50" y="6"/>
                  </a:cxn>
                  <a:cxn ang="0">
                    <a:pos x="46" y="8"/>
                  </a:cxn>
                  <a:cxn ang="0">
                    <a:pos x="50" y="10"/>
                  </a:cxn>
                  <a:cxn ang="0">
                    <a:pos x="52" y="14"/>
                  </a:cxn>
                  <a:cxn ang="0">
                    <a:pos x="60" y="18"/>
                  </a:cxn>
                  <a:cxn ang="0">
                    <a:pos x="58" y="18"/>
                  </a:cxn>
                  <a:cxn ang="0">
                    <a:pos x="48" y="18"/>
                  </a:cxn>
                  <a:cxn ang="0">
                    <a:pos x="46" y="26"/>
                  </a:cxn>
                  <a:cxn ang="0">
                    <a:pos x="40" y="28"/>
                  </a:cxn>
                  <a:cxn ang="0">
                    <a:pos x="38" y="26"/>
                  </a:cxn>
                  <a:cxn ang="0">
                    <a:pos x="36" y="22"/>
                  </a:cxn>
                  <a:cxn ang="0">
                    <a:pos x="22" y="28"/>
                  </a:cxn>
                  <a:cxn ang="0">
                    <a:pos x="18" y="34"/>
                  </a:cxn>
                  <a:cxn ang="0">
                    <a:pos x="18" y="36"/>
                  </a:cxn>
                  <a:cxn ang="0">
                    <a:pos x="16" y="48"/>
                  </a:cxn>
                  <a:cxn ang="0">
                    <a:pos x="14" y="54"/>
                  </a:cxn>
                  <a:cxn ang="0">
                    <a:pos x="2" y="60"/>
                  </a:cxn>
                  <a:cxn ang="0">
                    <a:pos x="0" y="70"/>
                  </a:cxn>
                  <a:cxn ang="0">
                    <a:pos x="0" y="76"/>
                  </a:cxn>
                  <a:cxn ang="0">
                    <a:pos x="0" y="84"/>
                  </a:cxn>
                  <a:cxn ang="0">
                    <a:pos x="4" y="100"/>
                  </a:cxn>
                  <a:cxn ang="0">
                    <a:pos x="16" y="108"/>
                  </a:cxn>
                  <a:cxn ang="0">
                    <a:pos x="30" y="110"/>
                  </a:cxn>
                  <a:cxn ang="0">
                    <a:pos x="32" y="120"/>
                  </a:cxn>
                  <a:cxn ang="0">
                    <a:pos x="28" y="136"/>
                  </a:cxn>
                  <a:cxn ang="0">
                    <a:pos x="42" y="140"/>
                  </a:cxn>
                  <a:cxn ang="0">
                    <a:pos x="48" y="138"/>
                  </a:cxn>
                  <a:cxn ang="0">
                    <a:pos x="68" y="140"/>
                  </a:cxn>
                  <a:cxn ang="0">
                    <a:pos x="88" y="144"/>
                  </a:cxn>
                  <a:cxn ang="0">
                    <a:pos x="94" y="140"/>
                  </a:cxn>
                  <a:cxn ang="0">
                    <a:pos x="104" y="140"/>
                  </a:cxn>
                  <a:cxn ang="0">
                    <a:pos x="114" y="138"/>
                  </a:cxn>
                  <a:cxn ang="0">
                    <a:pos x="122" y="134"/>
                  </a:cxn>
                  <a:cxn ang="0">
                    <a:pos x="126" y="134"/>
                  </a:cxn>
                  <a:cxn ang="0">
                    <a:pos x="132" y="136"/>
                  </a:cxn>
                  <a:cxn ang="0">
                    <a:pos x="132" y="130"/>
                  </a:cxn>
                  <a:cxn ang="0">
                    <a:pos x="132" y="126"/>
                  </a:cxn>
                  <a:cxn ang="0">
                    <a:pos x="138" y="120"/>
                  </a:cxn>
                  <a:cxn ang="0">
                    <a:pos x="144" y="114"/>
                  </a:cxn>
                  <a:cxn ang="0">
                    <a:pos x="128" y="100"/>
                  </a:cxn>
                  <a:cxn ang="0">
                    <a:pos x="116" y="88"/>
                  </a:cxn>
                  <a:cxn ang="0">
                    <a:pos x="124" y="82"/>
                  </a:cxn>
                  <a:cxn ang="0">
                    <a:pos x="146" y="72"/>
                  </a:cxn>
                  <a:cxn ang="0">
                    <a:pos x="156" y="74"/>
                  </a:cxn>
                  <a:cxn ang="0">
                    <a:pos x="160" y="68"/>
                  </a:cxn>
                  <a:cxn ang="0">
                    <a:pos x="154" y="42"/>
                  </a:cxn>
                  <a:cxn ang="0">
                    <a:pos x="148" y="38"/>
                  </a:cxn>
                  <a:cxn ang="0">
                    <a:pos x="142" y="32"/>
                  </a:cxn>
                  <a:cxn ang="0">
                    <a:pos x="146" y="22"/>
                  </a:cxn>
                  <a:cxn ang="0">
                    <a:pos x="140" y="14"/>
                  </a:cxn>
                  <a:cxn ang="0">
                    <a:pos x="136" y="8"/>
                  </a:cxn>
                  <a:cxn ang="0">
                    <a:pos x="130" y="12"/>
                  </a:cxn>
                  <a:cxn ang="0">
                    <a:pos x="118" y="14"/>
                  </a:cxn>
                  <a:cxn ang="0">
                    <a:pos x="122" y="10"/>
                  </a:cxn>
                  <a:cxn ang="0">
                    <a:pos x="110" y="14"/>
                  </a:cxn>
                  <a:cxn ang="0">
                    <a:pos x="98" y="14"/>
                  </a:cxn>
                  <a:cxn ang="0">
                    <a:pos x="86" y="14"/>
                  </a:cxn>
                  <a:cxn ang="0">
                    <a:pos x="78" y="12"/>
                  </a:cxn>
                  <a:cxn ang="0">
                    <a:pos x="76" y="8"/>
                  </a:cxn>
                  <a:cxn ang="0">
                    <a:pos x="68" y="8"/>
                  </a:cxn>
                  <a:cxn ang="0">
                    <a:pos x="62" y="2"/>
                  </a:cxn>
                </a:cxnLst>
                <a:rect l="0" t="0" r="r" b="b"/>
                <a:pathLst>
                  <a:path w="160" h="144">
                    <a:moveTo>
                      <a:pt x="60" y="0"/>
                    </a:moveTo>
                    <a:lnTo>
                      <a:pt x="60" y="0"/>
                    </a:lnTo>
                    <a:lnTo>
                      <a:pt x="56" y="2"/>
                    </a:lnTo>
                    <a:lnTo>
                      <a:pt x="52" y="0"/>
                    </a:lnTo>
                    <a:lnTo>
                      <a:pt x="48" y="0"/>
                    </a:lnTo>
                    <a:lnTo>
                      <a:pt x="44" y="0"/>
                    </a:lnTo>
                    <a:lnTo>
                      <a:pt x="44" y="0"/>
                    </a:lnTo>
                    <a:lnTo>
                      <a:pt x="48" y="6"/>
                    </a:lnTo>
                    <a:lnTo>
                      <a:pt x="48" y="6"/>
                    </a:lnTo>
                    <a:lnTo>
                      <a:pt x="50" y="6"/>
                    </a:lnTo>
                    <a:lnTo>
                      <a:pt x="48" y="6"/>
                    </a:lnTo>
                    <a:lnTo>
                      <a:pt x="48" y="6"/>
                    </a:lnTo>
                    <a:lnTo>
                      <a:pt x="46" y="8"/>
                    </a:lnTo>
                    <a:lnTo>
                      <a:pt x="46" y="8"/>
                    </a:lnTo>
                    <a:lnTo>
                      <a:pt x="46" y="8"/>
                    </a:lnTo>
                    <a:lnTo>
                      <a:pt x="48" y="8"/>
                    </a:lnTo>
                    <a:lnTo>
                      <a:pt x="50" y="8"/>
                    </a:lnTo>
                    <a:lnTo>
                      <a:pt x="50" y="10"/>
                    </a:lnTo>
                    <a:lnTo>
                      <a:pt x="50" y="10"/>
                    </a:lnTo>
                    <a:lnTo>
                      <a:pt x="50" y="10"/>
                    </a:lnTo>
                    <a:lnTo>
                      <a:pt x="52" y="12"/>
                    </a:lnTo>
                    <a:lnTo>
                      <a:pt x="52" y="12"/>
                    </a:lnTo>
                    <a:lnTo>
                      <a:pt x="54" y="12"/>
                    </a:lnTo>
                    <a:lnTo>
                      <a:pt x="54" y="12"/>
                    </a:lnTo>
                    <a:lnTo>
                      <a:pt x="52" y="14"/>
                    </a:lnTo>
                    <a:lnTo>
                      <a:pt x="52" y="14"/>
                    </a:lnTo>
                    <a:lnTo>
                      <a:pt x="54" y="16"/>
                    </a:lnTo>
                    <a:lnTo>
                      <a:pt x="56" y="16"/>
                    </a:lnTo>
                    <a:lnTo>
                      <a:pt x="56" y="16"/>
                    </a:lnTo>
                    <a:lnTo>
                      <a:pt x="60" y="18"/>
                    </a:lnTo>
                    <a:lnTo>
                      <a:pt x="64" y="22"/>
                    </a:lnTo>
                    <a:lnTo>
                      <a:pt x="64" y="22"/>
                    </a:lnTo>
                    <a:lnTo>
                      <a:pt x="60" y="20"/>
                    </a:lnTo>
                    <a:lnTo>
                      <a:pt x="58" y="18"/>
                    </a:lnTo>
                    <a:lnTo>
                      <a:pt x="58" y="18"/>
                    </a:lnTo>
                    <a:lnTo>
                      <a:pt x="54" y="18"/>
                    </a:lnTo>
                    <a:lnTo>
                      <a:pt x="50" y="16"/>
                    </a:lnTo>
                    <a:lnTo>
                      <a:pt x="50" y="16"/>
                    </a:lnTo>
                    <a:lnTo>
                      <a:pt x="48" y="16"/>
                    </a:lnTo>
                    <a:lnTo>
                      <a:pt x="48" y="18"/>
                    </a:lnTo>
                    <a:lnTo>
                      <a:pt x="46" y="22"/>
                    </a:lnTo>
                    <a:lnTo>
                      <a:pt x="46" y="22"/>
                    </a:lnTo>
                    <a:lnTo>
                      <a:pt x="46" y="24"/>
                    </a:lnTo>
                    <a:lnTo>
                      <a:pt x="46" y="26"/>
                    </a:lnTo>
                    <a:lnTo>
                      <a:pt x="46" y="26"/>
                    </a:lnTo>
                    <a:lnTo>
                      <a:pt x="44" y="24"/>
                    </a:lnTo>
                    <a:lnTo>
                      <a:pt x="40" y="26"/>
                    </a:lnTo>
                    <a:lnTo>
                      <a:pt x="40" y="26"/>
                    </a:lnTo>
                    <a:lnTo>
                      <a:pt x="40" y="26"/>
                    </a:lnTo>
                    <a:lnTo>
                      <a:pt x="40" y="28"/>
                    </a:lnTo>
                    <a:lnTo>
                      <a:pt x="40" y="28"/>
                    </a:lnTo>
                    <a:lnTo>
                      <a:pt x="38" y="28"/>
                    </a:lnTo>
                    <a:lnTo>
                      <a:pt x="38" y="26"/>
                    </a:lnTo>
                    <a:lnTo>
                      <a:pt x="38" y="26"/>
                    </a:lnTo>
                    <a:lnTo>
                      <a:pt x="38" y="26"/>
                    </a:lnTo>
                    <a:lnTo>
                      <a:pt x="38" y="26"/>
                    </a:lnTo>
                    <a:lnTo>
                      <a:pt x="38" y="26"/>
                    </a:lnTo>
                    <a:lnTo>
                      <a:pt x="38" y="24"/>
                    </a:lnTo>
                    <a:lnTo>
                      <a:pt x="38" y="24"/>
                    </a:lnTo>
                    <a:lnTo>
                      <a:pt x="36" y="22"/>
                    </a:lnTo>
                    <a:lnTo>
                      <a:pt x="30" y="24"/>
                    </a:lnTo>
                    <a:lnTo>
                      <a:pt x="30" y="24"/>
                    </a:lnTo>
                    <a:lnTo>
                      <a:pt x="28" y="24"/>
                    </a:lnTo>
                    <a:lnTo>
                      <a:pt x="22" y="28"/>
                    </a:lnTo>
                    <a:lnTo>
                      <a:pt x="22" y="28"/>
                    </a:lnTo>
                    <a:lnTo>
                      <a:pt x="20" y="30"/>
                    </a:lnTo>
                    <a:lnTo>
                      <a:pt x="18" y="30"/>
                    </a:lnTo>
                    <a:lnTo>
                      <a:pt x="18" y="30"/>
                    </a:lnTo>
                    <a:lnTo>
                      <a:pt x="18" y="32"/>
                    </a:lnTo>
                    <a:lnTo>
                      <a:pt x="18" y="34"/>
                    </a:lnTo>
                    <a:lnTo>
                      <a:pt x="18" y="32"/>
                    </a:lnTo>
                    <a:lnTo>
                      <a:pt x="18" y="32"/>
                    </a:lnTo>
                    <a:lnTo>
                      <a:pt x="16" y="34"/>
                    </a:lnTo>
                    <a:lnTo>
                      <a:pt x="18" y="34"/>
                    </a:lnTo>
                    <a:lnTo>
                      <a:pt x="18" y="36"/>
                    </a:lnTo>
                    <a:lnTo>
                      <a:pt x="16" y="38"/>
                    </a:lnTo>
                    <a:lnTo>
                      <a:pt x="16" y="38"/>
                    </a:lnTo>
                    <a:lnTo>
                      <a:pt x="14" y="44"/>
                    </a:lnTo>
                    <a:lnTo>
                      <a:pt x="14" y="46"/>
                    </a:lnTo>
                    <a:lnTo>
                      <a:pt x="16" y="48"/>
                    </a:lnTo>
                    <a:lnTo>
                      <a:pt x="16" y="48"/>
                    </a:lnTo>
                    <a:lnTo>
                      <a:pt x="18" y="48"/>
                    </a:lnTo>
                    <a:lnTo>
                      <a:pt x="18" y="50"/>
                    </a:lnTo>
                    <a:lnTo>
                      <a:pt x="14" y="54"/>
                    </a:lnTo>
                    <a:lnTo>
                      <a:pt x="14" y="54"/>
                    </a:lnTo>
                    <a:lnTo>
                      <a:pt x="10" y="56"/>
                    </a:lnTo>
                    <a:lnTo>
                      <a:pt x="4" y="56"/>
                    </a:lnTo>
                    <a:lnTo>
                      <a:pt x="4" y="56"/>
                    </a:lnTo>
                    <a:lnTo>
                      <a:pt x="2" y="58"/>
                    </a:lnTo>
                    <a:lnTo>
                      <a:pt x="2" y="60"/>
                    </a:lnTo>
                    <a:lnTo>
                      <a:pt x="2" y="60"/>
                    </a:lnTo>
                    <a:lnTo>
                      <a:pt x="2" y="62"/>
                    </a:lnTo>
                    <a:lnTo>
                      <a:pt x="2" y="66"/>
                    </a:lnTo>
                    <a:lnTo>
                      <a:pt x="0" y="68"/>
                    </a:lnTo>
                    <a:lnTo>
                      <a:pt x="0" y="70"/>
                    </a:lnTo>
                    <a:lnTo>
                      <a:pt x="0" y="70"/>
                    </a:lnTo>
                    <a:lnTo>
                      <a:pt x="2" y="72"/>
                    </a:lnTo>
                    <a:lnTo>
                      <a:pt x="0" y="72"/>
                    </a:lnTo>
                    <a:lnTo>
                      <a:pt x="0" y="74"/>
                    </a:lnTo>
                    <a:lnTo>
                      <a:pt x="0" y="76"/>
                    </a:lnTo>
                    <a:lnTo>
                      <a:pt x="0" y="76"/>
                    </a:lnTo>
                    <a:lnTo>
                      <a:pt x="2" y="78"/>
                    </a:lnTo>
                    <a:lnTo>
                      <a:pt x="2" y="80"/>
                    </a:lnTo>
                    <a:lnTo>
                      <a:pt x="0" y="84"/>
                    </a:lnTo>
                    <a:lnTo>
                      <a:pt x="0" y="84"/>
                    </a:lnTo>
                    <a:lnTo>
                      <a:pt x="4" y="88"/>
                    </a:lnTo>
                    <a:lnTo>
                      <a:pt x="4" y="92"/>
                    </a:lnTo>
                    <a:lnTo>
                      <a:pt x="4" y="92"/>
                    </a:lnTo>
                    <a:lnTo>
                      <a:pt x="6" y="94"/>
                    </a:lnTo>
                    <a:lnTo>
                      <a:pt x="4" y="100"/>
                    </a:lnTo>
                    <a:lnTo>
                      <a:pt x="4" y="100"/>
                    </a:lnTo>
                    <a:lnTo>
                      <a:pt x="10" y="102"/>
                    </a:lnTo>
                    <a:lnTo>
                      <a:pt x="10" y="102"/>
                    </a:lnTo>
                    <a:lnTo>
                      <a:pt x="14" y="106"/>
                    </a:lnTo>
                    <a:lnTo>
                      <a:pt x="16" y="108"/>
                    </a:lnTo>
                    <a:lnTo>
                      <a:pt x="18" y="108"/>
                    </a:lnTo>
                    <a:lnTo>
                      <a:pt x="18" y="108"/>
                    </a:lnTo>
                    <a:lnTo>
                      <a:pt x="24" y="108"/>
                    </a:lnTo>
                    <a:lnTo>
                      <a:pt x="30" y="110"/>
                    </a:lnTo>
                    <a:lnTo>
                      <a:pt x="30" y="110"/>
                    </a:lnTo>
                    <a:lnTo>
                      <a:pt x="36" y="112"/>
                    </a:lnTo>
                    <a:lnTo>
                      <a:pt x="36" y="112"/>
                    </a:lnTo>
                    <a:lnTo>
                      <a:pt x="36" y="114"/>
                    </a:lnTo>
                    <a:lnTo>
                      <a:pt x="36" y="114"/>
                    </a:lnTo>
                    <a:lnTo>
                      <a:pt x="32" y="120"/>
                    </a:lnTo>
                    <a:lnTo>
                      <a:pt x="30" y="128"/>
                    </a:lnTo>
                    <a:lnTo>
                      <a:pt x="30" y="128"/>
                    </a:lnTo>
                    <a:lnTo>
                      <a:pt x="28" y="132"/>
                    </a:lnTo>
                    <a:lnTo>
                      <a:pt x="28" y="136"/>
                    </a:lnTo>
                    <a:lnTo>
                      <a:pt x="28" y="136"/>
                    </a:lnTo>
                    <a:lnTo>
                      <a:pt x="30" y="138"/>
                    </a:lnTo>
                    <a:lnTo>
                      <a:pt x="30" y="138"/>
                    </a:lnTo>
                    <a:lnTo>
                      <a:pt x="32" y="138"/>
                    </a:lnTo>
                    <a:lnTo>
                      <a:pt x="32" y="138"/>
                    </a:lnTo>
                    <a:lnTo>
                      <a:pt x="42" y="140"/>
                    </a:lnTo>
                    <a:lnTo>
                      <a:pt x="46" y="140"/>
                    </a:lnTo>
                    <a:lnTo>
                      <a:pt x="48" y="140"/>
                    </a:lnTo>
                    <a:lnTo>
                      <a:pt x="48" y="138"/>
                    </a:lnTo>
                    <a:lnTo>
                      <a:pt x="48" y="138"/>
                    </a:lnTo>
                    <a:lnTo>
                      <a:pt x="48" y="138"/>
                    </a:lnTo>
                    <a:lnTo>
                      <a:pt x="48" y="138"/>
                    </a:lnTo>
                    <a:lnTo>
                      <a:pt x="52" y="138"/>
                    </a:lnTo>
                    <a:lnTo>
                      <a:pt x="66" y="142"/>
                    </a:lnTo>
                    <a:lnTo>
                      <a:pt x="66" y="142"/>
                    </a:lnTo>
                    <a:lnTo>
                      <a:pt x="68" y="140"/>
                    </a:lnTo>
                    <a:lnTo>
                      <a:pt x="72" y="140"/>
                    </a:lnTo>
                    <a:lnTo>
                      <a:pt x="80" y="142"/>
                    </a:lnTo>
                    <a:lnTo>
                      <a:pt x="80" y="142"/>
                    </a:lnTo>
                    <a:lnTo>
                      <a:pt x="86" y="144"/>
                    </a:lnTo>
                    <a:lnTo>
                      <a:pt x="88" y="144"/>
                    </a:lnTo>
                    <a:lnTo>
                      <a:pt x="90" y="142"/>
                    </a:lnTo>
                    <a:lnTo>
                      <a:pt x="90" y="142"/>
                    </a:lnTo>
                    <a:lnTo>
                      <a:pt x="90" y="140"/>
                    </a:lnTo>
                    <a:lnTo>
                      <a:pt x="92" y="140"/>
                    </a:lnTo>
                    <a:lnTo>
                      <a:pt x="94" y="140"/>
                    </a:lnTo>
                    <a:lnTo>
                      <a:pt x="96" y="138"/>
                    </a:lnTo>
                    <a:lnTo>
                      <a:pt x="96" y="138"/>
                    </a:lnTo>
                    <a:lnTo>
                      <a:pt x="96" y="138"/>
                    </a:lnTo>
                    <a:lnTo>
                      <a:pt x="98" y="138"/>
                    </a:lnTo>
                    <a:lnTo>
                      <a:pt x="104" y="140"/>
                    </a:lnTo>
                    <a:lnTo>
                      <a:pt x="104" y="140"/>
                    </a:lnTo>
                    <a:lnTo>
                      <a:pt x="106" y="140"/>
                    </a:lnTo>
                    <a:lnTo>
                      <a:pt x="108" y="140"/>
                    </a:lnTo>
                    <a:lnTo>
                      <a:pt x="114" y="138"/>
                    </a:lnTo>
                    <a:lnTo>
                      <a:pt x="114" y="138"/>
                    </a:lnTo>
                    <a:lnTo>
                      <a:pt x="116" y="136"/>
                    </a:lnTo>
                    <a:lnTo>
                      <a:pt x="118" y="134"/>
                    </a:lnTo>
                    <a:lnTo>
                      <a:pt x="118" y="134"/>
                    </a:lnTo>
                    <a:lnTo>
                      <a:pt x="120" y="134"/>
                    </a:lnTo>
                    <a:lnTo>
                      <a:pt x="122" y="134"/>
                    </a:lnTo>
                    <a:lnTo>
                      <a:pt x="122" y="134"/>
                    </a:lnTo>
                    <a:lnTo>
                      <a:pt x="124" y="134"/>
                    </a:lnTo>
                    <a:lnTo>
                      <a:pt x="124" y="134"/>
                    </a:lnTo>
                    <a:lnTo>
                      <a:pt x="126" y="134"/>
                    </a:lnTo>
                    <a:lnTo>
                      <a:pt x="126" y="134"/>
                    </a:lnTo>
                    <a:lnTo>
                      <a:pt x="128" y="136"/>
                    </a:lnTo>
                    <a:lnTo>
                      <a:pt x="130" y="138"/>
                    </a:lnTo>
                    <a:lnTo>
                      <a:pt x="130" y="138"/>
                    </a:lnTo>
                    <a:lnTo>
                      <a:pt x="132" y="138"/>
                    </a:lnTo>
                    <a:lnTo>
                      <a:pt x="132" y="136"/>
                    </a:lnTo>
                    <a:lnTo>
                      <a:pt x="132" y="134"/>
                    </a:lnTo>
                    <a:lnTo>
                      <a:pt x="132" y="134"/>
                    </a:lnTo>
                    <a:lnTo>
                      <a:pt x="132" y="132"/>
                    </a:lnTo>
                    <a:lnTo>
                      <a:pt x="132" y="132"/>
                    </a:lnTo>
                    <a:lnTo>
                      <a:pt x="132" y="130"/>
                    </a:lnTo>
                    <a:lnTo>
                      <a:pt x="132" y="130"/>
                    </a:lnTo>
                    <a:lnTo>
                      <a:pt x="132" y="130"/>
                    </a:lnTo>
                    <a:lnTo>
                      <a:pt x="130" y="128"/>
                    </a:lnTo>
                    <a:lnTo>
                      <a:pt x="130" y="128"/>
                    </a:lnTo>
                    <a:lnTo>
                      <a:pt x="132" y="126"/>
                    </a:lnTo>
                    <a:lnTo>
                      <a:pt x="132" y="126"/>
                    </a:lnTo>
                    <a:lnTo>
                      <a:pt x="134" y="126"/>
                    </a:lnTo>
                    <a:lnTo>
                      <a:pt x="136" y="124"/>
                    </a:lnTo>
                    <a:lnTo>
                      <a:pt x="138" y="122"/>
                    </a:lnTo>
                    <a:lnTo>
                      <a:pt x="138" y="120"/>
                    </a:lnTo>
                    <a:lnTo>
                      <a:pt x="138" y="120"/>
                    </a:lnTo>
                    <a:lnTo>
                      <a:pt x="140" y="120"/>
                    </a:lnTo>
                    <a:lnTo>
                      <a:pt x="142" y="118"/>
                    </a:lnTo>
                    <a:lnTo>
                      <a:pt x="144" y="114"/>
                    </a:lnTo>
                    <a:lnTo>
                      <a:pt x="144" y="114"/>
                    </a:lnTo>
                    <a:lnTo>
                      <a:pt x="144" y="110"/>
                    </a:lnTo>
                    <a:lnTo>
                      <a:pt x="140" y="108"/>
                    </a:lnTo>
                    <a:lnTo>
                      <a:pt x="140" y="108"/>
                    </a:lnTo>
                    <a:lnTo>
                      <a:pt x="136" y="106"/>
                    </a:lnTo>
                    <a:lnTo>
                      <a:pt x="128" y="100"/>
                    </a:lnTo>
                    <a:lnTo>
                      <a:pt x="128" y="100"/>
                    </a:lnTo>
                    <a:lnTo>
                      <a:pt x="124" y="98"/>
                    </a:lnTo>
                    <a:lnTo>
                      <a:pt x="120" y="94"/>
                    </a:lnTo>
                    <a:lnTo>
                      <a:pt x="120" y="94"/>
                    </a:lnTo>
                    <a:lnTo>
                      <a:pt x="116" y="88"/>
                    </a:lnTo>
                    <a:lnTo>
                      <a:pt x="112" y="84"/>
                    </a:lnTo>
                    <a:lnTo>
                      <a:pt x="112" y="84"/>
                    </a:lnTo>
                    <a:lnTo>
                      <a:pt x="112" y="82"/>
                    </a:lnTo>
                    <a:lnTo>
                      <a:pt x="116" y="82"/>
                    </a:lnTo>
                    <a:lnTo>
                      <a:pt x="124" y="82"/>
                    </a:lnTo>
                    <a:lnTo>
                      <a:pt x="124" y="82"/>
                    </a:lnTo>
                    <a:lnTo>
                      <a:pt x="136" y="78"/>
                    </a:lnTo>
                    <a:lnTo>
                      <a:pt x="136" y="78"/>
                    </a:lnTo>
                    <a:lnTo>
                      <a:pt x="142" y="76"/>
                    </a:lnTo>
                    <a:lnTo>
                      <a:pt x="146" y="72"/>
                    </a:lnTo>
                    <a:lnTo>
                      <a:pt x="146" y="72"/>
                    </a:lnTo>
                    <a:lnTo>
                      <a:pt x="150" y="68"/>
                    </a:lnTo>
                    <a:lnTo>
                      <a:pt x="152" y="70"/>
                    </a:lnTo>
                    <a:lnTo>
                      <a:pt x="152" y="70"/>
                    </a:lnTo>
                    <a:lnTo>
                      <a:pt x="156" y="74"/>
                    </a:lnTo>
                    <a:lnTo>
                      <a:pt x="160" y="74"/>
                    </a:lnTo>
                    <a:lnTo>
                      <a:pt x="160" y="74"/>
                    </a:lnTo>
                    <a:lnTo>
                      <a:pt x="160" y="72"/>
                    </a:lnTo>
                    <a:lnTo>
                      <a:pt x="160" y="68"/>
                    </a:lnTo>
                    <a:lnTo>
                      <a:pt x="160" y="68"/>
                    </a:lnTo>
                    <a:lnTo>
                      <a:pt x="158" y="60"/>
                    </a:lnTo>
                    <a:lnTo>
                      <a:pt x="154" y="50"/>
                    </a:lnTo>
                    <a:lnTo>
                      <a:pt x="154" y="50"/>
                    </a:lnTo>
                    <a:lnTo>
                      <a:pt x="154" y="46"/>
                    </a:lnTo>
                    <a:lnTo>
                      <a:pt x="154" y="42"/>
                    </a:lnTo>
                    <a:lnTo>
                      <a:pt x="154" y="42"/>
                    </a:lnTo>
                    <a:lnTo>
                      <a:pt x="152" y="40"/>
                    </a:lnTo>
                    <a:lnTo>
                      <a:pt x="150" y="40"/>
                    </a:lnTo>
                    <a:lnTo>
                      <a:pt x="148" y="38"/>
                    </a:lnTo>
                    <a:lnTo>
                      <a:pt x="148" y="38"/>
                    </a:lnTo>
                    <a:lnTo>
                      <a:pt x="144" y="36"/>
                    </a:lnTo>
                    <a:lnTo>
                      <a:pt x="142" y="36"/>
                    </a:lnTo>
                    <a:lnTo>
                      <a:pt x="142" y="34"/>
                    </a:lnTo>
                    <a:lnTo>
                      <a:pt x="142" y="34"/>
                    </a:lnTo>
                    <a:lnTo>
                      <a:pt x="142" y="32"/>
                    </a:lnTo>
                    <a:lnTo>
                      <a:pt x="144" y="28"/>
                    </a:lnTo>
                    <a:lnTo>
                      <a:pt x="146" y="26"/>
                    </a:lnTo>
                    <a:lnTo>
                      <a:pt x="146" y="26"/>
                    </a:lnTo>
                    <a:lnTo>
                      <a:pt x="146" y="26"/>
                    </a:lnTo>
                    <a:lnTo>
                      <a:pt x="146" y="22"/>
                    </a:lnTo>
                    <a:lnTo>
                      <a:pt x="146" y="18"/>
                    </a:lnTo>
                    <a:lnTo>
                      <a:pt x="146" y="18"/>
                    </a:lnTo>
                    <a:lnTo>
                      <a:pt x="142" y="16"/>
                    </a:lnTo>
                    <a:lnTo>
                      <a:pt x="140" y="14"/>
                    </a:lnTo>
                    <a:lnTo>
                      <a:pt x="140" y="14"/>
                    </a:lnTo>
                    <a:lnTo>
                      <a:pt x="138" y="12"/>
                    </a:lnTo>
                    <a:lnTo>
                      <a:pt x="138" y="10"/>
                    </a:lnTo>
                    <a:lnTo>
                      <a:pt x="138" y="10"/>
                    </a:lnTo>
                    <a:lnTo>
                      <a:pt x="136" y="8"/>
                    </a:lnTo>
                    <a:lnTo>
                      <a:pt x="136" y="8"/>
                    </a:lnTo>
                    <a:lnTo>
                      <a:pt x="134" y="8"/>
                    </a:lnTo>
                    <a:lnTo>
                      <a:pt x="132" y="10"/>
                    </a:lnTo>
                    <a:lnTo>
                      <a:pt x="132" y="12"/>
                    </a:lnTo>
                    <a:lnTo>
                      <a:pt x="130" y="12"/>
                    </a:lnTo>
                    <a:lnTo>
                      <a:pt x="130" y="12"/>
                    </a:lnTo>
                    <a:lnTo>
                      <a:pt x="128" y="10"/>
                    </a:lnTo>
                    <a:lnTo>
                      <a:pt x="124" y="10"/>
                    </a:lnTo>
                    <a:lnTo>
                      <a:pt x="124" y="10"/>
                    </a:lnTo>
                    <a:lnTo>
                      <a:pt x="118" y="14"/>
                    </a:lnTo>
                    <a:lnTo>
                      <a:pt x="118" y="14"/>
                    </a:lnTo>
                    <a:lnTo>
                      <a:pt x="116" y="14"/>
                    </a:lnTo>
                    <a:lnTo>
                      <a:pt x="118" y="12"/>
                    </a:lnTo>
                    <a:lnTo>
                      <a:pt x="118" y="12"/>
                    </a:lnTo>
                    <a:lnTo>
                      <a:pt x="122" y="10"/>
                    </a:lnTo>
                    <a:lnTo>
                      <a:pt x="122" y="10"/>
                    </a:lnTo>
                    <a:lnTo>
                      <a:pt x="122" y="10"/>
                    </a:lnTo>
                    <a:lnTo>
                      <a:pt x="118" y="10"/>
                    </a:lnTo>
                    <a:lnTo>
                      <a:pt x="118" y="10"/>
                    </a:lnTo>
                    <a:lnTo>
                      <a:pt x="114" y="12"/>
                    </a:lnTo>
                    <a:lnTo>
                      <a:pt x="110" y="14"/>
                    </a:lnTo>
                    <a:lnTo>
                      <a:pt x="110" y="14"/>
                    </a:lnTo>
                    <a:lnTo>
                      <a:pt x="104" y="14"/>
                    </a:lnTo>
                    <a:lnTo>
                      <a:pt x="100" y="14"/>
                    </a:lnTo>
                    <a:lnTo>
                      <a:pt x="100" y="14"/>
                    </a:lnTo>
                    <a:lnTo>
                      <a:pt x="98" y="14"/>
                    </a:lnTo>
                    <a:lnTo>
                      <a:pt x="94" y="16"/>
                    </a:lnTo>
                    <a:lnTo>
                      <a:pt x="94" y="16"/>
                    </a:lnTo>
                    <a:lnTo>
                      <a:pt x="92" y="16"/>
                    </a:lnTo>
                    <a:lnTo>
                      <a:pt x="90" y="16"/>
                    </a:lnTo>
                    <a:lnTo>
                      <a:pt x="86" y="14"/>
                    </a:lnTo>
                    <a:lnTo>
                      <a:pt x="86" y="14"/>
                    </a:lnTo>
                    <a:lnTo>
                      <a:pt x="82" y="14"/>
                    </a:lnTo>
                    <a:lnTo>
                      <a:pt x="78" y="14"/>
                    </a:lnTo>
                    <a:lnTo>
                      <a:pt x="78" y="14"/>
                    </a:lnTo>
                    <a:lnTo>
                      <a:pt x="78" y="12"/>
                    </a:lnTo>
                    <a:lnTo>
                      <a:pt x="80" y="12"/>
                    </a:lnTo>
                    <a:lnTo>
                      <a:pt x="82" y="10"/>
                    </a:lnTo>
                    <a:lnTo>
                      <a:pt x="78" y="8"/>
                    </a:lnTo>
                    <a:lnTo>
                      <a:pt x="78" y="8"/>
                    </a:lnTo>
                    <a:lnTo>
                      <a:pt x="76" y="8"/>
                    </a:lnTo>
                    <a:lnTo>
                      <a:pt x="74" y="6"/>
                    </a:lnTo>
                    <a:lnTo>
                      <a:pt x="74" y="6"/>
                    </a:lnTo>
                    <a:lnTo>
                      <a:pt x="70" y="6"/>
                    </a:lnTo>
                    <a:lnTo>
                      <a:pt x="68" y="8"/>
                    </a:lnTo>
                    <a:lnTo>
                      <a:pt x="68" y="8"/>
                    </a:lnTo>
                    <a:lnTo>
                      <a:pt x="66" y="4"/>
                    </a:lnTo>
                    <a:lnTo>
                      <a:pt x="62" y="6"/>
                    </a:lnTo>
                    <a:lnTo>
                      <a:pt x="62" y="6"/>
                    </a:lnTo>
                    <a:lnTo>
                      <a:pt x="64" y="4"/>
                    </a:lnTo>
                    <a:lnTo>
                      <a:pt x="62" y="2"/>
                    </a:lnTo>
                    <a:lnTo>
                      <a:pt x="60" y="0"/>
                    </a:lnTo>
                    <a:lnTo>
                      <a:pt x="60" y="0"/>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 name="Hong Kong"/>
              <p:cNvSpPr>
                <a:spLocks noEditPoints="1"/>
              </p:cNvSpPr>
              <p:nvPr/>
            </p:nvSpPr>
            <p:spPr bwMode="auto">
              <a:xfrm>
                <a:off x="9301331" y="2603680"/>
                <a:ext cx="106299" cy="203008"/>
              </a:xfrm>
              <a:custGeom>
                <a:avLst/>
                <a:gdLst>
                  <a:gd name="T0" fmla="*/ 54 w 108"/>
                  <a:gd name="T1" fmla="*/ 0 h 206"/>
                  <a:gd name="T2" fmla="*/ 0 w 108"/>
                  <a:gd name="T3" fmla="*/ 54 h 206"/>
                  <a:gd name="T4" fmla="*/ 0 w 108"/>
                  <a:gd name="T5" fmla="*/ 58 h 206"/>
                  <a:gd name="T6" fmla="*/ 1 w 108"/>
                  <a:gd name="T7" fmla="*/ 67 h 206"/>
                  <a:gd name="T8" fmla="*/ 53 w 108"/>
                  <a:gd name="T9" fmla="*/ 206 h 206"/>
                  <a:gd name="T10" fmla="*/ 107 w 108"/>
                  <a:gd name="T11" fmla="*/ 67 h 206"/>
                  <a:gd name="T12" fmla="*/ 108 w 108"/>
                  <a:gd name="T13" fmla="*/ 56 h 206"/>
                  <a:gd name="T14" fmla="*/ 108 w 108"/>
                  <a:gd name="T15" fmla="*/ 54 h 206"/>
                  <a:gd name="T16" fmla="*/ 54 w 108"/>
                  <a:gd name="T17" fmla="*/ 0 h 206"/>
                  <a:gd name="T18" fmla="*/ 54 w 108"/>
                  <a:gd name="T19" fmla="*/ 65 h 206"/>
                  <a:gd name="T20" fmla="*/ 37 w 108"/>
                  <a:gd name="T21" fmla="*/ 48 h 206"/>
                  <a:gd name="T22" fmla="*/ 54 w 108"/>
                  <a:gd name="T23" fmla="*/ 30 h 206"/>
                  <a:gd name="T24" fmla="*/ 71 w 108"/>
                  <a:gd name="T25" fmla="*/ 48 h 206"/>
                  <a:gd name="T26" fmla="*/ 54 w 108"/>
                  <a:gd name="T27" fmla="*/ 65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206">
                    <a:moveTo>
                      <a:pt x="54" y="0"/>
                    </a:moveTo>
                    <a:cubicBezTo>
                      <a:pt x="24" y="0"/>
                      <a:pt x="0" y="24"/>
                      <a:pt x="0" y="54"/>
                    </a:cubicBezTo>
                    <a:cubicBezTo>
                      <a:pt x="0" y="58"/>
                      <a:pt x="0" y="58"/>
                      <a:pt x="0" y="58"/>
                    </a:cubicBezTo>
                    <a:cubicBezTo>
                      <a:pt x="0" y="61"/>
                      <a:pt x="0" y="64"/>
                      <a:pt x="1" y="67"/>
                    </a:cubicBezTo>
                    <a:cubicBezTo>
                      <a:pt x="22" y="123"/>
                      <a:pt x="53" y="206"/>
                      <a:pt x="53" y="206"/>
                    </a:cubicBezTo>
                    <a:cubicBezTo>
                      <a:pt x="56" y="198"/>
                      <a:pt x="107" y="67"/>
                      <a:pt x="107" y="67"/>
                    </a:cubicBezTo>
                    <a:cubicBezTo>
                      <a:pt x="107" y="63"/>
                      <a:pt x="108" y="59"/>
                      <a:pt x="108" y="56"/>
                    </a:cubicBezTo>
                    <a:cubicBezTo>
                      <a:pt x="108" y="54"/>
                      <a:pt x="108" y="54"/>
                      <a:pt x="108" y="54"/>
                    </a:cubicBezTo>
                    <a:cubicBezTo>
                      <a:pt x="108" y="24"/>
                      <a:pt x="83" y="0"/>
                      <a:pt x="54" y="0"/>
                    </a:cubicBezTo>
                    <a:close/>
                    <a:moveTo>
                      <a:pt x="54" y="65"/>
                    </a:moveTo>
                    <a:cubicBezTo>
                      <a:pt x="45" y="65"/>
                      <a:pt x="37" y="57"/>
                      <a:pt x="37" y="48"/>
                    </a:cubicBezTo>
                    <a:cubicBezTo>
                      <a:pt x="37" y="38"/>
                      <a:pt x="45" y="30"/>
                      <a:pt x="54" y="30"/>
                    </a:cubicBezTo>
                    <a:cubicBezTo>
                      <a:pt x="63" y="30"/>
                      <a:pt x="71" y="38"/>
                      <a:pt x="71" y="48"/>
                    </a:cubicBezTo>
                    <a:cubicBezTo>
                      <a:pt x="71" y="57"/>
                      <a:pt x="63" y="65"/>
                      <a:pt x="54" y="65"/>
                    </a:cubicBez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India"/>
              <p:cNvSpPr>
                <a:spLocks/>
              </p:cNvSpPr>
              <p:nvPr/>
            </p:nvSpPr>
            <p:spPr bwMode="auto">
              <a:xfrm>
                <a:off x="7897527" y="2319485"/>
                <a:ext cx="893067" cy="1056122"/>
              </a:xfrm>
              <a:custGeom>
                <a:avLst/>
                <a:gdLst/>
                <a:ahLst/>
                <a:cxnLst>
                  <a:cxn ang="0">
                    <a:pos x="388" y="234"/>
                  </a:cxn>
                  <a:cxn ang="0">
                    <a:pos x="350" y="234"/>
                  </a:cxn>
                  <a:cxn ang="0">
                    <a:pos x="300" y="212"/>
                  </a:cxn>
                  <a:cxn ang="0">
                    <a:pos x="276" y="206"/>
                  </a:cxn>
                  <a:cxn ang="0">
                    <a:pos x="230" y="174"/>
                  </a:cxn>
                  <a:cxn ang="0">
                    <a:pos x="240" y="142"/>
                  </a:cxn>
                  <a:cxn ang="0">
                    <a:pos x="182" y="104"/>
                  </a:cxn>
                  <a:cxn ang="0">
                    <a:pos x="182" y="70"/>
                  </a:cxn>
                  <a:cxn ang="0">
                    <a:pos x="128" y="4"/>
                  </a:cxn>
                  <a:cxn ang="0">
                    <a:pos x="128" y="28"/>
                  </a:cxn>
                  <a:cxn ang="0">
                    <a:pos x="66" y="40"/>
                  </a:cxn>
                  <a:cxn ang="0">
                    <a:pos x="82" y="54"/>
                  </a:cxn>
                  <a:cxn ang="0">
                    <a:pos x="104" y="66"/>
                  </a:cxn>
                  <a:cxn ang="0">
                    <a:pos x="102" y="98"/>
                  </a:cxn>
                  <a:cxn ang="0">
                    <a:pos x="88" y="150"/>
                  </a:cxn>
                  <a:cxn ang="0">
                    <a:pos x="44" y="192"/>
                  </a:cxn>
                  <a:cxn ang="0">
                    <a:pos x="28" y="218"/>
                  </a:cxn>
                  <a:cxn ang="0">
                    <a:pos x="68" y="270"/>
                  </a:cxn>
                  <a:cxn ang="0">
                    <a:pos x="54" y="276"/>
                  </a:cxn>
                  <a:cxn ang="0">
                    <a:pos x="12" y="282"/>
                  </a:cxn>
                  <a:cxn ang="0">
                    <a:pos x="18" y="306"/>
                  </a:cxn>
                  <a:cxn ang="0">
                    <a:pos x="44" y="324"/>
                  </a:cxn>
                  <a:cxn ang="0">
                    <a:pos x="20" y="334"/>
                  </a:cxn>
                  <a:cxn ang="0">
                    <a:pos x="58" y="376"/>
                  </a:cxn>
                  <a:cxn ang="0">
                    <a:pos x="88" y="354"/>
                  </a:cxn>
                  <a:cxn ang="0">
                    <a:pos x="94" y="354"/>
                  </a:cxn>
                  <a:cxn ang="0">
                    <a:pos x="110" y="386"/>
                  </a:cxn>
                  <a:cxn ang="0">
                    <a:pos x="114" y="410"/>
                  </a:cxn>
                  <a:cxn ang="0">
                    <a:pos x="142" y="508"/>
                  </a:cxn>
                  <a:cxn ang="0">
                    <a:pos x="168" y="572"/>
                  </a:cxn>
                  <a:cxn ang="0">
                    <a:pos x="210" y="660"/>
                  </a:cxn>
                  <a:cxn ang="0">
                    <a:pos x="252" y="690"/>
                  </a:cxn>
                  <a:cxn ang="0">
                    <a:pos x="264" y="660"/>
                  </a:cxn>
                  <a:cxn ang="0">
                    <a:pos x="284" y="638"/>
                  </a:cxn>
                  <a:cxn ang="0">
                    <a:pos x="288" y="582"/>
                  </a:cxn>
                  <a:cxn ang="0">
                    <a:pos x="286" y="532"/>
                  </a:cxn>
                  <a:cxn ang="0">
                    <a:pos x="300" y="490"/>
                  </a:cxn>
                  <a:cxn ang="0">
                    <a:pos x="328" y="464"/>
                  </a:cxn>
                  <a:cxn ang="0">
                    <a:pos x="352" y="432"/>
                  </a:cxn>
                  <a:cxn ang="0">
                    <a:pos x="382" y="390"/>
                  </a:cxn>
                  <a:cxn ang="0">
                    <a:pos x="398" y="354"/>
                  </a:cxn>
                  <a:cxn ang="0">
                    <a:pos x="420" y="332"/>
                  </a:cxn>
                  <a:cxn ang="0">
                    <a:pos x="432" y="338"/>
                  </a:cxn>
                  <a:cxn ang="0">
                    <a:pos x="430" y="308"/>
                  </a:cxn>
                  <a:cxn ang="0">
                    <a:pos x="408" y="268"/>
                  </a:cxn>
                  <a:cxn ang="0">
                    <a:pos x="390" y="238"/>
                  </a:cxn>
                  <a:cxn ang="0">
                    <a:pos x="418" y="228"/>
                  </a:cxn>
                  <a:cxn ang="0">
                    <a:pos x="436" y="240"/>
                  </a:cxn>
                  <a:cxn ang="0">
                    <a:pos x="502" y="266"/>
                  </a:cxn>
                  <a:cxn ang="0">
                    <a:pos x="470" y="296"/>
                  </a:cxn>
                  <a:cxn ang="0">
                    <a:pos x="492" y="300"/>
                  </a:cxn>
                  <a:cxn ang="0">
                    <a:pos x="528" y="332"/>
                  </a:cxn>
                  <a:cxn ang="0">
                    <a:pos x="540" y="290"/>
                  </a:cxn>
                  <a:cxn ang="0">
                    <a:pos x="540" y="236"/>
                  </a:cxn>
                  <a:cxn ang="0">
                    <a:pos x="582" y="190"/>
                  </a:cxn>
                  <a:cxn ang="0">
                    <a:pos x="558" y="172"/>
                  </a:cxn>
                  <a:cxn ang="0">
                    <a:pos x="538" y="160"/>
                  </a:cxn>
                  <a:cxn ang="0">
                    <a:pos x="462" y="184"/>
                  </a:cxn>
                  <a:cxn ang="0">
                    <a:pos x="470" y="206"/>
                  </a:cxn>
                  <a:cxn ang="0">
                    <a:pos x="412" y="200"/>
                  </a:cxn>
                </a:cxnLst>
                <a:rect l="0" t="0" r="r" b="b"/>
                <a:pathLst>
                  <a:path w="588" h="696">
                    <a:moveTo>
                      <a:pt x="398" y="192"/>
                    </a:moveTo>
                    <a:lnTo>
                      <a:pt x="398" y="192"/>
                    </a:lnTo>
                    <a:lnTo>
                      <a:pt x="400" y="196"/>
                    </a:lnTo>
                    <a:lnTo>
                      <a:pt x="400" y="200"/>
                    </a:lnTo>
                    <a:lnTo>
                      <a:pt x="394" y="206"/>
                    </a:lnTo>
                    <a:lnTo>
                      <a:pt x="388" y="212"/>
                    </a:lnTo>
                    <a:lnTo>
                      <a:pt x="386" y="216"/>
                    </a:lnTo>
                    <a:lnTo>
                      <a:pt x="388" y="218"/>
                    </a:lnTo>
                    <a:lnTo>
                      <a:pt x="388" y="218"/>
                    </a:lnTo>
                    <a:lnTo>
                      <a:pt x="390" y="224"/>
                    </a:lnTo>
                    <a:lnTo>
                      <a:pt x="390" y="230"/>
                    </a:lnTo>
                    <a:lnTo>
                      <a:pt x="388" y="234"/>
                    </a:lnTo>
                    <a:lnTo>
                      <a:pt x="386" y="238"/>
                    </a:lnTo>
                    <a:lnTo>
                      <a:pt x="386" y="238"/>
                    </a:lnTo>
                    <a:lnTo>
                      <a:pt x="378" y="238"/>
                    </a:lnTo>
                    <a:lnTo>
                      <a:pt x="374" y="238"/>
                    </a:lnTo>
                    <a:lnTo>
                      <a:pt x="372" y="238"/>
                    </a:lnTo>
                    <a:lnTo>
                      <a:pt x="368" y="238"/>
                    </a:lnTo>
                    <a:lnTo>
                      <a:pt x="368" y="238"/>
                    </a:lnTo>
                    <a:lnTo>
                      <a:pt x="362" y="238"/>
                    </a:lnTo>
                    <a:lnTo>
                      <a:pt x="360" y="236"/>
                    </a:lnTo>
                    <a:lnTo>
                      <a:pt x="358" y="234"/>
                    </a:lnTo>
                    <a:lnTo>
                      <a:pt x="350" y="234"/>
                    </a:lnTo>
                    <a:lnTo>
                      <a:pt x="350" y="234"/>
                    </a:lnTo>
                    <a:lnTo>
                      <a:pt x="344" y="234"/>
                    </a:lnTo>
                    <a:lnTo>
                      <a:pt x="340" y="230"/>
                    </a:lnTo>
                    <a:lnTo>
                      <a:pt x="338" y="228"/>
                    </a:lnTo>
                    <a:lnTo>
                      <a:pt x="334" y="228"/>
                    </a:lnTo>
                    <a:lnTo>
                      <a:pt x="334" y="228"/>
                    </a:lnTo>
                    <a:lnTo>
                      <a:pt x="332" y="228"/>
                    </a:lnTo>
                    <a:lnTo>
                      <a:pt x="332" y="226"/>
                    </a:lnTo>
                    <a:lnTo>
                      <a:pt x="330" y="222"/>
                    </a:lnTo>
                    <a:lnTo>
                      <a:pt x="324" y="218"/>
                    </a:lnTo>
                    <a:lnTo>
                      <a:pt x="324" y="218"/>
                    </a:lnTo>
                    <a:lnTo>
                      <a:pt x="306" y="212"/>
                    </a:lnTo>
                    <a:lnTo>
                      <a:pt x="300" y="212"/>
                    </a:lnTo>
                    <a:lnTo>
                      <a:pt x="298" y="212"/>
                    </a:lnTo>
                    <a:lnTo>
                      <a:pt x="296" y="214"/>
                    </a:lnTo>
                    <a:lnTo>
                      <a:pt x="296" y="214"/>
                    </a:lnTo>
                    <a:lnTo>
                      <a:pt x="296" y="214"/>
                    </a:lnTo>
                    <a:lnTo>
                      <a:pt x="292" y="214"/>
                    </a:lnTo>
                    <a:lnTo>
                      <a:pt x="280" y="212"/>
                    </a:lnTo>
                    <a:lnTo>
                      <a:pt x="280" y="212"/>
                    </a:lnTo>
                    <a:lnTo>
                      <a:pt x="276" y="212"/>
                    </a:lnTo>
                    <a:lnTo>
                      <a:pt x="276" y="210"/>
                    </a:lnTo>
                    <a:lnTo>
                      <a:pt x="278" y="208"/>
                    </a:lnTo>
                    <a:lnTo>
                      <a:pt x="276" y="206"/>
                    </a:lnTo>
                    <a:lnTo>
                      <a:pt x="276" y="206"/>
                    </a:lnTo>
                    <a:lnTo>
                      <a:pt x="262" y="202"/>
                    </a:lnTo>
                    <a:lnTo>
                      <a:pt x="254" y="198"/>
                    </a:lnTo>
                    <a:lnTo>
                      <a:pt x="246" y="192"/>
                    </a:lnTo>
                    <a:lnTo>
                      <a:pt x="246" y="192"/>
                    </a:lnTo>
                    <a:lnTo>
                      <a:pt x="242" y="188"/>
                    </a:lnTo>
                    <a:lnTo>
                      <a:pt x="238" y="188"/>
                    </a:lnTo>
                    <a:lnTo>
                      <a:pt x="232" y="188"/>
                    </a:lnTo>
                    <a:lnTo>
                      <a:pt x="226" y="184"/>
                    </a:lnTo>
                    <a:lnTo>
                      <a:pt x="226" y="184"/>
                    </a:lnTo>
                    <a:lnTo>
                      <a:pt x="222" y="182"/>
                    </a:lnTo>
                    <a:lnTo>
                      <a:pt x="224" y="178"/>
                    </a:lnTo>
                    <a:lnTo>
                      <a:pt x="230" y="174"/>
                    </a:lnTo>
                    <a:lnTo>
                      <a:pt x="236" y="168"/>
                    </a:lnTo>
                    <a:lnTo>
                      <a:pt x="236" y="168"/>
                    </a:lnTo>
                    <a:lnTo>
                      <a:pt x="240" y="162"/>
                    </a:lnTo>
                    <a:lnTo>
                      <a:pt x="240" y="160"/>
                    </a:lnTo>
                    <a:lnTo>
                      <a:pt x="238" y="158"/>
                    </a:lnTo>
                    <a:lnTo>
                      <a:pt x="240" y="156"/>
                    </a:lnTo>
                    <a:lnTo>
                      <a:pt x="240" y="156"/>
                    </a:lnTo>
                    <a:lnTo>
                      <a:pt x="244" y="148"/>
                    </a:lnTo>
                    <a:lnTo>
                      <a:pt x="246" y="146"/>
                    </a:lnTo>
                    <a:lnTo>
                      <a:pt x="246" y="146"/>
                    </a:lnTo>
                    <a:lnTo>
                      <a:pt x="240" y="142"/>
                    </a:lnTo>
                    <a:lnTo>
                      <a:pt x="240" y="142"/>
                    </a:lnTo>
                    <a:lnTo>
                      <a:pt x="234" y="134"/>
                    </a:lnTo>
                    <a:lnTo>
                      <a:pt x="226" y="132"/>
                    </a:lnTo>
                    <a:lnTo>
                      <a:pt x="220" y="130"/>
                    </a:lnTo>
                    <a:lnTo>
                      <a:pt x="214" y="126"/>
                    </a:lnTo>
                    <a:lnTo>
                      <a:pt x="214" y="126"/>
                    </a:lnTo>
                    <a:lnTo>
                      <a:pt x="208" y="122"/>
                    </a:lnTo>
                    <a:lnTo>
                      <a:pt x="202" y="122"/>
                    </a:lnTo>
                    <a:lnTo>
                      <a:pt x="194" y="118"/>
                    </a:lnTo>
                    <a:lnTo>
                      <a:pt x="190" y="116"/>
                    </a:lnTo>
                    <a:lnTo>
                      <a:pt x="186" y="112"/>
                    </a:lnTo>
                    <a:lnTo>
                      <a:pt x="186" y="112"/>
                    </a:lnTo>
                    <a:lnTo>
                      <a:pt x="182" y="104"/>
                    </a:lnTo>
                    <a:lnTo>
                      <a:pt x="182" y="98"/>
                    </a:lnTo>
                    <a:lnTo>
                      <a:pt x="182" y="94"/>
                    </a:lnTo>
                    <a:lnTo>
                      <a:pt x="176" y="88"/>
                    </a:lnTo>
                    <a:lnTo>
                      <a:pt x="176" y="88"/>
                    </a:lnTo>
                    <a:lnTo>
                      <a:pt x="174" y="84"/>
                    </a:lnTo>
                    <a:lnTo>
                      <a:pt x="174" y="84"/>
                    </a:lnTo>
                    <a:lnTo>
                      <a:pt x="178" y="84"/>
                    </a:lnTo>
                    <a:lnTo>
                      <a:pt x="182" y="84"/>
                    </a:lnTo>
                    <a:lnTo>
                      <a:pt x="184" y="82"/>
                    </a:lnTo>
                    <a:lnTo>
                      <a:pt x="184" y="78"/>
                    </a:lnTo>
                    <a:lnTo>
                      <a:pt x="182" y="70"/>
                    </a:lnTo>
                    <a:lnTo>
                      <a:pt x="182" y="70"/>
                    </a:lnTo>
                    <a:lnTo>
                      <a:pt x="178" y="64"/>
                    </a:lnTo>
                    <a:lnTo>
                      <a:pt x="174" y="58"/>
                    </a:lnTo>
                    <a:lnTo>
                      <a:pt x="166" y="50"/>
                    </a:lnTo>
                    <a:lnTo>
                      <a:pt x="164" y="48"/>
                    </a:lnTo>
                    <a:lnTo>
                      <a:pt x="164" y="46"/>
                    </a:lnTo>
                    <a:lnTo>
                      <a:pt x="170" y="38"/>
                    </a:lnTo>
                    <a:lnTo>
                      <a:pt x="170" y="38"/>
                    </a:lnTo>
                    <a:lnTo>
                      <a:pt x="158" y="22"/>
                    </a:lnTo>
                    <a:lnTo>
                      <a:pt x="150" y="12"/>
                    </a:lnTo>
                    <a:lnTo>
                      <a:pt x="142" y="6"/>
                    </a:lnTo>
                    <a:lnTo>
                      <a:pt x="136" y="4"/>
                    </a:lnTo>
                    <a:lnTo>
                      <a:pt x="128" y="4"/>
                    </a:lnTo>
                    <a:lnTo>
                      <a:pt x="124" y="2"/>
                    </a:lnTo>
                    <a:lnTo>
                      <a:pt x="120" y="0"/>
                    </a:lnTo>
                    <a:lnTo>
                      <a:pt x="120" y="0"/>
                    </a:lnTo>
                    <a:lnTo>
                      <a:pt x="122" y="4"/>
                    </a:lnTo>
                    <a:lnTo>
                      <a:pt x="126" y="6"/>
                    </a:lnTo>
                    <a:lnTo>
                      <a:pt x="130" y="8"/>
                    </a:lnTo>
                    <a:lnTo>
                      <a:pt x="134" y="16"/>
                    </a:lnTo>
                    <a:lnTo>
                      <a:pt x="134" y="16"/>
                    </a:lnTo>
                    <a:lnTo>
                      <a:pt x="138" y="22"/>
                    </a:lnTo>
                    <a:lnTo>
                      <a:pt x="138" y="26"/>
                    </a:lnTo>
                    <a:lnTo>
                      <a:pt x="134" y="28"/>
                    </a:lnTo>
                    <a:lnTo>
                      <a:pt x="128" y="28"/>
                    </a:lnTo>
                    <a:lnTo>
                      <a:pt x="128" y="28"/>
                    </a:lnTo>
                    <a:lnTo>
                      <a:pt x="116" y="30"/>
                    </a:lnTo>
                    <a:lnTo>
                      <a:pt x="108" y="32"/>
                    </a:lnTo>
                    <a:lnTo>
                      <a:pt x="100" y="34"/>
                    </a:lnTo>
                    <a:lnTo>
                      <a:pt x="80" y="32"/>
                    </a:lnTo>
                    <a:lnTo>
                      <a:pt x="80" y="32"/>
                    </a:lnTo>
                    <a:lnTo>
                      <a:pt x="70" y="30"/>
                    </a:lnTo>
                    <a:lnTo>
                      <a:pt x="64" y="30"/>
                    </a:lnTo>
                    <a:lnTo>
                      <a:pt x="62" y="32"/>
                    </a:lnTo>
                    <a:lnTo>
                      <a:pt x="60" y="32"/>
                    </a:lnTo>
                    <a:lnTo>
                      <a:pt x="62" y="36"/>
                    </a:lnTo>
                    <a:lnTo>
                      <a:pt x="66" y="40"/>
                    </a:lnTo>
                    <a:lnTo>
                      <a:pt x="66" y="40"/>
                    </a:lnTo>
                    <a:lnTo>
                      <a:pt x="62" y="40"/>
                    </a:lnTo>
                    <a:lnTo>
                      <a:pt x="62" y="42"/>
                    </a:lnTo>
                    <a:lnTo>
                      <a:pt x="64" y="44"/>
                    </a:lnTo>
                    <a:lnTo>
                      <a:pt x="68" y="48"/>
                    </a:lnTo>
                    <a:lnTo>
                      <a:pt x="70" y="50"/>
                    </a:lnTo>
                    <a:lnTo>
                      <a:pt x="70" y="54"/>
                    </a:lnTo>
                    <a:lnTo>
                      <a:pt x="70" y="54"/>
                    </a:lnTo>
                    <a:lnTo>
                      <a:pt x="70" y="56"/>
                    </a:lnTo>
                    <a:lnTo>
                      <a:pt x="72" y="58"/>
                    </a:lnTo>
                    <a:lnTo>
                      <a:pt x="76" y="56"/>
                    </a:lnTo>
                    <a:lnTo>
                      <a:pt x="82" y="54"/>
                    </a:lnTo>
                    <a:lnTo>
                      <a:pt x="84" y="54"/>
                    </a:lnTo>
                    <a:lnTo>
                      <a:pt x="86" y="54"/>
                    </a:lnTo>
                    <a:lnTo>
                      <a:pt x="86" y="54"/>
                    </a:lnTo>
                    <a:lnTo>
                      <a:pt x="88" y="58"/>
                    </a:lnTo>
                    <a:lnTo>
                      <a:pt x="88" y="60"/>
                    </a:lnTo>
                    <a:lnTo>
                      <a:pt x="88" y="64"/>
                    </a:lnTo>
                    <a:lnTo>
                      <a:pt x="88" y="66"/>
                    </a:lnTo>
                    <a:lnTo>
                      <a:pt x="90" y="68"/>
                    </a:lnTo>
                    <a:lnTo>
                      <a:pt x="98" y="66"/>
                    </a:lnTo>
                    <a:lnTo>
                      <a:pt x="98" y="66"/>
                    </a:lnTo>
                    <a:lnTo>
                      <a:pt x="102" y="66"/>
                    </a:lnTo>
                    <a:lnTo>
                      <a:pt x="104" y="66"/>
                    </a:lnTo>
                    <a:lnTo>
                      <a:pt x="102" y="70"/>
                    </a:lnTo>
                    <a:lnTo>
                      <a:pt x="102" y="76"/>
                    </a:lnTo>
                    <a:lnTo>
                      <a:pt x="102" y="78"/>
                    </a:lnTo>
                    <a:lnTo>
                      <a:pt x="104" y="78"/>
                    </a:lnTo>
                    <a:lnTo>
                      <a:pt x="104" y="78"/>
                    </a:lnTo>
                    <a:lnTo>
                      <a:pt x="108" y="80"/>
                    </a:lnTo>
                    <a:lnTo>
                      <a:pt x="106" y="82"/>
                    </a:lnTo>
                    <a:lnTo>
                      <a:pt x="102" y="86"/>
                    </a:lnTo>
                    <a:lnTo>
                      <a:pt x="98" y="88"/>
                    </a:lnTo>
                    <a:lnTo>
                      <a:pt x="98" y="92"/>
                    </a:lnTo>
                    <a:lnTo>
                      <a:pt x="98" y="96"/>
                    </a:lnTo>
                    <a:lnTo>
                      <a:pt x="102" y="98"/>
                    </a:lnTo>
                    <a:lnTo>
                      <a:pt x="102" y="98"/>
                    </a:lnTo>
                    <a:lnTo>
                      <a:pt x="108" y="106"/>
                    </a:lnTo>
                    <a:lnTo>
                      <a:pt x="108" y="106"/>
                    </a:lnTo>
                    <a:lnTo>
                      <a:pt x="106" y="108"/>
                    </a:lnTo>
                    <a:lnTo>
                      <a:pt x="102" y="110"/>
                    </a:lnTo>
                    <a:lnTo>
                      <a:pt x="100" y="114"/>
                    </a:lnTo>
                    <a:lnTo>
                      <a:pt x="96" y="120"/>
                    </a:lnTo>
                    <a:lnTo>
                      <a:pt x="96" y="128"/>
                    </a:lnTo>
                    <a:lnTo>
                      <a:pt x="96" y="128"/>
                    </a:lnTo>
                    <a:lnTo>
                      <a:pt x="94" y="138"/>
                    </a:lnTo>
                    <a:lnTo>
                      <a:pt x="92" y="146"/>
                    </a:lnTo>
                    <a:lnTo>
                      <a:pt x="88" y="150"/>
                    </a:lnTo>
                    <a:lnTo>
                      <a:pt x="84" y="152"/>
                    </a:lnTo>
                    <a:lnTo>
                      <a:pt x="78" y="156"/>
                    </a:lnTo>
                    <a:lnTo>
                      <a:pt x="76" y="158"/>
                    </a:lnTo>
                    <a:lnTo>
                      <a:pt x="76" y="162"/>
                    </a:lnTo>
                    <a:lnTo>
                      <a:pt x="76" y="162"/>
                    </a:lnTo>
                    <a:lnTo>
                      <a:pt x="74" y="166"/>
                    </a:lnTo>
                    <a:lnTo>
                      <a:pt x="70" y="174"/>
                    </a:lnTo>
                    <a:lnTo>
                      <a:pt x="64" y="182"/>
                    </a:lnTo>
                    <a:lnTo>
                      <a:pt x="52" y="190"/>
                    </a:lnTo>
                    <a:lnTo>
                      <a:pt x="52" y="190"/>
                    </a:lnTo>
                    <a:lnTo>
                      <a:pt x="46" y="192"/>
                    </a:lnTo>
                    <a:lnTo>
                      <a:pt x="44" y="192"/>
                    </a:lnTo>
                    <a:lnTo>
                      <a:pt x="42" y="190"/>
                    </a:lnTo>
                    <a:lnTo>
                      <a:pt x="40" y="188"/>
                    </a:lnTo>
                    <a:lnTo>
                      <a:pt x="40" y="186"/>
                    </a:lnTo>
                    <a:lnTo>
                      <a:pt x="34" y="190"/>
                    </a:lnTo>
                    <a:lnTo>
                      <a:pt x="34" y="190"/>
                    </a:lnTo>
                    <a:lnTo>
                      <a:pt x="20" y="204"/>
                    </a:lnTo>
                    <a:lnTo>
                      <a:pt x="18" y="210"/>
                    </a:lnTo>
                    <a:lnTo>
                      <a:pt x="18" y="212"/>
                    </a:lnTo>
                    <a:lnTo>
                      <a:pt x="18" y="214"/>
                    </a:lnTo>
                    <a:lnTo>
                      <a:pt x="18" y="214"/>
                    </a:lnTo>
                    <a:lnTo>
                      <a:pt x="24" y="216"/>
                    </a:lnTo>
                    <a:lnTo>
                      <a:pt x="28" y="218"/>
                    </a:lnTo>
                    <a:lnTo>
                      <a:pt x="30" y="222"/>
                    </a:lnTo>
                    <a:lnTo>
                      <a:pt x="30" y="228"/>
                    </a:lnTo>
                    <a:lnTo>
                      <a:pt x="30" y="228"/>
                    </a:lnTo>
                    <a:lnTo>
                      <a:pt x="30" y="232"/>
                    </a:lnTo>
                    <a:lnTo>
                      <a:pt x="32" y="236"/>
                    </a:lnTo>
                    <a:lnTo>
                      <a:pt x="36" y="240"/>
                    </a:lnTo>
                    <a:lnTo>
                      <a:pt x="46" y="246"/>
                    </a:lnTo>
                    <a:lnTo>
                      <a:pt x="58" y="256"/>
                    </a:lnTo>
                    <a:lnTo>
                      <a:pt x="58" y="256"/>
                    </a:lnTo>
                    <a:lnTo>
                      <a:pt x="64" y="262"/>
                    </a:lnTo>
                    <a:lnTo>
                      <a:pt x="68" y="266"/>
                    </a:lnTo>
                    <a:lnTo>
                      <a:pt x="68" y="270"/>
                    </a:lnTo>
                    <a:lnTo>
                      <a:pt x="66" y="270"/>
                    </a:lnTo>
                    <a:lnTo>
                      <a:pt x="62" y="272"/>
                    </a:lnTo>
                    <a:lnTo>
                      <a:pt x="62" y="272"/>
                    </a:lnTo>
                    <a:lnTo>
                      <a:pt x="64" y="274"/>
                    </a:lnTo>
                    <a:lnTo>
                      <a:pt x="64" y="274"/>
                    </a:lnTo>
                    <a:lnTo>
                      <a:pt x="70" y="278"/>
                    </a:lnTo>
                    <a:lnTo>
                      <a:pt x="62" y="280"/>
                    </a:lnTo>
                    <a:lnTo>
                      <a:pt x="62" y="280"/>
                    </a:lnTo>
                    <a:lnTo>
                      <a:pt x="56" y="282"/>
                    </a:lnTo>
                    <a:lnTo>
                      <a:pt x="54" y="280"/>
                    </a:lnTo>
                    <a:lnTo>
                      <a:pt x="54" y="278"/>
                    </a:lnTo>
                    <a:lnTo>
                      <a:pt x="54" y="276"/>
                    </a:lnTo>
                    <a:lnTo>
                      <a:pt x="48" y="278"/>
                    </a:lnTo>
                    <a:lnTo>
                      <a:pt x="48" y="278"/>
                    </a:lnTo>
                    <a:lnTo>
                      <a:pt x="40" y="280"/>
                    </a:lnTo>
                    <a:lnTo>
                      <a:pt x="34" y="280"/>
                    </a:lnTo>
                    <a:lnTo>
                      <a:pt x="28" y="280"/>
                    </a:lnTo>
                    <a:lnTo>
                      <a:pt x="24" y="282"/>
                    </a:lnTo>
                    <a:lnTo>
                      <a:pt x="24" y="282"/>
                    </a:lnTo>
                    <a:lnTo>
                      <a:pt x="20" y="282"/>
                    </a:lnTo>
                    <a:lnTo>
                      <a:pt x="18" y="282"/>
                    </a:lnTo>
                    <a:lnTo>
                      <a:pt x="16" y="280"/>
                    </a:lnTo>
                    <a:lnTo>
                      <a:pt x="12" y="282"/>
                    </a:lnTo>
                    <a:lnTo>
                      <a:pt x="12" y="282"/>
                    </a:lnTo>
                    <a:lnTo>
                      <a:pt x="8" y="286"/>
                    </a:lnTo>
                    <a:lnTo>
                      <a:pt x="6" y="286"/>
                    </a:lnTo>
                    <a:lnTo>
                      <a:pt x="4" y="286"/>
                    </a:lnTo>
                    <a:lnTo>
                      <a:pt x="0" y="292"/>
                    </a:lnTo>
                    <a:lnTo>
                      <a:pt x="0" y="292"/>
                    </a:lnTo>
                    <a:lnTo>
                      <a:pt x="6" y="296"/>
                    </a:lnTo>
                    <a:lnTo>
                      <a:pt x="10" y="298"/>
                    </a:lnTo>
                    <a:lnTo>
                      <a:pt x="14" y="300"/>
                    </a:lnTo>
                    <a:lnTo>
                      <a:pt x="22" y="300"/>
                    </a:lnTo>
                    <a:lnTo>
                      <a:pt x="22" y="300"/>
                    </a:lnTo>
                    <a:lnTo>
                      <a:pt x="18" y="302"/>
                    </a:lnTo>
                    <a:lnTo>
                      <a:pt x="18" y="306"/>
                    </a:lnTo>
                    <a:lnTo>
                      <a:pt x="20" y="310"/>
                    </a:lnTo>
                    <a:lnTo>
                      <a:pt x="20" y="310"/>
                    </a:lnTo>
                    <a:lnTo>
                      <a:pt x="22" y="316"/>
                    </a:lnTo>
                    <a:lnTo>
                      <a:pt x="22" y="322"/>
                    </a:lnTo>
                    <a:lnTo>
                      <a:pt x="24" y="326"/>
                    </a:lnTo>
                    <a:lnTo>
                      <a:pt x="26" y="326"/>
                    </a:lnTo>
                    <a:lnTo>
                      <a:pt x="30" y="324"/>
                    </a:lnTo>
                    <a:lnTo>
                      <a:pt x="30" y="324"/>
                    </a:lnTo>
                    <a:lnTo>
                      <a:pt x="32" y="324"/>
                    </a:lnTo>
                    <a:lnTo>
                      <a:pt x="36" y="324"/>
                    </a:lnTo>
                    <a:lnTo>
                      <a:pt x="40" y="324"/>
                    </a:lnTo>
                    <a:lnTo>
                      <a:pt x="44" y="324"/>
                    </a:lnTo>
                    <a:lnTo>
                      <a:pt x="44" y="324"/>
                    </a:lnTo>
                    <a:lnTo>
                      <a:pt x="44" y="330"/>
                    </a:lnTo>
                    <a:lnTo>
                      <a:pt x="42" y="332"/>
                    </a:lnTo>
                    <a:lnTo>
                      <a:pt x="40" y="334"/>
                    </a:lnTo>
                    <a:lnTo>
                      <a:pt x="40" y="334"/>
                    </a:lnTo>
                    <a:lnTo>
                      <a:pt x="34" y="336"/>
                    </a:lnTo>
                    <a:lnTo>
                      <a:pt x="30" y="336"/>
                    </a:lnTo>
                    <a:lnTo>
                      <a:pt x="26" y="334"/>
                    </a:lnTo>
                    <a:lnTo>
                      <a:pt x="24" y="334"/>
                    </a:lnTo>
                    <a:lnTo>
                      <a:pt x="24" y="334"/>
                    </a:lnTo>
                    <a:lnTo>
                      <a:pt x="22" y="336"/>
                    </a:lnTo>
                    <a:lnTo>
                      <a:pt x="20" y="334"/>
                    </a:lnTo>
                    <a:lnTo>
                      <a:pt x="18" y="334"/>
                    </a:lnTo>
                    <a:lnTo>
                      <a:pt x="18" y="334"/>
                    </a:lnTo>
                    <a:lnTo>
                      <a:pt x="18" y="334"/>
                    </a:lnTo>
                    <a:lnTo>
                      <a:pt x="16" y="336"/>
                    </a:lnTo>
                    <a:lnTo>
                      <a:pt x="16" y="338"/>
                    </a:lnTo>
                    <a:lnTo>
                      <a:pt x="18" y="342"/>
                    </a:lnTo>
                    <a:lnTo>
                      <a:pt x="24" y="344"/>
                    </a:lnTo>
                    <a:lnTo>
                      <a:pt x="24" y="344"/>
                    </a:lnTo>
                    <a:lnTo>
                      <a:pt x="32" y="352"/>
                    </a:lnTo>
                    <a:lnTo>
                      <a:pt x="40" y="362"/>
                    </a:lnTo>
                    <a:lnTo>
                      <a:pt x="52" y="374"/>
                    </a:lnTo>
                    <a:lnTo>
                      <a:pt x="58" y="376"/>
                    </a:lnTo>
                    <a:lnTo>
                      <a:pt x="64" y="378"/>
                    </a:lnTo>
                    <a:lnTo>
                      <a:pt x="64" y="378"/>
                    </a:lnTo>
                    <a:lnTo>
                      <a:pt x="68" y="378"/>
                    </a:lnTo>
                    <a:lnTo>
                      <a:pt x="70" y="376"/>
                    </a:lnTo>
                    <a:lnTo>
                      <a:pt x="72" y="374"/>
                    </a:lnTo>
                    <a:lnTo>
                      <a:pt x="80" y="370"/>
                    </a:lnTo>
                    <a:lnTo>
                      <a:pt x="80" y="370"/>
                    </a:lnTo>
                    <a:lnTo>
                      <a:pt x="84" y="368"/>
                    </a:lnTo>
                    <a:lnTo>
                      <a:pt x="88" y="364"/>
                    </a:lnTo>
                    <a:lnTo>
                      <a:pt x="90" y="360"/>
                    </a:lnTo>
                    <a:lnTo>
                      <a:pt x="88" y="354"/>
                    </a:lnTo>
                    <a:lnTo>
                      <a:pt x="88" y="354"/>
                    </a:lnTo>
                    <a:lnTo>
                      <a:pt x="86" y="348"/>
                    </a:lnTo>
                    <a:lnTo>
                      <a:pt x="88" y="344"/>
                    </a:lnTo>
                    <a:lnTo>
                      <a:pt x="92" y="336"/>
                    </a:lnTo>
                    <a:lnTo>
                      <a:pt x="92" y="336"/>
                    </a:lnTo>
                    <a:lnTo>
                      <a:pt x="92" y="342"/>
                    </a:lnTo>
                    <a:lnTo>
                      <a:pt x="94" y="344"/>
                    </a:lnTo>
                    <a:lnTo>
                      <a:pt x="98" y="344"/>
                    </a:lnTo>
                    <a:lnTo>
                      <a:pt x="106" y="342"/>
                    </a:lnTo>
                    <a:lnTo>
                      <a:pt x="106" y="342"/>
                    </a:lnTo>
                    <a:lnTo>
                      <a:pt x="96" y="346"/>
                    </a:lnTo>
                    <a:lnTo>
                      <a:pt x="94" y="350"/>
                    </a:lnTo>
                    <a:lnTo>
                      <a:pt x="94" y="354"/>
                    </a:lnTo>
                    <a:lnTo>
                      <a:pt x="94" y="354"/>
                    </a:lnTo>
                    <a:lnTo>
                      <a:pt x="96" y="356"/>
                    </a:lnTo>
                    <a:lnTo>
                      <a:pt x="98" y="358"/>
                    </a:lnTo>
                    <a:lnTo>
                      <a:pt x="100" y="358"/>
                    </a:lnTo>
                    <a:lnTo>
                      <a:pt x="100" y="358"/>
                    </a:lnTo>
                    <a:lnTo>
                      <a:pt x="98" y="362"/>
                    </a:lnTo>
                    <a:lnTo>
                      <a:pt x="100" y="366"/>
                    </a:lnTo>
                    <a:lnTo>
                      <a:pt x="106" y="366"/>
                    </a:lnTo>
                    <a:lnTo>
                      <a:pt x="106" y="366"/>
                    </a:lnTo>
                    <a:lnTo>
                      <a:pt x="102" y="370"/>
                    </a:lnTo>
                    <a:lnTo>
                      <a:pt x="102" y="372"/>
                    </a:lnTo>
                    <a:lnTo>
                      <a:pt x="110" y="386"/>
                    </a:lnTo>
                    <a:lnTo>
                      <a:pt x="110" y="386"/>
                    </a:lnTo>
                    <a:lnTo>
                      <a:pt x="106" y="390"/>
                    </a:lnTo>
                    <a:lnTo>
                      <a:pt x="106" y="396"/>
                    </a:lnTo>
                    <a:lnTo>
                      <a:pt x="106" y="400"/>
                    </a:lnTo>
                    <a:lnTo>
                      <a:pt x="106" y="404"/>
                    </a:lnTo>
                    <a:lnTo>
                      <a:pt x="106" y="404"/>
                    </a:lnTo>
                    <a:lnTo>
                      <a:pt x="108" y="408"/>
                    </a:lnTo>
                    <a:lnTo>
                      <a:pt x="108" y="412"/>
                    </a:lnTo>
                    <a:lnTo>
                      <a:pt x="110" y="414"/>
                    </a:lnTo>
                    <a:lnTo>
                      <a:pt x="112" y="412"/>
                    </a:lnTo>
                    <a:lnTo>
                      <a:pt x="112" y="412"/>
                    </a:lnTo>
                    <a:lnTo>
                      <a:pt x="114" y="410"/>
                    </a:lnTo>
                    <a:lnTo>
                      <a:pt x="112" y="414"/>
                    </a:lnTo>
                    <a:lnTo>
                      <a:pt x="110" y="420"/>
                    </a:lnTo>
                    <a:lnTo>
                      <a:pt x="110" y="424"/>
                    </a:lnTo>
                    <a:lnTo>
                      <a:pt x="112" y="430"/>
                    </a:lnTo>
                    <a:lnTo>
                      <a:pt x="112" y="430"/>
                    </a:lnTo>
                    <a:lnTo>
                      <a:pt x="116" y="446"/>
                    </a:lnTo>
                    <a:lnTo>
                      <a:pt x="122" y="466"/>
                    </a:lnTo>
                    <a:lnTo>
                      <a:pt x="128" y="488"/>
                    </a:lnTo>
                    <a:lnTo>
                      <a:pt x="132" y="496"/>
                    </a:lnTo>
                    <a:lnTo>
                      <a:pt x="138" y="502"/>
                    </a:lnTo>
                    <a:lnTo>
                      <a:pt x="138" y="502"/>
                    </a:lnTo>
                    <a:lnTo>
                      <a:pt x="142" y="508"/>
                    </a:lnTo>
                    <a:lnTo>
                      <a:pt x="146" y="514"/>
                    </a:lnTo>
                    <a:lnTo>
                      <a:pt x="152" y="528"/>
                    </a:lnTo>
                    <a:lnTo>
                      <a:pt x="156" y="542"/>
                    </a:lnTo>
                    <a:lnTo>
                      <a:pt x="160" y="548"/>
                    </a:lnTo>
                    <a:lnTo>
                      <a:pt x="164" y="554"/>
                    </a:lnTo>
                    <a:lnTo>
                      <a:pt x="164" y="554"/>
                    </a:lnTo>
                    <a:lnTo>
                      <a:pt x="164" y="554"/>
                    </a:lnTo>
                    <a:lnTo>
                      <a:pt x="162" y="554"/>
                    </a:lnTo>
                    <a:lnTo>
                      <a:pt x="162" y="554"/>
                    </a:lnTo>
                    <a:lnTo>
                      <a:pt x="162" y="558"/>
                    </a:lnTo>
                    <a:lnTo>
                      <a:pt x="168" y="572"/>
                    </a:lnTo>
                    <a:lnTo>
                      <a:pt x="168" y="572"/>
                    </a:lnTo>
                    <a:lnTo>
                      <a:pt x="176" y="588"/>
                    </a:lnTo>
                    <a:lnTo>
                      <a:pt x="186" y="602"/>
                    </a:lnTo>
                    <a:lnTo>
                      <a:pt x="194" y="618"/>
                    </a:lnTo>
                    <a:lnTo>
                      <a:pt x="198" y="628"/>
                    </a:lnTo>
                    <a:lnTo>
                      <a:pt x="198" y="636"/>
                    </a:lnTo>
                    <a:lnTo>
                      <a:pt x="198" y="636"/>
                    </a:lnTo>
                    <a:lnTo>
                      <a:pt x="200" y="638"/>
                    </a:lnTo>
                    <a:lnTo>
                      <a:pt x="202" y="640"/>
                    </a:lnTo>
                    <a:lnTo>
                      <a:pt x="206" y="644"/>
                    </a:lnTo>
                    <a:lnTo>
                      <a:pt x="208" y="654"/>
                    </a:lnTo>
                    <a:lnTo>
                      <a:pt x="208" y="654"/>
                    </a:lnTo>
                    <a:lnTo>
                      <a:pt x="210" y="660"/>
                    </a:lnTo>
                    <a:lnTo>
                      <a:pt x="212" y="664"/>
                    </a:lnTo>
                    <a:lnTo>
                      <a:pt x="214" y="668"/>
                    </a:lnTo>
                    <a:lnTo>
                      <a:pt x="218" y="674"/>
                    </a:lnTo>
                    <a:lnTo>
                      <a:pt x="218" y="674"/>
                    </a:lnTo>
                    <a:lnTo>
                      <a:pt x="222" y="682"/>
                    </a:lnTo>
                    <a:lnTo>
                      <a:pt x="226" y="686"/>
                    </a:lnTo>
                    <a:lnTo>
                      <a:pt x="236" y="692"/>
                    </a:lnTo>
                    <a:lnTo>
                      <a:pt x="236" y="692"/>
                    </a:lnTo>
                    <a:lnTo>
                      <a:pt x="242" y="696"/>
                    </a:lnTo>
                    <a:lnTo>
                      <a:pt x="246" y="694"/>
                    </a:lnTo>
                    <a:lnTo>
                      <a:pt x="248" y="692"/>
                    </a:lnTo>
                    <a:lnTo>
                      <a:pt x="252" y="690"/>
                    </a:lnTo>
                    <a:lnTo>
                      <a:pt x="252" y="690"/>
                    </a:lnTo>
                    <a:lnTo>
                      <a:pt x="258" y="688"/>
                    </a:lnTo>
                    <a:lnTo>
                      <a:pt x="260" y="686"/>
                    </a:lnTo>
                    <a:lnTo>
                      <a:pt x="260" y="680"/>
                    </a:lnTo>
                    <a:lnTo>
                      <a:pt x="260" y="676"/>
                    </a:lnTo>
                    <a:lnTo>
                      <a:pt x="262" y="674"/>
                    </a:lnTo>
                    <a:lnTo>
                      <a:pt x="268" y="670"/>
                    </a:lnTo>
                    <a:lnTo>
                      <a:pt x="274" y="666"/>
                    </a:lnTo>
                    <a:lnTo>
                      <a:pt x="274" y="666"/>
                    </a:lnTo>
                    <a:lnTo>
                      <a:pt x="272" y="664"/>
                    </a:lnTo>
                    <a:lnTo>
                      <a:pt x="266" y="662"/>
                    </a:lnTo>
                    <a:lnTo>
                      <a:pt x="264" y="660"/>
                    </a:lnTo>
                    <a:lnTo>
                      <a:pt x="264" y="660"/>
                    </a:lnTo>
                    <a:lnTo>
                      <a:pt x="264" y="656"/>
                    </a:lnTo>
                    <a:lnTo>
                      <a:pt x="266" y="654"/>
                    </a:lnTo>
                    <a:lnTo>
                      <a:pt x="266" y="654"/>
                    </a:lnTo>
                    <a:lnTo>
                      <a:pt x="270" y="650"/>
                    </a:lnTo>
                    <a:lnTo>
                      <a:pt x="270" y="646"/>
                    </a:lnTo>
                    <a:lnTo>
                      <a:pt x="270" y="640"/>
                    </a:lnTo>
                    <a:lnTo>
                      <a:pt x="272" y="638"/>
                    </a:lnTo>
                    <a:lnTo>
                      <a:pt x="278" y="638"/>
                    </a:lnTo>
                    <a:lnTo>
                      <a:pt x="278" y="638"/>
                    </a:lnTo>
                    <a:lnTo>
                      <a:pt x="284" y="640"/>
                    </a:lnTo>
                    <a:lnTo>
                      <a:pt x="284" y="638"/>
                    </a:lnTo>
                    <a:lnTo>
                      <a:pt x="284" y="636"/>
                    </a:lnTo>
                    <a:lnTo>
                      <a:pt x="282" y="630"/>
                    </a:lnTo>
                    <a:lnTo>
                      <a:pt x="282" y="622"/>
                    </a:lnTo>
                    <a:lnTo>
                      <a:pt x="282" y="622"/>
                    </a:lnTo>
                    <a:lnTo>
                      <a:pt x="284" y="616"/>
                    </a:lnTo>
                    <a:lnTo>
                      <a:pt x="282" y="610"/>
                    </a:lnTo>
                    <a:lnTo>
                      <a:pt x="280" y="604"/>
                    </a:lnTo>
                    <a:lnTo>
                      <a:pt x="280" y="598"/>
                    </a:lnTo>
                    <a:lnTo>
                      <a:pt x="280" y="598"/>
                    </a:lnTo>
                    <a:lnTo>
                      <a:pt x="282" y="592"/>
                    </a:lnTo>
                    <a:lnTo>
                      <a:pt x="286" y="588"/>
                    </a:lnTo>
                    <a:lnTo>
                      <a:pt x="288" y="582"/>
                    </a:lnTo>
                    <a:lnTo>
                      <a:pt x="290" y="572"/>
                    </a:lnTo>
                    <a:lnTo>
                      <a:pt x="290" y="572"/>
                    </a:lnTo>
                    <a:lnTo>
                      <a:pt x="292" y="562"/>
                    </a:lnTo>
                    <a:lnTo>
                      <a:pt x="292" y="558"/>
                    </a:lnTo>
                    <a:lnTo>
                      <a:pt x="292" y="554"/>
                    </a:lnTo>
                    <a:lnTo>
                      <a:pt x="286" y="550"/>
                    </a:lnTo>
                    <a:lnTo>
                      <a:pt x="286" y="550"/>
                    </a:lnTo>
                    <a:lnTo>
                      <a:pt x="280" y="548"/>
                    </a:lnTo>
                    <a:lnTo>
                      <a:pt x="284" y="544"/>
                    </a:lnTo>
                    <a:lnTo>
                      <a:pt x="286" y="542"/>
                    </a:lnTo>
                    <a:lnTo>
                      <a:pt x="286" y="538"/>
                    </a:lnTo>
                    <a:lnTo>
                      <a:pt x="286" y="532"/>
                    </a:lnTo>
                    <a:lnTo>
                      <a:pt x="284" y="524"/>
                    </a:lnTo>
                    <a:lnTo>
                      <a:pt x="284" y="524"/>
                    </a:lnTo>
                    <a:lnTo>
                      <a:pt x="280" y="514"/>
                    </a:lnTo>
                    <a:lnTo>
                      <a:pt x="280" y="506"/>
                    </a:lnTo>
                    <a:lnTo>
                      <a:pt x="280" y="500"/>
                    </a:lnTo>
                    <a:lnTo>
                      <a:pt x="282" y="496"/>
                    </a:lnTo>
                    <a:lnTo>
                      <a:pt x="286" y="494"/>
                    </a:lnTo>
                    <a:lnTo>
                      <a:pt x="290" y="492"/>
                    </a:lnTo>
                    <a:lnTo>
                      <a:pt x="294" y="494"/>
                    </a:lnTo>
                    <a:lnTo>
                      <a:pt x="294" y="494"/>
                    </a:lnTo>
                    <a:lnTo>
                      <a:pt x="298" y="494"/>
                    </a:lnTo>
                    <a:lnTo>
                      <a:pt x="300" y="490"/>
                    </a:lnTo>
                    <a:lnTo>
                      <a:pt x="300" y="488"/>
                    </a:lnTo>
                    <a:lnTo>
                      <a:pt x="304" y="484"/>
                    </a:lnTo>
                    <a:lnTo>
                      <a:pt x="304" y="484"/>
                    </a:lnTo>
                    <a:lnTo>
                      <a:pt x="306" y="482"/>
                    </a:lnTo>
                    <a:lnTo>
                      <a:pt x="306" y="480"/>
                    </a:lnTo>
                    <a:lnTo>
                      <a:pt x="308" y="478"/>
                    </a:lnTo>
                    <a:lnTo>
                      <a:pt x="314" y="476"/>
                    </a:lnTo>
                    <a:lnTo>
                      <a:pt x="314" y="476"/>
                    </a:lnTo>
                    <a:lnTo>
                      <a:pt x="320" y="474"/>
                    </a:lnTo>
                    <a:lnTo>
                      <a:pt x="324" y="472"/>
                    </a:lnTo>
                    <a:lnTo>
                      <a:pt x="328" y="464"/>
                    </a:lnTo>
                    <a:lnTo>
                      <a:pt x="328" y="464"/>
                    </a:lnTo>
                    <a:lnTo>
                      <a:pt x="330" y="462"/>
                    </a:lnTo>
                    <a:lnTo>
                      <a:pt x="328" y="462"/>
                    </a:lnTo>
                    <a:lnTo>
                      <a:pt x="326" y="460"/>
                    </a:lnTo>
                    <a:lnTo>
                      <a:pt x="324" y="460"/>
                    </a:lnTo>
                    <a:lnTo>
                      <a:pt x="326" y="458"/>
                    </a:lnTo>
                    <a:lnTo>
                      <a:pt x="332" y="454"/>
                    </a:lnTo>
                    <a:lnTo>
                      <a:pt x="332" y="454"/>
                    </a:lnTo>
                    <a:lnTo>
                      <a:pt x="340" y="450"/>
                    </a:lnTo>
                    <a:lnTo>
                      <a:pt x="344" y="442"/>
                    </a:lnTo>
                    <a:lnTo>
                      <a:pt x="348" y="436"/>
                    </a:lnTo>
                    <a:lnTo>
                      <a:pt x="352" y="432"/>
                    </a:lnTo>
                    <a:lnTo>
                      <a:pt x="352" y="432"/>
                    </a:lnTo>
                    <a:lnTo>
                      <a:pt x="358" y="426"/>
                    </a:lnTo>
                    <a:lnTo>
                      <a:pt x="362" y="420"/>
                    </a:lnTo>
                    <a:lnTo>
                      <a:pt x="364" y="412"/>
                    </a:lnTo>
                    <a:lnTo>
                      <a:pt x="366" y="408"/>
                    </a:lnTo>
                    <a:lnTo>
                      <a:pt x="368" y="402"/>
                    </a:lnTo>
                    <a:lnTo>
                      <a:pt x="372" y="398"/>
                    </a:lnTo>
                    <a:lnTo>
                      <a:pt x="380" y="394"/>
                    </a:lnTo>
                    <a:lnTo>
                      <a:pt x="380" y="394"/>
                    </a:lnTo>
                    <a:lnTo>
                      <a:pt x="376" y="392"/>
                    </a:lnTo>
                    <a:lnTo>
                      <a:pt x="378" y="390"/>
                    </a:lnTo>
                    <a:lnTo>
                      <a:pt x="380" y="390"/>
                    </a:lnTo>
                    <a:lnTo>
                      <a:pt x="382" y="390"/>
                    </a:lnTo>
                    <a:lnTo>
                      <a:pt x="382" y="392"/>
                    </a:lnTo>
                    <a:lnTo>
                      <a:pt x="382" y="392"/>
                    </a:lnTo>
                    <a:lnTo>
                      <a:pt x="388" y="390"/>
                    </a:lnTo>
                    <a:lnTo>
                      <a:pt x="392" y="388"/>
                    </a:lnTo>
                    <a:lnTo>
                      <a:pt x="398" y="382"/>
                    </a:lnTo>
                    <a:lnTo>
                      <a:pt x="400" y="374"/>
                    </a:lnTo>
                    <a:lnTo>
                      <a:pt x="402" y="370"/>
                    </a:lnTo>
                    <a:lnTo>
                      <a:pt x="402" y="370"/>
                    </a:lnTo>
                    <a:lnTo>
                      <a:pt x="404" y="366"/>
                    </a:lnTo>
                    <a:lnTo>
                      <a:pt x="404" y="364"/>
                    </a:lnTo>
                    <a:lnTo>
                      <a:pt x="400" y="358"/>
                    </a:lnTo>
                    <a:lnTo>
                      <a:pt x="398" y="354"/>
                    </a:lnTo>
                    <a:lnTo>
                      <a:pt x="398" y="352"/>
                    </a:lnTo>
                    <a:lnTo>
                      <a:pt x="400" y="350"/>
                    </a:lnTo>
                    <a:lnTo>
                      <a:pt x="400" y="350"/>
                    </a:lnTo>
                    <a:lnTo>
                      <a:pt x="410" y="346"/>
                    </a:lnTo>
                    <a:lnTo>
                      <a:pt x="414" y="342"/>
                    </a:lnTo>
                    <a:lnTo>
                      <a:pt x="414" y="340"/>
                    </a:lnTo>
                    <a:lnTo>
                      <a:pt x="414" y="340"/>
                    </a:lnTo>
                    <a:lnTo>
                      <a:pt x="418" y="340"/>
                    </a:lnTo>
                    <a:lnTo>
                      <a:pt x="418" y="340"/>
                    </a:lnTo>
                    <a:lnTo>
                      <a:pt x="420" y="338"/>
                    </a:lnTo>
                    <a:lnTo>
                      <a:pt x="420" y="334"/>
                    </a:lnTo>
                    <a:lnTo>
                      <a:pt x="420" y="332"/>
                    </a:lnTo>
                    <a:lnTo>
                      <a:pt x="420" y="334"/>
                    </a:lnTo>
                    <a:lnTo>
                      <a:pt x="420" y="334"/>
                    </a:lnTo>
                    <a:lnTo>
                      <a:pt x="422" y="338"/>
                    </a:lnTo>
                    <a:lnTo>
                      <a:pt x="422" y="342"/>
                    </a:lnTo>
                    <a:lnTo>
                      <a:pt x="422" y="344"/>
                    </a:lnTo>
                    <a:lnTo>
                      <a:pt x="424" y="346"/>
                    </a:lnTo>
                    <a:lnTo>
                      <a:pt x="424" y="346"/>
                    </a:lnTo>
                    <a:lnTo>
                      <a:pt x="428" y="344"/>
                    </a:lnTo>
                    <a:lnTo>
                      <a:pt x="430" y="342"/>
                    </a:lnTo>
                    <a:lnTo>
                      <a:pt x="430" y="340"/>
                    </a:lnTo>
                    <a:lnTo>
                      <a:pt x="432" y="338"/>
                    </a:lnTo>
                    <a:lnTo>
                      <a:pt x="432" y="338"/>
                    </a:lnTo>
                    <a:lnTo>
                      <a:pt x="434" y="338"/>
                    </a:lnTo>
                    <a:lnTo>
                      <a:pt x="434" y="340"/>
                    </a:lnTo>
                    <a:lnTo>
                      <a:pt x="434" y="342"/>
                    </a:lnTo>
                    <a:lnTo>
                      <a:pt x="436" y="342"/>
                    </a:lnTo>
                    <a:lnTo>
                      <a:pt x="436" y="342"/>
                    </a:lnTo>
                    <a:lnTo>
                      <a:pt x="436" y="332"/>
                    </a:lnTo>
                    <a:lnTo>
                      <a:pt x="436" y="324"/>
                    </a:lnTo>
                    <a:lnTo>
                      <a:pt x="434" y="320"/>
                    </a:lnTo>
                    <a:lnTo>
                      <a:pt x="430" y="316"/>
                    </a:lnTo>
                    <a:lnTo>
                      <a:pt x="428" y="312"/>
                    </a:lnTo>
                    <a:lnTo>
                      <a:pt x="428" y="310"/>
                    </a:lnTo>
                    <a:lnTo>
                      <a:pt x="430" y="308"/>
                    </a:lnTo>
                    <a:lnTo>
                      <a:pt x="430" y="308"/>
                    </a:lnTo>
                    <a:lnTo>
                      <a:pt x="430" y="304"/>
                    </a:lnTo>
                    <a:lnTo>
                      <a:pt x="430" y="304"/>
                    </a:lnTo>
                    <a:lnTo>
                      <a:pt x="428" y="302"/>
                    </a:lnTo>
                    <a:lnTo>
                      <a:pt x="428" y="294"/>
                    </a:lnTo>
                    <a:lnTo>
                      <a:pt x="428" y="294"/>
                    </a:lnTo>
                    <a:lnTo>
                      <a:pt x="428" y="290"/>
                    </a:lnTo>
                    <a:lnTo>
                      <a:pt x="426" y="288"/>
                    </a:lnTo>
                    <a:lnTo>
                      <a:pt x="418" y="282"/>
                    </a:lnTo>
                    <a:lnTo>
                      <a:pt x="410" y="278"/>
                    </a:lnTo>
                    <a:lnTo>
                      <a:pt x="408" y="274"/>
                    </a:lnTo>
                    <a:lnTo>
                      <a:pt x="408" y="268"/>
                    </a:lnTo>
                    <a:lnTo>
                      <a:pt x="408" y="268"/>
                    </a:lnTo>
                    <a:lnTo>
                      <a:pt x="410" y="262"/>
                    </a:lnTo>
                    <a:lnTo>
                      <a:pt x="414" y="260"/>
                    </a:lnTo>
                    <a:lnTo>
                      <a:pt x="416" y="258"/>
                    </a:lnTo>
                    <a:lnTo>
                      <a:pt x="418" y="256"/>
                    </a:lnTo>
                    <a:lnTo>
                      <a:pt x="418" y="256"/>
                    </a:lnTo>
                    <a:lnTo>
                      <a:pt x="418" y="254"/>
                    </a:lnTo>
                    <a:lnTo>
                      <a:pt x="414" y="250"/>
                    </a:lnTo>
                    <a:lnTo>
                      <a:pt x="404" y="246"/>
                    </a:lnTo>
                    <a:lnTo>
                      <a:pt x="394" y="240"/>
                    </a:lnTo>
                    <a:lnTo>
                      <a:pt x="390" y="238"/>
                    </a:lnTo>
                    <a:lnTo>
                      <a:pt x="390" y="238"/>
                    </a:lnTo>
                    <a:lnTo>
                      <a:pt x="392" y="236"/>
                    </a:lnTo>
                    <a:lnTo>
                      <a:pt x="398" y="234"/>
                    </a:lnTo>
                    <a:lnTo>
                      <a:pt x="402" y="232"/>
                    </a:lnTo>
                    <a:lnTo>
                      <a:pt x="404" y="228"/>
                    </a:lnTo>
                    <a:lnTo>
                      <a:pt x="404" y="228"/>
                    </a:lnTo>
                    <a:lnTo>
                      <a:pt x="404" y="216"/>
                    </a:lnTo>
                    <a:lnTo>
                      <a:pt x="406" y="214"/>
                    </a:lnTo>
                    <a:lnTo>
                      <a:pt x="408" y="214"/>
                    </a:lnTo>
                    <a:lnTo>
                      <a:pt x="408" y="214"/>
                    </a:lnTo>
                    <a:lnTo>
                      <a:pt x="414" y="228"/>
                    </a:lnTo>
                    <a:lnTo>
                      <a:pt x="416" y="230"/>
                    </a:lnTo>
                    <a:lnTo>
                      <a:pt x="418" y="228"/>
                    </a:lnTo>
                    <a:lnTo>
                      <a:pt x="418" y="224"/>
                    </a:lnTo>
                    <a:lnTo>
                      <a:pt x="420" y="224"/>
                    </a:lnTo>
                    <a:lnTo>
                      <a:pt x="422" y="226"/>
                    </a:lnTo>
                    <a:lnTo>
                      <a:pt x="422" y="226"/>
                    </a:lnTo>
                    <a:lnTo>
                      <a:pt x="424" y="230"/>
                    </a:lnTo>
                    <a:lnTo>
                      <a:pt x="424" y="234"/>
                    </a:lnTo>
                    <a:lnTo>
                      <a:pt x="424" y="236"/>
                    </a:lnTo>
                    <a:lnTo>
                      <a:pt x="426" y="234"/>
                    </a:lnTo>
                    <a:lnTo>
                      <a:pt x="426" y="234"/>
                    </a:lnTo>
                    <a:lnTo>
                      <a:pt x="430" y="232"/>
                    </a:lnTo>
                    <a:lnTo>
                      <a:pt x="432" y="232"/>
                    </a:lnTo>
                    <a:lnTo>
                      <a:pt x="436" y="240"/>
                    </a:lnTo>
                    <a:lnTo>
                      <a:pt x="440" y="250"/>
                    </a:lnTo>
                    <a:lnTo>
                      <a:pt x="446" y="256"/>
                    </a:lnTo>
                    <a:lnTo>
                      <a:pt x="452" y="258"/>
                    </a:lnTo>
                    <a:lnTo>
                      <a:pt x="452" y="258"/>
                    </a:lnTo>
                    <a:lnTo>
                      <a:pt x="458" y="262"/>
                    </a:lnTo>
                    <a:lnTo>
                      <a:pt x="466" y="262"/>
                    </a:lnTo>
                    <a:lnTo>
                      <a:pt x="482" y="260"/>
                    </a:lnTo>
                    <a:lnTo>
                      <a:pt x="494" y="260"/>
                    </a:lnTo>
                    <a:lnTo>
                      <a:pt x="498" y="260"/>
                    </a:lnTo>
                    <a:lnTo>
                      <a:pt x="502" y="264"/>
                    </a:lnTo>
                    <a:lnTo>
                      <a:pt x="502" y="264"/>
                    </a:lnTo>
                    <a:lnTo>
                      <a:pt x="502" y="266"/>
                    </a:lnTo>
                    <a:lnTo>
                      <a:pt x="500" y="270"/>
                    </a:lnTo>
                    <a:lnTo>
                      <a:pt x="496" y="274"/>
                    </a:lnTo>
                    <a:lnTo>
                      <a:pt x="496" y="278"/>
                    </a:lnTo>
                    <a:lnTo>
                      <a:pt x="496" y="278"/>
                    </a:lnTo>
                    <a:lnTo>
                      <a:pt x="498" y="282"/>
                    </a:lnTo>
                    <a:lnTo>
                      <a:pt x="494" y="282"/>
                    </a:lnTo>
                    <a:lnTo>
                      <a:pt x="486" y="284"/>
                    </a:lnTo>
                    <a:lnTo>
                      <a:pt x="480" y="284"/>
                    </a:lnTo>
                    <a:lnTo>
                      <a:pt x="476" y="286"/>
                    </a:lnTo>
                    <a:lnTo>
                      <a:pt x="472" y="290"/>
                    </a:lnTo>
                    <a:lnTo>
                      <a:pt x="470" y="296"/>
                    </a:lnTo>
                    <a:lnTo>
                      <a:pt x="470" y="296"/>
                    </a:lnTo>
                    <a:lnTo>
                      <a:pt x="472" y="300"/>
                    </a:lnTo>
                    <a:lnTo>
                      <a:pt x="474" y="302"/>
                    </a:lnTo>
                    <a:lnTo>
                      <a:pt x="478" y="302"/>
                    </a:lnTo>
                    <a:lnTo>
                      <a:pt x="480" y="304"/>
                    </a:lnTo>
                    <a:lnTo>
                      <a:pt x="480" y="304"/>
                    </a:lnTo>
                    <a:lnTo>
                      <a:pt x="482" y="306"/>
                    </a:lnTo>
                    <a:lnTo>
                      <a:pt x="484" y="304"/>
                    </a:lnTo>
                    <a:lnTo>
                      <a:pt x="484" y="302"/>
                    </a:lnTo>
                    <a:lnTo>
                      <a:pt x="488" y="302"/>
                    </a:lnTo>
                    <a:lnTo>
                      <a:pt x="488" y="302"/>
                    </a:lnTo>
                    <a:lnTo>
                      <a:pt x="490" y="302"/>
                    </a:lnTo>
                    <a:lnTo>
                      <a:pt x="492" y="300"/>
                    </a:lnTo>
                    <a:lnTo>
                      <a:pt x="494" y="300"/>
                    </a:lnTo>
                    <a:lnTo>
                      <a:pt x="498" y="302"/>
                    </a:lnTo>
                    <a:lnTo>
                      <a:pt x="498" y="302"/>
                    </a:lnTo>
                    <a:lnTo>
                      <a:pt x="502" y="312"/>
                    </a:lnTo>
                    <a:lnTo>
                      <a:pt x="506" y="326"/>
                    </a:lnTo>
                    <a:lnTo>
                      <a:pt x="510" y="338"/>
                    </a:lnTo>
                    <a:lnTo>
                      <a:pt x="514" y="342"/>
                    </a:lnTo>
                    <a:lnTo>
                      <a:pt x="516" y="344"/>
                    </a:lnTo>
                    <a:lnTo>
                      <a:pt x="516" y="344"/>
                    </a:lnTo>
                    <a:lnTo>
                      <a:pt x="522" y="344"/>
                    </a:lnTo>
                    <a:lnTo>
                      <a:pt x="526" y="340"/>
                    </a:lnTo>
                    <a:lnTo>
                      <a:pt x="528" y="332"/>
                    </a:lnTo>
                    <a:lnTo>
                      <a:pt x="526" y="318"/>
                    </a:lnTo>
                    <a:lnTo>
                      <a:pt x="526" y="318"/>
                    </a:lnTo>
                    <a:lnTo>
                      <a:pt x="528" y="314"/>
                    </a:lnTo>
                    <a:lnTo>
                      <a:pt x="528" y="310"/>
                    </a:lnTo>
                    <a:lnTo>
                      <a:pt x="532" y="310"/>
                    </a:lnTo>
                    <a:lnTo>
                      <a:pt x="534" y="312"/>
                    </a:lnTo>
                    <a:lnTo>
                      <a:pt x="538" y="312"/>
                    </a:lnTo>
                    <a:lnTo>
                      <a:pt x="540" y="312"/>
                    </a:lnTo>
                    <a:lnTo>
                      <a:pt x="540" y="308"/>
                    </a:lnTo>
                    <a:lnTo>
                      <a:pt x="540" y="302"/>
                    </a:lnTo>
                    <a:lnTo>
                      <a:pt x="540" y="302"/>
                    </a:lnTo>
                    <a:lnTo>
                      <a:pt x="540" y="290"/>
                    </a:lnTo>
                    <a:lnTo>
                      <a:pt x="542" y="282"/>
                    </a:lnTo>
                    <a:lnTo>
                      <a:pt x="540" y="274"/>
                    </a:lnTo>
                    <a:lnTo>
                      <a:pt x="538" y="268"/>
                    </a:lnTo>
                    <a:lnTo>
                      <a:pt x="534" y="262"/>
                    </a:lnTo>
                    <a:lnTo>
                      <a:pt x="534" y="262"/>
                    </a:lnTo>
                    <a:lnTo>
                      <a:pt x="532" y="256"/>
                    </a:lnTo>
                    <a:lnTo>
                      <a:pt x="534" y="252"/>
                    </a:lnTo>
                    <a:lnTo>
                      <a:pt x="538" y="248"/>
                    </a:lnTo>
                    <a:lnTo>
                      <a:pt x="538" y="242"/>
                    </a:lnTo>
                    <a:lnTo>
                      <a:pt x="538" y="242"/>
                    </a:lnTo>
                    <a:lnTo>
                      <a:pt x="538" y="238"/>
                    </a:lnTo>
                    <a:lnTo>
                      <a:pt x="540" y="236"/>
                    </a:lnTo>
                    <a:lnTo>
                      <a:pt x="548" y="228"/>
                    </a:lnTo>
                    <a:lnTo>
                      <a:pt x="558" y="218"/>
                    </a:lnTo>
                    <a:lnTo>
                      <a:pt x="568" y="204"/>
                    </a:lnTo>
                    <a:lnTo>
                      <a:pt x="568" y="204"/>
                    </a:lnTo>
                    <a:lnTo>
                      <a:pt x="572" y="202"/>
                    </a:lnTo>
                    <a:lnTo>
                      <a:pt x="576" y="200"/>
                    </a:lnTo>
                    <a:lnTo>
                      <a:pt x="584" y="200"/>
                    </a:lnTo>
                    <a:lnTo>
                      <a:pt x="588" y="200"/>
                    </a:lnTo>
                    <a:lnTo>
                      <a:pt x="588" y="198"/>
                    </a:lnTo>
                    <a:lnTo>
                      <a:pt x="584" y="194"/>
                    </a:lnTo>
                    <a:lnTo>
                      <a:pt x="584" y="194"/>
                    </a:lnTo>
                    <a:lnTo>
                      <a:pt x="582" y="190"/>
                    </a:lnTo>
                    <a:lnTo>
                      <a:pt x="582" y="188"/>
                    </a:lnTo>
                    <a:lnTo>
                      <a:pt x="586" y="186"/>
                    </a:lnTo>
                    <a:lnTo>
                      <a:pt x="588" y="184"/>
                    </a:lnTo>
                    <a:lnTo>
                      <a:pt x="586" y="180"/>
                    </a:lnTo>
                    <a:lnTo>
                      <a:pt x="584" y="176"/>
                    </a:lnTo>
                    <a:lnTo>
                      <a:pt x="574" y="170"/>
                    </a:lnTo>
                    <a:lnTo>
                      <a:pt x="574" y="170"/>
                    </a:lnTo>
                    <a:lnTo>
                      <a:pt x="570" y="172"/>
                    </a:lnTo>
                    <a:lnTo>
                      <a:pt x="568" y="174"/>
                    </a:lnTo>
                    <a:lnTo>
                      <a:pt x="564" y="172"/>
                    </a:lnTo>
                    <a:lnTo>
                      <a:pt x="564" y="172"/>
                    </a:lnTo>
                    <a:lnTo>
                      <a:pt x="558" y="172"/>
                    </a:lnTo>
                    <a:lnTo>
                      <a:pt x="554" y="172"/>
                    </a:lnTo>
                    <a:lnTo>
                      <a:pt x="554" y="172"/>
                    </a:lnTo>
                    <a:lnTo>
                      <a:pt x="554" y="170"/>
                    </a:lnTo>
                    <a:lnTo>
                      <a:pt x="558" y="164"/>
                    </a:lnTo>
                    <a:lnTo>
                      <a:pt x="558" y="164"/>
                    </a:lnTo>
                    <a:lnTo>
                      <a:pt x="552" y="164"/>
                    </a:lnTo>
                    <a:lnTo>
                      <a:pt x="550" y="164"/>
                    </a:lnTo>
                    <a:lnTo>
                      <a:pt x="552" y="160"/>
                    </a:lnTo>
                    <a:lnTo>
                      <a:pt x="552" y="158"/>
                    </a:lnTo>
                    <a:lnTo>
                      <a:pt x="550" y="156"/>
                    </a:lnTo>
                    <a:lnTo>
                      <a:pt x="538" y="160"/>
                    </a:lnTo>
                    <a:lnTo>
                      <a:pt x="538" y="160"/>
                    </a:lnTo>
                    <a:lnTo>
                      <a:pt x="528" y="162"/>
                    </a:lnTo>
                    <a:lnTo>
                      <a:pt x="520" y="162"/>
                    </a:lnTo>
                    <a:lnTo>
                      <a:pt x="516" y="160"/>
                    </a:lnTo>
                    <a:lnTo>
                      <a:pt x="508" y="160"/>
                    </a:lnTo>
                    <a:lnTo>
                      <a:pt x="508" y="160"/>
                    </a:lnTo>
                    <a:lnTo>
                      <a:pt x="504" y="164"/>
                    </a:lnTo>
                    <a:lnTo>
                      <a:pt x="502" y="166"/>
                    </a:lnTo>
                    <a:lnTo>
                      <a:pt x="498" y="170"/>
                    </a:lnTo>
                    <a:lnTo>
                      <a:pt x="488" y="174"/>
                    </a:lnTo>
                    <a:lnTo>
                      <a:pt x="488" y="174"/>
                    </a:lnTo>
                    <a:lnTo>
                      <a:pt x="472" y="182"/>
                    </a:lnTo>
                    <a:lnTo>
                      <a:pt x="462" y="184"/>
                    </a:lnTo>
                    <a:lnTo>
                      <a:pt x="462" y="184"/>
                    </a:lnTo>
                    <a:lnTo>
                      <a:pt x="464" y="188"/>
                    </a:lnTo>
                    <a:lnTo>
                      <a:pt x="466" y="190"/>
                    </a:lnTo>
                    <a:lnTo>
                      <a:pt x="476" y="190"/>
                    </a:lnTo>
                    <a:lnTo>
                      <a:pt x="476" y="190"/>
                    </a:lnTo>
                    <a:lnTo>
                      <a:pt x="478" y="192"/>
                    </a:lnTo>
                    <a:lnTo>
                      <a:pt x="480" y="196"/>
                    </a:lnTo>
                    <a:lnTo>
                      <a:pt x="480" y="206"/>
                    </a:lnTo>
                    <a:lnTo>
                      <a:pt x="480" y="206"/>
                    </a:lnTo>
                    <a:lnTo>
                      <a:pt x="480" y="206"/>
                    </a:lnTo>
                    <a:lnTo>
                      <a:pt x="478" y="208"/>
                    </a:lnTo>
                    <a:lnTo>
                      <a:pt x="470" y="206"/>
                    </a:lnTo>
                    <a:lnTo>
                      <a:pt x="462" y="206"/>
                    </a:lnTo>
                    <a:lnTo>
                      <a:pt x="454" y="208"/>
                    </a:lnTo>
                    <a:lnTo>
                      <a:pt x="454" y="208"/>
                    </a:lnTo>
                    <a:lnTo>
                      <a:pt x="450" y="210"/>
                    </a:lnTo>
                    <a:lnTo>
                      <a:pt x="444" y="210"/>
                    </a:lnTo>
                    <a:lnTo>
                      <a:pt x="440" y="208"/>
                    </a:lnTo>
                    <a:lnTo>
                      <a:pt x="436" y="204"/>
                    </a:lnTo>
                    <a:lnTo>
                      <a:pt x="436" y="204"/>
                    </a:lnTo>
                    <a:lnTo>
                      <a:pt x="432" y="202"/>
                    </a:lnTo>
                    <a:lnTo>
                      <a:pt x="424" y="202"/>
                    </a:lnTo>
                    <a:lnTo>
                      <a:pt x="418" y="202"/>
                    </a:lnTo>
                    <a:lnTo>
                      <a:pt x="412" y="200"/>
                    </a:lnTo>
                    <a:lnTo>
                      <a:pt x="412" y="200"/>
                    </a:lnTo>
                    <a:lnTo>
                      <a:pt x="410" y="182"/>
                    </a:lnTo>
                    <a:lnTo>
                      <a:pt x="410" y="180"/>
                    </a:lnTo>
                    <a:lnTo>
                      <a:pt x="406" y="182"/>
                    </a:lnTo>
                    <a:lnTo>
                      <a:pt x="406" y="182"/>
                    </a:lnTo>
                    <a:lnTo>
                      <a:pt x="402" y="182"/>
                    </a:lnTo>
                    <a:lnTo>
                      <a:pt x="400" y="184"/>
                    </a:lnTo>
                    <a:lnTo>
                      <a:pt x="398" y="186"/>
                    </a:lnTo>
                    <a:lnTo>
                      <a:pt x="398" y="192"/>
                    </a:lnTo>
                    <a:lnTo>
                      <a:pt x="398" y="192"/>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Italy"/>
              <p:cNvSpPr>
                <a:spLocks/>
              </p:cNvSpPr>
              <p:nvPr/>
            </p:nvSpPr>
            <p:spPr bwMode="auto">
              <a:xfrm>
                <a:off x="5974699" y="1970478"/>
                <a:ext cx="343253" cy="324727"/>
              </a:xfrm>
              <a:custGeom>
                <a:avLst/>
                <a:gdLst/>
                <a:ahLst/>
                <a:cxnLst/>
                <a:rect l="l" t="t" r="r" b="b"/>
                <a:pathLst>
                  <a:path w="298979" h="283104">
                    <a:moveTo>
                      <a:pt x="235479" y="238125"/>
                    </a:moveTo>
                    <a:lnTo>
                      <a:pt x="235479" y="240771"/>
                    </a:lnTo>
                    <a:lnTo>
                      <a:pt x="232833" y="248708"/>
                    </a:lnTo>
                    <a:lnTo>
                      <a:pt x="227542" y="254000"/>
                    </a:lnTo>
                    <a:lnTo>
                      <a:pt x="224896" y="256646"/>
                    </a:lnTo>
                    <a:lnTo>
                      <a:pt x="224896" y="259292"/>
                    </a:lnTo>
                    <a:lnTo>
                      <a:pt x="227542" y="261938"/>
                    </a:lnTo>
                    <a:lnTo>
                      <a:pt x="224896" y="261938"/>
                    </a:lnTo>
                    <a:lnTo>
                      <a:pt x="224896" y="264583"/>
                    </a:lnTo>
                    <a:lnTo>
                      <a:pt x="224896" y="267229"/>
                    </a:lnTo>
                    <a:lnTo>
                      <a:pt x="224896" y="269875"/>
                    </a:lnTo>
                    <a:lnTo>
                      <a:pt x="224896" y="275167"/>
                    </a:lnTo>
                    <a:lnTo>
                      <a:pt x="222250" y="280458"/>
                    </a:lnTo>
                    <a:lnTo>
                      <a:pt x="222250" y="283104"/>
                    </a:lnTo>
                    <a:lnTo>
                      <a:pt x="219604" y="283104"/>
                    </a:lnTo>
                    <a:lnTo>
                      <a:pt x="214313" y="280458"/>
                    </a:lnTo>
                    <a:lnTo>
                      <a:pt x="211667" y="280458"/>
                    </a:lnTo>
                    <a:lnTo>
                      <a:pt x="209021" y="280458"/>
                    </a:lnTo>
                    <a:lnTo>
                      <a:pt x="206375" y="280458"/>
                    </a:lnTo>
                    <a:lnTo>
                      <a:pt x="201083" y="275167"/>
                    </a:lnTo>
                    <a:lnTo>
                      <a:pt x="198438" y="272521"/>
                    </a:lnTo>
                    <a:lnTo>
                      <a:pt x="190500" y="272521"/>
                    </a:lnTo>
                    <a:lnTo>
                      <a:pt x="185208" y="272521"/>
                    </a:lnTo>
                    <a:lnTo>
                      <a:pt x="182562" y="269875"/>
                    </a:lnTo>
                    <a:lnTo>
                      <a:pt x="177271" y="264583"/>
                    </a:lnTo>
                    <a:lnTo>
                      <a:pt x="169333" y="261938"/>
                    </a:lnTo>
                    <a:lnTo>
                      <a:pt x="164042" y="259292"/>
                    </a:lnTo>
                    <a:lnTo>
                      <a:pt x="156104" y="256646"/>
                    </a:lnTo>
                    <a:lnTo>
                      <a:pt x="153458" y="254000"/>
                    </a:lnTo>
                    <a:lnTo>
                      <a:pt x="156104" y="248708"/>
                    </a:lnTo>
                    <a:lnTo>
                      <a:pt x="161396" y="243417"/>
                    </a:lnTo>
                    <a:lnTo>
                      <a:pt x="164042" y="243417"/>
                    </a:lnTo>
                    <a:lnTo>
                      <a:pt x="166687" y="243417"/>
                    </a:lnTo>
                    <a:lnTo>
                      <a:pt x="171979" y="246063"/>
                    </a:lnTo>
                    <a:lnTo>
                      <a:pt x="174625" y="243417"/>
                    </a:lnTo>
                    <a:lnTo>
                      <a:pt x="179917" y="243417"/>
                    </a:lnTo>
                    <a:lnTo>
                      <a:pt x="182562" y="243417"/>
                    </a:lnTo>
                    <a:lnTo>
                      <a:pt x="187854" y="246063"/>
                    </a:lnTo>
                    <a:lnTo>
                      <a:pt x="190500" y="246063"/>
                    </a:lnTo>
                    <a:lnTo>
                      <a:pt x="195792" y="248708"/>
                    </a:lnTo>
                    <a:lnTo>
                      <a:pt x="198438" y="246063"/>
                    </a:lnTo>
                    <a:lnTo>
                      <a:pt x="201083" y="246063"/>
                    </a:lnTo>
                    <a:lnTo>
                      <a:pt x="203729" y="246063"/>
                    </a:lnTo>
                    <a:lnTo>
                      <a:pt x="209021" y="246063"/>
                    </a:lnTo>
                    <a:lnTo>
                      <a:pt x="211667" y="243417"/>
                    </a:lnTo>
                    <a:lnTo>
                      <a:pt x="214313" y="240771"/>
                    </a:lnTo>
                    <a:lnTo>
                      <a:pt x="219604" y="243417"/>
                    </a:lnTo>
                    <a:lnTo>
                      <a:pt x="222250" y="243417"/>
                    </a:lnTo>
                    <a:lnTo>
                      <a:pt x="224896" y="243417"/>
                    </a:lnTo>
                    <a:lnTo>
                      <a:pt x="227542" y="240771"/>
                    </a:lnTo>
                    <a:lnTo>
                      <a:pt x="232833" y="240771"/>
                    </a:lnTo>
                    <a:close/>
                    <a:moveTo>
                      <a:pt x="127000" y="0"/>
                    </a:moveTo>
                    <a:lnTo>
                      <a:pt x="129646" y="2646"/>
                    </a:lnTo>
                    <a:lnTo>
                      <a:pt x="129646" y="5292"/>
                    </a:lnTo>
                    <a:lnTo>
                      <a:pt x="132291" y="5292"/>
                    </a:lnTo>
                    <a:lnTo>
                      <a:pt x="137583" y="7937"/>
                    </a:lnTo>
                    <a:lnTo>
                      <a:pt x="140229" y="10583"/>
                    </a:lnTo>
                    <a:lnTo>
                      <a:pt x="145521" y="10583"/>
                    </a:lnTo>
                    <a:lnTo>
                      <a:pt x="150812" y="13229"/>
                    </a:lnTo>
                    <a:lnTo>
                      <a:pt x="156104" y="13229"/>
                    </a:lnTo>
                    <a:lnTo>
                      <a:pt x="161396" y="13229"/>
                    </a:lnTo>
                    <a:lnTo>
                      <a:pt x="161396" y="15875"/>
                    </a:lnTo>
                    <a:lnTo>
                      <a:pt x="164042" y="18521"/>
                    </a:lnTo>
                    <a:lnTo>
                      <a:pt x="164042" y="21167"/>
                    </a:lnTo>
                    <a:lnTo>
                      <a:pt x="166688" y="23812"/>
                    </a:lnTo>
                    <a:lnTo>
                      <a:pt x="169333" y="26458"/>
                    </a:lnTo>
                    <a:lnTo>
                      <a:pt x="174625" y="29104"/>
                    </a:lnTo>
                    <a:lnTo>
                      <a:pt x="174625" y="34396"/>
                    </a:lnTo>
                    <a:lnTo>
                      <a:pt x="171979" y="34396"/>
                    </a:lnTo>
                    <a:lnTo>
                      <a:pt x="169333" y="31750"/>
                    </a:lnTo>
                    <a:lnTo>
                      <a:pt x="169333" y="29104"/>
                    </a:lnTo>
                    <a:lnTo>
                      <a:pt x="166688" y="31750"/>
                    </a:lnTo>
                    <a:lnTo>
                      <a:pt x="164042" y="37042"/>
                    </a:lnTo>
                    <a:lnTo>
                      <a:pt x="158750" y="39687"/>
                    </a:lnTo>
                    <a:lnTo>
                      <a:pt x="148166" y="39687"/>
                    </a:lnTo>
                    <a:lnTo>
                      <a:pt x="145521" y="42333"/>
                    </a:lnTo>
                    <a:lnTo>
                      <a:pt x="145521" y="44979"/>
                    </a:lnTo>
                    <a:lnTo>
                      <a:pt x="148166" y="50271"/>
                    </a:lnTo>
                    <a:lnTo>
                      <a:pt x="148166" y="52917"/>
                    </a:lnTo>
                    <a:lnTo>
                      <a:pt x="145521" y="52917"/>
                    </a:lnTo>
                    <a:lnTo>
                      <a:pt x="142875" y="55562"/>
                    </a:lnTo>
                    <a:lnTo>
                      <a:pt x="145521" y="60854"/>
                    </a:lnTo>
                    <a:lnTo>
                      <a:pt x="145521" y="63500"/>
                    </a:lnTo>
                    <a:lnTo>
                      <a:pt x="145521" y="68791"/>
                    </a:lnTo>
                    <a:lnTo>
                      <a:pt x="145521" y="71437"/>
                    </a:lnTo>
                    <a:lnTo>
                      <a:pt x="148166" y="74083"/>
                    </a:lnTo>
                    <a:lnTo>
                      <a:pt x="156104" y="76729"/>
                    </a:lnTo>
                    <a:lnTo>
                      <a:pt x="166688" y="82021"/>
                    </a:lnTo>
                    <a:lnTo>
                      <a:pt x="171979" y="89958"/>
                    </a:lnTo>
                    <a:lnTo>
                      <a:pt x="177271" y="97896"/>
                    </a:lnTo>
                    <a:lnTo>
                      <a:pt x="182563" y="108479"/>
                    </a:lnTo>
                    <a:lnTo>
                      <a:pt x="187854" y="113771"/>
                    </a:lnTo>
                    <a:lnTo>
                      <a:pt x="193146" y="119062"/>
                    </a:lnTo>
                    <a:lnTo>
                      <a:pt x="206375" y="132291"/>
                    </a:lnTo>
                    <a:lnTo>
                      <a:pt x="211667" y="134937"/>
                    </a:lnTo>
                    <a:lnTo>
                      <a:pt x="214313" y="134937"/>
                    </a:lnTo>
                    <a:lnTo>
                      <a:pt x="222250" y="137583"/>
                    </a:lnTo>
                    <a:lnTo>
                      <a:pt x="224896" y="137583"/>
                    </a:lnTo>
                    <a:lnTo>
                      <a:pt x="230188" y="137583"/>
                    </a:lnTo>
                    <a:lnTo>
                      <a:pt x="232833" y="137583"/>
                    </a:lnTo>
                    <a:lnTo>
                      <a:pt x="238125" y="137583"/>
                    </a:lnTo>
                    <a:lnTo>
                      <a:pt x="243417" y="142875"/>
                    </a:lnTo>
                    <a:lnTo>
                      <a:pt x="240771" y="145521"/>
                    </a:lnTo>
                    <a:lnTo>
                      <a:pt x="235479" y="148166"/>
                    </a:lnTo>
                    <a:lnTo>
                      <a:pt x="240771" y="150812"/>
                    </a:lnTo>
                    <a:lnTo>
                      <a:pt x="254000" y="156104"/>
                    </a:lnTo>
                    <a:lnTo>
                      <a:pt x="264583" y="161396"/>
                    </a:lnTo>
                    <a:lnTo>
                      <a:pt x="272521" y="166687"/>
                    </a:lnTo>
                    <a:lnTo>
                      <a:pt x="277813" y="171979"/>
                    </a:lnTo>
                    <a:lnTo>
                      <a:pt x="285750" y="171979"/>
                    </a:lnTo>
                    <a:lnTo>
                      <a:pt x="293688" y="177271"/>
                    </a:lnTo>
                    <a:lnTo>
                      <a:pt x="298979" y="182562"/>
                    </a:lnTo>
                    <a:lnTo>
                      <a:pt x="298979" y="185208"/>
                    </a:lnTo>
                    <a:lnTo>
                      <a:pt x="296333" y="187854"/>
                    </a:lnTo>
                    <a:lnTo>
                      <a:pt x="296333" y="190500"/>
                    </a:lnTo>
                    <a:lnTo>
                      <a:pt x="296333" y="193146"/>
                    </a:lnTo>
                    <a:lnTo>
                      <a:pt x="293688" y="193146"/>
                    </a:lnTo>
                    <a:lnTo>
                      <a:pt x="291042" y="187854"/>
                    </a:lnTo>
                    <a:lnTo>
                      <a:pt x="285750" y="182562"/>
                    </a:lnTo>
                    <a:lnTo>
                      <a:pt x="277813" y="182562"/>
                    </a:lnTo>
                    <a:lnTo>
                      <a:pt x="275167" y="182562"/>
                    </a:lnTo>
                    <a:lnTo>
                      <a:pt x="272521" y="179916"/>
                    </a:lnTo>
                    <a:lnTo>
                      <a:pt x="269875" y="177271"/>
                    </a:lnTo>
                    <a:lnTo>
                      <a:pt x="267229" y="179916"/>
                    </a:lnTo>
                    <a:lnTo>
                      <a:pt x="261938" y="185208"/>
                    </a:lnTo>
                    <a:lnTo>
                      <a:pt x="261938" y="187854"/>
                    </a:lnTo>
                    <a:lnTo>
                      <a:pt x="261938" y="193146"/>
                    </a:lnTo>
                    <a:lnTo>
                      <a:pt x="261938" y="195791"/>
                    </a:lnTo>
                    <a:lnTo>
                      <a:pt x="259292" y="198437"/>
                    </a:lnTo>
                    <a:lnTo>
                      <a:pt x="264583" y="198437"/>
                    </a:lnTo>
                    <a:lnTo>
                      <a:pt x="269875" y="203729"/>
                    </a:lnTo>
                    <a:lnTo>
                      <a:pt x="269875" y="206375"/>
                    </a:lnTo>
                    <a:lnTo>
                      <a:pt x="275167" y="211666"/>
                    </a:lnTo>
                    <a:lnTo>
                      <a:pt x="275167" y="214312"/>
                    </a:lnTo>
                    <a:lnTo>
                      <a:pt x="275167" y="216958"/>
                    </a:lnTo>
                    <a:lnTo>
                      <a:pt x="272521" y="216958"/>
                    </a:lnTo>
                    <a:lnTo>
                      <a:pt x="269875" y="216958"/>
                    </a:lnTo>
                    <a:lnTo>
                      <a:pt x="267229" y="216958"/>
                    </a:lnTo>
                    <a:lnTo>
                      <a:pt x="267229" y="222250"/>
                    </a:lnTo>
                    <a:lnTo>
                      <a:pt x="267229" y="227541"/>
                    </a:lnTo>
                    <a:lnTo>
                      <a:pt x="261938" y="232833"/>
                    </a:lnTo>
                    <a:lnTo>
                      <a:pt x="259292" y="235479"/>
                    </a:lnTo>
                    <a:lnTo>
                      <a:pt x="256646" y="240771"/>
                    </a:lnTo>
                    <a:lnTo>
                      <a:pt x="254000" y="246062"/>
                    </a:lnTo>
                    <a:lnTo>
                      <a:pt x="251354" y="248708"/>
                    </a:lnTo>
                    <a:lnTo>
                      <a:pt x="243417" y="251354"/>
                    </a:lnTo>
                    <a:lnTo>
                      <a:pt x="240771" y="251354"/>
                    </a:lnTo>
                    <a:lnTo>
                      <a:pt x="238125" y="248708"/>
                    </a:lnTo>
                    <a:lnTo>
                      <a:pt x="235479" y="246062"/>
                    </a:lnTo>
                    <a:lnTo>
                      <a:pt x="238125" y="243417"/>
                    </a:lnTo>
                    <a:lnTo>
                      <a:pt x="240771" y="235479"/>
                    </a:lnTo>
                    <a:lnTo>
                      <a:pt x="240771" y="232833"/>
                    </a:lnTo>
                    <a:lnTo>
                      <a:pt x="238125" y="230187"/>
                    </a:lnTo>
                    <a:lnTo>
                      <a:pt x="240771" y="227541"/>
                    </a:lnTo>
                    <a:lnTo>
                      <a:pt x="246063" y="222250"/>
                    </a:lnTo>
                    <a:lnTo>
                      <a:pt x="243417" y="216958"/>
                    </a:lnTo>
                    <a:lnTo>
                      <a:pt x="238125" y="206375"/>
                    </a:lnTo>
                    <a:lnTo>
                      <a:pt x="235479" y="201083"/>
                    </a:lnTo>
                    <a:lnTo>
                      <a:pt x="232833" y="195791"/>
                    </a:lnTo>
                    <a:lnTo>
                      <a:pt x="232833" y="190500"/>
                    </a:lnTo>
                    <a:lnTo>
                      <a:pt x="227542" y="190500"/>
                    </a:lnTo>
                    <a:lnTo>
                      <a:pt x="222250" y="190500"/>
                    </a:lnTo>
                    <a:lnTo>
                      <a:pt x="216958" y="187854"/>
                    </a:lnTo>
                    <a:lnTo>
                      <a:pt x="211667" y="185208"/>
                    </a:lnTo>
                    <a:lnTo>
                      <a:pt x="209021" y="182562"/>
                    </a:lnTo>
                    <a:lnTo>
                      <a:pt x="209021" y="179916"/>
                    </a:lnTo>
                    <a:lnTo>
                      <a:pt x="211667" y="179916"/>
                    </a:lnTo>
                    <a:lnTo>
                      <a:pt x="206375" y="177271"/>
                    </a:lnTo>
                    <a:lnTo>
                      <a:pt x="198438" y="174625"/>
                    </a:lnTo>
                    <a:lnTo>
                      <a:pt x="195792" y="171979"/>
                    </a:lnTo>
                    <a:lnTo>
                      <a:pt x="195792" y="166687"/>
                    </a:lnTo>
                    <a:lnTo>
                      <a:pt x="193146" y="169333"/>
                    </a:lnTo>
                    <a:lnTo>
                      <a:pt x="187854" y="169333"/>
                    </a:lnTo>
                    <a:lnTo>
                      <a:pt x="185208" y="166687"/>
                    </a:lnTo>
                    <a:lnTo>
                      <a:pt x="182563" y="164041"/>
                    </a:lnTo>
                    <a:lnTo>
                      <a:pt x="179917" y="161396"/>
                    </a:lnTo>
                    <a:lnTo>
                      <a:pt x="171979" y="161396"/>
                    </a:lnTo>
                    <a:lnTo>
                      <a:pt x="164042" y="158750"/>
                    </a:lnTo>
                    <a:lnTo>
                      <a:pt x="148166" y="145521"/>
                    </a:lnTo>
                    <a:lnTo>
                      <a:pt x="145521" y="142875"/>
                    </a:lnTo>
                    <a:lnTo>
                      <a:pt x="142875" y="140229"/>
                    </a:lnTo>
                    <a:lnTo>
                      <a:pt x="140229" y="137583"/>
                    </a:lnTo>
                    <a:lnTo>
                      <a:pt x="132291" y="132291"/>
                    </a:lnTo>
                    <a:lnTo>
                      <a:pt x="129646" y="127000"/>
                    </a:lnTo>
                    <a:lnTo>
                      <a:pt x="129646" y="124354"/>
                    </a:lnTo>
                    <a:lnTo>
                      <a:pt x="127000" y="124354"/>
                    </a:lnTo>
                    <a:lnTo>
                      <a:pt x="121708" y="124354"/>
                    </a:lnTo>
                    <a:lnTo>
                      <a:pt x="119062" y="124354"/>
                    </a:lnTo>
                    <a:lnTo>
                      <a:pt x="116416" y="119062"/>
                    </a:lnTo>
                    <a:lnTo>
                      <a:pt x="111125" y="111125"/>
                    </a:lnTo>
                    <a:lnTo>
                      <a:pt x="103187" y="103187"/>
                    </a:lnTo>
                    <a:lnTo>
                      <a:pt x="100541" y="100541"/>
                    </a:lnTo>
                    <a:lnTo>
                      <a:pt x="97896" y="97896"/>
                    </a:lnTo>
                    <a:lnTo>
                      <a:pt x="97896" y="95250"/>
                    </a:lnTo>
                    <a:lnTo>
                      <a:pt x="95250" y="92604"/>
                    </a:lnTo>
                    <a:lnTo>
                      <a:pt x="92604" y="89958"/>
                    </a:lnTo>
                    <a:lnTo>
                      <a:pt x="89958" y="84666"/>
                    </a:lnTo>
                    <a:lnTo>
                      <a:pt x="84666" y="79375"/>
                    </a:lnTo>
                    <a:lnTo>
                      <a:pt x="74083" y="74083"/>
                    </a:lnTo>
                    <a:lnTo>
                      <a:pt x="63500" y="71437"/>
                    </a:lnTo>
                    <a:lnTo>
                      <a:pt x="52916" y="71437"/>
                    </a:lnTo>
                    <a:lnTo>
                      <a:pt x="47625" y="71437"/>
                    </a:lnTo>
                    <a:lnTo>
                      <a:pt x="42333" y="74083"/>
                    </a:lnTo>
                    <a:lnTo>
                      <a:pt x="29104" y="82021"/>
                    </a:lnTo>
                    <a:lnTo>
                      <a:pt x="18521" y="87312"/>
                    </a:lnTo>
                    <a:lnTo>
                      <a:pt x="21166" y="82021"/>
                    </a:lnTo>
                    <a:lnTo>
                      <a:pt x="21166" y="79375"/>
                    </a:lnTo>
                    <a:lnTo>
                      <a:pt x="18521" y="79375"/>
                    </a:lnTo>
                    <a:lnTo>
                      <a:pt x="10583" y="79375"/>
                    </a:lnTo>
                    <a:lnTo>
                      <a:pt x="7937" y="76729"/>
                    </a:lnTo>
                    <a:lnTo>
                      <a:pt x="5291" y="68791"/>
                    </a:lnTo>
                    <a:lnTo>
                      <a:pt x="5291" y="63500"/>
                    </a:lnTo>
                    <a:lnTo>
                      <a:pt x="7937" y="58208"/>
                    </a:lnTo>
                    <a:lnTo>
                      <a:pt x="7937" y="55562"/>
                    </a:lnTo>
                    <a:lnTo>
                      <a:pt x="2646" y="52917"/>
                    </a:lnTo>
                    <a:lnTo>
                      <a:pt x="0" y="52917"/>
                    </a:lnTo>
                    <a:lnTo>
                      <a:pt x="0" y="50271"/>
                    </a:lnTo>
                    <a:lnTo>
                      <a:pt x="7937" y="42333"/>
                    </a:lnTo>
                    <a:lnTo>
                      <a:pt x="7937" y="39687"/>
                    </a:lnTo>
                    <a:lnTo>
                      <a:pt x="5291" y="39687"/>
                    </a:lnTo>
                    <a:lnTo>
                      <a:pt x="2646" y="34396"/>
                    </a:lnTo>
                    <a:lnTo>
                      <a:pt x="2646" y="29104"/>
                    </a:lnTo>
                    <a:lnTo>
                      <a:pt x="7937" y="26458"/>
                    </a:lnTo>
                    <a:lnTo>
                      <a:pt x="15875" y="26458"/>
                    </a:lnTo>
                    <a:lnTo>
                      <a:pt x="21166" y="29104"/>
                    </a:lnTo>
                    <a:lnTo>
                      <a:pt x="23812" y="26458"/>
                    </a:lnTo>
                    <a:lnTo>
                      <a:pt x="29104" y="21167"/>
                    </a:lnTo>
                    <a:lnTo>
                      <a:pt x="34396" y="15875"/>
                    </a:lnTo>
                    <a:lnTo>
                      <a:pt x="39687" y="15875"/>
                    </a:lnTo>
                    <a:lnTo>
                      <a:pt x="39687" y="18521"/>
                    </a:lnTo>
                    <a:lnTo>
                      <a:pt x="39687" y="21167"/>
                    </a:lnTo>
                    <a:lnTo>
                      <a:pt x="42333" y="23812"/>
                    </a:lnTo>
                    <a:lnTo>
                      <a:pt x="50271" y="26458"/>
                    </a:lnTo>
                    <a:lnTo>
                      <a:pt x="52916" y="26458"/>
                    </a:lnTo>
                    <a:lnTo>
                      <a:pt x="55562" y="21167"/>
                    </a:lnTo>
                    <a:lnTo>
                      <a:pt x="58208" y="18521"/>
                    </a:lnTo>
                    <a:lnTo>
                      <a:pt x="60854" y="15875"/>
                    </a:lnTo>
                    <a:lnTo>
                      <a:pt x="60854" y="13229"/>
                    </a:lnTo>
                    <a:lnTo>
                      <a:pt x="63500" y="13229"/>
                    </a:lnTo>
                    <a:lnTo>
                      <a:pt x="66146" y="15875"/>
                    </a:lnTo>
                    <a:lnTo>
                      <a:pt x="68791" y="15875"/>
                    </a:lnTo>
                    <a:lnTo>
                      <a:pt x="71437" y="15875"/>
                    </a:lnTo>
                    <a:lnTo>
                      <a:pt x="74083" y="18521"/>
                    </a:lnTo>
                    <a:lnTo>
                      <a:pt x="76729" y="18521"/>
                    </a:lnTo>
                    <a:lnTo>
                      <a:pt x="76729" y="15875"/>
                    </a:lnTo>
                    <a:lnTo>
                      <a:pt x="74083" y="10583"/>
                    </a:lnTo>
                    <a:lnTo>
                      <a:pt x="76729" y="10583"/>
                    </a:lnTo>
                    <a:lnTo>
                      <a:pt x="82021" y="10583"/>
                    </a:lnTo>
                    <a:lnTo>
                      <a:pt x="82021" y="7937"/>
                    </a:lnTo>
                    <a:lnTo>
                      <a:pt x="87312" y="5292"/>
                    </a:lnTo>
                    <a:lnTo>
                      <a:pt x="92604" y="7937"/>
                    </a:lnTo>
                    <a:lnTo>
                      <a:pt x="95250" y="7937"/>
                    </a:lnTo>
                    <a:lnTo>
                      <a:pt x="97896" y="7937"/>
                    </a:lnTo>
                    <a:lnTo>
                      <a:pt x="100541" y="5292"/>
                    </a:lnTo>
                    <a:lnTo>
                      <a:pt x="103187" y="2646"/>
                    </a:lnTo>
                    <a:lnTo>
                      <a:pt x="111125" y="2646"/>
                    </a:lnTo>
                    <a:lnTo>
                      <a:pt x="119062" y="2646"/>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Japan"/>
              <p:cNvSpPr>
                <a:spLocks/>
              </p:cNvSpPr>
              <p:nvPr/>
            </p:nvSpPr>
            <p:spPr bwMode="auto">
              <a:xfrm>
                <a:off x="9665433" y="2009931"/>
                <a:ext cx="288576" cy="479504"/>
              </a:xfrm>
              <a:custGeom>
                <a:avLst/>
                <a:gdLst/>
                <a:ahLst/>
                <a:cxnLst/>
                <a:rect l="l" t="t" r="r" b="b"/>
                <a:pathLst>
                  <a:path w="251354" h="418042">
                    <a:moveTo>
                      <a:pt x="21166" y="336021"/>
                    </a:moveTo>
                    <a:lnTo>
                      <a:pt x="29104" y="336021"/>
                    </a:lnTo>
                    <a:lnTo>
                      <a:pt x="29104" y="338667"/>
                    </a:lnTo>
                    <a:lnTo>
                      <a:pt x="29104" y="341313"/>
                    </a:lnTo>
                    <a:lnTo>
                      <a:pt x="34396" y="343959"/>
                    </a:lnTo>
                    <a:lnTo>
                      <a:pt x="39687" y="343959"/>
                    </a:lnTo>
                    <a:lnTo>
                      <a:pt x="42333" y="343959"/>
                    </a:lnTo>
                    <a:lnTo>
                      <a:pt x="44979" y="341313"/>
                    </a:lnTo>
                    <a:lnTo>
                      <a:pt x="47625" y="341313"/>
                    </a:lnTo>
                    <a:lnTo>
                      <a:pt x="52917" y="346604"/>
                    </a:lnTo>
                    <a:lnTo>
                      <a:pt x="52917" y="351896"/>
                    </a:lnTo>
                    <a:lnTo>
                      <a:pt x="55562" y="351896"/>
                    </a:lnTo>
                    <a:lnTo>
                      <a:pt x="60854" y="354542"/>
                    </a:lnTo>
                    <a:lnTo>
                      <a:pt x="63500" y="357188"/>
                    </a:lnTo>
                    <a:lnTo>
                      <a:pt x="66146" y="359834"/>
                    </a:lnTo>
                    <a:lnTo>
                      <a:pt x="66146" y="362480"/>
                    </a:lnTo>
                    <a:lnTo>
                      <a:pt x="66146" y="365125"/>
                    </a:lnTo>
                    <a:lnTo>
                      <a:pt x="63500" y="370417"/>
                    </a:lnTo>
                    <a:lnTo>
                      <a:pt x="63500" y="378355"/>
                    </a:lnTo>
                    <a:lnTo>
                      <a:pt x="66146" y="391584"/>
                    </a:lnTo>
                    <a:lnTo>
                      <a:pt x="66146" y="394230"/>
                    </a:lnTo>
                    <a:lnTo>
                      <a:pt x="66146" y="396875"/>
                    </a:lnTo>
                    <a:lnTo>
                      <a:pt x="63500" y="402167"/>
                    </a:lnTo>
                    <a:lnTo>
                      <a:pt x="63500" y="410105"/>
                    </a:lnTo>
                    <a:lnTo>
                      <a:pt x="63500" y="412750"/>
                    </a:lnTo>
                    <a:lnTo>
                      <a:pt x="60854" y="415396"/>
                    </a:lnTo>
                    <a:lnTo>
                      <a:pt x="55562" y="418042"/>
                    </a:lnTo>
                    <a:lnTo>
                      <a:pt x="55562" y="415396"/>
                    </a:lnTo>
                    <a:lnTo>
                      <a:pt x="58208" y="412750"/>
                    </a:lnTo>
                    <a:lnTo>
                      <a:pt x="58208" y="410105"/>
                    </a:lnTo>
                    <a:lnTo>
                      <a:pt x="55562" y="410105"/>
                    </a:lnTo>
                    <a:lnTo>
                      <a:pt x="52917" y="407459"/>
                    </a:lnTo>
                    <a:lnTo>
                      <a:pt x="52917" y="410105"/>
                    </a:lnTo>
                    <a:lnTo>
                      <a:pt x="52917" y="412750"/>
                    </a:lnTo>
                    <a:lnTo>
                      <a:pt x="50271" y="415396"/>
                    </a:lnTo>
                    <a:lnTo>
                      <a:pt x="47625" y="415396"/>
                    </a:lnTo>
                    <a:lnTo>
                      <a:pt x="42333" y="415396"/>
                    </a:lnTo>
                    <a:lnTo>
                      <a:pt x="42333" y="412750"/>
                    </a:lnTo>
                    <a:lnTo>
                      <a:pt x="42333" y="410105"/>
                    </a:lnTo>
                    <a:lnTo>
                      <a:pt x="39687" y="407459"/>
                    </a:lnTo>
                    <a:lnTo>
                      <a:pt x="37042" y="404813"/>
                    </a:lnTo>
                    <a:lnTo>
                      <a:pt x="31750" y="402167"/>
                    </a:lnTo>
                    <a:lnTo>
                      <a:pt x="29104" y="399521"/>
                    </a:lnTo>
                    <a:lnTo>
                      <a:pt x="29104" y="396875"/>
                    </a:lnTo>
                    <a:lnTo>
                      <a:pt x="34396" y="394230"/>
                    </a:lnTo>
                    <a:lnTo>
                      <a:pt x="34396" y="388938"/>
                    </a:lnTo>
                    <a:lnTo>
                      <a:pt x="34396" y="383646"/>
                    </a:lnTo>
                    <a:lnTo>
                      <a:pt x="29104" y="381000"/>
                    </a:lnTo>
                    <a:lnTo>
                      <a:pt x="29104" y="378355"/>
                    </a:lnTo>
                    <a:lnTo>
                      <a:pt x="29104" y="375709"/>
                    </a:lnTo>
                    <a:lnTo>
                      <a:pt x="26458" y="370417"/>
                    </a:lnTo>
                    <a:lnTo>
                      <a:pt x="18521" y="365125"/>
                    </a:lnTo>
                    <a:lnTo>
                      <a:pt x="18521" y="367771"/>
                    </a:lnTo>
                    <a:lnTo>
                      <a:pt x="21166" y="370417"/>
                    </a:lnTo>
                    <a:lnTo>
                      <a:pt x="18521" y="373063"/>
                    </a:lnTo>
                    <a:lnTo>
                      <a:pt x="15875" y="375709"/>
                    </a:lnTo>
                    <a:lnTo>
                      <a:pt x="13229" y="373063"/>
                    </a:lnTo>
                    <a:lnTo>
                      <a:pt x="13229" y="370417"/>
                    </a:lnTo>
                    <a:lnTo>
                      <a:pt x="10583" y="370417"/>
                    </a:lnTo>
                    <a:lnTo>
                      <a:pt x="5291" y="367771"/>
                    </a:lnTo>
                    <a:lnTo>
                      <a:pt x="2646" y="359834"/>
                    </a:lnTo>
                    <a:lnTo>
                      <a:pt x="0" y="357188"/>
                    </a:lnTo>
                    <a:lnTo>
                      <a:pt x="0" y="354542"/>
                    </a:lnTo>
                    <a:lnTo>
                      <a:pt x="2646" y="349250"/>
                    </a:lnTo>
                    <a:lnTo>
                      <a:pt x="5291" y="351896"/>
                    </a:lnTo>
                    <a:lnTo>
                      <a:pt x="7937" y="351896"/>
                    </a:lnTo>
                    <a:lnTo>
                      <a:pt x="7937" y="343959"/>
                    </a:lnTo>
                    <a:lnTo>
                      <a:pt x="10583" y="341313"/>
                    </a:lnTo>
                    <a:lnTo>
                      <a:pt x="13229" y="338667"/>
                    </a:lnTo>
                    <a:close/>
                    <a:moveTo>
                      <a:pt x="89959" y="325438"/>
                    </a:moveTo>
                    <a:lnTo>
                      <a:pt x="97896" y="325438"/>
                    </a:lnTo>
                    <a:lnTo>
                      <a:pt x="105834" y="325438"/>
                    </a:lnTo>
                    <a:lnTo>
                      <a:pt x="105834" y="328084"/>
                    </a:lnTo>
                    <a:lnTo>
                      <a:pt x="111126" y="328084"/>
                    </a:lnTo>
                    <a:lnTo>
                      <a:pt x="116417" y="333376"/>
                    </a:lnTo>
                    <a:lnTo>
                      <a:pt x="119063" y="336021"/>
                    </a:lnTo>
                    <a:lnTo>
                      <a:pt x="119063" y="338667"/>
                    </a:lnTo>
                    <a:lnTo>
                      <a:pt x="119063" y="341313"/>
                    </a:lnTo>
                    <a:lnTo>
                      <a:pt x="113772" y="349250"/>
                    </a:lnTo>
                    <a:lnTo>
                      <a:pt x="113772" y="351896"/>
                    </a:lnTo>
                    <a:lnTo>
                      <a:pt x="113772" y="354542"/>
                    </a:lnTo>
                    <a:lnTo>
                      <a:pt x="111126" y="354542"/>
                    </a:lnTo>
                    <a:lnTo>
                      <a:pt x="105834" y="351896"/>
                    </a:lnTo>
                    <a:lnTo>
                      <a:pt x="103188" y="349250"/>
                    </a:lnTo>
                    <a:lnTo>
                      <a:pt x="97896" y="351896"/>
                    </a:lnTo>
                    <a:lnTo>
                      <a:pt x="95251" y="354542"/>
                    </a:lnTo>
                    <a:lnTo>
                      <a:pt x="95251" y="359834"/>
                    </a:lnTo>
                    <a:lnTo>
                      <a:pt x="92605" y="365125"/>
                    </a:lnTo>
                    <a:lnTo>
                      <a:pt x="95251" y="367771"/>
                    </a:lnTo>
                    <a:lnTo>
                      <a:pt x="89959" y="367771"/>
                    </a:lnTo>
                    <a:lnTo>
                      <a:pt x="87313" y="367771"/>
                    </a:lnTo>
                    <a:lnTo>
                      <a:pt x="84667" y="365125"/>
                    </a:lnTo>
                    <a:lnTo>
                      <a:pt x="82021" y="365125"/>
                    </a:lnTo>
                    <a:lnTo>
                      <a:pt x="79375" y="359834"/>
                    </a:lnTo>
                    <a:lnTo>
                      <a:pt x="79375" y="357188"/>
                    </a:lnTo>
                    <a:lnTo>
                      <a:pt x="76729" y="354542"/>
                    </a:lnTo>
                    <a:lnTo>
                      <a:pt x="74083" y="354542"/>
                    </a:lnTo>
                    <a:lnTo>
                      <a:pt x="68792" y="354542"/>
                    </a:lnTo>
                    <a:lnTo>
                      <a:pt x="66146" y="357188"/>
                    </a:lnTo>
                    <a:lnTo>
                      <a:pt x="66146" y="354542"/>
                    </a:lnTo>
                    <a:lnTo>
                      <a:pt x="68792" y="351896"/>
                    </a:lnTo>
                    <a:lnTo>
                      <a:pt x="68792" y="343959"/>
                    </a:lnTo>
                    <a:lnTo>
                      <a:pt x="71437" y="338667"/>
                    </a:lnTo>
                    <a:lnTo>
                      <a:pt x="76729" y="330730"/>
                    </a:lnTo>
                    <a:lnTo>
                      <a:pt x="79375" y="330730"/>
                    </a:lnTo>
                    <a:lnTo>
                      <a:pt x="82021" y="330730"/>
                    </a:lnTo>
                    <a:lnTo>
                      <a:pt x="82021" y="333376"/>
                    </a:lnTo>
                    <a:lnTo>
                      <a:pt x="87313" y="330730"/>
                    </a:lnTo>
                    <a:lnTo>
                      <a:pt x="87313" y="328084"/>
                    </a:lnTo>
                    <a:close/>
                    <a:moveTo>
                      <a:pt x="150813" y="111125"/>
                    </a:moveTo>
                    <a:lnTo>
                      <a:pt x="158750" y="113771"/>
                    </a:lnTo>
                    <a:lnTo>
                      <a:pt x="164042" y="113771"/>
                    </a:lnTo>
                    <a:lnTo>
                      <a:pt x="166688" y="113771"/>
                    </a:lnTo>
                    <a:lnTo>
                      <a:pt x="169333" y="116417"/>
                    </a:lnTo>
                    <a:lnTo>
                      <a:pt x="169333" y="121708"/>
                    </a:lnTo>
                    <a:lnTo>
                      <a:pt x="169333" y="127000"/>
                    </a:lnTo>
                    <a:lnTo>
                      <a:pt x="171979" y="129646"/>
                    </a:lnTo>
                    <a:lnTo>
                      <a:pt x="182563" y="132292"/>
                    </a:lnTo>
                    <a:lnTo>
                      <a:pt x="193146" y="137584"/>
                    </a:lnTo>
                    <a:lnTo>
                      <a:pt x="203729" y="142875"/>
                    </a:lnTo>
                    <a:lnTo>
                      <a:pt x="214313" y="156104"/>
                    </a:lnTo>
                    <a:lnTo>
                      <a:pt x="216958" y="164042"/>
                    </a:lnTo>
                    <a:lnTo>
                      <a:pt x="219604" y="171979"/>
                    </a:lnTo>
                    <a:lnTo>
                      <a:pt x="224896" y="190500"/>
                    </a:lnTo>
                    <a:lnTo>
                      <a:pt x="227542" y="195792"/>
                    </a:lnTo>
                    <a:lnTo>
                      <a:pt x="224896" y="198438"/>
                    </a:lnTo>
                    <a:lnTo>
                      <a:pt x="222250" y="195792"/>
                    </a:lnTo>
                    <a:lnTo>
                      <a:pt x="219604" y="195792"/>
                    </a:lnTo>
                    <a:lnTo>
                      <a:pt x="216958" y="198438"/>
                    </a:lnTo>
                    <a:lnTo>
                      <a:pt x="216958" y="206375"/>
                    </a:lnTo>
                    <a:lnTo>
                      <a:pt x="222250" y="211667"/>
                    </a:lnTo>
                    <a:lnTo>
                      <a:pt x="230188" y="219605"/>
                    </a:lnTo>
                    <a:lnTo>
                      <a:pt x="235479" y="227542"/>
                    </a:lnTo>
                    <a:lnTo>
                      <a:pt x="235479" y="235480"/>
                    </a:lnTo>
                    <a:lnTo>
                      <a:pt x="235479" y="254000"/>
                    </a:lnTo>
                    <a:lnTo>
                      <a:pt x="238125" y="261938"/>
                    </a:lnTo>
                    <a:lnTo>
                      <a:pt x="240771" y="264584"/>
                    </a:lnTo>
                    <a:lnTo>
                      <a:pt x="248708" y="269875"/>
                    </a:lnTo>
                    <a:lnTo>
                      <a:pt x="251354" y="275167"/>
                    </a:lnTo>
                    <a:lnTo>
                      <a:pt x="248708" y="280459"/>
                    </a:lnTo>
                    <a:lnTo>
                      <a:pt x="246063" y="288396"/>
                    </a:lnTo>
                    <a:lnTo>
                      <a:pt x="246063" y="293688"/>
                    </a:lnTo>
                    <a:lnTo>
                      <a:pt x="243417" y="296334"/>
                    </a:lnTo>
                    <a:lnTo>
                      <a:pt x="238125" y="301626"/>
                    </a:lnTo>
                    <a:lnTo>
                      <a:pt x="238125" y="293688"/>
                    </a:lnTo>
                    <a:lnTo>
                      <a:pt x="235479" y="283105"/>
                    </a:lnTo>
                    <a:lnTo>
                      <a:pt x="232833" y="280459"/>
                    </a:lnTo>
                    <a:lnTo>
                      <a:pt x="230188" y="280459"/>
                    </a:lnTo>
                    <a:lnTo>
                      <a:pt x="227542" y="283105"/>
                    </a:lnTo>
                    <a:lnTo>
                      <a:pt x="227542" y="285751"/>
                    </a:lnTo>
                    <a:lnTo>
                      <a:pt x="230188" y="288396"/>
                    </a:lnTo>
                    <a:lnTo>
                      <a:pt x="230188" y="291042"/>
                    </a:lnTo>
                    <a:lnTo>
                      <a:pt x="230188" y="293688"/>
                    </a:lnTo>
                    <a:lnTo>
                      <a:pt x="230188" y="296334"/>
                    </a:lnTo>
                    <a:lnTo>
                      <a:pt x="227542" y="296334"/>
                    </a:lnTo>
                    <a:lnTo>
                      <a:pt x="222250" y="298980"/>
                    </a:lnTo>
                    <a:lnTo>
                      <a:pt x="224896" y="301626"/>
                    </a:lnTo>
                    <a:lnTo>
                      <a:pt x="224896" y="306917"/>
                    </a:lnTo>
                    <a:lnTo>
                      <a:pt x="222250" y="309563"/>
                    </a:lnTo>
                    <a:lnTo>
                      <a:pt x="219604" y="309563"/>
                    </a:lnTo>
                    <a:lnTo>
                      <a:pt x="216958" y="306917"/>
                    </a:lnTo>
                    <a:lnTo>
                      <a:pt x="214313" y="304271"/>
                    </a:lnTo>
                    <a:lnTo>
                      <a:pt x="211667" y="301626"/>
                    </a:lnTo>
                    <a:lnTo>
                      <a:pt x="209021" y="301626"/>
                    </a:lnTo>
                    <a:lnTo>
                      <a:pt x="206375" y="306917"/>
                    </a:lnTo>
                    <a:lnTo>
                      <a:pt x="203729" y="309563"/>
                    </a:lnTo>
                    <a:lnTo>
                      <a:pt x="198438" y="312209"/>
                    </a:lnTo>
                    <a:lnTo>
                      <a:pt x="190500" y="312209"/>
                    </a:lnTo>
                    <a:lnTo>
                      <a:pt x="174625" y="309563"/>
                    </a:lnTo>
                    <a:lnTo>
                      <a:pt x="171979" y="309563"/>
                    </a:lnTo>
                    <a:lnTo>
                      <a:pt x="174625" y="306917"/>
                    </a:lnTo>
                    <a:lnTo>
                      <a:pt x="171979" y="306917"/>
                    </a:lnTo>
                    <a:lnTo>
                      <a:pt x="164042" y="306917"/>
                    </a:lnTo>
                    <a:lnTo>
                      <a:pt x="161396" y="304271"/>
                    </a:lnTo>
                    <a:lnTo>
                      <a:pt x="158750" y="304271"/>
                    </a:lnTo>
                    <a:lnTo>
                      <a:pt x="158750" y="306917"/>
                    </a:lnTo>
                    <a:lnTo>
                      <a:pt x="158750" y="309563"/>
                    </a:lnTo>
                    <a:lnTo>
                      <a:pt x="161396" y="312209"/>
                    </a:lnTo>
                    <a:lnTo>
                      <a:pt x="164042" y="312209"/>
                    </a:lnTo>
                    <a:lnTo>
                      <a:pt x="166688" y="312209"/>
                    </a:lnTo>
                    <a:lnTo>
                      <a:pt x="169333" y="314855"/>
                    </a:lnTo>
                    <a:lnTo>
                      <a:pt x="171979" y="317501"/>
                    </a:lnTo>
                    <a:lnTo>
                      <a:pt x="169333" y="320146"/>
                    </a:lnTo>
                    <a:lnTo>
                      <a:pt x="166688" y="322792"/>
                    </a:lnTo>
                    <a:lnTo>
                      <a:pt x="164042" y="328084"/>
                    </a:lnTo>
                    <a:lnTo>
                      <a:pt x="164042" y="333376"/>
                    </a:lnTo>
                    <a:lnTo>
                      <a:pt x="164042" y="336021"/>
                    </a:lnTo>
                    <a:lnTo>
                      <a:pt x="166688" y="338667"/>
                    </a:lnTo>
                    <a:lnTo>
                      <a:pt x="161396" y="341313"/>
                    </a:lnTo>
                    <a:lnTo>
                      <a:pt x="153458" y="338667"/>
                    </a:lnTo>
                    <a:lnTo>
                      <a:pt x="145521" y="336021"/>
                    </a:lnTo>
                    <a:lnTo>
                      <a:pt x="140229" y="336021"/>
                    </a:lnTo>
                    <a:lnTo>
                      <a:pt x="134938" y="333376"/>
                    </a:lnTo>
                    <a:lnTo>
                      <a:pt x="132292" y="333376"/>
                    </a:lnTo>
                    <a:lnTo>
                      <a:pt x="132292" y="325438"/>
                    </a:lnTo>
                    <a:lnTo>
                      <a:pt x="132292" y="320146"/>
                    </a:lnTo>
                    <a:lnTo>
                      <a:pt x="129646" y="317501"/>
                    </a:lnTo>
                    <a:lnTo>
                      <a:pt x="127000" y="314855"/>
                    </a:lnTo>
                    <a:lnTo>
                      <a:pt x="129646" y="309563"/>
                    </a:lnTo>
                    <a:lnTo>
                      <a:pt x="119063" y="312209"/>
                    </a:lnTo>
                    <a:lnTo>
                      <a:pt x="105833" y="309563"/>
                    </a:lnTo>
                    <a:lnTo>
                      <a:pt x="100542" y="312209"/>
                    </a:lnTo>
                    <a:lnTo>
                      <a:pt x="97896" y="312209"/>
                    </a:lnTo>
                    <a:lnTo>
                      <a:pt x="97896" y="314855"/>
                    </a:lnTo>
                    <a:lnTo>
                      <a:pt x="92604" y="314855"/>
                    </a:lnTo>
                    <a:lnTo>
                      <a:pt x="87313" y="314855"/>
                    </a:lnTo>
                    <a:lnTo>
                      <a:pt x="84667" y="317501"/>
                    </a:lnTo>
                    <a:lnTo>
                      <a:pt x="82020" y="320146"/>
                    </a:lnTo>
                    <a:lnTo>
                      <a:pt x="76729" y="317501"/>
                    </a:lnTo>
                    <a:lnTo>
                      <a:pt x="74083" y="317501"/>
                    </a:lnTo>
                    <a:lnTo>
                      <a:pt x="71437" y="320146"/>
                    </a:lnTo>
                    <a:lnTo>
                      <a:pt x="71437" y="322792"/>
                    </a:lnTo>
                    <a:lnTo>
                      <a:pt x="66145" y="320146"/>
                    </a:lnTo>
                    <a:lnTo>
                      <a:pt x="63500" y="322792"/>
                    </a:lnTo>
                    <a:lnTo>
                      <a:pt x="60854" y="328084"/>
                    </a:lnTo>
                    <a:lnTo>
                      <a:pt x="58208" y="333376"/>
                    </a:lnTo>
                    <a:lnTo>
                      <a:pt x="55562" y="333376"/>
                    </a:lnTo>
                    <a:lnTo>
                      <a:pt x="52916" y="333376"/>
                    </a:lnTo>
                    <a:lnTo>
                      <a:pt x="44979" y="330730"/>
                    </a:lnTo>
                    <a:lnTo>
                      <a:pt x="37041" y="333376"/>
                    </a:lnTo>
                    <a:lnTo>
                      <a:pt x="29104" y="333376"/>
                    </a:lnTo>
                    <a:lnTo>
                      <a:pt x="23812" y="333376"/>
                    </a:lnTo>
                    <a:lnTo>
                      <a:pt x="18520" y="328084"/>
                    </a:lnTo>
                    <a:lnTo>
                      <a:pt x="13229" y="322792"/>
                    </a:lnTo>
                    <a:lnTo>
                      <a:pt x="13229" y="320146"/>
                    </a:lnTo>
                    <a:lnTo>
                      <a:pt x="15875" y="320146"/>
                    </a:lnTo>
                    <a:lnTo>
                      <a:pt x="23812" y="317501"/>
                    </a:lnTo>
                    <a:lnTo>
                      <a:pt x="26458" y="317501"/>
                    </a:lnTo>
                    <a:lnTo>
                      <a:pt x="29104" y="314855"/>
                    </a:lnTo>
                    <a:lnTo>
                      <a:pt x="34395" y="304271"/>
                    </a:lnTo>
                    <a:lnTo>
                      <a:pt x="39687" y="296334"/>
                    </a:lnTo>
                    <a:lnTo>
                      <a:pt x="44979" y="291042"/>
                    </a:lnTo>
                    <a:lnTo>
                      <a:pt x="42333" y="288396"/>
                    </a:lnTo>
                    <a:lnTo>
                      <a:pt x="50270" y="285751"/>
                    </a:lnTo>
                    <a:lnTo>
                      <a:pt x="58208" y="283105"/>
                    </a:lnTo>
                    <a:lnTo>
                      <a:pt x="63500" y="283105"/>
                    </a:lnTo>
                    <a:lnTo>
                      <a:pt x="76729" y="280459"/>
                    </a:lnTo>
                    <a:lnTo>
                      <a:pt x="95250" y="275167"/>
                    </a:lnTo>
                    <a:lnTo>
                      <a:pt x="97896" y="275167"/>
                    </a:lnTo>
                    <a:lnTo>
                      <a:pt x="100542" y="275167"/>
                    </a:lnTo>
                    <a:lnTo>
                      <a:pt x="103188" y="277813"/>
                    </a:lnTo>
                    <a:lnTo>
                      <a:pt x="105833" y="275167"/>
                    </a:lnTo>
                    <a:lnTo>
                      <a:pt x="111125" y="275167"/>
                    </a:lnTo>
                    <a:lnTo>
                      <a:pt x="113771" y="277813"/>
                    </a:lnTo>
                    <a:lnTo>
                      <a:pt x="116417" y="280459"/>
                    </a:lnTo>
                    <a:lnTo>
                      <a:pt x="121708" y="277813"/>
                    </a:lnTo>
                    <a:lnTo>
                      <a:pt x="124354" y="275167"/>
                    </a:lnTo>
                    <a:lnTo>
                      <a:pt x="121708" y="272521"/>
                    </a:lnTo>
                    <a:lnTo>
                      <a:pt x="119063" y="269875"/>
                    </a:lnTo>
                    <a:lnTo>
                      <a:pt x="119063" y="261938"/>
                    </a:lnTo>
                    <a:lnTo>
                      <a:pt x="119063" y="254000"/>
                    </a:lnTo>
                    <a:lnTo>
                      <a:pt x="116417" y="248709"/>
                    </a:lnTo>
                    <a:lnTo>
                      <a:pt x="113771" y="243417"/>
                    </a:lnTo>
                    <a:lnTo>
                      <a:pt x="116417" y="235480"/>
                    </a:lnTo>
                    <a:lnTo>
                      <a:pt x="124354" y="224896"/>
                    </a:lnTo>
                    <a:lnTo>
                      <a:pt x="127000" y="224896"/>
                    </a:lnTo>
                    <a:lnTo>
                      <a:pt x="129646" y="224896"/>
                    </a:lnTo>
                    <a:lnTo>
                      <a:pt x="129646" y="227542"/>
                    </a:lnTo>
                    <a:lnTo>
                      <a:pt x="129646" y="232834"/>
                    </a:lnTo>
                    <a:lnTo>
                      <a:pt x="127000" y="235480"/>
                    </a:lnTo>
                    <a:lnTo>
                      <a:pt x="129646" y="235480"/>
                    </a:lnTo>
                    <a:lnTo>
                      <a:pt x="132292" y="238125"/>
                    </a:lnTo>
                    <a:lnTo>
                      <a:pt x="132292" y="243417"/>
                    </a:lnTo>
                    <a:lnTo>
                      <a:pt x="137583" y="243417"/>
                    </a:lnTo>
                    <a:lnTo>
                      <a:pt x="145521" y="235480"/>
                    </a:lnTo>
                    <a:lnTo>
                      <a:pt x="158750" y="224896"/>
                    </a:lnTo>
                    <a:lnTo>
                      <a:pt x="164042" y="219605"/>
                    </a:lnTo>
                    <a:lnTo>
                      <a:pt x="164042" y="214313"/>
                    </a:lnTo>
                    <a:lnTo>
                      <a:pt x="164042" y="209021"/>
                    </a:lnTo>
                    <a:lnTo>
                      <a:pt x="166688" y="203729"/>
                    </a:lnTo>
                    <a:lnTo>
                      <a:pt x="169333" y="193146"/>
                    </a:lnTo>
                    <a:lnTo>
                      <a:pt x="166688" y="182563"/>
                    </a:lnTo>
                    <a:lnTo>
                      <a:pt x="164042" y="174625"/>
                    </a:lnTo>
                    <a:lnTo>
                      <a:pt x="158750" y="169334"/>
                    </a:lnTo>
                    <a:lnTo>
                      <a:pt x="156104" y="166688"/>
                    </a:lnTo>
                    <a:lnTo>
                      <a:pt x="153458" y="166688"/>
                    </a:lnTo>
                    <a:lnTo>
                      <a:pt x="150813" y="166688"/>
                    </a:lnTo>
                    <a:lnTo>
                      <a:pt x="148167" y="164042"/>
                    </a:lnTo>
                    <a:lnTo>
                      <a:pt x="148167" y="161396"/>
                    </a:lnTo>
                    <a:lnTo>
                      <a:pt x="150813" y="158750"/>
                    </a:lnTo>
                    <a:lnTo>
                      <a:pt x="150813" y="153459"/>
                    </a:lnTo>
                    <a:lnTo>
                      <a:pt x="140229" y="142875"/>
                    </a:lnTo>
                    <a:lnTo>
                      <a:pt x="137583" y="140229"/>
                    </a:lnTo>
                    <a:lnTo>
                      <a:pt x="137583" y="137584"/>
                    </a:lnTo>
                    <a:lnTo>
                      <a:pt x="142875" y="132292"/>
                    </a:lnTo>
                    <a:lnTo>
                      <a:pt x="140229" y="129646"/>
                    </a:lnTo>
                    <a:lnTo>
                      <a:pt x="137583" y="127000"/>
                    </a:lnTo>
                    <a:lnTo>
                      <a:pt x="137583" y="124354"/>
                    </a:lnTo>
                    <a:lnTo>
                      <a:pt x="140229" y="121708"/>
                    </a:lnTo>
                    <a:lnTo>
                      <a:pt x="142875" y="121708"/>
                    </a:lnTo>
                    <a:lnTo>
                      <a:pt x="148167" y="124354"/>
                    </a:lnTo>
                    <a:lnTo>
                      <a:pt x="153458" y="127000"/>
                    </a:lnTo>
                    <a:lnTo>
                      <a:pt x="156104" y="127000"/>
                    </a:lnTo>
                    <a:lnTo>
                      <a:pt x="158750" y="119063"/>
                    </a:lnTo>
                    <a:lnTo>
                      <a:pt x="158750" y="116417"/>
                    </a:lnTo>
                    <a:lnTo>
                      <a:pt x="153458" y="119063"/>
                    </a:lnTo>
                    <a:lnTo>
                      <a:pt x="150813" y="121708"/>
                    </a:lnTo>
                    <a:lnTo>
                      <a:pt x="148167" y="121708"/>
                    </a:lnTo>
                    <a:lnTo>
                      <a:pt x="148167" y="116417"/>
                    </a:lnTo>
                    <a:lnTo>
                      <a:pt x="148167" y="113771"/>
                    </a:lnTo>
                    <a:close/>
                    <a:moveTo>
                      <a:pt x="89958" y="0"/>
                    </a:moveTo>
                    <a:lnTo>
                      <a:pt x="92604" y="0"/>
                    </a:lnTo>
                    <a:lnTo>
                      <a:pt x="95250" y="2646"/>
                    </a:lnTo>
                    <a:lnTo>
                      <a:pt x="105833" y="10584"/>
                    </a:lnTo>
                    <a:lnTo>
                      <a:pt x="113771" y="15875"/>
                    </a:lnTo>
                    <a:lnTo>
                      <a:pt x="124354" y="21167"/>
                    </a:lnTo>
                    <a:lnTo>
                      <a:pt x="134937" y="23813"/>
                    </a:lnTo>
                    <a:lnTo>
                      <a:pt x="142875" y="29104"/>
                    </a:lnTo>
                    <a:lnTo>
                      <a:pt x="153458" y="34396"/>
                    </a:lnTo>
                    <a:lnTo>
                      <a:pt x="164042" y="37042"/>
                    </a:lnTo>
                    <a:lnTo>
                      <a:pt x="185208" y="42334"/>
                    </a:lnTo>
                    <a:lnTo>
                      <a:pt x="193146" y="44979"/>
                    </a:lnTo>
                    <a:lnTo>
                      <a:pt x="195792" y="42334"/>
                    </a:lnTo>
                    <a:lnTo>
                      <a:pt x="203729" y="37042"/>
                    </a:lnTo>
                    <a:lnTo>
                      <a:pt x="209021" y="29104"/>
                    </a:lnTo>
                    <a:lnTo>
                      <a:pt x="211667" y="29104"/>
                    </a:lnTo>
                    <a:lnTo>
                      <a:pt x="209021" y="42334"/>
                    </a:lnTo>
                    <a:lnTo>
                      <a:pt x="209021" y="47625"/>
                    </a:lnTo>
                    <a:lnTo>
                      <a:pt x="211667" y="50271"/>
                    </a:lnTo>
                    <a:lnTo>
                      <a:pt x="216958" y="50271"/>
                    </a:lnTo>
                    <a:lnTo>
                      <a:pt x="216958" y="52917"/>
                    </a:lnTo>
                    <a:lnTo>
                      <a:pt x="219604" y="58209"/>
                    </a:lnTo>
                    <a:lnTo>
                      <a:pt x="222250" y="58209"/>
                    </a:lnTo>
                    <a:lnTo>
                      <a:pt x="230188" y="58209"/>
                    </a:lnTo>
                    <a:lnTo>
                      <a:pt x="235479" y="58209"/>
                    </a:lnTo>
                    <a:lnTo>
                      <a:pt x="227542" y="63500"/>
                    </a:lnTo>
                    <a:lnTo>
                      <a:pt x="216958" y="71438"/>
                    </a:lnTo>
                    <a:lnTo>
                      <a:pt x="211667" y="71438"/>
                    </a:lnTo>
                    <a:lnTo>
                      <a:pt x="203729" y="71438"/>
                    </a:lnTo>
                    <a:lnTo>
                      <a:pt x="198437" y="74084"/>
                    </a:lnTo>
                    <a:lnTo>
                      <a:pt x="193146" y="79375"/>
                    </a:lnTo>
                    <a:lnTo>
                      <a:pt x="193146" y="84667"/>
                    </a:lnTo>
                    <a:lnTo>
                      <a:pt x="193146" y="89959"/>
                    </a:lnTo>
                    <a:lnTo>
                      <a:pt x="198437" y="95251"/>
                    </a:lnTo>
                    <a:lnTo>
                      <a:pt x="195792" y="95251"/>
                    </a:lnTo>
                    <a:lnTo>
                      <a:pt x="187854" y="95251"/>
                    </a:lnTo>
                    <a:lnTo>
                      <a:pt x="177271" y="92605"/>
                    </a:lnTo>
                    <a:lnTo>
                      <a:pt x="169333" y="89959"/>
                    </a:lnTo>
                    <a:lnTo>
                      <a:pt x="161396" y="89959"/>
                    </a:lnTo>
                    <a:lnTo>
                      <a:pt x="150812" y="84667"/>
                    </a:lnTo>
                    <a:lnTo>
                      <a:pt x="145521" y="82021"/>
                    </a:lnTo>
                    <a:lnTo>
                      <a:pt x="142875" y="82021"/>
                    </a:lnTo>
                    <a:lnTo>
                      <a:pt x="137583" y="84667"/>
                    </a:lnTo>
                    <a:lnTo>
                      <a:pt x="134937" y="87313"/>
                    </a:lnTo>
                    <a:lnTo>
                      <a:pt x="132291" y="89959"/>
                    </a:lnTo>
                    <a:lnTo>
                      <a:pt x="129646" y="87313"/>
                    </a:lnTo>
                    <a:lnTo>
                      <a:pt x="121708" y="87313"/>
                    </a:lnTo>
                    <a:lnTo>
                      <a:pt x="116416" y="89959"/>
                    </a:lnTo>
                    <a:lnTo>
                      <a:pt x="116416" y="92605"/>
                    </a:lnTo>
                    <a:lnTo>
                      <a:pt x="124354" y="95251"/>
                    </a:lnTo>
                    <a:lnTo>
                      <a:pt x="134937" y="97896"/>
                    </a:lnTo>
                    <a:lnTo>
                      <a:pt x="142875" y="103188"/>
                    </a:lnTo>
                    <a:lnTo>
                      <a:pt x="148166" y="108480"/>
                    </a:lnTo>
                    <a:lnTo>
                      <a:pt x="137583" y="111126"/>
                    </a:lnTo>
                    <a:lnTo>
                      <a:pt x="134937" y="116417"/>
                    </a:lnTo>
                    <a:lnTo>
                      <a:pt x="132291" y="119063"/>
                    </a:lnTo>
                    <a:lnTo>
                      <a:pt x="127000" y="119063"/>
                    </a:lnTo>
                    <a:lnTo>
                      <a:pt x="124354" y="119063"/>
                    </a:lnTo>
                    <a:lnTo>
                      <a:pt x="121708" y="116417"/>
                    </a:lnTo>
                    <a:lnTo>
                      <a:pt x="121708" y="108480"/>
                    </a:lnTo>
                    <a:lnTo>
                      <a:pt x="121708" y="103188"/>
                    </a:lnTo>
                    <a:lnTo>
                      <a:pt x="119062" y="103188"/>
                    </a:lnTo>
                    <a:lnTo>
                      <a:pt x="116416" y="100542"/>
                    </a:lnTo>
                    <a:lnTo>
                      <a:pt x="108479" y="97896"/>
                    </a:lnTo>
                    <a:lnTo>
                      <a:pt x="103187" y="95251"/>
                    </a:lnTo>
                    <a:lnTo>
                      <a:pt x="100541" y="89959"/>
                    </a:lnTo>
                    <a:lnTo>
                      <a:pt x="103187" y="84667"/>
                    </a:lnTo>
                    <a:lnTo>
                      <a:pt x="105833" y="82021"/>
                    </a:lnTo>
                    <a:lnTo>
                      <a:pt x="105833" y="79375"/>
                    </a:lnTo>
                    <a:lnTo>
                      <a:pt x="103187" y="74084"/>
                    </a:lnTo>
                    <a:lnTo>
                      <a:pt x="97895" y="71438"/>
                    </a:lnTo>
                    <a:lnTo>
                      <a:pt x="97895" y="68792"/>
                    </a:lnTo>
                    <a:lnTo>
                      <a:pt x="100541" y="68792"/>
                    </a:lnTo>
                    <a:lnTo>
                      <a:pt x="105833" y="68792"/>
                    </a:lnTo>
                    <a:lnTo>
                      <a:pt x="111125" y="68792"/>
                    </a:lnTo>
                    <a:lnTo>
                      <a:pt x="116416" y="63500"/>
                    </a:lnTo>
                    <a:lnTo>
                      <a:pt x="116416" y="60855"/>
                    </a:lnTo>
                    <a:lnTo>
                      <a:pt x="111125" y="55563"/>
                    </a:lnTo>
                    <a:lnTo>
                      <a:pt x="108479" y="50271"/>
                    </a:lnTo>
                    <a:lnTo>
                      <a:pt x="108479" y="47625"/>
                    </a:lnTo>
                    <a:lnTo>
                      <a:pt x="108479" y="42334"/>
                    </a:lnTo>
                    <a:lnTo>
                      <a:pt x="111125" y="39688"/>
                    </a:lnTo>
                    <a:lnTo>
                      <a:pt x="108479" y="37042"/>
                    </a:lnTo>
                    <a:lnTo>
                      <a:pt x="103187" y="34396"/>
                    </a:lnTo>
                    <a:lnTo>
                      <a:pt x="100541" y="31750"/>
                    </a:lnTo>
                    <a:lnTo>
                      <a:pt x="95250" y="21167"/>
                    </a:lnTo>
                    <a:lnTo>
                      <a:pt x="89958" y="15875"/>
                    </a:lnTo>
                    <a:lnTo>
                      <a:pt x="84666" y="13229"/>
                    </a:lnTo>
                    <a:lnTo>
                      <a:pt x="84666" y="10584"/>
                    </a:lnTo>
                    <a:lnTo>
                      <a:pt x="87312" y="7938"/>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Mexico"/>
              <p:cNvSpPr>
                <a:spLocks/>
              </p:cNvSpPr>
              <p:nvPr/>
            </p:nvSpPr>
            <p:spPr bwMode="auto">
              <a:xfrm>
                <a:off x="2253588" y="2456053"/>
                <a:ext cx="814088" cy="667663"/>
              </a:xfrm>
              <a:custGeom>
                <a:avLst/>
                <a:gdLst/>
                <a:ahLst/>
                <a:cxnLst>
                  <a:cxn ang="0">
                    <a:pos x="326" y="228"/>
                  </a:cxn>
                  <a:cxn ang="0">
                    <a:pos x="324" y="274"/>
                  </a:cxn>
                  <a:cxn ang="0">
                    <a:pos x="340" y="326"/>
                  </a:cxn>
                  <a:cxn ang="0">
                    <a:pos x="360" y="342"/>
                  </a:cxn>
                  <a:cxn ang="0">
                    <a:pos x="406" y="336"/>
                  </a:cxn>
                  <a:cxn ang="0">
                    <a:pos x="430" y="330"/>
                  </a:cxn>
                  <a:cxn ang="0">
                    <a:pos x="442" y="322"/>
                  </a:cxn>
                  <a:cxn ang="0">
                    <a:pos x="456" y="296"/>
                  </a:cxn>
                  <a:cxn ang="0">
                    <a:pos x="498" y="266"/>
                  </a:cxn>
                  <a:cxn ang="0">
                    <a:pos x="532" y="270"/>
                  </a:cxn>
                  <a:cxn ang="0">
                    <a:pos x="522" y="304"/>
                  </a:cxn>
                  <a:cxn ang="0">
                    <a:pos x="516" y="314"/>
                  </a:cxn>
                  <a:cxn ang="0">
                    <a:pos x="500" y="356"/>
                  </a:cxn>
                  <a:cxn ang="0">
                    <a:pos x="492" y="346"/>
                  </a:cxn>
                  <a:cxn ang="0">
                    <a:pos x="432" y="364"/>
                  </a:cxn>
                  <a:cxn ang="0">
                    <a:pos x="428" y="386"/>
                  </a:cxn>
                  <a:cxn ang="0">
                    <a:pos x="424" y="402"/>
                  </a:cxn>
                  <a:cxn ang="0">
                    <a:pos x="380" y="420"/>
                  </a:cxn>
                  <a:cxn ang="0">
                    <a:pos x="356" y="402"/>
                  </a:cxn>
                  <a:cxn ang="0">
                    <a:pos x="350" y="406"/>
                  </a:cxn>
                  <a:cxn ang="0">
                    <a:pos x="312" y="416"/>
                  </a:cxn>
                  <a:cxn ang="0">
                    <a:pos x="274" y="402"/>
                  </a:cxn>
                  <a:cxn ang="0">
                    <a:pos x="234" y="378"/>
                  </a:cxn>
                  <a:cxn ang="0">
                    <a:pos x="186" y="352"/>
                  </a:cxn>
                  <a:cxn ang="0">
                    <a:pos x="162" y="334"/>
                  </a:cxn>
                  <a:cxn ang="0">
                    <a:pos x="144" y="308"/>
                  </a:cxn>
                  <a:cxn ang="0">
                    <a:pos x="154" y="286"/>
                  </a:cxn>
                  <a:cxn ang="0">
                    <a:pos x="160" y="266"/>
                  </a:cxn>
                  <a:cxn ang="0">
                    <a:pos x="124" y="192"/>
                  </a:cxn>
                  <a:cxn ang="0">
                    <a:pos x="118" y="186"/>
                  </a:cxn>
                  <a:cxn ang="0">
                    <a:pos x="108" y="160"/>
                  </a:cxn>
                  <a:cxn ang="0">
                    <a:pos x="94" y="134"/>
                  </a:cxn>
                  <a:cxn ang="0">
                    <a:pos x="84" y="112"/>
                  </a:cxn>
                  <a:cxn ang="0">
                    <a:pos x="72" y="90"/>
                  </a:cxn>
                  <a:cxn ang="0">
                    <a:pos x="66" y="52"/>
                  </a:cxn>
                  <a:cxn ang="0">
                    <a:pos x="50" y="26"/>
                  </a:cxn>
                  <a:cxn ang="0">
                    <a:pos x="38" y="42"/>
                  </a:cxn>
                  <a:cxn ang="0">
                    <a:pos x="50" y="90"/>
                  </a:cxn>
                  <a:cxn ang="0">
                    <a:pos x="58" y="116"/>
                  </a:cxn>
                  <a:cxn ang="0">
                    <a:pos x="68" y="148"/>
                  </a:cxn>
                  <a:cxn ang="0">
                    <a:pos x="66" y="168"/>
                  </a:cxn>
                  <a:cxn ang="0">
                    <a:pos x="76" y="164"/>
                  </a:cxn>
                  <a:cxn ang="0">
                    <a:pos x="74" y="202"/>
                  </a:cxn>
                  <a:cxn ang="0">
                    <a:pos x="86" y="214"/>
                  </a:cxn>
                  <a:cxn ang="0">
                    <a:pos x="70" y="232"/>
                  </a:cxn>
                  <a:cxn ang="0">
                    <a:pos x="46" y="192"/>
                  </a:cxn>
                  <a:cxn ang="0">
                    <a:pos x="44" y="162"/>
                  </a:cxn>
                  <a:cxn ang="0">
                    <a:pos x="24" y="140"/>
                  </a:cxn>
                  <a:cxn ang="0">
                    <a:pos x="6" y="118"/>
                  </a:cxn>
                  <a:cxn ang="0">
                    <a:pos x="22" y="114"/>
                  </a:cxn>
                  <a:cxn ang="0">
                    <a:pos x="28" y="104"/>
                  </a:cxn>
                  <a:cxn ang="0">
                    <a:pos x="4" y="60"/>
                  </a:cxn>
                  <a:cxn ang="0">
                    <a:pos x="2" y="32"/>
                  </a:cxn>
                  <a:cxn ang="0">
                    <a:pos x="4" y="2"/>
                  </a:cxn>
                  <a:cxn ang="0">
                    <a:pos x="200" y="22"/>
                  </a:cxn>
                  <a:cxn ang="0">
                    <a:pos x="224" y="46"/>
                  </a:cxn>
                  <a:cxn ang="0">
                    <a:pos x="252" y="72"/>
                  </a:cxn>
                  <a:cxn ang="0">
                    <a:pos x="278" y="68"/>
                  </a:cxn>
                  <a:cxn ang="0">
                    <a:pos x="312" y="140"/>
                  </a:cxn>
                </a:cxnLst>
                <a:rect l="0" t="0" r="r" b="b"/>
                <a:pathLst>
                  <a:path w="536" h="440">
                    <a:moveTo>
                      <a:pt x="346" y="160"/>
                    </a:moveTo>
                    <a:lnTo>
                      <a:pt x="346" y="160"/>
                    </a:lnTo>
                    <a:lnTo>
                      <a:pt x="346" y="168"/>
                    </a:lnTo>
                    <a:lnTo>
                      <a:pt x="344" y="174"/>
                    </a:lnTo>
                    <a:lnTo>
                      <a:pt x="338" y="182"/>
                    </a:lnTo>
                    <a:lnTo>
                      <a:pt x="338" y="182"/>
                    </a:lnTo>
                    <a:lnTo>
                      <a:pt x="334" y="188"/>
                    </a:lnTo>
                    <a:lnTo>
                      <a:pt x="332" y="196"/>
                    </a:lnTo>
                    <a:lnTo>
                      <a:pt x="328" y="212"/>
                    </a:lnTo>
                    <a:lnTo>
                      <a:pt x="326" y="228"/>
                    </a:lnTo>
                    <a:lnTo>
                      <a:pt x="324" y="236"/>
                    </a:lnTo>
                    <a:lnTo>
                      <a:pt x="322" y="242"/>
                    </a:lnTo>
                    <a:lnTo>
                      <a:pt x="322" y="242"/>
                    </a:lnTo>
                    <a:lnTo>
                      <a:pt x="320" y="246"/>
                    </a:lnTo>
                    <a:lnTo>
                      <a:pt x="318" y="252"/>
                    </a:lnTo>
                    <a:lnTo>
                      <a:pt x="320" y="260"/>
                    </a:lnTo>
                    <a:lnTo>
                      <a:pt x="324" y="266"/>
                    </a:lnTo>
                    <a:lnTo>
                      <a:pt x="324" y="270"/>
                    </a:lnTo>
                    <a:lnTo>
                      <a:pt x="324" y="274"/>
                    </a:lnTo>
                    <a:lnTo>
                      <a:pt x="324" y="274"/>
                    </a:lnTo>
                    <a:lnTo>
                      <a:pt x="322" y="278"/>
                    </a:lnTo>
                    <a:lnTo>
                      <a:pt x="322" y="282"/>
                    </a:lnTo>
                    <a:lnTo>
                      <a:pt x="324" y="292"/>
                    </a:lnTo>
                    <a:lnTo>
                      <a:pt x="334" y="312"/>
                    </a:lnTo>
                    <a:lnTo>
                      <a:pt x="334" y="312"/>
                    </a:lnTo>
                    <a:lnTo>
                      <a:pt x="336" y="318"/>
                    </a:lnTo>
                    <a:lnTo>
                      <a:pt x="336" y="322"/>
                    </a:lnTo>
                    <a:lnTo>
                      <a:pt x="336" y="324"/>
                    </a:lnTo>
                    <a:lnTo>
                      <a:pt x="340" y="326"/>
                    </a:lnTo>
                    <a:lnTo>
                      <a:pt x="340" y="326"/>
                    </a:lnTo>
                    <a:lnTo>
                      <a:pt x="342" y="328"/>
                    </a:lnTo>
                    <a:lnTo>
                      <a:pt x="342" y="330"/>
                    </a:lnTo>
                    <a:lnTo>
                      <a:pt x="342" y="334"/>
                    </a:lnTo>
                    <a:lnTo>
                      <a:pt x="344" y="338"/>
                    </a:lnTo>
                    <a:lnTo>
                      <a:pt x="346" y="338"/>
                    </a:lnTo>
                    <a:lnTo>
                      <a:pt x="348" y="338"/>
                    </a:lnTo>
                    <a:lnTo>
                      <a:pt x="348" y="338"/>
                    </a:lnTo>
                    <a:lnTo>
                      <a:pt x="352" y="338"/>
                    </a:lnTo>
                    <a:lnTo>
                      <a:pt x="356" y="340"/>
                    </a:lnTo>
                    <a:lnTo>
                      <a:pt x="360" y="342"/>
                    </a:lnTo>
                    <a:lnTo>
                      <a:pt x="360" y="342"/>
                    </a:lnTo>
                    <a:lnTo>
                      <a:pt x="366" y="346"/>
                    </a:lnTo>
                    <a:lnTo>
                      <a:pt x="372" y="346"/>
                    </a:lnTo>
                    <a:lnTo>
                      <a:pt x="378" y="344"/>
                    </a:lnTo>
                    <a:lnTo>
                      <a:pt x="378" y="344"/>
                    </a:lnTo>
                    <a:lnTo>
                      <a:pt x="386" y="340"/>
                    </a:lnTo>
                    <a:lnTo>
                      <a:pt x="392" y="340"/>
                    </a:lnTo>
                    <a:lnTo>
                      <a:pt x="398" y="338"/>
                    </a:lnTo>
                    <a:lnTo>
                      <a:pt x="406" y="336"/>
                    </a:lnTo>
                    <a:lnTo>
                      <a:pt x="406" y="336"/>
                    </a:lnTo>
                    <a:lnTo>
                      <a:pt x="412" y="334"/>
                    </a:lnTo>
                    <a:lnTo>
                      <a:pt x="416" y="332"/>
                    </a:lnTo>
                    <a:lnTo>
                      <a:pt x="420" y="332"/>
                    </a:lnTo>
                    <a:lnTo>
                      <a:pt x="424" y="330"/>
                    </a:lnTo>
                    <a:lnTo>
                      <a:pt x="424" y="330"/>
                    </a:lnTo>
                    <a:lnTo>
                      <a:pt x="428" y="328"/>
                    </a:lnTo>
                    <a:lnTo>
                      <a:pt x="432" y="328"/>
                    </a:lnTo>
                    <a:lnTo>
                      <a:pt x="432" y="330"/>
                    </a:lnTo>
                    <a:lnTo>
                      <a:pt x="430" y="330"/>
                    </a:lnTo>
                    <a:lnTo>
                      <a:pt x="430" y="330"/>
                    </a:lnTo>
                    <a:lnTo>
                      <a:pt x="426" y="332"/>
                    </a:lnTo>
                    <a:lnTo>
                      <a:pt x="426" y="334"/>
                    </a:lnTo>
                    <a:lnTo>
                      <a:pt x="428" y="334"/>
                    </a:lnTo>
                    <a:lnTo>
                      <a:pt x="434" y="332"/>
                    </a:lnTo>
                    <a:lnTo>
                      <a:pt x="434" y="332"/>
                    </a:lnTo>
                    <a:lnTo>
                      <a:pt x="438" y="330"/>
                    </a:lnTo>
                    <a:lnTo>
                      <a:pt x="436" y="328"/>
                    </a:lnTo>
                    <a:lnTo>
                      <a:pt x="436" y="326"/>
                    </a:lnTo>
                    <a:lnTo>
                      <a:pt x="436" y="326"/>
                    </a:lnTo>
                    <a:lnTo>
                      <a:pt x="442" y="322"/>
                    </a:lnTo>
                    <a:lnTo>
                      <a:pt x="442" y="322"/>
                    </a:lnTo>
                    <a:lnTo>
                      <a:pt x="444" y="320"/>
                    </a:lnTo>
                    <a:lnTo>
                      <a:pt x="446" y="318"/>
                    </a:lnTo>
                    <a:lnTo>
                      <a:pt x="446" y="312"/>
                    </a:lnTo>
                    <a:lnTo>
                      <a:pt x="448" y="308"/>
                    </a:lnTo>
                    <a:lnTo>
                      <a:pt x="450" y="306"/>
                    </a:lnTo>
                    <a:lnTo>
                      <a:pt x="452" y="304"/>
                    </a:lnTo>
                    <a:lnTo>
                      <a:pt x="452" y="304"/>
                    </a:lnTo>
                    <a:lnTo>
                      <a:pt x="454" y="302"/>
                    </a:lnTo>
                    <a:lnTo>
                      <a:pt x="456" y="296"/>
                    </a:lnTo>
                    <a:lnTo>
                      <a:pt x="456" y="280"/>
                    </a:lnTo>
                    <a:lnTo>
                      <a:pt x="456" y="280"/>
                    </a:lnTo>
                    <a:lnTo>
                      <a:pt x="456" y="276"/>
                    </a:lnTo>
                    <a:lnTo>
                      <a:pt x="460" y="274"/>
                    </a:lnTo>
                    <a:lnTo>
                      <a:pt x="470" y="268"/>
                    </a:lnTo>
                    <a:lnTo>
                      <a:pt x="482" y="266"/>
                    </a:lnTo>
                    <a:lnTo>
                      <a:pt x="488" y="266"/>
                    </a:lnTo>
                    <a:lnTo>
                      <a:pt x="488" y="266"/>
                    </a:lnTo>
                    <a:lnTo>
                      <a:pt x="492" y="268"/>
                    </a:lnTo>
                    <a:lnTo>
                      <a:pt x="498" y="266"/>
                    </a:lnTo>
                    <a:lnTo>
                      <a:pt x="504" y="264"/>
                    </a:lnTo>
                    <a:lnTo>
                      <a:pt x="514" y="264"/>
                    </a:lnTo>
                    <a:lnTo>
                      <a:pt x="514" y="264"/>
                    </a:lnTo>
                    <a:lnTo>
                      <a:pt x="520" y="264"/>
                    </a:lnTo>
                    <a:lnTo>
                      <a:pt x="524" y="264"/>
                    </a:lnTo>
                    <a:lnTo>
                      <a:pt x="526" y="264"/>
                    </a:lnTo>
                    <a:lnTo>
                      <a:pt x="528" y="266"/>
                    </a:lnTo>
                    <a:lnTo>
                      <a:pt x="528" y="266"/>
                    </a:lnTo>
                    <a:lnTo>
                      <a:pt x="532" y="270"/>
                    </a:lnTo>
                    <a:lnTo>
                      <a:pt x="532" y="270"/>
                    </a:lnTo>
                    <a:lnTo>
                      <a:pt x="534" y="272"/>
                    </a:lnTo>
                    <a:lnTo>
                      <a:pt x="536" y="274"/>
                    </a:lnTo>
                    <a:lnTo>
                      <a:pt x="536" y="274"/>
                    </a:lnTo>
                    <a:lnTo>
                      <a:pt x="536" y="280"/>
                    </a:lnTo>
                    <a:lnTo>
                      <a:pt x="534" y="284"/>
                    </a:lnTo>
                    <a:lnTo>
                      <a:pt x="530" y="288"/>
                    </a:lnTo>
                    <a:lnTo>
                      <a:pt x="526" y="292"/>
                    </a:lnTo>
                    <a:lnTo>
                      <a:pt x="526" y="292"/>
                    </a:lnTo>
                    <a:lnTo>
                      <a:pt x="524" y="300"/>
                    </a:lnTo>
                    <a:lnTo>
                      <a:pt x="522" y="304"/>
                    </a:lnTo>
                    <a:lnTo>
                      <a:pt x="518" y="304"/>
                    </a:lnTo>
                    <a:lnTo>
                      <a:pt x="518" y="304"/>
                    </a:lnTo>
                    <a:lnTo>
                      <a:pt x="516" y="306"/>
                    </a:lnTo>
                    <a:lnTo>
                      <a:pt x="516" y="306"/>
                    </a:lnTo>
                    <a:lnTo>
                      <a:pt x="518" y="306"/>
                    </a:lnTo>
                    <a:lnTo>
                      <a:pt x="518" y="306"/>
                    </a:lnTo>
                    <a:lnTo>
                      <a:pt x="518" y="306"/>
                    </a:lnTo>
                    <a:lnTo>
                      <a:pt x="520" y="308"/>
                    </a:lnTo>
                    <a:lnTo>
                      <a:pt x="520" y="310"/>
                    </a:lnTo>
                    <a:lnTo>
                      <a:pt x="516" y="314"/>
                    </a:lnTo>
                    <a:lnTo>
                      <a:pt x="516" y="314"/>
                    </a:lnTo>
                    <a:lnTo>
                      <a:pt x="512" y="322"/>
                    </a:lnTo>
                    <a:lnTo>
                      <a:pt x="508" y="330"/>
                    </a:lnTo>
                    <a:lnTo>
                      <a:pt x="506" y="338"/>
                    </a:lnTo>
                    <a:lnTo>
                      <a:pt x="504" y="342"/>
                    </a:lnTo>
                    <a:lnTo>
                      <a:pt x="504" y="342"/>
                    </a:lnTo>
                    <a:lnTo>
                      <a:pt x="502" y="344"/>
                    </a:lnTo>
                    <a:lnTo>
                      <a:pt x="502" y="350"/>
                    </a:lnTo>
                    <a:lnTo>
                      <a:pt x="502" y="354"/>
                    </a:lnTo>
                    <a:lnTo>
                      <a:pt x="500" y="356"/>
                    </a:lnTo>
                    <a:lnTo>
                      <a:pt x="500" y="356"/>
                    </a:lnTo>
                    <a:lnTo>
                      <a:pt x="500" y="350"/>
                    </a:lnTo>
                    <a:lnTo>
                      <a:pt x="498" y="346"/>
                    </a:lnTo>
                    <a:lnTo>
                      <a:pt x="498" y="344"/>
                    </a:lnTo>
                    <a:lnTo>
                      <a:pt x="498" y="338"/>
                    </a:lnTo>
                    <a:lnTo>
                      <a:pt x="498" y="338"/>
                    </a:lnTo>
                    <a:lnTo>
                      <a:pt x="494" y="344"/>
                    </a:lnTo>
                    <a:lnTo>
                      <a:pt x="492" y="346"/>
                    </a:lnTo>
                    <a:lnTo>
                      <a:pt x="492" y="346"/>
                    </a:lnTo>
                    <a:lnTo>
                      <a:pt x="492" y="346"/>
                    </a:lnTo>
                    <a:lnTo>
                      <a:pt x="484" y="354"/>
                    </a:lnTo>
                    <a:lnTo>
                      <a:pt x="480" y="358"/>
                    </a:lnTo>
                    <a:lnTo>
                      <a:pt x="478" y="358"/>
                    </a:lnTo>
                    <a:lnTo>
                      <a:pt x="476" y="358"/>
                    </a:lnTo>
                    <a:lnTo>
                      <a:pt x="474" y="356"/>
                    </a:lnTo>
                    <a:lnTo>
                      <a:pt x="472" y="356"/>
                    </a:lnTo>
                    <a:lnTo>
                      <a:pt x="468" y="360"/>
                    </a:lnTo>
                    <a:lnTo>
                      <a:pt x="434" y="360"/>
                    </a:lnTo>
                    <a:lnTo>
                      <a:pt x="434" y="360"/>
                    </a:lnTo>
                    <a:lnTo>
                      <a:pt x="432" y="364"/>
                    </a:lnTo>
                    <a:lnTo>
                      <a:pt x="434" y="368"/>
                    </a:lnTo>
                    <a:lnTo>
                      <a:pt x="436" y="370"/>
                    </a:lnTo>
                    <a:lnTo>
                      <a:pt x="438" y="374"/>
                    </a:lnTo>
                    <a:lnTo>
                      <a:pt x="438" y="374"/>
                    </a:lnTo>
                    <a:lnTo>
                      <a:pt x="436" y="378"/>
                    </a:lnTo>
                    <a:lnTo>
                      <a:pt x="432" y="378"/>
                    </a:lnTo>
                    <a:lnTo>
                      <a:pt x="428" y="380"/>
                    </a:lnTo>
                    <a:lnTo>
                      <a:pt x="426" y="384"/>
                    </a:lnTo>
                    <a:lnTo>
                      <a:pt x="426" y="384"/>
                    </a:lnTo>
                    <a:lnTo>
                      <a:pt x="428" y="386"/>
                    </a:lnTo>
                    <a:lnTo>
                      <a:pt x="432" y="388"/>
                    </a:lnTo>
                    <a:lnTo>
                      <a:pt x="436" y="390"/>
                    </a:lnTo>
                    <a:lnTo>
                      <a:pt x="436" y="392"/>
                    </a:lnTo>
                    <a:lnTo>
                      <a:pt x="436" y="392"/>
                    </a:lnTo>
                    <a:lnTo>
                      <a:pt x="436" y="396"/>
                    </a:lnTo>
                    <a:lnTo>
                      <a:pt x="438" y="398"/>
                    </a:lnTo>
                    <a:lnTo>
                      <a:pt x="440" y="400"/>
                    </a:lnTo>
                    <a:lnTo>
                      <a:pt x="440" y="404"/>
                    </a:lnTo>
                    <a:lnTo>
                      <a:pt x="440" y="404"/>
                    </a:lnTo>
                    <a:lnTo>
                      <a:pt x="424" y="402"/>
                    </a:lnTo>
                    <a:lnTo>
                      <a:pt x="418" y="404"/>
                    </a:lnTo>
                    <a:lnTo>
                      <a:pt x="412" y="406"/>
                    </a:lnTo>
                    <a:lnTo>
                      <a:pt x="408" y="410"/>
                    </a:lnTo>
                    <a:lnTo>
                      <a:pt x="402" y="416"/>
                    </a:lnTo>
                    <a:lnTo>
                      <a:pt x="400" y="426"/>
                    </a:lnTo>
                    <a:lnTo>
                      <a:pt x="396" y="440"/>
                    </a:lnTo>
                    <a:lnTo>
                      <a:pt x="396" y="440"/>
                    </a:lnTo>
                    <a:lnTo>
                      <a:pt x="392" y="434"/>
                    </a:lnTo>
                    <a:lnTo>
                      <a:pt x="388" y="428"/>
                    </a:lnTo>
                    <a:lnTo>
                      <a:pt x="380" y="420"/>
                    </a:lnTo>
                    <a:lnTo>
                      <a:pt x="380" y="420"/>
                    </a:lnTo>
                    <a:lnTo>
                      <a:pt x="368" y="412"/>
                    </a:lnTo>
                    <a:lnTo>
                      <a:pt x="362" y="408"/>
                    </a:lnTo>
                    <a:lnTo>
                      <a:pt x="358" y="408"/>
                    </a:lnTo>
                    <a:lnTo>
                      <a:pt x="354" y="406"/>
                    </a:lnTo>
                    <a:lnTo>
                      <a:pt x="354" y="406"/>
                    </a:lnTo>
                    <a:lnTo>
                      <a:pt x="358" y="404"/>
                    </a:lnTo>
                    <a:lnTo>
                      <a:pt x="358" y="402"/>
                    </a:lnTo>
                    <a:lnTo>
                      <a:pt x="358" y="400"/>
                    </a:lnTo>
                    <a:lnTo>
                      <a:pt x="356" y="402"/>
                    </a:lnTo>
                    <a:lnTo>
                      <a:pt x="356" y="402"/>
                    </a:lnTo>
                    <a:lnTo>
                      <a:pt x="352" y="402"/>
                    </a:lnTo>
                    <a:lnTo>
                      <a:pt x="350" y="402"/>
                    </a:lnTo>
                    <a:lnTo>
                      <a:pt x="348" y="402"/>
                    </a:lnTo>
                    <a:lnTo>
                      <a:pt x="346" y="404"/>
                    </a:lnTo>
                    <a:lnTo>
                      <a:pt x="346" y="404"/>
                    </a:lnTo>
                    <a:lnTo>
                      <a:pt x="344" y="404"/>
                    </a:lnTo>
                    <a:lnTo>
                      <a:pt x="346" y="406"/>
                    </a:lnTo>
                    <a:lnTo>
                      <a:pt x="348" y="406"/>
                    </a:lnTo>
                    <a:lnTo>
                      <a:pt x="350" y="406"/>
                    </a:lnTo>
                    <a:lnTo>
                      <a:pt x="346" y="408"/>
                    </a:lnTo>
                    <a:lnTo>
                      <a:pt x="346" y="408"/>
                    </a:lnTo>
                    <a:lnTo>
                      <a:pt x="340" y="408"/>
                    </a:lnTo>
                    <a:lnTo>
                      <a:pt x="338" y="410"/>
                    </a:lnTo>
                    <a:lnTo>
                      <a:pt x="334" y="412"/>
                    </a:lnTo>
                    <a:lnTo>
                      <a:pt x="328" y="412"/>
                    </a:lnTo>
                    <a:lnTo>
                      <a:pt x="328" y="412"/>
                    </a:lnTo>
                    <a:lnTo>
                      <a:pt x="322" y="414"/>
                    </a:lnTo>
                    <a:lnTo>
                      <a:pt x="318" y="416"/>
                    </a:lnTo>
                    <a:lnTo>
                      <a:pt x="312" y="416"/>
                    </a:lnTo>
                    <a:lnTo>
                      <a:pt x="304" y="412"/>
                    </a:lnTo>
                    <a:lnTo>
                      <a:pt x="304" y="412"/>
                    </a:lnTo>
                    <a:lnTo>
                      <a:pt x="300" y="412"/>
                    </a:lnTo>
                    <a:lnTo>
                      <a:pt x="294" y="412"/>
                    </a:lnTo>
                    <a:lnTo>
                      <a:pt x="290" y="410"/>
                    </a:lnTo>
                    <a:lnTo>
                      <a:pt x="284" y="406"/>
                    </a:lnTo>
                    <a:lnTo>
                      <a:pt x="284" y="406"/>
                    </a:lnTo>
                    <a:lnTo>
                      <a:pt x="282" y="404"/>
                    </a:lnTo>
                    <a:lnTo>
                      <a:pt x="278" y="404"/>
                    </a:lnTo>
                    <a:lnTo>
                      <a:pt x="274" y="402"/>
                    </a:lnTo>
                    <a:lnTo>
                      <a:pt x="270" y="396"/>
                    </a:lnTo>
                    <a:lnTo>
                      <a:pt x="270" y="396"/>
                    </a:lnTo>
                    <a:lnTo>
                      <a:pt x="266" y="394"/>
                    </a:lnTo>
                    <a:lnTo>
                      <a:pt x="260" y="392"/>
                    </a:lnTo>
                    <a:lnTo>
                      <a:pt x="256" y="392"/>
                    </a:lnTo>
                    <a:lnTo>
                      <a:pt x="250" y="386"/>
                    </a:lnTo>
                    <a:lnTo>
                      <a:pt x="250" y="386"/>
                    </a:lnTo>
                    <a:lnTo>
                      <a:pt x="248" y="384"/>
                    </a:lnTo>
                    <a:lnTo>
                      <a:pt x="242" y="382"/>
                    </a:lnTo>
                    <a:lnTo>
                      <a:pt x="234" y="378"/>
                    </a:lnTo>
                    <a:lnTo>
                      <a:pt x="224" y="374"/>
                    </a:lnTo>
                    <a:lnTo>
                      <a:pt x="220" y="370"/>
                    </a:lnTo>
                    <a:lnTo>
                      <a:pt x="216" y="366"/>
                    </a:lnTo>
                    <a:lnTo>
                      <a:pt x="216" y="366"/>
                    </a:lnTo>
                    <a:lnTo>
                      <a:pt x="214" y="360"/>
                    </a:lnTo>
                    <a:lnTo>
                      <a:pt x="212" y="360"/>
                    </a:lnTo>
                    <a:lnTo>
                      <a:pt x="208" y="360"/>
                    </a:lnTo>
                    <a:lnTo>
                      <a:pt x="200" y="358"/>
                    </a:lnTo>
                    <a:lnTo>
                      <a:pt x="200" y="358"/>
                    </a:lnTo>
                    <a:lnTo>
                      <a:pt x="186" y="352"/>
                    </a:lnTo>
                    <a:lnTo>
                      <a:pt x="182" y="348"/>
                    </a:lnTo>
                    <a:lnTo>
                      <a:pt x="182" y="346"/>
                    </a:lnTo>
                    <a:lnTo>
                      <a:pt x="178" y="344"/>
                    </a:lnTo>
                    <a:lnTo>
                      <a:pt x="178" y="344"/>
                    </a:lnTo>
                    <a:lnTo>
                      <a:pt x="174" y="342"/>
                    </a:lnTo>
                    <a:lnTo>
                      <a:pt x="170" y="340"/>
                    </a:lnTo>
                    <a:lnTo>
                      <a:pt x="168" y="338"/>
                    </a:lnTo>
                    <a:lnTo>
                      <a:pt x="164" y="336"/>
                    </a:lnTo>
                    <a:lnTo>
                      <a:pt x="164" y="336"/>
                    </a:lnTo>
                    <a:lnTo>
                      <a:pt x="162" y="334"/>
                    </a:lnTo>
                    <a:lnTo>
                      <a:pt x="162" y="332"/>
                    </a:lnTo>
                    <a:lnTo>
                      <a:pt x="162" y="330"/>
                    </a:lnTo>
                    <a:lnTo>
                      <a:pt x="158" y="328"/>
                    </a:lnTo>
                    <a:lnTo>
                      <a:pt x="158" y="328"/>
                    </a:lnTo>
                    <a:lnTo>
                      <a:pt x="154" y="324"/>
                    </a:lnTo>
                    <a:lnTo>
                      <a:pt x="152" y="320"/>
                    </a:lnTo>
                    <a:lnTo>
                      <a:pt x="148" y="314"/>
                    </a:lnTo>
                    <a:lnTo>
                      <a:pt x="146" y="310"/>
                    </a:lnTo>
                    <a:lnTo>
                      <a:pt x="146" y="310"/>
                    </a:lnTo>
                    <a:lnTo>
                      <a:pt x="144" y="308"/>
                    </a:lnTo>
                    <a:lnTo>
                      <a:pt x="146" y="308"/>
                    </a:lnTo>
                    <a:lnTo>
                      <a:pt x="148" y="304"/>
                    </a:lnTo>
                    <a:lnTo>
                      <a:pt x="152" y="302"/>
                    </a:lnTo>
                    <a:lnTo>
                      <a:pt x="148" y="300"/>
                    </a:lnTo>
                    <a:lnTo>
                      <a:pt x="148" y="300"/>
                    </a:lnTo>
                    <a:lnTo>
                      <a:pt x="144" y="300"/>
                    </a:lnTo>
                    <a:lnTo>
                      <a:pt x="146" y="296"/>
                    </a:lnTo>
                    <a:lnTo>
                      <a:pt x="150" y="292"/>
                    </a:lnTo>
                    <a:lnTo>
                      <a:pt x="154" y="286"/>
                    </a:lnTo>
                    <a:lnTo>
                      <a:pt x="154" y="286"/>
                    </a:lnTo>
                    <a:lnTo>
                      <a:pt x="156" y="282"/>
                    </a:lnTo>
                    <a:lnTo>
                      <a:pt x="158" y="282"/>
                    </a:lnTo>
                    <a:lnTo>
                      <a:pt x="160" y="282"/>
                    </a:lnTo>
                    <a:lnTo>
                      <a:pt x="158" y="278"/>
                    </a:lnTo>
                    <a:lnTo>
                      <a:pt x="158" y="278"/>
                    </a:lnTo>
                    <a:lnTo>
                      <a:pt x="158" y="274"/>
                    </a:lnTo>
                    <a:lnTo>
                      <a:pt x="160" y="274"/>
                    </a:lnTo>
                    <a:lnTo>
                      <a:pt x="162" y="274"/>
                    </a:lnTo>
                    <a:lnTo>
                      <a:pt x="160" y="266"/>
                    </a:lnTo>
                    <a:lnTo>
                      <a:pt x="160" y="266"/>
                    </a:lnTo>
                    <a:lnTo>
                      <a:pt x="158" y="260"/>
                    </a:lnTo>
                    <a:lnTo>
                      <a:pt x="158" y="258"/>
                    </a:lnTo>
                    <a:lnTo>
                      <a:pt x="156" y="252"/>
                    </a:lnTo>
                    <a:lnTo>
                      <a:pt x="150" y="242"/>
                    </a:lnTo>
                    <a:lnTo>
                      <a:pt x="150" y="242"/>
                    </a:lnTo>
                    <a:lnTo>
                      <a:pt x="140" y="222"/>
                    </a:lnTo>
                    <a:lnTo>
                      <a:pt x="134" y="210"/>
                    </a:lnTo>
                    <a:lnTo>
                      <a:pt x="124" y="194"/>
                    </a:lnTo>
                    <a:lnTo>
                      <a:pt x="124" y="194"/>
                    </a:lnTo>
                    <a:lnTo>
                      <a:pt x="124" y="192"/>
                    </a:lnTo>
                    <a:lnTo>
                      <a:pt x="126" y="192"/>
                    </a:lnTo>
                    <a:lnTo>
                      <a:pt x="128" y="194"/>
                    </a:lnTo>
                    <a:lnTo>
                      <a:pt x="130" y="194"/>
                    </a:lnTo>
                    <a:lnTo>
                      <a:pt x="126" y="188"/>
                    </a:lnTo>
                    <a:lnTo>
                      <a:pt x="126" y="188"/>
                    </a:lnTo>
                    <a:lnTo>
                      <a:pt x="122" y="186"/>
                    </a:lnTo>
                    <a:lnTo>
                      <a:pt x="122" y="186"/>
                    </a:lnTo>
                    <a:lnTo>
                      <a:pt x="122" y="188"/>
                    </a:lnTo>
                    <a:lnTo>
                      <a:pt x="118" y="186"/>
                    </a:lnTo>
                    <a:lnTo>
                      <a:pt x="118" y="186"/>
                    </a:lnTo>
                    <a:lnTo>
                      <a:pt x="112" y="180"/>
                    </a:lnTo>
                    <a:lnTo>
                      <a:pt x="110" y="178"/>
                    </a:lnTo>
                    <a:lnTo>
                      <a:pt x="110" y="174"/>
                    </a:lnTo>
                    <a:lnTo>
                      <a:pt x="110" y="174"/>
                    </a:lnTo>
                    <a:lnTo>
                      <a:pt x="108" y="172"/>
                    </a:lnTo>
                    <a:lnTo>
                      <a:pt x="108" y="172"/>
                    </a:lnTo>
                    <a:lnTo>
                      <a:pt x="106" y="172"/>
                    </a:lnTo>
                    <a:lnTo>
                      <a:pt x="106" y="166"/>
                    </a:lnTo>
                    <a:lnTo>
                      <a:pt x="106" y="166"/>
                    </a:lnTo>
                    <a:lnTo>
                      <a:pt x="108" y="160"/>
                    </a:lnTo>
                    <a:lnTo>
                      <a:pt x="110" y="156"/>
                    </a:lnTo>
                    <a:lnTo>
                      <a:pt x="110" y="152"/>
                    </a:lnTo>
                    <a:lnTo>
                      <a:pt x="110" y="152"/>
                    </a:lnTo>
                    <a:lnTo>
                      <a:pt x="104" y="144"/>
                    </a:lnTo>
                    <a:lnTo>
                      <a:pt x="102" y="142"/>
                    </a:lnTo>
                    <a:lnTo>
                      <a:pt x="100" y="142"/>
                    </a:lnTo>
                    <a:lnTo>
                      <a:pt x="100" y="142"/>
                    </a:lnTo>
                    <a:lnTo>
                      <a:pt x="98" y="142"/>
                    </a:lnTo>
                    <a:lnTo>
                      <a:pt x="96" y="140"/>
                    </a:lnTo>
                    <a:lnTo>
                      <a:pt x="94" y="134"/>
                    </a:lnTo>
                    <a:lnTo>
                      <a:pt x="94" y="134"/>
                    </a:lnTo>
                    <a:lnTo>
                      <a:pt x="94" y="130"/>
                    </a:lnTo>
                    <a:lnTo>
                      <a:pt x="90" y="126"/>
                    </a:lnTo>
                    <a:lnTo>
                      <a:pt x="86" y="124"/>
                    </a:lnTo>
                    <a:lnTo>
                      <a:pt x="86" y="118"/>
                    </a:lnTo>
                    <a:lnTo>
                      <a:pt x="86" y="118"/>
                    </a:lnTo>
                    <a:lnTo>
                      <a:pt x="88" y="114"/>
                    </a:lnTo>
                    <a:lnTo>
                      <a:pt x="86" y="112"/>
                    </a:lnTo>
                    <a:lnTo>
                      <a:pt x="86" y="110"/>
                    </a:lnTo>
                    <a:lnTo>
                      <a:pt x="84" y="112"/>
                    </a:lnTo>
                    <a:lnTo>
                      <a:pt x="84" y="112"/>
                    </a:lnTo>
                    <a:lnTo>
                      <a:pt x="84" y="114"/>
                    </a:lnTo>
                    <a:lnTo>
                      <a:pt x="82" y="112"/>
                    </a:lnTo>
                    <a:lnTo>
                      <a:pt x="78" y="106"/>
                    </a:lnTo>
                    <a:lnTo>
                      <a:pt x="78" y="106"/>
                    </a:lnTo>
                    <a:lnTo>
                      <a:pt x="72" y="98"/>
                    </a:lnTo>
                    <a:lnTo>
                      <a:pt x="72" y="96"/>
                    </a:lnTo>
                    <a:lnTo>
                      <a:pt x="72" y="94"/>
                    </a:lnTo>
                    <a:lnTo>
                      <a:pt x="72" y="94"/>
                    </a:lnTo>
                    <a:lnTo>
                      <a:pt x="72" y="90"/>
                    </a:lnTo>
                    <a:lnTo>
                      <a:pt x="72" y="88"/>
                    </a:lnTo>
                    <a:lnTo>
                      <a:pt x="70" y="84"/>
                    </a:lnTo>
                    <a:lnTo>
                      <a:pt x="70" y="76"/>
                    </a:lnTo>
                    <a:lnTo>
                      <a:pt x="70" y="76"/>
                    </a:lnTo>
                    <a:lnTo>
                      <a:pt x="70" y="66"/>
                    </a:lnTo>
                    <a:lnTo>
                      <a:pt x="70" y="62"/>
                    </a:lnTo>
                    <a:lnTo>
                      <a:pt x="68" y="58"/>
                    </a:lnTo>
                    <a:lnTo>
                      <a:pt x="68" y="58"/>
                    </a:lnTo>
                    <a:lnTo>
                      <a:pt x="66" y="54"/>
                    </a:lnTo>
                    <a:lnTo>
                      <a:pt x="66" y="52"/>
                    </a:lnTo>
                    <a:lnTo>
                      <a:pt x="68" y="44"/>
                    </a:lnTo>
                    <a:lnTo>
                      <a:pt x="68" y="42"/>
                    </a:lnTo>
                    <a:lnTo>
                      <a:pt x="66" y="38"/>
                    </a:lnTo>
                    <a:lnTo>
                      <a:pt x="64" y="34"/>
                    </a:lnTo>
                    <a:lnTo>
                      <a:pt x="58" y="32"/>
                    </a:lnTo>
                    <a:lnTo>
                      <a:pt x="58" y="32"/>
                    </a:lnTo>
                    <a:lnTo>
                      <a:pt x="58" y="28"/>
                    </a:lnTo>
                    <a:lnTo>
                      <a:pt x="56" y="26"/>
                    </a:lnTo>
                    <a:lnTo>
                      <a:pt x="54" y="24"/>
                    </a:lnTo>
                    <a:lnTo>
                      <a:pt x="50" y="26"/>
                    </a:lnTo>
                    <a:lnTo>
                      <a:pt x="50" y="26"/>
                    </a:lnTo>
                    <a:lnTo>
                      <a:pt x="48" y="28"/>
                    </a:lnTo>
                    <a:lnTo>
                      <a:pt x="46" y="26"/>
                    </a:lnTo>
                    <a:lnTo>
                      <a:pt x="44" y="22"/>
                    </a:lnTo>
                    <a:lnTo>
                      <a:pt x="40" y="20"/>
                    </a:lnTo>
                    <a:lnTo>
                      <a:pt x="40" y="20"/>
                    </a:lnTo>
                    <a:lnTo>
                      <a:pt x="42" y="24"/>
                    </a:lnTo>
                    <a:lnTo>
                      <a:pt x="42" y="28"/>
                    </a:lnTo>
                    <a:lnTo>
                      <a:pt x="40" y="36"/>
                    </a:lnTo>
                    <a:lnTo>
                      <a:pt x="38" y="42"/>
                    </a:lnTo>
                    <a:lnTo>
                      <a:pt x="38" y="44"/>
                    </a:lnTo>
                    <a:lnTo>
                      <a:pt x="40" y="46"/>
                    </a:lnTo>
                    <a:lnTo>
                      <a:pt x="40" y="46"/>
                    </a:lnTo>
                    <a:lnTo>
                      <a:pt x="40" y="52"/>
                    </a:lnTo>
                    <a:lnTo>
                      <a:pt x="38" y="62"/>
                    </a:lnTo>
                    <a:lnTo>
                      <a:pt x="40" y="72"/>
                    </a:lnTo>
                    <a:lnTo>
                      <a:pt x="42" y="78"/>
                    </a:lnTo>
                    <a:lnTo>
                      <a:pt x="42" y="78"/>
                    </a:lnTo>
                    <a:lnTo>
                      <a:pt x="46" y="84"/>
                    </a:lnTo>
                    <a:lnTo>
                      <a:pt x="50" y="90"/>
                    </a:lnTo>
                    <a:lnTo>
                      <a:pt x="54" y="98"/>
                    </a:lnTo>
                    <a:lnTo>
                      <a:pt x="54" y="104"/>
                    </a:lnTo>
                    <a:lnTo>
                      <a:pt x="54" y="106"/>
                    </a:lnTo>
                    <a:lnTo>
                      <a:pt x="56" y="106"/>
                    </a:lnTo>
                    <a:lnTo>
                      <a:pt x="56" y="106"/>
                    </a:lnTo>
                    <a:lnTo>
                      <a:pt x="56" y="106"/>
                    </a:lnTo>
                    <a:lnTo>
                      <a:pt x="58" y="110"/>
                    </a:lnTo>
                    <a:lnTo>
                      <a:pt x="58" y="114"/>
                    </a:lnTo>
                    <a:lnTo>
                      <a:pt x="58" y="116"/>
                    </a:lnTo>
                    <a:lnTo>
                      <a:pt x="58" y="116"/>
                    </a:lnTo>
                    <a:lnTo>
                      <a:pt x="60" y="118"/>
                    </a:lnTo>
                    <a:lnTo>
                      <a:pt x="58" y="122"/>
                    </a:lnTo>
                    <a:lnTo>
                      <a:pt x="58" y="126"/>
                    </a:lnTo>
                    <a:lnTo>
                      <a:pt x="62" y="130"/>
                    </a:lnTo>
                    <a:lnTo>
                      <a:pt x="62" y="130"/>
                    </a:lnTo>
                    <a:lnTo>
                      <a:pt x="66" y="136"/>
                    </a:lnTo>
                    <a:lnTo>
                      <a:pt x="66" y="140"/>
                    </a:lnTo>
                    <a:lnTo>
                      <a:pt x="66" y="144"/>
                    </a:lnTo>
                    <a:lnTo>
                      <a:pt x="68" y="148"/>
                    </a:lnTo>
                    <a:lnTo>
                      <a:pt x="68" y="148"/>
                    </a:lnTo>
                    <a:lnTo>
                      <a:pt x="70" y="150"/>
                    </a:lnTo>
                    <a:lnTo>
                      <a:pt x="68" y="150"/>
                    </a:lnTo>
                    <a:lnTo>
                      <a:pt x="68" y="152"/>
                    </a:lnTo>
                    <a:lnTo>
                      <a:pt x="68" y="156"/>
                    </a:lnTo>
                    <a:lnTo>
                      <a:pt x="68" y="156"/>
                    </a:lnTo>
                    <a:lnTo>
                      <a:pt x="66" y="162"/>
                    </a:lnTo>
                    <a:lnTo>
                      <a:pt x="64" y="166"/>
                    </a:lnTo>
                    <a:lnTo>
                      <a:pt x="66" y="168"/>
                    </a:lnTo>
                    <a:lnTo>
                      <a:pt x="66" y="168"/>
                    </a:lnTo>
                    <a:lnTo>
                      <a:pt x="66" y="168"/>
                    </a:lnTo>
                    <a:lnTo>
                      <a:pt x="68" y="166"/>
                    </a:lnTo>
                    <a:lnTo>
                      <a:pt x="70" y="164"/>
                    </a:lnTo>
                    <a:lnTo>
                      <a:pt x="68" y="162"/>
                    </a:lnTo>
                    <a:lnTo>
                      <a:pt x="68" y="160"/>
                    </a:lnTo>
                    <a:lnTo>
                      <a:pt x="68" y="160"/>
                    </a:lnTo>
                    <a:lnTo>
                      <a:pt x="70" y="154"/>
                    </a:lnTo>
                    <a:lnTo>
                      <a:pt x="70" y="154"/>
                    </a:lnTo>
                    <a:lnTo>
                      <a:pt x="74" y="160"/>
                    </a:lnTo>
                    <a:lnTo>
                      <a:pt x="74" y="160"/>
                    </a:lnTo>
                    <a:lnTo>
                      <a:pt x="76" y="164"/>
                    </a:lnTo>
                    <a:lnTo>
                      <a:pt x="76" y="168"/>
                    </a:lnTo>
                    <a:lnTo>
                      <a:pt x="74" y="174"/>
                    </a:lnTo>
                    <a:lnTo>
                      <a:pt x="74" y="174"/>
                    </a:lnTo>
                    <a:lnTo>
                      <a:pt x="74" y="184"/>
                    </a:lnTo>
                    <a:lnTo>
                      <a:pt x="74" y="188"/>
                    </a:lnTo>
                    <a:lnTo>
                      <a:pt x="72" y="192"/>
                    </a:lnTo>
                    <a:lnTo>
                      <a:pt x="72" y="192"/>
                    </a:lnTo>
                    <a:lnTo>
                      <a:pt x="70" y="194"/>
                    </a:lnTo>
                    <a:lnTo>
                      <a:pt x="72" y="198"/>
                    </a:lnTo>
                    <a:lnTo>
                      <a:pt x="74" y="202"/>
                    </a:lnTo>
                    <a:lnTo>
                      <a:pt x="76" y="202"/>
                    </a:lnTo>
                    <a:lnTo>
                      <a:pt x="78" y="202"/>
                    </a:lnTo>
                    <a:lnTo>
                      <a:pt x="78" y="202"/>
                    </a:lnTo>
                    <a:lnTo>
                      <a:pt x="80" y="202"/>
                    </a:lnTo>
                    <a:lnTo>
                      <a:pt x="82" y="204"/>
                    </a:lnTo>
                    <a:lnTo>
                      <a:pt x="82" y="208"/>
                    </a:lnTo>
                    <a:lnTo>
                      <a:pt x="84" y="210"/>
                    </a:lnTo>
                    <a:lnTo>
                      <a:pt x="84" y="210"/>
                    </a:lnTo>
                    <a:lnTo>
                      <a:pt x="86" y="210"/>
                    </a:lnTo>
                    <a:lnTo>
                      <a:pt x="86" y="214"/>
                    </a:lnTo>
                    <a:lnTo>
                      <a:pt x="86" y="218"/>
                    </a:lnTo>
                    <a:lnTo>
                      <a:pt x="86" y="220"/>
                    </a:lnTo>
                    <a:lnTo>
                      <a:pt x="86" y="220"/>
                    </a:lnTo>
                    <a:lnTo>
                      <a:pt x="88" y="222"/>
                    </a:lnTo>
                    <a:lnTo>
                      <a:pt x="88" y="226"/>
                    </a:lnTo>
                    <a:lnTo>
                      <a:pt x="84" y="230"/>
                    </a:lnTo>
                    <a:lnTo>
                      <a:pt x="76" y="234"/>
                    </a:lnTo>
                    <a:lnTo>
                      <a:pt x="76" y="234"/>
                    </a:lnTo>
                    <a:lnTo>
                      <a:pt x="72" y="234"/>
                    </a:lnTo>
                    <a:lnTo>
                      <a:pt x="70" y="232"/>
                    </a:lnTo>
                    <a:lnTo>
                      <a:pt x="68" y="228"/>
                    </a:lnTo>
                    <a:lnTo>
                      <a:pt x="66" y="220"/>
                    </a:lnTo>
                    <a:lnTo>
                      <a:pt x="64" y="216"/>
                    </a:lnTo>
                    <a:lnTo>
                      <a:pt x="60" y="214"/>
                    </a:lnTo>
                    <a:lnTo>
                      <a:pt x="60" y="214"/>
                    </a:lnTo>
                    <a:lnTo>
                      <a:pt x="54" y="210"/>
                    </a:lnTo>
                    <a:lnTo>
                      <a:pt x="50" y="204"/>
                    </a:lnTo>
                    <a:lnTo>
                      <a:pt x="48" y="198"/>
                    </a:lnTo>
                    <a:lnTo>
                      <a:pt x="48" y="198"/>
                    </a:lnTo>
                    <a:lnTo>
                      <a:pt x="46" y="192"/>
                    </a:lnTo>
                    <a:lnTo>
                      <a:pt x="44" y="190"/>
                    </a:lnTo>
                    <a:lnTo>
                      <a:pt x="42" y="190"/>
                    </a:lnTo>
                    <a:lnTo>
                      <a:pt x="42" y="190"/>
                    </a:lnTo>
                    <a:lnTo>
                      <a:pt x="42" y="192"/>
                    </a:lnTo>
                    <a:lnTo>
                      <a:pt x="40" y="190"/>
                    </a:lnTo>
                    <a:lnTo>
                      <a:pt x="40" y="186"/>
                    </a:lnTo>
                    <a:lnTo>
                      <a:pt x="42" y="176"/>
                    </a:lnTo>
                    <a:lnTo>
                      <a:pt x="42" y="176"/>
                    </a:lnTo>
                    <a:lnTo>
                      <a:pt x="44" y="168"/>
                    </a:lnTo>
                    <a:lnTo>
                      <a:pt x="44" y="162"/>
                    </a:lnTo>
                    <a:lnTo>
                      <a:pt x="42" y="158"/>
                    </a:lnTo>
                    <a:lnTo>
                      <a:pt x="40" y="154"/>
                    </a:lnTo>
                    <a:lnTo>
                      <a:pt x="34" y="148"/>
                    </a:lnTo>
                    <a:lnTo>
                      <a:pt x="32" y="144"/>
                    </a:lnTo>
                    <a:lnTo>
                      <a:pt x="32" y="140"/>
                    </a:lnTo>
                    <a:lnTo>
                      <a:pt x="32" y="140"/>
                    </a:lnTo>
                    <a:lnTo>
                      <a:pt x="30" y="142"/>
                    </a:lnTo>
                    <a:lnTo>
                      <a:pt x="28" y="140"/>
                    </a:lnTo>
                    <a:lnTo>
                      <a:pt x="26" y="138"/>
                    </a:lnTo>
                    <a:lnTo>
                      <a:pt x="24" y="140"/>
                    </a:lnTo>
                    <a:lnTo>
                      <a:pt x="24" y="140"/>
                    </a:lnTo>
                    <a:lnTo>
                      <a:pt x="20" y="140"/>
                    </a:lnTo>
                    <a:lnTo>
                      <a:pt x="20" y="138"/>
                    </a:lnTo>
                    <a:lnTo>
                      <a:pt x="16" y="132"/>
                    </a:lnTo>
                    <a:lnTo>
                      <a:pt x="10" y="128"/>
                    </a:lnTo>
                    <a:lnTo>
                      <a:pt x="10" y="128"/>
                    </a:lnTo>
                    <a:lnTo>
                      <a:pt x="8" y="126"/>
                    </a:lnTo>
                    <a:lnTo>
                      <a:pt x="10" y="124"/>
                    </a:lnTo>
                    <a:lnTo>
                      <a:pt x="10" y="122"/>
                    </a:lnTo>
                    <a:lnTo>
                      <a:pt x="6" y="118"/>
                    </a:lnTo>
                    <a:lnTo>
                      <a:pt x="6" y="118"/>
                    </a:lnTo>
                    <a:lnTo>
                      <a:pt x="4" y="116"/>
                    </a:lnTo>
                    <a:lnTo>
                      <a:pt x="4" y="114"/>
                    </a:lnTo>
                    <a:lnTo>
                      <a:pt x="12" y="114"/>
                    </a:lnTo>
                    <a:lnTo>
                      <a:pt x="12" y="114"/>
                    </a:lnTo>
                    <a:lnTo>
                      <a:pt x="16" y="114"/>
                    </a:lnTo>
                    <a:lnTo>
                      <a:pt x="20" y="112"/>
                    </a:lnTo>
                    <a:lnTo>
                      <a:pt x="20" y="112"/>
                    </a:lnTo>
                    <a:lnTo>
                      <a:pt x="22" y="114"/>
                    </a:lnTo>
                    <a:lnTo>
                      <a:pt x="22" y="114"/>
                    </a:lnTo>
                    <a:lnTo>
                      <a:pt x="24" y="116"/>
                    </a:lnTo>
                    <a:lnTo>
                      <a:pt x="26" y="116"/>
                    </a:lnTo>
                    <a:lnTo>
                      <a:pt x="26" y="114"/>
                    </a:lnTo>
                    <a:lnTo>
                      <a:pt x="26" y="112"/>
                    </a:lnTo>
                    <a:lnTo>
                      <a:pt x="26" y="112"/>
                    </a:lnTo>
                    <a:lnTo>
                      <a:pt x="24" y="112"/>
                    </a:lnTo>
                    <a:lnTo>
                      <a:pt x="22" y="110"/>
                    </a:lnTo>
                    <a:lnTo>
                      <a:pt x="26" y="106"/>
                    </a:lnTo>
                    <a:lnTo>
                      <a:pt x="26" y="106"/>
                    </a:lnTo>
                    <a:lnTo>
                      <a:pt x="28" y="104"/>
                    </a:lnTo>
                    <a:lnTo>
                      <a:pt x="30" y="98"/>
                    </a:lnTo>
                    <a:lnTo>
                      <a:pt x="26" y="92"/>
                    </a:lnTo>
                    <a:lnTo>
                      <a:pt x="20" y="84"/>
                    </a:lnTo>
                    <a:lnTo>
                      <a:pt x="20" y="84"/>
                    </a:lnTo>
                    <a:lnTo>
                      <a:pt x="8" y="72"/>
                    </a:lnTo>
                    <a:lnTo>
                      <a:pt x="6" y="68"/>
                    </a:lnTo>
                    <a:lnTo>
                      <a:pt x="6" y="64"/>
                    </a:lnTo>
                    <a:lnTo>
                      <a:pt x="6" y="64"/>
                    </a:lnTo>
                    <a:lnTo>
                      <a:pt x="6" y="60"/>
                    </a:lnTo>
                    <a:lnTo>
                      <a:pt x="4" y="60"/>
                    </a:lnTo>
                    <a:lnTo>
                      <a:pt x="2" y="60"/>
                    </a:lnTo>
                    <a:lnTo>
                      <a:pt x="4" y="54"/>
                    </a:lnTo>
                    <a:lnTo>
                      <a:pt x="4" y="54"/>
                    </a:lnTo>
                    <a:lnTo>
                      <a:pt x="4" y="48"/>
                    </a:lnTo>
                    <a:lnTo>
                      <a:pt x="2" y="46"/>
                    </a:lnTo>
                    <a:lnTo>
                      <a:pt x="0" y="44"/>
                    </a:lnTo>
                    <a:lnTo>
                      <a:pt x="2" y="38"/>
                    </a:lnTo>
                    <a:lnTo>
                      <a:pt x="2" y="38"/>
                    </a:lnTo>
                    <a:lnTo>
                      <a:pt x="2" y="34"/>
                    </a:lnTo>
                    <a:lnTo>
                      <a:pt x="2" y="32"/>
                    </a:lnTo>
                    <a:lnTo>
                      <a:pt x="0" y="28"/>
                    </a:lnTo>
                    <a:lnTo>
                      <a:pt x="2" y="24"/>
                    </a:lnTo>
                    <a:lnTo>
                      <a:pt x="2" y="24"/>
                    </a:lnTo>
                    <a:lnTo>
                      <a:pt x="4" y="18"/>
                    </a:lnTo>
                    <a:lnTo>
                      <a:pt x="2" y="14"/>
                    </a:lnTo>
                    <a:lnTo>
                      <a:pt x="0" y="12"/>
                    </a:lnTo>
                    <a:lnTo>
                      <a:pt x="2" y="8"/>
                    </a:lnTo>
                    <a:lnTo>
                      <a:pt x="2" y="8"/>
                    </a:lnTo>
                    <a:lnTo>
                      <a:pt x="4" y="4"/>
                    </a:lnTo>
                    <a:lnTo>
                      <a:pt x="4" y="2"/>
                    </a:lnTo>
                    <a:lnTo>
                      <a:pt x="2" y="2"/>
                    </a:lnTo>
                    <a:lnTo>
                      <a:pt x="4" y="0"/>
                    </a:lnTo>
                    <a:lnTo>
                      <a:pt x="4" y="0"/>
                    </a:lnTo>
                    <a:lnTo>
                      <a:pt x="30" y="0"/>
                    </a:lnTo>
                    <a:lnTo>
                      <a:pt x="50" y="0"/>
                    </a:lnTo>
                    <a:lnTo>
                      <a:pt x="50" y="4"/>
                    </a:lnTo>
                    <a:lnTo>
                      <a:pt x="114" y="30"/>
                    </a:lnTo>
                    <a:lnTo>
                      <a:pt x="162" y="30"/>
                    </a:lnTo>
                    <a:lnTo>
                      <a:pt x="168" y="22"/>
                    </a:lnTo>
                    <a:lnTo>
                      <a:pt x="200" y="22"/>
                    </a:lnTo>
                    <a:lnTo>
                      <a:pt x="200" y="22"/>
                    </a:lnTo>
                    <a:lnTo>
                      <a:pt x="202" y="24"/>
                    </a:lnTo>
                    <a:lnTo>
                      <a:pt x="210" y="30"/>
                    </a:lnTo>
                    <a:lnTo>
                      <a:pt x="210" y="30"/>
                    </a:lnTo>
                    <a:lnTo>
                      <a:pt x="214" y="34"/>
                    </a:lnTo>
                    <a:lnTo>
                      <a:pt x="214" y="36"/>
                    </a:lnTo>
                    <a:lnTo>
                      <a:pt x="216" y="38"/>
                    </a:lnTo>
                    <a:lnTo>
                      <a:pt x="220" y="42"/>
                    </a:lnTo>
                    <a:lnTo>
                      <a:pt x="220" y="42"/>
                    </a:lnTo>
                    <a:lnTo>
                      <a:pt x="224" y="46"/>
                    </a:lnTo>
                    <a:lnTo>
                      <a:pt x="226" y="50"/>
                    </a:lnTo>
                    <a:lnTo>
                      <a:pt x="226" y="56"/>
                    </a:lnTo>
                    <a:lnTo>
                      <a:pt x="226" y="64"/>
                    </a:lnTo>
                    <a:lnTo>
                      <a:pt x="226" y="66"/>
                    </a:lnTo>
                    <a:lnTo>
                      <a:pt x="230" y="70"/>
                    </a:lnTo>
                    <a:lnTo>
                      <a:pt x="230" y="70"/>
                    </a:lnTo>
                    <a:lnTo>
                      <a:pt x="238" y="76"/>
                    </a:lnTo>
                    <a:lnTo>
                      <a:pt x="244" y="78"/>
                    </a:lnTo>
                    <a:lnTo>
                      <a:pt x="248" y="78"/>
                    </a:lnTo>
                    <a:lnTo>
                      <a:pt x="252" y="72"/>
                    </a:lnTo>
                    <a:lnTo>
                      <a:pt x="252" y="72"/>
                    </a:lnTo>
                    <a:lnTo>
                      <a:pt x="256" y="68"/>
                    </a:lnTo>
                    <a:lnTo>
                      <a:pt x="258" y="66"/>
                    </a:lnTo>
                    <a:lnTo>
                      <a:pt x="262" y="66"/>
                    </a:lnTo>
                    <a:lnTo>
                      <a:pt x="264" y="64"/>
                    </a:lnTo>
                    <a:lnTo>
                      <a:pt x="264" y="64"/>
                    </a:lnTo>
                    <a:lnTo>
                      <a:pt x="266" y="64"/>
                    </a:lnTo>
                    <a:lnTo>
                      <a:pt x="268" y="64"/>
                    </a:lnTo>
                    <a:lnTo>
                      <a:pt x="278" y="68"/>
                    </a:lnTo>
                    <a:lnTo>
                      <a:pt x="278" y="68"/>
                    </a:lnTo>
                    <a:lnTo>
                      <a:pt x="286" y="70"/>
                    </a:lnTo>
                    <a:lnTo>
                      <a:pt x="290" y="76"/>
                    </a:lnTo>
                    <a:lnTo>
                      <a:pt x="296" y="84"/>
                    </a:lnTo>
                    <a:lnTo>
                      <a:pt x="300" y="100"/>
                    </a:lnTo>
                    <a:lnTo>
                      <a:pt x="300" y="100"/>
                    </a:lnTo>
                    <a:lnTo>
                      <a:pt x="304" y="120"/>
                    </a:lnTo>
                    <a:lnTo>
                      <a:pt x="308" y="128"/>
                    </a:lnTo>
                    <a:lnTo>
                      <a:pt x="310" y="132"/>
                    </a:lnTo>
                    <a:lnTo>
                      <a:pt x="312" y="140"/>
                    </a:lnTo>
                    <a:lnTo>
                      <a:pt x="312" y="140"/>
                    </a:lnTo>
                    <a:lnTo>
                      <a:pt x="312" y="148"/>
                    </a:lnTo>
                    <a:lnTo>
                      <a:pt x="314" y="150"/>
                    </a:lnTo>
                    <a:lnTo>
                      <a:pt x="316" y="152"/>
                    </a:lnTo>
                    <a:lnTo>
                      <a:pt x="326" y="156"/>
                    </a:lnTo>
                    <a:lnTo>
                      <a:pt x="346" y="160"/>
                    </a:lnTo>
                    <a:lnTo>
                      <a:pt x="346" y="160"/>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Norway"/>
              <p:cNvSpPr>
                <a:spLocks/>
              </p:cNvSpPr>
              <p:nvPr/>
            </p:nvSpPr>
            <p:spPr bwMode="auto">
              <a:xfrm>
                <a:off x="5898758" y="1348338"/>
                <a:ext cx="577152" cy="312588"/>
              </a:xfrm>
              <a:custGeom>
                <a:avLst/>
                <a:gdLst/>
                <a:ahLst/>
                <a:cxnLst>
                  <a:cxn ang="0">
                    <a:pos x="96" y="176"/>
                  </a:cxn>
                  <a:cxn ang="0">
                    <a:pos x="94" y="184"/>
                  </a:cxn>
                  <a:cxn ang="0">
                    <a:pos x="80" y="194"/>
                  </a:cxn>
                  <a:cxn ang="0">
                    <a:pos x="60" y="204"/>
                  </a:cxn>
                  <a:cxn ang="0">
                    <a:pos x="34" y="206"/>
                  </a:cxn>
                  <a:cxn ang="0">
                    <a:pos x="18" y="196"/>
                  </a:cxn>
                  <a:cxn ang="0">
                    <a:pos x="14" y="182"/>
                  </a:cxn>
                  <a:cxn ang="0">
                    <a:pos x="26" y="170"/>
                  </a:cxn>
                  <a:cxn ang="0">
                    <a:pos x="6" y="182"/>
                  </a:cxn>
                  <a:cxn ang="0">
                    <a:pos x="16" y="168"/>
                  </a:cxn>
                  <a:cxn ang="0">
                    <a:pos x="10" y="162"/>
                  </a:cxn>
                  <a:cxn ang="0">
                    <a:pos x="0" y="158"/>
                  </a:cxn>
                  <a:cxn ang="0">
                    <a:pos x="2" y="152"/>
                  </a:cxn>
                  <a:cxn ang="0">
                    <a:pos x="16" y="148"/>
                  </a:cxn>
                  <a:cxn ang="0">
                    <a:pos x="36" y="148"/>
                  </a:cxn>
                  <a:cxn ang="0">
                    <a:pos x="24" y="146"/>
                  </a:cxn>
                  <a:cxn ang="0">
                    <a:pos x="6" y="146"/>
                  </a:cxn>
                  <a:cxn ang="0">
                    <a:pos x="6" y="134"/>
                  </a:cxn>
                  <a:cxn ang="0">
                    <a:pos x="34" y="122"/>
                  </a:cxn>
                  <a:cxn ang="0">
                    <a:pos x="52" y="118"/>
                  </a:cxn>
                  <a:cxn ang="0">
                    <a:pos x="70" y="110"/>
                  </a:cxn>
                  <a:cxn ang="0">
                    <a:pos x="90" y="110"/>
                  </a:cxn>
                  <a:cxn ang="0">
                    <a:pos x="90" y="108"/>
                  </a:cxn>
                  <a:cxn ang="0">
                    <a:pos x="90" y="100"/>
                  </a:cxn>
                  <a:cxn ang="0">
                    <a:pos x="108" y="88"/>
                  </a:cxn>
                  <a:cxn ang="0">
                    <a:pos x="126" y="72"/>
                  </a:cxn>
                  <a:cxn ang="0">
                    <a:pos x="134" y="64"/>
                  </a:cxn>
                  <a:cxn ang="0">
                    <a:pos x="148" y="56"/>
                  </a:cxn>
                  <a:cxn ang="0">
                    <a:pos x="166" y="48"/>
                  </a:cxn>
                  <a:cxn ang="0">
                    <a:pos x="182" y="38"/>
                  </a:cxn>
                  <a:cxn ang="0">
                    <a:pos x="196" y="30"/>
                  </a:cxn>
                  <a:cxn ang="0">
                    <a:pos x="220" y="26"/>
                  </a:cxn>
                  <a:cxn ang="0">
                    <a:pos x="242" y="22"/>
                  </a:cxn>
                  <a:cxn ang="0">
                    <a:pos x="260" y="16"/>
                  </a:cxn>
                  <a:cxn ang="0">
                    <a:pos x="290" y="10"/>
                  </a:cxn>
                  <a:cxn ang="0">
                    <a:pos x="310" y="12"/>
                  </a:cxn>
                  <a:cxn ang="0">
                    <a:pos x="320" y="2"/>
                  </a:cxn>
                  <a:cxn ang="0">
                    <a:pos x="324" y="16"/>
                  </a:cxn>
                  <a:cxn ang="0">
                    <a:pos x="336" y="12"/>
                  </a:cxn>
                  <a:cxn ang="0">
                    <a:pos x="348" y="4"/>
                  </a:cxn>
                  <a:cxn ang="0">
                    <a:pos x="354" y="10"/>
                  </a:cxn>
                  <a:cxn ang="0">
                    <a:pos x="372" y="12"/>
                  </a:cxn>
                  <a:cxn ang="0">
                    <a:pos x="364" y="18"/>
                  </a:cxn>
                  <a:cxn ang="0">
                    <a:pos x="368" y="32"/>
                  </a:cxn>
                  <a:cxn ang="0">
                    <a:pos x="360" y="30"/>
                  </a:cxn>
                  <a:cxn ang="0">
                    <a:pos x="350" y="16"/>
                  </a:cxn>
                  <a:cxn ang="0">
                    <a:pos x="330" y="20"/>
                  </a:cxn>
                  <a:cxn ang="0">
                    <a:pos x="312" y="38"/>
                  </a:cxn>
                  <a:cxn ang="0">
                    <a:pos x="292" y="40"/>
                  </a:cxn>
                  <a:cxn ang="0">
                    <a:pos x="248" y="30"/>
                  </a:cxn>
                  <a:cxn ang="0">
                    <a:pos x="240" y="34"/>
                  </a:cxn>
                  <a:cxn ang="0">
                    <a:pos x="208" y="42"/>
                  </a:cxn>
                  <a:cxn ang="0">
                    <a:pos x="170" y="60"/>
                  </a:cxn>
                  <a:cxn ang="0">
                    <a:pos x="154" y="72"/>
                  </a:cxn>
                  <a:cxn ang="0">
                    <a:pos x="148" y="94"/>
                  </a:cxn>
                  <a:cxn ang="0">
                    <a:pos x="116" y="112"/>
                  </a:cxn>
                  <a:cxn ang="0">
                    <a:pos x="120" y="134"/>
                  </a:cxn>
                  <a:cxn ang="0">
                    <a:pos x="120" y="150"/>
                  </a:cxn>
                  <a:cxn ang="0">
                    <a:pos x="112" y="172"/>
                  </a:cxn>
                  <a:cxn ang="0">
                    <a:pos x="110" y="186"/>
                  </a:cxn>
                </a:cxnLst>
                <a:rect l="0" t="0" r="r" b="b"/>
                <a:pathLst>
                  <a:path w="380" h="206">
                    <a:moveTo>
                      <a:pt x="108" y="186"/>
                    </a:moveTo>
                    <a:lnTo>
                      <a:pt x="108" y="186"/>
                    </a:lnTo>
                    <a:lnTo>
                      <a:pt x="104" y="184"/>
                    </a:lnTo>
                    <a:lnTo>
                      <a:pt x="102" y="184"/>
                    </a:lnTo>
                    <a:lnTo>
                      <a:pt x="98" y="186"/>
                    </a:lnTo>
                    <a:lnTo>
                      <a:pt x="98" y="182"/>
                    </a:lnTo>
                    <a:lnTo>
                      <a:pt x="98" y="182"/>
                    </a:lnTo>
                    <a:lnTo>
                      <a:pt x="96" y="176"/>
                    </a:lnTo>
                    <a:lnTo>
                      <a:pt x="96" y="170"/>
                    </a:lnTo>
                    <a:lnTo>
                      <a:pt x="96" y="170"/>
                    </a:lnTo>
                    <a:lnTo>
                      <a:pt x="94" y="176"/>
                    </a:lnTo>
                    <a:lnTo>
                      <a:pt x="94" y="178"/>
                    </a:lnTo>
                    <a:lnTo>
                      <a:pt x="92" y="178"/>
                    </a:lnTo>
                    <a:lnTo>
                      <a:pt x="92" y="178"/>
                    </a:lnTo>
                    <a:lnTo>
                      <a:pt x="94" y="180"/>
                    </a:lnTo>
                    <a:lnTo>
                      <a:pt x="94" y="184"/>
                    </a:lnTo>
                    <a:lnTo>
                      <a:pt x="94" y="186"/>
                    </a:lnTo>
                    <a:lnTo>
                      <a:pt x="90" y="188"/>
                    </a:lnTo>
                    <a:lnTo>
                      <a:pt x="90" y="188"/>
                    </a:lnTo>
                    <a:lnTo>
                      <a:pt x="84" y="188"/>
                    </a:lnTo>
                    <a:lnTo>
                      <a:pt x="80" y="186"/>
                    </a:lnTo>
                    <a:lnTo>
                      <a:pt x="80" y="186"/>
                    </a:lnTo>
                    <a:lnTo>
                      <a:pt x="80" y="190"/>
                    </a:lnTo>
                    <a:lnTo>
                      <a:pt x="80" y="194"/>
                    </a:lnTo>
                    <a:lnTo>
                      <a:pt x="76" y="196"/>
                    </a:lnTo>
                    <a:lnTo>
                      <a:pt x="74" y="198"/>
                    </a:lnTo>
                    <a:lnTo>
                      <a:pt x="74" y="198"/>
                    </a:lnTo>
                    <a:lnTo>
                      <a:pt x="70" y="198"/>
                    </a:lnTo>
                    <a:lnTo>
                      <a:pt x="68" y="200"/>
                    </a:lnTo>
                    <a:lnTo>
                      <a:pt x="64" y="202"/>
                    </a:lnTo>
                    <a:lnTo>
                      <a:pt x="60" y="204"/>
                    </a:lnTo>
                    <a:lnTo>
                      <a:pt x="60" y="204"/>
                    </a:lnTo>
                    <a:lnTo>
                      <a:pt x="54" y="204"/>
                    </a:lnTo>
                    <a:lnTo>
                      <a:pt x="50" y="206"/>
                    </a:lnTo>
                    <a:lnTo>
                      <a:pt x="48" y="206"/>
                    </a:lnTo>
                    <a:lnTo>
                      <a:pt x="44" y="206"/>
                    </a:lnTo>
                    <a:lnTo>
                      <a:pt x="44" y="206"/>
                    </a:lnTo>
                    <a:lnTo>
                      <a:pt x="40" y="204"/>
                    </a:lnTo>
                    <a:lnTo>
                      <a:pt x="36" y="206"/>
                    </a:lnTo>
                    <a:lnTo>
                      <a:pt x="34" y="206"/>
                    </a:lnTo>
                    <a:lnTo>
                      <a:pt x="38" y="204"/>
                    </a:lnTo>
                    <a:lnTo>
                      <a:pt x="38" y="204"/>
                    </a:lnTo>
                    <a:lnTo>
                      <a:pt x="26" y="202"/>
                    </a:lnTo>
                    <a:lnTo>
                      <a:pt x="26" y="200"/>
                    </a:lnTo>
                    <a:lnTo>
                      <a:pt x="30" y="198"/>
                    </a:lnTo>
                    <a:lnTo>
                      <a:pt x="30" y="198"/>
                    </a:lnTo>
                    <a:lnTo>
                      <a:pt x="22" y="198"/>
                    </a:lnTo>
                    <a:lnTo>
                      <a:pt x="18" y="196"/>
                    </a:lnTo>
                    <a:lnTo>
                      <a:pt x="16" y="194"/>
                    </a:lnTo>
                    <a:lnTo>
                      <a:pt x="16" y="194"/>
                    </a:lnTo>
                    <a:lnTo>
                      <a:pt x="14" y="192"/>
                    </a:lnTo>
                    <a:lnTo>
                      <a:pt x="10" y="190"/>
                    </a:lnTo>
                    <a:lnTo>
                      <a:pt x="8" y="188"/>
                    </a:lnTo>
                    <a:lnTo>
                      <a:pt x="10" y="184"/>
                    </a:lnTo>
                    <a:lnTo>
                      <a:pt x="10" y="184"/>
                    </a:lnTo>
                    <a:lnTo>
                      <a:pt x="14" y="182"/>
                    </a:lnTo>
                    <a:lnTo>
                      <a:pt x="16" y="182"/>
                    </a:lnTo>
                    <a:lnTo>
                      <a:pt x="18" y="184"/>
                    </a:lnTo>
                    <a:lnTo>
                      <a:pt x="22" y="184"/>
                    </a:lnTo>
                    <a:lnTo>
                      <a:pt x="22" y="184"/>
                    </a:lnTo>
                    <a:lnTo>
                      <a:pt x="18" y="180"/>
                    </a:lnTo>
                    <a:lnTo>
                      <a:pt x="18" y="178"/>
                    </a:lnTo>
                    <a:lnTo>
                      <a:pt x="26" y="170"/>
                    </a:lnTo>
                    <a:lnTo>
                      <a:pt x="26" y="170"/>
                    </a:lnTo>
                    <a:lnTo>
                      <a:pt x="18" y="174"/>
                    </a:lnTo>
                    <a:lnTo>
                      <a:pt x="16" y="176"/>
                    </a:lnTo>
                    <a:lnTo>
                      <a:pt x="16" y="176"/>
                    </a:lnTo>
                    <a:lnTo>
                      <a:pt x="14" y="178"/>
                    </a:lnTo>
                    <a:lnTo>
                      <a:pt x="14" y="178"/>
                    </a:lnTo>
                    <a:lnTo>
                      <a:pt x="10" y="178"/>
                    </a:lnTo>
                    <a:lnTo>
                      <a:pt x="10" y="176"/>
                    </a:lnTo>
                    <a:lnTo>
                      <a:pt x="6" y="182"/>
                    </a:lnTo>
                    <a:lnTo>
                      <a:pt x="6" y="182"/>
                    </a:lnTo>
                    <a:lnTo>
                      <a:pt x="6" y="170"/>
                    </a:lnTo>
                    <a:lnTo>
                      <a:pt x="8" y="168"/>
                    </a:lnTo>
                    <a:lnTo>
                      <a:pt x="10" y="168"/>
                    </a:lnTo>
                    <a:lnTo>
                      <a:pt x="10" y="168"/>
                    </a:lnTo>
                    <a:lnTo>
                      <a:pt x="12" y="170"/>
                    </a:lnTo>
                    <a:lnTo>
                      <a:pt x="14" y="170"/>
                    </a:lnTo>
                    <a:lnTo>
                      <a:pt x="16" y="168"/>
                    </a:lnTo>
                    <a:lnTo>
                      <a:pt x="16" y="166"/>
                    </a:lnTo>
                    <a:lnTo>
                      <a:pt x="16" y="166"/>
                    </a:lnTo>
                    <a:lnTo>
                      <a:pt x="14" y="166"/>
                    </a:lnTo>
                    <a:lnTo>
                      <a:pt x="12" y="166"/>
                    </a:lnTo>
                    <a:lnTo>
                      <a:pt x="10" y="166"/>
                    </a:lnTo>
                    <a:lnTo>
                      <a:pt x="10" y="164"/>
                    </a:lnTo>
                    <a:lnTo>
                      <a:pt x="10" y="164"/>
                    </a:lnTo>
                    <a:lnTo>
                      <a:pt x="10" y="162"/>
                    </a:lnTo>
                    <a:lnTo>
                      <a:pt x="8" y="164"/>
                    </a:lnTo>
                    <a:lnTo>
                      <a:pt x="8" y="164"/>
                    </a:lnTo>
                    <a:lnTo>
                      <a:pt x="8" y="162"/>
                    </a:lnTo>
                    <a:lnTo>
                      <a:pt x="8" y="162"/>
                    </a:lnTo>
                    <a:lnTo>
                      <a:pt x="4" y="162"/>
                    </a:lnTo>
                    <a:lnTo>
                      <a:pt x="2" y="162"/>
                    </a:lnTo>
                    <a:lnTo>
                      <a:pt x="0" y="158"/>
                    </a:lnTo>
                    <a:lnTo>
                      <a:pt x="0" y="158"/>
                    </a:lnTo>
                    <a:lnTo>
                      <a:pt x="2" y="158"/>
                    </a:lnTo>
                    <a:lnTo>
                      <a:pt x="4" y="158"/>
                    </a:lnTo>
                    <a:lnTo>
                      <a:pt x="6" y="156"/>
                    </a:lnTo>
                    <a:lnTo>
                      <a:pt x="8" y="154"/>
                    </a:lnTo>
                    <a:lnTo>
                      <a:pt x="8" y="154"/>
                    </a:lnTo>
                    <a:lnTo>
                      <a:pt x="2" y="156"/>
                    </a:lnTo>
                    <a:lnTo>
                      <a:pt x="0" y="154"/>
                    </a:lnTo>
                    <a:lnTo>
                      <a:pt x="2" y="152"/>
                    </a:lnTo>
                    <a:lnTo>
                      <a:pt x="2" y="152"/>
                    </a:lnTo>
                    <a:lnTo>
                      <a:pt x="2" y="150"/>
                    </a:lnTo>
                    <a:lnTo>
                      <a:pt x="0" y="150"/>
                    </a:lnTo>
                    <a:lnTo>
                      <a:pt x="0" y="148"/>
                    </a:lnTo>
                    <a:lnTo>
                      <a:pt x="4" y="148"/>
                    </a:lnTo>
                    <a:lnTo>
                      <a:pt x="4" y="148"/>
                    </a:lnTo>
                    <a:lnTo>
                      <a:pt x="12" y="148"/>
                    </a:lnTo>
                    <a:lnTo>
                      <a:pt x="16" y="148"/>
                    </a:lnTo>
                    <a:lnTo>
                      <a:pt x="18" y="148"/>
                    </a:lnTo>
                    <a:lnTo>
                      <a:pt x="18" y="148"/>
                    </a:lnTo>
                    <a:lnTo>
                      <a:pt x="22" y="148"/>
                    </a:lnTo>
                    <a:lnTo>
                      <a:pt x="24" y="148"/>
                    </a:lnTo>
                    <a:lnTo>
                      <a:pt x="26" y="148"/>
                    </a:lnTo>
                    <a:lnTo>
                      <a:pt x="32" y="148"/>
                    </a:lnTo>
                    <a:lnTo>
                      <a:pt x="32" y="148"/>
                    </a:lnTo>
                    <a:lnTo>
                      <a:pt x="36" y="148"/>
                    </a:lnTo>
                    <a:lnTo>
                      <a:pt x="38" y="146"/>
                    </a:lnTo>
                    <a:lnTo>
                      <a:pt x="38" y="144"/>
                    </a:lnTo>
                    <a:lnTo>
                      <a:pt x="38" y="144"/>
                    </a:lnTo>
                    <a:lnTo>
                      <a:pt x="36" y="146"/>
                    </a:lnTo>
                    <a:lnTo>
                      <a:pt x="34" y="146"/>
                    </a:lnTo>
                    <a:lnTo>
                      <a:pt x="28" y="146"/>
                    </a:lnTo>
                    <a:lnTo>
                      <a:pt x="28" y="146"/>
                    </a:lnTo>
                    <a:lnTo>
                      <a:pt x="24" y="146"/>
                    </a:lnTo>
                    <a:lnTo>
                      <a:pt x="22" y="146"/>
                    </a:lnTo>
                    <a:lnTo>
                      <a:pt x="22" y="146"/>
                    </a:lnTo>
                    <a:lnTo>
                      <a:pt x="18" y="146"/>
                    </a:lnTo>
                    <a:lnTo>
                      <a:pt x="18" y="146"/>
                    </a:lnTo>
                    <a:lnTo>
                      <a:pt x="14" y="146"/>
                    </a:lnTo>
                    <a:lnTo>
                      <a:pt x="12" y="146"/>
                    </a:lnTo>
                    <a:lnTo>
                      <a:pt x="6" y="146"/>
                    </a:lnTo>
                    <a:lnTo>
                      <a:pt x="6" y="146"/>
                    </a:lnTo>
                    <a:lnTo>
                      <a:pt x="2" y="146"/>
                    </a:lnTo>
                    <a:lnTo>
                      <a:pt x="0" y="144"/>
                    </a:lnTo>
                    <a:lnTo>
                      <a:pt x="4" y="140"/>
                    </a:lnTo>
                    <a:lnTo>
                      <a:pt x="10" y="140"/>
                    </a:lnTo>
                    <a:lnTo>
                      <a:pt x="10" y="140"/>
                    </a:lnTo>
                    <a:lnTo>
                      <a:pt x="2" y="138"/>
                    </a:lnTo>
                    <a:lnTo>
                      <a:pt x="2" y="136"/>
                    </a:lnTo>
                    <a:lnTo>
                      <a:pt x="6" y="134"/>
                    </a:lnTo>
                    <a:lnTo>
                      <a:pt x="6" y="134"/>
                    </a:lnTo>
                    <a:lnTo>
                      <a:pt x="10" y="132"/>
                    </a:lnTo>
                    <a:lnTo>
                      <a:pt x="14" y="130"/>
                    </a:lnTo>
                    <a:lnTo>
                      <a:pt x="14" y="130"/>
                    </a:lnTo>
                    <a:lnTo>
                      <a:pt x="22" y="126"/>
                    </a:lnTo>
                    <a:lnTo>
                      <a:pt x="28" y="124"/>
                    </a:lnTo>
                    <a:lnTo>
                      <a:pt x="28" y="124"/>
                    </a:lnTo>
                    <a:lnTo>
                      <a:pt x="34" y="122"/>
                    </a:lnTo>
                    <a:lnTo>
                      <a:pt x="40" y="124"/>
                    </a:lnTo>
                    <a:lnTo>
                      <a:pt x="40" y="124"/>
                    </a:lnTo>
                    <a:lnTo>
                      <a:pt x="38" y="118"/>
                    </a:lnTo>
                    <a:lnTo>
                      <a:pt x="42" y="118"/>
                    </a:lnTo>
                    <a:lnTo>
                      <a:pt x="42" y="118"/>
                    </a:lnTo>
                    <a:lnTo>
                      <a:pt x="50" y="116"/>
                    </a:lnTo>
                    <a:lnTo>
                      <a:pt x="52" y="116"/>
                    </a:lnTo>
                    <a:lnTo>
                      <a:pt x="52" y="118"/>
                    </a:lnTo>
                    <a:lnTo>
                      <a:pt x="52" y="118"/>
                    </a:lnTo>
                    <a:lnTo>
                      <a:pt x="54" y="114"/>
                    </a:lnTo>
                    <a:lnTo>
                      <a:pt x="58" y="114"/>
                    </a:lnTo>
                    <a:lnTo>
                      <a:pt x="62" y="112"/>
                    </a:lnTo>
                    <a:lnTo>
                      <a:pt x="66" y="114"/>
                    </a:lnTo>
                    <a:lnTo>
                      <a:pt x="66" y="114"/>
                    </a:lnTo>
                    <a:lnTo>
                      <a:pt x="66" y="110"/>
                    </a:lnTo>
                    <a:lnTo>
                      <a:pt x="70" y="110"/>
                    </a:lnTo>
                    <a:lnTo>
                      <a:pt x="74" y="110"/>
                    </a:lnTo>
                    <a:lnTo>
                      <a:pt x="76" y="112"/>
                    </a:lnTo>
                    <a:lnTo>
                      <a:pt x="76" y="112"/>
                    </a:lnTo>
                    <a:lnTo>
                      <a:pt x="76" y="106"/>
                    </a:lnTo>
                    <a:lnTo>
                      <a:pt x="82" y="110"/>
                    </a:lnTo>
                    <a:lnTo>
                      <a:pt x="82" y="110"/>
                    </a:lnTo>
                    <a:lnTo>
                      <a:pt x="88" y="110"/>
                    </a:lnTo>
                    <a:lnTo>
                      <a:pt x="90" y="110"/>
                    </a:lnTo>
                    <a:lnTo>
                      <a:pt x="92" y="110"/>
                    </a:lnTo>
                    <a:lnTo>
                      <a:pt x="98" y="112"/>
                    </a:lnTo>
                    <a:lnTo>
                      <a:pt x="98" y="112"/>
                    </a:lnTo>
                    <a:lnTo>
                      <a:pt x="96" y="110"/>
                    </a:lnTo>
                    <a:lnTo>
                      <a:pt x="96" y="108"/>
                    </a:lnTo>
                    <a:lnTo>
                      <a:pt x="100" y="106"/>
                    </a:lnTo>
                    <a:lnTo>
                      <a:pt x="100" y="106"/>
                    </a:lnTo>
                    <a:lnTo>
                      <a:pt x="90" y="108"/>
                    </a:lnTo>
                    <a:lnTo>
                      <a:pt x="82" y="106"/>
                    </a:lnTo>
                    <a:lnTo>
                      <a:pt x="82" y="106"/>
                    </a:lnTo>
                    <a:lnTo>
                      <a:pt x="84" y="106"/>
                    </a:lnTo>
                    <a:lnTo>
                      <a:pt x="84" y="104"/>
                    </a:lnTo>
                    <a:lnTo>
                      <a:pt x="84" y="104"/>
                    </a:lnTo>
                    <a:lnTo>
                      <a:pt x="86" y="102"/>
                    </a:lnTo>
                    <a:lnTo>
                      <a:pt x="86" y="102"/>
                    </a:lnTo>
                    <a:lnTo>
                      <a:pt x="90" y="100"/>
                    </a:lnTo>
                    <a:lnTo>
                      <a:pt x="92" y="98"/>
                    </a:lnTo>
                    <a:lnTo>
                      <a:pt x="94" y="98"/>
                    </a:lnTo>
                    <a:lnTo>
                      <a:pt x="96" y="96"/>
                    </a:lnTo>
                    <a:lnTo>
                      <a:pt x="96" y="96"/>
                    </a:lnTo>
                    <a:lnTo>
                      <a:pt x="100" y="94"/>
                    </a:lnTo>
                    <a:lnTo>
                      <a:pt x="106" y="90"/>
                    </a:lnTo>
                    <a:lnTo>
                      <a:pt x="106" y="90"/>
                    </a:lnTo>
                    <a:lnTo>
                      <a:pt x="108" y="88"/>
                    </a:lnTo>
                    <a:lnTo>
                      <a:pt x="110" y="84"/>
                    </a:lnTo>
                    <a:lnTo>
                      <a:pt x="110" y="82"/>
                    </a:lnTo>
                    <a:lnTo>
                      <a:pt x="114" y="82"/>
                    </a:lnTo>
                    <a:lnTo>
                      <a:pt x="114" y="82"/>
                    </a:lnTo>
                    <a:lnTo>
                      <a:pt x="118" y="80"/>
                    </a:lnTo>
                    <a:lnTo>
                      <a:pt x="120" y="76"/>
                    </a:lnTo>
                    <a:lnTo>
                      <a:pt x="124" y="74"/>
                    </a:lnTo>
                    <a:lnTo>
                      <a:pt x="126" y="72"/>
                    </a:lnTo>
                    <a:lnTo>
                      <a:pt x="126" y="72"/>
                    </a:lnTo>
                    <a:lnTo>
                      <a:pt x="130" y="72"/>
                    </a:lnTo>
                    <a:lnTo>
                      <a:pt x="130" y="70"/>
                    </a:lnTo>
                    <a:lnTo>
                      <a:pt x="130" y="68"/>
                    </a:lnTo>
                    <a:lnTo>
                      <a:pt x="132" y="68"/>
                    </a:lnTo>
                    <a:lnTo>
                      <a:pt x="132" y="68"/>
                    </a:lnTo>
                    <a:lnTo>
                      <a:pt x="134" y="66"/>
                    </a:lnTo>
                    <a:lnTo>
                      <a:pt x="134" y="64"/>
                    </a:lnTo>
                    <a:lnTo>
                      <a:pt x="136" y="62"/>
                    </a:lnTo>
                    <a:lnTo>
                      <a:pt x="138" y="62"/>
                    </a:lnTo>
                    <a:lnTo>
                      <a:pt x="138" y="62"/>
                    </a:lnTo>
                    <a:lnTo>
                      <a:pt x="142" y="60"/>
                    </a:lnTo>
                    <a:lnTo>
                      <a:pt x="144" y="58"/>
                    </a:lnTo>
                    <a:lnTo>
                      <a:pt x="146" y="56"/>
                    </a:lnTo>
                    <a:lnTo>
                      <a:pt x="148" y="56"/>
                    </a:lnTo>
                    <a:lnTo>
                      <a:pt x="148" y="56"/>
                    </a:lnTo>
                    <a:lnTo>
                      <a:pt x="150" y="56"/>
                    </a:lnTo>
                    <a:lnTo>
                      <a:pt x="152" y="54"/>
                    </a:lnTo>
                    <a:lnTo>
                      <a:pt x="154" y="52"/>
                    </a:lnTo>
                    <a:lnTo>
                      <a:pt x="160" y="52"/>
                    </a:lnTo>
                    <a:lnTo>
                      <a:pt x="160" y="52"/>
                    </a:lnTo>
                    <a:lnTo>
                      <a:pt x="164" y="52"/>
                    </a:lnTo>
                    <a:lnTo>
                      <a:pt x="166" y="50"/>
                    </a:lnTo>
                    <a:lnTo>
                      <a:pt x="166" y="48"/>
                    </a:lnTo>
                    <a:lnTo>
                      <a:pt x="168" y="48"/>
                    </a:lnTo>
                    <a:lnTo>
                      <a:pt x="168" y="48"/>
                    </a:lnTo>
                    <a:lnTo>
                      <a:pt x="172" y="46"/>
                    </a:lnTo>
                    <a:lnTo>
                      <a:pt x="172" y="44"/>
                    </a:lnTo>
                    <a:lnTo>
                      <a:pt x="174" y="42"/>
                    </a:lnTo>
                    <a:lnTo>
                      <a:pt x="178" y="40"/>
                    </a:lnTo>
                    <a:lnTo>
                      <a:pt x="178" y="40"/>
                    </a:lnTo>
                    <a:lnTo>
                      <a:pt x="182" y="38"/>
                    </a:lnTo>
                    <a:lnTo>
                      <a:pt x="184" y="38"/>
                    </a:lnTo>
                    <a:lnTo>
                      <a:pt x="186" y="36"/>
                    </a:lnTo>
                    <a:lnTo>
                      <a:pt x="188" y="36"/>
                    </a:lnTo>
                    <a:lnTo>
                      <a:pt x="188" y="36"/>
                    </a:lnTo>
                    <a:lnTo>
                      <a:pt x="192" y="34"/>
                    </a:lnTo>
                    <a:lnTo>
                      <a:pt x="192" y="32"/>
                    </a:lnTo>
                    <a:lnTo>
                      <a:pt x="194" y="30"/>
                    </a:lnTo>
                    <a:lnTo>
                      <a:pt x="196" y="30"/>
                    </a:lnTo>
                    <a:lnTo>
                      <a:pt x="196" y="30"/>
                    </a:lnTo>
                    <a:lnTo>
                      <a:pt x="200" y="30"/>
                    </a:lnTo>
                    <a:lnTo>
                      <a:pt x="206" y="28"/>
                    </a:lnTo>
                    <a:lnTo>
                      <a:pt x="210" y="26"/>
                    </a:lnTo>
                    <a:lnTo>
                      <a:pt x="214" y="26"/>
                    </a:lnTo>
                    <a:lnTo>
                      <a:pt x="214" y="26"/>
                    </a:lnTo>
                    <a:lnTo>
                      <a:pt x="218" y="26"/>
                    </a:lnTo>
                    <a:lnTo>
                      <a:pt x="220" y="26"/>
                    </a:lnTo>
                    <a:lnTo>
                      <a:pt x="224" y="24"/>
                    </a:lnTo>
                    <a:lnTo>
                      <a:pt x="228" y="24"/>
                    </a:lnTo>
                    <a:lnTo>
                      <a:pt x="228" y="24"/>
                    </a:lnTo>
                    <a:lnTo>
                      <a:pt x="232" y="24"/>
                    </a:lnTo>
                    <a:lnTo>
                      <a:pt x="234" y="24"/>
                    </a:lnTo>
                    <a:lnTo>
                      <a:pt x="238" y="22"/>
                    </a:lnTo>
                    <a:lnTo>
                      <a:pt x="242" y="22"/>
                    </a:lnTo>
                    <a:lnTo>
                      <a:pt x="242" y="22"/>
                    </a:lnTo>
                    <a:lnTo>
                      <a:pt x="248" y="22"/>
                    </a:lnTo>
                    <a:lnTo>
                      <a:pt x="248" y="20"/>
                    </a:lnTo>
                    <a:lnTo>
                      <a:pt x="248" y="18"/>
                    </a:lnTo>
                    <a:lnTo>
                      <a:pt x="252" y="18"/>
                    </a:lnTo>
                    <a:lnTo>
                      <a:pt x="252" y="18"/>
                    </a:lnTo>
                    <a:lnTo>
                      <a:pt x="256" y="18"/>
                    </a:lnTo>
                    <a:lnTo>
                      <a:pt x="258" y="16"/>
                    </a:lnTo>
                    <a:lnTo>
                      <a:pt x="260" y="16"/>
                    </a:lnTo>
                    <a:lnTo>
                      <a:pt x="264" y="16"/>
                    </a:lnTo>
                    <a:lnTo>
                      <a:pt x="264" y="16"/>
                    </a:lnTo>
                    <a:lnTo>
                      <a:pt x="268" y="16"/>
                    </a:lnTo>
                    <a:lnTo>
                      <a:pt x="276" y="16"/>
                    </a:lnTo>
                    <a:lnTo>
                      <a:pt x="276" y="16"/>
                    </a:lnTo>
                    <a:lnTo>
                      <a:pt x="282" y="14"/>
                    </a:lnTo>
                    <a:lnTo>
                      <a:pt x="286" y="12"/>
                    </a:lnTo>
                    <a:lnTo>
                      <a:pt x="290" y="10"/>
                    </a:lnTo>
                    <a:lnTo>
                      <a:pt x="294" y="14"/>
                    </a:lnTo>
                    <a:lnTo>
                      <a:pt x="294" y="14"/>
                    </a:lnTo>
                    <a:lnTo>
                      <a:pt x="298" y="10"/>
                    </a:lnTo>
                    <a:lnTo>
                      <a:pt x="300" y="8"/>
                    </a:lnTo>
                    <a:lnTo>
                      <a:pt x="304" y="10"/>
                    </a:lnTo>
                    <a:lnTo>
                      <a:pt x="308" y="16"/>
                    </a:lnTo>
                    <a:lnTo>
                      <a:pt x="308" y="16"/>
                    </a:lnTo>
                    <a:lnTo>
                      <a:pt x="310" y="12"/>
                    </a:lnTo>
                    <a:lnTo>
                      <a:pt x="310" y="10"/>
                    </a:lnTo>
                    <a:lnTo>
                      <a:pt x="308" y="8"/>
                    </a:lnTo>
                    <a:lnTo>
                      <a:pt x="306" y="6"/>
                    </a:lnTo>
                    <a:lnTo>
                      <a:pt x="310" y="4"/>
                    </a:lnTo>
                    <a:lnTo>
                      <a:pt x="310" y="4"/>
                    </a:lnTo>
                    <a:lnTo>
                      <a:pt x="316" y="0"/>
                    </a:lnTo>
                    <a:lnTo>
                      <a:pt x="318" y="2"/>
                    </a:lnTo>
                    <a:lnTo>
                      <a:pt x="320" y="2"/>
                    </a:lnTo>
                    <a:lnTo>
                      <a:pt x="324" y="2"/>
                    </a:lnTo>
                    <a:lnTo>
                      <a:pt x="324" y="2"/>
                    </a:lnTo>
                    <a:lnTo>
                      <a:pt x="326" y="2"/>
                    </a:lnTo>
                    <a:lnTo>
                      <a:pt x="326" y="4"/>
                    </a:lnTo>
                    <a:lnTo>
                      <a:pt x="324" y="10"/>
                    </a:lnTo>
                    <a:lnTo>
                      <a:pt x="320" y="16"/>
                    </a:lnTo>
                    <a:lnTo>
                      <a:pt x="322" y="16"/>
                    </a:lnTo>
                    <a:lnTo>
                      <a:pt x="324" y="16"/>
                    </a:lnTo>
                    <a:lnTo>
                      <a:pt x="324" y="16"/>
                    </a:lnTo>
                    <a:lnTo>
                      <a:pt x="330" y="12"/>
                    </a:lnTo>
                    <a:lnTo>
                      <a:pt x="332" y="8"/>
                    </a:lnTo>
                    <a:lnTo>
                      <a:pt x="334" y="6"/>
                    </a:lnTo>
                    <a:lnTo>
                      <a:pt x="336" y="4"/>
                    </a:lnTo>
                    <a:lnTo>
                      <a:pt x="336" y="4"/>
                    </a:lnTo>
                    <a:lnTo>
                      <a:pt x="336" y="8"/>
                    </a:lnTo>
                    <a:lnTo>
                      <a:pt x="336" y="12"/>
                    </a:lnTo>
                    <a:lnTo>
                      <a:pt x="338" y="12"/>
                    </a:lnTo>
                    <a:lnTo>
                      <a:pt x="338" y="12"/>
                    </a:lnTo>
                    <a:lnTo>
                      <a:pt x="340" y="10"/>
                    </a:lnTo>
                    <a:lnTo>
                      <a:pt x="340" y="6"/>
                    </a:lnTo>
                    <a:lnTo>
                      <a:pt x="342" y="4"/>
                    </a:lnTo>
                    <a:lnTo>
                      <a:pt x="346" y="4"/>
                    </a:lnTo>
                    <a:lnTo>
                      <a:pt x="346" y="4"/>
                    </a:lnTo>
                    <a:lnTo>
                      <a:pt x="348" y="4"/>
                    </a:lnTo>
                    <a:lnTo>
                      <a:pt x="350" y="6"/>
                    </a:lnTo>
                    <a:lnTo>
                      <a:pt x="350" y="8"/>
                    </a:lnTo>
                    <a:lnTo>
                      <a:pt x="348" y="10"/>
                    </a:lnTo>
                    <a:lnTo>
                      <a:pt x="348" y="10"/>
                    </a:lnTo>
                    <a:lnTo>
                      <a:pt x="348" y="10"/>
                    </a:lnTo>
                    <a:lnTo>
                      <a:pt x="352" y="10"/>
                    </a:lnTo>
                    <a:lnTo>
                      <a:pt x="352" y="10"/>
                    </a:lnTo>
                    <a:lnTo>
                      <a:pt x="354" y="10"/>
                    </a:lnTo>
                    <a:lnTo>
                      <a:pt x="356" y="10"/>
                    </a:lnTo>
                    <a:lnTo>
                      <a:pt x="356" y="10"/>
                    </a:lnTo>
                    <a:lnTo>
                      <a:pt x="360" y="8"/>
                    </a:lnTo>
                    <a:lnTo>
                      <a:pt x="362" y="8"/>
                    </a:lnTo>
                    <a:lnTo>
                      <a:pt x="364" y="10"/>
                    </a:lnTo>
                    <a:lnTo>
                      <a:pt x="366" y="12"/>
                    </a:lnTo>
                    <a:lnTo>
                      <a:pt x="366" y="12"/>
                    </a:lnTo>
                    <a:lnTo>
                      <a:pt x="372" y="12"/>
                    </a:lnTo>
                    <a:lnTo>
                      <a:pt x="376" y="12"/>
                    </a:lnTo>
                    <a:lnTo>
                      <a:pt x="380" y="16"/>
                    </a:lnTo>
                    <a:lnTo>
                      <a:pt x="380" y="16"/>
                    </a:lnTo>
                    <a:lnTo>
                      <a:pt x="380" y="18"/>
                    </a:lnTo>
                    <a:lnTo>
                      <a:pt x="378" y="18"/>
                    </a:lnTo>
                    <a:lnTo>
                      <a:pt x="372" y="18"/>
                    </a:lnTo>
                    <a:lnTo>
                      <a:pt x="364" y="18"/>
                    </a:lnTo>
                    <a:lnTo>
                      <a:pt x="364" y="18"/>
                    </a:lnTo>
                    <a:lnTo>
                      <a:pt x="378" y="22"/>
                    </a:lnTo>
                    <a:lnTo>
                      <a:pt x="378" y="22"/>
                    </a:lnTo>
                    <a:lnTo>
                      <a:pt x="378" y="26"/>
                    </a:lnTo>
                    <a:lnTo>
                      <a:pt x="376" y="26"/>
                    </a:lnTo>
                    <a:lnTo>
                      <a:pt x="374" y="26"/>
                    </a:lnTo>
                    <a:lnTo>
                      <a:pt x="372" y="26"/>
                    </a:lnTo>
                    <a:lnTo>
                      <a:pt x="372" y="26"/>
                    </a:lnTo>
                    <a:lnTo>
                      <a:pt x="368" y="32"/>
                    </a:lnTo>
                    <a:lnTo>
                      <a:pt x="366" y="36"/>
                    </a:lnTo>
                    <a:lnTo>
                      <a:pt x="364" y="40"/>
                    </a:lnTo>
                    <a:lnTo>
                      <a:pt x="364" y="40"/>
                    </a:lnTo>
                    <a:lnTo>
                      <a:pt x="362" y="36"/>
                    </a:lnTo>
                    <a:lnTo>
                      <a:pt x="362" y="34"/>
                    </a:lnTo>
                    <a:lnTo>
                      <a:pt x="360" y="32"/>
                    </a:lnTo>
                    <a:lnTo>
                      <a:pt x="360" y="32"/>
                    </a:lnTo>
                    <a:lnTo>
                      <a:pt x="360" y="30"/>
                    </a:lnTo>
                    <a:lnTo>
                      <a:pt x="362" y="26"/>
                    </a:lnTo>
                    <a:lnTo>
                      <a:pt x="362" y="24"/>
                    </a:lnTo>
                    <a:lnTo>
                      <a:pt x="360" y="22"/>
                    </a:lnTo>
                    <a:lnTo>
                      <a:pt x="360" y="22"/>
                    </a:lnTo>
                    <a:lnTo>
                      <a:pt x="354" y="20"/>
                    </a:lnTo>
                    <a:lnTo>
                      <a:pt x="350" y="18"/>
                    </a:lnTo>
                    <a:lnTo>
                      <a:pt x="350" y="16"/>
                    </a:lnTo>
                    <a:lnTo>
                      <a:pt x="350" y="16"/>
                    </a:lnTo>
                    <a:lnTo>
                      <a:pt x="348" y="14"/>
                    </a:lnTo>
                    <a:lnTo>
                      <a:pt x="346" y="14"/>
                    </a:lnTo>
                    <a:lnTo>
                      <a:pt x="340" y="16"/>
                    </a:lnTo>
                    <a:lnTo>
                      <a:pt x="340" y="16"/>
                    </a:lnTo>
                    <a:lnTo>
                      <a:pt x="334" y="18"/>
                    </a:lnTo>
                    <a:lnTo>
                      <a:pt x="332" y="18"/>
                    </a:lnTo>
                    <a:lnTo>
                      <a:pt x="330" y="20"/>
                    </a:lnTo>
                    <a:lnTo>
                      <a:pt x="330" y="20"/>
                    </a:lnTo>
                    <a:lnTo>
                      <a:pt x="322" y="26"/>
                    </a:lnTo>
                    <a:lnTo>
                      <a:pt x="318" y="28"/>
                    </a:lnTo>
                    <a:lnTo>
                      <a:pt x="320" y="32"/>
                    </a:lnTo>
                    <a:lnTo>
                      <a:pt x="320" y="32"/>
                    </a:lnTo>
                    <a:lnTo>
                      <a:pt x="320" y="34"/>
                    </a:lnTo>
                    <a:lnTo>
                      <a:pt x="318" y="36"/>
                    </a:lnTo>
                    <a:lnTo>
                      <a:pt x="318" y="36"/>
                    </a:lnTo>
                    <a:lnTo>
                      <a:pt x="312" y="38"/>
                    </a:lnTo>
                    <a:lnTo>
                      <a:pt x="310" y="44"/>
                    </a:lnTo>
                    <a:lnTo>
                      <a:pt x="310" y="44"/>
                    </a:lnTo>
                    <a:lnTo>
                      <a:pt x="306" y="46"/>
                    </a:lnTo>
                    <a:lnTo>
                      <a:pt x="304" y="44"/>
                    </a:lnTo>
                    <a:lnTo>
                      <a:pt x="296" y="38"/>
                    </a:lnTo>
                    <a:lnTo>
                      <a:pt x="296" y="38"/>
                    </a:lnTo>
                    <a:lnTo>
                      <a:pt x="294" y="36"/>
                    </a:lnTo>
                    <a:lnTo>
                      <a:pt x="292" y="40"/>
                    </a:lnTo>
                    <a:lnTo>
                      <a:pt x="292" y="40"/>
                    </a:lnTo>
                    <a:lnTo>
                      <a:pt x="290" y="40"/>
                    </a:lnTo>
                    <a:lnTo>
                      <a:pt x="284" y="40"/>
                    </a:lnTo>
                    <a:lnTo>
                      <a:pt x="274" y="38"/>
                    </a:lnTo>
                    <a:lnTo>
                      <a:pt x="274" y="38"/>
                    </a:lnTo>
                    <a:lnTo>
                      <a:pt x="258" y="34"/>
                    </a:lnTo>
                    <a:lnTo>
                      <a:pt x="252" y="32"/>
                    </a:lnTo>
                    <a:lnTo>
                      <a:pt x="248" y="30"/>
                    </a:lnTo>
                    <a:lnTo>
                      <a:pt x="248" y="30"/>
                    </a:lnTo>
                    <a:lnTo>
                      <a:pt x="246" y="28"/>
                    </a:lnTo>
                    <a:lnTo>
                      <a:pt x="244" y="28"/>
                    </a:lnTo>
                    <a:lnTo>
                      <a:pt x="240" y="30"/>
                    </a:lnTo>
                    <a:lnTo>
                      <a:pt x="240" y="30"/>
                    </a:lnTo>
                    <a:lnTo>
                      <a:pt x="240" y="32"/>
                    </a:lnTo>
                    <a:lnTo>
                      <a:pt x="240" y="32"/>
                    </a:lnTo>
                    <a:lnTo>
                      <a:pt x="240" y="34"/>
                    </a:lnTo>
                    <a:lnTo>
                      <a:pt x="238" y="34"/>
                    </a:lnTo>
                    <a:lnTo>
                      <a:pt x="238" y="34"/>
                    </a:lnTo>
                    <a:lnTo>
                      <a:pt x="226" y="40"/>
                    </a:lnTo>
                    <a:lnTo>
                      <a:pt x="218" y="44"/>
                    </a:lnTo>
                    <a:lnTo>
                      <a:pt x="218" y="44"/>
                    </a:lnTo>
                    <a:lnTo>
                      <a:pt x="214" y="44"/>
                    </a:lnTo>
                    <a:lnTo>
                      <a:pt x="212" y="44"/>
                    </a:lnTo>
                    <a:lnTo>
                      <a:pt x="208" y="42"/>
                    </a:lnTo>
                    <a:lnTo>
                      <a:pt x="206" y="40"/>
                    </a:lnTo>
                    <a:lnTo>
                      <a:pt x="204" y="40"/>
                    </a:lnTo>
                    <a:lnTo>
                      <a:pt x="194" y="44"/>
                    </a:lnTo>
                    <a:lnTo>
                      <a:pt x="194" y="44"/>
                    </a:lnTo>
                    <a:lnTo>
                      <a:pt x="184" y="50"/>
                    </a:lnTo>
                    <a:lnTo>
                      <a:pt x="176" y="54"/>
                    </a:lnTo>
                    <a:lnTo>
                      <a:pt x="176" y="54"/>
                    </a:lnTo>
                    <a:lnTo>
                      <a:pt x="170" y="60"/>
                    </a:lnTo>
                    <a:lnTo>
                      <a:pt x="168" y="64"/>
                    </a:lnTo>
                    <a:lnTo>
                      <a:pt x="168" y="68"/>
                    </a:lnTo>
                    <a:lnTo>
                      <a:pt x="166" y="70"/>
                    </a:lnTo>
                    <a:lnTo>
                      <a:pt x="166" y="70"/>
                    </a:lnTo>
                    <a:lnTo>
                      <a:pt x="162" y="70"/>
                    </a:lnTo>
                    <a:lnTo>
                      <a:pt x="160" y="70"/>
                    </a:lnTo>
                    <a:lnTo>
                      <a:pt x="156" y="70"/>
                    </a:lnTo>
                    <a:lnTo>
                      <a:pt x="154" y="72"/>
                    </a:lnTo>
                    <a:lnTo>
                      <a:pt x="154" y="72"/>
                    </a:lnTo>
                    <a:lnTo>
                      <a:pt x="152" y="74"/>
                    </a:lnTo>
                    <a:lnTo>
                      <a:pt x="152" y="78"/>
                    </a:lnTo>
                    <a:lnTo>
                      <a:pt x="152" y="82"/>
                    </a:lnTo>
                    <a:lnTo>
                      <a:pt x="150" y="86"/>
                    </a:lnTo>
                    <a:lnTo>
                      <a:pt x="150" y="86"/>
                    </a:lnTo>
                    <a:lnTo>
                      <a:pt x="148" y="90"/>
                    </a:lnTo>
                    <a:lnTo>
                      <a:pt x="148" y="94"/>
                    </a:lnTo>
                    <a:lnTo>
                      <a:pt x="148" y="96"/>
                    </a:lnTo>
                    <a:lnTo>
                      <a:pt x="146" y="98"/>
                    </a:lnTo>
                    <a:lnTo>
                      <a:pt x="138" y="100"/>
                    </a:lnTo>
                    <a:lnTo>
                      <a:pt x="138" y="100"/>
                    </a:lnTo>
                    <a:lnTo>
                      <a:pt x="130" y="102"/>
                    </a:lnTo>
                    <a:lnTo>
                      <a:pt x="126" y="106"/>
                    </a:lnTo>
                    <a:lnTo>
                      <a:pt x="122" y="110"/>
                    </a:lnTo>
                    <a:lnTo>
                      <a:pt x="116" y="112"/>
                    </a:lnTo>
                    <a:lnTo>
                      <a:pt x="116" y="112"/>
                    </a:lnTo>
                    <a:lnTo>
                      <a:pt x="116" y="114"/>
                    </a:lnTo>
                    <a:lnTo>
                      <a:pt x="118" y="116"/>
                    </a:lnTo>
                    <a:lnTo>
                      <a:pt x="118" y="120"/>
                    </a:lnTo>
                    <a:lnTo>
                      <a:pt x="118" y="120"/>
                    </a:lnTo>
                    <a:lnTo>
                      <a:pt x="118" y="126"/>
                    </a:lnTo>
                    <a:lnTo>
                      <a:pt x="118" y="130"/>
                    </a:lnTo>
                    <a:lnTo>
                      <a:pt x="120" y="134"/>
                    </a:lnTo>
                    <a:lnTo>
                      <a:pt x="120" y="134"/>
                    </a:lnTo>
                    <a:lnTo>
                      <a:pt x="120" y="138"/>
                    </a:lnTo>
                    <a:lnTo>
                      <a:pt x="122" y="140"/>
                    </a:lnTo>
                    <a:lnTo>
                      <a:pt x="124" y="142"/>
                    </a:lnTo>
                    <a:lnTo>
                      <a:pt x="126" y="144"/>
                    </a:lnTo>
                    <a:lnTo>
                      <a:pt x="126" y="144"/>
                    </a:lnTo>
                    <a:lnTo>
                      <a:pt x="124" y="148"/>
                    </a:lnTo>
                    <a:lnTo>
                      <a:pt x="120" y="150"/>
                    </a:lnTo>
                    <a:lnTo>
                      <a:pt x="120" y="150"/>
                    </a:lnTo>
                    <a:lnTo>
                      <a:pt x="122" y="156"/>
                    </a:lnTo>
                    <a:lnTo>
                      <a:pt x="122" y="160"/>
                    </a:lnTo>
                    <a:lnTo>
                      <a:pt x="120" y="164"/>
                    </a:lnTo>
                    <a:lnTo>
                      <a:pt x="118" y="166"/>
                    </a:lnTo>
                    <a:lnTo>
                      <a:pt x="114" y="170"/>
                    </a:lnTo>
                    <a:lnTo>
                      <a:pt x="112" y="172"/>
                    </a:lnTo>
                    <a:lnTo>
                      <a:pt x="112" y="172"/>
                    </a:lnTo>
                    <a:lnTo>
                      <a:pt x="112" y="174"/>
                    </a:lnTo>
                    <a:lnTo>
                      <a:pt x="112" y="176"/>
                    </a:lnTo>
                    <a:lnTo>
                      <a:pt x="110" y="178"/>
                    </a:lnTo>
                    <a:lnTo>
                      <a:pt x="112" y="180"/>
                    </a:lnTo>
                    <a:lnTo>
                      <a:pt x="112" y="180"/>
                    </a:lnTo>
                    <a:lnTo>
                      <a:pt x="114" y="184"/>
                    </a:lnTo>
                    <a:lnTo>
                      <a:pt x="112" y="186"/>
                    </a:lnTo>
                    <a:lnTo>
                      <a:pt x="110" y="186"/>
                    </a:lnTo>
                    <a:lnTo>
                      <a:pt x="108" y="186"/>
                    </a:lnTo>
                    <a:lnTo>
                      <a:pt x="108" y="186"/>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Spain"/>
              <p:cNvSpPr>
                <a:spLocks/>
              </p:cNvSpPr>
              <p:nvPr/>
            </p:nvSpPr>
            <p:spPr bwMode="auto">
              <a:xfrm>
                <a:off x="5528166" y="2076697"/>
                <a:ext cx="525511" cy="248856"/>
              </a:xfrm>
              <a:custGeom>
                <a:avLst/>
                <a:gdLst/>
                <a:ahLst/>
                <a:cxnLst/>
                <a:rect l="l" t="t" r="r" b="b"/>
                <a:pathLst>
                  <a:path w="457728" h="216958">
                    <a:moveTo>
                      <a:pt x="452437" y="15875"/>
                    </a:moveTo>
                    <a:lnTo>
                      <a:pt x="452437" y="21167"/>
                    </a:lnTo>
                    <a:lnTo>
                      <a:pt x="455082" y="31750"/>
                    </a:lnTo>
                    <a:lnTo>
                      <a:pt x="457728" y="42333"/>
                    </a:lnTo>
                    <a:lnTo>
                      <a:pt x="455082" y="50271"/>
                    </a:lnTo>
                    <a:lnTo>
                      <a:pt x="452437" y="63500"/>
                    </a:lnTo>
                    <a:lnTo>
                      <a:pt x="449791" y="63500"/>
                    </a:lnTo>
                    <a:lnTo>
                      <a:pt x="449791" y="60854"/>
                    </a:lnTo>
                    <a:lnTo>
                      <a:pt x="447145" y="58208"/>
                    </a:lnTo>
                    <a:lnTo>
                      <a:pt x="444499" y="58208"/>
                    </a:lnTo>
                    <a:lnTo>
                      <a:pt x="439208" y="55563"/>
                    </a:lnTo>
                    <a:lnTo>
                      <a:pt x="439208" y="52917"/>
                    </a:lnTo>
                    <a:lnTo>
                      <a:pt x="439208" y="50271"/>
                    </a:lnTo>
                    <a:lnTo>
                      <a:pt x="436562" y="50271"/>
                    </a:lnTo>
                    <a:lnTo>
                      <a:pt x="436562" y="47625"/>
                    </a:lnTo>
                    <a:lnTo>
                      <a:pt x="436562" y="44979"/>
                    </a:lnTo>
                    <a:lnTo>
                      <a:pt x="436562" y="42333"/>
                    </a:lnTo>
                    <a:lnTo>
                      <a:pt x="433916" y="39688"/>
                    </a:lnTo>
                    <a:lnTo>
                      <a:pt x="433916" y="37042"/>
                    </a:lnTo>
                    <a:lnTo>
                      <a:pt x="433916" y="34396"/>
                    </a:lnTo>
                    <a:lnTo>
                      <a:pt x="433916" y="31750"/>
                    </a:lnTo>
                    <a:lnTo>
                      <a:pt x="433916" y="29104"/>
                    </a:lnTo>
                    <a:lnTo>
                      <a:pt x="433916" y="26458"/>
                    </a:lnTo>
                    <a:lnTo>
                      <a:pt x="436562" y="26458"/>
                    </a:lnTo>
                    <a:lnTo>
                      <a:pt x="439208" y="26458"/>
                    </a:lnTo>
                    <a:lnTo>
                      <a:pt x="439208" y="23813"/>
                    </a:lnTo>
                    <a:lnTo>
                      <a:pt x="441853" y="21167"/>
                    </a:lnTo>
                    <a:lnTo>
                      <a:pt x="444499" y="21167"/>
                    </a:lnTo>
                    <a:lnTo>
                      <a:pt x="447145" y="21167"/>
                    </a:lnTo>
                    <a:lnTo>
                      <a:pt x="449791" y="18521"/>
                    </a:lnTo>
                    <a:close/>
                    <a:moveTo>
                      <a:pt x="23812" y="0"/>
                    </a:moveTo>
                    <a:lnTo>
                      <a:pt x="29104" y="0"/>
                    </a:lnTo>
                    <a:lnTo>
                      <a:pt x="31750" y="0"/>
                    </a:lnTo>
                    <a:lnTo>
                      <a:pt x="34396" y="0"/>
                    </a:lnTo>
                    <a:lnTo>
                      <a:pt x="39687" y="2646"/>
                    </a:lnTo>
                    <a:lnTo>
                      <a:pt x="47625" y="5292"/>
                    </a:lnTo>
                    <a:lnTo>
                      <a:pt x="60854" y="5292"/>
                    </a:lnTo>
                    <a:lnTo>
                      <a:pt x="71437" y="2646"/>
                    </a:lnTo>
                    <a:lnTo>
                      <a:pt x="76729" y="2646"/>
                    </a:lnTo>
                    <a:lnTo>
                      <a:pt x="79375" y="2646"/>
                    </a:lnTo>
                    <a:lnTo>
                      <a:pt x="82021" y="2646"/>
                    </a:lnTo>
                    <a:lnTo>
                      <a:pt x="111125" y="5292"/>
                    </a:lnTo>
                    <a:lnTo>
                      <a:pt x="121708" y="5292"/>
                    </a:lnTo>
                    <a:lnTo>
                      <a:pt x="127000" y="2646"/>
                    </a:lnTo>
                    <a:lnTo>
                      <a:pt x="129646" y="2646"/>
                    </a:lnTo>
                    <a:lnTo>
                      <a:pt x="137583" y="7937"/>
                    </a:lnTo>
                    <a:lnTo>
                      <a:pt x="140229" y="7937"/>
                    </a:lnTo>
                    <a:lnTo>
                      <a:pt x="142875" y="5292"/>
                    </a:lnTo>
                    <a:lnTo>
                      <a:pt x="145521" y="5292"/>
                    </a:lnTo>
                    <a:lnTo>
                      <a:pt x="158750" y="7937"/>
                    </a:lnTo>
                    <a:lnTo>
                      <a:pt x="164042" y="7937"/>
                    </a:lnTo>
                    <a:lnTo>
                      <a:pt x="171979" y="5292"/>
                    </a:lnTo>
                    <a:lnTo>
                      <a:pt x="174625" y="5292"/>
                    </a:lnTo>
                    <a:lnTo>
                      <a:pt x="179917" y="5292"/>
                    </a:lnTo>
                    <a:lnTo>
                      <a:pt x="182563" y="5292"/>
                    </a:lnTo>
                    <a:lnTo>
                      <a:pt x="185209" y="7937"/>
                    </a:lnTo>
                    <a:lnTo>
                      <a:pt x="187854" y="7937"/>
                    </a:lnTo>
                    <a:lnTo>
                      <a:pt x="190500" y="7937"/>
                    </a:lnTo>
                    <a:lnTo>
                      <a:pt x="190500" y="10583"/>
                    </a:lnTo>
                    <a:lnTo>
                      <a:pt x="190500" y="13229"/>
                    </a:lnTo>
                    <a:lnTo>
                      <a:pt x="195792" y="13229"/>
                    </a:lnTo>
                    <a:lnTo>
                      <a:pt x="198438" y="13229"/>
                    </a:lnTo>
                    <a:lnTo>
                      <a:pt x="201084" y="15875"/>
                    </a:lnTo>
                    <a:lnTo>
                      <a:pt x="203729" y="18521"/>
                    </a:lnTo>
                    <a:lnTo>
                      <a:pt x="209021" y="18521"/>
                    </a:lnTo>
                    <a:lnTo>
                      <a:pt x="214313" y="18521"/>
                    </a:lnTo>
                    <a:lnTo>
                      <a:pt x="222250" y="23813"/>
                    </a:lnTo>
                    <a:lnTo>
                      <a:pt x="230188" y="26458"/>
                    </a:lnTo>
                    <a:lnTo>
                      <a:pt x="235479" y="29104"/>
                    </a:lnTo>
                    <a:lnTo>
                      <a:pt x="240771" y="29104"/>
                    </a:lnTo>
                    <a:lnTo>
                      <a:pt x="243417" y="23813"/>
                    </a:lnTo>
                    <a:lnTo>
                      <a:pt x="246063" y="23813"/>
                    </a:lnTo>
                    <a:lnTo>
                      <a:pt x="251354" y="26458"/>
                    </a:lnTo>
                    <a:lnTo>
                      <a:pt x="256646" y="29104"/>
                    </a:lnTo>
                    <a:lnTo>
                      <a:pt x="259292" y="29104"/>
                    </a:lnTo>
                    <a:lnTo>
                      <a:pt x="259292" y="31750"/>
                    </a:lnTo>
                    <a:lnTo>
                      <a:pt x="261938" y="31750"/>
                    </a:lnTo>
                    <a:lnTo>
                      <a:pt x="264584" y="31750"/>
                    </a:lnTo>
                    <a:lnTo>
                      <a:pt x="267229" y="31750"/>
                    </a:lnTo>
                    <a:lnTo>
                      <a:pt x="272521" y="29104"/>
                    </a:lnTo>
                    <a:lnTo>
                      <a:pt x="275167" y="29104"/>
                    </a:lnTo>
                    <a:lnTo>
                      <a:pt x="280459" y="31750"/>
                    </a:lnTo>
                    <a:lnTo>
                      <a:pt x="283104" y="31750"/>
                    </a:lnTo>
                    <a:lnTo>
                      <a:pt x="285750" y="29104"/>
                    </a:lnTo>
                    <a:lnTo>
                      <a:pt x="288396" y="29104"/>
                    </a:lnTo>
                    <a:lnTo>
                      <a:pt x="296334" y="29104"/>
                    </a:lnTo>
                    <a:lnTo>
                      <a:pt x="301625" y="26458"/>
                    </a:lnTo>
                    <a:lnTo>
                      <a:pt x="304271" y="29104"/>
                    </a:lnTo>
                    <a:lnTo>
                      <a:pt x="309563" y="31750"/>
                    </a:lnTo>
                    <a:lnTo>
                      <a:pt x="306917" y="34396"/>
                    </a:lnTo>
                    <a:lnTo>
                      <a:pt x="304271" y="34396"/>
                    </a:lnTo>
                    <a:lnTo>
                      <a:pt x="304271" y="37042"/>
                    </a:lnTo>
                    <a:lnTo>
                      <a:pt x="306917" y="37042"/>
                    </a:lnTo>
                    <a:lnTo>
                      <a:pt x="304271" y="39688"/>
                    </a:lnTo>
                    <a:lnTo>
                      <a:pt x="304271" y="44979"/>
                    </a:lnTo>
                    <a:lnTo>
                      <a:pt x="304271" y="50271"/>
                    </a:lnTo>
                    <a:lnTo>
                      <a:pt x="301625" y="50271"/>
                    </a:lnTo>
                    <a:lnTo>
                      <a:pt x="298979" y="52917"/>
                    </a:lnTo>
                    <a:lnTo>
                      <a:pt x="291042" y="55563"/>
                    </a:lnTo>
                    <a:lnTo>
                      <a:pt x="283104" y="60854"/>
                    </a:lnTo>
                    <a:lnTo>
                      <a:pt x="280459" y="63500"/>
                    </a:lnTo>
                    <a:lnTo>
                      <a:pt x="275167" y="63500"/>
                    </a:lnTo>
                    <a:lnTo>
                      <a:pt x="259292" y="71438"/>
                    </a:lnTo>
                    <a:lnTo>
                      <a:pt x="246063" y="76729"/>
                    </a:lnTo>
                    <a:lnTo>
                      <a:pt x="246063" y="79375"/>
                    </a:lnTo>
                    <a:lnTo>
                      <a:pt x="246063" y="84667"/>
                    </a:lnTo>
                    <a:lnTo>
                      <a:pt x="243417" y="87312"/>
                    </a:lnTo>
                    <a:lnTo>
                      <a:pt x="240771" y="84667"/>
                    </a:lnTo>
                    <a:lnTo>
                      <a:pt x="238125" y="89958"/>
                    </a:lnTo>
                    <a:lnTo>
                      <a:pt x="227542" y="100542"/>
                    </a:lnTo>
                    <a:lnTo>
                      <a:pt x="222250" y="103187"/>
                    </a:lnTo>
                    <a:lnTo>
                      <a:pt x="216959" y="108479"/>
                    </a:lnTo>
                    <a:lnTo>
                      <a:pt x="214313" y="113771"/>
                    </a:lnTo>
                    <a:lnTo>
                      <a:pt x="214313" y="119062"/>
                    </a:lnTo>
                    <a:lnTo>
                      <a:pt x="216959" y="127000"/>
                    </a:lnTo>
                    <a:lnTo>
                      <a:pt x="222250" y="129646"/>
                    </a:lnTo>
                    <a:lnTo>
                      <a:pt x="224896" y="132292"/>
                    </a:lnTo>
                    <a:lnTo>
                      <a:pt x="227542" y="132292"/>
                    </a:lnTo>
                    <a:lnTo>
                      <a:pt x="227542" y="134937"/>
                    </a:lnTo>
                    <a:lnTo>
                      <a:pt x="222250" y="137583"/>
                    </a:lnTo>
                    <a:lnTo>
                      <a:pt x="219604" y="142875"/>
                    </a:lnTo>
                    <a:lnTo>
                      <a:pt x="219604" y="145521"/>
                    </a:lnTo>
                    <a:lnTo>
                      <a:pt x="216959" y="148167"/>
                    </a:lnTo>
                    <a:lnTo>
                      <a:pt x="216959" y="150812"/>
                    </a:lnTo>
                    <a:lnTo>
                      <a:pt x="216959" y="153458"/>
                    </a:lnTo>
                    <a:lnTo>
                      <a:pt x="214313" y="153458"/>
                    </a:lnTo>
                    <a:lnTo>
                      <a:pt x="214313" y="156104"/>
                    </a:lnTo>
                    <a:lnTo>
                      <a:pt x="214313" y="161396"/>
                    </a:lnTo>
                    <a:lnTo>
                      <a:pt x="214313" y="164042"/>
                    </a:lnTo>
                    <a:lnTo>
                      <a:pt x="211667" y="166687"/>
                    </a:lnTo>
                    <a:lnTo>
                      <a:pt x="206375" y="166687"/>
                    </a:lnTo>
                    <a:lnTo>
                      <a:pt x="201084" y="169333"/>
                    </a:lnTo>
                    <a:lnTo>
                      <a:pt x="198438" y="171979"/>
                    </a:lnTo>
                    <a:lnTo>
                      <a:pt x="193146" y="174625"/>
                    </a:lnTo>
                    <a:lnTo>
                      <a:pt x="185209" y="179917"/>
                    </a:lnTo>
                    <a:lnTo>
                      <a:pt x="182563" y="190500"/>
                    </a:lnTo>
                    <a:lnTo>
                      <a:pt x="179917" y="193146"/>
                    </a:lnTo>
                    <a:lnTo>
                      <a:pt x="177271" y="193146"/>
                    </a:lnTo>
                    <a:lnTo>
                      <a:pt x="174625" y="193146"/>
                    </a:lnTo>
                    <a:lnTo>
                      <a:pt x="169333" y="195792"/>
                    </a:lnTo>
                    <a:lnTo>
                      <a:pt x="156104" y="195792"/>
                    </a:lnTo>
                    <a:lnTo>
                      <a:pt x="148167" y="198437"/>
                    </a:lnTo>
                    <a:lnTo>
                      <a:pt x="140229" y="201083"/>
                    </a:lnTo>
                    <a:lnTo>
                      <a:pt x="132292" y="203729"/>
                    </a:lnTo>
                    <a:lnTo>
                      <a:pt x="127000" y="203729"/>
                    </a:lnTo>
                    <a:lnTo>
                      <a:pt x="121708" y="203729"/>
                    </a:lnTo>
                    <a:lnTo>
                      <a:pt x="108479" y="209021"/>
                    </a:lnTo>
                    <a:lnTo>
                      <a:pt x="100542" y="214312"/>
                    </a:lnTo>
                    <a:lnTo>
                      <a:pt x="95250" y="216958"/>
                    </a:lnTo>
                    <a:lnTo>
                      <a:pt x="89958" y="216958"/>
                    </a:lnTo>
                    <a:lnTo>
                      <a:pt x="87313" y="216958"/>
                    </a:lnTo>
                    <a:lnTo>
                      <a:pt x="84667" y="214312"/>
                    </a:lnTo>
                    <a:lnTo>
                      <a:pt x="79375" y="214312"/>
                    </a:lnTo>
                    <a:lnTo>
                      <a:pt x="76729" y="209021"/>
                    </a:lnTo>
                    <a:lnTo>
                      <a:pt x="79375" y="206375"/>
                    </a:lnTo>
                    <a:lnTo>
                      <a:pt x="79375" y="203729"/>
                    </a:lnTo>
                    <a:lnTo>
                      <a:pt x="76729" y="203729"/>
                    </a:lnTo>
                    <a:lnTo>
                      <a:pt x="74083" y="201083"/>
                    </a:lnTo>
                    <a:lnTo>
                      <a:pt x="76729" y="198437"/>
                    </a:lnTo>
                    <a:lnTo>
                      <a:pt x="74083" y="198437"/>
                    </a:lnTo>
                    <a:lnTo>
                      <a:pt x="68792" y="195792"/>
                    </a:lnTo>
                    <a:lnTo>
                      <a:pt x="63500" y="193146"/>
                    </a:lnTo>
                    <a:lnTo>
                      <a:pt x="58208" y="190500"/>
                    </a:lnTo>
                    <a:lnTo>
                      <a:pt x="55562" y="190500"/>
                    </a:lnTo>
                    <a:lnTo>
                      <a:pt x="55562" y="187854"/>
                    </a:lnTo>
                    <a:lnTo>
                      <a:pt x="47625" y="187854"/>
                    </a:lnTo>
                    <a:lnTo>
                      <a:pt x="39687" y="187854"/>
                    </a:lnTo>
                    <a:lnTo>
                      <a:pt x="34396" y="187854"/>
                    </a:lnTo>
                    <a:lnTo>
                      <a:pt x="31750" y="185208"/>
                    </a:lnTo>
                    <a:lnTo>
                      <a:pt x="29104" y="182562"/>
                    </a:lnTo>
                    <a:lnTo>
                      <a:pt x="29104" y="179917"/>
                    </a:lnTo>
                    <a:lnTo>
                      <a:pt x="31750" y="174625"/>
                    </a:lnTo>
                    <a:lnTo>
                      <a:pt x="37042" y="166687"/>
                    </a:lnTo>
                    <a:lnTo>
                      <a:pt x="39687" y="161396"/>
                    </a:lnTo>
                    <a:lnTo>
                      <a:pt x="39687" y="158750"/>
                    </a:lnTo>
                    <a:lnTo>
                      <a:pt x="37042" y="153458"/>
                    </a:lnTo>
                    <a:lnTo>
                      <a:pt x="34396" y="150812"/>
                    </a:lnTo>
                    <a:lnTo>
                      <a:pt x="34396" y="145521"/>
                    </a:lnTo>
                    <a:lnTo>
                      <a:pt x="39687" y="140229"/>
                    </a:lnTo>
                    <a:lnTo>
                      <a:pt x="42333" y="134937"/>
                    </a:lnTo>
                    <a:lnTo>
                      <a:pt x="39687" y="129646"/>
                    </a:lnTo>
                    <a:lnTo>
                      <a:pt x="34396" y="116417"/>
                    </a:lnTo>
                    <a:lnTo>
                      <a:pt x="31750" y="113771"/>
                    </a:lnTo>
                    <a:lnTo>
                      <a:pt x="34396" y="113771"/>
                    </a:lnTo>
                    <a:lnTo>
                      <a:pt x="42333" y="113771"/>
                    </a:lnTo>
                    <a:lnTo>
                      <a:pt x="44979" y="111125"/>
                    </a:lnTo>
                    <a:lnTo>
                      <a:pt x="44979" y="108479"/>
                    </a:lnTo>
                    <a:lnTo>
                      <a:pt x="47625" y="100542"/>
                    </a:lnTo>
                    <a:lnTo>
                      <a:pt x="47625" y="95250"/>
                    </a:lnTo>
                    <a:lnTo>
                      <a:pt x="44979" y="95250"/>
                    </a:lnTo>
                    <a:lnTo>
                      <a:pt x="44979" y="92604"/>
                    </a:lnTo>
                    <a:lnTo>
                      <a:pt x="47625" y="89958"/>
                    </a:lnTo>
                    <a:lnTo>
                      <a:pt x="47625" y="87312"/>
                    </a:lnTo>
                    <a:lnTo>
                      <a:pt x="47625" y="82021"/>
                    </a:lnTo>
                    <a:lnTo>
                      <a:pt x="44979" y="76729"/>
                    </a:lnTo>
                    <a:lnTo>
                      <a:pt x="47625" y="76729"/>
                    </a:lnTo>
                    <a:lnTo>
                      <a:pt x="50271" y="74083"/>
                    </a:lnTo>
                    <a:lnTo>
                      <a:pt x="52917" y="68792"/>
                    </a:lnTo>
                    <a:lnTo>
                      <a:pt x="55562" y="63500"/>
                    </a:lnTo>
                    <a:lnTo>
                      <a:pt x="60854" y="60854"/>
                    </a:lnTo>
                    <a:lnTo>
                      <a:pt x="60854" y="58208"/>
                    </a:lnTo>
                    <a:lnTo>
                      <a:pt x="58208" y="58208"/>
                    </a:lnTo>
                    <a:lnTo>
                      <a:pt x="58208" y="55563"/>
                    </a:lnTo>
                    <a:lnTo>
                      <a:pt x="55562" y="52917"/>
                    </a:lnTo>
                    <a:lnTo>
                      <a:pt x="52917" y="50271"/>
                    </a:lnTo>
                    <a:lnTo>
                      <a:pt x="47625" y="52917"/>
                    </a:lnTo>
                    <a:lnTo>
                      <a:pt x="44979" y="52917"/>
                    </a:lnTo>
                    <a:lnTo>
                      <a:pt x="42333" y="52917"/>
                    </a:lnTo>
                    <a:lnTo>
                      <a:pt x="37042" y="50271"/>
                    </a:lnTo>
                    <a:lnTo>
                      <a:pt x="29104" y="52917"/>
                    </a:lnTo>
                    <a:lnTo>
                      <a:pt x="26458" y="52917"/>
                    </a:lnTo>
                    <a:lnTo>
                      <a:pt x="26458" y="50271"/>
                    </a:lnTo>
                    <a:lnTo>
                      <a:pt x="26458" y="47625"/>
                    </a:lnTo>
                    <a:lnTo>
                      <a:pt x="26458" y="44979"/>
                    </a:lnTo>
                    <a:lnTo>
                      <a:pt x="18521" y="44979"/>
                    </a:lnTo>
                    <a:lnTo>
                      <a:pt x="13229" y="44979"/>
                    </a:lnTo>
                    <a:lnTo>
                      <a:pt x="7937" y="47625"/>
                    </a:lnTo>
                    <a:lnTo>
                      <a:pt x="5292" y="42333"/>
                    </a:lnTo>
                    <a:lnTo>
                      <a:pt x="7937" y="39688"/>
                    </a:lnTo>
                    <a:lnTo>
                      <a:pt x="13229" y="37042"/>
                    </a:lnTo>
                    <a:lnTo>
                      <a:pt x="10583" y="37042"/>
                    </a:lnTo>
                    <a:lnTo>
                      <a:pt x="7937" y="37042"/>
                    </a:lnTo>
                    <a:lnTo>
                      <a:pt x="7937" y="34396"/>
                    </a:lnTo>
                    <a:lnTo>
                      <a:pt x="7937" y="29104"/>
                    </a:lnTo>
                    <a:lnTo>
                      <a:pt x="5292" y="26458"/>
                    </a:lnTo>
                    <a:lnTo>
                      <a:pt x="2646" y="26458"/>
                    </a:lnTo>
                    <a:lnTo>
                      <a:pt x="5292" y="23813"/>
                    </a:lnTo>
                    <a:lnTo>
                      <a:pt x="5292" y="21167"/>
                    </a:lnTo>
                    <a:lnTo>
                      <a:pt x="2646" y="18521"/>
                    </a:lnTo>
                    <a:lnTo>
                      <a:pt x="0" y="18521"/>
                    </a:lnTo>
                    <a:lnTo>
                      <a:pt x="0" y="15875"/>
                    </a:lnTo>
                    <a:lnTo>
                      <a:pt x="0" y="13229"/>
                    </a:lnTo>
                    <a:lnTo>
                      <a:pt x="7937" y="10583"/>
                    </a:lnTo>
                    <a:lnTo>
                      <a:pt x="10583" y="7937"/>
                    </a:lnTo>
                    <a:lnTo>
                      <a:pt x="15875" y="7937"/>
                    </a:lnTo>
                    <a:lnTo>
                      <a:pt x="18521" y="7937"/>
                    </a:lnTo>
                    <a:lnTo>
                      <a:pt x="23812" y="5292"/>
                    </a:lnTo>
                    <a:lnTo>
                      <a:pt x="21167" y="2646"/>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Sweden"/>
              <p:cNvSpPr>
                <a:spLocks/>
              </p:cNvSpPr>
              <p:nvPr/>
            </p:nvSpPr>
            <p:spPr bwMode="auto">
              <a:xfrm>
                <a:off x="6056716" y="1399931"/>
                <a:ext cx="294651" cy="327762"/>
              </a:xfrm>
              <a:custGeom>
                <a:avLst/>
                <a:gdLst/>
                <a:ahLst/>
                <a:cxnLst>
                  <a:cxn ang="0">
                    <a:pos x="152" y="8"/>
                  </a:cxn>
                  <a:cxn ang="0">
                    <a:pos x="176" y="18"/>
                  </a:cxn>
                  <a:cxn ang="0">
                    <a:pos x="180" y="24"/>
                  </a:cxn>
                  <a:cxn ang="0">
                    <a:pos x="190" y="36"/>
                  </a:cxn>
                  <a:cxn ang="0">
                    <a:pos x="194" y="46"/>
                  </a:cxn>
                  <a:cxn ang="0">
                    <a:pos x="188" y="50"/>
                  </a:cxn>
                  <a:cxn ang="0">
                    <a:pos x="174" y="48"/>
                  </a:cxn>
                  <a:cxn ang="0">
                    <a:pos x="166" y="52"/>
                  </a:cxn>
                  <a:cxn ang="0">
                    <a:pos x="160" y="58"/>
                  </a:cxn>
                  <a:cxn ang="0">
                    <a:pos x="150" y="74"/>
                  </a:cxn>
                  <a:cxn ang="0">
                    <a:pos x="138" y="80"/>
                  </a:cxn>
                  <a:cxn ang="0">
                    <a:pos x="130" y="84"/>
                  </a:cxn>
                  <a:cxn ang="0">
                    <a:pos x="116" y="86"/>
                  </a:cxn>
                  <a:cxn ang="0">
                    <a:pos x="108" y="90"/>
                  </a:cxn>
                  <a:cxn ang="0">
                    <a:pos x="102" y="92"/>
                  </a:cxn>
                  <a:cxn ang="0">
                    <a:pos x="100" y="108"/>
                  </a:cxn>
                  <a:cxn ang="0">
                    <a:pos x="104" y="126"/>
                  </a:cxn>
                  <a:cxn ang="0">
                    <a:pos x="114" y="126"/>
                  </a:cxn>
                  <a:cxn ang="0">
                    <a:pos x="128" y="134"/>
                  </a:cxn>
                  <a:cxn ang="0">
                    <a:pos x="124" y="140"/>
                  </a:cxn>
                  <a:cxn ang="0">
                    <a:pos x="108" y="138"/>
                  </a:cxn>
                  <a:cxn ang="0">
                    <a:pos x="130" y="140"/>
                  </a:cxn>
                  <a:cxn ang="0">
                    <a:pos x="118" y="150"/>
                  </a:cxn>
                  <a:cxn ang="0">
                    <a:pos x="110" y="148"/>
                  </a:cxn>
                  <a:cxn ang="0">
                    <a:pos x="94" y="152"/>
                  </a:cxn>
                  <a:cxn ang="0">
                    <a:pos x="102" y="158"/>
                  </a:cxn>
                  <a:cxn ang="0">
                    <a:pos x="100" y="164"/>
                  </a:cxn>
                  <a:cxn ang="0">
                    <a:pos x="100" y="176"/>
                  </a:cxn>
                  <a:cxn ang="0">
                    <a:pos x="96" y="192"/>
                  </a:cxn>
                  <a:cxn ang="0">
                    <a:pos x="84" y="202"/>
                  </a:cxn>
                  <a:cxn ang="0">
                    <a:pos x="72" y="202"/>
                  </a:cxn>
                  <a:cxn ang="0">
                    <a:pos x="66" y="210"/>
                  </a:cxn>
                  <a:cxn ang="0">
                    <a:pos x="66" y="214"/>
                  </a:cxn>
                  <a:cxn ang="0">
                    <a:pos x="44" y="216"/>
                  </a:cxn>
                  <a:cxn ang="0">
                    <a:pos x="32" y="200"/>
                  </a:cxn>
                  <a:cxn ang="0">
                    <a:pos x="36" y="196"/>
                  </a:cxn>
                  <a:cxn ang="0">
                    <a:pos x="28" y="188"/>
                  </a:cxn>
                  <a:cxn ang="0">
                    <a:pos x="18" y="174"/>
                  </a:cxn>
                  <a:cxn ang="0">
                    <a:pos x="14" y="168"/>
                  </a:cxn>
                  <a:cxn ang="0">
                    <a:pos x="10" y="164"/>
                  </a:cxn>
                  <a:cxn ang="0">
                    <a:pos x="4" y="156"/>
                  </a:cxn>
                  <a:cxn ang="0">
                    <a:pos x="6" y="152"/>
                  </a:cxn>
                  <a:cxn ang="0">
                    <a:pos x="6" y="144"/>
                  </a:cxn>
                  <a:cxn ang="0">
                    <a:pos x="10" y="136"/>
                  </a:cxn>
                  <a:cxn ang="0">
                    <a:pos x="16" y="116"/>
                  </a:cxn>
                  <a:cxn ang="0">
                    <a:pos x="20" y="108"/>
                  </a:cxn>
                  <a:cxn ang="0">
                    <a:pos x="14" y="96"/>
                  </a:cxn>
                  <a:cxn ang="0">
                    <a:pos x="12" y="80"/>
                  </a:cxn>
                  <a:cxn ang="0">
                    <a:pos x="26" y="68"/>
                  </a:cxn>
                  <a:cxn ang="0">
                    <a:pos x="44" y="60"/>
                  </a:cxn>
                  <a:cxn ang="0">
                    <a:pos x="48" y="44"/>
                  </a:cxn>
                  <a:cxn ang="0">
                    <a:pos x="56" y="36"/>
                  </a:cxn>
                  <a:cxn ang="0">
                    <a:pos x="64" y="30"/>
                  </a:cxn>
                  <a:cxn ang="0">
                    <a:pos x="90" y="10"/>
                  </a:cxn>
                  <a:cxn ang="0">
                    <a:pos x="108" y="10"/>
                  </a:cxn>
                  <a:cxn ang="0">
                    <a:pos x="134" y="0"/>
                  </a:cxn>
                </a:cxnLst>
                <a:rect l="0" t="0" r="r" b="b"/>
                <a:pathLst>
                  <a:path w="194" h="216">
                    <a:moveTo>
                      <a:pt x="134" y="0"/>
                    </a:moveTo>
                    <a:lnTo>
                      <a:pt x="134" y="0"/>
                    </a:lnTo>
                    <a:lnTo>
                      <a:pt x="138" y="4"/>
                    </a:lnTo>
                    <a:lnTo>
                      <a:pt x="142" y="6"/>
                    </a:lnTo>
                    <a:lnTo>
                      <a:pt x="152" y="8"/>
                    </a:lnTo>
                    <a:lnTo>
                      <a:pt x="162" y="8"/>
                    </a:lnTo>
                    <a:lnTo>
                      <a:pt x="170" y="12"/>
                    </a:lnTo>
                    <a:lnTo>
                      <a:pt x="170" y="12"/>
                    </a:lnTo>
                    <a:lnTo>
                      <a:pt x="176" y="16"/>
                    </a:lnTo>
                    <a:lnTo>
                      <a:pt x="176" y="18"/>
                    </a:lnTo>
                    <a:lnTo>
                      <a:pt x="176" y="20"/>
                    </a:lnTo>
                    <a:lnTo>
                      <a:pt x="178" y="22"/>
                    </a:lnTo>
                    <a:lnTo>
                      <a:pt x="178" y="22"/>
                    </a:lnTo>
                    <a:lnTo>
                      <a:pt x="180" y="22"/>
                    </a:lnTo>
                    <a:lnTo>
                      <a:pt x="180" y="24"/>
                    </a:lnTo>
                    <a:lnTo>
                      <a:pt x="180" y="26"/>
                    </a:lnTo>
                    <a:lnTo>
                      <a:pt x="184" y="30"/>
                    </a:lnTo>
                    <a:lnTo>
                      <a:pt x="184" y="30"/>
                    </a:lnTo>
                    <a:lnTo>
                      <a:pt x="188" y="34"/>
                    </a:lnTo>
                    <a:lnTo>
                      <a:pt x="190" y="36"/>
                    </a:lnTo>
                    <a:lnTo>
                      <a:pt x="190" y="40"/>
                    </a:lnTo>
                    <a:lnTo>
                      <a:pt x="190" y="44"/>
                    </a:lnTo>
                    <a:lnTo>
                      <a:pt x="190" y="44"/>
                    </a:lnTo>
                    <a:lnTo>
                      <a:pt x="194" y="46"/>
                    </a:lnTo>
                    <a:lnTo>
                      <a:pt x="194" y="46"/>
                    </a:lnTo>
                    <a:lnTo>
                      <a:pt x="192" y="50"/>
                    </a:lnTo>
                    <a:lnTo>
                      <a:pt x="190" y="50"/>
                    </a:lnTo>
                    <a:lnTo>
                      <a:pt x="188" y="48"/>
                    </a:lnTo>
                    <a:lnTo>
                      <a:pt x="188" y="50"/>
                    </a:lnTo>
                    <a:lnTo>
                      <a:pt x="188" y="50"/>
                    </a:lnTo>
                    <a:lnTo>
                      <a:pt x="186" y="52"/>
                    </a:lnTo>
                    <a:lnTo>
                      <a:pt x="182" y="50"/>
                    </a:lnTo>
                    <a:lnTo>
                      <a:pt x="180" y="48"/>
                    </a:lnTo>
                    <a:lnTo>
                      <a:pt x="174" y="48"/>
                    </a:lnTo>
                    <a:lnTo>
                      <a:pt x="174" y="48"/>
                    </a:lnTo>
                    <a:lnTo>
                      <a:pt x="170" y="48"/>
                    </a:lnTo>
                    <a:lnTo>
                      <a:pt x="168" y="50"/>
                    </a:lnTo>
                    <a:lnTo>
                      <a:pt x="168" y="50"/>
                    </a:lnTo>
                    <a:lnTo>
                      <a:pt x="168" y="52"/>
                    </a:lnTo>
                    <a:lnTo>
                      <a:pt x="166" y="52"/>
                    </a:lnTo>
                    <a:lnTo>
                      <a:pt x="164" y="52"/>
                    </a:lnTo>
                    <a:lnTo>
                      <a:pt x="160" y="54"/>
                    </a:lnTo>
                    <a:lnTo>
                      <a:pt x="160" y="54"/>
                    </a:lnTo>
                    <a:lnTo>
                      <a:pt x="158" y="56"/>
                    </a:lnTo>
                    <a:lnTo>
                      <a:pt x="160" y="58"/>
                    </a:lnTo>
                    <a:lnTo>
                      <a:pt x="162" y="60"/>
                    </a:lnTo>
                    <a:lnTo>
                      <a:pt x="160" y="64"/>
                    </a:lnTo>
                    <a:lnTo>
                      <a:pt x="160" y="64"/>
                    </a:lnTo>
                    <a:lnTo>
                      <a:pt x="154" y="70"/>
                    </a:lnTo>
                    <a:lnTo>
                      <a:pt x="150" y="74"/>
                    </a:lnTo>
                    <a:lnTo>
                      <a:pt x="150" y="74"/>
                    </a:lnTo>
                    <a:lnTo>
                      <a:pt x="148" y="78"/>
                    </a:lnTo>
                    <a:lnTo>
                      <a:pt x="144" y="78"/>
                    </a:lnTo>
                    <a:lnTo>
                      <a:pt x="142" y="78"/>
                    </a:lnTo>
                    <a:lnTo>
                      <a:pt x="138" y="80"/>
                    </a:lnTo>
                    <a:lnTo>
                      <a:pt x="138" y="80"/>
                    </a:lnTo>
                    <a:lnTo>
                      <a:pt x="136" y="82"/>
                    </a:lnTo>
                    <a:lnTo>
                      <a:pt x="134" y="82"/>
                    </a:lnTo>
                    <a:lnTo>
                      <a:pt x="132" y="82"/>
                    </a:lnTo>
                    <a:lnTo>
                      <a:pt x="130" y="84"/>
                    </a:lnTo>
                    <a:lnTo>
                      <a:pt x="130" y="84"/>
                    </a:lnTo>
                    <a:lnTo>
                      <a:pt x="126" y="86"/>
                    </a:lnTo>
                    <a:lnTo>
                      <a:pt x="122" y="86"/>
                    </a:lnTo>
                    <a:lnTo>
                      <a:pt x="120" y="84"/>
                    </a:lnTo>
                    <a:lnTo>
                      <a:pt x="116" y="86"/>
                    </a:lnTo>
                    <a:lnTo>
                      <a:pt x="116" y="86"/>
                    </a:lnTo>
                    <a:lnTo>
                      <a:pt x="112" y="88"/>
                    </a:lnTo>
                    <a:lnTo>
                      <a:pt x="112" y="88"/>
                    </a:lnTo>
                    <a:lnTo>
                      <a:pt x="110" y="88"/>
                    </a:lnTo>
                    <a:lnTo>
                      <a:pt x="108" y="90"/>
                    </a:lnTo>
                    <a:lnTo>
                      <a:pt x="108" y="90"/>
                    </a:lnTo>
                    <a:lnTo>
                      <a:pt x="106" y="92"/>
                    </a:lnTo>
                    <a:lnTo>
                      <a:pt x="104" y="90"/>
                    </a:lnTo>
                    <a:lnTo>
                      <a:pt x="102" y="90"/>
                    </a:lnTo>
                    <a:lnTo>
                      <a:pt x="102" y="92"/>
                    </a:lnTo>
                    <a:lnTo>
                      <a:pt x="102" y="92"/>
                    </a:lnTo>
                    <a:lnTo>
                      <a:pt x="102" y="98"/>
                    </a:lnTo>
                    <a:lnTo>
                      <a:pt x="102" y="102"/>
                    </a:lnTo>
                    <a:lnTo>
                      <a:pt x="100" y="104"/>
                    </a:lnTo>
                    <a:lnTo>
                      <a:pt x="100" y="108"/>
                    </a:lnTo>
                    <a:lnTo>
                      <a:pt x="100" y="108"/>
                    </a:lnTo>
                    <a:lnTo>
                      <a:pt x="100" y="112"/>
                    </a:lnTo>
                    <a:lnTo>
                      <a:pt x="98" y="116"/>
                    </a:lnTo>
                    <a:lnTo>
                      <a:pt x="100" y="120"/>
                    </a:lnTo>
                    <a:lnTo>
                      <a:pt x="104" y="126"/>
                    </a:lnTo>
                    <a:lnTo>
                      <a:pt x="104" y="126"/>
                    </a:lnTo>
                    <a:lnTo>
                      <a:pt x="110" y="128"/>
                    </a:lnTo>
                    <a:lnTo>
                      <a:pt x="112" y="128"/>
                    </a:lnTo>
                    <a:lnTo>
                      <a:pt x="112" y="126"/>
                    </a:lnTo>
                    <a:lnTo>
                      <a:pt x="114" y="126"/>
                    </a:lnTo>
                    <a:lnTo>
                      <a:pt x="114" y="126"/>
                    </a:lnTo>
                    <a:lnTo>
                      <a:pt x="118" y="128"/>
                    </a:lnTo>
                    <a:lnTo>
                      <a:pt x="124" y="132"/>
                    </a:lnTo>
                    <a:lnTo>
                      <a:pt x="124" y="132"/>
                    </a:lnTo>
                    <a:lnTo>
                      <a:pt x="128" y="134"/>
                    </a:lnTo>
                    <a:lnTo>
                      <a:pt x="132" y="136"/>
                    </a:lnTo>
                    <a:lnTo>
                      <a:pt x="132" y="136"/>
                    </a:lnTo>
                    <a:lnTo>
                      <a:pt x="130" y="138"/>
                    </a:lnTo>
                    <a:lnTo>
                      <a:pt x="130" y="138"/>
                    </a:lnTo>
                    <a:lnTo>
                      <a:pt x="124" y="140"/>
                    </a:lnTo>
                    <a:lnTo>
                      <a:pt x="122" y="140"/>
                    </a:lnTo>
                    <a:lnTo>
                      <a:pt x="120" y="140"/>
                    </a:lnTo>
                    <a:lnTo>
                      <a:pt x="120" y="140"/>
                    </a:lnTo>
                    <a:lnTo>
                      <a:pt x="114" y="138"/>
                    </a:lnTo>
                    <a:lnTo>
                      <a:pt x="108" y="138"/>
                    </a:lnTo>
                    <a:lnTo>
                      <a:pt x="108" y="138"/>
                    </a:lnTo>
                    <a:lnTo>
                      <a:pt x="116" y="140"/>
                    </a:lnTo>
                    <a:lnTo>
                      <a:pt x="120" y="142"/>
                    </a:lnTo>
                    <a:lnTo>
                      <a:pt x="122" y="142"/>
                    </a:lnTo>
                    <a:lnTo>
                      <a:pt x="130" y="140"/>
                    </a:lnTo>
                    <a:lnTo>
                      <a:pt x="130" y="140"/>
                    </a:lnTo>
                    <a:lnTo>
                      <a:pt x="126" y="148"/>
                    </a:lnTo>
                    <a:lnTo>
                      <a:pt x="122" y="150"/>
                    </a:lnTo>
                    <a:lnTo>
                      <a:pt x="120" y="148"/>
                    </a:lnTo>
                    <a:lnTo>
                      <a:pt x="118" y="150"/>
                    </a:lnTo>
                    <a:lnTo>
                      <a:pt x="118" y="150"/>
                    </a:lnTo>
                    <a:lnTo>
                      <a:pt x="116" y="152"/>
                    </a:lnTo>
                    <a:lnTo>
                      <a:pt x="116" y="152"/>
                    </a:lnTo>
                    <a:lnTo>
                      <a:pt x="110" y="148"/>
                    </a:lnTo>
                    <a:lnTo>
                      <a:pt x="110" y="148"/>
                    </a:lnTo>
                    <a:lnTo>
                      <a:pt x="112" y="150"/>
                    </a:lnTo>
                    <a:lnTo>
                      <a:pt x="110" y="152"/>
                    </a:lnTo>
                    <a:lnTo>
                      <a:pt x="106" y="154"/>
                    </a:lnTo>
                    <a:lnTo>
                      <a:pt x="100" y="152"/>
                    </a:lnTo>
                    <a:lnTo>
                      <a:pt x="94" y="152"/>
                    </a:lnTo>
                    <a:lnTo>
                      <a:pt x="94" y="152"/>
                    </a:lnTo>
                    <a:lnTo>
                      <a:pt x="102" y="156"/>
                    </a:lnTo>
                    <a:lnTo>
                      <a:pt x="104" y="156"/>
                    </a:lnTo>
                    <a:lnTo>
                      <a:pt x="102" y="158"/>
                    </a:lnTo>
                    <a:lnTo>
                      <a:pt x="102" y="158"/>
                    </a:lnTo>
                    <a:lnTo>
                      <a:pt x="102" y="160"/>
                    </a:lnTo>
                    <a:lnTo>
                      <a:pt x="102" y="160"/>
                    </a:lnTo>
                    <a:lnTo>
                      <a:pt x="102" y="162"/>
                    </a:lnTo>
                    <a:lnTo>
                      <a:pt x="100" y="164"/>
                    </a:lnTo>
                    <a:lnTo>
                      <a:pt x="100" y="164"/>
                    </a:lnTo>
                    <a:lnTo>
                      <a:pt x="98" y="168"/>
                    </a:lnTo>
                    <a:lnTo>
                      <a:pt x="100" y="170"/>
                    </a:lnTo>
                    <a:lnTo>
                      <a:pt x="100" y="174"/>
                    </a:lnTo>
                    <a:lnTo>
                      <a:pt x="100" y="176"/>
                    </a:lnTo>
                    <a:lnTo>
                      <a:pt x="100" y="176"/>
                    </a:lnTo>
                    <a:lnTo>
                      <a:pt x="98" y="180"/>
                    </a:lnTo>
                    <a:lnTo>
                      <a:pt x="98" y="184"/>
                    </a:lnTo>
                    <a:lnTo>
                      <a:pt x="98" y="188"/>
                    </a:lnTo>
                    <a:lnTo>
                      <a:pt x="96" y="192"/>
                    </a:lnTo>
                    <a:lnTo>
                      <a:pt x="96" y="192"/>
                    </a:lnTo>
                    <a:lnTo>
                      <a:pt x="96" y="198"/>
                    </a:lnTo>
                    <a:lnTo>
                      <a:pt x="94" y="200"/>
                    </a:lnTo>
                    <a:lnTo>
                      <a:pt x="88" y="202"/>
                    </a:lnTo>
                    <a:lnTo>
                      <a:pt x="88" y="202"/>
                    </a:lnTo>
                    <a:lnTo>
                      <a:pt x="84" y="202"/>
                    </a:lnTo>
                    <a:lnTo>
                      <a:pt x="80" y="200"/>
                    </a:lnTo>
                    <a:lnTo>
                      <a:pt x="76" y="200"/>
                    </a:lnTo>
                    <a:lnTo>
                      <a:pt x="74" y="202"/>
                    </a:lnTo>
                    <a:lnTo>
                      <a:pt x="74" y="202"/>
                    </a:lnTo>
                    <a:lnTo>
                      <a:pt x="72" y="202"/>
                    </a:lnTo>
                    <a:lnTo>
                      <a:pt x="72" y="202"/>
                    </a:lnTo>
                    <a:lnTo>
                      <a:pt x="70" y="202"/>
                    </a:lnTo>
                    <a:lnTo>
                      <a:pt x="68" y="206"/>
                    </a:lnTo>
                    <a:lnTo>
                      <a:pt x="68" y="206"/>
                    </a:lnTo>
                    <a:lnTo>
                      <a:pt x="66" y="210"/>
                    </a:lnTo>
                    <a:lnTo>
                      <a:pt x="68" y="210"/>
                    </a:lnTo>
                    <a:lnTo>
                      <a:pt x="68" y="212"/>
                    </a:lnTo>
                    <a:lnTo>
                      <a:pt x="68" y="214"/>
                    </a:lnTo>
                    <a:lnTo>
                      <a:pt x="68" y="214"/>
                    </a:lnTo>
                    <a:lnTo>
                      <a:pt x="66" y="214"/>
                    </a:lnTo>
                    <a:lnTo>
                      <a:pt x="60" y="214"/>
                    </a:lnTo>
                    <a:lnTo>
                      <a:pt x="56" y="212"/>
                    </a:lnTo>
                    <a:lnTo>
                      <a:pt x="50" y="214"/>
                    </a:lnTo>
                    <a:lnTo>
                      <a:pt x="50" y="214"/>
                    </a:lnTo>
                    <a:lnTo>
                      <a:pt x="44" y="216"/>
                    </a:lnTo>
                    <a:lnTo>
                      <a:pt x="42" y="214"/>
                    </a:lnTo>
                    <a:lnTo>
                      <a:pt x="40" y="210"/>
                    </a:lnTo>
                    <a:lnTo>
                      <a:pt x="36" y="206"/>
                    </a:lnTo>
                    <a:lnTo>
                      <a:pt x="36" y="206"/>
                    </a:lnTo>
                    <a:lnTo>
                      <a:pt x="32" y="200"/>
                    </a:lnTo>
                    <a:lnTo>
                      <a:pt x="30" y="198"/>
                    </a:lnTo>
                    <a:lnTo>
                      <a:pt x="30" y="198"/>
                    </a:lnTo>
                    <a:lnTo>
                      <a:pt x="34" y="198"/>
                    </a:lnTo>
                    <a:lnTo>
                      <a:pt x="36" y="198"/>
                    </a:lnTo>
                    <a:lnTo>
                      <a:pt x="36" y="196"/>
                    </a:lnTo>
                    <a:lnTo>
                      <a:pt x="34" y="194"/>
                    </a:lnTo>
                    <a:lnTo>
                      <a:pt x="34" y="194"/>
                    </a:lnTo>
                    <a:lnTo>
                      <a:pt x="32" y="192"/>
                    </a:lnTo>
                    <a:lnTo>
                      <a:pt x="28" y="188"/>
                    </a:lnTo>
                    <a:lnTo>
                      <a:pt x="28" y="188"/>
                    </a:lnTo>
                    <a:lnTo>
                      <a:pt x="24" y="186"/>
                    </a:lnTo>
                    <a:lnTo>
                      <a:pt x="22" y="182"/>
                    </a:lnTo>
                    <a:lnTo>
                      <a:pt x="20" y="174"/>
                    </a:lnTo>
                    <a:lnTo>
                      <a:pt x="20" y="174"/>
                    </a:lnTo>
                    <a:lnTo>
                      <a:pt x="18" y="174"/>
                    </a:lnTo>
                    <a:lnTo>
                      <a:pt x="18" y="174"/>
                    </a:lnTo>
                    <a:lnTo>
                      <a:pt x="16" y="174"/>
                    </a:lnTo>
                    <a:lnTo>
                      <a:pt x="16" y="172"/>
                    </a:lnTo>
                    <a:lnTo>
                      <a:pt x="16" y="172"/>
                    </a:lnTo>
                    <a:lnTo>
                      <a:pt x="14" y="168"/>
                    </a:lnTo>
                    <a:lnTo>
                      <a:pt x="12" y="170"/>
                    </a:lnTo>
                    <a:lnTo>
                      <a:pt x="12" y="170"/>
                    </a:lnTo>
                    <a:lnTo>
                      <a:pt x="12" y="166"/>
                    </a:lnTo>
                    <a:lnTo>
                      <a:pt x="12" y="166"/>
                    </a:lnTo>
                    <a:lnTo>
                      <a:pt x="10" y="164"/>
                    </a:lnTo>
                    <a:lnTo>
                      <a:pt x="10" y="164"/>
                    </a:lnTo>
                    <a:lnTo>
                      <a:pt x="8" y="164"/>
                    </a:lnTo>
                    <a:lnTo>
                      <a:pt x="6" y="160"/>
                    </a:lnTo>
                    <a:lnTo>
                      <a:pt x="6" y="160"/>
                    </a:lnTo>
                    <a:lnTo>
                      <a:pt x="4" y="156"/>
                    </a:lnTo>
                    <a:lnTo>
                      <a:pt x="2" y="154"/>
                    </a:lnTo>
                    <a:lnTo>
                      <a:pt x="0" y="152"/>
                    </a:lnTo>
                    <a:lnTo>
                      <a:pt x="4" y="152"/>
                    </a:lnTo>
                    <a:lnTo>
                      <a:pt x="4" y="152"/>
                    </a:lnTo>
                    <a:lnTo>
                      <a:pt x="6" y="152"/>
                    </a:lnTo>
                    <a:lnTo>
                      <a:pt x="8" y="152"/>
                    </a:lnTo>
                    <a:lnTo>
                      <a:pt x="10" y="150"/>
                    </a:lnTo>
                    <a:lnTo>
                      <a:pt x="8" y="146"/>
                    </a:lnTo>
                    <a:lnTo>
                      <a:pt x="8" y="146"/>
                    </a:lnTo>
                    <a:lnTo>
                      <a:pt x="6" y="144"/>
                    </a:lnTo>
                    <a:lnTo>
                      <a:pt x="8" y="142"/>
                    </a:lnTo>
                    <a:lnTo>
                      <a:pt x="8" y="140"/>
                    </a:lnTo>
                    <a:lnTo>
                      <a:pt x="8" y="138"/>
                    </a:lnTo>
                    <a:lnTo>
                      <a:pt x="8" y="138"/>
                    </a:lnTo>
                    <a:lnTo>
                      <a:pt x="10" y="136"/>
                    </a:lnTo>
                    <a:lnTo>
                      <a:pt x="14" y="132"/>
                    </a:lnTo>
                    <a:lnTo>
                      <a:pt x="16" y="130"/>
                    </a:lnTo>
                    <a:lnTo>
                      <a:pt x="18" y="126"/>
                    </a:lnTo>
                    <a:lnTo>
                      <a:pt x="18" y="122"/>
                    </a:lnTo>
                    <a:lnTo>
                      <a:pt x="16" y="116"/>
                    </a:lnTo>
                    <a:lnTo>
                      <a:pt x="16" y="116"/>
                    </a:lnTo>
                    <a:lnTo>
                      <a:pt x="20" y="114"/>
                    </a:lnTo>
                    <a:lnTo>
                      <a:pt x="22" y="110"/>
                    </a:lnTo>
                    <a:lnTo>
                      <a:pt x="22" y="110"/>
                    </a:lnTo>
                    <a:lnTo>
                      <a:pt x="20" y="108"/>
                    </a:lnTo>
                    <a:lnTo>
                      <a:pt x="18" y="106"/>
                    </a:lnTo>
                    <a:lnTo>
                      <a:pt x="16" y="104"/>
                    </a:lnTo>
                    <a:lnTo>
                      <a:pt x="16" y="100"/>
                    </a:lnTo>
                    <a:lnTo>
                      <a:pt x="16" y="100"/>
                    </a:lnTo>
                    <a:lnTo>
                      <a:pt x="14" y="96"/>
                    </a:lnTo>
                    <a:lnTo>
                      <a:pt x="14" y="92"/>
                    </a:lnTo>
                    <a:lnTo>
                      <a:pt x="14" y="86"/>
                    </a:lnTo>
                    <a:lnTo>
                      <a:pt x="14" y="86"/>
                    </a:lnTo>
                    <a:lnTo>
                      <a:pt x="14" y="82"/>
                    </a:lnTo>
                    <a:lnTo>
                      <a:pt x="12" y="80"/>
                    </a:lnTo>
                    <a:lnTo>
                      <a:pt x="12" y="78"/>
                    </a:lnTo>
                    <a:lnTo>
                      <a:pt x="12" y="78"/>
                    </a:lnTo>
                    <a:lnTo>
                      <a:pt x="18" y="76"/>
                    </a:lnTo>
                    <a:lnTo>
                      <a:pt x="22" y="72"/>
                    </a:lnTo>
                    <a:lnTo>
                      <a:pt x="26" y="68"/>
                    </a:lnTo>
                    <a:lnTo>
                      <a:pt x="34" y="66"/>
                    </a:lnTo>
                    <a:lnTo>
                      <a:pt x="34" y="66"/>
                    </a:lnTo>
                    <a:lnTo>
                      <a:pt x="42" y="64"/>
                    </a:lnTo>
                    <a:lnTo>
                      <a:pt x="44" y="62"/>
                    </a:lnTo>
                    <a:lnTo>
                      <a:pt x="44" y="60"/>
                    </a:lnTo>
                    <a:lnTo>
                      <a:pt x="44" y="56"/>
                    </a:lnTo>
                    <a:lnTo>
                      <a:pt x="46" y="52"/>
                    </a:lnTo>
                    <a:lnTo>
                      <a:pt x="46" y="52"/>
                    </a:lnTo>
                    <a:lnTo>
                      <a:pt x="48" y="48"/>
                    </a:lnTo>
                    <a:lnTo>
                      <a:pt x="48" y="44"/>
                    </a:lnTo>
                    <a:lnTo>
                      <a:pt x="48" y="40"/>
                    </a:lnTo>
                    <a:lnTo>
                      <a:pt x="50" y="38"/>
                    </a:lnTo>
                    <a:lnTo>
                      <a:pt x="50" y="38"/>
                    </a:lnTo>
                    <a:lnTo>
                      <a:pt x="52" y="36"/>
                    </a:lnTo>
                    <a:lnTo>
                      <a:pt x="56" y="36"/>
                    </a:lnTo>
                    <a:lnTo>
                      <a:pt x="58" y="36"/>
                    </a:lnTo>
                    <a:lnTo>
                      <a:pt x="62" y="36"/>
                    </a:lnTo>
                    <a:lnTo>
                      <a:pt x="62" y="36"/>
                    </a:lnTo>
                    <a:lnTo>
                      <a:pt x="64" y="34"/>
                    </a:lnTo>
                    <a:lnTo>
                      <a:pt x="64" y="30"/>
                    </a:lnTo>
                    <a:lnTo>
                      <a:pt x="66" y="26"/>
                    </a:lnTo>
                    <a:lnTo>
                      <a:pt x="72" y="20"/>
                    </a:lnTo>
                    <a:lnTo>
                      <a:pt x="72" y="20"/>
                    </a:lnTo>
                    <a:lnTo>
                      <a:pt x="80" y="16"/>
                    </a:lnTo>
                    <a:lnTo>
                      <a:pt x="90" y="10"/>
                    </a:lnTo>
                    <a:lnTo>
                      <a:pt x="90" y="10"/>
                    </a:lnTo>
                    <a:lnTo>
                      <a:pt x="100" y="6"/>
                    </a:lnTo>
                    <a:lnTo>
                      <a:pt x="102" y="6"/>
                    </a:lnTo>
                    <a:lnTo>
                      <a:pt x="104" y="8"/>
                    </a:lnTo>
                    <a:lnTo>
                      <a:pt x="108" y="10"/>
                    </a:lnTo>
                    <a:lnTo>
                      <a:pt x="110" y="10"/>
                    </a:lnTo>
                    <a:lnTo>
                      <a:pt x="114" y="10"/>
                    </a:lnTo>
                    <a:lnTo>
                      <a:pt x="114" y="10"/>
                    </a:lnTo>
                    <a:lnTo>
                      <a:pt x="122" y="6"/>
                    </a:lnTo>
                    <a:lnTo>
                      <a:pt x="134" y="0"/>
                    </a:lnTo>
                    <a:lnTo>
                      <a:pt x="134" y="0"/>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Switzerland"/>
              <p:cNvSpPr>
                <a:spLocks/>
              </p:cNvSpPr>
              <p:nvPr/>
            </p:nvSpPr>
            <p:spPr bwMode="auto">
              <a:xfrm>
                <a:off x="5947361" y="1949235"/>
                <a:ext cx="121505" cy="54627"/>
              </a:xfrm>
              <a:custGeom>
                <a:avLst/>
                <a:gdLst/>
                <a:ahLst/>
                <a:cxnLst>
                  <a:cxn ang="0">
                    <a:pos x="20" y="36"/>
                  </a:cxn>
                  <a:cxn ang="0">
                    <a:pos x="18" y="32"/>
                  </a:cxn>
                  <a:cxn ang="0">
                    <a:pos x="16" y="28"/>
                  </a:cxn>
                  <a:cxn ang="0">
                    <a:pos x="14" y="26"/>
                  </a:cxn>
                  <a:cxn ang="0">
                    <a:pos x="10" y="26"/>
                  </a:cxn>
                  <a:cxn ang="0">
                    <a:pos x="6" y="28"/>
                  </a:cxn>
                  <a:cxn ang="0">
                    <a:pos x="2" y="32"/>
                  </a:cxn>
                  <a:cxn ang="0">
                    <a:pos x="0" y="30"/>
                  </a:cxn>
                  <a:cxn ang="0">
                    <a:pos x="4" y="14"/>
                  </a:cxn>
                  <a:cxn ang="0">
                    <a:pos x="6" y="12"/>
                  </a:cxn>
                  <a:cxn ang="0">
                    <a:pos x="14" y="8"/>
                  </a:cxn>
                  <a:cxn ang="0">
                    <a:pos x="16" y="6"/>
                  </a:cxn>
                  <a:cxn ang="0">
                    <a:pos x="16" y="4"/>
                  </a:cxn>
                  <a:cxn ang="0">
                    <a:pos x="14" y="4"/>
                  </a:cxn>
                  <a:cxn ang="0">
                    <a:pos x="18" y="2"/>
                  </a:cxn>
                  <a:cxn ang="0">
                    <a:pos x="22" y="2"/>
                  </a:cxn>
                  <a:cxn ang="0">
                    <a:pos x="26" y="0"/>
                  </a:cxn>
                  <a:cxn ang="0">
                    <a:pos x="28" y="0"/>
                  </a:cxn>
                  <a:cxn ang="0">
                    <a:pos x="38" y="2"/>
                  </a:cxn>
                  <a:cxn ang="0">
                    <a:pos x="44" y="2"/>
                  </a:cxn>
                  <a:cxn ang="0">
                    <a:pos x="44" y="0"/>
                  </a:cxn>
                  <a:cxn ang="0">
                    <a:pos x="44" y="0"/>
                  </a:cxn>
                  <a:cxn ang="0">
                    <a:pos x="62" y="4"/>
                  </a:cxn>
                  <a:cxn ang="0">
                    <a:pos x="66" y="6"/>
                  </a:cxn>
                  <a:cxn ang="0">
                    <a:pos x="64" y="10"/>
                  </a:cxn>
                  <a:cxn ang="0">
                    <a:pos x="66" y="12"/>
                  </a:cxn>
                  <a:cxn ang="0">
                    <a:pos x="70" y="14"/>
                  </a:cxn>
                  <a:cxn ang="0">
                    <a:pos x="74" y="16"/>
                  </a:cxn>
                  <a:cxn ang="0">
                    <a:pos x="78" y="14"/>
                  </a:cxn>
                  <a:cxn ang="0">
                    <a:pos x="80" y="20"/>
                  </a:cxn>
                  <a:cxn ang="0">
                    <a:pos x="80" y="22"/>
                  </a:cxn>
                  <a:cxn ang="0">
                    <a:pos x="76" y="22"/>
                  </a:cxn>
                  <a:cxn ang="0">
                    <a:pos x="74" y="22"/>
                  </a:cxn>
                  <a:cxn ang="0">
                    <a:pos x="76" y="26"/>
                  </a:cxn>
                  <a:cxn ang="0">
                    <a:pos x="76" y="28"/>
                  </a:cxn>
                  <a:cxn ang="0">
                    <a:pos x="74" y="28"/>
                  </a:cxn>
                  <a:cxn ang="0">
                    <a:pos x="70" y="26"/>
                  </a:cxn>
                  <a:cxn ang="0">
                    <a:pos x="68" y="26"/>
                  </a:cxn>
                  <a:cxn ang="0">
                    <a:pos x="66" y="24"/>
                  </a:cxn>
                  <a:cxn ang="0">
                    <a:pos x="64" y="26"/>
                  </a:cxn>
                  <a:cxn ang="0">
                    <a:pos x="60" y="30"/>
                  </a:cxn>
                  <a:cxn ang="0">
                    <a:pos x="58" y="34"/>
                  </a:cxn>
                  <a:cxn ang="0">
                    <a:pos x="56" y="34"/>
                  </a:cxn>
                  <a:cxn ang="0">
                    <a:pos x="50" y="32"/>
                  </a:cxn>
                  <a:cxn ang="0">
                    <a:pos x="48" y="28"/>
                  </a:cxn>
                  <a:cxn ang="0">
                    <a:pos x="48" y="26"/>
                  </a:cxn>
                  <a:cxn ang="0">
                    <a:pos x="44" y="26"/>
                  </a:cxn>
                  <a:cxn ang="0">
                    <a:pos x="36" y="34"/>
                  </a:cxn>
                  <a:cxn ang="0">
                    <a:pos x="34" y="36"/>
                  </a:cxn>
                  <a:cxn ang="0">
                    <a:pos x="30" y="34"/>
                  </a:cxn>
                  <a:cxn ang="0">
                    <a:pos x="20" y="36"/>
                  </a:cxn>
                </a:cxnLst>
                <a:rect l="0" t="0" r="r" b="b"/>
                <a:pathLst>
                  <a:path w="80" h="36">
                    <a:moveTo>
                      <a:pt x="20" y="36"/>
                    </a:moveTo>
                    <a:lnTo>
                      <a:pt x="20" y="36"/>
                    </a:lnTo>
                    <a:lnTo>
                      <a:pt x="18" y="34"/>
                    </a:lnTo>
                    <a:lnTo>
                      <a:pt x="18" y="32"/>
                    </a:lnTo>
                    <a:lnTo>
                      <a:pt x="18" y="32"/>
                    </a:lnTo>
                    <a:lnTo>
                      <a:pt x="16" y="28"/>
                    </a:lnTo>
                    <a:lnTo>
                      <a:pt x="14" y="26"/>
                    </a:lnTo>
                    <a:lnTo>
                      <a:pt x="14" y="26"/>
                    </a:lnTo>
                    <a:lnTo>
                      <a:pt x="12" y="26"/>
                    </a:lnTo>
                    <a:lnTo>
                      <a:pt x="10" y="26"/>
                    </a:lnTo>
                    <a:lnTo>
                      <a:pt x="6" y="28"/>
                    </a:lnTo>
                    <a:lnTo>
                      <a:pt x="6" y="28"/>
                    </a:lnTo>
                    <a:lnTo>
                      <a:pt x="2" y="30"/>
                    </a:lnTo>
                    <a:lnTo>
                      <a:pt x="2" y="32"/>
                    </a:lnTo>
                    <a:lnTo>
                      <a:pt x="0" y="30"/>
                    </a:lnTo>
                    <a:lnTo>
                      <a:pt x="0" y="30"/>
                    </a:lnTo>
                    <a:lnTo>
                      <a:pt x="2" y="22"/>
                    </a:lnTo>
                    <a:lnTo>
                      <a:pt x="4" y="14"/>
                    </a:lnTo>
                    <a:lnTo>
                      <a:pt x="4" y="14"/>
                    </a:lnTo>
                    <a:lnTo>
                      <a:pt x="6" y="12"/>
                    </a:lnTo>
                    <a:lnTo>
                      <a:pt x="8" y="12"/>
                    </a:lnTo>
                    <a:lnTo>
                      <a:pt x="14" y="8"/>
                    </a:lnTo>
                    <a:lnTo>
                      <a:pt x="14" y="8"/>
                    </a:lnTo>
                    <a:lnTo>
                      <a:pt x="16" y="6"/>
                    </a:lnTo>
                    <a:lnTo>
                      <a:pt x="16" y="6"/>
                    </a:lnTo>
                    <a:lnTo>
                      <a:pt x="16" y="4"/>
                    </a:lnTo>
                    <a:lnTo>
                      <a:pt x="16" y="4"/>
                    </a:lnTo>
                    <a:lnTo>
                      <a:pt x="14" y="4"/>
                    </a:lnTo>
                    <a:lnTo>
                      <a:pt x="16" y="2"/>
                    </a:lnTo>
                    <a:lnTo>
                      <a:pt x="18" y="2"/>
                    </a:lnTo>
                    <a:lnTo>
                      <a:pt x="22" y="2"/>
                    </a:lnTo>
                    <a:lnTo>
                      <a:pt x="22" y="2"/>
                    </a:lnTo>
                    <a:lnTo>
                      <a:pt x="24" y="2"/>
                    </a:lnTo>
                    <a:lnTo>
                      <a:pt x="26" y="0"/>
                    </a:lnTo>
                    <a:lnTo>
                      <a:pt x="26" y="0"/>
                    </a:lnTo>
                    <a:lnTo>
                      <a:pt x="28" y="0"/>
                    </a:lnTo>
                    <a:lnTo>
                      <a:pt x="28" y="0"/>
                    </a:lnTo>
                    <a:lnTo>
                      <a:pt x="38" y="2"/>
                    </a:lnTo>
                    <a:lnTo>
                      <a:pt x="42" y="2"/>
                    </a:lnTo>
                    <a:lnTo>
                      <a:pt x="44" y="2"/>
                    </a:lnTo>
                    <a:lnTo>
                      <a:pt x="44" y="0"/>
                    </a:lnTo>
                    <a:lnTo>
                      <a:pt x="44" y="0"/>
                    </a:lnTo>
                    <a:lnTo>
                      <a:pt x="44" y="0"/>
                    </a:lnTo>
                    <a:lnTo>
                      <a:pt x="44" y="0"/>
                    </a:lnTo>
                    <a:lnTo>
                      <a:pt x="48" y="0"/>
                    </a:lnTo>
                    <a:lnTo>
                      <a:pt x="62" y="4"/>
                    </a:lnTo>
                    <a:lnTo>
                      <a:pt x="62" y="4"/>
                    </a:lnTo>
                    <a:lnTo>
                      <a:pt x="66" y="6"/>
                    </a:lnTo>
                    <a:lnTo>
                      <a:pt x="64" y="8"/>
                    </a:lnTo>
                    <a:lnTo>
                      <a:pt x="64" y="10"/>
                    </a:lnTo>
                    <a:lnTo>
                      <a:pt x="66" y="12"/>
                    </a:lnTo>
                    <a:lnTo>
                      <a:pt x="66" y="12"/>
                    </a:lnTo>
                    <a:lnTo>
                      <a:pt x="70" y="12"/>
                    </a:lnTo>
                    <a:lnTo>
                      <a:pt x="70" y="14"/>
                    </a:lnTo>
                    <a:lnTo>
                      <a:pt x="72" y="16"/>
                    </a:lnTo>
                    <a:lnTo>
                      <a:pt x="74" y="16"/>
                    </a:lnTo>
                    <a:lnTo>
                      <a:pt x="74" y="16"/>
                    </a:lnTo>
                    <a:lnTo>
                      <a:pt x="78" y="14"/>
                    </a:lnTo>
                    <a:lnTo>
                      <a:pt x="78" y="16"/>
                    </a:lnTo>
                    <a:lnTo>
                      <a:pt x="80" y="20"/>
                    </a:lnTo>
                    <a:lnTo>
                      <a:pt x="80" y="20"/>
                    </a:lnTo>
                    <a:lnTo>
                      <a:pt x="80" y="22"/>
                    </a:lnTo>
                    <a:lnTo>
                      <a:pt x="76" y="22"/>
                    </a:lnTo>
                    <a:lnTo>
                      <a:pt x="76" y="22"/>
                    </a:lnTo>
                    <a:lnTo>
                      <a:pt x="74" y="22"/>
                    </a:lnTo>
                    <a:lnTo>
                      <a:pt x="74" y="22"/>
                    </a:lnTo>
                    <a:lnTo>
                      <a:pt x="76" y="26"/>
                    </a:lnTo>
                    <a:lnTo>
                      <a:pt x="76" y="26"/>
                    </a:lnTo>
                    <a:lnTo>
                      <a:pt x="76" y="28"/>
                    </a:lnTo>
                    <a:lnTo>
                      <a:pt x="76" y="28"/>
                    </a:lnTo>
                    <a:lnTo>
                      <a:pt x="74" y="28"/>
                    </a:lnTo>
                    <a:lnTo>
                      <a:pt x="74" y="28"/>
                    </a:lnTo>
                    <a:lnTo>
                      <a:pt x="72" y="26"/>
                    </a:lnTo>
                    <a:lnTo>
                      <a:pt x="70" y="26"/>
                    </a:lnTo>
                    <a:lnTo>
                      <a:pt x="70" y="26"/>
                    </a:lnTo>
                    <a:lnTo>
                      <a:pt x="68" y="26"/>
                    </a:lnTo>
                    <a:lnTo>
                      <a:pt x="66" y="24"/>
                    </a:lnTo>
                    <a:lnTo>
                      <a:pt x="66" y="24"/>
                    </a:lnTo>
                    <a:lnTo>
                      <a:pt x="64" y="24"/>
                    </a:lnTo>
                    <a:lnTo>
                      <a:pt x="64" y="26"/>
                    </a:lnTo>
                    <a:lnTo>
                      <a:pt x="62" y="28"/>
                    </a:lnTo>
                    <a:lnTo>
                      <a:pt x="60" y="30"/>
                    </a:lnTo>
                    <a:lnTo>
                      <a:pt x="60" y="30"/>
                    </a:lnTo>
                    <a:lnTo>
                      <a:pt x="58" y="34"/>
                    </a:lnTo>
                    <a:lnTo>
                      <a:pt x="58" y="34"/>
                    </a:lnTo>
                    <a:lnTo>
                      <a:pt x="56" y="34"/>
                    </a:lnTo>
                    <a:lnTo>
                      <a:pt x="56" y="34"/>
                    </a:lnTo>
                    <a:lnTo>
                      <a:pt x="50" y="32"/>
                    </a:lnTo>
                    <a:lnTo>
                      <a:pt x="48" y="30"/>
                    </a:lnTo>
                    <a:lnTo>
                      <a:pt x="48" y="28"/>
                    </a:lnTo>
                    <a:lnTo>
                      <a:pt x="48" y="28"/>
                    </a:lnTo>
                    <a:lnTo>
                      <a:pt x="48" y="26"/>
                    </a:lnTo>
                    <a:lnTo>
                      <a:pt x="44" y="26"/>
                    </a:lnTo>
                    <a:lnTo>
                      <a:pt x="44" y="26"/>
                    </a:lnTo>
                    <a:lnTo>
                      <a:pt x="40" y="30"/>
                    </a:lnTo>
                    <a:lnTo>
                      <a:pt x="36" y="34"/>
                    </a:lnTo>
                    <a:lnTo>
                      <a:pt x="36" y="34"/>
                    </a:lnTo>
                    <a:lnTo>
                      <a:pt x="34" y="36"/>
                    </a:lnTo>
                    <a:lnTo>
                      <a:pt x="30" y="34"/>
                    </a:lnTo>
                    <a:lnTo>
                      <a:pt x="30" y="34"/>
                    </a:lnTo>
                    <a:lnTo>
                      <a:pt x="24" y="34"/>
                    </a:lnTo>
                    <a:lnTo>
                      <a:pt x="20" y="36"/>
                    </a:lnTo>
                    <a:lnTo>
                      <a:pt x="20" y="36"/>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United States"/>
              <p:cNvSpPr>
                <a:spLocks/>
              </p:cNvSpPr>
              <p:nvPr/>
            </p:nvSpPr>
            <p:spPr bwMode="auto">
              <a:xfrm>
                <a:off x="1488102" y="1354408"/>
                <a:ext cx="2421000" cy="1368710"/>
              </a:xfrm>
              <a:custGeom>
                <a:avLst/>
                <a:gdLst/>
                <a:ahLst/>
                <a:cxnLst/>
                <a:rect l="l" t="t" r="r" b="b"/>
                <a:pathLst>
                  <a:path w="2108729" h="1193271">
                    <a:moveTo>
                      <a:pt x="1471083" y="468313"/>
                    </a:moveTo>
                    <a:lnTo>
                      <a:pt x="1473729" y="470959"/>
                    </a:lnTo>
                    <a:lnTo>
                      <a:pt x="1471083" y="478896"/>
                    </a:lnTo>
                    <a:lnTo>
                      <a:pt x="1468437" y="481542"/>
                    </a:lnTo>
                    <a:lnTo>
                      <a:pt x="1468437" y="486834"/>
                    </a:lnTo>
                    <a:lnTo>
                      <a:pt x="1471083" y="486834"/>
                    </a:lnTo>
                    <a:lnTo>
                      <a:pt x="1479021" y="489480"/>
                    </a:lnTo>
                    <a:lnTo>
                      <a:pt x="1489604" y="492126"/>
                    </a:lnTo>
                    <a:lnTo>
                      <a:pt x="1502833" y="497417"/>
                    </a:lnTo>
                    <a:lnTo>
                      <a:pt x="1510771" y="500063"/>
                    </a:lnTo>
                    <a:lnTo>
                      <a:pt x="1516062" y="500063"/>
                    </a:lnTo>
                    <a:lnTo>
                      <a:pt x="1518708" y="500063"/>
                    </a:lnTo>
                    <a:lnTo>
                      <a:pt x="1524000" y="502709"/>
                    </a:lnTo>
                    <a:lnTo>
                      <a:pt x="1529292" y="505355"/>
                    </a:lnTo>
                    <a:lnTo>
                      <a:pt x="1534583" y="505355"/>
                    </a:lnTo>
                    <a:lnTo>
                      <a:pt x="1545167" y="502709"/>
                    </a:lnTo>
                    <a:lnTo>
                      <a:pt x="1558396" y="505355"/>
                    </a:lnTo>
                    <a:lnTo>
                      <a:pt x="1563687" y="508001"/>
                    </a:lnTo>
                    <a:lnTo>
                      <a:pt x="1571625" y="510646"/>
                    </a:lnTo>
                    <a:lnTo>
                      <a:pt x="1558396" y="510646"/>
                    </a:lnTo>
                    <a:lnTo>
                      <a:pt x="1553104" y="513292"/>
                    </a:lnTo>
                    <a:lnTo>
                      <a:pt x="1539875" y="523876"/>
                    </a:lnTo>
                    <a:lnTo>
                      <a:pt x="1529292" y="529167"/>
                    </a:lnTo>
                    <a:lnTo>
                      <a:pt x="1521354" y="534459"/>
                    </a:lnTo>
                    <a:lnTo>
                      <a:pt x="1500187" y="545042"/>
                    </a:lnTo>
                    <a:lnTo>
                      <a:pt x="1494896" y="547688"/>
                    </a:lnTo>
                    <a:lnTo>
                      <a:pt x="1497542" y="550334"/>
                    </a:lnTo>
                    <a:lnTo>
                      <a:pt x="1516062" y="547688"/>
                    </a:lnTo>
                    <a:lnTo>
                      <a:pt x="1531937" y="547688"/>
                    </a:lnTo>
                    <a:lnTo>
                      <a:pt x="1531937" y="552980"/>
                    </a:lnTo>
                    <a:lnTo>
                      <a:pt x="1531937" y="555626"/>
                    </a:lnTo>
                    <a:lnTo>
                      <a:pt x="1534583" y="555626"/>
                    </a:lnTo>
                    <a:lnTo>
                      <a:pt x="1545167" y="552980"/>
                    </a:lnTo>
                    <a:lnTo>
                      <a:pt x="1553104" y="550334"/>
                    </a:lnTo>
                    <a:lnTo>
                      <a:pt x="1568979" y="545042"/>
                    </a:lnTo>
                    <a:lnTo>
                      <a:pt x="1579562" y="542396"/>
                    </a:lnTo>
                    <a:lnTo>
                      <a:pt x="1582208" y="537105"/>
                    </a:lnTo>
                    <a:lnTo>
                      <a:pt x="1587500" y="534459"/>
                    </a:lnTo>
                    <a:lnTo>
                      <a:pt x="1598083" y="529167"/>
                    </a:lnTo>
                    <a:lnTo>
                      <a:pt x="1606021" y="529167"/>
                    </a:lnTo>
                    <a:lnTo>
                      <a:pt x="1608667" y="529167"/>
                    </a:lnTo>
                    <a:lnTo>
                      <a:pt x="1600729" y="531813"/>
                    </a:lnTo>
                    <a:lnTo>
                      <a:pt x="1592792" y="537105"/>
                    </a:lnTo>
                    <a:lnTo>
                      <a:pt x="1590146" y="537105"/>
                    </a:lnTo>
                    <a:lnTo>
                      <a:pt x="1592792" y="539751"/>
                    </a:lnTo>
                    <a:lnTo>
                      <a:pt x="1598083" y="537105"/>
                    </a:lnTo>
                    <a:lnTo>
                      <a:pt x="1603375" y="537105"/>
                    </a:lnTo>
                    <a:lnTo>
                      <a:pt x="1608667" y="539751"/>
                    </a:lnTo>
                    <a:lnTo>
                      <a:pt x="1613958" y="542396"/>
                    </a:lnTo>
                    <a:lnTo>
                      <a:pt x="1613958" y="545042"/>
                    </a:lnTo>
                    <a:lnTo>
                      <a:pt x="1624542" y="550334"/>
                    </a:lnTo>
                    <a:lnTo>
                      <a:pt x="1635125" y="547688"/>
                    </a:lnTo>
                    <a:lnTo>
                      <a:pt x="1643062" y="547688"/>
                    </a:lnTo>
                    <a:lnTo>
                      <a:pt x="1651000" y="547688"/>
                    </a:lnTo>
                    <a:lnTo>
                      <a:pt x="1658937" y="547688"/>
                    </a:lnTo>
                    <a:lnTo>
                      <a:pt x="1669521" y="547688"/>
                    </a:lnTo>
                    <a:lnTo>
                      <a:pt x="1672167" y="550334"/>
                    </a:lnTo>
                    <a:lnTo>
                      <a:pt x="1669521" y="552980"/>
                    </a:lnTo>
                    <a:lnTo>
                      <a:pt x="1669521" y="555626"/>
                    </a:lnTo>
                    <a:lnTo>
                      <a:pt x="1677458" y="555626"/>
                    </a:lnTo>
                    <a:lnTo>
                      <a:pt x="1685396" y="555626"/>
                    </a:lnTo>
                    <a:lnTo>
                      <a:pt x="1688042" y="555626"/>
                    </a:lnTo>
                    <a:lnTo>
                      <a:pt x="1690687" y="555626"/>
                    </a:lnTo>
                    <a:lnTo>
                      <a:pt x="1695979" y="560917"/>
                    </a:lnTo>
                    <a:lnTo>
                      <a:pt x="1695979" y="563563"/>
                    </a:lnTo>
                    <a:lnTo>
                      <a:pt x="1695979" y="566209"/>
                    </a:lnTo>
                    <a:lnTo>
                      <a:pt x="1685396" y="566209"/>
                    </a:lnTo>
                    <a:lnTo>
                      <a:pt x="1674812" y="566209"/>
                    </a:lnTo>
                    <a:lnTo>
                      <a:pt x="1669521" y="566209"/>
                    </a:lnTo>
                    <a:lnTo>
                      <a:pt x="1669521" y="568855"/>
                    </a:lnTo>
                    <a:lnTo>
                      <a:pt x="1664229" y="566209"/>
                    </a:lnTo>
                    <a:lnTo>
                      <a:pt x="1658937" y="563563"/>
                    </a:lnTo>
                    <a:lnTo>
                      <a:pt x="1651000" y="566209"/>
                    </a:lnTo>
                    <a:lnTo>
                      <a:pt x="1648354" y="566209"/>
                    </a:lnTo>
                    <a:lnTo>
                      <a:pt x="1640417" y="566209"/>
                    </a:lnTo>
                    <a:lnTo>
                      <a:pt x="1635125" y="566209"/>
                    </a:lnTo>
                    <a:lnTo>
                      <a:pt x="1627187" y="571501"/>
                    </a:lnTo>
                    <a:lnTo>
                      <a:pt x="1619250" y="574146"/>
                    </a:lnTo>
                    <a:lnTo>
                      <a:pt x="1616604" y="574146"/>
                    </a:lnTo>
                    <a:lnTo>
                      <a:pt x="1613958" y="574146"/>
                    </a:lnTo>
                    <a:lnTo>
                      <a:pt x="1616604" y="571501"/>
                    </a:lnTo>
                    <a:lnTo>
                      <a:pt x="1616604" y="568855"/>
                    </a:lnTo>
                    <a:lnTo>
                      <a:pt x="1608667" y="574146"/>
                    </a:lnTo>
                    <a:lnTo>
                      <a:pt x="1595437" y="584730"/>
                    </a:lnTo>
                    <a:lnTo>
                      <a:pt x="1582208" y="597959"/>
                    </a:lnTo>
                    <a:lnTo>
                      <a:pt x="1595437" y="590021"/>
                    </a:lnTo>
                    <a:lnTo>
                      <a:pt x="1606021" y="584730"/>
                    </a:lnTo>
                    <a:lnTo>
                      <a:pt x="1613958" y="579438"/>
                    </a:lnTo>
                    <a:lnTo>
                      <a:pt x="1603375" y="590021"/>
                    </a:lnTo>
                    <a:lnTo>
                      <a:pt x="1592792" y="600605"/>
                    </a:lnTo>
                    <a:lnTo>
                      <a:pt x="1582208" y="611188"/>
                    </a:lnTo>
                    <a:lnTo>
                      <a:pt x="1571625" y="624417"/>
                    </a:lnTo>
                    <a:lnTo>
                      <a:pt x="1566333" y="629709"/>
                    </a:lnTo>
                    <a:lnTo>
                      <a:pt x="1563687" y="637646"/>
                    </a:lnTo>
                    <a:lnTo>
                      <a:pt x="1555750" y="648230"/>
                    </a:lnTo>
                    <a:lnTo>
                      <a:pt x="1545167" y="661459"/>
                    </a:lnTo>
                    <a:lnTo>
                      <a:pt x="1542521" y="674688"/>
                    </a:lnTo>
                    <a:lnTo>
                      <a:pt x="1545167" y="682626"/>
                    </a:lnTo>
                    <a:lnTo>
                      <a:pt x="1545167" y="685271"/>
                    </a:lnTo>
                    <a:lnTo>
                      <a:pt x="1550458" y="685271"/>
                    </a:lnTo>
                    <a:lnTo>
                      <a:pt x="1568979" y="679980"/>
                    </a:lnTo>
                    <a:lnTo>
                      <a:pt x="1579562" y="674688"/>
                    </a:lnTo>
                    <a:lnTo>
                      <a:pt x="1592792" y="666751"/>
                    </a:lnTo>
                    <a:lnTo>
                      <a:pt x="1600729" y="656167"/>
                    </a:lnTo>
                    <a:lnTo>
                      <a:pt x="1603375" y="645584"/>
                    </a:lnTo>
                    <a:lnTo>
                      <a:pt x="1606021" y="640292"/>
                    </a:lnTo>
                    <a:lnTo>
                      <a:pt x="1603375" y="635001"/>
                    </a:lnTo>
                    <a:lnTo>
                      <a:pt x="1600729" y="632355"/>
                    </a:lnTo>
                    <a:lnTo>
                      <a:pt x="1603375" y="629709"/>
                    </a:lnTo>
                    <a:lnTo>
                      <a:pt x="1608667" y="616480"/>
                    </a:lnTo>
                    <a:lnTo>
                      <a:pt x="1616604" y="605896"/>
                    </a:lnTo>
                    <a:lnTo>
                      <a:pt x="1619250" y="600605"/>
                    </a:lnTo>
                    <a:lnTo>
                      <a:pt x="1627187" y="592667"/>
                    </a:lnTo>
                    <a:lnTo>
                      <a:pt x="1629833" y="590021"/>
                    </a:lnTo>
                    <a:lnTo>
                      <a:pt x="1632479" y="590021"/>
                    </a:lnTo>
                    <a:lnTo>
                      <a:pt x="1635125" y="592667"/>
                    </a:lnTo>
                    <a:lnTo>
                      <a:pt x="1632479" y="597959"/>
                    </a:lnTo>
                    <a:lnTo>
                      <a:pt x="1635125" y="597959"/>
                    </a:lnTo>
                    <a:lnTo>
                      <a:pt x="1637771" y="592667"/>
                    </a:lnTo>
                    <a:lnTo>
                      <a:pt x="1640417" y="590021"/>
                    </a:lnTo>
                    <a:lnTo>
                      <a:pt x="1643062" y="587376"/>
                    </a:lnTo>
                    <a:lnTo>
                      <a:pt x="1648354" y="584730"/>
                    </a:lnTo>
                    <a:lnTo>
                      <a:pt x="1651000" y="579438"/>
                    </a:lnTo>
                    <a:lnTo>
                      <a:pt x="1653646" y="576792"/>
                    </a:lnTo>
                    <a:lnTo>
                      <a:pt x="1658937" y="574146"/>
                    </a:lnTo>
                    <a:lnTo>
                      <a:pt x="1666875" y="571501"/>
                    </a:lnTo>
                    <a:lnTo>
                      <a:pt x="1672167" y="571501"/>
                    </a:lnTo>
                    <a:lnTo>
                      <a:pt x="1677458" y="574146"/>
                    </a:lnTo>
                    <a:lnTo>
                      <a:pt x="1682750" y="579438"/>
                    </a:lnTo>
                    <a:lnTo>
                      <a:pt x="1685396" y="584730"/>
                    </a:lnTo>
                    <a:lnTo>
                      <a:pt x="1685396" y="587376"/>
                    </a:lnTo>
                    <a:lnTo>
                      <a:pt x="1688042" y="592667"/>
                    </a:lnTo>
                    <a:lnTo>
                      <a:pt x="1685396" y="600605"/>
                    </a:lnTo>
                    <a:lnTo>
                      <a:pt x="1680104" y="608542"/>
                    </a:lnTo>
                    <a:lnTo>
                      <a:pt x="1677458" y="611188"/>
                    </a:lnTo>
                    <a:lnTo>
                      <a:pt x="1677458" y="613834"/>
                    </a:lnTo>
                    <a:lnTo>
                      <a:pt x="1674812" y="616480"/>
                    </a:lnTo>
                    <a:lnTo>
                      <a:pt x="1669521" y="619126"/>
                    </a:lnTo>
                    <a:lnTo>
                      <a:pt x="1672167" y="621771"/>
                    </a:lnTo>
                    <a:lnTo>
                      <a:pt x="1677458" y="621771"/>
                    </a:lnTo>
                    <a:lnTo>
                      <a:pt x="1680104" y="621771"/>
                    </a:lnTo>
                    <a:lnTo>
                      <a:pt x="1682750" y="621771"/>
                    </a:lnTo>
                    <a:lnTo>
                      <a:pt x="1685396" y="619126"/>
                    </a:lnTo>
                    <a:lnTo>
                      <a:pt x="1685396" y="616480"/>
                    </a:lnTo>
                    <a:lnTo>
                      <a:pt x="1688042" y="616480"/>
                    </a:lnTo>
                    <a:lnTo>
                      <a:pt x="1690687" y="619126"/>
                    </a:lnTo>
                    <a:lnTo>
                      <a:pt x="1690687" y="627063"/>
                    </a:lnTo>
                    <a:lnTo>
                      <a:pt x="1688042" y="642938"/>
                    </a:lnTo>
                    <a:lnTo>
                      <a:pt x="1685396" y="650876"/>
                    </a:lnTo>
                    <a:lnTo>
                      <a:pt x="1682750" y="650876"/>
                    </a:lnTo>
                    <a:lnTo>
                      <a:pt x="1680104" y="650876"/>
                    </a:lnTo>
                    <a:lnTo>
                      <a:pt x="1677458" y="656167"/>
                    </a:lnTo>
                    <a:lnTo>
                      <a:pt x="1669521" y="669396"/>
                    </a:lnTo>
                    <a:lnTo>
                      <a:pt x="1658937" y="679980"/>
                    </a:lnTo>
                    <a:lnTo>
                      <a:pt x="1658937" y="682626"/>
                    </a:lnTo>
                    <a:lnTo>
                      <a:pt x="1666875" y="685271"/>
                    </a:lnTo>
                    <a:lnTo>
                      <a:pt x="1682750" y="690563"/>
                    </a:lnTo>
                    <a:lnTo>
                      <a:pt x="1688042" y="690563"/>
                    </a:lnTo>
                    <a:lnTo>
                      <a:pt x="1693333" y="687917"/>
                    </a:lnTo>
                    <a:lnTo>
                      <a:pt x="1695979" y="687917"/>
                    </a:lnTo>
                    <a:lnTo>
                      <a:pt x="1701271" y="687917"/>
                    </a:lnTo>
                    <a:lnTo>
                      <a:pt x="1711854" y="685271"/>
                    </a:lnTo>
                    <a:lnTo>
                      <a:pt x="1725083" y="677334"/>
                    </a:lnTo>
                    <a:lnTo>
                      <a:pt x="1740958" y="669396"/>
                    </a:lnTo>
                    <a:lnTo>
                      <a:pt x="1748896" y="666751"/>
                    </a:lnTo>
                    <a:lnTo>
                      <a:pt x="1756833" y="664105"/>
                    </a:lnTo>
                    <a:lnTo>
                      <a:pt x="1767417" y="658813"/>
                    </a:lnTo>
                    <a:lnTo>
                      <a:pt x="1778000" y="653521"/>
                    </a:lnTo>
                    <a:lnTo>
                      <a:pt x="1780646" y="650876"/>
                    </a:lnTo>
                    <a:lnTo>
                      <a:pt x="1778000" y="642938"/>
                    </a:lnTo>
                    <a:lnTo>
                      <a:pt x="1793875" y="642938"/>
                    </a:lnTo>
                    <a:lnTo>
                      <a:pt x="1801813" y="642938"/>
                    </a:lnTo>
                    <a:lnTo>
                      <a:pt x="1807104" y="642938"/>
                    </a:lnTo>
                    <a:lnTo>
                      <a:pt x="1820333" y="642938"/>
                    </a:lnTo>
                    <a:lnTo>
                      <a:pt x="1828271" y="640292"/>
                    </a:lnTo>
                    <a:lnTo>
                      <a:pt x="1833563" y="637646"/>
                    </a:lnTo>
                    <a:lnTo>
                      <a:pt x="1841500" y="635001"/>
                    </a:lnTo>
                    <a:lnTo>
                      <a:pt x="1854729" y="635001"/>
                    </a:lnTo>
                    <a:lnTo>
                      <a:pt x="1854729" y="632355"/>
                    </a:lnTo>
                    <a:lnTo>
                      <a:pt x="1854729" y="629709"/>
                    </a:lnTo>
                    <a:lnTo>
                      <a:pt x="1852083" y="627063"/>
                    </a:lnTo>
                    <a:lnTo>
                      <a:pt x="1854729" y="624417"/>
                    </a:lnTo>
                    <a:lnTo>
                      <a:pt x="1857375" y="621771"/>
                    </a:lnTo>
                    <a:lnTo>
                      <a:pt x="1854729" y="621771"/>
                    </a:lnTo>
                    <a:lnTo>
                      <a:pt x="1854729" y="619126"/>
                    </a:lnTo>
                    <a:lnTo>
                      <a:pt x="1860021" y="613834"/>
                    </a:lnTo>
                    <a:lnTo>
                      <a:pt x="1867958" y="608542"/>
                    </a:lnTo>
                    <a:lnTo>
                      <a:pt x="1875896" y="600605"/>
                    </a:lnTo>
                    <a:lnTo>
                      <a:pt x="1883833" y="590021"/>
                    </a:lnTo>
                    <a:lnTo>
                      <a:pt x="1891771" y="587376"/>
                    </a:lnTo>
                    <a:lnTo>
                      <a:pt x="1897063" y="587376"/>
                    </a:lnTo>
                    <a:lnTo>
                      <a:pt x="1981729" y="587376"/>
                    </a:lnTo>
                    <a:lnTo>
                      <a:pt x="1989667" y="582084"/>
                    </a:lnTo>
                    <a:lnTo>
                      <a:pt x="1992313" y="582084"/>
                    </a:lnTo>
                    <a:lnTo>
                      <a:pt x="1994958" y="579438"/>
                    </a:lnTo>
                    <a:lnTo>
                      <a:pt x="2000250" y="576792"/>
                    </a:lnTo>
                    <a:lnTo>
                      <a:pt x="2005542" y="571501"/>
                    </a:lnTo>
                    <a:lnTo>
                      <a:pt x="2010833" y="568855"/>
                    </a:lnTo>
                    <a:lnTo>
                      <a:pt x="2016125" y="566209"/>
                    </a:lnTo>
                    <a:lnTo>
                      <a:pt x="2018771" y="560917"/>
                    </a:lnTo>
                    <a:lnTo>
                      <a:pt x="2018771" y="558271"/>
                    </a:lnTo>
                    <a:lnTo>
                      <a:pt x="2021417" y="555626"/>
                    </a:lnTo>
                    <a:lnTo>
                      <a:pt x="2029354" y="547688"/>
                    </a:lnTo>
                    <a:lnTo>
                      <a:pt x="2032000" y="542396"/>
                    </a:lnTo>
                    <a:lnTo>
                      <a:pt x="2037292" y="539751"/>
                    </a:lnTo>
                    <a:lnTo>
                      <a:pt x="2039938" y="537105"/>
                    </a:lnTo>
                    <a:lnTo>
                      <a:pt x="2045229" y="531813"/>
                    </a:lnTo>
                    <a:lnTo>
                      <a:pt x="2055813" y="523876"/>
                    </a:lnTo>
                    <a:lnTo>
                      <a:pt x="2058458" y="523876"/>
                    </a:lnTo>
                    <a:lnTo>
                      <a:pt x="2063750" y="526521"/>
                    </a:lnTo>
                    <a:lnTo>
                      <a:pt x="2066396" y="526521"/>
                    </a:lnTo>
                    <a:lnTo>
                      <a:pt x="2071688" y="523876"/>
                    </a:lnTo>
                    <a:lnTo>
                      <a:pt x="2087563" y="518584"/>
                    </a:lnTo>
                    <a:lnTo>
                      <a:pt x="2090208" y="518584"/>
                    </a:lnTo>
                    <a:lnTo>
                      <a:pt x="2092854" y="523876"/>
                    </a:lnTo>
                    <a:lnTo>
                      <a:pt x="2095500" y="526521"/>
                    </a:lnTo>
                    <a:lnTo>
                      <a:pt x="2098146" y="529167"/>
                    </a:lnTo>
                    <a:lnTo>
                      <a:pt x="2095500" y="531813"/>
                    </a:lnTo>
                    <a:lnTo>
                      <a:pt x="2084917" y="566209"/>
                    </a:lnTo>
                    <a:lnTo>
                      <a:pt x="2084917" y="571501"/>
                    </a:lnTo>
                    <a:lnTo>
                      <a:pt x="2087563" y="571501"/>
                    </a:lnTo>
                    <a:lnTo>
                      <a:pt x="2090208" y="574146"/>
                    </a:lnTo>
                    <a:lnTo>
                      <a:pt x="2092854" y="579438"/>
                    </a:lnTo>
                    <a:lnTo>
                      <a:pt x="2098146" y="584730"/>
                    </a:lnTo>
                    <a:lnTo>
                      <a:pt x="2098146" y="582084"/>
                    </a:lnTo>
                    <a:lnTo>
                      <a:pt x="2103438" y="582084"/>
                    </a:lnTo>
                    <a:lnTo>
                      <a:pt x="2106083" y="587376"/>
                    </a:lnTo>
                    <a:lnTo>
                      <a:pt x="2108729" y="590021"/>
                    </a:lnTo>
                    <a:lnTo>
                      <a:pt x="2103438" y="592667"/>
                    </a:lnTo>
                    <a:lnTo>
                      <a:pt x="2092854" y="597959"/>
                    </a:lnTo>
                    <a:lnTo>
                      <a:pt x="2076979" y="605896"/>
                    </a:lnTo>
                    <a:lnTo>
                      <a:pt x="2074333" y="608542"/>
                    </a:lnTo>
                    <a:lnTo>
                      <a:pt x="2071688" y="608542"/>
                    </a:lnTo>
                    <a:lnTo>
                      <a:pt x="2066396" y="605896"/>
                    </a:lnTo>
                    <a:lnTo>
                      <a:pt x="2061104" y="603251"/>
                    </a:lnTo>
                    <a:lnTo>
                      <a:pt x="2058458" y="605896"/>
                    </a:lnTo>
                    <a:lnTo>
                      <a:pt x="2055813" y="611188"/>
                    </a:lnTo>
                    <a:lnTo>
                      <a:pt x="2053167" y="616480"/>
                    </a:lnTo>
                    <a:lnTo>
                      <a:pt x="2050521" y="613834"/>
                    </a:lnTo>
                    <a:lnTo>
                      <a:pt x="2050521" y="608542"/>
                    </a:lnTo>
                    <a:lnTo>
                      <a:pt x="2047875" y="605896"/>
                    </a:lnTo>
                    <a:lnTo>
                      <a:pt x="2047875" y="608542"/>
                    </a:lnTo>
                    <a:lnTo>
                      <a:pt x="2039938" y="619126"/>
                    </a:lnTo>
                    <a:lnTo>
                      <a:pt x="2037292" y="621771"/>
                    </a:lnTo>
                    <a:lnTo>
                      <a:pt x="2032000" y="619126"/>
                    </a:lnTo>
                    <a:lnTo>
                      <a:pt x="2026708" y="621771"/>
                    </a:lnTo>
                    <a:lnTo>
                      <a:pt x="2018771" y="624417"/>
                    </a:lnTo>
                    <a:lnTo>
                      <a:pt x="2013479" y="624417"/>
                    </a:lnTo>
                    <a:lnTo>
                      <a:pt x="2005542" y="627063"/>
                    </a:lnTo>
                    <a:lnTo>
                      <a:pt x="1997604" y="635001"/>
                    </a:lnTo>
                    <a:lnTo>
                      <a:pt x="1989667" y="645584"/>
                    </a:lnTo>
                    <a:lnTo>
                      <a:pt x="1981729" y="650876"/>
                    </a:lnTo>
                    <a:lnTo>
                      <a:pt x="1976438" y="661459"/>
                    </a:lnTo>
                    <a:lnTo>
                      <a:pt x="1973792" y="664105"/>
                    </a:lnTo>
                    <a:lnTo>
                      <a:pt x="1976438" y="672042"/>
                    </a:lnTo>
                    <a:lnTo>
                      <a:pt x="1979083" y="674688"/>
                    </a:lnTo>
                    <a:lnTo>
                      <a:pt x="1981729" y="674688"/>
                    </a:lnTo>
                    <a:lnTo>
                      <a:pt x="1987021" y="674688"/>
                    </a:lnTo>
                    <a:lnTo>
                      <a:pt x="1984375" y="682626"/>
                    </a:lnTo>
                    <a:lnTo>
                      <a:pt x="1981729" y="679980"/>
                    </a:lnTo>
                    <a:lnTo>
                      <a:pt x="1979083" y="679980"/>
                    </a:lnTo>
                    <a:lnTo>
                      <a:pt x="1971146" y="682626"/>
                    </a:lnTo>
                    <a:lnTo>
                      <a:pt x="1965854" y="685271"/>
                    </a:lnTo>
                    <a:lnTo>
                      <a:pt x="1963208" y="685271"/>
                    </a:lnTo>
                    <a:lnTo>
                      <a:pt x="1960563" y="679980"/>
                    </a:lnTo>
                    <a:lnTo>
                      <a:pt x="1957917" y="685271"/>
                    </a:lnTo>
                    <a:lnTo>
                      <a:pt x="1952625" y="687917"/>
                    </a:lnTo>
                    <a:lnTo>
                      <a:pt x="1947333" y="690563"/>
                    </a:lnTo>
                    <a:lnTo>
                      <a:pt x="1939396" y="690563"/>
                    </a:lnTo>
                    <a:lnTo>
                      <a:pt x="1934104" y="690563"/>
                    </a:lnTo>
                    <a:lnTo>
                      <a:pt x="1931458" y="693209"/>
                    </a:lnTo>
                    <a:lnTo>
                      <a:pt x="1918229" y="693209"/>
                    </a:lnTo>
                    <a:lnTo>
                      <a:pt x="1907646" y="695855"/>
                    </a:lnTo>
                    <a:lnTo>
                      <a:pt x="1899708" y="701146"/>
                    </a:lnTo>
                    <a:lnTo>
                      <a:pt x="1894417" y="703792"/>
                    </a:lnTo>
                    <a:lnTo>
                      <a:pt x="1889125" y="706438"/>
                    </a:lnTo>
                    <a:lnTo>
                      <a:pt x="1886479" y="709084"/>
                    </a:lnTo>
                    <a:lnTo>
                      <a:pt x="1883833" y="709084"/>
                    </a:lnTo>
                    <a:lnTo>
                      <a:pt x="1881188" y="714376"/>
                    </a:lnTo>
                    <a:lnTo>
                      <a:pt x="1881188" y="717021"/>
                    </a:lnTo>
                    <a:lnTo>
                      <a:pt x="1883833" y="717021"/>
                    </a:lnTo>
                    <a:lnTo>
                      <a:pt x="1878542" y="722313"/>
                    </a:lnTo>
                    <a:lnTo>
                      <a:pt x="1870604" y="730251"/>
                    </a:lnTo>
                    <a:lnTo>
                      <a:pt x="1865313" y="735542"/>
                    </a:lnTo>
                    <a:lnTo>
                      <a:pt x="1862667" y="738188"/>
                    </a:lnTo>
                    <a:lnTo>
                      <a:pt x="1860021" y="738188"/>
                    </a:lnTo>
                    <a:lnTo>
                      <a:pt x="1849438" y="732896"/>
                    </a:lnTo>
                    <a:lnTo>
                      <a:pt x="1852083" y="735542"/>
                    </a:lnTo>
                    <a:lnTo>
                      <a:pt x="1860021" y="740834"/>
                    </a:lnTo>
                    <a:lnTo>
                      <a:pt x="1854729" y="743480"/>
                    </a:lnTo>
                    <a:lnTo>
                      <a:pt x="1852083" y="743480"/>
                    </a:lnTo>
                    <a:lnTo>
                      <a:pt x="1849438" y="743480"/>
                    </a:lnTo>
                    <a:lnTo>
                      <a:pt x="1846792" y="746126"/>
                    </a:lnTo>
                    <a:lnTo>
                      <a:pt x="1844146" y="751417"/>
                    </a:lnTo>
                    <a:lnTo>
                      <a:pt x="1841500" y="751417"/>
                    </a:lnTo>
                    <a:lnTo>
                      <a:pt x="1836208" y="754063"/>
                    </a:lnTo>
                    <a:lnTo>
                      <a:pt x="1830917" y="759355"/>
                    </a:lnTo>
                    <a:lnTo>
                      <a:pt x="1825625" y="767292"/>
                    </a:lnTo>
                    <a:lnTo>
                      <a:pt x="1822979" y="762000"/>
                    </a:lnTo>
                    <a:lnTo>
                      <a:pt x="1822979" y="756709"/>
                    </a:lnTo>
                    <a:lnTo>
                      <a:pt x="1820333" y="754063"/>
                    </a:lnTo>
                    <a:lnTo>
                      <a:pt x="1815042" y="751417"/>
                    </a:lnTo>
                    <a:lnTo>
                      <a:pt x="1812396" y="746126"/>
                    </a:lnTo>
                    <a:lnTo>
                      <a:pt x="1812396" y="751417"/>
                    </a:lnTo>
                    <a:lnTo>
                      <a:pt x="1812396" y="754063"/>
                    </a:lnTo>
                    <a:lnTo>
                      <a:pt x="1817688" y="756709"/>
                    </a:lnTo>
                    <a:lnTo>
                      <a:pt x="1820333" y="759355"/>
                    </a:lnTo>
                    <a:lnTo>
                      <a:pt x="1820333" y="762000"/>
                    </a:lnTo>
                    <a:lnTo>
                      <a:pt x="1820333" y="764646"/>
                    </a:lnTo>
                    <a:lnTo>
                      <a:pt x="1822979" y="767292"/>
                    </a:lnTo>
                    <a:lnTo>
                      <a:pt x="1825625" y="769938"/>
                    </a:lnTo>
                    <a:lnTo>
                      <a:pt x="1825625" y="772584"/>
                    </a:lnTo>
                    <a:lnTo>
                      <a:pt x="1822979" y="780521"/>
                    </a:lnTo>
                    <a:lnTo>
                      <a:pt x="1812396" y="796396"/>
                    </a:lnTo>
                    <a:lnTo>
                      <a:pt x="1817688" y="785813"/>
                    </a:lnTo>
                    <a:lnTo>
                      <a:pt x="1820333" y="780521"/>
                    </a:lnTo>
                    <a:lnTo>
                      <a:pt x="1820333" y="777875"/>
                    </a:lnTo>
                    <a:lnTo>
                      <a:pt x="1817688" y="780521"/>
                    </a:lnTo>
                    <a:lnTo>
                      <a:pt x="1812396" y="785813"/>
                    </a:lnTo>
                    <a:lnTo>
                      <a:pt x="1807104" y="796396"/>
                    </a:lnTo>
                    <a:lnTo>
                      <a:pt x="1804458" y="804334"/>
                    </a:lnTo>
                    <a:lnTo>
                      <a:pt x="1799167" y="809625"/>
                    </a:lnTo>
                    <a:lnTo>
                      <a:pt x="1793875" y="809625"/>
                    </a:lnTo>
                    <a:lnTo>
                      <a:pt x="1791229" y="809625"/>
                    </a:lnTo>
                    <a:lnTo>
                      <a:pt x="1799167" y="799042"/>
                    </a:lnTo>
                    <a:lnTo>
                      <a:pt x="1799167" y="793750"/>
                    </a:lnTo>
                    <a:lnTo>
                      <a:pt x="1796521" y="791105"/>
                    </a:lnTo>
                    <a:lnTo>
                      <a:pt x="1793875" y="785813"/>
                    </a:lnTo>
                    <a:lnTo>
                      <a:pt x="1796521" y="783167"/>
                    </a:lnTo>
                    <a:lnTo>
                      <a:pt x="1796521" y="777875"/>
                    </a:lnTo>
                    <a:lnTo>
                      <a:pt x="1793875" y="775230"/>
                    </a:lnTo>
                    <a:lnTo>
                      <a:pt x="1793875" y="772584"/>
                    </a:lnTo>
                    <a:lnTo>
                      <a:pt x="1793875" y="769938"/>
                    </a:lnTo>
                    <a:lnTo>
                      <a:pt x="1796521" y="764646"/>
                    </a:lnTo>
                    <a:lnTo>
                      <a:pt x="1793875" y="764646"/>
                    </a:lnTo>
                    <a:lnTo>
                      <a:pt x="1793875" y="762000"/>
                    </a:lnTo>
                    <a:lnTo>
                      <a:pt x="1799167" y="759355"/>
                    </a:lnTo>
                    <a:lnTo>
                      <a:pt x="1804458" y="754063"/>
                    </a:lnTo>
                    <a:lnTo>
                      <a:pt x="1801813" y="754063"/>
                    </a:lnTo>
                    <a:lnTo>
                      <a:pt x="1788583" y="759355"/>
                    </a:lnTo>
                    <a:lnTo>
                      <a:pt x="1783292" y="764646"/>
                    </a:lnTo>
                    <a:lnTo>
                      <a:pt x="1783292" y="769938"/>
                    </a:lnTo>
                    <a:lnTo>
                      <a:pt x="1783292" y="772584"/>
                    </a:lnTo>
                    <a:lnTo>
                      <a:pt x="1780646" y="772584"/>
                    </a:lnTo>
                    <a:lnTo>
                      <a:pt x="1783292" y="777875"/>
                    </a:lnTo>
                    <a:lnTo>
                      <a:pt x="1780646" y="780521"/>
                    </a:lnTo>
                    <a:lnTo>
                      <a:pt x="1772708" y="777875"/>
                    </a:lnTo>
                    <a:lnTo>
                      <a:pt x="1780646" y="783167"/>
                    </a:lnTo>
                    <a:lnTo>
                      <a:pt x="1780646" y="785813"/>
                    </a:lnTo>
                    <a:lnTo>
                      <a:pt x="1783292" y="788459"/>
                    </a:lnTo>
                    <a:lnTo>
                      <a:pt x="1785938" y="793750"/>
                    </a:lnTo>
                    <a:lnTo>
                      <a:pt x="1780646" y="793750"/>
                    </a:lnTo>
                    <a:lnTo>
                      <a:pt x="1772708" y="793750"/>
                    </a:lnTo>
                    <a:lnTo>
                      <a:pt x="1775354" y="796396"/>
                    </a:lnTo>
                    <a:lnTo>
                      <a:pt x="1780646" y="799042"/>
                    </a:lnTo>
                    <a:lnTo>
                      <a:pt x="1783292" y="801688"/>
                    </a:lnTo>
                    <a:lnTo>
                      <a:pt x="1778000" y="806980"/>
                    </a:lnTo>
                    <a:lnTo>
                      <a:pt x="1780646" y="806980"/>
                    </a:lnTo>
                    <a:lnTo>
                      <a:pt x="1783292" y="806980"/>
                    </a:lnTo>
                    <a:lnTo>
                      <a:pt x="1785938" y="812271"/>
                    </a:lnTo>
                    <a:lnTo>
                      <a:pt x="1785938" y="820209"/>
                    </a:lnTo>
                    <a:lnTo>
                      <a:pt x="1785938" y="828146"/>
                    </a:lnTo>
                    <a:lnTo>
                      <a:pt x="1788583" y="844021"/>
                    </a:lnTo>
                    <a:lnTo>
                      <a:pt x="1785938" y="849313"/>
                    </a:lnTo>
                    <a:lnTo>
                      <a:pt x="1783292" y="851959"/>
                    </a:lnTo>
                    <a:lnTo>
                      <a:pt x="1772708" y="851959"/>
                    </a:lnTo>
                    <a:lnTo>
                      <a:pt x="1767417" y="851959"/>
                    </a:lnTo>
                    <a:lnTo>
                      <a:pt x="1764771" y="846667"/>
                    </a:lnTo>
                    <a:lnTo>
                      <a:pt x="1762125" y="854605"/>
                    </a:lnTo>
                    <a:lnTo>
                      <a:pt x="1764771" y="854605"/>
                    </a:lnTo>
                    <a:lnTo>
                      <a:pt x="1770063" y="854605"/>
                    </a:lnTo>
                    <a:lnTo>
                      <a:pt x="1775354" y="857250"/>
                    </a:lnTo>
                    <a:lnTo>
                      <a:pt x="1778000" y="857250"/>
                    </a:lnTo>
                    <a:lnTo>
                      <a:pt x="1780646" y="854605"/>
                    </a:lnTo>
                    <a:lnTo>
                      <a:pt x="1783292" y="857250"/>
                    </a:lnTo>
                    <a:lnTo>
                      <a:pt x="1783292" y="859896"/>
                    </a:lnTo>
                    <a:lnTo>
                      <a:pt x="1780646" y="865188"/>
                    </a:lnTo>
                    <a:lnTo>
                      <a:pt x="1775354" y="870480"/>
                    </a:lnTo>
                    <a:lnTo>
                      <a:pt x="1762125" y="867834"/>
                    </a:lnTo>
                    <a:lnTo>
                      <a:pt x="1756833" y="865188"/>
                    </a:lnTo>
                    <a:lnTo>
                      <a:pt x="1759479" y="870480"/>
                    </a:lnTo>
                    <a:lnTo>
                      <a:pt x="1762125" y="870480"/>
                    </a:lnTo>
                    <a:lnTo>
                      <a:pt x="1759479" y="873125"/>
                    </a:lnTo>
                    <a:lnTo>
                      <a:pt x="1756833" y="875771"/>
                    </a:lnTo>
                    <a:lnTo>
                      <a:pt x="1759479" y="875771"/>
                    </a:lnTo>
                    <a:lnTo>
                      <a:pt x="1764771" y="875771"/>
                    </a:lnTo>
                    <a:lnTo>
                      <a:pt x="1762125" y="881063"/>
                    </a:lnTo>
                    <a:lnTo>
                      <a:pt x="1759479" y="883709"/>
                    </a:lnTo>
                    <a:lnTo>
                      <a:pt x="1754188" y="886355"/>
                    </a:lnTo>
                    <a:lnTo>
                      <a:pt x="1746250" y="889000"/>
                    </a:lnTo>
                    <a:lnTo>
                      <a:pt x="1738313" y="891646"/>
                    </a:lnTo>
                    <a:lnTo>
                      <a:pt x="1733021" y="896938"/>
                    </a:lnTo>
                    <a:lnTo>
                      <a:pt x="1727729" y="902230"/>
                    </a:lnTo>
                    <a:lnTo>
                      <a:pt x="1725083" y="902230"/>
                    </a:lnTo>
                    <a:lnTo>
                      <a:pt x="1719792" y="904875"/>
                    </a:lnTo>
                    <a:lnTo>
                      <a:pt x="1711854" y="910167"/>
                    </a:lnTo>
                    <a:lnTo>
                      <a:pt x="1703917" y="918105"/>
                    </a:lnTo>
                    <a:lnTo>
                      <a:pt x="1701271" y="920750"/>
                    </a:lnTo>
                    <a:lnTo>
                      <a:pt x="1695979" y="920750"/>
                    </a:lnTo>
                    <a:lnTo>
                      <a:pt x="1690687" y="920750"/>
                    </a:lnTo>
                    <a:lnTo>
                      <a:pt x="1682750" y="923396"/>
                    </a:lnTo>
                    <a:lnTo>
                      <a:pt x="1672167" y="931334"/>
                    </a:lnTo>
                    <a:lnTo>
                      <a:pt x="1666875" y="939271"/>
                    </a:lnTo>
                    <a:lnTo>
                      <a:pt x="1664229" y="941917"/>
                    </a:lnTo>
                    <a:lnTo>
                      <a:pt x="1661583" y="941917"/>
                    </a:lnTo>
                    <a:lnTo>
                      <a:pt x="1658937" y="944563"/>
                    </a:lnTo>
                    <a:lnTo>
                      <a:pt x="1645708" y="955146"/>
                    </a:lnTo>
                    <a:lnTo>
                      <a:pt x="1640417" y="955146"/>
                    </a:lnTo>
                    <a:lnTo>
                      <a:pt x="1640417" y="952500"/>
                    </a:lnTo>
                    <a:lnTo>
                      <a:pt x="1637771" y="952500"/>
                    </a:lnTo>
                    <a:lnTo>
                      <a:pt x="1635125" y="955146"/>
                    </a:lnTo>
                    <a:lnTo>
                      <a:pt x="1632479" y="957792"/>
                    </a:lnTo>
                    <a:lnTo>
                      <a:pt x="1624542" y="955146"/>
                    </a:lnTo>
                    <a:lnTo>
                      <a:pt x="1621896" y="952500"/>
                    </a:lnTo>
                    <a:lnTo>
                      <a:pt x="1621896" y="955146"/>
                    </a:lnTo>
                    <a:lnTo>
                      <a:pt x="1624542" y="960438"/>
                    </a:lnTo>
                    <a:lnTo>
                      <a:pt x="1624542" y="963084"/>
                    </a:lnTo>
                    <a:lnTo>
                      <a:pt x="1621896" y="965730"/>
                    </a:lnTo>
                    <a:lnTo>
                      <a:pt x="1621896" y="968375"/>
                    </a:lnTo>
                    <a:lnTo>
                      <a:pt x="1621896" y="971021"/>
                    </a:lnTo>
                    <a:lnTo>
                      <a:pt x="1619250" y="971021"/>
                    </a:lnTo>
                    <a:lnTo>
                      <a:pt x="1616604" y="973667"/>
                    </a:lnTo>
                    <a:lnTo>
                      <a:pt x="1608667" y="978959"/>
                    </a:lnTo>
                    <a:lnTo>
                      <a:pt x="1592792" y="1000125"/>
                    </a:lnTo>
                    <a:lnTo>
                      <a:pt x="1587500" y="1013355"/>
                    </a:lnTo>
                    <a:lnTo>
                      <a:pt x="1587500" y="1018646"/>
                    </a:lnTo>
                    <a:lnTo>
                      <a:pt x="1584854" y="1023938"/>
                    </a:lnTo>
                    <a:lnTo>
                      <a:pt x="1582208" y="1031875"/>
                    </a:lnTo>
                    <a:lnTo>
                      <a:pt x="1582208" y="1045105"/>
                    </a:lnTo>
                    <a:lnTo>
                      <a:pt x="1587500" y="1071563"/>
                    </a:lnTo>
                    <a:lnTo>
                      <a:pt x="1587500" y="1076855"/>
                    </a:lnTo>
                    <a:lnTo>
                      <a:pt x="1590146" y="1076855"/>
                    </a:lnTo>
                    <a:lnTo>
                      <a:pt x="1590146" y="1079500"/>
                    </a:lnTo>
                    <a:lnTo>
                      <a:pt x="1592792" y="1100667"/>
                    </a:lnTo>
                    <a:lnTo>
                      <a:pt x="1592792" y="1108605"/>
                    </a:lnTo>
                    <a:lnTo>
                      <a:pt x="1592792" y="1111250"/>
                    </a:lnTo>
                    <a:lnTo>
                      <a:pt x="1590146" y="1108605"/>
                    </a:lnTo>
                    <a:lnTo>
                      <a:pt x="1587500" y="1098021"/>
                    </a:lnTo>
                    <a:lnTo>
                      <a:pt x="1587500" y="1111250"/>
                    </a:lnTo>
                    <a:lnTo>
                      <a:pt x="1592792" y="1119188"/>
                    </a:lnTo>
                    <a:lnTo>
                      <a:pt x="1595437" y="1127125"/>
                    </a:lnTo>
                    <a:lnTo>
                      <a:pt x="1595437" y="1132417"/>
                    </a:lnTo>
                    <a:lnTo>
                      <a:pt x="1598083" y="1137709"/>
                    </a:lnTo>
                    <a:lnTo>
                      <a:pt x="1598083" y="1148292"/>
                    </a:lnTo>
                    <a:lnTo>
                      <a:pt x="1587500" y="1172104"/>
                    </a:lnTo>
                    <a:lnTo>
                      <a:pt x="1584854" y="1180042"/>
                    </a:lnTo>
                    <a:lnTo>
                      <a:pt x="1584854" y="1182688"/>
                    </a:lnTo>
                    <a:lnTo>
                      <a:pt x="1584854" y="1185334"/>
                    </a:lnTo>
                    <a:lnTo>
                      <a:pt x="1579562" y="1187979"/>
                    </a:lnTo>
                    <a:lnTo>
                      <a:pt x="1576917" y="1187979"/>
                    </a:lnTo>
                    <a:lnTo>
                      <a:pt x="1574271" y="1187979"/>
                    </a:lnTo>
                    <a:lnTo>
                      <a:pt x="1574271" y="1190625"/>
                    </a:lnTo>
                    <a:lnTo>
                      <a:pt x="1571625" y="1190625"/>
                    </a:lnTo>
                    <a:lnTo>
                      <a:pt x="1568979" y="1190625"/>
                    </a:lnTo>
                    <a:lnTo>
                      <a:pt x="1566333" y="1193271"/>
                    </a:lnTo>
                    <a:lnTo>
                      <a:pt x="1558396" y="1193271"/>
                    </a:lnTo>
                    <a:lnTo>
                      <a:pt x="1553104" y="1190625"/>
                    </a:lnTo>
                    <a:lnTo>
                      <a:pt x="1553104" y="1185334"/>
                    </a:lnTo>
                    <a:lnTo>
                      <a:pt x="1555750" y="1185334"/>
                    </a:lnTo>
                    <a:lnTo>
                      <a:pt x="1558396" y="1187979"/>
                    </a:lnTo>
                    <a:lnTo>
                      <a:pt x="1558396" y="1185334"/>
                    </a:lnTo>
                    <a:lnTo>
                      <a:pt x="1558396" y="1182688"/>
                    </a:lnTo>
                    <a:lnTo>
                      <a:pt x="1561042" y="1180042"/>
                    </a:lnTo>
                    <a:lnTo>
                      <a:pt x="1563687" y="1180042"/>
                    </a:lnTo>
                    <a:lnTo>
                      <a:pt x="1561042" y="1177396"/>
                    </a:lnTo>
                    <a:lnTo>
                      <a:pt x="1555750" y="1174750"/>
                    </a:lnTo>
                    <a:lnTo>
                      <a:pt x="1553104" y="1169459"/>
                    </a:lnTo>
                    <a:lnTo>
                      <a:pt x="1550458" y="1166813"/>
                    </a:lnTo>
                    <a:lnTo>
                      <a:pt x="1545167" y="1166813"/>
                    </a:lnTo>
                    <a:lnTo>
                      <a:pt x="1542521" y="1164167"/>
                    </a:lnTo>
                    <a:lnTo>
                      <a:pt x="1542521" y="1153584"/>
                    </a:lnTo>
                    <a:lnTo>
                      <a:pt x="1539875" y="1145646"/>
                    </a:lnTo>
                    <a:lnTo>
                      <a:pt x="1539875" y="1143000"/>
                    </a:lnTo>
                    <a:lnTo>
                      <a:pt x="1542521" y="1137709"/>
                    </a:lnTo>
                    <a:lnTo>
                      <a:pt x="1542521" y="1135063"/>
                    </a:lnTo>
                    <a:lnTo>
                      <a:pt x="1537229" y="1135063"/>
                    </a:lnTo>
                    <a:lnTo>
                      <a:pt x="1531937" y="1119188"/>
                    </a:lnTo>
                    <a:lnTo>
                      <a:pt x="1531937" y="1111250"/>
                    </a:lnTo>
                    <a:lnTo>
                      <a:pt x="1531937" y="1108605"/>
                    </a:lnTo>
                    <a:lnTo>
                      <a:pt x="1531937" y="1103313"/>
                    </a:lnTo>
                    <a:lnTo>
                      <a:pt x="1531937" y="1100667"/>
                    </a:lnTo>
                    <a:lnTo>
                      <a:pt x="1531937" y="1095375"/>
                    </a:lnTo>
                    <a:lnTo>
                      <a:pt x="1539875" y="1082146"/>
                    </a:lnTo>
                    <a:lnTo>
                      <a:pt x="1542521" y="1071563"/>
                    </a:lnTo>
                    <a:lnTo>
                      <a:pt x="1542521" y="1066271"/>
                    </a:lnTo>
                    <a:lnTo>
                      <a:pt x="1539875" y="1063625"/>
                    </a:lnTo>
                    <a:lnTo>
                      <a:pt x="1534583" y="1058334"/>
                    </a:lnTo>
                    <a:lnTo>
                      <a:pt x="1534583" y="1053042"/>
                    </a:lnTo>
                    <a:lnTo>
                      <a:pt x="1531937" y="1047750"/>
                    </a:lnTo>
                    <a:lnTo>
                      <a:pt x="1526646" y="1045105"/>
                    </a:lnTo>
                    <a:lnTo>
                      <a:pt x="1521354" y="1042459"/>
                    </a:lnTo>
                    <a:lnTo>
                      <a:pt x="1518708" y="1037167"/>
                    </a:lnTo>
                    <a:lnTo>
                      <a:pt x="1513417" y="1037167"/>
                    </a:lnTo>
                    <a:lnTo>
                      <a:pt x="1505479" y="1039813"/>
                    </a:lnTo>
                    <a:lnTo>
                      <a:pt x="1494896" y="1045105"/>
                    </a:lnTo>
                    <a:lnTo>
                      <a:pt x="1489604" y="1045105"/>
                    </a:lnTo>
                    <a:lnTo>
                      <a:pt x="1486958" y="1045105"/>
                    </a:lnTo>
                    <a:lnTo>
                      <a:pt x="1484312" y="1045105"/>
                    </a:lnTo>
                    <a:lnTo>
                      <a:pt x="1479021" y="1047750"/>
                    </a:lnTo>
                    <a:lnTo>
                      <a:pt x="1476375" y="1047750"/>
                    </a:lnTo>
                    <a:lnTo>
                      <a:pt x="1473729" y="1045105"/>
                    </a:lnTo>
                    <a:lnTo>
                      <a:pt x="1476375" y="1042459"/>
                    </a:lnTo>
                    <a:lnTo>
                      <a:pt x="1479021" y="1039813"/>
                    </a:lnTo>
                    <a:lnTo>
                      <a:pt x="1476375" y="1037167"/>
                    </a:lnTo>
                    <a:lnTo>
                      <a:pt x="1447271" y="1031875"/>
                    </a:lnTo>
                    <a:lnTo>
                      <a:pt x="1439333" y="1026584"/>
                    </a:lnTo>
                    <a:lnTo>
                      <a:pt x="1447271" y="1026584"/>
                    </a:lnTo>
                    <a:lnTo>
                      <a:pt x="1457854" y="1023938"/>
                    </a:lnTo>
                    <a:lnTo>
                      <a:pt x="1441979" y="1023938"/>
                    </a:lnTo>
                    <a:lnTo>
                      <a:pt x="1436687" y="1023938"/>
                    </a:lnTo>
                    <a:lnTo>
                      <a:pt x="1434042" y="1023938"/>
                    </a:lnTo>
                    <a:lnTo>
                      <a:pt x="1434042" y="1026584"/>
                    </a:lnTo>
                    <a:lnTo>
                      <a:pt x="1436687" y="1026584"/>
                    </a:lnTo>
                    <a:lnTo>
                      <a:pt x="1434042" y="1029230"/>
                    </a:lnTo>
                    <a:lnTo>
                      <a:pt x="1426104" y="1029230"/>
                    </a:lnTo>
                    <a:lnTo>
                      <a:pt x="1418167" y="1029230"/>
                    </a:lnTo>
                    <a:lnTo>
                      <a:pt x="1410229" y="1023938"/>
                    </a:lnTo>
                    <a:lnTo>
                      <a:pt x="1410229" y="1026584"/>
                    </a:lnTo>
                    <a:lnTo>
                      <a:pt x="1399646" y="1031875"/>
                    </a:lnTo>
                    <a:lnTo>
                      <a:pt x="1394354" y="1031875"/>
                    </a:lnTo>
                    <a:lnTo>
                      <a:pt x="1391708" y="1029230"/>
                    </a:lnTo>
                    <a:lnTo>
                      <a:pt x="1391708" y="1021292"/>
                    </a:lnTo>
                    <a:lnTo>
                      <a:pt x="1389062" y="1031875"/>
                    </a:lnTo>
                    <a:lnTo>
                      <a:pt x="1389062" y="1034521"/>
                    </a:lnTo>
                    <a:lnTo>
                      <a:pt x="1383771" y="1034521"/>
                    </a:lnTo>
                    <a:lnTo>
                      <a:pt x="1370542" y="1034521"/>
                    </a:lnTo>
                    <a:lnTo>
                      <a:pt x="1365250" y="1034521"/>
                    </a:lnTo>
                    <a:lnTo>
                      <a:pt x="1359958" y="1034521"/>
                    </a:lnTo>
                    <a:lnTo>
                      <a:pt x="1352021" y="1031875"/>
                    </a:lnTo>
                    <a:lnTo>
                      <a:pt x="1346729" y="1029230"/>
                    </a:lnTo>
                    <a:lnTo>
                      <a:pt x="1344083" y="1031875"/>
                    </a:lnTo>
                    <a:lnTo>
                      <a:pt x="1344083" y="1037167"/>
                    </a:lnTo>
                    <a:lnTo>
                      <a:pt x="1344083" y="1039813"/>
                    </a:lnTo>
                    <a:lnTo>
                      <a:pt x="1352021" y="1039813"/>
                    </a:lnTo>
                    <a:lnTo>
                      <a:pt x="1359958" y="1042459"/>
                    </a:lnTo>
                    <a:lnTo>
                      <a:pt x="1359958" y="1045105"/>
                    </a:lnTo>
                    <a:lnTo>
                      <a:pt x="1359958" y="1047750"/>
                    </a:lnTo>
                    <a:lnTo>
                      <a:pt x="1359958" y="1050396"/>
                    </a:lnTo>
                    <a:lnTo>
                      <a:pt x="1362604" y="1053042"/>
                    </a:lnTo>
                    <a:lnTo>
                      <a:pt x="1365250" y="1053042"/>
                    </a:lnTo>
                    <a:lnTo>
                      <a:pt x="1365250" y="1055688"/>
                    </a:lnTo>
                    <a:lnTo>
                      <a:pt x="1365250" y="1058334"/>
                    </a:lnTo>
                    <a:lnTo>
                      <a:pt x="1367896" y="1060980"/>
                    </a:lnTo>
                    <a:lnTo>
                      <a:pt x="1370542" y="1063625"/>
                    </a:lnTo>
                    <a:lnTo>
                      <a:pt x="1367896" y="1066271"/>
                    </a:lnTo>
                    <a:lnTo>
                      <a:pt x="1359958" y="1066271"/>
                    </a:lnTo>
                    <a:lnTo>
                      <a:pt x="1357312" y="1063625"/>
                    </a:lnTo>
                    <a:lnTo>
                      <a:pt x="1354667" y="1060980"/>
                    </a:lnTo>
                    <a:lnTo>
                      <a:pt x="1352021" y="1063625"/>
                    </a:lnTo>
                    <a:lnTo>
                      <a:pt x="1349375" y="1066271"/>
                    </a:lnTo>
                    <a:lnTo>
                      <a:pt x="1344083" y="1063625"/>
                    </a:lnTo>
                    <a:lnTo>
                      <a:pt x="1338792" y="1060980"/>
                    </a:lnTo>
                    <a:lnTo>
                      <a:pt x="1330854" y="1060980"/>
                    </a:lnTo>
                    <a:lnTo>
                      <a:pt x="1322917" y="1058334"/>
                    </a:lnTo>
                    <a:lnTo>
                      <a:pt x="1320271" y="1055688"/>
                    </a:lnTo>
                    <a:lnTo>
                      <a:pt x="1317625" y="1053042"/>
                    </a:lnTo>
                    <a:lnTo>
                      <a:pt x="1317625" y="1055688"/>
                    </a:lnTo>
                    <a:lnTo>
                      <a:pt x="1314979" y="1055688"/>
                    </a:lnTo>
                    <a:lnTo>
                      <a:pt x="1312333" y="1053042"/>
                    </a:lnTo>
                    <a:lnTo>
                      <a:pt x="1309687" y="1047750"/>
                    </a:lnTo>
                    <a:lnTo>
                      <a:pt x="1307042" y="1047750"/>
                    </a:lnTo>
                    <a:lnTo>
                      <a:pt x="1304396" y="1050396"/>
                    </a:lnTo>
                    <a:lnTo>
                      <a:pt x="1299104" y="1053042"/>
                    </a:lnTo>
                    <a:lnTo>
                      <a:pt x="1293812" y="1053042"/>
                    </a:lnTo>
                    <a:lnTo>
                      <a:pt x="1288521" y="1053042"/>
                    </a:lnTo>
                    <a:lnTo>
                      <a:pt x="1277937" y="1047750"/>
                    </a:lnTo>
                    <a:lnTo>
                      <a:pt x="1272646" y="1045105"/>
                    </a:lnTo>
                    <a:lnTo>
                      <a:pt x="1267354" y="1042459"/>
                    </a:lnTo>
                    <a:lnTo>
                      <a:pt x="1259417" y="1045105"/>
                    </a:lnTo>
                    <a:lnTo>
                      <a:pt x="1248833" y="1050396"/>
                    </a:lnTo>
                    <a:lnTo>
                      <a:pt x="1232958" y="1060980"/>
                    </a:lnTo>
                    <a:lnTo>
                      <a:pt x="1227667" y="1063625"/>
                    </a:lnTo>
                    <a:lnTo>
                      <a:pt x="1230312" y="1060980"/>
                    </a:lnTo>
                    <a:lnTo>
                      <a:pt x="1230312" y="1058334"/>
                    </a:lnTo>
                    <a:lnTo>
                      <a:pt x="1230312" y="1055688"/>
                    </a:lnTo>
                    <a:lnTo>
                      <a:pt x="1230312" y="1050396"/>
                    </a:lnTo>
                    <a:lnTo>
                      <a:pt x="1235604" y="1045105"/>
                    </a:lnTo>
                    <a:lnTo>
                      <a:pt x="1225021" y="1050396"/>
                    </a:lnTo>
                    <a:lnTo>
                      <a:pt x="1225021" y="1053042"/>
                    </a:lnTo>
                    <a:lnTo>
                      <a:pt x="1225021" y="1055688"/>
                    </a:lnTo>
                    <a:lnTo>
                      <a:pt x="1222375" y="1058334"/>
                    </a:lnTo>
                    <a:lnTo>
                      <a:pt x="1222375" y="1060980"/>
                    </a:lnTo>
                    <a:lnTo>
                      <a:pt x="1225021" y="1063625"/>
                    </a:lnTo>
                    <a:lnTo>
                      <a:pt x="1222375" y="1066271"/>
                    </a:lnTo>
                    <a:lnTo>
                      <a:pt x="1214437" y="1068917"/>
                    </a:lnTo>
                    <a:lnTo>
                      <a:pt x="1209146" y="1071563"/>
                    </a:lnTo>
                    <a:lnTo>
                      <a:pt x="1203854" y="1076855"/>
                    </a:lnTo>
                    <a:lnTo>
                      <a:pt x="1198562" y="1079500"/>
                    </a:lnTo>
                    <a:lnTo>
                      <a:pt x="1195917" y="1079500"/>
                    </a:lnTo>
                    <a:lnTo>
                      <a:pt x="1193271" y="1079500"/>
                    </a:lnTo>
                    <a:lnTo>
                      <a:pt x="1190625" y="1079500"/>
                    </a:lnTo>
                    <a:lnTo>
                      <a:pt x="1187979" y="1082146"/>
                    </a:lnTo>
                    <a:lnTo>
                      <a:pt x="1185333" y="1082146"/>
                    </a:lnTo>
                    <a:lnTo>
                      <a:pt x="1180042" y="1079500"/>
                    </a:lnTo>
                    <a:lnTo>
                      <a:pt x="1180042" y="1082146"/>
                    </a:lnTo>
                    <a:lnTo>
                      <a:pt x="1180042" y="1084792"/>
                    </a:lnTo>
                    <a:lnTo>
                      <a:pt x="1177396" y="1084792"/>
                    </a:lnTo>
                    <a:lnTo>
                      <a:pt x="1177396" y="1087438"/>
                    </a:lnTo>
                    <a:lnTo>
                      <a:pt x="1177396" y="1092730"/>
                    </a:lnTo>
                    <a:lnTo>
                      <a:pt x="1174750" y="1095375"/>
                    </a:lnTo>
                    <a:lnTo>
                      <a:pt x="1169458" y="1092730"/>
                    </a:lnTo>
                    <a:lnTo>
                      <a:pt x="1169458" y="1095375"/>
                    </a:lnTo>
                    <a:lnTo>
                      <a:pt x="1166812" y="1100667"/>
                    </a:lnTo>
                    <a:lnTo>
                      <a:pt x="1164167" y="1105959"/>
                    </a:lnTo>
                    <a:lnTo>
                      <a:pt x="1158875" y="1108605"/>
                    </a:lnTo>
                    <a:lnTo>
                      <a:pt x="1156229" y="1111250"/>
                    </a:lnTo>
                    <a:lnTo>
                      <a:pt x="1150937" y="1113896"/>
                    </a:lnTo>
                    <a:lnTo>
                      <a:pt x="1148292" y="1119188"/>
                    </a:lnTo>
                    <a:lnTo>
                      <a:pt x="1145646" y="1119188"/>
                    </a:lnTo>
                    <a:lnTo>
                      <a:pt x="1143000" y="1119188"/>
                    </a:lnTo>
                    <a:lnTo>
                      <a:pt x="1143000" y="1121834"/>
                    </a:lnTo>
                    <a:lnTo>
                      <a:pt x="1140354" y="1121834"/>
                    </a:lnTo>
                    <a:lnTo>
                      <a:pt x="1135062" y="1121834"/>
                    </a:lnTo>
                    <a:lnTo>
                      <a:pt x="1135062" y="1124480"/>
                    </a:lnTo>
                    <a:lnTo>
                      <a:pt x="1135062" y="1127125"/>
                    </a:lnTo>
                    <a:lnTo>
                      <a:pt x="1135062" y="1135063"/>
                    </a:lnTo>
                    <a:lnTo>
                      <a:pt x="1132417" y="1143000"/>
                    </a:lnTo>
                    <a:lnTo>
                      <a:pt x="1129771" y="1145646"/>
                    </a:lnTo>
                    <a:lnTo>
                      <a:pt x="1127125" y="1148292"/>
                    </a:lnTo>
                    <a:lnTo>
                      <a:pt x="1127125" y="1153584"/>
                    </a:lnTo>
                    <a:lnTo>
                      <a:pt x="1129771" y="1156229"/>
                    </a:lnTo>
                    <a:lnTo>
                      <a:pt x="1127125" y="1158875"/>
                    </a:lnTo>
                    <a:lnTo>
                      <a:pt x="1127125" y="1164167"/>
                    </a:lnTo>
                    <a:lnTo>
                      <a:pt x="1124479" y="1172104"/>
                    </a:lnTo>
                    <a:lnTo>
                      <a:pt x="1098021" y="1166813"/>
                    </a:lnTo>
                    <a:lnTo>
                      <a:pt x="1084791" y="1161521"/>
                    </a:lnTo>
                    <a:lnTo>
                      <a:pt x="1082146" y="1158875"/>
                    </a:lnTo>
                    <a:lnTo>
                      <a:pt x="1079500" y="1156229"/>
                    </a:lnTo>
                    <a:lnTo>
                      <a:pt x="1079500" y="1145646"/>
                    </a:lnTo>
                    <a:lnTo>
                      <a:pt x="1076854" y="1135063"/>
                    </a:lnTo>
                    <a:lnTo>
                      <a:pt x="1074208" y="1129771"/>
                    </a:lnTo>
                    <a:lnTo>
                      <a:pt x="1068916" y="1119188"/>
                    </a:lnTo>
                    <a:lnTo>
                      <a:pt x="1063625" y="1092730"/>
                    </a:lnTo>
                    <a:lnTo>
                      <a:pt x="1058333" y="1071563"/>
                    </a:lnTo>
                    <a:lnTo>
                      <a:pt x="1050396" y="1060980"/>
                    </a:lnTo>
                    <a:lnTo>
                      <a:pt x="1045104" y="1053042"/>
                    </a:lnTo>
                    <a:lnTo>
                      <a:pt x="1034521" y="1050396"/>
                    </a:lnTo>
                    <a:lnTo>
                      <a:pt x="1021291" y="1045105"/>
                    </a:lnTo>
                    <a:lnTo>
                      <a:pt x="1018646" y="1045105"/>
                    </a:lnTo>
                    <a:lnTo>
                      <a:pt x="1016000" y="1045105"/>
                    </a:lnTo>
                    <a:lnTo>
                      <a:pt x="1013354" y="1047750"/>
                    </a:lnTo>
                    <a:lnTo>
                      <a:pt x="1008062" y="1047750"/>
                    </a:lnTo>
                    <a:lnTo>
                      <a:pt x="1005416" y="1050396"/>
                    </a:lnTo>
                    <a:lnTo>
                      <a:pt x="1000125" y="1055688"/>
                    </a:lnTo>
                    <a:lnTo>
                      <a:pt x="994833" y="1063625"/>
                    </a:lnTo>
                    <a:lnTo>
                      <a:pt x="989541" y="1063625"/>
                    </a:lnTo>
                    <a:lnTo>
                      <a:pt x="981604" y="1060980"/>
                    </a:lnTo>
                    <a:lnTo>
                      <a:pt x="971021" y="1053042"/>
                    </a:lnTo>
                    <a:lnTo>
                      <a:pt x="965729" y="1047750"/>
                    </a:lnTo>
                    <a:lnTo>
                      <a:pt x="965729" y="1045105"/>
                    </a:lnTo>
                    <a:lnTo>
                      <a:pt x="965729" y="1034521"/>
                    </a:lnTo>
                    <a:lnTo>
                      <a:pt x="965729" y="1026584"/>
                    </a:lnTo>
                    <a:lnTo>
                      <a:pt x="963083" y="1021292"/>
                    </a:lnTo>
                    <a:lnTo>
                      <a:pt x="957791" y="1016000"/>
                    </a:lnTo>
                    <a:lnTo>
                      <a:pt x="952500" y="1010709"/>
                    </a:lnTo>
                    <a:lnTo>
                      <a:pt x="949854" y="1008063"/>
                    </a:lnTo>
                    <a:lnTo>
                      <a:pt x="949854" y="1005417"/>
                    </a:lnTo>
                    <a:lnTo>
                      <a:pt x="944562" y="1000125"/>
                    </a:lnTo>
                    <a:lnTo>
                      <a:pt x="933979" y="992188"/>
                    </a:lnTo>
                    <a:lnTo>
                      <a:pt x="931333" y="989542"/>
                    </a:lnTo>
                    <a:lnTo>
                      <a:pt x="889000" y="989542"/>
                    </a:lnTo>
                    <a:lnTo>
                      <a:pt x="881062" y="1000125"/>
                    </a:lnTo>
                    <a:lnTo>
                      <a:pt x="817562" y="1000125"/>
                    </a:lnTo>
                    <a:lnTo>
                      <a:pt x="732896" y="965730"/>
                    </a:lnTo>
                    <a:lnTo>
                      <a:pt x="732896" y="960438"/>
                    </a:lnTo>
                    <a:lnTo>
                      <a:pt x="706437" y="960438"/>
                    </a:lnTo>
                    <a:lnTo>
                      <a:pt x="672041" y="960438"/>
                    </a:lnTo>
                    <a:lnTo>
                      <a:pt x="674687" y="955146"/>
                    </a:lnTo>
                    <a:lnTo>
                      <a:pt x="672041" y="952500"/>
                    </a:lnTo>
                    <a:lnTo>
                      <a:pt x="669396" y="952500"/>
                    </a:lnTo>
                    <a:lnTo>
                      <a:pt x="672041" y="947209"/>
                    </a:lnTo>
                    <a:lnTo>
                      <a:pt x="674687" y="944563"/>
                    </a:lnTo>
                    <a:lnTo>
                      <a:pt x="672041" y="939271"/>
                    </a:lnTo>
                    <a:lnTo>
                      <a:pt x="656166" y="926042"/>
                    </a:lnTo>
                    <a:lnTo>
                      <a:pt x="648229" y="920750"/>
                    </a:lnTo>
                    <a:lnTo>
                      <a:pt x="642937" y="918105"/>
                    </a:lnTo>
                    <a:lnTo>
                      <a:pt x="637646" y="915459"/>
                    </a:lnTo>
                    <a:lnTo>
                      <a:pt x="637646" y="912813"/>
                    </a:lnTo>
                    <a:lnTo>
                      <a:pt x="635000" y="907521"/>
                    </a:lnTo>
                    <a:lnTo>
                      <a:pt x="629708" y="904875"/>
                    </a:lnTo>
                    <a:lnTo>
                      <a:pt x="619125" y="902230"/>
                    </a:lnTo>
                    <a:lnTo>
                      <a:pt x="611187" y="899584"/>
                    </a:lnTo>
                    <a:lnTo>
                      <a:pt x="608541" y="896938"/>
                    </a:lnTo>
                    <a:lnTo>
                      <a:pt x="608541" y="891646"/>
                    </a:lnTo>
                    <a:lnTo>
                      <a:pt x="611187" y="886355"/>
                    </a:lnTo>
                    <a:lnTo>
                      <a:pt x="608541" y="883709"/>
                    </a:lnTo>
                    <a:lnTo>
                      <a:pt x="608541" y="881063"/>
                    </a:lnTo>
                    <a:lnTo>
                      <a:pt x="608541" y="878417"/>
                    </a:lnTo>
                    <a:lnTo>
                      <a:pt x="608541" y="875771"/>
                    </a:lnTo>
                    <a:lnTo>
                      <a:pt x="605896" y="873125"/>
                    </a:lnTo>
                    <a:lnTo>
                      <a:pt x="603250" y="870480"/>
                    </a:lnTo>
                    <a:lnTo>
                      <a:pt x="605896" y="867834"/>
                    </a:lnTo>
                    <a:lnTo>
                      <a:pt x="608541" y="862542"/>
                    </a:lnTo>
                    <a:lnTo>
                      <a:pt x="608541" y="859896"/>
                    </a:lnTo>
                    <a:lnTo>
                      <a:pt x="603250" y="851959"/>
                    </a:lnTo>
                    <a:lnTo>
                      <a:pt x="600604" y="844021"/>
                    </a:lnTo>
                    <a:lnTo>
                      <a:pt x="600604" y="841375"/>
                    </a:lnTo>
                    <a:lnTo>
                      <a:pt x="605896" y="838730"/>
                    </a:lnTo>
                    <a:lnTo>
                      <a:pt x="608541" y="833438"/>
                    </a:lnTo>
                    <a:lnTo>
                      <a:pt x="608541" y="830792"/>
                    </a:lnTo>
                    <a:lnTo>
                      <a:pt x="603250" y="822855"/>
                    </a:lnTo>
                    <a:lnTo>
                      <a:pt x="597958" y="812271"/>
                    </a:lnTo>
                    <a:lnTo>
                      <a:pt x="597958" y="809625"/>
                    </a:lnTo>
                    <a:lnTo>
                      <a:pt x="603250" y="806980"/>
                    </a:lnTo>
                    <a:lnTo>
                      <a:pt x="611187" y="801688"/>
                    </a:lnTo>
                    <a:lnTo>
                      <a:pt x="613833" y="799042"/>
                    </a:lnTo>
                    <a:lnTo>
                      <a:pt x="616479" y="796396"/>
                    </a:lnTo>
                    <a:lnTo>
                      <a:pt x="613833" y="796396"/>
                    </a:lnTo>
                    <a:lnTo>
                      <a:pt x="608541" y="799042"/>
                    </a:lnTo>
                    <a:lnTo>
                      <a:pt x="605896" y="801688"/>
                    </a:lnTo>
                    <a:lnTo>
                      <a:pt x="603250" y="801688"/>
                    </a:lnTo>
                    <a:lnTo>
                      <a:pt x="600604" y="799042"/>
                    </a:lnTo>
                    <a:lnTo>
                      <a:pt x="597958" y="793750"/>
                    </a:lnTo>
                    <a:lnTo>
                      <a:pt x="597958" y="788459"/>
                    </a:lnTo>
                    <a:lnTo>
                      <a:pt x="597958" y="783167"/>
                    </a:lnTo>
                    <a:lnTo>
                      <a:pt x="600604" y="777875"/>
                    </a:lnTo>
                    <a:lnTo>
                      <a:pt x="600604" y="769938"/>
                    </a:lnTo>
                    <a:lnTo>
                      <a:pt x="600604" y="756709"/>
                    </a:lnTo>
                    <a:lnTo>
                      <a:pt x="605896" y="743480"/>
                    </a:lnTo>
                    <a:lnTo>
                      <a:pt x="605896" y="738188"/>
                    </a:lnTo>
                    <a:lnTo>
                      <a:pt x="605896" y="735542"/>
                    </a:lnTo>
                    <a:lnTo>
                      <a:pt x="603250" y="730251"/>
                    </a:lnTo>
                    <a:lnTo>
                      <a:pt x="603250" y="727605"/>
                    </a:lnTo>
                    <a:lnTo>
                      <a:pt x="603250" y="722313"/>
                    </a:lnTo>
                    <a:lnTo>
                      <a:pt x="605896" y="717021"/>
                    </a:lnTo>
                    <a:lnTo>
                      <a:pt x="613833" y="711730"/>
                    </a:lnTo>
                    <a:lnTo>
                      <a:pt x="619125" y="706438"/>
                    </a:lnTo>
                    <a:lnTo>
                      <a:pt x="616479" y="703792"/>
                    </a:lnTo>
                    <a:lnTo>
                      <a:pt x="619125" y="701146"/>
                    </a:lnTo>
                    <a:lnTo>
                      <a:pt x="629708" y="695855"/>
                    </a:lnTo>
                    <a:lnTo>
                      <a:pt x="629708" y="690563"/>
                    </a:lnTo>
                    <a:lnTo>
                      <a:pt x="629708" y="674688"/>
                    </a:lnTo>
                    <a:lnTo>
                      <a:pt x="632354" y="669396"/>
                    </a:lnTo>
                    <a:lnTo>
                      <a:pt x="635000" y="661459"/>
                    </a:lnTo>
                    <a:lnTo>
                      <a:pt x="640291" y="653521"/>
                    </a:lnTo>
                    <a:lnTo>
                      <a:pt x="648229" y="648230"/>
                    </a:lnTo>
                    <a:lnTo>
                      <a:pt x="677333" y="616480"/>
                    </a:lnTo>
                    <a:lnTo>
                      <a:pt x="695854" y="590021"/>
                    </a:lnTo>
                    <a:lnTo>
                      <a:pt x="711729" y="568855"/>
                    </a:lnTo>
                    <a:lnTo>
                      <a:pt x="727604" y="571501"/>
                    </a:lnTo>
                    <a:lnTo>
                      <a:pt x="735541" y="574146"/>
                    </a:lnTo>
                    <a:lnTo>
                      <a:pt x="730250" y="568855"/>
                    </a:lnTo>
                    <a:lnTo>
                      <a:pt x="722312" y="566209"/>
                    </a:lnTo>
                    <a:lnTo>
                      <a:pt x="717021" y="563563"/>
                    </a:lnTo>
                    <a:lnTo>
                      <a:pt x="714375" y="560917"/>
                    </a:lnTo>
                    <a:lnTo>
                      <a:pt x="717021" y="558271"/>
                    </a:lnTo>
                    <a:lnTo>
                      <a:pt x="727604" y="542396"/>
                    </a:lnTo>
                    <a:lnTo>
                      <a:pt x="730250" y="534459"/>
                    </a:lnTo>
                    <a:lnTo>
                      <a:pt x="732896" y="526521"/>
                    </a:lnTo>
                    <a:lnTo>
                      <a:pt x="732896" y="518584"/>
                    </a:lnTo>
                    <a:lnTo>
                      <a:pt x="735541" y="508001"/>
                    </a:lnTo>
                    <a:lnTo>
                      <a:pt x="740833" y="502709"/>
                    </a:lnTo>
                    <a:lnTo>
                      <a:pt x="746125" y="502709"/>
                    </a:lnTo>
                    <a:lnTo>
                      <a:pt x="751416" y="505355"/>
                    </a:lnTo>
                    <a:lnTo>
                      <a:pt x="762000" y="508001"/>
                    </a:lnTo>
                    <a:lnTo>
                      <a:pt x="772583" y="508001"/>
                    </a:lnTo>
                    <a:lnTo>
                      <a:pt x="780521" y="508001"/>
                    </a:lnTo>
                    <a:lnTo>
                      <a:pt x="783166" y="510646"/>
                    </a:lnTo>
                    <a:lnTo>
                      <a:pt x="783166" y="513292"/>
                    </a:lnTo>
                    <a:lnTo>
                      <a:pt x="780521" y="518584"/>
                    </a:lnTo>
                    <a:lnTo>
                      <a:pt x="780521" y="523876"/>
                    </a:lnTo>
                    <a:lnTo>
                      <a:pt x="783166" y="526521"/>
                    </a:lnTo>
                    <a:lnTo>
                      <a:pt x="788458" y="515938"/>
                    </a:lnTo>
                    <a:lnTo>
                      <a:pt x="793750" y="510646"/>
                    </a:lnTo>
                    <a:lnTo>
                      <a:pt x="796396" y="508001"/>
                    </a:lnTo>
                    <a:lnTo>
                      <a:pt x="804333" y="505355"/>
                    </a:lnTo>
                    <a:lnTo>
                      <a:pt x="806979" y="505355"/>
                    </a:lnTo>
                    <a:lnTo>
                      <a:pt x="801687" y="500063"/>
                    </a:lnTo>
                    <a:lnTo>
                      <a:pt x="799041" y="494771"/>
                    </a:lnTo>
                    <a:lnTo>
                      <a:pt x="801687" y="494771"/>
                    </a:lnTo>
                    <a:lnTo>
                      <a:pt x="806979" y="492126"/>
                    </a:lnTo>
                    <a:lnTo>
                      <a:pt x="801687" y="486834"/>
                    </a:lnTo>
                    <a:lnTo>
                      <a:pt x="1444625" y="486834"/>
                    </a:lnTo>
                    <a:lnTo>
                      <a:pt x="1452562" y="484188"/>
                    </a:lnTo>
                    <a:lnTo>
                      <a:pt x="1457854" y="476251"/>
                    </a:lnTo>
                    <a:lnTo>
                      <a:pt x="1463146" y="470959"/>
                    </a:lnTo>
                    <a:lnTo>
                      <a:pt x="1465792" y="470959"/>
                    </a:lnTo>
                    <a:close/>
                    <a:moveTo>
                      <a:pt x="296333" y="272521"/>
                    </a:moveTo>
                    <a:lnTo>
                      <a:pt x="301625" y="275167"/>
                    </a:lnTo>
                    <a:lnTo>
                      <a:pt x="306916" y="277813"/>
                    </a:lnTo>
                    <a:lnTo>
                      <a:pt x="312208" y="277813"/>
                    </a:lnTo>
                    <a:lnTo>
                      <a:pt x="317500" y="277813"/>
                    </a:lnTo>
                    <a:lnTo>
                      <a:pt x="317500" y="280459"/>
                    </a:lnTo>
                    <a:lnTo>
                      <a:pt x="320145" y="283105"/>
                    </a:lnTo>
                    <a:lnTo>
                      <a:pt x="322791" y="285750"/>
                    </a:lnTo>
                    <a:lnTo>
                      <a:pt x="325437" y="285750"/>
                    </a:lnTo>
                    <a:lnTo>
                      <a:pt x="322791" y="288396"/>
                    </a:lnTo>
                    <a:lnTo>
                      <a:pt x="320145" y="288396"/>
                    </a:lnTo>
                    <a:lnTo>
                      <a:pt x="320145" y="291042"/>
                    </a:lnTo>
                    <a:lnTo>
                      <a:pt x="322791" y="296334"/>
                    </a:lnTo>
                    <a:lnTo>
                      <a:pt x="322791" y="298980"/>
                    </a:lnTo>
                    <a:lnTo>
                      <a:pt x="317500" y="298980"/>
                    </a:lnTo>
                    <a:lnTo>
                      <a:pt x="304270" y="298980"/>
                    </a:lnTo>
                    <a:lnTo>
                      <a:pt x="312208" y="301626"/>
                    </a:lnTo>
                    <a:lnTo>
                      <a:pt x="309562" y="304271"/>
                    </a:lnTo>
                    <a:lnTo>
                      <a:pt x="304270" y="306917"/>
                    </a:lnTo>
                    <a:lnTo>
                      <a:pt x="296333" y="306917"/>
                    </a:lnTo>
                    <a:lnTo>
                      <a:pt x="291041" y="306917"/>
                    </a:lnTo>
                    <a:lnTo>
                      <a:pt x="285750" y="306917"/>
                    </a:lnTo>
                    <a:lnTo>
                      <a:pt x="283104" y="306917"/>
                    </a:lnTo>
                    <a:lnTo>
                      <a:pt x="269875" y="312209"/>
                    </a:lnTo>
                    <a:lnTo>
                      <a:pt x="256646" y="312209"/>
                    </a:lnTo>
                    <a:lnTo>
                      <a:pt x="251354" y="312209"/>
                    </a:lnTo>
                    <a:lnTo>
                      <a:pt x="259291" y="309563"/>
                    </a:lnTo>
                    <a:lnTo>
                      <a:pt x="264583" y="304271"/>
                    </a:lnTo>
                    <a:lnTo>
                      <a:pt x="256646" y="306917"/>
                    </a:lnTo>
                    <a:lnTo>
                      <a:pt x="246062" y="306917"/>
                    </a:lnTo>
                    <a:lnTo>
                      <a:pt x="246062" y="304271"/>
                    </a:lnTo>
                    <a:lnTo>
                      <a:pt x="246062" y="301626"/>
                    </a:lnTo>
                    <a:lnTo>
                      <a:pt x="243417" y="298980"/>
                    </a:lnTo>
                    <a:lnTo>
                      <a:pt x="238125" y="296334"/>
                    </a:lnTo>
                    <a:lnTo>
                      <a:pt x="235479" y="293688"/>
                    </a:lnTo>
                    <a:lnTo>
                      <a:pt x="238125" y="293688"/>
                    </a:lnTo>
                    <a:lnTo>
                      <a:pt x="246062" y="288396"/>
                    </a:lnTo>
                    <a:lnTo>
                      <a:pt x="267229" y="285750"/>
                    </a:lnTo>
                    <a:lnTo>
                      <a:pt x="269875" y="285750"/>
                    </a:lnTo>
                    <a:lnTo>
                      <a:pt x="272521" y="285750"/>
                    </a:lnTo>
                    <a:lnTo>
                      <a:pt x="272521" y="288396"/>
                    </a:lnTo>
                    <a:lnTo>
                      <a:pt x="275166" y="288396"/>
                    </a:lnTo>
                    <a:lnTo>
                      <a:pt x="277812" y="285750"/>
                    </a:lnTo>
                    <a:lnTo>
                      <a:pt x="275166" y="285750"/>
                    </a:lnTo>
                    <a:lnTo>
                      <a:pt x="275166" y="283105"/>
                    </a:lnTo>
                    <a:lnTo>
                      <a:pt x="275166" y="280459"/>
                    </a:lnTo>
                    <a:lnTo>
                      <a:pt x="280458" y="280459"/>
                    </a:lnTo>
                    <a:lnTo>
                      <a:pt x="283104" y="280459"/>
                    </a:lnTo>
                    <a:lnTo>
                      <a:pt x="283104" y="283105"/>
                    </a:lnTo>
                    <a:lnTo>
                      <a:pt x="285750" y="280459"/>
                    </a:lnTo>
                    <a:lnTo>
                      <a:pt x="291041" y="275167"/>
                    </a:lnTo>
                    <a:close/>
                    <a:moveTo>
                      <a:pt x="669396" y="0"/>
                    </a:moveTo>
                    <a:lnTo>
                      <a:pt x="693208" y="0"/>
                    </a:lnTo>
                    <a:lnTo>
                      <a:pt x="706437" y="0"/>
                    </a:lnTo>
                    <a:lnTo>
                      <a:pt x="706437" y="2646"/>
                    </a:lnTo>
                    <a:lnTo>
                      <a:pt x="703792" y="2646"/>
                    </a:lnTo>
                    <a:lnTo>
                      <a:pt x="701146" y="7937"/>
                    </a:lnTo>
                    <a:lnTo>
                      <a:pt x="706437" y="7937"/>
                    </a:lnTo>
                    <a:lnTo>
                      <a:pt x="717021" y="5292"/>
                    </a:lnTo>
                    <a:lnTo>
                      <a:pt x="714375" y="2646"/>
                    </a:lnTo>
                    <a:lnTo>
                      <a:pt x="711729" y="0"/>
                    </a:lnTo>
                    <a:lnTo>
                      <a:pt x="714375" y="0"/>
                    </a:lnTo>
                    <a:lnTo>
                      <a:pt x="722312" y="0"/>
                    </a:lnTo>
                    <a:lnTo>
                      <a:pt x="727604" y="2646"/>
                    </a:lnTo>
                    <a:lnTo>
                      <a:pt x="732896" y="2646"/>
                    </a:lnTo>
                    <a:lnTo>
                      <a:pt x="748771" y="2646"/>
                    </a:lnTo>
                    <a:lnTo>
                      <a:pt x="764646" y="2646"/>
                    </a:lnTo>
                    <a:lnTo>
                      <a:pt x="767292" y="2646"/>
                    </a:lnTo>
                    <a:lnTo>
                      <a:pt x="767292" y="5292"/>
                    </a:lnTo>
                    <a:lnTo>
                      <a:pt x="762000" y="7937"/>
                    </a:lnTo>
                    <a:lnTo>
                      <a:pt x="751417" y="13229"/>
                    </a:lnTo>
                    <a:lnTo>
                      <a:pt x="762000" y="15875"/>
                    </a:lnTo>
                    <a:lnTo>
                      <a:pt x="769937" y="15875"/>
                    </a:lnTo>
                    <a:lnTo>
                      <a:pt x="780521" y="13229"/>
                    </a:lnTo>
                    <a:lnTo>
                      <a:pt x="788458" y="10583"/>
                    </a:lnTo>
                    <a:lnTo>
                      <a:pt x="791104" y="10583"/>
                    </a:lnTo>
                    <a:lnTo>
                      <a:pt x="796396" y="10583"/>
                    </a:lnTo>
                    <a:lnTo>
                      <a:pt x="804333" y="13229"/>
                    </a:lnTo>
                    <a:lnTo>
                      <a:pt x="809625" y="13229"/>
                    </a:lnTo>
                    <a:lnTo>
                      <a:pt x="814917" y="13229"/>
                    </a:lnTo>
                    <a:lnTo>
                      <a:pt x="825500" y="13229"/>
                    </a:lnTo>
                    <a:lnTo>
                      <a:pt x="833437" y="13229"/>
                    </a:lnTo>
                    <a:lnTo>
                      <a:pt x="844021" y="13229"/>
                    </a:lnTo>
                    <a:lnTo>
                      <a:pt x="859896" y="13229"/>
                    </a:lnTo>
                    <a:lnTo>
                      <a:pt x="889000" y="23812"/>
                    </a:lnTo>
                    <a:lnTo>
                      <a:pt x="891646" y="18521"/>
                    </a:lnTo>
                    <a:lnTo>
                      <a:pt x="894291" y="13229"/>
                    </a:lnTo>
                    <a:lnTo>
                      <a:pt x="899583" y="10583"/>
                    </a:lnTo>
                    <a:lnTo>
                      <a:pt x="902229" y="10583"/>
                    </a:lnTo>
                    <a:lnTo>
                      <a:pt x="907521" y="10583"/>
                    </a:lnTo>
                    <a:lnTo>
                      <a:pt x="912812" y="13229"/>
                    </a:lnTo>
                    <a:lnTo>
                      <a:pt x="915458" y="18521"/>
                    </a:lnTo>
                    <a:lnTo>
                      <a:pt x="920750" y="18521"/>
                    </a:lnTo>
                    <a:lnTo>
                      <a:pt x="928687" y="18521"/>
                    </a:lnTo>
                    <a:lnTo>
                      <a:pt x="939271" y="21167"/>
                    </a:lnTo>
                    <a:lnTo>
                      <a:pt x="941916" y="21167"/>
                    </a:lnTo>
                    <a:lnTo>
                      <a:pt x="947208" y="26458"/>
                    </a:lnTo>
                    <a:lnTo>
                      <a:pt x="886354" y="60854"/>
                    </a:lnTo>
                    <a:lnTo>
                      <a:pt x="817562" y="103188"/>
                    </a:lnTo>
                    <a:lnTo>
                      <a:pt x="738187" y="156104"/>
                    </a:lnTo>
                    <a:lnTo>
                      <a:pt x="695854" y="185209"/>
                    </a:lnTo>
                    <a:lnTo>
                      <a:pt x="653521" y="216959"/>
                    </a:lnTo>
                    <a:lnTo>
                      <a:pt x="661458" y="216959"/>
                    </a:lnTo>
                    <a:lnTo>
                      <a:pt x="669396" y="216959"/>
                    </a:lnTo>
                    <a:lnTo>
                      <a:pt x="677333" y="219604"/>
                    </a:lnTo>
                    <a:lnTo>
                      <a:pt x="679979" y="219604"/>
                    </a:lnTo>
                    <a:lnTo>
                      <a:pt x="685271" y="219604"/>
                    </a:lnTo>
                    <a:lnTo>
                      <a:pt x="687917" y="219604"/>
                    </a:lnTo>
                    <a:lnTo>
                      <a:pt x="690562" y="230188"/>
                    </a:lnTo>
                    <a:lnTo>
                      <a:pt x="695854" y="235479"/>
                    </a:lnTo>
                    <a:lnTo>
                      <a:pt x="701146" y="238125"/>
                    </a:lnTo>
                    <a:lnTo>
                      <a:pt x="711729" y="238125"/>
                    </a:lnTo>
                    <a:lnTo>
                      <a:pt x="717021" y="235479"/>
                    </a:lnTo>
                    <a:lnTo>
                      <a:pt x="722312" y="232834"/>
                    </a:lnTo>
                    <a:lnTo>
                      <a:pt x="730250" y="232834"/>
                    </a:lnTo>
                    <a:lnTo>
                      <a:pt x="738187" y="232834"/>
                    </a:lnTo>
                    <a:lnTo>
                      <a:pt x="738187" y="230188"/>
                    </a:lnTo>
                    <a:lnTo>
                      <a:pt x="740833" y="227542"/>
                    </a:lnTo>
                    <a:lnTo>
                      <a:pt x="748771" y="224896"/>
                    </a:lnTo>
                    <a:lnTo>
                      <a:pt x="764646" y="224896"/>
                    </a:lnTo>
                    <a:lnTo>
                      <a:pt x="759354" y="230188"/>
                    </a:lnTo>
                    <a:lnTo>
                      <a:pt x="759354" y="232834"/>
                    </a:lnTo>
                    <a:lnTo>
                      <a:pt x="759354" y="238125"/>
                    </a:lnTo>
                    <a:lnTo>
                      <a:pt x="762000" y="254000"/>
                    </a:lnTo>
                    <a:lnTo>
                      <a:pt x="762000" y="272521"/>
                    </a:lnTo>
                    <a:lnTo>
                      <a:pt x="762000" y="280459"/>
                    </a:lnTo>
                    <a:lnTo>
                      <a:pt x="759354" y="288396"/>
                    </a:lnTo>
                    <a:lnTo>
                      <a:pt x="759354" y="293688"/>
                    </a:lnTo>
                    <a:lnTo>
                      <a:pt x="762000" y="293688"/>
                    </a:lnTo>
                    <a:lnTo>
                      <a:pt x="762000" y="296334"/>
                    </a:lnTo>
                    <a:lnTo>
                      <a:pt x="759354" y="298980"/>
                    </a:lnTo>
                    <a:lnTo>
                      <a:pt x="759354" y="301625"/>
                    </a:lnTo>
                    <a:lnTo>
                      <a:pt x="759354" y="304271"/>
                    </a:lnTo>
                    <a:lnTo>
                      <a:pt x="764646" y="309563"/>
                    </a:lnTo>
                    <a:lnTo>
                      <a:pt x="769937" y="314855"/>
                    </a:lnTo>
                    <a:lnTo>
                      <a:pt x="769937" y="317500"/>
                    </a:lnTo>
                    <a:lnTo>
                      <a:pt x="767292" y="320146"/>
                    </a:lnTo>
                    <a:lnTo>
                      <a:pt x="762000" y="325438"/>
                    </a:lnTo>
                    <a:lnTo>
                      <a:pt x="759354" y="328084"/>
                    </a:lnTo>
                    <a:lnTo>
                      <a:pt x="756708" y="333375"/>
                    </a:lnTo>
                    <a:lnTo>
                      <a:pt x="748771" y="336021"/>
                    </a:lnTo>
                    <a:lnTo>
                      <a:pt x="751417" y="328084"/>
                    </a:lnTo>
                    <a:lnTo>
                      <a:pt x="754062" y="322792"/>
                    </a:lnTo>
                    <a:lnTo>
                      <a:pt x="751417" y="320146"/>
                    </a:lnTo>
                    <a:lnTo>
                      <a:pt x="748771" y="320146"/>
                    </a:lnTo>
                    <a:lnTo>
                      <a:pt x="746125" y="320146"/>
                    </a:lnTo>
                    <a:lnTo>
                      <a:pt x="746125" y="317500"/>
                    </a:lnTo>
                    <a:lnTo>
                      <a:pt x="746125" y="312209"/>
                    </a:lnTo>
                    <a:lnTo>
                      <a:pt x="748771" y="306917"/>
                    </a:lnTo>
                    <a:lnTo>
                      <a:pt x="751417" y="304271"/>
                    </a:lnTo>
                    <a:lnTo>
                      <a:pt x="751417" y="301625"/>
                    </a:lnTo>
                    <a:lnTo>
                      <a:pt x="746125" y="296334"/>
                    </a:lnTo>
                    <a:lnTo>
                      <a:pt x="743479" y="291042"/>
                    </a:lnTo>
                    <a:lnTo>
                      <a:pt x="746125" y="288396"/>
                    </a:lnTo>
                    <a:lnTo>
                      <a:pt x="748771" y="280459"/>
                    </a:lnTo>
                    <a:lnTo>
                      <a:pt x="748771" y="275167"/>
                    </a:lnTo>
                    <a:lnTo>
                      <a:pt x="746125" y="269875"/>
                    </a:lnTo>
                    <a:lnTo>
                      <a:pt x="743479" y="259292"/>
                    </a:lnTo>
                    <a:lnTo>
                      <a:pt x="746125" y="256646"/>
                    </a:lnTo>
                    <a:lnTo>
                      <a:pt x="748771" y="251354"/>
                    </a:lnTo>
                    <a:lnTo>
                      <a:pt x="754062" y="240771"/>
                    </a:lnTo>
                    <a:lnTo>
                      <a:pt x="751417" y="238125"/>
                    </a:lnTo>
                    <a:lnTo>
                      <a:pt x="743479" y="240771"/>
                    </a:lnTo>
                    <a:lnTo>
                      <a:pt x="732896" y="248709"/>
                    </a:lnTo>
                    <a:lnTo>
                      <a:pt x="727604" y="254000"/>
                    </a:lnTo>
                    <a:lnTo>
                      <a:pt x="724958" y="256646"/>
                    </a:lnTo>
                    <a:lnTo>
                      <a:pt x="719667" y="254000"/>
                    </a:lnTo>
                    <a:lnTo>
                      <a:pt x="719667" y="251354"/>
                    </a:lnTo>
                    <a:lnTo>
                      <a:pt x="717021" y="248709"/>
                    </a:lnTo>
                    <a:lnTo>
                      <a:pt x="714375" y="246063"/>
                    </a:lnTo>
                    <a:lnTo>
                      <a:pt x="709083" y="248709"/>
                    </a:lnTo>
                    <a:lnTo>
                      <a:pt x="701146" y="251354"/>
                    </a:lnTo>
                    <a:lnTo>
                      <a:pt x="693208" y="256646"/>
                    </a:lnTo>
                    <a:lnTo>
                      <a:pt x="687917" y="254000"/>
                    </a:lnTo>
                    <a:lnTo>
                      <a:pt x="682625" y="251354"/>
                    </a:lnTo>
                    <a:lnTo>
                      <a:pt x="682625" y="248709"/>
                    </a:lnTo>
                    <a:lnTo>
                      <a:pt x="685271" y="246063"/>
                    </a:lnTo>
                    <a:lnTo>
                      <a:pt x="687917" y="243417"/>
                    </a:lnTo>
                    <a:lnTo>
                      <a:pt x="685271" y="243417"/>
                    </a:lnTo>
                    <a:lnTo>
                      <a:pt x="682625" y="240771"/>
                    </a:lnTo>
                    <a:lnTo>
                      <a:pt x="677333" y="235479"/>
                    </a:lnTo>
                    <a:lnTo>
                      <a:pt x="679979" y="230188"/>
                    </a:lnTo>
                    <a:lnTo>
                      <a:pt x="682625" y="227542"/>
                    </a:lnTo>
                    <a:lnTo>
                      <a:pt x="674687" y="227542"/>
                    </a:lnTo>
                    <a:lnTo>
                      <a:pt x="650875" y="230188"/>
                    </a:lnTo>
                    <a:lnTo>
                      <a:pt x="629708" y="227542"/>
                    </a:lnTo>
                    <a:lnTo>
                      <a:pt x="616479" y="222250"/>
                    </a:lnTo>
                    <a:lnTo>
                      <a:pt x="605896" y="219604"/>
                    </a:lnTo>
                    <a:lnTo>
                      <a:pt x="587375" y="222250"/>
                    </a:lnTo>
                    <a:lnTo>
                      <a:pt x="568854" y="222250"/>
                    </a:lnTo>
                    <a:lnTo>
                      <a:pt x="560916" y="219604"/>
                    </a:lnTo>
                    <a:lnTo>
                      <a:pt x="558271" y="216959"/>
                    </a:lnTo>
                    <a:lnTo>
                      <a:pt x="550333" y="214313"/>
                    </a:lnTo>
                    <a:lnTo>
                      <a:pt x="542396" y="214313"/>
                    </a:lnTo>
                    <a:lnTo>
                      <a:pt x="539750" y="211667"/>
                    </a:lnTo>
                    <a:lnTo>
                      <a:pt x="539750" y="209021"/>
                    </a:lnTo>
                    <a:lnTo>
                      <a:pt x="542396" y="206375"/>
                    </a:lnTo>
                    <a:lnTo>
                      <a:pt x="550333" y="201084"/>
                    </a:lnTo>
                    <a:lnTo>
                      <a:pt x="545041" y="201084"/>
                    </a:lnTo>
                    <a:lnTo>
                      <a:pt x="539750" y="198438"/>
                    </a:lnTo>
                    <a:lnTo>
                      <a:pt x="537104" y="198438"/>
                    </a:lnTo>
                    <a:lnTo>
                      <a:pt x="531812" y="190500"/>
                    </a:lnTo>
                    <a:lnTo>
                      <a:pt x="529166" y="187854"/>
                    </a:lnTo>
                    <a:lnTo>
                      <a:pt x="526521" y="185209"/>
                    </a:lnTo>
                    <a:lnTo>
                      <a:pt x="523875" y="187854"/>
                    </a:lnTo>
                    <a:lnTo>
                      <a:pt x="508000" y="193146"/>
                    </a:lnTo>
                    <a:lnTo>
                      <a:pt x="497416" y="193146"/>
                    </a:lnTo>
                    <a:lnTo>
                      <a:pt x="489479" y="195792"/>
                    </a:lnTo>
                    <a:lnTo>
                      <a:pt x="484187" y="198438"/>
                    </a:lnTo>
                    <a:lnTo>
                      <a:pt x="481541" y="203729"/>
                    </a:lnTo>
                    <a:lnTo>
                      <a:pt x="481541" y="209021"/>
                    </a:lnTo>
                    <a:lnTo>
                      <a:pt x="481541" y="211667"/>
                    </a:lnTo>
                    <a:lnTo>
                      <a:pt x="481541" y="214313"/>
                    </a:lnTo>
                    <a:lnTo>
                      <a:pt x="486833" y="214313"/>
                    </a:lnTo>
                    <a:lnTo>
                      <a:pt x="500062" y="214313"/>
                    </a:lnTo>
                    <a:lnTo>
                      <a:pt x="518583" y="211667"/>
                    </a:lnTo>
                    <a:lnTo>
                      <a:pt x="505354" y="219604"/>
                    </a:lnTo>
                    <a:lnTo>
                      <a:pt x="494771" y="222250"/>
                    </a:lnTo>
                    <a:lnTo>
                      <a:pt x="481541" y="222250"/>
                    </a:lnTo>
                    <a:lnTo>
                      <a:pt x="473604" y="222250"/>
                    </a:lnTo>
                    <a:lnTo>
                      <a:pt x="468312" y="222250"/>
                    </a:lnTo>
                    <a:lnTo>
                      <a:pt x="463021" y="224896"/>
                    </a:lnTo>
                    <a:lnTo>
                      <a:pt x="460375" y="224896"/>
                    </a:lnTo>
                    <a:lnTo>
                      <a:pt x="452437" y="224896"/>
                    </a:lnTo>
                    <a:lnTo>
                      <a:pt x="441854" y="227542"/>
                    </a:lnTo>
                    <a:lnTo>
                      <a:pt x="425979" y="235479"/>
                    </a:lnTo>
                    <a:lnTo>
                      <a:pt x="412750" y="238125"/>
                    </a:lnTo>
                    <a:lnTo>
                      <a:pt x="402166" y="238125"/>
                    </a:lnTo>
                    <a:lnTo>
                      <a:pt x="402166" y="235479"/>
                    </a:lnTo>
                    <a:lnTo>
                      <a:pt x="399521" y="232834"/>
                    </a:lnTo>
                    <a:lnTo>
                      <a:pt x="402166" y="230188"/>
                    </a:lnTo>
                    <a:lnTo>
                      <a:pt x="404812" y="227542"/>
                    </a:lnTo>
                    <a:lnTo>
                      <a:pt x="418041" y="227542"/>
                    </a:lnTo>
                    <a:lnTo>
                      <a:pt x="428625" y="224896"/>
                    </a:lnTo>
                    <a:lnTo>
                      <a:pt x="433916" y="222250"/>
                    </a:lnTo>
                    <a:lnTo>
                      <a:pt x="439208" y="216959"/>
                    </a:lnTo>
                    <a:lnTo>
                      <a:pt x="412750" y="222250"/>
                    </a:lnTo>
                    <a:lnTo>
                      <a:pt x="404812" y="222250"/>
                    </a:lnTo>
                    <a:lnTo>
                      <a:pt x="404812" y="219604"/>
                    </a:lnTo>
                    <a:lnTo>
                      <a:pt x="407458" y="216959"/>
                    </a:lnTo>
                    <a:lnTo>
                      <a:pt x="415396" y="209021"/>
                    </a:lnTo>
                    <a:lnTo>
                      <a:pt x="431271" y="198438"/>
                    </a:lnTo>
                    <a:lnTo>
                      <a:pt x="447146" y="190500"/>
                    </a:lnTo>
                    <a:lnTo>
                      <a:pt x="457729" y="187854"/>
                    </a:lnTo>
                    <a:lnTo>
                      <a:pt x="465666" y="187854"/>
                    </a:lnTo>
                    <a:lnTo>
                      <a:pt x="457729" y="185209"/>
                    </a:lnTo>
                    <a:lnTo>
                      <a:pt x="457729" y="179917"/>
                    </a:lnTo>
                    <a:lnTo>
                      <a:pt x="460375" y="174625"/>
                    </a:lnTo>
                    <a:lnTo>
                      <a:pt x="468312" y="166688"/>
                    </a:lnTo>
                    <a:lnTo>
                      <a:pt x="444500" y="182563"/>
                    </a:lnTo>
                    <a:lnTo>
                      <a:pt x="428625" y="190500"/>
                    </a:lnTo>
                    <a:lnTo>
                      <a:pt x="418041" y="193146"/>
                    </a:lnTo>
                    <a:lnTo>
                      <a:pt x="402166" y="193146"/>
                    </a:lnTo>
                    <a:lnTo>
                      <a:pt x="399521" y="193146"/>
                    </a:lnTo>
                    <a:lnTo>
                      <a:pt x="412750" y="195792"/>
                    </a:lnTo>
                    <a:lnTo>
                      <a:pt x="418041" y="198438"/>
                    </a:lnTo>
                    <a:lnTo>
                      <a:pt x="415396" y="201084"/>
                    </a:lnTo>
                    <a:lnTo>
                      <a:pt x="407458" y="203729"/>
                    </a:lnTo>
                    <a:lnTo>
                      <a:pt x="386292" y="206375"/>
                    </a:lnTo>
                    <a:lnTo>
                      <a:pt x="381000" y="209021"/>
                    </a:lnTo>
                    <a:lnTo>
                      <a:pt x="383646" y="209021"/>
                    </a:lnTo>
                    <a:lnTo>
                      <a:pt x="391583" y="214313"/>
                    </a:lnTo>
                    <a:lnTo>
                      <a:pt x="396875" y="216959"/>
                    </a:lnTo>
                    <a:lnTo>
                      <a:pt x="396875" y="219604"/>
                    </a:lnTo>
                    <a:lnTo>
                      <a:pt x="388937" y="222250"/>
                    </a:lnTo>
                    <a:lnTo>
                      <a:pt x="373062" y="224896"/>
                    </a:lnTo>
                    <a:lnTo>
                      <a:pt x="349250" y="227542"/>
                    </a:lnTo>
                    <a:lnTo>
                      <a:pt x="336021" y="230188"/>
                    </a:lnTo>
                    <a:lnTo>
                      <a:pt x="325437" y="230188"/>
                    </a:lnTo>
                    <a:lnTo>
                      <a:pt x="320146" y="232834"/>
                    </a:lnTo>
                    <a:lnTo>
                      <a:pt x="317500" y="235479"/>
                    </a:lnTo>
                    <a:lnTo>
                      <a:pt x="320146" y="235479"/>
                    </a:lnTo>
                    <a:lnTo>
                      <a:pt x="336021" y="235479"/>
                    </a:lnTo>
                    <a:lnTo>
                      <a:pt x="346604" y="238125"/>
                    </a:lnTo>
                    <a:lnTo>
                      <a:pt x="349250" y="240771"/>
                    </a:lnTo>
                    <a:lnTo>
                      <a:pt x="343958" y="246063"/>
                    </a:lnTo>
                    <a:lnTo>
                      <a:pt x="338667" y="248709"/>
                    </a:lnTo>
                    <a:lnTo>
                      <a:pt x="336021" y="248709"/>
                    </a:lnTo>
                    <a:lnTo>
                      <a:pt x="328083" y="248709"/>
                    </a:lnTo>
                    <a:lnTo>
                      <a:pt x="322792" y="248709"/>
                    </a:lnTo>
                    <a:lnTo>
                      <a:pt x="320146" y="248709"/>
                    </a:lnTo>
                    <a:lnTo>
                      <a:pt x="322792" y="251354"/>
                    </a:lnTo>
                    <a:lnTo>
                      <a:pt x="320146" y="254000"/>
                    </a:lnTo>
                    <a:lnTo>
                      <a:pt x="320146" y="256646"/>
                    </a:lnTo>
                    <a:lnTo>
                      <a:pt x="312208" y="256646"/>
                    </a:lnTo>
                    <a:lnTo>
                      <a:pt x="304271" y="256646"/>
                    </a:lnTo>
                    <a:lnTo>
                      <a:pt x="301625" y="256646"/>
                    </a:lnTo>
                    <a:lnTo>
                      <a:pt x="301625" y="259292"/>
                    </a:lnTo>
                    <a:lnTo>
                      <a:pt x="298979" y="261938"/>
                    </a:lnTo>
                    <a:lnTo>
                      <a:pt x="288396" y="264584"/>
                    </a:lnTo>
                    <a:lnTo>
                      <a:pt x="277812" y="267229"/>
                    </a:lnTo>
                    <a:lnTo>
                      <a:pt x="272521" y="272521"/>
                    </a:lnTo>
                    <a:lnTo>
                      <a:pt x="269875" y="275167"/>
                    </a:lnTo>
                    <a:lnTo>
                      <a:pt x="267229" y="275167"/>
                    </a:lnTo>
                    <a:lnTo>
                      <a:pt x="256646" y="277813"/>
                    </a:lnTo>
                    <a:lnTo>
                      <a:pt x="246062" y="277813"/>
                    </a:lnTo>
                    <a:lnTo>
                      <a:pt x="243417" y="280459"/>
                    </a:lnTo>
                    <a:lnTo>
                      <a:pt x="238125" y="283104"/>
                    </a:lnTo>
                    <a:lnTo>
                      <a:pt x="238125" y="285750"/>
                    </a:lnTo>
                    <a:lnTo>
                      <a:pt x="235479" y="285750"/>
                    </a:lnTo>
                    <a:lnTo>
                      <a:pt x="230187" y="285750"/>
                    </a:lnTo>
                    <a:lnTo>
                      <a:pt x="224896" y="285750"/>
                    </a:lnTo>
                    <a:lnTo>
                      <a:pt x="222250" y="288396"/>
                    </a:lnTo>
                    <a:lnTo>
                      <a:pt x="222250" y="293688"/>
                    </a:lnTo>
                    <a:lnTo>
                      <a:pt x="216958" y="296334"/>
                    </a:lnTo>
                    <a:lnTo>
                      <a:pt x="206375" y="296334"/>
                    </a:lnTo>
                    <a:lnTo>
                      <a:pt x="195792" y="296334"/>
                    </a:lnTo>
                    <a:lnTo>
                      <a:pt x="190500" y="298980"/>
                    </a:lnTo>
                    <a:lnTo>
                      <a:pt x="187854" y="301625"/>
                    </a:lnTo>
                    <a:lnTo>
                      <a:pt x="185208" y="304271"/>
                    </a:lnTo>
                    <a:lnTo>
                      <a:pt x="179917" y="306917"/>
                    </a:lnTo>
                    <a:lnTo>
                      <a:pt x="171979" y="306917"/>
                    </a:lnTo>
                    <a:lnTo>
                      <a:pt x="161396" y="306917"/>
                    </a:lnTo>
                    <a:lnTo>
                      <a:pt x="156104" y="306917"/>
                    </a:lnTo>
                    <a:lnTo>
                      <a:pt x="148167" y="309563"/>
                    </a:lnTo>
                    <a:lnTo>
                      <a:pt x="137583" y="314855"/>
                    </a:lnTo>
                    <a:lnTo>
                      <a:pt x="132292" y="317500"/>
                    </a:lnTo>
                    <a:lnTo>
                      <a:pt x="116417" y="320146"/>
                    </a:lnTo>
                    <a:lnTo>
                      <a:pt x="103187" y="322792"/>
                    </a:lnTo>
                    <a:lnTo>
                      <a:pt x="97896" y="322792"/>
                    </a:lnTo>
                    <a:lnTo>
                      <a:pt x="89958" y="322792"/>
                    </a:lnTo>
                    <a:lnTo>
                      <a:pt x="79375" y="325438"/>
                    </a:lnTo>
                    <a:lnTo>
                      <a:pt x="55562" y="333375"/>
                    </a:lnTo>
                    <a:lnTo>
                      <a:pt x="29104" y="336021"/>
                    </a:lnTo>
                    <a:lnTo>
                      <a:pt x="5292" y="341313"/>
                    </a:lnTo>
                    <a:lnTo>
                      <a:pt x="0" y="338667"/>
                    </a:lnTo>
                    <a:lnTo>
                      <a:pt x="2646" y="333375"/>
                    </a:lnTo>
                    <a:lnTo>
                      <a:pt x="7937" y="330730"/>
                    </a:lnTo>
                    <a:lnTo>
                      <a:pt x="18521" y="325438"/>
                    </a:lnTo>
                    <a:lnTo>
                      <a:pt x="42333" y="320146"/>
                    </a:lnTo>
                    <a:lnTo>
                      <a:pt x="63500" y="317500"/>
                    </a:lnTo>
                    <a:lnTo>
                      <a:pt x="71437" y="314855"/>
                    </a:lnTo>
                    <a:lnTo>
                      <a:pt x="71437" y="312209"/>
                    </a:lnTo>
                    <a:lnTo>
                      <a:pt x="79375" y="320146"/>
                    </a:lnTo>
                    <a:lnTo>
                      <a:pt x="84667" y="320146"/>
                    </a:lnTo>
                    <a:lnTo>
                      <a:pt x="87312" y="314855"/>
                    </a:lnTo>
                    <a:lnTo>
                      <a:pt x="87312" y="312209"/>
                    </a:lnTo>
                    <a:lnTo>
                      <a:pt x="95250" y="309563"/>
                    </a:lnTo>
                    <a:lnTo>
                      <a:pt x="129646" y="301625"/>
                    </a:lnTo>
                    <a:lnTo>
                      <a:pt x="148167" y="296334"/>
                    </a:lnTo>
                    <a:lnTo>
                      <a:pt x="156104" y="291042"/>
                    </a:lnTo>
                    <a:lnTo>
                      <a:pt x="161396" y="285750"/>
                    </a:lnTo>
                    <a:lnTo>
                      <a:pt x="177271" y="280459"/>
                    </a:lnTo>
                    <a:lnTo>
                      <a:pt x="201083" y="275167"/>
                    </a:lnTo>
                    <a:lnTo>
                      <a:pt x="216958" y="267229"/>
                    </a:lnTo>
                    <a:lnTo>
                      <a:pt x="243417" y="256646"/>
                    </a:lnTo>
                    <a:lnTo>
                      <a:pt x="248708" y="251354"/>
                    </a:lnTo>
                    <a:lnTo>
                      <a:pt x="254000" y="246063"/>
                    </a:lnTo>
                    <a:lnTo>
                      <a:pt x="240771" y="254000"/>
                    </a:lnTo>
                    <a:lnTo>
                      <a:pt x="232833" y="256646"/>
                    </a:lnTo>
                    <a:lnTo>
                      <a:pt x="224896" y="256646"/>
                    </a:lnTo>
                    <a:lnTo>
                      <a:pt x="222250" y="254000"/>
                    </a:lnTo>
                    <a:lnTo>
                      <a:pt x="216958" y="251354"/>
                    </a:lnTo>
                    <a:lnTo>
                      <a:pt x="214312" y="251354"/>
                    </a:lnTo>
                    <a:lnTo>
                      <a:pt x="214312" y="254000"/>
                    </a:lnTo>
                    <a:lnTo>
                      <a:pt x="211667" y="259292"/>
                    </a:lnTo>
                    <a:lnTo>
                      <a:pt x="209021" y="259292"/>
                    </a:lnTo>
                    <a:lnTo>
                      <a:pt x="203729" y="256646"/>
                    </a:lnTo>
                    <a:lnTo>
                      <a:pt x="195792" y="254000"/>
                    </a:lnTo>
                    <a:lnTo>
                      <a:pt x="193146" y="251354"/>
                    </a:lnTo>
                    <a:lnTo>
                      <a:pt x="190500" y="251354"/>
                    </a:lnTo>
                    <a:lnTo>
                      <a:pt x="187854" y="251354"/>
                    </a:lnTo>
                    <a:lnTo>
                      <a:pt x="185208" y="248709"/>
                    </a:lnTo>
                    <a:lnTo>
                      <a:pt x="179917" y="246063"/>
                    </a:lnTo>
                    <a:lnTo>
                      <a:pt x="166687" y="248709"/>
                    </a:lnTo>
                    <a:lnTo>
                      <a:pt x="153458" y="254000"/>
                    </a:lnTo>
                    <a:lnTo>
                      <a:pt x="153458" y="251354"/>
                    </a:lnTo>
                    <a:lnTo>
                      <a:pt x="156104" y="246063"/>
                    </a:lnTo>
                    <a:lnTo>
                      <a:pt x="164042" y="240771"/>
                    </a:lnTo>
                    <a:lnTo>
                      <a:pt x="177271" y="235479"/>
                    </a:lnTo>
                    <a:lnTo>
                      <a:pt x="182562" y="232834"/>
                    </a:lnTo>
                    <a:lnTo>
                      <a:pt x="179917" y="227542"/>
                    </a:lnTo>
                    <a:lnTo>
                      <a:pt x="177271" y="227542"/>
                    </a:lnTo>
                    <a:lnTo>
                      <a:pt x="179917" y="224896"/>
                    </a:lnTo>
                    <a:lnTo>
                      <a:pt x="185208" y="219604"/>
                    </a:lnTo>
                    <a:lnTo>
                      <a:pt x="209021" y="211667"/>
                    </a:lnTo>
                    <a:lnTo>
                      <a:pt x="198437" y="211667"/>
                    </a:lnTo>
                    <a:lnTo>
                      <a:pt x="187854" y="211667"/>
                    </a:lnTo>
                    <a:lnTo>
                      <a:pt x="177271" y="216959"/>
                    </a:lnTo>
                    <a:lnTo>
                      <a:pt x="171979" y="222250"/>
                    </a:lnTo>
                    <a:lnTo>
                      <a:pt x="166687" y="224896"/>
                    </a:lnTo>
                    <a:lnTo>
                      <a:pt x="156104" y="227542"/>
                    </a:lnTo>
                    <a:lnTo>
                      <a:pt x="145521" y="224896"/>
                    </a:lnTo>
                    <a:lnTo>
                      <a:pt x="142875" y="222250"/>
                    </a:lnTo>
                    <a:lnTo>
                      <a:pt x="140229" y="216959"/>
                    </a:lnTo>
                    <a:lnTo>
                      <a:pt x="137583" y="214313"/>
                    </a:lnTo>
                    <a:lnTo>
                      <a:pt x="134937" y="214313"/>
                    </a:lnTo>
                    <a:lnTo>
                      <a:pt x="142875" y="209021"/>
                    </a:lnTo>
                    <a:lnTo>
                      <a:pt x="150812" y="206375"/>
                    </a:lnTo>
                    <a:lnTo>
                      <a:pt x="153458" y="206375"/>
                    </a:lnTo>
                    <a:lnTo>
                      <a:pt x="156104" y="209021"/>
                    </a:lnTo>
                    <a:lnTo>
                      <a:pt x="156104" y="206375"/>
                    </a:lnTo>
                    <a:lnTo>
                      <a:pt x="156104" y="203729"/>
                    </a:lnTo>
                    <a:lnTo>
                      <a:pt x="150812" y="203729"/>
                    </a:lnTo>
                    <a:lnTo>
                      <a:pt x="142875" y="206375"/>
                    </a:lnTo>
                    <a:lnTo>
                      <a:pt x="132292" y="211667"/>
                    </a:lnTo>
                    <a:lnTo>
                      <a:pt x="129646" y="211667"/>
                    </a:lnTo>
                    <a:lnTo>
                      <a:pt x="129646" y="206375"/>
                    </a:lnTo>
                    <a:lnTo>
                      <a:pt x="129646" y="203729"/>
                    </a:lnTo>
                    <a:lnTo>
                      <a:pt x="132292" y="198438"/>
                    </a:lnTo>
                    <a:lnTo>
                      <a:pt x="137583" y="195792"/>
                    </a:lnTo>
                    <a:lnTo>
                      <a:pt x="148167" y="193146"/>
                    </a:lnTo>
                    <a:lnTo>
                      <a:pt x="156104" y="193146"/>
                    </a:lnTo>
                    <a:lnTo>
                      <a:pt x="156104" y="190500"/>
                    </a:lnTo>
                    <a:lnTo>
                      <a:pt x="140229" y="190500"/>
                    </a:lnTo>
                    <a:lnTo>
                      <a:pt x="134937" y="190500"/>
                    </a:lnTo>
                    <a:lnTo>
                      <a:pt x="137583" y="187854"/>
                    </a:lnTo>
                    <a:lnTo>
                      <a:pt x="137583" y="185209"/>
                    </a:lnTo>
                    <a:lnTo>
                      <a:pt x="134937" y="185209"/>
                    </a:lnTo>
                    <a:lnTo>
                      <a:pt x="134937" y="182563"/>
                    </a:lnTo>
                    <a:lnTo>
                      <a:pt x="134937" y="179917"/>
                    </a:lnTo>
                    <a:lnTo>
                      <a:pt x="140229" y="177271"/>
                    </a:lnTo>
                    <a:lnTo>
                      <a:pt x="145521" y="174625"/>
                    </a:lnTo>
                    <a:lnTo>
                      <a:pt x="148167" y="174625"/>
                    </a:lnTo>
                    <a:lnTo>
                      <a:pt x="150812" y="174625"/>
                    </a:lnTo>
                    <a:lnTo>
                      <a:pt x="153458" y="177271"/>
                    </a:lnTo>
                    <a:lnTo>
                      <a:pt x="156104" y="177271"/>
                    </a:lnTo>
                    <a:lnTo>
                      <a:pt x="161396" y="174625"/>
                    </a:lnTo>
                    <a:lnTo>
                      <a:pt x="171979" y="169334"/>
                    </a:lnTo>
                    <a:lnTo>
                      <a:pt x="187854" y="164042"/>
                    </a:lnTo>
                    <a:lnTo>
                      <a:pt x="193146" y="161396"/>
                    </a:lnTo>
                    <a:lnTo>
                      <a:pt x="190500" y="161396"/>
                    </a:lnTo>
                    <a:lnTo>
                      <a:pt x="187854" y="158750"/>
                    </a:lnTo>
                    <a:lnTo>
                      <a:pt x="198437" y="156104"/>
                    </a:lnTo>
                    <a:lnTo>
                      <a:pt x="211667" y="156104"/>
                    </a:lnTo>
                    <a:lnTo>
                      <a:pt x="216958" y="158750"/>
                    </a:lnTo>
                    <a:lnTo>
                      <a:pt x="219604" y="161396"/>
                    </a:lnTo>
                    <a:lnTo>
                      <a:pt x="224896" y="161396"/>
                    </a:lnTo>
                    <a:lnTo>
                      <a:pt x="232833" y="158750"/>
                    </a:lnTo>
                    <a:lnTo>
                      <a:pt x="246062" y="161396"/>
                    </a:lnTo>
                    <a:lnTo>
                      <a:pt x="254000" y="161396"/>
                    </a:lnTo>
                    <a:lnTo>
                      <a:pt x="256646" y="161396"/>
                    </a:lnTo>
                    <a:lnTo>
                      <a:pt x="256646" y="158750"/>
                    </a:lnTo>
                    <a:lnTo>
                      <a:pt x="256646" y="156104"/>
                    </a:lnTo>
                    <a:lnTo>
                      <a:pt x="259292" y="156104"/>
                    </a:lnTo>
                    <a:lnTo>
                      <a:pt x="267229" y="153458"/>
                    </a:lnTo>
                    <a:lnTo>
                      <a:pt x="275167" y="153458"/>
                    </a:lnTo>
                    <a:lnTo>
                      <a:pt x="280458" y="156104"/>
                    </a:lnTo>
                    <a:lnTo>
                      <a:pt x="283104" y="158750"/>
                    </a:lnTo>
                    <a:lnTo>
                      <a:pt x="285750" y="158750"/>
                    </a:lnTo>
                    <a:lnTo>
                      <a:pt x="291042" y="156104"/>
                    </a:lnTo>
                    <a:lnTo>
                      <a:pt x="293687" y="156104"/>
                    </a:lnTo>
                    <a:lnTo>
                      <a:pt x="301625" y="156104"/>
                    </a:lnTo>
                    <a:lnTo>
                      <a:pt x="306917" y="153458"/>
                    </a:lnTo>
                    <a:lnTo>
                      <a:pt x="306917" y="150813"/>
                    </a:lnTo>
                    <a:lnTo>
                      <a:pt x="309562" y="145521"/>
                    </a:lnTo>
                    <a:lnTo>
                      <a:pt x="309562" y="140229"/>
                    </a:lnTo>
                    <a:lnTo>
                      <a:pt x="312208" y="137583"/>
                    </a:lnTo>
                    <a:lnTo>
                      <a:pt x="314854" y="137583"/>
                    </a:lnTo>
                    <a:lnTo>
                      <a:pt x="322792" y="140229"/>
                    </a:lnTo>
                    <a:lnTo>
                      <a:pt x="330729" y="142875"/>
                    </a:lnTo>
                    <a:lnTo>
                      <a:pt x="338667" y="142875"/>
                    </a:lnTo>
                    <a:lnTo>
                      <a:pt x="351896" y="137583"/>
                    </a:lnTo>
                    <a:lnTo>
                      <a:pt x="362479" y="132292"/>
                    </a:lnTo>
                    <a:lnTo>
                      <a:pt x="367771" y="127000"/>
                    </a:lnTo>
                    <a:lnTo>
                      <a:pt x="367771" y="124354"/>
                    </a:lnTo>
                    <a:lnTo>
                      <a:pt x="365125" y="124354"/>
                    </a:lnTo>
                    <a:lnTo>
                      <a:pt x="354542" y="121708"/>
                    </a:lnTo>
                    <a:lnTo>
                      <a:pt x="341312" y="121708"/>
                    </a:lnTo>
                    <a:lnTo>
                      <a:pt x="336021" y="124354"/>
                    </a:lnTo>
                    <a:lnTo>
                      <a:pt x="333375" y="127000"/>
                    </a:lnTo>
                    <a:lnTo>
                      <a:pt x="330729" y="129646"/>
                    </a:lnTo>
                    <a:lnTo>
                      <a:pt x="328083" y="129646"/>
                    </a:lnTo>
                    <a:lnTo>
                      <a:pt x="320146" y="127000"/>
                    </a:lnTo>
                    <a:lnTo>
                      <a:pt x="306917" y="124354"/>
                    </a:lnTo>
                    <a:lnTo>
                      <a:pt x="288396" y="127000"/>
                    </a:lnTo>
                    <a:lnTo>
                      <a:pt x="277812" y="124354"/>
                    </a:lnTo>
                    <a:lnTo>
                      <a:pt x="269875" y="121708"/>
                    </a:lnTo>
                    <a:lnTo>
                      <a:pt x="267229" y="119063"/>
                    </a:lnTo>
                    <a:lnTo>
                      <a:pt x="261937" y="113771"/>
                    </a:lnTo>
                    <a:lnTo>
                      <a:pt x="256646" y="113771"/>
                    </a:lnTo>
                    <a:lnTo>
                      <a:pt x="256646" y="111125"/>
                    </a:lnTo>
                    <a:lnTo>
                      <a:pt x="267229" y="111125"/>
                    </a:lnTo>
                    <a:lnTo>
                      <a:pt x="272521" y="111125"/>
                    </a:lnTo>
                    <a:lnTo>
                      <a:pt x="254000" y="105833"/>
                    </a:lnTo>
                    <a:lnTo>
                      <a:pt x="243417" y="100542"/>
                    </a:lnTo>
                    <a:lnTo>
                      <a:pt x="240771" y="97896"/>
                    </a:lnTo>
                    <a:lnTo>
                      <a:pt x="240771" y="95250"/>
                    </a:lnTo>
                    <a:lnTo>
                      <a:pt x="243417" y="92604"/>
                    </a:lnTo>
                    <a:lnTo>
                      <a:pt x="254000" y="92604"/>
                    </a:lnTo>
                    <a:lnTo>
                      <a:pt x="264583" y="95250"/>
                    </a:lnTo>
                    <a:lnTo>
                      <a:pt x="272521" y="92604"/>
                    </a:lnTo>
                    <a:lnTo>
                      <a:pt x="283104" y="92604"/>
                    </a:lnTo>
                    <a:lnTo>
                      <a:pt x="301625" y="92604"/>
                    </a:lnTo>
                    <a:lnTo>
                      <a:pt x="314854" y="92604"/>
                    </a:lnTo>
                    <a:lnTo>
                      <a:pt x="317500" y="89958"/>
                    </a:lnTo>
                    <a:lnTo>
                      <a:pt x="314854" y="89958"/>
                    </a:lnTo>
                    <a:lnTo>
                      <a:pt x="312208" y="87313"/>
                    </a:lnTo>
                    <a:lnTo>
                      <a:pt x="312208" y="84667"/>
                    </a:lnTo>
                    <a:lnTo>
                      <a:pt x="317500" y="84667"/>
                    </a:lnTo>
                    <a:lnTo>
                      <a:pt x="349250" y="82021"/>
                    </a:lnTo>
                    <a:lnTo>
                      <a:pt x="367771" y="82021"/>
                    </a:lnTo>
                    <a:lnTo>
                      <a:pt x="386292" y="76729"/>
                    </a:lnTo>
                    <a:lnTo>
                      <a:pt x="399521" y="76729"/>
                    </a:lnTo>
                    <a:lnTo>
                      <a:pt x="410104" y="76729"/>
                    </a:lnTo>
                    <a:lnTo>
                      <a:pt x="410104" y="79375"/>
                    </a:lnTo>
                    <a:lnTo>
                      <a:pt x="410104" y="82021"/>
                    </a:lnTo>
                    <a:lnTo>
                      <a:pt x="402166" y="89958"/>
                    </a:lnTo>
                    <a:lnTo>
                      <a:pt x="410104" y="89958"/>
                    </a:lnTo>
                    <a:lnTo>
                      <a:pt x="415396" y="92604"/>
                    </a:lnTo>
                    <a:lnTo>
                      <a:pt x="420687" y="95250"/>
                    </a:lnTo>
                    <a:lnTo>
                      <a:pt x="428625" y="95250"/>
                    </a:lnTo>
                    <a:lnTo>
                      <a:pt x="436562" y="92604"/>
                    </a:lnTo>
                    <a:lnTo>
                      <a:pt x="436562" y="87313"/>
                    </a:lnTo>
                    <a:lnTo>
                      <a:pt x="433916" y="84667"/>
                    </a:lnTo>
                    <a:lnTo>
                      <a:pt x="436562" y="84667"/>
                    </a:lnTo>
                    <a:lnTo>
                      <a:pt x="441854" y="84667"/>
                    </a:lnTo>
                    <a:lnTo>
                      <a:pt x="447146" y="87313"/>
                    </a:lnTo>
                    <a:lnTo>
                      <a:pt x="455083" y="89958"/>
                    </a:lnTo>
                    <a:lnTo>
                      <a:pt x="468312" y="89958"/>
                    </a:lnTo>
                    <a:lnTo>
                      <a:pt x="455083" y="87313"/>
                    </a:lnTo>
                    <a:lnTo>
                      <a:pt x="452437" y="84667"/>
                    </a:lnTo>
                    <a:lnTo>
                      <a:pt x="457729" y="82021"/>
                    </a:lnTo>
                    <a:lnTo>
                      <a:pt x="468312" y="76729"/>
                    </a:lnTo>
                    <a:lnTo>
                      <a:pt x="457729" y="79375"/>
                    </a:lnTo>
                    <a:lnTo>
                      <a:pt x="447146" y="76729"/>
                    </a:lnTo>
                    <a:lnTo>
                      <a:pt x="439208" y="71438"/>
                    </a:lnTo>
                    <a:lnTo>
                      <a:pt x="433916" y="71438"/>
                    </a:lnTo>
                    <a:lnTo>
                      <a:pt x="431271" y="71438"/>
                    </a:lnTo>
                    <a:lnTo>
                      <a:pt x="431271" y="74083"/>
                    </a:lnTo>
                    <a:lnTo>
                      <a:pt x="431271" y="79375"/>
                    </a:lnTo>
                    <a:lnTo>
                      <a:pt x="425979" y="76729"/>
                    </a:lnTo>
                    <a:lnTo>
                      <a:pt x="415396" y="71438"/>
                    </a:lnTo>
                    <a:lnTo>
                      <a:pt x="407458" y="68792"/>
                    </a:lnTo>
                    <a:lnTo>
                      <a:pt x="399521" y="66146"/>
                    </a:lnTo>
                    <a:lnTo>
                      <a:pt x="394229" y="60854"/>
                    </a:lnTo>
                    <a:lnTo>
                      <a:pt x="388937" y="55563"/>
                    </a:lnTo>
                    <a:lnTo>
                      <a:pt x="383646" y="55563"/>
                    </a:lnTo>
                    <a:lnTo>
                      <a:pt x="373062" y="55563"/>
                    </a:lnTo>
                    <a:lnTo>
                      <a:pt x="365125" y="55563"/>
                    </a:lnTo>
                    <a:lnTo>
                      <a:pt x="362479" y="52917"/>
                    </a:lnTo>
                    <a:lnTo>
                      <a:pt x="365125" y="47625"/>
                    </a:lnTo>
                    <a:lnTo>
                      <a:pt x="367771" y="47625"/>
                    </a:lnTo>
                    <a:lnTo>
                      <a:pt x="373062" y="47625"/>
                    </a:lnTo>
                    <a:lnTo>
                      <a:pt x="386292" y="39687"/>
                    </a:lnTo>
                    <a:lnTo>
                      <a:pt x="394229" y="37042"/>
                    </a:lnTo>
                    <a:lnTo>
                      <a:pt x="399521" y="34396"/>
                    </a:lnTo>
                    <a:lnTo>
                      <a:pt x="407458" y="37042"/>
                    </a:lnTo>
                    <a:lnTo>
                      <a:pt x="415396" y="39687"/>
                    </a:lnTo>
                    <a:lnTo>
                      <a:pt x="418041" y="42333"/>
                    </a:lnTo>
                    <a:lnTo>
                      <a:pt x="423333" y="42333"/>
                    </a:lnTo>
                    <a:lnTo>
                      <a:pt x="428625" y="42333"/>
                    </a:lnTo>
                    <a:lnTo>
                      <a:pt x="436562" y="42333"/>
                    </a:lnTo>
                    <a:lnTo>
                      <a:pt x="447146" y="42333"/>
                    </a:lnTo>
                    <a:lnTo>
                      <a:pt x="473604" y="34396"/>
                    </a:lnTo>
                    <a:lnTo>
                      <a:pt x="486833" y="31750"/>
                    </a:lnTo>
                    <a:lnTo>
                      <a:pt x="492125" y="26458"/>
                    </a:lnTo>
                    <a:lnTo>
                      <a:pt x="500062" y="23812"/>
                    </a:lnTo>
                    <a:lnTo>
                      <a:pt x="518583" y="18521"/>
                    </a:lnTo>
                    <a:lnTo>
                      <a:pt x="534458" y="15875"/>
                    </a:lnTo>
                    <a:lnTo>
                      <a:pt x="542396" y="15875"/>
                    </a:lnTo>
                    <a:lnTo>
                      <a:pt x="550333" y="15875"/>
                    </a:lnTo>
                    <a:lnTo>
                      <a:pt x="566208" y="10583"/>
                    </a:lnTo>
                    <a:lnTo>
                      <a:pt x="576791" y="7937"/>
                    </a:lnTo>
                    <a:lnTo>
                      <a:pt x="582083" y="7937"/>
                    </a:lnTo>
                    <a:lnTo>
                      <a:pt x="582083" y="10583"/>
                    </a:lnTo>
                    <a:lnTo>
                      <a:pt x="579437" y="13229"/>
                    </a:lnTo>
                    <a:lnTo>
                      <a:pt x="579437" y="15875"/>
                    </a:lnTo>
                    <a:lnTo>
                      <a:pt x="582083" y="18521"/>
                    </a:lnTo>
                    <a:lnTo>
                      <a:pt x="587375" y="21167"/>
                    </a:lnTo>
                    <a:lnTo>
                      <a:pt x="590021" y="18521"/>
                    </a:lnTo>
                    <a:lnTo>
                      <a:pt x="590021" y="15875"/>
                    </a:lnTo>
                    <a:lnTo>
                      <a:pt x="590021" y="13229"/>
                    </a:lnTo>
                    <a:lnTo>
                      <a:pt x="584729" y="10583"/>
                    </a:lnTo>
                    <a:lnTo>
                      <a:pt x="587375" y="7937"/>
                    </a:lnTo>
                    <a:lnTo>
                      <a:pt x="603250" y="7937"/>
                    </a:lnTo>
                    <a:lnTo>
                      <a:pt x="613833" y="5292"/>
                    </a:lnTo>
                    <a:lnTo>
                      <a:pt x="611187" y="7937"/>
                    </a:lnTo>
                    <a:lnTo>
                      <a:pt x="605896" y="10583"/>
                    </a:lnTo>
                    <a:lnTo>
                      <a:pt x="605896" y="13229"/>
                    </a:lnTo>
                    <a:lnTo>
                      <a:pt x="611187" y="13229"/>
                    </a:lnTo>
                    <a:lnTo>
                      <a:pt x="619125" y="10583"/>
                    </a:lnTo>
                    <a:lnTo>
                      <a:pt x="642937" y="5292"/>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United Kingdom"/>
              <p:cNvSpPr>
                <a:spLocks/>
              </p:cNvSpPr>
              <p:nvPr/>
            </p:nvSpPr>
            <p:spPr bwMode="auto">
              <a:xfrm>
                <a:off x="5588917" y="1636648"/>
                <a:ext cx="230862" cy="233682"/>
              </a:xfrm>
              <a:custGeom>
                <a:avLst/>
                <a:gdLst/>
                <a:ahLst/>
                <a:cxnLst/>
                <a:rect l="l" t="t" r="r" b="b"/>
                <a:pathLst>
                  <a:path w="201084" h="203729">
                    <a:moveTo>
                      <a:pt x="31750" y="76729"/>
                    </a:moveTo>
                    <a:lnTo>
                      <a:pt x="37042" y="76729"/>
                    </a:lnTo>
                    <a:lnTo>
                      <a:pt x="39688" y="79375"/>
                    </a:lnTo>
                    <a:lnTo>
                      <a:pt x="42334" y="79375"/>
                    </a:lnTo>
                    <a:lnTo>
                      <a:pt x="42334" y="82021"/>
                    </a:lnTo>
                    <a:lnTo>
                      <a:pt x="42334" y="84667"/>
                    </a:lnTo>
                    <a:lnTo>
                      <a:pt x="47625" y="87312"/>
                    </a:lnTo>
                    <a:lnTo>
                      <a:pt x="47625" y="89958"/>
                    </a:lnTo>
                    <a:lnTo>
                      <a:pt x="44980" y="89958"/>
                    </a:lnTo>
                    <a:lnTo>
                      <a:pt x="42334" y="92604"/>
                    </a:lnTo>
                    <a:lnTo>
                      <a:pt x="47625" y="92604"/>
                    </a:lnTo>
                    <a:lnTo>
                      <a:pt x="50271" y="92604"/>
                    </a:lnTo>
                    <a:lnTo>
                      <a:pt x="50271" y="95250"/>
                    </a:lnTo>
                    <a:lnTo>
                      <a:pt x="52917" y="97896"/>
                    </a:lnTo>
                    <a:lnTo>
                      <a:pt x="50271" y="100542"/>
                    </a:lnTo>
                    <a:lnTo>
                      <a:pt x="47625" y="103187"/>
                    </a:lnTo>
                    <a:lnTo>
                      <a:pt x="44980" y="103187"/>
                    </a:lnTo>
                    <a:lnTo>
                      <a:pt x="42334" y="103187"/>
                    </a:lnTo>
                    <a:lnTo>
                      <a:pt x="42334" y="105833"/>
                    </a:lnTo>
                    <a:lnTo>
                      <a:pt x="37042" y="108479"/>
                    </a:lnTo>
                    <a:lnTo>
                      <a:pt x="31750" y="105833"/>
                    </a:lnTo>
                    <a:lnTo>
                      <a:pt x="26459" y="105833"/>
                    </a:lnTo>
                    <a:lnTo>
                      <a:pt x="23813" y="103187"/>
                    </a:lnTo>
                    <a:lnTo>
                      <a:pt x="23813" y="100542"/>
                    </a:lnTo>
                    <a:lnTo>
                      <a:pt x="18521" y="95250"/>
                    </a:lnTo>
                    <a:lnTo>
                      <a:pt x="15875" y="97896"/>
                    </a:lnTo>
                    <a:lnTo>
                      <a:pt x="13229" y="100542"/>
                    </a:lnTo>
                    <a:lnTo>
                      <a:pt x="10584" y="100542"/>
                    </a:lnTo>
                    <a:lnTo>
                      <a:pt x="2646" y="97896"/>
                    </a:lnTo>
                    <a:lnTo>
                      <a:pt x="0" y="92604"/>
                    </a:lnTo>
                    <a:lnTo>
                      <a:pt x="5292" y="89958"/>
                    </a:lnTo>
                    <a:lnTo>
                      <a:pt x="5292" y="87312"/>
                    </a:lnTo>
                    <a:lnTo>
                      <a:pt x="7938" y="84667"/>
                    </a:lnTo>
                    <a:lnTo>
                      <a:pt x="10584" y="84667"/>
                    </a:lnTo>
                    <a:lnTo>
                      <a:pt x="13229" y="84667"/>
                    </a:lnTo>
                    <a:lnTo>
                      <a:pt x="15875" y="82021"/>
                    </a:lnTo>
                    <a:lnTo>
                      <a:pt x="18521" y="82021"/>
                    </a:lnTo>
                    <a:lnTo>
                      <a:pt x="23813" y="79375"/>
                    </a:lnTo>
                    <a:lnTo>
                      <a:pt x="26459" y="79375"/>
                    </a:lnTo>
                    <a:close/>
                    <a:moveTo>
                      <a:pt x="68792" y="0"/>
                    </a:moveTo>
                    <a:lnTo>
                      <a:pt x="74084" y="0"/>
                    </a:lnTo>
                    <a:lnTo>
                      <a:pt x="74084" y="2646"/>
                    </a:lnTo>
                    <a:lnTo>
                      <a:pt x="76730" y="2646"/>
                    </a:lnTo>
                    <a:lnTo>
                      <a:pt x="79376" y="2646"/>
                    </a:lnTo>
                    <a:lnTo>
                      <a:pt x="82021" y="2646"/>
                    </a:lnTo>
                    <a:lnTo>
                      <a:pt x="87313" y="0"/>
                    </a:lnTo>
                    <a:lnTo>
                      <a:pt x="97896" y="0"/>
                    </a:lnTo>
                    <a:lnTo>
                      <a:pt x="103188" y="0"/>
                    </a:lnTo>
                    <a:lnTo>
                      <a:pt x="103188" y="2646"/>
                    </a:lnTo>
                    <a:lnTo>
                      <a:pt x="103188" y="5292"/>
                    </a:lnTo>
                    <a:lnTo>
                      <a:pt x="100542" y="7937"/>
                    </a:lnTo>
                    <a:lnTo>
                      <a:pt x="87313" y="15875"/>
                    </a:lnTo>
                    <a:lnTo>
                      <a:pt x="84667" y="18521"/>
                    </a:lnTo>
                    <a:lnTo>
                      <a:pt x="87313" y="18521"/>
                    </a:lnTo>
                    <a:lnTo>
                      <a:pt x="87313" y="21167"/>
                    </a:lnTo>
                    <a:lnTo>
                      <a:pt x="84667" y="23812"/>
                    </a:lnTo>
                    <a:lnTo>
                      <a:pt x="82021" y="23812"/>
                    </a:lnTo>
                    <a:lnTo>
                      <a:pt x="82021" y="26458"/>
                    </a:lnTo>
                    <a:lnTo>
                      <a:pt x="87313" y="23812"/>
                    </a:lnTo>
                    <a:lnTo>
                      <a:pt x="95251" y="23812"/>
                    </a:lnTo>
                    <a:lnTo>
                      <a:pt x="103188" y="23812"/>
                    </a:lnTo>
                    <a:lnTo>
                      <a:pt x="111126" y="23812"/>
                    </a:lnTo>
                    <a:lnTo>
                      <a:pt x="116417" y="23812"/>
                    </a:lnTo>
                    <a:lnTo>
                      <a:pt x="121709" y="23812"/>
                    </a:lnTo>
                    <a:lnTo>
                      <a:pt x="124355" y="23812"/>
                    </a:lnTo>
                    <a:lnTo>
                      <a:pt x="127001" y="26458"/>
                    </a:lnTo>
                    <a:lnTo>
                      <a:pt x="127001" y="29104"/>
                    </a:lnTo>
                    <a:lnTo>
                      <a:pt x="124355" y="31750"/>
                    </a:lnTo>
                    <a:lnTo>
                      <a:pt x="121709" y="31750"/>
                    </a:lnTo>
                    <a:lnTo>
                      <a:pt x="121709" y="34396"/>
                    </a:lnTo>
                    <a:lnTo>
                      <a:pt x="119063" y="39687"/>
                    </a:lnTo>
                    <a:lnTo>
                      <a:pt x="116417" y="44979"/>
                    </a:lnTo>
                    <a:lnTo>
                      <a:pt x="111126" y="50271"/>
                    </a:lnTo>
                    <a:lnTo>
                      <a:pt x="105834" y="52917"/>
                    </a:lnTo>
                    <a:lnTo>
                      <a:pt x="108480" y="55562"/>
                    </a:lnTo>
                    <a:lnTo>
                      <a:pt x="108480" y="58208"/>
                    </a:lnTo>
                    <a:lnTo>
                      <a:pt x="103188" y="58208"/>
                    </a:lnTo>
                    <a:lnTo>
                      <a:pt x="100542" y="60854"/>
                    </a:lnTo>
                    <a:lnTo>
                      <a:pt x="92605" y="60854"/>
                    </a:lnTo>
                    <a:lnTo>
                      <a:pt x="87313" y="60854"/>
                    </a:lnTo>
                    <a:lnTo>
                      <a:pt x="92605" y="63500"/>
                    </a:lnTo>
                    <a:lnTo>
                      <a:pt x="100542" y="63500"/>
                    </a:lnTo>
                    <a:lnTo>
                      <a:pt x="108480" y="60854"/>
                    </a:lnTo>
                    <a:lnTo>
                      <a:pt x="113771" y="63500"/>
                    </a:lnTo>
                    <a:lnTo>
                      <a:pt x="119063" y="66146"/>
                    </a:lnTo>
                    <a:lnTo>
                      <a:pt x="121709" y="68792"/>
                    </a:lnTo>
                    <a:lnTo>
                      <a:pt x="127001" y="71437"/>
                    </a:lnTo>
                    <a:lnTo>
                      <a:pt x="129646" y="74083"/>
                    </a:lnTo>
                    <a:lnTo>
                      <a:pt x="129646" y="76729"/>
                    </a:lnTo>
                    <a:lnTo>
                      <a:pt x="132292" y="84667"/>
                    </a:lnTo>
                    <a:lnTo>
                      <a:pt x="134938" y="92604"/>
                    </a:lnTo>
                    <a:lnTo>
                      <a:pt x="137584" y="95250"/>
                    </a:lnTo>
                    <a:lnTo>
                      <a:pt x="140230" y="95250"/>
                    </a:lnTo>
                    <a:lnTo>
                      <a:pt x="148167" y="97896"/>
                    </a:lnTo>
                    <a:lnTo>
                      <a:pt x="153459" y="100542"/>
                    </a:lnTo>
                    <a:lnTo>
                      <a:pt x="158751" y="105833"/>
                    </a:lnTo>
                    <a:lnTo>
                      <a:pt x="161397" y="108479"/>
                    </a:lnTo>
                    <a:lnTo>
                      <a:pt x="158751" y="108479"/>
                    </a:lnTo>
                    <a:lnTo>
                      <a:pt x="158751" y="111125"/>
                    </a:lnTo>
                    <a:lnTo>
                      <a:pt x="164042" y="116417"/>
                    </a:lnTo>
                    <a:lnTo>
                      <a:pt x="164042" y="119062"/>
                    </a:lnTo>
                    <a:lnTo>
                      <a:pt x="161397" y="119062"/>
                    </a:lnTo>
                    <a:lnTo>
                      <a:pt x="153459" y="116417"/>
                    </a:lnTo>
                    <a:lnTo>
                      <a:pt x="166688" y="121708"/>
                    </a:lnTo>
                    <a:lnTo>
                      <a:pt x="169334" y="124354"/>
                    </a:lnTo>
                    <a:lnTo>
                      <a:pt x="171980" y="127000"/>
                    </a:lnTo>
                    <a:lnTo>
                      <a:pt x="169334" y="129646"/>
                    </a:lnTo>
                    <a:lnTo>
                      <a:pt x="166688" y="132292"/>
                    </a:lnTo>
                    <a:lnTo>
                      <a:pt x="164042" y="134937"/>
                    </a:lnTo>
                    <a:lnTo>
                      <a:pt x="166688" y="137583"/>
                    </a:lnTo>
                    <a:lnTo>
                      <a:pt x="171980" y="140229"/>
                    </a:lnTo>
                    <a:lnTo>
                      <a:pt x="174626" y="137583"/>
                    </a:lnTo>
                    <a:lnTo>
                      <a:pt x="177272" y="132292"/>
                    </a:lnTo>
                    <a:lnTo>
                      <a:pt x="179917" y="132292"/>
                    </a:lnTo>
                    <a:lnTo>
                      <a:pt x="187855" y="132292"/>
                    </a:lnTo>
                    <a:lnTo>
                      <a:pt x="198438" y="137583"/>
                    </a:lnTo>
                    <a:lnTo>
                      <a:pt x="201084" y="142875"/>
                    </a:lnTo>
                    <a:lnTo>
                      <a:pt x="201084" y="148167"/>
                    </a:lnTo>
                    <a:lnTo>
                      <a:pt x="198438" y="150812"/>
                    </a:lnTo>
                    <a:lnTo>
                      <a:pt x="198438" y="153458"/>
                    </a:lnTo>
                    <a:lnTo>
                      <a:pt x="195792" y="156104"/>
                    </a:lnTo>
                    <a:lnTo>
                      <a:pt x="190501" y="158750"/>
                    </a:lnTo>
                    <a:lnTo>
                      <a:pt x="193147" y="158750"/>
                    </a:lnTo>
                    <a:lnTo>
                      <a:pt x="190501" y="161396"/>
                    </a:lnTo>
                    <a:lnTo>
                      <a:pt x="185209" y="161396"/>
                    </a:lnTo>
                    <a:lnTo>
                      <a:pt x="182563" y="161396"/>
                    </a:lnTo>
                    <a:lnTo>
                      <a:pt x="182563" y="164042"/>
                    </a:lnTo>
                    <a:lnTo>
                      <a:pt x="185209" y="164042"/>
                    </a:lnTo>
                    <a:lnTo>
                      <a:pt x="185209" y="166687"/>
                    </a:lnTo>
                    <a:lnTo>
                      <a:pt x="179917" y="169333"/>
                    </a:lnTo>
                    <a:lnTo>
                      <a:pt x="174626" y="169333"/>
                    </a:lnTo>
                    <a:lnTo>
                      <a:pt x="171980" y="169333"/>
                    </a:lnTo>
                    <a:lnTo>
                      <a:pt x="185209" y="171979"/>
                    </a:lnTo>
                    <a:lnTo>
                      <a:pt x="193147" y="171979"/>
                    </a:lnTo>
                    <a:lnTo>
                      <a:pt x="195792" y="171979"/>
                    </a:lnTo>
                    <a:lnTo>
                      <a:pt x="195792" y="174625"/>
                    </a:lnTo>
                    <a:lnTo>
                      <a:pt x="195792" y="177271"/>
                    </a:lnTo>
                    <a:lnTo>
                      <a:pt x="193147" y="179917"/>
                    </a:lnTo>
                    <a:lnTo>
                      <a:pt x="187855" y="182562"/>
                    </a:lnTo>
                    <a:lnTo>
                      <a:pt x="185209" y="182562"/>
                    </a:lnTo>
                    <a:lnTo>
                      <a:pt x="182563" y="182562"/>
                    </a:lnTo>
                    <a:lnTo>
                      <a:pt x="179917" y="182562"/>
                    </a:lnTo>
                    <a:lnTo>
                      <a:pt x="177272" y="185208"/>
                    </a:lnTo>
                    <a:lnTo>
                      <a:pt x="171980" y="187854"/>
                    </a:lnTo>
                    <a:lnTo>
                      <a:pt x="166688" y="185208"/>
                    </a:lnTo>
                    <a:lnTo>
                      <a:pt x="158751" y="185208"/>
                    </a:lnTo>
                    <a:lnTo>
                      <a:pt x="150813" y="187854"/>
                    </a:lnTo>
                    <a:lnTo>
                      <a:pt x="148167" y="187854"/>
                    </a:lnTo>
                    <a:lnTo>
                      <a:pt x="145522" y="187854"/>
                    </a:lnTo>
                    <a:lnTo>
                      <a:pt x="142876" y="187854"/>
                    </a:lnTo>
                    <a:lnTo>
                      <a:pt x="140230" y="187854"/>
                    </a:lnTo>
                    <a:lnTo>
                      <a:pt x="137584" y="185208"/>
                    </a:lnTo>
                    <a:lnTo>
                      <a:pt x="134938" y="182562"/>
                    </a:lnTo>
                    <a:lnTo>
                      <a:pt x="134938" y="185208"/>
                    </a:lnTo>
                    <a:lnTo>
                      <a:pt x="134938" y="187854"/>
                    </a:lnTo>
                    <a:lnTo>
                      <a:pt x="132292" y="187854"/>
                    </a:lnTo>
                    <a:lnTo>
                      <a:pt x="124355" y="187854"/>
                    </a:lnTo>
                    <a:lnTo>
                      <a:pt x="121709" y="187854"/>
                    </a:lnTo>
                    <a:lnTo>
                      <a:pt x="124355" y="190500"/>
                    </a:lnTo>
                    <a:lnTo>
                      <a:pt x="121709" y="193146"/>
                    </a:lnTo>
                    <a:lnTo>
                      <a:pt x="116417" y="193146"/>
                    </a:lnTo>
                    <a:lnTo>
                      <a:pt x="111126" y="190500"/>
                    </a:lnTo>
                    <a:lnTo>
                      <a:pt x="108480" y="190500"/>
                    </a:lnTo>
                    <a:lnTo>
                      <a:pt x="103188" y="187854"/>
                    </a:lnTo>
                    <a:lnTo>
                      <a:pt x="97896" y="187854"/>
                    </a:lnTo>
                    <a:lnTo>
                      <a:pt x="92605" y="187854"/>
                    </a:lnTo>
                    <a:lnTo>
                      <a:pt x="89959" y="190500"/>
                    </a:lnTo>
                    <a:lnTo>
                      <a:pt x="87313" y="195792"/>
                    </a:lnTo>
                    <a:lnTo>
                      <a:pt x="84667" y="198437"/>
                    </a:lnTo>
                    <a:lnTo>
                      <a:pt x="79376" y="198437"/>
                    </a:lnTo>
                    <a:lnTo>
                      <a:pt x="76730" y="198437"/>
                    </a:lnTo>
                    <a:lnTo>
                      <a:pt x="74084" y="195792"/>
                    </a:lnTo>
                    <a:lnTo>
                      <a:pt x="71438" y="195792"/>
                    </a:lnTo>
                    <a:lnTo>
                      <a:pt x="68792" y="195792"/>
                    </a:lnTo>
                    <a:lnTo>
                      <a:pt x="63501" y="198437"/>
                    </a:lnTo>
                    <a:lnTo>
                      <a:pt x="60855" y="195792"/>
                    </a:lnTo>
                    <a:lnTo>
                      <a:pt x="60855" y="198437"/>
                    </a:lnTo>
                    <a:lnTo>
                      <a:pt x="58209" y="198437"/>
                    </a:lnTo>
                    <a:lnTo>
                      <a:pt x="55563" y="198437"/>
                    </a:lnTo>
                    <a:lnTo>
                      <a:pt x="52917" y="201083"/>
                    </a:lnTo>
                    <a:lnTo>
                      <a:pt x="52917" y="203729"/>
                    </a:lnTo>
                    <a:lnTo>
                      <a:pt x="50271" y="203729"/>
                    </a:lnTo>
                    <a:lnTo>
                      <a:pt x="47625" y="203729"/>
                    </a:lnTo>
                    <a:lnTo>
                      <a:pt x="44980" y="201083"/>
                    </a:lnTo>
                    <a:lnTo>
                      <a:pt x="42334" y="201083"/>
                    </a:lnTo>
                    <a:lnTo>
                      <a:pt x="39688" y="201083"/>
                    </a:lnTo>
                    <a:lnTo>
                      <a:pt x="42334" y="198437"/>
                    </a:lnTo>
                    <a:lnTo>
                      <a:pt x="47625" y="198437"/>
                    </a:lnTo>
                    <a:lnTo>
                      <a:pt x="52917" y="193146"/>
                    </a:lnTo>
                    <a:lnTo>
                      <a:pt x="63501" y="185208"/>
                    </a:lnTo>
                    <a:lnTo>
                      <a:pt x="66146" y="185208"/>
                    </a:lnTo>
                    <a:lnTo>
                      <a:pt x="66146" y="182562"/>
                    </a:lnTo>
                    <a:lnTo>
                      <a:pt x="66146" y="179917"/>
                    </a:lnTo>
                    <a:lnTo>
                      <a:pt x="68792" y="179917"/>
                    </a:lnTo>
                    <a:lnTo>
                      <a:pt x="71438" y="179917"/>
                    </a:lnTo>
                    <a:lnTo>
                      <a:pt x="71438" y="177271"/>
                    </a:lnTo>
                    <a:lnTo>
                      <a:pt x="74084" y="177271"/>
                    </a:lnTo>
                    <a:lnTo>
                      <a:pt x="84667" y="174625"/>
                    </a:lnTo>
                    <a:lnTo>
                      <a:pt x="87313" y="177271"/>
                    </a:lnTo>
                    <a:lnTo>
                      <a:pt x="95251" y="177271"/>
                    </a:lnTo>
                    <a:lnTo>
                      <a:pt x="97896" y="177271"/>
                    </a:lnTo>
                    <a:lnTo>
                      <a:pt x="100542" y="174625"/>
                    </a:lnTo>
                    <a:lnTo>
                      <a:pt x="103188" y="171979"/>
                    </a:lnTo>
                    <a:lnTo>
                      <a:pt x="105834" y="169333"/>
                    </a:lnTo>
                    <a:lnTo>
                      <a:pt x="108480" y="169333"/>
                    </a:lnTo>
                    <a:lnTo>
                      <a:pt x="111126" y="164042"/>
                    </a:lnTo>
                    <a:lnTo>
                      <a:pt x="105834" y="166687"/>
                    </a:lnTo>
                    <a:lnTo>
                      <a:pt x="100542" y="169333"/>
                    </a:lnTo>
                    <a:lnTo>
                      <a:pt x="95251" y="169333"/>
                    </a:lnTo>
                    <a:lnTo>
                      <a:pt x="89959" y="171979"/>
                    </a:lnTo>
                    <a:lnTo>
                      <a:pt x="87313" y="171979"/>
                    </a:lnTo>
                    <a:lnTo>
                      <a:pt x="84667" y="169333"/>
                    </a:lnTo>
                    <a:lnTo>
                      <a:pt x="82021" y="166687"/>
                    </a:lnTo>
                    <a:lnTo>
                      <a:pt x="74084" y="166687"/>
                    </a:lnTo>
                    <a:lnTo>
                      <a:pt x="71438" y="164042"/>
                    </a:lnTo>
                    <a:lnTo>
                      <a:pt x="68792" y="164042"/>
                    </a:lnTo>
                    <a:lnTo>
                      <a:pt x="66146" y="164042"/>
                    </a:lnTo>
                    <a:lnTo>
                      <a:pt x="60855" y="164042"/>
                    </a:lnTo>
                    <a:lnTo>
                      <a:pt x="58209" y="164042"/>
                    </a:lnTo>
                    <a:lnTo>
                      <a:pt x="55563" y="164042"/>
                    </a:lnTo>
                    <a:lnTo>
                      <a:pt x="52917" y="164042"/>
                    </a:lnTo>
                    <a:lnTo>
                      <a:pt x="50271" y="164042"/>
                    </a:lnTo>
                    <a:lnTo>
                      <a:pt x="52917" y="161396"/>
                    </a:lnTo>
                    <a:lnTo>
                      <a:pt x="50271" y="158750"/>
                    </a:lnTo>
                    <a:lnTo>
                      <a:pt x="52917" y="156104"/>
                    </a:lnTo>
                    <a:lnTo>
                      <a:pt x="66146" y="153458"/>
                    </a:lnTo>
                    <a:lnTo>
                      <a:pt x="74084" y="150812"/>
                    </a:lnTo>
                    <a:lnTo>
                      <a:pt x="76730" y="148167"/>
                    </a:lnTo>
                    <a:lnTo>
                      <a:pt x="79376" y="145521"/>
                    </a:lnTo>
                    <a:lnTo>
                      <a:pt x="76730" y="142875"/>
                    </a:lnTo>
                    <a:lnTo>
                      <a:pt x="79376" y="140229"/>
                    </a:lnTo>
                    <a:lnTo>
                      <a:pt x="76730" y="140229"/>
                    </a:lnTo>
                    <a:lnTo>
                      <a:pt x="76730" y="137583"/>
                    </a:lnTo>
                    <a:lnTo>
                      <a:pt x="79376" y="134937"/>
                    </a:lnTo>
                    <a:lnTo>
                      <a:pt x="71438" y="134937"/>
                    </a:lnTo>
                    <a:lnTo>
                      <a:pt x="68792" y="137583"/>
                    </a:lnTo>
                    <a:lnTo>
                      <a:pt x="66146" y="140229"/>
                    </a:lnTo>
                    <a:lnTo>
                      <a:pt x="63501" y="137583"/>
                    </a:lnTo>
                    <a:lnTo>
                      <a:pt x="68792" y="134937"/>
                    </a:lnTo>
                    <a:lnTo>
                      <a:pt x="71438" y="132292"/>
                    </a:lnTo>
                    <a:lnTo>
                      <a:pt x="74084" y="129646"/>
                    </a:lnTo>
                    <a:lnTo>
                      <a:pt x="74084" y="127000"/>
                    </a:lnTo>
                    <a:lnTo>
                      <a:pt x="68792" y="127000"/>
                    </a:lnTo>
                    <a:lnTo>
                      <a:pt x="66146" y="127000"/>
                    </a:lnTo>
                    <a:lnTo>
                      <a:pt x="68792" y="124354"/>
                    </a:lnTo>
                    <a:lnTo>
                      <a:pt x="74084" y="124354"/>
                    </a:lnTo>
                    <a:lnTo>
                      <a:pt x="76730" y="124354"/>
                    </a:lnTo>
                    <a:lnTo>
                      <a:pt x="76730" y="127000"/>
                    </a:lnTo>
                    <a:lnTo>
                      <a:pt x="84667" y="127000"/>
                    </a:lnTo>
                    <a:lnTo>
                      <a:pt x="87313" y="127000"/>
                    </a:lnTo>
                    <a:lnTo>
                      <a:pt x="92605" y="127000"/>
                    </a:lnTo>
                    <a:lnTo>
                      <a:pt x="95251" y="127000"/>
                    </a:lnTo>
                    <a:lnTo>
                      <a:pt x="97896" y="127000"/>
                    </a:lnTo>
                    <a:lnTo>
                      <a:pt x="97896" y="124354"/>
                    </a:lnTo>
                    <a:lnTo>
                      <a:pt x="103188" y="127000"/>
                    </a:lnTo>
                    <a:lnTo>
                      <a:pt x="105834" y="127000"/>
                    </a:lnTo>
                    <a:lnTo>
                      <a:pt x="108480" y="124354"/>
                    </a:lnTo>
                    <a:lnTo>
                      <a:pt x="103188" y="124354"/>
                    </a:lnTo>
                    <a:lnTo>
                      <a:pt x="97896" y="121708"/>
                    </a:lnTo>
                    <a:lnTo>
                      <a:pt x="103188" y="116417"/>
                    </a:lnTo>
                    <a:lnTo>
                      <a:pt x="100542" y="116417"/>
                    </a:lnTo>
                    <a:lnTo>
                      <a:pt x="100542" y="113771"/>
                    </a:lnTo>
                    <a:lnTo>
                      <a:pt x="105834" y="105833"/>
                    </a:lnTo>
                    <a:lnTo>
                      <a:pt x="103188" y="105833"/>
                    </a:lnTo>
                    <a:lnTo>
                      <a:pt x="100542" y="105833"/>
                    </a:lnTo>
                    <a:lnTo>
                      <a:pt x="97896" y="103187"/>
                    </a:lnTo>
                    <a:lnTo>
                      <a:pt x="97896" y="108479"/>
                    </a:lnTo>
                    <a:lnTo>
                      <a:pt x="92605" y="103187"/>
                    </a:lnTo>
                    <a:lnTo>
                      <a:pt x="89959" y="95250"/>
                    </a:lnTo>
                    <a:lnTo>
                      <a:pt x="92605" y="92604"/>
                    </a:lnTo>
                    <a:lnTo>
                      <a:pt x="97896" y="87312"/>
                    </a:lnTo>
                    <a:lnTo>
                      <a:pt x="95251" y="87312"/>
                    </a:lnTo>
                    <a:lnTo>
                      <a:pt x="89959" y="87312"/>
                    </a:lnTo>
                    <a:lnTo>
                      <a:pt x="89959" y="89958"/>
                    </a:lnTo>
                    <a:lnTo>
                      <a:pt x="87313" y="89958"/>
                    </a:lnTo>
                    <a:lnTo>
                      <a:pt x="84667" y="89958"/>
                    </a:lnTo>
                    <a:lnTo>
                      <a:pt x="82021" y="89958"/>
                    </a:lnTo>
                    <a:lnTo>
                      <a:pt x="82021" y="92604"/>
                    </a:lnTo>
                    <a:lnTo>
                      <a:pt x="79376" y="89958"/>
                    </a:lnTo>
                    <a:lnTo>
                      <a:pt x="76730" y="89958"/>
                    </a:lnTo>
                    <a:lnTo>
                      <a:pt x="74084" y="89958"/>
                    </a:lnTo>
                    <a:lnTo>
                      <a:pt x="71438" y="92604"/>
                    </a:lnTo>
                    <a:lnTo>
                      <a:pt x="66146" y="89958"/>
                    </a:lnTo>
                    <a:lnTo>
                      <a:pt x="63501" y="89958"/>
                    </a:lnTo>
                    <a:lnTo>
                      <a:pt x="63501" y="92604"/>
                    </a:lnTo>
                    <a:lnTo>
                      <a:pt x="60855" y="89958"/>
                    </a:lnTo>
                    <a:lnTo>
                      <a:pt x="58209" y="87312"/>
                    </a:lnTo>
                    <a:lnTo>
                      <a:pt x="60855" y="87312"/>
                    </a:lnTo>
                    <a:lnTo>
                      <a:pt x="63501" y="87312"/>
                    </a:lnTo>
                    <a:lnTo>
                      <a:pt x="63501" y="84667"/>
                    </a:lnTo>
                    <a:lnTo>
                      <a:pt x="63501" y="82021"/>
                    </a:lnTo>
                    <a:lnTo>
                      <a:pt x="66146" y="76729"/>
                    </a:lnTo>
                    <a:lnTo>
                      <a:pt x="68792" y="74083"/>
                    </a:lnTo>
                    <a:lnTo>
                      <a:pt x="71438" y="74083"/>
                    </a:lnTo>
                    <a:lnTo>
                      <a:pt x="68792" y="71437"/>
                    </a:lnTo>
                    <a:lnTo>
                      <a:pt x="66146" y="68792"/>
                    </a:lnTo>
                    <a:lnTo>
                      <a:pt x="66146" y="66146"/>
                    </a:lnTo>
                    <a:lnTo>
                      <a:pt x="68792" y="63500"/>
                    </a:lnTo>
                    <a:lnTo>
                      <a:pt x="66146" y="60854"/>
                    </a:lnTo>
                    <a:lnTo>
                      <a:pt x="68792" y="58208"/>
                    </a:lnTo>
                    <a:lnTo>
                      <a:pt x="63501" y="63500"/>
                    </a:lnTo>
                    <a:lnTo>
                      <a:pt x="60855" y="66146"/>
                    </a:lnTo>
                    <a:lnTo>
                      <a:pt x="58209" y="63500"/>
                    </a:lnTo>
                    <a:lnTo>
                      <a:pt x="55563" y="60854"/>
                    </a:lnTo>
                    <a:lnTo>
                      <a:pt x="55563" y="63500"/>
                    </a:lnTo>
                    <a:lnTo>
                      <a:pt x="55563" y="66146"/>
                    </a:lnTo>
                    <a:lnTo>
                      <a:pt x="55563" y="68792"/>
                    </a:lnTo>
                    <a:lnTo>
                      <a:pt x="50271" y="74083"/>
                    </a:lnTo>
                    <a:lnTo>
                      <a:pt x="50271" y="76729"/>
                    </a:lnTo>
                    <a:lnTo>
                      <a:pt x="47625" y="76729"/>
                    </a:lnTo>
                    <a:lnTo>
                      <a:pt x="47625" y="74083"/>
                    </a:lnTo>
                    <a:lnTo>
                      <a:pt x="52917" y="68792"/>
                    </a:lnTo>
                    <a:lnTo>
                      <a:pt x="52917" y="63500"/>
                    </a:lnTo>
                    <a:lnTo>
                      <a:pt x="52917" y="58208"/>
                    </a:lnTo>
                    <a:lnTo>
                      <a:pt x="55563" y="52917"/>
                    </a:lnTo>
                    <a:lnTo>
                      <a:pt x="55563" y="50271"/>
                    </a:lnTo>
                    <a:lnTo>
                      <a:pt x="55563" y="47625"/>
                    </a:lnTo>
                    <a:lnTo>
                      <a:pt x="52917" y="47625"/>
                    </a:lnTo>
                    <a:lnTo>
                      <a:pt x="52917" y="44979"/>
                    </a:lnTo>
                    <a:lnTo>
                      <a:pt x="47625" y="44979"/>
                    </a:lnTo>
                    <a:lnTo>
                      <a:pt x="42334" y="44979"/>
                    </a:lnTo>
                    <a:lnTo>
                      <a:pt x="44980" y="42333"/>
                    </a:lnTo>
                    <a:lnTo>
                      <a:pt x="50271" y="39687"/>
                    </a:lnTo>
                    <a:lnTo>
                      <a:pt x="52917" y="37042"/>
                    </a:lnTo>
                    <a:lnTo>
                      <a:pt x="55563" y="34396"/>
                    </a:lnTo>
                    <a:lnTo>
                      <a:pt x="58209" y="34396"/>
                    </a:lnTo>
                    <a:lnTo>
                      <a:pt x="52917" y="31750"/>
                    </a:lnTo>
                    <a:lnTo>
                      <a:pt x="55563" y="29104"/>
                    </a:lnTo>
                    <a:lnTo>
                      <a:pt x="55563" y="26458"/>
                    </a:lnTo>
                    <a:lnTo>
                      <a:pt x="52917" y="26458"/>
                    </a:lnTo>
                    <a:lnTo>
                      <a:pt x="55563" y="23812"/>
                    </a:lnTo>
                    <a:lnTo>
                      <a:pt x="52917" y="21167"/>
                    </a:lnTo>
                    <a:lnTo>
                      <a:pt x="50271" y="18521"/>
                    </a:lnTo>
                    <a:lnTo>
                      <a:pt x="52917" y="18521"/>
                    </a:lnTo>
                    <a:lnTo>
                      <a:pt x="58209" y="15875"/>
                    </a:lnTo>
                    <a:lnTo>
                      <a:pt x="60855" y="15875"/>
                    </a:lnTo>
                    <a:lnTo>
                      <a:pt x="63501" y="18521"/>
                    </a:lnTo>
                    <a:lnTo>
                      <a:pt x="66146" y="18521"/>
                    </a:lnTo>
                    <a:lnTo>
                      <a:pt x="60855" y="15875"/>
                    </a:lnTo>
                    <a:lnTo>
                      <a:pt x="58209" y="13229"/>
                    </a:lnTo>
                    <a:lnTo>
                      <a:pt x="60855" y="13229"/>
                    </a:lnTo>
                    <a:lnTo>
                      <a:pt x="60855" y="10583"/>
                    </a:lnTo>
                    <a:lnTo>
                      <a:pt x="60855" y="7937"/>
                    </a:lnTo>
                    <a:lnTo>
                      <a:pt x="63501" y="5292"/>
                    </a:lnTo>
                    <a:lnTo>
                      <a:pt x="66146" y="5292"/>
                    </a:lnTo>
                    <a:lnTo>
                      <a:pt x="68792" y="5292"/>
                    </a:lnTo>
                    <a:lnTo>
                      <a:pt x="66146" y="2646"/>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280" name="Canada"/>
              <p:cNvGrpSpPr/>
              <p:nvPr/>
            </p:nvGrpSpPr>
            <p:grpSpPr>
              <a:xfrm>
                <a:off x="2238400" y="1172318"/>
                <a:ext cx="2354173" cy="959008"/>
                <a:chOff x="2238400" y="1172318"/>
                <a:chExt cx="2354173" cy="959008"/>
              </a:xfrm>
              <a:grpFill/>
            </p:grpSpPr>
            <p:grpSp>
              <p:nvGrpSpPr>
                <p:cNvPr id="281" name="Group 280"/>
                <p:cNvGrpSpPr/>
                <p:nvPr/>
              </p:nvGrpSpPr>
              <p:grpSpPr>
                <a:xfrm>
                  <a:off x="3043375" y="1172318"/>
                  <a:ext cx="1549198" cy="834579"/>
                  <a:chOff x="3043375" y="1172318"/>
                  <a:chExt cx="1549198" cy="834579"/>
                </a:xfrm>
                <a:grpFill/>
              </p:grpSpPr>
              <p:grpSp>
                <p:nvGrpSpPr>
                  <p:cNvPr id="283" name="Group 282"/>
                  <p:cNvGrpSpPr/>
                  <p:nvPr/>
                </p:nvGrpSpPr>
                <p:grpSpPr>
                  <a:xfrm>
                    <a:off x="3994157" y="1824807"/>
                    <a:ext cx="328066" cy="182090"/>
                    <a:chOff x="3994157" y="1824807"/>
                    <a:chExt cx="328066" cy="182090"/>
                  </a:xfrm>
                  <a:grpFill/>
                </p:grpSpPr>
                <p:sp>
                  <p:nvSpPr>
                    <p:cNvPr id="303" name="Freeform 106"/>
                    <p:cNvSpPr>
                      <a:spLocks/>
                    </p:cNvSpPr>
                    <p:nvPr/>
                  </p:nvSpPr>
                  <p:spPr bwMode="auto">
                    <a:xfrm>
                      <a:off x="3994157" y="1967444"/>
                      <a:ext cx="54678" cy="27314"/>
                    </a:xfrm>
                    <a:custGeom>
                      <a:avLst/>
                      <a:gdLst/>
                      <a:ahLst/>
                      <a:cxnLst>
                        <a:cxn ang="0">
                          <a:pos x="0" y="8"/>
                        </a:cxn>
                        <a:cxn ang="0">
                          <a:pos x="0" y="8"/>
                        </a:cxn>
                        <a:cxn ang="0">
                          <a:pos x="0" y="0"/>
                        </a:cxn>
                        <a:cxn ang="0">
                          <a:pos x="2" y="0"/>
                        </a:cxn>
                        <a:cxn ang="0">
                          <a:pos x="4" y="2"/>
                        </a:cxn>
                        <a:cxn ang="0">
                          <a:pos x="4" y="2"/>
                        </a:cxn>
                        <a:cxn ang="0">
                          <a:pos x="6" y="4"/>
                        </a:cxn>
                        <a:cxn ang="0">
                          <a:pos x="10" y="4"/>
                        </a:cxn>
                        <a:cxn ang="0">
                          <a:pos x="12" y="6"/>
                        </a:cxn>
                        <a:cxn ang="0">
                          <a:pos x="12" y="8"/>
                        </a:cxn>
                        <a:cxn ang="0">
                          <a:pos x="12" y="8"/>
                        </a:cxn>
                        <a:cxn ang="0">
                          <a:pos x="12" y="8"/>
                        </a:cxn>
                        <a:cxn ang="0">
                          <a:pos x="14" y="8"/>
                        </a:cxn>
                        <a:cxn ang="0">
                          <a:pos x="18" y="8"/>
                        </a:cxn>
                        <a:cxn ang="0">
                          <a:pos x="18" y="8"/>
                        </a:cxn>
                        <a:cxn ang="0">
                          <a:pos x="22" y="10"/>
                        </a:cxn>
                        <a:cxn ang="0">
                          <a:pos x="28" y="10"/>
                        </a:cxn>
                        <a:cxn ang="0">
                          <a:pos x="28" y="10"/>
                        </a:cxn>
                        <a:cxn ang="0">
                          <a:pos x="36" y="8"/>
                        </a:cxn>
                        <a:cxn ang="0">
                          <a:pos x="36" y="8"/>
                        </a:cxn>
                        <a:cxn ang="0">
                          <a:pos x="36" y="10"/>
                        </a:cxn>
                        <a:cxn ang="0">
                          <a:pos x="36" y="10"/>
                        </a:cxn>
                        <a:cxn ang="0">
                          <a:pos x="32" y="12"/>
                        </a:cxn>
                        <a:cxn ang="0">
                          <a:pos x="30" y="14"/>
                        </a:cxn>
                        <a:cxn ang="0">
                          <a:pos x="30" y="14"/>
                        </a:cxn>
                        <a:cxn ang="0">
                          <a:pos x="28" y="14"/>
                        </a:cxn>
                        <a:cxn ang="0">
                          <a:pos x="30" y="14"/>
                        </a:cxn>
                        <a:cxn ang="0">
                          <a:pos x="32" y="16"/>
                        </a:cxn>
                        <a:cxn ang="0">
                          <a:pos x="30" y="18"/>
                        </a:cxn>
                        <a:cxn ang="0">
                          <a:pos x="30" y="18"/>
                        </a:cxn>
                        <a:cxn ang="0">
                          <a:pos x="26" y="18"/>
                        </a:cxn>
                        <a:cxn ang="0">
                          <a:pos x="26" y="18"/>
                        </a:cxn>
                        <a:cxn ang="0">
                          <a:pos x="24" y="16"/>
                        </a:cxn>
                        <a:cxn ang="0">
                          <a:pos x="24" y="16"/>
                        </a:cxn>
                        <a:cxn ang="0">
                          <a:pos x="24" y="16"/>
                        </a:cxn>
                        <a:cxn ang="0">
                          <a:pos x="20" y="14"/>
                        </a:cxn>
                        <a:cxn ang="0">
                          <a:pos x="18" y="14"/>
                        </a:cxn>
                        <a:cxn ang="0">
                          <a:pos x="18" y="14"/>
                        </a:cxn>
                        <a:cxn ang="0">
                          <a:pos x="18" y="14"/>
                        </a:cxn>
                        <a:cxn ang="0">
                          <a:pos x="18" y="16"/>
                        </a:cxn>
                        <a:cxn ang="0">
                          <a:pos x="16" y="16"/>
                        </a:cxn>
                        <a:cxn ang="0">
                          <a:pos x="16" y="16"/>
                        </a:cxn>
                        <a:cxn ang="0">
                          <a:pos x="10" y="14"/>
                        </a:cxn>
                        <a:cxn ang="0">
                          <a:pos x="10" y="14"/>
                        </a:cxn>
                        <a:cxn ang="0">
                          <a:pos x="10" y="14"/>
                        </a:cxn>
                        <a:cxn ang="0">
                          <a:pos x="10" y="14"/>
                        </a:cxn>
                        <a:cxn ang="0">
                          <a:pos x="10" y="12"/>
                        </a:cxn>
                        <a:cxn ang="0">
                          <a:pos x="8" y="12"/>
                        </a:cxn>
                        <a:cxn ang="0">
                          <a:pos x="8" y="12"/>
                        </a:cxn>
                        <a:cxn ang="0">
                          <a:pos x="4" y="12"/>
                        </a:cxn>
                        <a:cxn ang="0">
                          <a:pos x="4" y="10"/>
                        </a:cxn>
                        <a:cxn ang="0">
                          <a:pos x="4" y="10"/>
                        </a:cxn>
                        <a:cxn ang="0">
                          <a:pos x="4" y="8"/>
                        </a:cxn>
                        <a:cxn ang="0">
                          <a:pos x="4" y="8"/>
                        </a:cxn>
                        <a:cxn ang="0">
                          <a:pos x="4" y="8"/>
                        </a:cxn>
                        <a:cxn ang="0">
                          <a:pos x="2" y="10"/>
                        </a:cxn>
                        <a:cxn ang="0">
                          <a:pos x="0" y="8"/>
                        </a:cxn>
                        <a:cxn ang="0">
                          <a:pos x="0" y="8"/>
                        </a:cxn>
                      </a:cxnLst>
                      <a:rect l="0" t="0" r="r" b="b"/>
                      <a:pathLst>
                        <a:path w="36" h="18">
                          <a:moveTo>
                            <a:pt x="0" y="8"/>
                          </a:moveTo>
                          <a:lnTo>
                            <a:pt x="0" y="8"/>
                          </a:lnTo>
                          <a:lnTo>
                            <a:pt x="0" y="0"/>
                          </a:lnTo>
                          <a:lnTo>
                            <a:pt x="2" y="0"/>
                          </a:lnTo>
                          <a:lnTo>
                            <a:pt x="4" y="2"/>
                          </a:lnTo>
                          <a:lnTo>
                            <a:pt x="4" y="2"/>
                          </a:lnTo>
                          <a:lnTo>
                            <a:pt x="6" y="4"/>
                          </a:lnTo>
                          <a:lnTo>
                            <a:pt x="10" y="4"/>
                          </a:lnTo>
                          <a:lnTo>
                            <a:pt x="12" y="6"/>
                          </a:lnTo>
                          <a:lnTo>
                            <a:pt x="12" y="8"/>
                          </a:lnTo>
                          <a:lnTo>
                            <a:pt x="12" y="8"/>
                          </a:lnTo>
                          <a:lnTo>
                            <a:pt x="12" y="8"/>
                          </a:lnTo>
                          <a:lnTo>
                            <a:pt x="14" y="8"/>
                          </a:lnTo>
                          <a:lnTo>
                            <a:pt x="18" y="8"/>
                          </a:lnTo>
                          <a:lnTo>
                            <a:pt x="18" y="8"/>
                          </a:lnTo>
                          <a:lnTo>
                            <a:pt x="22" y="10"/>
                          </a:lnTo>
                          <a:lnTo>
                            <a:pt x="28" y="10"/>
                          </a:lnTo>
                          <a:lnTo>
                            <a:pt x="28" y="10"/>
                          </a:lnTo>
                          <a:lnTo>
                            <a:pt x="36" y="8"/>
                          </a:lnTo>
                          <a:lnTo>
                            <a:pt x="36" y="8"/>
                          </a:lnTo>
                          <a:lnTo>
                            <a:pt x="36" y="10"/>
                          </a:lnTo>
                          <a:lnTo>
                            <a:pt x="36" y="10"/>
                          </a:lnTo>
                          <a:lnTo>
                            <a:pt x="32" y="12"/>
                          </a:lnTo>
                          <a:lnTo>
                            <a:pt x="30" y="14"/>
                          </a:lnTo>
                          <a:lnTo>
                            <a:pt x="30" y="14"/>
                          </a:lnTo>
                          <a:lnTo>
                            <a:pt x="28" y="14"/>
                          </a:lnTo>
                          <a:lnTo>
                            <a:pt x="30" y="14"/>
                          </a:lnTo>
                          <a:lnTo>
                            <a:pt x="32" y="16"/>
                          </a:lnTo>
                          <a:lnTo>
                            <a:pt x="30" y="18"/>
                          </a:lnTo>
                          <a:lnTo>
                            <a:pt x="30" y="18"/>
                          </a:lnTo>
                          <a:lnTo>
                            <a:pt x="26" y="18"/>
                          </a:lnTo>
                          <a:lnTo>
                            <a:pt x="26" y="18"/>
                          </a:lnTo>
                          <a:lnTo>
                            <a:pt x="24" y="16"/>
                          </a:lnTo>
                          <a:lnTo>
                            <a:pt x="24" y="16"/>
                          </a:lnTo>
                          <a:lnTo>
                            <a:pt x="24" y="16"/>
                          </a:lnTo>
                          <a:lnTo>
                            <a:pt x="20" y="14"/>
                          </a:lnTo>
                          <a:lnTo>
                            <a:pt x="18" y="14"/>
                          </a:lnTo>
                          <a:lnTo>
                            <a:pt x="18" y="14"/>
                          </a:lnTo>
                          <a:lnTo>
                            <a:pt x="18" y="14"/>
                          </a:lnTo>
                          <a:lnTo>
                            <a:pt x="18" y="16"/>
                          </a:lnTo>
                          <a:lnTo>
                            <a:pt x="16" y="16"/>
                          </a:lnTo>
                          <a:lnTo>
                            <a:pt x="16" y="16"/>
                          </a:lnTo>
                          <a:lnTo>
                            <a:pt x="10" y="14"/>
                          </a:lnTo>
                          <a:lnTo>
                            <a:pt x="10" y="14"/>
                          </a:lnTo>
                          <a:lnTo>
                            <a:pt x="10" y="14"/>
                          </a:lnTo>
                          <a:lnTo>
                            <a:pt x="10" y="14"/>
                          </a:lnTo>
                          <a:lnTo>
                            <a:pt x="10" y="12"/>
                          </a:lnTo>
                          <a:lnTo>
                            <a:pt x="8" y="12"/>
                          </a:lnTo>
                          <a:lnTo>
                            <a:pt x="8" y="12"/>
                          </a:lnTo>
                          <a:lnTo>
                            <a:pt x="4" y="12"/>
                          </a:lnTo>
                          <a:lnTo>
                            <a:pt x="4" y="10"/>
                          </a:lnTo>
                          <a:lnTo>
                            <a:pt x="4" y="10"/>
                          </a:lnTo>
                          <a:lnTo>
                            <a:pt x="4" y="8"/>
                          </a:lnTo>
                          <a:lnTo>
                            <a:pt x="4" y="8"/>
                          </a:lnTo>
                          <a:lnTo>
                            <a:pt x="4" y="8"/>
                          </a:lnTo>
                          <a:lnTo>
                            <a:pt x="2" y="10"/>
                          </a:lnTo>
                          <a:lnTo>
                            <a:pt x="0" y="8"/>
                          </a:lnTo>
                          <a:lnTo>
                            <a:pt x="0" y="8"/>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07"/>
                    <p:cNvSpPr>
                      <a:spLocks/>
                    </p:cNvSpPr>
                    <p:nvPr/>
                  </p:nvSpPr>
                  <p:spPr bwMode="auto">
                    <a:xfrm>
                      <a:off x="4067060" y="1973514"/>
                      <a:ext cx="42527" cy="33383"/>
                    </a:xfrm>
                    <a:custGeom>
                      <a:avLst/>
                      <a:gdLst/>
                      <a:ahLst/>
                      <a:cxnLst>
                        <a:cxn ang="0">
                          <a:pos x="0" y="20"/>
                        </a:cxn>
                        <a:cxn ang="0">
                          <a:pos x="0" y="20"/>
                        </a:cxn>
                        <a:cxn ang="0">
                          <a:pos x="0" y="14"/>
                        </a:cxn>
                        <a:cxn ang="0">
                          <a:pos x="4" y="12"/>
                        </a:cxn>
                        <a:cxn ang="0">
                          <a:pos x="4" y="12"/>
                        </a:cxn>
                        <a:cxn ang="0">
                          <a:pos x="12" y="6"/>
                        </a:cxn>
                        <a:cxn ang="0">
                          <a:pos x="18" y="0"/>
                        </a:cxn>
                        <a:cxn ang="0">
                          <a:pos x="18" y="0"/>
                        </a:cxn>
                        <a:cxn ang="0">
                          <a:pos x="20" y="0"/>
                        </a:cxn>
                        <a:cxn ang="0">
                          <a:pos x="20" y="2"/>
                        </a:cxn>
                        <a:cxn ang="0">
                          <a:pos x="20" y="4"/>
                        </a:cxn>
                        <a:cxn ang="0">
                          <a:pos x="20" y="4"/>
                        </a:cxn>
                        <a:cxn ang="0">
                          <a:pos x="22" y="6"/>
                        </a:cxn>
                        <a:cxn ang="0">
                          <a:pos x="20" y="8"/>
                        </a:cxn>
                        <a:cxn ang="0">
                          <a:pos x="18" y="10"/>
                        </a:cxn>
                        <a:cxn ang="0">
                          <a:pos x="18" y="10"/>
                        </a:cxn>
                        <a:cxn ang="0">
                          <a:pos x="24" y="10"/>
                        </a:cxn>
                        <a:cxn ang="0">
                          <a:pos x="26" y="10"/>
                        </a:cxn>
                        <a:cxn ang="0">
                          <a:pos x="26" y="12"/>
                        </a:cxn>
                        <a:cxn ang="0">
                          <a:pos x="26" y="12"/>
                        </a:cxn>
                        <a:cxn ang="0">
                          <a:pos x="26" y="12"/>
                        </a:cxn>
                        <a:cxn ang="0">
                          <a:pos x="26" y="14"/>
                        </a:cxn>
                        <a:cxn ang="0">
                          <a:pos x="28" y="16"/>
                        </a:cxn>
                        <a:cxn ang="0">
                          <a:pos x="26" y="16"/>
                        </a:cxn>
                        <a:cxn ang="0">
                          <a:pos x="26" y="16"/>
                        </a:cxn>
                        <a:cxn ang="0">
                          <a:pos x="20" y="18"/>
                        </a:cxn>
                        <a:cxn ang="0">
                          <a:pos x="16" y="20"/>
                        </a:cxn>
                        <a:cxn ang="0">
                          <a:pos x="16" y="20"/>
                        </a:cxn>
                        <a:cxn ang="0">
                          <a:pos x="12" y="20"/>
                        </a:cxn>
                        <a:cxn ang="0">
                          <a:pos x="8" y="22"/>
                        </a:cxn>
                        <a:cxn ang="0">
                          <a:pos x="8" y="22"/>
                        </a:cxn>
                        <a:cxn ang="0">
                          <a:pos x="4" y="22"/>
                        </a:cxn>
                        <a:cxn ang="0">
                          <a:pos x="2" y="22"/>
                        </a:cxn>
                        <a:cxn ang="0">
                          <a:pos x="0" y="20"/>
                        </a:cxn>
                        <a:cxn ang="0">
                          <a:pos x="0" y="20"/>
                        </a:cxn>
                      </a:cxnLst>
                      <a:rect l="0" t="0" r="r" b="b"/>
                      <a:pathLst>
                        <a:path w="28" h="22">
                          <a:moveTo>
                            <a:pt x="0" y="20"/>
                          </a:moveTo>
                          <a:lnTo>
                            <a:pt x="0" y="20"/>
                          </a:lnTo>
                          <a:lnTo>
                            <a:pt x="0" y="14"/>
                          </a:lnTo>
                          <a:lnTo>
                            <a:pt x="4" y="12"/>
                          </a:lnTo>
                          <a:lnTo>
                            <a:pt x="4" y="12"/>
                          </a:lnTo>
                          <a:lnTo>
                            <a:pt x="12" y="6"/>
                          </a:lnTo>
                          <a:lnTo>
                            <a:pt x="18" y="0"/>
                          </a:lnTo>
                          <a:lnTo>
                            <a:pt x="18" y="0"/>
                          </a:lnTo>
                          <a:lnTo>
                            <a:pt x="20" y="0"/>
                          </a:lnTo>
                          <a:lnTo>
                            <a:pt x="20" y="2"/>
                          </a:lnTo>
                          <a:lnTo>
                            <a:pt x="20" y="4"/>
                          </a:lnTo>
                          <a:lnTo>
                            <a:pt x="20" y="4"/>
                          </a:lnTo>
                          <a:lnTo>
                            <a:pt x="22" y="6"/>
                          </a:lnTo>
                          <a:lnTo>
                            <a:pt x="20" y="8"/>
                          </a:lnTo>
                          <a:lnTo>
                            <a:pt x="18" y="10"/>
                          </a:lnTo>
                          <a:lnTo>
                            <a:pt x="18" y="10"/>
                          </a:lnTo>
                          <a:lnTo>
                            <a:pt x="24" y="10"/>
                          </a:lnTo>
                          <a:lnTo>
                            <a:pt x="26" y="10"/>
                          </a:lnTo>
                          <a:lnTo>
                            <a:pt x="26" y="12"/>
                          </a:lnTo>
                          <a:lnTo>
                            <a:pt x="26" y="12"/>
                          </a:lnTo>
                          <a:lnTo>
                            <a:pt x="26" y="12"/>
                          </a:lnTo>
                          <a:lnTo>
                            <a:pt x="26" y="14"/>
                          </a:lnTo>
                          <a:lnTo>
                            <a:pt x="28" y="16"/>
                          </a:lnTo>
                          <a:lnTo>
                            <a:pt x="26" y="16"/>
                          </a:lnTo>
                          <a:lnTo>
                            <a:pt x="26" y="16"/>
                          </a:lnTo>
                          <a:lnTo>
                            <a:pt x="20" y="18"/>
                          </a:lnTo>
                          <a:lnTo>
                            <a:pt x="16" y="20"/>
                          </a:lnTo>
                          <a:lnTo>
                            <a:pt x="16" y="20"/>
                          </a:lnTo>
                          <a:lnTo>
                            <a:pt x="12" y="20"/>
                          </a:lnTo>
                          <a:lnTo>
                            <a:pt x="8" y="22"/>
                          </a:lnTo>
                          <a:lnTo>
                            <a:pt x="8" y="22"/>
                          </a:lnTo>
                          <a:lnTo>
                            <a:pt x="4" y="22"/>
                          </a:lnTo>
                          <a:lnTo>
                            <a:pt x="2" y="22"/>
                          </a:lnTo>
                          <a:lnTo>
                            <a:pt x="0" y="20"/>
                          </a:lnTo>
                          <a:lnTo>
                            <a:pt x="0" y="20"/>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08"/>
                    <p:cNvSpPr>
                      <a:spLocks/>
                    </p:cNvSpPr>
                    <p:nvPr/>
                  </p:nvSpPr>
                  <p:spPr bwMode="auto">
                    <a:xfrm>
                      <a:off x="4139964" y="1824807"/>
                      <a:ext cx="182259" cy="142637"/>
                    </a:xfrm>
                    <a:custGeom>
                      <a:avLst/>
                      <a:gdLst/>
                      <a:ahLst/>
                      <a:cxnLst>
                        <a:cxn ang="0">
                          <a:pos x="70" y="12"/>
                        </a:cxn>
                        <a:cxn ang="0">
                          <a:pos x="70" y="10"/>
                        </a:cxn>
                        <a:cxn ang="0">
                          <a:pos x="82" y="2"/>
                        </a:cxn>
                        <a:cxn ang="0">
                          <a:pos x="90" y="0"/>
                        </a:cxn>
                        <a:cxn ang="0">
                          <a:pos x="92" y="2"/>
                        </a:cxn>
                        <a:cxn ang="0">
                          <a:pos x="96" y="4"/>
                        </a:cxn>
                        <a:cxn ang="0">
                          <a:pos x="90" y="8"/>
                        </a:cxn>
                        <a:cxn ang="0">
                          <a:pos x="94" y="8"/>
                        </a:cxn>
                        <a:cxn ang="0">
                          <a:pos x="92" y="14"/>
                        </a:cxn>
                        <a:cxn ang="0">
                          <a:pos x="84" y="20"/>
                        </a:cxn>
                        <a:cxn ang="0">
                          <a:pos x="80" y="22"/>
                        </a:cxn>
                        <a:cxn ang="0">
                          <a:pos x="76" y="24"/>
                        </a:cxn>
                        <a:cxn ang="0">
                          <a:pos x="68" y="30"/>
                        </a:cxn>
                        <a:cxn ang="0">
                          <a:pos x="72" y="30"/>
                        </a:cxn>
                        <a:cxn ang="0">
                          <a:pos x="80" y="28"/>
                        </a:cxn>
                        <a:cxn ang="0">
                          <a:pos x="82" y="30"/>
                        </a:cxn>
                        <a:cxn ang="0">
                          <a:pos x="88" y="30"/>
                        </a:cxn>
                        <a:cxn ang="0">
                          <a:pos x="74" y="36"/>
                        </a:cxn>
                        <a:cxn ang="0">
                          <a:pos x="82" y="36"/>
                        </a:cxn>
                        <a:cxn ang="0">
                          <a:pos x="86" y="38"/>
                        </a:cxn>
                        <a:cxn ang="0">
                          <a:pos x="88" y="42"/>
                        </a:cxn>
                        <a:cxn ang="0">
                          <a:pos x="90" y="46"/>
                        </a:cxn>
                        <a:cxn ang="0">
                          <a:pos x="100" y="44"/>
                        </a:cxn>
                        <a:cxn ang="0">
                          <a:pos x="114" y="44"/>
                        </a:cxn>
                        <a:cxn ang="0">
                          <a:pos x="116" y="50"/>
                        </a:cxn>
                        <a:cxn ang="0">
                          <a:pos x="110" y="52"/>
                        </a:cxn>
                        <a:cxn ang="0">
                          <a:pos x="104" y="56"/>
                        </a:cxn>
                        <a:cxn ang="0">
                          <a:pos x="114" y="56"/>
                        </a:cxn>
                        <a:cxn ang="0">
                          <a:pos x="120" y="58"/>
                        </a:cxn>
                        <a:cxn ang="0">
                          <a:pos x="116" y="62"/>
                        </a:cxn>
                        <a:cxn ang="0">
                          <a:pos x="110" y="66"/>
                        </a:cxn>
                        <a:cxn ang="0">
                          <a:pos x="114" y="68"/>
                        </a:cxn>
                        <a:cxn ang="0">
                          <a:pos x="104" y="72"/>
                        </a:cxn>
                        <a:cxn ang="0">
                          <a:pos x="98" y="76"/>
                        </a:cxn>
                        <a:cxn ang="0">
                          <a:pos x="90" y="80"/>
                        </a:cxn>
                        <a:cxn ang="0">
                          <a:pos x="84" y="86"/>
                        </a:cxn>
                        <a:cxn ang="0">
                          <a:pos x="78" y="90"/>
                        </a:cxn>
                        <a:cxn ang="0">
                          <a:pos x="64" y="92"/>
                        </a:cxn>
                        <a:cxn ang="0">
                          <a:pos x="62" y="90"/>
                        </a:cxn>
                        <a:cxn ang="0">
                          <a:pos x="72" y="84"/>
                        </a:cxn>
                        <a:cxn ang="0">
                          <a:pos x="80" y="78"/>
                        </a:cxn>
                        <a:cxn ang="0">
                          <a:pos x="74" y="78"/>
                        </a:cxn>
                        <a:cxn ang="0">
                          <a:pos x="68" y="78"/>
                        </a:cxn>
                        <a:cxn ang="0">
                          <a:pos x="64" y="76"/>
                        </a:cxn>
                        <a:cxn ang="0">
                          <a:pos x="58" y="78"/>
                        </a:cxn>
                        <a:cxn ang="0">
                          <a:pos x="54" y="76"/>
                        </a:cxn>
                        <a:cxn ang="0">
                          <a:pos x="50" y="76"/>
                        </a:cxn>
                        <a:cxn ang="0">
                          <a:pos x="40" y="80"/>
                        </a:cxn>
                        <a:cxn ang="0">
                          <a:pos x="26" y="80"/>
                        </a:cxn>
                        <a:cxn ang="0">
                          <a:pos x="22" y="78"/>
                        </a:cxn>
                        <a:cxn ang="0">
                          <a:pos x="8" y="80"/>
                        </a:cxn>
                        <a:cxn ang="0">
                          <a:pos x="2" y="78"/>
                        </a:cxn>
                        <a:cxn ang="0">
                          <a:pos x="0" y="74"/>
                        </a:cxn>
                        <a:cxn ang="0">
                          <a:pos x="12" y="66"/>
                        </a:cxn>
                        <a:cxn ang="0">
                          <a:pos x="18" y="64"/>
                        </a:cxn>
                        <a:cxn ang="0">
                          <a:pos x="8" y="64"/>
                        </a:cxn>
                        <a:cxn ang="0">
                          <a:pos x="16" y="62"/>
                        </a:cxn>
                        <a:cxn ang="0">
                          <a:pos x="28" y="54"/>
                        </a:cxn>
                        <a:cxn ang="0">
                          <a:pos x="32" y="50"/>
                        </a:cxn>
                        <a:cxn ang="0">
                          <a:pos x="36" y="46"/>
                        </a:cxn>
                        <a:cxn ang="0">
                          <a:pos x="46" y="38"/>
                        </a:cxn>
                        <a:cxn ang="0">
                          <a:pos x="62" y="16"/>
                        </a:cxn>
                      </a:cxnLst>
                      <a:rect l="0" t="0" r="r" b="b"/>
                      <a:pathLst>
                        <a:path w="120" h="94">
                          <a:moveTo>
                            <a:pt x="62" y="16"/>
                          </a:moveTo>
                          <a:lnTo>
                            <a:pt x="62" y="16"/>
                          </a:lnTo>
                          <a:lnTo>
                            <a:pt x="68" y="14"/>
                          </a:lnTo>
                          <a:lnTo>
                            <a:pt x="70" y="12"/>
                          </a:lnTo>
                          <a:lnTo>
                            <a:pt x="70" y="10"/>
                          </a:lnTo>
                          <a:lnTo>
                            <a:pt x="70" y="10"/>
                          </a:lnTo>
                          <a:lnTo>
                            <a:pt x="70" y="10"/>
                          </a:lnTo>
                          <a:lnTo>
                            <a:pt x="70" y="10"/>
                          </a:lnTo>
                          <a:lnTo>
                            <a:pt x="74" y="8"/>
                          </a:lnTo>
                          <a:lnTo>
                            <a:pt x="74" y="8"/>
                          </a:lnTo>
                          <a:lnTo>
                            <a:pt x="78" y="4"/>
                          </a:lnTo>
                          <a:lnTo>
                            <a:pt x="82" y="2"/>
                          </a:lnTo>
                          <a:lnTo>
                            <a:pt x="82" y="2"/>
                          </a:lnTo>
                          <a:lnTo>
                            <a:pt x="86" y="0"/>
                          </a:lnTo>
                          <a:lnTo>
                            <a:pt x="90" y="0"/>
                          </a:lnTo>
                          <a:lnTo>
                            <a:pt x="90" y="0"/>
                          </a:lnTo>
                          <a:lnTo>
                            <a:pt x="92" y="0"/>
                          </a:lnTo>
                          <a:lnTo>
                            <a:pt x="90" y="2"/>
                          </a:lnTo>
                          <a:lnTo>
                            <a:pt x="90" y="2"/>
                          </a:lnTo>
                          <a:lnTo>
                            <a:pt x="92" y="2"/>
                          </a:lnTo>
                          <a:lnTo>
                            <a:pt x="92" y="2"/>
                          </a:lnTo>
                          <a:lnTo>
                            <a:pt x="96" y="2"/>
                          </a:lnTo>
                          <a:lnTo>
                            <a:pt x="96" y="4"/>
                          </a:lnTo>
                          <a:lnTo>
                            <a:pt x="96" y="4"/>
                          </a:lnTo>
                          <a:lnTo>
                            <a:pt x="94" y="6"/>
                          </a:lnTo>
                          <a:lnTo>
                            <a:pt x="92" y="6"/>
                          </a:lnTo>
                          <a:lnTo>
                            <a:pt x="92" y="6"/>
                          </a:lnTo>
                          <a:lnTo>
                            <a:pt x="90" y="8"/>
                          </a:lnTo>
                          <a:lnTo>
                            <a:pt x="90" y="8"/>
                          </a:lnTo>
                          <a:lnTo>
                            <a:pt x="90" y="8"/>
                          </a:lnTo>
                          <a:lnTo>
                            <a:pt x="90" y="8"/>
                          </a:lnTo>
                          <a:lnTo>
                            <a:pt x="94" y="8"/>
                          </a:lnTo>
                          <a:lnTo>
                            <a:pt x="94" y="10"/>
                          </a:lnTo>
                          <a:lnTo>
                            <a:pt x="94" y="12"/>
                          </a:lnTo>
                          <a:lnTo>
                            <a:pt x="94" y="12"/>
                          </a:lnTo>
                          <a:lnTo>
                            <a:pt x="92" y="14"/>
                          </a:lnTo>
                          <a:lnTo>
                            <a:pt x="90" y="16"/>
                          </a:lnTo>
                          <a:lnTo>
                            <a:pt x="90" y="16"/>
                          </a:lnTo>
                          <a:lnTo>
                            <a:pt x="86" y="18"/>
                          </a:lnTo>
                          <a:lnTo>
                            <a:pt x="84" y="20"/>
                          </a:lnTo>
                          <a:lnTo>
                            <a:pt x="84" y="20"/>
                          </a:lnTo>
                          <a:lnTo>
                            <a:pt x="84" y="20"/>
                          </a:lnTo>
                          <a:lnTo>
                            <a:pt x="82" y="20"/>
                          </a:lnTo>
                          <a:lnTo>
                            <a:pt x="80" y="22"/>
                          </a:lnTo>
                          <a:lnTo>
                            <a:pt x="80" y="24"/>
                          </a:lnTo>
                          <a:lnTo>
                            <a:pt x="78" y="24"/>
                          </a:lnTo>
                          <a:lnTo>
                            <a:pt x="78" y="24"/>
                          </a:lnTo>
                          <a:lnTo>
                            <a:pt x="76" y="24"/>
                          </a:lnTo>
                          <a:lnTo>
                            <a:pt x="76" y="24"/>
                          </a:lnTo>
                          <a:lnTo>
                            <a:pt x="74" y="26"/>
                          </a:lnTo>
                          <a:lnTo>
                            <a:pt x="74" y="26"/>
                          </a:lnTo>
                          <a:lnTo>
                            <a:pt x="68" y="30"/>
                          </a:lnTo>
                          <a:lnTo>
                            <a:pt x="66" y="34"/>
                          </a:lnTo>
                          <a:lnTo>
                            <a:pt x="66" y="36"/>
                          </a:lnTo>
                          <a:lnTo>
                            <a:pt x="66" y="36"/>
                          </a:lnTo>
                          <a:lnTo>
                            <a:pt x="72" y="30"/>
                          </a:lnTo>
                          <a:lnTo>
                            <a:pt x="78" y="28"/>
                          </a:lnTo>
                          <a:lnTo>
                            <a:pt x="78" y="28"/>
                          </a:lnTo>
                          <a:lnTo>
                            <a:pt x="80" y="28"/>
                          </a:lnTo>
                          <a:lnTo>
                            <a:pt x="80" y="28"/>
                          </a:lnTo>
                          <a:lnTo>
                            <a:pt x="80" y="30"/>
                          </a:lnTo>
                          <a:lnTo>
                            <a:pt x="80" y="30"/>
                          </a:lnTo>
                          <a:lnTo>
                            <a:pt x="80" y="30"/>
                          </a:lnTo>
                          <a:lnTo>
                            <a:pt x="82" y="30"/>
                          </a:lnTo>
                          <a:lnTo>
                            <a:pt x="86" y="30"/>
                          </a:lnTo>
                          <a:lnTo>
                            <a:pt x="86" y="30"/>
                          </a:lnTo>
                          <a:lnTo>
                            <a:pt x="88" y="30"/>
                          </a:lnTo>
                          <a:lnTo>
                            <a:pt x="88" y="30"/>
                          </a:lnTo>
                          <a:lnTo>
                            <a:pt x="88" y="30"/>
                          </a:lnTo>
                          <a:lnTo>
                            <a:pt x="86" y="32"/>
                          </a:lnTo>
                          <a:lnTo>
                            <a:pt x="82" y="34"/>
                          </a:lnTo>
                          <a:lnTo>
                            <a:pt x="74" y="36"/>
                          </a:lnTo>
                          <a:lnTo>
                            <a:pt x="74" y="36"/>
                          </a:lnTo>
                          <a:lnTo>
                            <a:pt x="82" y="36"/>
                          </a:lnTo>
                          <a:lnTo>
                            <a:pt x="82" y="36"/>
                          </a:lnTo>
                          <a:lnTo>
                            <a:pt x="82" y="36"/>
                          </a:lnTo>
                          <a:lnTo>
                            <a:pt x="82" y="36"/>
                          </a:lnTo>
                          <a:lnTo>
                            <a:pt x="82" y="38"/>
                          </a:lnTo>
                          <a:lnTo>
                            <a:pt x="84" y="38"/>
                          </a:lnTo>
                          <a:lnTo>
                            <a:pt x="86" y="38"/>
                          </a:lnTo>
                          <a:lnTo>
                            <a:pt x="86" y="40"/>
                          </a:lnTo>
                          <a:lnTo>
                            <a:pt x="86" y="40"/>
                          </a:lnTo>
                          <a:lnTo>
                            <a:pt x="86" y="42"/>
                          </a:lnTo>
                          <a:lnTo>
                            <a:pt x="88" y="42"/>
                          </a:lnTo>
                          <a:lnTo>
                            <a:pt x="90" y="42"/>
                          </a:lnTo>
                          <a:lnTo>
                            <a:pt x="90" y="44"/>
                          </a:lnTo>
                          <a:lnTo>
                            <a:pt x="90" y="44"/>
                          </a:lnTo>
                          <a:lnTo>
                            <a:pt x="90" y="46"/>
                          </a:lnTo>
                          <a:lnTo>
                            <a:pt x="92" y="46"/>
                          </a:lnTo>
                          <a:lnTo>
                            <a:pt x="98" y="44"/>
                          </a:lnTo>
                          <a:lnTo>
                            <a:pt x="98" y="44"/>
                          </a:lnTo>
                          <a:lnTo>
                            <a:pt x="100" y="44"/>
                          </a:lnTo>
                          <a:lnTo>
                            <a:pt x="104" y="44"/>
                          </a:lnTo>
                          <a:lnTo>
                            <a:pt x="104" y="44"/>
                          </a:lnTo>
                          <a:lnTo>
                            <a:pt x="110" y="44"/>
                          </a:lnTo>
                          <a:lnTo>
                            <a:pt x="114" y="44"/>
                          </a:lnTo>
                          <a:lnTo>
                            <a:pt x="116" y="46"/>
                          </a:lnTo>
                          <a:lnTo>
                            <a:pt x="116" y="46"/>
                          </a:lnTo>
                          <a:lnTo>
                            <a:pt x="116" y="48"/>
                          </a:lnTo>
                          <a:lnTo>
                            <a:pt x="116" y="50"/>
                          </a:lnTo>
                          <a:lnTo>
                            <a:pt x="114" y="50"/>
                          </a:lnTo>
                          <a:lnTo>
                            <a:pt x="114" y="50"/>
                          </a:lnTo>
                          <a:lnTo>
                            <a:pt x="112" y="52"/>
                          </a:lnTo>
                          <a:lnTo>
                            <a:pt x="110" y="52"/>
                          </a:lnTo>
                          <a:lnTo>
                            <a:pt x="110" y="52"/>
                          </a:lnTo>
                          <a:lnTo>
                            <a:pt x="108" y="54"/>
                          </a:lnTo>
                          <a:lnTo>
                            <a:pt x="104" y="56"/>
                          </a:lnTo>
                          <a:lnTo>
                            <a:pt x="104" y="56"/>
                          </a:lnTo>
                          <a:lnTo>
                            <a:pt x="106" y="56"/>
                          </a:lnTo>
                          <a:lnTo>
                            <a:pt x="110" y="56"/>
                          </a:lnTo>
                          <a:lnTo>
                            <a:pt x="110" y="56"/>
                          </a:lnTo>
                          <a:lnTo>
                            <a:pt x="114" y="56"/>
                          </a:lnTo>
                          <a:lnTo>
                            <a:pt x="118" y="56"/>
                          </a:lnTo>
                          <a:lnTo>
                            <a:pt x="118" y="56"/>
                          </a:lnTo>
                          <a:lnTo>
                            <a:pt x="120" y="56"/>
                          </a:lnTo>
                          <a:lnTo>
                            <a:pt x="120" y="58"/>
                          </a:lnTo>
                          <a:lnTo>
                            <a:pt x="120" y="58"/>
                          </a:lnTo>
                          <a:lnTo>
                            <a:pt x="118" y="60"/>
                          </a:lnTo>
                          <a:lnTo>
                            <a:pt x="116" y="62"/>
                          </a:lnTo>
                          <a:lnTo>
                            <a:pt x="116" y="62"/>
                          </a:lnTo>
                          <a:lnTo>
                            <a:pt x="112" y="64"/>
                          </a:lnTo>
                          <a:lnTo>
                            <a:pt x="108" y="64"/>
                          </a:lnTo>
                          <a:lnTo>
                            <a:pt x="108" y="64"/>
                          </a:lnTo>
                          <a:lnTo>
                            <a:pt x="110" y="66"/>
                          </a:lnTo>
                          <a:lnTo>
                            <a:pt x="114" y="66"/>
                          </a:lnTo>
                          <a:lnTo>
                            <a:pt x="114" y="68"/>
                          </a:lnTo>
                          <a:lnTo>
                            <a:pt x="114" y="68"/>
                          </a:lnTo>
                          <a:lnTo>
                            <a:pt x="114" y="68"/>
                          </a:lnTo>
                          <a:lnTo>
                            <a:pt x="108" y="72"/>
                          </a:lnTo>
                          <a:lnTo>
                            <a:pt x="106" y="72"/>
                          </a:lnTo>
                          <a:lnTo>
                            <a:pt x="104" y="72"/>
                          </a:lnTo>
                          <a:lnTo>
                            <a:pt x="104" y="72"/>
                          </a:lnTo>
                          <a:lnTo>
                            <a:pt x="104" y="70"/>
                          </a:lnTo>
                          <a:lnTo>
                            <a:pt x="100" y="74"/>
                          </a:lnTo>
                          <a:lnTo>
                            <a:pt x="100" y="74"/>
                          </a:lnTo>
                          <a:lnTo>
                            <a:pt x="98" y="76"/>
                          </a:lnTo>
                          <a:lnTo>
                            <a:pt x="94" y="78"/>
                          </a:lnTo>
                          <a:lnTo>
                            <a:pt x="94" y="78"/>
                          </a:lnTo>
                          <a:lnTo>
                            <a:pt x="90" y="80"/>
                          </a:lnTo>
                          <a:lnTo>
                            <a:pt x="90" y="80"/>
                          </a:lnTo>
                          <a:lnTo>
                            <a:pt x="88" y="82"/>
                          </a:lnTo>
                          <a:lnTo>
                            <a:pt x="88" y="82"/>
                          </a:lnTo>
                          <a:lnTo>
                            <a:pt x="84" y="84"/>
                          </a:lnTo>
                          <a:lnTo>
                            <a:pt x="84" y="86"/>
                          </a:lnTo>
                          <a:lnTo>
                            <a:pt x="84" y="86"/>
                          </a:lnTo>
                          <a:lnTo>
                            <a:pt x="80" y="88"/>
                          </a:lnTo>
                          <a:lnTo>
                            <a:pt x="78" y="90"/>
                          </a:lnTo>
                          <a:lnTo>
                            <a:pt x="78" y="90"/>
                          </a:lnTo>
                          <a:lnTo>
                            <a:pt x="68" y="94"/>
                          </a:lnTo>
                          <a:lnTo>
                            <a:pt x="68" y="94"/>
                          </a:lnTo>
                          <a:lnTo>
                            <a:pt x="66" y="92"/>
                          </a:lnTo>
                          <a:lnTo>
                            <a:pt x="64" y="92"/>
                          </a:lnTo>
                          <a:lnTo>
                            <a:pt x="64" y="92"/>
                          </a:lnTo>
                          <a:lnTo>
                            <a:pt x="62" y="92"/>
                          </a:lnTo>
                          <a:lnTo>
                            <a:pt x="62" y="90"/>
                          </a:lnTo>
                          <a:lnTo>
                            <a:pt x="62" y="90"/>
                          </a:lnTo>
                          <a:lnTo>
                            <a:pt x="64" y="88"/>
                          </a:lnTo>
                          <a:lnTo>
                            <a:pt x="64" y="88"/>
                          </a:lnTo>
                          <a:lnTo>
                            <a:pt x="70" y="86"/>
                          </a:lnTo>
                          <a:lnTo>
                            <a:pt x="72" y="84"/>
                          </a:lnTo>
                          <a:lnTo>
                            <a:pt x="72" y="84"/>
                          </a:lnTo>
                          <a:lnTo>
                            <a:pt x="76" y="80"/>
                          </a:lnTo>
                          <a:lnTo>
                            <a:pt x="80" y="78"/>
                          </a:lnTo>
                          <a:lnTo>
                            <a:pt x="80" y="78"/>
                          </a:lnTo>
                          <a:lnTo>
                            <a:pt x="80" y="78"/>
                          </a:lnTo>
                          <a:lnTo>
                            <a:pt x="80" y="78"/>
                          </a:lnTo>
                          <a:lnTo>
                            <a:pt x="74" y="78"/>
                          </a:lnTo>
                          <a:lnTo>
                            <a:pt x="74" y="78"/>
                          </a:lnTo>
                          <a:lnTo>
                            <a:pt x="70" y="78"/>
                          </a:lnTo>
                          <a:lnTo>
                            <a:pt x="68" y="78"/>
                          </a:lnTo>
                          <a:lnTo>
                            <a:pt x="68" y="78"/>
                          </a:lnTo>
                          <a:lnTo>
                            <a:pt x="68" y="78"/>
                          </a:lnTo>
                          <a:lnTo>
                            <a:pt x="64" y="78"/>
                          </a:lnTo>
                          <a:lnTo>
                            <a:pt x="64" y="78"/>
                          </a:lnTo>
                          <a:lnTo>
                            <a:pt x="64" y="78"/>
                          </a:lnTo>
                          <a:lnTo>
                            <a:pt x="64" y="76"/>
                          </a:lnTo>
                          <a:lnTo>
                            <a:pt x="64" y="76"/>
                          </a:lnTo>
                          <a:lnTo>
                            <a:pt x="62" y="76"/>
                          </a:lnTo>
                          <a:lnTo>
                            <a:pt x="62" y="76"/>
                          </a:lnTo>
                          <a:lnTo>
                            <a:pt x="58" y="78"/>
                          </a:lnTo>
                          <a:lnTo>
                            <a:pt x="56" y="78"/>
                          </a:lnTo>
                          <a:lnTo>
                            <a:pt x="56" y="78"/>
                          </a:lnTo>
                          <a:lnTo>
                            <a:pt x="56" y="78"/>
                          </a:lnTo>
                          <a:lnTo>
                            <a:pt x="54" y="76"/>
                          </a:lnTo>
                          <a:lnTo>
                            <a:pt x="52" y="76"/>
                          </a:lnTo>
                          <a:lnTo>
                            <a:pt x="50" y="78"/>
                          </a:lnTo>
                          <a:lnTo>
                            <a:pt x="50" y="76"/>
                          </a:lnTo>
                          <a:lnTo>
                            <a:pt x="50" y="76"/>
                          </a:lnTo>
                          <a:lnTo>
                            <a:pt x="48" y="76"/>
                          </a:lnTo>
                          <a:lnTo>
                            <a:pt x="46" y="78"/>
                          </a:lnTo>
                          <a:lnTo>
                            <a:pt x="42" y="80"/>
                          </a:lnTo>
                          <a:lnTo>
                            <a:pt x="40" y="80"/>
                          </a:lnTo>
                          <a:lnTo>
                            <a:pt x="40" y="80"/>
                          </a:lnTo>
                          <a:lnTo>
                            <a:pt x="36" y="80"/>
                          </a:lnTo>
                          <a:lnTo>
                            <a:pt x="32" y="80"/>
                          </a:lnTo>
                          <a:lnTo>
                            <a:pt x="26" y="80"/>
                          </a:lnTo>
                          <a:lnTo>
                            <a:pt x="26" y="80"/>
                          </a:lnTo>
                          <a:lnTo>
                            <a:pt x="22" y="80"/>
                          </a:lnTo>
                          <a:lnTo>
                            <a:pt x="22" y="78"/>
                          </a:lnTo>
                          <a:lnTo>
                            <a:pt x="22" y="78"/>
                          </a:lnTo>
                          <a:lnTo>
                            <a:pt x="22" y="80"/>
                          </a:lnTo>
                          <a:lnTo>
                            <a:pt x="16" y="80"/>
                          </a:lnTo>
                          <a:lnTo>
                            <a:pt x="16" y="80"/>
                          </a:lnTo>
                          <a:lnTo>
                            <a:pt x="8" y="80"/>
                          </a:lnTo>
                          <a:lnTo>
                            <a:pt x="4" y="82"/>
                          </a:lnTo>
                          <a:lnTo>
                            <a:pt x="4" y="82"/>
                          </a:lnTo>
                          <a:lnTo>
                            <a:pt x="2" y="82"/>
                          </a:lnTo>
                          <a:lnTo>
                            <a:pt x="2" y="78"/>
                          </a:lnTo>
                          <a:lnTo>
                            <a:pt x="2" y="78"/>
                          </a:lnTo>
                          <a:lnTo>
                            <a:pt x="2" y="76"/>
                          </a:lnTo>
                          <a:lnTo>
                            <a:pt x="0" y="74"/>
                          </a:lnTo>
                          <a:lnTo>
                            <a:pt x="0" y="74"/>
                          </a:lnTo>
                          <a:lnTo>
                            <a:pt x="2" y="72"/>
                          </a:lnTo>
                          <a:lnTo>
                            <a:pt x="2" y="72"/>
                          </a:lnTo>
                          <a:lnTo>
                            <a:pt x="8" y="68"/>
                          </a:lnTo>
                          <a:lnTo>
                            <a:pt x="12" y="66"/>
                          </a:lnTo>
                          <a:lnTo>
                            <a:pt x="12" y="66"/>
                          </a:lnTo>
                          <a:lnTo>
                            <a:pt x="18" y="64"/>
                          </a:lnTo>
                          <a:lnTo>
                            <a:pt x="18" y="64"/>
                          </a:lnTo>
                          <a:lnTo>
                            <a:pt x="18" y="64"/>
                          </a:lnTo>
                          <a:lnTo>
                            <a:pt x="18" y="64"/>
                          </a:lnTo>
                          <a:lnTo>
                            <a:pt x="10" y="66"/>
                          </a:lnTo>
                          <a:lnTo>
                            <a:pt x="8" y="66"/>
                          </a:lnTo>
                          <a:lnTo>
                            <a:pt x="8" y="64"/>
                          </a:lnTo>
                          <a:lnTo>
                            <a:pt x="8" y="64"/>
                          </a:lnTo>
                          <a:lnTo>
                            <a:pt x="12" y="64"/>
                          </a:lnTo>
                          <a:lnTo>
                            <a:pt x="16" y="62"/>
                          </a:lnTo>
                          <a:lnTo>
                            <a:pt x="16" y="62"/>
                          </a:lnTo>
                          <a:lnTo>
                            <a:pt x="20" y="60"/>
                          </a:lnTo>
                          <a:lnTo>
                            <a:pt x="22" y="56"/>
                          </a:lnTo>
                          <a:lnTo>
                            <a:pt x="22" y="56"/>
                          </a:lnTo>
                          <a:lnTo>
                            <a:pt x="28" y="54"/>
                          </a:lnTo>
                          <a:lnTo>
                            <a:pt x="34" y="54"/>
                          </a:lnTo>
                          <a:lnTo>
                            <a:pt x="34" y="54"/>
                          </a:lnTo>
                          <a:lnTo>
                            <a:pt x="34" y="52"/>
                          </a:lnTo>
                          <a:lnTo>
                            <a:pt x="32" y="50"/>
                          </a:lnTo>
                          <a:lnTo>
                            <a:pt x="32" y="50"/>
                          </a:lnTo>
                          <a:lnTo>
                            <a:pt x="32" y="48"/>
                          </a:lnTo>
                          <a:lnTo>
                            <a:pt x="36" y="46"/>
                          </a:lnTo>
                          <a:lnTo>
                            <a:pt x="36" y="46"/>
                          </a:lnTo>
                          <a:lnTo>
                            <a:pt x="40" y="42"/>
                          </a:lnTo>
                          <a:lnTo>
                            <a:pt x="42" y="40"/>
                          </a:lnTo>
                          <a:lnTo>
                            <a:pt x="42" y="40"/>
                          </a:lnTo>
                          <a:lnTo>
                            <a:pt x="46" y="38"/>
                          </a:lnTo>
                          <a:lnTo>
                            <a:pt x="46" y="36"/>
                          </a:lnTo>
                          <a:lnTo>
                            <a:pt x="50" y="32"/>
                          </a:lnTo>
                          <a:lnTo>
                            <a:pt x="50" y="32"/>
                          </a:lnTo>
                          <a:lnTo>
                            <a:pt x="62" y="16"/>
                          </a:lnTo>
                          <a:lnTo>
                            <a:pt x="62" y="16"/>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09"/>
                    <p:cNvSpPr>
                      <a:spLocks/>
                    </p:cNvSpPr>
                    <p:nvPr/>
                  </p:nvSpPr>
                  <p:spPr bwMode="auto">
                    <a:xfrm>
                      <a:off x="4282733" y="1934061"/>
                      <a:ext cx="36452" cy="39453"/>
                    </a:xfrm>
                    <a:custGeom>
                      <a:avLst/>
                      <a:gdLst/>
                      <a:ahLst/>
                      <a:cxnLst>
                        <a:cxn ang="0">
                          <a:pos x="4" y="8"/>
                        </a:cxn>
                        <a:cxn ang="0">
                          <a:pos x="4" y="8"/>
                        </a:cxn>
                        <a:cxn ang="0">
                          <a:pos x="8" y="6"/>
                        </a:cxn>
                        <a:cxn ang="0">
                          <a:pos x="10" y="6"/>
                        </a:cxn>
                        <a:cxn ang="0">
                          <a:pos x="10" y="6"/>
                        </a:cxn>
                        <a:cxn ang="0">
                          <a:pos x="20" y="0"/>
                        </a:cxn>
                        <a:cxn ang="0">
                          <a:pos x="20" y="0"/>
                        </a:cxn>
                        <a:cxn ang="0">
                          <a:pos x="24" y="0"/>
                        </a:cxn>
                        <a:cxn ang="0">
                          <a:pos x="24" y="0"/>
                        </a:cxn>
                        <a:cxn ang="0">
                          <a:pos x="22" y="2"/>
                        </a:cxn>
                        <a:cxn ang="0">
                          <a:pos x="22" y="2"/>
                        </a:cxn>
                        <a:cxn ang="0">
                          <a:pos x="18" y="6"/>
                        </a:cxn>
                        <a:cxn ang="0">
                          <a:pos x="16" y="6"/>
                        </a:cxn>
                        <a:cxn ang="0">
                          <a:pos x="18" y="6"/>
                        </a:cxn>
                        <a:cxn ang="0">
                          <a:pos x="18" y="6"/>
                        </a:cxn>
                        <a:cxn ang="0">
                          <a:pos x="22" y="4"/>
                        </a:cxn>
                        <a:cxn ang="0">
                          <a:pos x="24" y="4"/>
                        </a:cxn>
                        <a:cxn ang="0">
                          <a:pos x="24" y="4"/>
                        </a:cxn>
                        <a:cxn ang="0">
                          <a:pos x="24" y="4"/>
                        </a:cxn>
                        <a:cxn ang="0">
                          <a:pos x="24" y="10"/>
                        </a:cxn>
                        <a:cxn ang="0">
                          <a:pos x="22" y="14"/>
                        </a:cxn>
                        <a:cxn ang="0">
                          <a:pos x="22" y="14"/>
                        </a:cxn>
                        <a:cxn ang="0">
                          <a:pos x="20" y="18"/>
                        </a:cxn>
                        <a:cxn ang="0">
                          <a:pos x="20" y="22"/>
                        </a:cxn>
                        <a:cxn ang="0">
                          <a:pos x="20" y="22"/>
                        </a:cxn>
                        <a:cxn ang="0">
                          <a:pos x="20" y="24"/>
                        </a:cxn>
                        <a:cxn ang="0">
                          <a:pos x="18" y="26"/>
                        </a:cxn>
                        <a:cxn ang="0">
                          <a:pos x="14" y="26"/>
                        </a:cxn>
                        <a:cxn ang="0">
                          <a:pos x="14" y="26"/>
                        </a:cxn>
                        <a:cxn ang="0">
                          <a:pos x="12" y="26"/>
                        </a:cxn>
                        <a:cxn ang="0">
                          <a:pos x="10" y="26"/>
                        </a:cxn>
                        <a:cxn ang="0">
                          <a:pos x="8" y="26"/>
                        </a:cxn>
                        <a:cxn ang="0">
                          <a:pos x="8" y="26"/>
                        </a:cxn>
                        <a:cxn ang="0">
                          <a:pos x="8" y="20"/>
                        </a:cxn>
                        <a:cxn ang="0">
                          <a:pos x="10" y="16"/>
                        </a:cxn>
                        <a:cxn ang="0">
                          <a:pos x="10" y="16"/>
                        </a:cxn>
                        <a:cxn ang="0">
                          <a:pos x="10" y="16"/>
                        </a:cxn>
                        <a:cxn ang="0">
                          <a:pos x="8" y="16"/>
                        </a:cxn>
                        <a:cxn ang="0">
                          <a:pos x="6" y="22"/>
                        </a:cxn>
                        <a:cxn ang="0">
                          <a:pos x="6" y="22"/>
                        </a:cxn>
                        <a:cxn ang="0">
                          <a:pos x="2" y="26"/>
                        </a:cxn>
                        <a:cxn ang="0">
                          <a:pos x="0" y="26"/>
                        </a:cxn>
                        <a:cxn ang="0">
                          <a:pos x="0" y="24"/>
                        </a:cxn>
                        <a:cxn ang="0">
                          <a:pos x="0" y="24"/>
                        </a:cxn>
                        <a:cxn ang="0">
                          <a:pos x="0" y="18"/>
                        </a:cxn>
                        <a:cxn ang="0">
                          <a:pos x="0" y="14"/>
                        </a:cxn>
                        <a:cxn ang="0">
                          <a:pos x="2" y="12"/>
                        </a:cxn>
                        <a:cxn ang="0">
                          <a:pos x="2" y="12"/>
                        </a:cxn>
                        <a:cxn ang="0">
                          <a:pos x="2" y="10"/>
                        </a:cxn>
                        <a:cxn ang="0">
                          <a:pos x="4" y="8"/>
                        </a:cxn>
                        <a:cxn ang="0">
                          <a:pos x="4" y="8"/>
                        </a:cxn>
                      </a:cxnLst>
                      <a:rect l="0" t="0" r="r" b="b"/>
                      <a:pathLst>
                        <a:path w="24" h="26">
                          <a:moveTo>
                            <a:pt x="4" y="8"/>
                          </a:moveTo>
                          <a:lnTo>
                            <a:pt x="4" y="8"/>
                          </a:lnTo>
                          <a:lnTo>
                            <a:pt x="8" y="6"/>
                          </a:lnTo>
                          <a:lnTo>
                            <a:pt x="10" y="6"/>
                          </a:lnTo>
                          <a:lnTo>
                            <a:pt x="10" y="6"/>
                          </a:lnTo>
                          <a:lnTo>
                            <a:pt x="20" y="0"/>
                          </a:lnTo>
                          <a:lnTo>
                            <a:pt x="20" y="0"/>
                          </a:lnTo>
                          <a:lnTo>
                            <a:pt x="24" y="0"/>
                          </a:lnTo>
                          <a:lnTo>
                            <a:pt x="24" y="0"/>
                          </a:lnTo>
                          <a:lnTo>
                            <a:pt x="22" y="2"/>
                          </a:lnTo>
                          <a:lnTo>
                            <a:pt x="22" y="2"/>
                          </a:lnTo>
                          <a:lnTo>
                            <a:pt x="18" y="6"/>
                          </a:lnTo>
                          <a:lnTo>
                            <a:pt x="16" y="6"/>
                          </a:lnTo>
                          <a:lnTo>
                            <a:pt x="18" y="6"/>
                          </a:lnTo>
                          <a:lnTo>
                            <a:pt x="18" y="6"/>
                          </a:lnTo>
                          <a:lnTo>
                            <a:pt x="22" y="4"/>
                          </a:lnTo>
                          <a:lnTo>
                            <a:pt x="24" y="4"/>
                          </a:lnTo>
                          <a:lnTo>
                            <a:pt x="24" y="4"/>
                          </a:lnTo>
                          <a:lnTo>
                            <a:pt x="24" y="4"/>
                          </a:lnTo>
                          <a:lnTo>
                            <a:pt x="24" y="10"/>
                          </a:lnTo>
                          <a:lnTo>
                            <a:pt x="22" y="14"/>
                          </a:lnTo>
                          <a:lnTo>
                            <a:pt x="22" y="14"/>
                          </a:lnTo>
                          <a:lnTo>
                            <a:pt x="20" y="18"/>
                          </a:lnTo>
                          <a:lnTo>
                            <a:pt x="20" y="22"/>
                          </a:lnTo>
                          <a:lnTo>
                            <a:pt x="20" y="22"/>
                          </a:lnTo>
                          <a:lnTo>
                            <a:pt x="20" y="24"/>
                          </a:lnTo>
                          <a:lnTo>
                            <a:pt x="18" y="26"/>
                          </a:lnTo>
                          <a:lnTo>
                            <a:pt x="14" y="26"/>
                          </a:lnTo>
                          <a:lnTo>
                            <a:pt x="14" y="26"/>
                          </a:lnTo>
                          <a:lnTo>
                            <a:pt x="12" y="26"/>
                          </a:lnTo>
                          <a:lnTo>
                            <a:pt x="10" y="26"/>
                          </a:lnTo>
                          <a:lnTo>
                            <a:pt x="8" y="26"/>
                          </a:lnTo>
                          <a:lnTo>
                            <a:pt x="8" y="26"/>
                          </a:lnTo>
                          <a:lnTo>
                            <a:pt x="8" y="20"/>
                          </a:lnTo>
                          <a:lnTo>
                            <a:pt x="10" y="16"/>
                          </a:lnTo>
                          <a:lnTo>
                            <a:pt x="10" y="16"/>
                          </a:lnTo>
                          <a:lnTo>
                            <a:pt x="10" y="16"/>
                          </a:lnTo>
                          <a:lnTo>
                            <a:pt x="8" y="16"/>
                          </a:lnTo>
                          <a:lnTo>
                            <a:pt x="6" y="22"/>
                          </a:lnTo>
                          <a:lnTo>
                            <a:pt x="6" y="22"/>
                          </a:lnTo>
                          <a:lnTo>
                            <a:pt x="2" y="26"/>
                          </a:lnTo>
                          <a:lnTo>
                            <a:pt x="0" y="26"/>
                          </a:lnTo>
                          <a:lnTo>
                            <a:pt x="0" y="24"/>
                          </a:lnTo>
                          <a:lnTo>
                            <a:pt x="0" y="24"/>
                          </a:lnTo>
                          <a:lnTo>
                            <a:pt x="0" y="18"/>
                          </a:lnTo>
                          <a:lnTo>
                            <a:pt x="0" y="14"/>
                          </a:lnTo>
                          <a:lnTo>
                            <a:pt x="2" y="12"/>
                          </a:lnTo>
                          <a:lnTo>
                            <a:pt x="2" y="12"/>
                          </a:lnTo>
                          <a:lnTo>
                            <a:pt x="2" y="10"/>
                          </a:lnTo>
                          <a:lnTo>
                            <a:pt x="4" y="8"/>
                          </a:lnTo>
                          <a:lnTo>
                            <a:pt x="4" y="8"/>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284" name="Group 283"/>
                  <p:cNvGrpSpPr/>
                  <p:nvPr/>
                </p:nvGrpSpPr>
                <p:grpSpPr>
                  <a:xfrm>
                    <a:off x="3043375" y="1172318"/>
                    <a:ext cx="1549198" cy="373285"/>
                    <a:chOff x="3043375" y="1172318"/>
                    <a:chExt cx="1549198" cy="373285"/>
                  </a:xfrm>
                  <a:grpFill/>
                </p:grpSpPr>
                <p:sp>
                  <p:nvSpPr>
                    <p:cNvPr id="285" name="Freeform 104"/>
                    <p:cNvSpPr>
                      <a:spLocks/>
                    </p:cNvSpPr>
                    <p:nvPr/>
                  </p:nvSpPr>
                  <p:spPr bwMode="auto">
                    <a:xfrm>
                      <a:off x="3778483" y="1302816"/>
                      <a:ext cx="580189" cy="242787"/>
                    </a:xfrm>
                    <a:custGeom>
                      <a:avLst/>
                      <a:gdLst/>
                      <a:ahLst/>
                      <a:cxnLst>
                        <a:cxn ang="0">
                          <a:pos x="88" y="136"/>
                        </a:cxn>
                        <a:cxn ang="0">
                          <a:pos x="102" y="130"/>
                        </a:cxn>
                        <a:cxn ang="0">
                          <a:pos x="128" y="132"/>
                        </a:cxn>
                        <a:cxn ang="0">
                          <a:pos x="134" y="130"/>
                        </a:cxn>
                        <a:cxn ang="0">
                          <a:pos x="172" y="144"/>
                        </a:cxn>
                        <a:cxn ang="0">
                          <a:pos x="198" y="154"/>
                        </a:cxn>
                        <a:cxn ang="0">
                          <a:pos x="224" y="158"/>
                        </a:cxn>
                        <a:cxn ang="0">
                          <a:pos x="256" y="154"/>
                        </a:cxn>
                        <a:cxn ang="0">
                          <a:pos x="240" y="142"/>
                        </a:cxn>
                        <a:cxn ang="0">
                          <a:pos x="254" y="134"/>
                        </a:cxn>
                        <a:cxn ang="0">
                          <a:pos x="280" y="136"/>
                        </a:cxn>
                        <a:cxn ang="0">
                          <a:pos x="274" y="120"/>
                        </a:cxn>
                        <a:cxn ang="0">
                          <a:pos x="254" y="108"/>
                        </a:cxn>
                        <a:cxn ang="0">
                          <a:pos x="260" y="94"/>
                        </a:cxn>
                        <a:cxn ang="0">
                          <a:pos x="282" y="102"/>
                        </a:cxn>
                        <a:cxn ang="0">
                          <a:pos x="294" y="104"/>
                        </a:cxn>
                        <a:cxn ang="0">
                          <a:pos x="308" y="116"/>
                        </a:cxn>
                        <a:cxn ang="0">
                          <a:pos x="318" y="106"/>
                        </a:cxn>
                        <a:cxn ang="0">
                          <a:pos x="332" y="102"/>
                        </a:cxn>
                        <a:cxn ang="0">
                          <a:pos x="344" y="92"/>
                        </a:cxn>
                        <a:cxn ang="0">
                          <a:pos x="374" y="88"/>
                        </a:cxn>
                        <a:cxn ang="0">
                          <a:pos x="372" y="74"/>
                        </a:cxn>
                        <a:cxn ang="0">
                          <a:pos x="348" y="74"/>
                        </a:cxn>
                        <a:cxn ang="0">
                          <a:pos x="334" y="66"/>
                        </a:cxn>
                        <a:cxn ang="0">
                          <a:pos x="326" y="60"/>
                        </a:cxn>
                        <a:cxn ang="0">
                          <a:pos x="310" y="54"/>
                        </a:cxn>
                        <a:cxn ang="0">
                          <a:pos x="306" y="38"/>
                        </a:cxn>
                        <a:cxn ang="0">
                          <a:pos x="294" y="32"/>
                        </a:cxn>
                        <a:cxn ang="0">
                          <a:pos x="278" y="24"/>
                        </a:cxn>
                        <a:cxn ang="0">
                          <a:pos x="238" y="12"/>
                        </a:cxn>
                        <a:cxn ang="0">
                          <a:pos x="210" y="24"/>
                        </a:cxn>
                        <a:cxn ang="0">
                          <a:pos x="196" y="12"/>
                        </a:cxn>
                        <a:cxn ang="0">
                          <a:pos x="166" y="24"/>
                        </a:cxn>
                        <a:cxn ang="0">
                          <a:pos x="168" y="6"/>
                        </a:cxn>
                        <a:cxn ang="0">
                          <a:pos x="110" y="6"/>
                        </a:cxn>
                        <a:cxn ang="0">
                          <a:pos x="80" y="20"/>
                        </a:cxn>
                        <a:cxn ang="0">
                          <a:pos x="62" y="32"/>
                        </a:cxn>
                        <a:cxn ang="0">
                          <a:pos x="86" y="4"/>
                        </a:cxn>
                        <a:cxn ang="0">
                          <a:pos x="20" y="18"/>
                        </a:cxn>
                        <a:cxn ang="0">
                          <a:pos x="2" y="32"/>
                        </a:cxn>
                        <a:cxn ang="0">
                          <a:pos x="50" y="40"/>
                        </a:cxn>
                        <a:cxn ang="0">
                          <a:pos x="82" y="40"/>
                        </a:cxn>
                        <a:cxn ang="0">
                          <a:pos x="96" y="48"/>
                        </a:cxn>
                        <a:cxn ang="0">
                          <a:pos x="116" y="50"/>
                        </a:cxn>
                        <a:cxn ang="0">
                          <a:pos x="124" y="44"/>
                        </a:cxn>
                        <a:cxn ang="0">
                          <a:pos x="148" y="38"/>
                        </a:cxn>
                        <a:cxn ang="0">
                          <a:pos x="168" y="46"/>
                        </a:cxn>
                        <a:cxn ang="0">
                          <a:pos x="178" y="56"/>
                        </a:cxn>
                        <a:cxn ang="0">
                          <a:pos x="198" y="58"/>
                        </a:cxn>
                        <a:cxn ang="0">
                          <a:pos x="212" y="76"/>
                        </a:cxn>
                        <a:cxn ang="0">
                          <a:pos x="202" y="92"/>
                        </a:cxn>
                        <a:cxn ang="0">
                          <a:pos x="230" y="94"/>
                        </a:cxn>
                        <a:cxn ang="0">
                          <a:pos x="192" y="108"/>
                        </a:cxn>
                        <a:cxn ang="0">
                          <a:pos x="172" y="90"/>
                        </a:cxn>
                        <a:cxn ang="0">
                          <a:pos x="172" y="106"/>
                        </a:cxn>
                        <a:cxn ang="0">
                          <a:pos x="140" y="108"/>
                        </a:cxn>
                        <a:cxn ang="0">
                          <a:pos x="110" y="108"/>
                        </a:cxn>
                        <a:cxn ang="0">
                          <a:pos x="84" y="114"/>
                        </a:cxn>
                      </a:cxnLst>
                      <a:rect l="0" t="0" r="r" b="b"/>
                      <a:pathLst>
                        <a:path w="382" h="160">
                          <a:moveTo>
                            <a:pt x="78" y="124"/>
                          </a:moveTo>
                          <a:lnTo>
                            <a:pt x="78" y="124"/>
                          </a:lnTo>
                          <a:lnTo>
                            <a:pt x="78" y="128"/>
                          </a:lnTo>
                          <a:lnTo>
                            <a:pt x="78" y="128"/>
                          </a:lnTo>
                          <a:lnTo>
                            <a:pt x="80" y="130"/>
                          </a:lnTo>
                          <a:lnTo>
                            <a:pt x="80" y="132"/>
                          </a:lnTo>
                          <a:lnTo>
                            <a:pt x="80" y="132"/>
                          </a:lnTo>
                          <a:lnTo>
                            <a:pt x="78" y="134"/>
                          </a:lnTo>
                          <a:lnTo>
                            <a:pt x="80" y="134"/>
                          </a:lnTo>
                          <a:lnTo>
                            <a:pt x="88" y="136"/>
                          </a:lnTo>
                          <a:lnTo>
                            <a:pt x="88" y="136"/>
                          </a:lnTo>
                          <a:lnTo>
                            <a:pt x="94" y="136"/>
                          </a:lnTo>
                          <a:lnTo>
                            <a:pt x="98" y="136"/>
                          </a:lnTo>
                          <a:lnTo>
                            <a:pt x="96" y="134"/>
                          </a:lnTo>
                          <a:lnTo>
                            <a:pt x="96" y="134"/>
                          </a:lnTo>
                          <a:lnTo>
                            <a:pt x="96" y="132"/>
                          </a:lnTo>
                          <a:lnTo>
                            <a:pt x="100" y="132"/>
                          </a:lnTo>
                          <a:lnTo>
                            <a:pt x="102" y="132"/>
                          </a:lnTo>
                          <a:lnTo>
                            <a:pt x="102" y="132"/>
                          </a:lnTo>
                          <a:lnTo>
                            <a:pt x="102" y="132"/>
                          </a:lnTo>
                          <a:lnTo>
                            <a:pt x="100" y="130"/>
                          </a:lnTo>
                          <a:lnTo>
                            <a:pt x="102" y="130"/>
                          </a:lnTo>
                          <a:lnTo>
                            <a:pt x="106" y="132"/>
                          </a:lnTo>
                          <a:lnTo>
                            <a:pt x="110" y="132"/>
                          </a:lnTo>
                          <a:lnTo>
                            <a:pt x="110" y="130"/>
                          </a:lnTo>
                          <a:lnTo>
                            <a:pt x="110" y="130"/>
                          </a:lnTo>
                          <a:lnTo>
                            <a:pt x="110" y="130"/>
                          </a:lnTo>
                          <a:lnTo>
                            <a:pt x="108" y="128"/>
                          </a:lnTo>
                          <a:lnTo>
                            <a:pt x="110" y="128"/>
                          </a:lnTo>
                          <a:lnTo>
                            <a:pt x="118" y="132"/>
                          </a:lnTo>
                          <a:lnTo>
                            <a:pt x="126" y="134"/>
                          </a:lnTo>
                          <a:lnTo>
                            <a:pt x="128" y="134"/>
                          </a:lnTo>
                          <a:lnTo>
                            <a:pt x="128" y="132"/>
                          </a:lnTo>
                          <a:lnTo>
                            <a:pt x="128" y="132"/>
                          </a:lnTo>
                          <a:lnTo>
                            <a:pt x="122" y="124"/>
                          </a:lnTo>
                          <a:lnTo>
                            <a:pt x="120" y="122"/>
                          </a:lnTo>
                          <a:lnTo>
                            <a:pt x="122" y="122"/>
                          </a:lnTo>
                          <a:lnTo>
                            <a:pt x="122" y="122"/>
                          </a:lnTo>
                          <a:lnTo>
                            <a:pt x="128" y="128"/>
                          </a:lnTo>
                          <a:lnTo>
                            <a:pt x="132" y="128"/>
                          </a:lnTo>
                          <a:lnTo>
                            <a:pt x="136" y="128"/>
                          </a:lnTo>
                          <a:lnTo>
                            <a:pt x="136" y="128"/>
                          </a:lnTo>
                          <a:lnTo>
                            <a:pt x="138" y="128"/>
                          </a:lnTo>
                          <a:lnTo>
                            <a:pt x="134" y="130"/>
                          </a:lnTo>
                          <a:lnTo>
                            <a:pt x="132" y="134"/>
                          </a:lnTo>
                          <a:lnTo>
                            <a:pt x="132" y="134"/>
                          </a:lnTo>
                          <a:lnTo>
                            <a:pt x="136" y="136"/>
                          </a:lnTo>
                          <a:lnTo>
                            <a:pt x="136" y="136"/>
                          </a:lnTo>
                          <a:lnTo>
                            <a:pt x="148" y="138"/>
                          </a:lnTo>
                          <a:lnTo>
                            <a:pt x="154" y="140"/>
                          </a:lnTo>
                          <a:lnTo>
                            <a:pt x="158" y="142"/>
                          </a:lnTo>
                          <a:lnTo>
                            <a:pt x="158" y="142"/>
                          </a:lnTo>
                          <a:lnTo>
                            <a:pt x="166" y="146"/>
                          </a:lnTo>
                          <a:lnTo>
                            <a:pt x="168" y="146"/>
                          </a:lnTo>
                          <a:lnTo>
                            <a:pt x="172" y="144"/>
                          </a:lnTo>
                          <a:lnTo>
                            <a:pt x="172" y="144"/>
                          </a:lnTo>
                          <a:lnTo>
                            <a:pt x="172" y="144"/>
                          </a:lnTo>
                          <a:lnTo>
                            <a:pt x="172" y="146"/>
                          </a:lnTo>
                          <a:lnTo>
                            <a:pt x="174" y="150"/>
                          </a:lnTo>
                          <a:lnTo>
                            <a:pt x="178" y="152"/>
                          </a:lnTo>
                          <a:lnTo>
                            <a:pt x="178" y="152"/>
                          </a:lnTo>
                          <a:lnTo>
                            <a:pt x="184" y="152"/>
                          </a:lnTo>
                          <a:lnTo>
                            <a:pt x="190" y="154"/>
                          </a:lnTo>
                          <a:lnTo>
                            <a:pt x="196" y="156"/>
                          </a:lnTo>
                          <a:lnTo>
                            <a:pt x="198" y="154"/>
                          </a:lnTo>
                          <a:lnTo>
                            <a:pt x="198" y="154"/>
                          </a:lnTo>
                          <a:lnTo>
                            <a:pt x="200" y="148"/>
                          </a:lnTo>
                          <a:lnTo>
                            <a:pt x="200" y="148"/>
                          </a:lnTo>
                          <a:lnTo>
                            <a:pt x="202" y="150"/>
                          </a:lnTo>
                          <a:lnTo>
                            <a:pt x="204" y="152"/>
                          </a:lnTo>
                          <a:lnTo>
                            <a:pt x="204" y="152"/>
                          </a:lnTo>
                          <a:lnTo>
                            <a:pt x="210" y="150"/>
                          </a:lnTo>
                          <a:lnTo>
                            <a:pt x="212" y="150"/>
                          </a:lnTo>
                          <a:lnTo>
                            <a:pt x="212" y="152"/>
                          </a:lnTo>
                          <a:lnTo>
                            <a:pt x="212" y="152"/>
                          </a:lnTo>
                          <a:lnTo>
                            <a:pt x="218" y="154"/>
                          </a:lnTo>
                          <a:lnTo>
                            <a:pt x="224" y="158"/>
                          </a:lnTo>
                          <a:lnTo>
                            <a:pt x="234" y="160"/>
                          </a:lnTo>
                          <a:lnTo>
                            <a:pt x="240" y="158"/>
                          </a:lnTo>
                          <a:lnTo>
                            <a:pt x="240" y="158"/>
                          </a:lnTo>
                          <a:lnTo>
                            <a:pt x="244" y="158"/>
                          </a:lnTo>
                          <a:lnTo>
                            <a:pt x="248" y="158"/>
                          </a:lnTo>
                          <a:lnTo>
                            <a:pt x="252" y="160"/>
                          </a:lnTo>
                          <a:lnTo>
                            <a:pt x="258" y="160"/>
                          </a:lnTo>
                          <a:lnTo>
                            <a:pt x="258" y="160"/>
                          </a:lnTo>
                          <a:lnTo>
                            <a:pt x="258" y="158"/>
                          </a:lnTo>
                          <a:lnTo>
                            <a:pt x="258" y="156"/>
                          </a:lnTo>
                          <a:lnTo>
                            <a:pt x="256" y="154"/>
                          </a:lnTo>
                          <a:lnTo>
                            <a:pt x="256" y="152"/>
                          </a:lnTo>
                          <a:lnTo>
                            <a:pt x="256" y="152"/>
                          </a:lnTo>
                          <a:lnTo>
                            <a:pt x="258" y="152"/>
                          </a:lnTo>
                          <a:lnTo>
                            <a:pt x="260" y="150"/>
                          </a:lnTo>
                          <a:lnTo>
                            <a:pt x="252" y="148"/>
                          </a:lnTo>
                          <a:lnTo>
                            <a:pt x="252" y="148"/>
                          </a:lnTo>
                          <a:lnTo>
                            <a:pt x="248" y="148"/>
                          </a:lnTo>
                          <a:lnTo>
                            <a:pt x="246" y="146"/>
                          </a:lnTo>
                          <a:lnTo>
                            <a:pt x="246" y="142"/>
                          </a:lnTo>
                          <a:lnTo>
                            <a:pt x="240" y="142"/>
                          </a:lnTo>
                          <a:lnTo>
                            <a:pt x="240" y="142"/>
                          </a:lnTo>
                          <a:lnTo>
                            <a:pt x="238" y="140"/>
                          </a:lnTo>
                          <a:lnTo>
                            <a:pt x="238" y="138"/>
                          </a:lnTo>
                          <a:lnTo>
                            <a:pt x="234" y="136"/>
                          </a:lnTo>
                          <a:lnTo>
                            <a:pt x="226" y="132"/>
                          </a:lnTo>
                          <a:lnTo>
                            <a:pt x="226" y="132"/>
                          </a:lnTo>
                          <a:lnTo>
                            <a:pt x="244" y="136"/>
                          </a:lnTo>
                          <a:lnTo>
                            <a:pt x="248" y="136"/>
                          </a:lnTo>
                          <a:lnTo>
                            <a:pt x="252" y="134"/>
                          </a:lnTo>
                          <a:lnTo>
                            <a:pt x="252" y="134"/>
                          </a:lnTo>
                          <a:lnTo>
                            <a:pt x="252" y="134"/>
                          </a:lnTo>
                          <a:lnTo>
                            <a:pt x="254" y="134"/>
                          </a:lnTo>
                          <a:lnTo>
                            <a:pt x="258" y="136"/>
                          </a:lnTo>
                          <a:lnTo>
                            <a:pt x="262" y="140"/>
                          </a:lnTo>
                          <a:lnTo>
                            <a:pt x="264" y="140"/>
                          </a:lnTo>
                          <a:lnTo>
                            <a:pt x="264" y="138"/>
                          </a:lnTo>
                          <a:lnTo>
                            <a:pt x="264" y="138"/>
                          </a:lnTo>
                          <a:lnTo>
                            <a:pt x="268" y="138"/>
                          </a:lnTo>
                          <a:lnTo>
                            <a:pt x="270" y="138"/>
                          </a:lnTo>
                          <a:lnTo>
                            <a:pt x="274" y="140"/>
                          </a:lnTo>
                          <a:lnTo>
                            <a:pt x="276" y="138"/>
                          </a:lnTo>
                          <a:lnTo>
                            <a:pt x="276" y="138"/>
                          </a:lnTo>
                          <a:lnTo>
                            <a:pt x="280" y="136"/>
                          </a:lnTo>
                          <a:lnTo>
                            <a:pt x="276" y="134"/>
                          </a:lnTo>
                          <a:lnTo>
                            <a:pt x="276" y="134"/>
                          </a:lnTo>
                          <a:lnTo>
                            <a:pt x="276" y="132"/>
                          </a:lnTo>
                          <a:lnTo>
                            <a:pt x="278" y="130"/>
                          </a:lnTo>
                          <a:lnTo>
                            <a:pt x="278" y="128"/>
                          </a:lnTo>
                          <a:lnTo>
                            <a:pt x="276" y="126"/>
                          </a:lnTo>
                          <a:lnTo>
                            <a:pt x="276" y="126"/>
                          </a:lnTo>
                          <a:lnTo>
                            <a:pt x="274" y="124"/>
                          </a:lnTo>
                          <a:lnTo>
                            <a:pt x="276" y="122"/>
                          </a:lnTo>
                          <a:lnTo>
                            <a:pt x="278" y="122"/>
                          </a:lnTo>
                          <a:lnTo>
                            <a:pt x="274" y="120"/>
                          </a:lnTo>
                          <a:lnTo>
                            <a:pt x="274" y="120"/>
                          </a:lnTo>
                          <a:lnTo>
                            <a:pt x="268" y="118"/>
                          </a:lnTo>
                          <a:lnTo>
                            <a:pt x="266" y="114"/>
                          </a:lnTo>
                          <a:lnTo>
                            <a:pt x="264" y="112"/>
                          </a:lnTo>
                          <a:lnTo>
                            <a:pt x="260" y="112"/>
                          </a:lnTo>
                          <a:lnTo>
                            <a:pt x="260" y="112"/>
                          </a:lnTo>
                          <a:lnTo>
                            <a:pt x="254" y="112"/>
                          </a:lnTo>
                          <a:lnTo>
                            <a:pt x="252" y="112"/>
                          </a:lnTo>
                          <a:lnTo>
                            <a:pt x="252" y="110"/>
                          </a:lnTo>
                          <a:lnTo>
                            <a:pt x="254" y="108"/>
                          </a:lnTo>
                          <a:lnTo>
                            <a:pt x="254" y="108"/>
                          </a:lnTo>
                          <a:lnTo>
                            <a:pt x="254" y="108"/>
                          </a:lnTo>
                          <a:lnTo>
                            <a:pt x="254" y="106"/>
                          </a:lnTo>
                          <a:lnTo>
                            <a:pt x="254" y="104"/>
                          </a:lnTo>
                          <a:lnTo>
                            <a:pt x="252" y="100"/>
                          </a:lnTo>
                          <a:lnTo>
                            <a:pt x="256" y="102"/>
                          </a:lnTo>
                          <a:lnTo>
                            <a:pt x="256" y="102"/>
                          </a:lnTo>
                          <a:lnTo>
                            <a:pt x="260" y="102"/>
                          </a:lnTo>
                          <a:lnTo>
                            <a:pt x="262" y="102"/>
                          </a:lnTo>
                          <a:lnTo>
                            <a:pt x="262" y="100"/>
                          </a:lnTo>
                          <a:lnTo>
                            <a:pt x="262" y="98"/>
                          </a:lnTo>
                          <a:lnTo>
                            <a:pt x="260" y="94"/>
                          </a:lnTo>
                          <a:lnTo>
                            <a:pt x="260" y="94"/>
                          </a:lnTo>
                          <a:lnTo>
                            <a:pt x="260" y="94"/>
                          </a:lnTo>
                          <a:lnTo>
                            <a:pt x="260" y="94"/>
                          </a:lnTo>
                          <a:lnTo>
                            <a:pt x="266" y="98"/>
                          </a:lnTo>
                          <a:lnTo>
                            <a:pt x="270" y="98"/>
                          </a:lnTo>
                          <a:lnTo>
                            <a:pt x="270" y="98"/>
                          </a:lnTo>
                          <a:lnTo>
                            <a:pt x="278" y="96"/>
                          </a:lnTo>
                          <a:lnTo>
                            <a:pt x="280" y="98"/>
                          </a:lnTo>
                          <a:lnTo>
                            <a:pt x="282" y="100"/>
                          </a:lnTo>
                          <a:lnTo>
                            <a:pt x="282" y="100"/>
                          </a:lnTo>
                          <a:lnTo>
                            <a:pt x="282" y="102"/>
                          </a:lnTo>
                          <a:lnTo>
                            <a:pt x="284" y="102"/>
                          </a:lnTo>
                          <a:lnTo>
                            <a:pt x="286" y="102"/>
                          </a:lnTo>
                          <a:lnTo>
                            <a:pt x="288" y="102"/>
                          </a:lnTo>
                          <a:lnTo>
                            <a:pt x="288" y="102"/>
                          </a:lnTo>
                          <a:lnTo>
                            <a:pt x="288" y="102"/>
                          </a:lnTo>
                          <a:lnTo>
                            <a:pt x="290" y="102"/>
                          </a:lnTo>
                          <a:lnTo>
                            <a:pt x="296" y="96"/>
                          </a:lnTo>
                          <a:lnTo>
                            <a:pt x="296" y="96"/>
                          </a:lnTo>
                          <a:lnTo>
                            <a:pt x="296" y="96"/>
                          </a:lnTo>
                          <a:lnTo>
                            <a:pt x="296" y="100"/>
                          </a:lnTo>
                          <a:lnTo>
                            <a:pt x="294" y="104"/>
                          </a:lnTo>
                          <a:lnTo>
                            <a:pt x="296" y="106"/>
                          </a:lnTo>
                          <a:lnTo>
                            <a:pt x="298" y="106"/>
                          </a:lnTo>
                          <a:lnTo>
                            <a:pt x="298" y="106"/>
                          </a:lnTo>
                          <a:lnTo>
                            <a:pt x="300" y="108"/>
                          </a:lnTo>
                          <a:lnTo>
                            <a:pt x="302" y="110"/>
                          </a:lnTo>
                          <a:lnTo>
                            <a:pt x="302" y="110"/>
                          </a:lnTo>
                          <a:lnTo>
                            <a:pt x="304" y="110"/>
                          </a:lnTo>
                          <a:lnTo>
                            <a:pt x="304" y="110"/>
                          </a:lnTo>
                          <a:lnTo>
                            <a:pt x="306" y="110"/>
                          </a:lnTo>
                          <a:lnTo>
                            <a:pt x="306" y="114"/>
                          </a:lnTo>
                          <a:lnTo>
                            <a:pt x="308" y="116"/>
                          </a:lnTo>
                          <a:lnTo>
                            <a:pt x="312" y="118"/>
                          </a:lnTo>
                          <a:lnTo>
                            <a:pt x="312" y="118"/>
                          </a:lnTo>
                          <a:lnTo>
                            <a:pt x="316" y="116"/>
                          </a:lnTo>
                          <a:lnTo>
                            <a:pt x="316" y="114"/>
                          </a:lnTo>
                          <a:lnTo>
                            <a:pt x="314" y="108"/>
                          </a:lnTo>
                          <a:lnTo>
                            <a:pt x="314" y="108"/>
                          </a:lnTo>
                          <a:lnTo>
                            <a:pt x="312" y="108"/>
                          </a:lnTo>
                          <a:lnTo>
                            <a:pt x="314" y="108"/>
                          </a:lnTo>
                          <a:lnTo>
                            <a:pt x="316" y="108"/>
                          </a:lnTo>
                          <a:lnTo>
                            <a:pt x="320" y="108"/>
                          </a:lnTo>
                          <a:lnTo>
                            <a:pt x="318" y="106"/>
                          </a:lnTo>
                          <a:lnTo>
                            <a:pt x="318" y="106"/>
                          </a:lnTo>
                          <a:lnTo>
                            <a:pt x="318" y="104"/>
                          </a:lnTo>
                          <a:lnTo>
                            <a:pt x="320" y="106"/>
                          </a:lnTo>
                          <a:lnTo>
                            <a:pt x="324" y="106"/>
                          </a:lnTo>
                          <a:lnTo>
                            <a:pt x="324" y="106"/>
                          </a:lnTo>
                          <a:lnTo>
                            <a:pt x="322" y="102"/>
                          </a:lnTo>
                          <a:lnTo>
                            <a:pt x="322" y="102"/>
                          </a:lnTo>
                          <a:lnTo>
                            <a:pt x="322" y="100"/>
                          </a:lnTo>
                          <a:lnTo>
                            <a:pt x="322" y="98"/>
                          </a:lnTo>
                          <a:lnTo>
                            <a:pt x="328" y="100"/>
                          </a:lnTo>
                          <a:lnTo>
                            <a:pt x="332" y="102"/>
                          </a:lnTo>
                          <a:lnTo>
                            <a:pt x="334" y="102"/>
                          </a:lnTo>
                          <a:lnTo>
                            <a:pt x="334" y="100"/>
                          </a:lnTo>
                          <a:lnTo>
                            <a:pt x="334" y="100"/>
                          </a:lnTo>
                          <a:lnTo>
                            <a:pt x="334" y="98"/>
                          </a:lnTo>
                          <a:lnTo>
                            <a:pt x="336" y="96"/>
                          </a:lnTo>
                          <a:lnTo>
                            <a:pt x="340" y="96"/>
                          </a:lnTo>
                          <a:lnTo>
                            <a:pt x="344" y="96"/>
                          </a:lnTo>
                          <a:lnTo>
                            <a:pt x="346" y="96"/>
                          </a:lnTo>
                          <a:lnTo>
                            <a:pt x="344" y="94"/>
                          </a:lnTo>
                          <a:lnTo>
                            <a:pt x="344" y="94"/>
                          </a:lnTo>
                          <a:lnTo>
                            <a:pt x="344" y="92"/>
                          </a:lnTo>
                          <a:lnTo>
                            <a:pt x="346" y="90"/>
                          </a:lnTo>
                          <a:lnTo>
                            <a:pt x="352" y="92"/>
                          </a:lnTo>
                          <a:lnTo>
                            <a:pt x="356" y="92"/>
                          </a:lnTo>
                          <a:lnTo>
                            <a:pt x="358" y="92"/>
                          </a:lnTo>
                          <a:lnTo>
                            <a:pt x="358" y="90"/>
                          </a:lnTo>
                          <a:lnTo>
                            <a:pt x="358" y="90"/>
                          </a:lnTo>
                          <a:lnTo>
                            <a:pt x="358" y="88"/>
                          </a:lnTo>
                          <a:lnTo>
                            <a:pt x="360" y="88"/>
                          </a:lnTo>
                          <a:lnTo>
                            <a:pt x="366" y="88"/>
                          </a:lnTo>
                          <a:lnTo>
                            <a:pt x="372" y="90"/>
                          </a:lnTo>
                          <a:lnTo>
                            <a:pt x="374" y="88"/>
                          </a:lnTo>
                          <a:lnTo>
                            <a:pt x="374" y="88"/>
                          </a:lnTo>
                          <a:lnTo>
                            <a:pt x="374" y="88"/>
                          </a:lnTo>
                          <a:lnTo>
                            <a:pt x="372" y="84"/>
                          </a:lnTo>
                          <a:lnTo>
                            <a:pt x="374" y="84"/>
                          </a:lnTo>
                          <a:lnTo>
                            <a:pt x="378" y="82"/>
                          </a:lnTo>
                          <a:lnTo>
                            <a:pt x="382" y="82"/>
                          </a:lnTo>
                          <a:lnTo>
                            <a:pt x="380" y="82"/>
                          </a:lnTo>
                          <a:lnTo>
                            <a:pt x="380" y="82"/>
                          </a:lnTo>
                          <a:lnTo>
                            <a:pt x="374" y="78"/>
                          </a:lnTo>
                          <a:lnTo>
                            <a:pt x="372" y="76"/>
                          </a:lnTo>
                          <a:lnTo>
                            <a:pt x="372" y="74"/>
                          </a:lnTo>
                          <a:lnTo>
                            <a:pt x="368" y="76"/>
                          </a:lnTo>
                          <a:lnTo>
                            <a:pt x="368" y="76"/>
                          </a:lnTo>
                          <a:lnTo>
                            <a:pt x="358" y="80"/>
                          </a:lnTo>
                          <a:lnTo>
                            <a:pt x="358" y="80"/>
                          </a:lnTo>
                          <a:lnTo>
                            <a:pt x="358" y="78"/>
                          </a:lnTo>
                          <a:lnTo>
                            <a:pt x="358" y="78"/>
                          </a:lnTo>
                          <a:lnTo>
                            <a:pt x="356" y="74"/>
                          </a:lnTo>
                          <a:lnTo>
                            <a:pt x="354" y="74"/>
                          </a:lnTo>
                          <a:lnTo>
                            <a:pt x="352" y="74"/>
                          </a:lnTo>
                          <a:lnTo>
                            <a:pt x="352" y="74"/>
                          </a:lnTo>
                          <a:lnTo>
                            <a:pt x="348" y="74"/>
                          </a:lnTo>
                          <a:lnTo>
                            <a:pt x="348" y="72"/>
                          </a:lnTo>
                          <a:lnTo>
                            <a:pt x="346" y="70"/>
                          </a:lnTo>
                          <a:lnTo>
                            <a:pt x="344" y="72"/>
                          </a:lnTo>
                          <a:lnTo>
                            <a:pt x="344" y="72"/>
                          </a:lnTo>
                          <a:lnTo>
                            <a:pt x="340" y="72"/>
                          </a:lnTo>
                          <a:lnTo>
                            <a:pt x="338" y="70"/>
                          </a:lnTo>
                          <a:lnTo>
                            <a:pt x="338" y="68"/>
                          </a:lnTo>
                          <a:lnTo>
                            <a:pt x="336" y="68"/>
                          </a:lnTo>
                          <a:lnTo>
                            <a:pt x="336" y="68"/>
                          </a:lnTo>
                          <a:lnTo>
                            <a:pt x="334" y="68"/>
                          </a:lnTo>
                          <a:lnTo>
                            <a:pt x="334" y="66"/>
                          </a:lnTo>
                          <a:lnTo>
                            <a:pt x="334" y="64"/>
                          </a:lnTo>
                          <a:lnTo>
                            <a:pt x="328" y="64"/>
                          </a:lnTo>
                          <a:lnTo>
                            <a:pt x="328" y="64"/>
                          </a:lnTo>
                          <a:lnTo>
                            <a:pt x="322" y="66"/>
                          </a:lnTo>
                          <a:lnTo>
                            <a:pt x="320" y="64"/>
                          </a:lnTo>
                          <a:lnTo>
                            <a:pt x="318" y="64"/>
                          </a:lnTo>
                          <a:lnTo>
                            <a:pt x="312" y="64"/>
                          </a:lnTo>
                          <a:lnTo>
                            <a:pt x="312" y="64"/>
                          </a:lnTo>
                          <a:lnTo>
                            <a:pt x="318" y="62"/>
                          </a:lnTo>
                          <a:lnTo>
                            <a:pt x="322" y="62"/>
                          </a:lnTo>
                          <a:lnTo>
                            <a:pt x="326" y="60"/>
                          </a:lnTo>
                          <a:lnTo>
                            <a:pt x="326" y="58"/>
                          </a:lnTo>
                          <a:lnTo>
                            <a:pt x="326" y="58"/>
                          </a:lnTo>
                          <a:lnTo>
                            <a:pt x="326" y="58"/>
                          </a:lnTo>
                          <a:lnTo>
                            <a:pt x="320" y="56"/>
                          </a:lnTo>
                          <a:lnTo>
                            <a:pt x="312" y="56"/>
                          </a:lnTo>
                          <a:lnTo>
                            <a:pt x="304" y="58"/>
                          </a:lnTo>
                          <a:lnTo>
                            <a:pt x="298" y="58"/>
                          </a:lnTo>
                          <a:lnTo>
                            <a:pt x="298" y="58"/>
                          </a:lnTo>
                          <a:lnTo>
                            <a:pt x="298" y="56"/>
                          </a:lnTo>
                          <a:lnTo>
                            <a:pt x="300" y="56"/>
                          </a:lnTo>
                          <a:lnTo>
                            <a:pt x="310" y="54"/>
                          </a:lnTo>
                          <a:lnTo>
                            <a:pt x="320" y="52"/>
                          </a:lnTo>
                          <a:lnTo>
                            <a:pt x="322" y="50"/>
                          </a:lnTo>
                          <a:lnTo>
                            <a:pt x="322" y="48"/>
                          </a:lnTo>
                          <a:lnTo>
                            <a:pt x="322" y="48"/>
                          </a:lnTo>
                          <a:lnTo>
                            <a:pt x="320" y="46"/>
                          </a:lnTo>
                          <a:lnTo>
                            <a:pt x="320" y="44"/>
                          </a:lnTo>
                          <a:lnTo>
                            <a:pt x="318" y="42"/>
                          </a:lnTo>
                          <a:lnTo>
                            <a:pt x="316" y="40"/>
                          </a:lnTo>
                          <a:lnTo>
                            <a:pt x="316" y="40"/>
                          </a:lnTo>
                          <a:lnTo>
                            <a:pt x="310" y="38"/>
                          </a:lnTo>
                          <a:lnTo>
                            <a:pt x="306" y="38"/>
                          </a:lnTo>
                          <a:lnTo>
                            <a:pt x="296" y="42"/>
                          </a:lnTo>
                          <a:lnTo>
                            <a:pt x="296" y="42"/>
                          </a:lnTo>
                          <a:lnTo>
                            <a:pt x="288" y="46"/>
                          </a:lnTo>
                          <a:lnTo>
                            <a:pt x="294" y="42"/>
                          </a:lnTo>
                          <a:lnTo>
                            <a:pt x="294" y="42"/>
                          </a:lnTo>
                          <a:lnTo>
                            <a:pt x="304" y="36"/>
                          </a:lnTo>
                          <a:lnTo>
                            <a:pt x="306" y="34"/>
                          </a:lnTo>
                          <a:lnTo>
                            <a:pt x="306" y="34"/>
                          </a:lnTo>
                          <a:lnTo>
                            <a:pt x="306" y="34"/>
                          </a:lnTo>
                          <a:lnTo>
                            <a:pt x="298" y="32"/>
                          </a:lnTo>
                          <a:lnTo>
                            <a:pt x="294" y="32"/>
                          </a:lnTo>
                          <a:lnTo>
                            <a:pt x="290" y="34"/>
                          </a:lnTo>
                          <a:lnTo>
                            <a:pt x="290" y="34"/>
                          </a:lnTo>
                          <a:lnTo>
                            <a:pt x="288" y="34"/>
                          </a:lnTo>
                          <a:lnTo>
                            <a:pt x="286" y="34"/>
                          </a:lnTo>
                          <a:lnTo>
                            <a:pt x="286" y="30"/>
                          </a:lnTo>
                          <a:lnTo>
                            <a:pt x="286" y="26"/>
                          </a:lnTo>
                          <a:lnTo>
                            <a:pt x="286" y="24"/>
                          </a:lnTo>
                          <a:lnTo>
                            <a:pt x="284" y="26"/>
                          </a:lnTo>
                          <a:lnTo>
                            <a:pt x="284" y="26"/>
                          </a:lnTo>
                          <a:lnTo>
                            <a:pt x="280" y="26"/>
                          </a:lnTo>
                          <a:lnTo>
                            <a:pt x="278" y="24"/>
                          </a:lnTo>
                          <a:lnTo>
                            <a:pt x="274" y="22"/>
                          </a:lnTo>
                          <a:lnTo>
                            <a:pt x="264" y="22"/>
                          </a:lnTo>
                          <a:lnTo>
                            <a:pt x="264" y="22"/>
                          </a:lnTo>
                          <a:lnTo>
                            <a:pt x="260" y="22"/>
                          </a:lnTo>
                          <a:lnTo>
                            <a:pt x="256" y="22"/>
                          </a:lnTo>
                          <a:lnTo>
                            <a:pt x="252" y="20"/>
                          </a:lnTo>
                          <a:lnTo>
                            <a:pt x="248" y="20"/>
                          </a:lnTo>
                          <a:lnTo>
                            <a:pt x="248" y="20"/>
                          </a:lnTo>
                          <a:lnTo>
                            <a:pt x="244" y="18"/>
                          </a:lnTo>
                          <a:lnTo>
                            <a:pt x="242" y="14"/>
                          </a:lnTo>
                          <a:lnTo>
                            <a:pt x="238" y="12"/>
                          </a:lnTo>
                          <a:lnTo>
                            <a:pt x="230" y="10"/>
                          </a:lnTo>
                          <a:lnTo>
                            <a:pt x="230" y="10"/>
                          </a:lnTo>
                          <a:lnTo>
                            <a:pt x="212" y="12"/>
                          </a:lnTo>
                          <a:lnTo>
                            <a:pt x="208" y="12"/>
                          </a:lnTo>
                          <a:lnTo>
                            <a:pt x="208" y="14"/>
                          </a:lnTo>
                          <a:lnTo>
                            <a:pt x="212" y="18"/>
                          </a:lnTo>
                          <a:lnTo>
                            <a:pt x="212" y="18"/>
                          </a:lnTo>
                          <a:lnTo>
                            <a:pt x="216" y="20"/>
                          </a:lnTo>
                          <a:lnTo>
                            <a:pt x="212" y="20"/>
                          </a:lnTo>
                          <a:lnTo>
                            <a:pt x="210" y="22"/>
                          </a:lnTo>
                          <a:lnTo>
                            <a:pt x="210" y="24"/>
                          </a:lnTo>
                          <a:lnTo>
                            <a:pt x="214" y="26"/>
                          </a:lnTo>
                          <a:lnTo>
                            <a:pt x="214" y="26"/>
                          </a:lnTo>
                          <a:lnTo>
                            <a:pt x="212" y="26"/>
                          </a:lnTo>
                          <a:lnTo>
                            <a:pt x="206" y="20"/>
                          </a:lnTo>
                          <a:lnTo>
                            <a:pt x="202" y="20"/>
                          </a:lnTo>
                          <a:lnTo>
                            <a:pt x="202" y="20"/>
                          </a:lnTo>
                          <a:lnTo>
                            <a:pt x="202" y="20"/>
                          </a:lnTo>
                          <a:lnTo>
                            <a:pt x="200" y="20"/>
                          </a:lnTo>
                          <a:lnTo>
                            <a:pt x="200" y="20"/>
                          </a:lnTo>
                          <a:lnTo>
                            <a:pt x="198" y="14"/>
                          </a:lnTo>
                          <a:lnTo>
                            <a:pt x="196" y="12"/>
                          </a:lnTo>
                          <a:lnTo>
                            <a:pt x="194" y="12"/>
                          </a:lnTo>
                          <a:lnTo>
                            <a:pt x="190" y="14"/>
                          </a:lnTo>
                          <a:lnTo>
                            <a:pt x="190" y="14"/>
                          </a:lnTo>
                          <a:lnTo>
                            <a:pt x="186" y="18"/>
                          </a:lnTo>
                          <a:lnTo>
                            <a:pt x="184" y="16"/>
                          </a:lnTo>
                          <a:lnTo>
                            <a:pt x="182" y="14"/>
                          </a:lnTo>
                          <a:lnTo>
                            <a:pt x="178" y="16"/>
                          </a:lnTo>
                          <a:lnTo>
                            <a:pt x="178" y="16"/>
                          </a:lnTo>
                          <a:lnTo>
                            <a:pt x="174" y="22"/>
                          </a:lnTo>
                          <a:lnTo>
                            <a:pt x="168" y="24"/>
                          </a:lnTo>
                          <a:lnTo>
                            <a:pt x="166" y="24"/>
                          </a:lnTo>
                          <a:lnTo>
                            <a:pt x="166" y="22"/>
                          </a:lnTo>
                          <a:lnTo>
                            <a:pt x="166" y="22"/>
                          </a:lnTo>
                          <a:lnTo>
                            <a:pt x="172" y="14"/>
                          </a:lnTo>
                          <a:lnTo>
                            <a:pt x="172" y="12"/>
                          </a:lnTo>
                          <a:lnTo>
                            <a:pt x="168" y="12"/>
                          </a:lnTo>
                          <a:lnTo>
                            <a:pt x="168" y="12"/>
                          </a:lnTo>
                          <a:lnTo>
                            <a:pt x="166" y="12"/>
                          </a:lnTo>
                          <a:lnTo>
                            <a:pt x="166" y="10"/>
                          </a:lnTo>
                          <a:lnTo>
                            <a:pt x="168" y="8"/>
                          </a:lnTo>
                          <a:lnTo>
                            <a:pt x="168" y="6"/>
                          </a:lnTo>
                          <a:lnTo>
                            <a:pt x="168" y="6"/>
                          </a:lnTo>
                          <a:lnTo>
                            <a:pt x="166" y="4"/>
                          </a:lnTo>
                          <a:lnTo>
                            <a:pt x="164" y="2"/>
                          </a:lnTo>
                          <a:lnTo>
                            <a:pt x="164" y="0"/>
                          </a:lnTo>
                          <a:lnTo>
                            <a:pt x="162" y="0"/>
                          </a:lnTo>
                          <a:lnTo>
                            <a:pt x="162" y="0"/>
                          </a:lnTo>
                          <a:lnTo>
                            <a:pt x="148" y="0"/>
                          </a:lnTo>
                          <a:lnTo>
                            <a:pt x="138" y="2"/>
                          </a:lnTo>
                          <a:lnTo>
                            <a:pt x="130" y="2"/>
                          </a:lnTo>
                          <a:lnTo>
                            <a:pt x="130" y="2"/>
                          </a:lnTo>
                          <a:lnTo>
                            <a:pt x="118" y="4"/>
                          </a:lnTo>
                          <a:lnTo>
                            <a:pt x="110" y="6"/>
                          </a:lnTo>
                          <a:lnTo>
                            <a:pt x="110" y="6"/>
                          </a:lnTo>
                          <a:lnTo>
                            <a:pt x="104" y="8"/>
                          </a:lnTo>
                          <a:lnTo>
                            <a:pt x="96" y="10"/>
                          </a:lnTo>
                          <a:lnTo>
                            <a:pt x="92" y="10"/>
                          </a:lnTo>
                          <a:lnTo>
                            <a:pt x="96" y="12"/>
                          </a:lnTo>
                          <a:lnTo>
                            <a:pt x="96" y="12"/>
                          </a:lnTo>
                          <a:lnTo>
                            <a:pt x="94" y="12"/>
                          </a:lnTo>
                          <a:lnTo>
                            <a:pt x="86" y="14"/>
                          </a:lnTo>
                          <a:lnTo>
                            <a:pt x="82" y="16"/>
                          </a:lnTo>
                          <a:lnTo>
                            <a:pt x="80" y="18"/>
                          </a:lnTo>
                          <a:lnTo>
                            <a:pt x="80" y="20"/>
                          </a:lnTo>
                          <a:lnTo>
                            <a:pt x="86" y="22"/>
                          </a:lnTo>
                          <a:lnTo>
                            <a:pt x="86" y="22"/>
                          </a:lnTo>
                          <a:lnTo>
                            <a:pt x="88" y="24"/>
                          </a:lnTo>
                          <a:lnTo>
                            <a:pt x="88" y="24"/>
                          </a:lnTo>
                          <a:lnTo>
                            <a:pt x="78" y="24"/>
                          </a:lnTo>
                          <a:lnTo>
                            <a:pt x="74" y="26"/>
                          </a:lnTo>
                          <a:lnTo>
                            <a:pt x="68" y="28"/>
                          </a:lnTo>
                          <a:lnTo>
                            <a:pt x="66" y="30"/>
                          </a:lnTo>
                          <a:lnTo>
                            <a:pt x="66" y="34"/>
                          </a:lnTo>
                          <a:lnTo>
                            <a:pt x="66" y="34"/>
                          </a:lnTo>
                          <a:lnTo>
                            <a:pt x="62" y="32"/>
                          </a:lnTo>
                          <a:lnTo>
                            <a:pt x="62" y="28"/>
                          </a:lnTo>
                          <a:lnTo>
                            <a:pt x="62" y="24"/>
                          </a:lnTo>
                          <a:lnTo>
                            <a:pt x="68" y="20"/>
                          </a:lnTo>
                          <a:lnTo>
                            <a:pt x="68" y="20"/>
                          </a:lnTo>
                          <a:lnTo>
                            <a:pt x="72" y="18"/>
                          </a:lnTo>
                          <a:lnTo>
                            <a:pt x="74" y="16"/>
                          </a:lnTo>
                          <a:lnTo>
                            <a:pt x="76" y="12"/>
                          </a:lnTo>
                          <a:lnTo>
                            <a:pt x="80" y="10"/>
                          </a:lnTo>
                          <a:lnTo>
                            <a:pt x="80" y="10"/>
                          </a:lnTo>
                          <a:lnTo>
                            <a:pt x="84" y="8"/>
                          </a:lnTo>
                          <a:lnTo>
                            <a:pt x="86" y="4"/>
                          </a:lnTo>
                          <a:lnTo>
                            <a:pt x="84" y="2"/>
                          </a:lnTo>
                          <a:lnTo>
                            <a:pt x="76" y="2"/>
                          </a:lnTo>
                          <a:lnTo>
                            <a:pt x="76" y="2"/>
                          </a:lnTo>
                          <a:lnTo>
                            <a:pt x="58" y="2"/>
                          </a:lnTo>
                          <a:lnTo>
                            <a:pt x="44" y="4"/>
                          </a:lnTo>
                          <a:lnTo>
                            <a:pt x="44" y="4"/>
                          </a:lnTo>
                          <a:lnTo>
                            <a:pt x="38" y="6"/>
                          </a:lnTo>
                          <a:lnTo>
                            <a:pt x="30" y="10"/>
                          </a:lnTo>
                          <a:lnTo>
                            <a:pt x="30" y="10"/>
                          </a:lnTo>
                          <a:lnTo>
                            <a:pt x="24" y="16"/>
                          </a:lnTo>
                          <a:lnTo>
                            <a:pt x="20" y="18"/>
                          </a:lnTo>
                          <a:lnTo>
                            <a:pt x="12" y="22"/>
                          </a:lnTo>
                          <a:lnTo>
                            <a:pt x="12" y="22"/>
                          </a:lnTo>
                          <a:lnTo>
                            <a:pt x="8" y="22"/>
                          </a:lnTo>
                          <a:lnTo>
                            <a:pt x="6" y="24"/>
                          </a:lnTo>
                          <a:lnTo>
                            <a:pt x="6" y="26"/>
                          </a:lnTo>
                          <a:lnTo>
                            <a:pt x="8" y="28"/>
                          </a:lnTo>
                          <a:lnTo>
                            <a:pt x="10" y="30"/>
                          </a:lnTo>
                          <a:lnTo>
                            <a:pt x="10" y="30"/>
                          </a:lnTo>
                          <a:lnTo>
                            <a:pt x="8" y="32"/>
                          </a:lnTo>
                          <a:lnTo>
                            <a:pt x="8" y="32"/>
                          </a:lnTo>
                          <a:lnTo>
                            <a:pt x="2" y="32"/>
                          </a:lnTo>
                          <a:lnTo>
                            <a:pt x="0" y="34"/>
                          </a:lnTo>
                          <a:lnTo>
                            <a:pt x="2" y="38"/>
                          </a:lnTo>
                          <a:lnTo>
                            <a:pt x="4" y="40"/>
                          </a:lnTo>
                          <a:lnTo>
                            <a:pt x="14" y="44"/>
                          </a:lnTo>
                          <a:lnTo>
                            <a:pt x="20" y="46"/>
                          </a:lnTo>
                          <a:lnTo>
                            <a:pt x="26" y="46"/>
                          </a:lnTo>
                          <a:lnTo>
                            <a:pt x="26" y="46"/>
                          </a:lnTo>
                          <a:lnTo>
                            <a:pt x="38" y="44"/>
                          </a:lnTo>
                          <a:lnTo>
                            <a:pt x="44" y="42"/>
                          </a:lnTo>
                          <a:lnTo>
                            <a:pt x="44" y="42"/>
                          </a:lnTo>
                          <a:lnTo>
                            <a:pt x="50" y="40"/>
                          </a:lnTo>
                          <a:lnTo>
                            <a:pt x="52" y="42"/>
                          </a:lnTo>
                          <a:lnTo>
                            <a:pt x="54" y="42"/>
                          </a:lnTo>
                          <a:lnTo>
                            <a:pt x="58" y="44"/>
                          </a:lnTo>
                          <a:lnTo>
                            <a:pt x="58" y="44"/>
                          </a:lnTo>
                          <a:lnTo>
                            <a:pt x="66" y="44"/>
                          </a:lnTo>
                          <a:lnTo>
                            <a:pt x="70" y="46"/>
                          </a:lnTo>
                          <a:lnTo>
                            <a:pt x="74" y="44"/>
                          </a:lnTo>
                          <a:lnTo>
                            <a:pt x="74" y="44"/>
                          </a:lnTo>
                          <a:lnTo>
                            <a:pt x="78" y="40"/>
                          </a:lnTo>
                          <a:lnTo>
                            <a:pt x="82" y="40"/>
                          </a:lnTo>
                          <a:lnTo>
                            <a:pt x="82" y="40"/>
                          </a:lnTo>
                          <a:lnTo>
                            <a:pt x="78" y="44"/>
                          </a:lnTo>
                          <a:lnTo>
                            <a:pt x="78" y="44"/>
                          </a:lnTo>
                          <a:lnTo>
                            <a:pt x="82" y="46"/>
                          </a:lnTo>
                          <a:lnTo>
                            <a:pt x="82" y="46"/>
                          </a:lnTo>
                          <a:lnTo>
                            <a:pt x="86" y="46"/>
                          </a:lnTo>
                          <a:lnTo>
                            <a:pt x="86" y="46"/>
                          </a:lnTo>
                          <a:lnTo>
                            <a:pt x="88" y="46"/>
                          </a:lnTo>
                          <a:lnTo>
                            <a:pt x="90" y="46"/>
                          </a:lnTo>
                          <a:lnTo>
                            <a:pt x="90" y="46"/>
                          </a:lnTo>
                          <a:lnTo>
                            <a:pt x="94" y="46"/>
                          </a:lnTo>
                          <a:lnTo>
                            <a:pt x="96" y="48"/>
                          </a:lnTo>
                          <a:lnTo>
                            <a:pt x="100" y="50"/>
                          </a:lnTo>
                          <a:lnTo>
                            <a:pt x="102" y="50"/>
                          </a:lnTo>
                          <a:lnTo>
                            <a:pt x="102" y="50"/>
                          </a:lnTo>
                          <a:lnTo>
                            <a:pt x="104" y="48"/>
                          </a:lnTo>
                          <a:lnTo>
                            <a:pt x="104" y="44"/>
                          </a:lnTo>
                          <a:lnTo>
                            <a:pt x="104" y="42"/>
                          </a:lnTo>
                          <a:lnTo>
                            <a:pt x="106" y="44"/>
                          </a:lnTo>
                          <a:lnTo>
                            <a:pt x="106" y="44"/>
                          </a:lnTo>
                          <a:lnTo>
                            <a:pt x="110" y="46"/>
                          </a:lnTo>
                          <a:lnTo>
                            <a:pt x="112" y="50"/>
                          </a:lnTo>
                          <a:lnTo>
                            <a:pt x="116" y="50"/>
                          </a:lnTo>
                          <a:lnTo>
                            <a:pt x="120" y="50"/>
                          </a:lnTo>
                          <a:lnTo>
                            <a:pt x="120" y="50"/>
                          </a:lnTo>
                          <a:lnTo>
                            <a:pt x="122" y="50"/>
                          </a:lnTo>
                          <a:lnTo>
                            <a:pt x="122" y="48"/>
                          </a:lnTo>
                          <a:lnTo>
                            <a:pt x="118" y="46"/>
                          </a:lnTo>
                          <a:lnTo>
                            <a:pt x="114" y="44"/>
                          </a:lnTo>
                          <a:lnTo>
                            <a:pt x="114" y="42"/>
                          </a:lnTo>
                          <a:lnTo>
                            <a:pt x="114" y="42"/>
                          </a:lnTo>
                          <a:lnTo>
                            <a:pt x="114" y="42"/>
                          </a:lnTo>
                          <a:lnTo>
                            <a:pt x="120" y="42"/>
                          </a:lnTo>
                          <a:lnTo>
                            <a:pt x="124" y="44"/>
                          </a:lnTo>
                          <a:lnTo>
                            <a:pt x="128" y="46"/>
                          </a:lnTo>
                          <a:lnTo>
                            <a:pt x="132" y="46"/>
                          </a:lnTo>
                          <a:lnTo>
                            <a:pt x="132" y="46"/>
                          </a:lnTo>
                          <a:lnTo>
                            <a:pt x="136" y="44"/>
                          </a:lnTo>
                          <a:lnTo>
                            <a:pt x="138" y="40"/>
                          </a:lnTo>
                          <a:lnTo>
                            <a:pt x="138" y="38"/>
                          </a:lnTo>
                          <a:lnTo>
                            <a:pt x="132" y="34"/>
                          </a:lnTo>
                          <a:lnTo>
                            <a:pt x="132" y="34"/>
                          </a:lnTo>
                          <a:lnTo>
                            <a:pt x="144" y="40"/>
                          </a:lnTo>
                          <a:lnTo>
                            <a:pt x="146" y="40"/>
                          </a:lnTo>
                          <a:lnTo>
                            <a:pt x="148" y="38"/>
                          </a:lnTo>
                          <a:lnTo>
                            <a:pt x="148" y="38"/>
                          </a:lnTo>
                          <a:lnTo>
                            <a:pt x="148" y="36"/>
                          </a:lnTo>
                          <a:lnTo>
                            <a:pt x="148" y="38"/>
                          </a:lnTo>
                          <a:lnTo>
                            <a:pt x="150" y="40"/>
                          </a:lnTo>
                          <a:lnTo>
                            <a:pt x="154" y="40"/>
                          </a:lnTo>
                          <a:lnTo>
                            <a:pt x="154" y="40"/>
                          </a:lnTo>
                          <a:lnTo>
                            <a:pt x="160" y="42"/>
                          </a:lnTo>
                          <a:lnTo>
                            <a:pt x="162" y="44"/>
                          </a:lnTo>
                          <a:lnTo>
                            <a:pt x="164" y="46"/>
                          </a:lnTo>
                          <a:lnTo>
                            <a:pt x="168" y="46"/>
                          </a:lnTo>
                          <a:lnTo>
                            <a:pt x="168" y="46"/>
                          </a:lnTo>
                          <a:lnTo>
                            <a:pt x="172" y="46"/>
                          </a:lnTo>
                          <a:lnTo>
                            <a:pt x="172" y="48"/>
                          </a:lnTo>
                          <a:lnTo>
                            <a:pt x="172" y="50"/>
                          </a:lnTo>
                          <a:lnTo>
                            <a:pt x="176" y="50"/>
                          </a:lnTo>
                          <a:lnTo>
                            <a:pt x="176" y="50"/>
                          </a:lnTo>
                          <a:lnTo>
                            <a:pt x="180" y="50"/>
                          </a:lnTo>
                          <a:lnTo>
                            <a:pt x="184" y="52"/>
                          </a:lnTo>
                          <a:lnTo>
                            <a:pt x="186" y="54"/>
                          </a:lnTo>
                          <a:lnTo>
                            <a:pt x="182" y="54"/>
                          </a:lnTo>
                          <a:lnTo>
                            <a:pt x="182" y="54"/>
                          </a:lnTo>
                          <a:lnTo>
                            <a:pt x="178" y="56"/>
                          </a:lnTo>
                          <a:lnTo>
                            <a:pt x="174" y="58"/>
                          </a:lnTo>
                          <a:lnTo>
                            <a:pt x="174" y="60"/>
                          </a:lnTo>
                          <a:lnTo>
                            <a:pt x="178" y="62"/>
                          </a:lnTo>
                          <a:lnTo>
                            <a:pt x="178" y="62"/>
                          </a:lnTo>
                          <a:lnTo>
                            <a:pt x="184" y="62"/>
                          </a:lnTo>
                          <a:lnTo>
                            <a:pt x="184" y="60"/>
                          </a:lnTo>
                          <a:lnTo>
                            <a:pt x="186" y="58"/>
                          </a:lnTo>
                          <a:lnTo>
                            <a:pt x="188" y="56"/>
                          </a:lnTo>
                          <a:lnTo>
                            <a:pt x="188" y="56"/>
                          </a:lnTo>
                          <a:lnTo>
                            <a:pt x="196" y="58"/>
                          </a:lnTo>
                          <a:lnTo>
                            <a:pt x="198" y="58"/>
                          </a:lnTo>
                          <a:lnTo>
                            <a:pt x="200" y="60"/>
                          </a:lnTo>
                          <a:lnTo>
                            <a:pt x="200" y="60"/>
                          </a:lnTo>
                          <a:lnTo>
                            <a:pt x="204" y="60"/>
                          </a:lnTo>
                          <a:lnTo>
                            <a:pt x="206" y="62"/>
                          </a:lnTo>
                          <a:lnTo>
                            <a:pt x="210" y="62"/>
                          </a:lnTo>
                          <a:lnTo>
                            <a:pt x="210" y="64"/>
                          </a:lnTo>
                          <a:lnTo>
                            <a:pt x="210" y="64"/>
                          </a:lnTo>
                          <a:lnTo>
                            <a:pt x="212" y="68"/>
                          </a:lnTo>
                          <a:lnTo>
                            <a:pt x="214" y="72"/>
                          </a:lnTo>
                          <a:lnTo>
                            <a:pt x="214" y="74"/>
                          </a:lnTo>
                          <a:lnTo>
                            <a:pt x="212" y="76"/>
                          </a:lnTo>
                          <a:lnTo>
                            <a:pt x="212" y="76"/>
                          </a:lnTo>
                          <a:lnTo>
                            <a:pt x="202" y="78"/>
                          </a:lnTo>
                          <a:lnTo>
                            <a:pt x="194" y="82"/>
                          </a:lnTo>
                          <a:lnTo>
                            <a:pt x="194" y="82"/>
                          </a:lnTo>
                          <a:lnTo>
                            <a:pt x="182" y="86"/>
                          </a:lnTo>
                          <a:lnTo>
                            <a:pt x="178" y="88"/>
                          </a:lnTo>
                          <a:lnTo>
                            <a:pt x="182" y="88"/>
                          </a:lnTo>
                          <a:lnTo>
                            <a:pt x="182" y="88"/>
                          </a:lnTo>
                          <a:lnTo>
                            <a:pt x="192" y="92"/>
                          </a:lnTo>
                          <a:lnTo>
                            <a:pt x="198" y="94"/>
                          </a:lnTo>
                          <a:lnTo>
                            <a:pt x="202" y="92"/>
                          </a:lnTo>
                          <a:lnTo>
                            <a:pt x="202" y="92"/>
                          </a:lnTo>
                          <a:lnTo>
                            <a:pt x="212" y="86"/>
                          </a:lnTo>
                          <a:lnTo>
                            <a:pt x="214" y="84"/>
                          </a:lnTo>
                          <a:lnTo>
                            <a:pt x="216" y="86"/>
                          </a:lnTo>
                          <a:lnTo>
                            <a:pt x="216" y="86"/>
                          </a:lnTo>
                          <a:lnTo>
                            <a:pt x="216" y="90"/>
                          </a:lnTo>
                          <a:lnTo>
                            <a:pt x="216" y="92"/>
                          </a:lnTo>
                          <a:lnTo>
                            <a:pt x="220" y="94"/>
                          </a:lnTo>
                          <a:lnTo>
                            <a:pt x="226" y="94"/>
                          </a:lnTo>
                          <a:lnTo>
                            <a:pt x="226" y="94"/>
                          </a:lnTo>
                          <a:lnTo>
                            <a:pt x="230" y="94"/>
                          </a:lnTo>
                          <a:lnTo>
                            <a:pt x="230" y="96"/>
                          </a:lnTo>
                          <a:lnTo>
                            <a:pt x="220" y="98"/>
                          </a:lnTo>
                          <a:lnTo>
                            <a:pt x="220" y="98"/>
                          </a:lnTo>
                          <a:lnTo>
                            <a:pt x="214" y="100"/>
                          </a:lnTo>
                          <a:lnTo>
                            <a:pt x="212" y="100"/>
                          </a:lnTo>
                          <a:lnTo>
                            <a:pt x="208" y="100"/>
                          </a:lnTo>
                          <a:lnTo>
                            <a:pt x="202" y="104"/>
                          </a:lnTo>
                          <a:lnTo>
                            <a:pt x="202" y="104"/>
                          </a:lnTo>
                          <a:lnTo>
                            <a:pt x="194" y="110"/>
                          </a:lnTo>
                          <a:lnTo>
                            <a:pt x="192" y="110"/>
                          </a:lnTo>
                          <a:lnTo>
                            <a:pt x="192" y="108"/>
                          </a:lnTo>
                          <a:lnTo>
                            <a:pt x="192" y="108"/>
                          </a:lnTo>
                          <a:lnTo>
                            <a:pt x="192" y="104"/>
                          </a:lnTo>
                          <a:lnTo>
                            <a:pt x="196" y="100"/>
                          </a:lnTo>
                          <a:lnTo>
                            <a:pt x="196" y="100"/>
                          </a:lnTo>
                          <a:lnTo>
                            <a:pt x="198" y="98"/>
                          </a:lnTo>
                          <a:lnTo>
                            <a:pt x="198" y="96"/>
                          </a:lnTo>
                          <a:lnTo>
                            <a:pt x="192" y="94"/>
                          </a:lnTo>
                          <a:lnTo>
                            <a:pt x="192" y="94"/>
                          </a:lnTo>
                          <a:lnTo>
                            <a:pt x="182" y="92"/>
                          </a:lnTo>
                          <a:lnTo>
                            <a:pt x="176" y="90"/>
                          </a:lnTo>
                          <a:lnTo>
                            <a:pt x="172" y="90"/>
                          </a:lnTo>
                          <a:lnTo>
                            <a:pt x="172" y="90"/>
                          </a:lnTo>
                          <a:lnTo>
                            <a:pt x="164" y="92"/>
                          </a:lnTo>
                          <a:lnTo>
                            <a:pt x="160" y="94"/>
                          </a:lnTo>
                          <a:lnTo>
                            <a:pt x="158" y="96"/>
                          </a:lnTo>
                          <a:lnTo>
                            <a:pt x="158" y="96"/>
                          </a:lnTo>
                          <a:lnTo>
                            <a:pt x="158" y="98"/>
                          </a:lnTo>
                          <a:lnTo>
                            <a:pt x="160" y="98"/>
                          </a:lnTo>
                          <a:lnTo>
                            <a:pt x="164" y="100"/>
                          </a:lnTo>
                          <a:lnTo>
                            <a:pt x="170" y="104"/>
                          </a:lnTo>
                          <a:lnTo>
                            <a:pt x="172" y="106"/>
                          </a:lnTo>
                          <a:lnTo>
                            <a:pt x="172" y="106"/>
                          </a:lnTo>
                          <a:lnTo>
                            <a:pt x="158" y="102"/>
                          </a:lnTo>
                          <a:lnTo>
                            <a:pt x="154" y="102"/>
                          </a:lnTo>
                          <a:lnTo>
                            <a:pt x="154" y="104"/>
                          </a:lnTo>
                          <a:lnTo>
                            <a:pt x="154" y="104"/>
                          </a:lnTo>
                          <a:lnTo>
                            <a:pt x="154" y="104"/>
                          </a:lnTo>
                          <a:lnTo>
                            <a:pt x="154" y="106"/>
                          </a:lnTo>
                          <a:lnTo>
                            <a:pt x="152" y="106"/>
                          </a:lnTo>
                          <a:lnTo>
                            <a:pt x="146" y="106"/>
                          </a:lnTo>
                          <a:lnTo>
                            <a:pt x="140" y="106"/>
                          </a:lnTo>
                          <a:lnTo>
                            <a:pt x="140" y="106"/>
                          </a:lnTo>
                          <a:lnTo>
                            <a:pt x="140" y="108"/>
                          </a:lnTo>
                          <a:lnTo>
                            <a:pt x="140" y="108"/>
                          </a:lnTo>
                          <a:lnTo>
                            <a:pt x="142" y="108"/>
                          </a:lnTo>
                          <a:lnTo>
                            <a:pt x="140" y="108"/>
                          </a:lnTo>
                          <a:lnTo>
                            <a:pt x="132" y="108"/>
                          </a:lnTo>
                          <a:lnTo>
                            <a:pt x="124" y="108"/>
                          </a:lnTo>
                          <a:lnTo>
                            <a:pt x="122" y="108"/>
                          </a:lnTo>
                          <a:lnTo>
                            <a:pt x="124" y="108"/>
                          </a:lnTo>
                          <a:lnTo>
                            <a:pt x="124" y="108"/>
                          </a:lnTo>
                          <a:lnTo>
                            <a:pt x="124" y="110"/>
                          </a:lnTo>
                          <a:lnTo>
                            <a:pt x="122" y="110"/>
                          </a:lnTo>
                          <a:lnTo>
                            <a:pt x="110" y="108"/>
                          </a:lnTo>
                          <a:lnTo>
                            <a:pt x="98" y="106"/>
                          </a:lnTo>
                          <a:lnTo>
                            <a:pt x="96" y="108"/>
                          </a:lnTo>
                          <a:lnTo>
                            <a:pt x="98" y="110"/>
                          </a:lnTo>
                          <a:lnTo>
                            <a:pt x="98" y="110"/>
                          </a:lnTo>
                          <a:lnTo>
                            <a:pt x="102" y="112"/>
                          </a:lnTo>
                          <a:lnTo>
                            <a:pt x="100" y="112"/>
                          </a:lnTo>
                          <a:lnTo>
                            <a:pt x="92" y="112"/>
                          </a:lnTo>
                          <a:lnTo>
                            <a:pt x="82" y="112"/>
                          </a:lnTo>
                          <a:lnTo>
                            <a:pt x="80" y="112"/>
                          </a:lnTo>
                          <a:lnTo>
                            <a:pt x="84" y="114"/>
                          </a:lnTo>
                          <a:lnTo>
                            <a:pt x="84" y="114"/>
                          </a:lnTo>
                          <a:lnTo>
                            <a:pt x="88" y="116"/>
                          </a:lnTo>
                          <a:lnTo>
                            <a:pt x="86" y="116"/>
                          </a:lnTo>
                          <a:lnTo>
                            <a:pt x="82" y="118"/>
                          </a:lnTo>
                          <a:lnTo>
                            <a:pt x="80" y="120"/>
                          </a:lnTo>
                          <a:lnTo>
                            <a:pt x="78" y="124"/>
                          </a:lnTo>
                          <a:lnTo>
                            <a:pt x="78" y="124"/>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05"/>
                    <p:cNvSpPr>
                      <a:spLocks/>
                    </p:cNvSpPr>
                    <p:nvPr/>
                  </p:nvSpPr>
                  <p:spPr bwMode="auto">
                    <a:xfrm>
                      <a:off x="3134504" y="1308886"/>
                      <a:ext cx="364517" cy="88010"/>
                    </a:xfrm>
                    <a:custGeom>
                      <a:avLst/>
                      <a:gdLst/>
                      <a:ahLst/>
                      <a:cxnLst>
                        <a:cxn ang="0">
                          <a:pos x="2" y="46"/>
                        </a:cxn>
                        <a:cxn ang="0">
                          <a:pos x="24" y="48"/>
                        </a:cxn>
                        <a:cxn ang="0">
                          <a:pos x="24" y="54"/>
                        </a:cxn>
                        <a:cxn ang="0">
                          <a:pos x="32" y="58"/>
                        </a:cxn>
                        <a:cxn ang="0">
                          <a:pos x="66" y="56"/>
                        </a:cxn>
                        <a:cxn ang="0">
                          <a:pos x="84" y="56"/>
                        </a:cxn>
                        <a:cxn ang="0">
                          <a:pos x="102" y="52"/>
                        </a:cxn>
                        <a:cxn ang="0">
                          <a:pos x="112" y="50"/>
                        </a:cxn>
                        <a:cxn ang="0">
                          <a:pos x="136" y="46"/>
                        </a:cxn>
                        <a:cxn ang="0">
                          <a:pos x="140" y="38"/>
                        </a:cxn>
                        <a:cxn ang="0">
                          <a:pos x="146" y="46"/>
                        </a:cxn>
                        <a:cxn ang="0">
                          <a:pos x="160" y="48"/>
                        </a:cxn>
                        <a:cxn ang="0">
                          <a:pos x="180" y="52"/>
                        </a:cxn>
                        <a:cxn ang="0">
                          <a:pos x="196" y="58"/>
                        </a:cxn>
                        <a:cxn ang="0">
                          <a:pos x="214" y="56"/>
                        </a:cxn>
                        <a:cxn ang="0">
                          <a:pos x="218" y="52"/>
                        </a:cxn>
                        <a:cxn ang="0">
                          <a:pos x="196" y="46"/>
                        </a:cxn>
                        <a:cxn ang="0">
                          <a:pos x="214" y="44"/>
                        </a:cxn>
                        <a:cxn ang="0">
                          <a:pos x="214" y="38"/>
                        </a:cxn>
                        <a:cxn ang="0">
                          <a:pos x="232" y="40"/>
                        </a:cxn>
                        <a:cxn ang="0">
                          <a:pos x="236" y="32"/>
                        </a:cxn>
                        <a:cxn ang="0">
                          <a:pos x="218" y="24"/>
                        </a:cxn>
                        <a:cxn ang="0">
                          <a:pos x="218" y="14"/>
                        </a:cxn>
                        <a:cxn ang="0">
                          <a:pos x="216" y="10"/>
                        </a:cxn>
                        <a:cxn ang="0">
                          <a:pos x="202" y="0"/>
                        </a:cxn>
                        <a:cxn ang="0">
                          <a:pos x="196" y="0"/>
                        </a:cxn>
                        <a:cxn ang="0">
                          <a:pos x="192" y="6"/>
                        </a:cxn>
                        <a:cxn ang="0">
                          <a:pos x="190" y="10"/>
                        </a:cxn>
                        <a:cxn ang="0">
                          <a:pos x="188" y="14"/>
                        </a:cxn>
                        <a:cxn ang="0">
                          <a:pos x="186" y="18"/>
                        </a:cxn>
                        <a:cxn ang="0">
                          <a:pos x="174" y="18"/>
                        </a:cxn>
                        <a:cxn ang="0">
                          <a:pos x="172" y="18"/>
                        </a:cxn>
                        <a:cxn ang="0">
                          <a:pos x="184" y="6"/>
                        </a:cxn>
                        <a:cxn ang="0">
                          <a:pos x="164" y="2"/>
                        </a:cxn>
                        <a:cxn ang="0">
                          <a:pos x="168" y="6"/>
                        </a:cxn>
                        <a:cxn ang="0">
                          <a:pos x="158" y="8"/>
                        </a:cxn>
                        <a:cxn ang="0">
                          <a:pos x="154" y="8"/>
                        </a:cxn>
                        <a:cxn ang="0">
                          <a:pos x="148" y="10"/>
                        </a:cxn>
                        <a:cxn ang="0">
                          <a:pos x="140" y="8"/>
                        </a:cxn>
                        <a:cxn ang="0">
                          <a:pos x="140" y="2"/>
                        </a:cxn>
                        <a:cxn ang="0">
                          <a:pos x="122" y="2"/>
                        </a:cxn>
                        <a:cxn ang="0">
                          <a:pos x="114" y="4"/>
                        </a:cxn>
                        <a:cxn ang="0">
                          <a:pos x="102" y="0"/>
                        </a:cxn>
                        <a:cxn ang="0">
                          <a:pos x="58" y="6"/>
                        </a:cxn>
                        <a:cxn ang="0">
                          <a:pos x="56" y="12"/>
                        </a:cxn>
                        <a:cxn ang="0">
                          <a:pos x="26" y="18"/>
                        </a:cxn>
                        <a:cxn ang="0">
                          <a:pos x="34" y="20"/>
                        </a:cxn>
                        <a:cxn ang="0">
                          <a:pos x="50" y="20"/>
                        </a:cxn>
                        <a:cxn ang="0">
                          <a:pos x="20" y="24"/>
                        </a:cxn>
                        <a:cxn ang="0">
                          <a:pos x="20" y="30"/>
                        </a:cxn>
                        <a:cxn ang="0">
                          <a:pos x="30" y="34"/>
                        </a:cxn>
                        <a:cxn ang="0">
                          <a:pos x="56" y="32"/>
                        </a:cxn>
                        <a:cxn ang="0">
                          <a:pos x="62" y="36"/>
                        </a:cxn>
                        <a:cxn ang="0">
                          <a:pos x="42" y="38"/>
                        </a:cxn>
                        <a:cxn ang="0">
                          <a:pos x="4" y="42"/>
                        </a:cxn>
                      </a:cxnLst>
                      <a:rect l="0" t="0" r="r" b="b"/>
                      <a:pathLst>
                        <a:path w="240" h="58">
                          <a:moveTo>
                            <a:pt x="4" y="42"/>
                          </a:moveTo>
                          <a:lnTo>
                            <a:pt x="4" y="42"/>
                          </a:lnTo>
                          <a:lnTo>
                            <a:pt x="0" y="44"/>
                          </a:lnTo>
                          <a:lnTo>
                            <a:pt x="2" y="46"/>
                          </a:lnTo>
                          <a:lnTo>
                            <a:pt x="14" y="46"/>
                          </a:lnTo>
                          <a:lnTo>
                            <a:pt x="14" y="46"/>
                          </a:lnTo>
                          <a:lnTo>
                            <a:pt x="20" y="48"/>
                          </a:lnTo>
                          <a:lnTo>
                            <a:pt x="24" y="48"/>
                          </a:lnTo>
                          <a:lnTo>
                            <a:pt x="26" y="50"/>
                          </a:lnTo>
                          <a:lnTo>
                            <a:pt x="24" y="52"/>
                          </a:lnTo>
                          <a:lnTo>
                            <a:pt x="24" y="52"/>
                          </a:lnTo>
                          <a:lnTo>
                            <a:pt x="24" y="54"/>
                          </a:lnTo>
                          <a:lnTo>
                            <a:pt x="24" y="54"/>
                          </a:lnTo>
                          <a:lnTo>
                            <a:pt x="26" y="56"/>
                          </a:lnTo>
                          <a:lnTo>
                            <a:pt x="32" y="58"/>
                          </a:lnTo>
                          <a:lnTo>
                            <a:pt x="32" y="58"/>
                          </a:lnTo>
                          <a:lnTo>
                            <a:pt x="44" y="58"/>
                          </a:lnTo>
                          <a:lnTo>
                            <a:pt x="56" y="56"/>
                          </a:lnTo>
                          <a:lnTo>
                            <a:pt x="56" y="56"/>
                          </a:lnTo>
                          <a:lnTo>
                            <a:pt x="66" y="56"/>
                          </a:lnTo>
                          <a:lnTo>
                            <a:pt x="74" y="56"/>
                          </a:lnTo>
                          <a:lnTo>
                            <a:pt x="74" y="56"/>
                          </a:lnTo>
                          <a:lnTo>
                            <a:pt x="80" y="56"/>
                          </a:lnTo>
                          <a:lnTo>
                            <a:pt x="84" y="56"/>
                          </a:lnTo>
                          <a:lnTo>
                            <a:pt x="90" y="56"/>
                          </a:lnTo>
                          <a:lnTo>
                            <a:pt x="96" y="54"/>
                          </a:lnTo>
                          <a:lnTo>
                            <a:pt x="96" y="54"/>
                          </a:lnTo>
                          <a:lnTo>
                            <a:pt x="102" y="52"/>
                          </a:lnTo>
                          <a:lnTo>
                            <a:pt x="104" y="52"/>
                          </a:lnTo>
                          <a:lnTo>
                            <a:pt x="108" y="52"/>
                          </a:lnTo>
                          <a:lnTo>
                            <a:pt x="112" y="50"/>
                          </a:lnTo>
                          <a:lnTo>
                            <a:pt x="112" y="50"/>
                          </a:lnTo>
                          <a:lnTo>
                            <a:pt x="116" y="50"/>
                          </a:lnTo>
                          <a:lnTo>
                            <a:pt x="120" y="50"/>
                          </a:lnTo>
                          <a:lnTo>
                            <a:pt x="126" y="48"/>
                          </a:lnTo>
                          <a:lnTo>
                            <a:pt x="136" y="46"/>
                          </a:lnTo>
                          <a:lnTo>
                            <a:pt x="136" y="46"/>
                          </a:lnTo>
                          <a:lnTo>
                            <a:pt x="138" y="44"/>
                          </a:lnTo>
                          <a:lnTo>
                            <a:pt x="140" y="42"/>
                          </a:lnTo>
                          <a:lnTo>
                            <a:pt x="140" y="38"/>
                          </a:lnTo>
                          <a:lnTo>
                            <a:pt x="140" y="38"/>
                          </a:lnTo>
                          <a:lnTo>
                            <a:pt x="140" y="42"/>
                          </a:lnTo>
                          <a:lnTo>
                            <a:pt x="142" y="44"/>
                          </a:lnTo>
                          <a:lnTo>
                            <a:pt x="146" y="46"/>
                          </a:lnTo>
                          <a:lnTo>
                            <a:pt x="146" y="46"/>
                          </a:lnTo>
                          <a:lnTo>
                            <a:pt x="156" y="46"/>
                          </a:lnTo>
                          <a:lnTo>
                            <a:pt x="158" y="46"/>
                          </a:lnTo>
                          <a:lnTo>
                            <a:pt x="160" y="48"/>
                          </a:lnTo>
                          <a:lnTo>
                            <a:pt x="160" y="48"/>
                          </a:lnTo>
                          <a:lnTo>
                            <a:pt x="160" y="50"/>
                          </a:lnTo>
                          <a:lnTo>
                            <a:pt x="164" y="52"/>
                          </a:lnTo>
                          <a:lnTo>
                            <a:pt x="180" y="52"/>
                          </a:lnTo>
                          <a:lnTo>
                            <a:pt x="180" y="52"/>
                          </a:lnTo>
                          <a:lnTo>
                            <a:pt x="188" y="54"/>
                          </a:lnTo>
                          <a:lnTo>
                            <a:pt x="192" y="56"/>
                          </a:lnTo>
                          <a:lnTo>
                            <a:pt x="196" y="58"/>
                          </a:lnTo>
                          <a:lnTo>
                            <a:pt x="202" y="58"/>
                          </a:lnTo>
                          <a:lnTo>
                            <a:pt x="202" y="58"/>
                          </a:lnTo>
                          <a:lnTo>
                            <a:pt x="210" y="58"/>
                          </a:lnTo>
                          <a:lnTo>
                            <a:pt x="214" y="56"/>
                          </a:lnTo>
                          <a:lnTo>
                            <a:pt x="220" y="54"/>
                          </a:lnTo>
                          <a:lnTo>
                            <a:pt x="220" y="54"/>
                          </a:lnTo>
                          <a:lnTo>
                            <a:pt x="220" y="52"/>
                          </a:lnTo>
                          <a:lnTo>
                            <a:pt x="218" y="52"/>
                          </a:lnTo>
                          <a:lnTo>
                            <a:pt x="212" y="50"/>
                          </a:lnTo>
                          <a:lnTo>
                            <a:pt x="212" y="50"/>
                          </a:lnTo>
                          <a:lnTo>
                            <a:pt x="198" y="48"/>
                          </a:lnTo>
                          <a:lnTo>
                            <a:pt x="196" y="46"/>
                          </a:lnTo>
                          <a:lnTo>
                            <a:pt x="200" y="46"/>
                          </a:lnTo>
                          <a:lnTo>
                            <a:pt x="200" y="46"/>
                          </a:lnTo>
                          <a:lnTo>
                            <a:pt x="212" y="46"/>
                          </a:lnTo>
                          <a:lnTo>
                            <a:pt x="214" y="44"/>
                          </a:lnTo>
                          <a:lnTo>
                            <a:pt x="212" y="40"/>
                          </a:lnTo>
                          <a:lnTo>
                            <a:pt x="212" y="40"/>
                          </a:lnTo>
                          <a:lnTo>
                            <a:pt x="212" y="38"/>
                          </a:lnTo>
                          <a:lnTo>
                            <a:pt x="214" y="38"/>
                          </a:lnTo>
                          <a:lnTo>
                            <a:pt x="218" y="40"/>
                          </a:lnTo>
                          <a:lnTo>
                            <a:pt x="224" y="42"/>
                          </a:lnTo>
                          <a:lnTo>
                            <a:pt x="224" y="42"/>
                          </a:lnTo>
                          <a:lnTo>
                            <a:pt x="232" y="40"/>
                          </a:lnTo>
                          <a:lnTo>
                            <a:pt x="238" y="38"/>
                          </a:lnTo>
                          <a:lnTo>
                            <a:pt x="240" y="36"/>
                          </a:lnTo>
                          <a:lnTo>
                            <a:pt x="236" y="32"/>
                          </a:lnTo>
                          <a:lnTo>
                            <a:pt x="236" y="32"/>
                          </a:lnTo>
                          <a:lnTo>
                            <a:pt x="228" y="30"/>
                          </a:lnTo>
                          <a:lnTo>
                            <a:pt x="224" y="28"/>
                          </a:lnTo>
                          <a:lnTo>
                            <a:pt x="218" y="24"/>
                          </a:lnTo>
                          <a:lnTo>
                            <a:pt x="218" y="24"/>
                          </a:lnTo>
                          <a:lnTo>
                            <a:pt x="216" y="22"/>
                          </a:lnTo>
                          <a:lnTo>
                            <a:pt x="216" y="22"/>
                          </a:lnTo>
                          <a:lnTo>
                            <a:pt x="216" y="18"/>
                          </a:lnTo>
                          <a:lnTo>
                            <a:pt x="218" y="14"/>
                          </a:lnTo>
                          <a:lnTo>
                            <a:pt x="218" y="14"/>
                          </a:lnTo>
                          <a:lnTo>
                            <a:pt x="218" y="14"/>
                          </a:lnTo>
                          <a:lnTo>
                            <a:pt x="216" y="12"/>
                          </a:lnTo>
                          <a:lnTo>
                            <a:pt x="216" y="10"/>
                          </a:lnTo>
                          <a:lnTo>
                            <a:pt x="216" y="6"/>
                          </a:lnTo>
                          <a:lnTo>
                            <a:pt x="212" y="2"/>
                          </a:lnTo>
                          <a:lnTo>
                            <a:pt x="212" y="2"/>
                          </a:lnTo>
                          <a:lnTo>
                            <a:pt x="202" y="0"/>
                          </a:lnTo>
                          <a:lnTo>
                            <a:pt x="198" y="0"/>
                          </a:lnTo>
                          <a:lnTo>
                            <a:pt x="196" y="0"/>
                          </a:lnTo>
                          <a:lnTo>
                            <a:pt x="196" y="0"/>
                          </a:lnTo>
                          <a:lnTo>
                            <a:pt x="196" y="0"/>
                          </a:lnTo>
                          <a:lnTo>
                            <a:pt x="196" y="2"/>
                          </a:lnTo>
                          <a:lnTo>
                            <a:pt x="194" y="4"/>
                          </a:lnTo>
                          <a:lnTo>
                            <a:pt x="192" y="4"/>
                          </a:lnTo>
                          <a:lnTo>
                            <a:pt x="192" y="6"/>
                          </a:lnTo>
                          <a:lnTo>
                            <a:pt x="192" y="6"/>
                          </a:lnTo>
                          <a:lnTo>
                            <a:pt x="192" y="8"/>
                          </a:lnTo>
                          <a:lnTo>
                            <a:pt x="192" y="8"/>
                          </a:lnTo>
                          <a:lnTo>
                            <a:pt x="190" y="10"/>
                          </a:lnTo>
                          <a:lnTo>
                            <a:pt x="190" y="12"/>
                          </a:lnTo>
                          <a:lnTo>
                            <a:pt x="190" y="12"/>
                          </a:lnTo>
                          <a:lnTo>
                            <a:pt x="190" y="14"/>
                          </a:lnTo>
                          <a:lnTo>
                            <a:pt x="188" y="14"/>
                          </a:lnTo>
                          <a:lnTo>
                            <a:pt x="186" y="14"/>
                          </a:lnTo>
                          <a:lnTo>
                            <a:pt x="186" y="16"/>
                          </a:lnTo>
                          <a:lnTo>
                            <a:pt x="186" y="16"/>
                          </a:lnTo>
                          <a:lnTo>
                            <a:pt x="186" y="18"/>
                          </a:lnTo>
                          <a:lnTo>
                            <a:pt x="184" y="18"/>
                          </a:lnTo>
                          <a:lnTo>
                            <a:pt x="180" y="18"/>
                          </a:lnTo>
                          <a:lnTo>
                            <a:pt x="176" y="18"/>
                          </a:lnTo>
                          <a:lnTo>
                            <a:pt x="174" y="18"/>
                          </a:lnTo>
                          <a:lnTo>
                            <a:pt x="174" y="18"/>
                          </a:lnTo>
                          <a:lnTo>
                            <a:pt x="174" y="18"/>
                          </a:lnTo>
                          <a:lnTo>
                            <a:pt x="174" y="20"/>
                          </a:lnTo>
                          <a:lnTo>
                            <a:pt x="172" y="18"/>
                          </a:lnTo>
                          <a:lnTo>
                            <a:pt x="174" y="14"/>
                          </a:lnTo>
                          <a:lnTo>
                            <a:pt x="178" y="10"/>
                          </a:lnTo>
                          <a:lnTo>
                            <a:pt x="178" y="10"/>
                          </a:lnTo>
                          <a:lnTo>
                            <a:pt x="184" y="6"/>
                          </a:lnTo>
                          <a:lnTo>
                            <a:pt x="184" y="4"/>
                          </a:lnTo>
                          <a:lnTo>
                            <a:pt x="176" y="2"/>
                          </a:lnTo>
                          <a:lnTo>
                            <a:pt x="176" y="2"/>
                          </a:lnTo>
                          <a:lnTo>
                            <a:pt x="164" y="2"/>
                          </a:lnTo>
                          <a:lnTo>
                            <a:pt x="162" y="4"/>
                          </a:lnTo>
                          <a:lnTo>
                            <a:pt x="166" y="4"/>
                          </a:lnTo>
                          <a:lnTo>
                            <a:pt x="166" y="4"/>
                          </a:lnTo>
                          <a:lnTo>
                            <a:pt x="168" y="6"/>
                          </a:lnTo>
                          <a:lnTo>
                            <a:pt x="164" y="6"/>
                          </a:lnTo>
                          <a:lnTo>
                            <a:pt x="158" y="6"/>
                          </a:lnTo>
                          <a:lnTo>
                            <a:pt x="158" y="6"/>
                          </a:lnTo>
                          <a:lnTo>
                            <a:pt x="158" y="8"/>
                          </a:lnTo>
                          <a:lnTo>
                            <a:pt x="158" y="8"/>
                          </a:lnTo>
                          <a:lnTo>
                            <a:pt x="160" y="10"/>
                          </a:lnTo>
                          <a:lnTo>
                            <a:pt x="158" y="10"/>
                          </a:lnTo>
                          <a:lnTo>
                            <a:pt x="154" y="8"/>
                          </a:lnTo>
                          <a:lnTo>
                            <a:pt x="150" y="10"/>
                          </a:lnTo>
                          <a:lnTo>
                            <a:pt x="150" y="10"/>
                          </a:lnTo>
                          <a:lnTo>
                            <a:pt x="150" y="10"/>
                          </a:lnTo>
                          <a:lnTo>
                            <a:pt x="148" y="10"/>
                          </a:lnTo>
                          <a:lnTo>
                            <a:pt x="146" y="8"/>
                          </a:lnTo>
                          <a:lnTo>
                            <a:pt x="142" y="8"/>
                          </a:lnTo>
                          <a:lnTo>
                            <a:pt x="142" y="8"/>
                          </a:lnTo>
                          <a:lnTo>
                            <a:pt x="140" y="8"/>
                          </a:lnTo>
                          <a:lnTo>
                            <a:pt x="142" y="6"/>
                          </a:lnTo>
                          <a:lnTo>
                            <a:pt x="144" y="4"/>
                          </a:lnTo>
                          <a:lnTo>
                            <a:pt x="144" y="2"/>
                          </a:lnTo>
                          <a:lnTo>
                            <a:pt x="140" y="2"/>
                          </a:lnTo>
                          <a:lnTo>
                            <a:pt x="140" y="2"/>
                          </a:lnTo>
                          <a:lnTo>
                            <a:pt x="130" y="2"/>
                          </a:lnTo>
                          <a:lnTo>
                            <a:pt x="122" y="2"/>
                          </a:lnTo>
                          <a:lnTo>
                            <a:pt x="122" y="2"/>
                          </a:lnTo>
                          <a:lnTo>
                            <a:pt x="114" y="4"/>
                          </a:lnTo>
                          <a:lnTo>
                            <a:pt x="112" y="4"/>
                          </a:lnTo>
                          <a:lnTo>
                            <a:pt x="114" y="4"/>
                          </a:lnTo>
                          <a:lnTo>
                            <a:pt x="114" y="4"/>
                          </a:lnTo>
                          <a:lnTo>
                            <a:pt x="116" y="2"/>
                          </a:lnTo>
                          <a:lnTo>
                            <a:pt x="114" y="2"/>
                          </a:lnTo>
                          <a:lnTo>
                            <a:pt x="110" y="0"/>
                          </a:lnTo>
                          <a:lnTo>
                            <a:pt x="102" y="0"/>
                          </a:lnTo>
                          <a:lnTo>
                            <a:pt x="92" y="2"/>
                          </a:lnTo>
                          <a:lnTo>
                            <a:pt x="92" y="2"/>
                          </a:lnTo>
                          <a:lnTo>
                            <a:pt x="74" y="4"/>
                          </a:lnTo>
                          <a:lnTo>
                            <a:pt x="58" y="6"/>
                          </a:lnTo>
                          <a:lnTo>
                            <a:pt x="58" y="6"/>
                          </a:lnTo>
                          <a:lnTo>
                            <a:pt x="56" y="8"/>
                          </a:lnTo>
                          <a:lnTo>
                            <a:pt x="56" y="10"/>
                          </a:lnTo>
                          <a:lnTo>
                            <a:pt x="56" y="12"/>
                          </a:lnTo>
                          <a:lnTo>
                            <a:pt x="52" y="12"/>
                          </a:lnTo>
                          <a:lnTo>
                            <a:pt x="52" y="12"/>
                          </a:lnTo>
                          <a:lnTo>
                            <a:pt x="32" y="16"/>
                          </a:lnTo>
                          <a:lnTo>
                            <a:pt x="26" y="18"/>
                          </a:lnTo>
                          <a:lnTo>
                            <a:pt x="26" y="18"/>
                          </a:lnTo>
                          <a:lnTo>
                            <a:pt x="26" y="20"/>
                          </a:lnTo>
                          <a:lnTo>
                            <a:pt x="26" y="20"/>
                          </a:lnTo>
                          <a:lnTo>
                            <a:pt x="34" y="20"/>
                          </a:lnTo>
                          <a:lnTo>
                            <a:pt x="44" y="20"/>
                          </a:lnTo>
                          <a:lnTo>
                            <a:pt x="52" y="20"/>
                          </a:lnTo>
                          <a:lnTo>
                            <a:pt x="52" y="20"/>
                          </a:lnTo>
                          <a:lnTo>
                            <a:pt x="50" y="20"/>
                          </a:lnTo>
                          <a:lnTo>
                            <a:pt x="50" y="20"/>
                          </a:lnTo>
                          <a:lnTo>
                            <a:pt x="40" y="22"/>
                          </a:lnTo>
                          <a:lnTo>
                            <a:pt x="28" y="22"/>
                          </a:lnTo>
                          <a:lnTo>
                            <a:pt x="20" y="24"/>
                          </a:lnTo>
                          <a:lnTo>
                            <a:pt x="18" y="24"/>
                          </a:lnTo>
                          <a:lnTo>
                            <a:pt x="18" y="26"/>
                          </a:lnTo>
                          <a:lnTo>
                            <a:pt x="18" y="26"/>
                          </a:lnTo>
                          <a:lnTo>
                            <a:pt x="20" y="30"/>
                          </a:lnTo>
                          <a:lnTo>
                            <a:pt x="22" y="32"/>
                          </a:lnTo>
                          <a:lnTo>
                            <a:pt x="24" y="34"/>
                          </a:lnTo>
                          <a:lnTo>
                            <a:pt x="30" y="34"/>
                          </a:lnTo>
                          <a:lnTo>
                            <a:pt x="30" y="34"/>
                          </a:lnTo>
                          <a:lnTo>
                            <a:pt x="44" y="32"/>
                          </a:lnTo>
                          <a:lnTo>
                            <a:pt x="50" y="30"/>
                          </a:lnTo>
                          <a:lnTo>
                            <a:pt x="56" y="32"/>
                          </a:lnTo>
                          <a:lnTo>
                            <a:pt x="56" y="32"/>
                          </a:lnTo>
                          <a:lnTo>
                            <a:pt x="66" y="36"/>
                          </a:lnTo>
                          <a:lnTo>
                            <a:pt x="66" y="38"/>
                          </a:lnTo>
                          <a:lnTo>
                            <a:pt x="62" y="36"/>
                          </a:lnTo>
                          <a:lnTo>
                            <a:pt x="62" y="36"/>
                          </a:lnTo>
                          <a:lnTo>
                            <a:pt x="56" y="36"/>
                          </a:lnTo>
                          <a:lnTo>
                            <a:pt x="52" y="36"/>
                          </a:lnTo>
                          <a:lnTo>
                            <a:pt x="42" y="38"/>
                          </a:lnTo>
                          <a:lnTo>
                            <a:pt x="42" y="38"/>
                          </a:lnTo>
                          <a:lnTo>
                            <a:pt x="26" y="38"/>
                          </a:lnTo>
                          <a:lnTo>
                            <a:pt x="14" y="38"/>
                          </a:lnTo>
                          <a:lnTo>
                            <a:pt x="4" y="42"/>
                          </a:lnTo>
                          <a:lnTo>
                            <a:pt x="4" y="42"/>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10"/>
                    <p:cNvSpPr>
                      <a:spLocks/>
                    </p:cNvSpPr>
                    <p:nvPr/>
                  </p:nvSpPr>
                  <p:spPr bwMode="auto">
                    <a:xfrm>
                      <a:off x="3653940" y="1463662"/>
                      <a:ext cx="164033" cy="66766"/>
                    </a:xfrm>
                    <a:custGeom>
                      <a:avLst/>
                      <a:gdLst/>
                      <a:ahLst/>
                      <a:cxnLst>
                        <a:cxn ang="0">
                          <a:pos x="26" y="26"/>
                        </a:cxn>
                        <a:cxn ang="0">
                          <a:pos x="28" y="18"/>
                        </a:cxn>
                        <a:cxn ang="0">
                          <a:pos x="40" y="12"/>
                        </a:cxn>
                        <a:cxn ang="0">
                          <a:pos x="58" y="2"/>
                        </a:cxn>
                        <a:cxn ang="0">
                          <a:pos x="62" y="0"/>
                        </a:cxn>
                        <a:cxn ang="0">
                          <a:pos x="64" y="2"/>
                        </a:cxn>
                        <a:cxn ang="0">
                          <a:pos x="64" y="4"/>
                        </a:cxn>
                        <a:cxn ang="0">
                          <a:pos x="62" y="10"/>
                        </a:cxn>
                        <a:cxn ang="0">
                          <a:pos x="64" y="10"/>
                        </a:cxn>
                        <a:cxn ang="0">
                          <a:pos x="68" y="8"/>
                        </a:cxn>
                        <a:cxn ang="0">
                          <a:pos x="74" y="6"/>
                        </a:cxn>
                        <a:cxn ang="0">
                          <a:pos x="76" y="8"/>
                        </a:cxn>
                        <a:cxn ang="0">
                          <a:pos x="84" y="12"/>
                        </a:cxn>
                        <a:cxn ang="0">
                          <a:pos x="90" y="16"/>
                        </a:cxn>
                        <a:cxn ang="0">
                          <a:pos x="90" y="20"/>
                        </a:cxn>
                        <a:cxn ang="0">
                          <a:pos x="96" y="24"/>
                        </a:cxn>
                        <a:cxn ang="0">
                          <a:pos x="104" y="26"/>
                        </a:cxn>
                        <a:cxn ang="0">
                          <a:pos x="104" y="30"/>
                        </a:cxn>
                        <a:cxn ang="0">
                          <a:pos x="102" y="30"/>
                        </a:cxn>
                        <a:cxn ang="0">
                          <a:pos x="106" y="32"/>
                        </a:cxn>
                        <a:cxn ang="0">
                          <a:pos x="106" y="34"/>
                        </a:cxn>
                        <a:cxn ang="0">
                          <a:pos x="102" y="38"/>
                        </a:cxn>
                        <a:cxn ang="0">
                          <a:pos x="94" y="34"/>
                        </a:cxn>
                        <a:cxn ang="0">
                          <a:pos x="84" y="34"/>
                        </a:cxn>
                        <a:cxn ang="0">
                          <a:pos x="84" y="32"/>
                        </a:cxn>
                        <a:cxn ang="0">
                          <a:pos x="88" y="28"/>
                        </a:cxn>
                        <a:cxn ang="0">
                          <a:pos x="76" y="28"/>
                        </a:cxn>
                        <a:cxn ang="0">
                          <a:pos x="78" y="26"/>
                        </a:cxn>
                        <a:cxn ang="0">
                          <a:pos x="78" y="24"/>
                        </a:cxn>
                        <a:cxn ang="0">
                          <a:pos x="74" y="26"/>
                        </a:cxn>
                        <a:cxn ang="0">
                          <a:pos x="66" y="26"/>
                        </a:cxn>
                        <a:cxn ang="0">
                          <a:pos x="60" y="28"/>
                        </a:cxn>
                        <a:cxn ang="0">
                          <a:pos x="58" y="32"/>
                        </a:cxn>
                        <a:cxn ang="0">
                          <a:pos x="46" y="34"/>
                        </a:cxn>
                        <a:cxn ang="0">
                          <a:pos x="42" y="34"/>
                        </a:cxn>
                        <a:cxn ang="0">
                          <a:pos x="36" y="40"/>
                        </a:cxn>
                        <a:cxn ang="0">
                          <a:pos x="34" y="42"/>
                        </a:cxn>
                        <a:cxn ang="0">
                          <a:pos x="16" y="44"/>
                        </a:cxn>
                        <a:cxn ang="0">
                          <a:pos x="14" y="44"/>
                        </a:cxn>
                        <a:cxn ang="0">
                          <a:pos x="18" y="40"/>
                        </a:cxn>
                        <a:cxn ang="0">
                          <a:pos x="20" y="38"/>
                        </a:cxn>
                        <a:cxn ang="0">
                          <a:pos x="16" y="36"/>
                        </a:cxn>
                        <a:cxn ang="0">
                          <a:pos x="4" y="36"/>
                        </a:cxn>
                        <a:cxn ang="0">
                          <a:pos x="0" y="36"/>
                        </a:cxn>
                        <a:cxn ang="0">
                          <a:pos x="6" y="32"/>
                        </a:cxn>
                        <a:cxn ang="0">
                          <a:pos x="26" y="26"/>
                        </a:cxn>
                      </a:cxnLst>
                      <a:rect l="0" t="0" r="r" b="b"/>
                      <a:pathLst>
                        <a:path w="108" h="44">
                          <a:moveTo>
                            <a:pt x="26" y="26"/>
                          </a:moveTo>
                          <a:lnTo>
                            <a:pt x="26" y="26"/>
                          </a:lnTo>
                          <a:lnTo>
                            <a:pt x="26" y="22"/>
                          </a:lnTo>
                          <a:lnTo>
                            <a:pt x="28" y="18"/>
                          </a:lnTo>
                          <a:lnTo>
                            <a:pt x="40" y="12"/>
                          </a:lnTo>
                          <a:lnTo>
                            <a:pt x="40" y="12"/>
                          </a:lnTo>
                          <a:lnTo>
                            <a:pt x="48" y="6"/>
                          </a:lnTo>
                          <a:lnTo>
                            <a:pt x="58" y="2"/>
                          </a:lnTo>
                          <a:lnTo>
                            <a:pt x="58" y="2"/>
                          </a:lnTo>
                          <a:lnTo>
                            <a:pt x="62" y="0"/>
                          </a:lnTo>
                          <a:lnTo>
                            <a:pt x="64" y="2"/>
                          </a:lnTo>
                          <a:lnTo>
                            <a:pt x="64" y="2"/>
                          </a:lnTo>
                          <a:lnTo>
                            <a:pt x="64" y="4"/>
                          </a:lnTo>
                          <a:lnTo>
                            <a:pt x="64" y="4"/>
                          </a:lnTo>
                          <a:lnTo>
                            <a:pt x="62" y="6"/>
                          </a:lnTo>
                          <a:lnTo>
                            <a:pt x="62" y="10"/>
                          </a:lnTo>
                          <a:lnTo>
                            <a:pt x="62" y="10"/>
                          </a:lnTo>
                          <a:lnTo>
                            <a:pt x="64" y="10"/>
                          </a:lnTo>
                          <a:lnTo>
                            <a:pt x="64" y="10"/>
                          </a:lnTo>
                          <a:lnTo>
                            <a:pt x="68" y="8"/>
                          </a:lnTo>
                          <a:lnTo>
                            <a:pt x="72" y="6"/>
                          </a:lnTo>
                          <a:lnTo>
                            <a:pt x="74" y="6"/>
                          </a:lnTo>
                          <a:lnTo>
                            <a:pt x="76" y="8"/>
                          </a:lnTo>
                          <a:lnTo>
                            <a:pt x="76" y="8"/>
                          </a:lnTo>
                          <a:lnTo>
                            <a:pt x="78" y="10"/>
                          </a:lnTo>
                          <a:lnTo>
                            <a:pt x="84" y="12"/>
                          </a:lnTo>
                          <a:lnTo>
                            <a:pt x="88" y="14"/>
                          </a:lnTo>
                          <a:lnTo>
                            <a:pt x="90" y="16"/>
                          </a:lnTo>
                          <a:lnTo>
                            <a:pt x="90" y="16"/>
                          </a:lnTo>
                          <a:lnTo>
                            <a:pt x="90" y="20"/>
                          </a:lnTo>
                          <a:lnTo>
                            <a:pt x="90" y="22"/>
                          </a:lnTo>
                          <a:lnTo>
                            <a:pt x="96" y="24"/>
                          </a:lnTo>
                          <a:lnTo>
                            <a:pt x="96" y="24"/>
                          </a:lnTo>
                          <a:lnTo>
                            <a:pt x="104" y="26"/>
                          </a:lnTo>
                          <a:lnTo>
                            <a:pt x="104" y="28"/>
                          </a:lnTo>
                          <a:lnTo>
                            <a:pt x="104" y="30"/>
                          </a:lnTo>
                          <a:lnTo>
                            <a:pt x="104" y="30"/>
                          </a:lnTo>
                          <a:lnTo>
                            <a:pt x="102" y="30"/>
                          </a:lnTo>
                          <a:lnTo>
                            <a:pt x="104" y="30"/>
                          </a:lnTo>
                          <a:lnTo>
                            <a:pt x="106" y="32"/>
                          </a:lnTo>
                          <a:lnTo>
                            <a:pt x="108" y="32"/>
                          </a:lnTo>
                          <a:lnTo>
                            <a:pt x="106" y="34"/>
                          </a:lnTo>
                          <a:lnTo>
                            <a:pt x="106" y="34"/>
                          </a:lnTo>
                          <a:lnTo>
                            <a:pt x="102" y="38"/>
                          </a:lnTo>
                          <a:lnTo>
                            <a:pt x="100" y="38"/>
                          </a:lnTo>
                          <a:lnTo>
                            <a:pt x="94" y="34"/>
                          </a:lnTo>
                          <a:lnTo>
                            <a:pt x="94" y="34"/>
                          </a:lnTo>
                          <a:lnTo>
                            <a:pt x="84" y="34"/>
                          </a:lnTo>
                          <a:lnTo>
                            <a:pt x="82" y="34"/>
                          </a:lnTo>
                          <a:lnTo>
                            <a:pt x="84" y="32"/>
                          </a:lnTo>
                          <a:lnTo>
                            <a:pt x="84" y="32"/>
                          </a:lnTo>
                          <a:lnTo>
                            <a:pt x="88" y="28"/>
                          </a:lnTo>
                          <a:lnTo>
                            <a:pt x="84" y="28"/>
                          </a:lnTo>
                          <a:lnTo>
                            <a:pt x="76" y="28"/>
                          </a:lnTo>
                          <a:lnTo>
                            <a:pt x="76" y="28"/>
                          </a:lnTo>
                          <a:lnTo>
                            <a:pt x="78" y="26"/>
                          </a:lnTo>
                          <a:lnTo>
                            <a:pt x="78" y="26"/>
                          </a:lnTo>
                          <a:lnTo>
                            <a:pt x="78" y="24"/>
                          </a:lnTo>
                          <a:lnTo>
                            <a:pt x="74" y="26"/>
                          </a:lnTo>
                          <a:lnTo>
                            <a:pt x="74" y="26"/>
                          </a:lnTo>
                          <a:lnTo>
                            <a:pt x="68" y="26"/>
                          </a:lnTo>
                          <a:lnTo>
                            <a:pt x="66" y="26"/>
                          </a:lnTo>
                          <a:lnTo>
                            <a:pt x="62" y="26"/>
                          </a:lnTo>
                          <a:lnTo>
                            <a:pt x="60" y="28"/>
                          </a:lnTo>
                          <a:lnTo>
                            <a:pt x="60" y="28"/>
                          </a:lnTo>
                          <a:lnTo>
                            <a:pt x="58" y="32"/>
                          </a:lnTo>
                          <a:lnTo>
                            <a:pt x="54" y="32"/>
                          </a:lnTo>
                          <a:lnTo>
                            <a:pt x="46" y="34"/>
                          </a:lnTo>
                          <a:lnTo>
                            <a:pt x="46" y="34"/>
                          </a:lnTo>
                          <a:lnTo>
                            <a:pt x="42" y="34"/>
                          </a:lnTo>
                          <a:lnTo>
                            <a:pt x="40" y="36"/>
                          </a:lnTo>
                          <a:lnTo>
                            <a:pt x="36" y="40"/>
                          </a:lnTo>
                          <a:lnTo>
                            <a:pt x="34" y="42"/>
                          </a:lnTo>
                          <a:lnTo>
                            <a:pt x="34" y="42"/>
                          </a:lnTo>
                          <a:lnTo>
                            <a:pt x="24" y="44"/>
                          </a:lnTo>
                          <a:lnTo>
                            <a:pt x="16" y="44"/>
                          </a:lnTo>
                          <a:lnTo>
                            <a:pt x="16" y="44"/>
                          </a:lnTo>
                          <a:lnTo>
                            <a:pt x="14" y="44"/>
                          </a:lnTo>
                          <a:lnTo>
                            <a:pt x="14" y="42"/>
                          </a:lnTo>
                          <a:lnTo>
                            <a:pt x="18" y="40"/>
                          </a:lnTo>
                          <a:lnTo>
                            <a:pt x="18" y="40"/>
                          </a:lnTo>
                          <a:lnTo>
                            <a:pt x="20" y="38"/>
                          </a:lnTo>
                          <a:lnTo>
                            <a:pt x="20" y="36"/>
                          </a:lnTo>
                          <a:lnTo>
                            <a:pt x="16" y="36"/>
                          </a:lnTo>
                          <a:lnTo>
                            <a:pt x="16" y="36"/>
                          </a:lnTo>
                          <a:lnTo>
                            <a:pt x="4" y="36"/>
                          </a:lnTo>
                          <a:lnTo>
                            <a:pt x="2" y="36"/>
                          </a:lnTo>
                          <a:lnTo>
                            <a:pt x="0" y="36"/>
                          </a:lnTo>
                          <a:lnTo>
                            <a:pt x="0" y="36"/>
                          </a:lnTo>
                          <a:lnTo>
                            <a:pt x="6" y="32"/>
                          </a:lnTo>
                          <a:lnTo>
                            <a:pt x="26" y="26"/>
                          </a:lnTo>
                          <a:lnTo>
                            <a:pt x="26" y="26"/>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11"/>
                    <p:cNvSpPr>
                      <a:spLocks/>
                    </p:cNvSpPr>
                    <p:nvPr/>
                  </p:nvSpPr>
                  <p:spPr bwMode="auto">
                    <a:xfrm>
                      <a:off x="4036683" y="1296746"/>
                      <a:ext cx="66828" cy="24279"/>
                    </a:xfrm>
                    <a:custGeom>
                      <a:avLst/>
                      <a:gdLst/>
                      <a:ahLst/>
                      <a:cxnLst>
                        <a:cxn ang="0">
                          <a:pos x="8" y="16"/>
                        </a:cxn>
                        <a:cxn ang="0">
                          <a:pos x="8" y="16"/>
                        </a:cxn>
                        <a:cxn ang="0">
                          <a:pos x="4" y="14"/>
                        </a:cxn>
                        <a:cxn ang="0">
                          <a:pos x="4" y="12"/>
                        </a:cxn>
                        <a:cxn ang="0">
                          <a:pos x="2" y="8"/>
                        </a:cxn>
                        <a:cxn ang="0">
                          <a:pos x="2" y="8"/>
                        </a:cxn>
                        <a:cxn ang="0">
                          <a:pos x="0" y="6"/>
                        </a:cxn>
                        <a:cxn ang="0">
                          <a:pos x="0" y="4"/>
                        </a:cxn>
                        <a:cxn ang="0">
                          <a:pos x="2" y="2"/>
                        </a:cxn>
                        <a:cxn ang="0">
                          <a:pos x="8" y="2"/>
                        </a:cxn>
                        <a:cxn ang="0">
                          <a:pos x="8" y="2"/>
                        </a:cxn>
                        <a:cxn ang="0">
                          <a:pos x="18" y="0"/>
                        </a:cxn>
                        <a:cxn ang="0">
                          <a:pos x="22" y="0"/>
                        </a:cxn>
                        <a:cxn ang="0">
                          <a:pos x="28" y="2"/>
                        </a:cxn>
                        <a:cxn ang="0">
                          <a:pos x="28" y="2"/>
                        </a:cxn>
                        <a:cxn ang="0">
                          <a:pos x="40" y="6"/>
                        </a:cxn>
                        <a:cxn ang="0">
                          <a:pos x="44" y="8"/>
                        </a:cxn>
                        <a:cxn ang="0">
                          <a:pos x="42" y="10"/>
                        </a:cxn>
                        <a:cxn ang="0">
                          <a:pos x="42" y="10"/>
                        </a:cxn>
                        <a:cxn ang="0">
                          <a:pos x="34" y="10"/>
                        </a:cxn>
                        <a:cxn ang="0">
                          <a:pos x="24" y="12"/>
                        </a:cxn>
                        <a:cxn ang="0">
                          <a:pos x="24" y="12"/>
                        </a:cxn>
                        <a:cxn ang="0">
                          <a:pos x="16" y="16"/>
                        </a:cxn>
                        <a:cxn ang="0">
                          <a:pos x="12" y="16"/>
                        </a:cxn>
                        <a:cxn ang="0">
                          <a:pos x="8" y="16"/>
                        </a:cxn>
                        <a:cxn ang="0">
                          <a:pos x="8" y="16"/>
                        </a:cxn>
                      </a:cxnLst>
                      <a:rect l="0" t="0" r="r" b="b"/>
                      <a:pathLst>
                        <a:path w="44" h="16">
                          <a:moveTo>
                            <a:pt x="8" y="16"/>
                          </a:moveTo>
                          <a:lnTo>
                            <a:pt x="8" y="16"/>
                          </a:lnTo>
                          <a:lnTo>
                            <a:pt x="4" y="14"/>
                          </a:lnTo>
                          <a:lnTo>
                            <a:pt x="4" y="12"/>
                          </a:lnTo>
                          <a:lnTo>
                            <a:pt x="2" y="8"/>
                          </a:lnTo>
                          <a:lnTo>
                            <a:pt x="2" y="8"/>
                          </a:lnTo>
                          <a:lnTo>
                            <a:pt x="0" y="6"/>
                          </a:lnTo>
                          <a:lnTo>
                            <a:pt x="0" y="4"/>
                          </a:lnTo>
                          <a:lnTo>
                            <a:pt x="2" y="2"/>
                          </a:lnTo>
                          <a:lnTo>
                            <a:pt x="8" y="2"/>
                          </a:lnTo>
                          <a:lnTo>
                            <a:pt x="8" y="2"/>
                          </a:lnTo>
                          <a:lnTo>
                            <a:pt x="18" y="0"/>
                          </a:lnTo>
                          <a:lnTo>
                            <a:pt x="22" y="0"/>
                          </a:lnTo>
                          <a:lnTo>
                            <a:pt x="28" y="2"/>
                          </a:lnTo>
                          <a:lnTo>
                            <a:pt x="28" y="2"/>
                          </a:lnTo>
                          <a:lnTo>
                            <a:pt x="40" y="6"/>
                          </a:lnTo>
                          <a:lnTo>
                            <a:pt x="44" y="8"/>
                          </a:lnTo>
                          <a:lnTo>
                            <a:pt x="42" y="10"/>
                          </a:lnTo>
                          <a:lnTo>
                            <a:pt x="42" y="10"/>
                          </a:lnTo>
                          <a:lnTo>
                            <a:pt x="34" y="10"/>
                          </a:lnTo>
                          <a:lnTo>
                            <a:pt x="24" y="12"/>
                          </a:lnTo>
                          <a:lnTo>
                            <a:pt x="24" y="12"/>
                          </a:lnTo>
                          <a:lnTo>
                            <a:pt x="16" y="16"/>
                          </a:lnTo>
                          <a:lnTo>
                            <a:pt x="12" y="16"/>
                          </a:lnTo>
                          <a:lnTo>
                            <a:pt x="8" y="16"/>
                          </a:lnTo>
                          <a:lnTo>
                            <a:pt x="8" y="16"/>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12"/>
                    <p:cNvSpPr>
                      <a:spLocks/>
                    </p:cNvSpPr>
                    <p:nvPr/>
                  </p:nvSpPr>
                  <p:spPr bwMode="auto">
                    <a:xfrm>
                      <a:off x="3553699" y="1293711"/>
                      <a:ext cx="136694" cy="45523"/>
                    </a:xfrm>
                    <a:custGeom>
                      <a:avLst/>
                      <a:gdLst/>
                      <a:ahLst/>
                      <a:cxnLst>
                        <a:cxn ang="0">
                          <a:pos x="54" y="26"/>
                        </a:cxn>
                        <a:cxn ang="0">
                          <a:pos x="56" y="28"/>
                        </a:cxn>
                        <a:cxn ang="0">
                          <a:pos x="64" y="26"/>
                        </a:cxn>
                        <a:cxn ang="0">
                          <a:pos x="72" y="22"/>
                        </a:cxn>
                        <a:cxn ang="0">
                          <a:pos x="76" y="18"/>
                        </a:cxn>
                        <a:cxn ang="0">
                          <a:pos x="72" y="16"/>
                        </a:cxn>
                        <a:cxn ang="0">
                          <a:pos x="72" y="14"/>
                        </a:cxn>
                        <a:cxn ang="0">
                          <a:pos x="84" y="12"/>
                        </a:cxn>
                        <a:cxn ang="0">
                          <a:pos x="88" y="10"/>
                        </a:cxn>
                        <a:cxn ang="0">
                          <a:pos x="90" y="6"/>
                        </a:cxn>
                        <a:cxn ang="0">
                          <a:pos x="82" y="6"/>
                        </a:cxn>
                        <a:cxn ang="0">
                          <a:pos x="80" y="6"/>
                        </a:cxn>
                        <a:cxn ang="0">
                          <a:pos x="88" y="4"/>
                        </a:cxn>
                        <a:cxn ang="0">
                          <a:pos x="88" y="2"/>
                        </a:cxn>
                        <a:cxn ang="0">
                          <a:pos x="78" y="2"/>
                        </a:cxn>
                        <a:cxn ang="0">
                          <a:pos x="66" y="2"/>
                        </a:cxn>
                        <a:cxn ang="0">
                          <a:pos x="52" y="2"/>
                        </a:cxn>
                        <a:cxn ang="0">
                          <a:pos x="44" y="2"/>
                        </a:cxn>
                        <a:cxn ang="0">
                          <a:pos x="38" y="2"/>
                        </a:cxn>
                        <a:cxn ang="0">
                          <a:pos x="28" y="4"/>
                        </a:cxn>
                        <a:cxn ang="0">
                          <a:pos x="28" y="6"/>
                        </a:cxn>
                        <a:cxn ang="0">
                          <a:pos x="40" y="12"/>
                        </a:cxn>
                        <a:cxn ang="0">
                          <a:pos x="40" y="14"/>
                        </a:cxn>
                        <a:cxn ang="0">
                          <a:pos x="30" y="12"/>
                        </a:cxn>
                        <a:cxn ang="0">
                          <a:pos x="14" y="10"/>
                        </a:cxn>
                        <a:cxn ang="0">
                          <a:pos x="0" y="12"/>
                        </a:cxn>
                        <a:cxn ang="0">
                          <a:pos x="0" y="14"/>
                        </a:cxn>
                        <a:cxn ang="0">
                          <a:pos x="6" y="22"/>
                        </a:cxn>
                        <a:cxn ang="0">
                          <a:pos x="10" y="22"/>
                        </a:cxn>
                        <a:cxn ang="0">
                          <a:pos x="24" y="26"/>
                        </a:cxn>
                        <a:cxn ang="0">
                          <a:pos x="28" y="28"/>
                        </a:cxn>
                        <a:cxn ang="0">
                          <a:pos x="36" y="28"/>
                        </a:cxn>
                        <a:cxn ang="0">
                          <a:pos x="44" y="30"/>
                        </a:cxn>
                        <a:cxn ang="0">
                          <a:pos x="54" y="26"/>
                        </a:cxn>
                      </a:cxnLst>
                      <a:rect l="0" t="0" r="r" b="b"/>
                      <a:pathLst>
                        <a:path w="90" h="30">
                          <a:moveTo>
                            <a:pt x="54" y="26"/>
                          </a:moveTo>
                          <a:lnTo>
                            <a:pt x="54" y="26"/>
                          </a:lnTo>
                          <a:lnTo>
                            <a:pt x="54" y="28"/>
                          </a:lnTo>
                          <a:lnTo>
                            <a:pt x="56" y="28"/>
                          </a:lnTo>
                          <a:lnTo>
                            <a:pt x="60" y="28"/>
                          </a:lnTo>
                          <a:lnTo>
                            <a:pt x="64" y="26"/>
                          </a:lnTo>
                          <a:lnTo>
                            <a:pt x="64" y="26"/>
                          </a:lnTo>
                          <a:lnTo>
                            <a:pt x="72" y="22"/>
                          </a:lnTo>
                          <a:lnTo>
                            <a:pt x="72" y="22"/>
                          </a:lnTo>
                          <a:lnTo>
                            <a:pt x="76" y="18"/>
                          </a:lnTo>
                          <a:lnTo>
                            <a:pt x="76" y="16"/>
                          </a:lnTo>
                          <a:lnTo>
                            <a:pt x="72" y="16"/>
                          </a:lnTo>
                          <a:lnTo>
                            <a:pt x="72" y="14"/>
                          </a:lnTo>
                          <a:lnTo>
                            <a:pt x="72" y="14"/>
                          </a:lnTo>
                          <a:lnTo>
                            <a:pt x="78" y="14"/>
                          </a:lnTo>
                          <a:lnTo>
                            <a:pt x="84" y="12"/>
                          </a:lnTo>
                          <a:lnTo>
                            <a:pt x="88" y="10"/>
                          </a:lnTo>
                          <a:lnTo>
                            <a:pt x="88" y="10"/>
                          </a:lnTo>
                          <a:lnTo>
                            <a:pt x="90" y="8"/>
                          </a:lnTo>
                          <a:lnTo>
                            <a:pt x="90" y="6"/>
                          </a:lnTo>
                          <a:lnTo>
                            <a:pt x="86" y="6"/>
                          </a:lnTo>
                          <a:lnTo>
                            <a:pt x="82" y="6"/>
                          </a:lnTo>
                          <a:lnTo>
                            <a:pt x="80" y="6"/>
                          </a:lnTo>
                          <a:lnTo>
                            <a:pt x="80" y="6"/>
                          </a:lnTo>
                          <a:lnTo>
                            <a:pt x="86" y="4"/>
                          </a:lnTo>
                          <a:lnTo>
                            <a:pt x="88" y="4"/>
                          </a:lnTo>
                          <a:lnTo>
                            <a:pt x="88" y="2"/>
                          </a:lnTo>
                          <a:lnTo>
                            <a:pt x="88" y="2"/>
                          </a:lnTo>
                          <a:lnTo>
                            <a:pt x="84" y="0"/>
                          </a:lnTo>
                          <a:lnTo>
                            <a:pt x="78" y="2"/>
                          </a:lnTo>
                          <a:lnTo>
                            <a:pt x="66" y="2"/>
                          </a:lnTo>
                          <a:lnTo>
                            <a:pt x="66" y="2"/>
                          </a:lnTo>
                          <a:lnTo>
                            <a:pt x="60" y="2"/>
                          </a:lnTo>
                          <a:lnTo>
                            <a:pt x="52" y="2"/>
                          </a:lnTo>
                          <a:lnTo>
                            <a:pt x="52" y="2"/>
                          </a:lnTo>
                          <a:lnTo>
                            <a:pt x="44" y="2"/>
                          </a:lnTo>
                          <a:lnTo>
                            <a:pt x="38" y="2"/>
                          </a:lnTo>
                          <a:lnTo>
                            <a:pt x="38" y="2"/>
                          </a:lnTo>
                          <a:lnTo>
                            <a:pt x="30" y="4"/>
                          </a:lnTo>
                          <a:lnTo>
                            <a:pt x="28" y="4"/>
                          </a:lnTo>
                          <a:lnTo>
                            <a:pt x="28" y="6"/>
                          </a:lnTo>
                          <a:lnTo>
                            <a:pt x="28" y="6"/>
                          </a:lnTo>
                          <a:lnTo>
                            <a:pt x="36" y="8"/>
                          </a:lnTo>
                          <a:lnTo>
                            <a:pt x="40" y="12"/>
                          </a:lnTo>
                          <a:lnTo>
                            <a:pt x="40" y="12"/>
                          </a:lnTo>
                          <a:lnTo>
                            <a:pt x="40" y="14"/>
                          </a:lnTo>
                          <a:lnTo>
                            <a:pt x="40" y="14"/>
                          </a:lnTo>
                          <a:lnTo>
                            <a:pt x="30" y="12"/>
                          </a:lnTo>
                          <a:lnTo>
                            <a:pt x="30" y="12"/>
                          </a:lnTo>
                          <a:lnTo>
                            <a:pt x="14" y="10"/>
                          </a:lnTo>
                          <a:lnTo>
                            <a:pt x="6" y="10"/>
                          </a:lnTo>
                          <a:lnTo>
                            <a:pt x="0" y="12"/>
                          </a:lnTo>
                          <a:lnTo>
                            <a:pt x="0" y="12"/>
                          </a:lnTo>
                          <a:lnTo>
                            <a:pt x="0" y="14"/>
                          </a:lnTo>
                          <a:lnTo>
                            <a:pt x="2" y="18"/>
                          </a:lnTo>
                          <a:lnTo>
                            <a:pt x="6" y="22"/>
                          </a:lnTo>
                          <a:lnTo>
                            <a:pt x="10" y="22"/>
                          </a:lnTo>
                          <a:lnTo>
                            <a:pt x="10" y="22"/>
                          </a:lnTo>
                          <a:lnTo>
                            <a:pt x="18" y="24"/>
                          </a:lnTo>
                          <a:lnTo>
                            <a:pt x="24" y="26"/>
                          </a:lnTo>
                          <a:lnTo>
                            <a:pt x="24" y="26"/>
                          </a:lnTo>
                          <a:lnTo>
                            <a:pt x="28" y="28"/>
                          </a:lnTo>
                          <a:lnTo>
                            <a:pt x="32" y="28"/>
                          </a:lnTo>
                          <a:lnTo>
                            <a:pt x="36" y="28"/>
                          </a:lnTo>
                          <a:lnTo>
                            <a:pt x="36" y="28"/>
                          </a:lnTo>
                          <a:lnTo>
                            <a:pt x="44" y="30"/>
                          </a:lnTo>
                          <a:lnTo>
                            <a:pt x="48" y="30"/>
                          </a:lnTo>
                          <a:lnTo>
                            <a:pt x="54" y="26"/>
                          </a:lnTo>
                          <a:lnTo>
                            <a:pt x="54" y="26"/>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13"/>
                    <p:cNvSpPr>
                      <a:spLocks/>
                    </p:cNvSpPr>
                    <p:nvPr/>
                  </p:nvSpPr>
                  <p:spPr bwMode="auto">
                    <a:xfrm>
                      <a:off x="3702543" y="1296746"/>
                      <a:ext cx="103279" cy="33383"/>
                    </a:xfrm>
                    <a:custGeom>
                      <a:avLst/>
                      <a:gdLst/>
                      <a:ahLst/>
                      <a:cxnLst>
                        <a:cxn ang="0">
                          <a:pos x="2" y="18"/>
                        </a:cxn>
                        <a:cxn ang="0">
                          <a:pos x="2" y="18"/>
                        </a:cxn>
                        <a:cxn ang="0">
                          <a:pos x="6" y="22"/>
                        </a:cxn>
                        <a:cxn ang="0">
                          <a:pos x="10" y="22"/>
                        </a:cxn>
                        <a:cxn ang="0">
                          <a:pos x="12" y="22"/>
                        </a:cxn>
                        <a:cxn ang="0">
                          <a:pos x="12" y="22"/>
                        </a:cxn>
                        <a:cxn ang="0">
                          <a:pos x="16" y="20"/>
                        </a:cxn>
                        <a:cxn ang="0">
                          <a:pos x="18" y="18"/>
                        </a:cxn>
                        <a:cxn ang="0">
                          <a:pos x="18" y="16"/>
                        </a:cxn>
                        <a:cxn ang="0">
                          <a:pos x="18" y="16"/>
                        </a:cxn>
                        <a:cxn ang="0">
                          <a:pos x="12" y="14"/>
                        </a:cxn>
                        <a:cxn ang="0">
                          <a:pos x="12" y="12"/>
                        </a:cxn>
                        <a:cxn ang="0">
                          <a:pos x="18" y="14"/>
                        </a:cxn>
                        <a:cxn ang="0">
                          <a:pos x="18" y="14"/>
                        </a:cxn>
                        <a:cxn ang="0">
                          <a:pos x="36" y="16"/>
                        </a:cxn>
                        <a:cxn ang="0">
                          <a:pos x="40" y="16"/>
                        </a:cxn>
                        <a:cxn ang="0">
                          <a:pos x="44" y="16"/>
                        </a:cxn>
                        <a:cxn ang="0">
                          <a:pos x="44" y="16"/>
                        </a:cxn>
                        <a:cxn ang="0">
                          <a:pos x="48" y="12"/>
                        </a:cxn>
                        <a:cxn ang="0">
                          <a:pos x="54" y="8"/>
                        </a:cxn>
                        <a:cxn ang="0">
                          <a:pos x="66" y="4"/>
                        </a:cxn>
                        <a:cxn ang="0">
                          <a:pos x="66" y="4"/>
                        </a:cxn>
                        <a:cxn ang="0">
                          <a:pos x="68" y="4"/>
                        </a:cxn>
                        <a:cxn ang="0">
                          <a:pos x="66" y="2"/>
                        </a:cxn>
                        <a:cxn ang="0">
                          <a:pos x="52" y="2"/>
                        </a:cxn>
                        <a:cxn ang="0">
                          <a:pos x="52" y="2"/>
                        </a:cxn>
                        <a:cxn ang="0">
                          <a:pos x="36" y="0"/>
                        </a:cxn>
                        <a:cxn ang="0">
                          <a:pos x="28" y="0"/>
                        </a:cxn>
                        <a:cxn ang="0">
                          <a:pos x="22" y="0"/>
                        </a:cxn>
                        <a:cxn ang="0">
                          <a:pos x="22" y="0"/>
                        </a:cxn>
                        <a:cxn ang="0">
                          <a:pos x="12" y="4"/>
                        </a:cxn>
                        <a:cxn ang="0">
                          <a:pos x="8" y="6"/>
                        </a:cxn>
                        <a:cxn ang="0">
                          <a:pos x="6" y="10"/>
                        </a:cxn>
                        <a:cxn ang="0">
                          <a:pos x="6" y="10"/>
                        </a:cxn>
                        <a:cxn ang="0">
                          <a:pos x="6" y="12"/>
                        </a:cxn>
                        <a:cxn ang="0">
                          <a:pos x="2" y="14"/>
                        </a:cxn>
                        <a:cxn ang="0">
                          <a:pos x="0" y="16"/>
                        </a:cxn>
                        <a:cxn ang="0">
                          <a:pos x="2" y="18"/>
                        </a:cxn>
                        <a:cxn ang="0">
                          <a:pos x="2" y="18"/>
                        </a:cxn>
                      </a:cxnLst>
                      <a:rect l="0" t="0" r="r" b="b"/>
                      <a:pathLst>
                        <a:path w="68" h="22">
                          <a:moveTo>
                            <a:pt x="2" y="18"/>
                          </a:moveTo>
                          <a:lnTo>
                            <a:pt x="2" y="18"/>
                          </a:lnTo>
                          <a:lnTo>
                            <a:pt x="6" y="22"/>
                          </a:lnTo>
                          <a:lnTo>
                            <a:pt x="10" y="22"/>
                          </a:lnTo>
                          <a:lnTo>
                            <a:pt x="12" y="22"/>
                          </a:lnTo>
                          <a:lnTo>
                            <a:pt x="12" y="22"/>
                          </a:lnTo>
                          <a:lnTo>
                            <a:pt x="16" y="20"/>
                          </a:lnTo>
                          <a:lnTo>
                            <a:pt x="18" y="18"/>
                          </a:lnTo>
                          <a:lnTo>
                            <a:pt x="18" y="16"/>
                          </a:lnTo>
                          <a:lnTo>
                            <a:pt x="18" y="16"/>
                          </a:lnTo>
                          <a:lnTo>
                            <a:pt x="12" y="14"/>
                          </a:lnTo>
                          <a:lnTo>
                            <a:pt x="12" y="12"/>
                          </a:lnTo>
                          <a:lnTo>
                            <a:pt x="18" y="14"/>
                          </a:lnTo>
                          <a:lnTo>
                            <a:pt x="18" y="14"/>
                          </a:lnTo>
                          <a:lnTo>
                            <a:pt x="36" y="16"/>
                          </a:lnTo>
                          <a:lnTo>
                            <a:pt x="40" y="16"/>
                          </a:lnTo>
                          <a:lnTo>
                            <a:pt x="44" y="16"/>
                          </a:lnTo>
                          <a:lnTo>
                            <a:pt x="44" y="16"/>
                          </a:lnTo>
                          <a:lnTo>
                            <a:pt x="48" y="12"/>
                          </a:lnTo>
                          <a:lnTo>
                            <a:pt x="54" y="8"/>
                          </a:lnTo>
                          <a:lnTo>
                            <a:pt x="66" y="4"/>
                          </a:lnTo>
                          <a:lnTo>
                            <a:pt x="66" y="4"/>
                          </a:lnTo>
                          <a:lnTo>
                            <a:pt x="68" y="4"/>
                          </a:lnTo>
                          <a:lnTo>
                            <a:pt x="66" y="2"/>
                          </a:lnTo>
                          <a:lnTo>
                            <a:pt x="52" y="2"/>
                          </a:lnTo>
                          <a:lnTo>
                            <a:pt x="52" y="2"/>
                          </a:lnTo>
                          <a:lnTo>
                            <a:pt x="36" y="0"/>
                          </a:lnTo>
                          <a:lnTo>
                            <a:pt x="28" y="0"/>
                          </a:lnTo>
                          <a:lnTo>
                            <a:pt x="22" y="0"/>
                          </a:lnTo>
                          <a:lnTo>
                            <a:pt x="22" y="0"/>
                          </a:lnTo>
                          <a:lnTo>
                            <a:pt x="12" y="4"/>
                          </a:lnTo>
                          <a:lnTo>
                            <a:pt x="8" y="6"/>
                          </a:lnTo>
                          <a:lnTo>
                            <a:pt x="6" y="10"/>
                          </a:lnTo>
                          <a:lnTo>
                            <a:pt x="6" y="10"/>
                          </a:lnTo>
                          <a:lnTo>
                            <a:pt x="6" y="12"/>
                          </a:lnTo>
                          <a:lnTo>
                            <a:pt x="2" y="14"/>
                          </a:lnTo>
                          <a:lnTo>
                            <a:pt x="0" y="16"/>
                          </a:lnTo>
                          <a:lnTo>
                            <a:pt x="2" y="18"/>
                          </a:lnTo>
                          <a:lnTo>
                            <a:pt x="2" y="18"/>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14"/>
                    <p:cNvSpPr>
                      <a:spLocks/>
                    </p:cNvSpPr>
                    <p:nvPr/>
                  </p:nvSpPr>
                  <p:spPr bwMode="auto">
                    <a:xfrm>
                      <a:off x="3790635" y="1254259"/>
                      <a:ext cx="300727" cy="45523"/>
                    </a:xfrm>
                    <a:custGeom>
                      <a:avLst/>
                      <a:gdLst/>
                      <a:ahLst/>
                      <a:cxnLst>
                        <a:cxn ang="0">
                          <a:pos x="34" y="30"/>
                        </a:cxn>
                        <a:cxn ang="0">
                          <a:pos x="48" y="26"/>
                        </a:cxn>
                        <a:cxn ang="0">
                          <a:pos x="54" y="26"/>
                        </a:cxn>
                        <a:cxn ang="0">
                          <a:pos x="58" y="30"/>
                        </a:cxn>
                        <a:cxn ang="0">
                          <a:pos x="66" y="30"/>
                        </a:cxn>
                        <a:cxn ang="0">
                          <a:pos x="78" y="28"/>
                        </a:cxn>
                        <a:cxn ang="0">
                          <a:pos x="88" y="24"/>
                        </a:cxn>
                        <a:cxn ang="0">
                          <a:pos x="90" y="24"/>
                        </a:cxn>
                        <a:cxn ang="0">
                          <a:pos x="88" y="26"/>
                        </a:cxn>
                        <a:cxn ang="0">
                          <a:pos x="90" y="30"/>
                        </a:cxn>
                        <a:cxn ang="0">
                          <a:pos x="100" y="30"/>
                        </a:cxn>
                        <a:cxn ang="0">
                          <a:pos x="108" y="26"/>
                        </a:cxn>
                        <a:cxn ang="0">
                          <a:pos x="112" y="26"/>
                        </a:cxn>
                        <a:cxn ang="0">
                          <a:pos x="138" y="26"/>
                        </a:cxn>
                        <a:cxn ang="0">
                          <a:pos x="144" y="26"/>
                        </a:cxn>
                        <a:cxn ang="0">
                          <a:pos x="152" y="28"/>
                        </a:cxn>
                        <a:cxn ang="0">
                          <a:pos x="156" y="28"/>
                        </a:cxn>
                        <a:cxn ang="0">
                          <a:pos x="158" y="26"/>
                        </a:cxn>
                        <a:cxn ang="0">
                          <a:pos x="156" y="20"/>
                        </a:cxn>
                        <a:cxn ang="0">
                          <a:pos x="160" y="22"/>
                        </a:cxn>
                        <a:cxn ang="0">
                          <a:pos x="178" y="26"/>
                        </a:cxn>
                        <a:cxn ang="0">
                          <a:pos x="194" y="24"/>
                        </a:cxn>
                        <a:cxn ang="0">
                          <a:pos x="194" y="22"/>
                        </a:cxn>
                        <a:cxn ang="0">
                          <a:pos x="188" y="18"/>
                        </a:cxn>
                        <a:cxn ang="0">
                          <a:pos x="180" y="12"/>
                        </a:cxn>
                        <a:cxn ang="0">
                          <a:pos x="174" y="10"/>
                        </a:cxn>
                        <a:cxn ang="0">
                          <a:pos x="164" y="12"/>
                        </a:cxn>
                        <a:cxn ang="0">
                          <a:pos x="160" y="12"/>
                        </a:cxn>
                        <a:cxn ang="0">
                          <a:pos x="156" y="12"/>
                        </a:cxn>
                        <a:cxn ang="0">
                          <a:pos x="142" y="14"/>
                        </a:cxn>
                        <a:cxn ang="0">
                          <a:pos x="136" y="14"/>
                        </a:cxn>
                        <a:cxn ang="0">
                          <a:pos x="124" y="14"/>
                        </a:cxn>
                        <a:cxn ang="0">
                          <a:pos x="112" y="14"/>
                        </a:cxn>
                        <a:cxn ang="0">
                          <a:pos x="104" y="12"/>
                        </a:cxn>
                        <a:cxn ang="0">
                          <a:pos x="88" y="14"/>
                        </a:cxn>
                        <a:cxn ang="0">
                          <a:pos x="82" y="14"/>
                        </a:cxn>
                        <a:cxn ang="0">
                          <a:pos x="72" y="16"/>
                        </a:cxn>
                        <a:cxn ang="0">
                          <a:pos x="62" y="16"/>
                        </a:cxn>
                        <a:cxn ang="0">
                          <a:pos x="60" y="14"/>
                        </a:cxn>
                        <a:cxn ang="0">
                          <a:pos x="52" y="16"/>
                        </a:cxn>
                        <a:cxn ang="0">
                          <a:pos x="50" y="14"/>
                        </a:cxn>
                        <a:cxn ang="0">
                          <a:pos x="42" y="12"/>
                        </a:cxn>
                        <a:cxn ang="0">
                          <a:pos x="40" y="10"/>
                        </a:cxn>
                        <a:cxn ang="0">
                          <a:pos x="46" y="10"/>
                        </a:cxn>
                        <a:cxn ang="0">
                          <a:pos x="52" y="4"/>
                        </a:cxn>
                        <a:cxn ang="0">
                          <a:pos x="46" y="2"/>
                        </a:cxn>
                        <a:cxn ang="0">
                          <a:pos x="36" y="0"/>
                        </a:cxn>
                        <a:cxn ang="0">
                          <a:pos x="28" y="0"/>
                        </a:cxn>
                        <a:cxn ang="0">
                          <a:pos x="14" y="0"/>
                        </a:cxn>
                        <a:cxn ang="0">
                          <a:pos x="2" y="2"/>
                        </a:cxn>
                        <a:cxn ang="0">
                          <a:pos x="0" y="4"/>
                        </a:cxn>
                        <a:cxn ang="0">
                          <a:pos x="6" y="8"/>
                        </a:cxn>
                        <a:cxn ang="0">
                          <a:pos x="6" y="12"/>
                        </a:cxn>
                        <a:cxn ang="0">
                          <a:pos x="6" y="12"/>
                        </a:cxn>
                        <a:cxn ang="0">
                          <a:pos x="12" y="14"/>
                        </a:cxn>
                        <a:cxn ang="0">
                          <a:pos x="24" y="12"/>
                        </a:cxn>
                        <a:cxn ang="0">
                          <a:pos x="28" y="14"/>
                        </a:cxn>
                        <a:cxn ang="0">
                          <a:pos x="28" y="18"/>
                        </a:cxn>
                        <a:cxn ang="0">
                          <a:pos x="24" y="20"/>
                        </a:cxn>
                        <a:cxn ang="0">
                          <a:pos x="20" y="26"/>
                        </a:cxn>
                        <a:cxn ang="0">
                          <a:pos x="34" y="30"/>
                        </a:cxn>
                      </a:cxnLst>
                      <a:rect l="0" t="0" r="r" b="b"/>
                      <a:pathLst>
                        <a:path w="198" h="30">
                          <a:moveTo>
                            <a:pt x="34" y="30"/>
                          </a:moveTo>
                          <a:lnTo>
                            <a:pt x="34" y="30"/>
                          </a:lnTo>
                          <a:lnTo>
                            <a:pt x="42" y="28"/>
                          </a:lnTo>
                          <a:lnTo>
                            <a:pt x="48" y="26"/>
                          </a:lnTo>
                          <a:lnTo>
                            <a:pt x="52" y="26"/>
                          </a:lnTo>
                          <a:lnTo>
                            <a:pt x="54" y="26"/>
                          </a:lnTo>
                          <a:lnTo>
                            <a:pt x="54" y="26"/>
                          </a:lnTo>
                          <a:lnTo>
                            <a:pt x="58" y="30"/>
                          </a:lnTo>
                          <a:lnTo>
                            <a:pt x="66" y="30"/>
                          </a:lnTo>
                          <a:lnTo>
                            <a:pt x="66" y="30"/>
                          </a:lnTo>
                          <a:lnTo>
                            <a:pt x="74" y="30"/>
                          </a:lnTo>
                          <a:lnTo>
                            <a:pt x="78" y="28"/>
                          </a:lnTo>
                          <a:lnTo>
                            <a:pt x="84" y="26"/>
                          </a:lnTo>
                          <a:lnTo>
                            <a:pt x="88" y="24"/>
                          </a:lnTo>
                          <a:lnTo>
                            <a:pt x="88" y="24"/>
                          </a:lnTo>
                          <a:lnTo>
                            <a:pt x="90" y="24"/>
                          </a:lnTo>
                          <a:lnTo>
                            <a:pt x="90" y="24"/>
                          </a:lnTo>
                          <a:lnTo>
                            <a:pt x="88" y="26"/>
                          </a:lnTo>
                          <a:lnTo>
                            <a:pt x="86" y="28"/>
                          </a:lnTo>
                          <a:lnTo>
                            <a:pt x="90" y="30"/>
                          </a:lnTo>
                          <a:lnTo>
                            <a:pt x="90" y="30"/>
                          </a:lnTo>
                          <a:lnTo>
                            <a:pt x="100" y="30"/>
                          </a:lnTo>
                          <a:lnTo>
                            <a:pt x="106" y="28"/>
                          </a:lnTo>
                          <a:lnTo>
                            <a:pt x="108" y="26"/>
                          </a:lnTo>
                          <a:lnTo>
                            <a:pt x="112" y="26"/>
                          </a:lnTo>
                          <a:lnTo>
                            <a:pt x="112" y="26"/>
                          </a:lnTo>
                          <a:lnTo>
                            <a:pt x="126" y="28"/>
                          </a:lnTo>
                          <a:lnTo>
                            <a:pt x="138" y="26"/>
                          </a:lnTo>
                          <a:lnTo>
                            <a:pt x="138" y="26"/>
                          </a:lnTo>
                          <a:lnTo>
                            <a:pt x="144" y="26"/>
                          </a:lnTo>
                          <a:lnTo>
                            <a:pt x="148" y="26"/>
                          </a:lnTo>
                          <a:lnTo>
                            <a:pt x="152" y="28"/>
                          </a:lnTo>
                          <a:lnTo>
                            <a:pt x="156" y="28"/>
                          </a:lnTo>
                          <a:lnTo>
                            <a:pt x="156" y="28"/>
                          </a:lnTo>
                          <a:lnTo>
                            <a:pt x="158" y="26"/>
                          </a:lnTo>
                          <a:lnTo>
                            <a:pt x="158" y="26"/>
                          </a:lnTo>
                          <a:lnTo>
                            <a:pt x="158" y="22"/>
                          </a:lnTo>
                          <a:lnTo>
                            <a:pt x="156" y="20"/>
                          </a:lnTo>
                          <a:lnTo>
                            <a:pt x="160" y="22"/>
                          </a:lnTo>
                          <a:lnTo>
                            <a:pt x="160" y="22"/>
                          </a:lnTo>
                          <a:lnTo>
                            <a:pt x="170" y="26"/>
                          </a:lnTo>
                          <a:lnTo>
                            <a:pt x="178" y="26"/>
                          </a:lnTo>
                          <a:lnTo>
                            <a:pt x="178" y="26"/>
                          </a:lnTo>
                          <a:lnTo>
                            <a:pt x="194" y="24"/>
                          </a:lnTo>
                          <a:lnTo>
                            <a:pt x="198" y="24"/>
                          </a:lnTo>
                          <a:lnTo>
                            <a:pt x="194" y="22"/>
                          </a:lnTo>
                          <a:lnTo>
                            <a:pt x="194" y="22"/>
                          </a:lnTo>
                          <a:lnTo>
                            <a:pt x="188" y="18"/>
                          </a:lnTo>
                          <a:lnTo>
                            <a:pt x="184" y="14"/>
                          </a:lnTo>
                          <a:lnTo>
                            <a:pt x="180" y="12"/>
                          </a:lnTo>
                          <a:lnTo>
                            <a:pt x="174" y="10"/>
                          </a:lnTo>
                          <a:lnTo>
                            <a:pt x="174" y="10"/>
                          </a:lnTo>
                          <a:lnTo>
                            <a:pt x="168" y="10"/>
                          </a:lnTo>
                          <a:lnTo>
                            <a:pt x="164" y="12"/>
                          </a:lnTo>
                          <a:lnTo>
                            <a:pt x="164" y="12"/>
                          </a:lnTo>
                          <a:lnTo>
                            <a:pt x="160" y="12"/>
                          </a:lnTo>
                          <a:lnTo>
                            <a:pt x="160" y="12"/>
                          </a:lnTo>
                          <a:lnTo>
                            <a:pt x="156" y="12"/>
                          </a:lnTo>
                          <a:lnTo>
                            <a:pt x="150" y="14"/>
                          </a:lnTo>
                          <a:lnTo>
                            <a:pt x="142" y="14"/>
                          </a:lnTo>
                          <a:lnTo>
                            <a:pt x="136" y="14"/>
                          </a:lnTo>
                          <a:lnTo>
                            <a:pt x="136" y="14"/>
                          </a:lnTo>
                          <a:lnTo>
                            <a:pt x="130" y="14"/>
                          </a:lnTo>
                          <a:lnTo>
                            <a:pt x="124" y="14"/>
                          </a:lnTo>
                          <a:lnTo>
                            <a:pt x="118" y="14"/>
                          </a:lnTo>
                          <a:lnTo>
                            <a:pt x="112" y="14"/>
                          </a:lnTo>
                          <a:lnTo>
                            <a:pt x="112" y="14"/>
                          </a:lnTo>
                          <a:lnTo>
                            <a:pt x="104" y="12"/>
                          </a:lnTo>
                          <a:lnTo>
                            <a:pt x="96" y="14"/>
                          </a:lnTo>
                          <a:lnTo>
                            <a:pt x="88" y="14"/>
                          </a:lnTo>
                          <a:lnTo>
                            <a:pt x="82" y="14"/>
                          </a:lnTo>
                          <a:lnTo>
                            <a:pt x="82" y="14"/>
                          </a:lnTo>
                          <a:lnTo>
                            <a:pt x="78" y="14"/>
                          </a:lnTo>
                          <a:lnTo>
                            <a:pt x="72" y="16"/>
                          </a:lnTo>
                          <a:lnTo>
                            <a:pt x="66" y="16"/>
                          </a:lnTo>
                          <a:lnTo>
                            <a:pt x="62" y="16"/>
                          </a:lnTo>
                          <a:lnTo>
                            <a:pt x="62" y="16"/>
                          </a:lnTo>
                          <a:lnTo>
                            <a:pt x="60" y="14"/>
                          </a:lnTo>
                          <a:lnTo>
                            <a:pt x="56" y="14"/>
                          </a:lnTo>
                          <a:lnTo>
                            <a:pt x="52" y="16"/>
                          </a:lnTo>
                          <a:lnTo>
                            <a:pt x="50" y="14"/>
                          </a:lnTo>
                          <a:lnTo>
                            <a:pt x="50" y="14"/>
                          </a:lnTo>
                          <a:lnTo>
                            <a:pt x="46" y="12"/>
                          </a:lnTo>
                          <a:lnTo>
                            <a:pt x="42" y="12"/>
                          </a:lnTo>
                          <a:lnTo>
                            <a:pt x="38" y="12"/>
                          </a:lnTo>
                          <a:lnTo>
                            <a:pt x="40" y="10"/>
                          </a:lnTo>
                          <a:lnTo>
                            <a:pt x="40" y="10"/>
                          </a:lnTo>
                          <a:lnTo>
                            <a:pt x="46" y="10"/>
                          </a:lnTo>
                          <a:lnTo>
                            <a:pt x="50" y="6"/>
                          </a:lnTo>
                          <a:lnTo>
                            <a:pt x="52" y="4"/>
                          </a:lnTo>
                          <a:lnTo>
                            <a:pt x="46" y="2"/>
                          </a:lnTo>
                          <a:lnTo>
                            <a:pt x="46" y="2"/>
                          </a:lnTo>
                          <a:lnTo>
                            <a:pt x="40" y="2"/>
                          </a:lnTo>
                          <a:lnTo>
                            <a:pt x="36" y="0"/>
                          </a:lnTo>
                          <a:lnTo>
                            <a:pt x="34" y="0"/>
                          </a:lnTo>
                          <a:lnTo>
                            <a:pt x="28" y="0"/>
                          </a:lnTo>
                          <a:lnTo>
                            <a:pt x="28" y="0"/>
                          </a:lnTo>
                          <a:lnTo>
                            <a:pt x="14" y="0"/>
                          </a:lnTo>
                          <a:lnTo>
                            <a:pt x="2" y="2"/>
                          </a:lnTo>
                          <a:lnTo>
                            <a:pt x="2" y="2"/>
                          </a:lnTo>
                          <a:lnTo>
                            <a:pt x="0" y="2"/>
                          </a:lnTo>
                          <a:lnTo>
                            <a:pt x="0" y="4"/>
                          </a:lnTo>
                          <a:lnTo>
                            <a:pt x="4" y="6"/>
                          </a:lnTo>
                          <a:lnTo>
                            <a:pt x="6" y="8"/>
                          </a:lnTo>
                          <a:lnTo>
                            <a:pt x="8" y="10"/>
                          </a:lnTo>
                          <a:lnTo>
                            <a:pt x="6" y="12"/>
                          </a:lnTo>
                          <a:lnTo>
                            <a:pt x="6" y="12"/>
                          </a:lnTo>
                          <a:lnTo>
                            <a:pt x="6" y="12"/>
                          </a:lnTo>
                          <a:lnTo>
                            <a:pt x="8" y="14"/>
                          </a:lnTo>
                          <a:lnTo>
                            <a:pt x="12" y="14"/>
                          </a:lnTo>
                          <a:lnTo>
                            <a:pt x="18" y="14"/>
                          </a:lnTo>
                          <a:lnTo>
                            <a:pt x="24" y="12"/>
                          </a:lnTo>
                          <a:lnTo>
                            <a:pt x="24" y="12"/>
                          </a:lnTo>
                          <a:lnTo>
                            <a:pt x="28" y="14"/>
                          </a:lnTo>
                          <a:lnTo>
                            <a:pt x="28" y="16"/>
                          </a:lnTo>
                          <a:lnTo>
                            <a:pt x="28" y="18"/>
                          </a:lnTo>
                          <a:lnTo>
                            <a:pt x="24" y="20"/>
                          </a:lnTo>
                          <a:lnTo>
                            <a:pt x="24" y="20"/>
                          </a:lnTo>
                          <a:lnTo>
                            <a:pt x="20" y="22"/>
                          </a:lnTo>
                          <a:lnTo>
                            <a:pt x="20" y="26"/>
                          </a:lnTo>
                          <a:lnTo>
                            <a:pt x="24" y="30"/>
                          </a:lnTo>
                          <a:lnTo>
                            <a:pt x="34" y="30"/>
                          </a:lnTo>
                          <a:lnTo>
                            <a:pt x="34" y="30"/>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15"/>
                    <p:cNvSpPr>
                      <a:spLocks/>
                    </p:cNvSpPr>
                    <p:nvPr/>
                  </p:nvSpPr>
                  <p:spPr bwMode="auto">
                    <a:xfrm>
                      <a:off x="3043375" y="1296746"/>
                      <a:ext cx="212635" cy="60697"/>
                    </a:xfrm>
                    <a:custGeom>
                      <a:avLst/>
                      <a:gdLst/>
                      <a:ahLst/>
                      <a:cxnLst>
                        <a:cxn ang="0">
                          <a:pos x="48" y="28"/>
                        </a:cxn>
                        <a:cxn ang="0">
                          <a:pos x="48" y="28"/>
                        </a:cxn>
                        <a:cxn ang="0">
                          <a:pos x="54" y="24"/>
                        </a:cxn>
                        <a:cxn ang="0">
                          <a:pos x="58" y="24"/>
                        </a:cxn>
                        <a:cxn ang="0">
                          <a:pos x="62" y="22"/>
                        </a:cxn>
                        <a:cxn ang="0">
                          <a:pos x="70" y="20"/>
                        </a:cxn>
                        <a:cxn ang="0">
                          <a:pos x="70" y="20"/>
                        </a:cxn>
                        <a:cxn ang="0">
                          <a:pos x="78" y="18"/>
                        </a:cxn>
                        <a:cxn ang="0">
                          <a:pos x="84" y="18"/>
                        </a:cxn>
                        <a:cxn ang="0">
                          <a:pos x="92" y="18"/>
                        </a:cxn>
                        <a:cxn ang="0">
                          <a:pos x="104" y="14"/>
                        </a:cxn>
                        <a:cxn ang="0">
                          <a:pos x="104" y="14"/>
                        </a:cxn>
                        <a:cxn ang="0">
                          <a:pos x="114" y="12"/>
                        </a:cxn>
                        <a:cxn ang="0">
                          <a:pos x="120" y="12"/>
                        </a:cxn>
                        <a:cxn ang="0">
                          <a:pos x="132" y="10"/>
                        </a:cxn>
                        <a:cxn ang="0">
                          <a:pos x="132" y="10"/>
                        </a:cxn>
                        <a:cxn ang="0">
                          <a:pos x="138" y="8"/>
                        </a:cxn>
                        <a:cxn ang="0">
                          <a:pos x="140" y="6"/>
                        </a:cxn>
                        <a:cxn ang="0">
                          <a:pos x="138" y="2"/>
                        </a:cxn>
                        <a:cxn ang="0">
                          <a:pos x="134" y="0"/>
                        </a:cxn>
                        <a:cxn ang="0">
                          <a:pos x="134" y="0"/>
                        </a:cxn>
                        <a:cxn ang="0">
                          <a:pos x="124" y="2"/>
                        </a:cxn>
                        <a:cxn ang="0">
                          <a:pos x="114" y="4"/>
                        </a:cxn>
                        <a:cxn ang="0">
                          <a:pos x="114" y="4"/>
                        </a:cxn>
                        <a:cxn ang="0">
                          <a:pos x="98" y="0"/>
                        </a:cxn>
                        <a:cxn ang="0">
                          <a:pos x="86" y="0"/>
                        </a:cxn>
                        <a:cxn ang="0">
                          <a:pos x="76" y="0"/>
                        </a:cxn>
                        <a:cxn ang="0">
                          <a:pos x="76" y="0"/>
                        </a:cxn>
                        <a:cxn ang="0">
                          <a:pos x="48" y="2"/>
                        </a:cxn>
                        <a:cxn ang="0">
                          <a:pos x="48" y="2"/>
                        </a:cxn>
                        <a:cxn ang="0">
                          <a:pos x="44" y="2"/>
                        </a:cxn>
                        <a:cxn ang="0">
                          <a:pos x="46" y="4"/>
                        </a:cxn>
                        <a:cxn ang="0">
                          <a:pos x="44" y="6"/>
                        </a:cxn>
                        <a:cxn ang="0">
                          <a:pos x="38" y="10"/>
                        </a:cxn>
                        <a:cxn ang="0">
                          <a:pos x="38" y="10"/>
                        </a:cxn>
                        <a:cxn ang="0">
                          <a:pos x="30" y="14"/>
                        </a:cxn>
                        <a:cxn ang="0">
                          <a:pos x="28" y="16"/>
                        </a:cxn>
                        <a:cxn ang="0">
                          <a:pos x="30" y="16"/>
                        </a:cxn>
                        <a:cxn ang="0">
                          <a:pos x="30" y="16"/>
                        </a:cxn>
                        <a:cxn ang="0">
                          <a:pos x="30" y="18"/>
                        </a:cxn>
                        <a:cxn ang="0">
                          <a:pos x="28" y="18"/>
                        </a:cxn>
                        <a:cxn ang="0">
                          <a:pos x="18" y="22"/>
                        </a:cxn>
                        <a:cxn ang="0">
                          <a:pos x="18" y="22"/>
                        </a:cxn>
                        <a:cxn ang="0">
                          <a:pos x="10" y="26"/>
                        </a:cxn>
                        <a:cxn ang="0">
                          <a:pos x="4" y="26"/>
                        </a:cxn>
                        <a:cxn ang="0">
                          <a:pos x="0" y="26"/>
                        </a:cxn>
                        <a:cxn ang="0">
                          <a:pos x="2" y="30"/>
                        </a:cxn>
                        <a:cxn ang="0">
                          <a:pos x="2" y="30"/>
                        </a:cxn>
                        <a:cxn ang="0">
                          <a:pos x="4" y="34"/>
                        </a:cxn>
                        <a:cxn ang="0">
                          <a:pos x="4" y="38"/>
                        </a:cxn>
                        <a:cxn ang="0">
                          <a:pos x="4" y="40"/>
                        </a:cxn>
                        <a:cxn ang="0">
                          <a:pos x="8" y="40"/>
                        </a:cxn>
                        <a:cxn ang="0">
                          <a:pos x="8" y="40"/>
                        </a:cxn>
                        <a:cxn ang="0">
                          <a:pos x="16" y="40"/>
                        </a:cxn>
                        <a:cxn ang="0">
                          <a:pos x="26" y="38"/>
                        </a:cxn>
                        <a:cxn ang="0">
                          <a:pos x="26" y="38"/>
                        </a:cxn>
                        <a:cxn ang="0">
                          <a:pos x="34" y="40"/>
                        </a:cxn>
                        <a:cxn ang="0">
                          <a:pos x="38" y="38"/>
                        </a:cxn>
                        <a:cxn ang="0">
                          <a:pos x="40" y="36"/>
                        </a:cxn>
                        <a:cxn ang="0">
                          <a:pos x="40" y="36"/>
                        </a:cxn>
                        <a:cxn ang="0">
                          <a:pos x="42" y="32"/>
                        </a:cxn>
                        <a:cxn ang="0">
                          <a:pos x="48" y="28"/>
                        </a:cxn>
                        <a:cxn ang="0">
                          <a:pos x="48" y="28"/>
                        </a:cxn>
                      </a:cxnLst>
                      <a:rect l="0" t="0" r="r" b="b"/>
                      <a:pathLst>
                        <a:path w="140" h="40">
                          <a:moveTo>
                            <a:pt x="48" y="28"/>
                          </a:moveTo>
                          <a:lnTo>
                            <a:pt x="48" y="28"/>
                          </a:lnTo>
                          <a:lnTo>
                            <a:pt x="54" y="24"/>
                          </a:lnTo>
                          <a:lnTo>
                            <a:pt x="58" y="24"/>
                          </a:lnTo>
                          <a:lnTo>
                            <a:pt x="62" y="22"/>
                          </a:lnTo>
                          <a:lnTo>
                            <a:pt x="70" y="20"/>
                          </a:lnTo>
                          <a:lnTo>
                            <a:pt x="70" y="20"/>
                          </a:lnTo>
                          <a:lnTo>
                            <a:pt x="78" y="18"/>
                          </a:lnTo>
                          <a:lnTo>
                            <a:pt x="84" y="18"/>
                          </a:lnTo>
                          <a:lnTo>
                            <a:pt x="92" y="18"/>
                          </a:lnTo>
                          <a:lnTo>
                            <a:pt x="104" y="14"/>
                          </a:lnTo>
                          <a:lnTo>
                            <a:pt x="104" y="14"/>
                          </a:lnTo>
                          <a:lnTo>
                            <a:pt x="114" y="12"/>
                          </a:lnTo>
                          <a:lnTo>
                            <a:pt x="120" y="12"/>
                          </a:lnTo>
                          <a:lnTo>
                            <a:pt x="132" y="10"/>
                          </a:lnTo>
                          <a:lnTo>
                            <a:pt x="132" y="10"/>
                          </a:lnTo>
                          <a:lnTo>
                            <a:pt x="138" y="8"/>
                          </a:lnTo>
                          <a:lnTo>
                            <a:pt x="140" y="6"/>
                          </a:lnTo>
                          <a:lnTo>
                            <a:pt x="138" y="2"/>
                          </a:lnTo>
                          <a:lnTo>
                            <a:pt x="134" y="0"/>
                          </a:lnTo>
                          <a:lnTo>
                            <a:pt x="134" y="0"/>
                          </a:lnTo>
                          <a:lnTo>
                            <a:pt x="124" y="2"/>
                          </a:lnTo>
                          <a:lnTo>
                            <a:pt x="114" y="4"/>
                          </a:lnTo>
                          <a:lnTo>
                            <a:pt x="114" y="4"/>
                          </a:lnTo>
                          <a:lnTo>
                            <a:pt x="98" y="0"/>
                          </a:lnTo>
                          <a:lnTo>
                            <a:pt x="86" y="0"/>
                          </a:lnTo>
                          <a:lnTo>
                            <a:pt x="76" y="0"/>
                          </a:lnTo>
                          <a:lnTo>
                            <a:pt x="76" y="0"/>
                          </a:lnTo>
                          <a:lnTo>
                            <a:pt x="48" y="2"/>
                          </a:lnTo>
                          <a:lnTo>
                            <a:pt x="48" y="2"/>
                          </a:lnTo>
                          <a:lnTo>
                            <a:pt x="44" y="2"/>
                          </a:lnTo>
                          <a:lnTo>
                            <a:pt x="46" y="4"/>
                          </a:lnTo>
                          <a:lnTo>
                            <a:pt x="44" y="6"/>
                          </a:lnTo>
                          <a:lnTo>
                            <a:pt x="38" y="10"/>
                          </a:lnTo>
                          <a:lnTo>
                            <a:pt x="38" y="10"/>
                          </a:lnTo>
                          <a:lnTo>
                            <a:pt x="30" y="14"/>
                          </a:lnTo>
                          <a:lnTo>
                            <a:pt x="28" y="16"/>
                          </a:lnTo>
                          <a:lnTo>
                            <a:pt x="30" y="16"/>
                          </a:lnTo>
                          <a:lnTo>
                            <a:pt x="30" y="16"/>
                          </a:lnTo>
                          <a:lnTo>
                            <a:pt x="30" y="18"/>
                          </a:lnTo>
                          <a:lnTo>
                            <a:pt x="28" y="18"/>
                          </a:lnTo>
                          <a:lnTo>
                            <a:pt x="18" y="22"/>
                          </a:lnTo>
                          <a:lnTo>
                            <a:pt x="18" y="22"/>
                          </a:lnTo>
                          <a:lnTo>
                            <a:pt x="10" y="26"/>
                          </a:lnTo>
                          <a:lnTo>
                            <a:pt x="4" y="26"/>
                          </a:lnTo>
                          <a:lnTo>
                            <a:pt x="0" y="26"/>
                          </a:lnTo>
                          <a:lnTo>
                            <a:pt x="2" y="30"/>
                          </a:lnTo>
                          <a:lnTo>
                            <a:pt x="2" y="30"/>
                          </a:lnTo>
                          <a:lnTo>
                            <a:pt x="4" y="34"/>
                          </a:lnTo>
                          <a:lnTo>
                            <a:pt x="4" y="38"/>
                          </a:lnTo>
                          <a:lnTo>
                            <a:pt x="4" y="40"/>
                          </a:lnTo>
                          <a:lnTo>
                            <a:pt x="8" y="40"/>
                          </a:lnTo>
                          <a:lnTo>
                            <a:pt x="8" y="40"/>
                          </a:lnTo>
                          <a:lnTo>
                            <a:pt x="16" y="40"/>
                          </a:lnTo>
                          <a:lnTo>
                            <a:pt x="26" y="38"/>
                          </a:lnTo>
                          <a:lnTo>
                            <a:pt x="26" y="38"/>
                          </a:lnTo>
                          <a:lnTo>
                            <a:pt x="34" y="40"/>
                          </a:lnTo>
                          <a:lnTo>
                            <a:pt x="38" y="38"/>
                          </a:lnTo>
                          <a:lnTo>
                            <a:pt x="40" y="36"/>
                          </a:lnTo>
                          <a:lnTo>
                            <a:pt x="40" y="36"/>
                          </a:lnTo>
                          <a:lnTo>
                            <a:pt x="42" y="32"/>
                          </a:lnTo>
                          <a:lnTo>
                            <a:pt x="48" y="28"/>
                          </a:lnTo>
                          <a:lnTo>
                            <a:pt x="48" y="28"/>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16"/>
                    <p:cNvSpPr>
                      <a:spLocks/>
                    </p:cNvSpPr>
                    <p:nvPr/>
                  </p:nvSpPr>
                  <p:spPr bwMode="auto">
                    <a:xfrm>
                      <a:off x="3246897" y="1242119"/>
                      <a:ext cx="121505" cy="30348"/>
                    </a:xfrm>
                    <a:custGeom>
                      <a:avLst/>
                      <a:gdLst/>
                      <a:ahLst/>
                      <a:cxnLst>
                        <a:cxn ang="0">
                          <a:pos x="4" y="12"/>
                        </a:cxn>
                        <a:cxn ang="0">
                          <a:pos x="4" y="12"/>
                        </a:cxn>
                        <a:cxn ang="0">
                          <a:pos x="12" y="10"/>
                        </a:cxn>
                        <a:cxn ang="0">
                          <a:pos x="18" y="8"/>
                        </a:cxn>
                        <a:cxn ang="0">
                          <a:pos x="22" y="8"/>
                        </a:cxn>
                        <a:cxn ang="0">
                          <a:pos x="30" y="6"/>
                        </a:cxn>
                        <a:cxn ang="0">
                          <a:pos x="30" y="6"/>
                        </a:cxn>
                        <a:cxn ang="0">
                          <a:pos x="54" y="0"/>
                        </a:cxn>
                        <a:cxn ang="0">
                          <a:pos x="66" y="0"/>
                        </a:cxn>
                        <a:cxn ang="0">
                          <a:pos x="70" y="0"/>
                        </a:cxn>
                        <a:cxn ang="0">
                          <a:pos x="72" y="2"/>
                        </a:cxn>
                        <a:cxn ang="0">
                          <a:pos x="72" y="2"/>
                        </a:cxn>
                        <a:cxn ang="0">
                          <a:pos x="72" y="4"/>
                        </a:cxn>
                        <a:cxn ang="0">
                          <a:pos x="74" y="2"/>
                        </a:cxn>
                        <a:cxn ang="0">
                          <a:pos x="74" y="0"/>
                        </a:cxn>
                        <a:cxn ang="0">
                          <a:pos x="78" y="2"/>
                        </a:cxn>
                        <a:cxn ang="0">
                          <a:pos x="78" y="2"/>
                        </a:cxn>
                        <a:cxn ang="0">
                          <a:pos x="80" y="4"/>
                        </a:cxn>
                        <a:cxn ang="0">
                          <a:pos x="78" y="6"/>
                        </a:cxn>
                        <a:cxn ang="0">
                          <a:pos x="66" y="10"/>
                        </a:cxn>
                        <a:cxn ang="0">
                          <a:pos x="66" y="10"/>
                        </a:cxn>
                        <a:cxn ang="0">
                          <a:pos x="60" y="12"/>
                        </a:cxn>
                        <a:cxn ang="0">
                          <a:pos x="54" y="14"/>
                        </a:cxn>
                        <a:cxn ang="0">
                          <a:pos x="50" y="12"/>
                        </a:cxn>
                        <a:cxn ang="0">
                          <a:pos x="52" y="10"/>
                        </a:cxn>
                        <a:cxn ang="0">
                          <a:pos x="52" y="10"/>
                        </a:cxn>
                        <a:cxn ang="0">
                          <a:pos x="56" y="8"/>
                        </a:cxn>
                        <a:cxn ang="0">
                          <a:pos x="56" y="8"/>
                        </a:cxn>
                        <a:cxn ang="0">
                          <a:pos x="46" y="10"/>
                        </a:cxn>
                        <a:cxn ang="0">
                          <a:pos x="46" y="10"/>
                        </a:cxn>
                        <a:cxn ang="0">
                          <a:pos x="42" y="12"/>
                        </a:cxn>
                        <a:cxn ang="0">
                          <a:pos x="40" y="14"/>
                        </a:cxn>
                        <a:cxn ang="0">
                          <a:pos x="40" y="14"/>
                        </a:cxn>
                        <a:cxn ang="0">
                          <a:pos x="36" y="16"/>
                        </a:cxn>
                        <a:cxn ang="0">
                          <a:pos x="36" y="16"/>
                        </a:cxn>
                        <a:cxn ang="0">
                          <a:pos x="22" y="20"/>
                        </a:cxn>
                        <a:cxn ang="0">
                          <a:pos x="18" y="20"/>
                        </a:cxn>
                        <a:cxn ang="0">
                          <a:pos x="18" y="20"/>
                        </a:cxn>
                        <a:cxn ang="0">
                          <a:pos x="16" y="18"/>
                        </a:cxn>
                        <a:cxn ang="0">
                          <a:pos x="16" y="18"/>
                        </a:cxn>
                        <a:cxn ang="0">
                          <a:pos x="12" y="16"/>
                        </a:cxn>
                        <a:cxn ang="0">
                          <a:pos x="4" y="16"/>
                        </a:cxn>
                        <a:cxn ang="0">
                          <a:pos x="0" y="14"/>
                        </a:cxn>
                        <a:cxn ang="0">
                          <a:pos x="0" y="14"/>
                        </a:cxn>
                        <a:cxn ang="0">
                          <a:pos x="4" y="12"/>
                        </a:cxn>
                        <a:cxn ang="0">
                          <a:pos x="4" y="12"/>
                        </a:cxn>
                      </a:cxnLst>
                      <a:rect l="0" t="0" r="r" b="b"/>
                      <a:pathLst>
                        <a:path w="80" h="20">
                          <a:moveTo>
                            <a:pt x="4" y="12"/>
                          </a:moveTo>
                          <a:lnTo>
                            <a:pt x="4" y="12"/>
                          </a:lnTo>
                          <a:lnTo>
                            <a:pt x="12" y="10"/>
                          </a:lnTo>
                          <a:lnTo>
                            <a:pt x="18" y="8"/>
                          </a:lnTo>
                          <a:lnTo>
                            <a:pt x="22" y="8"/>
                          </a:lnTo>
                          <a:lnTo>
                            <a:pt x="30" y="6"/>
                          </a:lnTo>
                          <a:lnTo>
                            <a:pt x="30" y="6"/>
                          </a:lnTo>
                          <a:lnTo>
                            <a:pt x="54" y="0"/>
                          </a:lnTo>
                          <a:lnTo>
                            <a:pt x="66" y="0"/>
                          </a:lnTo>
                          <a:lnTo>
                            <a:pt x="70" y="0"/>
                          </a:lnTo>
                          <a:lnTo>
                            <a:pt x="72" y="2"/>
                          </a:lnTo>
                          <a:lnTo>
                            <a:pt x="72" y="2"/>
                          </a:lnTo>
                          <a:lnTo>
                            <a:pt x="72" y="4"/>
                          </a:lnTo>
                          <a:lnTo>
                            <a:pt x="74" y="2"/>
                          </a:lnTo>
                          <a:lnTo>
                            <a:pt x="74" y="0"/>
                          </a:lnTo>
                          <a:lnTo>
                            <a:pt x="78" y="2"/>
                          </a:lnTo>
                          <a:lnTo>
                            <a:pt x="78" y="2"/>
                          </a:lnTo>
                          <a:lnTo>
                            <a:pt x="80" y="4"/>
                          </a:lnTo>
                          <a:lnTo>
                            <a:pt x="78" y="6"/>
                          </a:lnTo>
                          <a:lnTo>
                            <a:pt x="66" y="10"/>
                          </a:lnTo>
                          <a:lnTo>
                            <a:pt x="66" y="10"/>
                          </a:lnTo>
                          <a:lnTo>
                            <a:pt x="60" y="12"/>
                          </a:lnTo>
                          <a:lnTo>
                            <a:pt x="54" y="14"/>
                          </a:lnTo>
                          <a:lnTo>
                            <a:pt x="50" y="12"/>
                          </a:lnTo>
                          <a:lnTo>
                            <a:pt x="52" y="10"/>
                          </a:lnTo>
                          <a:lnTo>
                            <a:pt x="52" y="10"/>
                          </a:lnTo>
                          <a:lnTo>
                            <a:pt x="56" y="8"/>
                          </a:lnTo>
                          <a:lnTo>
                            <a:pt x="56" y="8"/>
                          </a:lnTo>
                          <a:lnTo>
                            <a:pt x="46" y="10"/>
                          </a:lnTo>
                          <a:lnTo>
                            <a:pt x="46" y="10"/>
                          </a:lnTo>
                          <a:lnTo>
                            <a:pt x="42" y="12"/>
                          </a:lnTo>
                          <a:lnTo>
                            <a:pt x="40" y="14"/>
                          </a:lnTo>
                          <a:lnTo>
                            <a:pt x="40" y="14"/>
                          </a:lnTo>
                          <a:lnTo>
                            <a:pt x="36" y="16"/>
                          </a:lnTo>
                          <a:lnTo>
                            <a:pt x="36" y="16"/>
                          </a:lnTo>
                          <a:lnTo>
                            <a:pt x="22" y="20"/>
                          </a:lnTo>
                          <a:lnTo>
                            <a:pt x="18" y="20"/>
                          </a:lnTo>
                          <a:lnTo>
                            <a:pt x="18" y="20"/>
                          </a:lnTo>
                          <a:lnTo>
                            <a:pt x="16" y="18"/>
                          </a:lnTo>
                          <a:lnTo>
                            <a:pt x="16" y="18"/>
                          </a:lnTo>
                          <a:lnTo>
                            <a:pt x="12" y="16"/>
                          </a:lnTo>
                          <a:lnTo>
                            <a:pt x="4" y="16"/>
                          </a:lnTo>
                          <a:lnTo>
                            <a:pt x="0" y="14"/>
                          </a:lnTo>
                          <a:lnTo>
                            <a:pt x="0" y="14"/>
                          </a:lnTo>
                          <a:lnTo>
                            <a:pt x="4" y="12"/>
                          </a:lnTo>
                          <a:lnTo>
                            <a:pt x="4" y="12"/>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17"/>
                    <p:cNvSpPr>
                      <a:spLocks/>
                    </p:cNvSpPr>
                    <p:nvPr/>
                  </p:nvSpPr>
                  <p:spPr bwMode="auto">
                    <a:xfrm>
                      <a:off x="3325875" y="1254259"/>
                      <a:ext cx="209598" cy="48557"/>
                    </a:xfrm>
                    <a:custGeom>
                      <a:avLst/>
                      <a:gdLst/>
                      <a:ahLst/>
                      <a:cxnLst>
                        <a:cxn ang="0">
                          <a:pos x="18" y="6"/>
                        </a:cxn>
                        <a:cxn ang="0">
                          <a:pos x="30" y="2"/>
                        </a:cxn>
                        <a:cxn ang="0">
                          <a:pos x="30" y="4"/>
                        </a:cxn>
                        <a:cxn ang="0">
                          <a:pos x="36" y="4"/>
                        </a:cxn>
                        <a:cxn ang="0">
                          <a:pos x="44" y="6"/>
                        </a:cxn>
                        <a:cxn ang="0">
                          <a:pos x="48" y="12"/>
                        </a:cxn>
                        <a:cxn ang="0">
                          <a:pos x="58" y="18"/>
                        </a:cxn>
                        <a:cxn ang="0">
                          <a:pos x="64" y="18"/>
                        </a:cxn>
                        <a:cxn ang="0">
                          <a:pos x="76" y="18"/>
                        </a:cxn>
                        <a:cxn ang="0">
                          <a:pos x="78" y="16"/>
                        </a:cxn>
                        <a:cxn ang="0">
                          <a:pos x="80" y="14"/>
                        </a:cxn>
                        <a:cxn ang="0">
                          <a:pos x="84" y="12"/>
                        </a:cxn>
                        <a:cxn ang="0">
                          <a:pos x="84" y="6"/>
                        </a:cxn>
                        <a:cxn ang="0">
                          <a:pos x="90" y="6"/>
                        </a:cxn>
                        <a:cxn ang="0">
                          <a:pos x="122" y="0"/>
                        </a:cxn>
                        <a:cxn ang="0">
                          <a:pos x="120" y="4"/>
                        </a:cxn>
                        <a:cxn ang="0">
                          <a:pos x="116" y="8"/>
                        </a:cxn>
                        <a:cxn ang="0">
                          <a:pos x="118" y="12"/>
                        </a:cxn>
                        <a:cxn ang="0">
                          <a:pos x="116" y="14"/>
                        </a:cxn>
                        <a:cxn ang="0">
                          <a:pos x="118" y="12"/>
                        </a:cxn>
                        <a:cxn ang="0">
                          <a:pos x="128" y="12"/>
                        </a:cxn>
                        <a:cxn ang="0">
                          <a:pos x="138" y="16"/>
                        </a:cxn>
                        <a:cxn ang="0">
                          <a:pos x="136" y="18"/>
                        </a:cxn>
                        <a:cxn ang="0">
                          <a:pos x="126" y="20"/>
                        </a:cxn>
                        <a:cxn ang="0">
                          <a:pos x="110" y="28"/>
                        </a:cxn>
                        <a:cxn ang="0">
                          <a:pos x="104" y="28"/>
                        </a:cxn>
                        <a:cxn ang="0">
                          <a:pos x="88" y="28"/>
                        </a:cxn>
                        <a:cxn ang="0">
                          <a:pos x="78" y="26"/>
                        </a:cxn>
                        <a:cxn ang="0">
                          <a:pos x="58" y="30"/>
                        </a:cxn>
                        <a:cxn ang="0">
                          <a:pos x="32" y="32"/>
                        </a:cxn>
                        <a:cxn ang="0">
                          <a:pos x="22" y="30"/>
                        </a:cxn>
                        <a:cxn ang="0">
                          <a:pos x="16" y="26"/>
                        </a:cxn>
                        <a:cxn ang="0">
                          <a:pos x="20" y="26"/>
                        </a:cxn>
                        <a:cxn ang="0">
                          <a:pos x="44" y="24"/>
                        </a:cxn>
                        <a:cxn ang="0">
                          <a:pos x="44" y="22"/>
                        </a:cxn>
                        <a:cxn ang="0">
                          <a:pos x="38" y="22"/>
                        </a:cxn>
                        <a:cxn ang="0">
                          <a:pos x="32" y="20"/>
                        </a:cxn>
                        <a:cxn ang="0">
                          <a:pos x="32" y="18"/>
                        </a:cxn>
                        <a:cxn ang="0">
                          <a:pos x="32" y="16"/>
                        </a:cxn>
                        <a:cxn ang="0">
                          <a:pos x="30" y="16"/>
                        </a:cxn>
                        <a:cxn ang="0">
                          <a:pos x="22" y="20"/>
                        </a:cxn>
                        <a:cxn ang="0">
                          <a:pos x="18" y="22"/>
                        </a:cxn>
                        <a:cxn ang="0">
                          <a:pos x="8" y="20"/>
                        </a:cxn>
                        <a:cxn ang="0">
                          <a:pos x="2" y="16"/>
                        </a:cxn>
                        <a:cxn ang="0">
                          <a:pos x="4" y="12"/>
                        </a:cxn>
                        <a:cxn ang="0">
                          <a:pos x="18" y="6"/>
                        </a:cxn>
                      </a:cxnLst>
                      <a:rect l="0" t="0" r="r" b="b"/>
                      <a:pathLst>
                        <a:path w="138" h="32">
                          <a:moveTo>
                            <a:pt x="18" y="6"/>
                          </a:moveTo>
                          <a:lnTo>
                            <a:pt x="18" y="6"/>
                          </a:lnTo>
                          <a:lnTo>
                            <a:pt x="28" y="2"/>
                          </a:lnTo>
                          <a:lnTo>
                            <a:pt x="30" y="2"/>
                          </a:lnTo>
                          <a:lnTo>
                            <a:pt x="30" y="4"/>
                          </a:lnTo>
                          <a:lnTo>
                            <a:pt x="30" y="4"/>
                          </a:lnTo>
                          <a:lnTo>
                            <a:pt x="32" y="6"/>
                          </a:lnTo>
                          <a:lnTo>
                            <a:pt x="36" y="4"/>
                          </a:lnTo>
                          <a:lnTo>
                            <a:pt x="40" y="4"/>
                          </a:lnTo>
                          <a:lnTo>
                            <a:pt x="44" y="6"/>
                          </a:lnTo>
                          <a:lnTo>
                            <a:pt x="44" y="6"/>
                          </a:lnTo>
                          <a:lnTo>
                            <a:pt x="48" y="12"/>
                          </a:lnTo>
                          <a:lnTo>
                            <a:pt x="52" y="16"/>
                          </a:lnTo>
                          <a:lnTo>
                            <a:pt x="58" y="18"/>
                          </a:lnTo>
                          <a:lnTo>
                            <a:pt x="64" y="18"/>
                          </a:lnTo>
                          <a:lnTo>
                            <a:pt x="64" y="18"/>
                          </a:lnTo>
                          <a:lnTo>
                            <a:pt x="76" y="18"/>
                          </a:lnTo>
                          <a:lnTo>
                            <a:pt x="76" y="18"/>
                          </a:lnTo>
                          <a:lnTo>
                            <a:pt x="78" y="18"/>
                          </a:lnTo>
                          <a:lnTo>
                            <a:pt x="78" y="16"/>
                          </a:lnTo>
                          <a:lnTo>
                            <a:pt x="78" y="14"/>
                          </a:lnTo>
                          <a:lnTo>
                            <a:pt x="80" y="14"/>
                          </a:lnTo>
                          <a:lnTo>
                            <a:pt x="80" y="14"/>
                          </a:lnTo>
                          <a:lnTo>
                            <a:pt x="84" y="12"/>
                          </a:lnTo>
                          <a:lnTo>
                            <a:pt x="84" y="8"/>
                          </a:lnTo>
                          <a:lnTo>
                            <a:pt x="84" y="6"/>
                          </a:lnTo>
                          <a:lnTo>
                            <a:pt x="90" y="6"/>
                          </a:lnTo>
                          <a:lnTo>
                            <a:pt x="90" y="6"/>
                          </a:lnTo>
                          <a:lnTo>
                            <a:pt x="114" y="2"/>
                          </a:lnTo>
                          <a:lnTo>
                            <a:pt x="122" y="0"/>
                          </a:lnTo>
                          <a:lnTo>
                            <a:pt x="122" y="2"/>
                          </a:lnTo>
                          <a:lnTo>
                            <a:pt x="120" y="4"/>
                          </a:lnTo>
                          <a:lnTo>
                            <a:pt x="120" y="4"/>
                          </a:lnTo>
                          <a:lnTo>
                            <a:pt x="116" y="8"/>
                          </a:lnTo>
                          <a:lnTo>
                            <a:pt x="116" y="10"/>
                          </a:lnTo>
                          <a:lnTo>
                            <a:pt x="118" y="12"/>
                          </a:lnTo>
                          <a:lnTo>
                            <a:pt x="116" y="14"/>
                          </a:lnTo>
                          <a:lnTo>
                            <a:pt x="116" y="14"/>
                          </a:lnTo>
                          <a:lnTo>
                            <a:pt x="116" y="14"/>
                          </a:lnTo>
                          <a:lnTo>
                            <a:pt x="118" y="12"/>
                          </a:lnTo>
                          <a:lnTo>
                            <a:pt x="124" y="12"/>
                          </a:lnTo>
                          <a:lnTo>
                            <a:pt x="128" y="12"/>
                          </a:lnTo>
                          <a:lnTo>
                            <a:pt x="128" y="12"/>
                          </a:lnTo>
                          <a:lnTo>
                            <a:pt x="138" y="16"/>
                          </a:lnTo>
                          <a:lnTo>
                            <a:pt x="138" y="18"/>
                          </a:lnTo>
                          <a:lnTo>
                            <a:pt x="136" y="18"/>
                          </a:lnTo>
                          <a:lnTo>
                            <a:pt x="126" y="20"/>
                          </a:lnTo>
                          <a:lnTo>
                            <a:pt x="126" y="20"/>
                          </a:lnTo>
                          <a:lnTo>
                            <a:pt x="116" y="26"/>
                          </a:lnTo>
                          <a:lnTo>
                            <a:pt x="110" y="28"/>
                          </a:lnTo>
                          <a:lnTo>
                            <a:pt x="104" y="28"/>
                          </a:lnTo>
                          <a:lnTo>
                            <a:pt x="104" y="28"/>
                          </a:lnTo>
                          <a:lnTo>
                            <a:pt x="94" y="28"/>
                          </a:lnTo>
                          <a:lnTo>
                            <a:pt x="88" y="28"/>
                          </a:lnTo>
                          <a:lnTo>
                            <a:pt x="84" y="26"/>
                          </a:lnTo>
                          <a:lnTo>
                            <a:pt x="78" y="26"/>
                          </a:lnTo>
                          <a:lnTo>
                            <a:pt x="78" y="26"/>
                          </a:lnTo>
                          <a:lnTo>
                            <a:pt x="58" y="30"/>
                          </a:lnTo>
                          <a:lnTo>
                            <a:pt x="44" y="30"/>
                          </a:lnTo>
                          <a:lnTo>
                            <a:pt x="32" y="32"/>
                          </a:lnTo>
                          <a:lnTo>
                            <a:pt x="32" y="32"/>
                          </a:lnTo>
                          <a:lnTo>
                            <a:pt x="22" y="30"/>
                          </a:lnTo>
                          <a:lnTo>
                            <a:pt x="16" y="28"/>
                          </a:lnTo>
                          <a:lnTo>
                            <a:pt x="16" y="26"/>
                          </a:lnTo>
                          <a:lnTo>
                            <a:pt x="20" y="26"/>
                          </a:lnTo>
                          <a:lnTo>
                            <a:pt x="20" y="26"/>
                          </a:lnTo>
                          <a:lnTo>
                            <a:pt x="36" y="24"/>
                          </a:lnTo>
                          <a:lnTo>
                            <a:pt x="44" y="24"/>
                          </a:lnTo>
                          <a:lnTo>
                            <a:pt x="44" y="24"/>
                          </a:lnTo>
                          <a:lnTo>
                            <a:pt x="44" y="22"/>
                          </a:lnTo>
                          <a:lnTo>
                            <a:pt x="44" y="22"/>
                          </a:lnTo>
                          <a:lnTo>
                            <a:pt x="38" y="22"/>
                          </a:lnTo>
                          <a:lnTo>
                            <a:pt x="32" y="20"/>
                          </a:lnTo>
                          <a:lnTo>
                            <a:pt x="32" y="20"/>
                          </a:lnTo>
                          <a:lnTo>
                            <a:pt x="32" y="20"/>
                          </a:lnTo>
                          <a:lnTo>
                            <a:pt x="32" y="18"/>
                          </a:lnTo>
                          <a:lnTo>
                            <a:pt x="34" y="16"/>
                          </a:lnTo>
                          <a:lnTo>
                            <a:pt x="32" y="16"/>
                          </a:lnTo>
                          <a:lnTo>
                            <a:pt x="32" y="16"/>
                          </a:lnTo>
                          <a:lnTo>
                            <a:pt x="30" y="16"/>
                          </a:lnTo>
                          <a:lnTo>
                            <a:pt x="26" y="18"/>
                          </a:lnTo>
                          <a:lnTo>
                            <a:pt x="22" y="20"/>
                          </a:lnTo>
                          <a:lnTo>
                            <a:pt x="18" y="22"/>
                          </a:lnTo>
                          <a:lnTo>
                            <a:pt x="18" y="22"/>
                          </a:lnTo>
                          <a:lnTo>
                            <a:pt x="10" y="20"/>
                          </a:lnTo>
                          <a:lnTo>
                            <a:pt x="8" y="20"/>
                          </a:lnTo>
                          <a:lnTo>
                            <a:pt x="2" y="16"/>
                          </a:lnTo>
                          <a:lnTo>
                            <a:pt x="2" y="16"/>
                          </a:lnTo>
                          <a:lnTo>
                            <a:pt x="0" y="14"/>
                          </a:lnTo>
                          <a:lnTo>
                            <a:pt x="4" y="12"/>
                          </a:lnTo>
                          <a:lnTo>
                            <a:pt x="18" y="6"/>
                          </a:lnTo>
                          <a:lnTo>
                            <a:pt x="18" y="6"/>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18"/>
                    <p:cNvSpPr>
                      <a:spLocks/>
                    </p:cNvSpPr>
                    <p:nvPr/>
                  </p:nvSpPr>
                  <p:spPr bwMode="auto">
                    <a:xfrm>
                      <a:off x="3909102" y="1172318"/>
                      <a:ext cx="637905" cy="94080"/>
                    </a:xfrm>
                    <a:custGeom>
                      <a:avLst/>
                      <a:gdLst/>
                      <a:ahLst/>
                      <a:cxnLst>
                        <a:cxn ang="0">
                          <a:pos x="278" y="6"/>
                        </a:cxn>
                        <a:cxn ang="0">
                          <a:pos x="260" y="4"/>
                        </a:cxn>
                        <a:cxn ang="0">
                          <a:pos x="220" y="6"/>
                        </a:cxn>
                        <a:cxn ang="0">
                          <a:pos x="198" y="6"/>
                        </a:cxn>
                        <a:cxn ang="0">
                          <a:pos x="170" y="8"/>
                        </a:cxn>
                        <a:cxn ang="0">
                          <a:pos x="154" y="6"/>
                        </a:cxn>
                        <a:cxn ang="0">
                          <a:pos x="134" y="6"/>
                        </a:cxn>
                        <a:cxn ang="0">
                          <a:pos x="118" y="10"/>
                        </a:cxn>
                        <a:cxn ang="0">
                          <a:pos x="100" y="16"/>
                        </a:cxn>
                        <a:cxn ang="0">
                          <a:pos x="126" y="14"/>
                        </a:cxn>
                        <a:cxn ang="0">
                          <a:pos x="142" y="12"/>
                        </a:cxn>
                        <a:cxn ang="0">
                          <a:pos x="150" y="12"/>
                        </a:cxn>
                        <a:cxn ang="0">
                          <a:pos x="168" y="14"/>
                        </a:cxn>
                        <a:cxn ang="0">
                          <a:pos x="184" y="14"/>
                        </a:cxn>
                        <a:cxn ang="0">
                          <a:pos x="156" y="16"/>
                        </a:cxn>
                        <a:cxn ang="0">
                          <a:pos x="138" y="20"/>
                        </a:cxn>
                        <a:cxn ang="0">
                          <a:pos x="134" y="30"/>
                        </a:cxn>
                        <a:cxn ang="0">
                          <a:pos x="130" y="30"/>
                        </a:cxn>
                        <a:cxn ang="0">
                          <a:pos x="124" y="26"/>
                        </a:cxn>
                        <a:cxn ang="0">
                          <a:pos x="104" y="26"/>
                        </a:cxn>
                        <a:cxn ang="0">
                          <a:pos x="96" y="30"/>
                        </a:cxn>
                        <a:cxn ang="0">
                          <a:pos x="68" y="34"/>
                        </a:cxn>
                        <a:cxn ang="0">
                          <a:pos x="62" y="40"/>
                        </a:cxn>
                        <a:cxn ang="0">
                          <a:pos x="88" y="38"/>
                        </a:cxn>
                        <a:cxn ang="0">
                          <a:pos x="68" y="42"/>
                        </a:cxn>
                        <a:cxn ang="0">
                          <a:pos x="84" y="46"/>
                        </a:cxn>
                        <a:cxn ang="0">
                          <a:pos x="74" y="46"/>
                        </a:cxn>
                        <a:cxn ang="0">
                          <a:pos x="36" y="44"/>
                        </a:cxn>
                        <a:cxn ang="0">
                          <a:pos x="30" y="48"/>
                        </a:cxn>
                        <a:cxn ang="0">
                          <a:pos x="4" y="52"/>
                        </a:cxn>
                        <a:cxn ang="0">
                          <a:pos x="8" y="58"/>
                        </a:cxn>
                        <a:cxn ang="0">
                          <a:pos x="28" y="56"/>
                        </a:cxn>
                        <a:cxn ang="0">
                          <a:pos x="56" y="62"/>
                        </a:cxn>
                        <a:cxn ang="0">
                          <a:pos x="72" y="58"/>
                        </a:cxn>
                        <a:cxn ang="0">
                          <a:pos x="92" y="58"/>
                        </a:cxn>
                        <a:cxn ang="0">
                          <a:pos x="106" y="58"/>
                        </a:cxn>
                        <a:cxn ang="0">
                          <a:pos x="122" y="62"/>
                        </a:cxn>
                        <a:cxn ang="0">
                          <a:pos x="142" y="56"/>
                        </a:cxn>
                        <a:cxn ang="0">
                          <a:pos x="160" y="54"/>
                        </a:cxn>
                        <a:cxn ang="0">
                          <a:pos x="152" y="46"/>
                        </a:cxn>
                        <a:cxn ang="0">
                          <a:pos x="176" y="46"/>
                        </a:cxn>
                        <a:cxn ang="0">
                          <a:pos x="178" y="40"/>
                        </a:cxn>
                        <a:cxn ang="0">
                          <a:pos x="194" y="40"/>
                        </a:cxn>
                        <a:cxn ang="0">
                          <a:pos x="224" y="44"/>
                        </a:cxn>
                        <a:cxn ang="0">
                          <a:pos x="236" y="38"/>
                        </a:cxn>
                        <a:cxn ang="0">
                          <a:pos x="256" y="40"/>
                        </a:cxn>
                        <a:cxn ang="0">
                          <a:pos x="278" y="36"/>
                        </a:cxn>
                        <a:cxn ang="0">
                          <a:pos x="308" y="36"/>
                        </a:cxn>
                        <a:cxn ang="0">
                          <a:pos x="358" y="24"/>
                        </a:cxn>
                        <a:cxn ang="0">
                          <a:pos x="398" y="16"/>
                        </a:cxn>
                        <a:cxn ang="0">
                          <a:pos x="420" y="8"/>
                        </a:cxn>
                        <a:cxn ang="0">
                          <a:pos x="386" y="4"/>
                        </a:cxn>
                        <a:cxn ang="0">
                          <a:pos x="358" y="0"/>
                        </a:cxn>
                        <a:cxn ang="0">
                          <a:pos x="306" y="6"/>
                        </a:cxn>
                      </a:cxnLst>
                      <a:rect l="0" t="0" r="r" b="b"/>
                      <a:pathLst>
                        <a:path w="420" h="62">
                          <a:moveTo>
                            <a:pt x="306" y="6"/>
                          </a:moveTo>
                          <a:lnTo>
                            <a:pt x="306" y="6"/>
                          </a:lnTo>
                          <a:lnTo>
                            <a:pt x="292" y="4"/>
                          </a:lnTo>
                          <a:lnTo>
                            <a:pt x="278" y="6"/>
                          </a:lnTo>
                          <a:lnTo>
                            <a:pt x="278" y="6"/>
                          </a:lnTo>
                          <a:lnTo>
                            <a:pt x="272" y="6"/>
                          </a:lnTo>
                          <a:lnTo>
                            <a:pt x="266" y="6"/>
                          </a:lnTo>
                          <a:lnTo>
                            <a:pt x="260" y="4"/>
                          </a:lnTo>
                          <a:lnTo>
                            <a:pt x="254" y="4"/>
                          </a:lnTo>
                          <a:lnTo>
                            <a:pt x="254" y="4"/>
                          </a:lnTo>
                          <a:lnTo>
                            <a:pt x="238" y="4"/>
                          </a:lnTo>
                          <a:lnTo>
                            <a:pt x="220" y="6"/>
                          </a:lnTo>
                          <a:lnTo>
                            <a:pt x="220" y="6"/>
                          </a:lnTo>
                          <a:lnTo>
                            <a:pt x="212" y="6"/>
                          </a:lnTo>
                          <a:lnTo>
                            <a:pt x="204" y="6"/>
                          </a:lnTo>
                          <a:lnTo>
                            <a:pt x="198" y="6"/>
                          </a:lnTo>
                          <a:lnTo>
                            <a:pt x="192" y="6"/>
                          </a:lnTo>
                          <a:lnTo>
                            <a:pt x="192" y="6"/>
                          </a:lnTo>
                          <a:lnTo>
                            <a:pt x="180" y="6"/>
                          </a:lnTo>
                          <a:lnTo>
                            <a:pt x="170" y="8"/>
                          </a:lnTo>
                          <a:lnTo>
                            <a:pt x="170" y="8"/>
                          </a:lnTo>
                          <a:lnTo>
                            <a:pt x="164" y="8"/>
                          </a:lnTo>
                          <a:lnTo>
                            <a:pt x="160" y="6"/>
                          </a:lnTo>
                          <a:lnTo>
                            <a:pt x="154" y="6"/>
                          </a:lnTo>
                          <a:lnTo>
                            <a:pt x="150" y="6"/>
                          </a:lnTo>
                          <a:lnTo>
                            <a:pt x="150" y="6"/>
                          </a:lnTo>
                          <a:lnTo>
                            <a:pt x="140" y="6"/>
                          </a:lnTo>
                          <a:lnTo>
                            <a:pt x="134" y="6"/>
                          </a:lnTo>
                          <a:lnTo>
                            <a:pt x="132" y="8"/>
                          </a:lnTo>
                          <a:lnTo>
                            <a:pt x="132" y="8"/>
                          </a:lnTo>
                          <a:lnTo>
                            <a:pt x="126" y="8"/>
                          </a:lnTo>
                          <a:lnTo>
                            <a:pt x="118" y="10"/>
                          </a:lnTo>
                          <a:lnTo>
                            <a:pt x="108" y="12"/>
                          </a:lnTo>
                          <a:lnTo>
                            <a:pt x="102" y="14"/>
                          </a:lnTo>
                          <a:lnTo>
                            <a:pt x="102" y="14"/>
                          </a:lnTo>
                          <a:lnTo>
                            <a:pt x="100" y="16"/>
                          </a:lnTo>
                          <a:lnTo>
                            <a:pt x="102" y="16"/>
                          </a:lnTo>
                          <a:lnTo>
                            <a:pt x="110" y="16"/>
                          </a:lnTo>
                          <a:lnTo>
                            <a:pt x="118" y="14"/>
                          </a:lnTo>
                          <a:lnTo>
                            <a:pt x="126" y="14"/>
                          </a:lnTo>
                          <a:lnTo>
                            <a:pt x="126" y="14"/>
                          </a:lnTo>
                          <a:lnTo>
                            <a:pt x="130" y="16"/>
                          </a:lnTo>
                          <a:lnTo>
                            <a:pt x="134" y="14"/>
                          </a:lnTo>
                          <a:lnTo>
                            <a:pt x="142" y="12"/>
                          </a:lnTo>
                          <a:lnTo>
                            <a:pt x="142" y="12"/>
                          </a:lnTo>
                          <a:lnTo>
                            <a:pt x="148" y="14"/>
                          </a:lnTo>
                          <a:lnTo>
                            <a:pt x="148" y="14"/>
                          </a:lnTo>
                          <a:lnTo>
                            <a:pt x="150" y="12"/>
                          </a:lnTo>
                          <a:lnTo>
                            <a:pt x="150" y="12"/>
                          </a:lnTo>
                          <a:lnTo>
                            <a:pt x="158" y="12"/>
                          </a:lnTo>
                          <a:lnTo>
                            <a:pt x="168" y="14"/>
                          </a:lnTo>
                          <a:lnTo>
                            <a:pt x="168" y="14"/>
                          </a:lnTo>
                          <a:lnTo>
                            <a:pt x="180" y="14"/>
                          </a:lnTo>
                          <a:lnTo>
                            <a:pt x="184" y="14"/>
                          </a:lnTo>
                          <a:lnTo>
                            <a:pt x="184" y="14"/>
                          </a:lnTo>
                          <a:lnTo>
                            <a:pt x="184" y="14"/>
                          </a:lnTo>
                          <a:lnTo>
                            <a:pt x="174" y="16"/>
                          </a:lnTo>
                          <a:lnTo>
                            <a:pt x="162" y="16"/>
                          </a:lnTo>
                          <a:lnTo>
                            <a:pt x="162" y="16"/>
                          </a:lnTo>
                          <a:lnTo>
                            <a:pt x="156" y="16"/>
                          </a:lnTo>
                          <a:lnTo>
                            <a:pt x="150" y="18"/>
                          </a:lnTo>
                          <a:lnTo>
                            <a:pt x="146" y="20"/>
                          </a:lnTo>
                          <a:lnTo>
                            <a:pt x="138" y="20"/>
                          </a:lnTo>
                          <a:lnTo>
                            <a:pt x="138" y="20"/>
                          </a:lnTo>
                          <a:lnTo>
                            <a:pt x="136" y="20"/>
                          </a:lnTo>
                          <a:lnTo>
                            <a:pt x="134" y="22"/>
                          </a:lnTo>
                          <a:lnTo>
                            <a:pt x="134" y="26"/>
                          </a:lnTo>
                          <a:lnTo>
                            <a:pt x="134" y="30"/>
                          </a:lnTo>
                          <a:lnTo>
                            <a:pt x="134" y="32"/>
                          </a:lnTo>
                          <a:lnTo>
                            <a:pt x="134" y="30"/>
                          </a:lnTo>
                          <a:lnTo>
                            <a:pt x="134" y="30"/>
                          </a:lnTo>
                          <a:lnTo>
                            <a:pt x="130" y="30"/>
                          </a:lnTo>
                          <a:lnTo>
                            <a:pt x="126" y="30"/>
                          </a:lnTo>
                          <a:lnTo>
                            <a:pt x="124" y="28"/>
                          </a:lnTo>
                          <a:lnTo>
                            <a:pt x="124" y="26"/>
                          </a:lnTo>
                          <a:lnTo>
                            <a:pt x="124" y="26"/>
                          </a:lnTo>
                          <a:lnTo>
                            <a:pt x="124" y="26"/>
                          </a:lnTo>
                          <a:lnTo>
                            <a:pt x="122" y="26"/>
                          </a:lnTo>
                          <a:lnTo>
                            <a:pt x="116" y="26"/>
                          </a:lnTo>
                          <a:lnTo>
                            <a:pt x="104" y="26"/>
                          </a:lnTo>
                          <a:lnTo>
                            <a:pt x="104" y="26"/>
                          </a:lnTo>
                          <a:lnTo>
                            <a:pt x="94" y="28"/>
                          </a:lnTo>
                          <a:lnTo>
                            <a:pt x="96" y="30"/>
                          </a:lnTo>
                          <a:lnTo>
                            <a:pt x="96" y="30"/>
                          </a:lnTo>
                          <a:lnTo>
                            <a:pt x="94" y="32"/>
                          </a:lnTo>
                          <a:lnTo>
                            <a:pt x="76" y="32"/>
                          </a:lnTo>
                          <a:lnTo>
                            <a:pt x="76" y="32"/>
                          </a:lnTo>
                          <a:lnTo>
                            <a:pt x="68" y="34"/>
                          </a:lnTo>
                          <a:lnTo>
                            <a:pt x="62" y="36"/>
                          </a:lnTo>
                          <a:lnTo>
                            <a:pt x="60" y="38"/>
                          </a:lnTo>
                          <a:lnTo>
                            <a:pt x="62" y="40"/>
                          </a:lnTo>
                          <a:lnTo>
                            <a:pt x="62" y="40"/>
                          </a:lnTo>
                          <a:lnTo>
                            <a:pt x="68" y="40"/>
                          </a:lnTo>
                          <a:lnTo>
                            <a:pt x="74" y="40"/>
                          </a:lnTo>
                          <a:lnTo>
                            <a:pt x="88" y="38"/>
                          </a:lnTo>
                          <a:lnTo>
                            <a:pt x="88" y="38"/>
                          </a:lnTo>
                          <a:lnTo>
                            <a:pt x="90" y="40"/>
                          </a:lnTo>
                          <a:lnTo>
                            <a:pt x="86" y="40"/>
                          </a:lnTo>
                          <a:lnTo>
                            <a:pt x="68" y="42"/>
                          </a:lnTo>
                          <a:lnTo>
                            <a:pt x="68" y="42"/>
                          </a:lnTo>
                          <a:lnTo>
                            <a:pt x="68" y="42"/>
                          </a:lnTo>
                          <a:lnTo>
                            <a:pt x="68" y="42"/>
                          </a:lnTo>
                          <a:lnTo>
                            <a:pt x="76" y="44"/>
                          </a:lnTo>
                          <a:lnTo>
                            <a:pt x="84" y="46"/>
                          </a:lnTo>
                          <a:lnTo>
                            <a:pt x="84" y="46"/>
                          </a:lnTo>
                          <a:lnTo>
                            <a:pt x="84" y="46"/>
                          </a:lnTo>
                          <a:lnTo>
                            <a:pt x="84" y="46"/>
                          </a:lnTo>
                          <a:lnTo>
                            <a:pt x="74" y="46"/>
                          </a:lnTo>
                          <a:lnTo>
                            <a:pt x="62" y="44"/>
                          </a:lnTo>
                          <a:lnTo>
                            <a:pt x="62" y="44"/>
                          </a:lnTo>
                          <a:lnTo>
                            <a:pt x="48" y="42"/>
                          </a:lnTo>
                          <a:lnTo>
                            <a:pt x="36" y="44"/>
                          </a:lnTo>
                          <a:lnTo>
                            <a:pt x="36" y="44"/>
                          </a:lnTo>
                          <a:lnTo>
                            <a:pt x="32" y="44"/>
                          </a:lnTo>
                          <a:lnTo>
                            <a:pt x="30" y="46"/>
                          </a:lnTo>
                          <a:lnTo>
                            <a:pt x="30" y="48"/>
                          </a:lnTo>
                          <a:lnTo>
                            <a:pt x="28" y="48"/>
                          </a:lnTo>
                          <a:lnTo>
                            <a:pt x="28" y="48"/>
                          </a:lnTo>
                          <a:lnTo>
                            <a:pt x="18" y="50"/>
                          </a:lnTo>
                          <a:lnTo>
                            <a:pt x="4" y="52"/>
                          </a:lnTo>
                          <a:lnTo>
                            <a:pt x="4" y="52"/>
                          </a:lnTo>
                          <a:lnTo>
                            <a:pt x="0" y="54"/>
                          </a:lnTo>
                          <a:lnTo>
                            <a:pt x="0" y="56"/>
                          </a:lnTo>
                          <a:lnTo>
                            <a:pt x="8" y="58"/>
                          </a:lnTo>
                          <a:lnTo>
                            <a:pt x="8" y="58"/>
                          </a:lnTo>
                          <a:lnTo>
                            <a:pt x="18" y="58"/>
                          </a:lnTo>
                          <a:lnTo>
                            <a:pt x="22" y="58"/>
                          </a:lnTo>
                          <a:lnTo>
                            <a:pt x="28" y="56"/>
                          </a:lnTo>
                          <a:lnTo>
                            <a:pt x="34" y="58"/>
                          </a:lnTo>
                          <a:lnTo>
                            <a:pt x="34" y="58"/>
                          </a:lnTo>
                          <a:lnTo>
                            <a:pt x="50" y="62"/>
                          </a:lnTo>
                          <a:lnTo>
                            <a:pt x="56" y="62"/>
                          </a:lnTo>
                          <a:lnTo>
                            <a:pt x="62" y="62"/>
                          </a:lnTo>
                          <a:lnTo>
                            <a:pt x="62" y="62"/>
                          </a:lnTo>
                          <a:lnTo>
                            <a:pt x="68" y="60"/>
                          </a:lnTo>
                          <a:lnTo>
                            <a:pt x="72" y="58"/>
                          </a:lnTo>
                          <a:lnTo>
                            <a:pt x="76" y="56"/>
                          </a:lnTo>
                          <a:lnTo>
                            <a:pt x="80" y="56"/>
                          </a:lnTo>
                          <a:lnTo>
                            <a:pt x="80" y="56"/>
                          </a:lnTo>
                          <a:lnTo>
                            <a:pt x="92" y="58"/>
                          </a:lnTo>
                          <a:lnTo>
                            <a:pt x="98" y="60"/>
                          </a:lnTo>
                          <a:lnTo>
                            <a:pt x="102" y="60"/>
                          </a:lnTo>
                          <a:lnTo>
                            <a:pt x="102" y="60"/>
                          </a:lnTo>
                          <a:lnTo>
                            <a:pt x="106" y="58"/>
                          </a:lnTo>
                          <a:lnTo>
                            <a:pt x="112" y="60"/>
                          </a:lnTo>
                          <a:lnTo>
                            <a:pt x="116" y="62"/>
                          </a:lnTo>
                          <a:lnTo>
                            <a:pt x="122" y="62"/>
                          </a:lnTo>
                          <a:lnTo>
                            <a:pt x="122" y="62"/>
                          </a:lnTo>
                          <a:lnTo>
                            <a:pt x="128" y="60"/>
                          </a:lnTo>
                          <a:lnTo>
                            <a:pt x="132" y="58"/>
                          </a:lnTo>
                          <a:lnTo>
                            <a:pt x="136" y="56"/>
                          </a:lnTo>
                          <a:lnTo>
                            <a:pt x="142" y="56"/>
                          </a:lnTo>
                          <a:lnTo>
                            <a:pt x="142" y="56"/>
                          </a:lnTo>
                          <a:lnTo>
                            <a:pt x="154" y="56"/>
                          </a:lnTo>
                          <a:lnTo>
                            <a:pt x="160" y="56"/>
                          </a:lnTo>
                          <a:lnTo>
                            <a:pt x="160" y="54"/>
                          </a:lnTo>
                          <a:lnTo>
                            <a:pt x="158" y="52"/>
                          </a:lnTo>
                          <a:lnTo>
                            <a:pt x="158" y="52"/>
                          </a:lnTo>
                          <a:lnTo>
                            <a:pt x="150" y="46"/>
                          </a:lnTo>
                          <a:lnTo>
                            <a:pt x="152" y="46"/>
                          </a:lnTo>
                          <a:lnTo>
                            <a:pt x="158" y="46"/>
                          </a:lnTo>
                          <a:lnTo>
                            <a:pt x="158" y="46"/>
                          </a:lnTo>
                          <a:lnTo>
                            <a:pt x="172" y="48"/>
                          </a:lnTo>
                          <a:lnTo>
                            <a:pt x="176" y="46"/>
                          </a:lnTo>
                          <a:lnTo>
                            <a:pt x="174" y="42"/>
                          </a:lnTo>
                          <a:lnTo>
                            <a:pt x="174" y="42"/>
                          </a:lnTo>
                          <a:lnTo>
                            <a:pt x="172" y="38"/>
                          </a:lnTo>
                          <a:lnTo>
                            <a:pt x="178" y="40"/>
                          </a:lnTo>
                          <a:lnTo>
                            <a:pt x="178" y="40"/>
                          </a:lnTo>
                          <a:lnTo>
                            <a:pt x="186" y="42"/>
                          </a:lnTo>
                          <a:lnTo>
                            <a:pt x="190" y="40"/>
                          </a:lnTo>
                          <a:lnTo>
                            <a:pt x="194" y="40"/>
                          </a:lnTo>
                          <a:lnTo>
                            <a:pt x="198" y="40"/>
                          </a:lnTo>
                          <a:lnTo>
                            <a:pt x="198" y="40"/>
                          </a:lnTo>
                          <a:lnTo>
                            <a:pt x="214" y="42"/>
                          </a:lnTo>
                          <a:lnTo>
                            <a:pt x="224" y="44"/>
                          </a:lnTo>
                          <a:lnTo>
                            <a:pt x="228" y="42"/>
                          </a:lnTo>
                          <a:lnTo>
                            <a:pt x="230" y="40"/>
                          </a:lnTo>
                          <a:lnTo>
                            <a:pt x="230" y="40"/>
                          </a:lnTo>
                          <a:lnTo>
                            <a:pt x="236" y="38"/>
                          </a:lnTo>
                          <a:lnTo>
                            <a:pt x="240" y="36"/>
                          </a:lnTo>
                          <a:lnTo>
                            <a:pt x="248" y="38"/>
                          </a:lnTo>
                          <a:lnTo>
                            <a:pt x="248" y="38"/>
                          </a:lnTo>
                          <a:lnTo>
                            <a:pt x="256" y="40"/>
                          </a:lnTo>
                          <a:lnTo>
                            <a:pt x="262" y="40"/>
                          </a:lnTo>
                          <a:lnTo>
                            <a:pt x="268" y="38"/>
                          </a:lnTo>
                          <a:lnTo>
                            <a:pt x="268" y="38"/>
                          </a:lnTo>
                          <a:lnTo>
                            <a:pt x="278" y="36"/>
                          </a:lnTo>
                          <a:lnTo>
                            <a:pt x="284" y="38"/>
                          </a:lnTo>
                          <a:lnTo>
                            <a:pt x="294" y="38"/>
                          </a:lnTo>
                          <a:lnTo>
                            <a:pt x="308" y="36"/>
                          </a:lnTo>
                          <a:lnTo>
                            <a:pt x="308" y="36"/>
                          </a:lnTo>
                          <a:lnTo>
                            <a:pt x="324" y="32"/>
                          </a:lnTo>
                          <a:lnTo>
                            <a:pt x="336" y="30"/>
                          </a:lnTo>
                          <a:lnTo>
                            <a:pt x="346" y="28"/>
                          </a:lnTo>
                          <a:lnTo>
                            <a:pt x="358" y="24"/>
                          </a:lnTo>
                          <a:lnTo>
                            <a:pt x="358" y="24"/>
                          </a:lnTo>
                          <a:lnTo>
                            <a:pt x="370" y="20"/>
                          </a:lnTo>
                          <a:lnTo>
                            <a:pt x="380" y="18"/>
                          </a:lnTo>
                          <a:lnTo>
                            <a:pt x="398" y="16"/>
                          </a:lnTo>
                          <a:lnTo>
                            <a:pt x="398" y="16"/>
                          </a:lnTo>
                          <a:lnTo>
                            <a:pt x="408" y="14"/>
                          </a:lnTo>
                          <a:lnTo>
                            <a:pt x="418" y="10"/>
                          </a:lnTo>
                          <a:lnTo>
                            <a:pt x="420" y="8"/>
                          </a:lnTo>
                          <a:lnTo>
                            <a:pt x="418" y="6"/>
                          </a:lnTo>
                          <a:lnTo>
                            <a:pt x="404" y="6"/>
                          </a:lnTo>
                          <a:lnTo>
                            <a:pt x="404" y="6"/>
                          </a:lnTo>
                          <a:lnTo>
                            <a:pt x="386" y="4"/>
                          </a:lnTo>
                          <a:lnTo>
                            <a:pt x="378" y="2"/>
                          </a:lnTo>
                          <a:lnTo>
                            <a:pt x="372" y="0"/>
                          </a:lnTo>
                          <a:lnTo>
                            <a:pt x="358" y="0"/>
                          </a:lnTo>
                          <a:lnTo>
                            <a:pt x="358" y="0"/>
                          </a:lnTo>
                          <a:lnTo>
                            <a:pt x="344" y="2"/>
                          </a:lnTo>
                          <a:lnTo>
                            <a:pt x="330" y="6"/>
                          </a:lnTo>
                          <a:lnTo>
                            <a:pt x="320" y="6"/>
                          </a:lnTo>
                          <a:lnTo>
                            <a:pt x="306" y="6"/>
                          </a:lnTo>
                          <a:lnTo>
                            <a:pt x="306" y="6"/>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19"/>
                    <p:cNvSpPr>
                      <a:spLocks/>
                    </p:cNvSpPr>
                    <p:nvPr/>
                  </p:nvSpPr>
                  <p:spPr bwMode="auto">
                    <a:xfrm>
                      <a:off x="3742032" y="1272468"/>
                      <a:ext cx="57715" cy="21244"/>
                    </a:xfrm>
                    <a:custGeom>
                      <a:avLst/>
                      <a:gdLst/>
                      <a:ahLst/>
                      <a:cxnLst>
                        <a:cxn ang="0">
                          <a:pos x="32" y="2"/>
                        </a:cxn>
                        <a:cxn ang="0">
                          <a:pos x="32" y="2"/>
                        </a:cxn>
                        <a:cxn ang="0">
                          <a:pos x="38" y="4"/>
                        </a:cxn>
                        <a:cxn ang="0">
                          <a:pos x="38" y="6"/>
                        </a:cxn>
                        <a:cxn ang="0">
                          <a:pos x="38" y="8"/>
                        </a:cxn>
                        <a:cxn ang="0">
                          <a:pos x="36" y="10"/>
                        </a:cxn>
                        <a:cxn ang="0">
                          <a:pos x="36" y="10"/>
                        </a:cxn>
                        <a:cxn ang="0">
                          <a:pos x="26" y="12"/>
                        </a:cxn>
                        <a:cxn ang="0">
                          <a:pos x="14" y="14"/>
                        </a:cxn>
                        <a:cxn ang="0">
                          <a:pos x="14" y="14"/>
                        </a:cxn>
                        <a:cxn ang="0">
                          <a:pos x="6" y="12"/>
                        </a:cxn>
                        <a:cxn ang="0">
                          <a:pos x="0" y="12"/>
                        </a:cxn>
                        <a:cxn ang="0">
                          <a:pos x="0" y="10"/>
                        </a:cxn>
                        <a:cxn ang="0">
                          <a:pos x="4" y="8"/>
                        </a:cxn>
                        <a:cxn ang="0">
                          <a:pos x="4" y="8"/>
                        </a:cxn>
                        <a:cxn ang="0">
                          <a:pos x="22" y="8"/>
                        </a:cxn>
                        <a:cxn ang="0">
                          <a:pos x="26" y="6"/>
                        </a:cxn>
                        <a:cxn ang="0">
                          <a:pos x="24" y="6"/>
                        </a:cxn>
                        <a:cxn ang="0">
                          <a:pos x="24" y="6"/>
                        </a:cxn>
                        <a:cxn ang="0">
                          <a:pos x="14" y="6"/>
                        </a:cxn>
                        <a:cxn ang="0">
                          <a:pos x="12" y="6"/>
                        </a:cxn>
                        <a:cxn ang="0">
                          <a:pos x="12" y="6"/>
                        </a:cxn>
                        <a:cxn ang="0">
                          <a:pos x="12" y="6"/>
                        </a:cxn>
                        <a:cxn ang="0">
                          <a:pos x="18" y="2"/>
                        </a:cxn>
                        <a:cxn ang="0">
                          <a:pos x="24" y="0"/>
                        </a:cxn>
                        <a:cxn ang="0">
                          <a:pos x="32" y="2"/>
                        </a:cxn>
                        <a:cxn ang="0">
                          <a:pos x="32" y="2"/>
                        </a:cxn>
                      </a:cxnLst>
                      <a:rect l="0" t="0" r="r" b="b"/>
                      <a:pathLst>
                        <a:path w="38" h="14">
                          <a:moveTo>
                            <a:pt x="32" y="2"/>
                          </a:moveTo>
                          <a:lnTo>
                            <a:pt x="32" y="2"/>
                          </a:lnTo>
                          <a:lnTo>
                            <a:pt x="38" y="4"/>
                          </a:lnTo>
                          <a:lnTo>
                            <a:pt x="38" y="6"/>
                          </a:lnTo>
                          <a:lnTo>
                            <a:pt x="38" y="8"/>
                          </a:lnTo>
                          <a:lnTo>
                            <a:pt x="36" y="10"/>
                          </a:lnTo>
                          <a:lnTo>
                            <a:pt x="36" y="10"/>
                          </a:lnTo>
                          <a:lnTo>
                            <a:pt x="26" y="12"/>
                          </a:lnTo>
                          <a:lnTo>
                            <a:pt x="14" y="14"/>
                          </a:lnTo>
                          <a:lnTo>
                            <a:pt x="14" y="14"/>
                          </a:lnTo>
                          <a:lnTo>
                            <a:pt x="6" y="12"/>
                          </a:lnTo>
                          <a:lnTo>
                            <a:pt x="0" y="12"/>
                          </a:lnTo>
                          <a:lnTo>
                            <a:pt x="0" y="10"/>
                          </a:lnTo>
                          <a:lnTo>
                            <a:pt x="4" y="8"/>
                          </a:lnTo>
                          <a:lnTo>
                            <a:pt x="4" y="8"/>
                          </a:lnTo>
                          <a:lnTo>
                            <a:pt x="22" y="8"/>
                          </a:lnTo>
                          <a:lnTo>
                            <a:pt x="26" y="6"/>
                          </a:lnTo>
                          <a:lnTo>
                            <a:pt x="24" y="6"/>
                          </a:lnTo>
                          <a:lnTo>
                            <a:pt x="24" y="6"/>
                          </a:lnTo>
                          <a:lnTo>
                            <a:pt x="14" y="6"/>
                          </a:lnTo>
                          <a:lnTo>
                            <a:pt x="12" y="6"/>
                          </a:lnTo>
                          <a:lnTo>
                            <a:pt x="12" y="6"/>
                          </a:lnTo>
                          <a:lnTo>
                            <a:pt x="12" y="6"/>
                          </a:lnTo>
                          <a:lnTo>
                            <a:pt x="18" y="2"/>
                          </a:lnTo>
                          <a:lnTo>
                            <a:pt x="24" y="0"/>
                          </a:lnTo>
                          <a:lnTo>
                            <a:pt x="32" y="2"/>
                          </a:lnTo>
                          <a:lnTo>
                            <a:pt x="32" y="2"/>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20"/>
                    <p:cNvSpPr>
                      <a:spLocks/>
                    </p:cNvSpPr>
                    <p:nvPr/>
                  </p:nvSpPr>
                  <p:spPr bwMode="auto">
                    <a:xfrm>
                      <a:off x="3602301" y="1236050"/>
                      <a:ext cx="167070" cy="45523"/>
                    </a:xfrm>
                    <a:custGeom>
                      <a:avLst/>
                      <a:gdLst/>
                      <a:ahLst/>
                      <a:cxnLst>
                        <a:cxn ang="0">
                          <a:pos x="78" y="28"/>
                        </a:cxn>
                        <a:cxn ang="0">
                          <a:pos x="66" y="28"/>
                        </a:cxn>
                        <a:cxn ang="0">
                          <a:pos x="60" y="26"/>
                        </a:cxn>
                        <a:cxn ang="0">
                          <a:pos x="54" y="28"/>
                        </a:cxn>
                        <a:cxn ang="0">
                          <a:pos x="46" y="30"/>
                        </a:cxn>
                        <a:cxn ang="0">
                          <a:pos x="44" y="26"/>
                        </a:cxn>
                        <a:cxn ang="0">
                          <a:pos x="40" y="22"/>
                        </a:cxn>
                        <a:cxn ang="0">
                          <a:pos x="26" y="26"/>
                        </a:cxn>
                        <a:cxn ang="0">
                          <a:pos x="18" y="22"/>
                        </a:cxn>
                        <a:cxn ang="0">
                          <a:pos x="16" y="18"/>
                        </a:cxn>
                        <a:cxn ang="0">
                          <a:pos x="20" y="16"/>
                        </a:cxn>
                        <a:cxn ang="0">
                          <a:pos x="18" y="14"/>
                        </a:cxn>
                        <a:cxn ang="0">
                          <a:pos x="4" y="10"/>
                        </a:cxn>
                        <a:cxn ang="0">
                          <a:pos x="6" y="8"/>
                        </a:cxn>
                        <a:cxn ang="0">
                          <a:pos x="22" y="8"/>
                        </a:cxn>
                        <a:cxn ang="0">
                          <a:pos x="32" y="8"/>
                        </a:cxn>
                        <a:cxn ang="0">
                          <a:pos x="38" y="14"/>
                        </a:cxn>
                        <a:cxn ang="0">
                          <a:pos x="38" y="16"/>
                        </a:cxn>
                        <a:cxn ang="0">
                          <a:pos x="38" y="8"/>
                        </a:cxn>
                        <a:cxn ang="0">
                          <a:pos x="44" y="2"/>
                        </a:cxn>
                        <a:cxn ang="0">
                          <a:pos x="62" y="0"/>
                        </a:cxn>
                        <a:cxn ang="0">
                          <a:pos x="66" y="0"/>
                        </a:cxn>
                        <a:cxn ang="0">
                          <a:pos x="66" y="2"/>
                        </a:cxn>
                        <a:cxn ang="0">
                          <a:pos x="60" y="16"/>
                        </a:cxn>
                        <a:cxn ang="0">
                          <a:pos x="62" y="14"/>
                        </a:cxn>
                        <a:cxn ang="0">
                          <a:pos x="74" y="6"/>
                        </a:cxn>
                        <a:cxn ang="0">
                          <a:pos x="80" y="4"/>
                        </a:cxn>
                        <a:cxn ang="0">
                          <a:pos x="110" y="6"/>
                        </a:cxn>
                        <a:cxn ang="0">
                          <a:pos x="110" y="8"/>
                        </a:cxn>
                        <a:cxn ang="0">
                          <a:pos x="102" y="12"/>
                        </a:cxn>
                        <a:cxn ang="0">
                          <a:pos x="90" y="14"/>
                        </a:cxn>
                        <a:cxn ang="0">
                          <a:pos x="88" y="16"/>
                        </a:cxn>
                        <a:cxn ang="0">
                          <a:pos x="78" y="28"/>
                        </a:cxn>
                      </a:cxnLst>
                      <a:rect l="0" t="0" r="r" b="b"/>
                      <a:pathLst>
                        <a:path w="110" h="30">
                          <a:moveTo>
                            <a:pt x="78" y="28"/>
                          </a:moveTo>
                          <a:lnTo>
                            <a:pt x="78" y="28"/>
                          </a:lnTo>
                          <a:lnTo>
                            <a:pt x="70" y="30"/>
                          </a:lnTo>
                          <a:lnTo>
                            <a:pt x="66" y="28"/>
                          </a:lnTo>
                          <a:lnTo>
                            <a:pt x="64" y="26"/>
                          </a:lnTo>
                          <a:lnTo>
                            <a:pt x="60" y="26"/>
                          </a:lnTo>
                          <a:lnTo>
                            <a:pt x="60" y="26"/>
                          </a:lnTo>
                          <a:lnTo>
                            <a:pt x="54" y="28"/>
                          </a:lnTo>
                          <a:lnTo>
                            <a:pt x="48" y="30"/>
                          </a:lnTo>
                          <a:lnTo>
                            <a:pt x="46" y="30"/>
                          </a:lnTo>
                          <a:lnTo>
                            <a:pt x="44" y="26"/>
                          </a:lnTo>
                          <a:lnTo>
                            <a:pt x="44" y="26"/>
                          </a:lnTo>
                          <a:lnTo>
                            <a:pt x="42" y="24"/>
                          </a:lnTo>
                          <a:lnTo>
                            <a:pt x="40" y="22"/>
                          </a:lnTo>
                          <a:lnTo>
                            <a:pt x="34" y="24"/>
                          </a:lnTo>
                          <a:lnTo>
                            <a:pt x="26" y="26"/>
                          </a:lnTo>
                          <a:lnTo>
                            <a:pt x="22" y="24"/>
                          </a:lnTo>
                          <a:lnTo>
                            <a:pt x="18" y="22"/>
                          </a:lnTo>
                          <a:lnTo>
                            <a:pt x="18" y="22"/>
                          </a:lnTo>
                          <a:lnTo>
                            <a:pt x="16" y="18"/>
                          </a:lnTo>
                          <a:lnTo>
                            <a:pt x="18" y="16"/>
                          </a:lnTo>
                          <a:lnTo>
                            <a:pt x="20" y="16"/>
                          </a:lnTo>
                          <a:lnTo>
                            <a:pt x="18" y="14"/>
                          </a:lnTo>
                          <a:lnTo>
                            <a:pt x="18" y="14"/>
                          </a:lnTo>
                          <a:lnTo>
                            <a:pt x="12" y="12"/>
                          </a:lnTo>
                          <a:lnTo>
                            <a:pt x="4" y="10"/>
                          </a:lnTo>
                          <a:lnTo>
                            <a:pt x="0" y="8"/>
                          </a:lnTo>
                          <a:lnTo>
                            <a:pt x="6" y="8"/>
                          </a:lnTo>
                          <a:lnTo>
                            <a:pt x="6" y="8"/>
                          </a:lnTo>
                          <a:lnTo>
                            <a:pt x="22" y="8"/>
                          </a:lnTo>
                          <a:lnTo>
                            <a:pt x="32" y="8"/>
                          </a:lnTo>
                          <a:lnTo>
                            <a:pt x="32" y="8"/>
                          </a:lnTo>
                          <a:lnTo>
                            <a:pt x="36" y="10"/>
                          </a:lnTo>
                          <a:lnTo>
                            <a:pt x="38" y="14"/>
                          </a:lnTo>
                          <a:lnTo>
                            <a:pt x="38" y="16"/>
                          </a:lnTo>
                          <a:lnTo>
                            <a:pt x="38" y="16"/>
                          </a:lnTo>
                          <a:lnTo>
                            <a:pt x="38" y="16"/>
                          </a:lnTo>
                          <a:lnTo>
                            <a:pt x="38" y="8"/>
                          </a:lnTo>
                          <a:lnTo>
                            <a:pt x="40" y="4"/>
                          </a:lnTo>
                          <a:lnTo>
                            <a:pt x="44" y="2"/>
                          </a:lnTo>
                          <a:lnTo>
                            <a:pt x="44" y="2"/>
                          </a:lnTo>
                          <a:lnTo>
                            <a:pt x="62" y="0"/>
                          </a:lnTo>
                          <a:lnTo>
                            <a:pt x="66" y="0"/>
                          </a:lnTo>
                          <a:lnTo>
                            <a:pt x="66" y="0"/>
                          </a:lnTo>
                          <a:lnTo>
                            <a:pt x="66" y="2"/>
                          </a:lnTo>
                          <a:lnTo>
                            <a:pt x="66" y="2"/>
                          </a:lnTo>
                          <a:lnTo>
                            <a:pt x="60" y="12"/>
                          </a:lnTo>
                          <a:lnTo>
                            <a:pt x="60" y="16"/>
                          </a:lnTo>
                          <a:lnTo>
                            <a:pt x="62" y="14"/>
                          </a:lnTo>
                          <a:lnTo>
                            <a:pt x="62" y="14"/>
                          </a:lnTo>
                          <a:lnTo>
                            <a:pt x="68" y="8"/>
                          </a:lnTo>
                          <a:lnTo>
                            <a:pt x="74" y="6"/>
                          </a:lnTo>
                          <a:lnTo>
                            <a:pt x="80" y="4"/>
                          </a:lnTo>
                          <a:lnTo>
                            <a:pt x="80" y="4"/>
                          </a:lnTo>
                          <a:lnTo>
                            <a:pt x="102" y="4"/>
                          </a:lnTo>
                          <a:lnTo>
                            <a:pt x="110" y="6"/>
                          </a:lnTo>
                          <a:lnTo>
                            <a:pt x="110" y="6"/>
                          </a:lnTo>
                          <a:lnTo>
                            <a:pt x="110" y="8"/>
                          </a:lnTo>
                          <a:lnTo>
                            <a:pt x="110" y="8"/>
                          </a:lnTo>
                          <a:lnTo>
                            <a:pt x="102" y="12"/>
                          </a:lnTo>
                          <a:lnTo>
                            <a:pt x="96" y="12"/>
                          </a:lnTo>
                          <a:lnTo>
                            <a:pt x="90" y="14"/>
                          </a:lnTo>
                          <a:lnTo>
                            <a:pt x="88" y="16"/>
                          </a:lnTo>
                          <a:lnTo>
                            <a:pt x="88" y="16"/>
                          </a:lnTo>
                          <a:lnTo>
                            <a:pt x="82" y="24"/>
                          </a:lnTo>
                          <a:lnTo>
                            <a:pt x="78" y="28"/>
                          </a:lnTo>
                          <a:lnTo>
                            <a:pt x="78" y="28"/>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21"/>
                    <p:cNvSpPr>
                      <a:spLocks/>
                    </p:cNvSpPr>
                    <p:nvPr/>
                  </p:nvSpPr>
                  <p:spPr bwMode="auto">
                    <a:xfrm>
                      <a:off x="3778483" y="1220875"/>
                      <a:ext cx="51640" cy="18209"/>
                    </a:xfrm>
                    <a:custGeom>
                      <a:avLst/>
                      <a:gdLst/>
                      <a:ahLst/>
                      <a:cxnLst>
                        <a:cxn ang="0">
                          <a:pos x="4" y="10"/>
                        </a:cxn>
                        <a:cxn ang="0">
                          <a:pos x="4" y="10"/>
                        </a:cxn>
                        <a:cxn ang="0">
                          <a:pos x="12" y="4"/>
                        </a:cxn>
                        <a:cxn ang="0">
                          <a:pos x="22" y="0"/>
                        </a:cxn>
                        <a:cxn ang="0">
                          <a:pos x="30" y="0"/>
                        </a:cxn>
                        <a:cxn ang="0">
                          <a:pos x="32" y="0"/>
                        </a:cxn>
                        <a:cxn ang="0">
                          <a:pos x="32" y="0"/>
                        </a:cxn>
                        <a:cxn ang="0">
                          <a:pos x="32" y="0"/>
                        </a:cxn>
                        <a:cxn ang="0">
                          <a:pos x="32" y="2"/>
                        </a:cxn>
                        <a:cxn ang="0">
                          <a:pos x="34" y="6"/>
                        </a:cxn>
                        <a:cxn ang="0">
                          <a:pos x="34" y="8"/>
                        </a:cxn>
                        <a:cxn ang="0">
                          <a:pos x="34" y="8"/>
                        </a:cxn>
                        <a:cxn ang="0">
                          <a:pos x="34" y="8"/>
                        </a:cxn>
                        <a:cxn ang="0">
                          <a:pos x="30" y="10"/>
                        </a:cxn>
                        <a:cxn ang="0">
                          <a:pos x="26" y="8"/>
                        </a:cxn>
                        <a:cxn ang="0">
                          <a:pos x="22" y="8"/>
                        </a:cxn>
                        <a:cxn ang="0">
                          <a:pos x="16" y="10"/>
                        </a:cxn>
                        <a:cxn ang="0">
                          <a:pos x="16" y="10"/>
                        </a:cxn>
                        <a:cxn ang="0">
                          <a:pos x="2" y="12"/>
                        </a:cxn>
                        <a:cxn ang="0">
                          <a:pos x="0" y="12"/>
                        </a:cxn>
                        <a:cxn ang="0">
                          <a:pos x="4" y="10"/>
                        </a:cxn>
                        <a:cxn ang="0">
                          <a:pos x="4" y="10"/>
                        </a:cxn>
                      </a:cxnLst>
                      <a:rect l="0" t="0" r="r" b="b"/>
                      <a:pathLst>
                        <a:path w="34" h="12">
                          <a:moveTo>
                            <a:pt x="4" y="10"/>
                          </a:moveTo>
                          <a:lnTo>
                            <a:pt x="4" y="10"/>
                          </a:lnTo>
                          <a:lnTo>
                            <a:pt x="12" y="4"/>
                          </a:lnTo>
                          <a:lnTo>
                            <a:pt x="22" y="0"/>
                          </a:lnTo>
                          <a:lnTo>
                            <a:pt x="30" y="0"/>
                          </a:lnTo>
                          <a:lnTo>
                            <a:pt x="32" y="0"/>
                          </a:lnTo>
                          <a:lnTo>
                            <a:pt x="32" y="0"/>
                          </a:lnTo>
                          <a:lnTo>
                            <a:pt x="32" y="0"/>
                          </a:lnTo>
                          <a:lnTo>
                            <a:pt x="32" y="2"/>
                          </a:lnTo>
                          <a:lnTo>
                            <a:pt x="34" y="6"/>
                          </a:lnTo>
                          <a:lnTo>
                            <a:pt x="34" y="8"/>
                          </a:lnTo>
                          <a:lnTo>
                            <a:pt x="34" y="8"/>
                          </a:lnTo>
                          <a:lnTo>
                            <a:pt x="34" y="8"/>
                          </a:lnTo>
                          <a:lnTo>
                            <a:pt x="30" y="10"/>
                          </a:lnTo>
                          <a:lnTo>
                            <a:pt x="26" y="8"/>
                          </a:lnTo>
                          <a:lnTo>
                            <a:pt x="22" y="8"/>
                          </a:lnTo>
                          <a:lnTo>
                            <a:pt x="16" y="10"/>
                          </a:lnTo>
                          <a:lnTo>
                            <a:pt x="16" y="10"/>
                          </a:lnTo>
                          <a:lnTo>
                            <a:pt x="2" y="12"/>
                          </a:lnTo>
                          <a:lnTo>
                            <a:pt x="0" y="12"/>
                          </a:lnTo>
                          <a:lnTo>
                            <a:pt x="4" y="10"/>
                          </a:lnTo>
                          <a:lnTo>
                            <a:pt x="4" y="10"/>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22"/>
                    <p:cNvSpPr>
                      <a:spLocks/>
                    </p:cNvSpPr>
                    <p:nvPr/>
                  </p:nvSpPr>
                  <p:spPr bwMode="auto">
                    <a:xfrm>
                      <a:off x="3483833" y="1229980"/>
                      <a:ext cx="94167" cy="18209"/>
                    </a:xfrm>
                    <a:custGeom>
                      <a:avLst/>
                      <a:gdLst/>
                      <a:ahLst/>
                      <a:cxnLst>
                        <a:cxn ang="0">
                          <a:pos x="2" y="12"/>
                        </a:cxn>
                        <a:cxn ang="0">
                          <a:pos x="2" y="12"/>
                        </a:cxn>
                        <a:cxn ang="0">
                          <a:pos x="12" y="12"/>
                        </a:cxn>
                        <a:cxn ang="0">
                          <a:pos x="20" y="10"/>
                        </a:cxn>
                        <a:cxn ang="0">
                          <a:pos x="36" y="8"/>
                        </a:cxn>
                        <a:cxn ang="0">
                          <a:pos x="36" y="8"/>
                        </a:cxn>
                        <a:cxn ang="0">
                          <a:pos x="56" y="4"/>
                        </a:cxn>
                        <a:cxn ang="0">
                          <a:pos x="62" y="2"/>
                        </a:cxn>
                        <a:cxn ang="0">
                          <a:pos x="58" y="2"/>
                        </a:cxn>
                        <a:cxn ang="0">
                          <a:pos x="58" y="2"/>
                        </a:cxn>
                        <a:cxn ang="0">
                          <a:pos x="46" y="2"/>
                        </a:cxn>
                        <a:cxn ang="0">
                          <a:pos x="36" y="0"/>
                        </a:cxn>
                        <a:cxn ang="0">
                          <a:pos x="36" y="0"/>
                        </a:cxn>
                        <a:cxn ang="0">
                          <a:pos x="24" y="2"/>
                        </a:cxn>
                        <a:cxn ang="0">
                          <a:pos x="22" y="4"/>
                        </a:cxn>
                        <a:cxn ang="0">
                          <a:pos x="24" y="4"/>
                        </a:cxn>
                        <a:cxn ang="0">
                          <a:pos x="24" y="4"/>
                        </a:cxn>
                        <a:cxn ang="0">
                          <a:pos x="24" y="6"/>
                        </a:cxn>
                        <a:cxn ang="0">
                          <a:pos x="22" y="6"/>
                        </a:cxn>
                        <a:cxn ang="0">
                          <a:pos x="12" y="8"/>
                        </a:cxn>
                        <a:cxn ang="0">
                          <a:pos x="2" y="10"/>
                        </a:cxn>
                        <a:cxn ang="0">
                          <a:pos x="0" y="10"/>
                        </a:cxn>
                        <a:cxn ang="0">
                          <a:pos x="2" y="12"/>
                        </a:cxn>
                        <a:cxn ang="0">
                          <a:pos x="2" y="12"/>
                        </a:cxn>
                      </a:cxnLst>
                      <a:rect l="0" t="0" r="r" b="b"/>
                      <a:pathLst>
                        <a:path w="62" h="12">
                          <a:moveTo>
                            <a:pt x="2" y="12"/>
                          </a:moveTo>
                          <a:lnTo>
                            <a:pt x="2" y="12"/>
                          </a:lnTo>
                          <a:lnTo>
                            <a:pt x="12" y="12"/>
                          </a:lnTo>
                          <a:lnTo>
                            <a:pt x="20" y="10"/>
                          </a:lnTo>
                          <a:lnTo>
                            <a:pt x="36" y="8"/>
                          </a:lnTo>
                          <a:lnTo>
                            <a:pt x="36" y="8"/>
                          </a:lnTo>
                          <a:lnTo>
                            <a:pt x="56" y="4"/>
                          </a:lnTo>
                          <a:lnTo>
                            <a:pt x="62" y="2"/>
                          </a:lnTo>
                          <a:lnTo>
                            <a:pt x="58" y="2"/>
                          </a:lnTo>
                          <a:lnTo>
                            <a:pt x="58" y="2"/>
                          </a:lnTo>
                          <a:lnTo>
                            <a:pt x="46" y="2"/>
                          </a:lnTo>
                          <a:lnTo>
                            <a:pt x="36" y="0"/>
                          </a:lnTo>
                          <a:lnTo>
                            <a:pt x="36" y="0"/>
                          </a:lnTo>
                          <a:lnTo>
                            <a:pt x="24" y="2"/>
                          </a:lnTo>
                          <a:lnTo>
                            <a:pt x="22" y="4"/>
                          </a:lnTo>
                          <a:lnTo>
                            <a:pt x="24" y="4"/>
                          </a:lnTo>
                          <a:lnTo>
                            <a:pt x="24" y="4"/>
                          </a:lnTo>
                          <a:lnTo>
                            <a:pt x="24" y="6"/>
                          </a:lnTo>
                          <a:lnTo>
                            <a:pt x="22" y="6"/>
                          </a:lnTo>
                          <a:lnTo>
                            <a:pt x="12" y="8"/>
                          </a:lnTo>
                          <a:lnTo>
                            <a:pt x="2" y="10"/>
                          </a:lnTo>
                          <a:lnTo>
                            <a:pt x="0" y="10"/>
                          </a:lnTo>
                          <a:lnTo>
                            <a:pt x="2" y="12"/>
                          </a:lnTo>
                          <a:lnTo>
                            <a:pt x="2" y="12"/>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23"/>
                    <p:cNvSpPr>
                      <a:spLocks/>
                    </p:cNvSpPr>
                    <p:nvPr/>
                  </p:nvSpPr>
                  <p:spPr bwMode="auto">
                    <a:xfrm>
                      <a:off x="3738995" y="1208736"/>
                      <a:ext cx="63791" cy="27314"/>
                    </a:xfrm>
                    <a:custGeom>
                      <a:avLst/>
                      <a:gdLst/>
                      <a:ahLst/>
                      <a:cxnLst>
                        <a:cxn ang="0">
                          <a:pos x="4" y="18"/>
                        </a:cxn>
                        <a:cxn ang="0">
                          <a:pos x="4" y="18"/>
                        </a:cxn>
                        <a:cxn ang="0">
                          <a:pos x="12" y="18"/>
                        </a:cxn>
                        <a:cxn ang="0">
                          <a:pos x="18" y="16"/>
                        </a:cxn>
                        <a:cxn ang="0">
                          <a:pos x="26" y="12"/>
                        </a:cxn>
                        <a:cxn ang="0">
                          <a:pos x="26" y="12"/>
                        </a:cxn>
                        <a:cxn ang="0">
                          <a:pos x="36" y="10"/>
                        </a:cxn>
                        <a:cxn ang="0">
                          <a:pos x="40" y="8"/>
                        </a:cxn>
                        <a:cxn ang="0">
                          <a:pos x="42" y="6"/>
                        </a:cxn>
                        <a:cxn ang="0">
                          <a:pos x="42" y="6"/>
                        </a:cxn>
                        <a:cxn ang="0">
                          <a:pos x="42" y="4"/>
                        </a:cxn>
                        <a:cxn ang="0">
                          <a:pos x="42" y="0"/>
                        </a:cxn>
                        <a:cxn ang="0">
                          <a:pos x="40" y="0"/>
                        </a:cxn>
                        <a:cxn ang="0">
                          <a:pos x="32" y="2"/>
                        </a:cxn>
                        <a:cxn ang="0">
                          <a:pos x="32" y="2"/>
                        </a:cxn>
                        <a:cxn ang="0">
                          <a:pos x="8" y="6"/>
                        </a:cxn>
                        <a:cxn ang="0">
                          <a:pos x="0" y="8"/>
                        </a:cxn>
                        <a:cxn ang="0">
                          <a:pos x="0" y="10"/>
                        </a:cxn>
                        <a:cxn ang="0">
                          <a:pos x="0" y="10"/>
                        </a:cxn>
                        <a:cxn ang="0">
                          <a:pos x="0" y="10"/>
                        </a:cxn>
                        <a:cxn ang="0">
                          <a:pos x="4" y="12"/>
                        </a:cxn>
                        <a:cxn ang="0">
                          <a:pos x="8" y="12"/>
                        </a:cxn>
                        <a:cxn ang="0">
                          <a:pos x="10" y="12"/>
                        </a:cxn>
                        <a:cxn ang="0">
                          <a:pos x="8" y="12"/>
                        </a:cxn>
                        <a:cxn ang="0">
                          <a:pos x="8" y="12"/>
                        </a:cxn>
                        <a:cxn ang="0">
                          <a:pos x="0" y="16"/>
                        </a:cxn>
                        <a:cxn ang="0">
                          <a:pos x="0" y="18"/>
                        </a:cxn>
                        <a:cxn ang="0">
                          <a:pos x="4" y="18"/>
                        </a:cxn>
                        <a:cxn ang="0">
                          <a:pos x="4" y="18"/>
                        </a:cxn>
                      </a:cxnLst>
                      <a:rect l="0" t="0" r="r" b="b"/>
                      <a:pathLst>
                        <a:path w="42" h="18">
                          <a:moveTo>
                            <a:pt x="4" y="18"/>
                          </a:moveTo>
                          <a:lnTo>
                            <a:pt x="4" y="18"/>
                          </a:lnTo>
                          <a:lnTo>
                            <a:pt x="12" y="18"/>
                          </a:lnTo>
                          <a:lnTo>
                            <a:pt x="18" y="16"/>
                          </a:lnTo>
                          <a:lnTo>
                            <a:pt x="26" y="12"/>
                          </a:lnTo>
                          <a:lnTo>
                            <a:pt x="26" y="12"/>
                          </a:lnTo>
                          <a:lnTo>
                            <a:pt x="36" y="10"/>
                          </a:lnTo>
                          <a:lnTo>
                            <a:pt x="40" y="8"/>
                          </a:lnTo>
                          <a:lnTo>
                            <a:pt x="42" y="6"/>
                          </a:lnTo>
                          <a:lnTo>
                            <a:pt x="42" y="6"/>
                          </a:lnTo>
                          <a:lnTo>
                            <a:pt x="42" y="4"/>
                          </a:lnTo>
                          <a:lnTo>
                            <a:pt x="42" y="0"/>
                          </a:lnTo>
                          <a:lnTo>
                            <a:pt x="40" y="0"/>
                          </a:lnTo>
                          <a:lnTo>
                            <a:pt x="32" y="2"/>
                          </a:lnTo>
                          <a:lnTo>
                            <a:pt x="32" y="2"/>
                          </a:lnTo>
                          <a:lnTo>
                            <a:pt x="8" y="6"/>
                          </a:lnTo>
                          <a:lnTo>
                            <a:pt x="0" y="8"/>
                          </a:lnTo>
                          <a:lnTo>
                            <a:pt x="0" y="10"/>
                          </a:lnTo>
                          <a:lnTo>
                            <a:pt x="0" y="10"/>
                          </a:lnTo>
                          <a:lnTo>
                            <a:pt x="0" y="10"/>
                          </a:lnTo>
                          <a:lnTo>
                            <a:pt x="4" y="12"/>
                          </a:lnTo>
                          <a:lnTo>
                            <a:pt x="8" y="12"/>
                          </a:lnTo>
                          <a:lnTo>
                            <a:pt x="10" y="12"/>
                          </a:lnTo>
                          <a:lnTo>
                            <a:pt x="8" y="12"/>
                          </a:lnTo>
                          <a:lnTo>
                            <a:pt x="8" y="12"/>
                          </a:lnTo>
                          <a:lnTo>
                            <a:pt x="0" y="16"/>
                          </a:lnTo>
                          <a:lnTo>
                            <a:pt x="0" y="18"/>
                          </a:lnTo>
                          <a:lnTo>
                            <a:pt x="4" y="18"/>
                          </a:lnTo>
                          <a:lnTo>
                            <a:pt x="4" y="18"/>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24"/>
                    <p:cNvSpPr>
                      <a:spLocks/>
                    </p:cNvSpPr>
                    <p:nvPr/>
                  </p:nvSpPr>
                  <p:spPr bwMode="auto">
                    <a:xfrm>
                      <a:off x="3881764" y="1187492"/>
                      <a:ext cx="164033" cy="54627"/>
                    </a:xfrm>
                    <a:custGeom>
                      <a:avLst/>
                      <a:gdLst/>
                      <a:ahLst/>
                      <a:cxnLst>
                        <a:cxn ang="0">
                          <a:pos x="10" y="36"/>
                        </a:cxn>
                        <a:cxn ang="0">
                          <a:pos x="10" y="36"/>
                        </a:cxn>
                        <a:cxn ang="0">
                          <a:pos x="0" y="32"/>
                        </a:cxn>
                        <a:cxn ang="0">
                          <a:pos x="0" y="32"/>
                        </a:cxn>
                        <a:cxn ang="0">
                          <a:pos x="4" y="30"/>
                        </a:cxn>
                        <a:cxn ang="0">
                          <a:pos x="4" y="30"/>
                        </a:cxn>
                        <a:cxn ang="0">
                          <a:pos x="6" y="28"/>
                        </a:cxn>
                        <a:cxn ang="0">
                          <a:pos x="8" y="28"/>
                        </a:cxn>
                        <a:cxn ang="0">
                          <a:pos x="14" y="26"/>
                        </a:cxn>
                        <a:cxn ang="0">
                          <a:pos x="14" y="26"/>
                        </a:cxn>
                        <a:cxn ang="0">
                          <a:pos x="18" y="26"/>
                        </a:cxn>
                        <a:cxn ang="0">
                          <a:pos x="20" y="24"/>
                        </a:cxn>
                        <a:cxn ang="0">
                          <a:pos x="18" y="22"/>
                        </a:cxn>
                        <a:cxn ang="0">
                          <a:pos x="18" y="18"/>
                        </a:cxn>
                        <a:cxn ang="0">
                          <a:pos x="18" y="16"/>
                        </a:cxn>
                        <a:cxn ang="0">
                          <a:pos x="22" y="14"/>
                        </a:cxn>
                        <a:cxn ang="0">
                          <a:pos x="22" y="14"/>
                        </a:cxn>
                        <a:cxn ang="0">
                          <a:pos x="30" y="12"/>
                        </a:cxn>
                        <a:cxn ang="0">
                          <a:pos x="38" y="12"/>
                        </a:cxn>
                        <a:cxn ang="0">
                          <a:pos x="44" y="12"/>
                        </a:cxn>
                        <a:cxn ang="0">
                          <a:pos x="50" y="10"/>
                        </a:cxn>
                        <a:cxn ang="0">
                          <a:pos x="50" y="10"/>
                        </a:cxn>
                        <a:cxn ang="0">
                          <a:pos x="58" y="6"/>
                        </a:cxn>
                        <a:cxn ang="0">
                          <a:pos x="70" y="4"/>
                        </a:cxn>
                        <a:cxn ang="0">
                          <a:pos x="70" y="4"/>
                        </a:cxn>
                        <a:cxn ang="0">
                          <a:pos x="84" y="0"/>
                        </a:cxn>
                        <a:cxn ang="0">
                          <a:pos x="86" y="2"/>
                        </a:cxn>
                        <a:cxn ang="0">
                          <a:pos x="84" y="6"/>
                        </a:cxn>
                        <a:cxn ang="0">
                          <a:pos x="84" y="6"/>
                        </a:cxn>
                        <a:cxn ang="0">
                          <a:pos x="82" y="8"/>
                        </a:cxn>
                        <a:cxn ang="0">
                          <a:pos x="84" y="8"/>
                        </a:cxn>
                        <a:cxn ang="0">
                          <a:pos x="92" y="6"/>
                        </a:cxn>
                        <a:cxn ang="0">
                          <a:pos x="104" y="6"/>
                        </a:cxn>
                        <a:cxn ang="0">
                          <a:pos x="106" y="6"/>
                        </a:cxn>
                        <a:cxn ang="0">
                          <a:pos x="108" y="10"/>
                        </a:cxn>
                        <a:cxn ang="0">
                          <a:pos x="108" y="10"/>
                        </a:cxn>
                        <a:cxn ang="0">
                          <a:pos x="104" y="14"/>
                        </a:cxn>
                        <a:cxn ang="0">
                          <a:pos x="100" y="16"/>
                        </a:cxn>
                        <a:cxn ang="0">
                          <a:pos x="98" y="16"/>
                        </a:cxn>
                        <a:cxn ang="0">
                          <a:pos x="100" y="16"/>
                        </a:cxn>
                        <a:cxn ang="0">
                          <a:pos x="100" y="16"/>
                        </a:cxn>
                        <a:cxn ang="0">
                          <a:pos x="102" y="18"/>
                        </a:cxn>
                        <a:cxn ang="0">
                          <a:pos x="100" y="18"/>
                        </a:cxn>
                        <a:cxn ang="0">
                          <a:pos x="88" y="20"/>
                        </a:cxn>
                        <a:cxn ang="0">
                          <a:pos x="88" y="20"/>
                        </a:cxn>
                        <a:cxn ang="0">
                          <a:pos x="74" y="24"/>
                        </a:cxn>
                        <a:cxn ang="0">
                          <a:pos x="66" y="28"/>
                        </a:cxn>
                        <a:cxn ang="0">
                          <a:pos x="60" y="28"/>
                        </a:cxn>
                        <a:cxn ang="0">
                          <a:pos x="60" y="28"/>
                        </a:cxn>
                        <a:cxn ang="0">
                          <a:pos x="42" y="26"/>
                        </a:cxn>
                        <a:cxn ang="0">
                          <a:pos x="36" y="26"/>
                        </a:cxn>
                        <a:cxn ang="0">
                          <a:pos x="36" y="28"/>
                        </a:cxn>
                        <a:cxn ang="0">
                          <a:pos x="36" y="28"/>
                        </a:cxn>
                        <a:cxn ang="0">
                          <a:pos x="36" y="28"/>
                        </a:cxn>
                        <a:cxn ang="0">
                          <a:pos x="36" y="30"/>
                        </a:cxn>
                        <a:cxn ang="0">
                          <a:pos x="34" y="32"/>
                        </a:cxn>
                        <a:cxn ang="0">
                          <a:pos x="26" y="34"/>
                        </a:cxn>
                        <a:cxn ang="0">
                          <a:pos x="26" y="34"/>
                        </a:cxn>
                        <a:cxn ang="0">
                          <a:pos x="20" y="32"/>
                        </a:cxn>
                        <a:cxn ang="0">
                          <a:pos x="18" y="34"/>
                        </a:cxn>
                        <a:cxn ang="0">
                          <a:pos x="16" y="36"/>
                        </a:cxn>
                        <a:cxn ang="0">
                          <a:pos x="10" y="36"/>
                        </a:cxn>
                        <a:cxn ang="0">
                          <a:pos x="10" y="36"/>
                        </a:cxn>
                      </a:cxnLst>
                      <a:rect l="0" t="0" r="r" b="b"/>
                      <a:pathLst>
                        <a:path w="108" h="36">
                          <a:moveTo>
                            <a:pt x="10" y="36"/>
                          </a:moveTo>
                          <a:lnTo>
                            <a:pt x="10" y="36"/>
                          </a:lnTo>
                          <a:lnTo>
                            <a:pt x="0" y="32"/>
                          </a:lnTo>
                          <a:lnTo>
                            <a:pt x="0" y="32"/>
                          </a:lnTo>
                          <a:lnTo>
                            <a:pt x="4" y="30"/>
                          </a:lnTo>
                          <a:lnTo>
                            <a:pt x="4" y="30"/>
                          </a:lnTo>
                          <a:lnTo>
                            <a:pt x="6" y="28"/>
                          </a:lnTo>
                          <a:lnTo>
                            <a:pt x="8" y="28"/>
                          </a:lnTo>
                          <a:lnTo>
                            <a:pt x="14" y="26"/>
                          </a:lnTo>
                          <a:lnTo>
                            <a:pt x="14" y="26"/>
                          </a:lnTo>
                          <a:lnTo>
                            <a:pt x="18" y="26"/>
                          </a:lnTo>
                          <a:lnTo>
                            <a:pt x="20" y="24"/>
                          </a:lnTo>
                          <a:lnTo>
                            <a:pt x="18" y="22"/>
                          </a:lnTo>
                          <a:lnTo>
                            <a:pt x="18" y="18"/>
                          </a:lnTo>
                          <a:lnTo>
                            <a:pt x="18" y="16"/>
                          </a:lnTo>
                          <a:lnTo>
                            <a:pt x="22" y="14"/>
                          </a:lnTo>
                          <a:lnTo>
                            <a:pt x="22" y="14"/>
                          </a:lnTo>
                          <a:lnTo>
                            <a:pt x="30" y="12"/>
                          </a:lnTo>
                          <a:lnTo>
                            <a:pt x="38" y="12"/>
                          </a:lnTo>
                          <a:lnTo>
                            <a:pt x="44" y="12"/>
                          </a:lnTo>
                          <a:lnTo>
                            <a:pt x="50" y="10"/>
                          </a:lnTo>
                          <a:lnTo>
                            <a:pt x="50" y="10"/>
                          </a:lnTo>
                          <a:lnTo>
                            <a:pt x="58" y="6"/>
                          </a:lnTo>
                          <a:lnTo>
                            <a:pt x="70" y="4"/>
                          </a:lnTo>
                          <a:lnTo>
                            <a:pt x="70" y="4"/>
                          </a:lnTo>
                          <a:lnTo>
                            <a:pt x="84" y="0"/>
                          </a:lnTo>
                          <a:lnTo>
                            <a:pt x="86" y="2"/>
                          </a:lnTo>
                          <a:lnTo>
                            <a:pt x="84" y="6"/>
                          </a:lnTo>
                          <a:lnTo>
                            <a:pt x="84" y="6"/>
                          </a:lnTo>
                          <a:lnTo>
                            <a:pt x="82" y="8"/>
                          </a:lnTo>
                          <a:lnTo>
                            <a:pt x="84" y="8"/>
                          </a:lnTo>
                          <a:lnTo>
                            <a:pt x="92" y="6"/>
                          </a:lnTo>
                          <a:lnTo>
                            <a:pt x="104" y="6"/>
                          </a:lnTo>
                          <a:lnTo>
                            <a:pt x="106" y="6"/>
                          </a:lnTo>
                          <a:lnTo>
                            <a:pt x="108" y="10"/>
                          </a:lnTo>
                          <a:lnTo>
                            <a:pt x="108" y="10"/>
                          </a:lnTo>
                          <a:lnTo>
                            <a:pt x="104" y="14"/>
                          </a:lnTo>
                          <a:lnTo>
                            <a:pt x="100" y="16"/>
                          </a:lnTo>
                          <a:lnTo>
                            <a:pt x="98" y="16"/>
                          </a:lnTo>
                          <a:lnTo>
                            <a:pt x="100" y="16"/>
                          </a:lnTo>
                          <a:lnTo>
                            <a:pt x="100" y="16"/>
                          </a:lnTo>
                          <a:lnTo>
                            <a:pt x="102" y="18"/>
                          </a:lnTo>
                          <a:lnTo>
                            <a:pt x="100" y="18"/>
                          </a:lnTo>
                          <a:lnTo>
                            <a:pt x="88" y="20"/>
                          </a:lnTo>
                          <a:lnTo>
                            <a:pt x="88" y="20"/>
                          </a:lnTo>
                          <a:lnTo>
                            <a:pt x="74" y="24"/>
                          </a:lnTo>
                          <a:lnTo>
                            <a:pt x="66" y="28"/>
                          </a:lnTo>
                          <a:lnTo>
                            <a:pt x="60" y="28"/>
                          </a:lnTo>
                          <a:lnTo>
                            <a:pt x="60" y="28"/>
                          </a:lnTo>
                          <a:lnTo>
                            <a:pt x="42" y="26"/>
                          </a:lnTo>
                          <a:lnTo>
                            <a:pt x="36" y="26"/>
                          </a:lnTo>
                          <a:lnTo>
                            <a:pt x="36" y="28"/>
                          </a:lnTo>
                          <a:lnTo>
                            <a:pt x="36" y="28"/>
                          </a:lnTo>
                          <a:lnTo>
                            <a:pt x="36" y="28"/>
                          </a:lnTo>
                          <a:lnTo>
                            <a:pt x="36" y="30"/>
                          </a:lnTo>
                          <a:lnTo>
                            <a:pt x="34" y="32"/>
                          </a:lnTo>
                          <a:lnTo>
                            <a:pt x="26" y="34"/>
                          </a:lnTo>
                          <a:lnTo>
                            <a:pt x="26" y="34"/>
                          </a:lnTo>
                          <a:lnTo>
                            <a:pt x="20" y="32"/>
                          </a:lnTo>
                          <a:lnTo>
                            <a:pt x="18" y="34"/>
                          </a:lnTo>
                          <a:lnTo>
                            <a:pt x="16" y="36"/>
                          </a:lnTo>
                          <a:lnTo>
                            <a:pt x="10" y="36"/>
                          </a:lnTo>
                          <a:lnTo>
                            <a:pt x="10" y="36"/>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27"/>
                    <p:cNvSpPr>
                      <a:spLocks/>
                    </p:cNvSpPr>
                    <p:nvPr/>
                  </p:nvSpPr>
                  <p:spPr bwMode="auto">
                    <a:xfrm>
                      <a:off x="4537895" y="1375652"/>
                      <a:ext cx="54678" cy="21244"/>
                    </a:xfrm>
                    <a:custGeom>
                      <a:avLst/>
                      <a:gdLst/>
                      <a:ahLst/>
                      <a:cxnLst>
                        <a:cxn ang="0">
                          <a:pos x="24" y="2"/>
                        </a:cxn>
                        <a:cxn ang="0">
                          <a:pos x="24" y="2"/>
                        </a:cxn>
                        <a:cxn ang="0">
                          <a:pos x="16" y="2"/>
                        </a:cxn>
                        <a:cxn ang="0">
                          <a:pos x="16" y="2"/>
                        </a:cxn>
                        <a:cxn ang="0">
                          <a:pos x="6" y="0"/>
                        </a:cxn>
                        <a:cxn ang="0">
                          <a:pos x="6" y="0"/>
                        </a:cxn>
                        <a:cxn ang="0">
                          <a:pos x="2" y="2"/>
                        </a:cxn>
                        <a:cxn ang="0">
                          <a:pos x="2" y="2"/>
                        </a:cxn>
                        <a:cxn ang="0">
                          <a:pos x="2" y="2"/>
                        </a:cxn>
                        <a:cxn ang="0">
                          <a:pos x="0" y="6"/>
                        </a:cxn>
                        <a:cxn ang="0">
                          <a:pos x="4" y="8"/>
                        </a:cxn>
                        <a:cxn ang="0">
                          <a:pos x="4" y="8"/>
                        </a:cxn>
                        <a:cxn ang="0">
                          <a:pos x="6" y="8"/>
                        </a:cxn>
                        <a:cxn ang="0">
                          <a:pos x="10" y="10"/>
                        </a:cxn>
                        <a:cxn ang="0">
                          <a:pos x="10" y="10"/>
                        </a:cxn>
                        <a:cxn ang="0">
                          <a:pos x="14" y="12"/>
                        </a:cxn>
                        <a:cxn ang="0">
                          <a:pos x="18" y="12"/>
                        </a:cxn>
                        <a:cxn ang="0">
                          <a:pos x="18" y="12"/>
                        </a:cxn>
                        <a:cxn ang="0">
                          <a:pos x="24" y="14"/>
                        </a:cxn>
                        <a:cxn ang="0">
                          <a:pos x="32" y="12"/>
                        </a:cxn>
                        <a:cxn ang="0">
                          <a:pos x="32" y="12"/>
                        </a:cxn>
                        <a:cxn ang="0">
                          <a:pos x="34" y="12"/>
                        </a:cxn>
                        <a:cxn ang="0">
                          <a:pos x="36" y="10"/>
                        </a:cxn>
                        <a:cxn ang="0">
                          <a:pos x="36" y="8"/>
                        </a:cxn>
                        <a:cxn ang="0">
                          <a:pos x="34" y="6"/>
                        </a:cxn>
                        <a:cxn ang="0">
                          <a:pos x="34" y="6"/>
                        </a:cxn>
                        <a:cxn ang="0">
                          <a:pos x="28" y="4"/>
                        </a:cxn>
                        <a:cxn ang="0">
                          <a:pos x="24" y="2"/>
                        </a:cxn>
                        <a:cxn ang="0">
                          <a:pos x="24" y="2"/>
                        </a:cxn>
                      </a:cxnLst>
                      <a:rect l="0" t="0" r="r" b="b"/>
                      <a:pathLst>
                        <a:path w="36" h="14">
                          <a:moveTo>
                            <a:pt x="24" y="2"/>
                          </a:moveTo>
                          <a:lnTo>
                            <a:pt x="24" y="2"/>
                          </a:lnTo>
                          <a:lnTo>
                            <a:pt x="16" y="2"/>
                          </a:lnTo>
                          <a:lnTo>
                            <a:pt x="16" y="2"/>
                          </a:lnTo>
                          <a:lnTo>
                            <a:pt x="6" y="0"/>
                          </a:lnTo>
                          <a:lnTo>
                            <a:pt x="6" y="0"/>
                          </a:lnTo>
                          <a:lnTo>
                            <a:pt x="2" y="2"/>
                          </a:lnTo>
                          <a:lnTo>
                            <a:pt x="2" y="2"/>
                          </a:lnTo>
                          <a:lnTo>
                            <a:pt x="2" y="2"/>
                          </a:lnTo>
                          <a:lnTo>
                            <a:pt x="0" y="6"/>
                          </a:lnTo>
                          <a:lnTo>
                            <a:pt x="4" y="8"/>
                          </a:lnTo>
                          <a:lnTo>
                            <a:pt x="4" y="8"/>
                          </a:lnTo>
                          <a:lnTo>
                            <a:pt x="6" y="8"/>
                          </a:lnTo>
                          <a:lnTo>
                            <a:pt x="10" y="10"/>
                          </a:lnTo>
                          <a:lnTo>
                            <a:pt x="10" y="10"/>
                          </a:lnTo>
                          <a:lnTo>
                            <a:pt x="14" y="12"/>
                          </a:lnTo>
                          <a:lnTo>
                            <a:pt x="18" y="12"/>
                          </a:lnTo>
                          <a:lnTo>
                            <a:pt x="18" y="12"/>
                          </a:lnTo>
                          <a:lnTo>
                            <a:pt x="24" y="14"/>
                          </a:lnTo>
                          <a:lnTo>
                            <a:pt x="32" y="12"/>
                          </a:lnTo>
                          <a:lnTo>
                            <a:pt x="32" y="12"/>
                          </a:lnTo>
                          <a:lnTo>
                            <a:pt x="34" y="12"/>
                          </a:lnTo>
                          <a:lnTo>
                            <a:pt x="36" y="10"/>
                          </a:lnTo>
                          <a:lnTo>
                            <a:pt x="36" y="8"/>
                          </a:lnTo>
                          <a:lnTo>
                            <a:pt x="34" y="6"/>
                          </a:lnTo>
                          <a:lnTo>
                            <a:pt x="34" y="6"/>
                          </a:lnTo>
                          <a:lnTo>
                            <a:pt x="28" y="4"/>
                          </a:lnTo>
                          <a:lnTo>
                            <a:pt x="24" y="2"/>
                          </a:lnTo>
                          <a:lnTo>
                            <a:pt x="24" y="2"/>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
              <p:nvSpPr>
                <p:cNvPr id="282" name="Canada"/>
                <p:cNvSpPr>
                  <a:spLocks/>
                </p:cNvSpPr>
                <p:nvPr/>
              </p:nvSpPr>
              <p:spPr bwMode="auto">
                <a:xfrm>
                  <a:off x="2238400" y="1327095"/>
                  <a:ext cx="2056483" cy="804231"/>
                </a:xfrm>
                <a:custGeom>
                  <a:avLst/>
                  <a:gdLst/>
                  <a:ahLst/>
                  <a:cxnLst/>
                  <a:rect l="l" t="t" r="r" b="b"/>
                  <a:pathLst>
                    <a:path w="1791229" h="701146">
                      <a:moveTo>
                        <a:pt x="973667" y="518584"/>
                      </a:moveTo>
                      <a:lnTo>
                        <a:pt x="973667" y="518584"/>
                      </a:lnTo>
                      <a:lnTo>
                        <a:pt x="968375" y="521229"/>
                      </a:lnTo>
                      <a:close/>
                      <a:moveTo>
                        <a:pt x="63500" y="457729"/>
                      </a:moveTo>
                      <a:lnTo>
                        <a:pt x="68792" y="457729"/>
                      </a:lnTo>
                      <a:lnTo>
                        <a:pt x="74084" y="460375"/>
                      </a:lnTo>
                      <a:lnTo>
                        <a:pt x="76729" y="463021"/>
                      </a:lnTo>
                      <a:lnTo>
                        <a:pt x="76729" y="465667"/>
                      </a:lnTo>
                      <a:lnTo>
                        <a:pt x="79375" y="468312"/>
                      </a:lnTo>
                      <a:lnTo>
                        <a:pt x="89959" y="468312"/>
                      </a:lnTo>
                      <a:lnTo>
                        <a:pt x="92604" y="468312"/>
                      </a:lnTo>
                      <a:lnTo>
                        <a:pt x="97896" y="470958"/>
                      </a:lnTo>
                      <a:lnTo>
                        <a:pt x="103188" y="476250"/>
                      </a:lnTo>
                      <a:lnTo>
                        <a:pt x="105834" y="476250"/>
                      </a:lnTo>
                      <a:lnTo>
                        <a:pt x="111125" y="478896"/>
                      </a:lnTo>
                      <a:lnTo>
                        <a:pt x="111125" y="484188"/>
                      </a:lnTo>
                      <a:lnTo>
                        <a:pt x="113771" y="489479"/>
                      </a:lnTo>
                      <a:lnTo>
                        <a:pt x="116417" y="492125"/>
                      </a:lnTo>
                      <a:lnTo>
                        <a:pt x="113771" y="494771"/>
                      </a:lnTo>
                      <a:lnTo>
                        <a:pt x="113771" y="497417"/>
                      </a:lnTo>
                      <a:lnTo>
                        <a:pt x="116417" y="500063"/>
                      </a:lnTo>
                      <a:lnTo>
                        <a:pt x="121709" y="502708"/>
                      </a:lnTo>
                      <a:lnTo>
                        <a:pt x="124354" y="505354"/>
                      </a:lnTo>
                      <a:lnTo>
                        <a:pt x="124354" y="508000"/>
                      </a:lnTo>
                      <a:lnTo>
                        <a:pt x="129646" y="518584"/>
                      </a:lnTo>
                      <a:lnTo>
                        <a:pt x="129646" y="523875"/>
                      </a:lnTo>
                      <a:lnTo>
                        <a:pt x="129646" y="526521"/>
                      </a:lnTo>
                      <a:lnTo>
                        <a:pt x="116417" y="526521"/>
                      </a:lnTo>
                      <a:lnTo>
                        <a:pt x="108479" y="526521"/>
                      </a:lnTo>
                      <a:lnTo>
                        <a:pt x="100542" y="523875"/>
                      </a:lnTo>
                      <a:lnTo>
                        <a:pt x="89959" y="518584"/>
                      </a:lnTo>
                      <a:lnTo>
                        <a:pt x="87313" y="515938"/>
                      </a:lnTo>
                      <a:lnTo>
                        <a:pt x="87313" y="513292"/>
                      </a:lnTo>
                      <a:lnTo>
                        <a:pt x="89959" y="510646"/>
                      </a:lnTo>
                      <a:lnTo>
                        <a:pt x="84667" y="510646"/>
                      </a:lnTo>
                      <a:lnTo>
                        <a:pt x="79375" y="510646"/>
                      </a:lnTo>
                      <a:lnTo>
                        <a:pt x="74084" y="505354"/>
                      </a:lnTo>
                      <a:lnTo>
                        <a:pt x="74084" y="500063"/>
                      </a:lnTo>
                      <a:lnTo>
                        <a:pt x="71438" y="494771"/>
                      </a:lnTo>
                      <a:lnTo>
                        <a:pt x="66146" y="492125"/>
                      </a:lnTo>
                      <a:lnTo>
                        <a:pt x="63500" y="489479"/>
                      </a:lnTo>
                      <a:lnTo>
                        <a:pt x="63500" y="486833"/>
                      </a:lnTo>
                      <a:lnTo>
                        <a:pt x="60854" y="484188"/>
                      </a:lnTo>
                      <a:lnTo>
                        <a:pt x="58209" y="481542"/>
                      </a:lnTo>
                      <a:lnTo>
                        <a:pt x="58209" y="478896"/>
                      </a:lnTo>
                      <a:lnTo>
                        <a:pt x="55563" y="478896"/>
                      </a:lnTo>
                      <a:lnTo>
                        <a:pt x="52917" y="478896"/>
                      </a:lnTo>
                      <a:lnTo>
                        <a:pt x="50271" y="478896"/>
                      </a:lnTo>
                      <a:lnTo>
                        <a:pt x="50271" y="476250"/>
                      </a:lnTo>
                      <a:lnTo>
                        <a:pt x="55563" y="473604"/>
                      </a:lnTo>
                      <a:lnTo>
                        <a:pt x="55563" y="468312"/>
                      </a:lnTo>
                      <a:lnTo>
                        <a:pt x="55563" y="465667"/>
                      </a:lnTo>
                      <a:lnTo>
                        <a:pt x="52917" y="463021"/>
                      </a:lnTo>
                      <a:lnTo>
                        <a:pt x="52917" y="460375"/>
                      </a:lnTo>
                      <a:close/>
                      <a:moveTo>
                        <a:pt x="1270000" y="0"/>
                      </a:moveTo>
                      <a:lnTo>
                        <a:pt x="1277938" y="2646"/>
                      </a:lnTo>
                      <a:lnTo>
                        <a:pt x="1285875" y="7937"/>
                      </a:lnTo>
                      <a:lnTo>
                        <a:pt x="1285875" y="10583"/>
                      </a:lnTo>
                      <a:lnTo>
                        <a:pt x="1285875" y="13229"/>
                      </a:lnTo>
                      <a:lnTo>
                        <a:pt x="1283229" y="15875"/>
                      </a:lnTo>
                      <a:lnTo>
                        <a:pt x="1285875" y="18521"/>
                      </a:lnTo>
                      <a:lnTo>
                        <a:pt x="1291167" y="23812"/>
                      </a:lnTo>
                      <a:lnTo>
                        <a:pt x="1293813" y="26458"/>
                      </a:lnTo>
                      <a:lnTo>
                        <a:pt x="1293813" y="29104"/>
                      </a:lnTo>
                      <a:lnTo>
                        <a:pt x="1293813" y="31750"/>
                      </a:lnTo>
                      <a:lnTo>
                        <a:pt x="1285875" y="31750"/>
                      </a:lnTo>
                      <a:lnTo>
                        <a:pt x="1283229" y="31750"/>
                      </a:lnTo>
                      <a:lnTo>
                        <a:pt x="1283229" y="29104"/>
                      </a:lnTo>
                      <a:lnTo>
                        <a:pt x="1277938" y="29104"/>
                      </a:lnTo>
                      <a:lnTo>
                        <a:pt x="1275292" y="31750"/>
                      </a:lnTo>
                      <a:lnTo>
                        <a:pt x="1277938" y="34396"/>
                      </a:lnTo>
                      <a:lnTo>
                        <a:pt x="1277938" y="37042"/>
                      </a:lnTo>
                      <a:lnTo>
                        <a:pt x="1277938" y="39687"/>
                      </a:lnTo>
                      <a:lnTo>
                        <a:pt x="1275292" y="42333"/>
                      </a:lnTo>
                      <a:lnTo>
                        <a:pt x="1270000" y="44979"/>
                      </a:lnTo>
                      <a:lnTo>
                        <a:pt x="1277938" y="44979"/>
                      </a:lnTo>
                      <a:lnTo>
                        <a:pt x="1285875" y="47625"/>
                      </a:lnTo>
                      <a:lnTo>
                        <a:pt x="1285875" y="50271"/>
                      </a:lnTo>
                      <a:lnTo>
                        <a:pt x="1285875" y="52917"/>
                      </a:lnTo>
                      <a:lnTo>
                        <a:pt x="1277938" y="60854"/>
                      </a:lnTo>
                      <a:lnTo>
                        <a:pt x="1293813" y="60854"/>
                      </a:lnTo>
                      <a:lnTo>
                        <a:pt x="1299104" y="58208"/>
                      </a:lnTo>
                      <a:lnTo>
                        <a:pt x="1307042" y="52917"/>
                      </a:lnTo>
                      <a:lnTo>
                        <a:pt x="1312333" y="50271"/>
                      </a:lnTo>
                      <a:lnTo>
                        <a:pt x="1314979" y="50271"/>
                      </a:lnTo>
                      <a:lnTo>
                        <a:pt x="1322917" y="52917"/>
                      </a:lnTo>
                      <a:lnTo>
                        <a:pt x="1325563" y="55562"/>
                      </a:lnTo>
                      <a:lnTo>
                        <a:pt x="1328208" y="58208"/>
                      </a:lnTo>
                      <a:lnTo>
                        <a:pt x="1328208" y="63500"/>
                      </a:lnTo>
                      <a:lnTo>
                        <a:pt x="1322917" y="66146"/>
                      </a:lnTo>
                      <a:lnTo>
                        <a:pt x="1317625" y="71437"/>
                      </a:lnTo>
                      <a:lnTo>
                        <a:pt x="1317625" y="76729"/>
                      </a:lnTo>
                      <a:lnTo>
                        <a:pt x="1320271" y="82021"/>
                      </a:lnTo>
                      <a:lnTo>
                        <a:pt x="1320271" y="87312"/>
                      </a:lnTo>
                      <a:lnTo>
                        <a:pt x="1338792" y="76729"/>
                      </a:lnTo>
                      <a:lnTo>
                        <a:pt x="1352021" y="71437"/>
                      </a:lnTo>
                      <a:lnTo>
                        <a:pt x="1362604" y="68792"/>
                      </a:lnTo>
                      <a:lnTo>
                        <a:pt x="1370542" y="63500"/>
                      </a:lnTo>
                      <a:lnTo>
                        <a:pt x="1381125" y="58208"/>
                      </a:lnTo>
                      <a:lnTo>
                        <a:pt x="1391708" y="55562"/>
                      </a:lnTo>
                      <a:lnTo>
                        <a:pt x="1386417" y="52917"/>
                      </a:lnTo>
                      <a:lnTo>
                        <a:pt x="1383771" y="50271"/>
                      </a:lnTo>
                      <a:lnTo>
                        <a:pt x="1386417" y="47625"/>
                      </a:lnTo>
                      <a:lnTo>
                        <a:pt x="1389063" y="44979"/>
                      </a:lnTo>
                      <a:lnTo>
                        <a:pt x="1399646" y="39687"/>
                      </a:lnTo>
                      <a:lnTo>
                        <a:pt x="1407583" y="39687"/>
                      </a:lnTo>
                      <a:lnTo>
                        <a:pt x="1412875" y="39687"/>
                      </a:lnTo>
                      <a:lnTo>
                        <a:pt x="1423458" y="42333"/>
                      </a:lnTo>
                      <a:lnTo>
                        <a:pt x="1434042" y="44979"/>
                      </a:lnTo>
                      <a:lnTo>
                        <a:pt x="1441979" y="44979"/>
                      </a:lnTo>
                      <a:lnTo>
                        <a:pt x="1447271" y="47625"/>
                      </a:lnTo>
                      <a:lnTo>
                        <a:pt x="1463146" y="55562"/>
                      </a:lnTo>
                      <a:lnTo>
                        <a:pt x="1465792" y="58208"/>
                      </a:lnTo>
                      <a:lnTo>
                        <a:pt x="1463146" y="60854"/>
                      </a:lnTo>
                      <a:lnTo>
                        <a:pt x="1457854" y="60854"/>
                      </a:lnTo>
                      <a:lnTo>
                        <a:pt x="1457854" y="63500"/>
                      </a:lnTo>
                      <a:lnTo>
                        <a:pt x="1455208" y="66146"/>
                      </a:lnTo>
                      <a:lnTo>
                        <a:pt x="1447271" y="66146"/>
                      </a:lnTo>
                      <a:lnTo>
                        <a:pt x="1441979" y="66146"/>
                      </a:lnTo>
                      <a:lnTo>
                        <a:pt x="1441979" y="68792"/>
                      </a:lnTo>
                      <a:lnTo>
                        <a:pt x="1441979" y="71437"/>
                      </a:lnTo>
                      <a:lnTo>
                        <a:pt x="1441979" y="74083"/>
                      </a:lnTo>
                      <a:lnTo>
                        <a:pt x="1439333" y="76729"/>
                      </a:lnTo>
                      <a:lnTo>
                        <a:pt x="1439333" y="79375"/>
                      </a:lnTo>
                      <a:lnTo>
                        <a:pt x="1441979" y="82021"/>
                      </a:lnTo>
                      <a:lnTo>
                        <a:pt x="1441979" y="84667"/>
                      </a:lnTo>
                      <a:lnTo>
                        <a:pt x="1441979" y="87312"/>
                      </a:lnTo>
                      <a:lnTo>
                        <a:pt x="1431396" y="95250"/>
                      </a:lnTo>
                      <a:lnTo>
                        <a:pt x="1418167" y="97896"/>
                      </a:lnTo>
                      <a:lnTo>
                        <a:pt x="1410229" y="97896"/>
                      </a:lnTo>
                      <a:lnTo>
                        <a:pt x="1404938" y="97896"/>
                      </a:lnTo>
                      <a:lnTo>
                        <a:pt x="1394354" y="100542"/>
                      </a:lnTo>
                      <a:lnTo>
                        <a:pt x="1386417" y="103187"/>
                      </a:lnTo>
                      <a:lnTo>
                        <a:pt x="1381125" y="103187"/>
                      </a:lnTo>
                      <a:lnTo>
                        <a:pt x="1375833" y="103187"/>
                      </a:lnTo>
                      <a:lnTo>
                        <a:pt x="1370542" y="103187"/>
                      </a:lnTo>
                      <a:lnTo>
                        <a:pt x="1365250" y="105833"/>
                      </a:lnTo>
                      <a:lnTo>
                        <a:pt x="1362604" y="103187"/>
                      </a:lnTo>
                      <a:lnTo>
                        <a:pt x="1357313" y="97896"/>
                      </a:lnTo>
                      <a:lnTo>
                        <a:pt x="1349375" y="95250"/>
                      </a:lnTo>
                      <a:lnTo>
                        <a:pt x="1344083" y="92604"/>
                      </a:lnTo>
                      <a:lnTo>
                        <a:pt x="1342760" y="93266"/>
                      </a:lnTo>
                      <a:lnTo>
                        <a:pt x="1341438" y="92604"/>
                      </a:lnTo>
                      <a:lnTo>
                        <a:pt x="1338792" y="92604"/>
                      </a:lnTo>
                      <a:lnTo>
                        <a:pt x="1338792" y="95250"/>
                      </a:lnTo>
                      <a:lnTo>
                        <a:pt x="1342760" y="93266"/>
                      </a:lnTo>
                      <a:lnTo>
                        <a:pt x="1346729" y="95250"/>
                      </a:lnTo>
                      <a:lnTo>
                        <a:pt x="1354667" y="100542"/>
                      </a:lnTo>
                      <a:lnTo>
                        <a:pt x="1357313" y="105833"/>
                      </a:lnTo>
                      <a:lnTo>
                        <a:pt x="1357313" y="108479"/>
                      </a:lnTo>
                      <a:lnTo>
                        <a:pt x="1352021" y="108479"/>
                      </a:lnTo>
                      <a:lnTo>
                        <a:pt x="1344083" y="108479"/>
                      </a:lnTo>
                      <a:lnTo>
                        <a:pt x="1336146" y="108479"/>
                      </a:lnTo>
                      <a:lnTo>
                        <a:pt x="1333500" y="108479"/>
                      </a:lnTo>
                      <a:lnTo>
                        <a:pt x="1330854" y="103187"/>
                      </a:lnTo>
                      <a:lnTo>
                        <a:pt x="1330854" y="100542"/>
                      </a:lnTo>
                      <a:lnTo>
                        <a:pt x="1325563" y="100542"/>
                      </a:lnTo>
                      <a:lnTo>
                        <a:pt x="1320271" y="100542"/>
                      </a:lnTo>
                      <a:lnTo>
                        <a:pt x="1309688" y="103187"/>
                      </a:lnTo>
                      <a:lnTo>
                        <a:pt x="1304396" y="105833"/>
                      </a:lnTo>
                      <a:lnTo>
                        <a:pt x="1304396" y="108479"/>
                      </a:lnTo>
                      <a:lnTo>
                        <a:pt x="1312333" y="111125"/>
                      </a:lnTo>
                      <a:lnTo>
                        <a:pt x="1314979" y="111125"/>
                      </a:lnTo>
                      <a:lnTo>
                        <a:pt x="1314979" y="113771"/>
                      </a:lnTo>
                      <a:lnTo>
                        <a:pt x="1309688" y="116417"/>
                      </a:lnTo>
                      <a:lnTo>
                        <a:pt x="1293813" y="121708"/>
                      </a:lnTo>
                      <a:lnTo>
                        <a:pt x="1270000" y="127000"/>
                      </a:lnTo>
                      <a:lnTo>
                        <a:pt x="1264708" y="129646"/>
                      </a:lnTo>
                      <a:lnTo>
                        <a:pt x="1251479" y="127000"/>
                      </a:lnTo>
                      <a:lnTo>
                        <a:pt x="1246188" y="127000"/>
                      </a:lnTo>
                      <a:lnTo>
                        <a:pt x="1240896" y="124354"/>
                      </a:lnTo>
                      <a:lnTo>
                        <a:pt x="1238250" y="119062"/>
                      </a:lnTo>
                      <a:lnTo>
                        <a:pt x="1235604" y="116417"/>
                      </a:lnTo>
                      <a:lnTo>
                        <a:pt x="1232958" y="113771"/>
                      </a:lnTo>
                      <a:lnTo>
                        <a:pt x="1217083" y="113771"/>
                      </a:lnTo>
                      <a:lnTo>
                        <a:pt x="1227667" y="116417"/>
                      </a:lnTo>
                      <a:lnTo>
                        <a:pt x="1232958" y="121708"/>
                      </a:lnTo>
                      <a:lnTo>
                        <a:pt x="1238250" y="127000"/>
                      </a:lnTo>
                      <a:lnTo>
                        <a:pt x="1246188" y="129646"/>
                      </a:lnTo>
                      <a:lnTo>
                        <a:pt x="1259417" y="132292"/>
                      </a:lnTo>
                      <a:lnTo>
                        <a:pt x="1267354" y="132292"/>
                      </a:lnTo>
                      <a:lnTo>
                        <a:pt x="1270000" y="132292"/>
                      </a:lnTo>
                      <a:lnTo>
                        <a:pt x="1262063" y="137583"/>
                      </a:lnTo>
                      <a:lnTo>
                        <a:pt x="1240896" y="148167"/>
                      </a:lnTo>
                      <a:lnTo>
                        <a:pt x="1232958" y="153458"/>
                      </a:lnTo>
                      <a:lnTo>
                        <a:pt x="1222375" y="153458"/>
                      </a:lnTo>
                      <a:lnTo>
                        <a:pt x="1206500" y="153458"/>
                      </a:lnTo>
                      <a:lnTo>
                        <a:pt x="1198563" y="153458"/>
                      </a:lnTo>
                      <a:lnTo>
                        <a:pt x="1193271" y="148167"/>
                      </a:lnTo>
                      <a:lnTo>
                        <a:pt x="1190625" y="153458"/>
                      </a:lnTo>
                      <a:lnTo>
                        <a:pt x="1187979" y="156104"/>
                      </a:lnTo>
                      <a:lnTo>
                        <a:pt x="1177396" y="158750"/>
                      </a:lnTo>
                      <a:lnTo>
                        <a:pt x="1169458" y="158750"/>
                      </a:lnTo>
                      <a:lnTo>
                        <a:pt x="1158875" y="156104"/>
                      </a:lnTo>
                      <a:lnTo>
                        <a:pt x="1145646" y="153458"/>
                      </a:lnTo>
                      <a:lnTo>
                        <a:pt x="1116542" y="153458"/>
                      </a:lnTo>
                      <a:lnTo>
                        <a:pt x="1135063" y="156104"/>
                      </a:lnTo>
                      <a:lnTo>
                        <a:pt x="1135063" y="158750"/>
                      </a:lnTo>
                      <a:lnTo>
                        <a:pt x="1129771" y="161396"/>
                      </a:lnTo>
                      <a:lnTo>
                        <a:pt x="1143000" y="158750"/>
                      </a:lnTo>
                      <a:lnTo>
                        <a:pt x="1153583" y="158750"/>
                      </a:lnTo>
                      <a:lnTo>
                        <a:pt x="1158875" y="158750"/>
                      </a:lnTo>
                      <a:lnTo>
                        <a:pt x="1161521" y="164042"/>
                      </a:lnTo>
                      <a:lnTo>
                        <a:pt x="1164167" y="169333"/>
                      </a:lnTo>
                      <a:lnTo>
                        <a:pt x="1161521" y="171979"/>
                      </a:lnTo>
                      <a:lnTo>
                        <a:pt x="1153583" y="171979"/>
                      </a:lnTo>
                      <a:lnTo>
                        <a:pt x="1140354" y="171979"/>
                      </a:lnTo>
                      <a:lnTo>
                        <a:pt x="1124479" y="171979"/>
                      </a:lnTo>
                      <a:lnTo>
                        <a:pt x="1124479" y="174625"/>
                      </a:lnTo>
                      <a:lnTo>
                        <a:pt x="1129771" y="177271"/>
                      </a:lnTo>
                      <a:lnTo>
                        <a:pt x="1127125" y="179917"/>
                      </a:lnTo>
                      <a:lnTo>
                        <a:pt x="1111250" y="182562"/>
                      </a:lnTo>
                      <a:lnTo>
                        <a:pt x="1105958" y="185208"/>
                      </a:lnTo>
                      <a:lnTo>
                        <a:pt x="1100667" y="190500"/>
                      </a:lnTo>
                      <a:lnTo>
                        <a:pt x="1095375" y="190500"/>
                      </a:lnTo>
                      <a:lnTo>
                        <a:pt x="1087438" y="193146"/>
                      </a:lnTo>
                      <a:lnTo>
                        <a:pt x="1074208" y="198437"/>
                      </a:lnTo>
                      <a:lnTo>
                        <a:pt x="1066271" y="203729"/>
                      </a:lnTo>
                      <a:lnTo>
                        <a:pt x="1058333" y="206375"/>
                      </a:lnTo>
                      <a:lnTo>
                        <a:pt x="1053042" y="206375"/>
                      </a:lnTo>
                      <a:lnTo>
                        <a:pt x="1053042" y="209021"/>
                      </a:lnTo>
                      <a:lnTo>
                        <a:pt x="1047750" y="214312"/>
                      </a:lnTo>
                      <a:lnTo>
                        <a:pt x="1031875" y="219604"/>
                      </a:lnTo>
                      <a:lnTo>
                        <a:pt x="1026583" y="222250"/>
                      </a:lnTo>
                      <a:lnTo>
                        <a:pt x="1026583" y="224896"/>
                      </a:lnTo>
                      <a:lnTo>
                        <a:pt x="1026583" y="227542"/>
                      </a:lnTo>
                      <a:lnTo>
                        <a:pt x="1018646" y="227542"/>
                      </a:lnTo>
                      <a:lnTo>
                        <a:pt x="1013354" y="230187"/>
                      </a:lnTo>
                      <a:lnTo>
                        <a:pt x="1013354" y="232833"/>
                      </a:lnTo>
                      <a:lnTo>
                        <a:pt x="1008062" y="238125"/>
                      </a:lnTo>
                      <a:lnTo>
                        <a:pt x="1000125" y="243417"/>
                      </a:lnTo>
                      <a:lnTo>
                        <a:pt x="997479" y="251354"/>
                      </a:lnTo>
                      <a:lnTo>
                        <a:pt x="992187" y="256646"/>
                      </a:lnTo>
                      <a:lnTo>
                        <a:pt x="984250" y="264583"/>
                      </a:lnTo>
                      <a:lnTo>
                        <a:pt x="992187" y="264583"/>
                      </a:lnTo>
                      <a:lnTo>
                        <a:pt x="992187" y="272521"/>
                      </a:lnTo>
                      <a:lnTo>
                        <a:pt x="994833" y="269875"/>
                      </a:lnTo>
                      <a:lnTo>
                        <a:pt x="1000125" y="269875"/>
                      </a:lnTo>
                      <a:lnTo>
                        <a:pt x="1010708" y="267229"/>
                      </a:lnTo>
                      <a:lnTo>
                        <a:pt x="1016000" y="269875"/>
                      </a:lnTo>
                      <a:lnTo>
                        <a:pt x="1018646" y="272521"/>
                      </a:lnTo>
                      <a:lnTo>
                        <a:pt x="1018646" y="277812"/>
                      </a:lnTo>
                      <a:lnTo>
                        <a:pt x="1018646" y="280458"/>
                      </a:lnTo>
                      <a:lnTo>
                        <a:pt x="1018646" y="285750"/>
                      </a:lnTo>
                      <a:lnTo>
                        <a:pt x="1021292" y="291042"/>
                      </a:lnTo>
                      <a:lnTo>
                        <a:pt x="1021292" y="296333"/>
                      </a:lnTo>
                      <a:lnTo>
                        <a:pt x="1021292" y="298979"/>
                      </a:lnTo>
                      <a:lnTo>
                        <a:pt x="1010708" y="304271"/>
                      </a:lnTo>
                      <a:lnTo>
                        <a:pt x="1005417" y="304271"/>
                      </a:lnTo>
                      <a:lnTo>
                        <a:pt x="1002771" y="304271"/>
                      </a:lnTo>
                      <a:lnTo>
                        <a:pt x="994833" y="309562"/>
                      </a:lnTo>
                      <a:lnTo>
                        <a:pt x="1000125" y="306917"/>
                      </a:lnTo>
                      <a:lnTo>
                        <a:pt x="1010708" y="306917"/>
                      </a:lnTo>
                      <a:lnTo>
                        <a:pt x="1021292" y="304271"/>
                      </a:lnTo>
                      <a:lnTo>
                        <a:pt x="1034521" y="301625"/>
                      </a:lnTo>
                      <a:lnTo>
                        <a:pt x="1045104" y="298979"/>
                      </a:lnTo>
                      <a:lnTo>
                        <a:pt x="1050396" y="301625"/>
                      </a:lnTo>
                      <a:lnTo>
                        <a:pt x="1053042" y="304271"/>
                      </a:lnTo>
                      <a:lnTo>
                        <a:pt x="1055688" y="309562"/>
                      </a:lnTo>
                      <a:lnTo>
                        <a:pt x="1060979" y="312208"/>
                      </a:lnTo>
                      <a:lnTo>
                        <a:pt x="1074208" y="314854"/>
                      </a:lnTo>
                      <a:lnTo>
                        <a:pt x="1087438" y="317500"/>
                      </a:lnTo>
                      <a:lnTo>
                        <a:pt x="1092729" y="320146"/>
                      </a:lnTo>
                      <a:lnTo>
                        <a:pt x="1095375" y="322792"/>
                      </a:lnTo>
                      <a:lnTo>
                        <a:pt x="1098021" y="328083"/>
                      </a:lnTo>
                      <a:lnTo>
                        <a:pt x="1100667" y="328083"/>
                      </a:lnTo>
                      <a:lnTo>
                        <a:pt x="1103313" y="328083"/>
                      </a:lnTo>
                      <a:lnTo>
                        <a:pt x="1108604" y="330729"/>
                      </a:lnTo>
                      <a:lnTo>
                        <a:pt x="1119188" y="336021"/>
                      </a:lnTo>
                      <a:lnTo>
                        <a:pt x="1127125" y="336021"/>
                      </a:lnTo>
                      <a:lnTo>
                        <a:pt x="1132417" y="338667"/>
                      </a:lnTo>
                      <a:lnTo>
                        <a:pt x="1132417" y="343958"/>
                      </a:lnTo>
                      <a:lnTo>
                        <a:pt x="1132417" y="346604"/>
                      </a:lnTo>
                      <a:lnTo>
                        <a:pt x="1137708" y="346604"/>
                      </a:lnTo>
                      <a:lnTo>
                        <a:pt x="1150938" y="346604"/>
                      </a:lnTo>
                      <a:lnTo>
                        <a:pt x="1164167" y="346604"/>
                      </a:lnTo>
                      <a:lnTo>
                        <a:pt x="1174750" y="349250"/>
                      </a:lnTo>
                      <a:lnTo>
                        <a:pt x="1180042" y="351896"/>
                      </a:lnTo>
                      <a:lnTo>
                        <a:pt x="1187979" y="351896"/>
                      </a:lnTo>
                      <a:lnTo>
                        <a:pt x="1190625" y="351896"/>
                      </a:lnTo>
                      <a:lnTo>
                        <a:pt x="1187979" y="357188"/>
                      </a:lnTo>
                      <a:lnTo>
                        <a:pt x="1180042" y="362479"/>
                      </a:lnTo>
                      <a:lnTo>
                        <a:pt x="1180042" y="365125"/>
                      </a:lnTo>
                      <a:lnTo>
                        <a:pt x="1182688" y="367771"/>
                      </a:lnTo>
                      <a:lnTo>
                        <a:pt x="1182688" y="373063"/>
                      </a:lnTo>
                      <a:lnTo>
                        <a:pt x="1177396" y="375708"/>
                      </a:lnTo>
                      <a:lnTo>
                        <a:pt x="1174750" y="375708"/>
                      </a:lnTo>
                      <a:lnTo>
                        <a:pt x="1172104" y="375708"/>
                      </a:lnTo>
                      <a:lnTo>
                        <a:pt x="1166813" y="378354"/>
                      </a:lnTo>
                      <a:lnTo>
                        <a:pt x="1164167" y="378354"/>
                      </a:lnTo>
                      <a:lnTo>
                        <a:pt x="1153583" y="375708"/>
                      </a:lnTo>
                      <a:lnTo>
                        <a:pt x="1156229" y="378354"/>
                      </a:lnTo>
                      <a:lnTo>
                        <a:pt x="1158875" y="378354"/>
                      </a:lnTo>
                      <a:lnTo>
                        <a:pt x="1166813" y="381000"/>
                      </a:lnTo>
                      <a:lnTo>
                        <a:pt x="1172104" y="383646"/>
                      </a:lnTo>
                      <a:lnTo>
                        <a:pt x="1174750" y="383646"/>
                      </a:lnTo>
                      <a:lnTo>
                        <a:pt x="1174750" y="388938"/>
                      </a:lnTo>
                      <a:lnTo>
                        <a:pt x="1174750" y="394229"/>
                      </a:lnTo>
                      <a:lnTo>
                        <a:pt x="1174750" y="396875"/>
                      </a:lnTo>
                      <a:lnTo>
                        <a:pt x="1161521" y="396875"/>
                      </a:lnTo>
                      <a:lnTo>
                        <a:pt x="1169458" y="399521"/>
                      </a:lnTo>
                      <a:lnTo>
                        <a:pt x="1174750" y="404813"/>
                      </a:lnTo>
                      <a:lnTo>
                        <a:pt x="1177396" y="407458"/>
                      </a:lnTo>
                      <a:lnTo>
                        <a:pt x="1177396" y="412750"/>
                      </a:lnTo>
                      <a:lnTo>
                        <a:pt x="1177396" y="420688"/>
                      </a:lnTo>
                      <a:lnTo>
                        <a:pt x="1177396" y="425979"/>
                      </a:lnTo>
                      <a:lnTo>
                        <a:pt x="1180042" y="428625"/>
                      </a:lnTo>
                      <a:lnTo>
                        <a:pt x="1182688" y="431271"/>
                      </a:lnTo>
                      <a:lnTo>
                        <a:pt x="1177396" y="431271"/>
                      </a:lnTo>
                      <a:lnTo>
                        <a:pt x="1172104" y="436563"/>
                      </a:lnTo>
                      <a:lnTo>
                        <a:pt x="1166813" y="439208"/>
                      </a:lnTo>
                      <a:lnTo>
                        <a:pt x="1164167" y="444500"/>
                      </a:lnTo>
                      <a:lnTo>
                        <a:pt x="1172104" y="436563"/>
                      </a:lnTo>
                      <a:lnTo>
                        <a:pt x="1185333" y="431271"/>
                      </a:lnTo>
                      <a:lnTo>
                        <a:pt x="1187979" y="431271"/>
                      </a:lnTo>
                      <a:lnTo>
                        <a:pt x="1190625" y="431271"/>
                      </a:lnTo>
                      <a:lnTo>
                        <a:pt x="1190625" y="439208"/>
                      </a:lnTo>
                      <a:lnTo>
                        <a:pt x="1190625" y="447146"/>
                      </a:lnTo>
                      <a:lnTo>
                        <a:pt x="1190625" y="449792"/>
                      </a:lnTo>
                      <a:lnTo>
                        <a:pt x="1195917" y="447146"/>
                      </a:lnTo>
                      <a:lnTo>
                        <a:pt x="1198563" y="449792"/>
                      </a:lnTo>
                      <a:lnTo>
                        <a:pt x="1201208" y="449792"/>
                      </a:lnTo>
                      <a:lnTo>
                        <a:pt x="1201208" y="447146"/>
                      </a:lnTo>
                      <a:lnTo>
                        <a:pt x="1201208" y="444500"/>
                      </a:lnTo>
                      <a:lnTo>
                        <a:pt x="1206500" y="441854"/>
                      </a:lnTo>
                      <a:lnTo>
                        <a:pt x="1219729" y="439208"/>
                      </a:lnTo>
                      <a:lnTo>
                        <a:pt x="1222375" y="439208"/>
                      </a:lnTo>
                      <a:lnTo>
                        <a:pt x="1225021" y="441854"/>
                      </a:lnTo>
                      <a:lnTo>
                        <a:pt x="1227667" y="449792"/>
                      </a:lnTo>
                      <a:lnTo>
                        <a:pt x="1230313" y="452438"/>
                      </a:lnTo>
                      <a:lnTo>
                        <a:pt x="1235604" y="455083"/>
                      </a:lnTo>
                      <a:lnTo>
                        <a:pt x="1230313" y="449792"/>
                      </a:lnTo>
                      <a:lnTo>
                        <a:pt x="1230313" y="447146"/>
                      </a:lnTo>
                      <a:lnTo>
                        <a:pt x="1232958" y="447146"/>
                      </a:lnTo>
                      <a:lnTo>
                        <a:pt x="1240896" y="447146"/>
                      </a:lnTo>
                      <a:lnTo>
                        <a:pt x="1232958" y="441854"/>
                      </a:lnTo>
                      <a:lnTo>
                        <a:pt x="1230313" y="439208"/>
                      </a:lnTo>
                      <a:lnTo>
                        <a:pt x="1230313" y="433917"/>
                      </a:lnTo>
                      <a:lnTo>
                        <a:pt x="1232958" y="431271"/>
                      </a:lnTo>
                      <a:lnTo>
                        <a:pt x="1235604" y="431271"/>
                      </a:lnTo>
                      <a:lnTo>
                        <a:pt x="1246188" y="428625"/>
                      </a:lnTo>
                      <a:lnTo>
                        <a:pt x="1248833" y="425979"/>
                      </a:lnTo>
                      <a:lnTo>
                        <a:pt x="1254125" y="423333"/>
                      </a:lnTo>
                      <a:lnTo>
                        <a:pt x="1256771" y="418042"/>
                      </a:lnTo>
                      <a:lnTo>
                        <a:pt x="1256771" y="412750"/>
                      </a:lnTo>
                      <a:lnTo>
                        <a:pt x="1256771" y="404813"/>
                      </a:lnTo>
                      <a:lnTo>
                        <a:pt x="1259417" y="402167"/>
                      </a:lnTo>
                      <a:lnTo>
                        <a:pt x="1262063" y="396875"/>
                      </a:lnTo>
                      <a:lnTo>
                        <a:pt x="1259417" y="381000"/>
                      </a:lnTo>
                      <a:lnTo>
                        <a:pt x="1259417" y="375708"/>
                      </a:lnTo>
                      <a:lnTo>
                        <a:pt x="1256771" y="375708"/>
                      </a:lnTo>
                      <a:lnTo>
                        <a:pt x="1254125" y="373063"/>
                      </a:lnTo>
                      <a:lnTo>
                        <a:pt x="1251479" y="370417"/>
                      </a:lnTo>
                      <a:lnTo>
                        <a:pt x="1248833" y="367771"/>
                      </a:lnTo>
                      <a:lnTo>
                        <a:pt x="1246188" y="367771"/>
                      </a:lnTo>
                      <a:lnTo>
                        <a:pt x="1248833" y="362479"/>
                      </a:lnTo>
                      <a:lnTo>
                        <a:pt x="1259417" y="362479"/>
                      </a:lnTo>
                      <a:lnTo>
                        <a:pt x="1285875" y="357188"/>
                      </a:lnTo>
                      <a:lnTo>
                        <a:pt x="1299104" y="354542"/>
                      </a:lnTo>
                      <a:lnTo>
                        <a:pt x="1314979" y="346604"/>
                      </a:lnTo>
                      <a:lnTo>
                        <a:pt x="1330854" y="338667"/>
                      </a:lnTo>
                      <a:lnTo>
                        <a:pt x="1346729" y="325438"/>
                      </a:lnTo>
                      <a:lnTo>
                        <a:pt x="1359958" y="309562"/>
                      </a:lnTo>
                      <a:lnTo>
                        <a:pt x="1365250" y="296333"/>
                      </a:lnTo>
                      <a:lnTo>
                        <a:pt x="1365250" y="288396"/>
                      </a:lnTo>
                      <a:lnTo>
                        <a:pt x="1359958" y="280458"/>
                      </a:lnTo>
                      <a:lnTo>
                        <a:pt x="1349375" y="272521"/>
                      </a:lnTo>
                      <a:lnTo>
                        <a:pt x="1346729" y="269875"/>
                      </a:lnTo>
                      <a:lnTo>
                        <a:pt x="1346729" y="267229"/>
                      </a:lnTo>
                      <a:lnTo>
                        <a:pt x="1349375" y="264583"/>
                      </a:lnTo>
                      <a:lnTo>
                        <a:pt x="1349375" y="259292"/>
                      </a:lnTo>
                      <a:lnTo>
                        <a:pt x="1352021" y="256646"/>
                      </a:lnTo>
                      <a:lnTo>
                        <a:pt x="1367896" y="251354"/>
                      </a:lnTo>
                      <a:lnTo>
                        <a:pt x="1375833" y="248708"/>
                      </a:lnTo>
                      <a:lnTo>
                        <a:pt x="1375833" y="246062"/>
                      </a:lnTo>
                      <a:lnTo>
                        <a:pt x="1381125" y="243417"/>
                      </a:lnTo>
                      <a:lnTo>
                        <a:pt x="1386417" y="240771"/>
                      </a:lnTo>
                      <a:lnTo>
                        <a:pt x="1386417" y="238125"/>
                      </a:lnTo>
                      <a:lnTo>
                        <a:pt x="1383771" y="238125"/>
                      </a:lnTo>
                      <a:lnTo>
                        <a:pt x="1383771" y="235479"/>
                      </a:lnTo>
                      <a:lnTo>
                        <a:pt x="1386417" y="232833"/>
                      </a:lnTo>
                      <a:lnTo>
                        <a:pt x="1391708" y="230187"/>
                      </a:lnTo>
                      <a:lnTo>
                        <a:pt x="1399646" y="222250"/>
                      </a:lnTo>
                      <a:lnTo>
                        <a:pt x="1397000" y="219604"/>
                      </a:lnTo>
                      <a:lnTo>
                        <a:pt x="1394354" y="219604"/>
                      </a:lnTo>
                      <a:lnTo>
                        <a:pt x="1394354" y="216958"/>
                      </a:lnTo>
                      <a:lnTo>
                        <a:pt x="1397000" y="216958"/>
                      </a:lnTo>
                      <a:lnTo>
                        <a:pt x="1402292" y="211667"/>
                      </a:lnTo>
                      <a:lnTo>
                        <a:pt x="1404938" y="209021"/>
                      </a:lnTo>
                      <a:lnTo>
                        <a:pt x="1407583" y="203729"/>
                      </a:lnTo>
                      <a:lnTo>
                        <a:pt x="1410229" y="193146"/>
                      </a:lnTo>
                      <a:lnTo>
                        <a:pt x="1412875" y="185208"/>
                      </a:lnTo>
                      <a:lnTo>
                        <a:pt x="1418167" y="182562"/>
                      </a:lnTo>
                      <a:lnTo>
                        <a:pt x="1420813" y="179917"/>
                      </a:lnTo>
                      <a:lnTo>
                        <a:pt x="1434042" y="177271"/>
                      </a:lnTo>
                      <a:lnTo>
                        <a:pt x="1447271" y="177271"/>
                      </a:lnTo>
                      <a:lnTo>
                        <a:pt x="1473729" y="185208"/>
                      </a:lnTo>
                      <a:lnTo>
                        <a:pt x="1484313" y="187854"/>
                      </a:lnTo>
                      <a:lnTo>
                        <a:pt x="1492250" y="187854"/>
                      </a:lnTo>
                      <a:lnTo>
                        <a:pt x="1502833" y="182562"/>
                      </a:lnTo>
                      <a:lnTo>
                        <a:pt x="1505479" y="179917"/>
                      </a:lnTo>
                      <a:lnTo>
                        <a:pt x="1513417" y="182562"/>
                      </a:lnTo>
                      <a:lnTo>
                        <a:pt x="1521354" y="185208"/>
                      </a:lnTo>
                      <a:lnTo>
                        <a:pt x="1531937" y="193146"/>
                      </a:lnTo>
                      <a:lnTo>
                        <a:pt x="1531937" y="201083"/>
                      </a:lnTo>
                      <a:lnTo>
                        <a:pt x="1537229" y="206375"/>
                      </a:lnTo>
                      <a:lnTo>
                        <a:pt x="1539875" y="206375"/>
                      </a:lnTo>
                      <a:lnTo>
                        <a:pt x="1545167" y="209021"/>
                      </a:lnTo>
                      <a:lnTo>
                        <a:pt x="1550458" y="214312"/>
                      </a:lnTo>
                      <a:lnTo>
                        <a:pt x="1555750" y="211667"/>
                      </a:lnTo>
                      <a:lnTo>
                        <a:pt x="1558396" y="209021"/>
                      </a:lnTo>
                      <a:lnTo>
                        <a:pt x="1561042" y="209021"/>
                      </a:lnTo>
                      <a:lnTo>
                        <a:pt x="1563687" y="211667"/>
                      </a:lnTo>
                      <a:lnTo>
                        <a:pt x="1563687" y="214312"/>
                      </a:lnTo>
                      <a:lnTo>
                        <a:pt x="1561042" y="216958"/>
                      </a:lnTo>
                      <a:lnTo>
                        <a:pt x="1563687" y="219604"/>
                      </a:lnTo>
                      <a:lnTo>
                        <a:pt x="1566333" y="222250"/>
                      </a:lnTo>
                      <a:lnTo>
                        <a:pt x="1571625" y="219604"/>
                      </a:lnTo>
                      <a:lnTo>
                        <a:pt x="1576917" y="216958"/>
                      </a:lnTo>
                      <a:lnTo>
                        <a:pt x="1579562" y="216958"/>
                      </a:lnTo>
                      <a:lnTo>
                        <a:pt x="1582208" y="219604"/>
                      </a:lnTo>
                      <a:lnTo>
                        <a:pt x="1582208" y="222250"/>
                      </a:lnTo>
                      <a:lnTo>
                        <a:pt x="1576917" y="224896"/>
                      </a:lnTo>
                      <a:lnTo>
                        <a:pt x="1568979" y="227542"/>
                      </a:lnTo>
                      <a:lnTo>
                        <a:pt x="1563687" y="230187"/>
                      </a:lnTo>
                      <a:lnTo>
                        <a:pt x="1561042" y="230187"/>
                      </a:lnTo>
                      <a:lnTo>
                        <a:pt x="1563687" y="235479"/>
                      </a:lnTo>
                      <a:lnTo>
                        <a:pt x="1566333" y="238125"/>
                      </a:lnTo>
                      <a:lnTo>
                        <a:pt x="1550458" y="243417"/>
                      </a:lnTo>
                      <a:lnTo>
                        <a:pt x="1555750" y="243417"/>
                      </a:lnTo>
                      <a:lnTo>
                        <a:pt x="1558396" y="243417"/>
                      </a:lnTo>
                      <a:lnTo>
                        <a:pt x="1561042" y="246062"/>
                      </a:lnTo>
                      <a:lnTo>
                        <a:pt x="1561042" y="251354"/>
                      </a:lnTo>
                      <a:lnTo>
                        <a:pt x="1558396" y="254000"/>
                      </a:lnTo>
                      <a:lnTo>
                        <a:pt x="1547812" y="256646"/>
                      </a:lnTo>
                      <a:lnTo>
                        <a:pt x="1539875" y="261937"/>
                      </a:lnTo>
                      <a:lnTo>
                        <a:pt x="1537229" y="264583"/>
                      </a:lnTo>
                      <a:lnTo>
                        <a:pt x="1537229" y="267229"/>
                      </a:lnTo>
                      <a:lnTo>
                        <a:pt x="1550458" y="264583"/>
                      </a:lnTo>
                      <a:lnTo>
                        <a:pt x="1561042" y="264583"/>
                      </a:lnTo>
                      <a:lnTo>
                        <a:pt x="1563687" y="267229"/>
                      </a:lnTo>
                      <a:lnTo>
                        <a:pt x="1561042" y="272521"/>
                      </a:lnTo>
                      <a:lnTo>
                        <a:pt x="1550458" y="280458"/>
                      </a:lnTo>
                      <a:lnTo>
                        <a:pt x="1545167" y="280458"/>
                      </a:lnTo>
                      <a:lnTo>
                        <a:pt x="1542521" y="280458"/>
                      </a:lnTo>
                      <a:lnTo>
                        <a:pt x="1542521" y="275167"/>
                      </a:lnTo>
                      <a:lnTo>
                        <a:pt x="1537229" y="280458"/>
                      </a:lnTo>
                      <a:lnTo>
                        <a:pt x="1529292" y="285750"/>
                      </a:lnTo>
                      <a:lnTo>
                        <a:pt x="1537229" y="285750"/>
                      </a:lnTo>
                      <a:lnTo>
                        <a:pt x="1539875" y="288396"/>
                      </a:lnTo>
                      <a:lnTo>
                        <a:pt x="1539875" y="293687"/>
                      </a:lnTo>
                      <a:lnTo>
                        <a:pt x="1553104" y="283104"/>
                      </a:lnTo>
                      <a:lnTo>
                        <a:pt x="1566333" y="277812"/>
                      </a:lnTo>
                      <a:lnTo>
                        <a:pt x="1576917" y="275167"/>
                      </a:lnTo>
                      <a:lnTo>
                        <a:pt x="1576917" y="277812"/>
                      </a:lnTo>
                      <a:lnTo>
                        <a:pt x="1576917" y="280458"/>
                      </a:lnTo>
                      <a:lnTo>
                        <a:pt x="1576917" y="285750"/>
                      </a:lnTo>
                      <a:lnTo>
                        <a:pt x="1579562" y="285750"/>
                      </a:lnTo>
                      <a:lnTo>
                        <a:pt x="1584854" y="285750"/>
                      </a:lnTo>
                      <a:lnTo>
                        <a:pt x="1584854" y="288396"/>
                      </a:lnTo>
                      <a:lnTo>
                        <a:pt x="1590146" y="280458"/>
                      </a:lnTo>
                      <a:lnTo>
                        <a:pt x="1598083" y="275167"/>
                      </a:lnTo>
                      <a:lnTo>
                        <a:pt x="1606021" y="272521"/>
                      </a:lnTo>
                      <a:lnTo>
                        <a:pt x="1613958" y="267229"/>
                      </a:lnTo>
                      <a:lnTo>
                        <a:pt x="1616604" y="264583"/>
                      </a:lnTo>
                      <a:lnTo>
                        <a:pt x="1619250" y="267229"/>
                      </a:lnTo>
                      <a:lnTo>
                        <a:pt x="1619250" y="272521"/>
                      </a:lnTo>
                      <a:lnTo>
                        <a:pt x="1619250" y="275167"/>
                      </a:lnTo>
                      <a:lnTo>
                        <a:pt x="1621896" y="275167"/>
                      </a:lnTo>
                      <a:lnTo>
                        <a:pt x="1621896" y="272521"/>
                      </a:lnTo>
                      <a:lnTo>
                        <a:pt x="1624542" y="267229"/>
                      </a:lnTo>
                      <a:lnTo>
                        <a:pt x="1627187" y="264583"/>
                      </a:lnTo>
                      <a:lnTo>
                        <a:pt x="1635125" y="259292"/>
                      </a:lnTo>
                      <a:lnTo>
                        <a:pt x="1640417" y="259292"/>
                      </a:lnTo>
                      <a:lnTo>
                        <a:pt x="1643062" y="256646"/>
                      </a:lnTo>
                      <a:lnTo>
                        <a:pt x="1643062" y="251354"/>
                      </a:lnTo>
                      <a:lnTo>
                        <a:pt x="1643062" y="246062"/>
                      </a:lnTo>
                      <a:lnTo>
                        <a:pt x="1643062" y="243417"/>
                      </a:lnTo>
                      <a:lnTo>
                        <a:pt x="1645708" y="243417"/>
                      </a:lnTo>
                      <a:lnTo>
                        <a:pt x="1653646" y="235479"/>
                      </a:lnTo>
                      <a:lnTo>
                        <a:pt x="1658937" y="230187"/>
                      </a:lnTo>
                      <a:lnTo>
                        <a:pt x="1664229" y="224896"/>
                      </a:lnTo>
                      <a:lnTo>
                        <a:pt x="1666875" y="224896"/>
                      </a:lnTo>
                      <a:lnTo>
                        <a:pt x="1666875" y="227542"/>
                      </a:lnTo>
                      <a:lnTo>
                        <a:pt x="1672167" y="232833"/>
                      </a:lnTo>
                      <a:lnTo>
                        <a:pt x="1677458" y="235479"/>
                      </a:lnTo>
                      <a:lnTo>
                        <a:pt x="1680104" y="238125"/>
                      </a:lnTo>
                      <a:lnTo>
                        <a:pt x="1680104" y="240771"/>
                      </a:lnTo>
                      <a:lnTo>
                        <a:pt x="1680104" y="243417"/>
                      </a:lnTo>
                      <a:lnTo>
                        <a:pt x="1680104" y="246062"/>
                      </a:lnTo>
                      <a:lnTo>
                        <a:pt x="1682750" y="248708"/>
                      </a:lnTo>
                      <a:lnTo>
                        <a:pt x="1682750" y="251354"/>
                      </a:lnTo>
                      <a:lnTo>
                        <a:pt x="1682750" y="256646"/>
                      </a:lnTo>
                      <a:lnTo>
                        <a:pt x="1685396" y="256646"/>
                      </a:lnTo>
                      <a:lnTo>
                        <a:pt x="1688042" y="259292"/>
                      </a:lnTo>
                      <a:lnTo>
                        <a:pt x="1688042" y="264583"/>
                      </a:lnTo>
                      <a:lnTo>
                        <a:pt x="1688042" y="267229"/>
                      </a:lnTo>
                      <a:lnTo>
                        <a:pt x="1688042" y="269875"/>
                      </a:lnTo>
                      <a:lnTo>
                        <a:pt x="1693333" y="272521"/>
                      </a:lnTo>
                      <a:lnTo>
                        <a:pt x="1695979" y="277812"/>
                      </a:lnTo>
                      <a:lnTo>
                        <a:pt x="1695979" y="280458"/>
                      </a:lnTo>
                      <a:lnTo>
                        <a:pt x="1693333" y="285750"/>
                      </a:lnTo>
                      <a:lnTo>
                        <a:pt x="1701271" y="288396"/>
                      </a:lnTo>
                      <a:lnTo>
                        <a:pt x="1703917" y="291042"/>
                      </a:lnTo>
                      <a:lnTo>
                        <a:pt x="1703917" y="293687"/>
                      </a:lnTo>
                      <a:lnTo>
                        <a:pt x="1703917" y="296333"/>
                      </a:lnTo>
                      <a:lnTo>
                        <a:pt x="1695979" y="301625"/>
                      </a:lnTo>
                      <a:lnTo>
                        <a:pt x="1680104" y="306917"/>
                      </a:lnTo>
                      <a:lnTo>
                        <a:pt x="1688042" y="306917"/>
                      </a:lnTo>
                      <a:lnTo>
                        <a:pt x="1703917" y="304271"/>
                      </a:lnTo>
                      <a:lnTo>
                        <a:pt x="1706562" y="304271"/>
                      </a:lnTo>
                      <a:lnTo>
                        <a:pt x="1709208" y="304271"/>
                      </a:lnTo>
                      <a:lnTo>
                        <a:pt x="1706562" y="309562"/>
                      </a:lnTo>
                      <a:lnTo>
                        <a:pt x="1701271" y="314854"/>
                      </a:lnTo>
                      <a:lnTo>
                        <a:pt x="1701271" y="320146"/>
                      </a:lnTo>
                      <a:lnTo>
                        <a:pt x="1703917" y="322792"/>
                      </a:lnTo>
                      <a:lnTo>
                        <a:pt x="1706562" y="325438"/>
                      </a:lnTo>
                      <a:lnTo>
                        <a:pt x="1709208" y="328083"/>
                      </a:lnTo>
                      <a:lnTo>
                        <a:pt x="1709208" y="336021"/>
                      </a:lnTo>
                      <a:lnTo>
                        <a:pt x="1709208" y="343958"/>
                      </a:lnTo>
                      <a:lnTo>
                        <a:pt x="1711854" y="341313"/>
                      </a:lnTo>
                      <a:lnTo>
                        <a:pt x="1717146" y="341313"/>
                      </a:lnTo>
                      <a:lnTo>
                        <a:pt x="1719792" y="343958"/>
                      </a:lnTo>
                      <a:lnTo>
                        <a:pt x="1719792" y="346604"/>
                      </a:lnTo>
                      <a:lnTo>
                        <a:pt x="1719792" y="349250"/>
                      </a:lnTo>
                      <a:lnTo>
                        <a:pt x="1725083" y="349250"/>
                      </a:lnTo>
                      <a:lnTo>
                        <a:pt x="1730375" y="349250"/>
                      </a:lnTo>
                      <a:lnTo>
                        <a:pt x="1730375" y="351896"/>
                      </a:lnTo>
                      <a:lnTo>
                        <a:pt x="1735667" y="354542"/>
                      </a:lnTo>
                      <a:lnTo>
                        <a:pt x="1740958" y="354542"/>
                      </a:lnTo>
                      <a:lnTo>
                        <a:pt x="1740958" y="357188"/>
                      </a:lnTo>
                      <a:lnTo>
                        <a:pt x="1743604" y="359833"/>
                      </a:lnTo>
                      <a:lnTo>
                        <a:pt x="1748896" y="359833"/>
                      </a:lnTo>
                      <a:lnTo>
                        <a:pt x="1764771" y="362479"/>
                      </a:lnTo>
                      <a:lnTo>
                        <a:pt x="1767417" y="365125"/>
                      </a:lnTo>
                      <a:lnTo>
                        <a:pt x="1759479" y="367771"/>
                      </a:lnTo>
                      <a:lnTo>
                        <a:pt x="1735667" y="370417"/>
                      </a:lnTo>
                      <a:lnTo>
                        <a:pt x="1725083" y="373063"/>
                      </a:lnTo>
                      <a:lnTo>
                        <a:pt x="1711854" y="375708"/>
                      </a:lnTo>
                      <a:lnTo>
                        <a:pt x="1701271" y="375708"/>
                      </a:lnTo>
                      <a:lnTo>
                        <a:pt x="1701271" y="378354"/>
                      </a:lnTo>
                      <a:lnTo>
                        <a:pt x="1688042" y="386292"/>
                      </a:lnTo>
                      <a:lnTo>
                        <a:pt x="1701271" y="386292"/>
                      </a:lnTo>
                      <a:lnTo>
                        <a:pt x="1714500" y="383646"/>
                      </a:lnTo>
                      <a:lnTo>
                        <a:pt x="1738312" y="375708"/>
                      </a:lnTo>
                      <a:lnTo>
                        <a:pt x="1754187" y="373063"/>
                      </a:lnTo>
                      <a:lnTo>
                        <a:pt x="1759479" y="373063"/>
                      </a:lnTo>
                      <a:lnTo>
                        <a:pt x="1767417" y="375708"/>
                      </a:lnTo>
                      <a:lnTo>
                        <a:pt x="1770062" y="378354"/>
                      </a:lnTo>
                      <a:lnTo>
                        <a:pt x="1767417" y="381000"/>
                      </a:lnTo>
                      <a:lnTo>
                        <a:pt x="1764771" y="381000"/>
                      </a:lnTo>
                      <a:lnTo>
                        <a:pt x="1767417" y="383646"/>
                      </a:lnTo>
                      <a:lnTo>
                        <a:pt x="1770062" y="383646"/>
                      </a:lnTo>
                      <a:lnTo>
                        <a:pt x="1775354" y="383646"/>
                      </a:lnTo>
                      <a:lnTo>
                        <a:pt x="1780646" y="381000"/>
                      </a:lnTo>
                      <a:lnTo>
                        <a:pt x="1785937" y="383646"/>
                      </a:lnTo>
                      <a:lnTo>
                        <a:pt x="1791229" y="386292"/>
                      </a:lnTo>
                      <a:lnTo>
                        <a:pt x="1791229" y="391583"/>
                      </a:lnTo>
                      <a:lnTo>
                        <a:pt x="1785937" y="394229"/>
                      </a:lnTo>
                      <a:lnTo>
                        <a:pt x="1783292" y="396875"/>
                      </a:lnTo>
                      <a:lnTo>
                        <a:pt x="1785937" y="402167"/>
                      </a:lnTo>
                      <a:lnTo>
                        <a:pt x="1788583" y="404813"/>
                      </a:lnTo>
                      <a:lnTo>
                        <a:pt x="1785937" y="404813"/>
                      </a:lnTo>
                      <a:lnTo>
                        <a:pt x="1788583" y="407458"/>
                      </a:lnTo>
                      <a:lnTo>
                        <a:pt x="1791229" y="410104"/>
                      </a:lnTo>
                      <a:lnTo>
                        <a:pt x="1791229" y="412750"/>
                      </a:lnTo>
                      <a:lnTo>
                        <a:pt x="1791229" y="418042"/>
                      </a:lnTo>
                      <a:lnTo>
                        <a:pt x="1785937" y="420688"/>
                      </a:lnTo>
                      <a:lnTo>
                        <a:pt x="1778000" y="425979"/>
                      </a:lnTo>
                      <a:lnTo>
                        <a:pt x="1767417" y="431271"/>
                      </a:lnTo>
                      <a:lnTo>
                        <a:pt x="1762125" y="428625"/>
                      </a:lnTo>
                      <a:lnTo>
                        <a:pt x="1759479" y="428625"/>
                      </a:lnTo>
                      <a:lnTo>
                        <a:pt x="1743604" y="436563"/>
                      </a:lnTo>
                      <a:lnTo>
                        <a:pt x="1730375" y="441854"/>
                      </a:lnTo>
                      <a:lnTo>
                        <a:pt x="1727729" y="441854"/>
                      </a:lnTo>
                      <a:lnTo>
                        <a:pt x="1727729" y="444500"/>
                      </a:lnTo>
                      <a:lnTo>
                        <a:pt x="1727729" y="447146"/>
                      </a:lnTo>
                      <a:lnTo>
                        <a:pt x="1725083" y="447146"/>
                      </a:lnTo>
                      <a:lnTo>
                        <a:pt x="1722437" y="447146"/>
                      </a:lnTo>
                      <a:lnTo>
                        <a:pt x="1717146" y="452438"/>
                      </a:lnTo>
                      <a:lnTo>
                        <a:pt x="1714500" y="455083"/>
                      </a:lnTo>
                      <a:lnTo>
                        <a:pt x="1711854" y="455083"/>
                      </a:lnTo>
                      <a:lnTo>
                        <a:pt x="1706562" y="455083"/>
                      </a:lnTo>
                      <a:lnTo>
                        <a:pt x="1685396" y="463021"/>
                      </a:lnTo>
                      <a:lnTo>
                        <a:pt x="1666875" y="468313"/>
                      </a:lnTo>
                      <a:lnTo>
                        <a:pt x="1658937" y="468313"/>
                      </a:lnTo>
                      <a:lnTo>
                        <a:pt x="1651000" y="465667"/>
                      </a:lnTo>
                      <a:lnTo>
                        <a:pt x="1632479" y="468313"/>
                      </a:lnTo>
                      <a:lnTo>
                        <a:pt x="1621896" y="468313"/>
                      </a:lnTo>
                      <a:lnTo>
                        <a:pt x="1616604" y="468313"/>
                      </a:lnTo>
                      <a:lnTo>
                        <a:pt x="1606021" y="465667"/>
                      </a:lnTo>
                      <a:lnTo>
                        <a:pt x="1571625" y="465667"/>
                      </a:lnTo>
                      <a:lnTo>
                        <a:pt x="1521354" y="470959"/>
                      </a:lnTo>
                      <a:lnTo>
                        <a:pt x="1513417" y="473604"/>
                      </a:lnTo>
                      <a:lnTo>
                        <a:pt x="1510771" y="476250"/>
                      </a:lnTo>
                      <a:lnTo>
                        <a:pt x="1510771" y="478896"/>
                      </a:lnTo>
                      <a:lnTo>
                        <a:pt x="1508125" y="484188"/>
                      </a:lnTo>
                      <a:lnTo>
                        <a:pt x="1502833" y="486834"/>
                      </a:lnTo>
                      <a:lnTo>
                        <a:pt x="1481667" y="489479"/>
                      </a:lnTo>
                      <a:lnTo>
                        <a:pt x="1473729" y="492125"/>
                      </a:lnTo>
                      <a:lnTo>
                        <a:pt x="1468438" y="497417"/>
                      </a:lnTo>
                      <a:lnTo>
                        <a:pt x="1465792" y="500063"/>
                      </a:lnTo>
                      <a:lnTo>
                        <a:pt x="1460500" y="497417"/>
                      </a:lnTo>
                      <a:lnTo>
                        <a:pt x="1457854" y="497417"/>
                      </a:lnTo>
                      <a:lnTo>
                        <a:pt x="1455208" y="500063"/>
                      </a:lnTo>
                      <a:lnTo>
                        <a:pt x="1452563" y="502709"/>
                      </a:lnTo>
                      <a:lnTo>
                        <a:pt x="1447271" y="505354"/>
                      </a:lnTo>
                      <a:lnTo>
                        <a:pt x="1439333" y="508000"/>
                      </a:lnTo>
                      <a:lnTo>
                        <a:pt x="1431396" y="510646"/>
                      </a:lnTo>
                      <a:lnTo>
                        <a:pt x="1415521" y="523875"/>
                      </a:lnTo>
                      <a:lnTo>
                        <a:pt x="1399646" y="534459"/>
                      </a:lnTo>
                      <a:lnTo>
                        <a:pt x="1386417" y="542396"/>
                      </a:lnTo>
                      <a:lnTo>
                        <a:pt x="1378479" y="545042"/>
                      </a:lnTo>
                      <a:lnTo>
                        <a:pt x="1375833" y="547688"/>
                      </a:lnTo>
                      <a:lnTo>
                        <a:pt x="1370542" y="552979"/>
                      </a:lnTo>
                      <a:lnTo>
                        <a:pt x="1359958" y="560917"/>
                      </a:lnTo>
                      <a:lnTo>
                        <a:pt x="1373188" y="555625"/>
                      </a:lnTo>
                      <a:lnTo>
                        <a:pt x="1391708" y="545042"/>
                      </a:lnTo>
                      <a:lnTo>
                        <a:pt x="1412875" y="531813"/>
                      </a:lnTo>
                      <a:lnTo>
                        <a:pt x="1447271" y="518584"/>
                      </a:lnTo>
                      <a:lnTo>
                        <a:pt x="1481667" y="508000"/>
                      </a:lnTo>
                      <a:lnTo>
                        <a:pt x="1510771" y="500063"/>
                      </a:lnTo>
                      <a:lnTo>
                        <a:pt x="1529292" y="497417"/>
                      </a:lnTo>
                      <a:lnTo>
                        <a:pt x="1539875" y="500063"/>
                      </a:lnTo>
                      <a:lnTo>
                        <a:pt x="1547812" y="502709"/>
                      </a:lnTo>
                      <a:lnTo>
                        <a:pt x="1550458" y="508000"/>
                      </a:lnTo>
                      <a:lnTo>
                        <a:pt x="1547812" y="510646"/>
                      </a:lnTo>
                      <a:lnTo>
                        <a:pt x="1547812" y="508000"/>
                      </a:lnTo>
                      <a:lnTo>
                        <a:pt x="1545167" y="508000"/>
                      </a:lnTo>
                      <a:lnTo>
                        <a:pt x="1545167" y="510646"/>
                      </a:lnTo>
                      <a:lnTo>
                        <a:pt x="1545167" y="513292"/>
                      </a:lnTo>
                      <a:lnTo>
                        <a:pt x="1547812" y="513292"/>
                      </a:lnTo>
                      <a:lnTo>
                        <a:pt x="1547812" y="515938"/>
                      </a:lnTo>
                      <a:lnTo>
                        <a:pt x="1542521" y="518584"/>
                      </a:lnTo>
                      <a:lnTo>
                        <a:pt x="1539875" y="518584"/>
                      </a:lnTo>
                      <a:lnTo>
                        <a:pt x="1531937" y="518584"/>
                      </a:lnTo>
                      <a:lnTo>
                        <a:pt x="1524000" y="523875"/>
                      </a:lnTo>
                      <a:lnTo>
                        <a:pt x="1516063" y="526521"/>
                      </a:lnTo>
                      <a:lnTo>
                        <a:pt x="1510771" y="526521"/>
                      </a:lnTo>
                      <a:lnTo>
                        <a:pt x="1505479" y="526521"/>
                      </a:lnTo>
                      <a:lnTo>
                        <a:pt x="1497542" y="531813"/>
                      </a:lnTo>
                      <a:lnTo>
                        <a:pt x="1505479" y="531813"/>
                      </a:lnTo>
                      <a:lnTo>
                        <a:pt x="1508125" y="531813"/>
                      </a:lnTo>
                      <a:lnTo>
                        <a:pt x="1516063" y="531813"/>
                      </a:lnTo>
                      <a:lnTo>
                        <a:pt x="1518708" y="531813"/>
                      </a:lnTo>
                      <a:lnTo>
                        <a:pt x="1521354" y="534459"/>
                      </a:lnTo>
                      <a:lnTo>
                        <a:pt x="1521354" y="537104"/>
                      </a:lnTo>
                      <a:lnTo>
                        <a:pt x="1521354" y="539750"/>
                      </a:lnTo>
                      <a:lnTo>
                        <a:pt x="1516063" y="545042"/>
                      </a:lnTo>
                      <a:lnTo>
                        <a:pt x="1508125" y="547688"/>
                      </a:lnTo>
                      <a:lnTo>
                        <a:pt x="1513417" y="550334"/>
                      </a:lnTo>
                      <a:lnTo>
                        <a:pt x="1516063" y="555625"/>
                      </a:lnTo>
                      <a:lnTo>
                        <a:pt x="1521354" y="566209"/>
                      </a:lnTo>
                      <a:lnTo>
                        <a:pt x="1524000" y="576792"/>
                      </a:lnTo>
                      <a:lnTo>
                        <a:pt x="1531937" y="579438"/>
                      </a:lnTo>
                      <a:lnTo>
                        <a:pt x="1537229" y="582084"/>
                      </a:lnTo>
                      <a:lnTo>
                        <a:pt x="1539875" y="587375"/>
                      </a:lnTo>
                      <a:lnTo>
                        <a:pt x="1550458" y="590021"/>
                      </a:lnTo>
                      <a:lnTo>
                        <a:pt x="1558396" y="590021"/>
                      </a:lnTo>
                      <a:lnTo>
                        <a:pt x="1561042" y="592667"/>
                      </a:lnTo>
                      <a:lnTo>
                        <a:pt x="1561042" y="595313"/>
                      </a:lnTo>
                      <a:lnTo>
                        <a:pt x="1568979" y="592667"/>
                      </a:lnTo>
                      <a:lnTo>
                        <a:pt x="1576917" y="590021"/>
                      </a:lnTo>
                      <a:lnTo>
                        <a:pt x="1576917" y="592667"/>
                      </a:lnTo>
                      <a:lnTo>
                        <a:pt x="1576917" y="595313"/>
                      </a:lnTo>
                      <a:lnTo>
                        <a:pt x="1582208" y="592667"/>
                      </a:lnTo>
                      <a:lnTo>
                        <a:pt x="1587500" y="592667"/>
                      </a:lnTo>
                      <a:lnTo>
                        <a:pt x="1592792" y="592667"/>
                      </a:lnTo>
                      <a:lnTo>
                        <a:pt x="1592792" y="595313"/>
                      </a:lnTo>
                      <a:lnTo>
                        <a:pt x="1590146" y="595313"/>
                      </a:lnTo>
                      <a:lnTo>
                        <a:pt x="1595437" y="597959"/>
                      </a:lnTo>
                      <a:lnTo>
                        <a:pt x="1592792" y="603250"/>
                      </a:lnTo>
                      <a:lnTo>
                        <a:pt x="1584854" y="605896"/>
                      </a:lnTo>
                      <a:lnTo>
                        <a:pt x="1576917" y="608542"/>
                      </a:lnTo>
                      <a:lnTo>
                        <a:pt x="1568979" y="611188"/>
                      </a:lnTo>
                      <a:lnTo>
                        <a:pt x="1561042" y="616479"/>
                      </a:lnTo>
                      <a:lnTo>
                        <a:pt x="1553104" y="621771"/>
                      </a:lnTo>
                      <a:lnTo>
                        <a:pt x="1545167" y="619125"/>
                      </a:lnTo>
                      <a:lnTo>
                        <a:pt x="1539875" y="619125"/>
                      </a:lnTo>
                      <a:lnTo>
                        <a:pt x="1537229" y="621771"/>
                      </a:lnTo>
                      <a:lnTo>
                        <a:pt x="1537229" y="624417"/>
                      </a:lnTo>
                      <a:lnTo>
                        <a:pt x="1526646" y="624417"/>
                      </a:lnTo>
                      <a:lnTo>
                        <a:pt x="1518708" y="621771"/>
                      </a:lnTo>
                      <a:lnTo>
                        <a:pt x="1516063" y="624417"/>
                      </a:lnTo>
                      <a:lnTo>
                        <a:pt x="1513417" y="627063"/>
                      </a:lnTo>
                      <a:lnTo>
                        <a:pt x="1505479" y="629709"/>
                      </a:lnTo>
                      <a:lnTo>
                        <a:pt x="1500188" y="629709"/>
                      </a:lnTo>
                      <a:lnTo>
                        <a:pt x="1500188" y="632354"/>
                      </a:lnTo>
                      <a:lnTo>
                        <a:pt x="1502833" y="635000"/>
                      </a:lnTo>
                      <a:lnTo>
                        <a:pt x="1497542" y="637646"/>
                      </a:lnTo>
                      <a:lnTo>
                        <a:pt x="1489604" y="642938"/>
                      </a:lnTo>
                      <a:lnTo>
                        <a:pt x="1481667" y="645584"/>
                      </a:lnTo>
                      <a:lnTo>
                        <a:pt x="1476375" y="650875"/>
                      </a:lnTo>
                      <a:lnTo>
                        <a:pt x="1471083" y="650875"/>
                      </a:lnTo>
                      <a:lnTo>
                        <a:pt x="1468438" y="648229"/>
                      </a:lnTo>
                      <a:lnTo>
                        <a:pt x="1468438" y="650875"/>
                      </a:lnTo>
                      <a:lnTo>
                        <a:pt x="1468438" y="653521"/>
                      </a:lnTo>
                      <a:lnTo>
                        <a:pt x="1465792" y="656167"/>
                      </a:lnTo>
                      <a:lnTo>
                        <a:pt x="1460500" y="653521"/>
                      </a:lnTo>
                      <a:lnTo>
                        <a:pt x="1460500" y="650875"/>
                      </a:lnTo>
                      <a:lnTo>
                        <a:pt x="1460500" y="645584"/>
                      </a:lnTo>
                      <a:lnTo>
                        <a:pt x="1457854" y="640292"/>
                      </a:lnTo>
                      <a:lnTo>
                        <a:pt x="1460500" y="635000"/>
                      </a:lnTo>
                      <a:lnTo>
                        <a:pt x="1479021" y="619125"/>
                      </a:lnTo>
                      <a:lnTo>
                        <a:pt x="1492250" y="611188"/>
                      </a:lnTo>
                      <a:lnTo>
                        <a:pt x="1502833" y="608542"/>
                      </a:lnTo>
                      <a:lnTo>
                        <a:pt x="1513417" y="608542"/>
                      </a:lnTo>
                      <a:lnTo>
                        <a:pt x="1518708" y="608542"/>
                      </a:lnTo>
                      <a:lnTo>
                        <a:pt x="1539875" y="603250"/>
                      </a:lnTo>
                      <a:lnTo>
                        <a:pt x="1526646" y="605896"/>
                      </a:lnTo>
                      <a:lnTo>
                        <a:pt x="1513417" y="603250"/>
                      </a:lnTo>
                      <a:lnTo>
                        <a:pt x="1508125" y="603250"/>
                      </a:lnTo>
                      <a:lnTo>
                        <a:pt x="1500188" y="605896"/>
                      </a:lnTo>
                      <a:lnTo>
                        <a:pt x="1494896" y="605896"/>
                      </a:lnTo>
                      <a:lnTo>
                        <a:pt x="1489604" y="605896"/>
                      </a:lnTo>
                      <a:lnTo>
                        <a:pt x="1492250" y="603250"/>
                      </a:lnTo>
                      <a:lnTo>
                        <a:pt x="1500188" y="600604"/>
                      </a:lnTo>
                      <a:lnTo>
                        <a:pt x="1505479" y="597959"/>
                      </a:lnTo>
                      <a:lnTo>
                        <a:pt x="1505479" y="595313"/>
                      </a:lnTo>
                      <a:lnTo>
                        <a:pt x="1505479" y="590021"/>
                      </a:lnTo>
                      <a:lnTo>
                        <a:pt x="1500188" y="587375"/>
                      </a:lnTo>
                      <a:lnTo>
                        <a:pt x="1502833" y="592667"/>
                      </a:lnTo>
                      <a:lnTo>
                        <a:pt x="1500188" y="595313"/>
                      </a:lnTo>
                      <a:lnTo>
                        <a:pt x="1484313" y="605896"/>
                      </a:lnTo>
                      <a:lnTo>
                        <a:pt x="1471083" y="608542"/>
                      </a:lnTo>
                      <a:lnTo>
                        <a:pt x="1463146" y="608542"/>
                      </a:lnTo>
                      <a:lnTo>
                        <a:pt x="1457854" y="608542"/>
                      </a:lnTo>
                      <a:lnTo>
                        <a:pt x="1452563" y="611188"/>
                      </a:lnTo>
                      <a:lnTo>
                        <a:pt x="1449917" y="605896"/>
                      </a:lnTo>
                      <a:lnTo>
                        <a:pt x="1444625" y="605896"/>
                      </a:lnTo>
                      <a:lnTo>
                        <a:pt x="1444625" y="608542"/>
                      </a:lnTo>
                      <a:lnTo>
                        <a:pt x="1439333" y="603250"/>
                      </a:lnTo>
                      <a:lnTo>
                        <a:pt x="1436688" y="597959"/>
                      </a:lnTo>
                      <a:lnTo>
                        <a:pt x="1434042" y="595313"/>
                      </a:lnTo>
                      <a:lnTo>
                        <a:pt x="1431396" y="595313"/>
                      </a:lnTo>
                      <a:lnTo>
                        <a:pt x="1431396" y="590021"/>
                      </a:lnTo>
                      <a:lnTo>
                        <a:pt x="1441979" y="555625"/>
                      </a:lnTo>
                      <a:lnTo>
                        <a:pt x="1444625" y="552979"/>
                      </a:lnTo>
                      <a:lnTo>
                        <a:pt x="1441979" y="550334"/>
                      </a:lnTo>
                      <a:lnTo>
                        <a:pt x="1439333" y="547688"/>
                      </a:lnTo>
                      <a:lnTo>
                        <a:pt x="1436688" y="542396"/>
                      </a:lnTo>
                      <a:lnTo>
                        <a:pt x="1434042" y="542396"/>
                      </a:lnTo>
                      <a:lnTo>
                        <a:pt x="1418167" y="547688"/>
                      </a:lnTo>
                      <a:lnTo>
                        <a:pt x="1412875" y="550334"/>
                      </a:lnTo>
                      <a:lnTo>
                        <a:pt x="1410229" y="550334"/>
                      </a:lnTo>
                      <a:lnTo>
                        <a:pt x="1404938" y="547688"/>
                      </a:lnTo>
                      <a:lnTo>
                        <a:pt x="1402292" y="547688"/>
                      </a:lnTo>
                      <a:lnTo>
                        <a:pt x="1391708" y="555625"/>
                      </a:lnTo>
                      <a:lnTo>
                        <a:pt x="1386417" y="560917"/>
                      </a:lnTo>
                      <a:lnTo>
                        <a:pt x="1383771" y="563563"/>
                      </a:lnTo>
                      <a:lnTo>
                        <a:pt x="1378479" y="566209"/>
                      </a:lnTo>
                      <a:lnTo>
                        <a:pt x="1375833" y="571500"/>
                      </a:lnTo>
                      <a:lnTo>
                        <a:pt x="1367896" y="579438"/>
                      </a:lnTo>
                      <a:lnTo>
                        <a:pt x="1365250" y="582084"/>
                      </a:lnTo>
                      <a:lnTo>
                        <a:pt x="1365250" y="584729"/>
                      </a:lnTo>
                      <a:lnTo>
                        <a:pt x="1362604" y="590021"/>
                      </a:lnTo>
                      <a:lnTo>
                        <a:pt x="1357313" y="592667"/>
                      </a:lnTo>
                      <a:lnTo>
                        <a:pt x="1352021" y="595313"/>
                      </a:lnTo>
                      <a:lnTo>
                        <a:pt x="1346729" y="600604"/>
                      </a:lnTo>
                      <a:lnTo>
                        <a:pt x="1341438" y="603250"/>
                      </a:lnTo>
                      <a:lnTo>
                        <a:pt x="1338792" y="605896"/>
                      </a:lnTo>
                      <a:lnTo>
                        <a:pt x="1336146" y="605896"/>
                      </a:lnTo>
                      <a:lnTo>
                        <a:pt x="1328208" y="611188"/>
                      </a:lnTo>
                      <a:lnTo>
                        <a:pt x="1243542" y="611188"/>
                      </a:lnTo>
                      <a:lnTo>
                        <a:pt x="1238250" y="611188"/>
                      </a:lnTo>
                      <a:lnTo>
                        <a:pt x="1230313" y="613834"/>
                      </a:lnTo>
                      <a:lnTo>
                        <a:pt x="1222375" y="624417"/>
                      </a:lnTo>
                      <a:lnTo>
                        <a:pt x="1214438" y="632354"/>
                      </a:lnTo>
                      <a:lnTo>
                        <a:pt x="1206500" y="637646"/>
                      </a:lnTo>
                      <a:lnTo>
                        <a:pt x="1201208" y="640292"/>
                      </a:lnTo>
                      <a:lnTo>
                        <a:pt x="1190625" y="640292"/>
                      </a:lnTo>
                      <a:lnTo>
                        <a:pt x="1185333" y="640292"/>
                      </a:lnTo>
                      <a:lnTo>
                        <a:pt x="1187979" y="642938"/>
                      </a:lnTo>
                      <a:lnTo>
                        <a:pt x="1190625" y="642938"/>
                      </a:lnTo>
                      <a:lnTo>
                        <a:pt x="1190625" y="645584"/>
                      </a:lnTo>
                      <a:lnTo>
                        <a:pt x="1187979" y="645584"/>
                      </a:lnTo>
                      <a:lnTo>
                        <a:pt x="1185333" y="648229"/>
                      </a:lnTo>
                      <a:lnTo>
                        <a:pt x="1180042" y="648229"/>
                      </a:lnTo>
                      <a:lnTo>
                        <a:pt x="1172104" y="645584"/>
                      </a:lnTo>
                      <a:lnTo>
                        <a:pt x="1156229" y="645584"/>
                      </a:lnTo>
                      <a:lnTo>
                        <a:pt x="1137708" y="648229"/>
                      </a:lnTo>
                      <a:lnTo>
                        <a:pt x="1121833" y="656167"/>
                      </a:lnTo>
                      <a:lnTo>
                        <a:pt x="1111250" y="661459"/>
                      </a:lnTo>
                      <a:lnTo>
                        <a:pt x="1108604" y="664104"/>
                      </a:lnTo>
                      <a:lnTo>
                        <a:pt x="1111250" y="666750"/>
                      </a:lnTo>
                      <a:lnTo>
                        <a:pt x="1121833" y="669396"/>
                      </a:lnTo>
                      <a:lnTo>
                        <a:pt x="1121833" y="672042"/>
                      </a:lnTo>
                      <a:lnTo>
                        <a:pt x="1121833" y="674688"/>
                      </a:lnTo>
                      <a:lnTo>
                        <a:pt x="1113896" y="674688"/>
                      </a:lnTo>
                      <a:lnTo>
                        <a:pt x="1103313" y="674688"/>
                      </a:lnTo>
                      <a:lnTo>
                        <a:pt x="1098021" y="677334"/>
                      </a:lnTo>
                      <a:lnTo>
                        <a:pt x="1095375" y="679979"/>
                      </a:lnTo>
                      <a:lnTo>
                        <a:pt x="1100667" y="679979"/>
                      </a:lnTo>
                      <a:lnTo>
                        <a:pt x="1098021" y="682625"/>
                      </a:lnTo>
                      <a:lnTo>
                        <a:pt x="1087438" y="679979"/>
                      </a:lnTo>
                      <a:lnTo>
                        <a:pt x="1079500" y="679979"/>
                      </a:lnTo>
                      <a:lnTo>
                        <a:pt x="1074208" y="682625"/>
                      </a:lnTo>
                      <a:lnTo>
                        <a:pt x="1071563" y="685271"/>
                      </a:lnTo>
                      <a:lnTo>
                        <a:pt x="1068917" y="687917"/>
                      </a:lnTo>
                      <a:lnTo>
                        <a:pt x="1063625" y="687917"/>
                      </a:lnTo>
                      <a:lnTo>
                        <a:pt x="1060979" y="687917"/>
                      </a:lnTo>
                      <a:lnTo>
                        <a:pt x="1055688" y="690563"/>
                      </a:lnTo>
                      <a:lnTo>
                        <a:pt x="1045104" y="690563"/>
                      </a:lnTo>
                      <a:lnTo>
                        <a:pt x="1039812" y="695854"/>
                      </a:lnTo>
                      <a:lnTo>
                        <a:pt x="1034521" y="701146"/>
                      </a:lnTo>
                      <a:lnTo>
                        <a:pt x="1031875" y="701146"/>
                      </a:lnTo>
                      <a:lnTo>
                        <a:pt x="1031875" y="698500"/>
                      </a:lnTo>
                      <a:lnTo>
                        <a:pt x="1026583" y="698500"/>
                      </a:lnTo>
                      <a:lnTo>
                        <a:pt x="1023937" y="698500"/>
                      </a:lnTo>
                      <a:lnTo>
                        <a:pt x="1021292" y="698500"/>
                      </a:lnTo>
                      <a:lnTo>
                        <a:pt x="1016000" y="695854"/>
                      </a:lnTo>
                      <a:lnTo>
                        <a:pt x="1021292" y="690563"/>
                      </a:lnTo>
                      <a:lnTo>
                        <a:pt x="1026583" y="685271"/>
                      </a:lnTo>
                      <a:lnTo>
                        <a:pt x="1034521" y="685271"/>
                      </a:lnTo>
                      <a:lnTo>
                        <a:pt x="1037167" y="682625"/>
                      </a:lnTo>
                      <a:lnTo>
                        <a:pt x="1034521" y="679979"/>
                      </a:lnTo>
                      <a:lnTo>
                        <a:pt x="1034521" y="674688"/>
                      </a:lnTo>
                      <a:lnTo>
                        <a:pt x="1037167" y="669396"/>
                      </a:lnTo>
                      <a:lnTo>
                        <a:pt x="1042458" y="664104"/>
                      </a:lnTo>
                      <a:lnTo>
                        <a:pt x="1053042" y="661459"/>
                      </a:lnTo>
                      <a:lnTo>
                        <a:pt x="1063625" y="653521"/>
                      </a:lnTo>
                      <a:lnTo>
                        <a:pt x="1063625" y="648229"/>
                      </a:lnTo>
                      <a:lnTo>
                        <a:pt x="1063625" y="642938"/>
                      </a:lnTo>
                      <a:lnTo>
                        <a:pt x="1066271" y="640292"/>
                      </a:lnTo>
                      <a:lnTo>
                        <a:pt x="1071563" y="635000"/>
                      </a:lnTo>
                      <a:lnTo>
                        <a:pt x="1084792" y="627063"/>
                      </a:lnTo>
                      <a:lnTo>
                        <a:pt x="1084792" y="621771"/>
                      </a:lnTo>
                      <a:lnTo>
                        <a:pt x="1084792" y="616479"/>
                      </a:lnTo>
                      <a:lnTo>
                        <a:pt x="1084792" y="611188"/>
                      </a:lnTo>
                      <a:lnTo>
                        <a:pt x="1082146" y="608542"/>
                      </a:lnTo>
                      <a:lnTo>
                        <a:pt x="1079500" y="608542"/>
                      </a:lnTo>
                      <a:lnTo>
                        <a:pt x="1082146" y="605896"/>
                      </a:lnTo>
                      <a:lnTo>
                        <a:pt x="1084792" y="605896"/>
                      </a:lnTo>
                      <a:lnTo>
                        <a:pt x="1087438" y="608542"/>
                      </a:lnTo>
                      <a:lnTo>
                        <a:pt x="1090083" y="611188"/>
                      </a:lnTo>
                      <a:lnTo>
                        <a:pt x="1092729" y="621771"/>
                      </a:lnTo>
                      <a:lnTo>
                        <a:pt x="1095375" y="621771"/>
                      </a:lnTo>
                      <a:lnTo>
                        <a:pt x="1098021" y="621771"/>
                      </a:lnTo>
                      <a:lnTo>
                        <a:pt x="1100667" y="621771"/>
                      </a:lnTo>
                      <a:lnTo>
                        <a:pt x="1105958" y="624417"/>
                      </a:lnTo>
                      <a:lnTo>
                        <a:pt x="1108604" y="624417"/>
                      </a:lnTo>
                      <a:lnTo>
                        <a:pt x="1111250" y="619125"/>
                      </a:lnTo>
                      <a:lnTo>
                        <a:pt x="1111250" y="616479"/>
                      </a:lnTo>
                      <a:lnTo>
                        <a:pt x="1116542" y="616479"/>
                      </a:lnTo>
                      <a:lnTo>
                        <a:pt x="1119188" y="619125"/>
                      </a:lnTo>
                      <a:lnTo>
                        <a:pt x="1121833" y="619125"/>
                      </a:lnTo>
                      <a:lnTo>
                        <a:pt x="1121833" y="616479"/>
                      </a:lnTo>
                      <a:lnTo>
                        <a:pt x="1119188" y="613834"/>
                      </a:lnTo>
                      <a:lnTo>
                        <a:pt x="1119188" y="611188"/>
                      </a:lnTo>
                      <a:lnTo>
                        <a:pt x="1119188" y="603250"/>
                      </a:lnTo>
                      <a:lnTo>
                        <a:pt x="1119188" y="600604"/>
                      </a:lnTo>
                      <a:lnTo>
                        <a:pt x="1116542" y="597959"/>
                      </a:lnTo>
                      <a:lnTo>
                        <a:pt x="1113896" y="597959"/>
                      </a:lnTo>
                      <a:lnTo>
                        <a:pt x="1108604" y="592667"/>
                      </a:lnTo>
                      <a:lnTo>
                        <a:pt x="1103313" y="584729"/>
                      </a:lnTo>
                      <a:lnTo>
                        <a:pt x="1098021" y="584729"/>
                      </a:lnTo>
                      <a:lnTo>
                        <a:pt x="1090083" y="584729"/>
                      </a:lnTo>
                      <a:lnTo>
                        <a:pt x="1082146" y="582084"/>
                      </a:lnTo>
                      <a:lnTo>
                        <a:pt x="1071563" y="579438"/>
                      </a:lnTo>
                      <a:lnTo>
                        <a:pt x="1068917" y="579438"/>
                      </a:lnTo>
                      <a:lnTo>
                        <a:pt x="1060979" y="579438"/>
                      </a:lnTo>
                      <a:lnTo>
                        <a:pt x="1053042" y="579438"/>
                      </a:lnTo>
                      <a:lnTo>
                        <a:pt x="1042458" y="576792"/>
                      </a:lnTo>
                      <a:lnTo>
                        <a:pt x="1037167" y="574146"/>
                      </a:lnTo>
                      <a:lnTo>
                        <a:pt x="1037167" y="571500"/>
                      </a:lnTo>
                      <a:lnTo>
                        <a:pt x="1039812" y="568854"/>
                      </a:lnTo>
                      <a:lnTo>
                        <a:pt x="1034521" y="566209"/>
                      </a:lnTo>
                      <a:lnTo>
                        <a:pt x="1034521" y="560917"/>
                      </a:lnTo>
                      <a:lnTo>
                        <a:pt x="1037167" y="558271"/>
                      </a:lnTo>
                      <a:lnTo>
                        <a:pt x="1034521" y="552979"/>
                      </a:lnTo>
                      <a:lnTo>
                        <a:pt x="1031875" y="550334"/>
                      </a:lnTo>
                      <a:lnTo>
                        <a:pt x="1031875" y="547688"/>
                      </a:lnTo>
                      <a:lnTo>
                        <a:pt x="1037167" y="539750"/>
                      </a:lnTo>
                      <a:lnTo>
                        <a:pt x="1034521" y="539750"/>
                      </a:lnTo>
                      <a:lnTo>
                        <a:pt x="1026583" y="539750"/>
                      </a:lnTo>
                      <a:lnTo>
                        <a:pt x="1021292" y="539750"/>
                      </a:lnTo>
                      <a:lnTo>
                        <a:pt x="1018646" y="537104"/>
                      </a:lnTo>
                      <a:lnTo>
                        <a:pt x="1016000" y="531813"/>
                      </a:lnTo>
                      <a:lnTo>
                        <a:pt x="1013354" y="526521"/>
                      </a:lnTo>
                      <a:lnTo>
                        <a:pt x="1008062" y="518584"/>
                      </a:lnTo>
                      <a:lnTo>
                        <a:pt x="1005417" y="513292"/>
                      </a:lnTo>
                      <a:lnTo>
                        <a:pt x="1000125" y="513292"/>
                      </a:lnTo>
                      <a:lnTo>
                        <a:pt x="992187" y="513292"/>
                      </a:lnTo>
                      <a:lnTo>
                        <a:pt x="986896" y="510646"/>
                      </a:lnTo>
                      <a:lnTo>
                        <a:pt x="984250" y="510646"/>
                      </a:lnTo>
                      <a:lnTo>
                        <a:pt x="978958" y="508000"/>
                      </a:lnTo>
                      <a:lnTo>
                        <a:pt x="981604" y="513292"/>
                      </a:lnTo>
                      <a:lnTo>
                        <a:pt x="978958" y="515938"/>
                      </a:lnTo>
                      <a:lnTo>
                        <a:pt x="973667" y="518584"/>
                      </a:lnTo>
                      <a:lnTo>
                        <a:pt x="973667" y="513292"/>
                      </a:lnTo>
                      <a:lnTo>
                        <a:pt x="973667" y="510646"/>
                      </a:lnTo>
                      <a:lnTo>
                        <a:pt x="971021" y="513292"/>
                      </a:lnTo>
                      <a:lnTo>
                        <a:pt x="968375" y="515938"/>
                      </a:lnTo>
                      <a:lnTo>
                        <a:pt x="965729" y="518584"/>
                      </a:lnTo>
                      <a:lnTo>
                        <a:pt x="960437" y="521229"/>
                      </a:lnTo>
                      <a:lnTo>
                        <a:pt x="957792" y="523875"/>
                      </a:lnTo>
                      <a:lnTo>
                        <a:pt x="957792" y="521229"/>
                      </a:lnTo>
                      <a:lnTo>
                        <a:pt x="955146" y="518584"/>
                      </a:lnTo>
                      <a:lnTo>
                        <a:pt x="955146" y="515938"/>
                      </a:lnTo>
                      <a:lnTo>
                        <a:pt x="949854" y="521229"/>
                      </a:lnTo>
                      <a:lnTo>
                        <a:pt x="939271" y="529167"/>
                      </a:lnTo>
                      <a:lnTo>
                        <a:pt x="931333" y="531813"/>
                      </a:lnTo>
                      <a:lnTo>
                        <a:pt x="918104" y="534459"/>
                      </a:lnTo>
                      <a:lnTo>
                        <a:pt x="910167" y="531813"/>
                      </a:lnTo>
                      <a:lnTo>
                        <a:pt x="904875" y="529167"/>
                      </a:lnTo>
                      <a:lnTo>
                        <a:pt x="891646" y="526521"/>
                      </a:lnTo>
                      <a:lnTo>
                        <a:pt x="881062" y="529167"/>
                      </a:lnTo>
                      <a:lnTo>
                        <a:pt x="875771" y="529167"/>
                      </a:lnTo>
                      <a:lnTo>
                        <a:pt x="870479" y="526521"/>
                      </a:lnTo>
                      <a:lnTo>
                        <a:pt x="865187" y="523875"/>
                      </a:lnTo>
                      <a:lnTo>
                        <a:pt x="862542" y="523875"/>
                      </a:lnTo>
                      <a:lnTo>
                        <a:pt x="857250" y="523875"/>
                      </a:lnTo>
                      <a:lnTo>
                        <a:pt x="849312" y="521229"/>
                      </a:lnTo>
                      <a:lnTo>
                        <a:pt x="836083" y="515938"/>
                      </a:lnTo>
                      <a:lnTo>
                        <a:pt x="825500" y="513292"/>
                      </a:lnTo>
                      <a:lnTo>
                        <a:pt x="817562" y="510646"/>
                      </a:lnTo>
                      <a:lnTo>
                        <a:pt x="814917" y="510646"/>
                      </a:lnTo>
                      <a:lnTo>
                        <a:pt x="814917" y="505354"/>
                      </a:lnTo>
                      <a:lnTo>
                        <a:pt x="817562" y="502709"/>
                      </a:lnTo>
                      <a:lnTo>
                        <a:pt x="820208" y="494771"/>
                      </a:lnTo>
                      <a:lnTo>
                        <a:pt x="817562" y="492125"/>
                      </a:lnTo>
                      <a:lnTo>
                        <a:pt x="812271" y="494771"/>
                      </a:lnTo>
                      <a:lnTo>
                        <a:pt x="809625" y="494771"/>
                      </a:lnTo>
                      <a:lnTo>
                        <a:pt x="804333" y="500063"/>
                      </a:lnTo>
                      <a:lnTo>
                        <a:pt x="799042" y="508000"/>
                      </a:lnTo>
                      <a:lnTo>
                        <a:pt x="791104" y="510646"/>
                      </a:lnTo>
                      <a:lnTo>
                        <a:pt x="148167" y="510646"/>
                      </a:lnTo>
                      <a:lnTo>
                        <a:pt x="132292" y="494771"/>
                      </a:lnTo>
                      <a:lnTo>
                        <a:pt x="119063" y="481542"/>
                      </a:lnTo>
                      <a:lnTo>
                        <a:pt x="111125" y="476250"/>
                      </a:lnTo>
                      <a:lnTo>
                        <a:pt x="108479" y="470959"/>
                      </a:lnTo>
                      <a:lnTo>
                        <a:pt x="103188" y="465667"/>
                      </a:lnTo>
                      <a:lnTo>
                        <a:pt x="95250" y="463021"/>
                      </a:lnTo>
                      <a:lnTo>
                        <a:pt x="87313" y="463021"/>
                      </a:lnTo>
                      <a:lnTo>
                        <a:pt x="84667" y="460375"/>
                      </a:lnTo>
                      <a:lnTo>
                        <a:pt x="79375" y="457729"/>
                      </a:lnTo>
                      <a:lnTo>
                        <a:pt x="76729" y="452438"/>
                      </a:lnTo>
                      <a:lnTo>
                        <a:pt x="82021" y="447146"/>
                      </a:lnTo>
                      <a:lnTo>
                        <a:pt x="84667" y="439208"/>
                      </a:lnTo>
                      <a:lnTo>
                        <a:pt x="87313" y="428625"/>
                      </a:lnTo>
                      <a:lnTo>
                        <a:pt x="84667" y="415396"/>
                      </a:lnTo>
                      <a:lnTo>
                        <a:pt x="87313" y="404813"/>
                      </a:lnTo>
                      <a:lnTo>
                        <a:pt x="87313" y="402167"/>
                      </a:lnTo>
                      <a:lnTo>
                        <a:pt x="87313" y="399521"/>
                      </a:lnTo>
                      <a:lnTo>
                        <a:pt x="84667" y="396875"/>
                      </a:lnTo>
                      <a:lnTo>
                        <a:pt x="82021" y="394229"/>
                      </a:lnTo>
                      <a:lnTo>
                        <a:pt x="82021" y="391583"/>
                      </a:lnTo>
                      <a:lnTo>
                        <a:pt x="89958" y="375708"/>
                      </a:lnTo>
                      <a:lnTo>
                        <a:pt x="92604" y="373063"/>
                      </a:lnTo>
                      <a:lnTo>
                        <a:pt x="89958" y="373063"/>
                      </a:lnTo>
                      <a:lnTo>
                        <a:pt x="87313" y="373063"/>
                      </a:lnTo>
                      <a:lnTo>
                        <a:pt x="95250" y="359833"/>
                      </a:lnTo>
                      <a:lnTo>
                        <a:pt x="103188" y="357188"/>
                      </a:lnTo>
                      <a:lnTo>
                        <a:pt x="105833" y="351896"/>
                      </a:lnTo>
                      <a:lnTo>
                        <a:pt x="108479" y="349250"/>
                      </a:lnTo>
                      <a:lnTo>
                        <a:pt x="113771" y="343958"/>
                      </a:lnTo>
                      <a:lnTo>
                        <a:pt x="116417" y="341313"/>
                      </a:lnTo>
                      <a:lnTo>
                        <a:pt x="116417" y="338667"/>
                      </a:lnTo>
                      <a:lnTo>
                        <a:pt x="111125" y="333375"/>
                      </a:lnTo>
                      <a:lnTo>
                        <a:pt x="105833" y="328083"/>
                      </a:lnTo>
                      <a:lnTo>
                        <a:pt x="105833" y="325438"/>
                      </a:lnTo>
                      <a:lnTo>
                        <a:pt x="105833" y="322792"/>
                      </a:lnTo>
                      <a:lnTo>
                        <a:pt x="108479" y="320146"/>
                      </a:lnTo>
                      <a:lnTo>
                        <a:pt x="108479" y="317500"/>
                      </a:lnTo>
                      <a:lnTo>
                        <a:pt x="105833" y="317500"/>
                      </a:lnTo>
                      <a:lnTo>
                        <a:pt x="105833" y="312208"/>
                      </a:lnTo>
                      <a:lnTo>
                        <a:pt x="108479" y="304271"/>
                      </a:lnTo>
                      <a:lnTo>
                        <a:pt x="108479" y="296333"/>
                      </a:lnTo>
                      <a:lnTo>
                        <a:pt x="108479" y="277812"/>
                      </a:lnTo>
                      <a:lnTo>
                        <a:pt x="105833" y="261937"/>
                      </a:lnTo>
                      <a:lnTo>
                        <a:pt x="105833" y="256646"/>
                      </a:lnTo>
                      <a:lnTo>
                        <a:pt x="105833" y="254000"/>
                      </a:lnTo>
                      <a:lnTo>
                        <a:pt x="111125" y="248708"/>
                      </a:lnTo>
                      <a:lnTo>
                        <a:pt x="95250" y="248708"/>
                      </a:lnTo>
                      <a:lnTo>
                        <a:pt x="87313" y="251354"/>
                      </a:lnTo>
                      <a:lnTo>
                        <a:pt x="84667" y="254000"/>
                      </a:lnTo>
                      <a:lnTo>
                        <a:pt x="84667" y="256646"/>
                      </a:lnTo>
                      <a:lnTo>
                        <a:pt x="76729" y="256646"/>
                      </a:lnTo>
                      <a:lnTo>
                        <a:pt x="68792" y="256646"/>
                      </a:lnTo>
                      <a:lnTo>
                        <a:pt x="63500" y="259292"/>
                      </a:lnTo>
                      <a:lnTo>
                        <a:pt x="58208" y="261937"/>
                      </a:lnTo>
                      <a:lnTo>
                        <a:pt x="47625" y="261937"/>
                      </a:lnTo>
                      <a:lnTo>
                        <a:pt x="42333" y="259292"/>
                      </a:lnTo>
                      <a:lnTo>
                        <a:pt x="37042" y="254000"/>
                      </a:lnTo>
                      <a:lnTo>
                        <a:pt x="34396" y="243417"/>
                      </a:lnTo>
                      <a:lnTo>
                        <a:pt x="31750" y="243417"/>
                      </a:lnTo>
                      <a:lnTo>
                        <a:pt x="26458" y="243417"/>
                      </a:lnTo>
                      <a:lnTo>
                        <a:pt x="23812" y="243417"/>
                      </a:lnTo>
                      <a:lnTo>
                        <a:pt x="15875" y="240771"/>
                      </a:lnTo>
                      <a:lnTo>
                        <a:pt x="7937" y="240771"/>
                      </a:lnTo>
                      <a:lnTo>
                        <a:pt x="0" y="240771"/>
                      </a:lnTo>
                      <a:lnTo>
                        <a:pt x="42333" y="209021"/>
                      </a:lnTo>
                      <a:lnTo>
                        <a:pt x="84667" y="179917"/>
                      </a:lnTo>
                      <a:lnTo>
                        <a:pt x="164042" y="127000"/>
                      </a:lnTo>
                      <a:lnTo>
                        <a:pt x="232833" y="84667"/>
                      </a:lnTo>
                      <a:lnTo>
                        <a:pt x="293688" y="50271"/>
                      </a:lnTo>
                      <a:lnTo>
                        <a:pt x="309563" y="50271"/>
                      </a:lnTo>
                      <a:lnTo>
                        <a:pt x="325438" y="52917"/>
                      </a:lnTo>
                      <a:lnTo>
                        <a:pt x="357188" y="66146"/>
                      </a:lnTo>
                      <a:lnTo>
                        <a:pt x="365125" y="68792"/>
                      </a:lnTo>
                      <a:lnTo>
                        <a:pt x="365125" y="63500"/>
                      </a:lnTo>
                      <a:lnTo>
                        <a:pt x="365125" y="58208"/>
                      </a:lnTo>
                      <a:lnTo>
                        <a:pt x="367771" y="55562"/>
                      </a:lnTo>
                      <a:lnTo>
                        <a:pt x="373063" y="52917"/>
                      </a:lnTo>
                      <a:lnTo>
                        <a:pt x="386292" y="52917"/>
                      </a:lnTo>
                      <a:lnTo>
                        <a:pt x="399521" y="52917"/>
                      </a:lnTo>
                      <a:lnTo>
                        <a:pt x="407458" y="52917"/>
                      </a:lnTo>
                      <a:lnTo>
                        <a:pt x="410104" y="52917"/>
                      </a:lnTo>
                      <a:lnTo>
                        <a:pt x="404813" y="58208"/>
                      </a:lnTo>
                      <a:lnTo>
                        <a:pt x="402167" y="63500"/>
                      </a:lnTo>
                      <a:lnTo>
                        <a:pt x="404813" y="63500"/>
                      </a:lnTo>
                      <a:lnTo>
                        <a:pt x="423333" y="52917"/>
                      </a:lnTo>
                      <a:lnTo>
                        <a:pt x="433917" y="50271"/>
                      </a:lnTo>
                      <a:lnTo>
                        <a:pt x="444500" y="50271"/>
                      </a:lnTo>
                      <a:lnTo>
                        <a:pt x="455083" y="50271"/>
                      </a:lnTo>
                      <a:lnTo>
                        <a:pt x="468313" y="47625"/>
                      </a:lnTo>
                      <a:lnTo>
                        <a:pt x="497417" y="39687"/>
                      </a:lnTo>
                      <a:lnTo>
                        <a:pt x="515938" y="34396"/>
                      </a:lnTo>
                      <a:lnTo>
                        <a:pt x="523875" y="34396"/>
                      </a:lnTo>
                      <a:lnTo>
                        <a:pt x="529167" y="37042"/>
                      </a:lnTo>
                      <a:lnTo>
                        <a:pt x="531813" y="39687"/>
                      </a:lnTo>
                      <a:lnTo>
                        <a:pt x="523875" y="42333"/>
                      </a:lnTo>
                      <a:lnTo>
                        <a:pt x="497417" y="47625"/>
                      </a:lnTo>
                      <a:lnTo>
                        <a:pt x="484188" y="50271"/>
                      </a:lnTo>
                      <a:lnTo>
                        <a:pt x="473604" y="58208"/>
                      </a:lnTo>
                      <a:lnTo>
                        <a:pt x="484188" y="52917"/>
                      </a:lnTo>
                      <a:lnTo>
                        <a:pt x="497417" y="52917"/>
                      </a:lnTo>
                      <a:lnTo>
                        <a:pt x="515938" y="50271"/>
                      </a:lnTo>
                      <a:lnTo>
                        <a:pt x="526521" y="47625"/>
                      </a:lnTo>
                      <a:lnTo>
                        <a:pt x="534458" y="44979"/>
                      </a:lnTo>
                      <a:lnTo>
                        <a:pt x="537104" y="47625"/>
                      </a:lnTo>
                      <a:lnTo>
                        <a:pt x="537104" y="50271"/>
                      </a:lnTo>
                      <a:lnTo>
                        <a:pt x="539750" y="52917"/>
                      </a:lnTo>
                      <a:lnTo>
                        <a:pt x="547688" y="50271"/>
                      </a:lnTo>
                      <a:lnTo>
                        <a:pt x="563563" y="39687"/>
                      </a:lnTo>
                      <a:lnTo>
                        <a:pt x="563563" y="34396"/>
                      </a:lnTo>
                      <a:lnTo>
                        <a:pt x="563563" y="31750"/>
                      </a:lnTo>
                      <a:lnTo>
                        <a:pt x="566208" y="29104"/>
                      </a:lnTo>
                      <a:lnTo>
                        <a:pt x="568854" y="29104"/>
                      </a:lnTo>
                      <a:lnTo>
                        <a:pt x="582083" y="34396"/>
                      </a:lnTo>
                      <a:lnTo>
                        <a:pt x="587375" y="37042"/>
                      </a:lnTo>
                      <a:lnTo>
                        <a:pt x="590021" y="39687"/>
                      </a:lnTo>
                      <a:lnTo>
                        <a:pt x="590021" y="47625"/>
                      </a:lnTo>
                      <a:lnTo>
                        <a:pt x="590021" y="52917"/>
                      </a:lnTo>
                      <a:lnTo>
                        <a:pt x="600604" y="52917"/>
                      </a:lnTo>
                      <a:lnTo>
                        <a:pt x="605896" y="50271"/>
                      </a:lnTo>
                      <a:lnTo>
                        <a:pt x="605896" y="47625"/>
                      </a:lnTo>
                      <a:lnTo>
                        <a:pt x="605896" y="44979"/>
                      </a:lnTo>
                      <a:lnTo>
                        <a:pt x="611188" y="39687"/>
                      </a:lnTo>
                      <a:lnTo>
                        <a:pt x="616479" y="37042"/>
                      </a:lnTo>
                      <a:lnTo>
                        <a:pt x="616479" y="34396"/>
                      </a:lnTo>
                      <a:lnTo>
                        <a:pt x="619125" y="31750"/>
                      </a:lnTo>
                      <a:lnTo>
                        <a:pt x="627063" y="29104"/>
                      </a:lnTo>
                      <a:lnTo>
                        <a:pt x="642938" y="26458"/>
                      </a:lnTo>
                      <a:lnTo>
                        <a:pt x="645583" y="29104"/>
                      </a:lnTo>
                      <a:lnTo>
                        <a:pt x="640292" y="34396"/>
                      </a:lnTo>
                      <a:lnTo>
                        <a:pt x="632354" y="37042"/>
                      </a:lnTo>
                      <a:lnTo>
                        <a:pt x="635000" y="39687"/>
                      </a:lnTo>
                      <a:lnTo>
                        <a:pt x="635000" y="42333"/>
                      </a:lnTo>
                      <a:lnTo>
                        <a:pt x="627063" y="50271"/>
                      </a:lnTo>
                      <a:lnTo>
                        <a:pt x="645583" y="47625"/>
                      </a:lnTo>
                      <a:lnTo>
                        <a:pt x="653521" y="44979"/>
                      </a:lnTo>
                      <a:lnTo>
                        <a:pt x="658813" y="42333"/>
                      </a:lnTo>
                      <a:lnTo>
                        <a:pt x="669396" y="39687"/>
                      </a:lnTo>
                      <a:lnTo>
                        <a:pt x="682625" y="39687"/>
                      </a:lnTo>
                      <a:lnTo>
                        <a:pt x="693208" y="42333"/>
                      </a:lnTo>
                      <a:lnTo>
                        <a:pt x="703792" y="47625"/>
                      </a:lnTo>
                      <a:lnTo>
                        <a:pt x="722313" y="50271"/>
                      </a:lnTo>
                      <a:lnTo>
                        <a:pt x="759354" y="55562"/>
                      </a:lnTo>
                      <a:lnTo>
                        <a:pt x="769937" y="55562"/>
                      </a:lnTo>
                      <a:lnTo>
                        <a:pt x="772583" y="52917"/>
                      </a:lnTo>
                      <a:lnTo>
                        <a:pt x="769937" y="52917"/>
                      </a:lnTo>
                      <a:lnTo>
                        <a:pt x="767292" y="50271"/>
                      </a:lnTo>
                      <a:lnTo>
                        <a:pt x="769937" y="50271"/>
                      </a:lnTo>
                      <a:lnTo>
                        <a:pt x="785812" y="52917"/>
                      </a:lnTo>
                      <a:lnTo>
                        <a:pt x="791104" y="55562"/>
                      </a:lnTo>
                      <a:lnTo>
                        <a:pt x="793750" y="58208"/>
                      </a:lnTo>
                      <a:lnTo>
                        <a:pt x="796396" y="63500"/>
                      </a:lnTo>
                      <a:lnTo>
                        <a:pt x="796396" y="66146"/>
                      </a:lnTo>
                      <a:lnTo>
                        <a:pt x="788458" y="66146"/>
                      </a:lnTo>
                      <a:lnTo>
                        <a:pt x="783167" y="63500"/>
                      </a:lnTo>
                      <a:lnTo>
                        <a:pt x="772583" y="66146"/>
                      </a:lnTo>
                      <a:lnTo>
                        <a:pt x="769937" y="66146"/>
                      </a:lnTo>
                      <a:lnTo>
                        <a:pt x="764646" y="71437"/>
                      </a:lnTo>
                      <a:lnTo>
                        <a:pt x="777875" y="71437"/>
                      </a:lnTo>
                      <a:lnTo>
                        <a:pt x="780521" y="74083"/>
                      </a:lnTo>
                      <a:lnTo>
                        <a:pt x="783167" y="76729"/>
                      </a:lnTo>
                      <a:lnTo>
                        <a:pt x="793750" y="76729"/>
                      </a:lnTo>
                      <a:lnTo>
                        <a:pt x="801687" y="76729"/>
                      </a:lnTo>
                      <a:lnTo>
                        <a:pt x="809625" y="79375"/>
                      </a:lnTo>
                      <a:lnTo>
                        <a:pt x="814917" y="82021"/>
                      </a:lnTo>
                      <a:lnTo>
                        <a:pt x="825500" y="79375"/>
                      </a:lnTo>
                      <a:lnTo>
                        <a:pt x="838729" y="76729"/>
                      </a:lnTo>
                      <a:lnTo>
                        <a:pt x="846667" y="76729"/>
                      </a:lnTo>
                      <a:lnTo>
                        <a:pt x="854604" y="74083"/>
                      </a:lnTo>
                      <a:lnTo>
                        <a:pt x="862542" y="71437"/>
                      </a:lnTo>
                      <a:lnTo>
                        <a:pt x="873125" y="68792"/>
                      </a:lnTo>
                      <a:lnTo>
                        <a:pt x="881062" y="68792"/>
                      </a:lnTo>
                      <a:lnTo>
                        <a:pt x="896937" y="79375"/>
                      </a:lnTo>
                      <a:lnTo>
                        <a:pt x="902229" y="84667"/>
                      </a:lnTo>
                      <a:lnTo>
                        <a:pt x="896937" y="87312"/>
                      </a:lnTo>
                      <a:lnTo>
                        <a:pt x="894292" y="89958"/>
                      </a:lnTo>
                      <a:lnTo>
                        <a:pt x="889000" y="92604"/>
                      </a:lnTo>
                      <a:lnTo>
                        <a:pt x="886354" y="100542"/>
                      </a:lnTo>
                      <a:lnTo>
                        <a:pt x="886354" y="108479"/>
                      </a:lnTo>
                      <a:lnTo>
                        <a:pt x="889000" y="97896"/>
                      </a:lnTo>
                      <a:lnTo>
                        <a:pt x="891646" y="95250"/>
                      </a:lnTo>
                      <a:lnTo>
                        <a:pt x="899583" y="92604"/>
                      </a:lnTo>
                      <a:lnTo>
                        <a:pt x="904875" y="87312"/>
                      </a:lnTo>
                      <a:lnTo>
                        <a:pt x="904875" y="84667"/>
                      </a:lnTo>
                      <a:lnTo>
                        <a:pt x="904875" y="82021"/>
                      </a:lnTo>
                      <a:lnTo>
                        <a:pt x="904875" y="79375"/>
                      </a:lnTo>
                      <a:lnTo>
                        <a:pt x="915458" y="74083"/>
                      </a:lnTo>
                      <a:lnTo>
                        <a:pt x="933979" y="68792"/>
                      </a:lnTo>
                      <a:lnTo>
                        <a:pt x="947208" y="68792"/>
                      </a:lnTo>
                      <a:lnTo>
                        <a:pt x="955146" y="66146"/>
                      </a:lnTo>
                      <a:lnTo>
                        <a:pt x="965729" y="66146"/>
                      </a:lnTo>
                      <a:lnTo>
                        <a:pt x="968375" y="66146"/>
                      </a:lnTo>
                      <a:lnTo>
                        <a:pt x="971021" y="63500"/>
                      </a:lnTo>
                      <a:lnTo>
                        <a:pt x="968375" y="60854"/>
                      </a:lnTo>
                      <a:lnTo>
                        <a:pt x="965729" y="60854"/>
                      </a:lnTo>
                      <a:lnTo>
                        <a:pt x="960437" y="63500"/>
                      </a:lnTo>
                      <a:lnTo>
                        <a:pt x="957792" y="63500"/>
                      </a:lnTo>
                      <a:lnTo>
                        <a:pt x="955146" y="60854"/>
                      </a:lnTo>
                      <a:lnTo>
                        <a:pt x="952500" y="63500"/>
                      </a:lnTo>
                      <a:lnTo>
                        <a:pt x="947208" y="63500"/>
                      </a:lnTo>
                      <a:lnTo>
                        <a:pt x="944562" y="63500"/>
                      </a:lnTo>
                      <a:lnTo>
                        <a:pt x="941917" y="63500"/>
                      </a:lnTo>
                      <a:lnTo>
                        <a:pt x="936625" y="66146"/>
                      </a:lnTo>
                      <a:lnTo>
                        <a:pt x="928687" y="68792"/>
                      </a:lnTo>
                      <a:lnTo>
                        <a:pt x="926042" y="66146"/>
                      </a:lnTo>
                      <a:lnTo>
                        <a:pt x="923396" y="66146"/>
                      </a:lnTo>
                      <a:lnTo>
                        <a:pt x="918104" y="66146"/>
                      </a:lnTo>
                      <a:lnTo>
                        <a:pt x="918104" y="63500"/>
                      </a:lnTo>
                      <a:lnTo>
                        <a:pt x="918104" y="60854"/>
                      </a:lnTo>
                      <a:lnTo>
                        <a:pt x="923396" y="58208"/>
                      </a:lnTo>
                      <a:lnTo>
                        <a:pt x="933979" y="55562"/>
                      </a:lnTo>
                      <a:lnTo>
                        <a:pt x="949854" y="52917"/>
                      </a:lnTo>
                      <a:lnTo>
                        <a:pt x="960437" y="50271"/>
                      </a:lnTo>
                      <a:lnTo>
                        <a:pt x="968375" y="47625"/>
                      </a:lnTo>
                      <a:lnTo>
                        <a:pt x="978958" y="47625"/>
                      </a:lnTo>
                      <a:lnTo>
                        <a:pt x="981604" y="47625"/>
                      </a:lnTo>
                      <a:lnTo>
                        <a:pt x="981604" y="50271"/>
                      </a:lnTo>
                      <a:lnTo>
                        <a:pt x="978958" y="52917"/>
                      </a:lnTo>
                      <a:lnTo>
                        <a:pt x="976312" y="58208"/>
                      </a:lnTo>
                      <a:lnTo>
                        <a:pt x="976312" y="60854"/>
                      </a:lnTo>
                      <a:lnTo>
                        <a:pt x="981604" y="63500"/>
                      </a:lnTo>
                      <a:lnTo>
                        <a:pt x="981604" y="66146"/>
                      </a:lnTo>
                      <a:lnTo>
                        <a:pt x="984250" y="63500"/>
                      </a:lnTo>
                      <a:lnTo>
                        <a:pt x="989542" y="63500"/>
                      </a:lnTo>
                      <a:lnTo>
                        <a:pt x="989542" y="66146"/>
                      </a:lnTo>
                      <a:lnTo>
                        <a:pt x="989542" y="68792"/>
                      </a:lnTo>
                      <a:lnTo>
                        <a:pt x="992187" y="71437"/>
                      </a:lnTo>
                      <a:lnTo>
                        <a:pt x="1000125" y="74083"/>
                      </a:lnTo>
                      <a:lnTo>
                        <a:pt x="1010708" y="74083"/>
                      </a:lnTo>
                      <a:lnTo>
                        <a:pt x="1037167" y="74083"/>
                      </a:lnTo>
                      <a:lnTo>
                        <a:pt x="1053042" y="74083"/>
                      </a:lnTo>
                      <a:lnTo>
                        <a:pt x="1066271" y="71437"/>
                      </a:lnTo>
                      <a:lnTo>
                        <a:pt x="1079500" y="68792"/>
                      </a:lnTo>
                      <a:lnTo>
                        <a:pt x="1084792" y="71437"/>
                      </a:lnTo>
                      <a:lnTo>
                        <a:pt x="1090083" y="71437"/>
                      </a:lnTo>
                      <a:lnTo>
                        <a:pt x="1095375" y="76729"/>
                      </a:lnTo>
                      <a:lnTo>
                        <a:pt x="1098021" y="76729"/>
                      </a:lnTo>
                      <a:lnTo>
                        <a:pt x="1103313" y="74083"/>
                      </a:lnTo>
                      <a:lnTo>
                        <a:pt x="1111250" y="74083"/>
                      </a:lnTo>
                      <a:lnTo>
                        <a:pt x="1119188" y="71437"/>
                      </a:lnTo>
                      <a:lnTo>
                        <a:pt x="1121833" y="68792"/>
                      </a:lnTo>
                      <a:lnTo>
                        <a:pt x="1124479" y="66146"/>
                      </a:lnTo>
                      <a:lnTo>
                        <a:pt x="1127125" y="71437"/>
                      </a:lnTo>
                      <a:lnTo>
                        <a:pt x="1132417" y="76729"/>
                      </a:lnTo>
                      <a:lnTo>
                        <a:pt x="1137708" y="79375"/>
                      </a:lnTo>
                      <a:lnTo>
                        <a:pt x="1140354" y="79375"/>
                      </a:lnTo>
                      <a:lnTo>
                        <a:pt x="1143000" y="76729"/>
                      </a:lnTo>
                      <a:lnTo>
                        <a:pt x="1140354" y="74083"/>
                      </a:lnTo>
                      <a:lnTo>
                        <a:pt x="1135063" y="71437"/>
                      </a:lnTo>
                      <a:lnTo>
                        <a:pt x="1129771" y="68792"/>
                      </a:lnTo>
                      <a:lnTo>
                        <a:pt x="1127125" y="60854"/>
                      </a:lnTo>
                      <a:lnTo>
                        <a:pt x="1135063" y="63500"/>
                      </a:lnTo>
                      <a:lnTo>
                        <a:pt x="1140354" y="60854"/>
                      </a:lnTo>
                      <a:lnTo>
                        <a:pt x="1143000" y="58208"/>
                      </a:lnTo>
                      <a:lnTo>
                        <a:pt x="1145646" y="60854"/>
                      </a:lnTo>
                      <a:lnTo>
                        <a:pt x="1153583" y="66146"/>
                      </a:lnTo>
                      <a:lnTo>
                        <a:pt x="1158875" y="66146"/>
                      </a:lnTo>
                      <a:lnTo>
                        <a:pt x="1158875" y="68792"/>
                      </a:lnTo>
                      <a:lnTo>
                        <a:pt x="1156229" y="71437"/>
                      </a:lnTo>
                      <a:lnTo>
                        <a:pt x="1150938" y="74083"/>
                      </a:lnTo>
                      <a:lnTo>
                        <a:pt x="1150938" y="76729"/>
                      </a:lnTo>
                      <a:lnTo>
                        <a:pt x="1150938" y="79375"/>
                      </a:lnTo>
                      <a:lnTo>
                        <a:pt x="1143000" y="87312"/>
                      </a:lnTo>
                      <a:lnTo>
                        <a:pt x="1153583" y="82021"/>
                      </a:lnTo>
                      <a:lnTo>
                        <a:pt x="1158875" y="79375"/>
                      </a:lnTo>
                      <a:lnTo>
                        <a:pt x="1158875" y="74083"/>
                      </a:lnTo>
                      <a:lnTo>
                        <a:pt x="1166813" y="71437"/>
                      </a:lnTo>
                      <a:lnTo>
                        <a:pt x="1172104" y="68792"/>
                      </a:lnTo>
                      <a:lnTo>
                        <a:pt x="1177396" y="68792"/>
                      </a:lnTo>
                      <a:lnTo>
                        <a:pt x="1185333" y="71437"/>
                      </a:lnTo>
                      <a:lnTo>
                        <a:pt x="1195917" y="71437"/>
                      </a:lnTo>
                      <a:lnTo>
                        <a:pt x="1219729" y="68792"/>
                      </a:lnTo>
                      <a:lnTo>
                        <a:pt x="1222375" y="68792"/>
                      </a:lnTo>
                      <a:lnTo>
                        <a:pt x="1219729" y="66146"/>
                      </a:lnTo>
                      <a:lnTo>
                        <a:pt x="1217083" y="63500"/>
                      </a:lnTo>
                      <a:lnTo>
                        <a:pt x="1214438" y="66146"/>
                      </a:lnTo>
                      <a:lnTo>
                        <a:pt x="1211792" y="68792"/>
                      </a:lnTo>
                      <a:lnTo>
                        <a:pt x="1209146" y="66146"/>
                      </a:lnTo>
                      <a:lnTo>
                        <a:pt x="1206500" y="66146"/>
                      </a:lnTo>
                      <a:lnTo>
                        <a:pt x="1206500" y="63500"/>
                      </a:lnTo>
                      <a:lnTo>
                        <a:pt x="1211792" y="60854"/>
                      </a:lnTo>
                      <a:lnTo>
                        <a:pt x="1222375" y="58208"/>
                      </a:lnTo>
                      <a:lnTo>
                        <a:pt x="1227667" y="58208"/>
                      </a:lnTo>
                      <a:lnTo>
                        <a:pt x="1232958" y="58208"/>
                      </a:lnTo>
                      <a:lnTo>
                        <a:pt x="1240896" y="55562"/>
                      </a:lnTo>
                      <a:lnTo>
                        <a:pt x="1248833" y="50271"/>
                      </a:lnTo>
                      <a:lnTo>
                        <a:pt x="1243542" y="50271"/>
                      </a:lnTo>
                      <a:lnTo>
                        <a:pt x="1232958" y="52917"/>
                      </a:lnTo>
                      <a:lnTo>
                        <a:pt x="1222375" y="55562"/>
                      </a:lnTo>
                      <a:lnTo>
                        <a:pt x="1214438" y="52917"/>
                      </a:lnTo>
                      <a:lnTo>
                        <a:pt x="1209146" y="52917"/>
                      </a:lnTo>
                      <a:lnTo>
                        <a:pt x="1206500" y="52917"/>
                      </a:lnTo>
                      <a:lnTo>
                        <a:pt x="1201208" y="52917"/>
                      </a:lnTo>
                      <a:lnTo>
                        <a:pt x="1193271" y="47625"/>
                      </a:lnTo>
                      <a:lnTo>
                        <a:pt x="1190625" y="42333"/>
                      </a:lnTo>
                      <a:lnTo>
                        <a:pt x="1190625" y="37042"/>
                      </a:lnTo>
                      <a:lnTo>
                        <a:pt x="1201208" y="34396"/>
                      </a:lnTo>
                      <a:lnTo>
                        <a:pt x="1211792" y="31750"/>
                      </a:lnTo>
                      <a:lnTo>
                        <a:pt x="1214438" y="29104"/>
                      </a:lnTo>
                      <a:lnTo>
                        <a:pt x="1214438" y="26458"/>
                      </a:lnTo>
                      <a:lnTo>
                        <a:pt x="1214438" y="23812"/>
                      </a:lnTo>
                      <a:lnTo>
                        <a:pt x="1219729" y="21167"/>
                      </a:lnTo>
                      <a:lnTo>
                        <a:pt x="1232958" y="13229"/>
                      </a:lnTo>
                      <a:lnTo>
                        <a:pt x="1238250" y="10583"/>
                      </a:lnTo>
                      <a:lnTo>
                        <a:pt x="1240896" y="13229"/>
                      </a:lnTo>
                      <a:lnTo>
                        <a:pt x="1243542" y="13229"/>
                      </a:lnTo>
                      <a:lnTo>
                        <a:pt x="1248833" y="10583"/>
                      </a:lnTo>
                      <a:lnTo>
                        <a:pt x="1248833" y="7937"/>
                      </a:lnTo>
                      <a:lnTo>
                        <a:pt x="1246188" y="7937"/>
                      </a:lnTo>
                      <a:lnTo>
                        <a:pt x="1243542" y="7937"/>
                      </a:lnTo>
                      <a:lnTo>
                        <a:pt x="1246188" y="5292"/>
                      </a:lnTo>
                      <a:lnTo>
                        <a:pt x="1259417" y="2646"/>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
          <p:nvSpPr>
            <p:cNvPr id="252" name="1"/>
            <p:cNvSpPr/>
            <p:nvPr/>
          </p:nvSpPr>
          <p:spPr>
            <a:xfrm>
              <a:off x="4429314" y="5909878"/>
              <a:ext cx="1552303" cy="6877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smtClean="0">
                  <a:solidFill>
                    <a:schemeClr val="tx1"/>
                  </a:solidFill>
                </a:rPr>
                <a:t>Available today</a:t>
              </a:r>
              <a:endParaRPr lang="fr-FR" sz="1100" dirty="0">
                <a:solidFill>
                  <a:schemeClr val="tx1"/>
                </a:solidFill>
              </a:endParaRPr>
            </a:p>
          </p:txBody>
        </p:sp>
      </p:grpSp>
      <p:sp>
        <p:nvSpPr>
          <p:cNvPr id="343" name="Lesotho"/>
          <p:cNvSpPr>
            <a:spLocks/>
          </p:cNvSpPr>
          <p:nvPr/>
        </p:nvSpPr>
        <p:spPr bwMode="auto">
          <a:xfrm>
            <a:off x="4960106" y="3561888"/>
            <a:ext cx="54691" cy="54627"/>
          </a:xfrm>
          <a:custGeom>
            <a:avLst/>
            <a:gdLst/>
            <a:ahLst/>
            <a:cxnLst>
              <a:cxn ang="0">
                <a:pos x="38" y="2"/>
              </a:cxn>
              <a:cxn ang="0">
                <a:pos x="38" y="2"/>
              </a:cxn>
              <a:cxn ang="0">
                <a:pos x="26" y="0"/>
              </a:cxn>
              <a:cxn ang="0">
                <a:pos x="20" y="2"/>
              </a:cxn>
              <a:cxn ang="0">
                <a:pos x="14" y="8"/>
              </a:cxn>
              <a:cxn ang="0">
                <a:pos x="10" y="14"/>
              </a:cxn>
              <a:cxn ang="0">
                <a:pos x="10" y="14"/>
              </a:cxn>
              <a:cxn ang="0">
                <a:pos x="0" y="26"/>
              </a:cxn>
              <a:cxn ang="0">
                <a:pos x="0" y="30"/>
              </a:cxn>
              <a:cxn ang="0">
                <a:pos x="4" y="38"/>
              </a:cxn>
              <a:cxn ang="0">
                <a:pos x="4" y="38"/>
              </a:cxn>
              <a:cxn ang="0">
                <a:pos x="10" y="46"/>
              </a:cxn>
              <a:cxn ang="0">
                <a:pos x="16" y="48"/>
              </a:cxn>
              <a:cxn ang="0">
                <a:pos x="20" y="48"/>
              </a:cxn>
              <a:cxn ang="0">
                <a:pos x="24" y="44"/>
              </a:cxn>
              <a:cxn ang="0">
                <a:pos x="24" y="44"/>
              </a:cxn>
              <a:cxn ang="0">
                <a:pos x="28" y="38"/>
              </a:cxn>
              <a:cxn ang="0">
                <a:pos x="32" y="36"/>
              </a:cxn>
              <a:cxn ang="0">
                <a:pos x="38" y="34"/>
              </a:cxn>
              <a:cxn ang="0">
                <a:pos x="44" y="28"/>
              </a:cxn>
              <a:cxn ang="0">
                <a:pos x="44" y="28"/>
              </a:cxn>
              <a:cxn ang="0">
                <a:pos x="48" y="22"/>
              </a:cxn>
              <a:cxn ang="0">
                <a:pos x="48" y="18"/>
              </a:cxn>
              <a:cxn ang="0">
                <a:pos x="48" y="14"/>
              </a:cxn>
              <a:cxn ang="0">
                <a:pos x="48" y="14"/>
              </a:cxn>
              <a:cxn ang="0">
                <a:pos x="46" y="6"/>
              </a:cxn>
              <a:cxn ang="0">
                <a:pos x="42" y="4"/>
              </a:cxn>
              <a:cxn ang="0">
                <a:pos x="38" y="2"/>
              </a:cxn>
              <a:cxn ang="0">
                <a:pos x="38" y="2"/>
              </a:cxn>
            </a:cxnLst>
            <a:rect l="0" t="0" r="r" b="b"/>
            <a:pathLst>
              <a:path w="48" h="48">
                <a:moveTo>
                  <a:pt x="38" y="2"/>
                </a:moveTo>
                <a:lnTo>
                  <a:pt x="38" y="2"/>
                </a:lnTo>
                <a:lnTo>
                  <a:pt x="26" y="0"/>
                </a:lnTo>
                <a:lnTo>
                  <a:pt x="20" y="2"/>
                </a:lnTo>
                <a:lnTo>
                  <a:pt x="14" y="8"/>
                </a:lnTo>
                <a:lnTo>
                  <a:pt x="10" y="14"/>
                </a:lnTo>
                <a:lnTo>
                  <a:pt x="10" y="14"/>
                </a:lnTo>
                <a:lnTo>
                  <a:pt x="0" y="26"/>
                </a:lnTo>
                <a:lnTo>
                  <a:pt x="0" y="30"/>
                </a:lnTo>
                <a:lnTo>
                  <a:pt x="4" y="38"/>
                </a:lnTo>
                <a:lnTo>
                  <a:pt x="4" y="38"/>
                </a:lnTo>
                <a:lnTo>
                  <a:pt x="10" y="46"/>
                </a:lnTo>
                <a:lnTo>
                  <a:pt x="16" y="48"/>
                </a:lnTo>
                <a:lnTo>
                  <a:pt x="20" y="48"/>
                </a:lnTo>
                <a:lnTo>
                  <a:pt x="24" y="44"/>
                </a:lnTo>
                <a:lnTo>
                  <a:pt x="24" y="44"/>
                </a:lnTo>
                <a:lnTo>
                  <a:pt x="28" y="38"/>
                </a:lnTo>
                <a:lnTo>
                  <a:pt x="32" y="36"/>
                </a:lnTo>
                <a:lnTo>
                  <a:pt x="38" y="34"/>
                </a:lnTo>
                <a:lnTo>
                  <a:pt x="44" y="28"/>
                </a:lnTo>
                <a:lnTo>
                  <a:pt x="44" y="28"/>
                </a:lnTo>
                <a:lnTo>
                  <a:pt x="48" y="22"/>
                </a:lnTo>
                <a:lnTo>
                  <a:pt x="48" y="18"/>
                </a:lnTo>
                <a:lnTo>
                  <a:pt x="48" y="14"/>
                </a:lnTo>
                <a:lnTo>
                  <a:pt x="48" y="14"/>
                </a:lnTo>
                <a:lnTo>
                  <a:pt x="46" y="6"/>
                </a:lnTo>
                <a:lnTo>
                  <a:pt x="42" y="4"/>
                </a:lnTo>
                <a:lnTo>
                  <a:pt x="38" y="2"/>
                </a:lnTo>
                <a:lnTo>
                  <a:pt x="38" y="2"/>
                </a:lnTo>
                <a:close/>
              </a:path>
            </a:pathLst>
          </a:custGeom>
          <a:solidFill>
            <a:schemeClr val="tx1"/>
          </a:solidFill>
          <a:ln w="9525">
            <a:solidFill>
              <a:schemeClr val="tx1"/>
            </a:solid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308" name="TextBox 307"/>
          <p:cNvSpPr txBox="1"/>
          <p:nvPr/>
        </p:nvSpPr>
        <p:spPr>
          <a:xfrm>
            <a:off x="8548944" y="49302"/>
            <a:ext cx="547284" cy="249317"/>
          </a:xfrm>
          <a:prstGeom prst="rect">
            <a:avLst/>
          </a:prstGeom>
          <a:noFill/>
        </p:spPr>
        <p:txBody>
          <a:bodyPr wrap="none" lIns="68589" tIns="68589" rIns="68589" bIns="68589" rtlCol="0">
            <a:spAutoFit/>
          </a:bodyPr>
          <a:lstStyle/>
          <a:p>
            <a:pPr algn="r">
              <a:lnSpc>
                <a:spcPct val="90000"/>
              </a:lnSpc>
              <a:spcBef>
                <a:spcPct val="20000"/>
              </a:spcBef>
              <a:buSzPct val="90000"/>
            </a:pPr>
            <a:r>
              <a:rPr lang="en-US" sz="800" dirty="0">
                <a:solidFill>
                  <a:schemeClr val="tx1">
                    <a:alpha val="99000"/>
                  </a:schemeClr>
                </a:solidFill>
              </a:rPr>
              <a:t>7.5 &amp; 8.0</a:t>
            </a:r>
          </a:p>
        </p:txBody>
      </p:sp>
      <p:sp>
        <p:nvSpPr>
          <p:cNvPr id="326"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27"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pic>
        <p:nvPicPr>
          <p:cNvPr id="328"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14555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52534" y="136699"/>
            <a:ext cx="9035962" cy="502754"/>
          </a:xfrm>
          <a:prstGeom prst="rect">
            <a:avLst/>
          </a:prstGeom>
        </p:spPr>
        <p:txBody>
          <a:bodyPr lIns="68589" tIns="34295" rIns="68589" bIns="34295"/>
          <a:lst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b="1" dirty="0" smtClean="0"/>
              <a:t>Microsoft IT </a:t>
            </a:r>
            <a:r>
              <a:rPr lang="en-US" dirty="0" smtClean="0"/>
              <a:t>example</a:t>
            </a:r>
            <a:endParaRPr lang="en-US" dirty="0"/>
          </a:p>
        </p:txBody>
      </p:sp>
      <p:sp>
        <p:nvSpPr>
          <p:cNvPr id="7" name="Rectangle 6"/>
          <p:cNvSpPr/>
          <p:nvPr/>
        </p:nvSpPr>
        <p:spPr bwMode="auto">
          <a:xfrm>
            <a:off x="0" y="1077688"/>
            <a:ext cx="9144000" cy="3306536"/>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a:endParaRPr lang="en-US" sz="1700" dirty="0">
              <a:solidFill>
                <a:srgbClr val="FFFFFF">
                  <a:alpha val="98824"/>
                </a:srgbClr>
              </a:solidFill>
              <a:latin typeface="Segoe UI" pitchFamily="34" charset="0"/>
              <a:ea typeface="Segoe UI" pitchFamily="34" charset="0"/>
              <a:cs typeface="Segoe UI" pitchFamily="34" charset="0"/>
            </a:endParaRPr>
          </a:p>
        </p:txBody>
      </p:sp>
      <p:pic>
        <p:nvPicPr>
          <p:cNvPr id="8" name="Picture 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485096" y="1565778"/>
            <a:ext cx="6173808" cy="2285429"/>
          </a:xfrm>
          <a:prstGeom prst="rect">
            <a:avLst/>
          </a:prstGeom>
        </p:spPr>
      </p:pic>
      <p:pic>
        <p:nvPicPr>
          <p:cNvPr id="9" name="Picture 3"/>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auto">
          <a:xfrm>
            <a:off x="1365340" y="1181352"/>
            <a:ext cx="1646979" cy="3086941"/>
          </a:xfrm>
          <a:prstGeom prst="rect">
            <a:avLst/>
          </a:prstGeom>
          <a:noFill/>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TextBox 11"/>
          <p:cNvSpPr txBox="1"/>
          <p:nvPr/>
        </p:nvSpPr>
        <p:spPr>
          <a:xfrm>
            <a:off x="8823058" y="49302"/>
            <a:ext cx="273170" cy="249317"/>
          </a:xfrm>
          <a:prstGeom prst="rect">
            <a:avLst/>
          </a:prstGeom>
          <a:noFill/>
        </p:spPr>
        <p:txBody>
          <a:bodyPr wrap="none" lIns="68589" tIns="68589" rIns="68589" bIns="68589" rtlCol="0">
            <a:spAutoFit/>
          </a:bodyPr>
          <a:lstStyle/>
          <a:p>
            <a:pPr algn="r">
              <a:lnSpc>
                <a:spcPct val="90000"/>
              </a:lnSpc>
              <a:spcBef>
                <a:spcPct val="20000"/>
              </a:spcBef>
              <a:buSzPct val="90000"/>
            </a:pPr>
            <a:r>
              <a:rPr lang="en-US" sz="800" dirty="0">
                <a:solidFill>
                  <a:schemeClr val="tx1">
                    <a:alpha val="99000"/>
                  </a:schemeClr>
                </a:solidFill>
              </a:rPr>
              <a:t>8.0</a:t>
            </a:r>
          </a:p>
        </p:txBody>
      </p:sp>
      <p:sp>
        <p:nvSpPr>
          <p:cNvPr id="10"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1"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4"/>
              </a:rPr>
              <a:t>www.rapidbbs.cn</a:t>
            </a:r>
            <a:endParaRPr lang="zh-CN" altLang="en-US" sz="1200" b="0">
              <a:latin typeface="Arial" charset="0"/>
              <a:ea typeface="ＭＳ Ｐゴシック" pitchFamily="34" charset="-128"/>
            </a:endParaRPr>
          </a:p>
        </p:txBody>
      </p:sp>
      <p:pic>
        <p:nvPicPr>
          <p:cNvPr id="13" name="Picture 2">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71250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p:cNvSpPr/>
          <p:nvPr/>
        </p:nvSpPr>
        <p:spPr bwMode="auto">
          <a:xfrm>
            <a:off x="2303369" y="927669"/>
            <a:ext cx="4060297" cy="386987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52" name="TextBox 51"/>
          <p:cNvSpPr txBox="1"/>
          <p:nvPr/>
        </p:nvSpPr>
        <p:spPr>
          <a:xfrm>
            <a:off x="2303369" y="4160442"/>
            <a:ext cx="2684029" cy="637097"/>
          </a:xfrm>
          <a:prstGeom prst="rect">
            <a:avLst/>
          </a:prstGeom>
          <a:noFill/>
        </p:spPr>
        <p:txBody>
          <a:bodyPr wrap="none" lIns="68589" tIns="68589" rIns="68589" bIns="68589" rtlCol="0">
            <a:spAutoFit/>
          </a:bodyPr>
          <a:lstStyle/>
          <a:p>
            <a:pPr>
              <a:lnSpc>
                <a:spcPct val="90000"/>
              </a:lnSpc>
              <a:spcBef>
                <a:spcPct val="20000"/>
              </a:spcBef>
              <a:buSzPct val="90000"/>
            </a:pPr>
            <a:r>
              <a:rPr lang="en-US" sz="1800" dirty="0">
                <a:solidFill>
                  <a:schemeClr val="tx1">
                    <a:alpha val="99000"/>
                  </a:schemeClr>
                </a:solidFill>
              </a:rPr>
              <a:t>Find and install </a:t>
            </a:r>
            <a:br>
              <a:rPr lang="en-US" sz="1800" dirty="0">
                <a:solidFill>
                  <a:schemeClr val="tx1">
                    <a:alpha val="99000"/>
                  </a:schemeClr>
                </a:solidFill>
              </a:rPr>
            </a:br>
            <a:r>
              <a:rPr lang="en-US" sz="1800" dirty="0">
                <a:solidFill>
                  <a:schemeClr val="tx1">
                    <a:alpha val="99000"/>
                  </a:schemeClr>
                </a:solidFill>
              </a:rPr>
              <a:t>apps, as you normally do</a:t>
            </a:r>
          </a:p>
        </p:txBody>
      </p:sp>
      <p:sp>
        <p:nvSpPr>
          <p:cNvPr id="26" name="Rectangle 25"/>
          <p:cNvSpPr/>
          <p:nvPr/>
        </p:nvSpPr>
        <p:spPr bwMode="auto">
          <a:xfrm>
            <a:off x="6730438" y="4200353"/>
            <a:ext cx="1969137" cy="48027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4" name="Title 1"/>
          <p:cNvSpPr txBox="1">
            <a:spLocks/>
          </p:cNvSpPr>
          <p:nvPr/>
        </p:nvSpPr>
        <p:spPr>
          <a:xfrm>
            <a:off x="255009" y="139079"/>
            <a:ext cx="8498612" cy="457049"/>
          </a:xfrm>
          <a:prstGeom prst="rect">
            <a:avLst/>
          </a:prstGeom>
        </p:spPr>
        <p:txBody>
          <a:bodyPr lIns="68589" tIns="34295" rIns="68589" bIns="34295"/>
          <a:lst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b="1" dirty="0" smtClean="0"/>
              <a:t>Microsoft </a:t>
            </a:r>
            <a:r>
              <a:rPr lang="en-US" dirty="0" smtClean="0"/>
              <a:t>user experience</a:t>
            </a:r>
            <a:endParaRPr lang="en-US" dirty="0"/>
          </a:p>
        </p:txBody>
      </p:sp>
      <p:sp>
        <p:nvSpPr>
          <p:cNvPr id="5" name="TextBox 4"/>
          <p:cNvSpPr txBox="1"/>
          <p:nvPr/>
        </p:nvSpPr>
        <p:spPr>
          <a:xfrm>
            <a:off x="835655" y="4262129"/>
            <a:ext cx="1208819" cy="387799"/>
          </a:xfrm>
          <a:prstGeom prst="rect">
            <a:avLst/>
          </a:prstGeom>
          <a:noFill/>
        </p:spPr>
        <p:txBody>
          <a:bodyPr wrap="none" lIns="68589" tIns="68589" rIns="68589" bIns="68589" rtlCol="0">
            <a:spAutoFit/>
          </a:bodyPr>
          <a:lstStyle/>
          <a:p>
            <a:pPr>
              <a:lnSpc>
                <a:spcPct val="90000"/>
              </a:lnSpc>
              <a:spcBef>
                <a:spcPct val="20000"/>
              </a:spcBef>
              <a:buSzPct val="90000"/>
            </a:pPr>
            <a:r>
              <a:rPr lang="en-US" sz="1800" dirty="0">
                <a:solidFill>
                  <a:schemeClr val="tx1">
                    <a:alpha val="99000"/>
                  </a:schemeClr>
                </a:solidFill>
              </a:rPr>
              <a:t>MS IT Hub</a:t>
            </a:r>
          </a:p>
        </p:txBody>
      </p:sp>
      <p:sp>
        <p:nvSpPr>
          <p:cNvPr id="7" name="TextBox 6"/>
          <p:cNvSpPr txBox="1"/>
          <p:nvPr/>
        </p:nvSpPr>
        <p:spPr>
          <a:xfrm>
            <a:off x="6913209" y="4262129"/>
            <a:ext cx="1578007" cy="387799"/>
          </a:xfrm>
          <a:prstGeom prst="rect">
            <a:avLst/>
          </a:prstGeom>
          <a:noFill/>
        </p:spPr>
        <p:txBody>
          <a:bodyPr wrap="none" lIns="68589" tIns="68589" rIns="68589" bIns="68589" rtlCol="0">
            <a:spAutoFit/>
          </a:bodyPr>
          <a:lstStyle/>
          <a:p>
            <a:pPr>
              <a:lnSpc>
                <a:spcPct val="90000"/>
              </a:lnSpc>
              <a:spcBef>
                <a:spcPct val="20000"/>
              </a:spcBef>
              <a:buSzPct val="90000"/>
            </a:pPr>
            <a:r>
              <a:rPr lang="en-US" sz="1800" dirty="0">
                <a:solidFill>
                  <a:schemeClr val="tx1">
                    <a:alpha val="99000"/>
                  </a:schemeClr>
                </a:solidFill>
              </a:rPr>
              <a:t>View user info</a:t>
            </a:r>
          </a:p>
        </p:txBody>
      </p:sp>
      <p:sp>
        <p:nvSpPr>
          <p:cNvPr id="34" name="Rectangle 33"/>
          <p:cNvSpPr/>
          <p:nvPr/>
        </p:nvSpPr>
        <p:spPr bwMode="auto">
          <a:xfrm>
            <a:off x="6440271" y="927669"/>
            <a:ext cx="2420286" cy="3869870"/>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36" name="Rectangle 35"/>
          <p:cNvSpPr/>
          <p:nvPr/>
        </p:nvSpPr>
        <p:spPr bwMode="auto">
          <a:xfrm>
            <a:off x="285727" y="927669"/>
            <a:ext cx="1943704" cy="386987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a:endParaRPr lang="en-US" sz="1700" dirty="0">
              <a:solidFill>
                <a:srgbClr val="FFFFFF">
                  <a:alpha val="98824"/>
                </a:srgbClr>
              </a:solidFill>
              <a:latin typeface="Segoe UI" pitchFamily="34" charset="0"/>
              <a:ea typeface="Segoe UI" pitchFamily="34" charset="0"/>
              <a:cs typeface="Segoe UI" pitchFamily="34" charset="0"/>
            </a:endParaRPr>
          </a:p>
        </p:txBody>
      </p:sp>
      <p:pic>
        <p:nvPicPr>
          <p:cNvPr id="37" name="Picture 3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470254" y="1421905"/>
            <a:ext cx="1251988" cy="2270021"/>
          </a:xfrm>
          <a:prstGeom prst="rect">
            <a:avLst/>
          </a:prstGeom>
        </p:spPr>
      </p:pic>
      <p:pic>
        <p:nvPicPr>
          <p:cNvPr id="38" name="Picture 3"/>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auto">
          <a:xfrm>
            <a:off x="2350241" y="1071370"/>
            <a:ext cx="1501446" cy="3024044"/>
          </a:xfrm>
          <a:prstGeom prst="rect">
            <a:avLst/>
          </a:prstGeom>
          <a:noFill/>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9" name="Picture 3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6879" y="1447249"/>
            <a:ext cx="1327865" cy="2378471"/>
          </a:xfrm>
          <a:prstGeom prst="rect">
            <a:avLst/>
          </a:prstGeom>
        </p:spPr>
      </p:pic>
      <p:pic>
        <p:nvPicPr>
          <p:cNvPr id="40" name="Picture 3"/>
          <p:cNvPicPr>
            <a:picLocks noChangeAspect="1" noChangeArrowheads="1"/>
          </p:cNvPicPr>
          <p:nvPr/>
        </p:nvPicPr>
        <p:blipFill>
          <a:blip r:embed="rId5" cstate="email">
            <a:extLst>
              <a:ext uri="{28A0092B-C50C-407E-A947-70E740481C1C}">
                <a14:useLocalDpi xmlns:a14="http://schemas.microsoft.com/office/drawing/2010/main"/>
              </a:ext>
            </a:extLst>
          </a:blip>
          <a:stretch>
            <a:fillRect/>
          </a:stretch>
        </p:blipFill>
        <p:spPr bwMode="auto">
          <a:xfrm>
            <a:off x="487098" y="1109795"/>
            <a:ext cx="1565445" cy="2934121"/>
          </a:xfrm>
          <a:prstGeom prst="rect">
            <a:avLst/>
          </a:prstGeom>
          <a:noFill/>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 name="Picture 40"/>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337971" y="1440391"/>
            <a:ext cx="1249349" cy="2265236"/>
          </a:xfrm>
          <a:prstGeom prst="rect">
            <a:avLst/>
          </a:prstGeom>
        </p:spPr>
      </p:pic>
      <p:pic>
        <p:nvPicPr>
          <p:cNvPr id="42" name="Picture 3"/>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auto">
          <a:xfrm>
            <a:off x="3209875" y="1082799"/>
            <a:ext cx="1501446" cy="3028070"/>
          </a:xfrm>
          <a:prstGeom prst="rect">
            <a:avLst/>
          </a:prstGeom>
          <a:noFill/>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3" name="Picture 42"/>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092403" y="1375869"/>
            <a:ext cx="1306190" cy="2387789"/>
          </a:xfrm>
          <a:prstGeom prst="rect">
            <a:avLst/>
          </a:prstGeom>
        </p:spPr>
      </p:pic>
      <p:pic>
        <p:nvPicPr>
          <p:cNvPr id="44" name="Picture 3"/>
          <p:cNvPicPr>
            <a:picLocks noChangeAspect="1" noChangeArrowheads="1"/>
          </p:cNvPicPr>
          <p:nvPr/>
        </p:nvPicPr>
        <p:blipFill>
          <a:blip r:embed="rId8" cstate="email">
            <a:extLst>
              <a:ext uri="{28A0092B-C50C-407E-A947-70E740481C1C}">
                <a14:useLocalDpi xmlns:a14="http://schemas.microsoft.com/office/drawing/2010/main"/>
              </a:ext>
            </a:extLst>
          </a:blip>
          <a:stretch>
            <a:fillRect/>
          </a:stretch>
        </p:blipFill>
        <p:spPr bwMode="auto">
          <a:xfrm>
            <a:off x="3980281" y="1094697"/>
            <a:ext cx="1535525" cy="3000717"/>
          </a:xfrm>
          <a:prstGeom prst="rect">
            <a:avLst/>
          </a:prstGeom>
          <a:noFill/>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5" name="Picture 44"/>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4886226" y="1446937"/>
            <a:ext cx="1273053" cy="2235227"/>
          </a:xfrm>
          <a:prstGeom prst="rect">
            <a:avLst/>
          </a:prstGeom>
        </p:spPr>
      </p:pic>
      <p:pic>
        <p:nvPicPr>
          <p:cNvPr id="46" name="Picture 3"/>
          <p:cNvPicPr>
            <a:picLocks noChangeAspect="1" noChangeArrowheads="1"/>
          </p:cNvPicPr>
          <p:nvPr/>
        </p:nvPicPr>
        <p:blipFill>
          <a:blip r:embed="rId8" cstate="email">
            <a:extLst>
              <a:ext uri="{28A0092B-C50C-407E-A947-70E740481C1C}">
                <a14:useLocalDpi xmlns:a14="http://schemas.microsoft.com/office/drawing/2010/main"/>
              </a:ext>
            </a:extLst>
          </a:blip>
          <a:stretch>
            <a:fillRect/>
          </a:stretch>
        </p:blipFill>
        <p:spPr bwMode="auto">
          <a:xfrm>
            <a:off x="4757640" y="1089834"/>
            <a:ext cx="1538014" cy="3005581"/>
          </a:xfrm>
          <a:prstGeom prst="rect">
            <a:avLst/>
          </a:prstGeom>
          <a:noFill/>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7" name="Picture 46"/>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6638443" y="1440933"/>
            <a:ext cx="1246022" cy="2259204"/>
          </a:xfrm>
          <a:prstGeom prst="rect">
            <a:avLst/>
          </a:prstGeom>
        </p:spPr>
      </p:pic>
      <p:pic>
        <p:nvPicPr>
          <p:cNvPr id="48" name="Picture 3"/>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auto">
          <a:xfrm>
            <a:off x="6515170" y="1090957"/>
            <a:ext cx="1501446" cy="3024806"/>
          </a:xfrm>
          <a:prstGeom prst="rect">
            <a:avLst/>
          </a:prstGeom>
          <a:noFill/>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9" name="Picture 48"/>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7424636" y="1431022"/>
            <a:ext cx="1249562" cy="2293709"/>
          </a:xfrm>
          <a:prstGeom prst="rect">
            <a:avLst/>
          </a:prstGeom>
        </p:spPr>
      </p:pic>
      <p:pic>
        <p:nvPicPr>
          <p:cNvPr id="50" name="Picture 3"/>
          <p:cNvPicPr>
            <a:picLocks noChangeAspect="1" noChangeArrowheads="1"/>
          </p:cNvPicPr>
          <p:nvPr/>
        </p:nvPicPr>
        <p:blipFill>
          <a:blip r:embed="rId12" cstate="email">
            <a:extLst>
              <a:ext uri="{28A0092B-C50C-407E-A947-70E740481C1C}">
                <a14:useLocalDpi xmlns:a14="http://schemas.microsoft.com/office/drawing/2010/main"/>
              </a:ext>
            </a:extLst>
          </a:blip>
          <a:stretch>
            <a:fillRect/>
          </a:stretch>
        </p:blipFill>
        <p:spPr bwMode="auto">
          <a:xfrm>
            <a:off x="7293311" y="1081153"/>
            <a:ext cx="1501446" cy="3059096"/>
          </a:xfrm>
          <a:prstGeom prst="rect">
            <a:avLst/>
          </a:prstGeom>
          <a:noFill/>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3" name="TextBox 52"/>
          <p:cNvSpPr txBox="1"/>
          <p:nvPr/>
        </p:nvSpPr>
        <p:spPr>
          <a:xfrm>
            <a:off x="285726" y="4419306"/>
            <a:ext cx="1278568" cy="387799"/>
          </a:xfrm>
          <a:prstGeom prst="rect">
            <a:avLst/>
          </a:prstGeom>
          <a:noFill/>
        </p:spPr>
        <p:txBody>
          <a:bodyPr wrap="none" lIns="68589" tIns="68589" rIns="68589" bIns="68589" rtlCol="0">
            <a:spAutoFit/>
          </a:bodyPr>
          <a:lstStyle/>
          <a:p>
            <a:pPr>
              <a:lnSpc>
                <a:spcPct val="90000"/>
              </a:lnSpc>
              <a:spcBef>
                <a:spcPct val="20000"/>
              </a:spcBef>
              <a:buSzPct val="90000"/>
            </a:pPr>
            <a:r>
              <a:rPr lang="en-US" sz="1800" dirty="0">
                <a:solidFill>
                  <a:schemeClr val="tx1">
                    <a:alpha val="99000"/>
                  </a:schemeClr>
                </a:solidFill>
              </a:rPr>
              <a:t>Access hub</a:t>
            </a:r>
          </a:p>
        </p:txBody>
      </p:sp>
      <p:sp>
        <p:nvSpPr>
          <p:cNvPr id="54" name="TextBox 53"/>
          <p:cNvSpPr txBox="1"/>
          <p:nvPr/>
        </p:nvSpPr>
        <p:spPr>
          <a:xfrm>
            <a:off x="6440272" y="4409740"/>
            <a:ext cx="2274917" cy="387799"/>
          </a:xfrm>
          <a:prstGeom prst="rect">
            <a:avLst/>
          </a:prstGeom>
          <a:noFill/>
        </p:spPr>
        <p:txBody>
          <a:bodyPr wrap="none" lIns="68589" tIns="68589" rIns="68589" bIns="68589" rtlCol="0">
            <a:spAutoFit/>
          </a:bodyPr>
          <a:lstStyle/>
          <a:p>
            <a:pPr>
              <a:lnSpc>
                <a:spcPct val="90000"/>
              </a:lnSpc>
              <a:spcBef>
                <a:spcPct val="20000"/>
              </a:spcBef>
              <a:buSzPct val="90000"/>
            </a:pPr>
            <a:r>
              <a:rPr lang="en-US" sz="1800" dirty="0">
                <a:solidFill>
                  <a:schemeClr val="tx1">
                    <a:alpha val="99000"/>
                  </a:schemeClr>
                </a:solidFill>
              </a:rPr>
              <a:t>View alerts, view info</a:t>
            </a:r>
          </a:p>
        </p:txBody>
      </p:sp>
      <p:sp>
        <p:nvSpPr>
          <p:cNvPr id="30" name="TextBox 29"/>
          <p:cNvSpPr txBox="1"/>
          <p:nvPr/>
        </p:nvSpPr>
        <p:spPr>
          <a:xfrm>
            <a:off x="8823058" y="49302"/>
            <a:ext cx="273170" cy="249317"/>
          </a:xfrm>
          <a:prstGeom prst="rect">
            <a:avLst/>
          </a:prstGeom>
          <a:noFill/>
        </p:spPr>
        <p:txBody>
          <a:bodyPr wrap="none" lIns="68589" tIns="68589" rIns="68589" bIns="68589" rtlCol="0">
            <a:spAutoFit/>
          </a:bodyPr>
          <a:lstStyle/>
          <a:p>
            <a:pPr algn="r">
              <a:lnSpc>
                <a:spcPct val="90000"/>
              </a:lnSpc>
              <a:spcBef>
                <a:spcPct val="20000"/>
              </a:spcBef>
              <a:buSzPct val="90000"/>
            </a:pPr>
            <a:r>
              <a:rPr lang="en-US" sz="800" dirty="0">
                <a:solidFill>
                  <a:schemeClr val="tx1">
                    <a:alpha val="99000"/>
                  </a:schemeClr>
                </a:solidFill>
              </a:rPr>
              <a:t>8.0</a:t>
            </a:r>
          </a:p>
        </p:txBody>
      </p:sp>
      <p:sp>
        <p:nvSpPr>
          <p:cNvPr id="27"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8"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3"/>
              </a:rPr>
              <a:t>www.rapidbbs.cn</a:t>
            </a:r>
            <a:endParaRPr lang="zh-CN" altLang="en-US" sz="1200" b="0">
              <a:latin typeface="Arial" charset="0"/>
              <a:ea typeface="ＭＳ Ｐゴシック" pitchFamily="34" charset="-128"/>
            </a:endParaRPr>
          </a:p>
        </p:txBody>
      </p:sp>
      <p:pic>
        <p:nvPicPr>
          <p:cNvPr id="29" name="Picture 2">
            <a:hlinkClick r:id="rId13"/>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52540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p:sp>
      <p:sp>
        <p:nvSpPr>
          <p:cNvPr id="9" name="Title 8"/>
          <p:cNvSpPr>
            <a:spLocks noGrp="1"/>
          </p:cNvSpPr>
          <p:nvPr>
            <p:ph type="title"/>
          </p:nvPr>
        </p:nvSpPr>
        <p:spPr/>
        <p:txBody>
          <a:bodyPr lIns="68589"/>
          <a:lstStyle/>
          <a:p>
            <a:r>
              <a:rPr lang="en-US" dirty="0" smtClean="0"/>
              <a:t>What about Windows Phone 8?</a:t>
            </a:r>
            <a:endParaRPr lang="en-US" dirty="0"/>
          </a:p>
        </p:txBody>
      </p:sp>
      <p:pic>
        <p:nvPicPr>
          <p:cNvPr id="1026" name="Picture 2" descr="C:\Users\benriga.000\Desktop\2012-06 - TechEd Europe\Tiles and Notifications\Originals\WP8 Start Screen\0456_StartScreen_Sandra37_008EFEA6.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324793" y="336368"/>
            <a:ext cx="1258353" cy="2095799"/>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C:\Users\benriga.000\Desktop\2012-06 - TechEd Europe\Tiles and Notifications\Originals\WP8 Start Screen\6786_StartScreen_Maria35_00AF4A40.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324793" y="2500185"/>
            <a:ext cx="1258353" cy="2095799"/>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C:\Users\benriga.000\Desktop\2012-06 - TechEd Europe\Tiles and Notifications\Originals\WP8 Start Screen\0552_StartScreen_Kari22_0D990484.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578367" y="2500185"/>
            <a:ext cx="1258353" cy="2095799"/>
          </a:xfrm>
          <a:prstGeom prst="rect">
            <a:avLst/>
          </a:prstGeom>
          <a:noFill/>
          <a:extLst>
            <a:ext uri="{909E8E84-426E-40DD-AFC4-6F175D3DCCD1}">
              <a14:hiddenFill xmlns:a14="http://schemas.microsoft.com/office/drawing/2010/main">
                <a:solidFill>
                  <a:srgbClr val="FFFFFF"/>
                </a:solidFill>
              </a14:hiddenFill>
            </a:ext>
          </a:extLst>
        </p:spPr>
      </p:pic>
      <p:pic>
        <p:nvPicPr>
          <p:cNvPr id="1031" name="Picture 7" descr="C:\Users\benriga.000\Desktop\2012-06 - TechEd Europe\Tiles and Notifications\Originals\WP8 Start Screen\7633_StartScreen_James30opt2_5AA9741C.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578367" y="336368"/>
            <a:ext cx="1258353" cy="2095799"/>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descr="C:\Users\benriga.000\Desktop\2012-06 - TechEd Europe\Tiles and Notifications\Originals\WP8 Start Screen\5277_StartScreen_Elizabeth29_374C59AA.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742651" y="2500185"/>
            <a:ext cx="1258353" cy="209579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C:\Users\benriga.000\Desktop\2012-06 - TechEd Europe\Tiles and Notifications\Originals\WP8 Start Screen\7651_StartScreen_Allison218_534DB46F.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734337" y="336368"/>
            <a:ext cx="1258353" cy="209579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Users\benriga.000\Desktop\2012-06 - TechEd Europe\Tiles and Notifications\Originals\WP8 Start Screen\4477_StartScreen_Dave22_630D4973.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168822" y="2500185"/>
            <a:ext cx="1258353" cy="2095799"/>
          </a:xfrm>
          <a:prstGeom prst="rect">
            <a:avLst/>
          </a:prstGeom>
          <a:noFill/>
          <a:extLst>
            <a:ext uri="{909E8E84-426E-40DD-AFC4-6F175D3DCCD1}">
              <a14:hiddenFill xmlns:a14="http://schemas.microsoft.com/office/drawing/2010/main">
                <a:solidFill>
                  <a:srgbClr val="FFFFFF"/>
                </a:solidFill>
              </a14:hiddenFill>
            </a:ext>
          </a:extLst>
        </p:spPr>
      </p:pic>
      <p:pic>
        <p:nvPicPr>
          <p:cNvPr id="1033" name="Picture 9" descr="C:\Users\benriga.000\Desktop\2012-06 - TechEd Europe\Tiles and Notifications\Originals\WP8 Start Screen\7701_StartScreen_Robin50_7DA9BFBF.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152195" y="336368"/>
            <a:ext cx="1258353" cy="2095799"/>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3"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1"/>
              </a:rPr>
              <a:t>www.rapidbbs.cn</a:t>
            </a:r>
            <a:endParaRPr lang="zh-CN" altLang="en-US" sz="1200" b="0">
              <a:latin typeface="Arial" charset="0"/>
              <a:ea typeface="ＭＳ Ｐゴシック" pitchFamily="34" charset="-128"/>
            </a:endParaRPr>
          </a:p>
        </p:txBody>
      </p:sp>
      <p:pic>
        <p:nvPicPr>
          <p:cNvPr id="14" name="Picture 2">
            <a:hlinkClick r:id="rId11"/>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30748300"/>
      </p:ext>
    </p:extLst>
  </p:cSld>
  <p:clrMapOvr>
    <a:masterClrMapping/>
  </p:clrMapOvr>
  <p:transition>
    <p:fade/>
  </p:transition>
  <p:timing>
    <p:tnLst>
      <p:par>
        <p:cTn id="1" dur="indefinite" restart="never" nodeType="tmRoot"/>
      </p:par>
    </p:tnLst>
  </p:timing>
</p:sld>
</file>

<file path=ppt/slides/slide4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43"/>
          <p:cNvSpPr>
            <a:spLocks noGrp="1"/>
          </p:cNvSpPr>
          <p:nvPr>
            <p:ph type="title"/>
          </p:nvPr>
        </p:nvSpPr>
        <p:spPr>
          <a:xfrm>
            <a:off x="398963" y="171450"/>
            <a:ext cx="8363938" cy="567848"/>
          </a:xfrm>
        </p:spPr>
        <p:txBody>
          <a:bodyPr/>
          <a:lstStyle/>
          <a:p>
            <a:pPr algn="ctr"/>
            <a:r>
              <a:rPr lang="en-US" sz="4100" dirty="0"/>
              <a:t>More…  Powered by Microsoft</a:t>
            </a:r>
            <a:endParaRPr lang="en-US" sz="2400" dirty="0"/>
          </a:p>
        </p:txBody>
      </p:sp>
      <p:grpSp>
        <p:nvGrpSpPr>
          <p:cNvPr id="4" name="Group 3"/>
          <p:cNvGrpSpPr/>
          <p:nvPr/>
        </p:nvGrpSpPr>
        <p:grpSpPr>
          <a:xfrm>
            <a:off x="455055" y="1111767"/>
            <a:ext cx="8011915" cy="3009818"/>
            <a:chOff x="1500502" y="1948739"/>
            <a:chExt cx="8941454" cy="3359889"/>
          </a:xfrm>
        </p:grpSpPr>
        <p:sp>
          <p:nvSpPr>
            <p:cNvPr id="15" name="Presentation Title Rectangle"/>
            <p:cNvSpPr txBox="1">
              <a:spLocks/>
            </p:cNvSpPr>
            <p:nvPr/>
          </p:nvSpPr>
          <p:spPr>
            <a:xfrm>
              <a:off x="4695378" y="4210166"/>
              <a:ext cx="2799425" cy="903007"/>
            </a:xfrm>
            <a:prstGeom prst="rect">
              <a:avLst/>
            </a:prstGeom>
            <a:solidFill>
              <a:srgbClr val="3F3F3F"/>
            </a:solidFill>
            <a:effectLst/>
          </p:spPr>
          <p:txBody>
            <a:bodyPr lIns="182880" rIns="137160" bIns="182880" anchor="t" anchorCtr="0">
              <a:noAutofit/>
            </a:bodyPr>
            <a:lstStyle>
              <a:defPPr>
                <a:defRPr lang="en-US"/>
              </a:defPPr>
              <a:lvl1pPr>
                <a:lnSpc>
                  <a:spcPct val="90000"/>
                </a:lnSpc>
                <a:spcBef>
                  <a:spcPct val="0"/>
                </a:spcBef>
                <a:buNone/>
                <a:defRPr sz="1700" b="1" i="0" cap="none" spc="0" baseline="0">
                  <a:ln w="3175">
                    <a:noFill/>
                  </a:ln>
                  <a:gradFill flip="none" rotWithShape="1">
                    <a:gsLst>
                      <a:gs pos="4583">
                        <a:srgbClr val="FFFFFF"/>
                      </a:gs>
                      <a:gs pos="100000">
                        <a:srgbClr val="FFFFFF"/>
                      </a:gs>
                    </a:gsLst>
                    <a:lin ang="5400000" scaled="0"/>
                    <a:tileRect/>
                  </a:gradFill>
                  <a:effectLst/>
                  <a:latin typeface="+mj-lt"/>
                  <a:cs typeface="Arial" charset="0"/>
                </a:defRPr>
              </a:lvl1pPr>
            </a:lstStyle>
            <a:p>
              <a:pPr defTabSz="685891">
                <a:defRPr/>
              </a:pPr>
              <a:endParaRPr lang="en-US" sz="2100" kern="0" dirty="0">
                <a:latin typeface="Segoe UI Light" pitchFamily="34" charset="0"/>
                <a:cs typeface="Segoe UI" pitchFamily="34" charset="0"/>
              </a:endParaRPr>
            </a:p>
            <a:p>
              <a:pPr defTabSz="685891">
                <a:defRPr/>
              </a:pPr>
              <a:endParaRPr lang="en-US" sz="2100" kern="0" dirty="0">
                <a:latin typeface="Segoe UI Light" pitchFamily="34" charset="0"/>
                <a:cs typeface="Segoe UI" pitchFamily="34" charset="0"/>
              </a:endParaRPr>
            </a:p>
            <a:p>
              <a:pPr defTabSz="685891">
                <a:defRPr/>
              </a:pPr>
              <a:endParaRPr lang="en-US" sz="2100" kern="0" dirty="0">
                <a:latin typeface="Segoe UI Light" pitchFamily="34" charset="0"/>
                <a:cs typeface="Segoe UI" pitchFamily="34" charset="0"/>
              </a:endParaRPr>
            </a:p>
            <a:p>
              <a:pPr defTabSz="685891">
                <a:defRPr/>
              </a:pPr>
              <a:endParaRPr lang="en-US" sz="2100" kern="0" dirty="0">
                <a:latin typeface="Segoe UI Light" pitchFamily="34" charset="0"/>
                <a:cs typeface="Segoe UI" pitchFamily="34" charset="0"/>
              </a:endParaRPr>
            </a:p>
            <a:p>
              <a:pPr defTabSz="685891">
                <a:defRPr/>
              </a:pPr>
              <a:endParaRPr lang="en-US" sz="2100" kern="0" dirty="0">
                <a:latin typeface="Segoe UI Light" pitchFamily="34" charset="0"/>
                <a:cs typeface="Segoe UI" pitchFamily="34" charset="0"/>
              </a:endParaRPr>
            </a:p>
            <a:p>
              <a:pPr defTabSz="685891">
                <a:defRPr/>
              </a:pPr>
              <a:endParaRPr lang="en-US" sz="2100" kern="0" dirty="0">
                <a:latin typeface="Segoe UI Light" pitchFamily="34" charset="0"/>
                <a:cs typeface="Segoe UI" pitchFamily="34" charset="0"/>
              </a:endParaRPr>
            </a:p>
            <a:p>
              <a:pPr defTabSz="685891">
                <a:defRPr/>
              </a:pPr>
              <a:endParaRPr lang="en-US" sz="2100" kern="0" dirty="0">
                <a:latin typeface="Segoe UI Light" pitchFamily="34" charset="0"/>
                <a:cs typeface="Segoe UI" pitchFamily="34" charset="0"/>
              </a:endParaRPr>
            </a:p>
          </p:txBody>
        </p:sp>
        <p:sp>
          <p:nvSpPr>
            <p:cNvPr id="16" name="Presentation Title Rectangle"/>
            <p:cNvSpPr txBox="1">
              <a:spLocks/>
            </p:cNvSpPr>
            <p:nvPr/>
          </p:nvSpPr>
          <p:spPr>
            <a:xfrm>
              <a:off x="1748225" y="4210166"/>
              <a:ext cx="2798064" cy="903007"/>
            </a:xfrm>
            <a:prstGeom prst="rect">
              <a:avLst/>
            </a:prstGeom>
            <a:solidFill>
              <a:srgbClr val="3F3F3F"/>
            </a:solidFill>
            <a:effectLst/>
          </p:spPr>
          <p:txBody>
            <a:bodyPr lIns="182880" rIns="137160" bIns="182880" anchor="t" anchorCtr="0">
              <a:noAutofit/>
            </a:bodyPr>
            <a:lstStyle>
              <a:lvl1pPr algn="l" defTabSz="914363"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tileRect/>
                  </a:gradFill>
                  <a:effectLst/>
                  <a:latin typeface="+mj-lt"/>
                  <a:ea typeface="+mn-ea"/>
                  <a:cs typeface="Arial" charset="0"/>
                </a:defRPr>
              </a:lvl1pPr>
            </a:lstStyle>
            <a:p>
              <a:pPr defTabSz="685891">
                <a:defRPr/>
              </a:pPr>
              <a:endParaRPr lang="en-US" sz="2100" kern="0" spc="0" dirty="0">
                <a:latin typeface="Segoe UI Light" pitchFamily="34" charset="0"/>
                <a:cs typeface="Segoe UI" pitchFamily="34" charset="0"/>
              </a:endParaRPr>
            </a:p>
            <a:p>
              <a:pPr defTabSz="685891">
                <a:defRPr/>
              </a:pPr>
              <a:endParaRPr lang="en-US" sz="2100" kern="0" spc="0" dirty="0">
                <a:latin typeface="Segoe UI Light" pitchFamily="34" charset="0"/>
                <a:cs typeface="Segoe UI" pitchFamily="34" charset="0"/>
              </a:endParaRPr>
            </a:p>
            <a:p>
              <a:pPr defTabSz="685891">
                <a:defRPr/>
              </a:pPr>
              <a:endParaRPr lang="en-US" sz="2100" kern="0" spc="0" dirty="0">
                <a:latin typeface="Segoe UI Light" pitchFamily="34" charset="0"/>
                <a:cs typeface="Segoe UI" pitchFamily="34" charset="0"/>
              </a:endParaRPr>
            </a:p>
            <a:p>
              <a:pPr defTabSz="685891">
                <a:defRPr/>
              </a:pPr>
              <a:endParaRPr lang="en-US" sz="2100" kern="0" spc="0" dirty="0">
                <a:latin typeface="Segoe UI Light" pitchFamily="34" charset="0"/>
                <a:cs typeface="Segoe UI" pitchFamily="34" charset="0"/>
              </a:endParaRPr>
            </a:p>
            <a:p>
              <a:pPr defTabSz="685891">
                <a:defRPr/>
              </a:pPr>
              <a:endParaRPr lang="en-US" sz="2100" kern="0" spc="0" dirty="0">
                <a:latin typeface="Segoe UI Light" pitchFamily="34" charset="0"/>
                <a:cs typeface="Segoe UI" pitchFamily="34" charset="0"/>
              </a:endParaRPr>
            </a:p>
            <a:p>
              <a:pPr defTabSz="685891">
                <a:defRPr/>
              </a:pPr>
              <a:endParaRPr lang="en-US" sz="2100" kern="0" spc="0" dirty="0">
                <a:latin typeface="Segoe UI Light" pitchFamily="34" charset="0"/>
                <a:cs typeface="Segoe UI" pitchFamily="34" charset="0"/>
              </a:endParaRPr>
            </a:p>
            <a:p>
              <a:pPr defTabSz="685891">
                <a:defRPr/>
              </a:pPr>
              <a:endParaRPr lang="en-US" sz="2100" kern="0" spc="0" dirty="0">
                <a:latin typeface="Segoe UI Light" pitchFamily="34" charset="0"/>
                <a:cs typeface="Segoe UI" pitchFamily="34" charset="0"/>
              </a:endParaRPr>
            </a:p>
          </p:txBody>
        </p:sp>
        <p:sp>
          <p:nvSpPr>
            <p:cNvPr id="17" name="Presentation Title Rectangle"/>
            <p:cNvSpPr txBox="1">
              <a:spLocks/>
            </p:cNvSpPr>
            <p:nvPr/>
          </p:nvSpPr>
          <p:spPr>
            <a:xfrm>
              <a:off x="7642529" y="4210166"/>
              <a:ext cx="2799427" cy="903007"/>
            </a:xfrm>
            <a:prstGeom prst="rect">
              <a:avLst/>
            </a:prstGeom>
            <a:solidFill>
              <a:srgbClr val="3F3F3F"/>
            </a:solidFill>
            <a:effectLst/>
          </p:spPr>
          <p:txBody>
            <a:bodyPr lIns="182880" rIns="137160" bIns="182880" anchor="t" anchorCtr="0">
              <a:noAutofit/>
            </a:bodyPr>
            <a:lstStyle>
              <a:defPPr>
                <a:defRPr lang="en-US"/>
              </a:defPPr>
              <a:lvl1pPr marR="0" lvl="0" indent="0" defTabSz="914400" fontAlgn="auto">
                <a:lnSpc>
                  <a:spcPct val="90000"/>
                </a:lnSpc>
                <a:spcBef>
                  <a:spcPct val="0"/>
                </a:spcBef>
                <a:spcAft>
                  <a:spcPts val="0"/>
                </a:spcAft>
                <a:buClrTx/>
                <a:buSzTx/>
                <a:buFontTx/>
                <a:buNone/>
                <a:tabLst/>
                <a:defRPr kumimoji="0" sz="2000" b="0" i="0" u="none" strike="noStrike" kern="0" cap="none" spc="0" normalizeH="0" baseline="0">
                  <a:ln w="3175">
                    <a:noFill/>
                  </a:ln>
                  <a:gradFill flip="none" rotWithShape="1">
                    <a:gsLst>
                      <a:gs pos="4583">
                        <a:srgbClr val="FFFFFF"/>
                      </a:gs>
                      <a:gs pos="100000">
                        <a:srgbClr val="FFFFFF"/>
                      </a:gs>
                    </a:gsLst>
                    <a:lin ang="5400000" scaled="0"/>
                    <a:tileRect/>
                  </a:gradFill>
                  <a:effectLst/>
                  <a:uLnTx/>
                  <a:uFillTx/>
                  <a:latin typeface="Segoe"/>
                  <a:cs typeface="Arial" charset="0"/>
                </a:defRPr>
              </a:lvl1pPr>
            </a:lstStyle>
            <a:p>
              <a:pPr>
                <a:defRPr/>
              </a:pPr>
              <a:endParaRPr lang="en-US" sz="2100" b="1" dirty="0">
                <a:latin typeface="Segoe UI Light" pitchFamily="34" charset="0"/>
                <a:cs typeface="Segoe UI" pitchFamily="34" charset="0"/>
              </a:endParaRPr>
            </a:p>
            <a:p>
              <a:pPr>
                <a:defRPr/>
              </a:pPr>
              <a:endParaRPr lang="en-US" sz="2100" b="1" dirty="0">
                <a:latin typeface="Segoe UI Light" pitchFamily="34" charset="0"/>
                <a:cs typeface="Segoe UI" pitchFamily="34" charset="0"/>
              </a:endParaRPr>
            </a:p>
            <a:p>
              <a:pPr>
                <a:defRPr/>
              </a:pPr>
              <a:endParaRPr lang="en-US" sz="2100" b="1" dirty="0">
                <a:latin typeface="Segoe UI Light" pitchFamily="34" charset="0"/>
                <a:cs typeface="Segoe UI" pitchFamily="34" charset="0"/>
              </a:endParaRPr>
            </a:p>
            <a:p>
              <a:pPr>
                <a:defRPr/>
              </a:pPr>
              <a:endParaRPr lang="en-US" sz="2100" b="1" dirty="0">
                <a:latin typeface="Segoe UI Light" pitchFamily="34" charset="0"/>
                <a:cs typeface="Segoe UI" pitchFamily="34" charset="0"/>
              </a:endParaRPr>
            </a:p>
            <a:p>
              <a:pPr>
                <a:defRPr/>
              </a:pPr>
              <a:endParaRPr lang="en-US" sz="2100" b="1" dirty="0">
                <a:latin typeface="Segoe UI Light" pitchFamily="34" charset="0"/>
                <a:cs typeface="Segoe UI" pitchFamily="34" charset="0"/>
              </a:endParaRPr>
            </a:p>
            <a:p>
              <a:pPr>
                <a:defRPr/>
              </a:pPr>
              <a:endParaRPr lang="en-US" sz="2100" b="1" dirty="0">
                <a:latin typeface="Segoe UI Light" pitchFamily="34" charset="0"/>
                <a:cs typeface="Segoe UI" pitchFamily="34" charset="0"/>
              </a:endParaRPr>
            </a:p>
            <a:p>
              <a:pPr>
                <a:defRPr/>
              </a:pPr>
              <a:endParaRPr lang="en-US" sz="2100" b="1" dirty="0">
                <a:latin typeface="Segoe UI Light" pitchFamily="34" charset="0"/>
                <a:cs typeface="Segoe UI" pitchFamily="34" charset="0"/>
              </a:endParaRPr>
            </a:p>
          </p:txBody>
        </p:sp>
        <p:sp>
          <p:nvSpPr>
            <p:cNvPr id="77" name="Presentation Title Rectangle"/>
            <p:cNvSpPr txBox="1">
              <a:spLocks/>
            </p:cNvSpPr>
            <p:nvPr/>
          </p:nvSpPr>
          <p:spPr>
            <a:xfrm>
              <a:off x="4634743" y="4240484"/>
              <a:ext cx="2799425" cy="1068144"/>
            </a:xfrm>
            <a:prstGeom prst="rect">
              <a:avLst/>
            </a:prstGeom>
            <a:noFill/>
            <a:effectLst/>
          </p:spPr>
          <p:txBody>
            <a:bodyPr lIns="137160" tIns="45720" rIns="45720" bIns="45720" anchor="t" anchorCtr="0">
              <a:noAutofit/>
            </a:bodyPr>
            <a:lstStyle>
              <a:defPPr>
                <a:defRPr lang="en-US"/>
              </a:defPPr>
              <a:lvl1pPr>
                <a:lnSpc>
                  <a:spcPct val="90000"/>
                </a:lnSpc>
                <a:spcBef>
                  <a:spcPct val="0"/>
                </a:spcBef>
                <a:buNone/>
                <a:defRPr sz="1700" b="1" i="0" cap="none" spc="0" baseline="0">
                  <a:ln w="3175">
                    <a:noFill/>
                  </a:ln>
                  <a:gradFill flip="none" rotWithShape="1">
                    <a:gsLst>
                      <a:gs pos="4583">
                        <a:srgbClr val="FFFFFF"/>
                      </a:gs>
                      <a:gs pos="100000">
                        <a:srgbClr val="FFFFFF"/>
                      </a:gs>
                    </a:gsLst>
                    <a:lin ang="5400000" scaled="0"/>
                    <a:tileRect/>
                  </a:gradFill>
                  <a:effectLst/>
                  <a:latin typeface="+mj-lt"/>
                  <a:cs typeface="Arial" charset="0"/>
                </a:defRPr>
              </a:lvl1pPr>
            </a:lstStyle>
            <a:p>
              <a:pPr algn="ctr"/>
              <a:r>
                <a:rPr lang="en-US" sz="1200" b="0" kern="0" dirty="0">
                  <a:solidFill>
                    <a:sysClr val="window" lastClr="FFFFFF"/>
                  </a:solidFill>
                  <a:latin typeface="Segoe UI" pitchFamily="34" charset="0"/>
                  <a:ea typeface="Segoe UI" pitchFamily="34" charset="0"/>
                  <a:cs typeface="Segoe UI" pitchFamily="34" charset="0"/>
                </a:rPr>
                <a:t>Create new, high-value services on top of a unified cloud platform</a:t>
              </a:r>
              <a:endParaRPr lang="en-US" sz="1200" b="0" kern="0" dirty="0">
                <a:solidFill>
                  <a:sysClr val="window" lastClr="FFFFFF"/>
                </a:solidFill>
                <a:latin typeface="Segoe UI" pitchFamily="34" charset="0"/>
                <a:ea typeface="Segoe UI" pitchFamily="34" charset="0"/>
                <a:cs typeface="Segoe UI" pitchFamily="34" charset="0"/>
              </a:endParaRPr>
            </a:p>
          </p:txBody>
        </p:sp>
        <p:sp>
          <p:nvSpPr>
            <p:cNvPr id="78" name="Presentation Title Rectangle"/>
            <p:cNvSpPr txBox="1">
              <a:spLocks/>
            </p:cNvSpPr>
            <p:nvPr/>
          </p:nvSpPr>
          <p:spPr>
            <a:xfrm>
              <a:off x="1500502" y="4240484"/>
              <a:ext cx="3082436" cy="1068144"/>
            </a:xfrm>
            <a:prstGeom prst="rect">
              <a:avLst/>
            </a:prstGeom>
            <a:noFill/>
            <a:effectLst/>
          </p:spPr>
          <p:txBody>
            <a:bodyPr lIns="137160" tIns="45720" rIns="45720" bIns="45720" anchor="t" anchorCtr="0">
              <a:noAutofit/>
            </a:bodyPr>
            <a:lstStyle>
              <a:lvl1pPr algn="l" defTabSz="914363"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tileRect/>
                  </a:gradFill>
                  <a:effectLst/>
                  <a:latin typeface="+mj-lt"/>
                  <a:ea typeface="+mn-ea"/>
                  <a:cs typeface="Arial" charset="0"/>
                </a:defRPr>
              </a:lvl1pPr>
            </a:lstStyle>
            <a:p>
              <a:pPr algn="ctr">
                <a:lnSpc>
                  <a:spcPct val="110000"/>
                </a:lnSpc>
              </a:pPr>
              <a:r>
                <a:rPr lang="en-US" sz="1200" b="0" kern="0" spc="0" dirty="0">
                  <a:solidFill>
                    <a:sysClr val="window" lastClr="FFFFFF"/>
                  </a:solidFill>
                  <a:latin typeface="Segoe UI" pitchFamily="34" charset="0"/>
                  <a:ea typeface="Segoe UI" pitchFamily="34" charset="0"/>
                  <a:cs typeface="Segoe UI" pitchFamily="34" charset="0"/>
                </a:rPr>
                <a:t>Global customer base,</a:t>
              </a:r>
              <a:endParaRPr lang="en-US" sz="1200" b="0" kern="0" spc="0" dirty="0">
                <a:solidFill>
                  <a:sysClr val="window" lastClr="FFFFFF"/>
                </a:solidFill>
                <a:latin typeface="Segoe UI" pitchFamily="34" charset="0"/>
                <a:ea typeface="Segoe UI" pitchFamily="34" charset="0"/>
                <a:cs typeface="Segoe UI" pitchFamily="34" charset="0"/>
              </a:endParaRPr>
            </a:p>
            <a:p>
              <a:pPr algn="ctr">
                <a:lnSpc>
                  <a:spcPct val="110000"/>
                </a:lnSpc>
              </a:pPr>
              <a:r>
                <a:rPr lang="en-US" sz="1200" b="0" kern="0" spc="0" dirty="0">
                  <a:solidFill>
                    <a:sysClr val="window" lastClr="FFFFFF"/>
                  </a:solidFill>
                  <a:latin typeface="Segoe UI" pitchFamily="34" charset="0"/>
                  <a:ea typeface="Segoe UI" pitchFamily="34" charset="0"/>
                  <a:cs typeface="Segoe UI" pitchFamily="34" charset="0"/>
                </a:rPr>
                <a:t>moving to Hybrid </a:t>
              </a:r>
              <a:r>
                <a:rPr lang="en-US" sz="1200" b="0" kern="0" spc="0" dirty="0">
                  <a:solidFill>
                    <a:sysClr val="window" lastClr="FFFFFF"/>
                  </a:solidFill>
                  <a:latin typeface="Segoe UI" pitchFamily="34" charset="0"/>
                  <a:ea typeface="Segoe UI" pitchFamily="34" charset="0"/>
                  <a:cs typeface="Segoe UI" pitchFamily="34" charset="0"/>
                </a:rPr>
                <a:t>IT</a:t>
              </a:r>
            </a:p>
          </p:txBody>
        </p:sp>
        <p:sp>
          <p:nvSpPr>
            <p:cNvPr id="79" name="Presentation Title Rectangle"/>
            <p:cNvSpPr txBox="1">
              <a:spLocks/>
            </p:cNvSpPr>
            <p:nvPr/>
          </p:nvSpPr>
          <p:spPr>
            <a:xfrm>
              <a:off x="7581893" y="4240484"/>
              <a:ext cx="2799427" cy="1068144"/>
            </a:xfrm>
            <a:prstGeom prst="rect">
              <a:avLst/>
            </a:prstGeom>
            <a:noFill/>
            <a:effectLst/>
          </p:spPr>
          <p:txBody>
            <a:bodyPr lIns="137160" tIns="45720" rIns="45720" bIns="45720" anchor="t" anchorCtr="0">
              <a:noAutofit/>
            </a:bodyPr>
            <a:lstStyle>
              <a:defPPr>
                <a:defRPr lang="en-US"/>
              </a:defPPr>
              <a:lvl1pPr marR="0" lvl="0" indent="0" defTabSz="914400" fontAlgn="auto">
                <a:lnSpc>
                  <a:spcPct val="90000"/>
                </a:lnSpc>
                <a:spcBef>
                  <a:spcPct val="0"/>
                </a:spcBef>
                <a:spcAft>
                  <a:spcPts val="0"/>
                </a:spcAft>
                <a:buClrTx/>
                <a:buSzTx/>
                <a:buFontTx/>
                <a:buNone/>
                <a:tabLst/>
                <a:defRPr kumimoji="0" sz="2000" b="0" i="0" u="none" strike="noStrike" kern="0" cap="none" spc="0" normalizeH="0" baseline="0">
                  <a:ln w="3175">
                    <a:noFill/>
                  </a:ln>
                  <a:gradFill flip="none" rotWithShape="1">
                    <a:gsLst>
                      <a:gs pos="4583">
                        <a:srgbClr val="FFFFFF"/>
                      </a:gs>
                      <a:gs pos="100000">
                        <a:srgbClr val="FFFFFF"/>
                      </a:gs>
                    </a:gsLst>
                    <a:lin ang="5400000" scaled="0"/>
                    <a:tileRect/>
                  </a:gradFill>
                  <a:effectLst/>
                  <a:uLnTx/>
                  <a:uFillTx/>
                  <a:latin typeface="Segoe"/>
                  <a:cs typeface="Arial" charset="0"/>
                </a:defRPr>
              </a:lvl1pPr>
            </a:lstStyle>
            <a:p>
              <a:pPr algn="ctr"/>
              <a:r>
                <a:rPr lang="en-US" sz="1200" dirty="0">
                  <a:solidFill>
                    <a:sysClr val="window" lastClr="FFFFFF"/>
                  </a:solidFill>
                  <a:latin typeface="Segoe UI" pitchFamily="34" charset="0"/>
                  <a:ea typeface="Segoe UI" pitchFamily="34" charset="0"/>
                  <a:cs typeface="Segoe UI" pitchFamily="34" charset="0"/>
                </a:rPr>
                <a:t>Lower your costs with insights derived from some of the world’s largest public cloud services</a:t>
              </a:r>
              <a:endParaRPr lang="en-US" sz="1200" dirty="0">
                <a:solidFill>
                  <a:sysClr val="window" lastClr="FFFFFF"/>
                </a:solidFill>
                <a:latin typeface="Segoe UI" pitchFamily="34" charset="0"/>
                <a:ea typeface="Segoe UI" pitchFamily="34" charset="0"/>
                <a:cs typeface="Segoe UI" pitchFamily="34" charset="0"/>
              </a:endParaRPr>
            </a:p>
          </p:txBody>
        </p:sp>
        <p:sp>
          <p:nvSpPr>
            <p:cNvPr id="81" name="Presentation Title Rectangle"/>
            <p:cNvSpPr txBox="1">
              <a:spLocks/>
            </p:cNvSpPr>
            <p:nvPr/>
          </p:nvSpPr>
          <p:spPr>
            <a:xfrm>
              <a:off x="4695378" y="1948739"/>
              <a:ext cx="2799425" cy="2194211"/>
            </a:xfrm>
            <a:prstGeom prst="rect">
              <a:avLst/>
            </a:prstGeom>
            <a:solidFill>
              <a:srgbClr val="0072C6"/>
            </a:solidFill>
            <a:effectLst/>
          </p:spPr>
          <p:txBody>
            <a:bodyPr lIns="182880" rIns="137160" bIns="182880" anchor="t" anchorCtr="0">
              <a:noAutofit/>
            </a:bodyPr>
            <a:lstStyle>
              <a:defPPr>
                <a:defRPr lang="en-US"/>
              </a:defPPr>
              <a:lvl1pPr>
                <a:lnSpc>
                  <a:spcPct val="90000"/>
                </a:lnSpc>
                <a:spcBef>
                  <a:spcPct val="0"/>
                </a:spcBef>
                <a:buNone/>
                <a:defRPr sz="1700" b="1" i="0" cap="none" spc="0" baseline="0">
                  <a:ln w="3175">
                    <a:noFill/>
                  </a:ln>
                  <a:gradFill flip="none" rotWithShape="1">
                    <a:gsLst>
                      <a:gs pos="4583">
                        <a:srgbClr val="FFFFFF"/>
                      </a:gs>
                      <a:gs pos="100000">
                        <a:srgbClr val="FFFFFF"/>
                      </a:gs>
                    </a:gsLst>
                    <a:lin ang="5400000" scaled="0"/>
                    <a:tileRect/>
                  </a:gradFill>
                  <a:effectLst/>
                  <a:latin typeface="+mj-lt"/>
                  <a:cs typeface="Arial" charset="0"/>
                </a:defRPr>
              </a:lvl1pPr>
            </a:lstStyle>
            <a:p>
              <a:pPr defTabSz="685891">
                <a:defRPr/>
              </a:pPr>
              <a:r>
                <a:rPr lang="en-US" sz="2400" kern="0" dirty="0">
                  <a:latin typeface="Segoe UI Light" pitchFamily="34" charset="0"/>
                  <a:cs typeface="Segoe UI" pitchFamily="34" charset="0"/>
                </a:rPr>
                <a:t>More Services</a:t>
              </a:r>
              <a:endParaRPr lang="en-US" sz="2400" kern="0" dirty="0">
                <a:latin typeface="Segoe UI Light" pitchFamily="34" charset="0"/>
                <a:cs typeface="Segoe UI" pitchFamily="34" charset="0"/>
              </a:endParaRPr>
            </a:p>
          </p:txBody>
        </p:sp>
        <p:sp>
          <p:nvSpPr>
            <p:cNvPr id="87" name="Presentation Title Rectangle"/>
            <p:cNvSpPr txBox="1">
              <a:spLocks/>
            </p:cNvSpPr>
            <p:nvPr/>
          </p:nvSpPr>
          <p:spPr>
            <a:xfrm>
              <a:off x="1748225" y="1948739"/>
              <a:ext cx="2798064" cy="2194211"/>
            </a:xfrm>
            <a:prstGeom prst="rect">
              <a:avLst/>
            </a:prstGeom>
            <a:solidFill>
              <a:srgbClr val="00188F"/>
            </a:solidFill>
            <a:effectLst/>
          </p:spPr>
          <p:txBody>
            <a:bodyPr lIns="182880" rIns="137160" bIns="182880" anchor="t" anchorCtr="0">
              <a:noAutofit/>
            </a:bodyPr>
            <a:lstStyle>
              <a:lvl1pPr algn="l" defTabSz="914363"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tileRect/>
                  </a:gradFill>
                  <a:effectLst/>
                  <a:latin typeface="+mj-lt"/>
                  <a:ea typeface="+mn-ea"/>
                  <a:cs typeface="Arial" charset="0"/>
                </a:defRPr>
              </a:lvl1pPr>
            </a:lstStyle>
            <a:p>
              <a:pPr defTabSz="685891">
                <a:defRPr/>
              </a:pPr>
              <a:r>
                <a:rPr lang="en-US" sz="2400" kern="0" spc="0" dirty="0">
                  <a:latin typeface="Segoe UI Light" pitchFamily="34" charset="0"/>
                  <a:cs typeface="Segoe UI" pitchFamily="34" charset="0"/>
                </a:rPr>
                <a:t>More Customers</a:t>
              </a:r>
              <a:endParaRPr lang="en-US" sz="2400" kern="0" spc="0" dirty="0">
                <a:latin typeface="Segoe UI Light" pitchFamily="34" charset="0"/>
                <a:cs typeface="Segoe UI" pitchFamily="34" charset="0"/>
              </a:endParaRPr>
            </a:p>
          </p:txBody>
        </p:sp>
        <p:sp>
          <p:nvSpPr>
            <p:cNvPr id="92" name="Presentation Title Rectangle"/>
            <p:cNvSpPr txBox="1">
              <a:spLocks/>
            </p:cNvSpPr>
            <p:nvPr/>
          </p:nvSpPr>
          <p:spPr>
            <a:xfrm>
              <a:off x="7642529" y="1948739"/>
              <a:ext cx="2799427" cy="2194211"/>
            </a:xfrm>
            <a:prstGeom prst="rect">
              <a:avLst/>
            </a:prstGeom>
            <a:solidFill>
              <a:schemeClr val="accent2">
                <a:lumMod val="75000"/>
              </a:schemeClr>
            </a:solidFill>
            <a:effectLst/>
          </p:spPr>
          <p:txBody>
            <a:bodyPr lIns="182880" rIns="137160" bIns="182880" anchor="t" anchorCtr="0">
              <a:noAutofit/>
            </a:bodyPr>
            <a:lstStyle>
              <a:defPPr>
                <a:defRPr lang="en-US"/>
              </a:defPPr>
              <a:lvl1pPr marR="0" lvl="0" indent="0" defTabSz="914400" fontAlgn="auto">
                <a:lnSpc>
                  <a:spcPct val="90000"/>
                </a:lnSpc>
                <a:spcBef>
                  <a:spcPct val="0"/>
                </a:spcBef>
                <a:spcAft>
                  <a:spcPts val="0"/>
                </a:spcAft>
                <a:buClrTx/>
                <a:buSzTx/>
                <a:buFontTx/>
                <a:buNone/>
                <a:tabLst/>
                <a:defRPr kumimoji="0" sz="2000" b="0" i="0" u="none" strike="noStrike" kern="0" cap="none" spc="0" normalizeH="0" baseline="0">
                  <a:ln w="3175">
                    <a:noFill/>
                  </a:ln>
                  <a:gradFill flip="none" rotWithShape="1">
                    <a:gsLst>
                      <a:gs pos="4583">
                        <a:srgbClr val="FFFFFF"/>
                      </a:gs>
                      <a:gs pos="100000">
                        <a:srgbClr val="FFFFFF"/>
                      </a:gs>
                    </a:gsLst>
                    <a:lin ang="5400000" scaled="0"/>
                    <a:tileRect/>
                  </a:gradFill>
                  <a:effectLst/>
                  <a:uLnTx/>
                  <a:uFillTx/>
                  <a:latin typeface="Segoe"/>
                  <a:cs typeface="Arial" charset="0"/>
                </a:defRPr>
              </a:lvl1pPr>
            </a:lstStyle>
            <a:p>
              <a:pPr>
                <a:defRPr/>
              </a:pPr>
              <a:r>
                <a:rPr lang="en-US" sz="2400" b="1" dirty="0">
                  <a:latin typeface="Segoe UI Light" pitchFamily="34" charset="0"/>
                  <a:cs typeface="Segoe UI" pitchFamily="34" charset="0"/>
                </a:rPr>
                <a:t>More Efficiency</a:t>
              </a:r>
              <a:endParaRPr lang="en-US" sz="2400" b="1" dirty="0">
                <a:latin typeface="Segoe UI Light" pitchFamily="34" charset="0"/>
                <a:cs typeface="Segoe UI" pitchFamily="34" charset="0"/>
              </a:endParaRPr>
            </a:p>
          </p:txBody>
        </p:sp>
        <p:pic>
          <p:nvPicPr>
            <p:cNvPr id="97" name="Picture 6" descr="\\MAGNUM\Projects\Microsoft\Cloud Power FY12\Design\Icons\PNGs\Virtual_Network.png"/>
            <p:cNvPicPr>
              <a:picLocks noChangeAspect="1" noChangeArrowheads="1"/>
            </p:cNvPicPr>
            <p:nvPr/>
          </p:nvPicPr>
          <p:blipFill>
            <a:blip r:embed="rId3" cstate="screen">
              <a:lum bright="100000"/>
              <a:extLst>
                <a:ext uri="{28A0092B-C50C-407E-A947-70E740481C1C}">
                  <a14:useLocalDpi xmlns:a14="http://schemas.microsoft.com/office/drawing/2010/main"/>
                </a:ext>
              </a:extLst>
            </a:blip>
            <a:stretch>
              <a:fillRect/>
            </a:stretch>
          </p:blipFill>
          <p:spPr bwMode="auto">
            <a:xfrm>
              <a:off x="8315599" y="2474693"/>
              <a:ext cx="1453287" cy="1453287"/>
            </a:xfrm>
            <a:prstGeom prst="rect">
              <a:avLst/>
            </a:prstGeom>
            <a:noFill/>
          </p:spPr>
        </p:pic>
        <p:pic>
          <p:nvPicPr>
            <p:cNvPr id="19" name="Picture 2" descr="\\MAGNUM\Projects\Microsoft\Cloud Power FY12\Design\Icons\PNGs\Cloud_on_your_terms.png"/>
            <p:cNvPicPr>
              <a:picLocks noChangeAspect="1" noChangeArrowheads="1"/>
            </p:cNvPicPr>
            <p:nvPr/>
          </p:nvPicPr>
          <p:blipFill>
            <a:blip r:embed="rId4" cstate="print">
              <a:lum bright="100000"/>
            </a:blip>
            <a:stretch>
              <a:fillRect/>
            </a:stretch>
          </p:blipFill>
          <p:spPr bwMode="auto">
            <a:xfrm>
              <a:off x="1946196" y="1948740"/>
              <a:ext cx="2349491" cy="2460065"/>
            </a:xfrm>
            <a:prstGeom prst="rect">
              <a:avLst/>
            </a:prstGeom>
            <a:noFill/>
            <a:ln>
              <a:noFill/>
            </a:ln>
          </p:spPr>
        </p:pic>
        <p:sp>
          <p:nvSpPr>
            <p:cNvPr id="22" name="Freeform 15"/>
            <p:cNvSpPr>
              <a:spLocks noEditPoints="1"/>
            </p:cNvSpPr>
            <p:nvPr/>
          </p:nvSpPr>
          <p:spPr bwMode="black">
            <a:xfrm>
              <a:off x="5570527" y="2676171"/>
              <a:ext cx="1049127" cy="1050332"/>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dirty="0"/>
            </a:p>
          </p:txBody>
        </p:sp>
      </p:grpSp>
      <p:sp>
        <p:nvSpPr>
          <p:cNvPr id="2" name="TextBox 1"/>
          <p:cNvSpPr txBox="1"/>
          <p:nvPr/>
        </p:nvSpPr>
        <p:spPr>
          <a:xfrm>
            <a:off x="0" y="4279526"/>
            <a:ext cx="9144000" cy="265457"/>
          </a:xfrm>
          <a:prstGeom prst="rect">
            <a:avLst/>
          </a:prstGeom>
          <a:noFill/>
        </p:spPr>
        <p:txBody>
          <a:bodyPr wrap="square" lIns="0" tIns="0" rIns="0" bIns="0" rtlCol="0">
            <a:spAutoFit/>
          </a:bodyPr>
          <a:lstStyle/>
          <a:p>
            <a:pPr algn="ctr"/>
            <a:r>
              <a:rPr lang="en-US" sz="1700" dirty="0">
                <a:gradFill>
                  <a:gsLst>
                    <a:gs pos="0">
                      <a:schemeClr val="tx1">
                        <a:lumMod val="75000"/>
                        <a:lumOff val="25000"/>
                      </a:schemeClr>
                    </a:gs>
                    <a:gs pos="80000">
                      <a:schemeClr val="tx1">
                        <a:lumMod val="65000"/>
                        <a:lumOff val="35000"/>
                      </a:schemeClr>
                    </a:gs>
                  </a:gsLst>
                  <a:lin ang="16200000" scaled="0"/>
                </a:gradFill>
              </a:rPr>
              <a:t>Seamlessly Extend Customers’ Datacenters by Offering More Services at Lower Cost</a:t>
            </a:r>
          </a:p>
        </p:txBody>
      </p:sp>
      <p:sp>
        <p:nvSpPr>
          <p:cNvPr id="18"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0"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5"/>
              </a:rPr>
              <a:t>www.rapidbbs.cn</a:t>
            </a:r>
            <a:endParaRPr lang="zh-CN" altLang="en-US" sz="1200" b="0">
              <a:latin typeface="Arial" charset="0"/>
              <a:ea typeface="ＭＳ Ｐゴシック" pitchFamily="34" charset="-128"/>
            </a:endParaRPr>
          </a:p>
        </p:txBody>
      </p:sp>
      <p:pic>
        <p:nvPicPr>
          <p:cNvPr id="21" name="Picture 2">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888767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p:cNvSpPr/>
          <p:nvPr/>
        </p:nvSpPr>
        <p:spPr bwMode="auto">
          <a:xfrm>
            <a:off x="5365641" y="1229713"/>
            <a:ext cx="1410051" cy="1409685"/>
          </a:xfrm>
          <a:prstGeom prst="rect">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9" tIns="34295" rIns="34295" bIns="68589" numCol="1" spcCol="0" rtlCol="0" fromWordArt="0" anchor="b" anchorCtr="0" forceAA="0" compatLnSpc="1">
            <a:prstTxWarp prst="textNoShape">
              <a:avLst/>
            </a:prstTxWarp>
            <a:noAutofit/>
          </a:bodyPr>
          <a:lstStyle/>
          <a:p>
            <a:pPr defTabSz="685666" fontAlgn="base">
              <a:spcBef>
                <a:spcPct val="0"/>
              </a:spcBef>
              <a:spcAft>
                <a:spcPct val="0"/>
              </a:spcAft>
            </a:pPr>
            <a:r>
              <a:rPr lang="en-US" spc="-38" dirty="0">
                <a:gradFill>
                  <a:gsLst>
                    <a:gs pos="0">
                      <a:srgbClr val="FFFFFF"/>
                    </a:gs>
                    <a:gs pos="100000">
                      <a:srgbClr val="FFFFFF"/>
                    </a:gs>
                  </a:gsLst>
                  <a:lin ang="5400000" scaled="0"/>
                </a:gradFill>
                <a:ea typeface="Segoe UI" pitchFamily="34" charset="0"/>
                <a:cs typeface="Segoe UI" pitchFamily="34" charset="0"/>
              </a:rPr>
              <a:t>Web Hosting</a:t>
            </a:r>
            <a:endParaRPr lang="en-US" spc="-38" dirty="0">
              <a:gradFill>
                <a:gsLst>
                  <a:gs pos="0">
                    <a:srgbClr val="FFFFFF"/>
                  </a:gs>
                  <a:gs pos="100000">
                    <a:srgbClr val="FFFFFF"/>
                  </a:gs>
                </a:gsLst>
                <a:lin ang="5400000" scaled="0"/>
              </a:gradFill>
              <a:ea typeface="Segoe UI" pitchFamily="34" charset="0"/>
              <a:cs typeface="Segoe UI" pitchFamily="34" charset="0"/>
            </a:endParaRPr>
          </a:p>
        </p:txBody>
      </p:sp>
      <p:grpSp>
        <p:nvGrpSpPr>
          <p:cNvPr id="63" name="Group 62"/>
          <p:cNvGrpSpPr/>
          <p:nvPr/>
        </p:nvGrpSpPr>
        <p:grpSpPr bwMode="black">
          <a:xfrm>
            <a:off x="5695333" y="1504763"/>
            <a:ext cx="750665" cy="639074"/>
            <a:chOff x="2462213" y="1598613"/>
            <a:chExt cx="4222750" cy="3667125"/>
          </a:xfrm>
        </p:grpSpPr>
        <p:sp>
          <p:nvSpPr>
            <p:cNvPr id="64" name="Rectangle 6"/>
            <p:cNvSpPr>
              <a:spLocks noChangeArrowheads="1"/>
            </p:cNvSpPr>
            <p:nvPr/>
          </p:nvSpPr>
          <p:spPr bwMode="black">
            <a:xfrm>
              <a:off x="5564188"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65" name="Rectangle 7"/>
            <p:cNvSpPr>
              <a:spLocks noChangeArrowheads="1"/>
            </p:cNvSpPr>
            <p:nvPr/>
          </p:nvSpPr>
          <p:spPr bwMode="black">
            <a:xfrm>
              <a:off x="5795963" y="3346451"/>
              <a:ext cx="112713"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66" name="Rectangle 8"/>
            <p:cNvSpPr>
              <a:spLocks noChangeArrowheads="1"/>
            </p:cNvSpPr>
            <p:nvPr/>
          </p:nvSpPr>
          <p:spPr bwMode="black">
            <a:xfrm>
              <a:off x="3092451"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67" name="Rectangle 9"/>
            <p:cNvSpPr>
              <a:spLocks noChangeArrowheads="1"/>
            </p:cNvSpPr>
            <p:nvPr/>
          </p:nvSpPr>
          <p:spPr bwMode="black">
            <a:xfrm>
              <a:off x="3324226" y="3346451"/>
              <a:ext cx="117475"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68" name="Freeform 10"/>
            <p:cNvSpPr>
              <a:spLocks/>
            </p:cNvSpPr>
            <p:nvPr/>
          </p:nvSpPr>
          <p:spPr bwMode="black">
            <a:xfrm>
              <a:off x="3902076" y="2506663"/>
              <a:ext cx="101600" cy="123825"/>
            </a:xfrm>
            <a:custGeom>
              <a:avLst/>
              <a:gdLst>
                <a:gd name="T0" fmla="*/ 36 w 64"/>
                <a:gd name="T1" fmla="*/ 78 h 78"/>
                <a:gd name="T2" fmla="*/ 64 w 64"/>
                <a:gd name="T3" fmla="*/ 64 h 78"/>
                <a:gd name="T4" fmla="*/ 26 w 64"/>
                <a:gd name="T5" fmla="*/ 0 h 78"/>
                <a:gd name="T6" fmla="*/ 0 w 64"/>
                <a:gd name="T7" fmla="*/ 17 h 78"/>
                <a:gd name="T8" fmla="*/ 36 w 64"/>
                <a:gd name="T9" fmla="*/ 78 h 78"/>
              </a:gdLst>
              <a:ahLst/>
              <a:cxnLst>
                <a:cxn ang="0">
                  <a:pos x="T0" y="T1"/>
                </a:cxn>
                <a:cxn ang="0">
                  <a:pos x="T2" y="T3"/>
                </a:cxn>
                <a:cxn ang="0">
                  <a:pos x="T4" y="T5"/>
                </a:cxn>
                <a:cxn ang="0">
                  <a:pos x="T6" y="T7"/>
                </a:cxn>
                <a:cxn ang="0">
                  <a:pos x="T8" y="T9"/>
                </a:cxn>
              </a:cxnLst>
              <a:rect l="0" t="0" r="r" b="b"/>
              <a:pathLst>
                <a:path w="64" h="78">
                  <a:moveTo>
                    <a:pt x="36" y="78"/>
                  </a:moveTo>
                  <a:lnTo>
                    <a:pt x="64" y="64"/>
                  </a:lnTo>
                  <a:lnTo>
                    <a:pt x="26" y="0"/>
                  </a:lnTo>
                  <a:lnTo>
                    <a:pt x="0" y="17"/>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69" name="Freeform 11"/>
            <p:cNvSpPr>
              <a:spLocks/>
            </p:cNvSpPr>
            <p:nvPr/>
          </p:nvSpPr>
          <p:spPr bwMode="black">
            <a:xfrm>
              <a:off x="4017963" y="2709863"/>
              <a:ext cx="98425" cy="123825"/>
            </a:xfrm>
            <a:custGeom>
              <a:avLst/>
              <a:gdLst>
                <a:gd name="T0" fmla="*/ 36 w 62"/>
                <a:gd name="T1" fmla="*/ 78 h 78"/>
                <a:gd name="T2" fmla="*/ 62 w 62"/>
                <a:gd name="T3" fmla="*/ 61 h 78"/>
                <a:gd name="T4" fmla="*/ 26 w 62"/>
                <a:gd name="T5" fmla="*/ 0 h 78"/>
                <a:gd name="T6" fmla="*/ 0 w 62"/>
                <a:gd name="T7" fmla="*/ 14 h 78"/>
                <a:gd name="T8" fmla="*/ 36 w 62"/>
                <a:gd name="T9" fmla="*/ 78 h 78"/>
              </a:gdLst>
              <a:ahLst/>
              <a:cxnLst>
                <a:cxn ang="0">
                  <a:pos x="T0" y="T1"/>
                </a:cxn>
                <a:cxn ang="0">
                  <a:pos x="T2" y="T3"/>
                </a:cxn>
                <a:cxn ang="0">
                  <a:pos x="T4" y="T5"/>
                </a:cxn>
                <a:cxn ang="0">
                  <a:pos x="T6" y="T7"/>
                </a:cxn>
                <a:cxn ang="0">
                  <a:pos x="T8" y="T9"/>
                </a:cxn>
              </a:cxnLst>
              <a:rect l="0" t="0" r="r" b="b"/>
              <a:pathLst>
                <a:path w="62" h="78">
                  <a:moveTo>
                    <a:pt x="36" y="78"/>
                  </a:moveTo>
                  <a:lnTo>
                    <a:pt x="62" y="61"/>
                  </a:lnTo>
                  <a:lnTo>
                    <a:pt x="26" y="0"/>
                  </a:lnTo>
                  <a:lnTo>
                    <a:pt x="0" y="14"/>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70" name="Freeform 12"/>
            <p:cNvSpPr>
              <a:spLocks/>
            </p:cNvSpPr>
            <p:nvPr/>
          </p:nvSpPr>
          <p:spPr bwMode="black">
            <a:xfrm>
              <a:off x="4873626" y="2709863"/>
              <a:ext cx="98425" cy="123825"/>
            </a:xfrm>
            <a:custGeom>
              <a:avLst/>
              <a:gdLst>
                <a:gd name="T0" fmla="*/ 26 w 62"/>
                <a:gd name="T1" fmla="*/ 78 h 78"/>
                <a:gd name="T2" fmla="*/ 62 w 62"/>
                <a:gd name="T3" fmla="*/ 14 h 78"/>
                <a:gd name="T4" fmla="*/ 36 w 62"/>
                <a:gd name="T5" fmla="*/ 0 h 78"/>
                <a:gd name="T6" fmla="*/ 0 w 62"/>
                <a:gd name="T7" fmla="*/ 61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4"/>
                  </a:lnTo>
                  <a:lnTo>
                    <a:pt x="36" y="0"/>
                  </a:lnTo>
                  <a:lnTo>
                    <a:pt x="0" y="61"/>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71" name="Freeform 13"/>
            <p:cNvSpPr>
              <a:spLocks/>
            </p:cNvSpPr>
            <p:nvPr/>
          </p:nvSpPr>
          <p:spPr bwMode="black">
            <a:xfrm>
              <a:off x="4989513" y="2506663"/>
              <a:ext cx="98425" cy="123825"/>
            </a:xfrm>
            <a:custGeom>
              <a:avLst/>
              <a:gdLst>
                <a:gd name="T0" fmla="*/ 26 w 62"/>
                <a:gd name="T1" fmla="*/ 78 h 78"/>
                <a:gd name="T2" fmla="*/ 62 w 62"/>
                <a:gd name="T3" fmla="*/ 17 h 78"/>
                <a:gd name="T4" fmla="*/ 36 w 62"/>
                <a:gd name="T5" fmla="*/ 0 h 78"/>
                <a:gd name="T6" fmla="*/ 0 w 62"/>
                <a:gd name="T7" fmla="*/ 64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7"/>
                  </a:lnTo>
                  <a:lnTo>
                    <a:pt x="36" y="0"/>
                  </a:lnTo>
                  <a:lnTo>
                    <a:pt x="0" y="64"/>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72" name="Freeform 14"/>
            <p:cNvSpPr>
              <a:spLocks/>
            </p:cNvSpPr>
            <p:nvPr/>
          </p:nvSpPr>
          <p:spPr bwMode="black">
            <a:xfrm>
              <a:off x="4017963" y="3990976"/>
              <a:ext cx="98425" cy="123825"/>
            </a:xfrm>
            <a:custGeom>
              <a:avLst/>
              <a:gdLst>
                <a:gd name="T0" fmla="*/ 0 w 62"/>
                <a:gd name="T1" fmla="*/ 64 h 78"/>
                <a:gd name="T2" fmla="*/ 26 w 62"/>
                <a:gd name="T3" fmla="*/ 78 h 78"/>
                <a:gd name="T4" fmla="*/ 62 w 62"/>
                <a:gd name="T5" fmla="*/ 14 h 78"/>
                <a:gd name="T6" fmla="*/ 36 w 62"/>
                <a:gd name="T7" fmla="*/ 0 h 78"/>
                <a:gd name="T8" fmla="*/ 0 w 62"/>
                <a:gd name="T9" fmla="*/ 64 h 78"/>
              </a:gdLst>
              <a:ahLst/>
              <a:cxnLst>
                <a:cxn ang="0">
                  <a:pos x="T0" y="T1"/>
                </a:cxn>
                <a:cxn ang="0">
                  <a:pos x="T2" y="T3"/>
                </a:cxn>
                <a:cxn ang="0">
                  <a:pos x="T4" y="T5"/>
                </a:cxn>
                <a:cxn ang="0">
                  <a:pos x="T6" y="T7"/>
                </a:cxn>
                <a:cxn ang="0">
                  <a:pos x="T8" y="T9"/>
                </a:cxn>
              </a:cxnLst>
              <a:rect l="0" t="0" r="r" b="b"/>
              <a:pathLst>
                <a:path w="62" h="78">
                  <a:moveTo>
                    <a:pt x="0" y="64"/>
                  </a:moveTo>
                  <a:lnTo>
                    <a:pt x="26" y="78"/>
                  </a:lnTo>
                  <a:lnTo>
                    <a:pt x="62" y="14"/>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73" name="Freeform 15"/>
            <p:cNvSpPr>
              <a:spLocks/>
            </p:cNvSpPr>
            <p:nvPr/>
          </p:nvSpPr>
          <p:spPr bwMode="black">
            <a:xfrm>
              <a:off x="3902076" y="4189413"/>
              <a:ext cx="101600" cy="128588"/>
            </a:xfrm>
            <a:custGeom>
              <a:avLst/>
              <a:gdLst>
                <a:gd name="T0" fmla="*/ 0 w 64"/>
                <a:gd name="T1" fmla="*/ 64 h 81"/>
                <a:gd name="T2" fmla="*/ 26 w 64"/>
                <a:gd name="T3" fmla="*/ 81 h 81"/>
                <a:gd name="T4" fmla="*/ 64 w 64"/>
                <a:gd name="T5" fmla="*/ 17 h 81"/>
                <a:gd name="T6" fmla="*/ 36 w 64"/>
                <a:gd name="T7" fmla="*/ 0 h 81"/>
                <a:gd name="T8" fmla="*/ 0 w 64"/>
                <a:gd name="T9" fmla="*/ 64 h 81"/>
              </a:gdLst>
              <a:ahLst/>
              <a:cxnLst>
                <a:cxn ang="0">
                  <a:pos x="T0" y="T1"/>
                </a:cxn>
                <a:cxn ang="0">
                  <a:pos x="T2" y="T3"/>
                </a:cxn>
                <a:cxn ang="0">
                  <a:pos x="T4" y="T5"/>
                </a:cxn>
                <a:cxn ang="0">
                  <a:pos x="T6" y="T7"/>
                </a:cxn>
                <a:cxn ang="0">
                  <a:pos x="T8" y="T9"/>
                </a:cxn>
              </a:cxnLst>
              <a:rect l="0" t="0" r="r" b="b"/>
              <a:pathLst>
                <a:path w="64" h="81">
                  <a:moveTo>
                    <a:pt x="0" y="64"/>
                  </a:moveTo>
                  <a:lnTo>
                    <a:pt x="26" y="81"/>
                  </a:lnTo>
                  <a:lnTo>
                    <a:pt x="64" y="17"/>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74" name="Freeform 16"/>
            <p:cNvSpPr>
              <a:spLocks/>
            </p:cNvSpPr>
            <p:nvPr/>
          </p:nvSpPr>
          <p:spPr bwMode="black">
            <a:xfrm>
              <a:off x="4989513" y="4189413"/>
              <a:ext cx="98425" cy="128588"/>
            </a:xfrm>
            <a:custGeom>
              <a:avLst/>
              <a:gdLst>
                <a:gd name="T0" fmla="*/ 26 w 62"/>
                <a:gd name="T1" fmla="*/ 0 h 81"/>
                <a:gd name="T2" fmla="*/ 0 w 62"/>
                <a:gd name="T3" fmla="*/ 17 h 81"/>
                <a:gd name="T4" fmla="*/ 36 w 62"/>
                <a:gd name="T5" fmla="*/ 81 h 81"/>
                <a:gd name="T6" fmla="*/ 62 w 62"/>
                <a:gd name="T7" fmla="*/ 64 h 81"/>
                <a:gd name="T8" fmla="*/ 26 w 62"/>
                <a:gd name="T9" fmla="*/ 0 h 81"/>
              </a:gdLst>
              <a:ahLst/>
              <a:cxnLst>
                <a:cxn ang="0">
                  <a:pos x="T0" y="T1"/>
                </a:cxn>
                <a:cxn ang="0">
                  <a:pos x="T2" y="T3"/>
                </a:cxn>
                <a:cxn ang="0">
                  <a:pos x="T4" y="T5"/>
                </a:cxn>
                <a:cxn ang="0">
                  <a:pos x="T6" y="T7"/>
                </a:cxn>
                <a:cxn ang="0">
                  <a:pos x="T8" y="T9"/>
                </a:cxn>
              </a:cxnLst>
              <a:rect l="0" t="0" r="r" b="b"/>
              <a:pathLst>
                <a:path w="62" h="81">
                  <a:moveTo>
                    <a:pt x="26" y="0"/>
                  </a:moveTo>
                  <a:lnTo>
                    <a:pt x="0" y="17"/>
                  </a:lnTo>
                  <a:lnTo>
                    <a:pt x="36" y="81"/>
                  </a:lnTo>
                  <a:lnTo>
                    <a:pt x="62" y="64"/>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75" name="Freeform 17"/>
            <p:cNvSpPr>
              <a:spLocks/>
            </p:cNvSpPr>
            <p:nvPr/>
          </p:nvSpPr>
          <p:spPr bwMode="black">
            <a:xfrm>
              <a:off x="4873626" y="3990976"/>
              <a:ext cx="98425" cy="123825"/>
            </a:xfrm>
            <a:custGeom>
              <a:avLst/>
              <a:gdLst>
                <a:gd name="T0" fmla="*/ 0 w 62"/>
                <a:gd name="T1" fmla="*/ 14 h 78"/>
                <a:gd name="T2" fmla="*/ 36 w 62"/>
                <a:gd name="T3" fmla="*/ 78 h 78"/>
                <a:gd name="T4" fmla="*/ 62 w 62"/>
                <a:gd name="T5" fmla="*/ 64 h 78"/>
                <a:gd name="T6" fmla="*/ 26 w 62"/>
                <a:gd name="T7" fmla="*/ 0 h 78"/>
                <a:gd name="T8" fmla="*/ 0 w 62"/>
                <a:gd name="T9" fmla="*/ 14 h 78"/>
              </a:gdLst>
              <a:ahLst/>
              <a:cxnLst>
                <a:cxn ang="0">
                  <a:pos x="T0" y="T1"/>
                </a:cxn>
                <a:cxn ang="0">
                  <a:pos x="T2" y="T3"/>
                </a:cxn>
                <a:cxn ang="0">
                  <a:pos x="T4" y="T5"/>
                </a:cxn>
                <a:cxn ang="0">
                  <a:pos x="T6" y="T7"/>
                </a:cxn>
                <a:cxn ang="0">
                  <a:pos x="T8" y="T9"/>
                </a:cxn>
              </a:cxnLst>
              <a:rect l="0" t="0" r="r" b="b"/>
              <a:pathLst>
                <a:path w="62" h="78">
                  <a:moveTo>
                    <a:pt x="0" y="14"/>
                  </a:moveTo>
                  <a:lnTo>
                    <a:pt x="36" y="78"/>
                  </a:lnTo>
                  <a:lnTo>
                    <a:pt x="62" y="64"/>
                  </a:lnTo>
                  <a:lnTo>
                    <a:pt x="26" y="0"/>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76" name="Freeform 18"/>
            <p:cNvSpPr>
              <a:spLocks/>
            </p:cNvSpPr>
            <p:nvPr/>
          </p:nvSpPr>
          <p:spPr bwMode="black">
            <a:xfrm>
              <a:off x="3579813" y="2892426"/>
              <a:ext cx="1833563" cy="1068388"/>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77" name="Freeform 19"/>
            <p:cNvSpPr>
              <a:spLocks noEditPoints="1"/>
            </p:cNvSpPr>
            <p:nvPr/>
          </p:nvSpPr>
          <p:spPr bwMode="black">
            <a:xfrm>
              <a:off x="3321051" y="1598613"/>
              <a:ext cx="750888" cy="522288"/>
            </a:xfrm>
            <a:custGeom>
              <a:avLst/>
              <a:gdLst>
                <a:gd name="T0" fmla="*/ 174 w 200"/>
                <a:gd name="T1" fmla="*/ 0 h 139"/>
                <a:gd name="T2" fmla="*/ 26 w 200"/>
                <a:gd name="T3" fmla="*/ 0 h 139"/>
                <a:gd name="T4" fmla="*/ 0 w 200"/>
                <a:gd name="T5" fmla="*/ 27 h 139"/>
                <a:gd name="T6" fmla="*/ 0 w 200"/>
                <a:gd name="T7" fmla="*/ 113 h 139"/>
                <a:gd name="T8" fmla="*/ 26 w 200"/>
                <a:gd name="T9" fmla="*/ 139 h 139"/>
                <a:gd name="T10" fmla="*/ 174 w 200"/>
                <a:gd name="T11" fmla="*/ 139 h 139"/>
                <a:gd name="T12" fmla="*/ 200 w 200"/>
                <a:gd name="T13" fmla="*/ 113 h 139"/>
                <a:gd name="T14" fmla="*/ 200 w 200"/>
                <a:gd name="T15" fmla="*/ 27 h 139"/>
                <a:gd name="T16" fmla="*/ 174 w 200"/>
                <a:gd name="T17" fmla="*/ 0 h 139"/>
                <a:gd name="T18" fmla="*/ 185 w 200"/>
                <a:gd name="T19" fmla="*/ 113 h 139"/>
                <a:gd name="T20" fmla="*/ 174 w 200"/>
                <a:gd name="T21" fmla="*/ 124 h 139"/>
                <a:gd name="T22" fmla="*/ 26 w 200"/>
                <a:gd name="T23" fmla="*/ 124 h 139"/>
                <a:gd name="T24" fmla="*/ 15 w 200"/>
                <a:gd name="T25" fmla="*/ 113 h 139"/>
                <a:gd name="T26" fmla="*/ 15 w 200"/>
                <a:gd name="T27" fmla="*/ 27 h 139"/>
                <a:gd name="T28" fmla="*/ 26 w 200"/>
                <a:gd name="T29" fmla="*/ 16 h 139"/>
                <a:gd name="T30" fmla="*/ 174 w 200"/>
                <a:gd name="T31" fmla="*/ 16 h 139"/>
                <a:gd name="T32" fmla="*/ 185 w 200"/>
                <a:gd name="T33" fmla="*/ 27 h 139"/>
                <a:gd name="T34" fmla="*/ 185 w 200"/>
                <a:gd name="T35" fmla="*/ 11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39">
                  <a:moveTo>
                    <a:pt x="174" y="0"/>
                  </a:moveTo>
                  <a:cubicBezTo>
                    <a:pt x="26" y="0"/>
                    <a:pt x="26" y="0"/>
                    <a:pt x="26" y="0"/>
                  </a:cubicBezTo>
                  <a:cubicBezTo>
                    <a:pt x="12" y="0"/>
                    <a:pt x="0" y="12"/>
                    <a:pt x="0" y="27"/>
                  </a:cubicBezTo>
                  <a:cubicBezTo>
                    <a:pt x="0" y="113"/>
                    <a:pt x="0" y="113"/>
                    <a:pt x="0" y="113"/>
                  </a:cubicBezTo>
                  <a:cubicBezTo>
                    <a:pt x="0" y="127"/>
                    <a:pt x="12" y="139"/>
                    <a:pt x="26" y="139"/>
                  </a:cubicBezTo>
                  <a:cubicBezTo>
                    <a:pt x="174" y="139"/>
                    <a:pt x="174" y="139"/>
                    <a:pt x="174" y="139"/>
                  </a:cubicBezTo>
                  <a:cubicBezTo>
                    <a:pt x="188" y="139"/>
                    <a:pt x="200" y="127"/>
                    <a:pt x="200" y="113"/>
                  </a:cubicBezTo>
                  <a:cubicBezTo>
                    <a:pt x="200" y="27"/>
                    <a:pt x="200" y="27"/>
                    <a:pt x="200" y="27"/>
                  </a:cubicBezTo>
                  <a:cubicBezTo>
                    <a:pt x="200" y="12"/>
                    <a:pt x="188" y="0"/>
                    <a:pt x="174" y="0"/>
                  </a:cubicBezTo>
                  <a:moveTo>
                    <a:pt x="185" y="113"/>
                  </a:moveTo>
                  <a:cubicBezTo>
                    <a:pt x="185" y="119"/>
                    <a:pt x="180" y="124"/>
                    <a:pt x="174" y="124"/>
                  </a:cubicBezTo>
                  <a:cubicBezTo>
                    <a:pt x="26" y="124"/>
                    <a:pt x="26" y="124"/>
                    <a:pt x="26" y="124"/>
                  </a:cubicBezTo>
                  <a:cubicBezTo>
                    <a:pt x="20" y="124"/>
                    <a:pt x="15" y="119"/>
                    <a:pt x="15" y="113"/>
                  </a:cubicBezTo>
                  <a:cubicBezTo>
                    <a:pt x="15" y="27"/>
                    <a:pt x="15" y="27"/>
                    <a:pt x="15" y="27"/>
                  </a:cubicBezTo>
                  <a:cubicBezTo>
                    <a:pt x="15" y="21"/>
                    <a:pt x="20" y="16"/>
                    <a:pt x="26" y="16"/>
                  </a:cubicBezTo>
                  <a:cubicBezTo>
                    <a:pt x="174" y="16"/>
                    <a:pt x="174" y="16"/>
                    <a:pt x="174" y="16"/>
                  </a:cubicBezTo>
                  <a:cubicBezTo>
                    <a:pt x="180" y="16"/>
                    <a:pt x="185" y="21"/>
                    <a:pt x="185" y="27"/>
                  </a:cubicBezTo>
                  <a:lnTo>
                    <a:pt x="185" y="1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78" name="Freeform 20"/>
            <p:cNvSpPr>
              <a:spLocks/>
            </p:cNvSpPr>
            <p:nvPr/>
          </p:nvSpPr>
          <p:spPr bwMode="black">
            <a:xfrm>
              <a:off x="3178176" y="2154238"/>
              <a:ext cx="1035050" cy="239713"/>
            </a:xfrm>
            <a:custGeom>
              <a:avLst/>
              <a:gdLst>
                <a:gd name="T0" fmla="*/ 7 w 276"/>
                <a:gd name="T1" fmla="*/ 64 h 64"/>
                <a:gd name="T2" fmla="*/ 269 w 276"/>
                <a:gd name="T3" fmla="*/ 64 h 64"/>
                <a:gd name="T4" fmla="*/ 276 w 276"/>
                <a:gd name="T5" fmla="*/ 57 h 64"/>
                <a:gd name="T6" fmla="*/ 276 w 276"/>
                <a:gd name="T7" fmla="*/ 54 h 64"/>
                <a:gd name="T8" fmla="*/ 272 w 276"/>
                <a:gd name="T9" fmla="*/ 42 h 64"/>
                <a:gd name="T10" fmla="*/ 240 w 276"/>
                <a:gd name="T11" fmla="*/ 5 h 64"/>
                <a:gd name="T12" fmla="*/ 229 w 276"/>
                <a:gd name="T13" fmla="*/ 0 h 64"/>
                <a:gd name="T14" fmla="*/ 47 w 276"/>
                <a:gd name="T15" fmla="*/ 0 h 64"/>
                <a:gd name="T16" fmla="*/ 36 w 276"/>
                <a:gd name="T17" fmla="*/ 5 h 64"/>
                <a:gd name="T18" fmla="*/ 4 w 276"/>
                <a:gd name="T19" fmla="*/ 42 h 64"/>
                <a:gd name="T20" fmla="*/ 0 w 276"/>
                <a:gd name="T21" fmla="*/ 54 h 64"/>
                <a:gd name="T22" fmla="*/ 0 w 276"/>
                <a:gd name="T23" fmla="*/ 57 h 64"/>
                <a:gd name="T24" fmla="*/ 7 w 27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6" h="64">
                  <a:moveTo>
                    <a:pt x="7" y="64"/>
                  </a:moveTo>
                  <a:cubicBezTo>
                    <a:pt x="269" y="64"/>
                    <a:pt x="269" y="64"/>
                    <a:pt x="269" y="64"/>
                  </a:cubicBezTo>
                  <a:cubicBezTo>
                    <a:pt x="273" y="64"/>
                    <a:pt x="276" y="61"/>
                    <a:pt x="276" y="57"/>
                  </a:cubicBezTo>
                  <a:cubicBezTo>
                    <a:pt x="276" y="54"/>
                    <a:pt x="276" y="54"/>
                    <a:pt x="276" y="54"/>
                  </a:cubicBezTo>
                  <a:cubicBezTo>
                    <a:pt x="276" y="50"/>
                    <a:pt x="274" y="45"/>
                    <a:pt x="272" y="42"/>
                  </a:cubicBezTo>
                  <a:cubicBezTo>
                    <a:pt x="240" y="5"/>
                    <a:pt x="240" y="5"/>
                    <a:pt x="240" y="5"/>
                  </a:cubicBezTo>
                  <a:cubicBezTo>
                    <a:pt x="238" y="2"/>
                    <a:pt x="233" y="0"/>
                    <a:pt x="229" y="0"/>
                  </a:cubicBezTo>
                  <a:cubicBezTo>
                    <a:pt x="47" y="0"/>
                    <a:pt x="47" y="0"/>
                    <a:pt x="47" y="0"/>
                  </a:cubicBezTo>
                  <a:cubicBezTo>
                    <a:pt x="43" y="0"/>
                    <a:pt x="38" y="2"/>
                    <a:pt x="36" y="5"/>
                  </a:cubicBezTo>
                  <a:cubicBezTo>
                    <a:pt x="4" y="42"/>
                    <a:pt x="4" y="42"/>
                    <a:pt x="4" y="42"/>
                  </a:cubicBezTo>
                  <a:cubicBezTo>
                    <a:pt x="2" y="45"/>
                    <a:pt x="0" y="50"/>
                    <a:pt x="0" y="54"/>
                  </a:cubicBezTo>
                  <a:cubicBezTo>
                    <a:pt x="0" y="57"/>
                    <a:pt x="0" y="57"/>
                    <a:pt x="0" y="57"/>
                  </a:cubicBezTo>
                  <a:cubicBezTo>
                    <a:pt x="0" y="61"/>
                    <a:pt x="3" y="64"/>
                    <a:pt x="7"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79" name="Freeform 21"/>
            <p:cNvSpPr>
              <a:spLocks noEditPoints="1"/>
            </p:cNvSpPr>
            <p:nvPr/>
          </p:nvSpPr>
          <p:spPr bwMode="black">
            <a:xfrm>
              <a:off x="4730751" y="1639888"/>
              <a:ext cx="781050" cy="608013"/>
            </a:xfrm>
            <a:custGeom>
              <a:avLst/>
              <a:gdLst>
                <a:gd name="T0" fmla="*/ 177 w 208"/>
                <a:gd name="T1" fmla="*/ 0 h 162"/>
                <a:gd name="T2" fmla="*/ 31 w 208"/>
                <a:gd name="T3" fmla="*/ 0 h 162"/>
                <a:gd name="T4" fmla="*/ 0 w 208"/>
                <a:gd name="T5" fmla="*/ 31 h 162"/>
                <a:gd name="T6" fmla="*/ 0 w 208"/>
                <a:gd name="T7" fmla="*/ 131 h 162"/>
                <a:gd name="T8" fmla="*/ 31 w 208"/>
                <a:gd name="T9" fmla="*/ 162 h 162"/>
                <a:gd name="T10" fmla="*/ 177 w 208"/>
                <a:gd name="T11" fmla="*/ 162 h 162"/>
                <a:gd name="T12" fmla="*/ 208 w 208"/>
                <a:gd name="T13" fmla="*/ 131 h 162"/>
                <a:gd name="T14" fmla="*/ 208 w 208"/>
                <a:gd name="T15" fmla="*/ 31 h 162"/>
                <a:gd name="T16" fmla="*/ 177 w 208"/>
                <a:gd name="T17" fmla="*/ 0 h 162"/>
                <a:gd name="T18" fmla="*/ 190 w 208"/>
                <a:gd name="T19" fmla="*/ 131 h 162"/>
                <a:gd name="T20" fmla="*/ 177 w 208"/>
                <a:gd name="T21" fmla="*/ 144 h 162"/>
                <a:gd name="T22" fmla="*/ 31 w 208"/>
                <a:gd name="T23" fmla="*/ 144 h 162"/>
                <a:gd name="T24" fmla="*/ 18 w 208"/>
                <a:gd name="T25" fmla="*/ 131 h 162"/>
                <a:gd name="T26" fmla="*/ 18 w 208"/>
                <a:gd name="T27" fmla="*/ 31 h 162"/>
                <a:gd name="T28" fmla="*/ 31 w 208"/>
                <a:gd name="T29" fmla="*/ 18 h 162"/>
                <a:gd name="T30" fmla="*/ 177 w 208"/>
                <a:gd name="T31" fmla="*/ 18 h 162"/>
                <a:gd name="T32" fmla="*/ 190 w 208"/>
                <a:gd name="T33" fmla="*/ 31 h 162"/>
                <a:gd name="T34" fmla="*/ 190 w 208"/>
                <a:gd name="T35" fmla="*/ 13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 h="162">
                  <a:moveTo>
                    <a:pt x="177" y="0"/>
                  </a:moveTo>
                  <a:cubicBezTo>
                    <a:pt x="31" y="0"/>
                    <a:pt x="31" y="0"/>
                    <a:pt x="31" y="0"/>
                  </a:cubicBezTo>
                  <a:cubicBezTo>
                    <a:pt x="14" y="0"/>
                    <a:pt x="0" y="14"/>
                    <a:pt x="0" y="31"/>
                  </a:cubicBezTo>
                  <a:cubicBezTo>
                    <a:pt x="0" y="131"/>
                    <a:pt x="0" y="131"/>
                    <a:pt x="0" y="131"/>
                  </a:cubicBezTo>
                  <a:cubicBezTo>
                    <a:pt x="0" y="148"/>
                    <a:pt x="14" y="162"/>
                    <a:pt x="31" y="162"/>
                  </a:cubicBezTo>
                  <a:cubicBezTo>
                    <a:pt x="177" y="162"/>
                    <a:pt x="177" y="162"/>
                    <a:pt x="177" y="162"/>
                  </a:cubicBezTo>
                  <a:cubicBezTo>
                    <a:pt x="194" y="162"/>
                    <a:pt x="208" y="148"/>
                    <a:pt x="208" y="131"/>
                  </a:cubicBezTo>
                  <a:cubicBezTo>
                    <a:pt x="208" y="31"/>
                    <a:pt x="208" y="31"/>
                    <a:pt x="208" y="31"/>
                  </a:cubicBezTo>
                  <a:cubicBezTo>
                    <a:pt x="208" y="14"/>
                    <a:pt x="194" y="0"/>
                    <a:pt x="177" y="0"/>
                  </a:cubicBezTo>
                  <a:moveTo>
                    <a:pt x="190" y="131"/>
                  </a:moveTo>
                  <a:cubicBezTo>
                    <a:pt x="190" y="138"/>
                    <a:pt x="184" y="144"/>
                    <a:pt x="177" y="144"/>
                  </a:cubicBezTo>
                  <a:cubicBezTo>
                    <a:pt x="31" y="144"/>
                    <a:pt x="31" y="144"/>
                    <a:pt x="31" y="144"/>
                  </a:cubicBezTo>
                  <a:cubicBezTo>
                    <a:pt x="24" y="144"/>
                    <a:pt x="18" y="138"/>
                    <a:pt x="18" y="131"/>
                  </a:cubicBezTo>
                  <a:cubicBezTo>
                    <a:pt x="18" y="31"/>
                    <a:pt x="18" y="31"/>
                    <a:pt x="18" y="31"/>
                  </a:cubicBezTo>
                  <a:cubicBezTo>
                    <a:pt x="18" y="24"/>
                    <a:pt x="24" y="18"/>
                    <a:pt x="31" y="18"/>
                  </a:cubicBezTo>
                  <a:cubicBezTo>
                    <a:pt x="177" y="18"/>
                    <a:pt x="177" y="18"/>
                    <a:pt x="177" y="18"/>
                  </a:cubicBezTo>
                  <a:cubicBezTo>
                    <a:pt x="184" y="18"/>
                    <a:pt x="190" y="24"/>
                    <a:pt x="190" y="31"/>
                  </a:cubicBezTo>
                  <a:lnTo>
                    <a:pt x="190" y="1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80" name="Freeform 22"/>
            <p:cNvSpPr>
              <a:spLocks/>
            </p:cNvSpPr>
            <p:nvPr/>
          </p:nvSpPr>
          <p:spPr bwMode="black">
            <a:xfrm>
              <a:off x="4911726" y="2289176"/>
              <a:ext cx="419100" cy="104775"/>
            </a:xfrm>
            <a:custGeom>
              <a:avLst/>
              <a:gdLst>
                <a:gd name="T0" fmla="*/ 112 w 112"/>
                <a:gd name="T1" fmla="*/ 25 h 28"/>
                <a:gd name="T2" fmla="*/ 112 w 112"/>
                <a:gd name="T3" fmla="*/ 23 h 28"/>
                <a:gd name="T4" fmla="*/ 110 w 112"/>
                <a:gd name="T5" fmla="*/ 18 h 28"/>
                <a:gd name="T6" fmla="*/ 96 w 112"/>
                <a:gd name="T7" fmla="*/ 2 h 28"/>
                <a:gd name="T8" fmla="*/ 91 w 112"/>
                <a:gd name="T9" fmla="*/ 0 h 28"/>
                <a:gd name="T10" fmla="*/ 21 w 112"/>
                <a:gd name="T11" fmla="*/ 0 h 28"/>
                <a:gd name="T12" fmla="*/ 16 w 112"/>
                <a:gd name="T13" fmla="*/ 2 h 28"/>
                <a:gd name="T14" fmla="*/ 2 w 112"/>
                <a:gd name="T15" fmla="*/ 18 h 28"/>
                <a:gd name="T16" fmla="*/ 0 w 112"/>
                <a:gd name="T17" fmla="*/ 23 h 28"/>
                <a:gd name="T18" fmla="*/ 0 w 112"/>
                <a:gd name="T19" fmla="*/ 25 h 28"/>
                <a:gd name="T20" fmla="*/ 3 w 112"/>
                <a:gd name="T21" fmla="*/ 28 h 28"/>
                <a:gd name="T22" fmla="*/ 109 w 112"/>
                <a:gd name="T23" fmla="*/ 28 h 28"/>
                <a:gd name="T24" fmla="*/ 112 w 112"/>
                <a:gd name="T25"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28">
                  <a:moveTo>
                    <a:pt x="112" y="25"/>
                  </a:moveTo>
                  <a:cubicBezTo>
                    <a:pt x="112" y="23"/>
                    <a:pt x="112" y="23"/>
                    <a:pt x="112" y="23"/>
                  </a:cubicBezTo>
                  <a:cubicBezTo>
                    <a:pt x="112" y="22"/>
                    <a:pt x="111" y="20"/>
                    <a:pt x="110" y="18"/>
                  </a:cubicBezTo>
                  <a:cubicBezTo>
                    <a:pt x="96" y="2"/>
                    <a:pt x="96" y="2"/>
                    <a:pt x="96" y="2"/>
                  </a:cubicBezTo>
                  <a:cubicBezTo>
                    <a:pt x="95" y="1"/>
                    <a:pt x="93" y="0"/>
                    <a:pt x="91" y="0"/>
                  </a:cubicBezTo>
                  <a:cubicBezTo>
                    <a:pt x="21" y="0"/>
                    <a:pt x="21" y="0"/>
                    <a:pt x="21" y="0"/>
                  </a:cubicBezTo>
                  <a:cubicBezTo>
                    <a:pt x="19" y="0"/>
                    <a:pt x="17" y="1"/>
                    <a:pt x="16" y="2"/>
                  </a:cubicBezTo>
                  <a:cubicBezTo>
                    <a:pt x="2" y="18"/>
                    <a:pt x="2" y="18"/>
                    <a:pt x="2" y="18"/>
                  </a:cubicBezTo>
                  <a:cubicBezTo>
                    <a:pt x="1" y="20"/>
                    <a:pt x="0" y="22"/>
                    <a:pt x="0" y="23"/>
                  </a:cubicBezTo>
                  <a:cubicBezTo>
                    <a:pt x="0" y="25"/>
                    <a:pt x="0" y="25"/>
                    <a:pt x="0" y="25"/>
                  </a:cubicBezTo>
                  <a:cubicBezTo>
                    <a:pt x="0" y="26"/>
                    <a:pt x="1" y="28"/>
                    <a:pt x="3" y="28"/>
                  </a:cubicBezTo>
                  <a:cubicBezTo>
                    <a:pt x="109" y="28"/>
                    <a:pt x="109" y="28"/>
                    <a:pt x="109" y="28"/>
                  </a:cubicBezTo>
                  <a:cubicBezTo>
                    <a:pt x="111" y="28"/>
                    <a:pt x="112" y="26"/>
                    <a:pt x="112" y="2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81" name="Freeform 23"/>
            <p:cNvSpPr>
              <a:spLocks noEditPoints="1"/>
            </p:cNvSpPr>
            <p:nvPr/>
          </p:nvSpPr>
          <p:spPr bwMode="black">
            <a:xfrm>
              <a:off x="5586413" y="1639888"/>
              <a:ext cx="385763" cy="754063"/>
            </a:xfrm>
            <a:custGeom>
              <a:avLst/>
              <a:gdLst>
                <a:gd name="T0" fmla="*/ 89 w 103"/>
                <a:gd name="T1" fmla="*/ 0 h 201"/>
                <a:gd name="T2" fmla="*/ 13 w 103"/>
                <a:gd name="T3" fmla="*/ 0 h 201"/>
                <a:gd name="T4" fmla="*/ 0 w 103"/>
                <a:gd name="T5" fmla="*/ 13 h 201"/>
                <a:gd name="T6" fmla="*/ 0 w 103"/>
                <a:gd name="T7" fmla="*/ 187 h 201"/>
                <a:gd name="T8" fmla="*/ 13 w 103"/>
                <a:gd name="T9" fmla="*/ 201 h 201"/>
                <a:gd name="T10" fmla="*/ 89 w 103"/>
                <a:gd name="T11" fmla="*/ 201 h 201"/>
                <a:gd name="T12" fmla="*/ 103 w 103"/>
                <a:gd name="T13" fmla="*/ 187 h 201"/>
                <a:gd name="T14" fmla="*/ 103 w 103"/>
                <a:gd name="T15" fmla="*/ 13 h 201"/>
                <a:gd name="T16" fmla="*/ 89 w 103"/>
                <a:gd name="T17" fmla="*/ 0 h 201"/>
                <a:gd name="T18" fmla="*/ 52 w 103"/>
                <a:gd name="T19" fmla="*/ 187 h 201"/>
                <a:gd name="T20" fmla="*/ 40 w 103"/>
                <a:gd name="T21" fmla="*/ 175 h 201"/>
                <a:gd name="T22" fmla="*/ 52 w 103"/>
                <a:gd name="T23" fmla="*/ 163 h 201"/>
                <a:gd name="T24" fmla="*/ 63 w 103"/>
                <a:gd name="T25" fmla="*/ 175 h 201"/>
                <a:gd name="T26" fmla="*/ 52 w 103"/>
                <a:gd name="T27" fmla="*/ 18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201">
                  <a:moveTo>
                    <a:pt x="89" y="0"/>
                  </a:moveTo>
                  <a:cubicBezTo>
                    <a:pt x="13" y="0"/>
                    <a:pt x="13" y="0"/>
                    <a:pt x="13" y="0"/>
                  </a:cubicBezTo>
                  <a:cubicBezTo>
                    <a:pt x="6" y="0"/>
                    <a:pt x="0" y="6"/>
                    <a:pt x="0" y="13"/>
                  </a:cubicBezTo>
                  <a:cubicBezTo>
                    <a:pt x="0" y="187"/>
                    <a:pt x="0" y="187"/>
                    <a:pt x="0" y="187"/>
                  </a:cubicBezTo>
                  <a:cubicBezTo>
                    <a:pt x="0" y="195"/>
                    <a:pt x="6" y="201"/>
                    <a:pt x="13" y="201"/>
                  </a:cubicBezTo>
                  <a:cubicBezTo>
                    <a:pt x="89" y="201"/>
                    <a:pt x="89" y="201"/>
                    <a:pt x="89" y="201"/>
                  </a:cubicBezTo>
                  <a:cubicBezTo>
                    <a:pt x="97" y="201"/>
                    <a:pt x="103" y="195"/>
                    <a:pt x="103" y="187"/>
                  </a:cubicBezTo>
                  <a:cubicBezTo>
                    <a:pt x="103" y="13"/>
                    <a:pt x="103" y="13"/>
                    <a:pt x="103" y="13"/>
                  </a:cubicBezTo>
                  <a:cubicBezTo>
                    <a:pt x="103" y="6"/>
                    <a:pt x="97" y="0"/>
                    <a:pt x="89" y="0"/>
                  </a:cubicBezTo>
                  <a:moveTo>
                    <a:pt x="52" y="187"/>
                  </a:moveTo>
                  <a:cubicBezTo>
                    <a:pt x="45" y="187"/>
                    <a:pt x="40" y="181"/>
                    <a:pt x="40" y="175"/>
                  </a:cubicBezTo>
                  <a:cubicBezTo>
                    <a:pt x="40" y="168"/>
                    <a:pt x="45" y="163"/>
                    <a:pt x="52" y="163"/>
                  </a:cubicBezTo>
                  <a:cubicBezTo>
                    <a:pt x="58" y="163"/>
                    <a:pt x="63" y="168"/>
                    <a:pt x="63" y="175"/>
                  </a:cubicBezTo>
                  <a:cubicBezTo>
                    <a:pt x="63" y="181"/>
                    <a:pt x="58" y="187"/>
                    <a:pt x="52" y="18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82" name="Freeform 24"/>
            <p:cNvSpPr>
              <a:spLocks noEditPoints="1"/>
            </p:cNvSpPr>
            <p:nvPr/>
          </p:nvSpPr>
          <p:spPr bwMode="black">
            <a:xfrm>
              <a:off x="2462213" y="3032126"/>
              <a:ext cx="525463" cy="804863"/>
            </a:xfrm>
            <a:custGeom>
              <a:avLst/>
              <a:gdLst>
                <a:gd name="T0" fmla="*/ 109 w 140"/>
                <a:gd name="T1" fmla="*/ 0 h 215"/>
                <a:gd name="T2" fmla="*/ 31 w 140"/>
                <a:gd name="T3" fmla="*/ 0 h 215"/>
                <a:gd name="T4" fmla="*/ 0 w 140"/>
                <a:gd name="T5" fmla="*/ 30 h 215"/>
                <a:gd name="T6" fmla="*/ 0 w 140"/>
                <a:gd name="T7" fmla="*/ 184 h 215"/>
                <a:gd name="T8" fmla="*/ 31 w 140"/>
                <a:gd name="T9" fmla="*/ 215 h 215"/>
                <a:gd name="T10" fmla="*/ 109 w 140"/>
                <a:gd name="T11" fmla="*/ 215 h 215"/>
                <a:gd name="T12" fmla="*/ 140 w 140"/>
                <a:gd name="T13" fmla="*/ 184 h 215"/>
                <a:gd name="T14" fmla="*/ 140 w 140"/>
                <a:gd name="T15" fmla="*/ 30 h 215"/>
                <a:gd name="T16" fmla="*/ 109 w 140"/>
                <a:gd name="T17" fmla="*/ 0 h 215"/>
                <a:gd name="T18" fmla="*/ 122 w 140"/>
                <a:gd name="T19" fmla="*/ 177 h 215"/>
                <a:gd name="T20" fmla="*/ 109 w 140"/>
                <a:gd name="T21" fmla="*/ 195 h 215"/>
                <a:gd name="T22" fmla="*/ 31 w 140"/>
                <a:gd name="T23" fmla="*/ 195 h 215"/>
                <a:gd name="T24" fmla="*/ 18 w 140"/>
                <a:gd name="T25" fmla="*/ 177 h 215"/>
                <a:gd name="T26" fmla="*/ 18 w 140"/>
                <a:gd name="T27" fmla="*/ 35 h 215"/>
                <a:gd name="T28" fmla="*/ 31 w 140"/>
                <a:gd name="T29" fmla="*/ 18 h 215"/>
                <a:gd name="T30" fmla="*/ 109 w 140"/>
                <a:gd name="T31" fmla="*/ 18 h 215"/>
                <a:gd name="T32" fmla="*/ 122 w 140"/>
                <a:gd name="T33" fmla="*/ 35 h 215"/>
                <a:gd name="T34" fmla="*/ 122 w 140"/>
                <a:gd name="T35" fmla="*/ 17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215">
                  <a:moveTo>
                    <a:pt x="109" y="0"/>
                  </a:moveTo>
                  <a:cubicBezTo>
                    <a:pt x="31" y="0"/>
                    <a:pt x="31" y="0"/>
                    <a:pt x="31" y="0"/>
                  </a:cubicBezTo>
                  <a:cubicBezTo>
                    <a:pt x="14" y="0"/>
                    <a:pt x="0" y="13"/>
                    <a:pt x="0" y="30"/>
                  </a:cubicBezTo>
                  <a:cubicBezTo>
                    <a:pt x="0" y="184"/>
                    <a:pt x="0" y="184"/>
                    <a:pt x="0" y="184"/>
                  </a:cubicBezTo>
                  <a:cubicBezTo>
                    <a:pt x="0" y="201"/>
                    <a:pt x="14" y="215"/>
                    <a:pt x="31" y="215"/>
                  </a:cubicBezTo>
                  <a:cubicBezTo>
                    <a:pt x="109" y="215"/>
                    <a:pt x="109" y="215"/>
                    <a:pt x="109" y="215"/>
                  </a:cubicBezTo>
                  <a:cubicBezTo>
                    <a:pt x="126" y="215"/>
                    <a:pt x="140" y="201"/>
                    <a:pt x="140" y="184"/>
                  </a:cubicBezTo>
                  <a:cubicBezTo>
                    <a:pt x="140" y="30"/>
                    <a:pt x="140" y="30"/>
                    <a:pt x="140" y="30"/>
                  </a:cubicBezTo>
                  <a:cubicBezTo>
                    <a:pt x="140" y="13"/>
                    <a:pt x="126" y="0"/>
                    <a:pt x="109" y="0"/>
                  </a:cubicBezTo>
                  <a:moveTo>
                    <a:pt x="122" y="177"/>
                  </a:moveTo>
                  <a:cubicBezTo>
                    <a:pt x="122" y="187"/>
                    <a:pt x="116" y="195"/>
                    <a:pt x="109" y="195"/>
                  </a:cubicBezTo>
                  <a:cubicBezTo>
                    <a:pt x="31" y="195"/>
                    <a:pt x="31" y="195"/>
                    <a:pt x="31" y="195"/>
                  </a:cubicBezTo>
                  <a:cubicBezTo>
                    <a:pt x="24" y="195"/>
                    <a:pt x="18" y="187"/>
                    <a:pt x="18" y="177"/>
                  </a:cubicBezTo>
                  <a:cubicBezTo>
                    <a:pt x="18" y="35"/>
                    <a:pt x="18" y="35"/>
                    <a:pt x="18" y="35"/>
                  </a:cubicBezTo>
                  <a:cubicBezTo>
                    <a:pt x="18" y="26"/>
                    <a:pt x="24" y="18"/>
                    <a:pt x="31" y="18"/>
                  </a:cubicBezTo>
                  <a:cubicBezTo>
                    <a:pt x="109" y="18"/>
                    <a:pt x="109" y="18"/>
                    <a:pt x="109" y="18"/>
                  </a:cubicBezTo>
                  <a:cubicBezTo>
                    <a:pt x="116" y="18"/>
                    <a:pt x="122" y="26"/>
                    <a:pt x="122" y="35"/>
                  </a:cubicBezTo>
                  <a:lnTo>
                    <a:pt x="122" y="1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83" name="Freeform 25"/>
            <p:cNvSpPr>
              <a:spLocks noEditPoints="1"/>
            </p:cNvSpPr>
            <p:nvPr/>
          </p:nvSpPr>
          <p:spPr bwMode="black">
            <a:xfrm>
              <a:off x="5049838" y="4411663"/>
              <a:ext cx="739775" cy="854075"/>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84" name="Freeform 26"/>
            <p:cNvSpPr>
              <a:spLocks noEditPoints="1"/>
            </p:cNvSpPr>
            <p:nvPr/>
          </p:nvSpPr>
          <p:spPr bwMode="black">
            <a:xfrm>
              <a:off x="6043613" y="2960688"/>
              <a:ext cx="641350" cy="876300"/>
            </a:xfrm>
            <a:custGeom>
              <a:avLst/>
              <a:gdLst>
                <a:gd name="T0" fmla="*/ 146 w 171"/>
                <a:gd name="T1" fmla="*/ 0 h 234"/>
                <a:gd name="T2" fmla="*/ 25 w 171"/>
                <a:gd name="T3" fmla="*/ 0 h 234"/>
                <a:gd name="T4" fmla="*/ 0 w 171"/>
                <a:gd name="T5" fmla="*/ 25 h 234"/>
                <a:gd name="T6" fmla="*/ 0 w 171"/>
                <a:gd name="T7" fmla="*/ 209 h 234"/>
                <a:gd name="T8" fmla="*/ 25 w 171"/>
                <a:gd name="T9" fmla="*/ 234 h 234"/>
                <a:gd name="T10" fmla="*/ 146 w 171"/>
                <a:gd name="T11" fmla="*/ 234 h 234"/>
                <a:gd name="T12" fmla="*/ 171 w 171"/>
                <a:gd name="T13" fmla="*/ 209 h 234"/>
                <a:gd name="T14" fmla="*/ 171 w 171"/>
                <a:gd name="T15" fmla="*/ 25 h 234"/>
                <a:gd name="T16" fmla="*/ 146 w 171"/>
                <a:gd name="T17" fmla="*/ 0 h 234"/>
                <a:gd name="T18" fmla="*/ 157 w 171"/>
                <a:gd name="T19" fmla="*/ 183 h 234"/>
                <a:gd name="T20" fmla="*/ 146 w 171"/>
                <a:gd name="T21" fmla="*/ 193 h 234"/>
                <a:gd name="T22" fmla="*/ 25 w 171"/>
                <a:gd name="T23" fmla="*/ 193 h 234"/>
                <a:gd name="T24" fmla="*/ 15 w 171"/>
                <a:gd name="T25" fmla="*/ 183 h 234"/>
                <a:gd name="T26" fmla="*/ 15 w 171"/>
                <a:gd name="T27" fmla="*/ 25 h 234"/>
                <a:gd name="T28" fmla="*/ 25 w 171"/>
                <a:gd name="T29" fmla="*/ 14 h 234"/>
                <a:gd name="T30" fmla="*/ 146 w 171"/>
                <a:gd name="T31" fmla="*/ 14 h 234"/>
                <a:gd name="T32" fmla="*/ 157 w 171"/>
                <a:gd name="T33" fmla="*/ 25 h 234"/>
                <a:gd name="T34" fmla="*/ 157 w 171"/>
                <a:gd name="T35" fmla="*/ 18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234">
                  <a:moveTo>
                    <a:pt x="146" y="0"/>
                  </a:moveTo>
                  <a:cubicBezTo>
                    <a:pt x="25" y="0"/>
                    <a:pt x="25" y="0"/>
                    <a:pt x="25" y="0"/>
                  </a:cubicBezTo>
                  <a:cubicBezTo>
                    <a:pt x="11" y="0"/>
                    <a:pt x="0" y="11"/>
                    <a:pt x="0" y="25"/>
                  </a:cubicBezTo>
                  <a:cubicBezTo>
                    <a:pt x="0" y="209"/>
                    <a:pt x="0" y="209"/>
                    <a:pt x="0" y="209"/>
                  </a:cubicBezTo>
                  <a:cubicBezTo>
                    <a:pt x="0" y="223"/>
                    <a:pt x="11" y="234"/>
                    <a:pt x="25" y="234"/>
                  </a:cubicBezTo>
                  <a:cubicBezTo>
                    <a:pt x="146" y="234"/>
                    <a:pt x="146" y="234"/>
                    <a:pt x="146" y="234"/>
                  </a:cubicBezTo>
                  <a:cubicBezTo>
                    <a:pt x="160" y="234"/>
                    <a:pt x="171" y="223"/>
                    <a:pt x="171" y="209"/>
                  </a:cubicBezTo>
                  <a:cubicBezTo>
                    <a:pt x="171" y="25"/>
                    <a:pt x="171" y="25"/>
                    <a:pt x="171" y="25"/>
                  </a:cubicBezTo>
                  <a:cubicBezTo>
                    <a:pt x="171" y="11"/>
                    <a:pt x="160" y="0"/>
                    <a:pt x="146" y="0"/>
                  </a:cubicBezTo>
                  <a:moveTo>
                    <a:pt x="157" y="183"/>
                  </a:moveTo>
                  <a:cubicBezTo>
                    <a:pt x="157" y="188"/>
                    <a:pt x="152" y="193"/>
                    <a:pt x="146" y="193"/>
                  </a:cubicBezTo>
                  <a:cubicBezTo>
                    <a:pt x="25" y="193"/>
                    <a:pt x="25" y="193"/>
                    <a:pt x="25" y="193"/>
                  </a:cubicBezTo>
                  <a:cubicBezTo>
                    <a:pt x="19" y="193"/>
                    <a:pt x="15" y="188"/>
                    <a:pt x="15" y="183"/>
                  </a:cubicBezTo>
                  <a:cubicBezTo>
                    <a:pt x="15" y="25"/>
                    <a:pt x="15" y="25"/>
                    <a:pt x="15" y="25"/>
                  </a:cubicBezTo>
                  <a:cubicBezTo>
                    <a:pt x="15" y="19"/>
                    <a:pt x="19" y="14"/>
                    <a:pt x="25" y="14"/>
                  </a:cubicBezTo>
                  <a:cubicBezTo>
                    <a:pt x="146" y="14"/>
                    <a:pt x="146" y="14"/>
                    <a:pt x="146" y="14"/>
                  </a:cubicBezTo>
                  <a:cubicBezTo>
                    <a:pt x="152" y="14"/>
                    <a:pt x="157" y="19"/>
                    <a:pt x="157" y="25"/>
                  </a:cubicBezTo>
                  <a:lnTo>
                    <a:pt x="157" y="1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85" name="Oval 27"/>
            <p:cNvSpPr>
              <a:spLocks noChangeArrowheads="1"/>
            </p:cNvSpPr>
            <p:nvPr/>
          </p:nvSpPr>
          <p:spPr bwMode="black">
            <a:xfrm>
              <a:off x="62245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86" name="Oval 28"/>
            <p:cNvSpPr>
              <a:spLocks noChangeArrowheads="1"/>
            </p:cNvSpPr>
            <p:nvPr/>
          </p:nvSpPr>
          <p:spPr bwMode="black">
            <a:xfrm>
              <a:off x="64531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87" name="Oval 29"/>
            <p:cNvSpPr>
              <a:spLocks noChangeArrowheads="1"/>
            </p:cNvSpPr>
            <p:nvPr/>
          </p:nvSpPr>
          <p:spPr bwMode="black">
            <a:xfrm>
              <a:off x="6340476"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88" name="Freeform 30"/>
            <p:cNvSpPr>
              <a:spLocks/>
            </p:cNvSpPr>
            <p:nvPr/>
          </p:nvSpPr>
          <p:spPr bwMode="black">
            <a:xfrm>
              <a:off x="3425826" y="4279901"/>
              <a:ext cx="442913" cy="16192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89" name="Freeform 31"/>
            <p:cNvSpPr>
              <a:spLocks noEditPoints="1"/>
            </p:cNvSpPr>
            <p:nvPr/>
          </p:nvSpPr>
          <p:spPr bwMode="black">
            <a:xfrm>
              <a:off x="3414713" y="4456113"/>
              <a:ext cx="476250" cy="80962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grpSp>
      <p:sp>
        <p:nvSpPr>
          <p:cNvPr id="91" name="Rectangle 90"/>
          <p:cNvSpPr/>
          <p:nvPr/>
        </p:nvSpPr>
        <p:spPr bwMode="auto">
          <a:xfrm>
            <a:off x="3866974" y="1229713"/>
            <a:ext cx="1410051" cy="1409685"/>
          </a:xfrm>
          <a:prstGeom prst="rect">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9" tIns="34295" rIns="34295" bIns="68589" numCol="1" spcCol="0" rtlCol="0" fromWordArt="0" anchor="b" anchorCtr="0" forceAA="0" compatLnSpc="1">
            <a:prstTxWarp prst="textNoShape">
              <a:avLst/>
            </a:prstTxWarp>
            <a:noAutofit/>
          </a:bodyPr>
          <a:lstStyle/>
          <a:p>
            <a:pPr defTabSz="685666" fontAlgn="base">
              <a:spcBef>
                <a:spcPct val="0"/>
              </a:spcBef>
              <a:spcAft>
                <a:spcPct val="0"/>
              </a:spcAft>
            </a:pPr>
            <a:r>
              <a:rPr lang="en-US" spc="-38" dirty="0">
                <a:gradFill>
                  <a:gsLst>
                    <a:gs pos="0">
                      <a:srgbClr val="FFFFFF"/>
                    </a:gs>
                    <a:gs pos="100000">
                      <a:srgbClr val="FFFFFF"/>
                    </a:gs>
                  </a:gsLst>
                  <a:lin ang="5400000" scaled="0"/>
                </a:gradFill>
                <a:ea typeface="Segoe UI" pitchFamily="34" charset="0"/>
                <a:cs typeface="Segoe UI" pitchFamily="34" charset="0"/>
              </a:rPr>
              <a:t>App Hosting</a:t>
            </a:r>
            <a:endParaRPr lang="en-US" spc="-38" dirty="0">
              <a:gradFill>
                <a:gsLst>
                  <a:gs pos="0">
                    <a:srgbClr val="FFFFFF"/>
                  </a:gs>
                  <a:gs pos="100000">
                    <a:srgbClr val="FFFFFF"/>
                  </a:gs>
                </a:gsLst>
                <a:lin ang="5400000" scaled="0"/>
              </a:gradFill>
              <a:ea typeface="Segoe UI" pitchFamily="34" charset="0"/>
              <a:cs typeface="Segoe UI" pitchFamily="34" charset="0"/>
            </a:endParaRPr>
          </a:p>
        </p:txBody>
      </p:sp>
      <p:grpSp>
        <p:nvGrpSpPr>
          <p:cNvPr id="92" name="Group 91"/>
          <p:cNvGrpSpPr/>
          <p:nvPr/>
        </p:nvGrpSpPr>
        <p:grpSpPr>
          <a:xfrm>
            <a:off x="4178442" y="1313960"/>
            <a:ext cx="787115" cy="908082"/>
            <a:chOff x="3855785" y="2085994"/>
            <a:chExt cx="1049213" cy="1210776"/>
          </a:xfrm>
        </p:grpSpPr>
        <p:pic>
          <p:nvPicPr>
            <p:cNvPr id="93" name="Picture 2" descr="\\MAGNUM\Projects\Microsoft\Cloud Power FY12\Design\Icons\PNGs\Web.png"/>
            <p:cNvPicPr>
              <a:picLocks noChangeAspect="1" noChangeArrowheads="1"/>
            </p:cNvPicPr>
            <p:nvPr/>
          </p:nvPicPr>
          <p:blipFill rotWithShape="1">
            <a:blip r:embed="rId3" cstate="print">
              <a:lum bright="100000"/>
            </a:blip>
            <a:srcRect t="1" b="-1316"/>
            <a:stretch/>
          </p:blipFill>
          <p:spPr bwMode="auto">
            <a:xfrm>
              <a:off x="3855785" y="2085994"/>
              <a:ext cx="729034" cy="738814"/>
            </a:xfrm>
            <a:prstGeom prst="rect">
              <a:avLst/>
            </a:prstGeom>
            <a:noFill/>
          </p:spPr>
        </p:pic>
        <p:sp>
          <p:nvSpPr>
            <p:cNvPr id="94" name="Isosceles Triangle 93"/>
            <p:cNvSpPr/>
            <p:nvPr/>
          </p:nvSpPr>
          <p:spPr bwMode="auto">
            <a:xfrm rot="10800000">
              <a:off x="3923503" y="2701439"/>
              <a:ext cx="588306" cy="387866"/>
            </a:xfrm>
            <a:prstGeom prst="triangle">
              <a:avLst>
                <a:gd name="adj" fmla="val 0"/>
              </a:avLst>
            </a:prstGeom>
            <a:solidFill>
              <a:schemeClr val="bg2">
                <a:lumMod val="20000"/>
                <a:lumOff val="80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71228"/>
              <a:endParaRPr lang="en-US" sz="1100" dirty="0">
                <a:gradFill>
                  <a:gsLst>
                    <a:gs pos="0">
                      <a:srgbClr val="FFFFFF"/>
                    </a:gs>
                    <a:gs pos="100000">
                      <a:srgbClr val="FFFFFF"/>
                    </a:gs>
                  </a:gsLst>
                  <a:lin ang="5400000" scaled="0"/>
                </a:gradFill>
              </a:endParaRPr>
            </a:p>
          </p:txBody>
        </p:sp>
        <p:pic>
          <p:nvPicPr>
            <p:cNvPr id="95" name="Picture 94"/>
            <p:cNvPicPr>
              <a:picLocks noChangeAspect="1"/>
            </p:cNvPicPr>
            <p:nvPr/>
          </p:nvPicPr>
          <p:blipFill>
            <a:blip r:embed="rId4" cstate="print">
              <a:lum bright="100000" contrast="100000"/>
            </a:blip>
            <a:stretch>
              <a:fillRect/>
            </a:stretch>
          </p:blipFill>
          <p:spPr>
            <a:xfrm>
              <a:off x="4118620" y="2827974"/>
              <a:ext cx="786378" cy="468796"/>
            </a:xfrm>
            <a:prstGeom prst="rect">
              <a:avLst/>
            </a:prstGeom>
            <a:noFill/>
            <a:ln>
              <a:noFill/>
            </a:ln>
            <a:effectLst/>
          </p:spPr>
        </p:pic>
      </p:grpSp>
      <p:grpSp>
        <p:nvGrpSpPr>
          <p:cNvPr id="96" name="Group 95"/>
          <p:cNvGrpSpPr/>
          <p:nvPr/>
        </p:nvGrpSpPr>
        <p:grpSpPr>
          <a:xfrm>
            <a:off x="869641" y="1229713"/>
            <a:ext cx="1410051" cy="1409685"/>
            <a:chOff x="1436033" y="1973665"/>
            <a:chExt cx="1879579" cy="1879580"/>
          </a:xfrm>
          <a:solidFill>
            <a:schemeClr val="bg2">
              <a:lumMod val="60000"/>
              <a:lumOff val="40000"/>
            </a:schemeClr>
          </a:solidFill>
        </p:grpSpPr>
        <p:sp>
          <p:nvSpPr>
            <p:cNvPr id="97" name="Rectangle 96"/>
            <p:cNvSpPr/>
            <p:nvPr/>
          </p:nvSpPr>
          <p:spPr bwMode="auto">
            <a:xfrm>
              <a:off x="1436033" y="1973665"/>
              <a:ext cx="1879579" cy="187958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defTabSz="685666" fontAlgn="base">
                <a:spcBef>
                  <a:spcPct val="0"/>
                </a:spcBef>
                <a:spcAft>
                  <a:spcPct val="0"/>
                </a:spcAft>
              </a:pPr>
              <a:r>
                <a:rPr lang="en-US" spc="-38" dirty="0">
                  <a:gradFill>
                    <a:gsLst>
                      <a:gs pos="0">
                        <a:srgbClr val="FFFFFF"/>
                      </a:gs>
                      <a:gs pos="100000">
                        <a:srgbClr val="FFFFFF"/>
                      </a:gs>
                    </a:gsLst>
                    <a:lin ang="5400000" scaled="0"/>
                  </a:gradFill>
                  <a:ea typeface="Segoe UI" pitchFamily="34" charset="0"/>
                  <a:cs typeface="Segoe UI" pitchFamily="34" charset="0"/>
                </a:rPr>
                <a:t>VM Hosting</a:t>
              </a:r>
            </a:p>
          </p:txBody>
        </p:sp>
        <p:grpSp>
          <p:nvGrpSpPr>
            <p:cNvPr id="98" name="Group 97"/>
            <p:cNvGrpSpPr/>
            <p:nvPr/>
          </p:nvGrpSpPr>
          <p:grpSpPr>
            <a:xfrm>
              <a:off x="1645210" y="1988173"/>
              <a:ext cx="1461225" cy="1354048"/>
              <a:chOff x="1714048" y="1988173"/>
              <a:chExt cx="1461225" cy="1354048"/>
            </a:xfrm>
            <a:grpFill/>
          </p:grpSpPr>
          <p:pic>
            <p:nvPicPr>
              <p:cNvPr id="99" name="Picture 2"/>
              <p:cNvPicPr>
                <a:picLocks noChangeAspect="1" noChangeArrowheads="1"/>
              </p:cNvPicPr>
              <p:nvPr/>
            </p:nvPicPr>
            <p:blipFill>
              <a:blip r:embed="rId5" cstate="print">
                <a:lum bright="100000" contrast="100000"/>
              </a:blip>
              <a:srcRect/>
              <a:stretch>
                <a:fillRect/>
              </a:stretch>
            </p:blipFill>
            <p:spPr bwMode="auto">
              <a:xfrm>
                <a:off x="1714048" y="1988173"/>
                <a:ext cx="1189025" cy="1089750"/>
              </a:xfrm>
              <a:prstGeom prst="rect">
                <a:avLst/>
              </a:prstGeom>
              <a:grpFill/>
              <a:ln w="9525">
                <a:noFill/>
                <a:miter lim="800000"/>
                <a:headEnd/>
                <a:tailEnd/>
              </a:ln>
              <a:effectLst/>
            </p:spPr>
          </p:pic>
          <p:sp>
            <p:nvSpPr>
              <p:cNvPr id="100" name="Isosceles Triangle 99"/>
              <p:cNvSpPr/>
              <p:nvPr/>
            </p:nvSpPr>
            <p:spPr bwMode="auto">
              <a:xfrm rot="9180217">
                <a:off x="2250742" y="2756644"/>
                <a:ext cx="587419" cy="401390"/>
              </a:xfrm>
              <a:prstGeom prst="triangle">
                <a:avLst>
                  <a:gd name="adj" fmla="val 64317"/>
                </a:avLst>
              </a:pr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71228"/>
                <a:endParaRPr lang="en-US" sz="1100" dirty="0">
                  <a:gradFill>
                    <a:gsLst>
                      <a:gs pos="0">
                        <a:srgbClr val="FFFFFF"/>
                      </a:gs>
                      <a:gs pos="100000">
                        <a:srgbClr val="FFFFFF"/>
                      </a:gs>
                    </a:gsLst>
                    <a:lin ang="5400000" scaled="0"/>
                  </a:gradFill>
                </a:endParaRPr>
              </a:p>
            </p:txBody>
          </p:sp>
          <p:pic>
            <p:nvPicPr>
              <p:cNvPr id="101" name="Picture 100"/>
              <p:cNvPicPr>
                <a:picLocks noChangeAspect="1"/>
              </p:cNvPicPr>
              <p:nvPr/>
            </p:nvPicPr>
            <p:blipFill>
              <a:blip r:embed="rId4" cstate="print">
                <a:lum bright="100000" contrast="100000"/>
              </a:blip>
              <a:stretch>
                <a:fillRect/>
              </a:stretch>
            </p:blipFill>
            <p:spPr>
              <a:xfrm>
                <a:off x="2388895" y="2873425"/>
                <a:ext cx="786378" cy="468796"/>
              </a:xfrm>
              <a:prstGeom prst="rect">
                <a:avLst/>
              </a:prstGeom>
              <a:grpFill/>
              <a:ln>
                <a:noFill/>
              </a:ln>
              <a:effectLst/>
            </p:spPr>
          </p:pic>
        </p:grpSp>
      </p:grpSp>
      <p:sp>
        <p:nvSpPr>
          <p:cNvPr id="103" name="Rectangle 102"/>
          <p:cNvSpPr/>
          <p:nvPr/>
        </p:nvSpPr>
        <p:spPr bwMode="auto">
          <a:xfrm>
            <a:off x="2368307" y="1229713"/>
            <a:ext cx="1410051" cy="1409685"/>
          </a:xfrm>
          <a:prstGeom prst="rect">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9" tIns="34295" rIns="34295" bIns="68589" numCol="1" spcCol="0" rtlCol="0" fromWordArt="0" anchor="b" anchorCtr="0" forceAA="0" compatLnSpc="1">
            <a:prstTxWarp prst="textNoShape">
              <a:avLst/>
            </a:prstTxWarp>
            <a:noAutofit/>
          </a:bodyPr>
          <a:lstStyle/>
          <a:p>
            <a:pPr defTabSz="685666" fontAlgn="base">
              <a:spcBef>
                <a:spcPct val="0"/>
              </a:spcBef>
              <a:spcAft>
                <a:spcPct val="0"/>
              </a:spcAft>
            </a:pPr>
            <a:r>
              <a:rPr lang="en-US" spc="-38" dirty="0">
                <a:gradFill>
                  <a:gsLst>
                    <a:gs pos="0">
                      <a:srgbClr val="FFFFFF"/>
                    </a:gs>
                    <a:gs pos="100000">
                      <a:srgbClr val="FFFFFF"/>
                    </a:gs>
                  </a:gsLst>
                  <a:lin ang="5400000" scaled="0"/>
                </a:gradFill>
                <a:ea typeface="Segoe UI" pitchFamily="34" charset="0"/>
                <a:cs typeface="Segoe UI" pitchFamily="34" charset="0"/>
              </a:rPr>
              <a:t>Hosted Database</a:t>
            </a:r>
            <a:endParaRPr lang="en-US" spc="-38" dirty="0">
              <a:gradFill>
                <a:gsLst>
                  <a:gs pos="0">
                    <a:srgbClr val="FFFFFF"/>
                  </a:gs>
                  <a:gs pos="100000">
                    <a:srgbClr val="FFFFFF"/>
                  </a:gs>
                </a:gsLst>
                <a:lin ang="5400000" scaled="0"/>
              </a:gradFill>
              <a:ea typeface="Segoe UI" pitchFamily="34" charset="0"/>
              <a:cs typeface="Segoe UI" pitchFamily="34" charset="0"/>
            </a:endParaRPr>
          </a:p>
        </p:txBody>
      </p:sp>
      <p:sp>
        <p:nvSpPr>
          <p:cNvPr id="104" name="Isosceles Triangle 108"/>
          <p:cNvSpPr/>
          <p:nvPr/>
        </p:nvSpPr>
        <p:spPr bwMode="auto">
          <a:xfrm rot="8802698">
            <a:off x="2911391" y="1744424"/>
            <a:ext cx="260077" cy="273803"/>
          </a:xfrm>
          <a:custGeom>
            <a:avLst/>
            <a:gdLst/>
            <a:ahLst/>
            <a:cxnLst/>
            <a:rect l="l" t="t" r="r" b="b"/>
            <a:pathLst>
              <a:path w="346679" h="365070">
                <a:moveTo>
                  <a:pt x="0" y="335210"/>
                </a:moveTo>
                <a:lnTo>
                  <a:pt x="216104" y="0"/>
                </a:lnTo>
                <a:lnTo>
                  <a:pt x="346679" y="365070"/>
                </a:lnTo>
                <a:cubicBezTo>
                  <a:pt x="301139" y="337702"/>
                  <a:pt x="245429" y="319091"/>
                  <a:pt x="184281" y="312662"/>
                </a:cubicBezTo>
                <a:cubicBezTo>
                  <a:pt x="117170" y="305605"/>
                  <a:pt x="53415" y="314262"/>
                  <a:pt x="0" y="335210"/>
                </a:cubicBezTo>
                <a:close/>
              </a:path>
            </a:pathLst>
          </a:custGeom>
          <a:solidFill>
            <a:schemeClr val="tx2">
              <a:lumMod val="20000"/>
              <a:lumOff val="80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86" tIns="34293" rIns="68586" bIns="34293" numCol="1" rtlCol="0" anchor="ctr" anchorCtr="0" compatLnSpc="1">
            <a:prstTxWarp prst="textNoShape">
              <a:avLst/>
            </a:prstTxWarp>
          </a:bodyPr>
          <a:lstStyle/>
          <a:p>
            <a:pPr algn="ctr" defTabSz="571228"/>
            <a:endParaRPr lang="en-US" sz="1100" dirty="0">
              <a:gradFill>
                <a:gsLst>
                  <a:gs pos="0">
                    <a:srgbClr val="FFFFFF"/>
                  </a:gs>
                  <a:gs pos="100000">
                    <a:srgbClr val="FFFFFF"/>
                  </a:gs>
                </a:gsLst>
                <a:lin ang="5400000" scaled="0"/>
              </a:gradFill>
            </a:endParaRPr>
          </a:p>
        </p:txBody>
      </p:sp>
      <p:pic>
        <p:nvPicPr>
          <p:cNvPr id="105" name="Picture 104"/>
          <p:cNvPicPr>
            <a:picLocks noChangeAspect="1"/>
          </p:cNvPicPr>
          <p:nvPr/>
        </p:nvPicPr>
        <p:blipFill>
          <a:blip r:embed="rId4" cstate="print">
            <a:lum bright="100000" contrast="100000"/>
          </a:blip>
          <a:stretch>
            <a:fillRect/>
          </a:stretch>
        </p:blipFill>
        <p:spPr>
          <a:xfrm>
            <a:off x="2857569" y="1911564"/>
            <a:ext cx="589937" cy="351597"/>
          </a:xfrm>
          <a:prstGeom prst="rect">
            <a:avLst/>
          </a:prstGeom>
          <a:noFill/>
          <a:ln>
            <a:noFill/>
          </a:ln>
          <a:effectLst/>
        </p:spPr>
      </p:pic>
      <p:grpSp>
        <p:nvGrpSpPr>
          <p:cNvPr id="106" name="Group 105"/>
          <p:cNvGrpSpPr/>
          <p:nvPr/>
        </p:nvGrpSpPr>
        <p:grpSpPr bwMode="black">
          <a:xfrm flipH="1">
            <a:off x="2641216" y="1426080"/>
            <a:ext cx="428868" cy="442097"/>
            <a:chOff x="1752600" y="4267200"/>
            <a:chExt cx="1157286" cy="1302545"/>
          </a:xfrm>
        </p:grpSpPr>
        <p:sp>
          <p:nvSpPr>
            <p:cNvPr id="107" name="Freeform 219"/>
            <p:cNvSpPr>
              <a:spLocks/>
            </p:cNvSpPr>
            <p:nvPr/>
          </p:nvSpPr>
          <p:spPr bwMode="black">
            <a:xfrm>
              <a:off x="2573475" y="4995891"/>
              <a:ext cx="330824" cy="573854"/>
            </a:xfrm>
            <a:custGeom>
              <a:avLst/>
              <a:gdLst>
                <a:gd name="T0" fmla="*/ 157 w 351"/>
                <a:gd name="T1" fmla="*/ 2 h 609"/>
                <a:gd name="T2" fmla="*/ 155 w 351"/>
                <a:gd name="T3" fmla="*/ 104 h 609"/>
                <a:gd name="T4" fmla="*/ 180 w 351"/>
                <a:gd name="T5" fmla="*/ 99 h 609"/>
                <a:gd name="T6" fmla="*/ 231 w 351"/>
                <a:gd name="T7" fmla="*/ 121 h 609"/>
                <a:gd name="T8" fmla="*/ 252 w 351"/>
                <a:gd name="T9" fmla="*/ 174 h 609"/>
                <a:gd name="T10" fmla="*/ 251 w 351"/>
                <a:gd name="T11" fmla="*/ 212 h 609"/>
                <a:gd name="T12" fmla="*/ 251 w 351"/>
                <a:gd name="T13" fmla="*/ 212 h 609"/>
                <a:gd name="T14" fmla="*/ 247 w 351"/>
                <a:gd name="T15" fmla="*/ 387 h 609"/>
                <a:gd name="T16" fmla="*/ 247 w 351"/>
                <a:gd name="T17" fmla="*/ 387 h 609"/>
                <a:gd name="T18" fmla="*/ 246 w 351"/>
                <a:gd name="T19" fmla="*/ 438 h 609"/>
                <a:gd name="T20" fmla="*/ 223 w 351"/>
                <a:gd name="T21" fmla="*/ 489 h 609"/>
                <a:gd name="T22" fmla="*/ 171 w 351"/>
                <a:gd name="T23" fmla="*/ 510 h 609"/>
                <a:gd name="T24" fmla="*/ 120 w 351"/>
                <a:gd name="T25" fmla="*/ 487 h 609"/>
                <a:gd name="T26" fmla="*/ 100 w 351"/>
                <a:gd name="T27" fmla="*/ 435 h 609"/>
                <a:gd name="T28" fmla="*/ 101 w 351"/>
                <a:gd name="T29" fmla="*/ 395 h 609"/>
                <a:gd name="T30" fmla="*/ 4 w 351"/>
                <a:gd name="T31" fmla="*/ 311 h 609"/>
                <a:gd name="T32" fmla="*/ 1 w 351"/>
                <a:gd name="T33" fmla="*/ 433 h 609"/>
                <a:gd name="T34" fmla="*/ 49 w 351"/>
                <a:gd name="T35" fmla="*/ 555 h 609"/>
                <a:gd name="T36" fmla="*/ 169 w 351"/>
                <a:gd name="T37" fmla="*/ 608 h 609"/>
                <a:gd name="T38" fmla="*/ 292 w 351"/>
                <a:gd name="T39" fmla="*/ 561 h 609"/>
                <a:gd name="T40" fmla="*/ 292 w 351"/>
                <a:gd name="T41" fmla="*/ 561 h 609"/>
                <a:gd name="T42" fmla="*/ 345 w 351"/>
                <a:gd name="T43" fmla="*/ 441 h 609"/>
                <a:gd name="T44" fmla="*/ 350 w 351"/>
                <a:gd name="T45" fmla="*/ 176 h 609"/>
                <a:gd name="T46" fmla="*/ 303 w 351"/>
                <a:gd name="T47" fmla="*/ 53 h 609"/>
                <a:gd name="T48" fmla="*/ 183 w 351"/>
                <a:gd name="T49" fmla="*/ 0 h 609"/>
                <a:gd name="T50" fmla="*/ 157 w 351"/>
                <a:gd name="T51" fmla="*/ 2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1" h="609">
                  <a:moveTo>
                    <a:pt x="157" y="2"/>
                  </a:moveTo>
                  <a:cubicBezTo>
                    <a:pt x="155" y="104"/>
                    <a:pt x="155" y="104"/>
                    <a:pt x="155" y="104"/>
                  </a:cubicBezTo>
                  <a:cubicBezTo>
                    <a:pt x="163" y="101"/>
                    <a:pt x="171" y="99"/>
                    <a:pt x="180" y="99"/>
                  </a:cubicBezTo>
                  <a:cubicBezTo>
                    <a:pt x="201" y="99"/>
                    <a:pt x="218" y="108"/>
                    <a:pt x="231" y="121"/>
                  </a:cubicBezTo>
                  <a:cubicBezTo>
                    <a:pt x="244" y="135"/>
                    <a:pt x="252" y="153"/>
                    <a:pt x="252" y="174"/>
                  </a:cubicBezTo>
                  <a:cubicBezTo>
                    <a:pt x="251" y="212"/>
                    <a:pt x="251" y="212"/>
                    <a:pt x="251" y="212"/>
                  </a:cubicBezTo>
                  <a:cubicBezTo>
                    <a:pt x="251" y="212"/>
                    <a:pt x="251" y="212"/>
                    <a:pt x="251" y="212"/>
                  </a:cubicBezTo>
                  <a:cubicBezTo>
                    <a:pt x="247" y="387"/>
                    <a:pt x="247" y="387"/>
                    <a:pt x="247" y="387"/>
                  </a:cubicBezTo>
                  <a:cubicBezTo>
                    <a:pt x="247" y="387"/>
                    <a:pt x="247" y="387"/>
                    <a:pt x="247" y="387"/>
                  </a:cubicBezTo>
                  <a:cubicBezTo>
                    <a:pt x="246" y="438"/>
                    <a:pt x="246" y="438"/>
                    <a:pt x="246" y="438"/>
                  </a:cubicBezTo>
                  <a:cubicBezTo>
                    <a:pt x="245" y="459"/>
                    <a:pt x="237" y="476"/>
                    <a:pt x="223" y="489"/>
                  </a:cubicBezTo>
                  <a:cubicBezTo>
                    <a:pt x="210" y="502"/>
                    <a:pt x="191" y="510"/>
                    <a:pt x="171" y="510"/>
                  </a:cubicBezTo>
                  <a:cubicBezTo>
                    <a:pt x="151" y="509"/>
                    <a:pt x="133" y="501"/>
                    <a:pt x="120" y="487"/>
                  </a:cubicBezTo>
                  <a:cubicBezTo>
                    <a:pt x="107" y="474"/>
                    <a:pt x="99" y="455"/>
                    <a:pt x="100" y="435"/>
                  </a:cubicBezTo>
                  <a:cubicBezTo>
                    <a:pt x="101" y="395"/>
                    <a:pt x="101" y="395"/>
                    <a:pt x="101" y="395"/>
                  </a:cubicBezTo>
                  <a:cubicBezTo>
                    <a:pt x="42" y="375"/>
                    <a:pt x="16" y="338"/>
                    <a:pt x="4" y="311"/>
                  </a:cubicBezTo>
                  <a:cubicBezTo>
                    <a:pt x="1" y="433"/>
                    <a:pt x="1" y="433"/>
                    <a:pt x="1" y="433"/>
                  </a:cubicBezTo>
                  <a:cubicBezTo>
                    <a:pt x="0" y="480"/>
                    <a:pt x="18" y="524"/>
                    <a:pt x="49" y="555"/>
                  </a:cubicBezTo>
                  <a:cubicBezTo>
                    <a:pt x="79" y="587"/>
                    <a:pt x="122" y="607"/>
                    <a:pt x="169" y="608"/>
                  </a:cubicBezTo>
                  <a:cubicBezTo>
                    <a:pt x="216" y="609"/>
                    <a:pt x="260" y="591"/>
                    <a:pt x="292" y="561"/>
                  </a:cubicBezTo>
                  <a:cubicBezTo>
                    <a:pt x="292" y="561"/>
                    <a:pt x="292" y="561"/>
                    <a:pt x="292" y="561"/>
                  </a:cubicBezTo>
                  <a:cubicBezTo>
                    <a:pt x="323" y="530"/>
                    <a:pt x="343" y="488"/>
                    <a:pt x="345" y="441"/>
                  </a:cubicBezTo>
                  <a:cubicBezTo>
                    <a:pt x="350" y="176"/>
                    <a:pt x="350" y="176"/>
                    <a:pt x="350" y="176"/>
                  </a:cubicBezTo>
                  <a:cubicBezTo>
                    <a:pt x="351" y="128"/>
                    <a:pt x="333" y="85"/>
                    <a:pt x="303" y="53"/>
                  </a:cubicBezTo>
                  <a:cubicBezTo>
                    <a:pt x="273" y="22"/>
                    <a:pt x="230" y="1"/>
                    <a:pt x="183" y="0"/>
                  </a:cubicBezTo>
                  <a:cubicBezTo>
                    <a:pt x="174" y="0"/>
                    <a:pt x="165" y="1"/>
                    <a:pt x="157"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08" name="Freeform 220"/>
            <p:cNvSpPr>
              <a:spLocks/>
            </p:cNvSpPr>
            <p:nvPr/>
          </p:nvSpPr>
          <p:spPr bwMode="black">
            <a:xfrm>
              <a:off x="2579062" y="4756453"/>
              <a:ext cx="330824" cy="573854"/>
            </a:xfrm>
            <a:custGeom>
              <a:avLst/>
              <a:gdLst>
                <a:gd name="T0" fmla="*/ 182 w 351"/>
                <a:gd name="T1" fmla="*/ 1 h 609"/>
                <a:gd name="T2" fmla="*/ 60 w 351"/>
                <a:gd name="T3" fmla="*/ 48 h 609"/>
                <a:gd name="T4" fmla="*/ 60 w 351"/>
                <a:gd name="T5" fmla="*/ 49 h 609"/>
                <a:gd name="T6" fmla="*/ 7 w 351"/>
                <a:gd name="T7" fmla="*/ 169 h 609"/>
                <a:gd name="T8" fmla="*/ 1 w 351"/>
                <a:gd name="T9" fmla="*/ 433 h 609"/>
                <a:gd name="T10" fmla="*/ 48 w 351"/>
                <a:gd name="T11" fmla="*/ 556 h 609"/>
                <a:gd name="T12" fmla="*/ 169 w 351"/>
                <a:gd name="T13" fmla="*/ 609 h 609"/>
                <a:gd name="T14" fmla="*/ 194 w 351"/>
                <a:gd name="T15" fmla="*/ 607 h 609"/>
                <a:gd name="T16" fmla="*/ 197 w 351"/>
                <a:gd name="T17" fmla="*/ 505 h 609"/>
                <a:gd name="T18" fmla="*/ 171 w 351"/>
                <a:gd name="T19" fmla="*/ 510 h 609"/>
                <a:gd name="T20" fmla="*/ 120 w 351"/>
                <a:gd name="T21" fmla="*/ 488 h 609"/>
                <a:gd name="T22" fmla="*/ 99 w 351"/>
                <a:gd name="T23" fmla="*/ 436 h 609"/>
                <a:gd name="T24" fmla="*/ 104 w 351"/>
                <a:gd name="T25" fmla="*/ 227 h 609"/>
                <a:gd name="T26" fmla="*/ 104 w 351"/>
                <a:gd name="T27" fmla="*/ 220 h 609"/>
                <a:gd name="T28" fmla="*/ 105 w 351"/>
                <a:gd name="T29" fmla="*/ 171 h 609"/>
                <a:gd name="T30" fmla="*/ 128 w 351"/>
                <a:gd name="T31" fmla="*/ 120 h 609"/>
                <a:gd name="T32" fmla="*/ 180 w 351"/>
                <a:gd name="T33" fmla="*/ 99 h 609"/>
                <a:gd name="T34" fmla="*/ 231 w 351"/>
                <a:gd name="T35" fmla="*/ 122 h 609"/>
                <a:gd name="T36" fmla="*/ 251 w 351"/>
                <a:gd name="T37" fmla="*/ 174 h 609"/>
                <a:gd name="T38" fmla="*/ 250 w 351"/>
                <a:gd name="T39" fmla="*/ 214 h 609"/>
                <a:gd name="T40" fmla="*/ 347 w 351"/>
                <a:gd name="T41" fmla="*/ 299 h 609"/>
                <a:gd name="T42" fmla="*/ 350 w 351"/>
                <a:gd name="T43" fmla="*/ 176 h 609"/>
                <a:gd name="T44" fmla="*/ 302 w 351"/>
                <a:gd name="T45" fmla="*/ 54 h 609"/>
                <a:gd name="T46" fmla="*/ 182 w 351"/>
                <a:gd name="T47" fmla="*/ 1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1" h="609">
                  <a:moveTo>
                    <a:pt x="182" y="1"/>
                  </a:moveTo>
                  <a:cubicBezTo>
                    <a:pt x="135" y="0"/>
                    <a:pt x="91" y="18"/>
                    <a:pt x="60" y="48"/>
                  </a:cubicBezTo>
                  <a:cubicBezTo>
                    <a:pt x="60" y="48"/>
                    <a:pt x="60" y="49"/>
                    <a:pt x="60" y="49"/>
                  </a:cubicBezTo>
                  <a:cubicBezTo>
                    <a:pt x="28" y="79"/>
                    <a:pt x="8" y="122"/>
                    <a:pt x="7" y="169"/>
                  </a:cubicBezTo>
                  <a:cubicBezTo>
                    <a:pt x="1" y="433"/>
                    <a:pt x="1" y="433"/>
                    <a:pt x="1" y="433"/>
                  </a:cubicBezTo>
                  <a:cubicBezTo>
                    <a:pt x="0" y="481"/>
                    <a:pt x="18" y="524"/>
                    <a:pt x="48" y="556"/>
                  </a:cubicBezTo>
                  <a:cubicBezTo>
                    <a:pt x="79" y="588"/>
                    <a:pt x="121" y="608"/>
                    <a:pt x="169" y="609"/>
                  </a:cubicBezTo>
                  <a:cubicBezTo>
                    <a:pt x="177" y="609"/>
                    <a:pt x="186" y="608"/>
                    <a:pt x="194" y="607"/>
                  </a:cubicBezTo>
                  <a:cubicBezTo>
                    <a:pt x="197" y="505"/>
                    <a:pt x="197" y="505"/>
                    <a:pt x="197" y="505"/>
                  </a:cubicBezTo>
                  <a:cubicBezTo>
                    <a:pt x="189" y="508"/>
                    <a:pt x="180" y="510"/>
                    <a:pt x="171" y="510"/>
                  </a:cubicBezTo>
                  <a:cubicBezTo>
                    <a:pt x="151" y="510"/>
                    <a:pt x="133" y="501"/>
                    <a:pt x="120" y="488"/>
                  </a:cubicBezTo>
                  <a:cubicBezTo>
                    <a:pt x="107" y="474"/>
                    <a:pt x="99" y="456"/>
                    <a:pt x="99" y="436"/>
                  </a:cubicBezTo>
                  <a:cubicBezTo>
                    <a:pt x="104" y="227"/>
                    <a:pt x="104" y="227"/>
                    <a:pt x="104" y="227"/>
                  </a:cubicBezTo>
                  <a:cubicBezTo>
                    <a:pt x="104" y="220"/>
                    <a:pt x="104" y="220"/>
                    <a:pt x="104" y="220"/>
                  </a:cubicBezTo>
                  <a:cubicBezTo>
                    <a:pt x="105" y="171"/>
                    <a:pt x="105" y="171"/>
                    <a:pt x="105" y="171"/>
                  </a:cubicBezTo>
                  <a:cubicBezTo>
                    <a:pt x="106" y="151"/>
                    <a:pt x="114" y="133"/>
                    <a:pt x="128" y="120"/>
                  </a:cubicBezTo>
                  <a:cubicBezTo>
                    <a:pt x="142" y="107"/>
                    <a:pt x="160" y="99"/>
                    <a:pt x="180" y="99"/>
                  </a:cubicBezTo>
                  <a:cubicBezTo>
                    <a:pt x="200" y="100"/>
                    <a:pt x="218" y="108"/>
                    <a:pt x="231" y="122"/>
                  </a:cubicBezTo>
                  <a:cubicBezTo>
                    <a:pt x="244" y="136"/>
                    <a:pt x="252" y="154"/>
                    <a:pt x="251" y="174"/>
                  </a:cubicBezTo>
                  <a:cubicBezTo>
                    <a:pt x="250" y="214"/>
                    <a:pt x="250" y="214"/>
                    <a:pt x="250" y="214"/>
                  </a:cubicBezTo>
                  <a:cubicBezTo>
                    <a:pt x="309" y="234"/>
                    <a:pt x="335" y="271"/>
                    <a:pt x="347" y="299"/>
                  </a:cubicBezTo>
                  <a:cubicBezTo>
                    <a:pt x="350" y="176"/>
                    <a:pt x="350" y="176"/>
                    <a:pt x="350" y="176"/>
                  </a:cubicBezTo>
                  <a:cubicBezTo>
                    <a:pt x="351" y="129"/>
                    <a:pt x="333" y="85"/>
                    <a:pt x="302" y="54"/>
                  </a:cubicBezTo>
                  <a:cubicBezTo>
                    <a:pt x="272" y="22"/>
                    <a:pt x="229" y="2"/>
                    <a:pt x="182"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09" name="Freeform 221"/>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10" name="Freeform 222"/>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11" name="Freeform 223"/>
            <p:cNvSpPr>
              <a:spLocks/>
            </p:cNvSpPr>
            <p:nvPr/>
          </p:nvSpPr>
          <p:spPr bwMode="black">
            <a:xfrm>
              <a:off x="1977672" y="4663072"/>
              <a:ext cx="606178" cy="195940"/>
            </a:xfrm>
            <a:custGeom>
              <a:avLst/>
              <a:gdLst>
                <a:gd name="T0" fmla="*/ 643 w 643"/>
                <a:gd name="T1" fmla="*/ 132 h 208"/>
                <a:gd name="T2" fmla="*/ 438 w 643"/>
                <a:gd name="T3" fmla="*/ 150 h 208"/>
                <a:gd name="T4" fmla="*/ 0 w 643"/>
                <a:gd name="T5" fmla="*/ 0 h 208"/>
                <a:gd name="T6" fmla="*/ 0 w 643"/>
                <a:gd name="T7" fmla="*/ 103 h 208"/>
                <a:gd name="T8" fmla="*/ 39 w 643"/>
                <a:gd name="T9" fmla="*/ 130 h 208"/>
                <a:gd name="T10" fmla="*/ 438 w 643"/>
                <a:gd name="T11" fmla="*/ 208 h 208"/>
                <a:gd name="T12" fmla="*/ 606 w 643"/>
                <a:gd name="T13" fmla="*/ 197 h 208"/>
                <a:gd name="T14" fmla="*/ 643 w 643"/>
                <a:gd name="T15" fmla="*/ 132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3" h="208">
                  <a:moveTo>
                    <a:pt x="643" y="132"/>
                  </a:moveTo>
                  <a:cubicBezTo>
                    <a:pt x="582" y="143"/>
                    <a:pt x="512" y="150"/>
                    <a:pt x="438" y="150"/>
                  </a:cubicBezTo>
                  <a:cubicBezTo>
                    <a:pt x="196" y="150"/>
                    <a:pt x="0" y="82"/>
                    <a:pt x="0" y="0"/>
                  </a:cubicBezTo>
                  <a:cubicBezTo>
                    <a:pt x="0" y="103"/>
                    <a:pt x="0" y="103"/>
                    <a:pt x="0" y="103"/>
                  </a:cubicBezTo>
                  <a:cubicBezTo>
                    <a:pt x="12" y="113"/>
                    <a:pt x="25" y="121"/>
                    <a:pt x="39" y="130"/>
                  </a:cubicBezTo>
                  <a:cubicBezTo>
                    <a:pt x="130" y="180"/>
                    <a:pt x="273" y="208"/>
                    <a:pt x="438" y="208"/>
                  </a:cubicBezTo>
                  <a:cubicBezTo>
                    <a:pt x="497" y="208"/>
                    <a:pt x="554" y="204"/>
                    <a:pt x="606" y="197"/>
                  </a:cubicBezTo>
                  <a:cubicBezTo>
                    <a:pt x="615" y="174"/>
                    <a:pt x="628" y="152"/>
                    <a:pt x="643" y="1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12" name="Freeform 224"/>
            <p:cNvSpPr>
              <a:spLocks/>
            </p:cNvSpPr>
            <p:nvPr/>
          </p:nvSpPr>
          <p:spPr bwMode="black">
            <a:xfrm>
              <a:off x="1976076" y="4835467"/>
              <a:ext cx="555896" cy="196340"/>
            </a:xfrm>
            <a:custGeom>
              <a:avLst/>
              <a:gdLst>
                <a:gd name="T0" fmla="*/ 590 w 590"/>
                <a:gd name="T1" fmla="*/ 140 h 208"/>
                <a:gd name="T2" fmla="*/ 438 w 590"/>
                <a:gd name="T3" fmla="*/ 150 h 208"/>
                <a:gd name="T4" fmla="*/ 0 w 590"/>
                <a:gd name="T5" fmla="*/ 0 h 208"/>
                <a:gd name="T6" fmla="*/ 0 w 590"/>
                <a:gd name="T7" fmla="*/ 103 h 208"/>
                <a:gd name="T8" fmla="*/ 39 w 590"/>
                <a:gd name="T9" fmla="*/ 129 h 208"/>
                <a:gd name="T10" fmla="*/ 438 w 590"/>
                <a:gd name="T11" fmla="*/ 208 h 208"/>
                <a:gd name="T12" fmla="*/ 589 w 590"/>
                <a:gd name="T13" fmla="*/ 199 h 208"/>
                <a:gd name="T14" fmla="*/ 590 w 590"/>
                <a:gd name="T15" fmla="*/ 14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0" h="208">
                  <a:moveTo>
                    <a:pt x="590" y="140"/>
                  </a:moveTo>
                  <a:cubicBezTo>
                    <a:pt x="543" y="146"/>
                    <a:pt x="491" y="150"/>
                    <a:pt x="438" y="150"/>
                  </a:cubicBezTo>
                  <a:cubicBezTo>
                    <a:pt x="196" y="150"/>
                    <a:pt x="0" y="82"/>
                    <a:pt x="0" y="0"/>
                  </a:cubicBezTo>
                  <a:cubicBezTo>
                    <a:pt x="0" y="103"/>
                    <a:pt x="0" y="103"/>
                    <a:pt x="0" y="103"/>
                  </a:cubicBezTo>
                  <a:cubicBezTo>
                    <a:pt x="12" y="113"/>
                    <a:pt x="25" y="121"/>
                    <a:pt x="39" y="129"/>
                  </a:cubicBezTo>
                  <a:cubicBezTo>
                    <a:pt x="129" y="180"/>
                    <a:pt x="273" y="208"/>
                    <a:pt x="438" y="208"/>
                  </a:cubicBezTo>
                  <a:cubicBezTo>
                    <a:pt x="491" y="208"/>
                    <a:pt x="541" y="205"/>
                    <a:pt x="589" y="199"/>
                  </a:cubicBezTo>
                  <a:lnTo>
                    <a:pt x="590" y="1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13" name="Freeform 225"/>
            <p:cNvSpPr>
              <a:spLocks noEditPoints="1"/>
            </p:cNvSpPr>
            <p:nvPr/>
          </p:nvSpPr>
          <p:spPr bwMode="black">
            <a:xfrm>
              <a:off x="1886286" y="4267200"/>
              <a:ext cx="1011628" cy="995266"/>
            </a:xfrm>
            <a:custGeom>
              <a:avLst/>
              <a:gdLst>
                <a:gd name="T0" fmla="*/ 683 w 1073"/>
                <a:gd name="T1" fmla="*/ 951 h 1056"/>
                <a:gd name="T2" fmla="*/ 683 w 1073"/>
                <a:gd name="T3" fmla="*/ 947 h 1056"/>
                <a:gd name="T4" fmla="*/ 537 w 1073"/>
                <a:gd name="T5" fmla="*/ 957 h 1056"/>
                <a:gd name="T6" fmla="*/ 99 w 1073"/>
                <a:gd name="T7" fmla="*/ 776 h 1056"/>
                <a:gd name="T8" fmla="*/ 99 w 1073"/>
                <a:gd name="T9" fmla="*/ 623 h 1056"/>
                <a:gd name="T10" fmla="*/ 99 w 1073"/>
                <a:gd name="T11" fmla="*/ 520 h 1056"/>
                <a:gd name="T12" fmla="*/ 99 w 1073"/>
                <a:gd name="T13" fmla="*/ 352 h 1056"/>
                <a:gd name="T14" fmla="*/ 137 w 1073"/>
                <a:gd name="T15" fmla="*/ 379 h 1056"/>
                <a:gd name="T16" fmla="*/ 537 w 1073"/>
                <a:gd name="T17" fmla="*/ 458 h 1056"/>
                <a:gd name="T18" fmla="*/ 862 w 1073"/>
                <a:gd name="T19" fmla="*/ 411 h 1056"/>
                <a:gd name="T20" fmla="*/ 972 w 1073"/>
                <a:gd name="T21" fmla="*/ 355 h 1056"/>
                <a:gd name="T22" fmla="*/ 975 w 1073"/>
                <a:gd name="T23" fmla="*/ 352 h 1056"/>
                <a:gd name="T24" fmla="*/ 975 w 1073"/>
                <a:gd name="T25" fmla="*/ 460 h 1056"/>
                <a:gd name="T26" fmla="*/ 1067 w 1073"/>
                <a:gd name="T27" fmla="*/ 493 h 1056"/>
                <a:gd name="T28" fmla="*/ 1073 w 1073"/>
                <a:gd name="T29" fmla="*/ 494 h 1056"/>
                <a:gd name="T30" fmla="*/ 1073 w 1073"/>
                <a:gd name="T31" fmla="*/ 249 h 1056"/>
                <a:gd name="T32" fmla="*/ 1002 w 1073"/>
                <a:gd name="T33" fmla="*/ 114 h 1056"/>
                <a:gd name="T34" fmla="*/ 537 w 1073"/>
                <a:gd name="T35" fmla="*/ 0 h 1056"/>
                <a:gd name="T36" fmla="*/ 195 w 1073"/>
                <a:gd name="T37" fmla="*/ 49 h 1056"/>
                <a:gd name="T38" fmla="*/ 71 w 1073"/>
                <a:gd name="T39" fmla="*/ 114 h 1056"/>
                <a:gd name="T40" fmla="*/ 0 w 1073"/>
                <a:gd name="T41" fmla="*/ 249 h 1056"/>
                <a:gd name="T42" fmla="*/ 0 w 1073"/>
                <a:gd name="T43" fmla="*/ 776 h 1056"/>
                <a:gd name="T44" fmla="*/ 64 w 1073"/>
                <a:gd name="T45" fmla="*/ 917 h 1056"/>
                <a:gd name="T46" fmla="*/ 537 w 1073"/>
                <a:gd name="T47" fmla="*/ 1056 h 1056"/>
                <a:gd name="T48" fmla="*/ 681 w 1073"/>
                <a:gd name="T49" fmla="*/ 1047 h 1056"/>
                <a:gd name="T50" fmla="*/ 683 w 1073"/>
                <a:gd name="T51" fmla="*/ 951 h 1056"/>
                <a:gd name="T52" fmla="*/ 537 w 1073"/>
                <a:gd name="T53" fmla="*/ 99 h 1056"/>
                <a:gd name="T54" fmla="*/ 975 w 1073"/>
                <a:gd name="T55" fmla="*/ 249 h 1056"/>
                <a:gd name="T56" fmla="*/ 537 w 1073"/>
                <a:gd name="T57" fmla="*/ 399 h 1056"/>
                <a:gd name="T58" fmla="*/ 99 w 1073"/>
                <a:gd name="T59" fmla="*/ 249 h 1056"/>
                <a:gd name="T60" fmla="*/ 537 w 1073"/>
                <a:gd name="T61" fmla="*/ 99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73" h="1056">
                  <a:moveTo>
                    <a:pt x="683" y="951"/>
                  </a:moveTo>
                  <a:cubicBezTo>
                    <a:pt x="683" y="947"/>
                    <a:pt x="683" y="947"/>
                    <a:pt x="683" y="947"/>
                  </a:cubicBezTo>
                  <a:cubicBezTo>
                    <a:pt x="638" y="954"/>
                    <a:pt x="587" y="957"/>
                    <a:pt x="537" y="957"/>
                  </a:cubicBezTo>
                  <a:cubicBezTo>
                    <a:pt x="295" y="957"/>
                    <a:pt x="99" y="876"/>
                    <a:pt x="99" y="776"/>
                  </a:cubicBezTo>
                  <a:cubicBezTo>
                    <a:pt x="99" y="623"/>
                    <a:pt x="99" y="623"/>
                    <a:pt x="99" y="623"/>
                  </a:cubicBezTo>
                  <a:cubicBezTo>
                    <a:pt x="99" y="520"/>
                    <a:pt x="99" y="520"/>
                    <a:pt x="99" y="520"/>
                  </a:cubicBezTo>
                  <a:cubicBezTo>
                    <a:pt x="99" y="352"/>
                    <a:pt x="99" y="352"/>
                    <a:pt x="99" y="352"/>
                  </a:cubicBezTo>
                  <a:cubicBezTo>
                    <a:pt x="110" y="362"/>
                    <a:pt x="123" y="371"/>
                    <a:pt x="137" y="379"/>
                  </a:cubicBezTo>
                  <a:cubicBezTo>
                    <a:pt x="228" y="429"/>
                    <a:pt x="371" y="457"/>
                    <a:pt x="537" y="458"/>
                  </a:cubicBezTo>
                  <a:cubicBezTo>
                    <a:pt x="662" y="458"/>
                    <a:pt x="776" y="441"/>
                    <a:pt x="862" y="411"/>
                  </a:cubicBezTo>
                  <a:cubicBezTo>
                    <a:pt x="906" y="396"/>
                    <a:pt x="942" y="378"/>
                    <a:pt x="972" y="355"/>
                  </a:cubicBezTo>
                  <a:cubicBezTo>
                    <a:pt x="973" y="354"/>
                    <a:pt x="974" y="353"/>
                    <a:pt x="975" y="352"/>
                  </a:cubicBezTo>
                  <a:cubicBezTo>
                    <a:pt x="975" y="460"/>
                    <a:pt x="975" y="460"/>
                    <a:pt x="975" y="460"/>
                  </a:cubicBezTo>
                  <a:cubicBezTo>
                    <a:pt x="1008" y="465"/>
                    <a:pt x="1039" y="476"/>
                    <a:pt x="1067" y="493"/>
                  </a:cubicBezTo>
                  <a:cubicBezTo>
                    <a:pt x="1069" y="493"/>
                    <a:pt x="1071" y="493"/>
                    <a:pt x="1073" y="494"/>
                  </a:cubicBezTo>
                  <a:cubicBezTo>
                    <a:pt x="1073" y="249"/>
                    <a:pt x="1073" y="249"/>
                    <a:pt x="1073" y="249"/>
                  </a:cubicBezTo>
                  <a:cubicBezTo>
                    <a:pt x="1073" y="187"/>
                    <a:pt x="1037" y="141"/>
                    <a:pt x="1002" y="114"/>
                  </a:cubicBezTo>
                  <a:cubicBezTo>
                    <a:pt x="896" y="33"/>
                    <a:pt x="733" y="3"/>
                    <a:pt x="537" y="0"/>
                  </a:cubicBezTo>
                  <a:cubicBezTo>
                    <a:pt x="406" y="0"/>
                    <a:pt x="288" y="18"/>
                    <a:pt x="195" y="49"/>
                  </a:cubicBezTo>
                  <a:cubicBezTo>
                    <a:pt x="148" y="66"/>
                    <a:pt x="107" y="85"/>
                    <a:pt x="71" y="114"/>
                  </a:cubicBezTo>
                  <a:cubicBezTo>
                    <a:pt x="36" y="141"/>
                    <a:pt x="0" y="187"/>
                    <a:pt x="0" y="249"/>
                  </a:cubicBezTo>
                  <a:cubicBezTo>
                    <a:pt x="0" y="776"/>
                    <a:pt x="0" y="776"/>
                    <a:pt x="0" y="776"/>
                  </a:cubicBezTo>
                  <a:cubicBezTo>
                    <a:pt x="0" y="835"/>
                    <a:pt x="29" y="884"/>
                    <a:pt x="64" y="917"/>
                  </a:cubicBezTo>
                  <a:cubicBezTo>
                    <a:pt x="169" y="1014"/>
                    <a:pt x="338" y="1053"/>
                    <a:pt x="537" y="1056"/>
                  </a:cubicBezTo>
                  <a:cubicBezTo>
                    <a:pt x="586" y="1056"/>
                    <a:pt x="636" y="1053"/>
                    <a:pt x="681" y="1047"/>
                  </a:cubicBezTo>
                  <a:lnTo>
                    <a:pt x="683" y="951"/>
                  </a:lnTo>
                  <a:close/>
                  <a:moveTo>
                    <a:pt x="537" y="99"/>
                  </a:moveTo>
                  <a:cubicBezTo>
                    <a:pt x="778" y="99"/>
                    <a:pt x="975" y="166"/>
                    <a:pt x="975" y="249"/>
                  </a:cubicBezTo>
                  <a:cubicBezTo>
                    <a:pt x="975" y="332"/>
                    <a:pt x="778" y="399"/>
                    <a:pt x="537" y="399"/>
                  </a:cubicBezTo>
                  <a:cubicBezTo>
                    <a:pt x="295" y="399"/>
                    <a:pt x="99" y="332"/>
                    <a:pt x="99" y="249"/>
                  </a:cubicBezTo>
                  <a:cubicBezTo>
                    <a:pt x="99" y="166"/>
                    <a:pt x="295" y="99"/>
                    <a:pt x="537" y="9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grpSp>
      <p:sp>
        <p:nvSpPr>
          <p:cNvPr id="115" name="Rectangle 114"/>
          <p:cNvSpPr/>
          <p:nvPr/>
        </p:nvSpPr>
        <p:spPr bwMode="auto">
          <a:xfrm>
            <a:off x="6864308" y="1229713"/>
            <a:ext cx="1410051" cy="1409685"/>
          </a:xfrm>
          <a:prstGeom prst="rect">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9" tIns="34295" rIns="34295" bIns="68589" numCol="1" spcCol="0" rtlCol="0" fromWordArt="0" anchor="b" anchorCtr="0" forceAA="0" compatLnSpc="1">
            <a:prstTxWarp prst="textNoShape">
              <a:avLst/>
            </a:prstTxWarp>
            <a:noAutofit/>
          </a:bodyPr>
          <a:lstStyle/>
          <a:p>
            <a:pPr defTabSz="685666" fontAlgn="base">
              <a:spcBef>
                <a:spcPct val="0"/>
              </a:spcBef>
              <a:spcAft>
                <a:spcPct val="0"/>
              </a:spcAft>
            </a:pPr>
            <a:r>
              <a:rPr lang="en-US" spc="-38" dirty="0">
                <a:gradFill>
                  <a:gsLst>
                    <a:gs pos="0">
                      <a:srgbClr val="FFFFFF"/>
                    </a:gs>
                    <a:gs pos="100000">
                      <a:srgbClr val="FFFFFF"/>
                    </a:gs>
                  </a:gsLst>
                  <a:lin ang="5400000" scaled="0"/>
                </a:gradFill>
                <a:ea typeface="Segoe UI" pitchFamily="34" charset="0"/>
                <a:cs typeface="Segoe UI" pitchFamily="34" charset="0"/>
              </a:rPr>
              <a:t>Hosted Desktop</a:t>
            </a:r>
            <a:endParaRPr lang="en-US" spc="-38" dirty="0">
              <a:gradFill>
                <a:gsLst>
                  <a:gs pos="0">
                    <a:srgbClr val="FFFFFF"/>
                  </a:gs>
                  <a:gs pos="100000">
                    <a:srgbClr val="FFFFFF"/>
                  </a:gs>
                </a:gsLst>
                <a:lin ang="5400000" scaled="0"/>
              </a:gradFill>
              <a:ea typeface="Segoe UI" pitchFamily="34" charset="0"/>
              <a:cs typeface="Segoe UI" pitchFamily="34" charset="0"/>
            </a:endParaRPr>
          </a:p>
        </p:txBody>
      </p:sp>
      <p:pic>
        <p:nvPicPr>
          <p:cNvPr id="116" name="Picture 6" descr="\\MAGNUM\Projects\Microsoft\Cloud Power FY12\Design\ICONS_PNG\Screen.png"/>
          <p:cNvPicPr>
            <a:picLocks noChangeAspect="1" noChangeArrowheads="1"/>
          </p:cNvPicPr>
          <p:nvPr/>
        </p:nvPicPr>
        <p:blipFill>
          <a:blip r:embed="rId6" cstate="print">
            <a:lum bright="100000"/>
          </a:blip>
          <a:srcRect/>
          <a:stretch>
            <a:fillRect/>
          </a:stretch>
        </p:blipFill>
        <p:spPr bwMode="auto">
          <a:xfrm flipH="1">
            <a:off x="7081823" y="1276690"/>
            <a:ext cx="625895" cy="625733"/>
          </a:xfrm>
          <a:prstGeom prst="rect">
            <a:avLst/>
          </a:prstGeom>
          <a:noFill/>
        </p:spPr>
      </p:pic>
      <p:sp>
        <p:nvSpPr>
          <p:cNvPr id="117" name="Isosceles Triangle 108"/>
          <p:cNvSpPr/>
          <p:nvPr/>
        </p:nvSpPr>
        <p:spPr bwMode="auto">
          <a:xfrm rot="8072574">
            <a:off x="7453579" y="1743109"/>
            <a:ext cx="260009" cy="273874"/>
          </a:xfrm>
          <a:custGeom>
            <a:avLst/>
            <a:gdLst/>
            <a:ahLst/>
            <a:cxnLst/>
            <a:rect l="l" t="t" r="r" b="b"/>
            <a:pathLst>
              <a:path w="346679" h="365070">
                <a:moveTo>
                  <a:pt x="0" y="335210"/>
                </a:moveTo>
                <a:lnTo>
                  <a:pt x="216104" y="0"/>
                </a:lnTo>
                <a:lnTo>
                  <a:pt x="346679" y="365070"/>
                </a:lnTo>
                <a:cubicBezTo>
                  <a:pt x="301139" y="337702"/>
                  <a:pt x="245429" y="319091"/>
                  <a:pt x="184281" y="312662"/>
                </a:cubicBezTo>
                <a:cubicBezTo>
                  <a:pt x="117170" y="305605"/>
                  <a:pt x="53415" y="314262"/>
                  <a:pt x="0" y="335210"/>
                </a:cubicBezTo>
                <a:close/>
              </a:path>
            </a:pathLst>
          </a:custGeom>
          <a:solidFill>
            <a:schemeClr val="bg2">
              <a:lumMod val="20000"/>
              <a:lumOff val="80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86" tIns="34293" rIns="68586" bIns="34293" numCol="1" rtlCol="0" anchor="ctr" anchorCtr="0" compatLnSpc="1">
            <a:prstTxWarp prst="textNoShape">
              <a:avLst/>
            </a:prstTxWarp>
          </a:bodyPr>
          <a:lstStyle/>
          <a:p>
            <a:pPr algn="ctr" defTabSz="571228"/>
            <a:endParaRPr lang="en-US" sz="1100" dirty="0">
              <a:gradFill>
                <a:gsLst>
                  <a:gs pos="0">
                    <a:srgbClr val="FFFFFF"/>
                  </a:gs>
                  <a:gs pos="100000">
                    <a:srgbClr val="FFFFFF"/>
                  </a:gs>
                </a:gsLst>
                <a:lin ang="5400000" scaled="0"/>
              </a:gradFill>
            </a:endParaRPr>
          </a:p>
        </p:txBody>
      </p:sp>
      <p:pic>
        <p:nvPicPr>
          <p:cNvPr id="118" name="Picture 117"/>
          <p:cNvPicPr>
            <a:picLocks noChangeAspect="1"/>
          </p:cNvPicPr>
          <p:nvPr/>
        </p:nvPicPr>
        <p:blipFill>
          <a:blip r:embed="rId4" cstate="print">
            <a:lum bright="100000" contrast="100000"/>
          </a:blip>
          <a:stretch>
            <a:fillRect/>
          </a:stretch>
        </p:blipFill>
        <p:spPr>
          <a:xfrm>
            <a:off x="7412749" y="1882108"/>
            <a:ext cx="589937" cy="351597"/>
          </a:xfrm>
          <a:prstGeom prst="rect">
            <a:avLst/>
          </a:prstGeom>
          <a:noFill/>
          <a:ln>
            <a:noFill/>
          </a:ln>
          <a:effectLst/>
        </p:spPr>
      </p:pic>
      <p:sp useBgFill="1">
        <p:nvSpPr>
          <p:cNvPr id="4" name="Rectangle 3"/>
          <p:cNvSpPr/>
          <p:nvPr/>
        </p:nvSpPr>
        <p:spPr bwMode="auto">
          <a:xfrm>
            <a:off x="0" y="0"/>
            <a:ext cx="9144000" cy="66909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9" tIns="34295" rIns="34295" bIns="68589" numCol="1" spcCol="0" rtlCol="0" fromWordArt="0" anchor="b" anchorCtr="0" forceAA="0" compatLnSpc="1">
            <a:prstTxWarp prst="textNoShape">
              <a:avLst/>
            </a:prstTxWarp>
            <a:noAutofit/>
          </a:bodyPr>
          <a:lstStyle/>
          <a:p>
            <a:pPr algn="ctr" defTabSz="685666" fontAlgn="base">
              <a:spcBef>
                <a:spcPct val="0"/>
              </a:spcBef>
              <a:spcAft>
                <a:spcPct val="0"/>
              </a:spcAft>
            </a:pPr>
            <a:endParaRPr lang="en-US" spc="-38"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 name="Title 1"/>
          <p:cNvSpPr>
            <a:spLocks noGrp="1"/>
          </p:cNvSpPr>
          <p:nvPr>
            <p:ph type="title"/>
          </p:nvPr>
        </p:nvSpPr>
        <p:spPr>
          <a:xfrm>
            <a:off x="381099" y="171450"/>
            <a:ext cx="8363938" cy="457049"/>
          </a:xfrm>
        </p:spPr>
        <p:txBody>
          <a:bodyPr/>
          <a:lstStyle/>
          <a:p>
            <a:pPr algn="ctr"/>
            <a:r>
              <a:rPr lang="en-US" dirty="0" smtClean="0"/>
              <a:t>Additional Service on same infrastructure</a:t>
            </a:r>
            <a:endParaRPr lang="en-US" dirty="0"/>
          </a:p>
        </p:txBody>
      </p:sp>
      <p:sp>
        <p:nvSpPr>
          <p:cNvPr id="22" name="Rectangle 21"/>
          <p:cNvSpPr/>
          <p:nvPr/>
        </p:nvSpPr>
        <p:spPr bwMode="gray">
          <a:xfrm>
            <a:off x="864436" y="2743200"/>
            <a:ext cx="7409923" cy="1657350"/>
          </a:xfrm>
          <a:prstGeom prst="rect">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9" tIns="34295" rIns="34295" bIns="68589" numCol="1" spcCol="0" rtlCol="0" fromWordArt="0" anchor="b" anchorCtr="0" forceAA="0" compatLnSpc="1">
            <a:prstTxWarp prst="textNoShape">
              <a:avLst/>
            </a:prstTxWarp>
            <a:noAutofit/>
          </a:bodyPr>
          <a:lstStyle/>
          <a:p>
            <a:pPr algn="ctr" defTabSz="685666" fontAlgn="base">
              <a:spcBef>
                <a:spcPct val="0"/>
              </a:spcBef>
              <a:spcAft>
                <a:spcPct val="0"/>
              </a:spcAft>
            </a:pPr>
            <a:r>
              <a:rPr lang="en-US" sz="1800" spc="-38" dirty="0">
                <a:solidFill>
                  <a:schemeClr val="tx1"/>
                </a:solidFill>
                <a:latin typeface="Segoe UI" pitchFamily="34" charset="0"/>
                <a:ea typeface="Segoe UI" pitchFamily="34" charset="0"/>
                <a:cs typeface="Segoe UI" pitchFamily="34" charset="0"/>
              </a:rPr>
              <a:t>Infrastructure</a:t>
            </a:r>
          </a:p>
        </p:txBody>
      </p:sp>
      <p:pic>
        <p:nvPicPr>
          <p:cNvPr id="23" name="Picture 5" descr="\\MAGNUM\Projects\Microsoft\Cloud Power FY12\Design\ICONS_PNG\Layer-79.png"/>
          <p:cNvPicPr>
            <a:picLocks noChangeAspect="1" noChangeArrowheads="1"/>
          </p:cNvPicPr>
          <p:nvPr/>
        </p:nvPicPr>
        <p:blipFill rotWithShape="1">
          <a:blip r:embed="rId7" cstate="print">
            <a:lum bright="100000"/>
          </a:blip>
          <a:srcRect t="6403" b="7302"/>
          <a:stretch/>
        </p:blipFill>
        <p:spPr bwMode="auto">
          <a:xfrm>
            <a:off x="3913199" y="2927432"/>
            <a:ext cx="1328015" cy="1146012"/>
          </a:xfrm>
          <a:prstGeom prst="rect">
            <a:avLst/>
          </a:prstGeom>
          <a:noFill/>
        </p:spPr>
      </p:pic>
      <p:sp>
        <p:nvSpPr>
          <p:cNvPr id="60"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61"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8"/>
              </a:rPr>
              <a:t>www.rapidbbs.cn</a:t>
            </a:r>
            <a:endParaRPr lang="zh-CN" altLang="en-US" sz="1200" b="0">
              <a:latin typeface="Arial" charset="0"/>
              <a:ea typeface="ＭＳ Ｐゴシック" pitchFamily="34" charset="-128"/>
            </a:endParaRPr>
          </a:p>
        </p:txBody>
      </p:sp>
      <p:pic>
        <p:nvPicPr>
          <p:cNvPr id="90" name="Picture 2">
            <a:hlinkClick r:id="rId8"/>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680102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iterate type="wd">
                                    <p:tmAbs val="500"/>
                                  </p:iterate>
                                  <p:childTnLst>
                                    <p:set>
                                      <p:cBhvr>
                                        <p:cTn id="6" dur="1" fill="hold">
                                          <p:stCondLst>
                                            <p:cond delay="0"/>
                                          </p:stCondLst>
                                        </p:cTn>
                                        <p:tgtEl>
                                          <p:spTgt spid="103"/>
                                        </p:tgtEl>
                                        <p:attrNameLst>
                                          <p:attrName>style.visibility</p:attrName>
                                        </p:attrNameLst>
                                      </p:cBhvr>
                                      <p:to>
                                        <p:strVal val="visible"/>
                                      </p:to>
                                    </p:set>
                                  </p:childTnLst>
                                </p:cTn>
                              </p:par>
                              <p:par>
                                <p:cTn id="7" presetID="1" presetClass="entr" presetSubtype="0" fill="hold" grpId="0" nodeType="withEffect">
                                  <p:stCondLst>
                                    <p:cond delay="0"/>
                                  </p:stCondLst>
                                  <p:iterate type="wd">
                                    <p:tmAbs val="500"/>
                                  </p:iterate>
                                  <p:childTnLst>
                                    <p:set>
                                      <p:cBhvr>
                                        <p:cTn id="8" dur="1" fill="hold">
                                          <p:stCondLst>
                                            <p:cond delay="0"/>
                                          </p:stCondLst>
                                        </p:cTn>
                                        <p:tgtEl>
                                          <p:spTgt spid="91"/>
                                        </p:tgtEl>
                                        <p:attrNameLst>
                                          <p:attrName>style.visibility</p:attrName>
                                        </p:attrNameLst>
                                      </p:cBhvr>
                                      <p:to>
                                        <p:strVal val="visible"/>
                                      </p:to>
                                    </p:set>
                                  </p:childTnLst>
                                </p:cTn>
                              </p:par>
                              <p:par>
                                <p:cTn id="9" presetID="1" presetClass="entr" presetSubtype="0" fill="hold" grpId="0" nodeType="withEffect">
                                  <p:stCondLst>
                                    <p:cond delay="0"/>
                                  </p:stCondLst>
                                  <p:iterate type="wd">
                                    <p:tmAbs val="500"/>
                                  </p:iterate>
                                  <p:childTnLst>
                                    <p:set>
                                      <p:cBhvr>
                                        <p:cTn id="10" dur="1" fill="hold">
                                          <p:stCondLst>
                                            <p:cond delay="0"/>
                                          </p:stCondLst>
                                        </p:cTn>
                                        <p:tgtEl>
                                          <p:spTgt spid="62"/>
                                        </p:tgtEl>
                                        <p:attrNameLst>
                                          <p:attrName>style.visibility</p:attrName>
                                        </p:attrNameLst>
                                      </p:cBhvr>
                                      <p:to>
                                        <p:strVal val="visible"/>
                                      </p:to>
                                    </p:set>
                                  </p:childTnLst>
                                </p:cTn>
                              </p:par>
                              <p:par>
                                <p:cTn id="11" presetID="1" presetClass="entr" presetSubtype="0" fill="hold" grpId="0" nodeType="withEffect">
                                  <p:stCondLst>
                                    <p:cond delay="0"/>
                                  </p:stCondLst>
                                  <p:iterate type="wd">
                                    <p:tmAbs val="500"/>
                                  </p:iterate>
                                  <p:childTnLst>
                                    <p:set>
                                      <p:cBhvr>
                                        <p:cTn id="12" dur="1" fill="hold">
                                          <p:stCondLst>
                                            <p:cond delay="0"/>
                                          </p:stCondLst>
                                        </p:cTn>
                                        <p:tgtEl>
                                          <p:spTgt spid="115"/>
                                        </p:tgtEl>
                                        <p:attrNameLst>
                                          <p:attrName>style.visibility</p:attrName>
                                        </p:attrNameLst>
                                      </p:cBhvr>
                                      <p:to>
                                        <p:strVal val="visible"/>
                                      </p:to>
                                    </p:set>
                                  </p:childTnLst>
                                </p:cTn>
                              </p:par>
                              <p:par>
                                <p:cTn id="13" presetID="1" presetClass="entr" presetSubtype="0" fill="hold" nodeType="withEffect">
                                  <p:stCondLst>
                                    <p:cond delay="0"/>
                                  </p:stCondLst>
                                  <p:iterate type="wd">
                                    <p:tmAbs val="500"/>
                                  </p:iterate>
                                  <p:childTnLst>
                                    <p:set>
                                      <p:cBhvr>
                                        <p:cTn id="14" dur="1" fill="hold">
                                          <p:stCondLst>
                                            <p:cond delay="0"/>
                                          </p:stCondLst>
                                        </p:cTn>
                                        <p:tgtEl>
                                          <p:spTgt spid="63"/>
                                        </p:tgtEl>
                                        <p:attrNameLst>
                                          <p:attrName>style.visibility</p:attrName>
                                        </p:attrNameLst>
                                      </p:cBhvr>
                                      <p:to>
                                        <p:strVal val="visible"/>
                                      </p:to>
                                    </p:set>
                                  </p:childTnLst>
                                </p:cTn>
                              </p:par>
                              <p:par>
                                <p:cTn id="15" presetID="1" presetClass="entr" presetSubtype="0" fill="hold" nodeType="withEffect">
                                  <p:stCondLst>
                                    <p:cond delay="0"/>
                                  </p:stCondLst>
                                  <p:iterate type="wd">
                                    <p:tmAbs val="500"/>
                                  </p:iterate>
                                  <p:childTnLst>
                                    <p:set>
                                      <p:cBhvr>
                                        <p:cTn id="16" dur="1" fill="hold">
                                          <p:stCondLst>
                                            <p:cond delay="0"/>
                                          </p:stCondLst>
                                        </p:cTn>
                                        <p:tgtEl>
                                          <p:spTgt spid="92"/>
                                        </p:tgtEl>
                                        <p:attrNameLst>
                                          <p:attrName>style.visibility</p:attrName>
                                        </p:attrNameLst>
                                      </p:cBhvr>
                                      <p:to>
                                        <p:strVal val="visible"/>
                                      </p:to>
                                    </p:set>
                                  </p:childTnLst>
                                </p:cTn>
                              </p:par>
                              <p:par>
                                <p:cTn id="17" presetID="1" presetClass="entr" presetSubtype="0" fill="hold" grpId="0" nodeType="withEffect">
                                  <p:stCondLst>
                                    <p:cond delay="0"/>
                                  </p:stCondLst>
                                  <p:iterate type="wd">
                                    <p:tmAbs val="500"/>
                                  </p:iterate>
                                  <p:childTnLst>
                                    <p:set>
                                      <p:cBhvr>
                                        <p:cTn id="18" dur="1" fill="hold">
                                          <p:stCondLst>
                                            <p:cond delay="0"/>
                                          </p:stCondLst>
                                        </p:cTn>
                                        <p:tgtEl>
                                          <p:spTgt spid="104"/>
                                        </p:tgtEl>
                                        <p:attrNameLst>
                                          <p:attrName>style.visibility</p:attrName>
                                        </p:attrNameLst>
                                      </p:cBhvr>
                                      <p:to>
                                        <p:strVal val="visible"/>
                                      </p:to>
                                    </p:set>
                                  </p:childTnLst>
                                </p:cTn>
                              </p:par>
                              <p:par>
                                <p:cTn id="19" presetID="1" presetClass="entr" presetSubtype="0" fill="hold" nodeType="withEffect">
                                  <p:stCondLst>
                                    <p:cond delay="0"/>
                                  </p:stCondLst>
                                  <p:iterate type="wd">
                                    <p:tmAbs val="500"/>
                                  </p:iterate>
                                  <p:childTnLst>
                                    <p:set>
                                      <p:cBhvr>
                                        <p:cTn id="20" dur="1" fill="hold">
                                          <p:stCondLst>
                                            <p:cond delay="0"/>
                                          </p:stCondLst>
                                        </p:cTn>
                                        <p:tgtEl>
                                          <p:spTgt spid="105"/>
                                        </p:tgtEl>
                                        <p:attrNameLst>
                                          <p:attrName>style.visibility</p:attrName>
                                        </p:attrNameLst>
                                      </p:cBhvr>
                                      <p:to>
                                        <p:strVal val="visible"/>
                                      </p:to>
                                    </p:set>
                                  </p:childTnLst>
                                </p:cTn>
                              </p:par>
                              <p:par>
                                <p:cTn id="21" presetID="1" presetClass="entr" presetSubtype="0" fill="hold" nodeType="withEffect">
                                  <p:stCondLst>
                                    <p:cond delay="0"/>
                                  </p:stCondLst>
                                  <p:iterate type="wd">
                                    <p:tmAbs val="500"/>
                                  </p:iterate>
                                  <p:childTnLst>
                                    <p:set>
                                      <p:cBhvr>
                                        <p:cTn id="22" dur="1" fill="hold">
                                          <p:stCondLst>
                                            <p:cond delay="0"/>
                                          </p:stCondLst>
                                        </p:cTn>
                                        <p:tgtEl>
                                          <p:spTgt spid="106"/>
                                        </p:tgtEl>
                                        <p:attrNameLst>
                                          <p:attrName>style.visibility</p:attrName>
                                        </p:attrNameLst>
                                      </p:cBhvr>
                                      <p:to>
                                        <p:strVal val="visible"/>
                                      </p:to>
                                    </p:set>
                                  </p:childTnLst>
                                </p:cTn>
                              </p:par>
                              <p:par>
                                <p:cTn id="23" presetID="1" presetClass="entr" presetSubtype="0" fill="hold" nodeType="withEffect">
                                  <p:stCondLst>
                                    <p:cond delay="0"/>
                                  </p:stCondLst>
                                  <p:iterate type="wd">
                                    <p:tmAbs val="500"/>
                                  </p:iterate>
                                  <p:childTnLst>
                                    <p:set>
                                      <p:cBhvr>
                                        <p:cTn id="24" dur="1" fill="hold">
                                          <p:stCondLst>
                                            <p:cond delay="0"/>
                                          </p:stCondLst>
                                        </p:cTn>
                                        <p:tgtEl>
                                          <p:spTgt spid="116"/>
                                        </p:tgtEl>
                                        <p:attrNameLst>
                                          <p:attrName>style.visibility</p:attrName>
                                        </p:attrNameLst>
                                      </p:cBhvr>
                                      <p:to>
                                        <p:strVal val="visible"/>
                                      </p:to>
                                    </p:set>
                                  </p:childTnLst>
                                </p:cTn>
                              </p:par>
                              <p:par>
                                <p:cTn id="25" presetID="1" presetClass="entr" presetSubtype="0" fill="hold" grpId="0" nodeType="withEffect">
                                  <p:stCondLst>
                                    <p:cond delay="0"/>
                                  </p:stCondLst>
                                  <p:iterate type="wd">
                                    <p:tmAbs val="500"/>
                                  </p:iterate>
                                  <p:childTnLst>
                                    <p:set>
                                      <p:cBhvr>
                                        <p:cTn id="26" dur="1" fill="hold">
                                          <p:stCondLst>
                                            <p:cond delay="0"/>
                                          </p:stCondLst>
                                        </p:cTn>
                                        <p:tgtEl>
                                          <p:spTgt spid="117"/>
                                        </p:tgtEl>
                                        <p:attrNameLst>
                                          <p:attrName>style.visibility</p:attrName>
                                        </p:attrNameLst>
                                      </p:cBhvr>
                                      <p:to>
                                        <p:strVal val="visible"/>
                                      </p:to>
                                    </p:set>
                                  </p:childTnLst>
                                </p:cTn>
                              </p:par>
                              <p:par>
                                <p:cTn id="27" presetID="1" presetClass="entr" presetSubtype="0" fill="hold" nodeType="withEffect">
                                  <p:stCondLst>
                                    <p:cond delay="0"/>
                                  </p:stCondLst>
                                  <p:iterate type="wd">
                                    <p:tmAbs val="500"/>
                                  </p:iterate>
                                  <p:childTnLst>
                                    <p:set>
                                      <p:cBhvr>
                                        <p:cTn id="28" dur="1" fill="hold">
                                          <p:stCondLst>
                                            <p:cond delay="0"/>
                                          </p:stCondLst>
                                        </p:cTn>
                                        <p:tgtEl>
                                          <p:spTgt spid="1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P spid="91" grpId="0" animBg="1"/>
      <p:bldP spid="103" grpId="0" animBg="1"/>
      <p:bldP spid="104" grpId="0" animBg="1"/>
      <p:bldP spid="115" grpId="0" animBg="1"/>
      <p:bldP spid="117" grpId="0" animBg="1"/>
    </p:bldLst>
  </p:timing>
</p:sld>
</file>

<file path=ppt/slides/slide4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934871"/>
          </a:xfrm>
        </p:spPr>
        <p:txBody>
          <a:bodyPr/>
          <a:lstStyle/>
          <a:p>
            <a:r>
              <a:rPr lang="en-US" dirty="0" smtClean="0">
                <a:gradFill>
                  <a:gsLst>
                    <a:gs pos="0">
                      <a:schemeClr val="tx1"/>
                    </a:gs>
                    <a:gs pos="100000">
                      <a:schemeClr val="tx1"/>
                    </a:gs>
                  </a:gsLst>
                  <a:lin ang="5400000" scaled="0"/>
                </a:gradFill>
              </a:rPr>
              <a:t>Lionbridge:</a:t>
            </a:r>
            <a:r>
              <a:rPr lang="en-US" sz="4100" dirty="0">
                <a:gradFill>
                  <a:gsLst>
                    <a:gs pos="0">
                      <a:schemeClr val="tx1"/>
                    </a:gs>
                    <a:gs pos="100000">
                      <a:schemeClr val="tx1"/>
                    </a:gs>
                  </a:gsLst>
                  <a:lin ang="5400000" scaled="0"/>
                </a:gradFill>
              </a:rPr>
              <a:t> </a:t>
            </a:r>
            <a:r>
              <a:rPr lang="en-US" dirty="0" smtClean="0">
                <a:gradFill>
                  <a:gsLst>
                    <a:gs pos="0">
                      <a:schemeClr val="tx1"/>
                    </a:gs>
                    <a:gs pos="100000">
                      <a:schemeClr val="tx1"/>
                    </a:gs>
                  </a:gsLst>
                  <a:lin ang="5400000" scaled="0"/>
                </a:gradFill>
              </a:rPr>
              <a:t>Services</a:t>
            </a:r>
            <a:r>
              <a:rPr lang="en-US" sz="4100" dirty="0">
                <a:gradFill>
                  <a:gsLst>
                    <a:gs pos="0">
                      <a:schemeClr val="tx1"/>
                    </a:gs>
                    <a:gs pos="100000">
                      <a:schemeClr val="tx1"/>
                    </a:gs>
                  </a:gsLst>
                  <a:lin ang="5400000" scaled="0"/>
                </a:gradFill>
              </a:rPr>
              <a:t/>
            </a:r>
            <a:br>
              <a:rPr lang="en-US" sz="4100" dirty="0">
                <a:gradFill>
                  <a:gsLst>
                    <a:gs pos="0">
                      <a:schemeClr val="tx1"/>
                    </a:gs>
                    <a:gs pos="100000">
                      <a:schemeClr val="tx1"/>
                    </a:gs>
                  </a:gsLst>
                  <a:lin ang="5400000" scaled="0"/>
                </a:gradFill>
              </a:rPr>
            </a:br>
            <a:endParaRPr lang="en-IE" sz="2700" dirty="0"/>
          </a:p>
        </p:txBody>
      </p:sp>
      <p:pic>
        <p:nvPicPr>
          <p:cNvPr id="45" name="Picture 44" descr="ring.png"/>
          <p:cNvPicPr>
            <a:picLocks noChangeAspect="1"/>
          </p:cNvPicPr>
          <p:nvPr/>
        </p:nvPicPr>
        <p:blipFill>
          <a:blip r:embed="rId3" cstate="print"/>
          <a:stretch>
            <a:fillRect/>
          </a:stretch>
        </p:blipFill>
        <p:spPr>
          <a:xfrm>
            <a:off x="3677246" y="1162450"/>
            <a:ext cx="3429893" cy="3090554"/>
          </a:xfrm>
          <a:prstGeom prst="rect">
            <a:avLst/>
          </a:prstGeom>
        </p:spPr>
      </p:pic>
      <p:pic>
        <p:nvPicPr>
          <p:cNvPr id="46" name="Picture 45" descr="box-ENGAGE.png"/>
          <p:cNvPicPr>
            <a:picLocks noChangeAspect="1"/>
          </p:cNvPicPr>
          <p:nvPr/>
        </p:nvPicPr>
        <p:blipFill>
          <a:blip r:embed="rId4" cstate="print"/>
          <a:stretch>
            <a:fillRect/>
          </a:stretch>
        </p:blipFill>
        <p:spPr>
          <a:xfrm>
            <a:off x="7079351" y="554168"/>
            <a:ext cx="1664443" cy="1373775"/>
          </a:xfrm>
          <a:prstGeom prst="rect">
            <a:avLst/>
          </a:prstGeom>
          <a:effectLst>
            <a:outerShdw blurRad="127000" dir="8100000" sx="103000" sy="103000" algn="tr" rotWithShape="0">
              <a:prstClr val="black">
                <a:alpha val="18000"/>
              </a:prstClr>
            </a:outerShdw>
          </a:effectLst>
        </p:spPr>
      </p:pic>
      <p:sp>
        <p:nvSpPr>
          <p:cNvPr id="47" name="TextBox 46"/>
          <p:cNvSpPr txBox="1"/>
          <p:nvPr/>
        </p:nvSpPr>
        <p:spPr>
          <a:xfrm>
            <a:off x="7238219" y="776411"/>
            <a:ext cx="657891" cy="284703"/>
          </a:xfrm>
          <a:prstGeom prst="rect">
            <a:avLst/>
          </a:prstGeom>
          <a:noFill/>
        </p:spPr>
        <p:txBody>
          <a:bodyPr wrap="none" lIns="68589" tIns="34295" rIns="68589" bIns="34295" rtlCol="0">
            <a:spAutoFit/>
          </a:bodyPr>
          <a:lstStyle/>
          <a:p>
            <a:r>
              <a:rPr lang="en-US" dirty="0" smtClean="0">
                <a:effectLst>
                  <a:outerShdw blurRad="38100" dist="38100" dir="2700000" algn="tl">
                    <a:srgbClr val="000000">
                      <a:alpha val="43137"/>
                    </a:srgbClr>
                  </a:outerShdw>
                </a:effectLst>
                <a:latin typeface="Arial Black" pitchFamily="34" charset="0"/>
                <a:cs typeface="Arial" pitchFamily="34" charset="0"/>
              </a:rPr>
              <a:t>TEST</a:t>
            </a:r>
            <a:endParaRPr lang="en-US" dirty="0">
              <a:effectLst>
                <a:outerShdw blurRad="38100" dist="38100" dir="2700000" algn="tl">
                  <a:srgbClr val="000000">
                    <a:alpha val="43137"/>
                  </a:srgbClr>
                </a:outerShdw>
              </a:effectLst>
              <a:latin typeface="Arial Black" pitchFamily="34" charset="0"/>
              <a:cs typeface="Arial" pitchFamily="34" charset="0"/>
            </a:endParaRPr>
          </a:p>
        </p:txBody>
      </p:sp>
      <p:grpSp>
        <p:nvGrpSpPr>
          <p:cNvPr id="48" name="Group 15"/>
          <p:cNvGrpSpPr/>
          <p:nvPr/>
        </p:nvGrpSpPr>
        <p:grpSpPr>
          <a:xfrm>
            <a:off x="6999739" y="2516977"/>
            <a:ext cx="1678848" cy="1249664"/>
            <a:chOff x="5992567" y="367534"/>
            <a:chExt cx="2270836" cy="1887279"/>
          </a:xfrm>
        </p:grpSpPr>
        <p:pic>
          <p:nvPicPr>
            <p:cNvPr id="49" name="Picture 48" descr="box-ENGAGE.png"/>
            <p:cNvPicPr>
              <a:picLocks noChangeAspect="1"/>
            </p:cNvPicPr>
            <p:nvPr/>
          </p:nvPicPr>
          <p:blipFill>
            <a:blip r:embed="rId5" cstate="print"/>
            <a:stretch>
              <a:fillRect/>
            </a:stretch>
          </p:blipFill>
          <p:spPr>
            <a:xfrm>
              <a:off x="5992567" y="367534"/>
              <a:ext cx="2270836" cy="1887279"/>
            </a:xfrm>
            <a:prstGeom prst="rect">
              <a:avLst/>
            </a:prstGeom>
            <a:effectLst>
              <a:outerShdw blurRad="127000" dir="8100000" sx="103000" sy="103000" algn="tr" rotWithShape="0">
                <a:prstClr val="black">
                  <a:alpha val="18000"/>
                </a:prstClr>
              </a:outerShdw>
            </a:effectLst>
          </p:spPr>
        </p:pic>
        <p:sp>
          <p:nvSpPr>
            <p:cNvPr id="50" name="TextBox 49"/>
            <p:cNvSpPr txBox="1"/>
            <p:nvPr/>
          </p:nvSpPr>
          <p:spPr>
            <a:xfrm>
              <a:off x="6078169" y="685313"/>
              <a:ext cx="1865733" cy="464814"/>
            </a:xfrm>
            <a:prstGeom prst="rect">
              <a:avLst/>
            </a:prstGeom>
            <a:noFill/>
          </p:spPr>
          <p:txBody>
            <a:bodyPr wrap="none" rtlCol="0">
              <a:spAutoFit/>
            </a:bodyPr>
            <a:lstStyle/>
            <a:p>
              <a:r>
                <a:rPr lang="en-US" dirty="0" smtClean="0">
                  <a:effectLst>
                    <a:outerShdw blurRad="38100" dist="38100" dir="2700000" algn="tl">
                      <a:srgbClr val="000000">
                        <a:alpha val="43137"/>
                      </a:srgbClr>
                    </a:outerShdw>
                  </a:effectLst>
                  <a:latin typeface="Arial Black" pitchFamily="34" charset="0"/>
                  <a:cs typeface="Arial" pitchFamily="34" charset="0"/>
                </a:rPr>
                <a:t>TRANSLATE</a:t>
              </a:r>
              <a:endParaRPr lang="en-US" dirty="0">
                <a:effectLst>
                  <a:outerShdw blurRad="38100" dist="38100" dir="2700000" algn="tl">
                    <a:srgbClr val="000000">
                      <a:alpha val="43137"/>
                    </a:srgbClr>
                  </a:outerShdw>
                </a:effectLst>
                <a:latin typeface="Arial Black" pitchFamily="34" charset="0"/>
                <a:cs typeface="Arial" pitchFamily="34" charset="0"/>
              </a:endParaRPr>
            </a:p>
          </p:txBody>
        </p:sp>
      </p:grpSp>
      <p:grpSp>
        <p:nvGrpSpPr>
          <p:cNvPr id="51" name="Group 22"/>
          <p:cNvGrpSpPr/>
          <p:nvPr/>
        </p:nvGrpSpPr>
        <p:grpSpPr>
          <a:xfrm>
            <a:off x="2099606" y="2179092"/>
            <a:ext cx="1740475" cy="1344019"/>
            <a:chOff x="5984985" y="462552"/>
            <a:chExt cx="2197319" cy="1697243"/>
          </a:xfrm>
        </p:grpSpPr>
        <p:pic>
          <p:nvPicPr>
            <p:cNvPr id="52" name="Picture 51" descr="box-ENGAGE.png"/>
            <p:cNvPicPr>
              <a:picLocks noChangeAspect="1"/>
            </p:cNvPicPr>
            <p:nvPr/>
          </p:nvPicPr>
          <p:blipFill>
            <a:blip r:embed="rId6" cstate="print"/>
            <a:stretch>
              <a:fillRect/>
            </a:stretch>
          </p:blipFill>
          <p:spPr>
            <a:xfrm>
              <a:off x="5984985" y="462552"/>
              <a:ext cx="2197319" cy="1697243"/>
            </a:xfrm>
            <a:prstGeom prst="rect">
              <a:avLst/>
            </a:prstGeom>
            <a:effectLst>
              <a:outerShdw blurRad="127000" dir="8100000" sx="103000" sy="103000" algn="tr" rotWithShape="0">
                <a:prstClr val="black">
                  <a:alpha val="18000"/>
                </a:prstClr>
              </a:outerShdw>
            </a:effectLst>
          </p:spPr>
        </p:pic>
        <p:sp>
          <p:nvSpPr>
            <p:cNvPr id="53" name="TextBox 52"/>
            <p:cNvSpPr txBox="1"/>
            <p:nvPr/>
          </p:nvSpPr>
          <p:spPr>
            <a:xfrm>
              <a:off x="6029272" y="756744"/>
              <a:ext cx="1439301" cy="388664"/>
            </a:xfrm>
            <a:prstGeom prst="rect">
              <a:avLst/>
            </a:prstGeom>
            <a:noFill/>
          </p:spPr>
          <p:txBody>
            <a:bodyPr wrap="none" rtlCol="0">
              <a:spAutoFit/>
            </a:bodyPr>
            <a:lstStyle/>
            <a:p>
              <a:r>
                <a:rPr lang="en-US" b="1" dirty="0" smtClean="0">
                  <a:effectLst>
                    <a:outerShdw blurRad="38100" dist="38100" dir="2700000" algn="tl">
                      <a:srgbClr val="000000">
                        <a:alpha val="43137"/>
                      </a:srgbClr>
                    </a:outerShdw>
                  </a:effectLst>
                  <a:latin typeface="Arial Black" pitchFamily="34" charset="0"/>
                  <a:cs typeface="Arial" pitchFamily="34" charset="0"/>
                </a:rPr>
                <a:t>SUPPORT</a:t>
              </a:r>
              <a:endParaRPr lang="en-US" b="1" dirty="0">
                <a:effectLst>
                  <a:outerShdw blurRad="38100" dist="38100" dir="2700000" algn="tl">
                    <a:srgbClr val="000000">
                      <a:alpha val="43137"/>
                    </a:srgbClr>
                  </a:outerShdw>
                </a:effectLst>
                <a:latin typeface="Arial Black" pitchFamily="34" charset="0"/>
                <a:cs typeface="Arial" pitchFamily="34" charset="0"/>
              </a:endParaRPr>
            </a:p>
          </p:txBody>
        </p:sp>
      </p:grpSp>
      <p:sp>
        <p:nvSpPr>
          <p:cNvPr id="54" name="Oval 53"/>
          <p:cNvSpPr/>
          <p:nvPr/>
        </p:nvSpPr>
        <p:spPr>
          <a:xfrm rot="1920000">
            <a:off x="6520250" y="2192780"/>
            <a:ext cx="67184" cy="146546"/>
          </a:xfrm>
          <a:prstGeom prst="ellipse">
            <a:avLst/>
          </a:prstGeom>
          <a:solidFill>
            <a:srgbClr val="D84768"/>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a:p>
        </p:txBody>
      </p:sp>
      <p:sp>
        <p:nvSpPr>
          <p:cNvPr id="55" name="Oval 54"/>
          <p:cNvSpPr/>
          <p:nvPr/>
        </p:nvSpPr>
        <p:spPr>
          <a:xfrm rot="2820000">
            <a:off x="5233051" y="3454918"/>
            <a:ext cx="67166" cy="146584"/>
          </a:xfrm>
          <a:prstGeom prst="ellipse">
            <a:avLst/>
          </a:prstGeom>
          <a:solidFill>
            <a:srgbClr val="EE9800"/>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a:p>
        </p:txBody>
      </p:sp>
      <p:cxnSp>
        <p:nvCxnSpPr>
          <p:cNvPr id="56" name="Straight Connector 55"/>
          <p:cNvCxnSpPr>
            <a:endCxn id="64" idx="5"/>
          </p:cNvCxnSpPr>
          <p:nvPr/>
        </p:nvCxnSpPr>
        <p:spPr>
          <a:xfrm flipH="1">
            <a:off x="4572751" y="1967346"/>
            <a:ext cx="181967" cy="282277"/>
          </a:xfrm>
          <a:prstGeom prst="line">
            <a:avLst/>
          </a:prstGeom>
          <a:ln w="19050">
            <a:solidFill>
              <a:srgbClr val="63C1E6"/>
            </a:solidFill>
          </a:ln>
        </p:spPr>
        <p:style>
          <a:lnRef idx="1">
            <a:schemeClr val="accent1"/>
          </a:lnRef>
          <a:fillRef idx="0">
            <a:schemeClr val="accent1"/>
          </a:fillRef>
          <a:effectRef idx="0">
            <a:schemeClr val="accent1"/>
          </a:effectRef>
          <a:fontRef idx="minor">
            <a:schemeClr val="tx1"/>
          </a:fontRef>
        </p:style>
      </p:cxnSp>
      <p:grpSp>
        <p:nvGrpSpPr>
          <p:cNvPr id="57" name="Group 28"/>
          <p:cNvGrpSpPr/>
          <p:nvPr/>
        </p:nvGrpSpPr>
        <p:grpSpPr>
          <a:xfrm>
            <a:off x="3402047" y="858948"/>
            <a:ext cx="1761486" cy="1089875"/>
            <a:chOff x="5984984" y="555351"/>
            <a:chExt cx="2659555" cy="1645961"/>
          </a:xfrm>
        </p:grpSpPr>
        <p:pic>
          <p:nvPicPr>
            <p:cNvPr id="58" name="Picture 57" descr="box-ENGAGE.png"/>
            <p:cNvPicPr>
              <a:picLocks noChangeAspect="1"/>
            </p:cNvPicPr>
            <p:nvPr/>
          </p:nvPicPr>
          <p:blipFill>
            <a:blip r:embed="rId7" cstate="print"/>
            <a:stretch>
              <a:fillRect/>
            </a:stretch>
          </p:blipFill>
          <p:spPr>
            <a:xfrm>
              <a:off x="5984984" y="555351"/>
              <a:ext cx="2659555" cy="1645961"/>
            </a:xfrm>
            <a:prstGeom prst="rect">
              <a:avLst/>
            </a:prstGeom>
            <a:effectLst>
              <a:outerShdw blurRad="127000" dir="8100000" sx="103000" sy="103000" algn="tr" rotWithShape="0">
                <a:prstClr val="black">
                  <a:alpha val="18000"/>
                </a:prstClr>
              </a:outerShdw>
            </a:effectLst>
          </p:spPr>
        </p:pic>
        <p:sp>
          <p:nvSpPr>
            <p:cNvPr id="59" name="TextBox 58"/>
            <p:cNvSpPr txBox="1"/>
            <p:nvPr/>
          </p:nvSpPr>
          <p:spPr>
            <a:xfrm>
              <a:off x="6051379" y="569238"/>
              <a:ext cx="1690027" cy="464814"/>
            </a:xfrm>
            <a:prstGeom prst="rect">
              <a:avLst/>
            </a:prstGeom>
            <a:noFill/>
          </p:spPr>
          <p:txBody>
            <a:bodyPr wrap="none" rtlCol="0">
              <a:spAutoFit/>
            </a:bodyPr>
            <a:lstStyle/>
            <a:p>
              <a:r>
                <a:rPr lang="en-US" dirty="0" smtClean="0">
                  <a:effectLst>
                    <a:outerShdw blurRad="38100" dist="38100" dir="2700000" algn="tl">
                      <a:srgbClr val="000000">
                        <a:alpha val="43137"/>
                      </a:srgbClr>
                    </a:outerShdw>
                  </a:effectLst>
                  <a:latin typeface="Arial Black" pitchFamily="34" charset="0"/>
                  <a:cs typeface="Arial" pitchFamily="34" charset="0"/>
                </a:rPr>
                <a:t>DEVELOP</a:t>
              </a:r>
              <a:endParaRPr lang="en-US" dirty="0">
                <a:effectLst>
                  <a:outerShdw blurRad="38100" dist="38100" dir="2700000" algn="tl">
                    <a:srgbClr val="000000">
                      <a:alpha val="43137"/>
                    </a:srgbClr>
                  </a:outerShdw>
                </a:effectLst>
                <a:latin typeface="Arial Black" pitchFamily="34" charset="0"/>
                <a:cs typeface="Arial" pitchFamily="34" charset="0"/>
              </a:endParaRPr>
            </a:p>
          </p:txBody>
        </p:sp>
      </p:grpSp>
      <p:pic>
        <p:nvPicPr>
          <p:cNvPr id="60" name="Picture 59" descr="icon-SEEK.png"/>
          <p:cNvPicPr>
            <a:picLocks noChangeAspect="1"/>
          </p:cNvPicPr>
          <p:nvPr/>
        </p:nvPicPr>
        <p:blipFill>
          <a:blip r:embed="rId8" cstate="print"/>
          <a:stretch>
            <a:fillRect/>
          </a:stretch>
        </p:blipFill>
        <p:spPr>
          <a:xfrm>
            <a:off x="4599544" y="1740956"/>
            <a:ext cx="342989" cy="342900"/>
          </a:xfrm>
          <a:prstGeom prst="rect">
            <a:avLst/>
          </a:prstGeom>
          <a:effectLst>
            <a:outerShdw blurRad="127000" dir="8100000" sx="103000" sy="103000" algn="tr" rotWithShape="0">
              <a:prstClr val="black">
                <a:alpha val="18000"/>
              </a:prstClr>
            </a:outerShdw>
          </a:effectLst>
        </p:spPr>
      </p:pic>
      <p:grpSp>
        <p:nvGrpSpPr>
          <p:cNvPr id="61" name="Group 19"/>
          <p:cNvGrpSpPr/>
          <p:nvPr/>
        </p:nvGrpSpPr>
        <p:grpSpPr>
          <a:xfrm>
            <a:off x="5342024" y="3911266"/>
            <a:ext cx="1810160" cy="1079709"/>
            <a:chOff x="5984985" y="591652"/>
            <a:chExt cx="2590315" cy="1630609"/>
          </a:xfrm>
        </p:grpSpPr>
        <p:pic>
          <p:nvPicPr>
            <p:cNvPr id="62" name="Picture 61" descr="box-ENGAGE.png"/>
            <p:cNvPicPr>
              <a:picLocks noChangeAspect="1"/>
            </p:cNvPicPr>
            <p:nvPr/>
          </p:nvPicPr>
          <p:blipFill>
            <a:blip r:embed="rId9" cstate="print"/>
            <a:stretch>
              <a:fillRect/>
            </a:stretch>
          </p:blipFill>
          <p:spPr>
            <a:xfrm>
              <a:off x="5984985" y="591652"/>
              <a:ext cx="2590315" cy="1630609"/>
            </a:xfrm>
            <a:prstGeom prst="rect">
              <a:avLst/>
            </a:prstGeom>
            <a:effectLst>
              <a:outerShdw blurRad="127000" dir="8100000" sx="103000" sy="103000" algn="tr" rotWithShape="0">
                <a:prstClr val="black">
                  <a:alpha val="18000"/>
                </a:prstClr>
              </a:outerShdw>
            </a:effectLst>
          </p:spPr>
        </p:pic>
        <p:sp>
          <p:nvSpPr>
            <p:cNvPr id="63" name="TextBox 62"/>
            <p:cNvSpPr txBox="1"/>
            <p:nvPr/>
          </p:nvSpPr>
          <p:spPr>
            <a:xfrm>
              <a:off x="6122813" y="622814"/>
              <a:ext cx="1511849" cy="464814"/>
            </a:xfrm>
            <a:prstGeom prst="rect">
              <a:avLst/>
            </a:prstGeom>
            <a:noFill/>
          </p:spPr>
          <p:txBody>
            <a:bodyPr wrap="none" rtlCol="0">
              <a:spAutoFit/>
            </a:bodyPr>
            <a:lstStyle/>
            <a:p>
              <a:r>
                <a:rPr lang="en-US" dirty="0" smtClean="0">
                  <a:effectLst>
                    <a:outerShdw blurRad="38100" dist="38100" dir="2700000" algn="tl">
                      <a:srgbClr val="000000">
                        <a:alpha val="43137"/>
                      </a:srgbClr>
                    </a:outerShdw>
                  </a:effectLst>
                  <a:latin typeface="Arial Black" pitchFamily="34" charset="0"/>
                  <a:cs typeface="Arial" pitchFamily="34" charset="0"/>
                </a:rPr>
                <a:t>MANAGE</a:t>
              </a:r>
              <a:endParaRPr lang="en-US" dirty="0">
                <a:effectLst>
                  <a:outerShdw blurRad="38100" dist="38100" dir="2700000" algn="tl">
                    <a:srgbClr val="000000">
                      <a:alpha val="43137"/>
                    </a:srgbClr>
                  </a:outerShdw>
                </a:effectLst>
                <a:latin typeface="Arial Black" pitchFamily="34" charset="0"/>
                <a:cs typeface="Arial" pitchFamily="34" charset="0"/>
              </a:endParaRPr>
            </a:p>
          </p:txBody>
        </p:sp>
      </p:grpSp>
      <p:sp>
        <p:nvSpPr>
          <p:cNvPr id="64" name="Oval 63"/>
          <p:cNvSpPr/>
          <p:nvPr/>
        </p:nvSpPr>
        <p:spPr>
          <a:xfrm rot="2820000">
            <a:off x="4560871" y="2123628"/>
            <a:ext cx="67166" cy="146584"/>
          </a:xfrm>
          <a:prstGeom prst="ellipse">
            <a:avLst/>
          </a:prstGeom>
          <a:solidFill>
            <a:srgbClr val="63C1E6"/>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a:p>
        </p:txBody>
      </p:sp>
      <p:cxnSp>
        <p:nvCxnSpPr>
          <p:cNvPr id="65" name="Straight Connector 64"/>
          <p:cNvCxnSpPr>
            <a:endCxn id="66" idx="7"/>
          </p:cNvCxnSpPr>
          <p:nvPr/>
        </p:nvCxnSpPr>
        <p:spPr>
          <a:xfrm flipH="1">
            <a:off x="5916985" y="1032164"/>
            <a:ext cx="1089683" cy="337709"/>
          </a:xfrm>
          <a:prstGeom prst="line">
            <a:avLst/>
          </a:prstGeom>
          <a:ln w="19050">
            <a:solidFill>
              <a:srgbClr val="82C8BC"/>
            </a:solidFill>
          </a:ln>
        </p:spPr>
        <p:style>
          <a:lnRef idx="1">
            <a:schemeClr val="accent1"/>
          </a:lnRef>
          <a:fillRef idx="0">
            <a:schemeClr val="accent1"/>
          </a:fillRef>
          <a:effectRef idx="0">
            <a:schemeClr val="accent1"/>
          </a:effectRef>
          <a:fontRef idx="minor">
            <a:schemeClr val="tx1"/>
          </a:fontRef>
        </p:style>
      </p:cxnSp>
      <p:sp>
        <p:nvSpPr>
          <p:cNvPr id="66" name="Oval 65"/>
          <p:cNvSpPr/>
          <p:nvPr/>
        </p:nvSpPr>
        <p:spPr>
          <a:xfrm rot="3900000">
            <a:off x="5826395" y="1296955"/>
            <a:ext cx="67166" cy="146584"/>
          </a:xfrm>
          <a:prstGeom prst="ellipse">
            <a:avLst/>
          </a:prstGeom>
          <a:solidFill>
            <a:srgbClr val="82C8BC"/>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a:p>
        </p:txBody>
      </p:sp>
      <p:pic>
        <p:nvPicPr>
          <p:cNvPr id="67" name="Picture 66" descr="icon-ENGAGE.png"/>
          <p:cNvPicPr>
            <a:picLocks noChangeAspect="1"/>
          </p:cNvPicPr>
          <p:nvPr/>
        </p:nvPicPr>
        <p:blipFill>
          <a:blip r:embed="rId10" cstate="print"/>
          <a:stretch>
            <a:fillRect/>
          </a:stretch>
        </p:blipFill>
        <p:spPr>
          <a:xfrm>
            <a:off x="6937730" y="762569"/>
            <a:ext cx="342989" cy="342900"/>
          </a:xfrm>
          <a:prstGeom prst="rect">
            <a:avLst/>
          </a:prstGeom>
          <a:effectLst>
            <a:outerShdw blurRad="127000" dir="8100000" sx="103000" sy="103000" algn="tr" rotWithShape="0">
              <a:prstClr val="black">
                <a:alpha val="18000"/>
              </a:prstClr>
            </a:outerShdw>
          </a:effectLst>
        </p:spPr>
      </p:pic>
      <p:cxnSp>
        <p:nvCxnSpPr>
          <p:cNvPr id="68" name="Straight Connector 67"/>
          <p:cNvCxnSpPr>
            <a:endCxn id="69" idx="3"/>
          </p:cNvCxnSpPr>
          <p:nvPr/>
        </p:nvCxnSpPr>
        <p:spPr>
          <a:xfrm>
            <a:off x="3575700" y="3400632"/>
            <a:ext cx="244444" cy="397183"/>
          </a:xfrm>
          <a:prstGeom prst="line">
            <a:avLst/>
          </a:prstGeom>
          <a:ln w="19050">
            <a:solidFill>
              <a:srgbClr val="C1C516"/>
            </a:solidFill>
          </a:ln>
        </p:spPr>
        <p:style>
          <a:lnRef idx="1">
            <a:schemeClr val="accent1"/>
          </a:lnRef>
          <a:fillRef idx="0">
            <a:schemeClr val="accent1"/>
          </a:fillRef>
          <a:effectRef idx="0">
            <a:schemeClr val="accent1"/>
          </a:effectRef>
          <a:fontRef idx="minor">
            <a:schemeClr val="tx1"/>
          </a:fontRef>
        </p:style>
      </p:cxnSp>
      <p:sp>
        <p:nvSpPr>
          <p:cNvPr id="69" name="Oval 68"/>
          <p:cNvSpPr/>
          <p:nvPr/>
        </p:nvSpPr>
        <p:spPr>
          <a:xfrm rot="19440000">
            <a:off x="3775307" y="3668668"/>
            <a:ext cx="67184" cy="146546"/>
          </a:xfrm>
          <a:prstGeom prst="ellipse">
            <a:avLst/>
          </a:prstGeom>
          <a:solidFill>
            <a:srgbClr val="C1C516"/>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a:p>
        </p:txBody>
      </p:sp>
      <p:cxnSp>
        <p:nvCxnSpPr>
          <p:cNvPr id="70" name="Straight Connector 69"/>
          <p:cNvCxnSpPr>
            <a:stCxn id="55" idx="6"/>
            <a:endCxn id="71" idx="0"/>
          </p:cNvCxnSpPr>
          <p:nvPr/>
        </p:nvCxnSpPr>
        <p:spPr>
          <a:xfrm>
            <a:off x="5289544" y="3552771"/>
            <a:ext cx="10447" cy="520572"/>
          </a:xfrm>
          <a:prstGeom prst="line">
            <a:avLst/>
          </a:prstGeom>
          <a:ln w="19050">
            <a:solidFill>
              <a:srgbClr val="EE9800"/>
            </a:solidFill>
          </a:ln>
        </p:spPr>
        <p:style>
          <a:lnRef idx="1">
            <a:schemeClr val="accent1"/>
          </a:lnRef>
          <a:fillRef idx="0">
            <a:schemeClr val="accent1"/>
          </a:fillRef>
          <a:effectRef idx="0">
            <a:schemeClr val="accent1"/>
          </a:effectRef>
          <a:fontRef idx="minor">
            <a:schemeClr val="tx1"/>
          </a:fontRef>
        </p:style>
      </p:cxnSp>
      <p:pic>
        <p:nvPicPr>
          <p:cNvPr id="71" name="Picture 70" descr="icon-EXPERIENCE.png"/>
          <p:cNvPicPr>
            <a:picLocks noChangeAspect="1"/>
          </p:cNvPicPr>
          <p:nvPr/>
        </p:nvPicPr>
        <p:blipFill>
          <a:blip r:embed="rId11" cstate="print"/>
          <a:stretch>
            <a:fillRect/>
          </a:stretch>
        </p:blipFill>
        <p:spPr>
          <a:xfrm>
            <a:off x="5134848" y="4073343"/>
            <a:ext cx="330286" cy="342900"/>
          </a:xfrm>
          <a:prstGeom prst="rect">
            <a:avLst/>
          </a:prstGeom>
          <a:effectLst>
            <a:outerShdw blurRad="127000" dir="8100000" sx="103000" sy="103000" algn="tr" rotWithShape="0">
              <a:prstClr val="black">
                <a:alpha val="18000"/>
              </a:prstClr>
            </a:outerShdw>
          </a:effectLst>
        </p:spPr>
      </p:pic>
      <p:cxnSp>
        <p:nvCxnSpPr>
          <p:cNvPr id="72" name="Straight Connector 71"/>
          <p:cNvCxnSpPr>
            <a:stCxn id="54" idx="6"/>
          </p:cNvCxnSpPr>
          <p:nvPr/>
        </p:nvCxnSpPr>
        <p:spPr>
          <a:xfrm>
            <a:off x="6582329" y="2283849"/>
            <a:ext cx="562920" cy="279519"/>
          </a:xfrm>
          <a:prstGeom prst="line">
            <a:avLst/>
          </a:prstGeom>
          <a:ln w="19050">
            <a:solidFill>
              <a:srgbClr val="D84768"/>
            </a:solidFill>
          </a:ln>
        </p:spPr>
        <p:style>
          <a:lnRef idx="1">
            <a:schemeClr val="accent1"/>
          </a:lnRef>
          <a:fillRef idx="0">
            <a:schemeClr val="accent1"/>
          </a:fillRef>
          <a:effectRef idx="0">
            <a:schemeClr val="accent1"/>
          </a:effectRef>
          <a:fontRef idx="minor">
            <a:schemeClr val="tx1"/>
          </a:fontRef>
        </p:style>
      </p:cxnSp>
      <p:pic>
        <p:nvPicPr>
          <p:cNvPr id="73" name="Picture 72" descr="icon-BUY.png"/>
          <p:cNvPicPr>
            <a:picLocks noChangeAspect="1"/>
          </p:cNvPicPr>
          <p:nvPr/>
        </p:nvPicPr>
        <p:blipFill>
          <a:blip r:embed="rId12" cstate="print"/>
          <a:stretch>
            <a:fillRect/>
          </a:stretch>
        </p:blipFill>
        <p:spPr>
          <a:xfrm>
            <a:off x="7005728" y="2428065"/>
            <a:ext cx="330286" cy="342900"/>
          </a:xfrm>
          <a:prstGeom prst="rect">
            <a:avLst/>
          </a:prstGeom>
          <a:effectLst>
            <a:outerShdw blurRad="127000" dir="8100000" sx="103000" sy="103000" algn="tr" rotWithShape="0">
              <a:prstClr val="black">
                <a:alpha val="18000"/>
              </a:prstClr>
            </a:outerShdw>
          </a:effectLst>
        </p:spPr>
      </p:pic>
      <p:sp>
        <p:nvSpPr>
          <p:cNvPr id="74" name="TextBox 73"/>
          <p:cNvSpPr txBox="1"/>
          <p:nvPr/>
        </p:nvSpPr>
        <p:spPr>
          <a:xfrm>
            <a:off x="3459891" y="1097433"/>
            <a:ext cx="1348304" cy="692498"/>
          </a:xfrm>
          <a:prstGeom prst="rect">
            <a:avLst/>
          </a:prstGeom>
          <a:noFill/>
        </p:spPr>
        <p:txBody>
          <a:bodyPr wrap="square" lIns="68589" tIns="34295" rIns="68589" bIns="34295" rtlCol="0">
            <a:spAutoFit/>
          </a:bodyPr>
          <a:lstStyle/>
          <a:p>
            <a:pPr>
              <a:lnSpc>
                <a:spcPct val="90000"/>
              </a:lnSpc>
            </a:pPr>
            <a:r>
              <a:rPr lang="en-US" sz="900" b="1" dirty="0">
                <a:solidFill>
                  <a:schemeClr val="bg1"/>
                </a:solidFill>
                <a:effectLst>
                  <a:outerShdw blurRad="38100" dist="38100" dir="2700000" algn="tl">
                    <a:srgbClr val="000000">
                      <a:alpha val="43137"/>
                    </a:srgbClr>
                  </a:outerShdw>
                </a:effectLst>
                <a:latin typeface="Arial" pitchFamily="34" charset="0"/>
                <a:cs typeface="Arial" pitchFamily="34" charset="0"/>
              </a:rPr>
              <a:t>We create locally relevant sales and marketing content to accelerate our clients’ global revenue.</a:t>
            </a:r>
            <a:endParaRPr lang="en-US" sz="900" b="1" dirty="0">
              <a:solidFill>
                <a:schemeClr val="bg1"/>
              </a:solidFill>
              <a:effectLst>
                <a:outerShdw blurRad="38100" dist="38100" dir="2700000" algn="tl">
                  <a:srgbClr val="000000">
                    <a:alpha val="43137"/>
                  </a:srgbClr>
                </a:outerShdw>
              </a:effectLst>
              <a:latin typeface="Arial" pitchFamily="34" charset="0"/>
              <a:cs typeface="Arial" pitchFamily="34" charset="0"/>
            </a:endParaRPr>
          </a:p>
        </p:txBody>
      </p:sp>
      <p:sp>
        <p:nvSpPr>
          <p:cNvPr id="75" name="TextBox 74"/>
          <p:cNvSpPr txBox="1"/>
          <p:nvPr/>
        </p:nvSpPr>
        <p:spPr>
          <a:xfrm>
            <a:off x="7248346" y="1025364"/>
            <a:ext cx="1477705" cy="817147"/>
          </a:xfrm>
          <a:prstGeom prst="rect">
            <a:avLst/>
          </a:prstGeom>
          <a:noFill/>
        </p:spPr>
        <p:txBody>
          <a:bodyPr wrap="square" lIns="68589" tIns="34295" rIns="68589" bIns="34295" rtlCol="0">
            <a:spAutoFit/>
          </a:bodyPr>
          <a:lstStyle/>
          <a:p>
            <a:pPr>
              <a:lnSpc>
                <a:spcPct val="90000"/>
              </a:lnSpc>
            </a:pPr>
            <a:r>
              <a:rPr lang="en-US" sz="900" b="1" dirty="0">
                <a:solidFill>
                  <a:schemeClr val="bg1"/>
                </a:solidFill>
                <a:effectLst>
                  <a:outerShdw blurRad="38100" dist="38100" dir="2700000" algn="tl">
                    <a:srgbClr val="000000">
                      <a:alpha val="43137"/>
                    </a:srgbClr>
                  </a:outerShdw>
                </a:effectLst>
                <a:latin typeface="Arial" pitchFamily="34" charset="0"/>
                <a:cs typeface="Arial" pitchFamily="34" charset="0"/>
              </a:rPr>
              <a:t>We test software and online search results to help clients market and sell high-quality, relevant applications in global markets</a:t>
            </a:r>
            <a:endParaRPr lang="en-US" sz="900" b="1" dirty="0">
              <a:solidFill>
                <a:schemeClr val="bg1"/>
              </a:solidFill>
              <a:effectLst>
                <a:outerShdw blurRad="38100" dist="38100" dir="2700000" algn="tl">
                  <a:srgbClr val="000000">
                    <a:alpha val="43137"/>
                  </a:srgbClr>
                </a:outerShdw>
              </a:effectLst>
              <a:latin typeface="Arial" pitchFamily="34" charset="0"/>
              <a:cs typeface="Arial" pitchFamily="34" charset="0"/>
            </a:endParaRPr>
          </a:p>
        </p:txBody>
      </p:sp>
      <p:sp>
        <p:nvSpPr>
          <p:cNvPr id="76" name="TextBox 75"/>
          <p:cNvSpPr txBox="1"/>
          <p:nvPr/>
        </p:nvSpPr>
        <p:spPr>
          <a:xfrm>
            <a:off x="7069030" y="2979179"/>
            <a:ext cx="1573875" cy="692498"/>
          </a:xfrm>
          <a:prstGeom prst="rect">
            <a:avLst/>
          </a:prstGeom>
          <a:noFill/>
        </p:spPr>
        <p:txBody>
          <a:bodyPr wrap="square" lIns="68589" tIns="34295" rIns="68589" bIns="34295" rtlCol="0">
            <a:spAutoFit/>
          </a:bodyPr>
          <a:lstStyle/>
          <a:p>
            <a:pPr>
              <a:lnSpc>
                <a:spcPct val="90000"/>
              </a:lnSpc>
            </a:pPr>
            <a:r>
              <a:rPr lang="en-US" sz="900" b="1" dirty="0">
                <a:solidFill>
                  <a:schemeClr val="bg1"/>
                </a:solidFill>
                <a:latin typeface="Arial" pitchFamily="34" charset="0"/>
                <a:cs typeface="Arial" pitchFamily="34" charset="0"/>
              </a:rPr>
              <a:t>We translate our clients’ applications and content, enabling them to deliver a superior customer experience worldwide </a:t>
            </a:r>
            <a:endParaRPr lang="en-US" sz="900" b="1" dirty="0">
              <a:solidFill>
                <a:schemeClr val="bg1"/>
              </a:solidFill>
              <a:latin typeface="Arial" pitchFamily="34" charset="0"/>
              <a:cs typeface="Arial" pitchFamily="34" charset="0"/>
            </a:endParaRPr>
          </a:p>
        </p:txBody>
      </p:sp>
      <p:sp>
        <p:nvSpPr>
          <p:cNvPr id="77" name="TextBox 76"/>
          <p:cNvSpPr txBox="1"/>
          <p:nvPr/>
        </p:nvSpPr>
        <p:spPr>
          <a:xfrm>
            <a:off x="5397694" y="4128681"/>
            <a:ext cx="1477705" cy="817147"/>
          </a:xfrm>
          <a:prstGeom prst="rect">
            <a:avLst/>
          </a:prstGeom>
          <a:noFill/>
        </p:spPr>
        <p:txBody>
          <a:bodyPr wrap="square" lIns="68589" tIns="34295" rIns="68589" bIns="34295" rtlCol="0">
            <a:spAutoFit/>
          </a:bodyPr>
          <a:lstStyle/>
          <a:p>
            <a:pPr>
              <a:lnSpc>
                <a:spcPct val="90000"/>
              </a:lnSpc>
            </a:pPr>
            <a:r>
              <a:rPr lang="en-US" sz="900" b="1" dirty="0">
                <a:solidFill>
                  <a:schemeClr val="bg1"/>
                </a:solidFill>
                <a:effectLst>
                  <a:outerShdw blurRad="38100" dist="38100" dir="2700000" algn="tl">
                    <a:srgbClr val="000000">
                      <a:alpha val="43137"/>
                    </a:srgbClr>
                  </a:outerShdw>
                </a:effectLst>
                <a:latin typeface="Arial" pitchFamily="34" charset="0"/>
                <a:cs typeface="Arial" pitchFamily="34" charset="0"/>
              </a:rPr>
              <a:t>We manage our clients’ business-critical product and content releases in hundreds of global markets  and languages</a:t>
            </a:r>
            <a:endParaRPr lang="en-US" sz="900" b="1" dirty="0">
              <a:solidFill>
                <a:schemeClr val="bg1"/>
              </a:solidFill>
              <a:effectLst>
                <a:outerShdw blurRad="38100" dist="38100" dir="2700000" algn="tl">
                  <a:srgbClr val="000000">
                    <a:alpha val="43137"/>
                  </a:srgbClr>
                </a:outerShdw>
              </a:effectLst>
              <a:latin typeface="Arial" pitchFamily="34" charset="0"/>
              <a:cs typeface="Arial" pitchFamily="34" charset="0"/>
            </a:endParaRPr>
          </a:p>
        </p:txBody>
      </p:sp>
      <p:sp>
        <p:nvSpPr>
          <p:cNvPr id="78" name="TextBox 77"/>
          <p:cNvSpPr txBox="1"/>
          <p:nvPr/>
        </p:nvSpPr>
        <p:spPr>
          <a:xfrm>
            <a:off x="2088431" y="2621698"/>
            <a:ext cx="1743406" cy="692498"/>
          </a:xfrm>
          <a:prstGeom prst="rect">
            <a:avLst/>
          </a:prstGeom>
          <a:noFill/>
        </p:spPr>
        <p:txBody>
          <a:bodyPr wrap="square" lIns="68589" tIns="34295" rIns="68589" bIns="34295" rtlCol="0">
            <a:spAutoFit/>
          </a:bodyPr>
          <a:lstStyle/>
          <a:p>
            <a:pPr>
              <a:lnSpc>
                <a:spcPct val="90000"/>
              </a:lnSpc>
            </a:pPr>
            <a:r>
              <a:rPr lang="en-US" sz="900" b="1" dirty="0">
                <a:solidFill>
                  <a:schemeClr val="bg1"/>
                </a:solidFill>
                <a:effectLst>
                  <a:outerShdw blurRad="38100" dist="38100" dir="2700000" algn="tl">
                    <a:srgbClr val="000000">
                      <a:alpha val="43137"/>
                    </a:srgbClr>
                  </a:outerShdw>
                </a:effectLst>
                <a:latin typeface="Arial" pitchFamily="34" charset="0"/>
                <a:cs typeface="Arial" pitchFamily="34" charset="0"/>
              </a:rPr>
              <a:t>We author and illustrate technical documentation for clients who serve and support customers in global markets</a:t>
            </a:r>
          </a:p>
        </p:txBody>
      </p:sp>
      <p:pic>
        <p:nvPicPr>
          <p:cNvPr id="79" name="Picture 78" descr="icon-SUPPORT.png"/>
          <p:cNvPicPr>
            <a:picLocks noChangeAspect="1"/>
          </p:cNvPicPr>
          <p:nvPr/>
        </p:nvPicPr>
        <p:blipFill>
          <a:blip r:embed="rId13" cstate="print"/>
          <a:stretch>
            <a:fillRect/>
          </a:stretch>
        </p:blipFill>
        <p:spPr>
          <a:xfrm>
            <a:off x="3418375" y="3293749"/>
            <a:ext cx="330286" cy="342900"/>
          </a:xfrm>
          <a:prstGeom prst="rect">
            <a:avLst/>
          </a:prstGeom>
        </p:spPr>
      </p:pic>
      <p:sp>
        <p:nvSpPr>
          <p:cNvPr id="81" name="Title 1"/>
          <p:cNvSpPr txBox="1">
            <a:spLocks/>
          </p:cNvSpPr>
          <p:nvPr/>
        </p:nvSpPr>
        <p:spPr>
          <a:xfrm>
            <a:off x="344230" y="1442089"/>
            <a:ext cx="1602035" cy="2617640"/>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IE" sz="2700" dirty="0">
                <a:solidFill>
                  <a:schemeClr val="accent1"/>
                </a:solidFill>
              </a:rPr>
              <a:t>Enabling every touch point of the </a:t>
            </a:r>
            <a:r>
              <a:rPr lang="en-IE" sz="2700" dirty="0">
                <a:solidFill>
                  <a:schemeClr val="accent1"/>
                </a:solidFill>
              </a:rPr>
              <a:t>g</a:t>
            </a:r>
            <a:r>
              <a:rPr lang="en-IE" sz="2700" dirty="0">
                <a:solidFill>
                  <a:schemeClr val="accent1"/>
                </a:solidFill>
              </a:rPr>
              <a:t>lobal customer lifecycle</a:t>
            </a:r>
            <a:endParaRPr lang="en-IE" sz="2700" dirty="0"/>
          </a:p>
        </p:txBody>
      </p:sp>
      <p:sp>
        <p:nvSpPr>
          <p:cNvPr id="39"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40"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4"/>
              </a:rPr>
              <a:t>www.rapidbbs.cn</a:t>
            </a:r>
            <a:endParaRPr lang="zh-CN" altLang="en-US" sz="1200" b="0">
              <a:latin typeface="Arial" charset="0"/>
              <a:ea typeface="ＭＳ Ｐゴシック" pitchFamily="34" charset="-128"/>
            </a:endParaRPr>
          </a:p>
        </p:txBody>
      </p:sp>
      <p:pic>
        <p:nvPicPr>
          <p:cNvPr id="41" name="Picture 2">
            <a:hlinkClick r:id="rId14"/>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716227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afterEffect">
                                  <p:stCondLst>
                                    <p:cond delay="0"/>
                                  </p:stCondLst>
                                  <p:childTnLst>
                                    <p:set>
                                      <p:cBhvr>
                                        <p:cTn id="6" dur="1" fill="hold">
                                          <p:stCondLst>
                                            <p:cond delay="0"/>
                                          </p:stCondLst>
                                        </p:cTn>
                                        <p:tgtEl>
                                          <p:spTgt spid="74"/>
                                        </p:tgtEl>
                                        <p:attrNameLst>
                                          <p:attrName>style.visibility</p:attrName>
                                        </p:attrNameLst>
                                      </p:cBhvr>
                                      <p:to>
                                        <p:strVal val="visible"/>
                                      </p:to>
                                    </p:set>
                                    <p:animEffect transition="in" filter="dissolve">
                                      <p:cBhvr>
                                        <p:cTn id="7" dur="500"/>
                                        <p:tgtEl>
                                          <p:spTgt spid="74"/>
                                        </p:tgtEl>
                                      </p:cBhvr>
                                    </p:animEffect>
                                  </p:childTnLst>
                                </p:cTn>
                              </p:par>
                              <p:par>
                                <p:cTn id="8" presetID="9" presetClass="entr" presetSubtype="0" fill="hold" nodeType="withEffect">
                                  <p:stCondLst>
                                    <p:cond delay="0"/>
                                  </p:stCondLst>
                                  <p:childTnLst>
                                    <p:set>
                                      <p:cBhvr>
                                        <p:cTn id="9" dur="1" fill="hold">
                                          <p:stCondLst>
                                            <p:cond delay="0"/>
                                          </p:stCondLst>
                                        </p:cTn>
                                        <p:tgtEl>
                                          <p:spTgt spid="60"/>
                                        </p:tgtEl>
                                        <p:attrNameLst>
                                          <p:attrName>style.visibility</p:attrName>
                                        </p:attrNameLst>
                                      </p:cBhvr>
                                      <p:to>
                                        <p:strVal val="visible"/>
                                      </p:to>
                                    </p:set>
                                    <p:animEffect transition="in" filter="dissolve">
                                      <p:cBhvr>
                                        <p:cTn id="10" dur="500"/>
                                        <p:tgtEl>
                                          <p:spTgt spid="60"/>
                                        </p:tgtEl>
                                      </p:cBhvr>
                                    </p:animEffect>
                                  </p:childTnLst>
                                </p:cTn>
                              </p:par>
                              <p:par>
                                <p:cTn id="11" presetID="9" presetClass="entr" presetSubtype="0" fill="hold" nodeType="withEffect">
                                  <p:stCondLst>
                                    <p:cond delay="0"/>
                                  </p:stCondLst>
                                  <p:childTnLst>
                                    <p:set>
                                      <p:cBhvr>
                                        <p:cTn id="12" dur="1" fill="hold">
                                          <p:stCondLst>
                                            <p:cond delay="0"/>
                                          </p:stCondLst>
                                        </p:cTn>
                                        <p:tgtEl>
                                          <p:spTgt spid="57"/>
                                        </p:tgtEl>
                                        <p:attrNameLst>
                                          <p:attrName>style.visibility</p:attrName>
                                        </p:attrNameLst>
                                      </p:cBhvr>
                                      <p:to>
                                        <p:strVal val="visible"/>
                                      </p:to>
                                    </p:set>
                                    <p:animEffect transition="in" filter="dissolve">
                                      <p:cBhvr>
                                        <p:cTn id="13" dur="500"/>
                                        <p:tgtEl>
                                          <p:spTgt spid="57"/>
                                        </p:tgtEl>
                                      </p:cBhvr>
                                    </p:animEffect>
                                  </p:childTnLst>
                                </p:cTn>
                              </p:par>
                            </p:childTnLst>
                          </p:cTn>
                        </p:par>
                        <p:par>
                          <p:cTn id="14" fill="hold">
                            <p:stCondLst>
                              <p:cond delay="500"/>
                            </p:stCondLst>
                            <p:childTnLst>
                              <p:par>
                                <p:cTn id="15" presetID="9" presetClass="entr" presetSubtype="0" fill="hold" nodeType="afterEffect">
                                  <p:stCondLst>
                                    <p:cond delay="0"/>
                                  </p:stCondLst>
                                  <p:childTnLst>
                                    <p:set>
                                      <p:cBhvr>
                                        <p:cTn id="16" dur="1" fill="hold">
                                          <p:stCondLst>
                                            <p:cond delay="0"/>
                                          </p:stCondLst>
                                        </p:cTn>
                                        <p:tgtEl>
                                          <p:spTgt spid="46"/>
                                        </p:tgtEl>
                                        <p:attrNameLst>
                                          <p:attrName>style.visibility</p:attrName>
                                        </p:attrNameLst>
                                      </p:cBhvr>
                                      <p:to>
                                        <p:strVal val="visible"/>
                                      </p:to>
                                    </p:set>
                                    <p:animEffect transition="in" filter="dissolve">
                                      <p:cBhvr>
                                        <p:cTn id="17" dur="500"/>
                                        <p:tgtEl>
                                          <p:spTgt spid="46"/>
                                        </p:tgtEl>
                                      </p:cBhvr>
                                    </p:animEffect>
                                  </p:childTnLst>
                                </p:cTn>
                              </p:par>
                              <p:par>
                                <p:cTn id="18" presetID="9" presetClass="entr" presetSubtype="0" fill="hold" grpId="0" nodeType="withEffect">
                                  <p:stCondLst>
                                    <p:cond delay="0"/>
                                  </p:stCondLst>
                                  <p:childTnLst>
                                    <p:set>
                                      <p:cBhvr>
                                        <p:cTn id="19" dur="1" fill="hold">
                                          <p:stCondLst>
                                            <p:cond delay="0"/>
                                          </p:stCondLst>
                                        </p:cTn>
                                        <p:tgtEl>
                                          <p:spTgt spid="47"/>
                                        </p:tgtEl>
                                        <p:attrNameLst>
                                          <p:attrName>style.visibility</p:attrName>
                                        </p:attrNameLst>
                                      </p:cBhvr>
                                      <p:to>
                                        <p:strVal val="visible"/>
                                      </p:to>
                                    </p:set>
                                    <p:animEffect transition="in" filter="dissolve">
                                      <p:cBhvr>
                                        <p:cTn id="20" dur="500"/>
                                        <p:tgtEl>
                                          <p:spTgt spid="47"/>
                                        </p:tgtEl>
                                      </p:cBhvr>
                                    </p:animEffect>
                                  </p:childTnLst>
                                </p:cTn>
                              </p:par>
                              <p:par>
                                <p:cTn id="21" presetID="9" presetClass="entr" presetSubtype="0" fill="hold" nodeType="withEffect">
                                  <p:stCondLst>
                                    <p:cond delay="0"/>
                                  </p:stCondLst>
                                  <p:childTnLst>
                                    <p:set>
                                      <p:cBhvr>
                                        <p:cTn id="22" dur="1" fill="hold">
                                          <p:stCondLst>
                                            <p:cond delay="0"/>
                                          </p:stCondLst>
                                        </p:cTn>
                                        <p:tgtEl>
                                          <p:spTgt spid="65"/>
                                        </p:tgtEl>
                                        <p:attrNameLst>
                                          <p:attrName>style.visibility</p:attrName>
                                        </p:attrNameLst>
                                      </p:cBhvr>
                                      <p:to>
                                        <p:strVal val="visible"/>
                                      </p:to>
                                    </p:set>
                                    <p:animEffect transition="in" filter="dissolve">
                                      <p:cBhvr>
                                        <p:cTn id="23" dur="500"/>
                                        <p:tgtEl>
                                          <p:spTgt spid="65"/>
                                        </p:tgtEl>
                                      </p:cBhvr>
                                    </p:animEffect>
                                  </p:childTnLst>
                                </p:cTn>
                              </p:par>
                              <p:par>
                                <p:cTn id="24" presetID="9" presetClass="entr" presetSubtype="0" fill="hold" nodeType="withEffect">
                                  <p:stCondLst>
                                    <p:cond delay="0"/>
                                  </p:stCondLst>
                                  <p:childTnLst>
                                    <p:set>
                                      <p:cBhvr>
                                        <p:cTn id="25" dur="1" fill="hold">
                                          <p:stCondLst>
                                            <p:cond delay="0"/>
                                          </p:stCondLst>
                                        </p:cTn>
                                        <p:tgtEl>
                                          <p:spTgt spid="67"/>
                                        </p:tgtEl>
                                        <p:attrNameLst>
                                          <p:attrName>style.visibility</p:attrName>
                                        </p:attrNameLst>
                                      </p:cBhvr>
                                      <p:to>
                                        <p:strVal val="visible"/>
                                      </p:to>
                                    </p:set>
                                    <p:animEffect transition="in" filter="dissolve">
                                      <p:cBhvr>
                                        <p:cTn id="26" dur="500"/>
                                        <p:tgtEl>
                                          <p:spTgt spid="67"/>
                                        </p:tgtEl>
                                      </p:cBhvr>
                                    </p:animEffect>
                                  </p:childTnLst>
                                </p:cTn>
                              </p:par>
                              <p:par>
                                <p:cTn id="27" presetID="9" presetClass="entr" presetSubtype="0" fill="hold" grpId="0" nodeType="withEffect">
                                  <p:stCondLst>
                                    <p:cond delay="0"/>
                                  </p:stCondLst>
                                  <p:childTnLst>
                                    <p:set>
                                      <p:cBhvr>
                                        <p:cTn id="28" dur="1" fill="hold">
                                          <p:stCondLst>
                                            <p:cond delay="0"/>
                                          </p:stCondLst>
                                        </p:cTn>
                                        <p:tgtEl>
                                          <p:spTgt spid="75"/>
                                        </p:tgtEl>
                                        <p:attrNameLst>
                                          <p:attrName>style.visibility</p:attrName>
                                        </p:attrNameLst>
                                      </p:cBhvr>
                                      <p:to>
                                        <p:strVal val="visible"/>
                                      </p:to>
                                    </p:set>
                                    <p:animEffect transition="in" filter="dissolve">
                                      <p:cBhvr>
                                        <p:cTn id="29" dur="500"/>
                                        <p:tgtEl>
                                          <p:spTgt spid="75"/>
                                        </p:tgtEl>
                                      </p:cBhvr>
                                    </p:animEffect>
                                  </p:childTnLst>
                                </p:cTn>
                              </p:par>
                            </p:childTnLst>
                          </p:cTn>
                        </p:par>
                        <p:par>
                          <p:cTn id="30" fill="hold">
                            <p:stCondLst>
                              <p:cond delay="1000"/>
                            </p:stCondLst>
                            <p:childTnLst>
                              <p:par>
                                <p:cTn id="31" presetID="9" presetClass="entr" presetSubtype="0" fill="hold" nodeType="afterEffect">
                                  <p:stCondLst>
                                    <p:cond delay="0"/>
                                  </p:stCondLst>
                                  <p:childTnLst>
                                    <p:set>
                                      <p:cBhvr>
                                        <p:cTn id="32" dur="1" fill="hold">
                                          <p:stCondLst>
                                            <p:cond delay="0"/>
                                          </p:stCondLst>
                                        </p:cTn>
                                        <p:tgtEl>
                                          <p:spTgt spid="48"/>
                                        </p:tgtEl>
                                        <p:attrNameLst>
                                          <p:attrName>style.visibility</p:attrName>
                                        </p:attrNameLst>
                                      </p:cBhvr>
                                      <p:to>
                                        <p:strVal val="visible"/>
                                      </p:to>
                                    </p:set>
                                    <p:animEffect transition="in" filter="dissolve">
                                      <p:cBhvr>
                                        <p:cTn id="33" dur="500"/>
                                        <p:tgtEl>
                                          <p:spTgt spid="48"/>
                                        </p:tgtEl>
                                      </p:cBhvr>
                                    </p:animEffect>
                                  </p:childTnLst>
                                </p:cTn>
                              </p:par>
                              <p:par>
                                <p:cTn id="34" presetID="9" presetClass="entr" presetSubtype="0" fill="hold" nodeType="withEffect">
                                  <p:stCondLst>
                                    <p:cond delay="0"/>
                                  </p:stCondLst>
                                  <p:childTnLst>
                                    <p:set>
                                      <p:cBhvr>
                                        <p:cTn id="35" dur="1" fill="hold">
                                          <p:stCondLst>
                                            <p:cond delay="0"/>
                                          </p:stCondLst>
                                        </p:cTn>
                                        <p:tgtEl>
                                          <p:spTgt spid="72"/>
                                        </p:tgtEl>
                                        <p:attrNameLst>
                                          <p:attrName>style.visibility</p:attrName>
                                        </p:attrNameLst>
                                      </p:cBhvr>
                                      <p:to>
                                        <p:strVal val="visible"/>
                                      </p:to>
                                    </p:set>
                                    <p:animEffect transition="in" filter="dissolve">
                                      <p:cBhvr>
                                        <p:cTn id="36" dur="500"/>
                                        <p:tgtEl>
                                          <p:spTgt spid="72"/>
                                        </p:tgtEl>
                                      </p:cBhvr>
                                    </p:animEffect>
                                  </p:childTnLst>
                                </p:cTn>
                              </p:par>
                              <p:par>
                                <p:cTn id="37" presetID="9" presetClass="entr" presetSubtype="0" fill="hold" nodeType="withEffect">
                                  <p:stCondLst>
                                    <p:cond delay="0"/>
                                  </p:stCondLst>
                                  <p:childTnLst>
                                    <p:set>
                                      <p:cBhvr>
                                        <p:cTn id="38" dur="1" fill="hold">
                                          <p:stCondLst>
                                            <p:cond delay="0"/>
                                          </p:stCondLst>
                                        </p:cTn>
                                        <p:tgtEl>
                                          <p:spTgt spid="73"/>
                                        </p:tgtEl>
                                        <p:attrNameLst>
                                          <p:attrName>style.visibility</p:attrName>
                                        </p:attrNameLst>
                                      </p:cBhvr>
                                      <p:to>
                                        <p:strVal val="visible"/>
                                      </p:to>
                                    </p:set>
                                    <p:animEffect transition="in" filter="dissolve">
                                      <p:cBhvr>
                                        <p:cTn id="39" dur="500"/>
                                        <p:tgtEl>
                                          <p:spTgt spid="73"/>
                                        </p:tgtEl>
                                      </p:cBhvr>
                                    </p:animEffect>
                                  </p:childTnLst>
                                </p:cTn>
                              </p:par>
                              <p:par>
                                <p:cTn id="40" presetID="9" presetClass="entr" presetSubtype="0" fill="hold" grpId="0" nodeType="withEffect">
                                  <p:stCondLst>
                                    <p:cond delay="0"/>
                                  </p:stCondLst>
                                  <p:childTnLst>
                                    <p:set>
                                      <p:cBhvr>
                                        <p:cTn id="41" dur="1" fill="hold">
                                          <p:stCondLst>
                                            <p:cond delay="0"/>
                                          </p:stCondLst>
                                        </p:cTn>
                                        <p:tgtEl>
                                          <p:spTgt spid="76"/>
                                        </p:tgtEl>
                                        <p:attrNameLst>
                                          <p:attrName>style.visibility</p:attrName>
                                        </p:attrNameLst>
                                      </p:cBhvr>
                                      <p:to>
                                        <p:strVal val="visible"/>
                                      </p:to>
                                    </p:set>
                                    <p:animEffect transition="in" filter="dissolve">
                                      <p:cBhvr>
                                        <p:cTn id="42" dur="500"/>
                                        <p:tgtEl>
                                          <p:spTgt spid="76"/>
                                        </p:tgtEl>
                                      </p:cBhvr>
                                    </p:animEffect>
                                  </p:childTnLst>
                                </p:cTn>
                              </p:par>
                            </p:childTnLst>
                          </p:cTn>
                        </p:par>
                        <p:par>
                          <p:cTn id="43" fill="hold">
                            <p:stCondLst>
                              <p:cond delay="1500"/>
                            </p:stCondLst>
                            <p:childTnLst>
                              <p:par>
                                <p:cTn id="44" presetID="9" presetClass="entr" presetSubtype="0" fill="hold" nodeType="afterEffect">
                                  <p:stCondLst>
                                    <p:cond delay="0"/>
                                  </p:stCondLst>
                                  <p:childTnLst>
                                    <p:set>
                                      <p:cBhvr>
                                        <p:cTn id="45" dur="1" fill="hold">
                                          <p:stCondLst>
                                            <p:cond delay="0"/>
                                          </p:stCondLst>
                                        </p:cTn>
                                        <p:tgtEl>
                                          <p:spTgt spid="61"/>
                                        </p:tgtEl>
                                        <p:attrNameLst>
                                          <p:attrName>style.visibility</p:attrName>
                                        </p:attrNameLst>
                                      </p:cBhvr>
                                      <p:to>
                                        <p:strVal val="visible"/>
                                      </p:to>
                                    </p:set>
                                    <p:animEffect transition="in" filter="dissolve">
                                      <p:cBhvr>
                                        <p:cTn id="46" dur="500"/>
                                        <p:tgtEl>
                                          <p:spTgt spid="61"/>
                                        </p:tgtEl>
                                      </p:cBhvr>
                                    </p:animEffect>
                                  </p:childTnLst>
                                </p:cTn>
                              </p:par>
                              <p:par>
                                <p:cTn id="47" presetID="9" presetClass="entr" presetSubtype="0" fill="hold" nodeType="withEffect">
                                  <p:stCondLst>
                                    <p:cond delay="0"/>
                                  </p:stCondLst>
                                  <p:childTnLst>
                                    <p:set>
                                      <p:cBhvr>
                                        <p:cTn id="48" dur="1" fill="hold">
                                          <p:stCondLst>
                                            <p:cond delay="0"/>
                                          </p:stCondLst>
                                        </p:cTn>
                                        <p:tgtEl>
                                          <p:spTgt spid="71"/>
                                        </p:tgtEl>
                                        <p:attrNameLst>
                                          <p:attrName>style.visibility</p:attrName>
                                        </p:attrNameLst>
                                      </p:cBhvr>
                                      <p:to>
                                        <p:strVal val="visible"/>
                                      </p:to>
                                    </p:set>
                                    <p:animEffect transition="in" filter="dissolve">
                                      <p:cBhvr>
                                        <p:cTn id="49" dur="500"/>
                                        <p:tgtEl>
                                          <p:spTgt spid="71"/>
                                        </p:tgtEl>
                                      </p:cBhvr>
                                    </p:animEffect>
                                  </p:childTnLst>
                                </p:cTn>
                              </p:par>
                              <p:par>
                                <p:cTn id="50" presetID="9" presetClass="entr" presetSubtype="0" fill="hold" grpId="0" nodeType="withEffect">
                                  <p:stCondLst>
                                    <p:cond delay="0"/>
                                  </p:stCondLst>
                                  <p:childTnLst>
                                    <p:set>
                                      <p:cBhvr>
                                        <p:cTn id="51" dur="1" fill="hold">
                                          <p:stCondLst>
                                            <p:cond delay="0"/>
                                          </p:stCondLst>
                                        </p:cTn>
                                        <p:tgtEl>
                                          <p:spTgt spid="77"/>
                                        </p:tgtEl>
                                        <p:attrNameLst>
                                          <p:attrName>style.visibility</p:attrName>
                                        </p:attrNameLst>
                                      </p:cBhvr>
                                      <p:to>
                                        <p:strVal val="visible"/>
                                      </p:to>
                                    </p:set>
                                    <p:animEffect transition="in" filter="dissolve">
                                      <p:cBhvr>
                                        <p:cTn id="52" dur="500"/>
                                        <p:tgtEl>
                                          <p:spTgt spid="77"/>
                                        </p:tgtEl>
                                      </p:cBhvr>
                                    </p:animEffect>
                                  </p:childTnLst>
                                </p:cTn>
                              </p:par>
                              <p:par>
                                <p:cTn id="53" presetID="9" presetClass="entr" presetSubtype="0" fill="hold" nodeType="withEffect">
                                  <p:stCondLst>
                                    <p:cond delay="0"/>
                                  </p:stCondLst>
                                  <p:childTnLst>
                                    <p:set>
                                      <p:cBhvr>
                                        <p:cTn id="54" dur="1" fill="hold">
                                          <p:stCondLst>
                                            <p:cond delay="0"/>
                                          </p:stCondLst>
                                        </p:cTn>
                                        <p:tgtEl>
                                          <p:spTgt spid="70"/>
                                        </p:tgtEl>
                                        <p:attrNameLst>
                                          <p:attrName>style.visibility</p:attrName>
                                        </p:attrNameLst>
                                      </p:cBhvr>
                                      <p:to>
                                        <p:strVal val="visible"/>
                                      </p:to>
                                    </p:set>
                                    <p:animEffect transition="in" filter="dissolve">
                                      <p:cBhvr>
                                        <p:cTn id="55" dur="500"/>
                                        <p:tgtEl>
                                          <p:spTgt spid="70"/>
                                        </p:tgtEl>
                                      </p:cBhvr>
                                    </p:animEffect>
                                  </p:childTnLst>
                                </p:cTn>
                              </p:par>
                            </p:childTnLst>
                          </p:cTn>
                        </p:par>
                        <p:par>
                          <p:cTn id="56" fill="hold">
                            <p:stCondLst>
                              <p:cond delay="2000"/>
                            </p:stCondLst>
                            <p:childTnLst>
                              <p:par>
                                <p:cTn id="57" presetID="9" presetClass="entr" presetSubtype="0" fill="hold" nodeType="afterEffect">
                                  <p:stCondLst>
                                    <p:cond delay="0"/>
                                  </p:stCondLst>
                                  <p:childTnLst>
                                    <p:set>
                                      <p:cBhvr>
                                        <p:cTn id="58" dur="1" fill="hold">
                                          <p:stCondLst>
                                            <p:cond delay="0"/>
                                          </p:stCondLst>
                                        </p:cTn>
                                        <p:tgtEl>
                                          <p:spTgt spid="51"/>
                                        </p:tgtEl>
                                        <p:attrNameLst>
                                          <p:attrName>style.visibility</p:attrName>
                                        </p:attrNameLst>
                                      </p:cBhvr>
                                      <p:to>
                                        <p:strVal val="visible"/>
                                      </p:to>
                                    </p:set>
                                    <p:animEffect transition="in" filter="dissolve">
                                      <p:cBhvr>
                                        <p:cTn id="59" dur="500"/>
                                        <p:tgtEl>
                                          <p:spTgt spid="51"/>
                                        </p:tgtEl>
                                      </p:cBhvr>
                                    </p:animEffect>
                                  </p:childTnLst>
                                </p:cTn>
                              </p:par>
                              <p:par>
                                <p:cTn id="60" presetID="9" presetClass="entr" presetSubtype="0" fill="hold" grpId="0" nodeType="withEffect">
                                  <p:stCondLst>
                                    <p:cond delay="0"/>
                                  </p:stCondLst>
                                  <p:childTnLst>
                                    <p:set>
                                      <p:cBhvr>
                                        <p:cTn id="61" dur="1" fill="hold">
                                          <p:stCondLst>
                                            <p:cond delay="0"/>
                                          </p:stCondLst>
                                        </p:cTn>
                                        <p:tgtEl>
                                          <p:spTgt spid="78"/>
                                        </p:tgtEl>
                                        <p:attrNameLst>
                                          <p:attrName>style.visibility</p:attrName>
                                        </p:attrNameLst>
                                      </p:cBhvr>
                                      <p:to>
                                        <p:strVal val="visible"/>
                                      </p:to>
                                    </p:set>
                                    <p:animEffect transition="in" filter="dissolve">
                                      <p:cBhvr>
                                        <p:cTn id="62" dur="500"/>
                                        <p:tgtEl>
                                          <p:spTgt spid="78"/>
                                        </p:tgtEl>
                                      </p:cBhvr>
                                    </p:animEffect>
                                  </p:childTnLst>
                                </p:cTn>
                              </p:par>
                              <p:par>
                                <p:cTn id="63" presetID="9" presetClass="entr" presetSubtype="0" fill="hold" nodeType="withEffect">
                                  <p:stCondLst>
                                    <p:cond delay="0"/>
                                  </p:stCondLst>
                                  <p:childTnLst>
                                    <p:set>
                                      <p:cBhvr>
                                        <p:cTn id="64" dur="1" fill="hold">
                                          <p:stCondLst>
                                            <p:cond delay="0"/>
                                          </p:stCondLst>
                                        </p:cTn>
                                        <p:tgtEl>
                                          <p:spTgt spid="79"/>
                                        </p:tgtEl>
                                        <p:attrNameLst>
                                          <p:attrName>style.visibility</p:attrName>
                                        </p:attrNameLst>
                                      </p:cBhvr>
                                      <p:to>
                                        <p:strVal val="visible"/>
                                      </p:to>
                                    </p:set>
                                    <p:animEffect transition="in" filter="dissolve">
                                      <p:cBhvr>
                                        <p:cTn id="65" dur="500"/>
                                        <p:tgtEl>
                                          <p:spTgt spid="7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p:bldP spid="74" grpId="0"/>
      <p:bldP spid="75" grpId="0"/>
      <p:bldP spid="76" grpId="0"/>
      <p:bldP spid="77" grpId="0"/>
      <p:bldP spid="78" grpId="0"/>
    </p:bldLst>
  </p:timing>
</p:sld>
</file>

<file path=ppt/slides/slide4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9505" y="3086101"/>
            <a:ext cx="9153505" cy="2057400"/>
          </a:xfrm>
          <a:prstGeom prst="rect">
            <a:avLst/>
          </a:prstGeom>
          <a:solidFill>
            <a:srgbClr val="000000">
              <a:alpha val="23000"/>
            </a:srgbClr>
          </a:solidFill>
          <a:ln w="19050" algn="ctr">
            <a:noFill/>
            <a:miter lim="800000"/>
            <a:headEnd/>
            <a:tailEnd/>
          </a:ln>
          <a:effectLst/>
        </p:spPr>
        <p:txBody>
          <a:bodyPr vert="horz" wrap="square" lIns="81627" tIns="40813" rIns="81627" bIns="40813" numCol="1" anchor="ctr" anchorCtr="0" compatLnSpc="1">
            <a:prstTxWarp prst="textNoShape">
              <a:avLst/>
            </a:prstTxWarp>
            <a:noAutofit/>
          </a:bodyPr>
          <a:lstStyle/>
          <a:p>
            <a:pPr algn="ctr" defTabSz="816377">
              <a:lnSpc>
                <a:spcPct val="80000"/>
              </a:lnSpc>
              <a:defRPr/>
            </a:pPr>
            <a:endParaRPr lang="en-US" sz="1000" b="1" kern="0" dirty="0">
              <a:ln cap="flat">
                <a:noFill/>
                <a:miter lim="800000"/>
              </a:ln>
              <a:solidFill>
                <a:srgbClr val="FFFFFF"/>
              </a:solidFill>
              <a:effectLst>
                <a:outerShdw blurRad="50800" dist="50800" dir="5400000" algn="t" rotWithShape="0">
                  <a:prstClr val="black">
                    <a:alpha val="40000"/>
                  </a:prstClr>
                </a:outerShdw>
              </a:effectLst>
              <a:latin typeface="Segoe Semibold" pitchFamily="34" charset="0"/>
              <a:cs typeface="Arial" charset="0"/>
            </a:endParaRPr>
          </a:p>
        </p:txBody>
      </p:sp>
      <p:grpSp>
        <p:nvGrpSpPr>
          <p:cNvPr id="4" name="Group 124"/>
          <p:cNvGrpSpPr/>
          <p:nvPr/>
        </p:nvGrpSpPr>
        <p:grpSpPr>
          <a:xfrm>
            <a:off x="-174751" y="1889896"/>
            <a:ext cx="9318752" cy="1625600"/>
            <a:chOff x="-174752" y="2650067"/>
            <a:chExt cx="9318752" cy="2167467"/>
          </a:xfrm>
        </p:grpSpPr>
        <p:grpSp>
          <p:nvGrpSpPr>
            <p:cNvPr id="5" name="Group 122"/>
            <p:cNvGrpSpPr/>
            <p:nvPr/>
          </p:nvGrpSpPr>
          <p:grpSpPr>
            <a:xfrm>
              <a:off x="-174752" y="2650068"/>
              <a:ext cx="3121152" cy="2167466"/>
              <a:chOff x="9144000" y="2650068"/>
              <a:chExt cx="3121152" cy="2167466"/>
            </a:xfrm>
          </p:grpSpPr>
          <p:pic>
            <p:nvPicPr>
              <p:cNvPr id="9" name="Picture 3" descr="\\advaiya\users\Victor.Melniciuc\Photography\UC\UC Photography\OFC09_John+Rich_001.jp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flipH="1">
                <a:off x="9296400" y="2743200"/>
                <a:ext cx="2968752" cy="1981570"/>
              </a:xfrm>
              <a:prstGeom prst="rect">
                <a:avLst/>
              </a:prstGeom>
              <a:noFill/>
              <a:ln w="88900">
                <a:solidFill>
                  <a:srgbClr val="FFFFFF">
                    <a:alpha val="42000"/>
                  </a:srgbClr>
                </a:solidFill>
              </a:ln>
            </p:spPr>
          </p:pic>
          <p:sp>
            <p:nvSpPr>
              <p:cNvPr id="10" name="Rectangle 9"/>
              <p:cNvSpPr/>
              <p:nvPr/>
            </p:nvSpPr>
            <p:spPr bwMode="auto">
              <a:xfrm>
                <a:off x="9144000" y="2650068"/>
                <a:ext cx="3048000" cy="2167466"/>
              </a:xfrm>
              <a:prstGeom prst="rect">
                <a:avLst/>
              </a:prstGeom>
              <a:gradFill>
                <a:gsLst>
                  <a:gs pos="36000">
                    <a:srgbClr val="FFFFFF">
                      <a:lumMod val="85000"/>
                      <a:alpha val="0"/>
                    </a:srgbClr>
                  </a:gs>
                  <a:gs pos="100000">
                    <a:srgbClr val="FFFFFF">
                      <a:alpha val="82000"/>
                    </a:srgbClr>
                  </a:gs>
                </a:gsLst>
                <a:lin ang="0" scaled="0"/>
              </a:gradFill>
              <a:effectLst/>
            </p:spPr>
            <p:txBody>
              <a:bodyPr wrap="square" rtlCol="0">
                <a:noAutofit/>
              </a:bodyPr>
              <a:lstStyle/>
              <a:p>
                <a:pPr defTabSz="816377">
                  <a:defRPr/>
                </a:pPr>
                <a:endParaRPr lang="en-US" sz="3900" kern="0" dirty="0">
                  <a:gradFill>
                    <a:gsLst>
                      <a:gs pos="0">
                        <a:srgbClr val="FFFFFF"/>
                      </a:gs>
                      <a:gs pos="100000">
                        <a:srgbClr val="FFA514">
                          <a:lumMod val="60000"/>
                          <a:lumOff val="40000"/>
                        </a:srgbClr>
                      </a:gs>
                    </a:gsLst>
                    <a:lin ang="5400000" scaled="0"/>
                  </a:gradFill>
                </a:endParaRPr>
              </a:p>
            </p:txBody>
          </p:sp>
        </p:grpSp>
        <p:grpSp>
          <p:nvGrpSpPr>
            <p:cNvPr id="6" name="Group 123"/>
            <p:cNvGrpSpPr/>
            <p:nvPr/>
          </p:nvGrpSpPr>
          <p:grpSpPr>
            <a:xfrm>
              <a:off x="6099048" y="2650067"/>
              <a:ext cx="3044952" cy="2167466"/>
              <a:chOff x="15417800" y="2650067"/>
              <a:chExt cx="2892552" cy="2167466"/>
            </a:xfrm>
          </p:grpSpPr>
          <p:pic>
            <p:nvPicPr>
              <p:cNvPr id="7" name="Picture 5" descr="\\advaiya\users\Victor.Melniciuc\Photography\UC\UC Photography\OFC09_Karen+Friends_001.jp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5417800" y="2743199"/>
                <a:ext cx="2892552" cy="1981201"/>
              </a:xfrm>
              <a:prstGeom prst="rect">
                <a:avLst/>
              </a:prstGeom>
              <a:noFill/>
              <a:ln w="88900">
                <a:solidFill>
                  <a:srgbClr val="FFFFFF">
                    <a:alpha val="42000"/>
                  </a:srgbClr>
                </a:solidFill>
              </a:ln>
            </p:spPr>
          </p:pic>
          <p:sp>
            <p:nvSpPr>
              <p:cNvPr id="8" name="Rectangle 7"/>
              <p:cNvSpPr/>
              <p:nvPr/>
            </p:nvSpPr>
            <p:spPr bwMode="auto">
              <a:xfrm rot="10800000">
                <a:off x="15417800" y="2650067"/>
                <a:ext cx="2514600" cy="2167466"/>
              </a:xfrm>
              <a:prstGeom prst="rect">
                <a:avLst/>
              </a:prstGeom>
              <a:gradFill>
                <a:gsLst>
                  <a:gs pos="57000">
                    <a:srgbClr val="FFFFFF">
                      <a:lumMod val="85000"/>
                      <a:alpha val="0"/>
                    </a:srgbClr>
                  </a:gs>
                  <a:gs pos="100000">
                    <a:srgbClr val="FFFFFF">
                      <a:alpha val="82000"/>
                    </a:srgbClr>
                  </a:gs>
                </a:gsLst>
                <a:lin ang="0" scaled="0"/>
              </a:gradFill>
              <a:effectLst/>
            </p:spPr>
            <p:txBody>
              <a:bodyPr wrap="square" rtlCol="0">
                <a:noAutofit/>
              </a:bodyPr>
              <a:lstStyle/>
              <a:p>
                <a:pPr defTabSz="816377">
                  <a:defRPr/>
                </a:pPr>
                <a:endParaRPr lang="en-US" sz="3900" kern="0" dirty="0">
                  <a:gradFill>
                    <a:gsLst>
                      <a:gs pos="0">
                        <a:srgbClr val="FFFFFF"/>
                      </a:gs>
                      <a:gs pos="100000">
                        <a:srgbClr val="FFA514">
                          <a:lumMod val="60000"/>
                          <a:lumOff val="40000"/>
                        </a:srgbClr>
                      </a:gs>
                    </a:gsLst>
                    <a:lin ang="5400000" scaled="0"/>
                  </a:gradFill>
                </a:endParaRPr>
              </a:p>
            </p:txBody>
          </p:sp>
        </p:grpSp>
      </p:grpSp>
      <p:pic>
        <p:nvPicPr>
          <p:cNvPr id="11" name="Picture 3" descr="C:\Program Files\Microsoft Resource DVD Artwork\DVD_ART\Artwork_Imagery\Shapes and Graphics\Internet Cloud\cloud 1.png"/>
          <p:cNvPicPr>
            <a:picLocks noChangeAspect="1" noChangeArrowheads="1"/>
          </p:cNvPicPr>
          <p:nvPr/>
        </p:nvPicPr>
        <p:blipFill>
          <a:blip r:embed="rId5" cstate="screen"/>
          <a:srcRect/>
          <a:stretch>
            <a:fillRect/>
          </a:stretch>
        </p:blipFill>
        <p:spPr bwMode="auto">
          <a:xfrm>
            <a:off x="838203" y="2800351"/>
            <a:ext cx="7491663" cy="2752580"/>
          </a:xfrm>
          <a:prstGeom prst="rect">
            <a:avLst/>
          </a:prstGeom>
          <a:noFill/>
          <a:effectLst>
            <a:outerShdw blurRad="50800" dist="38100" dir="2700000" algn="tl" rotWithShape="0">
              <a:prstClr val="black">
                <a:alpha val="40000"/>
              </a:prstClr>
            </a:outerShdw>
          </a:effectLst>
        </p:spPr>
      </p:pic>
      <p:grpSp>
        <p:nvGrpSpPr>
          <p:cNvPr id="12" name="Group 271"/>
          <p:cNvGrpSpPr/>
          <p:nvPr/>
        </p:nvGrpSpPr>
        <p:grpSpPr>
          <a:xfrm>
            <a:off x="2803852" y="685800"/>
            <a:ext cx="3628121" cy="4048039"/>
            <a:chOff x="9863667" y="608833"/>
            <a:chExt cx="3628121" cy="5397384"/>
          </a:xfrm>
        </p:grpSpPr>
        <p:pic>
          <p:nvPicPr>
            <p:cNvPr id="13" name="Picture 10" descr="C:\Users\victor.melniciuc\Desktop\==Work\TDC deck\pics\lady.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9863667" y="608833"/>
              <a:ext cx="3628121" cy="2242625"/>
            </a:xfrm>
            <a:prstGeom prst="rect">
              <a:avLst/>
            </a:prstGeom>
            <a:noFill/>
          </p:spPr>
        </p:pic>
        <p:sp>
          <p:nvSpPr>
            <p:cNvPr id="14" name="Can 13"/>
            <p:cNvSpPr/>
            <p:nvPr/>
          </p:nvSpPr>
          <p:spPr bwMode="auto">
            <a:xfrm>
              <a:off x="9906000" y="2302829"/>
              <a:ext cx="3504495" cy="3585996"/>
            </a:xfrm>
            <a:prstGeom prst="can">
              <a:avLst>
                <a:gd name="adj" fmla="val 27366"/>
              </a:avLst>
            </a:prstGeom>
            <a:gradFill rotWithShape="1">
              <a:gsLst>
                <a:gs pos="0">
                  <a:srgbClr val="525051"/>
                </a:gs>
                <a:gs pos="80000">
                  <a:srgbClr val="FFA514"/>
                </a:gs>
                <a:gs pos="100000">
                  <a:srgbClr val="FFA514"/>
                </a:gs>
              </a:gsLst>
              <a:lin ang="16200000" scaled="0"/>
            </a:gradFill>
            <a:ln>
              <a:noFill/>
              <a:headEnd type="none" w="med" len="med"/>
              <a:tailEnd type="none" w="med" len="med"/>
            </a:ln>
            <a:effectLst>
              <a:outerShdw blurRad="241300" dist="127000" dir="5400000" rotWithShape="0">
                <a:srgbClr val="000000">
                  <a:alpha val="10000"/>
                </a:srgbClr>
              </a:outerShdw>
            </a:effectLst>
            <a:scene3d>
              <a:camera prst="orthographicFront">
                <a:rot lat="0" lon="0" rev="0"/>
              </a:camera>
              <a:lightRig rig="threePt" dir="t">
                <a:rot lat="0" lon="0" rev="1200000"/>
              </a:lightRig>
            </a:scene3d>
            <a:sp3d>
              <a:bevelT w="63500" h="25400"/>
            </a:sp3d>
          </p:spPr>
          <p:txBody>
            <a:bodyPr vert="horz" wrap="square" lIns="91436" tIns="45718" rIns="91436" bIns="45718" numCol="1" rtlCol="0" anchor="ctr" anchorCtr="0" compatLnSpc="1">
              <a:prstTxWarp prst="textNoShape">
                <a:avLst/>
              </a:prstTxWarp>
            </a:bodyPr>
            <a:lstStyle/>
            <a:p>
              <a:pPr algn="ctr" defTabSz="816107">
                <a:defRPr/>
              </a:pPr>
              <a:endParaRPr lang="en-US" sz="2200" kern="0" dirty="0">
                <a:solidFill>
                  <a:srgbClr val="FFFFFF"/>
                </a:solidFill>
                <a:effectLst>
                  <a:outerShdw blurRad="38100" dist="38100" dir="2700000" algn="tl">
                    <a:srgbClr val="000000">
                      <a:alpha val="43137"/>
                    </a:srgbClr>
                  </a:outerShdw>
                </a:effectLst>
                <a:latin typeface="Segoe" pitchFamily="34" charset="0"/>
              </a:endParaRPr>
            </a:p>
          </p:txBody>
        </p:sp>
        <p:sp>
          <p:nvSpPr>
            <p:cNvPr id="15" name="Oval 14"/>
            <p:cNvSpPr/>
            <p:nvPr/>
          </p:nvSpPr>
          <p:spPr bwMode="auto">
            <a:xfrm>
              <a:off x="9906000" y="4829327"/>
              <a:ext cx="3504495" cy="977999"/>
            </a:xfrm>
            <a:prstGeom prst="ellipse">
              <a:avLst/>
            </a:prstGeom>
            <a:gradFill>
              <a:gsLst>
                <a:gs pos="0">
                  <a:srgbClr val="FFFFFF">
                    <a:lumMod val="85000"/>
                    <a:alpha val="0"/>
                  </a:srgbClr>
                </a:gs>
                <a:gs pos="100000">
                  <a:srgbClr val="FFFFFF">
                    <a:alpha val="23000"/>
                  </a:srgbClr>
                </a:gs>
              </a:gsLst>
              <a:lin ang="5400000" scaled="0"/>
            </a:gradFill>
            <a:ln>
              <a:gradFill flip="none" rotWithShape="1">
                <a:gsLst>
                  <a:gs pos="0">
                    <a:srgbClr val="FFFFFF">
                      <a:alpha val="33000"/>
                    </a:srgbClr>
                  </a:gs>
                  <a:gs pos="28000">
                    <a:srgbClr val="FFA514">
                      <a:tint val="23500"/>
                      <a:satMod val="160000"/>
                      <a:alpha val="0"/>
                    </a:srgbClr>
                  </a:gs>
                </a:gsLst>
                <a:lin ang="16200000" scaled="1"/>
                <a:tileRect/>
              </a:gradFill>
            </a:ln>
            <a:effectLst/>
          </p:spPr>
          <p:txBody>
            <a:bodyPr wrap="square" rtlCol="0">
              <a:noAutofit/>
            </a:bodyPr>
            <a:lstStyle/>
            <a:p>
              <a:pPr defTabSz="816377">
                <a:defRPr/>
              </a:pPr>
              <a:endParaRPr lang="en-US" sz="3900" kern="0" dirty="0">
                <a:gradFill>
                  <a:gsLst>
                    <a:gs pos="0">
                      <a:srgbClr val="FFFFFF">
                        <a:alpha val="0"/>
                      </a:srgbClr>
                    </a:gs>
                    <a:gs pos="100000">
                      <a:srgbClr val="FFA514">
                        <a:lumMod val="60000"/>
                        <a:lumOff val="40000"/>
                      </a:srgbClr>
                    </a:gs>
                  </a:gsLst>
                  <a:lin ang="5400000" scaled="0"/>
                </a:gradFill>
              </a:endParaRPr>
            </a:p>
          </p:txBody>
        </p:sp>
        <p:sp>
          <p:nvSpPr>
            <p:cNvPr id="16" name="Oval 15"/>
            <p:cNvSpPr/>
            <p:nvPr/>
          </p:nvSpPr>
          <p:spPr bwMode="auto">
            <a:xfrm>
              <a:off x="9906000" y="4400211"/>
              <a:ext cx="3504495" cy="977999"/>
            </a:xfrm>
            <a:prstGeom prst="ellipse">
              <a:avLst/>
            </a:prstGeom>
            <a:gradFill>
              <a:gsLst>
                <a:gs pos="0">
                  <a:srgbClr val="FFFFFF">
                    <a:lumMod val="85000"/>
                    <a:alpha val="3000"/>
                  </a:srgbClr>
                </a:gs>
                <a:gs pos="100000">
                  <a:srgbClr val="FFFFFF">
                    <a:alpha val="8000"/>
                  </a:srgbClr>
                </a:gs>
              </a:gsLst>
              <a:lin ang="5400000" scaled="0"/>
            </a:gradFill>
            <a:ln>
              <a:gradFill flip="none" rotWithShape="1">
                <a:gsLst>
                  <a:gs pos="0">
                    <a:srgbClr val="FFFFFF">
                      <a:alpha val="33000"/>
                    </a:srgbClr>
                  </a:gs>
                  <a:gs pos="28000">
                    <a:srgbClr val="FFA514">
                      <a:tint val="23500"/>
                      <a:satMod val="160000"/>
                      <a:alpha val="0"/>
                    </a:srgbClr>
                  </a:gs>
                </a:gsLst>
                <a:lin ang="16200000" scaled="1"/>
                <a:tileRect/>
              </a:gradFill>
            </a:ln>
            <a:effectLst/>
          </p:spPr>
          <p:txBody>
            <a:bodyPr wrap="square" rtlCol="0">
              <a:noAutofit/>
            </a:bodyPr>
            <a:lstStyle/>
            <a:p>
              <a:pPr defTabSz="816377">
                <a:defRPr/>
              </a:pPr>
              <a:endParaRPr lang="en-US" sz="3900" kern="0" dirty="0">
                <a:gradFill>
                  <a:gsLst>
                    <a:gs pos="0">
                      <a:srgbClr val="FFFFFF">
                        <a:alpha val="0"/>
                      </a:srgbClr>
                    </a:gs>
                    <a:gs pos="100000">
                      <a:srgbClr val="FFA514">
                        <a:lumMod val="60000"/>
                        <a:lumOff val="40000"/>
                      </a:srgbClr>
                    </a:gs>
                  </a:gsLst>
                  <a:lin ang="5400000" scaled="0"/>
                </a:gradFill>
              </a:endParaRPr>
            </a:p>
          </p:txBody>
        </p:sp>
        <p:sp>
          <p:nvSpPr>
            <p:cNvPr id="17" name="Oval 16"/>
            <p:cNvSpPr/>
            <p:nvPr/>
          </p:nvSpPr>
          <p:spPr bwMode="auto">
            <a:xfrm>
              <a:off x="9906000" y="4066521"/>
              <a:ext cx="3504495" cy="977999"/>
            </a:xfrm>
            <a:prstGeom prst="ellipse">
              <a:avLst/>
            </a:prstGeom>
            <a:gradFill>
              <a:gsLst>
                <a:gs pos="0">
                  <a:srgbClr val="FFFFFF">
                    <a:lumMod val="85000"/>
                    <a:alpha val="1000"/>
                  </a:srgbClr>
                </a:gs>
                <a:gs pos="100000">
                  <a:srgbClr val="FFFFFF">
                    <a:alpha val="8000"/>
                  </a:srgbClr>
                </a:gs>
              </a:gsLst>
              <a:lin ang="5400000" scaled="0"/>
            </a:gradFill>
            <a:ln>
              <a:gradFill flip="none" rotWithShape="1">
                <a:gsLst>
                  <a:gs pos="0">
                    <a:srgbClr val="FFFFFF">
                      <a:alpha val="33000"/>
                    </a:srgbClr>
                  </a:gs>
                  <a:gs pos="28000">
                    <a:srgbClr val="FFA514">
                      <a:tint val="23500"/>
                      <a:satMod val="160000"/>
                      <a:alpha val="0"/>
                    </a:srgbClr>
                  </a:gs>
                </a:gsLst>
                <a:lin ang="16200000" scaled="1"/>
                <a:tileRect/>
              </a:gradFill>
            </a:ln>
            <a:effectLst/>
          </p:spPr>
          <p:txBody>
            <a:bodyPr wrap="square" rtlCol="0">
              <a:noAutofit/>
            </a:bodyPr>
            <a:lstStyle/>
            <a:p>
              <a:pPr defTabSz="816377">
                <a:defRPr/>
              </a:pPr>
              <a:endParaRPr lang="en-US" sz="3900" kern="0" dirty="0">
                <a:gradFill>
                  <a:gsLst>
                    <a:gs pos="0">
                      <a:srgbClr val="FFFFFF">
                        <a:alpha val="0"/>
                      </a:srgbClr>
                    </a:gs>
                    <a:gs pos="100000">
                      <a:srgbClr val="FFA514">
                        <a:lumMod val="60000"/>
                        <a:lumOff val="40000"/>
                      </a:srgbClr>
                    </a:gs>
                  </a:gsLst>
                  <a:lin ang="5400000" scaled="0"/>
                </a:gradFill>
              </a:endParaRPr>
            </a:p>
          </p:txBody>
        </p:sp>
        <p:sp>
          <p:nvSpPr>
            <p:cNvPr id="18" name="Oval 17"/>
            <p:cNvSpPr/>
            <p:nvPr/>
          </p:nvSpPr>
          <p:spPr bwMode="auto">
            <a:xfrm>
              <a:off x="9906000" y="3708231"/>
              <a:ext cx="3504495" cy="977999"/>
            </a:xfrm>
            <a:prstGeom prst="ellipse">
              <a:avLst/>
            </a:prstGeom>
            <a:gradFill>
              <a:gsLst>
                <a:gs pos="0">
                  <a:srgbClr val="FFFFFF">
                    <a:lumMod val="85000"/>
                    <a:alpha val="0"/>
                  </a:srgbClr>
                </a:gs>
                <a:gs pos="100000">
                  <a:srgbClr val="FFFFFF">
                    <a:alpha val="8000"/>
                  </a:srgbClr>
                </a:gs>
              </a:gsLst>
              <a:lin ang="5400000" scaled="0"/>
            </a:gradFill>
            <a:ln>
              <a:gradFill flip="none" rotWithShape="1">
                <a:gsLst>
                  <a:gs pos="0">
                    <a:srgbClr val="FFFFFF">
                      <a:alpha val="33000"/>
                    </a:srgbClr>
                  </a:gs>
                  <a:gs pos="28000">
                    <a:srgbClr val="FFA514">
                      <a:tint val="23500"/>
                      <a:satMod val="160000"/>
                      <a:alpha val="0"/>
                    </a:srgbClr>
                  </a:gs>
                </a:gsLst>
                <a:lin ang="16200000" scaled="1"/>
                <a:tileRect/>
              </a:gradFill>
            </a:ln>
            <a:effectLst/>
          </p:spPr>
          <p:txBody>
            <a:bodyPr wrap="square" rtlCol="0">
              <a:noAutofit/>
            </a:bodyPr>
            <a:lstStyle/>
            <a:p>
              <a:pPr defTabSz="816377">
                <a:defRPr/>
              </a:pPr>
              <a:endParaRPr lang="en-US" sz="3900" kern="0" dirty="0">
                <a:gradFill>
                  <a:gsLst>
                    <a:gs pos="0">
                      <a:srgbClr val="FFFFFF">
                        <a:alpha val="0"/>
                      </a:srgbClr>
                    </a:gs>
                    <a:gs pos="100000">
                      <a:srgbClr val="FFA514">
                        <a:lumMod val="60000"/>
                        <a:lumOff val="40000"/>
                      </a:srgbClr>
                    </a:gs>
                  </a:gsLst>
                  <a:lin ang="5400000" scaled="0"/>
                </a:gradFill>
              </a:endParaRPr>
            </a:p>
          </p:txBody>
        </p:sp>
        <p:sp>
          <p:nvSpPr>
            <p:cNvPr id="19" name="TextBox 18"/>
            <p:cNvSpPr txBox="1"/>
            <p:nvPr/>
          </p:nvSpPr>
          <p:spPr>
            <a:xfrm>
              <a:off x="10883999" y="4241632"/>
              <a:ext cx="1485839" cy="1764585"/>
            </a:xfrm>
            <a:prstGeom prst="rect">
              <a:avLst/>
            </a:prstGeom>
            <a:noFill/>
            <a:effectLst>
              <a:outerShdw blurRad="50800" dist="38100" dir="5400000" algn="t" rotWithShape="0">
                <a:prstClr val="black">
                  <a:alpha val="40000"/>
                </a:prstClr>
              </a:outerShdw>
            </a:effectLst>
          </p:spPr>
          <p:txBody>
            <a:bodyPr wrap="square" rtlCol="0">
              <a:spAutoFit/>
            </a:bodyPr>
            <a:lstStyle/>
            <a:p>
              <a:pPr algn="ctr" defTabSz="816377">
                <a:lnSpc>
                  <a:spcPts val="2411"/>
                </a:lnSpc>
                <a:defRPr/>
              </a:pPr>
              <a:r>
                <a:rPr lang="en-US" sz="1300" kern="0" dirty="0">
                  <a:solidFill>
                    <a:srgbClr val="FFFFFF"/>
                  </a:solidFill>
                </a:rPr>
                <a:t>Authentication</a:t>
              </a:r>
            </a:p>
            <a:p>
              <a:pPr algn="ctr" defTabSz="816377">
                <a:lnSpc>
                  <a:spcPts val="2411"/>
                </a:lnSpc>
                <a:defRPr/>
              </a:pPr>
              <a:r>
                <a:rPr lang="en-US" sz="1300" kern="0" dirty="0">
                  <a:solidFill>
                    <a:srgbClr val="FFFFFF"/>
                  </a:solidFill>
                </a:rPr>
                <a:t>Administration</a:t>
              </a:r>
            </a:p>
            <a:p>
              <a:pPr algn="ctr" defTabSz="816377">
                <a:lnSpc>
                  <a:spcPts val="2411"/>
                </a:lnSpc>
                <a:defRPr/>
              </a:pPr>
              <a:r>
                <a:rPr lang="en-US" sz="1300" kern="0" dirty="0">
                  <a:solidFill>
                    <a:srgbClr val="FFFFFF"/>
                  </a:solidFill>
                </a:rPr>
                <a:t>Storage</a:t>
              </a:r>
            </a:p>
            <a:p>
              <a:pPr algn="ctr" defTabSz="816377">
                <a:lnSpc>
                  <a:spcPts val="2411"/>
                </a:lnSpc>
                <a:defRPr/>
              </a:pPr>
              <a:r>
                <a:rPr lang="en-US" sz="1300" kern="0" dirty="0">
                  <a:solidFill>
                    <a:srgbClr val="FFFFFF"/>
                  </a:solidFill>
                </a:rPr>
                <a:t>Compliance</a:t>
              </a:r>
            </a:p>
          </p:txBody>
        </p:sp>
        <p:sp>
          <p:nvSpPr>
            <p:cNvPr id="20" name="Oval 19"/>
            <p:cNvSpPr/>
            <p:nvPr/>
          </p:nvSpPr>
          <p:spPr bwMode="auto">
            <a:xfrm>
              <a:off x="9906000" y="3229765"/>
              <a:ext cx="3504495" cy="977999"/>
            </a:xfrm>
            <a:prstGeom prst="ellipse">
              <a:avLst/>
            </a:prstGeom>
            <a:gradFill>
              <a:gsLst>
                <a:gs pos="0">
                  <a:srgbClr val="FFFFFF">
                    <a:alpha val="2000"/>
                  </a:srgbClr>
                </a:gs>
                <a:gs pos="100000">
                  <a:srgbClr val="FFFFFF">
                    <a:alpha val="48000"/>
                  </a:srgbClr>
                </a:gs>
              </a:gsLst>
              <a:lin ang="5400000" scaled="0"/>
            </a:gradFill>
            <a:ln w="79375">
              <a:gradFill flip="none" rotWithShape="1">
                <a:gsLst>
                  <a:gs pos="0">
                    <a:srgbClr val="FFFFFF">
                      <a:alpha val="33000"/>
                    </a:srgbClr>
                  </a:gs>
                  <a:gs pos="28000">
                    <a:srgbClr val="FFA514">
                      <a:tint val="23500"/>
                      <a:satMod val="160000"/>
                      <a:alpha val="0"/>
                    </a:srgbClr>
                  </a:gs>
                </a:gsLst>
                <a:lin ang="16200000" scaled="1"/>
                <a:tileRect/>
              </a:gradFill>
            </a:ln>
            <a:effectLst>
              <a:outerShdw blurRad="50800" dist="38100" dir="5400000" algn="t" rotWithShape="0">
                <a:prstClr val="black">
                  <a:alpha val="40000"/>
                </a:prstClr>
              </a:outerShdw>
            </a:effectLst>
          </p:spPr>
          <p:txBody>
            <a:bodyPr wrap="square" rtlCol="0">
              <a:noAutofit/>
            </a:bodyPr>
            <a:lstStyle/>
            <a:p>
              <a:pPr defTabSz="816377">
                <a:defRPr/>
              </a:pPr>
              <a:endParaRPr lang="en-US" sz="3900" kern="0" dirty="0">
                <a:gradFill>
                  <a:gsLst>
                    <a:gs pos="0">
                      <a:srgbClr val="FFFFFF">
                        <a:alpha val="0"/>
                      </a:srgbClr>
                    </a:gs>
                    <a:gs pos="100000">
                      <a:srgbClr val="FFA514">
                        <a:lumMod val="60000"/>
                        <a:lumOff val="40000"/>
                      </a:srgbClr>
                    </a:gs>
                  </a:gsLst>
                  <a:lin ang="5400000" scaled="0"/>
                </a:gradFill>
              </a:endParaRPr>
            </a:p>
          </p:txBody>
        </p:sp>
        <p:sp>
          <p:nvSpPr>
            <p:cNvPr id="21" name="Rectangle 20"/>
            <p:cNvSpPr/>
            <p:nvPr/>
          </p:nvSpPr>
          <p:spPr>
            <a:xfrm>
              <a:off x="10058400" y="3352632"/>
              <a:ext cx="3234267" cy="499702"/>
            </a:xfrm>
            <a:prstGeom prst="rect">
              <a:avLst/>
            </a:prstGeom>
            <a:effectLst>
              <a:reflection blurRad="6350" stA="52000" endA="300" endPos="35000" dir="5400000" sy="-100000" algn="bl" rotWithShape="0"/>
            </a:effectLst>
          </p:spPr>
          <p:txBody>
            <a:bodyPr wrap="square">
              <a:noAutofit/>
            </a:bodyPr>
            <a:lstStyle/>
            <a:p>
              <a:pPr algn="ctr" defTabSz="816377">
                <a:lnSpc>
                  <a:spcPts val="1697"/>
                </a:lnSpc>
                <a:defRPr/>
              </a:pPr>
              <a:r>
                <a:rPr lang="en-US" sz="1800" b="1" kern="0" dirty="0">
                  <a:gradFill>
                    <a:gsLst>
                      <a:gs pos="0">
                        <a:srgbClr val="000000">
                          <a:lumMod val="50000"/>
                          <a:lumOff val="50000"/>
                        </a:srgbClr>
                      </a:gs>
                      <a:gs pos="37000">
                        <a:srgbClr val="000000">
                          <a:lumMod val="85000"/>
                          <a:lumOff val="15000"/>
                        </a:srgbClr>
                      </a:gs>
                    </a:gsLst>
                    <a:lin ang="5400000" scaled="0"/>
                  </a:gradFill>
                </a:rPr>
                <a:t>Unified Inbox </a:t>
              </a:r>
            </a:p>
            <a:p>
              <a:pPr algn="ctr" defTabSz="816377">
                <a:lnSpc>
                  <a:spcPts val="1697"/>
                </a:lnSpc>
                <a:defRPr/>
              </a:pPr>
              <a:r>
                <a:rPr lang="en-US" sz="1800" b="1" kern="0" dirty="0">
                  <a:gradFill>
                    <a:gsLst>
                      <a:gs pos="0">
                        <a:srgbClr val="000000">
                          <a:lumMod val="50000"/>
                          <a:lumOff val="50000"/>
                        </a:srgbClr>
                      </a:gs>
                      <a:gs pos="37000">
                        <a:srgbClr val="000000">
                          <a:lumMod val="85000"/>
                          <a:lumOff val="15000"/>
                        </a:srgbClr>
                      </a:gs>
                    </a:gsLst>
                    <a:lin ang="5400000" scaled="0"/>
                  </a:gradFill>
                </a:rPr>
                <a:t>&amp; Presence</a:t>
              </a:r>
            </a:p>
          </p:txBody>
        </p:sp>
        <p:sp>
          <p:nvSpPr>
            <p:cNvPr id="22" name="Oval 21"/>
            <p:cNvSpPr/>
            <p:nvPr/>
          </p:nvSpPr>
          <p:spPr bwMode="auto">
            <a:xfrm rot="10800000">
              <a:off x="9906000" y="651933"/>
              <a:ext cx="3479932" cy="977999"/>
            </a:xfrm>
            <a:prstGeom prst="ellipse">
              <a:avLst/>
            </a:prstGeom>
            <a:gradFill>
              <a:gsLst>
                <a:gs pos="0">
                  <a:srgbClr val="000000">
                    <a:alpha val="0"/>
                  </a:srgbClr>
                </a:gs>
                <a:gs pos="47000">
                  <a:srgbClr val="FFFFFF">
                    <a:alpha val="0"/>
                  </a:srgbClr>
                </a:gs>
                <a:gs pos="100000">
                  <a:srgbClr val="FFFFFF">
                    <a:alpha val="0"/>
                  </a:srgbClr>
                </a:gs>
              </a:gsLst>
              <a:lin ang="5400000" scaled="0"/>
            </a:gradFill>
            <a:ln w="25400">
              <a:gradFill flip="none" rotWithShape="1">
                <a:gsLst>
                  <a:gs pos="0">
                    <a:srgbClr val="FFFFFF">
                      <a:alpha val="56000"/>
                    </a:srgbClr>
                  </a:gs>
                  <a:gs pos="43000">
                    <a:srgbClr val="FFA514">
                      <a:tint val="23500"/>
                      <a:satMod val="160000"/>
                      <a:alpha val="0"/>
                    </a:srgbClr>
                  </a:gs>
                  <a:gs pos="100000">
                    <a:srgbClr val="FFFFFF">
                      <a:alpha val="30000"/>
                    </a:srgbClr>
                  </a:gs>
                </a:gsLst>
                <a:lin ang="16200000" scaled="1"/>
                <a:tileRect/>
              </a:gradFill>
            </a:ln>
            <a:effectLst/>
          </p:spPr>
          <p:txBody>
            <a:bodyPr wrap="square" rtlCol="0">
              <a:noAutofit/>
            </a:bodyPr>
            <a:lstStyle/>
            <a:p>
              <a:pPr defTabSz="816377">
                <a:defRPr/>
              </a:pPr>
              <a:endParaRPr lang="en-US" sz="3900" kern="0" dirty="0">
                <a:gradFill>
                  <a:gsLst>
                    <a:gs pos="0">
                      <a:srgbClr val="FFFFFF">
                        <a:alpha val="0"/>
                      </a:srgbClr>
                    </a:gs>
                    <a:gs pos="100000">
                      <a:srgbClr val="FFA514">
                        <a:lumMod val="60000"/>
                        <a:lumOff val="40000"/>
                      </a:srgbClr>
                    </a:gs>
                  </a:gsLst>
                  <a:lin ang="5400000" scaled="0"/>
                </a:gradFill>
              </a:endParaRPr>
            </a:p>
          </p:txBody>
        </p:sp>
        <p:sp>
          <p:nvSpPr>
            <p:cNvPr id="23" name="Oval 22"/>
            <p:cNvSpPr/>
            <p:nvPr/>
          </p:nvSpPr>
          <p:spPr bwMode="auto">
            <a:xfrm>
              <a:off x="9906000" y="2260431"/>
              <a:ext cx="3504495" cy="977999"/>
            </a:xfrm>
            <a:prstGeom prst="ellipse">
              <a:avLst/>
            </a:prstGeom>
            <a:gradFill>
              <a:gsLst>
                <a:gs pos="0">
                  <a:srgbClr val="000000">
                    <a:alpha val="0"/>
                  </a:srgbClr>
                </a:gs>
                <a:gs pos="100000">
                  <a:srgbClr val="FFFFFF">
                    <a:alpha val="0"/>
                  </a:srgbClr>
                </a:gs>
              </a:gsLst>
              <a:lin ang="5400000" scaled="0"/>
            </a:gradFill>
            <a:ln w="9525">
              <a:gradFill flip="none" rotWithShape="1">
                <a:gsLst>
                  <a:gs pos="0">
                    <a:srgbClr val="FFFFFF">
                      <a:alpha val="56000"/>
                    </a:srgbClr>
                  </a:gs>
                  <a:gs pos="28000">
                    <a:srgbClr val="FFA514">
                      <a:tint val="23500"/>
                      <a:satMod val="160000"/>
                      <a:alpha val="0"/>
                    </a:srgbClr>
                  </a:gs>
                </a:gsLst>
                <a:lin ang="16200000" scaled="1"/>
                <a:tileRect/>
              </a:gradFill>
            </a:ln>
            <a:effectLst/>
          </p:spPr>
          <p:txBody>
            <a:bodyPr wrap="square" rtlCol="0">
              <a:noAutofit/>
            </a:bodyPr>
            <a:lstStyle/>
            <a:p>
              <a:pPr defTabSz="816377">
                <a:defRPr/>
              </a:pPr>
              <a:endParaRPr lang="en-US" sz="3900" kern="0" dirty="0">
                <a:gradFill>
                  <a:gsLst>
                    <a:gs pos="0">
                      <a:srgbClr val="FFFFFF">
                        <a:alpha val="0"/>
                      </a:srgbClr>
                    </a:gs>
                    <a:gs pos="100000">
                      <a:srgbClr val="FFA514">
                        <a:lumMod val="60000"/>
                        <a:lumOff val="40000"/>
                      </a:srgbClr>
                    </a:gs>
                  </a:gsLst>
                  <a:lin ang="5400000" scaled="0"/>
                </a:gradFill>
              </a:endParaRPr>
            </a:p>
          </p:txBody>
        </p:sp>
        <p:sp>
          <p:nvSpPr>
            <p:cNvPr id="24" name="Oval 23"/>
            <p:cNvSpPr/>
            <p:nvPr/>
          </p:nvSpPr>
          <p:spPr bwMode="auto">
            <a:xfrm>
              <a:off x="9906000" y="2031830"/>
              <a:ext cx="3530637" cy="977999"/>
            </a:xfrm>
            <a:prstGeom prst="ellipse">
              <a:avLst/>
            </a:prstGeom>
            <a:gradFill>
              <a:gsLst>
                <a:gs pos="0">
                  <a:srgbClr val="FFFFFF">
                    <a:lumMod val="85000"/>
                    <a:alpha val="40000"/>
                  </a:srgbClr>
                </a:gs>
                <a:gs pos="100000">
                  <a:srgbClr val="FFFFFF">
                    <a:alpha val="92000"/>
                  </a:srgbClr>
                </a:gs>
              </a:gsLst>
              <a:lin ang="5400000" scaled="0"/>
            </a:gradFill>
            <a:effectLst>
              <a:outerShdw blurRad="12700" dist="50800" dir="5400000" algn="t" rotWithShape="0">
                <a:prstClr val="black">
                  <a:alpha val="18000"/>
                </a:prstClr>
              </a:outerShdw>
            </a:effectLst>
          </p:spPr>
          <p:txBody>
            <a:bodyPr wrap="square" rtlCol="0">
              <a:noAutofit/>
            </a:bodyPr>
            <a:lstStyle/>
            <a:p>
              <a:pPr defTabSz="816377">
                <a:defRPr/>
              </a:pPr>
              <a:endParaRPr lang="en-US" sz="3900" kern="0" dirty="0">
                <a:gradFill>
                  <a:gsLst>
                    <a:gs pos="0">
                      <a:srgbClr val="FFFFFF"/>
                    </a:gs>
                    <a:gs pos="100000">
                      <a:srgbClr val="FFA514">
                        <a:lumMod val="60000"/>
                        <a:lumOff val="40000"/>
                      </a:srgbClr>
                    </a:gs>
                  </a:gsLst>
                  <a:lin ang="5400000" scaled="0"/>
                </a:gradFill>
              </a:endParaRPr>
            </a:p>
          </p:txBody>
        </p:sp>
      </p:grpSp>
      <p:grpSp>
        <p:nvGrpSpPr>
          <p:cNvPr id="25" name="Group 24"/>
          <p:cNvGrpSpPr/>
          <p:nvPr/>
        </p:nvGrpSpPr>
        <p:grpSpPr>
          <a:xfrm>
            <a:off x="7696200" y="988194"/>
            <a:ext cx="1143000" cy="1085850"/>
            <a:chOff x="7696200" y="1447800"/>
            <a:chExt cx="1143000" cy="1447800"/>
          </a:xfrm>
        </p:grpSpPr>
        <p:sp>
          <p:nvSpPr>
            <p:cNvPr id="26" name="Rounded Rectangle 25"/>
            <p:cNvSpPr/>
            <p:nvPr/>
          </p:nvSpPr>
          <p:spPr bwMode="auto">
            <a:xfrm>
              <a:off x="7696200" y="1447800"/>
              <a:ext cx="1143000" cy="1447800"/>
            </a:xfrm>
            <a:prstGeom prst="roundRect">
              <a:avLst>
                <a:gd name="adj" fmla="val 19333"/>
              </a:avLst>
            </a:prstGeom>
            <a:solidFill>
              <a:srgbClr val="000000">
                <a:alpha val="30000"/>
              </a:srgbClr>
            </a:solidFill>
            <a:ln>
              <a:noFill/>
              <a:headEnd type="none" w="med" len="med"/>
              <a:tailEnd type="none" w="med" len="med"/>
            </a:ln>
            <a:effectLst/>
            <a:scene3d>
              <a:camera prst="orthographicFront">
                <a:rot lat="0" lon="0" rev="0"/>
              </a:camera>
              <a:lightRig rig="threePt" dir="t">
                <a:rot lat="0" lon="0" rev="1200000"/>
              </a:lightRig>
            </a:scene3d>
            <a:sp3d>
              <a:bevelT w="0" h="0"/>
            </a:sp3d>
          </p:spPr>
          <p:txBody>
            <a:bodyPr vert="horz" wrap="square" lIns="91436" tIns="45718" rIns="91436" bIns="45718" numCol="1" rtlCol="0" anchor="ctr" anchorCtr="0" compatLnSpc="1">
              <a:prstTxWarp prst="textNoShape">
                <a:avLst/>
              </a:prstTxWarp>
            </a:bodyPr>
            <a:lstStyle/>
            <a:p>
              <a:pPr algn="ctr" defTabSz="816107">
                <a:defRPr/>
              </a:pPr>
              <a:endParaRPr lang="en-US" sz="2200" kern="0" dirty="0">
                <a:solidFill>
                  <a:srgbClr val="FFFFFF"/>
                </a:solidFill>
                <a:effectLst>
                  <a:outerShdw blurRad="38100" dist="38100" dir="2700000" algn="tl">
                    <a:srgbClr val="000000">
                      <a:alpha val="43137"/>
                    </a:srgbClr>
                  </a:outerShdw>
                </a:effectLst>
                <a:latin typeface="Segoe" pitchFamily="34" charset="0"/>
              </a:endParaRPr>
            </a:p>
          </p:txBody>
        </p:sp>
        <p:sp>
          <p:nvSpPr>
            <p:cNvPr id="27" name="Text Box 14"/>
            <p:cNvSpPr txBox="1">
              <a:spLocks noChangeArrowheads="1"/>
            </p:cNvSpPr>
            <p:nvPr/>
          </p:nvSpPr>
          <p:spPr bwMode="auto">
            <a:xfrm>
              <a:off x="7696200" y="1524000"/>
              <a:ext cx="1142999" cy="304800"/>
            </a:xfrm>
            <a:prstGeom prst="rect">
              <a:avLst/>
            </a:prstGeom>
            <a:noFill/>
            <a:ln w="19050" algn="ctr">
              <a:noFill/>
              <a:miter lim="800000"/>
              <a:headEnd/>
              <a:tailEnd/>
            </a:ln>
            <a:effectLst>
              <a:outerShdw blurRad="25400" dist="12700" dir="5400000" algn="t" rotWithShape="0">
                <a:prstClr val="black">
                  <a:alpha val="40000"/>
                </a:prstClr>
              </a:outerShdw>
            </a:effectLst>
          </p:spPr>
          <p:txBody>
            <a:bodyPr vert="horz" wrap="square" lIns="91440" tIns="45720" rIns="91440" bIns="45720" numCol="1" anchor="ctr" anchorCtr="0" compatLnSpc="1">
              <a:prstTxWarp prst="textNoShape">
                <a:avLst/>
              </a:prstTxWarp>
              <a:noAutofit/>
            </a:bodyPr>
            <a:lstStyle/>
            <a:p>
              <a:pPr algn="ctr" defTabSz="816377">
                <a:lnSpc>
                  <a:spcPct val="80000"/>
                </a:lnSpc>
                <a:defRPr/>
              </a:pPr>
              <a:r>
                <a:rPr lang="en-US" sz="1100" kern="0" dirty="0">
                  <a:ln cap="flat">
                    <a:noFill/>
                    <a:miter lim="800000"/>
                  </a:ln>
                  <a:solidFill>
                    <a:srgbClr val="FFFFFF"/>
                  </a:solidFill>
                  <a:latin typeface="Segoe Semibold" pitchFamily="34" charset="0"/>
                  <a:cs typeface="Arial" charset="0"/>
                </a:rPr>
                <a:t>Audio</a:t>
              </a:r>
              <a:br>
                <a:rPr lang="en-US" sz="1100" kern="0" dirty="0">
                  <a:ln cap="flat">
                    <a:noFill/>
                    <a:miter lim="800000"/>
                  </a:ln>
                  <a:solidFill>
                    <a:srgbClr val="FFFFFF"/>
                  </a:solidFill>
                  <a:latin typeface="Segoe Semibold" pitchFamily="34" charset="0"/>
                  <a:cs typeface="Arial" charset="0"/>
                </a:rPr>
              </a:br>
              <a:r>
                <a:rPr lang="en-US" sz="1100" kern="0" dirty="0">
                  <a:ln cap="flat">
                    <a:noFill/>
                    <a:miter lim="800000"/>
                  </a:ln>
                  <a:solidFill>
                    <a:srgbClr val="FFFFFF"/>
                  </a:solidFill>
                  <a:latin typeface="Segoe Semibold" pitchFamily="34" charset="0"/>
                  <a:cs typeface="Arial" charset="0"/>
                </a:rPr>
                <a:t>Conferencing</a:t>
              </a:r>
            </a:p>
          </p:txBody>
        </p:sp>
        <p:sp>
          <p:nvSpPr>
            <p:cNvPr id="28" name="Isosceles Triangle 27"/>
            <p:cNvSpPr/>
            <p:nvPr/>
          </p:nvSpPr>
          <p:spPr bwMode="auto">
            <a:xfrm rot="10800000">
              <a:off x="8138160" y="1905000"/>
              <a:ext cx="182880" cy="101600"/>
            </a:xfrm>
            <a:prstGeom prst="triangle">
              <a:avLst/>
            </a:prstGeom>
            <a:gradFill>
              <a:gsLst>
                <a:gs pos="0">
                  <a:srgbClr val="FFFFFF"/>
                </a:gs>
                <a:gs pos="100000">
                  <a:srgbClr val="FFFFFF">
                    <a:lumMod val="85000"/>
                  </a:srgbClr>
                </a:gs>
              </a:gsLst>
              <a:lin ang="16200000" scaled="0"/>
            </a:gradFill>
            <a:ln w="6350" algn="ctr">
              <a:noFill/>
              <a:miter lim="800000"/>
              <a:headEnd/>
              <a:tailEnd/>
            </a:ln>
            <a:effectLst>
              <a:outerShdw dist="38100" dir="5400000" algn="t" rotWithShape="0">
                <a:prstClr val="black">
                  <a:alpha val="6000"/>
                </a:prstClr>
              </a:outerShdw>
            </a:effectLst>
          </p:spPr>
          <p:txBody>
            <a:bodyPr vert="horz" wrap="square" lIns="91440" tIns="45720" rIns="91440" bIns="45720" numCol="1" anchor="ctr" anchorCtr="0" compatLnSpc="1">
              <a:prstTxWarp prst="textNoShape">
                <a:avLst/>
              </a:prstTxWarp>
              <a:noAutofit/>
            </a:bodyPr>
            <a:lstStyle/>
            <a:p>
              <a:pPr algn="ctr" defTabSz="816377">
                <a:lnSpc>
                  <a:spcPct val="80000"/>
                </a:lnSpc>
                <a:defRPr/>
              </a:pPr>
              <a:endParaRPr lang="en-US" sz="1000" b="1" kern="0" dirty="0">
                <a:ln cap="flat">
                  <a:noFill/>
                  <a:miter lim="800000"/>
                </a:ln>
                <a:solidFill>
                  <a:srgbClr val="FFFFFF"/>
                </a:solidFill>
                <a:effectLst>
                  <a:outerShdw blurRad="50800" dist="50800" dir="5400000" algn="t" rotWithShape="0">
                    <a:prstClr val="black">
                      <a:alpha val="40000"/>
                    </a:prstClr>
                  </a:outerShdw>
                </a:effectLst>
                <a:latin typeface="Segoe Semibold" pitchFamily="34" charset="0"/>
                <a:cs typeface="Arial" charset="0"/>
              </a:endParaRPr>
            </a:p>
          </p:txBody>
        </p:sp>
      </p:grpSp>
      <p:grpSp>
        <p:nvGrpSpPr>
          <p:cNvPr id="29" name="Group 28"/>
          <p:cNvGrpSpPr/>
          <p:nvPr/>
        </p:nvGrpSpPr>
        <p:grpSpPr>
          <a:xfrm>
            <a:off x="6248403" y="988194"/>
            <a:ext cx="1523999" cy="1314450"/>
            <a:chOff x="6248401" y="1447800"/>
            <a:chExt cx="1523999" cy="1752600"/>
          </a:xfrm>
        </p:grpSpPr>
        <p:sp>
          <p:nvSpPr>
            <p:cNvPr id="31" name="Rounded Rectangle 30"/>
            <p:cNvSpPr/>
            <p:nvPr/>
          </p:nvSpPr>
          <p:spPr bwMode="auto">
            <a:xfrm>
              <a:off x="6477000" y="1447800"/>
              <a:ext cx="1143000" cy="1752600"/>
            </a:xfrm>
            <a:prstGeom prst="roundRect">
              <a:avLst>
                <a:gd name="adj" fmla="val 19333"/>
              </a:avLst>
            </a:prstGeom>
            <a:solidFill>
              <a:srgbClr val="000000">
                <a:alpha val="30000"/>
              </a:srgbClr>
            </a:solidFill>
            <a:ln>
              <a:noFill/>
              <a:headEnd type="none" w="med" len="med"/>
              <a:tailEnd type="none" w="med" len="med"/>
            </a:ln>
            <a:effectLst/>
            <a:scene3d>
              <a:camera prst="orthographicFront">
                <a:rot lat="0" lon="0" rev="0"/>
              </a:camera>
              <a:lightRig rig="threePt" dir="t">
                <a:rot lat="0" lon="0" rev="1200000"/>
              </a:lightRig>
            </a:scene3d>
            <a:sp3d>
              <a:bevelT w="0" h="0"/>
            </a:sp3d>
          </p:spPr>
          <p:txBody>
            <a:bodyPr vert="horz" wrap="square" lIns="91436" tIns="45718" rIns="91436" bIns="45718" numCol="1" rtlCol="0" anchor="ctr" anchorCtr="0" compatLnSpc="1">
              <a:prstTxWarp prst="textNoShape">
                <a:avLst/>
              </a:prstTxWarp>
            </a:bodyPr>
            <a:lstStyle/>
            <a:p>
              <a:pPr algn="ctr" defTabSz="816107">
                <a:defRPr/>
              </a:pPr>
              <a:endParaRPr lang="en-US" sz="2200" kern="0" dirty="0">
                <a:solidFill>
                  <a:srgbClr val="FFFFFF"/>
                </a:solidFill>
                <a:effectLst>
                  <a:outerShdw blurRad="38100" dist="38100" dir="2700000" algn="tl">
                    <a:srgbClr val="000000">
                      <a:alpha val="43137"/>
                    </a:srgbClr>
                  </a:outerShdw>
                </a:effectLst>
                <a:latin typeface="Segoe" pitchFamily="34" charset="0"/>
              </a:endParaRPr>
            </a:p>
          </p:txBody>
        </p:sp>
        <p:sp>
          <p:nvSpPr>
            <p:cNvPr id="32" name="Text Box 14"/>
            <p:cNvSpPr txBox="1">
              <a:spLocks noChangeArrowheads="1"/>
            </p:cNvSpPr>
            <p:nvPr/>
          </p:nvSpPr>
          <p:spPr bwMode="auto">
            <a:xfrm>
              <a:off x="6248401" y="1447800"/>
              <a:ext cx="1523999" cy="457200"/>
            </a:xfrm>
            <a:prstGeom prst="rect">
              <a:avLst/>
            </a:prstGeom>
            <a:noFill/>
            <a:ln w="19050" algn="ctr">
              <a:noFill/>
              <a:miter lim="800000"/>
              <a:headEnd/>
              <a:tailEnd/>
            </a:ln>
            <a:effectLst>
              <a:outerShdw blurRad="25400" dist="12700" dir="5400000" algn="t" rotWithShape="0">
                <a:prstClr val="black">
                  <a:alpha val="40000"/>
                </a:prstClr>
              </a:outerShdw>
            </a:effectLst>
          </p:spPr>
          <p:txBody>
            <a:bodyPr vert="horz" wrap="square" lIns="91440" tIns="45720" rIns="91440" bIns="45720" numCol="1" anchor="ctr" anchorCtr="0" compatLnSpc="1">
              <a:prstTxWarp prst="textNoShape">
                <a:avLst/>
              </a:prstTxWarp>
              <a:noAutofit/>
            </a:bodyPr>
            <a:lstStyle/>
            <a:p>
              <a:pPr algn="ctr" defTabSz="816377">
                <a:lnSpc>
                  <a:spcPct val="80000"/>
                </a:lnSpc>
                <a:defRPr/>
              </a:pPr>
              <a:r>
                <a:rPr lang="en-US" sz="1100" kern="0" dirty="0">
                  <a:ln cap="flat">
                    <a:noFill/>
                    <a:miter lim="800000"/>
                  </a:ln>
                  <a:solidFill>
                    <a:srgbClr val="FFFFFF"/>
                  </a:solidFill>
                  <a:latin typeface="Segoe Semibold" pitchFamily="34" charset="0"/>
                  <a:cs typeface="Arial" charset="0"/>
                </a:rPr>
                <a:t>E-mail and</a:t>
              </a:r>
            </a:p>
            <a:p>
              <a:pPr algn="ctr" defTabSz="816377">
                <a:lnSpc>
                  <a:spcPct val="80000"/>
                </a:lnSpc>
                <a:defRPr/>
              </a:pPr>
              <a:r>
                <a:rPr lang="en-US" sz="1100" kern="0" dirty="0">
                  <a:ln cap="flat">
                    <a:noFill/>
                    <a:miter lim="800000"/>
                  </a:ln>
                  <a:solidFill>
                    <a:srgbClr val="FFFFFF"/>
                  </a:solidFill>
                  <a:latin typeface="Segoe Semibold" pitchFamily="34" charset="0"/>
                  <a:cs typeface="Arial" charset="0"/>
                </a:rPr>
                <a:t>Calendaring</a:t>
              </a:r>
            </a:p>
          </p:txBody>
        </p:sp>
        <p:sp>
          <p:nvSpPr>
            <p:cNvPr id="33" name="Isosceles Triangle 32"/>
            <p:cNvSpPr/>
            <p:nvPr/>
          </p:nvSpPr>
          <p:spPr bwMode="auto">
            <a:xfrm rot="10800000">
              <a:off x="6934200" y="1905000"/>
              <a:ext cx="182880" cy="101600"/>
            </a:xfrm>
            <a:prstGeom prst="triangle">
              <a:avLst/>
            </a:prstGeom>
            <a:gradFill>
              <a:gsLst>
                <a:gs pos="0">
                  <a:srgbClr val="FFFFFF"/>
                </a:gs>
                <a:gs pos="100000">
                  <a:srgbClr val="FFFFFF">
                    <a:lumMod val="85000"/>
                  </a:srgbClr>
                </a:gs>
              </a:gsLst>
              <a:lin ang="16200000" scaled="0"/>
            </a:gradFill>
            <a:ln w="6350" algn="ctr">
              <a:noFill/>
              <a:miter lim="800000"/>
              <a:headEnd/>
              <a:tailEnd/>
            </a:ln>
            <a:effectLst>
              <a:outerShdw dist="38100" dir="5400000" algn="t" rotWithShape="0">
                <a:prstClr val="black">
                  <a:alpha val="6000"/>
                </a:prstClr>
              </a:outerShdw>
            </a:effectLst>
          </p:spPr>
          <p:txBody>
            <a:bodyPr vert="horz" wrap="square" lIns="91440" tIns="45720" rIns="91440" bIns="45720" numCol="1" anchor="ctr" anchorCtr="0" compatLnSpc="1">
              <a:prstTxWarp prst="textNoShape">
                <a:avLst/>
              </a:prstTxWarp>
              <a:noAutofit/>
            </a:bodyPr>
            <a:lstStyle/>
            <a:p>
              <a:pPr algn="ctr" defTabSz="816377">
                <a:lnSpc>
                  <a:spcPct val="80000"/>
                </a:lnSpc>
                <a:defRPr/>
              </a:pPr>
              <a:endParaRPr lang="en-US" sz="1000" b="1" kern="0" dirty="0">
                <a:ln cap="flat">
                  <a:noFill/>
                  <a:miter lim="800000"/>
                </a:ln>
                <a:solidFill>
                  <a:srgbClr val="FFFFFF"/>
                </a:solidFill>
                <a:effectLst>
                  <a:outerShdw blurRad="50800" dist="50800" dir="5400000" algn="t" rotWithShape="0">
                    <a:prstClr val="black">
                      <a:alpha val="40000"/>
                    </a:prstClr>
                  </a:outerShdw>
                </a:effectLst>
                <a:latin typeface="Segoe Semibold" pitchFamily="34" charset="0"/>
                <a:cs typeface="Arial" charset="0"/>
              </a:endParaRPr>
            </a:p>
          </p:txBody>
        </p:sp>
      </p:grpSp>
      <p:grpSp>
        <p:nvGrpSpPr>
          <p:cNvPr id="34" name="Group 33"/>
          <p:cNvGrpSpPr/>
          <p:nvPr/>
        </p:nvGrpSpPr>
        <p:grpSpPr>
          <a:xfrm>
            <a:off x="5147733" y="988194"/>
            <a:ext cx="1371600" cy="1028700"/>
            <a:chOff x="5147733" y="1447800"/>
            <a:chExt cx="1371600" cy="1371600"/>
          </a:xfrm>
        </p:grpSpPr>
        <p:sp>
          <p:nvSpPr>
            <p:cNvPr id="35" name="Rounded Rectangle 34"/>
            <p:cNvSpPr/>
            <p:nvPr/>
          </p:nvSpPr>
          <p:spPr bwMode="auto">
            <a:xfrm>
              <a:off x="5257800" y="1447800"/>
              <a:ext cx="1143000" cy="1371600"/>
            </a:xfrm>
            <a:prstGeom prst="roundRect">
              <a:avLst>
                <a:gd name="adj" fmla="val 19333"/>
              </a:avLst>
            </a:prstGeom>
            <a:solidFill>
              <a:srgbClr val="000000">
                <a:alpha val="30000"/>
              </a:srgbClr>
            </a:solidFill>
            <a:ln>
              <a:noFill/>
              <a:headEnd type="none" w="med" len="med"/>
              <a:tailEnd type="none" w="med" len="med"/>
            </a:ln>
            <a:effectLst/>
            <a:scene3d>
              <a:camera prst="orthographicFront">
                <a:rot lat="0" lon="0" rev="0"/>
              </a:camera>
              <a:lightRig rig="threePt" dir="t">
                <a:rot lat="0" lon="0" rev="1200000"/>
              </a:lightRig>
            </a:scene3d>
            <a:sp3d>
              <a:bevelT w="0" h="0"/>
            </a:sp3d>
          </p:spPr>
          <p:txBody>
            <a:bodyPr vert="horz" wrap="square" lIns="91436" tIns="45718" rIns="91436" bIns="45718" numCol="1" rtlCol="0" anchor="ctr" anchorCtr="0" compatLnSpc="1">
              <a:prstTxWarp prst="textNoShape">
                <a:avLst/>
              </a:prstTxWarp>
            </a:bodyPr>
            <a:lstStyle/>
            <a:p>
              <a:pPr algn="ctr" defTabSz="816107">
                <a:defRPr/>
              </a:pPr>
              <a:endParaRPr lang="en-US" sz="2200" kern="0" dirty="0">
                <a:solidFill>
                  <a:srgbClr val="FFFFFF"/>
                </a:solidFill>
                <a:effectLst>
                  <a:outerShdw blurRad="38100" dist="38100" dir="2700000" algn="tl">
                    <a:srgbClr val="000000">
                      <a:alpha val="43137"/>
                    </a:srgbClr>
                  </a:outerShdw>
                </a:effectLst>
                <a:latin typeface="Segoe" pitchFamily="34" charset="0"/>
              </a:endParaRPr>
            </a:p>
          </p:txBody>
        </p:sp>
        <p:sp>
          <p:nvSpPr>
            <p:cNvPr id="36" name="Rectangle 135"/>
            <p:cNvSpPr/>
            <p:nvPr/>
          </p:nvSpPr>
          <p:spPr>
            <a:xfrm>
              <a:off x="5147733" y="1447800"/>
              <a:ext cx="1371600" cy="457200"/>
            </a:xfrm>
            <a:prstGeom prst="rect">
              <a:avLst/>
            </a:prstGeom>
            <a:noFill/>
            <a:ln w="19050" algn="ctr">
              <a:noFill/>
              <a:miter lim="800000"/>
              <a:headEnd/>
              <a:tailEnd/>
            </a:ln>
            <a:effectLst>
              <a:outerShdw blurRad="25400" dist="12700" dir="5400000" algn="t" rotWithShape="0">
                <a:prstClr val="black">
                  <a:alpha val="40000"/>
                </a:prstClr>
              </a:outerShdw>
            </a:effectLst>
          </p:spPr>
          <p:txBody>
            <a:bodyPr vert="horz" wrap="square" lIns="91440" tIns="45720" rIns="91440" bIns="45720" numCol="1" anchor="ctr" anchorCtr="0" compatLnSpc="1">
              <a:prstTxWarp prst="textNoShape">
                <a:avLst/>
              </a:prstTxWarp>
              <a:noAutofit/>
            </a:bodyPr>
            <a:lstStyle/>
            <a:p>
              <a:pPr algn="ctr" defTabSz="816377">
                <a:lnSpc>
                  <a:spcPct val="80000"/>
                </a:lnSpc>
                <a:defRPr/>
              </a:pPr>
              <a:r>
                <a:rPr lang="en-US" sz="1100" kern="0" dirty="0">
                  <a:ln cap="flat">
                    <a:noFill/>
                    <a:miter lim="800000"/>
                  </a:ln>
                  <a:solidFill>
                    <a:srgbClr val="FFFFFF"/>
                  </a:solidFill>
                  <a:latin typeface="Segoe Semibold" pitchFamily="34" charset="0"/>
                  <a:cs typeface="Arial" charset="0"/>
                </a:rPr>
                <a:t>Web</a:t>
              </a:r>
            </a:p>
            <a:p>
              <a:pPr algn="ctr" defTabSz="816377">
                <a:lnSpc>
                  <a:spcPct val="80000"/>
                </a:lnSpc>
                <a:defRPr/>
              </a:pPr>
              <a:r>
                <a:rPr lang="en-US" sz="1100" kern="0" dirty="0">
                  <a:ln cap="flat">
                    <a:noFill/>
                    <a:miter lim="800000"/>
                  </a:ln>
                  <a:solidFill>
                    <a:srgbClr val="FFFFFF"/>
                  </a:solidFill>
                  <a:latin typeface="Segoe Semibold" pitchFamily="34" charset="0"/>
                  <a:cs typeface="Arial" charset="0"/>
                </a:rPr>
                <a:t>Conferencing </a:t>
              </a:r>
            </a:p>
          </p:txBody>
        </p:sp>
        <p:sp>
          <p:nvSpPr>
            <p:cNvPr id="37" name="Isosceles Triangle 36"/>
            <p:cNvSpPr/>
            <p:nvPr/>
          </p:nvSpPr>
          <p:spPr bwMode="auto">
            <a:xfrm rot="10800000">
              <a:off x="5715000" y="1905000"/>
              <a:ext cx="182880" cy="101600"/>
            </a:xfrm>
            <a:prstGeom prst="triangle">
              <a:avLst/>
            </a:prstGeom>
            <a:gradFill>
              <a:gsLst>
                <a:gs pos="0">
                  <a:srgbClr val="FFFFFF"/>
                </a:gs>
                <a:gs pos="100000">
                  <a:srgbClr val="FFFFFF">
                    <a:lumMod val="85000"/>
                  </a:srgbClr>
                </a:gs>
              </a:gsLst>
              <a:lin ang="16200000" scaled="0"/>
            </a:gradFill>
            <a:ln w="6350" algn="ctr">
              <a:noFill/>
              <a:miter lim="800000"/>
              <a:headEnd/>
              <a:tailEnd/>
            </a:ln>
            <a:effectLst>
              <a:outerShdw dist="38100" dir="5400000" algn="t" rotWithShape="0">
                <a:prstClr val="black">
                  <a:alpha val="6000"/>
                </a:prstClr>
              </a:outerShdw>
            </a:effectLst>
          </p:spPr>
          <p:txBody>
            <a:bodyPr vert="horz" wrap="square" lIns="91440" tIns="45720" rIns="91440" bIns="45720" numCol="1" anchor="ctr" anchorCtr="0" compatLnSpc="1">
              <a:prstTxWarp prst="textNoShape">
                <a:avLst/>
              </a:prstTxWarp>
              <a:noAutofit/>
            </a:bodyPr>
            <a:lstStyle/>
            <a:p>
              <a:pPr algn="ctr" defTabSz="816377">
                <a:lnSpc>
                  <a:spcPct val="80000"/>
                </a:lnSpc>
                <a:defRPr/>
              </a:pPr>
              <a:endParaRPr lang="en-US" sz="1000" b="1" kern="0" dirty="0">
                <a:ln cap="flat">
                  <a:noFill/>
                  <a:miter lim="800000"/>
                </a:ln>
                <a:solidFill>
                  <a:srgbClr val="FFFFFF"/>
                </a:solidFill>
                <a:effectLst>
                  <a:outerShdw blurRad="50800" dist="50800" dir="5400000" algn="t" rotWithShape="0">
                    <a:prstClr val="black">
                      <a:alpha val="40000"/>
                    </a:prstClr>
                  </a:outerShdw>
                </a:effectLst>
                <a:latin typeface="Segoe Semibold" pitchFamily="34" charset="0"/>
                <a:cs typeface="Arial" charset="0"/>
              </a:endParaRPr>
            </a:p>
          </p:txBody>
        </p:sp>
      </p:grpSp>
      <p:grpSp>
        <p:nvGrpSpPr>
          <p:cNvPr id="38" name="Group 37"/>
          <p:cNvGrpSpPr/>
          <p:nvPr/>
        </p:nvGrpSpPr>
        <p:grpSpPr>
          <a:xfrm>
            <a:off x="3886200" y="988194"/>
            <a:ext cx="1371600" cy="1257300"/>
            <a:chOff x="3886200" y="1447800"/>
            <a:chExt cx="1371600" cy="1676400"/>
          </a:xfrm>
        </p:grpSpPr>
        <p:sp>
          <p:nvSpPr>
            <p:cNvPr id="39" name="Rounded Rectangle 38"/>
            <p:cNvSpPr/>
            <p:nvPr/>
          </p:nvSpPr>
          <p:spPr bwMode="auto">
            <a:xfrm>
              <a:off x="4038600" y="1447800"/>
              <a:ext cx="1143000" cy="1676400"/>
            </a:xfrm>
            <a:prstGeom prst="roundRect">
              <a:avLst>
                <a:gd name="adj" fmla="val 19333"/>
              </a:avLst>
            </a:prstGeom>
            <a:solidFill>
              <a:srgbClr val="000000">
                <a:alpha val="30000"/>
              </a:srgbClr>
            </a:solidFill>
            <a:ln>
              <a:noFill/>
              <a:headEnd type="none" w="med" len="med"/>
              <a:tailEnd type="none" w="med" len="med"/>
            </a:ln>
            <a:effectLst/>
            <a:scene3d>
              <a:camera prst="orthographicFront">
                <a:rot lat="0" lon="0" rev="0"/>
              </a:camera>
              <a:lightRig rig="threePt" dir="t">
                <a:rot lat="0" lon="0" rev="1200000"/>
              </a:lightRig>
            </a:scene3d>
            <a:sp3d>
              <a:bevelT w="0" h="0"/>
            </a:sp3d>
          </p:spPr>
          <p:txBody>
            <a:bodyPr vert="horz" wrap="square" lIns="91436" tIns="45718" rIns="91436" bIns="45718" numCol="1" rtlCol="0" anchor="ctr" anchorCtr="0" compatLnSpc="1">
              <a:prstTxWarp prst="textNoShape">
                <a:avLst/>
              </a:prstTxWarp>
            </a:bodyPr>
            <a:lstStyle/>
            <a:p>
              <a:pPr algn="ctr" defTabSz="816107">
                <a:defRPr/>
              </a:pPr>
              <a:endParaRPr lang="en-US" sz="2200" kern="0" dirty="0">
                <a:solidFill>
                  <a:srgbClr val="FFFFFF"/>
                </a:solidFill>
                <a:effectLst>
                  <a:outerShdw blurRad="38100" dist="38100" dir="2700000" algn="tl">
                    <a:srgbClr val="000000">
                      <a:alpha val="43137"/>
                    </a:srgbClr>
                  </a:outerShdw>
                </a:effectLst>
                <a:latin typeface="Segoe" pitchFamily="34" charset="0"/>
              </a:endParaRPr>
            </a:p>
          </p:txBody>
        </p:sp>
        <p:sp>
          <p:nvSpPr>
            <p:cNvPr id="40" name="Rectangle 135"/>
            <p:cNvSpPr/>
            <p:nvPr/>
          </p:nvSpPr>
          <p:spPr>
            <a:xfrm>
              <a:off x="3886200" y="1600200"/>
              <a:ext cx="1371600" cy="304800"/>
            </a:xfrm>
            <a:prstGeom prst="rect">
              <a:avLst/>
            </a:prstGeom>
            <a:noFill/>
            <a:ln w="19050" algn="ctr">
              <a:noFill/>
              <a:miter lim="800000"/>
              <a:headEnd/>
              <a:tailEnd/>
            </a:ln>
            <a:effectLst>
              <a:outerShdw blurRad="25400" dist="12700" dir="5400000" algn="t" rotWithShape="0">
                <a:prstClr val="black">
                  <a:alpha val="40000"/>
                </a:prstClr>
              </a:outerShdw>
            </a:effectLst>
          </p:spPr>
          <p:txBody>
            <a:bodyPr vert="horz" wrap="square" lIns="91440" tIns="45720" rIns="91440" bIns="45720" numCol="1" anchor="ctr" anchorCtr="0" compatLnSpc="1">
              <a:prstTxWarp prst="textNoShape">
                <a:avLst/>
              </a:prstTxWarp>
              <a:noAutofit/>
            </a:bodyPr>
            <a:lstStyle/>
            <a:p>
              <a:pPr algn="ctr" defTabSz="816377">
                <a:lnSpc>
                  <a:spcPct val="80000"/>
                </a:lnSpc>
                <a:defRPr/>
              </a:pPr>
              <a:r>
                <a:rPr lang="en-US" sz="1100" kern="0" dirty="0">
                  <a:ln cap="flat">
                    <a:noFill/>
                    <a:miter lim="800000"/>
                  </a:ln>
                  <a:solidFill>
                    <a:srgbClr val="FFFFFF"/>
                  </a:solidFill>
                  <a:latin typeface="Segoe Semibold" pitchFamily="34" charset="0"/>
                  <a:cs typeface="Arial" charset="0"/>
                </a:rPr>
                <a:t>Telephony</a:t>
              </a:r>
            </a:p>
          </p:txBody>
        </p:sp>
        <p:sp>
          <p:nvSpPr>
            <p:cNvPr id="41" name="Isosceles Triangle 40"/>
            <p:cNvSpPr/>
            <p:nvPr/>
          </p:nvSpPr>
          <p:spPr bwMode="auto">
            <a:xfrm rot="10800000">
              <a:off x="4495800" y="1905000"/>
              <a:ext cx="182880" cy="101600"/>
            </a:xfrm>
            <a:prstGeom prst="triangle">
              <a:avLst/>
            </a:prstGeom>
            <a:gradFill>
              <a:gsLst>
                <a:gs pos="0">
                  <a:srgbClr val="FFFFFF"/>
                </a:gs>
                <a:gs pos="100000">
                  <a:srgbClr val="FFFFFF">
                    <a:lumMod val="85000"/>
                  </a:srgbClr>
                </a:gs>
              </a:gsLst>
              <a:lin ang="16200000" scaled="0"/>
            </a:gradFill>
            <a:ln w="6350" algn="ctr">
              <a:noFill/>
              <a:miter lim="800000"/>
              <a:headEnd/>
              <a:tailEnd/>
            </a:ln>
            <a:effectLst>
              <a:outerShdw dist="38100" dir="5400000" algn="t" rotWithShape="0">
                <a:prstClr val="black">
                  <a:alpha val="6000"/>
                </a:prstClr>
              </a:outerShdw>
            </a:effectLst>
          </p:spPr>
          <p:txBody>
            <a:bodyPr vert="horz" wrap="square" lIns="91440" tIns="45720" rIns="91440" bIns="45720" numCol="1" anchor="ctr" anchorCtr="0" compatLnSpc="1">
              <a:prstTxWarp prst="textNoShape">
                <a:avLst/>
              </a:prstTxWarp>
              <a:noAutofit/>
            </a:bodyPr>
            <a:lstStyle/>
            <a:p>
              <a:pPr algn="ctr" defTabSz="816377">
                <a:lnSpc>
                  <a:spcPct val="80000"/>
                </a:lnSpc>
                <a:defRPr/>
              </a:pPr>
              <a:endParaRPr lang="en-US" sz="1000" b="1" kern="0" dirty="0">
                <a:ln cap="flat">
                  <a:noFill/>
                  <a:miter lim="800000"/>
                </a:ln>
                <a:solidFill>
                  <a:srgbClr val="FFFFFF"/>
                </a:solidFill>
                <a:effectLst>
                  <a:outerShdw blurRad="50800" dist="50800" dir="5400000" algn="t" rotWithShape="0">
                    <a:prstClr val="black">
                      <a:alpha val="40000"/>
                    </a:prstClr>
                  </a:outerShdw>
                </a:effectLst>
                <a:latin typeface="Segoe Semibold" pitchFamily="34" charset="0"/>
                <a:cs typeface="Arial" charset="0"/>
              </a:endParaRPr>
            </a:p>
          </p:txBody>
        </p:sp>
      </p:grpSp>
      <p:grpSp>
        <p:nvGrpSpPr>
          <p:cNvPr id="42" name="Group 41"/>
          <p:cNvGrpSpPr/>
          <p:nvPr/>
        </p:nvGrpSpPr>
        <p:grpSpPr>
          <a:xfrm>
            <a:off x="2819400" y="988194"/>
            <a:ext cx="1143000" cy="1028700"/>
            <a:chOff x="2819400" y="1447800"/>
            <a:chExt cx="1143000" cy="1371600"/>
          </a:xfrm>
        </p:grpSpPr>
        <p:sp>
          <p:nvSpPr>
            <p:cNvPr id="43" name="Rounded Rectangle 42"/>
            <p:cNvSpPr/>
            <p:nvPr/>
          </p:nvSpPr>
          <p:spPr bwMode="auto">
            <a:xfrm>
              <a:off x="2819400" y="1447800"/>
              <a:ext cx="1143000" cy="1371600"/>
            </a:xfrm>
            <a:prstGeom prst="roundRect">
              <a:avLst>
                <a:gd name="adj" fmla="val 19333"/>
              </a:avLst>
            </a:prstGeom>
            <a:solidFill>
              <a:srgbClr val="000000">
                <a:alpha val="30000"/>
              </a:srgbClr>
            </a:solidFill>
            <a:ln>
              <a:noFill/>
              <a:headEnd type="none" w="med" len="med"/>
              <a:tailEnd type="none" w="med" len="med"/>
            </a:ln>
            <a:effectLst/>
            <a:scene3d>
              <a:camera prst="orthographicFront">
                <a:rot lat="0" lon="0" rev="0"/>
              </a:camera>
              <a:lightRig rig="threePt" dir="t">
                <a:rot lat="0" lon="0" rev="1200000"/>
              </a:lightRig>
            </a:scene3d>
            <a:sp3d>
              <a:bevelT w="0" h="0"/>
            </a:sp3d>
          </p:spPr>
          <p:txBody>
            <a:bodyPr vert="horz" wrap="square" lIns="91436" tIns="45718" rIns="91436" bIns="45718" numCol="1" rtlCol="0" anchor="ctr" anchorCtr="0" compatLnSpc="1">
              <a:prstTxWarp prst="textNoShape">
                <a:avLst/>
              </a:prstTxWarp>
            </a:bodyPr>
            <a:lstStyle/>
            <a:p>
              <a:pPr algn="ctr" defTabSz="816107">
                <a:defRPr/>
              </a:pPr>
              <a:endParaRPr lang="en-US" sz="2200" kern="0" dirty="0">
                <a:solidFill>
                  <a:srgbClr val="FFFFFF"/>
                </a:solidFill>
                <a:effectLst>
                  <a:outerShdw blurRad="38100" dist="38100" dir="2700000" algn="tl">
                    <a:srgbClr val="000000">
                      <a:alpha val="43137"/>
                    </a:srgbClr>
                  </a:outerShdw>
                </a:effectLst>
                <a:latin typeface="Segoe" pitchFamily="34" charset="0"/>
              </a:endParaRPr>
            </a:p>
          </p:txBody>
        </p:sp>
        <p:sp>
          <p:nvSpPr>
            <p:cNvPr id="44" name="Rectangle 135"/>
            <p:cNvSpPr/>
            <p:nvPr/>
          </p:nvSpPr>
          <p:spPr>
            <a:xfrm>
              <a:off x="2819400" y="1447800"/>
              <a:ext cx="1143000" cy="457200"/>
            </a:xfrm>
            <a:prstGeom prst="rect">
              <a:avLst/>
            </a:prstGeom>
            <a:noFill/>
            <a:ln w="19050" algn="ctr">
              <a:noFill/>
              <a:miter lim="800000"/>
              <a:headEnd/>
              <a:tailEnd/>
            </a:ln>
            <a:effectLst>
              <a:outerShdw blurRad="25400" dist="12700" dir="5400000" algn="t" rotWithShape="0">
                <a:prstClr val="black">
                  <a:alpha val="40000"/>
                </a:prstClr>
              </a:outerShdw>
            </a:effectLst>
          </p:spPr>
          <p:txBody>
            <a:bodyPr vert="horz" wrap="square" lIns="91440" tIns="45720" rIns="91440" bIns="45720" numCol="1" anchor="ctr" anchorCtr="0" compatLnSpc="1">
              <a:prstTxWarp prst="textNoShape">
                <a:avLst/>
              </a:prstTxWarp>
              <a:noAutofit/>
            </a:bodyPr>
            <a:lstStyle/>
            <a:p>
              <a:pPr algn="ctr" defTabSz="816377">
                <a:lnSpc>
                  <a:spcPct val="80000"/>
                </a:lnSpc>
                <a:defRPr/>
              </a:pPr>
              <a:r>
                <a:rPr lang="en-US" sz="1100" kern="0" dirty="0">
                  <a:ln cap="flat">
                    <a:noFill/>
                    <a:miter lim="800000"/>
                  </a:ln>
                  <a:solidFill>
                    <a:srgbClr val="FFFFFF"/>
                  </a:solidFill>
                  <a:latin typeface="Segoe Semibold" pitchFamily="34" charset="0"/>
                  <a:cs typeface="Arial" charset="0"/>
                </a:rPr>
                <a:t>Video</a:t>
              </a:r>
            </a:p>
            <a:p>
              <a:pPr algn="ctr" defTabSz="816377">
                <a:lnSpc>
                  <a:spcPct val="80000"/>
                </a:lnSpc>
                <a:defRPr/>
              </a:pPr>
              <a:r>
                <a:rPr lang="en-US" sz="1100" kern="0" dirty="0">
                  <a:ln cap="flat">
                    <a:noFill/>
                    <a:miter lim="800000"/>
                  </a:ln>
                  <a:solidFill>
                    <a:srgbClr val="FFFFFF"/>
                  </a:solidFill>
                  <a:latin typeface="Segoe Semibold" pitchFamily="34" charset="0"/>
                  <a:cs typeface="Arial" charset="0"/>
                </a:rPr>
                <a:t>Conferencing </a:t>
              </a:r>
            </a:p>
          </p:txBody>
        </p:sp>
        <p:sp>
          <p:nvSpPr>
            <p:cNvPr id="45" name="Isosceles Triangle 44"/>
            <p:cNvSpPr/>
            <p:nvPr/>
          </p:nvSpPr>
          <p:spPr bwMode="auto">
            <a:xfrm rot="10800000">
              <a:off x="3291840" y="1905000"/>
              <a:ext cx="182880" cy="101600"/>
            </a:xfrm>
            <a:prstGeom prst="triangle">
              <a:avLst/>
            </a:prstGeom>
            <a:gradFill>
              <a:gsLst>
                <a:gs pos="0">
                  <a:srgbClr val="FFFFFF"/>
                </a:gs>
                <a:gs pos="100000">
                  <a:srgbClr val="FFFFFF">
                    <a:lumMod val="85000"/>
                  </a:srgbClr>
                </a:gs>
              </a:gsLst>
              <a:lin ang="16200000" scaled="0"/>
            </a:gradFill>
            <a:ln w="6350" algn="ctr">
              <a:noFill/>
              <a:miter lim="800000"/>
              <a:headEnd/>
              <a:tailEnd/>
            </a:ln>
            <a:effectLst>
              <a:outerShdw dist="38100" dir="5400000" algn="t" rotWithShape="0">
                <a:prstClr val="black">
                  <a:alpha val="6000"/>
                </a:prstClr>
              </a:outerShdw>
            </a:effectLst>
          </p:spPr>
          <p:txBody>
            <a:bodyPr vert="horz" wrap="square" lIns="91440" tIns="45720" rIns="91440" bIns="45720" numCol="1" anchor="ctr" anchorCtr="0" compatLnSpc="1">
              <a:prstTxWarp prst="textNoShape">
                <a:avLst/>
              </a:prstTxWarp>
              <a:noAutofit/>
            </a:bodyPr>
            <a:lstStyle/>
            <a:p>
              <a:pPr algn="ctr" defTabSz="816377">
                <a:lnSpc>
                  <a:spcPct val="80000"/>
                </a:lnSpc>
                <a:defRPr/>
              </a:pPr>
              <a:endParaRPr lang="en-US" sz="1000" b="1" kern="0" dirty="0">
                <a:ln cap="flat">
                  <a:noFill/>
                  <a:miter lim="800000"/>
                </a:ln>
                <a:solidFill>
                  <a:srgbClr val="FFFFFF"/>
                </a:solidFill>
                <a:effectLst>
                  <a:outerShdw blurRad="50800" dist="50800" dir="5400000" algn="t" rotWithShape="0">
                    <a:prstClr val="black">
                      <a:alpha val="40000"/>
                    </a:prstClr>
                  </a:outerShdw>
                </a:effectLst>
                <a:latin typeface="Segoe Semibold" pitchFamily="34" charset="0"/>
                <a:cs typeface="Arial" charset="0"/>
              </a:endParaRPr>
            </a:p>
          </p:txBody>
        </p:sp>
      </p:grpSp>
      <p:grpSp>
        <p:nvGrpSpPr>
          <p:cNvPr id="46" name="Group 45"/>
          <p:cNvGrpSpPr/>
          <p:nvPr/>
        </p:nvGrpSpPr>
        <p:grpSpPr>
          <a:xfrm>
            <a:off x="1507067" y="988194"/>
            <a:ext cx="1371600" cy="1257300"/>
            <a:chOff x="1507067" y="1447800"/>
            <a:chExt cx="1371600" cy="1676400"/>
          </a:xfrm>
        </p:grpSpPr>
        <p:sp>
          <p:nvSpPr>
            <p:cNvPr id="47" name="Rounded Rectangle 46"/>
            <p:cNvSpPr/>
            <p:nvPr/>
          </p:nvSpPr>
          <p:spPr bwMode="auto">
            <a:xfrm>
              <a:off x="1600200" y="1447800"/>
              <a:ext cx="1143000" cy="1676400"/>
            </a:xfrm>
            <a:prstGeom prst="roundRect">
              <a:avLst>
                <a:gd name="adj" fmla="val 19333"/>
              </a:avLst>
            </a:prstGeom>
            <a:solidFill>
              <a:srgbClr val="000000">
                <a:alpha val="30000"/>
              </a:srgbClr>
            </a:solidFill>
            <a:ln>
              <a:noFill/>
              <a:headEnd type="none" w="med" len="med"/>
              <a:tailEnd type="none" w="med" len="med"/>
            </a:ln>
            <a:effectLst/>
            <a:scene3d>
              <a:camera prst="orthographicFront">
                <a:rot lat="0" lon="0" rev="0"/>
              </a:camera>
              <a:lightRig rig="threePt" dir="t">
                <a:rot lat="0" lon="0" rev="1200000"/>
              </a:lightRig>
            </a:scene3d>
            <a:sp3d>
              <a:bevelT w="0" h="0"/>
            </a:sp3d>
          </p:spPr>
          <p:txBody>
            <a:bodyPr vert="horz" wrap="square" lIns="91436" tIns="45718" rIns="91436" bIns="45718" numCol="1" rtlCol="0" anchor="ctr" anchorCtr="0" compatLnSpc="1">
              <a:prstTxWarp prst="textNoShape">
                <a:avLst/>
              </a:prstTxWarp>
            </a:bodyPr>
            <a:lstStyle/>
            <a:p>
              <a:pPr algn="ctr" defTabSz="816107">
                <a:defRPr/>
              </a:pPr>
              <a:endParaRPr lang="en-US" sz="2200" kern="0" dirty="0">
                <a:solidFill>
                  <a:srgbClr val="FFFFFF"/>
                </a:solidFill>
                <a:effectLst>
                  <a:outerShdw blurRad="38100" dist="38100" dir="2700000" algn="tl">
                    <a:srgbClr val="000000">
                      <a:alpha val="43137"/>
                    </a:srgbClr>
                  </a:outerShdw>
                </a:effectLst>
                <a:latin typeface="Segoe" pitchFamily="34" charset="0"/>
              </a:endParaRPr>
            </a:p>
          </p:txBody>
        </p:sp>
        <p:sp>
          <p:nvSpPr>
            <p:cNvPr id="48" name="Rectangle 135"/>
            <p:cNvSpPr/>
            <p:nvPr/>
          </p:nvSpPr>
          <p:spPr>
            <a:xfrm>
              <a:off x="1507067" y="1600200"/>
              <a:ext cx="1371600" cy="304800"/>
            </a:xfrm>
            <a:prstGeom prst="rect">
              <a:avLst/>
            </a:prstGeom>
            <a:noFill/>
            <a:ln w="19050" algn="ctr">
              <a:noFill/>
              <a:miter lim="800000"/>
              <a:headEnd/>
              <a:tailEnd/>
            </a:ln>
            <a:effectLst>
              <a:outerShdw blurRad="25400" dist="12700" dir="5400000" algn="t" rotWithShape="0">
                <a:prstClr val="black">
                  <a:alpha val="40000"/>
                </a:prstClr>
              </a:outerShdw>
            </a:effectLst>
          </p:spPr>
          <p:txBody>
            <a:bodyPr vert="horz" wrap="square" lIns="91440" tIns="45720" rIns="91440" bIns="45720" numCol="1" anchor="ctr" anchorCtr="0" compatLnSpc="1">
              <a:prstTxWarp prst="textNoShape">
                <a:avLst/>
              </a:prstTxWarp>
              <a:noAutofit/>
            </a:bodyPr>
            <a:lstStyle/>
            <a:p>
              <a:pPr algn="ctr" defTabSz="816377">
                <a:lnSpc>
                  <a:spcPct val="80000"/>
                </a:lnSpc>
                <a:defRPr/>
              </a:pPr>
              <a:r>
                <a:rPr lang="en-US" sz="1100" kern="0" dirty="0">
                  <a:ln cap="flat">
                    <a:noFill/>
                    <a:miter lim="800000"/>
                  </a:ln>
                  <a:solidFill>
                    <a:srgbClr val="FFFFFF"/>
                  </a:solidFill>
                  <a:latin typeface="Segoe Semibold" pitchFamily="34" charset="0"/>
                  <a:cs typeface="Arial" charset="0"/>
                </a:rPr>
                <a:t>Voice Mail</a:t>
              </a:r>
            </a:p>
          </p:txBody>
        </p:sp>
        <p:sp>
          <p:nvSpPr>
            <p:cNvPr id="49" name="Isosceles Triangle 48"/>
            <p:cNvSpPr/>
            <p:nvPr/>
          </p:nvSpPr>
          <p:spPr bwMode="auto">
            <a:xfrm rot="10800000">
              <a:off x="2072640" y="1905000"/>
              <a:ext cx="182880" cy="101600"/>
            </a:xfrm>
            <a:prstGeom prst="triangle">
              <a:avLst/>
            </a:prstGeom>
            <a:gradFill>
              <a:gsLst>
                <a:gs pos="0">
                  <a:srgbClr val="FFFFFF"/>
                </a:gs>
                <a:gs pos="100000">
                  <a:srgbClr val="FFFFFF">
                    <a:lumMod val="85000"/>
                  </a:srgbClr>
                </a:gs>
              </a:gsLst>
              <a:lin ang="16200000" scaled="0"/>
            </a:gradFill>
            <a:ln w="6350" algn="ctr">
              <a:noFill/>
              <a:miter lim="800000"/>
              <a:headEnd/>
              <a:tailEnd/>
            </a:ln>
            <a:effectLst>
              <a:outerShdw dist="38100" dir="5400000" algn="t" rotWithShape="0">
                <a:prstClr val="black">
                  <a:alpha val="6000"/>
                </a:prstClr>
              </a:outerShdw>
            </a:effectLst>
          </p:spPr>
          <p:txBody>
            <a:bodyPr vert="horz" wrap="square" lIns="91440" tIns="45720" rIns="91440" bIns="45720" numCol="1" anchor="ctr" anchorCtr="0" compatLnSpc="1">
              <a:prstTxWarp prst="textNoShape">
                <a:avLst/>
              </a:prstTxWarp>
              <a:noAutofit/>
            </a:bodyPr>
            <a:lstStyle/>
            <a:p>
              <a:pPr algn="ctr" defTabSz="816377">
                <a:lnSpc>
                  <a:spcPct val="80000"/>
                </a:lnSpc>
                <a:defRPr/>
              </a:pPr>
              <a:endParaRPr lang="en-US" sz="1000" b="1" kern="0" dirty="0">
                <a:ln cap="flat">
                  <a:noFill/>
                  <a:miter lim="800000"/>
                </a:ln>
                <a:solidFill>
                  <a:srgbClr val="FFFFFF"/>
                </a:solidFill>
                <a:effectLst>
                  <a:outerShdw blurRad="50800" dist="50800" dir="5400000" algn="t" rotWithShape="0">
                    <a:prstClr val="black">
                      <a:alpha val="40000"/>
                    </a:prstClr>
                  </a:outerShdw>
                </a:effectLst>
                <a:latin typeface="Segoe Semibold" pitchFamily="34" charset="0"/>
                <a:cs typeface="Arial" charset="0"/>
              </a:endParaRPr>
            </a:p>
          </p:txBody>
        </p:sp>
      </p:grpSp>
      <p:grpSp>
        <p:nvGrpSpPr>
          <p:cNvPr id="50" name="Group 49"/>
          <p:cNvGrpSpPr/>
          <p:nvPr/>
        </p:nvGrpSpPr>
        <p:grpSpPr>
          <a:xfrm>
            <a:off x="152401" y="988194"/>
            <a:ext cx="1600200" cy="1085850"/>
            <a:chOff x="152401" y="1447800"/>
            <a:chExt cx="1600200" cy="1447800"/>
          </a:xfrm>
        </p:grpSpPr>
        <p:sp>
          <p:nvSpPr>
            <p:cNvPr id="51" name="Rounded Rectangle 50"/>
            <p:cNvSpPr/>
            <p:nvPr/>
          </p:nvSpPr>
          <p:spPr bwMode="auto">
            <a:xfrm>
              <a:off x="381000" y="1447800"/>
              <a:ext cx="1143000" cy="1447800"/>
            </a:xfrm>
            <a:prstGeom prst="roundRect">
              <a:avLst>
                <a:gd name="adj" fmla="val 19333"/>
              </a:avLst>
            </a:prstGeom>
            <a:solidFill>
              <a:srgbClr val="000000">
                <a:alpha val="30000"/>
              </a:srgbClr>
            </a:solidFill>
            <a:ln>
              <a:noFill/>
              <a:headEnd type="none" w="med" len="med"/>
              <a:tailEnd type="none" w="med" len="med"/>
            </a:ln>
            <a:effectLst/>
            <a:scene3d>
              <a:camera prst="orthographicFront">
                <a:rot lat="0" lon="0" rev="0"/>
              </a:camera>
              <a:lightRig rig="threePt" dir="t">
                <a:rot lat="0" lon="0" rev="1200000"/>
              </a:lightRig>
            </a:scene3d>
            <a:sp3d>
              <a:bevelT w="0" h="0"/>
            </a:sp3d>
          </p:spPr>
          <p:txBody>
            <a:bodyPr vert="horz" wrap="square" lIns="91436" tIns="45718" rIns="91436" bIns="45718" numCol="1" rtlCol="0" anchor="ctr" anchorCtr="0" compatLnSpc="1">
              <a:prstTxWarp prst="textNoShape">
                <a:avLst/>
              </a:prstTxWarp>
            </a:bodyPr>
            <a:lstStyle/>
            <a:p>
              <a:pPr algn="ctr" defTabSz="816107">
                <a:defRPr/>
              </a:pPr>
              <a:endParaRPr lang="en-US" sz="2200" kern="0" dirty="0">
                <a:solidFill>
                  <a:srgbClr val="FFFFFF"/>
                </a:solidFill>
                <a:effectLst>
                  <a:outerShdw blurRad="38100" dist="38100" dir="2700000" algn="tl">
                    <a:srgbClr val="000000">
                      <a:alpha val="43137"/>
                    </a:srgbClr>
                  </a:outerShdw>
                </a:effectLst>
                <a:latin typeface="Segoe" pitchFamily="34" charset="0"/>
              </a:endParaRPr>
            </a:p>
          </p:txBody>
        </p:sp>
        <p:sp>
          <p:nvSpPr>
            <p:cNvPr id="52" name="Text Box 14"/>
            <p:cNvSpPr txBox="1">
              <a:spLocks noChangeArrowheads="1"/>
            </p:cNvSpPr>
            <p:nvPr/>
          </p:nvSpPr>
          <p:spPr bwMode="auto">
            <a:xfrm>
              <a:off x="152401" y="1447800"/>
              <a:ext cx="1600200" cy="457200"/>
            </a:xfrm>
            <a:prstGeom prst="rect">
              <a:avLst/>
            </a:prstGeom>
            <a:noFill/>
            <a:ln w="19050" algn="ctr">
              <a:noFill/>
              <a:miter lim="800000"/>
              <a:headEnd/>
              <a:tailEnd/>
            </a:ln>
            <a:effectLst>
              <a:outerShdw blurRad="25400" dist="12700" dir="5400000" algn="t" rotWithShape="0">
                <a:prstClr val="black">
                  <a:alpha val="40000"/>
                </a:prstClr>
              </a:outerShdw>
            </a:effectLst>
          </p:spPr>
          <p:txBody>
            <a:bodyPr vert="horz" wrap="square" lIns="91440" tIns="45720" rIns="91440" bIns="45720" numCol="1" anchor="ctr" anchorCtr="0" compatLnSpc="1">
              <a:prstTxWarp prst="textNoShape">
                <a:avLst/>
              </a:prstTxWarp>
              <a:noAutofit/>
            </a:bodyPr>
            <a:lstStyle/>
            <a:p>
              <a:pPr algn="ctr" defTabSz="816377">
                <a:lnSpc>
                  <a:spcPct val="80000"/>
                </a:lnSpc>
                <a:defRPr/>
              </a:pPr>
              <a:r>
                <a:rPr lang="en-US" sz="1100" kern="0" dirty="0">
                  <a:ln cap="flat">
                    <a:noFill/>
                    <a:miter lim="800000"/>
                  </a:ln>
                  <a:solidFill>
                    <a:srgbClr val="FFFFFF"/>
                  </a:solidFill>
                  <a:latin typeface="Segoe Semibold" pitchFamily="34" charset="0"/>
                  <a:cs typeface="Arial" charset="0"/>
                </a:rPr>
                <a:t>Instant</a:t>
              </a:r>
              <a:br>
                <a:rPr lang="en-US" sz="1100" kern="0" dirty="0">
                  <a:ln cap="flat">
                    <a:noFill/>
                    <a:miter lim="800000"/>
                  </a:ln>
                  <a:solidFill>
                    <a:srgbClr val="FFFFFF"/>
                  </a:solidFill>
                  <a:latin typeface="Segoe Semibold" pitchFamily="34" charset="0"/>
                  <a:cs typeface="Arial" charset="0"/>
                </a:rPr>
              </a:br>
              <a:r>
                <a:rPr lang="en-US" sz="1100" kern="0" dirty="0">
                  <a:ln cap="flat">
                    <a:noFill/>
                    <a:miter lim="800000"/>
                  </a:ln>
                  <a:solidFill>
                    <a:srgbClr val="FFFFFF"/>
                  </a:solidFill>
                  <a:latin typeface="Segoe Semibold" pitchFamily="34" charset="0"/>
                  <a:cs typeface="Arial" charset="0"/>
                </a:rPr>
                <a:t>Messaging (IM)</a:t>
              </a:r>
            </a:p>
          </p:txBody>
        </p:sp>
        <p:sp>
          <p:nvSpPr>
            <p:cNvPr id="53" name="Isosceles Triangle 52"/>
            <p:cNvSpPr/>
            <p:nvPr/>
          </p:nvSpPr>
          <p:spPr bwMode="auto">
            <a:xfrm rot="10800000">
              <a:off x="838200" y="1905000"/>
              <a:ext cx="182880" cy="101600"/>
            </a:xfrm>
            <a:prstGeom prst="triangle">
              <a:avLst/>
            </a:prstGeom>
            <a:gradFill>
              <a:gsLst>
                <a:gs pos="0">
                  <a:srgbClr val="FFFFFF"/>
                </a:gs>
                <a:gs pos="100000">
                  <a:srgbClr val="FFFFFF">
                    <a:lumMod val="85000"/>
                  </a:srgbClr>
                </a:gs>
              </a:gsLst>
              <a:lin ang="16200000" scaled="0"/>
            </a:gradFill>
            <a:ln w="6350" algn="ctr">
              <a:noFill/>
              <a:miter lim="800000"/>
              <a:headEnd/>
              <a:tailEnd/>
            </a:ln>
            <a:effectLst>
              <a:outerShdw dist="38100" dir="5400000" algn="t" rotWithShape="0">
                <a:prstClr val="black">
                  <a:alpha val="6000"/>
                </a:prstClr>
              </a:outerShdw>
            </a:effectLst>
          </p:spPr>
          <p:txBody>
            <a:bodyPr vert="horz" wrap="square" lIns="91440" tIns="45720" rIns="91440" bIns="45720" numCol="1" anchor="ctr" anchorCtr="0" compatLnSpc="1">
              <a:prstTxWarp prst="textNoShape">
                <a:avLst/>
              </a:prstTxWarp>
              <a:noAutofit/>
            </a:bodyPr>
            <a:lstStyle/>
            <a:p>
              <a:pPr algn="ctr" defTabSz="816377">
                <a:lnSpc>
                  <a:spcPct val="80000"/>
                </a:lnSpc>
                <a:defRPr/>
              </a:pPr>
              <a:endParaRPr lang="en-US" sz="1000" b="1" kern="0" dirty="0">
                <a:ln cap="flat">
                  <a:noFill/>
                  <a:miter lim="800000"/>
                </a:ln>
                <a:solidFill>
                  <a:srgbClr val="FFFFFF"/>
                </a:solidFill>
                <a:effectLst>
                  <a:outerShdw blurRad="50800" dist="50800" dir="5400000" algn="t" rotWithShape="0">
                    <a:prstClr val="black">
                      <a:alpha val="40000"/>
                    </a:prstClr>
                  </a:outerShdw>
                </a:effectLst>
                <a:latin typeface="Segoe Semibold" pitchFamily="34" charset="0"/>
                <a:cs typeface="Arial" charset="0"/>
              </a:endParaRPr>
            </a:p>
          </p:txBody>
        </p:sp>
      </p:grpSp>
      <p:sp>
        <p:nvSpPr>
          <p:cNvPr id="54" name="Title 1"/>
          <p:cNvSpPr txBox="1">
            <a:spLocks/>
          </p:cNvSpPr>
          <p:nvPr/>
        </p:nvSpPr>
        <p:spPr>
          <a:xfrm>
            <a:off x="381000" y="179269"/>
            <a:ext cx="8382000" cy="373949"/>
          </a:xfrm>
          <a:prstGeom prst="rect">
            <a:avLst/>
          </a:prstGeom>
        </p:spPr>
        <p:txBody>
          <a:bodyPr vert="horz" wrap="square" lIns="0" tIns="0" rIns="0" bIns="0" rtlCol="0" anchor="t" anchorCtr="0">
            <a:noAutofit/>
          </a:bodyPr>
          <a:lstStyle>
            <a:lvl1pPr algn="l" defTabSz="914363" rtl="0" eaLnBrk="1" latinLnBrk="0" hangingPunct="1">
              <a:lnSpc>
                <a:spcPct val="90000"/>
              </a:lnSpc>
              <a:spcBef>
                <a:spcPct val="0"/>
              </a:spcBef>
              <a:buNone/>
              <a:defRPr sz="3600" b="0" kern="1200" cap="none" spc="0">
                <a:ln w="3175">
                  <a:noFill/>
                </a:ln>
                <a:solidFill>
                  <a:schemeClr val="bg1"/>
                </a:solidFill>
                <a:effectLst/>
                <a:latin typeface="Segoe Light" pitchFamily="34" charset="0"/>
                <a:ea typeface="+mn-ea"/>
                <a:cs typeface="Arial" pitchFamily="34" charset="0"/>
              </a:defRPr>
            </a:lvl1pPr>
          </a:lstStyle>
          <a:p>
            <a:pPr algn="ctr"/>
            <a:r>
              <a:rPr lang="en-US" dirty="0" smtClean="0">
                <a:solidFill>
                  <a:schemeClr val="tx1"/>
                </a:solidFill>
                <a:latin typeface="+mj-lt"/>
                <a:sym typeface="Wingdings" pitchFamily="2" charset="2"/>
              </a:rPr>
              <a:t>Communications Today</a:t>
            </a:r>
            <a:endParaRPr lang="en-US" dirty="0">
              <a:solidFill>
                <a:schemeClr val="tx1"/>
              </a:solidFill>
              <a:latin typeface="+mj-lt"/>
              <a:sym typeface="Wingdings" pitchFamily="2" charset="2"/>
            </a:endParaRPr>
          </a:p>
        </p:txBody>
      </p:sp>
      <p:grpSp>
        <p:nvGrpSpPr>
          <p:cNvPr id="55" name="Group 152"/>
          <p:cNvGrpSpPr/>
          <p:nvPr/>
        </p:nvGrpSpPr>
        <p:grpSpPr>
          <a:xfrm>
            <a:off x="6415663" y="1858145"/>
            <a:ext cx="1244599" cy="2329961"/>
            <a:chOff x="3196905" y="2233987"/>
            <a:chExt cx="1244599" cy="3106615"/>
          </a:xfrm>
        </p:grpSpPr>
        <p:sp>
          <p:nvSpPr>
            <p:cNvPr id="56" name="Can 55"/>
            <p:cNvSpPr/>
            <p:nvPr/>
          </p:nvSpPr>
          <p:spPr bwMode="auto">
            <a:xfrm>
              <a:off x="3200401" y="2767387"/>
              <a:ext cx="1230923" cy="2573215"/>
            </a:xfrm>
            <a:prstGeom prst="can">
              <a:avLst>
                <a:gd name="adj" fmla="val 30950"/>
              </a:avLst>
            </a:prstGeom>
            <a:gradFill rotWithShape="1">
              <a:gsLst>
                <a:gs pos="0">
                  <a:srgbClr val="525051"/>
                </a:gs>
                <a:gs pos="80000">
                  <a:srgbClr val="FFA514"/>
                </a:gs>
                <a:gs pos="100000">
                  <a:srgbClr val="FFA514"/>
                </a:gs>
              </a:gsLst>
              <a:lin ang="16200000" scaled="0"/>
            </a:gradFill>
            <a:ln>
              <a:gradFill>
                <a:gsLst>
                  <a:gs pos="0">
                    <a:srgbClr val="FFA514">
                      <a:tint val="66000"/>
                      <a:satMod val="160000"/>
                      <a:alpha val="0"/>
                    </a:srgbClr>
                  </a:gs>
                  <a:gs pos="50000">
                    <a:srgbClr val="FFA514">
                      <a:tint val="44500"/>
                      <a:satMod val="160000"/>
                      <a:alpha val="0"/>
                    </a:srgbClr>
                  </a:gs>
                  <a:gs pos="100000">
                    <a:srgbClr val="FFA514">
                      <a:tint val="23500"/>
                      <a:satMod val="160000"/>
                    </a:srgbClr>
                  </a:gs>
                </a:gsLst>
                <a:lin ang="0" scaled="0"/>
              </a:gradFill>
              <a:headEnd type="none" w="med" len="med"/>
              <a:tailEnd type="none" w="med" len="med"/>
            </a:ln>
            <a:effectLst>
              <a:outerShdw blurRad="241300" dist="127000" dir="5400000" rotWithShape="0">
                <a:srgbClr val="000000">
                  <a:alpha val="10000"/>
                </a:srgbClr>
              </a:outerShdw>
              <a:reflection blurRad="6350" stA="52000" endA="300" endPos="35000" dir="5400000" sy="-100000" algn="bl" rotWithShape="0"/>
            </a:effectLst>
            <a:scene3d>
              <a:camera prst="orthographicFront">
                <a:rot lat="0" lon="0" rev="0"/>
              </a:camera>
              <a:lightRig rig="threePt" dir="t">
                <a:rot lat="0" lon="0" rev="1200000"/>
              </a:lightRig>
            </a:scene3d>
            <a:sp3d>
              <a:bevelT w="63500" h="25400"/>
            </a:sp3d>
          </p:spPr>
          <p:txBody>
            <a:bodyPr vert="horz" wrap="square" lIns="91436" tIns="45718" rIns="91436" bIns="45718" numCol="1" rtlCol="0" anchor="ctr" anchorCtr="0" compatLnSpc="1">
              <a:prstTxWarp prst="textNoShape">
                <a:avLst/>
              </a:prstTxWarp>
            </a:bodyPr>
            <a:lstStyle/>
            <a:p>
              <a:pPr algn="ctr" defTabSz="816107">
                <a:defRPr/>
              </a:pPr>
              <a:endParaRPr lang="en-US" sz="2200" kern="0" dirty="0">
                <a:solidFill>
                  <a:srgbClr val="FFFFFF"/>
                </a:solidFill>
                <a:effectLst>
                  <a:outerShdw blurRad="38100" dist="38100" dir="2700000" algn="tl">
                    <a:srgbClr val="000000">
                      <a:alpha val="43137"/>
                    </a:srgbClr>
                  </a:outerShdw>
                </a:effectLst>
                <a:latin typeface="Segoe" pitchFamily="34" charset="0"/>
              </a:endParaRPr>
            </a:p>
          </p:txBody>
        </p:sp>
        <p:sp>
          <p:nvSpPr>
            <p:cNvPr id="57" name="Can 56"/>
            <p:cNvSpPr/>
            <p:nvPr/>
          </p:nvSpPr>
          <p:spPr bwMode="auto">
            <a:xfrm>
              <a:off x="3196905" y="3893454"/>
              <a:ext cx="1222695" cy="1442224"/>
            </a:xfrm>
            <a:prstGeom prst="can">
              <a:avLst>
                <a:gd name="adj" fmla="val 28748"/>
              </a:avLst>
            </a:prstGeom>
            <a:gradFill rotWithShape="1">
              <a:gsLst>
                <a:gs pos="0">
                  <a:srgbClr val="525051">
                    <a:alpha val="31000"/>
                  </a:srgbClr>
                </a:gs>
                <a:gs pos="100000">
                  <a:srgbClr val="FFA514">
                    <a:alpha val="25000"/>
                  </a:srgbClr>
                </a:gs>
              </a:gsLst>
              <a:lin ang="16200000" scaled="0"/>
            </a:gradFill>
            <a:ln>
              <a:gradFill>
                <a:gsLst>
                  <a:gs pos="0">
                    <a:srgbClr val="FFA514">
                      <a:tint val="66000"/>
                      <a:satMod val="160000"/>
                      <a:alpha val="0"/>
                    </a:srgbClr>
                  </a:gs>
                  <a:gs pos="50000">
                    <a:srgbClr val="FFA514">
                      <a:lumMod val="60000"/>
                      <a:lumOff val="40000"/>
                    </a:srgbClr>
                  </a:gs>
                  <a:gs pos="100000">
                    <a:srgbClr val="FFA514">
                      <a:tint val="23500"/>
                      <a:satMod val="160000"/>
                      <a:alpha val="0"/>
                    </a:srgbClr>
                  </a:gs>
                </a:gsLst>
                <a:lin ang="0" scaled="0"/>
              </a:gradFill>
              <a:headEnd type="none" w="med" len="med"/>
              <a:tailEnd type="none" w="med" len="med"/>
            </a:ln>
            <a:effectLst>
              <a:reflection blurRad="6350" stA="52000" endA="300" endPos="35000" dir="5400000" sy="-100000" algn="bl" rotWithShape="0"/>
            </a:effectLst>
            <a:scene3d>
              <a:camera prst="orthographicFront">
                <a:rot lat="0" lon="0" rev="0"/>
              </a:camera>
              <a:lightRig rig="threePt" dir="t">
                <a:rot lat="0" lon="0" rev="1200000"/>
              </a:lightRig>
            </a:scene3d>
            <a:sp3d>
              <a:bevelT w="63500" h="25400"/>
            </a:sp3d>
          </p:spPr>
          <p:txBody>
            <a:bodyPr vert="horz" wrap="square" lIns="91436" tIns="45718" rIns="91436" bIns="45718" numCol="1" rtlCol="0" anchor="ctr" anchorCtr="0" compatLnSpc="1">
              <a:prstTxWarp prst="textNoShape">
                <a:avLst/>
              </a:prstTxWarp>
            </a:bodyPr>
            <a:lstStyle/>
            <a:p>
              <a:pPr algn="ctr" defTabSz="816107">
                <a:defRPr/>
              </a:pPr>
              <a:endParaRPr lang="en-US" sz="2200" kern="0" dirty="0">
                <a:solidFill>
                  <a:srgbClr val="FFFFFF"/>
                </a:solidFill>
                <a:effectLst>
                  <a:outerShdw blurRad="38100" dist="38100" dir="2700000" algn="tl">
                    <a:srgbClr val="000000">
                      <a:alpha val="43137"/>
                    </a:srgbClr>
                  </a:outerShdw>
                </a:effectLst>
                <a:latin typeface="Segoe" pitchFamily="34" charset="0"/>
              </a:endParaRPr>
            </a:p>
          </p:txBody>
        </p:sp>
        <p:sp>
          <p:nvSpPr>
            <p:cNvPr id="58" name="TextBox 57"/>
            <p:cNvSpPr txBox="1"/>
            <p:nvPr/>
          </p:nvSpPr>
          <p:spPr>
            <a:xfrm>
              <a:off x="3324606" y="4284967"/>
              <a:ext cx="1016625" cy="1046440"/>
            </a:xfrm>
            <a:prstGeom prst="rect">
              <a:avLst/>
            </a:prstGeom>
            <a:noFill/>
            <a:effectLst>
              <a:outerShdw blurRad="50800" dist="38100" dir="5400000" algn="t" rotWithShape="0">
                <a:prstClr val="black">
                  <a:alpha val="40000"/>
                </a:prstClr>
              </a:outerShdw>
            </a:effectLst>
          </p:spPr>
          <p:txBody>
            <a:bodyPr wrap="none" rtlCol="0">
              <a:spAutoFit/>
            </a:bodyPr>
            <a:lstStyle/>
            <a:p>
              <a:pPr algn="ctr" defTabSz="816377">
                <a:lnSpc>
                  <a:spcPts val="1786"/>
                </a:lnSpc>
                <a:defRPr/>
              </a:pPr>
              <a:r>
                <a:rPr lang="en-US" sz="1000" kern="0" dirty="0">
                  <a:solidFill>
                    <a:srgbClr val="FFFFFF"/>
                  </a:solidFill>
                </a:rPr>
                <a:t>Authentication</a:t>
              </a:r>
            </a:p>
            <a:p>
              <a:pPr algn="ctr" defTabSz="816377">
                <a:lnSpc>
                  <a:spcPts val="1786"/>
                </a:lnSpc>
                <a:defRPr/>
              </a:pPr>
              <a:r>
                <a:rPr lang="en-US" sz="1000" kern="0" dirty="0">
                  <a:solidFill>
                    <a:srgbClr val="FFFFFF"/>
                  </a:solidFill>
                </a:rPr>
                <a:t>Administration</a:t>
              </a:r>
            </a:p>
            <a:p>
              <a:pPr algn="ctr" defTabSz="816377">
                <a:lnSpc>
                  <a:spcPts val="1786"/>
                </a:lnSpc>
                <a:defRPr/>
              </a:pPr>
              <a:r>
                <a:rPr lang="en-US" sz="1000" kern="0" dirty="0">
                  <a:solidFill>
                    <a:srgbClr val="FFFFFF"/>
                  </a:solidFill>
                </a:rPr>
                <a:t>Storage</a:t>
              </a:r>
            </a:p>
          </p:txBody>
        </p:sp>
        <p:sp>
          <p:nvSpPr>
            <p:cNvPr id="59" name="Oval 58"/>
            <p:cNvSpPr/>
            <p:nvPr/>
          </p:nvSpPr>
          <p:spPr bwMode="auto">
            <a:xfrm>
              <a:off x="3200400" y="2514600"/>
              <a:ext cx="1219201" cy="449229"/>
            </a:xfrm>
            <a:prstGeom prst="ellipse">
              <a:avLst/>
            </a:prstGeom>
            <a:gradFill>
              <a:gsLst>
                <a:gs pos="0">
                  <a:srgbClr val="FFFFFF">
                    <a:lumMod val="85000"/>
                    <a:alpha val="10000"/>
                  </a:srgbClr>
                </a:gs>
                <a:gs pos="100000">
                  <a:srgbClr val="FFFFFF">
                    <a:alpha val="72000"/>
                  </a:srgbClr>
                </a:gs>
              </a:gsLst>
              <a:lin ang="5400000" scaled="0"/>
            </a:gradFill>
            <a:effectLst>
              <a:outerShdw blurRad="12700" dist="25400" dir="5400000" algn="t" rotWithShape="0">
                <a:prstClr val="black">
                  <a:alpha val="13000"/>
                </a:prstClr>
              </a:outerShdw>
            </a:effectLst>
          </p:spPr>
          <p:txBody>
            <a:bodyPr wrap="square" rtlCol="0">
              <a:noAutofit/>
            </a:bodyPr>
            <a:lstStyle/>
            <a:p>
              <a:pPr defTabSz="816377">
                <a:defRPr/>
              </a:pPr>
              <a:endParaRPr lang="en-US" sz="3900" kern="0" dirty="0">
                <a:gradFill>
                  <a:gsLst>
                    <a:gs pos="0">
                      <a:srgbClr val="FFFFFF"/>
                    </a:gs>
                    <a:gs pos="100000">
                      <a:srgbClr val="FFA514">
                        <a:lumMod val="60000"/>
                        <a:lumOff val="40000"/>
                      </a:srgbClr>
                    </a:gs>
                  </a:gsLst>
                  <a:lin ang="5400000" scaled="0"/>
                </a:gradFill>
              </a:endParaRPr>
            </a:p>
          </p:txBody>
        </p:sp>
        <p:sp>
          <p:nvSpPr>
            <p:cNvPr id="60" name="TextBox 59"/>
            <p:cNvSpPr txBox="1"/>
            <p:nvPr/>
          </p:nvSpPr>
          <p:spPr>
            <a:xfrm>
              <a:off x="3196905" y="3131454"/>
              <a:ext cx="1244599" cy="719667"/>
            </a:xfrm>
            <a:prstGeom prst="rect">
              <a:avLst/>
            </a:prstGeom>
            <a:noFill/>
            <a:effectLst>
              <a:outerShdw blurRad="12700" dist="12700" dir="5400000" algn="t" rotWithShape="0">
                <a:prstClr val="black">
                  <a:alpha val="40000"/>
                </a:prstClr>
              </a:outerShdw>
              <a:reflection blurRad="6350" stA="50000" endA="300" endPos="55000" dir="5400000" sy="-100000" algn="bl" rotWithShape="0"/>
            </a:effectLst>
          </p:spPr>
          <p:txBody>
            <a:bodyPr wrap="square" rtlCol="0">
              <a:noAutofit/>
            </a:bodyPr>
            <a:lstStyle/>
            <a:p>
              <a:pPr algn="ctr" defTabSz="816377">
                <a:defRPr/>
              </a:pPr>
              <a:r>
                <a:rPr lang="en-US" sz="2200" b="1" kern="0" dirty="0">
                  <a:gradFill>
                    <a:gsLst>
                      <a:gs pos="0">
                        <a:srgbClr val="FFFFFF"/>
                      </a:gs>
                      <a:gs pos="100000">
                        <a:srgbClr val="FFA514">
                          <a:lumMod val="60000"/>
                          <a:lumOff val="40000"/>
                        </a:srgbClr>
                      </a:gs>
                    </a:gsLst>
                    <a:lin ang="5400000" scaled="0"/>
                  </a:gradFill>
                </a:rPr>
                <a:t>User </a:t>
              </a:r>
              <a:r>
                <a:rPr lang="en-US" sz="900" b="1" kern="0" dirty="0">
                  <a:gradFill>
                    <a:gsLst>
                      <a:gs pos="0">
                        <a:srgbClr val="FFFFFF"/>
                      </a:gs>
                      <a:gs pos="100000">
                        <a:srgbClr val="FFA514">
                          <a:lumMod val="60000"/>
                          <a:lumOff val="40000"/>
                        </a:srgbClr>
                      </a:gs>
                    </a:gsLst>
                    <a:lin ang="5400000" scaled="0"/>
                  </a:gradFill>
                </a:rPr>
                <a:t>Experience</a:t>
              </a:r>
            </a:p>
          </p:txBody>
        </p:sp>
        <p:pic>
          <p:nvPicPr>
            <p:cNvPr id="61" name="Picture 4" descr="C:\Users\victor.melniciuc\Desktop\==Work\TDC deck\icons\calendar.png"/>
            <p:cNvPicPr>
              <a:picLocks noChangeAspect="1" noChangeArrowheads="1"/>
            </p:cNvPicPr>
            <p:nvPr/>
          </p:nvPicPr>
          <p:blipFill>
            <a:blip r:embed="rId7" cstate="print"/>
            <a:srcRect/>
            <a:stretch>
              <a:fillRect/>
            </a:stretch>
          </p:blipFill>
          <p:spPr bwMode="auto">
            <a:xfrm>
              <a:off x="3429129" y="2233987"/>
              <a:ext cx="485562" cy="471488"/>
            </a:xfrm>
            <a:prstGeom prst="rect">
              <a:avLst/>
            </a:prstGeom>
            <a:noFill/>
            <a:effectLst>
              <a:outerShdw blurRad="50800" dist="38100" dir="5400000" algn="t" rotWithShape="0">
                <a:prstClr val="black">
                  <a:alpha val="40000"/>
                </a:prstClr>
              </a:outerShdw>
            </a:effectLst>
          </p:spPr>
        </p:pic>
        <p:pic>
          <p:nvPicPr>
            <p:cNvPr id="62" name="Picture 5" descr="C:\Users\victor.melniciuc\Desktop\==Work\TDC deck\icons\email.png"/>
            <p:cNvPicPr>
              <a:picLocks noChangeAspect="1" noChangeArrowheads="1"/>
            </p:cNvPicPr>
            <p:nvPr/>
          </p:nvPicPr>
          <p:blipFill>
            <a:blip r:embed="rId8" cstate="print"/>
            <a:srcRect/>
            <a:stretch>
              <a:fillRect/>
            </a:stretch>
          </p:blipFill>
          <p:spPr bwMode="auto">
            <a:xfrm rot="21202754">
              <a:off x="3733929" y="2386387"/>
              <a:ext cx="436563" cy="381000"/>
            </a:xfrm>
            <a:prstGeom prst="rect">
              <a:avLst/>
            </a:prstGeom>
            <a:noFill/>
            <a:effectLst>
              <a:outerShdw blurRad="50800" dist="38100" dir="5400000" algn="t" rotWithShape="0">
                <a:prstClr val="black">
                  <a:alpha val="40000"/>
                </a:prstClr>
              </a:outerShdw>
            </a:effectLst>
          </p:spPr>
        </p:pic>
      </p:grpSp>
      <p:grpSp>
        <p:nvGrpSpPr>
          <p:cNvPr id="63" name="Group 243"/>
          <p:cNvGrpSpPr/>
          <p:nvPr/>
        </p:nvGrpSpPr>
        <p:grpSpPr>
          <a:xfrm>
            <a:off x="2941563" y="1581151"/>
            <a:ext cx="928810" cy="1766941"/>
            <a:chOff x="2887134" y="2565399"/>
            <a:chExt cx="928810" cy="2355921"/>
          </a:xfrm>
        </p:grpSpPr>
        <p:grpSp>
          <p:nvGrpSpPr>
            <p:cNvPr id="64" name="Group 128"/>
            <p:cNvGrpSpPr/>
            <p:nvPr/>
          </p:nvGrpSpPr>
          <p:grpSpPr>
            <a:xfrm>
              <a:off x="2887134" y="2760133"/>
              <a:ext cx="928810" cy="2161187"/>
              <a:chOff x="3166411" y="2514600"/>
              <a:chExt cx="1328118" cy="3018244"/>
            </a:xfrm>
          </p:grpSpPr>
          <p:sp>
            <p:nvSpPr>
              <p:cNvPr id="66" name="Can 65"/>
              <p:cNvSpPr/>
              <p:nvPr/>
            </p:nvSpPr>
            <p:spPr bwMode="auto">
              <a:xfrm>
                <a:off x="3200401" y="2767387"/>
                <a:ext cx="1230923" cy="2573215"/>
              </a:xfrm>
              <a:prstGeom prst="can">
                <a:avLst>
                  <a:gd name="adj" fmla="val 30950"/>
                </a:avLst>
              </a:prstGeom>
              <a:gradFill rotWithShape="1">
                <a:gsLst>
                  <a:gs pos="0">
                    <a:srgbClr val="525051"/>
                  </a:gs>
                  <a:gs pos="80000">
                    <a:srgbClr val="FFA514"/>
                  </a:gs>
                  <a:gs pos="100000">
                    <a:srgbClr val="FFA514"/>
                  </a:gs>
                </a:gsLst>
                <a:lin ang="16200000" scaled="0"/>
              </a:gradFill>
              <a:ln>
                <a:gradFill>
                  <a:gsLst>
                    <a:gs pos="0">
                      <a:srgbClr val="FFA514">
                        <a:tint val="66000"/>
                        <a:satMod val="160000"/>
                        <a:alpha val="0"/>
                      </a:srgbClr>
                    </a:gs>
                    <a:gs pos="50000">
                      <a:srgbClr val="FFA514">
                        <a:tint val="44500"/>
                        <a:satMod val="160000"/>
                        <a:alpha val="0"/>
                      </a:srgbClr>
                    </a:gs>
                    <a:gs pos="100000">
                      <a:srgbClr val="FFA514">
                        <a:tint val="23500"/>
                        <a:satMod val="160000"/>
                      </a:srgbClr>
                    </a:gs>
                  </a:gsLst>
                  <a:lin ang="0" scaled="0"/>
                </a:gradFill>
                <a:headEnd type="none" w="med" len="med"/>
                <a:tailEnd type="none" w="med" len="med"/>
              </a:ln>
              <a:effectLst>
                <a:outerShdw blurRad="241300" dist="127000" dir="5400000" rotWithShape="0">
                  <a:srgbClr val="000000">
                    <a:alpha val="10000"/>
                  </a:srgbClr>
                </a:outerShdw>
                <a:reflection blurRad="6350" stA="52000" endA="300" endPos="35000" dir="5400000" sy="-100000" algn="bl" rotWithShape="0"/>
              </a:effectLst>
              <a:scene3d>
                <a:camera prst="orthographicFront">
                  <a:rot lat="0" lon="0" rev="0"/>
                </a:camera>
                <a:lightRig rig="threePt" dir="t">
                  <a:rot lat="0" lon="0" rev="1200000"/>
                </a:lightRig>
              </a:scene3d>
              <a:sp3d>
                <a:bevelT w="63500" h="25400"/>
              </a:sp3d>
            </p:spPr>
            <p:txBody>
              <a:bodyPr vert="horz" wrap="square" lIns="91436" tIns="45718" rIns="91436" bIns="45718" numCol="1" rtlCol="0" anchor="ctr" anchorCtr="0" compatLnSpc="1">
                <a:prstTxWarp prst="textNoShape">
                  <a:avLst/>
                </a:prstTxWarp>
              </a:bodyPr>
              <a:lstStyle/>
              <a:p>
                <a:pPr algn="ctr" defTabSz="816107">
                  <a:defRPr/>
                </a:pPr>
                <a:endParaRPr lang="en-US" sz="2200" kern="0" dirty="0">
                  <a:solidFill>
                    <a:srgbClr val="FFFFFF"/>
                  </a:solidFill>
                  <a:effectLst>
                    <a:outerShdw blurRad="38100" dist="38100" dir="2700000" algn="tl">
                      <a:srgbClr val="000000">
                        <a:alpha val="43137"/>
                      </a:srgbClr>
                    </a:outerShdw>
                  </a:effectLst>
                  <a:latin typeface="Segoe" pitchFamily="34" charset="0"/>
                </a:endParaRPr>
              </a:p>
            </p:txBody>
          </p:sp>
          <p:sp>
            <p:nvSpPr>
              <p:cNvPr id="67" name="Can 66"/>
              <p:cNvSpPr/>
              <p:nvPr/>
            </p:nvSpPr>
            <p:spPr bwMode="auto">
              <a:xfrm>
                <a:off x="3196905" y="3976324"/>
                <a:ext cx="1222695" cy="1364413"/>
              </a:xfrm>
              <a:prstGeom prst="can">
                <a:avLst>
                  <a:gd name="adj" fmla="val 28748"/>
                </a:avLst>
              </a:prstGeom>
              <a:gradFill rotWithShape="1">
                <a:gsLst>
                  <a:gs pos="0">
                    <a:srgbClr val="525051">
                      <a:alpha val="31000"/>
                    </a:srgbClr>
                  </a:gs>
                  <a:gs pos="100000">
                    <a:srgbClr val="FFA514">
                      <a:alpha val="25000"/>
                    </a:srgbClr>
                  </a:gs>
                </a:gsLst>
                <a:lin ang="16200000" scaled="0"/>
              </a:gradFill>
              <a:ln>
                <a:gradFill>
                  <a:gsLst>
                    <a:gs pos="0">
                      <a:srgbClr val="FFA514">
                        <a:tint val="66000"/>
                        <a:satMod val="160000"/>
                        <a:alpha val="0"/>
                      </a:srgbClr>
                    </a:gs>
                    <a:gs pos="50000">
                      <a:srgbClr val="FFA514">
                        <a:lumMod val="60000"/>
                        <a:lumOff val="40000"/>
                      </a:srgbClr>
                    </a:gs>
                    <a:gs pos="100000">
                      <a:srgbClr val="FFA514">
                        <a:tint val="23500"/>
                        <a:satMod val="160000"/>
                        <a:alpha val="0"/>
                      </a:srgbClr>
                    </a:gs>
                  </a:gsLst>
                  <a:lin ang="0" scaled="0"/>
                </a:gradFill>
                <a:headEnd type="none" w="med" len="med"/>
                <a:tailEnd type="none" w="med" len="med"/>
              </a:ln>
              <a:effectLst>
                <a:reflection blurRad="6350" stA="52000" endA="300" endPos="35000" dir="5400000" sy="-100000" algn="bl" rotWithShape="0"/>
              </a:effectLst>
              <a:scene3d>
                <a:camera prst="orthographicFront">
                  <a:rot lat="0" lon="0" rev="0"/>
                </a:camera>
                <a:lightRig rig="threePt" dir="t">
                  <a:rot lat="0" lon="0" rev="1200000"/>
                </a:lightRig>
              </a:scene3d>
              <a:sp3d>
                <a:bevelT w="63500" h="25400"/>
              </a:sp3d>
            </p:spPr>
            <p:txBody>
              <a:bodyPr vert="horz" wrap="square" lIns="91436" tIns="45718" rIns="91436" bIns="45718" numCol="1" rtlCol="0" anchor="ctr" anchorCtr="0" compatLnSpc="1">
                <a:prstTxWarp prst="textNoShape">
                  <a:avLst/>
                </a:prstTxWarp>
              </a:bodyPr>
              <a:lstStyle/>
              <a:p>
                <a:pPr algn="ctr" defTabSz="816107">
                  <a:defRPr/>
                </a:pPr>
                <a:endParaRPr lang="en-US" sz="2200" kern="0" dirty="0">
                  <a:solidFill>
                    <a:srgbClr val="FFFFFF"/>
                  </a:solidFill>
                  <a:effectLst>
                    <a:outerShdw blurRad="38100" dist="38100" dir="2700000" algn="tl">
                      <a:srgbClr val="000000">
                        <a:alpha val="43137"/>
                      </a:srgbClr>
                    </a:outerShdw>
                  </a:effectLst>
                  <a:latin typeface="Segoe" pitchFamily="34" charset="0"/>
                </a:endParaRPr>
              </a:p>
            </p:txBody>
          </p:sp>
          <p:sp>
            <p:nvSpPr>
              <p:cNvPr id="68" name="TextBox 67"/>
              <p:cNvSpPr txBox="1"/>
              <p:nvPr/>
            </p:nvSpPr>
            <p:spPr>
              <a:xfrm>
                <a:off x="3178518" y="4429611"/>
                <a:ext cx="1246979" cy="1103233"/>
              </a:xfrm>
              <a:prstGeom prst="rect">
                <a:avLst/>
              </a:prstGeom>
              <a:noFill/>
              <a:effectLst>
                <a:outerShdw blurRad="50800" dist="38100" dir="5400000" algn="t" rotWithShape="0">
                  <a:prstClr val="black">
                    <a:alpha val="40000"/>
                  </a:prstClr>
                </a:outerShdw>
              </a:effectLst>
            </p:spPr>
            <p:txBody>
              <a:bodyPr wrap="square" rtlCol="0">
                <a:spAutoFit/>
              </a:bodyPr>
              <a:lstStyle/>
              <a:p>
                <a:pPr algn="ctr" defTabSz="816377">
                  <a:lnSpc>
                    <a:spcPts val="1250"/>
                  </a:lnSpc>
                  <a:defRPr/>
                </a:pPr>
                <a:r>
                  <a:rPr lang="en-US" sz="800" kern="0" dirty="0">
                    <a:solidFill>
                      <a:srgbClr val="FFFFFF"/>
                    </a:solidFill>
                  </a:rPr>
                  <a:t>Authentication</a:t>
                </a:r>
              </a:p>
              <a:p>
                <a:pPr algn="ctr" defTabSz="816377">
                  <a:lnSpc>
                    <a:spcPts val="1250"/>
                  </a:lnSpc>
                  <a:defRPr/>
                </a:pPr>
                <a:r>
                  <a:rPr lang="en-US" sz="800" kern="0" dirty="0">
                    <a:solidFill>
                      <a:srgbClr val="FFFFFF"/>
                    </a:solidFill>
                  </a:rPr>
                  <a:t>Administration</a:t>
                </a:r>
              </a:p>
              <a:p>
                <a:pPr algn="ctr" defTabSz="816377">
                  <a:lnSpc>
                    <a:spcPts val="1250"/>
                  </a:lnSpc>
                  <a:defRPr/>
                </a:pPr>
                <a:r>
                  <a:rPr lang="en-US" sz="800" kern="0" dirty="0">
                    <a:solidFill>
                      <a:srgbClr val="FFFFFF"/>
                    </a:solidFill>
                  </a:rPr>
                  <a:t>Storage</a:t>
                </a:r>
              </a:p>
            </p:txBody>
          </p:sp>
          <p:sp>
            <p:nvSpPr>
              <p:cNvPr id="69" name="Oval 68"/>
              <p:cNvSpPr/>
              <p:nvPr/>
            </p:nvSpPr>
            <p:spPr bwMode="auto">
              <a:xfrm>
                <a:off x="3200400" y="2514600"/>
                <a:ext cx="1219201" cy="449229"/>
              </a:xfrm>
              <a:prstGeom prst="ellipse">
                <a:avLst/>
              </a:prstGeom>
              <a:gradFill>
                <a:gsLst>
                  <a:gs pos="0">
                    <a:srgbClr val="FFFFFF">
                      <a:lumMod val="85000"/>
                      <a:alpha val="10000"/>
                    </a:srgbClr>
                  </a:gs>
                  <a:gs pos="100000">
                    <a:srgbClr val="FFFFFF">
                      <a:alpha val="72000"/>
                    </a:srgbClr>
                  </a:gs>
                </a:gsLst>
                <a:lin ang="5400000" scaled="0"/>
              </a:gradFill>
              <a:effectLst>
                <a:outerShdw blurRad="12700" dist="25400" dir="5400000" algn="t" rotWithShape="0">
                  <a:prstClr val="black">
                    <a:alpha val="13000"/>
                  </a:prstClr>
                </a:outerShdw>
              </a:effectLst>
            </p:spPr>
            <p:txBody>
              <a:bodyPr wrap="square" rtlCol="0">
                <a:noAutofit/>
              </a:bodyPr>
              <a:lstStyle/>
              <a:p>
                <a:pPr defTabSz="816377">
                  <a:defRPr/>
                </a:pPr>
                <a:endParaRPr lang="en-US" sz="3900" kern="0" dirty="0">
                  <a:gradFill>
                    <a:gsLst>
                      <a:gs pos="0">
                        <a:srgbClr val="FFFFFF"/>
                      </a:gs>
                      <a:gs pos="100000">
                        <a:srgbClr val="FFA514">
                          <a:lumMod val="60000"/>
                          <a:lumOff val="40000"/>
                        </a:srgbClr>
                      </a:gs>
                    </a:gsLst>
                    <a:lin ang="5400000" scaled="0"/>
                  </a:gradFill>
                </a:endParaRPr>
              </a:p>
            </p:txBody>
          </p:sp>
          <p:sp>
            <p:nvSpPr>
              <p:cNvPr id="70" name="TextBox 69"/>
              <p:cNvSpPr txBox="1"/>
              <p:nvPr/>
            </p:nvSpPr>
            <p:spPr>
              <a:xfrm>
                <a:off x="3166411" y="3242999"/>
                <a:ext cx="1328118" cy="662386"/>
              </a:xfrm>
              <a:prstGeom prst="rect">
                <a:avLst/>
              </a:prstGeom>
              <a:noFill/>
              <a:effectLst>
                <a:outerShdw blurRad="12700" dist="12700" dir="5400000" algn="t" rotWithShape="0">
                  <a:prstClr val="black">
                    <a:alpha val="40000"/>
                  </a:prstClr>
                </a:outerShdw>
                <a:reflection blurRad="6350" stA="50000" endA="300" endPos="55000" dir="5400000" sy="-100000" algn="bl" rotWithShape="0"/>
              </a:effectLst>
            </p:spPr>
            <p:txBody>
              <a:bodyPr wrap="square" rtlCol="0">
                <a:noAutofit/>
              </a:bodyPr>
              <a:lstStyle/>
              <a:p>
                <a:pPr algn="ctr" defTabSz="816377">
                  <a:defRPr/>
                </a:pPr>
                <a:r>
                  <a:rPr lang="en-US" sz="1300" b="1" kern="0" dirty="0">
                    <a:gradFill>
                      <a:gsLst>
                        <a:gs pos="0">
                          <a:srgbClr val="FFFFFF"/>
                        </a:gs>
                        <a:gs pos="100000">
                          <a:srgbClr val="FFA514">
                            <a:lumMod val="60000"/>
                            <a:lumOff val="40000"/>
                          </a:srgbClr>
                        </a:gs>
                      </a:gsLst>
                      <a:lin ang="5400000" scaled="0"/>
                    </a:gradFill>
                  </a:rPr>
                  <a:t>User</a:t>
                </a:r>
              </a:p>
              <a:p>
                <a:pPr algn="ctr" defTabSz="816377">
                  <a:defRPr/>
                </a:pPr>
                <a:r>
                  <a:rPr lang="en-US" sz="900" b="1" kern="0" dirty="0">
                    <a:gradFill>
                      <a:gsLst>
                        <a:gs pos="0">
                          <a:srgbClr val="FFFFFF"/>
                        </a:gs>
                        <a:gs pos="100000">
                          <a:srgbClr val="FFA514">
                            <a:lumMod val="60000"/>
                            <a:lumOff val="40000"/>
                          </a:srgbClr>
                        </a:gs>
                      </a:gsLst>
                      <a:lin ang="5400000" scaled="0"/>
                    </a:gradFill>
                  </a:rPr>
                  <a:t>Experience</a:t>
                </a:r>
              </a:p>
            </p:txBody>
          </p:sp>
        </p:grpSp>
        <p:pic>
          <p:nvPicPr>
            <p:cNvPr id="65" name="Picture 2" descr="C:\Users\victor.melniciuc\Desktop\==Work\TDC deck\icons\video.pn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3157801" y="2565399"/>
              <a:ext cx="423863" cy="325155"/>
            </a:xfrm>
            <a:prstGeom prst="rect">
              <a:avLst/>
            </a:prstGeom>
            <a:noFill/>
            <a:effectLst>
              <a:outerShdw blurRad="50800" dist="38100" dir="5400000" algn="t" rotWithShape="0">
                <a:prstClr val="black">
                  <a:alpha val="40000"/>
                </a:prstClr>
              </a:outerShdw>
            </a:effectLst>
          </p:spPr>
        </p:pic>
      </p:grpSp>
      <p:pic>
        <p:nvPicPr>
          <p:cNvPr id="71" name="Picture 3" descr="C:\Program Files\Microsoft Resource DVD Artwork\DVD_ART\Artwork_Imagery\Shapes and Graphics\Internet Cloud\cloud 1.png"/>
          <p:cNvPicPr>
            <a:picLocks noChangeAspect="1" noChangeArrowheads="1"/>
          </p:cNvPicPr>
          <p:nvPr/>
        </p:nvPicPr>
        <p:blipFill>
          <a:blip r:embed="rId5" cstate="screen"/>
          <a:srcRect/>
          <a:stretch>
            <a:fillRect/>
          </a:stretch>
        </p:blipFill>
        <p:spPr bwMode="auto">
          <a:xfrm rot="202144">
            <a:off x="363817" y="3541344"/>
            <a:ext cx="4057082" cy="1595848"/>
          </a:xfrm>
          <a:prstGeom prst="rect">
            <a:avLst/>
          </a:prstGeom>
          <a:noFill/>
          <a:effectLst/>
        </p:spPr>
      </p:pic>
      <p:grpSp>
        <p:nvGrpSpPr>
          <p:cNvPr id="72" name="Group 244"/>
          <p:cNvGrpSpPr/>
          <p:nvPr/>
        </p:nvGrpSpPr>
        <p:grpSpPr>
          <a:xfrm>
            <a:off x="1528666" y="1788296"/>
            <a:ext cx="1259818" cy="2348465"/>
            <a:chOff x="1447801" y="2954867"/>
            <a:chExt cx="1259818" cy="3131286"/>
          </a:xfrm>
        </p:grpSpPr>
        <p:grpSp>
          <p:nvGrpSpPr>
            <p:cNvPr id="73" name="Group 166"/>
            <p:cNvGrpSpPr/>
            <p:nvPr/>
          </p:nvGrpSpPr>
          <p:grpSpPr>
            <a:xfrm>
              <a:off x="1447801" y="3217333"/>
              <a:ext cx="1259818" cy="2868820"/>
              <a:chOff x="3171506" y="2514600"/>
              <a:chExt cx="1259818" cy="2868820"/>
            </a:xfrm>
          </p:grpSpPr>
          <p:sp>
            <p:nvSpPr>
              <p:cNvPr id="75" name="Can 74"/>
              <p:cNvSpPr/>
              <p:nvPr/>
            </p:nvSpPr>
            <p:spPr bwMode="auto">
              <a:xfrm>
                <a:off x="3200401" y="2767387"/>
                <a:ext cx="1230923" cy="2573215"/>
              </a:xfrm>
              <a:prstGeom prst="can">
                <a:avLst>
                  <a:gd name="adj" fmla="val 30950"/>
                </a:avLst>
              </a:prstGeom>
              <a:gradFill rotWithShape="1">
                <a:gsLst>
                  <a:gs pos="0">
                    <a:srgbClr val="525051"/>
                  </a:gs>
                  <a:gs pos="80000">
                    <a:srgbClr val="FFA514"/>
                  </a:gs>
                  <a:gs pos="100000">
                    <a:srgbClr val="FFA514"/>
                  </a:gs>
                </a:gsLst>
                <a:lin ang="16200000" scaled="0"/>
              </a:gradFill>
              <a:ln>
                <a:gradFill>
                  <a:gsLst>
                    <a:gs pos="0">
                      <a:srgbClr val="FFA514">
                        <a:tint val="66000"/>
                        <a:satMod val="160000"/>
                        <a:alpha val="0"/>
                      </a:srgbClr>
                    </a:gs>
                    <a:gs pos="50000">
                      <a:srgbClr val="FFA514">
                        <a:tint val="44500"/>
                        <a:satMod val="160000"/>
                        <a:alpha val="0"/>
                      </a:srgbClr>
                    </a:gs>
                    <a:gs pos="100000">
                      <a:srgbClr val="FFA514">
                        <a:tint val="23500"/>
                        <a:satMod val="160000"/>
                      </a:srgbClr>
                    </a:gs>
                  </a:gsLst>
                  <a:lin ang="0" scaled="0"/>
                </a:gradFill>
                <a:headEnd type="none" w="med" len="med"/>
                <a:tailEnd type="none" w="med" len="med"/>
              </a:ln>
              <a:effectLst>
                <a:outerShdw blurRad="241300" dist="127000" dir="5400000" rotWithShape="0">
                  <a:srgbClr val="000000">
                    <a:alpha val="10000"/>
                  </a:srgbClr>
                </a:outerShdw>
                <a:reflection blurRad="6350" stA="52000" endA="300" endPos="35000" dir="5400000" sy="-100000" algn="bl" rotWithShape="0"/>
              </a:effectLst>
              <a:scene3d>
                <a:camera prst="orthographicFront">
                  <a:rot lat="0" lon="0" rev="0"/>
                </a:camera>
                <a:lightRig rig="threePt" dir="t">
                  <a:rot lat="0" lon="0" rev="1200000"/>
                </a:lightRig>
              </a:scene3d>
              <a:sp3d>
                <a:bevelT w="63500" h="25400"/>
              </a:sp3d>
            </p:spPr>
            <p:txBody>
              <a:bodyPr vert="horz" wrap="square" lIns="91436" tIns="45718" rIns="91436" bIns="45718" numCol="1" rtlCol="0" anchor="ctr" anchorCtr="0" compatLnSpc="1">
                <a:prstTxWarp prst="textNoShape">
                  <a:avLst/>
                </a:prstTxWarp>
              </a:bodyPr>
              <a:lstStyle/>
              <a:p>
                <a:pPr algn="ctr" defTabSz="816107">
                  <a:defRPr/>
                </a:pPr>
                <a:endParaRPr lang="en-US" sz="2200" kern="0" dirty="0">
                  <a:solidFill>
                    <a:srgbClr val="FFFFFF"/>
                  </a:solidFill>
                  <a:effectLst>
                    <a:outerShdw blurRad="38100" dist="38100" dir="2700000" algn="tl">
                      <a:srgbClr val="000000">
                        <a:alpha val="43137"/>
                      </a:srgbClr>
                    </a:outerShdw>
                  </a:effectLst>
                  <a:latin typeface="Segoe" pitchFamily="34" charset="0"/>
                </a:endParaRPr>
              </a:p>
            </p:txBody>
          </p:sp>
          <p:sp>
            <p:nvSpPr>
              <p:cNvPr id="76" name="Can 75"/>
              <p:cNvSpPr/>
              <p:nvPr/>
            </p:nvSpPr>
            <p:spPr bwMode="auto">
              <a:xfrm>
                <a:off x="3196905" y="3945467"/>
                <a:ext cx="1222695" cy="1393902"/>
              </a:xfrm>
              <a:prstGeom prst="can">
                <a:avLst>
                  <a:gd name="adj" fmla="val 28748"/>
                </a:avLst>
              </a:prstGeom>
              <a:gradFill rotWithShape="1">
                <a:gsLst>
                  <a:gs pos="0">
                    <a:srgbClr val="525051">
                      <a:alpha val="31000"/>
                    </a:srgbClr>
                  </a:gs>
                  <a:gs pos="100000">
                    <a:srgbClr val="FFA514">
                      <a:alpha val="25000"/>
                    </a:srgbClr>
                  </a:gs>
                </a:gsLst>
                <a:lin ang="16200000" scaled="0"/>
              </a:gradFill>
              <a:ln>
                <a:gradFill>
                  <a:gsLst>
                    <a:gs pos="0">
                      <a:srgbClr val="FFA514">
                        <a:tint val="66000"/>
                        <a:satMod val="160000"/>
                        <a:alpha val="0"/>
                      </a:srgbClr>
                    </a:gs>
                    <a:gs pos="50000">
                      <a:srgbClr val="FFA514">
                        <a:lumMod val="60000"/>
                        <a:lumOff val="40000"/>
                      </a:srgbClr>
                    </a:gs>
                    <a:gs pos="100000">
                      <a:srgbClr val="FFA514">
                        <a:tint val="23500"/>
                        <a:satMod val="160000"/>
                        <a:alpha val="0"/>
                      </a:srgbClr>
                    </a:gs>
                  </a:gsLst>
                  <a:lin ang="0" scaled="0"/>
                </a:gradFill>
                <a:headEnd type="none" w="med" len="med"/>
                <a:tailEnd type="none" w="med" len="med"/>
              </a:ln>
              <a:effectLst>
                <a:reflection blurRad="6350" stA="52000" endA="300" endPos="35000" dir="5400000" sy="-100000" algn="bl" rotWithShape="0"/>
              </a:effectLst>
              <a:scene3d>
                <a:camera prst="orthographicFront">
                  <a:rot lat="0" lon="0" rev="0"/>
                </a:camera>
                <a:lightRig rig="threePt" dir="t">
                  <a:rot lat="0" lon="0" rev="1200000"/>
                </a:lightRig>
              </a:scene3d>
              <a:sp3d>
                <a:bevelT w="63500" h="25400"/>
              </a:sp3d>
            </p:spPr>
            <p:txBody>
              <a:bodyPr vert="horz" wrap="square" lIns="91436" tIns="45718" rIns="91436" bIns="45718" numCol="1" rtlCol="0" anchor="ctr" anchorCtr="0" compatLnSpc="1">
                <a:prstTxWarp prst="textNoShape">
                  <a:avLst/>
                </a:prstTxWarp>
              </a:bodyPr>
              <a:lstStyle/>
              <a:p>
                <a:pPr algn="ctr" defTabSz="816107">
                  <a:defRPr/>
                </a:pPr>
                <a:endParaRPr lang="en-US" sz="2200" kern="0" dirty="0">
                  <a:solidFill>
                    <a:srgbClr val="FFFFFF"/>
                  </a:solidFill>
                  <a:effectLst>
                    <a:outerShdw blurRad="38100" dist="38100" dir="2700000" algn="tl">
                      <a:srgbClr val="000000">
                        <a:alpha val="43137"/>
                      </a:srgbClr>
                    </a:outerShdw>
                  </a:effectLst>
                  <a:latin typeface="Segoe" pitchFamily="34" charset="0"/>
                </a:endParaRPr>
              </a:p>
            </p:txBody>
          </p:sp>
          <p:sp>
            <p:nvSpPr>
              <p:cNvPr id="77" name="TextBox 76"/>
              <p:cNvSpPr txBox="1"/>
              <p:nvPr/>
            </p:nvSpPr>
            <p:spPr>
              <a:xfrm>
                <a:off x="3324605" y="4336980"/>
                <a:ext cx="1016625" cy="1046440"/>
              </a:xfrm>
              <a:prstGeom prst="rect">
                <a:avLst/>
              </a:prstGeom>
              <a:noFill/>
              <a:effectLst>
                <a:outerShdw blurRad="50800" dist="38100" dir="5400000" algn="t" rotWithShape="0">
                  <a:prstClr val="black">
                    <a:alpha val="40000"/>
                  </a:prstClr>
                </a:outerShdw>
              </a:effectLst>
            </p:spPr>
            <p:txBody>
              <a:bodyPr wrap="none" rtlCol="0">
                <a:spAutoFit/>
              </a:bodyPr>
              <a:lstStyle/>
              <a:p>
                <a:pPr algn="ctr" defTabSz="816377">
                  <a:lnSpc>
                    <a:spcPts val="1786"/>
                  </a:lnSpc>
                  <a:defRPr/>
                </a:pPr>
                <a:r>
                  <a:rPr lang="en-US" sz="1000" kern="0" dirty="0">
                    <a:solidFill>
                      <a:srgbClr val="FFFFFF"/>
                    </a:solidFill>
                  </a:rPr>
                  <a:t>Authentication</a:t>
                </a:r>
              </a:p>
              <a:p>
                <a:pPr algn="ctr" defTabSz="816377">
                  <a:lnSpc>
                    <a:spcPts val="1786"/>
                  </a:lnSpc>
                  <a:defRPr/>
                </a:pPr>
                <a:r>
                  <a:rPr lang="en-US" sz="1000" kern="0" dirty="0">
                    <a:solidFill>
                      <a:srgbClr val="FFFFFF"/>
                    </a:solidFill>
                  </a:rPr>
                  <a:t>Administration</a:t>
                </a:r>
              </a:p>
              <a:p>
                <a:pPr algn="ctr" defTabSz="816377">
                  <a:lnSpc>
                    <a:spcPts val="1786"/>
                  </a:lnSpc>
                  <a:defRPr/>
                </a:pPr>
                <a:r>
                  <a:rPr lang="en-US" sz="1000" kern="0" dirty="0">
                    <a:solidFill>
                      <a:srgbClr val="FFFFFF"/>
                    </a:solidFill>
                  </a:rPr>
                  <a:t>Storage</a:t>
                </a:r>
              </a:p>
            </p:txBody>
          </p:sp>
          <p:sp>
            <p:nvSpPr>
              <p:cNvPr id="78" name="Oval 77"/>
              <p:cNvSpPr/>
              <p:nvPr/>
            </p:nvSpPr>
            <p:spPr bwMode="auto">
              <a:xfrm>
                <a:off x="3200400" y="2514600"/>
                <a:ext cx="1219201" cy="449229"/>
              </a:xfrm>
              <a:prstGeom prst="ellipse">
                <a:avLst/>
              </a:prstGeom>
              <a:gradFill>
                <a:gsLst>
                  <a:gs pos="0">
                    <a:srgbClr val="FFFFFF">
                      <a:lumMod val="85000"/>
                      <a:alpha val="10000"/>
                    </a:srgbClr>
                  </a:gs>
                  <a:gs pos="100000">
                    <a:srgbClr val="FFFFFF">
                      <a:alpha val="72000"/>
                    </a:srgbClr>
                  </a:gs>
                </a:gsLst>
                <a:lin ang="5400000" scaled="0"/>
              </a:gradFill>
              <a:effectLst>
                <a:outerShdw blurRad="12700" dist="25400" dir="5400000" algn="t" rotWithShape="0">
                  <a:prstClr val="black">
                    <a:alpha val="13000"/>
                  </a:prstClr>
                </a:outerShdw>
              </a:effectLst>
            </p:spPr>
            <p:txBody>
              <a:bodyPr wrap="square" rtlCol="0">
                <a:noAutofit/>
              </a:bodyPr>
              <a:lstStyle/>
              <a:p>
                <a:pPr defTabSz="816377">
                  <a:defRPr/>
                </a:pPr>
                <a:endParaRPr lang="en-US" sz="3900" kern="0" dirty="0">
                  <a:gradFill>
                    <a:gsLst>
                      <a:gs pos="0">
                        <a:srgbClr val="FFFFFF"/>
                      </a:gs>
                      <a:gs pos="100000">
                        <a:srgbClr val="FFA514">
                          <a:lumMod val="60000"/>
                          <a:lumOff val="40000"/>
                        </a:srgbClr>
                      </a:gs>
                    </a:gsLst>
                    <a:lin ang="5400000" scaled="0"/>
                  </a:gradFill>
                </a:endParaRPr>
              </a:p>
            </p:txBody>
          </p:sp>
          <p:sp>
            <p:nvSpPr>
              <p:cNvPr id="79" name="TextBox 78"/>
              <p:cNvSpPr txBox="1"/>
              <p:nvPr/>
            </p:nvSpPr>
            <p:spPr>
              <a:xfrm>
                <a:off x="3171506" y="3183466"/>
                <a:ext cx="1253066" cy="719667"/>
              </a:xfrm>
              <a:prstGeom prst="rect">
                <a:avLst/>
              </a:prstGeom>
              <a:noFill/>
              <a:effectLst>
                <a:outerShdw blurRad="12700" dist="12700" dir="5400000" algn="t" rotWithShape="0">
                  <a:prstClr val="black">
                    <a:alpha val="40000"/>
                  </a:prstClr>
                </a:outerShdw>
                <a:reflection blurRad="6350" stA="50000" endA="300" endPos="55000" dir="5400000" sy="-100000" algn="bl" rotWithShape="0"/>
              </a:effectLst>
            </p:spPr>
            <p:txBody>
              <a:bodyPr wrap="square" rtlCol="0">
                <a:noAutofit/>
              </a:bodyPr>
              <a:lstStyle/>
              <a:p>
                <a:pPr algn="ctr" defTabSz="816377">
                  <a:defRPr/>
                </a:pPr>
                <a:r>
                  <a:rPr lang="en-US" sz="2200" b="1" kern="0" dirty="0">
                    <a:gradFill>
                      <a:gsLst>
                        <a:gs pos="0">
                          <a:srgbClr val="FFFFFF"/>
                        </a:gs>
                        <a:gs pos="100000">
                          <a:srgbClr val="FFA514">
                            <a:lumMod val="60000"/>
                            <a:lumOff val="40000"/>
                          </a:srgbClr>
                        </a:gs>
                      </a:gsLst>
                      <a:lin ang="5400000" scaled="0"/>
                    </a:gradFill>
                  </a:rPr>
                  <a:t>User </a:t>
                </a:r>
                <a:r>
                  <a:rPr lang="en-US" sz="900" b="1" kern="0" dirty="0">
                    <a:gradFill>
                      <a:gsLst>
                        <a:gs pos="0">
                          <a:srgbClr val="FFFFFF"/>
                        </a:gs>
                        <a:gs pos="100000">
                          <a:srgbClr val="FFA514">
                            <a:lumMod val="60000"/>
                            <a:lumOff val="40000"/>
                          </a:srgbClr>
                        </a:gs>
                      </a:gsLst>
                      <a:lin ang="5400000" scaled="0"/>
                    </a:gradFill>
                  </a:rPr>
                  <a:t>Experience</a:t>
                </a:r>
              </a:p>
            </p:txBody>
          </p:sp>
        </p:grpSp>
        <p:pic>
          <p:nvPicPr>
            <p:cNvPr id="74" name="Picture 4" descr="C:\Users\victor.melniciuc\Desktop\==Work\TDC deck\icons\voicemailpp.pn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1828800" y="2954867"/>
              <a:ext cx="663922" cy="406400"/>
            </a:xfrm>
            <a:prstGeom prst="rect">
              <a:avLst/>
            </a:prstGeom>
            <a:noFill/>
            <a:effectLst>
              <a:outerShdw blurRad="50800" dist="38100" dir="5400000" algn="t" rotWithShape="0">
                <a:prstClr val="black">
                  <a:alpha val="40000"/>
                </a:prstClr>
              </a:outerShdw>
            </a:effectLst>
          </p:spPr>
        </p:pic>
      </p:grpSp>
      <p:grpSp>
        <p:nvGrpSpPr>
          <p:cNvPr id="80" name="Group 242"/>
          <p:cNvGrpSpPr/>
          <p:nvPr/>
        </p:nvGrpSpPr>
        <p:grpSpPr>
          <a:xfrm>
            <a:off x="3971905" y="1758950"/>
            <a:ext cx="1242884" cy="2365109"/>
            <a:chOff x="3945468" y="2802466"/>
            <a:chExt cx="1242884" cy="3153479"/>
          </a:xfrm>
        </p:grpSpPr>
        <p:grpSp>
          <p:nvGrpSpPr>
            <p:cNvPr id="81" name="Group 188"/>
            <p:cNvGrpSpPr/>
            <p:nvPr/>
          </p:nvGrpSpPr>
          <p:grpSpPr>
            <a:xfrm>
              <a:off x="3945468" y="3116946"/>
              <a:ext cx="1242884" cy="2838999"/>
              <a:chOff x="3188440" y="2514600"/>
              <a:chExt cx="1242884" cy="2838999"/>
            </a:xfrm>
          </p:grpSpPr>
          <p:sp>
            <p:nvSpPr>
              <p:cNvPr id="83" name="Can 82"/>
              <p:cNvSpPr/>
              <p:nvPr/>
            </p:nvSpPr>
            <p:spPr bwMode="auto">
              <a:xfrm>
                <a:off x="3200401" y="2767387"/>
                <a:ext cx="1230923" cy="2573215"/>
              </a:xfrm>
              <a:prstGeom prst="can">
                <a:avLst>
                  <a:gd name="adj" fmla="val 30950"/>
                </a:avLst>
              </a:prstGeom>
              <a:gradFill rotWithShape="1">
                <a:gsLst>
                  <a:gs pos="0">
                    <a:srgbClr val="525051"/>
                  </a:gs>
                  <a:gs pos="80000">
                    <a:srgbClr val="FFA514"/>
                  </a:gs>
                  <a:gs pos="100000">
                    <a:srgbClr val="FFA514"/>
                  </a:gs>
                </a:gsLst>
                <a:lin ang="16200000" scaled="0"/>
              </a:gradFill>
              <a:ln>
                <a:gradFill>
                  <a:gsLst>
                    <a:gs pos="0">
                      <a:srgbClr val="FFA514">
                        <a:tint val="66000"/>
                        <a:satMod val="160000"/>
                        <a:alpha val="0"/>
                      </a:srgbClr>
                    </a:gs>
                    <a:gs pos="50000">
                      <a:srgbClr val="FFA514">
                        <a:tint val="44500"/>
                        <a:satMod val="160000"/>
                        <a:alpha val="0"/>
                      </a:srgbClr>
                    </a:gs>
                    <a:gs pos="100000">
                      <a:srgbClr val="FFA514">
                        <a:tint val="23500"/>
                        <a:satMod val="160000"/>
                      </a:srgbClr>
                    </a:gs>
                  </a:gsLst>
                  <a:lin ang="0" scaled="0"/>
                </a:gradFill>
                <a:headEnd type="none" w="med" len="med"/>
                <a:tailEnd type="none" w="med" len="med"/>
              </a:ln>
              <a:effectLst>
                <a:outerShdw blurRad="241300" dist="127000" dir="5400000" rotWithShape="0">
                  <a:srgbClr val="000000">
                    <a:alpha val="10000"/>
                  </a:srgbClr>
                </a:outerShdw>
                <a:reflection blurRad="6350" stA="52000" endA="300" endPos="35000" dir="5400000" sy="-100000" algn="bl" rotWithShape="0"/>
              </a:effectLst>
              <a:scene3d>
                <a:camera prst="orthographicFront">
                  <a:rot lat="0" lon="0" rev="0"/>
                </a:camera>
                <a:lightRig rig="threePt" dir="t">
                  <a:rot lat="0" lon="0" rev="1200000"/>
                </a:lightRig>
              </a:scene3d>
              <a:sp3d>
                <a:bevelT w="63500" h="25400"/>
              </a:sp3d>
            </p:spPr>
            <p:txBody>
              <a:bodyPr vert="horz" wrap="square" lIns="91436" tIns="45718" rIns="91436" bIns="45718" numCol="1" rtlCol="0" anchor="ctr" anchorCtr="0" compatLnSpc="1">
                <a:prstTxWarp prst="textNoShape">
                  <a:avLst/>
                </a:prstTxWarp>
              </a:bodyPr>
              <a:lstStyle/>
              <a:p>
                <a:pPr algn="ctr" defTabSz="816107">
                  <a:defRPr/>
                </a:pPr>
                <a:endParaRPr lang="en-US" sz="2200" kern="0" dirty="0">
                  <a:solidFill>
                    <a:srgbClr val="FFFFFF"/>
                  </a:solidFill>
                  <a:effectLst>
                    <a:outerShdw blurRad="38100" dist="38100" dir="2700000" algn="tl">
                      <a:srgbClr val="000000">
                        <a:alpha val="43137"/>
                      </a:srgbClr>
                    </a:outerShdw>
                  </a:effectLst>
                  <a:latin typeface="Segoe" pitchFamily="34" charset="0"/>
                </a:endParaRPr>
              </a:p>
            </p:txBody>
          </p:sp>
          <p:sp>
            <p:nvSpPr>
              <p:cNvPr id="84" name="Can 83"/>
              <p:cNvSpPr/>
              <p:nvPr/>
            </p:nvSpPr>
            <p:spPr bwMode="auto">
              <a:xfrm>
                <a:off x="3196905" y="3915646"/>
                <a:ext cx="1222695" cy="1425498"/>
              </a:xfrm>
              <a:prstGeom prst="can">
                <a:avLst>
                  <a:gd name="adj" fmla="val 28748"/>
                </a:avLst>
              </a:prstGeom>
              <a:gradFill rotWithShape="1">
                <a:gsLst>
                  <a:gs pos="0">
                    <a:srgbClr val="525051">
                      <a:alpha val="31000"/>
                    </a:srgbClr>
                  </a:gs>
                  <a:gs pos="100000">
                    <a:srgbClr val="FFA514">
                      <a:alpha val="25000"/>
                    </a:srgbClr>
                  </a:gs>
                </a:gsLst>
                <a:lin ang="16200000" scaled="0"/>
              </a:gradFill>
              <a:ln>
                <a:gradFill>
                  <a:gsLst>
                    <a:gs pos="0">
                      <a:srgbClr val="FFA514">
                        <a:tint val="66000"/>
                        <a:satMod val="160000"/>
                        <a:alpha val="0"/>
                      </a:srgbClr>
                    </a:gs>
                    <a:gs pos="50000">
                      <a:srgbClr val="FFA514">
                        <a:lumMod val="60000"/>
                        <a:lumOff val="40000"/>
                      </a:srgbClr>
                    </a:gs>
                    <a:gs pos="100000">
                      <a:srgbClr val="FFA514">
                        <a:tint val="23500"/>
                        <a:satMod val="160000"/>
                        <a:alpha val="0"/>
                      </a:srgbClr>
                    </a:gs>
                  </a:gsLst>
                  <a:lin ang="0" scaled="0"/>
                </a:gradFill>
                <a:headEnd type="none" w="med" len="med"/>
                <a:tailEnd type="none" w="med" len="med"/>
              </a:ln>
              <a:effectLst>
                <a:reflection blurRad="6350" stA="52000" endA="300" endPos="35000" dir="5400000" sy="-100000" algn="bl" rotWithShape="0"/>
              </a:effectLst>
              <a:scene3d>
                <a:camera prst="orthographicFront">
                  <a:rot lat="0" lon="0" rev="0"/>
                </a:camera>
                <a:lightRig rig="threePt" dir="t">
                  <a:rot lat="0" lon="0" rev="1200000"/>
                </a:lightRig>
              </a:scene3d>
              <a:sp3d>
                <a:bevelT w="63500" h="25400"/>
              </a:sp3d>
            </p:spPr>
            <p:txBody>
              <a:bodyPr vert="horz" wrap="square" lIns="91436" tIns="45718" rIns="91436" bIns="45718" numCol="1" rtlCol="0" anchor="ctr" anchorCtr="0" compatLnSpc="1">
                <a:prstTxWarp prst="textNoShape">
                  <a:avLst/>
                </a:prstTxWarp>
              </a:bodyPr>
              <a:lstStyle/>
              <a:p>
                <a:pPr algn="ctr" defTabSz="816107">
                  <a:defRPr/>
                </a:pPr>
                <a:endParaRPr lang="en-US" sz="2200" kern="0" dirty="0">
                  <a:solidFill>
                    <a:srgbClr val="FFFFFF"/>
                  </a:solidFill>
                  <a:effectLst>
                    <a:outerShdw blurRad="38100" dist="38100" dir="2700000" algn="tl">
                      <a:srgbClr val="000000">
                        <a:alpha val="43137"/>
                      </a:srgbClr>
                    </a:outerShdw>
                  </a:effectLst>
                  <a:latin typeface="Segoe" pitchFamily="34" charset="0"/>
                </a:endParaRPr>
              </a:p>
            </p:txBody>
          </p:sp>
          <p:sp>
            <p:nvSpPr>
              <p:cNvPr id="85" name="TextBox 84"/>
              <p:cNvSpPr txBox="1"/>
              <p:nvPr/>
            </p:nvSpPr>
            <p:spPr>
              <a:xfrm>
                <a:off x="3324605" y="4307159"/>
                <a:ext cx="1016625" cy="1046440"/>
              </a:xfrm>
              <a:prstGeom prst="rect">
                <a:avLst/>
              </a:prstGeom>
              <a:noFill/>
              <a:effectLst>
                <a:outerShdw blurRad="50800" dist="38100" dir="5400000" algn="t" rotWithShape="0">
                  <a:prstClr val="black">
                    <a:alpha val="40000"/>
                  </a:prstClr>
                </a:outerShdw>
              </a:effectLst>
            </p:spPr>
            <p:txBody>
              <a:bodyPr wrap="none" rtlCol="0">
                <a:spAutoFit/>
              </a:bodyPr>
              <a:lstStyle/>
              <a:p>
                <a:pPr algn="ctr" defTabSz="816377">
                  <a:lnSpc>
                    <a:spcPts val="1786"/>
                  </a:lnSpc>
                  <a:defRPr/>
                </a:pPr>
                <a:r>
                  <a:rPr lang="en-US" sz="1000" kern="0" dirty="0">
                    <a:solidFill>
                      <a:srgbClr val="FFFFFF"/>
                    </a:solidFill>
                  </a:rPr>
                  <a:t>Authentication</a:t>
                </a:r>
              </a:p>
              <a:p>
                <a:pPr algn="ctr" defTabSz="816377">
                  <a:lnSpc>
                    <a:spcPts val="1786"/>
                  </a:lnSpc>
                  <a:defRPr/>
                </a:pPr>
                <a:r>
                  <a:rPr lang="en-US" sz="1000" kern="0" dirty="0">
                    <a:solidFill>
                      <a:srgbClr val="FFFFFF"/>
                    </a:solidFill>
                  </a:rPr>
                  <a:t>Administration</a:t>
                </a:r>
              </a:p>
              <a:p>
                <a:pPr algn="ctr" defTabSz="816377">
                  <a:lnSpc>
                    <a:spcPts val="1786"/>
                  </a:lnSpc>
                  <a:defRPr/>
                </a:pPr>
                <a:r>
                  <a:rPr lang="en-US" sz="1000" kern="0" dirty="0">
                    <a:solidFill>
                      <a:srgbClr val="FFFFFF"/>
                    </a:solidFill>
                  </a:rPr>
                  <a:t>Storage</a:t>
                </a:r>
              </a:p>
            </p:txBody>
          </p:sp>
          <p:sp>
            <p:nvSpPr>
              <p:cNvPr id="86" name="Oval 85"/>
              <p:cNvSpPr/>
              <p:nvPr/>
            </p:nvSpPr>
            <p:spPr bwMode="auto">
              <a:xfrm>
                <a:off x="3200400" y="2514600"/>
                <a:ext cx="1219201" cy="449229"/>
              </a:xfrm>
              <a:prstGeom prst="ellipse">
                <a:avLst/>
              </a:prstGeom>
              <a:gradFill>
                <a:gsLst>
                  <a:gs pos="0">
                    <a:srgbClr val="FFFFFF">
                      <a:lumMod val="85000"/>
                      <a:alpha val="10000"/>
                    </a:srgbClr>
                  </a:gs>
                  <a:gs pos="100000">
                    <a:srgbClr val="FFFFFF">
                      <a:alpha val="72000"/>
                    </a:srgbClr>
                  </a:gs>
                </a:gsLst>
                <a:lin ang="5400000" scaled="0"/>
              </a:gradFill>
              <a:effectLst>
                <a:outerShdw blurRad="12700" dist="25400" dir="5400000" algn="t" rotWithShape="0">
                  <a:prstClr val="black">
                    <a:alpha val="13000"/>
                  </a:prstClr>
                </a:outerShdw>
              </a:effectLst>
            </p:spPr>
            <p:txBody>
              <a:bodyPr wrap="square" rtlCol="0">
                <a:noAutofit/>
              </a:bodyPr>
              <a:lstStyle/>
              <a:p>
                <a:pPr defTabSz="816377">
                  <a:defRPr/>
                </a:pPr>
                <a:endParaRPr lang="en-US" sz="3900" kern="0" dirty="0">
                  <a:gradFill>
                    <a:gsLst>
                      <a:gs pos="0">
                        <a:srgbClr val="FFFFFF"/>
                      </a:gs>
                      <a:gs pos="100000">
                        <a:srgbClr val="FFA514">
                          <a:lumMod val="60000"/>
                          <a:lumOff val="40000"/>
                        </a:srgbClr>
                      </a:gs>
                    </a:gsLst>
                    <a:lin ang="5400000" scaled="0"/>
                  </a:gradFill>
                </a:endParaRPr>
              </a:p>
            </p:txBody>
          </p:sp>
          <p:sp>
            <p:nvSpPr>
              <p:cNvPr id="87" name="TextBox 86"/>
              <p:cNvSpPr txBox="1"/>
              <p:nvPr/>
            </p:nvSpPr>
            <p:spPr>
              <a:xfrm>
                <a:off x="3188440" y="3153646"/>
                <a:ext cx="1236132" cy="719667"/>
              </a:xfrm>
              <a:prstGeom prst="rect">
                <a:avLst/>
              </a:prstGeom>
              <a:noFill/>
              <a:effectLst>
                <a:outerShdw blurRad="12700" dist="12700" dir="5400000" algn="t" rotWithShape="0">
                  <a:prstClr val="black">
                    <a:alpha val="40000"/>
                  </a:prstClr>
                </a:outerShdw>
                <a:reflection blurRad="6350" stA="50000" endA="300" endPos="55000" dir="5400000" sy="-100000" algn="bl" rotWithShape="0"/>
              </a:effectLst>
            </p:spPr>
            <p:txBody>
              <a:bodyPr wrap="square" rtlCol="0">
                <a:noAutofit/>
              </a:bodyPr>
              <a:lstStyle/>
              <a:p>
                <a:pPr algn="ctr" defTabSz="816377">
                  <a:defRPr/>
                </a:pPr>
                <a:r>
                  <a:rPr lang="en-US" sz="2200" b="1" kern="0" dirty="0">
                    <a:gradFill>
                      <a:gsLst>
                        <a:gs pos="0">
                          <a:srgbClr val="FFFFFF"/>
                        </a:gs>
                        <a:gs pos="100000">
                          <a:srgbClr val="FFA514">
                            <a:lumMod val="60000"/>
                            <a:lumOff val="40000"/>
                          </a:srgbClr>
                        </a:gs>
                      </a:gsLst>
                      <a:lin ang="5400000" scaled="0"/>
                    </a:gradFill>
                  </a:rPr>
                  <a:t>User</a:t>
                </a:r>
              </a:p>
              <a:p>
                <a:pPr algn="ctr" defTabSz="816377">
                  <a:defRPr/>
                </a:pPr>
                <a:r>
                  <a:rPr lang="en-US" sz="900" b="1" kern="0" dirty="0">
                    <a:gradFill>
                      <a:gsLst>
                        <a:gs pos="0">
                          <a:srgbClr val="FFFFFF"/>
                        </a:gs>
                        <a:gs pos="100000">
                          <a:srgbClr val="FFA514">
                            <a:lumMod val="60000"/>
                            <a:lumOff val="40000"/>
                          </a:srgbClr>
                        </a:gs>
                      </a:gsLst>
                      <a:lin ang="5400000" scaled="0"/>
                    </a:gradFill>
                  </a:rPr>
                  <a:t>Experience</a:t>
                </a:r>
              </a:p>
            </p:txBody>
          </p:sp>
        </p:grpSp>
        <p:pic>
          <p:nvPicPr>
            <p:cNvPr id="82" name="Picture 3" descr="C:\Users\victor.melniciuc\Desktop\==Work\TDC deck\icons\phone.png"/>
            <p:cNvPicPr>
              <a:picLocks noChangeAspect="1" noChangeArrowheads="1"/>
            </p:cNvPicPr>
            <p:nvPr/>
          </p:nvPicPr>
          <p:blipFill>
            <a:blip r:embed="rId11" cstate="print"/>
            <a:srcRect/>
            <a:stretch>
              <a:fillRect/>
            </a:stretch>
          </p:blipFill>
          <p:spPr bwMode="auto">
            <a:xfrm>
              <a:off x="4258733" y="2802466"/>
              <a:ext cx="609600" cy="595423"/>
            </a:xfrm>
            <a:prstGeom prst="rect">
              <a:avLst/>
            </a:prstGeom>
            <a:noFill/>
            <a:effectLst>
              <a:outerShdw blurRad="50800" dist="38100" dir="5400000" algn="t" rotWithShape="0">
                <a:prstClr val="black">
                  <a:alpha val="40000"/>
                </a:prstClr>
              </a:outerShdw>
            </a:effectLst>
          </p:spPr>
        </p:pic>
      </p:grpSp>
      <p:grpSp>
        <p:nvGrpSpPr>
          <p:cNvPr id="88" name="Group 241"/>
          <p:cNvGrpSpPr/>
          <p:nvPr/>
        </p:nvGrpSpPr>
        <p:grpSpPr>
          <a:xfrm>
            <a:off x="5355772" y="1558618"/>
            <a:ext cx="931332" cy="1789474"/>
            <a:chOff x="5334001" y="2535354"/>
            <a:chExt cx="931332" cy="2385964"/>
          </a:xfrm>
        </p:grpSpPr>
        <p:grpSp>
          <p:nvGrpSpPr>
            <p:cNvPr id="89" name="Group 203"/>
            <p:cNvGrpSpPr/>
            <p:nvPr/>
          </p:nvGrpSpPr>
          <p:grpSpPr>
            <a:xfrm>
              <a:off x="5334001" y="2760133"/>
              <a:ext cx="931332" cy="2161185"/>
              <a:chOff x="3154309" y="2514600"/>
              <a:chExt cx="1331725" cy="3018241"/>
            </a:xfrm>
          </p:grpSpPr>
          <p:sp>
            <p:nvSpPr>
              <p:cNvPr id="91" name="Can 90"/>
              <p:cNvSpPr/>
              <p:nvPr/>
            </p:nvSpPr>
            <p:spPr bwMode="auto">
              <a:xfrm>
                <a:off x="3200401" y="2767387"/>
                <a:ext cx="1230923" cy="2573215"/>
              </a:xfrm>
              <a:prstGeom prst="can">
                <a:avLst>
                  <a:gd name="adj" fmla="val 30950"/>
                </a:avLst>
              </a:prstGeom>
              <a:gradFill rotWithShape="1">
                <a:gsLst>
                  <a:gs pos="0">
                    <a:srgbClr val="525051"/>
                  </a:gs>
                  <a:gs pos="80000">
                    <a:srgbClr val="FFA514"/>
                  </a:gs>
                  <a:gs pos="100000">
                    <a:srgbClr val="FFA514"/>
                  </a:gs>
                </a:gsLst>
                <a:lin ang="16200000" scaled="0"/>
              </a:gradFill>
              <a:ln>
                <a:gradFill>
                  <a:gsLst>
                    <a:gs pos="0">
                      <a:srgbClr val="FFA514">
                        <a:tint val="66000"/>
                        <a:satMod val="160000"/>
                        <a:alpha val="0"/>
                      </a:srgbClr>
                    </a:gs>
                    <a:gs pos="50000">
                      <a:srgbClr val="FFA514">
                        <a:tint val="44500"/>
                        <a:satMod val="160000"/>
                        <a:alpha val="0"/>
                      </a:srgbClr>
                    </a:gs>
                    <a:gs pos="100000">
                      <a:srgbClr val="FFA514">
                        <a:tint val="23500"/>
                        <a:satMod val="160000"/>
                      </a:srgbClr>
                    </a:gs>
                  </a:gsLst>
                  <a:lin ang="0" scaled="0"/>
                </a:gradFill>
                <a:headEnd type="none" w="med" len="med"/>
                <a:tailEnd type="none" w="med" len="med"/>
              </a:ln>
              <a:effectLst>
                <a:outerShdw blurRad="241300" dist="127000" dir="5400000" rotWithShape="0">
                  <a:srgbClr val="000000">
                    <a:alpha val="10000"/>
                  </a:srgbClr>
                </a:outerShdw>
                <a:reflection blurRad="6350" stA="52000" endA="300" endPos="35000" dir="5400000" sy="-100000" algn="bl" rotWithShape="0"/>
              </a:effectLst>
              <a:scene3d>
                <a:camera prst="orthographicFront">
                  <a:rot lat="0" lon="0" rev="0"/>
                </a:camera>
                <a:lightRig rig="threePt" dir="t">
                  <a:rot lat="0" lon="0" rev="1200000"/>
                </a:lightRig>
              </a:scene3d>
              <a:sp3d>
                <a:bevelT w="63500" h="25400"/>
              </a:sp3d>
            </p:spPr>
            <p:txBody>
              <a:bodyPr vert="horz" wrap="square" lIns="91436" tIns="45718" rIns="91436" bIns="45718" numCol="1" rtlCol="0" anchor="ctr" anchorCtr="0" compatLnSpc="1">
                <a:prstTxWarp prst="textNoShape">
                  <a:avLst/>
                </a:prstTxWarp>
              </a:bodyPr>
              <a:lstStyle/>
              <a:p>
                <a:pPr algn="ctr" defTabSz="816107">
                  <a:defRPr/>
                </a:pPr>
                <a:endParaRPr lang="en-US" sz="2200" kern="0" dirty="0">
                  <a:solidFill>
                    <a:srgbClr val="FFFFFF"/>
                  </a:solidFill>
                  <a:effectLst>
                    <a:outerShdw blurRad="38100" dist="38100" dir="2700000" algn="tl">
                      <a:srgbClr val="000000">
                        <a:alpha val="43137"/>
                      </a:srgbClr>
                    </a:outerShdw>
                  </a:effectLst>
                  <a:latin typeface="Segoe" pitchFamily="34" charset="0"/>
                </a:endParaRPr>
              </a:p>
            </p:txBody>
          </p:sp>
          <p:sp>
            <p:nvSpPr>
              <p:cNvPr id="92" name="Can 91"/>
              <p:cNvSpPr/>
              <p:nvPr/>
            </p:nvSpPr>
            <p:spPr bwMode="auto">
              <a:xfrm>
                <a:off x="3196905" y="3976323"/>
                <a:ext cx="1222695" cy="1359222"/>
              </a:xfrm>
              <a:prstGeom prst="can">
                <a:avLst>
                  <a:gd name="adj" fmla="val 28748"/>
                </a:avLst>
              </a:prstGeom>
              <a:gradFill rotWithShape="1">
                <a:gsLst>
                  <a:gs pos="0">
                    <a:srgbClr val="525051">
                      <a:alpha val="31000"/>
                    </a:srgbClr>
                  </a:gs>
                  <a:gs pos="100000">
                    <a:srgbClr val="FFA514">
                      <a:alpha val="25000"/>
                    </a:srgbClr>
                  </a:gs>
                </a:gsLst>
                <a:lin ang="16200000" scaled="0"/>
              </a:gradFill>
              <a:ln>
                <a:gradFill>
                  <a:gsLst>
                    <a:gs pos="0">
                      <a:srgbClr val="FFA514">
                        <a:tint val="66000"/>
                        <a:satMod val="160000"/>
                        <a:alpha val="0"/>
                      </a:srgbClr>
                    </a:gs>
                    <a:gs pos="50000">
                      <a:srgbClr val="FFA514">
                        <a:lumMod val="60000"/>
                        <a:lumOff val="40000"/>
                      </a:srgbClr>
                    </a:gs>
                    <a:gs pos="100000">
                      <a:srgbClr val="FFA514">
                        <a:tint val="23500"/>
                        <a:satMod val="160000"/>
                        <a:alpha val="0"/>
                      </a:srgbClr>
                    </a:gs>
                  </a:gsLst>
                  <a:lin ang="0" scaled="0"/>
                </a:gradFill>
                <a:headEnd type="none" w="med" len="med"/>
                <a:tailEnd type="none" w="med" len="med"/>
              </a:ln>
              <a:effectLst>
                <a:reflection blurRad="6350" stA="52000" endA="300" endPos="35000" dir="5400000" sy="-100000" algn="bl" rotWithShape="0"/>
              </a:effectLst>
              <a:scene3d>
                <a:camera prst="orthographicFront">
                  <a:rot lat="0" lon="0" rev="0"/>
                </a:camera>
                <a:lightRig rig="threePt" dir="t">
                  <a:rot lat="0" lon="0" rev="1200000"/>
                </a:lightRig>
              </a:scene3d>
              <a:sp3d>
                <a:bevelT w="63500" h="25400"/>
              </a:sp3d>
            </p:spPr>
            <p:txBody>
              <a:bodyPr vert="horz" wrap="square" lIns="91436" tIns="45718" rIns="91436" bIns="45718" numCol="1" rtlCol="0" anchor="ctr" anchorCtr="0" compatLnSpc="1">
                <a:prstTxWarp prst="textNoShape">
                  <a:avLst/>
                </a:prstTxWarp>
              </a:bodyPr>
              <a:lstStyle/>
              <a:p>
                <a:pPr algn="ctr" defTabSz="816107">
                  <a:defRPr/>
                </a:pPr>
                <a:endParaRPr lang="en-US" sz="2200" kern="0" dirty="0">
                  <a:solidFill>
                    <a:srgbClr val="FFFFFF"/>
                  </a:solidFill>
                  <a:effectLst>
                    <a:outerShdw blurRad="38100" dist="38100" dir="2700000" algn="tl">
                      <a:srgbClr val="000000">
                        <a:alpha val="43137"/>
                      </a:srgbClr>
                    </a:outerShdw>
                  </a:effectLst>
                  <a:latin typeface="Segoe" pitchFamily="34" charset="0"/>
                </a:endParaRPr>
              </a:p>
            </p:txBody>
          </p:sp>
          <p:sp>
            <p:nvSpPr>
              <p:cNvPr id="93" name="TextBox 92"/>
              <p:cNvSpPr txBox="1"/>
              <p:nvPr/>
            </p:nvSpPr>
            <p:spPr>
              <a:xfrm>
                <a:off x="3178517" y="4429609"/>
                <a:ext cx="1246980" cy="1103232"/>
              </a:xfrm>
              <a:prstGeom prst="rect">
                <a:avLst/>
              </a:prstGeom>
              <a:noFill/>
              <a:effectLst>
                <a:outerShdw blurRad="50800" dist="38100" dir="5400000" algn="t" rotWithShape="0">
                  <a:prstClr val="black">
                    <a:alpha val="40000"/>
                  </a:prstClr>
                </a:outerShdw>
              </a:effectLst>
            </p:spPr>
            <p:txBody>
              <a:bodyPr wrap="square" rtlCol="0">
                <a:spAutoFit/>
              </a:bodyPr>
              <a:lstStyle/>
              <a:p>
                <a:pPr algn="ctr" defTabSz="816377">
                  <a:lnSpc>
                    <a:spcPts val="1250"/>
                  </a:lnSpc>
                  <a:defRPr/>
                </a:pPr>
                <a:r>
                  <a:rPr lang="en-US" sz="800" kern="0" dirty="0">
                    <a:solidFill>
                      <a:srgbClr val="FFFFFF"/>
                    </a:solidFill>
                  </a:rPr>
                  <a:t>Authentication</a:t>
                </a:r>
              </a:p>
              <a:p>
                <a:pPr algn="ctr" defTabSz="816377">
                  <a:lnSpc>
                    <a:spcPts val="1250"/>
                  </a:lnSpc>
                  <a:defRPr/>
                </a:pPr>
                <a:r>
                  <a:rPr lang="en-US" sz="800" kern="0" dirty="0">
                    <a:solidFill>
                      <a:srgbClr val="FFFFFF"/>
                    </a:solidFill>
                  </a:rPr>
                  <a:t>Administration</a:t>
                </a:r>
              </a:p>
              <a:p>
                <a:pPr algn="ctr" defTabSz="816377">
                  <a:lnSpc>
                    <a:spcPts val="1250"/>
                  </a:lnSpc>
                  <a:defRPr/>
                </a:pPr>
                <a:r>
                  <a:rPr lang="en-US" sz="800" kern="0" dirty="0">
                    <a:solidFill>
                      <a:srgbClr val="FFFFFF"/>
                    </a:solidFill>
                  </a:rPr>
                  <a:t>Storage</a:t>
                </a:r>
              </a:p>
            </p:txBody>
          </p:sp>
          <p:sp>
            <p:nvSpPr>
              <p:cNvPr id="94" name="Oval 93"/>
              <p:cNvSpPr/>
              <p:nvPr/>
            </p:nvSpPr>
            <p:spPr bwMode="auto">
              <a:xfrm>
                <a:off x="3200400" y="2514600"/>
                <a:ext cx="1219201" cy="449229"/>
              </a:xfrm>
              <a:prstGeom prst="ellipse">
                <a:avLst/>
              </a:prstGeom>
              <a:gradFill>
                <a:gsLst>
                  <a:gs pos="0">
                    <a:srgbClr val="FFFFFF">
                      <a:lumMod val="85000"/>
                      <a:alpha val="10000"/>
                    </a:srgbClr>
                  </a:gs>
                  <a:gs pos="100000">
                    <a:srgbClr val="FFFFFF">
                      <a:alpha val="72000"/>
                    </a:srgbClr>
                  </a:gs>
                </a:gsLst>
                <a:lin ang="5400000" scaled="0"/>
              </a:gradFill>
              <a:effectLst>
                <a:outerShdw blurRad="12700" dist="25400" dir="5400000" algn="t" rotWithShape="0">
                  <a:prstClr val="black">
                    <a:alpha val="13000"/>
                  </a:prstClr>
                </a:outerShdw>
              </a:effectLst>
            </p:spPr>
            <p:txBody>
              <a:bodyPr wrap="square" rtlCol="0">
                <a:noAutofit/>
              </a:bodyPr>
              <a:lstStyle/>
              <a:p>
                <a:pPr defTabSz="816377">
                  <a:defRPr/>
                </a:pPr>
                <a:endParaRPr lang="en-US" sz="3900" kern="0" dirty="0">
                  <a:gradFill>
                    <a:gsLst>
                      <a:gs pos="0">
                        <a:srgbClr val="FFFFFF"/>
                      </a:gs>
                      <a:gs pos="100000">
                        <a:srgbClr val="FFA514">
                          <a:lumMod val="60000"/>
                          <a:lumOff val="40000"/>
                        </a:srgbClr>
                      </a:gs>
                    </a:gsLst>
                    <a:lin ang="5400000" scaled="0"/>
                  </a:gradFill>
                </a:endParaRPr>
              </a:p>
            </p:txBody>
          </p:sp>
          <p:sp>
            <p:nvSpPr>
              <p:cNvPr id="95" name="TextBox 94"/>
              <p:cNvSpPr txBox="1"/>
              <p:nvPr/>
            </p:nvSpPr>
            <p:spPr>
              <a:xfrm>
                <a:off x="3154309" y="3266876"/>
                <a:ext cx="1331725" cy="650334"/>
              </a:xfrm>
              <a:prstGeom prst="rect">
                <a:avLst/>
              </a:prstGeom>
              <a:noFill/>
              <a:effectLst>
                <a:outerShdw blurRad="12700" dist="12700" dir="5400000" algn="t" rotWithShape="0">
                  <a:prstClr val="black">
                    <a:alpha val="40000"/>
                  </a:prstClr>
                </a:outerShdw>
                <a:reflection blurRad="6350" stA="50000" endA="300" endPos="55000" dir="5400000" sy="-100000" algn="bl" rotWithShape="0"/>
              </a:effectLst>
            </p:spPr>
            <p:txBody>
              <a:bodyPr wrap="square" rtlCol="0">
                <a:noAutofit/>
              </a:bodyPr>
              <a:lstStyle/>
              <a:p>
                <a:pPr algn="ctr" defTabSz="816377">
                  <a:defRPr/>
                </a:pPr>
                <a:r>
                  <a:rPr lang="en-US" sz="1300" b="1" kern="0" dirty="0">
                    <a:gradFill>
                      <a:gsLst>
                        <a:gs pos="0">
                          <a:srgbClr val="FFFFFF"/>
                        </a:gs>
                        <a:gs pos="100000">
                          <a:srgbClr val="FFA514">
                            <a:lumMod val="60000"/>
                            <a:lumOff val="40000"/>
                          </a:srgbClr>
                        </a:gs>
                      </a:gsLst>
                      <a:lin ang="5400000" scaled="0"/>
                    </a:gradFill>
                  </a:rPr>
                  <a:t>User </a:t>
                </a:r>
                <a:r>
                  <a:rPr lang="en-US" sz="1000" b="1" kern="0" dirty="0">
                    <a:gradFill>
                      <a:gsLst>
                        <a:gs pos="0">
                          <a:srgbClr val="FFFFFF"/>
                        </a:gs>
                        <a:gs pos="100000">
                          <a:srgbClr val="FFA514">
                            <a:lumMod val="60000"/>
                            <a:lumOff val="40000"/>
                          </a:srgbClr>
                        </a:gs>
                      </a:gsLst>
                      <a:lin ang="5400000" scaled="0"/>
                    </a:gradFill>
                  </a:rPr>
                  <a:t>Experience</a:t>
                </a:r>
              </a:p>
            </p:txBody>
          </p:sp>
        </p:grpSp>
        <p:pic>
          <p:nvPicPr>
            <p:cNvPr id="90" name="Picture 6" descr="C:\Users\victor.melniciuc\Desktop\==Work\TDC deck\icons\conferencing.png"/>
            <p:cNvPicPr>
              <a:picLocks noChangeAspect="1" noChangeArrowheads="1"/>
            </p:cNvPicPr>
            <p:nvPr/>
          </p:nvPicPr>
          <p:blipFill>
            <a:blip r:embed="rId12" cstate="print"/>
            <a:srcRect/>
            <a:stretch>
              <a:fillRect/>
            </a:stretch>
          </p:blipFill>
          <p:spPr bwMode="auto">
            <a:xfrm>
              <a:off x="5630379" y="2535354"/>
              <a:ext cx="382232" cy="459975"/>
            </a:xfrm>
            <a:prstGeom prst="rect">
              <a:avLst/>
            </a:prstGeom>
            <a:noFill/>
            <a:effectLst>
              <a:outerShdw blurRad="50800" dist="38100" dir="5400000" algn="t" rotWithShape="0">
                <a:prstClr val="black">
                  <a:alpha val="40000"/>
                </a:prstClr>
              </a:outerShdw>
            </a:effectLst>
          </p:spPr>
        </p:pic>
      </p:grpSp>
      <p:grpSp>
        <p:nvGrpSpPr>
          <p:cNvPr id="96" name="Group 239"/>
          <p:cNvGrpSpPr/>
          <p:nvPr/>
        </p:nvGrpSpPr>
        <p:grpSpPr>
          <a:xfrm>
            <a:off x="508864" y="1604143"/>
            <a:ext cx="897468" cy="1801095"/>
            <a:chOff x="423333" y="2497666"/>
            <a:chExt cx="897468" cy="2401461"/>
          </a:xfrm>
        </p:grpSpPr>
        <p:grpSp>
          <p:nvGrpSpPr>
            <p:cNvPr id="97" name="Group 215"/>
            <p:cNvGrpSpPr/>
            <p:nvPr/>
          </p:nvGrpSpPr>
          <p:grpSpPr>
            <a:xfrm>
              <a:off x="423333" y="2760133"/>
              <a:ext cx="897468" cy="2138994"/>
              <a:chOff x="3166413" y="2514600"/>
              <a:chExt cx="1283302" cy="2987249"/>
            </a:xfrm>
          </p:grpSpPr>
          <p:sp>
            <p:nvSpPr>
              <p:cNvPr id="99" name="Can 98"/>
              <p:cNvSpPr/>
              <p:nvPr/>
            </p:nvSpPr>
            <p:spPr bwMode="auto">
              <a:xfrm>
                <a:off x="3200401" y="2767387"/>
                <a:ext cx="1230923" cy="2573215"/>
              </a:xfrm>
              <a:prstGeom prst="can">
                <a:avLst>
                  <a:gd name="adj" fmla="val 30950"/>
                </a:avLst>
              </a:prstGeom>
              <a:gradFill rotWithShape="1">
                <a:gsLst>
                  <a:gs pos="0">
                    <a:srgbClr val="525051"/>
                  </a:gs>
                  <a:gs pos="80000">
                    <a:srgbClr val="FFA514"/>
                  </a:gs>
                  <a:gs pos="100000">
                    <a:srgbClr val="FFA514"/>
                  </a:gs>
                </a:gsLst>
                <a:lin ang="16200000" scaled="0"/>
              </a:gradFill>
              <a:ln>
                <a:gradFill>
                  <a:gsLst>
                    <a:gs pos="0">
                      <a:srgbClr val="FFA514">
                        <a:tint val="66000"/>
                        <a:satMod val="160000"/>
                        <a:alpha val="0"/>
                      </a:srgbClr>
                    </a:gs>
                    <a:gs pos="50000">
                      <a:srgbClr val="FFA514">
                        <a:tint val="44500"/>
                        <a:satMod val="160000"/>
                        <a:alpha val="0"/>
                      </a:srgbClr>
                    </a:gs>
                    <a:gs pos="100000">
                      <a:srgbClr val="FFA514">
                        <a:tint val="23500"/>
                        <a:satMod val="160000"/>
                      </a:srgbClr>
                    </a:gs>
                  </a:gsLst>
                  <a:lin ang="0" scaled="0"/>
                </a:gradFill>
                <a:headEnd type="none" w="med" len="med"/>
                <a:tailEnd type="none" w="med" len="med"/>
              </a:ln>
              <a:effectLst>
                <a:outerShdw blurRad="241300" dist="127000" dir="5400000" rotWithShape="0">
                  <a:srgbClr val="000000">
                    <a:alpha val="10000"/>
                  </a:srgbClr>
                </a:outerShdw>
                <a:reflection blurRad="6350" stA="52000" endA="300" endPos="35000" dir="5400000" sy="-100000" algn="bl" rotWithShape="0"/>
              </a:effectLst>
              <a:scene3d>
                <a:camera prst="orthographicFront">
                  <a:rot lat="0" lon="0" rev="0"/>
                </a:camera>
                <a:lightRig rig="threePt" dir="t">
                  <a:rot lat="0" lon="0" rev="1200000"/>
                </a:lightRig>
              </a:scene3d>
              <a:sp3d>
                <a:bevelT w="63500" h="25400"/>
              </a:sp3d>
            </p:spPr>
            <p:txBody>
              <a:bodyPr vert="horz" wrap="square" lIns="91436" tIns="45718" rIns="91436" bIns="45718" numCol="1" rtlCol="0" anchor="ctr" anchorCtr="0" compatLnSpc="1">
                <a:prstTxWarp prst="textNoShape">
                  <a:avLst/>
                </a:prstTxWarp>
              </a:bodyPr>
              <a:lstStyle/>
              <a:p>
                <a:pPr algn="ctr" defTabSz="816107">
                  <a:defRPr/>
                </a:pPr>
                <a:endParaRPr lang="en-US" sz="2200" kern="0" dirty="0">
                  <a:solidFill>
                    <a:srgbClr val="FFFFFF"/>
                  </a:solidFill>
                  <a:effectLst>
                    <a:outerShdw blurRad="38100" dist="38100" dir="2700000" algn="tl">
                      <a:srgbClr val="000000">
                        <a:alpha val="43137"/>
                      </a:srgbClr>
                    </a:outerShdw>
                  </a:effectLst>
                  <a:latin typeface="Segoe" pitchFamily="34" charset="0"/>
                </a:endParaRPr>
              </a:p>
            </p:txBody>
          </p:sp>
          <p:sp>
            <p:nvSpPr>
              <p:cNvPr id="100" name="Can 99"/>
              <p:cNvSpPr/>
              <p:nvPr/>
            </p:nvSpPr>
            <p:spPr bwMode="auto">
              <a:xfrm>
                <a:off x="3196905" y="3945330"/>
                <a:ext cx="1222695" cy="1398155"/>
              </a:xfrm>
              <a:prstGeom prst="can">
                <a:avLst>
                  <a:gd name="adj" fmla="val 28748"/>
                </a:avLst>
              </a:prstGeom>
              <a:gradFill rotWithShape="1">
                <a:gsLst>
                  <a:gs pos="0">
                    <a:srgbClr val="525051">
                      <a:alpha val="31000"/>
                    </a:srgbClr>
                  </a:gs>
                  <a:gs pos="100000">
                    <a:srgbClr val="FFA514">
                      <a:alpha val="25000"/>
                    </a:srgbClr>
                  </a:gs>
                </a:gsLst>
                <a:lin ang="16200000" scaled="0"/>
              </a:gradFill>
              <a:ln>
                <a:gradFill>
                  <a:gsLst>
                    <a:gs pos="0">
                      <a:srgbClr val="FFA514">
                        <a:tint val="66000"/>
                        <a:satMod val="160000"/>
                        <a:alpha val="0"/>
                      </a:srgbClr>
                    </a:gs>
                    <a:gs pos="50000">
                      <a:srgbClr val="FFA514">
                        <a:lumMod val="60000"/>
                        <a:lumOff val="40000"/>
                      </a:srgbClr>
                    </a:gs>
                    <a:gs pos="100000">
                      <a:srgbClr val="FFA514">
                        <a:tint val="23500"/>
                        <a:satMod val="160000"/>
                        <a:alpha val="0"/>
                      </a:srgbClr>
                    </a:gs>
                  </a:gsLst>
                  <a:lin ang="0" scaled="0"/>
                </a:gradFill>
                <a:headEnd type="none" w="med" len="med"/>
                <a:tailEnd type="none" w="med" len="med"/>
              </a:ln>
              <a:effectLst>
                <a:reflection blurRad="6350" stA="52000" endA="300" endPos="35000" dir="5400000" sy="-100000" algn="bl" rotWithShape="0"/>
              </a:effectLst>
              <a:scene3d>
                <a:camera prst="orthographicFront">
                  <a:rot lat="0" lon="0" rev="0"/>
                </a:camera>
                <a:lightRig rig="threePt" dir="t">
                  <a:rot lat="0" lon="0" rev="1200000"/>
                </a:lightRig>
              </a:scene3d>
              <a:sp3d>
                <a:bevelT w="63500" h="25400"/>
              </a:sp3d>
            </p:spPr>
            <p:txBody>
              <a:bodyPr vert="horz" wrap="square" lIns="91436" tIns="45718" rIns="91436" bIns="45718" numCol="1" rtlCol="0" anchor="ctr" anchorCtr="0" compatLnSpc="1">
                <a:prstTxWarp prst="textNoShape">
                  <a:avLst/>
                </a:prstTxWarp>
              </a:bodyPr>
              <a:lstStyle/>
              <a:p>
                <a:pPr algn="ctr" defTabSz="816107">
                  <a:defRPr/>
                </a:pPr>
                <a:endParaRPr lang="en-US" sz="2200" kern="0" dirty="0">
                  <a:solidFill>
                    <a:srgbClr val="FFFFFF"/>
                  </a:solidFill>
                  <a:effectLst>
                    <a:outerShdw blurRad="38100" dist="38100" dir="2700000" algn="tl">
                      <a:srgbClr val="000000">
                        <a:alpha val="43137"/>
                      </a:srgbClr>
                    </a:outerShdw>
                  </a:effectLst>
                  <a:latin typeface="Segoe" pitchFamily="34" charset="0"/>
                </a:endParaRPr>
              </a:p>
            </p:txBody>
          </p:sp>
          <p:sp>
            <p:nvSpPr>
              <p:cNvPr id="101" name="TextBox 100"/>
              <p:cNvSpPr txBox="1"/>
              <p:nvPr/>
            </p:nvSpPr>
            <p:spPr>
              <a:xfrm>
                <a:off x="3178519" y="4398617"/>
                <a:ext cx="1246979" cy="1103232"/>
              </a:xfrm>
              <a:prstGeom prst="rect">
                <a:avLst/>
              </a:prstGeom>
              <a:noFill/>
              <a:effectLst>
                <a:outerShdw blurRad="50800" dist="38100" dir="5400000" algn="t" rotWithShape="0">
                  <a:prstClr val="black">
                    <a:alpha val="40000"/>
                  </a:prstClr>
                </a:outerShdw>
              </a:effectLst>
            </p:spPr>
            <p:txBody>
              <a:bodyPr wrap="square" rtlCol="0">
                <a:spAutoFit/>
              </a:bodyPr>
              <a:lstStyle/>
              <a:p>
                <a:pPr algn="ctr" defTabSz="816377">
                  <a:lnSpc>
                    <a:spcPts val="1250"/>
                  </a:lnSpc>
                  <a:defRPr/>
                </a:pPr>
                <a:r>
                  <a:rPr lang="en-US" sz="800" kern="0" dirty="0">
                    <a:solidFill>
                      <a:srgbClr val="FFFFFF"/>
                    </a:solidFill>
                  </a:rPr>
                  <a:t>Authentication</a:t>
                </a:r>
              </a:p>
              <a:p>
                <a:pPr algn="ctr" defTabSz="816377">
                  <a:lnSpc>
                    <a:spcPts val="1250"/>
                  </a:lnSpc>
                  <a:defRPr/>
                </a:pPr>
                <a:r>
                  <a:rPr lang="en-US" sz="800" kern="0" dirty="0">
                    <a:solidFill>
                      <a:srgbClr val="FFFFFF"/>
                    </a:solidFill>
                  </a:rPr>
                  <a:t>Administration</a:t>
                </a:r>
              </a:p>
              <a:p>
                <a:pPr algn="ctr" defTabSz="816377">
                  <a:lnSpc>
                    <a:spcPts val="1250"/>
                  </a:lnSpc>
                  <a:defRPr/>
                </a:pPr>
                <a:r>
                  <a:rPr lang="en-US" sz="800" kern="0" dirty="0">
                    <a:solidFill>
                      <a:srgbClr val="FFFFFF"/>
                    </a:solidFill>
                  </a:rPr>
                  <a:t>Storage</a:t>
                </a:r>
              </a:p>
            </p:txBody>
          </p:sp>
          <p:sp>
            <p:nvSpPr>
              <p:cNvPr id="102" name="Oval 101"/>
              <p:cNvSpPr/>
              <p:nvPr/>
            </p:nvSpPr>
            <p:spPr bwMode="auto">
              <a:xfrm>
                <a:off x="3200400" y="2514600"/>
                <a:ext cx="1219201" cy="449229"/>
              </a:xfrm>
              <a:prstGeom prst="ellipse">
                <a:avLst/>
              </a:prstGeom>
              <a:gradFill>
                <a:gsLst>
                  <a:gs pos="0">
                    <a:srgbClr val="FFFFFF">
                      <a:lumMod val="85000"/>
                      <a:alpha val="10000"/>
                    </a:srgbClr>
                  </a:gs>
                  <a:gs pos="100000">
                    <a:srgbClr val="FFFFFF">
                      <a:alpha val="72000"/>
                    </a:srgbClr>
                  </a:gs>
                </a:gsLst>
                <a:lin ang="5400000" scaled="0"/>
              </a:gradFill>
              <a:effectLst>
                <a:outerShdw blurRad="12700" dist="25400" dir="5400000" algn="t" rotWithShape="0">
                  <a:prstClr val="black">
                    <a:alpha val="13000"/>
                  </a:prstClr>
                </a:outerShdw>
              </a:effectLst>
            </p:spPr>
            <p:txBody>
              <a:bodyPr wrap="square" rtlCol="0">
                <a:noAutofit/>
              </a:bodyPr>
              <a:lstStyle/>
              <a:p>
                <a:pPr defTabSz="816377">
                  <a:defRPr/>
                </a:pPr>
                <a:endParaRPr lang="en-US" sz="3900" kern="0" dirty="0">
                  <a:gradFill>
                    <a:gsLst>
                      <a:gs pos="0">
                        <a:srgbClr val="FFFFFF"/>
                      </a:gs>
                      <a:gs pos="100000">
                        <a:srgbClr val="FFA514">
                          <a:lumMod val="60000"/>
                          <a:lumOff val="40000"/>
                        </a:srgbClr>
                      </a:gs>
                    </a:gsLst>
                    <a:lin ang="5400000" scaled="0"/>
                  </a:gradFill>
                </a:endParaRPr>
              </a:p>
            </p:txBody>
          </p:sp>
          <p:sp>
            <p:nvSpPr>
              <p:cNvPr id="103" name="TextBox 102"/>
              <p:cNvSpPr txBox="1"/>
              <p:nvPr/>
            </p:nvSpPr>
            <p:spPr>
              <a:xfrm>
                <a:off x="3166413" y="3235882"/>
                <a:ext cx="1283302" cy="650334"/>
              </a:xfrm>
              <a:prstGeom prst="rect">
                <a:avLst/>
              </a:prstGeom>
              <a:noFill/>
              <a:effectLst>
                <a:outerShdw blurRad="12700" dist="12700" dir="5400000" algn="t" rotWithShape="0">
                  <a:prstClr val="black">
                    <a:alpha val="40000"/>
                  </a:prstClr>
                </a:outerShdw>
                <a:reflection blurRad="6350" stA="50000" endA="300" endPos="55000" dir="5400000" sy="-100000" algn="bl" rotWithShape="0"/>
              </a:effectLst>
            </p:spPr>
            <p:txBody>
              <a:bodyPr wrap="square" rtlCol="0">
                <a:noAutofit/>
              </a:bodyPr>
              <a:lstStyle/>
              <a:p>
                <a:pPr algn="ctr" defTabSz="816377">
                  <a:defRPr/>
                </a:pPr>
                <a:r>
                  <a:rPr lang="en-US" sz="900" b="1" kern="0" dirty="0">
                    <a:gradFill>
                      <a:gsLst>
                        <a:gs pos="0">
                          <a:srgbClr val="FFFFFF"/>
                        </a:gs>
                        <a:gs pos="100000">
                          <a:srgbClr val="FFA514">
                            <a:lumMod val="60000"/>
                            <a:lumOff val="40000"/>
                          </a:srgbClr>
                        </a:gs>
                      </a:gsLst>
                      <a:lin ang="5400000" scaled="0"/>
                    </a:gradFill>
                  </a:rPr>
                  <a:t>User</a:t>
                </a:r>
              </a:p>
              <a:p>
                <a:pPr algn="ctr" defTabSz="816377">
                  <a:defRPr/>
                </a:pPr>
                <a:r>
                  <a:rPr lang="en-US" sz="900" b="1" kern="0" dirty="0">
                    <a:gradFill>
                      <a:gsLst>
                        <a:gs pos="0">
                          <a:srgbClr val="FFFFFF"/>
                        </a:gs>
                        <a:gs pos="100000">
                          <a:srgbClr val="FFA514">
                            <a:lumMod val="60000"/>
                            <a:lumOff val="40000"/>
                          </a:srgbClr>
                        </a:gs>
                      </a:gsLst>
                      <a:lin ang="5400000" scaled="0"/>
                    </a:gradFill>
                  </a:rPr>
                  <a:t>Experience</a:t>
                </a:r>
              </a:p>
            </p:txBody>
          </p:sp>
        </p:grpSp>
        <p:pic>
          <p:nvPicPr>
            <p:cNvPr id="98" name="Picture 7" descr="C:\Users\victor.melniciuc\Desktop\==Work\TDC deck\icons\tasks.png"/>
            <p:cNvPicPr>
              <a:picLocks noChangeAspect="1" noChangeArrowheads="1"/>
            </p:cNvPicPr>
            <p:nvPr/>
          </p:nvPicPr>
          <p:blipFill>
            <a:blip r:embed="rId13" cstate="print"/>
            <a:srcRect/>
            <a:stretch>
              <a:fillRect/>
            </a:stretch>
          </p:blipFill>
          <p:spPr bwMode="auto">
            <a:xfrm>
              <a:off x="640485" y="2497666"/>
              <a:ext cx="416640" cy="448204"/>
            </a:xfrm>
            <a:prstGeom prst="rect">
              <a:avLst/>
            </a:prstGeom>
            <a:noFill/>
            <a:effectLst>
              <a:outerShdw blurRad="50800" dist="38100" dir="5400000" algn="t" rotWithShape="0">
                <a:prstClr val="black">
                  <a:alpha val="40000"/>
                </a:prstClr>
              </a:outerShdw>
            </a:effectLst>
          </p:spPr>
        </p:pic>
      </p:grpSp>
      <p:grpSp>
        <p:nvGrpSpPr>
          <p:cNvPr id="104" name="Group 240"/>
          <p:cNvGrpSpPr/>
          <p:nvPr/>
        </p:nvGrpSpPr>
        <p:grpSpPr>
          <a:xfrm>
            <a:off x="7828556" y="1686696"/>
            <a:ext cx="897466" cy="1718546"/>
            <a:chOff x="7755467" y="2607733"/>
            <a:chExt cx="897466" cy="2291394"/>
          </a:xfrm>
        </p:grpSpPr>
        <p:grpSp>
          <p:nvGrpSpPr>
            <p:cNvPr id="105" name="Group 209"/>
            <p:cNvGrpSpPr/>
            <p:nvPr/>
          </p:nvGrpSpPr>
          <p:grpSpPr>
            <a:xfrm>
              <a:off x="7755467" y="2760133"/>
              <a:ext cx="897466" cy="2138994"/>
              <a:chOff x="3166413" y="2514600"/>
              <a:chExt cx="1283299" cy="2987250"/>
            </a:xfrm>
          </p:grpSpPr>
          <p:sp>
            <p:nvSpPr>
              <p:cNvPr id="107" name="Can 106"/>
              <p:cNvSpPr/>
              <p:nvPr/>
            </p:nvSpPr>
            <p:spPr bwMode="auto">
              <a:xfrm>
                <a:off x="3200401" y="2767387"/>
                <a:ext cx="1230923" cy="2573215"/>
              </a:xfrm>
              <a:prstGeom prst="can">
                <a:avLst>
                  <a:gd name="adj" fmla="val 30950"/>
                </a:avLst>
              </a:prstGeom>
              <a:gradFill rotWithShape="1">
                <a:gsLst>
                  <a:gs pos="0">
                    <a:srgbClr val="525051"/>
                  </a:gs>
                  <a:gs pos="80000">
                    <a:srgbClr val="FFA514"/>
                  </a:gs>
                  <a:gs pos="100000">
                    <a:srgbClr val="FFA514"/>
                  </a:gs>
                </a:gsLst>
                <a:lin ang="16200000" scaled="0"/>
              </a:gradFill>
              <a:ln>
                <a:gradFill>
                  <a:gsLst>
                    <a:gs pos="0">
                      <a:srgbClr val="FFA514">
                        <a:tint val="66000"/>
                        <a:satMod val="160000"/>
                        <a:alpha val="0"/>
                      </a:srgbClr>
                    </a:gs>
                    <a:gs pos="50000">
                      <a:srgbClr val="FFA514">
                        <a:tint val="44500"/>
                        <a:satMod val="160000"/>
                        <a:alpha val="0"/>
                      </a:srgbClr>
                    </a:gs>
                    <a:gs pos="100000">
                      <a:srgbClr val="FFA514">
                        <a:tint val="23500"/>
                        <a:satMod val="160000"/>
                      </a:srgbClr>
                    </a:gs>
                  </a:gsLst>
                  <a:lin ang="0" scaled="0"/>
                </a:gradFill>
                <a:headEnd type="none" w="med" len="med"/>
                <a:tailEnd type="none" w="med" len="med"/>
              </a:ln>
              <a:effectLst>
                <a:outerShdw blurRad="241300" dist="127000" dir="5400000" rotWithShape="0">
                  <a:srgbClr val="000000">
                    <a:alpha val="10000"/>
                  </a:srgbClr>
                </a:outerShdw>
                <a:reflection blurRad="6350" stA="52000" endA="300" endPos="35000" dir="5400000" sy="-100000" algn="bl" rotWithShape="0"/>
              </a:effectLst>
              <a:scene3d>
                <a:camera prst="orthographicFront">
                  <a:rot lat="0" lon="0" rev="0"/>
                </a:camera>
                <a:lightRig rig="threePt" dir="t">
                  <a:rot lat="0" lon="0" rev="1200000"/>
                </a:lightRig>
              </a:scene3d>
              <a:sp3d>
                <a:bevelT w="63500" h="25400"/>
              </a:sp3d>
            </p:spPr>
            <p:txBody>
              <a:bodyPr vert="horz" wrap="square" lIns="91436" tIns="45718" rIns="91436" bIns="45718" numCol="1" rtlCol="0" anchor="ctr" anchorCtr="0" compatLnSpc="1">
                <a:prstTxWarp prst="textNoShape">
                  <a:avLst/>
                </a:prstTxWarp>
              </a:bodyPr>
              <a:lstStyle/>
              <a:p>
                <a:pPr algn="ctr" defTabSz="816107">
                  <a:defRPr/>
                </a:pPr>
                <a:endParaRPr lang="en-US" sz="2200" kern="0" dirty="0">
                  <a:solidFill>
                    <a:srgbClr val="FFFFFF"/>
                  </a:solidFill>
                  <a:effectLst>
                    <a:outerShdw blurRad="38100" dist="38100" dir="2700000" algn="tl">
                      <a:srgbClr val="000000">
                        <a:alpha val="43137"/>
                      </a:srgbClr>
                    </a:outerShdw>
                  </a:effectLst>
                  <a:latin typeface="Segoe" pitchFamily="34" charset="0"/>
                </a:endParaRPr>
              </a:p>
            </p:txBody>
          </p:sp>
          <p:sp>
            <p:nvSpPr>
              <p:cNvPr id="108" name="Can 107"/>
              <p:cNvSpPr/>
              <p:nvPr/>
            </p:nvSpPr>
            <p:spPr bwMode="auto">
              <a:xfrm>
                <a:off x="3196905" y="3945330"/>
                <a:ext cx="1222695" cy="1387773"/>
              </a:xfrm>
              <a:prstGeom prst="can">
                <a:avLst>
                  <a:gd name="adj" fmla="val 28748"/>
                </a:avLst>
              </a:prstGeom>
              <a:gradFill rotWithShape="1">
                <a:gsLst>
                  <a:gs pos="0">
                    <a:srgbClr val="525051">
                      <a:alpha val="31000"/>
                    </a:srgbClr>
                  </a:gs>
                  <a:gs pos="100000">
                    <a:srgbClr val="FFA514">
                      <a:alpha val="25000"/>
                    </a:srgbClr>
                  </a:gs>
                </a:gsLst>
                <a:lin ang="16200000" scaled="0"/>
              </a:gradFill>
              <a:ln>
                <a:gradFill>
                  <a:gsLst>
                    <a:gs pos="0">
                      <a:srgbClr val="FFA514">
                        <a:tint val="66000"/>
                        <a:satMod val="160000"/>
                        <a:alpha val="0"/>
                      </a:srgbClr>
                    </a:gs>
                    <a:gs pos="50000">
                      <a:srgbClr val="FFA514">
                        <a:lumMod val="60000"/>
                        <a:lumOff val="40000"/>
                      </a:srgbClr>
                    </a:gs>
                    <a:gs pos="100000">
                      <a:srgbClr val="FFA514">
                        <a:tint val="23500"/>
                        <a:satMod val="160000"/>
                        <a:alpha val="0"/>
                      </a:srgbClr>
                    </a:gs>
                  </a:gsLst>
                  <a:lin ang="0" scaled="0"/>
                </a:gradFill>
                <a:headEnd type="none" w="med" len="med"/>
                <a:tailEnd type="none" w="med" len="med"/>
              </a:ln>
              <a:effectLst>
                <a:reflection blurRad="6350" stA="52000" endA="300" endPos="35000" dir="5400000" sy="-100000" algn="bl" rotWithShape="0"/>
              </a:effectLst>
              <a:scene3d>
                <a:camera prst="orthographicFront">
                  <a:rot lat="0" lon="0" rev="0"/>
                </a:camera>
                <a:lightRig rig="threePt" dir="t">
                  <a:rot lat="0" lon="0" rev="1200000"/>
                </a:lightRig>
              </a:scene3d>
              <a:sp3d>
                <a:bevelT w="63500" h="25400"/>
              </a:sp3d>
            </p:spPr>
            <p:txBody>
              <a:bodyPr vert="horz" wrap="square" lIns="91436" tIns="45718" rIns="91436" bIns="45718" numCol="1" rtlCol="0" anchor="ctr" anchorCtr="0" compatLnSpc="1">
                <a:prstTxWarp prst="textNoShape">
                  <a:avLst/>
                </a:prstTxWarp>
              </a:bodyPr>
              <a:lstStyle/>
              <a:p>
                <a:pPr algn="ctr" defTabSz="816107">
                  <a:defRPr/>
                </a:pPr>
                <a:endParaRPr lang="en-US" sz="2200" kern="0" dirty="0">
                  <a:solidFill>
                    <a:srgbClr val="FFFFFF"/>
                  </a:solidFill>
                  <a:effectLst>
                    <a:outerShdw blurRad="38100" dist="38100" dir="2700000" algn="tl">
                      <a:srgbClr val="000000">
                        <a:alpha val="43137"/>
                      </a:srgbClr>
                    </a:outerShdw>
                  </a:effectLst>
                  <a:latin typeface="Segoe" pitchFamily="34" charset="0"/>
                </a:endParaRPr>
              </a:p>
            </p:txBody>
          </p:sp>
          <p:sp>
            <p:nvSpPr>
              <p:cNvPr id="109" name="TextBox 108"/>
              <p:cNvSpPr txBox="1"/>
              <p:nvPr/>
            </p:nvSpPr>
            <p:spPr>
              <a:xfrm>
                <a:off x="3178519" y="4398618"/>
                <a:ext cx="1246979" cy="1103232"/>
              </a:xfrm>
              <a:prstGeom prst="rect">
                <a:avLst/>
              </a:prstGeom>
              <a:noFill/>
              <a:effectLst>
                <a:outerShdw blurRad="50800" dist="38100" dir="5400000" algn="t" rotWithShape="0">
                  <a:prstClr val="black">
                    <a:alpha val="40000"/>
                  </a:prstClr>
                </a:outerShdw>
              </a:effectLst>
            </p:spPr>
            <p:txBody>
              <a:bodyPr wrap="square" rtlCol="0">
                <a:spAutoFit/>
              </a:bodyPr>
              <a:lstStyle/>
              <a:p>
                <a:pPr algn="ctr" defTabSz="816377">
                  <a:lnSpc>
                    <a:spcPts val="1250"/>
                  </a:lnSpc>
                  <a:defRPr/>
                </a:pPr>
                <a:r>
                  <a:rPr lang="en-US" sz="800" kern="0" dirty="0">
                    <a:solidFill>
                      <a:srgbClr val="FFFFFF"/>
                    </a:solidFill>
                  </a:rPr>
                  <a:t>Authentication</a:t>
                </a:r>
              </a:p>
              <a:p>
                <a:pPr algn="ctr" defTabSz="816377">
                  <a:lnSpc>
                    <a:spcPts val="1250"/>
                  </a:lnSpc>
                  <a:defRPr/>
                </a:pPr>
                <a:r>
                  <a:rPr lang="en-US" sz="800" kern="0" dirty="0">
                    <a:solidFill>
                      <a:srgbClr val="FFFFFF"/>
                    </a:solidFill>
                  </a:rPr>
                  <a:t>Administration</a:t>
                </a:r>
              </a:p>
              <a:p>
                <a:pPr algn="ctr" defTabSz="816377">
                  <a:lnSpc>
                    <a:spcPts val="1250"/>
                  </a:lnSpc>
                  <a:defRPr/>
                </a:pPr>
                <a:r>
                  <a:rPr lang="en-US" sz="800" kern="0" dirty="0">
                    <a:solidFill>
                      <a:srgbClr val="FFFFFF"/>
                    </a:solidFill>
                  </a:rPr>
                  <a:t>Storage</a:t>
                </a:r>
              </a:p>
            </p:txBody>
          </p:sp>
          <p:sp>
            <p:nvSpPr>
              <p:cNvPr id="110" name="Oval 109"/>
              <p:cNvSpPr/>
              <p:nvPr/>
            </p:nvSpPr>
            <p:spPr bwMode="auto">
              <a:xfrm>
                <a:off x="3200400" y="2514600"/>
                <a:ext cx="1219201" cy="449229"/>
              </a:xfrm>
              <a:prstGeom prst="ellipse">
                <a:avLst/>
              </a:prstGeom>
              <a:gradFill>
                <a:gsLst>
                  <a:gs pos="0">
                    <a:srgbClr val="FFFFFF">
                      <a:lumMod val="85000"/>
                      <a:alpha val="10000"/>
                    </a:srgbClr>
                  </a:gs>
                  <a:gs pos="100000">
                    <a:srgbClr val="FFFFFF">
                      <a:alpha val="72000"/>
                    </a:srgbClr>
                  </a:gs>
                </a:gsLst>
                <a:lin ang="5400000" scaled="0"/>
              </a:gradFill>
              <a:effectLst>
                <a:outerShdw blurRad="12700" dist="25400" dir="5400000" algn="t" rotWithShape="0">
                  <a:prstClr val="black">
                    <a:alpha val="13000"/>
                  </a:prstClr>
                </a:outerShdw>
              </a:effectLst>
            </p:spPr>
            <p:txBody>
              <a:bodyPr wrap="square" rtlCol="0">
                <a:noAutofit/>
              </a:bodyPr>
              <a:lstStyle/>
              <a:p>
                <a:pPr defTabSz="816377">
                  <a:defRPr/>
                </a:pPr>
                <a:endParaRPr lang="en-US" sz="3900" kern="0" dirty="0">
                  <a:gradFill>
                    <a:gsLst>
                      <a:gs pos="0">
                        <a:srgbClr val="FFFFFF"/>
                      </a:gs>
                      <a:gs pos="100000">
                        <a:srgbClr val="FFA514">
                          <a:lumMod val="60000"/>
                          <a:lumOff val="40000"/>
                        </a:srgbClr>
                      </a:gs>
                    </a:gsLst>
                    <a:lin ang="5400000" scaled="0"/>
                  </a:gradFill>
                </a:endParaRPr>
              </a:p>
            </p:txBody>
          </p:sp>
          <p:sp>
            <p:nvSpPr>
              <p:cNvPr id="111" name="TextBox 110"/>
              <p:cNvSpPr txBox="1"/>
              <p:nvPr/>
            </p:nvSpPr>
            <p:spPr>
              <a:xfrm>
                <a:off x="3166413" y="3235882"/>
                <a:ext cx="1283299" cy="662157"/>
              </a:xfrm>
              <a:prstGeom prst="rect">
                <a:avLst/>
              </a:prstGeom>
              <a:noFill/>
              <a:effectLst>
                <a:outerShdw blurRad="12700" dist="12700" dir="5400000" algn="t" rotWithShape="0">
                  <a:prstClr val="black">
                    <a:alpha val="40000"/>
                  </a:prstClr>
                </a:outerShdw>
                <a:reflection blurRad="6350" stA="50000" endA="300" endPos="55000" dir="5400000" sy="-100000" algn="bl" rotWithShape="0"/>
              </a:effectLst>
            </p:spPr>
            <p:txBody>
              <a:bodyPr wrap="square" rtlCol="0">
                <a:noAutofit/>
              </a:bodyPr>
              <a:lstStyle/>
              <a:p>
                <a:pPr algn="ctr" defTabSz="816377">
                  <a:defRPr/>
                </a:pPr>
                <a:r>
                  <a:rPr lang="en-US" sz="1300" b="1" kern="0" dirty="0">
                    <a:gradFill>
                      <a:gsLst>
                        <a:gs pos="0">
                          <a:srgbClr val="FFFFFF"/>
                        </a:gs>
                        <a:gs pos="100000">
                          <a:srgbClr val="FFA514">
                            <a:lumMod val="60000"/>
                            <a:lumOff val="40000"/>
                          </a:srgbClr>
                        </a:gs>
                      </a:gsLst>
                      <a:lin ang="5400000" scaled="0"/>
                    </a:gradFill>
                  </a:rPr>
                  <a:t>User </a:t>
                </a:r>
                <a:r>
                  <a:rPr lang="en-US" sz="900" b="1" kern="0" dirty="0">
                    <a:gradFill>
                      <a:gsLst>
                        <a:gs pos="0">
                          <a:srgbClr val="FFFFFF"/>
                        </a:gs>
                        <a:gs pos="100000">
                          <a:srgbClr val="FFA514">
                            <a:lumMod val="60000"/>
                            <a:lumOff val="40000"/>
                          </a:srgbClr>
                        </a:gs>
                      </a:gsLst>
                      <a:lin ang="5400000" scaled="0"/>
                    </a:gradFill>
                  </a:rPr>
                  <a:t>Experience</a:t>
                </a:r>
              </a:p>
            </p:txBody>
          </p:sp>
        </p:grpSp>
        <p:pic>
          <p:nvPicPr>
            <p:cNvPr id="106" name="Picture 3" descr="C:\Users\victor.melniciuc\Desktop\==Work\TDC deck\icons\audio.png"/>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8068733" y="2607733"/>
              <a:ext cx="423333" cy="316225"/>
            </a:xfrm>
            <a:prstGeom prst="rect">
              <a:avLst/>
            </a:prstGeom>
            <a:noFill/>
            <a:effectLst>
              <a:outerShdw blurRad="50800" dist="38100" dir="5400000" algn="t" rotWithShape="0">
                <a:prstClr val="black">
                  <a:alpha val="40000"/>
                </a:prstClr>
              </a:outerShdw>
            </a:effectLst>
          </p:spPr>
        </p:pic>
      </p:grpSp>
      <p:grpSp>
        <p:nvGrpSpPr>
          <p:cNvPr id="112" name="Group 275"/>
          <p:cNvGrpSpPr/>
          <p:nvPr/>
        </p:nvGrpSpPr>
        <p:grpSpPr>
          <a:xfrm>
            <a:off x="2964717" y="1657924"/>
            <a:ext cx="845073" cy="650676"/>
            <a:chOff x="10024532" y="1905000"/>
            <a:chExt cx="845073" cy="867569"/>
          </a:xfrm>
        </p:grpSpPr>
        <p:sp>
          <p:nvSpPr>
            <p:cNvPr id="113" name="Rounded Rectangle 112"/>
            <p:cNvSpPr/>
            <p:nvPr/>
          </p:nvSpPr>
          <p:spPr bwMode="auto">
            <a:xfrm>
              <a:off x="10066867" y="2057400"/>
              <a:ext cx="762000" cy="690292"/>
            </a:xfrm>
            <a:prstGeom prst="roundRect">
              <a:avLst>
                <a:gd name="adj" fmla="val 16880"/>
              </a:avLst>
            </a:prstGeom>
            <a:solidFill>
              <a:srgbClr val="000000">
                <a:alpha val="30000"/>
              </a:srgbClr>
            </a:solidFill>
            <a:ln>
              <a:noFill/>
              <a:headEnd type="none" w="med" len="med"/>
              <a:tailEnd type="none" w="med" len="med"/>
            </a:ln>
            <a:effectLst/>
            <a:scene3d>
              <a:camera prst="orthographicFront">
                <a:rot lat="0" lon="0" rev="0"/>
              </a:camera>
              <a:lightRig rig="threePt" dir="t">
                <a:rot lat="0" lon="0" rev="1200000"/>
              </a:lightRig>
            </a:scene3d>
            <a:sp3d>
              <a:bevelT w="0" h="0"/>
            </a:sp3d>
          </p:spPr>
          <p:txBody>
            <a:bodyPr vert="horz" wrap="square" lIns="91436" tIns="45718" rIns="91436" bIns="45718" numCol="1" rtlCol="0" anchor="ctr" anchorCtr="0" compatLnSpc="1">
              <a:prstTxWarp prst="textNoShape">
                <a:avLst/>
              </a:prstTxWarp>
            </a:bodyPr>
            <a:lstStyle/>
            <a:p>
              <a:pPr algn="ctr" defTabSz="816107">
                <a:defRPr/>
              </a:pPr>
              <a:endParaRPr lang="en-US" sz="2200" kern="0" dirty="0">
                <a:solidFill>
                  <a:srgbClr val="FFFFFF"/>
                </a:solidFill>
                <a:effectLst>
                  <a:outerShdw blurRad="38100" dist="38100" dir="2700000" algn="tl">
                    <a:srgbClr val="000000">
                      <a:alpha val="43137"/>
                    </a:srgbClr>
                  </a:outerShdw>
                </a:effectLst>
                <a:latin typeface="Segoe" pitchFamily="34" charset="0"/>
              </a:endParaRPr>
            </a:p>
          </p:txBody>
        </p:sp>
        <p:pic>
          <p:nvPicPr>
            <p:cNvPr id="114" name="Picture 3" descr="C:\Users\victor.melniciuc\Desktop\==Work\TDC deck\icons\phone.png"/>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10210800" y="1905000"/>
              <a:ext cx="493774" cy="482291"/>
            </a:xfrm>
            <a:prstGeom prst="rect">
              <a:avLst/>
            </a:prstGeom>
            <a:noFill/>
            <a:effectLst>
              <a:outerShdw blurRad="50800" dist="38100" dir="5400000" algn="t" rotWithShape="0">
                <a:prstClr val="black">
                  <a:alpha val="40000"/>
                </a:prstClr>
              </a:outerShdw>
            </a:effectLst>
          </p:spPr>
        </p:pic>
        <p:sp>
          <p:nvSpPr>
            <p:cNvPr id="115" name="Rectangle 114"/>
            <p:cNvSpPr/>
            <p:nvPr/>
          </p:nvSpPr>
          <p:spPr>
            <a:xfrm>
              <a:off x="10024532" y="2321163"/>
              <a:ext cx="845073" cy="451406"/>
            </a:xfrm>
            <a:prstGeom prst="rect">
              <a:avLst/>
            </a:prstGeom>
            <a:effectLst>
              <a:outerShdw blurRad="25400" dist="12700" dir="5400000" algn="t" rotWithShape="0">
                <a:prstClr val="black">
                  <a:alpha val="55000"/>
                </a:prstClr>
              </a:outerShdw>
            </a:effectLst>
          </p:spPr>
          <p:txBody>
            <a:bodyPr wrap="square" anchor="ctr">
              <a:spAutoFit/>
            </a:bodyPr>
            <a:lstStyle/>
            <a:p>
              <a:pPr algn="ctr" defTabSz="816377">
                <a:defRPr/>
              </a:pPr>
              <a:r>
                <a:rPr lang="en-US" sz="800" kern="0" spc="-45" dirty="0">
                  <a:solidFill>
                    <a:srgbClr val="FFFFFF"/>
                  </a:solidFill>
                  <a:latin typeface="Segoe"/>
                  <a:cs typeface="Arial" charset="0"/>
                </a:rPr>
                <a:t>Telephony and</a:t>
              </a:r>
            </a:p>
            <a:p>
              <a:pPr algn="ctr" defTabSz="816377">
                <a:defRPr/>
              </a:pPr>
              <a:r>
                <a:rPr lang="en-US" sz="800" kern="0" dirty="0">
                  <a:solidFill>
                    <a:srgbClr val="FFFFFF"/>
                  </a:solidFill>
                  <a:latin typeface="Segoe"/>
                  <a:cs typeface="Arial" charset="0"/>
                </a:rPr>
                <a:t>Voice Mail</a:t>
              </a:r>
            </a:p>
          </p:txBody>
        </p:sp>
      </p:grpSp>
      <p:grpSp>
        <p:nvGrpSpPr>
          <p:cNvPr id="116" name="Group 272"/>
          <p:cNvGrpSpPr/>
          <p:nvPr/>
        </p:nvGrpSpPr>
        <p:grpSpPr>
          <a:xfrm>
            <a:off x="5441894" y="1600774"/>
            <a:ext cx="909488" cy="605281"/>
            <a:chOff x="12501712" y="1828800"/>
            <a:chExt cx="909488" cy="807042"/>
          </a:xfrm>
        </p:grpSpPr>
        <p:sp>
          <p:nvSpPr>
            <p:cNvPr id="117" name="Rounded Rectangle 116"/>
            <p:cNvSpPr/>
            <p:nvPr/>
          </p:nvSpPr>
          <p:spPr bwMode="auto">
            <a:xfrm>
              <a:off x="12573000" y="1981200"/>
              <a:ext cx="762000" cy="635000"/>
            </a:xfrm>
            <a:prstGeom prst="roundRect">
              <a:avLst>
                <a:gd name="adj" fmla="val 19333"/>
              </a:avLst>
            </a:prstGeom>
            <a:solidFill>
              <a:srgbClr val="000000">
                <a:alpha val="30000"/>
              </a:srgbClr>
            </a:solidFill>
            <a:ln>
              <a:noFill/>
              <a:headEnd type="none" w="med" len="med"/>
              <a:tailEnd type="none" w="med" len="med"/>
            </a:ln>
            <a:effectLst/>
            <a:scene3d>
              <a:camera prst="orthographicFront">
                <a:rot lat="0" lon="0" rev="0"/>
              </a:camera>
              <a:lightRig rig="threePt" dir="t">
                <a:rot lat="0" lon="0" rev="1200000"/>
              </a:lightRig>
            </a:scene3d>
            <a:sp3d>
              <a:bevelT w="0" h="0"/>
            </a:sp3d>
          </p:spPr>
          <p:txBody>
            <a:bodyPr vert="horz" wrap="square" lIns="91436" tIns="45718" rIns="91436" bIns="45718" numCol="1" rtlCol="0" anchor="ctr" anchorCtr="0" compatLnSpc="1">
              <a:prstTxWarp prst="textNoShape">
                <a:avLst/>
              </a:prstTxWarp>
            </a:bodyPr>
            <a:lstStyle/>
            <a:p>
              <a:pPr algn="ctr" defTabSz="816107">
                <a:defRPr/>
              </a:pPr>
              <a:endParaRPr lang="en-US" sz="2200" kern="0" dirty="0">
                <a:solidFill>
                  <a:srgbClr val="FFFFFF"/>
                </a:solidFill>
                <a:effectLst>
                  <a:outerShdw blurRad="38100" dist="38100" dir="2700000" algn="tl">
                    <a:srgbClr val="000000">
                      <a:alpha val="43137"/>
                    </a:srgbClr>
                  </a:outerShdw>
                </a:effectLst>
                <a:latin typeface="Segoe" pitchFamily="34" charset="0"/>
              </a:endParaRPr>
            </a:p>
          </p:txBody>
        </p:sp>
        <p:pic>
          <p:nvPicPr>
            <p:cNvPr id="118" name="Picture 7" descr="C:\Users\victor.melniciuc\Desktop\==Work\TDC deck\icons\tasks.png"/>
            <p:cNvPicPr>
              <a:picLocks noChangeAspect="1" noChangeArrowheads="1"/>
            </p:cNvPicPr>
            <p:nvPr/>
          </p:nvPicPr>
          <p:blipFill>
            <a:blip r:embed="rId13" cstate="print"/>
            <a:srcRect/>
            <a:stretch>
              <a:fillRect/>
            </a:stretch>
          </p:blipFill>
          <p:spPr bwMode="auto">
            <a:xfrm>
              <a:off x="12725400" y="1828800"/>
              <a:ext cx="416873" cy="448455"/>
            </a:xfrm>
            <a:prstGeom prst="rect">
              <a:avLst/>
            </a:prstGeom>
            <a:noFill/>
            <a:effectLst>
              <a:outerShdw blurRad="50800" dist="38100" dir="5400000" algn="t" rotWithShape="0">
                <a:prstClr val="black">
                  <a:alpha val="40000"/>
                </a:prstClr>
              </a:outerShdw>
            </a:effectLst>
          </p:spPr>
        </p:pic>
        <p:sp>
          <p:nvSpPr>
            <p:cNvPr id="119" name="Text Box 13"/>
            <p:cNvSpPr txBox="1">
              <a:spLocks noChangeArrowheads="1"/>
            </p:cNvSpPr>
            <p:nvPr/>
          </p:nvSpPr>
          <p:spPr bwMode="auto">
            <a:xfrm>
              <a:off x="12501712" y="2250095"/>
              <a:ext cx="909488" cy="385747"/>
            </a:xfrm>
            <a:prstGeom prst="rect">
              <a:avLst/>
            </a:prstGeom>
            <a:noFill/>
            <a:ln w="12700" algn="ctr">
              <a:noFill/>
              <a:miter lim="800000"/>
              <a:headEnd/>
              <a:tailEnd/>
            </a:ln>
            <a:effectLst>
              <a:outerShdw blurRad="25400" dist="12700" dir="5400000" algn="t" rotWithShape="0">
                <a:prstClr val="black">
                  <a:alpha val="55000"/>
                </a:prstClr>
              </a:outerShdw>
            </a:effectLst>
          </p:spPr>
          <p:txBody>
            <a:bodyPr vert="horz" wrap="square" lIns="91440" tIns="45720" rIns="91440" bIns="45720" numCol="1" anchor="ctr" anchorCtr="0" compatLnSpc="1">
              <a:prstTxWarp prst="textNoShape">
                <a:avLst/>
              </a:prstTxWarp>
              <a:spAutoFit/>
            </a:bodyPr>
            <a:lstStyle/>
            <a:p>
              <a:pPr algn="ctr" defTabSz="816377">
                <a:lnSpc>
                  <a:spcPct val="80000"/>
                </a:lnSpc>
                <a:defRPr/>
              </a:pPr>
              <a:r>
                <a:rPr lang="en-US" sz="800" kern="0" dirty="0">
                  <a:solidFill>
                    <a:srgbClr val="FFFFFF"/>
                  </a:solidFill>
                  <a:latin typeface="Segoe"/>
                  <a:cs typeface="Arial" charset="0"/>
                </a:rPr>
                <a:t>Instant</a:t>
              </a:r>
              <a:br>
                <a:rPr lang="en-US" sz="800" kern="0" dirty="0">
                  <a:solidFill>
                    <a:srgbClr val="FFFFFF"/>
                  </a:solidFill>
                  <a:latin typeface="Segoe"/>
                  <a:cs typeface="Arial" charset="0"/>
                </a:rPr>
              </a:br>
              <a:r>
                <a:rPr lang="en-US" sz="800" kern="0" dirty="0">
                  <a:solidFill>
                    <a:srgbClr val="FFFFFF"/>
                  </a:solidFill>
                  <a:latin typeface="Segoe"/>
                  <a:cs typeface="Arial" charset="0"/>
                </a:rPr>
                <a:t>Messaging</a:t>
              </a:r>
            </a:p>
          </p:txBody>
        </p:sp>
      </p:grpSp>
      <p:grpSp>
        <p:nvGrpSpPr>
          <p:cNvPr id="120" name="Group 274"/>
          <p:cNvGrpSpPr/>
          <p:nvPr/>
        </p:nvGrpSpPr>
        <p:grpSpPr>
          <a:xfrm>
            <a:off x="3811385" y="1836328"/>
            <a:ext cx="838199" cy="566548"/>
            <a:chOff x="10871200" y="2142871"/>
            <a:chExt cx="838199" cy="755398"/>
          </a:xfrm>
        </p:grpSpPr>
        <p:sp>
          <p:nvSpPr>
            <p:cNvPr id="121" name="Rounded Rectangle 120"/>
            <p:cNvSpPr/>
            <p:nvPr/>
          </p:nvSpPr>
          <p:spPr bwMode="auto">
            <a:xfrm>
              <a:off x="10896600" y="2243627"/>
              <a:ext cx="762000" cy="635000"/>
            </a:xfrm>
            <a:prstGeom prst="roundRect">
              <a:avLst>
                <a:gd name="adj" fmla="val 19333"/>
              </a:avLst>
            </a:prstGeom>
            <a:solidFill>
              <a:srgbClr val="000000">
                <a:alpha val="30000"/>
              </a:srgbClr>
            </a:solidFill>
            <a:ln>
              <a:noFill/>
              <a:headEnd type="none" w="med" len="med"/>
              <a:tailEnd type="none" w="med" len="med"/>
            </a:ln>
            <a:effectLst/>
            <a:scene3d>
              <a:camera prst="orthographicFront">
                <a:rot lat="0" lon="0" rev="0"/>
              </a:camera>
              <a:lightRig rig="threePt" dir="t">
                <a:rot lat="0" lon="0" rev="1200000"/>
              </a:lightRig>
            </a:scene3d>
            <a:sp3d>
              <a:bevelT w="0" h="0"/>
            </a:sp3d>
          </p:spPr>
          <p:txBody>
            <a:bodyPr vert="horz" wrap="square" lIns="91436" tIns="45718" rIns="91436" bIns="45718" numCol="1" rtlCol="0" anchor="ctr" anchorCtr="0" compatLnSpc="1">
              <a:prstTxWarp prst="textNoShape">
                <a:avLst/>
              </a:prstTxWarp>
            </a:bodyPr>
            <a:lstStyle/>
            <a:p>
              <a:pPr algn="ctr" defTabSz="816107">
                <a:defRPr/>
              </a:pPr>
              <a:endParaRPr lang="en-US" sz="2200" kern="0" dirty="0">
                <a:solidFill>
                  <a:srgbClr val="FFFFFF"/>
                </a:solidFill>
                <a:effectLst>
                  <a:outerShdw blurRad="38100" dist="38100" dir="2700000" algn="tl">
                    <a:srgbClr val="000000">
                      <a:alpha val="43137"/>
                    </a:srgbClr>
                  </a:outerShdw>
                </a:effectLst>
                <a:latin typeface="Segoe" pitchFamily="34" charset="0"/>
              </a:endParaRPr>
            </a:p>
          </p:txBody>
        </p:sp>
        <p:grpSp>
          <p:nvGrpSpPr>
            <p:cNvPr id="122" name="Group 16"/>
            <p:cNvGrpSpPr/>
            <p:nvPr/>
          </p:nvGrpSpPr>
          <p:grpSpPr>
            <a:xfrm>
              <a:off x="11021598" y="2142871"/>
              <a:ext cx="560802" cy="403489"/>
              <a:chOff x="3429129" y="616444"/>
              <a:chExt cx="741363" cy="533401"/>
            </a:xfrm>
          </p:grpSpPr>
          <p:pic>
            <p:nvPicPr>
              <p:cNvPr id="124" name="Picture 4" descr="C:\Users\victor.melniciuc\Desktop\==Work\TDC deck\icons\calendar.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3429129" y="616444"/>
                <a:ext cx="485562" cy="471488"/>
              </a:xfrm>
              <a:prstGeom prst="rect">
                <a:avLst/>
              </a:prstGeom>
              <a:noFill/>
              <a:effectLst>
                <a:outerShdw blurRad="50800" dist="38100" dir="5400000" algn="t" rotWithShape="0">
                  <a:prstClr val="black">
                    <a:alpha val="40000"/>
                  </a:prstClr>
                </a:outerShdw>
              </a:effectLst>
            </p:spPr>
          </p:pic>
          <p:pic>
            <p:nvPicPr>
              <p:cNvPr id="125" name="Picture 5" descr="C:\Users\victor.melniciuc\Desktop\==Work\TDC deck\icons\email.pn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rot="21202754">
                <a:off x="3733929" y="768845"/>
                <a:ext cx="436563" cy="381000"/>
              </a:xfrm>
              <a:prstGeom prst="rect">
                <a:avLst/>
              </a:prstGeom>
              <a:noFill/>
              <a:effectLst>
                <a:outerShdw blurRad="50800" dist="38100" dir="5400000" algn="t" rotWithShape="0">
                  <a:prstClr val="black">
                    <a:alpha val="40000"/>
                  </a:prstClr>
                </a:outerShdw>
              </a:effectLst>
            </p:spPr>
          </p:pic>
        </p:grpSp>
        <p:sp>
          <p:nvSpPr>
            <p:cNvPr id="123" name="Text Box 14"/>
            <p:cNvSpPr txBox="1">
              <a:spLocks noChangeArrowheads="1"/>
            </p:cNvSpPr>
            <p:nvPr/>
          </p:nvSpPr>
          <p:spPr bwMode="auto">
            <a:xfrm>
              <a:off x="10871200" y="2512522"/>
              <a:ext cx="838199" cy="385747"/>
            </a:xfrm>
            <a:prstGeom prst="rect">
              <a:avLst/>
            </a:prstGeom>
            <a:noFill/>
            <a:ln w="12700" algn="ctr">
              <a:noFill/>
              <a:miter lim="800000"/>
              <a:headEnd/>
              <a:tailEnd/>
            </a:ln>
            <a:effectLst>
              <a:outerShdw blurRad="25400" dist="12700" dir="5400000" algn="t" rotWithShape="0">
                <a:prstClr val="black">
                  <a:alpha val="55000"/>
                </a:prstClr>
              </a:outerShdw>
            </a:effectLst>
          </p:spPr>
          <p:txBody>
            <a:bodyPr vert="horz" wrap="square" lIns="91440" tIns="45720" rIns="91440" bIns="45720" numCol="1" anchor="ctr" anchorCtr="0" compatLnSpc="1">
              <a:prstTxWarp prst="textNoShape">
                <a:avLst/>
              </a:prstTxWarp>
              <a:spAutoFit/>
            </a:bodyPr>
            <a:lstStyle/>
            <a:p>
              <a:pPr algn="ctr" defTabSz="816377">
                <a:lnSpc>
                  <a:spcPct val="80000"/>
                </a:lnSpc>
                <a:defRPr/>
              </a:pPr>
              <a:r>
                <a:rPr lang="en-US" sz="800" kern="0" dirty="0">
                  <a:solidFill>
                    <a:srgbClr val="FFFFFF"/>
                  </a:solidFill>
                  <a:latin typeface="Segoe"/>
                  <a:cs typeface="Arial" charset="0"/>
                </a:rPr>
                <a:t>E-mail and</a:t>
              </a:r>
              <a:br>
                <a:rPr lang="en-US" sz="800" kern="0" dirty="0">
                  <a:solidFill>
                    <a:srgbClr val="FFFFFF"/>
                  </a:solidFill>
                  <a:latin typeface="Segoe"/>
                  <a:cs typeface="Arial" charset="0"/>
                </a:rPr>
              </a:br>
              <a:r>
                <a:rPr lang="en-US" sz="800" kern="0" dirty="0">
                  <a:solidFill>
                    <a:srgbClr val="FFFFFF"/>
                  </a:solidFill>
                  <a:latin typeface="Segoe"/>
                  <a:cs typeface="Arial" charset="0"/>
                </a:rPr>
                <a:t>Calendaring</a:t>
              </a:r>
            </a:p>
          </p:txBody>
        </p:sp>
      </p:grpSp>
      <p:grpSp>
        <p:nvGrpSpPr>
          <p:cNvPr id="126" name="Group 273"/>
          <p:cNvGrpSpPr/>
          <p:nvPr/>
        </p:nvGrpSpPr>
        <p:grpSpPr>
          <a:xfrm>
            <a:off x="4598786" y="1715076"/>
            <a:ext cx="914399" cy="787350"/>
            <a:chOff x="11658601" y="1981200"/>
            <a:chExt cx="914399" cy="1049801"/>
          </a:xfrm>
        </p:grpSpPr>
        <p:sp>
          <p:nvSpPr>
            <p:cNvPr id="127" name="Rounded Rectangle 126"/>
            <p:cNvSpPr/>
            <p:nvPr/>
          </p:nvSpPr>
          <p:spPr bwMode="auto">
            <a:xfrm>
              <a:off x="11734800" y="2133600"/>
              <a:ext cx="762000" cy="842692"/>
            </a:xfrm>
            <a:prstGeom prst="roundRect">
              <a:avLst>
                <a:gd name="adj" fmla="val 13675"/>
              </a:avLst>
            </a:prstGeom>
            <a:solidFill>
              <a:srgbClr val="000000">
                <a:alpha val="30000"/>
              </a:srgbClr>
            </a:solidFill>
            <a:ln>
              <a:noFill/>
              <a:headEnd type="none" w="med" len="med"/>
              <a:tailEnd type="none" w="med" len="med"/>
            </a:ln>
            <a:effectLst/>
            <a:scene3d>
              <a:camera prst="orthographicFront">
                <a:rot lat="0" lon="0" rev="0"/>
              </a:camera>
              <a:lightRig rig="threePt" dir="t">
                <a:rot lat="0" lon="0" rev="1200000"/>
              </a:lightRig>
            </a:scene3d>
            <a:sp3d>
              <a:bevelT w="0" h="0"/>
            </a:sp3d>
          </p:spPr>
          <p:txBody>
            <a:bodyPr vert="horz" wrap="square" lIns="91436" tIns="45718" rIns="91436" bIns="45718" numCol="1" rtlCol="0" anchor="ctr" anchorCtr="0" compatLnSpc="1">
              <a:prstTxWarp prst="textNoShape">
                <a:avLst/>
              </a:prstTxWarp>
            </a:bodyPr>
            <a:lstStyle/>
            <a:p>
              <a:pPr algn="ctr" defTabSz="816107">
                <a:defRPr/>
              </a:pPr>
              <a:endParaRPr lang="en-US" sz="2200" kern="0" dirty="0">
                <a:solidFill>
                  <a:srgbClr val="FFFFFF"/>
                </a:solidFill>
                <a:effectLst>
                  <a:outerShdw blurRad="38100" dist="38100" dir="2700000" algn="tl">
                    <a:srgbClr val="000000">
                      <a:alpha val="43137"/>
                    </a:srgbClr>
                  </a:outerShdw>
                </a:effectLst>
                <a:latin typeface="Segoe" pitchFamily="34" charset="0"/>
              </a:endParaRPr>
            </a:p>
          </p:txBody>
        </p:sp>
        <p:pic>
          <p:nvPicPr>
            <p:cNvPr id="128" name="Picture 6" descr="C:\Users\victor.melniciuc\Desktop\==Work\TDC deck\icons\conferencing.png"/>
            <p:cNvPicPr>
              <a:picLocks noChangeAspect="1" noChangeArrowheads="1"/>
            </p:cNvPicPr>
            <p:nvPr/>
          </p:nvPicPr>
          <p:blipFill>
            <a:blip r:embed="rId12" cstate="print"/>
            <a:srcRect/>
            <a:stretch>
              <a:fillRect/>
            </a:stretch>
          </p:blipFill>
          <p:spPr bwMode="auto">
            <a:xfrm>
              <a:off x="11943498" y="1981200"/>
              <a:ext cx="372858" cy="448693"/>
            </a:xfrm>
            <a:prstGeom prst="rect">
              <a:avLst/>
            </a:prstGeom>
            <a:noFill/>
            <a:effectLst>
              <a:outerShdw blurRad="50800" dist="38100" dir="5400000" algn="t" rotWithShape="0">
                <a:prstClr val="black">
                  <a:alpha val="40000"/>
                </a:prstClr>
              </a:outerShdw>
            </a:effectLst>
          </p:spPr>
        </p:pic>
        <p:sp>
          <p:nvSpPr>
            <p:cNvPr id="129" name="Text Box 4"/>
            <p:cNvSpPr txBox="1">
              <a:spLocks noChangeArrowheads="1"/>
            </p:cNvSpPr>
            <p:nvPr/>
          </p:nvSpPr>
          <p:spPr bwMode="auto">
            <a:xfrm>
              <a:off x="11658601" y="2382618"/>
              <a:ext cx="914399" cy="648383"/>
            </a:xfrm>
            <a:prstGeom prst="rect">
              <a:avLst/>
            </a:prstGeom>
            <a:noFill/>
            <a:ln w="12700" algn="ctr">
              <a:noFill/>
              <a:miter lim="800000"/>
              <a:headEnd/>
              <a:tailEnd/>
            </a:ln>
            <a:effectLst>
              <a:outerShdw blurRad="25400" dist="12700" dir="5400000" algn="t" rotWithShape="0">
                <a:prstClr val="black">
                  <a:alpha val="55000"/>
                </a:prstClr>
              </a:outerShdw>
            </a:effectLst>
          </p:spPr>
          <p:txBody>
            <a:bodyPr vert="horz" wrap="square" lIns="91440" tIns="45720" rIns="91440" bIns="45720" numCol="1" anchor="ctr" anchorCtr="0" compatLnSpc="1">
              <a:prstTxWarp prst="textNoShape">
                <a:avLst/>
              </a:prstTxWarp>
              <a:spAutoFit/>
            </a:bodyPr>
            <a:lstStyle/>
            <a:p>
              <a:pPr algn="ctr" defTabSz="816377">
                <a:lnSpc>
                  <a:spcPct val="80000"/>
                </a:lnSpc>
                <a:defRPr/>
              </a:pPr>
              <a:r>
                <a:rPr lang="en-US" sz="800" kern="0" dirty="0">
                  <a:solidFill>
                    <a:srgbClr val="FFFFFF"/>
                  </a:solidFill>
                  <a:latin typeface="Segoe"/>
                  <a:cs typeface="Arial" charset="0"/>
                </a:rPr>
                <a:t>Unified Conferencing: Audio, Video, Web</a:t>
              </a:r>
            </a:p>
          </p:txBody>
        </p:sp>
      </p:grpSp>
      <p:sp>
        <p:nvSpPr>
          <p:cNvPr id="130" name="Title 1"/>
          <p:cNvSpPr txBox="1">
            <a:spLocks/>
          </p:cNvSpPr>
          <p:nvPr/>
        </p:nvSpPr>
        <p:spPr>
          <a:xfrm>
            <a:off x="376102" y="170485"/>
            <a:ext cx="8382000" cy="457049"/>
          </a:xfrm>
          <a:prstGeom prst="rect">
            <a:avLst/>
          </a:prstGeom>
        </p:spPr>
        <p:txBody>
          <a:bodyPr vert="horz" wrap="square" lIns="0" tIns="0" rIns="0" bIns="0" rtlCol="0" anchor="t" anchorCtr="0">
            <a:noAutofit/>
          </a:bodyPr>
          <a:lstStyle>
            <a:lvl1pPr algn="l" defTabSz="914363" rtl="0" eaLnBrk="1" latinLnBrk="0" hangingPunct="1">
              <a:lnSpc>
                <a:spcPct val="90000"/>
              </a:lnSpc>
              <a:spcBef>
                <a:spcPct val="0"/>
              </a:spcBef>
              <a:buNone/>
              <a:defRPr sz="3600" b="0" kern="1200" cap="none" spc="0">
                <a:ln w="3175">
                  <a:noFill/>
                </a:ln>
                <a:solidFill>
                  <a:schemeClr val="bg1"/>
                </a:solidFill>
                <a:effectLst/>
                <a:latin typeface="Segoe Light" pitchFamily="34" charset="0"/>
                <a:ea typeface="+mn-ea"/>
                <a:cs typeface="Arial" pitchFamily="34" charset="0"/>
              </a:defRPr>
            </a:lvl1pPr>
          </a:lstStyle>
          <a:p>
            <a:pPr algn="ctr"/>
            <a:r>
              <a:rPr lang="en-US" dirty="0" smtClean="0">
                <a:solidFill>
                  <a:schemeClr val="tx1"/>
                </a:solidFill>
                <a:latin typeface="+mj-lt"/>
                <a:sym typeface="Wingdings" pitchFamily="2" charset="2"/>
              </a:rPr>
              <a:t>Future of Communications</a:t>
            </a:r>
            <a:endParaRPr lang="en-US" dirty="0">
              <a:solidFill>
                <a:schemeClr val="tx1"/>
              </a:solidFill>
              <a:latin typeface="+mj-lt"/>
              <a:sym typeface="Wingdings" pitchFamily="2" charset="2"/>
            </a:endParaRPr>
          </a:p>
        </p:txBody>
      </p:sp>
      <p:sp>
        <p:nvSpPr>
          <p:cNvPr id="131" name="Text Box 44"/>
          <p:cNvSpPr txBox="1">
            <a:spLocks noChangeArrowheads="1"/>
          </p:cNvSpPr>
          <p:nvPr/>
        </p:nvSpPr>
        <p:spPr bwMode="auto">
          <a:xfrm>
            <a:off x="-9505" y="4731990"/>
            <a:ext cx="9165273" cy="440086"/>
          </a:xfrm>
          <a:prstGeom prst="rect">
            <a:avLst/>
          </a:prstGeom>
          <a:gradFill>
            <a:gsLst>
              <a:gs pos="0">
                <a:schemeClr val="accent1">
                  <a:lumMod val="60000"/>
                  <a:lumOff val="40000"/>
                  <a:alpha val="0"/>
                </a:schemeClr>
              </a:gs>
              <a:gs pos="100000">
                <a:schemeClr val="accent1">
                  <a:lumMod val="75000"/>
                </a:schemeClr>
              </a:gs>
              <a:gs pos="100000">
                <a:srgbClr val="FFFFFF"/>
              </a:gs>
            </a:gsLst>
            <a:lin ang="16200000" scaled="1"/>
          </a:gradFill>
          <a:ln w="19050" algn="ctr">
            <a:noFill/>
            <a:miter lim="800000"/>
            <a:headEnd/>
            <a:tailEnd/>
          </a:ln>
          <a:effectLst>
            <a:outerShdw blurRad="177800" dist="38100" dir="5400000" algn="t" rotWithShape="0">
              <a:prstClr val="black">
                <a:alpha val="40000"/>
              </a:prstClr>
            </a:outerShdw>
          </a:effectLst>
        </p:spPr>
        <p:txBody>
          <a:bodyPr vert="horz" wrap="square" lIns="0" tIns="0" rIns="0" bIns="81627" numCol="1" anchor="ctr" anchorCtr="0" compatLnSpc="1">
            <a:prstTxWarp prst="textNoShape">
              <a:avLst/>
            </a:prstTxWarp>
            <a:noAutofit/>
          </a:bodyPr>
          <a:lstStyle/>
          <a:p>
            <a:pPr marL="107717" algn="ctr" defTabSz="816377">
              <a:lnSpc>
                <a:spcPts val="2321"/>
              </a:lnSpc>
              <a:defRPr/>
            </a:pPr>
            <a:r>
              <a:rPr lang="en-US" sz="1800" b="1" kern="0" dirty="0">
                <a:solidFill>
                  <a:srgbClr val="FFFFFF"/>
                </a:solidFill>
                <a:effectLst>
                  <a:outerShdw blurRad="50800" dist="38100" dir="5400000" algn="t" rotWithShape="0">
                    <a:prstClr val="black">
                      <a:alpha val="40000"/>
                    </a:prstClr>
                  </a:outerShdw>
                </a:effectLst>
              </a:rPr>
              <a:t>On-Premises                     Hybrid                     In the Cloud</a:t>
            </a:r>
          </a:p>
        </p:txBody>
      </p:sp>
      <p:sp>
        <p:nvSpPr>
          <p:cNvPr id="132"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33"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5"/>
              </a:rPr>
              <a:t>www.rapidbbs.cn</a:t>
            </a:r>
            <a:endParaRPr lang="zh-CN" altLang="en-US" sz="1200" b="0">
              <a:latin typeface="Arial" charset="0"/>
              <a:ea typeface="ＭＳ Ｐゴシック" pitchFamily="34" charset="-128"/>
            </a:endParaRPr>
          </a:p>
        </p:txBody>
      </p:sp>
      <p:pic>
        <p:nvPicPr>
          <p:cNvPr id="134" name="Picture 2">
            <a:hlinkClick r:id="rId15"/>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01790412"/>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nodeType="withEffect">
                                  <p:stCondLst>
                                    <p:cond delay="0"/>
                                  </p:stCondLst>
                                  <p:childTnLst>
                                    <p:set>
                                      <p:cBhvr>
                                        <p:cTn id="6" dur="1" fill="hold">
                                          <p:stCondLst>
                                            <p:cond delay="0"/>
                                          </p:stCondLst>
                                        </p:cTn>
                                        <p:tgtEl>
                                          <p:spTgt spid="50"/>
                                        </p:tgtEl>
                                        <p:attrNameLst>
                                          <p:attrName>style.visibility</p:attrName>
                                        </p:attrNameLst>
                                      </p:cBhvr>
                                      <p:to>
                                        <p:strVal val="visible"/>
                                      </p:to>
                                    </p:set>
                                    <p:anim calcmode="lin" valueType="num">
                                      <p:cBhvr>
                                        <p:cTn id="7" dur="500" fill="hold"/>
                                        <p:tgtEl>
                                          <p:spTgt spid="50"/>
                                        </p:tgtEl>
                                        <p:attrNameLst>
                                          <p:attrName>ppt_w</p:attrName>
                                        </p:attrNameLst>
                                      </p:cBhvr>
                                      <p:tavLst>
                                        <p:tav tm="0">
                                          <p:val>
                                            <p:fltVal val="0"/>
                                          </p:val>
                                        </p:tav>
                                        <p:tav tm="100000">
                                          <p:val>
                                            <p:strVal val="#ppt_w"/>
                                          </p:val>
                                        </p:tav>
                                      </p:tavLst>
                                    </p:anim>
                                    <p:anim calcmode="lin" valueType="num">
                                      <p:cBhvr>
                                        <p:cTn id="8" dur="500" fill="hold"/>
                                        <p:tgtEl>
                                          <p:spTgt spid="50"/>
                                        </p:tgtEl>
                                        <p:attrNameLst>
                                          <p:attrName>ppt_h</p:attrName>
                                        </p:attrNameLst>
                                      </p:cBhvr>
                                      <p:tavLst>
                                        <p:tav tm="0">
                                          <p:val>
                                            <p:fltVal val="0"/>
                                          </p:val>
                                        </p:tav>
                                        <p:tav tm="100000">
                                          <p:val>
                                            <p:strVal val="#ppt_h"/>
                                          </p:val>
                                        </p:tav>
                                      </p:tavLst>
                                    </p:anim>
                                    <p:animEffect transition="in" filter="fade">
                                      <p:cBhvr>
                                        <p:cTn id="9" dur="500"/>
                                        <p:tgtEl>
                                          <p:spTgt spid="50"/>
                                        </p:tgtEl>
                                      </p:cBhvr>
                                    </p:animEffect>
                                  </p:childTnLst>
                                </p:cTn>
                              </p:par>
                              <p:par>
                                <p:cTn id="10" presetID="10" presetClass="entr" presetSubtype="0" fill="hold" nodeType="withEffect">
                                  <p:stCondLst>
                                    <p:cond delay="0"/>
                                  </p:stCondLst>
                                  <p:childTnLst>
                                    <p:set>
                                      <p:cBhvr>
                                        <p:cTn id="11" dur="1" fill="hold">
                                          <p:stCondLst>
                                            <p:cond delay="0"/>
                                          </p:stCondLst>
                                        </p:cTn>
                                        <p:tgtEl>
                                          <p:spTgt spid="96"/>
                                        </p:tgtEl>
                                        <p:attrNameLst>
                                          <p:attrName>style.visibility</p:attrName>
                                        </p:attrNameLst>
                                      </p:cBhvr>
                                      <p:to>
                                        <p:strVal val="visible"/>
                                      </p:to>
                                    </p:set>
                                    <p:animEffect transition="in" filter="fade">
                                      <p:cBhvr>
                                        <p:cTn id="12" dur="1000"/>
                                        <p:tgtEl>
                                          <p:spTgt spid="96"/>
                                        </p:tgtEl>
                                      </p:cBhvr>
                                    </p:animEffect>
                                  </p:childTnLst>
                                </p:cTn>
                              </p:par>
                              <p:par>
                                <p:cTn id="13" presetID="53" presetClass="entr" presetSubtype="0" fill="hold" nodeType="withEffect">
                                  <p:stCondLst>
                                    <p:cond delay="300"/>
                                  </p:stCondLst>
                                  <p:childTnLst>
                                    <p:set>
                                      <p:cBhvr>
                                        <p:cTn id="14" dur="1" fill="hold">
                                          <p:stCondLst>
                                            <p:cond delay="0"/>
                                          </p:stCondLst>
                                        </p:cTn>
                                        <p:tgtEl>
                                          <p:spTgt spid="46"/>
                                        </p:tgtEl>
                                        <p:attrNameLst>
                                          <p:attrName>style.visibility</p:attrName>
                                        </p:attrNameLst>
                                      </p:cBhvr>
                                      <p:to>
                                        <p:strVal val="visible"/>
                                      </p:to>
                                    </p:set>
                                    <p:anim calcmode="lin" valueType="num">
                                      <p:cBhvr>
                                        <p:cTn id="15" dur="500" fill="hold"/>
                                        <p:tgtEl>
                                          <p:spTgt spid="46"/>
                                        </p:tgtEl>
                                        <p:attrNameLst>
                                          <p:attrName>ppt_w</p:attrName>
                                        </p:attrNameLst>
                                      </p:cBhvr>
                                      <p:tavLst>
                                        <p:tav tm="0">
                                          <p:val>
                                            <p:fltVal val="0"/>
                                          </p:val>
                                        </p:tav>
                                        <p:tav tm="100000">
                                          <p:val>
                                            <p:strVal val="#ppt_w"/>
                                          </p:val>
                                        </p:tav>
                                      </p:tavLst>
                                    </p:anim>
                                    <p:anim calcmode="lin" valueType="num">
                                      <p:cBhvr>
                                        <p:cTn id="16" dur="500" fill="hold"/>
                                        <p:tgtEl>
                                          <p:spTgt spid="46"/>
                                        </p:tgtEl>
                                        <p:attrNameLst>
                                          <p:attrName>ppt_h</p:attrName>
                                        </p:attrNameLst>
                                      </p:cBhvr>
                                      <p:tavLst>
                                        <p:tav tm="0">
                                          <p:val>
                                            <p:fltVal val="0"/>
                                          </p:val>
                                        </p:tav>
                                        <p:tav tm="100000">
                                          <p:val>
                                            <p:strVal val="#ppt_h"/>
                                          </p:val>
                                        </p:tav>
                                      </p:tavLst>
                                    </p:anim>
                                    <p:animEffect transition="in" filter="fade">
                                      <p:cBhvr>
                                        <p:cTn id="17" dur="500"/>
                                        <p:tgtEl>
                                          <p:spTgt spid="46"/>
                                        </p:tgtEl>
                                      </p:cBhvr>
                                    </p:animEffect>
                                  </p:childTnLst>
                                </p:cTn>
                              </p:par>
                              <p:par>
                                <p:cTn id="18" presetID="10" presetClass="entr" presetSubtype="0" fill="hold" nodeType="withEffect">
                                  <p:stCondLst>
                                    <p:cond delay="300"/>
                                  </p:stCondLst>
                                  <p:childTnLst>
                                    <p:set>
                                      <p:cBhvr>
                                        <p:cTn id="19" dur="1" fill="hold">
                                          <p:stCondLst>
                                            <p:cond delay="0"/>
                                          </p:stCondLst>
                                        </p:cTn>
                                        <p:tgtEl>
                                          <p:spTgt spid="72"/>
                                        </p:tgtEl>
                                        <p:attrNameLst>
                                          <p:attrName>style.visibility</p:attrName>
                                        </p:attrNameLst>
                                      </p:cBhvr>
                                      <p:to>
                                        <p:strVal val="visible"/>
                                      </p:to>
                                    </p:set>
                                    <p:animEffect transition="in" filter="fade">
                                      <p:cBhvr>
                                        <p:cTn id="20" dur="1000"/>
                                        <p:tgtEl>
                                          <p:spTgt spid="72"/>
                                        </p:tgtEl>
                                      </p:cBhvr>
                                    </p:animEffect>
                                  </p:childTnLst>
                                </p:cTn>
                              </p:par>
                              <p:par>
                                <p:cTn id="21" presetID="53" presetClass="entr" presetSubtype="0" fill="hold" nodeType="withEffect">
                                  <p:stCondLst>
                                    <p:cond delay="600"/>
                                  </p:stCondLst>
                                  <p:childTnLst>
                                    <p:set>
                                      <p:cBhvr>
                                        <p:cTn id="22" dur="1" fill="hold">
                                          <p:stCondLst>
                                            <p:cond delay="0"/>
                                          </p:stCondLst>
                                        </p:cTn>
                                        <p:tgtEl>
                                          <p:spTgt spid="42"/>
                                        </p:tgtEl>
                                        <p:attrNameLst>
                                          <p:attrName>style.visibility</p:attrName>
                                        </p:attrNameLst>
                                      </p:cBhvr>
                                      <p:to>
                                        <p:strVal val="visible"/>
                                      </p:to>
                                    </p:set>
                                    <p:anim calcmode="lin" valueType="num">
                                      <p:cBhvr>
                                        <p:cTn id="23" dur="500" fill="hold"/>
                                        <p:tgtEl>
                                          <p:spTgt spid="42"/>
                                        </p:tgtEl>
                                        <p:attrNameLst>
                                          <p:attrName>ppt_w</p:attrName>
                                        </p:attrNameLst>
                                      </p:cBhvr>
                                      <p:tavLst>
                                        <p:tav tm="0">
                                          <p:val>
                                            <p:fltVal val="0"/>
                                          </p:val>
                                        </p:tav>
                                        <p:tav tm="100000">
                                          <p:val>
                                            <p:strVal val="#ppt_w"/>
                                          </p:val>
                                        </p:tav>
                                      </p:tavLst>
                                    </p:anim>
                                    <p:anim calcmode="lin" valueType="num">
                                      <p:cBhvr>
                                        <p:cTn id="24" dur="500" fill="hold"/>
                                        <p:tgtEl>
                                          <p:spTgt spid="42"/>
                                        </p:tgtEl>
                                        <p:attrNameLst>
                                          <p:attrName>ppt_h</p:attrName>
                                        </p:attrNameLst>
                                      </p:cBhvr>
                                      <p:tavLst>
                                        <p:tav tm="0">
                                          <p:val>
                                            <p:fltVal val="0"/>
                                          </p:val>
                                        </p:tav>
                                        <p:tav tm="100000">
                                          <p:val>
                                            <p:strVal val="#ppt_h"/>
                                          </p:val>
                                        </p:tav>
                                      </p:tavLst>
                                    </p:anim>
                                    <p:animEffect transition="in" filter="fade">
                                      <p:cBhvr>
                                        <p:cTn id="25" dur="500"/>
                                        <p:tgtEl>
                                          <p:spTgt spid="42"/>
                                        </p:tgtEl>
                                      </p:cBhvr>
                                    </p:animEffect>
                                  </p:childTnLst>
                                </p:cTn>
                              </p:par>
                              <p:par>
                                <p:cTn id="26" presetID="10" presetClass="entr" presetSubtype="0" fill="hold" nodeType="withEffect">
                                  <p:stCondLst>
                                    <p:cond delay="600"/>
                                  </p:stCondLst>
                                  <p:childTnLst>
                                    <p:set>
                                      <p:cBhvr>
                                        <p:cTn id="27" dur="1" fill="hold">
                                          <p:stCondLst>
                                            <p:cond delay="0"/>
                                          </p:stCondLst>
                                        </p:cTn>
                                        <p:tgtEl>
                                          <p:spTgt spid="63"/>
                                        </p:tgtEl>
                                        <p:attrNameLst>
                                          <p:attrName>style.visibility</p:attrName>
                                        </p:attrNameLst>
                                      </p:cBhvr>
                                      <p:to>
                                        <p:strVal val="visible"/>
                                      </p:to>
                                    </p:set>
                                    <p:animEffect transition="in" filter="fade">
                                      <p:cBhvr>
                                        <p:cTn id="28" dur="1000"/>
                                        <p:tgtEl>
                                          <p:spTgt spid="63"/>
                                        </p:tgtEl>
                                      </p:cBhvr>
                                    </p:animEffect>
                                  </p:childTnLst>
                                </p:cTn>
                              </p:par>
                              <p:par>
                                <p:cTn id="29" presetID="53" presetClass="entr" presetSubtype="0" fill="hold" nodeType="withEffect">
                                  <p:stCondLst>
                                    <p:cond delay="900"/>
                                  </p:stCondLst>
                                  <p:childTnLst>
                                    <p:set>
                                      <p:cBhvr>
                                        <p:cTn id="30" dur="1" fill="hold">
                                          <p:stCondLst>
                                            <p:cond delay="0"/>
                                          </p:stCondLst>
                                        </p:cTn>
                                        <p:tgtEl>
                                          <p:spTgt spid="38"/>
                                        </p:tgtEl>
                                        <p:attrNameLst>
                                          <p:attrName>style.visibility</p:attrName>
                                        </p:attrNameLst>
                                      </p:cBhvr>
                                      <p:to>
                                        <p:strVal val="visible"/>
                                      </p:to>
                                    </p:set>
                                    <p:anim calcmode="lin" valueType="num">
                                      <p:cBhvr>
                                        <p:cTn id="31" dur="500" fill="hold"/>
                                        <p:tgtEl>
                                          <p:spTgt spid="38"/>
                                        </p:tgtEl>
                                        <p:attrNameLst>
                                          <p:attrName>ppt_w</p:attrName>
                                        </p:attrNameLst>
                                      </p:cBhvr>
                                      <p:tavLst>
                                        <p:tav tm="0">
                                          <p:val>
                                            <p:fltVal val="0"/>
                                          </p:val>
                                        </p:tav>
                                        <p:tav tm="100000">
                                          <p:val>
                                            <p:strVal val="#ppt_w"/>
                                          </p:val>
                                        </p:tav>
                                      </p:tavLst>
                                    </p:anim>
                                    <p:anim calcmode="lin" valueType="num">
                                      <p:cBhvr>
                                        <p:cTn id="32" dur="500" fill="hold"/>
                                        <p:tgtEl>
                                          <p:spTgt spid="38"/>
                                        </p:tgtEl>
                                        <p:attrNameLst>
                                          <p:attrName>ppt_h</p:attrName>
                                        </p:attrNameLst>
                                      </p:cBhvr>
                                      <p:tavLst>
                                        <p:tav tm="0">
                                          <p:val>
                                            <p:fltVal val="0"/>
                                          </p:val>
                                        </p:tav>
                                        <p:tav tm="100000">
                                          <p:val>
                                            <p:strVal val="#ppt_h"/>
                                          </p:val>
                                        </p:tav>
                                      </p:tavLst>
                                    </p:anim>
                                    <p:animEffect transition="in" filter="fade">
                                      <p:cBhvr>
                                        <p:cTn id="33" dur="500"/>
                                        <p:tgtEl>
                                          <p:spTgt spid="38"/>
                                        </p:tgtEl>
                                      </p:cBhvr>
                                    </p:animEffect>
                                  </p:childTnLst>
                                </p:cTn>
                              </p:par>
                              <p:par>
                                <p:cTn id="34" presetID="10" presetClass="entr" presetSubtype="0" fill="hold" nodeType="withEffect">
                                  <p:stCondLst>
                                    <p:cond delay="900"/>
                                  </p:stCondLst>
                                  <p:childTnLst>
                                    <p:set>
                                      <p:cBhvr>
                                        <p:cTn id="35" dur="1" fill="hold">
                                          <p:stCondLst>
                                            <p:cond delay="0"/>
                                          </p:stCondLst>
                                        </p:cTn>
                                        <p:tgtEl>
                                          <p:spTgt spid="80"/>
                                        </p:tgtEl>
                                        <p:attrNameLst>
                                          <p:attrName>style.visibility</p:attrName>
                                        </p:attrNameLst>
                                      </p:cBhvr>
                                      <p:to>
                                        <p:strVal val="visible"/>
                                      </p:to>
                                    </p:set>
                                    <p:animEffect transition="in" filter="fade">
                                      <p:cBhvr>
                                        <p:cTn id="36" dur="1000"/>
                                        <p:tgtEl>
                                          <p:spTgt spid="80"/>
                                        </p:tgtEl>
                                      </p:cBhvr>
                                    </p:animEffect>
                                  </p:childTnLst>
                                </p:cTn>
                              </p:par>
                              <p:par>
                                <p:cTn id="37" presetID="53" presetClass="entr" presetSubtype="0" fill="hold" nodeType="withEffect">
                                  <p:stCondLst>
                                    <p:cond delay="1200"/>
                                  </p:stCondLst>
                                  <p:childTnLst>
                                    <p:set>
                                      <p:cBhvr>
                                        <p:cTn id="38" dur="1" fill="hold">
                                          <p:stCondLst>
                                            <p:cond delay="0"/>
                                          </p:stCondLst>
                                        </p:cTn>
                                        <p:tgtEl>
                                          <p:spTgt spid="34"/>
                                        </p:tgtEl>
                                        <p:attrNameLst>
                                          <p:attrName>style.visibility</p:attrName>
                                        </p:attrNameLst>
                                      </p:cBhvr>
                                      <p:to>
                                        <p:strVal val="visible"/>
                                      </p:to>
                                    </p:set>
                                    <p:anim calcmode="lin" valueType="num">
                                      <p:cBhvr>
                                        <p:cTn id="39" dur="500" fill="hold"/>
                                        <p:tgtEl>
                                          <p:spTgt spid="34"/>
                                        </p:tgtEl>
                                        <p:attrNameLst>
                                          <p:attrName>ppt_w</p:attrName>
                                        </p:attrNameLst>
                                      </p:cBhvr>
                                      <p:tavLst>
                                        <p:tav tm="0">
                                          <p:val>
                                            <p:fltVal val="0"/>
                                          </p:val>
                                        </p:tav>
                                        <p:tav tm="100000">
                                          <p:val>
                                            <p:strVal val="#ppt_w"/>
                                          </p:val>
                                        </p:tav>
                                      </p:tavLst>
                                    </p:anim>
                                    <p:anim calcmode="lin" valueType="num">
                                      <p:cBhvr>
                                        <p:cTn id="40" dur="500" fill="hold"/>
                                        <p:tgtEl>
                                          <p:spTgt spid="34"/>
                                        </p:tgtEl>
                                        <p:attrNameLst>
                                          <p:attrName>ppt_h</p:attrName>
                                        </p:attrNameLst>
                                      </p:cBhvr>
                                      <p:tavLst>
                                        <p:tav tm="0">
                                          <p:val>
                                            <p:fltVal val="0"/>
                                          </p:val>
                                        </p:tav>
                                        <p:tav tm="100000">
                                          <p:val>
                                            <p:strVal val="#ppt_h"/>
                                          </p:val>
                                        </p:tav>
                                      </p:tavLst>
                                    </p:anim>
                                    <p:animEffect transition="in" filter="fade">
                                      <p:cBhvr>
                                        <p:cTn id="41" dur="500"/>
                                        <p:tgtEl>
                                          <p:spTgt spid="34"/>
                                        </p:tgtEl>
                                      </p:cBhvr>
                                    </p:animEffect>
                                  </p:childTnLst>
                                </p:cTn>
                              </p:par>
                              <p:par>
                                <p:cTn id="42" presetID="10" presetClass="entr" presetSubtype="0" fill="hold" nodeType="withEffect">
                                  <p:stCondLst>
                                    <p:cond delay="1200"/>
                                  </p:stCondLst>
                                  <p:childTnLst>
                                    <p:set>
                                      <p:cBhvr>
                                        <p:cTn id="43" dur="1" fill="hold">
                                          <p:stCondLst>
                                            <p:cond delay="0"/>
                                          </p:stCondLst>
                                        </p:cTn>
                                        <p:tgtEl>
                                          <p:spTgt spid="88"/>
                                        </p:tgtEl>
                                        <p:attrNameLst>
                                          <p:attrName>style.visibility</p:attrName>
                                        </p:attrNameLst>
                                      </p:cBhvr>
                                      <p:to>
                                        <p:strVal val="visible"/>
                                      </p:to>
                                    </p:set>
                                    <p:animEffect transition="in" filter="fade">
                                      <p:cBhvr>
                                        <p:cTn id="44" dur="1000"/>
                                        <p:tgtEl>
                                          <p:spTgt spid="88"/>
                                        </p:tgtEl>
                                      </p:cBhvr>
                                    </p:animEffect>
                                  </p:childTnLst>
                                </p:cTn>
                              </p:par>
                              <p:par>
                                <p:cTn id="45" presetID="53" presetClass="entr" presetSubtype="0" fill="hold" nodeType="withEffect">
                                  <p:stCondLst>
                                    <p:cond delay="1500"/>
                                  </p:stCondLst>
                                  <p:childTnLst>
                                    <p:set>
                                      <p:cBhvr>
                                        <p:cTn id="46" dur="1" fill="hold">
                                          <p:stCondLst>
                                            <p:cond delay="0"/>
                                          </p:stCondLst>
                                        </p:cTn>
                                        <p:tgtEl>
                                          <p:spTgt spid="29"/>
                                        </p:tgtEl>
                                        <p:attrNameLst>
                                          <p:attrName>style.visibility</p:attrName>
                                        </p:attrNameLst>
                                      </p:cBhvr>
                                      <p:to>
                                        <p:strVal val="visible"/>
                                      </p:to>
                                    </p:set>
                                    <p:anim calcmode="lin" valueType="num">
                                      <p:cBhvr>
                                        <p:cTn id="47" dur="500" fill="hold"/>
                                        <p:tgtEl>
                                          <p:spTgt spid="29"/>
                                        </p:tgtEl>
                                        <p:attrNameLst>
                                          <p:attrName>ppt_w</p:attrName>
                                        </p:attrNameLst>
                                      </p:cBhvr>
                                      <p:tavLst>
                                        <p:tav tm="0">
                                          <p:val>
                                            <p:fltVal val="0"/>
                                          </p:val>
                                        </p:tav>
                                        <p:tav tm="100000">
                                          <p:val>
                                            <p:strVal val="#ppt_w"/>
                                          </p:val>
                                        </p:tav>
                                      </p:tavLst>
                                    </p:anim>
                                    <p:anim calcmode="lin" valueType="num">
                                      <p:cBhvr>
                                        <p:cTn id="48" dur="500" fill="hold"/>
                                        <p:tgtEl>
                                          <p:spTgt spid="29"/>
                                        </p:tgtEl>
                                        <p:attrNameLst>
                                          <p:attrName>ppt_h</p:attrName>
                                        </p:attrNameLst>
                                      </p:cBhvr>
                                      <p:tavLst>
                                        <p:tav tm="0">
                                          <p:val>
                                            <p:fltVal val="0"/>
                                          </p:val>
                                        </p:tav>
                                        <p:tav tm="100000">
                                          <p:val>
                                            <p:strVal val="#ppt_h"/>
                                          </p:val>
                                        </p:tav>
                                      </p:tavLst>
                                    </p:anim>
                                    <p:animEffect transition="in" filter="fade">
                                      <p:cBhvr>
                                        <p:cTn id="49" dur="500"/>
                                        <p:tgtEl>
                                          <p:spTgt spid="29"/>
                                        </p:tgtEl>
                                      </p:cBhvr>
                                    </p:animEffect>
                                  </p:childTnLst>
                                </p:cTn>
                              </p:par>
                              <p:par>
                                <p:cTn id="50" presetID="10" presetClass="entr" presetSubtype="0" fill="hold" nodeType="withEffect">
                                  <p:stCondLst>
                                    <p:cond delay="1500"/>
                                  </p:stCondLst>
                                  <p:childTnLst>
                                    <p:set>
                                      <p:cBhvr>
                                        <p:cTn id="51" dur="1" fill="hold">
                                          <p:stCondLst>
                                            <p:cond delay="0"/>
                                          </p:stCondLst>
                                        </p:cTn>
                                        <p:tgtEl>
                                          <p:spTgt spid="55"/>
                                        </p:tgtEl>
                                        <p:attrNameLst>
                                          <p:attrName>style.visibility</p:attrName>
                                        </p:attrNameLst>
                                      </p:cBhvr>
                                      <p:to>
                                        <p:strVal val="visible"/>
                                      </p:to>
                                    </p:set>
                                    <p:animEffect transition="in" filter="fade">
                                      <p:cBhvr>
                                        <p:cTn id="52" dur="1000"/>
                                        <p:tgtEl>
                                          <p:spTgt spid="55"/>
                                        </p:tgtEl>
                                      </p:cBhvr>
                                    </p:animEffect>
                                  </p:childTnLst>
                                </p:cTn>
                              </p:par>
                              <p:par>
                                <p:cTn id="53" presetID="53" presetClass="entr" presetSubtype="0" fill="hold" nodeType="withEffect">
                                  <p:stCondLst>
                                    <p:cond delay="1800"/>
                                  </p:stCondLst>
                                  <p:childTnLst>
                                    <p:set>
                                      <p:cBhvr>
                                        <p:cTn id="54" dur="1" fill="hold">
                                          <p:stCondLst>
                                            <p:cond delay="0"/>
                                          </p:stCondLst>
                                        </p:cTn>
                                        <p:tgtEl>
                                          <p:spTgt spid="25"/>
                                        </p:tgtEl>
                                        <p:attrNameLst>
                                          <p:attrName>style.visibility</p:attrName>
                                        </p:attrNameLst>
                                      </p:cBhvr>
                                      <p:to>
                                        <p:strVal val="visible"/>
                                      </p:to>
                                    </p:set>
                                    <p:anim calcmode="lin" valueType="num">
                                      <p:cBhvr>
                                        <p:cTn id="55" dur="500" fill="hold"/>
                                        <p:tgtEl>
                                          <p:spTgt spid="25"/>
                                        </p:tgtEl>
                                        <p:attrNameLst>
                                          <p:attrName>ppt_w</p:attrName>
                                        </p:attrNameLst>
                                      </p:cBhvr>
                                      <p:tavLst>
                                        <p:tav tm="0">
                                          <p:val>
                                            <p:fltVal val="0"/>
                                          </p:val>
                                        </p:tav>
                                        <p:tav tm="100000">
                                          <p:val>
                                            <p:strVal val="#ppt_w"/>
                                          </p:val>
                                        </p:tav>
                                      </p:tavLst>
                                    </p:anim>
                                    <p:anim calcmode="lin" valueType="num">
                                      <p:cBhvr>
                                        <p:cTn id="56" dur="500" fill="hold"/>
                                        <p:tgtEl>
                                          <p:spTgt spid="25"/>
                                        </p:tgtEl>
                                        <p:attrNameLst>
                                          <p:attrName>ppt_h</p:attrName>
                                        </p:attrNameLst>
                                      </p:cBhvr>
                                      <p:tavLst>
                                        <p:tav tm="0">
                                          <p:val>
                                            <p:fltVal val="0"/>
                                          </p:val>
                                        </p:tav>
                                        <p:tav tm="100000">
                                          <p:val>
                                            <p:strVal val="#ppt_h"/>
                                          </p:val>
                                        </p:tav>
                                      </p:tavLst>
                                    </p:anim>
                                    <p:animEffect transition="in" filter="fade">
                                      <p:cBhvr>
                                        <p:cTn id="57" dur="500"/>
                                        <p:tgtEl>
                                          <p:spTgt spid="25"/>
                                        </p:tgtEl>
                                      </p:cBhvr>
                                    </p:animEffect>
                                  </p:childTnLst>
                                </p:cTn>
                              </p:par>
                              <p:par>
                                <p:cTn id="58" presetID="10" presetClass="entr" presetSubtype="0" fill="hold" nodeType="withEffect">
                                  <p:stCondLst>
                                    <p:cond delay="1800"/>
                                  </p:stCondLst>
                                  <p:childTnLst>
                                    <p:set>
                                      <p:cBhvr>
                                        <p:cTn id="59" dur="1" fill="hold">
                                          <p:stCondLst>
                                            <p:cond delay="0"/>
                                          </p:stCondLst>
                                        </p:cTn>
                                        <p:tgtEl>
                                          <p:spTgt spid="104"/>
                                        </p:tgtEl>
                                        <p:attrNameLst>
                                          <p:attrName>style.visibility</p:attrName>
                                        </p:attrNameLst>
                                      </p:cBhvr>
                                      <p:to>
                                        <p:strVal val="visible"/>
                                      </p:to>
                                    </p:set>
                                    <p:animEffect transition="in" filter="fade">
                                      <p:cBhvr>
                                        <p:cTn id="60" dur="1000"/>
                                        <p:tgtEl>
                                          <p:spTgt spid="104"/>
                                        </p:tgtEl>
                                      </p:cBhvr>
                                    </p:animEffect>
                                  </p:childTnLst>
                                </p:cTn>
                              </p:par>
                            </p:childTnLst>
                          </p:cTn>
                        </p:par>
                      </p:childTnLst>
                    </p:cTn>
                  </p:par>
                  <p:par>
                    <p:cTn id="61" fill="hold">
                      <p:stCondLst>
                        <p:cond delay="indefinite"/>
                      </p:stCondLst>
                      <p:childTnLst>
                        <p:par>
                          <p:cTn id="62" fill="hold">
                            <p:stCondLst>
                              <p:cond delay="0"/>
                            </p:stCondLst>
                            <p:childTnLst>
                              <p:par>
                                <p:cTn id="63" presetID="35" presetClass="path" presetSubtype="0" accel="50000" decel="50000" fill="hold" nodeType="clickEffect">
                                  <p:stCondLst>
                                    <p:cond delay="0"/>
                                  </p:stCondLst>
                                  <p:childTnLst>
                                    <p:animMotion origin="layout" path="M 3.88889E-6 4.44444E-6 L -0.01632 -0.04167 " pathEditMode="relative" rAng="0" ptsTypes="AA">
                                      <p:cBhvr>
                                        <p:cTn id="64" dur="2000" fill="hold"/>
                                        <p:tgtEl>
                                          <p:spTgt spid="80"/>
                                        </p:tgtEl>
                                        <p:attrNameLst>
                                          <p:attrName>ppt_x</p:attrName>
                                          <p:attrName>ppt_y</p:attrName>
                                        </p:attrNameLst>
                                      </p:cBhvr>
                                      <p:rCtr x="-800" y="-2100"/>
                                    </p:animMotion>
                                  </p:childTnLst>
                                </p:cTn>
                              </p:par>
                              <p:par>
                                <p:cTn id="65" presetID="56" presetClass="path" presetSubtype="0" accel="50000" decel="50000" fill="hold" nodeType="withEffect">
                                  <p:stCondLst>
                                    <p:cond delay="0"/>
                                  </p:stCondLst>
                                  <p:childTnLst>
                                    <p:animMotion origin="layout" path="M -3.05556E-6 -2.96296E-6 L -0.28316 -0.05115 " pathEditMode="relative" rAng="0" ptsTypes="AA">
                                      <p:cBhvr>
                                        <p:cTn id="66" dur="2000" fill="hold"/>
                                        <p:tgtEl>
                                          <p:spTgt spid="55"/>
                                        </p:tgtEl>
                                        <p:attrNameLst>
                                          <p:attrName>ppt_x</p:attrName>
                                          <p:attrName>ppt_y</p:attrName>
                                        </p:attrNameLst>
                                      </p:cBhvr>
                                      <p:rCtr x="-14200" y="-2600"/>
                                    </p:animMotion>
                                  </p:childTnLst>
                                </p:cTn>
                              </p:par>
                              <p:par>
                                <p:cTn id="67" presetID="56" presetClass="path" presetSubtype="0" accel="50000" decel="50000" fill="hold" nodeType="withEffect">
                                  <p:stCondLst>
                                    <p:cond delay="0"/>
                                  </p:stCondLst>
                                  <p:childTnLst>
                                    <p:animMotion origin="layout" path="M 1.38889E-6 4.44444E-6 L -0.41372 0.05 " pathEditMode="relative" rAng="0" ptsTypes="AA">
                                      <p:cBhvr>
                                        <p:cTn id="68" dur="2000" fill="hold"/>
                                        <p:tgtEl>
                                          <p:spTgt spid="104"/>
                                        </p:tgtEl>
                                        <p:attrNameLst>
                                          <p:attrName>ppt_x</p:attrName>
                                          <p:attrName>ppt_y</p:attrName>
                                        </p:attrNameLst>
                                      </p:cBhvr>
                                      <p:rCtr x="-20700" y="2500"/>
                                    </p:animMotion>
                                  </p:childTnLst>
                                </p:cTn>
                              </p:par>
                              <p:par>
                                <p:cTn id="69" presetID="56" presetClass="path" presetSubtype="0" accel="50000" decel="50000" fill="hold" nodeType="withEffect">
                                  <p:stCondLst>
                                    <p:cond delay="0"/>
                                  </p:stCondLst>
                                  <p:childTnLst>
                                    <p:animMotion origin="layout" path="M -1.38889E-6 0.00324 L -0.14982 0.06574 " pathEditMode="relative" rAng="0" ptsTypes="AA">
                                      <p:cBhvr>
                                        <p:cTn id="70" dur="2000" fill="hold"/>
                                        <p:tgtEl>
                                          <p:spTgt spid="88"/>
                                        </p:tgtEl>
                                        <p:attrNameLst>
                                          <p:attrName>ppt_x</p:attrName>
                                          <p:attrName>ppt_y</p:attrName>
                                        </p:attrNameLst>
                                      </p:cBhvr>
                                      <p:rCtr x="-7500" y="3100"/>
                                    </p:animMotion>
                                  </p:childTnLst>
                                </p:cTn>
                              </p:par>
                              <p:par>
                                <p:cTn id="71" presetID="56" presetClass="path" presetSubtype="0" accel="50000" decel="50000" fill="hold" nodeType="withEffect">
                                  <p:stCondLst>
                                    <p:cond delay="0"/>
                                  </p:stCondLst>
                                  <p:childTnLst>
                                    <p:animMotion origin="layout" path="M -3.33333E-6 -4.81481E-6 L 0.12709 0.05325 " pathEditMode="relative" rAng="0" ptsTypes="AA">
                                      <p:cBhvr>
                                        <p:cTn id="72" dur="2000" fill="hold"/>
                                        <p:tgtEl>
                                          <p:spTgt spid="63"/>
                                        </p:tgtEl>
                                        <p:attrNameLst>
                                          <p:attrName>ppt_x</p:attrName>
                                          <p:attrName>ppt_y</p:attrName>
                                        </p:attrNameLst>
                                      </p:cBhvr>
                                      <p:rCtr x="6400" y="2700"/>
                                    </p:animMotion>
                                  </p:childTnLst>
                                </p:cTn>
                              </p:par>
                              <p:par>
                                <p:cTn id="73" presetID="56" presetClass="path" presetSubtype="0" accel="50000" decel="50000" fill="hold" nodeType="withEffect">
                                  <p:stCondLst>
                                    <p:cond delay="0"/>
                                  </p:stCondLst>
                                  <p:childTnLst>
                                    <p:animMotion origin="layout" path="M 3.05556E-6 3.92783E-6 L 0.25607 -0.04719 " pathEditMode="relative" rAng="0" ptsTypes="AA">
                                      <p:cBhvr>
                                        <p:cTn id="74" dur="2000" fill="hold"/>
                                        <p:tgtEl>
                                          <p:spTgt spid="72"/>
                                        </p:tgtEl>
                                        <p:attrNameLst>
                                          <p:attrName>ppt_x</p:attrName>
                                          <p:attrName>ppt_y</p:attrName>
                                        </p:attrNameLst>
                                      </p:cBhvr>
                                      <p:rCtr x="12800" y="-2400"/>
                                    </p:animMotion>
                                  </p:childTnLst>
                                </p:cTn>
                              </p:par>
                              <p:par>
                                <p:cTn id="75" presetID="56" presetClass="path" presetSubtype="0" accel="50000" decel="50000" fill="hold" nodeType="withEffect">
                                  <p:stCondLst>
                                    <p:cond delay="0"/>
                                  </p:stCondLst>
                                  <p:childTnLst>
                                    <p:animMotion origin="layout" path="M 1.11111E-6 -3.7037E-6 L 0.38819 0.05811 " pathEditMode="relative" rAng="0" ptsTypes="AA">
                                      <p:cBhvr>
                                        <p:cTn id="76" dur="2000" fill="hold"/>
                                        <p:tgtEl>
                                          <p:spTgt spid="96"/>
                                        </p:tgtEl>
                                        <p:attrNameLst>
                                          <p:attrName>ppt_x</p:attrName>
                                          <p:attrName>ppt_y</p:attrName>
                                        </p:attrNameLst>
                                      </p:cBhvr>
                                      <p:rCtr x="19400" y="2900"/>
                                    </p:animMotion>
                                  </p:childTnLst>
                                </p:cTn>
                              </p:par>
                              <p:par>
                                <p:cTn id="77" presetID="10" presetClass="entr" presetSubtype="0" fill="hold" grpId="0" nodeType="withEffect">
                                  <p:stCondLst>
                                    <p:cond delay="0"/>
                                  </p:stCondLst>
                                  <p:childTnLst>
                                    <p:set>
                                      <p:cBhvr>
                                        <p:cTn id="78" dur="1" fill="hold">
                                          <p:stCondLst>
                                            <p:cond delay="0"/>
                                          </p:stCondLst>
                                        </p:cTn>
                                        <p:tgtEl>
                                          <p:spTgt spid="130"/>
                                        </p:tgtEl>
                                        <p:attrNameLst>
                                          <p:attrName>style.visibility</p:attrName>
                                        </p:attrNameLst>
                                      </p:cBhvr>
                                      <p:to>
                                        <p:strVal val="visible"/>
                                      </p:to>
                                    </p:set>
                                    <p:animEffect transition="in" filter="fade">
                                      <p:cBhvr>
                                        <p:cTn id="79" dur="500"/>
                                        <p:tgtEl>
                                          <p:spTgt spid="130"/>
                                        </p:tgtEl>
                                      </p:cBhvr>
                                    </p:animEffect>
                                  </p:childTnLst>
                                </p:cTn>
                              </p:par>
                              <p:par>
                                <p:cTn id="80" presetID="10" presetClass="exit" presetSubtype="0" fill="hold" grpId="0" nodeType="withEffect">
                                  <p:stCondLst>
                                    <p:cond delay="0"/>
                                  </p:stCondLst>
                                  <p:childTnLst>
                                    <p:animEffect transition="out" filter="fade">
                                      <p:cBhvr>
                                        <p:cTn id="81" dur="500"/>
                                        <p:tgtEl>
                                          <p:spTgt spid="54"/>
                                        </p:tgtEl>
                                      </p:cBhvr>
                                    </p:animEffect>
                                    <p:set>
                                      <p:cBhvr>
                                        <p:cTn id="82" dur="1" fill="hold">
                                          <p:stCondLst>
                                            <p:cond delay="499"/>
                                          </p:stCondLst>
                                        </p:cTn>
                                        <p:tgtEl>
                                          <p:spTgt spid="54"/>
                                        </p:tgtEl>
                                        <p:attrNameLst>
                                          <p:attrName>style.visibility</p:attrName>
                                        </p:attrNameLst>
                                      </p:cBhvr>
                                      <p:to>
                                        <p:strVal val="hidden"/>
                                      </p:to>
                                    </p:set>
                                  </p:childTnLst>
                                </p:cTn>
                              </p:par>
                              <p:par>
                                <p:cTn id="83" presetID="10" presetClass="exit" presetSubtype="0" fill="hold" nodeType="withEffect">
                                  <p:stCondLst>
                                    <p:cond delay="0"/>
                                  </p:stCondLst>
                                  <p:childTnLst>
                                    <p:animEffect transition="out" filter="fade">
                                      <p:cBhvr>
                                        <p:cTn id="84" dur="2000"/>
                                        <p:tgtEl>
                                          <p:spTgt spid="50"/>
                                        </p:tgtEl>
                                      </p:cBhvr>
                                    </p:animEffect>
                                    <p:set>
                                      <p:cBhvr>
                                        <p:cTn id="85" dur="1" fill="hold">
                                          <p:stCondLst>
                                            <p:cond delay="1999"/>
                                          </p:stCondLst>
                                        </p:cTn>
                                        <p:tgtEl>
                                          <p:spTgt spid="50"/>
                                        </p:tgtEl>
                                        <p:attrNameLst>
                                          <p:attrName>style.visibility</p:attrName>
                                        </p:attrNameLst>
                                      </p:cBhvr>
                                      <p:to>
                                        <p:strVal val="hidden"/>
                                      </p:to>
                                    </p:set>
                                  </p:childTnLst>
                                </p:cTn>
                              </p:par>
                              <p:par>
                                <p:cTn id="86" presetID="10" presetClass="exit" presetSubtype="0" fill="hold" nodeType="withEffect">
                                  <p:stCondLst>
                                    <p:cond delay="0"/>
                                  </p:stCondLst>
                                  <p:childTnLst>
                                    <p:animEffect transition="out" filter="fade">
                                      <p:cBhvr>
                                        <p:cTn id="87" dur="2000"/>
                                        <p:tgtEl>
                                          <p:spTgt spid="46"/>
                                        </p:tgtEl>
                                      </p:cBhvr>
                                    </p:animEffect>
                                    <p:set>
                                      <p:cBhvr>
                                        <p:cTn id="88" dur="1" fill="hold">
                                          <p:stCondLst>
                                            <p:cond delay="1999"/>
                                          </p:stCondLst>
                                        </p:cTn>
                                        <p:tgtEl>
                                          <p:spTgt spid="46"/>
                                        </p:tgtEl>
                                        <p:attrNameLst>
                                          <p:attrName>style.visibility</p:attrName>
                                        </p:attrNameLst>
                                      </p:cBhvr>
                                      <p:to>
                                        <p:strVal val="hidden"/>
                                      </p:to>
                                    </p:set>
                                  </p:childTnLst>
                                </p:cTn>
                              </p:par>
                              <p:par>
                                <p:cTn id="89" presetID="10" presetClass="exit" presetSubtype="0" fill="hold" nodeType="withEffect">
                                  <p:stCondLst>
                                    <p:cond delay="0"/>
                                  </p:stCondLst>
                                  <p:childTnLst>
                                    <p:animEffect transition="out" filter="fade">
                                      <p:cBhvr>
                                        <p:cTn id="90" dur="2000"/>
                                        <p:tgtEl>
                                          <p:spTgt spid="42"/>
                                        </p:tgtEl>
                                      </p:cBhvr>
                                    </p:animEffect>
                                    <p:set>
                                      <p:cBhvr>
                                        <p:cTn id="91" dur="1" fill="hold">
                                          <p:stCondLst>
                                            <p:cond delay="1999"/>
                                          </p:stCondLst>
                                        </p:cTn>
                                        <p:tgtEl>
                                          <p:spTgt spid="42"/>
                                        </p:tgtEl>
                                        <p:attrNameLst>
                                          <p:attrName>style.visibility</p:attrName>
                                        </p:attrNameLst>
                                      </p:cBhvr>
                                      <p:to>
                                        <p:strVal val="hidden"/>
                                      </p:to>
                                    </p:set>
                                  </p:childTnLst>
                                </p:cTn>
                              </p:par>
                              <p:par>
                                <p:cTn id="92" presetID="10" presetClass="exit" presetSubtype="0" fill="hold" nodeType="withEffect">
                                  <p:stCondLst>
                                    <p:cond delay="0"/>
                                  </p:stCondLst>
                                  <p:childTnLst>
                                    <p:animEffect transition="out" filter="fade">
                                      <p:cBhvr>
                                        <p:cTn id="93" dur="2000"/>
                                        <p:tgtEl>
                                          <p:spTgt spid="38"/>
                                        </p:tgtEl>
                                      </p:cBhvr>
                                    </p:animEffect>
                                    <p:set>
                                      <p:cBhvr>
                                        <p:cTn id="94" dur="1" fill="hold">
                                          <p:stCondLst>
                                            <p:cond delay="1999"/>
                                          </p:stCondLst>
                                        </p:cTn>
                                        <p:tgtEl>
                                          <p:spTgt spid="38"/>
                                        </p:tgtEl>
                                        <p:attrNameLst>
                                          <p:attrName>style.visibility</p:attrName>
                                        </p:attrNameLst>
                                      </p:cBhvr>
                                      <p:to>
                                        <p:strVal val="hidden"/>
                                      </p:to>
                                    </p:set>
                                  </p:childTnLst>
                                </p:cTn>
                              </p:par>
                              <p:par>
                                <p:cTn id="95" presetID="10" presetClass="exit" presetSubtype="0" fill="hold" nodeType="withEffect">
                                  <p:stCondLst>
                                    <p:cond delay="0"/>
                                  </p:stCondLst>
                                  <p:childTnLst>
                                    <p:animEffect transition="out" filter="fade">
                                      <p:cBhvr>
                                        <p:cTn id="96" dur="2000"/>
                                        <p:tgtEl>
                                          <p:spTgt spid="34"/>
                                        </p:tgtEl>
                                      </p:cBhvr>
                                    </p:animEffect>
                                    <p:set>
                                      <p:cBhvr>
                                        <p:cTn id="97" dur="1" fill="hold">
                                          <p:stCondLst>
                                            <p:cond delay="1999"/>
                                          </p:stCondLst>
                                        </p:cTn>
                                        <p:tgtEl>
                                          <p:spTgt spid="34"/>
                                        </p:tgtEl>
                                        <p:attrNameLst>
                                          <p:attrName>style.visibility</p:attrName>
                                        </p:attrNameLst>
                                      </p:cBhvr>
                                      <p:to>
                                        <p:strVal val="hidden"/>
                                      </p:to>
                                    </p:set>
                                  </p:childTnLst>
                                </p:cTn>
                              </p:par>
                              <p:par>
                                <p:cTn id="98" presetID="10" presetClass="exit" presetSubtype="0" fill="hold" nodeType="withEffect">
                                  <p:stCondLst>
                                    <p:cond delay="0"/>
                                  </p:stCondLst>
                                  <p:childTnLst>
                                    <p:animEffect transition="out" filter="fade">
                                      <p:cBhvr>
                                        <p:cTn id="99" dur="2000"/>
                                        <p:tgtEl>
                                          <p:spTgt spid="25"/>
                                        </p:tgtEl>
                                      </p:cBhvr>
                                    </p:animEffect>
                                    <p:set>
                                      <p:cBhvr>
                                        <p:cTn id="100" dur="1" fill="hold">
                                          <p:stCondLst>
                                            <p:cond delay="1999"/>
                                          </p:stCondLst>
                                        </p:cTn>
                                        <p:tgtEl>
                                          <p:spTgt spid="25"/>
                                        </p:tgtEl>
                                        <p:attrNameLst>
                                          <p:attrName>style.visibility</p:attrName>
                                        </p:attrNameLst>
                                      </p:cBhvr>
                                      <p:to>
                                        <p:strVal val="hidden"/>
                                      </p:to>
                                    </p:set>
                                  </p:childTnLst>
                                </p:cTn>
                              </p:par>
                              <p:par>
                                <p:cTn id="101" presetID="10" presetClass="exit" presetSubtype="0" fill="hold" nodeType="withEffect">
                                  <p:stCondLst>
                                    <p:cond delay="0"/>
                                  </p:stCondLst>
                                  <p:childTnLst>
                                    <p:animEffect transition="out" filter="fade">
                                      <p:cBhvr>
                                        <p:cTn id="102" dur="2000"/>
                                        <p:tgtEl>
                                          <p:spTgt spid="29"/>
                                        </p:tgtEl>
                                      </p:cBhvr>
                                    </p:animEffect>
                                    <p:set>
                                      <p:cBhvr>
                                        <p:cTn id="103" dur="1" fill="hold">
                                          <p:stCondLst>
                                            <p:cond delay="1999"/>
                                          </p:stCondLst>
                                        </p:cTn>
                                        <p:tgtEl>
                                          <p:spTgt spid="29"/>
                                        </p:tgtEl>
                                        <p:attrNameLst>
                                          <p:attrName>style.visibility</p:attrName>
                                        </p:attrNameLst>
                                      </p:cBhvr>
                                      <p:to>
                                        <p:strVal val="hidden"/>
                                      </p:to>
                                    </p:set>
                                  </p:childTnLst>
                                </p:cTn>
                              </p:par>
                              <p:par>
                                <p:cTn id="104" presetID="10" presetClass="exit" presetSubtype="0" fill="hold" nodeType="withEffect">
                                  <p:stCondLst>
                                    <p:cond delay="1000"/>
                                  </p:stCondLst>
                                  <p:childTnLst>
                                    <p:animEffect transition="out" filter="fade">
                                      <p:cBhvr>
                                        <p:cTn id="105" dur="2000"/>
                                        <p:tgtEl>
                                          <p:spTgt spid="55"/>
                                        </p:tgtEl>
                                      </p:cBhvr>
                                    </p:animEffect>
                                    <p:set>
                                      <p:cBhvr>
                                        <p:cTn id="106" dur="1" fill="hold">
                                          <p:stCondLst>
                                            <p:cond delay="1999"/>
                                          </p:stCondLst>
                                        </p:cTn>
                                        <p:tgtEl>
                                          <p:spTgt spid="55"/>
                                        </p:tgtEl>
                                        <p:attrNameLst>
                                          <p:attrName>style.visibility</p:attrName>
                                        </p:attrNameLst>
                                      </p:cBhvr>
                                      <p:to>
                                        <p:strVal val="hidden"/>
                                      </p:to>
                                    </p:set>
                                  </p:childTnLst>
                                </p:cTn>
                              </p:par>
                              <p:par>
                                <p:cTn id="107" presetID="10" presetClass="exit" presetSubtype="0" fill="hold" nodeType="withEffect">
                                  <p:stCondLst>
                                    <p:cond delay="1000"/>
                                  </p:stCondLst>
                                  <p:childTnLst>
                                    <p:animEffect transition="out" filter="fade">
                                      <p:cBhvr>
                                        <p:cTn id="108" dur="2000"/>
                                        <p:tgtEl>
                                          <p:spTgt spid="63"/>
                                        </p:tgtEl>
                                      </p:cBhvr>
                                    </p:animEffect>
                                    <p:set>
                                      <p:cBhvr>
                                        <p:cTn id="109" dur="1" fill="hold">
                                          <p:stCondLst>
                                            <p:cond delay="1999"/>
                                          </p:stCondLst>
                                        </p:cTn>
                                        <p:tgtEl>
                                          <p:spTgt spid="63"/>
                                        </p:tgtEl>
                                        <p:attrNameLst>
                                          <p:attrName>style.visibility</p:attrName>
                                        </p:attrNameLst>
                                      </p:cBhvr>
                                      <p:to>
                                        <p:strVal val="hidden"/>
                                      </p:to>
                                    </p:set>
                                  </p:childTnLst>
                                </p:cTn>
                              </p:par>
                              <p:par>
                                <p:cTn id="110" presetID="10" presetClass="exit" presetSubtype="0" fill="hold" nodeType="withEffect">
                                  <p:stCondLst>
                                    <p:cond delay="1000"/>
                                  </p:stCondLst>
                                  <p:childTnLst>
                                    <p:animEffect transition="out" filter="fade">
                                      <p:cBhvr>
                                        <p:cTn id="111" dur="2000"/>
                                        <p:tgtEl>
                                          <p:spTgt spid="72"/>
                                        </p:tgtEl>
                                      </p:cBhvr>
                                    </p:animEffect>
                                    <p:set>
                                      <p:cBhvr>
                                        <p:cTn id="112" dur="1" fill="hold">
                                          <p:stCondLst>
                                            <p:cond delay="1999"/>
                                          </p:stCondLst>
                                        </p:cTn>
                                        <p:tgtEl>
                                          <p:spTgt spid="72"/>
                                        </p:tgtEl>
                                        <p:attrNameLst>
                                          <p:attrName>style.visibility</p:attrName>
                                        </p:attrNameLst>
                                      </p:cBhvr>
                                      <p:to>
                                        <p:strVal val="hidden"/>
                                      </p:to>
                                    </p:set>
                                  </p:childTnLst>
                                </p:cTn>
                              </p:par>
                              <p:par>
                                <p:cTn id="113" presetID="10" presetClass="exit" presetSubtype="0" fill="hold" nodeType="withEffect">
                                  <p:stCondLst>
                                    <p:cond delay="1000"/>
                                  </p:stCondLst>
                                  <p:childTnLst>
                                    <p:animEffect transition="out" filter="fade">
                                      <p:cBhvr>
                                        <p:cTn id="114" dur="2000"/>
                                        <p:tgtEl>
                                          <p:spTgt spid="80"/>
                                        </p:tgtEl>
                                      </p:cBhvr>
                                    </p:animEffect>
                                    <p:set>
                                      <p:cBhvr>
                                        <p:cTn id="115" dur="1" fill="hold">
                                          <p:stCondLst>
                                            <p:cond delay="1999"/>
                                          </p:stCondLst>
                                        </p:cTn>
                                        <p:tgtEl>
                                          <p:spTgt spid="80"/>
                                        </p:tgtEl>
                                        <p:attrNameLst>
                                          <p:attrName>style.visibility</p:attrName>
                                        </p:attrNameLst>
                                      </p:cBhvr>
                                      <p:to>
                                        <p:strVal val="hidden"/>
                                      </p:to>
                                    </p:set>
                                  </p:childTnLst>
                                </p:cTn>
                              </p:par>
                              <p:par>
                                <p:cTn id="116" presetID="10" presetClass="exit" presetSubtype="0" fill="hold" nodeType="withEffect">
                                  <p:stCondLst>
                                    <p:cond delay="1000"/>
                                  </p:stCondLst>
                                  <p:childTnLst>
                                    <p:animEffect transition="out" filter="fade">
                                      <p:cBhvr>
                                        <p:cTn id="117" dur="2000"/>
                                        <p:tgtEl>
                                          <p:spTgt spid="88"/>
                                        </p:tgtEl>
                                      </p:cBhvr>
                                    </p:animEffect>
                                    <p:set>
                                      <p:cBhvr>
                                        <p:cTn id="118" dur="1" fill="hold">
                                          <p:stCondLst>
                                            <p:cond delay="1999"/>
                                          </p:stCondLst>
                                        </p:cTn>
                                        <p:tgtEl>
                                          <p:spTgt spid="88"/>
                                        </p:tgtEl>
                                        <p:attrNameLst>
                                          <p:attrName>style.visibility</p:attrName>
                                        </p:attrNameLst>
                                      </p:cBhvr>
                                      <p:to>
                                        <p:strVal val="hidden"/>
                                      </p:to>
                                    </p:set>
                                  </p:childTnLst>
                                </p:cTn>
                              </p:par>
                              <p:par>
                                <p:cTn id="119" presetID="10" presetClass="exit" presetSubtype="0" fill="hold" nodeType="withEffect">
                                  <p:stCondLst>
                                    <p:cond delay="1000"/>
                                  </p:stCondLst>
                                  <p:childTnLst>
                                    <p:animEffect transition="out" filter="fade">
                                      <p:cBhvr>
                                        <p:cTn id="120" dur="2000"/>
                                        <p:tgtEl>
                                          <p:spTgt spid="96"/>
                                        </p:tgtEl>
                                      </p:cBhvr>
                                    </p:animEffect>
                                    <p:set>
                                      <p:cBhvr>
                                        <p:cTn id="121" dur="1" fill="hold">
                                          <p:stCondLst>
                                            <p:cond delay="1999"/>
                                          </p:stCondLst>
                                        </p:cTn>
                                        <p:tgtEl>
                                          <p:spTgt spid="96"/>
                                        </p:tgtEl>
                                        <p:attrNameLst>
                                          <p:attrName>style.visibility</p:attrName>
                                        </p:attrNameLst>
                                      </p:cBhvr>
                                      <p:to>
                                        <p:strVal val="hidden"/>
                                      </p:to>
                                    </p:set>
                                  </p:childTnLst>
                                </p:cTn>
                              </p:par>
                              <p:par>
                                <p:cTn id="122" presetID="10" presetClass="exit" presetSubtype="0" fill="hold" nodeType="withEffect">
                                  <p:stCondLst>
                                    <p:cond delay="1000"/>
                                  </p:stCondLst>
                                  <p:childTnLst>
                                    <p:animEffect transition="out" filter="fade">
                                      <p:cBhvr>
                                        <p:cTn id="123" dur="2000"/>
                                        <p:tgtEl>
                                          <p:spTgt spid="104"/>
                                        </p:tgtEl>
                                      </p:cBhvr>
                                    </p:animEffect>
                                    <p:set>
                                      <p:cBhvr>
                                        <p:cTn id="124" dur="1" fill="hold">
                                          <p:stCondLst>
                                            <p:cond delay="1999"/>
                                          </p:stCondLst>
                                        </p:cTn>
                                        <p:tgtEl>
                                          <p:spTgt spid="104"/>
                                        </p:tgtEl>
                                        <p:attrNameLst>
                                          <p:attrName>style.visibility</p:attrName>
                                        </p:attrNameLst>
                                      </p:cBhvr>
                                      <p:to>
                                        <p:strVal val="hidden"/>
                                      </p:to>
                                    </p:set>
                                  </p:childTnLst>
                                </p:cTn>
                              </p:par>
                              <p:par>
                                <p:cTn id="125" presetID="10" presetClass="entr" presetSubtype="0" fill="hold" nodeType="withEffect">
                                  <p:stCondLst>
                                    <p:cond delay="1500"/>
                                  </p:stCondLst>
                                  <p:childTnLst>
                                    <p:set>
                                      <p:cBhvr>
                                        <p:cTn id="126" dur="1" fill="hold">
                                          <p:stCondLst>
                                            <p:cond delay="0"/>
                                          </p:stCondLst>
                                        </p:cTn>
                                        <p:tgtEl>
                                          <p:spTgt spid="4"/>
                                        </p:tgtEl>
                                        <p:attrNameLst>
                                          <p:attrName>style.visibility</p:attrName>
                                        </p:attrNameLst>
                                      </p:cBhvr>
                                      <p:to>
                                        <p:strVal val="visible"/>
                                      </p:to>
                                    </p:set>
                                    <p:animEffect transition="in" filter="fade">
                                      <p:cBhvr>
                                        <p:cTn id="127" dur="2000"/>
                                        <p:tgtEl>
                                          <p:spTgt spid="4"/>
                                        </p:tgtEl>
                                      </p:cBhvr>
                                    </p:animEffect>
                                  </p:childTnLst>
                                </p:cTn>
                              </p:par>
                              <p:par>
                                <p:cTn id="128" presetID="55" presetClass="entr" presetSubtype="0" fill="hold" nodeType="withEffect">
                                  <p:stCondLst>
                                    <p:cond delay="1500"/>
                                  </p:stCondLst>
                                  <p:childTnLst>
                                    <p:set>
                                      <p:cBhvr>
                                        <p:cTn id="129" dur="1" fill="hold">
                                          <p:stCondLst>
                                            <p:cond delay="0"/>
                                          </p:stCondLst>
                                        </p:cTn>
                                        <p:tgtEl>
                                          <p:spTgt spid="12"/>
                                        </p:tgtEl>
                                        <p:attrNameLst>
                                          <p:attrName>style.visibility</p:attrName>
                                        </p:attrNameLst>
                                      </p:cBhvr>
                                      <p:to>
                                        <p:strVal val="visible"/>
                                      </p:to>
                                    </p:set>
                                    <p:anim calcmode="lin" valueType="num">
                                      <p:cBhvr>
                                        <p:cTn id="130" dur="1000" fill="hold"/>
                                        <p:tgtEl>
                                          <p:spTgt spid="12"/>
                                        </p:tgtEl>
                                        <p:attrNameLst>
                                          <p:attrName>ppt_w</p:attrName>
                                        </p:attrNameLst>
                                      </p:cBhvr>
                                      <p:tavLst>
                                        <p:tav tm="0">
                                          <p:val>
                                            <p:strVal val="#ppt_w*0.70"/>
                                          </p:val>
                                        </p:tav>
                                        <p:tav tm="100000">
                                          <p:val>
                                            <p:strVal val="#ppt_w"/>
                                          </p:val>
                                        </p:tav>
                                      </p:tavLst>
                                    </p:anim>
                                    <p:anim calcmode="lin" valueType="num">
                                      <p:cBhvr>
                                        <p:cTn id="131" dur="1000" fill="hold"/>
                                        <p:tgtEl>
                                          <p:spTgt spid="12"/>
                                        </p:tgtEl>
                                        <p:attrNameLst>
                                          <p:attrName>ppt_h</p:attrName>
                                        </p:attrNameLst>
                                      </p:cBhvr>
                                      <p:tavLst>
                                        <p:tav tm="0">
                                          <p:val>
                                            <p:strVal val="#ppt_h"/>
                                          </p:val>
                                        </p:tav>
                                        <p:tav tm="100000">
                                          <p:val>
                                            <p:strVal val="#ppt_h"/>
                                          </p:val>
                                        </p:tav>
                                      </p:tavLst>
                                    </p:anim>
                                    <p:animEffect transition="in" filter="fade">
                                      <p:cBhvr>
                                        <p:cTn id="132" dur="1000"/>
                                        <p:tgtEl>
                                          <p:spTgt spid="12"/>
                                        </p:tgtEl>
                                      </p:cBhvr>
                                    </p:animEffect>
                                  </p:childTnLst>
                                </p:cTn>
                              </p:par>
                            </p:childTnLst>
                          </p:cTn>
                        </p:par>
                        <p:par>
                          <p:cTn id="133" fill="hold">
                            <p:stCondLst>
                              <p:cond delay="3500"/>
                            </p:stCondLst>
                            <p:childTnLst>
                              <p:par>
                                <p:cTn id="134" presetID="53" presetClass="entr" presetSubtype="0" fill="hold" nodeType="afterEffect">
                                  <p:stCondLst>
                                    <p:cond delay="0"/>
                                  </p:stCondLst>
                                  <p:childTnLst>
                                    <p:set>
                                      <p:cBhvr>
                                        <p:cTn id="135" dur="1" fill="hold">
                                          <p:stCondLst>
                                            <p:cond delay="0"/>
                                          </p:stCondLst>
                                        </p:cTn>
                                        <p:tgtEl>
                                          <p:spTgt spid="112"/>
                                        </p:tgtEl>
                                        <p:attrNameLst>
                                          <p:attrName>style.visibility</p:attrName>
                                        </p:attrNameLst>
                                      </p:cBhvr>
                                      <p:to>
                                        <p:strVal val="visible"/>
                                      </p:to>
                                    </p:set>
                                    <p:anim calcmode="lin" valueType="num">
                                      <p:cBhvr>
                                        <p:cTn id="136" dur="500" fill="hold"/>
                                        <p:tgtEl>
                                          <p:spTgt spid="112"/>
                                        </p:tgtEl>
                                        <p:attrNameLst>
                                          <p:attrName>ppt_w</p:attrName>
                                        </p:attrNameLst>
                                      </p:cBhvr>
                                      <p:tavLst>
                                        <p:tav tm="0">
                                          <p:val>
                                            <p:fltVal val="0"/>
                                          </p:val>
                                        </p:tav>
                                        <p:tav tm="100000">
                                          <p:val>
                                            <p:strVal val="#ppt_w"/>
                                          </p:val>
                                        </p:tav>
                                      </p:tavLst>
                                    </p:anim>
                                    <p:anim calcmode="lin" valueType="num">
                                      <p:cBhvr>
                                        <p:cTn id="137" dur="500" fill="hold"/>
                                        <p:tgtEl>
                                          <p:spTgt spid="112"/>
                                        </p:tgtEl>
                                        <p:attrNameLst>
                                          <p:attrName>ppt_h</p:attrName>
                                        </p:attrNameLst>
                                      </p:cBhvr>
                                      <p:tavLst>
                                        <p:tav tm="0">
                                          <p:val>
                                            <p:fltVal val="0"/>
                                          </p:val>
                                        </p:tav>
                                        <p:tav tm="100000">
                                          <p:val>
                                            <p:strVal val="#ppt_h"/>
                                          </p:val>
                                        </p:tav>
                                      </p:tavLst>
                                    </p:anim>
                                    <p:animEffect transition="in" filter="fade">
                                      <p:cBhvr>
                                        <p:cTn id="138" dur="500"/>
                                        <p:tgtEl>
                                          <p:spTgt spid="112"/>
                                        </p:tgtEl>
                                      </p:cBhvr>
                                    </p:animEffect>
                                  </p:childTnLst>
                                </p:cTn>
                              </p:par>
                              <p:par>
                                <p:cTn id="139" presetID="53" presetClass="entr" presetSubtype="0" fill="hold" nodeType="withEffect">
                                  <p:stCondLst>
                                    <p:cond delay="200"/>
                                  </p:stCondLst>
                                  <p:childTnLst>
                                    <p:set>
                                      <p:cBhvr>
                                        <p:cTn id="140" dur="1" fill="hold">
                                          <p:stCondLst>
                                            <p:cond delay="0"/>
                                          </p:stCondLst>
                                        </p:cTn>
                                        <p:tgtEl>
                                          <p:spTgt spid="120"/>
                                        </p:tgtEl>
                                        <p:attrNameLst>
                                          <p:attrName>style.visibility</p:attrName>
                                        </p:attrNameLst>
                                      </p:cBhvr>
                                      <p:to>
                                        <p:strVal val="visible"/>
                                      </p:to>
                                    </p:set>
                                    <p:anim calcmode="lin" valueType="num">
                                      <p:cBhvr>
                                        <p:cTn id="141" dur="500" fill="hold"/>
                                        <p:tgtEl>
                                          <p:spTgt spid="120"/>
                                        </p:tgtEl>
                                        <p:attrNameLst>
                                          <p:attrName>ppt_w</p:attrName>
                                        </p:attrNameLst>
                                      </p:cBhvr>
                                      <p:tavLst>
                                        <p:tav tm="0">
                                          <p:val>
                                            <p:fltVal val="0"/>
                                          </p:val>
                                        </p:tav>
                                        <p:tav tm="100000">
                                          <p:val>
                                            <p:strVal val="#ppt_w"/>
                                          </p:val>
                                        </p:tav>
                                      </p:tavLst>
                                    </p:anim>
                                    <p:anim calcmode="lin" valueType="num">
                                      <p:cBhvr>
                                        <p:cTn id="142" dur="500" fill="hold"/>
                                        <p:tgtEl>
                                          <p:spTgt spid="120"/>
                                        </p:tgtEl>
                                        <p:attrNameLst>
                                          <p:attrName>ppt_h</p:attrName>
                                        </p:attrNameLst>
                                      </p:cBhvr>
                                      <p:tavLst>
                                        <p:tav tm="0">
                                          <p:val>
                                            <p:fltVal val="0"/>
                                          </p:val>
                                        </p:tav>
                                        <p:tav tm="100000">
                                          <p:val>
                                            <p:strVal val="#ppt_h"/>
                                          </p:val>
                                        </p:tav>
                                      </p:tavLst>
                                    </p:anim>
                                    <p:animEffect transition="in" filter="fade">
                                      <p:cBhvr>
                                        <p:cTn id="143" dur="500"/>
                                        <p:tgtEl>
                                          <p:spTgt spid="120"/>
                                        </p:tgtEl>
                                      </p:cBhvr>
                                    </p:animEffect>
                                  </p:childTnLst>
                                </p:cTn>
                              </p:par>
                              <p:par>
                                <p:cTn id="144" presetID="53" presetClass="entr" presetSubtype="0" fill="hold" nodeType="withEffect">
                                  <p:stCondLst>
                                    <p:cond delay="400"/>
                                  </p:stCondLst>
                                  <p:childTnLst>
                                    <p:set>
                                      <p:cBhvr>
                                        <p:cTn id="145" dur="1" fill="hold">
                                          <p:stCondLst>
                                            <p:cond delay="0"/>
                                          </p:stCondLst>
                                        </p:cTn>
                                        <p:tgtEl>
                                          <p:spTgt spid="126"/>
                                        </p:tgtEl>
                                        <p:attrNameLst>
                                          <p:attrName>style.visibility</p:attrName>
                                        </p:attrNameLst>
                                      </p:cBhvr>
                                      <p:to>
                                        <p:strVal val="visible"/>
                                      </p:to>
                                    </p:set>
                                    <p:anim calcmode="lin" valueType="num">
                                      <p:cBhvr>
                                        <p:cTn id="146" dur="500" fill="hold"/>
                                        <p:tgtEl>
                                          <p:spTgt spid="126"/>
                                        </p:tgtEl>
                                        <p:attrNameLst>
                                          <p:attrName>ppt_w</p:attrName>
                                        </p:attrNameLst>
                                      </p:cBhvr>
                                      <p:tavLst>
                                        <p:tav tm="0">
                                          <p:val>
                                            <p:fltVal val="0"/>
                                          </p:val>
                                        </p:tav>
                                        <p:tav tm="100000">
                                          <p:val>
                                            <p:strVal val="#ppt_w"/>
                                          </p:val>
                                        </p:tav>
                                      </p:tavLst>
                                    </p:anim>
                                    <p:anim calcmode="lin" valueType="num">
                                      <p:cBhvr>
                                        <p:cTn id="147" dur="500" fill="hold"/>
                                        <p:tgtEl>
                                          <p:spTgt spid="126"/>
                                        </p:tgtEl>
                                        <p:attrNameLst>
                                          <p:attrName>ppt_h</p:attrName>
                                        </p:attrNameLst>
                                      </p:cBhvr>
                                      <p:tavLst>
                                        <p:tav tm="0">
                                          <p:val>
                                            <p:fltVal val="0"/>
                                          </p:val>
                                        </p:tav>
                                        <p:tav tm="100000">
                                          <p:val>
                                            <p:strVal val="#ppt_h"/>
                                          </p:val>
                                        </p:tav>
                                      </p:tavLst>
                                    </p:anim>
                                    <p:animEffect transition="in" filter="fade">
                                      <p:cBhvr>
                                        <p:cTn id="148" dur="500"/>
                                        <p:tgtEl>
                                          <p:spTgt spid="126"/>
                                        </p:tgtEl>
                                      </p:cBhvr>
                                    </p:animEffect>
                                  </p:childTnLst>
                                </p:cTn>
                              </p:par>
                              <p:par>
                                <p:cTn id="149" presetID="53" presetClass="entr" presetSubtype="0" fill="hold" nodeType="withEffect">
                                  <p:stCondLst>
                                    <p:cond delay="600"/>
                                  </p:stCondLst>
                                  <p:childTnLst>
                                    <p:set>
                                      <p:cBhvr>
                                        <p:cTn id="150" dur="1" fill="hold">
                                          <p:stCondLst>
                                            <p:cond delay="0"/>
                                          </p:stCondLst>
                                        </p:cTn>
                                        <p:tgtEl>
                                          <p:spTgt spid="116"/>
                                        </p:tgtEl>
                                        <p:attrNameLst>
                                          <p:attrName>style.visibility</p:attrName>
                                        </p:attrNameLst>
                                      </p:cBhvr>
                                      <p:to>
                                        <p:strVal val="visible"/>
                                      </p:to>
                                    </p:set>
                                    <p:anim calcmode="lin" valueType="num">
                                      <p:cBhvr>
                                        <p:cTn id="151" dur="500" fill="hold"/>
                                        <p:tgtEl>
                                          <p:spTgt spid="116"/>
                                        </p:tgtEl>
                                        <p:attrNameLst>
                                          <p:attrName>ppt_w</p:attrName>
                                        </p:attrNameLst>
                                      </p:cBhvr>
                                      <p:tavLst>
                                        <p:tav tm="0">
                                          <p:val>
                                            <p:fltVal val="0"/>
                                          </p:val>
                                        </p:tav>
                                        <p:tav tm="100000">
                                          <p:val>
                                            <p:strVal val="#ppt_w"/>
                                          </p:val>
                                        </p:tav>
                                      </p:tavLst>
                                    </p:anim>
                                    <p:anim calcmode="lin" valueType="num">
                                      <p:cBhvr>
                                        <p:cTn id="152" dur="500" fill="hold"/>
                                        <p:tgtEl>
                                          <p:spTgt spid="116"/>
                                        </p:tgtEl>
                                        <p:attrNameLst>
                                          <p:attrName>ppt_h</p:attrName>
                                        </p:attrNameLst>
                                      </p:cBhvr>
                                      <p:tavLst>
                                        <p:tav tm="0">
                                          <p:val>
                                            <p:fltVal val="0"/>
                                          </p:val>
                                        </p:tav>
                                        <p:tav tm="100000">
                                          <p:val>
                                            <p:strVal val="#ppt_h"/>
                                          </p:val>
                                        </p:tav>
                                      </p:tavLst>
                                    </p:anim>
                                    <p:animEffect transition="in" filter="fade">
                                      <p:cBhvr>
                                        <p:cTn id="153" dur="500"/>
                                        <p:tgtEl>
                                          <p:spTgt spid="116"/>
                                        </p:tgtEl>
                                      </p:cBhvr>
                                    </p:animEffect>
                                  </p:childTnLst>
                                </p:cTn>
                              </p:par>
                              <p:par>
                                <p:cTn id="154" presetID="10" presetClass="entr" presetSubtype="0" fill="hold" grpId="0" nodeType="withEffect">
                                  <p:stCondLst>
                                    <p:cond delay="0"/>
                                  </p:stCondLst>
                                  <p:childTnLst>
                                    <p:set>
                                      <p:cBhvr>
                                        <p:cTn id="155" dur="1" fill="hold">
                                          <p:stCondLst>
                                            <p:cond delay="0"/>
                                          </p:stCondLst>
                                        </p:cTn>
                                        <p:tgtEl>
                                          <p:spTgt spid="131"/>
                                        </p:tgtEl>
                                        <p:attrNameLst>
                                          <p:attrName>style.visibility</p:attrName>
                                        </p:attrNameLst>
                                      </p:cBhvr>
                                      <p:to>
                                        <p:strVal val="visible"/>
                                      </p:to>
                                    </p:set>
                                    <p:animEffect transition="in" filter="fade">
                                      <p:cBhvr>
                                        <p:cTn id="156" dur="500"/>
                                        <p:tgtEl>
                                          <p:spTgt spid="131"/>
                                        </p:tgtEl>
                                      </p:cBhvr>
                                    </p:animEffect>
                                  </p:childTnLst>
                                </p:cTn>
                              </p:par>
                              <p:par>
                                <p:cTn id="157" presetID="10" presetClass="entr" presetSubtype="0" fill="hold" nodeType="withEffect">
                                  <p:stCondLst>
                                    <p:cond delay="0"/>
                                  </p:stCondLst>
                                  <p:childTnLst>
                                    <p:set>
                                      <p:cBhvr>
                                        <p:cTn id="158" dur="1" fill="hold">
                                          <p:stCondLst>
                                            <p:cond delay="0"/>
                                          </p:stCondLst>
                                        </p:cTn>
                                        <p:tgtEl>
                                          <p:spTgt spid="11"/>
                                        </p:tgtEl>
                                        <p:attrNameLst>
                                          <p:attrName>style.visibility</p:attrName>
                                        </p:attrNameLst>
                                      </p:cBhvr>
                                      <p:to>
                                        <p:strVal val="visible"/>
                                      </p:to>
                                    </p:set>
                                    <p:animEffect transition="in" filter="fade">
                                      <p:cBhvr>
                                        <p:cTn id="159" dur="500"/>
                                        <p:tgtEl>
                                          <p:spTgt spid="11"/>
                                        </p:tgtEl>
                                      </p:cBhvr>
                                    </p:animEffect>
                                  </p:childTnLst>
                                </p:cTn>
                              </p:par>
                              <p:par>
                                <p:cTn id="160" presetID="10" presetClass="entr" presetSubtype="0" fill="hold" nodeType="withEffect">
                                  <p:stCondLst>
                                    <p:cond delay="0"/>
                                  </p:stCondLst>
                                  <p:childTnLst>
                                    <p:set>
                                      <p:cBhvr>
                                        <p:cTn id="161" dur="1" fill="hold">
                                          <p:stCondLst>
                                            <p:cond delay="0"/>
                                          </p:stCondLst>
                                        </p:cTn>
                                        <p:tgtEl>
                                          <p:spTgt spid="71"/>
                                        </p:tgtEl>
                                        <p:attrNameLst>
                                          <p:attrName>style.visibility</p:attrName>
                                        </p:attrNameLst>
                                      </p:cBhvr>
                                      <p:to>
                                        <p:strVal val="visible"/>
                                      </p:to>
                                    </p:set>
                                    <p:animEffect transition="in" filter="fade">
                                      <p:cBhvr>
                                        <p:cTn id="162" dur="500"/>
                                        <p:tgtEl>
                                          <p:spTgt spid="71"/>
                                        </p:tgtEl>
                                      </p:cBhvr>
                                    </p:animEffect>
                                  </p:childTnLst>
                                </p:cTn>
                              </p:par>
                            </p:childTnLst>
                          </p:cTn>
                        </p:par>
                        <p:par>
                          <p:cTn id="163" fill="hold">
                            <p:stCondLst>
                              <p:cond delay="4600"/>
                            </p:stCondLst>
                            <p:childTnLst>
                              <p:par>
                                <p:cTn id="164" presetID="10" presetClass="entr" presetSubtype="0" fill="hold" grpId="0" nodeType="afterEffect">
                                  <p:stCondLst>
                                    <p:cond delay="0"/>
                                  </p:stCondLst>
                                  <p:childTnLst>
                                    <p:set>
                                      <p:cBhvr>
                                        <p:cTn id="165" dur="1" fill="hold">
                                          <p:stCondLst>
                                            <p:cond delay="0"/>
                                          </p:stCondLst>
                                        </p:cTn>
                                        <p:tgtEl>
                                          <p:spTgt spid="3"/>
                                        </p:tgtEl>
                                        <p:attrNameLst>
                                          <p:attrName>style.visibility</p:attrName>
                                        </p:attrNameLst>
                                      </p:cBhvr>
                                      <p:to>
                                        <p:strVal val="visible"/>
                                      </p:to>
                                    </p:set>
                                    <p:animEffect transition="in" filter="fade">
                                      <p:cBhvr>
                                        <p:cTn id="166"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4" grpId="0"/>
      <p:bldP spid="130" grpId="0"/>
      <p:bldP spid="131"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r>
              <a:rPr lang="en-US" dirty="0" smtClean="0"/>
              <a:t>demo</a:t>
            </a:r>
            <a:endParaRPr lang="en-US" dirty="0"/>
          </a:p>
        </p:txBody>
      </p:sp>
      <p:sp>
        <p:nvSpPr>
          <p:cNvPr id="5" name="Subtitle 4"/>
          <p:cNvSpPr>
            <a:spLocks noGrp="1"/>
          </p:cNvSpPr>
          <p:nvPr>
            <p:ph type="subTitle" idx="1"/>
          </p:nvPr>
        </p:nvSpPr>
        <p:spPr/>
        <p:txBody>
          <a:bodyPr/>
          <a:lstStyle/>
          <a:p>
            <a:r>
              <a:rPr lang="en-US" dirty="0" smtClean="0"/>
              <a:t>David Robinson</a:t>
            </a:r>
          </a:p>
        </p:txBody>
      </p:sp>
      <p:sp>
        <p:nvSpPr>
          <p:cNvPr id="26" name="Text Placeholder 25"/>
          <p:cNvSpPr>
            <a:spLocks noGrp="1"/>
          </p:cNvSpPr>
          <p:nvPr>
            <p:ph type="body" sz="quarter" idx="11"/>
          </p:nvPr>
        </p:nvSpPr>
        <p:spPr/>
        <p:txBody>
          <a:bodyPr/>
          <a:lstStyle/>
          <a:p>
            <a:r>
              <a:rPr lang="en-US" dirty="0" smtClean="0"/>
              <a:t>SQL Server &amp; Windows Azure Virtual Machines</a:t>
            </a:r>
            <a:endParaRPr lang="en-US" dirty="0"/>
          </a:p>
        </p:txBody>
      </p:sp>
      <p:sp>
        <p:nvSpPr>
          <p:cNvPr id="7"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8"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pic>
        <p:nvPicPr>
          <p:cNvPr id="9"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195658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4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Title 1"/>
          <p:cNvSpPr>
            <a:spLocks noGrp="1"/>
          </p:cNvSpPr>
          <p:nvPr>
            <p:ph type="title"/>
          </p:nvPr>
        </p:nvSpPr>
        <p:spPr>
          <a:xfrm>
            <a:off x="389436" y="171450"/>
            <a:ext cx="8363938" cy="457049"/>
          </a:xfrm>
        </p:spPr>
        <p:txBody>
          <a:bodyPr/>
          <a:lstStyle/>
          <a:p>
            <a:r>
              <a:rPr lang="en-US" dirty="0" smtClean="0"/>
              <a:t>SQL Server 2012</a:t>
            </a:r>
            <a:endParaRPr lang="en-US" dirty="0"/>
          </a:p>
        </p:txBody>
      </p:sp>
      <p:grpSp>
        <p:nvGrpSpPr>
          <p:cNvPr id="46" name="Group 45"/>
          <p:cNvGrpSpPr/>
          <p:nvPr/>
        </p:nvGrpSpPr>
        <p:grpSpPr>
          <a:xfrm>
            <a:off x="654985" y="839203"/>
            <a:ext cx="1886441" cy="1260158"/>
            <a:chOff x="873085" y="1066800"/>
            <a:chExt cx="2514600" cy="1680210"/>
          </a:xfrm>
        </p:grpSpPr>
        <p:sp>
          <p:nvSpPr>
            <p:cNvPr id="47" name="Rectangle 46"/>
            <p:cNvSpPr/>
            <p:nvPr/>
          </p:nvSpPr>
          <p:spPr bwMode="auto">
            <a:xfrm>
              <a:off x="873085" y="1066800"/>
              <a:ext cx="2514600" cy="168021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640080" rIns="91440" bIns="0" numCol="1" spcCol="0" rtlCol="0" fromWordArt="0" anchor="ctr"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Blazing-Fast Performance</a:t>
              </a:r>
              <a:endParaRPr lang="en-US" sz="1500" dirty="0">
                <a:gradFill>
                  <a:gsLst>
                    <a:gs pos="0">
                      <a:srgbClr val="FFFFFF"/>
                    </a:gs>
                    <a:gs pos="100000">
                      <a:srgbClr val="FFFFFF"/>
                    </a:gs>
                  </a:gsLst>
                  <a:lin ang="5400000" scaled="0"/>
                </a:gradFill>
              </a:endParaRPr>
            </a:p>
          </p:txBody>
        </p:sp>
        <p:sp>
          <p:nvSpPr>
            <p:cNvPr id="48" name="TextBox 47"/>
            <p:cNvSpPr txBox="1"/>
            <p:nvPr/>
          </p:nvSpPr>
          <p:spPr>
            <a:xfrm>
              <a:off x="2961286" y="1066800"/>
              <a:ext cx="356415" cy="615553"/>
            </a:xfrm>
            <a:prstGeom prst="rect">
              <a:avLst/>
            </a:prstGeom>
            <a:noFill/>
          </p:spPr>
          <p:txBody>
            <a:bodyPr wrap="none" lIns="0" tIns="0" rIns="45720" bIns="0" rtlCol="0">
              <a:spAutoFit/>
            </a:bodyPr>
            <a:lstStyle/>
            <a:p>
              <a:r>
                <a:rPr lang="en-US" sz="3000" b="1" dirty="0">
                  <a:solidFill>
                    <a:schemeClr val="accent1">
                      <a:lumMod val="75000"/>
                    </a:schemeClr>
                  </a:solidFill>
                </a:rPr>
                <a:t>1</a:t>
              </a:r>
              <a:endParaRPr lang="en-US" sz="3000" b="1" dirty="0">
                <a:solidFill>
                  <a:schemeClr val="accent1">
                    <a:lumMod val="75000"/>
                  </a:schemeClr>
                </a:solidFill>
              </a:endParaRPr>
            </a:p>
          </p:txBody>
        </p:sp>
        <p:pic>
          <p:nvPicPr>
            <p:cNvPr id="49" name="Picture 4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1839" y="1149508"/>
              <a:ext cx="712235" cy="712235"/>
            </a:xfrm>
            <a:prstGeom prst="rect">
              <a:avLst/>
            </a:prstGeom>
          </p:spPr>
        </p:pic>
      </p:grpSp>
      <p:grpSp>
        <p:nvGrpSpPr>
          <p:cNvPr id="50" name="Group 49"/>
          <p:cNvGrpSpPr/>
          <p:nvPr/>
        </p:nvGrpSpPr>
        <p:grpSpPr>
          <a:xfrm>
            <a:off x="654984" y="2189823"/>
            <a:ext cx="1886441" cy="1260158"/>
            <a:chOff x="873085" y="2914952"/>
            <a:chExt cx="2514600" cy="1680210"/>
          </a:xfrm>
        </p:grpSpPr>
        <p:sp>
          <p:nvSpPr>
            <p:cNvPr id="51" name="Rectangle 50"/>
            <p:cNvSpPr/>
            <p:nvPr/>
          </p:nvSpPr>
          <p:spPr bwMode="auto">
            <a:xfrm>
              <a:off x="873085" y="2914952"/>
              <a:ext cx="2514600" cy="168021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640080" rIns="91440" bIns="0" numCol="1" spcCol="0" rtlCol="0" fromWordArt="0" anchor="ctr"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Scale</a:t>
              </a:r>
            </a:p>
            <a:p>
              <a:pPr defTabSz="685666" fontAlgn="base">
                <a:spcBef>
                  <a:spcPct val="0"/>
                </a:spcBef>
                <a:spcAft>
                  <a:spcPct val="0"/>
                </a:spcAft>
              </a:pPr>
              <a:r>
                <a:rPr lang="en-US" sz="1500" dirty="0">
                  <a:gradFill>
                    <a:gsLst>
                      <a:gs pos="0">
                        <a:srgbClr val="FFFFFF"/>
                      </a:gs>
                      <a:gs pos="100000">
                        <a:srgbClr val="FFFFFF"/>
                      </a:gs>
                    </a:gsLst>
                    <a:lin ang="5400000" scaled="0"/>
                  </a:gradFill>
                </a:rPr>
                <a:t>On Demand</a:t>
              </a:r>
              <a:endParaRPr lang="en-US" sz="1500" dirty="0">
                <a:gradFill>
                  <a:gsLst>
                    <a:gs pos="0">
                      <a:srgbClr val="FFFFFF"/>
                    </a:gs>
                    <a:gs pos="100000">
                      <a:srgbClr val="FFFFFF"/>
                    </a:gs>
                  </a:gsLst>
                  <a:lin ang="5400000" scaled="0"/>
                </a:gradFill>
              </a:endParaRPr>
            </a:p>
          </p:txBody>
        </p:sp>
        <p:sp>
          <p:nvSpPr>
            <p:cNvPr id="55" name="TextBox 54"/>
            <p:cNvSpPr txBox="1"/>
            <p:nvPr/>
          </p:nvSpPr>
          <p:spPr>
            <a:xfrm>
              <a:off x="2943291" y="2914952"/>
              <a:ext cx="356415" cy="615553"/>
            </a:xfrm>
            <a:prstGeom prst="rect">
              <a:avLst/>
            </a:prstGeom>
            <a:noFill/>
          </p:spPr>
          <p:txBody>
            <a:bodyPr wrap="none" lIns="0" tIns="0" rIns="45720" bIns="0" rtlCol="0">
              <a:spAutoFit/>
            </a:bodyPr>
            <a:lstStyle/>
            <a:p>
              <a:r>
                <a:rPr lang="en-US" sz="3000" b="1" dirty="0">
                  <a:solidFill>
                    <a:schemeClr val="accent1">
                      <a:lumMod val="75000"/>
                    </a:schemeClr>
                  </a:solidFill>
                </a:rPr>
                <a:t>5</a:t>
              </a:r>
            </a:p>
          </p:txBody>
        </p:sp>
        <p:grpSp>
          <p:nvGrpSpPr>
            <p:cNvPr id="59" name="Group 58"/>
            <p:cNvGrpSpPr/>
            <p:nvPr/>
          </p:nvGrpSpPr>
          <p:grpSpPr>
            <a:xfrm>
              <a:off x="1101685" y="3125187"/>
              <a:ext cx="787272" cy="414961"/>
              <a:chOff x="7792432" y="3461097"/>
              <a:chExt cx="568902" cy="299861"/>
            </a:xfrm>
          </p:grpSpPr>
          <p:sp>
            <p:nvSpPr>
              <p:cNvPr id="63" name="Freeform 8"/>
              <p:cNvSpPr>
                <a:spLocks/>
              </p:cNvSpPr>
              <p:nvPr/>
            </p:nvSpPr>
            <p:spPr bwMode="auto">
              <a:xfrm>
                <a:off x="8055009" y="3461097"/>
                <a:ext cx="306325" cy="299861"/>
              </a:xfrm>
              <a:custGeom>
                <a:avLst/>
                <a:gdLst>
                  <a:gd name="T0" fmla="*/ 100 w 100"/>
                  <a:gd name="T1" fmla="*/ 0 h 98"/>
                  <a:gd name="T2" fmla="*/ 16 w 100"/>
                  <a:gd name="T3" fmla="*/ 13 h 98"/>
                  <a:gd name="T4" fmla="*/ 41 w 100"/>
                  <a:gd name="T5" fmla="*/ 39 h 98"/>
                  <a:gd name="T6" fmla="*/ 41 w 100"/>
                  <a:gd name="T7" fmla="*/ 39 h 98"/>
                  <a:gd name="T8" fmla="*/ 6 w 100"/>
                  <a:gd name="T9" fmla="*/ 75 h 98"/>
                  <a:gd name="T10" fmla="*/ 6 w 100"/>
                  <a:gd name="T11" fmla="*/ 94 h 98"/>
                  <a:gd name="T12" fmla="*/ 16 w 100"/>
                  <a:gd name="T13" fmla="*/ 98 h 98"/>
                  <a:gd name="T14" fmla="*/ 25 w 100"/>
                  <a:gd name="T15" fmla="*/ 94 h 98"/>
                  <a:gd name="T16" fmla="*/ 61 w 100"/>
                  <a:gd name="T17" fmla="*/ 59 h 98"/>
                  <a:gd name="T18" fmla="*/ 61 w 100"/>
                  <a:gd name="T19" fmla="*/ 59 h 98"/>
                  <a:gd name="T20" fmla="*/ 87 w 100"/>
                  <a:gd name="T21" fmla="*/ 84 h 98"/>
                  <a:gd name="T22" fmla="*/ 100 w 100"/>
                  <a:gd name="T23"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98">
                    <a:moveTo>
                      <a:pt x="100" y="0"/>
                    </a:moveTo>
                    <a:cubicBezTo>
                      <a:pt x="16" y="13"/>
                      <a:pt x="16" y="13"/>
                      <a:pt x="16" y="13"/>
                    </a:cubicBezTo>
                    <a:cubicBezTo>
                      <a:pt x="41" y="39"/>
                      <a:pt x="41" y="39"/>
                      <a:pt x="41" y="39"/>
                    </a:cubicBezTo>
                    <a:cubicBezTo>
                      <a:pt x="41" y="39"/>
                      <a:pt x="41" y="39"/>
                      <a:pt x="41" y="39"/>
                    </a:cubicBezTo>
                    <a:cubicBezTo>
                      <a:pt x="6" y="75"/>
                      <a:pt x="6" y="75"/>
                      <a:pt x="6" y="75"/>
                    </a:cubicBezTo>
                    <a:cubicBezTo>
                      <a:pt x="0" y="80"/>
                      <a:pt x="0" y="89"/>
                      <a:pt x="6" y="94"/>
                    </a:cubicBezTo>
                    <a:cubicBezTo>
                      <a:pt x="8" y="97"/>
                      <a:pt x="12" y="98"/>
                      <a:pt x="16" y="98"/>
                    </a:cubicBezTo>
                    <a:cubicBezTo>
                      <a:pt x="19" y="98"/>
                      <a:pt x="23" y="97"/>
                      <a:pt x="25" y="94"/>
                    </a:cubicBezTo>
                    <a:cubicBezTo>
                      <a:pt x="61" y="59"/>
                      <a:pt x="61" y="59"/>
                      <a:pt x="61" y="59"/>
                    </a:cubicBezTo>
                    <a:cubicBezTo>
                      <a:pt x="61" y="59"/>
                      <a:pt x="61" y="59"/>
                      <a:pt x="61" y="59"/>
                    </a:cubicBezTo>
                    <a:cubicBezTo>
                      <a:pt x="87" y="84"/>
                      <a:pt x="87" y="84"/>
                      <a:pt x="87" y="84"/>
                    </a:cubicBezTo>
                    <a:lnTo>
                      <a:pt x="10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Rectangle 9"/>
              <p:cNvSpPr>
                <a:spLocks noChangeArrowheads="1"/>
              </p:cNvSpPr>
              <p:nvPr/>
            </p:nvSpPr>
            <p:spPr bwMode="auto">
              <a:xfrm>
                <a:off x="7891463" y="3675653"/>
                <a:ext cx="212661"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Rectangle 9"/>
              <p:cNvSpPr>
                <a:spLocks noChangeArrowheads="1"/>
              </p:cNvSpPr>
              <p:nvPr/>
            </p:nvSpPr>
            <p:spPr bwMode="auto">
              <a:xfrm>
                <a:off x="7792432" y="3675653"/>
                <a:ext cx="27432"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Rectangle 9"/>
              <p:cNvSpPr>
                <a:spLocks noChangeArrowheads="1"/>
              </p:cNvSpPr>
              <p:nvPr/>
            </p:nvSpPr>
            <p:spPr bwMode="auto">
              <a:xfrm>
                <a:off x="7832804" y="3675653"/>
                <a:ext cx="45719"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81" name="Group 80"/>
          <p:cNvGrpSpPr/>
          <p:nvPr/>
        </p:nvGrpSpPr>
        <p:grpSpPr>
          <a:xfrm>
            <a:off x="2626146" y="3540442"/>
            <a:ext cx="1886441" cy="1260158"/>
            <a:chOff x="873085" y="4720590"/>
            <a:chExt cx="2514600" cy="1680210"/>
          </a:xfrm>
        </p:grpSpPr>
        <p:sp>
          <p:nvSpPr>
            <p:cNvPr id="82" name="Rectangle 81"/>
            <p:cNvSpPr/>
            <p:nvPr/>
          </p:nvSpPr>
          <p:spPr bwMode="auto">
            <a:xfrm>
              <a:off x="873085" y="4720590"/>
              <a:ext cx="2514600" cy="168021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640080" rIns="91440" bIns="0" numCol="1" spcCol="0" rtlCol="0" fromWordArt="0" anchor="ctr"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Credible, </a:t>
              </a:r>
            </a:p>
            <a:p>
              <a:pPr defTabSz="685666" fontAlgn="base">
                <a:spcBef>
                  <a:spcPct val="0"/>
                </a:spcBef>
                <a:spcAft>
                  <a:spcPct val="0"/>
                </a:spcAft>
              </a:pPr>
              <a:r>
                <a:rPr lang="en-US" sz="1500" dirty="0">
                  <a:gradFill>
                    <a:gsLst>
                      <a:gs pos="0">
                        <a:srgbClr val="FFFFFF"/>
                      </a:gs>
                      <a:gs pos="100000">
                        <a:srgbClr val="FFFFFF"/>
                      </a:gs>
                    </a:gsLst>
                    <a:lin ang="5400000" scaled="0"/>
                  </a:gradFill>
                </a:rPr>
                <a:t>Consistent Data</a:t>
              </a:r>
            </a:p>
          </p:txBody>
        </p:sp>
        <p:sp>
          <p:nvSpPr>
            <p:cNvPr id="83" name="TextBox 82"/>
            <p:cNvSpPr txBox="1"/>
            <p:nvPr/>
          </p:nvSpPr>
          <p:spPr>
            <a:xfrm>
              <a:off x="2645865" y="4720590"/>
              <a:ext cx="651290" cy="615553"/>
            </a:xfrm>
            <a:prstGeom prst="rect">
              <a:avLst/>
            </a:prstGeom>
            <a:noFill/>
          </p:spPr>
          <p:txBody>
            <a:bodyPr wrap="none" lIns="0" tIns="0" rIns="45720" bIns="0" rtlCol="0">
              <a:spAutoFit/>
            </a:bodyPr>
            <a:lstStyle/>
            <a:p>
              <a:pPr algn="r"/>
              <a:r>
                <a:rPr lang="en-US" sz="3000" b="1" dirty="0">
                  <a:solidFill>
                    <a:schemeClr val="accent1">
                      <a:lumMod val="75000"/>
                    </a:schemeClr>
                  </a:solidFill>
                </a:rPr>
                <a:t>10</a:t>
              </a:r>
              <a:endParaRPr lang="en-US" sz="3000" b="1" dirty="0">
                <a:solidFill>
                  <a:schemeClr val="accent1">
                    <a:lumMod val="75000"/>
                  </a:schemeClr>
                </a:solidFill>
              </a:endParaRPr>
            </a:p>
          </p:txBody>
        </p:sp>
        <p:pic>
          <p:nvPicPr>
            <p:cNvPr id="84" name="Picture 2"/>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81839" y="4809790"/>
              <a:ext cx="790621" cy="702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85" name="Group 84"/>
          <p:cNvGrpSpPr/>
          <p:nvPr/>
        </p:nvGrpSpPr>
        <p:grpSpPr>
          <a:xfrm>
            <a:off x="2626146" y="839203"/>
            <a:ext cx="1886441" cy="1260158"/>
            <a:chOff x="3522922" y="1066685"/>
            <a:chExt cx="2514600" cy="1680210"/>
          </a:xfrm>
        </p:grpSpPr>
        <p:sp>
          <p:nvSpPr>
            <p:cNvPr id="86" name="Rectangle 85"/>
            <p:cNvSpPr/>
            <p:nvPr/>
          </p:nvSpPr>
          <p:spPr bwMode="auto">
            <a:xfrm>
              <a:off x="3522922" y="1066685"/>
              <a:ext cx="2514600" cy="168021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640080" rIns="91440" bIns="0" numCol="1" spcCol="0" rtlCol="0" fromWordArt="0" anchor="ctr"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Security &amp; Compliance</a:t>
              </a:r>
              <a:endParaRPr lang="en-US" sz="1500" dirty="0">
                <a:gradFill>
                  <a:gsLst>
                    <a:gs pos="0">
                      <a:srgbClr val="FFFFFF"/>
                    </a:gs>
                    <a:gs pos="100000">
                      <a:srgbClr val="FFFFFF"/>
                    </a:gs>
                  </a:gsLst>
                  <a:lin ang="5400000" scaled="0"/>
                </a:gradFill>
              </a:endParaRPr>
            </a:p>
          </p:txBody>
        </p:sp>
        <p:sp>
          <p:nvSpPr>
            <p:cNvPr id="87" name="TextBox 86"/>
            <p:cNvSpPr txBox="1"/>
            <p:nvPr/>
          </p:nvSpPr>
          <p:spPr>
            <a:xfrm>
              <a:off x="5611122" y="1066800"/>
              <a:ext cx="356415" cy="615553"/>
            </a:xfrm>
            <a:prstGeom prst="rect">
              <a:avLst/>
            </a:prstGeom>
            <a:noFill/>
          </p:spPr>
          <p:txBody>
            <a:bodyPr wrap="none" lIns="0" tIns="0" rIns="45720" bIns="0" rtlCol="0">
              <a:spAutoFit/>
            </a:bodyPr>
            <a:lstStyle/>
            <a:p>
              <a:r>
                <a:rPr lang="en-US" sz="3000" b="1" dirty="0">
                  <a:solidFill>
                    <a:schemeClr val="accent1">
                      <a:lumMod val="75000"/>
                    </a:schemeClr>
                  </a:solidFill>
                </a:rPr>
                <a:t>2</a:t>
              </a:r>
            </a:p>
          </p:txBody>
        </p:sp>
        <p:pic>
          <p:nvPicPr>
            <p:cNvPr id="88" name="Picture 87" descr="keu.png"/>
            <p:cNvPicPr>
              <a:picLocks noChangeAspect="1"/>
            </p:cNvPicPr>
            <p:nvPr>
              <p:custDataLst>
                <p:tags r:id="rId3"/>
              </p:custDataLst>
            </p:nvPr>
          </p:nvPicPr>
          <p:blipFill>
            <a:blip r:embed="rId7" cstate="print">
              <a:biLevel thresh="25000"/>
            </a:blip>
            <a:stretch>
              <a:fillRect/>
            </a:stretch>
          </p:blipFill>
          <p:spPr>
            <a:xfrm>
              <a:off x="3692485" y="1121915"/>
              <a:ext cx="714326" cy="714326"/>
            </a:xfrm>
            <a:prstGeom prst="rect">
              <a:avLst/>
            </a:prstGeom>
            <a:effectLst/>
          </p:spPr>
        </p:pic>
      </p:grpSp>
      <p:grpSp>
        <p:nvGrpSpPr>
          <p:cNvPr id="89" name="Group 88"/>
          <p:cNvGrpSpPr/>
          <p:nvPr/>
        </p:nvGrpSpPr>
        <p:grpSpPr>
          <a:xfrm>
            <a:off x="2626146" y="2189823"/>
            <a:ext cx="1886441" cy="1260158"/>
            <a:chOff x="3527384" y="2914952"/>
            <a:chExt cx="2514600" cy="1680210"/>
          </a:xfrm>
        </p:grpSpPr>
        <p:sp>
          <p:nvSpPr>
            <p:cNvPr id="90" name="Rectangle 89"/>
            <p:cNvSpPr/>
            <p:nvPr/>
          </p:nvSpPr>
          <p:spPr bwMode="auto">
            <a:xfrm>
              <a:off x="3527384" y="2914952"/>
              <a:ext cx="2514600" cy="168021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640080" rIns="91440" bIns="0" numCol="1" spcCol="0" rtlCol="0" fromWordArt="0" anchor="ctr"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Fast Time</a:t>
              </a:r>
            </a:p>
            <a:p>
              <a:pPr defTabSz="685666" fontAlgn="base">
                <a:spcBef>
                  <a:spcPct val="0"/>
                </a:spcBef>
                <a:spcAft>
                  <a:spcPct val="0"/>
                </a:spcAft>
              </a:pPr>
              <a:r>
                <a:rPr lang="en-US" sz="1500" dirty="0">
                  <a:gradFill>
                    <a:gsLst>
                      <a:gs pos="0">
                        <a:srgbClr val="FFFFFF"/>
                      </a:gs>
                      <a:gs pos="100000">
                        <a:srgbClr val="FFFFFF"/>
                      </a:gs>
                    </a:gsLst>
                    <a:lin ang="5400000" scaled="0"/>
                  </a:gradFill>
                </a:rPr>
                <a:t>t</a:t>
              </a:r>
              <a:r>
                <a:rPr lang="en-US" sz="1500" dirty="0">
                  <a:gradFill>
                    <a:gsLst>
                      <a:gs pos="0">
                        <a:srgbClr val="FFFFFF"/>
                      </a:gs>
                      <a:gs pos="100000">
                        <a:srgbClr val="FFFFFF"/>
                      </a:gs>
                    </a:gsLst>
                    <a:lin ang="5400000" scaled="0"/>
                  </a:gradFill>
                </a:rPr>
                <a:t>o Solution</a:t>
              </a:r>
              <a:endParaRPr lang="en-US" sz="1500" dirty="0">
                <a:gradFill>
                  <a:gsLst>
                    <a:gs pos="0">
                      <a:srgbClr val="FFFFFF"/>
                    </a:gs>
                    <a:gs pos="100000">
                      <a:srgbClr val="FFFFFF"/>
                    </a:gs>
                  </a:gsLst>
                  <a:lin ang="5400000" scaled="0"/>
                </a:gradFill>
              </a:endParaRPr>
            </a:p>
          </p:txBody>
        </p:sp>
        <p:sp>
          <p:nvSpPr>
            <p:cNvPr id="91" name="TextBox 90"/>
            <p:cNvSpPr txBox="1"/>
            <p:nvPr/>
          </p:nvSpPr>
          <p:spPr>
            <a:xfrm>
              <a:off x="5597590" y="2914952"/>
              <a:ext cx="356415" cy="615553"/>
            </a:xfrm>
            <a:prstGeom prst="rect">
              <a:avLst/>
            </a:prstGeom>
            <a:noFill/>
          </p:spPr>
          <p:txBody>
            <a:bodyPr wrap="none" lIns="0" tIns="0" rIns="45720" bIns="0" rtlCol="0">
              <a:spAutoFit/>
            </a:bodyPr>
            <a:lstStyle/>
            <a:p>
              <a:r>
                <a:rPr lang="en-US" sz="3000" b="1" dirty="0">
                  <a:solidFill>
                    <a:schemeClr val="accent1">
                      <a:lumMod val="75000"/>
                    </a:schemeClr>
                  </a:solidFill>
                </a:rPr>
                <a:t>6</a:t>
              </a:r>
            </a:p>
          </p:txBody>
        </p:sp>
        <p:pic>
          <p:nvPicPr>
            <p:cNvPr id="92" name="Picture 3" descr="\\SFP\Work\White_Whale\3-22036_Kuleen_Bharadwaj\PPT\3_PlatformVision_Kuleen\SFP_Art\Plane Slide\mon_notie.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612602" y="2980360"/>
              <a:ext cx="600158" cy="70403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3" name="Group 92"/>
          <p:cNvGrpSpPr/>
          <p:nvPr/>
        </p:nvGrpSpPr>
        <p:grpSpPr>
          <a:xfrm>
            <a:off x="4597308" y="3540442"/>
            <a:ext cx="1886441" cy="1260158"/>
            <a:chOff x="3527384" y="4720590"/>
            <a:chExt cx="2514600" cy="1680210"/>
          </a:xfrm>
        </p:grpSpPr>
        <p:sp>
          <p:nvSpPr>
            <p:cNvPr id="94" name="Rectangle 93"/>
            <p:cNvSpPr/>
            <p:nvPr/>
          </p:nvSpPr>
          <p:spPr bwMode="auto">
            <a:xfrm>
              <a:off x="3527384" y="4720590"/>
              <a:ext cx="2514600" cy="168021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640080" rIns="91440" bIns="0" numCol="1" spcCol="0" rtlCol="0" fromWordArt="0" anchor="ctr"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Managed </a:t>
              </a:r>
              <a:r>
                <a:rPr lang="en-US" sz="1500" dirty="0">
                  <a:gradFill>
                    <a:gsLst>
                      <a:gs pos="0">
                        <a:srgbClr val="FFFFFF"/>
                      </a:gs>
                      <a:gs pos="100000">
                        <a:srgbClr val="FFFFFF"/>
                      </a:gs>
                    </a:gsLst>
                    <a:lin ang="5400000" scaled="0"/>
                  </a:gradFill>
                </a:rPr>
                <a:t/>
              </a:r>
              <a:br>
                <a:rPr lang="en-US" sz="1500" dirty="0">
                  <a:gradFill>
                    <a:gsLst>
                      <a:gs pos="0">
                        <a:srgbClr val="FFFFFF"/>
                      </a:gs>
                      <a:gs pos="100000">
                        <a:srgbClr val="FFFFFF"/>
                      </a:gs>
                    </a:gsLst>
                    <a:lin ang="5400000" scaled="0"/>
                  </a:gradFill>
                </a:rPr>
              </a:br>
              <a:r>
                <a:rPr lang="en-US" sz="1500" dirty="0">
                  <a:gradFill>
                    <a:gsLst>
                      <a:gs pos="0">
                        <a:srgbClr val="FFFFFF"/>
                      </a:gs>
                      <a:gs pos="100000">
                        <a:srgbClr val="FFFFFF"/>
                      </a:gs>
                    </a:gsLst>
                    <a:lin ang="5400000" scaled="0"/>
                  </a:gradFill>
                </a:rPr>
                <a:t>Self-Service </a:t>
              </a:r>
              <a:r>
                <a:rPr lang="en-US" sz="1500" dirty="0">
                  <a:gradFill>
                    <a:gsLst>
                      <a:gs pos="0">
                        <a:srgbClr val="FFFFFF"/>
                      </a:gs>
                      <a:gs pos="100000">
                        <a:srgbClr val="FFFFFF"/>
                      </a:gs>
                    </a:gsLst>
                    <a:lin ang="5400000" scaled="0"/>
                  </a:gradFill>
                </a:rPr>
                <a:t>BI</a:t>
              </a:r>
            </a:p>
          </p:txBody>
        </p:sp>
        <p:sp>
          <p:nvSpPr>
            <p:cNvPr id="95" name="TextBox 94"/>
            <p:cNvSpPr txBox="1"/>
            <p:nvPr/>
          </p:nvSpPr>
          <p:spPr>
            <a:xfrm>
              <a:off x="5233905" y="4720590"/>
              <a:ext cx="651290" cy="615553"/>
            </a:xfrm>
            <a:prstGeom prst="rect">
              <a:avLst/>
            </a:prstGeom>
            <a:noFill/>
          </p:spPr>
          <p:txBody>
            <a:bodyPr wrap="none" lIns="0" tIns="0" rIns="45720" bIns="0" rtlCol="0">
              <a:spAutoFit/>
            </a:bodyPr>
            <a:lstStyle/>
            <a:p>
              <a:r>
                <a:rPr lang="en-US" sz="3000" b="1" dirty="0">
                  <a:solidFill>
                    <a:schemeClr val="accent1">
                      <a:lumMod val="75000"/>
                    </a:schemeClr>
                  </a:solidFill>
                </a:rPr>
                <a:t>11</a:t>
              </a:r>
              <a:endParaRPr lang="en-US" sz="3000" b="1" dirty="0">
                <a:solidFill>
                  <a:schemeClr val="accent1">
                    <a:lumMod val="75000"/>
                  </a:schemeClr>
                </a:solidFill>
              </a:endParaRPr>
            </a:p>
          </p:txBody>
        </p:sp>
        <p:pic>
          <p:nvPicPr>
            <p:cNvPr id="96" name="Picture 174"/>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645509" y="4809790"/>
              <a:ext cx="700075" cy="7008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97" name="Group 96"/>
          <p:cNvGrpSpPr/>
          <p:nvPr/>
        </p:nvGrpSpPr>
        <p:grpSpPr>
          <a:xfrm>
            <a:off x="4597308" y="839203"/>
            <a:ext cx="1886441" cy="1260158"/>
            <a:chOff x="6182770" y="1066800"/>
            <a:chExt cx="2514600" cy="1680210"/>
          </a:xfrm>
        </p:grpSpPr>
        <p:sp>
          <p:nvSpPr>
            <p:cNvPr id="98" name="Rectangle 97"/>
            <p:cNvSpPr/>
            <p:nvPr/>
          </p:nvSpPr>
          <p:spPr bwMode="auto">
            <a:xfrm>
              <a:off x="6182770" y="1066800"/>
              <a:ext cx="2514600" cy="168021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640080" rIns="91440" bIns="0" numCol="1" spcCol="0" rtlCol="0" fromWordArt="0" anchor="ctr"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Required 9s &amp; </a:t>
              </a:r>
              <a:br>
                <a:rPr lang="en-US" sz="1500" dirty="0">
                  <a:gradFill>
                    <a:gsLst>
                      <a:gs pos="0">
                        <a:srgbClr val="FFFFFF"/>
                      </a:gs>
                      <a:gs pos="100000">
                        <a:srgbClr val="FFFFFF"/>
                      </a:gs>
                    </a:gsLst>
                    <a:lin ang="5400000" scaled="0"/>
                  </a:gradFill>
                </a:rPr>
              </a:br>
              <a:r>
                <a:rPr lang="en-US" sz="1500" dirty="0">
                  <a:gradFill>
                    <a:gsLst>
                      <a:gs pos="0">
                        <a:srgbClr val="FFFFFF"/>
                      </a:gs>
                      <a:gs pos="100000">
                        <a:srgbClr val="FFFFFF"/>
                      </a:gs>
                    </a:gsLst>
                    <a:lin ang="5400000" scaled="0"/>
                  </a:gradFill>
                </a:rPr>
                <a:t>Data Protection</a:t>
              </a:r>
              <a:endParaRPr lang="en-US" sz="1500" dirty="0">
                <a:gradFill>
                  <a:gsLst>
                    <a:gs pos="0">
                      <a:srgbClr val="FFFFFF"/>
                    </a:gs>
                    <a:gs pos="100000">
                      <a:srgbClr val="FFFFFF"/>
                    </a:gs>
                  </a:gsLst>
                  <a:lin ang="5400000" scaled="0"/>
                </a:gradFill>
              </a:endParaRPr>
            </a:p>
          </p:txBody>
        </p:sp>
        <p:sp>
          <p:nvSpPr>
            <p:cNvPr id="99" name="TextBox 98"/>
            <p:cNvSpPr txBox="1"/>
            <p:nvPr/>
          </p:nvSpPr>
          <p:spPr>
            <a:xfrm>
              <a:off x="8270970" y="1066800"/>
              <a:ext cx="356415" cy="615553"/>
            </a:xfrm>
            <a:prstGeom prst="rect">
              <a:avLst/>
            </a:prstGeom>
            <a:noFill/>
          </p:spPr>
          <p:txBody>
            <a:bodyPr wrap="none" lIns="0" tIns="0" rIns="45720" bIns="0" rtlCol="0">
              <a:spAutoFit/>
            </a:bodyPr>
            <a:lstStyle/>
            <a:p>
              <a:r>
                <a:rPr lang="en-US" sz="3000" b="1" dirty="0">
                  <a:solidFill>
                    <a:schemeClr val="accent1">
                      <a:lumMod val="75000"/>
                    </a:schemeClr>
                  </a:solidFill>
                </a:rPr>
                <a:t>3</a:t>
              </a:r>
            </a:p>
          </p:txBody>
        </p:sp>
        <p:pic>
          <p:nvPicPr>
            <p:cNvPr id="100" name="Picture 4" descr="\\MAGNUM\Projects\Microsoft\Cloud Power FY12\Design\ICONS_PNG\Check_mark.png"/>
            <p:cNvPicPr>
              <a:picLocks noChangeAspect="1" noChangeArrowheads="1"/>
            </p:cNvPicPr>
            <p:nvPr/>
          </p:nvPicPr>
          <p:blipFill rotWithShape="1">
            <a:blip r:embed="rId10" cstate="print">
              <a:lum bright="100000"/>
            </a:blip>
            <a:srcRect t="11515"/>
            <a:stretch/>
          </p:blipFill>
          <p:spPr bwMode="auto">
            <a:xfrm>
              <a:off x="6196172" y="1090507"/>
              <a:ext cx="922518" cy="816283"/>
            </a:xfrm>
            <a:prstGeom prst="rect">
              <a:avLst/>
            </a:prstGeom>
            <a:noFill/>
          </p:spPr>
        </p:pic>
      </p:grpSp>
      <p:grpSp>
        <p:nvGrpSpPr>
          <p:cNvPr id="101" name="Group 100"/>
          <p:cNvGrpSpPr/>
          <p:nvPr/>
        </p:nvGrpSpPr>
        <p:grpSpPr>
          <a:xfrm>
            <a:off x="4597308" y="2189823"/>
            <a:ext cx="1886441" cy="1260158"/>
            <a:chOff x="6181684" y="2914952"/>
            <a:chExt cx="2514600" cy="1680210"/>
          </a:xfrm>
        </p:grpSpPr>
        <p:sp>
          <p:nvSpPr>
            <p:cNvPr id="102" name="Rectangle 101"/>
            <p:cNvSpPr/>
            <p:nvPr/>
          </p:nvSpPr>
          <p:spPr bwMode="auto">
            <a:xfrm>
              <a:off x="6181684" y="2914952"/>
              <a:ext cx="2514600" cy="168021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640080" rIns="91440" bIns="0" numCol="1" spcCol="0" rtlCol="0" fromWordArt="0" anchor="ctr"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Extend Any Data, Anywhere</a:t>
              </a:r>
              <a:endParaRPr lang="en-US" sz="1500" dirty="0">
                <a:gradFill>
                  <a:gsLst>
                    <a:gs pos="0">
                      <a:srgbClr val="FFFFFF"/>
                    </a:gs>
                    <a:gs pos="100000">
                      <a:srgbClr val="FFFFFF"/>
                    </a:gs>
                  </a:gsLst>
                  <a:lin ang="5400000" scaled="0"/>
                </a:gradFill>
              </a:endParaRPr>
            </a:p>
          </p:txBody>
        </p:sp>
        <p:sp>
          <p:nvSpPr>
            <p:cNvPr id="103" name="TextBox 102"/>
            <p:cNvSpPr txBox="1"/>
            <p:nvPr/>
          </p:nvSpPr>
          <p:spPr>
            <a:xfrm>
              <a:off x="8257644" y="2914952"/>
              <a:ext cx="356415" cy="615553"/>
            </a:xfrm>
            <a:prstGeom prst="rect">
              <a:avLst/>
            </a:prstGeom>
            <a:noFill/>
          </p:spPr>
          <p:txBody>
            <a:bodyPr wrap="none" lIns="0" tIns="0" rIns="45720" bIns="0" rtlCol="0">
              <a:spAutoFit/>
            </a:bodyPr>
            <a:lstStyle/>
            <a:p>
              <a:r>
                <a:rPr lang="en-US" sz="3000" b="1" dirty="0">
                  <a:solidFill>
                    <a:schemeClr val="accent1">
                      <a:lumMod val="75000"/>
                    </a:schemeClr>
                  </a:solidFill>
                </a:rPr>
                <a:t>7</a:t>
              </a:r>
            </a:p>
          </p:txBody>
        </p:sp>
        <p:pic>
          <p:nvPicPr>
            <p:cNvPr id="104" name="Picture 7" descr="\\MAGNUM\Projects\Microsoft\Cloud Power FY12\Design\ICONS_PNG\Physical_Virtual.png"/>
            <p:cNvPicPr>
              <a:picLocks noChangeAspect="1" noChangeArrowheads="1"/>
            </p:cNvPicPr>
            <p:nvPr/>
          </p:nvPicPr>
          <p:blipFill rotWithShape="1">
            <a:blip r:embed="rId11" cstate="print">
              <a:extLst>
                <a:ext uri="{BEBA8EAE-BF5A-486C-A8C5-ECC9F3942E4B}">
                  <a14:imgProps xmlns:a14="http://schemas.microsoft.com/office/drawing/2010/main">
                    <a14:imgLayer r:embed="rId12">
                      <a14:imgEffect>
                        <a14:brightnessContrast bright="100000"/>
                      </a14:imgEffect>
                    </a14:imgLayer>
                  </a14:imgProps>
                </a:ext>
              </a:extLst>
            </a:blip>
            <a:srcRect l="7856" t="39072" r="7907" b="5885"/>
            <a:stretch/>
          </p:blipFill>
          <p:spPr bwMode="auto">
            <a:xfrm>
              <a:off x="6211930" y="2946330"/>
              <a:ext cx="1129523" cy="738063"/>
            </a:xfrm>
            <a:prstGeom prst="rect">
              <a:avLst/>
            </a:prstGeom>
            <a:noFill/>
          </p:spPr>
        </p:pic>
      </p:grpSp>
      <p:grpSp>
        <p:nvGrpSpPr>
          <p:cNvPr id="105" name="Group 104"/>
          <p:cNvGrpSpPr/>
          <p:nvPr/>
        </p:nvGrpSpPr>
        <p:grpSpPr>
          <a:xfrm>
            <a:off x="6568469" y="3540442"/>
            <a:ext cx="1886441" cy="1260158"/>
            <a:chOff x="6181684" y="4720590"/>
            <a:chExt cx="2514600" cy="1680210"/>
          </a:xfrm>
        </p:grpSpPr>
        <p:sp>
          <p:nvSpPr>
            <p:cNvPr id="106" name="Rectangle 105"/>
            <p:cNvSpPr/>
            <p:nvPr/>
          </p:nvSpPr>
          <p:spPr bwMode="auto">
            <a:xfrm>
              <a:off x="6181684" y="4720590"/>
              <a:ext cx="2514600" cy="168021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640080" rIns="91440" bIns="0" numCol="1" spcCol="0" rtlCol="0" fromWordArt="0" anchor="ctr"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Rapid Data Exploration</a:t>
              </a:r>
            </a:p>
          </p:txBody>
        </p:sp>
        <p:sp>
          <p:nvSpPr>
            <p:cNvPr id="107" name="TextBox 106"/>
            <p:cNvSpPr txBox="1"/>
            <p:nvPr/>
          </p:nvSpPr>
          <p:spPr>
            <a:xfrm>
              <a:off x="7888205" y="4720590"/>
              <a:ext cx="651290" cy="615553"/>
            </a:xfrm>
            <a:prstGeom prst="rect">
              <a:avLst/>
            </a:prstGeom>
            <a:noFill/>
          </p:spPr>
          <p:txBody>
            <a:bodyPr wrap="none" lIns="0" tIns="0" rIns="45720" bIns="0" rtlCol="0">
              <a:spAutoFit/>
            </a:bodyPr>
            <a:lstStyle/>
            <a:p>
              <a:r>
                <a:rPr lang="en-US" sz="3000" b="1" dirty="0">
                  <a:solidFill>
                    <a:schemeClr val="accent1">
                      <a:lumMod val="75000"/>
                    </a:schemeClr>
                  </a:solidFill>
                </a:rPr>
                <a:t>12</a:t>
              </a:r>
              <a:endParaRPr lang="en-US" sz="3000" b="1" dirty="0">
                <a:solidFill>
                  <a:schemeClr val="accent1">
                    <a:lumMod val="75000"/>
                  </a:schemeClr>
                </a:solidFill>
              </a:endParaRPr>
            </a:p>
          </p:txBody>
        </p:sp>
        <p:pic>
          <p:nvPicPr>
            <p:cNvPr id="108" name="Picture 3"/>
            <p:cNvPicPr>
              <a:picLocks noChangeAspect="1" noChangeArrowheads="1"/>
            </p:cNvPicPr>
            <p:nvPr>
              <p:custDataLst>
                <p:tags r:id="rId2"/>
              </p:custDataLst>
            </p:nvPr>
          </p:nvPicPr>
          <p:blipFill>
            <a:blip r:embed="rId13" cstate="print">
              <a:extLst>
                <a:ext uri="{28A0092B-C50C-407E-A947-70E740481C1C}">
                  <a14:useLocalDpi xmlns:a14="http://schemas.microsoft.com/office/drawing/2010/main"/>
                </a:ext>
              </a:extLst>
            </a:blip>
            <a:srcRect/>
            <a:stretch>
              <a:fillRect/>
            </a:stretch>
          </p:blipFill>
          <p:spPr bwMode="auto">
            <a:xfrm>
              <a:off x="6407216" y="4786931"/>
              <a:ext cx="500429" cy="725270"/>
            </a:xfrm>
            <a:prstGeom prst="rect">
              <a:avLst/>
            </a:prstGeom>
            <a:noFill/>
            <a:ln>
              <a:noFill/>
              <a:headEnd type="none" w="med" len="med"/>
              <a:tailEnd type="none" w="med" len="med"/>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09" name="Group 108"/>
          <p:cNvGrpSpPr/>
          <p:nvPr/>
        </p:nvGrpSpPr>
        <p:grpSpPr>
          <a:xfrm>
            <a:off x="6568469" y="839203"/>
            <a:ext cx="1886441" cy="1260158"/>
            <a:chOff x="8837612" y="1066800"/>
            <a:chExt cx="2514600" cy="1680210"/>
          </a:xfrm>
        </p:grpSpPr>
        <p:sp>
          <p:nvSpPr>
            <p:cNvPr id="110" name="Rectangle 109"/>
            <p:cNvSpPr/>
            <p:nvPr/>
          </p:nvSpPr>
          <p:spPr bwMode="auto">
            <a:xfrm>
              <a:off x="8837612" y="1066800"/>
              <a:ext cx="2514600" cy="168021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640080" rIns="91440" bIns="0" numCol="1" spcCol="0" rtlCol="0" fromWordArt="0" anchor="ctr"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Flexibility &amp; </a:t>
              </a:r>
            </a:p>
            <a:p>
              <a:pPr defTabSz="685666" fontAlgn="base">
                <a:spcBef>
                  <a:spcPct val="0"/>
                </a:spcBef>
                <a:spcAft>
                  <a:spcPct val="0"/>
                </a:spcAft>
              </a:pPr>
              <a:r>
                <a:rPr lang="en-US" sz="1500" dirty="0">
                  <a:gradFill>
                    <a:gsLst>
                      <a:gs pos="0">
                        <a:srgbClr val="FFFFFF"/>
                      </a:gs>
                      <a:gs pos="100000">
                        <a:srgbClr val="FFFFFF"/>
                      </a:gs>
                    </a:gsLst>
                    <a:lin ang="5400000" scaled="0"/>
                  </a:gradFill>
                </a:rPr>
                <a:t>Choice</a:t>
              </a:r>
              <a:endParaRPr lang="en-US" sz="1500" dirty="0">
                <a:gradFill>
                  <a:gsLst>
                    <a:gs pos="0">
                      <a:srgbClr val="FFFFFF"/>
                    </a:gs>
                    <a:gs pos="100000">
                      <a:srgbClr val="FFFFFF"/>
                    </a:gs>
                  </a:gsLst>
                  <a:lin ang="5400000" scaled="0"/>
                </a:gradFill>
              </a:endParaRPr>
            </a:p>
          </p:txBody>
        </p:sp>
        <p:sp>
          <p:nvSpPr>
            <p:cNvPr id="111" name="TextBox 110"/>
            <p:cNvSpPr txBox="1"/>
            <p:nvPr/>
          </p:nvSpPr>
          <p:spPr>
            <a:xfrm>
              <a:off x="10920807" y="1066800"/>
              <a:ext cx="356415" cy="615553"/>
            </a:xfrm>
            <a:prstGeom prst="rect">
              <a:avLst/>
            </a:prstGeom>
            <a:noFill/>
          </p:spPr>
          <p:txBody>
            <a:bodyPr wrap="none" lIns="0" tIns="0" rIns="45720" bIns="0" rtlCol="0">
              <a:spAutoFit/>
            </a:bodyPr>
            <a:lstStyle/>
            <a:p>
              <a:r>
                <a:rPr lang="en-US" sz="3000" b="1" dirty="0">
                  <a:solidFill>
                    <a:schemeClr val="accent1">
                      <a:lumMod val="75000"/>
                    </a:schemeClr>
                  </a:solidFill>
                </a:rPr>
                <a:t>4</a:t>
              </a:r>
            </a:p>
          </p:txBody>
        </p:sp>
        <p:grpSp>
          <p:nvGrpSpPr>
            <p:cNvPr id="112" name="Group 111"/>
            <p:cNvGrpSpPr/>
            <p:nvPr>
              <p:custDataLst>
                <p:tags r:id="rId1"/>
              </p:custDataLst>
            </p:nvPr>
          </p:nvGrpSpPr>
          <p:grpSpPr>
            <a:xfrm>
              <a:off x="8989023" y="1066800"/>
              <a:ext cx="1105890" cy="850820"/>
              <a:chOff x="3127606" y="1031618"/>
              <a:chExt cx="1905261" cy="1465821"/>
            </a:xfrm>
          </p:grpSpPr>
          <p:pic>
            <p:nvPicPr>
              <p:cNvPr id="113" name="Picture 6" descr="\\MAGNUM\Projects\Microsoft\Cloud Power FY12\Design\ICONS_PNG\Cloud.png"/>
              <p:cNvPicPr>
                <a:picLocks noChangeAspect="1" noChangeArrowheads="1"/>
              </p:cNvPicPr>
              <p:nvPr/>
            </p:nvPicPr>
            <p:blipFill rotWithShape="1">
              <a:blip r:embed="rId14" cstate="print">
                <a:extLst>
                  <a:ext uri="{BEBA8EAE-BF5A-486C-A8C5-ECC9F3942E4B}">
                    <a14:imgProps xmlns:a14="http://schemas.microsoft.com/office/drawing/2010/main">
                      <a14:imgLayer r:embed="rId15">
                        <a14:imgEffect>
                          <a14:brightnessContrast bright="100000"/>
                        </a14:imgEffect>
                      </a14:imgLayer>
                    </a14:imgProps>
                  </a:ext>
                </a:extLst>
              </a:blip>
              <a:srcRect t="15452" b="16319"/>
              <a:stretch/>
            </p:blipFill>
            <p:spPr bwMode="auto">
              <a:xfrm>
                <a:off x="3423223" y="1031618"/>
                <a:ext cx="1609644" cy="1098248"/>
              </a:xfrm>
              <a:prstGeom prst="rect">
                <a:avLst/>
              </a:prstGeom>
              <a:noFill/>
            </p:spPr>
          </p:pic>
          <p:pic>
            <p:nvPicPr>
              <p:cNvPr id="114" name="Picture 2" descr="\\MAGNUM\Projects\Microsoft\Cloud Power FY12\Design\Icons\PNGs\Server_2.png"/>
              <p:cNvPicPr>
                <a:picLocks noChangeAspect="1" noChangeArrowheads="1"/>
              </p:cNvPicPr>
              <p:nvPr/>
            </p:nvPicPr>
            <p:blipFill rotWithShape="1">
              <a:blip r:embed="rId16" cstate="print">
                <a:lum bright="100000"/>
                <a:extLst>
                  <a:ext uri="{BEBA8EAE-BF5A-486C-A8C5-ECC9F3942E4B}">
                    <a14:imgProps xmlns:a14="http://schemas.microsoft.com/office/drawing/2010/main">
                      <a14:imgLayer r:embed="rId17">
                        <a14:imgEffect>
                          <a14:colorTemperature colorTemp="1500"/>
                        </a14:imgEffect>
                      </a14:imgLayer>
                    </a14:imgProps>
                  </a:ext>
                </a:extLst>
              </a:blip>
              <a:srcRect l="27619" t="9540" r="26586" b="9151"/>
              <a:stretch/>
            </p:blipFill>
            <p:spPr bwMode="auto">
              <a:xfrm>
                <a:off x="3537558" y="1444626"/>
                <a:ext cx="589660" cy="916080"/>
              </a:xfrm>
              <a:prstGeom prst="rect">
                <a:avLst/>
              </a:prstGeom>
              <a:noFill/>
              <a:effectLst>
                <a:outerShdw blurRad="50800" dist="12700" sx="103000" sy="103000" algn="ctr" rotWithShape="0">
                  <a:prstClr val="black">
                    <a:alpha val="40000"/>
                  </a:prstClr>
                </a:outerShdw>
              </a:effectLst>
            </p:spPr>
          </p:pic>
          <p:pic>
            <p:nvPicPr>
              <p:cNvPr id="115" name="Picture 2" descr="\\MAGNUM\Projects\Microsoft\Cloud Power FY12\Design\Icons\PNGs\Server_2.png"/>
              <p:cNvPicPr>
                <a:picLocks noChangeAspect="1" noChangeArrowheads="1"/>
              </p:cNvPicPr>
              <p:nvPr/>
            </p:nvPicPr>
            <p:blipFill rotWithShape="1">
              <a:blip r:embed="rId16" cstate="print">
                <a:lum bright="100000"/>
                <a:extLst>
                  <a:ext uri="{BEBA8EAE-BF5A-486C-A8C5-ECC9F3942E4B}">
                    <a14:imgProps xmlns:a14="http://schemas.microsoft.com/office/drawing/2010/main">
                      <a14:imgLayer r:embed="rId17">
                        <a14:imgEffect>
                          <a14:colorTemperature colorTemp="1500"/>
                        </a14:imgEffect>
                      </a14:imgLayer>
                    </a14:imgProps>
                  </a:ext>
                </a:extLst>
              </a:blip>
              <a:srcRect l="27619" t="9540" r="26586" b="9151"/>
              <a:stretch/>
            </p:blipFill>
            <p:spPr bwMode="auto">
              <a:xfrm>
                <a:off x="3127606" y="1581359"/>
                <a:ext cx="589659" cy="916080"/>
              </a:xfrm>
              <a:prstGeom prst="rect">
                <a:avLst/>
              </a:prstGeom>
              <a:noFill/>
              <a:effectLst>
                <a:outerShdw blurRad="50800" dist="12700" sx="103000" sy="103000" algn="ctr" rotWithShape="0">
                  <a:prstClr val="black">
                    <a:alpha val="40000"/>
                  </a:prstClr>
                </a:outerShdw>
              </a:effectLst>
            </p:spPr>
          </p:pic>
        </p:grpSp>
      </p:grpSp>
      <p:grpSp>
        <p:nvGrpSpPr>
          <p:cNvPr id="116" name="Group 115"/>
          <p:cNvGrpSpPr/>
          <p:nvPr/>
        </p:nvGrpSpPr>
        <p:grpSpPr>
          <a:xfrm>
            <a:off x="654984" y="3541870"/>
            <a:ext cx="1886441" cy="1260158"/>
            <a:chOff x="8835983" y="2914952"/>
            <a:chExt cx="2514600" cy="1680210"/>
          </a:xfrm>
        </p:grpSpPr>
        <p:sp>
          <p:nvSpPr>
            <p:cNvPr id="117" name="Rectangle 116"/>
            <p:cNvSpPr/>
            <p:nvPr/>
          </p:nvSpPr>
          <p:spPr bwMode="auto">
            <a:xfrm>
              <a:off x="8835983" y="2914952"/>
              <a:ext cx="2514600" cy="168021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640080" rIns="91440" bIns="0" numCol="1" spcCol="0" rtlCol="0" fromWordArt="0" anchor="ctr"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Big Data &amp;</a:t>
              </a:r>
            </a:p>
            <a:p>
              <a:pPr defTabSz="685666" fontAlgn="base">
                <a:spcBef>
                  <a:spcPct val="0"/>
                </a:spcBef>
                <a:spcAft>
                  <a:spcPct val="0"/>
                </a:spcAft>
              </a:pPr>
              <a:r>
                <a:rPr lang="en-US" sz="1500" dirty="0">
                  <a:gradFill>
                    <a:gsLst>
                      <a:gs pos="0">
                        <a:srgbClr val="FFFFFF"/>
                      </a:gs>
                      <a:gs pos="100000">
                        <a:srgbClr val="FFFFFF"/>
                      </a:gs>
                    </a:gsLst>
                    <a:lin ang="5400000" scaled="0"/>
                  </a:gradFill>
                </a:rPr>
                <a:t>Data Warehousing</a:t>
              </a:r>
              <a:endParaRPr lang="en-US" sz="1500" dirty="0">
                <a:gradFill>
                  <a:gsLst>
                    <a:gs pos="0">
                      <a:srgbClr val="FFFFFF"/>
                    </a:gs>
                    <a:gs pos="100000">
                      <a:srgbClr val="FFFFFF"/>
                    </a:gs>
                  </a:gsLst>
                  <a:lin ang="5400000" scaled="0"/>
                </a:gradFill>
              </a:endParaRPr>
            </a:p>
          </p:txBody>
        </p:sp>
        <p:pic>
          <p:nvPicPr>
            <p:cNvPr id="118" name="Picture 8"/>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9026485" y="2980360"/>
              <a:ext cx="885371" cy="704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9" name="TextBox 118"/>
            <p:cNvSpPr txBox="1"/>
            <p:nvPr/>
          </p:nvSpPr>
          <p:spPr>
            <a:xfrm>
              <a:off x="10911943" y="2914952"/>
              <a:ext cx="356415" cy="615553"/>
            </a:xfrm>
            <a:prstGeom prst="rect">
              <a:avLst/>
            </a:prstGeom>
            <a:noFill/>
          </p:spPr>
          <p:txBody>
            <a:bodyPr wrap="none" lIns="0" tIns="0" rIns="45720" bIns="0" rtlCol="0">
              <a:spAutoFit/>
            </a:bodyPr>
            <a:lstStyle/>
            <a:p>
              <a:r>
                <a:rPr lang="en-US" sz="3000" b="1" dirty="0">
                  <a:solidFill>
                    <a:schemeClr val="accent1">
                      <a:lumMod val="75000"/>
                    </a:schemeClr>
                  </a:solidFill>
                </a:rPr>
                <a:t>9</a:t>
              </a:r>
              <a:endParaRPr lang="en-US" sz="3000" b="1" dirty="0">
                <a:solidFill>
                  <a:schemeClr val="accent1">
                    <a:lumMod val="75000"/>
                  </a:schemeClr>
                </a:solidFill>
              </a:endParaRPr>
            </a:p>
          </p:txBody>
        </p:sp>
      </p:grpSp>
      <p:grpSp>
        <p:nvGrpSpPr>
          <p:cNvPr id="120" name="Group 119"/>
          <p:cNvGrpSpPr/>
          <p:nvPr/>
        </p:nvGrpSpPr>
        <p:grpSpPr>
          <a:xfrm>
            <a:off x="6568469" y="2189823"/>
            <a:ext cx="1886441" cy="1260158"/>
            <a:chOff x="8835983" y="4720590"/>
            <a:chExt cx="2514600" cy="1680210"/>
          </a:xfrm>
        </p:grpSpPr>
        <p:sp>
          <p:nvSpPr>
            <p:cNvPr id="121" name="Rectangle 120"/>
            <p:cNvSpPr/>
            <p:nvPr/>
          </p:nvSpPr>
          <p:spPr bwMode="auto">
            <a:xfrm>
              <a:off x="8835983" y="4720590"/>
              <a:ext cx="2514600" cy="168021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640080" rIns="91440" bIns="0" numCol="1" spcCol="0" rtlCol="0" fromWordArt="0" anchor="ctr"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New Scenarios, Unlocked</a:t>
              </a:r>
              <a:endParaRPr lang="en-US" sz="1500" dirty="0">
                <a:gradFill>
                  <a:gsLst>
                    <a:gs pos="0">
                      <a:srgbClr val="FFFFFF"/>
                    </a:gs>
                    <a:gs pos="100000">
                      <a:srgbClr val="FFFFFF"/>
                    </a:gs>
                  </a:gsLst>
                  <a:lin ang="5400000" scaled="0"/>
                </a:gradFill>
              </a:endParaRPr>
            </a:p>
          </p:txBody>
        </p:sp>
        <p:sp>
          <p:nvSpPr>
            <p:cNvPr id="122" name="TextBox 121"/>
            <p:cNvSpPr txBox="1"/>
            <p:nvPr/>
          </p:nvSpPr>
          <p:spPr>
            <a:xfrm>
              <a:off x="10897389" y="4720590"/>
              <a:ext cx="356415" cy="615553"/>
            </a:xfrm>
            <a:prstGeom prst="rect">
              <a:avLst/>
            </a:prstGeom>
            <a:noFill/>
          </p:spPr>
          <p:txBody>
            <a:bodyPr wrap="none" lIns="0" tIns="0" rIns="45720" bIns="0" rtlCol="0">
              <a:spAutoFit/>
            </a:bodyPr>
            <a:lstStyle/>
            <a:p>
              <a:r>
                <a:rPr lang="en-US" sz="3000" b="1" dirty="0">
                  <a:solidFill>
                    <a:schemeClr val="accent1">
                      <a:lumMod val="75000"/>
                    </a:schemeClr>
                  </a:solidFill>
                </a:rPr>
                <a:t>8</a:t>
              </a:r>
              <a:endParaRPr lang="en-US" sz="3000" b="1" dirty="0">
                <a:solidFill>
                  <a:schemeClr val="accent1">
                    <a:lumMod val="75000"/>
                  </a:schemeClr>
                </a:solidFill>
              </a:endParaRPr>
            </a:p>
          </p:txBody>
        </p:sp>
        <p:pic>
          <p:nvPicPr>
            <p:cNvPr id="123" name="Picture 2"/>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995180" y="4786930"/>
              <a:ext cx="640905" cy="775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58"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60"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0"/>
              </a:rPr>
              <a:t>www.rapidbbs.cn</a:t>
            </a:r>
            <a:endParaRPr lang="zh-CN" altLang="en-US" sz="1200" b="0">
              <a:latin typeface="Arial" charset="0"/>
              <a:ea typeface="ＭＳ Ｐゴシック" pitchFamily="34" charset="-128"/>
            </a:endParaRPr>
          </a:p>
        </p:txBody>
      </p:sp>
      <p:pic>
        <p:nvPicPr>
          <p:cNvPr id="61" name="Picture 2">
            <a:hlinkClick r:id="rId20"/>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259739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46"/>
                                        </p:tgtEl>
                                        <p:attrNameLst>
                                          <p:attrName>style.visibility</p:attrName>
                                        </p:attrNameLst>
                                      </p:cBhvr>
                                      <p:to>
                                        <p:strVal val="visible"/>
                                      </p:to>
                                    </p:set>
                                    <p:anim calcmode="lin" valueType="num">
                                      <p:cBhvr additive="base">
                                        <p:cTn id="7" dur="1000" fill="hold"/>
                                        <p:tgtEl>
                                          <p:spTgt spid="46"/>
                                        </p:tgtEl>
                                        <p:attrNameLst>
                                          <p:attrName>ppt_x</p:attrName>
                                        </p:attrNameLst>
                                      </p:cBhvr>
                                      <p:tavLst>
                                        <p:tav tm="0">
                                          <p:val>
                                            <p:strVal val="1+#ppt_w/2"/>
                                          </p:val>
                                        </p:tav>
                                        <p:tav tm="100000">
                                          <p:val>
                                            <p:strVal val="#ppt_x"/>
                                          </p:val>
                                        </p:tav>
                                      </p:tavLst>
                                    </p:anim>
                                    <p:anim calcmode="lin" valueType="num">
                                      <p:cBhvr additive="base">
                                        <p:cTn id="8" dur="1000" fill="hold"/>
                                        <p:tgtEl>
                                          <p:spTgt spid="46"/>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50"/>
                                  </p:stCondLst>
                                  <p:childTnLst>
                                    <p:set>
                                      <p:cBhvr>
                                        <p:cTn id="10" dur="1" fill="hold">
                                          <p:stCondLst>
                                            <p:cond delay="0"/>
                                          </p:stCondLst>
                                        </p:cTn>
                                        <p:tgtEl>
                                          <p:spTgt spid="85"/>
                                        </p:tgtEl>
                                        <p:attrNameLst>
                                          <p:attrName>style.visibility</p:attrName>
                                        </p:attrNameLst>
                                      </p:cBhvr>
                                      <p:to>
                                        <p:strVal val="visible"/>
                                      </p:to>
                                    </p:set>
                                    <p:anim calcmode="lin" valueType="num">
                                      <p:cBhvr additive="base">
                                        <p:cTn id="11" dur="1000" fill="hold"/>
                                        <p:tgtEl>
                                          <p:spTgt spid="85"/>
                                        </p:tgtEl>
                                        <p:attrNameLst>
                                          <p:attrName>ppt_x</p:attrName>
                                        </p:attrNameLst>
                                      </p:cBhvr>
                                      <p:tavLst>
                                        <p:tav tm="0">
                                          <p:val>
                                            <p:strVal val="1+#ppt_w/2"/>
                                          </p:val>
                                        </p:tav>
                                        <p:tav tm="100000">
                                          <p:val>
                                            <p:strVal val="#ppt_x"/>
                                          </p:val>
                                        </p:tav>
                                      </p:tavLst>
                                    </p:anim>
                                    <p:anim calcmode="lin" valueType="num">
                                      <p:cBhvr additive="base">
                                        <p:cTn id="12" dur="1000" fill="hold"/>
                                        <p:tgtEl>
                                          <p:spTgt spid="85"/>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500"/>
                                  </p:stCondLst>
                                  <p:childTnLst>
                                    <p:set>
                                      <p:cBhvr>
                                        <p:cTn id="14" dur="1" fill="hold">
                                          <p:stCondLst>
                                            <p:cond delay="0"/>
                                          </p:stCondLst>
                                        </p:cTn>
                                        <p:tgtEl>
                                          <p:spTgt spid="97"/>
                                        </p:tgtEl>
                                        <p:attrNameLst>
                                          <p:attrName>style.visibility</p:attrName>
                                        </p:attrNameLst>
                                      </p:cBhvr>
                                      <p:to>
                                        <p:strVal val="visible"/>
                                      </p:to>
                                    </p:set>
                                    <p:anim calcmode="lin" valueType="num">
                                      <p:cBhvr additive="base">
                                        <p:cTn id="15" dur="750" fill="hold"/>
                                        <p:tgtEl>
                                          <p:spTgt spid="97"/>
                                        </p:tgtEl>
                                        <p:attrNameLst>
                                          <p:attrName>ppt_x</p:attrName>
                                        </p:attrNameLst>
                                      </p:cBhvr>
                                      <p:tavLst>
                                        <p:tav tm="0">
                                          <p:val>
                                            <p:strVal val="1+#ppt_w/2"/>
                                          </p:val>
                                        </p:tav>
                                        <p:tav tm="100000">
                                          <p:val>
                                            <p:strVal val="#ppt_x"/>
                                          </p:val>
                                        </p:tav>
                                      </p:tavLst>
                                    </p:anim>
                                    <p:anim calcmode="lin" valueType="num">
                                      <p:cBhvr additive="base">
                                        <p:cTn id="16" dur="750" fill="hold"/>
                                        <p:tgtEl>
                                          <p:spTgt spid="97"/>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750"/>
                                  </p:stCondLst>
                                  <p:childTnLst>
                                    <p:set>
                                      <p:cBhvr>
                                        <p:cTn id="18" dur="1" fill="hold">
                                          <p:stCondLst>
                                            <p:cond delay="0"/>
                                          </p:stCondLst>
                                        </p:cTn>
                                        <p:tgtEl>
                                          <p:spTgt spid="109"/>
                                        </p:tgtEl>
                                        <p:attrNameLst>
                                          <p:attrName>style.visibility</p:attrName>
                                        </p:attrNameLst>
                                      </p:cBhvr>
                                      <p:to>
                                        <p:strVal val="visible"/>
                                      </p:to>
                                    </p:set>
                                    <p:anim calcmode="lin" valueType="num">
                                      <p:cBhvr additive="base">
                                        <p:cTn id="19" dur="750" fill="hold"/>
                                        <p:tgtEl>
                                          <p:spTgt spid="109"/>
                                        </p:tgtEl>
                                        <p:attrNameLst>
                                          <p:attrName>ppt_x</p:attrName>
                                        </p:attrNameLst>
                                      </p:cBhvr>
                                      <p:tavLst>
                                        <p:tav tm="0">
                                          <p:val>
                                            <p:strVal val="1+#ppt_w/2"/>
                                          </p:val>
                                        </p:tav>
                                        <p:tav tm="100000">
                                          <p:val>
                                            <p:strVal val="#ppt_x"/>
                                          </p:val>
                                        </p:tav>
                                      </p:tavLst>
                                    </p:anim>
                                    <p:anim calcmode="lin" valueType="num">
                                      <p:cBhvr additive="base">
                                        <p:cTn id="20" dur="750" fill="hold"/>
                                        <p:tgtEl>
                                          <p:spTgt spid="109"/>
                                        </p:tgtEl>
                                        <p:attrNameLst>
                                          <p:attrName>ppt_y</p:attrName>
                                        </p:attrNameLst>
                                      </p:cBhvr>
                                      <p:tavLst>
                                        <p:tav tm="0">
                                          <p:val>
                                            <p:strVal val="#ppt_y"/>
                                          </p:val>
                                        </p:tav>
                                        <p:tav tm="100000">
                                          <p:val>
                                            <p:strVal val="#ppt_y"/>
                                          </p:val>
                                        </p:tav>
                                      </p:tavLst>
                                    </p:anim>
                                  </p:childTnLst>
                                </p:cTn>
                              </p:par>
                              <p:par>
                                <p:cTn id="21" presetID="2" presetClass="entr" presetSubtype="2" decel="100000" fill="hold" nodeType="withEffect">
                                  <p:stCondLst>
                                    <p:cond delay="750"/>
                                  </p:stCondLst>
                                  <p:childTnLst>
                                    <p:set>
                                      <p:cBhvr>
                                        <p:cTn id="22" dur="1" fill="hold">
                                          <p:stCondLst>
                                            <p:cond delay="0"/>
                                          </p:stCondLst>
                                        </p:cTn>
                                        <p:tgtEl>
                                          <p:spTgt spid="50"/>
                                        </p:tgtEl>
                                        <p:attrNameLst>
                                          <p:attrName>style.visibility</p:attrName>
                                        </p:attrNameLst>
                                      </p:cBhvr>
                                      <p:to>
                                        <p:strVal val="visible"/>
                                      </p:to>
                                    </p:set>
                                    <p:anim calcmode="lin" valueType="num">
                                      <p:cBhvr additive="base">
                                        <p:cTn id="23" dur="1000" fill="hold"/>
                                        <p:tgtEl>
                                          <p:spTgt spid="50"/>
                                        </p:tgtEl>
                                        <p:attrNameLst>
                                          <p:attrName>ppt_x</p:attrName>
                                        </p:attrNameLst>
                                      </p:cBhvr>
                                      <p:tavLst>
                                        <p:tav tm="0">
                                          <p:val>
                                            <p:strVal val="1+#ppt_w/2"/>
                                          </p:val>
                                        </p:tav>
                                        <p:tav tm="100000">
                                          <p:val>
                                            <p:strVal val="#ppt_x"/>
                                          </p:val>
                                        </p:tav>
                                      </p:tavLst>
                                    </p:anim>
                                    <p:anim calcmode="lin" valueType="num">
                                      <p:cBhvr additive="base">
                                        <p:cTn id="24" dur="1000" fill="hold"/>
                                        <p:tgtEl>
                                          <p:spTgt spid="50"/>
                                        </p:tgtEl>
                                        <p:attrNameLst>
                                          <p:attrName>ppt_y</p:attrName>
                                        </p:attrNameLst>
                                      </p:cBhvr>
                                      <p:tavLst>
                                        <p:tav tm="0">
                                          <p:val>
                                            <p:strVal val="#ppt_y"/>
                                          </p:val>
                                        </p:tav>
                                        <p:tav tm="100000">
                                          <p:val>
                                            <p:strVal val="#ppt_y"/>
                                          </p:val>
                                        </p:tav>
                                      </p:tavLst>
                                    </p:anim>
                                  </p:childTnLst>
                                </p:cTn>
                              </p:par>
                              <p:par>
                                <p:cTn id="25" presetID="2" presetClass="entr" presetSubtype="2" decel="100000" fill="hold" nodeType="withEffect">
                                  <p:stCondLst>
                                    <p:cond delay="1000"/>
                                  </p:stCondLst>
                                  <p:childTnLst>
                                    <p:set>
                                      <p:cBhvr>
                                        <p:cTn id="26" dur="1" fill="hold">
                                          <p:stCondLst>
                                            <p:cond delay="0"/>
                                          </p:stCondLst>
                                        </p:cTn>
                                        <p:tgtEl>
                                          <p:spTgt spid="89"/>
                                        </p:tgtEl>
                                        <p:attrNameLst>
                                          <p:attrName>style.visibility</p:attrName>
                                        </p:attrNameLst>
                                      </p:cBhvr>
                                      <p:to>
                                        <p:strVal val="visible"/>
                                      </p:to>
                                    </p:set>
                                    <p:anim calcmode="lin" valueType="num">
                                      <p:cBhvr additive="base">
                                        <p:cTn id="27" dur="1000" fill="hold"/>
                                        <p:tgtEl>
                                          <p:spTgt spid="89"/>
                                        </p:tgtEl>
                                        <p:attrNameLst>
                                          <p:attrName>ppt_x</p:attrName>
                                        </p:attrNameLst>
                                      </p:cBhvr>
                                      <p:tavLst>
                                        <p:tav tm="0">
                                          <p:val>
                                            <p:strVal val="1+#ppt_w/2"/>
                                          </p:val>
                                        </p:tav>
                                        <p:tav tm="100000">
                                          <p:val>
                                            <p:strVal val="#ppt_x"/>
                                          </p:val>
                                        </p:tav>
                                      </p:tavLst>
                                    </p:anim>
                                    <p:anim calcmode="lin" valueType="num">
                                      <p:cBhvr additive="base">
                                        <p:cTn id="28" dur="1000" fill="hold"/>
                                        <p:tgtEl>
                                          <p:spTgt spid="89"/>
                                        </p:tgtEl>
                                        <p:attrNameLst>
                                          <p:attrName>ppt_y</p:attrName>
                                        </p:attrNameLst>
                                      </p:cBhvr>
                                      <p:tavLst>
                                        <p:tav tm="0">
                                          <p:val>
                                            <p:strVal val="#ppt_y"/>
                                          </p:val>
                                        </p:tav>
                                        <p:tav tm="100000">
                                          <p:val>
                                            <p:strVal val="#ppt_y"/>
                                          </p:val>
                                        </p:tav>
                                      </p:tavLst>
                                    </p:anim>
                                  </p:childTnLst>
                                </p:cTn>
                              </p:par>
                              <p:par>
                                <p:cTn id="29" presetID="2" presetClass="entr" presetSubtype="2" decel="100000" fill="hold" nodeType="withEffect">
                                  <p:stCondLst>
                                    <p:cond delay="1250"/>
                                  </p:stCondLst>
                                  <p:childTnLst>
                                    <p:set>
                                      <p:cBhvr>
                                        <p:cTn id="30" dur="1" fill="hold">
                                          <p:stCondLst>
                                            <p:cond delay="0"/>
                                          </p:stCondLst>
                                        </p:cTn>
                                        <p:tgtEl>
                                          <p:spTgt spid="101"/>
                                        </p:tgtEl>
                                        <p:attrNameLst>
                                          <p:attrName>style.visibility</p:attrName>
                                        </p:attrNameLst>
                                      </p:cBhvr>
                                      <p:to>
                                        <p:strVal val="visible"/>
                                      </p:to>
                                    </p:set>
                                    <p:anim calcmode="lin" valueType="num">
                                      <p:cBhvr additive="base">
                                        <p:cTn id="31" dur="750" fill="hold"/>
                                        <p:tgtEl>
                                          <p:spTgt spid="101"/>
                                        </p:tgtEl>
                                        <p:attrNameLst>
                                          <p:attrName>ppt_x</p:attrName>
                                        </p:attrNameLst>
                                      </p:cBhvr>
                                      <p:tavLst>
                                        <p:tav tm="0">
                                          <p:val>
                                            <p:strVal val="1+#ppt_w/2"/>
                                          </p:val>
                                        </p:tav>
                                        <p:tav tm="100000">
                                          <p:val>
                                            <p:strVal val="#ppt_x"/>
                                          </p:val>
                                        </p:tav>
                                      </p:tavLst>
                                    </p:anim>
                                    <p:anim calcmode="lin" valueType="num">
                                      <p:cBhvr additive="base">
                                        <p:cTn id="32" dur="750" fill="hold"/>
                                        <p:tgtEl>
                                          <p:spTgt spid="101"/>
                                        </p:tgtEl>
                                        <p:attrNameLst>
                                          <p:attrName>ppt_y</p:attrName>
                                        </p:attrNameLst>
                                      </p:cBhvr>
                                      <p:tavLst>
                                        <p:tav tm="0">
                                          <p:val>
                                            <p:strVal val="#ppt_y"/>
                                          </p:val>
                                        </p:tav>
                                        <p:tav tm="100000">
                                          <p:val>
                                            <p:strVal val="#ppt_y"/>
                                          </p:val>
                                        </p:tav>
                                      </p:tavLst>
                                    </p:anim>
                                  </p:childTnLst>
                                </p:cTn>
                              </p:par>
                              <p:par>
                                <p:cTn id="33" presetID="2" presetClass="entr" presetSubtype="2" decel="100000" fill="hold" nodeType="withEffect">
                                  <p:stCondLst>
                                    <p:cond delay="1500"/>
                                  </p:stCondLst>
                                  <p:childTnLst>
                                    <p:set>
                                      <p:cBhvr>
                                        <p:cTn id="34" dur="1" fill="hold">
                                          <p:stCondLst>
                                            <p:cond delay="0"/>
                                          </p:stCondLst>
                                        </p:cTn>
                                        <p:tgtEl>
                                          <p:spTgt spid="120"/>
                                        </p:tgtEl>
                                        <p:attrNameLst>
                                          <p:attrName>style.visibility</p:attrName>
                                        </p:attrNameLst>
                                      </p:cBhvr>
                                      <p:to>
                                        <p:strVal val="visible"/>
                                      </p:to>
                                    </p:set>
                                    <p:anim calcmode="lin" valueType="num">
                                      <p:cBhvr additive="base">
                                        <p:cTn id="35" dur="750" fill="hold"/>
                                        <p:tgtEl>
                                          <p:spTgt spid="120"/>
                                        </p:tgtEl>
                                        <p:attrNameLst>
                                          <p:attrName>ppt_x</p:attrName>
                                        </p:attrNameLst>
                                      </p:cBhvr>
                                      <p:tavLst>
                                        <p:tav tm="0">
                                          <p:val>
                                            <p:strVal val="1+#ppt_w/2"/>
                                          </p:val>
                                        </p:tav>
                                        <p:tav tm="100000">
                                          <p:val>
                                            <p:strVal val="#ppt_x"/>
                                          </p:val>
                                        </p:tav>
                                      </p:tavLst>
                                    </p:anim>
                                    <p:anim calcmode="lin" valueType="num">
                                      <p:cBhvr additive="base">
                                        <p:cTn id="36" dur="750" fill="hold"/>
                                        <p:tgtEl>
                                          <p:spTgt spid="120"/>
                                        </p:tgtEl>
                                        <p:attrNameLst>
                                          <p:attrName>ppt_y</p:attrName>
                                        </p:attrNameLst>
                                      </p:cBhvr>
                                      <p:tavLst>
                                        <p:tav tm="0">
                                          <p:val>
                                            <p:strVal val="#ppt_y"/>
                                          </p:val>
                                        </p:tav>
                                        <p:tav tm="100000">
                                          <p:val>
                                            <p:strVal val="#ppt_y"/>
                                          </p:val>
                                        </p:tav>
                                      </p:tavLst>
                                    </p:anim>
                                  </p:childTnLst>
                                </p:cTn>
                              </p:par>
                              <p:par>
                                <p:cTn id="37" presetID="2" presetClass="entr" presetSubtype="2" decel="100000" fill="hold" nodeType="withEffect">
                                  <p:stCondLst>
                                    <p:cond delay="1500"/>
                                  </p:stCondLst>
                                  <p:childTnLst>
                                    <p:set>
                                      <p:cBhvr>
                                        <p:cTn id="38" dur="1" fill="hold">
                                          <p:stCondLst>
                                            <p:cond delay="0"/>
                                          </p:stCondLst>
                                        </p:cTn>
                                        <p:tgtEl>
                                          <p:spTgt spid="116"/>
                                        </p:tgtEl>
                                        <p:attrNameLst>
                                          <p:attrName>style.visibility</p:attrName>
                                        </p:attrNameLst>
                                      </p:cBhvr>
                                      <p:to>
                                        <p:strVal val="visible"/>
                                      </p:to>
                                    </p:set>
                                    <p:anim calcmode="lin" valueType="num">
                                      <p:cBhvr additive="base">
                                        <p:cTn id="39" dur="1000" fill="hold"/>
                                        <p:tgtEl>
                                          <p:spTgt spid="116"/>
                                        </p:tgtEl>
                                        <p:attrNameLst>
                                          <p:attrName>ppt_x</p:attrName>
                                        </p:attrNameLst>
                                      </p:cBhvr>
                                      <p:tavLst>
                                        <p:tav tm="0">
                                          <p:val>
                                            <p:strVal val="1+#ppt_w/2"/>
                                          </p:val>
                                        </p:tav>
                                        <p:tav tm="100000">
                                          <p:val>
                                            <p:strVal val="#ppt_x"/>
                                          </p:val>
                                        </p:tav>
                                      </p:tavLst>
                                    </p:anim>
                                    <p:anim calcmode="lin" valueType="num">
                                      <p:cBhvr additive="base">
                                        <p:cTn id="40" dur="1000" fill="hold"/>
                                        <p:tgtEl>
                                          <p:spTgt spid="116"/>
                                        </p:tgtEl>
                                        <p:attrNameLst>
                                          <p:attrName>ppt_y</p:attrName>
                                        </p:attrNameLst>
                                      </p:cBhvr>
                                      <p:tavLst>
                                        <p:tav tm="0">
                                          <p:val>
                                            <p:strVal val="#ppt_y"/>
                                          </p:val>
                                        </p:tav>
                                        <p:tav tm="100000">
                                          <p:val>
                                            <p:strVal val="#ppt_y"/>
                                          </p:val>
                                        </p:tav>
                                      </p:tavLst>
                                    </p:anim>
                                  </p:childTnLst>
                                </p:cTn>
                              </p:par>
                              <p:par>
                                <p:cTn id="41" presetID="2" presetClass="entr" presetSubtype="2" decel="100000" fill="hold" nodeType="withEffect">
                                  <p:stCondLst>
                                    <p:cond delay="1750"/>
                                  </p:stCondLst>
                                  <p:childTnLst>
                                    <p:set>
                                      <p:cBhvr>
                                        <p:cTn id="42" dur="1" fill="hold">
                                          <p:stCondLst>
                                            <p:cond delay="0"/>
                                          </p:stCondLst>
                                        </p:cTn>
                                        <p:tgtEl>
                                          <p:spTgt spid="81"/>
                                        </p:tgtEl>
                                        <p:attrNameLst>
                                          <p:attrName>style.visibility</p:attrName>
                                        </p:attrNameLst>
                                      </p:cBhvr>
                                      <p:to>
                                        <p:strVal val="visible"/>
                                      </p:to>
                                    </p:set>
                                    <p:anim calcmode="lin" valueType="num">
                                      <p:cBhvr additive="base">
                                        <p:cTn id="43" dur="1000" fill="hold"/>
                                        <p:tgtEl>
                                          <p:spTgt spid="81"/>
                                        </p:tgtEl>
                                        <p:attrNameLst>
                                          <p:attrName>ppt_x</p:attrName>
                                        </p:attrNameLst>
                                      </p:cBhvr>
                                      <p:tavLst>
                                        <p:tav tm="0">
                                          <p:val>
                                            <p:strVal val="1+#ppt_w/2"/>
                                          </p:val>
                                        </p:tav>
                                        <p:tav tm="100000">
                                          <p:val>
                                            <p:strVal val="#ppt_x"/>
                                          </p:val>
                                        </p:tav>
                                      </p:tavLst>
                                    </p:anim>
                                    <p:anim calcmode="lin" valueType="num">
                                      <p:cBhvr additive="base">
                                        <p:cTn id="44" dur="1000" fill="hold"/>
                                        <p:tgtEl>
                                          <p:spTgt spid="81"/>
                                        </p:tgtEl>
                                        <p:attrNameLst>
                                          <p:attrName>ppt_y</p:attrName>
                                        </p:attrNameLst>
                                      </p:cBhvr>
                                      <p:tavLst>
                                        <p:tav tm="0">
                                          <p:val>
                                            <p:strVal val="#ppt_y"/>
                                          </p:val>
                                        </p:tav>
                                        <p:tav tm="100000">
                                          <p:val>
                                            <p:strVal val="#ppt_y"/>
                                          </p:val>
                                        </p:tav>
                                      </p:tavLst>
                                    </p:anim>
                                  </p:childTnLst>
                                </p:cTn>
                              </p:par>
                              <p:par>
                                <p:cTn id="45" presetID="2" presetClass="entr" presetSubtype="2" decel="100000" fill="hold" nodeType="withEffect">
                                  <p:stCondLst>
                                    <p:cond delay="2000"/>
                                  </p:stCondLst>
                                  <p:childTnLst>
                                    <p:set>
                                      <p:cBhvr>
                                        <p:cTn id="46" dur="1" fill="hold">
                                          <p:stCondLst>
                                            <p:cond delay="0"/>
                                          </p:stCondLst>
                                        </p:cTn>
                                        <p:tgtEl>
                                          <p:spTgt spid="93"/>
                                        </p:tgtEl>
                                        <p:attrNameLst>
                                          <p:attrName>style.visibility</p:attrName>
                                        </p:attrNameLst>
                                      </p:cBhvr>
                                      <p:to>
                                        <p:strVal val="visible"/>
                                      </p:to>
                                    </p:set>
                                    <p:anim calcmode="lin" valueType="num">
                                      <p:cBhvr additive="base">
                                        <p:cTn id="47" dur="750" fill="hold"/>
                                        <p:tgtEl>
                                          <p:spTgt spid="93"/>
                                        </p:tgtEl>
                                        <p:attrNameLst>
                                          <p:attrName>ppt_x</p:attrName>
                                        </p:attrNameLst>
                                      </p:cBhvr>
                                      <p:tavLst>
                                        <p:tav tm="0">
                                          <p:val>
                                            <p:strVal val="1+#ppt_w/2"/>
                                          </p:val>
                                        </p:tav>
                                        <p:tav tm="100000">
                                          <p:val>
                                            <p:strVal val="#ppt_x"/>
                                          </p:val>
                                        </p:tav>
                                      </p:tavLst>
                                    </p:anim>
                                    <p:anim calcmode="lin" valueType="num">
                                      <p:cBhvr additive="base">
                                        <p:cTn id="48" dur="750" fill="hold"/>
                                        <p:tgtEl>
                                          <p:spTgt spid="93"/>
                                        </p:tgtEl>
                                        <p:attrNameLst>
                                          <p:attrName>ppt_y</p:attrName>
                                        </p:attrNameLst>
                                      </p:cBhvr>
                                      <p:tavLst>
                                        <p:tav tm="0">
                                          <p:val>
                                            <p:strVal val="#ppt_y"/>
                                          </p:val>
                                        </p:tav>
                                        <p:tav tm="100000">
                                          <p:val>
                                            <p:strVal val="#ppt_y"/>
                                          </p:val>
                                        </p:tav>
                                      </p:tavLst>
                                    </p:anim>
                                  </p:childTnLst>
                                </p:cTn>
                              </p:par>
                              <p:par>
                                <p:cTn id="49" presetID="2" presetClass="entr" presetSubtype="2" decel="100000" fill="hold" nodeType="withEffect">
                                  <p:stCondLst>
                                    <p:cond delay="2250"/>
                                  </p:stCondLst>
                                  <p:childTnLst>
                                    <p:set>
                                      <p:cBhvr>
                                        <p:cTn id="50" dur="1" fill="hold">
                                          <p:stCondLst>
                                            <p:cond delay="0"/>
                                          </p:stCondLst>
                                        </p:cTn>
                                        <p:tgtEl>
                                          <p:spTgt spid="105"/>
                                        </p:tgtEl>
                                        <p:attrNameLst>
                                          <p:attrName>style.visibility</p:attrName>
                                        </p:attrNameLst>
                                      </p:cBhvr>
                                      <p:to>
                                        <p:strVal val="visible"/>
                                      </p:to>
                                    </p:set>
                                    <p:anim calcmode="lin" valueType="num">
                                      <p:cBhvr additive="base">
                                        <p:cTn id="51" dur="750" fill="hold"/>
                                        <p:tgtEl>
                                          <p:spTgt spid="105"/>
                                        </p:tgtEl>
                                        <p:attrNameLst>
                                          <p:attrName>ppt_x</p:attrName>
                                        </p:attrNameLst>
                                      </p:cBhvr>
                                      <p:tavLst>
                                        <p:tav tm="0">
                                          <p:val>
                                            <p:strVal val="1+#ppt_w/2"/>
                                          </p:val>
                                        </p:tav>
                                        <p:tav tm="100000">
                                          <p:val>
                                            <p:strVal val="#ppt_x"/>
                                          </p:val>
                                        </p:tav>
                                      </p:tavLst>
                                    </p:anim>
                                    <p:anim calcmode="lin" valueType="num">
                                      <p:cBhvr additive="base">
                                        <p:cTn id="52" dur="750" fill="hold"/>
                                        <p:tgtEl>
                                          <p:spTgt spid="10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Title 2"/>
          <p:cNvSpPr>
            <a:spLocks noGrp="1"/>
          </p:cNvSpPr>
          <p:nvPr>
            <p:ph type="title"/>
          </p:nvPr>
        </p:nvSpPr>
        <p:spPr>
          <a:xfrm>
            <a:off x="285825" y="171450"/>
            <a:ext cx="6280916" cy="457049"/>
          </a:xfrm>
        </p:spPr>
        <p:txBody>
          <a:bodyPr/>
          <a:lstStyle/>
          <a:p>
            <a:r>
              <a:rPr lang="en-US" dirty="0"/>
              <a:t>SQL Server 2012</a:t>
            </a:r>
          </a:p>
        </p:txBody>
      </p:sp>
      <p:pic>
        <p:nvPicPr>
          <p:cNvPr id="71" name="Picture 7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05641" y="4672464"/>
            <a:ext cx="1725220" cy="356737"/>
          </a:xfrm>
          <a:prstGeom prst="rect">
            <a:avLst/>
          </a:prstGeom>
        </p:spPr>
      </p:pic>
      <p:grpSp>
        <p:nvGrpSpPr>
          <p:cNvPr id="7" name="Group 6"/>
          <p:cNvGrpSpPr/>
          <p:nvPr/>
        </p:nvGrpSpPr>
        <p:grpSpPr>
          <a:xfrm>
            <a:off x="285824" y="1428749"/>
            <a:ext cx="19043903" cy="1508760"/>
            <a:chOff x="381000" y="1904999"/>
            <a:chExt cx="25385258" cy="2011680"/>
          </a:xfrm>
        </p:grpSpPr>
        <p:grpSp>
          <p:nvGrpSpPr>
            <p:cNvPr id="92" name="Group 91"/>
            <p:cNvGrpSpPr/>
            <p:nvPr/>
          </p:nvGrpSpPr>
          <p:grpSpPr>
            <a:xfrm>
              <a:off x="17380745" y="1904999"/>
              <a:ext cx="2011680" cy="2011680"/>
              <a:chOff x="17380745" y="1904999"/>
              <a:chExt cx="2011680" cy="2011680"/>
            </a:xfrm>
          </p:grpSpPr>
          <p:sp>
            <p:nvSpPr>
              <p:cNvPr id="51" name="Rectangle 50"/>
              <p:cNvSpPr/>
              <p:nvPr/>
            </p:nvSpPr>
            <p:spPr bwMode="auto">
              <a:xfrm>
                <a:off x="17380745"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Big Data &amp; Data </a:t>
                </a:r>
                <a:r>
                  <a:rPr lang="en-US" sz="1500" dirty="0">
                    <a:gradFill>
                      <a:gsLst>
                        <a:gs pos="0">
                          <a:srgbClr val="FFFFFF"/>
                        </a:gs>
                        <a:gs pos="100000">
                          <a:srgbClr val="FFFFFF"/>
                        </a:gs>
                      </a:gsLst>
                      <a:lin ang="5400000" scaled="0"/>
                    </a:gradFill>
                  </a:rPr>
                  <a:t>Warehousing</a:t>
                </a:r>
              </a:p>
            </p:txBody>
          </p:sp>
          <p:pic>
            <p:nvPicPr>
              <p:cNvPr id="52" name="Picture 8"/>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7494848" y="2029883"/>
                <a:ext cx="896304" cy="7133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3" name="TextBox 52"/>
              <p:cNvSpPr txBox="1"/>
              <p:nvPr/>
            </p:nvSpPr>
            <p:spPr>
              <a:xfrm>
                <a:off x="19026216" y="1904999"/>
                <a:ext cx="356415" cy="615553"/>
              </a:xfrm>
              <a:prstGeom prst="rect">
                <a:avLst/>
              </a:prstGeom>
              <a:noFill/>
            </p:spPr>
            <p:txBody>
              <a:bodyPr wrap="none" lIns="0" tIns="0" rIns="45720" bIns="0" rtlCol="0">
                <a:spAutoFit/>
              </a:bodyPr>
              <a:lstStyle/>
              <a:p>
                <a:pPr algn="r"/>
                <a:r>
                  <a:rPr lang="en-US" sz="3000" b="1" dirty="0">
                    <a:solidFill>
                      <a:schemeClr val="tx2">
                        <a:lumMod val="75000"/>
                      </a:schemeClr>
                    </a:solidFill>
                  </a:rPr>
                  <a:t>9</a:t>
                </a:r>
                <a:endParaRPr lang="en-US" sz="3000" b="1" dirty="0">
                  <a:solidFill>
                    <a:schemeClr val="tx2">
                      <a:lumMod val="75000"/>
                    </a:schemeClr>
                  </a:solidFill>
                </a:endParaRPr>
              </a:p>
            </p:txBody>
          </p:sp>
        </p:grpSp>
        <p:grpSp>
          <p:nvGrpSpPr>
            <p:cNvPr id="94" name="Group 93"/>
            <p:cNvGrpSpPr/>
            <p:nvPr/>
          </p:nvGrpSpPr>
          <p:grpSpPr>
            <a:xfrm>
              <a:off x="21629967" y="1904999"/>
              <a:ext cx="2011680" cy="2011680"/>
              <a:chOff x="21629967" y="1904999"/>
              <a:chExt cx="2011680" cy="2011680"/>
            </a:xfrm>
          </p:grpSpPr>
          <p:sp>
            <p:nvSpPr>
              <p:cNvPr id="57" name="Rectangle 56"/>
              <p:cNvSpPr/>
              <p:nvPr/>
            </p:nvSpPr>
            <p:spPr bwMode="auto">
              <a:xfrm>
                <a:off x="21629967"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Managed Self-Service BI</a:t>
                </a:r>
                <a:endParaRPr lang="en-US" sz="1500" dirty="0">
                  <a:gradFill>
                    <a:gsLst>
                      <a:gs pos="0">
                        <a:srgbClr val="FFFFFF"/>
                      </a:gs>
                      <a:gs pos="100000">
                        <a:srgbClr val="FFFFFF"/>
                      </a:gs>
                    </a:gsLst>
                    <a:lin ang="5400000" scaled="0"/>
                  </a:gradFill>
                </a:endParaRPr>
              </a:p>
            </p:txBody>
          </p:sp>
          <p:sp>
            <p:nvSpPr>
              <p:cNvPr id="59" name="TextBox 58"/>
              <p:cNvSpPr txBox="1"/>
              <p:nvPr/>
            </p:nvSpPr>
            <p:spPr>
              <a:xfrm>
                <a:off x="22979965" y="1904999"/>
                <a:ext cx="651290" cy="615553"/>
              </a:xfrm>
              <a:prstGeom prst="rect">
                <a:avLst/>
              </a:prstGeom>
              <a:noFill/>
            </p:spPr>
            <p:txBody>
              <a:bodyPr wrap="none" lIns="0" tIns="0" rIns="45720" bIns="0" rtlCol="0">
                <a:spAutoFit/>
              </a:bodyPr>
              <a:lstStyle/>
              <a:p>
                <a:pPr algn="r"/>
                <a:r>
                  <a:rPr lang="en-US" sz="3000" b="1" dirty="0">
                    <a:solidFill>
                      <a:schemeClr val="tx2">
                        <a:lumMod val="75000"/>
                      </a:schemeClr>
                    </a:solidFill>
                  </a:rPr>
                  <a:t>11</a:t>
                </a:r>
                <a:endParaRPr lang="en-US" sz="3000" b="1" dirty="0">
                  <a:solidFill>
                    <a:schemeClr val="tx2">
                      <a:lumMod val="75000"/>
                    </a:schemeClr>
                  </a:solidFill>
                </a:endParaRPr>
              </a:p>
            </p:txBody>
          </p:sp>
          <p:pic>
            <p:nvPicPr>
              <p:cNvPr id="46" name="Picture 17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1709280" y="1981200"/>
                <a:ext cx="832241" cy="833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95" name="Group 94"/>
            <p:cNvGrpSpPr/>
            <p:nvPr/>
          </p:nvGrpSpPr>
          <p:grpSpPr>
            <a:xfrm>
              <a:off x="23754578" y="1904999"/>
              <a:ext cx="2011680" cy="2011680"/>
              <a:chOff x="23754578" y="1904999"/>
              <a:chExt cx="2011680" cy="2011680"/>
            </a:xfrm>
          </p:grpSpPr>
          <p:sp>
            <p:nvSpPr>
              <p:cNvPr id="60" name="Rectangle 59"/>
              <p:cNvSpPr/>
              <p:nvPr/>
            </p:nvSpPr>
            <p:spPr bwMode="auto">
              <a:xfrm>
                <a:off x="23754578"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Rapid Data Exploration</a:t>
                </a:r>
                <a:endParaRPr lang="en-US" sz="1500" dirty="0">
                  <a:gradFill>
                    <a:gsLst>
                      <a:gs pos="0">
                        <a:srgbClr val="FFFFFF"/>
                      </a:gs>
                      <a:gs pos="100000">
                        <a:srgbClr val="FFFFFF"/>
                      </a:gs>
                    </a:gsLst>
                    <a:lin ang="5400000" scaled="0"/>
                  </a:gradFill>
                </a:endParaRPr>
              </a:p>
            </p:txBody>
          </p:sp>
          <p:sp>
            <p:nvSpPr>
              <p:cNvPr id="62" name="TextBox 61"/>
              <p:cNvSpPr txBox="1"/>
              <p:nvPr/>
            </p:nvSpPr>
            <p:spPr>
              <a:xfrm>
                <a:off x="25104576" y="1904999"/>
                <a:ext cx="651290" cy="615553"/>
              </a:xfrm>
              <a:prstGeom prst="rect">
                <a:avLst/>
              </a:prstGeom>
              <a:noFill/>
            </p:spPr>
            <p:txBody>
              <a:bodyPr wrap="none" lIns="0" tIns="0" rIns="45720" bIns="0" rtlCol="0">
                <a:spAutoFit/>
              </a:bodyPr>
              <a:lstStyle/>
              <a:p>
                <a:pPr algn="r"/>
                <a:r>
                  <a:rPr lang="en-US" sz="3000" b="1" dirty="0">
                    <a:solidFill>
                      <a:schemeClr val="tx2">
                        <a:lumMod val="75000"/>
                      </a:schemeClr>
                    </a:solidFill>
                  </a:rPr>
                  <a:t>12</a:t>
                </a:r>
                <a:endParaRPr lang="en-US" sz="3000" b="1" dirty="0">
                  <a:solidFill>
                    <a:schemeClr val="tx2">
                      <a:lumMod val="75000"/>
                    </a:schemeClr>
                  </a:solidFill>
                </a:endParaRPr>
              </a:p>
            </p:txBody>
          </p:sp>
          <p:pic>
            <p:nvPicPr>
              <p:cNvPr id="43" name="Picture 3"/>
              <p:cNvPicPr>
                <a:picLocks noChangeAspect="1" noChangeArrowheads="1"/>
              </p:cNvPicPr>
              <p:nvPr>
                <p:custDataLst>
                  <p:tags r:id="rId3"/>
                </p:custDataLst>
              </p:nvPr>
            </p:nvPicPr>
            <p:blipFill>
              <a:blip r:embed="rId8" cstate="print">
                <a:extLst>
                  <a:ext uri="{28A0092B-C50C-407E-A947-70E740481C1C}">
                    <a14:useLocalDpi xmlns:a14="http://schemas.microsoft.com/office/drawing/2010/main"/>
                  </a:ext>
                </a:extLst>
              </a:blip>
              <a:srcRect/>
              <a:stretch>
                <a:fillRect/>
              </a:stretch>
            </p:blipFill>
            <p:spPr bwMode="auto">
              <a:xfrm>
                <a:off x="23842880" y="1959614"/>
                <a:ext cx="593243" cy="859786"/>
              </a:xfrm>
              <a:prstGeom prst="rect">
                <a:avLst/>
              </a:prstGeom>
              <a:noFill/>
              <a:ln>
                <a:noFill/>
                <a:headEnd type="none" w="med" len="med"/>
                <a:tailEnd type="none" w="med" len="med"/>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87" name="Group 86"/>
            <p:cNvGrpSpPr/>
            <p:nvPr/>
          </p:nvGrpSpPr>
          <p:grpSpPr>
            <a:xfrm>
              <a:off x="4630222" y="1904999"/>
              <a:ext cx="2026976" cy="2011680"/>
              <a:chOff x="4630222" y="1904999"/>
              <a:chExt cx="2026976" cy="2011680"/>
            </a:xfrm>
          </p:grpSpPr>
          <p:sp>
            <p:nvSpPr>
              <p:cNvPr id="42" name="Rectangle 41"/>
              <p:cNvSpPr/>
              <p:nvPr/>
            </p:nvSpPr>
            <p:spPr bwMode="auto">
              <a:xfrm>
                <a:off x="4630222"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Required 9s &amp; Data Protection</a:t>
                </a:r>
                <a:endParaRPr lang="en-US" sz="1500" dirty="0">
                  <a:gradFill>
                    <a:gsLst>
                      <a:gs pos="0">
                        <a:srgbClr val="FFFFFF"/>
                      </a:gs>
                      <a:gs pos="100000">
                        <a:srgbClr val="FFFFFF"/>
                      </a:gs>
                    </a:gsLst>
                    <a:lin ang="5400000" scaled="0"/>
                  </a:gradFill>
                </a:endParaRPr>
              </a:p>
            </p:txBody>
          </p:sp>
          <p:sp>
            <p:nvSpPr>
              <p:cNvPr id="44" name="TextBox 43"/>
              <p:cNvSpPr txBox="1"/>
              <p:nvPr/>
            </p:nvSpPr>
            <p:spPr>
              <a:xfrm>
                <a:off x="6300783"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3</a:t>
                </a:r>
              </a:p>
            </p:txBody>
          </p:sp>
          <p:pic>
            <p:nvPicPr>
              <p:cNvPr id="68" name="Picture 4" descr="\\MAGNUM\Projects\Microsoft\Cloud Power FY12\Design\ICONS_PNG\Check_mark.png"/>
              <p:cNvPicPr>
                <a:picLocks noChangeAspect="1" noChangeArrowheads="1"/>
              </p:cNvPicPr>
              <p:nvPr/>
            </p:nvPicPr>
            <p:blipFill rotWithShape="1">
              <a:blip r:embed="rId9" cstate="print">
                <a:lum bright="100000"/>
              </a:blip>
              <a:srcRect t="11515"/>
              <a:stretch/>
            </p:blipFill>
            <p:spPr bwMode="auto">
              <a:xfrm>
                <a:off x="4669492" y="1927464"/>
                <a:ext cx="1253470" cy="1109124"/>
              </a:xfrm>
              <a:prstGeom prst="rect">
                <a:avLst/>
              </a:prstGeom>
              <a:noFill/>
            </p:spPr>
          </p:pic>
        </p:grpSp>
        <p:grpSp>
          <p:nvGrpSpPr>
            <p:cNvPr id="93" name="Group 92"/>
            <p:cNvGrpSpPr/>
            <p:nvPr/>
          </p:nvGrpSpPr>
          <p:grpSpPr>
            <a:xfrm>
              <a:off x="19505356" y="1904999"/>
              <a:ext cx="2011680" cy="2011680"/>
              <a:chOff x="19505356" y="1904999"/>
              <a:chExt cx="2011680" cy="2011680"/>
            </a:xfrm>
          </p:grpSpPr>
          <p:sp>
            <p:nvSpPr>
              <p:cNvPr id="54" name="Rectangle 53"/>
              <p:cNvSpPr/>
              <p:nvPr/>
            </p:nvSpPr>
            <p:spPr bwMode="auto">
              <a:xfrm>
                <a:off x="19505356"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Credible, Consistent Data</a:t>
                </a:r>
                <a:endParaRPr lang="en-US" sz="1500" dirty="0">
                  <a:gradFill>
                    <a:gsLst>
                      <a:gs pos="0">
                        <a:srgbClr val="FFFFFF"/>
                      </a:gs>
                      <a:gs pos="100000">
                        <a:srgbClr val="FFFFFF"/>
                      </a:gs>
                    </a:gsLst>
                    <a:lin ang="5400000" scaled="0"/>
                  </a:gradFill>
                </a:endParaRPr>
              </a:p>
            </p:txBody>
          </p:sp>
          <p:sp>
            <p:nvSpPr>
              <p:cNvPr id="56" name="TextBox 55"/>
              <p:cNvSpPr txBox="1"/>
              <p:nvPr/>
            </p:nvSpPr>
            <p:spPr>
              <a:xfrm>
                <a:off x="20865746" y="1904999"/>
                <a:ext cx="651290" cy="615553"/>
              </a:xfrm>
              <a:prstGeom prst="rect">
                <a:avLst/>
              </a:prstGeom>
              <a:noFill/>
            </p:spPr>
            <p:txBody>
              <a:bodyPr wrap="none" lIns="0" tIns="0" rIns="45720" bIns="0" rtlCol="0">
                <a:spAutoFit/>
              </a:bodyPr>
              <a:lstStyle/>
              <a:p>
                <a:pPr algn="r"/>
                <a:r>
                  <a:rPr lang="en-US" sz="3000" b="1" dirty="0">
                    <a:solidFill>
                      <a:schemeClr val="tx2">
                        <a:lumMod val="75000"/>
                      </a:schemeClr>
                    </a:solidFill>
                  </a:rPr>
                  <a:t>10</a:t>
                </a:r>
                <a:endParaRPr lang="en-US" sz="3000" b="1" dirty="0">
                  <a:solidFill>
                    <a:schemeClr val="tx2">
                      <a:lumMod val="75000"/>
                    </a:schemeClr>
                  </a:solidFill>
                </a:endParaRPr>
              </a:p>
            </p:txBody>
          </p:sp>
          <p:pic>
            <p:nvPicPr>
              <p:cNvPr id="72" name="Picture 2"/>
              <p:cNvPicPr>
                <a:picLocks noChangeAspect="1" noChangeArrowheads="1"/>
              </p:cNvPicPr>
              <p:nvPr/>
            </p:nvPicPr>
            <p:blipFill>
              <a:blip r:embed="rId10"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9623259" y="2012733"/>
                <a:ext cx="958499" cy="8515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86" name="Group 85"/>
            <p:cNvGrpSpPr/>
            <p:nvPr/>
          </p:nvGrpSpPr>
          <p:grpSpPr>
            <a:xfrm>
              <a:off x="2505611" y="1904999"/>
              <a:ext cx="2022972" cy="2011680"/>
              <a:chOff x="2505611" y="1904999"/>
              <a:chExt cx="2022972" cy="2011680"/>
            </a:xfrm>
          </p:grpSpPr>
          <p:sp>
            <p:nvSpPr>
              <p:cNvPr id="33" name="Rectangle 32"/>
              <p:cNvSpPr/>
              <p:nvPr/>
            </p:nvSpPr>
            <p:spPr bwMode="auto">
              <a:xfrm>
                <a:off x="2505611"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Security &amp; Compliance</a:t>
                </a:r>
                <a:endParaRPr lang="en-US" sz="1500" dirty="0">
                  <a:gradFill>
                    <a:gsLst>
                      <a:gs pos="0">
                        <a:srgbClr val="FFFFFF"/>
                      </a:gs>
                      <a:gs pos="100000">
                        <a:srgbClr val="FFFFFF"/>
                      </a:gs>
                    </a:gsLst>
                    <a:lin ang="5400000" scaled="0"/>
                  </a:gradFill>
                </a:endParaRPr>
              </a:p>
            </p:txBody>
          </p:sp>
          <p:sp>
            <p:nvSpPr>
              <p:cNvPr id="35" name="TextBox 34"/>
              <p:cNvSpPr txBox="1"/>
              <p:nvPr/>
            </p:nvSpPr>
            <p:spPr>
              <a:xfrm>
                <a:off x="4172168"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2</a:t>
                </a:r>
              </a:p>
            </p:txBody>
          </p:sp>
          <p:pic>
            <p:nvPicPr>
              <p:cNvPr id="73" name="Picture 72"/>
              <p:cNvPicPr>
                <a:picLocks noChangeAspect="1"/>
              </p:cNvPicPr>
              <p:nvPr>
                <p:custDataLst>
                  <p:tags r:id="rId2"/>
                </p:custDataLst>
              </p:nvPr>
            </p:nvPicPr>
            <p:blipFill>
              <a:blip r:embed="rId11">
                <a:extLst>
                  <a:ext uri="{28A0092B-C50C-407E-A947-70E740481C1C}">
                    <a14:useLocalDpi xmlns:a14="http://schemas.microsoft.com/office/drawing/2010/main" val="0"/>
                  </a:ext>
                </a:extLst>
              </a:blip>
              <a:stretch>
                <a:fillRect/>
              </a:stretch>
            </p:blipFill>
            <p:spPr>
              <a:xfrm>
                <a:off x="2655779" y="1983751"/>
                <a:ext cx="883759" cy="875588"/>
              </a:xfrm>
              <a:prstGeom prst="rect">
                <a:avLst/>
              </a:prstGeom>
              <a:effectLst/>
            </p:spPr>
          </p:pic>
        </p:grpSp>
        <p:grpSp>
          <p:nvGrpSpPr>
            <p:cNvPr id="5" name="Group 4"/>
            <p:cNvGrpSpPr/>
            <p:nvPr/>
          </p:nvGrpSpPr>
          <p:grpSpPr>
            <a:xfrm>
              <a:off x="381000" y="1904999"/>
              <a:ext cx="2026976" cy="2011680"/>
              <a:chOff x="381000" y="1904999"/>
              <a:chExt cx="2026976" cy="2011680"/>
            </a:xfrm>
          </p:grpSpPr>
          <p:sp>
            <p:nvSpPr>
              <p:cNvPr id="30" name="Rectangle 29"/>
              <p:cNvSpPr/>
              <p:nvPr/>
            </p:nvSpPr>
            <p:spPr bwMode="auto">
              <a:xfrm>
                <a:off x="381000"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Blazing-Fast Performance</a:t>
                </a:r>
              </a:p>
            </p:txBody>
          </p:sp>
          <p:sp>
            <p:nvSpPr>
              <p:cNvPr id="32" name="TextBox 31"/>
              <p:cNvSpPr txBox="1"/>
              <p:nvPr/>
            </p:nvSpPr>
            <p:spPr>
              <a:xfrm>
                <a:off x="2051561"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1</a:t>
                </a:r>
              </a:p>
            </p:txBody>
          </p:sp>
          <p:pic>
            <p:nvPicPr>
              <p:cNvPr id="34" name="Picture 33"/>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06299" y="2057549"/>
                <a:ext cx="880541" cy="880541"/>
              </a:xfrm>
              <a:prstGeom prst="rect">
                <a:avLst/>
              </a:prstGeom>
            </p:spPr>
          </p:pic>
        </p:grpSp>
        <p:grpSp>
          <p:nvGrpSpPr>
            <p:cNvPr id="89" name="Group 88"/>
            <p:cNvGrpSpPr/>
            <p:nvPr/>
          </p:nvGrpSpPr>
          <p:grpSpPr>
            <a:xfrm>
              <a:off x="8879444" y="1904999"/>
              <a:ext cx="2012580" cy="2011680"/>
              <a:chOff x="8879444" y="1904999"/>
              <a:chExt cx="2012580" cy="2011680"/>
            </a:xfrm>
          </p:grpSpPr>
          <p:sp>
            <p:nvSpPr>
              <p:cNvPr id="48" name="Rectangle 47"/>
              <p:cNvSpPr/>
              <p:nvPr/>
            </p:nvSpPr>
            <p:spPr bwMode="auto">
              <a:xfrm>
                <a:off x="8879444"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Scale on Demand</a:t>
                </a:r>
                <a:endParaRPr lang="en-US" sz="1500" dirty="0">
                  <a:gradFill>
                    <a:gsLst>
                      <a:gs pos="0">
                        <a:srgbClr val="FFFFFF"/>
                      </a:gs>
                      <a:gs pos="100000">
                        <a:srgbClr val="FFFFFF"/>
                      </a:gs>
                    </a:gsLst>
                    <a:lin ang="5400000" scaled="0"/>
                  </a:gradFill>
                </a:endParaRPr>
              </a:p>
            </p:txBody>
          </p:sp>
          <p:sp>
            <p:nvSpPr>
              <p:cNvPr id="50" name="TextBox 49"/>
              <p:cNvSpPr txBox="1"/>
              <p:nvPr/>
            </p:nvSpPr>
            <p:spPr>
              <a:xfrm>
                <a:off x="10535609"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5</a:t>
                </a:r>
              </a:p>
            </p:txBody>
          </p:sp>
          <p:grpSp>
            <p:nvGrpSpPr>
              <p:cNvPr id="74" name="Group 73"/>
              <p:cNvGrpSpPr/>
              <p:nvPr/>
            </p:nvGrpSpPr>
            <p:grpSpPr>
              <a:xfrm>
                <a:off x="9098012" y="2146879"/>
                <a:ext cx="958800" cy="671282"/>
                <a:chOff x="7792432" y="3461097"/>
                <a:chExt cx="568902" cy="299861"/>
              </a:xfrm>
            </p:grpSpPr>
            <p:sp>
              <p:nvSpPr>
                <p:cNvPr id="75" name="Freeform 8"/>
                <p:cNvSpPr>
                  <a:spLocks/>
                </p:cNvSpPr>
                <p:nvPr/>
              </p:nvSpPr>
              <p:spPr bwMode="auto">
                <a:xfrm>
                  <a:off x="8055009" y="3461097"/>
                  <a:ext cx="306325" cy="299861"/>
                </a:xfrm>
                <a:custGeom>
                  <a:avLst/>
                  <a:gdLst>
                    <a:gd name="T0" fmla="*/ 100 w 100"/>
                    <a:gd name="T1" fmla="*/ 0 h 98"/>
                    <a:gd name="T2" fmla="*/ 16 w 100"/>
                    <a:gd name="T3" fmla="*/ 13 h 98"/>
                    <a:gd name="T4" fmla="*/ 41 w 100"/>
                    <a:gd name="T5" fmla="*/ 39 h 98"/>
                    <a:gd name="T6" fmla="*/ 41 w 100"/>
                    <a:gd name="T7" fmla="*/ 39 h 98"/>
                    <a:gd name="T8" fmla="*/ 6 w 100"/>
                    <a:gd name="T9" fmla="*/ 75 h 98"/>
                    <a:gd name="T10" fmla="*/ 6 w 100"/>
                    <a:gd name="T11" fmla="*/ 94 h 98"/>
                    <a:gd name="T12" fmla="*/ 16 w 100"/>
                    <a:gd name="T13" fmla="*/ 98 h 98"/>
                    <a:gd name="T14" fmla="*/ 25 w 100"/>
                    <a:gd name="T15" fmla="*/ 94 h 98"/>
                    <a:gd name="T16" fmla="*/ 61 w 100"/>
                    <a:gd name="T17" fmla="*/ 59 h 98"/>
                    <a:gd name="T18" fmla="*/ 61 w 100"/>
                    <a:gd name="T19" fmla="*/ 59 h 98"/>
                    <a:gd name="T20" fmla="*/ 87 w 100"/>
                    <a:gd name="T21" fmla="*/ 84 h 98"/>
                    <a:gd name="T22" fmla="*/ 100 w 100"/>
                    <a:gd name="T23"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98">
                      <a:moveTo>
                        <a:pt x="100" y="0"/>
                      </a:moveTo>
                      <a:cubicBezTo>
                        <a:pt x="16" y="13"/>
                        <a:pt x="16" y="13"/>
                        <a:pt x="16" y="13"/>
                      </a:cubicBezTo>
                      <a:cubicBezTo>
                        <a:pt x="41" y="39"/>
                        <a:pt x="41" y="39"/>
                        <a:pt x="41" y="39"/>
                      </a:cubicBezTo>
                      <a:cubicBezTo>
                        <a:pt x="41" y="39"/>
                        <a:pt x="41" y="39"/>
                        <a:pt x="41" y="39"/>
                      </a:cubicBezTo>
                      <a:cubicBezTo>
                        <a:pt x="6" y="75"/>
                        <a:pt x="6" y="75"/>
                        <a:pt x="6" y="75"/>
                      </a:cubicBezTo>
                      <a:cubicBezTo>
                        <a:pt x="0" y="80"/>
                        <a:pt x="0" y="89"/>
                        <a:pt x="6" y="94"/>
                      </a:cubicBezTo>
                      <a:cubicBezTo>
                        <a:pt x="8" y="97"/>
                        <a:pt x="12" y="98"/>
                        <a:pt x="16" y="98"/>
                      </a:cubicBezTo>
                      <a:cubicBezTo>
                        <a:pt x="19" y="98"/>
                        <a:pt x="23" y="97"/>
                        <a:pt x="25" y="94"/>
                      </a:cubicBezTo>
                      <a:cubicBezTo>
                        <a:pt x="61" y="59"/>
                        <a:pt x="61" y="59"/>
                        <a:pt x="61" y="59"/>
                      </a:cubicBezTo>
                      <a:cubicBezTo>
                        <a:pt x="61" y="59"/>
                        <a:pt x="61" y="59"/>
                        <a:pt x="61" y="59"/>
                      </a:cubicBezTo>
                      <a:cubicBezTo>
                        <a:pt x="87" y="84"/>
                        <a:pt x="87" y="84"/>
                        <a:pt x="87" y="84"/>
                      </a:cubicBezTo>
                      <a:lnTo>
                        <a:pt x="10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Rectangle 9"/>
                <p:cNvSpPr>
                  <a:spLocks noChangeArrowheads="1"/>
                </p:cNvSpPr>
                <p:nvPr/>
              </p:nvSpPr>
              <p:spPr bwMode="auto">
                <a:xfrm>
                  <a:off x="7891463" y="3675653"/>
                  <a:ext cx="212661"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Rectangle 9"/>
                <p:cNvSpPr>
                  <a:spLocks noChangeArrowheads="1"/>
                </p:cNvSpPr>
                <p:nvPr/>
              </p:nvSpPr>
              <p:spPr bwMode="auto">
                <a:xfrm>
                  <a:off x="7792432" y="3675653"/>
                  <a:ext cx="27432"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Rectangle 9"/>
                <p:cNvSpPr>
                  <a:spLocks noChangeArrowheads="1"/>
                </p:cNvSpPr>
                <p:nvPr/>
              </p:nvSpPr>
              <p:spPr bwMode="auto">
                <a:xfrm>
                  <a:off x="7832804" y="3675653"/>
                  <a:ext cx="45719"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88" name="Group 87"/>
            <p:cNvGrpSpPr/>
            <p:nvPr/>
          </p:nvGrpSpPr>
          <p:grpSpPr>
            <a:xfrm>
              <a:off x="6754833" y="1904999"/>
              <a:ext cx="2022972" cy="2011680"/>
              <a:chOff x="6754833" y="1904999"/>
              <a:chExt cx="2022972" cy="2011680"/>
            </a:xfrm>
          </p:grpSpPr>
          <p:sp>
            <p:nvSpPr>
              <p:cNvPr id="45" name="Rectangle 44"/>
              <p:cNvSpPr/>
              <p:nvPr/>
            </p:nvSpPr>
            <p:spPr bwMode="auto">
              <a:xfrm>
                <a:off x="6754833"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Flexibility &amp; Choice</a:t>
                </a:r>
                <a:endParaRPr lang="en-US" sz="1500" dirty="0">
                  <a:gradFill>
                    <a:gsLst>
                      <a:gs pos="0">
                        <a:srgbClr val="FFFFFF"/>
                      </a:gs>
                      <a:gs pos="100000">
                        <a:srgbClr val="FFFFFF"/>
                      </a:gs>
                    </a:gsLst>
                    <a:lin ang="5400000" scaled="0"/>
                  </a:gradFill>
                </a:endParaRPr>
              </a:p>
            </p:txBody>
          </p:sp>
          <p:sp>
            <p:nvSpPr>
              <p:cNvPr id="47" name="TextBox 46"/>
              <p:cNvSpPr txBox="1"/>
              <p:nvPr/>
            </p:nvSpPr>
            <p:spPr>
              <a:xfrm>
                <a:off x="8421390"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4</a:t>
                </a:r>
              </a:p>
            </p:txBody>
          </p:sp>
          <p:grpSp>
            <p:nvGrpSpPr>
              <p:cNvPr id="79" name="Group 78"/>
              <p:cNvGrpSpPr/>
              <p:nvPr>
                <p:custDataLst>
                  <p:tags r:id="rId1"/>
                </p:custDataLst>
              </p:nvPr>
            </p:nvGrpSpPr>
            <p:grpSpPr>
              <a:xfrm>
                <a:off x="6856412" y="1967341"/>
                <a:ext cx="1105890" cy="850820"/>
                <a:chOff x="3127606" y="1031618"/>
                <a:chExt cx="1905261" cy="1465821"/>
              </a:xfrm>
            </p:grpSpPr>
            <p:pic>
              <p:nvPicPr>
                <p:cNvPr id="80" name="Picture 6" descr="\\MAGNUM\Projects\Microsoft\Cloud Power FY12\Design\ICONS_PNG\Cloud.png"/>
                <p:cNvPicPr>
                  <a:picLocks noChangeAspect="1" noChangeArrowheads="1"/>
                </p:cNvPicPr>
                <p:nvPr/>
              </p:nvPicPr>
              <p:blipFill rotWithShape="1">
                <a:blip r:embed="rId13" cstate="print">
                  <a:extLst>
                    <a:ext uri="{BEBA8EAE-BF5A-486C-A8C5-ECC9F3942E4B}">
                      <a14:imgProps xmlns:a14="http://schemas.microsoft.com/office/drawing/2010/main">
                        <a14:imgLayer r:embed="rId14">
                          <a14:imgEffect>
                            <a14:brightnessContrast bright="100000"/>
                          </a14:imgEffect>
                        </a14:imgLayer>
                      </a14:imgProps>
                    </a:ext>
                  </a:extLst>
                </a:blip>
                <a:srcRect t="15452" b="16319"/>
                <a:stretch/>
              </p:blipFill>
              <p:spPr bwMode="auto">
                <a:xfrm>
                  <a:off x="3423223" y="1031618"/>
                  <a:ext cx="1609644" cy="1098248"/>
                </a:xfrm>
                <a:prstGeom prst="rect">
                  <a:avLst/>
                </a:prstGeom>
                <a:noFill/>
              </p:spPr>
            </p:pic>
            <p:pic>
              <p:nvPicPr>
                <p:cNvPr id="81" name="Picture 2" descr="\\MAGNUM\Projects\Microsoft\Cloud Power FY12\Design\Icons\PNGs\Server_2.png"/>
                <p:cNvPicPr>
                  <a:picLocks noChangeAspect="1" noChangeArrowheads="1"/>
                </p:cNvPicPr>
                <p:nvPr/>
              </p:nvPicPr>
              <p:blipFill rotWithShape="1">
                <a:blip r:embed="rId15" cstate="print">
                  <a:lum bright="100000"/>
                  <a:extLst>
                    <a:ext uri="{BEBA8EAE-BF5A-486C-A8C5-ECC9F3942E4B}">
                      <a14:imgProps xmlns:a14="http://schemas.microsoft.com/office/drawing/2010/main">
                        <a14:imgLayer r:embed="rId16">
                          <a14:imgEffect>
                            <a14:colorTemperature colorTemp="1500"/>
                          </a14:imgEffect>
                        </a14:imgLayer>
                      </a14:imgProps>
                    </a:ext>
                  </a:extLst>
                </a:blip>
                <a:srcRect l="27619" t="9540" r="26586" b="9151"/>
                <a:stretch/>
              </p:blipFill>
              <p:spPr bwMode="auto">
                <a:xfrm>
                  <a:off x="3537558" y="1444626"/>
                  <a:ext cx="589660" cy="916080"/>
                </a:xfrm>
                <a:prstGeom prst="rect">
                  <a:avLst/>
                </a:prstGeom>
                <a:noFill/>
                <a:effectLst>
                  <a:outerShdw blurRad="50800" dist="12700" sx="103000" sy="103000" algn="ctr" rotWithShape="0">
                    <a:prstClr val="black">
                      <a:alpha val="40000"/>
                    </a:prstClr>
                  </a:outerShdw>
                </a:effectLst>
              </p:spPr>
            </p:pic>
            <p:pic>
              <p:nvPicPr>
                <p:cNvPr id="82" name="Picture 2" descr="\\MAGNUM\Projects\Microsoft\Cloud Power FY12\Design\Icons\PNGs\Server_2.png"/>
                <p:cNvPicPr>
                  <a:picLocks noChangeAspect="1" noChangeArrowheads="1"/>
                </p:cNvPicPr>
                <p:nvPr/>
              </p:nvPicPr>
              <p:blipFill rotWithShape="1">
                <a:blip r:embed="rId15" cstate="print">
                  <a:lum bright="100000"/>
                  <a:extLst>
                    <a:ext uri="{BEBA8EAE-BF5A-486C-A8C5-ECC9F3942E4B}">
                      <a14:imgProps xmlns:a14="http://schemas.microsoft.com/office/drawing/2010/main">
                        <a14:imgLayer r:embed="rId16">
                          <a14:imgEffect>
                            <a14:colorTemperature colorTemp="1500"/>
                          </a14:imgEffect>
                        </a14:imgLayer>
                      </a14:imgProps>
                    </a:ext>
                  </a:extLst>
                </a:blip>
                <a:srcRect l="27619" t="9540" r="26586" b="9151"/>
                <a:stretch/>
              </p:blipFill>
              <p:spPr bwMode="auto">
                <a:xfrm>
                  <a:off x="3127606" y="1581359"/>
                  <a:ext cx="589659" cy="916080"/>
                </a:xfrm>
                <a:prstGeom prst="rect">
                  <a:avLst/>
                </a:prstGeom>
                <a:noFill/>
                <a:effectLst>
                  <a:outerShdw blurRad="50800" dist="12700" sx="103000" sy="103000" algn="ctr" rotWithShape="0">
                    <a:prstClr val="black">
                      <a:alpha val="40000"/>
                    </a:prstClr>
                  </a:outerShdw>
                </a:effectLst>
              </p:spPr>
            </p:pic>
          </p:grpSp>
        </p:grpSp>
        <p:grpSp>
          <p:nvGrpSpPr>
            <p:cNvPr id="90" name="Group 89"/>
            <p:cNvGrpSpPr/>
            <p:nvPr/>
          </p:nvGrpSpPr>
          <p:grpSpPr>
            <a:xfrm>
              <a:off x="11004055" y="1904999"/>
              <a:ext cx="2012580" cy="2011680"/>
              <a:chOff x="11004055" y="1904999"/>
              <a:chExt cx="2012580" cy="2011680"/>
            </a:xfrm>
          </p:grpSpPr>
          <p:sp>
            <p:nvSpPr>
              <p:cNvPr id="36" name="Rectangle 35"/>
              <p:cNvSpPr/>
              <p:nvPr/>
            </p:nvSpPr>
            <p:spPr bwMode="auto">
              <a:xfrm>
                <a:off x="11004055"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Fast Time to Solution</a:t>
                </a:r>
                <a:endParaRPr lang="en-US" sz="1500" dirty="0">
                  <a:gradFill>
                    <a:gsLst>
                      <a:gs pos="0">
                        <a:srgbClr val="FFFFFF"/>
                      </a:gs>
                      <a:gs pos="100000">
                        <a:srgbClr val="FFFFFF"/>
                      </a:gs>
                    </a:gsLst>
                    <a:lin ang="5400000" scaled="0"/>
                  </a:gradFill>
                </a:endParaRPr>
              </a:p>
            </p:txBody>
          </p:sp>
          <p:sp>
            <p:nvSpPr>
              <p:cNvPr id="38" name="TextBox 37"/>
              <p:cNvSpPr txBox="1"/>
              <p:nvPr/>
            </p:nvSpPr>
            <p:spPr>
              <a:xfrm>
                <a:off x="12660220"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6</a:t>
                </a:r>
              </a:p>
            </p:txBody>
          </p:sp>
          <p:pic>
            <p:nvPicPr>
              <p:cNvPr id="83" name="Picture 3" descr="\\SFP\Work\White_Whale\3-22036_Kuleen_Bharadwaj\PPT\3_PlatformVision_Kuleen\SFP_Art\Plane Slide\mon_notie.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1139211" y="1983751"/>
                <a:ext cx="746401" cy="8755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1" name="Group 90"/>
            <p:cNvGrpSpPr/>
            <p:nvPr/>
          </p:nvGrpSpPr>
          <p:grpSpPr>
            <a:xfrm>
              <a:off x="13128666" y="1904999"/>
              <a:ext cx="2017182" cy="2011680"/>
              <a:chOff x="13128666" y="1904999"/>
              <a:chExt cx="2017182" cy="2011680"/>
            </a:xfrm>
          </p:grpSpPr>
          <p:sp>
            <p:nvSpPr>
              <p:cNvPr id="39" name="Rectangle 38"/>
              <p:cNvSpPr/>
              <p:nvPr/>
            </p:nvSpPr>
            <p:spPr bwMode="auto">
              <a:xfrm>
                <a:off x="13128666"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Extend Any Data, Anywhere</a:t>
                </a:r>
                <a:endParaRPr lang="en-US" sz="1500" dirty="0">
                  <a:gradFill>
                    <a:gsLst>
                      <a:gs pos="0">
                        <a:srgbClr val="FFFFFF"/>
                      </a:gs>
                      <a:gs pos="100000">
                        <a:srgbClr val="FFFFFF"/>
                      </a:gs>
                    </a:gsLst>
                    <a:lin ang="5400000" scaled="0"/>
                  </a:gradFill>
                </a:endParaRPr>
              </a:p>
            </p:txBody>
          </p:sp>
          <p:sp>
            <p:nvSpPr>
              <p:cNvPr id="41" name="TextBox 40"/>
              <p:cNvSpPr txBox="1"/>
              <p:nvPr/>
            </p:nvSpPr>
            <p:spPr>
              <a:xfrm>
                <a:off x="14789433"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7</a:t>
                </a:r>
              </a:p>
            </p:txBody>
          </p:sp>
          <p:pic>
            <p:nvPicPr>
              <p:cNvPr id="84" name="Picture 7" descr="\\MAGNUM\Projects\Microsoft\Cloud Power FY12\Design\ICONS_PNG\Physical_Virtual.png"/>
              <p:cNvPicPr>
                <a:picLocks noChangeAspect="1" noChangeArrowheads="1"/>
              </p:cNvPicPr>
              <p:nvPr/>
            </p:nvPicPr>
            <p:blipFill rotWithShape="1">
              <a:blip r:embed="rId18" cstate="print">
                <a:extLst>
                  <a:ext uri="{BEBA8EAE-BF5A-486C-A8C5-ECC9F3942E4B}">
                    <a14:imgProps xmlns:a14="http://schemas.microsoft.com/office/drawing/2010/main">
                      <a14:imgLayer r:embed="rId19">
                        <a14:imgEffect>
                          <a14:brightnessContrast bright="100000"/>
                        </a14:imgEffect>
                      </a14:imgLayer>
                    </a14:imgProps>
                  </a:ext>
                </a:extLst>
              </a:blip>
              <a:srcRect l="7856" t="39072" r="7907" b="5885"/>
              <a:stretch/>
            </p:blipFill>
            <p:spPr bwMode="auto">
              <a:xfrm>
                <a:off x="13200761" y="1984614"/>
                <a:ext cx="1275651" cy="833547"/>
              </a:xfrm>
              <a:prstGeom prst="rect">
                <a:avLst/>
              </a:prstGeom>
              <a:noFill/>
            </p:spPr>
          </p:pic>
        </p:grpSp>
        <p:grpSp>
          <p:nvGrpSpPr>
            <p:cNvPr id="96" name="Group 95"/>
            <p:cNvGrpSpPr/>
            <p:nvPr/>
          </p:nvGrpSpPr>
          <p:grpSpPr>
            <a:xfrm>
              <a:off x="15253277" y="1904999"/>
              <a:ext cx="2011680" cy="2011680"/>
              <a:chOff x="15253277" y="1904999"/>
              <a:chExt cx="2011680" cy="2011680"/>
            </a:xfrm>
          </p:grpSpPr>
          <p:sp>
            <p:nvSpPr>
              <p:cNvPr id="63" name="Rectangle 62"/>
              <p:cNvSpPr/>
              <p:nvPr/>
            </p:nvSpPr>
            <p:spPr bwMode="auto">
              <a:xfrm>
                <a:off x="15253277"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New Scenarios, Unlocked</a:t>
                </a:r>
                <a:endParaRPr lang="en-US" sz="1500" dirty="0">
                  <a:gradFill>
                    <a:gsLst>
                      <a:gs pos="0">
                        <a:srgbClr val="FFFFFF"/>
                      </a:gs>
                      <a:gs pos="100000">
                        <a:srgbClr val="FFFFFF"/>
                      </a:gs>
                    </a:gsLst>
                    <a:lin ang="5400000" scaled="0"/>
                  </a:gradFill>
                </a:endParaRPr>
              </a:p>
            </p:txBody>
          </p:sp>
          <p:sp>
            <p:nvSpPr>
              <p:cNvPr id="65" name="TextBox 64"/>
              <p:cNvSpPr txBox="1"/>
              <p:nvPr/>
            </p:nvSpPr>
            <p:spPr>
              <a:xfrm>
                <a:off x="16892363" y="1904999"/>
                <a:ext cx="356415" cy="615553"/>
              </a:xfrm>
              <a:prstGeom prst="rect">
                <a:avLst/>
              </a:prstGeom>
              <a:noFill/>
            </p:spPr>
            <p:txBody>
              <a:bodyPr wrap="none" lIns="0" tIns="0" rIns="45720" bIns="0" rtlCol="0">
                <a:spAutoFit/>
              </a:bodyPr>
              <a:lstStyle/>
              <a:p>
                <a:pPr algn="r"/>
                <a:r>
                  <a:rPr lang="en-US" sz="3000" b="1" dirty="0">
                    <a:solidFill>
                      <a:schemeClr val="tx2">
                        <a:lumMod val="75000"/>
                      </a:schemeClr>
                    </a:solidFill>
                  </a:rPr>
                  <a:t>8</a:t>
                </a:r>
                <a:endParaRPr lang="en-US" sz="3000" b="1" dirty="0">
                  <a:solidFill>
                    <a:schemeClr val="tx2">
                      <a:lumMod val="75000"/>
                    </a:schemeClr>
                  </a:solidFill>
                </a:endParaRPr>
              </a:p>
            </p:txBody>
          </p:sp>
          <p:pic>
            <p:nvPicPr>
              <p:cNvPr id="85" name="Picture 2"/>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5426772" y="2043731"/>
                <a:ext cx="640905" cy="775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98" name="Rectangle 97"/>
          <p:cNvSpPr/>
          <p:nvPr/>
        </p:nvSpPr>
        <p:spPr bwMode="auto">
          <a:xfrm>
            <a:off x="285825" y="3552453"/>
            <a:ext cx="7884646" cy="467390"/>
          </a:xfrm>
          <a:prstGeom prst="rect">
            <a:avLst/>
          </a:prstGeom>
          <a:solidFill>
            <a:srgbClr val="F6AE1E"/>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6" tIns="34293" rIns="68586" bIns="34293" numCol="1" spcCol="0" rtlCol="0" fromWordArt="0" anchor="ctr" anchorCtr="0" forceAA="0" compatLnSpc="1">
            <a:prstTxWarp prst="textNoShape">
              <a:avLst/>
            </a:prstTxWarp>
            <a:noAutofit/>
          </a:bodyPr>
          <a:lstStyle/>
          <a:p>
            <a:pPr defTabSz="685666" fontAlgn="base">
              <a:spcBef>
                <a:spcPct val="0"/>
              </a:spcBef>
              <a:spcAft>
                <a:spcPct val="0"/>
              </a:spcAft>
            </a:pPr>
            <a:r>
              <a:rPr lang="en-US" sz="2100" dirty="0" err="1">
                <a:gradFill>
                  <a:gsLst>
                    <a:gs pos="0">
                      <a:srgbClr val="FFFFFF"/>
                    </a:gs>
                    <a:gs pos="100000">
                      <a:srgbClr val="FFFFFF"/>
                    </a:gs>
                  </a:gsLst>
                  <a:lin ang="5400000" scaled="0"/>
                </a:gradFill>
              </a:rPr>
              <a:t>xVelocity</a:t>
            </a:r>
            <a:r>
              <a:rPr lang="en-US" sz="2100" dirty="0">
                <a:gradFill>
                  <a:gsLst>
                    <a:gs pos="0">
                      <a:srgbClr val="FFFFFF"/>
                    </a:gs>
                    <a:gs pos="100000">
                      <a:srgbClr val="FFFFFF"/>
                    </a:gs>
                  </a:gsLst>
                  <a:lin ang="5400000" scaled="0"/>
                </a:gradFill>
              </a:rPr>
              <a:t> In-Memory Technologies</a:t>
            </a:r>
            <a:endParaRPr lang="en-US" sz="2100" dirty="0">
              <a:gradFill>
                <a:gsLst>
                  <a:gs pos="0">
                    <a:srgbClr val="FFFFFF"/>
                  </a:gs>
                  <a:gs pos="100000">
                    <a:srgbClr val="FFFFFF"/>
                  </a:gs>
                </a:gsLst>
                <a:lin ang="5400000" scaled="0"/>
              </a:gradFill>
            </a:endParaRPr>
          </a:p>
        </p:txBody>
      </p:sp>
      <p:sp>
        <p:nvSpPr>
          <p:cNvPr id="99" name="Rectangle 98"/>
          <p:cNvSpPr/>
          <p:nvPr/>
        </p:nvSpPr>
        <p:spPr bwMode="auto">
          <a:xfrm>
            <a:off x="285825" y="3017520"/>
            <a:ext cx="7884646" cy="453683"/>
          </a:xfrm>
          <a:prstGeom prst="rect">
            <a:avLst/>
          </a:prstGeom>
          <a:solidFill>
            <a:srgbClr val="F6AE1E"/>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6" tIns="34293" rIns="68586" bIns="34293" numCol="1" spcCol="0" rtlCol="0" fromWordArt="0" anchor="ctr" anchorCtr="0" forceAA="0" compatLnSpc="1">
            <a:prstTxWarp prst="textNoShape">
              <a:avLst/>
            </a:prstTxWarp>
            <a:noAutofit/>
          </a:bodyPr>
          <a:lstStyle/>
          <a:p>
            <a:pPr defTabSz="685666" fontAlgn="base">
              <a:spcBef>
                <a:spcPct val="0"/>
              </a:spcBef>
              <a:spcAft>
                <a:spcPct val="0"/>
              </a:spcAft>
            </a:pPr>
            <a:r>
              <a:rPr lang="en-US" sz="2100" dirty="0">
                <a:gradFill>
                  <a:gsLst>
                    <a:gs pos="0">
                      <a:srgbClr val="FFFFFF"/>
                    </a:gs>
                    <a:gs pos="100000">
                      <a:srgbClr val="FFFFFF"/>
                    </a:gs>
                  </a:gsLst>
                  <a:lin ang="5400000" scaled="0"/>
                </a:gradFill>
              </a:rPr>
              <a:t>RDBMS, SSAS, SSIS</a:t>
            </a:r>
            <a:endParaRPr lang="en-US" sz="2100" dirty="0">
              <a:gradFill>
                <a:gsLst>
                  <a:gs pos="0">
                    <a:srgbClr val="FFFFFF"/>
                  </a:gs>
                  <a:gs pos="100000">
                    <a:srgbClr val="FFFFFF"/>
                  </a:gs>
                </a:gsLst>
                <a:lin ang="5400000" scaled="0"/>
              </a:gradFill>
            </a:endParaRPr>
          </a:p>
        </p:txBody>
      </p:sp>
      <p:grpSp>
        <p:nvGrpSpPr>
          <p:cNvPr id="100" name="Group 99"/>
          <p:cNvGrpSpPr/>
          <p:nvPr/>
        </p:nvGrpSpPr>
        <p:grpSpPr>
          <a:xfrm>
            <a:off x="285824" y="1428749"/>
            <a:ext cx="1520628" cy="1508760"/>
            <a:chOff x="381000" y="1904999"/>
            <a:chExt cx="2026976" cy="2011680"/>
          </a:xfrm>
        </p:grpSpPr>
        <p:sp>
          <p:nvSpPr>
            <p:cNvPr id="101" name="Rectangle 100"/>
            <p:cNvSpPr/>
            <p:nvPr/>
          </p:nvSpPr>
          <p:spPr bwMode="auto">
            <a:xfrm>
              <a:off x="381000" y="1904999"/>
              <a:ext cx="2011680" cy="2011680"/>
            </a:xfrm>
            <a:prstGeom prst="rect">
              <a:avLst/>
            </a:prstGeom>
            <a:solidFill>
              <a:schemeClr val="accent3"/>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Blazing-Fast Performance</a:t>
              </a:r>
            </a:p>
          </p:txBody>
        </p:sp>
        <p:sp>
          <p:nvSpPr>
            <p:cNvPr id="102" name="TextBox 101"/>
            <p:cNvSpPr txBox="1"/>
            <p:nvPr/>
          </p:nvSpPr>
          <p:spPr>
            <a:xfrm>
              <a:off x="2051561" y="1904999"/>
              <a:ext cx="356415" cy="615553"/>
            </a:xfrm>
            <a:prstGeom prst="rect">
              <a:avLst/>
            </a:prstGeom>
            <a:noFill/>
          </p:spPr>
          <p:txBody>
            <a:bodyPr wrap="none" lIns="0" tIns="0" rIns="45720" bIns="0" rtlCol="0">
              <a:spAutoFit/>
            </a:bodyPr>
            <a:lstStyle/>
            <a:p>
              <a:r>
                <a:rPr lang="en-US" sz="3000" b="1" dirty="0">
                  <a:solidFill>
                    <a:srgbClr val="FFC000"/>
                  </a:solidFill>
                </a:rPr>
                <a:t>1</a:t>
              </a:r>
            </a:p>
          </p:txBody>
        </p:sp>
        <p:pic>
          <p:nvPicPr>
            <p:cNvPr id="103" name="Picture 10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06299" y="2057549"/>
              <a:ext cx="880541" cy="880541"/>
            </a:xfrm>
            <a:prstGeom prst="rect">
              <a:avLst/>
            </a:prstGeom>
          </p:spPr>
        </p:pic>
      </p:grpSp>
      <p:sp>
        <p:nvSpPr>
          <p:cNvPr id="66"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67"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1"/>
              </a:rPr>
              <a:t>www.rapidbbs.cn</a:t>
            </a:r>
            <a:endParaRPr lang="zh-CN" altLang="en-US" sz="1200" b="0">
              <a:latin typeface="Arial" charset="0"/>
              <a:ea typeface="ＭＳ Ｐゴシック" pitchFamily="34" charset="-128"/>
            </a:endParaRPr>
          </a:p>
        </p:txBody>
      </p:sp>
      <p:pic>
        <p:nvPicPr>
          <p:cNvPr id="69" name="Picture 2">
            <a:hlinkClick r:id="rId21"/>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5985472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2000" fill="hold"/>
                                        <p:tgtEl>
                                          <p:spTgt spid="7"/>
                                        </p:tgtEl>
                                        <p:attrNameLst>
                                          <p:attrName>ppt_x</p:attrName>
                                        </p:attrNameLst>
                                      </p:cBhvr>
                                      <p:tavLst>
                                        <p:tav tm="0">
                                          <p:val>
                                            <p:strVal val="1+#ppt_w/2"/>
                                          </p:val>
                                        </p:tav>
                                        <p:tav tm="100000">
                                          <p:val>
                                            <p:strVal val="#ppt_x"/>
                                          </p:val>
                                        </p:tav>
                                      </p:tavLst>
                                    </p:anim>
                                    <p:anim calcmode="lin" valueType="num">
                                      <p:cBhvr additive="base">
                                        <p:cTn id="8" dur="2000" fill="hold"/>
                                        <p:tgtEl>
                                          <p:spTgt spid="7"/>
                                        </p:tgtEl>
                                        <p:attrNameLst>
                                          <p:attrName>ppt_y</p:attrName>
                                        </p:attrNameLst>
                                      </p:cBhvr>
                                      <p:tavLst>
                                        <p:tav tm="0">
                                          <p:val>
                                            <p:strVal val="#ppt_y"/>
                                          </p:val>
                                        </p:tav>
                                        <p:tav tm="100000">
                                          <p:val>
                                            <p:strVal val="#ppt_y"/>
                                          </p:val>
                                        </p:tav>
                                      </p:tavLst>
                                    </p:anim>
                                  </p:childTnLst>
                                </p:cTn>
                              </p:par>
                            </p:childTnLst>
                          </p:cTn>
                        </p:par>
                        <p:par>
                          <p:cTn id="9" fill="hold">
                            <p:stCondLst>
                              <p:cond delay="2000"/>
                            </p:stCondLst>
                            <p:childTnLst>
                              <p:par>
                                <p:cTn id="10" presetID="22" presetClass="entr" presetSubtype="4" fill="hold" nodeType="afterEffect">
                                  <p:stCondLst>
                                    <p:cond delay="0"/>
                                  </p:stCondLst>
                                  <p:childTnLst>
                                    <p:set>
                                      <p:cBhvr>
                                        <p:cTn id="11" dur="1" fill="hold">
                                          <p:stCondLst>
                                            <p:cond delay="0"/>
                                          </p:stCondLst>
                                        </p:cTn>
                                        <p:tgtEl>
                                          <p:spTgt spid="100"/>
                                        </p:tgtEl>
                                        <p:attrNameLst>
                                          <p:attrName>style.visibility</p:attrName>
                                        </p:attrNameLst>
                                      </p:cBhvr>
                                      <p:to>
                                        <p:strVal val="visible"/>
                                      </p:to>
                                    </p:set>
                                    <p:animEffect transition="in" filter="wipe(down)">
                                      <p:cBhvr>
                                        <p:cTn id="12" dur="500"/>
                                        <p:tgtEl>
                                          <p:spTgt spid="100"/>
                                        </p:tgtEl>
                                      </p:cBhvr>
                                    </p:animEffect>
                                  </p:childTnLst>
                                </p:cTn>
                              </p:par>
                              <p:par>
                                <p:cTn id="13" presetID="2" presetClass="entr" presetSubtype="2" decel="100000" fill="hold" grpId="0" nodeType="withEffect">
                                  <p:stCondLst>
                                    <p:cond delay="0"/>
                                  </p:stCondLst>
                                  <p:childTnLst>
                                    <p:set>
                                      <p:cBhvr>
                                        <p:cTn id="14" dur="1" fill="hold">
                                          <p:stCondLst>
                                            <p:cond delay="0"/>
                                          </p:stCondLst>
                                        </p:cTn>
                                        <p:tgtEl>
                                          <p:spTgt spid="99"/>
                                        </p:tgtEl>
                                        <p:attrNameLst>
                                          <p:attrName>style.visibility</p:attrName>
                                        </p:attrNameLst>
                                      </p:cBhvr>
                                      <p:to>
                                        <p:strVal val="visible"/>
                                      </p:to>
                                    </p:set>
                                    <p:anim calcmode="lin" valueType="num">
                                      <p:cBhvr additive="base">
                                        <p:cTn id="15" dur="1000" fill="hold"/>
                                        <p:tgtEl>
                                          <p:spTgt spid="99"/>
                                        </p:tgtEl>
                                        <p:attrNameLst>
                                          <p:attrName>ppt_x</p:attrName>
                                        </p:attrNameLst>
                                      </p:cBhvr>
                                      <p:tavLst>
                                        <p:tav tm="0">
                                          <p:val>
                                            <p:strVal val="1+#ppt_w/2"/>
                                          </p:val>
                                        </p:tav>
                                        <p:tav tm="100000">
                                          <p:val>
                                            <p:strVal val="#ppt_x"/>
                                          </p:val>
                                        </p:tav>
                                      </p:tavLst>
                                    </p:anim>
                                    <p:anim calcmode="lin" valueType="num">
                                      <p:cBhvr additive="base">
                                        <p:cTn id="16" dur="1000" fill="hold"/>
                                        <p:tgtEl>
                                          <p:spTgt spid="99"/>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250"/>
                                  </p:stCondLst>
                                  <p:childTnLst>
                                    <p:set>
                                      <p:cBhvr>
                                        <p:cTn id="18" dur="1" fill="hold">
                                          <p:stCondLst>
                                            <p:cond delay="0"/>
                                          </p:stCondLst>
                                        </p:cTn>
                                        <p:tgtEl>
                                          <p:spTgt spid="98"/>
                                        </p:tgtEl>
                                        <p:attrNameLst>
                                          <p:attrName>style.visibility</p:attrName>
                                        </p:attrNameLst>
                                      </p:cBhvr>
                                      <p:to>
                                        <p:strVal val="visible"/>
                                      </p:to>
                                    </p:set>
                                    <p:anim calcmode="lin" valueType="num">
                                      <p:cBhvr additive="base">
                                        <p:cTn id="19" dur="1000" fill="hold"/>
                                        <p:tgtEl>
                                          <p:spTgt spid="98"/>
                                        </p:tgtEl>
                                        <p:attrNameLst>
                                          <p:attrName>ppt_x</p:attrName>
                                        </p:attrNameLst>
                                      </p:cBhvr>
                                      <p:tavLst>
                                        <p:tav tm="0">
                                          <p:val>
                                            <p:strVal val="1+#ppt_w/2"/>
                                          </p:val>
                                        </p:tav>
                                        <p:tav tm="100000">
                                          <p:val>
                                            <p:strVal val="#ppt_x"/>
                                          </p:val>
                                        </p:tav>
                                      </p:tavLst>
                                    </p:anim>
                                    <p:anim calcmode="lin" valueType="num">
                                      <p:cBhvr additive="base">
                                        <p:cTn id="20" dur="1000" fill="hold"/>
                                        <p:tgtEl>
                                          <p:spTgt spid="9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8" grpId="0" animBg="1"/>
      <p:bldP spid="99" grpId="0" animBg="1"/>
    </p:bldLst>
  </p:timing>
</p:sld>
</file>

<file path=ppt/slides/slide4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reen"/>
          <p:cNvSpPr/>
          <p:nvPr/>
        </p:nvSpPr>
        <p:spPr bwMode="auto">
          <a:xfrm>
            <a:off x="769761" y="3024735"/>
            <a:ext cx="7603863" cy="1827103"/>
          </a:xfrm>
          <a:prstGeom prst="roundRect">
            <a:avLst>
              <a:gd name="adj" fmla="val 0"/>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lnSpc>
                <a:spcPct val="150000"/>
              </a:lnSpc>
              <a:spcBef>
                <a:spcPct val="0"/>
              </a:spcBef>
              <a:spcAft>
                <a:spcPct val="0"/>
              </a:spcAft>
            </a:pPr>
            <a:r>
              <a:rPr lang="en-US" sz="2100" b="1" dirty="0">
                <a:solidFill>
                  <a:schemeClr val="tx1">
                    <a:alpha val="99000"/>
                  </a:schemeClr>
                </a:solidFill>
                <a:latin typeface="Segoe UI" pitchFamily="34" charset="0"/>
                <a:ea typeface="Segoe UI" pitchFamily="34" charset="0"/>
                <a:cs typeface="Segoe UI" pitchFamily="34" charset="0"/>
              </a:rPr>
              <a:t>Faster Processing, Contained </a:t>
            </a:r>
            <a:r>
              <a:rPr lang="en-US" sz="2100" b="1" dirty="0">
                <a:solidFill>
                  <a:schemeClr val="tx1">
                    <a:alpha val="99000"/>
                  </a:schemeClr>
                </a:solidFill>
                <a:latin typeface="Segoe UI" pitchFamily="34" charset="0"/>
                <a:ea typeface="Segoe UI" pitchFamily="34" charset="0"/>
                <a:cs typeface="Segoe UI" pitchFamily="34" charset="0"/>
              </a:rPr>
              <a:t>Costs</a:t>
            </a:r>
          </a:p>
          <a:p>
            <a:pPr algn="ctr" defTabSz="685666" fontAlgn="base">
              <a:lnSpc>
                <a:spcPct val="150000"/>
              </a:lnSpc>
              <a:spcBef>
                <a:spcPct val="0"/>
              </a:spcBef>
              <a:spcAft>
                <a:spcPct val="0"/>
              </a:spcAft>
            </a:pPr>
            <a:r>
              <a:rPr lang="en-US" sz="1800" dirty="0">
                <a:solidFill>
                  <a:schemeClr val="tx1">
                    <a:alpha val="99000"/>
                  </a:schemeClr>
                </a:solidFill>
                <a:latin typeface="Segoe UI" pitchFamily="34" charset="0"/>
                <a:ea typeface="Segoe UI" pitchFamily="34" charset="0"/>
                <a:cs typeface="Segoe UI" pitchFamily="34" charset="0"/>
              </a:rPr>
              <a:t>Cut queries </a:t>
            </a:r>
            <a:r>
              <a:rPr lang="en-US" sz="1800" dirty="0">
                <a:solidFill>
                  <a:schemeClr val="tx1">
                    <a:alpha val="99000"/>
                  </a:schemeClr>
                </a:solidFill>
                <a:latin typeface="Segoe UI" pitchFamily="34" charset="0"/>
                <a:ea typeface="Segoe UI" pitchFamily="34" charset="0"/>
                <a:cs typeface="Segoe UI" pitchFamily="34" charset="0"/>
              </a:rPr>
              <a:t>by </a:t>
            </a:r>
            <a:r>
              <a:rPr lang="en-US" sz="1800" dirty="0">
                <a:solidFill>
                  <a:schemeClr val="tx1">
                    <a:alpha val="99000"/>
                  </a:schemeClr>
                </a:solidFill>
                <a:latin typeface="Segoe UI" pitchFamily="34" charset="0"/>
                <a:ea typeface="Segoe UI" pitchFamily="34" charset="0"/>
                <a:cs typeface="Segoe UI" pitchFamily="34" charset="0"/>
              </a:rPr>
              <a:t>75-90</a:t>
            </a:r>
            <a:r>
              <a:rPr lang="en-US" sz="1800" dirty="0">
                <a:solidFill>
                  <a:schemeClr val="tx1">
                    <a:alpha val="99000"/>
                  </a:schemeClr>
                </a:solidFill>
                <a:latin typeface="Segoe UI" pitchFamily="34" charset="0"/>
                <a:ea typeface="Segoe UI" pitchFamily="34" charset="0"/>
                <a:cs typeface="Segoe UI" pitchFamily="34" charset="0"/>
              </a:rPr>
              <a:t>%</a:t>
            </a:r>
          </a:p>
          <a:p>
            <a:pPr algn="ctr" defTabSz="685666" fontAlgn="base">
              <a:lnSpc>
                <a:spcPct val="150000"/>
              </a:lnSpc>
              <a:spcBef>
                <a:spcPct val="0"/>
              </a:spcBef>
              <a:spcAft>
                <a:spcPct val="0"/>
              </a:spcAft>
            </a:pPr>
            <a:r>
              <a:rPr lang="en-US" sz="1800" dirty="0">
                <a:solidFill>
                  <a:schemeClr val="tx1">
                    <a:alpha val="99000"/>
                  </a:schemeClr>
                </a:solidFill>
                <a:latin typeface="Segoe UI" pitchFamily="34" charset="0"/>
                <a:ea typeface="Segoe UI" pitchFamily="34" charset="0"/>
                <a:cs typeface="Segoe UI" pitchFamily="34" charset="0"/>
              </a:rPr>
              <a:t>Threats </a:t>
            </a:r>
            <a:r>
              <a:rPr lang="en-US" sz="1800" dirty="0" err="1">
                <a:solidFill>
                  <a:schemeClr val="tx1">
                    <a:alpha val="99000"/>
                  </a:schemeClr>
                </a:solidFill>
                <a:latin typeface="Segoe UI" pitchFamily="34" charset="0"/>
                <a:ea typeface="Segoe UI" pitchFamily="34" charset="0"/>
                <a:cs typeface="Segoe UI" pitchFamily="34" charset="0"/>
              </a:rPr>
              <a:t>ID’d</a:t>
            </a:r>
            <a:r>
              <a:rPr lang="en-US" sz="1800" dirty="0">
                <a:solidFill>
                  <a:schemeClr val="tx1">
                    <a:alpha val="99000"/>
                  </a:schemeClr>
                </a:solidFill>
                <a:latin typeface="Segoe UI" pitchFamily="34" charset="0"/>
                <a:ea typeface="Segoe UI" pitchFamily="34" charset="0"/>
                <a:cs typeface="Segoe UI" pitchFamily="34" charset="0"/>
              </a:rPr>
              <a:t> in hours, faster </a:t>
            </a:r>
            <a:r>
              <a:rPr lang="en-US" sz="1800" dirty="0">
                <a:solidFill>
                  <a:schemeClr val="tx1">
                    <a:alpha val="99000"/>
                  </a:schemeClr>
                </a:solidFill>
                <a:latin typeface="Segoe UI" pitchFamily="34" charset="0"/>
                <a:ea typeface="Segoe UI" pitchFamily="34" charset="0"/>
                <a:cs typeface="Segoe UI" pitchFamily="34" charset="0"/>
              </a:rPr>
              <a:t>response</a:t>
            </a:r>
          </a:p>
          <a:p>
            <a:pPr algn="ctr" defTabSz="685666" fontAlgn="base">
              <a:lnSpc>
                <a:spcPct val="150000"/>
              </a:lnSpc>
              <a:spcBef>
                <a:spcPct val="0"/>
              </a:spcBef>
              <a:spcAft>
                <a:spcPct val="0"/>
              </a:spcAft>
            </a:pPr>
            <a:r>
              <a:rPr lang="en-US" sz="1800" dirty="0">
                <a:solidFill>
                  <a:schemeClr val="tx1">
                    <a:alpha val="99000"/>
                  </a:schemeClr>
                </a:solidFill>
                <a:latin typeface="Segoe UI" pitchFamily="34" charset="0"/>
                <a:ea typeface="Segoe UI" pitchFamily="34" charset="0"/>
                <a:cs typeface="Segoe UI" pitchFamily="34" charset="0"/>
              </a:rPr>
              <a:t>Stays agile &amp; ahead of the </a:t>
            </a:r>
            <a:r>
              <a:rPr lang="en-US" sz="1800" dirty="0">
                <a:solidFill>
                  <a:schemeClr val="tx1">
                    <a:alpha val="99000"/>
                  </a:schemeClr>
                </a:solidFill>
                <a:latin typeface="Segoe UI" pitchFamily="34" charset="0"/>
                <a:ea typeface="Segoe UI" pitchFamily="34" charset="0"/>
                <a:cs typeface="Segoe UI" pitchFamily="34" charset="0"/>
              </a:rPr>
              <a:t>competition</a:t>
            </a:r>
            <a:endParaRPr lang="en-US" sz="1800" dirty="0">
              <a:solidFill>
                <a:schemeClr val="tx1">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title"/>
          </p:nvPr>
        </p:nvSpPr>
        <p:spPr/>
        <p:txBody>
          <a:bodyPr/>
          <a:lstStyle/>
          <a:p>
            <a:r>
              <a:rPr lang="en-US" dirty="0" err="1"/>
              <a:t>xVelocity</a:t>
            </a:r>
            <a:r>
              <a:rPr lang="en-US" dirty="0"/>
              <a:t> &amp; Trend Micro</a:t>
            </a:r>
          </a:p>
        </p:txBody>
      </p:sp>
      <p:sp>
        <p:nvSpPr>
          <p:cNvPr id="8" name="Green"/>
          <p:cNvSpPr/>
          <p:nvPr/>
        </p:nvSpPr>
        <p:spPr bwMode="auto">
          <a:xfrm>
            <a:off x="769761" y="2070509"/>
            <a:ext cx="1840718" cy="1827103"/>
          </a:xfrm>
          <a:prstGeom prst="roundRect">
            <a:avLst>
              <a:gd name="adj" fmla="val 0"/>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a:r>
              <a:rPr lang="en-US" sz="2700" b="1" dirty="0">
                <a:solidFill>
                  <a:srgbClr val="FFFFFF">
                    <a:alpha val="98824"/>
                  </a:srgbClr>
                </a:solidFill>
                <a:latin typeface="Segoe UI" pitchFamily="34" charset="0"/>
                <a:ea typeface="Segoe UI" pitchFamily="34" charset="0"/>
                <a:cs typeface="Segoe UI" pitchFamily="34" charset="0"/>
              </a:rPr>
              <a:t>500</a:t>
            </a:r>
          </a:p>
          <a:p>
            <a:pPr algn="ctr" defTabSz="685666"/>
            <a:r>
              <a:rPr lang="en-US" sz="1700" dirty="0">
                <a:solidFill>
                  <a:srgbClr val="FFFFFF">
                    <a:alpha val="98824"/>
                  </a:srgbClr>
                </a:solidFill>
                <a:latin typeface="Segoe UI" pitchFamily="34" charset="0"/>
                <a:ea typeface="Segoe UI" pitchFamily="34" charset="0"/>
                <a:cs typeface="Segoe UI" pitchFamily="34" charset="0"/>
              </a:rPr>
              <a:t>users</a:t>
            </a:r>
          </a:p>
        </p:txBody>
      </p:sp>
      <p:sp>
        <p:nvSpPr>
          <p:cNvPr id="9" name="Green"/>
          <p:cNvSpPr/>
          <p:nvPr/>
        </p:nvSpPr>
        <p:spPr bwMode="auto">
          <a:xfrm>
            <a:off x="2690809" y="2070509"/>
            <a:ext cx="1840718" cy="1827103"/>
          </a:xfrm>
          <a:prstGeom prst="roundRect">
            <a:avLst>
              <a:gd name="adj" fmla="val 0"/>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a:r>
              <a:rPr lang="en-US" sz="2700" b="1">
                <a:solidFill>
                  <a:srgbClr val="FFFFFF">
                    <a:alpha val="98824"/>
                  </a:srgbClr>
                </a:solidFill>
                <a:latin typeface="Segoe UI" pitchFamily="34" charset="0"/>
                <a:ea typeface="Segoe UI" pitchFamily="34" charset="0"/>
                <a:cs typeface="Segoe UI" pitchFamily="34" charset="0"/>
              </a:rPr>
              <a:t>2B</a:t>
            </a:r>
            <a:endParaRPr lang="en-US" sz="1700" dirty="0">
              <a:solidFill>
                <a:srgbClr val="FFFFFF">
                  <a:alpha val="98824"/>
                </a:srgbClr>
              </a:solidFill>
              <a:latin typeface="Segoe UI" pitchFamily="34" charset="0"/>
              <a:ea typeface="Segoe UI" pitchFamily="34" charset="0"/>
              <a:cs typeface="Segoe UI" pitchFamily="34" charset="0"/>
            </a:endParaRPr>
          </a:p>
          <a:p>
            <a:pPr algn="ctr" defTabSz="685666"/>
            <a:r>
              <a:rPr lang="en-US" sz="1700" dirty="0">
                <a:solidFill>
                  <a:srgbClr val="FFFFFF">
                    <a:alpha val="98824"/>
                  </a:srgbClr>
                </a:solidFill>
                <a:latin typeface="Segoe UI" pitchFamily="34" charset="0"/>
                <a:ea typeface="Segoe UI" pitchFamily="34" charset="0"/>
                <a:cs typeface="Segoe UI" pitchFamily="34" charset="0"/>
              </a:rPr>
              <a:t>rows of data</a:t>
            </a:r>
          </a:p>
        </p:txBody>
      </p:sp>
      <p:sp>
        <p:nvSpPr>
          <p:cNvPr id="10" name="Green"/>
          <p:cNvSpPr/>
          <p:nvPr/>
        </p:nvSpPr>
        <p:spPr bwMode="auto">
          <a:xfrm>
            <a:off x="4611857" y="2070509"/>
            <a:ext cx="1840718" cy="1827103"/>
          </a:xfrm>
          <a:prstGeom prst="roundRect">
            <a:avLst>
              <a:gd name="adj" fmla="val 0"/>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a:r>
              <a:rPr lang="en-US" sz="2700" b="1" dirty="0">
                <a:solidFill>
                  <a:srgbClr val="FFFFFF">
                    <a:alpha val="98824"/>
                  </a:srgbClr>
                </a:solidFill>
                <a:latin typeface="Segoe UI" pitchFamily="34" charset="0"/>
                <a:ea typeface="Segoe UI" pitchFamily="34" charset="0"/>
                <a:cs typeface="Segoe UI" pitchFamily="34" charset="0"/>
              </a:rPr>
              <a:t>200 sec = </a:t>
            </a:r>
            <a:r>
              <a:rPr lang="en-US" sz="1700" dirty="0">
                <a:solidFill>
                  <a:srgbClr val="FFFFFF">
                    <a:alpha val="98824"/>
                  </a:srgbClr>
                </a:solidFill>
                <a:latin typeface="Segoe UI" pitchFamily="34" charset="0"/>
                <a:ea typeface="Segoe UI" pitchFamily="34" charset="0"/>
                <a:cs typeface="Segoe UI" pitchFamily="34" charset="0"/>
              </a:rPr>
              <a:t>avg. top query</a:t>
            </a:r>
          </a:p>
        </p:txBody>
      </p:sp>
      <p:sp>
        <p:nvSpPr>
          <p:cNvPr id="11" name="Green"/>
          <p:cNvSpPr/>
          <p:nvPr/>
        </p:nvSpPr>
        <p:spPr bwMode="auto">
          <a:xfrm>
            <a:off x="6532905" y="2070509"/>
            <a:ext cx="1840718" cy="1827103"/>
          </a:xfrm>
          <a:prstGeom prst="roundRect">
            <a:avLst>
              <a:gd name="adj" fmla="val 0"/>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r>
              <a:rPr lang="en-US" sz="2700" b="1" dirty="0">
                <a:solidFill>
                  <a:srgbClr val="FFFFFF">
                    <a:alpha val="99000"/>
                  </a:srgbClr>
                </a:solidFill>
                <a:latin typeface="Segoe UI" pitchFamily="34" charset="0"/>
                <a:ea typeface="Segoe UI" pitchFamily="34" charset="0"/>
                <a:cs typeface="Segoe UI" pitchFamily="34" charset="0"/>
              </a:rPr>
              <a:t>1-2 days</a:t>
            </a:r>
          </a:p>
          <a:p>
            <a:pPr algn="ctr" defTabSz="685666" fontAlgn="base">
              <a:spcBef>
                <a:spcPct val="0"/>
              </a:spcBef>
              <a:spcAft>
                <a:spcPct val="0"/>
              </a:spcAft>
            </a:pPr>
            <a:r>
              <a:rPr lang="en-US" sz="1700" dirty="0">
                <a:solidFill>
                  <a:srgbClr val="FFFFFF">
                    <a:alpha val="99000"/>
                  </a:srgbClr>
                </a:solidFill>
                <a:latin typeface="Segoe UI" pitchFamily="34" charset="0"/>
                <a:ea typeface="Segoe UI" pitchFamily="34" charset="0"/>
                <a:cs typeface="Segoe UI" pitchFamily="34" charset="0"/>
              </a:rPr>
              <a:t>lost gathering threats</a:t>
            </a:r>
          </a:p>
        </p:txBody>
      </p:sp>
      <p:sp>
        <p:nvSpPr>
          <p:cNvPr id="12"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3"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
              </a:rPr>
              <a:t>www.rapidbbs.cn</a:t>
            </a:r>
            <a:endParaRPr lang="zh-CN" altLang="en-US" sz="1200" b="0">
              <a:latin typeface="Arial" charset="0"/>
              <a:ea typeface="ＭＳ Ｐゴシック" pitchFamily="34" charset="-128"/>
            </a:endParaRPr>
          </a:p>
        </p:txBody>
      </p:sp>
      <p:pic>
        <p:nvPicPr>
          <p:cNvPr id="14" name="Picture 2">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697719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750" fill="hold"/>
                                        <p:tgtEl>
                                          <p:spTgt spid="8"/>
                                        </p:tgtEl>
                                        <p:attrNameLst>
                                          <p:attrName>ppt_x</p:attrName>
                                        </p:attrNameLst>
                                      </p:cBhvr>
                                      <p:tavLst>
                                        <p:tav tm="0">
                                          <p:val>
                                            <p:strVal val="1+#ppt_w/2"/>
                                          </p:val>
                                        </p:tav>
                                        <p:tav tm="100000">
                                          <p:val>
                                            <p:strVal val="#ppt_x"/>
                                          </p:val>
                                        </p:tav>
                                      </p:tavLst>
                                    </p:anim>
                                    <p:anim calcmode="lin" valueType="num">
                                      <p:cBhvr additive="base">
                                        <p:cTn id="8" dur="75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750" fill="hold"/>
                                        <p:tgtEl>
                                          <p:spTgt spid="9"/>
                                        </p:tgtEl>
                                        <p:attrNameLst>
                                          <p:attrName>ppt_x</p:attrName>
                                        </p:attrNameLst>
                                      </p:cBhvr>
                                      <p:tavLst>
                                        <p:tav tm="0">
                                          <p:val>
                                            <p:strVal val="1+#ppt_w/2"/>
                                          </p:val>
                                        </p:tav>
                                        <p:tav tm="100000">
                                          <p:val>
                                            <p:strVal val="#ppt_x"/>
                                          </p:val>
                                        </p:tav>
                                      </p:tavLst>
                                    </p:anim>
                                    <p:anim calcmode="lin" valueType="num">
                                      <p:cBhvr additive="base">
                                        <p:cTn id="12" dur="750" fill="hold"/>
                                        <p:tgtEl>
                                          <p:spTgt spid="9"/>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750" fill="hold"/>
                                        <p:tgtEl>
                                          <p:spTgt spid="10"/>
                                        </p:tgtEl>
                                        <p:attrNameLst>
                                          <p:attrName>ppt_x</p:attrName>
                                        </p:attrNameLst>
                                      </p:cBhvr>
                                      <p:tavLst>
                                        <p:tav tm="0">
                                          <p:val>
                                            <p:strVal val="1+#ppt_w/2"/>
                                          </p:val>
                                        </p:tav>
                                        <p:tav tm="100000">
                                          <p:val>
                                            <p:strVal val="#ppt_x"/>
                                          </p:val>
                                        </p:tav>
                                      </p:tavLst>
                                    </p:anim>
                                    <p:anim calcmode="lin" valueType="num">
                                      <p:cBhvr additive="base">
                                        <p:cTn id="16" dur="750" fill="hold"/>
                                        <p:tgtEl>
                                          <p:spTgt spid="10"/>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750"/>
                                  </p:stCondLst>
                                  <p:childTnLst>
                                    <p:set>
                                      <p:cBhvr>
                                        <p:cTn id="18" dur="1" fill="hold">
                                          <p:stCondLst>
                                            <p:cond delay="0"/>
                                          </p:stCondLst>
                                        </p:cTn>
                                        <p:tgtEl>
                                          <p:spTgt spid="11"/>
                                        </p:tgtEl>
                                        <p:attrNameLst>
                                          <p:attrName>style.visibility</p:attrName>
                                        </p:attrNameLst>
                                      </p:cBhvr>
                                      <p:to>
                                        <p:strVal val="visible"/>
                                      </p:to>
                                    </p:set>
                                    <p:anim calcmode="lin" valueType="num">
                                      <p:cBhvr additive="base">
                                        <p:cTn id="19" dur="750" fill="hold"/>
                                        <p:tgtEl>
                                          <p:spTgt spid="11"/>
                                        </p:tgtEl>
                                        <p:attrNameLst>
                                          <p:attrName>ppt_x</p:attrName>
                                        </p:attrNameLst>
                                      </p:cBhvr>
                                      <p:tavLst>
                                        <p:tav tm="0">
                                          <p:val>
                                            <p:strVal val="1+#ppt_w/2"/>
                                          </p:val>
                                        </p:tav>
                                        <p:tav tm="100000">
                                          <p:val>
                                            <p:strVal val="#ppt_x"/>
                                          </p:val>
                                        </p:tav>
                                      </p:tavLst>
                                    </p:anim>
                                    <p:anim calcmode="lin" valueType="num">
                                      <p:cBhvr additive="base">
                                        <p:cTn id="20" dur="750" fill="hold"/>
                                        <p:tgtEl>
                                          <p:spTgt spid="11"/>
                                        </p:tgtEl>
                                        <p:attrNameLst>
                                          <p:attrName>ppt_y</p:attrName>
                                        </p:attrNameLst>
                                      </p:cBhvr>
                                      <p:tavLst>
                                        <p:tav tm="0">
                                          <p:val>
                                            <p:strVal val="#ppt_y"/>
                                          </p:val>
                                        </p:tav>
                                        <p:tav tm="100000">
                                          <p:val>
                                            <p:strVal val="#ppt_y"/>
                                          </p:val>
                                        </p:tav>
                                      </p:tavLst>
                                    </p:anim>
                                  </p:childTnLst>
                                </p:cTn>
                              </p:par>
                            </p:childTnLst>
                          </p:cTn>
                        </p:par>
                        <p:par>
                          <p:cTn id="21" fill="hold">
                            <p:stCondLst>
                              <p:cond delay="1500"/>
                            </p:stCondLst>
                            <p:childTnLst>
                              <p:par>
                                <p:cTn id="22" presetID="64" presetClass="path" presetSubtype="0" accel="50000" decel="50000" fill="hold" grpId="1" nodeType="afterEffect">
                                  <p:stCondLst>
                                    <p:cond delay="1250"/>
                                  </p:stCondLst>
                                  <p:childTnLst>
                                    <p:animMotion origin="layout" path="M 4.375E-6 -4.56059E-6 L 4.375E-6 -0.18062 " pathEditMode="relative" rAng="0" ptsTypes="AA">
                                      <p:cBhvr>
                                        <p:cTn id="23" dur="1250" fill="hold"/>
                                        <p:tgtEl>
                                          <p:spTgt spid="8"/>
                                        </p:tgtEl>
                                        <p:attrNameLst>
                                          <p:attrName>ppt_x</p:attrName>
                                          <p:attrName>ppt_y</p:attrName>
                                        </p:attrNameLst>
                                      </p:cBhvr>
                                      <p:rCtr x="0" y="-9043"/>
                                    </p:animMotion>
                                  </p:childTnLst>
                                </p:cTn>
                              </p:par>
                              <p:par>
                                <p:cTn id="24" presetID="64" presetClass="path" presetSubtype="0" accel="50000" decel="50000" fill="hold" grpId="1" nodeType="withEffect">
                                  <p:stCondLst>
                                    <p:cond delay="1250"/>
                                  </p:stCondLst>
                                  <p:childTnLst>
                                    <p:animMotion origin="layout" path="M -1.66667E-6 -4.56059E-6 L -1.66667E-6 -0.18062 " pathEditMode="relative" rAng="0" ptsTypes="AA">
                                      <p:cBhvr>
                                        <p:cTn id="25" dur="1250" fill="hold"/>
                                        <p:tgtEl>
                                          <p:spTgt spid="9"/>
                                        </p:tgtEl>
                                        <p:attrNameLst>
                                          <p:attrName>ppt_x</p:attrName>
                                          <p:attrName>ppt_y</p:attrName>
                                        </p:attrNameLst>
                                      </p:cBhvr>
                                      <p:rCtr x="0" y="-9043"/>
                                    </p:animMotion>
                                  </p:childTnLst>
                                </p:cTn>
                              </p:par>
                              <p:par>
                                <p:cTn id="26" presetID="64" presetClass="path" presetSubtype="0" accel="50000" decel="50000" fill="hold" grpId="1" nodeType="withEffect">
                                  <p:stCondLst>
                                    <p:cond delay="1250"/>
                                  </p:stCondLst>
                                  <p:childTnLst>
                                    <p:animMotion origin="layout" path="M 2.29167E-6 -4.56059E-6 L 2.29167E-6 -0.18062 " pathEditMode="relative" rAng="0" ptsTypes="AA">
                                      <p:cBhvr>
                                        <p:cTn id="27" dur="1250" fill="hold"/>
                                        <p:tgtEl>
                                          <p:spTgt spid="10"/>
                                        </p:tgtEl>
                                        <p:attrNameLst>
                                          <p:attrName>ppt_x</p:attrName>
                                          <p:attrName>ppt_y</p:attrName>
                                        </p:attrNameLst>
                                      </p:cBhvr>
                                      <p:rCtr x="0" y="-9043"/>
                                    </p:animMotion>
                                  </p:childTnLst>
                                </p:cTn>
                              </p:par>
                              <p:par>
                                <p:cTn id="28" presetID="64" presetClass="path" presetSubtype="0" accel="50000" decel="50000" fill="hold" grpId="1" nodeType="withEffect">
                                  <p:stCondLst>
                                    <p:cond delay="1250"/>
                                  </p:stCondLst>
                                  <p:childTnLst>
                                    <p:animMotion origin="layout" path="M -3.75E-6 -4.56059E-6 L -3.75E-6 -0.18062 " pathEditMode="relative" rAng="0" ptsTypes="AA">
                                      <p:cBhvr>
                                        <p:cTn id="29" dur="1250" fill="hold"/>
                                        <p:tgtEl>
                                          <p:spTgt spid="11"/>
                                        </p:tgtEl>
                                        <p:attrNameLst>
                                          <p:attrName>ppt_x</p:attrName>
                                          <p:attrName>ppt_y</p:attrName>
                                        </p:attrNameLst>
                                      </p:cBhvr>
                                      <p:rCtr x="0" y="-9043"/>
                                    </p:animMotion>
                                  </p:childTnLst>
                                </p:cTn>
                              </p:par>
                            </p:childTnLst>
                          </p:cTn>
                        </p:par>
                        <p:par>
                          <p:cTn id="30" fill="hold">
                            <p:stCondLst>
                              <p:cond delay="4000"/>
                            </p:stCondLst>
                            <p:childTnLst>
                              <p:par>
                                <p:cTn id="31" presetID="2" presetClass="entr" presetSubtype="2" decel="100000" fill="hold" grpId="0" nodeType="afterEffect">
                                  <p:stCondLst>
                                    <p:cond delay="0"/>
                                  </p:stCondLst>
                                  <p:childTnLst>
                                    <p:set>
                                      <p:cBhvr>
                                        <p:cTn id="32" dur="1" fill="hold">
                                          <p:stCondLst>
                                            <p:cond delay="0"/>
                                          </p:stCondLst>
                                        </p:cTn>
                                        <p:tgtEl>
                                          <p:spTgt spid="4"/>
                                        </p:tgtEl>
                                        <p:attrNameLst>
                                          <p:attrName>style.visibility</p:attrName>
                                        </p:attrNameLst>
                                      </p:cBhvr>
                                      <p:to>
                                        <p:strVal val="visible"/>
                                      </p:to>
                                    </p:set>
                                    <p:anim calcmode="lin" valueType="num">
                                      <p:cBhvr additive="base">
                                        <p:cTn id="33" dur="750" fill="hold"/>
                                        <p:tgtEl>
                                          <p:spTgt spid="4"/>
                                        </p:tgtEl>
                                        <p:attrNameLst>
                                          <p:attrName>ppt_x</p:attrName>
                                        </p:attrNameLst>
                                      </p:cBhvr>
                                      <p:tavLst>
                                        <p:tav tm="0">
                                          <p:val>
                                            <p:strVal val="1+#ppt_w/2"/>
                                          </p:val>
                                        </p:tav>
                                        <p:tav tm="100000">
                                          <p:val>
                                            <p:strVal val="#ppt_x"/>
                                          </p:val>
                                        </p:tav>
                                      </p:tavLst>
                                    </p:anim>
                                    <p:anim calcmode="lin" valueType="num">
                                      <p:cBhvr additive="base">
                                        <p:cTn id="34" dur="75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8" grpId="1" animBg="1"/>
      <p:bldP spid="9" grpId="0" animBg="1"/>
      <p:bldP spid="9" grpId="1" animBg="1"/>
      <p:bldP spid="10" grpId="0" animBg="1"/>
      <p:bldP spid="10" grpId="1" animBg="1"/>
      <p:bldP spid="11" grpId="0" animBg="1"/>
      <p:bldP spid="11" grpId="1" animBg="1"/>
    </p:bldLst>
  </p:timing>
</p:sld>
</file>

<file path=ppt/slides/slide4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Title 2"/>
          <p:cNvSpPr>
            <a:spLocks noGrp="1"/>
          </p:cNvSpPr>
          <p:nvPr>
            <p:ph type="title"/>
          </p:nvPr>
        </p:nvSpPr>
        <p:spPr>
          <a:xfrm>
            <a:off x="285825" y="171450"/>
            <a:ext cx="6280916" cy="457049"/>
          </a:xfrm>
        </p:spPr>
        <p:txBody>
          <a:bodyPr/>
          <a:lstStyle/>
          <a:p>
            <a:r>
              <a:rPr lang="en-US" dirty="0"/>
              <a:t>SQL Server 2012</a:t>
            </a:r>
          </a:p>
        </p:txBody>
      </p:sp>
      <p:pic>
        <p:nvPicPr>
          <p:cNvPr id="71" name="Picture 7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05641" y="4672464"/>
            <a:ext cx="1725220" cy="356737"/>
          </a:xfrm>
          <a:prstGeom prst="rect">
            <a:avLst/>
          </a:prstGeom>
        </p:spPr>
      </p:pic>
      <p:sp>
        <p:nvSpPr>
          <p:cNvPr id="98" name="Rectangle 97"/>
          <p:cNvSpPr/>
          <p:nvPr/>
        </p:nvSpPr>
        <p:spPr bwMode="auto">
          <a:xfrm>
            <a:off x="285825" y="3552453"/>
            <a:ext cx="7873846" cy="467390"/>
          </a:xfrm>
          <a:prstGeom prst="rect">
            <a:avLst/>
          </a:prstGeom>
          <a:solidFill>
            <a:srgbClr val="F6AE1E"/>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6" tIns="34293" rIns="68586" bIns="34293" numCol="1" spcCol="0" rtlCol="0" fromWordArt="0" anchor="ctr" anchorCtr="0" forceAA="0" compatLnSpc="1">
            <a:prstTxWarp prst="textNoShape">
              <a:avLst/>
            </a:prstTxWarp>
            <a:noAutofit/>
          </a:bodyPr>
          <a:lstStyle/>
          <a:p>
            <a:pPr defTabSz="685666" fontAlgn="base">
              <a:spcBef>
                <a:spcPct val="0"/>
              </a:spcBef>
              <a:spcAft>
                <a:spcPct val="0"/>
              </a:spcAft>
            </a:pPr>
            <a:r>
              <a:rPr lang="en-US" sz="2100" dirty="0">
                <a:gradFill>
                  <a:gsLst>
                    <a:gs pos="0">
                      <a:srgbClr val="FFFFFF"/>
                    </a:gs>
                    <a:gs pos="100000">
                      <a:srgbClr val="FFFFFF"/>
                    </a:gs>
                  </a:gsLst>
                  <a:lin ang="5400000" scaled="0"/>
                </a:gradFill>
              </a:rPr>
              <a:t>Expanded Audit</a:t>
            </a:r>
            <a:endParaRPr lang="en-US" sz="2100" dirty="0">
              <a:gradFill>
                <a:gsLst>
                  <a:gs pos="0">
                    <a:srgbClr val="FFFFFF"/>
                  </a:gs>
                  <a:gs pos="100000">
                    <a:srgbClr val="FFFFFF"/>
                  </a:gs>
                </a:gsLst>
                <a:lin ang="5400000" scaled="0"/>
              </a:gradFill>
            </a:endParaRPr>
          </a:p>
        </p:txBody>
      </p:sp>
      <p:sp>
        <p:nvSpPr>
          <p:cNvPr id="100" name="Rectangle 99"/>
          <p:cNvSpPr/>
          <p:nvPr/>
        </p:nvSpPr>
        <p:spPr bwMode="auto">
          <a:xfrm>
            <a:off x="285825" y="4104610"/>
            <a:ext cx="7873846" cy="467390"/>
          </a:xfrm>
          <a:prstGeom prst="rect">
            <a:avLst/>
          </a:prstGeom>
          <a:solidFill>
            <a:srgbClr val="F6AE1E"/>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6" tIns="34293" rIns="68586" bIns="34293" numCol="1" spcCol="0" rtlCol="0" fromWordArt="0" anchor="ctr" anchorCtr="0" forceAA="0" compatLnSpc="1">
            <a:prstTxWarp prst="textNoShape">
              <a:avLst/>
            </a:prstTxWarp>
            <a:noAutofit/>
          </a:bodyPr>
          <a:lstStyle/>
          <a:p>
            <a:pPr defTabSz="685666" fontAlgn="base">
              <a:spcBef>
                <a:spcPct val="0"/>
              </a:spcBef>
              <a:spcAft>
                <a:spcPct val="0"/>
              </a:spcAft>
            </a:pPr>
            <a:r>
              <a:rPr lang="en-US" sz="2100" dirty="0">
                <a:gradFill>
                  <a:gsLst>
                    <a:gs pos="0">
                      <a:srgbClr val="FFFFFF"/>
                    </a:gs>
                    <a:gs pos="100000">
                      <a:srgbClr val="FFFFFF"/>
                    </a:gs>
                  </a:gsLst>
                  <a:lin ang="5400000" scaled="0"/>
                </a:gradFill>
              </a:rPr>
              <a:t>Filtering</a:t>
            </a:r>
            <a:endParaRPr lang="en-US" sz="2100" dirty="0">
              <a:gradFill>
                <a:gsLst>
                  <a:gs pos="0">
                    <a:srgbClr val="FFFFFF"/>
                  </a:gs>
                  <a:gs pos="100000">
                    <a:srgbClr val="FFFFFF"/>
                  </a:gs>
                </a:gsLst>
                <a:lin ang="5400000" scaled="0"/>
              </a:gradFill>
            </a:endParaRPr>
          </a:p>
        </p:txBody>
      </p:sp>
      <p:sp>
        <p:nvSpPr>
          <p:cNvPr id="99" name="Rectangle 98"/>
          <p:cNvSpPr/>
          <p:nvPr/>
        </p:nvSpPr>
        <p:spPr bwMode="auto">
          <a:xfrm>
            <a:off x="285825" y="3017520"/>
            <a:ext cx="7873846" cy="453683"/>
          </a:xfrm>
          <a:prstGeom prst="rect">
            <a:avLst/>
          </a:prstGeom>
          <a:solidFill>
            <a:srgbClr val="F6AE1E"/>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6" tIns="34293" rIns="68586" bIns="34293" numCol="1" spcCol="0" rtlCol="0" fromWordArt="0" anchor="ctr" anchorCtr="0" forceAA="0" compatLnSpc="1">
            <a:prstTxWarp prst="textNoShape">
              <a:avLst/>
            </a:prstTxWarp>
            <a:noAutofit/>
          </a:bodyPr>
          <a:lstStyle/>
          <a:p>
            <a:pPr defTabSz="685666" fontAlgn="base">
              <a:spcBef>
                <a:spcPct val="0"/>
              </a:spcBef>
              <a:spcAft>
                <a:spcPct val="0"/>
              </a:spcAft>
            </a:pPr>
            <a:r>
              <a:rPr lang="en-US" sz="2100" dirty="0">
                <a:gradFill>
                  <a:gsLst>
                    <a:gs pos="0">
                      <a:srgbClr val="FFFFFF"/>
                    </a:gs>
                    <a:gs pos="100000">
                      <a:srgbClr val="FFFFFF"/>
                    </a:gs>
                  </a:gsLst>
                  <a:lin ang="5400000" scaled="0"/>
                </a:gradFill>
              </a:rPr>
              <a:t>User-Defined Roles</a:t>
            </a:r>
            <a:endParaRPr lang="en-US" sz="2100" dirty="0">
              <a:gradFill>
                <a:gsLst>
                  <a:gs pos="0">
                    <a:srgbClr val="FFFFFF"/>
                  </a:gs>
                  <a:gs pos="100000">
                    <a:srgbClr val="FFFFFF"/>
                  </a:gs>
                </a:gsLst>
                <a:lin ang="5400000" scaled="0"/>
              </a:gradFill>
            </a:endParaRPr>
          </a:p>
        </p:txBody>
      </p:sp>
      <p:grpSp>
        <p:nvGrpSpPr>
          <p:cNvPr id="5" name="Group 4"/>
          <p:cNvGrpSpPr/>
          <p:nvPr/>
        </p:nvGrpSpPr>
        <p:grpSpPr>
          <a:xfrm>
            <a:off x="285824" y="1428749"/>
            <a:ext cx="19043903" cy="1508760"/>
            <a:chOff x="381000" y="1904999"/>
            <a:chExt cx="25385258" cy="2011680"/>
          </a:xfrm>
        </p:grpSpPr>
        <p:grpSp>
          <p:nvGrpSpPr>
            <p:cNvPr id="216" name="Group 215"/>
            <p:cNvGrpSpPr/>
            <p:nvPr/>
          </p:nvGrpSpPr>
          <p:grpSpPr>
            <a:xfrm>
              <a:off x="17380745" y="1904999"/>
              <a:ext cx="2011680" cy="2011680"/>
              <a:chOff x="17380745" y="1904999"/>
              <a:chExt cx="2011680" cy="2011680"/>
            </a:xfrm>
          </p:grpSpPr>
          <p:sp>
            <p:nvSpPr>
              <p:cNvPr id="268" name="Rectangle 267"/>
              <p:cNvSpPr/>
              <p:nvPr/>
            </p:nvSpPr>
            <p:spPr bwMode="auto">
              <a:xfrm>
                <a:off x="17380745"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Big Data &amp; Data </a:t>
                </a:r>
                <a:r>
                  <a:rPr lang="en-US" sz="1500" dirty="0">
                    <a:gradFill>
                      <a:gsLst>
                        <a:gs pos="0">
                          <a:srgbClr val="FFFFFF"/>
                        </a:gs>
                        <a:gs pos="100000">
                          <a:srgbClr val="FFFFFF"/>
                        </a:gs>
                      </a:gsLst>
                      <a:lin ang="5400000" scaled="0"/>
                    </a:gradFill>
                  </a:rPr>
                  <a:t>Warehousing</a:t>
                </a:r>
              </a:p>
            </p:txBody>
          </p:sp>
          <p:pic>
            <p:nvPicPr>
              <p:cNvPr id="269" name="Picture 8"/>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7494848" y="2029883"/>
                <a:ext cx="896304" cy="7133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70" name="TextBox 269"/>
              <p:cNvSpPr txBox="1"/>
              <p:nvPr/>
            </p:nvSpPr>
            <p:spPr>
              <a:xfrm>
                <a:off x="19026216" y="1904999"/>
                <a:ext cx="356415" cy="615553"/>
              </a:xfrm>
              <a:prstGeom prst="rect">
                <a:avLst/>
              </a:prstGeom>
              <a:noFill/>
            </p:spPr>
            <p:txBody>
              <a:bodyPr wrap="none" lIns="0" tIns="0" rIns="45720" bIns="0" rtlCol="0">
                <a:spAutoFit/>
              </a:bodyPr>
              <a:lstStyle/>
              <a:p>
                <a:pPr algn="r"/>
                <a:r>
                  <a:rPr lang="en-US" sz="3000" b="1" dirty="0">
                    <a:solidFill>
                      <a:schemeClr val="tx2">
                        <a:lumMod val="75000"/>
                      </a:schemeClr>
                    </a:solidFill>
                  </a:rPr>
                  <a:t>9</a:t>
                </a:r>
                <a:endParaRPr lang="en-US" sz="3000" b="1" dirty="0">
                  <a:solidFill>
                    <a:schemeClr val="tx2">
                      <a:lumMod val="75000"/>
                    </a:schemeClr>
                  </a:solidFill>
                </a:endParaRPr>
              </a:p>
            </p:txBody>
          </p:sp>
        </p:grpSp>
        <p:grpSp>
          <p:nvGrpSpPr>
            <p:cNvPr id="217" name="Group 216"/>
            <p:cNvGrpSpPr/>
            <p:nvPr/>
          </p:nvGrpSpPr>
          <p:grpSpPr>
            <a:xfrm>
              <a:off x="21629967" y="1904999"/>
              <a:ext cx="2011680" cy="2011680"/>
              <a:chOff x="21629967" y="1904999"/>
              <a:chExt cx="2011680" cy="2011680"/>
            </a:xfrm>
          </p:grpSpPr>
          <p:sp>
            <p:nvSpPr>
              <p:cNvPr id="265" name="Rectangle 264"/>
              <p:cNvSpPr/>
              <p:nvPr/>
            </p:nvSpPr>
            <p:spPr bwMode="auto">
              <a:xfrm>
                <a:off x="21629967"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Managed Self-Service BI</a:t>
                </a:r>
                <a:endParaRPr lang="en-US" sz="1500" dirty="0">
                  <a:gradFill>
                    <a:gsLst>
                      <a:gs pos="0">
                        <a:srgbClr val="FFFFFF"/>
                      </a:gs>
                      <a:gs pos="100000">
                        <a:srgbClr val="FFFFFF"/>
                      </a:gs>
                    </a:gsLst>
                    <a:lin ang="5400000" scaled="0"/>
                  </a:gradFill>
                </a:endParaRPr>
              </a:p>
            </p:txBody>
          </p:sp>
          <p:sp>
            <p:nvSpPr>
              <p:cNvPr id="266" name="TextBox 265"/>
              <p:cNvSpPr txBox="1"/>
              <p:nvPr/>
            </p:nvSpPr>
            <p:spPr>
              <a:xfrm>
                <a:off x="22979965" y="1904999"/>
                <a:ext cx="651290" cy="615553"/>
              </a:xfrm>
              <a:prstGeom prst="rect">
                <a:avLst/>
              </a:prstGeom>
              <a:noFill/>
            </p:spPr>
            <p:txBody>
              <a:bodyPr wrap="none" lIns="0" tIns="0" rIns="45720" bIns="0" rtlCol="0">
                <a:spAutoFit/>
              </a:bodyPr>
              <a:lstStyle/>
              <a:p>
                <a:pPr algn="r"/>
                <a:r>
                  <a:rPr lang="en-US" sz="3000" b="1" dirty="0">
                    <a:solidFill>
                      <a:schemeClr val="tx2">
                        <a:lumMod val="75000"/>
                      </a:schemeClr>
                    </a:solidFill>
                  </a:rPr>
                  <a:t>11</a:t>
                </a:r>
                <a:endParaRPr lang="en-US" sz="3000" b="1" dirty="0">
                  <a:solidFill>
                    <a:schemeClr val="tx2">
                      <a:lumMod val="75000"/>
                    </a:schemeClr>
                  </a:solidFill>
                </a:endParaRPr>
              </a:p>
            </p:txBody>
          </p:sp>
          <p:pic>
            <p:nvPicPr>
              <p:cNvPr id="267" name="Picture 174"/>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1709280" y="1981200"/>
                <a:ext cx="832241" cy="833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8" name="Group 217"/>
            <p:cNvGrpSpPr/>
            <p:nvPr/>
          </p:nvGrpSpPr>
          <p:grpSpPr>
            <a:xfrm>
              <a:off x="23754578" y="1904999"/>
              <a:ext cx="2011680" cy="2011680"/>
              <a:chOff x="23754578" y="1904999"/>
              <a:chExt cx="2011680" cy="2011680"/>
            </a:xfrm>
          </p:grpSpPr>
          <p:sp>
            <p:nvSpPr>
              <p:cNvPr id="262" name="Rectangle 261"/>
              <p:cNvSpPr/>
              <p:nvPr/>
            </p:nvSpPr>
            <p:spPr bwMode="auto">
              <a:xfrm>
                <a:off x="23754578"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Rapid Data Exploration</a:t>
                </a:r>
                <a:endParaRPr lang="en-US" sz="1500" dirty="0">
                  <a:gradFill>
                    <a:gsLst>
                      <a:gs pos="0">
                        <a:srgbClr val="FFFFFF"/>
                      </a:gs>
                      <a:gs pos="100000">
                        <a:srgbClr val="FFFFFF"/>
                      </a:gs>
                    </a:gsLst>
                    <a:lin ang="5400000" scaled="0"/>
                  </a:gradFill>
                </a:endParaRPr>
              </a:p>
            </p:txBody>
          </p:sp>
          <p:sp>
            <p:nvSpPr>
              <p:cNvPr id="263" name="TextBox 262"/>
              <p:cNvSpPr txBox="1"/>
              <p:nvPr/>
            </p:nvSpPr>
            <p:spPr>
              <a:xfrm>
                <a:off x="25104576" y="1904999"/>
                <a:ext cx="651290" cy="615553"/>
              </a:xfrm>
              <a:prstGeom prst="rect">
                <a:avLst/>
              </a:prstGeom>
              <a:noFill/>
            </p:spPr>
            <p:txBody>
              <a:bodyPr wrap="none" lIns="0" tIns="0" rIns="45720" bIns="0" rtlCol="0">
                <a:spAutoFit/>
              </a:bodyPr>
              <a:lstStyle/>
              <a:p>
                <a:pPr algn="r"/>
                <a:r>
                  <a:rPr lang="en-US" sz="3000" b="1" dirty="0">
                    <a:solidFill>
                      <a:schemeClr val="tx2">
                        <a:lumMod val="75000"/>
                      </a:schemeClr>
                    </a:solidFill>
                  </a:rPr>
                  <a:t>12</a:t>
                </a:r>
                <a:endParaRPr lang="en-US" sz="3000" b="1" dirty="0">
                  <a:solidFill>
                    <a:schemeClr val="tx2">
                      <a:lumMod val="75000"/>
                    </a:schemeClr>
                  </a:solidFill>
                </a:endParaRPr>
              </a:p>
            </p:txBody>
          </p:sp>
          <p:pic>
            <p:nvPicPr>
              <p:cNvPr id="264" name="Picture 3"/>
              <p:cNvPicPr>
                <a:picLocks noChangeAspect="1" noChangeArrowheads="1"/>
              </p:cNvPicPr>
              <p:nvPr>
                <p:custDataLst>
                  <p:tags r:id="rId4"/>
                </p:custDataLst>
              </p:nvPr>
            </p:nvPicPr>
            <p:blipFill>
              <a:blip r:embed="rId9" cstate="print">
                <a:extLst>
                  <a:ext uri="{28A0092B-C50C-407E-A947-70E740481C1C}">
                    <a14:useLocalDpi xmlns:a14="http://schemas.microsoft.com/office/drawing/2010/main"/>
                  </a:ext>
                </a:extLst>
              </a:blip>
              <a:srcRect/>
              <a:stretch>
                <a:fillRect/>
              </a:stretch>
            </p:blipFill>
            <p:spPr bwMode="auto">
              <a:xfrm>
                <a:off x="23842880" y="1959614"/>
                <a:ext cx="593243" cy="859786"/>
              </a:xfrm>
              <a:prstGeom prst="rect">
                <a:avLst/>
              </a:prstGeom>
              <a:noFill/>
              <a:ln>
                <a:noFill/>
                <a:headEnd type="none" w="med" len="med"/>
                <a:tailEnd type="none" w="med" len="med"/>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9" name="Group 218"/>
            <p:cNvGrpSpPr/>
            <p:nvPr/>
          </p:nvGrpSpPr>
          <p:grpSpPr>
            <a:xfrm>
              <a:off x="4630222" y="1904999"/>
              <a:ext cx="2026976" cy="2011680"/>
              <a:chOff x="4630222" y="1904999"/>
              <a:chExt cx="2026976" cy="2011680"/>
            </a:xfrm>
          </p:grpSpPr>
          <p:sp>
            <p:nvSpPr>
              <p:cNvPr id="259" name="Rectangle 258"/>
              <p:cNvSpPr/>
              <p:nvPr/>
            </p:nvSpPr>
            <p:spPr bwMode="auto">
              <a:xfrm>
                <a:off x="4630222"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Required 9s &amp; Data Protection</a:t>
                </a:r>
                <a:endParaRPr lang="en-US" sz="1500" dirty="0">
                  <a:gradFill>
                    <a:gsLst>
                      <a:gs pos="0">
                        <a:srgbClr val="FFFFFF"/>
                      </a:gs>
                      <a:gs pos="100000">
                        <a:srgbClr val="FFFFFF"/>
                      </a:gs>
                    </a:gsLst>
                    <a:lin ang="5400000" scaled="0"/>
                  </a:gradFill>
                </a:endParaRPr>
              </a:p>
            </p:txBody>
          </p:sp>
          <p:sp>
            <p:nvSpPr>
              <p:cNvPr id="260" name="TextBox 259"/>
              <p:cNvSpPr txBox="1"/>
              <p:nvPr/>
            </p:nvSpPr>
            <p:spPr>
              <a:xfrm>
                <a:off x="6300783"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3</a:t>
                </a:r>
              </a:p>
            </p:txBody>
          </p:sp>
          <p:pic>
            <p:nvPicPr>
              <p:cNvPr id="261" name="Picture 4" descr="\\MAGNUM\Projects\Microsoft\Cloud Power FY12\Design\ICONS_PNG\Check_mark.png"/>
              <p:cNvPicPr>
                <a:picLocks noChangeAspect="1" noChangeArrowheads="1"/>
              </p:cNvPicPr>
              <p:nvPr/>
            </p:nvPicPr>
            <p:blipFill rotWithShape="1">
              <a:blip r:embed="rId10" cstate="print">
                <a:lum bright="100000"/>
              </a:blip>
              <a:srcRect t="11515"/>
              <a:stretch/>
            </p:blipFill>
            <p:spPr bwMode="auto">
              <a:xfrm>
                <a:off x="4669492" y="1927464"/>
                <a:ext cx="1253470" cy="1109124"/>
              </a:xfrm>
              <a:prstGeom prst="rect">
                <a:avLst/>
              </a:prstGeom>
              <a:noFill/>
            </p:spPr>
          </p:pic>
        </p:grpSp>
        <p:grpSp>
          <p:nvGrpSpPr>
            <p:cNvPr id="220" name="Group 219"/>
            <p:cNvGrpSpPr/>
            <p:nvPr/>
          </p:nvGrpSpPr>
          <p:grpSpPr>
            <a:xfrm>
              <a:off x="19505356" y="1904999"/>
              <a:ext cx="2011680" cy="2011680"/>
              <a:chOff x="19505356" y="1904999"/>
              <a:chExt cx="2011680" cy="2011680"/>
            </a:xfrm>
          </p:grpSpPr>
          <p:sp>
            <p:nvSpPr>
              <p:cNvPr id="256" name="Rectangle 255"/>
              <p:cNvSpPr/>
              <p:nvPr/>
            </p:nvSpPr>
            <p:spPr bwMode="auto">
              <a:xfrm>
                <a:off x="19505356"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Credible, Consistent Data</a:t>
                </a:r>
                <a:endParaRPr lang="en-US" sz="1500" dirty="0">
                  <a:gradFill>
                    <a:gsLst>
                      <a:gs pos="0">
                        <a:srgbClr val="FFFFFF"/>
                      </a:gs>
                      <a:gs pos="100000">
                        <a:srgbClr val="FFFFFF"/>
                      </a:gs>
                    </a:gsLst>
                    <a:lin ang="5400000" scaled="0"/>
                  </a:gradFill>
                </a:endParaRPr>
              </a:p>
            </p:txBody>
          </p:sp>
          <p:sp>
            <p:nvSpPr>
              <p:cNvPr id="257" name="TextBox 256"/>
              <p:cNvSpPr txBox="1"/>
              <p:nvPr/>
            </p:nvSpPr>
            <p:spPr>
              <a:xfrm>
                <a:off x="20865746" y="1904999"/>
                <a:ext cx="651290" cy="615553"/>
              </a:xfrm>
              <a:prstGeom prst="rect">
                <a:avLst/>
              </a:prstGeom>
              <a:noFill/>
            </p:spPr>
            <p:txBody>
              <a:bodyPr wrap="none" lIns="0" tIns="0" rIns="45720" bIns="0" rtlCol="0">
                <a:spAutoFit/>
              </a:bodyPr>
              <a:lstStyle/>
              <a:p>
                <a:pPr algn="r"/>
                <a:r>
                  <a:rPr lang="en-US" sz="3000" b="1" dirty="0">
                    <a:solidFill>
                      <a:schemeClr val="tx2">
                        <a:lumMod val="75000"/>
                      </a:schemeClr>
                    </a:solidFill>
                  </a:rPr>
                  <a:t>10</a:t>
                </a:r>
                <a:endParaRPr lang="en-US" sz="3000" b="1" dirty="0">
                  <a:solidFill>
                    <a:schemeClr val="tx2">
                      <a:lumMod val="75000"/>
                    </a:schemeClr>
                  </a:solidFill>
                </a:endParaRPr>
              </a:p>
            </p:txBody>
          </p:sp>
          <p:pic>
            <p:nvPicPr>
              <p:cNvPr id="258" name="Picture 2"/>
              <p:cNvPicPr>
                <a:picLocks noChangeAspect="1" noChangeArrowheads="1"/>
              </p:cNvPicPr>
              <p:nvPr/>
            </p:nvPicPr>
            <p:blipFill>
              <a:blip r:embed="rId11"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9623259" y="2012733"/>
                <a:ext cx="958499" cy="8515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21" name="Group 220"/>
            <p:cNvGrpSpPr/>
            <p:nvPr/>
          </p:nvGrpSpPr>
          <p:grpSpPr>
            <a:xfrm>
              <a:off x="2505611" y="1904999"/>
              <a:ext cx="2022972" cy="2011680"/>
              <a:chOff x="2505611" y="1904999"/>
              <a:chExt cx="2022972" cy="2011680"/>
            </a:xfrm>
          </p:grpSpPr>
          <p:sp>
            <p:nvSpPr>
              <p:cNvPr id="253" name="Rectangle 252"/>
              <p:cNvSpPr/>
              <p:nvPr/>
            </p:nvSpPr>
            <p:spPr bwMode="auto">
              <a:xfrm>
                <a:off x="2505611"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Security &amp; Compliance</a:t>
                </a:r>
                <a:endParaRPr lang="en-US" sz="1500" dirty="0">
                  <a:gradFill>
                    <a:gsLst>
                      <a:gs pos="0">
                        <a:srgbClr val="FFFFFF"/>
                      </a:gs>
                      <a:gs pos="100000">
                        <a:srgbClr val="FFFFFF"/>
                      </a:gs>
                    </a:gsLst>
                    <a:lin ang="5400000" scaled="0"/>
                  </a:gradFill>
                </a:endParaRPr>
              </a:p>
            </p:txBody>
          </p:sp>
          <p:sp>
            <p:nvSpPr>
              <p:cNvPr id="254" name="TextBox 253"/>
              <p:cNvSpPr txBox="1"/>
              <p:nvPr/>
            </p:nvSpPr>
            <p:spPr>
              <a:xfrm>
                <a:off x="4172168"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2</a:t>
                </a:r>
              </a:p>
            </p:txBody>
          </p:sp>
          <p:pic>
            <p:nvPicPr>
              <p:cNvPr id="255" name="Picture 254"/>
              <p:cNvPicPr>
                <a:picLocks noChangeAspect="1"/>
              </p:cNvPicPr>
              <p:nvPr>
                <p:custDataLst>
                  <p:tags r:id="rId3"/>
                </p:custDataLst>
              </p:nvPr>
            </p:nvPicPr>
            <p:blipFill>
              <a:blip r:embed="rId12">
                <a:extLst>
                  <a:ext uri="{28A0092B-C50C-407E-A947-70E740481C1C}">
                    <a14:useLocalDpi xmlns:a14="http://schemas.microsoft.com/office/drawing/2010/main" val="0"/>
                  </a:ext>
                </a:extLst>
              </a:blip>
              <a:stretch>
                <a:fillRect/>
              </a:stretch>
            </p:blipFill>
            <p:spPr>
              <a:xfrm>
                <a:off x="2655779" y="1983751"/>
                <a:ext cx="883759" cy="875588"/>
              </a:xfrm>
              <a:prstGeom prst="rect">
                <a:avLst/>
              </a:prstGeom>
              <a:effectLst/>
            </p:spPr>
          </p:pic>
        </p:grpSp>
        <p:grpSp>
          <p:nvGrpSpPr>
            <p:cNvPr id="222" name="Group 221"/>
            <p:cNvGrpSpPr/>
            <p:nvPr/>
          </p:nvGrpSpPr>
          <p:grpSpPr>
            <a:xfrm>
              <a:off x="381000" y="1904999"/>
              <a:ext cx="2026976" cy="2011680"/>
              <a:chOff x="381000" y="1904999"/>
              <a:chExt cx="2026976" cy="2011680"/>
            </a:xfrm>
          </p:grpSpPr>
          <p:sp>
            <p:nvSpPr>
              <p:cNvPr id="250" name="Rectangle 249"/>
              <p:cNvSpPr/>
              <p:nvPr/>
            </p:nvSpPr>
            <p:spPr bwMode="auto">
              <a:xfrm>
                <a:off x="381000"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Blazing-Fast Performance</a:t>
                </a:r>
              </a:p>
            </p:txBody>
          </p:sp>
          <p:sp>
            <p:nvSpPr>
              <p:cNvPr id="251" name="TextBox 250"/>
              <p:cNvSpPr txBox="1"/>
              <p:nvPr/>
            </p:nvSpPr>
            <p:spPr>
              <a:xfrm>
                <a:off x="2051561"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1</a:t>
                </a:r>
              </a:p>
            </p:txBody>
          </p:sp>
          <p:pic>
            <p:nvPicPr>
              <p:cNvPr id="252" name="Picture 251"/>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506299" y="2057549"/>
                <a:ext cx="880541" cy="880541"/>
              </a:xfrm>
              <a:prstGeom prst="rect">
                <a:avLst/>
              </a:prstGeom>
            </p:spPr>
          </p:pic>
        </p:grpSp>
        <p:grpSp>
          <p:nvGrpSpPr>
            <p:cNvPr id="223" name="Group 222"/>
            <p:cNvGrpSpPr/>
            <p:nvPr/>
          </p:nvGrpSpPr>
          <p:grpSpPr>
            <a:xfrm>
              <a:off x="8879444" y="1904999"/>
              <a:ext cx="2012580" cy="2011680"/>
              <a:chOff x="8879444" y="1904999"/>
              <a:chExt cx="2012580" cy="2011680"/>
            </a:xfrm>
          </p:grpSpPr>
          <p:sp>
            <p:nvSpPr>
              <p:cNvPr id="243" name="Rectangle 242"/>
              <p:cNvSpPr/>
              <p:nvPr/>
            </p:nvSpPr>
            <p:spPr bwMode="auto">
              <a:xfrm>
                <a:off x="8879444"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Scale on Demand</a:t>
                </a:r>
                <a:endParaRPr lang="en-US" sz="1500" dirty="0">
                  <a:gradFill>
                    <a:gsLst>
                      <a:gs pos="0">
                        <a:srgbClr val="FFFFFF"/>
                      </a:gs>
                      <a:gs pos="100000">
                        <a:srgbClr val="FFFFFF"/>
                      </a:gs>
                    </a:gsLst>
                    <a:lin ang="5400000" scaled="0"/>
                  </a:gradFill>
                </a:endParaRPr>
              </a:p>
            </p:txBody>
          </p:sp>
          <p:sp>
            <p:nvSpPr>
              <p:cNvPr id="244" name="TextBox 243"/>
              <p:cNvSpPr txBox="1"/>
              <p:nvPr/>
            </p:nvSpPr>
            <p:spPr>
              <a:xfrm>
                <a:off x="10535609"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5</a:t>
                </a:r>
              </a:p>
            </p:txBody>
          </p:sp>
          <p:grpSp>
            <p:nvGrpSpPr>
              <p:cNvPr id="245" name="Group 244"/>
              <p:cNvGrpSpPr/>
              <p:nvPr/>
            </p:nvGrpSpPr>
            <p:grpSpPr>
              <a:xfrm>
                <a:off x="9098012" y="2146879"/>
                <a:ext cx="958800" cy="671282"/>
                <a:chOff x="7792432" y="3461097"/>
                <a:chExt cx="568902" cy="299861"/>
              </a:xfrm>
            </p:grpSpPr>
            <p:sp>
              <p:nvSpPr>
                <p:cNvPr id="246" name="Freeform 8"/>
                <p:cNvSpPr>
                  <a:spLocks/>
                </p:cNvSpPr>
                <p:nvPr/>
              </p:nvSpPr>
              <p:spPr bwMode="auto">
                <a:xfrm>
                  <a:off x="8055009" y="3461097"/>
                  <a:ext cx="306325" cy="299861"/>
                </a:xfrm>
                <a:custGeom>
                  <a:avLst/>
                  <a:gdLst>
                    <a:gd name="T0" fmla="*/ 100 w 100"/>
                    <a:gd name="T1" fmla="*/ 0 h 98"/>
                    <a:gd name="T2" fmla="*/ 16 w 100"/>
                    <a:gd name="T3" fmla="*/ 13 h 98"/>
                    <a:gd name="T4" fmla="*/ 41 w 100"/>
                    <a:gd name="T5" fmla="*/ 39 h 98"/>
                    <a:gd name="T6" fmla="*/ 41 w 100"/>
                    <a:gd name="T7" fmla="*/ 39 h 98"/>
                    <a:gd name="T8" fmla="*/ 6 w 100"/>
                    <a:gd name="T9" fmla="*/ 75 h 98"/>
                    <a:gd name="T10" fmla="*/ 6 w 100"/>
                    <a:gd name="T11" fmla="*/ 94 h 98"/>
                    <a:gd name="T12" fmla="*/ 16 w 100"/>
                    <a:gd name="T13" fmla="*/ 98 h 98"/>
                    <a:gd name="T14" fmla="*/ 25 w 100"/>
                    <a:gd name="T15" fmla="*/ 94 h 98"/>
                    <a:gd name="T16" fmla="*/ 61 w 100"/>
                    <a:gd name="T17" fmla="*/ 59 h 98"/>
                    <a:gd name="T18" fmla="*/ 61 w 100"/>
                    <a:gd name="T19" fmla="*/ 59 h 98"/>
                    <a:gd name="T20" fmla="*/ 87 w 100"/>
                    <a:gd name="T21" fmla="*/ 84 h 98"/>
                    <a:gd name="T22" fmla="*/ 100 w 100"/>
                    <a:gd name="T23"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98">
                      <a:moveTo>
                        <a:pt x="100" y="0"/>
                      </a:moveTo>
                      <a:cubicBezTo>
                        <a:pt x="16" y="13"/>
                        <a:pt x="16" y="13"/>
                        <a:pt x="16" y="13"/>
                      </a:cubicBezTo>
                      <a:cubicBezTo>
                        <a:pt x="41" y="39"/>
                        <a:pt x="41" y="39"/>
                        <a:pt x="41" y="39"/>
                      </a:cubicBezTo>
                      <a:cubicBezTo>
                        <a:pt x="41" y="39"/>
                        <a:pt x="41" y="39"/>
                        <a:pt x="41" y="39"/>
                      </a:cubicBezTo>
                      <a:cubicBezTo>
                        <a:pt x="6" y="75"/>
                        <a:pt x="6" y="75"/>
                        <a:pt x="6" y="75"/>
                      </a:cubicBezTo>
                      <a:cubicBezTo>
                        <a:pt x="0" y="80"/>
                        <a:pt x="0" y="89"/>
                        <a:pt x="6" y="94"/>
                      </a:cubicBezTo>
                      <a:cubicBezTo>
                        <a:pt x="8" y="97"/>
                        <a:pt x="12" y="98"/>
                        <a:pt x="16" y="98"/>
                      </a:cubicBezTo>
                      <a:cubicBezTo>
                        <a:pt x="19" y="98"/>
                        <a:pt x="23" y="97"/>
                        <a:pt x="25" y="94"/>
                      </a:cubicBezTo>
                      <a:cubicBezTo>
                        <a:pt x="61" y="59"/>
                        <a:pt x="61" y="59"/>
                        <a:pt x="61" y="59"/>
                      </a:cubicBezTo>
                      <a:cubicBezTo>
                        <a:pt x="61" y="59"/>
                        <a:pt x="61" y="59"/>
                        <a:pt x="61" y="59"/>
                      </a:cubicBezTo>
                      <a:cubicBezTo>
                        <a:pt x="87" y="84"/>
                        <a:pt x="87" y="84"/>
                        <a:pt x="87" y="84"/>
                      </a:cubicBezTo>
                      <a:lnTo>
                        <a:pt x="10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Rectangle 9"/>
                <p:cNvSpPr>
                  <a:spLocks noChangeArrowheads="1"/>
                </p:cNvSpPr>
                <p:nvPr/>
              </p:nvSpPr>
              <p:spPr bwMode="auto">
                <a:xfrm>
                  <a:off x="7891463" y="3675653"/>
                  <a:ext cx="212661"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Rectangle 9"/>
                <p:cNvSpPr>
                  <a:spLocks noChangeArrowheads="1"/>
                </p:cNvSpPr>
                <p:nvPr/>
              </p:nvSpPr>
              <p:spPr bwMode="auto">
                <a:xfrm>
                  <a:off x="7792432" y="3675653"/>
                  <a:ext cx="27432"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Rectangle 9"/>
                <p:cNvSpPr>
                  <a:spLocks noChangeArrowheads="1"/>
                </p:cNvSpPr>
                <p:nvPr/>
              </p:nvSpPr>
              <p:spPr bwMode="auto">
                <a:xfrm>
                  <a:off x="7832804" y="3675653"/>
                  <a:ext cx="45719"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24" name="Group 223"/>
            <p:cNvGrpSpPr/>
            <p:nvPr/>
          </p:nvGrpSpPr>
          <p:grpSpPr>
            <a:xfrm>
              <a:off x="6754833" y="1904999"/>
              <a:ext cx="2022972" cy="2011680"/>
              <a:chOff x="6754833" y="1904999"/>
              <a:chExt cx="2022972" cy="2011680"/>
            </a:xfrm>
          </p:grpSpPr>
          <p:sp>
            <p:nvSpPr>
              <p:cNvPr id="237" name="Rectangle 236"/>
              <p:cNvSpPr/>
              <p:nvPr/>
            </p:nvSpPr>
            <p:spPr bwMode="auto">
              <a:xfrm>
                <a:off x="6754833"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Flexibility &amp; Choice</a:t>
                </a:r>
                <a:endParaRPr lang="en-US" sz="1500" dirty="0">
                  <a:gradFill>
                    <a:gsLst>
                      <a:gs pos="0">
                        <a:srgbClr val="FFFFFF"/>
                      </a:gs>
                      <a:gs pos="100000">
                        <a:srgbClr val="FFFFFF"/>
                      </a:gs>
                    </a:gsLst>
                    <a:lin ang="5400000" scaled="0"/>
                  </a:gradFill>
                </a:endParaRPr>
              </a:p>
            </p:txBody>
          </p:sp>
          <p:sp>
            <p:nvSpPr>
              <p:cNvPr id="238" name="TextBox 237"/>
              <p:cNvSpPr txBox="1"/>
              <p:nvPr/>
            </p:nvSpPr>
            <p:spPr>
              <a:xfrm>
                <a:off x="8421390"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4</a:t>
                </a:r>
              </a:p>
            </p:txBody>
          </p:sp>
          <p:grpSp>
            <p:nvGrpSpPr>
              <p:cNvPr id="239" name="Group 238"/>
              <p:cNvGrpSpPr/>
              <p:nvPr>
                <p:custDataLst>
                  <p:tags r:id="rId2"/>
                </p:custDataLst>
              </p:nvPr>
            </p:nvGrpSpPr>
            <p:grpSpPr>
              <a:xfrm>
                <a:off x="6856412" y="1967341"/>
                <a:ext cx="1105890" cy="850820"/>
                <a:chOff x="3127606" y="1031618"/>
                <a:chExt cx="1905261" cy="1465821"/>
              </a:xfrm>
            </p:grpSpPr>
            <p:pic>
              <p:nvPicPr>
                <p:cNvPr id="240" name="Picture 6" descr="\\MAGNUM\Projects\Microsoft\Cloud Power FY12\Design\ICONS_PNG\Cloud.png"/>
                <p:cNvPicPr>
                  <a:picLocks noChangeAspect="1" noChangeArrowheads="1"/>
                </p:cNvPicPr>
                <p:nvPr/>
              </p:nvPicPr>
              <p:blipFill rotWithShape="1">
                <a:blip r:embed="rId14" cstate="print">
                  <a:extLst>
                    <a:ext uri="{BEBA8EAE-BF5A-486C-A8C5-ECC9F3942E4B}">
                      <a14:imgProps xmlns:a14="http://schemas.microsoft.com/office/drawing/2010/main">
                        <a14:imgLayer r:embed="rId15">
                          <a14:imgEffect>
                            <a14:brightnessContrast bright="100000"/>
                          </a14:imgEffect>
                        </a14:imgLayer>
                      </a14:imgProps>
                    </a:ext>
                  </a:extLst>
                </a:blip>
                <a:srcRect t="15452" b="16319"/>
                <a:stretch/>
              </p:blipFill>
              <p:spPr bwMode="auto">
                <a:xfrm>
                  <a:off x="3423223" y="1031618"/>
                  <a:ext cx="1609644" cy="1098248"/>
                </a:xfrm>
                <a:prstGeom prst="rect">
                  <a:avLst/>
                </a:prstGeom>
                <a:noFill/>
              </p:spPr>
            </p:pic>
            <p:pic>
              <p:nvPicPr>
                <p:cNvPr id="241" name="Picture 2" descr="\\MAGNUM\Projects\Microsoft\Cloud Power FY12\Design\Icons\PNGs\Server_2.png"/>
                <p:cNvPicPr>
                  <a:picLocks noChangeAspect="1" noChangeArrowheads="1"/>
                </p:cNvPicPr>
                <p:nvPr/>
              </p:nvPicPr>
              <p:blipFill rotWithShape="1">
                <a:blip r:embed="rId16" cstate="print">
                  <a:lum bright="100000"/>
                  <a:extLst>
                    <a:ext uri="{BEBA8EAE-BF5A-486C-A8C5-ECC9F3942E4B}">
                      <a14:imgProps xmlns:a14="http://schemas.microsoft.com/office/drawing/2010/main">
                        <a14:imgLayer r:embed="rId17">
                          <a14:imgEffect>
                            <a14:colorTemperature colorTemp="1500"/>
                          </a14:imgEffect>
                        </a14:imgLayer>
                      </a14:imgProps>
                    </a:ext>
                  </a:extLst>
                </a:blip>
                <a:srcRect l="27619" t="9540" r="26586" b="9151"/>
                <a:stretch/>
              </p:blipFill>
              <p:spPr bwMode="auto">
                <a:xfrm>
                  <a:off x="3537558" y="1444626"/>
                  <a:ext cx="589660" cy="916080"/>
                </a:xfrm>
                <a:prstGeom prst="rect">
                  <a:avLst/>
                </a:prstGeom>
                <a:noFill/>
                <a:effectLst>
                  <a:outerShdw blurRad="50800" dist="12700" sx="103000" sy="103000" algn="ctr" rotWithShape="0">
                    <a:prstClr val="black">
                      <a:alpha val="40000"/>
                    </a:prstClr>
                  </a:outerShdw>
                </a:effectLst>
              </p:spPr>
            </p:pic>
            <p:pic>
              <p:nvPicPr>
                <p:cNvPr id="242" name="Picture 2" descr="\\MAGNUM\Projects\Microsoft\Cloud Power FY12\Design\Icons\PNGs\Server_2.png"/>
                <p:cNvPicPr>
                  <a:picLocks noChangeAspect="1" noChangeArrowheads="1"/>
                </p:cNvPicPr>
                <p:nvPr/>
              </p:nvPicPr>
              <p:blipFill rotWithShape="1">
                <a:blip r:embed="rId16" cstate="print">
                  <a:lum bright="100000"/>
                  <a:extLst>
                    <a:ext uri="{BEBA8EAE-BF5A-486C-A8C5-ECC9F3942E4B}">
                      <a14:imgProps xmlns:a14="http://schemas.microsoft.com/office/drawing/2010/main">
                        <a14:imgLayer r:embed="rId17">
                          <a14:imgEffect>
                            <a14:colorTemperature colorTemp="1500"/>
                          </a14:imgEffect>
                        </a14:imgLayer>
                      </a14:imgProps>
                    </a:ext>
                  </a:extLst>
                </a:blip>
                <a:srcRect l="27619" t="9540" r="26586" b="9151"/>
                <a:stretch/>
              </p:blipFill>
              <p:spPr bwMode="auto">
                <a:xfrm>
                  <a:off x="3127606" y="1581359"/>
                  <a:ext cx="589659" cy="916080"/>
                </a:xfrm>
                <a:prstGeom prst="rect">
                  <a:avLst/>
                </a:prstGeom>
                <a:noFill/>
                <a:effectLst>
                  <a:outerShdw blurRad="50800" dist="12700" sx="103000" sy="103000" algn="ctr" rotWithShape="0">
                    <a:prstClr val="black">
                      <a:alpha val="40000"/>
                    </a:prstClr>
                  </a:outerShdw>
                </a:effectLst>
              </p:spPr>
            </p:pic>
          </p:grpSp>
        </p:grpSp>
        <p:grpSp>
          <p:nvGrpSpPr>
            <p:cNvPr id="225" name="Group 224"/>
            <p:cNvGrpSpPr/>
            <p:nvPr/>
          </p:nvGrpSpPr>
          <p:grpSpPr>
            <a:xfrm>
              <a:off x="11004055" y="1904999"/>
              <a:ext cx="2012580" cy="2011680"/>
              <a:chOff x="11004055" y="1904999"/>
              <a:chExt cx="2012580" cy="2011680"/>
            </a:xfrm>
          </p:grpSpPr>
          <p:sp>
            <p:nvSpPr>
              <p:cNvPr id="234" name="Rectangle 233"/>
              <p:cNvSpPr/>
              <p:nvPr/>
            </p:nvSpPr>
            <p:spPr bwMode="auto">
              <a:xfrm>
                <a:off x="11004055"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Fast Time to Solution</a:t>
                </a:r>
                <a:endParaRPr lang="en-US" sz="1500" dirty="0">
                  <a:gradFill>
                    <a:gsLst>
                      <a:gs pos="0">
                        <a:srgbClr val="FFFFFF"/>
                      </a:gs>
                      <a:gs pos="100000">
                        <a:srgbClr val="FFFFFF"/>
                      </a:gs>
                    </a:gsLst>
                    <a:lin ang="5400000" scaled="0"/>
                  </a:gradFill>
                </a:endParaRPr>
              </a:p>
            </p:txBody>
          </p:sp>
          <p:sp>
            <p:nvSpPr>
              <p:cNvPr id="235" name="TextBox 234"/>
              <p:cNvSpPr txBox="1"/>
              <p:nvPr/>
            </p:nvSpPr>
            <p:spPr>
              <a:xfrm>
                <a:off x="12660220"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6</a:t>
                </a:r>
              </a:p>
            </p:txBody>
          </p:sp>
          <p:pic>
            <p:nvPicPr>
              <p:cNvPr id="236" name="Picture 3" descr="\\SFP\Work\White_Whale\3-22036_Kuleen_Bharadwaj\PPT\3_PlatformVision_Kuleen\SFP_Art\Plane Slide\mon_notie.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1139211" y="1983751"/>
                <a:ext cx="746401" cy="8755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6" name="Group 225"/>
            <p:cNvGrpSpPr/>
            <p:nvPr/>
          </p:nvGrpSpPr>
          <p:grpSpPr>
            <a:xfrm>
              <a:off x="13128666" y="1904999"/>
              <a:ext cx="2017182" cy="2011680"/>
              <a:chOff x="13128666" y="1904999"/>
              <a:chExt cx="2017182" cy="2011680"/>
            </a:xfrm>
          </p:grpSpPr>
          <p:sp>
            <p:nvSpPr>
              <p:cNvPr id="231" name="Rectangle 230"/>
              <p:cNvSpPr/>
              <p:nvPr/>
            </p:nvSpPr>
            <p:spPr bwMode="auto">
              <a:xfrm>
                <a:off x="13128666"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Extend Any Data, Anywhere</a:t>
                </a:r>
                <a:endParaRPr lang="en-US" sz="1500" dirty="0">
                  <a:gradFill>
                    <a:gsLst>
                      <a:gs pos="0">
                        <a:srgbClr val="FFFFFF"/>
                      </a:gs>
                      <a:gs pos="100000">
                        <a:srgbClr val="FFFFFF"/>
                      </a:gs>
                    </a:gsLst>
                    <a:lin ang="5400000" scaled="0"/>
                  </a:gradFill>
                </a:endParaRPr>
              </a:p>
            </p:txBody>
          </p:sp>
          <p:sp>
            <p:nvSpPr>
              <p:cNvPr id="232" name="TextBox 231"/>
              <p:cNvSpPr txBox="1"/>
              <p:nvPr/>
            </p:nvSpPr>
            <p:spPr>
              <a:xfrm>
                <a:off x="14789433"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7</a:t>
                </a:r>
              </a:p>
            </p:txBody>
          </p:sp>
          <p:pic>
            <p:nvPicPr>
              <p:cNvPr id="233" name="Picture 7" descr="\\MAGNUM\Projects\Microsoft\Cloud Power FY12\Design\ICONS_PNG\Physical_Virtual.png"/>
              <p:cNvPicPr>
                <a:picLocks noChangeAspect="1" noChangeArrowheads="1"/>
              </p:cNvPicPr>
              <p:nvPr/>
            </p:nvPicPr>
            <p:blipFill rotWithShape="1">
              <a:blip r:embed="rId19" cstate="print">
                <a:extLst>
                  <a:ext uri="{BEBA8EAE-BF5A-486C-A8C5-ECC9F3942E4B}">
                    <a14:imgProps xmlns:a14="http://schemas.microsoft.com/office/drawing/2010/main">
                      <a14:imgLayer r:embed="rId20">
                        <a14:imgEffect>
                          <a14:brightnessContrast bright="100000"/>
                        </a14:imgEffect>
                      </a14:imgLayer>
                    </a14:imgProps>
                  </a:ext>
                </a:extLst>
              </a:blip>
              <a:srcRect l="7856" t="39072" r="7907" b="5885"/>
              <a:stretch/>
            </p:blipFill>
            <p:spPr bwMode="auto">
              <a:xfrm>
                <a:off x="13200761" y="1984614"/>
                <a:ext cx="1275651" cy="833547"/>
              </a:xfrm>
              <a:prstGeom prst="rect">
                <a:avLst/>
              </a:prstGeom>
              <a:noFill/>
            </p:spPr>
          </p:pic>
        </p:grpSp>
        <p:grpSp>
          <p:nvGrpSpPr>
            <p:cNvPr id="227" name="Group 226"/>
            <p:cNvGrpSpPr/>
            <p:nvPr/>
          </p:nvGrpSpPr>
          <p:grpSpPr>
            <a:xfrm>
              <a:off x="15253277" y="1904999"/>
              <a:ext cx="2011680" cy="2011680"/>
              <a:chOff x="15253277" y="1904999"/>
              <a:chExt cx="2011680" cy="2011680"/>
            </a:xfrm>
          </p:grpSpPr>
          <p:sp>
            <p:nvSpPr>
              <p:cNvPr id="228" name="Rectangle 227"/>
              <p:cNvSpPr/>
              <p:nvPr/>
            </p:nvSpPr>
            <p:spPr bwMode="auto">
              <a:xfrm>
                <a:off x="15253277"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New Scenarios, Unlocked</a:t>
                </a:r>
                <a:endParaRPr lang="en-US" sz="1500" dirty="0">
                  <a:gradFill>
                    <a:gsLst>
                      <a:gs pos="0">
                        <a:srgbClr val="FFFFFF"/>
                      </a:gs>
                      <a:gs pos="100000">
                        <a:srgbClr val="FFFFFF"/>
                      </a:gs>
                    </a:gsLst>
                    <a:lin ang="5400000" scaled="0"/>
                  </a:gradFill>
                </a:endParaRPr>
              </a:p>
            </p:txBody>
          </p:sp>
          <p:sp>
            <p:nvSpPr>
              <p:cNvPr id="229" name="TextBox 228"/>
              <p:cNvSpPr txBox="1"/>
              <p:nvPr/>
            </p:nvSpPr>
            <p:spPr>
              <a:xfrm>
                <a:off x="16892363" y="1904999"/>
                <a:ext cx="356415" cy="615553"/>
              </a:xfrm>
              <a:prstGeom prst="rect">
                <a:avLst/>
              </a:prstGeom>
              <a:noFill/>
            </p:spPr>
            <p:txBody>
              <a:bodyPr wrap="none" lIns="0" tIns="0" rIns="45720" bIns="0" rtlCol="0">
                <a:spAutoFit/>
              </a:bodyPr>
              <a:lstStyle/>
              <a:p>
                <a:pPr algn="r"/>
                <a:r>
                  <a:rPr lang="en-US" sz="3000" b="1" dirty="0">
                    <a:solidFill>
                      <a:schemeClr val="tx2">
                        <a:lumMod val="75000"/>
                      </a:schemeClr>
                    </a:solidFill>
                  </a:rPr>
                  <a:t>8</a:t>
                </a:r>
                <a:endParaRPr lang="en-US" sz="3000" b="1" dirty="0">
                  <a:solidFill>
                    <a:schemeClr val="tx2">
                      <a:lumMod val="75000"/>
                    </a:schemeClr>
                  </a:solidFill>
                </a:endParaRPr>
              </a:p>
            </p:txBody>
          </p:sp>
          <p:pic>
            <p:nvPicPr>
              <p:cNvPr id="230" name="Picture 2"/>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5426772" y="2043731"/>
                <a:ext cx="640905" cy="775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275" name="Group 274"/>
          <p:cNvGrpSpPr/>
          <p:nvPr/>
        </p:nvGrpSpPr>
        <p:grpSpPr>
          <a:xfrm>
            <a:off x="285824" y="1428749"/>
            <a:ext cx="1517624" cy="1508760"/>
            <a:chOff x="2505611" y="1904999"/>
            <a:chExt cx="2022972" cy="2011680"/>
          </a:xfrm>
        </p:grpSpPr>
        <p:sp>
          <p:nvSpPr>
            <p:cNvPr id="276" name="Rectangle 275"/>
            <p:cNvSpPr/>
            <p:nvPr/>
          </p:nvSpPr>
          <p:spPr bwMode="auto">
            <a:xfrm>
              <a:off x="2505611" y="1904999"/>
              <a:ext cx="2011680" cy="2011680"/>
            </a:xfrm>
            <a:prstGeom prst="rect">
              <a:avLst/>
            </a:prstGeom>
            <a:solidFill>
              <a:schemeClr val="accent3"/>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Security &amp; Compliance</a:t>
              </a:r>
            </a:p>
          </p:txBody>
        </p:sp>
        <p:sp>
          <p:nvSpPr>
            <p:cNvPr id="277" name="TextBox 276"/>
            <p:cNvSpPr txBox="1"/>
            <p:nvPr/>
          </p:nvSpPr>
          <p:spPr>
            <a:xfrm>
              <a:off x="4172168" y="1904999"/>
              <a:ext cx="356415" cy="615553"/>
            </a:xfrm>
            <a:prstGeom prst="rect">
              <a:avLst/>
            </a:prstGeom>
            <a:noFill/>
          </p:spPr>
          <p:txBody>
            <a:bodyPr wrap="none" lIns="0" tIns="0" rIns="45720" bIns="0" rtlCol="0">
              <a:spAutoFit/>
            </a:bodyPr>
            <a:lstStyle/>
            <a:p>
              <a:r>
                <a:rPr lang="en-US" sz="3000" b="1" dirty="0">
                  <a:solidFill>
                    <a:srgbClr val="FFC000"/>
                  </a:solidFill>
                </a:rPr>
                <a:t>2</a:t>
              </a:r>
            </a:p>
          </p:txBody>
        </p:sp>
        <p:pic>
          <p:nvPicPr>
            <p:cNvPr id="278" name="Picture 277"/>
            <p:cNvPicPr>
              <a:picLocks noChangeAspect="1"/>
            </p:cNvPicPr>
            <p:nvPr>
              <p:custDataLst>
                <p:tags r:id="rId1"/>
              </p:custDataLst>
            </p:nvPr>
          </p:nvPicPr>
          <p:blipFill>
            <a:blip r:embed="rId12">
              <a:extLst>
                <a:ext uri="{28A0092B-C50C-407E-A947-70E740481C1C}">
                  <a14:useLocalDpi xmlns:a14="http://schemas.microsoft.com/office/drawing/2010/main" val="0"/>
                </a:ext>
              </a:extLst>
            </a:blip>
            <a:stretch>
              <a:fillRect/>
            </a:stretch>
          </p:blipFill>
          <p:spPr>
            <a:xfrm>
              <a:off x="2655779" y="1983751"/>
              <a:ext cx="883759" cy="875588"/>
            </a:xfrm>
            <a:prstGeom prst="rect">
              <a:avLst/>
            </a:prstGeom>
            <a:effectLst/>
          </p:spPr>
        </p:pic>
      </p:grpSp>
      <p:sp>
        <p:nvSpPr>
          <p:cNvPr id="67"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68"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2"/>
              </a:rPr>
              <a:t>www.rapidbbs.cn</a:t>
            </a:r>
            <a:endParaRPr lang="zh-CN" altLang="en-US" sz="1200" b="0">
              <a:latin typeface="Arial" charset="0"/>
              <a:ea typeface="ＭＳ Ｐゴシック" pitchFamily="34" charset="-128"/>
            </a:endParaRPr>
          </a:p>
        </p:txBody>
      </p:sp>
    </p:spTree>
    <p:extLst>
      <p:ext uri="{BB962C8B-B14F-4D97-AF65-F5344CB8AC3E}">
        <p14:creationId xmlns:p14="http://schemas.microsoft.com/office/powerpoint/2010/main" val="102059006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decel="100000" fill="hold" nodeType="withEffect">
                                  <p:stCondLst>
                                    <p:cond delay="0"/>
                                  </p:stCondLst>
                                  <p:childTnLst>
                                    <p:animMotion origin="layout" path="M -4.38322E-6 4.44444E-6 L -0.17441 4.44444E-6 " pathEditMode="relative" rAng="0" ptsTypes="AA">
                                      <p:cBhvr>
                                        <p:cTn id="6" dur="1000" fill="hold"/>
                                        <p:tgtEl>
                                          <p:spTgt spid="5"/>
                                        </p:tgtEl>
                                        <p:attrNameLst>
                                          <p:attrName>ppt_x</p:attrName>
                                          <p:attrName>ppt_y</p:attrName>
                                        </p:attrNameLst>
                                      </p:cBhvr>
                                      <p:rCtr x="-8727" y="0"/>
                                    </p:animMotion>
                                  </p:childTnLst>
                                </p:cTn>
                              </p:par>
                            </p:childTnLst>
                          </p:cTn>
                        </p:par>
                        <p:par>
                          <p:cTn id="7" fill="hold">
                            <p:stCondLst>
                              <p:cond delay="1000"/>
                            </p:stCondLst>
                            <p:childTnLst>
                              <p:par>
                                <p:cTn id="8" presetID="22" presetClass="entr" presetSubtype="4" fill="hold" nodeType="afterEffect">
                                  <p:stCondLst>
                                    <p:cond delay="0"/>
                                  </p:stCondLst>
                                  <p:childTnLst>
                                    <p:set>
                                      <p:cBhvr>
                                        <p:cTn id="9" dur="1" fill="hold">
                                          <p:stCondLst>
                                            <p:cond delay="0"/>
                                          </p:stCondLst>
                                        </p:cTn>
                                        <p:tgtEl>
                                          <p:spTgt spid="275"/>
                                        </p:tgtEl>
                                        <p:attrNameLst>
                                          <p:attrName>style.visibility</p:attrName>
                                        </p:attrNameLst>
                                      </p:cBhvr>
                                      <p:to>
                                        <p:strVal val="visible"/>
                                      </p:to>
                                    </p:set>
                                    <p:animEffect transition="in" filter="wipe(down)">
                                      <p:cBhvr>
                                        <p:cTn id="10" dur="500"/>
                                        <p:tgtEl>
                                          <p:spTgt spid="275"/>
                                        </p:tgtEl>
                                      </p:cBhvr>
                                    </p:animEffect>
                                  </p:childTnLst>
                                </p:cTn>
                              </p:par>
                              <p:par>
                                <p:cTn id="11" presetID="2" presetClass="entr" presetSubtype="2" decel="100000" fill="hold" grpId="0" nodeType="withEffect">
                                  <p:stCondLst>
                                    <p:cond delay="0"/>
                                  </p:stCondLst>
                                  <p:childTnLst>
                                    <p:set>
                                      <p:cBhvr>
                                        <p:cTn id="12" dur="1" fill="hold">
                                          <p:stCondLst>
                                            <p:cond delay="0"/>
                                          </p:stCondLst>
                                        </p:cTn>
                                        <p:tgtEl>
                                          <p:spTgt spid="99"/>
                                        </p:tgtEl>
                                        <p:attrNameLst>
                                          <p:attrName>style.visibility</p:attrName>
                                        </p:attrNameLst>
                                      </p:cBhvr>
                                      <p:to>
                                        <p:strVal val="visible"/>
                                      </p:to>
                                    </p:set>
                                    <p:anim calcmode="lin" valueType="num">
                                      <p:cBhvr additive="base">
                                        <p:cTn id="13" dur="1000" fill="hold"/>
                                        <p:tgtEl>
                                          <p:spTgt spid="99"/>
                                        </p:tgtEl>
                                        <p:attrNameLst>
                                          <p:attrName>ppt_x</p:attrName>
                                        </p:attrNameLst>
                                      </p:cBhvr>
                                      <p:tavLst>
                                        <p:tav tm="0">
                                          <p:val>
                                            <p:strVal val="1+#ppt_w/2"/>
                                          </p:val>
                                        </p:tav>
                                        <p:tav tm="100000">
                                          <p:val>
                                            <p:strVal val="#ppt_x"/>
                                          </p:val>
                                        </p:tav>
                                      </p:tavLst>
                                    </p:anim>
                                    <p:anim calcmode="lin" valueType="num">
                                      <p:cBhvr additive="base">
                                        <p:cTn id="14" dur="1000" fill="hold"/>
                                        <p:tgtEl>
                                          <p:spTgt spid="99"/>
                                        </p:tgtEl>
                                        <p:attrNameLst>
                                          <p:attrName>ppt_y</p:attrName>
                                        </p:attrNameLst>
                                      </p:cBhvr>
                                      <p:tavLst>
                                        <p:tav tm="0">
                                          <p:val>
                                            <p:strVal val="#ppt_y"/>
                                          </p:val>
                                        </p:tav>
                                        <p:tav tm="100000">
                                          <p:val>
                                            <p:strVal val="#ppt_y"/>
                                          </p:val>
                                        </p:tav>
                                      </p:tavLst>
                                    </p:anim>
                                  </p:childTnLst>
                                </p:cTn>
                              </p:par>
                              <p:par>
                                <p:cTn id="15" presetID="2" presetClass="entr" presetSubtype="2" decel="100000" fill="hold" grpId="0" nodeType="withEffect">
                                  <p:stCondLst>
                                    <p:cond delay="250"/>
                                  </p:stCondLst>
                                  <p:childTnLst>
                                    <p:set>
                                      <p:cBhvr>
                                        <p:cTn id="16" dur="1" fill="hold">
                                          <p:stCondLst>
                                            <p:cond delay="0"/>
                                          </p:stCondLst>
                                        </p:cTn>
                                        <p:tgtEl>
                                          <p:spTgt spid="98"/>
                                        </p:tgtEl>
                                        <p:attrNameLst>
                                          <p:attrName>style.visibility</p:attrName>
                                        </p:attrNameLst>
                                      </p:cBhvr>
                                      <p:to>
                                        <p:strVal val="visible"/>
                                      </p:to>
                                    </p:set>
                                    <p:anim calcmode="lin" valueType="num">
                                      <p:cBhvr additive="base">
                                        <p:cTn id="17" dur="1000" fill="hold"/>
                                        <p:tgtEl>
                                          <p:spTgt spid="98"/>
                                        </p:tgtEl>
                                        <p:attrNameLst>
                                          <p:attrName>ppt_x</p:attrName>
                                        </p:attrNameLst>
                                      </p:cBhvr>
                                      <p:tavLst>
                                        <p:tav tm="0">
                                          <p:val>
                                            <p:strVal val="1+#ppt_w/2"/>
                                          </p:val>
                                        </p:tav>
                                        <p:tav tm="100000">
                                          <p:val>
                                            <p:strVal val="#ppt_x"/>
                                          </p:val>
                                        </p:tav>
                                      </p:tavLst>
                                    </p:anim>
                                    <p:anim calcmode="lin" valueType="num">
                                      <p:cBhvr additive="base">
                                        <p:cTn id="18" dur="1000" fill="hold"/>
                                        <p:tgtEl>
                                          <p:spTgt spid="98"/>
                                        </p:tgtEl>
                                        <p:attrNameLst>
                                          <p:attrName>ppt_y</p:attrName>
                                        </p:attrNameLst>
                                      </p:cBhvr>
                                      <p:tavLst>
                                        <p:tav tm="0">
                                          <p:val>
                                            <p:strVal val="#ppt_y"/>
                                          </p:val>
                                        </p:tav>
                                        <p:tav tm="100000">
                                          <p:val>
                                            <p:strVal val="#ppt_y"/>
                                          </p:val>
                                        </p:tav>
                                      </p:tavLst>
                                    </p:anim>
                                  </p:childTnLst>
                                </p:cTn>
                              </p:par>
                              <p:par>
                                <p:cTn id="19" presetID="2" presetClass="entr" presetSubtype="2" decel="100000" fill="hold" grpId="0" nodeType="withEffect">
                                  <p:stCondLst>
                                    <p:cond delay="500"/>
                                  </p:stCondLst>
                                  <p:childTnLst>
                                    <p:set>
                                      <p:cBhvr>
                                        <p:cTn id="20" dur="1" fill="hold">
                                          <p:stCondLst>
                                            <p:cond delay="0"/>
                                          </p:stCondLst>
                                        </p:cTn>
                                        <p:tgtEl>
                                          <p:spTgt spid="100"/>
                                        </p:tgtEl>
                                        <p:attrNameLst>
                                          <p:attrName>style.visibility</p:attrName>
                                        </p:attrNameLst>
                                      </p:cBhvr>
                                      <p:to>
                                        <p:strVal val="visible"/>
                                      </p:to>
                                    </p:set>
                                    <p:anim calcmode="lin" valueType="num">
                                      <p:cBhvr additive="base">
                                        <p:cTn id="21" dur="1000" fill="hold"/>
                                        <p:tgtEl>
                                          <p:spTgt spid="100"/>
                                        </p:tgtEl>
                                        <p:attrNameLst>
                                          <p:attrName>ppt_x</p:attrName>
                                        </p:attrNameLst>
                                      </p:cBhvr>
                                      <p:tavLst>
                                        <p:tav tm="0">
                                          <p:val>
                                            <p:strVal val="1+#ppt_w/2"/>
                                          </p:val>
                                        </p:tav>
                                        <p:tav tm="100000">
                                          <p:val>
                                            <p:strVal val="#ppt_x"/>
                                          </p:val>
                                        </p:tav>
                                      </p:tavLst>
                                    </p:anim>
                                    <p:anim calcmode="lin" valueType="num">
                                      <p:cBhvr additive="base">
                                        <p:cTn id="22" dur="1000" fill="hold"/>
                                        <p:tgtEl>
                                          <p:spTgt spid="10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8" grpId="0" animBg="1"/>
      <p:bldP spid="100" grpId="0" animBg="1"/>
      <p:bldP spid="99" grpId="0" animBg="1"/>
    </p:bldLst>
  </p:timing>
</p:sld>
</file>

<file path=ppt/slides/slide4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of Crosshairs" hidden="1"/>
          <p:cNvGrpSpPr/>
          <p:nvPr/>
        </p:nvGrpSpPr>
        <p:grpSpPr>
          <a:xfrm>
            <a:off x="696221" y="1839040"/>
            <a:ext cx="18220964" cy="688181"/>
            <a:chOff x="928053" y="4429828"/>
            <a:chExt cx="24288292" cy="917575"/>
          </a:xfrm>
        </p:grpSpPr>
        <p:sp>
          <p:nvSpPr>
            <p:cNvPr id="18" name="Crosshair"/>
            <p:cNvSpPr>
              <a:spLocks/>
            </p:cNvSpPr>
            <p:nvPr/>
          </p:nvSpPr>
          <p:spPr bwMode="auto">
            <a:xfrm>
              <a:off x="928053"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 name="Crosshair"/>
            <p:cNvSpPr>
              <a:spLocks/>
            </p:cNvSpPr>
            <p:nvPr/>
          </p:nvSpPr>
          <p:spPr bwMode="auto">
            <a:xfrm>
              <a:off x="3052664"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 name="Crosshair"/>
            <p:cNvSpPr>
              <a:spLocks/>
            </p:cNvSpPr>
            <p:nvPr/>
          </p:nvSpPr>
          <p:spPr bwMode="auto">
            <a:xfrm>
              <a:off x="5177275"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 name="Crosshair"/>
            <p:cNvSpPr>
              <a:spLocks/>
            </p:cNvSpPr>
            <p:nvPr/>
          </p:nvSpPr>
          <p:spPr bwMode="auto">
            <a:xfrm>
              <a:off x="7301886"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Crosshair"/>
            <p:cNvSpPr>
              <a:spLocks/>
            </p:cNvSpPr>
            <p:nvPr/>
          </p:nvSpPr>
          <p:spPr bwMode="auto">
            <a:xfrm>
              <a:off x="9426497"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3" name="Crosshair"/>
            <p:cNvSpPr>
              <a:spLocks/>
            </p:cNvSpPr>
            <p:nvPr/>
          </p:nvSpPr>
          <p:spPr bwMode="auto">
            <a:xfrm>
              <a:off x="11551108"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4" name="Crosshair"/>
            <p:cNvSpPr>
              <a:spLocks/>
            </p:cNvSpPr>
            <p:nvPr/>
          </p:nvSpPr>
          <p:spPr bwMode="auto">
            <a:xfrm>
              <a:off x="13675719"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Crosshair"/>
            <p:cNvSpPr>
              <a:spLocks/>
            </p:cNvSpPr>
            <p:nvPr/>
          </p:nvSpPr>
          <p:spPr bwMode="auto">
            <a:xfrm>
              <a:off x="15800330"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 name="Crosshair"/>
            <p:cNvSpPr>
              <a:spLocks/>
            </p:cNvSpPr>
            <p:nvPr/>
          </p:nvSpPr>
          <p:spPr bwMode="auto">
            <a:xfrm>
              <a:off x="17924941"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7" name="Crosshair"/>
            <p:cNvSpPr>
              <a:spLocks/>
            </p:cNvSpPr>
            <p:nvPr/>
          </p:nvSpPr>
          <p:spPr bwMode="auto">
            <a:xfrm>
              <a:off x="20049552"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8" name="Crosshair"/>
            <p:cNvSpPr>
              <a:spLocks/>
            </p:cNvSpPr>
            <p:nvPr/>
          </p:nvSpPr>
          <p:spPr bwMode="auto">
            <a:xfrm>
              <a:off x="22174163"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9" name="Crosshair"/>
            <p:cNvSpPr>
              <a:spLocks/>
            </p:cNvSpPr>
            <p:nvPr/>
          </p:nvSpPr>
          <p:spPr bwMode="auto">
            <a:xfrm>
              <a:off x="24298770"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70" name="Title 2"/>
          <p:cNvSpPr>
            <a:spLocks noGrp="1"/>
          </p:cNvSpPr>
          <p:nvPr>
            <p:ph type="title"/>
          </p:nvPr>
        </p:nvSpPr>
        <p:spPr>
          <a:xfrm>
            <a:off x="285825" y="171450"/>
            <a:ext cx="6280916" cy="457049"/>
          </a:xfrm>
        </p:spPr>
        <p:txBody>
          <a:bodyPr/>
          <a:lstStyle/>
          <a:p>
            <a:r>
              <a:rPr lang="en-US" dirty="0"/>
              <a:t>SQL Server 2012</a:t>
            </a:r>
          </a:p>
        </p:txBody>
      </p:sp>
      <p:pic>
        <p:nvPicPr>
          <p:cNvPr id="71" name="Picture 7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05641" y="4672464"/>
            <a:ext cx="1725220" cy="356737"/>
          </a:xfrm>
          <a:prstGeom prst="rect">
            <a:avLst/>
          </a:prstGeom>
        </p:spPr>
      </p:pic>
      <p:sp>
        <p:nvSpPr>
          <p:cNvPr id="98" name="Rectangle 97"/>
          <p:cNvSpPr/>
          <p:nvPr/>
        </p:nvSpPr>
        <p:spPr bwMode="auto">
          <a:xfrm>
            <a:off x="285824" y="3552453"/>
            <a:ext cx="7870324" cy="467390"/>
          </a:xfrm>
          <a:prstGeom prst="rect">
            <a:avLst/>
          </a:prstGeom>
          <a:solidFill>
            <a:srgbClr val="F6AE1E"/>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6" tIns="34293" rIns="68586" bIns="34293" numCol="1" spcCol="0" rtlCol="0" fromWordArt="0" anchor="ctr" anchorCtr="0" forceAA="0" compatLnSpc="1">
            <a:prstTxWarp prst="textNoShape">
              <a:avLst/>
            </a:prstTxWarp>
            <a:noAutofit/>
          </a:bodyPr>
          <a:lstStyle/>
          <a:p>
            <a:pPr defTabSz="685666" fontAlgn="base">
              <a:spcBef>
                <a:spcPct val="0"/>
              </a:spcBef>
              <a:spcAft>
                <a:spcPct val="0"/>
              </a:spcAft>
            </a:pPr>
            <a:r>
              <a:rPr lang="en-US" sz="2100" dirty="0" err="1">
                <a:gradFill>
                  <a:gsLst>
                    <a:gs pos="0">
                      <a:srgbClr val="FFFFFF"/>
                    </a:gs>
                    <a:gs pos="100000">
                      <a:srgbClr val="FFFFFF"/>
                    </a:gs>
                  </a:gsLst>
                  <a:lin ang="5400000" scaled="0"/>
                </a:gradFill>
              </a:rPr>
              <a:t>StreamInsight</a:t>
            </a:r>
            <a:r>
              <a:rPr lang="en-US" sz="2100" dirty="0">
                <a:gradFill>
                  <a:gsLst>
                    <a:gs pos="0">
                      <a:srgbClr val="FFFFFF"/>
                    </a:gs>
                    <a:gs pos="100000">
                      <a:srgbClr val="FFFFFF"/>
                    </a:gs>
                  </a:gsLst>
                  <a:lin ang="5400000" scaled="0"/>
                </a:gradFill>
              </a:rPr>
              <a:t> HA</a:t>
            </a:r>
            <a:endParaRPr lang="en-US" sz="2100" dirty="0">
              <a:gradFill>
                <a:gsLst>
                  <a:gs pos="0">
                    <a:srgbClr val="FFFFFF"/>
                  </a:gs>
                  <a:gs pos="100000">
                    <a:srgbClr val="FFFFFF"/>
                  </a:gs>
                </a:gsLst>
                <a:lin ang="5400000" scaled="0"/>
              </a:gradFill>
            </a:endParaRPr>
          </a:p>
        </p:txBody>
      </p:sp>
      <p:sp>
        <p:nvSpPr>
          <p:cNvPr id="99" name="Rectangle 98"/>
          <p:cNvSpPr/>
          <p:nvPr/>
        </p:nvSpPr>
        <p:spPr bwMode="auto">
          <a:xfrm>
            <a:off x="285824" y="3017520"/>
            <a:ext cx="7870324" cy="453683"/>
          </a:xfrm>
          <a:prstGeom prst="rect">
            <a:avLst/>
          </a:prstGeom>
          <a:solidFill>
            <a:srgbClr val="F6AE1E"/>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6" tIns="34293" rIns="68586" bIns="34293" numCol="1" spcCol="0" rtlCol="0" fromWordArt="0" anchor="ctr" anchorCtr="0" forceAA="0" compatLnSpc="1">
            <a:prstTxWarp prst="textNoShape">
              <a:avLst/>
            </a:prstTxWarp>
            <a:noAutofit/>
          </a:bodyPr>
          <a:lstStyle/>
          <a:p>
            <a:pPr defTabSz="685666" fontAlgn="base">
              <a:spcBef>
                <a:spcPct val="0"/>
              </a:spcBef>
              <a:spcAft>
                <a:spcPct val="0"/>
              </a:spcAft>
            </a:pPr>
            <a:r>
              <a:rPr lang="en-US" sz="2100" dirty="0">
                <a:gradFill>
                  <a:gsLst>
                    <a:gs pos="0">
                      <a:srgbClr val="FFFFFF"/>
                    </a:gs>
                    <a:gs pos="100000">
                      <a:srgbClr val="FFFFFF"/>
                    </a:gs>
                  </a:gsLst>
                  <a:lin ang="5400000" scaled="0"/>
                </a:gradFill>
              </a:rPr>
              <a:t>Integration Services as a Server</a:t>
            </a:r>
            <a:endParaRPr lang="en-US" sz="2100" dirty="0">
              <a:gradFill>
                <a:gsLst>
                  <a:gs pos="0">
                    <a:srgbClr val="FFFFFF"/>
                  </a:gs>
                  <a:gs pos="100000">
                    <a:srgbClr val="FFFFFF"/>
                  </a:gs>
                </a:gsLst>
                <a:lin ang="5400000" scaled="0"/>
              </a:gradFill>
            </a:endParaRPr>
          </a:p>
        </p:txBody>
      </p:sp>
      <p:sp>
        <p:nvSpPr>
          <p:cNvPr id="100" name="Rectangle 99"/>
          <p:cNvSpPr/>
          <p:nvPr/>
        </p:nvSpPr>
        <p:spPr bwMode="auto">
          <a:xfrm>
            <a:off x="285824" y="4104610"/>
            <a:ext cx="7870324" cy="467390"/>
          </a:xfrm>
          <a:prstGeom prst="rect">
            <a:avLst/>
          </a:prstGeom>
          <a:solidFill>
            <a:srgbClr val="F6AE1E"/>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6" tIns="34293" rIns="68586" bIns="34293" numCol="1" spcCol="0" rtlCol="0" fromWordArt="0" anchor="ctr" anchorCtr="0" forceAA="0" compatLnSpc="1">
            <a:prstTxWarp prst="textNoShape">
              <a:avLst/>
            </a:prstTxWarp>
            <a:noAutofit/>
          </a:bodyPr>
          <a:lstStyle/>
          <a:p>
            <a:pPr defTabSz="685666" fontAlgn="base">
              <a:spcBef>
                <a:spcPct val="0"/>
              </a:spcBef>
              <a:spcAft>
                <a:spcPct val="0"/>
              </a:spcAft>
            </a:pPr>
            <a:r>
              <a:rPr lang="en-US" sz="2100" dirty="0">
                <a:gradFill>
                  <a:gsLst>
                    <a:gs pos="0">
                      <a:srgbClr val="FFFFFF"/>
                    </a:gs>
                    <a:gs pos="100000">
                      <a:srgbClr val="FFFFFF"/>
                    </a:gs>
                  </a:gsLst>
                  <a:lin ang="5400000" scaled="0"/>
                </a:gradFill>
              </a:rPr>
              <a:t>SQL Server </a:t>
            </a:r>
            <a:r>
              <a:rPr lang="en-US" sz="2100" dirty="0" err="1">
                <a:gradFill>
                  <a:gsLst>
                    <a:gs pos="0">
                      <a:srgbClr val="FFFFFF"/>
                    </a:gs>
                    <a:gs pos="100000">
                      <a:srgbClr val="FFFFFF"/>
                    </a:gs>
                  </a:gsLst>
                  <a:lin ang="5400000" scaled="0"/>
                </a:gradFill>
              </a:rPr>
              <a:t>AlwaysOn</a:t>
            </a:r>
            <a:endParaRPr lang="en-US" sz="2100" dirty="0">
              <a:gradFill>
                <a:gsLst>
                  <a:gs pos="0">
                    <a:srgbClr val="FFFFFF"/>
                  </a:gs>
                  <a:gs pos="100000">
                    <a:srgbClr val="FFFFFF"/>
                  </a:gs>
                </a:gsLst>
                <a:lin ang="5400000" scaled="0"/>
              </a:gradFill>
            </a:endParaRPr>
          </a:p>
        </p:txBody>
      </p:sp>
      <p:grpSp>
        <p:nvGrpSpPr>
          <p:cNvPr id="213" name="Group 212"/>
          <p:cNvGrpSpPr/>
          <p:nvPr/>
        </p:nvGrpSpPr>
        <p:grpSpPr>
          <a:xfrm>
            <a:off x="-1311572" y="1428749"/>
            <a:ext cx="19043903" cy="1508760"/>
            <a:chOff x="381000" y="1904999"/>
            <a:chExt cx="25385258" cy="2011680"/>
          </a:xfrm>
        </p:grpSpPr>
        <p:grpSp>
          <p:nvGrpSpPr>
            <p:cNvPr id="214" name="Group 213"/>
            <p:cNvGrpSpPr/>
            <p:nvPr/>
          </p:nvGrpSpPr>
          <p:grpSpPr>
            <a:xfrm>
              <a:off x="17380745" y="1904999"/>
              <a:ext cx="2011680" cy="2011680"/>
              <a:chOff x="17380745" y="1904999"/>
              <a:chExt cx="2011680" cy="2011680"/>
            </a:xfrm>
          </p:grpSpPr>
          <p:sp>
            <p:nvSpPr>
              <p:cNvPr id="266" name="Rectangle 265"/>
              <p:cNvSpPr/>
              <p:nvPr/>
            </p:nvSpPr>
            <p:spPr bwMode="auto">
              <a:xfrm>
                <a:off x="17380745"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Big Data &amp; Data </a:t>
                </a:r>
                <a:r>
                  <a:rPr lang="en-US" sz="1500" dirty="0">
                    <a:gradFill>
                      <a:gsLst>
                        <a:gs pos="0">
                          <a:srgbClr val="FFFFFF"/>
                        </a:gs>
                        <a:gs pos="100000">
                          <a:srgbClr val="FFFFFF"/>
                        </a:gs>
                      </a:gsLst>
                      <a:lin ang="5400000" scaled="0"/>
                    </a:gradFill>
                  </a:rPr>
                  <a:t>Warehousing</a:t>
                </a:r>
              </a:p>
            </p:txBody>
          </p:sp>
          <p:pic>
            <p:nvPicPr>
              <p:cNvPr id="267" name="Picture 8"/>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7494848" y="2029883"/>
                <a:ext cx="896304" cy="7133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8" name="TextBox 267"/>
              <p:cNvSpPr txBox="1"/>
              <p:nvPr/>
            </p:nvSpPr>
            <p:spPr>
              <a:xfrm>
                <a:off x="19026216" y="1904999"/>
                <a:ext cx="356415" cy="615553"/>
              </a:xfrm>
              <a:prstGeom prst="rect">
                <a:avLst/>
              </a:prstGeom>
              <a:noFill/>
            </p:spPr>
            <p:txBody>
              <a:bodyPr wrap="none" lIns="0" tIns="0" rIns="45720" bIns="0" rtlCol="0">
                <a:spAutoFit/>
              </a:bodyPr>
              <a:lstStyle/>
              <a:p>
                <a:pPr algn="r"/>
                <a:r>
                  <a:rPr lang="en-US" sz="3000" b="1" dirty="0">
                    <a:solidFill>
                      <a:schemeClr val="tx2">
                        <a:lumMod val="75000"/>
                      </a:schemeClr>
                    </a:solidFill>
                  </a:rPr>
                  <a:t>9</a:t>
                </a:r>
                <a:endParaRPr lang="en-US" sz="3000" b="1" dirty="0">
                  <a:solidFill>
                    <a:schemeClr val="tx2">
                      <a:lumMod val="75000"/>
                    </a:schemeClr>
                  </a:solidFill>
                </a:endParaRPr>
              </a:p>
            </p:txBody>
          </p:sp>
        </p:grpSp>
        <p:grpSp>
          <p:nvGrpSpPr>
            <p:cNvPr id="215" name="Group 214"/>
            <p:cNvGrpSpPr/>
            <p:nvPr/>
          </p:nvGrpSpPr>
          <p:grpSpPr>
            <a:xfrm>
              <a:off x="21629967" y="1904999"/>
              <a:ext cx="2011680" cy="2011680"/>
              <a:chOff x="21629967" y="1904999"/>
              <a:chExt cx="2011680" cy="2011680"/>
            </a:xfrm>
          </p:grpSpPr>
          <p:sp>
            <p:nvSpPr>
              <p:cNvPr id="263" name="Rectangle 262"/>
              <p:cNvSpPr/>
              <p:nvPr/>
            </p:nvSpPr>
            <p:spPr bwMode="auto">
              <a:xfrm>
                <a:off x="21629967"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Managed Self-Service BI</a:t>
                </a:r>
                <a:endParaRPr lang="en-US" sz="1500" dirty="0">
                  <a:gradFill>
                    <a:gsLst>
                      <a:gs pos="0">
                        <a:srgbClr val="FFFFFF"/>
                      </a:gs>
                      <a:gs pos="100000">
                        <a:srgbClr val="FFFFFF"/>
                      </a:gs>
                    </a:gsLst>
                    <a:lin ang="5400000" scaled="0"/>
                  </a:gradFill>
                </a:endParaRPr>
              </a:p>
            </p:txBody>
          </p:sp>
          <p:sp>
            <p:nvSpPr>
              <p:cNvPr id="264" name="TextBox 263"/>
              <p:cNvSpPr txBox="1"/>
              <p:nvPr/>
            </p:nvSpPr>
            <p:spPr>
              <a:xfrm>
                <a:off x="22979965" y="1904999"/>
                <a:ext cx="651290" cy="615553"/>
              </a:xfrm>
              <a:prstGeom prst="rect">
                <a:avLst/>
              </a:prstGeom>
              <a:noFill/>
            </p:spPr>
            <p:txBody>
              <a:bodyPr wrap="none" lIns="0" tIns="0" rIns="45720" bIns="0" rtlCol="0">
                <a:spAutoFit/>
              </a:bodyPr>
              <a:lstStyle/>
              <a:p>
                <a:pPr algn="r"/>
                <a:r>
                  <a:rPr lang="en-US" sz="3000" b="1" dirty="0">
                    <a:solidFill>
                      <a:schemeClr val="tx2">
                        <a:lumMod val="75000"/>
                      </a:schemeClr>
                    </a:solidFill>
                  </a:rPr>
                  <a:t>11</a:t>
                </a:r>
                <a:endParaRPr lang="en-US" sz="3000" b="1" dirty="0">
                  <a:solidFill>
                    <a:schemeClr val="tx2">
                      <a:lumMod val="75000"/>
                    </a:schemeClr>
                  </a:solidFill>
                </a:endParaRPr>
              </a:p>
            </p:txBody>
          </p:sp>
          <p:pic>
            <p:nvPicPr>
              <p:cNvPr id="265" name="Picture 17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1709280" y="1981200"/>
                <a:ext cx="832241" cy="833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6" name="Group 215"/>
            <p:cNvGrpSpPr/>
            <p:nvPr/>
          </p:nvGrpSpPr>
          <p:grpSpPr>
            <a:xfrm>
              <a:off x="23754578" y="1904999"/>
              <a:ext cx="2011680" cy="2011680"/>
              <a:chOff x="23754578" y="1904999"/>
              <a:chExt cx="2011680" cy="2011680"/>
            </a:xfrm>
          </p:grpSpPr>
          <p:sp>
            <p:nvSpPr>
              <p:cNvPr id="260" name="Rectangle 259"/>
              <p:cNvSpPr/>
              <p:nvPr/>
            </p:nvSpPr>
            <p:spPr bwMode="auto">
              <a:xfrm>
                <a:off x="23754578"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Rapid Data Exploration</a:t>
                </a:r>
                <a:endParaRPr lang="en-US" sz="1500" dirty="0">
                  <a:gradFill>
                    <a:gsLst>
                      <a:gs pos="0">
                        <a:srgbClr val="FFFFFF"/>
                      </a:gs>
                      <a:gs pos="100000">
                        <a:srgbClr val="FFFFFF"/>
                      </a:gs>
                    </a:gsLst>
                    <a:lin ang="5400000" scaled="0"/>
                  </a:gradFill>
                </a:endParaRPr>
              </a:p>
            </p:txBody>
          </p:sp>
          <p:sp>
            <p:nvSpPr>
              <p:cNvPr id="261" name="TextBox 260"/>
              <p:cNvSpPr txBox="1"/>
              <p:nvPr/>
            </p:nvSpPr>
            <p:spPr>
              <a:xfrm>
                <a:off x="25104576" y="1904999"/>
                <a:ext cx="651290" cy="615553"/>
              </a:xfrm>
              <a:prstGeom prst="rect">
                <a:avLst/>
              </a:prstGeom>
              <a:noFill/>
            </p:spPr>
            <p:txBody>
              <a:bodyPr wrap="none" lIns="0" tIns="0" rIns="45720" bIns="0" rtlCol="0">
                <a:spAutoFit/>
              </a:bodyPr>
              <a:lstStyle/>
              <a:p>
                <a:pPr algn="r"/>
                <a:r>
                  <a:rPr lang="en-US" sz="3000" b="1" dirty="0">
                    <a:solidFill>
                      <a:schemeClr val="tx2">
                        <a:lumMod val="75000"/>
                      </a:schemeClr>
                    </a:solidFill>
                  </a:rPr>
                  <a:t>12</a:t>
                </a:r>
                <a:endParaRPr lang="en-US" sz="3000" b="1" dirty="0">
                  <a:solidFill>
                    <a:schemeClr val="tx2">
                      <a:lumMod val="75000"/>
                    </a:schemeClr>
                  </a:solidFill>
                </a:endParaRPr>
              </a:p>
            </p:txBody>
          </p:sp>
          <p:pic>
            <p:nvPicPr>
              <p:cNvPr id="262" name="Picture 3"/>
              <p:cNvPicPr>
                <a:picLocks noChangeAspect="1" noChangeArrowheads="1"/>
              </p:cNvPicPr>
              <p:nvPr>
                <p:custDataLst>
                  <p:tags r:id="rId3"/>
                </p:custDataLst>
              </p:nvPr>
            </p:nvPicPr>
            <p:blipFill>
              <a:blip r:embed="rId8" cstate="print">
                <a:extLst>
                  <a:ext uri="{28A0092B-C50C-407E-A947-70E740481C1C}">
                    <a14:useLocalDpi xmlns:a14="http://schemas.microsoft.com/office/drawing/2010/main"/>
                  </a:ext>
                </a:extLst>
              </a:blip>
              <a:srcRect/>
              <a:stretch>
                <a:fillRect/>
              </a:stretch>
            </p:blipFill>
            <p:spPr bwMode="auto">
              <a:xfrm>
                <a:off x="23842880" y="1959614"/>
                <a:ext cx="593243" cy="859786"/>
              </a:xfrm>
              <a:prstGeom prst="rect">
                <a:avLst/>
              </a:prstGeom>
              <a:noFill/>
              <a:ln>
                <a:noFill/>
                <a:headEnd type="none" w="med" len="med"/>
                <a:tailEnd type="none" w="med" len="med"/>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7" name="Group 216"/>
            <p:cNvGrpSpPr/>
            <p:nvPr/>
          </p:nvGrpSpPr>
          <p:grpSpPr>
            <a:xfrm>
              <a:off x="4630222" y="1904999"/>
              <a:ext cx="2026976" cy="2011680"/>
              <a:chOff x="4630222" y="1904999"/>
              <a:chExt cx="2026976" cy="2011680"/>
            </a:xfrm>
          </p:grpSpPr>
          <p:sp>
            <p:nvSpPr>
              <p:cNvPr id="257" name="Rectangle 256"/>
              <p:cNvSpPr/>
              <p:nvPr/>
            </p:nvSpPr>
            <p:spPr bwMode="auto">
              <a:xfrm>
                <a:off x="4630222"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Required 9s &amp; Data Protection</a:t>
                </a:r>
                <a:endParaRPr lang="en-US" sz="1500" dirty="0">
                  <a:gradFill>
                    <a:gsLst>
                      <a:gs pos="0">
                        <a:srgbClr val="FFFFFF"/>
                      </a:gs>
                      <a:gs pos="100000">
                        <a:srgbClr val="FFFFFF"/>
                      </a:gs>
                    </a:gsLst>
                    <a:lin ang="5400000" scaled="0"/>
                  </a:gradFill>
                </a:endParaRPr>
              </a:p>
            </p:txBody>
          </p:sp>
          <p:sp>
            <p:nvSpPr>
              <p:cNvPr id="258" name="TextBox 257"/>
              <p:cNvSpPr txBox="1"/>
              <p:nvPr/>
            </p:nvSpPr>
            <p:spPr>
              <a:xfrm>
                <a:off x="6300783"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3</a:t>
                </a:r>
              </a:p>
            </p:txBody>
          </p:sp>
          <p:pic>
            <p:nvPicPr>
              <p:cNvPr id="259" name="Picture 4" descr="\\MAGNUM\Projects\Microsoft\Cloud Power FY12\Design\ICONS_PNG\Check_mark.png"/>
              <p:cNvPicPr>
                <a:picLocks noChangeAspect="1" noChangeArrowheads="1"/>
              </p:cNvPicPr>
              <p:nvPr/>
            </p:nvPicPr>
            <p:blipFill rotWithShape="1">
              <a:blip r:embed="rId9" cstate="print">
                <a:lum bright="100000"/>
              </a:blip>
              <a:srcRect t="11515"/>
              <a:stretch/>
            </p:blipFill>
            <p:spPr bwMode="auto">
              <a:xfrm>
                <a:off x="4669492" y="1927464"/>
                <a:ext cx="1253470" cy="1109124"/>
              </a:xfrm>
              <a:prstGeom prst="rect">
                <a:avLst/>
              </a:prstGeom>
              <a:noFill/>
            </p:spPr>
          </p:pic>
        </p:grpSp>
        <p:grpSp>
          <p:nvGrpSpPr>
            <p:cNvPr id="218" name="Group 217"/>
            <p:cNvGrpSpPr/>
            <p:nvPr/>
          </p:nvGrpSpPr>
          <p:grpSpPr>
            <a:xfrm>
              <a:off x="19505356" y="1904999"/>
              <a:ext cx="2011680" cy="2011680"/>
              <a:chOff x="19505356" y="1904999"/>
              <a:chExt cx="2011680" cy="2011680"/>
            </a:xfrm>
          </p:grpSpPr>
          <p:sp>
            <p:nvSpPr>
              <p:cNvPr id="254" name="Rectangle 253"/>
              <p:cNvSpPr/>
              <p:nvPr/>
            </p:nvSpPr>
            <p:spPr bwMode="auto">
              <a:xfrm>
                <a:off x="19505356"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Credible, Consistent Data</a:t>
                </a:r>
                <a:endParaRPr lang="en-US" sz="1500" dirty="0">
                  <a:gradFill>
                    <a:gsLst>
                      <a:gs pos="0">
                        <a:srgbClr val="FFFFFF"/>
                      </a:gs>
                      <a:gs pos="100000">
                        <a:srgbClr val="FFFFFF"/>
                      </a:gs>
                    </a:gsLst>
                    <a:lin ang="5400000" scaled="0"/>
                  </a:gradFill>
                </a:endParaRPr>
              </a:p>
            </p:txBody>
          </p:sp>
          <p:sp>
            <p:nvSpPr>
              <p:cNvPr id="255" name="TextBox 254"/>
              <p:cNvSpPr txBox="1"/>
              <p:nvPr/>
            </p:nvSpPr>
            <p:spPr>
              <a:xfrm>
                <a:off x="20865746" y="1904999"/>
                <a:ext cx="651290" cy="615553"/>
              </a:xfrm>
              <a:prstGeom prst="rect">
                <a:avLst/>
              </a:prstGeom>
              <a:noFill/>
            </p:spPr>
            <p:txBody>
              <a:bodyPr wrap="none" lIns="0" tIns="0" rIns="45720" bIns="0" rtlCol="0">
                <a:spAutoFit/>
              </a:bodyPr>
              <a:lstStyle/>
              <a:p>
                <a:pPr algn="r"/>
                <a:r>
                  <a:rPr lang="en-US" sz="3000" b="1" dirty="0">
                    <a:solidFill>
                      <a:schemeClr val="tx2">
                        <a:lumMod val="75000"/>
                      </a:schemeClr>
                    </a:solidFill>
                  </a:rPr>
                  <a:t>10</a:t>
                </a:r>
                <a:endParaRPr lang="en-US" sz="3000" b="1" dirty="0">
                  <a:solidFill>
                    <a:schemeClr val="tx2">
                      <a:lumMod val="75000"/>
                    </a:schemeClr>
                  </a:solidFill>
                </a:endParaRPr>
              </a:p>
            </p:txBody>
          </p:sp>
          <p:pic>
            <p:nvPicPr>
              <p:cNvPr id="256" name="Picture 2"/>
              <p:cNvPicPr>
                <a:picLocks noChangeAspect="1" noChangeArrowheads="1"/>
              </p:cNvPicPr>
              <p:nvPr/>
            </p:nvPicPr>
            <p:blipFill>
              <a:blip r:embed="rId10"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9623259" y="2012733"/>
                <a:ext cx="958499" cy="8515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9" name="Group 218"/>
            <p:cNvGrpSpPr/>
            <p:nvPr/>
          </p:nvGrpSpPr>
          <p:grpSpPr>
            <a:xfrm>
              <a:off x="2505611" y="1904999"/>
              <a:ext cx="2022972" cy="2011680"/>
              <a:chOff x="2505611" y="1904999"/>
              <a:chExt cx="2022972" cy="2011680"/>
            </a:xfrm>
          </p:grpSpPr>
          <p:sp>
            <p:nvSpPr>
              <p:cNvPr id="251" name="Rectangle 250"/>
              <p:cNvSpPr/>
              <p:nvPr/>
            </p:nvSpPr>
            <p:spPr bwMode="auto">
              <a:xfrm>
                <a:off x="2505611"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Security &amp; Compliance</a:t>
                </a:r>
                <a:endParaRPr lang="en-US" sz="1500" dirty="0">
                  <a:gradFill>
                    <a:gsLst>
                      <a:gs pos="0">
                        <a:srgbClr val="FFFFFF"/>
                      </a:gs>
                      <a:gs pos="100000">
                        <a:srgbClr val="FFFFFF"/>
                      </a:gs>
                    </a:gsLst>
                    <a:lin ang="5400000" scaled="0"/>
                  </a:gradFill>
                </a:endParaRPr>
              </a:p>
            </p:txBody>
          </p:sp>
          <p:sp>
            <p:nvSpPr>
              <p:cNvPr id="252" name="TextBox 251"/>
              <p:cNvSpPr txBox="1"/>
              <p:nvPr/>
            </p:nvSpPr>
            <p:spPr>
              <a:xfrm>
                <a:off x="4172168"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2</a:t>
                </a:r>
              </a:p>
            </p:txBody>
          </p:sp>
          <p:pic>
            <p:nvPicPr>
              <p:cNvPr id="253" name="Picture 252"/>
              <p:cNvPicPr>
                <a:picLocks noChangeAspect="1"/>
              </p:cNvPicPr>
              <p:nvPr>
                <p:custDataLst>
                  <p:tags r:id="rId2"/>
                </p:custDataLst>
              </p:nvPr>
            </p:nvPicPr>
            <p:blipFill>
              <a:blip r:embed="rId11">
                <a:extLst>
                  <a:ext uri="{28A0092B-C50C-407E-A947-70E740481C1C}">
                    <a14:useLocalDpi xmlns:a14="http://schemas.microsoft.com/office/drawing/2010/main" val="0"/>
                  </a:ext>
                </a:extLst>
              </a:blip>
              <a:stretch>
                <a:fillRect/>
              </a:stretch>
            </p:blipFill>
            <p:spPr>
              <a:xfrm>
                <a:off x="2655779" y="1983751"/>
                <a:ext cx="883759" cy="875588"/>
              </a:xfrm>
              <a:prstGeom prst="rect">
                <a:avLst/>
              </a:prstGeom>
              <a:effectLst/>
            </p:spPr>
          </p:pic>
        </p:grpSp>
        <p:grpSp>
          <p:nvGrpSpPr>
            <p:cNvPr id="220" name="Group 219"/>
            <p:cNvGrpSpPr/>
            <p:nvPr/>
          </p:nvGrpSpPr>
          <p:grpSpPr>
            <a:xfrm>
              <a:off x="381000" y="1904999"/>
              <a:ext cx="2026976" cy="2011680"/>
              <a:chOff x="381000" y="1904999"/>
              <a:chExt cx="2026976" cy="2011680"/>
            </a:xfrm>
          </p:grpSpPr>
          <p:sp>
            <p:nvSpPr>
              <p:cNvPr id="248" name="Rectangle 247"/>
              <p:cNvSpPr/>
              <p:nvPr/>
            </p:nvSpPr>
            <p:spPr bwMode="auto">
              <a:xfrm>
                <a:off x="381000"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Blazing-Fast Performance</a:t>
                </a:r>
              </a:p>
            </p:txBody>
          </p:sp>
          <p:sp>
            <p:nvSpPr>
              <p:cNvPr id="249" name="TextBox 248"/>
              <p:cNvSpPr txBox="1"/>
              <p:nvPr/>
            </p:nvSpPr>
            <p:spPr>
              <a:xfrm>
                <a:off x="2051561"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1</a:t>
                </a:r>
              </a:p>
            </p:txBody>
          </p:sp>
          <p:pic>
            <p:nvPicPr>
              <p:cNvPr id="250" name="Picture 249"/>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06299" y="2057549"/>
                <a:ext cx="880541" cy="880541"/>
              </a:xfrm>
              <a:prstGeom prst="rect">
                <a:avLst/>
              </a:prstGeom>
            </p:spPr>
          </p:pic>
        </p:grpSp>
        <p:grpSp>
          <p:nvGrpSpPr>
            <p:cNvPr id="221" name="Group 220"/>
            <p:cNvGrpSpPr/>
            <p:nvPr/>
          </p:nvGrpSpPr>
          <p:grpSpPr>
            <a:xfrm>
              <a:off x="8879444" y="1904999"/>
              <a:ext cx="2012580" cy="2011680"/>
              <a:chOff x="8879444" y="1904999"/>
              <a:chExt cx="2012580" cy="2011680"/>
            </a:xfrm>
          </p:grpSpPr>
          <p:sp>
            <p:nvSpPr>
              <p:cNvPr id="241" name="Rectangle 240"/>
              <p:cNvSpPr/>
              <p:nvPr/>
            </p:nvSpPr>
            <p:spPr bwMode="auto">
              <a:xfrm>
                <a:off x="8879444"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Scale on Demand</a:t>
                </a:r>
                <a:endParaRPr lang="en-US" sz="1500" dirty="0">
                  <a:gradFill>
                    <a:gsLst>
                      <a:gs pos="0">
                        <a:srgbClr val="FFFFFF"/>
                      </a:gs>
                      <a:gs pos="100000">
                        <a:srgbClr val="FFFFFF"/>
                      </a:gs>
                    </a:gsLst>
                    <a:lin ang="5400000" scaled="0"/>
                  </a:gradFill>
                </a:endParaRPr>
              </a:p>
            </p:txBody>
          </p:sp>
          <p:sp>
            <p:nvSpPr>
              <p:cNvPr id="242" name="TextBox 241"/>
              <p:cNvSpPr txBox="1"/>
              <p:nvPr/>
            </p:nvSpPr>
            <p:spPr>
              <a:xfrm>
                <a:off x="10535609"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5</a:t>
                </a:r>
              </a:p>
            </p:txBody>
          </p:sp>
          <p:grpSp>
            <p:nvGrpSpPr>
              <p:cNvPr id="243" name="Group 242"/>
              <p:cNvGrpSpPr/>
              <p:nvPr/>
            </p:nvGrpSpPr>
            <p:grpSpPr>
              <a:xfrm>
                <a:off x="9098012" y="2146879"/>
                <a:ext cx="958800" cy="671282"/>
                <a:chOff x="7792432" y="3461097"/>
                <a:chExt cx="568902" cy="299861"/>
              </a:xfrm>
            </p:grpSpPr>
            <p:sp>
              <p:nvSpPr>
                <p:cNvPr id="244" name="Freeform 8"/>
                <p:cNvSpPr>
                  <a:spLocks/>
                </p:cNvSpPr>
                <p:nvPr/>
              </p:nvSpPr>
              <p:spPr bwMode="auto">
                <a:xfrm>
                  <a:off x="8055009" y="3461097"/>
                  <a:ext cx="306325" cy="299861"/>
                </a:xfrm>
                <a:custGeom>
                  <a:avLst/>
                  <a:gdLst>
                    <a:gd name="T0" fmla="*/ 100 w 100"/>
                    <a:gd name="T1" fmla="*/ 0 h 98"/>
                    <a:gd name="T2" fmla="*/ 16 w 100"/>
                    <a:gd name="T3" fmla="*/ 13 h 98"/>
                    <a:gd name="T4" fmla="*/ 41 w 100"/>
                    <a:gd name="T5" fmla="*/ 39 h 98"/>
                    <a:gd name="T6" fmla="*/ 41 w 100"/>
                    <a:gd name="T7" fmla="*/ 39 h 98"/>
                    <a:gd name="T8" fmla="*/ 6 w 100"/>
                    <a:gd name="T9" fmla="*/ 75 h 98"/>
                    <a:gd name="T10" fmla="*/ 6 w 100"/>
                    <a:gd name="T11" fmla="*/ 94 h 98"/>
                    <a:gd name="T12" fmla="*/ 16 w 100"/>
                    <a:gd name="T13" fmla="*/ 98 h 98"/>
                    <a:gd name="T14" fmla="*/ 25 w 100"/>
                    <a:gd name="T15" fmla="*/ 94 h 98"/>
                    <a:gd name="T16" fmla="*/ 61 w 100"/>
                    <a:gd name="T17" fmla="*/ 59 h 98"/>
                    <a:gd name="T18" fmla="*/ 61 w 100"/>
                    <a:gd name="T19" fmla="*/ 59 h 98"/>
                    <a:gd name="T20" fmla="*/ 87 w 100"/>
                    <a:gd name="T21" fmla="*/ 84 h 98"/>
                    <a:gd name="T22" fmla="*/ 100 w 100"/>
                    <a:gd name="T23"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98">
                      <a:moveTo>
                        <a:pt x="100" y="0"/>
                      </a:moveTo>
                      <a:cubicBezTo>
                        <a:pt x="16" y="13"/>
                        <a:pt x="16" y="13"/>
                        <a:pt x="16" y="13"/>
                      </a:cubicBezTo>
                      <a:cubicBezTo>
                        <a:pt x="41" y="39"/>
                        <a:pt x="41" y="39"/>
                        <a:pt x="41" y="39"/>
                      </a:cubicBezTo>
                      <a:cubicBezTo>
                        <a:pt x="41" y="39"/>
                        <a:pt x="41" y="39"/>
                        <a:pt x="41" y="39"/>
                      </a:cubicBezTo>
                      <a:cubicBezTo>
                        <a:pt x="6" y="75"/>
                        <a:pt x="6" y="75"/>
                        <a:pt x="6" y="75"/>
                      </a:cubicBezTo>
                      <a:cubicBezTo>
                        <a:pt x="0" y="80"/>
                        <a:pt x="0" y="89"/>
                        <a:pt x="6" y="94"/>
                      </a:cubicBezTo>
                      <a:cubicBezTo>
                        <a:pt x="8" y="97"/>
                        <a:pt x="12" y="98"/>
                        <a:pt x="16" y="98"/>
                      </a:cubicBezTo>
                      <a:cubicBezTo>
                        <a:pt x="19" y="98"/>
                        <a:pt x="23" y="97"/>
                        <a:pt x="25" y="94"/>
                      </a:cubicBezTo>
                      <a:cubicBezTo>
                        <a:pt x="61" y="59"/>
                        <a:pt x="61" y="59"/>
                        <a:pt x="61" y="59"/>
                      </a:cubicBezTo>
                      <a:cubicBezTo>
                        <a:pt x="61" y="59"/>
                        <a:pt x="61" y="59"/>
                        <a:pt x="61" y="59"/>
                      </a:cubicBezTo>
                      <a:cubicBezTo>
                        <a:pt x="87" y="84"/>
                        <a:pt x="87" y="84"/>
                        <a:pt x="87" y="84"/>
                      </a:cubicBezTo>
                      <a:lnTo>
                        <a:pt x="10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Rectangle 9"/>
                <p:cNvSpPr>
                  <a:spLocks noChangeArrowheads="1"/>
                </p:cNvSpPr>
                <p:nvPr/>
              </p:nvSpPr>
              <p:spPr bwMode="auto">
                <a:xfrm>
                  <a:off x="7891463" y="3675653"/>
                  <a:ext cx="212661"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Rectangle 9"/>
                <p:cNvSpPr>
                  <a:spLocks noChangeArrowheads="1"/>
                </p:cNvSpPr>
                <p:nvPr/>
              </p:nvSpPr>
              <p:spPr bwMode="auto">
                <a:xfrm>
                  <a:off x="7792432" y="3675653"/>
                  <a:ext cx="27432"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Rectangle 9"/>
                <p:cNvSpPr>
                  <a:spLocks noChangeArrowheads="1"/>
                </p:cNvSpPr>
                <p:nvPr/>
              </p:nvSpPr>
              <p:spPr bwMode="auto">
                <a:xfrm>
                  <a:off x="7832804" y="3675653"/>
                  <a:ext cx="45719"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22" name="Group 221"/>
            <p:cNvGrpSpPr/>
            <p:nvPr/>
          </p:nvGrpSpPr>
          <p:grpSpPr>
            <a:xfrm>
              <a:off x="6754833" y="1904999"/>
              <a:ext cx="2022972" cy="2011680"/>
              <a:chOff x="6754833" y="1904999"/>
              <a:chExt cx="2022972" cy="2011680"/>
            </a:xfrm>
          </p:grpSpPr>
          <p:sp>
            <p:nvSpPr>
              <p:cNvPr id="235" name="Rectangle 234"/>
              <p:cNvSpPr/>
              <p:nvPr/>
            </p:nvSpPr>
            <p:spPr bwMode="auto">
              <a:xfrm>
                <a:off x="6754833"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Flexibility &amp; Choice</a:t>
                </a:r>
                <a:endParaRPr lang="en-US" sz="1500" dirty="0">
                  <a:gradFill>
                    <a:gsLst>
                      <a:gs pos="0">
                        <a:srgbClr val="FFFFFF"/>
                      </a:gs>
                      <a:gs pos="100000">
                        <a:srgbClr val="FFFFFF"/>
                      </a:gs>
                    </a:gsLst>
                    <a:lin ang="5400000" scaled="0"/>
                  </a:gradFill>
                </a:endParaRPr>
              </a:p>
            </p:txBody>
          </p:sp>
          <p:sp>
            <p:nvSpPr>
              <p:cNvPr id="236" name="TextBox 235"/>
              <p:cNvSpPr txBox="1"/>
              <p:nvPr/>
            </p:nvSpPr>
            <p:spPr>
              <a:xfrm>
                <a:off x="8421390"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4</a:t>
                </a:r>
              </a:p>
            </p:txBody>
          </p:sp>
          <p:grpSp>
            <p:nvGrpSpPr>
              <p:cNvPr id="237" name="Group 236"/>
              <p:cNvGrpSpPr/>
              <p:nvPr>
                <p:custDataLst>
                  <p:tags r:id="rId1"/>
                </p:custDataLst>
              </p:nvPr>
            </p:nvGrpSpPr>
            <p:grpSpPr>
              <a:xfrm>
                <a:off x="6856412" y="1967341"/>
                <a:ext cx="1105890" cy="850820"/>
                <a:chOff x="3127606" y="1031618"/>
                <a:chExt cx="1905261" cy="1465821"/>
              </a:xfrm>
            </p:grpSpPr>
            <p:pic>
              <p:nvPicPr>
                <p:cNvPr id="238" name="Picture 6" descr="\\MAGNUM\Projects\Microsoft\Cloud Power FY12\Design\ICONS_PNG\Cloud.png"/>
                <p:cNvPicPr>
                  <a:picLocks noChangeAspect="1" noChangeArrowheads="1"/>
                </p:cNvPicPr>
                <p:nvPr/>
              </p:nvPicPr>
              <p:blipFill rotWithShape="1">
                <a:blip r:embed="rId13" cstate="print">
                  <a:extLst>
                    <a:ext uri="{BEBA8EAE-BF5A-486C-A8C5-ECC9F3942E4B}">
                      <a14:imgProps xmlns:a14="http://schemas.microsoft.com/office/drawing/2010/main">
                        <a14:imgLayer r:embed="rId14">
                          <a14:imgEffect>
                            <a14:brightnessContrast bright="100000"/>
                          </a14:imgEffect>
                        </a14:imgLayer>
                      </a14:imgProps>
                    </a:ext>
                  </a:extLst>
                </a:blip>
                <a:srcRect t="15452" b="16319"/>
                <a:stretch/>
              </p:blipFill>
              <p:spPr bwMode="auto">
                <a:xfrm>
                  <a:off x="3423223" y="1031618"/>
                  <a:ext cx="1609644" cy="1098248"/>
                </a:xfrm>
                <a:prstGeom prst="rect">
                  <a:avLst/>
                </a:prstGeom>
                <a:noFill/>
              </p:spPr>
            </p:pic>
            <p:pic>
              <p:nvPicPr>
                <p:cNvPr id="239" name="Picture 2" descr="\\MAGNUM\Projects\Microsoft\Cloud Power FY12\Design\Icons\PNGs\Server_2.png"/>
                <p:cNvPicPr>
                  <a:picLocks noChangeAspect="1" noChangeArrowheads="1"/>
                </p:cNvPicPr>
                <p:nvPr/>
              </p:nvPicPr>
              <p:blipFill rotWithShape="1">
                <a:blip r:embed="rId15" cstate="print">
                  <a:lum bright="100000"/>
                  <a:extLst>
                    <a:ext uri="{BEBA8EAE-BF5A-486C-A8C5-ECC9F3942E4B}">
                      <a14:imgProps xmlns:a14="http://schemas.microsoft.com/office/drawing/2010/main">
                        <a14:imgLayer r:embed="rId16">
                          <a14:imgEffect>
                            <a14:colorTemperature colorTemp="1500"/>
                          </a14:imgEffect>
                        </a14:imgLayer>
                      </a14:imgProps>
                    </a:ext>
                  </a:extLst>
                </a:blip>
                <a:srcRect l="27619" t="9540" r="26586" b="9151"/>
                <a:stretch/>
              </p:blipFill>
              <p:spPr bwMode="auto">
                <a:xfrm>
                  <a:off x="3537558" y="1444626"/>
                  <a:ext cx="589660" cy="916080"/>
                </a:xfrm>
                <a:prstGeom prst="rect">
                  <a:avLst/>
                </a:prstGeom>
                <a:noFill/>
                <a:effectLst>
                  <a:outerShdw blurRad="50800" dist="12700" sx="103000" sy="103000" algn="ctr" rotWithShape="0">
                    <a:prstClr val="black">
                      <a:alpha val="40000"/>
                    </a:prstClr>
                  </a:outerShdw>
                </a:effectLst>
              </p:spPr>
            </p:pic>
            <p:pic>
              <p:nvPicPr>
                <p:cNvPr id="240" name="Picture 2" descr="\\MAGNUM\Projects\Microsoft\Cloud Power FY12\Design\Icons\PNGs\Server_2.png"/>
                <p:cNvPicPr>
                  <a:picLocks noChangeAspect="1" noChangeArrowheads="1"/>
                </p:cNvPicPr>
                <p:nvPr/>
              </p:nvPicPr>
              <p:blipFill rotWithShape="1">
                <a:blip r:embed="rId15" cstate="print">
                  <a:lum bright="100000"/>
                  <a:extLst>
                    <a:ext uri="{BEBA8EAE-BF5A-486C-A8C5-ECC9F3942E4B}">
                      <a14:imgProps xmlns:a14="http://schemas.microsoft.com/office/drawing/2010/main">
                        <a14:imgLayer r:embed="rId16">
                          <a14:imgEffect>
                            <a14:colorTemperature colorTemp="1500"/>
                          </a14:imgEffect>
                        </a14:imgLayer>
                      </a14:imgProps>
                    </a:ext>
                  </a:extLst>
                </a:blip>
                <a:srcRect l="27619" t="9540" r="26586" b="9151"/>
                <a:stretch/>
              </p:blipFill>
              <p:spPr bwMode="auto">
                <a:xfrm>
                  <a:off x="3127606" y="1581359"/>
                  <a:ext cx="589659" cy="916080"/>
                </a:xfrm>
                <a:prstGeom prst="rect">
                  <a:avLst/>
                </a:prstGeom>
                <a:noFill/>
                <a:effectLst>
                  <a:outerShdw blurRad="50800" dist="12700" sx="103000" sy="103000" algn="ctr" rotWithShape="0">
                    <a:prstClr val="black">
                      <a:alpha val="40000"/>
                    </a:prstClr>
                  </a:outerShdw>
                </a:effectLst>
              </p:spPr>
            </p:pic>
          </p:grpSp>
        </p:grpSp>
        <p:grpSp>
          <p:nvGrpSpPr>
            <p:cNvPr id="223" name="Group 222"/>
            <p:cNvGrpSpPr/>
            <p:nvPr/>
          </p:nvGrpSpPr>
          <p:grpSpPr>
            <a:xfrm>
              <a:off x="11004055" y="1904999"/>
              <a:ext cx="2012580" cy="2011680"/>
              <a:chOff x="11004055" y="1904999"/>
              <a:chExt cx="2012580" cy="2011680"/>
            </a:xfrm>
          </p:grpSpPr>
          <p:sp>
            <p:nvSpPr>
              <p:cNvPr id="232" name="Rectangle 231"/>
              <p:cNvSpPr/>
              <p:nvPr/>
            </p:nvSpPr>
            <p:spPr bwMode="auto">
              <a:xfrm>
                <a:off x="11004055"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Fast Time to Solution</a:t>
                </a:r>
                <a:endParaRPr lang="en-US" sz="1500" dirty="0">
                  <a:gradFill>
                    <a:gsLst>
                      <a:gs pos="0">
                        <a:srgbClr val="FFFFFF"/>
                      </a:gs>
                      <a:gs pos="100000">
                        <a:srgbClr val="FFFFFF"/>
                      </a:gs>
                    </a:gsLst>
                    <a:lin ang="5400000" scaled="0"/>
                  </a:gradFill>
                </a:endParaRPr>
              </a:p>
            </p:txBody>
          </p:sp>
          <p:sp>
            <p:nvSpPr>
              <p:cNvPr id="233" name="TextBox 232"/>
              <p:cNvSpPr txBox="1"/>
              <p:nvPr/>
            </p:nvSpPr>
            <p:spPr>
              <a:xfrm>
                <a:off x="12660220"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6</a:t>
                </a:r>
              </a:p>
            </p:txBody>
          </p:sp>
          <p:pic>
            <p:nvPicPr>
              <p:cNvPr id="234" name="Picture 3" descr="\\SFP\Work\White_Whale\3-22036_Kuleen_Bharadwaj\PPT\3_PlatformVision_Kuleen\SFP_Art\Plane Slide\mon_notie.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1139211" y="1983751"/>
                <a:ext cx="746401" cy="8755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4" name="Group 223"/>
            <p:cNvGrpSpPr/>
            <p:nvPr/>
          </p:nvGrpSpPr>
          <p:grpSpPr>
            <a:xfrm>
              <a:off x="13128666" y="1904999"/>
              <a:ext cx="2017182" cy="2011680"/>
              <a:chOff x="13128666" y="1904999"/>
              <a:chExt cx="2017182" cy="2011680"/>
            </a:xfrm>
          </p:grpSpPr>
          <p:sp>
            <p:nvSpPr>
              <p:cNvPr id="229" name="Rectangle 228"/>
              <p:cNvSpPr/>
              <p:nvPr/>
            </p:nvSpPr>
            <p:spPr bwMode="auto">
              <a:xfrm>
                <a:off x="13128666"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Extend Any Data, Anywhere</a:t>
                </a:r>
                <a:endParaRPr lang="en-US" sz="1500" dirty="0">
                  <a:gradFill>
                    <a:gsLst>
                      <a:gs pos="0">
                        <a:srgbClr val="FFFFFF"/>
                      </a:gs>
                      <a:gs pos="100000">
                        <a:srgbClr val="FFFFFF"/>
                      </a:gs>
                    </a:gsLst>
                    <a:lin ang="5400000" scaled="0"/>
                  </a:gradFill>
                </a:endParaRPr>
              </a:p>
            </p:txBody>
          </p:sp>
          <p:sp>
            <p:nvSpPr>
              <p:cNvPr id="230" name="TextBox 229"/>
              <p:cNvSpPr txBox="1"/>
              <p:nvPr/>
            </p:nvSpPr>
            <p:spPr>
              <a:xfrm>
                <a:off x="14789433"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7</a:t>
                </a:r>
              </a:p>
            </p:txBody>
          </p:sp>
          <p:pic>
            <p:nvPicPr>
              <p:cNvPr id="231" name="Picture 7" descr="\\MAGNUM\Projects\Microsoft\Cloud Power FY12\Design\ICONS_PNG\Physical_Virtual.png"/>
              <p:cNvPicPr>
                <a:picLocks noChangeAspect="1" noChangeArrowheads="1"/>
              </p:cNvPicPr>
              <p:nvPr/>
            </p:nvPicPr>
            <p:blipFill rotWithShape="1">
              <a:blip r:embed="rId18" cstate="print">
                <a:extLst>
                  <a:ext uri="{BEBA8EAE-BF5A-486C-A8C5-ECC9F3942E4B}">
                    <a14:imgProps xmlns:a14="http://schemas.microsoft.com/office/drawing/2010/main">
                      <a14:imgLayer r:embed="rId19">
                        <a14:imgEffect>
                          <a14:brightnessContrast bright="100000"/>
                        </a14:imgEffect>
                      </a14:imgLayer>
                    </a14:imgProps>
                  </a:ext>
                </a:extLst>
              </a:blip>
              <a:srcRect l="7856" t="39072" r="7907" b="5885"/>
              <a:stretch/>
            </p:blipFill>
            <p:spPr bwMode="auto">
              <a:xfrm>
                <a:off x="13200761" y="1984614"/>
                <a:ext cx="1275651" cy="833547"/>
              </a:xfrm>
              <a:prstGeom prst="rect">
                <a:avLst/>
              </a:prstGeom>
              <a:noFill/>
            </p:spPr>
          </p:pic>
        </p:grpSp>
        <p:grpSp>
          <p:nvGrpSpPr>
            <p:cNvPr id="225" name="Group 224"/>
            <p:cNvGrpSpPr/>
            <p:nvPr/>
          </p:nvGrpSpPr>
          <p:grpSpPr>
            <a:xfrm>
              <a:off x="15243484" y="1904999"/>
              <a:ext cx="2011680" cy="2011680"/>
              <a:chOff x="15243484" y="1904999"/>
              <a:chExt cx="2011680" cy="2011680"/>
            </a:xfrm>
          </p:grpSpPr>
          <p:sp>
            <p:nvSpPr>
              <p:cNvPr id="226" name="Rectangle 225"/>
              <p:cNvSpPr/>
              <p:nvPr/>
            </p:nvSpPr>
            <p:spPr bwMode="auto">
              <a:xfrm>
                <a:off x="15243484"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New Scenarios, Unlocked</a:t>
                </a:r>
                <a:endParaRPr lang="en-US" sz="1500" dirty="0">
                  <a:gradFill>
                    <a:gsLst>
                      <a:gs pos="0">
                        <a:srgbClr val="FFFFFF"/>
                      </a:gs>
                      <a:gs pos="100000">
                        <a:srgbClr val="FFFFFF"/>
                      </a:gs>
                    </a:gsLst>
                    <a:lin ang="5400000" scaled="0"/>
                  </a:gradFill>
                </a:endParaRPr>
              </a:p>
            </p:txBody>
          </p:sp>
          <p:sp>
            <p:nvSpPr>
              <p:cNvPr id="227" name="TextBox 226"/>
              <p:cNvSpPr txBox="1"/>
              <p:nvPr/>
            </p:nvSpPr>
            <p:spPr>
              <a:xfrm>
                <a:off x="16882570" y="1904999"/>
                <a:ext cx="356415" cy="615553"/>
              </a:xfrm>
              <a:prstGeom prst="rect">
                <a:avLst/>
              </a:prstGeom>
              <a:noFill/>
            </p:spPr>
            <p:txBody>
              <a:bodyPr wrap="none" lIns="0" tIns="0" rIns="45720" bIns="0" rtlCol="0">
                <a:spAutoFit/>
              </a:bodyPr>
              <a:lstStyle/>
              <a:p>
                <a:pPr algn="r"/>
                <a:r>
                  <a:rPr lang="en-US" sz="3000" b="1" dirty="0">
                    <a:solidFill>
                      <a:schemeClr val="tx2">
                        <a:lumMod val="75000"/>
                      </a:schemeClr>
                    </a:solidFill>
                  </a:rPr>
                  <a:t>8</a:t>
                </a:r>
                <a:endParaRPr lang="en-US" sz="3000" b="1" dirty="0">
                  <a:solidFill>
                    <a:schemeClr val="tx2">
                      <a:lumMod val="75000"/>
                    </a:schemeClr>
                  </a:solidFill>
                </a:endParaRPr>
              </a:p>
            </p:txBody>
          </p:sp>
          <p:pic>
            <p:nvPicPr>
              <p:cNvPr id="228" name="Picture 2"/>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5416979" y="2043731"/>
                <a:ext cx="640905" cy="775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277" name="Group 276"/>
          <p:cNvGrpSpPr/>
          <p:nvPr/>
        </p:nvGrpSpPr>
        <p:grpSpPr>
          <a:xfrm>
            <a:off x="285824" y="1428749"/>
            <a:ext cx="1520628" cy="1508760"/>
            <a:chOff x="4630222" y="1904999"/>
            <a:chExt cx="2026976" cy="2011680"/>
          </a:xfrm>
        </p:grpSpPr>
        <p:sp>
          <p:nvSpPr>
            <p:cNvPr id="317" name="Rectangle 316"/>
            <p:cNvSpPr/>
            <p:nvPr/>
          </p:nvSpPr>
          <p:spPr bwMode="auto">
            <a:xfrm>
              <a:off x="4630222" y="1904999"/>
              <a:ext cx="2011680" cy="2011680"/>
            </a:xfrm>
            <a:prstGeom prst="rect">
              <a:avLst/>
            </a:prstGeom>
            <a:solidFill>
              <a:schemeClr val="accent3"/>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Required 9s &amp; Data Protection</a:t>
              </a:r>
            </a:p>
          </p:txBody>
        </p:sp>
        <p:sp>
          <p:nvSpPr>
            <p:cNvPr id="318" name="TextBox 317"/>
            <p:cNvSpPr txBox="1"/>
            <p:nvPr/>
          </p:nvSpPr>
          <p:spPr>
            <a:xfrm>
              <a:off x="6300783" y="1904999"/>
              <a:ext cx="356415" cy="615553"/>
            </a:xfrm>
            <a:prstGeom prst="rect">
              <a:avLst/>
            </a:prstGeom>
            <a:noFill/>
          </p:spPr>
          <p:txBody>
            <a:bodyPr wrap="none" lIns="0" tIns="0" rIns="45720" bIns="0" rtlCol="0">
              <a:spAutoFit/>
            </a:bodyPr>
            <a:lstStyle/>
            <a:p>
              <a:r>
                <a:rPr lang="en-US" sz="3000" b="1" dirty="0">
                  <a:solidFill>
                    <a:srgbClr val="FFC000"/>
                  </a:solidFill>
                </a:rPr>
                <a:t>3</a:t>
              </a:r>
            </a:p>
          </p:txBody>
        </p:sp>
        <p:pic>
          <p:nvPicPr>
            <p:cNvPr id="319" name="Picture 4" descr="\\MAGNUM\Projects\Microsoft\Cloud Power FY12\Design\ICONS_PNG\Check_mark.png"/>
            <p:cNvPicPr>
              <a:picLocks noChangeAspect="1" noChangeArrowheads="1"/>
            </p:cNvPicPr>
            <p:nvPr/>
          </p:nvPicPr>
          <p:blipFill rotWithShape="1">
            <a:blip r:embed="rId9" cstate="print">
              <a:lum bright="100000"/>
            </a:blip>
            <a:srcRect t="11515"/>
            <a:stretch/>
          </p:blipFill>
          <p:spPr bwMode="auto">
            <a:xfrm>
              <a:off x="4669492" y="1927464"/>
              <a:ext cx="1253470" cy="1109124"/>
            </a:xfrm>
            <a:prstGeom prst="rect">
              <a:avLst/>
            </a:prstGeom>
            <a:noFill/>
          </p:spPr>
        </p:pic>
      </p:grpSp>
      <p:sp>
        <p:nvSpPr>
          <p:cNvPr id="80"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81"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1"/>
              </a:rPr>
              <a:t>www.rapidbbs.cn</a:t>
            </a:r>
            <a:endParaRPr lang="zh-CN" altLang="en-US" sz="1200" b="0">
              <a:latin typeface="Arial" charset="0"/>
              <a:ea typeface="ＭＳ Ｐゴシック" pitchFamily="34" charset="-128"/>
            </a:endParaRPr>
          </a:p>
        </p:txBody>
      </p:sp>
      <p:pic>
        <p:nvPicPr>
          <p:cNvPr id="82" name="Picture 2">
            <a:hlinkClick r:id="rId21"/>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3" name="Picture 2">
            <a:hlinkClick r:id="rId21"/>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143000" y="2804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13770841"/>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decel="100000" fill="hold" nodeType="withEffect">
                                  <p:stCondLst>
                                    <p:cond delay="0"/>
                                  </p:stCondLst>
                                  <p:childTnLst>
                                    <p:animMotion origin="layout" path="M -4.38322E-6 4.44444E-6 L -0.17441 4.44444E-6 " pathEditMode="relative" rAng="0" ptsTypes="AA">
                                      <p:cBhvr>
                                        <p:cTn id="6" dur="1000" fill="hold"/>
                                        <p:tgtEl>
                                          <p:spTgt spid="213"/>
                                        </p:tgtEl>
                                        <p:attrNameLst>
                                          <p:attrName>ppt_x</p:attrName>
                                          <p:attrName>ppt_y</p:attrName>
                                        </p:attrNameLst>
                                      </p:cBhvr>
                                      <p:rCtr x="-8727" y="0"/>
                                    </p:animMotion>
                                  </p:childTnLst>
                                </p:cTn>
                              </p:par>
                            </p:childTnLst>
                          </p:cTn>
                        </p:par>
                        <p:par>
                          <p:cTn id="7" fill="hold">
                            <p:stCondLst>
                              <p:cond delay="1000"/>
                            </p:stCondLst>
                            <p:childTnLst>
                              <p:par>
                                <p:cTn id="8" presetID="22" presetClass="entr" presetSubtype="4" fill="hold" nodeType="afterEffect">
                                  <p:stCondLst>
                                    <p:cond delay="0"/>
                                  </p:stCondLst>
                                  <p:childTnLst>
                                    <p:set>
                                      <p:cBhvr>
                                        <p:cTn id="9" dur="1" fill="hold">
                                          <p:stCondLst>
                                            <p:cond delay="0"/>
                                          </p:stCondLst>
                                        </p:cTn>
                                        <p:tgtEl>
                                          <p:spTgt spid="277"/>
                                        </p:tgtEl>
                                        <p:attrNameLst>
                                          <p:attrName>style.visibility</p:attrName>
                                        </p:attrNameLst>
                                      </p:cBhvr>
                                      <p:to>
                                        <p:strVal val="visible"/>
                                      </p:to>
                                    </p:set>
                                    <p:animEffect transition="in" filter="wipe(down)">
                                      <p:cBhvr>
                                        <p:cTn id="10" dur="500"/>
                                        <p:tgtEl>
                                          <p:spTgt spid="277"/>
                                        </p:tgtEl>
                                      </p:cBhvr>
                                    </p:animEffect>
                                  </p:childTnLst>
                                </p:cTn>
                              </p:par>
                              <p:par>
                                <p:cTn id="11" presetID="2" presetClass="entr" presetSubtype="2" decel="100000" fill="hold" grpId="0" nodeType="withEffect">
                                  <p:stCondLst>
                                    <p:cond delay="0"/>
                                  </p:stCondLst>
                                  <p:childTnLst>
                                    <p:set>
                                      <p:cBhvr>
                                        <p:cTn id="12" dur="1" fill="hold">
                                          <p:stCondLst>
                                            <p:cond delay="0"/>
                                          </p:stCondLst>
                                        </p:cTn>
                                        <p:tgtEl>
                                          <p:spTgt spid="99"/>
                                        </p:tgtEl>
                                        <p:attrNameLst>
                                          <p:attrName>style.visibility</p:attrName>
                                        </p:attrNameLst>
                                      </p:cBhvr>
                                      <p:to>
                                        <p:strVal val="visible"/>
                                      </p:to>
                                    </p:set>
                                    <p:anim calcmode="lin" valueType="num">
                                      <p:cBhvr additive="base">
                                        <p:cTn id="13" dur="1000" fill="hold"/>
                                        <p:tgtEl>
                                          <p:spTgt spid="99"/>
                                        </p:tgtEl>
                                        <p:attrNameLst>
                                          <p:attrName>ppt_x</p:attrName>
                                        </p:attrNameLst>
                                      </p:cBhvr>
                                      <p:tavLst>
                                        <p:tav tm="0">
                                          <p:val>
                                            <p:strVal val="1+#ppt_w/2"/>
                                          </p:val>
                                        </p:tav>
                                        <p:tav tm="100000">
                                          <p:val>
                                            <p:strVal val="#ppt_x"/>
                                          </p:val>
                                        </p:tav>
                                      </p:tavLst>
                                    </p:anim>
                                    <p:anim calcmode="lin" valueType="num">
                                      <p:cBhvr additive="base">
                                        <p:cTn id="14" dur="1000" fill="hold"/>
                                        <p:tgtEl>
                                          <p:spTgt spid="99"/>
                                        </p:tgtEl>
                                        <p:attrNameLst>
                                          <p:attrName>ppt_y</p:attrName>
                                        </p:attrNameLst>
                                      </p:cBhvr>
                                      <p:tavLst>
                                        <p:tav tm="0">
                                          <p:val>
                                            <p:strVal val="#ppt_y"/>
                                          </p:val>
                                        </p:tav>
                                        <p:tav tm="100000">
                                          <p:val>
                                            <p:strVal val="#ppt_y"/>
                                          </p:val>
                                        </p:tav>
                                      </p:tavLst>
                                    </p:anim>
                                  </p:childTnLst>
                                </p:cTn>
                              </p:par>
                              <p:par>
                                <p:cTn id="15" presetID="2" presetClass="entr" presetSubtype="2" decel="100000" fill="hold" grpId="0" nodeType="withEffect">
                                  <p:stCondLst>
                                    <p:cond delay="250"/>
                                  </p:stCondLst>
                                  <p:childTnLst>
                                    <p:set>
                                      <p:cBhvr>
                                        <p:cTn id="16" dur="1" fill="hold">
                                          <p:stCondLst>
                                            <p:cond delay="0"/>
                                          </p:stCondLst>
                                        </p:cTn>
                                        <p:tgtEl>
                                          <p:spTgt spid="98"/>
                                        </p:tgtEl>
                                        <p:attrNameLst>
                                          <p:attrName>style.visibility</p:attrName>
                                        </p:attrNameLst>
                                      </p:cBhvr>
                                      <p:to>
                                        <p:strVal val="visible"/>
                                      </p:to>
                                    </p:set>
                                    <p:anim calcmode="lin" valueType="num">
                                      <p:cBhvr additive="base">
                                        <p:cTn id="17" dur="1000" fill="hold"/>
                                        <p:tgtEl>
                                          <p:spTgt spid="98"/>
                                        </p:tgtEl>
                                        <p:attrNameLst>
                                          <p:attrName>ppt_x</p:attrName>
                                        </p:attrNameLst>
                                      </p:cBhvr>
                                      <p:tavLst>
                                        <p:tav tm="0">
                                          <p:val>
                                            <p:strVal val="1+#ppt_w/2"/>
                                          </p:val>
                                        </p:tav>
                                        <p:tav tm="100000">
                                          <p:val>
                                            <p:strVal val="#ppt_x"/>
                                          </p:val>
                                        </p:tav>
                                      </p:tavLst>
                                    </p:anim>
                                    <p:anim calcmode="lin" valueType="num">
                                      <p:cBhvr additive="base">
                                        <p:cTn id="18" dur="1000" fill="hold"/>
                                        <p:tgtEl>
                                          <p:spTgt spid="98"/>
                                        </p:tgtEl>
                                        <p:attrNameLst>
                                          <p:attrName>ppt_y</p:attrName>
                                        </p:attrNameLst>
                                      </p:cBhvr>
                                      <p:tavLst>
                                        <p:tav tm="0">
                                          <p:val>
                                            <p:strVal val="#ppt_y"/>
                                          </p:val>
                                        </p:tav>
                                        <p:tav tm="100000">
                                          <p:val>
                                            <p:strVal val="#ppt_y"/>
                                          </p:val>
                                        </p:tav>
                                      </p:tavLst>
                                    </p:anim>
                                  </p:childTnLst>
                                </p:cTn>
                              </p:par>
                              <p:par>
                                <p:cTn id="19" presetID="2" presetClass="entr" presetSubtype="2" decel="100000" fill="hold" grpId="0" nodeType="withEffect">
                                  <p:stCondLst>
                                    <p:cond delay="500"/>
                                  </p:stCondLst>
                                  <p:childTnLst>
                                    <p:set>
                                      <p:cBhvr>
                                        <p:cTn id="20" dur="1" fill="hold">
                                          <p:stCondLst>
                                            <p:cond delay="0"/>
                                          </p:stCondLst>
                                        </p:cTn>
                                        <p:tgtEl>
                                          <p:spTgt spid="100"/>
                                        </p:tgtEl>
                                        <p:attrNameLst>
                                          <p:attrName>style.visibility</p:attrName>
                                        </p:attrNameLst>
                                      </p:cBhvr>
                                      <p:to>
                                        <p:strVal val="visible"/>
                                      </p:to>
                                    </p:set>
                                    <p:anim calcmode="lin" valueType="num">
                                      <p:cBhvr additive="base">
                                        <p:cTn id="21" dur="1000" fill="hold"/>
                                        <p:tgtEl>
                                          <p:spTgt spid="100"/>
                                        </p:tgtEl>
                                        <p:attrNameLst>
                                          <p:attrName>ppt_x</p:attrName>
                                        </p:attrNameLst>
                                      </p:cBhvr>
                                      <p:tavLst>
                                        <p:tav tm="0">
                                          <p:val>
                                            <p:strVal val="1+#ppt_w/2"/>
                                          </p:val>
                                        </p:tav>
                                        <p:tav tm="100000">
                                          <p:val>
                                            <p:strVal val="#ppt_x"/>
                                          </p:val>
                                        </p:tav>
                                      </p:tavLst>
                                    </p:anim>
                                    <p:anim calcmode="lin" valueType="num">
                                      <p:cBhvr additive="base">
                                        <p:cTn id="22" dur="1000" fill="hold"/>
                                        <p:tgtEl>
                                          <p:spTgt spid="10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8" grpId="0" animBg="1"/>
      <p:bldP spid="99" grpId="0" animBg="1"/>
      <p:bldP spid="100" grpId="0" animBg="1"/>
    </p:bldLst>
  </p:timing>
</p:sld>
</file>

<file path=ppt/slides/slide4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reen"/>
          <p:cNvSpPr/>
          <p:nvPr/>
        </p:nvSpPr>
        <p:spPr bwMode="auto">
          <a:xfrm>
            <a:off x="769761" y="3024735"/>
            <a:ext cx="7603863" cy="1827103"/>
          </a:xfrm>
          <a:prstGeom prst="roundRect">
            <a:avLst>
              <a:gd name="adj" fmla="val 0"/>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lnSpc>
                <a:spcPct val="150000"/>
              </a:lnSpc>
              <a:spcBef>
                <a:spcPct val="0"/>
              </a:spcBef>
              <a:spcAft>
                <a:spcPct val="0"/>
              </a:spcAft>
            </a:pPr>
            <a:r>
              <a:rPr lang="en-US" sz="2100" b="1" dirty="0">
                <a:solidFill>
                  <a:schemeClr val="tx1">
                    <a:alpha val="99000"/>
                  </a:schemeClr>
                </a:solidFill>
                <a:latin typeface="Segoe UI" pitchFamily="34" charset="0"/>
                <a:ea typeface="Segoe UI" pitchFamily="34" charset="0"/>
                <a:cs typeface="Segoe UI" pitchFamily="34" charset="0"/>
              </a:rPr>
              <a:t>Cut Maintenance, Improve Sat.</a:t>
            </a:r>
          </a:p>
          <a:p>
            <a:pPr algn="ctr" defTabSz="685666" fontAlgn="base">
              <a:lnSpc>
                <a:spcPct val="150000"/>
              </a:lnSpc>
              <a:spcBef>
                <a:spcPct val="0"/>
              </a:spcBef>
              <a:spcAft>
                <a:spcPct val="0"/>
              </a:spcAft>
            </a:pPr>
            <a:r>
              <a:rPr lang="en-US" sz="1800" dirty="0">
                <a:solidFill>
                  <a:schemeClr val="tx1">
                    <a:alpha val="99000"/>
                  </a:schemeClr>
                </a:solidFill>
                <a:latin typeface="Segoe UI" pitchFamily="34" charset="0"/>
                <a:ea typeface="Segoe UI" pitchFamily="34" charset="0"/>
                <a:cs typeface="Segoe UI" pitchFamily="34" charset="0"/>
              </a:rPr>
              <a:t>Eliminated planned downtime</a:t>
            </a:r>
          </a:p>
          <a:p>
            <a:pPr algn="ctr" defTabSz="685666" fontAlgn="base">
              <a:lnSpc>
                <a:spcPct val="150000"/>
              </a:lnSpc>
              <a:spcBef>
                <a:spcPct val="0"/>
              </a:spcBef>
              <a:spcAft>
                <a:spcPct val="0"/>
              </a:spcAft>
            </a:pPr>
            <a:r>
              <a:rPr lang="en-US" sz="1800" dirty="0">
                <a:solidFill>
                  <a:schemeClr val="tx1">
                    <a:alpha val="99000"/>
                  </a:schemeClr>
                </a:solidFill>
                <a:latin typeface="Segoe UI" pitchFamily="34" charset="0"/>
                <a:ea typeface="Segoe UI" pitchFamily="34" charset="0"/>
                <a:cs typeface="Segoe UI" pitchFamily="34" charset="0"/>
              </a:rPr>
              <a:t>Meets req. 9s, IT freed up</a:t>
            </a:r>
          </a:p>
          <a:p>
            <a:pPr algn="ctr" defTabSz="685666" fontAlgn="base">
              <a:lnSpc>
                <a:spcPct val="150000"/>
              </a:lnSpc>
              <a:spcBef>
                <a:spcPct val="0"/>
              </a:spcBef>
              <a:spcAft>
                <a:spcPct val="0"/>
              </a:spcAft>
            </a:pPr>
            <a:r>
              <a:rPr lang="en-US" sz="1800" dirty="0">
                <a:solidFill>
                  <a:schemeClr val="tx1">
                    <a:alpha val="99000"/>
                  </a:schemeClr>
                </a:solidFill>
                <a:latin typeface="Segoe UI" pitchFamily="34" charset="0"/>
                <a:ea typeface="Segoe UI" pitchFamily="34" charset="0"/>
                <a:cs typeface="Segoe UI" pitchFamily="34" charset="0"/>
              </a:rPr>
              <a:t>Saved up to $100K over Oracle /yr.</a:t>
            </a:r>
          </a:p>
        </p:txBody>
      </p:sp>
      <p:sp>
        <p:nvSpPr>
          <p:cNvPr id="2" name="Title 1"/>
          <p:cNvSpPr>
            <a:spLocks noGrp="1"/>
          </p:cNvSpPr>
          <p:nvPr>
            <p:ph type="title"/>
          </p:nvPr>
        </p:nvSpPr>
        <p:spPr/>
        <p:txBody>
          <a:bodyPr/>
          <a:lstStyle/>
          <a:p>
            <a:r>
              <a:rPr lang="en-US" dirty="0" err="1"/>
              <a:t>AlwaysOn</a:t>
            </a:r>
            <a:r>
              <a:rPr lang="en-US" dirty="0"/>
              <a:t> &amp; City of Virginia Beach</a:t>
            </a:r>
          </a:p>
        </p:txBody>
      </p:sp>
      <p:sp>
        <p:nvSpPr>
          <p:cNvPr id="8" name="Green"/>
          <p:cNvSpPr/>
          <p:nvPr/>
        </p:nvSpPr>
        <p:spPr bwMode="auto">
          <a:xfrm>
            <a:off x="769761" y="2070509"/>
            <a:ext cx="1840718" cy="1827103"/>
          </a:xfrm>
          <a:prstGeom prst="roundRect">
            <a:avLst>
              <a:gd name="adj" fmla="val 0"/>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a:r>
              <a:rPr lang="en-US" sz="2700" b="1" dirty="0">
                <a:solidFill>
                  <a:srgbClr val="FFFFFF">
                    <a:alpha val="98824"/>
                  </a:srgbClr>
                </a:solidFill>
                <a:latin typeface="Segoe UI" pitchFamily="34" charset="0"/>
                <a:ea typeface="Segoe UI" pitchFamily="34" charset="0"/>
                <a:cs typeface="Segoe UI" pitchFamily="34" charset="0"/>
              </a:rPr>
              <a:t>Inflexible</a:t>
            </a:r>
            <a:br>
              <a:rPr lang="en-US" sz="2700" b="1" dirty="0">
                <a:solidFill>
                  <a:srgbClr val="FFFFFF">
                    <a:alpha val="98824"/>
                  </a:srgbClr>
                </a:solidFill>
                <a:latin typeface="Segoe UI" pitchFamily="34" charset="0"/>
                <a:ea typeface="Segoe UI" pitchFamily="34" charset="0"/>
                <a:cs typeface="Segoe UI" pitchFamily="34" charset="0"/>
              </a:rPr>
            </a:br>
            <a:r>
              <a:rPr lang="en-US" sz="1700" dirty="0">
                <a:solidFill>
                  <a:srgbClr val="FFFFFF">
                    <a:alpha val="98824"/>
                  </a:srgbClr>
                </a:solidFill>
                <a:latin typeface="Segoe UI" pitchFamily="34" charset="0"/>
                <a:ea typeface="Segoe UI" pitchFamily="34" charset="0"/>
                <a:cs typeface="Segoe UI" pitchFamily="34" charset="0"/>
              </a:rPr>
              <a:t>maintenance windows</a:t>
            </a:r>
          </a:p>
        </p:txBody>
      </p:sp>
      <p:sp>
        <p:nvSpPr>
          <p:cNvPr id="9" name="Green"/>
          <p:cNvSpPr/>
          <p:nvPr/>
        </p:nvSpPr>
        <p:spPr bwMode="auto">
          <a:xfrm>
            <a:off x="2690809" y="2070509"/>
            <a:ext cx="1840718" cy="1827103"/>
          </a:xfrm>
          <a:prstGeom prst="roundRect">
            <a:avLst>
              <a:gd name="adj" fmla="val 0"/>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a:r>
              <a:rPr lang="en-US" sz="2700" b="1" dirty="0">
                <a:solidFill>
                  <a:srgbClr val="FFFFFF">
                    <a:alpha val="98824"/>
                  </a:srgbClr>
                </a:solidFill>
                <a:latin typeface="Segoe UI" pitchFamily="34" charset="0"/>
                <a:ea typeface="Segoe UI" pitchFamily="34" charset="0"/>
                <a:cs typeface="Segoe UI" pitchFamily="34" charset="0"/>
              </a:rPr>
              <a:t>&gt;500</a:t>
            </a:r>
          </a:p>
          <a:p>
            <a:pPr algn="ctr" defTabSz="685666"/>
            <a:r>
              <a:rPr lang="en-US" sz="1700" dirty="0">
                <a:solidFill>
                  <a:srgbClr val="FFFFFF">
                    <a:alpha val="98824"/>
                  </a:srgbClr>
                </a:solidFill>
                <a:latin typeface="Segoe UI" pitchFamily="34" charset="0"/>
                <a:ea typeface="Segoe UI" pitchFamily="34" charset="0"/>
                <a:cs typeface="Segoe UI" pitchFamily="34" charset="0"/>
              </a:rPr>
              <a:t>servers to </a:t>
            </a:r>
            <a:r>
              <a:rPr lang="en-US" sz="1700" dirty="0">
                <a:solidFill>
                  <a:srgbClr val="FFFFFF">
                    <a:alpha val="98824"/>
                  </a:srgbClr>
                </a:solidFill>
                <a:latin typeface="Segoe UI" pitchFamily="34" charset="0"/>
                <a:ea typeface="Segoe UI" pitchFamily="34" charset="0"/>
                <a:cs typeface="Segoe UI" pitchFamily="34" charset="0"/>
              </a:rPr>
              <a:t/>
            </a:r>
            <a:br>
              <a:rPr lang="en-US" sz="1700" dirty="0">
                <a:solidFill>
                  <a:srgbClr val="FFFFFF">
                    <a:alpha val="98824"/>
                  </a:srgbClr>
                </a:solidFill>
                <a:latin typeface="Segoe UI" pitchFamily="34" charset="0"/>
                <a:ea typeface="Segoe UI" pitchFamily="34" charset="0"/>
                <a:cs typeface="Segoe UI" pitchFamily="34" charset="0"/>
              </a:rPr>
            </a:br>
            <a:r>
              <a:rPr lang="en-US" sz="1700" dirty="0">
                <a:solidFill>
                  <a:srgbClr val="FFFFFF">
                    <a:alpha val="98824"/>
                  </a:srgbClr>
                </a:solidFill>
                <a:latin typeface="Segoe UI" pitchFamily="34" charset="0"/>
                <a:ea typeface="Segoe UI" pitchFamily="34" charset="0"/>
                <a:cs typeface="Segoe UI" pitchFamily="34" charset="0"/>
              </a:rPr>
              <a:t>support</a:t>
            </a:r>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10" name="Green"/>
          <p:cNvSpPr/>
          <p:nvPr/>
        </p:nvSpPr>
        <p:spPr bwMode="auto">
          <a:xfrm>
            <a:off x="4611857" y="2070509"/>
            <a:ext cx="1840718" cy="1827103"/>
          </a:xfrm>
          <a:prstGeom prst="roundRect">
            <a:avLst>
              <a:gd name="adj" fmla="val 0"/>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a:r>
              <a:rPr lang="en-US" sz="2700" b="1" dirty="0">
                <a:solidFill>
                  <a:srgbClr val="FFFFFF">
                    <a:alpha val="98824"/>
                  </a:srgbClr>
                </a:solidFill>
                <a:latin typeface="Segoe UI" pitchFamily="34" charset="0"/>
                <a:ea typeface="Segoe UI" pitchFamily="34" charset="0"/>
                <a:cs typeface="Segoe UI" pitchFamily="34" charset="0"/>
              </a:rPr>
              <a:t>Difficult </a:t>
            </a:r>
            <a:r>
              <a:rPr lang="en-US" sz="1700" dirty="0">
                <a:solidFill>
                  <a:srgbClr val="FFFFFF">
                    <a:alpha val="98824"/>
                  </a:srgbClr>
                </a:solidFill>
                <a:latin typeface="Segoe UI" pitchFamily="34" charset="0"/>
                <a:ea typeface="Segoe UI" pitchFamily="34" charset="0"/>
                <a:cs typeface="Segoe UI" pitchFamily="34" charset="0"/>
              </a:rPr>
              <a:t>accessing data </a:t>
            </a:r>
            <a:r>
              <a:rPr lang="en-US" sz="1700" dirty="0">
                <a:solidFill>
                  <a:srgbClr val="FFFFFF">
                    <a:alpha val="98824"/>
                  </a:srgbClr>
                </a:solidFill>
                <a:latin typeface="Segoe UI" pitchFamily="34" charset="0"/>
                <a:ea typeface="Segoe UI" pitchFamily="34" charset="0"/>
                <a:cs typeface="Segoe UI" pitchFamily="34" charset="0"/>
              </a:rPr>
              <a:t/>
            </a:r>
            <a:br>
              <a:rPr lang="en-US" sz="1700" dirty="0">
                <a:solidFill>
                  <a:srgbClr val="FFFFFF">
                    <a:alpha val="98824"/>
                  </a:srgbClr>
                </a:solidFill>
                <a:latin typeface="Segoe UI" pitchFamily="34" charset="0"/>
                <a:ea typeface="Segoe UI" pitchFamily="34" charset="0"/>
                <a:cs typeface="Segoe UI" pitchFamily="34" charset="0"/>
              </a:rPr>
            </a:br>
            <a:r>
              <a:rPr lang="en-US" sz="1700" dirty="0">
                <a:solidFill>
                  <a:srgbClr val="FFFFFF">
                    <a:alpha val="98824"/>
                  </a:srgbClr>
                </a:solidFill>
                <a:latin typeface="Segoe UI" pitchFamily="34" charset="0"/>
                <a:ea typeface="Segoe UI" pitchFamily="34" charset="0"/>
                <a:cs typeface="Segoe UI" pitchFamily="34" charset="0"/>
              </a:rPr>
              <a:t>for reporting</a:t>
            </a:r>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11" name="Green"/>
          <p:cNvSpPr/>
          <p:nvPr/>
        </p:nvSpPr>
        <p:spPr bwMode="auto">
          <a:xfrm>
            <a:off x="6532905" y="2070509"/>
            <a:ext cx="1840718" cy="1827103"/>
          </a:xfrm>
          <a:prstGeom prst="roundRect">
            <a:avLst>
              <a:gd name="adj" fmla="val 0"/>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r>
              <a:rPr lang="en-US" sz="2700" b="1" dirty="0">
                <a:solidFill>
                  <a:srgbClr val="FFFFFF">
                    <a:alpha val="99000"/>
                  </a:srgbClr>
                </a:solidFill>
                <a:latin typeface="Segoe UI" pitchFamily="34" charset="0"/>
                <a:ea typeface="Segoe UI" pitchFamily="34" charset="0"/>
                <a:cs typeface="Segoe UI" pitchFamily="34" charset="0"/>
              </a:rPr>
              <a:t>Costly</a:t>
            </a:r>
          </a:p>
          <a:p>
            <a:pPr algn="ctr" defTabSz="685666" fontAlgn="base">
              <a:spcBef>
                <a:spcPct val="0"/>
              </a:spcBef>
              <a:spcAft>
                <a:spcPct val="0"/>
              </a:spcAft>
            </a:pPr>
            <a:r>
              <a:rPr lang="en-US" sz="1700" dirty="0">
                <a:solidFill>
                  <a:srgbClr val="FFFFFF">
                    <a:alpha val="99000"/>
                  </a:srgbClr>
                </a:solidFill>
                <a:latin typeface="Segoe UI" pitchFamily="34" charset="0"/>
                <a:ea typeface="Segoe UI" pitchFamily="34" charset="0"/>
                <a:cs typeface="Segoe UI" pitchFamily="34" charset="0"/>
              </a:rPr>
              <a:t>Oracle RAC not meet req.</a:t>
            </a:r>
          </a:p>
        </p:txBody>
      </p:sp>
      <p:sp>
        <p:nvSpPr>
          <p:cNvPr id="12"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3"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
              </a:rPr>
              <a:t>www.rapidbbs.cn</a:t>
            </a:r>
            <a:endParaRPr lang="zh-CN" altLang="en-US" sz="1200" b="0">
              <a:latin typeface="Arial" charset="0"/>
              <a:ea typeface="ＭＳ Ｐゴシック" pitchFamily="34" charset="-128"/>
            </a:endParaRPr>
          </a:p>
        </p:txBody>
      </p:sp>
      <p:pic>
        <p:nvPicPr>
          <p:cNvPr id="14" name="Picture 2">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82664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750" fill="hold"/>
                                        <p:tgtEl>
                                          <p:spTgt spid="8"/>
                                        </p:tgtEl>
                                        <p:attrNameLst>
                                          <p:attrName>ppt_x</p:attrName>
                                        </p:attrNameLst>
                                      </p:cBhvr>
                                      <p:tavLst>
                                        <p:tav tm="0">
                                          <p:val>
                                            <p:strVal val="1+#ppt_w/2"/>
                                          </p:val>
                                        </p:tav>
                                        <p:tav tm="100000">
                                          <p:val>
                                            <p:strVal val="#ppt_x"/>
                                          </p:val>
                                        </p:tav>
                                      </p:tavLst>
                                    </p:anim>
                                    <p:anim calcmode="lin" valueType="num">
                                      <p:cBhvr additive="base">
                                        <p:cTn id="8" dur="75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750" fill="hold"/>
                                        <p:tgtEl>
                                          <p:spTgt spid="9"/>
                                        </p:tgtEl>
                                        <p:attrNameLst>
                                          <p:attrName>ppt_x</p:attrName>
                                        </p:attrNameLst>
                                      </p:cBhvr>
                                      <p:tavLst>
                                        <p:tav tm="0">
                                          <p:val>
                                            <p:strVal val="1+#ppt_w/2"/>
                                          </p:val>
                                        </p:tav>
                                        <p:tav tm="100000">
                                          <p:val>
                                            <p:strVal val="#ppt_x"/>
                                          </p:val>
                                        </p:tav>
                                      </p:tavLst>
                                    </p:anim>
                                    <p:anim calcmode="lin" valueType="num">
                                      <p:cBhvr additive="base">
                                        <p:cTn id="12" dur="750" fill="hold"/>
                                        <p:tgtEl>
                                          <p:spTgt spid="9"/>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750" fill="hold"/>
                                        <p:tgtEl>
                                          <p:spTgt spid="10"/>
                                        </p:tgtEl>
                                        <p:attrNameLst>
                                          <p:attrName>ppt_x</p:attrName>
                                        </p:attrNameLst>
                                      </p:cBhvr>
                                      <p:tavLst>
                                        <p:tav tm="0">
                                          <p:val>
                                            <p:strVal val="1+#ppt_w/2"/>
                                          </p:val>
                                        </p:tav>
                                        <p:tav tm="100000">
                                          <p:val>
                                            <p:strVal val="#ppt_x"/>
                                          </p:val>
                                        </p:tav>
                                      </p:tavLst>
                                    </p:anim>
                                    <p:anim calcmode="lin" valueType="num">
                                      <p:cBhvr additive="base">
                                        <p:cTn id="16" dur="750" fill="hold"/>
                                        <p:tgtEl>
                                          <p:spTgt spid="10"/>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750"/>
                                  </p:stCondLst>
                                  <p:childTnLst>
                                    <p:set>
                                      <p:cBhvr>
                                        <p:cTn id="18" dur="1" fill="hold">
                                          <p:stCondLst>
                                            <p:cond delay="0"/>
                                          </p:stCondLst>
                                        </p:cTn>
                                        <p:tgtEl>
                                          <p:spTgt spid="11"/>
                                        </p:tgtEl>
                                        <p:attrNameLst>
                                          <p:attrName>style.visibility</p:attrName>
                                        </p:attrNameLst>
                                      </p:cBhvr>
                                      <p:to>
                                        <p:strVal val="visible"/>
                                      </p:to>
                                    </p:set>
                                    <p:anim calcmode="lin" valueType="num">
                                      <p:cBhvr additive="base">
                                        <p:cTn id="19" dur="750" fill="hold"/>
                                        <p:tgtEl>
                                          <p:spTgt spid="11"/>
                                        </p:tgtEl>
                                        <p:attrNameLst>
                                          <p:attrName>ppt_x</p:attrName>
                                        </p:attrNameLst>
                                      </p:cBhvr>
                                      <p:tavLst>
                                        <p:tav tm="0">
                                          <p:val>
                                            <p:strVal val="1+#ppt_w/2"/>
                                          </p:val>
                                        </p:tav>
                                        <p:tav tm="100000">
                                          <p:val>
                                            <p:strVal val="#ppt_x"/>
                                          </p:val>
                                        </p:tav>
                                      </p:tavLst>
                                    </p:anim>
                                    <p:anim calcmode="lin" valueType="num">
                                      <p:cBhvr additive="base">
                                        <p:cTn id="20" dur="750" fill="hold"/>
                                        <p:tgtEl>
                                          <p:spTgt spid="11"/>
                                        </p:tgtEl>
                                        <p:attrNameLst>
                                          <p:attrName>ppt_y</p:attrName>
                                        </p:attrNameLst>
                                      </p:cBhvr>
                                      <p:tavLst>
                                        <p:tav tm="0">
                                          <p:val>
                                            <p:strVal val="#ppt_y"/>
                                          </p:val>
                                        </p:tav>
                                        <p:tav tm="100000">
                                          <p:val>
                                            <p:strVal val="#ppt_y"/>
                                          </p:val>
                                        </p:tav>
                                      </p:tavLst>
                                    </p:anim>
                                  </p:childTnLst>
                                </p:cTn>
                              </p:par>
                            </p:childTnLst>
                          </p:cTn>
                        </p:par>
                        <p:par>
                          <p:cTn id="21" fill="hold">
                            <p:stCondLst>
                              <p:cond delay="1500"/>
                            </p:stCondLst>
                            <p:childTnLst>
                              <p:par>
                                <p:cTn id="22" presetID="64" presetClass="path" presetSubtype="0" accel="50000" decel="50000" fill="hold" grpId="1" nodeType="afterEffect">
                                  <p:stCondLst>
                                    <p:cond delay="1250"/>
                                  </p:stCondLst>
                                  <p:childTnLst>
                                    <p:animMotion origin="layout" path="M 4.375E-6 -4.56059E-6 L 4.375E-6 -0.18062 " pathEditMode="relative" rAng="0" ptsTypes="AA">
                                      <p:cBhvr>
                                        <p:cTn id="23" dur="1250" fill="hold"/>
                                        <p:tgtEl>
                                          <p:spTgt spid="8"/>
                                        </p:tgtEl>
                                        <p:attrNameLst>
                                          <p:attrName>ppt_x</p:attrName>
                                          <p:attrName>ppt_y</p:attrName>
                                        </p:attrNameLst>
                                      </p:cBhvr>
                                      <p:rCtr x="0" y="-9043"/>
                                    </p:animMotion>
                                  </p:childTnLst>
                                </p:cTn>
                              </p:par>
                              <p:par>
                                <p:cTn id="24" presetID="64" presetClass="path" presetSubtype="0" accel="50000" decel="50000" fill="hold" grpId="1" nodeType="withEffect">
                                  <p:stCondLst>
                                    <p:cond delay="1250"/>
                                  </p:stCondLst>
                                  <p:childTnLst>
                                    <p:animMotion origin="layout" path="M -1.66667E-6 -4.56059E-6 L -1.66667E-6 -0.18062 " pathEditMode="relative" rAng="0" ptsTypes="AA">
                                      <p:cBhvr>
                                        <p:cTn id="25" dur="1250" fill="hold"/>
                                        <p:tgtEl>
                                          <p:spTgt spid="9"/>
                                        </p:tgtEl>
                                        <p:attrNameLst>
                                          <p:attrName>ppt_x</p:attrName>
                                          <p:attrName>ppt_y</p:attrName>
                                        </p:attrNameLst>
                                      </p:cBhvr>
                                      <p:rCtr x="0" y="-9043"/>
                                    </p:animMotion>
                                  </p:childTnLst>
                                </p:cTn>
                              </p:par>
                              <p:par>
                                <p:cTn id="26" presetID="64" presetClass="path" presetSubtype="0" accel="50000" decel="50000" fill="hold" grpId="1" nodeType="withEffect">
                                  <p:stCondLst>
                                    <p:cond delay="1250"/>
                                  </p:stCondLst>
                                  <p:childTnLst>
                                    <p:animMotion origin="layout" path="M 2.29167E-6 -4.56059E-6 L 2.29167E-6 -0.18062 " pathEditMode="relative" rAng="0" ptsTypes="AA">
                                      <p:cBhvr>
                                        <p:cTn id="27" dur="1250" fill="hold"/>
                                        <p:tgtEl>
                                          <p:spTgt spid="10"/>
                                        </p:tgtEl>
                                        <p:attrNameLst>
                                          <p:attrName>ppt_x</p:attrName>
                                          <p:attrName>ppt_y</p:attrName>
                                        </p:attrNameLst>
                                      </p:cBhvr>
                                      <p:rCtr x="0" y="-9043"/>
                                    </p:animMotion>
                                  </p:childTnLst>
                                </p:cTn>
                              </p:par>
                              <p:par>
                                <p:cTn id="28" presetID="64" presetClass="path" presetSubtype="0" accel="50000" decel="50000" fill="hold" grpId="1" nodeType="withEffect">
                                  <p:stCondLst>
                                    <p:cond delay="1250"/>
                                  </p:stCondLst>
                                  <p:childTnLst>
                                    <p:animMotion origin="layout" path="M -3.75E-6 -4.56059E-6 L -3.75E-6 -0.18062 " pathEditMode="relative" rAng="0" ptsTypes="AA">
                                      <p:cBhvr>
                                        <p:cTn id="29" dur="1250" fill="hold"/>
                                        <p:tgtEl>
                                          <p:spTgt spid="11"/>
                                        </p:tgtEl>
                                        <p:attrNameLst>
                                          <p:attrName>ppt_x</p:attrName>
                                          <p:attrName>ppt_y</p:attrName>
                                        </p:attrNameLst>
                                      </p:cBhvr>
                                      <p:rCtr x="0" y="-9043"/>
                                    </p:animMotion>
                                  </p:childTnLst>
                                </p:cTn>
                              </p:par>
                            </p:childTnLst>
                          </p:cTn>
                        </p:par>
                        <p:par>
                          <p:cTn id="30" fill="hold">
                            <p:stCondLst>
                              <p:cond delay="4000"/>
                            </p:stCondLst>
                            <p:childTnLst>
                              <p:par>
                                <p:cTn id="31" presetID="2" presetClass="entr" presetSubtype="2" decel="100000" fill="hold" grpId="0" nodeType="afterEffect">
                                  <p:stCondLst>
                                    <p:cond delay="0"/>
                                  </p:stCondLst>
                                  <p:childTnLst>
                                    <p:set>
                                      <p:cBhvr>
                                        <p:cTn id="32" dur="1" fill="hold">
                                          <p:stCondLst>
                                            <p:cond delay="0"/>
                                          </p:stCondLst>
                                        </p:cTn>
                                        <p:tgtEl>
                                          <p:spTgt spid="4"/>
                                        </p:tgtEl>
                                        <p:attrNameLst>
                                          <p:attrName>style.visibility</p:attrName>
                                        </p:attrNameLst>
                                      </p:cBhvr>
                                      <p:to>
                                        <p:strVal val="visible"/>
                                      </p:to>
                                    </p:set>
                                    <p:anim calcmode="lin" valueType="num">
                                      <p:cBhvr additive="base">
                                        <p:cTn id="33" dur="750" fill="hold"/>
                                        <p:tgtEl>
                                          <p:spTgt spid="4"/>
                                        </p:tgtEl>
                                        <p:attrNameLst>
                                          <p:attrName>ppt_x</p:attrName>
                                        </p:attrNameLst>
                                      </p:cBhvr>
                                      <p:tavLst>
                                        <p:tav tm="0">
                                          <p:val>
                                            <p:strVal val="1+#ppt_w/2"/>
                                          </p:val>
                                        </p:tav>
                                        <p:tav tm="100000">
                                          <p:val>
                                            <p:strVal val="#ppt_x"/>
                                          </p:val>
                                        </p:tav>
                                      </p:tavLst>
                                    </p:anim>
                                    <p:anim calcmode="lin" valueType="num">
                                      <p:cBhvr additive="base">
                                        <p:cTn id="34" dur="75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8" grpId="1" animBg="1"/>
      <p:bldP spid="9" grpId="0" animBg="1"/>
      <p:bldP spid="9" grpId="1" animBg="1"/>
      <p:bldP spid="10" grpId="0" animBg="1"/>
      <p:bldP spid="10" grpId="1" animBg="1"/>
      <p:bldP spid="11" grpId="0" animBg="1"/>
      <p:bldP spid="11" grpId="1" animBg="1"/>
    </p:bldLst>
  </p:timing>
</p:sld>
</file>

<file path=ppt/slides/slide4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 name="Rectangle 97"/>
          <p:cNvSpPr/>
          <p:nvPr/>
        </p:nvSpPr>
        <p:spPr bwMode="auto">
          <a:xfrm>
            <a:off x="285824" y="3017520"/>
            <a:ext cx="7870324" cy="453683"/>
          </a:xfrm>
          <a:prstGeom prst="rect">
            <a:avLst/>
          </a:prstGeom>
          <a:solidFill>
            <a:srgbClr val="F6AE1E"/>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6" tIns="34293" rIns="68586" bIns="34293" numCol="1" spcCol="0" rtlCol="0" fromWordArt="0" anchor="ctr" anchorCtr="0" forceAA="0" compatLnSpc="1">
            <a:prstTxWarp prst="textNoShape">
              <a:avLst/>
            </a:prstTxWarp>
            <a:noAutofit/>
          </a:bodyPr>
          <a:lstStyle/>
          <a:p>
            <a:pPr defTabSz="685666" fontAlgn="base">
              <a:spcBef>
                <a:spcPct val="0"/>
              </a:spcBef>
              <a:spcAft>
                <a:spcPct val="0"/>
              </a:spcAft>
            </a:pPr>
            <a:r>
              <a:rPr lang="en-US" sz="2100" dirty="0">
                <a:gradFill>
                  <a:gsLst>
                    <a:gs pos="0">
                      <a:srgbClr val="FFFFFF"/>
                    </a:gs>
                    <a:gs pos="100000">
                      <a:srgbClr val="FFFFFF"/>
                    </a:gs>
                  </a:gsLst>
                  <a:lin ang="5400000" scaled="0"/>
                </a:gradFill>
              </a:rPr>
              <a:t>SSMS Snapshot Backups to Windows </a:t>
            </a:r>
            <a:r>
              <a:rPr lang="en-US" sz="2100" dirty="0">
                <a:gradFill>
                  <a:gsLst>
                    <a:gs pos="0">
                      <a:srgbClr val="FFFFFF"/>
                    </a:gs>
                    <a:gs pos="100000">
                      <a:srgbClr val="FFFFFF"/>
                    </a:gs>
                  </a:gsLst>
                  <a:lin ang="5400000" scaled="0"/>
                </a:gradFill>
              </a:rPr>
              <a:t>Azure</a:t>
            </a:r>
            <a:endParaRPr lang="en-US" sz="2100" dirty="0">
              <a:gradFill>
                <a:gsLst>
                  <a:gs pos="0">
                    <a:srgbClr val="FFFFFF"/>
                  </a:gs>
                  <a:gs pos="100000">
                    <a:srgbClr val="FFFFFF"/>
                  </a:gs>
                </a:gsLst>
                <a:lin ang="5400000" scaled="0"/>
              </a:gradFill>
            </a:endParaRPr>
          </a:p>
        </p:txBody>
      </p:sp>
      <p:sp>
        <p:nvSpPr>
          <p:cNvPr id="100" name="Rectangle 99"/>
          <p:cNvSpPr/>
          <p:nvPr/>
        </p:nvSpPr>
        <p:spPr bwMode="auto">
          <a:xfrm>
            <a:off x="285824" y="3552453"/>
            <a:ext cx="7870324" cy="467390"/>
          </a:xfrm>
          <a:prstGeom prst="rect">
            <a:avLst/>
          </a:prstGeom>
          <a:solidFill>
            <a:srgbClr val="F6AE1E"/>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6" tIns="34293" rIns="68586" bIns="34293" numCol="1" spcCol="0" rtlCol="0" fromWordArt="0" anchor="ctr" anchorCtr="0" forceAA="0" compatLnSpc="1">
            <a:prstTxWarp prst="textNoShape">
              <a:avLst/>
            </a:prstTxWarp>
            <a:noAutofit/>
          </a:bodyPr>
          <a:lstStyle/>
          <a:p>
            <a:pPr defTabSz="685666" fontAlgn="base">
              <a:spcBef>
                <a:spcPct val="0"/>
              </a:spcBef>
              <a:spcAft>
                <a:spcPct val="0"/>
              </a:spcAft>
            </a:pPr>
            <a:r>
              <a:rPr lang="en-US" sz="2100" dirty="0">
                <a:gradFill>
                  <a:gsLst>
                    <a:gs pos="0">
                      <a:srgbClr val="FFFFFF"/>
                    </a:gs>
                    <a:gs pos="100000">
                      <a:srgbClr val="FFFFFF"/>
                    </a:gs>
                  </a:gsLst>
                  <a:lin ang="5400000" scaled="0"/>
                </a:gradFill>
              </a:rPr>
              <a:t>COMING! Support for </a:t>
            </a:r>
            <a:r>
              <a:rPr lang="en-US" sz="2100" dirty="0" err="1">
                <a:gradFill>
                  <a:gsLst>
                    <a:gs pos="0">
                      <a:srgbClr val="FFFFFF"/>
                    </a:gs>
                    <a:gs pos="100000">
                      <a:srgbClr val="FFFFFF"/>
                    </a:gs>
                  </a:gsLst>
                  <a:lin ang="5400000" scaled="0"/>
                </a:gradFill>
              </a:rPr>
              <a:t>Secondaries</a:t>
            </a:r>
            <a:r>
              <a:rPr lang="en-US" sz="2100" dirty="0">
                <a:gradFill>
                  <a:gsLst>
                    <a:gs pos="0">
                      <a:srgbClr val="FFFFFF"/>
                    </a:gs>
                    <a:gs pos="100000">
                      <a:srgbClr val="FFFFFF"/>
                    </a:gs>
                  </a:gsLst>
                  <a:lin ang="5400000" scaled="0"/>
                </a:gradFill>
              </a:rPr>
              <a:t> in Windows Azure</a:t>
            </a:r>
          </a:p>
        </p:txBody>
      </p:sp>
      <p:grpSp>
        <p:nvGrpSpPr>
          <p:cNvPr id="17" name="Group of Crosshairs" hidden="1"/>
          <p:cNvGrpSpPr/>
          <p:nvPr/>
        </p:nvGrpSpPr>
        <p:grpSpPr>
          <a:xfrm>
            <a:off x="696221" y="1839040"/>
            <a:ext cx="18220964" cy="688181"/>
            <a:chOff x="928053" y="4429828"/>
            <a:chExt cx="24288292" cy="917575"/>
          </a:xfrm>
        </p:grpSpPr>
        <p:sp>
          <p:nvSpPr>
            <p:cNvPr id="18" name="Crosshair"/>
            <p:cNvSpPr>
              <a:spLocks/>
            </p:cNvSpPr>
            <p:nvPr/>
          </p:nvSpPr>
          <p:spPr bwMode="auto">
            <a:xfrm>
              <a:off x="928053"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 name="Crosshair"/>
            <p:cNvSpPr>
              <a:spLocks/>
            </p:cNvSpPr>
            <p:nvPr/>
          </p:nvSpPr>
          <p:spPr bwMode="auto">
            <a:xfrm>
              <a:off x="3052664"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 name="Crosshair"/>
            <p:cNvSpPr>
              <a:spLocks/>
            </p:cNvSpPr>
            <p:nvPr/>
          </p:nvSpPr>
          <p:spPr bwMode="auto">
            <a:xfrm>
              <a:off x="5177275"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 name="Crosshair"/>
            <p:cNvSpPr>
              <a:spLocks/>
            </p:cNvSpPr>
            <p:nvPr/>
          </p:nvSpPr>
          <p:spPr bwMode="auto">
            <a:xfrm>
              <a:off x="7301886"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Crosshair"/>
            <p:cNvSpPr>
              <a:spLocks/>
            </p:cNvSpPr>
            <p:nvPr/>
          </p:nvSpPr>
          <p:spPr bwMode="auto">
            <a:xfrm>
              <a:off x="9426497"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3" name="Crosshair"/>
            <p:cNvSpPr>
              <a:spLocks/>
            </p:cNvSpPr>
            <p:nvPr/>
          </p:nvSpPr>
          <p:spPr bwMode="auto">
            <a:xfrm>
              <a:off x="11551108"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4" name="Crosshair"/>
            <p:cNvSpPr>
              <a:spLocks/>
            </p:cNvSpPr>
            <p:nvPr/>
          </p:nvSpPr>
          <p:spPr bwMode="auto">
            <a:xfrm>
              <a:off x="13675719"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Crosshair"/>
            <p:cNvSpPr>
              <a:spLocks/>
            </p:cNvSpPr>
            <p:nvPr/>
          </p:nvSpPr>
          <p:spPr bwMode="auto">
            <a:xfrm>
              <a:off x="15800330"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 name="Crosshair"/>
            <p:cNvSpPr>
              <a:spLocks/>
            </p:cNvSpPr>
            <p:nvPr/>
          </p:nvSpPr>
          <p:spPr bwMode="auto">
            <a:xfrm>
              <a:off x="17924941"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7" name="Crosshair"/>
            <p:cNvSpPr>
              <a:spLocks/>
            </p:cNvSpPr>
            <p:nvPr/>
          </p:nvSpPr>
          <p:spPr bwMode="auto">
            <a:xfrm>
              <a:off x="20049552"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8" name="Crosshair"/>
            <p:cNvSpPr>
              <a:spLocks/>
            </p:cNvSpPr>
            <p:nvPr/>
          </p:nvSpPr>
          <p:spPr bwMode="auto">
            <a:xfrm>
              <a:off x="22174163"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9" name="Crosshair"/>
            <p:cNvSpPr>
              <a:spLocks/>
            </p:cNvSpPr>
            <p:nvPr/>
          </p:nvSpPr>
          <p:spPr bwMode="auto">
            <a:xfrm>
              <a:off x="24298770"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70" name="Title 2"/>
          <p:cNvSpPr>
            <a:spLocks noGrp="1"/>
          </p:cNvSpPr>
          <p:nvPr>
            <p:ph type="title"/>
          </p:nvPr>
        </p:nvSpPr>
        <p:spPr>
          <a:xfrm>
            <a:off x="285825" y="171450"/>
            <a:ext cx="6280916" cy="457049"/>
          </a:xfrm>
        </p:spPr>
        <p:txBody>
          <a:bodyPr/>
          <a:lstStyle/>
          <a:p>
            <a:r>
              <a:rPr lang="en-US" dirty="0"/>
              <a:t>SQL Server 2012</a:t>
            </a:r>
          </a:p>
        </p:txBody>
      </p:sp>
      <p:pic>
        <p:nvPicPr>
          <p:cNvPr id="71" name="Picture 7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05641" y="4672464"/>
            <a:ext cx="1725220" cy="356737"/>
          </a:xfrm>
          <a:prstGeom prst="rect">
            <a:avLst/>
          </a:prstGeom>
        </p:spPr>
      </p:pic>
      <p:grpSp>
        <p:nvGrpSpPr>
          <p:cNvPr id="212" name="Group 211"/>
          <p:cNvGrpSpPr/>
          <p:nvPr/>
        </p:nvGrpSpPr>
        <p:grpSpPr>
          <a:xfrm>
            <a:off x="-2905442" y="1428749"/>
            <a:ext cx="19050903" cy="1508760"/>
            <a:chOff x="381000" y="1904999"/>
            <a:chExt cx="25394589" cy="2011680"/>
          </a:xfrm>
        </p:grpSpPr>
        <p:grpSp>
          <p:nvGrpSpPr>
            <p:cNvPr id="213" name="Group 212"/>
            <p:cNvGrpSpPr/>
            <p:nvPr/>
          </p:nvGrpSpPr>
          <p:grpSpPr>
            <a:xfrm>
              <a:off x="17390076" y="1904999"/>
              <a:ext cx="2011680" cy="2011680"/>
              <a:chOff x="17390076" y="1904999"/>
              <a:chExt cx="2011680" cy="2011680"/>
            </a:xfrm>
          </p:grpSpPr>
          <p:sp>
            <p:nvSpPr>
              <p:cNvPr id="265" name="Rectangle 264"/>
              <p:cNvSpPr/>
              <p:nvPr/>
            </p:nvSpPr>
            <p:spPr bwMode="auto">
              <a:xfrm>
                <a:off x="17390076"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Big Data &amp; Data </a:t>
                </a:r>
                <a:r>
                  <a:rPr lang="en-US" sz="1500" dirty="0">
                    <a:gradFill>
                      <a:gsLst>
                        <a:gs pos="0">
                          <a:srgbClr val="FFFFFF"/>
                        </a:gs>
                        <a:gs pos="100000">
                          <a:srgbClr val="FFFFFF"/>
                        </a:gs>
                      </a:gsLst>
                      <a:lin ang="5400000" scaled="0"/>
                    </a:gradFill>
                  </a:rPr>
                  <a:t>Warehousing</a:t>
                </a:r>
              </a:p>
            </p:txBody>
          </p:sp>
          <p:pic>
            <p:nvPicPr>
              <p:cNvPr id="266" name="Picture 8"/>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7504179" y="2029883"/>
                <a:ext cx="896304" cy="7133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7" name="TextBox 266"/>
              <p:cNvSpPr txBox="1"/>
              <p:nvPr/>
            </p:nvSpPr>
            <p:spPr>
              <a:xfrm>
                <a:off x="19035547" y="1904999"/>
                <a:ext cx="356415" cy="615553"/>
              </a:xfrm>
              <a:prstGeom prst="rect">
                <a:avLst/>
              </a:prstGeom>
              <a:noFill/>
            </p:spPr>
            <p:txBody>
              <a:bodyPr wrap="none" lIns="0" tIns="0" rIns="45720" bIns="0" rtlCol="0">
                <a:spAutoFit/>
              </a:bodyPr>
              <a:lstStyle/>
              <a:p>
                <a:pPr algn="r"/>
                <a:r>
                  <a:rPr lang="en-US" sz="3000" b="1" dirty="0">
                    <a:solidFill>
                      <a:schemeClr val="tx2">
                        <a:lumMod val="75000"/>
                      </a:schemeClr>
                    </a:solidFill>
                  </a:rPr>
                  <a:t>9</a:t>
                </a:r>
                <a:endParaRPr lang="en-US" sz="3000" b="1" dirty="0">
                  <a:solidFill>
                    <a:schemeClr val="tx2">
                      <a:lumMod val="75000"/>
                    </a:schemeClr>
                  </a:solidFill>
                </a:endParaRPr>
              </a:p>
            </p:txBody>
          </p:sp>
        </p:grpSp>
        <p:grpSp>
          <p:nvGrpSpPr>
            <p:cNvPr id="214" name="Group 213"/>
            <p:cNvGrpSpPr/>
            <p:nvPr/>
          </p:nvGrpSpPr>
          <p:grpSpPr>
            <a:xfrm>
              <a:off x="21639298" y="1904999"/>
              <a:ext cx="2011680" cy="2011680"/>
              <a:chOff x="21639298" y="1904999"/>
              <a:chExt cx="2011680" cy="2011680"/>
            </a:xfrm>
          </p:grpSpPr>
          <p:sp>
            <p:nvSpPr>
              <p:cNvPr id="262" name="Rectangle 261"/>
              <p:cNvSpPr/>
              <p:nvPr/>
            </p:nvSpPr>
            <p:spPr bwMode="auto">
              <a:xfrm>
                <a:off x="21639298"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Managed Self-Service BI</a:t>
                </a:r>
                <a:endParaRPr lang="en-US" sz="1500" dirty="0">
                  <a:gradFill>
                    <a:gsLst>
                      <a:gs pos="0">
                        <a:srgbClr val="FFFFFF"/>
                      </a:gs>
                      <a:gs pos="100000">
                        <a:srgbClr val="FFFFFF"/>
                      </a:gs>
                    </a:gsLst>
                    <a:lin ang="5400000" scaled="0"/>
                  </a:gradFill>
                </a:endParaRPr>
              </a:p>
            </p:txBody>
          </p:sp>
          <p:sp>
            <p:nvSpPr>
              <p:cNvPr id="263" name="TextBox 262"/>
              <p:cNvSpPr txBox="1"/>
              <p:nvPr/>
            </p:nvSpPr>
            <p:spPr>
              <a:xfrm>
                <a:off x="22989296" y="1904999"/>
                <a:ext cx="651290" cy="615553"/>
              </a:xfrm>
              <a:prstGeom prst="rect">
                <a:avLst/>
              </a:prstGeom>
              <a:noFill/>
            </p:spPr>
            <p:txBody>
              <a:bodyPr wrap="none" lIns="0" tIns="0" rIns="45720" bIns="0" rtlCol="0">
                <a:spAutoFit/>
              </a:bodyPr>
              <a:lstStyle/>
              <a:p>
                <a:pPr algn="r"/>
                <a:r>
                  <a:rPr lang="en-US" sz="3000" b="1" dirty="0">
                    <a:solidFill>
                      <a:schemeClr val="tx2">
                        <a:lumMod val="75000"/>
                      </a:schemeClr>
                    </a:solidFill>
                  </a:rPr>
                  <a:t>11</a:t>
                </a:r>
                <a:endParaRPr lang="en-US" sz="3000" b="1" dirty="0">
                  <a:solidFill>
                    <a:schemeClr val="tx2">
                      <a:lumMod val="75000"/>
                    </a:schemeClr>
                  </a:solidFill>
                </a:endParaRPr>
              </a:p>
            </p:txBody>
          </p:sp>
          <p:pic>
            <p:nvPicPr>
              <p:cNvPr id="264" name="Picture 17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1718611" y="1981200"/>
                <a:ext cx="832241" cy="833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5" name="Group 214"/>
            <p:cNvGrpSpPr/>
            <p:nvPr/>
          </p:nvGrpSpPr>
          <p:grpSpPr>
            <a:xfrm>
              <a:off x="23763909" y="1904999"/>
              <a:ext cx="2011680" cy="2011680"/>
              <a:chOff x="23763909" y="1904999"/>
              <a:chExt cx="2011680" cy="2011680"/>
            </a:xfrm>
          </p:grpSpPr>
          <p:sp>
            <p:nvSpPr>
              <p:cNvPr id="259" name="Rectangle 258"/>
              <p:cNvSpPr/>
              <p:nvPr/>
            </p:nvSpPr>
            <p:spPr bwMode="auto">
              <a:xfrm>
                <a:off x="23763909"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Rapid Data Exploration</a:t>
                </a:r>
                <a:endParaRPr lang="en-US" sz="1500" dirty="0">
                  <a:gradFill>
                    <a:gsLst>
                      <a:gs pos="0">
                        <a:srgbClr val="FFFFFF"/>
                      </a:gs>
                      <a:gs pos="100000">
                        <a:srgbClr val="FFFFFF"/>
                      </a:gs>
                    </a:gsLst>
                    <a:lin ang="5400000" scaled="0"/>
                  </a:gradFill>
                </a:endParaRPr>
              </a:p>
            </p:txBody>
          </p:sp>
          <p:sp>
            <p:nvSpPr>
              <p:cNvPr id="260" name="TextBox 259"/>
              <p:cNvSpPr txBox="1"/>
              <p:nvPr/>
            </p:nvSpPr>
            <p:spPr>
              <a:xfrm>
                <a:off x="25113907" y="1904999"/>
                <a:ext cx="651290" cy="615553"/>
              </a:xfrm>
              <a:prstGeom prst="rect">
                <a:avLst/>
              </a:prstGeom>
              <a:noFill/>
            </p:spPr>
            <p:txBody>
              <a:bodyPr wrap="none" lIns="0" tIns="0" rIns="45720" bIns="0" rtlCol="0">
                <a:spAutoFit/>
              </a:bodyPr>
              <a:lstStyle/>
              <a:p>
                <a:pPr algn="r"/>
                <a:r>
                  <a:rPr lang="en-US" sz="3000" b="1" dirty="0">
                    <a:solidFill>
                      <a:schemeClr val="tx2">
                        <a:lumMod val="75000"/>
                      </a:schemeClr>
                    </a:solidFill>
                  </a:rPr>
                  <a:t>12</a:t>
                </a:r>
                <a:endParaRPr lang="en-US" sz="3000" b="1" dirty="0">
                  <a:solidFill>
                    <a:schemeClr val="tx2">
                      <a:lumMod val="75000"/>
                    </a:schemeClr>
                  </a:solidFill>
                </a:endParaRPr>
              </a:p>
            </p:txBody>
          </p:sp>
          <p:pic>
            <p:nvPicPr>
              <p:cNvPr id="261" name="Picture 3"/>
              <p:cNvPicPr>
                <a:picLocks noChangeAspect="1" noChangeArrowheads="1"/>
              </p:cNvPicPr>
              <p:nvPr>
                <p:custDataLst>
                  <p:tags r:id="rId3"/>
                </p:custDataLst>
              </p:nvPr>
            </p:nvPicPr>
            <p:blipFill>
              <a:blip r:embed="rId8" cstate="print">
                <a:extLst>
                  <a:ext uri="{28A0092B-C50C-407E-A947-70E740481C1C}">
                    <a14:useLocalDpi xmlns:a14="http://schemas.microsoft.com/office/drawing/2010/main"/>
                  </a:ext>
                </a:extLst>
              </a:blip>
              <a:srcRect/>
              <a:stretch>
                <a:fillRect/>
              </a:stretch>
            </p:blipFill>
            <p:spPr bwMode="auto">
              <a:xfrm>
                <a:off x="23852211" y="1959614"/>
                <a:ext cx="593243" cy="859786"/>
              </a:xfrm>
              <a:prstGeom prst="rect">
                <a:avLst/>
              </a:prstGeom>
              <a:noFill/>
              <a:ln>
                <a:noFill/>
                <a:headEnd type="none" w="med" len="med"/>
                <a:tailEnd type="none" w="med" len="med"/>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6" name="Group 215"/>
            <p:cNvGrpSpPr/>
            <p:nvPr/>
          </p:nvGrpSpPr>
          <p:grpSpPr>
            <a:xfrm>
              <a:off x="4630222" y="1904999"/>
              <a:ext cx="2026976" cy="2011680"/>
              <a:chOff x="4630222" y="1904999"/>
              <a:chExt cx="2026976" cy="2011680"/>
            </a:xfrm>
          </p:grpSpPr>
          <p:sp>
            <p:nvSpPr>
              <p:cNvPr id="256" name="Rectangle 255"/>
              <p:cNvSpPr/>
              <p:nvPr/>
            </p:nvSpPr>
            <p:spPr bwMode="auto">
              <a:xfrm>
                <a:off x="4630222"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Required 9s &amp; Data Protection</a:t>
                </a:r>
                <a:endParaRPr lang="en-US" sz="1500" dirty="0">
                  <a:gradFill>
                    <a:gsLst>
                      <a:gs pos="0">
                        <a:srgbClr val="FFFFFF"/>
                      </a:gs>
                      <a:gs pos="100000">
                        <a:srgbClr val="FFFFFF"/>
                      </a:gs>
                    </a:gsLst>
                    <a:lin ang="5400000" scaled="0"/>
                  </a:gradFill>
                </a:endParaRPr>
              </a:p>
            </p:txBody>
          </p:sp>
          <p:sp>
            <p:nvSpPr>
              <p:cNvPr id="257" name="TextBox 256"/>
              <p:cNvSpPr txBox="1"/>
              <p:nvPr/>
            </p:nvSpPr>
            <p:spPr>
              <a:xfrm>
                <a:off x="6300783"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3</a:t>
                </a:r>
              </a:p>
            </p:txBody>
          </p:sp>
          <p:pic>
            <p:nvPicPr>
              <p:cNvPr id="258" name="Picture 4" descr="\\MAGNUM\Projects\Microsoft\Cloud Power FY12\Design\ICONS_PNG\Check_mark.png"/>
              <p:cNvPicPr>
                <a:picLocks noChangeAspect="1" noChangeArrowheads="1"/>
              </p:cNvPicPr>
              <p:nvPr/>
            </p:nvPicPr>
            <p:blipFill rotWithShape="1">
              <a:blip r:embed="rId9" cstate="print">
                <a:lum bright="100000"/>
              </a:blip>
              <a:srcRect t="11515"/>
              <a:stretch/>
            </p:blipFill>
            <p:spPr bwMode="auto">
              <a:xfrm>
                <a:off x="4669492" y="1927464"/>
                <a:ext cx="1253470" cy="1109124"/>
              </a:xfrm>
              <a:prstGeom prst="rect">
                <a:avLst/>
              </a:prstGeom>
              <a:noFill/>
            </p:spPr>
          </p:pic>
        </p:grpSp>
        <p:grpSp>
          <p:nvGrpSpPr>
            <p:cNvPr id="217" name="Group 216"/>
            <p:cNvGrpSpPr/>
            <p:nvPr/>
          </p:nvGrpSpPr>
          <p:grpSpPr>
            <a:xfrm>
              <a:off x="19514687" y="1904999"/>
              <a:ext cx="2011680" cy="2011680"/>
              <a:chOff x="19514687" y="1904999"/>
              <a:chExt cx="2011680" cy="2011680"/>
            </a:xfrm>
          </p:grpSpPr>
          <p:sp>
            <p:nvSpPr>
              <p:cNvPr id="253" name="Rectangle 252"/>
              <p:cNvSpPr/>
              <p:nvPr/>
            </p:nvSpPr>
            <p:spPr bwMode="auto">
              <a:xfrm>
                <a:off x="19514687"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Credible, Consistent Data</a:t>
                </a:r>
                <a:endParaRPr lang="en-US" sz="1500" dirty="0">
                  <a:gradFill>
                    <a:gsLst>
                      <a:gs pos="0">
                        <a:srgbClr val="FFFFFF"/>
                      </a:gs>
                      <a:gs pos="100000">
                        <a:srgbClr val="FFFFFF"/>
                      </a:gs>
                    </a:gsLst>
                    <a:lin ang="5400000" scaled="0"/>
                  </a:gradFill>
                </a:endParaRPr>
              </a:p>
            </p:txBody>
          </p:sp>
          <p:sp>
            <p:nvSpPr>
              <p:cNvPr id="254" name="TextBox 253"/>
              <p:cNvSpPr txBox="1"/>
              <p:nvPr/>
            </p:nvSpPr>
            <p:spPr>
              <a:xfrm>
                <a:off x="20875077" y="1904999"/>
                <a:ext cx="651290" cy="615553"/>
              </a:xfrm>
              <a:prstGeom prst="rect">
                <a:avLst/>
              </a:prstGeom>
              <a:noFill/>
            </p:spPr>
            <p:txBody>
              <a:bodyPr wrap="none" lIns="0" tIns="0" rIns="45720" bIns="0" rtlCol="0">
                <a:spAutoFit/>
              </a:bodyPr>
              <a:lstStyle/>
              <a:p>
                <a:pPr algn="r"/>
                <a:r>
                  <a:rPr lang="en-US" sz="3000" b="1" dirty="0">
                    <a:solidFill>
                      <a:schemeClr val="tx2">
                        <a:lumMod val="75000"/>
                      </a:schemeClr>
                    </a:solidFill>
                  </a:rPr>
                  <a:t>10</a:t>
                </a:r>
                <a:endParaRPr lang="en-US" sz="3000" b="1" dirty="0">
                  <a:solidFill>
                    <a:schemeClr val="tx2">
                      <a:lumMod val="75000"/>
                    </a:schemeClr>
                  </a:solidFill>
                </a:endParaRPr>
              </a:p>
            </p:txBody>
          </p:sp>
          <p:pic>
            <p:nvPicPr>
              <p:cNvPr id="255" name="Picture 2"/>
              <p:cNvPicPr>
                <a:picLocks noChangeAspect="1" noChangeArrowheads="1"/>
              </p:cNvPicPr>
              <p:nvPr/>
            </p:nvPicPr>
            <p:blipFill>
              <a:blip r:embed="rId10"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9632590" y="2012733"/>
                <a:ext cx="958499" cy="8515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8" name="Group 217"/>
            <p:cNvGrpSpPr/>
            <p:nvPr/>
          </p:nvGrpSpPr>
          <p:grpSpPr>
            <a:xfrm>
              <a:off x="2505611" y="1904999"/>
              <a:ext cx="2022972" cy="2011680"/>
              <a:chOff x="2505611" y="1904999"/>
              <a:chExt cx="2022972" cy="2011680"/>
            </a:xfrm>
          </p:grpSpPr>
          <p:sp>
            <p:nvSpPr>
              <p:cNvPr id="250" name="Rectangle 249"/>
              <p:cNvSpPr/>
              <p:nvPr/>
            </p:nvSpPr>
            <p:spPr bwMode="auto">
              <a:xfrm>
                <a:off x="2505611"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Security &amp; Compliance</a:t>
                </a:r>
                <a:endParaRPr lang="en-US" sz="1500" dirty="0">
                  <a:gradFill>
                    <a:gsLst>
                      <a:gs pos="0">
                        <a:srgbClr val="FFFFFF"/>
                      </a:gs>
                      <a:gs pos="100000">
                        <a:srgbClr val="FFFFFF"/>
                      </a:gs>
                    </a:gsLst>
                    <a:lin ang="5400000" scaled="0"/>
                  </a:gradFill>
                </a:endParaRPr>
              </a:p>
            </p:txBody>
          </p:sp>
          <p:sp>
            <p:nvSpPr>
              <p:cNvPr id="251" name="TextBox 250"/>
              <p:cNvSpPr txBox="1"/>
              <p:nvPr/>
            </p:nvSpPr>
            <p:spPr>
              <a:xfrm>
                <a:off x="4172168"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2</a:t>
                </a:r>
              </a:p>
            </p:txBody>
          </p:sp>
          <p:pic>
            <p:nvPicPr>
              <p:cNvPr id="252" name="Picture 251"/>
              <p:cNvPicPr>
                <a:picLocks noChangeAspect="1"/>
              </p:cNvPicPr>
              <p:nvPr>
                <p:custDataLst>
                  <p:tags r:id="rId2"/>
                </p:custDataLst>
              </p:nvPr>
            </p:nvPicPr>
            <p:blipFill>
              <a:blip r:embed="rId11">
                <a:extLst>
                  <a:ext uri="{28A0092B-C50C-407E-A947-70E740481C1C}">
                    <a14:useLocalDpi xmlns:a14="http://schemas.microsoft.com/office/drawing/2010/main" val="0"/>
                  </a:ext>
                </a:extLst>
              </a:blip>
              <a:stretch>
                <a:fillRect/>
              </a:stretch>
            </p:blipFill>
            <p:spPr>
              <a:xfrm>
                <a:off x="2655779" y="1983751"/>
                <a:ext cx="883759" cy="875588"/>
              </a:xfrm>
              <a:prstGeom prst="rect">
                <a:avLst/>
              </a:prstGeom>
              <a:effectLst/>
            </p:spPr>
          </p:pic>
        </p:grpSp>
        <p:grpSp>
          <p:nvGrpSpPr>
            <p:cNvPr id="219" name="Group 218"/>
            <p:cNvGrpSpPr/>
            <p:nvPr/>
          </p:nvGrpSpPr>
          <p:grpSpPr>
            <a:xfrm>
              <a:off x="381000" y="1904999"/>
              <a:ext cx="2026976" cy="2011680"/>
              <a:chOff x="381000" y="1904999"/>
              <a:chExt cx="2026976" cy="2011680"/>
            </a:xfrm>
          </p:grpSpPr>
          <p:sp>
            <p:nvSpPr>
              <p:cNvPr id="247" name="Rectangle 246"/>
              <p:cNvSpPr/>
              <p:nvPr/>
            </p:nvSpPr>
            <p:spPr bwMode="auto">
              <a:xfrm>
                <a:off x="381000"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Blazing-Fast Performance</a:t>
                </a:r>
              </a:p>
            </p:txBody>
          </p:sp>
          <p:sp>
            <p:nvSpPr>
              <p:cNvPr id="248" name="TextBox 247"/>
              <p:cNvSpPr txBox="1"/>
              <p:nvPr/>
            </p:nvSpPr>
            <p:spPr>
              <a:xfrm>
                <a:off x="2051561"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1</a:t>
                </a:r>
              </a:p>
            </p:txBody>
          </p:sp>
          <p:pic>
            <p:nvPicPr>
              <p:cNvPr id="249" name="Picture 248"/>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06299" y="2057549"/>
                <a:ext cx="880541" cy="880541"/>
              </a:xfrm>
              <a:prstGeom prst="rect">
                <a:avLst/>
              </a:prstGeom>
            </p:spPr>
          </p:pic>
        </p:grpSp>
        <p:grpSp>
          <p:nvGrpSpPr>
            <p:cNvPr id="220" name="Group 219"/>
            <p:cNvGrpSpPr/>
            <p:nvPr/>
          </p:nvGrpSpPr>
          <p:grpSpPr>
            <a:xfrm>
              <a:off x="8879444" y="1904999"/>
              <a:ext cx="2012580" cy="2011680"/>
              <a:chOff x="8879444" y="1904999"/>
              <a:chExt cx="2012580" cy="2011680"/>
            </a:xfrm>
          </p:grpSpPr>
          <p:sp>
            <p:nvSpPr>
              <p:cNvPr id="240" name="Rectangle 239"/>
              <p:cNvSpPr/>
              <p:nvPr/>
            </p:nvSpPr>
            <p:spPr bwMode="auto">
              <a:xfrm>
                <a:off x="8879444"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Scale on Demand</a:t>
                </a:r>
                <a:endParaRPr lang="en-US" sz="1500" dirty="0">
                  <a:gradFill>
                    <a:gsLst>
                      <a:gs pos="0">
                        <a:srgbClr val="FFFFFF"/>
                      </a:gs>
                      <a:gs pos="100000">
                        <a:srgbClr val="FFFFFF"/>
                      </a:gs>
                    </a:gsLst>
                    <a:lin ang="5400000" scaled="0"/>
                  </a:gradFill>
                </a:endParaRPr>
              </a:p>
            </p:txBody>
          </p:sp>
          <p:sp>
            <p:nvSpPr>
              <p:cNvPr id="241" name="TextBox 240"/>
              <p:cNvSpPr txBox="1"/>
              <p:nvPr/>
            </p:nvSpPr>
            <p:spPr>
              <a:xfrm>
                <a:off x="10535609"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5</a:t>
                </a:r>
              </a:p>
            </p:txBody>
          </p:sp>
          <p:grpSp>
            <p:nvGrpSpPr>
              <p:cNvPr id="242" name="Group 241"/>
              <p:cNvGrpSpPr/>
              <p:nvPr/>
            </p:nvGrpSpPr>
            <p:grpSpPr>
              <a:xfrm>
                <a:off x="9098012" y="2146879"/>
                <a:ext cx="958800" cy="671282"/>
                <a:chOff x="7792432" y="3461097"/>
                <a:chExt cx="568902" cy="299861"/>
              </a:xfrm>
            </p:grpSpPr>
            <p:sp>
              <p:nvSpPr>
                <p:cNvPr id="243" name="Freeform 8"/>
                <p:cNvSpPr>
                  <a:spLocks/>
                </p:cNvSpPr>
                <p:nvPr/>
              </p:nvSpPr>
              <p:spPr bwMode="auto">
                <a:xfrm>
                  <a:off x="8055009" y="3461097"/>
                  <a:ext cx="306325" cy="299861"/>
                </a:xfrm>
                <a:custGeom>
                  <a:avLst/>
                  <a:gdLst>
                    <a:gd name="T0" fmla="*/ 100 w 100"/>
                    <a:gd name="T1" fmla="*/ 0 h 98"/>
                    <a:gd name="T2" fmla="*/ 16 w 100"/>
                    <a:gd name="T3" fmla="*/ 13 h 98"/>
                    <a:gd name="T4" fmla="*/ 41 w 100"/>
                    <a:gd name="T5" fmla="*/ 39 h 98"/>
                    <a:gd name="T6" fmla="*/ 41 w 100"/>
                    <a:gd name="T7" fmla="*/ 39 h 98"/>
                    <a:gd name="T8" fmla="*/ 6 w 100"/>
                    <a:gd name="T9" fmla="*/ 75 h 98"/>
                    <a:gd name="T10" fmla="*/ 6 w 100"/>
                    <a:gd name="T11" fmla="*/ 94 h 98"/>
                    <a:gd name="T12" fmla="*/ 16 w 100"/>
                    <a:gd name="T13" fmla="*/ 98 h 98"/>
                    <a:gd name="T14" fmla="*/ 25 w 100"/>
                    <a:gd name="T15" fmla="*/ 94 h 98"/>
                    <a:gd name="T16" fmla="*/ 61 w 100"/>
                    <a:gd name="T17" fmla="*/ 59 h 98"/>
                    <a:gd name="T18" fmla="*/ 61 w 100"/>
                    <a:gd name="T19" fmla="*/ 59 h 98"/>
                    <a:gd name="T20" fmla="*/ 87 w 100"/>
                    <a:gd name="T21" fmla="*/ 84 h 98"/>
                    <a:gd name="T22" fmla="*/ 100 w 100"/>
                    <a:gd name="T23"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98">
                      <a:moveTo>
                        <a:pt x="100" y="0"/>
                      </a:moveTo>
                      <a:cubicBezTo>
                        <a:pt x="16" y="13"/>
                        <a:pt x="16" y="13"/>
                        <a:pt x="16" y="13"/>
                      </a:cubicBezTo>
                      <a:cubicBezTo>
                        <a:pt x="41" y="39"/>
                        <a:pt x="41" y="39"/>
                        <a:pt x="41" y="39"/>
                      </a:cubicBezTo>
                      <a:cubicBezTo>
                        <a:pt x="41" y="39"/>
                        <a:pt x="41" y="39"/>
                        <a:pt x="41" y="39"/>
                      </a:cubicBezTo>
                      <a:cubicBezTo>
                        <a:pt x="6" y="75"/>
                        <a:pt x="6" y="75"/>
                        <a:pt x="6" y="75"/>
                      </a:cubicBezTo>
                      <a:cubicBezTo>
                        <a:pt x="0" y="80"/>
                        <a:pt x="0" y="89"/>
                        <a:pt x="6" y="94"/>
                      </a:cubicBezTo>
                      <a:cubicBezTo>
                        <a:pt x="8" y="97"/>
                        <a:pt x="12" y="98"/>
                        <a:pt x="16" y="98"/>
                      </a:cubicBezTo>
                      <a:cubicBezTo>
                        <a:pt x="19" y="98"/>
                        <a:pt x="23" y="97"/>
                        <a:pt x="25" y="94"/>
                      </a:cubicBezTo>
                      <a:cubicBezTo>
                        <a:pt x="61" y="59"/>
                        <a:pt x="61" y="59"/>
                        <a:pt x="61" y="59"/>
                      </a:cubicBezTo>
                      <a:cubicBezTo>
                        <a:pt x="61" y="59"/>
                        <a:pt x="61" y="59"/>
                        <a:pt x="61" y="59"/>
                      </a:cubicBezTo>
                      <a:cubicBezTo>
                        <a:pt x="87" y="84"/>
                        <a:pt x="87" y="84"/>
                        <a:pt x="87" y="84"/>
                      </a:cubicBezTo>
                      <a:lnTo>
                        <a:pt x="10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Rectangle 9"/>
                <p:cNvSpPr>
                  <a:spLocks noChangeArrowheads="1"/>
                </p:cNvSpPr>
                <p:nvPr/>
              </p:nvSpPr>
              <p:spPr bwMode="auto">
                <a:xfrm>
                  <a:off x="7891463" y="3675653"/>
                  <a:ext cx="212661"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Rectangle 9"/>
                <p:cNvSpPr>
                  <a:spLocks noChangeArrowheads="1"/>
                </p:cNvSpPr>
                <p:nvPr/>
              </p:nvSpPr>
              <p:spPr bwMode="auto">
                <a:xfrm>
                  <a:off x="7792432" y="3675653"/>
                  <a:ext cx="27432"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Rectangle 9"/>
                <p:cNvSpPr>
                  <a:spLocks noChangeArrowheads="1"/>
                </p:cNvSpPr>
                <p:nvPr/>
              </p:nvSpPr>
              <p:spPr bwMode="auto">
                <a:xfrm>
                  <a:off x="7832804" y="3675653"/>
                  <a:ext cx="45719"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21" name="Group 220"/>
            <p:cNvGrpSpPr/>
            <p:nvPr/>
          </p:nvGrpSpPr>
          <p:grpSpPr>
            <a:xfrm>
              <a:off x="6754833" y="1904999"/>
              <a:ext cx="2022972" cy="2011680"/>
              <a:chOff x="6754833" y="1904999"/>
              <a:chExt cx="2022972" cy="2011680"/>
            </a:xfrm>
          </p:grpSpPr>
          <p:sp>
            <p:nvSpPr>
              <p:cNvPr id="234" name="Rectangle 233"/>
              <p:cNvSpPr/>
              <p:nvPr/>
            </p:nvSpPr>
            <p:spPr bwMode="auto">
              <a:xfrm>
                <a:off x="6754833"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Flexibility &amp; Choice</a:t>
                </a:r>
                <a:endParaRPr lang="en-US" sz="1500" dirty="0">
                  <a:gradFill>
                    <a:gsLst>
                      <a:gs pos="0">
                        <a:srgbClr val="FFFFFF"/>
                      </a:gs>
                      <a:gs pos="100000">
                        <a:srgbClr val="FFFFFF"/>
                      </a:gs>
                    </a:gsLst>
                    <a:lin ang="5400000" scaled="0"/>
                  </a:gradFill>
                </a:endParaRPr>
              </a:p>
            </p:txBody>
          </p:sp>
          <p:sp>
            <p:nvSpPr>
              <p:cNvPr id="235" name="TextBox 234"/>
              <p:cNvSpPr txBox="1"/>
              <p:nvPr/>
            </p:nvSpPr>
            <p:spPr>
              <a:xfrm>
                <a:off x="8421390"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4</a:t>
                </a:r>
              </a:p>
            </p:txBody>
          </p:sp>
          <p:grpSp>
            <p:nvGrpSpPr>
              <p:cNvPr id="236" name="Group 235"/>
              <p:cNvGrpSpPr/>
              <p:nvPr>
                <p:custDataLst>
                  <p:tags r:id="rId1"/>
                </p:custDataLst>
              </p:nvPr>
            </p:nvGrpSpPr>
            <p:grpSpPr>
              <a:xfrm>
                <a:off x="6856412" y="1967341"/>
                <a:ext cx="1105890" cy="850820"/>
                <a:chOff x="3127606" y="1031618"/>
                <a:chExt cx="1905261" cy="1465821"/>
              </a:xfrm>
            </p:grpSpPr>
            <p:pic>
              <p:nvPicPr>
                <p:cNvPr id="237" name="Picture 6" descr="\\MAGNUM\Projects\Microsoft\Cloud Power FY12\Design\ICONS_PNG\Cloud.png"/>
                <p:cNvPicPr>
                  <a:picLocks noChangeAspect="1" noChangeArrowheads="1"/>
                </p:cNvPicPr>
                <p:nvPr/>
              </p:nvPicPr>
              <p:blipFill rotWithShape="1">
                <a:blip r:embed="rId13" cstate="print">
                  <a:extLst>
                    <a:ext uri="{BEBA8EAE-BF5A-486C-A8C5-ECC9F3942E4B}">
                      <a14:imgProps xmlns:a14="http://schemas.microsoft.com/office/drawing/2010/main">
                        <a14:imgLayer r:embed="rId14">
                          <a14:imgEffect>
                            <a14:brightnessContrast bright="100000"/>
                          </a14:imgEffect>
                        </a14:imgLayer>
                      </a14:imgProps>
                    </a:ext>
                  </a:extLst>
                </a:blip>
                <a:srcRect t="15452" b="16319"/>
                <a:stretch/>
              </p:blipFill>
              <p:spPr bwMode="auto">
                <a:xfrm>
                  <a:off x="3423223" y="1031618"/>
                  <a:ext cx="1609644" cy="1098248"/>
                </a:xfrm>
                <a:prstGeom prst="rect">
                  <a:avLst/>
                </a:prstGeom>
                <a:noFill/>
              </p:spPr>
            </p:pic>
            <p:pic>
              <p:nvPicPr>
                <p:cNvPr id="238" name="Picture 2" descr="\\MAGNUM\Projects\Microsoft\Cloud Power FY12\Design\Icons\PNGs\Server_2.png"/>
                <p:cNvPicPr>
                  <a:picLocks noChangeAspect="1" noChangeArrowheads="1"/>
                </p:cNvPicPr>
                <p:nvPr/>
              </p:nvPicPr>
              <p:blipFill rotWithShape="1">
                <a:blip r:embed="rId15" cstate="print">
                  <a:lum bright="100000"/>
                  <a:extLst>
                    <a:ext uri="{BEBA8EAE-BF5A-486C-A8C5-ECC9F3942E4B}">
                      <a14:imgProps xmlns:a14="http://schemas.microsoft.com/office/drawing/2010/main">
                        <a14:imgLayer r:embed="rId16">
                          <a14:imgEffect>
                            <a14:colorTemperature colorTemp="1500"/>
                          </a14:imgEffect>
                        </a14:imgLayer>
                      </a14:imgProps>
                    </a:ext>
                  </a:extLst>
                </a:blip>
                <a:srcRect l="27619" t="9540" r="26586" b="9151"/>
                <a:stretch/>
              </p:blipFill>
              <p:spPr bwMode="auto">
                <a:xfrm>
                  <a:off x="3537558" y="1444626"/>
                  <a:ext cx="589660" cy="916080"/>
                </a:xfrm>
                <a:prstGeom prst="rect">
                  <a:avLst/>
                </a:prstGeom>
                <a:noFill/>
                <a:effectLst>
                  <a:outerShdw blurRad="50800" dist="12700" sx="103000" sy="103000" algn="ctr" rotWithShape="0">
                    <a:prstClr val="black">
                      <a:alpha val="40000"/>
                    </a:prstClr>
                  </a:outerShdw>
                </a:effectLst>
              </p:spPr>
            </p:pic>
            <p:pic>
              <p:nvPicPr>
                <p:cNvPr id="239" name="Picture 2" descr="\\MAGNUM\Projects\Microsoft\Cloud Power FY12\Design\Icons\PNGs\Server_2.png"/>
                <p:cNvPicPr>
                  <a:picLocks noChangeAspect="1" noChangeArrowheads="1"/>
                </p:cNvPicPr>
                <p:nvPr/>
              </p:nvPicPr>
              <p:blipFill rotWithShape="1">
                <a:blip r:embed="rId15" cstate="print">
                  <a:lum bright="100000"/>
                  <a:extLst>
                    <a:ext uri="{BEBA8EAE-BF5A-486C-A8C5-ECC9F3942E4B}">
                      <a14:imgProps xmlns:a14="http://schemas.microsoft.com/office/drawing/2010/main">
                        <a14:imgLayer r:embed="rId16">
                          <a14:imgEffect>
                            <a14:colorTemperature colorTemp="1500"/>
                          </a14:imgEffect>
                        </a14:imgLayer>
                      </a14:imgProps>
                    </a:ext>
                  </a:extLst>
                </a:blip>
                <a:srcRect l="27619" t="9540" r="26586" b="9151"/>
                <a:stretch/>
              </p:blipFill>
              <p:spPr bwMode="auto">
                <a:xfrm>
                  <a:off x="3127606" y="1581359"/>
                  <a:ext cx="589659" cy="916080"/>
                </a:xfrm>
                <a:prstGeom prst="rect">
                  <a:avLst/>
                </a:prstGeom>
                <a:noFill/>
                <a:effectLst>
                  <a:outerShdw blurRad="50800" dist="12700" sx="103000" sy="103000" algn="ctr" rotWithShape="0">
                    <a:prstClr val="black">
                      <a:alpha val="40000"/>
                    </a:prstClr>
                  </a:outerShdw>
                </a:effectLst>
              </p:spPr>
            </p:pic>
          </p:grpSp>
        </p:grpSp>
        <p:grpSp>
          <p:nvGrpSpPr>
            <p:cNvPr id="222" name="Group 221"/>
            <p:cNvGrpSpPr/>
            <p:nvPr/>
          </p:nvGrpSpPr>
          <p:grpSpPr>
            <a:xfrm>
              <a:off x="11004055" y="1904999"/>
              <a:ext cx="2012580" cy="2011680"/>
              <a:chOff x="11004055" y="1904999"/>
              <a:chExt cx="2012580" cy="2011680"/>
            </a:xfrm>
          </p:grpSpPr>
          <p:sp>
            <p:nvSpPr>
              <p:cNvPr id="231" name="Rectangle 230"/>
              <p:cNvSpPr/>
              <p:nvPr/>
            </p:nvSpPr>
            <p:spPr bwMode="auto">
              <a:xfrm>
                <a:off x="11004055"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Fast Time to Solution</a:t>
                </a:r>
                <a:endParaRPr lang="en-US" sz="1500" dirty="0">
                  <a:gradFill>
                    <a:gsLst>
                      <a:gs pos="0">
                        <a:srgbClr val="FFFFFF"/>
                      </a:gs>
                      <a:gs pos="100000">
                        <a:srgbClr val="FFFFFF"/>
                      </a:gs>
                    </a:gsLst>
                    <a:lin ang="5400000" scaled="0"/>
                  </a:gradFill>
                </a:endParaRPr>
              </a:p>
            </p:txBody>
          </p:sp>
          <p:sp>
            <p:nvSpPr>
              <p:cNvPr id="232" name="TextBox 231"/>
              <p:cNvSpPr txBox="1"/>
              <p:nvPr/>
            </p:nvSpPr>
            <p:spPr>
              <a:xfrm>
                <a:off x="12660220"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6</a:t>
                </a:r>
              </a:p>
            </p:txBody>
          </p:sp>
          <p:pic>
            <p:nvPicPr>
              <p:cNvPr id="233" name="Picture 3" descr="\\SFP\Work\White_Whale\3-22036_Kuleen_Bharadwaj\PPT\3_PlatformVision_Kuleen\SFP_Art\Plane Slide\mon_notie.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1139211" y="1983751"/>
                <a:ext cx="746401" cy="8755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3" name="Group 222"/>
            <p:cNvGrpSpPr/>
            <p:nvPr/>
          </p:nvGrpSpPr>
          <p:grpSpPr>
            <a:xfrm>
              <a:off x="13128666" y="1904999"/>
              <a:ext cx="2017182" cy="2011680"/>
              <a:chOff x="13128666" y="1904999"/>
              <a:chExt cx="2017182" cy="2011680"/>
            </a:xfrm>
          </p:grpSpPr>
          <p:sp>
            <p:nvSpPr>
              <p:cNvPr id="228" name="Rectangle 227"/>
              <p:cNvSpPr/>
              <p:nvPr/>
            </p:nvSpPr>
            <p:spPr bwMode="auto">
              <a:xfrm>
                <a:off x="13128666"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Extend Any Data, Anywhere</a:t>
                </a:r>
                <a:endParaRPr lang="en-US" sz="1500" dirty="0">
                  <a:gradFill>
                    <a:gsLst>
                      <a:gs pos="0">
                        <a:srgbClr val="FFFFFF"/>
                      </a:gs>
                      <a:gs pos="100000">
                        <a:srgbClr val="FFFFFF"/>
                      </a:gs>
                    </a:gsLst>
                    <a:lin ang="5400000" scaled="0"/>
                  </a:gradFill>
                </a:endParaRPr>
              </a:p>
            </p:txBody>
          </p:sp>
          <p:sp>
            <p:nvSpPr>
              <p:cNvPr id="229" name="TextBox 228"/>
              <p:cNvSpPr txBox="1"/>
              <p:nvPr/>
            </p:nvSpPr>
            <p:spPr>
              <a:xfrm>
                <a:off x="14789433"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7</a:t>
                </a:r>
              </a:p>
            </p:txBody>
          </p:sp>
          <p:pic>
            <p:nvPicPr>
              <p:cNvPr id="230" name="Picture 7" descr="\\MAGNUM\Projects\Microsoft\Cloud Power FY12\Design\ICONS_PNG\Physical_Virtual.png"/>
              <p:cNvPicPr>
                <a:picLocks noChangeAspect="1" noChangeArrowheads="1"/>
              </p:cNvPicPr>
              <p:nvPr/>
            </p:nvPicPr>
            <p:blipFill rotWithShape="1">
              <a:blip r:embed="rId18" cstate="print">
                <a:extLst>
                  <a:ext uri="{BEBA8EAE-BF5A-486C-A8C5-ECC9F3942E4B}">
                    <a14:imgProps xmlns:a14="http://schemas.microsoft.com/office/drawing/2010/main">
                      <a14:imgLayer r:embed="rId19">
                        <a14:imgEffect>
                          <a14:brightnessContrast bright="100000"/>
                        </a14:imgEffect>
                      </a14:imgLayer>
                    </a14:imgProps>
                  </a:ext>
                </a:extLst>
              </a:blip>
              <a:srcRect l="7856" t="39072" r="7907" b="5885"/>
              <a:stretch/>
            </p:blipFill>
            <p:spPr bwMode="auto">
              <a:xfrm>
                <a:off x="13200761" y="1984614"/>
                <a:ext cx="1275651" cy="833547"/>
              </a:xfrm>
              <a:prstGeom prst="rect">
                <a:avLst/>
              </a:prstGeom>
              <a:noFill/>
            </p:spPr>
          </p:pic>
        </p:grpSp>
        <p:grpSp>
          <p:nvGrpSpPr>
            <p:cNvPr id="224" name="Group 223"/>
            <p:cNvGrpSpPr/>
            <p:nvPr/>
          </p:nvGrpSpPr>
          <p:grpSpPr>
            <a:xfrm>
              <a:off x="15257969" y="1904999"/>
              <a:ext cx="2011680" cy="2011680"/>
              <a:chOff x="15257969" y="1904999"/>
              <a:chExt cx="2011680" cy="2011680"/>
            </a:xfrm>
          </p:grpSpPr>
          <p:sp>
            <p:nvSpPr>
              <p:cNvPr id="225" name="Rectangle 224"/>
              <p:cNvSpPr/>
              <p:nvPr/>
            </p:nvSpPr>
            <p:spPr bwMode="auto">
              <a:xfrm>
                <a:off x="15257969"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New Scenarios, Unlocked</a:t>
                </a:r>
                <a:endParaRPr lang="en-US" sz="1500" dirty="0">
                  <a:gradFill>
                    <a:gsLst>
                      <a:gs pos="0">
                        <a:srgbClr val="FFFFFF"/>
                      </a:gs>
                      <a:gs pos="100000">
                        <a:srgbClr val="FFFFFF"/>
                      </a:gs>
                    </a:gsLst>
                    <a:lin ang="5400000" scaled="0"/>
                  </a:gradFill>
                </a:endParaRPr>
              </a:p>
            </p:txBody>
          </p:sp>
          <p:sp>
            <p:nvSpPr>
              <p:cNvPr id="226" name="TextBox 225"/>
              <p:cNvSpPr txBox="1"/>
              <p:nvPr/>
            </p:nvSpPr>
            <p:spPr>
              <a:xfrm>
                <a:off x="16897055" y="1904999"/>
                <a:ext cx="356415" cy="615553"/>
              </a:xfrm>
              <a:prstGeom prst="rect">
                <a:avLst/>
              </a:prstGeom>
              <a:noFill/>
            </p:spPr>
            <p:txBody>
              <a:bodyPr wrap="none" lIns="0" tIns="0" rIns="45720" bIns="0" rtlCol="0">
                <a:spAutoFit/>
              </a:bodyPr>
              <a:lstStyle/>
              <a:p>
                <a:pPr algn="r"/>
                <a:r>
                  <a:rPr lang="en-US" sz="3000" b="1" dirty="0">
                    <a:solidFill>
                      <a:schemeClr val="tx2">
                        <a:lumMod val="75000"/>
                      </a:schemeClr>
                    </a:solidFill>
                  </a:rPr>
                  <a:t>8</a:t>
                </a:r>
                <a:endParaRPr lang="en-US" sz="3000" b="1" dirty="0">
                  <a:solidFill>
                    <a:schemeClr val="tx2">
                      <a:lumMod val="75000"/>
                    </a:schemeClr>
                  </a:solidFill>
                </a:endParaRPr>
              </a:p>
            </p:txBody>
          </p:sp>
          <p:pic>
            <p:nvPicPr>
              <p:cNvPr id="227" name="Picture 2"/>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5431464" y="2043731"/>
                <a:ext cx="640905" cy="775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268" name="Group 267"/>
          <p:cNvGrpSpPr/>
          <p:nvPr/>
        </p:nvGrpSpPr>
        <p:grpSpPr>
          <a:xfrm>
            <a:off x="285824" y="1428749"/>
            <a:ext cx="1520628" cy="1508760"/>
            <a:chOff x="4630222" y="1904999"/>
            <a:chExt cx="2026976" cy="2011680"/>
          </a:xfrm>
        </p:grpSpPr>
        <p:sp>
          <p:nvSpPr>
            <p:cNvPr id="269" name="Rectangle 268"/>
            <p:cNvSpPr/>
            <p:nvPr/>
          </p:nvSpPr>
          <p:spPr bwMode="auto">
            <a:xfrm>
              <a:off x="4630222" y="1904999"/>
              <a:ext cx="2011680" cy="2011680"/>
            </a:xfrm>
            <a:prstGeom prst="rect">
              <a:avLst/>
            </a:prstGeom>
            <a:solidFill>
              <a:schemeClr val="accent3"/>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Required 9s &amp; Data Protection</a:t>
              </a:r>
            </a:p>
          </p:txBody>
        </p:sp>
        <p:sp>
          <p:nvSpPr>
            <p:cNvPr id="270" name="TextBox 269"/>
            <p:cNvSpPr txBox="1"/>
            <p:nvPr/>
          </p:nvSpPr>
          <p:spPr>
            <a:xfrm>
              <a:off x="6300783" y="1904999"/>
              <a:ext cx="356415" cy="615553"/>
            </a:xfrm>
            <a:prstGeom prst="rect">
              <a:avLst/>
            </a:prstGeom>
            <a:noFill/>
          </p:spPr>
          <p:txBody>
            <a:bodyPr wrap="none" lIns="0" tIns="0" rIns="45720" bIns="0" rtlCol="0">
              <a:spAutoFit/>
            </a:bodyPr>
            <a:lstStyle/>
            <a:p>
              <a:r>
                <a:rPr lang="en-US" sz="3000" b="1" dirty="0">
                  <a:solidFill>
                    <a:srgbClr val="FFC000"/>
                  </a:solidFill>
                </a:rPr>
                <a:t>3</a:t>
              </a:r>
            </a:p>
          </p:txBody>
        </p:sp>
        <p:pic>
          <p:nvPicPr>
            <p:cNvPr id="271" name="Picture 4" descr="\\MAGNUM\Projects\Microsoft\Cloud Power FY12\Design\ICONS_PNG\Check_mark.png"/>
            <p:cNvPicPr>
              <a:picLocks noChangeAspect="1" noChangeArrowheads="1"/>
            </p:cNvPicPr>
            <p:nvPr/>
          </p:nvPicPr>
          <p:blipFill rotWithShape="1">
            <a:blip r:embed="rId9" cstate="print">
              <a:lum bright="100000"/>
            </a:blip>
            <a:srcRect t="11515"/>
            <a:stretch/>
          </p:blipFill>
          <p:spPr bwMode="auto">
            <a:xfrm>
              <a:off x="4669492" y="1927464"/>
              <a:ext cx="1253470" cy="1109124"/>
            </a:xfrm>
            <a:prstGeom prst="rect">
              <a:avLst/>
            </a:prstGeom>
            <a:noFill/>
          </p:spPr>
        </p:pic>
      </p:grpSp>
      <p:sp>
        <p:nvSpPr>
          <p:cNvPr id="79"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80"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1"/>
              </a:rPr>
              <a:t>www.rapidbbs.cn</a:t>
            </a:r>
            <a:endParaRPr lang="zh-CN" altLang="en-US" sz="1200" b="0">
              <a:latin typeface="Arial" charset="0"/>
              <a:ea typeface="ＭＳ Ｐゴシック" pitchFamily="34" charset="-128"/>
            </a:endParaRPr>
          </a:p>
        </p:txBody>
      </p:sp>
      <p:pic>
        <p:nvPicPr>
          <p:cNvPr id="81" name="Picture 2">
            <a:hlinkClick r:id="rId21"/>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931594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98"/>
                                        </p:tgtEl>
                                        <p:attrNameLst>
                                          <p:attrName>style.visibility</p:attrName>
                                        </p:attrNameLst>
                                      </p:cBhvr>
                                      <p:to>
                                        <p:strVal val="visible"/>
                                      </p:to>
                                    </p:set>
                                    <p:anim calcmode="lin" valueType="num">
                                      <p:cBhvr additive="base">
                                        <p:cTn id="7" dur="1000" fill="hold"/>
                                        <p:tgtEl>
                                          <p:spTgt spid="98"/>
                                        </p:tgtEl>
                                        <p:attrNameLst>
                                          <p:attrName>ppt_x</p:attrName>
                                        </p:attrNameLst>
                                      </p:cBhvr>
                                      <p:tavLst>
                                        <p:tav tm="0">
                                          <p:val>
                                            <p:strVal val="1+#ppt_w/2"/>
                                          </p:val>
                                        </p:tav>
                                        <p:tav tm="100000">
                                          <p:val>
                                            <p:strVal val="#ppt_x"/>
                                          </p:val>
                                        </p:tav>
                                      </p:tavLst>
                                    </p:anim>
                                    <p:anim calcmode="lin" valueType="num">
                                      <p:cBhvr additive="base">
                                        <p:cTn id="8" dur="1000" fill="hold"/>
                                        <p:tgtEl>
                                          <p:spTgt spid="98"/>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00"/>
                                        </p:tgtEl>
                                        <p:attrNameLst>
                                          <p:attrName>style.visibility</p:attrName>
                                        </p:attrNameLst>
                                      </p:cBhvr>
                                      <p:to>
                                        <p:strVal val="visible"/>
                                      </p:to>
                                    </p:set>
                                    <p:anim calcmode="lin" valueType="num">
                                      <p:cBhvr additive="base">
                                        <p:cTn id="11" dur="1000" fill="hold"/>
                                        <p:tgtEl>
                                          <p:spTgt spid="100"/>
                                        </p:tgtEl>
                                        <p:attrNameLst>
                                          <p:attrName>ppt_x</p:attrName>
                                        </p:attrNameLst>
                                      </p:cBhvr>
                                      <p:tavLst>
                                        <p:tav tm="0">
                                          <p:val>
                                            <p:strVal val="1+#ppt_w/2"/>
                                          </p:val>
                                        </p:tav>
                                        <p:tav tm="100000">
                                          <p:val>
                                            <p:strVal val="#ppt_x"/>
                                          </p:val>
                                        </p:tav>
                                      </p:tavLst>
                                    </p:anim>
                                    <p:anim calcmode="lin" valueType="num">
                                      <p:cBhvr additive="base">
                                        <p:cTn id="12" dur="1000" fill="hold"/>
                                        <p:tgtEl>
                                          <p:spTgt spid="10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8" grpId="0" animBg="1"/>
      <p:bldP spid="100" grpId="0" animBg="1"/>
    </p:bldLst>
  </p:timing>
</p:sld>
</file>

<file path=ppt/slides/slide4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of Crosshairs" hidden="1"/>
          <p:cNvGrpSpPr/>
          <p:nvPr/>
        </p:nvGrpSpPr>
        <p:grpSpPr>
          <a:xfrm>
            <a:off x="696221" y="1839040"/>
            <a:ext cx="18220964" cy="688181"/>
            <a:chOff x="928053" y="4429828"/>
            <a:chExt cx="24288292" cy="917575"/>
          </a:xfrm>
        </p:grpSpPr>
        <p:sp>
          <p:nvSpPr>
            <p:cNvPr id="18" name="Crosshair"/>
            <p:cNvSpPr>
              <a:spLocks/>
            </p:cNvSpPr>
            <p:nvPr/>
          </p:nvSpPr>
          <p:spPr bwMode="auto">
            <a:xfrm>
              <a:off x="928053"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 name="Crosshair"/>
            <p:cNvSpPr>
              <a:spLocks/>
            </p:cNvSpPr>
            <p:nvPr/>
          </p:nvSpPr>
          <p:spPr bwMode="auto">
            <a:xfrm>
              <a:off x="3052664"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 name="Crosshair"/>
            <p:cNvSpPr>
              <a:spLocks/>
            </p:cNvSpPr>
            <p:nvPr/>
          </p:nvSpPr>
          <p:spPr bwMode="auto">
            <a:xfrm>
              <a:off x="5177275"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 name="Crosshair"/>
            <p:cNvSpPr>
              <a:spLocks/>
            </p:cNvSpPr>
            <p:nvPr/>
          </p:nvSpPr>
          <p:spPr bwMode="auto">
            <a:xfrm>
              <a:off x="7301886"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Crosshair"/>
            <p:cNvSpPr>
              <a:spLocks/>
            </p:cNvSpPr>
            <p:nvPr/>
          </p:nvSpPr>
          <p:spPr bwMode="auto">
            <a:xfrm>
              <a:off x="9426497"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3" name="Crosshair"/>
            <p:cNvSpPr>
              <a:spLocks/>
            </p:cNvSpPr>
            <p:nvPr/>
          </p:nvSpPr>
          <p:spPr bwMode="auto">
            <a:xfrm>
              <a:off x="11551108"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4" name="Crosshair"/>
            <p:cNvSpPr>
              <a:spLocks/>
            </p:cNvSpPr>
            <p:nvPr/>
          </p:nvSpPr>
          <p:spPr bwMode="auto">
            <a:xfrm>
              <a:off x="13675719"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Crosshair"/>
            <p:cNvSpPr>
              <a:spLocks/>
            </p:cNvSpPr>
            <p:nvPr/>
          </p:nvSpPr>
          <p:spPr bwMode="auto">
            <a:xfrm>
              <a:off x="15800330"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 name="Crosshair"/>
            <p:cNvSpPr>
              <a:spLocks/>
            </p:cNvSpPr>
            <p:nvPr/>
          </p:nvSpPr>
          <p:spPr bwMode="auto">
            <a:xfrm>
              <a:off x="17924941"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7" name="Crosshair"/>
            <p:cNvSpPr>
              <a:spLocks/>
            </p:cNvSpPr>
            <p:nvPr/>
          </p:nvSpPr>
          <p:spPr bwMode="auto">
            <a:xfrm>
              <a:off x="20049552"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8" name="Crosshair"/>
            <p:cNvSpPr>
              <a:spLocks/>
            </p:cNvSpPr>
            <p:nvPr/>
          </p:nvSpPr>
          <p:spPr bwMode="auto">
            <a:xfrm>
              <a:off x="22174163"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9" name="Crosshair"/>
            <p:cNvSpPr>
              <a:spLocks/>
            </p:cNvSpPr>
            <p:nvPr/>
          </p:nvSpPr>
          <p:spPr bwMode="auto">
            <a:xfrm>
              <a:off x="24298770"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70" name="Title 2"/>
          <p:cNvSpPr>
            <a:spLocks noGrp="1"/>
          </p:cNvSpPr>
          <p:nvPr>
            <p:ph type="title"/>
          </p:nvPr>
        </p:nvSpPr>
        <p:spPr>
          <a:xfrm>
            <a:off x="285825" y="171450"/>
            <a:ext cx="6280916" cy="457049"/>
          </a:xfrm>
        </p:spPr>
        <p:txBody>
          <a:bodyPr/>
          <a:lstStyle/>
          <a:p>
            <a:r>
              <a:rPr lang="en-US" dirty="0"/>
              <a:t>SQL Server 2012</a:t>
            </a:r>
          </a:p>
        </p:txBody>
      </p:sp>
      <p:pic>
        <p:nvPicPr>
          <p:cNvPr id="71" name="Picture 7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05641" y="4672464"/>
            <a:ext cx="1725220" cy="356737"/>
          </a:xfrm>
          <a:prstGeom prst="rect">
            <a:avLst/>
          </a:prstGeom>
        </p:spPr>
      </p:pic>
      <p:sp>
        <p:nvSpPr>
          <p:cNvPr id="98" name="Rectangle 97"/>
          <p:cNvSpPr/>
          <p:nvPr/>
        </p:nvSpPr>
        <p:spPr bwMode="auto">
          <a:xfrm>
            <a:off x="285824" y="3552453"/>
            <a:ext cx="7870324" cy="467390"/>
          </a:xfrm>
          <a:prstGeom prst="rect">
            <a:avLst/>
          </a:prstGeom>
          <a:solidFill>
            <a:srgbClr val="F6AE1E"/>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6" tIns="34293" rIns="68586" bIns="34293" numCol="1" spcCol="0" rtlCol="0" fromWordArt="0" anchor="ctr" anchorCtr="0" forceAA="0" compatLnSpc="1">
            <a:prstTxWarp prst="textNoShape">
              <a:avLst/>
            </a:prstTxWarp>
            <a:noAutofit/>
          </a:bodyPr>
          <a:lstStyle/>
          <a:p>
            <a:pPr defTabSz="685666" fontAlgn="base">
              <a:spcBef>
                <a:spcPct val="0"/>
              </a:spcBef>
              <a:spcAft>
                <a:spcPct val="0"/>
              </a:spcAft>
            </a:pPr>
            <a:r>
              <a:rPr lang="en-US" sz="2100" dirty="0">
                <a:gradFill>
                  <a:gsLst>
                    <a:gs pos="0">
                      <a:srgbClr val="FFFFFF"/>
                    </a:gs>
                    <a:gs pos="100000">
                      <a:srgbClr val="FFFFFF"/>
                    </a:gs>
                  </a:gsLst>
                  <a:lin ang="5400000" scaled="0"/>
                </a:gradFill>
              </a:rPr>
              <a:t>Server, Appliance &amp; Private or Public Cloud</a:t>
            </a:r>
            <a:endParaRPr lang="en-US" sz="2100" dirty="0">
              <a:gradFill>
                <a:gsLst>
                  <a:gs pos="0">
                    <a:srgbClr val="FFFFFF"/>
                  </a:gs>
                  <a:gs pos="100000">
                    <a:srgbClr val="FFFFFF"/>
                  </a:gs>
                </a:gsLst>
                <a:lin ang="5400000" scaled="0"/>
              </a:gradFill>
            </a:endParaRPr>
          </a:p>
        </p:txBody>
      </p:sp>
      <p:sp>
        <p:nvSpPr>
          <p:cNvPr id="99" name="Rectangle 98"/>
          <p:cNvSpPr/>
          <p:nvPr/>
        </p:nvSpPr>
        <p:spPr bwMode="auto">
          <a:xfrm>
            <a:off x="285824" y="3017520"/>
            <a:ext cx="7870324" cy="453683"/>
          </a:xfrm>
          <a:prstGeom prst="rect">
            <a:avLst/>
          </a:prstGeom>
          <a:solidFill>
            <a:srgbClr val="F6AE1E"/>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6" tIns="34293" rIns="68586" bIns="34293" numCol="1" spcCol="0" rtlCol="0" fromWordArt="0" anchor="ctr" anchorCtr="0" forceAA="0" compatLnSpc="1">
            <a:prstTxWarp prst="textNoShape">
              <a:avLst/>
            </a:prstTxWarp>
            <a:noAutofit/>
          </a:bodyPr>
          <a:lstStyle/>
          <a:p>
            <a:pPr defTabSz="685666" fontAlgn="base">
              <a:spcBef>
                <a:spcPct val="0"/>
              </a:spcBef>
              <a:spcAft>
                <a:spcPct val="0"/>
              </a:spcAft>
            </a:pPr>
            <a:r>
              <a:rPr lang="en-US" sz="2100" dirty="0">
                <a:gradFill>
                  <a:gsLst>
                    <a:gs pos="0">
                      <a:srgbClr val="FFFFFF"/>
                    </a:gs>
                    <a:gs pos="100000">
                      <a:srgbClr val="FFFFFF"/>
                    </a:gs>
                  </a:gsLst>
                  <a:lin ang="5400000" scaled="0"/>
                </a:gradFill>
              </a:rPr>
              <a:t>Common Architecture &amp; App Framework</a:t>
            </a:r>
            <a:endParaRPr lang="en-US" sz="2100" dirty="0">
              <a:gradFill>
                <a:gsLst>
                  <a:gs pos="0">
                    <a:srgbClr val="FFFFFF"/>
                  </a:gs>
                  <a:gs pos="100000">
                    <a:srgbClr val="FFFFFF"/>
                  </a:gs>
                </a:gsLst>
                <a:lin ang="5400000" scaled="0"/>
              </a:gradFill>
            </a:endParaRPr>
          </a:p>
        </p:txBody>
      </p:sp>
      <p:grpSp>
        <p:nvGrpSpPr>
          <p:cNvPr id="212" name="Group 211"/>
          <p:cNvGrpSpPr/>
          <p:nvPr/>
        </p:nvGrpSpPr>
        <p:grpSpPr>
          <a:xfrm>
            <a:off x="-2901919" y="1428749"/>
            <a:ext cx="19050903" cy="1508760"/>
            <a:chOff x="381000" y="1904999"/>
            <a:chExt cx="25394589" cy="2011680"/>
          </a:xfrm>
        </p:grpSpPr>
        <p:grpSp>
          <p:nvGrpSpPr>
            <p:cNvPr id="213" name="Group 212"/>
            <p:cNvGrpSpPr/>
            <p:nvPr/>
          </p:nvGrpSpPr>
          <p:grpSpPr>
            <a:xfrm>
              <a:off x="17390076" y="1904999"/>
              <a:ext cx="2011680" cy="2011680"/>
              <a:chOff x="17390076" y="1904999"/>
              <a:chExt cx="2011680" cy="2011680"/>
            </a:xfrm>
          </p:grpSpPr>
          <p:sp>
            <p:nvSpPr>
              <p:cNvPr id="265" name="Rectangle 264"/>
              <p:cNvSpPr/>
              <p:nvPr/>
            </p:nvSpPr>
            <p:spPr bwMode="auto">
              <a:xfrm>
                <a:off x="17390076"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Big Data &amp; Data </a:t>
                </a:r>
                <a:r>
                  <a:rPr lang="en-US" sz="1500" dirty="0">
                    <a:gradFill>
                      <a:gsLst>
                        <a:gs pos="0">
                          <a:srgbClr val="FFFFFF"/>
                        </a:gs>
                        <a:gs pos="100000">
                          <a:srgbClr val="FFFFFF"/>
                        </a:gs>
                      </a:gsLst>
                      <a:lin ang="5400000" scaled="0"/>
                    </a:gradFill>
                  </a:rPr>
                  <a:t>Warehousing</a:t>
                </a:r>
              </a:p>
            </p:txBody>
          </p:sp>
          <p:pic>
            <p:nvPicPr>
              <p:cNvPr id="266" name="Picture 8"/>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7504179" y="2029883"/>
                <a:ext cx="896304" cy="7133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7" name="TextBox 266"/>
              <p:cNvSpPr txBox="1"/>
              <p:nvPr/>
            </p:nvSpPr>
            <p:spPr>
              <a:xfrm>
                <a:off x="19035547" y="1904999"/>
                <a:ext cx="356415" cy="615553"/>
              </a:xfrm>
              <a:prstGeom prst="rect">
                <a:avLst/>
              </a:prstGeom>
              <a:noFill/>
            </p:spPr>
            <p:txBody>
              <a:bodyPr wrap="none" lIns="0" tIns="0" rIns="45720" bIns="0" rtlCol="0">
                <a:spAutoFit/>
              </a:bodyPr>
              <a:lstStyle/>
              <a:p>
                <a:pPr algn="r"/>
                <a:r>
                  <a:rPr lang="en-US" sz="3000" b="1" dirty="0">
                    <a:solidFill>
                      <a:schemeClr val="tx2">
                        <a:lumMod val="75000"/>
                      </a:schemeClr>
                    </a:solidFill>
                  </a:rPr>
                  <a:t>9</a:t>
                </a:r>
                <a:endParaRPr lang="en-US" sz="3000" b="1" dirty="0">
                  <a:solidFill>
                    <a:schemeClr val="tx2">
                      <a:lumMod val="75000"/>
                    </a:schemeClr>
                  </a:solidFill>
                </a:endParaRPr>
              </a:p>
            </p:txBody>
          </p:sp>
        </p:grpSp>
        <p:grpSp>
          <p:nvGrpSpPr>
            <p:cNvPr id="214" name="Group 213"/>
            <p:cNvGrpSpPr/>
            <p:nvPr/>
          </p:nvGrpSpPr>
          <p:grpSpPr>
            <a:xfrm>
              <a:off x="21639298" y="1904999"/>
              <a:ext cx="2011680" cy="2011680"/>
              <a:chOff x="21639298" y="1904999"/>
              <a:chExt cx="2011680" cy="2011680"/>
            </a:xfrm>
          </p:grpSpPr>
          <p:sp>
            <p:nvSpPr>
              <p:cNvPr id="262" name="Rectangle 261"/>
              <p:cNvSpPr/>
              <p:nvPr/>
            </p:nvSpPr>
            <p:spPr bwMode="auto">
              <a:xfrm>
                <a:off x="21639298"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Managed Self-Service BI</a:t>
                </a:r>
                <a:endParaRPr lang="en-US" sz="1500" dirty="0">
                  <a:gradFill>
                    <a:gsLst>
                      <a:gs pos="0">
                        <a:srgbClr val="FFFFFF"/>
                      </a:gs>
                      <a:gs pos="100000">
                        <a:srgbClr val="FFFFFF"/>
                      </a:gs>
                    </a:gsLst>
                    <a:lin ang="5400000" scaled="0"/>
                  </a:gradFill>
                </a:endParaRPr>
              </a:p>
            </p:txBody>
          </p:sp>
          <p:sp>
            <p:nvSpPr>
              <p:cNvPr id="263" name="TextBox 262"/>
              <p:cNvSpPr txBox="1"/>
              <p:nvPr/>
            </p:nvSpPr>
            <p:spPr>
              <a:xfrm>
                <a:off x="22989296" y="1904999"/>
                <a:ext cx="651290" cy="615553"/>
              </a:xfrm>
              <a:prstGeom prst="rect">
                <a:avLst/>
              </a:prstGeom>
              <a:noFill/>
            </p:spPr>
            <p:txBody>
              <a:bodyPr wrap="none" lIns="0" tIns="0" rIns="45720" bIns="0" rtlCol="0">
                <a:spAutoFit/>
              </a:bodyPr>
              <a:lstStyle/>
              <a:p>
                <a:pPr algn="r"/>
                <a:r>
                  <a:rPr lang="en-US" sz="3000" b="1" dirty="0">
                    <a:solidFill>
                      <a:schemeClr val="tx2">
                        <a:lumMod val="75000"/>
                      </a:schemeClr>
                    </a:solidFill>
                  </a:rPr>
                  <a:t>11</a:t>
                </a:r>
                <a:endParaRPr lang="en-US" sz="3000" b="1" dirty="0">
                  <a:solidFill>
                    <a:schemeClr val="tx2">
                      <a:lumMod val="75000"/>
                    </a:schemeClr>
                  </a:solidFill>
                </a:endParaRPr>
              </a:p>
            </p:txBody>
          </p:sp>
          <p:pic>
            <p:nvPicPr>
              <p:cNvPr id="264" name="Picture 174"/>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1718611" y="1981200"/>
                <a:ext cx="832241" cy="833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5" name="Group 214"/>
            <p:cNvGrpSpPr/>
            <p:nvPr/>
          </p:nvGrpSpPr>
          <p:grpSpPr>
            <a:xfrm>
              <a:off x="23763909" y="1904999"/>
              <a:ext cx="2011680" cy="2011680"/>
              <a:chOff x="23763909" y="1904999"/>
              <a:chExt cx="2011680" cy="2011680"/>
            </a:xfrm>
          </p:grpSpPr>
          <p:sp>
            <p:nvSpPr>
              <p:cNvPr id="259" name="Rectangle 258"/>
              <p:cNvSpPr/>
              <p:nvPr/>
            </p:nvSpPr>
            <p:spPr bwMode="auto">
              <a:xfrm>
                <a:off x="23763909"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Rapid Data Exploration</a:t>
                </a:r>
                <a:endParaRPr lang="en-US" sz="1500" dirty="0">
                  <a:gradFill>
                    <a:gsLst>
                      <a:gs pos="0">
                        <a:srgbClr val="FFFFFF"/>
                      </a:gs>
                      <a:gs pos="100000">
                        <a:srgbClr val="FFFFFF"/>
                      </a:gs>
                    </a:gsLst>
                    <a:lin ang="5400000" scaled="0"/>
                  </a:gradFill>
                </a:endParaRPr>
              </a:p>
            </p:txBody>
          </p:sp>
          <p:sp>
            <p:nvSpPr>
              <p:cNvPr id="260" name="TextBox 259"/>
              <p:cNvSpPr txBox="1"/>
              <p:nvPr/>
            </p:nvSpPr>
            <p:spPr>
              <a:xfrm>
                <a:off x="25113907" y="1904999"/>
                <a:ext cx="651290" cy="615553"/>
              </a:xfrm>
              <a:prstGeom prst="rect">
                <a:avLst/>
              </a:prstGeom>
              <a:noFill/>
            </p:spPr>
            <p:txBody>
              <a:bodyPr wrap="none" lIns="0" tIns="0" rIns="45720" bIns="0" rtlCol="0">
                <a:spAutoFit/>
              </a:bodyPr>
              <a:lstStyle/>
              <a:p>
                <a:pPr algn="r"/>
                <a:r>
                  <a:rPr lang="en-US" sz="3000" b="1" dirty="0">
                    <a:solidFill>
                      <a:schemeClr val="tx2">
                        <a:lumMod val="75000"/>
                      </a:schemeClr>
                    </a:solidFill>
                  </a:rPr>
                  <a:t>12</a:t>
                </a:r>
                <a:endParaRPr lang="en-US" sz="3000" b="1" dirty="0">
                  <a:solidFill>
                    <a:schemeClr val="tx2">
                      <a:lumMod val="75000"/>
                    </a:schemeClr>
                  </a:solidFill>
                </a:endParaRPr>
              </a:p>
            </p:txBody>
          </p:sp>
          <p:pic>
            <p:nvPicPr>
              <p:cNvPr id="261" name="Picture 3"/>
              <p:cNvPicPr>
                <a:picLocks noChangeAspect="1" noChangeArrowheads="1"/>
              </p:cNvPicPr>
              <p:nvPr>
                <p:custDataLst>
                  <p:tags r:id="rId4"/>
                </p:custDataLst>
              </p:nvPr>
            </p:nvPicPr>
            <p:blipFill>
              <a:blip r:embed="rId9" cstate="print">
                <a:extLst>
                  <a:ext uri="{28A0092B-C50C-407E-A947-70E740481C1C}">
                    <a14:useLocalDpi xmlns:a14="http://schemas.microsoft.com/office/drawing/2010/main"/>
                  </a:ext>
                </a:extLst>
              </a:blip>
              <a:srcRect/>
              <a:stretch>
                <a:fillRect/>
              </a:stretch>
            </p:blipFill>
            <p:spPr bwMode="auto">
              <a:xfrm>
                <a:off x="23852211" y="1959614"/>
                <a:ext cx="593243" cy="859786"/>
              </a:xfrm>
              <a:prstGeom prst="rect">
                <a:avLst/>
              </a:prstGeom>
              <a:noFill/>
              <a:ln>
                <a:noFill/>
                <a:headEnd type="none" w="med" len="med"/>
                <a:tailEnd type="none" w="med" len="med"/>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6" name="Group 215"/>
            <p:cNvGrpSpPr/>
            <p:nvPr/>
          </p:nvGrpSpPr>
          <p:grpSpPr>
            <a:xfrm>
              <a:off x="4630222" y="1904999"/>
              <a:ext cx="2026976" cy="2011680"/>
              <a:chOff x="4630222" y="1904999"/>
              <a:chExt cx="2026976" cy="2011680"/>
            </a:xfrm>
          </p:grpSpPr>
          <p:sp>
            <p:nvSpPr>
              <p:cNvPr id="256" name="Rectangle 255"/>
              <p:cNvSpPr/>
              <p:nvPr/>
            </p:nvSpPr>
            <p:spPr bwMode="auto">
              <a:xfrm>
                <a:off x="4630222"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Required 9s &amp; Data Protection</a:t>
                </a:r>
                <a:endParaRPr lang="en-US" sz="1500" dirty="0">
                  <a:gradFill>
                    <a:gsLst>
                      <a:gs pos="0">
                        <a:srgbClr val="FFFFFF"/>
                      </a:gs>
                      <a:gs pos="100000">
                        <a:srgbClr val="FFFFFF"/>
                      </a:gs>
                    </a:gsLst>
                    <a:lin ang="5400000" scaled="0"/>
                  </a:gradFill>
                </a:endParaRPr>
              </a:p>
            </p:txBody>
          </p:sp>
          <p:sp>
            <p:nvSpPr>
              <p:cNvPr id="257" name="TextBox 256"/>
              <p:cNvSpPr txBox="1"/>
              <p:nvPr/>
            </p:nvSpPr>
            <p:spPr>
              <a:xfrm>
                <a:off x="6300783"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3</a:t>
                </a:r>
              </a:p>
            </p:txBody>
          </p:sp>
          <p:pic>
            <p:nvPicPr>
              <p:cNvPr id="258" name="Picture 4" descr="\\MAGNUM\Projects\Microsoft\Cloud Power FY12\Design\ICONS_PNG\Check_mark.png"/>
              <p:cNvPicPr>
                <a:picLocks noChangeAspect="1" noChangeArrowheads="1"/>
              </p:cNvPicPr>
              <p:nvPr/>
            </p:nvPicPr>
            <p:blipFill rotWithShape="1">
              <a:blip r:embed="rId10" cstate="print">
                <a:lum bright="100000"/>
              </a:blip>
              <a:srcRect t="11515"/>
              <a:stretch/>
            </p:blipFill>
            <p:spPr bwMode="auto">
              <a:xfrm>
                <a:off x="4669492" y="1927464"/>
                <a:ext cx="1253470" cy="1109124"/>
              </a:xfrm>
              <a:prstGeom prst="rect">
                <a:avLst/>
              </a:prstGeom>
              <a:noFill/>
            </p:spPr>
          </p:pic>
        </p:grpSp>
        <p:grpSp>
          <p:nvGrpSpPr>
            <p:cNvPr id="217" name="Group 216"/>
            <p:cNvGrpSpPr/>
            <p:nvPr/>
          </p:nvGrpSpPr>
          <p:grpSpPr>
            <a:xfrm>
              <a:off x="19514687" y="1904999"/>
              <a:ext cx="2011680" cy="2011680"/>
              <a:chOff x="19514687" y="1904999"/>
              <a:chExt cx="2011680" cy="2011680"/>
            </a:xfrm>
          </p:grpSpPr>
          <p:sp>
            <p:nvSpPr>
              <p:cNvPr id="253" name="Rectangle 252"/>
              <p:cNvSpPr/>
              <p:nvPr/>
            </p:nvSpPr>
            <p:spPr bwMode="auto">
              <a:xfrm>
                <a:off x="19514687"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Credible, Consistent Data</a:t>
                </a:r>
                <a:endParaRPr lang="en-US" sz="1500" dirty="0">
                  <a:gradFill>
                    <a:gsLst>
                      <a:gs pos="0">
                        <a:srgbClr val="FFFFFF"/>
                      </a:gs>
                      <a:gs pos="100000">
                        <a:srgbClr val="FFFFFF"/>
                      </a:gs>
                    </a:gsLst>
                    <a:lin ang="5400000" scaled="0"/>
                  </a:gradFill>
                </a:endParaRPr>
              </a:p>
            </p:txBody>
          </p:sp>
          <p:sp>
            <p:nvSpPr>
              <p:cNvPr id="254" name="TextBox 253"/>
              <p:cNvSpPr txBox="1"/>
              <p:nvPr/>
            </p:nvSpPr>
            <p:spPr>
              <a:xfrm>
                <a:off x="20875077" y="1904999"/>
                <a:ext cx="651290" cy="615553"/>
              </a:xfrm>
              <a:prstGeom prst="rect">
                <a:avLst/>
              </a:prstGeom>
              <a:noFill/>
            </p:spPr>
            <p:txBody>
              <a:bodyPr wrap="none" lIns="0" tIns="0" rIns="45720" bIns="0" rtlCol="0">
                <a:spAutoFit/>
              </a:bodyPr>
              <a:lstStyle/>
              <a:p>
                <a:pPr algn="r"/>
                <a:r>
                  <a:rPr lang="en-US" sz="3000" b="1" dirty="0">
                    <a:solidFill>
                      <a:schemeClr val="tx2">
                        <a:lumMod val="75000"/>
                      </a:schemeClr>
                    </a:solidFill>
                  </a:rPr>
                  <a:t>10</a:t>
                </a:r>
                <a:endParaRPr lang="en-US" sz="3000" b="1" dirty="0">
                  <a:solidFill>
                    <a:schemeClr val="tx2">
                      <a:lumMod val="75000"/>
                    </a:schemeClr>
                  </a:solidFill>
                </a:endParaRPr>
              </a:p>
            </p:txBody>
          </p:sp>
          <p:pic>
            <p:nvPicPr>
              <p:cNvPr id="255" name="Picture 2"/>
              <p:cNvPicPr>
                <a:picLocks noChangeAspect="1" noChangeArrowheads="1"/>
              </p:cNvPicPr>
              <p:nvPr/>
            </p:nvPicPr>
            <p:blipFill>
              <a:blip r:embed="rId11"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9632590" y="2012733"/>
                <a:ext cx="958499" cy="8515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8" name="Group 217"/>
            <p:cNvGrpSpPr/>
            <p:nvPr/>
          </p:nvGrpSpPr>
          <p:grpSpPr>
            <a:xfrm>
              <a:off x="2505611" y="1904999"/>
              <a:ext cx="2022972" cy="2011680"/>
              <a:chOff x="2505611" y="1904999"/>
              <a:chExt cx="2022972" cy="2011680"/>
            </a:xfrm>
          </p:grpSpPr>
          <p:sp>
            <p:nvSpPr>
              <p:cNvPr id="250" name="Rectangle 249"/>
              <p:cNvSpPr/>
              <p:nvPr/>
            </p:nvSpPr>
            <p:spPr bwMode="auto">
              <a:xfrm>
                <a:off x="2505611"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Security &amp; Compliance</a:t>
                </a:r>
                <a:endParaRPr lang="en-US" sz="1500" dirty="0">
                  <a:gradFill>
                    <a:gsLst>
                      <a:gs pos="0">
                        <a:srgbClr val="FFFFFF"/>
                      </a:gs>
                      <a:gs pos="100000">
                        <a:srgbClr val="FFFFFF"/>
                      </a:gs>
                    </a:gsLst>
                    <a:lin ang="5400000" scaled="0"/>
                  </a:gradFill>
                </a:endParaRPr>
              </a:p>
            </p:txBody>
          </p:sp>
          <p:sp>
            <p:nvSpPr>
              <p:cNvPr id="251" name="TextBox 250"/>
              <p:cNvSpPr txBox="1"/>
              <p:nvPr/>
            </p:nvSpPr>
            <p:spPr>
              <a:xfrm>
                <a:off x="4172168"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2</a:t>
                </a:r>
              </a:p>
            </p:txBody>
          </p:sp>
          <p:pic>
            <p:nvPicPr>
              <p:cNvPr id="252" name="Picture 251"/>
              <p:cNvPicPr>
                <a:picLocks noChangeAspect="1"/>
              </p:cNvPicPr>
              <p:nvPr>
                <p:custDataLst>
                  <p:tags r:id="rId3"/>
                </p:custDataLst>
              </p:nvPr>
            </p:nvPicPr>
            <p:blipFill>
              <a:blip r:embed="rId12">
                <a:extLst>
                  <a:ext uri="{28A0092B-C50C-407E-A947-70E740481C1C}">
                    <a14:useLocalDpi xmlns:a14="http://schemas.microsoft.com/office/drawing/2010/main" val="0"/>
                  </a:ext>
                </a:extLst>
              </a:blip>
              <a:stretch>
                <a:fillRect/>
              </a:stretch>
            </p:blipFill>
            <p:spPr>
              <a:xfrm>
                <a:off x="2655779" y="1983751"/>
                <a:ext cx="883759" cy="875588"/>
              </a:xfrm>
              <a:prstGeom prst="rect">
                <a:avLst/>
              </a:prstGeom>
              <a:effectLst/>
            </p:spPr>
          </p:pic>
        </p:grpSp>
        <p:grpSp>
          <p:nvGrpSpPr>
            <p:cNvPr id="219" name="Group 218"/>
            <p:cNvGrpSpPr/>
            <p:nvPr/>
          </p:nvGrpSpPr>
          <p:grpSpPr>
            <a:xfrm>
              <a:off x="381000" y="1904999"/>
              <a:ext cx="2026976" cy="2011680"/>
              <a:chOff x="381000" y="1904999"/>
              <a:chExt cx="2026976" cy="2011680"/>
            </a:xfrm>
          </p:grpSpPr>
          <p:sp>
            <p:nvSpPr>
              <p:cNvPr id="247" name="Rectangle 246"/>
              <p:cNvSpPr/>
              <p:nvPr/>
            </p:nvSpPr>
            <p:spPr bwMode="auto">
              <a:xfrm>
                <a:off x="381000"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Blazing-Fast Performance</a:t>
                </a:r>
              </a:p>
            </p:txBody>
          </p:sp>
          <p:sp>
            <p:nvSpPr>
              <p:cNvPr id="248" name="TextBox 247"/>
              <p:cNvSpPr txBox="1"/>
              <p:nvPr/>
            </p:nvSpPr>
            <p:spPr>
              <a:xfrm>
                <a:off x="2051561"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1</a:t>
                </a:r>
              </a:p>
            </p:txBody>
          </p:sp>
          <p:pic>
            <p:nvPicPr>
              <p:cNvPr id="249" name="Picture 248"/>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506299" y="2057549"/>
                <a:ext cx="880541" cy="880541"/>
              </a:xfrm>
              <a:prstGeom prst="rect">
                <a:avLst/>
              </a:prstGeom>
            </p:spPr>
          </p:pic>
        </p:grpSp>
        <p:grpSp>
          <p:nvGrpSpPr>
            <p:cNvPr id="220" name="Group 219"/>
            <p:cNvGrpSpPr/>
            <p:nvPr/>
          </p:nvGrpSpPr>
          <p:grpSpPr>
            <a:xfrm>
              <a:off x="8879444" y="1904999"/>
              <a:ext cx="2012580" cy="2011680"/>
              <a:chOff x="8879444" y="1904999"/>
              <a:chExt cx="2012580" cy="2011680"/>
            </a:xfrm>
          </p:grpSpPr>
          <p:sp>
            <p:nvSpPr>
              <p:cNvPr id="240" name="Rectangle 239"/>
              <p:cNvSpPr/>
              <p:nvPr/>
            </p:nvSpPr>
            <p:spPr bwMode="auto">
              <a:xfrm>
                <a:off x="8879444"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Scale on Demand</a:t>
                </a:r>
                <a:endParaRPr lang="en-US" sz="1500" dirty="0">
                  <a:gradFill>
                    <a:gsLst>
                      <a:gs pos="0">
                        <a:srgbClr val="FFFFFF"/>
                      </a:gs>
                      <a:gs pos="100000">
                        <a:srgbClr val="FFFFFF"/>
                      </a:gs>
                    </a:gsLst>
                    <a:lin ang="5400000" scaled="0"/>
                  </a:gradFill>
                </a:endParaRPr>
              </a:p>
            </p:txBody>
          </p:sp>
          <p:sp>
            <p:nvSpPr>
              <p:cNvPr id="241" name="TextBox 240"/>
              <p:cNvSpPr txBox="1"/>
              <p:nvPr/>
            </p:nvSpPr>
            <p:spPr>
              <a:xfrm>
                <a:off x="10535609"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5</a:t>
                </a:r>
              </a:p>
            </p:txBody>
          </p:sp>
          <p:grpSp>
            <p:nvGrpSpPr>
              <p:cNvPr id="242" name="Group 241"/>
              <p:cNvGrpSpPr/>
              <p:nvPr/>
            </p:nvGrpSpPr>
            <p:grpSpPr>
              <a:xfrm>
                <a:off x="9098012" y="2146879"/>
                <a:ext cx="958800" cy="671282"/>
                <a:chOff x="7792432" y="3461097"/>
                <a:chExt cx="568902" cy="299861"/>
              </a:xfrm>
            </p:grpSpPr>
            <p:sp>
              <p:nvSpPr>
                <p:cNvPr id="243" name="Freeform 8"/>
                <p:cNvSpPr>
                  <a:spLocks/>
                </p:cNvSpPr>
                <p:nvPr/>
              </p:nvSpPr>
              <p:spPr bwMode="auto">
                <a:xfrm>
                  <a:off x="8055009" y="3461097"/>
                  <a:ext cx="306325" cy="299861"/>
                </a:xfrm>
                <a:custGeom>
                  <a:avLst/>
                  <a:gdLst>
                    <a:gd name="T0" fmla="*/ 100 w 100"/>
                    <a:gd name="T1" fmla="*/ 0 h 98"/>
                    <a:gd name="T2" fmla="*/ 16 w 100"/>
                    <a:gd name="T3" fmla="*/ 13 h 98"/>
                    <a:gd name="T4" fmla="*/ 41 w 100"/>
                    <a:gd name="T5" fmla="*/ 39 h 98"/>
                    <a:gd name="T6" fmla="*/ 41 w 100"/>
                    <a:gd name="T7" fmla="*/ 39 h 98"/>
                    <a:gd name="T8" fmla="*/ 6 w 100"/>
                    <a:gd name="T9" fmla="*/ 75 h 98"/>
                    <a:gd name="T10" fmla="*/ 6 w 100"/>
                    <a:gd name="T11" fmla="*/ 94 h 98"/>
                    <a:gd name="T12" fmla="*/ 16 w 100"/>
                    <a:gd name="T13" fmla="*/ 98 h 98"/>
                    <a:gd name="T14" fmla="*/ 25 w 100"/>
                    <a:gd name="T15" fmla="*/ 94 h 98"/>
                    <a:gd name="T16" fmla="*/ 61 w 100"/>
                    <a:gd name="T17" fmla="*/ 59 h 98"/>
                    <a:gd name="T18" fmla="*/ 61 w 100"/>
                    <a:gd name="T19" fmla="*/ 59 h 98"/>
                    <a:gd name="T20" fmla="*/ 87 w 100"/>
                    <a:gd name="T21" fmla="*/ 84 h 98"/>
                    <a:gd name="T22" fmla="*/ 100 w 100"/>
                    <a:gd name="T23"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98">
                      <a:moveTo>
                        <a:pt x="100" y="0"/>
                      </a:moveTo>
                      <a:cubicBezTo>
                        <a:pt x="16" y="13"/>
                        <a:pt x="16" y="13"/>
                        <a:pt x="16" y="13"/>
                      </a:cubicBezTo>
                      <a:cubicBezTo>
                        <a:pt x="41" y="39"/>
                        <a:pt x="41" y="39"/>
                        <a:pt x="41" y="39"/>
                      </a:cubicBezTo>
                      <a:cubicBezTo>
                        <a:pt x="41" y="39"/>
                        <a:pt x="41" y="39"/>
                        <a:pt x="41" y="39"/>
                      </a:cubicBezTo>
                      <a:cubicBezTo>
                        <a:pt x="6" y="75"/>
                        <a:pt x="6" y="75"/>
                        <a:pt x="6" y="75"/>
                      </a:cubicBezTo>
                      <a:cubicBezTo>
                        <a:pt x="0" y="80"/>
                        <a:pt x="0" y="89"/>
                        <a:pt x="6" y="94"/>
                      </a:cubicBezTo>
                      <a:cubicBezTo>
                        <a:pt x="8" y="97"/>
                        <a:pt x="12" y="98"/>
                        <a:pt x="16" y="98"/>
                      </a:cubicBezTo>
                      <a:cubicBezTo>
                        <a:pt x="19" y="98"/>
                        <a:pt x="23" y="97"/>
                        <a:pt x="25" y="94"/>
                      </a:cubicBezTo>
                      <a:cubicBezTo>
                        <a:pt x="61" y="59"/>
                        <a:pt x="61" y="59"/>
                        <a:pt x="61" y="59"/>
                      </a:cubicBezTo>
                      <a:cubicBezTo>
                        <a:pt x="61" y="59"/>
                        <a:pt x="61" y="59"/>
                        <a:pt x="61" y="59"/>
                      </a:cubicBezTo>
                      <a:cubicBezTo>
                        <a:pt x="87" y="84"/>
                        <a:pt x="87" y="84"/>
                        <a:pt x="87" y="84"/>
                      </a:cubicBezTo>
                      <a:lnTo>
                        <a:pt x="10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Rectangle 9"/>
                <p:cNvSpPr>
                  <a:spLocks noChangeArrowheads="1"/>
                </p:cNvSpPr>
                <p:nvPr/>
              </p:nvSpPr>
              <p:spPr bwMode="auto">
                <a:xfrm>
                  <a:off x="7891463" y="3675653"/>
                  <a:ext cx="212661"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Rectangle 9"/>
                <p:cNvSpPr>
                  <a:spLocks noChangeArrowheads="1"/>
                </p:cNvSpPr>
                <p:nvPr/>
              </p:nvSpPr>
              <p:spPr bwMode="auto">
                <a:xfrm>
                  <a:off x="7792432" y="3675653"/>
                  <a:ext cx="27432"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Rectangle 9"/>
                <p:cNvSpPr>
                  <a:spLocks noChangeArrowheads="1"/>
                </p:cNvSpPr>
                <p:nvPr/>
              </p:nvSpPr>
              <p:spPr bwMode="auto">
                <a:xfrm>
                  <a:off x="7832804" y="3675653"/>
                  <a:ext cx="45719"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21" name="Group 220"/>
            <p:cNvGrpSpPr/>
            <p:nvPr/>
          </p:nvGrpSpPr>
          <p:grpSpPr>
            <a:xfrm>
              <a:off x="6754833" y="1904999"/>
              <a:ext cx="2022972" cy="2011680"/>
              <a:chOff x="6754833" y="1904999"/>
              <a:chExt cx="2022972" cy="2011680"/>
            </a:xfrm>
          </p:grpSpPr>
          <p:sp>
            <p:nvSpPr>
              <p:cNvPr id="234" name="Rectangle 233"/>
              <p:cNvSpPr/>
              <p:nvPr/>
            </p:nvSpPr>
            <p:spPr bwMode="auto">
              <a:xfrm>
                <a:off x="6754833"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Flexibility &amp; Choice</a:t>
                </a:r>
                <a:endParaRPr lang="en-US" sz="1500" dirty="0">
                  <a:gradFill>
                    <a:gsLst>
                      <a:gs pos="0">
                        <a:srgbClr val="FFFFFF"/>
                      </a:gs>
                      <a:gs pos="100000">
                        <a:srgbClr val="FFFFFF"/>
                      </a:gs>
                    </a:gsLst>
                    <a:lin ang="5400000" scaled="0"/>
                  </a:gradFill>
                </a:endParaRPr>
              </a:p>
            </p:txBody>
          </p:sp>
          <p:sp>
            <p:nvSpPr>
              <p:cNvPr id="235" name="TextBox 234"/>
              <p:cNvSpPr txBox="1"/>
              <p:nvPr/>
            </p:nvSpPr>
            <p:spPr>
              <a:xfrm>
                <a:off x="8421390"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4</a:t>
                </a:r>
              </a:p>
            </p:txBody>
          </p:sp>
          <p:grpSp>
            <p:nvGrpSpPr>
              <p:cNvPr id="236" name="Group 235"/>
              <p:cNvGrpSpPr/>
              <p:nvPr>
                <p:custDataLst>
                  <p:tags r:id="rId2"/>
                </p:custDataLst>
              </p:nvPr>
            </p:nvGrpSpPr>
            <p:grpSpPr>
              <a:xfrm>
                <a:off x="6856412" y="1967341"/>
                <a:ext cx="1105890" cy="850820"/>
                <a:chOff x="3127606" y="1031618"/>
                <a:chExt cx="1905261" cy="1465821"/>
              </a:xfrm>
            </p:grpSpPr>
            <p:pic>
              <p:nvPicPr>
                <p:cNvPr id="237" name="Picture 6" descr="\\MAGNUM\Projects\Microsoft\Cloud Power FY12\Design\ICONS_PNG\Cloud.png"/>
                <p:cNvPicPr>
                  <a:picLocks noChangeAspect="1" noChangeArrowheads="1"/>
                </p:cNvPicPr>
                <p:nvPr/>
              </p:nvPicPr>
              <p:blipFill rotWithShape="1">
                <a:blip r:embed="rId14" cstate="print">
                  <a:extLst>
                    <a:ext uri="{BEBA8EAE-BF5A-486C-A8C5-ECC9F3942E4B}">
                      <a14:imgProps xmlns:a14="http://schemas.microsoft.com/office/drawing/2010/main">
                        <a14:imgLayer r:embed="rId15">
                          <a14:imgEffect>
                            <a14:brightnessContrast bright="100000"/>
                          </a14:imgEffect>
                        </a14:imgLayer>
                      </a14:imgProps>
                    </a:ext>
                  </a:extLst>
                </a:blip>
                <a:srcRect t="15452" b="16319"/>
                <a:stretch/>
              </p:blipFill>
              <p:spPr bwMode="auto">
                <a:xfrm>
                  <a:off x="3423223" y="1031618"/>
                  <a:ext cx="1609644" cy="1098248"/>
                </a:xfrm>
                <a:prstGeom prst="rect">
                  <a:avLst/>
                </a:prstGeom>
                <a:noFill/>
              </p:spPr>
            </p:pic>
            <p:pic>
              <p:nvPicPr>
                <p:cNvPr id="238" name="Picture 2" descr="\\MAGNUM\Projects\Microsoft\Cloud Power FY12\Design\Icons\PNGs\Server_2.png"/>
                <p:cNvPicPr>
                  <a:picLocks noChangeAspect="1" noChangeArrowheads="1"/>
                </p:cNvPicPr>
                <p:nvPr/>
              </p:nvPicPr>
              <p:blipFill rotWithShape="1">
                <a:blip r:embed="rId16" cstate="print">
                  <a:lum bright="100000"/>
                  <a:extLst>
                    <a:ext uri="{BEBA8EAE-BF5A-486C-A8C5-ECC9F3942E4B}">
                      <a14:imgProps xmlns:a14="http://schemas.microsoft.com/office/drawing/2010/main">
                        <a14:imgLayer r:embed="rId17">
                          <a14:imgEffect>
                            <a14:colorTemperature colorTemp="1500"/>
                          </a14:imgEffect>
                        </a14:imgLayer>
                      </a14:imgProps>
                    </a:ext>
                  </a:extLst>
                </a:blip>
                <a:srcRect l="27619" t="9540" r="26586" b="9151"/>
                <a:stretch/>
              </p:blipFill>
              <p:spPr bwMode="auto">
                <a:xfrm>
                  <a:off x="3537558" y="1444626"/>
                  <a:ext cx="589660" cy="916080"/>
                </a:xfrm>
                <a:prstGeom prst="rect">
                  <a:avLst/>
                </a:prstGeom>
                <a:noFill/>
                <a:effectLst>
                  <a:outerShdw blurRad="50800" dist="12700" sx="103000" sy="103000" algn="ctr" rotWithShape="0">
                    <a:prstClr val="black">
                      <a:alpha val="40000"/>
                    </a:prstClr>
                  </a:outerShdw>
                </a:effectLst>
              </p:spPr>
            </p:pic>
            <p:pic>
              <p:nvPicPr>
                <p:cNvPr id="239" name="Picture 2" descr="\\MAGNUM\Projects\Microsoft\Cloud Power FY12\Design\Icons\PNGs\Server_2.png"/>
                <p:cNvPicPr>
                  <a:picLocks noChangeAspect="1" noChangeArrowheads="1"/>
                </p:cNvPicPr>
                <p:nvPr/>
              </p:nvPicPr>
              <p:blipFill rotWithShape="1">
                <a:blip r:embed="rId16" cstate="print">
                  <a:lum bright="100000"/>
                  <a:extLst>
                    <a:ext uri="{BEBA8EAE-BF5A-486C-A8C5-ECC9F3942E4B}">
                      <a14:imgProps xmlns:a14="http://schemas.microsoft.com/office/drawing/2010/main">
                        <a14:imgLayer r:embed="rId17">
                          <a14:imgEffect>
                            <a14:colorTemperature colorTemp="1500"/>
                          </a14:imgEffect>
                        </a14:imgLayer>
                      </a14:imgProps>
                    </a:ext>
                  </a:extLst>
                </a:blip>
                <a:srcRect l="27619" t="9540" r="26586" b="9151"/>
                <a:stretch/>
              </p:blipFill>
              <p:spPr bwMode="auto">
                <a:xfrm>
                  <a:off x="3127606" y="1581359"/>
                  <a:ext cx="589659" cy="916080"/>
                </a:xfrm>
                <a:prstGeom prst="rect">
                  <a:avLst/>
                </a:prstGeom>
                <a:noFill/>
                <a:effectLst>
                  <a:outerShdw blurRad="50800" dist="12700" sx="103000" sy="103000" algn="ctr" rotWithShape="0">
                    <a:prstClr val="black">
                      <a:alpha val="40000"/>
                    </a:prstClr>
                  </a:outerShdw>
                </a:effectLst>
              </p:spPr>
            </p:pic>
          </p:grpSp>
        </p:grpSp>
        <p:grpSp>
          <p:nvGrpSpPr>
            <p:cNvPr id="222" name="Group 221"/>
            <p:cNvGrpSpPr/>
            <p:nvPr/>
          </p:nvGrpSpPr>
          <p:grpSpPr>
            <a:xfrm>
              <a:off x="11004055" y="1904999"/>
              <a:ext cx="2012580" cy="2011680"/>
              <a:chOff x="11004055" y="1904999"/>
              <a:chExt cx="2012580" cy="2011680"/>
            </a:xfrm>
          </p:grpSpPr>
          <p:sp>
            <p:nvSpPr>
              <p:cNvPr id="231" name="Rectangle 230"/>
              <p:cNvSpPr/>
              <p:nvPr/>
            </p:nvSpPr>
            <p:spPr bwMode="auto">
              <a:xfrm>
                <a:off x="11004055"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Fast Time to Solution</a:t>
                </a:r>
                <a:endParaRPr lang="en-US" sz="1500" dirty="0">
                  <a:gradFill>
                    <a:gsLst>
                      <a:gs pos="0">
                        <a:srgbClr val="FFFFFF"/>
                      </a:gs>
                      <a:gs pos="100000">
                        <a:srgbClr val="FFFFFF"/>
                      </a:gs>
                    </a:gsLst>
                    <a:lin ang="5400000" scaled="0"/>
                  </a:gradFill>
                </a:endParaRPr>
              </a:p>
            </p:txBody>
          </p:sp>
          <p:sp>
            <p:nvSpPr>
              <p:cNvPr id="232" name="TextBox 231"/>
              <p:cNvSpPr txBox="1"/>
              <p:nvPr/>
            </p:nvSpPr>
            <p:spPr>
              <a:xfrm>
                <a:off x="12660220"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6</a:t>
                </a:r>
              </a:p>
            </p:txBody>
          </p:sp>
          <p:pic>
            <p:nvPicPr>
              <p:cNvPr id="233" name="Picture 3" descr="\\SFP\Work\White_Whale\3-22036_Kuleen_Bharadwaj\PPT\3_PlatformVision_Kuleen\SFP_Art\Plane Slide\mon_notie.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1139211" y="1983751"/>
                <a:ext cx="746401" cy="8755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3" name="Group 222"/>
            <p:cNvGrpSpPr/>
            <p:nvPr/>
          </p:nvGrpSpPr>
          <p:grpSpPr>
            <a:xfrm>
              <a:off x="13128666" y="1904999"/>
              <a:ext cx="2017182" cy="2011680"/>
              <a:chOff x="13128666" y="1904999"/>
              <a:chExt cx="2017182" cy="2011680"/>
            </a:xfrm>
          </p:grpSpPr>
          <p:sp>
            <p:nvSpPr>
              <p:cNvPr id="228" name="Rectangle 227"/>
              <p:cNvSpPr/>
              <p:nvPr/>
            </p:nvSpPr>
            <p:spPr bwMode="auto">
              <a:xfrm>
                <a:off x="13128666"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Extend Any Data, Anywhere</a:t>
                </a:r>
                <a:endParaRPr lang="en-US" sz="1500" dirty="0">
                  <a:gradFill>
                    <a:gsLst>
                      <a:gs pos="0">
                        <a:srgbClr val="FFFFFF"/>
                      </a:gs>
                      <a:gs pos="100000">
                        <a:srgbClr val="FFFFFF"/>
                      </a:gs>
                    </a:gsLst>
                    <a:lin ang="5400000" scaled="0"/>
                  </a:gradFill>
                </a:endParaRPr>
              </a:p>
            </p:txBody>
          </p:sp>
          <p:sp>
            <p:nvSpPr>
              <p:cNvPr id="229" name="TextBox 228"/>
              <p:cNvSpPr txBox="1"/>
              <p:nvPr/>
            </p:nvSpPr>
            <p:spPr>
              <a:xfrm>
                <a:off x="14789433"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7</a:t>
                </a:r>
              </a:p>
            </p:txBody>
          </p:sp>
          <p:pic>
            <p:nvPicPr>
              <p:cNvPr id="230" name="Picture 7" descr="\\MAGNUM\Projects\Microsoft\Cloud Power FY12\Design\ICONS_PNG\Physical_Virtual.png"/>
              <p:cNvPicPr>
                <a:picLocks noChangeAspect="1" noChangeArrowheads="1"/>
              </p:cNvPicPr>
              <p:nvPr/>
            </p:nvPicPr>
            <p:blipFill rotWithShape="1">
              <a:blip r:embed="rId19" cstate="print">
                <a:extLst>
                  <a:ext uri="{BEBA8EAE-BF5A-486C-A8C5-ECC9F3942E4B}">
                    <a14:imgProps xmlns:a14="http://schemas.microsoft.com/office/drawing/2010/main">
                      <a14:imgLayer r:embed="rId20">
                        <a14:imgEffect>
                          <a14:brightnessContrast bright="100000"/>
                        </a14:imgEffect>
                      </a14:imgLayer>
                    </a14:imgProps>
                  </a:ext>
                </a:extLst>
              </a:blip>
              <a:srcRect l="7856" t="39072" r="7907" b="5885"/>
              <a:stretch/>
            </p:blipFill>
            <p:spPr bwMode="auto">
              <a:xfrm>
                <a:off x="13200761" y="1984614"/>
                <a:ext cx="1275651" cy="833547"/>
              </a:xfrm>
              <a:prstGeom prst="rect">
                <a:avLst/>
              </a:prstGeom>
              <a:noFill/>
            </p:spPr>
          </p:pic>
        </p:grpSp>
        <p:grpSp>
          <p:nvGrpSpPr>
            <p:cNvPr id="224" name="Group 223"/>
            <p:cNvGrpSpPr/>
            <p:nvPr/>
          </p:nvGrpSpPr>
          <p:grpSpPr>
            <a:xfrm>
              <a:off x="15243484" y="1904999"/>
              <a:ext cx="2011680" cy="2011680"/>
              <a:chOff x="15243484" y="1904999"/>
              <a:chExt cx="2011680" cy="2011680"/>
            </a:xfrm>
          </p:grpSpPr>
          <p:sp>
            <p:nvSpPr>
              <p:cNvPr id="225" name="Rectangle 224"/>
              <p:cNvSpPr/>
              <p:nvPr/>
            </p:nvSpPr>
            <p:spPr bwMode="auto">
              <a:xfrm>
                <a:off x="15243484"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New Scenarios, Unlocked</a:t>
                </a:r>
                <a:endParaRPr lang="en-US" sz="1500" dirty="0">
                  <a:gradFill>
                    <a:gsLst>
                      <a:gs pos="0">
                        <a:srgbClr val="FFFFFF"/>
                      </a:gs>
                      <a:gs pos="100000">
                        <a:srgbClr val="FFFFFF"/>
                      </a:gs>
                    </a:gsLst>
                    <a:lin ang="5400000" scaled="0"/>
                  </a:gradFill>
                </a:endParaRPr>
              </a:p>
            </p:txBody>
          </p:sp>
          <p:sp>
            <p:nvSpPr>
              <p:cNvPr id="226" name="TextBox 225"/>
              <p:cNvSpPr txBox="1"/>
              <p:nvPr/>
            </p:nvSpPr>
            <p:spPr>
              <a:xfrm>
                <a:off x="16882570" y="1904999"/>
                <a:ext cx="356415" cy="615553"/>
              </a:xfrm>
              <a:prstGeom prst="rect">
                <a:avLst/>
              </a:prstGeom>
              <a:noFill/>
            </p:spPr>
            <p:txBody>
              <a:bodyPr wrap="none" lIns="0" tIns="0" rIns="45720" bIns="0" rtlCol="0">
                <a:spAutoFit/>
              </a:bodyPr>
              <a:lstStyle/>
              <a:p>
                <a:pPr algn="r"/>
                <a:r>
                  <a:rPr lang="en-US" sz="3000" b="1" dirty="0">
                    <a:solidFill>
                      <a:schemeClr val="tx2">
                        <a:lumMod val="75000"/>
                      </a:schemeClr>
                    </a:solidFill>
                  </a:rPr>
                  <a:t>8</a:t>
                </a:r>
                <a:endParaRPr lang="en-US" sz="3000" b="1" dirty="0">
                  <a:solidFill>
                    <a:schemeClr val="tx2">
                      <a:lumMod val="75000"/>
                    </a:schemeClr>
                  </a:solidFill>
                </a:endParaRPr>
              </a:p>
            </p:txBody>
          </p:sp>
          <p:pic>
            <p:nvPicPr>
              <p:cNvPr id="227" name="Picture 2"/>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5416979" y="2043731"/>
                <a:ext cx="640905" cy="775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285" name="Group 284"/>
          <p:cNvGrpSpPr/>
          <p:nvPr/>
        </p:nvGrpSpPr>
        <p:grpSpPr>
          <a:xfrm>
            <a:off x="282304" y="1428749"/>
            <a:ext cx="1517624" cy="1508760"/>
            <a:chOff x="6754833" y="1904999"/>
            <a:chExt cx="2022972" cy="2011680"/>
          </a:xfrm>
        </p:grpSpPr>
        <p:sp>
          <p:nvSpPr>
            <p:cNvPr id="298" name="Rectangle 297"/>
            <p:cNvSpPr/>
            <p:nvPr/>
          </p:nvSpPr>
          <p:spPr bwMode="auto">
            <a:xfrm>
              <a:off x="6754833" y="1904999"/>
              <a:ext cx="2011680" cy="2011680"/>
            </a:xfrm>
            <a:prstGeom prst="rect">
              <a:avLst/>
            </a:prstGeom>
            <a:solidFill>
              <a:schemeClr val="accent3"/>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Flexibility &amp; Choice</a:t>
              </a:r>
            </a:p>
          </p:txBody>
        </p:sp>
        <p:sp>
          <p:nvSpPr>
            <p:cNvPr id="299" name="TextBox 298"/>
            <p:cNvSpPr txBox="1"/>
            <p:nvPr/>
          </p:nvSpPr>
          <p:spPr>
            <a:xfrm>
              <a:off x="8421390" y="1904999"/>
              <a:ext cx="356415" cy="615553"/>
            </a:xfrm>
            <a:prstGeom prst="rect">
              <a:avLst/>
            </a:prstGeom>
            <a:noFill/>
          </p:spPr>
          <p:txBody>
            <a:bodyPr wrap="none" lIns="0" tIns="0" rIns="45720" bIns="0" rtlCol="0">
              <a:spAutoFit/>
            </a:bodyPr>
            <a:lstStyle/>
            <a:p>
              <a:r>
                <a:rPr lang="en-US" sz="3000" b="1" dirty="0">
                  <a:solidFill>
                    <a:srgbClr val="FFC000"/>
                  </a:solidFill>
                </a:rPr>
                <a:t>4</a:t>
              </a:r>
            </a:p>
          </p:txBody>
        </p:sp>
        <p:grpSp>
          <p:nvGrpSpPr>
            <p:cNvPr id="300" name="Group 299"/>
            <p:cNvGrpSpPr/>
            <p:nvPr>
              <p:custDataLst>
                <p:tags r:id="rId1"/>
              </p:custDataLst>
            </p:nvPr>
          </p:nvGrpSpPr>
          <p:grpSpPr>
            <a:xfrm>
              <a:off x="6856412" y="1967341"/>
              <a:ext cx="1105890" cy="850820"/>
              <a:chOff x="3127606" y="1031618"/>
              <a:chExt cx="1905261" cy="1465821"/>
            </a:xfrm>
          </p:grpSpPr>
          <p:pic>
            <p:nvPicPr>
              <p:cNvPr id="301" name="Picture 6" descr="\\MAGNUM\Projects\Microsoft\Cloud Power FY12\Design\ICONS_PNG\Cloud.png"/>
              <p:cNvPicPr>
                <a:picLocks noChangeAspect="1" noChangeArrowheads="1"/>
              </p:cNvPicPr>
              <p:nvPr/>
            </p:nvPicPr>
            <p:blipFill rotWithShape="1">
              <a:blip r:embed="rId14" cstate="print">
                <a:extLst>
                  <a:ext uri="{BEBA8EAE-BF5A-486C-A8C5-ECC9F3942E4B}">
                    <a14:imgProps xmlns:a14="http://schemas.microsoft.com/office/drawing/2010/main">
                      <a14:imgLayer r:embed="rId15">
                        <a14:imgEffect>
                          <a14:brightnessContrast bright="100000"/>
                        </a14:imgEffect>
                      </a14:imgLayer>
                    </a14:imgProps>
                  </a:ext>
                </a:extLst>
              </a:blip>
              <a:srcRect t="15452" b="16319"/>
              <a:stretch/>
            </p:blipFill>
            <p:spPr bwMode="auto">
              <a:xfrm>
                <a:off x="3423223" y="1031618"/>
                <a:ext cx="1609644" cy="1098248"/>
              </a:xfrm>
              <a:prstGeom prst="rect">
                <a:avLst/>
              </a:prstGeom>
              <a:noFill/>
            </p:spPr>
          </p:pic>
          <p:pic>
            <p:nvPicPr>
              <p:cNvPr id="302" name="Picture 2" descr="\\MAGNUM\Projects\Microsoft\Cloud Power FY12\Design\Icons\PNGs\Server_2.png"/>
              <p:cNvPicPr>
                <a:picLocks noChangeAspect="1" noChangeArrowheads="1"/>
              </p:cNvPicPr>
              <p:nvPr/>
            </p:nvPicPr>
            <p:blipFill rotWithShape="1">
              <a:blip r:embed="rId16" cstate="print">
                <a:lum bright="100000"/>
                <a:extLst>
                  <a:ext uri="{BEBA8EAE-BF5A-486C-A8C5-ECC9F3942E4B}">
                    <a14:imgProps xmlns:a14="http://schemas.microsoft.com/office/drawing/2010/main">
                      <a14:imgLayer r:embed="rId17">
                        <a14:imgEffect>
                          <a14:colorTemperature colorTemp="1500"/>
                        </a14:imgEffect>
                      </a14:imgLayer>
                    </a14:imgProps>
                  </a:ext>
                </a:extLst>
              </a:blip>
              <a:srcRect l="27619" t="9540" r="26586" b="9151"/>
              <a:stretch/>
            </p:blipFill>
            <p:spPr bwMode="auto">
              <a:xfrm>
                <a:off x="3537558" y="1444626"/>
                <a:ext cx="589660" cy="916080"/>
              </a:xfrm>
              <a:prstGeom prst="rect">
                <a:avLst/>
              </a:prstGeom>
              <a:noFill/>
              <a:effectLst>
                <a:outerShdw blurRad="50800" dist="12700" sx="103000" sy="103000" algn="ctr" rotWithShape="0">
                  <a:prstClr val="black">
                    <a:alpha val="40000"/>
                  </a:prstClr>
                </a:outerShdw>
              </a:effectLst>
            </p:spPr>
          </p:pic>
          <p:pic>
            <p:nvPicPr>
              <p:cNvPr id="303" name="Picture 2" descr="\\MAGNUM\Projects\Microsoft\Cloud Power FY12\Design\Icons\PNGs\Server_2.png"/>
              <p:cNvPicPr>
                <a:picLocks noChangeAspect="1" noChangeArrowheads="1"/>
              </p:cNvPicPr>
              <p:nvPr/>
            </p:nvPicPr>
            <p:blipFill rotWithShape="1">
              <a:blip r:embed="rId16" cstate="print">
                <a:lum bright="100000"/>
                <a:extLst>
                  <a:ext uri="{BEBA8EAE-BF5A-486C-A8C5-ECC9F3942E4B}">
                    <a14:imgProps xmlns:a14="http://schemas.microsoft.com/office/drawing/2010/main">
                      <a14:imgLayer r:embed="rId17">
                        <a14:imgEffect>
                          <a14:colorTemperature colorTemp="1500"/>
                        </a14:imgEffect>
                      </a14:imgLayer>
                    </a14:imgProps>
                  </a:ext>
                </a:extLst>
              </a:blip>
              <a:srcRect l="27619" t="9540" r="26586" b="9151"/>
              <a:stretch/>
            </p:blipFill>
            <p:spPr bwMode="auto">
              <a:xfrm>
                <a:off x="3127606" y="1581359"/>
                <a:ext cx="589659" cy="916080"/>
              </a:xfrm>
              <a:prstGeom prst="rect">
                <a:avLst/>
              </a:prstGeom>
              <a:noFill/>
              <a:effectLst>
                <a:outerShdw blurRad="50800" dist="12700" sx="103000" sy="103000" algn="ctr" rotWithShape="0">
                  <a:prstClr val="black">
                    <a:alpha val="40000"/>
                  </a:prstClr>
                </a:outerShdw>
              </a:effectLst>
            </p:spPr>
          </p:pic>
        </p:grpSp>
      </p:grpSp>
      <p:pic>
        <p:nvPicPr>
          <p:cNvPr id="82" name="Picture 2">
            <a:hlinkClick r:id="rId22"/>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0997947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decel="100000" fill="hold" nodeType="withEffect">
                                  <p:stCondLst>
                                    <p:cond delay="0"/>
                                  </p:stCondLst>
                                  <p:childTnLst>
                                    <p:animMotion origin="layout" path="M -4.38322E-6 4.44444E-6 L -0.17441 4.44444E-6 " pathEditMode="relative" rAng="0" ptsTypes="AA">
                                      <p:cBhvr>
                                        <p:cTn id="6" dur="1000" fill="hold"/>
                                        <p:tgtEl>
                                          <p:spTgt spid="212"/>
                                        </p:tgtEl>
                                        <p:attrNameLst>
                                          <p:attrName>ppt_x</p:attrName>
                                          <p:attrName>ppt_y</p:attrName>
                                        </p:attrNameLst>
                                      </p:cBhvr>
                                      <p:rCtr x="-8727" y="0"/>
                                    </p:animMotion>
                                  </p:childTnLst>
                                </p:cTn>
                              </p:par>
                            </p:childTnLst>
                          </p:cTn>
                        </p:par>
                        <p:par>
                          <p:cTn id="7" fill="hold">
                            <p:stCondLst>
                              <p:cond delay="1000"/>
                            </p:stCondLst>
                            <p:childTnLst>
                              <p:par>
                                <p:cTn id="8" presetID="22" presetClass="entr" presetSubtype="4" fill="hold" nodeType="afterEffect">
                                  <p:stCondLst>
                                    <p:cond delay="0"/>
                                  </p:stCondLst>
                                  <p:childTnLst>
                                    <p:set>
                                      <p:cBhvr>
                                        <p:cTn id="9" dur="1" fill="hold">
                                          <p:stCondLst>
                                            <p:cond delay="0"/>
                                          </p:stCondLst>
                                        </p:cTn>
                                        <p:tgtEl>
                                          <p:spTgt spid="285"/>
                                        </p:tgtEl>
                                        <p:attrNameLst>
                                          <p:attrName>style.visibility</p:attrName>
                                        </p:attrNameLst>
                                      </p:cBhvr>
                                      <p:to>
                                        <p:strVal val="visible"/>
                                      </p:to>
                                    </p:set>
                                    <p:animEffect transition="in" filter="wipe(down)">
                                      <p:cBhvr>
                                        <p:cTn id="10" dur="500"/>
                                        <p:tgtEl>
                                          <p:spTgt spid="285"/>
                                        </p:tgtEl>
                                      </p:cBhvr>
                                    </p:animEffect>
                                  </p:childTnLst>
                                </p:cTn>
                              </p:par>
                              <p:par>
                                <p:cTn id="11" presetID="2" presetClass="entr" presetSubtype="2" decel="100000" fill="hold" grpId="0" nodeType="withEffect">
                                  <p:stCondLst>
                                    <p:cond delay="0"/>
                                  </p:stCondLst>
                                  <p:childTnLst>
                                    <p:set>
                                      <p:cBhvr>
                                        <p:cTn id="12" dur="1" fill="hold">
                                          <p:stCondLst>
                                            <p:cond delay="0"/>
                                          </p:stCondLst>
                                        </p:cTn>
                                        <p:tgtEl>
                                          <p:spTgt spid="99"/>
                                        </p:tgtEl>
                                        <p:attrNameLst>
                                          <p:attrName>style.visibility</p:attrName>
                                        </p:attrNameLst>
                                      </p:cBhvr>
                                      <p:to>
                                        <p:strVal val="visible"/>
                                      </p:to>
                                    </p:set>
                                    <p:anim calcmode="lin" valueType="num">
                                      <p:cBhvr additive="base">
                                        <p:cTn id="13" dur="1000" fill="hold"/>
                                        <p:tgtEl>
                                          <p:spTgt spid="99"/>
                                        </p:tgtEl>
                                        <p:attrNameLst>
                                          <p:attrName>ppt_x</p:attrName>
                                        </p:attrNameLst>
                                      </p:cBhvr>
                                      <p:tavLst>
                                        <p:tav tm="0">
                                          <p:val>
                                            <p:strVal val="1+#ppt_w/2"/>
                                          </p:val>
                                        </p:tav>
                                        <p:tav tm="100000">
                                          <p:val>
                                            <p:strVal val="#ppt_x"/>
                                          </p:val>
                                        </p:tav>
                                      </p:tavLst>
                                    </p:anim>
                                    <p:anim calcmode="lin" valueType="num">
                                      <p:cBhvr additive="base">
                                        <p:cTn id="14" dur="1000" fill="hold"/>
                                        <p:tgtEl>
                                          <p:spTgt spid="99"/>
                                        </p:tgtEl>
                                        <p:attrNameLst>
                                          <p:attrName>ppt_y</p:attrName>
                                        </p:attrNameLst>
                                      </p:cBhvr>
                                      <p:tavLst>
                                        <p:tav tm="0">
                                          <p:val>
                                            <p:strVal val="#ppt_y"/>
                                          </p:val>
                                        </p:tav>
                                        <p:tav tm="100000">
                                          <p:val>
                                            <p:strVal val="#ppt_y"/>
                                          </p:val>
                                        </p:tav>
                                      </p:tavLst>
                                    </p:anim>
                                  </p:childTnLst>
                                </p:cTn>
                              </p:par>
                              <p:par>
                                <p:cTn id="15" presetID="2" presetClass="entr" presetSubtype="2" decel="100000" fill="hold" grpId="0" nodeType="withEffect">
                                  <p:stCondLst>
                                    <p:cond delay="250"/>
                                  </p:stCondLst>
                                  <p:childTnLst>
                                    <p:set>
                                      <p:cBhvr>
                                        <p:cTn id="16" dur="1" fill="hold">
                                          <p:stCondLst>
                                            <p:cond delay="0"/>
                                          </p:stCondLst>
                                        </p:cTn>
                                        <p:tgtEl>
                                          <p:spTgt spid="98"/>
                                        </p:tgtEl>
                                        <p:attrNameLst>
                                          <p:attrName>style.visibility</p:attrName>
                                        </p:attrNameLst>
                                      </p:cBhvr>
                                      <p:to>
                                        <p:strVal val="visible"/>
                                      </p:to>
                                    </p:set>
                                    <p:anim calcmode="lin" valueType="num">
                                      <p:cBhvr additive="base">
                                        <p:cTn id="17" dur="1000" fill="hold"/>
                                        <p:tgtEl>
                                          <p:spTgt spid="98"/>
                                        </p:tgtEl>
                                        <p:attrNameLst>
                                          <p:attrName>ppt_x</p:attrName>
                                        </p:attrNameLst>
                                      </p:cBhvr>
                                      <p:tavLst>
                                        <p:tav tm="0">
                                          <p:val>
                                            <p:strVal val="1+#ppt_w/2"/>
                                          </p:val>
                                        </p:tav>
                                        <p:tav tm="100000">
                                          <p:val>
                                            <p:strVal val="#ppt_x"/>
                                          </p:val>
                                        </p:tav>
                                      </p:tavLst>
                                    </p:anim>
                                    <p:anim calcmode="lin" valueType="num">
                                      <p:cBhvr additive="base">
                                        <p:cTn id="18" dur="1000" fill="hold"/>
                                        <p:tgtEl>
                                          <p:spTgt spid="9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8" grpId="0" animBg="1"/>
      <p:bldP spid="99" grpId="0" animBg="1"/>
    </p:bldLst>
  </p:timing>
</p:sld>
</file>

<file path=ppt/slides/slide4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of Crosshairs" hidden="1"/>
          <p:cNvGrpSpPr/>
          <p:nvPr/>
        </p:nvGrpSpPr>
        <p:grpSpPr>
          <a:xfrm>
            <a:off x="696221" y="1839040"/>
            <a:ext cx="18220964" cy="688181"/>
            <a:chOff x="928053" y="4429828"/>
            <a:chExt cx="24288292" cy="917575"/>
          </a:xfrm>
        </p:grpSpPr>
        <p:sp>
          <p:nvSpPr>
            <p:cNvPr id="18" name="Crosshair"/>
            <p:cNvSpPr>
              <a:spLocks/>
            </p:cNvSpPr>
            <p:nvPr/>
          </p:nvSpPr>
          <p:spPr bwMode="auto">
            <a:xfrm>
              <a:off x="928053"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 name="Crosshair"/>
            <p:cNvSpPr>
              <a:spLocks/>
            </p:cNvSpPr>
            <p:nvPr/>
          </p:nvSpPr>
          <p:spPr bwMode="auto">
            <a:xfrm>
              <a:off x="3052664"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 name="Crosshair"/>
            <p:cNvSpPr>
              <a:spLocks/>
            </p:cNvSpPr>
            <p:nvPr/>
          </p:nvSpPr>
          <p:spPr bwMode="auto">
            <a:xfrm>
              <a:off x="5177275"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 name="Crosshair"/>
            <p:cNvSpPr>
              <a:spLocks/>
            </p:cNvSpPr>
            <p:nvPr/>
          </p:nvSpPr>
          <p:spPr bwMode="auto">
            <a:xfrm>
              <a:off x="7301886"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Crosshair"/>
            <p:cNvSpPr>
              <a:spLocks/>
            </p:cNvSpPr>
            <p:nvPr/>
          </p:nvSpPr>
          <p:spPr bwMode="auto">
            <a:xfrm>
              <a:off x="9426497"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3" name="Crosshair"/>
            <p:cNvSpPr>
              <a:spLocks/>
            </p:cNvSpPr>
            <p:nvPr/>
          </p:nvSpPr>
          <p:spPr bwMode="auto">
            <a:xfrm>
              <a:off x="11551108"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4" name="Crosshair"/>
            <p:cNvSpPr>
              <a:spLocks/>
            </p:cNvSpPr>
            <p:nvPr/>
          </p:nvSpPr>
          <p:spPr bwMode="auto">
            <a:xfrm>
              <a:off x="13675719"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Crosshair"/>
            <p:cNvSpPr>
              <a:spLocks/>
            </p:cNvSpPr>
            <p:nvPr/>
          </p:nvSpPr>
          <p:spPr bwMode="auto">
            <a:xfrm>
              <a:off x="15800330"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 name="Crosshair"/>
            <p:cNvSpPr>
              <a:spLocks/>
            </p:cNvSpPr>
            <p:nvPr/>
          </p:nvSpPr>
          <p:spPr bwMode="auto">
            <a:xfrm>
              <a:off x="17924941"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7" name="Crosshair"/>
            <p:cNvSpPr>
              <a:spLocks/>
            </p:cNvSpPr>
            <p:nvPr/>
          </p:nvSpPr>
          <p:spPr bwMode="auto">
            <a:xfrm>
              <a:off x="20049552"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8" name="Crosshair"/>
            <p:cNvSpPr>
              <a:spLocks/>
            </p:cNvSpPr>
            <p:nvPr/>
          </p:nvSpPr>
          <p:spPr bwMode="auto">
            <a:xfrm>
              <a:off x="22174163"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9" name="Crosshair"/>
            <p:cNvSpPr>
              <a:spLocks/>
            </p:cNvSpPr>
            <p:nvPr/>
          </p:nvSpPr>
          <p:spPr bwMode="auto">
            <a:xfrm>
              <a:off x="24298770"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70" name="Title 2"/>
          <p:cNvSpPr>
            <a:spLocks noGrp="1"/>
          </p:cNvSpPr>
          <p:nvPr>
            <p:ph type="title"/>
          </p:nvPr>
        </p:nvSpPr>
        <p:spPr>
          <a:xfrm>
            <a:off x="285825" y="171450"/>
            <a:ext cx="6280916" cy="457049"/>
          </a:xfrm>
        </p:spPr>
        <p:txBody>
          <a:bodyPr/>
          <a:lstStyle/>
          <a:p>
            <a:r>
              <a:rPr lang="en-US" dirty="0"/>
              <a:t>SQL Server 2012</a:t>
            </a:r>
          </a:p>
        </p:txBody>
      </p:sp>
      <p:pic>
        <p:nvPicPr>
          <p:cNvPr id="71" name="Picture 7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05641" y="4672464"/>
            <a:ext cx="1725220" cy="356737"/>
          </a:xfrm>
          <a:prstGeom prst="rect">
            <a:avLst/>
          </a:prstGeom>
        </p:spPr>
      </p:pic>
      <p:sp>
        <p:nvSpPr>
          <p:cNvPr id="98" name="Rectangle 97"/>
          <p:cNvSpPr/>
          <p:nvPr/>
        </p:nvSpPr>
        <p:spPr bwMode="auto">
          <a:xfrm>
            <a:off x="285825" y="3552453"/>
            <a:ext cx="7881126" cy="467390"/>
          </a:xfrm>
          <a:prstGeom prst="rect">
            <a:avLst/>
          </a:prstGeom>
          <a:solidFill>
            <a:srgbClr val="F6AE1E"/>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6" tIns="34293" rIns="68586" bIns="34293" numCol="1" spcCol="0" rtlCol="0" fromWordArt="0" anchor="ctr" anchorCtr="0" forceAA="0" compatLnSpc="1">
            <a:prstTxWarp prst="textNoShape">
              <a:avLst/>
            </a:prstTxWarp>
            <a:noAutofit/>
          </a:bodyPr>
          <a:lstStyle/>
          <a:p>
            <a:pPr defTabSz="685666" fontAlgn="base">
              <a:spcBef>
                <a:spcPct val="0"/>
              </a:spcBef>
              <a:spcAft>
                <a:spcPct val="0"/>
              </a:spcAft>
            </a:pPr>
            <a:r>
              <a:rPr lang="en-US" sz="2100" dirty="0">
                <a:gradFill>
                  <a:gsLst>
                    <a:gs pos="0">
                      <a:srgbClr val="FFFFFF"/>
                    </a:gs>
                    <a:gs pos="100000">
                      <a:srgbClr val="FFFFFF"/>
                    </a:gs>
                  </a:gsLst>
                  <a:lin ang="5400000" scaled="0"/>
                </a:gradFill>
              </a:rPr>
              <a:t>Scale </a:t>
            </a:r>
            <a:r>
              <a:rPr lang="en-US" sz="2100" dirty="0">
                <a:gradFill>
                  <a:gsLst>
                    <a:gs pos="0">
                      <a:srgbClr val="FFFFFF"/>
                    </a:gs>
                    <a:gs pos="100000">
                      <a:srgbClr val="FFFFFF"/>
                    </a:gs>
                  </a:gsLst>
                  <a:lin ang="5400000" scaled="0"/>
                </a:gradFill>
              </a:rPr>
              <a:t>out—Windows Azure SQL Database Federations</a:t>
            </a:r>
            <a:endParaRPr lang="en-US" sz="2100" dirty="0">
              <a:gradFill>
                <a:gsLst>
                  <a:gs pos="0">
                    <a:srgbClr val="FFFFFF"/>
                  </a:gs>
                  <a:gs pos="100000">
                    <a:srgbClr val="FFFFFF"/>
                  </a:gs>
                </a:gsLst>
                <a:lin ang="5400000" scaled="0"/>
              </a:gradFill>
            </a:endParaRPr>
          </a:p>
        </p:txBody>
      </p:sp>
      <p:sp>
        <p:nvSpPr>
          <p:cNvPr id="99" name="Rectangle 98"/>
          <p:cNvSpPr/>
          <p:nvPr/>
        </p:nvSpPr>
        <p:spPr bwMode="auto">
          <a:xfrm>
            <a:off x="285825" y="3017520"/>
            <a:ext cx="7881126" cy="453683"/>
          </a:xfrm>
          <a:prstGeom prst="rect">
            <a:avLst/>
          </a:prstGeom>
          <a:solidFill>
            <a:srgbClr val="F6AE1E"/>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6" tIns="34293" rIns="68586" bIns="34293" numCol="1" spcCol="0" rtlCol="0" fromWordArt="0" anchor="ctr" anchorCtr="0" forceAA="0" compatLnSpc="1">
            <a:prstTxWarp prst="textNoShape">
              <a:avLst/>
            </a:prstTxWarp>
            <a:noAutofit/>
          </a:bodyPr>
          <a:lstStyle/>
          <a:p>
            <a:pPr defTabSz="685666" fontAlgn="base">
              <a:spcBef>
                <a:spcPct val="0"/>
              </a:spcBef>
              <a:spcAft>
                <a:spcPct val="0"/>
              </a:spcAft>
            </a:pPr>
            <a:r>
              <a:rPr lang="en-US" sz="2100" dirty="0">
                <a:gradFill>
                  <a:gsLst>
                    <a:gs pos="0">
                      <a:srgbClr val="FFFFFF"/>
                    </a:gs>
                    <a:gs pos="100000">
                      <a:srgbClr val="FFFFFF"/>
                    </a:gs>
                  </a:gsLst>
                  <a:lin ang="5400000" scaled="0"/>
                </a:gradFill>
              </a:rPr>
              <a:t>Scale up—640 Cores, 4TB Memory, DBC Appliance</a:t>
            </a:r>
            <a:endParaRPr lang="en-US" sz="2100" dirty="0">
              <a:gradFill>
                <a:gsLst>
                  <a:gs pos="0">
                    <a:srgbClr val="FFFFFF"/>
                  </a:gs>
                  <a:gs pos="100000">
                    <a:srgbClr val="FFFFFF"/>
                  </a:gs>
                </a:gsLst>
                <a:lin ang="5400000" scaled="0"/>
              </a:gradFill>
            </a:endParaRPr>
          </a:p>
        </p:txBody>
      </p:sp>
      <p:grpSp>
        <p:nvGrpSpPr>
          <p:cNvPr id="216" name="Group 215"/>
          <p:cNvGrpSpPr/>
          <p:nvPr/>
        </p:nvGrpSpPr>
        <p:grpSpPr>
          <a:xfrm>
            <a:off x="-4499315" y="1428749"/>
            <a:ext cx="19036903" cy="1508760"/>
            <a:chOff x="381000" y="1904999"/>
            <a:chExt cx="25375927" cy="2011680"/>
          </a:xfrm>
        </p:grpSpPr>
        <p:grpSp>
          <p:nvGrpSpPr>
            <p:cNvPr id="217" name="Group 216"/>
            <p:cNvGrpSpPr/>
            <p:nvPr/>
          </p:nvGrpSpPr>
          <p:grpSpPr>
            <a:xfrm>
              <a:off x="17371414" y="1904999"/>
              <a:ext cx="2011680" cy="2011680"/>
              <a:chOff x="17371414" y="1904999"/>
              <a:chExt cx="2011680" cy="2011680"/>
            </a:xfrm>
          </p:grpSpPr>
          <p:sp>
            <p:nvSpPr>
              <p:cNvPr id="269" name="Rectangle 268"/>
              <p:cNvSpPr/>
              <p:nvPr/>
            </p:nvSpPr>
            <p:spPr bwMode="auto">
              <a:xfrm>
                <a:off x="17371414"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Big Data &amp; Data </a:t>
                </a:r>
                <a:r>
                  <a:rPr lang="en-US" sz="1500" dirty="0">
                    <a:gradFill>
                      <a:gsLst>
                        <a:gs pos="0">
                          <a:srgbClr val="FFFFFF"/>
                        </a:gs>
                        <a:gs pos="100000">
                          <a:srgbClr val="FFFFFF"/>
                        </a:gs>
                      </a:gsLst>
                      <a:lin ang="5400000" scaled="0"/>
                    </a:gradFill>
                  </a:rPr>
                  <a:t>Warehousing</a:t>
                </a:r>
              </a:p>
            </p:txBody>
          </p:sp>
          <p:pic>
            <p:nvPicPr>
              <p:cNvPr id="270" name="Picture 8"/>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7485517" y="2029883"/>
                <a:ext cx="896304" cy="7133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71" name="TextBox 270"/>
              <p:cNvSpPr txBox="1"/>
              <p:nvPr/>
            </p:nvSpPr>
            <p:spPr>
              <a:xfrm>
                <a:off x="19016885" y="1904999"/>
                <a:ext cx="356415" cy="615553"/>
              </a:xfrm>
              <a:prstGeom prst="rect">
                <a:avLst/>
              </a:prstGeom>
              <a:noFill/>
            </p:spPr>
            <p:txBody>
              <a:bodyPr wrap="none" lIns="0" tIns="0" rIns="45720" bIns="0" rtlCol="0">
                <a:spAutoFit/>
              </a:bodyPr>
              <a:lstStyle/>
              <a:p>
                <a:pPr algn="r"/>
                <a:r>
                  <a:rPr lang="en-US" sz="3000" b="1" dirty="0">
                    <a:solidFill>
                      <a:schemeClr val="tx2">
                        <a:lumMod val="75000"/>
                      </a:schemeClr>
                    </a:solidFill>
                  </a:rPr>
                  <a:t>9</a:t>
                </a:r>
                <a:endParaRPr lang="en-US" sz="3000" b="1" dirty="0">
                  <a:solidFill>
                    <a:schemeClr val="tx2">
                      <a:lumMod val="75000"/>
                    </a:schemeClr>
                  </a:solidFill>
                </a:endParaRPr>
              </a:p>
            </p:txBody>
          </p:sp>
        </p:grpSp>
        <p:grpSp>
          <p:nvGrpSpPr>
            <p:cNvPr id="218" name="Group 217"/>
            <p:cNvGrpSpPr/>
            <p:nvPr/>
          </p:nvGrpSpPr>
          <p:grpSpPr>
            <a:xfrm>
              <a:off x="21620636" y="1904999"/>
              <a:ext cx="2011680" cy="2011680"/>
              <a:chOff x="21620636" y="1904999"/>
              <a:chExt cx="2011680" cy="2011680"/>
            </a:xfrm>
          </p:grpSpPr>
          <p:sp>
            <p:nvSpPr>
              <p:cNvPr id="266" name="Rectangle 265"/>
              <p:cNvSpPr/>
              <p:nvPr/>
            </p:nvSpPr>
            <p:spPr bwMode="auto">
              <a:xfrm>
                <a:off x="21620636"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Managed Self-Service BI</a:t>
                </a:r>
                <a:endParaRPr lang="en-US" sz="1500" dirty="0">
                  <a:gradFill>
                    <a:gsLst>
                      <a:gs pos="0">
                        <a:srgbClr val="FFFFFF"/>
                      </a:gs>
                      <a:gs pos="100000">
                        <a:srgbClr val="FFFFFF"/>
                      </a:gs>
                    </a:gsLst>
                    <a:lin ang="5400000" scaled="0"/>
                  </a:gradFill>
                </a:endParaRPr>
              </a:p>
            </p:txBody>
          </p:sp>
          <p:sp>
            <p:nvSpPr>
              <p:cNvPr id="267" name="TextBox 266"/>
              <p:cNvSpPr txBox="1"/>
              <p:nvPr/>
            </p:nvSpPr>
            <p:spPr>
              <a:xfrm>
                <a:off x="22970634" y="1904999"/>
                <a:ext cx="651290" cy="615553"/>
              </a:xfrm>
              <a:prstGeom prst="rect">
                <a:avLst/>
              </a:prstGeom>
              <a:noFill/>
            </p:spPr>
            <p:txBody>
              <a:bodyPr wrap="none" lIns="0" tIns="0" rIns="45720" bIns="0" rtlCol="0">
                <a:spAutoFit/>
              </a:bodyPr>
              <a:lstStyle/>
              <a:p>
                <a:pPr algn="r"/>
                <a:r>
                  <a:rPr lang="en-US" sz="3000" b="1" dirty="0">
                    <a:solidFill>
                      <a:schemeClr val="tx2">
                        <a:lumMod val="75000"/>
                      </a:schemeClr>
                    </a:solidFill>
                  </a:rPr>
                  <a:t>11</a:t>
                </a:r>
                <a:endParaRPr lang="en-US" sz="3000" b="1" dirty="0">
                  <a:solidFill>
                    <a:schemeClr val="tx2">
                      <a:lumMod val="75000"/>
                    </a:schemeClr>
                  </a:solidFill>
                </a:endParaRPr>
              </a:p>
            </p:txBody>
          </p:sp>
          <p:pic>
            <p:nvPicPr>
              <p:cNvPr id="268" name="Picture 17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1699949" y="1981200"/>
                <a:ext cx="832241" cy="833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9" name="Group 218"/>
            <p:cNvGrpSpPr/>
            <p:nvPr/>
          </p:nvGrpSpPr>
          <p:grpSpPr>
            <a:xfrm>
              <a:off x="23745247" y="1904999"/>
              <a:ext cx="2011680" cy="2011680"/>
              <a:chOff x="23745247" y="1904999"/>
              <a:chExt cx="2011680" cy="2011680"/>
            </a:xfrm>
          </p:grpSpPr>
          <p:sp>
            <p:nvSpPr>
              <p:cNvPr id="263" name="Rectangle 262"/>
              <p:cNvSpPr/>
              <p:nvPr/>
            </p:nvSpPr>
            <p:spPr bwMode="auto">
              <a:xfrm>
                <a:off x="23745247"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Rapid Data Exploration</a:t>
                </a:r>
                <a:endParaRPr lang="en-US" sz="1500" dirty="0">
                  <a:gradFill>
                    <a:gsLst>
                      <a:gs pos="0">
                        <a:srgbClr val="FFFFFF"/>
                      </a:gs>
                      <a:gs pos="100000">
                        <a:srgbClr val="FFFFFF"/>
                      </a:gs>
                    </a:gsLst>
                    <a:lin ang="5400000" scaled="0"/>
                  </a:gradFill>
                </a:endParaRPr>
              </a:p>
            </p:txBody>
          </p:sp>
          <p:sp>
            <p:nvSpPr>
              <p:cNvPr id="264" name="TextBox 263"/>
              <p:cNvSpPr txBox="1"/>
              <p:nvPr/>
            </p:nvSpPr>
            <p:spPr>
              <a:xfrm>
                <a:off x="25095245" y="1904999"/>
                <a:ext cx="651290" cy="615553"/>
              </a:xfrm>
              <a:prstGeom prst="rect">
                <a:avLst/>
              </a:prstGeom>
              <a:noFill/>
            </p:spPr>
            <p:txBody>
              <a:bodyPr wrap="none" lIns="0" tIns="0" rIns="45720" bIns="0" rtlCol="0">
                <a:spAutoFit/>
              </a:bodyPr>
              <a:lstStyle/>
              <a:p>
                <a:pPr algn="r"/>
                <a:r>
                  <a:rPr lang="en-US" sz="3000" b="1" dirty="0">
                    <a:solidFill>
                      <a:schemeClr val="tx2">
                        <a:lumMod val="75000"/>
                      </a:schemeClr>
                    </a:solidFill>
                  </a:rPr>
                  <a:t>12</a:t>
                </a:r>
                <a:endParaRPr lang="en-US" sz="3000" b="1" dirty="0">
                  <a:solidFill>
                    <a:schemeClr val="tx2">
                      <a:lumMod val="75000"/>
                    </a:schemeClr>
                  </a:solidFill>
                </a:endParaRPr>
              </a:p>
            </p:txBody>
          </p:sp>
          <p:pic>
            <p:nvPicPr>
              <p:cNvPr id="265" name="Picture 3"/>
              <p:cNvPicPr>
                <a:picLocks noChangeAspect="1" noChangeArrowheads="1"/>
              </p:cNvPicPr>
              <p:nvPr>
                <p:custDataLst>
                  <p:tags r:id="rId3"/>
                </p:custDataLst>
              </p:nvPr>
            </p:nvPicPr>
            <p:blipFill>
              <a:blip r:embed="rId8" cstate="print">
                <a:extLst>
                  <a:ext uri="{28A0092B-C50C-407E-A947-70E740481C1C}">
                    <a14:useLocalDpi xmlns:a14="http://schemas.microsoft.com/office/drawing/2010/main"/>
                  </a:ext>
                </a:extLst>
              </a:blip>
              <a:srcRect/>
              <a:stretch>
                <a:fillRect/>
              </a:stretch>
            </p:blipFill>
            <p:spPr bwMode="auto">
              <a:xfrm>
                <a:off x="23833549" y="1959614"/>
                <a:ext cx="593243" cy="859786"/>
              </a:xfrm>
              <a:prstGeom prst="rect">
                <a:avLst/>
              </a:prstGeom>
              <a:noFill/>
              <a:ln>
                <a:noFill/>
                <a:headEnd type="none" w="med" len="med"/>
                <a:tailEnd type="none" w="med" len="med"/>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20" name="Group 219"/>
            <p:cNvGrpSpPr/>
            <p:nvPr/>
          </p:nvGrpSpPr>
          <p:grpSpPr>
            <a:xfrm>
              <a:off x="4630222" y="1904999"/>
              <a:ext cx="2026976" cy="2011680"/>
              <a:chOff x="4630222" y="1904999"/>
              <a:chExt cx="2026976" cy="2011680"/>
            </a:xfrm>
          </p:grpSpPr>
          <p:sp>
            <p:nvSpPr>
              <p:cNvPr id="260" name="Rectangle 259"/>
              <p:cNvSpPr/>
              <p:nvPr/>
            </p:nvSpPr>
            <p:spPr bwMode="auto">
              <a:xfrm>
                <a:off x="4630222"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Required 9s &amp; Data Protection</a:t>
                </a:r>
                <a:endParaRPr lang="en-US" sz="1500" dirty="0">
                  <a:gradFill>
                    <a:gsLst>
                      <a:gs pos="0">
                        <a:srgbClr val="FFFFFF"/>
                      </a:gs>
                      <a:gs pos="100000">
                        <a:srgbClr val="FFFFFF"/>
                      </a:gs>
                    </a:gsLst>
                    <a:lin ang="5400000" scaled="0"/>
                  </a:gradFill>
                </a:endParaRPr>
              </a:p>
            </p:txBody>
          </p:sp>
          <p:sp>
            <p:nvSpPr>
              <p:cNvPr id="261" name="TextBox 260"/>
              <p:cNvSpPr txBox="1"/>
              <p:nvPr/>
            </p:nvSpPr>
            <p:spPr>
              <a:xfrm>
                <a:off x="6300783"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3</a:t>
                </a:r>
              </a:p>
            </p:txBody>
          </p:sp>
          <p:pic>
            <p:nvPicPr>
              <p:cNvPr id="262" name="Picture 4" descr="\\MAGNUM\Projects\Microsoft\Cloud Power FY12\Design\ICONS_PNG\Check_mark.png"/>
              <p:cNvPicPr>
                <a:picLocks noChangeAspect="1" noChangeArrowheads="1"/>
              </p:cNvPicPr>
              <p:nvPr/>
            </p:nvPicPr>
            <p:blipFill rotWithShape="1">
              <a:blip r:embed="rId9" cstate="print">
                <a:lum bright="100000"/>
              </a:blip>
              <a:srcRect t="11515"/>
              <a:stretch/>
            </p:blipFill>
            <p:spPr bwMode="auto">
              <a:xfrm>
                <a:off x="4669492" y="1927464"/>
                <a:ext cx="1253470" cy="1109124"/>
              </a:xfrm>
              <a:prstGeom prst="rect">
                <a:avLst/>
              </a:prstGeom>
              <a:noFill/>
            </p:spPr>
          </p:pic>
        </p:grpSp>
        <p:grpSp>
          <p:nvGrpSpPr>
            <p:cNvPr id="221" name="Group 220"/>
            <p:cNvGrpSpPr/>
            <p:nvPr/>
          </p:nvGrpSpPr>
          <p:grpSpPr>
            <a:xfrm>
              <a:off x="19496025" y="1904999"/>
              <a:ext cx="2011680" cy="2011680"/>
              <a:chOff x="19496025" y="1904999"/>
              <a:chExt cx="2011680" cy="2011680"/>
            </a:xfrm>
          </p:grpSpPr>
          <p:sp>
            <p:nvSpPr>
              <p:cNvPr id="257" name="Rectangle 256"/>
              <p:cNvSpPr/>
              <p:nvPr/>
            </p:nvSpPr>
            <p:spPr bwMode="auto">
              <a:xfrm>
                <a:off x="19496025"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Credible, Consistent Data</a:t>
                </a:r>
                <a:endParaRPr lang="en-US" sz="1500" dirty="0">
                  <a:gradFill>
                    <a:gsLst>
                      <a:gs pos="0">
                        <a:srgbClr val="FFFFFF"/>
                      </a:gs>
                      <a:gs pos="100000">
                        <a:srgbClr val="FFFFFF"/>
                      </a:gs>
                    </a:gsLst>
                    <a:lin ang="5400000" scaled="0"/>
                  </a:gradFill>
                </a:endParaRPr>
              </a:p>
            </p:txBody>
          </p:sp>
          <p:sp>
            <p:nvSpPr>
              <p:cNvPr id="258" name="TextBox 257"/>
              <p:cNvSpPr txBox="1"/>
              <p:nvPr/>
            </p:nvSpPr>
            <p:spPr>
              <a:xfrm>
                <a:off x="20856415" y="1904999"/>
                <a:ext cx="651290" cy="615553"/>
              </a:xfrm>
              <a:prstGeom prst="rect">
                <a:avLst/>
              </a:prstGeom>
              <a:noFill/>
            </p:spPr>
            <p:txBody>
              <a:bodyPr wrap="none" lIns="0" tIns="0" rIns="45720" bIns="0" rtlCol="0">
                <a:spAutoFit/>
              </a:bodyPr>
              <a:lstStyle/>
              <a:p>
                <a:pPr algn="r"/>
                <a:r>
                  <a:rPr lang="en-US" sz="3000" b="1" dirty="0">
                    <a:solidFill>
                      <a:schemeClr val="tx2">
                        <a:lumMod val="75000"/>
                      </a:schemeClr>
                    </a:solidFill>
                  </a:rPr>
                  <a:t>10</a:t>
                </a:r>
                <a:endParaRPr lang="en-US" sz="3000" b="1" dirty="0">
                  <a:solidFill>
                    <a:schemeClr val="tx2">
                      <a:lumMod val="75000"/>
                    </a:schemeClr>
                  </a:solidFill>
                </a:endParaRPr>
              </a:p>
            </p:txBody>
          </p:sp>
          <p:pic>
            <p:nvPicPr>
              <p:cNvPr id="259" name="Picture 2"/>
              <p:cNvPicPr>
                <a:picLocks noChangeAspect="1" noChangeArrowheads="1"/>
              </p:cNvPicPr>
              <p:nvPr/>
            </p:nvPicPr>
            <p:blipFill>
              <a:blip r:embed="rId10"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9613928" y="2012733"/>
                <a:ext cx="958499" cy="8515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22" name="Group 221"/>
            <p:cNvGrpSpPr/>
            <p:nvPr/>
          </p:nvGrpSpPr>
          <p:grpSpPr>
            <a:xfrm>
              <a:off x="2505611" y="1904999"/>
              <a:ext cx="2022972" cy="2011680"/>
              <a:chOff x="2505611" y="1904999"/>
              <a:chExt cx="2022972" cy="2011680"/>
            </a:xfrm>
          </p:grpSpPr>
          <p:sp>
            <p:nvSpPr>
              <p:cNvPr id="254" name="Rectangle 253"/>
              <p:cNvSpPr/>
              <p:nvPr/>
            </p:nvSpPr>
            <p:spPr bwMode="auto">
              <a:xfrm>
                <a:off x="2505611"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Security &amp; Compliance</a:t>
                </a:r>
                <a:endParaRPr lang="en-US" sz="1500" dirty="0">
                  <a:gradFill>
                    <a:gsLst>
                      <a:gs pos="0">
                        <a:srgbClr val="FFFFFF"/>
                      </a:gs>
                      <a:gs pos="100000">
                        <a:srgbClr val="FFFFFF"/>
                      </a:gs>
                    </a:gsLst>
                    <a:lin ang="5400000" scaled="0"/>
                  </a:gradFill>
                </a:endParaRPr>
              </a:p>
            </p:txBody>
          </p:sp>
          <p:sp>
            <p:nvSpPr>
              <p:cNvPr id="255" name="TextBox 254"/>
              <p:cNvSpPr txBox="1"/>
              <p:nvPr/>
            </p:nvSpPr>
            <p:spPr>
              <a:xfrm>
                <a:off x="4172168"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2</a:t>
                </a:r>
              </a:p>
            </p:txBody>
          </p:sp>
          <p:pic>
            <p:nvPicPr>
              <p:cNvPr id="256" name="Picture 255"/>
              <p:cNvPicPr>
                <a:picLocks noChangeAspect="1"/>
              </p:cNvPicPr>
              <p:nvPr>
                <p:custDataLst>
                  <p:tags r:id="rId2"/>
                </p:custDataLst>
              </p:nvPr>
            </p:nvPicPr>
            <p:blipFill>
              <a:blip r:embed="rId11">
                <a:extLst>
                  <a:ext uri="{28A0092B-C50C-407E-A947-70E740481C1C}">
                    <a14:useLocalDpi xmlns:a14="http://schemas.microsoft.com/office/drawing/2010/main" val="0"/>
                  </a:ext>
                </a:extLst>
              </a:blip>
              <a:stretch>
                <a:fillRect/>
              </a:stretch>
            </p:blipFill>
            <p:spPr>
              <a:xfrm>
                <a:off x="2655779" y="1983751"/>
                <a:ext cx="883759" cy="875588"/>
              </a:xfrm>
              <a:prstGeom prst="rect">
                <a:avLst/>
              </a:prstGeom>
              <a:effectLst/>
            </p:spPr>
          </p:pic>
        </p:grpSp>
        <p:grpSp>
          <p:nvGrpSpPr>
            <p:cNvPr id="223" name="Group 222"/>
            <p:cNvGrpSpPr/>
            <p:nvPr/>
          </p:nvGrpSpPr>
          <p:grpSpPr>
            <a:xfrm>
              <a:off x="381000" y="1904999"/>
              <a:ext cx="2026976" cy="2011680"/>
              <a:chOff x="381000" y="1904999"/>
              <a:chExt cx="2026976" cy="2011680"/>
            </a:xfrm>
          </p:grpSpPr>
          <p:sp>
            <p:nvSpPr>
              <p:cNvPr id="251" name="Rectangle 250"/>
              <p:cNvSpPr/>
              <p:nvPr/>
            </p:nvSpPr>
            <p:spPr bwMode="auto">
              <a:xfrm>
                <a:off x="381000"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Blazing-Fast Performance</a:t>
                </a:r>
              </a:p>
            </p:txBody>
          </p:sp>
          <p:sp>
            <p:nvSpPr>
              <p:cNvPr id="252" name="TextBox 251"/>
              <p:cNvSpPr txBox="1"/>
              <p:nvPr/>
            </p:nvSpPr>
            <p:spPr>
              <a:xfrm>
                <a:off x="2051561"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1</a:t>
                </a:r>
              </a:p>
            </p:txBody>
          </p:sp>
          <p:pic>
            <p:nvPicPr>
              <p:cNvPr id="253" name="Picture 25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06299" y="2057549"/>
                <a:ext cx="880541" cy="880541"/>
              </a:xfrm>
              <a:prstGeom prst="rect">
                <a:avLst/>
              </a:prstGeom>
            </p:spPr>
          </p:pic>
        </p:grpSp>
        <p:grpSp>
          <p:nvGrpSpPr>
            <p:cNvPr id="224" name="Group 223"/>
            <p:cNvGrpSpPr/>
            <p:nvPr/>
          </p:nvGrpSpPr>
          <p:grpSpPr>
            <a:xfrm>
              <a:off x="8879444" y="1904999"/>
              <a:ext cx="2012580" cy="2011680"/>
              <a:chOff x="8879444" y="1904999"/>
              <a:chExt cx="2012580" cy="2011680"/>
            </a:xfrm>
          </p:grpSpPr>
          <p:sp>
            <p:nvSpPr>
              <p:cNvPr id="244" name="Rectangle 243"/>
              <p:cNvSpPr/>
              <p:nvPr/>
            </p:nvSpPr>
            <p:spPr bwMode="auto">
              <a:xfrm>
                <a:off x="8879444"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Scale on Demand</a:t>
                </a:r>
                <a:endParaRPr lang="en-US" sz="1500" dirty="0">
                  <a:gradFill>
                    <a:gsLst>
                      <a:gs pos="0">
                        <a:srgbClr val="FFFFFF"/>
                      </a:gs>
                      <a:gs pos="100000">
                        <a:srgbClr val="FFFFFF"/>
                      </a:gs>
                    </a:gsLst>
                    <a:lin ang="5400000" scaled="0"/>
                  </a:gradFill>
                </a:endParaRPr>
              </a:p>
            </p:txBody>
          </p:sp>
          <p:sp>
            <p:nvSpPr>
              <p:cNvPr id="245" name="TextBox 244"/>
              <p:cNvSpPr txBox="1"/>
              <p:nvPr/>
            </p:nvSpPr>
            <p:spPr>
              <a:xfrm>
                <a:off x="10535609"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5</a:t>
                </a:r>
              </a:p>
            </p:txBody>
          </p:sp>
          <p:grpSp>
            <p:nvGrpSpPr>
              <p:cNvPr id="246" name="Group 245"/>
              <p:cNvGrpSpPr/>
              <p:nvPr/>
            </p:nvGrpSpPr>
            <p:grpSpPr>
              <a:xfrm>
                <a:off x="9098012" y="2146879"/>
                <a:ext cx="958800" cy="671282"/>
                <a:chOff x="7792432" y="3461097"/>
                <a:chExt cx="568902" cy="299861"/>
              </a:xfrm>
            </p:grpSpPr>
            <p:sp>
              <p:nvSpPr>
                <p:cNvPr id="247" name="Freeform 8"/>
                <p:cNvSpPr>
                  <a:spLocks/>
                </p:cNvSpPr>
                <p:nvPr/>
              </p:nvSpPr>
              <p:spPr bwMode="auto">
                <a:xfrm>
                  <a:off x="8055009" y="3461097"/>
                  <a:ext cx="306325" cy="299861"/>
                </a:xfrm>
                <a:custGeom>
                  <a:avLst/>
                  <a:gdLst>
                    <a:gd name="T0" fmla="*/ 100 w 100"/>
                    <a:gd name="T1" fmla="*/ 0 h 98"/>
                    <a:gd name="T2" fmla="*/ 16 w 100"/>
                    <a:gd name="T3" fmla="*/ 13 h 98"/>
                    <a:gd name="T4" fmla="*/ 41 w 100"/>
                    <a:gd name="T5" fmla="*/ 39 h 98"/>
                    <a:gd name="T6" fmla="*/ 41 w 100"/>
                    <a:gd name="T7" fmla="*/ 39 h 98"/>
                    <a:gd name="T8" fmla="*/ 6 w 100"/>
                    <a:gd name="T9" fmla="*/ 75 h 98"/>
                    <a:gd name="T10" fmla="*/ 6 w 100"/>
                    <a:gd name="T11" fmla="*/ 94 h 98"/>
                    <a:gd name="T12" fmla="*/ 16 w 100"/>
                    <a:gd name="T13" fmla="*/ 98 h 98"/>
                    <a:gd name="T14" fmla="*/ 25 w 100"/>
                    <a:gd name="T15" fmla="*/ 94 h 98"/>
                    <a:gd name="T16" fmla="*/ 61 w 100"/>
                    <a:gd name="T17" fmla="*/ 59 h 98"/>
                    <a:gd name="T18" fmla="*/ 61 w 100"/>
                    <a:gd name="T19" fmla="*/ 59 h 98"/>
                    <a:gd name="T20" fmla="*/ 87 w 100"/>
                    <a:gd name="T21" fmla="*/ 84 h 98"/>
                    <a:gd name="T22" fmla="*/ 100 w 100"/>
                    <a:gd name="T23"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98">
                      <a:moveTo>
                        <a:pt x="100" y="0"/>
                      </a:moveTo>
                      <a:cubicBezTo>
                        <a:pt x="16" y="13"/>
                        <a:pt x="16" y="13"/>
                        <a:pt x="16" y="13"/>
                      </a:cubicBezTo>
                      <a:cubicBezTo>
                        <a:pt x="41" y="39"/>
                        <a:pt x="41" y="39"/>
                        <a:pt x="41" y="39"/>
                      </a:cubicBezTo>
                      <a:cubicBezTo>
                        <a:pt x="41" y="39"/>
                        <a:pt x="41" y="39"/>
                        <a:pt x="41" y="39"/>
                      </a:cubicBezTo>
                      <a:cubicBezTo>
                        <a:pt x="6" y="75"/>
                        <a:pt x="6" y="75"/>
                        <a:pt x="6" y="75"/>
                      </a:cubicBezTo>
                      <a:cubicBezTo>
                        <a:pt x="0" y="80"/>
                        <a:pt x="0" y="89"/>
                        <a:pt x="6" y="94"/>
                      </a:cubicBezTo>
                      <a:cubicBezTo>
                        <a:pt x="8" y="97"/>
                        <a:pt x="12" y="98"/>
                        <a:pt x="16" y="98"/>
                      </a:cubicBezTo>
                      <a:cubicBezTo>
                        <a:pt x="19" y="98"/>
                        <a:pt x="23" y="97"/>
                        <a:pt x="25" y="94"/>
                      </a:cubicBezTo>
                      <a:cubicBezTo>
                        <a:pt x="61" y="59"/>
                        <a:pt x="61" y="59"/>
                        <a:pt x="61" y="59"/>
                      </a:cubicBezTo>
                      <a:cubicBezTo>
                        <a:pt x="61" y="59"/>
                        <a:pt x="61" y="59"/>
                        <a:pt x="61" y="59"/>
                      </a:cubicBezTo>
                      <a:cubicBezTo>
                        <a:pt x="87" y="84"/>
                        <a:pt x="87" y="84"/>
                        <a:pt x="87" y="84"/>
                      </a:cubicBezTo>
                      <a:lnTo>
                        <a:pt x="10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Rectangle 9"/>
                <p:cNvSpPr>
                  <a:spLocks noChangeArrowheads="1"/>
                </p:cNvSpPr>
                <p:nvPr/>
              </p:nvSpPr>
              <p:spPr bwMode="auto">
                <a:xfrm>
                  <a:off x="7891463" y="3675653"/>
                  <a:ext cx="212661"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Rectangle 9"/>
                <p:cNvSpPr>
                  <a:spLocks noChangeArrowheads="1"/>
                </p:cNvSpPr>
                <p:nvPr/>
              </p:nvSpPr>
              <p:spPr bwMode="auto">
                <a:xfrm>
                  <a:off x="7792432" y="3675653"/>
                  <a:ext cx="27432"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Rectangle 9"/>
                <p:cNvSpPr>
                  <a:spLocks noChangeArrowheads="1"/>
                </p:cNvSpPr>
                <p:nvPr/>
              </p:nvSpPr>
              <p:spPr bwMode="auto">
                <a:xfrm>
                  <a:off x="7832804" y="3675653"/>
                  <a:ext cx="45719"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25" name="Group 224"/>
            <p:cNvGrpSpPr/>
            <p:nvPr/>
          </p:nvGrpSpPr>
          <p:grpSpPr>
            <a:xfrm>
              <a:off x="6754833" y="1904999"/>
              <a:ext cx="2022972" cy="2011680"/>
              <a:chOff x="6754833" y="1904999"/>
              <a:chExt cx="2022972" cy="2011680"/>
            </a:xfrm>
          </p:grpSpPr>
          <p:sp>
            <p:nvSpPr>
              <p:cNvPr id="238" name="Rectangle 237"/>
              <p:cNvSpPr/>
              <p:nvPr/>
            </p:nvSpPr>
            <p:spPr bwMode="auto">
              <a:xfrm>
                <a:off x="6754833"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Flexibility &amp; Choice</a:t>
                </a:r>
                <a:endParaRPr lang="en-US" sz="1500" dirty="0">
                  <a:gradFill>
                    <a:gsLst>
                      <a:gs pos="0">
                        <a:srgbClr val="FFFFFF"/>
                      </a:gs>
                      <a:gs pos="100000">
                        <a:srgbClr val="FFFFFF"/>
                      </a:gs>
                    </a:gsLst>
                    <a:lin ang="5400000" scaled="0"/>
                  </a:gradFill>
                </a:endParaRPr>
              </a:p>
            </p:txBody>
          </p:sp>
          <p:sp>
            <p:nvSpPr>
              <p:cNvPr id="239" name="TextBox 238"/>
              <p:cNvSpPr txBox="1"/>
              <p:nvPr/>
            </p:nvSpPr>
            <p:spPr>
              <a:xfrm>
                <a:off x="8421390"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4</a:t>
                </a:r>
              </a:p>
            </p:txBody>
          </p:sp>
          <p:grpSp>
            <p:nvGrpSpPr>
              <p:cNvPr id="240" name="Group 239"/>
              <p:cNvGrpSpPr/>
              <p:nvPr>
                <p:custDataLst>
                  <p:tags r:id="rId1"/>
                </p:custDataLst>
              </p:nvPr>
            </p:nvGrpSpPr>
            <p:grpSpPr>
              <a:xfrm>
                <a:off x="6856412" y="1967341"/>
                <a:ext cx="1105890" cy="850820"/>
                <a:chOff x="3127606" y="1031618"/>
                <a:chExt cx="1905261" cy="1465821"/>
              </a:xfrm>
            </p:grpSpPr>
            <p:pic>
              <p:nvPicPr>
                <p:cNvPr id="241" name="Picture 6" descr="\\MAGNUM\Projects\Microsoft\Cloud Power FY12\Design\ICONS_PNG\Cloud.png"/>
                <p:cNvPicPr>
                  <a:picLocks noChangeAspect="1" noChangeArrowheads="1"/>
                </p:cNvPicPr>
                <p:nvPr/>
              </p:nvPicPr>
              <p:blipFill rotWithShape="1">
                <a:blip r:embed="rId13" cstate="print">
                  <a:extLst>
                    <a:ext uri="{BEBA8EAE-BF5A-486C-A8C5-ECC9F3942E4B}">
                      <a14:imgProps xmlns:a14="http://schemas.microsoft.com/office/drawing/2010/main">
                        <a14:imgLayer r:embed="rId14">
                          <a14:imgEffect>
                            <a14:brightnessContrast bright="100000"/>
                          </a14:imgEffect>
                        </a14:imgLayer>
                      </a14:imgProps>
                    </a:ext>
                  </a:extLst>
                </a:blip>
                <a:srcRect t="15452" b="16319"/>
                <a:stretch/>
              </p:blipFill>
              <p:spPr bwMode="auto">
                <a:xfrm>
                  <a:off x="3423223" y="1031618"/>
                  <a:ext cx="1609644" cy="1098248"/>
                </a:xfrm>
                <a:prstGeom prst="rect">
                  <a:avLst/>
                </a:prstGeom>
                <a:noFill/>
              </p:spPr>
            </p:pic>
            <p:pic>
              <p:nvPicPr>
                <p:cNvPr id="242" name="Picture 2" descr="\\MAGNUM\Projects\Microsoft\Cloud Power FY12\Design\Icons\PNGs\Server_2.png"/>
                <p:cNvPicPr>
                  <a:picLocks noChangeAspect="1" noChangeArrowheads="1"/>
                </p:cNvPicPr>
                <p:nvPr/>
              </p:nvPicPr>
              <p:blipFill rotWithShape="1">
                <a:blip r:embed="rId15" cstate="print">
                  <a:lum bright="100000"/>
                  <a:extLst>
                    <a:ext uri="{BEBA8EAE-BF5A-486C-A8C5-ECC9F3942E4B}">
                      <a14:imgProps xmlns:a14="http://schemas.microsoft.com/office/drawing/2010/main">
                        <a14:imgLayer r:embed="rId16">
                          <a14:imgEffect>
                            <a14:colorTemperature colorTemp="1500"/>
                          </a14:imgEffect>
                        </a14:imgLayer>
                      </a14:imgProps>
                    </a:ext>
                  </a:extLst>
                </a:blip>
                <a:srcRect l="27619" t="9540" r="26586" b="9151"/>
                <a:stretch/>
              </p:blipFill>
              <p:spPr bwMode="auto">
                <a:xfrm>
                  <a:off x="3537558" y="1444626"/>
                  <a:ext cx="589660" cy="916080"/>
                </a:xfrm>
                <a:prstGeom prst="rect">
                  <a:avLst/>
                </a:prstGeom>
                <a:noFill/>
                <a:effectLst>
                  <a:outerShdw blurRad="50800" dist="12700" sx="103000" sy="103000" algn="ctr" rotWithShape="0">
                    <a:prstClr val="black">
                      <a:alpha val="40000"/>
                    </a:prstClr>
                  </a:outerShdw>
                </a:effectLst>
              </p:spPr>
            </p:pic>
            <p:pic>
              <p:nvPicPr>
                <p:cNvPr id="243" name="Picture 2" descr="\\MAGNUM\Projects\Microsoft\Cloud Power FY12\Design\Icons\PNGs\Server_2.png"/>
                <p:cNvPicPr>
                  <a:picLocks noChangeAspect="1" noChangeArrowheads="1"/>
                </p:cNvPicPr>
                <p:nvPr/>
              </p:nvPicPr>
              <p:blipFill rotWithShape="1">
                <a:blip r:embed="rId15" cstate="print">
                  <a:lum bright="100000"/>
                  <a:extLst>
                    <a:ext uri="{BEBA8EAE-BF5A-486C-A8C5-ECC9F3942E4B}">
                      <a14:imgProps xmlns:a14="http://schemas.microsoft.com/office/drawing/2010/main">
                        <a14:imgLayer r:embed="rId16">
                          <a14:imgEffect>
                            <a14:colorTemperature colorTemp="1500"/>
                          </a14:imgEffect>
                        </a14:imgLayer>
                      </a14:imgProps>
                    </a:ext>
                  </a:extLst>
                </a:blip>
                <a:srcRect l="27619" t="9540" r="26586" b="9151"/>
                <a:stretch/>
              </p:blipFill>
              <p:spPr bwMode="auto">
                <a:xfrm>
                  <a:off x="3127606" y="1581359"/>
                  <a:ext cx="589659" cy="916080"/>
                </a:xfrm>
                <a:prstGeom prst="rect">
                  <a:avLst/>
                </a:prstGeom>
                <a:noFill/>
                <a:effectLst>
                  <a:outerShdw blurRad="50800" dist="12700" sx="103000" sy="103000" algn="ctr" rotWithShape="0">
                    <a:prstClr val="black">
                      <a:alpha val="40000"/>
                    </a:prstClr>
                  </a:outerShdw>
                </a:effectLst>
              </p:spPr>
            </p:pic>
          </p:grpSp>
        </p:grpSp>
        <p:grpSp>
          <p:nvGrpSpPr>
            <p:cNvPr id="226" name="Group 225"/>
            <p:cNvGrpSpPr/>
            <p:nvPr/>
          </p:nvGrpSpPr>
          <p:grpSpPr>
            <a:xfrm>
              <a:off x="11004055" y="1904999"/>
              <a:ext cx="2012580" cy="2011680"/>
              <a:chOff x="11004055" y="1904999"/>
              <a:chExt cx="2012580" cy="2011680"/>
            </a:xfrm>
          </p:grpSpPr>
          <p:sp>
            <p:nvSpPr>
              <p:cNvPr id="235" name="Rectangle 234"/>
              <p:cNvSpPr/>
              <p:nvPr/>
            </p:nvSpPr>
            <p:spPr bwMode="auto">
              <a:xfrm>
                <a:off x="11004055"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Fast Time to Solution</a:t>
                </a:r>
                <a:endParaRPr lang="en-US" sz="1500" dirty="0">
                  <a:gradFill>
                    <a:gsLst>
                      <a:gs pos="0">
                        <a:srgbClr val="FFFFFF"/>
                      </a:gs>
                      <a:gs pos="100000">
                        <a:srgbClr val="FFFFFF"/>
                      </a:gs>
                    </a:gsLst>
                    <a:lin ang="5400000" scaled="0"/>
                  </a:gradFill>
                </a:endParaRPr>
              </a:p>
            </p:txBody>
          </p:sp>
          <p:sp>
            <p:nvSpPr>
              <p:cNvPr id="236" name="TextBox 235"/>
              <p:cNvSpPr txBox="1"/>
              <p:nvPr/>
            </p:nvSpPr>
            <p:spPr>
              <a:xfrm>
                <a:off x="12660220"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6</a:t>
                </a:r>
              </a:p>
            </p:txBody>
          </p:sp>
          <p:pic>
            <p:nvPicPr>
              <p:cNvPr id="237" name="Picture 3" descr="\\SFP\Work\White_Whale\3-22036_Kuleen_Bharadwaj\PPT\3_PlatformVision_Kuleen\SFP_Art\Plane Slide\mon_notie.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1139211" y="1983751"/>
                <a:ext cx="746401" cy="8755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7" name="Group 226"/>
            <p:cNvGrpSpPr/>
            <p:nvPr/>
          </p:nvGrpSpPr>
          <p:grpSpPr>
            <a:xfrm>
              <a:off x="13128666" y="1904999"/>
              <a:ext cx="2017182" cy="2011680"/>
              <a:chOff x="13128666" y="1904999"/>
              <a:chExt cx="2017182" cy="2011680"/>
            </a:xfrm>
          </p:grpSpPr>
          <p:sp>
            <p:nvSpPr>
              <p:cNvPr id="232" name="Rectangle 231"/>
              <p:cNvSpPr/>
              <p:nvPr/>
            </p:nvSpPr>
            <p:spPr bwMode="auto">
              <a:xfrm>
                <a:off x="13128666"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Extend Any Data, Anywhere</a:t>
                </a:r>
                <a:endParaRPr lang="en-US" sz="1500" dirty="0">
                  <a:gradFill>
                    <a:gsLst>
                      <a:gs pos="0">
                        <a:srgbClr val="FFFFFF"/>
                      </a:gs>
                      <a:gs pos="100000">
                        <a:srgbClr val="FFFFFF"/>
                      </a:gs>
                    </a:gsLst>
                    <a:lin ang="5400000" scaled="0"/>
                  </a:gradFill>
                </a:endParaRPr>
              </a:p>
            </p:txBody>
          </p:sp>
          <p:sp>
            <p:nvSpPr>
              <p:cNvPr id="233" name="TextBox 232"/>
              <p:cNvSpPr txBox="1"/>
              <p:nvPr/>
            </p:nvSpPr>
            <p:spPr>
              <a:xfrm>
                <a:off x="14789433"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7</a:t>
                </a:r>
              </a:p>
            </p:txBody>
          </p:sp>
          <p:pic>
            <p:nvPicPr>
              <p:cNvPr id="234" name="Picture 7" descr="\\MAGNUM\Projects\Microsoft\Cloud Power FY12\Design\ICONS_PNG\Physical_Virtual.png"/>
              <p:cNvPicPr>
                <a:picLocks noChangeAspect="1" noChangeArrowheads="1"/>
              </p:cNvPicPr>
              <p:nvPr/>
            </p:nvPicPr>
            <p:blipFill rotWithShape="1">
              <a:blip r:embed="rId18" cstate="print">
                <a:extLst>
                  <a:ext uri="{BEBA8EAE-BF5A-486C-A8C5-ECC9F3942E4B}">
                    <a14:imgProps xmlns:a14="http://schemas.microsoft.com/office/drawing/2010/main">
                      <a14:imgLayer r:embed="rId19">
                        <a14:imgEffect>
                          <a14:brightnessContrast bright="100000"/>
                        </a14:imgEffect>
                      </a14:imgLayer>
                    </a14:imgProps>
                  </a:ext>
                </a:extLst>
              </a:blip>
              <a:srcRect l="7856" t="39072" r="7907" b="5885"/>
              <a:stretch/>
            </p:blipFill>
            <p:spPr bwMode="auto">
              <a:xfrm>
                <a:off x="13200761" y="1984614"/>
                <a:ext cx="1275651" cy="833547"/>
              </a:xfrm>
              <a:prstGeom prst="rect">
                <a:avLst/>
              </a:prstGeom>
              <a:noFill/>
            </p:spPr>
          </p:pic>
        </p:grpSp>
        <p:grpSp>
          <p:nvGrpSpPr>
            <p:cNvPr id="228" name="Group 227"/>
            <p:cNvGrpSpPr/>
            <p:nvPr/>
          </p:nvGrpSpPr>
          <p:grpSpPr>
            <a:xfrm>
              <a:off x="15243484" y="1904999"/>
              <a:ext cx="2011680" cy="2011680"/>
              <a:chOff x="15243484" y="1904999"/>
              <a:chExt cx="2011680" cy="2011680"/>
            </a:xfrm>
          </p:grpSpPr>
          <p:sp>
            <p:nvSpPr>
              <p:cNvPr id="229" name="Rectangle 228"/>
              <p:cNvSpPr/>
              <p:nvPr/>
            </p:nvSpPr>
            <p:spPr bwMode="auto">
              <a:xfrm>
                <a:off x="15243484"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New Scenarios, Unlocked</a:t>
                </a:r>
                <a:endParaRPr lang="en-US" sz="1500" dirty="0">
                  <a:gradFill>
                    <a:gsLst>
                      <a:gs pos="0">
                        <a:srgbClr val="FFFFFF"/>
                      </a:gs>
                      <a:gs pos="100000">
                        <a:srgbClr val="FFFFFF"/>
                      </a:gs>
                    </a:gsLst>
                    <a:lin ang="5400000" scaled="0"/>
                  </a:gradFill>
                </a:endParaRPr>
              </a:p>
            </p:txBody>
          </p:sp>
          <p:sp>
            <p:nvSpPr>
              <p:cNvPr id="230" name="TextBox 229"/>
              <p:cNvSpPr txBox="1"/>
              <p:nvPr/>
            </p:nvSpPr>
            <p:spPr>
              <a:xfrm>
                <a:off x="16882570" y="1904999"/>
                <a:ext cx="356415" cy="615553"/>
              </a:xfrm>
              <a:prstGeom prst="rect">
                <a:avLst/>
              </a:prstGeom>
              <a:noFill/>
            </p:spPr>
            <p:txBody>
              <a:bodyPr wrap="none" lIns="0" tIns="0" rIns="45720" bIns="0" rtlCol="0">
                <a:spAutoFit/>
              </a:bodyPr>
              <a:lstStyle/>
              <a:p>
                <a:pPr algn="r"/>
                <a:r>
                  <a:rPr lang="en-US" sz="3000" b="1" dirty="0">
                    <a:solidFill>
                      <a:schemeClr val="tx2">
                        <a:lumMod val="75000"/>
                      </a:schemeClr>
                    </a:solidFill>
                  </a:rPr>
                  <a:t>8</a:t>
                </a:r>
                <a:endParaRPr lang="en-US" sz="3000" b="1" dirty="0">
                  <a:solidFill>
                    <a:schemeClr val="tx2">
                      <a:lumMod val="75000"/>
                    </a:schemeClr>
                  </a:solidFill>
                </a:endParaRPr>
              </a:p>
            </p:txBody>
          </p:sp>
          <p:pic>
            <p:nvPicPr>
              <p:cNvPr id="231" name="Picture 2"/>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5416979" y="2043731"/>
                <a:ext cx="640905" cy="775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287" name="Group 286"/>
          <p:cNvGrpSpPr/>
          <p:nvPr/>
        </p:nvGrpSpPr>
        <p:grpSpPr>
          <a:xfrm>
            <a:off x="282304" y="1428749"/>
            <a:ext cx="1509828" cy="1508760"/>
            <a:chOff x="8879444" y="1904999"/>
            <a:chExt cx="2012580" cy="2011680"/>
          </a:xfrm>
        </p:grpSpPr>
        <p:sp>
          <p:nvSpPr>
            <p:cNvPr id="307" name="Rectangle 306"/>
            <p:cNvSpPr/>
            <p:nvPr/>
          </p:nvSpPr>
          <p:spPr bwMode="auto">
            <a:xfrm>
              <a:off x="8879444" y="1904999"/>
              <a:ext cx="2011680" cy="2011680"/>
            </a:xfrm>
            <a:prstGeom prst="rect">
              <a:avLst/>
            </a:prstGeom>
            <a:solidFill>
              <a:schemeClr val="accent3"/>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Scale on Demand</a:t>
              </a:r>
            </a:p>
          </p:txBody>
        </p:sp>
        <p:sp>
          <p:nvSpPr>
            <p:cNvPr id="308" name="TextBox 307"/>
            <p:cNvSpPr txBox="1"/>
            <p:nvPr/>
          </p:nvSpPr>
          <p:spPr>
            <a:xfrm>
              <a:off x="10535609" y="1904999"/>
              <a:ext cx="356415" cy="615553"/>
            </a:xfrm>
            <a:prstGeom prst="rect">
              <a:avLst/>
            </a:prstGeom>
            <a:noFill/>
          </p:spPr>
          <p:txBody>
            <a:bodyPr wrap="none" lIns="0" tIns="0" rIns="45720" bIns="0" rtlCol="0">
              <a:spAutoFit/>
            </a:bodyPr>
            <a:lstStyle/>
            <a:p>
              <a:r>
                <a:rPr lang="en-US" sz="3000" b="1" dirty="0">
                  <a:solidFill>
                    <a:srgbClr val="FFC000"/>
                  </a:solidFill>
                </a:rPr>
                <a:t>5</a:t>
              </a:r>
            </a:p>
          </p:txBody>
        </p:sp>
        <p:grpSp>
          <p:nvGrpSpPr>
            <p:cNvPr id="309" name="Group 308"/>
            <p:cNvGrpSpPr/>
            <p:nvPr/>
          </p:nvGrpSpPr>
          <p:grpSpPr>
            <a:xfrm>
              <a:off x="9098012" y="2146879"/>
              <a:ext cx="958800" cy="671282"/>
              <a:chOff x="7792432" y="3461097"/>
              <a:chExt cx="568902" cy="299861"/>
            </a:xfrm>
          </p:grpSpPr>
          <p:sp>
            <p:nvSpPr>
              <p:cNvPr id="310" name="Freeform 8"/>
              <p:cNvSpPr>
                <a:spLocks/>
              </p:cNvSpPr>
              <p:nvPr/>
            </p:nvSpPr>
            <p:spPr bwMode="auto">
              <a:xfrm>
                <a:off x="8055009" y="3461097"/>
                <a:ext cx="306325" cy="299861"/>
              </a:xfrm>
              <a:custGeom>
                <a:avLst/>
                <a:gdLst>
                  <a:gd name="T0" fmla="*/ 100 w 100"/>
                  <a:gd name="T1" fmla="*/ 0 h 98"/>
                  <a:gd name="T2" fmla="*/ 16 w 100"/>
                  <a:gd name="T3" fmla="*/ 13 h 98"/>
                  <a:gd name="T4" fmla="*/ 41 w 100"/>
                  <a:gd name="T5" fmla="*/ 39 h 98"/>
                  <a:gd name="T6" fmla="*/ 41 w 100"/>
                  <a:gd name="T7" fmla="*/ 39 h 98"/>
                  <a:gd name="T8" fmla="*/ 6 w 100"/>
                  <a:gd name="T9" fmla="*/ 75 h 98"/>
                  <a:gd name="T10" fmla="*/ 6 w 100"/>
                  <a:gd name="T11" fmla="*/ 94 h 98"/>
                  <a:gd name="T12" fmla="*/ 16 w 100"/>
                  <a:gd name="T13" fmla="*/ 98 h 98"/>
                  <a:gd name="T14" fmla="*/ 25 w 100"/>
                  <a:gd name="T15" fmla="*/ 94 h 98"/>
                  <a:gd name="T16" fmla="*/ 61 w 100"/>
                  <a:gd name="T17" fmla="*/ 59 h 98"/>
                  <a:gd name="T18" fmla="*/ 61 w 100"/>
                  <a:gd name="T19" fmla="*/ 59 h 98"/>
                  <a:gd name="T20" fmla="*/ 87 w 100"/>
                  <a:gd name="T21" fmla="*/ 84 h 98"/>
                  <a:gd name="T22" fmla="*/ 100 w 100"/>
                  <a:gd name="T23"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98">
                    <a:moveTo>
                      <a:pt x="100" y="0"/>
                    </a:moveTo>
                    <a:cubicBezTo>
                      <a:pt x="16" y="13"/>
                      <a:pt x="16" y="13"/>
                      <a:pt x="16" y="13"/>
                    </a:cubicBezTo>
                    <a:cubicBezTo>
                      <a:pt x="41" y="39"/>
                      <a:pt x="41" y="39"/>
                      <a:pt x="41" y="39"/>
                    </a:cubicBezTo>
                    <a:cubicBezTo>
                      <a:pt x="41" y="39"/>
                      <a:pt x="41" y="39"/>
                      <a:pt x="41" y="39"/>
                    </a:cubicBezTo>
                    <a:cubicBezTo>
                      <a:pt x="6" y="75"/>
                      <a:pt x="6" y="75"/>
                      <a:pt x="6" y="75"/>
                    </a:cubicBezTo>
                    <a:cubicBezTo>
                      <a:pt x="0" y="80"/>
                      <a:pt x="0" y="89"/>
                      <a:pt x="6" y="94"/>
                    </a:cubicBezTo>
                    <a:cubicBezTo>
                      <a:pt x="8" y="97"/>
                      <a:pt x="12" y="98"/>
                      <a:pt x="16" y="98"/>
                    </a:cubicBezTo>
                    <a:cubicBezTo>
                      <a:pt x="19" y="98"/>
                      <a:pt x="23" y="97"/>
                      <a:pt x="25" y="94"/>
                    </a:cubicBezTo>
                    <a:cubicBezTo>
                      <a:pt x="61" y="59"/>
                      <a:pt x="61" y="59"/>
                      <a:pt x="61" y="59"/>
                    </a:cubicBezTo>
                    <a:cubicBezTo>
                      <a:pt x="61" y="59"/>
                      <a:pt x="61" y="59"/>
                      <a:pt x="61" y="59"/>
                    </a:cubicBezTo>
                    <a:cubicBezTo>
                      <a:pt x="87" y="84"/>
                      <a:pt x="87" y="84"/>
                      <a:pt x="87" y="84"/>
                    </a:cubicBezTo>
                    <a:lnTo>
                      <a:pt x="10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 name="Rectangle 9"/>
              <p:cNvSpPr>
                <a:spLocks noChangeArrowheads="1"/>
              </p:cNvSpPr>
              <p:nvPr/>
            </p:nvSpPr>
            <p:spPr bwMode="auto">
              <a:xfrm>
                <a:off x="7891463" y="3675653"/>
                <a:ext cx="212661"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 name="Rectangle 9"/>
              <p:cNvSpPr>
                <a:spLocks noChangeArrowheads="1"/>
              </p:cNvSpPr>
              <p:nvPr/>
            </p:nvSpPr>
            <p:spPr bwMode="auto">
              <a:xfrm>
                <a:off x="7792432" y="3675653"/>
                <a:ext cx="27432"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 name="Rectangle 9"/>
              <p:cNvSpPr>
                <a:spLocks noChangeArrowheads="1"/>
              </p:cNvSpPr>
              <p:nvPr/>
            </p:nvSpPr>
            <p:spPr bwMode="auto">
              <a:xfrm>
                <a:off x="7832804" y="3675653"/>
                <a:ext cx="45719"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83"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84"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1"/>
              </a:rPr>
              <a:t>www.rapidbbs.cn</a:t>
            </a:r>
            <a:endParaRPr lang="zh-CN" altLang="en-US" sz="1200" b="0">
              <a:latin typeface="Arial" charset="0"/>
              <a:ea typeface="ＭＳ Ｐゴシック" pitchFamily="34" charset="-128"/>
            </a:endParaRPr>
          </a:p>
        </p:txBody>
      </p:sp>
      <p:pic>
        <p:nvPicPr>
          <p:cNvPr id="85" name="Picture 2">
            <a:hlinkClick r:id="rId21"/>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3817650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decel="100000" fill="hold" nodeType="withEffect">
                                  <p:stCondLst>
                                    <p:cond delay="0"/>
                                  </p:stCondLst>
                                  <p:childTnLst>
                                    <p:animMotion origin="layout" path="M -4.38322E-6 4.44444E-6 L -0.17441 4.44444E-6 " pathEditMode="relative" rAng="0" ptsTypes="AA">
                                      <p:cBhvr>
                                        <p:cTn id="6" dur="1000" fill="hold"/>
                                        <p:tgtEl>
                                          <p:spTgt spid="216"/>
                                        </p:tgtEl>
                                        <p:attrNameLst>
                                          <p:attrName>ppt_x</p:attrName>
                                          <p:attrName>ppt_y</p:attrName>
                                        </p:attrNameLst>
                                      </p:cBhvr>
                                      <p:rCtr x="-8727" y="0"/>
                                    </p:animMotion>
                                  </p:childTnLst>
                                </p:cTn>
                              </p:par>
                            </p:childTnLst>
                          </p:cTn>
                        </p:par>
                        <p:par>
                          <p:cTn id="7" fill="hold">
                            <p:stCondLst>
                              <p:cond delay="1000"/>
                            </p:stCondLst>
                            <p:childTnLst>
                              <p:par>
                                <p:cTn id="8" presetID="22" presetClass="entr" presetSubtype="4" fill="hold" nodeType="afterEffect">
                                  <p:stCondLst>
                                    <p:cond delay="0"/>
                                  </p:stCondLst>
                                  <p:childTnLst>
                                    <p:set>
                                      <p:cBhvr>
                                        <p:cTn id="9" dur="1" fill="hold">
                                          <p:stCondLst>
                                            <p:cond delay="0"/>
                                          </p:stCondLst>
                                        </p:cTn>
                                        <p:tgtEl>
                                          <p:spTgt spid="287"/>
                                        </p:tgtEl>
                                        <p:attrNameLst>
                                          <p:attrName>style.visibility</p:attrName>
                                        </p:attrNameLst>
                                      </p:cBhvr>
                                      <p:to>
                                        <p:strVal val="visible"/>
                                      </p:to>
                                    </p:set>
                                    <p:animEffect transition="in" filter="wipe(down)">
                                      <p:cBhvr>
                                        <p:cTn id="10" dur="500"/>
                                        <p:tgtEl>
                                          <p:spTgt spid="287"/>
                                        </p:tgtEl>
                                      </p:cBhvr>
                                    </p:animEffect>
                                  </p:childTnLst>
                                </p:cTn>
                              </p:par>
                              <p:par>
                                <p:cTn id="11" presetID="2" presetClass="entr" presetSubtype="2" decel="100000" fill="hold" grpId="0" nodeType="withEffect">
                                  <p:stCondLst>
                                    <p:cond delay="0"/>
                                  </p:stCondLst>
                                  <p:childTnLst>
                                    <p:set>
                                      <p:cBhvr>
                                        <p:cTn id="12" dur="1" fill="hold">
                                          <p:stCondLst>
                                            <p:cond delay="0"/>
                                          </p:stCondLst>
                                        </p:cTn>
                                        <p:tgtEl>
                                          <p:spTgt spid="99"/>
                                        </p:tgtEl>
                                        <p:attrNameLst>
                                          <p:attrName>style.visibility</p:attrName>
                                        </p:attrNameLst>
                                      </p:cBhvr>
                                      <p:to>
                                        <p:strVal val="visible"/>
                                      </p:to>
                                    </p:set>
                                    <p:anim calcmode="lin" valueType="num">
                                      <p:cBhvr additive="base">
                                        <p:cTn id="13" dur="1000" fill="hold"/>
                                        <p:tgtEl>
                                          <p:spTgt spid="99"/>
                                        </p:tgtEl>
                                        <p:attrNameLst>
                                          <p:attrName>ppt_x</p:attrName>
                                        </p:attrNameLst>
                                      </p:cBhvr>
                                      <p:tavLst>
                                        <p:tav tm="0">
                                          <p:val>
                                            <p:strVal val="1+#ppt_w/2"/>
                                          </p:val>
                                        </p:tav>
                                        <p:tav tm="100000">
                                          <p:val>
                                            <p:strVal val="#ppt_x"/>
                                          </p:val>
                                        </p:tav>
                                      </p:tavLst>
                                    </p:anim>
                                    <p:anim calcmode="lin" valueType="num">
                                      <p:cBhvr additive="base">
                                        <p:cTn id="14" dur="1000" fill="hold"/>
                                        <p:tgtEl>
                                          <p:spTgt spid="99"/>
                                        </p:tgtEl>
                                        <p:attrNameLst>
                                          <p:attrName>ppt_y</p:attrName>
                                        </p:attrNameLst>
                                      </p:cBhvr>
                                      <p:tavLst>
                                        <p:tav tm="0">
                                          <p:val>
                                            <p:strVal val="#ppt_y"/>
                                          </p:val>
                                        </p:tav>
                                        <p:tav tm="100000">
                                          <p:val>
                                            <p:strVal val="#ppt_y"/>
                                          </p:val>
                                        </p:tav>
                                      </p:tavLst>
                                    </p:anim>
                                  </p:childTnLst>
                                </p:cTn>
                              </p:par>
                              <p:par>
                                <p:cTn id="15" presetID="2" presetClass="entr" presetSubtype="2" decel="100000" fill="hold" grpId="0" nodeType="withEffect">
                                  <p:stCondLst>
                                    <p:cond delay="250"/>
                                  </p:stCondLst>
                                  <p:childTnLst>
                                    <p:set>
                                      <p:cBhvr>
                                        <p:cTn id="16" dur="1" fill="hold">
                                          <p:stCondLst>
                                            <p:cond delay="0"/>
                                          </p:stCondLst>
                                        </p:cTn>
                                        <p:tgtEl>
                                          <p:spTgt spid="98"/>
                                        </p:tgtEl>
                                        <p:attrNameLst>
                                          <p:attrName>style.visibility</p:attrName>
                                        </p:attrNameLst>
                                      </p:cBhvr>
                                      <p:to>
                                        <p:strVal val="visible"/>
                                      </p:to>
                                    </p:set>
                                    <p:anim calcmode="lin" valueType="num">
                                      <p:cBhvr additive="base">
                                        <p:cTn id="17" dur="1000" fill="hold"/>
                                        <p:tgtEl>
                                          <p:spTgt spid="98"/>
                                        </p:tgtEl>
                                        <p:attrNameLst>
                                          <p:attrName>ppt_x</p:attrName>
                                        </p:attrNameLst>
                                      </p:cBhvr>
                                      <p:tavLst>
                                        <p:tav tm="0">
                                          <p:val>
                                            <p:strVal val="1+#ppt_w/2"/>
                                          </p:val>
                                        </p:tav>
                                        <p:tav tm="100000">
                                          <p:val>
                                            <p:strVal val="#ppt_x"/>
                                          </p:val>
                                        </p:tav>
                                      </p:tavLst>
                                    </p:anim>
                                    <p:anim calcmode="lin" valueType="num">
                                      <p:cBhvr additive="base">
                                        <p:cTn id="18" dur="1000" fill="hold"/>
                                        <p:tgtEl>
                                          <p:spTgt spid="9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8" grpId="0" animBg="1"/>
      <p:bldP spid="99" grpId="0" animBg="1"/>
    </p:bldLst>
  </p:timing>
</p:sld>
</file>

<file path=ppt/slides/slide4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of Crosshairs" hidden="1"/>
          <p:cNvGrpSpPr/>
          <p:nvPr/>
        </p:nvGrpSpPr>
        <p:grpSpPr>
          <a:xfrm>
            <a:off x="696221" y="1839040"/>
            <a:ext cx="18220964" cy="688181"/>
            <a:chOff x="928053" y="4429828"/>
            <a:chExt cx="24288292" cy="917575"/>
          </a:xfrm>
        </p:grpSpPr>
        <p:sp>
          <p:nvSpPr>
            <p:cNvPr id="18" name="Crosshair"/>
            <p:cNvSpPr>
              <a:spLocks/>
            </p:cNvSpPr>
            <p:nvPr/>
          </p:nvSpPr>
          <p:spPr bwMode="auto">
            <a:xfrm>
              <a:off x="928053"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 name="Crosshair"/>
            <p:cNvSpPr>
              <a:spLocks/>
            </p:cNvSpPr>
            <p:nvPr/>
          </p:nvSpPr>
          <p:spPr bwMode="auto">
            <a:xfrm>
              <a:off x="3052664"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 name="Crosshair"/>
            <p:cNvSpPr>
              <a:spLocks/>
            </p:cNvSpPr>
            <p:nvPr/>
          </p:nvSpPr>
          <p:spPr bwMode="auto">
            <a:xfrm>
              <a:off x="5177275"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 name="Crosshair"/>
            <p:cNvSpPr>
              <a:spLocks/>
            </p:cNvSpPr>
            <p:nvPr/>
          </p:nvSpPr>
          <p:spPr bwMode="auto">
            <a:xfrm>
              <a:off x="7301886"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Crosshair"/>
            <p:cNvSpPr>
              <a:spLocks/>
            </p:cNvSpPr>
            <p:nvPr/>
          </p:nvSpPr>
          <p:spPr bwMode="auto">
            <a:xfrm>
              <a:off x="9426497"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3" name="Crosshair"/>
            <p:cNvSpPr>
              <a:spLocks/>
            </p:cNvSpPr>
            <p:nvPr/>
          </p:nvSpPr>
          <p:spPr bwMode="auto">
            <a:xfrm>
              <a:off x="11551108"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4" name="Crosshair"/>
            <p:cNvSpPr>
              <a:spLocks/>
            </p:cNvSpPr>
            <p:nvPr/>
          </p:nvSpPr>
          <p:spPr bwMode="auto">
            <a:xfrm>
              <a:off x="13675719"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Crosshair"/>
            <p:cNvSpPr>
              <a:spLocks/>
            </p:cNvSpPr>
            <p:nvPr/>
          </p:nvSpPr>
          <p:spPr bwMode="auto">
            <a:xfrm>
              <a:off x="15800330"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 name="Crosshair"/>
            <p:cNvSpPr>
              <a:spLocks/>
            </p:cNvSpPr>
            <p:nvPr/>
          </p:nvSpPr>
          <p:spPr bwMode="auto">
            <a:xfrm>
              <a:off x="17924941"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7" name="Crosshair"/>
            <p:cNvSpPr>
              <a:spLocks/>
            </p:cNvSpPr>
            <p:nvPr/>
          </p:nvSpPr>
          <p:spPr bwMode="auto">
            <a:xfrm>
              <a:off x="20049552"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8" name="Crosshair"/>
            <p:cNvSpPr>
              <a:spLocks/>
            </p:cNvSpPr>
            <p:nvPr/>
          </p:nvSpPr>
          <p:spPr bwMode="auto">
            <a:xfrm>
              <a:off x="22174163"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9" name="Crosshair"/>
            <p:cNvSpPr>
              <a:spLocks/>
            </p:cNvSpPr>
            <p:nvPr/>
          </p:nvSpPr>
          <p:spPr bwMode="auto">
            <a:xfrm>
              <a:off x="24298770"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70" name="Title 2"/>
          <p:cNvSpPr>
            <a:spLocks noGrp="1"/>
          </p:cNvSpPr>
          <p:nvPr>
            <p:ph type="title"/>
          </p:nvPr>
        </p:nvSpPr>
        <p:spPr>
          <a:xfrm>
            <a:off x="285825" y="171450"/>
            <a:ext cx="6280916" cy="457049"/>
          </a:xfrm>
        </p:spPr>
        <p:txBody>
          <a:bodyPr/>
          <a:lstStyle/>
          <a:p>
            <a:r>
              <a:rPr lang="en-US" dirty="0"/>
              <a:t>SQL Server 2012</a:t>
            </a:r>
          </a:p>
        </p:txBody>
      </p:sp>
      <p:pic>
        <p:nvPicPr>
          <p:cNvPr id="71" name="Picture 7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05641" y="4672464"/>
            <a:ext cx="1725220" cy="356737"/>
          </a:xfrm>
          <a:prstGeom prst="rect">
            <a:avLst/>
          </a:prstGeom>
        </p:spPr>
      </p:pic>
      <p:sp>
        <p:nvSpPr>
          <p:cNvPr id="98" name="Rectangle 97"/>
          <p:cNvSpPr/>
          <p:nvPr/>
        </p:nvSpPr>
        <p:spPr bwMode="auto">
          <a:xfrm>
            <a:off x="285824" y="3552453"/>
            <a:ext cx="7870324" cy="467390"/>
          </a:xfrm>
          <a:prstGeom prst="rect">
            <a:avLst/>
          </a:prstGeom>
          <a:solidFill>
            <a:srgbClr val="F6AE1E"/>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6" tIns="34293" rIns="68586" bIns="34293" numCol="1" spcCol="0" rtlCol="0" fromWordArt="0" anchor="ctr" anchorCtr="0" forceAA="0" compatLnSpc="1">
            <a:prstTxWarp prst="textNoShape">
              <a:avLst/>
            </a:prstTxWarp>
            <a:noAutofit/>
          </a:bodyPr>
          <a:lstStyle/>
          <a:p>
            <a:pPr defTabSz="685666" fontAlgn="base">
              <a:spcBef>
                <a:spcPct val="0"/>
              </a:spcBef>
              <a:spcAft>
                <a:spcPct val="0"/>
              </a:spcAft>
            </a:pPr>
            <a:r>
              <a:rPr lang="en-US" sz="2100" dirty="0">
                <a:gradFill>
                  <a:gsLst>
                    <a:gs pos="0">
                      <a:srgbClr val="FFFFFF"/>
                    </a:gs>
                    <a:gs pos="100000">
                      <a:srgbClr val="FFFFFF"/>
                    </a:gs>
                  </a:gsLst>
                  <a:lin ang="5400000" scaled="0"/>
                </a:gradFill>
              </a:rPr>
              <a:t>SQL Server Data Tools</a:t>
            </a:r>
            <a:endParaRPr lang="en-US" sz="2100" dirty="0">
              <a:gradFill>
                <a:gsLst>
                  <a:gs pos="0">
                    <a:srgbClr val="FFFFFF"/>
                  </a:gs>
                  <a:gs pos="100000">
                    <a:srgbClr val="FFFFFF"/>
                  </a:gs>
                </a:gsLst>
                <a:lin ang="5400000" scaled="0"/>
              </a:gradFill>
            </a:endParaRPr>
          </a:p>
        </p:txBody>
      </p:sp>
      <p:sp>
        <p:nvSpPr>
          <p:cNvPr id="99" name="Rectangle 98"/>
          <p:cNvSpPr/>
          <p:nvPr/>
        </p:nvSpPr>
        <p:spPr bwMode="auto">
          <a:xfrm>
            <a:off x="285824" y="3017520"/>
            <a:ext cx="7870324" cy="453683"/>
          </a:xfrm>
          <a:prstGeom prst="rect">
            <a:avLst/>
          </a:prstGeom>
          <a:solidFill>
            <a:srgbClr val="F6AE1E"/>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6" tIns="34293" rIns="68586" bIns="34293" numCol="1" spcCol="0" rtlCol="0" fromWordArt="0" anchor="ctr" anchorCtr="0" forceAA="0" compatLnSpc="1">
            <a:prstTxWarp prst="textNoShape">
              <a:avLst/>
            </a:prstTxWarp>
            <a:noAutofit/>
          </a:bodyPr>
          <a:lstStyle/>
          <a:p>
            <a:pPr defTabSz="685666" fontAlgn="base">
              <a:spcBef>
                <a:spcPct val="0"/>
              </a:spcBef>
              <a:spcAft>
                <a:spcPct val="0"/>
              </a:spcAft>
            </a:pPr>
            <a:r>
              <a:rPr lang="en-US" sz="2100" dirty="0">
                <a:gradFill>
                  <a:gsLst>
                    <a:gs pos="0">
                      <a:srgbClr val="FFFFFF"/>
                    </a:gs>
                    <a:gs pos="100000">
                      <a:srgbClr val="FFFFFF"/>
                    </a:gs>
                  </a:gsLst>
                  <a:lin ang="5400000" scaled="0"/>
                </a:gradFill>
              </a:rPr>
              <a:t>SQL Server Management Studio</a:t>
            </a:r>
            <a:endParaRPr lang="en-US" sz="2100" dirty="0">
              <a:gradFill>
                <a:gsLst>
                  <a:gs pos="0">
                    <a:srgbClr val="FFFFFF"/>
                  </a:gs>
                  <a:gs pos="100000">
                    <a:srgbClr val="FFFFFF"/>
                  </a:gs>
                </a:gsLst>
                <a:lin ang="5400000" scaled="0"/>
              </a:gradFill>
            </a:endParaRPr>
          </a:p>
        </p:txBody>
      </p:sp>
      <p:grpSp>
        <p:nvGrpSpPr>
          <p:cNvPr id="216" name="Group 215"/>
          <p:cNvGrpSpPr/>
          <p:nvPr/>
        </p:nvGrpSpPr>
        <p:grpSpPr>
          <a:xfrm>
            <a:off x="-6093189" y="1428749"/>
            <a:ext cx="19043903" cy="1508760"/>
            <a:chOff x="381000" y="1904999"/>
            <a:chExt cx="25385258" cy="2011680"/>
          </a:xfrm>
        </p:grpSpPr>
        <p:grpSp>
          <p:nvGrpSpPr>
            <p:cNvPr id="217" name="Group 216"/>
            <p:cNvGrpSpPr/>
            <p:nvPr/>
          </p:nvGrpSpPr>
          <p:grpSpPr>
            <a:xfrm>
              <a:off x="17380745" y="1904999"/>
              <a:ext cx="2011680" cy="2011680"/>
              <a:chOff x="17380745" y="1904999"/>
              <a:chExt cx="2011680" cy="2011680"/>
            </a:xfrm>
          </p:grpSpPr>
          <p:sp>
            <p:nvSpPr>
              <p:cNvPr id="269" name="Rectangle 268"/>
              <p:cNvSpPr/>
              <p:nvPr/>
            </p:nvSpPr>
            <p:spPr bwMode="auto">
              <a:xfrm>
                <a:off x="17380745"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Big Data &amp; Data </a:t>
                </a:r>
                <a:r>
                  <a:rPr lang="en-US" sz="1500" dirty="0">
                    <a:gradFill>
                      <a:gsLst>
                        <a:gs pos="0">
                          <a:srgbClr val="FFFFFF"/>
                        </a:gs>
                        <a:gs pos="100000">
                          <a:srgbClr val="FFFFFF"/>
                        </a:gs>
                      </a:gsLst>
                      <a:lin ang="5400000" scaled="0"/>
                    </a:gradFill>
                  </a:rPr>
                  <a:t>Warehousing</a:t>
                </a:r>
              </a:p>
            </p:txBody>
          </p:sp>
          <p:pic>
            <p:nvPicPr>
              <p:cNvPr id="270" name="Picture 8"/>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7494848" y="2029883"/>
                <a:ext cx="896304" cy="7133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71" name="TextBox 270"/>
              <p:cNvSpPr txBox="1"/>
              <p:nvPr/>
            </p:nvSpPr>
            <p:spPr>
              <a:xfrm>
                <a:off x="19026216" y="1904999"/>
                <a:ext cx="356415" cy="615553"/>
              </a:xfrm>
              <a:prstGeom prst="rect">
                <a:avLst/>
              </a:prstGeom>
              <a:noFill/>
            </p:spPr>
            <p:txBody>
              <a:bodyPr wrap="none" lIns="0" tIns="0" rIns="45720" bIns="0" rtlCol="0">
                <a:spAutoFit/>
              </a:bodyPr>
              <a:lstStyle/>
              <a:p>
                <a:pPr algn="r"/>
                <a:r>
                  <a:rPr lang="en-US" sz="3000" b="1" dirty="0">
                    <a:solidFill>
                      <a:schemeClr val="tx2">
                        <a:lumMod val="75000"/>
                      </a:schemeClr>
                    </a:solidFill>
                  </a:rPr>
                  <a:t>9</a:t>
                </a:r>
                <a:endParaRPr lang="en-US" sz="3000" b="1" dirty="0">
                  <a:solidFill>
                    <a:schemeClr val="tx2">
                      <a:lumMod val="75000"/>
                    </a:schemeClr>
                  </a:solidFill>
                </a:endParaRPr>
              </a:p>
            </p:txBody>
          </p:sp>
        </p:grpSp>
        <p:grpSp>
          <p:nvGrpSpPr>
            <p:cNvPr id="218" name="Group 217"/>
            <p:cNvGrpSpPr/>
            <p:nvPr/>
          </p:nvGrpSpPr>
          <p:grpSpPr>
            <a:xfrm>
              <a:off x="21629967" y="1904999"/>
              <a:ext cx="2011680" cy="2011680"/>
              <a:chOff x="21629967" y="1904999"/>
              <a:chExt cx="2011680" cy="2011680"/>
            </a:xfrm>
          </p:grpSpPr>
          <p:sp>
            <p:nvSpPr>
              <p:cNvPr id="266" name="Rectangle 265"/>
              <p:cNvSpPr/>
              <p:nvPr/>
            </p:nvSpPr>
            <p:spPr bwMode="auto">
              <a:xfrm>
                <a:off x="21629967"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Managed Self-Service BI</a:t>
                </a:r>
                <a:endParaRPr lang="en-US" sz="1500" dirty="0">
                  <a:gradFill>
                    <a:gsLst>
                      <a:gs pos="0">
                        <a:srgbClr val="FFFFFF"/>
                      </a:gs>
                      <a:gs pos="100000">
                        <a:srgbClr val="FFFFFF"/>
                      </a:gs>
                    </a:gsLst>
                    <a:lin ang="5400000" scaled="0"/>
                  </a:gradFill>
                </a:endParaRPr>
              </a:p>
            </p:txBody>
          </p:sp>
          <p:sp>
            <p:nvSpPr>
              <p:cNvPr id="267" name="TextBox 266"/>
              <p:cNvSpPr txBox="1"/>
              <p:nvPr/>
            </p:nvSpPr>
            <p:spPr>
              <a:xfrm>
                <a:off x="22979965" y="1904999"/>
                <a:ext cx="651290" cy="615553"/>
              </a:xfrm>
              <a:prstGeom prst="rect">
                <a:avLst/>
              </a:prstGeom>
              <a:noFill/>
            </p:spPr>
            <p:txBody>
              <a:bodyPr wrap="none" lIns="0" tIns="0" rIns="45720" bIns="0" rtlCol="0">
                <a:spAutoFit/>
              </a:bodyPr>
              <a:lstStyle/>
              <a:p>
                <a:pPr algn="r"/>
                <a:r>
                  <a:rPr lang="en-US" sz="3000" b="1" dirty="0">
                    <a:solidFill>
                      <a:schemeClr val="tx2">
                        <a:lumMod val="75000"/>
                      </a:schemeClr>
                    </a:solidFill>
                  </a:rPr>
                  <a:t>11</a:t>
                </a:r>
                <a:endParaRPr lang="en-US" sz="3000" b="1" dirty="0">
                  <a:solidFill>
                    <a:schemeClr val="tx2">
                      <a:lumMod val="75000"/>
                    </a:schemeClr>
                  </a:solidFill>
                </a:endParaRPr>
              </a:p>
            </p:txBody>
          </p:sp>
          <p:pic>
            <p:nvPicPr>
              <p:cNvPr id="268" name="Picture 17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1709280" y="1981200"/>
                <a:ext cx="832241" cy="833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9" name="Group 218"/>
            <p:cNvGrpSpPr/>
            <p:nvPr/>
          </p:nvGrpSpPr>
          <p:grpSpPr>
            <a:xfrm>
              <a:off x="23754578" y="1904999"/>
              <a:ext cx="2011680" cy="2011680"/>
              <a:chOff x="23754578" y="1904999"/>
              <a:chExt cx="2011680" cy="2011680"/>
            </a:xfrm>
          </p:grpSpPr>
          <p:sp>
            <p:nvSpPr>
              <p:cNvPr id="263" name="Rectangle 262"/>
              <p:cNvSpPr/>
              <p:nvPr/>
            </p:nvSpPr>
            <p:spPr bwMode="auto">
              <a:xfrm>
                <a:off x="23754578"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Rapid Data Exploration</a:t>
                </a:r>
                <a:endParaRPr lang="en-US" sz="1500" dirty="0">
                  <a:gradFill>
                    <a:gsLst>
                      <a:gs pos="0">
                        <a:srgbClr val="FFFFFF"/>
                      </a:gs>
                      <a:gs pos="100000">
                        <a:srgbClr val="FFFFFF"/>
                      </a:gs>
                    </a:gsLst>
                    <a:lin ang="5400000" scaled="0"/>
                  </a:gradFill>
                </a:endParaRPr>
              </a:p>
            </p:txBody>
          </p:sp>
          <p:sp>
            <p:nvSpPr>
              <p:cNvPr id="264" name="TextBox 263"/>
              <p:cNvSpPr txBox="1"/>
              <p:nvPr/>
            </p:nvSpPr>
            <p:spPr>
              <a:xfrm>
                <a:off x="25104576" y="1904999"/>
                <a:ext cx="651290" cy="615553"/>
              </a:xfrm>
              <a:prstGeom prst="rect">
                <a:avLst/>
              </a:prstGeom>
              <a:noFill/>
            </p:spPr>
            <p:txBody>
              <a:bodyPr wrap="none" lIns="0" tIns="0" rIns="45720" bIns="0" rtlCol="0">
                <a:spAutoFit/>
              </a:bodyPr>
              <a:lstStyle/>
              <a:p>
                <a:pPr algn="r"/>
                <a:r>
                  <a:rPr lang="en-US" sz="3000" b="1" dirty="0">
                    <a:solidFill>
                      <a:schemeClr val="tx2">
                        <a:lumMod val="75000"/>
                      </a:schemeClr>
                    </a:solidFill>
                  </a:rPr>
                  <a:t>12</a:t>
                </a:r>
                <a:endParaRPr lang="en-US" sz="3000" b="1" dirty="0">
                  <a:solidFill>
                    <a:schemeClr val="tx2">
                      <a:lumMod val="75000"/>
                    </a:schemeClr>
                  </a:solidFill>
                </a:endParaRPr>
              </a:p>
            </p:txBody>
          </p:sp>
          <p:pic>
            <p:nvPicPr>
              <p:cNvPr id="265" name="Picture 3"/>
              <p:cNvPicPr>
                <a:picLocks noChangeAspect="1" noChangeArrowheads="1"/>
              </p:cNvPicPr>
              <p:nvPr>
                <p:custDataLst>
                  <p:tags r:id="rId3"/>
                </p:custDataLst>
              </p:nvPr>
            </p:nvPicPr>
            <p:blipFill>
              <a:blip r:embed="rId8" cstate="print">
                <a:extLst>
                  <a:ext uri="{28A0092B-C50C-407E-A947-70E740481C1C}">
                    <a14:useLocalDpi xmlns:a14="http://schemas.microsoft.com/office/drawing/2010/main"/>
                  </a:ext>
                </a:extLst>
              </a:blip>
              <a:srcRect/>
              <a:stretch>
                <a:fillRect/>
              </a:stretch>
            </p:blipFill>
            <p:spPr bwMode="auto">
              <a:xfrm>
                <a:off x="23842880" y="1959614"/>
                <a:ext cx="593243" cy="859786"/>
              </a:xfrm>
              <a:prstGeom prst="rect">
                <a:avLst/>
              </a:prstGeom>
              <a:noFill/>
              <a:ln>
                <a:noFill/>
                <a:headEnd type="none" w="med" len="med"/>
                <a:tailEnd type="none" w="med" len="med"/>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20" name="Group 219"/>
            <p:cNvGrpSpPr/>
            <p:nvPr/>
          </p:nvGrpSpPr>
          <p:grpSpPr>
            <a:xfrm>
              <a:off x="4630222" y="1904999"/>
              <a:ext cx="2026976" cy="2011680"/>
              <a:chOff x="4630222" y="1904999"/>
              <a:chExt cx="2026976" cy="2011680"/>
            </a:xfrm>
          </p:grpSpPr>
          <p:sp>
            <p:nvSpPr>
              <p:cNvPr id="260" name="Rectangle 259"/>
              <p:cNvSpPr/>
              <p:nvPr/>
            </p:nvSpPr>
            <p:spPr bwMode="auto">
              <a:xfrm>
                <a:off x="4630222"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Required 9s &amp; Data Protection</a:t>
                </a:r>
                <a:endParaRPr lang="en-US" sz="1500" dirty="0">
                  <a:gradFill>
                    <a:gsLst>
                      <a:gs pos="0">
                        <a:srgbClr val="FFFFFF"/>
                      </a:gs>
                      <a:gs pos="100000">
                        <a:srgbClr val="FFFFFF"/>
                      </a:gs>
                    </a:gsLst>
                    <a:lin ang="5400000" scaled="0"/>
                  </a:gradFill>
                </a:endParaRPr>
              </a:p>
            </p:txBody>
          </p:sp>
          <p:sp>
            <p:nvSpPr>
              <p:cNvPr id="261" name="TextBox 260"/>
              <p:cNvSpPr txBox="1"/>
              <p:nvPr/>
            </p:nvSpPr>
            <p:spPr>
              <a:xfrm>
                <a:off x="6300783"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3</a:t>
                </a:r>
              </a:p>
            </p:txBody>
          </p:sp>
          <p:pic>
            <p:nvPicPr>
              <p:cNvPr id="262" name="Picture 4" descr="\\MAGNUM\Projects\Microsoft\Cloud Power FY12\Design\ICONS_PNG\Check_mark.png"/>
              <p:cNvPicPr>
                <a:picLocks noChangeAspect="1" noChangeArrowheads="1"/>
              </p:cNvPicPr>
              <p:nvPr/>
            </p:nvPicPr>
            <p:blipFill rotWithShape="1">
              <a:blip r:embed="rId9" cstate="print">
                <a:lum bright="100000"/>
              </a:blip>
              <a:srcRect t="11515"/>
              <a:stretch/>
            </p:blipFill>
            <p:spPr bwMode="auto">
              <a:xfrm>
                <a:off x="4669492" y="1927464"/>
                <a:ext cx="1253470" cy="1109124"/>
              </a:xfrm>
              <a:prstGeom prst="rect">
                <a:avLst/>
              </a:prstGeom>
              <a:noFill/>
            </p:spPr>
          </p:pic>
        </p:grpSp>
        <p:grpSp>
          <p:nvGrpSpPr>
            <p:cNvPr id="221" name="Group 220"/>
            <p:cNvGrpSpPr/>
            <p:nvPr/>
          </p:nvGrpSpPr>
          <p:grpSpPr>
            <a:xfrm>
              <a:off x="19505356" y="1904999"/>
              <a:ext cx="2011680" cy="2011680"/>
              <a:chOff x="19505356" y="1904999"/>
              <a:chExt cx="2011680" cy="2011680"/>
            </a:xfrm>
          </p:grpSpPr>
          <p:sp>
            <p:nvSpPr>
              <p:cNvPr id="257" name="Rectangle 256"/>
              <p:cNvSpPr/>
              <p:nvPr/>
            </p:nvSpPr>
            <p:spPr bwMode="auto">
              <a:xfrm>
                <a:off x="19505356"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Credible, Consistent Data</a:t>
                </a:r>
                <a:endParaRPr lang="en-US" sz="1500" dirty="0">
                  <a:gradFill>
                    <a:gsLst>
                      <a:gs pos="0">
                        <a:srgbClr val="FFFFFF"/>
                      </a:gs>
                      <a:gs pos="100000">
                        <a:srgbClr val="FFFFFF"/>
                      </a:gs>
                    </a:gsLst>
                    <a:lin ang="5400000" scaled="0"/>
                  </a:gradFill>
                </a:endParaRPr>
              </a:p>
            </p:txBody>
          </p:sp>
          <p:sp>
            <p:nvSpPr>
              <p:cNvPr id="258" name="TextBox 257"/>
              <p:cNvSpPr txBox="1"/>
              <p:nvPr/>
            </p:nvSpPr>
            <p:spPr>
              <a:xfrm>
                <a:off x="20865746" y="1904999"/>
                <a:ext cx="651290" cy="615553"/>
              </a:xfrm>
              <a:prstGeom prst="rect">
                <a:avLst/>
              </a:prstGeom>
              <a:noFill/>
            </p:spPr>
            <p:txBody>
              <a:bodyPr wrap="none" lIns="0" tIns="0" rIns="45720" bIns="0" rtlCol="0">
                <a:spAutoFit/>
              </a:bodyPr>
              <a:lstStyle/>
              <a:p>
                <a:pPr algn="r"/>
                <a:r>
                  <a:rPr lang="en-US" sz="3000" b="1" dirty="0">
                    <a:solidFill>
                      <a:schemeClr val="tx2">
                        <a:lumMod val="75000"/>
                      </a:schemeClr>
                    </a:solidFill>
                  </a:rPr>
                  <a:t>10</a:t>
                </a:r>
                <a:endParaRPr lang="en-US" sz="3000" b="1" dirty="0">
                  <a:solidFill>
                    <a:schemeClr val="tx2">
                      <a:lumMod val="75000"/>
                    </a:schemeClr>
                  </a:solidFill>
                </a:endParaRPr>
              </a:p>
            </p:txBody>
          </p:sp>
          <p:pic>
            <p:nvPicPr>
              <p:cNvPr id="259" name="Picture 2"/>
              <p:cNvPicPr>
                <a:picLocks noChangeAspect="1" noChangeArrowheads="1"/>
              </p:cNvPicPr>
              <p:nvPr/>
            </p:nvPicPr>
            <p:blipFill>
              <a:blip r:embed="rId10"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9623259" y="2012733"/>
                <a:ext cx="958499" cy="8515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22" name="Group 221"/>
            <p:cNvGrpSpPr/>
            <p:nvPr/>
          </p:nvGrpSpPr>
          <p:grpSpPr>
            <a:xfrm>
              <a:off x="2505611" y="1904999"/>
              <a:ext cx="2022972" cy="2011680"/>
              <a:chOff x="2505611" y="1904999"/>
              <a:chExt cx="2022972" cy="2011680"/>
            </a:xfrm>
          </p:grpSpPr>
          <p:sp>
            <p:nvSpPr>
              <p:cNvPr id="254" name="Rectangle 253"/>
              <p:cNvSpPr/>
              <p:nvPr/>
            </p:nvSpPr>
            <p:spPr bwMode="auto">
              <a:xfrm>
                <a:off x="2505611"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Security &amp; Compliance</a:t>
                </a:r>
                <a:endParaRPr lang="en-US" sz="1500" dirty="0">
                  <a:gradFill>
                    <a:gsLst>
                      <a:gs pos="0">
                        <a:srgbClr val="FFFFFF"/>
                      </a:gs>
                      <a:gs pos="100000">
                        <a:srgbClr val="FFFFFF"/>
                      </a:gs>
                    </a:gsLst>
                    <a:lin ang="5400000" scaled="0"/>
                  </a:gradFill>
                </a:endParaRPr>
              </a:p>
            </p:txBody>
          </p:sp>
          <p:sp>
            <p:nvSpPr>
              <p:cNvPr id="255" name="TextBox 254"/>
              <p:cNvSpPr txBox="1"/>
              <p:nvPr/>
            </p:nvSpPr>
            <p:spPr>
              <a:xfrm>
                <a:off x="4172168"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2</a:t>
                </a:r>
              </a:p>
            </p:txBody>
          </p:sp>
          <p:pic>
            <p:nvPicPr>
              <p:cNvPr id="256" name="Picture 255"/>
              <p:cNvPicPr>
                <a:picLocks noChangeAspect="1"/>
              </p:cNvPicPr>
              <p:nvPr>
                <p:custDataLst>
                  <p:tags r:id="rId2"/>
                </p:custDataLst>
              </p:nvPr>
            </p:nvPicPr>
            <p:blipFill>
              <a:blip r:embed="rId11">
                <a:extLst>
                  <a:ext uri="{28A0092B-C50C-407E-A947-70E740481C1C}">
                    <a14:useLocalDpi xmlns:a14="http://schemas.microsoft.com/office/drawing/2010/main" val="0"/>
                  </a:ext>
                </a:extLst>
              </a:blip>
              <a:stretch>
                <a:fillRect/>
              </a:stretch>
            </p:blipFill>
            <p:spPr>
              <a:xfrm>
                <a:off x="2655779" y="1983751"/>
                <a:ext cx="883759" cy="875588"/>
              </a:xfrm>
              <a:prstGeom prst="rect">
                <a:avLst/>
              </a:prstGeom>
              <a:effectLst/>
            </p:spPr>
          </p:pic>
        </p:grpSp>
        <p:grpSp>
          <p:nvGrpSpPr>
            <p:cNvPr id="223" name="Group 222"/>
            <p:cNvGrpSpPr/>
            <p:nvPr/>
          </p:nvGrpSpPr>
          <p:grpSpPr>
            <a:xfrm>
              <a:off x="381000" y="1904999"/>
              <a:ext cx="2026976" cy="2011680"/>
              <a:chOff x="381000" y="1904999"/>
              <a:chExt cx="2026976" cy="2011680"/>
            </a:xfrm>
          </p:grpSpPr>
          <p:sp>
            <p:nvSpPr>
              <p:cNvPr id="251" name="Rectangle 250"/>
              <p:cNvSpPr/>
              <p:nvPr/>
            </p:nvSpPr>
            <p:spPr bwMode="auto">
              <a:xfrm>
                <a:off x="381000"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Blazing-Fast Performance</a:t>
                </a:r>
              </a:p>
            </p:txBody>
          </p:sp>
          <p:sp>
            <p:nvSpPr>
              <p:cNvPr id="252" name="TextBox 251"/>
              <p:cNvSpPr txBox="1"/>
              <p:nvPr/>
            </p:nvSpPr>
            <p:spPr>
              <a:xfrm>
                <a:off x="2051561"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1</a:t>
                </a:r>
              </a:p>
            </p:txBody>
          </p:sp>
          <p:pic>
            <p:nvPicPr>
              <p:cNvPr id="253" name="Picture 25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06299" y="2057549"/>
                <a:ext cx="880541" cy="880541"/>
              </a:xfrm>
              <a:prstGeom prst="rect">
                <a:avLst/>
              </a:prstGeom>
            </p:spPr>
          </p:pic>
        </p:grpSp>
        <p:grpSp>
          <p:nvGrpSpPr>
            <p:cNvPr id="224" name="Group 223"/>
            <p:cNvGrpSpPr/>
            <p:nvPr/>
          </p:nvGrpSpPr>
          <p:grpSpPr>
            <a:xfrm>
              <a:off x="8879444" y="1904999"/>
              <a:ext cx="2012580" cy="2011680"/>
              <a:chOff x="8879444" y="1904999"/>
              <a:chExt cx="2012580" cy="2011680"/>
            </a:xfrm>
          </p:grpSpPr>
          <p:sp>
            <p:nvSpPr>
              <p:cNvPr id="244" name="Rectangle 243"/>
              <p:cNvSpPr/>
              <p:nvPr/>
            </p:nvSpPr>
            <p:spPr bwMode="auto">
              <a:xfrm>
                <a:off x="8879444"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Scale on Demand</a:t>
                </a:r>
                <a:endParaRPr lang="en-US" sz="1500" dirty="0">
                  <a:gradFill>
                    <a:gsLst>
                      <a:gs pos="0">
                        <a:srgbClr val="FFFFFF"/>
                      </a:gs>
                      <a:gs pos="100000">
                        <a:srgbClr val="FFFFFF"/>
                      </a:gs>
                    </a:gsLst>
                    <a:lin ang="5400000" scaled="0"/>
                  </a:gradFill>
                </a:endParaRPr>
              </a:p>
            </p:txBody>
          </p:sp>
          <p:sp>
            <p:nvSpPr>
              <p:cNvPr id="245" name="TextBox 244"/>
              <p:cNvSpPr txBox="1"/>
              <p:nvPr/>
            </p:nvSpPr>
            <p:spPr>
              <a:xfrm>
                <a:off x="10535609"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5</a:t>
                </a:r>
              </a:p>
            </p:txBody>
          </p:sp>
          <p:grpSp>
            <p:nvGrpSpPr>
              <p:cNvPr id="246" name="Group 245"/>
              <p:cNvGrpSpPr/>
              <p:nvPr/>
            </p:nvGrpSpPr>
            <p:grpSpPr>
              <a:xfrm>
                <a:off x="9098012" y="2146879"/>
                <a:ext cx="958800" cy="671282"/>
                <a:chOff x="7792432" y="3461097"/>
                <a:chExt cx="568902" cy="299861"/>
              </a:xfrm>
            </p:grpSpPr>
            <p:sp>
              <p:nvSpPr>
                <p:cNvPr id="247" name="Freeform 8"/>
                <p:cNvSpPr>
                  <a:spLocks/>
                </p:cNvSpPr>
                <p:nvPr/>
              </p:nvSpPr>
              <p:spPr bwMode="auto">
                <a:xfrm>
                  <a:off x="8055009" y="3461097"/>
                  <a:ext cx="306325" cy="299861"/>
                </a:xfrm>
                <a:custGeom>
                  <a:avLst/>
                  <a:gdLst>
                    <a:gd name="T0" fmla="*/ 100 w 100"/>
                    <a:gd name="T1" fmla="*/ 0 h 98"/>
                    <a:gd name="T2" fmla="*/ 16 w 100"/>
                    <a:gd name="T3" fmla="*/ 13 h 98"/>
                    <a:gd name="T4" fmla="*/ 41 w 100"/>
                    <a:gd name="T5" fmla="*/ 39 h 98"/>
                    <a:gd name="T6" fmla="*/ 41 w 100"/>
                    <a:gd name="T7" fmla="*/ 39 h 98"/>
                    <a:gd name="T8" fmla="*/ 6 w 100"/>
                    <a:gd name="T9" fmla="*/ 75 h 98"/>
                    <a:gd name="T10" fmla="*/ 6 w 100"/>
                    <a:gd name="T11" fmla="*/ 94 h 98"/>
                    <a:gd name="T12" fmla="*/ 16 w 100"/>
                    <a:gd name="T13" fmla="*/ 98 h 98"/>
                    <a:gd name="T14" fmla="*/ 25 w 100"/>
                    <a:gd name="T15" fmla="*/ 94 h 98"/>
                    <a:gd name="T16" fmla="*/ 61 w 100"/>
                    <a:gd name="T17" fmla="*/ 59 h 98"/>
                    <a:gd name="T18" fmla="*/ 61 w 100"/>
                    <a:gd name="T19" fmla="*/ 59 h 98"/>
                    <a:gd name="T20" fmla="*/ 87 w 100"/>
                    <a:gd name="T21" fmla="*/ 84 h 98"/>
                    <a:gd name="T22" fmla="*/ 100 w 100"/>
                    <a:gd name="T23"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98">
                      <a:moveTo>
                        <a:pt x="100" y="0"/>
                      </a:moveTo>
                      <a:cubicBezTo>
                        <a:pt x="16" y="13"/>
                        <a:pt x="16" y="13"/>
                        <a:pt x="16" y="13"/>
                      </a:cubicBezTo>
                      <a:cubicBezTo>
                        <a:pt x="41" y="39"/>
                        <a:pt x="41" y="39"/>
                        <a:pt x="41" y="39"/>
                      </a:cubicBezTo>
                      <a:cubicBezTo>
                        <a:pt x="41" y="39"/>
                        <a:pt x="41" y="39"/>
                        <a:pt x="41" y="39"/>
                      </a:cubicBezTo>
                      <a:cubicBezTo>
                        <a:pt x="6" y="75"/>
                        <a:pt x="6" y="75"/>
                        <a:pt x="6" y="75"/>
                      </a:cubicBezTo>
                      <a:cubicBezTo>
                        <a:pt x="0" y="80"/>
                        <a:pt x="0" y="89"/>
                        <a:pt x="6" y="94"/>
                      </a:cubicBezTo>
                      <a:cubicBezTo>
                        <a:pt x="8" y="97"/>
                        <a:pt x="12" y="98"/>
                        <a:pt x="16" y="98"/>
                      </a:cubicBezTo>
                      <a:cubicBezTo>
                        <a:pt x="19" y="98"/>
                        <a:pt x="23" y="97"/>
                        <a:pt x="25" y="94"/>
                      </a:cubicBezTo>
                      <a:cubicBezTo>
                        <a:pt x="61" y="59"/>
                        <a:pt x="61" y="59"/>
                        <a:pt x="61" y="59"/>
                      </a:cubicBezTo>
                      <a:cubicBezTo>
                        <a:pt x="61" y="59"/>
                        <a:pt x="61" y="59"/>
                        <a:pt x="61" y="59"/>
                      </a:cubicBezTo>
                      <a:cubicBezTo>
                        <a:pt x="87" y="84"/>
                        <a:pt x="87" y="84"/>
                        <a:pt x="87" y="84"/>
                      </a:cubicBezTo>
                      <a:lnTo>
                        <a:pt x="10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Rectangle 9"/>
                <p:cNvSpPr>
                  <a:spLocks noChangeArrowheads="1"/>
                </p:cNvSpPr>
                <p:nvPr/>
              </p:nvSpPr>
              <p:spPr bwMode="auto">
                <a:xfrm>
                  <a:off x="7891463" y="3675653"/>
                  <a:ext cx="212661"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Rectangle 9"/>
                <p:cNvSpPr>
                  <a:spLocks noChangeArrowheads="1"/>
                </p:cNvSpPr>
                <p:nvPr/>
              </p:nvSpPr>
              <p:spPr bwMode="auto">
                <a:xfrm>
                  <a:off x="7792432" y="3675653"/>
                  <a:ext cx="27432"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Rectangle 9"/>
                <p:cNvSpPr>
                  <a:spLocks noChangeArrowheads="1"/>
                </p:cNvSpPr>
                <p:nvPr/>
              </p:nvSpPr>
              <p:spPr bwMode="auto">
                <a:xfrm>
                  <a:off x="7832804" y="3675653"/>
                  <a:ext cx="45719"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25" name="Group 224"/>
            <p:cNvGrpSpPr/>
            <p:nvPr/>
          </p:nvGrpSpPr>
          <p:grpSpPr>
            <a:xfrm>
              <a:off x="6754833" y="1904999"/>
              <a:ext cx="2022972" cy="2011680"/>
              <a:chOff x="6754833" y="1904999"/>
              <a:chExt cx="2022972" cy="2011680"/>
            </a:xfrm>
          </p:grpSpPr>
          <p:sp>
            <p:nvSpPr>
              <p:cNvPr id="238" name="Rectangle 237"/>
              <p:cNvSpPr/>
              <p:nvPr/>
            </p:nvSpPr>
            <p:spPr bwMode="auto">
              <a:xfrm>
                <a:off x="6754833"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Flexibility &amp; Choice</a:t>
                </a:r>
                <a:endParaRPr lang="en-US" sz="1500" dirty="0">
                  <a:gradFill>
                    <a:gsLst>
                      <a:gs pos="0">
                        <a:srgbClr val="FFFFFF"/>
                      </a:gs>
                      <a:gs pos="100000">
                        <a:srgbClr val="FFFFFF"/>
                      </a:gs>
                    </a:gsLst>
                    <a:lin ang="5400000" scaled="0"/>
                  </a:gradFill>
                </a:endParaRPr>
              </a:p>
            </p:txBody>
          </p:sp>
          <p:sp>
            <p:nvSpPr>
              <p:cNvPr id="239" name="TextBox 238"/>
              <p:cNvSpPr txBox="1"/>
              <p:nvPr/>
            </p:nvSpPr>
            <p:spPr>
              <a:xfrm>
                <a:off x="8421390"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4</a:t>
                </a:r>
              </a:p>
            </p:txBody>
          </p:sp>
          <p:grpSp>
            <p:nvGrpSpPr>
              <p:cNvPr id="240" name="Group 239"/>
              <p:cNvGrpSpPr/>
              <p:nvPr>
                <p:custDataLst>
                  <p:tags r:id="rId1"/>
                </p:custDataLst>
              </p:nvPr>
            </p:nvGrpSpPr>
            <p:grpSpPr>
              <a:xfrm>
                <a:off x="6856412" y="1967341"/>
                <a:ext cx="1105890" cy="850820"/>
                <a:chOff x="3127606" y="1031618"/>
                <a:chExt cx="1905261" cy="1465821"/>
              </a:xfrm>
            </p:grpSpPr>
            <p:pic>
              <p:nvPicPr>
                <p:cNvPr id="241" name="Picture 6" descr="\\MAGNUM\Projects\Microsoft\Cloud Power FY12\Design\ICONS_PNG\Cloud.png"/>
                <p:cNvPicPr>
                  <a:picLocks noChangeAspect="1" noChangeArrowheads="1"/>
                </p:cNvPicPr>
                <p:nvPr/>
              </p:nvPicPr>
              <p:blipFill rotWithShape="1">
                <a:blip r:embed="rId13" cstate="print">
                  <a:extLst>
                    <a:ext uri="{BEBA8EAE-BF5A-486C-A8C5-ECC9F3942E4B}">
                      <a14:imgProps xmlns:a14="http://schemas.microsoft.com/office/drawing/2010/main">
                        <a14:imgLayer r:embed="rId14">
                          <a14:imgEffect>
                            <a14:brightnessContrast bright="100000"/>
                          </a14:imgEffect>
                        </a14:imgLayer>
                      </a14:imgProps>
                    </a:ext>
                  </a:extLst>
                </a:blip>
                <a:srcRect t="15452" b="16319"/>
                <a:stretch/>
              </p:blipFill>
              <p:spPr bwMode="auto">
                <a:xfrm>
                  <a:off x="3423223" y="1031618"/>
                  <a:ext cx="1609644" cy="1098248"/>
                </a:xfrm>
                <a:prstGeom prst="rect">
                  <a:avLst/>
                </a:prstGeom>
                <a:noFill/>
              </p:spPr>
            </p:pic>
            <p:pic>
              <p:nvPicPr>
                <p:cNvPr id="242" name="Picture 2" descr="\\MAGNUM\Projects\Microsoft\Cloud Power FY12\Design\Icons\PNGs\Server_2.png"/>
                <p:cNvPicPr>
                  <a:picLocks noChangeAspect="1" noChangeArrowheads="1"/>
                </p:cNvPicPr>
                <p:nvPr/>
              </p:nvPicPr>
              <p:blipFill rotWithShape="1">
                <a:blip r:embed="rId15" cstate="print">
                  <a:lum bright="100000"/>
                  <a:extLst>
                    <a:ext uri="{BEBA8EAE-BF5A-486C-A8C5-ECC9F3942E4B}">
                      <a14:imgProps xmlns:a14="http://schemas.microsoft.com/office/drawing/2010/main">
                        <a14:imgLayer r:embed="rId16">
                          <a14:imgEffect>
                            <a14:colorTemperature colorTemp="1500"/>
                          </a14:imgEffect>
                        </a14:imgLayer>
                      </a14:imgProps>
                    </a:ext>
                  </a:extLst>
                </a:blip>
                <a:srcRect l="27619" t="9540" r="26586" b="9151"/>
                <a:stretch/>
              </p:blipFill>
              <p:spPr bwMode="auto">
                <a:xfrm>
                  <a:off x="3537558" y="1444626"/>
                  <a:ext cx="589660" cy="916080"/>
                </a:xfrm>
                <a:prstGeom prst="rect">
                  <a:avLst/>
                </a:prstGeom>
                <a:noFill/>
                <a:effectLst>
                  <a:outerShdw blurRad="50800" dist="12700" sx="103000" sy="103000" algn="ctr" rotWithShape="0">
                    <a:prstClr val="black">
                      <a:alpha val="40000"/>
                    </a:prstClr>
                  </a:outerShdw>
                </a:effectLst>
              </p:spPr>
            </p:pic>
            <p:pic>
              <p:nvPicPr>
                <p:cNvPr id="243" name="Picture 2" descr="\\MAGNUM\Projects\Microsoft\Cloud Power FY12\Design\Icons\PNGs\Server_2.png"/>
                <p:cNvPicPr>
                  <a:picLocks noChangeAspect="1" noChangeArrowheads="1"/>
                </p:cNvPicPr>
                <p:nvPr/>
              </p:nvPicPr>
              <p:blipFill rotWithShape="1">
                <a:blip r:embed="rId15" cstate="print">
                  <a:lum bright="100000"/>
                  <a:extLst>
                    <a:ext uri="{BEBA8EAE-BF5A-486C-A8C5-ECC9F3942E4B}">
                      <a14:imgProps xmlns:a14="http://schemas.microsoft.com/office/drawing/2010/main">
                        <a14:imgLayer r:embed="rId16">
                          <a14:imgEffect>
                            <a14:colorTemperature colorTemp="1500"/>
                          </a14:imgEffect>
                        </a14:imgLayer>
                      </a14:imgProps>
                    </a:ext>
                  </a:extLst>
                </a:blip>
                <a:srcRect l="27619" t="9540" r="26586" b="9151"/>
                <a:stretch/>
              </p:blipFill>
              <p:spPr bwMode="auto">
                <a:xfrm>
                  <a:off x="3127606" y="1581359"/>
                  <a:ext cx="589659" cy="916080"/>
                </a:xfrm>
                <a:prstGeom prst="rect">
                  <a:avLst/>
                </a:prstGeom>
                <a:noFill/>
                <a:effectLst>
                  <a:outerShdw blurRad="50800" dist="12700" sx="103000" sy="103000" algn="ctr" rotWithShape="0">
                    <a:prstClr val="black">
                      <a:alpha val="40000"/>
                    </a:prstClr>
                  </a:outerShdw>
                </a:effectLst>
              </p:spPr>
            </p:pic>
          </p:grpSp>
        </p:grpSp>
        <p:grpSp>
          <p:nvGrpSpPr>
            <p:cNvPr id="226" name="Group 225"/>
            <p:cNvGrpSpPr/>
            <p:nvPr/>
          </p:nvGrpSpPr>
          <p:grpSpPr>
            <a:xfrm>
              <a:off x="11004055" y="1904999"/>
              <a:ext cx="2012580" cy="2011680"/>
              <a:chOff x="11004055" y="1904999"/>
              <a:chExt cx="2012580" cy="2011680"/>
            </a:xfrm>
          </p:grpSpPr>
          <p:sp>
            <p:nvSpPr>
              <p:cNvPr id="235" name="Rectangle 234"/>
              <p:cNvSpPr/>
              <p:nvPr/>
            </p:nvSpPr>
            <p:spPr bwMode="auto">
              <a:xfrm>
                <a:off x="11004055"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Fast Time to Solution</a:t>
                </a:r>
                <a:endParaRPr lang="en-US" sz="1500" dirty="0">
                  <a:gradFill>
                    <a:gsLst>
                      <a:gs pos="0">
                        <a:srgbClr val="FFFFFF"/>
                      </a:gs>
                      <a:gs pos="100000">
                        <a:srgbClr val="FFFFFF"/>
                      </a:gs>
                    </a:gsLst>
                    <a:lin ang="5400000" scaled="0"/>
                  </a:gradFill>
                </a:endParaRPr>
              </a:p>
            </p:txBody>
          </p:sp>
          <p:sp>
            <p:nvSpPr>
              <p:cNvPr id="236" name="TextBox 235"/>
              <p:cNvSpPr txBox="1"/>
              <p:nvPr/>
            </p:nvSpPr>
            <p:spPr>
              <a:xfrm>
                <a:off x="12660220"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6</a:t>
                </a:r>
              </a:p>
            </p:txBody>
          </p:sp>
          <p:pic>
            <p:nvPicPr>
              <p:cNvPr id="237" name="Picture 3" descr="\\SFP\Work\White_Whale\3-22036_Kuleen_Bharadwaj\PPT\3_PlatformVision_Kuleen\SFP_Art\Plane Slide\mon_notie.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1139211" y="1983751"/>
                <a:ext cx="746401" cy="8755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7" name="Group 226"/>
            <p:cNvGrpSpPr/>
            <p:nvPr/>
          </p:nvGrpSpPr>
          <p:grpSpPr>
            <a:xfrm>
              <a:off x="13128666" y="1904999"/>
              <a:ext cx="2017182" cy="2011680"/>
              <a:chOff x="13128666" y="1904999"/>
              <a:chExt cx="2017182" cy="2011680"/>
            </a:xfrm>
          </p:grpSpPr>
          <p:sp>
            <p:nvSpPr>
              <p:cNvPr id="232" name="Rectangle 231"/>
              <p:cNvSpPr/>
              <p:nvPr/>
            </p:nvSpPr>
            <p:spPr bwMode="auto">
              <a:xfrm>
                <a:off x="13128666"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Extend Any Data, Anywhere</a:t>
                </a:r>
                <a:endParaRPr lang="en-US" sz="1500" dirty="0">
                  <a:gradFill>
                    <a:gsLst>
                      <a:gs pos="0">
                        <a:srgbClr val="FFFFFF"/>
                      </a:gs>
                      <a:gs pos="100000">
                        <a:srgbClr val="FFFFFF"/>
                      </a:gs>
                    </a:gsLst>
                    <a:lin ang="5400000" scaled="0"/>
                  </a:gradFill>
                </a:endParaRPr>
              </a:p>
            </p:txBody>
          </p:sp>
          <p:sp>
            <p:nvSpPr>
              <p:cNvPr id="233" name="TextBox 232"/>
              <p:cNvSpPr txBox="1"/>
              <p:nvPr/>
            </p:nvSpPr>
            <p:spPr>
              <a:xfrm>
                <a:off x="14789433"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7</a:t>
                </a:r>
              </a:p>
            </p:txBody>
          </p:sp>
          <p:pic>
            <p:nvPicPr>
              <p:cNvPr id="234" name="Picture 7" descr="\\MAGNUM\Projects\Microsoft\Cloud Power FY12\Design\ICONS_PNG\Physical_Virtual.png"/>
              <p:cNvPicPr>
                <a:picLocks noChangeAspect="1" noChangeArrowheads="1"/>
              </p:cNvPicPr>
              <p:nvPr/>
            </p:nvPicPr>
            <p:blipFill rotWithShape="1">
              <a:blip r:embed="rId18" cstate="print">
                <a:extLst>
                  <a:ext uri="{BEBA8EAE-BF5A-486C-A8C5-ECC9F3942E4B}">
                    <a14:imgProps xmlns:a14="http://schemas.microsoft.com/office/drawing/2010/main">
                      <a14:imgLayer r:embed="rId19">
                        <a14:imgEffect>
                          <a14:brightnessContrast bright="100000"/>
                        </a14:imgEffect>
                      </a14:imgLayer>
                    </a14:imgProps>
                  </a:ext>
                </a:extLst>
              </a:blip>
              <a:srcRect l="7856" t="39072" r="7907" b="5885"/>
              <a:stretch/>
            </p:blipFill>
            <p:spPr bwMode="auto">
              <a:xfrm>
                <a:off x="13200761" y="1984614"/>
                <a:ext cx="1275651" cy="833547"/>
              </a:xfrm>
              <a:prstGeom prst="rect">
                <a:avLst/>
              </a:prstGeom>
              <a:noFill/>
            </p:spPr>
          </p:pic>
        </p:grpSp>
        <p:grpSp>
          <p:nvGrpSpPr>
            <p:cNvPr id="228" name="Group 227"/>
            <p:cNvGrpSpPr/>
            <p:nvPr/>
          </p:nvGrpSpPr>
          <p:grpSpPr>
            <a:xfrm>
              <a:off x="15244830" y="1904999"/>
              <a:ext cx="2011680" cy="2011680"/>
              <a:chOff x="15244830" y="1904999"/>
              <a:chExt cx="2011680" cy="2011680"/>
            </a:xfrm>
          </p:grpSpPr>
          <p:sp>
            <p:nvSpPr>
              <p:cNvPr id="229" name="Rectangle 228"/>
              <p:cNvSpPr/>
              <p:nvPr/>
            </p:nvSpPr>
            <p:spPr bwMode="auto">
              <a:xfrm>
                <a:off x="15244830"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New Scenarios, Unlocked</a:t>
                </a:r>
                <a:endParaRPr lang="en-US" sz="1500" dirty="0">
                  <a:gradFill>
                    <a:gsLst>
                      <a:gs pos="0">
                        <a:srgbClr val="FFFFFF"/>
                      </a:gs>
                      <a:gs pos="100000">
                        <a:srgbClr val="FFFFFF"/>
                      </a:gs>
                    </a:gsLst>
                    <a:lin ang="5400000" scaled="0"/>
                  </a:gradFill>
                </a:endParaRPr>
              </a:p>
            </p:txBody>
          </p:sp>
          <p:sp>
            <p:nvSpPr>
              <p:cNvPr id="230" name="TextBox 229"/>
              <p:cNvSpPr txBox="1"/>
              <p:nvPr/>
            </p:nvSpPr>
            <p:spPr>
              <a:xfrm>
                <a:off x="16883916" y="1904999"/>
                <a:ext cx="356415" cy="615553"/>
              </a:xfrm>
              <a:prstGeom prst="rect">
                <a:avLst/>
              </a:prstGeom>
              <a:noFill/>
            </p:spPr>
            <p:txBody>
              <a:bodyPr wrap="none" lIns="0" tIns="0" rIns="45720" bIns="0" rtlCol="0">
                <a:spAutoFit/>
              </a:bodyPr>
              <a:lstStyle/>
              <a:p>
                <a:pPr algn="r"/>
                <a:r>
                  <a:rPr lang="en-US" sz="3000" b="1" dirty="0">
                    <a:solidFill>
                      <a:schemeClr val="tx2">
                        <a:lumMod val="75000"/>
                      </a:schemeClr>
                    </a:solidFill>
                  </a:rPr>
                  <a:t>8</a:t>
                </a:r>
                <a:endParaRPr lang="en-US" sz="3000" b="1" dirty="0">
                  <a:solidFill>
                    <a:schemeClr val="tx2">
                      <a:lumMod val="75000"/>
                    </a:schemeClr>
                  </a:solidFill>
                </a:endParaRPr>
              </a:p>
            </p:txBody>
          </p:sp>
          <p:pic>
            <p:nvPicPr>
              <p:cNvPr id="231" name="Picture 2"/>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5418325" y="2043731"/>
                <a:ext cx="640905" cy="775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290" name="Group 289"/>
          <p:cNvGrpSpPr/>
          <p:nvPr/>
        </p:nvGrpSpPr>
        <p:grpSpPr>
          <a:xfrm>
            <a:off x="282304" y="1428749"/>
            <a:ext cx="1509828" cy="1508760"/>
            <a:chOff x="11004055" y="1904999"/>
            <a:chExt cx="2012580" cy="2011680"/>
          </a:xfrm>
        </p:grpSpPr>
        <p:sp>
          <p:nvSpPr>
            <p:cNvPr id="299" name="Rectangle 298"/>
            <p:cNvSpPr/>
            <p:nvPr/>
          </p:nvSpPr>
          <p:spPr bwMode="auto">
            <a:xfrm>
              <a:off x="11004055" y="1904999"/>
              <a:ext cx="2011680" cy="2011680"/>
            </a:xfrm>
            <a:prstGeom prst="rect">
              <a:avLst/>
            </a:prstGeom>
            <a:solidFill>
              <a:schemeClr val="accent3"/>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Fast Time to Solution</a:t>
              </a:r>
              <a:endParaRPr lang="en-US" sz="1500" dirty="0">
                <a:gradFill>
                  <a:gsLst>
                    <a:gs pos="0">
                      <a:srgbClr val="FFFFFF"/>
                    </a:gs>
                    <a:gs pos="100000">
                      <a:srgbClr val="FFFFFF"/>
                    </a:gs>
                  </a:gsLst>
                  <a:lin ang="5400000" scaled="0"/>
                </a:gradFill>
              </a:endParaRPr>
            </a:p>
          </p:txBody>
        </p:sp>
        <p:sp>
          <p:nvSpPr>
            <p:cNvPr id="300" name="TextBox 299"/>
            <p:cNvSpPr txBox="1"/>
            <p:nvPr/>
          </p:nvSpPr>
          <p:spPr>
            <a:xfrm>
              <a:off x="12660220" y="1904999"/>
              <a:ext cx="356415" cy="615553"/>
            </a:xfrm>
            <a:prstGeom prst="rect">
              <a:avLst/>
            </a:prstGeom>
            <a:noFill/>
          </p:spPr>
          <p:txBody>
            <a:bodyPr wrap="none" lIns="0" tIns="0" rIns="45720" bIns="0" rtlCol="0">
              <a:spAutoFit/>
            </a:bodyPr>
            <a:lstStyle/>
            <a:p>
              <a:r>
                <a:rPr lang="en-US" sz="3000" b="1" dirty="0">
                  <a:solidFill>
                    <a:srgbClr val="FFC000"/>
                  </a:solidFill>
                </a:rPr>
                <a:t>6</a:t>
              </a:r>
            </a:p>
          </p:txBody>
        </p:sp>
        <p:pic>
          <p:nvPicPr>
            <p:cNvPr id="301" name="Picture 3" descr="\\SFP\Work\White_Whale\3-22036_Kuleen_Bharadwaj\PPT\3_PlatformVision_Kuleen\SFP_Art\Plane Slide\mon_notie.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1139211" y="1983751"/>
              <a:ext cx="746401" cy="875588"/>
            </a:xfrm>
            <a:prstGeom prst="rect">
              <a:avLst/>
            </a:prstGeom>
            <a:noFill/>
            <a:extLst>
              <a:ext uri="{909E8E84-426E-40DD-AFC4-6F175D3DCCD1}">
                <a14:hiddenFill xmlns:a14="http://schemas.microsoft.com/office/drawing/2010/main">
                  <a:solidFill>
                    <a:srgbClr val="FFFFFF"/>
                  </a:solidFill>
                </a14:hiddenFill>
              </a:ext>
            </a:extLst>
          </p:spPr>
        </p:pic>
      </p:grpSp>
      <p:sp>
        <p:nvSpPr>
          <p:cNvPr id="79"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80"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1"/>
              </a:rPr>
              <a:t>www.rapidbbs.cn</a:t>
            </a:r>
            <a:endParaRPr lang="zh-CN" altLang="en-US" sz="1200" b="0">
              <a:latin typeface="Arial" charset="0"/>
              <a:ea typeface="ＭＳ Ｐゴシック" pitchFamily="34" charset="-128"/>
            </a:endParaRPr>
          </a:p>
        </p:txBody>
      </p:sp>
      <p:pic>
        <p:nvPicPr>
          <p:cNvPr id="81" name="Picture 2">
            <a:hlinkClick r:id="rId21"/>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2" name="Picture 2">
            <a:hlinkClick r:id="rId21"/>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143000" y="2804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69794201"/>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decel="100000" fill="hold" nodeType="withEffect">
                                  <p:stCondLst>
                                    <p:cond delay="0"/>
                                  </p:stCondLst>
                                  <p:childTnLst>
                                    <p:animMotion origin="layout" path="M -4.38322E-6 4.44444E-6 L -0.17441 4.44444E-6 " pathEditMode="relative" rAng="0" ptsTypes="AA">
                                      <p:cBhvr>
                                        <p:cTn id="6" dur="1000" fill="hold"/>
                                        <p:tgtEl>
                                          <p:spTgt spid="216"/>
                                        </p:tgtEl>
                                        <p:attrNameLst>
                                          <p:attrName>ppt_x</p:attrName>
                                          <p:attrName>ppt_y</p:attrName>
                                        </p:attrNameLst>
                                      </p:cBhvr>
                                      <p:rCtr x="-8727" y="0"/>
                                    </p:animMotion>
                                  </p:childTnLst>
                                </p:cTn>
                              </p:par>
                            </p:childTnLst>
                          </p:cTn>
                        </p:par>
                        <p:par>
                          <p:cTn id="7" fill="hold">
                            <p:stCondLst>
                              <p:cond delay="1000"/>
                            </p:stCondLst>
                            <p:childTnLst>
                              <p:par>
                                <p:cTn id="8" presetID="22" presetClass="entr" presetSubtype="4" fill="hold" nodeType="afterEffect">
                                  <p:stCondLst>
                                    <p:cond delay="0"/>
                                  </p:stCondLst>
                                  <p:childTnLst>
                                    <p:set>
                                      <p:cBhvr>
                                        <p:cTn id="9" dur="1" fill="hold">
                                          <p:stCondLst>
                                            <p:cond delay="0"/>
                                          </p:stCondLst>
                                        </p:cTn>
                                        <p:tgtEl>
                                          <p:spTgt spid="290"/>
                                        </p:tgtEl>
                                        <p:attrNameLst>
                                          <p:attrName>style.visibility</p:attrName>
                                        </p:attrNameLst>
                                      </p:cBhvr>
                                      <p:to>
                                        <p:strVal val="visible"/>
                                      </p:to>
                                    </p:set>
                                    <p:animEffect transition="in" filter="wipe(down)">
                                      <p:cBhvr>
                                        <p:cTn id="10" dur="500"/>
                                        <p:tgtEl>
                                          <p:spTgt spid="290"/>
                                        </p:tgtEl>
                                      </p:cBhvr>
                                    </p:animEffect>
                                  </p:childTnLst>
                                </p:cTn>
                              </p:par>
                              <p:par>
                                <p:cTn id="11" presetID="2" presetClass="entr" presetSubtype="2" decel="100000" fill="hold" grpId="0" nodeType="withEffect">
                                  <p:stCondLst>
                                    <p:cond delay="0"/>
                                  </p:stCondLst>
                                  <p:childTnLst>
                                    <p:set>
                                      <p:cBhvr>
                                        <p:cTn id="12" dur="1" fill="hold">
                                          <p:stCondLst>
                                            <p:cond delay="0"/>
                                          </p:stCondLst>
                                        </p:cTn>
                                        <p:tgtEl>
                                          <p:spTgt spid="99"/>
                                        </p:tgtEl>
                                        <p:attrNameLst>
                                          <p:attrName>style.visibility</p:attrName>
                                        </p:attrNameLst>
                                      </p:cBhvr>
                                      <p:to>
                                        <p:strVal val="visible"/>
                                      </p:to>
                                    </p:set>
                                    <p:anim calcmode="lin" valueType="num">
                                      <p:cBhvr additive="base">
                                        <p:cTn id="13" dur="1000" fill="hold"/>
                                        <p:tgtEl>
                                          <p:spTgt spid="99"/>
                                        </p:tgtEl>
                                        <p:attrNameLst>
                                          <p:attrName>ppt_x</p:attrName>
                                        </p:attrNameLst>
                                      </p:cBhvr>
                                      <p:tavLst>
                                        <p:tav tm="0">
                                          <p:val>
                                            <p:strVal val="1+#ppt_w/2"/>
                                          </p:val>
                                        </p:tav>
                                        <p:tav tm="100000">
                                          <p:val>
                                            <p:strVal val="#ppt_x"/>
                                          </p:val>
                                        </p:tav>
                                      </p:tavLst>
                                    </p:anim>
                                    <p:anim calcmode="lin" valueType="num">
                                      <p:cBhvr additive="base">
                                        <p:cTn id="14" dur="1000" fill="hold"/>
                                        <p:tgtEl>
                                          <p:spTgt spid="99"/>
                                        </p:tgtEl>
                                        <p:attrNameLst>
                                          <p:attrName>ppt_y</p:attrName>
                                        </p:attrNameLst>
                                      </p:cBhvr>
                                      <p:tavLst>
                                        <p:tav tm="0">
                                          <p:val>
                                            <p:strVal val="#ppt_y"/>
                                          </p:val>
                                        </p:tav>
                                        <p:tav tm="100000">
                                          <p:val>
                                            <p:strVal val="#ppt_y"/>
                                          </p:val>
                                        </p:tav>
                                      </p:tavLst>
                                    </p:anim>
                                  </p:childTnLst>
                                </p:cTn>
                              </p:par>
                              <p:par>
                                <p:cTn id="15" presetID="2" presetClass="entr" presetSubtype="2" decel="100000" fill="hold" grpId="0" nodeType="withEffect">
                                  <p:stCondLst>
                                    <p:cond delay="250"/>
                                  </p:stCondLst>
                                  <p:childTnLst>
                                    <p:set>
                                      <p:cBhvr>
                                        <p:cTn id="16" dur="1" fill="hold">
                                          <p:stCondLst>
                                            <p:cond delay="0"/>
                                          </p:stCondLst>
                                        </p:cTn>
                                        <p:tgtEl>
                                          <p:spTgt spid="98"/>
                                        </p:tgtEl>
                                        <p:attrNameLst>
                                          <p:attrName>style.visibility</p:attrName>
                                        </p:attrNameLst>
                                      </p:cBhvr>
                                      <p:to>
                                        <p:strVal val="visible"/>
                                      </p:to>
                                    </p:set>
                                    <p:anim calcmode="lin" valueType="num">
                                      <p:cBhvr additive="base">
                                        <p:cTn id="17" dur="1000" fill="hold"/>
                                        <p:tgtEl>
                                          <p:spTgt spid="98"/>
                                        </p:tgtEl>
                                        <p:attrNameLst>
                                          <p:attrName>ppt_x</p:attrName>
                                        </p:attrNameLst>
                                      </p:cBhvr>
                                      <p:tavLst>
                                        <p:tav tm="0">
                                          <p:val>
                                            <p:strVal val="1+#ppt_w/2"/>
                                          </p:val>
                                        </p:tav>
                                        <p:tav tm="100000">
                                          <p:val>
                                            <p:strVal val="#ppt_x"/>
                                          </p:val>
                                        </p:tav>
                                      </p:tavLst>
                                    </p:anim>
                                    <p:anim calcmode="lin" valueType="num">
                                      <p:cBhvr additive="base">
                                        <p:cTn id="18" dur="1000" fill="hold"/>
                                        <p:tgtEl>
                                          <p:spTgt spid="9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8" grpId="0" animBg="1"/>
      <p:bldP spid="99"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47118" y="4457707"/>
            <a:ext cx="8363938" cy="457049"/>
          </a:xfrm>
        </p:spPr>
        <p:txBody>
          <a:bodyPr/>
          <a:lstStyle/>
          <a:p>
            <a:r>
              <a:rPr lang="en-US" dirty="0" smtClean="0"/>
              <a:t>Why Virtualization Projects Fail</a:t>
            </a:r>
            <a:endParaRPr lang="en-US" dirty="0"/>
          </a:p>
        </p:txBody>
      </p:sp>
      <p:grpSp>
        <p:nvGrpSpPr>
          <p:cNvPr id="6" name="Group 5"/>
          <p:cNvGrpSpPr/>
          <p:nvPr/>
        </p:nvGrpSpPr>
        <p:grpSpPr>
          <a:xfrm>
            <a:off x="3314372" y="1371601"/>
            <a:ext cx="2572420" cy="2093624"/>
            <a:chOff x="4418012" y="1828800"/>
            <a:chExt cx="3429000" cy="2791498"/>
          </a:xfrm>
        </p:grpSpPr>
        <p:sp>
          <p:nvSpPr>
            <p:cNvPr id="14" name="Rectangle 13"/>
            <p:cNvSpPr/>
            <p:nvPr/>
          </p:nvSpPr>
          <p:spPr bwMode="auto">
            <a:xfrm>
              <a:off x="4418012" y="1828800"/>
              <a:ext cx="3429000" cy="2791498"/>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1700" dirty="0">
                <a:solidFill>
                  <a:srgbClr val="FFFFFF">
                    <a:alpha val="98824"/>
                  </a:srgbClr>
                </a:solidFill>
                <a:ea typeface="Segoe UI" pitchFamily="34" charset="0"/>
                <a:cs typeface="Segoe UI" pitchFamily="34" charset="0"/>
              </a:endParaRPr>
            </a:p>
          </p:txBody>
        </p:sp>
        <p:sp>
          <p:nvSpPr>
            <p:cNvPr id="15" name="Content Placeholder 4"/>
            <p:cNvSpPr txBox="1">
              <a:spLocks/>
            </p:cNvSpPr>
            <p:nvPr/>
          </p:nvSpPr>
          <p:spPr>
            <a:xfrm>
              <a:off x="4684711" y="3615945"/>
              <a:ext cx="2895602" cy="517064"/>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en-US" dirty="0" smtClean="0">
                  <a:gradFill>
                    <a:gsLst>
                      <a:gs pos="0">
                        <a:srgbClr val="FFFFFF"/>
                      </a:gs>
                      <a:gs pos="86000">
                        <a:srgbClr val="FFFFFF"/>
                      </a:gs>
                    </a:gsLst>
                    <a:lin ang="5400000" scaled="0"/>
                  </a:gradFill>
                </a:rPr>
                <a:t>Storage</a:t>
              </a:r>
            </a:p>
          </p:txBody>
        </p:sp>
        <p:sp>
          <p:nvSpPr>
            <p:cNvPr id="13" name="Freeform 12"/>
            <p:cNvSpPr>
              <a:spLocks noEditPoints="1"/>
            </p:cNvSpPr>
            <p:nvPr/>
          </p:nvSpPr>
          <p:spPr bwMode="black">
            <a:xfrm>
              <a:off x="5599111" y="2329025"/>
              <a:ext cx="1066802" cy="1066524"/>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800">
                <a:solidFill>
                  <a:srgbClr val="FFFFFF"/>
                </a:solidFill>
              </a:endParaRPr>
            </a:p>
          </p:txBody>
        </p:sp>
      </p:grpSp>
      <p:grpSp>
        <p:nvGrpSpPr>
          <p:cNvPr id="2" name="Group 1"/>
          <p:cNvGrpSpPr/>
          <p:nvPr/>
        </p:nvGrpSpPr>
        <p:grpSpPr>
          <a:xfrm>
            <a:off x="386518" y="1365664"/>
            <a:ext cx="2572420" cy="2093624"/>
            <a:chOff x="708848" y="1820883"/>
            <a:chExt cx="3429000" cy="2791498"/>
          </a:xfrm>
        </p:grpSpPr>
        <p:sp>
          <p:nvSpPr>
            <p:cNvPr id="18" name="Rectangle 17"/>
            <p:cNvSpPr/>
            <p:nvPr/>
          </p:nvSpPr>
          <p:spPr bwMode="auto">
            <a:xfrm>
              <a:off x="708848" y="1820883"/>
              <a:ext cx="3429000" cy="2791498"/>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1700" dirty="0">
                <a:solidFill>
                  <a:srgbClr val="FFFFFF">
                    <a:alpha val="98824"/>
                  </a:srgbClr>
                </a:solidFill>
                <a:ea typeface="Segoe UI" pitchFamily="34" charset="0"/>
                <a:cs typeface="Segoe UI" pitchFamily="34" charset="0"/>
              </a:endParaRPr>
            </a:p>
          </p:txBody>
        </p:sp>
        <p:sp>
          <p:nvSpPr>
            <p:cNvPr id="12" name="Content Placeholder 4"/>
            <p:cNvSpPr txBox="1">
              <a:spLocks/>
            </p:cNvSpPr>
            <p:nvPr/>
          </p:nvSpPr>
          <p:spPr>
            <a:xfrm>
              <a:off x="975547" y="3357401"/>
              <a:ext cx="2895602" cy="1034129"/>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en-US" dirty="0" smtClean="0">
                  <a:gradFill>
                    <a:gsLst>
                      <a:gs pos="0">
                        <a:srgbClr val="FFFFFF"/>
                      </a:gs>
                      <a:gs pos="86000">
                        <a:srgbClr val="FFFFFF"/>
                      </a:gs>
                    </a:gsLst>
                    <a:lin ang="5400000" scaled="0"/>
                  </a:gradFill>
                </a:rPr>
                <a:t>Mission Critical</a:t>
              </a:r>
            </a:p>
          </p:txBody>
        </p:sp>
        <p:sp>
          <p:nvSpPr>
            <p:cNvPr id="17" name="Freeform 16"/>
            <p:cNvSpPr>
              <a:spLocks/>
            </p:cNvSpPr>
            <p:nvPr/>
          </p:nvSpPr>
          <p:spPr bwMode="black">
            <a:xfrm>
              <a:off x="1743644" y="2329024"/>
              <a:ext cx="1359408" cy="1059941"/>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800">
                <a:solidFill>
                  <a:srgbClr val="FFFFFF"/>
                </a:solidFill>
              </a:endParaRPr>
            </a:p>
          </p:txBody>
        </p:sp>
      </p:grpSp>
      <p:grpSp>
        <p:nvGrpSpPr>
          <p:cNvPr id="5" name="Group 4"/>
          <p:cNvGrpSpPr/>
          <p:nvPr/>
        </p:nvGrpSpPr>
        <p:grpSpPr>
          <a:xfrm>
            <a:off x="6223647" y="1365664"/>
            <a:ext cx="2572420" cy="2093624"/>
            <a:chOff x="8489660" y="1820883"/>
            <a:chExt cx="3429000" cy="2791498"/>
          </a:xfrm>
        </p:grpSpPr>
        <p:sp>
          <p:nvSpPr>
            <p:cNvPr id="19" name="Rectangle 18"/>
            <p:cNvSpPr/>
            <p:nvPr/>
          </p:nvSpPr>
          <p:spPr bwMode="auto">
            <a:xfrm>
              <a:off x="8489660" y="1820883"/>
              <a:ext cx="3429000" cy="2791498"/>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1700" dirty="0">
                <a:solidFill>
                  <a:srgbClr val="FFFFFF">
                    <a:alpha val="98824"/>
                  </a:srgbClr>
                </a:solidFill>
                <a:ea typeface="Segoe UI" pitchFamily="34" charset="0"/>
                <a:cs typeface="Segoe UI" pitchFamily="34" charset="0"/>
              </a:endParaRPr>
            </a:p>
          </p:txBody>
        </p:sp>
        <p:sp>
          <p:nvSpPr>
            <p:cNvPr id="25" name="Content Placeholder 4"/>
            <p:cNvSpPr txBox="1">
              <a:spLocks/>
            </p:cNvSpPr>
            <p:nvPr/>
          </p:nvSpPr>
          <p:spPr>
            <a:xfrm>
              <a:off x="8756359" y="3357401"/>
              <a:ext cx="2895602" cy="1034129"/>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en-US" dirty="0" smtClean="0">
                  <a:gradFill>
                    <a:gsLst>
                      <a:gs pos="0">
                        <a:srgbClr val="FFFFFF"/>
                      </a:gs>
                      <a:gs pos="86000">
                        <a:srgbClr val="FFFFFF"/>
                      </a:gs>
                    </a:gsLst>
                    <a:lin ang="5400000" scaled="0"/>
                  </a:gradFill>
                </a:rPr>
                <a:t>High Availability</a:t>
              </a:r>
            </a:p>
          </p:txBody>
        </p:sp>
        <p:pic>
          <p:nvPicPr>
            <p:cNvPr id="16" name="Picture 7" descr="\\MAGNUM\Projects\Microsoft\Cloud Power FY12\Design\ICONS_PNG\Within_Your_Reach.png"/>
            <p:cNvPicPr>
              <a:picLocks noChangeAspect="1" noChangeArrowheads="1"/>
            </p:cNvPicPr>
            <p:nvPr/>
          </p:nvPicPr>
          <p:blipFill>
            <a:blip r:embed="rId4" cstate="print">
              <a:biLevel thresh="25000"/>
            </a:blip>
            <a:stretch>
              <a:fillRect/>
            </a:stretch>
          </p:blipFill>
          <p:spPr bwMode="auto">
            <a:xfrm>
              <a:off x="9597086" y="2196732"/>
              <a:ext cx="1214147" cy="1324526"/>
            </a:xfrm>
            <a:prstGeom prst="rect">
              <a:avLst/>
            </a:prstGeom>
            <a:noFill/>
          </p:spPr>
        </p:pic>
      </p:grpSp>
      <p:sp>
        <p:nvSpPr>
          <p:cNvPr id="20"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1"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5"/>
              </a:rPr>
              <a:t>www.rapidbbs.cn</a:t>
            </a:r>
            <a:endParaRPr lang="zh-CN" altLang="en-US" sz="1200" b="0">
              <a:latin typeface="Arial" charset="0"/>
              <a:ea typeface="ＭＳ Ｐゴシック" pitchFamily="34" charset="-128"/>
            </a:endParaRPr>
          </a:p>
        </p:txBody>
      </p:sp>
      <p:pic>
        <p:nvPicPr>
          <p:cNvPr id="22" name="Picture 2">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968823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388870" y="3113512"/>
            <a:ext cx="2590800" cy="1145286"/>
            <a:chOff x="203147" y="4311316"/>
            <a:chExt cx="3453500" cy="1527048"/>
          </a:xfrm>
        </p:grpSpPr>
        <p:sp>
          <p:nvSpPr>
            <p:cNvPr id="175" name="Rectangle 174"/>
            <p:cNvSpPr/>
            <p:nvPr/>
          </p:nvSpPr>
          <p:spPr>
            <a:xfrm>
              <a:off x="203147" y="4311316"/>
              <a:ext cx="3453500" cy="1527048"/>
            </a:xfrm>
            <a:prstGeom prst="rect">
              <a:avLst/>
            </a:prstGeom>
            <a:solidFill>
              <a:schemeClr val="accent1"/>
            </a:solidFill>
            <a:ln>
              <a:noFill/>
            </a:ln>
          </p:spPr>
          <p:style>
            <a:lnRef idx="1">
              <a:schemeClr val="accent2"/>
            </a:lnRef>
            <a:fillRef idx="2">
              <a:schemeClr val="accent2"/>
            </a:fillRef>
            <a:effectRef idx="1">
              <a:schemeClr val="accent2"/>
            </a:effectRef>
            <a:fontRef idx="minor">
              <a:schemeClr val="dk1"/>
            </a:fontRef>
          </p:style>
          <p:txBody>
            <a:bodyPr lIns="121899" tIns="109728" rIns="121899" bIns="60949" rtlCol="0" anchor="t" anchorCtr="1"/>
            <a:lstStyle/>
            <a:p>
              <a:pPr algn="ctr"/>
              <a:r>
                <a:rPr lang="en-US" sz="1600" b="1" dirty="0">
                  <a:gradFill>
                    <a:gsLst>
                      <a:gs pos="0">
                        <a:schemeClr val="tx1"/>
                      </a:gs>
                      <a:gs pos="100000">
                        <a:schemeClr val="tx1"/>
                      </a:gs>
                    </a:gsLst>
                    <a:lin ang="5400000" scaled="0"/>
                  </a:gradFill>
                </a:rPr>
                <a:t>Backend Node Replica 1</a:t>
              </a:r>
            </a:p>
          </p:txBody>
        </p:sp>
        <p:sp>
          <p:nvSpPr>
            <p:cNvPr id="177" name="Rectangle 176"/>
            <p:cNvSpPr/>
            <p:nvPr/>
          </p:nvSpPr>
          <p:spPr>
            <a:xfrm>
              <a:off x="379830" y="4873231"/>
              <a:ext cx="3104690" cy="769161"/>
            </a:xfrm>
            <a:prstGeom prst="rect">
              <a:avLst/>
            </a:prstGeom>
            <a:solidFill>
              <a:schemeClr val="accent1">
                <a:lumMod val="50000"/>
              </a:schemeClr>
            </a:solidFill>
            <a:ln>
              <a:noFill/>
            </a:ln>
          </p:spPr>
          <p:style>
            <a:lnRef idx="1">
              <a:schemeClr val="accent2"/>
            </a:lnRef>
            <a:fillRef idx="2">
              <a:schemeClr val="accent2"/>
            </a:fillRef>
            <a:effectRef idx="1">
              <a:schemeClr val="accent2"/>
            </a:effectRef>
            <a:fontRef idx="minor">
              <a:schemeClr val="dk1"/>
            </a:fontRef>
          </p:style>
          <p:txBody>
            <a:bodyPr lIns="121899" tIns="60949" rIns="121899" bIns="60949" rtlCol="0" anchor="ctr" anchorCtr="0"/>
            <a:lstStyle/>
            <a:p>
              <a:pPr algn="ctr"/>
              <a:r>
                <a:rPr lang="en-US" dirty="0">
                  <a:gradFill>
                    <a:gsLst>
                      <a:gs pos="0">
                        <a:schemeClr val="tx1"/>
                      </a:gs>
                      <a:gs pos="100000">
                        <a:schemeClr val="tx1"/>
                      </a:gs>
                    </a:gsLst>
                    <a:lin ang="5400000" scaled="0"/>
                  </a:gradFill>
                </a:rPr>
                <a:t>SQL DB</a:t>
              </a:r>
            </a:p>
          </p:txBody>
        </p:sp>
      </p:grpSp>
      <p:grpSp>
        <p:nvGrpSpPr>
          <p:cNvPr id="10" name="Group 9"/>
          <p:cNvGrpSpPr/>
          <p:nvPr/>
        </p:nvGrpSpPr>
        <p:grpSpPr>
          <a:xfrm>
            <a:off x="6172200" y="3113512"/>
            <a:ext cx="2590800" cy="1145286"/>
            <a:chOff x="8227457" y="4311316"/>
            <a:chExt cx="3453500" cy="1527048"/>
          </a:xfrm>
        </p:grpSpPr>
        <p:sp>
          <p:nvSpPr>
            <p:cNvPr id="185" name="Rectangle 184"/>
            <p:cNvSpPr/>
            <p:nvPr/>
          </p:nvSpPr>
          <p:spPr>
            <a:xfrm>
              <a:off x="8227457" y="4311316"/>
              <a:ext cx="3453500" cy="1527048"/>
            </a:xfrm>
            <a:prstGeom prst="rect">
              <a:avLst/>
            </a:prstGeom>
            <a:solidFill>
              <a:schemeClr val="accent1"/>
            </a:solidFill>
            <a:ln>
              <a:noFill/>
            </a:ln>
          </p:spPr>
          <p:style>
            <a:lnRef idx="1">
              <a:schemeClr val="accent2"/>
            </a:lnRef>
            <a:fillRef idx="2">
              <a:schemeClr val="accent2"/>
            </a:fillRef>
            <a:effectRef idx="1">
              <a:schemeClr val="accent2"/>
            </a:effectRef>
            <a:fontRef idx="minor">
              <a:schemeClr val="dk1"/>
            </a:fontRef>
          </p:style>
          <p:txBody>
            <a:bodyPr lIns="121899" tIns="109728" rIns="121899" bIns="60949" rtlCol="0" anchor="t" anchorCtr="1"/>
            <a:lstStyle/>
            <a:p>
              <a:pPr algn="ctr"/>
              <a:r>
                <a:rPr lang="en-US" sz="1600" b="1" dirty="0">
                  <a:gradFill>
                    <a:gsLst>
                      <a:gs pos="0">
                        <a:schemeClr val="tx1"/>
                      </a:gs>
                      <a:gs pos="100000">
                        <a:schemeClr val="tx1"/>
                      </a:gs>
                    </a:gsLst>
                    <a:lin ang="5400000" scaled="0"/>
                  </a:gradFill>
                </a:rPr>
                <a:t>Backend Node Replica 2</a:t>
              </a:r>
            </a:p>
          </p:txBody>
        </p:sp>
        <p:sp>
          <p:nvSpPr>
            <p:cNvPr id="187" name="Rectangle 186"/>
            <p:cNvSpPr/>
            <p:nvPr/>
          </p:nvSpPr>
          <p:spPr>
            <a:xfrm>
              <a:off x="8505087" y="4873231"/>
              <a:ext cx="2898648" cy="769161"/>
            </a:xfrm>
            <a:prstGeom prst="rect">
              <a:avLst/>
            </a:prstGeom>
            <a:solidFill>
              <a:schemeClr val="accent1">
                <a:lumMod val="50000"/>
              </a:schemeClr>
            </a:solidFill>
            <a:ln>
              <a:noFill/>
            </a:ln>
          </p:spPr>
          <p:style>
            <a:lnRef idx="1">
              <a:schemeClr val="accent2"/>
            </a:lnRef>
            <a:fillRef idx="2">
              <a:schemeClr val="accent2"/>
            </a:fillRef>
            <a:effectRef idx="1">
              <a:schemeClr val="accent2"/>
            </a:effectRef>
            <a:fontRef idx="minor">
              <a:schemeClr val="dk1"/>
            </a:fontRef>
          </p:style>
          <p:txBody>
            <a:bodyPr lIns="121899" tIns="60949" rIns="121899" bIns="60949" rtlCol="0" anchor="ctr" anchorCtr="0"/>
            <a:lstStyle/>
            <a:p>
              <a:pPr algn="ctr"/>
              <a:r>
                <a:rPr lang="en-US" dirty="0">
                  <a:gradFill>
                    <a:gsLst>
                      <a:gs pos="0">
                        <a:schemeClr val="tx1"/>
                      </a:gs>
                      <a:gs pos="100000">
                        <a:schemeClr val="tx1"/>
                      </a:gs>
                    </a:gsLst>
                    <a:lin ang="5400000" scaled="0"/>
                  </a:gradFill>
                </a:rPr>
                <a:t>SQL DB</a:t>
              </a:r>
            </a:p>
          </p:txBody>
        </p:sp>
      </p:grpSp>
      <p:grpSp>
        <p:nvGrpSpPr>
          <p:cNvPr id="7" name="Group 6"/>
          <p:cNvGrpSpPr/>
          <p:nvPr/>
        </p:nvGrpSpPr>
        <p:grpSpPr>
          <a:xfrm>
            <a:off x="3276600" y="3113512"/>
            <a:ext cx="2590800" cy="1145286"/>
            <a:chOff x="4164515" y="4311316"/>
            <a:chExt cx="3453500" cy="1527048"/>
          </a:xfrm>
        </p:grpSpPr>
        <p:sp>
          <p:nvSpPr>
            <p:cNvPr id="182" name="Rectangle 181"/>
            <p:cNvSpPr/>
            <p:nvPr/>
          </p:nvSpPr>
          <p:spPr>
            <a:xfrm>
              <a:off x="4164515" y="4311316"/>
              <a:ext cx="3453500" cy="1527048"/>
            </a:xfrm>
            <a:prstGeom prst="rect">
              <a:avLst/>
            </a:prstGeom>
            <a:solidFill>
              <a:schemeClr val="accent1"/>
            </a:solidFill>
            <a:ln>
              <a:noFill/>
            </a:ln>
          </p:spPr>
          <p:style>
            <a:lnRef idx="1">
              <a:schemeClr val="accent2"/>
            </a:lnRef>
            <a:fillRef idx="2">
              <a:schemeClr val="accent2"/>
            </a:fillRef>
            <a:effectRef idx="1">
              <a:schemeClr val="accent2"/>
            </a:effectRef>
            <a:fontRef idx="minor">
              <a:schemeClr val="dk1"/>
            </a:fontRef>
          </p:style>
          <p:txBody>
            <a:bodyPr lIns="121899" tIns="109728" rIns="121899" bIns="60949" rtlCol="0" anchor="t" anchorCtr="1"/>
            <a:lstStyle/>
            <a:p>
              <a:pPr algn="ctr"/>
              <a:r>
                <a:rPr lang="en-US" sz="1600" b="1" dirty="0">
                  <a:gradFill>
                    <a:gsLst>
                      <a:gs pos="0">
                        <a:schemeClr val="tx1"/>
                      </a:gs>
                      <a:gs pos="100000">
                        <a:schemeClr val="tx1"/>
                      </a:gs>
                    </a:gsLst>
                    <a:lin ang="5400000" scaled="0"/>
                  </a:gradFill>
                </a:rPr>
                <a:t>Backend Primary Node</a:t>
              </a:r>
            </a:p>
          </p:txBody>
        </p:sp>
        <p:sp>
          <p:nvSpPr>
            <p:cNvPr id="184" name="Rectangle 183"/>
            <p:cNvSpPr/>
            <p:nvPr/>
          </p:nvSpPr>
          <p:spPr>
            <a:xfrm>
              <a:off x="4341198" y="4873231"/>
              <a:ext cx="3104690" cy="769161"/>
            </a:xfrm>
            <a:prstGeom prst="rect">
              <a:avLst/>
            </a:prstGeom>
            <a:solidFill>
              <a:schemeClr val="accent1">
                <a:lumMod val="50000"/>
              </a:schemeClr>
            </a:solidFill>
            <a:ln>
              <a:noFill/>
            </a:ln>
          </p:spPr>
          <p:style>
            <a:lnRef idx="1">
              <a:schemeClr val="accent2"/>
            </a:lnRef>
            <a:fillRef idx="2">
              <a:schemeClr val="accent2"/>
            </a:fillRef>
            <a:effectRef idx="1">
              <a:schemeClr val="accent2"/>
            </a:effectRef>
            <a:fontRef idx="minor">
              <a:schemeClr val="dk1"/>
            </a:fontRef>
          </p:style>
          <p:txBody>
            <a:bodyPr lIns="121899" tIns="60949" rIns="121899" bIns="60949" rtlCol="0" anchor="ctr" anchorCtr="0"/>
            <a:lstStyle/>
            <a:p>
              <a:pPr algn="ctr"/>
              <a:r>
                <a:rPr lang="en-US" dirty="0">
                  <a:gradFill>
                    <a:gsLst>
                      <a:gs pos="0">
                        <a:schemeClr val="tx1"/>
                      </a:gs>
                      <a:gs pos="100000">
                        <a:schemeClr val="tx1"/>
                      </a:gs>
                    </a:gsLst>
                    <a:lin ang="5400000" scaled="0"/>
                  </a:gradFill>
                </a:rPr>
                <a:t>SQL DB</a:t>
              </a:r>
            </a:p>
          </p:txBody>
        </p:sp>
      </p:grpSp>
      <p:sp>
        <p:nvSpPr>
          <p:cNvPr id="71" name="Rectangle 70"/>
          <p:cNvSpPr/>
          <p:nvPr/>
        </p:nvSpPr>
        <p:spPr bwMode="auto">
          <a:xfrm>
            <a:off x="-2" y="-1"/>
            <a:ext cx="9144001" cy="311351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6" tIns="34286" rIns="34286" bIns="34286" numCol="1" spcCol="0" rtlCol="0" fromWordArt="0" anchor="ctr" anchorCtr="0" forceAA="0" compatLnSpc="1">
            <a:prstTxWarp prst="textNoShape">
              <a:avLst/>
            </a:prstTxWarp>
            <a:noAutofit/>
          </a:bodyPr>
          <a:lstStyle/>
          <a:p>
            <a:pPr algn="ctr" defTabSz="685495"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69" name="Down Arrow 68"/>
          <p:cNvSpPr/>
          <p:nvPr/>
        </p:nvSpPr>
        <p:spPr bwMode="auto">
          <a:xfrm>
            <a:off x="4358371" y="2558109"/>
            <a:ext cx="427258" cy="555409"/>
          </a:xfrm>
          <a:prstGeom prst="down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6" tIns="34286" rIns="34286" bIns="34286" numCol="1" spcCol="0" rtlCol="0" fromWordArt="0" anchor="ctr" anchorCtr="0" forceAA="0" compatLnSpc="1">
            <a:prstTxWarp prst="textNoShape">
              <a:avLst/>
            </a:prstTxWarp>
            <a:noAutofit/>
          </a:bodyPr>
          <a:lstStyle/>
          <a:p>
            <a:pPr algn="ctr" defTabSz="685495"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0" name="Rectangle 69"/>
          <p:cNvSpPr/>
          <p:nvPr/>
        </p:nvSpPr>
        <p:spPr bwMode="auto">
          <a:xfrm>
            <a:off x="1710" y="2"/>
            <a:ext cx="9144001" cy="255810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6" tIns="34286" rIns="34286" bIns="34286" numCol="1" spcCol="0" rtlCol="0" fromWordArt="0" anchor="ctr" anchorCtr="0" forceAA="0" compatLnSpc="1">
            <a:prstTxWarp prst="textNoShape">
              <a:avLst/>
            </a:prstTxWarp>
            <a:noAutofit/>
          </a:bodyPr>
          <a:lstStyle/>
          <a:p>
            <a:pPr algn="ctr" defTabSz="685495"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Down Arrow 3"/>
          <p:cNvSpPr/>
          <p:nvPr/>
        </p:nvSpPr>
        <p:spPr bwMode="auto">
          <a:xfrm>
            <a:off x="4358371" y="867285"/>
            <a:ext cx="427258" cy="555409"/>
          </a:xfrm>
          <a:prstGeom prst="down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6" tIns="34286" rIns="34286" bIns="34286" numCol="1" spcCol="0" rtlCol="0" fromWordArt="0" anchor="ctr" anchorCtr="0" forceAA="0" compatLnSpc="1">
            <a:prstTxWarp prst="textNoShape">
              <a:avLst/>
            </a:prstTxWarp>
            <a:noAutofit/>
          </a:bodyPr>
          <a:lstStyle/>
          <a:p>
            <a:pPr algn="ctr" defTabSz="685495"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auto">
          <a:xfrm>
            <a:off x="1" y="2"/>
            <a:ext cx="9144001" cy="8672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6" tIns="34286" rIns="34286" bIns="34286" numCol="1" spcCol="0" rtlCol="0" fromWordArt="0" anchor="ctr" anchorCtr="0" forceAA="0" compatLnSpc="1">
            <a:prstTxWarp prst="textNoShape">
              <a:avLst/>
            </a:prstTxWarp>
            <a:noAutofit/>
          </a:bodyPr>
          <a:lstStyle/>
          <a:p>
            <a:pPr algn="ctr" defTabSz="685495"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389436" y="171450"/>
            <a:ext cx="8363938" cy="457048"/>
          </a:xfrm>
        </p:spPr>
        <p:txBody>
          <a:bodyPr/>
          <a:lstStyle/>
          <a:p>
            <a:r>
              <a:rPr lang="en-US" dirty="0" smtClean="0"/>
              <a:t>Inside Windows Azure SQL Database</a:t>
            </a:r>
            <a:endParaRPr lang="en-US" dirty="0"/>
          </a:p>
        </p:txBody>
      </p:sp>
      <p:grpSp>
        <p:nvGrpSpPr>
          <p:cNvPr id="3" name="Group 2"/>
          <p:cNvGrpSpPr/>
          <p:nvPr/>
        </p:nvGrpSpPr>
        <p:grpSpPr>
          <a:xfrm>
            <a:off x="1" y="4517872"/>
            <a:ext cx="9144001" cy="637547"/>
            <a:chOff x="0" y="6031675"/>
            <a:chExt cx="12188826" cy="850062"/>
          </a:xfrm>
          <a:solidFill>
            <a:schemeClr val="accent5"/>
          </a:solidFill>
        </p:grpSpPr>
        <p:grpSp>
          <p:nvGrpSpPr>
            <p:cNvPr id="9" name="Group 122"/>
            <p:cNvGrpSpPr/>
            <p:nvPr/>
          </p:nvGrpSpPr>
          <p:grpSpPr>
            <a:xfrm>
              <a:off x="0" y="6031675"/>
              <a:ext cx="12188826" cy="850062"/>
              <a:chOff x="0" y="5955475"/>
              <a:chExt cx="9144001" cy="850062"/>
            </a:xfrm>
            <a:grpFill/>
          </p:grpSpPr>
          <p:sp>
            <p:nvSpPr>
              <p:cNvPr id="143" name="Down Arrow 142"/>
              <p:cNvSpPr/>
              <p:nvPr/>
            </p:nvSpPr>
            <p:spPr>
              <a:xfrm flipV="1">
                <a:off x="152400" y="5955475"/>
                <a:ext cx="269875" cy="296333"/>
              </a:xfrm>
              <a:prstGeom prst="downArrow">
                <a:avLst/>
              </a:prstGeom>
              <a:gr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dirty="0"/>
              </a:p>
            </p:txBody>
          </p:sp>
          <p:sp>
            <p:nvSpPr>
              <p:cNvPr id="146" name="Down Arrow 145"/>
              <p:cNvSpPr/>
              <p:nvPr/>
            </p:nvSpPr>
            <p:spPr>
              <a:xfrm flipV="1">
                <a:off x="746125" y="5955475"/>
                <a:ext cx="269875" cy="296333"/>
              </a:xfrm>
              <a:prstGeom prst="downArrow">
                <a:avLst/>
              </a:prstGeom>
              <a:gr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dirty="0"/>
              </a:p>
            </p:txBody>
          </p:sp>
          <p:sp>
            <p:nvSpPr>
              <p:cNvPr id="150" name="Down Arrow 149"/>
              <p:cNvSpPr/>
              <p:nvPr/>
            </p:nvSpPr>
            <p:spPr>
              <a:xfrm flipV="1">
                <a:off x="8128000" y="5967350"/>
                <a:ext cx="269875" cy="296333"/>
              </a:xfrm>
              <a:prstGeom prst="downArrow">
                <a:avLst/>
              </a:prstGeom>
              <a:gr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dirty="0"/>
              </a:p>
            </p:txBody>
          </p:sp>
          <p:sp>
            <p:nvSpPr>
              <p:cNvPr id="151" name="Down Arrow 150"/>
              <p:cNvSpPr/>
              <p:nvPr/>
            </p:nvSpPr>
            <p:spPr>
              <a:xfrm flipV="1">
                <a:off x="8721725" y="5967350"/>
                <a:ext cx="269875" cy="296333"/>
              </a:xfrm>
              <a:prstGeom prst="downArrow">
                <a:avLst/>
              </a:prstGeom>
              <a:gr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dirty="0"/>
              </a:p>
            </p:txBody>
          </p:sp>
          <p:sp>
            <p:nvSpPr>
              <p:cNvPr id="152" name="Rectangle 151"/>
              <p:cNvSpPr/>
              <p:nvPr/>
            </p:nvSpPr>
            <p:spPr>
              <a:xfrm>
                <a:off x="0" y="6248399"/>
                <a:ext cx="9144001" cy="557138"/>
              </a:xfrm>
              <a:prstGeom prst="rect">
                <a:avLst/>
              </a:prstGeom>
              <a:gr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600" b="1" dirty="0">
                    <a:gradFill>
                      <a:gsLst>
                        <a:gs pos="0">
                          <a:schemeClr val="tx1"/>
                        </a:gs>
                        <a:gs pos="100000">
                          <a:schemeClr val="tx1"/>
                        </a:gs>
                      </a:gsLst>
                      <a:lin ang="5400000" scaled="0"/>
                    </a:gradFill>
                  </a:rPr>
                  <a:t>Scalability and Availability: Fabric, Failover, Replication, and  Load balancing</a:t>
                </a:r>
              </a:p>
            </p:txBody>
          </p:sp>
        </p:grpSp>
        <p:grpSp>
          <p:nvGrpSpPr>
            <p:cNvPr id="8" name="Group 38"/>
            <p:cNvGrpSpPr/>
            <p:nvPr/>
          </p:nvGrpSpPr>
          <p:grpSpPr>
            <a:xfrm>
              <a:off x="2712860" y="6035083"/>
              <a:ext cx="6619209" cy="296333"/>
              <a:chOff x="914400" y="5910150"/>
              <a:chExt cx="7010400" cy="533399"/>
            </a:xfrm>
            <a:grpFill/>
          </p:grpSpPr>
          <p:sp>
            <p:nvSpPr>
              <p:cNvPr id="108" name="Down Arrow 107"/>
              <p:cNvSpPr/>
              <p:nvPr/>
            </p:nvSpPr>
            <p:spPr>
              <a:xfrm flipV="1">
                <a:off x="914400" y="5910150"/>
                <a:ext cx="381000" cy="533399"/>
              </a:xfrm>
              <a:prstGeom prst="downArrow">
                <a:avLst/>
              </a:prstGeom>
              <a:gr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dirty="0"/>
              </a:p>
            </p:txBody>
          </p:sp>
          <p:sp>
            <p:nvSpPr>
              <p:cNvPr id="109" name="Down Arrow 108"/>
              <p:cNvSpPr/>
              <p:nvPr/>
            </p:nvSpPr>
            <p:spPr>
              <a:xfrm flipV="1">
                <a:off x="1752600" y="5910150"/>
                <a:ext cx="381000" cy="533399"/>
              </a:xfrm>
              <a:prstGeom prst="downArrow">
                <a:avLst/>
              </a:prstGeom>
              <a:gr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dirty="0"/>
              </a:p>
            </p:txBody>
          </p:sp>
          <p:sp>
            <p:nvSpPr>
              <p:cNvPr id="110" name="Down Arrow 109"/>
              <p:cNvSpPr/>
              <p:nvPr/>
            </p:nvSpPr>
            <p:spPr>
              <a:xfrm flipV="1">
                <a:off x="2590800" y="5910150"/>
                <a:ext cx="381000" cy="533399"/>
              </a:xfrm>
              <a:prstGeom prst="downArrow">
                <a:avLst/>
              </a:prstGeom>
              <a:gr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dirty="0"/>
              </a:p>
            </p:txBody>
          </p:sp>
          <p:sp>
            <p:nvSpPr>
              <p:cNvPr id="111" name="Down Arrow 110"/>
              <p:cNvSpPr/>
              <p:nvPr/>
            </p:nvSpPr>
            <p:spPr>
              <a:xfrm flipV="1">
                <a:off x="3429000" y="5910150"/>
                <a:ext cx="381000" cy="533399"/>
              </a:xfrm>
              <a:prstGeom prst="downArrow">
                <a:avLst/>
              </a:prstGeom>
              <a:gr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dirty="0"/>
              </a:p>
            </p:txBody>
          </p:sp>
          <p:sp>
            <p:nvSpPr>
              <p:cNvPr id="112" name="Down Arrow 111"/>
              <p:cNvSpPr/>
              <p:nvPr/>
            </p:nvSpPr>
            <p:spPr>
              <a:xfrm flipV="1">
                <a:off x="5029200" y="5910150"/>
                <a:ext cx="381000" cy="533399"/>
              </a:xfrm>
              <a:prstGeom prst="downArrow">
                <a:avLst/>
              </a:prstGeom>
              <a:gr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dirty="0"/>
              </a:p>
            </p:txBody>
          </p:sp>
          <p:sp>
            <p:nvSpPr>
              <p:cNvPr id="113" name="Down Arrow 112"/>
              <p:cNvSpPr/>
              <p:nvPr/>
            </p:nvSpPr>
            <p:spPr>
              <a:xfrm flipV="1">
                <a:off x="5867400" y="5910150"/>
                <a:ext cx="381000" cy="533399"/>
              </a:xfrm>
              <a:prstGeom prst="downArrow">
                <a:avLst/>
              </a:prstGeom>
              <a:gr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dirty="0"/>
              </a:p>
            </p:txBody>
          </p:sp>
          <p:sp>
            <p:nvSpPr>
              <p:cNvPr id="114" name="Down Arrow 113"/>
              <p:cNvSpPr/>
              <p:nvPr/>
            </p:nvSpPr>
            <p:spPr>
              <a:xfrm flipV="1">
                <a:off x="6705600" y="5910150"/>
                <a:ext cx="381000" cy="533399"/>
              </a:xfrm>
              <a:prstGeom prst="downArrow">
                <a:avLst/>
              </a:prstGeom>
              <a:gr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dirty="0"/>
              </a:p>
            </p:txBody>
          </p:sp>
          <p:sp>
            <p:nvSpPr>
              <p:cNvPr id="115" name="Down Arrow 114"/>
              <p:cNvSpPr/>
              <p:nvPr/>
            </p:nvSpPr>
            <p:spPr>
              <a:xfrm flipV="1">
                <a:off x="7543800" y="5910150"/>
                <a:ext cx="381000" cy="533399"/>
              </a:xfrm>
              <a:prstGeom prst="downArrow">
                <a:avLst/>
              </a:prstGeom>
              <a:gr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dirty="0"/>
              </a:p>
            </p:txBody>
          </p:sp>
        </p:grpSp>
      </p:grpSp>
      <p:grpSp>
        <p:nvGrpSpPr>
          <p:cNvPr id="6" name="Group 5"/>
          <p:cNvGrpSpPr/>
          <p:nvPr/>
        </p:nvGrpSpPr>
        <p:grpSpPr>
          <a:xfrm>
            <a:off x="4938064" y="1031826"/>
            <a:ext cx="2482402" cy="226314"/>
            <a:chOff x="4440208" y="1149422"/>
            <a:chExt cx="3309007" cy="301752"/>
          </a:xfrm>
        </p:grpSpPr>
        <p:sp>
          <p:nvSpPr>
            <p:cNvPr id="144" name="BOX 1"/>
            <p:cNvSpPr/>
            <p:nvPr/>
          </p:nvSpPr>
          <p:spPr>
            <a:xfrm>
              <a:off x="4440208" y="1149422"/>
              <a:ext cx="304721" cy="301752"/>
            </a:xfrm>
            <a:prstGeom prst="rect">
              <a:avLst/>
            </a:prstGeom>
            <a:solidFill>
              <a:schemeClr val="tx1"/>
            </a:solidFill>
            <a:ln>
              <a:noFill/>
            </a:ln>
          </p:spPr>
          <p:style>
            <a:lnRef idx="1">
              <a:schemeClr val="accent5"/>
            </a:lnRef>
            <a:fillRef idx="2">
              <a:schemeClr val="accent5"/>
            </a:fillRef>
            <a:effectRef idx="1">
              <a:schemeClr val="accent5"/>
            </a:effectRef>
            <a:fontRef idx="minor">
              <a:schemeClr val="dk1"/>
            </a:fontRef>
          </p:style>
          <p:txBody>
            <a:bodyPr lIns="121899" tIns="60949" rIns="121899" bIns="60949" rtlCol="0" anchor="ctr"/>
            <a:lstStyle/>
            <a:p>
              <a:pPr algn="ctr"/>
              <a:r>
                <a:rPr lang="en-US" sz="1100" b="1" dirty="0">
                  <a:gradFill>
                    <a:gsLst>
                      <a:gs pos="0">
                        <a:schemeClr val="bg1"/>
                      </a:gs>
                      <a:gs pos="100000">
                        <a:schemeClr val="bg1"/>
                      </a:gs>
                    </a:gsLst>
                    <a:lin ang="16200000" scaled="0"/>
                  </a:gradFill>
                </a:rPr>
                <a:t>1</a:t>
              </a:r>
            </a:p>
          </p:txBody>
        </p:sp>
        <p:sp>
          <p:nvSpPr>
            <p:cNvPr id="5" name="Rectangle 4"/>
            <p:cNvSpPr/>
            <p:nvPr/>
          </p:nvSpPr>
          <p:spPr bwMode="auto">
            <a:xfrm>
              <a:off x="4744929" y="1149422"/>
              <a:ext cx="3004286" cy="301752"/>
            </a:xfrm>
            <a:prstGeom prst="rect">
              <a:avLst/>
            </a:prstGeom>
            <a:solidFill>
              <a:schemeClr val="bg1">
                <a:lumMod val="95000"/>
                <a:lumOff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45720" numCol="1" spcCol="0" rtlCol="0" fromWordArt="0" anchor="ctr" anchorCtr="0" forceAA="0" compatLnSpc="1">
              <a:prstTxWarp prst="textNoShape">
                <a:avLst/>
              </a:prstTxWarp>
              <a:noAutofit/>
            </a:bodyPr>
            <a:lstStyle/>
            <a:p>
              <a:pPr defTabSz="685495" fontAlgn="base">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New Database Request</a:t>
              </a:r>
            </a:p>
          </p:txBody>
        </p:sp>
      </p:grpSp>
      <p:grpSp>
        <p:nvGrpSpPr>
          <p:cNvPr id="64" name="Group 63"/>
          <p:cNvGrpSpPr/>
          <p:nvPr/>
        </p:nvGrpSpPr>
        <p:grpSpPr>
          <a:xfrm>
            <a:off x="4938064" y="2722650"/>
            <a:ext cx="3459812" cy="226314"/>
            <a:chOff x="4440208" y="1149422"/>
            <a:chExt cx="3309007" cy="301752"/>
          </a:xfrm>
        </p:grpSpPr>
        <p:sp>
          <p:nvSpPr>
            <p:cNvPr id="67" name="BOX 1"/>
            <p:cNvSpPr/>
            <p:nvPr/>
          </p:nvSpPr>
          <p:spPr>
            <a:xfrm>
              <a:off x="4440208" y="1149422"/>
              <a:ext cx="304721" cy="301752"/>
            </a:xfrm>
            <a:prstGeom prst="rect">
              <a:avLst/>
            </a:prstGeom>
            <a:solidFill>
              <a:schemeClr val="tx1"/>
            </a:solidFill>
            <a:ln>
              <a:noFill/>
            </a:ln>
          </p:spPr>
          <p:style>
            <a:lnRef idx="1">
              <a:schemeClr val="accent5"/>
            </a:lnRef>
            <a:fillRef idx="2">
              <a:schemeClr val="accent5"/>
            </a:fillRef>
            <a:effectRef idx="1">
              <a:schemeClr val="accent5"/>
            </a:effectRef>
            <a:fontRef idx="minor">
              <a:schemeClr val="dk1"/>
            </a:fontRef>
          </p:style>
          <p:txBody>
            <a:bodyPr lIns="121899" tIns="60949" rIns="121899" bIns="60949" rtlCol="0" anchor="ctr"/>
            <a:lstStyle/>
            <a:p>
              <a:pPr algn="ctr"/>
              <a:r>
                <a:rPr lang="en-US" sz="1100" b="1" dirty="0">
                  <a:gradFill>
                    <a:gsLst>
                      <a:gs pos="0">
                        <a:schemeClr val="bg1"/>
                      </a:gs>
                      <a:gs pos="100000">
                        <a:schemeClr val="bg1"/>
                      </a:gs>
                    </a:gsLst>
                    <a:lin ang="16200000" scaled="0"/>
                  </a:gradFill>
                </a:rPr>
                <a:t>2</a:t>
              </a:r>
            </a:p>
          </p:txBody>
        </p:sp>
        <p:sp>
          <p:nvSpPr>
            <p:cNvPr id="68" name="Rectangle 67"/>
            <p:cNvSpPr/>
            <p:nvPr/>
          </p:nvSpPr>
          <p:spPr bwMode="auto">
            <a:xfrm>
              <a:off x="4744929" y="1149422"/>
              <a:ext cx="3004286" cy="301752"/>
            </a:xfrm>
            <a:prstGeom prst="rect">
              <a:avLst/>
            </a:prstGeom>
            <a:solidFill>
              <a:schemeClr val="bg1">
                <a:lumMod val="95000"/>
                <a:lumOff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45720" numCol="1" spcCol="0" rtlCol="0" fromWordArt="0" anchor="ctr" anchorCtr="0" forceAA="0" compatLnSpc="1">
              <a:prstTxWarp prst="textNoShape">
                <a:avLst/>
              </a:prstTxWarp>
              <a:noAutofit/>
            </a:bodyPr>
            <a:lstStyle/>
            <a:p>
              <a:pPr defTabSz="685495" fontAlgn="base">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Primary &amp; Replica Databases Created</a:t>
              </a:r>
            </a:p>
          </p:txBody>
        </p:sp>
      </p:grpSp>
      <p:grpSp>
        <p:nvGrpSpPr>
          <p:cNvPr id="12" name="Group 11"/>
          <p:cNvGrpSpPr/>
          <p:nvPr/>
        </p:nvGrpSpPr>
        <p:grpSpPr>
          <a:xfrm>
            <a:off x="2651248" y="1422688"/>
            <a:ext cx="3844925" cy="1143000"/>
            <a:chOff x="3483288" y="1066800"/>
            <a:chExt cx="5125231" cy="1524000"/>
          </a:xfrm>
        </p:grpSpPr>
        <p:sp>
          <p:nvSpPr>
            <p:cNvPr id="48" name="Rectangle 47"/>
            <p:cNvSpPr/>
            <p:nvPr/>
          </p:nvSpPr>
          <p:spPr>
            <a:xfrm>
              <a:off x="3483288" y="1066800"/>
              <a:ext cx="5125231" cy="1524000"/>
            </a:xfrm>
            <a:prstGeom prst="rect">
              <a:avLst/>
            </a:prstGeom>
            <a:solidFill>
              <a:schemeClr val="accent6"/>
            </a:solidFill>
            <a:ln>
              <a:noFill/>
            </a:ln>
          </p:spPr>
          <p:style>
            <a:lnRef idx="1">
              <a:schemeClr val="accent2"/>
            </a:lnRef>
            <a:fillRef idx="2">
              <a:schemeClr val="accent2"/>
            </a:fillRef>
            <a:effectRef idx="1">
              <a:schemeClr val="accent2"/>
            </a:effectRef>
            <a:fontRef idx="minor">
              <a:schemeClr val="dk1"/>
            </a:fontRef>
          </p:style>
          <p:txBody>
            <a:bodyPr lIns="121899" tIns="109728" rIns="121899" bIns="60949" rtlCol="0" anchor="t" anchorCtr="1"/>
            <a:lstStyle/>
            <a:p>
              <a:pPr algn="ctr"/>
              <a:r>
                <a:rPr lang="en-US" sz="1600" b="1" dirty="0">
                  <a:gradFill>
                    <a:gsLst>
                      <a:gs pos="0">
                        <a:schemeClr val="tx1"/>
                      </a:gs>
                      <a:gs pos="100000">
                        <a:schemeClr val="tx1"/>
                      </a:gs>
                    </a:gsLst>
                    <a:lin ang="5400000" scaled="0"/>
                  </a:gradFill>
                </a:rPr>
                <a:t>TDS Gateway</a:t>
              </a:r>
            </a:p>
          </p:txBody>
        </p:sp>
        <p:sp>
          <p:nvSpPr>
            <p:cNvPr id="63" name="Rectangle 62"/>
            <p:cNvSpPr/>
            <p:nvPr/>
          </p:nvSpPr>
          <p:spPr>
            <a:xfrm>
              <a:off x="3617660" y="1617714"/>
              <a:ext cx="4856486" cy="818388"/>
            </a:xfrm>
            <a:prstGeom prst="rect">
              <a:avLst/>
            </a:prstGeom>
            <a:solidFill>
              <a:schemeClr val="accent6">
                <a:lumMod val="60000"/>
                <a:lumOff val="40000"/>
              </a:schemeClr>
            </a:solidFill>
            <a:ln w="9525" cap="flat" cmpd="sng" algn="ctr">
              <a:noFill/>
              <a:prstDash val="solid"/>
            </a:ln>
            <a:effectLst/>
          </p:spPr>
          <p:txBody>
            <a:bodyPr lIns="121899" tIns="0" rIns="121899" bIns="60949" rtlCol="0" anchor="t" anchorCtr="0"/>
            <a:lstStyle/>
            <a:p>
              <a:pPr algn="ctr"/>
              <a:r>
                <a:rPr lang="en-US" dirty="0">
                  <a:gradFill>
                    <a:gsLst>
                      <a:gs pos="0">
                        <a:schemeClr val="tx1"/>
                      </a:gs>
                      <a:gs pos="100000">
                        <a:schemeClr val="tx1"/>
                      </a:gs>
                    </a:gsLst>
                    <a:lin ang="5400000" scaled="0"/>
                  </a:gradFill>
                </a:rPr>
                <a:t>Front-end Node</a:t>
              </a:r>
            </a:p>
          </p:txBody>
        </p:sp>
        <p:sp>
          <p:nvSpPr>
            <p:cNvPr id="153" name="Rectangle 152"/>
            <p:cNvSpPr/>
            <p:nvPr/>
          </p:nvSpPr>
          <p:spPr>
            <a:xfrm>
              <a:off x="5169445" y="1992440"/>
              <a:ext cx="1752917" cy="304800"/>
            </a:xfrm>
            <a:prstGeom prst="rect">
              <a:avLst/>
            </a:prstGeom>
            <a:solidFill>
              <a:schemeClr val="accent6">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a:r>
                <a:rPr lang="en-US" dirty="0">
                  <a:gradFill>
                    <a:gsLst>
                      <a:gs pos="0">
                        <a:schemeClr val="tx1"/>
                      </a:gs>
                      <a:gs pos="100000">
                        <a:schemeClr val="tx1"/>
                      </a:gs>
                    </a:gsLst>
                    <a:lin ang="5400000" scaled="0"/>
                  </a:gradFill>
                </a:rPr>
                <a:t>TDS Session</a:t>
              </a:r>
            </a:p>
          </p:txBody>
        </p:sp>
      </p:grpSp>
      <p:sp>
        <p:nvSpPr>
          <p:cNvPr id="14" name="Rectangle 13"/>
          <p:cNvSpPr/>
          <p:nvPr/>
        </p:nvSpPr>
        <p:spPr bwMode="auto">
          <a:xfrm>
            <a:off x="4" y="3113517"/>
            <a:ext cx="3081283" cy="1226141"/>
          </a:xfrm>
          <a:prstGeom prst="rect">
            <a:avLst/>
          </a:prstGeom>
          <a:solidFill>
            <a:schemeClr val="bg2">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6" tIns="34286" rIns="34286" bIns="34286" numCol="1" spcCol="0" rtlCol="0" fromWordArt="0" anchor="ctr" anchorCtr="0" forceAA="0" compatLnSpc="1">
            <a:prstTxWarp prst="textNoShape">
              <a:avLst/>
            </a:prstTxWarp>
            <a:noAutofit/>
          </a:bodyPr>
          <a:lstStyle/>
          <a:p>
            <a:pPr algn="ctr" defTabSz="685495"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2" name="Rectangle 71"/>
          <p:cNvSpPr/>
          <p:nvPr/>
        </p:nvSpPr>
        <p:spPr bwMode="auto">
          <a:xfrm>
            <a:off x="6062721" y="3113517"/>
            <a:ext cx="3081283" cy="1226141"/>
          </a:xfrm>
          <a:prstGeom prst="rect">
            <a:avLst/>
          </a:prstGeom>
          <a:solidFill>
            <a:schemeClr val="bg2">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6" tIns="34286" rIns="34286" bIns="34286" numCol="1" spcCol="0" rtlCol="0" fromWordArt="0" anchor="ctr" anchorCtr="0" forceAA="0" compatLnSpc="1">
            <a:prstTxWarp prst="textNoShape">
              <a:avLst/>
            </a:prstTxWarp>
            <a:noAutofit/>
          </a:bodyPr>
          <a:lstStyle/>
          <a:p>
            <a:pPr algn="ctr" defTabSz="685495"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6" name="Down Arrow 45"/>
          <p:cNvSpPr/>
          <p:nvPr/>
        </p:nvSpPr>
        <p:spPr bwMode="auto">
          <a:xfrm rot="16200000">
            <a:off x="5875583" y="3526771"/>
            <a:ext cx="288435" cy="304801"/>
          </a:xfrm>
          <a:prstGeom prst="down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6" tIns="34286" rIns="34286" bIns="34286" numCol="1" spcCol="0" rtlCol="0" fromWordArt="0" anchor="ctr" anchorCtr="0" forceAA="0" compatLnSpc="1">
            <a:prstTxWarp prst="textNoShape">
              <a:avLst/>
            </a:prstTxWarp>
            <a:noAutofit/>
          </a:bodyPr>
          <a:lstStyle/>
          <a:p>
            <a:pPr algn="ctr" defTabSz="685495"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7" name="Down Arrow 46"/>
          <p:cNvSpPr/>
          <p:nvPr/>
        </p:nvSpPr>
        <p:spPr bwMode="auto">
          <a:xfrm rot="5400000">
            <a:off x="2987853" y="3509228"/>
            <a:ext cx="288435" cy="304801"/>
          </a:xfrm>
          <a:prstGeom prst="down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6" tIns="34286" rIns="34286" bIns="34286" numCol="1" spcCol="0" rtlCol="0" fromWordArt="0" anchor="ctr" anchorCtr="0" forceAA="0" compatLnSpc="1">
            <a:prstTxWarp prst="textNoShape">
              <a:avLst/>
            </a:prstTxWarp>
            <a:noAutofit/>
          </a:bodyPr>
          <a:lstStyle/>
          <a:p>
            <a:pPr algn="ctr" defTabSz="685495"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9"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50"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pic>
        <p:nvPicPr>
          <p:cNvPr id="51"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63058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of Crosshairs" hidden="1"/>
          <p:cNvGrpSpPr/>
          <p:nvPr/>
        </p:nvGrpSpPr>
        <p:grpSpPr>
          <a:xfrm>
            <a:off x="696221" y="1839040"/>
            <a:ext cx="18220964" cy="688181"/>
            <a:chOff x="928053" y="4429828"/>
            <a:chExt cx="24288292" cy="917575"/>
          </a:xfrm>
        </p:grpSpPr>
        <p:sp>
          <p:nvSpPr>
            <p:cNvPr id="18" name="Crosshair"/>
            <p:cNvSpPr>
              <a:spLocks/>
            </p:cNvSpPr>
            <p:nvPr/>
          </p:nvSpPr>
          <p:spPr bwMode="auto">
            <a:xfrm>
              <a:off x="928053"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 name="Crosshair"/>
            <p:cNvSpPr>
              <a:spLocks/>
            </p:cNvSpPr>
            <p:nvPr/>
          </p:nvSpPr>
          <p:spPr bwMode="auto">
            <a:xfrm>
              <a:off x="3052664"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 name="Crosshair"/>
            <p:cNvSpPr>
              <a:spLocks/>
            </p:cNvSpPr>
            <p:nvPr/>
          </p:nvSpPr>
          <p:spPr bwMode="auto">
            <a:xfrm>
              <a:off x="5177275"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 name="Crosshair"/>
            <p:cNvSpPr>
              <a:spLocks/>
            </p:cNvSpPr>
            <p:nvPr/>
          </p:nvSpPr>
          <p:spPr bwMode="auto">
            <a:xfrm>
              <a:off x="7301886"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Crosshair"/>
            <p:cNvSpPr>
              <a:spLocks/>
            </p:cNvSpPr>
            <p:nvPr/>
          </p:nvSpPr>
          <p:spPr bwMode="auto">
            <a:xfrm>
              <a:off x="9426497"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3" name="Crosshair"/>
            <p:cNvSpPr>
              <a:spLocks/>
            </p:cNvSpPr>
            <p:nvPr/>
          </p:nvSpPr>
          <p:spPr bwMode="auto">
            <a:xfrm>
              <a:off x="11551108"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4" name="Crosshair"/>
            <p:cNvSpPr>
              <a:spLocks/>
            </p:cNvSpPr>
            <p:nvPr/>
          </p:nvSpPr>
          <p:spPr bwMode="auto">
            <a:xfrm>
              <a:off x="13675719"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Crosshair"/>
            <p:cNvSpPr>
              <a:spLocks/>
            </p:cNvSpPr>
            <p:nvPr/>
          </p:nvSpPr>
          <p:spPr bwMode="auto">
            <a:xfrm>
              <a:off x="15800330"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 name="Crosshair"/>
            <p:cNvSpPr>
              <a:spLocks/>
            </p:cNvSpPr>
            <p:nvPr/>
          </p:nvSpPr>
          <p:spPr bwMode="auto">
            <a:xfrm>
              <a:off x="17924941"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7" name="Crosshair"/>
            <p:cNvSpPr>
              <a:spLocks/>
            </p:cNvSpPr>
            <p:nvPr/>
          </p:nvSpPr>
          <p:spPr bwMode="auto">
            <a:xfrm>
              <a:off x="20049552"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8" name="Crosshair"/>
            <p:cNvSpPr>
              <a:spLocks/>
            </p:cNvSpPr>
            <p:nvPr/>
          </p:nvSpPr>
          <p:spPr bwMode="auto">
            <a:xfrm>
              <a:off x="22174163"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9" name="Crosshair"/>
            <p:cNvSpPr>
              <a:spLocks/>
            </p:cNvSpPr>
            <p:nvPr/>
          </p:nvSpPr>
          <p:spPr bwMode="auto">
            <a:xfrm>
              <a:off x="24298770"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70" name="Title 2"/>
          <p:cNvSpPr>
            <a:spLocks noGrp="1"/>
          </p:cNvSpPr>
          <p:nvPr>
            <p:ph type="title"/>
          </p:nvPr>
        </p:nvSpPr>
        <p:spPr>
          <a:xfrm>
            <a:off x="285825" y="171450"/>
            <a:ext cx="6280916" cy="457049"/>
          </a:xfrm>
        </p:spPr>
        <p:txBody>
          <a:bodyPr/>
          <a:lstStyle/>
          <a:p>
            <a:r>
              <a:rPr lang="en-US" dirty="0"/>
              <a:t>SQL Server 2012</a:t>
            </a:r>
          </a:p>
        </p:txBody>
      </p:sp>
      <p:pic>
        <p:nvPicPr>
          <p:cNvPr id="71" name="Picture 7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05641" y="4672464"/>
            <a:ext cx="1725220" cy="356737"/>
          </a:xfrm>
          <a:prstGeom prst="rect">
            <a:avLst/>
          </a:prstGeom>
        </p:spPr>
      </p:pic>
      <p:sp>
        <p:nvSpPr>
          <p:cNvPr id="98" name="Rectangle 97"/>
          <p:cNvSpPr/>
          <p:nvPr/>
        </p:nvSpPr>
        <p:spPr bwMode="auto">
          <a:xfrm>
            <a:off x="285824" y="3552453"/>
            <a:ext cx="7870324" cy="467390"/>
          </a:xfrm>
          <a:prstGeom prst="rect">
            <a:avLst/>
          </a:prstGeom>
          <a:solidFill>
            <a:srgbClr val="F6AE1E"/>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6" tIns="34293" rIns="68586" bIns="34293" numCol="1" spcCol="0" rtlCol="0" fromWordArt="0" anchor="ctr" anchorCtr="0" forceAA="0" compatLnSpc="1">
            <a:prstTxWarp prst="textNoShape">
              <a:avLst/>
            </a:prstTxWarp>
            <a:noAutofit/>
          </a:bodyPr>
          <a:lstStyle/>
          <a:p>
            <a:pPr defTabSz="685666" fontAlgn="base">
              <a:spcBef>
                <a:spcPct val="0"/>
              </a:spcBef>
              <a:spcAft>
                <a:spcPct val="0"/>
              </a:spcAft>
            </a:pPr>
            <a:r>
              <a:rPr lang="en-US" sz="2100" dirty="0">
                <a:gradFill>
                  <a:gsLst>
                    <a:gs pos="0">
                      <a:srgbClr val="FFFFFF"/>
                    </a:gs>
                    <a:gs pos="100000">
                      <a:srgbClr val="FFFFFF"/>
                    </a:gs>
                  </a:gsLst>
                  <a:lin ang="5400000" scaled="0"/>
                </a:gradFill>
              </a:rPr>
              <a:t>Spatial, Semantic Search, </a:t>
            </a:r>
            <a:r>
              <a:rPr lang="en-US" sz="2100" dirty="0" err="1">
                <a:gradFill>
                  <a:gsLst>
                    <a:gs pos="0">
                      <a:srgbClr val="FFFFFF"/>
                    </a:gs>
                    <a:gs pos="100000">
                      <a:srgbClr val="FFFFFF"/>
                    </a:gs>
                  </a:gsLst>
                  <a:lin ang="5400000" scaled="0"/>
                </a:gradFill>
              </a:rPr>
              <a:t>FileTable</a:t>
            </a:r>
            <a:r>
              <a:rPr lang="en-US" sz="2100" dirty="0">
                <a:gradFill>
                  <a:gsLst>
                    <a:gs pos="0">
                      <a:srgbClr val="FFFFFF"/>
                    </a:gs>
                    <a:gs pos="100000">
                      <a:srgbClr val="FFFFFF"/>
                    </a:gs>
                  </a:gsLst>
                  <a:lin ang="5400000" scaled="0"/>
                </a:gradFill>
              </a:rPr>
              <a:t> </a:t>
            </a:r>
            <a:endParaRPr lang="en-US" sz="2100" dirty="0">
              <a:gradFill>
                <a:gsLst>
                  <a:gs pos="0">
                    <a:srgbClr val="FFFFFF"/>
                  </a:gs>
                  <a:gs pos="100000">
                    <a:srgbClr val="FFFFFF"/>
                  </a:gs>
                </a:gsLst>
                <a:lin ang="5400000" scaled="0"/>
              </a:gradFill>
            </a:endParaRPr>
          </a:p>
        </p:txBody>
      </p:sp>
      <p:sp>
        <p:nvSpPr>
          <p:cNvPr id="99" name="Rectangle 98"/>
          <p:cNvSpPr/>
          <p:nvPr/>
        </p:nvSpPr>
        <p:spPr bwMode="auto">
          <a:xfrm>
            <a:off x="285824" y="3017520"/>
            <a:ext cx="7870324" cy="453683"/>
          </a:xfrm>
          <a:prstGeom prst="rect">
            <a:avLst/>
          </a:prstGeom>
          <a:solidFill>
            <a:srgbClr val="F6AE1E"/>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6" tIns="34293" rIns="68586" bIns="34293" numCol="1" spcCol="0" rtlCol="0" fromWordArt="0" anchor="ctr" anchorCtr="0" forceAA="0" compatLnSpc="1">
            <a:prstTxWarp prst="textNoShape">
              <a:avLst/>
            </a:prstTxWarp>
            <a:noAutofit/>
          </a:bodyPr>
          <a:lstStyle/>
          <a:p>
            <a:pPr defTabSz="685666" fontAlgn="base">
              <a:spcBef>
                <a:spcPct val="0"/>
              </a:spcBef>
              <a:spcAft>
                <a:spcPct val="0"/>
              </a:spcAft>
            </a:pPr>
            <a:r>
              <a:rPr lang="en-US" sz="2100" dirty="0">
                <a:gradFill>
                  <a:gsLst>
                    <a:gs pos="0">
                      <a:srgbClr val="FFFFFF"/>
                    </a:gs>
                    <a:gs pos="100000">
                      <a:srgbClr val="FFFFFF"/>
                    </a:gs>
                  </a:gsLst>
                  <a:lin ang="5400000" scaled="0"/>
                </a:gradFill>
              </a:rPr>
              <a:t>PHP, Java, Linux</a:t>
            </a:r>
            <a:endParaRPr lang="en-US" sz="2100" dirty="0">
              <a:gradFill>
                <a:gsLst>
                  <a:gs pos="0">
                    <a:srgbClr val="FFFFFF"/>
                  </a:gs>
                  <a:gs pos="100000">
                    <a:srgbClr val="FFFFFF"/>
                  </a:gs>
                </a:gsLst>
                <a:lin ang="5400000" scaled="0"/>
              </a:gradFill>
            </a:endParaRPr>
          </a:p>
        </p:txBody>
      </p:sp>
      <p:grpSp>
        <p:nvGrpSpPr>
          <p:cNvPr id="216" name="Group 215"/>
          <p:cNvGrpSpPr/>
          <p:nvPr/>
        </p:nvGrpSpPr>
        <p:grpSpPr>
          <a:xfrm>
            <a:off x="-7687062" y="1428749"/>
            <a:ext cx="19036903" cy="1508760"/>
            <a:chOff x="381000" y="1904999"/>
            <a:chExt cx="25375927" cy="2011680"/>
          </a:xfrm>
        </p:grpSpPr>
        <p:grpSp>
          <p:nvGrpSpPr>
            <p:cNvPr id="217" name="Group 216"/>
            <p:cNvGrpSpPr/>
            <p:nvPr/>
          </p:nvGrpSpPr>
          <p:grpSpPr>
            <a:xfrm>
              <a:off x="17371414" y="1904999"/>
              <a:ext cx="2011680" cy="2011680"/>
              <a:chOff x="17371414" y="1904999"/>
              <a:chExt cx="2011680" cy="2011680"/>
            </a:xfrm>
          </p:grpSpPr>
          <p:sp>
            <p:nvSpPr>
              <p:cNvPr id="269" name="Rectangle 268"/>
              <p:cNvSpPr/>
              <p:nvPr/>
            </p:nvSpPr>
            <p:spPr bwMode="auto">
              <a:xfrm>
                <a:off x="17371414"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Big Data &amp; Data </a:t>
                </a:r>
                <a:r>
                  <a:rPr lang="en-US" sz="1500" dirty="0">
                    <a:gradFill>
                      <a:gsLst>
                        <a:gs pos="0">
                          <a:srgbClr val="FFFFFF"/>
                        </a:gs>
                        <a:gs pos="100000">
                          <a:srgbClr val="FFFFFF"/>
                        </a:gs>
                      </a:gsLst>
                      <a:lin ang="5400000" scaled="0"/>
                    </a:gradFill>
                  </a:rPr>
                  <a:t>Warehousing</a:t>
                </a:r>
              </a:p>
            </p:txBody>
          </p:sp>
          <p:pic>
            <p:nvPicPr>
              <p:cNvPr id="270" name="Picture 8"/>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7485517" y="2029883"/>
                <a:ext cx="896304" cy="7133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71" name="TextBox 270"/>
              <p:cNvSpPr txBox="1"/>
              <p:nvPr/>
            </p:nvSpPr>
            <p:spPr>
              <a:xfrm>
                <a:off x="19016885" y="1904999"/>
                <a:ext cx="356415" cy="615553"/>
              </a:xfrm>
              <a:prstGeom prst="rect">
                <a:avLst/>
              </a:prstGeom>
              <a:noFill/>
            </p:spPr>
            <p:txBody>
              <a:bodyPr wrap="none" lIns="0" tIns="0" rIns="45720" bIns="0" rtlCol="0">
                <a:spAutoFit/>
              </a:bodyPr>
              <a:lstStyle/>
              <a:p>
                <a:pPr algn="r"/>
                <a:r>
                  <a:rPr lang="en-US" sz="3000" b="1" dirty="0">
                    <a:solidFill>
                      <a:schemeClr val="tx2">
                        <a:lumMod val="75000"/>
                      </a:schemeClr>
                    </a:solidFill>
                  </a:rPr>
                  <a:t>9</a:t>
                </a:r>
                <a:endParaRPr lang="en-US" sz="3000" b="1" dirty="0">
                  <a:solidFill>
                    <a:schemeClr val="tx2">
                      <a:lumMod val="75000"/>
                    </a:schemeClr>
                  </a:solidFill>
                </a:endParaRPr>
              </a:p>
            </p:txBody>
          </p:sp>
        </p:grpSp>
        <p:grpSp>
          <p:nvGrpSpPr>
            <p:cNvPr id="218" name="Group 217"/>
            <p:cNvGrpSpPr/>
            <p:nvPr/>
          </p:nvGrpSpPr>
          <p:grpSpPr>
            <a:xfrm>
              <a:off x="21620636" y="1904999"/>
              <a:ext cx="2011680" cy="2011680"/>
              <a:chOff x="21620636" y="1904999"/>
              <a:chExt cx="2011680" cy="2011680"/>
            </a:xfrm>
          </p:grpSpPr>
          <p:sp>
            <p:nvSpPr>
              <p:cNvPr id="266" name="Rectangle 265"/>
              <p:cNvSpPr/>
              <p:nvPr/>
            </p:nvSpPr>
            <p:spPr bwMode="auto">
              <a:xfrm>
                <a:off x="21620636"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Managed Self-Service BI</a:t>
                </a:r>
                <a:endParaRPr lang="en-US" sz="1500" dirty="0">
                  <a:gradFill>
                    <a:gsLst>
                      <a:gs pos="0">
                        <a:srgbClr val="FFFFFF"/>
                      </a:gs>
                      <a:gs pos="100000">
                        <a:srgbClr val="FFFFFF"/>
                      </a:gs>
                    </a:gsLst>
                    <a:lin ang="5400000" scaled="0"/>
                  </a:gradFill>
                </a:endParaRPr>
              </a:p>
            </p:txBody>
          </p:sp>
          <p:sp>
            <p:nvSpPr>
              <p:cNvPr id="267" name="TextBox 266"/>
              <p:cNvSpPr txBox="1"/>
              <p:nvPr/>
            </p:nvSpPr>
            <p:spPr>
              <a:xfrm>
                <a:off x="22970634" y="1904999"/>
                <a:ext cx="651290" cy="615553"/>
              </a:xfrm>
              <a:prstGeom prst="rect">
                <a:avLst/>
              </a:prstGeom>
              <a:noFill/>
            </p:spPr>
            <p:txBody>
              <a:bodyPr wrap="none" lIns="0" tIns="0" rIns="45720" bIns="0" rtlCol="0">
                <a:spAutoFit/>
              </a:bodyPr>
              <a:lstStyle/>
              <a:p>
                <a:pPr algn="r"/>
                <a:r>
                  <a:rPr lang="en-US" sz="3000" b="1" dirty="0">
                    <a:solidFill>
                      <a:schemeClr val="tx2">
                        <a:lumMod val="75000"/>
                      </a:schemeClr>
                    </a:solidFill>
                  </a:rPr>
                  <a:t>11</a:t>
                </a:r>
                <a:endParaRPr lang="en-US" sz="3000" b="1" dirty="0">
                  <a:solidFill>
                    <a:schemeClr val="tx2">
                      <a:lumMod val="75000"/>
                    </a:schemeClr>
                  </a:solidFill>
                </a:endParaRPr>
              </a:p>
            </p:txBody>
          </p:sp>
          <p:pic>
            <p:nvPicPr>
              <p:cNvPr id="268" name="Picture 17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1699949" y="1981200"/>
                <a:ext cx="832241" cy="833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9" name="Group 218"/>
            <p:cNvGrpSpPr/>
            <p:nvPr/>
          </p:nvGrpSpPr>
          <p:grpSpPr>
            <a:xfrm>
              <a:off x="23745247" y="1904999"/>
              <a:ext cx="2011680" cy="2011680"/>
              <a:chOff x="23745247" y="1904999"/>
              <a:chExt cx="2011680" cy="2011680"/>
            </a:xfrm>
          </p:grpSpPr>
          <p:sp>
            <p:nvSpPr>
              <p:cNvPr id="263" name="Rectangle 262"/>
              <p:cNvSpPr/>
              <p:nvPr/>
            </p:nvSpPr>
            <p:spPr bwMode="auto">
              <a:xfrm>
                <a:off x="23745247"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Rapid Data Exploration</a:t>
                </a:r>
                <a:endParaRPr lang="en-US" sz="1500" dirty="0">
                  <a:gradFill>
                    <a:gsLst>
                      <a:gs pos="0">
                        <a:srgbClr val="FFFFFF"/>
                      </a:gs>
                      <a:gs pos="100000">
                        <a:srgbClr val="FFFFFF"/>
                      </a:gs>
                    </a:gsLst>
                    <a:lin ang="5400000" scaled="0"/>
                  </a:gradFill>
                </a:endParaRPr>
              </a:p>
            </p:txBody>
          </p:sp>
          <p:sp>
            <p:nvSpPr>
              <p:cNvPr id="264" name="TextBox 263"/>
              <p:cNvSpPr txBox="1"/>
              <p:nvPr/>
            </p:nvSpPr>
            <p:spPr>
              <a:xfrm>
                <a:off x="25095245" y="1904999"/>
                <a:ext cx="651290" cy="615553"/>
              </a:xfrm>
              <a:prstGeom prst="rect">
                <a:avLst/>
              </a:prstGeom>
              <a:noFill/>
            </p:spPr>
            <p:txBody>
              <a:bodyPr wrap="none" lIns="0" tIns="0" rIns="45720" bIns="0" rtlCol="0">
                <a:spAutoFit/>
              </a:bodyPr>
              <a:lstStyle/>
              <a:p>
                <a:pPr algn="r"/>
                <a:r>
                  <a:rPr lang="en-US" sz="3000" b="1" dirty="0">
                    <a:solidFill>
                      <a:schemeClr val="tx2">
                        <a:lumMod val="75000"/>
                      </a:schemeClr>
                    </a:solidFill>
                  </a:rPr>
                  <a:t>12</a:t>
                </a:r>
                <a:endParaRPr lang="en-US" sz="3000" b="1" dirty="0">
                  <a:solidFill>
                    <a:schemeClr val="tx2">
                      <a:lumMod val="75000"/>
                    </a:schemeClr>
                  </a:solidFill>
                </a:endParaRPr>
              </a:p>
            </p:txBody>
          </p:sp>
          <p:pic>
            <p:nvPicPr>
              <p:cNvPr id="265" name="Picture 3"/>
              <p:cNvPicPr>
                <a:picLocks noChangeAspect="1" noChangeArrowheads="1"/>
              </p:cNvPicPr>
              <p:nvPr>
                <p:custDataLst>
                  <p:tags r:id="rId3"/>
                </p:custDataLst>
              </p:nvPr>
            </p:nvPicPr>
            <p:blipFill>
              <a:blip r:embed="rId8" cstate="print">
                <a:extLst>
                  <a:ext uri="{28A0092B-C50C-407E-A947-70E740481C1C}">
                    <a14:useLocalDpi xmlns:a14="http://schemas.microsoft.com/office/drawing/2010/main"/>
                  </a:ext>
                </a:extLst>
              </a:blip>
              <a:srcRect/>
              <a:stretch>
                <a:fillRect/>
              </a:stretch>
            </p:blipFill>
            <p:spPr bwMode="auto">
              <a:xfrm>
                <a:off x="23833549" y="1959614"/>
                <a:ext cx="593243" cy="859786"/>
              </a:xfrm>
              <a:prstGeom prst="rect">
                <a:avLst/>
              </a:prstGeom>
              <a:noFill/>
              <a:ln>
                <a:noFill/>
                <a:headEnd type="none" w="med" len="med"/>
                <a:tailEnd type="none" w="med" len="med"/>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20" name="Group 219"/>
            <p:cNvGrpSpPr/>
            <p:nvPr/>
          </p:nvGrpSpPr>
          <p:grpSpPr>
            <a:xfrm>
              <a:off x="4630222" y="1904999"/>
              <a:ext cx="2026976" cy="2011680"/>
              <a:chOff x="4630222" y="1904999"/>
              <a:chExt cx="2026976" cy="2011680"/>
            </a:xfrm>
          </p:grpSpPr>
          <p:sp>
            <p:nvSpPr>
              <p:cNvPr id="260" name="Rectangle 259"/>
              <p:cNvSpPr/>
              <p:nvPr/>
            </p:nvSpPr>
            <p:spPr bwMode="auto">
              <a:xfrm>
                <a:off x="4630222"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Required 9s &amp; Data Protection</a:t>
                </a:r>
                <a:endParaRPr lang="en-US" sz="1500" dirty="0">
                  <a:gradFill>
                    <a:gsLst>
                      <a:gs pos="0">
                        <a:srgbClr val="FFFFFF"/>
                      </a:gs>
                      <a:gs pos="100000">
                        <a:srgbClr val="FFFFFF"/>
                      </a:gs>
                    </a:gsLst>
                    <a:lin ang="5400000" scaled="0"/>
                  </a:gradFill>
                </a:endParaRPr>
              </a:p>
            </p:txBody>
          </p:sp>
          <p:sp>
            <p:nvSpPr>
              <p:cNvPr id="261" name="TextBox 260"/>
              <p:cNvSpPr txBox="1"/>
              <p:nvPr/>
            </p:nvSpPr>
            <p:spPr>
              <a:xfrm>
                <a:off x="6300783"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3</a:t>
                </a:r>
              </a:p>
            </p:txBody>
          </p:sp>
          <p:pic>
            <p:nvPicPr>
              <p:cNvPr id="262" name="Picture 4" descr="\\MAGNUM\Projects\Microsoft\Cloud Power FY12\Design\ICONS_PNG\Check_mark.png"/>
              <p:cNvPicPr>
                <a:picLocks noChangeAspect="1" noChangeArrowheads="1"/>
              </p:cNvPicPr>
              <p:nvPr/>
            </p:nvPicPr>
            <p:blipFill rotWithShape="1">
              <a:blip r:embed="rId9" cstate="print">
                <a:lum bright="100000"/>
              </a:blip>
              <a:srcRect t="11515"/>
              <a:stretch/>
            </p:blipFill>
            <p:spPr bwMode="auto">
              <a:xfrm>
                <a:off x="4669492" y="1927464"/>
                <a:ext cx="1253470" cy="1109124"/>
              </a:xfrm>
              <a:prstGeom prst="rect">
                <a:avLst/>
              </a:prstGeom>
              <a:noFill/>
            </p:spPr>
          </p:pic>
        </p:grpSp>
        <p:grpSp>
          <p:nvGrpSpPr>
            <p:cNvPr id="221" name="Group 220"/>
            <p:cNvGrpSpPr/>
            <p:nvPr/>
          </p:nvGrpSpPr>
          <p:grpSpPr>
            <a:xfrm>
              <a:off x="19496025" y="1904999"/>
              <a:ext cx="2011680" cy="2011680"/>
              <a:chOff x="19496025" y="1904999"/>
              <a:chExt cx="2011680" cy="2011680"/>
            </a:xfrm>
          </p:grpSpPr>
          <p:sp>
            <p:nvSpPr>
              <p:cNvPr id="257" name="Rectangle 256"/>
              <p:cNvSpPr/>
              <p:nvPr/>
            </p:nvSpPr>
            <p:spPr bwMode="auto">
              <a:xfrm>
                <a:off x="19496025"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Credible, Consistent Data</a:t>
                </a:r>
                <a:endParaRPr lang="en-US" sz="1500" dirty="0">
                  <a:gradFill>
                    <a:gsLst>
                      <a:gs pos="0">
                        <a:srgbClr val="FFFFFF"/>
                      </a:gs>
                      <a:gs pos="100000">
                        <a:srgbClr val="FFFFFF"/>
                      </a:gs>
                    </a:gsLst>
                    <a:lin ang="5400000" scaled="0"/>
                  </a:gradFill>
                </a:endParaRPr>
              </a:p>
            </p:txBody>
          </p:sp>
          <p:sp>
            <p:nvSpPr>
              <p:cNvPr id="258" name="TextBox 257"/>
              <p:cNvSpPr txBox="1"/>
              <p:nvPr/>
            </p:nvSpPr>
            <p:spPr>
              <a:xfrm>
                <a:off x="20856415" y="1904999"/>
                <a:ext cx="651290" cy="615553"/>
              </a:xfrm>
              <a:prstGeom prst="rect">
                <a:avLst/>
              </a:prstGeom>
              <a:noFill/>
            </p:spPr>
            <p:txBody>
              <a:bodyPr wrap="none" lIns="0" tIns="0" rIns="45720" bIns="0" rtlCol="0">
                <a:spAutoFit/>
              </a:bodyPr>
              <a:lstStyle/>
              <a:p>
                <a:pPr algn="r"/>
                <a:r>
                  <a:rPr lang="en-US" sz="3000" b="1" dirty="0">
                    <a:solidFill>
                      <a:schemeClr val="tx2">
                        <a:lumMod val="75000"/>
                      </a:schemeClr>
                    </a:solidFill>
                  </a:rPr>
                  <a:t>10</a:t>
                </a:r>
                <a:endParaRPr lang="en-US" sz="3000" b="1" dirty="0">
                  <a:solidFill>
                    <a:schemeClr val="tx2">
                      <a:lumMod val="75000"/>
                    </a:schemeClr>
                  </a:solidFill>
                </a:endParaRPr>
              </a:p>
            </p:txBody>
          </p:sp>
          <p:pic>
            <p:nvPicPr>
              <p:cNvPr id="259" name="Picture 2"/>
              <p:cNvPicPr>
                <a:picLocks noChangeAspect="1" noChangeArrowheads="1"/>
              </p:cNvPicPr>
              <p:nvPr/>
            </p:nvPicPr>
            <p:blipFill>
              <a:blip r:embed="rId10"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9613928" y="2012733"/>
                <a:ext cx="958499" cy="8515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22" name="Group 221"/>
            <p:cNvGrpSpPr/>
            <p:nvPr/>
          </p:nvGrpSpPr>
          <p:grpSpPr>
            <a:xfrm>
              <a:off x="2505611" y="1904999"/>
              <a:ext cx="2022972" cy="2011680"/>
              <a:chOff x="2505611" y="1904999"/>
              <a:chExt cx="2022972" cy="2011680"/>
            </a:xfrm>
          </p:grpSpPr>
          <p:sp>
            <p:nvSpPr>
              <p:cNvPr id="254" name="Rectangle 253"/>
              <p:cNvSpPr/>
              <p:nvPr/>
            </p:nvSpPr>
            <p:spPr bwMode="auto">
              <a:xfrm>
                <a:off x="2505611"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Security &amp; Compliance</a:t>
                </a:r>
                <a:endParaRPr lang="en-US" sz="1500" dirty="0">
                  <a:gradFill>
                    <a:gsLst>
                      <a:gs pos="0">
                        <a:srgbClr val="FFFFFF"/>
                      </a:gs>
                      <a:gs pos="100000">
                        <a:srgbClr val="FFFFFF"/>
                      </a:gs>
                    </a:gsLst>
                    <a:lin ang="5400000" scaled="0"/>
                  </a:gradFill>
                </a:endParaRPr>
              </a:p>
            </p:txBody>
          </p:sp>
          <p:sp>
            <p:nvSpPr>
              <p:cNvPr id="255" name="TextBox 254"/>
              <p:cNvSpPr txBox="1"/>
              <p:nvPr/>
            </p:nvSpPr>
            <p:spPr>
              <a:xfrm>
                <a:off x="4172168"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2</a:t>
                </a:r>
              </a:p>
            </p:txBody>
          </p:sp>
          <p:pic>
            <p:nvPicPr>
              <p:cNvPr id="256" name="Picture 255"/>
              <p:cNvPicPr>
                <a:picLocks noChangeAspect="1"/>
              </p:cNvPicPr>
              <p:nvPr>
                <p:custDataLst>
                  <p:tags r:id="rId2"/>
                </p:custDataLst>
              </p:nvPr>
            </p:nvPicPr>
            <p:blipFill>
              <a:blip r:embed="rId11">
                <a:extLst>
                  <a:ext uri="{28A0092B-C50C-407E-A947-70E740481C1C}">
                    <a14:useLocalDpi xmlns:a14="http://schemas.microsoft.com/office/drawing/2010/main" val="0"/>
                  </a:ext>
                </a:extLst>
              </a:blip>
              <a:stretch>
                <a:fillRect/>
              </a:stretch>
            </p:blipFill>
            <p:spPr>
              <a:xfrm>
                <a:off x="2655779" y="1983751"/>
                <a:ext cx="883759" cy="875588"/>
              </a:xfrm>
              <a:prstGeom prst="rect">
                <a:avLst/>
              </a:prstGeom>
              <a:effectLst/>
            </p:spPr>
          </p:pic>
        </p:grpSp>
        <p:grpSp>
          <p:nvGrpSpPr>
            <p:cNvPr id="223" name="Group 222"/>
            <p:cNvGrpSpPr/>
            <p:nvPr/>
          </p:nvGrpSpPr>
          <p:grpSpPr>
            <a:xfrm>
              <a:off x="381000" y="1904999"/>
              <a:ext cx="2026976" cy="2011680"/>
              <a:chOff x="381000" y="1904999"/>
              <a:chExt cx="2026976" cy="2011680"/>
            </a:xfrm>
          </p:grpSpPr>
          <p:sp>
            <p:nvSpPr>
              <p:cNvPr id="251" name="Rectangle 250"/>
              <p:cNvSpPr/>
              <p:nvPr/>
            </p:nvSpPr>
            <p:spPr bwMode="auto">
              <a:xfrm>
                <a:off x="381000"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Blazing-Fast Performance</a:t>
                </a:r>
              </a:p>
            </p:txBody>
          </p:sp>
          <p:sp>
            <p:nvSpPr>
              <p:cNvPr id="252" name="TextBox 251"/>
              <p:cNvSpPr txBox="1"/>
              <p:nvPr/>
            </p:nvSpPr>
            <p:spPr>
              <a:xfrm>
                <a:off x="2051561"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1</a:t>
                </a:r>
              </a:p>
            </p:txBody>
          </p:sp>
          <p:pic>
            <p:nvPicPr>
              <p:cNvPr id="253" name="Picture 25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06299" y="2057549"/>
                <a:ext cx="880541" cy="880541"/>
              </a:xfrm>
              <a:prstGeom prst="rect">
                <a:avLst/>
              </a:prstGeom>
            </p:spPr>
          </p:pic>
        </p:grpSp>
        <p:grpSp>
          <p:nvGrpSpPr>
            <p:cNvPr id="224" name="Group 223"/>
            <p:cNvGrpSpPr/>
            <p:nvPr/>
          </p:nvGrpSpPr>
          <p:grpSpPr>
            <a:xfrm>
              <a:off x="8879444" y="1904999"/>
              <a:ext cx="2012580" cy="2011680"/>
              <a:chOff x="8879444" y="1904999"/>
              <a:chExt cx="2012580" cy="2011680"/>
            </a:xfrm>
          </p:grpSpPr>
          <p:sp>
            <p:nvSpPr>
              <p:cNvPr id="244" name="Rectangle 243"/>
              <p:cNvSpPr/>
              <p:nvPr/>
            </p:nvSpPr>
            <p:spPr bwMode="auto">
              <a:xfrm>
                <a:off x="8879444"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Scale on Demand</a:t>
                </a:r>
                <a:endParaRPr lang="en-US" sz="1500" dirty="0">
                  <a:gradFill>
                    <a:gsLst>
                      <a:gs pos="0">
                        <a:srgbClr val="FFFFFF"/>
                      </a:gs>
                      <a:gs pos="100000">
                        <a:srgbClr val="FFFFFF"/>
                      </a:gs>
                    </a:gsLst>
                    <a:lin ang="5400000" scaled="0"/>
                  </a:gradFill>
                </a:endParaRPr>
              </a:p>
            </p:txBody>
          </p:sp>
          <p:sp>
            <p:nvSpPr>
              <p:cNvPr id="245" name="TextBox 244"/>
              <p:cNvSpPr txBox="1"/>
              <p:nvPr/>
            </p:nvSpPr>
            <p:spPr>
              <a:xfrm>
                <a:off x="10535609"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5</a:t>
                </a:r>
              </a:p>
            </p:txBody>
          </p:sp>
          <p:grpSp>
            <p:nvGrpSpPr>
              <p:cNvPr id="246" name="Group 245"/>
              <p:cNvGrpSpPr/>
              <p:nvPr/>
            </p:nvGrpSpPr>
            <p:grpSpPr>
              <a:xfrm>
                <a:off x="9098012" y="2146879"/>
                <a:ext cx="958800" cy="671282"/>
                <a:chOff x="7792432" y="3461097"/>
                <a:chExt cx="568902" cy="299861"/>
              </a:xfrm>
            </p:grpSpPr>
            <p:sp>
              <p:nvSpPr>
                <p:cNvPr id="247" name="Freeform 8"/>
                <p:cNvSpPr>
                  <a:spLocks/>
                </p:cNvSpPr>
                <p:nvPr/>
              </p:nvSpPr>
              <p:spPr bwMode="auto">
                <a:xfrm>
                  <a:off x="8055009" y="3461097"/>
                  <a:ext cx="306325" cy="299861"/>
                </a:xfrm>
                <a:custGeom>
                  <a:avLst/>
                  <a:gdLst>
                    <a:gd name="T0" fmla="*/ 100 w 100"/>
                    <a:gd name="T1" fmla="*/ 0 h 98"/>
                    <a:gd name="T2" fmla="*/ 16 w 100"/>
                    <a:gd name="T3" fmla="*/ 13 h 98"/>
                    <a:gd name="T4" fmla="*/ 41 w 100"/>
                    <a:gd name="T5" fmla="*/ 39 h 98"/>
                    <a:gd name="T6" fmla="*/ 41 w 100"/>
                    <a:gd name="T7" fmla="*/ 39 h 98"/>
                    <a:gd name="T8" fmla="*/ 6 w 100"/>
                    <a:gd name="T9" fmla="*/ 75 h 98"/>
                    <a:gd name="T10" fmla="*/ 6 w 100"/>
                    <a:gd name="T11" fmla="*/ 94 h 98"/>
                    <a:gd name="T12" fmla="*/ 16 w 100"/>
                    <a:gd name="T13" fmla="*/ 98 h 98"/>
                    <a:gd name="T14" fmla="*/ 25 w 100"/>
                    <a:gd name="T15" fmla="*/ 94 h 98"/>
                    <a:gd name="T16" fmla="*/ 61 w 100"/>
                    <a:gd name="T17" fmla="*/ 59 h 98"/>
                    <a:gd name="T18" fmla="*/ 61 w 100"/>
                    <a:gd name="T19" fmla="*/ 59 h 98"/>
                    <a:gd name="T20" fmla="*/ 87 w 100"/>
                    <a:gd name="T21" fmla="*/ 84 h 98"/>
                    <a:gd name="T22" fmla="*/ 100 w 100"/>
                    <a:gd name="T23"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98">
                      <a:moveTo>
                        <a:pt x="100" y="0"/>
                      </a:moveTo>
                      <a:cubicBezTo>
                        <a:pt x="16" y="13"/>
                        <a:pt x="16" y="13"/>
                        <a:pt x="16" y="13"/>
                      </a:cubicBezTo>
                      <a:cubicBezTo>
                        <a:pt x="41" y="39"/>
                        <a:pt x="41" y="39"/>
                        <a:pt x="41" y="39"/>
                      </a:cubicBezTo>
                      <a:cubicBezTo>
                        <a:pt x="41" y="39"/>
                        <a:pt x="41" y="39"/>
                        <a:pt x="41" y="39"/>
                      </a:cubicBezTo>
                      <a:cubicBezTo>
                        <a:pt x="6" y="75"/>
                        <a:pt x="6" y="75"/>
                        <a:pt x="6" y="75"/>
                      </a:cubicBezTo>
                      <a:cubicBezTo>
                        <a:pt x="0" y="80"/>
                        <a:pt x="0" y="89"/>
                        <a:pt x="6" y="94"/>
                      </a:cubicBezTo>
                      <a:cubicBezTo>
                        <a:pt x="8" y="97"/>
                        <a:pt x="12" y="98"/>
                        <a:pt x="16" y="98"/>
                      </a:cubicBezTo>
                      <a:cubicBezTo>
                        <a:pt x="19" y="98"/>
                        <a:pt x="23" y="97"/>
                        <a:pt x="25" y="94"/>
                      </a:cubicBezTo>
                      <a:cubicBezTo>
                        <a:pt x="61" y="59"/>
                        <a:pt x="61" y="59"/>
                        <a:pt x="61" y="59"/>
                      </a:cubicBezTo>
                      <a:cubicBezTo>
                        <a:pt x="61" y="59"/>
                        <a:pt x="61" y="59"/>
                        <a:pt x="61" y="59"/>
                      </a:cubicBezTo>
                      <a:cubicBezTo>
                        <a:pt x="87" y="84"/>
                        <a:pt x="87" y="84"/>
                        <a:pt x="87" y="84"/>
                      </a:cubicBezTo>
                      <a:lnTo>
                        <a:pt x="10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Rectangle 9"/>
                <p:cNvSpPr>
                  <a:spLocks noChangeArrowheads="1"/>
                </p:cNvSpPr>
                <p:nvPr/>
              </p:nvSpPr>
              <p:spPr bwMode="auto">
                <a:xfrm>
                  <a:off x="7891463" y="3675653"/>
                  <a:ext cx="212661"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Rectangle 9"/>
                <p:cNvSpPr>
                  <a:spLocks noChangeArrowheads="1"/>
                </p:cNvSpPr>
                <p:nvPr/>
              </p:nvSpPr>
              <p:spPr bwMode="auto">
                <a:xfrm>
                  <a:off x="7792432" y="3675653"/>
                  <a:ext cx="27432"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Rectangle 9"/>
                <p:cNvSpPr>
                  <a:spLocks noChangeArrowheads="1"/>
                </p:cNvSpPr>
                <p:nvPr/>
              </p:nvSpPr>
              <p:spPr bwMode="auto">
                <a:xfrm>
                  <a:off x="7832804" y="3675653"/>
                  <a:ext cx="45719"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25" name="Group 224"/>
            <p:cNvGrpSpPr/>
            <p:nvPr/>
          </p:nvGrpSpPr>
          <p:grpSpPr>
            <a:xfrm>
              <a:off x="6754833" y="1904999"/>
              <a:ext cx="2022972" cy="2011680"/>
              <a:chOff x="6754833" y="1904999"/>
              <a:chExt cx="2022972" cy="2011680"/>
            </a:xfrm>
          </p:grpSpPr>
          <p:sp>
            <p:nvSpPr>
              <p:cNvPr id="238" name="Rectangle 237"/>
              <p:cNvSpPr/>
              <p:nvPr/>
            </p:nvSpPr>
            <p:spPr bwMode="auto">
              <a:xfrm>
                <a:off x="6754833"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Flexibility &amp; Choice</a:t>
                </a:r>
                <a:endParaRPr lang="en-US" sz="1500" dirty="0">
                  <a:gradFill>
                    <a:gsLst>
                      <a:gs pos="0">
                        <a:srgbClr val="FFFFFF"/>
                      </a:gs>
                      <a:gs pos="100000">
                        <a:srgbClr val="FFFFFF"/>
                      </a:gs>
                    </a:gsLst>
                    <a:lin ang="5400000" scaled="0"/>
                  </a:gradFill>
                </a:endParaRPr>
              </a:p>
            </p:txBody>
          </p:sp>
          <p:sp>
            <p:nvSpPr>
              <p:cNvPr id="239" name="TextBox 238"/>
              <p:cNvSpPr txBox="1"/>
              <p:nvPr/>
            </p:nvSpPr>
            <p:spPr>
              <a:xfrm>
                <a:off x="8421390"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4</a:t>
                </a:r>
              </a:p>
            </p:txBody>
          </p:sp>
          <p:grpSp>
            <p:nvGrpSpPr>
              <p:cNvPr id="240" name="Group 239"/>
              <p:cNvGrpSpPr/>
              <p:nvPr>
                <p:custDataLst>
                  <p:tags r:id="rId1"/>
                </p:custDataLst>
              </p:nvPr>
            </p:nvGrpSpPr>
            <p:grpSpPr>
              <a:xfrm>
                <a:off x="6856412" y="1967341"/>
                <a:ext cx="1105890" cy="850820"/>
                <a:chOff x="3127606" y="1031618"/>
                <a:chExt cx="1905261" cy="1465821"/>
              </a:xfrm>
            </p:grpSpPr>
            <p:pic>
              <p:nvPicPr>
                <p:cNvPr id="241" name="Picture 6" descr="\\MAGNUM\Projects\Microsoft\Cloud Power FY12\Design\ICONS_PNG\Cloud.png"/>
                <p:cNvPicPr>
                  <a:picLocks noChangeAspect="1" noChangeArrowheads="1"/>
                </p:cNvPicPr>
                <p:nvPr/>
              </p:nvPicPr>
              <p:blipFill rotWithShape="1">
                <a:blip r:embed="rId13" cstate="print">
                  <a:extLst>
                    <a:ext uri="{BEBA8EAE-BF5A-486C-A8C5-ECC9F3942E4B}">
                      <a14:imgProps xmlns:a14="http://schemas.microsoft.com/office/drawing/2010/main">
                        <a14:imgLayer r:embed="rId14">
                          <a14:imgEffect>
                            <a14:brightnessContrast bright="100000"/>
                          </a14:imgEffect>
                        </a14:imgLayer>
                      </a14:imgProps>
                    </a:ext>
                  </a:extLst>
                </a:blip>
                <a:srcRect t="15452" b="16319"/>
                <a:stretch/>
              </p:blipFill>
              <p:spPr bwMode="auto">
                <a:xfrm>
                  <a:off x="3423223" y="1031618"/>
                  <a:ext cx="1609644" cy="1098248"/>
                </a:xfrm>
                <a:prstGeom prst="rect">
                  <a:avLst/>
                </a:prstGeom>
                <a:noFill/>
              </p:spPr>
            </p:pic>
            <p:pic>
              <p:nvPicPr>
                <p:cNvPr id="242" name="Picture 2" descr="\\MAGNUM\Projects\Microsoft\Cloud Power FY12\Design\Icons\PNGs\Server_2.png"/>
                <p:cNvPicPr>
                  <a:picLocks noChangeAspect="1" noChangeArrowheads="1"/>
                </p:cNvPicPr>
                <p:nvPr/>
              </p:nvPicPr>
              <p:blipFill rotWithShape="1">
                <a:blip r:embed="rId15" cstate="print">
                  <a:lum bright="100000"/>
                  <a:extLst>
                    <a:ext uri="{BEBA8EAE-BF5A-486C-A8C5-ECC9F3942E4B}">
                      <a14:imgProps xmlns:a14="http://schemas.microsoft.com/office/drawing/2010/main">
                        <a14:imgLayer r:embed="rId16">
                          <a14:imgEffect>
                            <a14:colorTemperature colorTemp="1500"/>
                          </a14:imgEffect>
                        </a14:imgLayer>
                      </a14:imgProps>
                    </a:ext>
                  </a:extLst>
                </a:blip>
                <a:srcRect l="27619" t="9540" r="26586" b="9151"/>
                <a:stretch/>
              </p:blipFill>
              <p:spPr bwMode="auto">
                <a:xfrm>
                  <a:off x="3537558" y="1444626"/>
                  <a:ext cx="589660" cy="916080"/>
                </a:xfrm>
                <a:prstGeom prst="rect">
                  <a:avLst/>
                </a:prstGeom>
                <a:noFill/>
                <a:effectLst>
                  <a:outerShdw blurRad="50800" dist="12700" sx="103000" sy="103000" algn="ctr" rotWithShape="0">
                    <a:prstClr val="black">
                      <a:alpha val="40000"/>
                    </a:prstClr>
                  </a:outerShdw>
                </a:effectLst>
              </p:spPr>
            </p:pic>
            <p:pic>
              <p:nvPicPr>
                <p:cNvPr id="243" name="Picture 2" descr="\\MAGNUM\Projects\Microsoft\Cloud Power FY12\Design\Icons\PNGs\Server_2.png"/>
                <p:cNvPicPr>
                  <a:picLocks noChangeAspect="1" noChangeArrowheads="1"/>
                </p:cNvPicPr>
                <p:nvPr/>
              </p:nvPicPr>
              <p:blipFill rotWithShape="1">
                <a:blip r:embed="rId15" cstate="print">
                  <a:lum bright="100000"/>
                  <a:extLst>
                    <a:ext uri="{BEBA8EAE-BF5A-486C-A8C5-ECC9F3942E4B}">
                      <a14:imgProps xmlns:a14="http://schemas.microsoft.com/office/drawing/2010/main">
                        <a14:imgLayer r:embed="rId16">
                          <a14:imgEffect>
                            <a14:colorTemperature colorTemp="1500"/>
                          </a14:imgEffect>
                        </a14:imgLayer>
                      </a14:imgProps>
                    </a:ext>
                  </a:extLst>
                </a:blip>
                <a:srcRect l="27619" t="9540" r="26586" b="9151"/>
                <a:stretch/>
              </p:blipFill>
              <p:spPr bwMode="auto">
                <a:xfrm>
                  <a:off x="3127606" y="1581359"/>
                  <a:ext cx="589659" cy="916080"/>
                </a:xfrm>
                <a:prstGeom prst="rect">
                  <a:avLst/>
                </a:prstGeom>
                <a:noFill/>
                <a:effectLst>
                  <a:outerShdw blurRad="50800" dist="12700" sx="103000" sy="103000" algn="ctr" rotWithShape="0">
                    <a:prstClr val="black">
                      <a:alpha val="40000"/>
                    </a:prstClr>
                  </a:outerShdw>
                </a:effectLst>
              </p:spPr>
            </p:pic>
          </p:grpSp>
        </p:grpSp>
        <p:grpSp>
          <p:nvGrpSpPr>
            <p:cNvPr id="226" name="Group 225"/>
            <p:cNvGrpSpPr/>
            <p:nvPr/>
          </p:nvGrpSpPr>
          <p:grpSpPr>
            <a:xfrm>
              <a:off x="11004055" y="1904999"/>
              <a:ext cx="2012580" cy="2011680"/>
              <a:chOff x="11004055" y="1904999"/>
              <a:chExt cx="2012580" cy="2011680"/>
            </a:xfrm>
          </p:grpSpPr>
          <p:sp>
            <p:nvSpPr>
              <p:cNvPr id="235" name="Rectangle 234"/>
              <p:cNvSpPr/>
              <p:nvPr/>
            </p:nvSpPr>
            <p:spPr bwMode="auto">
              <a:xfrm>
                <a:off x="11004055"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Fast Time to Solution</a:t>
                </a:r>
                <a:endParaRPr lang="en-US" sz="1500" dirty="0">
                  <a:gradFill>
                    <a:gsLst>
                      <a:gs pos="0">
                        <a:srgbClr val="FFFFFF"/>
                      </a:gs>
                      <a:gs pos="100000">
                        <a:srgbClr val="FFFFFF"/>
                      </a:gs>
                    </a:gsLst>
                    <a:lin ang="5400000" scaled="0"/>
                  </a:gradFill>
                </a:endParaRPr>
              </a:p>
            </p:txBody>
          </p:sp>
          <p:sp>
            <p:nvSpPr>
              <p:cNvPr id="236" name="TextBox 235"/>
              <p:cNvSpPr txBox="1"/>
              <p:nvPr/>
            </p:nvSpPr>
            <p:spPr>
              <a:xfrm>
                <a:off x="12660220"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6</a:t>
                </a:r>
              </a:p>
            </p:txBody>
          </p:sp>
          <p:pic>
            <p:nvPicPr>
              <p:cNvPr id="237" name="Picture 3" descr="\\SFP\Work\White_Whale\3-22036_Kuleen_Bharadwaj\PPT\3_PlatformVision_Kuleen\SFP_Art\Plane Slide\mon_notie.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1139211" y="1983751"/>
                <a:ext cx="746401" cy="8755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7" name="Group 226"/>
            <p:cNvGrpSpPr/>
            <p:nvPr/>
          </p:nvGrpSpPr>
          <p:grpSpPr>
            <a:xfrm>
              <a:off x="13128666" y="1904999"/>
              <a:ext cx="2017182" cy="2011680"/>
              <a:chOff x="13128666" y="1904999"/>
              <a:chExt cx="2017182" cy="2011680"/>
            </a:xfrm>
          </p:grpSpPr>
          <p:sp>
            <p:nvSpPr>
              <p:cNvPr id="232" name="Rectangle 231"/>
              <p:cNvSpPr/>
              <p:nvPr/>
            </p:nvSpPr>
            <p:spPr bwMode="auto">
              <a:xfrm>
                <a:off x="13128666"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Extend Any Data, Anywhere</a:t>
                </a:r>
                <a:endParaRPr lang="en-US" sz="1500" dirty="0">
                  <a:gradFill>
                    <a:gsLst>
                      <a:gs pos="0">
                        <a:srgbClr val="FFFFFF"/>
                      </a:gs>
                      <a:gs pos="100000">
                        <a:srgbClr val="FFFFFF"/>
                      </a:gs>
                    </a:gsLst>
                    <a:lin ang="5400000" scaled="0"/>
                  </a:gradFill>
                </a:endParaRPr>
              </a:p>
            </p:txBody>
          </p:sp>
          <p:sp>
            <p:nvSpPr>
              <p:cNvPr id="233" name="TextBox 232"/>
              <p:cNvSpPr txBox="1"/>
              <p:nvPr/>
            </p:nvSpPr>
            <p:spPr>
              <a:xfrm>
                <a:off x="14789433"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7</a:t>
                </a:r>
              </a:p>
            </p:txBody>
          </p:sp>
          <p:pic>
            <p:nvPicPr>
              <p:cNvPr id="234" name="Picture 7" descr="\\MAGNUM\Projects\Microsoft\Cloud Power FY12\Design\ICONS_PNG\Physical_Virtual.png"/>
              <p:cNvPicPr>
                <a:picLocks noChangeAspect="1" noChangeArrowheads="1"/>
              </p:cNvPicPr>
              <p:nvPr/>
            </p:nvPicPr>
            <p:blipFill rotWithShape="1">
              <a:blip r:embed="rId18" cstate="print">
                <a:extLst>
                  <a:ext uri="{BEBA8EAE-BF5A-486C-A8C5-ECC9F3942E4B}">
                    <a14:imgProps xmlns:a14="http://schemas.microsoft.com/office/drawing/2010/main">
                      <a14:imgLayer r:embed="rId19">
                        <a14:imgEffect>
                          <a14:brightnessContrast bright="100000"/>
                        </a14:imgEffect>
                      </a14:imgLayer>
                    </a14:imgProps>
                  </a:ext>
                </a:extLst>
              </a:blip>
              <a:srcRect l="7856" t="39072" r="7907" b="5885"/>
              <a:stretch/>
            </p:blipFill>
            <p:spPr bwMode="auto">
              <a:xfrm>
                <a:off x="13200761" y="1984614"/>
                <a:ext cx="1275651" cy="833547"/>
              </a:xfrm>
              <a:prstGeom prst="rect">
                <a:avLst/>
              </a:prstGeom>
              <a:noFill/>
            </p:spPr>
          </p:pic>
        </p:grpSp>
        <p:grpSp>
          <p:nvGrpSpPr>
            <p:cNvPr id="228" name="Group 227"/>
            <p:cNvGrpSpPr/>
            <p:nvPr/>
          </p:nvGrpSpPr>
          <p:grpSpPr>
            <a:xfrm>
              <a:off x="15248423" y="1904999"/>
              <a:ext cx="2011680" cy="2011680"/>
              <a:chOff x="15248423" y="1904999"/>
              <a:chExt cx="2011680" cy="2011680"/>
            </a:xfrm>
          </p:grpSpPr>
          <p:sp>
            <p:nvSpPr>
              <p:cNvPr id="229" name="Rectangle 228"/>
              <p:cNvSpPr/>
              <p:nvPr/>
            </p:nvSpPr>
            <p:spPr bwMode="auto">
              <a:xfrm>
                <a:off x="15248423"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New Scenarios, Unlocked</a:t>
                </a:r>
                <a:endParaRPr lang="en-US" sz="1500" dirty="0">
                  <a:gradFill>
                    <a:gsLst>
                      <a:gs pos="0">
                        <a:srgbClr val="FFFFFF"/>
                      </a:gs>
                      <a:gs pos="100000">
                        <a:srgbClr val="FFFFFF"/>
                      </a:gs>
                    </a:gsLst>
                    <a:lin ang="5400000" scaled="0"/>
                  </a:gradFill>
                </a:endParaRPr>
              </a:p>
            </p:txBody>
          </p:sp>
          <p:sp>
            <p:nvSpPr>
              <p:cNvPr id="230" name="TextBox 229"/>
              <p:cNvSpPr txBox="1"/>
              <p:nvPr/>
            </p:nvSpPr>
            <p:spPr>
              <a:xfrm>
                <a:off x="16887509" y="1904999"/>
                <a:ext cx="356415" cy="615553"/>
              </a:xfrm>
              <a:prstGeom prst="rect">
                <a:avLst/>
              </a:prstGeom>
              <a:noFill/>
            </p:spPr>
            <p:txBody>
              <a:bodyPr wrap="none" lIns="0" tIns="0" rIns="45720" bIns="0" rtlCol="0">
                <a:spAutoFit/>
              </a:bodyPr>
              <a:lstStyle/>
              <a:p>
                <a:pPr algn="r"/>
                <a:r>
                  <a:rPr lang="en-US" sz="3000" b="1" dirty="0">
                    <a:solidFill>
                      <a:schemeClr val="tx2">
                        <a:lumMod val="75000"/>
                      </a:schemeClr>
                    </a:solidFill>
                  </a:rPr>
                  <a:t>8</a:t>
                </a:r>
                <a:endParaRPr lang="en-US" sz="3000" b="1" dirty="0">
                  <a:solidFill>
                    <a:schemeClr val="tx2">
                      <a:lumMod val="75000"/>
                    </a:schemeClr>
                  </a:solidFill>
                </a:endParaRPr>
              </a:p>
            </p:txBody>
          </p:sp>
          <p:pic>
            <p:nvPicPr>
              <p:cNvPr id="231" name="Picture 2"/>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5421918" y="2043731"/>
                <a:ext cx="640905" cy="775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287" name="Group 286"/>
          <p:cNvGrpSpPr/>
          <p:nvPr/>
        </p:nvGrpSpPr>
        <p:grpSpPr>
          <a:xfrm>
            <a:off x="282308" y="1428749"/>
            <a:ext cx="1513281" cy="1508760"/>
            <a:chOff x="13128666" y="1904999"/>
            <a:chExt cx="2017182" cy="2011680"/>
          </a:xfrm>
        </p:grpSpPr>
        <p:sp>
          <p:nvSpPr>
            <p:cNvPr id="292" name="Rectangle 291"/>
            <p:cNvSpPr/>
            <p:nvPr/>
          </p:nvSpPr>
          <p:spPr bwMode="auto">
            <a:xfrm>
              <a:off x="13128666" y="1904999"/>
              <a:ext cx="2011680" cy="2011680"/>
            </a:xfrm>
            <a:prstGeom prst="rect">
              <a:avLst/>
            </a:prstGeom>
            <a:solidFill>
              <a:schemeClr val="accent3"/>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Extend Any Data, Anywhere</a:t>
              </a:r>
              <a:endParaRPr lang="en-US" sz="1500" dirty="0">
                <a:gradFill>
                  <a:gsLst>
                    <a:gs pos="0">
                      <a:srgbClr val="FFFFFF"/>
                    </a:gs>
                    <a:gs pos="100000">
                      <a:srgbClr val="FFFFFF"/>
                    </a:gs>
                  </a:gsLst>
                  <a:lin ang="5400000" scaled="0"/>
                </a:gradFill>
              </a:endParaRPr>
            </a:p>
          </p:txBody>
        </p:sp>
        <p:sp>
          <p:nvSpPr>
            <p:cNvPr id="293" name="TextBox 292"/>
            <p:cNvSpPr txBox="1"/>
            <p:nvPr/>
          </p:nvSpPr>
          <p:spPr>
            <a:xfrm>
              <a:off x="14789433" y="1904999"/>
              <a:ext cx="356415" cy="615553"/>
            </a:xfrm>
            <a:prstGeom prst="rect">
              <a:avLst/>
            </a:prstGeom>
            <a:noFill/>
          </p:spPr>
          <p:txBody>
            <a:bodyPr wrap="none" lIns="0" tIns="0" rIns="45720" bIns="0" rtlCol="0">
              <a:spAutoFit/>
            </a:bodyPr>
            <a:lstStyle/>
            <a:p>
              <a:r>
                <a:rPr lang="en-US" sz="3000" b="1" dirty="0">
                  <a:solidFill>
                    <a:srgbClr val="FFC000"/>
                  </a:solidFill>
                </a:rPr>
                <a:t>7</a:t>
              </a:r>
            </a:p>
          </p:txBody>
        </p:sp>
        <p:pic>
          <p:nvPicPr>
            <p:cNvPr id="294" name="Picture 7" descr="\\MAGNUM\Projects\Microsoft\Cloud Power FY12\Design\ICONS_PNG\Physical_Virtual.png"/>
            <p:cNvPicPr>
              <a:picLocks noChangeAspect="1" noChangeArrowheads="1"/>
            </p:cNvPicPr>
            <p:nvPr/>
          </p:nvPicPr>
          <p:blipFill rotWithShape="1">
            <a:blip r:embed="rId18" cstate="print">
              <a:extLst>
                <a:ext uri="{BEBA8EAE-BF5A-486C-A8C5-ECC9F3942E4B}">
                  <a14:imgProps xmlns:a14="http://schemas.microsoft.com/office/drawing/2010/main">
                    <a14:imgLayer r:embed="rId19">
                      <a14:imgEffect>
                        <a14:brightnessContrast bright="100000"/>
                      </a14:imgEffect>
                    </a14:imgLayer>
                  </a14:imgProps>
                </a:ext>
              </a:extLst>
            </a:blip>
            <a:srcRect l="7856" t="39072" r="7907" b="5885"/>
            <a:stretch/>
          </p:blipFill>
          <p:spPr bwMode="auto">
            <a:xfrm>
              <a:off x="13200761" y="1984614"/>
              <a:ext cx="1275651" cy="833547"/>
            </a:xfrm>
            <a:prstGeom prst="rect">
              <a:avLst/>
            </a:prstGeom>
            <a:noFill/>
          </p:spPr>
        </p:pic>
      </p:grpSp>
      <p:sp>
        <p:nvSpPr>
          <p:cNvPr id="79"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80"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1"/>
              </a:rPr>
              <a:t>www.rapidbbs.cn</a:t>
            </a:r>
            <a:endParaRPr lang="zh-CN" altLang="en-US" sz="1200" b="0">
              <a:latin typeface="Arial" charset="0"/>
              <a:ea typeface="ＭＳ Ｐゴシック" pitchFamily="34" charset="-128"/>
            </a:endParaRPr>
          </a:p>
        </p:txBody>
      </p:sp>
      <p:pic>
        <p:nvPicPr>
          <p:cNvPr id="81" name="Picture 2">
            <a:hlinkClick r:id="rId21"/>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77430963"/>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decel="100000" fill="hold" nodeType="withEffect">
                                  <p:stCondLst>
                                    <p:cond delay="0"/>
                                  </p:stCondLst>
                                  <p:childTnLst>
                                    <p:animMotion origin="layout" path="M -4.38322E-6 4.44444E-6 L -0.17441 4.44444E-6 " pathEditMode="relative" rAng="0" ptsTypes="AA">
                                      <p:cBhvr>
                                        <p:cTn id="6" dur="1000" fill="hold"/>
                                        <p:tgtEl>
                                          <p:spTgt spid="216"/>
                                        </p:tgtEl>
                                        <p:attrNameLst>
                                          <p:attrName>ppt_x</p:attrName>
                                          <p:attrName>ppt_y</p:attrName>
                                        </p:attrNameLst>
                                      </p:cBhvr>
                                      <p:rCtr x="-8727" y="0"/>
                                    </p:animMotion>
                                  </p:childTnLst>
                                </p:cTn>
                              </p:par>
                            </p:childTnLst>
                          </p:cTn>
                        </p:par>
                        <p:par>
                          <p:cTn id="7" fill="hold">
                            <p:stCondLst>
                              <p:cond delay="1000"/>
                            </p:stCondLst>
                            <p:childTnLst>
                              <p:par>
                                <p:cTn id="8" presetID="22" presetClass="entr" presetSubtype="4" fill="hold" nodeType="afterEffect">
                                  <p:stCondLst>
                                    <p:cond delay="0"/>
                                  </p:stCondLst>
                                  <p:childTnLst>
                                    <p:set>
                                      <p:cBhvr>
                                        <p:cTn id="9" dur="1" fill="hold">
                                          <p:stCondLst>
                                            <p:cond delay="0"/>
                                          </p:stCondLst>
                                        </p:cTn>
                                        <p:tgtEl>
                                          <p:spTgt spid="287"/>
                                        </p:tgtEl>
                                        <p:attrNameLst>
                                          <p:attrName>style.visibility</p:attrName>
                                        </p:attrNameLst>
                                      </p:cBhvr>
                                      <p:to>
                                        <p:strVal val="visible"/>
                                      </p:to>
                                    </p:set>
                                    <p:animEffect transition="in" filter="wipe(down)">
                                      <p:cBhvr>
                                        <p:cTn id="10" dur="500"/>
                                        <p:tgtEl>
                                          <p:spTgt spid="287"/>
                                        </p:tgtEl>
                                      </p:cBhvr>
                                    </p:animEffect>
                                  </p:childTnLst>
                                </p:cTn>
                              </p:par>
                              <p:par>
                                <p:cTn id="11" presetID="2" presetClass="entr" presetSubtype="2" decel="100000" fill="hold" grpId="0" nodeType="withEffect">
                                  <p:stCondLst>
                                    <p:cond delay="0"/>
                                  </p:stCondLst>
                                  <p:childTnLst>
                                    <p:set>
                                      <p:cBhvr>
                                        <p:cTn id="12" dur="1" fill="hold">
                                          <p:stCondLst>
                                            <p:cond delay="0"/>
                                          </p:stCondLst>
                                        </p:cTn>
                                        <p:tgtEl>
                                          <p:spTgt spid="99"/>
                                        </p:tgtEl>
                                        <p:attrNameLst>
                                          <p:attrName>style.visibility</p:attrName>
                                        </p:attrNameLst>
                                      </p:cBhvr>
                                      <p:to>
                                        <p:strVal val="visible"/>
                                      </p:to>
                                    </p:set>
                                    <p:anim calcmode="lin" valueType="num">
                                      <p:cBhvr additive="base">
                                        <p:cTn id="13" dur="1000" fill="hold"/>
                                        <p:tgtEl>
                                          <p:spTgt spid="99"/>
                                        </p:tgtEl>
                                        <p:attrNameLst>
                                          <p:attrName>ppt_x</p:attrName>
                                        </p:attrNameLst>
                                      </p:cBhvr>
                                      <p:tavLst>
                                        <p:tav tm="0">
                                          <p:val>
                                            <p:strVal val="1+#ppt_w/2"/>
                                          </p:val>
                                        </p:tav>
                                        <p:tav tm="100000">
                                          <p:val>
                                            <p:strVal val="#ppt_x"/>
                                          </p:val>
                                        </p:tav>
                                      </p:tavLst>
                                    </p:anim>
                                    <p:anim calcmode="lin" valueType="num">
                                      <p:cBhvr additive="base">
                                        <p:cTn id="14" dur="1000" fill="hold"/>
                                        <p:tgtEl>
                                          <p:spTgt spid="99"/>
                                        </p:tgtEl>
                                        <p:attrNameLst>
                                          <p:attrName>ppt_y</p:attrName>
                                        </p:attrNameLst>
                                      </p:cBhvr>
                                      <p:tavLst>
                                        <p:tav tm="0">
                                          <p:val>
                                            <p:strVal val="#ppt_y"/>
                                          </p:val>
                                        </p:tav>
                                        <p:tav tm="100000">
                                          <p:val>
                                            <p:strVal val="#ppt_y"/>
                                          </p:val>
                                        </p:tav>
                                      </p:tavLst>
                                    </p:anim>
                                  </p:childTnLst>
                                </p:cTn>
                              </p:par>
                              <p:par>
                                <p:cTn id="15" presetID="2" presetClass="entr" presetSubtype="2" decel="100000" fill="hold" grpId="0" nodeType="withEffect">
                                  <p:stCondLst>
                                    <p:cond delay="250"/>
                                  </p:stCondLst>
                                  <p:childTnLst>
                                    <p:set>
                                      <p:cBhvr>
                                        <p:cTn id="16" dur="1" fill="hold">
                                          <p:stCondLst>
                                            <p:cond delay="0"/>
                                          </p:stCondLst>
                                        </p:cTn>
                                        <p:tgtEl>
                                          <p:spTgt spid="98"/>
                                        </p:tgtEl>
                                        <p:attrNameLst>
                                          <p:attrName>style.visibility</p:attrName>
                                        </p:attrNameLst>
                                      </p:cBhvr>
                                      <p:to>
                                        <p:strVal val="visible"/>
                                      </p:to>
                                    </p:set>
                                    <p:anim calcmode="lin" valueType="num">
                                      <p:cBhvr additive="base">
                                        <p:cTn id="17" dur="1000" fill="hold"/>
                                        <p:tgtEl>
                                          <p:spTgt spid="98"/>
                                        </p:tgtEl>
                                        <p:attrNameLst>
                                          <p:attrName>ppt_x</p:attrName>
                                        </p:attrNameLst>
                                      </p:cBhvr>
                                      <p:tavLst>
                                        <p:tav tm="0">
                                          <p:val>
                                            <p:strVal val="1+#ppt_w/2"/>
                                          </p:val>
                                        </p:tav>
                                        <p:tav tm="100000">
                                          <p:val>
                                            <p:strVal val="#ppt_x"/>
                                          </p:val>
                                        </p:tav>
                                      </p:tavLst>
                                    </p:anim>
                                    <p:anim calcmode="lin" valueType="num">
                                      <p:cBhvr additive="base">
                                        <p:cTn id="18" dur="1000" fill="hold"/>
                                        <p:tgtEl>
                                          <p:spTgt spid="9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8" grpId="0" animBg="1"/>
      <p:bldP spid="99" grpId="0" animBg="1"/>
    </p:bldLst>
  </p:timing>
</p:sld>
</file>

<file path=ppt/slides/slide5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of Crosshairs" hidden="1"/>
          <p:cNvGrpSpPr/>
          <p:nvPr/>
        </p:nvGrpSpPr>
        <p:grpSpPr>
          <a:xfrm>
            <a:off x="696221" y="1839040"/>
            <a:ext cx="18220964" cy="688181"/>
            <a:chOff x="928053" y="4429828"/>
            <a:chExt cx="24288292" cy="917575"/>
          </a:xfrm>
        </p:grpSpPr>
        <p:sp>
          <p:nvSpPr>
            <p:cNvPr id="18" name="Crosshair"/>
            <p:cNvSpPr>
              <a:spLocks/>
            </p:cNvSpPr>
            <p:nvPr/>
          </p:nvSpPr>
          <p:spPr bwMode="auto">
            <a:xfrm>
              <a:off x="928053"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 name="Crosshair"/>
            <p:cNvSpPr>
              <a:spLocks/>
            </p:cNvSpPr>
            <p:nvPr/>
          </p:nvSpPr>
          <p:spPr bwMode="auto">
            <a:xfrm>
              <a:off x="3052664"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 name="Crosshair"/>
            <p:cNvSpPr>
              <a:spLocks/>
            </p:cNvSpPr>
            <p:nvPr/>
          </p:nvSpPr>
          <p:spPr bwMode="auto">
            <a:xfrm>
              <a:off x="5177275"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 name="Crosshair"/>
            <p:cNvSpPr>
              <a:spLocks/>
            </p:cNvSpPr>
            <p:nvPr/>
          </p:nvSpPr>
          <p:spPr bwMode="auto">
            <a:xfrm>
              <a:off x="7301886"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Crosshair"/>
            <p:cNvSpPr>
              <a:spLocks/>
            </p:cNvSpPr>
            <p:nvPr/>
          </p:nvSpPr>
          <p:spPr bwMode="auto">
            <a:xfrm>
              <a:off x="9426497"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3" name="Crosshair"/>
            <p:cNvSpPr>
              <a:spLocks/>
            </p:cNvSpPr>
            <p:nvPr/>
          </p:nvSpPr>
          <p:spPr bwMode="auto">
            <a:xfrm>
              <a:off x="11551108"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4" name="Crosshair"/>
            <p:cNvSpPr>
              <a:spLocks/>
            </p:cNvSpPr>
            <p:nvPr/>
          </p:nvSpPr>
          <p:spPr bwMode="auto">
            <a:xfrm>
              <a:off x="13675719"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Crosshair"/>
            <p:cNvSpPr>
              <a:spLocks/>
            </p:cNvSpPr>
            <p:nvPr/>
          </p:nvSpPr>
          <p:spPr bwMode="auto">
            <a:xfrm>
              <a:off x="15800330"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 name="Crosshair"/>
            <p:cNvSpPr>
              <a:spLocks/>
            </p:cNvSpPr>
            <p:nvPr/>
          </p:nvSpPr>
          <p:spPr bwMode="auto">
            <a:xfrm>
              <a:off x="17924941"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7" name="Crosshair"/>
            <p:cNvSpPr>
              <a:spLocks/>
            </p:cNvSpPr>
            <p:nvPr/>
          </p:nvSpPr>
          <p:spPr bwMode="auto">
            <a:xfrm>
              <a:off x="20049552"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8" name="Crosshair"/>
            <p:cNvSpPr>
              <a:spLocks/>
            </p:cNvSpPr>
            <p:nvPr/>
          </p:nvSpPr>
          <p:spPr bwMode="auto">
            <a:xfrm>
              <a:off x="22174163"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9" name="Crosshair"/>
            <p:cNvSpPr>
              <a:spLocks/>
            </p:cNvSpPr>
            <p:nvPr/>
          </p:nvSpPr>
          <p:spPr bwMode="auto">
            <a:xfrm>
              <a:off x="24298770" y="4429828"/>
              <a:ext cx="917575" cy="917575"/>
            </a:xfrm>
            <a:custGeom>
              <a:avLst/>
              <a:gdLst>
                <a:gd name="T0" fmla="*/ 0 w 578"/>
                <a:gd name="T1" fmla="*/ 289 h 578"/>
                <a:gd name="T2" fmla="*/ 289 w 578"/>
                <a:gd name="T3" fmla="*/ 289 h 578"/>
                <a:gd name="T4" fmla="*/ 289 w 578"/>
                <a:gd name="T5" fmla="*/ 0 h 578"/>
                <a:gd name="T6" fmla="*/ 289 w 578"/>
                <a:gd name="T7" fmla="*/ 578 h 578"/>
                <a:gd name="T8" fmla="*/ 289 w 578"/>
                <a:gd name="T9" fmla="*/ 289 h 578"/>
                <a:gd name="T10" fmla="*/ 578 w 578"/>
                <a:gd name="T11" fmla="*/ 289 h 578"/>
              </a:gdLst>
              <a:ahLst/>
              <a:cxnLst>
                <a:cxn ang="0">
                  <a:pos x="T0" y="T1"/>
                </a:cxn>
                <a:cxn ang="0">
                  <a:pos x="T2" y="T3"/>
                </a:cxn>
                <a:cxn ang="0">
                  <a:pos x="T4" y="T5"/>
                </a:cxn>
                <a:cxn ang="0">
                  <a:pos x="T6" y="T7"/>
                </a:cxn>
                <a:cxn ang="0">
                  <a:pos x="T8" y="T9"/>
                </a:cxn>
                <a:cxn ang="0">
                  <a:pos x="T10" y="T11"/>
                </a:cxn>
              </a:cxnLst>
              <a:rect l="0" t="0" r="r" b="b"/>
              <a:pathLst>
                <a:path w="578" h="578">
                  <a:moveTo>
                    <a:pt x="0" y="289"/>
                  </a:moveTo>
                  <a:lnTo>
                    <a:pt x="289" y="289"/>
                  </a:lnTo>
                  <a:lnTo>
                    <a:pt x="289" y="0"/>
                  </a:lnTo>
                  <a:lnTo>
                    <a:pt x="289" y="578"/>
                  </a:lnTo>
                  <a:lnTo>
                    <a:pt x="289" y="289"/>
                  </a:lnTo>
                  <a:lnTo>
                    <a:pt x="578" y="289"/>
                  </a:lnTo>
                </a:path>
              </a:pathLst>
            </a:custGeom>
            <a:noFill/>
            <a:ln w="4" cap="flat">
              <a:solidFill>
                <a:srgbClr val="FFFF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70" name="Title 2"/>
          <p:cNvSpPr>
            <a:spLocks noGrp="1"/>
          </p:cNvSpPr>
          <p:nvPr>
            <p:ph type="title"/>
          </p:nvPr>
        </p:nvSpPr>
        <p:spPr>
          <a:xfrm>
            <a:off x="285825" y="171450"/>
            <a:ext cx="6280916" cy="457049"/>
          </a:xfrm>
        </p:spPr>
        <p:txBody>
          <a:bodyPr/>
          <a:lstStyle/>
          <a:p>
            <a:r>
              <a:rPr lang="en-US" dirty="0"/>
              <a:t>SQL Server 2012</a:t>
            </a:r>
          </a:p>
        </p:txBody>
      </p:sp>
      <p:pic>
        <p:nvPicPr>
          <p:cNvPr id="71" name="Picture 7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05641" y="4672464"/>
            <a:ext cx="1725220" cy="356737"/>
          </a:xfrm>
          <a:prstGeom prst="rect">
            <a:avLst/>
          </a:prstGeom>
        </p:spPr>
      </p:pic>
      <p:grpSp>
        <p:nvGrpSpPr>
          <p:cNvPr id="216" name="Group 215"/>
          <p:cNvGrpSpPr/>
          <p:nvPr/>
        </p:nvGrpSpPr>
        <p:grpSpPr>
          <a:xfrm>
            <a:off x="-9280935" y="1428749"/>
            <a:ext cx="19050903" cy="1508760"/>
            <a:chOff x="381000" y="1904999"/>
            <a:chExt cx="25394589" cy="2011680"/>
          </a:xfrm>
        </p:grpSpPr>
        <p:grpSp>
          <p:nvGrpSpPr>
            <p:cNvPr id="217" name="Group 216"/>
            <p:cNvGrpSpPr/>
            <p:nvPr/>
          </p:nvGrpSpPr>
          <p:grpSpPr>
            <a:xfrm>
              <a:off x="17390076" y="1904999"/>
              <a:ext cx="2011680" cy="2011680"/>
              <a:chOff x="17390076" y="1904999"/>
              <a:chExt cx="2011680" cy="2011680"/>
            </a:xfrm>
          </p:grpSpPr>
          <p:sp>
            <p:nvSpPr>
              <p:cNvPr id="269" name="Rectangle 268"/>
              <p:cNvSpPr/>
              <p:nvPr/>
            </p:nvSpPr>
            <p:spPr bwMode="auto">
              <a:xfrm>
                <a:off x="17390076"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Big Data &amp; Data </a:t>
                </a:r>
                <a:r>
                  <a:rPr lang="en-US" sz="1500" dirty="0">
                    <a:gradFill>
                      <a:gsLst>
                        <a:gs pos="0">
                          <a:srgbClr val="FFFFFF"/>
                        </a:gs>
                        <a:gs pos="100000">
                          <a:srgbClr val="FFFFFF"/>
                        </a:gs>
                      </a:gsLst>
                      <a:lin ang="5400000" scaled="0"/>
                    </a:gradFill>
                  </a:rPr>
                  <a:t>Warehousing</a:t>
                </a:r>
              </a:p>
            </p:txBody>
          </p:sp>
          <p:pic>
            <p:nvPicPr>
              <p:cNvPr id="270" name="Picture 8"/>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7504179" y="2029883"/>
                <a:ext cx="896304" cy="7133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71" name="TextBox 270"/>
              <p:cNvSpPr txBox="1"/>
              <p:nvPr/>
            </p:nvSpPr>
            <p:spPr>
              <a:xfrm>
                <a:off x="19035547" y="1904999"/>
                <a:ext cx="356415" cy="615553"/>
              </a:xfrm>
              <a:prstGeom prst="rect">
                <a:avLst/>
              </a:prstGeom>
              <a:noFill/>
            </p:spPr>
            <p:txBody>
              <a:bodyPr wrap="none" lIns="0" tIns="0" rIns="45720" bIns="0" rtlCol="0">
                <a:spAutoFit/>
              </a:bodyPr>
              <a:lstStyle/>
              <a:p>
                <a:pPr algn="r"/>
                <a:r>
                  <a:rPr lang="en-US" sz="3000" b="1" dirty="0">
                    <a:solidFill>
                      <a:schemeClr val="tx2">
                        <a:lumMod val="75000"/>
                      </a:schemeClr>
                    </a:solidFill>
                  </a:rPr>
                  <a:t>9</a:t>
                </a:r>
                <a:endParaRPr lang="en-US" sz="3000" b="1" dirty="0">
                  <a:solidFill>
                    <a:schemeClr val="tx2">
                      <a:lumMod val="75000"/>
                    </a:schemeClr>
                  </a:solidFill>
                </a:endParaRPr>
              </a:p>
            </p:txBody>
          </p:sp>
        </p:grpSp>
        <p:grpSp>
          <p:nvGrpSpPr>
            <p:cNvPr id="218" name="Group 217"/>
            <p:cNvGrpSpPr/>
            <p:nvPr/>
          </p:nvGrpSpPr>
          <p:grpSpPr>
            <a:xfrm>
              <a:off x="21639298" y="1904999"/>
              <a:ext cx="2011680" cy="2011680"/>
              <a:chOff x="21639298" y="1904999"/>
              <a:chExt cx="2011680" cy="2011680"/>
            </a:xfrm>
          </p:grpSpPr>
          <p:sp>
            <p:nvSpPr>
              <p:cNvPr id="266" name="Rectangle 265"/>
              <p:cNvSpPr/>
              <p:nvPr/>
            </p:nvSpPr>
            <p:spPr bwMode="auto">
              <a:xfrm>
                <a:off x="21639298"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Managed Self-Service BI</a:t>
                </a:r>
                <a:endParaRPr lang="en-US" sz="1500" dirty="0">
                  <a:gradFill>
                    <a:gsLst>
                      <a:gs pos="0">
                        <a:srgbClr val="FFFFFF"/>
                      </a:gs>
                      <a:gs pos="100000">
                        <a:srgbClr val="FFFFFF"/>
                      </a:gs>
                    </a:gsLst>
                    <a:lin ang="5400000" scaled="0"/>
                  </a:gradFill>
                </a:endParaRPr>
              </a:p>
            </p:txBody>
          </p:sp>
          <p:sp>
            <p:nvSpPr>
              <p:cNvPr id="267" name="TextBox 266"/>
              <p:cNvSpPr txBox="1"/>
              <p:nvPr/>
            </p:nvSpPr>
            <p:spPr>
              <a:xfrm>
                <a:off x="22989296" y="1904999"/>
                <a:ext cx="651290" cy="615553"/>
              </a:xfrm>
              <a:prstGeom prst="rect">
                <a:avLst/>
              </a:prstGeom>
              <a:noFill/>
            </p:spPr>
            <p:txBody>
              <a:bodyPr wrap="none" lIns="0" tIns="0" rIns="45720" bIns="0" rtlCol="0">
                <a:spAutoFit/>
              </a:bodyPr>
              <a:lstStyle/>
              <a:p>
                <a:pPr algn="r"/>
                <a:r>
                  <a:rPr lang="en-US" sz="3000" b="1" dirty="0">
                    <a:solidFill>
                      <a:schemeClr val="tx2">
                        <a:lumMod val="75000"/>
                      </a:schemeClr>
                    </a:solidFill>
                  </a:rPr>
                  <a:t>11</a:t>
                </a:r>
                <a:endParaRPr lang="en-US" sz="3000" b="1" dirty="0">
                  <a:solidFill>
                    <a:schemeClr val="tx2">
                      <a:lumMod val="75000"/>
                    </a:schemeClr>
                  </a:solidFill>
                </a:endParaRPr>
              </a:p>
            </p:txBody>
          </p:sp>
          <p:pic>
            <p:nvPicPr>
              <p:cNvPr id="268" name="Picture 17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1718611" y="1981200"/>
                <a:ext cx="832241" cy="833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9" name="Group 218"/>
            <p:cNvGrpSpPr/>
            <p:nvPr/>
          </p:nvGrpSpPr>
          <p:grpSpPr>
            <a:xfrm>
              <a:off x="23763909" y="1904999"/>
              <a:ext cx="2011680" cy="2011680"/>
              <a:chOff x="23763909" y="1904999"/>
              <a:chExt cx="2011680" cy="2011680"/>
            </a:xfrm>
          </p:grpSpPr>
          <p:sp>
            <p:nvSpPr>
              <p:cNvPr id="263" name="Rectangle 262"/>
              <p:cNvSpPr/>
              <p:nvPr/>
            </p:nvSpPr>
            <p:spPr bwMode="auto">
              <a:xfrm>
                <a:off x="23763909"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Rapid Data Exploration</a:t>
                </a:r>
                <a:endParaRPr lang="en-US" sz="1500" dirty="0">
                  <a:gradFill>
                    <a:gsLst>
                      <a:gs pos="0">
                        <a:srgbClr val="FFFFFF"/>
                      </a:gs>
                      <a:gs pos="100000">
                        <a:srgbClr val="FFFFFF"/>
                      </a:gs>
                    </a:gsLst>
                    <a:lin ang="5400000" scaled="0"/>
                  </a:gradFill>
                </a:endParaRPr>
              </a:p>
            </p:txBody>
          </p:sp>
          <p:sp>
            <p:nvSpPr>
              <p:cNvPr id="264" name="TextBox 263"/>
              <p:cNvSpPr txBox="1"/>
              <p:nvPr/>
            </p:nvSpPr>
            <p:spPr>
              <a:xfrm>
                <a:off x="25113907" y="1904999"/>
                <a:ext cx="651290" cy="615553"/>
              </a:xfrm>
              <a:prstGeom prst="rect">
                <a:avLst/>
              </a:prstGeom>
              <a:noFill/>
            </p:spPr>
            <p:txBody>
              <a:bodyPr wrap="none" lIns="0" tIns="0" rIns="45720" bIns="0" rtlCol="0">
                <a:spAutoFit/>
              </a:bodyPr>
              <a:lstStyle/>
              <a:p>
                <a:pPr algn="r"/>
                <a:r>
                  <a:rPr lang="en-US" sz="3000" b="1" dirty="0">
                    <a:solidFill>
                      <a:schemeClr val="tx2">
                        <a:lumMod val="75000"/>
                      </a:schemeClr>
                    </a:solidFill>
                  </a:rPr>
                  <a:t>12</a:t>
                </a:r>
                <a:endParaRPr lang="en-US" sz="3000" b="1" dirty="0">
                  <a:solidFill>
                    <a:schemeClr val="tx2">
                      <a:lumMod val="75000"/>
                    </a:schemeClr>
                  </a:solidFill>
                </a:endParaRPr>
              </a:p>
            </p:txBody>
          </p:sp>
          <p:pic>
            <p:nvPicPr>
              <p:cNvPr id="265" name="Picture 3"/>
              <p:cNvPicPr>
                <a:picLocks noChangeAspect="1" noChangeArrowheads="1"/>
              </p:cNvPicPr>
              <p:nvPr>
                <p:custDataLst>
                  <p:tags r:id="rId3"/>
                </p:custDataLst>
              </p:nvPr>
            </p:nvPicPr>
            <p:blipFill>
              <a:blip r:embed="rId8" cstate="print">
                <a:extLst>
                  <a:ext uri="{28A0092B-C50C-407E-A947-70E740481C1C}">
                    <a14:useLocalDpi xmlns:a14="http://schemas.microsoft.com/office/drawing/2010/main"/>
                  </a:ext>
                </a:extLst>
              </a:blip>
              <a:srcRect/>
              <a:stretch>
                <a:fillRect/>
              </a:stretch>
            </p:blipFill>
            <p:spPr bwMode="auto">
              <a:xfrm>
                <a:off x="23852211" y="1959614"/>
                <a:ext cx="593243" cy="859786"/>
              </a:xfrm>
              <a:prstGeom prst="rect">
                <a:avLst/>
              </a:prstGeom>
              <a:noFill/>
              <a:ln>
                <a:noFill/>
                <a:headEnd type="none" w="med" len="med"/>
                <a:tailEnd type="none" w="med" len="med"/>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20" name="Group 219"/>
            <p:cNvGrpSpPr/>
            <p:nvPr/>
          </p:nvGrpSpPr>
          <p:grpSpPr>
            <a:xfrm>
              <a:off x="4630222" y="1904999"/>
              <a:ext cx="2026976" cy="2011680"/>
              <a:chOff x="4630222" y="1904999"/>
              <a:chExt cx="2026976" cy="2011680"/>
            </a:xfrm>
          </p:grpSpPr>
          <p:sp>
            <p:nvSpPr>
              <p:cNvPr id="260" name="Rectangle 259"/>
              <p:cNvSpPr/>
              <p:nvPr/>
            </p:nvSpPr>
            <p:spPr bwMode="auto">
              <a:xfrm>
                <a:off x="4630222"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Required 9s &amp; Data Protection</a:t>
                </a:r>
                <a:endParaRPr lang="en-US" sz="1500" dirty="0">
                  <a:gradFill>
                    <a:gsLst>
                      <a:gs pos="0">
                        <a:srgbClr val="FFFFFF"/>
                      </a:gs>
                      <a:gs pos="100000">
                        <a:srgbClr val="FFFFFF"/>
                      </a:gs>
                    </a:gsLst>
                    <a:lin ang="5400000" scaled="0"/>
                  </a:gradFill>
                </a:endParaRPr>
              </a:p>
            </p:txBody>
          </p:sp>
          <p:sp>
            <p:nvSpPr>
              <p:cNvPr id="261" name="TextBox 260"/>
              <p:cNvSpPr txBox="1"/>
              <p:nvPr/>
            </p:nvSpPr>
            <p:spPr>
              <a:xfrm>
                <a:off x="6300783"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3</a:t>
                </a:r>
              </a:p>
            </p:txBody>
          </p:sp>
          <p:pic>
            <p:nvPicPr>
              <p:cNvPr id="262" name="Picture 4" descr="\\MAGNUM\Projects\Microsoft\Cloud Power FY12\Design\ICONS_PNG\Check_mark.png"/>
              <p:cNvPicPr>
                <a:picLocks noChangeAspect="1" noChangeArrowheads="1"/>
              </p:cNvPicPr>
              <p:nvPr/>
            </p:nvPicPr>
            <p:blipFill rotWithShape="1">
              <a:blip r:embed="rId9" cstate="print">
                <a:lum bright="100000"/>
              </a:blip>
              <a:srcRect t="11515"/>
              <a:stretch/>
            </p:blipFill>
            <p:spPr bwMode="auto">
              <a:xfrm>
                <a:off x="4669492" y="1927464"/>
                <a:ext cx="1253470" cy="1109124"/>
              </a:xfrm>
              <a:prstGeom prst="rect">
                <a:avLst/>
              </a:prstGeom>
              <a:noFill/>
            </p:spPr>
          </p:pic>
        </p:grpSp>
        <p:grpSp>
          <p:nvGrpSpPr>
            <p:cNvPr id="221" name="Group 220"/>
            <p:cNvGrpSpPr/>
            <p:nvPr/>
          </p:nvGrpSpPr>
          <p:grpSpPr>
            <a:xfrm>
              <a:off x="19514687" y="1904999"/>
              <a:ext cx="2011680" cy="2011680"/>
              <a:chOff x="19514687" y="1904999"/>
              <a:chExt cx="2011680" cy="2011680"/>
            </a:xfrm>
          </p:grpSpPr>
          <p:sp>
            <p:nvSpPr>
              <p:cNvPr id="257" name="Rectangle 256"/>
              <p:cNvSpPr/>
              <p:nvPr/>
            </p:nvSpPr>
            <p:spPr bwMode="auto">
              <a:xfrm>
                <a:off x="19514687"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Credible, Consistent Data</a:t>
                </a:r>
                <a:endParaRPr lang="en-US" sz="1500" dirty="0">
                  <a:gradFill>
                    <a:gsLst>
                      <a:gs pos="0">
                        <a:srgbClr val="FFFFFF"/>
                      </a:gs>
                      <a:gs pos="100000">
                        <a:srgbClr val="FFFFFF"/>
                      </a:gs>
                    </a:gsLst>
                    <a:lin ang="5400000" scaled="0"/>
                  </a:gradFill>
                </a:endParaRPr>
              </a:p>
            </p:txBody>
          </p:sp>
          <p:sp>
            <p:nvSpPr>
              <p:cNvPr id="258" name="TextBox 257"/>
              <p:cNvSpPr txBox="1"/>
              <p:nvPr/>
            </p:nvSpPr>
            <p:spPr>
              <a:xfrm>
                <a:off x="20875077" y="1904999"/>
                <a:ext cx="651290" cy="615553"/>
              </a:xfrm>
              <a:prstGeom prst="rect">
                <a:avLst/>
              </a:prstGeom>
              <a:noFill/>
            </p:spPr>
            <p:txBody>
              <a:bodyPr wrap="none" lIns="0" tIns="0" rIns="45720" bIns="0" rtlCol="0">
                <a:spAutoFit/>
              </a:bodyPr>
              <a:lstStyle/>
              <a:p>
                <a:pPr algn="r"/>
                <a:r>
                  <a:rPr lang="en-US" sz="3000" b="1" dirty="0">
                    <a:solidFill>
                      <a:schemeClr val="tx2">
                        <a:lumMod val="75000"/>
                      </a:schemeClr>
                    </a:solidFill>
                  </a:rPr>
                  <a:t>10</a:t>
                </a:r>
                <a:endParaRPr lang="en-US" sz="3000" b="1" dirty="0">
                  <a:solidFill>
                    <a:schemeClr val="tx2">
                      <a:lumMod val="75000"/>
                    </a:schemeClr>
                  </a:solidFill>
                </a:endParaRPr>
              </a:p>
            </p:txBody>
          </p:sp>
          <p:pic>
            <p:nvPicPr>
              <p:cNvPr id="259" name="Picture 2"/>
              <p:cNvPicPr>
                <a:picLocks noChangeAspect="1" noChangeArrowheads="1"/>
              </p:cNvPicPr>
              <p:nvPr/>
            </p:nvPicPr>
            <p:blipFill>
              <a:blip r:embed="rId10"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9632590" y="2012733"/>
                <a:ext cx="958499" cy="8515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22" name="Group 221"/>
            <p:cNvGrpSpPr/>
            <p:nvPr/>
          </p:nvGrpSpPr>
          <p:grpSpPr>
            <a:xfrm>
              <a:off x="2505611" y="1904999"/>
              <a:ext cx="2022972" cy="2011680"/>
              <a:chOff x="2505611" y="1904999"/>
              <a:chExt cx="2022972" cy="2011680"/>
            </a:xfrm>
          </p:grpSpPr>
          <p:sp>
            <p:nvSpPr>
              <p:cNvPr id="254" name="Rectangle 253"/>
              <p:cNvSpPr/>
              <p:nvPr/>
            </p:nvSpPr>
            <p:spPr bwMode="auto">
              <a:xfrm>
                <a:off x="2505611"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Security &amp; Compliance</a:t>
                </a:r>
                <a:endParaRPr lang="en-US" sz="1500" dirty="0">
                  <a:gradFill>
                    <a:gsLst>
                      <a:gs pos="0">
                        <a:srgbClr val="FFFFFF"/>
                      </a:gs>
                      <a:gs pos="100000">
                        <a:srgbClr val="FFFFFF"/>
                      </a:gs>
                    </a:gsLst>
                    <a:lin ang="5400000" scaled="0"/>
                  </a:gradFill>
                </a:endParaRPr>
              </a:p>
            </p:txBody>
          </p:sp>
          <p:sp>
            <p:nvSpPr>
              <p:cNvPr id="255" name="TextBox 254"/>
              <p:cNvSpPr txBox="1"/>
              <p:nvPr/>
            </p:nvSpPr>
            <p:spPr>
              <a:xfrm>
                <a:off x="4172168"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2</a:t>
                </a:r>
              </a:p>
            </p:txBody>
          </p:sp>
          <p:pic>
            <p:nvPicPr>
              <p:cNvPr id="256" name="Picture 255"/>
              <p:cNvPicPr>
                <a:picLocks noChangeAspect="1"/>
              </p:cNvPicPr>
              <p:nvPr>
                <p:custDataLst>
                  <p:tags r:id="rId2"/>
                </p:custDataLst>
              </p:nvPr>
            </p:nvPicPr>
            <p:blipFill>
              <a:blip r:embed="rId11">
                <a:extLst>
                  <a:ext uri="{28A0092B-C50C-407E-A947-70E740481C1C}">
                    <a14:useLocalDpi xmlns:a14="http://schemas.microsoft.com/office/drawing/2010/main" val="0"/>
                  </a:ext>
                </a:extLst>
              </a:blip>
              <a:stretch>
                <a:fillRect/>
              </a:stretch>
            </p:blipFill>
            <p:spPr>
              <a:xfrm>
                <a:off x="2655779" y="1983751"/>
                <a:ext cx="883759" cy="875588"/>
              </a:xfrm>
              <a:prstGeom prst="rect">
                <a:avLst/>
              </a:prstGeom>
              <a:effectLst/>
            </p:spPr>
          </p:pic>
        </p:grpSp>
        <p:grpSp>
          <p:nvGrpSpPr>
            <p:cNvPr id="223" name="Group 222"/>
            <p:cNvGrpSpPr/>
            <p:nvPr/>
          </p:nvGrpSpPr>
          <p:grpSpPr>
            <a:xfrm>
              <a:off x="381000" y="1904999"/>
              <a:ext cx="2026976" cy="2011680"/>
              <a:chOff x="381000" y="1904999"/>
              <a:chExt cx="2026976" cy="2011680"/>
            </a:xfrm>
          </p:grpSpPr>
          <p:sp>
            <p:nvSpPr>
              <p:cNvPr id="251" name="Rectangle 250"/>
              <p:cNvSpPr/>
              <p:nvPr/>
            </p:nvSpPr>
            <p:spPr bwMode="auto">
              <a:xfrm>
                <a:off x="381000"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Blazing-Fast Performance</a:t>
                </a:r>
              </a:p>
            </p:txBody>
          </p:sp>
          <p:sp>
            <p:nvSpPr>
              <p:cNvPr id="252" name="TextBox 251"/>
              <p:cNvSpPr txBox="1"/>
              <p:nvPr/>
            </p:nvSpPr>
            <p:spPr>
              <a:xfrm>
                <a:off x="2051561"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1</a:t>
                </a:r>
              </a:p>
            </p:txBody>
          </p:sp>
          <p:pic>
            <p:nvPicPr>
              <p:cNvPr id="253" name="Picture 25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06299" y="2057549"/>
                <a:ext cx="880541" cy="880541"/>
              </a:xfrm>
              <a:prstGeom prst="rect">
                <a:avLst/>
              </a:prstGeom>
            </p:spPr>
          </p:pic>
        </p:grpSp>
        <p:grpSp>
          <p:nvGrpSpPr>
            <p:cNvPr id="224" name="Group 223"/>
            <p:cNvGrpSpPr/>
            <p:nvPr/>
          </p:nvGrpSpPr>
          <p:grpSpPr>
            <a:xfrm>
              <a:off x="8879444" y="1904999"/>
              <a:ext cx="2012580" cy="2011680"/>
              <a:chOff x="8879444" y="1904999"/>
              <a:chExt cx="2012580" cy="2011680"/>
            </a:xfrm>
          </p:grpSpPr>
          <p:sp>
            <p:nvSpPr>
              <p:cNvPr id="244" name="Rectangle 243"/>
              <p:cNvSpPr/>
              <p:nvPr/>
            </p:nvSpPr>
            <p:spPr bwMode="auto">
              <a:xfrm>
                <a:off x="8879444"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Scale on Demand</a:t>
                </a:r>
                <a:endParaRPr lang="en-US" sz="1500" dirty="0">
                  <a:gradFill>
                    <a:gsLst>
                      <a:gs pos="0">
                        <a:srgbClr val="FFFFFF"/>
                      </a:gs>
                      <a:gs pos="100000">
                        <a:srgbClr val="FFFFFF"/>
                      </a:gs>
                    </a:gsLst>
                    <a:lin ang="5400000" scaled="0"/>
                  </a:gradFill>
                </a:endParaRPr>
              </a:p>
            </p:txBody>
          </p:sp>
          <p:sp>
            <p:nvSpPr>
              <p:cNvPr id="245" name="TextBox 244"/>
              <p:cNvSpPr txBox="1"/>
              <p:nvPr/>
            </p:nvSpPr>
            <p:spPr>
              <a:xfrm>
                <a:off x="10535609"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5</a:t>
                </a:r>
              </a:p>
            </p:txBody>
          </p:sp>
          <p:grpSp>
            <p:nvGrpSpPr>
              <p:cNvPr id="246" name="Group 245"/>
              <p:cNvGrpSpPr/>
              <p:nvPr/>
            </p:nvGrpSpPr>
            <p:grpSpPr>
              <a:xfrm>
                <a:off x="9098012" y="2146879"/>
                <a:ext cx="958800" cy="671282"/>
                <a:chOff x="7792432" y="3461097"/>
                <a:chExt cx="568902" cy="299861"/>
              </a:xfrm>
            </p:grpSpPr>
            <p:sp>
              <p:nvSpPr>
                <p:cNvPr id="247" name="Freeform 8"/>
                <p:cNvSpPr>
                  <a:spLocks/>
                </p:cNvSpPr>
                <p:nvPr/>
              </p:nvSpPr>
              <p:spPr bwMode="auto">
                <a:xfrm>
                  <a:off x="8055009" y="3461097"/>
                  <a:ext cx="306325" cy="299861"/>
                </a:xfrm>
                <a:custGeom>
                  <a:avLst/>
                  <a:gdLst>
                    <a:gd name="T0" fmla="*/ 100 w 100"/>
                    <a:gd name="T1" fmla="*/ 0 h 98"/>
                    <a:gd name="T2" fmla="*/ 16 w 100"/>
                    <a:gd name="T3" fmla="*/ 13 h 98"/>
                    <a:gd name="T4" fmla="*/ 41 w 100"/>
                    <a:gd name="T5" fmla="*/ 39 h 98"/>
                    <a:gd name="T6" fmla="*/ 41 w 100"/>
                    <a:gd name="T7" fmla="*/ 39 h 98"/>
                    <a:gd name="T8" fmla="*/ 6 w 100"/>
                    <a:gd name="T9" fmla="*/ 75 h 98"/>
                    <a:gd name="T10" fmla="*/ 6 w 100"/>
                    <a:gd name="T11" fmla="*/ 94 h 98"/>
                    <a:gd name="T12" fmla="*/ 16 w 100"/>
                    <a:gd name="T13" fmla="*/ 98 h 98"/>
                    <a:gd name="T14" fmla="*/ 25 w 100"/>
                    <a:gd name="T15" fmla="*/ 94 h 98"/>
                    <a:gd name="T16" fmla="*/ 61 w 100"/>
                    <a:gd name="T17" fmla="*/ 59 h 98"/>
                    <a:gd name="T18" fmla="*/ 61 w 100"/>
                    <a:gd name="T19" fmla="*/ 59 h 98"/>
                    <a:gd name="T20" fmla="*/ 87 w 100"/>
                    <a:gd name="T21" fmla="*/ 84 h 98"/>
                    <a:gd name="T22" fmla="*/ 100 w 100"/>
                    <a:gd name="T23"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98">
                      <a:moveTo>
                        <a:pt x="100" y="0"/>
                      </a:moveTo>
                      <a:cubicBezTo>
                        <a:pt x="16" y="13"/>
                        <a:pt x="16" y="13"/>
                        <a:pt x="16" y="13"/>
                      </a:cubicBezTo>
                      <a:cubicBezTo>
                        <a:pt x="41" y="39"/>
                        <a:pt x="41" y="39"/>
                        <a:pt x="41" y="39"/>
                      </a:cubicBezTo>
                      <a:cubicBezTo>
                        <a:pt x="41" y="39"/>
                        <a:pt x="41" y="39"/>
                        <a:pt x="41" y="39"/>
                      </a:cubicBezTo>
                      <a:cubicBezTo>
                        <a:pt x="6" y="75"/>
                        <a:pt x="6" y="75"/>
                        <a:pt x="6" y="75"/>
                      </a:cubicBezTo>
                      <a:cubicBezTo>
                        <a:pt x="0" y="80"/>
                        <a:pt x="0" y="89"/>
                        <a:pt x="6" y="94"/>
                      </a:cubicBezTo>
                      <a:cubicBezTo>
                        <a:pt x="8" y="97"/>
                        <a:pt x="12" y="98"/>
                        <a:pt x="16" y="98"/>
                      </a:cubicBezTo>
                      <a:cubicBezTo>
                        <a:pt x="19" y="98"/>
                        <a:pt x="23" y="97"/>
                        <a:pt x="25" y="94"/>
                      </a:cubicBezTo>
                      <a:cubicBezTo>
                        <a:pt x="61" y="59"/>
                        <a:pt x="61" y="59"/>
                        <a:pt x="61" y="59"/>
                      </a:cubicBezTo>
                      <a:cubicBezTo>
                        <a:pt x="61" y="59"/>
                        <a:pt x="61" y="59"/>
                        <a:pt x="61" y="59"/>
                      </a:cubicBezTo>
                      <a:cubicBezTo>
                        <a:pt x="87" y="84"/>
                        <a:pt x="87" y="84"/>
                        <a:pt x="87" y="84"/>
                      </a:cubicBezTo>
                      <a:lnTo>
                        <a:pt x="10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Rectangle 9"/>
                <p:cNvSpPr>
                  <a:spLocks noChangeArrowheads="1"/>
                </p:cNvSpPr>
                <p:nvPr/>
              </p:nvSpPr>
              <p:spPr bwMode="auto">
                <a:xfrm>
                  <a:off x="7891463" y="3675653"/>
                  <a:ext cx="212661"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Rectangle 9"/>
                <p:cNvSpPr>
                  <a:spLocks noChangeArrowheads="1"/>
                </p:cNvSpPr>
                <p:nvPr/>
              </p:nvSpPr>
              <p:spPr bwMode="auto">
                <a:xfrm>
                  <a:off x="7792432" y="3675653"/>
                  <a:ext cx="27432"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Rectangle 9"/>
                <p:cNvSpPr>
                  <a:spLocks noChangeArrowheads="1"/>
                </p:cNvSpPr>
                <p:nvPr/>
              </p:nvSpPr>
              <p:spPr bwMode="auto">
                <a:xfrm>
                  <a:off x="7832804" y="3675653"/>
                  <a:ext cx="45719"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25" name="Group 224"/>
            <p:cNvGrpSpPr/>
            <p:nvPr/>
          </p:nvGrpSpPr>
          <p:grpSpPr>
            <a:xfrm>
              <a:off x="6754833" y="1904999"/>
              <a:ext cx="2022972" cy="2011680"/>
              <a:chOff x="6754833" y="1904999"/>
              <a:chExt cx="2022972" cy="2011680"/>
            </a:xfrm>
          </p:grpSpPr>
          <p:sp>
            <p:nvSpPr>
              <p:cNvPr id="238" name="Rectangle 237"/>
              <p:cNvSpPr/>
              <p:nvPr/>
            </p:nvSpPr>
            <p:spPr bwMode="auto">
              <a:xfrm>
                <a:off x="6754833"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Flexibility &amp; Choice</a:t>
                </a:r>
                <a:endParaRPr lang="en-US" sz="1500" dirty="0">
                  <a:gradFill>
                    <a:gsLst>
                      <a:gs pos="0">
                        <a:srgbClr val="FFFFFF"/>
                      </a:gs>
                      <a:gs pos="100000">
                        <a:srgbClr val="FFFFFF"/>
                      </a:gs>
                    </a:gsLst>
                    <a:lin ang="5400000" scaled="0"/>
                  </a:gradFill>
                </a:endParaRPr>
              </a:p>
            </p:txBody>
          </p:sp>
          <p:sp>
            <p:nvSpPr>
              <p:cNvPr id="239" name="TextBox 238"/>
              <p:cNvSpPr txBox="1"/>
              <p:nvPr/>
            </p:nvSpPr>
            <p:spPr>
              <a:xfrm>
                <a:off x="8421390"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4</a:t>
                </a:r>
              </a:p>
            </p:txBody>
          </p:sp>
          <p:grpSp>
            <p:nvGrpSpPr>
              <p:cNvPr id="240" name="Group 239"/>
              <p:cNvGrpSpPr/>
              <p:nvPr>
                <p:custDataLst>
                  <p:tags r:id="rId1"/>
                </p:custDataLst>
              </p:nvPr>
            </p:nvGrpSpPr>
            <p:grpSpPr>
              <a:xfrm>
                <a:off x="6856412" y="1967341"/>
                <a:ext cx="1105890" cy="850820"/>
                <a:chOff x="3127606" y="1031618"/>
                <a:chExt cx="1905261" cy="1465821"/>
              </a:xfrm>
            </p:grpSpPr>
            <p:pic>
              <p:nvPicPr>
                <p:cNvPr id="241" name="Picture 6" descr="\\MAGNUM\Projects\Microsoft\Cloud Power FY12\Design\ICONS_PNG\Cloud.png"/>
                <p:cNvPicPr>
                  <a:picLocks noChangeAspect="1" noChangeArrowheads="1"/>
                </p:cNvPicPr>
                <p:nvPr/>
              </p:nvPicPr>
              <p:blipFill rotWithShape="1">
                <a:blip r:embed="rId13" cstate="print">
                  <a:extLst>
                    <a:ext uri="{BEBA8EAE-BF5A-486C-A8C5-ECC9F3942E4B}">
                      <a14:imgProps xmlns:a14="http://schemas.microsoft.com/office/drawing/2010/main">
                        <a14:imgLayer r:embed="rId14">
                          <a14:imgEffect>
                            <a14:brightnessContrast bright="100000"/>
                          </a14:imgEffect>
                        </a14:imgLayer>
                      </a14:imgProps>
                    </a:ext>
                  </a:extLst>
                </a:blip>
                <a:srcRect t="15452" b="16319"/>
                <a:stretch/>
              </p:blipFill>
              <p:spPr bwMode="auto">
                <a:xfrm>
                  <a:off x="3423223" y="1031618"/>
                  <a:ext cx="1609644" cy="1098248"/>
                </a:xfrm>
                <a:prstGeom prst="rect">
                  <a:avLst/>
                </a:prstGeom>
                <a:noFill/>
              </p:spPr>
            </p:pic>
            <p:pic>
              <p:nvPicPr>
                <p:cNvPr id="242" name="Picture 2" descr="\\MAGNUM\Projects\Microsoft\Cloud Power FY12\Design\Icons\PNGs\Server_2.png"/>
                <p:cNvPicPr>
                  <a:picLocks noChangeAspect="1" noChangeArrowheads="1"/>
                </p:cNvPicPr>
                <p:nvPr/>
              </p:nvPicPr>
              <p:blipFill rotWithShape="1">
                <a:blip r:embed="rId15" cstate="print">
                  <a:lum bright="100000"/>
                  <a:extLst>
                    <a:ext uri="{BEBA8EAE-BF5A-486C-A8C5-ECC9F3942E4B}">
                      <a14:imgProps xmlns:a14="http://schemas.microsoft.com/office/drawing/2010/main">
                        <a14:imgLayer r:embed="rId16">
                          <a14:imgEffect>
                            <a14:colorTemperature colorTemp="1500"/>
                          </a14:imgEffect>
                        </a14:imgLayer>
                      </a14:imgProps>
                    </a:ext>
                  </a:extLst>
                </a:blip>
                <a:srcRect l="27619" t="9540" r="26586" b="9151"/>
                <a:stretch/>
              </p:blipFill>
              <p:spPr bwMode="auto">
                <a:xfrm>
                  <a:off x="3537558" y="1444626"/>
                  <a:ext cx="589660" cy="916080"/>
                </a:xfrm>
                <a:prstGeom prst="rect">
                  <a:avLst/>
                </a:prstGeom>
                <a:noFill/>
                <a:effectLst>
                  <a:outerShdw blurRad="50800" dist="12700" sx="103000" sy="103000" algn="ctr" rotWithShape="0">
                    <a:prstClr val="black">
                      <a:alpha val="40000"/>
                    </a:prstClr>
                  </a:outerShdw>
                </a:effectLst>
              </p:spPr>
            </p:pic>
            <p:pic>
              <p:nvPicPr>
                <p:cNvPr id="243" name="Picture 2" descr="\\MAGNUM\Projects\Microsoft\Cloud Power FY12\Design\Icons\PNGs\Server_2.png"/>
                <p:cNvPicPr>
                  <a:picLocks noChangeAspect="1" noChangeArrowheads="1"/>
                </p:cNvPicPr>
                <p:nvPr/>
              </p:nvPicPr>
              <p:blipFill rotWithShape="1">
                <a:blip r:embed="rId15" cstate="print">
                  <a:lum bright="100000"/>
                  <a:extLst>
                    <a:ext uri="{BEBA8EAE-BF5A-486C-A8C5-ECC9F3942E4B}">
                      <a14:imgProps xmlns:a14="http://schemas.microsoft.com/office/drawing/2010/main">
                        <a14:imgLayer r:embed="rId16">
                          <a14:imgEffect>
                            <a14:colorTemperature colorTemp="1500"/>
                          </a14:imgEffect>
                        </a14:imgLayer>
                      </a14:imgProps>
                    </a:ext>
                  </a:extLst>
                </a:blip>
                <a:srcRect l="27619" t="9540" r="26586" b="9151"/>
                <a:stretch/>
              </p:blipFill>
              <p:spPr bwMode="auto">
                <a:xfrm>
                  <a:off x="3127606" y="1581359"/>
                  <a:ext cx="589659" cy="916080"/>
                </a:xfrm>
                <a:prstGeom prst="rect">
                  <a:avLst/>
                </a:prstGeom>
                <a:noFill/>
                <a:effectLst>
                  <a:outerShdw blurRad="50800" dist="12700" sx="103000" sy="103000" algn="ctr" rotWithShape="0">
                    <a:prstClr val="black">
                      <a:alpha val="40000"/>
                    </a:prstClr>
                  </a:outerShdw>
                </a:effectLst>
              </p:spPr>
            </p:pic>
          </p:grpSp>
        </p:grpSp>
        <p:grpSp>
          <p:nvGrpSpPr>
            <p:cNvPr id="226" name="Group 225"/>
            <p:cNvGrpSpPr/>
            <p:nvPr/>
          </p:nvGrpSpPr>
          <p:grpSpPr>
            <a:xfrm>
              <a:off x="11004055" y="1904999"/>
              <a:ext cx="2012580" cy="2011680"/>
              <a:chOff x="11004055" y="1904999"/>
              <a:chExt cx="2012580" cy="2011680"/>
            </a:xfrm>
          </p:grpSpPr>
          <p:sp>
            <p:nvSpPr>
              <p:cNvPr id="235" name="Rectangle 234"/>
              <p:cNvSpPr/>
              <p:nvPr/>
            </p:nvSpPr>
            <p:spPr bwMode="auto">
              <a:xfrm>
                <a:off x="11004055"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Fast Time to Solution</a:t>
                </a:r>
                <a:endParaRPr lang="en-US" sz="1500" dirty="0">
                  <a:gradFill>
                    <a:gsLst>
                      <a:gs pos="0">
                        <a:srgbClr val="FFFFFF"/>
                      </a:gs>
                      <a:gs pos="100000">
                        <a:srgbClr val="FFFFFF"/>
                      </a:gs>
                    </a:gsLst>
                    <a:lin ang="5400000" scaled="0"/>
                  </a:gradFill>
                </a:endParaRPr>
              </a:p>
            </p:txBody>
          </p:sp>
          <p:sp>
            <p:nvSpPr>
              <p:cNvPr id="236" name="TextBox 235"/>
              <p:cNvSpPr txBox="1"/>
              <p:nvPr/>
            </p:nvSpPr>
            <p:spPr>
              <a:xfrm>
                <a:off x="12660220"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6</a:t>
                </a:r>
              </a:p>
            </p:txBody>
          </p:sp>
          <p:pic>
            <p:nvPicPr>
              <p:cNvPr id="237" name="Picture 3" descr="\\SFP\Work\White_Whale\3-22036_Kuleen_Bharadwaj\PPT\3_PlatformVision_Kuleen\SFP_Art\Plane Slide\mon_notie.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1139211" y="1983751"/>
                <a:ext cx="746401" cy="8755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7" name="Group 226"/>
            <p:cNvGrpSpPr/>
            <p:nvPr/>
          </p:nvGrpSpPr>
          <p:grpSpPr>
            <a:xfrm>
              <a:off x="13128666" y="1904999"/>
              <a:ext cx="2017182" cy="2011680"/>
              <a:chOff x="13128666" y="1904999"/>
              <a:chExt cx="2017182" cy="2011680"/>
            </a:xfrm>
          </p:grpSpPr>
          <p:sp>
            <p:nvSpPr>
              <p:cNvPr id="232" name="Rectangle 231"/>
              <p:cNvSpPr/>
              <p:nvPr/>
            </p:nvSpPr>
            <p:spPr bwMode="auto">
              <a:xfrm>
                <a:off x="13128666"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Extend Any Data, Anywhere</a:t>
                </a:r>
                <a:endParaRPr lang="en-US" sz="1500" dirty="0">
                  <a:gradFill>
                    <a:gsLst>
                      <a:gs pos="0">
                        <a:srgbClr val="FFFFFF"/>
                      </a:gs>
                      <a:gs pos="100000">
                        <a:srgbClr val="FFFFFF"/>
                      </a:gs>
                    </a:gsLst>
                    <a:lin ang="5400000" scaled="0"/>
                  </a:gradFill>
                </a:endParaRPr>
              </a:p>
            </p:txBody>
          </p:sp>
          <p:sp>
            <p:nvSpPr>
              <p:cNvPr id="233" name="TextBox 232"/>
              <p:cNvSpPr txBox="1"/>
              <p:nvPr/>
            </p:nvSpPr>
            <p:spPr>
              <a:xfrm>
                <a:off x="14789433"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7</a:t>
                </a:r>
              </a:p>
            </p:txBody>
          </p:sp>
          <p:pic>
            <p:nvPicPr>
              <p:cNvPr id="234" name="Picture 7" descr="\\MAGNUM\Projects\Microsoft\Cloud Power FY12\Design\ICONS_PNG\Physical_Virtual.png"/>
              <p:cNvPicPr>
                <a:picLocks noChangeAspect="1" noChangeArrowheads="1"/>
              </p:cNvPicPr>
              <p:nvPr/>
            </p:nvPicPr>
            <p:blipFill rotWithShape="1">
              <a:blip r:embed="rId18" cstate="print">
                <a:extLst>
                  <a:ext uri="{BEBA8EAE-BF5A-486C-A8C5-ECC9F3942E4B}">
                    <a14:imgProps xmlns:a14="http://schemas.microsoft.com/office/drawing/2010/main">
                      <a14:imgLayer r:embed="rId19">
                        <a14:imgEffect>
                          <a14:brightnessContrast bright="100000"/>
                        </a14:imgEffect>
                      </a14:imgLayer>
                    </a14:imgProps>
                  </a:ext>
                </a:extLst>
              </a:blip>
              <a:srcRect l="7856" t="39072" r="7907" b="5885"/>
              <a:stretch/>
            </p:blipFill>
            <p:spPr bwMode="auto">
              <a:xfrm>
                <a:off x="13200761" y="1984614"/>
                <a:ext cx="1275651" cy="833547"/>
              </a:xfrm>
              <a:prstGeom prst="rect">
                <a:avLst/>
              </a:prstGeom>
              <a:noFill/>
            </p:spPr>
          </p:pic>
        </p:grpSp>
        <p:grpSp>
          <p:nvGrpSpPr>
            <p:cNvPr id="228" name="Group 227"/>
            <p:cNvGrpSpPr/>
            <p:nvPr/>
          </p:nvGrpSpPr>
          <p:grpSpPr>
            <a:xfrm>
              <a:off x="15257969" y="1904999"/>
              <a:ext cx="2011680" cy="2011680"/>
              <a:chOff x="15257969" y="1904999"/>
              <a:chExt cx="2011680" cy="2011680"/>
            </a:xfrm>
          </p:grpSpPr>
          <p:sp>
            <p:nvSpPr>
              <p:cNvPr id="229" name="Rectangle 228"/>
              <p:cNvSpPr/>
              <p:nvPr/>
            </p:nvSpPr>
            <p:spPr bwMode="auto">
              <a:xfrm>
                <a:off x="15257969"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New Scenarios, Unlocked</a:t>
                </a:r>
                <a:endParaRPr lang="en-US" sz="1500" dirty="0">
                  <a:gradFill>
                    <a:gsLst>
                      <a:gs pos="0">
                        <a:srgbClr val="FFFFFF"/>
                      </a:gs>
                      <a:gs pos="100000">
                        <a:srgbClr val="FFFFFF"/>
                      </a:gs>
                    </a:gsLst>
                    <a:lin ang="5400000" scaled="0"/>
                  </a:gradFill>
                </a:endParaRPr>
              </a:p>
            </p:txBody>
          </p:sp>
          <p:sp>
            <p:nvSpPr>
              <p:cNvPr id="230" name="TextBox 229"/>
              <p:cNvSpPr txBox="1"/>
              <p:nvPr/>
            </p:nvSpPr>
            <p:spPr>
              <a:xfrm>
                <a:off x="16897055" y="1904999"/>
                <a:ext cx="356415" cy="615553"/>
              </a:xfrm>
              <a:prstGeom prst="rect">
                <a:avLst/>
              </a:prstGeom>
              <a:noFill/>
            </p:spPr>
            <p:txBody>
              <a:bodyPr wrap="none" lIns="0" tIns="0" rIns="45720" bIns="0" rtlCol="0">
                <a:spAutoFit/>
              </a:bodyPr>
              <a:lstStyle/>
              <a:p>
                <a:pPr algn="r"/>
                <a:r>
                  <a:rPr lang="en-US" sz="3000" b="1" dirty="0">
                    <a:solidFill>
                      <a:schemeClr val="tx2">
                        <a:lumMod val="75000"/>
                      </a:schemeClr>
                    </a:solidFill>
                  </a:rPr>
                  <a:t>8</a:t>
                </a:r>
                <a:endParaRPr lang="en-US" sz="3000" b="1" dirty="0">
                  <a:solidFill>
                    <a:schemeClr val="tx2">
                      <a:lumMod val="75000"/>
                    </a:schemeClr>
                  </a:solidFill>
                </a:endParaRPr>
              </a:p>
            </p:txBody>
          </p:sp>
          <p:pic>
            <p:nvPicPr>
              <p:cNvPr id="231" name="Picture 2"/>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5431464" y="2043731"/>
                <a:ext cx="640905" cy="775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79" name="Rectangle 78"/>
          <p:cNvSpPr/>
          <p:nvPr/>
        </p:nvSpPr>
        <p:spPr bwMode="auto">
          <a:xfrm>
            <a:off x="290058" y="3556685"/>
            <a:ext cx="7870324" cy="467390"/>
          </a:xfrm>
          <a:prstGeom prst="rect">
            <a:avLst/>
          </a:prstGeom>
          <a:solidFill>
            <a:srgbClr val="F6AE1E"/>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6" tIns="34293" rIns="68586" bIns="34293" numCol="1" spcCol="0" rtlCol="0" fromWordArt="0" anchor="ctr" anchorCtr="0" forceAA="0" compatLnSpc="1">
            <a:prstTxWarp prst="textNoShape">
              <a:avLst/>
            </a:prstTxWarp>
            <a:noAutofit/>
          </a:bodyPr>
          <a:lstStyle/>
          <a:p>
            <a:pPr defTabSz="685666" fontAlgn="base">
              <a:spcBef>
                <a:spcPct val="0"/>
              </a:spcBef>
              <a:spcAft>
                <a:spcPct val="0"/>
              </a:spcAft>
            </a:pPr>
            <a:r>
              <a:rPr lang="en-US" sz="2100" dirty="0">
                <a:gradFill>
                  <a:gsLst>
                    <a:gs pos="0">
                      <a:srgbClr val="FFFFFF"/>
                    </a:gs>
                    <a:gs pos="100000">
                      <a:srgbClr val="FFFFFF"/>
                    </a:gs>
                  </a:gsLst>
                  <a:lin ang="5400000" scaled="0"/>
                </a:gradFill>
              </a:rPr>
              <a:t>Windows Azure Marketplace</a:t>
            </a:r>
            <a:endParaRPr lang="en-US" sz="2100" dirty="0">
              <a:gradFill>
                <a:gsLst>
                  <a:gs pos="0">
                    <a:srgbClr val="FFFFFF"/>
                  </a:gs>
                  <a:gs pos="100000">
                    <a:srgbClr val="FFFFFF"/>
                  </a:gs>
                </a:gsLst>
                <a:lin ang="5400000" scaled="0"/>
              </a:gradFill>
            </a:endParaRPr>
          </a:p>
        </p:txBody>
      </p:sp>
      <p:sp>
        <p:nvSpPr>
          <p:cNvPr id="80" name="Rectangle 79"/>
          <p:cNvSpPr/>
          <p:nvPr/>
        </p:nvSpPr>
        <p:spPr bwMode="auto">
          <a:xfrm>
            <a:off x="290058" y="3021752"/>
            <a:ext cx="7870324" cy="453683"/>
          </a:xfrm>
          <a:prstGeom prst="rect">
            <a:avLst/>
          </a:prstGeom>
          <a:solidFill>
            <a:srgbClr val="F6AE1E"/>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6" tIns="34293" rIns="68586" bIns="34293" numCol="1" spcCol="0" rtlCol="0" fromWordArt="0" anchor="ctr" anchorCtr="0" forceAA="0" compatLnSpc="1">
            <a:prstTxWarp prst="textNoShape">
              <a:avLst/>
            </a:prstTxWarp>
            <a:noAutofit/>
          </a:bodyPr>
          <a:lstStyle/>
          <a:p>
            <a:pPr defTabSz="685666" fontAlgn="base">
              <a:spcBef>
                <a:spcPct val="0"/>
              </a:spcBef>
              <a:spcAft>
                <a:spcPct val="0"/>
              </a:spcAft>
            </a:pPr>
            <a:r>
              <a:rPr lang="en-US" sz="2100" dirty="0" err="1">
                <a:gradFill>
                  <a:gsLst>
                    <a:gs pos="0">
                      <a:srgbClr val="FFFFFF"/>
                    </a:gs>
                    <a:gs pos="100000">
                      <a:srgbClr val="FFFFFF"/>
                    </a:gs>
                  </a:gsLst>
                  <a:lin ang="5400000" scaled="0"/>
                </a:gradFill>
              </a:rPr>
              <a:t>OData</a:t>
            </a:r>
            <a:r>
              <a:rPr lang="en-US" sz="2100" dirty="0">
                <a:gradFill>
                  <a:gsLst>
                    <a:gs pos="0">
                      <a:srgbClr val="FFFFFF"/>
                    </a:gs>
                    <a:gs pos="100000">
                      <a:srgbClr val="FFFFFF"/>
                    </a:gs>
                  </a:gsLst>
                  <a:lin ang="5400000" scaled="0"/>
                </a:gradFill>
              </a:rPr>
              <a:t>, Data Sync</a:t>
            </a:r>
            <a:endParaRPr lang="en-US" sz="2100" dirty="0">
              <a:gradFill>
                <a:gsLst>
                  <a:gs pos="0">
                    <a:srgbClr val="FFFFFF"/>
                  </a:gs>
                  <a:gs pos="100000">
                    <a:srgbClr val="FFFFFF"/>
                  </a:gs>
                </a:gsLst>
                <a:lin ang="5400000" scaled="0"/>
              </a:gradFill>
            </a:endParaRPr>
          </a:p>
        </p:txBody>
      </p:sp>
      <p:grpSp>
        <p:nvGrpSpPr>
          <p:cNvPr id="81" name="Group 80"/>
          <p:cNvGrpSpPr/>
          <p:nvPr/>
        </p:nvGrpSpPr>
        <p:grpSpPr>
          <a:xfrm>
            <a:off x="286538" y="1432982"/>
            <a:ext cx="1509153" cy="1508760"/>
            <a:chOff x="23751717" y="1904999"/>
            <a:chExt cx="2011680" cy="2011680"/>
          </a:xfrm>
        </p:grpSpPr>
        <p:sp>
          <p:nvSpPr>
            <p:cNvPr id="82" name="Rectangle 81"/>
            <p:cNvSpPr/>
            <p:nvPr/>
          </p:nvSpPr>
          <p:spPr bwMode="auto">
            <a:xfrm>
              <a:off x="23751717" y="1904999"/>
              <a:ext cx="2011680" cy="2011680"/>
            </a:xfrm>
            <a:prstGeom prst="rect">
              <a:avLst/>
            </a:prstGeom>
            <a:solidFill>
              <a:schemeClr val="accent3"/>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New Scenarios, Unlocked</a:t>
              </a:r>
              <a:endParaRPr lang="en-US" sz="1500" dirty="0">
                <a:gradFill>
                  <a:gsLst>
                    <a:gs pos="0">
                      <a:srgbClr val="FFFFFF"/>
                    </a:gs>
                    <a:gs pos="100000">
                      <a:srgbClr val="FFFFFF"/>
                    </a:gs>
                  </a:gsLst>
                  <a:lin ang="5400000" scaled="0"/>
                </a:gradFill>
              </a:endParaRPr>
            </a:p>
          </p:txBody>
        </p:sp>
        <p:sp>
          <p:nvSpPr>
            <p:cNvPr id="83" name="TextBox 82"/>
            <p:cNvSpPr txBox="1"/>
            <p:nvPr/>
          </p:nvSpPr>
          <p:spPr>
            <a:xfrm>
              <a:off x="25390803" y="1904999"/>
              <a:ext cx="356415" cy="615553"/>
            </a:xfrm>
            <a:prstGeom prst="rect">
              <a:avLst/>
            </a:prstGeom>
            <a:noFill/>
          </p:spPr>
          <p:txBody>
            <a:bodyPr wrap="none" lIns="0" tIns="0" rIns="45720" bIns="0" rtlCol="0">
              <a:spAutoFit/>
            </a:bodyPr>
            <a:lstStyle/>
            <a:p>
              <a:pPr algn="r"/>
              <a:r>
                <a:rPr lang="en-US" sz="3000" b="1" dirty="0">
                  <a:solidFill>
                    <a:srgbClr val="FFC000"/>
                  </a:solidFill>
                </a:rPr>
                <a:t>8</a:t>
              </a:r>
              <a:endParaRPr lang="en-US" sz="3000" b="1" dirty="0">
                <a:solidFill>
                  <a:srgbClr val="FFC000"/>
                </a:solidFill>
              </a:endParaRPr>
            </a:p>
          </p:txBody>
        </p:sp>
        <p:pic>
          <p:nvPicPr>
            <p:cNvPr id="84" name="Picture 2"/>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23925212" y="2043731"/>
              <a:ext cx="640905" cy="775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85"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86"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1"/>
              </a:rPr>
              <a:t>www.rapidbbs.cn</a:t>
            </a:r>
            <a:endParaRPr lang="zh-CN" altLang="en-US" sz="1200" b="0">
              <a:latin typeface="Arial" charset="0"/>
              <a:ea typeface="ＭＳ Ｐゴシック" pitchFamily="34" charset="-128"/>
            </a:endParaRPr>
          </a:p>
        </p:txBody>
      </p:sp>
      <p:pic>
        <p:nvPicPr>
          <p:cNvPr id="87" name="Picture 2">
            <a:hlinkClick r:id="rId21"/>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233101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decel="100000" fill="hold" nodeType="withEffect">
                                  <p:stCondLst>
                                    <p:cond delay="0"/>
                                  </p:stCondLst>
                                  <p:childTnLst>
                                    <p:animMotion origin="layout" path="M -4.38322E-6 4.44444E-6 L -0.17441 4.44444E-6 " pathEditMode="relative" rAng="0" ptsTypes="AA">
                                      <p:cBhvr>
                                        <p:cTn id="6" dur="1000" fill="hold"/>
                                        <p:tgtEl>
                                          <p:spTgt spid="216"/>
                                        </p:tgtEl>
                                        <p:attrNameLst>
                                          <p:attrName>ppt_x</p:attrName>
                                          <p:attrName>ppt_y</p:attrName>
                                        </p:attrNameLst>
                                      </p:cBhvr>
                                      <p:rCtr x="-8727" y="0"/>
                                    </p:animMotion>
                                  </p:childTnLst>
                                </p:cTn>
                              </p:par>
                            </p:childTnLst>
                          </p:cTn>
                        </p:par>
                        <p:par>
                          <p:cTn id="7" fill="hold">
                            <p:stCondLst>
                              <p:cond delay="1000"/>
                            </p:stCondLst>
                            <p:childTnLst>
                              <p:par>
                                <p:cTn id="8" presetID="22" presetClass="entr" presetSubtype="4" fill="hold" nodeType="afterEffect">
                                  <p:stCondLst>
                                    <p:cond delay="0"/>
                                  </p:stCondLst>
                                  <p:childTnLst>
                                    <p:set>
                                      <p:cBhvr>
                                        <p:cTn id="9" dur="1" fill="hold">
                                          <p:stCondLst>
                                            <p:cond delay="0"/>
                                          </p:stCondLst>
                                        </p:cTn>
                                        <p:tgtEl>
                                          <p:spTgt spid="81"/>
                                        </p:tgtEl>
                                        <p:attrNameLst>
                                          <p:attrName>style.visibility</p:attrName>
                                        </p:attrNameLst>
                                      </p:cBhvr>
                                      <p:to>
                                        <p:strVal val="visible"/>
                                      </p:to>
                                    </p:set>
                                    <p:animEffect transition="in" filter="wipe(down)">
                                      <p:cBhvr>
                                        <p:cTn id="10" dur="500"/>
                                        <p:tgtEl>
                                          <p:spTgt spid="81"/>
                                        </p:tgtEl>
                                      </p:cBhvr>
                                    </p:animEffect>
                                  </p:childTnLst>
                                </p:cTn>
                              </p:par>
                              <p:par>
                                <p:cTn id="11" presetID="2" presetClass="entr" presetSubtype="2" decel="100000" fill="hold" grpId="0" nodeType="withEffect">
                                  <p:stCondLst>
                                    <p:cond delay="0"/>
                                  </p:stCondLst>
                                  <p:childTnLst>
                                    <p:set>
                                      <p:cBhvr>
                                        <p:cTn id="12" dur="1" fill="hold">
                                          <p:stCondLst>
                                            <p:cond delay="0"/>
                                          </p:stCondLst>
                                        </p:cTn>
                                        <p:tgtEl>
                                          <p:spTgt spid="80"/>
                                        </p:tgtEl>
                                        <p:attrNameLst>
                                          <p:attrName>style.visibility</p:attrName>
                                        </p:attrNameLst>
                                      </p:cBhvr>
                                      <p:to>
                                        <p:strVal val="visible"/>
                                      </p:to>
                                    </p:set>
                                    <p:anim calcmode="lin" valueType="num">
                                      <p:cBhvr additive="base">
                                        <p:cTn id="13" dur="1000" fill="hold"/>
                                        <p:tgtEl>
                                          <p:spTgt spid="80"/>
                                        </p:tgtEl>
                                        <p:attrNameLst>
                                          <p:attrName>ppt_x</p:attrName>
                                        </p:attrNameLst>
                                      </p:cBhvr>
                                      <p:tavLst>
                                        <p:tav tm="0">
                                          <p:val>
                                            <p:strVal val="1+#ppt_w/2"/>
                                          </p:val>
                                        </p:tav>
                                        <p:tav tm="100000">
                                          <p:val>
                                            <p:strVal val="#ppt_x"/>
                                          </p:val>
                                        </p:tav>
                                      </p:tavLst>
                                    </p:anim>
                                    <p:anim calcmode="lin" valueType="num">
                                      <p:cBhvr additive="base">
                                        <p:cTn id="14" dur="1000" fill="hold"/>
                                        <p:tgtEl>
                                          <p:spTgt spid="80"/>
                                        </p:tgtEl>
                                        <p:attrNameLst>
                                          <p:attrName>ppt_y</p:attrName>
                                        </p:attrNameLst>
                                      </p:cBhvr>
                                      <p:tavLst>
                                        <p:tav tm="0">
                                          <p:val>
                                            <p:strVal val="#ppt_y"/>
                                          </p:val>
                                        </p:tav>
                                        <p:tav tm="100000">
                                          <p:val>
                                            <p:strVal val="#ppt_y"/>
                                          </p:val>
                                        </p:tav>
                                      </p:tavLst>
                                    </p:anim>
                                  </p:childTnLst>
                                </p:cTn>
                              </p:par>
                              <p:par>
                                <p:cTn id="15" presetID="2" presetClass="entr" presetSubtype="2" decel="100000" fill="hold" grpId="0" nodeType="withEffect">
                                  <p:stCondLst>
                                    <p:cond delay="250"/>
                                  </p:stCondLst>
                                  <p:childTnLst>
                                    <p:set>
                                      <p:cBhvr>
                                        <p:cTn id="16" dur="1" fill="hold">
                                          <p:stCondLst>
                                            <p:cond delay="0"/>
                                          </p:stCondLst>
                                        </p:cTn>
                                        <p:tgtEl>
                                          <p:spTgt spid="79"/>
                                        </p:tgtEl>
                                        <p:attrNameLst>
                                          <p:attrName>style.visibility</p:attrName>
                                        </p:attrNameLst>
                                      </p:cBhvr>
                                      <p:to>
                                        <p:strVal val="visible"/>
                                      </p:to>
                                    </p:set>
                                    <p:anim calcmode="lin" valueType="num">
                                      <p:cBhvr additive="base">
                                        <p:cTn id="17" dur="1000" fill="hold"/>
                                        <p:tgtEl>
                                          <p:spTgt spid="79"/>
                                        </p:tgtEl>
                                        <p:attrNameLst>
                                          <p:attrName>ppt_x</p:attrName>
                                        </p:attrNameLst>
                                      </p:cBhvr>
                                      <p:tavLst>
                                        <p:tav tm="0">
                                          <p:val>
                                            <p:strVal val="1+#ppt_w/2"/>
                                          </p:val>
                                        </p:tav>
                                        <p:tav tm="100000">
                                          <p:val>
                                            <p:strVal val="#ppt_x"/>
                                          </p:val>
                                        </p:tav>
                                      </p:tavLst>
                                    </p:anim>
                                    <p:anim calcmode="lin" valueType="num">
                                      <p:cBhvr additive="base">
                                        <p:cTn id="18" dur="1000" fill="hold"/>
                                        <p:tgtEl>
                                          <p:spTgt spid="7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 grpId="0" animBg="1"/>
      <p:bldP spid="80" grpId="0" animBg="1"/>
    </p:bldLst>
  </p:timing>
</p:sld>
</file>

<file path=ppt/slides/slide5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Title 2"/>
          <p:cNvSpPr>
            <a:spLocks noGrp="1"/>
          </p:cNvSpPr>
          <p:nvPr>
            <p:ph type="title"/>
          </p:nvPr>
        </p:nvSpPr>
        <p:spPr>
          <a:xfrm>
            <a:off x="285825" y="171450"/>
            <a:ext cx="6280916" cy="457049"/>
          </a:xfrm>
        </p:spPr>
        <p:txBody>
          <a:bodyPr/>
          <a:lstStyle/>
          <a:p>
            <a:r>
              <a:rPr lang="en-US" dirty="0"/>
              <a:t>SQL Server 2012</a:t>
            </a:r>
          </a:p>
        </p:txBody>
      </p:sp>
      <p:pic>
        <p:nvPicPr>
          <p:cNvPr id="71" name="Picture 7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05641" y="4672464"/>
            <a:ext cx="1725220" cy="356737"/>
          </a:xfrm>
          <a:prstGeom prst="rect">
            <a:avLst/>
          </a:prstGeom>
        </p:spPr>
      </p:pic>
      <p:grpSp>
        <p:nvGrpSpPr>
          <p:cNvPr id="217" name="Group 216"/>
          <p:cNvGrpSpPr/>
          <p:nvPr/>
        </p:nvGrpSpPr>
        <p:grpSpPr>
          <a:xfrm>
            <a:off x="-10874809" y="1428749"/>
            <a:ext cx="19040378" cy="1508760"/>
            <a:chOff x="381000" y="1904999"/>
            <a:chExt cx="25380560" cy="2011680"/>
          </a:xfrm>
        </p:grpSpPr>
        <p:grpSp>
          <p:nvGrpSpPr>
            <p:cNvPr id="218" name="Group 217"/>
            <p:cNvGrpSpPr/>
            <p:nvPr/>
          </p:nvGrpSpPr>
          <p:grpSpPr>
            <a:xfrm>
              <a:off x="17376047" y="1904999"/>
              <a:ext cx="2011680" cy="2011680"/>
              <a:chOff x="17376047" y="1904999"/>
              <a:chExt cx="2011680" cy="2011680"/>
            </a:xfrm>
          </p:grpSpPr>
          <p:sp>
            <p:nvSpPr>
              <p:cNvPr id="270" name="Rectangle 269"/>
              <p:cNvSpPr/>
              <p:nvPr/>
            </p:nvSpPr>
            <p:spPr bwMode="auto">
              <a:xfrm>
                <a:off x="17376047"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Big Data &amp; Data </a:t>
                </a:r>
                <a:r>
                  <a:rPr lang="en-US" sz="1500" dirty="0">
                    <a:gradFill>
                      <a:gsLst>
                        <a:gs pos="0">
                          <a:srgbClr val="FFFFFF"/>
                        </a:gs>
                        <a:gs pos="100000">
                          <a:srgbClr val="FFFFFF"/>
                        </a:gs>
                      </a:gsLst>
                      <a:lin ang="5400000" scaled="0"/>
                    </a:gradFill>
                  </a:rPr>
                  <a:t>Warehousing</a:t>
                </a:r>
              </a:p>
            </p:txBody>
          </p:sp>
          <p:pic>
            <p:nvPicPr>
              <p:cNvPr id="271" name="Picture 8"/>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7490150" y="2029883"/>
                <a:ext cx="896304" cy="7133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72" name="TextBox 271"/>
              <p:cNvSpPr txBox="1"/>
              <p:nvPr/>
            </p:nvSpPr>
            <p:spPr>
              <a:xfrm>
                <a:off x="19021518" y="1904999"/>
                <a:ext cx="356415" cy="615553"/>
              </a:xfrm>
              <a:prstGeom prst="rect">
                <a:avLst/>
              </a:prstGeom>
              <a:noFill/>
            </p:spPr>
            <p:txBody>
              <a:bodyPr wrap="none" lIns="0" tIns="0" rIns="45720" bIns="0" rtlCol="0">
                <a:spAutoFit/>
              </a:bodyPr>
              <a:lstStyle/>
              <a:p>
                <a:pPr algn="r"/>
                <a:r>
                  <a:rPr lang="en-US" sz="3000" b="1" dirty="0">
                    <a:solidFill>
                      <a:schemeClr val="tx2">
                        <a:lumMod val="75000"/>
                      </a:schemeClr>
                    </a:solidFill>
                  </a:rPr>
                  <a:t>9</a:t>
                </a:r>
                <a:endParaRPr lang="en-US" sz="3000" b="1" dirty="0">
                  <a:solidFill>
                    <a:schemeClr val="tx2">
                      <a:lumMod val="75000"/>
                    </a:schemeClr>
                  </a:solidFill>
                </a:endParaRPr>
              </a:p>
            </p:txBody>
          </p:sp>
        </p:grpSp>
        <p:grpSp>
          <p:nvGrpSpPr>
            <p:cNvPr id="219" name="Group 218"/>
            <p:cNvGrpSpPr/>
            <p:nvPr/>
          </p:nvGrpSpPr>
          <p:grpSpPr>
            <a:xfrm>
              <a:off x="21625269" y="1904999"/>
              <a:ext cx="2011680" cy="2011680"/>
              <a:chOff x="21625269" y="1904999"/>
              <a:chExt cx="2011680" cy="2011680"/>
            </a:xfrm>
          </p:grpSpPr>
          <p:sp>
            <p:nvSpPr>
              <p:cNvPr id="267" name="Rectangle 266"/>
              <p:cNvSpPr/>
              <p:nvPr/>
            </p:nvSpPr>
            <p:spPr bwMode="auto">
              <a:xfrm>
                <a:off x="21625269"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Managed Self-Service BI</a:t>
                </a:r>
                <a:endParaRPr lang="en-US" sz="1500" dirty="0">
                  <a:gradFill>
                    <a:gsLst>
                      <a:gs pos="0">
                        <a:srgbClr val="FFFFFF"/>
                      </a:gs>
                      <a:gs pos="100000">
                        <a:srgbClr val="FFFFFF"/>
                      </a:gs>
                    </a:gsLst>
                    <a:lin ang="5400000" scaled="0"/>
                  </a:gradFill>
                </a:endParaRPr>
              </a:p>
            </p:txBody>
          </p:sp>
          <p:sp>
            <p:nvSpPr>
              <p:cNvPr id="268" name="TextBox 267"/>
              <p:cNvSpPr txBox="1"/>
              <p:nvPr/>
            </p:nvSpPr>
            <p:spPr>
              <a:xfrm>
                <a:off x="22975267" y="1904999"/>
                <a:ext cx="651290" cy="615553"/>
              </a:xfrm>
              <a:prstGeom prst="rect">
                <a:avLst/>
              </a:prstGeom>
              <a:noFill/>
            </p:spPr>
            <p:txBody>
              <a:bodyPr wrap="none" lIns="0" tIns="0" rIns="45720" bIns="0" rtlCol="0">
                <a:spAutoFit/>
              </a:bodyPr>
              <a:lstStyle/>
              <a:p>
                <a:pPr algn="r"/>
                <a:r>
                  <a:rPr lang="en-US" sz="3000" b="1" dirty="0">
                    <a:solidFill>
                      <a:schemeClr val="tx2">
                        <a:lumMod val="75000"/>
                      </a:schemeClr>
                    </a:solidFill>
                  </a:rPr>
                  <a:t>11</a:t>
                </a:r>
                <a:endParaRPr lang="en-US" sz="3000" b="1" dirty="0">
                  <a:solidFill>
                    <a:schemeClr val="tx2">
                      <a:lumMod val="75000"/>
                    </a:schemeClr>
                  </a:solidFill>
                </a:endParaRPr>
              </a:p>
            </p:txBody>
          </p:sp>
          <p:pic>
            <p:nvPicPr>
              <p:cNvPr id="269" name="Picture 17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1704582" y="1981200"/>
                <a:ext cx="832241" cy="833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20" name="Group 219"/>
            <p:cNvGrpSpPr/>
            <p:nvPr/>
          </p:nvGrpSpPr>
          <p:grpSpPr>
            <a:xfrm>
              <a:off x="23749880" y="1904999"/>
              <a:ext cx="2011680" cy="2011680"/>
              <a:chOff x="23749880" y="1904999"/>
              <a:chExt cx="2011680" cy="2011680"/>
            </a:xfrm>
          </p:grpSpPr>
          <p:sp>
            <p:nvSpPr>
              <p:cNvPr id="264" name="Rectangle 263"/>
              <p:cNvSpPr/>
              <p:nvPr/>
            </p:nvSpPr>
            <p:spPr bwMode="auto">
              <a:xfrm>
                <a:off x="23749880"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Rapid Data Exploration</a:t>
                </a:r>
                <a:endParaRPr lang="en-US" sz="1500" dirty="0">
                  <a:gradFill>
                    <a:gsLst>
                      <a:gs pos="0">
                        <a:srgbClr val="FFFFFF"/>
                      </a:gs>
                      <a:gs pos="100000">
                        <a:srgbClr val="FFFFFF"/>
                      </a:gs>
                    </a:gsLst>
                    <a:lin ang="5400000" scaled="0"/>
                  </a:gradFill>
                </a:endParaRPr>
              </a:p>
            </p:txBody>
          </p:sp>
          <p:sp>
            <p:nvSpPr>
              <p:cNvPr id="265" name="TextBox 264"/>
              <p:cNvSpPr txBox="1"/>
              <p:nvPr/>
            </p:nvSpPr>
            <p:spPr>
              <a:xfrm>
                <a:off x="25099878" y="1904999"/>
                <a:ext cx="651290" cy="615553"/>
              </a:xfrm>
              <a:prstGeom prst="rect">
                <a:avLst/>
              </a:prstGeom>
              <a:noFill/>
            </p:spPr>
            <p:txBody>
              <a:bodyPr wrap="none" lIns="0" tIns="0" rIns="45720" bIns="0" rtlCol="0">
                <a:spAutoFit/>
              </a:bodyPr>
              <a:lstStyle/>
              <a:p>
                <a:pPr algn="r"/>
                <a:r>
                  <a:rPr lang="en-US" sz="3000" b="1" dirty="0">
                    <a:solidFill>
                      <a:schemeClr val="tx2">
                        <a:lumMod val="75000"/>
                      </a:schemeClr>
                    </a:solidFill>
                  </a:rPr>
                  <a:t>12</a:t>
                </a:r>
                <a:endParaRPr lang="en-US" sz="3000" b="1" dirty="0">
                  <a:solidFill>
                    <a:schemeClr val="tx2">
                      <a:lumMod val="75000"/>
                    </a:schemeClr>
                  </a:solidFill>
                </a:endParaRPr>
              </a:p>
            </p:txBody>
          </p:sp>
          <p:pic>
            <p:nvPicPr>
              <p:cNvPr id="266" name="Picture 3"/>
              <p:cNvPicPr>
                <a:picLocks noChangeAspect="1" noChangeArrowheads="1"/>
              </p:cNvPicPr>
              <p:nvPr>
                <p:custDataLst>
                  <p:tags r:id="rId3"/>
                </p:custDataLst>
              </p:nvPr>
            </p:nvPicPr>
            <p:blipFill>
              <a:blip r:embed="rId8" cstate="print">
                <a:extLst>
                  <a:ext uri="{28A0092B-C50C-407E-A947-70E740481C1C}">
                    <a14:useLocalDpi xmlns:a14="http://schemas.microsoft.com/office/drawing/2010/main"/>
                  </a:ext>
                </a:extLst>
              </a:blip>
              <a:srcRect/>
              <a:stretch>
                <a:fillRect/>
              </a:stretch>
            </p:blipFill>
            <p:spPr bwMode="auto">
              <a:xfrm>
                <a:off x="23838182" y="1959614"/>
                <a:ext cx="593243" cy="859786"/>
              </a:xfrm>
              <a:prstGeom prst="rect">
                <a:avLst/>
              </a:prstGeom>
              <a:noFill/>
              <a:ln>
                <a:noFill/>
                <a:headEnd type="none" w="med" len="med"/>
                <a:tailEnd type="none" w="med" len="med"/>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21" name="Group 220"/>
            <p:cNvGrpSpPr/>
            <p:nvPr/>
          </p:nvGrpSpPr>
          <p:grpSpPr>
            <a:xfrm>
              <a:off x="4630222" y="1904999"/>
              <a:ext cx="2026976" cy="2011680"/>
              <a:chOff x="4630222" y="1904999"/>
              <a:chExt cx="2026976" cy="2011680"/>
            </a:xfrm>
          </p:grpSpPr>
          <p:sp>
            <p:nvSpPr>
              <p:cNvPr id="261" name="Rectangle 260"/>
              <p:cNvSpPr/>
              <p:nvPr/>
            </p:nvSpPr>
            <p:spPr bwMode="auto">
              <a:xfrm>
                <a:off x="4630222"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Required 9s &amp; Data Protection</a:t>
                </a:r>
                <a:endParaRPr lang="en-US" sz="1500" dirty="0">
                  <a:gradFill>
                    <a:gsLst>
                      <a:gs pos="0">
                        <a:srgbClr val="FFFFFF"/>
                      </a:gs>
                      <a:gs pos="100000">
                        <a:srgbClr val="FFFFFF"/>
                      </a:gs>
                    </a:gsLst>
                    <a:lin ang="5400000" scaled="0"/>
                  </a:gradFill>
                </a:endParaRPr>
              </a:p>
            </p:txBody>
          </p:sp>
          <p:sp>
            <p:nvSpPr>
              <p:cNvPr id="262" name="TextBox 261"/>
              <p:cNvSpPr txBox="1"/>
              <p:nvPr/>
            </p:nvSpPr>
            <p:spPr>
              <a:xfrm>
                <a:off x="6300783"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3</a:t>
                </a:r>
              </a:p>
            </p:txBody>
          </p:sp>
          <p:pic>
            <p:nvPicPr>
              <p:cNvPr id="263" name="Picture 4" descr="\\MAGNUM\Projects\Microsoft\Cloud Power FY12\Design\ICONS_PNG\Check_mark.png"/>
              <p:cNvPicPr>
                <a:picLocks noChangeAspect="1" noChangeArrowheads="1"/>
              </p:cNvPicPr>
              <p:nvPr/>
            </p:nvPicPr>
            <p:blipFill rotWithShape="1">
              <a:blip r:embed="rId9" cstate="print">
                <a:lum bright="100000"/>
              </a:blip>
              <a:srcRect t="11515"/>
              <a:stretch/>
            </p:blipFill>
            <p:spPr bwMode="auto">
              <a:xfrm>
                <a:off x="4669492" y="1927464"/>
                <a:ext cx="1253470" cy="1109124"/>
              </a:xfrm>
              <a:prstGeom prst="rect">
                <a:avLst/>
              </a:prstGeom>
              <a:noFill/>
            </p:spPr>
          </p:pic>
        </p:grpSp>
        <p:grpSp>
          <p:nvGrpSpPr>
            <p:cNvPr id="222" name="Group 221"/>
            <p:cNvGrpSpPr/>
            <p:nvPr/>
          </p:nvGrpSpPr>
          <p:grpSpPr>
            <a:xfrm>
              <a:off x="19500658" y="1904999"/>
              <a:ext cx="2011680" cy="2011680"/>
              <a:chOff x="19500658" y="1904999"/>
              <a:chExt cx="2011680" cy="2011680"/>
            </a:xfrm>
          </p:grpSpPr>
          <p:sp>
            <p:nvSpPr>
              <p:cNvPr id="258" name="Rectangle 257"/>
              <p:cNvSpPr/>
              <p:nvPr/>
            </p:nvSpPr>
            <p:spPr bwMode="auto">
              <a:xfrm>
                <a:off x="19500658"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Credible, Consistent Data</a:t>
                </a:r>
                <a:endParaRPr lang="en-US" sz="1500" dirty="0">
                  <a:gradFill>
                    <a:gsLst>
                      <a:gs pos="0">
                        <a:srgbClr val="FFFFFF"/>
                      </a:gs>
                      <a:gs pos="100000">
                        <a:srgbClr val="FFFFFF"/>
                      </a:gs>
                    </a:gsLst>
                    <a:lin ang="5400000" scaled="0"/>
                  </a:gradFill>
                </a:endParaRPr>
              </a:p>
            </p:txBody>
          </p:sp>
          <p:sp>
            <p:nvSpPr>
              <p:cNvPr id="259" name="TextBox 258"/>
              <p:cNvSpPr txBox="1"/>
              <p:nvPr/>
            </p:nvSpPr>
            <p:spPr>
              <a:xfrm>
                <a:off x="20861048" y="1904999"/>
                <a:ext cx="651290" cy="615553"/>
              </a:xfrm>
              <a:prstGeom prst="rect">
                <a:avLst/>
              </a:prstGeom>
              <a:noFill/>
            </p:spPr>
            <p:txBody>
              <a:bodyPr wrap="none" lIns="0" tIns="0" rIns="45720" bIns="0" rtlCol="0">
                <a:spAutoFit/>
              </a:bodyPr>
              <a:lstStyle/>
              <a:p>
                <a:pPr algn="r"/>
                <a:r>
                  <a:rPr lang="en-US" sz="3000" b="1" dirty="0">
                    <a:solidFill>
                      <a:schemeClr val="tx2">
                        <a:lumMod val="75000"/>
                      </a:schemeClr>
                    </a:solidFill>
                  </a:rPr>
                  <a:t>10</a:t>
                </a:r>
                <a:endParaRPr lang="en-US" sz="3000" b="1" dirty="0">
                  <a:solidFill>
                    <a:schemeClr val="tx2">
                      <a:lumMod val="75000"/>
                    </a:schemeClr>
                  </a:solidFill>
                </a:endParaRPr>
              </a:p>
            </p:txBody>
          </p:sp>
          <p:pic>
            <p:nvPicPr>
              <p:cNvPr id="260" name="Picture 2"/>
              <p:cNvPicPr>
                <a:picLocks noChangeAspect="1" noChangeArrowheads="1"/>
              </p:cNvPicPr>
              <p:nvPr/>
            </p:nvPicPr>
            <p:blipFill>
              <a:blip r:embed="rId10"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9618561" y="2012733"/>
                <a:ext cx="958499" cy="8515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23" name="Group 222"/>
            <p:cNvGrpSpPr/>
            <p:nvPr/>
          </p:nvGrpSpPr>
          <p:grpSpPr>
            <a:xfrm>
              <a:off x="2505611" y="1904999"/>
              <a:ext cx="2022972" cy="2011680"/>
              <a:chOff x="2505611" y="1904999"/>
              <a:chExt cx="2022972" cy="2011680"/>
            </a:xfrm>
          </p:grpSpPr>
          <p:sp>
            <p:nvSpPr>
              <p:cNvPr id="255" name="Rectangle 254"/>
              <p:cNvSpPr/>
              <p:nvPr/>
            </p:nvSpPr>
            <p:spPr bwMode="auto">
              <a:xfrm>
                <a:off x="2505611"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Security &amp; Compliance</a:t>
                </a:r>
                <a:endParaRPr lang="en-US" sz="1500" dirty="0">
                  <a:gradFill>
                    <a:gsLst>
                      <a:gs pos="0">
                        <a:srgbClr val="FFFFFF"/>
                      </a:gs>
                      <a:gs pos="100000">
                        <a:srgbClr val="FFFFFF"/>
                      </a:gs>
                    </a:gsLst>
                    <a:lin ang="5400000" scaled="0"/>
                  </a:gradFill>
                </a:endParaRPr>
              </a:p>
            </p:txBody>
          </p:sp>
          <p:sp>
            <p:nvSpPr>
              <p:cNvPr id="256" name="TextBox 255"/>
              <p:cNvSpPr txBox="1"/>
              <p:nvPr/>
            </p:nvSpPr>
            <p:spPr>
              <a:xfrm>
                <a:off x="4172168"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2</a:t>
                </a:r>
              </a:p>
            </p:txBody>
          </p:sp>
          <p:pic>
            <p:nvPicPr>
              <p:cNvPr id="257" name="Picture 256"/>
              <p:cNvPicPr>
                <a:picLocks noChangeAspect="1"/>
              </p:cNvPicPr>
              <p:nvPr>
                <p:custDataLst>
                  <p:tags r:id="rId2"/>
                </p:custDataLst>
              </p:nvPr>
            </p:nvPicPr>
            <p:blipFill>
              <a:blip r:embed="rId11">
                <a:extLst>
                  <a:ext uri="{28A0092B-C50C-407E-A947-70E740481C1C}">
                    <a14:useLocalDpi xmlns:a14="http://schemas.microsoft.com/office/drawing/2010/main" val="0"/>
                  </a:ext>
                </a:extLst>
              </a:blip>
              <a:stretch>
                <a:fillRect/>
              </a:stretch>
            </p:blipFill>
            <p:spPr>
              <a:xfrm>
                <a:off x="2655779" y="1983751"/>
                <a:ext cx="883759" cy="875588"/>
              </a:xfrm>
              <a:prstGeom prst="rect">
                <a:avLst/>
              </a:prstGeom>
              <a:effectLst/>
            </p:spPr>
          </p:pic>
        </p:grpSp>
        <p:grpSp>
          <p:nvGrpSpPr>
            <p:cNvPr id="224" name="Group 223"/>
            <p:cNvGrpSpPr/>
            <p:nvPr/>
          </p:nvGrpSpPr>
          <p:grpSpPr>
            <a:xfrm>
              <a:off x="381000" y="1904999"/>
              <a:ext cx="2026976" cy="2011680"/>
              <a:chOff x="381000" y="1904999"/>
              <a:chExt cx="2026976" cy="2011680"/>
            </a:xfrm>
          </p:grpSpPr>
          <p:sp>
            <p:nvSpPr>
              <p:cNvPr id="252" name="Rectangle 251"/>
              <p:cNvSpPr/>
              <p:nvPr/>
            </p:nvSpPr>
            <p:spPr bwMode="auto">
              <a:xfrm>
                <a:off x="381000"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Blazing-Fast Performance</a:t>
                </a:r>
              </a:p>
            </p:txBody>
          </p:sp>
          <p:sp>
            <p:nvSpPr>
              <p:cNvPr id="253" name="TextBox 252"/>
              <p:cNvSpPr txBox="1"/>
              <p:nvPr/>
            </p:nvSpPr>
            <p:spPr>
              <a:xfrm>
                <a:off x="2051561"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1</a:t>
                </a:r>
              </a:p>
            </p:txBody>
          </p:sp>
          <p:pic>
            <p:nvPicPr>
              <p:cNvPr id="254" name="Picture 253"/>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06299" y="2057549"/>
                <a:ext cx="880541" cy="880541"/>
              </a:xfrm>
              <a:prstGeom prst="rect">
                <a:avLst/>
              </a:prstGeom>
            </p:spPr>
          </p:pic>
        </p:grpSp>
        <p:grpSp>
          <p:nvGrpSpPr>
            <p:cNvPr id="225" name="Group 224"/>
            <p:cNvGrpSpPr/>
            <p:nvPr/>
          </p:nvGrpSpPr>
          <p:grpSpPr>
            <a:xfrm>
              <a:off x="8879444" y="1904999"/>
              <a:ext cx="2012580" cy="2011680"/>
              <a:chOff x="8879444" y="1904999"/>
              <a:chExt cx="2012580" cy="2011680"/>
            </a:xfrm>
          </p:grpSpPr>
          <p:sp>
            <p:nvSpPr>
              <p:cNvPr id="245" name="Rectangle 244"/>
              <p:cNvSpPr/>
              <p:nvPr/>
            </p:nvSpPr>
            <p:spPr bwMode="auto">
              <a:xfrm>
                <a:off x="8879444"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Scale on Demand</a:t>
                </a:r>
                <a:endParaRPr lang="en-US" sz="1500" dirty="0">
                  <a:gradFill>
                    <a:gsLst>
                      <a:gs pos="0">
                        <a:srgbClr val="FFFFFF"/>
                      </a:gs>
                      <a:gs pos="100000">
                        <a:srgbClr val="FFFFFF"/>
                      </a:gs>
                    </a:gsLst>
                    <a:lin ang="5400000" scaled="0"/>
                  </a:gradFill>
                </a:endParaRPr>
              </a:p>
            </p:txBody>
          </p:sp>
          <p:sp>
            <p:nvSpPr>
              <p:cNvPr id="246" name="TextBox 245"/>
              <p:cNvSpPr txBox="1"/>
              <p:nvPr/>
            </p:nvSpPr>
            <p:spPr>
              <a:xfrm>
                <a:off x="10535609"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5</a:t>
                </a:r>
              </a:p>
            </p:txBody>
          </p:sp>
          <p:grpSp>
            <p:nvGrpSpPr>
              <p:cNvPr id="247" name="Group 246"/>
              <p:cNvGrpSpPr/>
              <p:nvPr/>
            </p:nvGrpSpPr>
            <p:grpSpPr>
              <a:xfrm>
                <a:off x="9098012" y="2146879"/>
                <a:ext cx="958800" cy="671282"/>
                <a:chOff x="7792432" y="3461097"/>
                <a:chExt cx="568902" cy="299861"/>
              </a:xfrm>
            </p:grpSpPr>
            <p:sp>
              <p:nvSpPr>
                <p:cNvPr id="248" name="Freeform 8"/>
                <p:cNvSpPr>
                  <a:spLocks/>
                </p:cNvSpPr>
                <p:nvPr/>
              </p:nvSpPr>
              <p:spPr bwMode="auto">
                <a:xfrm>
                  <a:off x="8055009" y="3461097"/>
                  <a:ext cx="306325" cy="299861"/>
                </a:xfrm>
                <a:custGeom>
                  <a:avLst/>
                  <a:gdLst>
                    <a:gd name="T0" fmla="*/ 100 w 100"/>
                    <a:gd name="T1" fmla="*/ 0 h 98"/>
                    <a:gd name="T2" fmla="*/ 16 w 100"/>
                    <a:gd name="T3" fmla="*/ 13 h 98"/>
                    <a:gd name="T4" fmla="*/ 41 w 100"/>
                    <a:gd name="T5" fmla="*/ 39 h 98"/>
                    <a:gd name="T6" fmla="*/ 41 w 100"/>
                    <a:gd name="T7" fmla="*/ 39 h 98"/>
                    <a:gd name="T8" fmla="*/ 6 w 100"/>
                    <a:gd name="T9" fmla="*/ 75 h 98"/>
                    <a:gd name="T10" fmla="*/ 6 w 100"/>
                    <a:gd name="T11" fmla="*/ 94 h 98"/>
                    <a:gd name="T12" fmla="*/ 16 w 100"/>
                    <a:gd name="T13" fmla="*/ 98 h 98"/>
                    <a:gd name="T14" fmla="*/ 25 w 100"/>
                    <a:gd name="T15" fmla="*/ 94 h 98"/>
                    <a:gd name="T16" fmla="*/ 61 w 100"/>
                    <a:gd name="T17" fmla="*/ 59 h 98"/>
                    <a:gd name="T18" fmla="*/ 61 w 100"/>
                    <a:gd name="T19" fmla="*/ 59 h 98"/>
                    <a:gd name="T20" fmla="*/ 87 w 100"/>
                    <a:gd name="T21" fmla="*/ 84 h 98"/>
                    <a:gd name="T22" fmla="*/ 100 w 100"/>
                    <a:gd name="T23"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98">
                      <a:moveTo>
                        <a:pt x="100" y="0"/>
                      </a:moveTo>
                      <a:cubicBezTo>
                        <a:pt x="16" y="13"/>
                        <a:pt x="16" y="13"/>
                        <a:pt x="16" y="13"/>
                      </a:cubicBezTo>
                      <a:cubicBezTo>
                        <a:pt x="41" y="39"/>
                        <a:pt x="41" y="39"/>
                        <a:pt x="41" y="39"/>
                      </a:cubicBezTo>
                      <a:cubicBezTo>
                        <a:pt x="41" y="39"/>
                        <a:pt x="41" y="39"/>
                        <a:pt x="41" y="39"/>
                      </a:cubicBezTo>
                      <a:cubicBezTo>
                        <a:pt x="6" y="75"/>
                        <a:pt x="6" y="75"/>
                        <a:pt x="6" y="75"/>
                      </a:cubicBezTo>
                      <a:cubicBezTo>
                        <a:pt x="0" y="80"/>
                        <a:pt x="0" y="89"/>
                        <a:pt x="6" y="94"/>
                      </a:cubicBezTo>
                      <a:cubicBezTo>
                        <a:pt x="8" y="97"/>
                        <a:pt x="12" y="98"/>
                        <a:pt x="16" y="98"/>
                      </a:cubicBezTo>
                      <a:cubicBezTo>
                        <a:pt x="19" y="98"/>
                        <a:pt x="23" y="97"/>
                        <a:pt x="25" y="94"/>
                      </a:cubicBezTo>
                      <a:cubicBezTo>
                        <a:pt x="61" y="59"/>
                        <a:pt x="61" y="59"/>
                        <a:pt x="61" y="59"/>
                      </a:cubicBezTo>
                      <a:cubicBezTo>
                        <a:pt x="61" y="59"/>
                        <a:pt x="61" y="59"/>
                        <a:pt x="61" y="59"/>
                      </a:cubicBezTo>
                      <a:cubicBezTo>
                        <a:pt x="87" y="84"/>
                        <a:pt x="87" y="84"/>
                        <a:pt x="87" y="84"/>
                      </a:cubicBezTo>
                      <a:lnTo>
                        <a:pt x="10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Rectangle 9"/>
                <p:cNvSpPr>
                  <a:spLocks noChangeArrowheads="1"/>
                </p:cNvSpPr>
                <p:nvPr/>
              </p:nvSpPr>
              <p:spPr bwMode="auto">
                <a:xfrm>
                  <a:off x="7891463" y="3675653"/>
                  <a:ext cx="212661"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Rectangle 9"/>
                <p:cNvSpPr>
                  <a:spLocks noChangeArrowheads="1"/>
                </p:cNvSpPr>
                <p:nvPr/>
              </p:nvSpPr>
              <p:spPr bwMode="auto">
                <a:xfrm>
                  <a:off x="7792432" y="3675653"/>
                  <a:ext cx="27432"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Rectangle 9"/>
                <p:cNvSpPr>
                  <a:spLocks noChangeArrowheads="1"/>
                </p:cNvSpPr>
                <p:nvPr/>
              </p:nvSpPr>
              <p:spPr bwMode="auto">
                <a:xfrm>
                  <a:off x="7832804" y="3675653"/>
                  <a:ext cx="45719"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26" name="Group 225"/>
            <p:cNvGrpSpPr/>
            <p:nvPr/>
          </p:nvGrpSpPr>
          <p:grpSpPr>
            <a:xfrm>
              <a:off x="6754833" y="1904999"/>
              <a:ext cx="2022972" cy="2011680"/>
              <a:chOff x="6754833" y="1904999"/>
              <a:chExt cx="2022972" cy="2011680"/>
            </a:xfrm>
          </p:grpSpPr>
          <p:sp>
            <p:nvSpPr>
              <p:cNvPr id="239" name="Rectangle 238"/>
              <p:cNvSpPr/>
              <p:nvPr/>
            </p:nvSpPr>
            <p:spPr bwMode="auto">
              <a:xfrm>
                <a:off x="6754833"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Flexibility &amp; Choice</a:t>
                </a:r>
                <a:endParaRPr lang="en-US" sz="1500" dirty="0">
                  <a:gradFill>
                    <a:gsLst>
                      <a:gs pos="0">
                        <a:srgbClr val="FFFFFF"/>
                      </a:gs>
                      <a:gs pos="100000">
                        <a:srgbClr val="FFFFFF"/>
                      </a:gs>
                    </a:gsLst>
                    <a:lin ang="5400000" scaled="0"/>
                  </a:gradFill>
                </a:endParaRPr>
              </a:p>
            </p:txBody>
          </p:sp>
          <p:sp>
            <p:nvSpPr>
              <p:cNvPr id="240" name="TextBox 239"/>
              <p:cNvSpPr txBox="1"/>
              <p:nvPr/>
            </p:nvSpPr>
            <p:spPr>
              <a:xfrm>
                <a:off x="8421390"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4</a:t>
                </a:r>
              </a:p>
            </p:txBody>
          </p:sp>
          <p:grpSp>
            <p:nvGrpSpPr>
              <p:cNvPr id="241" name="Group 240"/>
              <p:cNvGrpSpPr/>
              <p:nvPr>
                <p:custDataLst>
                  <p:tags r:id="rId1"/>
                </p:custDataLst>
              </p:nvPr>
            </p:nvGrpSpPr>
            <p:grpSpPr>
              <a:xfrm>
                <a:off x="6856412" y="1967341"/>
                <a:ext cx="1105890" cy="850820"/>
                <a:chOff x="3127606" y="1031618"/>
                <a:chExt cx="1905261" cy="1465821"/>
              </a:xfrm>
            </p:grpSpPr>
            <p:pic>
              <p:nvPicPr>
                <p:cNvPr id="242" name="Picture 6" descr="\\MAGNUM\Projects\Microsoft\Cloud Power FY12\Design\ICONS_PNG\Cloud.png"/>
                <p:cNvPicPr>
                  <a:picLocks noChangeAspect="1" noChangeArrowheads="1"/>
                </p:cNvPicPr>
                <p:nvPr/>
              </p:nvPicPr>
              <p:blipFill rotWithShape="1">
                <a:blip r:embed="rId13" cstate="print">
                  <a:extLst>
                    <a:ext uri="{BEBA8EAE-BF5A-486C-A8C5-ECC9F3942E4B}">
                      <a14:imgProps xmlns:a14="http://schemas.microsoft.com/office/drawing/2010/main">
                        <a14:imgLayer r:embed="rId14">
                          <a14:imgEffect>
                            <a14:brightnessContrast bright="100000"/>
                          </a14:imgEffect>
                        </a14:imgLayer>
                      </a14:imgProps>
                    </a:ext>
                  </a:extLst>
                </a:blip>
                <a:srcRect t="15452" b="16319"/>
                <a:stretch/>
              </p:blipFill>
              <p:spPr bwMode="auto">
                <a:xfrm>
                  <a:off x="3423223" y="1031618"/>
                  <a:ext cx="1609644" cy="1098248"/>
                </a:xfrm>
                <a:prstGeom prst="rect">
                  <a:avLst/>
                </a:prstGeom>
                <a:noFill/>
              </p:spPr>
            </p:pic>
            <p:pic>
              <p:nvPicPr>
                <p:cNvPr id="243" name="Picture 2" descr="\\MAGNUM\Projects\Microsoft\Cloud Power FY12\Design\Icons\PNGs\Server_2.png"/>
                <p:cNvPicPr>
                  <a:picLocks noChangeAspect="1" noChangeArrowheads="1"/>
                </p:cNvPicPr>
                <p:nvPr/>
              </p:nvPicPr>
              <p:blipFill rotWithShape="1">
                <a:blip r:embed="rId15" cstate="print">
                  <a:lum bright="100000"/>
                  <a:extLst>
                    <a:ext uri="{BEBA8EAE-BF5A-486C-A8C5-ECC9F3942E4B}">
                      <a14:imgProps xmlns:a14="http://schemas.microsoft.com/office/drawing/2010/main">
                        <a14:imgLayer r:embed="rId16">
                          <a14:imgEffect>
                            <a14:colorTemperature colorTemp="1500"/>
                          </a14:imgEffect>
                        </a14:imgLayer>
                      </a14:imgProps>
                    </a:ext>
                  </a:extLst>
                </a:blip>
                <a:srcRect l="27619" t="9540" r="26586" b="9151"/>
                <a:stretch/>
              </p:blipFill>
              <p:spPr bwMode="auto">
                <a:xfrm>
                  <a:off x="3537558" y="1444626"/>
                  <a:ext cx="589660" cy="916080"/>
                </a:xfrm>
                <a:prstGeom prst="rect">
                  <a:avLst/>
                </a:prstGeom>
                <a:noFill/>
                <a:effectLst>
                  <a:outerShdw blurRad="50800" dist="12700" sx="103000" sy="103000" algn="ctr" rotWithShape="0">
                    <a:prstClr val="black">
                      <a:alpha val="40000"/>
                    </a:prstClr>
                  </a:outerShdw>
                </a:effectLst>
              </p:spPr>
            </p:pic>
            <p:pic>
              <p:nvPicPr>
                <p:cNvPr id="244" name="Picture 2" descr="\\MAGNUM\Projects\Microsoft\Cloud Power FY12\Design\Icons\PNGs\Server_2.png"/>
                <p:cNvPicPr>
                  <a:picLocks noChangeAspect="1" noChangeArrowheads="1"/>
                </p:cNvPicPr>
                <p:nvPr/>
              </p:nvPicPr>
              <p:blipFill rotWithShape="1">
                <a:blip r:embed="rId15" cstate="print">
                  <a:lum bright="100000"/>
                  <a:extLst>
                    <a:ext uri="{BEBA8EAE-BF5A-486C-A8C5-ECC9F3942E4B}">
                      <a14:imgProps xmlns:a14="http://schemas.microsoft.com/office/drawing/2010/main">
                        <a14:imgLayer r:embed="rId16">
                          <a14:imgEffect>
                            <a14:colorTemperature colorTemp="1500"/>
                          </a14:imgEffect>
                        </a14:imgLayer>
                      </a14:imgProps>
                    </a:ext>
                  </a:extLst>
                </a:blip>
                <a:srcRect l="27619" t="9540" r="26586" b="9151"/>
                <a:stretch/>
              </p:blipFill>
              <p:spPr bwMode="auto">
                <a:xfrm>
                  <a:off x="3127606" y="1581359"/>
                  <a:ext cx="589659" cy="916080"/>
                </a:xfrm>
                <a:prstGeom prst="rect">
                  <a:avLst/>
                </a:prstGeom>
                <a:noFill/>
                <a:effectLst>
                  <a:outerShdw blurRad="50800" dist="12700" sx="103000" sy="103000" algn="ctr" rotWithShape="0">
                    <a:prstClr val="black">
                      <a:alpha val="40000"/>
                    </a:prstClr>
                  </a:outerShdw>
                </a:effectLst>
              </p:spPr>
            </p:pic>
          </p:grpSp>
        </p:grpSp>
        <p:grpSp>
          <p:nvGrpSpPr>
            <p:cNvPr id="227" name="Group 226"/>
            <p:cNvGrpSpPr/>
            <p:nvPr/>
          </p:nvGrpSpPr>
          <p:grpSpPr>
            <a:xfrm>
              <a:off x="11004055" y="1904999"/>
              <a:ext cx="2012580" cy="2011680"/>
              <a:chOff x="11004055" y="1904999"/>
              <a:chExt cx="2012580" cy="2011680"/>
            </a:xfrm>
          </p:grpSpPr>
          <p:sp>
            <p:nvSpPr>
              <p:cNvPr id="236" name="Rectangle 235"/>
              <p:cNvSpPr/>
              <p:nvPr/>
            </p:nvSpPr>
            <p:spPr bwMode="auto">
              <a:xfrm>
                <a:off x="11004055"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Fast Time to Solution</a:t>
                </a:r>
                <a:endParaRPr lang="en-US" sz="1500" dirty="0">
                  <a:gradFill>
                    <a:gsLst>
                      <a:gs pos="0">
                        <a:srgbClr val="FFFFFF"/>
                      </a:gs>
                      <a:gs pos="100000">
                        <a:srgbClr val="FFFFFF"/>
                      </a:gs>
                    </a:gsLst>
                    <a:lin ang="5400000" scaled="0"/>
                  </a:gradFill>
                </a:endParaRPr>
              </a:p>
            </p:txBody>
          </p:sp>
          <p:sp>
            <p:nvSpPr>
              <p:cNvPr id="237" name="TextBox 236"/>
              <p:cNvSpPr txBox="1"/>
              <p:nvPr/>
            </p:nvSpPr>
            <p:spPr>
              <a:xfrm>
                <a:off x="12660220"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6</a:t>
                </a:r>
              </a:p>
            </p:txBody>
          </p:sp>
          <p:pic>
            <p:nvPicPr>
              <p:cNvPr id="238" name="Picture 3" descr="\\SFP\Work\White_Whale\3-22036_Kuleen_Bharadwaj\PPT\3_PlatformVision_Kuleen\SFP_Art\Plane Slide\mon_notie.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1139211" y="1983751"/>
                <a:ext cx="746401" cy="8755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8" name="Group 227"/>
            <p:cNvGrpSpPr/>
            <p:nvPr/>
          </p:nvGrpSpPr>
          <p:grpSpPr>
            <a:xfrm>
              <a:off x="13128666" y="1904999"/>
              <a:ext cx="2017182" cy="2011680"/>
              <a:chOff x="13128666" y="1904999"/>
              <a:chExt cx="2017182" cy="2011680"/>
            </a:xfrm>
          </p:grpSpPr>
          <p:sp>
            <p:nvSpPr>
              <p:cNvPr id="233" name="Rectangle 232"/>
              <p:cNvSpPr/>
              <p:nvPr/>
            </p:nvSpPr>
            <p:spPr bwMode="auto">
              <a:xfrm>
                <a:off x="13128666"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Extend Any Data, Anywhere</a:t>
                </a:r>
                <a:endParaRPr lang="en-US" sz="1500" dirty="0">
                  <a:gradFill>
                    <a:gsLst>
                      <a:gs pos="0">
                        <a:srgbClr val="FFFFFF"/>
                      </a:gs>
                      <a:gs pos="100000">
                        <a:srgbClr val="FFFFFF"/>
                      </a:gs>
                    </a:gsLst>
                    <a:lin ang="5400000" scaled="0"/>
                  </a:gradFill>
                </a:endParaRPr>
              </a:p>
            </p:txBody>
          </p:sp>
          <p:sp>
            <p:nvSpPr>
              <p:cNvPr id="234" name="TextBox 233"/>
              <p:cNvSpPr txBox="1"/>
              <p:nvPr/>
            </p:nvSpPr>
            <p:spPr>
              <a:xfrm>
                <a:off x="14789433"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7</a:t>
                </a:r>
              </a:p>
            </p:txBody>
          </p:sp>
          <p:pic>
            <p:nvPicPr>
              <p:cNvPr id="235" name="Picture 7" descr="\\MAGNUM\Projects\Microsoft\Cloud Power FY12\Design\ICONS_PNG\Physical_Virtual.png"/>
              <p:cNvPicPr>
                <a:picLocks noChangeAspect="1" noChangeArrowheads="1"/>
              </p:cNvPicPr>
              <p:nvPr/>
            </p:nvPicPr>
            <p:blipFill rotWithShape="1">
              <a:blip r:embed="rId18" cstate="print">
                <a:extLst>
                  <a:ext uri="{BEBA8EAE-BF5A-486C-A8C5-ECC9F3942E4B}">
                    <a14:imgProps xmlns:a14="http://schemas.microsoft.com/office/drawing/2010/main">
                      <a14:imgLayer r:embed="rId19">
                        <a14:imgEffect>
                          <a14:brightnessContrast bright="100000"/>
                        </a14:imgEffect>
                      </a14:imgLayer>
                    </a14:imgProps>
                  </a:ext>
                </a:extLst>
              </a:blip>
              <a:srcRect l="7856" t="39072" r="7907" b="5885"/>
              <a:stretch/>
            </p:blipFill>
            <p:spPr bwMode="auto">
              <a:xfrm>
                <a:off x="13200761" y="1984614"/>
                <a:ext cx="1275651" cy="833547"/>
              </a:xfrm>
              <a:prstGeom prst="rect">
                <a:avLst/>
              </a:prstGeom>
              <a:noFill/>
            </p:spPr>
          </p:pic>
        </p:grpSp>
        <p:grpSp>
          <p:nvGrpSpPr>
            <p:cNvPr id="229" name="Group 228"/>
            <p:cNvGrpSpPr/>
            <p:nvPr/>
          </p:nvGrpSpPr>
          <p:grpSpPr>
            <a:xfrm>
              <a:off x="15251436" y="1904999"/>
              <a:ext cx="2011680" cy="2011680"/>
              <a:chOff x="15251436" y="1904999"/>
              <a:chExt cx="2011680" cy="2011680"/>
            </a:xfrm>
          </p:grpSpPr>
          <p:sp>
            <p:nvSpPr>
              <p:cNvPr id="230" name="Rectangle 229"/>
              <p:cNvSpPr/>
              <p:nvPr/>
            </p:nvSpPr>
            <p:spPr bwMode="auto">
              <a:xfrm>
                <a:off x="15251436"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New Scenarios, Unlocked</a:t>
                </a:r>
                <a:endParaRPr lang="en-US" sz="1500" dirty="0">
                  <a:gradFill>
                    <a:gsLst>
                      <a:gs pos="0">
                        <a:srgbClr val="FFFFFF"/>
                      </a:gs>
                      <a:gs pos="100000">
                        <a:srgbClr val="FFFFFF"/>
                      </a:gs>
                    </a:gsLst>
                    <a:lin ang="5400000" scaled="0"/>
                  </a:gradFill>
                </a:endParaRPr>
              </a:p>
            </p:txBody>
          </p:sp>
          <p:sp>
            <p:nvSpPr>
              <p:cNvPr id="231" name="TextBox 230"/>
              <p:cNvSpPr txBox="1"/>
              <p:nvPr/>
            </p:nvSpPr>
            <p:spPr>
              <a:xfrm>
                <a:off x="16890522" y="1904999"/>
                <a:ext cx="356415" cy="615553"/>
              </a:xfrm>
              <a:prstGeom prst="rect">
                <a:avLst/>
              </a:prstGeom>
              <a:noFill/>
            </p:spPr>
            <p:txBody>
              <a:bodyPr wrap="none" lIns="0" tIns="0" rIns="45720" bIns="0" rtlCol="0">
                <a:spAutoFit/>
              </a:bodyPr>
              <a:lstStyle/>
              <a:p>
                <a:pPr algn="r"/>
                <a:r>
                  <a:rPr lang="en-US" sz="3000" b="1" dirty="0">
                    <a:solidFill>
                      <a:schemeClr val="tx2">
                        <a:lumMod val="75000"/>
                      </a:schemeClr>
                    </a:solidFill>
                  </a:rPr>
                  <a:t>8</a:t>
                </a:r>
                <a:endParaRPr lang="en-US" sz="3000" b="1" dirty="0">
                  <a:solidFill>
                    <a:schemeClr val="tx2">
                      <a:lumMod val="75000"/>
                    </a:schemeClr>
                  </a:solidFill>
                </a:endParaRPr>
              </a:p>
            </p:txBody>
          </p:sp>
          <p:pic>
            <p:nvPicPr>
              <p:cNvPr id="232" name="Picture 2"/>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5424931" y="2043731"/>
                <a:ext cx="640905" cy="775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81" name="Rectangle 80"/>
          <p:cNvSpPr/>
          <p:nvPr/>
        </p:nvSpPr>
        <p:spPr bwMode="auto">
          <a:xfrm>
            <a:off x="285824" y="3552453"/>
            <a:ext cx="7870324" cy="467390"/>
          </a:xfrm>
          <a:prstGeom prst="rect">
            <a:avLst/>
          </a:prstGeom>
          <a:solidFill>
            <a:srgbClr val="F6AE1E"/>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6" tIns="34293" rIns="68586" bIns="34293" numCol="1" spcCol="0" rtlCol="0" fromWordArt="0" anchor="ctr" anchorCtr="0" forceAA="0" compatLnSpc="1">
            <a:prstTxWarp prst="textNoShape">
              <a:avLst/>
            </a:prstTxWarp>
            <a:noAutofit/>
          </a:bodyPr>
          <a:lstStyle/>
          <a:p>
            <a:pPr defTabSz="685666" fontAlgn="base">
              <a:spcBef>
                <a:spcPct val="0"/>
              </a:spcBef>
              <a:spcAft>
                <a:spcPct val="0"/>
              </a:spcAft>
            </a:pPr>
            <a:r>
              <a:rPr lang="en-US" sz="2100" dirty="0">
                <a:gradFill>
                  <a:gsLst>
                    <a:gs pos="0">
                      <a:srgbClr val="FFFFFF"/>
                    </a:gs>
                    <a:gs pos="100000">
                      <a:srgbClr val="FFFFFF"/>
                    </a:gs>
                  </a:gsLst>
                  <a:lin ang="5400000" scaled="0"/>
                </a:gradFill>
              </a:rPr>
              <a:t>Parallel Data Warehouse, Fast Track</a:t>
            </a:r>
            <a:endParaRPr lang="en-US" sz="2100" dirty="0">
              <a:gradFill>
                <a:gsLst>
                  <a:gs pos="0">
                    <a:srgbClr val="FFFFFF"/>
                  </a:gs>
                  <a:gs pos="100000">
                    <a:srgbClr val="FFFFFF"/>
                  </a:gs>
                </a:gsLst>
                <a:lin ang="5400000" scaled="0"/>
              </a:gradFill>
            </a:endParaRPr>
          </a:p>
        </p:txBody>
      </p:sp>
      <p:sp>
        <p:nvSpPr>
          <p:cNvPr id="82" name="Rectangle 81"/>
          <p:cNvSpPr/>
          <p:nvPr/>
        </p:nvSpPr>
        <p:spPr bwMode="auto">
          <a:xfrm>
            <a:off x="285824" y="3017520"/>
            <a:ext cx="7870324" cy="453683"/>
          </a:xfrm>
          <a:prstGeom prst="rect">
            <a:avLst/>
          </a:prstGeom>
          <a:solidFill>
            <a:srgbClr val="F6AE1E"/>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6" tIns="34293" rIns="68586" bIns="34293" numCol="1" spcCol="0" rtlCol="0" fromWordArt="0" anchor="ctr" anchorCtr="0" forceAA="0" compatLnSpc="1">
            <a:prstTxWarp prst="textNoShape">
              <a:avLst/>
            </a:prstTxWarp>
            <a:noAutofit/>
          </a:bodyPr>
          <a:lstStyle/>
          <a:p>
            <a:pPr defTabSz="685666" fontAlgn="base">
              <a:spcBef>
                <a:spcPct val="0"/>
              </a:spcBef>
              <a:spcAft>
                <a:spcPct val="0"/>
              </a:spcAft>
            </a:pPr>
            <a:r>
              <a:rPr lang="en-US" sz="2100" dirty="0" err="1">
                <a:gradFill>
                  <a:gsLst>
                    <a:gs pos="0">
                      <a:srgbClr val="FFFFFF"/>
                    </a:gs>
                    <a:gs pos="100000">
                      <a:srgbClr val="FFFFFF"/>
                    </a:gs>
                  </a:gsLst>
                  <a:lin ang="5400000" scaled="0"/>
                </a:gradFill>
              </a:rPr>
              <a:t>Hadoop</a:t>
            </a:r>
            <a:r>
              <a:rPr lang="en-US" sz="2100" dirty="0">
                <a:gradFill>
                  <a:gsLst>
                    <a:gs pos="0">
                      <a:srgbClr val="FFFFFF"/>
                    </a:gs>
                    <a:gs pos="100000">
                      <a:srgbClr val="FFFFFF"/>
                    </a:gs>
                  </a:gsLst>
                  <a:lin ang="5400000" scaled="0"/>
                </a:gradFill>
              </a:rPr>
              <a:t> in the Enterprise</a:t>
            </a:r>
            <a:endParaRPr lang="en-US" sz="2100" dirty="0">
              <a:gradFill>
                <a:gsLst>
                  <a:gs pos="0">
                    <a:srgbClr val="FFFFFF"/>
                  </a:gs>
                  <a:gs pos="100000">
                    <a:srgbClr val="FFFFFF"/>
                  </a:gs>
                </a:gsLst>
                <a:lin ang="5400000" scaled="0"/>
              </a:gradFill>
            </a:endParaRPr>
          </a:p>
        </p:txBody>
      </p:sp>
      <p:grpSp>
        <p:nvGrpSpPr>
          <p:cNvPr id="83" name="Group 82"/>
          <p:cNvGrpSpPr/>
          <p:nvPr/>
        </p:nvGrpSpPr>
        <p:grpSpPr>
          <a:xfrm>
            <a:off x="282308" y="1428749"/>
            <a:ext cx="1513281" cy="1508760"/>
            <a:chOff x="15253277" y="1904999"/>
            <a:chExt cx="2017182" cy="2011680"/>
          </a:xfrm>
        </p:grpSpPr>
        <p:sp>
          <p:nvSpPr>
            <p:cNvPr id="84" name="Rectangle 83"/>
            <p:cNvSpPr/>
            <p:nvPr/>
          </p:nvSpPr>
          <p:spPr bwMode="auto">
            <a:xfrm>
              <a:off x="15253277" y="1904999"/>
              <a:ext cx="2011680" cy="2011680"/>
            </a:xfrm>
            <a:prstGeom prst="rect">
              <a:avLst/>
            </a:prstGeom>
            <a:solidFill>
              <a:schemeClr val="accent3"/>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Big Data &amp; Data </a:t>
              </a:r>
              <a:r>
                <a:rPr lang="en-US" sz="1500" dirty="0">
                  <a:gradFill>
                    <a:gsLst>
                      <a:gs pos="0">
                        <a:srgbClr val="FFFFFF"/>
                      </a:gs>
                      <a:gs pos="100000">
                        <a:srgbClr val="FFFFFF"/>
                      </a:gs>
                    </a:gsLst>
                    <a:lin ang="5400000" scaled="0"/>
                  </a:gradFill>
                </a:rPr>
                <a:t>Warehousing</a:t>
              </a:r>
            </a:p>
          </p:txBody>
        </p:sp>
        <p:pic>
          <p:nvPicPr>
            <p:cNvPr id="85" name="Picture 8"/>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5367380" y="2029883"/>
              <a:ext cx="896304" cy="7133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6" name="TextBox 85"/>
            <p:cNvSpPr txBox="1"/>
            <p:nvPr/>
          </p:nvSpPr>
          <p:spPr>
            <a:xfrm>
              <a:off x="16914044" y="1904999"/>
              <a:ext cx="356415" cy="615553"/>
            </a:xfrm>
            <a:prstGeom prst="rect">
              <a:avLst/>
            </a:prstGeom>
            <a:noFill/>
          </p:spPr>
          <p:txBody>
            <a:bodyPr wrap="none" lIns="0" tIns="0" rIns="45720" bIns="0" rtlCol="0">
              <a:spAutoFit/>
            </a:bodyPr>
            <a:lstStyle/>
            <a:p>
              <a:r>
                <a:rPr lang="en-US" sz="3000" b="1" dirty="0">
                  <a:solidFill>
                    <a:srgbClr val="FFC000"/>
                  </a:solidFill>
                </a:rPr>
                <a:t>9</a:t>
              </a:r>
              <a:endParaRPr lang="en-US" sz="3000" b="1" dirty="0">
                <a:solidFill>
                  <a:srgbClr val="FFC000"/>
                </a:solidFill>
              </a:endParaRPr>
            </a:p>
          </p:txBody>
        </p:sp>
      </p:grpSp>
      <p:sp>
        <p:nvSpPr>
          <p:cNvPr id="66"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67"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1"/>
              </a:rPr>
              <a:t>www.rapidbbs.cn</a:t>
            </a:r>
            <a:endParaRPr lang="zh-CN" altLang="en-US" sz="1200" b="0">
              <a:latin typeface="Arial" charset="0"/>
              <a:ea typeface="ＭＳ Ｐゴシック" pitchFamily="34" charset="-128"/>
            </a:endParaRPr>
          </a:p>
        </p:txBody>
      </p:sp>
      <p:pic>
        <p:nvPicPr>
          <p:cNvPr id="68" name="Picture 2">
            <a:hlinkClick r:id="rId21"/>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7464604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decel="100000" fill="hold" nodeType="withEffect">
                                  <p:stCondLst>
                                    <p:cond delay="0"/>
                                  </p:stCondLst>
                                  <p:childTnLst>
                                    <p:animMotion origin="layout" path="M -4.38322E-6 4.44444E-6 L -0.17441 4.44444E-6 " pathEditMode="relative" rAng="0" ptsTypes="AA">
                                      <p:cBhvr>
                                        <p:cTn id="6" dur="1000" fill="hold"/>
                                        <p:tgtEl>
                                          <p:spTgt spid="217"/>
                                        </p:tgtEl>
                                        <p:attrNameLst>
                                          <p:attrName>ppt_x</p:attrName>
                                          <p:attrName>ppt_y</p:attrName>
                                        </p:attrNameLst>
                                      </p:cBhvr>
                                      <p:rCtr x="-8727" y="0"/>
                                    </p:animMotion>
                                  </p:childTnLst>
                                </p:cTn>
                              </p:par>
                            </p:childTnLst>
                          </p:cTn>
                        </p:par>
                        <p:par>
                          <p:cTn id="7" fill="hold">
                            <p:stCondLst>
                              <p:cond delay="1000"/>
                            </p:stCondLst>
                            <p:childTnLst>
                              <p:par>
                                <p:cTn id="8" presetID="22" presetClass="entr" presetSubtype="4" fill="hold" nodeType="afterEffect">
                                  <p:stCondLst>
                                    <p:cond delay="0"/>
                                  </p:stCondLst>
                                  <p:childTnLst>
                                    <p:set>
                                      <p:cBhvr>
                                        <p:cTn id="9" dur="1" fill="hold">
                                          <p:stCondLst>
                                            <p:cond delay="0"/>
                                          </p:stCondLst>
                                        </p:cTn>
                                        <p:tgtEl>
                                          <p:spTgt spid="83"/>
                                        </p:tgtEl>
                                        <p:attrNameLst>
                                          <p:attrName>style.visibility</p:attrName>
                                        </p:attrNameLst>
                                      </p:cBhvr>
                                      <p:to>
                                        <p:strVal val="visible"/>
                                      </p:to>
                                    </p:set>
                                    <p:animEffect transition="in" filter="wipe(down)">
                                      <p:cBhvr>
                                        <p:cTn id="10" dur="500"/>
                                        <p:tgtEl>
                                          <p:spTgt spid="83"/>
                                        </p:tgtEl>
                                      </p:cBhvr>
                                    </p:animEffect>
                                  </p:childTnLst>
                                </p:cTn>
                              </p:par>
                              <p:par>
                                <p:cTn id="11" presetID="2" presetClass="entr" presetSubtype="2" decel="100000" fill="hold" grpId="0" nodeType="withEffect">
                                  <p:stCondLst>
                                    <p:cond delay="0"/>
                                  </p:stCondLst>
                                  <p:childTnLst>
                                    <p:set>
                                      <p:cBhvr>
                                        <p:cTn id="12" dur="1" fill="hold">
                                          <p:stCondLst>
                                            <p:cond delay="0"/>
                                          </p:stCondLst>
                                        </p:cTn>
                                        <p:tgtEl>
                                          <p:spTgt spid="82"/>
                                        </p:tgtEl>
                                        <p:attrNameLst>
                                          <p:attrName>style.visibility</p:attrName>
                                        </p:attrNameLst>
                                      </p:cBhvr>
                                      <p:to>
                                        <p:strVal val="visible"/>
                                      </p:to>
                                    </p:set>
                                    <p:anim calcmode="lin" valueType="num">
                                      <p:cBhvr additive="base">
                                        <p:cTn id="13" dur="1000" fill="hold"/>
                                        <p:tgtEl>
                                          <p:spTgt spid="82"/>
                                        </p:tgtEl>
                                        <p:attrNameLst>
                                          <p:attrName>ppt_x</p:attrName>
                                        </p:attrNameLst>
                                      </p:cBhvr>
                                      <p:tavLst>
                                        <p:tav tm="0">
                                          <p:val>
                                            <p:strVal val="1+#ppt_w/2"/>
                                          </p:val>
                                        </p:tav>
                                        <p:tav tm="100000">
                                          <p:val>
                                            <p:strVal val="#ppt_x"/>
                                          </p:val>
                                        </p:tav>
                                      </p:tavLst>
                                    </p:anim>
                                    <p:anim calcmode="lin" valueType="num">
                                      <p:cBhvr additive="base">
                                        <p:cTn id="14" dur="1000" fill="hold"/>
                                        <p:tgtEl>
                                          <p:spTgt spid="82"/>
                                        </p:tgtEl>
                                        <p:attrNameLst>
                                          <p:attrName>ppt_y</p:attrName>
                                        </p:attrNameLst>
                                      </p:cBhvr>
                                      <p:tavLst>
                                        <p:tav tm="0">
                                          <p:val>
                                            <p:strVal val="#ppt_y"/>
                                          </p:val>
                                        </p:tav>
                                        <p:tav tm="100000">
                                          <p:val>
                                            <p:strVal val="#ppt_y"/>
                                          </p:val>
                                        </p:tav>
                                      </p:tavLst>
                                    </p:anim>
                                  </p:childTnLst>
                                </p:cTn>
                              </p:par>
                              <p:par>
                                <p:cTn id="15" presetID="2" presetClass="entr" presetSubtype="2" decel="100000" fill="hold" grpId="0" nodeType="withEffect">
                                  <p:stCondLst>
                                    <p:cond delay="250"/>
                                  </p:stCondLst>
                                  <p:childTnLst>
                                    <p:set>
                                      <p:cBhvr>
                                        <p:cTn id="16" dur="1" fill="hold">
                                          <p:stCondLst>
                                            <p:cond delay="0"/>
                                          </p:stCondLst>
                                        </p:cTn>
                                        <p:tgtEl>
                                          <p:spTgt spid="81"/>
                                        </p:tgtEl>
                                        <p:attrNameLst>
                                          <p:attrName>style.visibility</p:attrName>
                                        </p:attrNameLst>
                                      </p:cBhvr>
                                      <p:to>
                                        <p:strVal val="visible"/>
                                      </p:to>
                                    </p:set>
                                    <p:anim calcmode="lin" valueType="num">
                                      <p:cBhvr additive="base">
                                        <p:cTn id="17" dur="1000" fill="hold"/>
                                        <p:tgtEl>
                                          <p:spTgt spid="81"/>
                                        </p:tgtEl>
                                        <p:attrNameLst>
                                          <p:attrName>ppt_x</p:attrName>
                                        </p:attrNameLst>
                                      </p:cBhvr>
                                      <p:tavLst>
                                        <p:tav tm="0">
                                          <p:val>
                                            <p:strVal val="1+#ppt_w/2"/>
                                          </p:val>
                                        </p:tav>
                                        <p:tav tm="100000">
                                          <p:val>
                                            <p:strVal val="#ppt_x"/>
                                          </p:val>
                                        </p:tav>
                                      </p:tavLst>
                                    </p:anim>
                                    <p:anim calcmode="lin" valueType="num">
                                      <p:cBhvr additive="base">
                                        <p:cTn id="18" dur="1000" fill="hold"/>
                                        <p:tgtEl>
                                          <p:spTgt spid="8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P spid="82" grpId="0" animBg="1"/>
    </p:bldLst>
  </p:timing>
</p:sld>
</file>

<file path=ppt/slides/slide5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Title 2"/>
          <p:cNvSpPr>
            <a:spLocks noGrp="1"/>
          </p:cNvSpPr>
          <p:nvPr>
            <p:ph type="title"/>
          </p:nvPr>
        </p:nvSpPr>
        <p:spPr>
          <a:xfrm>
            <a:off x="285825" y="171450"/>
            <a:ext cx="6280916" cy="457049"/>
          </a:xfrm>
        </p:spPr>
        <p:txBody>
          <a:bodyPr/>
          <a:lstStyle/>
          <a:p>
            <a:r>
              <a:rPr lang="en-US" dirty="0"/>
              <a:t>SQL Server 2012</a:t>
            </a:r>
          </a:p>
        </p:txBody>
      </p:sp>
      <p:pic>
        <p:nvPicPr>
          <p:cNvPr id="71" name="Picture 7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05641" y="4672464"/>
            <a:ext cx="1725220" cy="356737"/>
          </a:xfrm>
          <a:prstGeom prst="rect">
            <a:avLst/>
          </a:prstGeom>
        </p:spPr>
      </p:pic>
      <p:grpSp>
        <p:nvGrpSpPr>
          <p:cNvPr id="224" name="Group 223"/>
          <p:cNvGrpSpPr/>
          <p:nvPr/>
        </p:nvGrpSpPr>
        <p:grpSpPr>
          <a:xfrm>
            <a:off x="-12468682" y="1424468"/>
            <a:ext cx="19048545" cy="1513042"/>
            <a:chOff x="381000" y="1899290"/>
            <a:chExt cx="25391446" cy="2017389"/>
          </a:xfrm>
        </p:grpSpPr>
        <p:grpSp>
          <p:nvGrpSpPr>
            <p:cNvPr id="225" name="Group 224"/>
            <p:cNvGrpSpPr/>
            <p:nvPr/>
          </p:nvGrpSpPr>
          <p:grpSpPr>
            <a:xfrm>
              <a:off x="17386933" y="1904999"/>
              <a:ext cx="2017182" cy="2011680"/>
              <a:chOff x="17386933" y="1904999"/>
              <a:chExt cx="2017182" cy="2011680"/>
            </a:xfrm>
          </p:grpSpPr>
          <p:sp>
            <p:nvSpPr>
              <p:cNvPr id="277" name="Rectangle 276"/>
              <p:cNvSpPr/>
              <p:nvPr/>
            </p:nvSpPr>
            <p:spPr bwMode="auto">
              <a:xfrm>
                <a:off x="17386933"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Big Data &amp; Data </a:t>
                </a:r>
                <a:r>
                  <a:rPr lang="en-US" sz="1500" dirty="0">
                    <a:gradFill>
                      <a:gsLst>
                        <a:gs pos="0">
                          <a:srgbClr val="FFFFFF"/>
                        </a:gs>
                        <a:gs pos="100000">
                          <a:srgbClr val="FFFFFF"/>
                        </a:gs>
                      </a:gsLst>
                      <a:lin ang="5400000" scaled="0"/>
                    </a:gradFill>
                  </a:rPr>
                  <a:t>Warehousing</a:t>
                </a:r>
              </a:p>
            </p:txBody>
          </p:sp>
          <p:pic>
            <p:nvPicPr>
              <p:cNvPr id="278" name="Picture 8"/>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7501036" y="2029883"/>
                <a:ext cx="896304" cy="7133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79" name="TextBox 278"/>
              <p:cNvSpPr txBox="1"/>
              <p:nvPr/>
            </p:nvSpPr>
            <p:spPr>
              <a:xfrm>
                <a:off x="19047700"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9</a:t>
                </a:r>
                <a:endParaRPr lang="en-US" sz="3000" b="1" dirty="0">
                  <a:solidFill>
                    <a:schemeClr val="tx2">
                      <a:lumMod val="75000"/>
                    </a:schemeClr>
                  </a:solidFill>
                </a:endParaRPr>
              </a:p>
            </p:txBody>
          </p:sp>
        </p:grpSp>
        <p:grpSp>
          <p:nvGrpSpPr>
            <p:cNvPr id="226" name="Group 225"/>
            <p:cNvGrpSpPr/>
            <p:nvPr/>
          </p:nvGrpSpPr>
          <p:grpSpPr>
            <a:xfrm>
              <a:off x="21636155" y="1899290"/>
              <a:ext cx="2011680" cy="2017389"/>
              <a:chOff x="21636155" y="1899290"/>
              <a:chExt cx="2011680" cy="2017389"/>
            </a:xfrm>
          </p:grpSpPr>
          <p:sp>
            <p:nvSpPr>
              <p:cNvPr id="274" name="Rectangle 273"/>
              <p:cNvSpPr/>
              <p:nvPr/>
            </p:nvSpPr>
            <p:spPr bwMode="auto">
              <a:xfrm>
                <a:off x="21636155"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Managed Self-Service BI</a:t>
                </a:r>
                <a:endParaRPr lang="en-US" sz="1500" dirty="0">
                  <a:gradFill>
                    <a:gsLst>
                      <a:gs pos="0">
                        <a:srgbClr val="FFFFFF"/>
                      </a:gs>
                      <a:gs pos="100000">
                        <a:srgbClr val="FFFFFF"/>
                      </a:gs>
                    </a:gsLst>
                    <a:lin ang="5400000" scaled="0"/>
                  </a:gradFill>
                </a:endParaRPr>
              </a:p>
            </p:txBody>
          </p:sp>
          <p:sp>
            <p:nvSpPr>
              <p:cNvPr id="275" name="TextBox 274"/>
              <p:cNvSpPr txBox="1"/>
              <p:nvPr/>
            </p:nvSpPr>
            <p:spPr>
              <a:xfrm>
                <a:off x="22986153" y="1899290"/>
                <a:ext cx="651290" cy="615553"/>
              </a:xfrm>
              <a:prstGeom prst="rect">
                <a:avLst/>
              </a:prstGeom>
              <a:noFill/>
            </p:spPr>
            <p:txBody>
              <a:bodyPr wrap="none" lIns="0" tIns="0" rIns="45720" bIns="0" rtlCol="0">
                <a:spAutoFit/>
              </a:bodyPr>
              <a:lstStyle/>
              <a:p>
                <a:pPr algn="r"/>
                <a:r>
                  <a:rPr lang="en-US" sz="3000" b="1" dirty="0">
                    <a:solidFill>
                      <a:schemeClr val="tx2">
                        <a:lumMod val="75000"/>
                      </a:schemeClr>
                    </a:solidFill>
                  </a:rPr>
                  <a:t>11</a:t>
                </a:r>
                <a:endParaRPr lang="en-US" sz="3000" b="1" dirty="0">
                  <a:solidFill>
                    <a:schemeClr val="tx2">
                      <a:lumMod val="75000"/>
                    </a:schemeClr>
                  </a:solidFill>
                </a:endParaRPr>
              </a:p>
            </p:txBody>
          </p:sp>
          <p:pic>
            <p:nvPicPr>
              <p:cNvPr id="276" name="Picture 17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1715468" y="1981200"/>
                <a:ext cx="832241" cy="833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27" name="Group 226"/>
            <p:cNvGrpSpPr/>
            <p:nvPr/>
          </p:nvGrpSpPr>
          <p:grpSpPr>
            <a:xfrm>
              <a:off x="23760766" y="1904999"/>
              <a:ext cx="2011680" cy="2011680"/>
              <a:chOff x="23760766" y="1904999"/>
              <a:chExt cx="2011680" cy="2011680"/>
            </a:xfrm>
          </p:grpSpPr>
          <p:sp>
            <p:nvSpPr>
              <p:cNvPr id="271" name="Rectangle 270"/>
              <p:cNvSpPr/>
              <p:nvPr/>
            </p:nvSpPr>
            <p:spPr bwMode="auto">
              <a:xfrm>
                <a:off x="23760766"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Rapid Data Exploration</a:t>
                </a:r>
                <a:endParaRPr lang="en-US" sz="1500" dirty="0">
                  <a:gradFill>
                    <a:gsLst>
                      <a:gs pos="0">
                        <a:srgbClr val="FFFFFF"/>
                      </a:gs>
                      <a:gs pos="100000">
                        <a:srgbClr val="FFFFFF"/>
                      </a:gs>
                    </a:gsLst>
                    <a:lin ang="5400000" scaled="0"/>
                  </a:gradFill>
                </a:endParaRPr>
              </a:p>
            </p:txBody>
          </p:sp>
          <p:sp>
            <p:nvSpPr>
              <p:cNvPr id="272" name="TextBox 271"/>
              <p:cNvSpPr txBox="1"/>
              <p:nvPr/>
            </p:nvSpPr>
            <p:spPr>
              <a:xfrm>
                <a:off x="25110764" y="1904999"/>
                <a:ext cx="651290" cy="615553"/>
              </a:xfrm>
              <a:prstGeom prst="rect">
                <a:avLst/>
              </a:prstGeom>
              <a:noFill/>
            </p:spPr>
            <p:txBody>
              <a:bodyPr wrap="none" lIns="0" tIns="0" rIns="45720" bIns="0" rtlCol="0">
                <a:spAutoFit/>
              </a:bodyPr>
              <a:lstStyle/>
              <a:p>
                <a:pPr algn="r"/>
                <a:r>
                  <a:rPr lang="en-US" sz="3000" b="1" dirty="0">
                    <a:solidFill>
                      <a:schemeClr val="tx2">
                        <a:lumMod val="75000"/>
                      </a:schemeClr>
                    </a:solidFill>
                  </a:rPr>
                  <a:t>12</a:t>
                </a:r>
                <a:endParaRPr lang="en-US" sz="3000" b="1" dirty="0">
                  <a:solidFill>
                    <a:schemeClr val="tx2">
                      <a:lumMod val="75000"/>
                    </a:schemeClr>
                  </a:solidFill>
                </a:endParaRPr>
              </a:p>
            </p:txBody>
          </p:sp>
          <p:pic>
            <p:nvPicPr>
              <p:cNvPr id="273" name="Picture 3"/>
              <p:cNvPicPr>
                <a:picLocks noChangeAspect="1" noChangeArrowheads="1"/>
              </p:cNvPicPr>
              <p:nvPr>
                <p:custDataLst>
                  <p:tags r:id="rId3"/>
                </p:custDataLst>
              </p:nvPr>
            </p:nvPicPr>
            <p:blipFill>
              <a:blip r:embed="rId8" cstate="print">
                <a:extLst>
                  <a:ext uri="{28A0092B-C50C-407E-A947-70E740481C1C}">
                    <a14:useLocalDpi xmlns:a14="http://schemas.microsoft.com/office/drawing/2010/main"/>
                  </a:ext>
                </a:extLst>
              </a:blip>
              <a:srcRect/>
              <a:stretch>
                <a:fillRect/>
              </a:stretch>
            </p:blipFill>
            <p:spPr bwMode="auto">
              <a:xfrm>
                <a:off x="23849068" y="1959614"/>
                <a:ext cx="593243" cy="859786"/>
              </a:xfrm>
              <a:prstGeom prst="rect">
                <a:avLst/>
              </a:prstGeom>
              <a:noFill/>
              <a:ln>
                <a:noFill/>
                <a:headEnd type="none" w="med" len="med"/>
                <a:tailEnd type="none" w="med" len="med"/>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28" name="Group 227"/>
            <p:cNvGrpSpPr/>
            <p:nvPr/>
          </p:nvGrpSpPr>
          <p:grpSpPr>
            <a:xfrm>
              <a:off x="4630222" y="1904999"/>
              <a:ext cx="2026976" cy="2011680"/>
              <a:chOff x="4630222" y="1904999"/>
              <a:chExt cx="2026976" cy="2011680"/>
            </a:xfrm>
          </p:grpSpPr>
          <p:sp>
            <p:nvSpPr>
              <p:cNvPr id="268" name="Rectangle 267"/>
              <p:cNvSpPr/>
              <p:nvPr/>
            </p:nvSpPr>
            <p:spPr bwMode="auto">
              <a:xfrm>
                <a:off x="4630222"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Required 9s &amp; Data Protection</a:t>
                </a:r>
                <a:endParaRPr lang="en-US" sz="1500" dirty="0">
                  <a:gradFill>
                    <a:gsLst>
                      <a:gs pos="0">
                        <a:srgbClr val="FFFFFF"/>
                      </a:gs>
                      <a:gs pos="100000">
                        <a:srgbClr val="FFFFFF"/>
                      </a:gs>
                    </a:gsLst>
                    <a:lin ang="5400000" scaled="0"/>
                  </a:gradFill>
                </a:endParaRPr>
              </a:p>
            </p:txBody>
          </p:sp>
          <p:sp>
            <p:nvSpPr>
              <p:cNvPr id="269" name="TextBox 268"/>
              <p:cNvSpPr txBox="1"/>
              <p:nvPr/>
            </p:nvSpPr>
            <p:spPr>
              <a:xfrm>
                <a:off x="6300783"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3</a:t>
                </a:r>
              </a:p>
            </p:txBody>
          </p:sp>
          <p:pic>
            <p:nvPicPr>
              <p:cNvPr id="270" name="Picture 4" descr="\\MAGNUM\Projects\Microsoft\Cloud Power FY12\Design\ICONS_PNG\Check_mark.png"/>
              <p:cNvPicPr>
                <a:picLocks noChangeAspect="1" noChangeArrowheads="1"/>
              </p:cNvPicPr>
              <p:nvPr/>
            </p:nvPicPr>
            <p:blipFill rotWithShape="1">
              <a:blip r:embed="rId9" cstate="print">
                <a:lum bright="100000"/>
              </a:blip>
              <a:srcRect t="11515"/>
              <a:stretch/>
            </p:blipFill>
            <p:spPr bwMode="auto">
              <a:xfrm>
                <a:off x="4669492" y="1927464"/>
                <a:ext cx="1253470" cy="1109124"/>
              </a:xfrm>
              <a:prstGeom prst="rect">
                <a:avLst/>
              </a:prstGeom>
              <a:noFill/>
            </p:spPr>
          </p:pic>
        </p:grpSp>
        <p:grpSp>
          <p:nvGrpSpPr>
            <p:cNvPr id="229" name="Group 228"/>
            <p:cNvGrpSpPr/>
            <p:nvPr/>
          </p:nvGrpSpPr>
          <p:grpSpPr>
            <a:xfrm>
              <a:off x="19511544" y="1904999"/>
              <a:ext cx="2011680" cy="2011680"/>
              <a:chOff x="19511544" y="1904999"/>
              <a:chExt cx="2011680" cy="2011680"/>
            </a:xfrm>
          </p:grpSpPr>
          <p:sp>
            <p:nvSpPr>
              <p:cNvPr id="265" name="Rectangle 264"/>
              <p:cNvSpPr/>
              <p:nvPr/>
            </p:nvSpPr>
            <p:spPr bwMode="auto">
              <a:xfrm>
                <a:off x="19511544"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Credible, Consistent Data</a:t>
                </a:r>
                <a:endParaRPr lang="en-US" sz="1500" dirty="0">
                  <a:gradFill>
                    <a:gsLst>
                      <a:gs pos="0">
                        <a:srgbClr val="FFFFFF"/>
                      </a:gs>
                      <a:gs pos="100000">
                        <a:srgbClr val="FFFFFF"/>
                      </a:gs>
                    </a:gsLst>
                    <a:lin ang="5400000" scaled="0"/>
                  </a:gradFill>
                </a:endParaRPr>
              </a:p>
            </p:txBody>
          </p:sp>
          <p:sp>
            <p:nvSpPr>
              <p:cNvPr id="266" name="TextBox 265"/>
              <p:cNvSpPr txBox="1"/>
              <p:nvPr/>
            </p:nvSpPr>
            <p:spPr>
              <a:xfrm>
                <a:off x="20871934" y="1904999"/>
                <a:ext cx="651290" cy="615553"/>
              </a:xfrm>
              <a:prstGeom prst="rect">
                <a:avLst/>
              </a:prstGeom>
              <a:noFill/>
            </p:spPr>
            <p:txBody>
              <a:bodyPr wrap="none" lIns="0" tIns="0" rIns="45720" bIns="0" rtlCol="0">
                <a:spAutoFit/>
              </a:bodyPr>
              <a:lstStyle/>
              <a:p>
                <a:pPr algn="r"/>
                <a:r>
                  <a:rPr lang="en-US" sz="3000" b="1" dirty="0">
                    <a:solidFill>
                      <a:schemeClr val="tx2">
                        <a:lumMod val="75000"/>
                      </a:schemeClr>
                    </a:solidFill>
                  </a:rPr>
                  <a:t>10</a:t>
                </a:r>
                <a:endParaRPr lang="en-US" sz="3000" b="1" dirty="0">
                  <a:solidFill>
                    <a:schemeClr val="tx2">
                      <a:lumMod val="75000"/>
                    </a:schemeClr>
                  </a:solidFill>
                </a:endParaRPr>
              </a:p>
            </p:txBody>
          </p:sp>
          <p:pic>
            <p:nvPicPr>
              <p:cNvPr id="267" name="Picture 2"/>
              <p:cNvPicPr>
                <a:picLocks noChangeAspect="1" noChangeArrowheads="1"/>
              </p:cNvPicPr>
              <p:nvPr/>
            </p:nvPicPr>
            <p:blipFill>
              <a:blip r:embed="rId10"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9629447" y="2012733"/>
                <a:ext cx="958499" cy="8515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30" name="Group 229"/>
            <p:cNvGrpSpPr/>
            <p:nvPr/>
          </p:nvGrpSpPr>
          <p:grpSpPr>
            <a:xfrm>
              <a:off x="2505611" y="1904999"/>
              <a:ext cx="2022972" cy="2011680"/>
              <a:chOff x="2505611" y="1904999"/>
              <a:chExt cx="2022972" cy="2011680"/>
            </a:xfrm>
          </p:grpSpPr>
          <p:sp>
            <p:nvSpPr>
              <p:cNvPr id="262" name="Rectangle 261"/>
              <p:cNvSpPr/>
              <p:nvPr/>
            </p:nvSpPr>
            <p:spPr bwMode="auto">
              <a:xfrm>
                <a:off x="2505611"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Security &amp; Compliance</a:t>
                </a:r>
                <a:endParaRPr lang="en-US" sz="1500" dirty="0">
                  <a:gradFill>
                    <a:gsLst>
                      <a:gs pos="0">
                        <a:srgbClr val="FFFFFF"/>
                      </a:gs>
                      <a:gs pos="100000">
                        <a:srgbClr val="FFFFFF"/>
                      </a:gs>
                    </a:gsLst>
                    <a:lin ang="5400000" scaled="0"/>
                  </a:gradFill>
                </a:endParaRPr>
              </a:p>
            </p:txBody>
          </p:sp>
          <p:sp>
            <p:nvSpPr>
              <p:cNvPr id="263" name="TextBox 262"/>
              <p:cNvSpPr txBox="1"/>
              <p:nvPr/>
            </p:nvSpPr>
            <p:spPr>
              <a:xfrm>
                <a:off x="4172168"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2</a:t>
                </a:r>
              </a:p>
            </p:txBody>
          </p:sp>
          <p:pic>
            <p:nvPicPr>
              <p:cNvPr id="264" name="Picture 263"/>
              <p:cNvPicPr>
                <a:picLocks noChangeAspect="1"/>
              </p:cNvPicPr>
              <p:nvPr>
                <p:custDataLst>
                  <p:tags r:id="rId2"/>
                </p:custDataLst>
              </p:nvPr>
            </p:nvPicPr>
            <p:blipFill>
              <a:blip r:embed="rId11">
                <a:extLst>
                  <a:ext uri="{28A0092B-C50C-407E-A947-70E740481C1C}">
                    <a14:useLocalDpi xmlns:a14="http://schemas.microsoft.com/office/drawing/2010/main" val="0"/>
                  </a:ext>
                </a:extLst>
              </a:blip>
              <a:stretch>
                <a:fillRect/>
              </a:stretch>
            </p:blipFill>
            <p:spPr>
              <a:xfrm>
                <a:off x="2655779" y="1983751"/>
                <a:ext cx="883759" cy="875588"/>
              </a:xfrm>
              <a:prstGeom prst="rect">
                <a:avLst/>
              </a:prstGeom>
              <a:effectLst/>
            </p:spPr>
          </p:pic>
        </p:grpSp>
        <p:grpSp>
          <p:nvGrpSpPr>
            <p:cNvPr id="231" name="Group 230"/>
            <p:cNvGrpSpPr/>
            <p:nvPr/>
          </p:nvGrpSpPr>
          <p:grpSpPr>
            <a:xfrm>
              <a:off x="381000" y="1904999"/>
              <a:ext cx="2026976" cy="2011680"/>
              <a:chOff x="381000" y="1904999"/>
              <a:chExt cx="2026976" cy="2011680"/>
            </a:xfrm>
          </p:grpSpPr>
          <p:sp>
            <p:nvSpPr>
              <p:cNvPr id="259" name="Rectangle 258"/>
              <p:cNvSpPr/>
              <p:nvPr/>
            </p:nvSpPr>
            <p:spPr bwMode="auto">
              <a:xfrm>
                <a:off x="381000"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Blazing-Fast Performance</a:t>
                </a:r>
              </a:p>
            </p:txBody>
          </p:sp>
          <p:sp>
            <p:nvSpPr>
              <p:cNvPr id="260" name="TextBox 259"/>
              <p:cNvSpPr txBox="1"/>
              <p:nvPr/>
            </p:nvSpPr>
            <p:spPr>
              <a:xfrm>
                <a:off x="2051561"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1</a:t>
                </a:r>
              </a:p>
            </p:txBody>
          </p:sp>
          <p:pic>
            <p:nvPicPr>
              <p:cNvPr id="261" name="Picture 260"/>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06299" y="2057549"/>
                <a:ext cx="880541" cy="880541"/>
              </a:xfrm>
              <a:prstGeom prst="rect">
                <a:avLst/>
              </a:prstGeom>
            </p:spPr>
          </p:pic>
        </p:grpSp>
        <p:grpSp>
          <p:nvGrpSpPr>
            <p:cNvPr id="232" name="Group 231"/>
            <p:cNvGrpSpPr/>
            <p:nvPr/>
          </p:nvGrpSpPr>
          <p:grpSpPr>
            <a:xfrm>
              <a:off x="8879444" y="1904999"/>
              <a:ext cx="2012580" cy="2011680"/>
              <a:chOff x="8879444" y="1904999"/>
              <a:chExt cx="2012580" cy="2011680"/>
            </a:xfrm>
          </p:grpSpPr>
          <p:sp>
            <p:nvSpPr>
              <p:cNvPr id="252" name="Rectangle 251"/>
              <p:cNvSpPr/>
              <p:nvPr/>
            </p:nvSpPr>
            <p:spPr bwMode="auto">
              <a:xfrm>
                <a:off x="8879444"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Scale on Demand</a:t>
                </a:r>
                <a:endParaRPr lang="en-US" sz="1500" dirty="0">
                  <a:gradFill>
                    <a:gsLst>
                      <a:gs pos="0">
                        <a:srgbClr val="FFFFFF"/>
                      </a:gs>
                      <a:gs pos="100000">
                        <a:srgbClr val="FFFFFF"/>
                      </a:gs>
                    </a:gsLst>
                    <a:lin ang="5400000" scaled="0"/>
                  </a:gradFill>
                </a:endParaRPr>
              </a:p>
            </p:txBody>
          </p:sp>
          <p:sp>
            <p:nvSpPr>
              <p:cNvPr id="253" name="TextBox 252"/>
              <p:cNvSpPr txBox="1"/>
              <p:nvPr/>
            </p:nvSpPr>
            <p:spPr>
              <a:xfrm>
                <a:off x="10535609"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5</a:t>
                </a:r>
              </a:p>
            </p:txBody>
          </p:sp>
          <p:grpSp>
            <p:nvGrpSpPr>
              <p:cNvPr id="254" name="Group 253"/>
              <p:cNvGrpSpPr/>
              <p:nvPr/>
            </p:nvGrpSpPr>
            <p:grpSpPr>
              <a:xfrm>
                <a:off x="9098012" y="2146879"/>
                <a:ext cx="958800" cy="671282"/>
                <a:chOff x="7792432" y="3461097"/>
                <a:chExt cx="568902" cy="299861"/>
              </a:xfrm>
            </p:grpSpPr>
            <p:sp>
              <p:nvSpPr>
                <p:cNvPr id="255" name="Freeform 8"/>
                <p:cNvSpPr>
                  <a:spLocks/>
                </p:cNvSpPr>
                <p:nvPr/>
              </p:nvSpPr>
              <p:spPr bwMode="auto">
                <a:xfrm>
                  <a:off x="8055009" y="3461097"/>
                  <a:ext cx="306325" cy="299861"/>
                </a:xfrm>
                <a:custGeom>
                  <a:avLst/>
                  <a:gdLst>
                    <a:gd name="T0" fmla="*/ 100 w 100"/>
                    <a:gd name="T1" fmla="*/ 0 h 98"/>
                    <a:gd name="T2" fmla="*/ 16 w 100"/>
                    <a:gd name="T3" fmla="*/ 13 h 98"/>
                    <a:gd name="T4" fmla="*/ 41 w 100"/>
                    <a:gd name="T5" fmla="*/ 39 h 98"/>
                    <a:gd name="T6" fmla="*/ 41 w 100"/>
                    <a:gd name="T7" fmla="*/ 39 h 98"/>
                    <a:gd name="T8" fmla="*/ 6 w 100"/>
                    <a:gd name="T9" fmla="*/ 75 h 98"/>
                    <a:gd name="T10" fmla="*/ 6 w 100"/>
                    <a:gd name="T11" fmla="*/ 94 h 98"/>
                    <a:gd name="T12" fmla="*/ 16 w 100"/>
                    <a:gd name="T13" fmla="*/ 98 h 98"/>
                    <a:gd name="T14" fmla="*/ 25 w 100"/>
                    <a:gd name="T15" fmla="*/ 94 h 98"/>
                    <a:gd name="T16" fmla="*/ 61 w 100"/>
                    <a:gd name="T17" fmla="*/ 59 h 98"/>
                    <a:gd name="T18" fmla="*/ 61 w 100"/>
                    <a:gd name="T19" fmla="*/ 59 h 98"/>
                    <a:gd name="T20" fmla="*/ 87 w 100"/>
                    <a:gd name="T21" fmla="*/ 84 h 98"/>
                    <a:gd name="T22" fmla="*/ 100 w 100"/>
                    <a:gd name="T23"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98">
                      <a:moveTo>
                        <a:pt x="100" y="0"/>
                      </a:moveTo>
                      <a:cubicBezTo>
                        <a:pt x="16" y="13"/>
                        <a:pt x="16" y="13"/>
                        <a:pt x="16" y="13"/>
                      </a:cubicBezTo>
                      <a:cubicBezTo>
                        <a:pt x="41" y="39"/>
                        <a:pt x="41" y="39"/>
                        <a:pt x="41" y="39"/>
                      </a:cubicBezTo>
                      <a:cubicBezTo>
                        <a:pt x="41" y="39"/>
                        <a:pt x="41" y="39"/>
                        <a:pt x="41" y="39"/>
                      </a:cubicBezTo>
                      <a:cubicBezTo>
                        <a:pt x="6" y="75"/>
                        <a:pt x="6" y="75"/>
                        <a:pt x="6" y="75"/>
                      </a:cubicBezTo>
                      <a:cubicBezTo>
                        <a:pt x="0" y="80"/>
                        <a:pt x="0" y="89"/>
                        <a:pt x="6" y="94"/>
                      </a:cubicBezTo>
                      <a:cubicBezTo>
                        <a:pt x="8" y="97"/>
                        <a:pt x="12" y="98"/>
                        <a:pt x="16" y="98"/>
                      </a:cubicBezTo>
                      <a:cubicBezTo>
                        <a:pt x="19" y="98"/>
                        <a:pt x="23" y="97"/>
                        <a:pt x="25" y="94"/>
                      </a:cubicBezTo>
                      <a:cubicBezTo>
                        <a:pt x="61" y="59"/>
                        <a:pt x="61" y="59"/>
                        <a:pt x="61" y="59"/>
                      </a:cubicBezTo>
                      <a:cubicBezTo>
                        <a:pt x="61" y="59"/>
                        <a:pt x="61" y="59"/>
                        <a:pt x="61" y="59"/>
                      </a:cubicBezTo>
                      <a:cubicBezTo>
                        <a:pt x="87" y="84"/>
                        <a:pt x="87" y="84"/>
                        <a:pt x="87" y="84"/>
                      </a:cubicBezTo>
                      <a:lnTo>
                        <a:pt x="10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Rectangle 9"/>
                <p:cNvSpPr>
                  <a:spLocks noChangeArrowheads="1"/>
                </p:cNvSpPr>
                <p:nvPr/>
              </p:nvSpPr>
              <p:spPr bwMode="auto">
                <a:xfrm>
                  <a:off x="7891463" y="3675653"/>
                  <a:ext cx="212661"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Rectangle 9"/>
                <p:cNvSpPr>
                  <a:spLocks noChangeArrowheads="1"/>
                </p:cNvSpPr>
                <p:nvPr/>
              </p:nvSpPr>
              <p:spPr bwMode="auto">
                <a:xfrm>
                  <a:off x="7792432" y="3675653"/>
                  <a:ext cx="27432"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Rectangle 9"/>
                <p:cNvSpPr>
                  <a:spLocks noChangeArrowheads="1"/>
                </p:cNvSpPr>
                <p:nvPr/>
              </p:nvSpPr>
              <p:spPr bwMode="auto">
                <a:xfrm>
                  <a:off x="7832804" y="3675653"/>
                  <a:ext cx="45719"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33" name="Group 232"/>
            <p:cNvGrpSpPr/>
            <p:nvPr/>
          </p:nvGrpSpPr>
          <p:grpSpPr>
            <a:xfrm>
              <a:off x="6754833" y="1904999"/>
              <a:ext cx="2022972" cy="2011680"/>
              <a:chOff x="6754833" y="1904999"/>
              <a:chExt cx="2022972" cy="2011680"/>
            </a:xfrm>
          </p:grpSpPr>
          <p:sp>
            <p:nvSpPr>
              <p:cNvPr id="246" name="Rectangle 245"/>
              <p:cNvSpPr/>
              <p:nvPr/>
            </p:nvSpPr>
            <p:spPr bwMode="auto">
              <a:xfrm>
                <a:off x="6754833"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Flexibility &amp; Choice</a:t>
                </a:r>
                <a:endParaRPr lang="en-US" sz="1500" dirty="0">
                  <a:gradFill>
                    <a:gsLst>
                      <a:gs pos="0">
                        <a:srgbClr val="FFFFFF"/>
                      </a:gs>
                      <a:gs pos="100000">
                        <a:srgbClr val="FFFFFF"/>
                      </a:gs>
                    </a:gsLst>
                    <a:lin ang="5400000" scaled="0"/>
                  </a:gradFill>
                </a:endParaRPr>
              </a:p>
            </p:txBody>
          </p:sp>
          <p:sp>
            <p:nvSpPr>
              <p:cNvPr id="247" name="TextBox 246"/>
              <p:cNvSpPr txBox="1"/>
              <p:nvPr/>
            </p:nvSpPr>
            <p:spPr>
              <a:xfrm>
                <a:off x="8421390"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4</a:t>
                </a:r>
              </a:p>
            </p:txBody>
          </p:sp>
          <p:grpSp>
            <p:nvGrpSpPr>
              <p:cNvPr id="248" name="Group 247"/>
              <p:cNvGrpSpPr/>
              <p:nvPr>
                <p:custDataLst>
                  <p:tags r:id="rId1"/>
                </p:custDataLst>
              </p:nvPr>
            </p:nvGrpSpPr>
            <p:grpSpPr>
              <a:xfrm>
                <a:off x="6856412" y="1967341"/>
                <a:ext cx="1105890" cy="850820"/>
                <a:chOff x="3127606" y="1031618"/>
                <a:chExt cx="1905261" cy="1465821"/>
              </a:xfrm>
            </p:grpSpPr>
            <p:pic>
              <p:nvPicPr>
                <p:cNvPr id="249" name="Picture 6" descr="\\MAGNUM\Projects\Microsoft\Cloud Power FY12\Design\ICONS_PNG\Cloud.png"/>
                <p:cNvPicPr>
                  <a:picLocks noChangeAspect="1" noChangeArrowheads="1"/>
                </p:cNvPicPr>
                <p:nvPr/>
              </p:nvPicPr>
              <p:blipFill rotWithShape="1">
                <a:blip r:embed="rId13" cstate="print">
                  <a:extLst>
                    <a:ext uri="{BEBA8EAE-BF5A-486C-A8C5-ECC9F3942E4B}">
                      <a14:imgProps xmlns:a14="http://schemas.microsoft.com/office/drawing/2010/main">
                        <a14:imgLayer r:embed="rId14">
                          <a14:imgEffect>
                            <a14:brightnessContrast bright="100000"/>
                          </a14:imgEffect>
                        </a14:imgLayer>
                      </a14:imgProps>
                    </a:ext>
                  </a:extLst>
                </a:blip>
                <a:srcRect t="15452" b="16319"/>
                <a:stretch/>
              </p:blipFill>
              <p:spPr bwMode="auto">
                <a:xfrm>
                  <a:off x="3423223" y="1031618"/>
                  <a:ext cx="1609644" cy="1098248"/>
                </a:xfrm>
                <a:prstGeom prst="rect">
                  <a:avLst/>
                </a:prstGeom>
                <a:noFill/>
              </p:spPr>
            </p:pic>
            <p:pic>
              <p:nvPicPr>
                <p:cNvPr id="250" name="Picture 2" descr="\\MAGNUM\Projects\Microsoft\Cloud Power FY12\Design\Icons\PNGs\Server_2.png"/>
                <p:cNvPicPr>
                  <a:picLocks noChangeAspect="1" noChangeArrowheads="1"/>
                </p:cNvPicPr>
                <p:nvPr/>
              </p:nvPicPr>
              <p:blipFill rotWithShape="1">
                <a:blip r:embed="rId15" cstate="print">
                  <a:lum bright="100000"/>
                  <a:extLst>
                    <a:ext uri="{BEBA8EAE-BF5A-486C-A8C5-ECC9F3942E4B}">
                      <a14:imgProps xmlns:a14="http://schemas.microsoft.com/office/drawing/2010/main">
                        <a14:imgLayer r:embed="rId16">
                          <a14:imgEffect>
                            <a14:colorTemperature colorTemp="1500"/>
                          </a14:imgEffect>
                        </a14:imgLayer>
                      </a14:imgProps>
                    </a:ext>
                  </a:extLst>
                </a:blip>
                <a:srcRect l="27619" t="9540" r="26586" b="9151"/>
                <a:stretch/>
              </p:blipFill>
              <p:spPr bwMode="auto">
                <a:xfrm>
                  <a:off x="3537558" y="1444626"/>
                  <a:ext cx="589660" cy="916080"/>
                </a:xfrm>
                <a:prstGeom prst="rect">
                  <a:avLst/>
                </a:prstGeom>
                <a:noFill/>
                <a:effectLst>
                  <a:outerShdw blurRad="50800" dist="12700" sx="103000" sy="103000" algn="ctr" rotWithShape="0">
                    <a:prstClr val="black">
                      <a:alpha val="40000"/>
                    </a:prstClr>
                  </a:outerShdw>
                </a:effectLst>
              </p:spPr>
            </p:pic>
            <p:pic>
              <p:nvPicPr>
                <p:cNvPr id="251" name="Picture 2" descr="\\MAGNUM\Projects\Microsoft\Cloud Power FY12\Design\Icons\PNGs\Server_2.png"/>
                <p:cNvPicPr>
                  <a:picLocks noChangeAspect="1" noChangeArrowheads="1"/>
                </p:cNvPicPr>
                <p:nvPr/>
              </p:nvPicPr>
              <p:blipFill rotWithShape="1">
                <a:blip r:embed="rId15" cstate="print">
                  <a:lum bright="100000"/>
                  <a:extLst>
                    <a:ext uri="{BEBA8EAE-BF5A-486C-A8C5-ECC9F3942E4B}">
                      <a14:imgProps xmlns:a14="http://schemas.microsoft.com/office/drawing/2010/main">
                        <a14:imgLayer r:embed="rId16">
                          <a14:imgEffect>
                            <a14:colorTemperature colorTemp="1500"/>
                          </a14:imgEffect>
                        </a14:imgLayer>
                      </a14:imgProps>
                    </a:ext>
                  </a:extLst>
                </a:blip>
                <a:srcRect l="27619" t="9540" r="26586" b="9151"/>
                <a:stretch/>
              </p:blipFill>
              <p:spPr bwMode="auto">
                <a:xfrm>
                  <a:off x="3127606" y="1581359"/>
                  <a:ext cx="589659" cy="916080"/>
                </a:xfrm>
                <a:prstGeom prst="rect">
                  <a:avLst/>
                </a:prstGeom>
                <a:noFill/>
                <a:effectLst>
                  <a:outerShdw blurRad="50800" dist="12700" sx="103000" sy="103000" algn="ctr" rotWithShape="0">
                    <a:prstClr val="black">
                      <a:alpha val="40000"/>
                    </a:prstClr>
                  </a:outerShdw>
                </a:effectLst>
              </p:spPr>
            </p:pic>
          </p:grpSp>
        </p:grpSp>
        <p:grpSp>
          <p:nvGrpSpPr>
            <p:cNvPr id="234" name="Group 233"/>
            <p:cNvGrpSpPr/>
            <p:nvPr/>
          </p:nvGrpSpPr>
          <p:grpSpPr>
            <a:xfrm>
              <a:off x="11004055" y="1904999"/>
              <a:ext cx="2012580" cy="2011680"/>
              <a:chOff x="11004055" y="1904999"/>
              <a:chExt cx="2012580" cy="2011680"/>
            </a:xfrm>
          </p:grpSpPr>
          <p:sp>
            <p:nvSpPr>
              <p:cNvPr id="243" name="Rectangle 242"/>
              <p:cNvSpPr/>
              <p:nvPr/>
            </p:nvSpPr>
            <p:spPr bwMode="auto">
              <a:xfrm>
                <a:off x="11004055"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Fast Time to Solution</a:t>
                </a:r>
                <a:endParaRPr lang="en-US" sz="1500" dirty="0">
                  <a:gradFill>
                    <a:gsLst>
                      <a:gs pos="0">
                        <a:srgbClr val="FFFFFF"/>
                      </a:gs>
                      <a:gs pos="100000">
                        <a:srgbClr val="FFFFFF"/>
                      </a:gs>
                    </a:gsLst>
                    <a:lin ang="5400000" scaled="0"/>
                  </a:gradFill>
                </a:endParaRPr>
              </a:p>
            </p:txBody>
          </p:sp>
          <p:sp>
            <p:nvSpPr>
              <p:cNvPr id="244" name="TextBox 243"/>
              <p:cNvSpPr txBox="1"/>
              <p:nvPr/>
            </p:nvSpPr>
            <p:spPr>
              <a:xfrm>
                <a:off x="12660220"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6</a:t>
                </a:r>
              </a:p>
            </p:txBody>
          </p:sp>
          <p:pic>
            <p:nvPicPr>
              <p:cNvPr id="245" name="Picture 3" descr="\\SFP\Work\White_Whale\3-22036_Kuleen_Bharadwaj\PPT\3_PlatformVision_Kuleen\SFP_Art\Plane Slide\mon_notie.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1139211" y="1983751"/>
                <a:ext cx="746401" cy="8755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35" name="Group 234"/>
            <p:cNvGrpSpPr/>
            <p:nvPr/>
          </p:nvGrpSpPr>
          <p:grpSpPr>
            <a:xfrm>
              <a:off x="13128666" y="1904999"/>
              <a:ext cx="2017182" cy="2011680"/>
              <a:chOff x="13128666" y="1904999"/>
              <a:chExt cx="2017182" cy="2011680"/>
            </a:xfrm>
          </p:grpSpPr>
          <p:sp>
            <p:nvSpPr>
              <p:cNvPr id="240" name="Rectangle 239"/>
              <p:cNvSpPr/>
              <p:nvPr/>
            </p:nvSpPr>
            <p:spPr bwMode="auto">
              <a:xfrm>
                <a:off x="13128666"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Extend Any Data, Anywhere</a:t>
                </a:r>
                <a:endParaRPr lang="en-US" sz="1500" dirty="0">
                  <a:gradFill>
                    <a:gsLst>
                      <a:gs pos="0">
                        <a:srgbClr val="FFFFFF"/>
                      </a:gs>
                      <a:gs pos="100000">
                        <a:srgbClr val="FFFFFF"/>
                      </a:gs>
                    </a:gsLst>
                    <a:lin ang="5400000" scaled="0"/>
                  </a:gradFill>
                </a:endParaRPr>
              </a:p>
            </p:txBody>
          </p:sp>
          <p:sp>
            <p:nvSpPr>
              <p:cNvPr id="241" name="TextBox 240"/>
              <p:cNvSpPr txBox="1"/>
              <p:nvPr/>
            </p:nvSpPr>
            <p:spPr>
              <a:xfrm>
                <a:off x="14789433"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7</a:t>
                </a:r>
              </a:p>
            </p:txBody>
          </p:sp>
          <p:pic>
            <p:nvPicPr>
              <p:cNvPr id="242" name="Picture 7" descr="\\MAGNUM\Projects\Microsoft\Cloud Power FY12\Design\ICONS_PNG\Physical_Virtual.png"/>
              <p:cNvPicPr>
                <a:picLocks noChangeAspect="1" noChangeArrowheads="1"/>
              </p:cNvPicPr>
              <p:nvPr/>
            </p:nvPicPr>
            <p:blipFill rotWithShape="1">
              <a:blip r:embed="rId18" cstate="print">
                <a:extLst>
                  <a:ext uri="{BEBA8EAE-BF5A-486C-A8C5-ECC9F3942E4B}">
                    <a14:imgProps xmlns:a14="http://schemas.microsoft.com/office/drawing/2010/main">
                      <a14:imgLayer r:embed="rId19">
                        <a14:imgEffect>
                          <a14:brightnessContrast bright="100000"/>
                        </a14:imgEffect>
                      </a14:imgLayer>
                    </a14:imgProps>
                  </a:ext>
                </a:extLst>
              </a:blip>
              <a:srcRect l="7856" t="39072" r="7907" b="5885"/>
              <a:stretch/>
            </p:blipFill>
            <p:spPr bwMode="auto">
              <a:xfrm>
                <a:off x="13200761" y="1984614"/>
                <a:ext cx="1275651" cy="833547"/>
              </a:xfrm>
              <a:prstGeom prst="rect">
                <a:avLst/>
              </a:prstGeom>
              <a:noFill/>
            </p:spPr>
          </p:pic>
        </p:grpSp>
        <p:grpSp>
          <p:nvGrpSpPr>
            <p:cNvPr id="236" name="Group 235"/>
            <p:cNvGrpSpPr/>
            <p:nvPr/>
          </p:nvGrpSpPr>
          <p:grpSpPr>
            <a:xfrm>
              <a:off x="15253277" y="1904999"/>
              <a:ext cx="2011680" cy="2011680"/>
              <a:chOff x="15253277" y="1904999"/>
              <a:chExt cx="2011680" cy="2011680"/>
            </a:xfrm>
          </p:grpSpPr>
          <p:sp>
            <p:nvSpPr>
              <p:cNvPr id="237" name="Rectangle 236"/>
              <p:cNvSpPr/>
              <p:nvPr/>
            </p:nvSpPr>
            <p:spPr bwMode="auto">
              <a:xfrm>
                <a:off x="15253277"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New Scenarios, Unlocked</a:t>
                </a:r>
                <a:endParaRPr lang="en-US" sz="1500" dirty="0">
                  <a:gradFill>
                    <a:gsLst>
                      <a:gs pos="0">
                        <a:srgbClr val="FFFFFF"/>
                      </a:gs>
                      <a:gs pos="100000">
                        <a:srgbClr val="FFFFFF"/>
                      </a:gs>
                    </a:gsLst>
                    <a:lin ang="5400000" scaled="0"/>
                  </a:gradFill>
                </a:endParaRPr>
              </a:p>
            </p:txBody>
          </p:sp>
          <p:sp>
            <p:nvSpPr>
              <p:cNvPr id="238" name="TextBox 237"/>
              <p:cNvSpPr txBox="1"/>
              <p:nvPr/>
            </p:nvSpPr>
            <p:spPr>
              <a:xfrm>
                <a:off x="16892363" y="1904999"/>
                <a:ext cx="356415" cy="615553"/>
              </a:xfrm>
              <a:prstGeom prst="rect">
                <a:avLst/>
              </a:prstGeom>
              <a:noFill/>
            </p:spPr>
            <p:txBody>
              <a:bodyPr wrap="none" lIns="0" tIns="0" rIns="45720" bIns="0" rtlCol="0">
                <a:spAutoFit/>
              </a:bodyPr>
              <a:lstStyle/>
              <a:p>
                <a:pPr algn="r"/>
                <a:r>
                  <a:rPr lang="en-US" sz="3000" b="1" dirty="0">
                    <a:solidFill>
                      <a:schemeClr val="tx2">
                        <a:lumMod val="75000"/>
                      </a:schemeClr>
                    </a:solidFill>
                  </a:rPr>
                  <a:t>8</a:t>
                </a:r>
                <a:endParaRPr lang="en-US" sz="3000" b="1" dirty="0">
                  <a:solidFill>
                    <a:schemeClr val="tx2">
                      <a:lumMod val="75000"/>
                    </a:schemeClr>
                  </a:solidFill>
                </a:endParaRPr>
              </a:p>
            </p:txBody>
          </p:sp>
          <p:pic>
            <p:nvPicPr>
              <p:cNvPr id="239" name="Picture 2"/>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5426772" y="2043731"/>
                <a:ext cx="640905" cy="775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80" name="Rectangle 79"/>
          <p:cNvSpPr/>
          <p:nvPr/>
        </p:nvSpPr>
        <p:spPr bwMode="auto">
          <a:xfrm>
            <a:off x="285824" y="3552453"/>
            <a:ext cx="7870324" cy="467390"/>
          </a:xfrm>
          <a:prstGeom prst="rect">
            <a:avLst/>
          </a:prstGeom>
          <a:solidFill>
            <a:srgbClr val="F6AE1E"/>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6" tIns="34293" rIns="68586" bIns="34293" numCol="1" spcCol="0" rtlCol="0" fromWordArt="0" anchor="ctr" anchorCtr="0" forceAA="0" compatLnSpc="1">
            <a:prstTxWarp prst="textNoShape">
              <a:avLst/>
            </a:prstTxWarp>
            <a:noAutofit/>
          </a:bodyPr>
          <a:lstStyle/>
          <a:p>
            <a:pPr defTabSz="685666" fontAlgn="base">
              <a:spcBef>
                <a:spcPct val="0"/>
              </a:spcBef>
              <a:spcAft>
                <a:spcPct val="0"/>
              </a:spcAft>
            </a:pPr>
            <a:r>
              <a:rPr lang="en-US" sz="2100" dirty="0">
                <a:gradFill>
                  <a:gsLst>
                    <a:gs pos="0">
                      <a:srgbClr val="FFFFFF"/>
                    </a:gs>
                    <a:gs pos="100000">
                      <a:srgbClr val="FFFFFF"/>
                    </a:gs>
                  </a:gsLst>
                  <a:lin ang="5400000" scaled="0"/>
                </a:gradFill>
              </a:rPr>
              <a:t>Data Quality Services </a:t>
            </a:r>
          </a:p>
        </p:txBody>
      </p:sp>
      <p:sp>
        <p:nvSpPr>
          <p:cNvPr id="81" name="Rectangle 80"/>
          <p:cNvSpPr/>
          <p:nvPr/>
        </p:nvSpPr>
        <p:spPr bwMode="auto">
          <a:xfrm>
            <a:off x="285824" y="3017520"/>
            <a:ext cx="7870324" cy="453683"/>
          </a:xfrm>
          <a:prstGeom prst="rect">
            <a:avLst/>
          </a:prstGeom>
          <a:solidFill>
            <a:srgbClr val="F6AE1E"/>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6" tIns="34293" rIns="68586" bIns="34293" numCol="1" spcCol="0" rtlCol="0" fromWordArt="0" anchor="ctr" anchorCtr="0" forceAA="0" compatLnSpc="1">
            <a:prstTxWarp prst="textNoShape">
              <a:avLst/>
            </a:prstTxWarp>
            <a:noAutofit/>
          </a:bodyPr>
          <a:lstStyle/>
          <a:p>
            <a:pPr defTabSz="685666" fontAlgn="base">
              <a:spcBef>
                <a:spcPct val="0"/>
              </a:spcBef>
              <a:spcAft>
                <a:spcPct val="0"/>
              </a:spcAft>
            </a:pPr>
            <a:r>
              <a:rPr lang="en-US" sz="2100" dirty="0">
                <a:gradFill>
                  <a:gsLst>
                    <a:gs pos="0">
                      <a:srgbClr val="FFFFFF"/>
                    </a:gs>
                    <a:gs pos="100000">
                      <a:srgbClr val="FFFFFF"/>
                    </a:gs>
                  </a:gsLst>
                  <a:lin ang="5400000" scaled="0"/>
                </a:gradFill>
              </a:rPr>
              <a:t>BI Semantic </a:t>
            </a:r>
            <a:r>
              <a:rPr lang="en-US" sz="2100" dirty="0">
                <a:gradFill>
                  <a:gsLst>
                    <a:gs pos="0">
                      <a:srgbClr val="FFFFFF"/>
                    </a:gs>
                    <a:gs pos="100000">
                      <a:srgbClr val="FFFFFF"/>
                    </a:gs>
                  </a:gsLst>
                  <a:lin ang="5400000" scaled="0"/>
                </a:gradFill>
              </a:rPr>
              <a:t>Model</a:t>
            </a:r>
            <a:endParaRPr lang="en-US" sz="2100" dirty="0">
              <a:gradFill>
                <a:gsLst>
                  <a:gs pos="0">
                    <a:srgbClr val="FFFFFF"/>
                  </a:gs>
                  <a:gs pos="100000">
                    <a:srgbClr val="FFFFFF"/>
                  </a:gs>
                </a:gsLst>
                <a:lin ang="5400000" scaled="0"/>
              </a:gradFill>
            </a:endParaRPr>
          </a:p>
        </p:txBody>
      </p:sp>
      <p:sp>
        <p:nvSpPr>
          <p:cNvPr id="82" name="Rectangle 81"/>
          <p:cNvSpPr/>
          <p:nvPr/>
        </p:nvSpPr>
        <p:spPr bwMode="auto">
          <a:xfrm>
            <a:off x="285824" y="4104610"/>
            <a:ext cx="7870324" cy="467390"/>
          </a:xfrm>
          <a:prstGeom prst="rect">
            <a:avLst/>
          </a:prstGeom>
          <a:solidFill>
            <a:srgbClr val="F6AE1E"/>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6" tIns="34293" rIns="68586" bIns="34293" numCol="1" spcCol="0" rtlCol="0" fromWordArt="0" anchor="ctr" anchorCtr="0" forceAA="0" compatLnSpc="1">
            <a:prstTxWarp prst="textNoShape">
              <a:avLst/>
            </a:prstTxWarp>
            <a:noAutofit/>
          </a:bodyPr>
          <a:lstStyle/>
          <a:p>
            <a:pPr defTabSz="685666" fontAlgn="base">
              <a:spcBef>
                <a:spcPct val="0"/>
              </a:spcBef>
              <a:spcAft>
                <a:spcPct val="0"/>
              </a:spcAft>
            </a:pPr>
            <a:r>
              <a:rPr lang="en-US" sz="2100" dirty="0">
                <a:gradFill>
                  <a:gsLst>
                    <a:gs pos="0">
                      <a:srgbClr val="FFFFFF"/>
                    </a:gs>
                    <a:gs pos="100000">
                      <a:srgbClr val="FFFFFF"/>
                    </a:gs>
                  </a:gsLst>
                  <a:lin ang="5400000" scaled="0"/>
                </a:gradFill>
              </a:rPr>
              <a:t>Master Data Services</a:t>
            </a:r>
          </a:p>
        </p:txBody>
      </p:sp>
      <p:grpSp>
        <p:nvGrpSpPr>
          <p:cNvPr id="83" name="Group 82"/>
          <p:cNvGrpSpPr/>
          <p:nvPr/>
        </p:nvGrpSpPr>
        <p:grpSpPr>
          <a:xfrm>
            <a:off x="290773" y="1428749"/>
            <a:ext cx="1509153" cy="1508760"/>
            <a:chOff x="17377888" y="1904999"/>
            <a:chExt cx="2011680" cy="2011680"/>
          </a:xfrm>
        </p:grpSpPr>
        <p:sp>
          <p:nvSpPr>
            <p:cNvPr id="84" name="Rectangle 83"/>
            <p:cNvSpPr/>
            <p:nvPr/>
          </p:nvSpPr>
          <p:spPr bwMode="auto">
            <a:xfrm>
              <a:off x="17377888" y="1904999"/>
              <a:ext cx="2011680" cy="2011680"/>
            </a:xfrm>
            <a:prstGeom prst="rect">
              <a:avLst/>
            </a:prstGeom>
            <a:solidFill>
              <a:schemeClr val="accent3"/>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Credible, Consistent Data</a:t>
              </a:r>
              <a:endParaRPr lang="en-US" sz="1500" dirty="0">
                <a:gradFill>
                  <a:gsLst>
                    <a:gs pos="0">
                      <a:srgbClr val="FFFFFF"/>
                    </a:gs>
                    <a:gs pos="100000">
                      <a:srgbClr val="FFFFFF"/>
                    </a:gs>
                  </a:gsLst>
                  <a:lin ang="5400000" scaled="0"/>
                </a:gradFill>
              </a:endParaRPr>
            </a:p>
          </p:txBody>
        </p:sp>
        <p:sp>
          <p:nvSpPr>
            <p:cNvPr id="85" name="TextBox 84"/>
            <p:cNvSpPr txBox="1"/>
            <p:nvPr/>
          </p:nvSpPr>
          <p:spPr>
            <a:xfrm>
              <a:off x="18738278" y="1904999"/>
              <a:ext cx="651290" cy="615553"/>
            </a:xfrm>
            <a:prstGeom prst="rect">
              <a:avLst/>
            </a:prstGeom>
            <a:noFill/>
          </p:spPr>
          <p:txBody>
            <a:bodyPr wrap="none" lIns="0" tIns="0" rIns="45720" bIns="0" rtlCol="0">
              <a:spAutoFit/>
            </a:bodyPr>
            <a:lstStyle/>
            <a:p>
              <a:pPr algn="r"/>
              <a:r>
                <a:rPr lang="en-US" sz="3000" b="1" dirty="0">
                  <a:solidFill>
                    <a:srgbClr val="FFC000"/>
                  </a:solidFill>
                </a:rPr>
                <a:t>10</a:t>
              </a:r>
              <a:endParaRPr lang="en-US" sz="3000" b="1" dirty="0">
                <a:solidFill>
                  <a:srgbClr val="FFC000"/>
                </a:solidFill>
              </a:endParaRPr>
            </a:p>
          </p:txBody>
        </p:sp>
        <p:pic>
          <p:nvPicPr>
            <p:cNvPr id="86" name="Picture 2"/>
            <p:cNvPicPr>
              <a:picLocks noChangeAspect="1" noChangeArrowheads="1"/>
            </p:cNvPicPr>
            <p:nvPr/>
          </p:nvPicPr>
          <p:blipFill>
            <a:blip r:embed="rId10"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7495791" y="2012733"/>
              <a:ext cx="958499" cy="8515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67"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68"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1"/>
              </a:rPr>
              <a:t>www.rapidbbs.cn</a:t>
            </a:r>
            <a:endParaRPr lang="zh-CN" altLang="en-US" sz="1200" b="0">
              <a:latin typeface="Arial" charset="0"/>
              <a:ea typeface="ＭＳ Ｐゴシック" pitchFamily="34" charset="-128"/>
            </a:endParaRPr>
          </a:p>
        </p:txBody>
      </p:sp>
      <p:pic>
        <p:nvPicPr>
          <p:cNvPr id="69" name="Picture 2">
            <a:hlinkClick r:id="rId21"/>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5230877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decel="100000" fill="hold" nodeType="withEffect">
                                  <p:stCondLst>
                                    <p:cond delay="0"/>
                                  </p:stCondLst>
                                  <p:childTnLst>
                                    <p:animMotion origin="layout" path="M -4.38322E-6 4.44444E-6 L -0.17441 4.44444E-6 " pathEditMode="relative" rAng="0" ptsTypes="AA">
                                      <p:cBhvr>
                                        <p:cTn id="6" dur="1000" fill="hold"/>
                                        <p:tgtEl>
                                          <p:spTgt spid="224"/>
                                        </p:tgtEl>
                                        <p:attrNameLst>
                                          <p:attrName>ppt_x</p:attrName>
                                          <p:attrName>ppt_y</p:attrName>
                                        </p:attrNameLst>
                                      </p:cBhvr>
                                      <p:rCtr x="-8727" y="0"/>
                                    </p:animMotion>
                                  </p:childTnLst>
                                </p:cTn>
                              </p:par>
                            </p:childTnLst>
                          </p:cTn>
                        </p:par>
                        <p:par>
                          <p:cTn id="7" fill="hold">
                            <p:stCondLst>
                              <p:cond delay="1000"/>
                            </p:stCondLst>
                            <p:childTnLst>
                              <p:par>
                                <p:cTn id="8" presetID="22" presetClass="entr" presetSubtype="4" fill="hold" nodeType="afterEffect">
                                  <p:stCondLst>
                                    <p:cond delay="0"/>
                                  </p:stCondLst>
                                  <p:childTnLst>
                                    <p:set>
                                      <p:cBhvr>
                                        <p:cTn id="9" dur="1" fill="hold">
                                          <p:stCondLst>
                                            <p:cond delay="0"/>
                                          </p:stCondLst>
                                        </p:cTn>
                                        <p:tgtEl>
                                          <p:spTgt spid="83"/>
                                        </p:tgtEl>
                                        <p:attrNameLst>
                                          <p:attrName>style.visibility</p:attrName>
                                        </p:attrNameLst>
                                      </p:cBhvr>
                                      <p:to>
                                        <p:strVal val="visible"/>
                                      </p:to>
                                    </p:set>
                                    <p:animEffect transition="in" filter="wipe(down)">
                                      <p:cBhvr>
                                        <p:cTn id="10" dur="500"/>
                                        <p:tgtEl>
                                          <p:spTgt spid="83"/>
                                        </p:tgtEl>
                                      </p:cBhvr>
                                    </p:animEffect>
                                  </p:childTnLst>
                                </p:cTn>
                              </p:par>
                              <p:par>
                                <p:cTn id="11" presetID="2" presetClass="entr" presetSubtype="2" decel="100000" fill="hold" grpId="0" nodeType="withEffect">
                                  <p:stCondLst>
                                    <p:cond delay="0"/>
                                  </p:stCondLst>
                                  <p:childTnLst>
                                    <p:set>
                                      <p:cBhvr>
                                        <p:cTn id="12" dur="1" fill="hold">
                                          <p:stCondLst>
                                            <p:cond delay="0"/>
                                          </p:stCondLst>
                                        </p:cTn>
                                        <p:tgtEl>
                                          <p:spTgt spid="81"/>
                                        </p:tgtEl>
                                        <p:attrNameLst>
                                          <p:attrName>style.visibility</p:attrName>
                                        </p:attrNameLst>
                                      </p:cBhvr>
                                      <p:to>
                                        <p:strVal val="visible"/>
                                      </p:to>
                                    </p:set>
                                    <p:anim calcmode="lin" valueType="num">
                                      <p:cBhvr additive="base">
                                        <p:cTn id="13" dur="1000" fill="hold"/>
                                        <p:tgtEl>
                                          <p:spTgt spid="81"/>
                                        </p:tgtEl>
                                        <p:attrNameLst>
                                          <p:attrName>ppt_x</p:attrName>
                                        </p:attrNameLst>
                                      </p:cBhvr>
                                      <p:tavLst>
                                        <p:tav tm="0">
                                          <p:val>
                                            <p:strVal val="1+#ppt_w/2"/>
                                          </p:val>
                                        </p:tav>
                                        <p:tav tm="100000">
                                          <p:val>
                                            <p:strVal val="#ppt_x"/>
                                          </p:val>
                                        </p:tav>
                                      </p:tavLst>
                                    </p:anim>
                                    <p:anim calcmode="lin" valueType="num">
                                      <p:cBhvr additive="base">
                                        <p:cTn id="14" dur="1000" fill="hold"/>
                                        <p:tgtEl>
                                          <p:spTgt spid="81"/>
                                        </p:tgtEl>
                                        <p:attrNameLst>
                                          <p:attrName>ppt_y</p:attrName>
                                        </p:attrNameLst>
                                      </p:cBhvr>
                                      <p:tavLst>
                                        <p:tav tm="0">
                                          <p:val>
                                            <p:strVal val="#ppt_y"/>
                                          </p:val>
                                        </p:tav>
                                        <p:tav tm="100000">
                                          <p:val>
                                            <p:strVal val="#ppt_y"/>
                                          </p:val>
                                        </p:tav>
                                      </p:tavLst>
                                    </p:anim>
                                  </p:childTnLst>
                                </p:cTn>
                              </p:par>
                              <p:par>
                                <p:cTn id="15" presetID="2" presetClass="entr" presetSubtype="2" decel="100000" fill="hold" grpId="0" nodeType="withEffect">
                                  <p:stCondLst>
                                    <p:cond delay="250"/>
                                  </p:stCondLst>
                                  <p:childTnLst>
                                    <p:set>
                                      <p:cBhvr>
                                        <p:cTn id="16" dur="1" fill="hold">
                                          <p:stCondLst>
                                            <p:cond delay="0"/>
                                          </p:stCondLst>
                                        </p:cTn>
                                        <p:tgtEl>
                                          <p:spTgt spid="80"/>
                                        </p:tgtEl>
                                        <p:attrNameLst>
                                          <p:attrName>style.visibility</p:attrName>
                                        </p:attrNameLst>
                                      </p:cBhvr>
                                      <p:to>
                                        <p:strVal val="visible"/>
                                      </p:to>
                                    </p:set>
                                    <p:anim calcmode="lin" valueType="num">
                                      <p:cBhvr additive="base">
                                        <p:cTn id="17" dur="1000" fill="hold"/>
                                        <p:tgtEl>
                                          <p:spTgt spid="80"/>
                                        </p:tgtEl>
                                        <p:attrNameLst>
                                          <p:attrName>ppt_x</p:attrName>
                                        </p:attrNameLst>
                                      </p:cBhvr>
                                      <p:tavLst>
                                        <p:tav tm="0">
                                          <p:val>
                                            <p:strVal val="1+#ppt_w/2"/>
                                          </p:val>
                                        </p:tav>
                                        <p:tav tm="100000">
                                          <p:val>
                                            <p:strVal val="#ppt_x"/>
                                          </p:val>
                                        </p:tav>
                                      </p:tavLst>
                                    </p:anim>
                                    <p:anim calcmode="lin" valueType="num">
                                      <p:cBhvr additive="base">
                                        <p:cTn id="18" dur="1000" fill="hold"/>
                                        <p:tgtEl>
                                          <p:spTgt spid="80"/>
                                        </p:tgtEl>
                                        <p:attrNameLst>
                                          <p:attrName>ppt_y</p:attrName>
                                        </p:attrNameLst>
                                      </p:cBhvr>
                                      <p:tavLst>
                                        <p:tav tm="0">
                                          <p:val>
                                            <p:strVal val="#ppt_y"/>
                                          </p:val>
                                        </p:tav>
                                        <p:tav tm="100000">
                                          <p:val>
                                            <p:strVal val="#ppt_y"/>
                                          </p:val>
                                        </p:tav>
                                      </p:tavLst>
                                    </p:anim>
                                  </p:childTnLst>
                                </p:cTn>
                              </p:par>
                              <p:par>
                                <p:cTn id="19" presetID="2" presetClass="entr" presetSubtype="2" decel="100000" fill="hold" grpId="0" nodeType="withEffect">
                                  <p:stCondLst>
                                    <p:cond delay="500"/>
                                  </p:stCondLst>
                                  <p:childTnLst>
                                    <p:set>
                                      <p:cBhvr>
                                        <p:cTn id="20" dur="1" fill="hold">
                                          <p:stCondLst>
                                            <p:cond delay="0"/>
                                          </p:stCondLst>
                                        </p:cTn>
                                        <p:tgtEl>
                                          <p:spTgt spid="82"/>
                                        </p:tgtEl>
                                        <p:attrNameLst>
                                          <p:attrName>style.visibility</p:attrName>
                                        </p:attrNameLst>
                                      </p:cBhvr>
                                      <p:to>
                                        <p:strVal val="visible"/>
                                      </p:to>
                                    </p:set>
                                    <p:anim calcmode="lin" valueType="num">
                                      <p:cBhvr additive="base">
                                        <p:cTn id="21" dur="1000" fill="hold"/>
                                        <p:tgtEl>
                                          <p:spTgt spid="82"/>
                                        </p:tgtEl>
                                        <p:attrNameLst>
                                          <p:attrName>ppt_x</p:attrName>
                                        </p:attrNameLst>
                                      </p:cBhvr>
                                      <p:tavLst>
                                        <p:tav tm="0">
                                          <p:val>
                                            <p:strVal val="1+#ppt_w/2"/>
                                          </p:val>
                                        </p:tav>
                                        <p:tav tm="100000">
                                          <p:val>
                                            <p:strVal val="#ppt_x"/>
                                          </p:val>
                                        </p:tav>
                                      </p:tavLst>
                                    </p:anim>
                                    <p:anim calcmode="lin" valueType="num">
                                      <p:cBhvr additive="base">
                                        <p:cTn id="22" dur="1000" fill="hold"/>
                                        <p:tgtEl>
                                          <p:spTgt spid="8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0" grpId="0" animBg="1"/>
      <p:bldP spid="81" grpId="0" animBg="1"/>
      <p:bldP spid="82" grpId="0" animBg="1"/>
    </p:bldLst>
  </p:timing>
</p:sld>
</file>

<file path=ppt/slides/slide5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Title 2"/>
          <p:cNvSpPr>
            <a:spLocks noGrp="1"/>
          </p:cNvSpPr>
          <p:nvPr>
            <p:ph type="title"/>
          </p:nvPr>
        </p:nvSpPr>
        <p:spPr>
          <a:xfrm>
            <a:off x="285825" y="171450"/>
            <a:ext cx="6280916" cy="457049"/>
          </a:xfrm>
        </p:spPr>
        <p:txBody>
          <a:bodyPr/>
          <a:lstStyle/>
          <a:p>
            <a:r>
              <a:rPr lang="en-US" dirty="0"/>
              <a:t>SQL Server 2012</a:t>
            </a:r>
          </a:p>
        </p:txBody>
      </p:sp>
      <p:pic>
        <p:nvPicPr>
          <p:cNvPr id="71" name="Picture 7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05641" y="4672464"/>
            <a:ext cx="1725220" cy="356737"/>
          </a:xfrm>
          <a:prstGeom prst="rect">
            <a:avLst/>
          </a:prstGeom>
        </p:spPr>
      </p:pic>
      <p:grpSp>
        <p:nvGrpSpPr>
          <p:cNvPr id="216" name="Group 215"/>
          <p:cNvGrpSpPr/>
          <p:nvPr/>
        </p:nvGrpSpPr>
        <p:grpSpPr>
          <a:xfrm>
            <a:off x="-14062555" y="1428749"/>
            <a:ext cx="19040378" cy="1508760"/>
            <a:chOff x="381000" y="1904999"/>
            <a:chExt cx="25380560" cy="2011680"/>
          </a:xfrm>
        </p:grpSpPr>
        <p:grpSp>
          <p:nvGrpSpPr>
            <p:cNvPr id="217" name="Group 216"/>
            <p:cNvGrpSpPr/>
            <p:nvPr/>
          </p:nvGrpSpPr>
          <p:grpSpPr>
            <a:xfrm>
              <a:off x="17376047" y="1904999"/>
              <a:ext cx="2011680" cy="2011680"/>
              <a:chOff x="17376047" y="1904999"/>
              <a:chExt cx="2011680" cy="2011680"/>
            </a:xfrm>
          </p:grpSpPr>
          <p:sp>
            <p:nvSpPr>
              <p:cNvPr id="269" name="Rectangle 268"/>
              <p:cNvSpPr/>
              <p:nvPr/>
            </p:nvSpPr>
            <p:spPr bwMode="auto">
              <a:xfrm>
                <a:off x="17376047"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Big Data &amp; Data </a:t>
                </a:r>
                <a:r>
                  <a:rPr lang="en-US" sz="1500" dirty="0">
                    <a:gradFill>
                      <a:gsLst>
                        <a:gs pos="0">
                          <a:srgbClr val="FFFFFF"/>
                        </a:gs>
                        <a:gs pos="100000">
                          <a:srgbClr val="FFFFFF"/>
                        </a:gs>
                      </a:gsLst>
                      <a:lin ang="5400000" scaled="0"/>
                    </a:gradFill>
                  </a:rPr>
                  <a:t>Warehousing</a:t>
                </a:r>
              </a:p>
            </p:txBody>
          </p:sp>
          <p:pic>
            <p:nvPicPr>
              <p:cNvPr id="270" name="Picture 8"/>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7490150" y="2029883"/>
                <a:ext cx="896304" cy="7133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71" name="TextBox 270"/>
              <p:cNvSpPr txBox="1"/>
              <p:nvPr/>
            </p:nvSpPr>
            <p:spPr>
              <a:xfrm>
                <a:off x="19021518" y="1904999"/>
                <a:ext cx="356415" cy="615553"/>
              </a:xfrm>
              <a:prstGeom prst="rect">
                <a:avLst/>
              </a:prstGeom>
              <a:noFill/>
            </p:spPr>
            <p:txBody>
              <a:bodyPr wrap="none" lIns="0" tIns="0" rIns="45720" bIns="0" rtlCol="0">
                <a:spAutoFit/>
              </a:bodyPr>
              <a:lstStyle/>
              <a:p>
                <a:pPr algn="r"/>
                <a:r>
                  <a:rPr lang="en-US" sz="3000" b="1" dirty="0">
                    <a:solidFill>
                      <a:schemeClr val="tx2">
                        <a:lumMod val="75000"/>
                      </a:schemeClr>
                    </a:solidFill>
                  </a:rPr>
                  <a:t>9</a:t>
                </a:r>
                <a:endParaRPr lang="en-US" sz="3000" b="1" dirty="0">
                  <a:solidFill>
                    <a:schemeClr val="tx2">
                      <a:lumMod val="75000"/>
                    </a:schemeClr>
                  </a:solidFill>
                </a:endParaRPr>
              </a:p>
            </p:txBody>
          </p:sp>
        </p:grpSp>
        <p:grpSp>
          <p:nvGrpSpPr>
            <p:cNvPr id="218" name="Group 217"/>
            <p:cNvGrpSpPr/>
            <p:nvPr/>
          </p:nvGrpSpPr>
          <p:grpSpPr>
            <a:xfrm>
              <a:off x="21625269" y="1904999"/>
              <a:ext cx="2011680" cy="2011680"/>
              <a:chOff x="21625269" y="1904999"/>
              <a:chExt cx="2011680" cy="2011680"/>
            </a:xfrm>
          </p:grpSpPr>
          <p:sp>
            <p:nvSpPr>
              <p:cNvPr id="266" name="Rectangle 265"/>
              <p:cNvSpPr/>
              <p:nvPr/>
            </p:nvSpPr>
            <p:spPr bwMode="auto">
              <a:xfrm>
                <a:off x="21625269"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Managed Self-Service BI</a:t>
                </a:r>
                <a:endParaRPr lang="en-US" sz="1500" dirty="0">
                  <a:gradFill>
                    <a:gsLst>
                      <a:gs pos="0">
                        <a:srgbClr val="FFFFFF"/>
                      </a:gs>
                      <a:gs pos="100000">
                        <a:srgbClr val="FFFFFF"/>
                      </a:gs>
                    </a:gsLst>
                    <a:lin ang="5400000" scaled="0"/>
                  </a:gradFill>
                </a:endParaRPr>
              </a:p>
            </p:txBody>
          </p:sp>
          <p:sp>
            <p:nvSpPr>
              <p:cNvPr id="267" name="TextBox 266"/>
              <p:cNvSpPr txBox="1"/>
              <p:nvPr/>
            </p:nvSpPr>
            <p:spPr>
              <a:xfrm>
                <a:off x="22975267" y="1904999"/>
                <a:ext cx="651290" cy="615553"/>
              </a:xfrm>
              <a:prstGeom prst="rect">
                <a:avLst/>
              </a:prstGeom>
              <a:noFill/>
            </p:spPr>
            <p:txBody>
              <a:bodyPr wrap="none" lIns="0" tIns="0" rIns="45720" bIns="0" rtlCol="0">
                <a:spAutoFit/>
              </a:bodyPr>
              <a:lstStyle/>
              <a:p>
                <a:pPr algn="r"/>
                <a:r>
                  <a:rPr lang="en-US" sz="3000" b="1" dirty="0">
                    <a:solidFill>
                      <a:schemeClr val="tx2">
                        <a:lumMod val="75000"/>
                      </a:schemeClr>
                    </a:solidFill>
                  </a:rPr>
                  <a:t>11</a:t>
                </a:r>
                <a:endParaRPr lang="en-US" sz="3000" b="1" dirty="0">
                  <a:solidFill>
                    <a:schemeClr val="tx2">
                      <a:lumMod val="75000"/>
                    </a:schemeClr>
                  </a:solidFill>
                </a:endParaRPr>
              </a:p>
            </p:txBody>
          </p:sp>
          <p:pic>
            <p:nvPicPr>
              <p:cNvPr id="268" name="Picture 17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1704582" y="1981200"/>
                <a:ext cx="832241" cy="833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9" name="Group 218"/>
            <p:cNvGrpSpPr/>
            <p:nvPr/>
          </p:nvGrpSpPr>
          <p:grpSpPr>
            <a:xfrm>
              <a:off x="23749880" y="1904999"/>
              <a:ext cx="2011680" cy="2011680"/>
              <a:chOff x="23749880" y="1904999"/>
              <a:chExt cx="2011680" cy="2011680"/>
            </a:xfrm>
          </p:grpSpPr>
          <p:sp>
            <p:nvSpPr>
              <p:cNvPr id="263" name="Rectangle 262"/>
              <p:cNvSpPr/>
              <p:nvPr/>
            </p:nvSpPr>
            <p:spPr bwMode="auto">
              <a:xfrm>
                <a:off x="23749880"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Rapid Data Exploration</a:t>
                </a:r>
                <a:endParaRPr lang="en-US" sz="1500" dirty="0">
                  <a:gradFill>
                    <a:gsLst>
                      <a:gs pos="0">
                        <a:srgbClr val="FFFFFF"/>
                      </a:gs>
                      <a:gs pos="100000">
                        <a:srgbClr val="FFFFFF"/>
                      </a:gs>
                    </a:gsLst>
                    <a:lin ang="5400000" scaled="0"/>
                  </a:gradFill>
                </a:endParaRPr>
              </a:p>
            </p:txBody>
          </p:sp>
          <p:sp>
            <p:nvSpPr>
              <p:cNvPr id="264" name="TextBox 263"/>
              <p:cNvSpPr txBox="1"/>
              <p:nvPr/>
            </p:nvSpPr>
            <p:spPr>
              <a:xfrm>
                <a:off x="25099878" y="1904999"/>
                <a:ext cx="651290" cy="615553"/>
              </a:xfrm>
              <a:prstGeom prst="rect">
                <a:avLst/>
              </a:prstGeom>
              <a:noFill/>
            </p:spPr>
            <p:txBody>
              <a:bodyPr wrap="none" lIns="0" tIns="0" rIns="45720" bIns="0" rtlCol="0">
                <a:spAutoFit/>
              </a:bodyPr>
              <a:lstStyle/>
              <a:p>
                <a:pPr algn="r"/>
                <a:r>
                  <a:rPr lang="en-US" sz="3000" b="1" dirty="0">
                    <a:solidFill>
                      <a:schemeClr val="tx2">
                        <a:lumMod val="75000"/>
                      </a:schemeClr>
                    </a:solidFill>
                  </a:rPr>
                  <a:t>12</a:t>
                </a:r>
                <a:endParaRPr lang="en-US" sz="3000" b="1" dirty="0">
                  <a:solidFill>
                    <a:schemeClr val="tx2">
                      <a:lumMod val="75000"/>
                    </a:schemeClr>
                  </a:solidFill>
                </a:endParaRPr>
              </a:p>
            </p:txBody>
          </p:sp>
          <p:pic>
            <p:nvPicPr>
              <p:cNvPr id="265" name="Picture 3"/>
              <p:cNvPicPr>
                <a:picLocks noChangeAspect="1" noChangeArrowheads="1"/>
              </p:cNvPicPr>
              <p:nvPr>
                <p:custDataLst>
                  <p:tags r:id="rId3"/>
                </p:custDataLst>
              </p:nvPr>
            </p:nvPicPr>
            <p:blipFill>
              <a:blip r:embed="rId8" cstate="print">
                <a:extLst>
                  <a:ext uri="{28A0092B-C50C-407E-A947-70E740481C1C}">
                    <a14:useLocalDpi xmlns:a14="http://schemas.microsoft.com/office/drawing/2010/main"/>
                  </a:ext>
                </a:extLst>
              </a:blip>
              <a:srcRect/>
              <a:stretch>
                <a:fillRect/>
              </a:stretch>
            </p:blipFill>
            <p:spPr bwMode="auto">
              <a:xfrm>
                <a:off x="23838182" y="1959614"/>
                <a:ext cx="593243" cy="859786"/>
              </a:xfrm>
              <a:prstGeom prst="rect">
                <a:avLst/>
              </a:prstGeom>
              <a:noFill/>
              <a:ln>
                <a:noFill/>
                <a:headEnd type="none" w="med" len="med"/>
                <a:tailEnd type="none" w="med" len="med"/>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20" name="Group 219"/>
            <p:cNvGrpSpPr/>
            <p:nvPr/>
          </p:nvGrpSpPr>
          <p:grpSpPr>
            <a:xfrm>
              <a:off x="4630222" y="1904999"/>
              <a:ext cx="2026976" cy="2011680"/>
              <a:chOff x="4630222" y="1904999"/>
              <a:chExt cx="2026976" cy="2011680"/>
            </a:xfrm>
          </p:grpSpPr>
          <p:sp>
            <p:nvSpPr>
              <p:cNvPr id="260" name="Rectangle 259"/>
              <p:cNvSpPr/>
              <p:nvPr/>
            </p:nvSpPr>
            <p:spPr bwMode="auto">
              <a:xfrm>
                <a:off x="4630222"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Required 9s &amp; Data Protection</a:t>
                </a:r>
                <a:endParaRPr lang="en-US" sz="1500" dirty="0">
                  <a:gradFill>
                    <a:gsLst>
                      <a:gs pos="0">
                        <a:srgbClr val="FFFFFF"/>
                      </a:gs>
                      <a:gs pos="100000">
                        <a:srgbClr val="FFFFFF"/>
                      </a:gs>
                    </a:gsLst>
                    <a:lin ang="5400000" scaled="0"/>
                  </a:gradFill>
                </a:endParaRPr>
              </a:p>
            </p:txBody>
          </p:sp>
          <p:sp>
            <p:nvSpPr>
              <p:cNvPr id="261" name="TextBox 260"/>
              <p:cNvSpPr txBox="1"/>
              <p:nvPr/>
            </p:nvSpPr>
            <p:spPr>
              <a:xfrm>
                <a:off x="6300783"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3</a:t>
                </a:r>
              </a:p>
            </p:txBody>
          </p:sp>
          <p:pic>
            <p:nvPicPr>
              <p:cNvPr id="262" name="Picture 4" descr="\\MAGNUM\Projects\Microsoft\Cloud Power FY12\Design\ICONS_PNG\Check_mark.png"/>
              <p:cNvPicPr>
                <a:picLocks noChangeAspect="1" noChangeArrowheads="1"/>
              </p:cNvPicPr>
              <p:nvPr/>
            </p:nvPicPr>
            <p:blipFill rotWithShape="1">
              <a:blip r:embed="rId9" cstate="print">
                <a:lum bright="100000"/>
              </a:blip>
              <a:srcRect t="11515"/>
              <a:stretch/>
            </p:blipFill>
            <p:spPr bwMode="auto">
              <a:xfrm>
                <a:off x="4669492" y="1927464"/>
                <a:ext cx="1253470" cy="1109124"/>
              </a:xfrm>
              <a:prstGeom prst="rect">
                <a:avLst/>
              </a:prstGeom>
              <a:noFill/>
            </p:spPr>
          </p:pic>
        </p:grpSp>
        <p:grpSp>
          <p:nvGrpSpPr>
            <p:cNvPr id="221" name="Group 220"/>
            <p:cNvGrpSpPr/>
            <p:nvPr/>
          </p:nvGrpSpPr>
          <p:grpSpPr>
            <a:xfrm>
              <a:off x="19500658" y="1904999"/>
              <a:ext cx="2011680" cy="2011680"/>
              <a:chOff x="19500658" y="1904999"/>
              <a:chExt cx="2011680" cy="2011680"/>
            </a:xfrm>
          </p:grpSpPr>
          <p:sp>
            <p:nvSpPr>
              <p:cNvPr id="257" name="Rectangle 256"/>
              <p:cNvSpPr/>
              <p:nvPr/>
            </p:nvSpPr>
            <p:spPr bwMode="auto">
              <a:xfrm>
                <a:off x="19500658"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Credible, Consistent Data</a:t>
                </a:r>
                <a:endParaRPr lang="en-US" sz="1500" dirty="0">
                  <a:gradFill>
                    <a:gsLst>
                      <a:gs pos="0">
                        <a:srgbClr val="FFFFFF"/>
                      </a:gs>
                      <a:gs pos="100000">
                        <a:srgbClr val="FFFFFF"/>
                      </a:gs>
                    </a:gsLst>
                    <a:lin ang="5400000" scaled="0"/>
                  </a:gradFill>
                </a:endParaRPr>
              </a:p>
            </p:txBody>
          </p:sp>
          <p:sp>
            <p:nvSpPr>
              <p:cNvPr id="258" name="TextBox 257"/>
              <p:cNvSpPr txBox="1"/>
              <p:nvPr/>
            </p:nvSpPr>
            <p:spPr>
              <a:xfrm>
                <a:off x="20861048" y="1904999"/>
                <a:ext cx="651290" cy="615553"/>
              </a:xfrm>
              <a:prstGeom prst="rect">
                <a:avLst/>
              </a:prstGeom>
              <a:noFill/>
            </p:spPr>
            <p:txBody>
              <a:bodyPr wrap="none" lIns="0" tIns="0" rIns="45720" bIns="0" rtlCol="0">
                <a:spAutoFit/>
              </a:bodyPr>
              <a:lstStyle/>
              <a:p>
                <a:pPr algn="r"/>
                <a:r>
                  <a:rPr lang="en-US" sz="3000" b="1" dirty="0">
                    <a:solidFill>
                      <a:schemeClr val="tx2">
                        <a:lumMod val="75000"/>
                      </a:schemeClr>
                    </a:solidFill>
                  </a:rPr>
                  <a:t>10</a:t>
                </a:r>
                <a:endParaRPr lang="en-US" sz="3000" b="1" dirty="0">
                  <a:solidFill>
                    <a:schemeClr val="tx2">
                      <a:lumMod val="75000"/>
                    </a:schemeClr>
                  </a:solidFill>
                </a:endParaRPr>
              </a:p>
            </p:txBody>
          </p:sp>
          <p:pic>
            <p:nvPicPr>
              <p:cNvPr id="259" name="Picture 2"/>
              <p:cNvPicPr>
                <a:picLocks noChangeAspect="1" noChangeArrowheads="1"/>
              </p:cNvPicPr>
              <p:nvPr/>
            </p:nvPicPr>
            <p:blipFill>
              <a:blip r:embed="rId10"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9618561" y="2012733"/>
                <a:ext cx="958499" cy="8515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22" name="Group 221"/>
            <p:cNvGrpSpPr/>
            <p:nvPr/>
          </p:nvGrpSpPr>
          <p:grpSpPr>
            <a:xfrm>
              <a:off x="2505611" y="1904999"/>
              <a:ext cx="2022972" cy="2011680"/>
              <a:chOff x="2505611" y="1904999"/>
              <a:chExt cx="2022972" cy="2011680"/>
            </a:xfrm>
          </p:grpSpPr>
          <p:sp>
            <p:nvSpPr>
              <p:cNvPr id="254" name="Rectangle 253"/>
              <p:cNvSpPr/>
              <p:nvPr/>
            </p:nvSpPr>
            <p:spPr bwMode="auto">
              <a:xfrm>
                <a:off x="2505611"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Security &amp; Compliance</a:t>
                </a:r>
                <a:endParaRPr lang="en-US" sz="1500" dirty="0">
                  <a:gradFill>
                    <a:gsLst>
                      <a:gs pos="0">
                        <a:srgbClr val="FFFFFF"/>
                      </a:gs>
                      <a:gs pos="100000">
                        <a:srgbClr val="FFFFFF"/>
                      </a:gs>
                    </a:gsLst>
                    <a:lin ang="5400000" scaled="0"/>
                  </a:gradFill>
                </a:endParaRPr>
              </a:p>
            </p:txBody>
          </p:sp>
          <p:sp>
            <p:nvSpPr>
              <p:cNvPr id="255" name="TextBox 254"/>
              <p:cNvSpPr txBox="1"/>
              <p:nvPr/>
            </p:nvSpPr>
            <p:spPr>
              <a:xfrm>
                <a:off x="4172168"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2</a:t>
                </a:r>
              </a:p>
            </p:txBody>
          </p:sp>
          <p:pic>
            <p:nvPicPr>
              <p:cNvPr id="256" name="Picture 255"/>
              <p:cNvPicPr>
                <a:picLocks noChangeAspect="1"/>
              </p:cNvPicPr>
              <p:nvPr>
                <p:custDataLst>
                  <p:tags r:id="rId2"/>
                </p:custDataLst>
              </p:nvPr>
            </p:nvPicPr>
            <p:blipFill>
              <a:blip r:embed="rId11">
                <a:extLst>
                  <a:ext uri="{28A0092B-C50C-407E-A947-70E740481C1C}">
                    <a14:useLocalDpi xmlns:a14="http://schemas.microsoft.com/office/drawing/2010/main" val="0"/>
                  </a:ext>
                </a:extLst>
              </a:blip>
              <a:stretch>
                <a:fillRect/>
              </a:stretch>
            </p:blipFill>
            <p:spPr>
              <a:xfrm>
                <a:off x="2655779" y="1983751"/>
                <a:ext cx="883759" cy="875588"/>
              </a:xfrm>
              <a:prstGeom prst="rect">
                <a:avLst/>
              </a:prstGeom>
              <a:effectLst/>
            </p:spPr>
          </p:pic>
        </p:grpSp>
        <p:grpSp>
          <p:nvGrpSpPr>
            <p:cNvPr id="223" name="Group 222"/>
            <p:cNvGrpSpPr/>
            <p:nvPr/>
          </p:nvGrpSpPr>
          <p:grpSpPr>
            <a:xfrm>
              <a:off x="381000" y="1904999"/>
              <a:ext cx="2026976" cy="2011680"/>
              <a:chOff x="381000" y="1904999"/>
              <a:chExt cx="2026976" cy="2011680"/>
            </a:xfrm>
          </p:grpSpPr>
          <p:sp>
            <p:nvSpPr>
              <p:cNvPr id="251" name="Rectangle 250"/>
              <p:cNvSpPr/>
              <p:nvPr/>
            </p:nvSpPr>
            <p:spPr bwMode="auto">
              <a:xfrm>
                <a:off x="381000"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Blazing-Fast Performance</a:t>
                </a:r>
              </a:p>
            </p:txBody>
          </p:sp>
          <p:sp>
            <p:nvSpPr>
              <p:cNvPr id="252" name="TextBox 251"/>
              <p:cNvSpPr txBox="1"/>
              <p:nvPr/>
            </p:nvSpPr>
            <p:spPr>
              <a:xfrm>
                <a:off x="2051561"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1</a:t>
                </a:r>
              </a:p>
            </p:txBody>
          </p:sp>
          <p:pic>
            <p:nvPicPr>
              <p:cNvPr id="253" name="Picture 25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06299" y="2057549"/>
                <a:ext cx="880541" cy="880541"/>
              </a:xfrm>
              <a:prstGeom prst="rect">
                <a:avLst/>
              </a:prstGeom>
            </p:spPr>
          </p:pic>
        </p:grpSp>
        <p:grpSp>
          <p:nvGrpSpPr>
            <p:cNvPr id="224" name="Group 223"/>
            <p:cNvGrpSpPr/>
            <p:nvPr/>
          </p:nvGrpSpPr>
          <p:grpSpPr>
            <a:xfrm>
              <a:off x="8879444" y="1904999"/>
              <a:ext cx="2012580" cy="2011680"/>
              <a:chOff x="8879444" y="1904999"/>
              <a:chExt cx="2012580" cy="2011680"/>
            </a:xfrm>
          </p:grpSpPr>
          <p:sp>
            <p:nvSpPr>
              <p:cNvPr id="244" name="Rectangle 243"/>
              <p:cNvSpPr/>
              <p:nvPr/>
            </p:nvSpPr>
            <p:spPr bwMode="auto">
              <a:xfrm>
                <a:off x="8879444"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Scale on Demand</a:t>
                </a:r>
                <a:endParaRPr lang="en-US" sz="1500" dirty="0">
                  <a:gradFill>
                    <a:gsLst>
                      <a:gs pos="0">
                        <a:srgbClr val="FFFFFF"/>
                      </a:gs>
                      <a:gs pos="100000">
                        <a:srgbClr val="FFFFFF"/>
                      </a:gs>
                    </a:gsLst>
                    <a:lin ang="5400000" scaled="0"/>
                  </a:gradFill>
                </a:endParaRPr>
              </a:p>
            </p:txBody>
          </p:sp>
          <p:sp>
            <p:nvSpPr>
              <p:cNvPr id="245" name="TextBox 244"/>
              <p:cNvSpPr txBox="1"/>
              <p:nvPr/>
            </p:nvSpPr>
            <p:spPr>
              <a:xfrm>
                <a:off x="10535609"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5</a:t>
                </a:r>
              </a:p>
            </p:txBody>
          </p:sp>
          <p:grpSp>
            <p:nvGrpSpPr>
              <p:cNvPr id="246" name="Group 245"/>
              <p:cNvGrpSpPr/>
              <p:nvPr/>
            </p:nvGrpSpPr>
            <p:grpSpPr>
              <a:xfrm>
                <a:off x="9098012" y="2146879"/>
                <a:ext cx="958800" cy="671282"/>
                <a:chOff x="7792432" y="3461097"/>
                <a:chExt cx="568902" cy="299861"/>
              </a:xfrm>
            </p:grpSpPr>
            <p:sp>
              <p:nvSpPr>
                <p:cNvPr id="247" name="Freeform 8"/>
                <p:cNvSpPr>
                  <a:spLocks/>
                </p:cNvSpPr>
                <p:nvPr/>
              </p:nvSpPr>
              <p:spPr bwMode="auto">
                <a:xfrm>
                  <a:off x="8055009" y="3461097"/>
                  <a:ext cx="306325" cy="299861"/>
                </a:xfrm>
                <a:custGeom>
                  <a:avLst/>
                  <a:gdLst>
                    <a:gd name="T0" fmla="*/ 100 w 100"/>
                    <a:gd name="T1" fmla="*/ 0 h 98"/>
                    <a:gd name="T2" fmla="*/ 16 w 100"/>
                    <a:gd name="T3" fmla="*/ 13 h 98"/>
                    <a:gd name="T4" fmla="*/ 41 w 100"/>
                    <a:gd name="T5" fmla="*/ 39 h 98"/>
                    <a:gd name="T6" fmla="*/ 41 w 100"/>
                    <a:gd name="T7" fmla="*/ 39 h 98"/>
                    <a:gd name="T8" fmla="*/ 6 w 100"/>
                    <a:gd name="T9" fmla="*/ 75 h 98"/>
                    <a:gd name="T10" fmla="*/ 6 w 100"/>
                    <a:gd name="T11" fmla="*/ 94 h 98"/>
                    <a:gd name="T12" fmla="*/ 16 w 100"/>
                    <a:gd name="T13" fmla="*/ 98 h 98"/>
                    <a:gd name="T14" fmla="*/ 25 w 100"/>
                    <a:gd name="T15" fmla="*/ 94 h 98"/>
                    <a:gd name="T16" fmla="*/ 61 w 100"/>
                    <a:gd name="T17" fmla="*/ 59 h 98"/>
                    <a:gd name="T18" fmla="*/ 61 w 100"/>
                    <a:gd name="T19" fmla="*/ 59 h 98"/>
                    <a:gd name="T20" fmla="*/ 87 w 100"/>
                    <a:gd name="T21" fmla="*/ 84 h 98"/>
                    <a:gd name="T22" fmla="*/ 100 w 100"/>
                    <a:gd name="T23"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98">
                      <a:moveTo>
                        <a:pt x="100" y="0"/>
                      </a:moveTo>
                      <a:cubicBezTo>
                        <a:pt x="16" y="13"/>
                        <a:pt x="16" y="13"/>
                        <a:pt x="16" y="13"/>
                      </a:cubicBezTo>
                      <a:cubicBezTo>
                        <a:pt x="41" y="39"/>
                        <a:pt x="41" y="39"/>
                        <a:pt x="41" y="39"/>
                      </a:cubicBezTo>
                      <a:cubicBezTo>
                        <a:pt x="41" y="39"/>
                        <a:pt x="41" y="39"/>
                        <a:pt x="41" y="39"/>
                      </a:cubicBezTo>
                      <a:cubicBezTo>
                        <a:pt x="6" y="75"/>
                        <a:pt x="6" y="75"/>
                        <a:pt x="6" y="75"/>
                      </a:cubicBezTo>
                      <a:cubicBezTo>
                        <a:pt x="0" y="80"/>
                        <a:pt x="0" y="89"/>
                        <a:pt x="6" y="94"/>
                      </a:cubicBezTo>
                      <a:cubicBezTo>
                        <a:pt x="8" y="97"/>
                        <a:pt x="12" y="98"/>
                        <a:pt x="16" y="98"/>
                      </a:cubicBezTo>
                      <a:cubicBezTo>
                        <a:pt x="19" y="98"/>
                        <a:pt x="23" y="97"/>
                        <a:pt x="25" y="94"/>
                      </a:cubicBezTo>
                      <a:cubicBezTo>
                        <a:pt x="61" y="59"/>
                        <a:pt x="61" y="59"/>
                        <a:pt x="61" y="59"/>
                      </a:cubicBezTo>
                      <a:cubicBezTo>
                        <a:pt x="61" y="59"/>
                        <a:pt x="61" y="59"/>
                        <a:pt x="61" y="59"/>
                      </a:cubicBezTo>
                      <a:cubicBezTo>
                        <a:pt x="87" y="84"/>
                        <a:pt x="87" y="84"/>
                        <a:pt x="87" y="84"/>
                      </a:cubicBezTo>
                      <a:lnTo>
                        <a:pt x="10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Rectangle 9"/>
                <p:cNvSpPr>
                  <a:spLocks noChangeArrowheads="1"/>
                </p:cNvSpPr>
                <p:nvPr/>
              </p:nvSpPr>
              <p:spPr bwMode="auto">
                <a:xfrm>
                  <a:off x="7891463" y="3675653"/>
                  <a:ext cx="212661"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Rectangle 9"/>
                <p:cNvSpPr>
                  <a:spLocks noChangeArrowheads="1"/>
                </p:cNvSpPr>
                <p:nvPr/>
              </p:nvSpPr>
              <p:spPr bwMode="auto">
                <a:xfrm>
                  <a:off x="7792432" y="3675653"/>
                  <a:ext cx="27432"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Rectangle 9"/>
                <p:cNvSpPr>
                  <a:spLocks noChangeArrowheads="1"/>
                </p:cNvSpPr>
                <p:nvPr/>
              </p:nvSpPr>
              <p:spPr bwMode="auto">
                <a:xfrm>
                  <a:off x="7832804" y="3675653"/>
                  <a:ext cx="45719"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25" name="Group 224"/>
            <p:cNvGrpSpPr/>
            <p:nvPr/>
          </p:nvGrpSpPr>
          <p:grpSpPr>
            <a:xfrm>
              <a:off x="6754833" y="1904999"/>
              <a:ext cx="2022972" cy="2011680"/>
              <a:chOff x="6754833" y="1904999"/>
              <a:chExt cx="2022972" cy="2011680"/>
            </a:xfrm>
          </p:grpSpPr>
          <p:sp>
            <p:nvSpPr>
              <p:cNvPr id="238" name="Rectangle 237"/>
              <p:cNvSpPr/>
              <p:nvPr/>
            </p:nvSpPr>
            <p:spPr bwMode="auto">
              <a:xfrm>
                <a:off x="6754833"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Flexibility &amp; Choice</a:t>
                </a:r>
                <a:endParaRPr lang="en-US" sz="1500" dirty="0">
                  <a:gradFill>
                    <a:gsLst>
                      <a:gs pos="0">
                        <a:srgbClr val="FFFFFF"/>
                      </a:gs>
                      <a:gs pos="100000">
                        <a:srgbClr val="FFFFFF"/>
                      </a:gs>
                    </a:gsLst>
                    <a:lin ang="5400000" scaled="0"/>
                  </a:gradFill>
                </a:endParaRPr>
              </a:p>
            </p:txBody>
          </p:sp>
          <p:sp>
            <p:nvSpPr>
              <p:cNvPr id="239" name="TextBox 238"/>
              <p:cNvSpPr txBox="1"/>
              <p:nvPr/>
            </p:nvSpPr>
            <p:spPr>
              <a:xfrm>
                <a:off x="8421390"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4</a:t>
                </a:r>
              </a:p>
            </p:txBody>
          </p:sp>
          <p:grpSp>
            <p:nvGrpSpPr>
              <p:cNvPr id="240" name="Group 239"/>
              <p:cNvGrpSpPr/>
              <p:nvPr>
                <p:custDataLst>
                  <p:tags r:id="rId1"/>
                </p:custDataLst>
              </p:nvPr>
            </p:nvGrpSpPr>
            <p:grpSpPr>
              <a:xfrm>
                <a:off x="6856412" y="1967341"/>
                <a:ext cx="1105890" cy="850820"/>
                <a:chOff x="3127606" y="1031618"/>
                <a:chExt cx="1905261" cy="1465821"/>
              </a:xfrm>
            </p:grpSpPr>
            <p:pic>
              <p:nvPicPr>
                <p:cNvPr id="241" name="Picture 6" descr="\\MAGNUM\Projects\Microsoft\Cloud Power FY12\Design\ICONS_PNG\Cloud.png"/>
                <p:cNvPicPr>
                  <a:picLocks noChangeAspect="1" noChangeArrowheads="1"/>
                </p:cNvPicPr>
                <p:nvPr/>
              </p:nvPicPr>
              <p:blipFill rotWithShape="1">
                <a:blip r:embed="rId13" cstate="print">
                  <a:extLst>
                    <a:ext uri="{BEBA8EAE-BF5A-486C-A8C5-ECC9F3942E4B}">
                      <a14:imgProps xmlns:a14="http://schemas.microsoft.com/office/drawing/2010/main">
                        <a14:imgLayer r:embed="rId14">
                          <a14:imgEffect>
                            <a14:brightnessContrast bright="100000"/>
                          </a14:imgEffect>
                        </a14:imgLayer>
                      </a14:imgProps>
                    </a:ext>
                  </a:extLst>
                </a:blip>
                <a:srcRect t="15452" b="16319"/>
                <a:stretch/>
              </p:blipFill>
              <p:spPr bwMode="auto">
                <a:xfrm>
                  <a:off x="3423223" y="1031618"/>
                  <a:ext cx="1609644" cy="1098248"/>
                </a:xfrm>
                <a:prstGeom prst="rect">
                  <a:avLst/>
                </a:prstGeom>
                <a:noFill/>
              </p:spPr>
            </p:pic>
            <p:pic>
              <p:nvPicPr>
                <p:cNvPr id="242" name="Picture 2" descr="\\MAGNUM\Projects\Microsoft\Cloud Power FY12\Design\Icons\PNGs\Server_2.png"/>
                <p:cNvPicPr>
                  <a:picLocks noChangeAspect="1" noChangeArrowheads="1"/>
                </p:cNvPicPr>
                <p:nvPr/>
              </p:nvPicPr>
              <p:blipFill rotWithShape="1">
                <a:blip r:embed="rId15" cstate="print">
                  <a:lum bright="100000"/>
                  <a:extLst>
                    <a:ext uri="{BEBA8EAE-BF5A-486C-A8C5-ECC9F3942E4B}">
                      <a14:imgProps xmlns:a14="http://schemas.microsoft.com/office/drawing/2010/main">
                        <a14:imgLayer r:embed="rId16">
                          <a14:imgEffect>
                            <a14:colorTemperature colorTemp="1500"/>
                          </a14:imgEffect>
                        </a14:imgLayer>
                      </a14:imgProps>
                    </a:ext>
                  </a:extLst>
                </a:blip>
                <a:srcRect l="27619" t="9540" r="26586" b="9151"/>
                <a:stretch/>
              </p:blipFill>
              <p:spPr bwMode="auto">
                <a:xfrm>
                  <a:off x="3537558" y="1444626"/>
                  <a:ext cx="589660" cy="916080"/>
                </a:xfrm>
                <a:prstGeom prst="rect">
                  <a:avLst/>
                </a:prstGeom>
                <a:noFill/>
                <a:effectLst>
                  <a:outerShdw blurRad="50800" dist="12700" sx="103000" sy="103000" algn="ctr" rotWithShape="0">
                    <a:prstClr val="black">
                      <a:alpha val="40000"/>
                    </a:prstClr>
                  </a:outerShdw>
                </a:effectLst>
              </p:spPr>
            </p:pic>
            <p:pic>
              <p:nvPicPr>
                <p:cNvPr id="243" name="Picture 2" descr="\\MAGNUM\Projects\Microsoft\Cloud Power FY12\Design\Icons\PNGs\Server_2.png"/>
                <p:cNvPicPr>
                  <a:picLocks noChangeAspect="1" noChangeArrowheads="1"/>
                </p:cNvPicPr>
                <p:nvPr/>
              </p:nvPicPr>
              <p:blipFill rotWithShape="1">
                <a:blip r:embed="rId15" cstate="print">
                  <a:lum bright="100000"/>
                  <a:extLst>
                    <a:ext uri="{BEBA8EAE-BF5A-486C-A8C5-ECC9F3942E4B}">
                      <a14:imgProps xmlns:a14="http://schemas.microsoft.com/office/drawing/2010/main">
                        <a14:imgLayer r:embed="rId16">
                          <a14:imgEffect>
                            <a14:colorTemperature colorTemp="1500"/>
                          </a14:imgEffect>
                        </a14:imgLayer>
                      </a14:imgProps>
                    </a:ext>
                  </a:extLst>
                </a:blip>
                <a:srcRect l="27619" t="9540" r="26586" b="9151"/>
                <a:stretch/>
              </p:blipFill>
              <p:spPr bwMode="auto">
                <a:xfrm>
                  <a:off x="3127606" y="1581359"/>
                  <a:ext cx="589659" cy="916080"/>
                </a:xfrm>
                <a:prstGeom prst="rect">
                  <a:avLst/>
                </a:prstGeom>
                <a:noFill/>
                <a:effectLst>
                  <a:outerShdw blurRad="50800" dist="12700" sx="103000" sy="103000" algn="ctr" rotWithShape="0">
                    <a:prstClr val="black">
                      <a:alpha val="40000"/>
                    </a:prstClr>
                  </a:outerShdw>
                </a:effectLst>
              </p:spPr>
            </p:pic>
          </p:grpSp>
        </p:grpSp>
        <p:grpSp>
          <p:nvGrpSpPr>
            <p:cNvPr id="226" name="Group 225"/>
            <p:cNvGrpSpPr/>
            <p:nvPr/>
          </p:nvGrpSpPr>
          <p:grpSpPr>
            <a:xfrm>
              <a:off x="11004055" y="1904999"/>
              <a:ext cx="2012580" cy="2011680"/>
              <a:chOff x="11004055" y="1904999"/>
              <a:chExt cx="2012580" cy="2011680"/>
            </a:xfrm>
          </p:grpSpPr>
          <p:sp>
            <p:nvSpPr>
              <p:cNvPr id="235" name="Rectangle 234"/>
              <p:cNvSpPr/>
              <p:nvPr/>
            </p:nvSpPr>
            <p:spPr bwMode="auto">
              <a:xfrm>
                <a:off x="11004055"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Fast Time to Solution</a:t>
                </a:r>
                <a:endParaRPr lang="en-US" sz="1500" dirty="0">
                  <a:gradFill>
                    <a:gsLst>
                      <a:gs pos="0">
                        <a:srgbClr val="FFFFFF"/>
                      </a:gs>
                      <a:gs pos="100000">
                        <a:srgbClr val="FFFFFF"/>
                      </a:gs>
                    </a:gsLst>
                    <a:lin ang="5400000" scaled="0"/>
                  </a:gradFill>
                </a:endParaRPr>
              </a:p>
            </p:txBody>
          </p:sp>
          <p:sp>
            <p:nvSpPr>
              <p:cNvPr id="236" name="TextBox 235"/>
              <p:cNvSpPr txBox="1"/>
              <p:nvPr/>
            </p:nvSpPr>
            <p:spPr>
              <a:xfrm>
                <a:off x="12660220"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6</a:t>
                </a:r>
              </a:p>
            </p:txBody>
          </p:sp>
          <p:pic>
            <p:nvPicPr>
              <p:cNvPr id="237" name="Picture 3" descr="\\SFP\Work\White_Whale\3-22036_Kuleen_Bharadwaj\PPT\3_PlatformVision_Kuleen\SFP_Art\Plane Slide\mon_notie.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1139211" y="1983751"/>
                <a:ext cx="746401" cy="8755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7" name="Group 226"/>
            <p:cNvGrpSpPr/>
            <p:nvPr/>
          </p:nvGrpSpPr>
          <p:grpSpPr>
            <a:xfrm>
              <a:off x="13128666" y="1904999"/>
              <a:ext cx="2017182" cy="2011680"/>
              <a:chOff x="13128666" y="1904999"/>
              <a:chExt cx="2017182" cy="2011680"/>
            </a:xfrm>
          </p:grpSpPr>
          <p:sp>
            <p:nvSpPr>
              <p:cNvPr id="232" name="Rectangle 231"/>
              <p:cNvSpPr/>
              <p:nvPr/>
            </p:nvSpPr>
            <p:spPr bwMode="auto">
              <a:xfrm>
                <a:off x="13128666"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Extend Any Data, Anywhere</a:t>
                </a:r>
                <a:endParaRPr lang="en-US" sz="1500" dirty="0">
                  <a:gradFill>
                    <a:gsLst>
                      <a:gs pos="0">
                        <a:srgbClr val="FFFFFF"/>
                      </a:gs>
                      <a:gs pos="100000">
                        <a:srgbClr val="FFFFFF"/>
                      </a:gs>
                    </a:gsLst>
                    <a:lin ang="5400000" scaled="0"/>
                  </a:gradFill>
                </a:endParaRPr>
              </a:p>
            </p:txBody>
          </p:sp>
          <p:sp>
            <p:nvSpPr>
              <p:cNvPr id="233" name="TextBox 232"/>
              <p:cNvSpPr txBox="1"/>
              <p:nvPr/>
            </p:nvSpPr>
            <p:spPr>
              <a:xfrm>
                <a:off x="14789433"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7</a:t>
                </a:r>
              </a:p>
            </p:txBody>
          </p:sp>
          <p:pic>
            <p:nvPicPr>
              <p:cNvPr id="234" name="Picture 7" descr="\\MAGNUM\Projects\Microsoft\Cloud Power FY12\Design\ICONS_PNG\Physical_Virtual.png"/>
              <p:cNvPicPr>
                <a:picLocks noChangeAspect="1" noChangeArrowheads="1"/>
              </p:cNvPicPr>
              <p:nvPr/>
            </p:nvPicPr>
            <p:blipFill rotWithShape="1">
              <a:blip r:embed="rId18" cstate="print">
                <a:extLst>
                  <a:ext uri="{BEBA8EAE-BF5A-486C-A8C5-ECC9F3942E4B}">
                    <a14:imgProps xmlns:a14="http://schemas.microsoft.com/office/drawing/2010/main">
                      <a14:imgLayer r:embed="rId19">
                        <a14:imgEffect>
                          <a14:brightnessContrast bright="100000"/>
                        </a14:imgEffect>
                      </a14:imgLayer>
                    </a14:imgProps>
                  </a:ext>
                </a:extLst>
              </a:blip>
              <a:srcRect l="7856" t="39072" r="7907" b="5885"/>
              <a:stretch/>
            </p:blipFill>
            <p:spPr bwMode="auto">
              <a:xfrm>
                <a:off x="13200761" y="1984614"/>
                <a:ext cx="1275651" cy="833547"/>
              </a:xfrm>
              <a:prstGeom prst="rect">
                <a:avLst/>
              </a:prstGeom>
              <a:noFill/>
            </p:spPr>
          </p:pic>
        </p:grpSp>
        <p:grpSp>
          <p:nvGrpSpPr>
            <p:cNvPr id="228" name="Group 227"/>
            <p:cNvGrpSpPr/>
            <p:nvPr/>
          </p:nvGrpSpPr>
          <p:grpSpPr>
            <a:xfrm>
              <a:off x="15243484" y="1904999"/>
              <a:ext cx="2011680" cy="2011680"/>
              <a:chOff x="15243484" y="1904999"/>
              <a:chExt cx="2011680" cy="2011680"/>
            </a:xfrm>
          </p:grpSpPr>
          <p:sp>
            <p:nvSpPr>
              <p:cNvPr id="229" name="Rectangle 228"/>
              <p:cNvSpPr/>
              <p:nvPr/>
            </p:nvSpPr>
            <p:spPr bwMode="auto">
              <a:xfrm>
                <a:off x="15243484"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New Scenarios, Unlocked</a:t>
                </a:r>
                <a:endParaRPr lang="en-US" sz="1500" dirty="0">
                  <a:gradFill>
                    <a:gsLst>
                      <a:gs pos="0">
                        <a:srgbClr val="FFFFFF"/>
                      </a:gs>
                      <a:gs pos="100000">
                        <a:srgbClr val="FFFFFF"/>
                      </a:gs>
                    </a:gsLst>
                    <a:lin ang="5400000" scaled="0"/>
                  </a:gradFill>
                </a:endParaRPr>
              </a:p>
            </p:txBody>
          </p:sp>
          <p:sp>
            <p:nvSpPr>
              <p:cNvPr id="230" name="TextBox 229"/>
              <p:cNvSpPr txBox="1"/>
              <p:nvPr/>
            </p:nvSpPr>
            <p:spPr>
              <a:xfrm>
                <a:off x="16882570" y="1904999"/>
                <a:ext cx="356415" cy="615553"/>
              </a:xfrm>
              <a:prstGeom prst="rect">
                <a:avLst/>
              </a:prstGeom>
              <a:noFill/>
            </p:spPr>
            <p:txBody>
              <a:bodyPr wrap="none" lIns="0" tIns="0" rIns="45720" bIns="0" rtlCol="0">
                <a:spAutoFit/>
              </a:bodyPr>
              <a:lstStyle/>
              <a:p>
                <a:pPr algn="r"/>
                <a:r>
                  <a:rPr lang="en-US" sz="3000" b="1" dirty="0">
                    <a:solidFill>
                      <a:schemeClr val="tx2">
                        <a:lumMod val="75000"/>
                      </a:schemeClr>
                    </a:solidFill>
                  </a:rPr>
                  <a:t>8</a:t>
                </a:r>
                <a:endParaRPr lang="en-US" sz="3000" b="1" dirty="0">
                  <a:solidFill>
                    <a:schemeClr val="tx2">
                      <a:lumMod val="75000"/>
                    </a:schemeClr>
                  </a:solidFill>
                </a:endParaRPr>
              </a:p>
            </p:txBody>
          </p:sp>
          <p:pic>
            <p:nvPicPr>
              <p:cNvPr id="231" name="Picture 2"/>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5416979" y="2043731"/>
                <a:ext cx="640905" cy="775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80" name="Rectangle 79"/>
          <p:cNvSpPr/>
          <p:nvPr/>
        </p:nvSpPr>
        <p:spPr bwMode="auto">
          <a:xfrm>
            <a:off x="285824" y="3552453"/>
            <a:ext cx="7870324" cy="467390"/>
          </a:xfrm>
          <a:prstGeom prst="rect">
            <a:avLst/>
          </a:prstGeom>
          <a:solidFill>
            <a:srgbClr val="F6AE1E"/>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6" tIns="34293" rIns="68586" bIns="34293" numCol="1" spcCol="0" rtlCol="0" fromWordArt="0" anchor="ctr" anchorCtr="0" forceAA="0" compatLnSpc="1">
            <a:prstTxWarp prst="textNoShape">
              <a:avLst/>
            </a:prstTxWarp>
            <a:noAutofit/>
          </a:bodyPr>
          <a:lstStyle/>
          <a:p>
            <a:pPr defTabSz="685666" fontAlgn="base">
              <a:spcBef>
                <a:spcPct val="0"/>
              </a:spcBef>
              <a:spcAft>
                <a:spcPct val="0"/>
              </a:spcAft>
            </a:pPr>
            <a:r>
              <a:rPr lang="en-US" sz="2100" dirty="0">
                <a:gradFill>
                  <a:gsLst>
                    <a:gs pos="0">
                      <a:srgbClr val="FFFFFF"/>
                    </a:gs>
                    <a:gs pos="100000">
                      <a:srgbClr val="FFFFFF"/>
                    </a:gs>
                  </a:gsLst>
                  <a:lin ang="5400000" scaled="0"/>
                </a:gradFill>
              </a:rPr>
              <a:t>Import </a:t>
            </a:r>
            <a:r>
              <a:rPr lang="en-US" sz="2100" dirty="0" err="1">
                <a:gradFill>
                  <a:gsLst>
                    <a:gs pos="0">
                      <a:srgbClr val="FFFFFF"/>
                    </a:gs>
                    <a:gs pos="100000">
                      <a:srgbClr val="FFFFFF"/>
                    </a:gs>
                  </a:gsLst>
                  <a:lin ang="5400000" scaled="0"/>
                </a:gradFill>
              </a:rPr>
              <a:t>PowerPivot</a:t>
            </a:r>
            <a:r>
              <a:rPr lang="en-US" sz="2100" dirty="0">
                <a:gradFill>
                  <a:gsLst>
                    <a:gs pos="0">
                      <a:srgbClr val="FFFFFF"/>
                    </a:gs>
                    <a:gs pos="100000">
                      <a:srgbClr val="FFFFFF"/>
                    </a:gs>
                  </a:gsLst>
                  <a:lin ang="5400000" scaled="0"/>
                </a:gradFill>
              </a:rPr>
              <a:t> into SSAS, Managed by IT</a:t>
            </a:r>
            <a:endParaRPr lang="en-US" sz="2100" dirty="0">
              <a:gradFill>
                <a:gsLst>
                  <a:gs pos="0">
                    <a:srgbClr val="FFFFFF"/>
                  </a:gs>
                  <a:gs pos="100000">
                    <a:srgbClr val="FFFFFF"/>
                  </a:gs>
                </a:gsLst>
                <a:lin ang="5400000" scaled="0"/>
              </a:gradFill>
            </a:endParaRPr>
          </a:p>
        </p:txBody>
      </p:sp>
      <p:sp>
        <p:nvSpPr>
          <p:cNvPr id="81" name="Rectangle 80"/>
          <p:cNvSpPr/>
          <p:nvPr/>
        </p:nvSpPr>
        <p:spPr bwMode="auto">
          <a:xfrm>
            <a:off x="285824" y="3017520"/>
            <a:ext cx="7870324" cy="453683"/>
          </a:xfrm>
          <a:prstGeom prst="rect">
            <a:avLst/>
          </a:prstGeom>
          <a:solidFill>
            <a:srgbClr val="F6AE1E"/>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6" tIns="34293" rIns="68586" bIns="34293" numCol="1" spcCol="0" rtlCol="0" fromWordArt="0" anchor="ctr" anchorCtr="0" forceAA="0" compatLnSpc="1">
            <a:prstTxWarp prst="textNoShape">
              <a:avLst/>
            </a:prstTxWarp>
            <a:noAutofit/>
          </a:bodyPr>
          <a:lstStyle/>
          <a:p>
            <a:pPr defTabSz="685666" fontAlgn="base">
              <a:spcBef>
                <a:spcPct val="0"/>
              </a:spcBef>
              <a:spcAft>
                <a:spcPct val="0"/>
              </a:spcAft>
            </a:pPr>
            <a:r>
              <a:rPr lang="en-US" sz="2100" dirty="0">
                <a:gradFill>
                  <a:gsLst>
                    <a:gs pos="0">
                      <a:srgbClr val="FFFFFF"/>
                    </a:gs>
                    <a:gs pos="100000">
                      <a:srgbClr val="FFFFFF"/>
                    </a:gs>
                  </a:gsLst>
                  <a:lin ang="5400000" scaled="0"/>
                </a:gradFill>
              </a:rPr>
              <a:t>SharePoint Administration</a:t>
            </a:r>
            <a:endParaRPr lang="en-US" sz="2100" dirty="0">
              <a:gradFill>
                <a:gsLst>
                  <a:gs pos="0">
                    <a:srgbClr val="FFFFFF"/>
                  </a:gs>
                  <a:gs pos="100000">
                    <a:srgbClr val="FFFFFF"/>
                  </a:gs>
                </a:gsLst>
                <a:lin ang="5400000" scaled="0"/>
              </a:gradFill>
            </a:endParaRPr>
          </a:p>
        </p:txBody>
      </p:sp>
      <p:grpSp>
        <p:nvGrpSpPr>
          <p:cNvPr id="82" name="Group 81"/>
          <p:cNvGrpSpPr/>
          <p:nvPr/>
        </p:nvGrpSpPr>
        <p:grpSpPr>
          <a:xfrm>
            <a:off x="282305" y="1428749"/>
            <a:ext cx="1509153" cy="1508760"/>
            <a:chOff x="19502499" y="1904999"/>
            <a:chExt cx="2011680" cy="2011680"/>
          </a:xfrm>
        </p:grpSpPr>
        <p:sp>
          <p:nvSpPr>
            <p:cNvPr id="83" name="Rectangle 82"/>
            <p:cNvSpPr/>
            <p:nvPr/>
          </p:nvSpPr>
          <p:spPr bwMode="auto">
            <a:xfrm>
              <a:off x="19502499" y="1904999"/>
              <a:ext cx="2011680" cy="2011680"/>
            </a:xfrm>
            <a:prstGeom prst="rect">
              <a:avLst/>
            </a:prstGeom>
            <a:solidFill>
              <a:schemeClr val="accent3"/>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Managed Self-Service BI</a:t>
              </a:r>
              <a:endParaRPr lang="en-US" sz="1500" dirty="0">
                <a:gradFill>
                  <a:gsLst>
                    <a:gs pos="0">
                      <a:srgbClr val="FFFFFF"/>
                    </a:gs>
                    <a:gs pos="100000">
                      <a:srgbClr val="FFFFFF"/>
                    </a:gs>
                  </a:gsLst>
                  <a:lin ang="5400000" scaled="0"/>
                </a:gradFill>
              </a:endParaRPr>
            </a:p>
          </p:txBody>
        </p:sp>
        <p:sp>
          <p:nvSpPr>
            <p:cNvPr id="84" name="TextBox 83"/>
            <p:cNvSpPr txBox="1"/>
            <p:nvPr/>
          </p:nvSpPr>
          <p:spPr>
            <a:xfrm>
              <a:off x="20852497" y="1904999"/>
              <a:ext cx="651290" cy="615553"/>
            </a:xfrm>
            <a:prstGeom prst="rect">
              <a:avLst/>
            </a:prstGeom>
            <a:noFill/>
          </p:spPr>
          <p:txBody>
            <a:bodyPr wrap="none" lIns="0" tIns="0" rIns="45720" bIns="0" rtlCol="0">
              <a:spAutoFit/>
            </a:bodyPr>
            <a:lstStyle/>
            <a:p>
              <a:pPr algn="r"/>
              <a:r>
                <a:rPr lang="en-US" sz="3000" b="1" dirty="0">
                  <a:solidFill>
                    <a:srgbClr val="FFC000"/>
                  </a:solidFill>
                </a:rPr>
                <a:t>11</a:t>
              </a:r>
              <a:endParaRPr lang="en-US" sz="3000" b="1" dirty="0">
                <a:solidFill>
                  <a:srgbClr val="FFC000"/>
                </a:solidFill>
              </a:endParaRPr>
            </a:p>
          </p:txBody>
        </p:sp>
        <p:pic>
          <p:nvPicPr>
            <p:cNvPr id="85" name="Picture 17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9581812" y="1981200"/>
              <a:ext cx="832241" cy="833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66"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67"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1"/>
              </a:rPr>
              <a:t>www.rapidbbs.cn</a:t>
            </a:r>
            <a:endParaRPr lang="zh-CN" altLang="en-US" sz="1200" b="0">
              <a:latin typeface="Arial" charset="0"/>
              <a:ea typeface="ＭＳ Ｐゴシック" pitchFamily="34" charset="-128"/>
            </a:endParaRPr>
          </a:p>
        </p:txBody>
      </p:sp>
      <p:pic>
        <p:nvPicPr>
          <p:cNvPr id="68" name="Picture 2">
            <a:hlinkClick r:id="rId21"/>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7205230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decel="100000" fill="hold" nodeType="withEffect">
                                  <p:stCondLst>
                                    <p:cond delay="0"/>
                                  </p:stCondLst>
                                  <p:childTnLst>
                                    <p:animMotion origin="layout" path="M -4.38322E-6 4.44444E-6 L -0.17441 4.44444E-6 " pathEditMode="relative" rAng="0" ptsTypes="AA">
                                      <p:cBhvr>
                                        <p:cTn id="6" dur="1000" fill="hold"/>
                                        <p:tgtEl>
                                          <p:spTgt spid="216"/>
                                        </p:tgtEl>
                                        <p:attrNameLst>
                                          <p:attrName>ppt_x</p:attrName>
                                          <p:attrName>ppt_y</p:attrName>
                                        </p:attrNameLst>
                                      </p:cBhvr>
                                      <p:rCtr x="-8727" y="0"/>
                                    </p:animMotion>
                                  </p:childTnLst>
                                </p:cTn>
                              </p:par>
                              <p:par>
                                <p:cTn id="7" presetID="2" presetClass="entr" presetSubtype="2" decel="100000" fill="hold" grpId="0" nodeType="withEffect">
                                  <p:stCondLst>
                                    <p:cond delay="0"/>
                                  </p:stCondLst>
                                  <p:childTnLst>
                                    <p:set>
                                      <p:cBhvr>
                                        <p:cTn id="8" dur="1" fill="hold">
                                          <p:stCondLst>
                                            <p:cond delay="0"/>
                                          </p:stCondLst>
                                        </p:cTn>
                                        <p:tgtEl>
                                          <p:spTgt spid="81"/>
                                        </p:tgtEl>
                                        <p:attrNameLst>
                                          <p:attrName>style.visibility</p:attrName>
                                        </p:attrNameLst>
                                      </p:cBhvr>
                                      <p:to>
                                        <p:strVal val="visible"/>
                                      </p:to>
                                    </p:set>
                                    <p:anim calcmode="lin" valueType="num">
                                      <p:cBhvr additive="base">
                                        <p:cTn id="9" dur="1000" fill="hold"/>
                                        <p:tgtEl>
                                          <p:spTgt spid="81"/>
                                        </p:tgtEl>
                                        <p:attrNameLst>
                                          <p:attrName>ppt_x</p:attrName>
                                        </p:attrNameLst>
                                      </p:cBhvr>
                                      <p:tavLst>
                                        <p:tav tm="0">
                                          <p:val>
                                            <p:strVal val="1+#ppt_w/2"/>
                                          </p:val>
                                        </p:tav>
                                        <p:tav tm="100000">
                                          <p:val>
                                            <p:strVal val="#ppt_x"/>
                                          </p:val>
                                        </p:tav>
                                      </p:tavLst>
                                    </p:anim>
                                    <p:anim calcmode="lin" valueType="num">
                                      <p:cBhvr additive="base">
                                        <p:cTn id="10" dur="1000" fill="hold"/>
                                        <p:tgtEl>
                                          <p:spTgt spid="81"/>
                                        </p:tgtEl>
                                        <p:attrNameLst>
                                          <p:attrName>ppt_y</p:attrName>
                                        </p:attrNameLst>
                                      </p:cBhvr>
                                      <p:tavLst>
                                        <p:tav tm="0">
                                          <p:val>
                                            <p:strVal val="#ppt_y"/>
                                          </p:val>
                                        </p:tav>
                                        <p:tav tm="100000">
                                          <p:val>
                                            <p:strVal val="#ppt_y"/>
                                          </p:val>
                                        </p:tav>
                                      </p:tavLst>
                                    </p:anim>
                                  </p:childTnLst>
                                </p:cTn>
                              </p:par>
                              <p:par>
                                <p:cTn id="11" presetID="2" presetClass="entr" presetSubtype="2" decel="100000" fill="hold" grpId="0" nodeType="withEffect">
                                  <p:stCondLst>
                                    <p:cond delay="250"/>
                                  </p:stCondLst>
                                  <p:childTnLst>
                                    <p:set>
                                      <p:cBhvr>
                                        <p:cTn id="12" dur="1" fill="hold">
                                          <p:stCondLst>
                                            <p:cond delay="0"/>
                                          </p:stCondLst>
                                        </p:cTn>
                                        <p:tgtEl>
                                          <p:spTgt spid="80"/>
                                        </p:tgtEl>
                                        <p:attrNameLst>
                                          <p:attrName>style.visibility</p:attrName>
                                        </p:attrNameLst>
                                      </p:cBhvr>
                                      <p:to>
                                        <p:strVal val="visible"/>
                                      </p:to>
                                    </p:set>
                                    <p:anim calcmode="lin" valueType="num">
                                      <p:cBhvr additive="base">
                                        <p:cTn id="13" dur="1000" fill="hold"/>
                                        <p:tgtEl>
                                          <p:spTgt spid="80"/>
                                        </p:tgtEl>
                                        <p:attrNameLst>
                                          <p:attrName>ppt_x</p:attrName>
                                        </p:attrNameLst>
                                      </p:cBhvr>
                                      <p:tavLst>
                                        <p:tav tm="0">
                                          <p:val>
                                            <p:strVal val="1+#ppt_w/2"/>
                                          </p:val>
                                        </p:tav>
                                        <p:tav tm="100000">
                                          <p:val>
                                            <p:strVal val="#ppt_x"/>
                                          </p:val>
                                        </p:tav>
                                      </p:tavLst>
                                    </p:anim>
                                    <p:anim calcmode="lin" valueType="num">
                                      <p:cBhvr additive="base">
                                        <p:cTn id="14" dur="1000" fill="hold"/>
                                        <p:tgtEl>
                                          <p:spTgt spid="80"/>
                                        </p:tgtEl>
                                        <p:attrNameLst>
                                          <p:attrName>ppt_y</p:attrName>
                                        </p:attrNameLst>
                                      </p:cBhvr>
                                      <p:tavLst>
                                        <p:tav tm="0">
                                          <p:val>
                                            <p:strVal val="#ppt_y"/>
                                          </p:val>
                                        </p:tav>
                                        <p:tav tm="100000">
                                          <p:val>
                                            <p:strVal val="#ppt_y"/>
                                          </p:val>
                                        </p:tav>
                                      </p:tavLst>
                                    </p:anim>
                                  </p:childTnLst>
                                </p:cTn>
                              </p:par>
                            </p:childTnLst>
                          </p:cTn>
                        </p:par>
                        <p:par>
                          <p:cTn id="15" fill="hold">
                            <p:stCondLst>
                              <p:cond delay="1250"/>
                            </p:stCondLst>
                            <p:childTnLst>
                              <p:par>
                                <p:cTn id="16" presetID="22" presetClass="entr" presetSubtype="4" fill="hold" nodeType="afterEffect">
                                  <p:stCondLst>
                                    <p:cond delay="0"/>
                                  </p:stCondLst>
                                  <p:childTnLst>
                                    <p:set>
                                      <p:cBhvr>
                                        <p:cTn id="17" dur="1" fill="hold">
                                          <p:stCondLst>
                                            <p:cond delay="0"/>
                                          </p:stCondLst>
                                        </p:cTn>
                                        <p:tgtEl>
                                          <p:spTgt spid="82"/>
                                        </p:tgtEl>
                                        <p:attrNameLst>
                                          <p:attrName>style.visibility</p:attrName>
                                        </p:attrNameLst>
                                      </p:cBhvr>
                                      <p:to>
                                        <p:strVal val="visible"/>
                                      </p:to>
                                    </p:set>
                                    <p:animEffect transition="in" filter="wipe(down)">
                                      <p:cBhvr>
                                        <p:cTn id="18" dur="500"/>
                                        <p:tgtEl>
                                          <p:spTgt spid="8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0" grpId="0" animBg="1"/>
      <p:bldP spid="81" grpId="0" animBg="1"/>
    </p:bldLst>
  </p:timing>
</p:sld>
</file>

<file path=ppt/slides/slide5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Title 2"/>
          <p:cNvSpPr>
            <a:spLocks noGrp="1"/>
          </p:cNvSpPr>
          <p:nvPr>
            <p:ph type="title"/>
          </p:nvPr>
        </p:nvSpPr>
        <p:spPr>
          <a:xfrm>
            <a:off x="285825" y="171450"/>
            <a:ext cx="6280916" cy="457049"/>
          </a:xfrm>
        </p:spPr>
        <p:txBody>
          <a:bodyPr/>
          <a:lstStyle/>
          <a:p>
            <a:r>
              <a:rPr lang="en-US" dirty="0"/>
              <a:t>SQL Server 2012</a:t>
            </a:r>
          </a:p>
        </p:txBody>
      </p:sp>
      <p:pic>
        <p:nvPicPr>
          <p:cNvPr id="71" name="Picture 7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05641" y="4672464"/>
            <a:ext cx="1725220" cy="356737"/>
          </a:xfrm>
          <a:prstGeom prst="rect">
            <a:avLst/>
          </a:prstGeom>
        </p:spPr>
      </p:pic>
      <p:grpSp>
        <p:nvGrpSpPr>
          <p:cNvPr id="216" name="Group 215"/>
          <p:cNvGrpSpPr/>
          <p:nvPr/>
        </p:nvGrpSpPr>
        <p:grpSpPr>
          <a:xfrm>
            <a:off x="-15656428" y="1428749"/>
            <a:ext cx="19040378" cy="1508760"/>
            <a:chOff x="381000" y="1904999"/>
            <a:chExt cx="25380560" cy="2011680"/>
          </a:xfrm>
        </p:grpSpPr>
        <p:grpSp>
          <p:nvGrpSpPr>
            <p:cNvPr id="217" name="Group 216"/>
            <p:cNvGrpSpPr/>
            <p:nvPr/>
          </p:nvGrpSpPr>
          <p:grpSpPr>
            <a:xfrm>
              <a:off x="17376047" y="1904999"/>
              <a:ext cx="2011680" cy="2011680"/>
              <a:chOff x="17376047" y="1904999"/>
              <a:chExt cx="2011680" cy="2011680"/>
            </a:xfrm>
          </p:grpSpPr>
          <p:sp>
            <p:nvSpPr>
              <p:cNvPr id="269" name="Rectangle 268"/>
              <p:cNvSpPr/>
              <p:nvPr/>
            </p:nvSpPr>
            <p:spPr bwMode="auto">
              <a:xfrm>
                <a:off x="17376047"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Big Data &amp; Data </a:t>
                </a:r>
                <a:r>
                  <a:rPr lang="en-US" sz="1500" dirty="0">
                    <a:gradFill>
                      <a:gsLst>
                        <a:gs pos="0">
                          <a:srgbClr val="FFFFFF"/>
                        </a:gs>
                        <a:gs pos="100000">
                          <a:srgbClr val="FFFFFF"/>
                        </a:gs>
                      </a:gsLst>
                      <a:lin ang="5400000" scaled="0"/>
                    </a:gradFill>
                  </a:rPr>
                  <a:t>Warehousing</a:t>
                </a:r>
              </a:p>
            </p:txBody>
          </p:sp>
          <p:pic>
            <p:nvPicPr>
              <p:cNvPr id="270" name="Picture 8"/>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7490150" y="2029883"/>
                <a:ext cx="896304" cy="7133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71" name="TextBox 270"/>
              <p:cNvSpPr txBox="1"/>
              <p:nvPr/>
            </p:nvSpPr>
            <p:spPr>
              <a:xfrm>
                <a:off x="19021518" y="1904999"/>
                <a:ext cx="356415" cy="615553"/>
              </a:xfrm>
              <a:prstGeom prst="rect">
                <a:avLst/>
              </a:prstGeom>
              <a:noFill/>
            </p:spPr>
            <p:txBody>
              <a:bodyPr wrap="none" lIns="0" tIns="0" rIns="45720" bIns="0" rtlCol="0">
                <a:spAutoFit/>
              </a:bodyPr>
              <a:lstStyle/>
              <a:p>
                <a:pPr algn="r"/>
                <a:r>
                  <a:rPr lang="en-US" sz="3000" b="1" dirty="0">
                    <a:solidFill>
                      <a:schemeClr val="tx2">
                        <a:lumMod val="75000"/>
                      </a:schemeClr>
                    </a:solidFill>
                  </a:rPr>
                  <a:t>9</a:t>
                </a:r>
                <a:endParaRPr lang="en-US" sz="3000" b="1" dirty="0">
                  <a:solidFill>
                    <a:schemeClr val="tx2">
                      <a:lumMod val="75000"/>
                    </a:schemeClr>
                  </a:solidFill>
                </a:endParaRPr>
              </a:p>
            </p:txBody>
          </p:sp>
        </p:grpSp>
        <p:grpSp>
          <p:nvGrpSpPr>
            <p:cNvPr id="218" name="Group 217"/>
            <p:cNvGrpSpPr/>
            <p:nvPr/>
          </p:nvGrpSpPr>
          <p:grpSpPr>
            <a:xfrm>
              <a:off x="21625269" y="1904999"/>
              <a:ext cx="2011680" cy="2011680"/>
              <a:chOff x="21625269" y="1904999"/>
              <a:chExt cx="2011680" cy="2011680"/>
            </a:xfrm>
          </p:grpSpPr>
          <p:sp>
            <p:nvSpPr>
              <p:cNvPr id="266" name="Rectangle 265"/>
              <p:cNvSpPr/>
              <p:nvPr/>
            </p:nvSpPr>
            <p:spPr bwMode="auto">
              <a:xfrm>
                <a:off x="21625269"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Managed Self-Service BI</a:t>
                </a:r>
                <a:endParaRPr lang="en-US" sz="1500" dirty="0">
                  <a:gradFill>
                    <a:gsLst>
                      <a:gs pos="0">
                        <a:srgbClr val="FFFFFF"/>
                      </a:gs>
                      <a:gs pos="100000">
                        <a:srgbClr val="FFFFFF"/>
                      </a:gs>
                    </a:gsLst>
                    <a:lin ang="5400000" scaled="0"/>
                  </a:gradFill>
                </a:endParaRPr>
              </a:p>
            </p:txBody>
          </p:sp>
          <p:sp>
            <p:nvSpPr>
              <p:cNvPr id="267" name="TextBox 266"/>
              <p:cNvSpPr txBox="1"/>
              <p:nvPr/>
            </p:nvSpPr>
            <p:spPr>
              <a:xfrm>
                <a:off x="22975267" y="1904999"/>
                <a:ext cx="651290" cy="615553"/>
              </a:xfrm>
              <a:prstGeom prst="rect">
                <a:avLst/>
              </a:prstGeom>
              <a:noFill/>
            </p:spPr>
            <p:txBody>
              <a:bodyPr wrap="none" lIns="0" tIns="0" rIns="45720" bIns="0" rtlCol="0">
                <a:spAutoFit/>
              </a:bodyPr>
              <a:lstStyle/>
              <a:p>
                <a:pPr algn="r"/>
                <a:r>
                  <a:rPr lang="en-US" sz="3000" b="1" dirty="0">
                    <a:solidFill>
                      <a:schemeClr val="tx2">
                        <a:lumMod val="75000"/>
                      </a:schemeClr>
                    </a:solidFill>
                  </a:rPr>
                  <a:t>11</a:t>
                </a:r>
                <a:endParaRPr lang="en-US" sz="3000" b="1" dirty="0">
                  <a:solidFill>
                    <a:schemeClr val="tx2">
                      <a:lumMod val="75000"/>
                    </a:schemeClr>
                  </a:solidFill>
                </a:endParaRPr>
              </a:p>
            </p:txBody>
          </p:sp>
          <p:pic>
            <p:nvPicPr>
              <p:cNvPr id="268" name="Picture 174"/>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1704582" y="1981200"/>
                <a:ext cx="832241" cy="833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9" name="Group 218"/>
            <p:cNvGrpSpPr/>
            <p:nvPr/>
          </p:nvGrpSpPr>
          <p:grpSpPr>
            <a:xfrm>
              <a:off x="23749880" y="1904999"/>
              <a:ext cx="2011680" cy="2011680"/>
              <a:chOff x="23749880" y="1904999"/>
              <a:chExt cx="2011680" cy="2011680"/>
            </a:xfrm>
          </p:grpSpPr>
          <p:sp>
            <p:nvSpPr>
              <p:cNvPr id="263" name="Rectangle 262"/>
              <p:cNvSpPr/>
              <p:nvPr/>
            </p:nvSpPr>
            <p:spPr bwMode="auto">
              <a:xfrm>
                <a:off x="23749880"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Rapid Data Exploration</a:t>
                </a:r>
                <a:endParaRPr lang="en-US" sz="1500" dirty="0">
                  <a:gradFill>
                    <a:gsLst>
                      <a:gs pos="0">
                        <a:srgbClr val="FFFFFF"/>
                      </a:gs>
                      <a:gs pos="100000">
                        <a:srgbClr val="FFFFFF"/>
                      </a:gs>
                    </a:gsLst>
                    <a:lin ang="5400000" scaled="0"/>
                  </a:gradFill>
                </a:endParaRPr>
              </a:p>
            </p:txBody>
          </p:sp>
          <p:sp>
            <p:nvSpPr>
              <p:cNvPr id="264" name="TextBox 263"/>
              <p:cNvSpPr txBox="1"/>
              <p:nvPr/>
            </p:nvSpPr>
            <p:spPr>
              <a:xfrm>
                <a:off x="25099878" y="1904999"/>
                <a:ext cx="651290" cy="615553"/>
              </a:xfrm>
              <a:prstGeom prst="rect">
                <a:avLst/>
              </a:prstGeom>
              <a:noFill/>
            </p:spPr>
            <p:txBody>
              <a:bodyPr wrap="none" lIns="0" tIns="0" rIns="45720" bIns="0" rtlCol="0">
                <a:spAutoFit/>
              </a:bodyPr>
              <a:lstStyle/>
              <a:p>
                <a:pPr algn="r"/>
                <a:r>
                  <a:rPr lang="en-US" sz="3000" b="1" dirty="0">
                    <a:solidFill>
                      <a:schemeClr val="tx2">
                        <a:lumMod val="75000"/>
                      </a:schemeClr>
                    </a:solidFill>
                  </a:rPr>
                  <a:t>12</a:t>
                </a:r>
                <a:endParaRPr lang="en-US" sz="3000" b="1" dirty="0">
                  <a:solidFill>
                    <a:schemeClr val="tx2">
                      <a:lumMod val="75000"/>
                    </a:schemeClr>
                  </a:solidFill>
                </a:endParaRPr>
              </a:p>
            </p:txBody>
          </p:sp>
          <p:pic>
            <p:nvPicPr>
              <p:cNvPr id="265" name="Picture 3"/>
              <p:cNvPicPr>
                <a:picLocks noChangeAspect="1" noChangeArrowheads="1"/>
              </p:cNvPicPr>
              <p:nvPr>
                <p:custDataLst>
                  <p:tags r:id="rId4"/>
                </p:custDataLst>
              </p:nvPr>
            </p:nvPicPr>
            <p:blipFill>
              <a:blip r:embed="rId9" cstate="print">
                <a:extLst>
                  <a:ext uri="{28A0092B-C50C-407E-A947-70E740481C1C}">
                    <a14:useLocalDpi xmlns:a14="http://schemas.microsoft.com/office/drawing/2010/main"/>
                  </a:ext>
                </a:extLst>
              </a:blip>
              <a:srcRect/>
              <a:stretch>
                <a:fillRect/>
              </a:stretch>
            </p:blipFill>
            <p:spPr bwMode="auto">
              <a:xfrm>
                <a:off x="23838182" y="1959614"/>
                <a:ext cx="593243" cy="859786"/>
              </a:xfrm>
              <a:prstGeom prst="rect">
                <a:avLst/>
              </a:prstGeom>
              <a:noFill/>
              <a:ln>
                <a:noFill/>
                <a:headEnd type="none" w="med" len="med"/>
                <a:tailEnd type="none" w="med" len="med"/>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20" name="Group 219"/>
            <p:cNvGrpSpPr/>
            <p:nvPr/>
          </p:nvGrpSpPr>
          <p:grpSpPr>
            <a:xfrm>
              <a:off x="4630222" y="1904999"/>
              <a:ext cx="2026976" cy="2011680"/>
              <a:chOff x="4630222" y="1904999"/>
              <a:chExt cx="2026976" cy="2011680"/>
            </a:xfrm>
          </p:grpSpPr>
          <p:sp>
            <p:nvSpPr>
              <p:cNvPr id="260" name="Rectangle 259"/>
              <p:cNvSpPr/>
              <p:nvPr/>
            </p:nvSpPr>
            <p:spPr bwMode="auto">
              <a:xfrm>
                <a:off x="4630222"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Required 9s &amp; Data Protection</a:t>
                </a:r>
                <a:endParaRPr lang="en-US" sz="1500" dirty="0">
                  <a:gradFill>
                    <a:gsLst>
                      <a:gs pos="0">
                        <a:srgbClr val="FFFFFF"/>
                      </a:gs>
                      <a:gs pos="100000">
                        <a:srgbClr val="FFFFFF"/>
                      </a:gs>
                    </a:gsLst>
                    <a:lin ang="5400000" scaled="0"/>
                  </a:gradFill>
                </a:endParaRPr>
              </a:p>
            </p:txBody>
          </p:sp>
          <p:sp>
            <p:nvSpPr>
              <p:cNvPr id="261" name="TextBox 260"/>
              <p:cNvSpPr txBox="1"/>
              <p:nvPr/>
            </p:nvSpPr>
            <p:spPr>
              <a:xfrm>
                <a:off x="6300783"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3</a:t>
                </a:r>
              </a:p>
            </p:txBody>
          </p:sp>
          <p:pic>
            <p:nvPicPr>
              <p:cNvPr id="262" name="Picture 4" descr="\\MAGNUM\Projects\Microsoft\Cloud Power FY12\Design\ICONS_PNG\Check_mark.png"/>
              <p:cNvPicPr>
                <a:picLocks noChangeAspect="1" noChangeArrowheads="1"/>
              </p:cNvPicPr>
              <p:nvPr/>
            </p:nvPicPr>
            <p:blipFill rotWithShape="1">
              <a:blip r:embed="rId10" cstate="print">
                <a:lum bright="100000"/>
              </a:blip>
              <a:srcRect t="11515"/>
              <a:stretch/>
            </p:blipFill>
            <p:spPr bwMode="auto">
              <a:xfrm>
                <a:off x="4669492" y="1927464"/>
                <a:ext cx="1253470" cy="1109124"/>
              </a:xfrm>
              <a:prstGeom prst="rect">
                <a:avLst/>
              </a:prstGeom>
              <a:noFill/>
            </p:spPr>
          </p:pic>
        </p:grpSp>
        <p:grpSp>
          <p:nvGrpSpPr>
            <p:cNvPr id="221" name="Group 220"/>
            <p:cNvGrpSpPr/>
            <p:nvPr/>
          </p:nvGrpSpPr>
          <p:grpSpPr>
            <a:xfrm>
              <a:off x="19500658" y="1904999"/>
              <a:ext cx="2011680" cy="2011680"/>
              <a:chOff x="19500658" y="1904999"/>
              <a:chExt cx="2011680" cy="2011680"/>
            </a:xfrm>
          </p:grpSpPr>
          <p:sp>
            <p:nvSpPr>
              <p:cNvPr id="257" name="Rectangle 256"/>
              <p:cNvSpPr/>
              <p:nvPr/>
            </p:nvSpPr>
            <p:spPr bwMode="auto">
              <a:xfrm>
                <a:off x="19500658"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Credible, Consistent Data</a:t>
                </a:r>
                <a:endParaRPr lang="en-US" sz="1500" dirty="0">
                  <a:gradFill>
                    <a:gsLst>
                      <a:gs pos="0">
                        <a:srgbClr val="FFFFFF"/>
                      </a:gs>
                      <a:gs pos="100000">
                        <a:srgbClr val="FFFFFF"/>
                      </a:gs>
                    </a:gsLst>
                    <a:lin ang="5400000" scaled="0"/>
                  </a:gradFill>
                </a:endParaRPr>
              </a:p>
            </p:txBody>
          </p:sp>
          <p:sp>
            <p:nvSpPr>
              <p:cNvPr id="258" name="TextBox 257"/>
              <p:cNvSpPr txBox="1"/>
              <p:nvPr/>
            </p:nvSpPr>
            <p:spPr>
              <a:xfrm>
                <a:off x="20861048" y="1904999"/>
                <a:ext cx="651290" cy="615553"/>
              </a:xfrm>
              <a:prstGeom prst="rect">
                <a:avLst/>
              </a:prstGeom>
              <a:noFill/>
            </p:spPr>
            <p:txBody>
              <a:bodyPr wrap="none" lIns="0" tIns="0" rIns="45720" bIns="0" rtlCol="0">
                <a:spAutoFit/>
              </a:bodyPr>
              <a:lstStyle/>
              <a:p>
                <a:pPr algn="r"/>
                <a:r>
                  <a:rPr lang="en-US" sz="3000" b="1" dirty="0">
                    <a:solidFill>
                      <a:schemeClr val="tx2">
                        <a:lumMod val="75000"/>
                      </a:schemeClr>
                    </a:solidFill>
                  </a:rPr>
                  <a:t>10</a:t>
                </a:r>
                <a:endParaRPr lang="en-US" sz="3000" b="1" dirty="0">
                  <a:solidFill>
                    <a:schemeClr val="tx2">
                      <a:lumMod val="75000"/>
                    </a:schemeClr>
                  </a:solidFill>
                </a:endParaRPr>
              </a:p>
            </p:txBody>
          </p:sp>
          <p:pic>
            <p:nvPicPr>
              <p:cNvPr id="259" name="Picture 2"/>
              <p:cNvPicPr>
                <a:picLocks noChangeAspect="1" noChangeArrowheads="1"/>
              </p:cNvPicPr>
              <p:nvPr/>
            </p:nvPicPr>
            <p:blipFill>
              <a:blip r:embed="rId11"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9618561" y="2012733"/>
                <a:ext cx="958499" cy="8515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22" name="Group 221"/>
            <p:cNvGrpSpPr/>
            <p:nvPr/>
          </p:nvGrpSpPr>
          <p:grpSpPr>
            <a:xfrm>
              <a:off x="2505611" y="1904999"/>
              <a:ext cx="2022972" cy="2011680"/>
              <a:chOff x="2505611" y="1904999"/>
              <a:chExt cx="2022972" cy="2011680"/>
            </a:xfrm>
          </p:grpSpPr>
          <p:sp>
            <p:nvSpPr>
              <p:cNvPr id="254" name="Rectangle 253"/>
              <p:cNvSpPr/>
              <p:nvPr/>
            </p:nvSpPr>
            <p:spPr bwMode="auto">
              <a:xfrm>
                <a:off x="2505611"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Security &amp; Compliance</a:t>
                </a:r>
                <a:endParaRPr lang="en-US" sz="1500" dirty="0">
                  <a:gradFill>
                    <a:gsLst>
                      <a:gs pos="0">
                        <a:srgbClr val="FFFFFF"/>
                      </a:gs>
                      <a:gs pos="100000">
                        <a:srgbClr val="FFFFFF"/>
                      </a:gs>
                    </a:gsLst>
                    <a:lin ang="5400000" scaled="0"/>
                  </a:gradFill>
                </a:endParaRPr>
              </a:p>
            </p:txBody>
          </p:sp>
          <p:sp>
            <p:nvSpPr>
              <p:cNvPr id="255" name="TextBox 254"/>
              <p:cNvSpPr txBox="1"/>
              <p:nvPr/>
            </p:nvSpPr>
            <p:spPr>
              <a:xfrm>
                <a:off x="4172168"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2</a:t>
                </a:r>
              </a:p>
            </p:txBody>
          </p:sp>
          <p:pic>
            <p:nvPicPr>
              <p:cNvPr id="256" name="Picture 255"/>
              <p:cNvPicPr>
                <a:picLocks noChangeAspect="1"/>
              </p:cNvPicPr>
              <p:nvPr>
                <p:custDataLst>
                  <p:tags r:id="rId3"/>
                </p:custDataLst>
              </p:nvPr>
            </p:nvPicPr>
            <p:blipFill>
              <a:blip r:embed="rId12">
                <a:extLst>
                  <a:ext uri="{28A0092B-C50C-407E-A947-70E740481C1C}">
                    <a14:useLocalDpi xmlns:a14="http://schemas.microsoft.com/office/drawing/2010/main" val="0"/>
                  </a:ext>
                </a:extLst>
              </a:blip>
              <a:stretch>
                <a:fillRect/>
              </a:stretch>
            </p:blipFill>
            <p:spPr>
              <a:xfrm>
                <a:off x="2655779" y="1983751"/>
                <a:ext cx="883759" cy="875588"/>
              </a:xfrm>
              <a:prstGeom prst="rect">
                <a:avLst/>
              </a:prstGeom>
              <a:effectLst/>
            </p:spPr>
          </p:pic>
        </p:grpSp>
        <p:grpSp>
          <p:nvGrpSpPr>
            <p:cNvPr id="223" name="Group 222"/>
            <p:cNvGrpSpPr/>
            <p:nvPr/>
          </p:nvGrpSpPr>
          <p:grpSpPr>
            <a:xfrm>
              <a:off x="381000" y="1904999"/>
              <a:ext cx="2026976" cy="2011680"/>
              <a:chOff x="381000" y="1904999"/>
              <a:chExt cx="2026976" cy="2011680"/>
            </a:xfrm>
          </p:grpSpPr>
          <p:sp>
            <p:nvSpPr>
              <p:cNvPr id="251" name="Rectangle 250"/>
              <p:cNvSpPr/>
              <p:nvPr/>
            </p:nvSpPr>
            <p:spPr bwMode="auto">
              <a:xfrm>
                <a:off x="381000"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Blazing-Fast Performance</a:t>
                </a:r>
              </a:p>
            </p:txBody>
          </p:sp>
          <p:sp>
            <p:nvSpPr>
              <p:cNvPr id="252" name="TextBox 251"/>
              <p:cNvSpPr txBox="1"/>
              <p:nvPr/>
            </p:nvSpPr>
            <p:spPr>
              <a:xfrm>
                <a:off x="2051561"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1</a:t>
                </a:r>
              </a:p>
            </p:txBody>
          </p:sp>
          <p:pic>
            <p:nvPicPr>
              <p:cNvPr id="253" name="Picture 252"/>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506299" y="2057549"/>
                <a:ext cx="880541" cy="880541"/>
              </a:xfrm>
              <a:prstGeom prst="rect">
                <a:avLst/>
              </a:prstGeom>
            </p:spPr>
          </p:pic>
        </p:grpSp>
        <p:grpSp>
          <p:nvGrpSpPr>
            <p:cNvPr id="224" name="Group 223"/>
            <p:cNvGrpSpPr/>
            <p:nvPr/>
          </p:nvGrpSpPr>
          <p:grpSpPr>
            <a:xfrm>
              <a:off x="8879444" y="1904999"/>
              <a:ext cx="2012580" cy="2011680"/>
              <a:chOff x="8879444" y="1904999"/>
              <a:chExt cx="2012580" cy="2011680"/>
            </a:xfrm>
          </p:grpSpPr>
          <p:sp>
            <p:nvSpPr>
              <p:cNvPr id="244" name="Rectangle 243"/>
              <p:cNvSpPr/>
              <p:nvPr/>
            </p:nvSpPr>
            <p:spPr bwMode="auto">
              <a:xfrm>
                <a:off x="8879444"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Scale on Demand</a:t>
                </a:r>
                <a:endParaRPr lang="en-US" sz="1500" dirty="0">
                  <a:gradFill>
                    <a:gsLst>
                      <a:gs pos="0">
                        <a:srgbClr val="FFFFFF"/>
                      </a:gs>
                      <a:gs pos="100000">
                        <a:srgbClr val="FFFFFF"/>
                      </a:gs>
                    </a:gsLst>
                    <a:lin ang="5400000" scaled="0"/>
                  </a:gradFill>
                </a:endParaRPr>
              </a:p>
            </p:txBody>
          </p:sp>
          <p:sp>
            <p:nvSpPr>
              <p:cNvPr id="245" name="TextBox 244"/>
              <p:cNvSpPr txBox="1"/>
              <p:nvPr/>
            </p:nvSpPr>
            <p:spPr>
              <a:xfrm>
                <a:off x="10535609"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5</a:t>
                </a:r>
              </a:p>
            </p:txBody>
          </p:sp>
          <p:grpSp>
            <p:nvGrpSpPr>
              <p:cNvPr id="246" name="Group 245"/>
              <p:cNvGrpSpPr/>
              <p:nvPr/>
            </p:nvGrpSpPr>
            <p:grpSpPr>
              <a:xfrm>
                <a:off x="9098012" y="2146879"/>
                <a:ext cx="958800" cy="671282"/>
                <a:chOff x="7792432" y="3461097"/>
                <a:chExt cx="568902" cy="299861"/>
              </a:xfrm>
            </p:grpSpPr>
            <p:sp>
              <p:nvSpPr>
                <p:cNvPr id="247" name="Freeform 8"/>
                <p:cNvSpPr>
                  <a:spLocks/>
                </p:cNvSpPr>
                <p:nvPr/>
              </p:nvSpPr>
              <p:spPr bwMode="auto">
                <a:xfrm>
                  <a:off x="8055009" y="3461097"/>
                  <a:ext cx="306325" cy="299861"/>
                </a:xfrm>
                <a:custGeom>
                  <a:avLst/>
                  <a:gdLst>
                    <a:gd name="T0" fmla="*/ 100 w 100"/>
                    <a:gd name="T1" fmla="*/ 0 h 98"/>
                    <a:gd name="T2" fmla="*/ 16 w 100"/>
                    <a:gd name="T3" fmla="*/ 13 h 98"/>
                    <a:gd name="T4" fmla="*/ 41 w 100"/>
                    <a:gd name="T5" fmla="*/ 39 h 98"/>
                    <a:gd name="T6" fmla="*/ 41 w 100"/>
                    <a:gd name="T7" fmla="*/ 39 h 98"/>
                    <a:gd name="T8" fmla="*/ 6 w 100"/>
                    <a:gd name="T9" fmla="*/ 75 h 98"/>
                    <a:gd name="T10" fmla="*/ 6 w 100"/>
                    <a:gd name="T11" fmla="*/ 94 h 98"/>
                    <a:gd name="T12" fmla="*/ 16 w 100"/>
                    <a:gd name="T13" fmla="*/ 98 h 98"/>
                    <a:gd name="T14" fmla="*/ 25 w 100"/>
                    <a:gd name="T15" fmla="*/ 94 h 98"/>
                    <a:gd name="T16" fmla="*/ 61 w 100"/>
                    <a:gd name="T17" fmla="*/ 59 h 98"/>
                    <a:gd name="T18" fmla="*/ 61 w 100"/>
                    <a:gd name="T19" fmla="*/ 59 h 98"/>
                    <a:gd name="T20" fmla="*/ 87 w 100"/>
                    <a:gd name="T21" fmla="*/ 84 h 98"/>
                    <a:gd name="T22" fmla="*/ 100 w 100"/>
                    <a:gd name="T23"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98">
                      <a:moveTo>
                        <a:pt x="100" y="0"/>
                      </a:moveTo>
                      <a:cubicBezTo>
                        <a:pt x="16" y="13"/>
                        <a:pt x="16" y="13"/>
                        <a:pt x="16" y="13"/>
                      </a:cubicBezTo>
                      <a:cubicBezTo>
                        <a:pt x="41" y="39"/>
                        <a:pt x="41" y="39"/>
                        <a:pt x="41" y="39"/>
                      </a:cubicBezTo>
                      <a:cubicBezTo>
                        <a:pt x="41" y="39"/>
                        <a:pt x="41" y="39"/>
                        <a:pt x="41" y="39"/>
                      </a:cubicBezTo>
                      <a:cubicBezTo>
                        <a:pt x="6" y="75"/>
                        <a:pt x="6" y="75"/>
                        <a:pt x="6" y="75"/>
                      </a:cubicBezTo>
                      <a:cubicBezTo>
                        <a:pt x="0" y="80"/>
                        <a:pt x="0" y="89"/>
                        <a:pt x="6" y="94"/>
                      </a:cubicBezTo>
                      <a:cubicBezTo>
                        <a:pt x="8" y="97"/>
                        <a:pt x="12" y="98"/>
                        <a:pt x="16" y="98"/>
                      </a:cubicBezTo>
                      <a:cubicBezTo>
                        <a:pt x="19" y="98"/>
                        <a:pt x="23" y="97"/>
                        <a:pt x="25" y="94"/>
                      </a:cubicBezTo>
                      <a:cubicBezTo>
                        <a:pt x="61" y="59"/>
                        <a:pt x="61" y="59"/>
                        <a:pt x="61" y="59"/>
                      </a:cubicBezTo>
                      <a:cubicBezTo>
                        <a:pt x="61" y="59"/>
                        <a:pt x="61" y="59"/>
                        <a:pt x="61" y="59"/>
                      </a:cubicBezTo>
                      <a:cubicBezTo>
                        <a:pt x="87" y="84"/>
                        <a:pt x="87" y="84"/>
                        <a:pt x="87" y="84"/>
                      </a:cubicBezTo>
                      <a:lnTo>
                        <a:pt x="10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Rectangle 9"/>
                <p:cNvSpPr>
                  <a:spLocks noChangeArrowheads="1"/>
                </p:cNvSpPr>
                <p:nvPr/>
              </p:nvSpPr>
              <p:spPr bwMode="auto">
                <a:xfrm>
                  <a:off x="7891463" y="3675653"/>
                  <a:ext cx="212661"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Rectangle 9"/>
                <p:cNvSpPr>
                  <a:spLocks noChangeArrowheads="1"/>
                </p:cNvSpPr>
                <p:nvPr/>
              </p:nvSpPr>
              <p:spPr bwMode="auto">
                <a:xfrm>
                  <a:off x="7792432" y="3675653"/>
                  <a:ext cx="27432"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Rectangle 9"/>
                <p:cNvSpPr>
                  <a:spLocks noChangeArrowheads="1"/>
                </p:cNvSpPr>
                <p:nvPr/>
              </p:nvSpPr>
              <p:spPr bwMode="auto">
                <a:xfrm>
                  <a:off x="7832804" y="3675653"/>
                  <a:ext cx="45719" cy="8530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25" name="Group 224"/>
            <p:cNvGrpSpPr/>
            <p:nvPr/>
          </p:nvGrpSpPr>
          <p:grpSpPr>
            <a:xfrm>
              <a:off x="6754833" y="1904999"/>
              <a:ext cx="2022972" cy="2011680"/>
              <a:chOff x="6754833" y="1904999"/>
              <a:chExt cx="2022972" cy="2011680"/>
            </a:xfrm>
          </p:grpSpPr>
          <p:sp>
            <p:nvSpPr>
              <p:cNvPr id="238" name="Rectangle 237"/>
              <p:cNvSpPr/>
              <p:nvPr/>
            </p:nvSpPr>
            <p:spPr bwMode="auto">
              <a:xfrm>
                <a:off x="6754833"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Flexibility &amp; Choice</a:t>
                </a:r>
                <a:endParaRPr lang="en-US" sz="1500" dirty="0">
                  <a:gradFill>
                    <a:gsLst>
                      <a:gs pos="0">
                        <a:srgbClr val="FFFFFF"/>
                      </a:gs>
                      <a:gs pos="100000">
                        <a:srgbClr val="FFFFFF"/>
                      </a:gs>
                    </a:gsLst>
                    <a:lin ang="5400000" scaled="0"/>
                  </a:gradFill>
                </a:endParaRPr>
              </a:p>
            </p:txBody>
          </p:sp>
          <p:sp>
            <p:nvSpPr>
              <p:cNvPr id="239" name="TextBox 238"/>
              <p:cNvSpPr txBox="1"/>
              <p:nvPr/>
            </p:nvSpPr>
            <p:spPr>
              <a:xfrm>
                <a:off x="8421390"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4</a:t>
                </a:r>
              </a:p>
            </p:txBody>
          </p:sp>
          <p:grpSp>
            <p:nvGrpSpPr>
              <p:cNvPr id="240" name="Group 239"/>
              <p:cNvGrpSpPr/>
              <p:nvPr>
                <p:custDataLst>
                  <p:tags r:id="rId2"/>
                </p:custDataLst>
              </p:nvPr>
            </p:nvGrpSpPr>
            <p:grpSpPr>
              <a:xfrm>
                <a:off x="6856412" y="1967341"/>
                <a:ext cx="1105890" cy="850820"/>
                <a:chOff x="3127606" y="1031618"/>
                <a:chExt cx="1905261" cy="1465821"/>
              </a:xfrm>
            </p:grpSpPr>
            <p:pic>
              <p:nvPicPr>
                <p:cNvPr id="241" name="Picture 6" descr="\\MAGNUM\Projects\Microsoft\Cloud Power FY12\Design\ICONS_PNG\Cloud.png"/>
                <p:cNvPicPr>
                  <a:picLocks noChangeAspect="1" noChangeArrowheads="1"/>
                </p:cNvPicPr>
                <p:nvPr/>
              </p:nvPicPr>
              <p:blipFill rotWithShape="1">
                <a:blip r:embed="rId14" cstate="print">
                  <a:extLst>
                    <a:ext uri="{BEBA8EAE-BF5A-486C-A8C5-ECC9F3942E4B}">
                      <a14:imgProps xmlns:a14="http://schemas.microsoft.com/office/drawing/2010/main">
                        <a14:imgLayer r:embed="rId15">
                          <a14:imgEffect>
                            <a14:brightnessContrast bright="100000"/>
                          </a14:imgEffect>
                        </a14:imgLayer>
                      </a14:imgProps>
                    </a:ext>
                  </a:extLst>
                </a:blip>
                <a:srcRect t="15452" b="16319"/>
                <a:stretch/>
              </p:blipFill>
              <p:spPr bwMode="auto">
                <a:xfrm>
                  <a:off x="3423223" y="1031618"/>
                  <a:ext cx="1609644" cy="1098248"/>
                </a:xfrm>
                <a:prstGeom prst="rect">
                  <a:avLst/>
                </a:prstGeom>
                <a:noFill/>
              </p:spPr>
            </p:pic>
            <p:pic>
              <p:nvPicPr>
                <p:cNvPr id="242" name="Picture 2" descr="\\MAGNUM\Projects\Microsoft\Cloud Power FY12\Design\Icons\PNGs\Server_2.png"/>
                <p:cNvPicPr>
                  <a:picLocks noChangeAspect="1" noChangeArrowheads="1"/>
                </p:cNvPicPr>
                <p:nvPr/>
              </p:nvPicPr>
              <p:blipFill rotWithShape="1">
                <a:blip r:embed="rId16" cstate="print">
                  <a:lum bright="100000"/>
                  <a:extLst>
                    <a:ext uri="{BEBA8EAE-BF5A-486C-A8C5-ECC9F3942E4B}">
                      <a14:imgProps xmlns:a14="http://schemas.microsoft.com/office/drawing/2010/main">
                        <a14:imgLayer r:embed="rId17">
                          <a14:imgEffect>
                            <a14:colorTemperature colorTemp="1500"/>
                          </a14:imgEffect>
                        </a14:imgLayer>
                      </a14:imgProps>
                    </a:ext>
                  </a:extLst>
                </a:blip>
                <a:srcRect l="27619" t="9540" r="26586" b="9151"/>
                <a:stretch/>
              </p:blipFill>
              <p:spPr bwMode="auto">
                <a:xfrm>
                  <a:off x="3537558" y="1444626"/>
                  <a:ext cx="589660" cy="916080"/>
                </a:xfrm>
                <a:prstGeom prst="rect">
                  <a:avLst/>
                </a:prstGeom>
                <a:noFill/>
                <a:effectLst>
                  <a:outerShdw blurRad="50800" dist="12700" sx="103000" sy="103000" algn="ctr" rotWithShape="0">
                    <a:prstClr val="black">
                      <a:alpha val="40000"/>
                    </a:prstClr>
                  </a:outerShdw>
                </a:effectLst>
              </p:spPr>
            </p:pic>
            <p:pic>
              <p:nvPicPr>
                <p:cNvPr id="243" name="Picture 2" descr="\\MAGNUM\Projects\Microsoft\Cloud Power FY12\Design\Icons\PNGs\Server_2.png"/>
                <p:cNvPicPr>
                  <a:picLocks noChangeAspect="1" noChangeArrowheads="1"/>
                </p:cNvPicPr>
                <p:nvPr/>
              </p:nvPicPr>
              <p:blipFill rotWithShape="1">
                <a:blip r:embed="rId16" cstate="print">
                  <a:lum bright="100000"/>
                  <a:extLst>
                    <a:ext uri="{BEBA8EAE-BF5A-486C-A8C5-ECC9F3942E4B}">
                      <a14:imgProps xmlns:a14="http://schemas.microsoft.com/office/drawing/2010/main">
                        <a14:imgLayer r:embed="rId17">
                          <a14:imgEffect>
                            <a14:colorTemperature colorTemp="1500"/>
                          </a14:imgEffect>
                        </a14:imgLayer>
                      </a14:imgProps>
                    </a:ext>
                  </a:extLst>
                </a:blip>
                <a:srcRect l="27619" t="9540" r="26586" b="9151"/>
                <a:stretch/>
              </p:blipFill>
              <p:spPr bwMode="auto">
                <a:xfrm>
                  <a:off x="3127606" y="1581359"/>
                  <a:ext cx="589659" cy="916080"/>
                </a:xfrm>
                <a:prstGeom prst="rect">
                  <a:avLst/>
                </a:prstGeom>
                <a:noFill/>
                <a:effectLst>
                  <a:outerShdw blurRad="50800" dist="12700" sx="103000" sy="103000" algn="ctr" rotWithShape="0">
                    <a:prstClr val="black">
                      <a:alpha val="40000"/>
                    </a:prstClr>
                  </a:outerShdw>
                </a:effectLst>
              </p:spPr>
            </p:pic>
          </p:grpSp>
        </p:grpSp>
        <p:grpSp>
          <p:nvGrpSpPr>
            <p:cNvPr id="226" name="Group 225"/>
            <p:cNvGrpSpPr/>
            <p:nvPr/>
          </p:nvGrpSpPr>
          <p:grpSpPr>
            <a:xfrm>
              <a:off x="11004055" y="1904999"/>
              <a:ext cx="2012580" cy="2011680"/>
              <a:chOff x="11004055" y="1904999"/>
              <a:chExt cx="2012580" cy="2011680"/>
            </a:xfrm>
          </p:grpSpPr>
          <p:sp>
            <p:nvSpPr>
              <p:cNvPr id="235" name="Rectangle 234"/>
              <p:cNvSpPr/>
              <p:nvPr/>
            </p:nvSpPr>
            <p:spPr bwMode="auto">
              <a:xfrm>
                <a:off x="11004055"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Fast Time to Solution</a:t>
                </a:r>
                <a:endParaRPr lang="en-US" sz="1500" dirty="0">
                  <a:gradFill>
                    <a:gsLst>
                      <a:gs pos="0">
                        <a:srgbClr val="FFFFFF"/>
                      </a:gs>
                      <a:gs pos="100000">
                        <a:srgbClr val="FFFFFF"/>
                      </a:gs>
                    </a:gsLst>
                    <a:lin ang="5400000" scaled="0"/>
                  </a:gradFill>
                </a:endParaRPr>
              </a:p>
            </p:txBody>
          </p:sp>
          <p:sp>
            <p:nvSpPr>
              <p:cNvPr id="236" name="TextBox 235"/>
              <p:cNvSpPr txBox="1"/>
              <p:nvPr/>
            </p:nvSpPr>
            <p:spPr>
              <a:xfrm>
                <a:off x="12660220"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6</a:t>
                </a:r>
              </a:p>
            </p:txBody>
          </p:sp>
          <p:pic>
            <p:nvPicPr>
              <p:cNvPr id="237" name="Picture 3" descr="\\SFP\Work\White_Whale\3-22036_Kuleen_Bharadwaj\PPT\3_PlatformVision_Kuleen\SFP_Art\Plane Slide\mon_notie.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1139211" y="1983751"/>
                <a:ext cx="746401" cy="8755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7" name="Group 226"/>
            <p:cNvGrpSpPr/>
            <p:nvPr/>
          </p:nvGrpSpPr>
          <p:grpSpPr>
            <a:xfrm>
              <a:off x="13128666" y="1904999"/>
              <a:ext cx="2017182" cy="2011680"/>
              <a:chOff x="13128666" y="1904999"/>
              <a:chExt cx="2017182" cy="2011680"/>
            </a:xfrm>
          </p:grpSpPr>
          <p:sp>
            <p:nvSpPr>
              <p:cNvPr id="232" name="Rectangle 231"/>
              <p:cNvSpPr/>
              <p:nvPr/>
            </p:nvSpPr>
            <p:spPr bwMode="auto">
              <a:xfrm>
                <a:off x="13128666"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Extend Any Data, Anywhere</a:t>
                </a:r>
                <a:endParaRPr lang="en-US" sz="1500" dirty="0">
                  <a:gradFill>
                    <a:gsLst>
                      <a:gs pos="0">
                        <a:srgbClr val="FFFFFF"/>
                      </a:gs>
                      <a:gs pos="100000">
                        <a:srgbClr val="FFFFFF"/>
                      </a:gs>
                    </a:gsLst>
                    <a:lin ang="5400000" scaled="0"/>
                  </a:gradFill>
                </a:endParaRPr>
              </a:p>
            </p:txBody>
          </p:sp>
          <p:sp>
            <p:nvSpPr>
              <p:cNvPr id="233" name="TextBox 232"/>
              <p:cNvSpPr txBox="1"/>
              <p:nvPr/>
            </p:nvSpPr>
            <p:spPr>
              <a:xfrm>
                <a:off x="14789433" y="1904999"/>
                <a:ext cx="356415" cy="615553"/>
              </a:xfrm>
              <a:prstGeom prst="rect">
                <a:avLst/>
              </a:prstGeom>
              <a:noFill/>
            </p:spPr>
            <p:txBody>
              <a:bodyPr wrap="none" lIns="0" tIns="0" rIns="45720" bIns="0" rtlCol="0">
                <a:spAutoFit/>
              </a:bodyPr>
              <a:lstStyle/>
              <a:p>
                <a:r>
                  <a:rPr lang="en-US" sz="3000" b="1" dirty="0">
                    <a:solidFill>
                      <a:schemeClr val="tx2">
                        <a:lumMod val="75000"/>
                      </a:schemeClr>
                    </a:solidFill>
                  </a:rPr>
                  <a:t>7</a:t>
                </a:r>
              </a:p>
            </p:txBody>
          </p:sp>
          <p:pic>
            <p:nvPicPr>
              <p:cNvPr id="234" name="Picture 7" descr="\\MAGNUM\Projects\Microsoft\Cloud Power FY12\Design\ICONS_PNG\Physical_Virtual.png"/>
              <p:cNvPicPr>
                <a:picLocks noChangeAspect="1" noChangeArrowheads="1"/>
              </p:cNvPicPr>
              <p:nvPr/>
            </p:nvPicPr>
            <p:blipFill rotWithShape="1">
              <a:blip r:embed="rId19" cstate="print">
                <a:extLst>
                  <a:ext uri="{BEBA8EAE-BF5A-486C-A8C5-ECC9F3942E4B}">
                    <a14:imgProps xmlns:a14="http://schemas.microsoft.com/office/drawing/2010/main">
                      <a14:imgLayer r:embed="rId20">
                        <a14:imgEffect>
                          <a14:brightnessContrast bright="100000"/>
                        </a14:imgEffect>
                      </a14:imgLayer>
                    </a14:imgProps>
                  </a:ext>
                </a:extLst>
              </a:blip>
              <a:srcRect l="7856" t="39072" r="7907" b="5885"/>
              <a:stretch/>
            </p:blipFill>
            <p:spPr bwMode="auto">
              <a:xfrm>
                <a:off x="13200761" y="1984614"/>
                <a:ext cx="1275651" cy="833547"/>
              </a:xfrm>
              <a:prstGeom prst="rect">
                <a:avLst/>
              </a:prstGeom>
              <a:noFill/>
            </p:spPr>
          </p:pic>
        </p:grpSp>
        <p:grpSp>
          <p:nvGrpSpPr>
            <p:cNvPr id="228" name="Group 227"/>
            <p:cNvGrpSpPr/>
            <p:nvPr/>
          </p:nvGrpSpPr>
          <p:grpSpPr>
            <a:xfrm>
              <a:off x="15243484" y="1904999"/>
              <a:ext cx="2011680" cy="2011680"/>
              <a:chOff x="15243484" y="1904999"/>
              <a:chExt cx="2011680" cy="2011680"/>
            </a:xfrm>
          </p:grpSpPr>
          <p:sp>
            <p:nvSpPr>
              <p:cNvPr id="229" name="Rectangle 228"/>
              <p:cNvSpPr/>
              <p:nvPr/>
            </p:nvSpPr>
            <p:spPr bwMode="auto">
              <a:xfrm>
                <a:off x="15243484" y="1904999"/>
                <a:ext cx="2011680" cy="20116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New Scenarios, Unlocked</a:t>
                </a:r>
                <a:endParaRPr lang="en-US" sz="1500" dirty="0">
                  <a:gradFill>
                    <a:gsLst>
                      <a:gs pos="0">
                        <a:srgbClr val="FFFFFF"/>
                      </a:gs>
                      <a:gs pos="100000">
                        <a:srgbClr val="FFFFFF"/>
                      </a:gs>
                    </a:gsLst>
                    <a:lin ang="5400000" scaled="0"/>
                  </a:gradFill>
                </a:endParaRPr>
              </a:p>
            </p:txBody>
          </p:sp>
          <p:sp>
            <p:nvSpPr>
              <p:cNvPr id="230" name="TextBox 229"/>
              <p:cNvSpPr txBox="1"/>
              <p:nvPr/>
            </p:nvSpPr>
            <p:spPr>
              <a:xfrm>
                <a:off x="16882570" y="1904999"/>
                <a:ext cx="356415" cy="615553"/>
              </a:xfrm>
              <a:prstGeom prst="rect">
                <a:avLst/>
              </a:prstGeom>
              <a:noFill/>
            </p:spPr>
            <p:txBody>
              <a:bodyPr wrap="none" lIns="0" tIns="0" rIns="45720" bIns="0" rtlCol="0">
                <a:spAutoFit/>
              </a:bodyPr>
              <a:lstStyle/>
              <a:p>
                <a:pPr algn="r"/>
                <a:r>
                  <a:rPr lang="en-US" sz="3000" b="1" dirty="0">
                    <a:solidFill>
                      <a:schemeClr val="tx2">
                        <a:lumMod val="75000"/>
                      </a:schemeClr>
                    </a:solidFill>
                  </a:rPr>
                  <a:t>8</a:t>
                </a:r>
                <a:endParaRPr lang="en-US" sz="3000" b="1" dirty="0">
                  <a:solidFill>
                    <a:schemeClr val="tx2">
                      <a:lumMod val="75000"/>
                    </a:schemeClr>
                  </a:solidFill>
                </a:endParaRPr>
              </a:p>
            </p:txBody>
          </p:sp>
          <p:pic>
            <p:nvPicPr>
              <p:cNvPr id="231" name="Picture 2"/>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5416979" y="2043731"/>
                <a:ext cx="640905" cy="775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80" name="Rectangle 79"/>
          <p:cNvSpPr/>
          <p:nvPr/>
        </p:nvSpPr>
        <p:spPr bwMode="auto">
          <a:xfrm>
            <a:off x="285824" y="3552453"/>
            <a:ext cx="7870324" cy="467390"/>
          </a:xfrm>
          <a:prstGeom prst="rect">
            <a:avLst/>
          </a:prstGeom>
          <a:solidFill>
            <a:srgbClr val="F6AE1E"/>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6" tIns="34293" rIns="68586" bIns="34293" numCol="1" spcCol="0" rtlCol="0" fromWordArt="0" anchor="ctr" anchorCtr="0" forceAA="0" compatLnSpc="1">
            <a:prstTxWarp prst="textNoShape">
              <a:avLst/>
            </a:prstTxWarp>
            <a:noAutofit/>
          </a:bodyPr>
          <a:lstStyle/>
          <a:p>
            <a:pPr defTabSz="685666" fontAlgn="base">
              <a:spcBef>
                <a:spcPct val="0"/>
              </a:spcBef>
              <a:spcAft>
                <a:spcPct val="0"/>
              </a:spcAft>
            </a:pPr>
            <a:r>
              <a:rPr lang="en-US" sz="2100" dirty="0">
                <a:gradFill>
                  <a:gsLst>
                    <a:gs pos="0">
                      <a:srgbClr val="FFFFFF"/>
                    </a:gs>
                    <a:gs pos="100000">
                      <a:srgbClr val="FFFFFF"/>
                    </a:gs>
                  </a:gsLst>
                  <a:lin ang="5400000" scaled="0"/>
                </a:gradFill>
              </a:rPr>
              <a:t>Power View</a:t>
            </a:r>
            <a:endParaRPr lang="en-US" sz="2100" dirty="0">
              <a:gradFill>
                <a:gsLst>
                  <a:gs pos="0">
                    <a:srgbClr val="FFFFFF"/>
                  </a:gs>
                  <a:gs pos="100000">
                    <a:srgbClr val="FFFFFF"/>
                  </a:gs>
                </a:gsLst>
                <a:lin ang="5400000" scaled="0"/>
              </a:gradFill>
            </a:endParaRPr>
          </a:p>
        </p:txBody>
      </p:sp>
      <p:sp>
        <p:nvSpPr>
          <p:cNvPr id="81" name="Rectangle 80"/>
          <p:cNvSpPr/>
          <p:nvPr/>
        </p:nvSpPr>
        <p:spPr bwMode="auto">
          <a:xfrm>
            <a:off x="285824" y="3017520"/>
            <a:ext cx="7870324" cy="453683"/>
          </a:xfrm>
          <a:prstGeom prst="rect">
            <a:avLst/>
          </a:prstGeom>
          <a:solidFill>
            <a:srgbClr val="F6AE1E"/>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6" tIns="34293" rIns="68586" bIns="34293" numCol="1" spcCol="0" rtlCol="0" fromWordArt="0" anchor="ctr" anchorCtr="0" forceAA="0" compatLnSpc="1">
            <a:prstTxWarp prst="textNoShape">
              <a:avLst/>
            </a:prstTxWarp>
            <a:noAutofit/>
          </a:bodyPr>
          <a:lstStyle/>
          <a:p>
            <a:pPr defTabSz="685666" fontAlgn="base">
              <a:spcBef>
                <a:spcPct val="0"/>
              </a:spcBef>
              <a:spcAft>
                <a:spcPct val="0"/>
              </a:spcAft>
            </a:pPr>
            <a:r>
              <a:rPr lang="en-US" sz="2100" dirty="0">
                <a:gradFill>
                  <a:gsLst>
                    <a:gs pos="0">
                      <a:srgbClr val="FFFFFF"/>
                    </a:gs>
                    <a:gs pos="100000">
                      <a:srgbClr val="FFFFFF"/>
                    </a:gs>
                  </a:gsLst>
                  <a:lin ang="5400000" scaled="0"/>
                </a:gradFill>
              </a:rPr>
              <a:t>Reporting Alerts</a:t>
            </a:r>
            <a:endParaRPr lang="en-US" sz="2100" dirty="0">
              <a:gradFill>
                <a:gsLst>
                  <a:gs pos="0">
                    <a:srgbClr val="FFFFFF"/>
                  </a:gs>
                  <a:gs pos="100000">
                    <a:srgbClr val="FFFFFF"/>
                  </a:gs>
                </a:gsLst>
                <a:lin ang="5400000" scaled="0"/>
              </a:gradFill>
            </a:endParaRPr>
          </a:p>
        </p:txBody>
      </p:sp>
      <p:grpSp>
        <p:nvGrpSpPr>
          <p:cNvPr id="82" name="Group 81"/>
          <p:cNvGrpSpPr/>
          <p:nvPr/>
        </p:nvGrpSpPr>
        <p:grpSpPr>
          <a:xfrm>
            <a:off x="282305" y="1428749"/>
            <a:ext cx="1509153" cy="1508760"/>
            <a:chOff x="21627110" y="1904999"/>
            <a:chExt cx="2011680" cy="2011680"/>
          </a:xfrm>
        </p:grpSpPr>
        <p:sp>
          <p:nvSpPr>
            <p:cNvPr id="83" name="Rectangle 82"/>
            <p:cNvSpPr/>
            <p:nvPr/>
          </p:nvSpPr>
          <p:spPr bwMode="auto">
            <a:xfrm>
              <a:off x="21627110" y="1904999"/>
              <a:ext cx="2011680" cy="2011680"/>
            </a:xfrm>
            <a:prstGeom prst="rect">
              <a:avLst/>
            </a:prstGeom>
            <a:solidFill>
              <a:schemeClr val="accent3"/>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66" fontAlgn="base">
                <a:spcBef>
                  <a:spcPct val="0"/>
                </a:spcBef>
                <a:spcAft>
                  <a:spcPct val="0"/>
                </a:spcAft>
              </a:pPr>
              <a:r>
                <a:rPr lang="en-US" sz="1500" dirty="0">
                  <a:gradFill>
                    <a:gsLst>
                      <a:gs pos="0">
                        <a:srgbClr val="FFFFFF"/>
                      </a:gs>
                      <a:gs pos="100000">
                        <a:srgbClr val="FFFFFF"/>
                      </a:gs>
                    </a:gsLst>
                    <a:lin ang="5400000" scaled="0"/>
                  </a:gradFill>
                </a:rPr>
                <a:t>Rapid Data Exploration</a:t>
              </a:r>
              <a:endParaRPr lang="en-US" sz="1500" dirty="0">
                <a:gradFill>
                  <a:gsLst>
                    <a:gs pos="0">
                      <a:srgbClr val="FFFFFF"/>
                    </a:gs>
                    <a:gs pos="100000">
                      <a:srgbClr val="FFFFFF"/>
                    </a:gs>
                  </a:gsLst>
                  <a:lin ang="5400000" scaled="0"/>
                </a:gradFill>
              </a:endParaRPr>
            </a:p>
          </p:txBody>
        </p:sp>
        <p:sp>
          <p:nvSpPr>
            <p:cNvPr id="84" name="TextBox 83"/>
            <p:cNvSpPr txBox="1"/>
            <p:nvPr/>
          </p:nvSpPr>
          <p:spPr>
            <a:xfrm>
              <a:off x="22977108" y="1904999"/>
              <a:ext cx="651290" cy="615553"/>
            </a:xfrm>
            <a:prstGeom prst="rect">
              <a:avLst/>
            </a:prstGeom>
            <a:noFill/>
          </p:spPr>
          <p:txBody>
            <a:bodyPr wrap="none" lIns="0" tIns="0" rIns="45720" bIns="0" rtlCol="0">
              <a:spAutoFit/>
            </a:bodyPr>
            <a:lstStyle/>
            <a:p>
              <a:pPr algn="r"/>
              <a:r>
                <a:rPr lang="en-US" sz="3000" b="1" dirty="0">
                  <a:solidFill>
                    <a:srgbClr val="FFC000"/>
                  </a:solidFill>
                </a:rPr>
                <a:t>12</a:t>
              </a:r>
              <a:endParaRPr lang="en-US" sz="3000" b="1" dirty="0">
                <a:solidFill>
                  <a:srgbClr val="FFC000"/>
                </a:solidFill>
              </a:endParaRPr>
            </a:p>
          </p:txBody>
        </p:sp>
        <p:pic>
          <p:nvPicPr>
            <p:cNvPr id="85" name="Picture 3"/>
            <p:cNvPicPr>
              <a:picLocks noChangeAspect="1" noChangeArrowheads="1"/>
            </p:cNvPicPr>
            <p:nvPr>
              <p:custDataLst>
                <p:tags r:id="rId1"/>
              </p:custDataLst>
            </p:nvPr>
          </p:nvPicPr>
          <p:blipFill>
            <a:blip r:embed="rId9" cstate="print">
              <a:extLst>
                <a:ext uri="{28A0092B-C50C-407E-A947-70E740481C1C}">
                  <a14:useLocalDpi xmlns:a14="http://schemas.microsoft.com/office/drawing/2010/main"/>
                </a:ext>
              </a:extLst>
            </a:blip>
            <a:srcRect/>
            <a:stretch>
              <a:fillRect/>
            </a:stretch>
          </p:blipFill>
          <p:spPr bwMode="auto">
            <a:xfrm>
              <a:off x="21715412" y="1959614"/>
              <a:ext cx="593243" cy="859786"/>
            </a:xfrm>
            <a:prstGeom prst="rect">
              <a:avLst/>
            </a:prstGeom>
            <a:noFill/>
            <a:ln>
              <a:noFill/>
              <a:headEnd type="none" w="med" len="med"/>
              <a:tailEnd type="none" w="med" len="med"/>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66"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67"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2"/>
              </a:rPr>
              <a:t>www.rapidbbs.cn</a:t>
            </a:r>
            <a:endParaRPr lang="zh-CN" altLang="en-US" sz="1200" b="0">
              <a:latin typeface="Arial" charset="0"/>
              <a:ea typeface="ＭＳ Ｐゴシック" pitchFamily="34" charset="-128"/>
            </a:endParaRPr>
          </a:p>
        </p:txBody>
      </p:sp>
      <p:pic>
        <p:nvPicPr>
          <p:cNvPr id="68" name="Picture 2">
            <a:hlinkClick r:id="rId22"/>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018999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decel="100000" fill="hold" nodeType="withEffect">
                                  <p:stCondLst>
                                    <p:cond delay="0"/>
                                  </p:stCondLst>
                                  <p:childTnLst>
                                    <p:animMotion origin="layout" path="M -4.38322E-6 4.44444E-6 L -0.17441 4.44444E-6 " pathEditMode="relative" rAng="0" ptsTypes="AA">
                                      <p:cBhvr>
                                        <p:cTn id="6" dur="1000" fill="hold"/>
                                        <p:tgtEl>
                                          <p:spTgt spid="216"/>
                                        </p:tgtEl>
                                        <p:attrNameLst>
                                          <p:attrName>ppt_x</p:attrName>
                                          <p:attrName>ppt_y</p:attrName>
                                        </p:attrNameLst>
                                      </p:cBhvr>
                                      <p:rCtr x="-8727" y="0"/>
                                    </p:animMotion>
                                  </p:childTnLst>
                                </p:cTn>
                              </p:par>
                            </p:childTnLst>
                          </p:cTn>
                        </p:par>
                        <p:par>
                          <p:cTn id="7" fill="hold">
                            <p:stCondLst>
                              <p:cond delay="1000"/>
                            </p:stCondLst>
                            <p:childTnLst>
                              <p:par>
                                <p:cTn id="8" presetID="22" presetClass="entr" presetSubtype="4" fill="hold" nodeType="afterEffect">
                                  <p:stCondLst>
                                    <p:cond delay="0"/>
                                  </p:stCondLst>
                                  <p:childTnLst>
                                    <p:set>
                                      <p:cBhvr>
                                        <p:cTn id="9" dur="1" fill="hold">
                                          <p:stCondLst>
                                            <p:cond delay="0"/>
                                          </p:stCondLst>
                                        </p:cTn>
                                        <p:tgtEl>
                                          <p:spTgt spid="82"/>
                                        </p:tgtEl>
                                        <p:attrNameLst>
                                          <p:attrName>style.visibility</p:attrName>
                                        </p:attrNameLst>
                                      </p:cBhvr>
                                      <p:to>
                                        <p:strVal val="visible"/>
                                      </p:to>
                                    </p:set>
                                    <p:animEffect transition="in" filter="wipe(down)">
                                      <p:cBhvr>
                                        <p:cTn id="10" dur="500"/>
                                        <p:tgtEl>
                                          <p:spTgt spid="82"/>
                                        </p:tgtEl>
                                      </p:cBhvr>
                                    </p:animEffect>
                                  </p:childTnLst>
                                </p:cTn>
                              </p:par>
                              <p:par>
                                <p:cTn id="11" presetID="2" presetClass="entr" presetSubtype="2" decel="100000" fill="hold" grpId="0" nodeType="withEffect">
                                  <p:stCondLst>
                                    <p:cond delay="0"/>
                                  </p:stCondLst>
                                  <p:childTnLst>
                                    <p:set>
                                      <p:cBhvr>
                                        <p:cTn id="12" dur="1" fill="hold">
                                          <p:stCondLst>
                                            <p:cond delay="0"/>
                                          </p:stCondLst>
                                        </p:cTn>
                                        <p:tgtEl>
                                          <p:spTgt spid="81"/>
                                        </p:tgtEl>
                                        <p:attrNameLst>
                                          <p:attrName>style.visibility</p:attrName>
                                        </p:attrNameLst>
                                      </p:cBhvr>
                                      <p:to>
                                        <p:strVal val="visible"/>
                                      </p:to>
                                    </p:set>
                                    <p:anim calcmode="lin" valueType="num">
                                      <p:cBhvr additive="base">
                                        <p:cTn id="13" dur="1000" fill="hold"/>
                                        <p:tgtEl>
                                          <p:spTgt spid="81"/>
                                        </p:tgtEl>
                                        <p:attrNameLst>
                                          <p:attrName>ppt_x</p:attrName>
                                        </p:attrNameLst>
                                      </p:cBhvr>
                                      <p:tavLst>
                                        <p:tav tm="0">
                                          <p:val>
                                            <p:strVal val="1+#ppt_w/2"/>
                                          </p:val>
                                        </p:tav>
                                        <p:tav tm="100000">
                                          <p:val>
                                            <p:strVal val="#ppt_x"/>
                                          </p:val>
                                        </p:tav>
                                      </p:tavLst>
                                    </p:anim>
                                    <p:anim calcmode="lin" valueType="num">
                                      <p:cBhvr additive="base">
                                        <p:cTn id="14" dur="1000" fill="hold"/>
                                        <p:tgtEl>
                                          <p:spTgt spid="81"/>
                                        </p:tgtEl>
                                        <p:attrNameLst>
                                          <p:attrName>ppt_y</p:attrName>
                                        </p:attrNameLst>
                                      </p:cBhvr>
                                      <p:tavLst>
                                        <p:tav tm="0">
                                          <p:val>
                                            <p:strVal val="#ppt_y"/>
                                          </p:val>
                                        </p:tav>
                                        <p:tav tm="100000">
                                          <p:val>
                                            <p:strVal val="#ppt_y"/>
                                          </p:val>
                                        </p:tav>
                                      </p:tavLst>
                                    </p:anim>
                                  </p:childTnLst>
                                </p:cTn>
                              </p:par>
                              <p:par>
                                <p:cTn id="15" presetID="2" presetClass="entr" presetSubtype="2" decel="100000" fill="hold" grpId="0" nodeType="withEffect">
                                  <p:stCondLst>
                                    <p:cond delay="250"/>
                                  </p:stCondLst>
                                  <p:childTnLst>
                                    <p:set>
                                      <p:cBhvr>
                                        <p:cTn id="16" dur="1" fill="hold">
                                          <p:stCondLst>
                                            <p:cond delay="0"/>
                                          </p:stCondLst>
                                        </p:cTn>
                                        <p:tgtEl>
                                          <p:spTgt spid="80"/>
                                        </p:tgtEl>
                                        <p:attrNameLst>
                                          <p:attrName>style.visibility</p:attrName>
                                        </p:attrNameLst>
                                      </p:cBhvr>
                                      <p:to>
                                        <p:strVal val="visible"/>
                                      </p:to>
                                    </p:set>
                                    <p:anim calcmode="lin" valueType="num">
                                      <p:cBhvr additive="base">
                                        <p:cTn id="17" dur="1000" fill="hold"/>
                                        <p:tgtEl>
                                          <p:spTgt spid="80"/>
                                        </p:tgtEl>
                                        <p:attrNameLst>
                                          <p:attrName>ppt_x</p:attrName>
                                        </p:attrNameLst>
                                      </p:cBhvr>
                                      <p:tavLst>
                                        <p:tav tm="0">
                                          <p:val>
                                            <p:strVal val="1+#ppt_w/2"/>
                                          </p:val>
                                        </p:tav>
                                        <p:tav tm="100000">
                                          <p:val>
                                            <p:strVal val="#ppt_x"/>
                                          </p:val>
                                        </p:tav>
                                      </p:tavLst>
                                    </p:anim>
                                    <p:anim calcmode="lin" valueType="num">
                                      <p:cBhvr additive="base">
                                        <p:cTn id="18" dur="1000" fill="hold"/>
                                        <p:tgtEl>
                                          <p:spTgt spid="8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0" grpId="0" animBg="1"/>
      <p:bldP spid="81" grpId="0" animBg="1"/>
    </p:bldLst>
  </p:timing>
</p:sld>
</file>

<file path=ppt/slides/slide5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reen"/>
          <p:cNvSpPr/>
          <p:nvPr/>
        </p:nvSpPr>
        <p:spPr bwMode="auto">
          <a:xfrm>
            <a:off x="769761" y="3024735"/>
            <a:ext cx="7603863" cy="1827103"/>
          </a:xfrm>
          <a:prstGeom prst="roundRect">
            <a:avLst>
              <a:gd name="adj" fmla="val 0"/>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lnSpc>
                <a:spcPct val="150000"/>
              </a:lnSpc>
              <a:spcBef>
                <a:spcPct val="0"/>
              </a:spcBef>
              <a:spcAft>
                <a:spcPct val="0"/>
              </a:spcAft>
            </a:pPr>
            <a:r>
              <a:rPr lang="en-US" sz="2100" b="1" dirty="0">
                <a:solidFill>
                  <a:schemeClr val="tx1">
                    <a:alpha val="99000"/>
                  </a:schemeClr>
                </a:solidFill>
                <a:latin typeface="Segoe UI" pitchFamily="34" charset="0"/>
                <a:ea typeface="Segoe UI" pitchFamily="34" charset="0"/>
                <a:cs typeface="Segoe UI" pitchFamily="34" charset="0"/>
              </a:rPr>
              <a:t>End-User Insight, IT Oversight</a:t>
            </a:r>
          </a:p>
          <a:p>
            <a:pPr algn="ctr" defTabSz="685666" fontAlgn="base">
              <a:lnSpc>
                <a:spcPct val="150000"/>
              </a:lnSpc>
              <a:spcBef>
                <a:spcPct val="0"/>
              </a:spcBef>
              <a:spcAft>
                <a:spcPct val="0"/>
              </a:spcAft>
            </a:pPr>
            <a:r>
              <a:rPr lang="en-US" sz="1800" dirty="0">
                <a:solidFill>
                  <a:schemeClr val="tx1">
                    <a:alpha val="99000"/>
                  </a:schemeClr>
                </a:solidFill>
                <a:latin typeface="Segoe UI" pitchFamily="34" charset="0"/>
                <a:ea typeface="Segoe UI" pitchFamily="34" charset="0"/>
                <a:cs typeface="Segoe UI" pitchFamily="34" charset="0"/>
              </a:rPr>
              <a:t>Enabled end-users, familiar tools</a:t>
            </a:r>
          </a:p>
          <a:p>
            <a:pPr algn="ctr" defTabSz="685666" fontAlgn="base">
              <a:lnSpc>
                <a:spcPct val="150000"/>
              </a:lnSpc>
              <a:spcBef>
                <a:spcPct val="0"/>
              </a:spcBef>
              <a:spcAft>
                <a:spcPct val="0"/>
              </a:spcAft>
            </a:pPr>
            <a:r>
              <a:rPr lang="en-US" sz="1800" dirty="0">
                <a:solidFill>
                  <a:schemeClr val="tx1">
                    <a:alpha val="99000"/>
                  </a:schemeClr>
                </a:solidFill>
                <a:latin typeface="Segoe UI" pitchFamily="34" charset="0"/>
                <a:ea typeface="Segoe UI" pitchFamily="34" charset="0"/>
                <a:cs typeface="Segoe UI" pitchFamily="34" charset="0"/>
              </a:rPr>
              <a:t>Report flexibility, reduced IT tax</a:t>
            </a:r>
          </a:p>
          <a:p>
            <a:pPr algn="ctr" defTabSz="685666" fontAlgn="base">
              <a:lnSpc>
                <a:spcPct val="150000"/>
              </a:lnSpc>
              <a:spcBef>
                <a:spcPct val="0"/>
              </a:spcBef>
              <a:spcAft>
                <a:spcPct val="0"/>
              </a:spcAft>
            </a:pPr>
            <a:r>
              <a:rPr lang="en-US" sz="1800" dirty="0">
                <a:solidFill>
                  <a:schemeClr val="tx1">
                    <a:alpha val="99000"/>
                  </a:schemeClr>
                </a:solidFill>
                <a:latin typeface="Segoe UI" pitchFamily="34" charset="0"/>
                <a:ea typeface="Segoe UI" pitchFamily="34" charset="0"/>
                <a:cs typeface="Segoe UI" pitchFamily="34" charset="0"/>
              </a:rPr>
              <a:t>Cut reporting time 50%</a:t>
            </a:r>
          </a:p>
        </p:txBody>
      </p:sp>
      <p:sp>
        <p:nvSpPr>
          <p:cNvPr id="2" name="Title 1"/>
          <p:cNvSpPr>
            <a:spLocks noGrp="1"/>
          </p:cNvSpPr>
          <p:nvPr>
            <p:ph type="title"/>
          </p:nvPr>
        </p:nvSpPr>
        <p:spPr/>
        <p:txBody>
          <a:bodyPr/>
          <a:lstStyle/>
          <a:p>
            <a:r>
              <a:rPr lang="en-US" dirty="0" err="1" smtClean="0"/>
              <a:t>PowerPivot</a:t>
            </a:r>
            <a:r>
              <a:rPr lang="en-US" dirty="0" smtClean="0"/>
              <a:t> and Power View &amp; LG </a:t>
            </a:r>
            <a:r>
              <a:rPr lang="en-US" dirty="0" err="1" smtClean="0"/>
              <a:t>Chem</a:t>
            </a:r>
            <a:endParaRPr lang="en-US" dirty="0"/>
          </a:p>
        </p:txBody>
      </p:sp>
      <p:sp>
        <p:nvSpPr>
          <p:cNvPr id="8" name="Green"/>
          <p:cNvSpPr/>
          <p:nvPr/>
        </p:nvSpPr>
        <p:spPr bwMode="auto">
          <a:xfrm>
            <a:off x="769761" y="2070509"/>
            <a:ext cx="1840718" cy="1827103"/>
          </a:xfrm>
          <a:prstGeom prst="roundRect">
            <a:avLst>
              <a:gd name="adj" fmla="val 0"/>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a:r>
              <a:rPr lang="en-US" sz="2700" b="1" dirty="0">
                <a:solidFill>
                  <a:srgbClr val="FFFFFF">
                    <a:alpha val="98824"/>
                  </a:srgbClr>
                </a:solidFill>
                <a:latin typeface="Segoe UI" pitchFamily="34" charset="0"/>
                <a:ea typeface="Segoe UI" pitchFamily="34" charset="0"/>
                <a:cs typeface="Segoe UI" pitchFamily="34" charset="0"/>
              </a:rPr>
              <a:t>200</a:t>
            </a:r>
            <a:br>
              <a:rPr lang="en-US" sz="2700" b="1" dirty="0">
                <a:solidFill>
                  <a:srgbClr val="FFFFFF">
                    <a:alpha val="98824"/>
                  </a:srgbClr>
                </a:solidFill>
                <a:latin typeface="Segoe UI" pitchFamily="34" charset="0"/>
                <a:ea typeface="Segoe UI" pitchFamily="34" charset="0"/>
                <a:cs typeface="Segoe UI" pitchFamily="34" charset="0"/>
              </a:rPr>
            </a:br>
            <a:r>
              <a:rPr lang="en-US" sz="1700" dirty="0">
                <a:solidFill>
                  <a:srgbClr val="FFFFFF">
                    <a:alpha val="98824"/>
                  </a:srgbClr>
                </a:solidFill>
                <a:latin typeface="Segoe UI" pitchFamily="34" charset="0"/>
                <a:ea typeface="Segoe UI" pitchFamily="34" charset="0"/>
                <a:cs typeface="Segoe UI" pitchFamily="34" charset="0"/>
              </a:rPr>
              <a:t>queries created monthly</a:t>
            </a:r>
          </a:p>
        </p:txBody>
      </p:sp>
      <p:sp>
        <p:nvSpPr>
          <p:cNvPr id="9" name="Green"/>
          <p:cNvSpPr/>
          <p:nvPr/>
        </p:nvSpPr>
        <p:spPr bwMode="auto">
          <a:xfrm>
            <a:off x="2690809" y="2070509"/>
            <a:ext cx="1840718" cy="1827103"/>
          </a:xfrm>
          <a:prstGeom prst="roundRect">
            <a:avLst>
              <a:gd name="adj" fmla="val 0"/>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a:r>
              <a:rPr lang="en-US" sz="2700" b="1" dirty="0">
                <a:solidFill>
                  <a:srgbClr val="FFFFFF">
                    <a:alpha val="98824"/>
                  </a:srgbClr>
                </a:solidFill>
                <a:latin typeface="Segoe UI" pitchFamily="34" charset="0"/>
                <a:ea typeface="Segoe UI" pitchFamily="34" charset="0"/>
                <a:cs typeface="Segoe UI" pitchFamily="34" charset="0"/>
              </a:rPr>
              <a:t>Locked</a:t>
            </a:r>
          </a:p>
          <a:p>
            <a:pPr algn="ctr" defTabSz="685666"/>
            <a:r>
              <a:rPr lang="en-US" sz="1700" dirty="0">
                <a:solidFill>
                  <a:srgbClr val="FFFFFF">
                    <a:alpha val="98824"/>
                  </a:srgbClr>
                </a:solidFill>
                <a:latin typeface="Segoe UI" pitchFamily="34" charset="0"/>
                <a:ea typeface="Segoe UI" pitchFamily="34" charset="0"/>
                <a:cs typeface="Segoe UI" pitchFamily="34" charset="0"/>
              </a:rPr>
              <a:t>into </a:t>
            </a:r>
            <a:r>
              <a:rPr lang="en-US" sz="1700" dirty="0">
                <a:solidFill>
                  <a:srgbClr val="FFFFFF">
                    <a:alpha val="98824"/>
                  </a:srgbClr>
                </a:solidFill>
                <a:latin typeface="Segoe UI" pitchFamily="34" charset="0"/>
                <a:ea typeface="Segoe UI" pitchFamily="34" charset="0"/>
                <a:cs typeface="Segoe UI" pitchFamily="34" charset="0"/>
              </a:rPr>
              <a:t/>
            </a:r>
            <a:br>
              <a:rPr lang="en-US" sz="1700" dirty="0">
                <a:solidFill>
                  <a:srgbClr val="FFFFFF">
                    <a:alpha val="98824"/>
                  </a:srgbClr>
                </a:solidFill>
                <a:latin typeface="Segoe UI" pitchFamily="34" charset="0"/>
                <a:ea typeface="Segoe UI" pitchFamily="34" charset="0"/>
                <a:cs typeface="Segoe UI" pitchFamily="34" charset="0"/>
              </a:rPr>
            </a:br>
            <a:r>
              <a:rPr lang="en-US" sz="1700" dirty="0">
                <a:solidFill>
                  <a:srgbClr val="FFFFFF">
                    <a:alpha val="98824"/>
                  </a:srgbClr>
                </a:solidFill>
                <a:latin typeface="Segoe UI" pitchFamily="34" charset="0"/>
                <a:ea typeface="Segoe UI" pitchFamily="34" charset="0"/>
                <a:cs typeface="Segoe UI" pitchFamily="34" charset="0"/>
              </a:rPr>
              <a:t>reports</a:t>
            </a:r>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10" name="Green"/>
          <p:cNvSpPr/>
          <p:nvPr/>
        </p:nvSpPr>
        <p:spPr bwMode="auto">
          <a:xfrm>
            <a:off x="4611857" y="2070509"/>
            <a:ext cx="1840718" cy="1827103"/>
          </a:xfrm>
          <a:prstGeom prst="roundRect">
            <a:avLst>
              <a:gd name="adj" fmla="val 0"/>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a:r>
              <a:rPr lang="en-US" sz="2700" b="1" dirty="0">
                <a:solidFill>
                  <a:srgbClr val="FFFFFF">
                    <a:alpha val="98824"/>
                  </a:srgbClr>
                </a:solidFill>
                <a:latin typeface="Segoe UI" pitchFamily="34" charset="0"/>
                <a:ea typeface="Segoe UI" pitchFamily="34" charset="0"/>
                <a:cs typeface="Segoe UI" pitchFamily="34" charset="0"/>
              </a:rPr>
              <a:t>800 MB</a:t>
            </a:r>
          </a:p>
          <a:p>
            <a:pPr algn="ctr" defTabSz="685666"/>
            <a:r>
              <a:rPr lang="en-US" sz="1700" dirty="0">
                <a:solidFill>
                  <a:srgbClr val="FFFFFF">
                    <a:alpha val="98824"/>
                  </a:srgbClr>
                </a:solidFill>
                <a:latin typeface="Segoe UI" pitchFamily="34" charset="0"/>
                <a:ea typeface="Segoe UI" pitchFamily="34" charset="0"/>
                <a:cs typeface="Segoe UI" pitchFamily="34" charset="0"/>
              </a:rPr>
              <a:t>data growth expected /</a:t>
            </a:r>
            <a:r>
              <a:rPr lang="en-US" sz="1700" dirty="0" err="1">
                <a:solidFill>
                  <a:srgbClr val="FFFFFF">
                    <a:alpha val="98824"/>
                  </a:srgbClr>
                </a:solidFill>
                <a:latin typeface="Segoe UI" pitchFamily="34" charset="0"/>
                <a:ea typeface="Segoe UI" pitchFamily="34" charset="0"/>
                <a:cs typeface="Segoe UI" pitchFamily="34" charset="0"/>
              </a:rPr>
              <a:t>yr</a:t>
            </a:r>
            <a:r>
              <a:rPr lang="en-US" sz="1700" dirty="0">
                <a:solidFill>
                  <a:srgbClr val="FFFFFF">
                    <a:alpha val="98824"/>
                  </a:srgbClr>
                </a:solidFill>
                <a:latin typeface="Segoe UI" pitchFamily="34" charset="0"/>
                <a:ea typeface="Segoe UI" pitchFamily="34" charset="0"/>
                <a:cs typeface="Segoe UI" pitchFamily="34" charset="0"/>
              </a:rPr>
              <a:t> </a:t>
            </a:r>
          </a:p>
        </p:txBody>
      </p:sp>
      <p:sp>
        <p:nvSpPr>
          <p:cNvPr id="11" name="Green"/>
          <p:cNvSpPr/>
          <p:nvPr/>
        </p:nvSpPr>
        <p:spPr bwMode="auto">
          <a:xfrm>
            <a:off x="6532905" y="2070509"/>
            <a:ext cx="1840718" cy="1827103"/>
          </a:xfrm>
          <a:prstGeom prst="roundRect">
            <a:avLst>
              <a:gd name="adj" fmla="val 0"/>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r>
              <a:rPr lang="en-US" sz="2700" b="1" dirty="0">
                <a:solidFill>
                  <a:srgbClr val="FFFFFF">
                    <a:alpha val="99000"/>
                  </a:srgbClr>
                </a:solidFill>
                <a:latin typeface="Segoe UI" pitchFamily="34" charset="0"/>
                <a:ea typeface="Segoe UI" pitchFamily="34" charset="0"/>
                <a:cs typeface="Segoe UI" pitchFamily="34" charset="0"/>
              </a:rPr>
              <a:t>15 days</a:t>
            </a:r>
          </a:p>
          <a:p>
            <a:pPr algn="ctr" defTabSz="685666" fontAlgn="base">
              <a:spcBef>
                <a:spcPct val="0"/>
              </a:spcBef>
              <a:spcAft>
                <a:spcPct val="0"/>
              </a:spcAft>
            </a:pPr>
            <a:r>
              <a:rPr lang="en-US" sz="1700" dirty="0">
                <a:solidFill>
                  <a:srgbClr val="FFFFFF">
                    <a:alpha val="99000"/>
                  </a:srgbClr>
                </a:solidFill>
                <a:latin typeface="Segoe UI" pitchFamily="34" charset="0"/>
                <a:ea typeface="Segoe UI" pitchFamily="34" charset="0"/>
                <a:cs typeface="Segoe UI" pitchFamily="34" charset="0"/>
              </a:rPr>
              <a:t>lost monthly prepping queries</a:t>
            </a:r>
          </a:p>
        </p:txBody>
      </p:sp>
      <p:sp>
        <p:nvSpPr>
          <p:cNvPr id="12"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3"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
              </a:rPr>
              <a:t>www.rapidbbs.cn</a:t>
            </a:r>
            <a:endParaRPr lang="zh-CN" altLang="en-US" sz="1200" b="0">
              <a:latin typeface="Arial" charset="0"/>
              <a:ea typeface="ＭＳ Ｐゴシック" pitchFamily="34" charset="-128"/>
            </a:endParaRPr>
          </a:p>
        </p:txBody>
      </p:sp>
      <p:pic>
        <p:nvPicPr>
          <p:cNvPr id="14" name="Picture 2">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427416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750" fill="hold"/>
                                        <p:tgtEl>
                                          <p:spTgt spid="8"/>
                                        </p:tgtEl>
                                        <p:attrNameLst>
                                          <p:attrName>ppt_x</p:attrName>
                                        </p:attrNameLst>
                                      </p:cBhvr>
                                      <p:tavLst>
                                        <p:tav tm="0">
                                          <p:val>
                                            <p:strVal val="1+#ppt_w/2"/>
                                          </p:val>
                                        </p:tav>
                                        <p:tav tm="100000">
                                          <p:val>
                                            <p:strVal val="#ppt_x"/>
                                          </p:val>
                                        </p:tav>
                                      </p:tavLst>
                                    </p:anim>
                                    <p:anim calcmode="lin" valueType="num">
                                      <p:cBhvr additive="base">
                                        <p:cTn id="8" dur="75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750" fill="hold"/>
                                        <p:tgtEl>
                                          <p:spTgt spid="9"/>
                                        </p:tgtEl>
                                        <p:attrNameLst>
                                          <p:attrName>ppt_x</p:attrName>
                                        </p:attrNameLst>
                                      </p:cBhvr>
                                      <p:tavLst>
                                        <p:tav tm="0">
                                          <p:val>
                                            <p:strVal val="1+#ppt_w/2"/>
                                          </p:val>
                                        </p:tav>
                                        <p:tav tm="100000">
                                          <p:val>
                                            <p:strVal val="#ppt_x"/>
                                          </p:val>
                                        </p:tav>
                                      </p:tavLst>
                                    </p:anim>
                                    <p:anim calcmode="lin" valueType="num">
                                      <p:cBhvr additive="base">
                                        <p:cTn id="12" dur="750" fill="hold"/>
                                        <p:tgtEl>
                                          <p:spTgt spid="9"/>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750" fill="hold"/>
                                        <p:tgtEl>
                                          <p:spTgt spid="10"/>
                                        </p:tgtEl>
                                        <p:attrNameLst>
                                          <p:attrName>ppt_x</p:attrName>
                                        </p:attrNameLst>
                                      </p:cBhvr>
                                      <p:tavLst>
                                        <p:tav tm="0">
                                          <p:val>
                                            <p:strVal val="1+#ppt_w/2"/>
                                          </p:val>
                                        </p:tav>
                                        <p:tav tm="100000">
                                          <p:val>
                                            <p:strVal val="#ppt_x"/>
                                          </p:val>
                                        </p:tav>
                                      </p:tavLst>
                                    </p:anim>
                                    <p:anim calcmode="lin" valueType="num">
                                      <p:cBhvr additive="base">
                                        <p:cTn id="16" dur="750" fill="hold"/>
                                        <p:tgtEl>
                                          <p:spTgt spid="10"/>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750"/>
                                  </p:stCondLst>
                                  <p:childTnLst>
                                    <p:set>
                                      <p:cBhvr>
                                        <p:cTn id="18" dur="1" fill="hold">
                                          <p:stCondLst>
                                            <p:cond delay="0"/>
                                          </p:stCondLst>
                                        </p:cTn>
                                        <p:tgtEl>
                                          <p:spTgt spid="11"/>
                                        </p:tgtEl>
                                        <p:attrNameLst>
                                          <p:attrName>style.visibility</p:attrName>
                                        </p:attrNameLst>
                                      </p:cBhvr>
                                      <p:to>
                                        <p:strVal val="visible"/>
                                      </p:to>
                                    </p:set>
                                    <p:anim calcmode="lin" valueType="num">
                                      <p:cBhvr additive="base">
                                        <p:cTn id="19" dur="750" fill="hold"/>
                                        <p:tgtEl>
                                          <p:spTgt spid="11"/>
                                        </p:tgtEl>
                                        <p:attrNameLst>
                                          <p:attrName>ppt_x</p:attrName>
                                        </p:attrNameLst>
                                      </p:cBhvr>
                                      <p:tavLst>
                                        <p:tav tm="0">
                                          <p:val>
                                            <p:strVal val="1+#ppt_w/2"/>
                                          </p:val>
                                        </p:tav>
                                        <p:tav tm="100000">
                                          <p:val>
                                            <p:strVal val="#ppt_x"/>
                                          </p:val>
                                        </p:tav>
                                      </p:tavLst>
                                    </p:anim>
                                    <p:anim calcmode="lin" valueType="num">
                                      <p:cBhvr additive="base">
                                        <p:cTn id="20" dur="750" fill="hold"/>
                                        <p:tgtEl>
                                          <p:spTgt spid="11"/>
                                        </p:tgtEl>
                                        <p:attrNameLst>
                                          <p:attrName>ppt_y</p:attrName>
                                        </p:attrNameLst>
                                      </p:cBhvr>
                                      <p:tavLst>
                                        <p:tav tm="0">
                                          <p:val>
                                            <p:strVal val="#ppt_y"/>
                                          </p:val>
                                        </p:tav>
                                        <p:tav tm="100000">
                                          <p:val>
                                            <p:strVal val="#ppt_y"/>
                                          </p:val>
                                        </p:tav>
                                      </p:tavLst>
                                    </p:anim>
                                  </p:childTnLst>
                                </p:cTn>
                              </p:par>
                            </p:childTnLst>
                          </p:cTn>
                        </p:par>
                        <p:par>
                          <p:cTn id="21" fill="hold">
                            <p:stCondLst>
                              <p:cond delay="1500"/>
                            </p:stCondLst>
                            <p:childTnLst>
                              <p:par>
                                <p:cTn id="22" presetID="64" presetClass="path" presetSubtype="0" accel="50000" decel="50000" fill="hold" grpId="1" nodeType="afterEffect">
                                  <p:stCondLst>
                                    <p:cond delay="1250"/>
                                  </p:stCondLst>
                                  <p:childTnLst>
                                    <p:animMotion origin="layout" path="M 4.375E-6 -4.56059E-6 L 4.375E-6 -0.18062 " pathEditMode="relative" rAng="0" ptsTypes="AA">
                                      <p:cBhvr>
                                        <p:cTn id="23" dur="1250" fill="hold"/>
                                        <p:tgtEl>
                                          <p:spTgt spid="8"/>
                                        </p:tgtEl>
                                        <p:attrNameLst>
                                          <p:attrName>ppt_x</p:attrName>
                                          <p:attrName>ppt_y</p:attrName>
                                        </p:attrNameLst>
                                      </p:cBhvr>
                                      <p:rCtr x="0" y="-9043"/>
                                    </p:animMotion>
                                  </p:childTnLst>
                                </p:cTn>
                              </p:par>
                              <p:par>
                                <p:cTn id="24" presetID="64" presetClass="path" presetSubtype="0" accel="50000" decel="50000" fill="hold" grpId="1" nodeType="withEffect">
                                  <p:stCondLst>
                                    <p:cond delay="1250"/>
                                  </p:stCondLst>
                                  <p:childTnLst>
                                    <p:animMotion origin="layout" path="M -1.66667E-6 -4.56059E-6 L -1.66667E-6 -0.18062 " pathEditMode="relative" rAng="0" ptsTypes="AA">
                                      <p:cBhvr>
                                        <p:cTn id="25" dur="1250" fill="hold"/>
                                        <p:tgtEl>
                                          <p:spTgt spid="9"/>
                                        </p:tgtEl>
                                        <p:attrNameLst>
                                          <p:attrName>ppt_x</p:attrName>
                                          <p:attrName>ppt_y</p:attrName>
                                        </p:attrNameLst>
                                      </p:cBhvr>
                                      <p:rCtr x="0" y="-9043"/>
                                    </p:animMotion>
                                  </p:childTnLst>
                                </p:cTn>
                              </p:par>
                              <p:par>
                                <p:cTn id="26" presetID="64" presetClass="path" presetSubtype="0" accel="50000" decel="50000" fill="hold" grpId="1" nodeType="withEffect">
                                  <p:stCondLst>
                                    <p:cond delay="1250"/>
                                  </p:stCondLst>
                                  <p:childTnLst>
                                    <p:animMotion origin="layout" path="M 2.29167E-6 -4.56059E-6 L 2.29167E-6 -0.18062 " pathEditMode="relative" rAng="0" ptsTypes="AA">
                                      <p:cBhvr>
                                        <p:cTn id="27" dur="1250" fill="hold"/>
                                        <p:tgtEl>
                                          <p:spTgt spid="10"/>
                                        </p:tgtEl>
                                        <p:attrNameLst>
                                          <p:attrName>ppt_x</p:attrName>
                                          <p:attrName>ppt_y</p:attrName>
                                        </p:attrNameLst>
                                      </p:cBhvr>
                                      <p:rCtr x="0" y="-9043"/>
                                    </p:animMotion>
                                  </p:childTnLst>
                                </p:cTn>
                              </p:par>
                              <p:par>
                                <p:cTn id="28" presetID="64" presetClass="path" presetSubtype="0" accel="50000" decel="50000" fill="hold" grpId="1" nodeType="withEffect">
                                  <p:stCondLst>
                                    <p:cond delay="1250"/>
                                  </p:stCondLst>
                                  <p:childTnLst>
                                    <p:animMotion origin="layout" path="M -3.75E-6 -4.56059E-6 L -3.75E-6 -0.18062 " pathEditMode="relative" rAng="0" ptsTypes="AA">
                                      <p:cBhvr>
                                        <p:cTn id="29" dur="1250" fill="hold"/>
                                        <p:tgtEl>
                                          <p:spTgt spid="11"/>
                                        </p:tgtEl>
                                        <p:attrNameLst>
                                          <p:attrName>ppt_x</p:attrName>
                                          <p:attrName>ppt_y</p:attrName>
                                        </p:attrNameLst>
                                      </p:cBhvr>
                                      <p:rCtr x="0" y="-9043"/>
                                    </p:animMotion>
                                  </p:childTnLst>
                                </p:cTn>
                              </p:par>
                            </p:childTnLst>
                          </p:cTn>
                        </p:par>
                        <p:par>
                          <p:cTn id="30" fill="hold">
                            <p:stCondLst>
                              <p:cond delay="4000"/>
                            </p:stCondLst>
                            <p:childTnLst>
                              <p:par>
                                <p:cTn id="31" presetID="2" presetClass="entr" presetSubtype="2" decel="100000" fill="hold" grpId="0" nodeType="afterEffect">
                                  <p:stCondLst>
                                    <p:cond delay="0"/>
                                  </p:stCondLst>
                                  <p:childTnLst>
                                    <p:set>
                                      <p:cBhvr>
                                        <p:cTn id="32" dur="1" fill="hold">
                                          <p:stCondLst>
                                            <p:cond delay="0"/>
                                          </p:stCondLst>
                                        </p:cTn>
                                        <p:tgtEl>
                                          <p:spTgt spid="4"/>
                                        </p:tgtEl>
                                        <p:attrNameLst>
                                          <p:attrName>style.visibility</p:attrName>
                                        </p:attrNameLst>
                                      </p:cBhvr>
                                      <p:to>
                                        <p:strVal val="visible"/>
                                      </p:to>
                                    </p:set>
                                    <p:anim calcmode="lin" valueType="num">
                                      <p:cBhvr additive="base">
                                        <p:cTn id="33" dur="750" fill="hold"/>
                                        <p:tgtEl>
                                          <p:spTgt spid="4"/>
                                        </p:tgtEl>
                                        <p:attrNameLst>
                                          <p:attrName>ppt_x</p:attrName>
                                        </p:attrNameLst>
                                      </p:cBhvr>
                                      <p:tavLst>
                                        <p:tav tm="0">
                                          <p:val>
                                            <p:strVal val="1+#ppt_w/2"/>
                                          </p:val>
                                        </p:tav>
                                        <p:tav tm="100000">
                                          <p:val>
                                            <p:strVal val="#ppt_x"/>
                                          </p:val>
                                        </p:tav>
                                      </p:tavLst>
                                    </p:anim>
                                    <p:anim calcmode="lin" valueType="num">
                                      <p:cBhvr additive="base">
                                        <p:cTn id="34" dur="75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8" grpId="1" animBg="1"/>
      <p:bldP spid="9" grpId="0" animBg="1"/>
      <p:bldP spid="9" grpId="1" animBg="1"/>
      <p:bldP spid="10" grpId="0" animBg="1"/>
      <p:bldP spid="10" grpId="1" animBg="1"/>
      <p:bldP spid="11" grpId="0" animBg="1"/>
      <p:bldP spid="11" grpId="1" animBg="1"/>
    </p:bldLst>
  </p:timing>
</p:sld>
</file>

<file path=ppt/slides/slide5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dirty="0" smtClean="0">
                <a:solidFill>
                  <a:srgbClr val="F9F9F9">
                    <a:alpha val="5000"/>
                  </a:srgbClr>
                </a:solidFill>
                <a:latin typeface="黑体" pitchFamily="49" charset="-122"/>
                <a:ea typeface="黑体" pitchFamily="49" charset="-122"/>
              </a:rPr>
              <a:t>锐普</a:t>
            </a:r>
            <a:r>
              <a:rPr lang="en-US" altLang="zh-CN" sz="2400" dirty="0" smtClean="0">
                <a:solidFill>
                  <a:srgbClr val="F9F9F9">
                    <a:alpha val="5000"/>
                  </a:srgbClr>
                </a:solidFill>
                <a:latin typeface="黑体" pitchFamily="49" charset="-122"/>
                <a:ea typeface="黑体" pitchFamily="49" charset="-122"/>
              </a:rPr>
              <a:t>PPT</a:t>
            </a:r>
            <a:r>
              <a:rPr lang="zh-CN" altLang="en-US" sz="2400" dirty="0" smtClean="0">
                <a:solidFill>
                  <a:srgbClr val="F9F9F9">
                    <a:alpha val="5000"/>
                  </a:srgbClr>
                </a:solidFill>
                <a:latin typeface="黑体" pitchFamily="49" charset="-122"/>
                <a:ea typeface="黑体" pitchFamily="49" charset="-122"/>
              </a:rPr>
              <a:t>论坛</a:t>
            </a:r>
            <a:r>
              <a:rPr lang="en-US" altLang="zh-CN" sz="2400" dirty="0" err="1" smtClean="0">
                <a:solidFill>
                  <a:srgbClr val="F9F9F9">
                    <a:alpha val="5000"/>
                  </a:srgbClr>
                </a:solidFill>
                <a:latin typeface="黑体" pitchFamily="49" charset="-122"/>
                <a:ea typeface="黑体" pitchFamily="49" charset="-122"/>
              </a:rPr>
              <a:t>chinakui</a:t>
            </a:r>
            <a:r>
              <a:rPr lang="zh-CN" altLang="en-US" sz="2400" dirty="0" smtClean="0">
                <a:solidFill>
                  <a:srgbClr val="F9F9F9">
                    <a:alpha val="5000"/>
                  </a:srgbClr>
                </a:solidFill>
                <a:latin typeface="黑体" pitchFamily="49" charset="-122"/>
                <a:ea typeface="黑体" pitchFamily="49" charset="-122"/>
              </a:rPr>
              <a:t>分享：</a:t>
            </a:r>
            <a:r>
              <a:rPr lang="en-US" altLang="zh-CN" sz="2400" dirty="0" smtClean="0">
                <a:solidFill>
                  <a:srgbClr val="F9F9F9">
                    <a:alpha val="5000"/>
                  </a:srgbClr>
                </a:solidFill>
                <a:latin typeface="黑体" pitchFamily="49" charset="-122"/>
                <a:ea typeface="黑体" pitchFamily="49" charset="-122"/>
              </a:rPr>
              <a:t>www.rapidbbs.cn</a:t>
            </a:r>
            <a:endParaRPr lang="zh-CN" altLang="en-US" sz="2400" dirty="0" smtClean="0">
              <a:solidFill>
                <a:srgbClr val="F9F9F9">
                  <a:alpha val="5000"/>
                </a:srgbClr>
              </a:solidFill>
              <a:latin typeface="黑体" pitchFamily="49" charset="-122"/>
              <a:ea typeface="黑体" pitchFamily="49" charset="-122"/>
            </a:endParaRPr>
          </a:p>
        </p:txBody>
      </p:sp>
      <p:sp>
        <p:nvSpPr>
          <p:cNvPr id="3"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pic>
        <p:nvPicPr>
          <p:cNvPr id="6"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25410576"/>
      </p:ext>
    </p:extLst>
  </p:cSld>
  <p:clrMapOvr>
    <a:masterClrMapping/>
  </p:clrMapOvr>
  <p:transition spd="slow">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7"/>
            <a:ext cx="8363938" cy="457049"/>
          </a:xfrm>
        </p:spPr>
        <p:txBody>
          <a:bodyPr/>
          <a:lstStyle/>
          <a:p>
            <a:r>
              <a:rPr lang="en-US" dirty="0" smtClean="0"/>
              <a:t>BizTalk </a:t>
            </a:r>
            <a:r>
              <a:rPr lang="en-US" dirty="0" err="1" smtClean="0"/>
              <a:t>PaaS</a:t>
            </a:r>
            <a:r>
              <a:rPr lang="en-US" dirty="0" smtClean="0"/>
              <a:t>: Azure EAI Services</a:t>
            </a:r>
            <a:endParaRPr lang="en-US" dirty="0"/>
          </a:p>
        </p:txBody>
      </p:sp>
      <p:sp>
        <p:nvSpPr>
          <p:cNvPr id="13" name="Rectangle 12"/>
          <p:cNvSpPr/>
          <p:nvPr/>
        </p:nvSpPr>
        <p:spPr bwMode="auto">
          <a:xfrm>
            <a:off x="379955" y="1101788"/>
            <a:ext cx="2698583" cy="628473"/>
          </a:xfrm>
          <a:prstGeom prst="rect">
            <a:avLst/>
          </a:prstGeom>
          <a:solidFill>
            <a:schemeClr val="accent5"/>
          </a:solidFill>
        </p:spPr>
        <p:txBody>
          <a:bodyPr vert="horz" wrap="square" lIns="68571" tIns="68571" rIns="68571" bIns="68571" rtlCol="0" anchor="ctr" anchorCtr="0">
            <a:noAutofit/>
          </a:bodyPr>
          <a:lstStyle/>
          <a:p>
            <a:pPr>
              <a:lnSpc>
                <a:spcPct val="90000"/>
              </a:lnSpc>
              <a:spcBef>
                <a:spcPct val="20000"/>
              </a:spcBef>
              <a:buSzPct val="90000"/>
            </a:pPr>
            <a:r>
              <a:rPr lang="en-US" sz="1800" spc="-53" dirty="0">
                <a:gradFill>
                  <a:gsLst>
                    <a:gs pos="0">
                      <a:srgbClr val="FFFFFF"/>
                    </a:gs>
                    <a:gs pos="86000">
                      <a:srgbClr val="FFFFFF"/>
                    </a:gs>
                  </a:gsLst>
                  <a:lin ang="5400000" scaled="0"/>
                </a:gradFill>
              </a:rPr>
              <a:t>Build Hybrid Applications</a:t>
            </a:r>
          </a:p>
        </p:txBody>
      </p:sp>
      <p:sp>
        <p:nvSpPr>
          <p:cNvPr id="14" name="TextBox 13"/>
          <p:cNvSpPr txBox="1"/>
          <p:nvPr/>
        </p:nvSpPr>
        <p:spPr>
          <a:xfrm>
            <a:off x="379962" y="1741940"/>
            <a:ext cx="2743915" cy="1469249"/>
          </a:xfrm>
          <a:prstGeom prst="rect">
            <a:avLst/>
          </a:prstGeom>
          <a:noFill/>
        </p:spPr>
        <p:txBody>
          <a:bodyPr wrap="square" lIns="0" tIns="0" rIns="0" bIns="0" rtlCol="0">
            <a:spAutoFit/>
          </a:bodyPr>
          <a:lstStyle/>
          <a:p>
            <a:pPr marL="215478" indent="-215478">
              <a:lnSpc>
                <a:spcPct val="90000"/>
              </a:lnSpc>
              <a:spcBef>
                <a:spcPct val="20000"/>
              </a:spcBef>
              <a:buSzPct val="90000"/>
              <a:buBlip>
                <a:blip r:embed="rId3"/>
              </a:buBlip>
            </a:pPr>
            <a:r>
              <a:rPr lang="en-US" spc="-23" dirty="0">
                <a:gradFill>
                  <a:gsLst>
                    <a:gs pos="0">
                      <a:srgbClr val="FFFFFF"/>
                    </a:gs>
                    <a:gs pos="86000">
                      <a:srgbClr val="FFFFFF"/>
                    </a:gs>
                  </a:gsLst>
                  <a:lin ang="5400000" scaled="0"/>
                </a:gradFill>
              </a:rPr>
              <a:t>Include on-premises applications, services, data in cloud applications</a:t>
            </a:r>
          </a:p>
          <a:p>
            <a:pPr marL="215478" indent="-215478">
              <a:lnSpc>
                <a:spcPct val="90000"/>
              </a:lnSpc>
              <a:spcBef>
                <a:spcPct val="20000"/>
              </a:spcBef>
              <a:buSzPct val="90000"/>
              <a:buBlip>
                <a:blip r:embed="rId3"/>
              </a:buBlip>
            </a:pPr>
            <a:r>
              <a:rPr lang="en-US" spc="-23" dirty="0">
                <a:gradFill>
                  <a:gsLst>
                    <a:gs pos="0">
                      <a:srgbClr val="FFFFFF"/>
                    </a:gs>
                    <a:gs pos="86000">
                      <a:srgbClr val="FFFFFF"/>
                    </a:gs>
                  </a:gsLst>
                  <a:lin ang="5400000" scaled="0"/>
                </a:gradFill>
              </a:rPr>
              <a:t>Manage hybrid apps easily</a:t>
            </a:r>
          </a:p>
          <a:p>
            <a:pPr marL="215478" indent="-215478">
              <a:lnSpc>
                <a:spcPct val="90000"/>
              </a:lnSpc>
              <a:spcBef>
                <a:spcPct val="20000"/>
              </a:spcBef>
              <a:buSzPct val="90000"/>
              <a:buBlip>
                <a:blip r:embed="rId3"/>
              </a:buBlip>
            </a:pPr>
            <a:r>
              <a:rPr lang="en-US" spc="-23" dirty="0">
                <a:gradFill>
                  <a:gsLst>
                    <a:gs pos="0">
                      <a:srgbClr val="FFFFFF"/>
                    </a:gs>
                    <a:gs pos="86000">
                      <a:srgbClr val="FFFFFF"/>
                    </a:gs>
                  </a:gsLst>
                  <a:lin ang="5400000" scaled="0"/>
                </a:gradFill>
              </a:rPr>
              <a:t>Enable store and forward scenarios in BizTalk by enabling Service Bus queues, topics</a:t>
            </a:r>
          </a:p>
        </p:txBody>
      </p:sp>
      <p:sp>
        <p:nvSpPr>
          <p:cNvPr id="16" name="TextBox 15"/>
          <p:cNvSpPr txBox="1"/>
          <p:nvPr/>
        </p:nvSpPr>
        <p:spPr>
          <a:xfrm>
            <a:off x="379955" y="3851699"/>
            <a:ext cx="2458090" cy="430887"/>
          </a:xfrm>
          <a:prstGeom prst="rect">
            <a:avLst/>
          </a:prstGeom>
          <a:noFill/>
        </p:spPr>
        <p:txBody>
          <a:bodyPr wrap="square" lIns="0" tIns="0" rIns="0" bIns="0" rtlCol="0">
            <a:spAutoFit/>
          </a:bodyPr>
          <a:lstStyle/>
          <a:p>
            <a:pPr marL="215478" indent="-215478">
              <a:lnSpc>
                <a:spcPct val="90000"/>
              </a:lnSpc>
              <a:spcBef>
                <a:spcPct val="20000"/>
              </a:spcBef>
              <a:buSzPct val="90000"/>
              <a:buBlip>
                <a:blip r:embed="rId3"/>
              </a:buBlip>
            </a:pPr>
            <a:r>
              <a:rPr lang="en-US" b="1" spc="-23" dirty="0">
                <a:gradFill>
                  <a:gsLst>
                    <a:gs pos="0">
                      <a:srgbClr val="FFFFFF"/>
                    </a:gs>
                    <a:gs pos="86000">
                      <a:srgbClr val="FFFFFF"/>
                    </a:gs>
                  </a:gsLst>
                  <a:lin ang="5400000" scaled="0"/>
                </a:gradFill>
              </a:rPr>
              <a:t>Azure Service Bus Connect</a:t>
            </a:r>
          </a:p>
          <a:p>
            <a:pPr marL="215478" indent="-215478">
              <a:lnSpc>
                <a:spcPct val="90000"/>
              </a:lnSpc>
              <a:spcBef>
                <a:spcPct val="20000"/>
              </a:spcBef>
              <a:buSzPct val="90000"/>
              <a:buBlip>
                <a:blip r:embed="rId3"/>
              </a:buBlip>
            </a:pPr>
            <a:r>
              <a:rPr lang="en-US" b="1" spc="-23" dirty="0">
                <a:gradFill>
                  <a:gsLst>
                    <a:gs pos="0">
                      <a:srgbClr val="FFFFFF"/>
                    </a:gs>
                    <a:gs pos="86000">
                      <a:srgbClr val="FFFFFF"/>
                    </a:gs>
                  </a:gsLst>
                  <a:lin ang="5400000" scaled="0"/>
                </a:gradFill>
              </a:rPr>
              <a:t>BizTalk Service Bus Adapter</a:t>
            </a:r>
          </a:p>
        </p:txBody>
      </p:sp>
      <p:sp>
        <p:nvSpPr>
          <p:cNvPr id="17" name="Rectangle 16"/>
          <p:cNvSpPr/>
          <p:nvPr/>
        </p:nvSpPr>
        <p:spPr bwMode="auto">
          <a:xfrm>
            <a:off x="379955" y="3629722"/>
            <a:ext cx="2698583" cy="112730"/>
          </a:xfrm>
          <a:prstGeom prst="rect">
            <a:avLst/>
          </a:prstGeom>
          <a:solidFill>
            <a:schemeClr val="accent4"/>
          </a:solidFill>
        </p:spPr>
        <p:txBody>
          <a:bodyPr vert="horz" wrap="square" lIns="68571" tIns="68571" rIns="68571" bIns="68571" rtlCol="0" anchor="ctr" anchorCtr="0">
            <a:noAutofit/>
          </a:bodyPr>
          <a:lstStyle/>
          <a:p>
            <a:pPr>
              <a:lnSpc>
                <a:spcPct val="90000"/>
              </a:lnSpc>
              <a:spcBef>
                <a:spcPct val="20000"/>
              </a:spcBef>
              <a:buSzPct val="90000"/>
            </a:pPr>
            <a:endParaRPr lang="en-US" sz="1800" spc="-53" dirty="0">
              <a:gradFill>
                <a:gsLst>
                  <a:gs pos="0">
                    <a:srgbClr val="FFFFFF"/>
                  </a:gs>
                  <a:gs pos="86000">
                    <a:srgbClr val="FFFFFF"/>
                  </a:gs>
                </a:gsLst>
                <a:lin ang="5400000" scaled="0"/>
              </a:gradFill>
            </a:endParaRPr>
          </a:p>
        </p:txBody>
      </p:sp>
      <p:sp>
        <p:nvSpPr>
          <p:cNvPr id="18" name="Content Placeholder 5"/>
          <p:cNvSpPr txBox="1">
            <a:spLocks/>
          </p:cNvSpPr>
          <p:nvPr/>
        </p:nvSpPr>
        <p:spPr>
          <a:xfrm>
            <a:off x="3842412" y="1085849"/>
            <a:ext cx="2381595" cy="685800"/>
          </a:xfrm>
          <a:prstGeom prst="rect">
            <a:avLst/>
          </a:prstGeom>
          <a:solidFill>
            <a:schemeClr val="accent1"/>
          </a:solidFill>
        </p:spPr>
        <p:txBody>
          <a:bodyPr vert="horz" wrap="square" lIns="68571" tIns="68571" rIns="0" bIns="68571" rtlCol="0" anchor="ctr" anchorCtr="0">
            <a:no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500" spc="-53" dirty="0">
                <a:gradFill>
                  <a:gsLst>
                    <a:gs pos="0">
                      <a:srgbClr val="FFFFFF"/>
                    </a:gs>
                    <a:gs pos="86000">
                      <a:srgbClr val="FFFFFF"/>
                    </a:gs>
                  </a:gsLst>
                  <a:lin ang="5400000" scaled="0"/>
                </a:gradFill>
              </a:rPr>
              <a:t>On-premise service to expose to one or more LOB targets to Cloud</a:t>
            </a:r>
          </a:p>
        </p:txBody>
      </p:sp>
      <p:sp>
        <p:nvSpPr>
          <p:cNvPr id="19" name="Content Placeholder 5"/>
          <p:cNvSpPr txBox="1">
            <a:spLocks/>
          </p:cNvSpPr>
          <p:nvPr/>
        </p:nvSpPr>
        <p:spPr>
          <a:xfrm>
            <a:off x="3842413" y="1885950"/>
            <a:ext cx="2381595" cy="685800"/>
          </a:xfrm>
          <a:prstGeom prst="rect">
            <a:avLst/>
          </a:prstGeom>
          <a:solidFill>
            <a:schemeClr val="accent2"/>
          </a:solidFill>
        </p:spPr>
        <p:txBody>
          <a:bodyPr vert="horz" wrap="square" lIns="68571" tIns="68571" rIns="68571" bIns="68571" rtlCol="0" anchor="ctr" anchorCtr="0">
            <a:no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400" spc="-53" dirty="0">
                <a:gradFill>
                  <a:gsLst>
                    <a:gs pos="0">
                      <a:srgbClr val="FFFFFF"/>
                    </a:gs>
                    <a:gs pos="86000">
                      <a:srgbClr val="FFFFFF"/>
                    </a:gs>
                  </a:gsLst>
                  <a:lin ang="5400000" scaled="0"/>
                </a:gradFill>
              </a:rPr>
              <a:t>Simple and easy-to-use configuration experience using Visual Studio’s Server Explorer</a:t>
            </a:r>
          </a:p>
        </p:txBody>
      </p:sp>
      <p:sp>
        <p:nvSpPr>
          <p:cNvPr id="20" name="Content Placeholder 2"/>
          <p:cNvSpPr txBox="1">
            <a:spLocks/>
          </p:cNvSpPr>
          <p:nvPr/>
        </p:nvSpPr>
        <p:spPr>
          <a:xfrm>
            <a:off x="3842407" y="3380217"/>
            <a:ext cx="2381596" cy="1428850"/>
          </a:xfrm>
          <a:prstGeom prst="rect">
            <a:avLst/>
          </a:prstGeom>
        </p:spPr>
        <p:txBody>
          <a:bodyPr vert="horz" wrap="square" lIns="0" tIns="68571" rIns="0" bIns="0" rtlCol="0">
            <a:sp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15478" indent="-215478"/>
            <a:r>
              <a:rPr lang="en-US" sz="1400" spc="-23" dirty="0">
                <a:gradFill>
                  <a:gsLst>
                    <a:gs pos="0">
                      <a:srgbClr val="FFFFFF"/>
                    </a:gs>
                    <a:gs pos="86000">
                      <a:srgbClr val="FFFFFF"/>
                    </a:gs>
                  </a:gsLst>
                  <a:lin ang="5400000" scaled="0"/>
                </a:gradFill>
              </a:rPr>
              <a:t>SQL Server</a:t>
            </a:r>
          </a:p>
          <a:p>
            <a:pPr marL="215478" indent="-215478"/>
            <a:r>
              <a:rPr lang="en-US" sz="1400" spc="-23" dirty="0">
                <a:gradFill>
                  <a:gsLst>
                    <a:gs pos="0">
                      <a:srgbClr val="FFFFFF"/>
                    </a:gs>
                    <a:gs pos="86000">
                      <a:srgbClr val="FFFFFF"/>
                    </a:gs>
                  </a:gsLst>
                  <a:lin ang="5400000" scaled="0"/>
                </a:gradFill>
              </a:rPr>
              <a:t>Oracle DB</a:t>
            </a:r>
          </a:p>
          <a:p>
            <a:pPr marL="215478" indent="-215478"/>
            <a:r>
              <a:rPr lang="en-US" sz="1400" spc="-23" dirty="0">
                <a:gradFill>
                  <a:gsLst>
                    <a:gs pos="0">
                      <a:srgbClr val="FFFFFF"/>
                    </a:gs>
                    <a:gs pos="86000">
                      <a:srgbClr val="FFFFFF"/>
                    </a:gs>
                  </a:gsLst>
                  <a:lin ang="5400000" scaled="0"/>
                </a:gradFill>
              </a:rPr>
              <a:t>Oracle E-business suite</a:t>
            </a:r>
          </a:p>
          <a:p>
            <a:pPr marL="215478" indent="-215478"/>
            <a:r>
              <a:rPr lang="en-US" sz="1400" spc="-23" dirty="0">
                <a:gradFill>
                  <a:gsLst>
                    <a:gs pos="0">
                      <a:srgbClr val="FFFFFF"/>
                    </a:gs>
                    <a:gs pos="86000">
                      <a:srgbClr val="FFFFFF"/>
                    </a:gs>
                  </a:gsLst>
                  <a:lin ang="5400000" scaled="0"/>
                </a:gradFill>
              </a:rPr>
              <a:t>SAP</a:t>
            </a:r>
          </a:p>
          <a:p>
            <a:pPr marL="215478" indent="-215478"/>
            <a:r>
              <a:rPr lang="en-US" sz="1400" spc="-23" dirty="0">
                <a:gradFill>
                  <a:gsLst>
                    <a:gs pos="0">
                      <a:srgbClr val="FFFFFF"/>
                    </a:gs>
                    <a:gs pos="86000">
                      <a:srgbClr val="FFFFFF"/>
                    </a:gs>
                  </a:gsLst>
                  <a:lin ang="5400000" scaled="0"/>
                </a:gradFill>
              </a:rPr>
              <a:t>Seibel </a:t>
            </a:r>
            <a:r>
              <a:rPr lang="en-US" sz="1400" spc="-23" dirty="0" err="1">
                <a:gradFill>
                  <a:gsLst>
                    <a:gs pos="0">
                      <a:srgbClr val="FFFFFF"/>
                    </a:gs>
                    <a:gs pos="86000">
                      <a:srgbClr val="FFFFFF"/>
                    </a:gs>
                  </a:gsLst>
                  <a:lin ang="5400000" scaled="0"/>
                </a:gradFill>
              </a:rPr>
              <a:t>eBusiness</a:t>
            </a:r>
            <a:r>
              <a:rPr lang="en-US" sz="1400" spc="-23" dirty="0">
                <a:gradFill>
                  <a:gsLst>
                    <a:gs pos="0">
                      <a:srgbClr val="FFFFFF"/>
                    </a:gs>
                    <a:gs pos="86000">
                      <a:srgbClr val="FFFFFF"/>
                    </a:gs>
                  </a:gsLst>
                  <a:lin ang="5400000" scaled="0"/>
                </a:gradFill>
              </a:rPr>
              <a:t> Applications</a:t>
            </a:r>
          </a:p>
        </p:txBody>
      </p:sp>
      <p:sp>
        <p:nvSpPr>
          <p:cNvPr id="21" name="Content Placeholder 5"/>
          <p:cNvSpPr txBox="1">
            <a:spLocks/>
          </p:cNvSpPr>
          <p:nvPr/>
        </p:nvSpPr>
        <p:spPr>
          <a:xfrm>
            <a:off x="6288347" y="1085849"/>
            <a:ext cx="2381595" cy="685800"/>
          </a:xfrm>
          <a:prstGeom prst="rect">
            <a:avLst/>
          </a:prstGeom>
          <a:solidFill>
            <a:schemeClr val="accent6"/>
          </a:solidFill>
        </p:spPr>
        <p:txBody>
          <a:bodyPr vert="horz" wrap="square" lIns="68571" tIns="68571" rIns="0" bIns="68571" rtlCol="0" anchor="ctr" anchorCtr="0">
            <a:no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500" spc="-53" dirty="0">
                <a:gradFill>
                  <a:gsLst>
                    <a:gs pos="0">
                      <a:srgbClr val="FFFFFF"/>
                    </a:gs>
                    <a:gs pos="86000">
                      <a:srgbClr val="FFFFFF"/>
                    </a:gs>
                  </a:gsLst>
                  <a:lin ang="5400000" scaled="0"/>
                </a:gradFill>
              </a:rPr>
              <a:t>Contracts for each LOB can be exposed separately</a:t>
            </a:r>
          </a:p>
        </p:txBody>
      </p:sp>
      <p:sp>
        <p:nvSpPr>
          <p:cNvPr id="22" name="Content Placeholder 5"/>
          <p:cNvSpPr txBox="1">
            <a:spLocks/>
          </p:cNvSpPr>
          <p:nvPr/>
        </p:nvSpPr>
        <p:spPr>
          <a:xfrm>
            <a:off x="6288348" y="1885950"/>
            <a:ext cx="2381595" cy="685800"/>
          </a:xfrm>
          <a:prstGeom prst="rect">
            <a:avLst/>
          </a:prstGeom>
          <a:solidFill>
            <a:schemeClr val="accent4"/>
          </a:solidFill>
        </p:spPr>
        <p:txBody>
          <a:bodyPr vert="horz" wrap="square" lIns="68571" tIns="68571" rIns="68571" bIns="68571" rtlCol="0" anchor="ctr" anchorCtr="0">
            <a:no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500" spc="-53" dirty="0">
                <a:gradFill>
                  <a:gsLst>
                    <a:gs pos="0">
                      <a:srgbClr val="FFFFFF"/>
                    </a:gs>
                    <a:gs pos="86000">
                      <a:srgbClr val="FFFFFF"/>
                    </a:gs>
                  </a:gsLst>
                  <a:lin ang="5400000" scaled="0"/>
                </a:gradFill>
              </a:rPr>
              <a:t>Power-shell command-lets to manage the service</a:t>
            </a:r>
          </a:p>
        </p:txBody>
      </p:sp>
      <p:sp>
        <p:nvSpPr>
          <p:cNvPr id="23" name="Content Placeholder 5"/>
          <p:cNvSpPr txBox="1">
            <a:spLocks/>
          </p:cNvSpPr>
          <p:nvPr/>
        </p:nvSpPr>
        <p:spPr>
          <a:xfrm>
            <a:off x="3842413" y="2686050"/>
            <a:ext cx="2381595" cy="685800"/>
          </a:xfrm>
          <a:prstGeom prst="rect">
            <a:avLst/>
          </a:prstGeom>
          <a:solidFill>
            <a:schemeClr val="accent3"/>
          </a:solidFill>
        </p:spPr>
        <p:txBody>
          <a:bodyPr vert="horz" wrap="square" lIns="68571" tIns="68571" rIns="68571" bIns="68571" rtlCol="0" anchor="ctr" anchorCtr="0">
            <a:no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500" spc="-53" dirty="0">
                <a:gradFill>
                  <a:gsLst>
                    <a:gs pos="0">
                      <a:srgbClr val="FFFFFF"/>
                    </a:gs>
                    <a:gs pos="86000">
                      <a:srgbClr val="FFFFFF"/>
                    </a:gs>
                  </a:gsLst>
                  <a:lin ang="5400000" scaled="0"/>
                </a:gradFill>
              </a:rPr>
              <a:t>Lob targets supported:</a:t>
            </a:r>
          </a:p>
        </p:txBody>
      </p:sp>
      <p:sp>
        <p:nvSpPr>
          <p:cNvPr id="25" name="Content Placeholder 5"/>
          <p:cNvSpPr txBox="1">
            <a:spLocks/>
          </p:cNvSpPr>
          <p:nvPr/>
        </p:nvSpPr>
        <p:spPr>
          <a:xfrm>
            <a:off x="6288348" y="2686050"/>
            <a:ext cx="2381595" cy="685800"/>
          </a:xfrm>
          <a:prstGeom prst="rect">
            <a:avLst/>
          </a:prstGeom>
          <a:solidFill>
            <a:schemeClr val="accent5">
              <a:lumMod val="75000"/>
            </a:schemeClr>
          </a:solidFill>
        </p:spPr>
        <p:txBody>
          <a:bodyPr vert="horz" wrap="square" lIns="68571" tIns="68571" rIns="68571" bIns="68571" rtlCol="0" anchor="ctr" anchorCtr="0">
            <a:no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500" b="1" spc="-53" dirty="0">
                <a:gradFill>
                  <a:gsLst>
                    <a:gs pos="0">
                      <a:srgbClr val="FFFFFF"/>
                    </a:gs>
                    <a:gs pos="86000">
                      <a:srgbClr val="FFFFFF"/>
                    </a:gs>
                  </a:gsLst>
                  <a:lin ang="5400000" scaled="0"/>
                </a:gradFill>
              </a:rPr>
              <a:t>Service Bus adapter features</a:t>
            </a:r>
          </a:p>
        </p:txBody>
      </p:sp>
      <p:sp>
        <p:nvSpPr>
          <p:cNvPr id="15" name="Rectangle 14"/>
          <p:cNvSpPr/>
          <p:nvPr/>
        </p:nvSpPr>
        <p:spPr bwMode="auto">
          <a:xfrm>
            <a:off x="271533" y="850113"/>
            <a:ext cx="3301272" cy="4136231"/>
          </a:xfrm>
          <a:prstGeom prst="rect">
            <a:avLst/>
          </a:prstGeom>
          <a:noFill/>
          <a:ln w="38100">
            <a:solidFill>
              <a:srgbClr val="92D050"/>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alpha val="98824"/>
                </a:srgbClr>
              </a:solidFill>
              <a:ea typeface="Segoe UI" pitchFamily="34" charset="0"/>
              <a:cs typeface="Segoe UI" pitchFamily="34" charset="0"/>
            </a:endParaRPr>
          </a:p>
        </p:txBody>
      </p:sp>
      <p:sp>
        <p:nvSpPr>
          <p:cNvPr id="24"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6"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4"/>
              </a:rPr>
              <a:t>www.rapidbbs.cn</a:t>
            </a:r>
            <a:endParaRPr lang="zh-CN" altLang="en-US" sz="1200" b="0">
              <a:latin typeface="Arial" charset="0"/>
              <a:ea typeface="ＭＳ Ｐゴシック" pitchFamily="34" charset="-128"/>
            </a:endParaRPr>
          </a:p>
        </p:txBody>
      </p:sp>
      <p:pic>
        <p:nvPicPr>
          <p:cNvPr id="27" name="Picture 2">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8" name="Picture 2">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43000" y="2804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10113807"/>
      </p:ext>
    </p:extLst>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6"/>
            <a:ext cx="8363938" cy="457049"/>
          </a:xfrm>
        </p:spPr>
        <p:txBody>
          <a:bodyPr/>
          <a:lstStyle/>
          <a:p>
            <a:r>
              <a:rPr lang="en-US" dirty="0" smtClean="0"/>
              <a:t>EDI Service – Order Processing Scenario</a:t>
            </a:r>
            <a:endParaRPr lang="en-US" sz="2400" dirty="0"/>
          </a:p>
        </p:txBody>
      </p:sp>
      <p:sp>
        <p:nvSpPr>
          <p:cNvPr id="74" name="Rectangle 73"/>
          <p:cNvSpPr/>
          <p:nvPr/>
        </p:nvSpPr>
        <p:spPr>
          <a:xfrm>
            <a:off x="3024663" y="2881288"/>
            <a:ext cx="1785406" cy="1110899"/>
          </a:xfrm>
          <a:prstGeom prst="rect">
            <a:avLst/>
          </a:prstGeom>
          <a:solidFill>
            <a:schemeClr val="tx2"/>
          </a:solidFill>
          <a:ln>
            <a:noFill/>
          </a:ln>
          <a:effectLst/>
        </p:spPr>
        <p:style>
          <a:lnRef idx="1">
            <a:schemeClr val="accent4"/>
          </a:lnRef>
          <a:fillRef idx="2">
            <a:schemeClr val="accent4"/>
          </a:fillRef>
          <a:effectRef idx="1">
            <a:schemeClr val="accent4"/>
          </a:effectRef>
          <a:fontRef idx="minor">
            <a:schemeClr val="dk1"/>
          </a:fontRef>
        </p:style>
        <p:txBody>
          <a:bodyPr lIns="68571" tIns="34286" rIns="68571" bIns="34286" rtlCol="0" anchor="ctr"/>
          <a:lstStyle>
            <a:defPPr>
              <a:defRPr lang="en-US"/>
            </a:defPPr>
            <a:lvl1pPr algn="l" rtl="0" fontAlgn="base">
              <a:spcBef>
                <a:spcPct val="0"/>
              </a:spcBef>
              <a:spcAft>
                <a:spcPct val="0"/>
              </a:spcAft>
              <a:defRPr kern="1200">
                <a:solidFill>
                  <a:schemeClr val="dk1"/>
                </a:solidFill>
                <a:latin typeface="+mn-lt"/>
                <a:ea typeface="+mn-ea"/>
                <a:cs typeface="+mn-cs"/>
              </a:defRPr>
            </a:lvl1pPr>
            <a:lvl2pPr marL="457200" algn="l" rtl="0" fontAlgn="base">
              <a:spcBef>
                <a:spcPct val="0"/>
              </a:spcBef>
              <a:spcAft>
                <a:spcPct val="0"/>
              </a:spcAft>
              <a:defRPr kern="1200">
                <a:solidFill>
                  <a:schemeClr val="dk1"/>
                </a:solidFill>
                <a:latin typeface="+mn-lt"/>
                <a:ea typeface="+mn-ea"/>
                <a:cs typeface="+mn-cs"/>
              </a:defRPr>
            </a:lvl2pPr>
            <a:lvl3pPr marL="914400" algn="l" rtl="0" fontAlgn="base">
              <a:spcBef>
                <a:spcPct val="0"/>
              </a:spcBef>
              <a:spcAft>
                <a:spcPct val="0"/>
              </a:spcAft>
              <a:defRPr kern="1200">
                <a:solidFill>
                  <a:schemeClr val="dk1"/>
                </a:solidFill>
                <a:latin typeface="+mn-lt"/>
                <a:ea typeface="+mn-ea"/>
                <a:cs typeface="+mn-cs"/>
              </a:defRPr>
            </a:lvl3pPr>
            <a:lvl4pPr marL="1371600" algn="l" rtl="0" fontAlgn="base">
              <a:spcBef>
                <a:spcPct val="0"/>
              </a:spcBef>
              <a:spcAft>
                <a:spcPct val="0"/>
              </a:spcAft>
              <a:defRPr kern="1200">
                <a:solidFill>
                  <a:schemeClr val="dk1"/>
                </a:solidFill>
                <a:latin typeface="+mn-lt"/>
                <a:ea typeface="+mn-ea"/>
                <a:cs typeface="+mn-cs"/>
              </a:defRPr>
            </a:lvl4pPr>
            <a:lvl5pPr marL="1828800" algn="l" rtl="0" fontAlgn="base">
              <a:spcBef>
                <a:spcPct val="0"/>
              </a:spcBef>
              <a:spcAft>
                <a:spcPct val="0"/>
              </a:spcAft>
              <a:defRPr kern="1200">
                <a:solidFill>
                  <a:schemeClr val="dk1"/>
                </a:solidFill>
                <a:latin typeface="+mn-lt"/>
                <a:ea typeface="+mn-ea"/>
                <a:cs typeface="+mn-cs"/>
              </a:defRPr>
            </a:lvl5pPr>
            <a:lvl6pPr marL="2286000" algn="l" defTabSz="914400" rtl="0" eaLnBrk="1" latinLnBrk="0" hangingPunct="1">
              <a:defRPr kern="1200">
                <a:solidFill>
                  <a:schemeClr val="dk1"/>
                </a:solidFill>
                <a:latin typeface="+mn-lt"/>
                <a:ea typeface="+mn-ea"/>
                <a:cs typeface="+mn-cs"/>
              </a:defRPr>
            </a:lvl6pPr>
            <a:lvl7pPr marL="2743200" algn="l" defTabSz="914400" rtl="0" eaLnBrk="1" latinLnBrk="0" hangingPunct="1">
              <a:defRPr kern="1200">
                <a:solidFill>
                  <a:schemeClr val="dk1"/>
                </a:solidFill>
                <a:latin typeface="+mn-lt"/>
                <a:ea typeface="+mn-ea"/>
                <a:cs typeface="+mn-cs"/>
              </a:defRPr>
            </a:lvl7pPr>
            <a:lvl8pPr marL="3200400" algn="l" defTabSz="914400" rtl="0" eaLnBrk="1" latinLnBrk="0" hangingPunct="1">
              <a:defRPr kern="1200">
                <a:solidFill>
                  <a:schemeClr val="dk1"/>
                </a:solidFill>
                <a:latin typeface="+mn-lt"/>
                <a:ea typeface="+mn-ea"/>
                <a:cs typeface="+mn-cs"/>
              </a:defRPr>
            </a:lvl8pPr>
            <a:lvl9pPr marL="3657600" algn="l" defTabSz="914400" rtl="0" eaLnBrk="1" latinLnBrk="0" hangingPunct="1">
              <a:defRPr kern="1200">
                <a:solidFill>
                  <a:schemeClr val="dk1"/>
                </a:solidFill>
                <a:latin typeface="+mn-lt"/>
                <a:ea typeface="+mn-ea"/>
                <a:cs typeface="+mn-cs"/>
              </a:defRPr>
            </a:lvl9pPr>
          </a:lstStyle>
          <a:p>
            <a:pPr defTabSz="685720" fontAlgn="auto">
              <a:spcBef>
                <a:spcPts val="0"/>
              </a:spcBef>
              <a:spcAft>
                <a:spcPts val="0"/>
              </a:spcAft>
            </a:pPr>
            <a:r>
              <a:rPr lang="en-US" sz="2100" dirty="0">
                <a:gradFill>
                  <a:gsLst>
                    <a:gs pos="0">
                      <a:srgbClr val="FFFFFF"/>
                    </a:gs>
                    <a:gs pos="100000">
                      <a:srgbClr val="FFFFFF"/>
                    </a:gs>
                  </a:gsLst>
                  <a:lin ang="5400000" scaled="0"/>
                </a:gradFill>
              </a:rPr>
              <a:t>Sales Dashboard</a:t>
            </a:r>
          </a:p>
          <a:p>
            <a:pPr defTabSz="685720" fontAlgn="auto">
              <a:spcBef>
                <a:spcPts val="0"/>
              </a:spcBef>
              <a:spcAft>
                <a:spcPts val="0"/>
              </a:spcAft>
            </a:pPr>
            <a:r>
              <a:rPr lang="en-US" sz="2100" dirty="0">
                <a:gradFill>
                  <a:gsLst>
                    <a:gs pos="0">
                      <a:srgbClr val="FFFFFF"/>
                    </a:gs>
                    <a:gs pos="100000">
                      <a:srgbClr val="FFFFFF"/>
                    </a:gs>
                  </a:gsLst>
                  <a:lin ang="5400000" scaled="0"/>
                </a:gradFill>
              </a:rPr>
              <a:t>(ASP .NET)</a:t>
            </a:r>
          </a:p>
        </p:txBody>
      </p:sp>
      <p:sp>
        <p:nvSpPr>
          <p:cNvPr id="75" name="Rectangle 74"/>
          <p:cNvSpPr/>
          <p:nvPr/>
        </p:nvSpPr>
        <p:spPr>
          <a:xfrm>
            <a:off x="6413260" y="2881289"/>
            <a:ext cx="1808016" cy="1110899"/>
          </a:xfrm>
          <a:prstGeom prst="rect">
            <a:avLst/>
          </a:prstGeom>
          <a:solidFill>
            <a:schemeClr val="tx2"/>
          </a:solidFill>
          <a:ln>
            <a:noFill/>
          </a:ln>
          <a:effectLst/>
        </p:spPr>
        <p:style>
          <a:lnRef idx="1">
            <a:schemeClr val="accent4"/>
          </a:lnRef>
          <a:fillRef idx="2">
            <a:schemeClr val="accent4"/>
          </a:fillRef>
          <a:effectRef idx="1">
            <a:schemeClr val="accent4"/>
          </a:effectRef>
          <a:fontRef idx="minor">
            <a:schemeClr val="dk1"/>
          </a:fontRef>
        </p:style>
        <p:txBody>
          <a:bodyPr lIns="68571" tIns="34286" rIns="68571" bIns="34286" rtlCol="0" anchor="ctr"/>
          <a:lstStyle>
            <a:defPPr>
              <a:defRPr lang="en-US"/>
            </a:defPPr>
            <a:lvl1pPr algn="l" rtl="0" fontAlgn="base">
              <a:spcBef>
                <a:spcPct val="0"/>
              </a:spcBef>
              <a:spcAft>
                <a:spcPct val="0"/>
              </a:spcAft>
              <a:defRPr kern="1200">
                <a:solidFill>
                  <a:schemeClr val="dk1"/>
                </a:solidFill>
                <a:latin typeface="+mn-lt"/>
                <a:ea typeface="+mn-ea"/>
                <a:cs typeface="+mn-cs"/>
              </a:defRPr>
            </a:lvl1pPr>
            <a:lvl2pPr marL="457200" algn="l" rtl="0" fontAlgn="base">
              <a:spcBef>
                <a:spcPct val="0"/>
              </a:spcBef>
              <a:spcAft>
                <a:spcPct val="0"/>
              </a:spcAft>
              <a:defRPr kern="1200">
                <a:solidFill>
                  <a:schemeClr val="dk1"/>
                </a:solidFill>
                <a:latin typeface="+mn-lt"/>
                <a:ea typeface="+mn-ea"/>
                <a:cs typeface="+mn-cs"/>
              </a:defRPr>
            </a:lvl2pPr>
            <a:lvl3pPr marL="914400" algn="l" rtl="0" fontAlgn="base">
              <a:spcBef>
                <a:spcPct val="0"/>
              </a:spcBef>
              <a:spcAft>
                <a:spcPct val="0"/>
              </a:spcAft>
              <a:defRPr kern="1200">
                <a:solidFill>
                  <a:schemeClr val="dk1"/>
                </a:solidFill>
                <a:latin typeface="+mn-lt"/>
                <a:ea typeface="+mn-ea"/>
                <a:cs typeface="+mn-cs"/>
              </a:defRPr>
            </a:lvl3pPr>
            <a:lvl4pPr marL="1371600" algn="l" rtl="0" fontAlgn="base">
              <a:spcBef>
                <a:spcPct val="0"/>
              </a:spcBef>
              <a:spcAft>
                <a:spcPct val="0"/>
              </a:spcAft>
              <a:defRPr kern="1200">
                <a:solidFill>
                  <a:schemeClr val="dk1"/>
                </a:solidFill>
                <a:latin typeface="+mn-lt"/>
                <a:ea typeface="+mn-ea"/>
                <a:cs typeface="+mn-cs"/>
              </a:defRPr>
            </a:lvl4pPr>
            <a:lvl5pPr marL="1828800" algn="l" rtl="0" fontAlgn="base">
              <a:spcBef>
                <a:spcPct val="0"/>
              </a:spcBef>
              <a:spcAft>
                <a:spcPct val="0"/>
              </a:spcAft>
              <a:defRPr kern="1200">
                <a:solidFill>
                  <a:schemeClr val="dk1"/>
                </a:solidFill>
                <a:latin typeface="+mn-lt"/>
                <a:ea typeface="+mn-ea"/>
                <a:cs typeface="+mn-cs"/>
              </a:defRPr>
            </a:lvl5pPr>
            <a:lvl6pPr marL="2286000" algn="l" defTabSz="914400" rtl="0" eaLnBrk="1" latinLnBrk="0" hangingPunct="1">
              <a:defRPr kern="1200">
                <a:solidFill>
                  <a:schemeClr val="dk1"/>
                </a:solidFill>
                <a:latin typeface="+mn-lt"/>
                <a:ea typeface="+mn-ea"/>
                <a:cs typeface="+mn-cs"/>
              </a:defRPr>
            </a:lvl6pPr>
            <a:lvl7pPr marL="2743200" algn="l" defTabSz="914400" rtl="0" eaLnBrk="1" latinLnBrk="0" hangingPunct="1">
              <a:defRPr kern="1200">
                <a:solidFill>
                  <a:schemeClr val="dk1"/>
                </a:solidFill>
                <a:latin typeface="+mn-lt"/>
                <a:ea typeface="+mn-ea"/>
                <a:cs typeface="+mn-cs"/>
              </a:defRPr>
            </a:lvl7pPr>
            <a:lvl8pPr marL="3200400" algn="l" defTabSz="914400" rtl="0" eaLnBrk="1" latinLnBrk="0" hangingPunct="1">
              <a:defRPr kern="1200">
                <a:solidFill>
                  <a:schemeClr val="dk1"/>
                </a:solidFill>
                <a:latin typeface="+mn-lt"/>
                <a:ea typeface="+mn-ea"/>
                <a:cs typeface="+mn-cs"/>
              </a:defRPr>
            </a:lvl8pPr>
            <a:lvl9pPr marL="3657600" algn="l" defTabSz="914400" rtl="0" eaLnBrk="1" latinLnBrk="0" hangingPunct="1">
              <a:defRPr kern="1200">
                <a:solidFill>
                  <a:schemeClr val="dk1"/>
                </a:solidFill>
                <a:latin typeface="+mn-lt"/>
                <a:ea typeface="+mn-ea"/>
                <a:cs typeface="+mn-cs"/>
              </a:defRPr>
            </a:lvl9pPr>
          </a:lstStyle>
          <a:p>
            <a:pPr defTabSz="685720" fontAlgn="auto">
              <a:spcBef>
                <a:spcPts val="0"/>
              </a:spcBef>
              <a:spcAft>
                <a:spcPts val="0"/>
              </a:spcAft>
            </a:pPr>
            <a:r>
              <a:rPr lang="en-US" sz="2100" dirty="0">
                <a:gradFill>
                  <a:gsLst>
                    <a:gs pos="0">
                      <a:srgbClr val="FFFFFF"/>
                    </a:gs>
                    <a:gs pos="100000">
                      <a:srgbClr val="FFFFFF"/>
                    </a:gs>
                  </a:gsLst>
                  <a:lin ang="5400000" scaled="0"/>
                </a:gradFill>
              </a:rPr>
              <a:t>Order Management LOB System</a:t>
            </a:r>
          </a:p>
        </p:txBody>
      </p:sp>
      <p:cxnSp>
        <p:nvCxnSpPr>
          <p:cNvPr id="78" name="Straight Arrow Connector 77"/>
          <p:cNvCxnSpPr>
            <a:stCxn id="74" idx="3"/>
            <a:endCxn id="75" idx="1"/>
          </p:cNvCxnSpPr>
          <p:nvPr/>
        </p:nvCxnSpPr>
        <p:spPr>
          <a:xfrm>
            <a:off x="4810074" y="3436738"/>
            <a:ext cx="1603191" cy="1"/>
          </a:xfrm>
          <a:prstGeom prst="straightConnector1">
            <a:avLst/>
          </a:prstGeom>
          <a:ln w="19050">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79" name="TextBox 29"/>
          <p:cNvSpPr txBox="1"/>
          <p:nvPr/>
        </p:nvSpPr>
        <p:spPr>
          <a:xfrm>
            <a:off x="3971941" y="2883004"/>
            <a:ext cx="833634" cy="242372"/>
          </a:xfrm>
          <a:prstGeom prst="rect">
            <a:avLst/>
          </a:prstGeom>
          <a:noFill/>
        </p:spPr>
        <p:txBody>
          <a:bodyPr wrap="square" lIns="68571" tIns="34286" rIns="68571" bIns="34286" rtlCol="0">
            <a:sp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r" defTabSz="685720" fontAlgn="auto">
              <a:spcBef>
                <a:spcPts val="0"/>
              </a:spcBef>
              <a:spcAft>
                <a:spcPts val="0"/>
              </a:spcAft>
            </a:pPr>
            <a:r>
              <a:rPr lang="en-US" sz="1100" b="1" dirty="0">
                <a:gradFill>
                  <a:gsLst>
                    <a:gs pos="0">
                      <a:srgbClr val="1D4C7C"/>
                    </a:gs>
                    <a:gs pos="100000">
                      <a:srgbClr val="1D4C7C"/>
                    </a:gs>
                  </a:gsLst>
                  <a:lin ang="16200000" scaled="1"/>
                </a:gradFill>
                <a:latin typeface="Segoe UI"/>
              </a:rPr>
              <a:t>Orders</a:t>
            </a:r>
          </a:p>
        </p:txBody>
      </p:sp>
      <p:cxnSp>
        <p:nvCxnSpPr>
          <p:cNvPr id="82" name="Elbow Connector 81"/>
          <p:cNvCxnSpPr>
            <a:stCxn id="86" idx="3"/>
            <a:endCxn id="94" idx="1"/>
          </p:cNvCxnSpPr>
          <p:nvPr/>
        </p:nvCxnSpPr>
        <p:spPr>
          <a:xfrm>
            <a:off x="4810069" y="1643325"/>
            <a:ext cx="1603192" cy="308983"/>
          </a:xfrm>
          <a:prstGeom prst="bentConnector3">
            <a:avLst>
              <a:gd name="adj1" fmla="val 50000"/>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a:off x="1968338" y="1643324"/>
            <a:ext cx="1021918" cy="1"/>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86" name="Rectangle 85"/>
          <p:cNvSpPr/>
          <p:nvPr/>
        </p:nvSpPr>
        <p:spPr>
          <a:xfrm>
            <a:off x="3024661" y="1365600"/>
            <a:ext cx="1785406" cy="555449"/>
          </a:xfrm>
          <a:prstGeom prst="rect">
            <a:avLst/>
          </a:prstGeom>
          <a:solidFill>
            <a:schemeClr val="accent5"/>
          </a:solidFill>
          <a:effectLst/>
        </p:spPr>
        <p:style>
          <a:lnRef idx="1">
            <a:schemeClr val="accent5"/>
          </a:lnRef>
          <a:fillRef idx="2">
            <a:schemeClr val="accent5"/>
          </a:fillRef>
          <a:effectRef idx="1">
            <a:schemeClr val="accent5"/>
          </a:effectRef>
          <a:fontRef idx="minor">
            <a:schemeClr val="dk1"/>
          </a:fontRef>
        </p:style>
        <p:txBody>
          <a:bodyPr lIns="68571" tIns="34286" rIns="68571" bIns="34286" rtlCol="0" anchor="b"/>
          <a:lstStyle>
            <a:defPPr>
              <a:defRPr lang="en-US"/>
            </a:defPPr>
            <a:lvl1pPr algn="l" rtl="0" fontAlgn="base">
              <a:spcBef>
                <a:spcPct val="0"/>
              </a:spcBef>
              <a:spcAft>
                <a:spcPct val="0"/>
              </a:spcAft>
              <a:defRPr kern="1200">
                <a:solidFill>
                  <a:schemeClr val="dk1"/>
                </a:solidFill>
                <a:latin typeface="+mn-lt"/>
                <a:ea typeface="+mn-ea"/>
                <a:cs typeface="+mn-cs"/>
              </a:defRPr>
            </a:lvl1pPr>
            <a:lvl2pPr marL="457200" algn="l" rtl="0" fontAlgn="base">
              <a:spcBef>
                <a:spcPct val="0"/>
              </a:spcBef>
              <a:spcAft>
                <a:spcPct val="0"/>
              </a:spcAft>
              <a:defRPr kern="1200">
                <a:solidFill>
                  <a:schemeClr val="dk1"/>
                </a:solidFill>
                <a:latin typeface="+mn-lt"/>
                <a:ea typeface="+mn-ea"/>
                <a:cs typeface="+mn-cs"/>
              </a:defRPr>
            </a:lvl2pPr>
            <a:lvl3pPr marL="914400" algn="l" rtl="0" fontAlgn="base">
              <a:spcBef>
                <a:spcPct val="0"/>
              </a:spcBef>
              <a:spcAft>
                <a:spcPct val="0"/>
              </a:spcAft>
              <a:defRPr kern="1200">
                <a:solidFill>
                  <a:schemeClr val="dk1"/>
                </a:solidFill>
                <a:latin typeface="+mn-lt"/>
                <a:ea typeface="+mn-ea"/>
                <a:cs typeface="+mn-cs"/>
              </a:defRPr>
            </a:lvl3pPr>
            <a:lvl4pPr marL="1371600" algn="l" rtl="0" fontAlgn="base">
              <a:spcBef>
                <a:spcPct val="0"/>
              </a:spcBef>
              <a:spcAft>
                <a:spcPct val="0"/>
              </a:spcAft>
              <a:defRPr kern="1200">
                <a:solidFill>
                  <a:schemeClr val="dk1"/>
                </a:solidFill>
                <a:latin typeface="+mn-lt"/>
                <a:ea typeface="+mn-ea"/>
                <a:cs typeface="+mn-cs"/>
              </a:defRPr>
            </a:lvl4pPr>
            <a:lvl5pPr marL="1828800" algn="l" rtl="0" fontAlgn="base">
              <a:spcBef>
                <a:spcPct val="0"/>
              </a:spcBef>
              <a:spcAft>
                <a:spcPct val="0"/>
              </a:spcAft>
              <a:defRPr kern="1200">
                <a:solidFill>
                  <a:schemeClr val="dk1"/>
                </a:solidFill>
                <a:latin typeface="+mn-lt"/>
                <a:ea typeface="+mn-ea"/>
                <a:cs typeface="+mn-cs"/>
              </a:defRPr>
            </a:lvl5pPr>
            <a:lvl6pPr marL="2286000" algn="l" defTabSz="914400" rtl="0" eaLnBrk="1" latinLnBrk="0" hangingPunct="1">
              <a:defRPr kern="1200">
                <a:solidFill>
                  <a:schemeClr val="dk1"/>
                </a:solidFill>
                <a:latin typeface="+mn-lt"/>
                <a:ea typeface="+mn-ea"/>
                <a:cs typeface="+mn-cs"/>
              </a:defRPr>
            </a:lvl6pPr>
            <a:lvl7pPr marL="2743200" algn="l" defTabSz="914400" rtl="0" eaLnBrk="1" latinLnBrk="0" hangingPunct="1">
              <a:defRPr kern="1200">
                <a:solidFill>
                  <a:schemeClr val="dk1"/>
                </a:solidFill>
                <a:latin typeface="+mn-lt"/>
                <a:ea typeface="+mn-ea"/>
                <a:cs typeface="+mn-cs"/>
              </a:defRPr>
            </a:lvl7pPr>
            <a:lvl8pPr marL="3200400" algn="l" defTabSz="914400" rtl="0" eaLnBrk="1" latinLnBrk="0" hangingPunct="1">
              <a:defRPr kern="1200">
                <a:solidFill>
                  <a:schemeClr val="dk1"/>
                </a:solidFill>
                <a:latin typeface="+mn-lt"/>
                <a:ea typeface="+mn-ea"/>
                <a:cs typeface="+mn-cs"/>
              </a:defRPr>
            </a:lvl8pPr>
            <a:lvl9pPr marL="3657600" algn="l" defTabSz="914400" rtl="0" eaLnBrk="1" latinLnBrk="0" hangingPunct="1">
              <a:defRPr kern="1200">
                <a:solidFill>
                  <a:schemeClr val="dk1"/>
                </a:solidFill>
                <a:latin typeface="+mn-lt"/>
                <a:ea typeface="+mn-ea"/>
                <a:cs typeface="+mn-cs"/>
              </a:defRPr>
            </a:lvl9pPr>
          </a:lstStyle>
          <a:p>
            <a:pPr defTabSz="685720" fontAlgn="auto">
              <a:spcBef>
                <a:spcPts val="0"/>
              </a:spcBef>
              <a:spcAft>
                <a:spcPts val="0"/>
              </a:spcAft>
            </a:pPr>
            <a:r>
              <a:rPr lang="en-US" sz="2100" dirty="0">
                <a:gradFill>
                  <a:gsLst>
                    <a:gs pos="0">
                      <a:srgbClr val="1D4C7C"/>
                    </a:gs>
                    <a:gs pos="100000">
                      <a:srgbClr val="1D4C7C"/>
                    </a:gs>
                  </a:gsLst>
                  <a:lin ang="5400000" scaled="0"/>
                </a:gradFill>
              </a:rPr>
              <a:t>EDI Bridge</a:t>
            </a:r>
          </a:p>
        </p:txBody>
      </p:sp>
      <p:pic>
        <p:nvPicPr>
          <p:cNvPr id="89" name="Picture 88"/>
          <p:cNvPicPr>
            <a:picLocks noChangeAspect="1" noChangeArrowheads="1"/>
          </p:cNvPicPr>
          <p:nvPr/>
        </p:nvPicPr>
        <p:blipFill rotWithShape="1">
          <a:blip r:embed="rId2">
            <a:duotone>
              <a:schemeClr val="accent1">
                <a:shade val="45000"/>
                <a:satMod val="135000"/>
              </a:schemeClr>
              <a:prstClr val="white"/>
            </a:duotone>
            <a:extLst>
              <a:ext uri="{28A0092B-C50C-407E-A947-70E740481C1C}">
                <a14:useLocalDpi xmlns:a14="http://schemas.microsoft.com/office/drawing/2010/main" val="0"/>
              </a:ext>
            </a:extLst>
          </a:blip>
          <a:srcRect r="85865"/>
          <a:stretch/>
        </p:blipFill>
        <p:spPr bwMode="auto">
          <a:xfrm>
            <a:off x="4426413" y="1377877"/>
            <a:ext cx="374423" cy="307811"/>
          </a:xfrm>
          <a:prstGeom prst="rect">
            <a:avLst/>
          </a:prstGeom>
          <a:noFill/>
          <a:ln>
            <a:noFill/>
          </a:ln>
          <a:effectLst/>
          <a:extLst/>
        </p:spPr>
      </p:pic>
      <p:sp>
        <p:nvSpPr>
          <p:cNvPr id="94" name="Rectangle 93"/>
          <p:cNvSpPr/>
          <p:nvPr/>
        </p:nvSpPr>
        <p:spPr>
          <a:xfrm>
            <a:off x="6413260" y="1365600"/>
            <a:ext cx="1808016" cy="1173415"/>
          </a:xfrm>
          <a:prstGeom prst="rect">
            <a:avLst/>
          </a:prstGeom>
          <a:solidFill>
            <a:schemeClr val="accent5"/>
          </a:solidFill>
          <a:effectLst/>
        </p:spPr>
        <p:style>
          <a:lnRef idx="1">
            <a:schemeClr val="accent5"/>
          </a:lnRef>
          <a:fillRef idx="2">
            <a:schemeClr val="accent5"/>
          </a:fillRef>
          <a:effectRef idx="1">
            <a:schemeClr val="accent5"/>
          </a:effectRef>
          <a:fontRef idx="minor">
            <a:schemeClr val="dk1"/>
          </a:fontRef>
        </p:style>
        <p:txBody>
          <a:bodyPr lIns="68571" tIns="34286" rIns="68571" bIns="34286" rtlCol="0" anchor="b"/>
          <a:lstStyle>
            <a:defPPr>
              <a:defRPr lang="en-US"/>
            </a:defPPr>
            <a:lvl1pPr algn="l" rtl="0" fontAlgn="base">
              <a:spcBef>
                <a:spcPct val="0"/>
              </a:spcBef>
              <a:spcAft>
                <a:spcPct val="0"/>
              </a:spcAft>
              <a:defRPr kern="1200">
                <a:solidFill>
                  <a:schemeClr val="dk1"/>
                </a:solidFill>
                <a:latin typeface="+mn-lt"/>
                <a:ea typeface="+mn-ea"/>
                <a:cs typeface="+mn-cs"/>
              </a:defRPr>
            </a:lvl1pPr>
            <a:lvl2pPr marL="457200" algn="l" rtl="0" fontAlgn="base">
              <a:spcBef>
                <a:spcPct val="0"/>
              </a:spcBef>
              <a:spcAft>
                <a:spcPct val="0"/>
              </a:spcAft>
              <a:defRPr kern="1200">
                <a:solidFill>
                  <a:schemeClr val="dk1"/>
                </a:solidFill>
                <a:latin typeface="+mn-lt"/>
                <a:ea typeface="+mn-ea"/>
                <a:cs typeface="+mn-cs"/>
              </a:defRPr>
            </a:lvl2pPr>
            <a:lvl3pPr marL="914400" algn="l" rtl="0" fontAlgn="base">
              <a:spcBef>
                <a:spcPct val="0"/>
              </a:spcBef>
              <a:spcAft>
                <a:spcPct val="0"/>
              </a:spcAft>
              <a:defRPr kern="1200">
                <a:solidFill>
                  <a:schemeClr val="dk1"/>
                </a:solidFill>
                <a:latin typeface="+mn-lt"/>
                <a:ea typeface="+mn-ea"/>
                <a:cs typeface="+mn-cs"/>
              </a:defRPr>
            </a:lvl3pPr>
            <a:lvl4pPr marL="1371600" algn="l" rtl="0" fontAlgn="base">
              <a:spcBef>
                <a:spcPct val="0"/>
              </a:spcBef>
              <a:spcAft>
                <a:spcPct val="0"/>
              </a:spcAft>
              <a:defRPr kern="1200">
                <a:solidFill>
                  <a:schemeClr val="dk1"/>
                </a:solidFill>
                <a:latin typeface="+mn-lt"/>
                <a:ea typeface="+mn-ea"/>
                <a:cs typeface="+mn-cs"/>
              </a:defRPr>
            </a:lvl4pPr>
            <a:lvl5pPr marL="1828800" algn="l" rtl="0" fontAlgn="base">
              <a:spcBef>
                <a:spcPct val="0"/>
              </a:spcBef>
              <a:spcAft>
                <a:spcPct val="0"/>
              </a:spcAft>
              <a:defRPr kern="1200">
                <a:solidFill>
                  <a:schemeClr val="dk1"/>
                </a:solidFill>
                <a:latin typeface="+mn-lt"/>
                <a:ea typeface="+mn-ea"/>
                <a:cs typeface="+mn-cs"/>
              </a:defRPr>
            </a:lvl5pPr>
            <a:lvl6pPr marL="2286000" algn="l" defTabSz="914400" rtl="0" eaLnBrk="1" latinLnBrk="0" hangingPunct="1">
              <a:defRPr kern="1200">
                <a:solidFill>
                  <a:schemeClr val="dk1"/>
                </a:solidFill>
                <a:latin typeface="+mn-lt"/>
                <a:ea typeface="+mn-ea"/>
                <a:cs typeface="+mn-cs"/>
              </a:defRPr>
            </a:lvl6pPr>
            <a:lvl7pPr marL="2743200" algn="l" defTabSz="914400" rtl="0" eaLnBrk="1" latinLnBrk="0" hangingPunct="1">
              <a:defRPr kern="1200">
                <a:solidFill>
                  <a:schemeClr val="dk1"/>
                </a:solidFill>
                <a:latin typeface="+mn-lt"/>
                <a:ea typeface="+mn-ea"/>
                <a:cs typeface="+mn-cs"/>
              </a:defRPr>
            </a:lvl7pPr>
            <a:lvl8pPr marL="3200400" algn="l" defTabSz="914400" rtl="0" eaLnBrk="1" latinLnBrk="0" hangingPunct="1">
              <a:defRPr kern="1200">
                <a:solidFill>
                  <a:schemeClr val="dk1"/>
                </a:solidFill>
                <a:latin typeface="+mn-lt"/>
                <a:ea typeface="+mn-ea"/>
                <a:cs typeface="+mn-cs"/>
              </a:defRPr>
            </a:lvl8pPr>
            <a:lvl9pPr marL="3657600" algn="l" defTabSz="914400" rtl="0" eaLnBrk="1" latinLnBrk="0" hangingPunct="1">
              <a:defRPr kern="1200">
                <a:solidFill>
                  <a:schemeClr val="dk1"/>
                </a:solidFill>
                <a:latin typeface="+mn-lt"/>
                <a:ea typeface="+mn-ea"/>
                <a:cs typeface="+mn-cs"/>
              </a:defRPr>
            </a:lvl9pPr>
          </a:lstStyle>
          <a:p>
            <a:pPr defTabSz="685720" fontAlgn="auto">
              <a:spcBef>
                <a:spcPts val="0"/>
              </a:spcBef>
              <a:spcAft>
                <a:spcPts val="0"/>
              </a:spcAft>
            </a:pPr>
            <a:r>
              <a:rPr lang="en-US" sz="2100" dirty="0">
                <a:gradFill>
                  <a:gsLst>
                    <a:gs pos="0">
                      <a:srgbClr val="1D4C7C"/>
                    </a:gs>
                    <a:gs pos="100000">
                      <a:srgbClr val="1D4C7C"/>
                    </a:gs>
                  </a:gsLst>
                  <a:lin ang="5400000" scaled="0"/>
                </a:gradFill>
              </a:rPr>
              <a:t>Service Bus</a:t>
            </a:r>
          </a:p>
          <a:p>
            <a:pPr defTabSz="685720" fontAlgn="auto">
              <a:spcBef>
                <a:spcPts val="0"/>
              </a:spcBef>
              <a:spcAft>
                <a:spcPts val="0"/>
              </a:spcAft>
            </a:pPr>
            <a:r>
              <a:rPr lang="en-US" sz="1200" dirty="0">
                <a:gradFill>
                  <a:gsLst>
                    <a:gs pos="0">
                      <a:srgbClr val="1D4C7C"/>
                    </a:gs>
                    <a:gs pos="100000">
                      <a:srgbClr val="1D4C7C"/>
                    </a:gs>
                  </a:gsLst>
                  <a:lin ang="5400000" scaled="0"/>
                </a:gradFill>
              </a:rPr>
              <a:t>Hybrid Connectivity</a:t>
            </a:r>
          </a:p>
        </p:txBody>
      </p:sp>
      <p:pic>
        <p:nvPicPr>
          <p:cNvPr id="95" name="Picture 94"/>
          <p:cNvPicPr>
            <a:picLocks noChangeAspect="1" noChangeArrowheads="1"/>
          </p:cNvPicPr>
          <p:nvPr/>
        </p:nvPicPr>
        <p:blipFill rotWithShape="1">
          <a:blip r:embed="rId3">
            <a:duotone>
              <a:schemeClr val="accent1">
                <a:shade val="45000"/>
                <a:satMod val="135000"/>
              </a:schemeClr>
              <a:prstClr val="white"/>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rcRect t="1" r="85943" b="-1"/>
          <a:stretch/>
        </p:blipFill>
        <p:spPr bwMode="auto">
          <a:xfrm>
            <a:off x="7520971" y="1395586"/>
            <a:ext cx="677702" cy="560258"/>
          </a:xfrm>
          <a:prstGeom prst="rect">
            <a:avLst/>
          </a:prstGeom>
          <a:noFill/>
          <a:ln>
            <a:noFill/>
          </a:ln>
          <a:effectLst/>
          <a:extLst/>
        </p:spPr>
      </p:pic>
      <p:sp>
        <p:nvSpPr>
          <p:cNvPr id="96" name="Rectangle 95"/>
          <p:cNvSpPr/>
          <p:nvPr/>
        </p:nvSpPr>
        <p:spPr>
          <a:xfrm>
            <a:off x="3024661" y="1983567"/>
            <a:ext cx="1785406" cy="555449"/>
          </a:xfrm>
          <a:prstGeom prst="rect">
            <a:avLst/>
          </a:prstGeom>
          <a:solidFill>
            <a:schemeClr val="accent5"/>
          </a:solidFill>
          <a:effectLst/>
        </p:spPr>
        <p:style>
          <a:lnRef idx="1">
            <a:schemeClr val="accent5"/>
          </a:lnRef>
          <a:fillRef idx="2">
            <a:schemeClr val="accent5"/>
          </a:fillRef>
          <a:effectRef idx="1">
            <a:schemeClr val="accent5"/>
          </a:effectRef>
          <a:fontRef idx="minor">
            <a:schemeClr val="dk1"/>
          </a:fontRef>
        </p:style>
        <p:txBody>
          <a:bodyPr lIns="68571" tIns="34286" rIns="68571" bIns="34286" rtlCol="0" anchor="b"/>
          <a:lstStyle>
            <a:defPPr>
              <a:defRPr lang="en-US"/>
            </a:defPPr>
            <a:lvl1pPr algn="l" rtl="0" fontAlgn="base">
              <a:spcBef>
                <a:spcPct val="0"/>
              </a:spcBef>
              <a:spcAft>
                <a:spcPct val="0"/>
              </a:spcAft>
              <a:defRPr kern="1200">
                <a:solidFill>
                  <a:schemeClr val="dk1"/>
                </a:solidFill>
                <a:latin typeface="+mn-lt"/>
                <a:ea typeface="+mn-ea"/>
                <a:cs typeface="+mn-cs"/>
              </a:defRPr>
            </a:lvl1pPr>
            <a:lvl2pPr marL="457200" algn="l" rtl="0" fontAlgn="base">
              <a:spcBef>
                <a:spcPct val="0"/>
              </a:spcBef>
              <a:spcAft>
                <a:spcPct val="0"/>
              </a:spcAft>
              <a:defRPr kern="1200">
                <a:solidFill>
                  <a:schemeClr val="dk1"/>
                </a:solidFill>
                <a:latin typeface="+mn-lt"/>
                <a:ea typeface="+mn-ea"/>
                <a:cs typeface="+mn-cs"/>
              </a:defRPr>
            </a:lvl2pPr>
            <a:lvl3pPr marL="914400" algn="l" rtl="0" fontAlgn="base">
              <a:spcBef>
                <a:spcPct val="0"/>
              </a:spcBef>
              <a:spcAft>
                <a:spcPct val="0"/>
              </a:spcAft>
              <a:defRPr kern="1200">
                <a:solidFill>
                  <a:schemeClr val="dk1"/>
                </a:solidFill>
                <a:latin typeface="+mn-lt"/>
                <a:ea typeface="+mn-ea"/>
                <a:cs typeface="+mn-cs"/>
              </a:defRPr>
            </a:lvl3pPr>
            <a:lvl4pPr marL="1371600" algn="l" rtl="0" fontAlgn="base">
              <a:spcBef>
                <a:spcPct val="0"/>
              </a:spcBef>
              <a:spcAft>
                <a:spcPct val="0"/>
              </a:spcAft>
              <a:defRPr kern="1200">
                <a:solidFill>
                  <a:schemeClr val="dk1"/>
                </a:solidFill>
                <a:latin typeface="+mn-lt"/>
                <a:ea typeface="+mn-ea"/>
                <a:cs typeface="+mn-cs"/>
              </a:defRPr>
            </a:lvl4pPr>
            <a:lvl5pPr marL="1828800" algn="l" rtl="0" fontAlgn="base">
              <a:spcBef>
                <a:spcPct val="0"/>
              </a:spcBef>
              <a:spcAft>
                <a:spcPct val="0"/>
              </a:spcAft>
              <a:defRPr kern="1200">
                <a:solidFill>
                  <a:schemeClr val="dk1"/>
                </a:solidFill>
                <a:latin typeface="+mn-lt"/>
                <a:ea typeface="+mn-ea"/>
                <a:cs typeface="+mn-cs"/>
              </a:defRPr>
            </a:lvl5pPr>
            <a:lvl6pPr marL="2286000" algn="l" defTabSz="914400" rtl="0" eaLnBrk="1" latinLnBrk="0" hangingPunct="1">
              <a:defRPr kern="1200">
                <a:solidFill>
                  <a:schemeClr val="dk1"/>
                </a:solidFill>
                <a:latin typeface="+mn-lt"/>
                <a:ea typeface="+mn-ea"/>
                <a:cs typeface="+mn-cs"/>
              </a:defRPr>
            </a:lvl6pPr>
            <a:lvl7pPr marL="2743200" algn="l" defTabSz="914400" rtl="0" eaLnBrk="1" latinLnBrk="0" hangingPunct="1">
              <a:defRPr kern="1200">
                <a:solidFill>
                  <a:schemeClr val="dk1"/>
                </a:solidFill>
                <a:latin typeface="+mn-lt"/>
                <a:ea typeface="+mn-ea"/>
                <a:cs typeface="+mn-cs"/>
              </a:defRPr>
            </a:lvl7pPr>
            <a:lvl8pPr marL="3200400" algn="l" defTabSz="914400" rtl="0" eaLnBrk="1" latinLnBrk="0" hangingPunct="1">
              <a:defRPr kern="1200">
                <a:solidFill>
                  <a:schemeClr val="dk1"/>
                </a:solidFill>
                <a:latin typeface="+mn-lt"/>
                <a:ea typeface="+mn-ea"/>
                <a:cs typeface="+mn-cs"/>
              </a:defRPr>
            </a:lvl8pPr>
            <a:lvl9pPr marL="3657600" algn="l" defTabSz="914400" rtl="0" eaLnBrk="1" latinLnBrk="0" hangingPunct="1">
              <a:defRPr kern="1200">
                <a:solidFill>
                  <a:schemeClr val="dk1"/>
                </a:solidFill>
                <a:latin typeface="+mn-lt"/>
                <a:ea typeface="+mn-ea"/>
                <a:cs typeface="+mn-cs"/>
              </a:defRPr>
            </a:lvl9pPr>
          </a:lstStyle>
          <a:p>
            <a:pPr defTabSz="685720" fontAlgn="auto">
              <a:spcBef>
                <a:spcPts val="0"/>
              </a:spcBef>
              <a:spcAft>
                <a:spcPts val="0"/>
              </a:spcAft>
            </a:pPr>
            <a:r>
              <a:rPr lang="en-US" sz="2100" dirty="0">
                <a:gradFill>
                  <a:gsLst>
                    <a:gs pos="0">
                      <a:srgbClr val="1D4C7C"/>
                    </a:gs>
                    <a:gs pos="100000">
                      <a:srgbClr val="1D4C7C"/>
                    </a:gs>
                  </a:gsLst>
                  <a:lin ang="5400000" scaled="0"/>
                </a:gradFill>
              </a:rPr>
              <a:t>TPM Portal</a:t>
            </a:r>
          </a:p>
        </p:txBody>
      </p:sp>
      <p:pic>
        <p:nvPicPr>
          <p:cNvPr id="98" name="Picture 97"/>
          <p:cNvPicPr>
            <a:picLocks noChangeAspect="1" noChangeArrowheads="1"/>
          </p:cNvPicPr>
          <p:nvPr/>
        </p:nvPicPr>
        <p:blipFill rotWithShape="1">
          <a:blip r:embed="rId3">
            <a:duotone>
              <a:schemeClr val="accent1">
                <a:shade val="45000"/>
                <a:satMod val="135000"/>
              </a:schemeClr>
              <a:prstClr val="white"/>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rcRect r="85117"/>
          <a:stretch/>
        </p:blipFill>
        <p:spPr bwMode="auto">
          <a:xfrm>
            <a:off x="4430177" y="1996889"/>
            <a:ext cx="369000" cy="288117"/>
          </a:xfrm>
          <a:prstGeom prst="rect">
            <a:avLst/>
          </a:prstGeom>
          <a:noFill/>
          <a:ln>
            <a:noFill/>
          </a:ln>
          <a:effectLst/>
          <a:extLst/>
        </p:spPr>
      </p:pic>
      <p:cxnSp>
        <p:nvCxnSpPr>
          <p:cNvPr id="109" name="Straight Arrow Connector 108"/>
          <p:cNvCxnSpPr>
            <a:stCxn id="94" idx="2"/>
          </p:cNvCxnSpPr>
          <p:nvPr/>
        </p:nvCxnSpPr>
        <p:spPr>
          <a:xfrm>
            <a:off x="7317268" y="2539014"/>
            <a:ext cx="0" cy="342275"/>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a:off x="2542215" y="1079904"/>
            <a:ext cx="0" cy="4063603"/>
          </a:xfrm>
          <a:prstGeom prst="line">
            <a:avLst/>
          </a:prstGeom>
          <a:ln w="38100">
            <a:prstDash val="dash"/>
          </a:ln>
        </p:spPr>
        <p:style>
          <a:lnRef idx="1">
            <a:schemeClr val="accent1"/>
          </a:lnRef>
          <a:fillRef idx="0">
            <a:schemeClr val="accent1"/>
          </a:fillRef>
          <a:effectRef idx="0">
            <a:schemeClr val="accent1"/>
          </a:effectRef>
          <a:fontRef idx="minor">
            <a:schemeClr val="tx1"/>
          </a:fontRef>
        </p:style>
      </p:cxnSp>
      <p:sp>
        <p:nvSpPr>
          <p:cNvPr id="118" name="TextBox 117"/>
          <p:cNvSpPr txBox="1"/>
          <p:nvPr/>
        </p:nvSpPr>
        <p:spPr>
          <a:xfrm>
            <a:off x="3024668" y="4714152"/>
            <a:ext cx="2088651" cy="429348"/>
          </a:xfrm>
          <a:prstGeom prst="rect">
            <a:avLst/>
          </a:prstGeom>
          <a:noFill/>
        </p:spPr>
        <p:txBody>
          <a:bodyPr wrap="square" lIns="68571" tIns="68571" rIns="68571" bIns="68571" rtlCol="0">
            <a:spAutoFit/>
          </a:bodyPr>
          <a:lstStyle/>
          <a:p>
            <a:pPr defTabSz="685720">
              <a:lnSpc>
                <a:spcPct val="90000"/>
              </a:lnSpc>
              <a:spcBef>
                <a:spcPct val="20000"/>
              </a:spcBef>
              <a:buSzPct val="90000"/>
            </a:pPr>
            <a:r>
              <a:rPr lang="en-US" sz="2100" dirty="0" err="1">
                <a:solidFill>
                  <a:srgbClr val="FFFFFF">
                    <a:alpha val="99000"/>
                  </a:srgbClr>
                </a:solidFill>
              </a:rPr>
              <a:t>Contoso</a:t>
            </a:r>
            <a:endParaRPr lang="en-IN" sz="2100" dirty="0" err="1">
              <a:solidFill>
                <a:srgbClr val="FFFFFF">
                  <a:alpha val="99000"/>
                </a:srgbClr>
              </a:solidFill>
            </a:endParaRPr>
          </a:p>
        </p:txBody>
      </p:sp>
      <p:sp>
        <p:nvSpPr>
          <p:cNvPr id="121" name="Rectangle 120"/>
          <p:cNvSpPr/>
          <p:nvPr/>
        </p:nvSpPr>
        <p:spPr>
          <a:xfrm>
            <a:off x="3020885" y="2869345"/>
            <a:ext cx="5199215" cy="2262218"/>
          </a:xfrm>
          <a:prstGeom prst="rect">
            <a:avLst/>
          </a:prstGeom>
          <a:solidFill>
            <a:schemeClr val="accent1">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685720"/>
            <a:endParaRPr lang="en-US" dirty="0" smtClean="0">
              <a:solidFill>
                <a:srgbClr val="FFFFFF"/>
              </a:solidFill>
            </a:endParaRPr>
          </a:p>
          <a:p>
            <a:pPr algn="ctr" defTabSz="685720"/>
            <a:endParaRPr lang="en-US" dirty="0">
              <a:solidFill>
                <a:srgbClr val="FFFFFF"/>
              </a:solidFill>
            </a:endParaRPr>
          </a:p>
          <a:p>
            <a:pPr algn="ctr" defTabSz="685720"/>
            <a:endParaRPr lang="en-US" dirty="0" smtClean="0">
              <a:solidFill>
                <a:srgbClr val="FFFFFF"/>
              </a:solidFill>
            </a:endParaRPr>
          </a:p>
          <a:p>
            <a:pPr algn="ctr" defTabSz="685720"/>
            <a:endParaRPr lang="en-US" dirty="0" smtClean="0">
              <a:solidFill>
                <a:srgbClr val="FFFFFF">
                  <a:lumMod val="65000"/>
                  <a:lumOff val="35000"/>
                </a:srgbClr>
              </a:solidFill>
            </a:endParaRPr>
          </a:p>
          <a:p>
            <a:pPr algn="r" defTabSz="685720"/>
            <a:endParaRPr lang="en-US" dirty="0" smtClean="0">
              <a:solidFill>
                <a:srgbClr val="C00000"/>
              </a:solidFill>
            </a:endParaRPr>
          </a:p>
          <a:p>
            <a:pPr algn="r" defTabSz="685720"/>
            <a:endParaRPr lang="en-US" dirty="0">
              <a:solidFill>
                <a:srgbClr val="C00000"/>
              </a:solidFill>
            </a:endParaRPr>
          </a:p>
        </p:txBody>
      </p:sp>
      <p:sp>
        <p:nvSpPr>
          <p:cNvPr id="81" name="Rectangle 80"/>
          <p:cNvSpPr/>
          <p:nvPr/>
        </p:nvSpPr>
        <p:spPr>
          <a:xfrm>
            <a:off x="388246" y="1365600"/>
            <a:ext cx="1580093" cy="1173415"/>
          </a:xfrm>
          <a:prstGeom prst="rect">
            <a:avLst/>
          </a:prstGeom>
          <a:solidFill>
            <a:schemeClr val="accent4"/>
          </a:solidFill>
          <a:effectLst/>
        </p:spPr>
        <p:style>
          <a:lnRef idx="1">
            <a:schemeClr val="accent4"/>
          </a:lnRef>
          <a:fillRef idx="2">
            <a:schemeClr val="accent4"/>
          </a:fillRef>
          <a:effectRef idx="1">
            <a:schemeClr val="accent4"/>
          </a:effectRef>
          <a:fontRef idx="minor">
            <a:schemeClr val="dk1"/>
          </a:fontRef>
        </p:style>
        <p:txBody>
          <a:bodyPr lIns="68571" tIns="34286" rIns="68571" bIns="34286" rtlCol="0" anchor="b"/>
          <a:lstStyle>
            <a:defPPr>
              <a:defRPr lang="en-US"/>
            </a:defPPr>
            <a:lvl1pPr algn="l" rtl="0" fontAlgn="base">
              <a:spcBef>
                <a:spcPct val="0"/>
              </a:spcBef>
              <a:spcAft>
                <a:spcPct val="0"/>
              </a:spcAft>
              <a:defRPr kern="1200">
                <a:solidFill>
                  <a:schemeClr val="dk1"/>
                </a:solidFill>
                <a:latin typeface="+mn-lt"/>
                <a:ea typeface="+mn-ea"/>
                <a:cs typeface="+mn-cs"/>
              </a:defRPr>
            </a:lvl1pPr>
            <a:lvl2pPr marL="457200" algn="l" rtl="0" fontAlgn="base">
              <a:spcBef>
                <a:spcPct val="0"/>
              </a:spcBef>
              <a:spcAft>
                <a:spcPct val="0"/>
              </a:spcAft>
              <a:defRPr kern="1200">
                <a:solidFill>
                  <a:schemeClr val="dk1"/>
                </a:solidFill>
                <a:latin typeface="+mn-lt"/>
                <a:ea typeface="+mn-ea"/>
                <a:cs typeface="+mn-cs"/>
              </a:defRPr>
            </a:lvl2pPr>
            <a:lvl3pPr marL="914400" algn="l" rtl="0" fontAlgn="base">
              <a:spcBef>
                <a:spcPct val="0"/>
              </a:spcBef>
              <a:spcAft>
                <a:spcPct val="0"/>
              </a:spcAft>
              <a:defRPr kern="1200">
                <a:solidFill>
                  <a:schemeClr val="dk1"/>
                </a:solidFill>
                <a:latin typeface="+mn-lt"/>
                <a:ea typeface="+mn-ea"/>
                <a:cs typeface="+mn-cs"/>
              </a:defRPr>
            </a:lvl3pPr>
            <a:lvl4pPr marL="1371600" algn="l" rtl="0" fontAlgn="base">
              <a:spcBef>
                <a:spcPct val="0"/>
              </a:spcBef>
              <a:spcAft>
                <a:spcPct val="0"/>
              </a:spcAft>
              <a:defRPr kern="1200">
                <a:solidFill>
                  <a:schemeClr val="dk1"/>
                </a:solidFill>
                <a:latin typeface="+mn-lt"/>
                <a:ea typeface="+mn-ea"/>
                <a:cs typeface="+mn-cs"/>
              </a:defRPr>
            </a:lvl4pPr>
            <a:lvl5pPr marL="1828800" algn="l" rtl="0" fontAlgn="base">
              <a:spcBef>
                <a:spcPct val="0"/>
              </a:spcBef>
              <a:spcAft>
                <a:spcPct val="0"/>
              </a:spcAft>
              <a:defRPr kern="1200">
                <a:solidFill>
                  <a:schemeClr val="dk1"/>
                </a:solidFill>
                <a:latin typeface="+mn-lt"/>
                <a:ea typeface="+mn-ea"/>
                <a:cs typeface="+mn-cs"/>
              </a:defRPr>
            </a:lvl5pPr>
            <a:lvl6pPr marL="2286000" algn="l" defTabSz="914400" rtl="0" eaLnBrk="1" latinLnBrk="0" hangingPunct="1">
              <a:defRPr kern="1200">
                <a:solidFill>
                  <a:schemeClr val="dk1"/>
                </a:solidFill>
                <a:latin typeface="+mn-lt"/>
                <a:ea typeface="+mn-ea"/>
                <a:cs typeface="+mn-cs"/>
              </a:defRPr>
            </a:lvl6pPr>
            <a:lvl7pPr marL="2743200" algn="l" defTabSz="914400" rtl="0" eaLnBrk="1" latinLnBrk="0" hangingPunct="1">
              <a:defRPr kern="1200">
                <a:solidFill>
                  <a:schemeClr val="dk1"/>
                </a:solidFill>
                <a:latin typeface="+mn-lt"/>
                <a:ea typeface="+mn-ea"/>
                <a:cs typeface="+mn-cs"/>
              </a:defRPr>
            </a:lvl7pPr>
            <a:lvl8pPr marL="3200400" algn="l" defTabSz="914400" rtl="0" eaLnBrk="1" latinLnBrk="0" hangingPunct="1">
              <a:defRPr kern="1200">
                <a:solidFill>
                  <a:schemeClr val="dk1"/>
                </a:solidFill>
                <a:latin typeface="+mn-lt"/>
                <a:ea typeface="+mn-ea"/>
                <a:cs typeface="+mn-cs"/>
              </a:defRPr>
            </a:lvl8pPr>
            <a:lvl9pPr marL="3657600" algn="l" defTabSz="914400" rtl="0" eaLnBrk="1" latinLnBrk="0" hangingPunct="1">
              <a:defRPr kern="1200">
                <a:solidFill>
                  <a:schemeClr val="dk1"/>
                </a:solidFill>
                <a:latin typeface="+mn-lt"/>
                <a:ea typeface="+mn-ea"/>
                <a:cs typeface="+mn-cs"/>
              </a:defRPr>
            </a:lvl9pPr>
          </a:lstStyle>
          <a:p>
            <a:pPr defTabSz="685720" fontAlgn="auto">
              <a:spcBef>
                <a:spcPts val="0"/>
              </a:spcBef>
              <a:spcAft>
                <a:spcPts val="0"/>
              </a:spcAft>
            </a:pPr>
            <a:r>
              <a:rPr lang="en-US" sz="2100" dirty="0">
                <a:gradFill>
                  <a:gsLst>
                    <a:gs pos="0">
                      <a:srgbClr val="FFFFFF"/>
                    </a:gs>
                    <a:gs pos="100000">
                      <a:srgbClr val="FFFFFF"/>
                    </a:gs>
                  </a:gsLst>
                  <a:lin ang="5400000" scaled="0"/>
                </a:gradFill>
              </a:rPr>
              <a:t>EDI App</a:t>
            </a:r>
          </a:p>
        </p:txBody>
      </p:sp>
      <p:sp>
        <p:nvSpPr>
          <p:cNvPr id="3" name="TextBox 2"/>
          <p:cNvSpPr txBox="1"/>
          <p:nvPr/>
        </p:nvSpPr>
        <p:spPr>
          <a:xfrm>
            <a:off x="603816" y="4714158"/>
            <a:ext cx="1234698" cy="387799"/>
          </a:xfrm>
          <a:prstGeom prst="rect">
            <a:avLst/>
          </a:prstGeom>
          <a:noFill/>
        </p:spPr>
        <p:txBody>
          <a:bodyPr wrap="none" lIns="68571" tIns="68571" rIns="68571" bIns="68571" rtlCol="0">
            <a:spAutoFit/>
          </a:bodyPr>
          <a:lstStyle/>
          <a:p>
            <a:pPr defTabSz="685720">
              <a:lnSpc>
                <a:spcPct val="90000"/>
              </a:lnSpc>
              <a:spcBef>
                <a:spcPct val="20000"/>
              </a:spcBef>
              <a:buSzPct val="90000"/>
            </a:pPr>
            <a:r>
              <a:rPr lang="en-US" sz="1800" dirty="0" err="1">
                <a:solidFill>
                  <a:srgbClr val="FFFFFF">
                    <a:alpha val="99000"/>
                  </a:srgbClr>
                </a:solidFill>
              </a:rPr>
              <a:t>Northwind</a:t>
            </a:r>
            <a:endParaRPr lang="en-US" sz="1800" dirty="0">
              <a:solidFill>
                <a:srgbClr val="FFFFFF">
                  <a:alpha val="99000"/>
                </a:srgbClr>
              </a:solidFill>
            </a:endParaRPr>
          </a:p>
        </p:txBody>
      </p:sp>
      <p:sp>
        <p:nvSpPr>
          <p:cNvPr id="21"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2"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5"/>
              </a:rPr>
              <a:t>www.rapidbbs.cn</a:t>
            </a:r>
            <a:endParaRPr lang="zh-CN" altLang="en-US" sz="1200" b="0">
              <a:latin typeface="Arial" charset="0"/>
              <a:ea typeface="ＭＳ Ｐゴシック" pitchFamily="34" charset="-128"/>
            </a:endParaRPr>
          </a:p>
        </p:txBody>
      </p:sp>
    </p:spTree>
    <p:extLst>
      <p:ext uri="{BB962C8B-B14F-4D97-AF65-F5344CB8AC3E}">
        <p14:creationId xmlns:p14="http://schemas.microsoft.com/office/powerpoint/2010/main" val="201041508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4"/>
                                        </p:tgtEl>
                                        <p:attrNameLst>
                                          <p:attrName>style.visibility</p:attrName>
                                        </p:attrNameLst>
                                      </p:cBhvr>
                                      <p:to>
                                        <p:strVal val="visible"/>
                                      </p:to>
                                    </p:set>
                                    <p:animEffect transition="in" filter="fade">
                                      <p:cBhvr>
                                        <p:cTn id="7" dur="500"/>
                                        <p:tgtEl>
                                          <p:spTgt spid="7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5"/>
                                        </p:tgtEl>
                                        <p:attrNameLst>
                                          <p:attrName>style.visibility</p:attrName>
                                        </p:attrNameLst>
                                      </p:cBhvr>
                                      <p:to>
                                        <p:strVal val="visible"/>
                                      </p:to>
                                    </p:set>
                                    <p:animEffect transition="in" filter="fade">
                                      <p:cBhvr>
                                        <p:cTn id="10" dur="500"/>
                                        <p:tgtEl>
                                          <p:spTgt spid="7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9"/>
                                        </p:tgtEl>
                                        <p:attrNameLst>
                                          <p:attrName>style.visibility</p:attrName>
                                        </p:attrNameLst>
                                      </p:cBhvr>
                                      <p:to>
                                        <p:strVal val="visible"/>
                                      </p:to>
                                    </p:set>
                                    <p:animEffect transition="in" filter="fade">
                                      <p:cBhvr>
                                        <p:cTn id="13" dur="500"/>
                                        <p:tgtEl>
                                          <p:spTgt spid="79"/>
                                        </p:tgtEl>
                                      </p:cBhvr>
                                    </p:animEffect>
                                  </p:childTnLst>
                                </p:cTn>
                              </p:par>
                              <p:par>
                                <p:cTn id="14" presetID="16" presetClass="entr" presetSubtype="37" fill="hold" nodeType="withEffect">
                                  <p:stCondLst>
                                    <p:cond delay="0"/>
                                  </p:stCondLst>
                                  <p:childTnLst>
                                    <p:set>
                                      <p:cBhvr>
                                        <p:cTn id="15" dur="1" fill="hold">
                                          <p:stCondLst>
                                            <p:cond delay="0"/>
                                          </p:stCondLst>
                                        </p:cTn>
                                        <p:tgtEl>
                                          <p:spTgt spid="78"/>
                                        </p:tgtEl>
                                        <p:attrNameLst>
                                          <p:attrName>style.visibility</p:attrName>
                                        </p:attrNameLst>
                                      </p:cBhvr>
                                      <p:to>
                                        <p:strVal val="visible"/>
                                      </p:to>
                                    </p:set>
                                    <p:animEffect transition="in" filter="barn(outVertical)">
                                      <p:cBhvr>
                                        <p:cTn id="16" dur="500"/>
                                        <p:tgtEl>
                                          <p:spTgt spid="7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18"/>
                                        </p:tgtEl>
                                        <p:attrNameLst>
                                          <p:attrName>style.visibility</p:attrName>
                                        </p:attrNameLst>
                                      </p:cBhvr>
                                      <p:to>
                                        <p:strVal val="visible"/>
                                      </p:to>
                                    </p:set>
                                    <p:animEffect transition="in" filter="fade">
                                      <p:cBhvr>
                                        <p:cTn id="19" dur="500"/>
                                        <p:tgtEl>
                                          <p:spTgt spid="11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21"/>
                                        </p:tgtEl>
                                        <p:attrNameLst>
                                          <p:attrName>style.visibility</p:attrName>
                                        </p:attrNameLst>
                                      </p:cBhvr>
                                      <p:to>
                                        <p:strVal val="visible"/>
                                      </p:to>
                                    </p:set>
                                    <p:animEffect transition="in" filter="fade">
                                      <p:cBhvr>
                                        <p:cTn id="22" dur="500"/>
                                        <p:tgtEl>
                                          <p:spTgt spid="121"/>
                                        </p:tgtEl>
                                      </p:cBhvr>
                                    </p:animEffect>
                                  </p:childTnLst>
                                </p:cTn>
                              </p:par>
                            </p:childTnLst>
                          </p:cTn>
                        </p:par>
                      </p:childTnLst>
                    </p:cTn>
                  </p:par>
                  <p:par>
                    <p:cTn id="23" fill="hold">
                      <p:stCondLst>
                        <p:cond delay="indefinite"/>
                      </p:stCondLst>
                      <p:childTnLst>
                        <p:par>
                          <p:cTn id="24" fill="hold">
                            <p:stCondLst>
                              <p:cond delay="0"/>
                            </p:stCondLst>
                            <p:childTnLst>
                              <p:par>
                                <p:cTn id="25" presetID="42" presetClass="entr" presetSubtype="0" fill="hold" nodeType="clickEffect">
                                  <p:stCondLst>
                                    <p:cond delay="0"/>
                                  </p:stCondLst>
                                  <p:childTnLst>
                                    <p:set>
                                      <p:cBhvr>
                                        <p:cTn id="26" dur="1" fill="hold">
                                          <p:stCondLst>
                                            <p:cond delay="0"/>
                                          </p:stCondLst>
                                        </p:cTn>
                                        <p:tgtEl>
                                          <p:spTgt spid="82"/>
                                        </p:tgtEl>
                                        <p:attrNameLst>
                                          <p:attrName>style.visibility</p:attrName>
                                        </p:attrNameLst>
                                      </p:cBhvr>
                                      <p:to>
                                        <p:strVal val="visible"/>
                                      </p:to>
                                    </p:set>
                                    <p:animEffect transition="in" filter="fade">
                                      <p:cBhvr>
                                        <p:cTn id="27" dur="1000"/>
                                        <p:tgtEl>
                                          <p:spTgt spid="82"/>
                                        </p:tgtEl>
                                      </p:cBhvr>
                                    </p:animEffect>
                                    <p:anim calcmode="lin" valueType="num">
                                      <p:cBhvr>
                                        <p:cTn id="28" dur="1000" fill="hold"/>
                                        <p:tgtEl>
                                          <p:spTgt spid="82"/>
                                        </p:tgtEl>
                                        <p:attrNameLst>
                                          <p:attrName>ppt_x</p:attrName>
                                        </p:attrNameLst>
                                      </p:cBhvr>
                                      <p:tavLst>
                                        <p:tav tm="0">
                                          <p:val>
                                            <p:strVal val="#ppt_x"/>
                                          </p:val>
                                        </p:tav>
                                        <p:tav tm="100000">
                                          <p:val>
                                            <p:strVal val="#ppt_x"/>
                                          </p:val>
                                        </p:tav>
                                      </p:tavLst>
                                    </p:anim>
                                    <p:anim calcmode="lin" valueType="num">
                                      <p:cBhvr>
                                        <p:cTn id="29" dur="1000" fill="hold"/>
                                        <p:tgtEl>
                                          <p:spTgt spid="82"/>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0"/>
                                  </p:stCondLst>
                                  <p:childTnLst>
                                    <p:set>
                                      <p:cBhvr>
                                        <p:cTn id="31" dur="1" fill="hold">
                                          <p:stCondLst>
                                            <p:cond delay="0"/>
                                          </p:stCondLst>
                                        </p:cTn>
                                        <p:tgtEl>
                                          <p:spTgt spid="86"/>
                                        </p:tgtEl>
                                        <p:attrNameLst>
                                          <p:attrName>style.visibility</p:attrName>
                                        </p:attrNameLst>
                                      </p:cBhvr>
                                      <p:to>
                                        <p:strVal val="visible"/>
                                      </p:to>
                                    </p:set>
                                    <p:animEffect transition="in" filter="fade">
                                      <p:cBhvr>
                                        <p:cTn id="32" dur="1000"/>
                                        <p:tgtEl>
                                          <p:spTgt spid="86"/>
                                        </p:tgtEl>
                                      </p:cBhvr>
                                    </p:animEffect>
                                    <p:anim calcmode="lin" valueType="num">
                                      <p:cBhvr>
                                        <p:cTn id="33" dur="1000" fill="hold"/>
                                        <p:tgtEl>
                                          <p:spTgt spid="86"/>
                                        </p:tgtEl>
                                        <p:attrNameLst>
                                          <p:attrName>ppt_x</p:attrName>
                                        </p:attrNameLst>
                                      </p:cBhvr>
                                      <p:tavLst>
                                        <p:tav tm="0">
                                          <p:val>
                                            <p:strVal val="#ppt_x"/>
                                          </p:val>
                                        </p:tav>
                                        <p:tav tm="100000">
                                          <p:val>
                                            <p:strVal val="#ppt_x"/>
                                          </p:val>
                                        </p:tav>
                                      </p:tavLst>
                                    </p:anim>
                                    <p:anim calcmode="lin" valueType="num">
                                      <p:cBhvr>
                                        <p:cTn id="34" dur="1000" fill="hold"/>
                                        <p:tgtEl>
                                          <p:spTgt spid="86"/>
                                        </p:tgtEl>
                                        <p:attrNameLst>
                                          <p:attrName>ppt_y</p:attrName>
                                        </p:attrNameLst>
                                      </p:cBhvr>
                                      <p:tavLst>
                                        <p:tav tm="0">
                                          <p:val>
                                            <p:strVal val="#ppt_y+.1"/>
                                          </p:val>
                                        </p:tav>
                                        <p:tav tm="100000">
                                          <p:val>
                                            <p:strVal val="#ppt_y"/>
                                          </p:val>
                                        </p:tav>
                                      </p:tavLst>
                                    </p:anim>
                                  </p:childTnLst>
                                </p:cTn>
                              </p:par>
                              <p:par>
                                <p:cTn id="35" presetID="42" presetClass="entr" presetSubtype="0" fill="hold" nodeType="withEffect">
                                  <p:stCondLst>
                                    <p:cond delay="0"/>
                                  </p:stCondLst>
                                  <p:childTnLst>
                                    <p:set>
                                      <p:cBhvr>
                                        <p:cTn id="36" dur="1" fill="hold">
                                          <p:stCondLst>
                                            <p:cond delay="0"/>
                                          </p:stCondLst>
                                        </p:cTn>
                                        <p:tgtEl>
                                          <p:spTgt spid="89"/>
                                        </p:tgtEl>
                                        <p:attrNameLst>
                                          <p:attrName>style.visibility</p:attrName>
                                        </p:attrNameLst>
                                      </p:cBhvr>
                                      <p:to>
                                        <p:strVal val="visible"/>
                                      </p:to>
                                    </p:set>
                                    <p:animEffect transition="in" filter="fade">
                                      <p:cBhvr>
                                        <p:cTn id="37" dur="1000"/>
                                        <p:tgtEl>
                                          <p:spTgt spid="89"/>
                                        </p:tgtEl>
                                      </p:cBhvr>
                                    </p:animEffect>
                                    <p:anim calcmode="lin" valueType="num">
                                      <p:cBhvr>
                                        <p:cTn id="38" dur="1000" fill="hold"/>
                                        <p:tgtEl>
                                          <p:spTgt spid="89"/>
                                        </p:tgtEl>
                                        <p:attrNameLst>
                                          <p:attrName>ppt_x</p:attrName>
                                        </p:attrNameLst>
                                      </p:cBhvr>
                                      <p:tavLst>
                                        <p:tav tm="0">
                                          <p:val>
                                            <p:strVal val="#ppt_x"/>
                                          </p:val>
                                        </p:tav>
                                        <p:tav tm="100000">
                                          <p:val>
                                            <p:strVal val="#ppt_x"/>
                                          </p:val>
                                        </p:tav>
                                      </p:tavLst>
                                    </p:anim>
                                    <p:anim calcmode="lin" valueType="num">
                                      <p:cBhvr>
                                        <p:cTn id="39" dur="1000" fill="hold"/>
                                        <p:tgtEl>
                                          <p:spTgt spid="89"/>
                                        </p:tgtEl>
                                        <p:attrNameLst>
                                          <p:attrName>ppt_y</p:attrName>
                                        </p:attrNameLst>
                                      </p:cBhvr>
                                      <p:tavLst>
                                        <p:tav tm="0">
                                          <p:val>
                                            <p:strVal val="#ppt_y+.1"/>
                                          </p:val>
                                        </p:tav>
                                        <p:tav tm="100000">
                                          <p:val>
                                            <p:strVal val="#ppt_y"/>
                                          </p:val>
                                        </p:tav>
                                      </p:tavLst>
                                    </p:anim>
                                  </p:childTnLst>
                                </p:cTn>
                              </p:par>
                              <p:par>
                                <p:cTn id="40" presetID="42" presetClass="entr" presetSubtype="0" fill="hold" grpId="0" nodeType="withEffect">
                                  <p:stCondLst>
                                    <p:cond delay="0"/>
                                  </p:stCondLst>
                                  <p:childTnLst>
                                    <p:set>
                                      <p:cBhvr>
                                        <p:cTn id="41" dur="1" fill="hold">
                                          <p:stCondLst>
                                            <p:cond delay="0"/>
                                          </p:stCondLst>
                                        </p:cTn>
                                        <p:tgtEl>
                                          <p:spTgt spid="94"/>
                                        </p:tgtEl>
                                        <p:attrNameLst>
                                          <p:attrName>style.visibility</p:attrName>
                                        </p:attrNameLst>
                                      </p:cBhvr>
                                      <p:to>
                                        <p:strVal val="visible"/>
                                      </p:to>
                                    </p:set>
                                    <p:animEffect transition="in" filter="fade">
                                      <p:cBhvr>
                                        <p:cTn id="42" dur="1000"/>
                                        <p:tgtEl>
                                          <p:spTgt spid="94"/>
                                        </p:tgtEl>
                                      </p:cBhvr>
                                    </p:animEffect>
                                    <p:anim calcmode="lin" valueType="num">
                                      <p:cBhvr>
                                        <p:cTn id="43" dur="1000" fill="hold"/>
                                        <p:tgtEl>
                                          <p:spTgt spid="94"/>
                                        </p:tgtEl>
                                        <p:attrNameLst>
                                          <p:attrName>ppt_x</p:attrName>
                                        </p:attrNameLst>
                                      </p:cBhvr>
                                      <p:tavLst>
                                        <p:tav tm="0">
                                          <p:val>
                                            <p:strVal val="#ppt_x"/>
                                          </p:val>
                                        </p:tav>
                                        <p:tav tm="100000">
                                          <p:val>
                                            <p:strVal val="#ppt_x"/>
                                          </p:val>
                                        </p:tav>
                                      </p:tavLst>
                                    </p:anim>
                                    <p:anim calcmode="lin" valueType="num">
                                      <p:cBhvr>
                                        <p:cTn id="44" dur="1000" fill="hold"/>
                                        <p:tgtEl>
                                          <p:spTgt spid="94"/>
                                        </p:tgtEl>
                                        <p:attrNameLst>
                                          <p:attrName>ppt_y</p:attrName>
                                        </p:attrNameLst>
                                      </p:cBhvr>
                                      <p:tavLst>
                                        <p:tav tm="0">
                                          <p:val>
                                            <p:strVal val="#ppt_y+.1"/>
                                          </p:val>
                                        </p:tav>
                                        <p:tav tm="100000">
                                          <p:val>
                                            <p:strVal val="#ppt_y"/>
                                          </p:val>
                                        </p:tav>
                                      </p:tavLst>
                                    </p:anim>
                                  </p:childTnLst>
                                </p:cTn>
                              </p:par>
                              <p:par>
                                <p:cTn id="45" presetID="42" presetClass="entr" presetSubtype="0" fill="hold" nodeType="withEffect">
                                  <p:stCondLst>
                                    <p:cond delay="0"/>
                                  </p:stCondLst>
                                  <p:childTnLst>
                                    <p:set>
                                      <p:cBhvr>
                                        <p:cTn id="46" dur="1" fill="hold">
                                          <p:stCondLst>
                                            <p:cond delay="0"/>
                                          </p:stCondLst>
                                        </p:cTn>
                                        <p:tgtEl>
                                          <p:spTgt spid="95"/>
                                        </p:tgtEl>
                                        <p:attrNameLst>
                                          <p:attrName>style.visibility</p:attrName>
                                        </p:attrNameLst>
                                      </p:cBhvr>
                                      <p:to>
                                        <p:strVal val="visible"/>
                                      </p:to>
                                    </p:set>
                                    <p:animEffect transition="in" filter="fade">
                                      <p:cBhvr>
                                        <p:cTn id="47" dur="1000"/>
                                        <p:tgtEl>
                                          <p:spTgt spid="95"/>
                                        </p:tgtEl>
                                      </p:cBhvr>
                                    </p:animEffect>
                                    <p:anim calcmode="lin" valueType="num">
                                      <p:cBhvr>
                                        <p:cTn id="48" dur="1000" fill="hold"/>
                                        <p:tgtEl>
                                          <p:spTgt spid="95"/>
                                        </p:tgtEl>
                                        <p:attrNameLst>
                                          <p:attrName>ppt_x</p:attrName>
                                        </p:attrNameLst>
                                      </p:cBhvr>
                                      <p:tavLst>
                                        <p:tav tm="0">
                                          <p:val>
                                            <p:strVal val="#ppt_x"/>
                                          </p:val>
                                        </p:tav>
                                        <p:tav tm="100000">
                                          <p:val>
                                            <p:strVal val="#ppt_x"/>
                                          </p:val>
                                        </p:tav>
                                      </p:tavLst>
                                    </p:anim>
                                    <p:anim calcmode="lin" valueType="num">
                                      <p:cBhvr>
                                        <p:cTn id="49" dur="1000" fill="hold"/>
                                        <p:tgtEl>
                                          <p:spTgt spid="95"/>
                                        </p:tgtEl>
                                        <p:attrNameLst>
                                          <p:attrName>ppt_y</p:attrName>
                                        </p:attrNameLst>
                                      </p:cBhvr>
                                      <p:tavLst>
                                        <p:tav tm="0">
                                          <p:val>
                                            <p:strVal val="#ppt_y+.1"/>
                                          </p:val>
                                        </p:tav>
                                        <p:tav tm="100000">
                                          <p:val>
                                            <p:strVal val="#ppt_y"/>
                                          </p:val>
                                        </p:tav>
                                      </p:tavLst>
                                    </p:anim>
                                  </p:childTnLst>
                                </p:cTn>
                              </p:par>
                              <p:par>
                                <p:cTn id="50" presetID="42" presetClass="entr" presetSubtype="0" fill="hold" grpId="0" nodeType="withEffect">
                                  <p:stCondLst>
                                    <p:cond delay="0"/>
                                  </p:stCondLst>
                                  <p:childTnLst>
                                    <p:set>
                                      <p:cBhvr>
                                        <p:cTn id="51" dur="1" fill="hold">
                                          <p:stCondLst>
                                            <p:cond delay="0"/>
                                          </p:stCondLst>
                                        </p:cTn>
                                        <p:tgtEl>
                                          <p:spTgt spid="96"/>
                                        </p:tgtEl>
                                        <p:attrNameLst>
                                          <p:attrName>style.visibility</p:attrName>
                                        </p:attrNameLst>
                                      </p:cBhvr>
                                      <p:to>
                                        <p:strVal val="visible"/>
                                      </p:to>
                                    </p:set>
                                    <p:animEffect transition="in" filter="fade">
                                      <p:cBhvr>
                                        <p:cTn id="52" dur="1000"/>
                                        <p:tgtEl>
                                          <p:spTgt spid="96"/>
                                        </p:tgtEl>
                                      </p:cBhvr>
                                    </p:animEffect>
                                    <p:anim calcmode="lin" valueType="num">
                                      <p:cBhvr>
                                        <p:cTn id="53" dur="1000" fill="hold"/>
                                        <p:tgtEl>
                                          <p:spTgt spid="96"/>
                                        </p:tgtEl>
                                        <p:attrNameLst>
                                          <p:attrName>ppt_x</p:attrName>
                                        </p:attrNameLst>
                                      </p:cBhvr>
                                      <p:tavLst>
                                        <p:tav tm="0">
                                          <p:val>
                                            <p:strVal val="#ppt_x"/>
                                          </p:val>
                                        </p:tav>
                                        <p:tav tm="100000">
                                          <p:val>
                                            <p:strVal val="#ppt_x"/>
                                          </p:val>
                                        </p:tav>
                                      </p:tavLst>
                                    </p:anim>
                                    <p:anim calcmode="lin" valueType="num">
                                      <p:cBhvr>
                                        <p:cTn id="54" dur="1000" fill="hold"/>
                                        <p:tgtEl>
                                          <p:spTgt spid="96"/>
                                        </p:tgtEl>
                                        <p:attrNameLst>
                                          <p:attrName>ppt_y</p:attrName>
                                        </p:attrNameLst>
                                      </p:cBhvr>
                                      <p:tavLst>
                                        <p:tav tm="0">
                                          <p:val>
                                            <p:strVal val="#ppt_y+.1"/>
                                          </p:val>
                                        </p:tav>
                                        <p:tav tm="100000">
                                          <p:val>
                                            <p:strVal val="#ppt_y"/>
                                          </p:val>
                                        </p:tav>
                                      </p:tavLst>
                                    </p:anim>
                                  </p:childTnLst>
                                </p:cTn>
                              </p:par>
                              <p:par>
                                <p:cTn id="55" presetID="42" presetClass="entr" presetSubtype="0" fill="hold" nodeType="withEffect">
                                  <p:stCondLst>
                                    <p:cond delay="0"/>
                                  </p:stCondLst>
                                  <p:childTnLst>
                                    <p:set>
                                      <p:cBhvr>
                                        <p:cTn id="56" dur="1" fill="hold">
                                          <p:stCondLst>
                                            <p:cond delay="0"/>
                                          </p:stCondLst>
                                        </p:cTn>
                                        <p:tgtEl>
                                          <p:spTgt spid="98"/>
                                        </p:tgtEl>
                                        <p:attrNameLst>
                                          <p:attrName>style.visibility</p:attrName>
                                        </p:attrNameLst>
                                      </p:cBhvr>
                                      <p:to>
                                        <p:strVal val="visible"/>
                                      </p:to>
                                    </p:set>
                                    <p:animEffect transition="in" filter="fade">
                                      <p:cBhvr>
                                        <p:cTn id="57" dur="1000"/>
                                        <p:tgtEl>
                                          <p:spTgt spid="98"/>
                                        </p:tgtEl>
                                      </p:cBhvr>
                                    </p:animEffect>
                                    <p:anim calcmode="lin" valueType="num">
                                      <p:cBhvr>
                                        <p:cTn id="58" dur="1000" fill="hold"/>
                                        <p:tgtEl>
                                          <p:spTgt spid="98"/>
                                        </p:tgtEl>
                                        <p:attrNameLst>
                                          <p:attrName>ppt_x</p:attrName>
                                        </p:attrNameLst>
                                      </p:cBhvr>
                                      <p:tavLst>
                                        <p:tav tm="0">
                                          <p:val>
                                            <p:strVal val="#ppt_x"/>
                                          </p:val>
                                        </p:tav>
                                        <p:tav tm="100000">
                                          <p:val>
                                            <p:strVal val="#ppt_x"/>
                                          </p:val>
                                        </p:tav>
                                      </p:tavLst>
                                    </p:anim>
                                    <p:anim calcmode="lin" valueType="num">
                                      <p:cBhvr>
                                        <p:cTn id="59" dur="1000" fill="hold"/>
                                        <p:tgtEl>
                                          <p:spTgt spid="98"/>
                                        </p:tgtEl>
                                        <p:attrNameLst>
                                          <p:attrName>ppt_y</p:attrName>
                                        </p:attrNameLst>
                                      </p:cBhvr>
                                      <p:tavLst>
                                        <p:tav tm="0">
                                          <p:val>
                                            <p:strVal val="#ppt_y+.1"/>
                                          </p:val>
                                        </p:tav>
                                        <p:tav tm="100000">
                                          <p:val>
                                            <p:strVal val="#ppt_y"/>
                                          </p:val>
                                        </p:tav>
                                      </p:tavLst>
                                    </p:anim>
                                  </p:childTnLst>
                                </p:cTn>
                              </p:par>
                            </p:childTnLst>
                          </p:cTn>
                        </p:par>
                        <p:par>
                          <p:cTn id="60" fill="hold">
                            <p:stCondLst>
                              <p:cond delay="1000"/>
                            </p:stCondLst>
                            <p:childTnLst>
                              <p:par>
                                <p:cTn id="61" presetID="22" presetClass="entr" presetSubtype="1" fill="hold" nodeType="afterEffect">
                                  <p:stCondLst>
                                    <p:cond delay="0"/>
                                  </p:stCondLst>
                                  <p:childTnLst>
                                    <p:set>
                                      <p:cBhvr>
                                        <p:cTn id="62" dur="1" fill="hold">
                                          <p:stCondLst>
                                            <p:cond delay="0"/>
                                          </p:stCondLst>
                                        </p:cTn>
                                        <p:tgtEl>
                                          <p:spTgt spid="109"/>
                                        </p:tgtEl>
                                        <p:attrNameLst>
                                          <p:attrName>style.visibility</p:attrName>
                                        </p:attrNameLst>
                                      </p:cBhvr>
                                      <p:to>
                                        <p:strVal val="visible"/>
                                      </p:to>
                                    </p:set>
                                    <p:animEffect transition="in" filter="wipe(up)">
                                      <p:cBhvr>
                                        <p:cTn id="63" dur="500"/>
                                        <p:tgtEl>
                                          <p:spTgt spid="109"/>
                                        </p:tgtEl>
                                      </p:cBhvr>
                                    </p:animEffect>
                                  </p:childTnLst>
                                </p:cTn>
                              </p:par>
                            </p:childTnLst>
                          </p:cTn>
                        </p:par>
                      </p:childTnLst>
                    </p:cTn>
                  </p:par>
                  <p:par>
                    <p:cTn id="64" fill="hold">
                      <p:stCondLst>
                        <p:cond delay="indefinite"/>
                      </p:stCondLst>
                      <p:childTnLst>
                        <p:par>
                          <p:cTn id="65" fill="hold">
                            <p:stCondLst>
                              <p:cond delay="0"/>
                            </p:stCondLst>
                            <p:childTnLst>
                              <p:par>
                                <p:cTn id="66" presetID="22" presetClass="entr" presetSubtype="1" fill="hold" nodeType="clickEffect">
                                  <p:stCondLst>
                                    <p:cond delay="0"/>
                                  </p:stCondLst>
                                  <p:childTnLst>
                                    <p:set>
                                      <p:cBhvr>
                                        <p:cTn id="67" dur="1" fill="hold">
                                          <p:stCondLst>
                                            <p:cond delay="0"/>
                                          </p:stCondLst>
                                        </p:cTn>
                                        <p:tgtEl>
                                          <p:spTgt spid="117"/>
                                        </p:tgtEl>
                                        <p:attrNameLst>
                                          <p:attrName>style.visibility</p:attrName>
                                        </p:attrNameLst>
                                      </p:cBhvr>
                                      <p:to>
                                        <p:strVal val="visible"/>
                                      </p:to>
                                    </p:set>
                                    <p:animEffect transition="in" filter="wipe(up)">
                                      <p:cBhvr>
                                        <p:cTn id="68" dur="500"/>
                                        <p:tgtEl>
                                          <p:spTgt spid="117"/>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81"/>
                                        </p:tgtEl>
                                        <p:attrNameLst>
                                          <p:attrName>style.visibility</p:attrName>
                                        </p:attrNameLst>
                                      </p:cBhvr>
                                      <p:to>
                                        <p:strVal val="visible"/>
                                      </p:to>
                                    </p:set>
                                    <p:animEffect transition="in" filter="fade">
                                      <p:cBhvr>
                                        <p:cTn id="71" dur="500"/>
                                        <p:tgtEl>
                                          <p:spTgt spid="81"/>
                                        </p:tgtEl>
                                      </p:cBhvr>
                                    </p:animEffect>
                                  </p:childTnLst>
                                </p:cTn>
                              </p:par>
                              <p:par>
                                <p:cTn id="72" presetID="22" presetClass="entr" presetSubtype="8" fill="hold" nodeType="withEffect">
                                  <p:stCondLst>
                                    <p:cond delay="0"/>
                                  </p:stCondLst>
                                  <p:childTnLst>
                                    <p:set>
                                      <p:cBhvr>
                                        <p:cTn id="73" dur="1" fill="hold">
                                          <p:stCondLst>
                                            <p:cond delay="0"/>
                                          </p:stCondLst>
                                        </p:cTn>
                                        <p:tgtEl>
                                          <p:spTgt spid="84"/>
                                        </p:tgtEl>
                                        <p:attrNameLst>
                                          <p:attrName>style.visibility</p:attrName>
                                        </p:attrNameLst>
                                      </p:cBhvr>
                                      <p:to>
                                        <p:strVal val="visible"/>
                                      </p:to>
                                    </p:set>
                                    <p:animEffect transition="in" filter="wipe(left)">
                                      <p:cBhvr>
                                        <p:cTn id="74" dur="500"/>
                                        <p:tgtEl>
                                          <p:spTgt spid="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 grpId="0" animBg="1"/>
      <p:bldP spid="75" grpId="0" animBg="1"/>
      <p:bldP spid="79" grpId="0"/>
      <p:bldP spid="86" grpId="0" animBg="1"/>
      <p:bldP spid="94" grpId="0" animBg="1"/>
      <p:bldP spid="96" grpId="0" animBg="1"/>
      <p:bldP spid="118" grpId="0"/>
      <p:bldP spid="121" grpId="0" animBg="1"/>
      <p:bldP spid="81"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11984" y="430113"/>
            <a:ext cx="1216499" cy="1216182"/>
          </a:xfrm>
          <a:prstGeom prst="rect">
            <a:avLst/>
          </a:prstGeom>
          <a:effectLst>
            <a:outerShdw blurRad="50800" dist="50800" dir="5400000" algn="ctr" rotWithShape="0">
              <a:schemeClr val="bg1">
                <a:alpha val="13000"/>
              </a:schemeClr>
            </a:outerShdw>
          </a:effectLst>
        </p:spPr>
      </p:pic>
      <p:sp>
        <p:nvSpPr>
          <p:cNvPr id="12" name="Rectangle 11"/>
          <p:cNvSpPr/>
          <p:nvPr/>
        </p:nvSpPr>
        <p:spPr bwMode="auto">
          <a:xfrm>
            <a:off x="1369677" y="1658082"/>
            <a:ext cx="6386595" cy="745962"/>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0" tIns="0" rIns="91370" bIns="0" numCol="1" rtlCol="0" anchor="ctr" anchorCtr="0" compatLnSpc="1">
            <a:prstTxWarp prst="textNoShape">
              <a:avLst/>
            </a:prstTxWarp>
          </a:bodyPr>
          <a:lstStyle/>
          <a:p>
            <a:pPr algn="ctr" defTabSz="685664" fontAlgn="base">
              <a:spcBef>
                <a:spcPct val="0"/>
              </a:spcBef>
              <a:spcAft>
                <a:spcPct val="0"/>
              </a:spcAft>
              <a:buClr>
                <a:srgbClr val="FFFF99"/>
              </a:buClr>
              <a:buSzPct val="120000"/>
              <a:defRPr/>
            </a:pPr>
            <a:r>
              <a:rPr lang="en-US" sz="4500" spc="-75" dirty="0">
                <a:ln w="3175">
                  <a:noFill/>
                </a:ln>
                <a:solidFill>
                  <a:srgbClr val="FFFFFF"/>
                </a:solidFill>
                <a:cs typeface="Arial" charset="0"/>
              </a:rPr>
              <a:t>Web Sites In Seconds</a:t>
            </a:r>
            <a:endParaRPr lang="en-US" altLang="zh-CN" sz="4500" spc="-75" dirty="0">
              <a:ln w="3175">
                <a:noFill/>
              </a:ln>
              <a:solidFill>
                <a:srgbClr val="FFFFFF"/>
              </a:solidFill>
              <a:cs typeface="Arial" charset="0"/>
            </a:endParaRPr>
          </a:p>
        </p:txBody>
      </p:sp>
      <p:sp>
        <p:nvSpPr>
          <p:cNvPr id="6" name="Rectangle 5"/>
          <p:cNvSpPr/>
          <p:nvPr/>
        </p:nvSpPr>
        <p:spPr bwMode="auto">
          <a:xfrm>
            <a:off x="1369677" y="2394677"/>
            <a:ext cx="6386595" cy="400050"/>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0" tIns="0" rIns="91370" bIns="0" numCol="1" rtlCol="0" anchor="t" anchorCtr="0" compatLnSpc="1">
            <a:prstTxWarp prst="textNoShape">
              <a:avLst/>
            </a:prstTxWarp>
          </a:bodyPr>
          <a:lstStyle/>
          <a:p>
            <a:pPr algn="ctr" defTabSz="685664" fontAlgn="base">
              <a:spcBef>
                <a:spcPct val="0"/>
              </a:spcBef>
              <a:spcAft>
                <a:spcPct val="0"/>
              </a:spcAft>
              <a:buClr>
                <a:srgbClr val="FFFF99"/>
              </a:buClr>
              <a:buSzPct val="120000"/>
              <a:defRPr/>
            </a:pPr>
            <a:r>
              <a:rPr lang="en-US" sz="1800" spc="-75" dirty="0">
                <a:ln w="3175">
                  <a:noFill/>
                </a:ln>
                <a:solidFill>
                  <a:srgbClr val="FFFFFF"/>
                </a:solidFill>
                <a:ea typeface="Segoe UI" pitchFamily="34" charset="0"/>
                <a:cs typeface="Segoe UI" pitchFamily="34" charset="0"/>
              </a:rPr>
              <a:t>As Powerful As You Need Them To Be</a:t>
            </a:r>
            <a:endParaRPr lang="en-US" altLang="zh-CN" sz="1800" spc="-75" dirty="0">
              <a:ln w="3175">
                <a:noFill/>
              </a:ln>
              <a:solidFill>
                <a:srgbClr val="FFFFFF"/>
              </a:solidFill>
              <a:ea typeface="Segoe UI" pitchFamily="34" charset="0"/>
              <a:cs typeface="Segoe UI" pitchFamily="34" charset="0"/>
            </a:endParaRPr>
          </a:p>
        </p:txBody>
      </p:sp>
      <p:grpSp>
        <p:nvGrpSpPr>
          <p:cNvPr id="19" name="Group 18"/>
          <p:cNvGrpSpPr/>
          <p:nvPr/>
        </p:nvGrpSpPr>
        <p:grpSpPr>
          <a:xfrm>
            <a:off x="621262" y="3013082"/>
            <a:ext cx="2456900" cy="1665515"/>
            <a:chOff x="828134" y="4017434"/>
            <a:chExt cx="3275013" cy="2220686"/>
          </a:xfrm>
        </p:grpSpPr>
        <p:sp>
          <p:nvSpPr>
            <p:cNvPr id="2" name="Rectangle 1"/>
            <p:cNvSpPr/>
            <p:nvPr/>
          </p:nvSpPr>
          <p:spPr bwMode="auto">
            <a:xfrm>
              <a:off x="828134" y="4017434"/>
              <a:ext cx="3275013" cy="222068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685466"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831503" y="4017434"/>
              <a:ext cx="2924068" cy="750509"/>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0" rIns="121848" bIns="0" numCol="1" rtlCol="0" anchor="ctr" anchorCtr="0" compatLnSpc="1">
              <a:prstTxWarp prst="textNoShape">
                <a:avLst/>
              </a:prstTxWarp>
            </a:bodyPr>
            <a:lstStyle/>
            <a:p>
              <a:pPr defTabSz="685664" fontAlgn="base">
                <a:spcBef>
                  <a:spcPct val="0"/>
                </a:spcBef>
                <a:spcAft>
                  <a:spcPct val="0"/>
                </a:spcAft>
                <a:buClr>
                  <a:srgbClr val="FFFF99"/>
                </a:buClr>
                <a:buSzPct val="120000"/>
                <a:defRPr/>
              </a:pPr>
              <a:r>
                <a:rPr lang="en-US" sz="3000" spc="-75" dirty="0">
                  <a:ln w="3175">
                    <a:noFill/>
                  </a:ln>
                  <a:solidFill>
                    <a:srgbClr val="FFFFFF"/>
                  </a:solidFill>
                  <a:cs typeface="Arial" charset="0"/>
                </a:rPr>
                <a:t>Start Simple</a:t>
              </a:r>
              <a:endParaRPr lang="en-US" altLang="zh-CN" sz="3000" spc="-75" dirty="0">
                <a:ln w="3175">
                  <a:noFill/>
                </a:ln>
                <a:solidFill>
                  <a:srgbClr val="FFFFFF"/>
                </a:solidFill>
                <a:cs typeface="Arial" charset="0"/>
              </a:endParaRPr>
            </a:p>
          </p:txBody>
        </p:sp>
        <p:sp>
          <p:nvSpPr>
            <p:cNvPr id="8" name="Rectangle 7"/>
            <p:cNvSpPr/>
            <p:nvPr/>
          </p:nvSpPr>
          <p:spPr bwMode="auto">
            <a:xfrm>
              <a:off x="831503" y="4746171"/>
              <a:ext cx="3000271" cy="1426293"/>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0" rIns="121848" bIns="0" numCol="1" rtlCol="0" anchor="t" anchorCtr="0" compatLnSpc="1">
              <a:prstTxWarp prst="textNoShape">
                <a:avLst/>
              </a:prstTxWarp>
            </a:bodyPr>
            <a:lstStyle/>
            <a:p>
              <a:pPr defTabSz="685664" fontAlgn="base">
                <a:spcBef>
                  <a:spcPct val="0"/>
                </a:spcBef>
                <a:spcAft>
                  <a:spcPct val="0"/>
                </a:spcAft>
                <a:buClr>
                  <a:srgbClr val="FFFF99"/>
                </a:buClr>
                <a:buSzPct val="120000"/>
                <a:defRPr/>
              </a:pPr>
              <a:r>
                <a:rPr lang="en-US" spc="-75" dirty="0">
                  <a:ln w="3175">
                    <a:noFill/>
                  </a:ln>
                  <a:solidFill>
                    <a:srgbClr val="FFFFFF"/>
                  </a:solidFill>
                  <a:ea typeface="Segoe UI" pitchFamily="34" charset="0"/>
                  <a:cs typeface="Segoe UI" pitchFamily="34" charset="0"/>
                </a:rPr>
                <a:t>start free, scale up and out </a:t>
              </a:r>
              <a:br>
                <a:rPr lang="en-US" spc="-75" dirty="0">
                  <a:ln w="3175">
                    <a:noFill/>
                  </a:ln>
                  <a:solidFill>
                    <a:srgbClr val="FFFFFF"/>
                  </a:solidFill>
                  <a:ea typeface="Segoe UI" pitchFamily="34" charset="0"/>
                  <a:cs typeface="Segoe UI" pitchFamily="34" charset="0"/>
                </a:rPr>
              </a:br>
              <a:r>
                <a:rPr lang="en-US" spc="-75" dirty="0">
                  <a:ln w="3175">
                    <a:noFill/>
                  </a:ln>
                  <a:solidFill>
                    <a:srgbClr val="FFFFFF"/>
                  </a:solidFill>
                  <a:ea typeface="Segoe UI" pitchFamily="34" charset="0"/>
                  <a:cs typeface="Segoe UI" pitchFamily="34" charset="0"/>
                </a:rPr>
                <a:t>as you go, friction-free </a:t>
              </a:r>
              <a:br>
                <a:rPr lang="en-US" spc="-75" dirty="0">
                  <a:ln w="3175">
                    <a:noFill/>
                  </a:ln>
                  <a:solidFill>
                    <a:srgbClr val="FFFFFF"/>
                  </a:solidFill>
                  <a:ea typeface="Segoe UI" pitchFamily="34" charset="0"/>
                  <a:cs typeface="Segoe UI" pitchFamily="34" charset="0"/>
                </a:rPr>
              </a:br>
              <a:r>
                <a:rPr lang="en-US" spc="-75" dirty="0">
                  <a:ln w="3175">
                    <a:noFill/>
                  </a:ln>
                  <a:solidFill>
                    <a:srgbClr val="FFFFFF"/>
                  </a:solidFill>
                  <a:ea typeface="Segoe UI" pitchFamily="34" charset="0"/>
                  <a:cs typeface="Segoe UI" pitchFamily="34" charset="0"/>
                </a:rPr>
                <a:t>and without the headaches</a:t>
              </a:r>
              <a:endParaRPr lang="en-US" altLang="zh-CN" spc="-75" dirty="0">
                <a:ln w="3175">
                  <a:noFill/>
                </a:ln>
                <a:solidFill>
                  <a:srgbClr val="FFFFFF"/>
                </a:solidFill>
                <a:ea typeface="Segoe UI" pitchFamily="34" charset="0"/>
                <a:cs typeface="Segoe UI" pitchFamily="34" charset="0"/>
              </a:endParaRPr>
            </a:p>
          </p:txBody>
        </p:sp>
      </p:grpSp>
      <p:grpSp>
        <p:nvGrpSpPr>
          <p:cNvPr id="20" name="Group 19"/>
          <p:cNvGrpSpPr/>
          <p:nvPr/>
        </p:nvGrpSpPr>
        <p:grpSpPr>
          <a:xfrm>
            <a:off x="3329418" y="3013082"/>
            <a:ext cx="2471032" cy="1665515"/>
            <a:chOff x="4438067" y="4017434"/>
            <a:chExt cx="3293852" cy="2220686"/>
          </a:xfrm>
        </p:grpSpPr>
        <p:sp>
          <p:nvSpPr>
            <p:cNvPr id="13" name="Rectangle 12"/>
            <p:cNvSpPr/>
            <p:nvPr/>
          </p:nvSpPr>
          <p:spPr bwMode="auto">
            <a:xfrm>
              <a:off x="4456906" y="4017434"/>
              <a:ext cx="3275013" cy="222068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685466"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4459840" y="4028320"/>
              <a:ext cx="2583217" cy="728737"/>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0" rIns="121848" bIns="0" numCol="1" rtlCol="0" anchor="ctr" anchorCtr="0" compatLnSpc="1">
              <a:prstTxWarp prst="textNoShape">
                <a:avLst/>
              </a:prstTxWarp>
            </a:bodyPr>
            <a:lstStyle/>
            <a:p>
              <a:pPr defTabSz="685664" fontAlgn="base">
                <a:spcBef>
                  <a:spcPct val="0"/>
                </a:spcBef>
                <a:spcAft>
                  <a:spcPct val="0"/>
                </a:spcAft>
                <a:buClr>
                  <a:srgbClr val="FFFF99"/>
                </a:buClr>
                <a:buSzPct val="120000"/>
                <a:defRPr/>
              </a:pPr>
              <a:r>
                <a:rPr lang="en-US" sz="3000" spc="-75" dirty="0">
                  <a:ln w="3175">
                    <a:noFill/>
                  </a:ln>
                  <a:solidFill>
                    <a:srgbClr val="FFFFFF"/>
                  </a:solidFill>
                  <a:cs typeface="Arial" charset="0"/>
                </a:rPr>
                <a:t>Be Brilliant</a:t>
              </a:r>
              <a:endParaRPr lang="en-US" altLang="zh-CN" sz="3000" spc="-75" dirty="0">
                <a:ln w="3175">
                  <a:noFill/>
                </a:ln>
                <a:solidFill>
                  <a:srgbClr val="FFFFFF"/>
                </a:solidFill>
                <a:cs typeface="Arial" charset="0"/>
              </a:endParaRPr>
            </a:p>
          </p:txBody>
        </p:sp>
        <p:sp>
          <p:nvSpPr>
            <p:cNvPr id="11" name="Rectangle 10"/>
            <p:cNvSpPr/>
            <p:nvPr/>
          </p:nvSpPr>
          <p:spPr bwMode="auto">
            <a:xfrm>
              <a:off x="4438067" y="4750793"/>
              <a:ext cx="2604989" cy="1426293"/>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0" rIns="121848" bIns="0" numCol="1" rtlCol="0" anchor="t" anchorCtr="0" compatLnSpc="1">
              <a:prstTxWarp prst="textNoShape">
                <a:avLst/>
              </a:prstTxWarp>
            </a:bodyPr>
            <a:lstStyle/>
            <a:p>
              <a:pPr defTabSz="685664" fontAlgn="base">
                <a:spcBef>
                  <a:spcPct val="0"/>
                </a:spcBef>
                <a:spcAft>
                  <a:spcPct val="0"/>
                </a:spcAft>
                <a:buClr>
                  <a:srgbClr val="FFFF99"/>
                </a:buClr>
                <a:buSzPct val="120000"/>
                <a:defRPr/>
              </a:pPr>
              <a:r>
                <a:rPr lang="en-US" spc="-75" dirty="0">
                  <a:ln w="3175">
                    <a:noFill/>
                  </a:ln>
                  <a:solidFill>
                    <a:srgbClr val="FFFFFF"/>
                  </a:solidFill>
                  <a:ea typeface="Segoe UI" pitchFamily="34" charset="0"/>
                  <a:cs typeface="Segoe UI" pitchFamily="34" charset="0"/>
                </a:rPr>
                <a:t>with asp.net, </a:t>
              </a:r>
              <a:r>
                <a:rPr lang="en-US" spc="-75" dirty="0" err="1">
                  <a:ln w="3175">
                    <a:noFill/>
                  </a:ln>
                  <a:solidFill>
                    <a:srgbClr val="FFFFFF"/>
                  </a:solidFill>
                  <a:ea typeface="Segoe UI" pitchFamily="34" charset="0"/>
                  <a:cs typeface="Segoe UI" pitchFamily="34" charset="0"/>
                </a:rPr>
                <a:t>php</a:t>
              </a:r>
              <a:r>
                <a:rPr lang="en-US" spc="-75" dirty="0">
                  <a:ln w="3175">
                    <a:noFill/>
                  </a:ln>
                  <a:solidFill>
                    <a:srgbClr val="FFFFFF"/>
                  </a:solidFill>
                  <a:ea typeface="Segoe UI" pitchFamily="34" charset="0"/>
                  <a:cs typeface="Segoe UI" pitchFamily="34" charset="0"/>
                </a:rPr>
                <a:t> or node.js, develop on Windows, OSX or Linux</a:t>
              </a:r>
              <a:endParaRPr lang="en-US" altLang="zh-CN" spc="-75" dirty="0">
                <a:ln w="3175">
                  <a:noFill/>
                </a:ln>
                <a:solidFill>
                  <a:srgbClr val="FFFFFF"/>
                </a:solidFill>
                <a:ea typeface="Segoe UI" pitchFamily="34" charset="0"/>
                <a:cs typeface="Segoe UI" pitchFamily="34" charset="0"/>
              </a:endParaRPr>
            </a:p>
          </p:txBody>
        </p:sp>
      </p:grpSp>
      <p:grpSp>
        <p:nvGrpSpPr>
          <p:cNvPr id="21" name="Group 20"/>
          <p:cNvGrpSpPr/>
          <p:nvPr/>
        </p:nvGrpSpPr>
        <p:grpSpPr>
          <a:xfrm>
            <a:off x="6065838" y="2976571"/>
            <a:ext cx="2456900" cy="1702027"/>
            <a:chOff x="8085678" y="3968751"/>
            <a:chExt cx="3275013" cy="2269369"/>
          </a:xfrm>
        </p:grpSpPr>
        <p:sp>
          <p:nvSpPr>
            <p:cNvPr id="14" name="Rectangle 13"/>
            <p:cNvSpPr/>
            <p:nvPr/>
          </p:nvSpPr>
          <p:spPr bwMode="auto">
            <a:xfrm>
              <a:off x="8085678" y="4017434"/>
              <a:ext cx="3275013" cy="222068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685466"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8085678" y="3968751"/>
              <a:ext cx="1832102" cy="881137"/>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0" rIns="121848" bIns="0" numCol="1" rtlCol="0" anchor="ctr" anchorCtr="0" compatLnSpc="1">
              <a:prstTxWarp prst="textNoShape">
                <a:avLst/>
              </a:prstTxWarp>
            </a:bodyPr>
            <a:lstStyle/>
            <a:p>
              <a:pPr defTabSz="685664" fontAlgn="base">
                <a:spcBef>
                  <a:spcPct val="0"/>
                </a:spcBef>
                <a:spcAft>
                  <a:spcPct val="0"/>
                </a:spcAft>
                <a:buClr>
                  <a:srgbClr val="FFFF99"/>
                </a:buClr>
                <a:buSzPct val="120000"/>
                <a:defRPr/>
              </a:pPr>
              <a:r>
                <a:rPr lang="en-US" sz="3000" spc="-75" dirty="0">
                  <a:ln w="3175">
                    <a:noFill/>
                  </a:ln>
                  <a:solidFill>
                    <a:srgbClr val="FFFFFF"/>
                  </a:solidFill>
                  <a:cs typeface="Arial" charset="0"/>
                </a:rPr>
                <a:t>Go Live</a:t>
              </a:r>
              <a:endParaRPr lang="en-US" altLang="zh-CN" sz="3000" spc="-75" dirty="0">
                <a:ln w="3175">
                  <a:noFill/>
                </a:ln>
                <a:solidFill>
                  <a:srgbClr val="FFFFFF"/>
                </a:solidFill>
                <a:cs typeface="Arial" charset="0"/>
              </a:endParaRPr>
            </a:p>
          </p:txBody>
        </p:sp>
        <p:sp>
          <p:nvSpPr>
            <p:cNvPr id="16" name="Rectangle 15"/>
            <p:cNvSpPr/>
            <p:nvPr/>
          </p:nvSpPr>
          <p:spPr bwMode="auto">
            <a:xfrm>
              <a:off x="8085678" y="4761678"/>
              <a:ext cx="2888018" cy="1426293"/>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0" rIns="121848" bIns="0" numCol="1" rtlCol="0" anchor="t" anchorCtr="0" compatLnSpc="1">
              <a:prstTxWarp prst="textNoShape">
                <a:avLst/>
              </a:prstTxWarp>
            </a:bodyPr>
            <a:lstStyle/>
            <a:p>
              <a:pPr defTabSz="685664" fontAlgn="base">
                <a:spcBef>
                  <a:spcPct val="0"/>
                </a:spcBef>
                <a:spcAft>
                  <a:spcPct val="0"/>
                </a:spcAft>
                <a:buClr>
                  <a:srgbClr val="FFFF99"/>
                </a:buClr>
                <a:buSzPct val="120000"/>
                <a:defRPr/>
              </a:pPr>
              <a:r>
                <a:rPr lang="en-US" spc="-75" dirty="0">
                  <a:ln w="3175">
                    <a:noFill/>
                  </a:ln>
                  <a:solidFill>
                    <a:srgbClr val="FFFFFF"/>
                  </a:solidFill>
                  <a:ea typeface="Segoe UI" pitchFamily="34" charset="0"/>
                  <a:cs typeface="Segoe UI" pitchFamily="34" charset="0"/>
                </a:rPr>
                <a:t>deploy live in seconds, </a:t>
              </a:r>
              <a:br>
                <a:rPr lang="en-US" spc="-75" dirty="0">
                  <a:ln w="3175">
                    <a:noFill/>
                  </a:ln>
                  <a:solidFill>
                    <a:srgbClr val="FFFFFF"/>
                  </a:solidFill>
                  <a:ea typeface="Segoe UI" pitchFamily="34" charset="0"/>
                  <a:cs typeface="Segoe UI" pitchFamily="34" charset="0"/>
                </a:rPr>
              </a:br>
              <a:r>
                <a:rPr lang="en-US" spc="-75" dirty="0">
                  <a:ln w="3175">
                    <a:noFill/>
                  </a:ln>
                  <a:solidFill>
                    <a:srgbClr val="FFFFFF"/>
                  </a:solidFill>
                  <a:ea typeface="Segoe UI" pitchFamily="34" charset="0"/>
                  <a:cs typeface="Segoe UI" pitchFamily="34" charset="0"/>
                </a:rPr>
                <a:t>easily monitor performance, rapidly diagnose and </a:t>
              </a:r>
              <a:br>
                <a:rPr lang="en-US" spc="-75" dirty="0">
                  <a:ln w="3175">
                    <a:noFill/>
                  </a:ln>
                  <a:solidFill>
                    <a:srgbClr val="FFFFFF"/>
                  </a:solidFill>
                  <a:ea typeface="Segoe UI" pitchFamily="34" charset="0"/>
                  <a:cs typeface="Segoe UI" pitchFamily="34" charset="0"/>
                </a:rPr>
              </a:br>
              <a:r>
                <a:rPr lang="en-US" spc="-75" dirty="0">
                  <a:ln w="3175">
                    <a:noFill/>
                  </a:ln>
                  <a:solidFill>
                    <a:srgbClr val="FFFFFF"/>
                  </a:solidFill>
                  <a:ea typeface="Segoe UI" pitchFamily="34" charset="0"/>
                  <a:cs typeface="Segoe UI" pitchFamily="34" charset="0"/>
                </a:rPr>
                <a:t>fix issues</a:t>
              </a:r>
              <a:endParaRPr lang="en-US" altLang="zh-CN" spc="-75" dirty="0">
                <a:ln w="3175">
                  <a:noFill/>
                </a:ln>
                <a:solidFill>
                  <a:srgbClr val="FFFFFF"/>
                </a:solidFill>
                <a:ea typeface="Segoe UI" pitchFamily="34" charset="0"/>
                <a:cs typeface="Segoe UI" pitchFamily="34" charset="0"/>
              </a:endParaRPr>
            </a:p>
          </p:txBody>
        </p:sp>
      </p:grpSp>
      <p:sp>
        <p:nvSpPr>
          <p:cNvPr id="18"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2"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4"/>
              </a:rPr>
              <a:t>www.rapidbbs.cn</a:t>
            </a:r>
            <a:endParaRPr lang="zh-CN" altLang="en-US" sz="1200" b="0">
              <a:latin typeface="Arial" charset="0"/>
              <a:ea typeface="ＭＳ Ｐゴシック" pitchFamily="34" charset="-128"/>
            </a:endParaRPr>
          </a:p>
        </p:txBody>
      </p:sp>
      <p:pic>
        <p:nvPicPr>
          <p:cNvPr id="23" name="Picture 2">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317765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500"/>
                                        <p:tgtEl>
                                          <p:spTgt spid="19"/>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500"/>
                                        <p:tgtEl>
                                          <p:spTgt spid="20"/>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21"/>
                                        </p:tgtEl>
                                        <p:attrNameLst>
                                          <p:attrName>style.visibility</p:attrName>
                                        </p:attrNameLst>
                                      </p:cBhvr>
                                      <p:to>
                                        <p:strVal val="visible"/>
                                      </p:to>
                                    </p:set>
                                    <p:animEffect transition="in" filter="fade">
                                      <p:cBhvr>
                                        <p:cTn id="23"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6"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6427" y="171451"/>
            <a:ext cx="8130577" cy="567848"/>
          </a:xfrm>
        </p:spPr>
        <p:txBody>
          <a:bodyPr/>
          <a:lstStyle/>
          <a:p>
            <a:r>
              <a:rPr lang="en-US" dirty="0" smtClean="0"/>
              <a:t>Windows Azure Web Sites</a:t>
            </a:r>
            <a:endParaRPr lang="en-US" dirty="0"/>
          </a:p>
        </p:txBody>
      </p:sp>
      <p:sp>
        <p:nvSpPr>
          <p:cNvPr id="24" name="Rectangle 23"/>
          <p:cNvSpPr/>
          <p:nvPr/>
        </p:nvSpPr>
        <p:spPr bwMode="auto">
          <a:xfrm>
            <a:off x="6230784" y="3180190"/>
            <a:ext cx="2253688" cy="23713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t" anchorCtr="0" compatLnSpc="1">
            <a:prstTxWarp prst="textNoShape">
              <a:avLst/>
            </a:prstTxWarp>
          </a:bodyPr>
          <a:lstStyle/>
          <a:p>
            <a:pPr marL="128563" indent="-128563" defTabSz="685664">
              <a:spcBef>
                <a:spcPct val="20000"/>
              </a:spcBef>
              <a:spcAft>
                <a:spcPts val="600"/>
              </a:spcAft>
              <a:buSzPct val="80000"/>
              <a:buFont typeface="Arial" pitchFamily="34" charset="0"/>
              <a:buChar char="•"/>
              <a:defRPr/>
            </a:pPr>
            <a:endParaRPr lang="en-US" sz="900" dirty="0">
              <a:solidFill>
                <a:srgbClr val="80BEE4">
                  <a:alpha val="99000"/>
                </a:srgbClr>
              </a:solidFill>
            </a:endParaRPr>
          </a:p>
        </p:txBody>
      </p:sp>
      <p:sp>
        <p:nvSpPr>
          <p:cNvPr id="11" name="Rectangle 10"/>
          <p:cNvSpPr/>
          <p:nvPr/>
        </p:nvSpPr>
        <p:spPr bwMode="auto">
          <a:xfrm>
            <a:off x="740480" y="918451"/>
            <a:ext cx="2105216" cy="374335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ctr" anchorCtr="0" compatLnSpc="1">
            <a:prstTxWarp prst="textNoShape">
              <a:avLst/>
            </a:prstTxWarp>
          </a:bodyPr>
          <a:lstStyle/>
          <a:p>
            <a:pPr algn="ctr" defTabSz="6854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7" name="Rectangle 16"/>
          <p:cNvSpPr/>
          <p:nvPr/>
        </p:nvSpPr>
        <p:spPr>
          <a:xfrm>
            <a:off x="748646" y="2264509"/>
            <a:ext cx="2097050" cy="343940"/>
          </a:xfrm>
          <a:prstGeom prst="rect">
            <a:avLst/>
          </a:prstGeom>
        </p:spPr>
        <p:txBody>
          <a:bodyPr wrap="square" lIns="68568" tIns="34285" rIns="68568" bIns="34285" anchor="b" anchorCtr="0">
            <a:spAutoFit/>
          </a:bodyPr>
          <a:lstStyle/>
          <a:p>
            <a:pPr algn="ctr" defTabSz="685663">
              <a:lnSpc>
                <a:spcPct val="85000"/>
              </a:lnSpc>
              <a:defRPr/>
            </a:pPr>
            <a:r>
              <a:rPr lang="en-US" sz="2100" kern="0" spc="-53" dirty="0">
                <a:solidFill>
                  <a:srgbClr val="FFFFFF">
                    <a:alpha val="99000"/>
                  </a:srgbClr>
                </a:solidFill>
                <a:ea typeface="Segoe UI" pitchFamily="34" charset="0"/>
                <a:cs typeface="Segoe UI" pitchFamily="34" charset="0"/>
              </a:rPr>
              <a:t>Start Simple</a:t>
            </a:r>
          </a:p>
        </p:txBody>
      </p:sp>
      <p:sp>
        <p:nvSpPr>
          <p:cNvPr id="22" name="Freeform 45"/>
          <p:cNvSpPr>
            <a:spLocks noEditPoints="1"/>
          </p:cNvSpPr>
          <p:nvPr/>
        </p:nvSpPr>
        <p:spPr bwMode="black">
          <a:xfrm>
            <a:off x="1376396" y="1256394"/>
            <a:ext cx="770908" cy="831430"/>
          </a:xfrm>
          <a:custGeom>
            <a:avLst/>
            <a:gdLst>
              <a:gd name="T0" fmla="*/ 135 w 140"/>
              <a:gd name="T1" fmla="*/ 85 h 151"/>
              <a:gd name="T2" fmla="*/ 140 w 140"/>
              <a:gd name="T3" fmla="*/ 96 h 151"/>
              <a:gd name="T4" fmla="*/ 134 w 140"/>
              <a:gd name="T5" fmla="*/ 106 h 151"/>
              <a:gd name="T6" fmla="*/ 137 w 140"/>
              <a:gd name="T7" fmla="*/ 117 h 151"/>
              <a:gd name="T8" fmla="*/ 129 w 140"/>
              <a:gd name="T9" fmla="*/ 128 h 151"/>
              <a:gd name="T10" fmla="*/ 128 w 140"/>
              <a:gd name="T11" fmla="*/ 137 h 151"/>
              <a:gd name="T12" fmla="*/ 116 w 140"/>
              <a:gd name="T13" fmla="*/ 148 h 151"/>
              <a:gd name="T14" fmla="*/ 65 w 140"/>
              <a:gd name="T15" fmla="*/ 148 h 151"/>
              <a:gd name="T16" fmla="*/ 33 w 140"/>
              <a:gd name="T17" fmla="*/ 142 h 151"/>
              <a:gd name="T18" fmla="*/ 33 w 140"/>
              <a:gd name="T19" fmla="*/ 82 h 151"/>
              <a:gd name="T20" fmla="*/ 34 w 140"/>
              <a:gd name="T21" fmla="*/ 82 h 151"/>
              <a:gd name="T22" fmla="*/ 34 w 140"/>
              <a:gd name="T23" fmla="*/ 82 h 151"/>
              <a:gd name="T24" fmla="*/ 37 w 140"/>
              <a:gd name="T25" fmla="*/ 82 h 151"/>
              <a:gd name="T26" fmla="*/ 60 w 140"/>
              <a:gd name="T27" fmla="*/ 48 h 151"/>
              <a:gd name="T28" fmla="*/ 68 w 140"/>
              <a:gd name="T29" fmla="*/ 39 h 151"/>
              <a:gd name="T30" fmla="*/ 81 w 140"/>
              <a:gd name="T31" fmla="*/ 3 h 151"/>
              <a:gd name="T32" fmla="*/ 97 w 140"/>
              <a:gd name="T33" fmla="*/ 8 h 151"/>
              <a:gd name="T34" fmla="*/ 99 w 140"/>
              <a:gd name="T35" fmla="*/ 35 h 151"/>
              <a:gd name="T36" fmla="*/ 90 w 140"/>
              <a:gd name="T37" fmla="*/ 60 h 151"/>
              <a:gd name="T38" fmla="*/ 130 w 140"/>
              <a:gd name="T39" fmla="*/ 62 h 151"/>
              <a:gd name="T40" fmla="*/ 140 w 140"/>
              <a:gd name="T41" fmla="*/ 77 h 151"/>
              <a:gd name="T42" fmla="*/ 135 w 140"/>
              <a:gd name="T43" fmla="*/ 85 h 151"/>
              <a:gd name="T44" fmla="*/ 30 w 140"/>
              <a:gd name="T45" fmla="*/ 137 h 151"/>
              <a:gd name="T46" fmla="*/ 30 w 140"/>
              <a:gd name="T47" fmla="*/ 137 h 151"/>
              <a:gd name="T48" fmla="*/ 30 w 140"/>
              <a:gd name="T49" fmla="*/ 82 h 151"/>
              <a:gd name="T50" fmla="*/ 23 w 140"/>
              <a:gd name="T51" fmla="*/ 76 h 151"/>
              <a:gd name="T52" fmla="*/ 7 w 140"/>
              <a:gd name="T53" fmla="*/ 76 h 151"/>
              <a:gd name="T54" fmla="*/ 0 w 140"/>
              <a:gd name="T55" fmla="*/ 82 h 151"/>
              <a:gd name="T56" fmla="*/ 0 w 140"/>
              <a:gd name="T57" fmla="*/ 137 h 151"/>
              <a:gd name="T58" fmla="*/ 7 w 140"/>
              <a:gd name="T59" fmla="*/ 144 h 151"/>
              <a:gd name="T60" fmla="*/ 23 w 140"/>
              <a:gd name="T61" fmla="*/ 144 h 151"/>
              <a:gd name="T62" fmla="*/ 30 w 140"/>
              <a:gd name="T63" fmla="*/ 137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0" h="151">
                <a:moveTo>
                  <a:pt x="135" y="85"/>
                </a:moveTo>
                <a:cubicBezTo>
                  <a:pt x="135" y="88"/>
                  <a:pt x="140" y="93"/>
                  <a:pt x="140" y="96"/>
                </a:cubicBezTo>
                <a:cubicBezTo>
                  <a:pt x="140" y="99"/>
                  <a:pt x="134" y="103"/>
                  <a:pt x="134" y="106"/>
                </a:cubicBezTo>
                <a:cubicBezTo>
                  <a:pt x="133" y="109"/>
                  <a:pt x="137" y="114"/>
                  <a:pt x="137" y="117"/>
                </a:cubicBezTo>
                <a:cubicBezTo>
                  <a:pt x="137" y="121"/>
                  <a:pt x="130" y="125"/>
                  <a:pt x="129" y="128"/>
                </a:cubicBezTo>
                <a:cubicBezTo>
                  <a:pt x="128" y="130"/>
                  <a:pt x="129" y="135"/>
                  <a:pt x="128" y="137"/>
                </a:cubicBezTo>
                <a:cubicBezTo>
                  <a:pt x="127" y="141"/>
                  <a:pt x="120" y="147"/>
                  <a:pt x="116" y="148"/>
                </a:cubicBezTo>
                <a:cubicBezTo>
                  <a:pt x="104" y="151"/>
                  <a:pt x="65" y="148"/>
                  <a:pt x="65" y="148"/>
                </a:cubicBezTo>
                <a:cubicBezTo>
                  <a:pt x="65" y="148"/>
                  <a:pt x="65" y="148"/>
                  <a:pt x="33" y="142"/>
                </a:cubicBezTo>
                <a:cubicBezTo>
                  <a:pt x="33" y="142"/>
                  <a:pt x="33" y="142"/>
                  <a:pt x="33" y="82"/>
                </a:cubicBezTo>
                <a:cubicBezTo>
                  <a:pt x="33" y="82"/>
                  <a:pt x="33" y="82"/>
                  <a:pt x="34" y="82"/>
                </a:cubicBezTo>
                <a:cubicBezTo>
                  <a:pt x="34" y="82"/>
                  <a:pt x="34" y="82"/>
                  <a:pt x="34" y="82"/>
                </a:cubicBezTo>
                <a:cubicBezTo>
                  <a:pt x="34" y="82"/>
                  <a:pt x="34" y="82"/>
                  <a:pt x="37" y="82"/>
                </a:cubicBezTo>
                <a:cubicBezTo>
                  <a:pt x="41" y="81"/>
                  <a:pt x="49" y="75"/>
                  <a:pt x="60" y="48"/>
                </a:cubicBezTo>
                <a:cubicBezTo>
                  <a:pt x="61" y="44"/>
                  <a:pt x="65" y="42"/>
                  <a:pt x="68" y="39"/>
                </a:cubicBezTo>
                <a:cubicBezTo>
                  <a:pt x="75" y="34"/>
                  <a:pt x="79" y="27"/>
                  <a:pt x="81" y="3"/>
                </a:cubicBezTo>
                <a:cubicBezTo>
                  <a:pt x="81" y="0"/>
                  <a:pt x="91" y="1"/>
                  <a:pt x="97" y="8"/>
                </a:cubicBezTo>
                <a:cubicBezTo>
                  <a:pt x="102" y="14"/>
                  <a:pt x="102" y="26"/>
                  <a:pt x="99" y="35"/>
                </a:cubicBezTo>
                <a:cubicBezTo>
                  <a:pt x="96" y="41"/>
                  <a:pt x="87" y="55"/>
                  <a:pt x="90" y="60"/>
                </a:cubicBezTo>
                <a:cubicBezTo>
                  <a:pt x="90" y="60"/>
                  <a:pt x="124" y="59"/>
                  <a:pt x="130" y="62"/>
                </a:cubicBezTo>
                <a:cubicBezTo>
                  <a:pt x="134" y="63"/>
                  <a:pt x="140" y="72"/>
                  <a:pt x="140" y="77"/>
                </a:cubicBezTo>
                <a:cubicBezTo>
                  <a:pt x="140" y="79"/>
                  <a:pt x="136" y="83"/>
                  <a:pt x="135" y="85"/>
                </a:cubicBezTo>
                <a:close/>
                <a:moveTo>
                  <a:pt x="30" y="137"/>
                </a:moveTo>
                <a:cubicBezTo>
                  <a:pt x="30" y="137"/>
                  <a:pt x="30" y="137"/>
                  <a:pt x="30" y="137"/>
                </a:cubicBezTo>
                <a:cubicBezTo>
                  <a:pt x="30" y="137"/>
                  <a:pt x="30" y="137"/>
                  <a:pt x="30" y="82"/>
                </a:cubicBezTo>
                <a:cubicBezTo>
                  <a:pt x="30" y="79"/>
                  <a:pt x="27" y="76"/>
                  <a:pt x="23" y="76"/>
                </a:cubicBezTo>
                <a:cubicBezTo>
                  <a:pt x="23" y="76"/>
                  <a:pt x="23" y="76"/>
                  <a:pt x="7" y="76"/>
                </a:cubicBezTo>
                <a:cubicBezTo>
                  <a:pt x="3" y="76"/>
                  <a:pt x="0" y="79"/>
                  <a:pt x="0" y="82"/>
                </a:cubicBezTo>
                <a:cubicBezTo>
                  <a:pt x="0" y="82"/>
                  <a:pt x="0" y="82"/>
                  <a:pt x="0" y="137"/>
                </a:cubicBezTo>
                <a:cubicBezTo>
                  <a:pt x="0" y="141"/>
                  <a:pt x="3" y="144"/>
                  <a:pt x="7" y="144"/>
                </a:cubicBezTo>
                <a:cubicBezTo>
                  <a:pt x="7" y="144"/>
                  <a:pt x="7" y="144"/>
                  <a:pt x="23" y="144"/>
                </a:cubicBezTo>
                <a:cubicBezTo>
                  <a:pt x="27" y="144"/>
                  <a:pt x="30" y="141"/>
                  <a:pt x="30" y="1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8" tIns="34285" rIns="68568" bIns="34285" numCol="1" anchor="t" anchorCtr="0" compatLnSpc="1">
            <a:prstTxWarp prst="textNoShape">
              <a:avLst/>
            </a:prstTxWarp>
          </a:bodyPr>
          <a:lstStyle/>
          <a:p>
            <a:pPr defTabSz="685664"/>
            <a:endParaRPr lang="en-US">
              <a:solidFill>
                <a:srgbClr val="FFFFFF"/>
              </a:solidFill>
            </a:endParaRPr>
          </a:p>
        </p:txBody>
      </p:sp>
      <p:sp>
        <p:nvSpPr>
          <p:cNvPr id="43" name="Rectangle 42"/>
          <p:cNvSpPr/>
          <p:nvPr/>
        </p:nvSpPr>
        <p:spPr bwMode="auto">
          <a:xfrm>
            <a:off x="740480" y="2644155"/>
            <a:ext cx="2105216" cy="15849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1432" tIns="25716" rIns="51432" bIns="25716" numCol="1" rtlCol="0" anchor="t" anchorCtr="0" compatLnSpc="1">
            <a:prstTxWarp prst="textNoShape">
              <a:avLst/>
            </a:prstTxWarp>
          </a:bodyPr>
          <a:lstStyle/>
          <a:p>
            <a:pPr marL="96439" indent="-96439" defTabSz="685664">
              <a:spcAft>
                <a:spcPts val="450"/>
              </a:spcAft>
              <a:buFont typeface="Arial" pitchFamily="34" charset="0"/>
              <a:buChar char="•"/>
              <a:defRPr/>
            </a:pPr>
            <a:r>
              <a:rPr lang="en-US" sz="900" dirty="0">
                <a:solidFill>
                  <a:srgbClr val="FFFFFF">
                    <a:alpha val="99000"/>
                  </a:srgbClr>
                </a:solidFill>
              </a:rPr>
              <a:t>Create new sites in just a few clicks</a:t>
            </a:r>
          </a:p>
          <a:p>
            <a:pPr marL="96439" indent="-96439" defTabSz="685664">
              <a:spcAft>
                <a:spcPts val="450"/>
              </a:spcAft>
              <a:buFont typeface="Arial" pitchFamily="34" charset="0"/>
              <a:buChar char="•"/>
              <a:defRPr/>
            </a:pPr>
            <a:r>
              <a:rPr lang="en-US" sz="900" dirty="0">
                <a:solidFill>
                  <a:srgbClr val="FFFFFF">
                    <a:alpha val="99000"/>
                  </a:srgbClr>
                </a:solidFill>
              </a:rPr>
              <a:t>Get started with 10 free web sites</a:t>
            </a:r>
          </a:p>
          <a:p>
            <a:pPr marL="96439" indent="-96439" defTabSz="685664">
              <a:spcAft>
                <a:spcPts val="450"/>
              </a:spcAft>
              <a:buFont typeface="Arial" pitchFamily="34" charset="0"/>
              <a:buChar char="•"/>
              <a:defRPr/>
            </a:pPr>
            <a:r>
              <a:rPr lang="en-US" sz="900" dirty="0">
                <a:solidFill>
                  <a:srgbClr val="FFFFFF">
                    <a:alpha val="99000"/>
                  </a:srgbClr>
                </a:solidFill>
              </a:rPr>
              <a:t>Easy to manage and scale your sites</a:t>
            </a:r>
          </a:p>
          <a:p>
            <a:pPr marL="96439" indent="-96439" defTabSz="685664">
              <a:spcAft>
                <a:spcPts val="450"/>
              </a:spcAft>
              <a:buFont typeface="Arial" pitchFamily="34" charset="0"/>
              <a:buChar char="•"/>
              <a:defRPr/>
            </a:pPr>
            <a:r>
              <a:rPr lang="en-US" sz="900" dirty="0">
                <a:solidFill>
                  <a:srgbClr val="FFFFFF">
                    <a:alpha val="99000"/>
                  </a:srgbClr>
                </a:solidFill>
              </a:rPr>
              <a:t>Automatic load balancing and shared storage across instances</a:t>
            </a:r>
          </a:p>
          <a:p>
            <a:pPr marL="96439" indent="-96439" defTabSz="685664">
              <a:spcBef>
                <a:spcPct val="20000"/>
              </a:spcBef>
              <a:spcAft>
                <a:spcPts val="450"/>
              </a:spcAft>
              <a:buSzPct val="80000"/>
              <a:buFont typeface="Arial" pitchFamily="34" charset="0"/>
              <a:buChar char="•"/>
              <a:defRPr/>
            </a:pPr>
            <a:r>
              <a:rPr lang="en-US" sz="900" dirty="0">
                <a:solidFill>
                  <a:srgbClr val="FFFFFF">
                    <a:alpha val="99000"/>
                  </a:srgbClr>
                </a:solidFill>
              </a:rPr>
              <a:t>Scale out or up to reserved instances </a:t>
            </a:r>
            <a:br>
              <a:rPr lang="en-US" sz="900" dirty="0">
                <a:solidFill>
                  <a:srgbClr val="FFFFFF">
                    <a:alpha val="99000"/>
                  </a:srgbClr>
                </a:solidFill>
              </a:rPr>
            </a:br>
            <a:r>
              <a:rPr lang="en-US" sz="900" dirty="0">
                <a:solidFill>
                  <a:srgbClr val="FFFFFF">
                    <a:alpha val="99000"/>
                  </a:srgbClr>
                </a:solidFill>
              </a:rPr>
              <a:t>for improved performance and scale</a:t>
            </a:r>
          </a:p>
          <a:p>
            <a:pPr marL="96439" indent="-96439" defTabSz="685664">
              <a:spcAft>
                <a:spcPts val="450"/>
              </a:spcAft>
              <a:buFont typeface="Arial" pitchFamily="34" charset="0"/>
              <a:buChar char="•"/>
              <a:defRPr/>
            </a:pPr>
            <a:endParaRPr lang="en-US" sz="1100" dirty="0">
              <a:solidFill>
                <a:srgbClr val="80BEE4">
                  <a:alpha val="99000"/>
                </a:srgbClr>
              </a:solidFill>
            </a:endParaRPr>
          </a:p>
          <a:p>
            <a:pPr marL="80368" indent="-160728" defTabSz="685664">
              <a:spcAft>
                <a:spcPts val="450"/>
              </a:spcAft>
              <a:buFont typeface="Arial" pitchFamily="34" charset="0"/>
              <a:buChar char="•"/>
              <a:defRPr/>
            </a:pPr>
            <a:endParaRPr lang="en-US" sz="1100" dirty="0">
              <a:solidFill>
                <a:srgbClr val="80BEE4">
                  <a:alpha val="99000"/>
                </a:srgbClr>
              </a:solidFill>
            </a:endParaRPr>
          </a:p>
        </p:txBody>
      </p:sp>
      <p:sp>
        <p:nvSpPr>
          <p:cNvPr id="13" name="Rectangle 12"/>
          <p:cNvSpPr/>
          <p:nvPr/>
        </p:nvSpPr>
        <p:spPr bwMode="auto">
          <a:xfrm>
            <a:off x="6230785" y="918452"/>
            <a:ext cx="2102992" cy="374335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ctr" anchorCtr="0" compatLnSpc="1">
            <a:prstTxWarp prst="textNoShape">
              <a:avLst/>
            </a:prstTxWarp>
          </a:bodyPr>
          <a:lstStyle/>
          <a:p>
            <a:pPr algn="ctr" defTabSz="6854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9" name="Rectangle 18"/>
          <p:cNvSpPr/>
          <p:nvPr/>
        </p:nvSpPr>
        <p:spPr>
          <a:xfrm>
            <a:off x="6243173" y="2264509"/>
            <a:ext cx="2090602" cy="343940"/>
          </a:xfrm>
          <a:prstGeom prst="rect">
            <a:avLst/>
          </a:prstGeom>
        </p:spPr>
        <p:txBody>
          <a:bodyPr wrap="square" lIns="68568" tIns="34285" rIns="68568" bIns="34285" anchor="b" anchorCtr="0">
            <a:spAutoFit/>
          </a:bodyPr>
          <a:lstStyle/>
          <a:p>
            <a:pPr algn="ctr" defTabSz="685663">
              <a:lnSpc>
                <a:spcPct val="85000"/>
              </a:lnSpc>
              <a:defRPr/>
            </a:pPr>
            <a:r>
              <a:rPr lang="en-US" sz="2100" kern="0" spc="-53" dirty="0">
                <a:solidFill>
                  <a:srgbClr val="FFFFFF">
                    <a:alpha val="99000"/>
                  </a:srgbClr>
                </a:solidFill>
                <a:ea typeface="Segoe UI" pitchFamily="34" charset="0"/>
                <a:cs typeface="Segoe UI" pitchFamily="34" charset="0"/>
              </a:rPr>
              <a:t>Go Live</a:t>
            </a:r>
          </a:p>
        </p:txBody>
      </p:sp>
      <p:sp>
        <p:nvSpPr>
          <p:cNvPr id="20" name="Freeform 35"/>
          <p:cNvSpPr>
            <a:spLocks/>
          </p:cNvSpPr>
          <p:nvPr/>
        </p:nvSpPr>
        <p:spPr bwMode="black">
          <a:xfrm>
            <a:off x="6779931" y="1115141"/>
            <a:ext cx="1049767" cy="1079395"/>
          </a:xfrm>
          <a:custGeom>
            <a:avLst/>
            <a:gdLst>
              <a:gd name="T0" fmla="*/ 120 w 191"/>
              <a:gd name="T1" fmla="*/ 32 h 197"/>
              <a:gd name="T2" fmla="*/ 83 w 191"/>
              <a:gd name="T3" fmla="*/ 3 h 197"/>
              <a:gd name="T4" fmla="*/ 47 w 191"/>
              <a:gd name="T5" fmla="*/ 5 h 197"/>
              <a:gd name="T6" fmla="*/ 44 w 191"/>
              <a:gd name="T7" fmla="*/ 27 h 197"/>
              <a:gd name="T8" fmla="*/ 40 w 191"/>
              <a:gd name="T9" fmla="*/ 29 h 197"/>
              <a:gd name="T10" fmla="*/ 40 w 191"/>
              <a:gd name="T11" fmla="*/ 33 h 197"/>
              <a:gd name="T12" fmla="*/ 45 w 191"/>
              <a:gd name="T13" fmla="*/ 40 h 197"/>
              <a:gd name="T14" fmla="*/ 88 w 191"/>
              <a:gd name="T15" fmla="*/ 44 h 197"/>
              <a:gd name="T16" fmla="*/ 118 w 191"/>
              <a:gd name="T17" fmla="*/ 113 h 197"/>
              <a:gd name="T18" fmla="*/ 144 w 191"/>
              <a:gd name="T19" fmla="*/ 129 h 197"/>
              <a:gd name="T20" fmla="*/ 112 w 191"/>
              <a:gd name="T21" fmla="*/ 109 h 197"/>
              <a:gd name="T22" fmla="*/ 65 w 191"/>
              <a:gd name="T23" fmla="*/ 115 h 197"/>
              <a:gd name="T24" fmla="*/ 0 w 191"/>
              <a:gd name="T25" fmla="*/ 116 h 197"/>
              <a:gd name="T26" fmla="*/ 26 w 191"/>
              <a:gd name="T27" fmla="*/ 174 h 197"/>
              <a:gd name="T28" fmla="*/ 61 w 191"/>
              <a:gd name="T29" fmla="*/ 136 h 197"/>
              <a:gd name="T30" fmla="*/ 57 w 191"/>
              <a:gd name="T31" fmla="*/ 148 h 197"/>
              <a:gd name="T32" fmla="*/ 126 w 191"/>
              <a:gd name="T33" fmla="*/ 140 h 197"/>
              <a:gd name="T34" fmla="*/ 55 w 191"/>
              <a:gd name="T35" fmla="*/ 153 h 197"/>
              <a:gd name="T36" fmla="*/ 30 w 191"/>
              <a:gd name="T37" fmla="*/ 180 h 197"/>
              <a:gd name="T38" fmla="*/ 32 w 191"/>
              <a:gd name="T39" fmla="*/ 182 h 197"/>
              <a:gd name="T40" fmla="*/ 180 w 191"/>
              <a:gd name="T41" fmla="*/ 159 h 197"/>
              <a:gd name="T42" fmla="*/ 185 w 191"/>
              <a:gd name="T43" fmla="*/ 129 h 197"/>
              <a:gd name="T44" fmla="*/ 120 w 191"/>
              <a:gd name="T45" fmla="*/ 32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1" h="197">
                <a:moveTo>
                  <a:pt x="120" y="32"/>
                </a:moveTo>
                <a:cubicBezTo>
                  <a:pt x="112" y="23"/>
                  <a:pt x="99" y="9"/>
                  <a:pt x="83" y="3"/>
                </a:cubicBezTo>
                <a:cubicBezTo>
                  <a:pt x="72" y="0"/>
                  <a:pt x="47" y="5"/>
                  <a:pt x="47" y="5"/>
                </a:cubicBezTo>
                <a:cubicBezTo>
                  <a:pt x="44" y="27"/>
                  <a:pt x="44" y="27"/>
                  <a:pt x="44" y="27"/>
                </a:cubicBezTo>
                <a:cubicBezTo>
                  <a:pt x="40" y="29"/>
                  <a:pt x="40" y="29"/>
                  <a:pt x="40" y="29"/>
                </a:cubicBezTo>
                <a:cubicBezTo>
                  <a:pt x="40" y="33"/>
                  <a:pt x="40" y="33"/>
                  <a:pt x="40" y="33"/>
                </a:cubicBezTo>
                <a:cubicBezTo>
                  <a:pt x="40" y="33"/>
                  <a:pt x="40" y="37"/>
                  <a:pt x="45" y="40"/>
                </a:cubicBezTo>
                <a:cubicBezTo>
                  <a:pt x="50" y="42"/>
                  <a:pt x="73" y="53"/>
                  <a:pt x="88" y="44"/>
                </a:cubicBezTo>
                <a:cubicBezTo>
                  <a:pt x="118" y="60"/>
                  <a:pt x="105" y="91"/>
                  <a:pt x="118" y="113"/>
                </a:cubicBezTo>
                <a:cubicBezTo>
                  <a:pt x="123" y="120"/>
                  <a:pt x="131" y="127"/>
                  <a:pt x="144" y="129"/>
                </a:cubicBezTo>
                <a:cubicBezTo>
                  <a:pt x="144" y="129"/>
                  <a:pt x="115" y="131"/>
                  <a:pt x="112" y="109"/>
                </a:cubicBezTo>
                <a:cubicBezTo>
                  <a:pt x="101" y="104"/>
                  <a:pt x="82" y="99"/>
                  <a:pt x="65" y="115"/>
                </a:cubicBezTo>
                <a:cubicBezTo>
                  <a:pt x="51" y="100"/>
                  <a:pt x="14" y="100"/>
                  <a:pt x="0" y="116"/>
                </a:cubicBezTo>
                <a:cubicBezTo>
                  <a:pt x="6" y="141"/>
                  <a:pt x="18" y="163"/>
                  <a:pt x="26" y="174"/>
                </a:cubicBezTo>
                <a:cubicBezTo>
                  <a:pt x="52" y="156"/>
                  <a:pt x="61" y="136"/>
                  <a:pt x="61" y="136"/>
                </a:cubicBezTo>
                <a:cubicBezTo>
                  <a:pt x="60" y="140"/>
                  <a:pt x="59" y="144"/>
                  <a:pt x="57" y="148"/>
                </a:cubicBezTo>
                <a:cubicBezTo>
                  <a:pt x="103" y="167"/>
                  <a:pt x="126" y="140"/>
                  <a:pt x="126" y="140"/>
                </a:cubicBezTo>
                <a:cubicBezTo>
                  <a:pt x="107" y="171"/>
                  <a:pt x="63" y="157"/>
                  <a:pt x="55" y="153"/>
                </a:cubicBezTo>
                <a:cubicBezTo>
                  <a:pt x="48" y="166"/>
                  <a:pt x="38" y="175"/>
                  <a:pt x="30" y="180"/>
                </a:cubicBezTo>
                <a:cubicBezTo>
                  <a:pt x="32" y="181"/>
                  <a:pt x="32" y="182"/>
                  <a:pt x="32" y="182"/>
                </a:cubicBezTo>
                <a:cubicBezTo>
                  <a:pt x="88" y="197"/>
                  <a:pt x="154" y="177"/>
                  <a:pt x="180" y="159"/>
                </a:cubicBezTo>
                <a:cubicBezTo>
                  <a:pt x="191" y="151"/>
                  <a:pt x="188" y="138"/>
                  <a:pt x="185" y="129"/>
                </a:cubicBezTo>
                <a:cubicBezTo>
                  <a:pt x="172" y="91"/>
                  <a:pt x="134" y="49"/>
                  <a:pt x="120" y="32"/>
                </a:cubicBezTo>
                <a:close/>
              </a:path>
            </a:pathLst>
          </a:custGeom>
          <a:solidFill>
            <a:srgbClr val="FFFFFF"/>
          </a:solidFill>
          <a:ln>
            <a:noFill/>
          </a:ln>
        </p:spPr>
        <p:txBody>
          <a:bodyPr vert="horz" wrap="square" lIns="61717" tIns="30858" rIns="61717" bIns="30858" numCol="1" anchor="t" anchorCtr="0" compatLnSpc="1">
            <a:prstTxWarp prst="textNoShape">
              <a:avLst/>
            </a:prstTxWarp>
          </a:bodyPr>
          <a:lstStyle/>
          <a:p>
            <a:pPr defTabSz="685664"/>
            <a:endParaRPr lang="en-US" sz="1200">
              <a:solidFill>
                <a:srgbClr val="FFFFFF"/>
              </a:solidFill>
            </a:endParaRPr>
          </a:p>
        </p:txBody>
      </p:sp>
      <p:sp>
        <p:nvSpPr>
          <p:cNvPr id="45" name="Rectangle 44"/>
          <p:cNvSpPr/>
          <p:nvPr/>
        </p:nvSpPr>
        <p:spPr bwMode="auto">
          <a:xfrm>
            <a:off x="6230785" y="2646459"/>
            <a:ext cx="2102992" cy="177853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1432" tIns="25716" rIns="51432" bIns="25716" numCol="1" rtlCol="0" anchor="t" anchorCtr="0" compatLnSpc="1">
            <a:prstTxWarp prst="textNoShape">
              <a:avLst/>
            </a:prstTxWarp>
          </a:bodyPr>
          <a:lstStyle/>
          <a:p>
            <a:pPr marL="96439" indent="-96439" defTabSz="685664">
              <a:spcBef>
                <a:spcPct val="20000"/>
              </a:spcBef>
              <a:spcAft>
                <a:spcPts val="450"/>
              </a:spcAft>
              <a:buSzPct val="80000"/>
              <a:buFont typeface="Arial" pitchFamily="34" charset="0"/>
              <a:buChar char="•"/>
              <a:defRPr/>
            </a:pPr>
            <a:r>
              <a:rPr lang="en-US" sz="900" dirty="0">
                <a:solidFill>
                  <a:srgbClr val="FFFFFF"/>
                </a:solidFill>
              </a:rPr>
              <a:t>Rapid deployment for quick iteration</a:t>
            </a:r>
          </a:p>
          <a:p>
            <a:pPr marL="96439" indent="-96439" defTabSz="685664">
              <a:spcBef>
                <a:spcPct val="20000"/>
              </a:spcBef>
              <a:spcAft>
                <a:spcPts val="450"/>
              </a:spcAft>
              <a:buSzPct val="80000"/>
              <a:buFont typeface="Arial" pitchFamily="34" charset="0"/>
              <a:buChar char="•"/>
              <a:defRPr/>
            </a:pPr>
            <a:r>
              <a:rPr lang="en-US" sz="900" dirty="0">
                <a:solidFill>
                  <a:srgbClr val="FFFFFF"/>
                </a:solidFill>
              </a:rPr>
              <a:t>Integrated source control with Team Foundation Server (TFS) and </a:t>
            </a:r>
            <a:r>
              <a:rPr lang="en-US" sz="900" dirty="0" err="1">
                <a:solidFill>
                  <a:srgbClr val="FFFFFF"/>
                </a:solidFill>
              </a:rPr>
              <a:t>Git</a:t>
            </a:r>
            <a:endParaRPr lang="en-US" sz="900" dirty="0">
              <a:solidFill>
                <a:srgbClr val="FFFFFF"/>
              </a:solidFill>
            </a:endParaRPr>
          </a:p>
          <a:p>
            <a:pPr marL="96439" indent="-96439" defTabSz="685664">
              <a:spcBef>
                <a:spcPct val="20000"/>
              </a:spcBef>
              <a:spcAft>
                <a:spcPts val="450"/>
              </a:spcAft>
              <a:buSzPct val="80000"/>
              <a:buFont typeface="Arial" pitchFamily="34" charset="0"/>
              <a:buChar char="•"/>
              <a:defRPr/>
            </a:pPr>
            <a:r>
              <a:rPr lang="en-US" sz="900" dirty="0">
                <a:solidFill>
                  <a:srgbClr val="FFFFFF"/>
                </a:solidFill>
              </a:rPr>
              <a:t>Built-in monitoring of performance </a:t>
            </a:r>
            <a:br>
              <a:rPr lang="en-US" sz="900" dirty="0">
                <a:solidFill>
                  <a:srgbClr val="FFFFFF"/>
                </a:solidFill>
              </a:rPr>
            </a:br>
            <a:r>
              <a:rPr lang="en-US" sz="900" dirty="0">
                <a:solidFill>
                  <a:srgbClr val="FFFFFF"/>
                </a:solidFill>
              </a:rPr>
              <a:t>and usage data</a:t>
            </a:r>
          </a:p>
          <a:p>
            <a:pPr marL="96439" indent="-96439" defTabSz="685664">
              <a:spcBef>
                <a:spcPct val="20000"/>
              </a:spcBef>
              <a:spcAft>
                <a:spcPts val="450"/>
              </a:spcAft>
              <a:buSzPct val="80000"/>
              <a:buFont typeface="Arial" pitchFamily="34" charset="0"/>
              <a:buChar char="•"/>
              <a:defRPr/>
            </a:pPr>
            <a:r>
              <a:rPr lang="en-US" sz="900" dirty="0">
                <a:solidFill>
                  <a:srgbClr val="FFFFFF"/>
                </a:solidFill>
              </a:rPr>
              <a:t>Quick access to request logs, failed </a:t>
            </a:r>
            <a:br>
              <a:rPr lang="en-US" sz="900" dirty="0">
                <a:solidFill>
                  <a:srgbClr val="FFFFFF"/>
                </a:solidFill>
              </a:rPr>
            </a:br>
            <a:r>
              <a:rPr lang="en-US" sz="900" dirty="0">
                <a:solidFill>
                  <a:srgbClr val="FFFFFF"/>
                </a:solidFill>
              </a:rPr>
              <a:t>requests diagnostics and diagnostics</a:t>
            </a:r>
          </a:p>
          <a:p>
            <a:pPr marL="96439" indent="-96439" defTabSz="685664">
              <a:spcBef>
                <a:spcPct val="20000"/>
              </a:spcBef>
              <a:spcAft>
                <a:spcPts val="450"/>
              </a:spcAft>
              <a:buSzPct val="80000"/>
              <a:buFont typeface="Arial" pitchFamily="34" charset="0"/>
              <a:buChar char="•"/>
              <a:defRPr/>
            </a:pPr>
            <a:endParaRPr lang="en-US" sz="1100" dirty="0">
              <a:solidFill>
                <a:srgbClr val="80BEE4">
                  <a:alpha val="99000"/>
                </a:srgbClr>
              </a:solidFill>
            </a:endParaRPr>
          </a:p>
        </p:txBody>
      </p:sp>
      <p:sp>
        <p:nvSpPr>
          <p:cNvPr id="12" name="Rectangle 11"/>
          <p:cNvSpPr/>
          <p:nvPr/>
        </p:nvSpPr>
        <p:spPr bwMode="auto">
          <a:xfrm>
            <a:off x="3474294" y="918452"/>
            <a:ext cx="2127890" cy="374335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ctr" anchorCtr="0" compatLnSpc="1">
            <a:prstTxWarp prst="textNoShape">
              <a:avLst/>
            </a:prstTxWarp>
          </a:bodyPr>
          <a:lstStyle/>
          <a:p>
            <a:pPr algn="ctr" defTabSz="6854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8" name="Rectangle 17"/>
          <p:cNvSpPr/>
          <p:nvPr/>
        </p:nvSpPr>
        <p:spPr>
          <a:xfrm>
            <a:off x="3478916" y="2264509"/>
            <a:ext cx="2123270" cy="343940"/>
          </a:xfrm>
          <a:prstGeom prst="rect">
            <a:avLst/>
          </a:prstGeom>
        </p:spPr>
        <p:txBody>
          <a:bodyPr wrap="square" lIns="68568" tIns="34285" rIns="68568" bIns="34285" anchor="b" anchorCtr="0">
            <a:spAutoFit/>
          </a:bodyPr>
          <a:lstStyle/>
          <a:p>
            <a:pPr algn="ctr" defTabSz="685663">
              <a:lnSpc>
                <a:spcPct val="85000"/>
              </a:lnSpc>
              <a:defRPr/>
            </a:pPr>
            <a:r>
              <a:rPr lang="en-US" sz="2100" kern="0" spc="-53" dirty="0">
                <a:solidFill>
                  <a:srgbClr val="FFFFFF">
                    <a:alpha val="99000"/>
                  </a:srgbClr>
                </a:solidFill>
                <a:ea typeface="Segoe UI" pitchFamily="34" charset="0"/>
                <a:cs typeface="Segoe UI" pitchFamily="34" charset="0"/>
              </a:rPr>
              <a:t>Be Brilliant</a:t>
            </a:r>
          </a:p>
        </p:txBody>
      </p:sp>
      <p:grpSp>
        <p:nvGrpSpPr>
          <p:cNvPr id="42" name="Group 41"/>
          <p:cNvGrpSpPr/>
          <p:nvPr/>
        </p:nvGrpSpPr>
        <p:grpSpPr>
          <a:xfrm>
            <a:off x="3837120" y="1130862"/>
            <a:ext cx="1410391" cy="956969"/>
            <a:chOff x="-6467475" y="914401"/>
            <a:chExt cx="5765799" cy="3913187"/>
          </a:xfrm>
        </p:grpSpPr>
        <p:sp>
          <p:nvSpPr>
            <p:cNvPr id="28" name="Freeform 5"/>
            <p:cNvSpPr>
              <a:spLocks/>
            </p:cNvSpPr>
            <p:nvPr/>
          </p:nvSpPr>
          <p:spPr bwMode="auto">
            <a:xfrm>
              <a:off x="-6407150" y="2039938"/>
              <a:ext cx="2217737" cy="1112838"/>
            </a:xfrm>
            <a:custGeom>
              <a:avLst/>
              <a:gdLst>
                <a:gd name="T0" fmla="*/ 0 w 590"/>
                <a:gd name="T1" fmla="*/ 227 h 296"/>
                <a:gd name="T2" fmla="*/ 392 w 590"/>
                <a:gd name="T3" fmla="*/ 16 h 296"/>
                <a:gd name="T4" fmla="*/ 520 w 590"/>
                <a:gd name="T5" fmla="*/ 51 h 296"/>
                <a:gd name="T6" fmla="*/ 590 w 590"/>
                <a:gd name="T7" fmla="*/ 72 h 296"/>
                <a:gd name="T8" fmla="*/ 64 w 590"/>
                <a:gd name="T9" fmla="*/ 296 h 296"/>
                <a:gd name="T10" fmla="*/ 0 w 590"/>
                <a:gd name="T11" fmla="*/ 227 h 296"/>
              </a:gdLst>
              <a:ahLst/>
              <a:cxnLst>
                <a:cxn ang="0">
                  <a:pos x="T0" y="T1"/>
                </a:cxn>
                <a:cxn ang="0">
                  <a:pos x="T2" y="T3"/>
                </a:cxn>
                <a:cxn ang="0">
                  <a:pos x="T4" y="T5"/>
                </a:cxn>
                <a:cxn ang="0">
                  <a:pos x="T6" y="T7"/>
                </a:cxn>
                <a:cxn ang="0">
                  <a:pos x="T8" y="T9"/>
                </a:cxn>
                <a:cxn ang="0">
                  <a:pos x="T10" y="T11"/>
                </a:cxn>
              </a:cxnLst>
              <a:rect l="0" t="0" r="r" b="b"/>
              <a:pathLst>
                <a:path w="590" h="296">
                  <a:moveTo>
                    <a:pt x="0" y="227"/>
                  </a:moveTo>
                  <a:cubicBezTo>
                    <a:pt x="0" y="227"/>
                    <a:pt x="166" y="21"/>
                    <a:pt x="392" y="16"/>
                  </a:cubicBezTo>
                  <a:cubicBezTo>
                    <a:pt x="392" y="16"/>
                    <a:pt x="462" y="0"/>
                    <a:pt x="520" y="51"/>
                  </a:cubicBezTo>
                  <a:cubicBezTo>
                    <a:pt x="520" y="51"/>
                    <a:pt x="571" y="59"/>
                    <a:pt x="590" y="72"/>
                  </a:cubicBezTo>
                  <a:cubicBezTo>
                    <a:pt x="590" y="72"/>
                    <a:pt x="310" y="29"/>
                    <a:pt x="64" y="296"/>
                  </a:cubicBezTo>
                  <a:cubicBezTo>
                    <a:pt x="64" y="296"/>
                    <a:pt x="16" y="275"/>
                    <a:pt x="0" y="2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64"/>
              <a:endParaRPr lang="en-US">
                <a:solidFill>
                  <a:srgbClr val="FFFFFF"/>
                </a:solidFill>
              </a:endParaRPr>
            </a:p>
          </p:txBody>
        </p:sp>
        <p:sp>
          <p:nvSpPr>
            <p:cNvPr id="29" name="Freeform 6"/>
            <p:cNvSpPr>
              <a:spLocks/>
            </p:cNvSpPr>
            <p:nvPr/>
          </p:nvSpPr>
          <p:spPr bwMode="auto">
            <a:xfrm>
              <a:off x="-6467475" y="1279526"/>
              <a:ext cx="1849437" cy="1603375"/>
            </a:xfrm>
            <a:custGeom>
              <a:avLst/>
              <a:gdLst>
                <a:gd name="T0" fmla="*/ 0 w 492"/>
                <a:gd name="T1" fmla="*/ 426 h 426"/>
                <a:gd name="T2" fmla="*/ 341 w 492"/>
                <a:gd name="T3" fmla="*/ 70 h 426"/>
                <a:gd name="T4" fmla="*/ 468 w 492"/>
                <a:gd name="T5" fmla="*/ 13 h 426"/>
                <a:gd name="T6" fmla="*/ 492 w 492"/>
                <a:gd name="T7" fmla="*/ 47 h 426"/>
                <a:gd name="T8" fmla="*/ 309 w 492"/>
                <a:gd name="T9" fmla="*/ 222 h 426"/>
                <a:gd name="T10" fmla="*/ 0 w 492"/>
                <a:gd name="T11" fmla="*/ 426 h 426"/>
              </a:gdLst>
              <a:ahLst/>
              <a:cxnLst>
                <a:cxn ang="0">
                  <a:pos x="T0" y="T1"/>
                </a:cxn>
                <a:cxn ang="0">
                  <a:pos x="T2" y="T3"/>
                </a:cxn>
                <a:cxn ang="0">
                  <a:pos x="T4" y="T5"/>
                </a:cxn>
                <a:cxn ang="0">
                  <a:pos x="T6" y="T7"/>
                </a:cxn>
                <a:cxn ang="0">
                  <a:pos x="T8" y="T9"/>
                </a:cxn>
                <a:cxn ang="0">
                  <a:pos x="T10" y="T11"/>
                </a:cxn>
              </a:cxnLst>
              <a:rect l="0" t="0" r="r" b="b"/>
              <a:pathLst>
                <a:path w="492" h="426">
                  <a:moveTo>
                    <a:pt x="0" y="426"/>
                  </a:moveTo>
                  <a:cubicBezTo>
                    <a:pt x="341" y="70"/>
                    <a:pt x="341" y="70"/>
                    <a:pt x="341" y="70"/>
                  </a:cubicBezTo>
                  <a:cubicBezTo>
                    <a:pt x="341" y="70"/>
                    <a:pt x="408" y="0"/>
                    <a:pt x="468" y="13"/>
                  </a:cubicBezTo>
                  <a:cubicBezTo>
                    <a:pt x="468" y="13"/>
                    <a:pt x="487" y="24"/>
                    <a:pt x="492" y="47"/>
                  </a:cubicBezTo>
                  <a:cubicBezTo>
                    <a:pt x="309" y="222"/>
                    <a:pt x="309" y="222"/>
                    <a:pt x="309" y="222"/>
                  </a:cubicBezTo>
                  <a:cubicBezTo>
                    <a:pt x="309" y="222"/>
                    <a:pt x="186" y="242"/>
                    <a:pt x="0" y="4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64"/>
              <a:endParaRPr lang="en-US">
                <a:solidFill>
                  <a:srgbClr val="FFFFFF"/>
                </a:solidFill>
              </a:endParaRPr>
            </a:p>
          </p:txBody>
        </p:sp>
        <p:sp>
          <p:nvSpPr>
            <p:cNvPr id="30" name="Freeform 7"/>
            <p:cNvSpPr>
              <a:spLocks/>
            </p:cNvSpPr>
            <p:nvPr/>
          </p:nvSpPr>
          <p:spPr bwMode="auto">
            <a:xfrm>
              <a:off x="-5113338" y="914401"/>
              <a:ext cx="852487" cy="1023938"/>
            </a:xfrm>
            <a:custGeom>
              <a:avLst/>
              <a:gdLst>
                <a:gd name="T0" fmla="*/ 0 w 227"/>
                <a:gd name="T1" fmla="*/ 139 h 272"/>
                <a:gd name="T2" fmla="*/ 163 w 227"/>
                <a:gd name="T3" fmla="*/ 120 h 272"/>
                <a:gd name="T4" fmla="*/ 227 w 227"/>
                <a:gd name="T5" fmla="*/ 272 h 272"/>
                <a:gd name="T6" fmla="*/ 147 w 227"/>
                <a:gd name="T7" fmla="*/ 136 h 272"/>
                <a:gd name="T8" fmla="*/ 0 w 227"/>
                <a:gd name="T9" fmla="*/ 139 h 272"/>
              </a:gdLst>
              <a:ahLst/>
              <a:cxnLst>
                <a:cxn ang="0">
                  <a:pos x="T0" y="T1"/>
                </a:cxn>
                <a:cxn ang="0">
                  <a:pos x="T2" y="T3"/>
                </a:cxn>
                <a:cxn ang="0">
                  <a:pos x="T4" y="T5"/>
                </a:cxn>
                <a:cxn ang="0">
                  <a:pos x="T6" y="T7"/>
                </a:cxn>
                <a:cxn ang="0">
                  <a:pos x="T8" y="T9"/>
                </a:cxn>
              </a:cxnLst>
              <a:rect l="0" t="0" r="r" b="b"/>
              <a:pathLst>
                <a:path w="227" h="272">
                  <a:moveTo>
                    <a:pt x="0" y="139"/>
                  </a:moveTo>
                  <a:cubicBezTo>
                    <a:pt x="0" y="139"/>
                    <a:pt x="110" y="0"/>
                    <a:pt x="163" y="120"/>
                  </a:cubicBezTo>
                  <a:cubicBezTo>
                    <a:pt x="227" y="272"/>
                    <a:pt x="227" y="272"/>
                    <a:pt x="227" y="272"/>
                  </a:cubicBezTo>
                  <a:cubicBezTo>
                    <a:pt x="147" y="136"/>
                    <a:pt x="147" y="136"/>
                    <a:pt x="147" y="136"/>
                  </a:cubicBezTo>
                  <a:cubicBezTo>
                    <a:pt x="147" y="136"/>
                    <a:pt x="120" y="40"/>
                    <a:pt x="0" y="13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64"/>
              <a:endParaRPr lang="en-US">
                <a:solidFill>
                  <a:srgbClr val="FFFFFF"/>
                </a:solidFill>
              </a:endParaRPr>
            </a:p>
          </p:txBody>
        </p:sp>
        <p:sp>
          <p:nvSpPr>
            <p:cNvPr id="31" name="Freeform 8"/>
            <p:cNvSpPr>
              <a:spLocks/>
            </p:cNvSpPr>
            <p:nvPr/>
          </p:nvSpPr>
          <p:spPr bwMode="auto">
            <a:xfrm>
              <a:off x="-4692650" y="1208088"/>
              <a:ext cx="1563687" cy="2084388"/>
            </a:xfrm>
            <a:custGeom>
              <a:avLst/>
              <a:gdLst>
                <a:gd name="T0" fmla="*/ 0 w 416"/>
                <a:gd name="T1" fmla="*/ 0 h 554"/>
                <a:gd name="T2" fmla="*/ 110 w 416"/>
                <a:gd name="T3" fmla="*/ 21 h 554"/>
                <a:gd name="T4" fmla="*/ 168 w 416"/>
                <a:gd name="T5" fmla="*/ 74 h 554"/>
                <a:gd name="T6" fmla="*/ 310 w 416"/>
                <a:gd name="T7" fmla="*/ 394 h 554"/>
                <a:gd name="T8" fmla="*/ 416 w 416"/>
                <a:gd name="T9" fmla="*/ 554 h 554"/>
                <a:gd name="T10" fmla="*/ 295 w 416"/>
                <a:gd name="T11" fmla="*/ 477 h 554"/>
                <a:gd name="T12" fmla="*/ 144 w 416"/>
                <a:gd name="T13" fmla="*/ 280 h 554"/>
                <a:gd name="T14" fmla="*/ 0 w 416"/>
                <a:gd name="T15" fmla="*/ 0 h 5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6" h="554">
                  <a:moveTo>
                    <a:pt x="0" y="0"/>
                  </a:moveTo>
                  <a:cubicBezTo>
                    <a:pt x="110" y="21"/>
                    <a:pt x="110" y="21"/>
                    <a:pt x="110" y="21"/>
                  </a:cubicBezTo>
                  <a:cubicBezTo>
                    <a:pt x="110" y="21"/>
                    <a:pt x="147" y="34"/>
                    <a:pt x="168" y="74"/>
                  </a:cubicBezTo>
                  <a:cubicBezTo>
                    <a:pt x="168" y="74"/>
                    <a:pt x="288" y="338"/>
                    <a:pt x="310" y="394"/>
                  </a:cubicBezTo>
                  <a:cubicBezTo>
                    <a:pt x="310" y="394"/>
                    <a:pt x="360" y="496"/>
                    <a:pt x="416" y="554"/>
                  </a:cubicBezTo>
                  <a:cubicBezTo>
                    <a:pt x="416" y="554"/>
                    <a:pt x="346" y="544"/>
                    <a:pt x="295" y="477"/>
                  </a:cubicBezTo>
                  <a:cubicBezTo>
                    <a:pt x="295" y="477"/>
                    <a:pt x="218" y="304"/>
                    <a:pt x="144" y="280"/>
                  </a:cubicBezTo>
                  <a:cubicBezTo>
                    <a:pt x="144" y="280"/>
                    <a:pt x="94" y="104"/>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64"/>
              <a:endParaRPr lang="en-US">
                <a:solidFill>
                  <a:srgbClr val="FFFFFF"/>
                </a:solidFill>
              </a:endParaRPr>
            </a:p>
          </p:txBody>
        </p:sp>
        <p:sp>
          <p:nvSpPr>
            <p:cNvPr id="32" name="Freeform 9"/>
            <p:cNvSpPr>
              <a:spLocks/>
            </p:cNvSpPr>
            <p:nvPr/>
          </p:nvSpPr>
          <p:spPr bwMode="auto">
            <a:xfrm>
              <a:off x="-3914775" y="1858963"/>
              <a:ext cx="2254250" cy="1847850"/>
            </a:xfrm>
            <a:custGeom>
              <a:avLst/>
              <a:gdLst>
                <a:gd name="T0" fmla="*/ 0 w 600"/>
                <a:gd name="T1" fmla="*/ 0 h 491"/>
                <a:gd name="T2" fmla="*/ 253 w 600"/>
                <a:gd name="T3" fmla="*/ 376 h 491"/>
                <a:gd name="T4" fmla="*/ 600 w 600"/>
                <a:gd name="T5" fmla="*/ 411 h 491"/>
                <a:gd name="T6" fmla="*/ 243 w 600"/>
                <a:gd name="T7" fmla="*/ 403 h 491"/>
                <a:gd name="T8" fmla="*/ 0 w 600"/>
                <a:gd name="T9" fmla="*/ 0 h 491"/>
              </a:gdLst>
              <a:ahLst/>
              <a:cxnLst>
                <a:cxn ang="0">
                  <a:pos x="T0" y="T1"/>
                </a:cxn>
                <a:cxn ang="0">
                  <a:pos x="T2" y="T3"/>
                </a:cxn>
                <a:cxn ang="0">
                  <a:pos x="T4" y="T5"/>
                </a:cxn>
                <a:cxn ang="0">
                  <a:pos x="T6" y="T7"/>
                </a:cxn>
                <a:cxn ang="0">
                  <a:pos x="T8" y="T9"/>
                </a:cxn>
              </a:cxnLst>
              <a:rect l="0" t="0" r="r" b="b"/>
              <a:pathLst>
                <a:path w="600" h="491">
                  <a:moveTo>
                    <a:pt x="0" y="0"/>
                  </a:moveTo>
                  <a:cubicBezTo>
                    <a:pt x="0" y="0"/>
                    <a:pt x="144" y="309"/>
                    <a:pt x="253" y="376"/>
                  </a:cubicBezTo>
                  <a:cubicBezTo>
                    <a:pt x="253" y="376"/>
                    <a:pt x="389" y="469"/>
                    <a:pt x="600" y="411"/>
                  </a:cubicBezTo>
                  <a:cubicBezTo>
                    <a:pt x="600" y="411"/>
                    <a:pt x="477" y="491"/>
                    <a:pt x="243" y="403"/>
                  </a:cubicBezTo>
                  <a:cubicBezTo>
                    <a:pt x="243" y="403"/>
                    <a:pt x="136" y="376"/>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64"/>
              <a:endParaRPr lang="en-US">
                <a:solidFill>
                  <a:srgbClr val="FFFFFF"/>
                </a:solidFill>
              </a:endParaRPr>
            </a:p>
          </p:txBody>
        </p:sp>
        <p:sp>
          <p:nvSpPr>
            <p:cNvPr id="33" name="Freeform 10"/>
            <p:cNvSpPr>
              <a:spLocks/>
            </p:cNvSpPr>
            <p:nvPr/>
          </p:nvSpPr>
          <p:spPr bwMode="auto">
            <a:xfrm>
              <a:off x="-3027363" y="2701926"/>
              <a:ext cx="1954212" cy="873125"/>
            </a:xfrm>
            <a:custGeom>
              <a:avLst/>
              <a:gdLst>
                <a:gd name="T0" fmla="*/ 0 w 520"/>
                <a:gd name="T1" fmla="*/ 123 h 232"/>
                <a:gd name="T2" fmla="*/ 397 w 520"/>
                <a:gd name="T3" fmla="*/ 69 h 232"/>
                <a:gd name="T4" fmla="*/ 520 w 520"/>
                <a:gd name="T5" fmla="*/ 53 h 232"/>
                <a:gd name="T6" fmla="*/ 483 w 520"/>
                <a:gd name="T7" fmla="*/ 141 h 232"/>
                <a:gd name="T8" fmla="*/ 115 w 520"/>
                <a:gd name="T9" fmla="*/ 179 h 232"/>
                <a:gd name="T10" fmla="*/ 0 w 520"/>
                <a:gd name="T11" fmla="*/ 123 h 232"/>
              </a:gdLst>
              <a:ahLst/>
              <a:cxnLst>
                <a:cxn ang="0">
                  <a:pos x="T0" y="T1"/>
                </a:cxn>
                <a:cxn ang="0">
                  <a:pos x="T2" y="T3"/>
                </a:cxn>
                <a:cxn ang="0">
                  <a:pos x="T4" y="T5"/>
                </a:cxn>
                <a:cxn ang="0">
                  <a:pos x="T6" y="T7"/>
                </a:cxn>
                <a:cxn ang="0">
                  <a:pos x="T8" y="T9"/>
                </a:cxn>
                <a:cxn ang="0">
                  <a:pos x="T10" y="T11"/>
                </a:cxn>
              </a:cxnLst>
              <a:rect l="0" t="0" r="r" b="b"/>
              <a:pathLst>
                <a:path w="520" h="232">
                  <a:moveTo>
                    <a:pt x="0" y="123"/>
                  </a:moveTo>
                  <a:cubicBezTo>
                    <a:pt x="0" y="123"/>
                    <a:pt x="219" y="157"/>
                    <a:pt x="397" y="69"/>
                  </a:cubicBezTo>
                  <a:cubicBezTo>
                    <a:pt x="397" y="69"/>
                    <a:pt x="499" y="0"/>
                    <a:pt x="520" y="53"/>
                  </a:cubicBezTo>
                  <a:cubicBezTo>
                    <a:pt x="483" y="141"/>
                    <a:pt x="483" y="141"/>
                    <a:pt x="483" y="141"/>
                  </a:cubicBezTo>
                  <a:cubicBezTo>
                    <a:pt x="483" y="141"/>
                    <a:pt x="323" y="232"/>
                    <a:pt x="115" y="179"/>
                  </a:cubicBezTo>
                  <a:cubicBezTo>
                    <a:pt x="115" y="179"/>
                    <a:pt x="53" y="157"/>
                    <a:pt x="0" y="1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64"/>
              <a:endParaRPr lang="en-US">
                <a:solidFill>
                  <a:srgbClr val="FFFFFF"/>
                </a:solidFill>
              </a:endParaRPr>
            </a:p>
          </p:txBody>
        </p:sp>
        <p:sp>
          <p:nvSpPr>
            <p:cNvPr id="34" name="Freeform 11"/>
            <p:cNvSpPr>
              <a:spLocks/>
            </p:cNvSpPr>
            <p:nvPr/>
          </p:nvSpPr>
          <p:spPr bwMode="auto">
            <a:xfrm>
              <a:off x="-6184900" y="2122488"/>
              <a:ext cx="2566987" cy="1030288"/>
            </a:xfrm>
            <a:custGeom>
              <a:avLst/>
              <a:gdLst>
                <a:gd name="T0" fmla="*/ 0 w 683"/>
                <a:gd name="T1" fmla="*/ 274 h 274"/>
                <a:gd name="T2" fmla="*/ 496 w 683"/>
                <a:gd name="T3" fmla="*/ 71 h 274"/>
                <a:gd name="T4" fmla="*/ 683 w 683"/>
                <a:gd name="T5" fmla="*/ 245 h 274"/>
                <a:gd name="T6" fmla="*/ 566 w 683"/>
                <a:gd name="T7" fmla="*/ 67 h 274"/>
                <a:gd name="T8" fmla="*/ 217 w 683"/>
                <a:gd name="T9" fmla="*/ 105 h 274"/>
                <a:gd name="T10" fmla="*/ 105 w 683"/>
                <a:gd name="T11" fmla="*/ 172 h 274"/>
                <a:gd name="T12" fmla="*/ 0 w 683"/>
                <a:gd name="T13" fmla="*/ 274 h 274"/>
              </a:gdLst>
              <a:ahLst/>
              <a:cxnLst>
                <a:cxn ang="0">
                  <a:pos x="T0" y="T1"/>
                </a:cxn>
                <a:cxn ang="0">
                  <a:pos x="T2" y="T3"/>
                </a:cxn>
                <a:cxn ang="0">
                  <a:pos x="T4" y="T5"/>
                </a:cxn>
                <a:cxn ang="0">
                  <a:pos x="T6" y="T7"/>
                </a:cxn>
                <a:cxn ang="0">
                  <a:pos x="T8" y="T9"/>
                </a:cxn>
                <a:cxn ang="0">
                  <a:pos x="T10" y="T11"/>
                </a:cxn>
                <a:cxn ang="0">
                  <a:pos x="T12" y="T13"/>
                </a:cxn>
              </a:cxnLst>
              <a:rect l="0" t="0" r="r" b="b"/>
              <a:pathLst>
                <a:path w="683" h="274">
                  <a:moveTo>
                    <a:pt x="0" y="274"/>
                  </a:moveTo>
                  <a:cubicBezTo>
                    <a:pt x="0" y="274"/>
                    <a:pt x="323" y="13"/>
                    <a:pt x="496" y="71"/>
                  </a:cubicBezTo>
                  <a:cubicBezTo>
                    <a:pt x="496" y="71"/>
                    <a:pt x="595" y="77"/>
                    <a:pt x="683" y="245"/>
                  </a:cubicBezTo>
                  <a:cubicBezTo>
                    <a:pt x="651" y="184"/>
                    <a:pt x="625" y="108"/>
                    <a:pt x="566" y="67"/>
                  </a:cubicBezTo>
                  <a:cubicBezTo>
                    <a:pt x="469" y="0"/>
                    <a:pt x="312" y="62"/>
                    <a:pt x="217" y="105"/>
                  </a:cubicBezTo>
                  <a:cubicBezTo>
                    <a:pt x="177" y="123"/>
                    <a:pt x="139" y="145"/>
                    <a:pt x="105" y="172"/>
                  </a:cubicBezTo>
                  <a:cubicBezTo>
                    <a:pt x="65" y="201"/>
                    <a:pt x="37" y="244"/>
                    <a:pt x="0" y="2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64"/>
              <a:endParaRPr lang="en-US">
                <a:solidFill>
                  <a:srgbClr val="FFFFFF"/>
                </a:solidFill>
              </a:endParaRPr>
            </a:p>
          </p:txBody>
        </p:sp>
        <p:sp>
          <p:nvSpPr>
            <p:cNvPr id="35" name="Freeform 12"/>
            <p:cNvSpPr>
              <a:spLocks/>
            </p:cNvSpPr>
            <p:nvPr/>
          </p:nvSpPr>
          <p:spPr bwMode="auto">
            <a:xfrm>
              <a:off x="-4483100" y="2389188"/>
              <a:ext cx="1906587" cy="2078038"/>
            </a:xfrm>
            <a:custGeom>
              <a:avLst/>
              <a:gdLst>
                <a:gd name="T0" fmla="*/ 0 w 507"/>
                <a:gd name="T1" fmla="*/ 0 h 552"/>
                <a:gd name="T2" fmla="*/ 81 w 507"/>
                <a:gd name="T3" fmla="*/ 120 h 552"/>
                <a:gd name="T4" fmla="*/ 354 w 507"/>
                <a:gd name="T5" fmla="*/ 507 h 552"/>
                <a:gd name="T6" fmla="*/ 478 w 507"/>
                <a:gd name="T7" fmla="*/ 552 h 552"/>
                <a:gd name="T8" fmla="*/ 507 w 507"/>
                <a:gd name="T9" fmla="*/ 550 h 552"/>
                <a:gd name="T10" fmla="*/ 434 w 507"/>
                <a:gd name="T11" fmla="*/ 488 h 552"/>
                <a:gd name="T12" fmla="*/ 262 w 507"/>
                <a:gd name="T13" fmla="*/ 234 h 552"/>
                <a:gd name="T14" fmla="*/ 126 w 507"/>
                <a:gd name="T15" fmla="*/ 52 h 552"/>
                <a:gd name="T16" fmla="*/ 66 w 507"/>
                <a:gd name="T17" fmla="*/ 16 h 552"/>
                <a:gd name="T18" fmla="*/ 0 w 507"/>
                <a:gd name="T19" fmla="*/ 0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7" h="552">
                  <a:moveTo>
                    <a:pt x="0" y="0"/>
                  </a:moveTo>
                  <a:cubicBezTo>
                    <a:pt x="29" y="39"/>
                    <a:pt x="55" y="79"/>
                    <a:pt x="81" y="120"/>
                  </a:cubicBezTo>
                  <a:cubicBezTo>
                    <a:pt x="165" y="255"/>
                    <a:pt x="178" y="406"/>
                    <a:pt x="354" y="507"/>
                  </a:cubicBezTo>
                  <a:cubicBezTo>
                    <a:pt x="395" y="531"/>
                    <a:pt x="430" y="550"/>
                    <a:pt x="478" y="552"/>
                  </a:cubicBezTo>
                  <a:cubicBezTo>
                    <a:pt x="478" y="552"/>
                    <a:pt x="507" y="550"/>
                    <a:pt x="507" y="550"/>
                  </a:cubicBezTo>
                  <a:cubicBezTo>
                    <a:pt x="488" y="551"/>
                    <a:pt x="445" y="499"/>
                    <a:pt x="434" y="488"/>
                  </a:cubicBezTo>
                  <a:cubicBezTo>
                    <a:pt x="361" y="411"/>
                    <a:pt x="308" y="330"/>
                    <a:pt x="262" y="234"/>
                  </a:cubicBezTo>
                  <a:cubicBezTo>
                    <a:pt x="230" y="166"/>
                    <a:pt x="185" y="100"/>
                    <a:pt x="126" y="52"/>
                  </a:cubicBezTo>
                  <a:cubicBezTo>
                    <a:pt x="107" y="37"/>
                    <a:pt x="88" y="24"/>
                    <a:pt x="66" y="16"/>
                  </a:cubicBezTo>
                  <a:cubicBezTo>
                    <a:pt x="55" y="11"/>
                    <a:pt x="5" y="7"/>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64"/>
              <a:endParaRPr lang="en-US">
                <a:solidFill>
                  <a:srgbClr val="FFFFFF"/>
                </a:solidFill>
              </a:endParaRPr>
            </a:p>
          </p:txBody>
        </p:sp>
        <p:sp>
          <p:nvSpPr>
            <p:cNvPr id="36" name="Freeform 13"/>
            <p:cNvSpPr>
              <a:spLocks/>
            </p:cNvSpPr>
            <p:nvPr/>
          </p:nvSpPr>
          <p:spPr bwMode="auto">
            <a:xfrm>
              <a:off x="-3592513" y="3857626"/>
              <a:ext cx="2008187" cy="815975"/>
            </a:xfrm>
            <a:custGeom>
              <a:avLst/>
              <a:gdLst>
                <a:gd name="T0" fmla="*/ 1 w 534"/>
                <a:gd name="T1" fmla="*/ 50 h 217"/>
                <a:gd name="T2" fmla="*/ 0 w 534"/>
                <a:gd name="T3" fmla="*/ 50 h 217"/>
                <a:gd name="T4" fmla="*/ 251 w 534"/>
                <a:gd name="T5" fmla="*/ 200 h 217"/>
                <a:gd name="T6" fmla="*/ 404 w 534"/>
                <a:gd name="T7" fmla="*/ 130 h 217"/>
                <a:gd name="T8" fmla="*/ 534 w 534"/>
                <a:gd name="T9" fmla="*/ 0 h 217"/>
                <a:gd name="T10" fmla="*/ 287 w 534"/>
                <a:gd name="T11" fmla="*/ 164 h 217"/>
                <a:gd name="T12" fmla="*/ 1 w 534"/>
                <a:gd name="T13" fmla="*/ 50 h 217"/>
              </a:gdLst>
              <a:ahLst/>
              <a:cxnLst>
                <a:cxn ang="0">
                  <a:pos x="T0" y="T1"/>
                </a:cxn>
                <a:cxn ang="0">
                  <a:pos x="T2" y="T3"/>
                </a:cxn>
                <a:cxn ang="0">
                  <a:pos x="T4" y="T5"/>
                </a:cxn>
                <a:cxn ang="0">
                  <a:pos x="T6" y="T7"/>
                </a:cxn>
                <a:cxn ang="0">
                  <a:pos x="T8" y="T9"/>
                </a:cxn>
                <a:cxn ang="0">
                  <a:pos x="T10" y="T11"/>
                </a:cxn>
                <a:cxn ang="0">
                  <a:pos x="T12" y="T13"/>
                </a:cxn>
              </a:cxnLst>
              <a:rect l="0" t="0" r="r" b="b"/>
              <a:pathLst>
                <a:path w="534" h="217">
                  <a:moveTo>
                    <a:pt x="1" y="50"/>
                  </a:moveTo>
                  <a:cubicBezTo>
                    <a:pt x="1" y="50"/>
                    <a:pt x="0" y="50"/>
                    <a:pt x="0" y="50"/>
                  </a:cubicBezTo>
                  <a:cubicBezTo>
                    <a:pt x="61" y="136"/>
                    <a:pt x="135" y="217"/>
                    <a:pt x="251" y="200"/>
                  </a:cubicBezTo>
                  <a:cubicBezTo>
                    <a:pt x="307" y="192"/>
                    <a:pt x="359" y="162"/>
                    <a:pt x="404" y="130"/>
                  </a:cubicBezTo>
                  <a:cubicBezTo>
                    <a:pt x="455" y="93"/>
                    <a:pt x="488" y="41"/>
                    <a:pt x="534" y="0"/>
                  </a:cubicBezTo>
                  <a:cubicBezTo>
                    <a:pt x="463" y="64"/>
                    <a:pt x="384" y="142"/>
                    <a:pt x="287" y="164"/>
                  </a:cubicBezTo>
                  <a:cubicBezTo>
                    <a:pt x="178" y="190"/>
                    <a:pt x="83" y="111"/>
                    <a:pt x="1" y="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64"/>
              <a:endParaRPr lang="en-US">
                <a:solidFill>
                  <a:srgbClr val="FFFFFF"/>
                </a:solidFill>
              </a:endParaRPr>
            </a:p>
          </p:txBody>
        </p:sp>
        <p:sp>
          <p:nvSpPr>
            <p:cNvPr id="37" name="Freeform 14"/>
            <p:cNvSpPr>
              <a:spLocks/>
            </p:cNvSpPr>
            <p:nvPr/>
          </p:nvSpPr>
          <p:spPr bwMode="auto">
            <a:xfrm>
              <a:off x="-2551113" y="2932113"/>
              <a:ext cx="1849437" cy="1895475"/>
            </a:xfrm>
            <a:custGeom>
              <a:avLst/>
              <a:gdLst>
                <a:gd name="T0" fmla="*/ 0 w 492"/>
                <a:gd name="T1" fmla="*/ 448 h 504"/>
                <a:gd name="T2" fmla="*/ 218 w 492"/>
                <a:gd name="T3" fmla="*/ 419 h 504"/>
                <a:gd name="T4" fmla="*/ 473 w 492"/>
                <a:gd name="T5" fmla="*/ 91 h 504"/>
                <a:gd name="T6" fmla="*/ 481 w 492"/>
                <a:gd name="T7" fmla="*/ 59 h 504"/>
                <a:gd name="T8" fmla="*/ 414 w 492"/>
                <a:gd name="T9" fmla="*/ 0 h 504"/>
                <a:gd name="T10" fmla="*/ 0 w 492"/>
                <a:gd name="T11" fmla="*/ 448 h 504"/>
              </a:gdLst>
              <a:ahLst/>
              <a:cxnLst>
                <a:cxn ang="0">
                  <a:pos x="T0" y="T1"/>
                </a:cxn>
                <a:cxn ang="0">
                  <a:pos x="T2" y="T3"/>
                </a:cxn>
                <a:cxn ang="0">
                  <a:pos x="T4" y="T5"/>
                </a:cxn>
                <a:cxn ang="0">
                  <a:pos x="T6" y="T7"/>
                </a:cxn>
                <a:cxn ang="0">
                  <a:pos x="T8" y="T9"/>
                </a:cxn>
                <a:cxn ang="0">
                  <a:pos x="T10" y="T11"/>
                </a:cxn>
              </a:cxnLst>
              <a:rect l="0" t="0" r="r" b="b"/>
              <a:pathLst>
                <a:path w="492" h="504">
                  <a:moveTo>
                    <a:pt x="0" y="448"/>
                  </a:moveTo>
                  <a:cubicBezTo>
                    <a:pt x="0" y="448"/>
                    <a:pt x="130" y="504"/>
                    <a:pt x="218" y="419"/>
                  </a:cubicBezTo>
                  <a:cubicBezTo>
                    <a:pt x="218" y="419"/>
                    <a:pt x="404" y="270"/>
                    <a:pt x="473" y="91"/>
                  </a:cubicBezTo>
                  <a:cubicBezTo>
                    <a:pt x="473" y="91"/>
                    <a:pt x="492" y="64"/>
                    <a:pt x="481" y="59"/>
                  </a:cubicBezTo>
                  <a:cubicBezTo>
                    <a:pt x="414" y="0"/>
                    <a:pt x="414" y="0"/>
                    <a:pt x="414" y="0"/>
                  </a:cubicBezTo>
                  <a:cubicBezTo>
                    <a:pt x="414" y="0"/>
                    <a:pt x="224" y="398"/>
                    <a:pt x="0" y="4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64"/>
              <a:endParaRPr lang="en-US">
                <a:solidFill>
                  <a:srgbClr val="FFFFFF"/>
                </a:solidFill>
              </a:endParaRPr>
            </a:p>
          </p:txBody>
        </p:sp>
        <p:sp>
          <p:nvSpPr>
            <p:cNvPr id="38" name="Freeform 15"/>
            <p:cNvSpPr>
              <a:spLocks/>
            </p:cNvSpPr>
            <p:nvPr/>
          </p:nvSpPr>
          <p:spPr bwMode="auto">
            <a:xfrm>
              <a:off x="-1754188" y="2682876"/>
              <a:ext cx="849312" cy="1181100"/>
            </a:xfrm>
            <a:custGeom>
              <a:avLst/>
              <a:gdLst>
                <a:gd name="T0" fmla="*/ 0 w 226"/>
                <a:gd name="T1" fmla="*/ 314 h 314"/>
                <a:gd name="T2" fmla="*/ 122 w 226"/>
                <a:gd name="T3" fmla="*/ 53 h 314"/>
                <a:gd name="T4" fmla="*/ 189 w 226"/>
                <a:gd name="T5" fmla="*/ 64 h 314"/>
                <a:gd name="T6" fmla="*/ 0 w 226"/>
                <a:gd name="T7" fmla="*/ 314 h 314"/>
              </a:gdLst>
              <a:ahLst/>
              <a:cxnLst>
                <a:cxn ang="0">
                  <a:pos x="T0" y="T1"/>
                </a:cxn>
                <a:cxn ang="0">
                  <a:pos x="T2" y="T3"/>
                </a:cxn>
                <a:cxn ang="0">
                  <a:pos x="T4" y="T5"/>
                </a:cxn>
                <a:cxn ang="0">
                  <a:pos x="T6" y="T7"/>
                </a:cxn>
              </a:cxnLst>
              <a:rect l="0" t="0" r="r" b="b"/>
              <a:pathLst>
                <a:path w="226" h="314">
                  <a:moveTo>
                    <a:pt x="0" y="314"/>
                  </a:moveTo>
                  <a:cubicBezTo>
                    <a:pt x="0" y="314"/>
                    <a:pt x="226" y="56"/>
                    <a:pt x="122" y="53"/>
                  </a:cubicBezTo>
                  <a:cubicBezTo>
                    <a:pt x="122" y="53"/>
                    <a:pt x="181" y="0"/>
                    <a:pt x="189" y="64"/>
                  </a:cubicBezTo>
                  <a:cubicBezTo>
                    <a:pt x="189" y="64"/>
                    <a:pt x="80" y="277"/>
                    <a:pt x="0" y="3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64"/>
              <a:endParaRPr lang="en-US">
                <a:solidFill>
                  <a:srgbClr val="FFFFFF"/>
                </a:solidFill>
              </a:endParaRPr>
            </a:p>
          </p:txBody>
        </p:sp>
        <p:sp>
          <p:nvSpPr>
            <p:cNvPr id="39" name="Freeform 16"/>
            <p:cNvSpPr>
              <a:spLocks/>
            </p:cNvSpPr>
            <p:nvPr/>
          </p:nvSpPr>
          <p:spPr bwMode="auto">
            <a:xfrm>
              <a:off x="-5448300" y="1908176"/>
              <a:ext cx="1390650" cy="466725"/>
            </a:xfrm>
            <a:custGeom>
              <a:avLst/>
              <a:gdLst>
                <a:gd name="T0" fmla="*/ 59 w 370"/>
                <a:gd name="T1" fmla="*/ 62 h 124"/>
                <a:gd name="T2" fmla="*/ 370 w 370"/>
                <a:gd name="T3" fmla="*/ 124 h 124"/>
                <a:gd name="T4" fmla="*/ 219 w 370"/>
                <a:gd name="T5" fmla="*/ 110 h 124"/>
                <a:gd name="T6" fmla="*/ 0 w 370"/>
                <a:gd name="T7" fmla="*/ 123 h 124"/>
                <a:gd name="T8" fmla="*/ 59 w 370"/>
                <a:gd name="T9" fmla="*/ 62 h 124"/>
              </a:gdLst>
              <a:ahLst/>
              <a:cxnLst>
                <a:cxn ang="0">
                  <a:pos x="T0" y="T1"/>
                </a:cxn>
                <a:cxn ang="0">
                  <a:pos x="T2" y="T3"/>
                </a:cxn>
                <a:cxn ang="0">
                  <a:pos x="T4" y="T5"/>
                </a:cxn>
                <a:cxn ang="0">
                  <a:pos x="T6" y="T7"/>
                </a:cxn>
                <a:cxn ang="0">
                  <a:pos x="T8" y="T9"/>
                </a:cxn>
              </a:cxnLst>
              <a:rect l="0" t="0" r="r" b="b"/>
              <a:pathLst>
                <a:path w="370" h="124">
                  <a:moveTo>
                    <a:pt x="59" y="62"/>
                  </a:moveTo>
                  <a:cubicBezTo>
                    <a:pt x="59" y="62"/>
                    <a:pt x="202" y="0"/>
                    <a:pt x="370" y="124"/>
                  </a:cubicBezTo>
                  <a:cubicBezTo>
                    <a:pt x="219" y="110"/>
                    <a:pt x="219" y="110"/>
                    <a:pt x="219" y="110"/>
                  </a:cubicBezTo>
                  <a:cubicBezTo>
                    <a:pt x="0" y="123"/>
                    <a:pt x="0" y="123"/>
                    <a:pt x="0" y="123"/>
                  </a:cubicBezTo>
                  <a:lnTo>
                    <a:pt x="59" y="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64"/>
              <a:endParaRPr lang="en-US">
                <a:solidFill>
                  <a:srgbClr val="FFFFFF"/>
                </a:solidFill>
              </a:endParaRPr>
            </a:p>
          </p:txBody>
        </p:sp>
        <p:sp>
          <p:nvSpPr>
            <p:cNvPr id="40" name="Freeform 17"/>
            <p:cNvSpPr>
              <a:spLocks/>
            </p:cNvSpPr>
            <p:nvPr/>
          </p:nvSpPr>
          <p:spPr bwMode="auto">
            <a:xfrm>
              <a:off x="-3527425" y="3051176"/>
              <a:ext cx="1866900" cy="722313"/>
            </a:xfrm>
            <a:custGeom>
              <a:avLst/>
              <a:gdLst>
                <a:gd name="T0" fmla="*/ 0 w 497"/>
                <a:gd name="T1" fmla="*/ 0 h 192"/>
                <a:gd name="T2" fmla="*/ 497 w 497"/>
                <a:gd name="T3" fmla="*/ 94 h 192"/>
                <a:gd name="T4" fmla="*/ 385 w 497"/>
                <a:gd name="T5" fmla="*/ 118 h 192"/>
                <a:gd name="T6" fmla="*/ 268 w 497"/>
                <a:gd name="T7" fmla="*/ 115 h 192"/>
                <a:gd name="T8" fmla="*/ 68 w 497"/>
                <a:gd name="T9" fmla="*/ 35 h 192"/>
                <a:gd name="T10" fmla="*/ 0 w 497"/>
                <a:gd name="T11" fmla="*/ 0 h 192"/>
              </a:gdLst>
              <a:ahLst/>
              <a:cxnLst>
                <a:cxn ang="0">
                  <a:pos x="T0" y="T1"/>
                </a:cxn>
                <a:cxn ang="0">
                  <a:pos x="T2" y="T3"/>
                </a:cxn>
                <a:cxn ang="0">
                  <a:pos x="T4" y="T5"/>
                </a:cxn>
                <a:cxn ang="0">
                  <a:pos x="T6" y="T7"/>
                </a:cxn>
                <a:cxn ang="0">
                  <a:pos x="T8" y="T9"/>
                </a:cxn>
                <a:cxn ang="0">
                  <a:pos x="T10" y="T11"/>
                </a:cxn>
              </a:cxnLst>
              <a:rect l="0" t="0" r="r" b="b"/>
              <a:pathLst>
                <a:path w="497" h="192">
                  <a:moveTo>
                    <a:pt x="0" y="0"/>
                  </a:moveTo>
                  <a:cubicBezTo>
                    <a:pt x="0" y="0"/>
                    <a:pt x="166" y="192"/>
                    <a:pt x="497" y="94"/>
                  </a:cubicBezTo>
                  <a:cubicBezTo>
                    <a:pt x="385" y="118"/>
                    <a:pt x="385" y="118"/>
                    <a:pt x="385" y="118"/>
                  </a:cubicBezTo>
                  <a:cubicBezTo>
                    <a:pt x="268" y="115"/>
                    <a:pt x="268" y="115"/>
                    <a:pt x="268" y="115"/>
                  </a:cubicBezTo>
                  <a:cubicBezTo>
                    <a:pt x="68" y="35"/>
                    <a:pt x="68" y="35"/>
                    <a:pt x="68" y="35"/>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64"/>
              <a:endParaRPr lang="en-US">
                <a:solidFill>
                  <a:srgbClr val="FFFFFF"/>
                </a:solidFill>
              </a:endParaRPr>
            </a:p>
          </p:txBody>
        </p:sp>
        <p:sp>
          <p:nvSpPr>
            <p:cNvPr id="41" name="Freeform 18"/>
            <p:cNvSpPr>
              <a:spLocks/>
            </p:cNvSpPr>
            <p:nvPr/>
          </p:nvSpPr>
          <p:spPr bwMode="auto">
            <a:xfrm>
              <a:off x="-1690688" y="2671763"/>
              <a:ext cx="631825" cy="450850"/>
            </a:xfrm>
            <a:custGeom>
              <a:avLst/>
              <a:gdLst>
                <a:gd name="T0" fmla="*/ 0 w 168"/>
                <a:gd name="T1" fmla="*/ 96 h 120"/>
                <a:gd name="T2" fmla="*/ 168 w 168"/>
                <a:gd name="T3" fmla="*/ 48 h 120"/>
                <a:gd name="T4" fmla="*/ 109 w 168"/>
                <a:gd name="T5" fmla="*/ 109 h 120"/>
                <a:gd name="T6" fmla="*/ 13 w 168"/>
                <a:gd name="T7" fmla="*/ 120 h 120"/>
                <a:gd name="T8" fmla="*/ 0 w 168"/>
                <a:gd name="T9" fmla="*/ 96 h 120"/>
              </a:gdLst>
              <a:ahLst/>
              <a:cxnLst>
                <a:cxn ang="0">
                  <a:pos x="T0" y="T1"/>
                </a:cxn>
                <a:cxn ang="0">
                  <a:pos x="T2" y="T3"/>
                </a:cxn>
                <a:cxn ang="0">
                  <a:pos x="T4" y="T5"/>
                </a:cxn>
                <a:cxn ang="0">
                  <a:pos x="T6" y="T7"/>
                </a:cxn>
                <a:cxn ang="0">
                  <a:pos x="T8" y="T9"/>
                </a:cxn>
              </a:cxnLst>
              <a:rect l="0" t="0" r="r" b="b"/>
              <a:pathLst>
                <a:path w="168" h="120">
                  <a:moveTo>
                    <a:pt x="0" y="96"/>
                  </a:moveTo>
                  <a:cubicBezTo>
                    <a:pt x="0" y="96"/>
                    <a:pt x="123" y="0"/>
                    <a:pt x="168" y="48"/>
                  </a:cubicBezTo>
                  <a:cubicBezTo>
                    <a:pt x="109" y="109"/>
                    <a:pt x="109" y="109"/>
                    <a:pt x="109" y="109"/>
                  </a:cubicBezTo>
                  <a:cubicBezTo>
                    <a:pt x="13" y="120"/>
                    <a:pt x="13" y="120"/>
                    <a:pt x="13" y="120"/>
                  </a:cubicBezTo>
                  <a:lnTo>
                    <a:pt x="0" y="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64"/>
              <a:endParaRPr lang="en-US">
                <a:solidFill>
                  <a:srgbClr val="FFFFFF"/>
                </a:solidFill>
              </a:endParaRPr>
            </a:p>
          </p:txBody>
        </p:sp>
      </p:grpSp>
      <p:sp>
        <p:nvSpPr>
          <p:cNvPr id="44" name="Rectangle 43"/>
          <p:cNvSpPr/>
          <p:nvPr/>
        </p:nvSpPr>
        <p:spPr bwMode="auto">
          <a:xfrm>
            <a:off x="3481171" y="2644149"/>
            <a:ext cx="2121014" cy="177853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1432" tIns="25716" rIns="51432" bIns="25716" numCol="1" rtlCol="0" anchor="t" anchorCtr="0" compatLnSpc="1">
            <a:prstTxWarp prst="textNoShape">
              <a:avLst/>
            </a:prstTxWarp>
          </a:bodyPr>
          <a:lstStyle/>
          <a:p>
            <a:pPr marL="96439" indent="-96439" defTabSz="685664">
              <a:spcBef>
                <a:spcPct val="20000"/>
              </a:spcBef>
              <a:spcAft>
                <a:spcPts val="450"/>
              </a:spcAft>
              <a:buSzPct val="80000"/>
              <a:buFont typeface="Arial" pitchFamily="34" charset="0"/>
              <a:buChar char="•"/>
            </a:pPr>
            <a:r>
              <a:rPr lang="en-US" sz="900" dirty="0">
                <a:solidFill>
                  <a:srgbClr val="FFFFFF">
                    <a:alpha val="99000"/>
                  </a:srgbClr>
                </a:solidFill>
              </a:rPr>
              <a:t>Build using ASP.NET, ASP, PHP, </a:t>
            </a:r>
            <a:br>
              <a:rPr lang="en-US" sz="900" dirty="0">
                <a:solidFill>
                  <a:srgbClr val="FFFFFF">
                    <a:alpha val="99000"/>
                  </a:srgbClr>
                </a:solidFill>
              </a:rPr>
            </a:br>
            <a:r>
              <a:rPr lang="en-US" sz="900" dirty="0">
                <a:solidFill>
                  <a:srgbClr val="FFFFFF">
                    <a:alpha val="99000"/>
                  </a:srgbClr>
                </a:solidFill>
              </a:rPr>
              <a:t>or Node.js</a:t>
            </a:r>
          </a:p>
          <a:p>
            <a:pPr marL="96439" indent="-96439" defTabSz="685664">
              <a:spcBef>
                <a:spcPct val="20000"/>
              </a:spcBef>
              <a:spcAft>
                <a:spcPts val="450"/>
              </a:spcAft>
              <a:buSzPct val="80000"/>
              <a:buFont typeface="Arial" pitchFamily="34" charset="0"/>
              <a:buChar char="•"/>
            </a:pPr>
            <a:r>
              <a:rPr lang="en-US" sz="900" dirty="0">
                <a:solidFill>
                  <a:srgbClr val="FFFFFF">
                    <a:alpha val="99000"/>
                  </a:srgbClr>
                </a:solidFill>
              </a:rPr>
              <a:t>Choose a SQL Database or </a:t>
            </a:r>
            <a:br>
              <a:rPr lang="en-US" sz="900" dirty="0">
                <a:solidFill>
                  <a:srgbClr val="FFFFFF">
                    <a:alpha val="99000"/>
                  </a:srgbClr>
                </a:solidFill>
              </a:rPr>
            </a:br>
            <a:r>
              <a:rPr lang="en-US" sz="900" dirty="0">
                <a:solidFill>
                  <a:srgbClr val="FFFFFF">
                    <a:alpha val="99000"/>
                  </a:srgbClr>
                </a:solidFill>
              </a:rPr>
              <a:t>MySQL database</a:t>
            </a:r>
          </a:p>
          <a:p>
            <a:pPr marL="96439" indent="-96439" defTabSz="685664">
              <a:spcBef>
                <a:spcPct val="20000"/>
              </a:spcBef>
              <a:spcAft>
                <a:spcPts val="450"/>
              </a:spcAft>
              <a:buSzPct val="80000"/>
              <a:buFont typeface="Arial" pitchFamily="34" charset="0"/>
              <a:buChar char="•"/>
            </a:pPr>
            <a:r>
              <a:rPr lang="en-US" sz="900" dirty="0">
                <a:solidFill>
                  <a:srgbClr val="FFFFFF">
                    <a:alpha val="99000"/>
                  </a:srgbClr>
                </a:solidFill>
              </a:rPr>
              <a:t>Start with a gallery of open </a:t>
            </a:r>
            <a:br>
              <a:rPr lang="en-US" sz="900" dirty="0">
                <a:solidFill>
                  <a:srgbClr val="FFFFFF">
                    <a:alpha val="99000"/>
                  </a:srgbClr>
                </a:solidFill>
              </a:rPr>
            </a:br>
            <a:r>
              <a:rPr lang="en-US" sz="900" dirty="0">
                <a:solidFill>
                  <a:srgbClr val="FFFFFF">
                    <a:alpha val="99000"/>
                  </a:srgbClr>
                </a:solidFill>
              </a:rPr>
              <a:t>source apps </a:t>
            </a:r>
          </a:p>
          <a:p>
            <a:pPr marL="96439" indent="-96439" defTabSz="685664">
              <a:spcBef>
                <a:spcPct val="20000"/>
              </a:spcBef>
              <a:spcAft>
                <a:spcPts val="450"/>
              </a:spcAft>
              <a:buSzPct val="80000"/>
              <a:buFont typeface="Arial" pitchFamily="34" charset="0"/>
              <a:buChar char="•"/>
            </a:pPr>
            <a:r>
              <a:rPr lang="en-US" sz="900" dirty="0">
                <a:solidFill>
                  <a:srgbClr val="FFFFFF">
                    <a:alpha val="99000"/>
                  </a:srgbClr>
                </a:solidFill>
              </a:rPr>
              <a:t>Integrated with Visual Studio </a:t>
            </a:r>
            <a:br>
              <a:rPr lang="en-US" sz="900" dirty="0">
                <a:solidFill>
                  <a:srgbClr val="FFFFFF">
                    <a:alpha val="99000"/>
                  </a:srgbClr>
                </a:solidFill>
              </a:rPr>
            </a:br>
            <a:r>
              <a:rPr lang="en-US" sz="900" dirty="0">
                <a:solidFill>
                  <a:srgbClr val="FFFFFF">
                    <a:alpha val="99000"/>
                  </a:srgbClr>
                </a:solidFill>
              </a:rPr>
              <a:t>and </a:t>
            </a:r>
            <a:r>
              <a:rPr lang="en-US" sz="900" dirty="0" err="1">
                <a:solidFill>
                  <a:srgbClr val="FFFFFF">
                    <a:alpha val="99000"/>
                  </a:srgbClr>
                </a:solidFill>
              </a:rPr>
              <a:t>WebMatrix</a:t>
            </a:r>
            <a:endParaRPr lang="en-US" sz="900" dirty="0">
              <a:solidFill>
                <a:srgbClr val="FFFFFF">
                  <a:alpha val="99000"/>
                </a:srgbClr>
              </a:solidFill>
            </a:endParaRPr>
          </a:p>
          <a:p>
            <a:pPr marL="96439" indent="-96439" defTabSz="685664">
              <a:spcBef>
                <a:spcPct val="20000"/>
              </a:spcBef>
              <a:spcAft>
                <a:spcPts val="450"/>
              </a:spcAft>
              <a:buSzPct val="80000"/>
              <a:buFont typeface="Arial" pitchFamily="34" charset="0"/>
              <a:buChar char="•"/>
            </a:pPr>
            <a:r>
              <a:rPr lang="en-US" sz="900" dirty="0">
                <a:solidFill>
                  <a:srgbClr val="FFFFFF">
                    <a:alpha val="99000"/>
                  </a:srgbClr>
                </a:solidFill>
              </a:rPr>
              <a:t>Supports any Web development </a:t>
            </a:r>
            <a:br>
              <a:rPr lang="en-US" sz="900" dirty="0">
                <a:solidFill>
                  <a:srgbClr val="FFFFFF">
                    <a:alpha val="99000"/>
                  </a:srgbClr>
                </a:solidFill>
              </a:rPr>
            </a:br>
            <a:r>
              <a:rPr lang="en-US" sz="900" dirty="0">
                <a:solidFill>
                  <a:srgbClr val="FFFFFF">
                    <a:alpha val="99000"/>
                  </a:srgbClr>
                </a:solidFill>
              </a:rPr>
              <a:t>tool on any platform (Windows, </a:t>
            </a:r>
            <a:br>
              <a:rPr lang="en-US" sz="900" dirty="0">
                <a:solidFill>
                  <a:srgbClr val="FFFFFF">
                    <a:alpha val="99000"/>
                  </a:srgbClr>
                </a:solidFill>
              </a:rPr>
            </a:br>
            <a:r>
              <a:rPr lang="en-US" sz="900" dirty="0">
                <a:solidFill>
                  <a:srgbClr val="FFFFFF">
                    <a:alpha val="99000"/>
                  </a:srgbClr>
                </a:solidFill>
              </a:rPr>
              <a:t>OSX, </a:t>
            </a:r>
            <a:r>
              <a:rPr lang="en-US" sz="900" dirty="0">
                <a:solidFill>
                  <a:srgbClr val="FFFFFF"/>
                </a:solidFill>
              </a:rPr>
              <a:t>Linux)</a:t>
            </a:r>
          </a:p>
        </p:txBody>
      </p:sp>
      <p:sp>
        <p:nvSpPr>
          <p:cNvPr id="46"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47"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pic>
        <p:nvPicPr>
          <p:cNvPr id="48"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0911038"/>
      </p:ext>
    </p:extLst>
  </p:cSld>
  <p:clrMapOvr>
    <a:masterClrMapping/>
  </p:clrMapOvr>
  <p:transition>
    <p:fade/>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Web </a:t>
            </a:r>
            <a:r>
              <a:rPr lang="en-US" dirty="0"/>
              <a:t>Sites</a:t>
            </a:r>
          </a:p>
        </p:txBody>
      </p:sp>
      <p:sp>
        <p:nvSpPr>
          <p:cNvPr id="11" name="Rectangle 10"/>
          <p:cNvSpPr/>
          <p:nvPr/>
        </p:nvSpPr>
        <p:spPr bwMode="auto">
          <a:xfrm>
            <a:off x="1437657" y="894316"/>
            <a:ext cx="2057936" cy="20574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ctr" anchorCtr="0" compatLnSpc="1">
            <a:prstTxWarp prst="textNoShape">
              <a:avLst/>
            </a:prstTxWarp>
          </a:bodyPr>
          <a:lstStyle/>
          <a:p>
            <a:pPr algn="ctr" defTabSz="6854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2" name="Rectangle 11"/>
          <p:cNvSpPr/>
          <p:nvPr/>
        </p:nvSpPr>
        <p:spPr bwMode="auto">
          <a:xfrm>
            <a:off x="3590471" y="894316"/>
            <a:ext cx="2057936" cy="20574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ctr" anchorCtr="0" compatLnSpc="1">
            <a:prstTxWarp prst="textNoShape">
              <a:avLst/>
            </a:prstTxWarp>
          </a:bodyPr>
          <a:lstStyle/>
          <a:p>
            <a:pPr algn="ctr" defTabSz="6854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3" name="Rectangle 12"/>
          <p:cNvSpPr/>
          <p:nvPr/>
        </p:nvSpPr>
        <p:spPr bwMode="auto">
          <a:xfrm>
            <a:off x="5743285" y="894316"/>
            <a:ext cx="2057936" cy="2057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ctr" anchorCtr="0" compatLnSpc="1">
            <a:prstTxWarp prst="textNoShape">
              <a:avLst/>
            </a:prstTxWarp>
          </a:bodyPr>
          <a:lstStyle/>
          <a:p>
            <a:pPr algn="ctr" defTabSz="6854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7" name="Rectangle 16"/>
          <p:cNvSpPr/>
          <p:nvPr/>
        </p:nvSpPr>
        <p:spPr>
          <a:xfrm>
            <a:off x="1437657" y="2607776"/>
            <a:ext cx="2057936" cy="343940"/>
          </a:xfrm>
          <a:prstGeom prst="rect">
            <a:avLst/>
          </a:prstGeom>
        </p:spPr>
        <p:txBody>
          <a:bodyPr wrap="square" lIns="68568" tIns="34285" rIns="68568" bIns="34285" anchor="b" anchorCtr="0">
            <a:spAutoFit/>
          </a:bodyPr>
          <a:lstStyle/>
          <a:p>
            <a:pPr defTabSz="685663">
              <a:lnSpc>
                <a:spcPct val="85000"/>
              </a:lnSpc>
              <a:defRPr/>
            </a:pPr>
            <a:r>
              <a:rPr lang="en-US" sz="2100" kern="0" spc="-53" dirty="0">
                <a:solidFill>
                  <a:srgbClr val="000000">
                    <a:alpha val="99000"/>
                  </a:srgbClr>
                </a:solidFill>
                <a:latin typeface="Segoe UI Light" pitchFamily="34" charset="0"/>
                <a:ea typeface="Segoe UI" pitchFamily="34" charset="0"/>
                <a:cs typeface="Segoe UI" pitchFamily="34" charset="0"/>
              </a:rPr>
              <a:t>Easy</a:t>
            </a:r>
          </a:p>
        </p:txBody>
      </p:sp>
      <p:sp>
        <p:nvSpPr>
          <p:cNvPr id="18" name="Rectangle 17"/>
          <p:cNvSpPr/>
          <p:nvPr/>
        </p:nvSpPr>
        <p:spPr>
          <a:xfrm>
            <a:off x="3590471" y="2607776"/>
            <a:ext cx="2057936" cy="343940"/>
          </a:xfrm>
          <a:prstGeom prst="rect">
            <a:avLst/>
          </a:prstGeom>
        </p:spPr>
        <p:txBody>
          <a:bodyPr wrap="square" lIns="68568" tIns="34285" rIns="68568" bIns="34285" anchor="b" anchorCtr="0">
            <a:spAutoFit/>
          </a:bodyPr>
          <a:lstStyle/>
          <a:p>
            <a:pPr defTabSz="685663">
              <a:lnSpc>
                <a:spcPct val="85000"/>
              </a:lnSpc>
              <a:defRPr/>
            </a:pPr>
            <a:r>
              <a:rPr lang="en-US" sz="2100" kern="0" spc="-53" dirty="0">
                <a:solidFill>
                  <a:srgbClr val="000000">
                    <a:alpha val="99000"/>
                  </a:srgbClr>
                </a:solidFill>
                <a:latin typeface="Segoe UI Light" pitchFamily="34" charset="0"/>
                <a:ea typeface="Segoe UI" pitchFamily="34" charset="0"/>
                <a:cs typeface="Segoe UI" pitchFamily="34" charset="0"/>
              </a:rPr>
              <a:t>Flexible &amp; Open</a:t>
            </a:r>
          </a:p>
        </p:txBody>
      </p:sp>
      <p:sp>
        <p:nvSpPr>
          <p:cNvPr id="19" name="Rectangle 18"/>
          <p:cNvSpPr/>
          <p:nvPr/>
        </p:nvSpPr>
        <p:spPr>
          <a:xfrm>
            <a:off x="5743285" y="2607776"/>
            <a:ext cx="2057936" cy="343940"/>
          </a:xfrm>
          <a:prstGeom prst="rect">
            <a:avLst/>
          </a:prstGeom>
        </p:spPr>
        <p:txBody>
          <a:bodyPr wrap="square" lIns="68568" tIns="34285" rIns="68568" bIns="34285" anchor="b" anchorCtr="0">
            <a:spAutoFit/>
          </a:bodyPr>
          <a:lstStyle/>
          <a:p>
            <a:pPr defTabSz="685663">
              <a:lnSpc>
                <a:spcPct val="85000"/>
              </a:lnSpc>
              <a:defRPr/>
            </a:pPr>
            <a:r>
              <a:rPr lang="en-US" sz="2100" kern="0" spc="-53" dirty="0">
                <a:solidFill>
                  <a:srgbClr val="000000">
                    <a:alpha val="99000"/>
                  </a:srgbClr>
                </a:solidFill>
                <a:latin typeface="Segoe UI Light" pitchFamily="34" charset="0"/>
                <a:ea typeface="Segoe UI" pitchFamily="34" charset="0"/>
                <a:cs typeface="Segoe UI" pitchFamily="34" charset="0"/>
              </a:rPr>
              <a:t>Powerful</a:t>
            </a:r>
          </a:p>
        </p:txBody>
      </p:sp>
      <p:sp>
        <p:nvSpPr>
          <p:cNvPr id="21" name="Rectangle 20"/>
          <p:cNvSpPr/>
          <p:nvPr/>
        </p:nvSpPr>
        <p:spPr bwMode="auto">
          <a:xfrm>
            <a:off x="1382779" y="3062878"/>
            <a:ext cx="2057936" cy="23713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t" anchorCtr="0" compatLnSpc="1">
            <a:prstTxWarp prst="textNoShape">
              <a:avLst/>
            </a:prstTxWarp>
          </a:bodyPr>
          <a:lstStyle/>
          <a:p>
            <a:pPr indent="-107110" defTabSz="685664">
              <a:spcAft>
                <a:spcPts val="600"/>
              </a:spcAft>
              <a:defRPr/>
            </a:pPr>
            <a:r>
              <a:rPr lang="en-US" sz="1100" dirty="0">
                <a:solidFill>
                  <a:srgbClr val="E7B921">
                    <a:alpha val="99000"/>
                  </a:srgbClr>
                </a:solidFill>
              </a:rPr>
              <a:t>Easy</a:t>
            </a:r>
            <a:r>
              <a:rPr lang="en-US" sz="1100" dirty="0">
                <a:solidFill>
                  <a:srgbClr val="80BEE4">
                    <a:alpha val="99000"/>
                  </a:srgbClr>
                </a:solidFill>
              </a:rPr>
              <a:t> to get started, including a free offer of 10 web sites</a:t>
            </a:r>
          </a:p>
          <a:p>
            <a:pPr indent="-107110" defTabSz="685664">
              <a:spcAft>
                <a:spcPts val="600"/>
              </a:spcAft>
              <a:defRPr/>
            </a:pPr>
            <a:r>
              <a:rPr lang="en-US" sz="1100" dirty="0">
                <a:solidFill>
                  <a:srgbClr val="E7B921">
                    <a:alpha val="99000"/>
                  </a:srgbClr>
                </a:solidFill>
              </a:rPr>
              <a:t>Easy</a:t>
            </a:r>
            <a:r>
              <a:rPr lang="en-US" sz="1100" dirty="0">
                <a:solidFill>
                  <a:srgbClr val="80BEE4">
                    <a:alpha val="99000"/>
                  </a:srgbClr>
                </a:solidFill>
              </a:rPr>
              <a:t> to deploy existing sites; if your web site runs on Internet Information Services (IIS) 7, it will run on Windows Azure Web Sites</a:t>
            </a:r>
          </a:p>
        </p:txBody>
      </p:sp>
      <p:sp>
        <p:nvSpPr>
          <p:cNvPr id="23" name="Rectangle 22"/>
          <p:cNvSpPr/>
          <p:nvPr/>
        </p:nvSpPr>
        <p:spPr bwMode="auto">
          <a:xfrm>
            <a:off x="3511491" y="3062878"/>
            <a:ext cx="2368326" cy="23713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t" anchorCtr="0" compatLnSpc="1">
            <a:prstTxWarp prst="textNoShape">
              <a:avLst/>
            </a:prstTxWarp>
          </a:bodyPr>
          <a:lstStyle/>
          <a:p>
            <a:pPr defTabSz="685664">
              <a:spcBef>
                <a:spcPct val="20000"/>
              </a:spcBef>
              <a:spcAft>
                <a:spcPts val="600"/>
              </a:spcAft>
              <a:buSzPct val="80000"/>
            </a:pPr>
            <a:r>
              <a:rPr lang="en-US" sz="1100" dirty="0">
                <a:solidFill>
                  <a:srgbClr val="80BEE4">
                    <a:alpha val="99000"/>
                  </a:srgbClr>
                </a:solidFill>
              </a:rPr>
              <a:t>Support for multiple frameworks (ASP.NET, PHP, Node.js)</a:t>
            </a:r>
          </a:p>
          <a:p>
            <a:pPr defTabSz="685664">
              <a:spcBef>
                <a:spcPct val="20000"/>
              </a:spcBef>
              <a:spcAft>
                <a:spcPts val="600"/>
              </a:spcAft>
              <a:buSzPct val="80000"/>
            </a:pPr>
            <a:r>
              <a:rPr lang="en-US" sz="1100" dirty="0">
                <a:solidFill>
                  <a:srgbClr val="80BEE4">
                    <a:alpha val="99000"/>
                  </a:srgbClr>
                </a:solidFill>
              </a:rPr>
              <a:t>Pick from popular OSS apps </a:t>
            </a:r>
          </a:p>
          <a:p>
            <a:pPr defTabSz="685664">
              <a:spcBef>
                <a:spcPct val="20000"/>
              </a:spcBef>
              <a:spcAft>
                <a:spcPts val="600"/>
              </a:spcAft>
              <a:buSzPct val="80000"/>
            </a:pPr>
            <a:r>
              <a:rPr lang="en-US" sz="1100" dirty="0">
                <a:solidFill>
                  <a:srgbClr val="80BEE4">
                    <a:alpha val="99000"/>
                  </a:srgbClr>
                </a:solidFill>
              </a:rPr>
              <a:t>Pick your DB (SQL Azure, MySQL)</a:t>
            </a:r>
          </a:p>
          <a:p>
            <a:pPr defTabSz="685664">
              <a:spcBef>
                <a:spcPct val="20000"/>
              </a:spcBef>
              <a:spcAft>
                <a:spcPts val="600"/>
              </a:spcAft>
              <a:buSzPct val="80000"/>
            </a:pPr>
            <a:r>
              <a:rPr lang="en-US" sz="1100" dirty="0">
                <a:solidFill>
                  <a:srgbClr val="80BEE4">
                    <a:alpha val="99000"/>
                  </a:srgbClr>
                </a:solidFill>
              </a:rPr>
              <a:t>Choose your tools </a:t>
            </a:r>
            <a:br>
              <a:rPr lang="en-US" sz="1100" dirty="0">
                <a:solidFill>
                  <a:srgbClr val="80BEE4">
                    <a:alpha val="99000"/>
                  </a:srgbClr>
                </a:solidFill>
              </a:rPr>
            </a:br>
            <a:r>
              <a:rPr lang="en-US" sz="1100" dirty="0">
                <a:solidFill>
                  <a:srgbClr val="80BEE4">
                    <a:alpha val="99000"/>
                  </a:srgbClr>
                </a:solidFill>
              </a:rPr>
              <a:t>(Visual Studio, </a:t>
            </a:r>
            <a:r>
              <a:rPr lang="en-US" sz="1100" dirty="0" err="1">
                <a:solidFill>
                  <a:srgbClr val="80BEE4">
                    <a:alpha val="99000"/>
                  </a:srgbClr>
                </a:solidFill>
              </a:rPr>
              <a:t>Git</a:t>
            </a:r>
            <a:r>
              <a:rPr lang="en-US" sz="1100" dirty="0">
                <a:solidFill>
                  <a:srgbClr val="80BEE4">
                    <a:alpha val="99000"/>
                  </a:srgbClr>
                </a:solidFill>
              </a:rPr>
              <a:t>, FTP, </a:t>
            </a:r>
            <a:r>
              <a:rPr lang="en-US" sz="1100" dirty="0" err="1">
                <a:solidFill>
                  <a:srgbClr val="80BEE4">
                    <a:alpha val="99000"/>
                  </a:srgbClr>
                </a:solidFill>
              </a:rPr>
              <a:t>WebMatrix</a:t>
            </a:r>
            <a:r>
              <a:rPr lang="en-US" sz="1100" dirty="0">
                <a:solidFill>
                  <a:srgbClr val="80BEE4">
                    <a:alpha val="99000"/>
                  </a:srgbClr>
                </a:solidFill>
              </a:rPr>
              <a:t>)</a:t>
            </a:r>
          </a:p>
          <a:p>
            <a:pPr defTabSz="685664">
              <a:spcBef>
                <a:spcPct val="20000"/>
              </a:spcBef>
              <a:spcAft>
                <a:spcPts val="600"/>
              </a:spcAft>
              <a:buSzPct val="80000"/>
            </a:pPr>
            <a:r>
              <a:rPr lang="en-US" sz="1100" dirty="0">
                <a:solidFill>
                  <a:srgbClr val="80BEE4">
                    <a:alpha val="99000"/>
                  </a:srgbClr>
                </a:solidFill>
              </a:rPr>
              <a:t>Build on any platform </a:t>
            </a:r>
            <a:br>
              <a:rPr lang="en-US" sz="1100" dirty="0">
                <a:solidFill>
                  <a:srgbClr val="80BEE4">
                    <a:alpha val="99000"/>
                  </a:srgbClr>
                </a:solidFill>
              </a:rPr>
            </a:br>
            <a:r>
              <a:rPr lang="en-US" sz="1100" dirty="0">
                <a:solidFill>
                  <a:srgbClr val="80BEE4">
                    <a:alpha val="99000"/>
                  </a:srgbClr>
                </a:solidFill>
              </a:rPr>
              <a:t>(Windows, Mac, Linux)</a:t>
            </a:r>
          </a:p>
        </p:txBody>
      </p:sp>
      <p:sp>
        <p:nvSpPr>
          <p:cNvPr id="24" name="Rectangle 23"/>
          <p:cNvSpPr/>
          <p:nvPr/>
        </p:nvSpPr>
        <p:spPr bwMode="auto">
          <a:xfrm>
            <a:off x="5689203" y="3062878"/>
            <a:ext cx="2057936" cy="23713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t" anchorCtr="0" compatLnSpc="1">
            <a:prstTxWarp prst="textNoShape">
              <a:avLst/>
            </a:prstTxWarp>
          </a:bodyPr>
          <a:lstStyle/>
          <a:p>
            <a:pPr defTabSz="685664">
              <a:spcBef>
                <a:spcPct val="20000"/>
              </a:spcBef>
              <a:spcAft>
                <a:spcPts val="600"/>
              </a:spcAft>
              <a:buSzPct val="80000"/>
              <a:defRPr/>
            </a:pPr>
            <a:r>
              <a:rPr lang="en-US" sz="1100" dirty="0">
                <a:solidFill>
                  <a:srgbClr val="80BEE4">
                    <a:alpha val="99000"/>
                  </a:srgbClr>
                </a:solidFill>
              </a:rPr>
              <a:t>Near instant deployment</a:t>
            </a:r>
          </a:p>
          <a:p>
            <a:pPr defTabSz="685664">
              <a:spcBef>
                <a:spcPct val="20000"/>
              </a:spcBef>
              <a:spcAft>
                <a:spcPts val="600"/>
              </a:spcAft>
              <a:buSzPct val="80000"/>
              <a:defRPr/>
            </a:pPr>
            <a:r>
              <a:rPr lang="en-US" sz="1100" dirty="0">
                <a:solidFill>
                  <a:srgbClr val="80BEE4">
                    <a:alpha val="99000"/>
                  </a:srgbClr>
                </a:solidFill>
              </a:rPr>
              <a:t>Scale out for greater availability or scale up more compute capacity</a:t>
            </a:r>
          </a:p>
        </p:txBody>
      </p:sp>
      <p:sp>
        <p:nvSpPr>
          <p:cNvPr id="43" name="Freeform 6"/>
          <p:cNvSpPr>
            <a:spLocks noEditPoints="1"/>
          </p:cNvSpPr>
          <p:nvPr/>
        </p:nvSpPr>
        <p:spPr bwMode="auto">
          <a:xfrm>
            <a:off x="1961875" y="1155452"/>
            <a:ext cx="1009515" cy="982889"/>
          </a:xfrm>
          <a:custGeom>
            <a:avLst/>
            <a:gdLst>
              <a:gd name="T0" fmla="*/ 3359 w 4057"/>
              <a:gd name="T1" fmla="*/ 3511 h 3952"/>
              <a:gd name="T2" fmla="*/ 3166 w 4057"/>
              <a:gd name="T3" fmla="*/ 869 h 3952"/>
              <a:gd name="T4" fmla="*/ 2901 w 4057"/>
              <a:gd name="T5" fmla="*/ 1161 h 3952"/>
              <a:gd name="T6" fmla="*/ 2669 w 4057"/>
              <a:gd name="T7" fmla="*/ 1450 h 3952"/>
              <a:gd name="T8" fmla="*/ 2467 w 4057"/>
              <a:gd name="T9" fmla="*/ 1729 h 3952"/>
              <a:gd name="T10" fmla="*/ 2293 w 4057"/>
              <a:gd name="T11" fmla="*/ 1993 h 3952"/>
              <a:gd name="T12" fmla="*/ 2149 w 4057"/>
              <a:gd name="T13" fmla="*/ 2234 h 3952"/>
              <a:gd name="T14" fmla="*/ 2033 w 4057"/>
              <a:gd name="T15" fmla="*/ 2446 h 3952"/>
              <a:gd name="T16" fmla="*/ 1944 w 4057"/>
              <a:gd name="T17" fmla="*/ 2622 h 3952"/>
              <a:gd name="T18" fmla="*/ 1882 w 4057"/>
              <a:gd name="T19" fmla="*/ 2756 h 3952"/>
              <a:gd name="T20" fmla="*/ 1844 w 4057"/>
              <a:gd name="T21" fmla="*/ 2841 h 3952"/>
              <a:gd name="T22" fmla="*/ 1833 w 4057"/>
              <a:gd name="T23" fmla="*/ 2870 h 3952"/>
              <a:gd name="T24" fmla="*/ 1733 w 4057"/>
              <a:gd name="T25" fmla="*/ 3007 h 3952"/>
              <a:gd name="T26" fmla="*/ 1640 w 4057"/>
              <a:gd name="T27" fmla="*/ 3100 h 3952"/>
              <a:gd name="T28" fmla="*/ 1566 w 4057"/>
              <a:gd name="T29" fmla="*/ 3156 h 3952"/>
              <a:gd name="T30" fmla="*/ 1526 w 4057"/>
              <a:gd name="T31" fmla="*/ 3178 h 3952"/>
              <a:gd name="T32" fmla="*/ 1454 w 4057"/>
              <a:gd name="T33" fmla="*/ 3200 h 3952"/>
              <a:gd name="T34" fmla="*/ 1386 w 4057"/>
              <a:gd name="T35" fmla="*/ 3214 h 3952"/>
              <a:gd name="T36" fmla="*/ 1354 w 4057"/>
              <a:gd name="T37" fmla="*/ 3210 h 3952"/>
              <a:gd name="T38" fmla="*/ 1347 w 4057"/>
              <a:gd name="T39" fmla="*/ 3198 h 3952"/>
              <a:gd name="T40" fmla="*/ 1349 w 4057"/>
              <a:gd name="T41" fmla="*/ 3185 h 3952"/>
              <a:gd name="T42" fmla="*/ 1354 w 4057"/>
              <a:gd name="T43" fmla="*/ 3179 h 3952"/>
              <a:gd name="T44" fmla="*/ 1235 w 4057"/>
              <a:gd name="T45" fmla="*/ 2825 h 3952"/>
              <a:gd name="T46" fmla="*/ 1119 w 4057"/>
              <a:gd name="T47" fmla="*/ 2548 h 3952"/>
              <a:gd name="T48" fmla="*/ 1007 w 4057"/>
              <a:gd name="T49" fmla="*/ 2338 h 3952"/>
              <a:gd name="T50" fmla="*/ 905 w 4057"/>
              <a:gd name="T51" fmla="*/ 2187 h 3952"/>
              <a:gd name="T52" fmla="*/ 814 w 4057"/>
              <a:gd name="T53" fmla="*/ 2085 h 3952"/>
              <a:gd name="T54" fmla="*/ 737 w 4057"/>
              <a:gd name="T55" fmla="*/ 2022 h 3952"/>
              <a:gd name="T56" fmla="*/ 678 w 4057"/>
              <a:gd name="T57" fmla="*/ 1990 h 3952"/>
              <a:gd name="T58" fmla="*/ 641 w 4057"/>
              <a:gd name="T59" fmla="*/ 1977 h 3952"/>
              <a:gd name="T60" fmla="*/ 628 w 4057"/>
              <a:gd name="T61" fmla="*/ 1974 h 3952"/>
              <a:gd name="T62" fmla="*/ 756 w 4057"/>
              <a:gd name="T63" fmla="*/ 1825 h 3952"/>
              <a:gd name="T64" fmla="*/ 875 w 4057"/>
              <a:gd name="T65" fmla="*/ 1746 h 3952"/>
              <a:gd name="T66" fmla="*/ 987 w 4057"/>
              <a:gd name="T67" fmla="*/ 1728 h 3952"/>
              <a:gd name="T68" fmla="*/ 1089 w 4057"/>
              <a:gd name="T69" fmla="*/ 1758 h 3952"/>
              <a:gd name="T70" fmla="*/ 1183 w 4057"/>
              <a:gd name="T71" fmla="*/ 1826 h 3952"/>
              <a:gd name="T72" fmla="*/ 1265 w 4057"/>
              <a:gd name="T73" fmla="*/ 1922 h 3952"/>
              <a:gd name="T74" fmla="*/ 1338 w 4057"/>
              <a:gd name="T75" fmla="*/ 2034 h 3952"/>
              <a:gd name="T76" fmla="*/ 1400 w 4057"/>
              <a:gd name="T77" fmla="*/ 2154 h 3952"/>
              <a:gd name="T78" fmla="*/ 1449 w 4057"/>
              <a:gd name="T79" fmla="*/ 2270 h 3952"/>
              <a:gd name="T80" fmla="*/ 1487 w 4057"/>
              <a:gd name="T81" fmla="*/ 2369 h 3952"/>
              <a:gd name="T82" fmla="*/ 1512 w 4057"/>
              <a:gd name="T83" fmla="*/ 2443 h 3952"/>
              <a:gd name="T84" fmla="*/ 1523 w 4057"/>
              <a:gd name="T85" fmla="*/ 2481 h 3952"/>
              <a:gd name="T86" fmla="*/ 1601 w 4057"/>
              <a:gd name="T87" fmla="*/ 2336 h 3952"/>
              <a:gd name="T88" fmla="*/ 1755 w 4057"/>
              <a:gd name="T89" fmla="*/ 2095 h 3952"/>
              <a:gd name="T90" fmla="*/ 1946 w 4057"/>
              <a:gd name="T91" fmla="*/ 1838 h 3952"/>
              <a:gd name="T92" fmla="*/ 2165 w 4057"/>
              <a:gd name="T93" fmla="*/ 1569 h 3952"/>
              <a:gd name="T94" fmla="*/ 2403 w 4057"/>
              <a:gd name="T95" fmla="*/ 1301 h 3952"/>
              <a:gd name="T96" fmla="*/ 2650 w 4057"/>
              <a:gd name="T97" fmla="*/ 1040 h 3952"/>
              <a:gd name="T98" fmla="*/ 2899 w 4057"/>
              <a:gd name="T99" fmla="*/ 791 h 3952"/>
              <a:gd name="T100" fmla="*/ 475 w 4057"/>
              <a:gd name="T101" fmla="*/ 639 h 3952"/>
              <a:gd name="T102" fmla="*/ 4037 w 4057"/>
              <a:gd name="T103" fmla="*/ 6 h 3952"/>
              <a:gd name="T104" fmla="*/ 4056 w 4057"/>
              <a:gd name="T105" fmla="*/ 28 h 3952"/>
              <a:gd name="T106" fmla="*/ 4053 w 4057"/>
              <a:gd name="T107" fmla="*/ 59 h 3952"/>
              <a:gd name="T108" fmla="*/ 4039 w 4057"/>
              <a:gd name="T109" fmla="*/ 92 h 3952"/>
              <a:gd name="T110" fmla="*/ 4023 w 4057"/>
              <a:gd name="T111" fmla="*/ 121 h 3952"/>
              <a:gd name="T112" fmla="*/ 4012 w 4057"/>
              <a:gd name="T113" fmla="*/ 135 h 3952"/>
              <a:gd name="T114" fmla="*/ 3789 w 4057"/>
              <a:gd name="T115" fmla="*/ 303 h 3952"/>
              <a:gd name="T116" fmla="*/ 0 w 4057"/>
              <a:gd name="T117" fmla="*/ 170 h 3952"/>
              <a:gd name="T118" fmla="*/ 3698 w 4057"/>
              <a:gd name="T119" fmla="*/ 113 h 3952"/>
              <a:gd name="T120" fmla="*/ 3799 w 4057"/>
              <a:gd name="T121" fmla="*/ 55 h 3952"/>
              <a:gd name="T122" fmla="*/ 3907 w 4057"/>
              <a:gd name="T123" fmla="*/ 17 h 3952"/>
              <a:gd name="T124" fmla="*/ 3991 w 4057"/>
              <a:gd name="T125" fmla="*/ 0 h 3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57" h="3952">
                <a:moveTo>
                  <a:pt x="475" y="639"/>
                </a:moveTo>
                <a:lnTo>
                  <a:pt x="475" y="3511"/>
                </a:lnTo>
                <a:lnTo>
                  <a:pt x="3359" y="3511"/>
                </a:lnTo>
                <a:lnTo>
                  <a:pt x="3359" y="676"/>
                </a:lnTo>
                <a:lnTo>
                  <a:pt x="3261" y="772"/>
                </a:lnTo>
                <a:lnTo>
                  <a:pt x="3166" y="869"/>
                </a:lnTo>
                <a:lnTo>
                  <a:pt x="3074" y="966"/>
                </a:lnTo>
                <a:lnTo>
                  <a:pt x="2986" y="1063"/>
                </a:lnTo>
                <a:lnTo>
                  <a:pt x="2901" y="1161"/>
                </a:lnTo>
                <a:lnTo>
                  <a:pt x="2821" y="1258"/>
                </a:lnTo>
                <a:lnTo>
                  <a:pt x="2744" y="1354"/>
                </a:lnTo>
                <a:lnTo>
                  <a:pt x="2669" y="1450"/>
                </a:lnTo>
                <a:lnTo>
                  <a:pt x="2598" y="1543"/>
                </a:lnTo>
                <a:lnTo>
                  <a:pt x="2531" y="1637"/>
                </a:lnTo>
                <a:lnTo>
                  <a:pt x="2467" y="1729"/>
                </a:lnTo>
                <a:lnTo>
                  <a:pt x="2405" y="1819"/>
                </a:lnTo>
                <a:lnTo>
                  <a:pt x="2349" y="1906"/>
                </a:lnTo>
                <a:lnTo>
                  <a:pt x="2293" y="1993"/>
                </a:lnTo>
                <a:lnTo>
                  <a:pt x="2243" y="2075"/>
                </a:lnTo>
                <a:lnTo>
                  <a:pt x="2195" y="2156"/>
                </a:lnTo>
                <a:lnTo>
                  <a:pt x="2149" y="2234"/>
                </a:lnTo>
                <a:lnTo>
                  <a:pt x="2107" y="2308"/>
                </a:lnTo>
                <a:lnTo>
                  <a:pt x="2069" y="2378"/>
                </a:lnTo>
                <a:lnTo>
                  <a:pt x="2033" y="2446"/>
                </a:lnTo>
                <a:lnTo>
                  <a:pt x="2000" y="2508"/>
                </a:lnTo>
                <a:lnTo>
                  <a:pt x="1971" y="2567"/>
                </a:lnTo>
                <a:lnTo>
                  <a:pt x="1944" y="2622"/>
                </a:lnTo>
                <a:lnTo>
                  <a:pt x="1920" y="2671"/>
                </a:lnTo>
                <a:lnTo>
                  <a:pt x="1899" y="2716"/>
                </a:lnTo>
                <a:lnTo>
                  <a:pt x="1882" y="2756"/>
                </a:lnTo>
                <a:lnTo>
                  <a:pt x="1866" y="2789"/>
                </a:lnTo>
                <a:lnTo>
                  <a:pt x="1854" y="2818"/>
                </a:lnTo>
                <a:lnTo>
                  <a:pt x="1844" y="2841"/>
                </a:lnTo>
                <a:lnTo>
                  <a:pt x="1838" y="2857"/>
                </a:lnTo>
                <a:lnTo>
                  <a:pt x="1834" y="2866"/>
                </a:lnTo>
                <a:lnTo>
                  <a:pt x="1833" y="2870"/>
                </a:lnTo>
                <a:lnTo>
                  <a:pt x="1800" y="2921"/>
                </a:lnTo>
                <a:lnTo>
                  <a:pt x="1766" y="2966"/>
                </a:lnTo>
                <a:lnTo>
                  <a:pt x="1733" y="3007"/>
                </a:lnTo>
                <a:lnTo>
                  <a:pt x="1701" y="3042"/>
                </a:lnTo>
                <a:lnTo>
                  <a:pt x="1669" y="3073"/>
                </a:lnTo>
                <a:lnTo>
                  <a:pt x="1640" y="3100"/>
                </a:lnTo>
                <a:lnTo>
                  <a:pt x="1612" y="3122"/>
                </a:lnTo>
                <a:lnTo>
                  <a:pt x="1588" y="3141"/>
                </a:lnTo>
                <a:lnTo>
                  <a:pt x="1566" y="3156"/>
                </a:lnTo>
                <a:lnTo>
                  <a:pt x="1548" y="3166"/>
                </a:lnTo>
                <a:lnTo>
                  <a:pt x="1535" y="3173"/>
                </a:lnTo>
                <a:lnTo>
                  <a:pt x="1526" y="3178"/>
                </a:lnTo>
                <a:lnTo>
                  <a:pt x="1524" y="3179"/>
                </a:lnTo>
                <a:lnTo>
                  <a:pt x="1486" y="3191"/>
                </a:lnTo>
                <a:lnTo>
                  <a:pt x="1454" y="3200"/>
                </a:lnTo>
                <a:lnTo>
                  <a:pt x="1427" y="3207"/>
                </a:lnTo>
                <a:lnTo>
                  <a:pt x="1404" y="3211"/>
                </a:lnTo>
                <a:lnTo>
                  <a:pt x="1386" y="3214"/>
                </a:lnTo>
                <a:lnTo>
                  <a:pt x="1372" y="3214"/>
                </a:lnTo>
                <a:lnTo>
                  <a:pt x="1361" y="3212"/>
                </a:lnTo>
                <a:lnTo>
                  <a:pt x="1354" y="3210"/>
                </a:lnTo>
                <a:lnTo>
                  <a:pt x="1349" y="3206"/>
                </a:lnTo>
                <a:lnTo>
                  <a:pt x="1347" y="3202"/>
                </a:lnTo>
                <a:lnTo>
                  <a:pt x="1347" y="3198"/>
                </a:lnTo>
                <a:lnTo>
                  <a:pt x="1347" y="3194"/>
                </a:lnTo>
                <a:lnTo>
                  <a:pt x="1348" y="3189"/>
                </a:lnTo>
                <a:lnTo>
                  <a:pt x="1349" y="3185"/>
                </a:lnTo>
                <a:lnTo>
                  <a:pt x="1352" y="3182"/>
                </a:lnTo>
                <a:lnTo>
                  <a:pt x="1353" y="3180"/>
                </a:lnTo>
                <a:lnTo>
                  <a:pt x="1354" y="3179"/>
                </a:lnTo>
                <a:lnTo>
                  <a:pt x="1313" y="3052"/>
                </a:lnTo>
                <a:lnTo>
                  <a:pt x="1274" y="2934"/>
                </a:lnTo>
                <a:lnTo>
                  <a:pt x="1235" y="2825"/>
                </a:lnTo>
                <a:lnTo>
                  <a:pt x="1196" y="2724"/>
                </a:lnTo>
                <a:lnTo>
                  <a:pt x="1157" y="2631"/>
                </a:lnTo>
                <a:lnTo>
                  <a:pt x="1119" y="2548"/>
                </a:lnTo>
                <a:lnTo>
                  <a:pt x="1081" y="2471"/>
                </a:lnTo>
                <a:lnTo>
                  <a:pt x="1044" y="2401"/>
                </a:lnTo>
                <a:lnTo>
                  <a:pt x="1007" y="2338"/>
                </a:lnTo>
                <a:lnTo>
                  <a:pt x="972" y="2282"/>
                </a:lnTo>
                <a:lnTo>
                  <a:pt x="938" y="2231"/>
                </a:lnTo>
                <a:lnTo>
                  <a:pt x="905" y="2187"/>
                </a:lnTo>
                <a:lnTo>
                  <a:pt x="873" y="2149"/>
                </a:lnTo>
                <a:lnTo>
                  <a:pt x="842" y="2114"/>
                </a:lnTo>
                <a:lnTo>
                  <a:pt x="814" y="2085"/>
                </a:lnTo>
                <a:lnTo>
                  <a:pt x="787" y="2060"/>
                </a:lnTo>
                <a:lnTo>
                  <a:pt x="761" y="2039"/>
                </a:lnTo>
                <a:lnTo>
                  <a:pt x="737" y="2022"/>
                </a:lnTo>
                <a:lnTo>
                  <a:pt x="715" y="2009"/>
                </a:lnTo>
                <a:lnTo>
                  <a:pt x="695" y="1998"/>
                </a:lnTo>
                <a:lnTo>
                  <a:pt x="678" y="1990"/>
                </a:lnTo>
                <a:lnTo>
                  <a:pt x="663" y="1984"/>
                </a:lnTo>
                <a:lnTo>
                  <a:pt x="651" y="1979"/>
                </a:lnTo>
                <a:lnTo>
                  <a:pt x="641" y="1977"/>
                </a:lnTo>
                <a:lnTo>
                  <a:pt x="634" y="1974"/>
                </a:lnTo>
                <a:lnTo>
                  <a:pt x="629" y="1974"/>
                </a:lnTo>
                <a:lnTo>
                  <a:pt x="628" y="1974"/>
                </a:lnTo>
                <a:lnTo>
                  <a:pt x="671" y="1916"/>
                </a:lnTo>
                <a:lnTo>
                  <a:pt x="714" y="1867"/>
                </a:lnTo>
                <a:lnTo>
                  <a:pt x="756" y="1825"/>
                </a:lnTo>
                <a:lnTo>
                  <a:pt x="796" y="1792"/>
                </a:lnTo>
                <a:lnTo>
                  <a:pt x="836" y="1766"/>
                </a:lnTo>
                <a:lnTo>
                  <a:pt x="875" y="1746"/>
                </a:lnTo>
                <a:lnTo>
                  <a:pt x="913" y="1734"/>
                </a:lnTo>
                <a:lnTo>
                  <a:pt x="950" y="1728"/>
                </a:lnTo>
                <a:lnTo>
                  <a:pt x="987" y="1728"/>
                </a:lnTo>
                <a:lnTo>
                  <a:pt x="1022" y="1733"/>
                </a:lnTo>
                <a:lnTo>
                  <a:pt x="1056" y="1743"/>
                </a:lnTo>
                <a:lnTo>
                  <a:pt x="1089" y="1758"/>
                </a:lnTo>
                <a:lnTo>
                  <a:pt x="1121" y="1777"/>
                </a:lnTo>
                <a:lnTo>
                  <a:pt x="1152" y="1799"/>
                </a:lnTo>
                <a:lnTo>
                  <a:pt x="1183" y="1826"/>
                </a:lnTo>
                <a:lnTo>
                  <a:pt x="1211" y="1855"/>
                </a:lnTo>
                <a:lnTo>
                  <a:pt x="1238" y="1888"/>
                </a:lnTo>
                <a:lnTo>
                  <a:pt x="1265" y="1922"/>
                </a:lnTo>
                <a:lnTo>
                  <a:pt x="1291" y="1958"/>
                </a:lnTo>
                <a:lnTo>
                  <a:pt x="1315" y="1996"/>
                </a:lnTo>
                <a:lnTo>
                  <a:pt x="1338" y="2034"/>
                </a:lnTo>
                <a:lnTo>
                  <a:pt x="1360" y="2075"/>
                </a:lnTo>
                <a:lnTo>
                  <a:pt x="1380" y="2114"/>
                </a:lnTo>
                <a:lnTo>
                  <a:pt x="1400" y="2154"/>
                </a:lnTo>
                <a:lnTo>
                  <a:pt x="1417" y="2193"/>
                </a:lnTo>
                <a:lnTo>
                  <a:pt x="1434" y="2233"/>
                </a:lnTo>
                <a:lnTo>
                  <a:pt x="1449" y="2270"/>
                </a:lnTo>
                <a:lnTo>
                  <a:pt x="1462" y="2305"/>
                </a:lnTo>
                <a:lnTo>
                  <a:pt x="1476" y="2338"/>
                </a:lnTo>
                <a:lnTo>
                  <a:pt x="1487" y="2369"/>
                </a:lnTo>
                <a:lnTo>
                  <a:pt x="1496" y="2398"/>
                </a:lnTo>
                <a:lnTo>
                  <a:pt x="1504" y="2422"/>
                </a:lnTo>
                <a:lnTo>
                  <a:pt x="1512" y="2443"/>
                </a:lnTo>
                <a:lnTo>
                  <a:pt x="1516" y="2460"/>
                </a:lnTo>
                <a:lnTo>
                  <a:pt x="1520" y="2474"/>
                </a:lnTo>
                <a:lnTo>
                  <a:pt x="1523" y="2481"/>
                </a:lnTo>
                <a:lnTo>
                  <a:pt x="1524" y="2484"/>
                </a:lnTo>
                <a:lnTo>
                  <a:pt x="1560" y="2412"/>
                </a:lnTo>
                <a:lnTo>
                  <a:pt x="1601" y="2336"/>
                </a:lnTo>
                <a:lnTo>
                  <a:pt x="1648" y="2258"/>
                </a:lnTo>
                <a:lnTo>
                  <a:pt x="1700" y="2178"/>
                </a:lnTo>
                <a:lnTo>
                  <a:pt x="1755" y="2095"/>
                </a:lnTo>
                <a:lnTo>
                  <a:pt x="1816" y="2011"/>
                </a:lnTo>
                <a:lnTo>
                  <a:pt x="1880" y="1925"/>
                </a:lnTo>
                <a:lnTo>
                  <a:pt x="1946" y="1838"/>
                </a:lnTo>
                <a:lnTo>
                  <a:pt x="2016" y="1749"/>
                </a:lnTo>
                <a:lnTo>
                  <a:pt x="2090" y="1659"/>
                </a:lnTo>
                <a:lnTo>
                  <a:pt x="2165" y="1569"/>
                </a:lnTo>
                <a:lnTo>
                  <a:pt x="2243" y="1481"/>
                </a:lnTo>
                <a:lnTo>
                  <a:pt x="2323" y="1391"/>
                </a:lnTo>
                <a:lnTo>
                  <a:pt x="2403" y="1301"/>
                </a:lnTo>
                <a:lnTo>
                  <a:pt x="2485" y="1214"/>
                </a:lnTo>
                <a:lnTo>
                  <a:pt x="2568" y="1126"/>
                </a:lnTo>
                <a:lnTo>
                  <a:pt x="2650" y="1040"/>
                </a:lnTo>
                <a:lnTo>
                  <a:pt x="2734" y="955"/>
                </a:lnTo>
                <a:lnTo>
                  <a:pt x="2816" y="873"/>
                </a:lnTo>
                <a:lnTo>
                  <a:pt x="2899" y="791"/>
                </a:lnTo>
                <a:lnTo>
                  <a:pt x="2980" y="714"/>
                </a:lnTo>
                <a:lnTo>
                  <a:pt x="3060" y="639"/>
                </a:lnTo>
                <a:lnTo>
                  <a:pt x="475" y="639"/>
                </a:lnTo>
                <a:close/>
                <a:moveTo>
                  <a:pt x="4010" y="0"/>
                </a:moveTo>
                <a:lnTo>
                  <a:pt x="4026" y="2"/>
                </a:lnTo>
                <a:lnTo>
                  <a:pt x="4037" y="6"/>
                </a:lnTo>
                <a:lnTo>
                  <a:pt x="4046" y="12"/>
                </a:lnTo>
                <a:lnTo>
                  <a:pt x="4052" y="20"/>
                </a:lnTo>
                <a:lnTo>
                  <a:pt x="4056" y="28"/>
                </a:lnTo>
                <a:lnTo>
                  <a:pt x="4057" y="38"/>
                </a:lnTo>
                <a:lnTo>
                  <a:pt x="4056" y="49"/>
                </a:lnTo>
                <a:lnTo>
                  <a:pt x="4053" y="59"/>
                </a:lnTo>
                <a:lnTo>
                  <a:pt x="4050" y="70"/>
                </a:lnTo>
                <a:lnTo>
                  <a:pt x="4045" y="81"/>
                </a:lnTo>
                <a:lnTo>
                  <a:pt x="4039" y="92"/>
                </a:lnTo>
                <a:lnTo>
                  <a:pt x="4034" y="102"/>
                </a:lnTo>
                <a:lnTo>
                  <a:pt x="4028" y="112"/>
                </a:lnTo>
                <a:lnTo>
                  <a:pt x="4023" y="121"/>
                </a:lnTo>
                <a:lnTo>
                  <a:pt x="4018" y="127"/>
                </a:lnTo>
                <a:lnTo>
                  <a:pt x="4014" y="132"/>
                </a:lnTo>
                <a:lnTo>
                  <a:pt x="4012" y="135"/>
                </a:lnTo>
                <a:lnTo>
                  <a:pt x="4010" y="137"/>
                </a:lnTo>
                <a:lnTo>
                  <a:pt x="3897" y="219"/>
                </a:lnTo>
                <a:lnTo>
                  <a:pt x="3789" y="303"/>
                </a:lnTo>
                <a:lnTo>
                  <a:pt x="3789" y="3952"/>
                </a:lnTo>
                <a:lnTo>
                  <a:pt x="0" y="3952"/>
                </a:lnTo>
                <a:lnTo>
                  <a:pt x="0" y="170"/>
                </a:lnTo>
                <a:lnTo>
                  <a:pt x="3615" y="170"/>
                </a:lnTo>
                <a:lnTo>
                  <a:pt x="3658" y="140"/>
                </a:lnTo>
                <a:lnTo>
                  <a:pt x="3698" y="113"/>
                </a:lnTo>
                <a:lnTo>
                  <a:pt x="3735" y="90"/>
                </a:lnTo>
                <a:lnTo>
                  <a:pt x="3768" y="71"/>
                </a:lnTo>
                <a:lnTo>
                  <a:pt x="3799" y="55"/>
                </a:lnTo>
                <a:lnTo>
                  <a:pt x="3824" y="44"/>
                </a:lnTo>
                <a:lnTo>
                  <a:pt x="3869" y="28"/>
                </a:lnTo>
                <a:lnTo>
                  <a:pt x="3907" y="17"/>
                </a:lnTo>
                <a:lnTo>
                  <a:pt x="3939" y="9"/>
                </a:lnTo>
                <a:lnTo>
                  <a:pt x="3967" y="2"/>
                </a:lnTo>
                <a:lnTo>
                  <a:pt x="3991" y="0"/>
                </a:lnTo>
                <a:lnTo>
                  <a:pt x="4010" y="0"/>
                </a:lnTo>
                <a:close/>
              </a:path>
            </a:pathLst>
          </a:custGeom>
          <a:solidFill>
            <a:schemeClr val="bg1"/>
          </a:solidFill>
          <a:ln w="0">
            <a:noFill/>
            <a:prstDash val="solid"/>
            <a:round/>
            <a:headEnd/>
            <a:tailEnd/>
          </a:ln>
        </p:spPr>
        <p:txBody>
          <a:bodyPr vert="horz" wrap="square" lIns="68568" tIns="34285" rIns="68568" bIns="34285" numCol="1" anchor="t" anchorCtr="0" compatLnSpc="1">
            <a:prstTxWarp prst="textNoShape">
              <a:avLst/>
            </a:prstTxWarp>
          </a:bodyPr>
          <a:lstStyle/>
          <a:p>
            <a:pPr defTabSz="685664"/>
            <a:endParaRPr lang="en-US">
              <a:solidFill>
                <a:srgbClr val="FFFFFF"/>
              </a:solidFill>
            </a:endParaRPr>
          </a:p>
        </p:txBody>
      </p:sp>
      <p:grpSp>
        <p:nvGrpSpPr>
          <p:cNvPr id="44" name="Group 43"/>
          <p:cNvGrpSpPr/>
          <p:nvPr/>
        </p:nvGrpSpPr>
        <p:grpSpPr>
          <a:xfrm>
            <a:off x="6216716" y="1064936"/>
            <a:ext cx="1111074" cy="1163921"/>
            <a:chOff x="11671302" y="671513"/>
            <a:chExt cx="4845051" cy="5076825"/>
          </a:xfrm>
          <a:solidFill>
            <a:schemeClr val="bg1"/>
          </a:solidFill>
        </p:grpSpPr>
        <p:sp>
          <p:nvSpPr>
            <p:cNvPr id="45" name="Freeform 11"/>
            <p:cNvSpPr>
              <a:spLocks/>
            </p:cNvSpPr>
            <p:nvPr/>
          </p:nvSpPr>
          <p:spPr bwMode="auto">
            <a:xfrm>
              <a:off x="12395202" y="4418013"/>
              <a:ext cx="3892550" cy="1330325"/>
            </a:xfrm>
            <a:custGeom>
              <a:avLst/>
              <a:gdLst>
                <a:gd name="T0" fmla="*/ 1475 w 4904"/>
                <a:gd name="T1" fmla="*/ 45 h 1677"/>
                <a:gd name="T2" fmla="*/ 1787 w 4904"/>
                <a:gd name="T3" fmla="*/ 128 h 1677"/>
                <a:gd name="T4" fmla="*/ 2070 w 4904"/>
                <a:gd name="T5" fmla="*/ 154 h 1677"/>
                <a:gd name="T6" fmla="*/ 2373 w 4904"/>
                <a:gd name="T7" fmla="*/ 123 h 1677"/>
                <a:gd name="T8" fmla="*/ 2586 w 4904"/>
                <a:gd name="T9" fmla="*/ 76 h 1677"/>
                <a:gd name="T10" fmla="*/ 2844 w 4904"/>
                <a:gd name="T11" fmla="*/ 41 h 1677"/>
                <a:gd name="T12" fmla="*/ 3113 w 4904"/>
                <a:gd name="T13" fmla="*/ 72 h 1677"/>
                <a:gd name="T14" fmla="*/ 3295 w 4904"/>
                <a:gd name="T15" fmla="*/ 187 h 1677"/>
                <a:gd name="T16" fmla="*/ 3328 w 4904"/>
                <a:gd name="T17" fmla="*/ 328 h 1677"/>
                <a:gd name="T18" fmla="*/ 3210 w 4904"/>
                <a:gd name="T19" fmla="*/ 456 h 1677"/>
                <a:gd name="T20" fmla="*/ 3028 w 4904"/>
                <a:gd name="T21" fmla="*/ 537 h 1677"/>
                <a:gd name="T22" fmla="*/ 2822 w 4904"/>
                <a:gd name="T23" fmla="*/ 545 h 1677"/>
                <a:gd name="T24" fmla="*/ 2704 w 4904"/>
                <a:gd name="T25" fmla="*/ 535 h 1677"/>
                <a:gd name="T26" fmla="*/ 2572 w 4904"/>
                <a:gd name="T27" fmla="*/ 528 h 1677"/>
                <a:gd name="T28" fmla="*/ 2322 w 4904"/>
                <a:gd name="T29" fmla="*/ 532 h 1677"/>
                <a:gd name="T30" fmla="*/ 2138 w 4904"/>
                <a:gd name="T31" fmla="*/ 563 h 1677"/>
                <a:gd name="T32" fmla="*/ 2004 w 4904"/>
                <a:gd name="T33" fmla="*/ 623 h 1677"/>
                <a:gd name="T34" fmla="*/ 1942 w 4904"/>
                <a:gd name="T35" fmla="*/ 702 h 1677"/>
                <a:gd name="T36" fmla="*/ 2171 w 4904"/>
                <a:gd name="T37" fmla="*/ 793 h 1677"/>
                <a:gd name="T38" fmla="*/ 2437 w 4904"/>
                <a:gd name="T39" fmla="*/ 931 h 1677"/>
                <a:gd name="T40" fmla="*/ 2981 w 4904"/>
                <a:gd name="T41" fmla="*/ 964 h 1677"/>
                <a:gd name="T42" fmla="*/ 3478 w 4904"/>
                <a:gd name="T43" fmla="*/ 977 h 1677"/>
                <a:gd name="T44" fmla="*/ 3708 w 4904"/>
                <a:gd name="T45" fmla="*/ 892 h 1677"/>
                <a:gd name="T46" fmla="*/ 3955 w 4904"/>
                <a:gd name="T47" fmla="*/ 828 h 1677"/>
                <a:gd name="T48" fmla="*/ 4187 w 4904"/>
                <a:gd name="T49" fmla="*/ 698 h 1677"/>
                <a:gd name="T50" fmla="*/ 4416 w 4904"/>
                <a:gd name="T51" fmla="*/ 549 h 1677"/>
                <a:gd name="T52" fmla="*/ 4652 w 4904"/>
                <a:gd name="T53" fmla="*/ 508 h 1677"/>
                <a:gd name="T54" fmla="*/ 4780 w 4904"/>
                <a:gd name="T55" fmla="*/ 563 h 1677"/>
                <a:gd name="T56" fmla="*/ 4877 w 4904"/>
                <a:gd name="T57" fmla="*/ 638 h 1677"/>
                <a:gd name="T58" fmla="*/ 4904 w 4904"/>
                <a:gd name="T59" fmla="*/ 663 h 1677"/>
                <a:gd name="T60" fmla="*/ 4881 w 4904"/>
                <a:gd name="T61" fmla="*/ 683 h 1677"/>
                <a:gd name="T62" fmla="*/ 4798 w 4904"/>
                <a:gd name="T63" fmla="*/ 747 h 1677"/>
                <a:gd name="T64" fmla="*/ 4670 w 4904"/>
                <a:gd name="T65" fmla="*/ 844 h 1677"/>
                <a:gd name="T66" fmla="*/ 4633 w 4904"/>
                <a:gd name="T67" fmla="*/ 902 h 1677"/>
                <a:gd name="T68" fmla="*/ 4528 w 4904"/>
                <a:gd name="T69" fmla="*/ 989 h 1677"/>
                <a:gd name="T70" fmla="*/ 4315 w 4904"/>
                <a:gd name="T71" fmla="*/ 1173 h 1677"/>
                <a:gd name="T72" fmla="*/ 4084 w 4904"/>
                <a:gd name="T73" fmla="*/ 1270 h 1677"/>
                <a:gd name="T74" fmla="*/ 3819 w 4904"/>
                <a:gd name="T75" fmla="*/ 1377 h 1677"/>
                <a:gd name="T76" fmla="*/ 3577 w 4904"/>
                <a:gd name="T77" fmla="*/ 1495 h 1677"/>
                <a:gd name="T78" fmla="*/ 3199 w 4904"/>
                <a:gd name="T79" fmla="*/ 1528 h 1677"/>
                <a:gd name="T80" fmla="*/ 2708 w 4904"/>
                <a:gd name="T81" fmla="*/ 1598 h 1677"/>
                <a:gd name="T82" fmla="*/ 2318 w 4904"/>
                <a:gd name="T83" fmla="*/ 1669 h 1677"/>
                <a:gd name="T84" fmla="*/ 2148 w 4904"/>
                <a:gd name="T85" fmla="*/ 1652 h 1677"/>
                <a:gd name="T86" fmla="*/ 1985 w 4904"/>
                <a:gd name="T87" fmla="*/ 1640 h 1677"/>
                <a:gd name="T88" fmla="*/ 1805 w 4904"/>
                <a:gd name="T89" fmla="*/ 1625 h 1677"/>
                <a:gd name="T90" fmla="*/ 1578 w 4904"/>
                <a:gd name="T91" fmla="*/ 1596 h 1677"/>
                <a:gd name="T92" fmla="*/ 1274 w 4904"/>
                <a:gd name="T93" fmla="*/ 1545 h 1677"/>
                <a:gd name="T94" fmla="*/ 867 w 4904"/>
                <a:gd name="T95" fmla="*/ 1460 h 1677"/>
                <a:gd name="T96" fmla="*/ 328 w 4904"/>
                <a:gd name="T97" fmla="*/ 1332 h 1677"/>
                <a:gd name="T98" fmla="*/ 0 w 4904"/>
                <a:gd name="T99" fmla="*/ 1220 h 1677"/>
                <a:gd name="T100" fmla="*/ 0 w 4904"/>
                <a:gd name="T101" fmla="*/ 559 h 1677"/>
                <a:gd name="T102" fmla="*/ 68 w 4904"/>
                <a:gd name="T103" fmla="*/ 353 h 1677"/>
                <a:gd name="T104" fmla="*/ 289 w 4904"/>
                <a:gd name="T105" fmla="*/ 249 h 1677"/>
                <a:gd name="T106" fmla="*/ 487 w 4904"/>
                <a:gd name="T107" fmla="*/ 130 h 1677"/>
                <a:gd name="T108" fmla="*/ 737 w 4904"/>
                <a:gd name="T109" fmla="*/ 35 h 1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904" h="1677">
                  <a:moveTo>
                    <a:pt x="1082" y="0"/>
                  </a:moveTo>
                  <a:lnTo>
                    <a:pt x="1212" y="6"/>
                  </a:lnTo>
                  <a:lnTo>
                    <a:pt x="1343" y="20"/>
                  </a:lnTo>
                  <a:lnTo>
                    <a:pt x="1475" y="45"/>
                  </a:lnTo>
                  <a:lnTo>
                    <a:pt x="1609" y="80"/>
                  </a:lnTo>
                  <a:lnTo>
                    <a:pt x="1667" y="97"/>
                  </a:lnTo>
                  <a:lnTo>
                    <a:pt x="1727" y="115"/>
                  </a:lnTo>
                  <a:lnTo>
                    <a:pt x="1787" y="128"/>
                  </a:lnTo>
                  <a:lnTo>
                    <a:pt x="1851" y="140"/>
                  </a:lnTo>
                  <a:lnTo>
                    <a:pt x="1919" y="148"/>
                  </a:lnTo>
                  <a:lnTo>
                    <a:pt x="1993" y="154"/>
                  </a:lnTo>
                  <a:lnTo>
                    <a:pt x="2070" y="154"/>
                  </a:lnTo>
                  <a:lnTo>
                    <a:pt x="2156" y="148"/>
                  </a:lnTo>
                  <a:lnTo>
                    <a:pt x="2249" y="138"/>
                  </a:lnTo>
                  <a:lnTo>
                    <a:pt x="2315" y="130"/>
                  </a:lnTo>
                  <a:lnTo>
                    <a:pt x="2373" y="123"/>
                  </a:lnTo>
                  <a:lnTo>
                    <a:pt x="2429" y="111"/>
                  </a:lnTo>
                  <a:lnTo>
                    <a:pt x="2481" y="99"/>
                  </a:lnTo>
                  <a:lnTo>
                    <a:pt x="2534" y="88"/>
                  </a:lnTo>
                  <a:lnTo>
                    <a:pt x="2586" y="76"/>
                  </a:lnTo>
                  <a:lnTo>
                    <a:pt x="2642" y="64"/>
                  </a:lnTo>
                  <a:lnTo>
                    <a:pt x="2702" y="55"/>
                  </a:lnTo>
                  <a:lnTo>
                    <a:pt x="2768" y="47"/>
                  </a:lnTo>
                  <a:lnTo>
                    <a:pt x="2844" y="41"/>
                  </a:lnTo>
                  <a:lnTo>
                    <a:pt x="2927" y="41"/>
                  </a:lnTo>
                  <a:lnTo>
                    <a:pt x="2991" y="45"/>
                  </a:lnTo>
                  <a:lnTo>
                    <a:pt x="3053" y="55"/>
                  </a:lnTo>
                  <a:lnTo>
                    <a:pt x="3113" y="72"/>
                  </a:lnTo>
                  <a:lnTo>
                    <a:pt x="3168" y="95"/>
                  </a:lnTo>
                  <a:lnTo>
                    <a:pt x="3218" y="123"/>
                  </a:lnTo>
                  <a:lnTo>
                    <a:pt x="3261" y="154"/>
                  </a:lnTo>
                  <a:lnTo>
                    <a:pt x="3295" y="187"/>
                  </a:lnTo>
                  <a:lnTo>
                    <a:pt x="3321" y="221"/>
                  </a:lnTo>
                  <a:lnTo>
                    <a:pt x="3334" y="258"/>
                  </a:lnTo>
                  <a:lnTo>
                    <a:pt x="3334" y="293"/>
                  </a:lnTo>
                  <a:lnTo>
                    <a:pt x="3328" y="328"/>
                  </a:lnTo>
                  <a:lnTo>
                    <a:pt x="3311" y="363"/>
                  </a:lnTo>
                  <a:lnTo>
                    <a:pt x="3284" y="396"/>
                  </a:lnTo>
                  <a:lnTo>
                    <a:pt x="3251" y="427"/>
                  </a:lnTo>
                  <a:lnTo>
                    <a:pt x="3210" y="456"/>
                  </a:lnTo>
                  <a:lnTo>
                    <a:pt x="3168" y="483"/>
                  </a:lnTo>
                  <a:lnTo>
                    <a:pt x="3121" y="506"/>
                  </a:lnTo>
                  <a:lnTo>
                    <a:pt x="3074" y="524"/>
                  </a:lnTo>
                  <a:lnTo>
                    <a:pt x="3028" y="537"/>
                  </a:lnTo>
                  <a:lnTo>
                    <a:pt x="2985" y="547"/>
                  </a:lnTo>
                  <a:lnTo>
                    <a:pt x="2921" y="547"/>
                  </a:lnTo>
                  <a:lnTo>
                    <a:pt x="2867" y="545"/>
                  </a:lnTo>
                  <a:lnTo>
                    <a:pt x="2822" y="545"/>
                  </a:lnTo>
                  <a:lnTo>
                    <a:pt x="2788" y="543"/>
                  </a:lnTo>
                  <a:lnTo>
                    <a:pt x="2757" y="541"/>
                  </a:lnTo>
                  <a:lnTo>
                    <a:pt x="2729" y="537"/>
                  </a:lnTo>
                  <a:lnTo>
                    <a:pt x="2704" y="535"/>
                  </a:lnTo>
                  <a:lnTo>
                    <a:pt x="2677" y="533"/>
                  </a:lnTo>
                  <a:lnTo>
                    <a:pt x="2648" y="532"/>
                  </a:lnTo>
                  <a:lnTo>
                    <a:pt x="2613" y="530"/>
                  </a:lnTo>
                  <a:lnTo>
                    <a:pt x="2572" y="528"/>
                  </a:lnTo>
                  <a:lnTo>
                    <a:pt x="2524" y="528"/>
                  </a:lnTo>
                  <a:lnTo>
                    <a:pt x="2462" y="528"/>
                  </a:lnTo>
                  <a:lnTo>
                    <a:pt x="2386" y="528"/>
                  </a:lnTo>
                  <a:lnTo>
                    <a:pt x="2322" y="532"/>
                  </a:lnTo>
                  <a:lnTo>
                    <a:pt x="2266" y="537"/>
                  </a:lnTo>
                  <a:lnTo>
                    <a:pt x="2218" y="543"/>
                  </a:lnTo>
                  <a:lnTo>
                    <a:pt x="2177" y="553"/>
                  </a:lnTo>
                  <a:lnTo>
                    <a:pt x="2138" y="563"/>
                  </a:lnTo>
                  <a:lnTo>
                    <a:pt x="2103" y="574"/>
                  </a:lnTo>
                  <a:lnTo>
                    <a:pt x="2070" y="590"/>
                  </a:lnTo>
                  <a:lnTo>
                    <a:pt x="2037" y="605"/>
                  </a:lnTo>
                  <a:lnTo>
                    <a:pt x="2004" y="623"/>
                  </a:lnTo>
                  <a:lnTo>
                    <a:pt x="1968" y="642"/>
                  </a:lnTo>
                  <a:lnTo>
                    <a:pt x="1927" y="661"/>
                  </a:lnTo>
                  <a:lnTo>
                    <a:pt x="1880" y="683"/>
                  </a:lnTo>
                  <a:lnTo>
                    <a:pt x="1942" y="702"/>
                  </a:lnTo>
                  <a:lnTo>
                    <a:pt x="2001" y="721"/>
                  </a:lnTo>
                  <a:lnTo>
                    <a:pt x="2059" y="743"/>
                  </a:lnTo>
                  <a:lnTo>
                    <a:pt x="2115" y="766"/>
                  </a:lnTo>
                  <a:lnTo>
                    <a:pt x="2171" y="793"/>
                  </a:lnTo>
                  <a:lnTo>
                    <a:pt x="2231" y="822"/>
                  </a:lnTo>
                  <a:lnTo>
                    <a:pt x="2293" y="855"/>
                  </a:lnTo>
                  <a:lnTo>
                    <a:pt x="2363" y="890"/>
                  </a:lnTo>
                  <a:lnTo>
                    <a:pt x="2437" y="931"/>
                  </a:lnTo>
                  <a:lnTo>
                    <a:pt x="2520" y="975"/>
                  </a:lnTo>
                  <a:lnTo>
                    <a:pt x="2675" y="962"/>
                  </a:lnTo>
                  <a:lnTo>
                    <a:pt x="2828" y="960"/>
                  </a:lnTo>
                  <a:lnTo>
                    <a:pt x="2981" y="964"/>
                  </a:lnTo>
                  <a:lnTo>
                    <a:pt x="3129" y="973"/>
                  </a:lnTo>
                  <a:lnTo>
                    <a:pt x="3274" y="985"/>
                  </a:lnTo>
                  <a:lnTo>
                    <a:pt x="3412" y="995"/>
                  </a:lnTo>
                  <a:lnTo>
                    <a:pt x="3478" y="977"/>
                  </a:lnTo>
                  <a:lnTo>
                    <a:pt x="3540" y="956"/>
                  </a:lnTo>
                  <a:lnTo>
                    <a:pt x="3598" y="935"/>
                  </a:lnTo>
                  <a:lnTo>
                    <a:pt x="3652" y="913"/>
                  </a:lnTo>
                  <a:lnTo>
                    <a:pt x="3708" y="892"/>
                  </a:lnTo>
                  <a:lnTo>
                    <a:pt x="3765" y="873"/>
                  </a:lnTo>
                  <a:lnTo>
                    <a:pt x="3823" y="855"/>
                  </a:lnTo>
                  <a:lnTo>
                    <a:pt x="3887" y="840"/>
                  </a:lnTo>
                  <a:lnTo>
                    <a:pt x="3955" y="828"/>
                  </a:lnTo>
                  <a:lnTo>
                    <a:pt x="4032" y="820"/>
                  </a:lnTo>
                  <a:lnTo>
                    <a:pt x="4081" y="782"/>
                  </a:lnTo>
                  <a:lnTo>
                    <a:pt x="4133" y="739"/>
                  </a:lnTo>
                  <a:lnTo>
                    <a:pt x="4187" y="698"/>
                  </a:lnTo>
                  <a:lnTo>
                    <a:pt x="4241" y="656"/>
                  </a:lnTo>
                  <a:lnTo>
                    <a:pt x="4300" y="617"/>
                  </a:lnTo>
                  <a:lnTo>
                    <a:pt x="4358" y="580"/>
                  </a:lnTo>
                  <a:lnTo>
                    <a:pt x="4416" y="549"/>
                  </a:lnTo>
                  <a:lnTo>
                    <a:pt x="4476" y="526"/>
                  </a:lnTo>
                  <a:lnTo>
                    <a:pt x="4534" y="510"/>
                  </a:lnTo>
                  <a:lnTo>
                    <a:pt x="4594" y="502"/>
                  </a:lnTo>
                  <a:lnTo>
                    <a:pt x="4652" y="508"/>
                  </a:lnTo>
                  <a:lnTo>
                    <a:pt x="4685" y="516"/>
                  </a:lnTo>
                  <a:lnTo>
                    <a:pt x="4716" y="528"/>
                  </a:lnTo>
                  <a:lnTo>
                    <a:pt x="4749" y="545"/>
                  </a:lnTo>
                  <a:lnTo>
                    <a:pt x="4780" y="563"/>
                  </a:lnTo>
                  <a:lnTo>
                    <a:pt x="4809" y="584"/>
                  </a:lnTo>
                  <a:lnTo>
                    <a:pt x="4835" y="603"/>
                  </a:lnTo>
                  <a:lnTo>
                    <a:pt x="4858" y="623"/>
                  </a:lnTo>
                  <a:lnTo>
                    <a:pt x="4877" y="638"/>
                  </a:lnTo>
                  <a:lnTo>
                    <a:pt x="4893" y="652"/>
                  </a:lnTo>
                  <a:lnTo>
                    <a:pt x="4900" y="661"/>
                  </a:lnTo>
                  <a:lnTo>
                    <a:pt x="4904" y="663"/>
                  </a:lnTo>
                  <a:lnTo>
                    <a:pt x="4904" y="663"/>
                  </a:lnTo>
                  <a:lnTo>
                    <a:pt x="4902" y="665"/>
                  </a:lnTo>
                  <a:lnTo>
                    <a:pt x="4899" y="669"/>
                  </a:lnTo>
                  <a:lnTo>
                    <a:pt x="4891" y="675"/>
                  </a:lnTo>
                  <a:lnTo>
                    <a:pt x="4881" y="683"/>
                  </a:lnTo>
                  <a:lnTo>
                    <a:pt x="4868" y="692"/>
                  </a:lnTo>
                  <a:lnTo>
                    <a:pt x="4850" y="706"/>
                  </a:lnTo>
                  <a:lnTo>
                    <a:pt x="4827" y="723"/>
                  </a:lnTo>
                  <a:lnTo>
                    <a:pt x="4798" y="747"/>
                  </a:lnTo>
                  <a:lnTo>
                    <a:pt x="4763" y="772"/>
                  </a:lnTo>
                  <a:lnTo>
                    <a:pt x="4722" y="803"/>
                  </a:lnTo>
                  <a:lnTo>
                    <a:pt x="4672" y="840"/>
                  </a:lnTo>
                  <a:lnTo>
                    <a:pt x="4670" y="844"/>
                  </a:lnTo>
                  <a:lnTo>
                    <a:pt x="4664" y="855"/>
                  </a:lnTo>
                  <a:lnTo>
                    <a:pt x="4654" y="871"/>
                  </a:lnTo>
                  <a:lnTo>
                    <a:pt x="4645" y="886"/>
                  </a:lnTo>
                  <a:lnTo>
                    <a:pt x="4633" y="902"/>
                  </a:lnTo>
                  <a:lnTo>
                    <a:pt x="4623" y="913"/>
                  </a:lnTo>
                  <a:lnTo>
                    <a:pt x="4614" y="917"/>
                  </a:lnTo>
                  <a:lnTo>
                    <a:pt x="4573" y="952"/>
                  </a:lnTo>
                  <a:lnTo>
                    <a:pt x="4528" y="989"/>
                  </a:lnTo>
                  <a:lnTo>
                    <a:pt x="4484" y="1030"/>
                  </a:lnTo>
                  <a:lnTo>
                    <a:pt x="4433" y="1074"/>
                  </a:lnTo>
                  <a:lnTo>
                    <a:pt x="4377" y="1121"/>
                  </a:lnTo>
                  <a:lnTo>
                    <a:pt x="4315" y="1173"/>
                  </a:lnTo>
                  <a:lnTo>
                    <a:pt x="4245" y="1229"/>
                  </a:lnTo>
                  <a:lnTo>
                    <a:pt x="4199" y="1237"/>
                  </a:lnTo>
                  <a:lnTo>
                    <a:pt x="4144" y="1251"/>
                  </a:lnTo>
                  <a:lnTo>
                    <a:pt x="4084" y="1270"/>
                  </a:lnTo>
                  <a:lnTo>
                    <a:pt x="4020" y="1291"/>
                  </a:lnTo>
                  <a:lnTo>
                    <a:pt x="3955" y="1318"/>
                  </a:lnTo>
                  <a:lnTo>
                    <a:pt x="3887" y="1346"/>
                  </a:lnTo>
                  <a:lnTo>
                    <a:pt x="3819" y="1377"/>
                  </a:lnTo>
                  <a:lnTo>
                    <a:pt x="3753" y="1406"/>
                  </a:lnTo>
                  <a:lnTo>
                    <a:pt x="3689" y="1437"/>
                  </a:lnTo>
                  <a:lnTo>
                    <a:pt x="3629" y="1468"/>
                  </a:lnTo>
                  <a:lnTo>
                    <a:pt x="3577" y="1495"/>
                  </a:lnTo>
                  <a:lnTo>
                    <a:pt x="3528" y="1522"/>
                  </a:lnTo>
                  <a:lnTo>
                    <a:pt x="3425" y="1518"/>
                  </a:lnTo>
                  <a:lnTo>
                    <a:pt x="3315" y="1520"/>
                  </a:lnTo>
                  <a:lnTo>
                    <a:pt x="3199" y="1528"/>
                  </a:lnTo>
                  <a:lnTo>
                    <a:pt x="3076" y="1539"/>
                  </a:lnTo>
                  <a:lnTo>
                    <a:pt x="2954" y="1555"/>
                  </a:lnTo>
                  <a:lnTo>
                    <a:pt x="2830" y="1574"/>
                  </a:lnTo>
                  <a:lnTo>
                    <a:pt x="2708" y="1598"/>
                  </a:lnTo>
                  <a:lnTo>
                    <a:pt x="2588" y="1621"/>
                  </a:lnTo>
                  <a:lnTo>
                    <a:pt x="2474" y="1648"/>
                  </a:lnTo>
                  <a:lnTo>
                    <a:pt x="2365" y="1677"/>
                  </a:lnTo>
                  <a:lnTo>
                    <a:pt x="2318" y="1669"/>
                  </a:lnTo>
                  <a:lnTo>
                    <a:pt x="2272" y="1663"/>
                  </a:lnTo>
                  <a:lnTo>
                    <a:pt x="2229" y="1660"/>
                  </a:lnTo>
                  <a:lnTo>
                    <a:pt x="2189" y="1656"/>
                  </a:lnTo>
                  <a:lnTo>
                    <a:pt x="2148" y="1652"/>
                  </a:lnTo>
                  <a:lnTo>
                    <a:pt x="2107" y="1648"/>
                  </a:lnTo>
                  <a:lnTo>
                    <a:pt x="2066" y="1646"/>
                  </a:lnTo>
                  <a:lnTo>
                    <a:pt x="2026" y="1642"/>
                  </a:lnTo>
                  <a:lnTo>
                    <a:pt x="1985" y="1640"/>
                  </a:lnTo>
                  <a:lnTo>
                    <a:pt x="1942" y="1636"/>
                  </a:lnTo>
                  <a:lnTo>
                    <a:pt x="1900" y="1632"/>
                  </a:lnTo>
                  <a:lnTo>
                    <a:pt x="1853" y="1629"/>
                  </a:lnTo>
                  <a:lnTo>
                    <a:pt x="1805" y="1625"/>
                  </a:lnTo>
                  <a:lnTo>
                    <a:pt x="1754" y="1619"/>
                  </a:lnTo>
                  <a:lnTo>
                    <a:pt x="1698" y="1613"/>
                  </a:lnTo>
                  <a:lnTo>
                    <a:pt x="1640" y="1605"/>
                  </a:lnTo>
                  <a:lnTo>
                    <a:pt x="1578" y="1596"/>
                  </a:lnTo>
                  <a:lnTo>
                    <a:pt x="1510" y="1586"/>
                  </a:lnTo>
                  <a:lnTo>
                    <a:pt x="1437" y="1574"/>
                  </a:lnTo>
                  <a:lnTo>
                    <a:pt x="1359" y="1561"/>
                  </a:lnTo>
                  <a:lnTo>
                    <a:pt x="1274" y="1545"/>
                  </a:lnTo>
                  <a:lnTo>
                    <a:pt x="1183" y="1528"/>
                  </a:lnTo>
                  <a:lnTo>
                    <a:pt x="1086" y="1506"/>
                  </a:lnTo>
                  <a:lnTo>
                    <a:pt x="981" y="1485"/>
                  </a:lnTo>
                  <a:lnTo>
                    <a:pt x="867" y="1460"/>
                  </a:lnTo>
                  <a:lnTo>
                    <a:pt x="746" y="1433"/>
                  </a:lnTo>
                  <a:lnTo>
                    <a:pt x="617" y="1402"/>
                  </a:lnTo>
                  <a:lnTo>
                    <a:pt x="477" y="1369"/>
                  </a:lnTo>
                  <a:lnTo>
                    <a:pt x="328" y="1332"/>
                  </a:lnTo>
                  <a:lnTo>
                    <a:pt x="169" y="1291"/>
                  </a:lnTo>
                  <a:lnTo>
                    <a:pt x="0" y="1249"/>
                  </a:lnTo>
                  <a:lnTo>
                    <a:pt x="0" y="1241"/>
                  </a:lnTo>
                  <a:lnTo>
                    <a:pt x="0" y="1220"/>
                  </a:lnTo>
                  <a:lnTo>
                    <a:pt x="0" y="1189"/>
                  </a:lnTo>
                  <a:lnTo>
                    <a:pt x="0" y="690"/>
                  </a:lnTo>
                  <a:lnTo>
                    <a:pt x="0" y="623"/>
                  </a:lnTo>
                  <a:lnTo>
                    <a:pt x="0" y="559"/>
                  </a:lnTo>
                  <a:lnTo>
                    <a:pt x="0" y="501"/>
                  </a:lnTo>
                  <a:lnTo>
                    <a:pt x="0" y="404"/>
                  </a:lnTo>
                  <a:lnTo>
                    <a:pt x="0" y="371"/>
                  </a:lnTo>
                  <a:lnTo>
                    <a:pt x="68" y="353"/>
                  </a:lnTo>
                  <a:lnTo>
                    <a:pt x="130" y="330"/>
                  </a:lnTo>
                  <a:lnTo>
                    <a:pt x="186" y="305"/>
                  </a:lnTo>
                  <a:lnTo>
                    <a:pt x="239" y="278"/>
                  </a:lnTo>
                  <a:lnTo>
                    <a:pt x="289" y="249"/>
                  </a:lnTo>
                  <a:lnTo>
                    <a:pt x="337" y="219"/>
                  </a:lnTo>
                  <a:lnTo>
                    <a:pt x="386" y="188"/>
                  </a:lnTo>
                  <a:lnTo>
                    <a:pt x="434" y="159"/>
                  </a:lnTo>
                  <a:lnTo>
                    <a:pt x="487" y="130"/>
                  </a:lnTo>
                  <a:lnTo>
                    <a:pt x="541" y="101"/>
                  </a:lnTo>
                  <a:lnTo>
                    <a:pt x="601" y="76"/>
                  </a:lnTo>
                  <a:lnTo>
                    <a:pt x="665" y="55"/>
                  </a:lnTo>
                  <a:lnTo>
                    <a:pt x="737" y="35"/>
                  </a:lnTo>
                  <a:lnTo>
                    <a:pt x="814" y="20"/>
                  </a:lnTo>
                  <a:lnTo>
                    <a:pt x="948" y="6"/>
                  </a:lnTo>
                  <a:lnTo>
                    <a:pt x="108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664"/>
              <a:endParaRPr lang="en-US">
                <a:solidFill>
                  <a:srgbClr val="FFFFFF"/>
                </a:solidFill>
              </a:endParaRPr>
            </a:p>
          </p:txBody>
        </p:sp>
        <p:sp>
          <p:nvSpPr>
            <p:cNvPr id="46" name="Freeform 12"/>
            <p:cNvSpPr>
              <a:spLocks/>
            </p:cNvSpPr>
            <p:nvPr/>
          </p:nvSpPr>
          <p:spPr bwMode="auto">
            <a:xfrm>
              <a:off x="11671302" y="4511676"/>
              <a:ext cx="600075" cy="1035050"/>
            </a:xfrm>
            <a:custGeom>
              <a:avLst/>
              <a:gdLst>
                <a:gd name="T0" fmla="*/ 0 w 756"/>
                <a:gd name="T1" fmla="*/ 0 h 1304"/>
                <a:gd name="T2" fmla="*/ 659 w 756"/>
                <a:gd name="T3" fmla="*/ 0 h 1304"/>
                <a:gd name="T4" fmla="*/ 692 w 756"/>
                <a:gd name="T5" fmla="*/ 4 h 1304"/>
                <a:gd name="T6" fmla="*/ 719 w 756"/>
                <a:gd name="T7" fmla="*/ 15 h 1304"/>
                <a:gd name="T8" fmla="*/ 739 w 756"/>
                <a:gd name="T9" fmla="*/ 33 h 1304"/>
                <a:gd name="T10" fmla="*/ 752 w 756"/>
                <a:gd name="T11" fmla="*/ 54 h 1304"/>
                <a:gd name="T12" fmla="*/ 756 w 756"/>
                <a:gd name="T13" fmla="*/ 77 h 1304"/>
                <a:gd name="T14" fmla="*/ 756 w 756"/>
                <a:gd name="T15" fmla="*/ 93 h 1304"/>
                <a:gd name="T16" fmla="*/ 756 w 756"/>
                <a:gd name="T17" fmla="*/ 104 h 1304"/>
                <a:gd name="T18" fmla="*/ 756 w 756"/>
                <a:gd name="T19" fmla="*/ 120 h 1304"/>
                <a:gd name="T20" fmla="*/ 756 w 756"/>
                <a:gd name="T21" fmla="*/ 199 h 1304"/>
                <a:gd name="T22" fmla="*/ 756 w 756"/>
                <a:gd name="T23" fmla="*/ 240 h 1304"/>
                <a:gd name="T24" fmla="*/ 756 w 756"/>
                <a:gd name="T25" fmla="*/ 288 h 1304"/>
                <a:gd name="T26" fmla="*/ 756 w 756"/>
                <a:gd name="T27" fmla="*/ 1207 h 1304"/>
                <a:gd name="T28" fmla="*/ 752 w 756"/>
                <a:gd name="T29" fmla="*/ 1240 h 1304"/>
                <a:gd name="T30" fmla="*/ 739 w 756"/>
                <a:gd name="T31" fmla="*/ 1267 h 1304"/>
                <a:gd name="T32" fmla="*/ 719 w 756"/>
                <a:gd name="T33" fmla="*/ 1287 h 1304"/>
                <a:gd name="T34" fmla="*/ 692 w 756"/>
                <a:gd name="T35" fmla="*/ 1300 h 1304"/>
                <a:gd name="T36" fmla="*/ 659 w 756"/>
                <a:gd name="T37" fmla="*/ 1304 h 1304"/>
                <a:gd name="T38" fmla="*/ 0 w 756"/>
                <a:gd name="T39" fmla="*/ 1304 h 1304"/>
                <a:gd name="T40" fmla="*/ 0 w 756"/>
                <a:gd name="T41" fmla="*/ 1120 h 1304"/>
                <a:gd name="T42" fmla="*/ 0 w 756"/>
                <a:gd name="T43" fmla="*/ 1070 h 1304"/>
                <a:gd name="T44" fmla="*/ 0 w 756"/>
                <a:gd name="T45" fmla="*/ 942 h 1304"/>
                <a:gd name="T46" fmla="*/ 0 w 756"/>
                <a:gd name="T47" fmla="*/ 866 h 1304"/>
                <a:gd name="T48" fmla="*/ 0 w 756"/>
                <a:gd name="T49" fmla="*/ 777 h 1304"/>
                <a:gd name="T50" fmla="*/ 0 w 756"/>
                <a:gd name="T51" fmla="*/ 678 h 1304"/>
                <a:gd name="T52" fmla="*/ 0 w 756"/>
                <a:gd name="T53" fmla="*/ 570 h 1304"/>
                <a:gd name="T54" fmla="*/ 0 w 756"/>
                <a:gd name="T55" fmla="*/ 0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56" h="1304">
                  <a:moveTo>
                    <a:pt x="0" y="0"/>
                  </a:moveTo>
                  <a:lnTo>
                    <a:pt x="659" y="0"/>
                  </a:lnTo>
                  <a:lnTo>
                    <a:pt x="692" y="4"/>
                  </a:lnTo>
                  <a:lnTo>
                    <a:pt x="719" y="15"/>
                  </a:lnTo>
                  <a:lnTo>
                    <a:pt x="739" y="33"/>
                  </a:lnTo>
                  <a:lnTo>
                    <a:pt x="752" y="54"/>
                  </a:lnTo>
                  <a:lnTo>
                    <a:pt x="756" y="77"/>
                  </a:lnTo>
                  <a:lnTo>
                    <a:pt x="756" y="93"/>
                  </a:lnTo>
                  <a:lnTo>
                    <a:pt x="756" y="104"/>
                  </a:lnTo>
                  <a:lnTo>
                    <a:pt x="756" y="120"/>
                  </a:lnTo>
                  <a:lnTo>
                    <a:pt x="756" y="199"/>
                  </a:lnTo>
                  <a:lnTo>
                    <a:pt x="756" y="240"/>
                  </a:lnTo>
                  <a:lnTo>
                    <a:pt x="756" y="288"/>
                  </a:lnTo>
                  <a:lnTo>
                    <a:pt x="756" y="1207"/>
                  </a:lnTo>
                  <a:lnTo>
                    <a:pt x="752" y="1240"/>
                  </a:lnTo>
                  <a:lnTo>
                    <a:pt x="739" y="1267"/>
                  </a:lnTo>
                  <a:lnTo>
                    <a:pt x="719" y="1287"/>
                  </a:lnTo>
                  <a:lnTo>
                    <a:pt x="692" y="1300"/>
                  </a:lnTo>
                  <a:lnTo>
                    <a:pt x="659" y="1304"/>
                  </a:lnTo>
                  <a:lnTo>
                    <a:pt x="0" y="1304"/>
                  </a:lnTo>
                  <a:lnTo>
                    <a:pt x="0" y="1120"/>
                  </a:lnTo>
                  <a:lnTo>
                    <a:pt x="0" y="1070"/>
                  </a:lnTo>
                  <a:lnTo>
                    <a:pt x="0" y="942"/>
                  </a:lnTo>
                  <a:lnTo>
                    <a:pt x="0" y="866"/>
                  </a:lnTo>
                  <a:lnTo>
                    <a:pt x="0" y="777"/>
                  </a:lnTo>
                  <a:lnTo>
                    <a:pt x="0" y="678"/>
                  </a:lnTo>
                  <a:lnTo>
                    <a:pt x="0" y="57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664"/>
              <a:endParaRPr lang="en-US">
                <a:solidFill>
                  <a:srgbClr val="FFFFFF"/>
                </a:solidFill>
              </a:endParaRPr>
            </a:p>
          </p:txBody>
        </p:sp>
        <p:sp>
          <p:nvSpPr>
            <p:cNvPr id="47" name="Freeform 13"/>
            <p:cNvSpPr>
              <a:spLocks noEditPoints="1"/>
            </p:cNvSpPr>
            <p:nvPr/>
          </p:nvSpPr>
          <p:spPr bwMode="auto">
            <a:xfrm>
              <a:off x="12946065" y="671513"/>
              <a:ext cx="3570288" cy="3571875"/>
            </a:xfrm>
            <a:custGeom>
              <a:avLst/>
              <a:gdLst>
                <a:gd name="T0" fmla="*/ 3794 w 4499"/>
                <a:gd name="T1" fmla="*/ 3533 h 4500"/>
                <a:gd name="T2" fmla="*/ 3927 w 4499"/>
                <a:gd name="T3" fmla="*/ 2533 h 4500"/>
                <a:gd name="T4" fmla="*/ 4214 w 4499"/>
                <a:gd name="T5" fmla="*/ 2715 h 4500"/>
                <a:gd name="T6" fmla="*/ 3987 w 4499"/>
                <a:gd name="T7" fmla="*/ 2359 h 4500"/>
                <a:gd name="T8" fmla="*/ 539 w 4499"/>
                <a:gd name="T9" fmla="*/ 3339 h 4500"/>
                <a:gd name="T10" fmla="*/ 1256 w 4499"/>
                <a:gd name="T11" fmla="*/ 3603 h 4500"/>
                <a:gd name="T12" fmla="*/ 1155 w 4499"/>
                <a:gd name="T13" fmla="*/ 2952 h 4500"/>
                <a:gd name="T14" fmla="*/ 936 w 4499"/>
                <a:gd name="T15" fmla="*/ 2843 h 4500"/>
                <a:gd name="T16" fmla="*/ 518 w 4499"/>
                <a:gd name="T17" fmla="*/ 2595 h 4500"/>
                <a:gd name="T18" fmla="*/ 3776 w 4499"/>
                <a:gd name="T19" fmla="*/ 1655 h 4500"/>
                <a:gd name="T20" fmla="*/ 4094 w 4499"/>
                <a:gd name="T21" fmla="*/ 1789 h 4500"/>
                <a:gd name="T22" fmla="*/ 2557 w 4499"/>
                <a:gd name="T23" fmla="*/ 616 h 4500"/>
                <a:gd name="T24" fmla="*/ 2130 w 4499"/>
                <a:gd name="T25" fmla="*/ 1066 h 4500"/>
                <a:gd name="T26" fmla="*/ 1859 w 4499"/>
                <a:gd name="T27" fmla="*/ 740 h 4500"/>
                <a:gd name="T28" fmla="*/ 1638 w 4499"/>
                <a:gd name="T29" fmla="*/ 475 h 4500"/>
                <a:gd name="T30" fmla="*/ 1522 w 4499"/>
                <a:gd name="T31" fmla="*/ 384 h 4500"/>
                <a:gd name="T32" fmla="*/ 1553 w 4499"/>
                <a:gd name="T33" fmla="*/ 676 h 4500"/>
                <a:gd name="T34" fmla="*/ 1572 w 4499"/>
                <a:gd name="T35" fmla="*/ 1041 h 4500"/>
                <a:gd name="T36" fmla="*/ 1425 w 4499"/>
                <a:gd name="T37" fmla="*/ 746 h 4500"/>
                <a:gd name="T38" fmla="*/ 1210 w 4499"/>
                <a:gd name="T39" fmla="*/ 1068 h 4500"/>
                <a:gd name="T40" fmla="*/ 1262 w 4499"/>
                <a:gd name="T41" fmla="*/ 1428 h 4500"/>
                <a:gd name="T42" fmla="*/ 1371 w 4499"/>
                <a:gd name="T43" fmla="*/ 1085 h 4500"/>
                <a:gd name="T44" fmla="*/ 1778 w 4499"/>
                <a:gd name="T45" fmla="*/ 1368 h 4500"/>
                <a:gd name="T46" fmla="*/ 1295 w 4499"/>
                <a:gd name="T47" fmla="*/ 1940 h 4500"/>
                <a:gd name="T48" fmla="*/ 1093 w 4499"/>
                <a:gd name="T49" fmla="*/ 2396 h 4500"/>
                <a:gd name="T50" fmla="*/ 762 w 4499"/>
                <a:gd name="T51" fmla="*/ 2272 h 4500"/>
                <a:gd name="T52" fmla="*/ 775 w 4499"/>
                <a:gd name="T53" fmla="*/ 2543 h 4500"/>
                <a:gd name="T54" fmla="*/ 932 w 4499"/>
                <a:gd name="T55" fmla="*/ 2508 h 4500"/>
                <a:gd name="T56" fmla="*/ 1002 w 4499"/>
                <a:gd name="T57" fmla="*/ 2655 h 4500"/>
                <a:gd name="T58" fmla="*/ 1256 w 4499"/>
                <a:gd name="T59" fmla="*/ 2750 h 4500"/>
                <a:gd name="T60" fmla="*/ 1892 w 4499"/>
                <a:gd name="T61" fmla="*/ 3126 h 4500"/>
                <a:gd name="T62" fmla="*/ 1851 w 4499"/>
                <a:gd name="T63" fmla="*/ 3779 h 4500"/>
                <a:gd name="T64" fmla="*/ 2731 w 4499"/>
                <a:gd name="T65" fmla="*/ 4212 h 4500"/>
                <a:gd name="T66" fmla="*/ 3127 w 4499"/>
                <a:gd name="T67" fmla="*/ 3196 h 4500"/>
                <a:gd name="T68" fmla="*/ 2757 w 4499"/>
                <a:gd name="T69" fmla="*/ 2981 h 4500"/>
                <a:gd name="T70" fmla="*/ 2598 w 4499"/>
                <a:gd name="T71" fmla="*/ 2275 h 4500"/>
                <a:gd name="T72" fmla="*/ 3305 w 4499"/>
                <a:gd name="T73" fmla="*/ 1971 h 4500"/>
                <a:gd name="T74" fmla="*/ 3592 w 4499"/>
                <a:gd name="T75" fmla="*/ 2163 h 4500"/>
                <a:gd name="T76" fmla="*/ 3939 w 4499"/>
                <a:gd name="T77" fmla="*/ 2095 h 4500"/>
                <a:gd name="T78" fmla="*/ 3718 w 4499"/>
                <a:gd name="T79" fmla="*/ 1940 h 4500"/>
                <a:gd name="T80" fmla="*/ 3644 w 4499"/>
                <a:gd name="T81" fmla="*/ 1961 h 4500"/>
                <a:gd name="T82" fmla="*/ 3350 w 4499"/>
                <a:gd name="T83" fmla="*/ 1711 h 4500"/>
                <a:gd name="T84" fmla="*/ 3408 w 4499"/>
                <a:gd name="T85" fmla="*/ 1977 h 4500"/>
                <a:gd name="T86" fmla="*/ 3278 w 4499"/>
                <a:gd name="T87" fmla="*/ 1733 h 4500"/>
                <a:gd name="T88" fmla="*/ 2890 w 4499"/>
                <a:gd name="T89" fmla="*/ 1938 h 4500"/>
                <a:gd name="T90" fmla="*/ 2999 w 4499"/>
                <a:gd name="T91" fmla="*/ 1731 h 4500"/>
                <a:gd name="T92" fmla="*/ 3010 w 4499"/>
                <a:gd name="T93" fmla="*/ 1541 h 4500"/>
                <a:gd name="T94" fmla="*/ 3262 w 4499"/>
                <a:gd name="T95" fmla="*/ 1238 h 4500"/>
                <a:gd name="T96" fmla="*/ 3476 w 4499"/>
                <a:gd name="T97" fmla="*/ 1357 h 4500"/>
                <a:gd name="T98" fmla="*/ 3699 w 4499"/>
                <a:gd name="T99" fmla="*/ 1140 h 4500"/>
                <a:gd name="T100" fmla="*/ 3538 w 4499"/>
                <a:gd name="T101" fmla="*/ 987 h 4500"/>
                <a:gd name="T102" fmla="*/ 3427 w 4499"/>
                <a:gd name="T103" fmla="*/ 1008 h 4500"/>
                <a:gd name="T104" fmla="*/ 3321 w 4499"/>
                <a:gd name="T105" fmla="*/ 1231 h 4500"/>
                <a:gd name="T106" fmla="*/ 3181 w 4499"/>
                <a:gd name="T107" fmla="*/ 1171 h 4500"/>
                <a:gd name="T108" fmla="*/ 3499 w 4499"/>
                <a:gd name="T109" fmla="*/ 667 h 4500"/>
                <a:gd name="T110" fmla="*/ 3286 w 4499"/>
                <a:gd name="T111" fmla="*/ 256 h 4500"/>
                <a:gd name="T112" fmla="*/ 4499 w 4499"/>
                <a:gd name="T113" fmla="*/ 2239 h 4500"/>
                <a:gd name="T114" fmla="*/ 3286 w 4499"/>
                <a:gd name="T115" fmla="*/ 4243 h 4500"/>
                <a:gd name="T116" fmla="*/ 938 w 4499"/>
                <a:gd name="T117" fmla="*/ 4086 h 4500"/>
                <a:gd name="T118" fmla="*/ 23 w 4499"/>
                <a:gd name="T119" fmla="*/ 1907 h 4500"/>
                <a:gd name="T120" fmla="*/ 1590 w 4499"/>
                <a:gd name="T121" fmla="*/ 95 h 4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499" h="4500">
                  <a:moveTo>
                    <a:pt x="4057" y="3045"/>
                  </a:moveTo>
                  <a:lnTo>
                    <a:pt x="4022" y="3053"/>
                  </a:lnTo>
                  <a:lnTo>
                    <a:pt x="3987" y="3070"/>
                  </a:lnTo>
                  <a:lnTo>
                    <a:pt x="3954" y="3097"/>
                  </a:lnTo>
                  <a:lnTo>
                    <a:pt x="3922" y="3132"/>
                  </a:lnTo>
                  <a:lnTo>
                    <a:pt x="3892" y="3173"/>
                  </a:lnTo>
                  <a:lnTo>
                    <a:pt x="3863" y="3219"/>
                  </a:lnTo>
                  <a:lnTo>
                    <a:pt x="3838" y="3270"/>
                  </a:lnTo>
                  <a:lnTo>
                    <a:pt x="3813" y="3322"/>
                  </a:lnTo>
                  <a:lnTo>
                    <a:pt x="3792" y="3376"/>
                  </a:lnTo>
                  <a:lnTo>
                    <a:pt x="3772" y="3431"/>
                  </a:lnTo>
                  <a:lnTo>
                    <a:pt x="3753" y="3483"/>
                  </a:lnTo>
                  <a:lnTo>
                    <a:pt x="3737" y="3531"/>
                  </a:lnTo>
                  <a:lnTo>
                    <a:pt x="3726" y="3578"/>
                  </a:lnTo>
                  <a:lnTo>
                    <a:pt x="3714" y="3619"/>
                  </a:lnTo>
                  <a:lnTo>
                    <a:pt x="3794" y="3533"/>
                  </a:lnTo>
                  <a:lnTo>
                    <a:pt x="3865" y="3444"/>
                  </a:lnTo>
                  <a:lnTo>
                    <a:pt x="3931" y="3351"/>
                  </a:lnTo>
                  <a:lnTo>
                    <a:pt x="3991" y="3254"/>
                  </a:lnTo>
                  <a:lnTo>
                    <a:pt x="4046" y="3153"/>
                  </a:lnTo>
                  <a:lnTo>
                    <a:pt x="4096" y="3049"/>
                  </a:lnTo>
                  <a:lnTo>
                    <a:pt x="4057" y="3045"/>
                  </a:lnTo>
                  <a:close/>
                  <a:moveTo>
                    <a:pt x="3881" y="2239"/>
                  </a:moveTo>
                  <a:lnTo>
                    <a:pt x="3869" y="2248"/>
                  </a:lnTo>
                  <a:lnTo>
                    <a:pt x="3861" y="2264"/>
                  </a:lnTo>
                  <a:lnTo>
                    <a:pt x="3860" y="2289"/>
                  </a:lnTo>
                  <a:lnTo>
                    <a:pt x="3861" y="2320"/>
                  </a:lnTo>
                  <a:lnTo>
                    <a:pt x="3867" y="2355"/>
                  </a:lnTo>
                  <a:lnTo>
                    <a:pt x="3877" y="2396"/>
                  </a:lnTo>
                  <a:lnTo>
                    <a:pt x="3891" y="2438"/>
                  </a:lnTo>
                  <a:lnTo>
                    <a:pt x="3908" y="2485"/>
                  </a:lnTo>
                  <a:lnTo>
                    <a:pt x="3927" y="2533"/>
                  </a:lnTo>
                  <a:lnTo>
                    <a:pt x="3949" y="2582"/>
                  </a:lnTo>
                  <a:lnTo>
                    <a:pt x="3974" y="2632"/>
                  </a:lnTo>
                  <a:lnTo>
                    <a:pt x="4001" y="2681"/>
                  </a:lnTo>
                  <a:lnTo>
                    <a:pt x="4032" y="2725"/>
                  </a:lnTo>
                  <a:lnTo>
                    <a:pt x="4063" y="2770"/>
                  </a:lnTo>
                  <a:lnTo>
                    <a:pt x="4096" y="2810"/>
                  </a:lnTo>
                  <a:lnTo>
                    <a:pt x="4110" y="2818"/>
                  </a:lnTo>
                  <a:lnTo>
                    <a:pt x="4125" y="2820"/>
                  </a:lnTo>
                  <a:lnTo>
                    <a:pt x="4143" y="2816"/>
                  </a:lnTo>
                  <a:lnTo>
                    <a:pt x="4164" y="2812"/>
                  </a:lnTo>
                  <a:lnTo>
                    <a:pt x="4191" y="2810"/>
                  </a:lnTo>
                  <a:lnTo>
                    <a:pt x="4193" y="2793"/>
                  </a:lnTo>
                  <a:lnTo>
                    <a:pt x="4199" y="2774"/>
                  </a:lnTo>
                  <a:lnTo>
                    <a:pt x="4206" y="2752"/>
                  </a:lnTo>
                  <a:lnTo>
                    <a:pt x="4212" y="2731"/>
                  </a:lnTo>
                  <a:lnTo>
                    <a:pt x="4214" y="2715"/>
                  </a:lnTo>
                  <a:lnTo>
                    <a:pt x="4185" y="2717"/>
                  </a:lnTo>
                  <a:lnTo>
                    <a:pt x="4158" y="2723"/>
                  </a:lnTo>
                  <a:lnTo>
                    <a:pt x="4133" y="2731"/>
                  </a:lnTo>
                  <a:lnTo>
                    <a:pt x="4111" y="2737"/>
                  </a:lnTo>
                  <a:lnTo>
                    <a:pt x="4096" y="2739"/>
                  </a:lnTo>
                  <a:lnTo>
                    <a:pt x="4077" y="2725"/>
                  </a:lnTo>
                  <a:lnTo>
                    <a:pt x="4061" y="2706"/>
                  </a:lnTo>
                  <a:lnTo>
                    <a:pt x="4048" y="2679"/>
                  </a:lnTo>
                  <a:lnTo>
                    <a:pt x="4038" y="2646"/>
                  </a:lnTo>
                  <a:lnTo>
                    <a:pt x="4028" y="2609"/>
                  </a:lnTo>
                  <a:lnTo>
                    <a:pt x="4020" y="2568"/>
                  </a:lnTo>
                  <a:lnTo>
                    <a:pt x="4015" y="2527"/>
                  </a:lnTo>
                  <a:lnTo>
                    <a:pt x="4009" y="2483"/>
                  </a:lnTo>
                  <a:lnTo>
                    <a:pt x="4003" y="2440"/>
                  </a:lnTo>
                  <a:lnTo>
                    <a:pt x="3995" y="2399"/>
                  </a:lnTo>
                  <a:lnTo>
                    <a:pt x="3987" y="2359"/>
                  </a:lnTo>
                  <a:lnTo>
                    <a:pt x="3978" y="2324"/>
                  </a:lnTo>
                  <a:lnTo>
                    <a:pt x="3964" y="2293"/>
                  </a:lnTo>
                  <a:lnTo>
                    <a:pt x="3949" y="2268"/>
                  </a:lnTo>
                  <a:lnTo>
                    <a:pt x="3931" y="2250"/>
                  </a:lnTo>
                  <a:lnTo>
                    <a:pt x="3908" y="2239"/>
                  </a:lnTo>
                  <a:lnTo>
                    <a:pt x="3881" y="2239"/>
                  </a:lnTo>
                  <a:close/>
                  <a:moveTo>
                    <a:pt x="213" y="2144"/>
                  </a:moveTo>
                  <a:lnTo>
                    <a:pt x="213" y="2239"/>
                  </a:lnTo>
                  <a:lnTo>
                    <a:pt x="219" y="2390"/>
                  </a:lnTo>
                  <a:lnTo>
                    <a:pt x="237" y="2537"/>
                  </a:lnTo>
                  <a:lnTo>
                    <a:pt x="264" y="2682"/>
                  </a:lnTo>
                  <a:lnTo>
                    <a:pt x="301" y="2824"/>
                  </a:lnTo>
                  <a:lnTo>
                    <a:pt x="347" y="2960"/>
                  </a:lnTo>
                  <a:lnTo>
                    <a:pt x="403" y="3091"/>
                  </a:lnTo>
                  <a:lnTo>
                    <a:pt x="467" y="3219"/>
                  </a:lnTo>
                  <a:lnTo>
                    <a:pt x="539" y="3339"/>
                  </a:lnTo>
                  <a:lnTo>
                    <a:pt x="620" y="3456"/>
                  </a:lnTo>
                  <a:lnTo>
                    <a:pt x="708" y="3564"/>
                  </a:lnTo>
                  <a:lnTo>
                    <a:pt x="803" y="3667"/>
                  </a:lnTo>
                  <a:lnTo>
                    <a:pt x="903" y="3762"/>
                  </a:lnTo>
                  <a:lnTo>
                    <a:pt x="1008" y="3849"/>
                  </a:lnTo>
                  <a:lnTo>
                    <a:pt x="1120" y="3929"/>
                  </a:lnTo>
                  <a:lnTo>
                    <a:pt x="1237" y="4000"/>
                  </a:lnTo>
                  <a:lnTo>
                    <a:pt x="1245" y="3948"/>
                  </a:lnTo>
                  <a:lnTo>
                    <a:pt x="1250" y="3896"/>
                  </a:lnTo>
                  <a:lnTo>
                    <a:pt x="1256" y="3843"/>
                  </a:lnTo>
                  <a:lnTo>
                    <a:pt x="1260" y="3793"/>
                  </a:lnTo>
                  <a:lnTo>
                    <a:pt x="1264" y="3747"/>
                  </a:lnTo>
                  <a:lnTo>
                    <a:pt x="1264" y="3702"/>
                  </a:lnTo>
                  <a:lnTo>
                    <a:pt x="1264" y="3663"/>
                  </a:lnTo>
                  <a:lnTo>
                    <a:pt x="1262" y="3630"/>
                  </a:lnTo>
                  <a:lnTo>
                    <a:pt x="1256" y="3603"/>
                  </a:lnTo>
                  <a:lnTo>
                    <a:pt x="1248" y="3584"/>
                  </a:lnTo>
                  <a:lnTo>
                    <a:pt x="1237" y="3572"/>
                  </a:lnTo>
                  <a:lnTo>
                    <a:pt x="1194" y="3531"/>
                  </a:lnTo>
                  <a:lnTo>
                    <a:pt x="1153" y="3487"/>
                  </a:lnTo>
                  <a:lnTo>
                    <a:pt x="1117" y="3440"/>
                  </a:lnTo>
                  <a:lnTo>
                    <a:pt x="1086" y="3392"/>
                  </a:lnTo>
                  <a:lnTo>
                    <a:pt x="1062" y="3339"/>
                  </a:lnTo>
                  <a:lnTo>
                    <a:pt x="1047" y="3285"/>
                  </a:lnTo>
                  <a:lnTo>
                    <a:pt x="1039" y="3231"/>
                  </a:lnTo>
                  <a:lnTo>
                    <a:pt x="1041" y="3175"/>
                  </a:lnTo>
                  <a:lnTo>
                    <a:pt x="1055" y="3117"/>
                  </a:lnTo>
                  <a:lnTo>
                    <a:pt x="1080" y="3058"/>
                  </a:lnTo>
                  <a:lnTo>
                    <a:pt x="1119" y="3000"/>
                  </a:lnTo>
                  <a:lnTo>
                    <a:pt x="1132" y="2987"/>
                  </a:lnTo>
                  <a:lnTo>
                    <a:pt x="1146" y="2969"/>
                  </a:lnTo>
                  <a:lnTo>
                    <a:pt x="1155" y="2952"/>
                  </a:lnTo>
                  <a:lnTo>
                    <a:pt x="1163" y="2931"/>
                  </a:lnTo>
                  <a:lnTo>
                    <a:pt x="1167" y="2905"/>
                  </a:lnTo>
                  <a:lnTo>
                    <a:pt x="1171" y="2888"/>
                  </a:lnTo>
                  <a:lnTo>
                    <a:pt x="1169" y="2874"/>
                  </a:lnTo>
                  <a:lnTo>
                    <a:pt x="1163" y="2869"/>
                  </a:lnTo>
                  <a:lnTo>
                    <a:pt x="1152" y="2867"/>
                  </a:lnTo>
                  <a:lnTo>
                    <a:pt x="1136" y="2867"/>
                  </a:lnTo>
                  <a:lnTo>
                    <a:pt x="1117" y="2869"/>
                  </a:lnTo>
                  <a:lnTo>
                    <a:pt x="1093" y="2872"/>
                  </a:lnTo>
                  <a:lnTo>
                    <a:pt x="1064" y="2876"/>
                  </a:lnTo>
                  <a:lnTo>
                    <a:pt x="1033" y="2880"/>
                  </a:lnTo>
                  <a:lnTo>
                    <a:pt x="1000" y="2882"/>
                  </a:lnTo>
                  <a:lnTo>
                    <a:pt x="977" y="2878"/>
                  </a:lnTo>
                  <a:lnTo>
                    <a:pt x="960" y="2870"/>
                  </a:lnTo>
                  <a:lnTo>
                    <a:pt x="946" y="2859"/>
                  </a:lnTo>
                  <a:lnTo>
                    <a:pt x="936" y="2843"/>
                  </a:lnTo>
                  <a:lnTo>
                    <a:pt x="929" y="2824"/>
                  </a:lnTo>
                  <a:lnTo>
                    <a:pt x="921" y="2805"/>
                  </a:lnTo>
                  <a:lnTo>
                    <a:pt x="913" y="2783"/>
                  </a:lnTo>
                  <a:lnTo>
                    <a:pt x="903" y="2762"/>
                  </a:lnTo>
                  <a:lnTo>
                    <a:pt x="890" y="2741"/>
                  </a:lnTo>
                  <a:lnTo>
                    <a:pt x="872" y="2719"/>
                  </a:lnTo>
                  <a:lnTo>
                    <a:pt x="849" y="2702"/>
                  </a:lnTo>
                  <a:lnTo>
                    <a:pt x="820" y="2686"/>
                  </a:lnTo>
                  <a:lnTo>
                    <a:pt x="783" y="2675"/>
                  </a:lnTo>
                  <a:lnTo>
                    <a:pt x="737" y="2667"/>
                  </a:lnTo>
                  <a:lnTo>
                    <a:pt x="679" y="2659"/>
                  </a:lnTo>
                  <a:lnTo>
                    <a:pt x="630" y="2651"/>
                  </a:lnTo>
                  <a:lnTo>
                    <a:pt x="591" y="2640"/>
                  </a:lnTo>
                  <a:lnTo>
                    <a:pt x="560" y="2628"/>
                  </a:lnTo>
                  <a:lnTo>
                    <a:pt x="535" y="2613"/>
                  </a:lnTo>
                  <a:lnTo>
                    <a:pt x="518" y="2595"/>
                  </a:lnTo>
                  <a:lnTo>
                    <a:pt x="504" y="2574"/>
                  </a:lnTo>
                  <a:lnTo>
                    <a:pt x="494" y="2551"/>
                  </a:lnTo>
                  <a:lnTo>
                    <a:pt x="489" y="2522"/>
                  </a:lnTo>
                  <a:lnTo>
                    <a:pt x="481" y="2489"/>
                  </a:lnTo>
                  <a:lnTo>
                    <a:pt x="475" y="2452"/>
                  </a:lnTo>
                  <a:lnTo>
                    <a:pt x="469" y="2399"/>
                  </a:lnTo>
                  <a:lnTo>
                    <a:pt x="452" y="2347"/>
                  </a:lnTo>
                  <a:lnTo>
                    <a:pt x="425" y="2299"/>
                  </a:lnTo>
                  <a:lnTo>
                    <a:pt x="390" y="2254"/>
                  </a:lnTo>
                  <a:lnTo>
                    <a:pt x="349" y="2213"/>
                  </a:lnTo>
                  <a:lnTo>
                    <a:pt x="304" y="2182"/>
                  </a:lnTo>
                  <a:lnTo>
                    <a:pt x="260" y="2157"/>
                  </a:lnTo>
                  <a:lnTo>
                    <a:pt x="213" y="2144"/>
                  </a:lnTo>
                  <a:close/>
                  <a:moveTo>
                    <a:pt x="3846" y="1642"/>
                  </a:moveTo>
                  <a:lnTo>
                    <a:pt x="3809" y="1644"/>
                  </a:lnTo>
                  <a:lnTo>
                    <a:pt x="3776" y="1655"/>
                  </a:lnTo>
                  <a:lnTo>
                    <a:pt x="3751" y="1673"/>
                  </a:lnTo>
                  <a:lnTo>
                    <a:pt x="3734" y="1696"/>
                  </a:lnTo>
                  <a:lnTo>
                    <a:pt x="3724" y="1721"/>
                  </a:lnTo>
                  <a:lnTo>
                    <a:pt x="3720" y="1748"/>
                  </a:lnTo>
                  <a:lnTo>
                    <a:pt x="3726" y="1777"/>
                  </a:lnTo>
                  <a:lnTo>
                    <a:pt x="3739" y="1806"/>
                  </a:lnTo>
                  <a:lnTo>
                    <a:pt x="3763" y="1834"/>
                  </a:lnTo>
                  <a:lnTo>
                    <a:pt x="3811" y="1843"/>
                  </a:lnTo>
                  <a:lnTo>
                    <a:pt x="3861" y="1849"/>
                  </a:lnTo>
                  <a:lnTo>
                    <a:pt x="3914" y="1851"/>
                  </a:lnTo>
                  <a:lnTo>
                    <a:pt x="3962" y="1849"/>
                  </a:lnTo>
                  <a:lnTo>
                    <a:pt x="4009" y="1843"/>
                  </a:lnTo>
                  <a:lnTo>
                    <a:pt x="4048" y="1834"/>
                  </a:lnTo>
                  <a:lnTo>
                    <a:pt x="4073" y="1822"/>
                  </a:lnTo>
                  <a:lnTo>
                    <a:pt x="4088" y="1806"/>
                  </a:lnTo>
                  <a:lnTo>
                    <a:pt x="4094" y="1789"/>
                  </a:lnTo>
                  <a:lnTo>
                    <a:pt x="4092" y="1771"/>
                  </a:lnTo>
                  <a:lnTo>
                    <a:pt x="4082" y="1752"/>
                  </a:lnTo>
                  <a:lnTo>
                    <a:pt x="4067" y="1731"/>
                  </a:lnTo>
                  <a:lnTo>
                    <a:pt x="4044" y="1711"/>
                  </a:lnTo>
                  <a:lnTo>
                    <a:pt x="4018" y="1694"/>
                  </a:lnTo>
                  <a:lnTo>
                    <a:pt x="3987" y="1677"/>
                  </a:lnTo>
                  <a:lnTo>
                    <a:pt x="3954" y="1663"/>
                  </a:lnTo>
                  <a:lnTo>
                    <a:pt x="3920" y="1651"/>
                  </a:lnTo>
                  <a:lnTo>
                    <a:pt x="3883" y="1644"/>
                  </a:lnTo>
                  <a:lnTo>
                    <a:pt x="3846" y="1642"/>
                  </a:lnTo>
                  <a:close/>
                  <a:moveTo>
                    <a:pt x="2570" y="262"/>
                  </a:moveTo>
                  <a:lnTo>
                    <a:pt x="2570" y="351"/>
                  </a:lnTo>
                  <a:lnTo>
                    <a:pt x="2570" y="430"/>
                  </a:lnTo>
                  <a:lnTo>
                    <a:pt x="2569" y="500"/>
                  </a:lnTo>
                  <a:lnTo>
                    <a:pt x="2565" y="562"/>
                  </a:lnTo>
                  <a:lnTo>
                    <a:pt x="2557" y="616"/>
                  </a:lnTo>
                  <a:lnTo>
                    <a:pt x="2547" y="667"/>
                  </a:lnTo>
                  <a:lnTo>
                    <a:pt x="2541" y="692"/>
                  </a:lnTo>
                  <a:lnTo>
                    <a:pt x="2528" y="713"/>
                  </a:lnTo>
                  <a:lnTo>
                    <a:pt x="2505" y="733"/>
                  </a:lnTo>
                  <a:lnTo>
                    <a:pt x="2475" y="752"/>
                  </a:lnTo>
                  <a:lnTo>
                    <a:pt x="2441" y="771"/>
                  </a:lnTo>
                  <a:lnTo>
                    <a:pt x="2404" y="791"/>
                  </a:lnTo>
                  <a:lnTo>
                    <a:pt x="2363" y="810"/>
                  </a:lnTo>
                  <a:lnTo>
                    <a:pt x="2322" y="831"/>
                  </a:lnTo>
                  <a:lnTo>
                    <a:pt x="2282" y="855"/>
                  </a:lnTo>
                  <a:lnTo>
                    <a:pt x="2243" y="880"/>
                  </a:lnTo>
                  <a:lnTo>
                    <a:pt x="2210" y="909"/>
                  </a:lnTo>
                  <a:lnTo>
                    <a:pt x="2181" y="944"/>
                  </a:lnTo>
                  <a:lnTo>
                    <a:pt x="2158" y="981"/>
                  </a:lnTo>
                  <a:lnTo>
                    <a:pt x="2142" y="1023"/>
                  </a:lnTo>
                  <a:lnTo>
                    <a:pt x="2130" y="1066"/>
                  </a:lnTo>
                  <a:lnTo>
                    <a:pt x="2117" y="1095"/>
                  </a:lnTo>
                  <a:lnTo>
                    <a:pt x="2101" y="1113"/>
                  </a:lnTo>
                  <a:lnTo>
                    <a:pt x="2086" y="1122"/>
                  </a:lnTo>
                  <a:lnTo>
                    <a:pt x="2068" y="1122"/>
                  </a:lnTo>
                  <a:lnTo>
                    <a:pt x="2051" y="1113"/>
                  </a:lnTo>
                  <a:lnTo>
                    <a:pt x="2030" y="1099"/>
                  </a:lnTo>
                  <a:lnTo>
                    <a:pt x="2008" y="1078"/>
                  </a:lnTo>
                  <a:lnTo>
                    <a:pt x="1985" y="1050"/>
                  </a:lnTo>
                  <a:lnTo>
                    <a:pt x="1960" y="1021"/>
                  </a:lnTo>
                  <a:lnTo>
                    <a:pt x="1933" y="988"/>
                  </a:lnTo>
                  <a:lnTo>
                    <a:pt x="1904" y="954"/>
                  </a:lnTo>
                  <a:lnTo>
                    <a:pt x="1878" y="913"/>
                  </a:lnTo>
                  <a:lnTo>
                    <a:pt x="1863" y="870"/>
                  </a:lnTo>
                  <a:lnTo>
                    <a:pt x="1855" y="828"/>
                  </a:lnTo>
                  <a:lnTo>
                    <a:pt x="1855" y="783"/>
                  </a:lnTo>
                  <a:lnTo>
                    <a:pt x="1859" y="740"/>
                  </a:lnTo>
                  <a:lnTo>
                    <a:pt x="1867" y="696"/>
                  </a:lnTo>
                  <a:lnTo>
                    <a:pt x="1873" y="653"/>
                  </a:lnTo>
                  <a:lnTo>
                    <a:pt x="1876" y="611"/>
                  </a:lnTo>
                  <a:lnTo>
                    <a:pt x="1876" y="572"/>
                  </a:lnTo>
                  <a:lnTo>
                    <a:pt x="1871" y="535"/>
                  </a:lnTo>
                  <a:lnTo>
                    <a:pt x="1857" y="500"/>
                  </a:lnTo>
                  <a:lnTo>
                    <a:pt x="1844" y="479"/>
                  </a:lnTo>
                  <a:lnTo>
                    <a:pt x="1828" y="465"/>
                  </a:lnTo>
                  <a:lnTo>
                    <a:pt x="1807" y="457"/>
                  </a:lnTo>
                  <a:lnTo>
                    <a:pt x="1783" y="455"/>
                  </a:lnTo>
                  <a:lnTo>
                    <a:pt x="1760" y="455"/>
                  </a:lnTo>
                  <a:lnTo>
                    <a:pt x="1733" y="459"/>
                  </a:lnTo>
                  <a:lnTo>
                    <a:pt x="1708" y="465"/>
                  </a:lnTo>
                  <a:lnTo>
                    <a:pt x="1683" y="469"/>
                  </a:lnTo>
                  <a:lnTo>
                    <a:pt x="1659" y="473"/>
                  </a:lnTo>
                  <a:lnTo>
                    <a:pt x="1638" y="475"/>
                  </a:lnTo>
                  <a:lnTo>
                    <a:pt x="1621" y="471"/>
                  </a:lnTo>
                  <a:lnTo>
                    <a:pt x="1607" y="463"/>
                  </a:lnTo>
                  <a:lnTo>
                    <a:pt x="1597" y="450"/>
                  </a:lnTo>
                  <a:lnTo>
                    <a:pt x="1595" y="428"/>
                  </a:lnTo>
                  <a:lnTo>
                    <a:pt x="1597" y="405"/>
                  </a:lnTo>
                  <a:lnTo>
                    <a:pt x="1607" y="382"/>
                  </a:lnTo>
                  <a:lnTo>
                    <a:pt x="1619" y="361"/>
                  </a:lnTo>
                  <a:lnTo>
                    <a:pt x="1630" y="341"/>
                  </a:lnTo>
                  <a:lnTo>
                    <a:pt x="1638" y="324"/>
                  </a:lnTo>
                  <a:lnTo>
                    <a:pt x="1642" y="310"/>
                  </a:lnTo>
                  <a:lnTo>
                    <a:pt x="1624" y="324"/>
                  </a:lnTo>
                  <a:lnTo>
                    <a:pt x="1607" y="331"/>
                  </a:lnTo>
                  <a:lnTo>
                    <a:pt x="1590" y="333"/>
                  </a:lnTo>
                  <a:lnTo>
                    <a:pt x="1570" y="333"/>
                  </a:lnTo>
                  <a:lnTo>
                    <a:pt x="1545" y="355"/>
                  </a:lnTo>
                  <a:lnTo>
                    <a:pt x="1522" y="384"/>
                  </a:lnTo>
                  <a:lnTo>
                    <a:pt x="1500" y="417"/>
                  </a:lnTo>
                  <a:lnTo>
                    <a:pt x="1481" y="450"/>
                  </a:lnTo>
                  <a:lnTo>
                    <a:pt x="1466" y="483"/>
                  </a:lnTo>
                  <a:lnTo>
                    <a:pt x="1450" y="512"/>
                  </a:lnTo>
                  <a:lnTo>
                    <a:pt x="1438" y="533"/>
                  </a:lnTo>
                  <a:lnTo>
                    <a:pt x="1429" y="549"/>
                  </a:lnTo>
                  <a:lnTo>
                    <a:pt x="1415" y="570"/>
                  </a:lnTo>
                  <a:lnTo>
                    <a:pt x="1411" y="587"/>
                  </a:lnTo>
                  <a:lnTo>
                    <a:pt x="1413" y="601"/>
                  </a:lnTo>
                  <a:lnTo>
                    <a:pt x="1423" y="612"/>
                  </a:lnTo>
                  <a:lnTo>
                    <a:pt x="1438" y="622"/>
                  </a:lnTo>
                  <a:lnTo>
                    <a:pt x="1458" y="632"/>
                  </a:lnTo>
                  <a:lnTo>
                    <a:pt x="1479" y="640"/>
                  </a:lnTo>
                  <a:lnTo>
                    <a:pt x="1504" y="649"/>
                  </a:lnTo>
                  <a:lnTo>
                    <a:pt x="1528" y="661"/>
                  </a:lnTo>
                  <a:lnTo>
                    <a:pt x="1553" y="676"/>
                  </a:lnTo>
                  <a:lnTo>
                    <a:pt x="1576" y="694"/>
                  </a:lnTo>
                  <a:lnTo>
                    <a:pt x="1595" y="715"/>
                  </a:lnTo>
                  <a:lnTo>
                    <a:pt x="1628" y="766"/>
                  </a:lnTo>
                  <a:lnTo>
                    <a:pt x="1659" y="814"/>
                  </a:lnTo>
                  <a:lnTo>
                    <a:pt x="1687" y="857"/>
                  </a:lnTo>
                  <a:lnTo>
                    <a:pt x="1708" y="895"/>
                  </a:lnTo>
                  <a:lnTo>
                    <a:pt x="1721" y="932"/>
                  </a:lnTo>
                  <a:lnTo>
                    <a:pt x="1729" y="965"/>
                  </a:lnTo>
                  <a:lnTo>
                    <a:pt x="1727" y="996"/>
                  </a:lnTo>
                  <a:lnTo>
                    <a:pt x="1714" y="1023"/>
                  </a:lnTo>
                  <a:lnTo>
                    <a:pt x="1704" y="1039"/>
                  </a:lnTo>
                  <a:lnTo>
                    <a:pt x="1687" y="1047"/>
                  </a:lnTo>
                  <a:lnTo>
                    <a:pt x="1663" y="1052"/>
                  </a:lnTo>
                  <a:lnTo>
                    <a:pt x="1634" y="1052"/>
                  </a:lnTo>
                  <a:lnTo>
                    <a:pt x="1603" y="1049"/>
                  </a:lnTo>
                  <a:lnTo>
                    <a:pt x="1572" y="1041"/>
                  </a:lnTo>
                  <a:lnTo>
                    <a:pt x="1541" y="1029"/>
                  </a:lnTo>
                  <a:lnTo>
                    <a:pt x="1510" y="1016"/>
                  </a:lnTo>
                  <a:lnTo>
                    <a:pt x="1485" y="998"/>
                  </a:lnTo>
                  <a:lnTo>
                    <a:pt x="1466" y="979"/>
                  </a:lnTo>
                  <a:lnTo>
                    <a:pt x="1452" y="956"/>
                  </a:lnTo>
                  <a:lnTo>
                    <a:pt x="1446" y="932"/>
                  </a:lnTo>
                  <a:lnTo>
                    <a:pt x="1452" y="905"/>
                  </a:lnTo>
                  <a:lnTo>
                    <a:pt x="1469" y="872"/>
                  </a:lnTo>
                  <a:lnTo>
                    <a:pt x="1481" y="845"/>
                  </a:lnTo>
                  <a:lnTo>
                    <a:pt x="1487" y="822"/>
                  </a:lnTo>
                  <a:lnTo>
                    <a:pt x="1487" y="802"/>
                  </a:lnTo>
                  <a:lnTo>
                    <a:pt x="1481" y="787"/>
                  </a:lnTo>
                  <a:lnTo>
                    <a:pt x="1473" y="773"/>
                  </a:lnTo>
                  <a:lnTo>
                    <a:pt x="1460" y="762"/>
                  </a:lnTo>
                  <a:lnTo>
                    <a:pt x="1444" y="754"/>
                  </a:lnTo>
                  <a:lnTo>
                    <a:pt x="1425" y="746"/>
                  </a:lnTo>
                  <a:lnTo>
                    <a:pt x="1404" y="738"/>
                  </a:lnTo>
                  <a:lnTo>
                    <a:pt x="1382" y="742"/>
                  </a:lnTo>
                  <a:lnTo>
                    <a:pt x="1367" y="752"/>
                  </a:lnTo>
                  <a:lnTo>
                    <a:pt x="1353" y="768"/>
                  </a:lnTo>
                  <a:lnTo>
                    <a:pt x="1345" y="789"/>
                  </a:lnTo>
                  <a:lnTo>
                    <a:pt x="1340" y="814"/>
                  </a:lnTo>
                  <a:lnTo>
                    <a:pt x="1336" y="845"/>
                  </a:lnTo>
                  <a:lnTo>
                    <a:pt x="1334" y="878"/>
                  </a:lnTo>
                  <a:lnTo>
                    <a:pt x="1334" y="915"/>
                  </a:lnTo>
                  <a:lnTo>
                    <a:pt x="1334" y="954"/>
                  </a:lnTo>
                  <a:lnTo>
                    <a:pt x="1328" y="977"/>
                  </a:lnTo>
                  <a:lnTo>
                    <a:pt x="1316" y="998"/>
                  </a:lnTo>
                  <a:lnTo>
                    <a:pt x="1297" y="1018"/>
                  </a:lnTo>
                  <a:lnTo>
                    <a:pt x="1272" y="1035"/>
                  </a:lnTo>
                  <a:lnTo>
                    <a:pt x="1241" y="1052"/>
                  </a:lnTo>
                  <a:lnTo>
                    <a:pt x="1210" y="1068"/>
                  </a:lnTo>
                  <a:lnTo>
                    <a:pt x="1175" y="1085"/>
                  </a:lnTo>
                  <a:lnTo>
                    <a:pt x="1140" y="1103"/>
                  </a:lnTo>
                  <a:lnTo>
                    <a:pt x="1107" y="1122"/>
                  </a:lnTo>
                  <a:lnTo>
                    <a:pt x="1076" y="1144"/>
                  </a:lnTo>
                  <a:lnTo>
                    <a:pt x="1047" y="1167"/>
                  </a:lnTo>
                  <a:lnTo>
                    <a:pt x="1027" y="1200"/>
                  </a:lnTo>
                  <a:lnTo>
                    <a:pt x="1020" y="1229"/>
                  </a:lnTo>
                  <a:lnTo>
                    <a:pt x="1022" y="1258"/>
                  </a:lnTo>
                  <a:lnTo>
                    <a:pt x="1033" y="1287"/>
                  </a:lnTo>
                  <a:lnTo>
                    <a:pt x="1053" y="1312"/>
                  </a:lnTo>
                  <a:lnTo>
                    <a:pt x="1078" y="1337"/>
                  </a:lnTo>
                  <a:lnTo>
                    <a:pt x="1109" y="1359"/>
                  </a:lnTo>
                  <a:lnTo>
                    <a:pt x="1146" y="1380"/>
                  </a:lnTo>
                  <a:lnTo>
                    <a:pt x="1183" y="1397"/>
                  </a:lnTo>
                  <a:lnTo>
                    <a:pt x="1221" y="1415"/>
                  </a:lnTo>
                  <a:lnTo>
                    <a:pt x="1262" y="1428"/>
                  </a:lnTo>
                  <a:lnTo>
                    <a:pt x="1287" y="1434"/>
                  </a:lnTo>
                  <a:lnTo>
                    <a:pt x="1307" y="1434"/>
                  </a:lnTo>
                  <a:lnTo>
                    <a:pt x="1322" y="1427"/>
                  </a:lnTo>
                  <a:lnTo>
                    <a:pt x="1332" y="1413"/>
                  </a:lnTo>
                  <a:lnTo>
                    <a:pt x="1340" y="1395"/>
                  </a:lnTo>
                  <a:lnTo>
                    <a:pt x="1343" y="1374"/>
                  </a:lnTo>
                  <a:lnTo>
                    <a:pt x="1345" y="1351"/>
                  </a:lnTo>
                  <a:lnTo>
                    <a:pt x="1345" y="1322"/>
                  </a:lnTo>
                  <a:lnTo>
                    <a:pt x="1343" y="1293"/>
                  </a:lnTo>
                  <a:lnTo>
                    <a:pt x="1343" y="1264"/>
                  </a:lnTo>
                  <a:lnTo>
                    <a:pt x="1341" y="1233"/>
                  </a:lnTo>
                  <a:lnTo>
                    <a:pt x="1341" y="1202"/>
                  </a:lnTo>
                  <a:lnTo>
                    <a:pt x="1343" y="1173"/>
                  </a:lnTo>
                  <a:lnTo>
                    <a:pt x="1349" y="1145"/>
                  </a:lnTo>
                  <a:lnTo>
                    <a:pt x="1357" y="1120"/>
                  </a:lnTo>
                  <a:lnTo>
                    <a:pt x="1371" y="1085"/>
                  </a:lnTo>
                  <a:lnTo>
                    <a:pt x="1386" y="1064"/>
                  </a:lnTo>
                  <a:lnTo>
                    <a:pt x="1407" y="1050"/>
                  </a:lnTo>
                  <a:lnTo>
                    <a:pt x="1429" y="1045"/>
                  </a:lnTo>
                  <a:lnTo>
                    <a:pt x="1456" y="1047"/>
                  </a:lnTo>
                  <a:lnTo>
                    <a:pt x="1483" y="1056"/>
                  </a:lnTo>
                  <a:lnTo>
                    <a:pt x="1512" y="1072"/>
                  </a:lnTo>
                  <a:lnTo>
                    <a:pt x="1541" y="1091"/>
                  </a:lnTo>
                  <a:lnTo>
                    <a:pt x="1572" y="1116"/>
                  </a:lnTo>
                  <a:lnTo>
                    <a:pt x="1601" y="1144"/>
                  </a:lnTo>
                  <a:lnTo>
                    <a:pt x="1632" y="1175"/>
                  </a:lnTo>
                  <a:lnTo>
                    <a:pt x="1661" y="1206"/>
                  </a:lnTo>
                  <a:lnTo>
                    <a:pt x="1690" y="1238"/>
                  </a:lnTo>
                  <a:lnTo>
                    <a:pt x="1712" y="1270"/>
                  </a:lnTo>
                  <a:lnTo>
                    <a:pt x="1733" y="1302"/>
                  </a:lnTo>
                  <a:lnTo>
                    <a:pt x="1756" y="1335"/>
                  </a:lnTo>
                  <a:lnTo>
                    <a:pt x="1778" y="1368"/>
                  </a:lnTo>
                  <a:lnTo>
                    <a:pt x="1799" y="1403"/>
                  </a:lnTo>
                  <a:lnTo>
                    <a:pt x="1816" y="1436"/>
                  </a:lnTo>
                  <a:lnTo>
                    <a:pt x="1830" y="1471"/>
                  </a:lnTo>
                  <a:lnTo>
                    <a:pt x="1840" y="1504"/>
                  </a:lnTo>
                  <a:lnTo>
                    <a:pt x="1842" y="1535"/>
                  </a:lnTo>
                  <a:lnTo>
                    <a:pt x="1838" y="1566"/>
                  </a:lnTo>
                  <a:lnTo>
                    <a:pt x="1828" y="1593"/>
                  </a:lnTo>
                  <a:lnTo>
                    <a:pt x="1807" y="1620"/>
                  </a:lnTo>
                  <a:lnTo>
                    <a:pt x="1778" y="1646"/>
                  </a:lnTo>
                  <a:lnTo>
                    <a:pt x="1737" y="1667"/>
                  </a:lnTo>
                  <a:lnTo>
                    <a:pt x="1636" y="1711"/>
                  </a:lnTo>
                  <a:lnTo>
                    <a:pt x="1547" y="1756"/>
                  </a:lnTo>
                  <a:lnTo>
                    <a:pt x="1469" y="1801"/>
                  </a:lnTo>
                  <a:lnTo>
                    <a:pt x="1404" y="1847"/>
                  </a:lnTo>
                  <a:lnTo>
                    <a:pt x="1345" y="1894"/>
                  </a:lnTo>
                  <a:lnTo>
                    <a:pt x="1295" y="1940"/>
                  </a:lnTo>
                  <a:lnTo>
                    <a:pt x="1254" y="1985"/>
                  </a:lnTo>
                  <a:lnTo>
                    <a:pt x="1219" y="2031"/>
                  </a:lnTo>
                  <a:lnTo>
                    <a:pt x="1190" y="2076"/>
                  </a:lnTo>
                  <a:lnTo>
                    <a:pt x="1167" y="2118"/>
                  </a:lnTo>
                  <a:lnTo>
                    <a:pt x="1150" y="2161"/>
                  </a:lnTo>
                  <a:lnTo>
                    <a:pt x="1138" y="2196"/>
                  </a:lnTo>
                  <a:lnTo>
                    <a:pt x="1134" y="2231"/>
                  </a:lnTo>
                  <a:lnTo>
                    <a:pt x="1132" y="2260"/>
                  </a:lnTo>
                  <a:lnTo>
                    <a:pt x="1134" y="2285"/>
                  </a:lnTo>
                  <a:lnTo>
                    <a:pt x="1136" y="2310"/>
                  </a:lnTo>
                  <a:lnTo>
                    <a:pt x="1136" y="2332"/>
                  </a:lnTo>
                  <a:lnTo>
                    <a:pt x="1134" y="2349"/>
                  </a:lnTo>
                  <a:lnTo>
                    <a:pt x="1130" y="2367"/>
                  </a:lnTo>
                  <a:lnTo>
                    <a:pt x="1119" y="2382"/>
                  </a:lnTo>
                  <a:lnTo>
                    <a:pt x="1105" y="2394"/>
                  </a:lnTo>
                  <a:lnTo>
                    <a:pt x="1093" y="2396"/>
                  </a:lnTo>
                  <a:lnTo>
                    <a:pt x="1084" y="2392"/>
                  </a:lnTo>
                  <a:lnTo>
                    <a:pt x="1074" y="2380"/>
                  </a:lnTo>
                  <a:lnTo>
                    <a:pt x="1066" y="2363"/>
                  </a:lnTo>
                  <a:lnTo>
                    <a:pt x="1058" y="2339"/>
                  </a:lnTo>
                  <a:lnTo>
                    <a:pt x="1049" y="2310"/>
                  </a:lnTo>
                  <a:lnTo>
                    <a:pt x="1037" y="2275"/>
                  </a:lnTo>
                  <a:lnTo>
                    <a:pt x="1024" y="2239"/>
                  </a:lnTo>
                  <a:lnTo>
                    <a:pt x="1006" y="2219"/>
                  </a:lnTo>
                  <a:lnTo>
                    <a:pt x="983" y="2206"/>
                  </a:lnTo>
                  <a:lnTo>
                    <a:pt x="954" y="2196"/>
                  </a:lnTo>
                  <a:lnTo>
                    <a:pt x="923" y="2192"/>
                  </a:lnTo>
                  <a:lnTo>
                    <a:pt x="890" y="2194"/>
                  </a:lnTo>
                  <a:lnTo>
                    <a:pt x="855" y="2202"/>
                  </a:lnTo>
                  <a:lnTo>
                    <a:pt x="822" y="2217"/>
                  </a:lnTo>
                  <a:lnTo>
                    <a:pt x="791" y="2241"/>
                  </a:lnTo>
                  <a:lnTo>
                    <a:pt x="762" y="2272"/>
                  </a:lnTo>
                  <a:lnTo>
                    <a:pt x="737" y="2310"/>
                  </a:lnTo>
                  <a:lnTo>
                    <a:pt x="719" y="2322"/>
                  </a:lnTo>
                  <a:lnTo>
                    <a:pt x="708" y="2341"/>
                  </a:lnTo>
                  <a:lnTo>
                    <a:pt x="698" y="2363"/>
                  </a:lnTo>
                  <a:lnTo>
                    <a:pt x="694" y="2388"/>
                  </a:lnTo>
                  <a:lnTo>
                    <a:pt x="690" y="2417"/>
                  </a:lnTo>
                  <a:lnTo>
                    <a:pt x="690" y="2446"/>
                  </a:lnTo>
                  <a:lnTo>
                    <a:pt x="690" y="2477"/>
                  </a:lnTo>
                  <a:lnTo>
                    <a:pt x="692" y="2514"/>
                  </a:lnTo>
                  <a:lnTo>
                    <a:pt x="696" y="2539"/>
                  </a:lnTo>
                  <a:lnTo>
                    <a:pt x="704" y="2556"/>
                  </a:lnTo>
                  <a:lnTo>
                    <a:pt x="715" y="2566"/>
                  </a:lnTo>
                  <a:lnTo>
                    <a:pt x="727" y="2568"/>
                  </a:lnTo>
                  <a:lnTo>
                    <a:pt x="743" y="2564"/>
                  </a:lnTo>
                  <a:lnTo>
                    <a:pt x="758" y="2555"/>
                  </a:lnTo>
                  <a:lnTo>
                    <a:pt x="775" y="2543"/>
                  </a:lnTo>
                  <a:lnTo>
                    <a:pt x="795" y="2529"/>
                  </a:lnTo>
                  <a:lnTo>
                    <a:pt x="814" y="2512"/>
                  </a:lnTo>
                  <a:lnTo>
                    <a:pt x="836" y="2496"/>
                  </a:lnTo>
                  <a:lnTo>
                    <a:pt x="855" y="2481"/>
                  </a:lnTo>
                  <a:lnTo>
                    <a:pt x="876" y="2467"/>
                  </a:lnTo>
                  <a:lnTo>
                    <a:pt x="896" y="2456"/>
                  </a:lnTo>
                  <a:lnTo>
                    <a:pt x="915" y="2450"/>
                  </a:lnTo>
                  <a:lnTo>
                    <a:pt x="934" y="2448"/>
                  </a:lnTo>
                  <a:lnTo>
                    <a:pt x="952" y="2452"/>
                  </a:lnTo>
                  <a:lnTo>
                    <a:pt x="975" y="2460"/>
                  </a:lnTo>
                  <a:lnTo>
                    <a:pt x="987" y="2465"/>
                  </a:lnTo>
                  <a:lnTo>
                    <a:pt x="987" y="2471"/>
                  </a:lnTo>
                  <a:lnTo>
                    <a:pt x="981" y="2479"/>
                  </a:lnTo>
                  <a:lnTo>
                    <a:pt x="969" y="2487"/>
                  </a:lnTo>
                  <a:lnTo>
                    <a:pt x="952" y="2496"/>
                  </a:lnTo>
                  <a:lnTo>
                    <a:pt x="932" y="2508"/>
                  </a:lnTo>
                  <a:lnTo>
                    <a:pt x="915" y="2522"/>
                  </a:lnTo>
                  <a:lnTo>
                    <a:pt x="898" y="2537"/>
                  </a:lnTo>
                  <a:lnTo>
                    <a:pt x="886" y="2553"/>
                  </a:lnTo>
                  <a:lnTo>
                    <a:pt x="878" y="2574"/>
                  </a:lnTo>
                  <a:lnTo>
                    <a:pt x="880" y="2595"/>
                  </a:lnTo>
                  <a:lnTo>
                    <a:pt x="886" y="2611"/>
                  </a:lnTo>
                  <a:lnTo>
                    <a:pt x="896" y="2622"/>
                  </a:lnTo>
                  <a:lnTo>
                    <a:pt x="907" y="2628"/>
                  </a:lnTo>
                  <a:lnTo>
                    <a:pt x="919" y="2632"/>
                  </a:lnTo>
                  <a:lnTo>
                    <a:pt x="932" y="2634"/>
                  </a:lnTo>
                  <a:lnTo>
                    <a:pt x="946" y="2634"/>
                  </a:lnTo>
                  <a:lnTo>
                    <a:pt x="960" y="2634"/>
                  </a:lnTo>
                  <a:lnTo>
                    <a:pt x="973" y="2636"/>
                  </a:lnTo>
                  <a:lnTo>
                    <a:pt x="985" y="2638"/>
                  </a:lnTo>
                  <a:lnTo>
                    <a:pt x="994" y="2646"/>
                  </a:lnTo>
                  <a:lnTo>
                    <a:pt x="1002" y="2655"/>
                  </a:lnTo>
                  <a:lnTo>
                    <a:pt x="1008" y="2671"/>
                  </a:lnTo>
                  <a:lnTo>
                    <a:pt x="1008" y="2694"/>
                  </a:lnTo>
                  <a:lnTo>
                    <a:pt x="1006" y="2723"/>
                  </a:lnTo>
                  <a:lnTo>
                    <a:pt x="1000" y="2762"/>
                  </a:lnTo>
                  <a:lnTo>
                    <a:pt x="998" y="2785"/>
                  </a:lnTo>
                  <a:lnTo>
                    <a:pt x="1002" y="2803"/>
                  </a:lnTo>
                  <a:lnTo>
                    <a:pt x="1014" y="2814"/>
                  </a:lnTo>
                  <a:lnTo>
                    <a:pt x="1029" y="2818"/>
                  </a:lnTo>
                  <a:lnTo>
                    <a:pt x="1051" y="2820"/>
                  </a:lnTo>
                  <a:lnTo>
                    <a:pt x="1076" y="2816"/>
                  </a:lnTo>
                  <a:lnTo>
                    <a:pt x="1103" y="2808"/>
                  </a:lnTo>
                  <a:lnTo>
                    <a:pt x="1132" y="2799"/>
                  </a:lnTo>
                  <a:lnTo>
                    <a:pt x="1163" y="2789"/>
                  </a:lnTo>
                  <a:lnTo>
                    <a:pt x="1194" y="2775"/>
                  </a:lnTo>
                  <a:lnTo>
                    <a:pt x="1227" y="2762"/>
                  </a:lnTo>
                  <a:lnTo>
                    <a:pt x="1256" y="2750"/>
                  </a:lnTo>
                  <a:lnTo>
                    <a:pt x="1285" y="2739"/>
                  </a:lnTo>
                  <a:lnTo>
                    <a:pt x="1334" y="2727"/>
                  </a:lnTo>
                  <a:lnTo>
                    <a:pt x="1380" y="2725"/>
                  </a:lnTo>
                  <a:lnTo>
                    <a:pt x="1425" y="2735"/>
                  </a:lnTo>
                  <a:lnTo>
                    <a:pt x="1469" y="2752"/>
                  </a:lnTo>
                  <a:lnTo>
                    <a:pt x="1512" y="2775"/>
                  </a:lnTo>
                  <a:lnTo>
                    <a:pt x="1553" y="2806"/>
                  </a:lnTo>
                  <a:lnTo>
                    <a:pt x="1593" y="2841"/>
                  </a:lnTo>
                  <a:lnTo>
                    <a:pt x="1634" y="2878"/>
                  </a:lnTo>
                  <a:lnTo>
                    <a:pt x="1673" y="2919"/>
                  </a:lnTo>
                  <a:lnTo>
                    <a:pt x="1710" y="2958"/>
                  </a:lnTo>
                  <a:lnTo>
                    <a:pt x="1747" y="2998"/>
                  </a:lnTo>
                  <a:lnTo>
                    <a:pt x="1783" y="3037"/>
                  </a:lnTo>
                  <a:lnTo>
                    <a:pt x="1820" y="3072"/>
                  </a:lnTo>
                  <a:lnTo>
                    <a:pt x="1857" y="3101"/>
                  </a:lnTo>
                  <a:lnTo>
                    <a:pt x="1892" y="3126"/>
                  </a:lnTo>
                  <a:lnTo>
                    <a:pt x="1929" y="3144"/>
                  </a:lnTo>
                  <a:lnTo>
                    <a:pt x="1995" y="3167"/>
                  </a:lnTo>
                  <a:lnTo>
                    <a:pt x="2051" y="3188"/>
                  </a:lnTo>
                  <a:lnTo>
                    <a:pt x="2096" y="3210"/>
                  </a:lnTo>
                  <a:lnTo>
                    <a:pt x="2130" y="3231"/>
                  </a:lnTo>
                  <a:lnTo>
                    <a:pt x="2158" y="3252"/>
                  </a:lnTo>
                  <a:lnTo>
                    <a:pt x="2173" y="3276"/>
                  </a:lnTo>
                  <a:lnTo>
                    <a:pt x="2181" y="3301"/>
                  </a:lnTo>
                  <a:lnTo>
                    <a:pt x="2177" y="3328"/>
                  </a:lnTo>
                  <a:lnTo>
                    <a:pt x="2165" y="3357"/>
                  </a:lnTo>
                  <a:lnTo>
                    <a:pt x="2125" y="3433"/>
                  </a:lnTo>
                  <a:lnTo>
                    <a:pt x="2076" y="3506"/>
                  </a:lnTo>
                  <a:lnTo>
                    <a:pt x="2024" y="3574"/>
                  </a:lnTo>
                  <a:lnTo>
                    <a:pt x="1968" y="3644"/>
                  </a:lnTo>
                  <a:lnTo>
                    <a:pt x="1909" y="3710"/>
                  </a:lnTo>
                  <a:lnTo>
                    <a:pt x="1851" y="3779"/>
                  </a:lnTo>
                  <a:lnTo>
                    <a:pt x="1793" y="3849"/>
                  </a:lnTo>
                  <a:lnTo>
                    <a:pt x="1737" y="3921"/>
                  </a:lnTo>
                  <a:lnTo>
                    <a:pt x="1685" y="3998"/>
                  </a:lnTo>
                  <a:lnTo>
                    <a:pt x="1636" y="4080"/>
                  </a:lnTo>
                  <a:lnTo>
                    <a:pt x="1595" y="4167"/>
                  </a:lnTo>
                  <a:lnTo>
                    <a:pt x="1679" y="4194"/>
                  </a:lnTo>
                  <a:lnTo>
                    <a:pt x="1768" y="4217"/>
                  </a:lnTo>
                  <a:lnTo>
                    <a:pt x="1861" y="4235"/>
                  </a:lnTo>
                  <a:lnTo>
                    <a:pt x="1954" y="4247"/>
                  </a:lnTo>
                  <a:lnTo>
                    <a:pt x="2049" y="4256"/>
                  </a:lnTo>
                  <a:lnTo>
                    <a:pt x="2144" y="4260"/>
                  </a:lnTo>
                  <a:lnTo>
                    <a:pt x="2237" y="4262"/>
                  </a:lnTo>
                  <a:lnTo>
                    <a:pt x="2367" y="4260"/>
                  </a:lnTo>
                  <a:lnTo>
                    <a:pt x="2493" y="4250"/>
                  </a:lnTo>
                  <a:lnTo>
                    <a:pt x="2613" y="4235"/>
                  </a:lnTo>
                  <a:lnTo>
                    <a:pt x="2731" y="4212"/>
                  </a:lnTo>
                  <a:lnTo>
                    <a:pt x="2846" y="4181"/>
                  </a:lnTo>
                  <a:lnTo>
                    <a:pt x="2958" y="4142"/>
                  </a:lnTo>
                  <a:lnTo>
                    <a:pt x="3071" y="4095"/>
                  </a:lnTo>
                  <a:lnTo>
                    <a:pt x="3063" y="4033"/>
                  </a:lnTo>
                  <a:lnTo>
                    <a:pt x="3057" y="3967"/>
                  </a:lnTo>
                  <a:lnTo>
                    <a:pt x="3057" y="3898"/>
                  </a:lnTo>
                  <a:lnTo>
                    <a:pt x="3059" y="3828"/>
                  </a:lnTo>
                  <a:lnTo>
                    <a:pt x="3063" y="3754"/>
                  </a:lnTo>
                  <a:lnTo>
                    <a:pt x="3069" y="3681"/>
                  </a:lnTo>
                  <a:lnTo>
                    <a:pt x="3078" y="3607"/>
                  </a:lnTo>
                  <a:lnTo>
                    <a:pt x="3086" y="3533"/>
                  </a:lnTo>
                  <a:lnTo>
                    <a:pt x="3096" y="3462"/>
                  </a:lnTo>
                  <a:lnTo>
                    <a:pt x="3105" y="3392"/>
                  </a:lnTo>
                  <a:lnTo>
                    <a:pt x="3115" y="3324"/>
                  </a:lnTo>
                  <a:lnTo>
                    <a:pt x="3121" y="3258"/>
                  </a:lnTo>
                  <a:lnTo>
                    <a:pt x="3127" y="3196"/>
                  </a:lnTo>
                  <a:lnTo>
                    <a:pt x="3131" y="3142"/>
                  </a:lnTo>
                  <a:lnTo>
                    <a:pt x="3131" y="3089"/>
                  </a:lnTo>
                  <a:lnTo>
                    <a:pt x="3129" y="3045"/>
                  </a:lnTo>
                  <a:lnTo>
                    <a:pt x="3123" y="3006"/>
                  </a:lnTo>
                  <a:lnTo>
                    <a:pt x="3111" y="2975"/>
                  </a:lnTo>
                  <a:lnTo>
                    <a:pt x="3096" y="2952"/>
                  </a:lnTo>
                  <a:lnTo>
                    <a:pt x="3067" y="2938"/>
                  </a:lnTo>
                  <a:lnTo>
                    <a:pt x="3038" y="2927"/>
                  </a:lnTo>
                  <a:lnTo>
                    <a:pt x="3009" y="2921"/>
                  </a:lnTo>
                  <a:lnTo>
                    <a:pt x="2981" y="2921"/>
                  </a:lnTo>
                  <a:lnTo>
                    <a:pt x="2952" y="2929"/>
                  </a:lnTo>
                  <a:lnTo>
                    <a:pt x="2912" y="2940"/>
                  </a:lnTo>
                  <a:lnTo>
                    <a:pt x="2871" y="2954"/>
                  </a:lnTo>
                  <a:lnTo>
                    <a:pt x="2832" y="2965"/>
                  </a:lnTo>
                  <a:lnTo>
                    <a:pt x="2793" y="2975"/>
                  </a:lnTo>
                  <a:lnTo>
                    <a:pt x="2757" y="2981"/>
                  </a:lnTo>
                  <a:lnTo>
                    <a:pt x="2722" y="2983"/>
                  </a:lnTo>
                  <a:lnTo>
                    <a:pt x="2691" y="2977"/>
                  </a:lnTo>
                  <a:lnTo>
                    <a:pt x="2636" y="2946"/>
                  </a:lnTo>
                  <a:lnTo>
                    <a:pt x="2592" y="2911"/>
                  </a:lnTo>
                  <a:lnTo>
                    <a:pt x="2555" y="2870"/>
                  </a:lnTo>
                  <a:lnTo>
                    <a:pt x="2526" y="2826"/>
                  </a:lnTo>
                  <a:lnTo>
                    <a:pt x="2505" y="2775"/>
                  </a:lnTo>
                  <a:lnTo>
                    <a:pt x="2489" y="2725"/>
                  </a:lnTo>
                  <a:lnTo>
                    <a:pt x="2481" y="2671"/>
                  </a:lnTo>
                  <a:lnTo>
                    <a:pt x="2481" y="2615"/>
                  </a:lnTo>
                  <a:lnTo>
                    <a:pt x="2487" y="2556"/>
                  </a:lnTo>
                  <a:lnTo>
                    <a:pt x="2499" y="2500"/>
                  </a:lnTo>
                  <a:lnTo>
                    <a:pt x="2514" y="2442"/>
                  </a:lnTo>
                  <a:lnTo>
                    <a:pt x="2537" y="2384"/>
                  </a:lnTo>
                  <a:lnTo>
                    <a:pt x="2565" y="2328"/>
                  </a:lnTo>
                  <a:lnTo>
                    <a:pt x="2598" y="2275"/>
                  </a:lnTo>
                  <a:lnTo>
                    <a:pt x="2632" y="2223"/>
                  </a:lnTo>
                  <a:lnTo>
                    <a:pt x="2673" y="2175"/>
                  </a:lnTo>
                  <a:lnTo>
                    <a:pt x="2718" y="2130"/>
                  </a:lnTo>
                  <a:lnTo>
                    <a:pt x="2766" y="2089"/>
                  </a:lnTo>
                  <a:lnTo>
                    <a:pt x="2817" y="2054"/>
                  </a:lnTo>
                  <a:lnTo>
                    <a:pt x="2871" y="2023"/>
                  </a:lnTo>
                  <a:lnTo>
                    <a:pt x="2929" y="2000"/>
                  </a:lnTo>
                  <a:lnTo>
                    <a:pt x="2981" y="1987"/>
                  </a:lnTo>
                  <a:lnTo>
                    <a:pt x="3036" y="1979"/>
                  </a:lnTo>
                  <a:lnTo>
                    <a:pt x="3090" y="1977"/>
                  </a:lnTo>
                  <a:lnTo>
                    <a:pt x="3142" y="1977"/>
                  </a:lnTo>
                  <a:lnTo>
                    <a:pt x="3185" y="1969"/>
                  </a:lnTo>
                  <a:lnTo>
                    <a:pt x="3222" y="1963"/>
                  </a:lnTo>
                  <a:lnTo>
                    <a:pt x="3255" y="1961"/>
                  </a:lnTo>
                  <a:lnTo>
                    <a:pt x="3282" y="1965"/>
                  </a:lnTo>
                  <a:lnTo>
                    <a:pt x="3305" y="1971"/>
                  </a:lnTo>
                  <a:lnTo>
                    <a:pt x="3321" y="1983"/>
                  </a:lnTo>
                  <a:lnTo>
                    <a:pt x="3330" y="2000"/>
                  </a:lnTo>
                  <a:lnTo>
                    <a:pt x="3332" y="2023"/>
                  </a:lnTo>
                  <a:lnTo>
                    <a:pt x="3338" y="2053"/>
                  </a:lnTo>
                  <a:lnTo>
                    <a:pt x="3354" y="2078"/>
                  </a:lnTo>
                  <a:lnTo>
                    <a:pt x="3375" y="2103"/>
                  </a:lnTo>
                  <a:lnTo>
                    <a:pt x="3404" y="2124"/>
                  </a:lnTo>
                  <a:lnTo>
                    <a:pt x="3435" y="2144"/>
                  </a:lnTo>
                  <a:lnTo>
                    <a:pt x="3466" y="2159"/>
                  </a:lnTo>
                  <a:lnTo>
                    <a:pt x="3499" y="2173"/>
                  </a:lnTo>
                  <a:lnTo>
                    <a:pt x="3528" y="2182"/>
                  </a:lnTo>
                  <a:lnTo>
                    <a:pt x="3553" y="2188"/>
                  </a:lnTo>
                  <a:lnTo>
                    <a:pt x="3571" y="2190"/>
                  </a:lnTo>
                  <a:lnTo>
                    <a:pt x="3580" y="2186"/>
                  </a:lnTo>
                  <a:lnTo>
                    <a:pt x="3586" y="2177"/>
                  </a:lnTo>
                  <a:lnTo>
                    <a:pt x="3592" y="2163"/>
                  </a:lnTo>
                  <a:lnTo>
                    <a:pt x="3598" y="2148"/>
                  </a:lnTo>
                  <a:lnTo>
                    <a:pt x="3604" y="2134"/>
                  </a:lnTo>
                  <a:lnTo>
                    <a:pt x="3609" y="2124"/>
                  </a:lnTo>
                  <a:lnTo>
                    <a:pt x="3619" y="2118"/>
                  </a:lnTo>
                  <a:lnTo>
                    <a:pt x="3664" y="2122"/>
                  </a:lnTo>
                  <a:lnTo>
                    <a:pt x="3704" y="2128"/>
                  </a:lnTo>
                  <a:lnTo>
                    <a:pt x="3743" y="2136"/>
                  </a:lnTo>
                  <a:lnTo>
                    <a:pt x="3780" y="2144"/>
                  </a:lnTo>
                  <a:lnTo>
                    <a:pt x="3813" y="2153"/>
                  </a:lnTo>
                  <a:lnTo>
                    <a:pt x="3842" y="2161"/>
                  </a:lnTo>
                  <a:lnTo>
                    <a:pt x="3867" y="2167"/>
                  </a:lnTo>
                  <a:lnTo>
                    <a:pt x="3889" y="2169"/>
                  </a:lnTo>
                  <a:lnTo>
                    <a:pt x="3906" y="2167"/>
                  </a:lnTo>
                  <a:lnTo>
                    <a:pt x="3920" y="2159"/>
                  </a:lnTo>
                  <a:lnTo>
                    <a:pt x="3929" y="2144"/>
                  </a:lnTo>
                  <a:lnTo>
                    <a:pt x="3939" y="2095"/>
                  </a:lnTo>
                  <a:lnTo>
                    <a:pt x="3945" y="2056"/>
                  </a:lnTo>
                  <a:lnTo>
                    <a:pt x="3949" y="2029"/>
                  </a:lnTo>
                  <a:lnTo>
                    <a:pt x="3949" y="2010"/>
                  </a:lnTo>
                  <a:lnTo>
                    <a:pt x="3947" y="1998"/>
                  </a:lnTo>
                  <a:lnTo>
                    <a:pt x="3939" y="1992"/>
                  </a:lnTo>
                  <a:lnTo>
                    <a:pt x="3927" y="1991"/>
                  </a:lnTo>
                  <a:lnTo>
                    <a:pt x="3914" y="1992"/>
                  </a:lnTo>
                  <a:lnTo>
                    <a:pt x="3892" y="1996"/>
                  </a:lnTo>
                  <a:lnTo>
                    <a:pt x="3867" y="2000"/>
                  </a:lnTo>
                  <a:lnTo>
                    <a:pt x="3838" y="2002"/>
                  </a:lnTo>
                  <a:lnTo>
                    <a:pt x="3803" y="2004"/>
                  </a:lnTo>
                  <a:lnTo>
                    <a:pt x="3763" y="2000"/>
                  </a:lnTo>
                  <a:lnTo>
                    <a:pt x="3743" y="1991"/>
                  </a:lnTo>
                  <a:lnTo>
                    <a:pt x="3732" y="1977"/>
                  </a:lnTo>
                  <a:lnTo>
                    <a:pt x="3724" y="1960"/>
                  </a:lnTo>
                  <a:lnTo>
                    <a:pt x="3718" y="1940"/>
                  </a:lnTo>
                  <a:lnTo>
                    <a:pt x="3714" y="1921"/>
                  </a:lnTo>
                  <a:lnTo>
                    <a:pt x="3710" y="1901"/>
                  </a:lnTo>
                  <a:lnTo>
                    <a:pt x="3704" y="1884"/>
                  </a:lnTo>
                  <a:lnTo>
                    <a:pt x="3697" y="1870"/>
                  </a:lnTo>
                  <a:lnTo>
                    <a:pt x="3685" y="1861"/>
                  </a:lnTo>
                  <a:lnTo>
                    <a:pt x="3666" y="1857"/>
                  </a:lnTo>
                  <a:lnTo>
                    <a:pt x="3656" y="1855"/>
                  </a:lnTo>
                  <a:lnTo>
                    <a:pt x="3652" y="1859"/>
                  </a:lnTo>
                  <a:lnTo>
                    <a:pt x="3648" y="1868"/>
                  </a:lnTo>
                  <a:lnTo>
                    <a:pt x="3648" y="1882"/>
                  </a:lnTo>
                  <a:lnTo>
                    <a:pt x="3650" y="1897"/>
                  </a:lnTo>
                  <a:lnTo>
                    <a:pt x="3652" y="1915"/>
                  </a:lnTo>
                  <a:lnTo>
                    <a:pt x="3652" y="1930"/>
                  </a:lnTo>
                  <a:lnTo>
                    <a:pt x="3652" y="1944"/>
                  </a:lnTo>
                  <a:lnTo>
                    <a:pt x="3650" y="1954"/>
                  </a:lnTo>
                  <a:lnTo>
                    <a:pt x="3644" y="1961"/>
                  </a:lnTo>
                  <a:lnTo>
                    <a:pt x="3635" y="1960"/>
                  </a:lnTo>
                  <a:lnTo>
                    <a:pt x="3619" y="1952"/>
                  </a:lnTo>
                  <a:lnTo>
                    <a:pt x="3588" y="1927"/>
                  </a:lnTo>
                  <a:lnTo>
                    <a:pt x="3561" y="1894"/>
                  </a:lnTo>
                  <a:lnTo>
                    <a:pt x="3536" y="1859"/>
                  </a:lnTo>
                  <a:lnTo>
                    <a:pt x="3513" y="1822"/>
                  </a:lnTo>
                  <a:lnTo>
                    <a:pt x="3487" y="1787"/>
                  </a:lnTo>
                  <a:lnTo>
                    <a:pt x="3464" y="1754"/>
                  </a:lnTo>
                  <a:lnTo>
                    <a:pt x="3439" y="1725"/>
                  </a:lnTo>
                  <a:lnTo>
                    <a:pt x="3412" y="1704"/>
                  </a:lnTo>
                  <a:lnTo>
                    <a:pt x="3381" y="1690"/>
                  </a:lnTo>
                  <a:lnTo>
                    <a:pt x="3359" y="1688"/>
                  </a:lnTo>
                  <a:lnTo>
                    <a:pt x="3348" y="1688"/>
                  </a:lnTo>
                  <a:lnTo>
                    <a:pt x="3342" y="1694"/>
                  </a:lnTo>
                  <a:lnTo>
                    <a:pt x="3344" y="1702"/>
                  </a:lnTo>
                  <a:lnTo>
                    <a:pt x="3350" y="1711"/>
                  </a:lnTo>
                  <a:lnTo>
                    <a:pt x="3361" y="1723"/>
                  </a:lnTo>
                  <a:lnTo>
                    <a:pt x="3375" y="1739"/>
                  </a:lnTo>
                  <a:lnTo>
                    <a:pt x="3390" y="1754"/>
                  </a:lnTo>
                  <a:lnTo>
                    <a:pt x="3408" y="1771"/>
                  </a:lnTo>
                  <a:lnTo>
                    <a:pt x="3425" y="1789"/>
                  </a:lnTo>
                  <a:lnTo>
                    <a:pt x="3443" y="1806"/>
                  </a:lnTo>
                  <a:lnTo>
                    <a:pt x="3456" y="1824"/>
                  </a:lnTo>
                  <a:lnTo>
                    <a:pt x="3468" y="1841"/>
                  </a:lnTo>
                  <a:lnTo>
                    <a:pt x="3476" y="1857"/>
                  </a:lnTo>
                  <a:lnTo>
                    <a:pt x="3480" y="1880"/>
                  </a:lnTo>
                  <a:lnTo>
                    <a:pt x="3478" y="1901"/>
                  </a:lnTo>
                  <a:lnTo>
                    <a:pt x="3470" y="1923"/>
                  </a:lnTo>
                  <a:lnTo>
                    <a:pt x="3458" y="1942"/>
                  </a:lnTo>
                  <a:lnTo>
                    <a:pt x="3443" y="1960"/>
                  </a:lnTo>
                  <a:lnTo>
                    <a:pt x="3425" y="1971"/>
                  </a:lnTo>
                  <a:lnTo>
                    <a:pt x="3408" y="1977"/>
                  </a:lnTo>
                  <a:lnTo>
                    <a:pt x="3390" y="1977"/>
                  </a:lnTo>
                  <a:lnTo>
                    <a:pt x="3373" y="1969"/>
                  </a:lnTo>
                  <a:lnTo>
                    <a:pt x="3357" y="1952"/>
                  </a:lnTo>
                  <a:lnTo>
                    <a:pt x="3354" y="1946"/>
                  </a:lnTo>
                  <a:lnTo>
                    <a:pt x="3356" y="1934"/>
                  </a:lnTo>
                  <a:lnTo>
                    <a:pt x="3361" y="1923"/>
                  </a:lnTo>
                  <a:lnTo>
                    <a:pt x="3369" y="1909"/>
                  </a:lnTo>
                  <a:lnTo>
                    <a:pt x="3375" y="1894"/>
                  </a:lnTo>
                  <a:lnTo>
                    <a:pt x="3379" y="1874"/>
                  </a:lnTo>
                  <a:lnTo>
                    <a:pt x="3381" y="1855"/>
                  </a:lnTo>
                  <a:lnTo>
                    <a:pt x="3377" y="1834"/>
                  </a:lnTo>
                  <a:lnTo>
                    <a:pt x="3363" y="1812"/>
                  </a:lnTo>
                  <a:lnTo>
                    <a:pt x="3342" y="1787"/>
                  </a:lnTo>
                  <a:lnTo>
                    <a:pt x="3309" y="1762"/>
                  </a:lnTo>
                  <a:lnTo>
                    <a:pt x="3295" y="1744"/>
                  </a:lnTo>
                  <a:lnTo>
                    <a:pt x="3278" y="1733"/>
                  </a:lnTo>
                  <a:lnTo>
                    <a:pt x="3259" y="1727"/>
                  </a:lnTo>
                  <a:lnTo>
                    <a:pt x="3235" y="1727"/>
                  </a:lnTo>
                  <a:lnTo>
                    <a:pt x="3212" y="1733"/>
                  </a:lnTo>
                  <a:lnTo>
                    <a:pt x="3189" y="1744"/>
                  </a:lnTo>
                  <a:lnTo>
                    <a:pt x="3166" y="1762"/>
                  </a:lnTo>
                  <a:lnTo>
                    <a:pt x="3135" y="1797"/>
                  </a:lnTo>
                  <a:lnTo>
                    <a:pt x="3109" y="1832"/>
                  </a:lnTo>
                  <a:lnTo>
                    <a:pt x="3090" y="1861"/>
                  </a:lnTo>
                  <a:lnTo>
                    <a:pt x="3072" y="1884"/>
                  </a:lnTo>
                  <a:lnTo>
                    <a:pt x="3059" y="1899"/>
                  </a:lnTo>
                  <a:lnTo>
                    <a:pt x="3047" y="1905"/>
                  </a:lnTo>
                  <a:lnTo>
                    <a:pt x="3012" y="1925"/>
                  </a:lnTo>
                  <a:lnTo>
                    <a:pt x="2981" y="1938"/>
                  </a:lnTo>
                  <a:lnTo>
                    <a:pt x="2952" y="1944"/>
                  </a:lnTo>
                  <a:lnTo>
                    <a:pt x="2921" y="1944"/>
                  </a:lnTo>
                  <a:lnTo>
                    <a:pt x="2890" y="1938"/>
                  </a:lnTo>
                  <a:lnTo>
                    <a:pt x="2857" y="1928"/>
                  </a:lnTo>
                  <a:lnTo>
                    <a:pt x="2834" y="1919"/>
                  </a:lnTo>
                  <a:lnTo>
                    <a:pt x="2817" y="1899"/>
                  </a:lnTo>
                  <a:lnTo>
                    <a:pt x="2805" y="1876"/>
                  </a:lnTo>
                  <a:lnTo>
                    <a:pt x="2797" y="1847"/>
                  </a:lnTo>
                  <a:lnTo>
                    <a:pt x="2795" y="1818"/>
                  </a:lnTo>
                  <a:lnTo>
                    <a:pt x="2799" y="1789"/>
                  </a:lnTo>
                  <a:lnTo>
                    <a:pt x="2807" y="1762"/>
                  </a:lnTo>
                  <a:lnTo>
                    <a:pt x="2821" y="1740"/>
                  </a:lnTo>
                  <a:lnTo>
                    <a:pt x="2836" y="1723"/>
                  </a:lnTo>
                  <a:lnTo>
                    <a:pt x="2857" y="1713"/>
                  </a:lnTo>
                  <a:lnTo>
                    <a:pt x="2881" y="1715"/>
                  </a:lnTo>
                  <a:lnTo>
                    <a:pt x="2923" y="1725"/>
                  </a:lnTo>
                  <a:lnTo>
                    <a:pt x="2956" y="1731"/>
                  </a:lnTo>
                  <a:lnTo>
                    <a:pt x="2981" y="1733"/>
                  </a:lnTo>
                  <a:lnTo>
                    <a:pt x="2999" y="1731"/>
                  </a:lnTo>
                  <a:lnTo>
                    <a:pt x="3010" y="1727"/>
                  </a:lnTo>
                  <a:lnTo>
                    <a:pt x="3016" y="1719"/>
                  </a:lnTo>
                  <a:lnTo>
                    <a:pt x="3018" y="1711"/>
                  </a:lnTo>
                  <a:lnTo>
                    <a:pt x="3014" y="1700"/>
                  </a:lnTo>
                  <a:lnTo>
                    <a:pt x="3009" y="1688"/>
                  </a:lnTo>
                  <a:lnTo>
                    <a:pt x="3001" y="1675"/>
                  </a:lnTo>
                  <a:lnTo>
                    <a:pt x="2991" y="1661"/>
                  </a:lnTo>
                  <a:lnTo>
                    <a:pt x="2983" y="1646"/>
                  </a:lnTo>
                  <a:lnTo>
                    <a:pt x="2976" y="1632"/>
                  </a:lnTo>
                  <a:lnTo>
                    <a:pt x="2968" y="1616"/>
                  </a:lnTo>
                  <a:lnTo>
                    <a:pt x="2964" y="1603"/>
                  </a:lnTo>
                  <a:lnTo>
                    <a:pt x="2964" y="1591"/>
                  </a:lnTo>
                  <a:lnTo>
                    <a:pt x="2968" y="1582"/>
                  </a:lnTo>
                  <a:lnTo>
                    <a:pt x="2976" y="1572"/>
                  </a:lnTo>
                  <a:lnTo>
                    <a:pt x="2991" y="1558"/>
                  </a:lnTo>
                  <a:lnTo>
                    <a:pt x="3010" y="1541"/>
                  </a:lnTo>
                  <a:lnTo>
                    <a:pt x="3036" y="1520"/>
                  </a:lnTo>
                  <a:lnTo>
                    <a:pt x="3065" y="1492"/>
                  </a:lnTo>
                  <a:lnTo>
                    <a:pt x="3092" y="1465"/>
                  </a:lnTo>
                  <a:lnTo>
                    <a:pt x="3119" y="1436"/>
                  </a:lnTo>
                  <a:lnTo>
                    <a:pt x="3142" y="1405"/>
                  </a:lnTo>
                  <a:lnTo>
                    <a:pt x="3154" y="1390"/>
                  </a:lnTo>
                  <a:lnTo>
                    <a:pt x="3162" y="1370"/>
                  </a:lnTo>
                  <a:lnTo>
                    <a:pt x="3169" y="1351"/>
                  </a:lnTo>
                  <a:lnTo>
                    <a:pt x="3175" y="1328"/>
                  </a:lnTo>
                  <a:lnTo>
                    <a:pt x="3181" y="1306"/>
                  </a:lnTo>
                  <a:lnTo>
                    <a:pt x="3187" y="1285"/>
                  </a:lnTo>
                  <a:lnTo>
                    <a:pt x="3197" y="1266"/>
                  </a:lnTo>
                  <a:lnTo>
                    <a:pt x="3206" y="1250"/>
                  </a:lnTo>
                  <a:lnTo>
                    <a:pt x="3220" y="1240"/>
                  </a:lnTo>
                  <a:lnTo>
                    <a:pt x="3239" y="1237"/>
                  </a:lnTo>
                  <a:lnTo>
                    <a:pt x="3262" y="1238"/>
                  </a:lnTo>
                  <a:lnTo>
                    <a:pt x="3274" y="1242"/>
                  </a:lnTo>
                  <a:lnTo>
                    <a:pt x="3284" y="1250"/>
                  </a:lnTo>
                  <a:lnTo>
                    <a:pt x="3292" y="1264"/>
                  </a:lnTo>
                  <a:lnTo>
                    <a:pt x="3295" y="1281"/>
                  </a:lnTo>
                  <a:lnTo>
                    <a:pt x="3299" y="1299"/>
                  </a:lnTo>
                  <a:lnTo>
                    <a:pt x="3303" y="1316"/>
                  </a:lnTo>
                  <a:lnTo>
                    <a:pt x="3311" y="1333"/>
                  </a:lnTo>
                  <a:lnTo>
                    <a:pt x="3319" y="1347"/>
                  </a:lnTo>
                  <a:lnTo>
                    <a:pt x="3332" y="1357"/>
                  </a:lnTo>
                  <a:lnTo>
                    <a:pt x="3346" y="1364"/>
                  </a:lnTo>
                  <a:lnTo>
                    <a:pt x="3363" y="1368"/>
                  </a:lnTo>
                  <a:lnTo>
                    <a:pt x="3385" y="1368"/>
                  </a:lnTo>
                  <a:lnTo>
                    <a:pt x="3408" y="1364"/>
                  </a:lnTo>
                  <a:lnTo>
                    <a:pt x="3431" y="1363"/>
                  </a:lnTo>
                  <a:lnTo>
                    <a:pt x="3454" y="1359"/>
                  </a:lnTo>
                  <a:lnTo>
                    <a:pt x="3476" y="1357"/>
                  </a:lnTo>
                  <a:lnTo>
                    <a:pt x="3503" y="1355"/>
                  </a:lnTo>
                  <a:lnTo>
                    <a:pt x="3522" y="1347"/>
                  </a:lnTo>
                  <a:lnTo>
                    <a:pt x="3534" y="1333"/>
                  </a:lnTo>
                  <a:lnTo>
                    <a:pt x="3542" y="1316"/>
                  </a:lnTo>
                  <a:lnTo>
                    <a:pt x="3545" y="1293"/>
                  </a:lnTo>
                  <a:lnTo>
                    <a:pt x="3547" y="1268"/>
                  </a:lnTo>
                  <a:lnTo>
                    <a:pt x="3547" y="1238"/>
                  </a:lnTo>
                  <a:lnTo>
                    <a:pt x="3551" y="1215"/>
                  </a:lnTo>
                  <a:lnTo>
                    <a:pt x="3561" y="1198"/>
                  </a:lnTo>
                  <a:lnTo>
                    <a:pt x="3578" y="1182"/>
                  </a:lnTo>
                  <a:lnTo>
                    <a:pt x="3598" y="1173"/>
                  </a:lnTo>
                  <a:lnTo>
                    <a:pt x="3619" y="1165"/>
                  </a:lnTo>
                  <a:lnTo>
                    <a:pt x="3642" y="1157"/>
                  </a:lnTo>
                  <a:lnTo>
                    <a:pt x="3664" y="1151"/>
                  </a:lnTo>
                  <a:lnTo>
                    <a:pt x="3683" y="1145"/>
                  </a:lnTo>
                  <a:lnTo>
                    <a:pt x="3699" y="1140"/>
                  </a:lnTo>
                  <a:lnTo>
                    <a:pt x="3710" y="1130"/>
                  </a:lnTo>
                  <a:lnTo>
                    <a:pt x="3714" y="1120"/>
                  </a:lnTo>
                  <a:lnTo>
                    <a:pt x="3704" y="1105"/>
                  </a:lnTo>
                  <a:lnTo>
                    <a:pt x="3691" y="1095"/>
                  </a:lnTo>
                  <a:lnTo>
                    <a:pt x="3673" y="1091"/>
                  </a:lnTo>
                  <a:lnTo>
                    <a:pt x="3654" y="1091"/>
                  </a:lnTo>
                  <a:lnTo>
                    <a:pt x="3633" y="1091"/>
                  </a:lnTo>
                  <a:lnTo>
                    <a:pt x="3609" y="1093"/>
                  </a:lnTo>
                  <a:lnTo>
                    <a:pt x="3588" y="1093"/>
                  </a:lnTo>
                  <a:lnTo>
                    <a:pt x="3567" y="1093"/>
                  </a:lnTo>
                  <a:lnTo>
                    <a:pt x="3549" y="1089"/>
                  </a:lnTo>
                  <a:lnTo>
                    <a:pt x="3536" y="1082"/>
                  </a:lnTo>
                  <a:lnTo>
                    <a:pt x="3526" y="1068"/>
                  </a:lnTo>
                  <a:lnTo>
                    <a:pt x="3524" y="1049"/>
                  </a:lnTo>
                  <a:lnTo>
                    <a:pt x="3528" y="1016"/>
                  </a:lnTo>
                  <a:lnTo>
                    <a:pt x="3538" y="987"/>
                  </a:lnTo>
                  <a:lnTo>
                    <a:pt x="3551" y="963"/>
                  </a:lnTo>
                  <a:lnTo>
                    <a:pt x="3569" y="944"/>
                  </a:lnTo>
                  <a:lnTo>
                    <a:pt x="3582" y="928"/>
                  </a:lnTo>
                  <a:lnTo>
                    <a:pt x="3596" y="917"/>
                  </a:lnTo>
                  <a:lnTo>
                    <a:pt x="3604" y="905"/>
                  </a:lnTo>
                  <a:lnTo>
                    <a:pt x="3604" y="895"/>
                  </a:lnTo>
                  <a:lnTo>
                    <a:pt x="3594" y="888"/>
                  </a:lnTo>
                  <a:lnTo>
                    <a:pt x="3571" y="882"/>
                  </a:lnTo>
                  <a:lnTo>
                    <a:pt x="3549" y="876"/>
                  </a:lnTo>
                  <a:lnTo>
                    <a:pt x="3526" y="878"/>
                  </a:lnTo>
                  <a:lnTo>
                    <a:pt x="3505" y="886"/>
                  </a:lnTo>
                  <a:lnTo>
                    <a:pt x="3483" y="899"/>
                  </a:lnTo>
                  <a:lnTo>
                    <a:pt x="3464" y="917"/>
                  </a:lnTo>
                  <a:lnTo>
                    <a:pt x="3449" y="942"/>
                  </a:lnTo>
                  <a:lnTo>
                    <a:pt x="3435" y="971"/>
                  </a:lnTo>
                  <a:lnTo>
                    <a:pt x="3427" y="1008"/>
                  </a:lnTo>
                  <a:lnTo>
                    <a:pt x="3425" y="1049"/>
                  </a:lnTo>
                  <a:lnTo>
                    <a:pt x="3429" y="1095"/>
                  </a:lnTo>
                  <a:lnTo>
                    <a:pt x="3435" y="1138"/>
                  </a:lnTo>
                  <a:lnTo>
                    <a:pt x="3441" y="1176"/>
                  </a:lnTo>
                  <a:lnTo>
                    <a:pt x="3445" y="1209"/>
                  </a:lnTo>
                  <a:lnTo>
                    <a:pt x="3447" y="1238"/>
                  </a:lnTo>
                  <a:lnTo>
                    <a:pt x="3447" y="1262"/>
                  </a:lnTo>
                  <a:lnTo>
                    <a:pt x="3445" y="1279"/>
                  </a:lnTo>
                  <a:lnTo>
                    <a:pt x="3437" y="1293"/>
                  </a:lnTo>
                  <a:lnTo>
                    <a:pt x="3425" y="1299"/>
                  </a:lnTo>
                  <a:lnTo>
                    <a:pt x="3408" y="1301"/>
                  </a:lnTo>
                  <a:lnTo>
                    <a:pt x="3387" y="1297"/>
                  </a:lnTo>
                  <a:lnTo>
                    <a:pt x="3357" y="1287"/>
                  </a:lnTo>
                  <a:lnTo>
                    <a:pt x="3338" y="1270"/>
                  </a:lnTo>
                  <a:lnTo>
                    <a:pt x="3326" y="1250"/>
                  </a:lnTo>
                  <a:lnTo>
                    <a:pt x="3321" y="1231"/>
                  </a:lnTo>
                  <a:lnTo>
                    <a:pt x="3317" y="1213"/>
                  </a:lnTo>
                  <a:lnTo>
                    <a:pt x="3317" y="1194"/>
                  </a:lnTo>
                  <a:lnTo>
                    <a:pt x="3321" y="1178"/>
                  </a:lnTo>
                  <a:lnTo>
                    <a:pt x="3323" y="1163"/>
                  </a:lnTo>
                  <a:lnTo>
                    <a:pt x="3324" y="1149"/>
                  </a:lnTo>
                  <a:lnTo>
                    <a:pt x="3324" y="1140"/>
                  </a:lnTo>
                  <a:lnTo>
                    <a:pt x="3323" y="1134"/>
                  </a:lnTo>
                  <a:lnTo>
                    <a:pt x="3315" y="1132"/>
                  </a:lnTo>
                  <a:lnTo>
                    <a:pt x="3303" y="1136"/>
                  </a:lnTo>
                  <a:lnTo>
                    <a:pt x="3286" y="1144"/>
                  </a:lnTo>
                  <a:lnTo>
                    <a:pt x="3262" y="1157"/>
                  </a:lnTo>
                  <a:lnTo>
                    <a:pt x="3241" y="1171"/>
                  </a:lnTo>
                  <a:lnTo>
                    <a:pt x="3224" y="1178"/>
                  </a:lnTo>
                  <a:lnTo>
                    <a:pt x="3206" y="1182"/>
                  </a:lnTo>
                  <a:lnTo>
                    <a:pt x="3193" y="1180"/>
                  </a:lnTo>
                  <a:lnTo>
                    <a:pt x="3181" y="1171"/>
                  </a:lnTo>
                  <a:lnTo>
                    <a:pt x="3173" y="1155"/>
                  </a:lnTo>
                  <a:lnTo>
                    <a:pt x="3167" y="1130"/>
                  </a:lnTo>
                  <a:lnTo>
                    <a:pt x="3166" y="1095"/>
                  </a:lnTo>
                  <a:lnTo>
                    <a:pt x="3169" y="1070"/>
                  </a:lnTo>
                  <a:lnTo>
                    <a:pt x="3179" y="1039"/>
                  </a:lnTo>
                  <a:lnTo>
                    <a:pt x="3195" y="1004"/>
                  </a:lnTo>
                  <a:lnTo>
                    <a:pt x="3214" y="965"/>
                  </a:lnTo>
                  <a:lnTo>
                    <a:pt x="3237" y="926"/>
                  </a:lnTo>
                  <a:lnTo>
                    <a:pt x="3264" y="884"/>
                  </a:lnTo>
                  <a:lnTo>
                    <a:pt x="3295" y="843"/>
                  </a:lnTo>
                  <a:lnTo>
                    <a:pt x="3326" y="802"/>
                  </a:lnTo>
                  <a:lnTo>
                    <a:pt x="3361" y="766"/>
                  </a:lnTo>
                  <a:lnTo>
                    <a:pt x="3396" y="733"/>
                  </a:lnTo>
                  <a:lnTo>
                    <a:pt x="3431" y="704"/>
                  </a:lnTo>
                  <a:lnTo>
                    <a:pt x="3466" y="682"/>
                  </a:lnTo>
                  <a:lnTo>
                    <a:pt x="3499" y="667"/>
                  </a:lnTo>
                  <a:lnTo>
                    <a:pt x="3400" y="589"/>
                  </a:lnTo>
                  <a:lnTo>
                    <a:pt x="3293" y="519"/>
                  </a:lnTo>
                  <a:lnTo>
                    <a:pt x="3185" y="457"/>
                  </a:lnTo>
                  <a:lnTo>
                    <a:pt x="3071" y="401"/>
                  </a:lnTo>
                  <a:lnTo>
                    <a:pt x="2952" y="355"/>
                  </a:lnTo>
                  <a:lnTo>
                    <a:pt x="2830" y="316"/>
                  </a:lnTo>
                  <a:lnTo>
                    <a:pt x="2702" y="285"/>
                  </a:lnTo>
                  <a:lnTo>
                    <a:pt x="2570" y="262"/>
                  </a:lnTo>
                  <a:close/>
                  <a:moveTo>
                    <a:pt x="2237" y="0"/>
                  </a:moveTo>
                  <a:lnTo>
                    <a:pt x="2398" y="6"/>
                  </a:lnTo>
                  <a:lnTo>
                    <a:pt x="2555" y="23"/>
                  </a:lnTo>
                  <a:lnTo>
                    <a:pt x="2710" y="50"/>
                  </a:lnTo>
                  <a:lnTo>
                    <a:pt x="2859" y="87"/>
                  </a:lnTo>
                  <a:lnTo>
                    <a:pt x="3007" y="134"/>
                  </a:lnTo>
                  <a:lnTo>
                    <a:pt x="3148" y="192"/>
                  </a:lnTo>
                  <a:lnTo>
                    <a:pt x="3286" y="256"/>
                  </a:lnTo>
                  <a:lnTo>
                    <a:pt x="3418" y="331"/>
                  </a:lnTo>
                  <a:lnTo>
                    <a:pt x="3544" y="415"/>
                  </a:lnTo>
                  <a:lnTo>
                    <a:pt x="3666" y="504"/>
                  </a:lnTo>
                  <a:lnTo>
                    <a:pt x="3778" y="603"/>
                  </a:lnTo>
                  <a:lnTo>
                    <a:pt x="3887" y="709"/>
                  </a:lnTo>
                  <a:lnTo>
                    <a:pt x="3986" y="822"/>
                  </a:lnTo>
                  <a:lnTo>
                    <a:pt x="4079" y="940"/>
                  </a:lnTo>
                  <a:lnTo>
                    <a:pt x="4162" y="1064"/>
                  </a:lnTo>
                  <a:lnTo>
                    <a:pt x="4237" y="1196"/>
                  </a:lnTo>
                  <a:lnTo>
                    <a:pt x="4305" y="1332"/>
                  </a:lnTo>
                  <a:lnTo>
                    <a:pt x="4363" y="1473"/>
                  </a:lnTo>
                  <a:lnTo>
                    <a:pt x="4412" y="1618"/>
                  </a:lnTo>
                  <a:lnTo>
                    <a:pt x="4449" y="1768"/>
                  </a:lnTo>
                  <a:lnTo>
                    <a:pt x="4478" y="1921"/>
                  </a:lnTo>
                  <a:lnTo>
                    <a:pt x="4493" y="2078"/>
                  </a:lnTo>
                  <a:lnTo>
                    <a:pt x="4499" y="2239"/>
                  </a:lnTo>
                  <a:lnTo>
                    <a:pt x="4493" y="2401"/>
                  </a:lnTo>
                  <a:lnTo>
                    <a:pt x="4478" y="2560"/>
                  </a:lnTo>
                  <a:lnTo>
                    <a:pt x="4449" y="2717"/>
                  </a:lnTo>
                  <a:lnTo>
                    <a:pt x="4412" y="2869"/>
                  </a:lnTo>
                  <a:lnTo>
                    <a:pt x="4363" y="3016"/>
                  </a:lnTo>
                  <a:lnTo>
                    <a:pt x="4305" y="3159"/>
                  </a:lnTo>
                  <a:lnTo>
                    <a:pt x="4237" y="3297"/>
                  </a:lnTo>
                  <a:lnTo>
                    <a:pt x="4162" y="3429"/>
                  </a:lnTo>
                  <a:lnTo>
                    <a:pt x="4079" y="3555"/>
                  </a:lnTo>
                  <a:lnTo>
                    <a:pt x="3986" y="3675"/>
                  </a:lnTo>
                  <a:lnTo>
                    <a:pt x="3887" y="3789"/>
                  </a:lnTo>
                  <a:lnTo>
                    <a:pt x="3778" y="3896"/>
                  </a:lnTo>
                  <a:lnTo>
                    <a:pt x="3666" y="3995"/>
                  </a:lnTo>
                  <a:lnTo>
                    <a:pt x="3544" y="4086"/>
                  </a:lnTo>
                  <a:lnTo>
                    <a:pt x="3418" y="4169"/>
                  </a:lnTo>
                  <a:lnTo>
                    <a:pt x="3286" y="4243"/>
                  </a:lnTo>
                  <a:lnTo>
                    <a:pt x="3148" y="4309"/>
                  </a:lnTo>
                  <a:lnTo>
                    <a:pt x="3007" y="4367"/>
                  </a:lnTo>
                  <a:lnTo>
                    <a:pt x="2859" y="4413"/>
                  </a:lnTo>
                  <a:lnTo>
                    <a:pt x="2710" y="4450"/>
                  </a:lnTo>
                  <a:lnTo>
                    <a:pt x="2555" y="4477"/>
                  </a:lnTo>
                  <a:lnTo>
                    <a:pt x="2398" y="4495"/>
                  </a:lnTo>
                  <a:lnTo>
                    <a:pt x="2237" y="4500"/>
                  </a:lnTo>
                  <a:lnTo>
                    <a:pt x="2078" y="4495"/>
                  </a:lnTo>
                  <a:lnTo>
                    <a:pt x="1921" y="4477"/>
                  </a:lnTo>
                  <a:lnTo>
                    <a:pt x="1766" y="4450"/>
                  </a:lnTo>
                  <a:lnTo>
                    <a:pt x="1617" y="4413"/>
                  </a:lnTo>
                  <a:lnTo>
                    <a:pt x="1471" y="4367"/>
                  </a:lnTo>
                  <a:lnTo>
                    <a:pt x="1330" y="4309"/>
                  </a:lnTo>
                  <a:lnTo>
                    <a:pt x="1194" y="4243"/>
                  </a:lnTo>
                  <a:lnTo>
                    <a:pt x="1064" y="4169"/>
                  </a:lnTo>
                  <a:lnTo>
                    <a:pt x="938" y="4086"/>
                  </a:lnTo>
                  <a:lnTo>
                    <a:pt x="820" y="3995"/>
                  </a:lnTo>
                  <a:lnTo>
                    <a:pt x="708" y="3896"/>
                  </a:lnTo>
                  <a:lnTo>
                    <a:pt x="603" y="3789"/>
                  </a:lnTo>
                  <a:lnTo>
                    <a:pt x="504" y="3675"/>
                  </a:lnTo>
                  <a:lnTo>
                    <a:pt x="413" y="3555"/>
                  </a:lnTo>
                  <a:lnTo>
                    <a:pt x="330" y="3429"/>
                  </a:lnTo>
                  <a:lnTo>
                    <a:pt x="256" y="3297"/>
                  </a:lnTo>
                  <a:lnTo>
                    <a:pt x="190" y="3159"/>
                  </a:lnTo>
                  <a:lnTo>
                    <a:pt x="134" y="3016"/>
                  </a:lnTo>
                  <a:lnTo>
                    <a:pt x="85" y="2869"/>
                  </a:lnTo>
                  <a:lnTo>
                    <a:pt x="49" y="2717"/>
                  </a:lnTo>
                  <a:lnTo>
                    <a:pt x="21" y="2560"/>
                  </a:lnTo>
                  <a:lnTo>
                    <a:pt x="4" y="2401"/>
                  </a:lnTo>
                  <a:lnTo>
                    <a:pt x="0" y="2239"/>
                  </a:lnTo>
                  <a:lnTo>
                    <a:pt x="6" y="2072"/>
                  </a:lnTo>
                  <a:lnTo>
                    <a:pt x="23" y="1907"/>
                  </a:lnTo>
                  <a:lnTo>
                    <a:pt x="52" y="1746"/>
                  </a:lnTo>
                  <a:lnTo>
                    <a:pt x="93" y="1591"/>
                  </a:lnTo>
                  <a:lnTo>
                    <a:pt x="145" y="1440"/>
                  </a:lnTo>
                  <a:lnTo>
                    <a:pt x="207" y="1295"/>
                  </a:lnTo>
                  <a:lnTo>
                    <a:pt x="279" y="1153"/>
                  </a:lnTo>
                  <a:lnTo>
                    <a:pt x="359" y="1019"/>
                  </a:lnTo>
                  <a:lnTo>
                    <a:pt x="450" y="892"/>
                  </a:lnTo>
                  <a:lnTo>
                    <a:pt x="547" y="769"/>
                  </a:lnTo>
                  <a:lnTo>
                    <a:pt x="653" y="655"/>
                  </a:lnTo>
                  <a:lnTo>
                    <a:pt x="768" y="549"/>
                  </a:lnTo>
                  <a:lnTo>
                    <a:pt x="890" y="450"/>
                  </a:lnTo>
                  <a:lnTo>
                    <a:pt x="1018" y="361"/>
                  </a:lnTo>
                  <a:lnTo>
                    <a:pt x="1153" y="279"/>
                  </a:lnTo>
                  <a:lnTo>
                    <a:pt x="1293" y="207"/>
                  </a:lnTo>
                  <a:lnTo>
                    <a:pt x="1438" y="145"/>
                  </a:lnTo>
                  <a:lnTo>
                    <a:pt x="1590" y="95"/>
                  </a:lnTo>
                  <a:lnTo>
                    <a:pt x="1747" y="54"/>
                  </a:lnTo>
                  <a:lnTo>
                    <a:pt x="1906" y="25"/>
                  </a:lnTo>
                  <a:lnTo>
                    <a:pt x="2070" y="6"/>
                  </a:lnTo>
                  <a:lnTo>
                    <a:pt x="223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664"/>
              <a:endParaRPr lang="en-US">
                <a:solidFill>
                  <a:srgbClr val="FFFFFF"/>
                </a:solidFill>
              </a:endParaRPr>
            </a:p>
          </p:txBody>
        </p:sp>
        <p:sp>
          <p:nvSpPr>
            <p:cNvPr id="48" name="Freeform 14"/>
            <p:cNvSpPr>
              <a:spLocks/>
            </p:cNvSpPr>
            <p:nvPr/>
          </p:nvSpPr>
          <p:spPr bwMode="auto">
            <a:xfrm>
              <a:off x="15232065" y="1597026"/>
              <a:ext cx="155575" cy="228600"/>
            </a:xfrm>
            <a:custGeom>
              <a:avLst/>
              <a:gdLst>
                <a:gd name="T0" fmla="*/ 95 w 195"/>
                <a:gd name="T1" fmla="*/ 0 h 287"/>
                <a:gd name="T2" fmla="*/ 118 w 195"/>
                <a:gd name="T3" fmla="*/ 6 h 287"/>
                <a:gd name="T4" fmla="*/ 139 w 195"/>
                <a:gd name="T5" fmla="*/ 19 h 287"/>
                <a:gd name="T6" fmla="*/ 157 w 195"/>
                <a:gd name="T7" fmla="*/ 40 h 287"/>
                <a:gd name="T8" fmla="*/ 172 w 195"/>
                <a:gd name="T9" fmla="*/ 66 h 287"/>
                <a:gd name="T10" fmla="*/ 184 w 195"/>
                <a:gd name="T11" fmla="*/ 95 h 287"/>
                <a:gd name="T12" fmla="*/ 191 w 195"/>
                <a:gd name="T13" fmla="*/ 128 h 287"/>
                <a:gd name="T14" fmla="*/ 195 w 195"/>
                <a:gd name="T15" fmla="*/ 159 h 287"/>
                <a:gd name="T16" fmla="*/ 195 w 195"/>
                <a:gd name="T17" fmla="*/ 188 h 287"/>
                <a:gd name="T18" fmla="*/ 190 w 195"/>
                <a:gd name="T19" fmla="*/ 215 h 287"/>
                <a:gd name="T20" fmla="*/ 176 w 195"/>
                <a:gd name="T21" fmla="*/ 248 h 287"/>
                <a:gd name="T22" fmla="*/ 159 w 195"/>
                <a:gd name="T23" fmla="*/ 269 h 287"/>
                <a:gd name="T24" fmla="*/ 139 w 195"/>
                <a:gd name="T25" fmla="*/ 283 h 287"/>
                <a:gd name="T26" fmla="*/ 118 w 195"/>
                <a:gd name="T27" fmla="*/ 287 h 287"/>
                <a:gd name="T28" fmla="*/ 97 w 195"/>
                <a:gd name="T29" fmla="*/ 285 h 287"/>
                <a:gd name="T30" fmla="*/ 75 w 195"/>
                <a:gd name="T31" fmla="*/ 275 h 287"/>
                <a:gd name="T32" fmla="*/ 56 w 195"/>
                <a:gd name="T33" fmla="*/ 260 h 287"/>
                <a:gd name="T34" fmla="*/ 36 w 195"/>
                <a:gd name="T35" fmla="*/ 240 h 287"/>
                <a:gd name="T36" fmla="*/ 21 w 195"/>
                <a:gd name="T37" fmla="*/ 217 h 287"/>
                <a:gd name="T38" fmla="*/ 9 w 195"/>
                <a:gd name="T39" fmla="*/ 192 h 287"/>
                <a:gd name="T40" fmla="*/ 0 w 195"/>
                <a:gd name="T41" fmla="*/ 166 h 287"/>
                <a:gd name="T42" fmla="*/ 2 w 195"/>
                <a:gd name="T43" fmla="*/ 128 h 287"/>
                <a:gd name="T44" fmla="*/ 5 w 195"/>
                <a:gd name="T45" fmla="*/ 93 h 287"/>
                <a:gd name="T46" fmla="*/ 15 w 195"/>
                <a:gd name="T47" fmla="*/ 62 h 287"/>
                <a:gd name="T48" fmla="*/ 27 w 195"/>
                <a:gd name="T49" fmla="*/ 35 h 287"/>
                <a:gd name="T50" fmla="*/ 44 w 195"/>
                <a:gd name="T51" fmla="*/ 17 h 287"/>
                <a:gd name="T52" fmla="*/ 67 w 195"/>
                <a:gd name="T53" fmla="*/ 4 h 287"/>
                <a:gd name="T54" fmla="*/ 95 w 195"/>
                <a:gd name="T55"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5" h="287">
                  <a:moveTo>
                    <a:pt x="95" y="0"/>
                  </a:moveTo>
                  <a:lnTo>
                    <a:pt x="118" y="6"/>
                  </a:lnTo>
                  <a:lnTo>
                    <a:pt x="139" y="19"/>
                  </a:lnTo>
                  <a:lnTo>
                    <a:pt x="157" y="40"/>
                  </a:lnTo>
                  <a:lnTo>
                    <a:pt x="172" y="66"/>
                  </a:lnTo>
                  <a:lnTo>
                    <a:pt x="184" y="95"/>
                  </a:lnTo>
                  <a:lnTo>
                    <a:pt x="191" y="128"/>
                  </a:lnTo>
                  <a:lnTo>
                    <a:pt x="195" y="159"/>
                  </a:lnTo>
                  <a:lnTo>
                    <a:pt x="195" y="188"/>
                  </a:lnTo>
                  <a:lnTo>
                    <a:pt x="190" y="215"/>
                  </a:lnTo>
                  <a:lnTo>
                    <a:pt x="176" y="248"/>
                  </a:lnTo>
                  <a:lnTo>
                    <a:pt x="159" y="269"/>
                  </a:lnTo>
                  <a:lnTo>
                    <a:pt x="139" y="283"/>
                  </a:lnTo>
                  <a:lnTo>
                    <a:pt x="118" y="287"/>
                  </a:lnTo>
                  <a:lnTo>
                    <a:pt x="97" y="285"/>
                  </a:lnTo>
                  <a:lnTo>
                    <a:pt x="75" y="275"/>
                  </a:lnTo>
                  <a:lnTo>
                    <a:pt x="56" y="260"/>
                  </a:lnTo>
                  <a:lnTo>
                    <a:pt x="36" y="240"/>
                  </a:lnTo>
                  <a:lnTo>
                    <a:pt x="21" y="217"/>
                  </a:lnTo>
                  <a:lnTo>
                    <a:pt x="9" y="192"/>
                  </a:lnTo>
                  <a:lnTo>
                    <a:pt x="0" y="166"/>
                  </a:lnTo>
                  <a:lnTo>
                    <a:pt x="2" y="128"/>
                  </a:lnTo>
                  <a:lnTo>
                    <a:pt x="5" y="93"/>
                  </a:lnTo>
                  <a:lnTo>
                    <a:pt x="15" y="62"/>
                  </a:lnTo>
                  <a:lnTo>
                    <a:pt x="27" y="35"/>
                  </a:lnTo>
                  <a:lnTo>
                    <a:pt x="44" y="17"/>
                  </a:lnTo>
                  <a:lnTo>
                    <a:pt x="67" y="4"/>
                  </a:lnTo>
                  <a:lnTo>
                    <a:pt x="9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664"/>
              <a:endParaRPr lang="en-US">
                <a:solidFill>
                  <a:srgbClr val="FFFFFF"/>
                </a:solidFill>
              </a:endParaRPr>
            </a:p>
          </p:txBody>
        </p:sp>
        <p:sp>
          <p:nvSpPr>
            <p:cNvPr id="49" name="Freeform 15"/>
            <p:cNvSpPr>
              <a:spLocks/>
            </p:cNvSpPr>
            <p:nvPr/>
          </p:nvSpPr>
          <p:spPr bwMode="auto">
            <a:xfrm>
              <a:off x="13787440" y="2598738"/>
              <a:ext cx="277813" cy="111125"/>
            </a:xfrm>
            <a:custGeom>
              <a:avLst/>
              <a:gdLst>
                <a:gd name="T0" fmla="*/ 35 w 351"/>
                <a:gd name="T1" fmla="*/ 0 h 139"/>
                <a:gd name="T2" fmla="*/ 62 w 351"/>
                <a:gd name="T3" fmla="*/ 1 h 139"/>
                <a:gd name="T4" fmla="*/ 97 w 351"/>
                <a:gd name="T5" fmla="*/ 7 h 139"/>
                <a:gd name="T6" fmla="*/ 136 w 351"/>
                <a:gd name="T7" fmla="*/ 13 h 139"/>
                <a:gd name="T8" fmla="*/ 177 w 351"/>
                <a:gd name="T9" fmla="*/ 25 h 139"/>
                <a:gd name="T10" fmla="*/ 219 w 351"/>
                <a:gd name="T11" fmla="*/ 36 h 139"/>
                <a:gd name="T12" fmla="*/ 258 w 351"/>
                <a:gd name="T13" fmla="*/ 50 h 139"/>
                <a:gd name="T14" fmla="*/ 295 w 351"/>
                <a:gd name="T15" fmla="*/ 64 h 139"/>
                <a:gd name="T16" fmla="*/ 324 w 351"/>
                <a:gd name="T17" fmla="*/ 79 h 139"/>
                <a:gd name="T18" fmla="*/ 344 w 351"/>
                <a:gd name="T19" fmla="*/ 95 h 139"/>
                <a:gd name="T20" fmla="*/ 351 w 351"/>
                <a:gd name="T21" fmla="*/ 112 h 139"/>
                <a:gd name="T22" fmla="*/ 349 w 351"/>
                <a:gd name="T23" fmla="*/ 124 h 139"/>
                <a:gd name="T24" fmla="*/ 340 w 351"/>
                <a:gd name="T25" fmla="*/ 131 h 139"/>
                <a:gd name="T26" fmla="*/ 324 w 351"/>
                <a:gd name="T27" fmla="*/ 137 h 139"/>
                <a:gd name="T28" fmla="*/ 303 w 351"/>
                <a:gd name="T29" fmla="*/ 139 h 139"/>
                <a:gd name="T30" fmla="*/ 276 w 351"/>
                <a:gd name="T31" fmla="*/ 139 h 139"/>
                <a:gd name="T32" fmla="*/ 247 w 351"/>
                <a:gd name="T33" fmla="*/ 137 h 139"/>
                <a:gd name="T34" fmla="*/ 214 w 351"/>
                <a:gd name="T35" fmla="*/ 131 h 139"/>
                <a:gd name="T36" fmla="*/ 181 w 351"/>
                <a:gd name="T37" fmla="*/ 126 h 139"/>
                <a:gd name="T38" fmla="*/ 146 w 351"/>
                <a:gd name="T39" fmla="*/ 116 h 139"/>
                <a:gd name="T40" fmla="*/ 113 w 351"/>
                <a:gd name="T41" fmla="*/ 106 h 139"/>
                <a:gd name="T42" fmla="*/ 82 w 351"/>
                <a:gd name="T43" fmla="*/ 95 h 139"/>
                <a:gd name="T44" fmla="*/ 57 w 351"/>
                <a:gd name="T45" fmla="*/ 85 h 139"/>
                <a:gd name="T46" fmla="*/ 35 w 351"/>
                <a:gd name="T47" fmla="*/ 73 h 139"/>
                <a:gd name="T48" fmla="*/ 18 w 351"/>
                <a:gd name="T49" fmla="*/ 62 h 139"/>
                <a:gd name="T50" fmla="*/ 4 w 351"/>
                <a:gd name="T51" fmla="*/ 48 h 139"/>
                <a:gd name="T52" fmla="*/ 0 w 351"/>
                <a:gd name="T53" fmla="*/ 34 h 139"/>
                <a:gd name="T54" fmla="*/ 2 w 351"/>
                <a:gd name="T55" fmla="*/ 21 h 139"/>
                <a:gd name="T56" fmla="*/ 14 w 351"/>
                <a:gd name="T57" fmla="*/ 9 h 139"/>
                <a:gd name="T58" fmla="*/ 35 w 351"/>
                <a:gd name="T59"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51" h="139">
                  <a:moveTo>
                    <a:pt x="35" y="0"/>
                  </a:moveTo>
                  <a:lnTo>
                    <a:pt x="62" y="1"/>
                  </a:lnTo>
                  <a:lnTo>
                    <a:pt x="97" y="7"/>
                  </a:lnTo>
                  <a:lnTo>
                    <a:pt x="136" y="13"/>
                  </a:lnTo>
                  <a:lnTo>
                    <a:pt x="177" y="25"/>
                  </a:lnTo>
                  <a:lnTo>
                    <a:pt x="219" y="36"/>
                  </a:lnTo>
                  <a:lnTo>
                    <a:pt x="258" y="50"/>
                  </a:lnTo>
                  <a:lnTo>
                    <a:pt x="295" y="64"/>
                  </a:lnTo>
                  <a:lnTo>
                    <a:pt x="324" y="79"/>
                  </a:lnTo>
                  <a:lnTo>
                    <a:pt x="344" y="95"/>
                  </a:lnTo>
                  <a:lnTo>
                    <a:pt x="351" y="112"/>
                  </a:lnTo>
                  <a:lnTo>
                    <a:pt x="349" y="124"/>
                  </a:lnTo>
                  <a:lnTo>
                    <a:pt x="340" y="131"/>
                  </a:lnTo>
                  <a:lnTo>
                    <a:pt x="324" y="137"/>
                  </a:lnTo>
                  <a:lnTo>
                    <a:pt x="303" y="139"/>
                  </a:lnTo>
                  <a:lnTo>
                    <a:pt x="276" y="139"/>
                  </a:lnTo>
                  <a:lnTo>
                    <a:pt x="247" y="137"/>
                  </a:lnTo>
                  <a:lnTo>
                    <a:pt x="214" y="131"/>
                  </a:lnTo>
                  <a:lnTo>
                    <a:pt x="181" y="126"/>
                  </a:lnTo>
                  <a:lnTo>
                    <a:pt x="146" y="116"/>
                  </a:lnTo>
                  <a:lnTo>
                    <a:pt x="113" y="106"/>
                  </a:lnTo>
                  <a:lnTo>
                    <a:pt x="82" y="95"/>
                  </a:lnTo>
                  <a:lnTo>
                    <a:pt x="57" y="85"/>
                  </a:lnTo>
                  <a:lnTo>
                    <a:pt x="35" y="73"/>
                  </a:lnTo>
                  <a:lnTo>
                    <a:pt x="18" y="62"/>
                  </a:lnTo>
                  <a:lnTo>
                    <a:pt x="4" y="48"/>
                  </a:lnTo>
                  <a:lnTo>
                    <a:pt x="0" y="34"/>
                  </a:lnTo>
                  <a:lnTo>
                    <a:pt x="2" y="21"/>
                  </a:lnTo>
                  <a:lnTo>
                    <a:pt x="14" y="9"/>
                  </a:lnTo>
                  <a:lnTo>
                    <a:pt x="3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664"/>
              <a:endParaRPr lang="en-US">
                <a:solidFill>
                  <a:srgbClr val="FFFFFF"/>
                </a:solidFill>
              </a:endParaRPr>
            </a:p>
          </p:txBody>
        </p:sp>
        <p:sp>
          <p:nvSpPr>
            <p:cNvPr id="50" name="Freeform 16"/>
            <p:cNvSpPr>
              <a:spLocks/>
            </p:cNvSpPr>
            <p:nvPr/>
          </p:nvSpPr>
          <p:spPr bwMode="auto">
            <a:xfrm>
              <a:off x="14957427" y="1323976"/>
              <a:ext cx="163513" cy="133350"/>
            </a:xfrm>
            <a:custGeom>
              <a:avLst/>
              <a:gdLst>
                <a:gd name="T0" fmla="*/ 83 w 205"/>
                <a:gd name="T1" fmla="*/ 0 h 168"/>
                <a:gd name="T2" fmla="*/ 110 w 205"/>
                <a:gd name="T3" fmla="*/ 0 h 168"/>
                <a:gd name="T4" fmla="*/ 135 w 205"/>
                <a:gd name="T5" fmla="*/ 6 h 168"/>
                <a:gd name="T6" fmla="*/ 160 w 205"/>
                <a:gd name="T7" fmla="*/ 17 h 168"/>
                <a:gd name="T8" fmla="*/ 184 w 205"/>
                <a:gd name="T9" fmla="*/ 35 h 168"/>
                <a:gd name="T10" fmla="*/ 201 w 205"/>
                <a:gd name="T11" fmla="*/ 60 h 168"/>
                <a:gd name="T12" fmla="*/ 205 w 205"/>
                <a:gd name="T13" fmla="*/ 89 h 168"/>
                <a:gd name="T14" fmla="*/ 195 w 205"/>
                <a:gd name="T15" fmla="*/ 118 h 168"/>
                <a:gd name="T16" fmla="*/ 176 w 205"/>
                <a:gd name="T17" fmla="*/ 141 h 168"/>
                <a:gd name="T18" fmla="*/ 149 w 205"/>
                <a:gd name="T19" fmla="*/ 159 h 168"/>
                <a:gd name="T20" fmla="*/ 114 w 205"/>
                <a:gd name="T21" fmla="*/ 168 h 168"/>
                <a:gd name="T22" fmla="*/ 75 w 205"/>
                <a:gd name="T23" fmla="*/ 168 h 168"/>
                <a:gd name="T24" fmla="*/ 34 w 205"/>
                <a:gd name="T25" fmla="*/ 155 h 168"/>
                <a:gd name="T26" fmla="*/ 13 w 205"/>
                <a:gd name="T27" fmla="*/ 122 h 168"/>
                <a:gd name="T28" fmla="*/ 1 w 205"/>
                <a:gd name="T29" fmla="*/ 95 h 168"/>
                <a:gd name="T30" fmla="*/ 0 w 205"/>
                <a:gd name="T31" fmla="*/ 68 h 168"/>
                <a:gd name="T32" fmla="*/ 5 w 205"/>
                <a:gd name="T33" fmla="*/ 46 h 168"/>
                <a:gd name="T34" fmla="*/ 19 w 205"/>
                <a:gd name="T35" fmla="*/ 29 h 168"/>
                <a:gd name="T36" fmla="*/ 36 w 205"/>
                <a:gd name="T37" fmla="*/ 13 h 168"/>
                <a:gd name="T38" fmla="*/ 58 w 205"/>
                <a:gd name="T39" fmla="*/ 4 h 168"/>
                <a:gd name="T40" fmla="*/ 83 w 205"/>
                <a:gd name="T4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5" h="168">
                  <a:moveTo>
                    <a:pt x="83" y="0"/>
                  </a:moveTo>
                  <a:lnTo>
                    <a:pt x="110" y="0"/>
                  </a:lnTo>
                  <a:lnTo>
                    <a:pt x="135" y="6"/>
                  </a:lnTo>
                  <a:lnTo>
                    <a:pt x="160" y="17"/>
                  </a:lnTo>
                  <a:lnTo>
                    <a:pt x="184" y="35"/>
                  </a:lnTo>
                  <a:lnTo>
                    <a:pt x="201" y="60"/>
                  </a:lnTo>
                  <a:lnTo>
                    <a:pt x="205" y="89"/>
                  </a:lnTo>
                  <a:lnTo>
                    <a:pt x="195" y="118"/>
                  </a:lnTo>
                  <a:lnTo>
                    <a:pt x="176" y="141"/>
                  </a:lnTo>
                  <a:lnTo>
                    <a:pt x="149" y="159"/>
                  </a:lnTo>
                  <a:lnTo>
                    <a:pt x="114" y="168"/>
                  </a:lnTo>
                  <a:lnTo>
                    <a:pt x="75" y="168"/>
                  </a:lnTo>
                  <a:lnTo>
                    <a:pt x="34" y="155"/>
                  </a:lnTo>
                  <a:lnTo>
                    <a:pt x="13" y="122"/>
                  </a:lnTo>
                  <a:lnTo>
                    <a:pt x="1" y="95"/>
                  </a:lnTo>
                  <a:lnTo>
                    <a:pt x="0" y="68"/>
                  </a:lnTo>
                  <a:lnTo>
                    <a:pt x="5" y="46"/>
                  </a:lnTo>
                  <a:lnTo>
                    <a:pt x="19" y="29"/>
                  </a:lnTo>
                  <a:lnTo>
                    <a:pt x="36" y="13"/>
                  </a:lnTo>
                  <a:lnTo>
                    <a:pt x="58" y="4"/>
                  </a:lnTo>
                  <a:lnTo>
                    <a:pt x="8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664"/>
              <a:endParaRPr lang="en-US">
                <a:solidFill>
                  <a:srgbClr val="FFFFFF"/>
                </a:solidFill>
              </a:endParaRPr>
            </a:p>
          </p:txBody>
        </p:sp>
      </p:grpSp>
      <p:grpSp>
        <p:nvGrpSpPr>
          <p:cNvPr id="51" name="Group 50"/>
          <p:cNvGrpSpPr/>
          <p:nvPr/>
        </p:nvGrpSpPr>
        <p:grpSpPr>
          <a:xfrm>
            <a:off x="3852957" y="1210861"/>
            <a:ext cx="1532966" cy="872058"/>
            <a:chOff x="744568" y="1393217"/>
            <a:chExt cx="3092492" cy="1759684"/>
          </a:xfrm>
          <a:solidFill>
            <a:schemeClr val="bg1"/>
          </a:solidFill>
        </p:grpSpPr>
        <p:sp>
          <p:nvSpPr>
            <p:cNvPr id="52" name="Freeform 21"/>
            <p:cNvSpPr>
              <a:spLocks/>
            </p:cNvSpPr>
            <p:nvPr/>
          </p:nvSpPr>
          <p:spPr bwMode="auto">
            <a:xfrm>
              <a:off x="744568" y="1413748"/>
              <a:ext cx="194190" cy="1739153"/>
            </a:xfrm>
            <a:custGeom>
              <a:avLst/>
              <a:gdLst>
                <a:gd name="T0" fmla="*/ 113 w 227"/>
                <a:gd name="T1" fmla="*/ 0 h 2033"/>
                <a:gd name="T2" fmla="*/ 136 w 227"/>
                <a:gd name="T3" fmla="*/ 3 h 2033"/>
                <a:gd name="T4" fmla="*/ 157 w 227"/>
                <a:gd name="T5" fmla="*/ 8 h 2033"/>
                <a:gd name="T6" fmla="*/ 173 w 227"/>
                <a:gd name="T7" fmla="*/ 17 h 2033"/>
                <a:gd name="T8" fmla="*/ 186 w 227"/>
                <a:gd name="T9" fmla="*/ 28 h 2033"/>
                <a:gd name="T10" fmla="*/ 199 w 227"/>
                <a:gd name="T11" fmla="*/ 40 h 2033"/>
                <a:gd name="T12" fmla="*/ 207 w 227"/>
                <a:gd name="T13" fmla="*/ 53 h 2033"/>
                <a:gd name="T14" fmla="*/ 214 w 227"/>
                <a:gd name="T15" fmla="*/ 66 h 2033"/>
                <a:gd name="T16" fmla="*/ 218 w 227"/>
                <a:gd name="T17" fmla="*/ 80 h 2033"/>
                <a:gd name="T18" fmla="*/ 223 w 227"/>
                <a:gd name="T19" fmla="*/ 92 h 2033"/>
                <a:gd name="T20" fmla="*/ 225 w 227"/>
                <a:gd name="T21" fmla="*/ 103 h 2033"/>
                <a:gd name="T22" fmla="*/ 226 w 227"/>
                <a:gd name="T23" fmla="*/ 110 h 2033"/>
                <a:gd name="T24" fmla="*/ 226 w 227"/>
                <a:gd name="T25" fmla="*/ 116 h 2033"/>
                <a:gd name="T26" fmla="*/ 226 w 227"/>
                <a:gd name="T27" fmla="*/ 118 h 2033"/>
                <a:gd name="T28" fmla="*/ 226 w 227"/>
                <a:gd name="T29" fmla="*/ 1917 h 2033"/>
                <a:gd name="T30" fmla="*/ 227 w 227"/>
                <a:gd name="T31" fmla="*/ 1918 h 2033"/>
                <a:gd name="T32" fmla="*/ 227 w 227"/>
                <a:gd name="T33" fmla="*/ 1922 h 2033"/>
                <a:gd name="T34" fmla="*/ 227 w 227"/>
                <a:gd name="T35" fmla="*/ 1930 h 2033"/>
                <a:gd name="T36" fmla="*/ 227 w 227"/>
                <a:gd name="T37" fmla="*/ 1939 h 2033"/>
                <a:gd name="T38" fmla="*/ 225 w 227"/>
                <a:gd name="T39" fmla="*/ 1950 h 2033"/>
                <a:gd name="T40" fmla="*/ 223 w 227"/>
                <a:gd name="T41" fmla="*/ 1961 h 2033"/>
                <a:gd name="T42" fmla="*/ 218 w 227"/>
                <a:gd name="T43" fmla="*/ 1973 h 2033"/>
                <a:gd name="T44" fmla="*/ 213 w 227"/>
                <a:gd name="T45" fmla="*/ 1985 h 2033"/>
                <a:gd name="T46" fmla="*/ 204 w 227"/>
                <a:gd name="T47" fmla="*/ 1997 h 2033"/>
                <a:gd name="T48" fmla="*/ 193 w 227"/>
                <a:gd name="T49" fmla="*/ 2008 h 2033"/>
                <a:gd name="T50" fmla="*/ 180 w 227"/>
                <a:gd name="T51" fmla="*/ 2018 h 2033"/>
                <a:gd name="T52" fmla="*/ 162 w 227"/>
                <a:gd name="T53" fmla="*/ 2025 h 2033"/>
                <a:gd name="T54" fmla="*/ 142 w 227"/>
                <a:gd name="T55" fmla="*/ 2031 h 2033"/>
                <a:gd name="T56" fmla="*/ 117 w 227"/>
                <a:gd name="T57" fmla="*/ 2033 h 2033"/>
                <a:gd name="T58" fmla="*/ 92 w 227"/>
                <a:gd name="T59" fmla="*/ 2032 h 2033"/>
                <a:gd name="T60" fmla="*/ 71 w 227"/>
                <a:gd name="T61" fmla="*/ 2028 h 2033"/>
                <a:gd name="T62" fmla="*/ 54 w 227"/>
                <a:gd name="T63" fmla="*/ 2021 h 2033"/>
                <a:gd name="T64" fmla="*/ 39 w 227"/>
                <a:gd name="T65" fmla="*/ 2012 h 2033"/>
                <a:gd name="T66" fmla="*/ 27 w 227"/>
                <a:gd name="T67" fmla="*/ 2001 h 2033"/>
                <a:gd name="T68" fmla="*/ 19 w 227"/>
                <a:gd name="T69" fmla="*/ 1989 h 2033"/>
                <a:gd name="T70" fmla="*/ 12 w 227"/>
                <a:gd name="T71" fmla="*/ 1976 h 2033"/>
                <a:gd name="T72" fmla="*/ 7 w 227"/>
                <a:gd name="T73" fmla="*/ 1964 h 2033"/>
                <a:gd name="T74" fmla="*/ 3 w 227"/>
                <a:gd name="T75" fmla="*/ 1952 h 2033"/>
                <a:gd name="T76" fmla="*/ 1 w 227"/>
                <a:gd name="T77" fmla="*/ 1940 h 2033"/>
                <a:gd name="T78" fmla="*/ 0 w 227"/>
                <a:gd name="T79" fmla="*/ 1931 h 2033"/>
                <a:gd name="T80" fmla="*/ 0 w 227"/>
                <a:gd name="T81" fmla="*/ 1923 h 2033"/>
                <a:gd name="T82" fmla="*/ 0 w 227"/>
                <a:gd name="T83" fmla="*/ 1918 h 2033"/>
                <a:gd name="T84" fmla="*/ 0 w 227"/>
                <a:gd name="T85" fmla="*/ 1917 h 2033"/>
                <a:gd name="T86" fmla="*/ 0 w 227"/>
                <a:gd name="T87" fmla="*/ 118 h 2033"/>
                <a:gd name="T88" fmla="*/ 0 w 227"/>
                <a:gd name="T89" fmla="*/ 116 h 2033"/>
                <a:gd name="T90" fmla="*/ 1 w 227"/>
                <a:gd name="T91" fmla="*/ 110 h 2033"/>
                <a:gd name="T92" fmla="*/ 2 w 227"/>
                <a:gd name="T93" fmla="*/ 103 h 2033"/>
                <a:gd name="T94" fmla="*/ 4 w 227"/>
                <a:gd name="T95" fmla="*/ 92 h 2033"/>
                <a:gd name="T96" fmla="*/ 8 w 227"/>
                <a:gd name="T97" fmla="*/ 80 h 2033"/>
                <a:gd name="T98" fmla="*/ 13 w 227"/>
                <a:gd name="T99" fmla="*/ 66 h 2033"/>
                <a:gd name="T100" fmla="*/ 20 w 227"/>
                <a:gd name="T101" fmla="*/ 53 h 2033"/>
                <a:gd name="T102" fmla="*/ 29 w 227"/>
                <a:gd name="T103" fmla="*/ 40 h 2033"/>
                <a:gd name="T104" fmla="*/ 39 w 227"/>
                <a:gd name="T105" fmla="*/ 28 h 2033"/>
                <a:gd name="T106" fmla="*/ 54 w 227"/>
                <a:gd name="T107" fmla="*/ 17 h 2033"/>
                <a:gd name="T108" fmla="*/ 70 w 227"/>
                <a:gd name="T109" fmla="*/ 8 h 2033"/>
                <a:gd name="T110" fmla="*/ 90 w 227"/>
                <a:gd name="T111" fmla="*/ 3 h 2033"/>
                <a:gd name="T112" fmla="*/ 113 w 227"/>
                <a:gd name="T113" fmla="*/ 0 h 20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 h="2033">
                  <a:moveTo>
                    <a:pt x="113" y="0"/>
                  </a:moveTo>
                  <a:lnTo>
                    <a:pt x="136" y="3"/>
                  </a:lnTo>
                  <a:lnTo>
                    <a:pt x="157" y="8"/>
                  </a:lnTo>
                  <a:lnTo>
                    <a:pt x="173" y="17"/>
                  </a:lnTo>
                  <a:lnTo>
                    <a:pt x="186" y="28"/>
                  </a:lnTo>
                  <a:lnTo>
                    <a:pt x="199" y="40"/>
                  </a:lnTo>
                  <a:lnTo>
                    <a:pt x="207" y="53"/>
                  </a:lnTo>
                  <a:lnTo>
                    <a:pt x="214" y="66"/>
                  </a:lnTo>
                  <a:lnTo>
                    <a:pt x="218" y="80"/>
                  </a:lnTo>
                  <a:lnTo>
                    <a:pt x="223" y="92"/>
                  </a:lnTo>
                  <a:lnTo>
                    <a:pt x="225" y="103"/>
                  </a:lnTo>
                  <a:lnTo>
                    <a:pt x="226" y="110"/>
                  </a:lnTo>
                  <a:lnTo>
                    <a:pt x="226" y="116"/>
                  </a:lnTo>
                  <a:lnTo>
                    <a:pt x="226" y="118"/>
                  </a:lnTo>
                  <a:lnTo>
                    <a:pt x="226" y="1917"/>
                  </a:lnTo>
                  <a:lnTo>
                    <a:pt x="227" y="1918"/>
                  </a:lnTo>
                  <a:lnTo>
                    <a:pt x="227" y="1922"/>
                  </a:lnTo>
                  <a:lnTo>
                    <a:pt x="227" y="1930"/>
                  </a:lnTo>
                  <a:lnTo>
                    <a:pt x="227" y="1939"/>
                  </a:lnTo>
                  <a:lnTo>
                    <a:pt x="225" y="1950"/>
                  </a:lnTo>
                  <a:lnTo>
                    <a:pt x="223" y="1961"/>
                  </a:lnTo>
                  <a:lnTo>
                    <a:pt x="218" y="1973"/>
                  </a:lnTo>
                  <a:lnTo>
                    <a:pt x="213" y="1985"/>
                  </a:lnTo>
                  <a:lnTo>
                    <a:pt x="204" y="1997"/>
                  </a:lnTo>
                  <a:lnTo>
                    <a:pt x="193" y="2008"/>
                  </a:lnTo>
                  <a:lnTo>
                    <a:pt x="180" y="2018"/>
                  </a:lnTo>
                  <a:lnTo>
                    <a:pt x="162" y="2025"/>
                  </a:lnTo>
                  <a:lnTo>
                    <a:pt x="142" y="2031"/>
                  </a:lnTo>
                  <a:lnTo>
                    <a:pt x="117" y="2033"/>
                  </a:lnTo>
                  <a:lnTo>
                    <a:pt x="92" y="2032"/>
                  </a:lnTo>
                  <a:lnTo>
                    <a:pt x="71" y="2028"/>
                  </a:lnTo>
                  <a:lnTo>
                    <a:pt x="54" y="2021"/>
                  </a:lnTo>
                  <a:lnTo>
                    <a:pt x="39" y="2012"/>
                  </a:lnTo>
                  <a:lnTo>
                    <a:pt x="27" y="2001"/>
                  </a:lnTo>
                  <a:lnTo>
                    <a:pt x="19" y="1989"/>
                  </a:lnTo>
                  <a:lnTo>
                    <a:pt x="12" y="1976"/>
                  </a:lnTo>
                  <a:lnTo>
                    <a:pt x="7" y="1964"/>
                  </a:lnTo>
                  <a:lnTo>
                    <a:pt x="3" y="1952"/>
                  </a:lnTo>
                  <a:lnTo>
                    <a:pt x="1" y="1940"/>
                  </a:lnTo>
                  <a:lnTo>
                    <a:pt x="0" y="1931"/>
                  </a:lnTo>
                  <a:lnTo>
                    <a:pt x="0" y="1923"/>
                  </a:lnTo>
                  <a:lnTo>
                    <a:pt x="0" y="1918"/>
                  </a:lnTo>
                  <a:lnTo>
                    <a:pt x="0" y="1917"/>
                  </a:lnTo>
                  <a:lnTo>
                    <a:pt x="0" y="118"/>
                  </a:lnTo>
                  <a:lnTo>
                    <a:pt x="0" y="116"/>
                  </a:lnTo>
                  <a:lnTo>
                    <a:pt x="1" y="110"/>
                  </a:lnTo>
                  <a:lnTo>
                    <a:pt x="2" y="103"/>
                  </a:lnTo>
                  <a:lnTo>
                    <a:pt x="4" y="92"/>
                  </a:lnTo>
                  <a:lnTo>
                    <a:pt x="8" y="80"/>
                  </a:lnTo>
                  <a:lnTo>
                    <a:pt x="13" y="66"/>
                  </a:lnTo>
                  <a:lnTo>
                    <a:pt x="20" y="53"/>
                  </a:lnTo>
                  <a:lnTo>
                    <a:pt x="29" y="40"/>
                  </a:lnTo>
                  <a:lnTo>
                    <a:pt x="39" y="28"/>
                  </a:lnTo>
                  <a:lnTo>
                    <a:pt x="54" y="17"/>
                  </a:lnTo>
                  <a:lnTo>
                    <a:pt x="70" y="8"/>
                  </a:lnTo>
                  <a:lnTo>
                    <a:pt x="90" y="3"/>
                  </a:lnTo>
                  <a:lnTo>
                    <a:pt x="11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664"/>
              <a:endParaRPr lang="en-US">
                <a:solidFill>
                  <a:srgbClr val="FFFFFF"/>
                </a:solidFill>
              </a:endParaRPr>
            </a:p>
          </p:txBody>
        </p:sp>
        <p:sp>
          <p:nvSpPr>
            <p:cNvPr id="53" name="Freeform 22"/>
            <p:cNvSpPr>
              <a:spLocks/>
            </p:cNvSpPr>
            <p:nvPr/>
          </p:nvSpPr>
          <p:spPr bwMode="auto">
            <a:xfrm>
              <a:off x="1130381" y="1511271"/>
              <a:ext cx="211299" cy="1541541"/>
            </a:xfrm>
            <a:custGeom>
              <a:avLst/>
              <a:gdLst>
                <a:gd name="T0" fmla="*/ 129 w 247"/>
                <a:gd name="T1" fmla="*/ 0 h 1802"/>
                <a:gd name="T2" fmla="*/ 157 w 247"/>
                <a:gd name="T3" fmla="*/ 2 h 1802"/>
                <a:gd name="T4" fmla="*/ 179 w 247"/>
                <a:gd name="T5" fmla="*/ 6 h 1802"/>
                <a:gd name="T6" fmla="*/ 197 w 247"/>
                <a:gd name="T7" fmla="*/ 14 h 1802"/>
                <a:gd name="T8" fmla="*/ 212 w 247"/>
                <a:gd name="T9" fmla="*/ 23 h 1802"/>
                <a:gd name="T10" fmla="*/ 223 w 247"/>
                <a:gd name="T11" fmla="*/ 32 h 1802"/>
                <a:gd name="T12" fmla="*/ 231 w 247"/>
                <a:gd name="T13" fmla="*/ 45 h 1802"/>
                <a:gd name="T14" fmla="*/ 238 w 247"/>
                <a:gd name="T15" fmla="*/ 56 h 1802"/>
                <a:gd name="T16" fmla="*/ 242 w 247"/>
                <a:gd name="T17" fmla="*/ 67 h 1802"/>
                <a:gd name="T18" fmla="*/ 244 w 247"/>
                <a:gd name="T19" fmla="*/ 78 h 1802"/>
                <a:gd name="T20" fmla="*/ 247 w 247"/>
                <a:gd name="T21" fmla="*/ 86 h 1802"/>
                <a:gd name="T22" fmla="*/ 247 w 247"/>
                <a:gd name="T23" fmla="*/ 94 h 1802"/>
                <a:gd name="T24" fmla="*/ 247 w 247"/>
                <a:gd name="T25" fmla="*/ 98 h 1802"/>
                <a:gd name="T26" fmla="*/ 247 w 247"/>
                <a:gd name="T27" fmla="*/ 101 h 1802"/>
                <a:gd name="T28" fmla="*/ 247 w 247"/>
                <a:gd name="T29" fmla="*/ 1702 h 1802"/>
                <a:gd name="T30" fmla="*/ 247 w 247"/>
                <a:gd name="T31" fmla="*/ 1704 h 1802"/>
                <a:gd name="T32" fmla="*/ 246 w 247"/>
                <a:gd name="T33" fmla="*/ 1708 h 1802"/>
                <a:gd name="T34" fmla="*/ 243 w 247"/>
                <a:gd name="T35" fmla="*/ 1717 h 1802"/>
                <a:gd name="T36" fmla="*/ 240 w 247"/>
                <a:gd name="T37" fmla="*/ 1727 h 1802"/>
                <a:gd name="T38" fmla="*/ 236 w 247"/>
                <a:gd name="T39" fmla="*/ 1738 h 1802"/>
                <a:gd name="T40" fmla="*/ 228 w 247"/>
                <a:gd name="T41" fmla="*/ 1750 h 1802"/>
                <a:gd name="T42" fmla="*/ 219 w 247"/>
                <a:gd name="T43" fmla="*/ 1762 h 1802"/>
                <a:gd name="T44" fmla="*/ 206 w 247"/>
                <a:gd name="T45" fmla="*/ 1774 h 1802"/>
                <a:gd name="T46" fmla="*/ 191 w 247"/>
                <a:gd name="T47" fmla="*/ 1784 h 1802"/>
                <a:gd name="T48" fmla="*/ 172 w 247"/>
                <a:gd name="T49" fmla="*/ 1793 h 1802"/>
                <a:gd name="T50" fmla="*/ 150 w 247"/>
                <a:gd name="T51" fmla="*/ 1799 h 1802"/>
                <a:gd name="T52" fmla="*/ 124 w 247"/>
                <a:gd name="T53" fmla="*/ 1802 h 1802"/>
                <a:gd name="T54" fmla="*/ 97 w 247"/>
                <a:gd name="T55" fmla="*/ 1802 h 1802"/>
                <a:gd name="T56" fmla="*/ 74 w 247"/>
                <a:gd name="T57" fmla="*/ 1796 h 1802"/>
                <a:gd name="T58" fmla="*/ 56 w 247"/>
                <a:gd name="T59" fmla="*/ 1789 h 1802"/>
                <a:gd name="T60" fmla="*/ 40 w 247"/>
                <a:gd name="T61" fmla="*/ 1780 h 1802"/>
                <a:gd name="T62" fmla="*/ 28 w 247"/>
                <a:gd name="T63" fmla="*/ 1769 h 1802"/>
                <a:gd name="T64" fmla="*/ 19 w 247"/>
                <a:gd name="T65" fmla="*/ 1758 h 1802"/>
                <a:gd name="T66" fmla="*/ 12 w 247"/>
                <a:gd name="T67" fmla="*/ 1746 h 1802"/>
                <a:gd name="T68" fmla="*/ 6 w 247"/>
                <a:gd name="T69" fmla="*/ 1735 h 1802"/>
                <a:gd name="T70" fmla="*/ 3 w 247"/>
                <a:gd name="T71" fmla="*/ 1725 h 1802"/>
                <a:gd name="T72" fmla="*/ 1 w 247"/>
                <a:gd name="T73" fmla="*/ 1717 h 1802"/>
                <a:gd name="T74" fmla="*/ 1 w 247"/>
                <a:gd name="T75" fmla="*/ 1711 h 1802"/>
                <a:gd name="T76" fmla="*/ 0 w 247"/>
                <a:gd name="T77" fmla="*/ 1710 h 1802"/>
                <a:gd name="T78" fmla="*/ 0 w 247"/>
                <a:gd name="T79" fmla="*/ 71 h 1802"/>
                <a:gd name="T80" fmla="*/ 0 w 247"/>
                <a:gd name="T81" fmla="*/ 70 h 1802"/>
                <a:gd name="T82" fmla="*/ 1 w 247"/>
                <a:gd name="T83" fmla="*/ 65 h 1802"/>
                <a:gd name="T84" fmla="*/ 3 w 247"/>
                <a:gd name="T85" fmla="*/ 60 h 1802"/>
                <a:gd name="T86" fmla="*/ 6 w 247"/>
                <a:gd name="T87" fmla="*/ 52 h 1802"/>
                <a:gd name="T88" fmla="*/ 11 w 247"/>
                <a:gd name="T89" fmla="*/ 45 h 1802"/>
                <a:gd name="T90" fmla="*/ 19 w 247"/>
                <a:gd name="T91" fmla="*/ 36 h 1802"/>
                <a:gd name="T92" fmla="*/ 27 w 247"/>
                <a:gd name="T93" fmla="*/ 27 h 1802"/>
                <a:gd name="T94" fmla="*/ 40 w 247"/>
                <a:gd name="T95" fmla="*/ 18 h 1802"/>
                <a:gd name="T96" fmla="*/ 57 w 247"/>
                <a:gd name="T97" fmla="*/ 11 h 1802"/>
                <a:gd name="T98" fmla="*/ 77 w 247"/>
                <a:gd name="T99" fmla="*/ 5 h 1802"/>
                <a:gd name="T100" fmla="*/ 101 w 247"/>
                <a:gd name="T101" fmla="*/ 2 h 1802"/>
                <a:gd name="T102" fmla="*/ 129 w 247"/>
                <a:gd name="T103" fmla="*/ 0 h 1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7" h="1802">
                  <a:moveTo>
                    <a:pt x="129" y="0"/>
                  </a:moveTo>
                  <a:lnTo>
                    <a:pt x="157" y="2"/>
                  </a:lnTo>
                  <a:lnTo>
                    <a:pt x="179" y="6"/>
                  </a:lnTo>
                  <a:lnTo>
                    <a:pt x="197" y="14"/>
                  </a:lnTo>
                  <a:lnTo>
                    <a:pt x="212" y="23"/>
                  </a:lnTo>
                  <a:lnTo>
                    <a:pt x="223" y="32"/>
                  </a:lnTo>
                  <a:lnTo>
                    <a:pt x="231" y="45"/>
                  </a:lnTo>
                  <a:lnTo>
                    <a:pt x="238" y="56"/>
                  </a:lnTo>
                  <a:lnTo>
                    <a:pt x="242" y="67"/>
                  </a:lnTo>
                  <a:lnTo>
                    <a:pt x="244" y="78"/>
                  </a:lnTo>
                  <a:lnTo>
                    <a:pt x="247" y="86"/>
                  </a:lnTo>
                  <a:lnTo>
                    <a:pt x="247" y="94"/>
                  </a:lnTo>
                  <a:lnTo>
                    <a:pt x="247" y="98"/>
                  </a:lnTo>
                  <a:lnTo>
                    <a:pt x="247" y="101"/>
                  </a:lnTo>
                  <a:lnTo>
                    <a:pt x="247" y="1702"/>
                  </a:lnTo>
                  <a:lnTo>
                    <a:pt x="247" y="1704"/>
                  </a:lnTo>
                  <a:lnTo>
                    <a:pt x="246" y="1708"/>
                  </a:lnTo>
                  <a:lnTo>
                    <a:pt x="243" y="1717"/>
                  </a:lnTo>
                  <a:lnTo>
                    <a:pt x="240" y="1727"/>
                  </a:lnTo>
                  <a:lnTo>
                    <a:pt x="236" y="1738"/>
                  </a:lnTo>
                  <a:lnTo>
                    <a:pt x="228" y="1750"/>
                  </a:lnTo>
                  <a:lnTo>
                    <a:pt x="219" y="1762"/>
                  </a:lnTo>
                  <a:lnTo>
                    <a:pt x="206" y="1774"/>
                  </a:lnTo>
                  <a:lnTo>
                    <a:pt x="191" y="1784"/>
                  </a:lnTo>
                  <a:lnTo>
                    <a:pt x="172" y="1793"/>
                  </a:lnTo>
                  <a:lnTo>
                    <a:pt x="150" y="1799"/>
                  </a:lnTo>
                  <a:lnTo>
                    <a:pt x="124" y="1802"/>
                  </a:lnTo>
                  <a:lnTo>
                    <a:pt x="97" y="1802"/>
                  </a:lnTo>
                  <a:lnTo>
                    <a:pt x="74" y="1796"/>
                  </a:lnTo>
                  <a:lnTo>
                    <a:pt x="56" y="1789"/>
                  </a:lnTo>
                  <a:lnTo>
                    <a:pt x="40" y="1780"/>
                  </a:lnTo>
                  <a:lnTo>
                    <a:pt x="28" y="1769"/>
                  </a:lnTo>
                  <a:lnTo>
                    <a:pt x="19" y="1758"/>
                  </a:lnTo>
                  <a:lnTo>
                    <a:pt x="12" y="1746"/>
                  </a:lnTo>
                  <a:lnTo>
                    <a:pt x="6" y="1735"/>
                  </a:lnTo>
                  <a:lnTo>
                    <a:pt x="3" y="1725"/>
                  </a:lnTo>
                  <a:lnTo>
                    <a:pt x="1" y="1717"/>
                  </a:lnTo>
                  <a:lnTo>
                    <a:pt x="1" y="1711"/>
                  </a:lnTo>
                  <a:lnTo>
                    <a:pt x="0" y="1710"/>
                  </a:lnTo>
                  <a:lnTo>
                    <a:pt x="0" y="71"/>
                  </a:lnTo>
                  <a:lnTo>
                    <a:pt x="0" y="70"/>
                  </a:lnTo>
                  <a:lnTo>
                    <a:pt x="1" y="65"/>
                  </a:lnTo>
                  <a:lnTo>
                    <a:pt x="3" y="60"/>
                  </a:lnTo>
                  <a:lnTo>
                    <a:pt x="6" y="52"/>
                  </a:lnTo>
                  <a:lnTo>
                    <a:pt x="11" y="45"/>
                  </a:lnTo>
                  <a:lnTo>
                    <a:pt x="19" y="36"/>
                  </a:lnTo>
                  <a:lnTo>
                    <a:pt x="27" y="27"/>
                  </a:lnTo>
                  <a:lnTo>
                    <a:pt x="40" y="18"/>
                  </a:lnTo>
                  <a:lnTo>
                    <a:pt x="57" y="11"/>
                  </a:lnTo>
                  <a:lnTo>
                    <a:pt x="77" y="5"/>
                  </a:lnTo>
                  <a:lnTo>
                    <a:pt x="101" y="2"/>
                  </a:lnTo>
                  <a:lnTo>
                    <a:pt x="1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664"/>
              <a:endParaRPr lang="en-US">
                <a:solidFill>
                  <a:srgbClr val="FFFFFF"/>
                </a:solidFill>
              </a:endParaRPr>
            </a:p>
          </p:txBody>
        </p:sp>
        <p:sp>
          <p:nvSpPr>
            <p:cNvPr id="54" name="Freeform 23"/>
            <p:cNvSpPr>
              <a:spLocks/>
            </p:cNvSpPr>
            <p:nvPr/>
          </p:nvSpPr>
          <p:spPr bwMode="auto">
            <a:xfrm>
              <a:off x="3242515" y="1511271"/>
              <a:ext cx="213865" cy="1542396"/>
            </a:xfrm>
            <a:custGeom>
              <a:avLst/>
              <a:gdLst>
                <a:gd name="T0" fmla="*/ 134 w 250"/>
                <a:gd name="T1" fmla="*/ 0 h 1803"/>
                <a:gd name="T2" fmla="*/ 160 w 250"/>
                <a:gd name="T3" fmla="*/ 2 h 1803"/>
                <a:gd name="T4" fmla="*/ 182 w 250"/>
                <a:gd name="T5" fmla="*/ 5 h 1803"/>
                <a:gd name="T6" fmla="*/ 201 w 250"/>
                <a:gd name="T7" fmla="*/ 12 h 1803"/>
                <a:gd name="T8" fmla="*/ 215 w 250"/>
                <a:gd name="T9" fmla="*/ 18 h 1803"/>
                <a:gd name="T10" fmla="*/ 227 w 250"/>
                <a:gd name="T11" fmla="*/ 27 h 1803"/>
                <a:gd name="T12" fmla="*/ 236 w 250"/>
                <a:gd name="T13" fmla="*/ 37 h 1803"/>
                <a:gd name="T14" fmla="*/ 242 w 250"/>
                <a:gd name="T15" fmla="*/ 47 h 1803"/>
                <a:gd name="T16" fmla="*/ 246 w 250"/>
                <a:gd name="T17" fmla="*/ 56 h 1803"/>
                <a:gd name="T18" fmla="*/ 249 w 250"/>
                <a:gd name="T19" fmla="*/ 64 h 1803"/>
                <a:gd name="T20" fmla="*/ 250 w 250"/>
                <a:gd name="T21" fmla="*/ 72 h 1803"/>
                <a:gd name="T22" fmla="*/ 250 w 250"/>
                <a:gd name="T23" fmla="*/ 79 h 1803"/>
                <a:gd name="T24" fmla="*/ 250 w 250"/>
                <a:gd name="T25" fmla="*/ 82 h 1803"/>
                <a:gd name="T26" fmla="*/ 250 w 250"/>
                <a:gd name="T27" fmla="*/ 83 h 1803"/>
                <a:gd name="T28" fmla="*/ 250 w 250"/>
                <a:gd name="T29" fmla="*/ 1731 h 1803"/>
                <a:gd name="T30" fmla="*/ 250 w 250"/>
                <a:gd name="T31" fmla="*/ 1732 h 1803"/>
                <a:gd name="T32" fmla="*/ 249 w 250"/>
                <a:gd name="T33" fmla="*/ 1736 h 1803"/>
                <a:gd name="T34" fmla="*/ 248 w 250"/>
                <a:gd name="T35" fmla="*/ 1742 h 1803"/>
                <a:gd name="T36" fmla="*/ 245 w 250"/>
                <a:gd name="T37" fmla="*/ 1750 h 1803"/>
                <a:gd name="T38" fmla="*/ 240 w 250"/>
                <a:gd name="T39" fmla="*/ 1758 h 1803"/>
                <a:gd name="T40" fmla="*/ 234 w 250"/>
                <a:gd name="T41" fmla="*/ 1766 h 1803"/>
                <a:gd name="T42" fmla="*/ 224 w 250"/>
                <a:gd name="T43" fmla="*/ 1775 h 1803"/>
                <a:gd name="T44" fmla="*/ 212 w 250"/>
                <a:gd name="T45" fmla="*/ 1784 h 1803"/>
                <a:gd name="T46" fmla="*/ 195 w 250"/>
                <a:gd name="T47" fmla="*/ 1791 h 1803"/>
                <a:gd name="T48" fmla="*/ 177 w 250"/>
                <a:gd name="T49" fmla="*/ 1797 h 1803"/>
                <a:gd name="T50" fmla="*/ 153 w 250"/>
                <a:gd name="T51" fmla="*/ 1800 h 1803"/>
                <a:gd name="T52" fmla="*/ 125 w 250"/>
                <a:gd name="T53" fmla="*/ 1803 h 1803"/>
                <a:gd name="T54" fmla="*/ 98 w 250"/>
                <a:gd name="T55" fmla="*/ 1800 h 1803"/>
                <a:gd name="T56" fmla="*/ 74 w 250"/>
                <a:gd name="T57" fmla="*/ 1796 h 1803"/>
                <a:gd name="T58" fmla="*/ 55 w 250"/>
                <a:gd name="T59" fmla="*/ 1789 h 1803"/>
                <a:gd name="T60" fmla="*/ 39 w 250"/>
                <a:gd name="T61" fmla="*/ 1781 h 1803"/>
                <a:gd name="T62" fmla="*/ 27 w 250"/>
                <a:gd name="T63" fmla="*/ 1771 h 1803"/>
                <a:gd name="T64" fmla="*/ 17 w 250"/>
                <a:gd name="T65" fmla="*/ 1760 h 1803"/>
                <a:gd name="T66" fmla="*/ 10 w 250"/>
                <a:gd name="T67" fmla="*/ 1750 h 1803"/>
                <a:gd name="T68" fmla="*/ 6 w 250"/>
                <a:gd name="T69" fmla="*/ 1740 h 1803"/>
                <a:gd name="T70" fmla="*/ 2 w 250"/>
                <a:gd name="T71" fmla="*/ 1731 h 1803"/>
                <a:gd name="T72" fmla="*/ 0 w 250"/>
                <a:gd name="T73" fmla="*/ 1725 h 1803"/>
                <a:gd name="T74" fmla="*/ 0 w 250"/>
                <a:gd name="T75" fmla="*/ 1720 h 1803"/>
                <a:gd name="T76" fmla="*/ 0 w 250"/>
                <a:gd name="T77" fmla="*/ 1718 h 1803"/>
                <a:gd name="T78" fmla="*/ 0 w 250"/>
                <a:gd name="T79" fmla="*/ 83 h 1803"/>
                <a:gd name="T80" fmla="*/ 0 w 250"/>
                <a:gd name="T81" fmla="*/ 82 h 1803"/>
                <a:gd name="T82" fmla="*/ 1 w 250"/>
                <a:gd name="T83" fmla="*/ 78 h 1803"/>
                <a:gd name="T84" fmla="*/ 4 w 250"/>
                <a:gd name="T85" fmla="*/ 70 h 1803"/>
                <a:gd name="T86" fmla="*/ 7 w 250"/>
                <a:gd name="T87" fmla="*/ 62 h 1803"/>
                <a:gd name="T88" fmla="*/ 12 w 250"/>
                <a:gd name="T89" fmla="*/ 52 h 1803"/>
                <a:gd name="T90" fmla="*/ 20 w 250"/>
                <a:gd name="T91" fmla="*/ 41 h 1803"/>
                <a:gd name="T92" fmla="*/ 30 w 250"/>
                <a:gd name="T93" fmla="*/ 31 h 1803"/>
                <a:gd name="T94" fmla="*/ 43 w 250"/>
                <a:gd name="T95" fmla="*/ 22 h 1803"/>
                <a:gd name="T96" fmla="*/ 59 w 250"/>
                <a:gd name="T97" fmla="*/ 13 h 1803"/>
                <a:gd name="T98" fmla="*/ 80 w 250"/>
                <a:gd name="T99" fmla="*/ 6 h 1803"/>
                <a:gd name="T100" fmla="*/ 104 w 250"/>
                <a:gd name="T101" fmla="*/ 2 h 1803"/>
                <a:gd name="T102" fmla="*/ 134 w 250"/>
                <a:gd name="T103" fmla="*/ 0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0" h="1803">
                  <a:moveTo>
                    <a:pt x="134" y="0"/>
                  </a:moveTo>
                  <a:lnTo>
                    <a:pt x="160" y="2"/>
                  </a:lnTo>
                  <a:lnTo>
                    <a:pt x="182" y="5"/>
                  </a:lnTo>
                  <a:lnTo>
                    <a:pt x="201" y="12"/>
                  </a:lnTo>
                  <a:lnTo>
                    <a:pt x="215" y="18"/>
                  </a:lnTo>
                  <a:lnTo>
                    <a:pt x="227" y="27"/>
                  </a:lnTo>
                  <a:lnTo>
                    <a:pt x="236" y="37"/>
                  </a:lnTo>
                  <a:lnTo>
                    <a:pt x="242" y="47"/>
                  </a:lnTo>
                  <a:lnTo>
                    <a:pt x="246" y="56"/>
                  </a:lnTo>
                  <a:lnTo>
                    <a:pt x="249" y="64"/>
                  </a:lnTo>
                  <a:lnTo>
                    <a:pt x="250" y="72"/>
                  </a:lnTo>
                  <a:lnTo>
                    <a:pt x="250" y="79"/>
                  </a:lnTo>
                  <a:lnTo>
                    <a:pt x="250" y="82"/>
                  </a:lnTo>
                  <a:lnTo>
                    <a:pt x="250" y="83"/>
                  </a:lnTo>
                  <a:lnTo>
                    <a:pt x="250" y="1731"/>
                  </a:lnTo>
                  <a:lnTo>
                    <a:pt x="250" y="1732"/>
                  </a:lnTo>
                  <a:lnTo>
                    <a:pt x="249" y="1736"/>
                  </a:lnTo>
                  <a:lnTo>
                    <a:pt x="248" y="1742"/>
                  </a:lnTo>
                  <a:lnTo>
                    <a:pt x="245" y="1750"/>
                  </a:lnTo>
                  <a:lnTo>
                    <a:pt x="240" y="1758"/>
                  </a:lnTo>
                  <a:lnTo>
                    <a:pt x="234" y="1766"/>
                  </a:lnTo>
                  <a:lnTo>
                    <a:pt x="224" y="1775"/>
                  </a:lnTo>
                  <a:lnTo>
                    <a:pt x="212" y="1784"/>
                  </a:lnTo>
                  <a:lnTo>
                    <a:pt x="195" y="1791"/>
                  </a:lnTo>
                  <a:lnTo>
                    <a:pt x="177" y="1797"/>
                  </a:lnTo>
                  <a:lnTo>
                    <a:pt x="153" y="1800"/>
                  </a:lnTo>
                  <a:lnTo>
                    <a:pt x="125" y="1803"/>
                  </a:lnTo>
                  <a:lnTo>
                    <a:pt x="98" y="1800"/>
                  </a:lnTo>
                  <a:lnTo>
                    <a:pt x="74" y="1796"/>
                  </a:lnTo>
                  <a:lnTo>
                    <a:pt x="55" y="1789"/>
                  </a:lnTo>
                  <a:lnTo>
                    <a:pt x="39" y="1781"/>
                  </a:lnTo>
                  <a:lnTo>
                    <a:pt x="27" y="1771"/>
                  </a:lnTo>
                  <a:lnTo>
                    <a:pt x="17" y="1760"/>
                  </a:lnTo>
                  <a:lnTo>
                    <a:pt x="10" y="1750"/>
                  </a:lnTo>
                  <a:lnTo>
                    <a:pt x="6" y="1740"/>
                  </a:lnTo>
                  <a:lnTo>
                    <a:pt x="2" y="1731"/>
                  </a:lnTo>
                  <a:lnTo>
                    <a:pt x="0" y="1725"/>
                  </a:lnTo>
                  <a:lnTo>
                    <a:pt x="0" y="1720"/>
                  </a:lnTo>
                  <a:lnTo>
                    <a:pt x="0" y="1718"/>
                  </a:lnTo>
                  <a:lnTo>
                    <a:pt x="0" y="83"/>
                  </a:lnTo>
                  <a:lnTo>
                    <a:pt x="0" y="82"/>
                  </a:lnTo>
                  <a:lnTo>
                    <a:pt x="1" y="78"/>
                  </a:lnTo>
                  <a:lnTo>
                    <a:pt x="4" y="70"/>
                  </a:lnTo>
                  <a:lnTo>
                    <a:pt x="7" y="62"/>
                  </a:lnTo>
                  <a:lnTo>
                    <a:pt x="12" y="52"/>
                  </a:lnTo>
                  <a:lnTo>
                    <a:pt x="20" y="41"/>
                  </a:lnTo>
                  <a:lnTo>
                    <a:pt x="30" y="31"/>
                  </a:lnTo>
                  <a:lnTo>
                    <a:pt x="43" y="22"/>
                  </a:lnTo>
                  <a:lnTo>
                    <a:pt x="59" y="13"/>
                  </a:lnTo>
                  <a:lnTo>
                    <a:pt x="80" y="6"/>
                  </a:lnTo>
                  <a:lnTo>
                    <a:pt x="104" y="2"/>
                  </a:lnTo>
                  <a:lnTo>
                    <a:pt x="13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664"/>
              <a:endParaRPr lang="en-US">
                <a:solidFill>
                  <a:srgbClr val="FFFFFF"/>
                </a:solidFill>
              </a:endParaRPr>
            </a:p>
          </p:txBody>
        </p:sp>
        <p:sp>
          <p:nvSpPr>
            <p:cNvPr id="55" name="Freeform 24"/>
            <p:cNvSpPr>
              <a:spLocks/>
            </p:cNvSpPr>
            <p:nvPr/>
          </p:nvSpPr>
          <p:spPr bwMode="auto">
            <a:xfrm>
              <a:off x="3620628" y="1393217"/>
              <a:ext cx="216432" cy="1759684"/>
            </a:xfrm>
            <a:custGeom>
              <a:avLst/>
              <a:gdLst>
                <a:gd name="T0" fmla="*/ 143 w 253"/>
                <a:gd name="T1" fmla="*/ 0 h 2057"/>
                <a:gd name="T2" fmla="*/ 168 w 253"/>
                <a:gd name="T3" fmla="*/ 1 h 2057"/>
                <a:gd name="T4" fmla="*/ 189 w 253"/>
                <a:gd name="T5" fmla="*/ 6 h 2057"/>
                <a:gd name="T6" fmla="*/ 207 w 253"/>
                <a:gd name="T7" fmla="*/ 12 h 2057"/>
                <a:gd name="T8" fmla="*/ 221 w 253"/>
                <a:gd name="T9" fmla="*/ 20 h 2057"/>
                <a:gd name="T10" fmla="*/ 232 w 253"/>
                <a:gd name="T11" fmla="*/ 30 h 2057"/>
                <a:gd name="T12" fmla="*/ 239 w 253"/>
                <a:gd name="T13" fmla="*/ 41 h 2057"/>
                <a:gd name="T14" fmla="*/ 246 w 253"/>
                <a:gd name="T15" fmla="*/ 52 h 2057"/>
                <a:gd name="T16" fmla="*/ 249 w 253"/>
                <a:gd name="T17" fmla="*/ 63 h 2057"/>
                <a:gd name="T18" fmla="*/ 252 w 253"/>
                <a:gd name="T19" fmla="*/ 74 h 2057"/>
                <a:gd name="T20" fmla="*/ 253 w 253"/>
                <a:gd name="T21" fmla="*/ 84 h 2057"/>
                <a:gd name="T22" fmla="*/ 253 w 253"/>
                <a:gd name="T23" fmla="*/ 93 h 2057"/>
                <a:gd name="T24" fmla="*/ 253 w 253"/>
                <a:gd name="T25" fmla="*/ 99 h 2057"/>
                <a:gd name="T26" fmla="*/ 252 w 253"/>
                <a:gd name="T27" fmla="*/ 102 h 2057"/>
                <a:gd name="T28" fmla="*/ 252 w 253"/>
                <a:gd name="T29" fmla="*/ 105 h 2057"/>
                <a:gd name="T30" fmla="*/ 253 w 253"/>
                <a:gd name="T31" fmla="*/ 1941 h 2057"/>
                <a:gd name="T32" fmla="*/ 253 w 253"/>
                <a:gd name="T33" fmla="*/ 1942 h 2057"/>
                <a:gd name="T34" fmla="*/ 252 w 253"/>
                <a:gd name="T35" fmla="*/ 1947 h 2057"/>
                <a:gd name="T36" fmla="*/ 250 w 253"/>
                <a:gd name="T37" fmla="*/ 1956 h 2057"/>
                <a:gd name="T38" fmla="*/ 247 w 253"/>
                <a:gd name="T39" fmla="*/ 1967 h 2057"/>
                <a:gd name="T40" fmla="*/ 243 w 253"/>
                <a:gd name="T41" fmla="*/ 1979 h 2057"/>
                <a:gd name="T42" fmla="*/ 237 w 253"/>
                <a:gd name="T43" fmla="*/ 1992 h 2057"/>
                <a:gd name="T44" fmla="*/ 230 w 253"/>
                <a:gd name="T45" fmla="*/ 2005 h 2057"/>
                <a:gd name="T46" fmla="*/ 220 w 253"/>
                <a:gd name="T47" fmla="*/ 2019 h 2057"/>
                <a:gd name="T48" fmla="*/ 207 w 253"/>
                <a:gd name="T49" fmla="*/ 2031 h 2057"/>
                <a:gd name="T50" fmla="*/ 192 w 253"/>
                <a:gd name="T51" fmla="*/ 2042 h 2057"/>
                <a:gd name="T52" fmla="*/ 174 w 253"/>
                <a:gd name="T53" fmla="*/ 2049 h 2057"/>
                <a:gd name="T54" fmla="*/ 152 w 253"/>
                <a:gd name="T55" fmla="*/ 2055 h 2057"/>
                <a:gd name="T56" fmla="*/ 126 w 253"/>
                <a:gd name="T57" fmla="*/ 2057 h 2057"/>
                <a:gd name="T58" fmla="*/ 101 w 253"/>
                <a:gd name="T59" fmla="*/ 2055 h 2057"/>
                <a:gd name="T60" fmla="*/ 79 w 253"/>
                <a:gd name="T61" fmla="*/ 2049 h 2057"/>
                <a:gd name="T62" fmla="*/ 62 w 253"/>
                <a:gd name="T63" fmla="*/ 2042 h 2057"/>
                <a:gd name="T64" fmla="*/ 46 w 253"/>
                <a:gd name="T65" fmla="*/ 2031 h 2057"/>
                <a:gd name="T66" fmla="*/ 33 w 253"/>
                <a:gd name="T67" fmla="*/ 2019 h 2057"/>
                <a:gd name="T68" fmla="*/ 23 w 253"/>
                <a:gd name="T69" fmla="*/ 2005 h 2057"/>
                <a:gd name="T70" fmla="*/ 16 w 253"/>
                <a:gd name="T71" fmla="*/ 1992 h 2057"/>
                <a:gd name="T72" fmla="*/ 10 w 253"/>
                <a:gd name="T73" fmla="*/ 1979 h 2057"/>
                <a:gd name="T74" fmla="*/ 6 w 253"/>
                <a:gd name="T75" fmla="*/ 1967 h 2057"/>
                <a:gd name="T76" fmla="*/ 4 w 253"/>
                <a:gd name="T77" fmla="*/ 1956 h 2057"/>
                <a:gd name="T78" fmla="*/ 1 w 253"/>
                <a:gd name="T79" fmla="*/ 1947 h 2057"/>
                <a:gd name="T80" fmla="*/ 0 w 253"/>
                <a:gd name="T81" fmla="*/ 1942 h 2057"/>
                <a:gd name="T82" fmla="*/ 0 w 253"/>
                <a:gd name="T83" fmla="*/ 1941 h 2057"/>
                <a:gd name="T84" fmla="*/ 0 w 253"/>
                <a:gd name="T85" fmla="*/ 105 h 2057"/>
                <a:gd name="T86" fmla="*/ 1 w 253"/>
                <a:gd name="T87" fmla="*/ 102 h 2057"/>
                <a:gd name="T88" fmla="*/ 1 w 253"/>
                <a:gd name="T89" fmla="*/ 98 h 2057"/>
                <a:gd name="T90" fmla="*/ 4 w 253"/>
                <a:gd name="T91" fmla="*/ 90 h 2057"/>
                <a:gd name="T92" fmla="*/ 7 w 253"/>
                <a:gd name="T93" fmla="*/ 80 h 2057"/>
                <a:gd name="T94" fmla="*/ 12 w 253"/>
                <a:gd name="T95" fmla="*/ 69 h 2057"/>
                <a:gd name="T96" fmla="*/ 19 w 253"/>
                <a:gd name="T97" fmla="*/ 58 h 2057"/>
                <a:gd name="T98" fmla="*/ 28 w 253"/>
                <a:gd name="T99" fmla="*/ 46 h 2057"/>
                <a:gd name="T100" fmla="*/ 39 w 253"/>
                <a:gd name="T101" fmla="*/ 34 h 2057"/>
                <a:gd name="T102" fmla="*/ 53 w 253"/>
                <a:gd name="T103" fmla="*/ 23 h 2057"/>
                <a:gd name="T104" fmla="*/ 71 w 253"/>
                <a:gd name="T105" fmla="*/ 13 h 2057"/>
                <a:gd name="T106" fmla="*/ 91 w 253"/>
                <a:gd name="T107" fmla="*/ 7 h 2057"/>
                <a:gd name="T108" fmla="*/ 114 w 253"/>
                <a:gd name="T109" fmla="*/ 1 h 2057"/>
                <a:gd name="T110" fmla="*/ 143 w 253"/>
                <a:gd name="T111" fmla="*/ 0 h 2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3" h="2057">
                  <a:moveTo>
                    <a:pt x="143" y="0"/>
                  </a:moveTo>
                  <a:lnTo>
                    <a:pt x="168" y="1"/>
                  </a:lnTo>
                  <a:lnTo>
                    <a:pt x="189" y="6"/>
                  </a:lnTo>
                  <a:lnTo>
                    <a:pt x="207" y="12"/>
                  </a:lnTo>
                  <a:lnTo>
                    <a:pt x="221" y="20"/>
                  </a:lnTo>
                  <a:lnTo>
                    <a:pt x="232" y="30"/>
                  </a:lnTo>
                  <a:lnTo>
                    <a:pt x="239" y="41"/>
                  </a:lnTo>
                  <a:lnTo>
                    <a:pt x="246" y="52"/>
                  </a:lnTo>
                  <a:lnTo>
                    <a:pt x="249" y="63"/>
                  </a:lnTo>
                  <a:lnTo>
                    <a:pt x="252" y="74"/>
                  </a:lnTo>
                  <a:lnTo>
                    <a:pt x="253" y="84"/>
                  </a:lnTo>
                  <a:lnTo>
                    <a:pt x="253" y="93"/>
                  </a:lnTo>
                  <a:lnTo>
                    <a:pt x="253" y="99"/>
                  </a:lnTo>
                  <a:lnTo>
                    <a:pt x="252" y="102"/>
                  </a:lnTo>
                  <a:lnTo>
                    <a:pt x="252" y="105"/>
                  </a:lnTo>
                  <a:lnTo>
                    <a:pt x="253" y="1941"/>
                  </a:lnTo>
                  <a:lnTo>
                    <a:pt x="253" y="1942"/>
                  </a:lnTo>
                  <a:lnTo>
                    <a:pt x="252" y="1947"/>
                  </a:lnTo>
                  <a:lnTo>
                    <a:pt x="250" y="1956"/>
                  </a:lnTo>
                  <a:lnTo>
                    <a:pt x="247" y="1967"/>
                  </a:lnTo>
                  <a:lnTo>
                    <a:pt x="243" y="1979"/>
                  </a:lnTo>
                  <a:lnTo>
                    <a:pt x="237" y="1992"/>
                  </a:lnTo>
                  <a:lnTo>
                    <a:pt x="230" y="2005"/>
                  </a:lnTo>
                  <a:lnTo>
                    <a:pt x="220" y="2019"/>
                  </a:lnTo>
                  <a:lnTo>
                    <a:pt x="207" y="2031"/>
                  </a:lnTo>
                  <a:lnTo>
                    <a:pt x="192" y="2042"/>
                  </a:lnTo>
                  <a:lnTo>
                    <a:pt x="174" y="2049"/>
                  </a:lnTo>
                  <a:lnTo>
                    <a:pt x="152" y="2055"/>
                  </a:lnTo>
                  <a:lnTo>
                    <a:pt x="126" y="2057"/>
                  </a:lnTo>
                  <a:lnTo>
                    <a:pt x="101" y="2055"/>
                  </a:lnTo>
                  <a:lnTo>
                    <a:pt x="79" y="2049"/>
                  </a:lnTo>
                  <a:lnTo>
                    <a:pt x="62" y="2042"/>
                  </a:lnTo>
                  <a:lnTo>
                    <a:pt x="46" y="2031"/>
                  </a:lnTo>
                  <a:lnTo>
                    <a:pt x="33" y="2019"/>
                  </a:lnTo>
                  <a:lnTo>
                    <a:pt x="23" y="2005"/>
                  </a:lnTo>
                  <a:lnTo>
                    <a:pt x="16" y="1992"/>
                  </a:lnTo>
                  <a:lnTo>
                    <a:pt x="10" y="1979"/>
                  </a:lnTo>
                  <a:lnTo>
                    <a:pt x="6" y="1967"/>
                  </a:lnTo>
                  <a:lnTo>
                    <a:pt x="4" y="1956"/>
                  </a:lnTo>
                  <a:lnTo>
                    <a:pt x="1" y="1947"/>
                  </a:lnTo>
                  <a:lnTo>
                    <a:pt x="0" y="1942"/>
                  </a:lnTo>
                  <a:lnTo>
                    <a:pt x="0" y="1941"/>
                  </a:lnTo>
                  <a:lnTo>
                    <a:pt x="0" y="105"/>
                  </a:lnTo>
                  <a:lnTo>
                    <a:pt x="1" y="102"/>
                  </a:lnTo>
                  <a:lnTo>
                    <a:pt x="1" y="98"/>
                  </a:lnTo>
                  <a:lnTo>
                    <a:pt x="4" y="90"/>
                  </a:lnTo>
                  <a:lnTo>
                    <a:pt x="7" y="80"/>
                  </a:lnTo>
                  <a:lnTo>
                    <a:pt x="12" y="69"/>
                  </a:lnTo>
                  <a:lnTo>
                    <a:pt x="19" y="58"/>
                  </a:lnTo>
                  <a:lnTo>
                    <a:pt x="28" y="46"/>
                  </a:lnTo>
                  <a:lnTo>
                    <a:pt x="39" y="34"/>
                  </a:lnTo>
                  <a:lnTo>
                    <a:pt x="53" y="23"/>
                  </a:lnTo>
                  <a:lnTo>
                    <a:pt x="71" y="13"/>
                  </a:lnTo>
                  <a:lnTo>
                    <a:pt x="91" y="7"/>
                  </a:lnTo>
                  <a:lnTo>
                    <a:pt x="114" y="1"/>
                  </a:lnTo>
                  <a:lnTo>
                    <a:pt x="14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664"/>
              <a:endParaRPr lang="en-US">
                <a:solidFill>
                  <a:srgbClr val="FFFFFF"/>
                </a:solidFill>
              </a:endParaRPr>
            </a:p>
          </p:txBody>
        </p:sp>
        <p:sp>
          <p:nvSpPr>
            <p:cNvPr id="56" name="Freeform 25"/>
            <p:cNvSpPr>
              <a:spLocks noEditPoints="1"/>
            </p:cNvSpPr>
            <p:nvPr/>
          </p:nvSpPr>
          <p:spPr bwMode="auto">
            <a:xfrm>
              <a:off x="1517049" y="1582274"/>
              <a:ext cx="1557795" cy="1427765"/>
            </a:xfrm>
            <a:custGeom>
              <a:avLst/>
              <a:gdLst>
                <a:gd name="T0" fmla="*/ 213 w 1821"/>
                <a:gd name="T1" fmla="*/ 1438 h 1669"/>
                <a:gd name="T2" fmla="*/ 354 w 1821"/>
                <a:gd name="T3" fmla="*/ 1415 h 1669"/>
                <a:gd name="T4" fmla="*/ 501 w 1821"/>
                <a:gd name="T5" fmla="*/ 1400 h 1669"/>
                <a:gd name="T6" fmla="*/ 650 w 1821"/>
                <a:gd name="T7" fmla="*/ 1391 h 1669"/>
                <a:gd name="T8" fmla="*/ 798 w 1821"/>
                <a:gd name="T9" fmla="*/ 1387 h 1669"/>
                <a:gd name="T10" fmla="*/ 942 w 1821"/>
                <a:gd name="T11" fmla="*/ 1388 h 1669"/>
                <a:gd name="T12" fmla="*/ 1080 w 1821"/>
                <a:gd name="T13" fmla="*/ 1391 h 1669"/>
                <a:gd name="T14" fmla="*/ 1209 w 1821"/>
                <a:gd name="T15" fmla="*/ 1399 h 1669"/>
                <a:gd name="T16" fmla="*/ 1325 w 1821"/>
                <a:gd name="T17" fmla="*/ 1407 h 1669"/>
                <a:gd name="T18" fmla="*/ 1427 w 1821"/>
                <a:gd name="T19" fmla="*/ 1415 h 1669"/>
                <a:gd name="T20" fmla="*/ 1510 w 1821"/>
                <a:gd name="T21" fmla="*/ 1424 h 1669"/>
                <a:gd name="T22" fmla="*/ 1574 w 1821"/>
                <a:gd name="T23" fmla="*/ 1432 h 1669"/>
                <a:gd name="T24" fmla="*/ 1615 w 1821"/>
                <a:gd name="T25" fmla="*/ 1437 h 1669"/>
                <a:gd name="T26" fmla="*/ 1629 w 1821"/>
                <a:gd name="T27" fmla="*/ 1438 h 1669"/>
                <a:gd name="T28" fmla="*/ 1547 w 1821"/>
                <a:gd name="T29" fmla="*/ 240 h 1669"/>
                <a:gd name="T30" fmla="*/ 1383 w 1821"/>
                <a:gd name="T31" fmla="*/ 262 h 1669"/>
                <a:gd name="T32" fmla="*/ 1221 w 1821"/>
                <a:gd name="T33" fmla="*/ 276 h 1669"/>
                <a:gd name="T34" fmla="*/ 1063 w 1821"/>
                <a:gd name="T35" fmla="*/ 282 h 1669"/>
                <a:gd name="T36" fmla="*/ 910 w 1821"/>
                <a:gd name="T37" fmla="*/ 283 h 1669"/>
                <a:gd name="T38" fmla="*/ 767 w 1821"/>
                <a:gd name="T39" fmla="*/ 280 h 1669"/>
                <a:gd name="T40" fmla="*/ 635 w 1821"/>
                <a:gd name="T41" fmla="*/ 272 h 1669"/>
                <a:gd name="T42" fmla="*/ 515 w 1821"/>
                <a:gd name="T43" fmla="*/ 264 h 1669"/>
                <a:gd name="T44" fmla="*/ 413 w 1821"/>
                <a:gd name="T45" fmla="*/ 254 h 1669"/>
                <a:gd name="T46" fmla="*/ 329 w 1821"/>
                <a:gd name="T47" fmla="*/ 244 h 1669"/>
                <a:gd name="T48" fmla="*/ 266 w 1821"/>
                <a:gd name="T49" fmla="*/ 235 h 1669"/>
                <a:gd name="T50" fmla="*/ 226 w 1821"/>
                <a:gd name="T51" fmla="*/ 228 h 1669"/>
                <a:gd name="T52" fmla="*/ 213 w 1821"/>
                <a:gd name="T53" fmla="*/ 226 h 1669"/>
                <a:gd name="T54" fmla="*/ 3 w 1821"/>
                <a:gd name="T55" fmla="*/ 1 h 1669"/>
                <a:gd name="T56" fmla="*/ 32 w 1821"/>
                <a:gd name="T57" fmla="*/ 5 h 1669"/>
                <a:gd name="T58" fmla="*/ 86 w 1821"/>
                <a:gd name="T59" fmla="*/ 13 h 1669"/>
                <a:gd name="T60" fmla="*/ 165 w 1821"/>
                <a:gd name="T61" fmla="*/ 23 h 1669"/>
                <a:gd name="T62" fmla="*/ 269 w 1821"/>
                <a:gd name="T63" fmla="*/ 34 h 1669"/>
                <a:gd name="T64" fmla="*/ 393 w 1821"/>
                <a:gd name="T65" fmla="*/ 44 h 1669"/>
                <a:gd name="T66" fmla="*/ 535 w 1821"/>
                <a:gd name="T67" fmla="*/ 54 h 1669"/>
                <a:gd name="T68" fmla="*/ 696 w 1821"/>
                <a:gd name="T69" fmla="*/ 60 h 1669"/>
                <a:gd name="T70" fmla="*/ 874 w 1821"/>
                <a:gd name="T71" fmla="*/ 64 h 1669"/>
                <a:gd name="T72" fmla="*/ 1065 w 1821"/>
                <a:gd name="T73" fmla="*/ 62 h 1669"/>
                <a:gd name="T74" fmla="*/ 1269 w 1821"/>
                <a:gd name="T75" fmla="*/ 54 h 1669"/>
                <a:gd name="T76" fmla="*/ 1483 w 1821"/>
                <a:gd name="T77" fmla="*/ 38 h 1669"/>
                <a:gd name="T78" fmla="*/ 1706 w 1821"/>
                <a:gd name="T79" fmla="*/ 15 h 1669"/>
                <a:gd name="T80" fmla="*/ 1821 w 1821"/>
                <a:gd name="T81" fmla="*/ 1669 h 1669"/>
                <a:gd name="T82" fmla="*/ 1805 w 1821"/>
                <a:gd name="T83" fmla="*/ 1667 h 1669"/>
                <a:gd name="T84" fmla="*/ 1762 w 1821"/>
                <a:gd name="T85" fmla="*/ 1661 h 1669"/>
                <a:gd name="T86" fmla="*/ 1692 w 1821"/>
                <a:gd name="T87" fmla="*/ 1654 h 1669"/>
                <a:gd name="T88" fmla="*/ 1599 w 1821"/>
                <a:gd name="T89" fmla="*/ 1645 h 1669"/>
                <a:gd name="T90" fmla="*/ 1485 w 1821"/>
                <a:gd name="T91" fmla="*/ 1635 h 1669"/>
                <a:gd name="T92" fmla="*/ 1352 w 1821"/>
                <a:gd name="T93" fmla="*/ 1626 h 1669"/>
                <a:gd name="T94" fmla="*/ 1203 w 1821"/>
                <a:gd name="T95" fmla="*/ 1619 h 1669"/>
                <a:gd name="T96" fmla="*/ 1040 w 1821"/>
                <a:gd name="T97" fmla="*/ 1613 h 1669"/>
                <a:gd name="T98" fmla="*/ 865 w 1821"/>
                <a:gd name="T99" fmla="*/ 1611 h 1669"/>
                <a:gd name="T100" fmla="*/ 681 w 1821"/>
                <a:gd name="T101" fmla="*/ 1613 h 1669"/>
                <a:gd name="T102" fmla="*/ 490 w 1821"/>
                <a:gd name="T103" fmla="*/ 1621 h 1669"/>
                <a:gd name="T104" fmla="*/ 295 w 1821"/>
                <a:gd name="T105" fmla="*/ 1635 h 1669"/>
                <a:gd name="T106" fmla="*/ 97 w 1821"/>
                <a:gd name="T107" fmla="*/ 1656 h 1669"/>
                <a:gd name="T108" fmla="*/ 0 w 1821"/>
                <a:gd name="T109" fmla="*/ 0 h 1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21" h="1669">
                  <a:moveTo>
                    <a:pt x="213" y="226"/>
                  </a:moveTo>
                  <a:lnTo>
                    <a:pt x="213" y="1438"/>
                  </a:lnTo>
                  <a:lnTo>
                    <a:pt x="283" y="1426"/>
                  </a:lnTo>
                  <a:lnTo>
                    <a:pt x="354" y="1415"/>
                  </a:lnTo>
                  <a:lnTo>
                    <a:pt x="428" y="1407"/>
                  </a:lnTo>
                  <a:lnTo>
                    <a:pt x="501" y="1400"/>
                  </a:lnTo>
                  <a:lnTo>
                    <a:pt x="576" y="1395"/>
                  </a:lnTo>
                  <a:lnTo>
                    <a:pt x="650" y="1391"/>
                  </a:lnTo>
                  <a:lnTo>
                    <a:pt x="725" y="1388"/>
                  </a:lnTo>
                  <a:lnTo>
                    <a:pt x="798" y="1387"/>
                  </a:lnTo>
                  <a:lnTo>
                    <a:pt x="871" y="1387"/>
                  </a:lnTo>
                  <a:lnTo>
                    <a:pt x="942" y="1388"/>
                  </a:lnTo>
                  <a:lnTo>
                    <a:pt x="1012" y="1389"/>
                  </a:lnTo>
                  <a:lnTo>
                    <a:pt x="1080" y="1391"/>
                  </a:lnTo>
                  <a:lnTo>
                    <a:pt x="1146" y="1395"/>
                  </a:lnTo>
                  <a:lnTo>
                    <a:pt x="1209" y="1399"/>
                  </a:lnTo>
                  <a:lnTo>
                    <a:pt x="1269" y="1402"/>
                  </a:lnTo>
                  <a:lnTo>
                    <a:pt x="1325" y="1407"/>
                  </a:lnTo>
                  <a:lnTo>
                    <a:pt x="1379" y="1411"/>
                  </a:lnTo>
                  <a:lnTo>
                    <a:pt x="1427" y="1415"/>
                  </a:lnTo>
                  <a:lnTo>
                    <a:pt x="1471" y="1420"/>
                  </a:lnTo>
                  <a:lnTo>
                    <a:pt x="1510" y="1424"/>
                  </a:lnTo>
                  <a:lnTo>
                    <a:pt x="1546" y="1429"/>
                  </a:lnTo>
                  <a:lnTo>
                    <a:pt x="1574" y="1432"/>
                  </a:lnTo>
                  <a:lnTo>
                    <a:pt x="1597" y="1434"/>
                  </a:lnTo>
                  <a:lnTo>
                    <a:pt x="1615" y="1437"/>
                  </a:lnTo>
                  <a:lnTo>
                    <a:pt x="1624" y="1438"/>
                  </a:lnTo>
                  <a:lnTo>
                    <a:pt x="1629" y="1438"/>
                  </a:lnTo>
                  <a:lnTo>
                    <a:pt x="1629" y="226"/>
                  </a:lnTo>
                  <a:lnTo>
                    <a:pt x="1547" y="240"/>
                  </a:lnTo>
                  <a:lnTo>
                    <a:pt x="1465" y="253"/>
                  </a:lnTo>
                  <a:lnTo>
                    <a:pt x="1383" y="262"/>
                  </a:lnTo>
                  <a:lnTo>
                    <a:pt x="1302" y="270"/>
                  </a:lnTo>
                  <a:lnTo>
                    <a:pt x="1221" y="276"/>
                  </a:lnTo>
                  <a:lnTo>
                    <a:pt x="1142" y="280"/>
                  </a:lnTo>
                  <a:lnTo>
                    <a:pt x="1063" y="282"/>
                  </a:lnTo>
                  <a:lnTo>
                    <a:pt x="986" y="283"/>
                  </a:lnTo>
                  <a:lnTo>
                    <a:pt x="910" y="283"/>
                  </a:lnTo>
                  <a:lnTo>
                    <a:pt x="838" y="282"/>
                  </a:lnTo>
                  <a:lnTo>
                    <a:pt x="767" y="280"/>
                  </a:lnTo>
                  <a:lnTo>
                    <a:pt x="700" y="277"/>
                  </a:lnTo>
                  <a:lnTo>
                    <a:pt x="635" y="272"/>
                  </a:lnTo>
                  <a:lnTo>
                    <a:pt x="574" y="268"/>
                  </a:lnTo>
                  <a:lnTo>
                    <a:pt x="515" y="264"/>
                  </a:lnTo>
                  <a:lnTo>
                    <a:pt x="463" y="258"/>
                  </a:lnTo>
                  <a:lnTo>
                    <a:pt x="413" y="254"/>
                  </a:lnTo>
                  <a:lnTo>
                    <a:pt x="368" y="248"/>
                  </a:lnTo>
                  <a:lnTo>
                    <a:pt x="329" y="244"/>
                  </a:lnTo>
                  <a:lnTo>
                    <a:pt x="295" y="238"/>
                  </a:lnTo>
                  <a:lnTo>
                    <a:pt x="266" y="235"/>
                  </a:lnTo>
                  <a:lnTo>
                    <a:pt x="243" y="231"/>
                  </a:lnTo>
                  <a:lnTo>
                    <a:pt x="226" y="228"/>
                  </a:lnTo>
                  <a:lnTo>
                    <a:pt x="216" y="227"/>
                  </a:lnTo>
                  <a:lnTo>
                    <a:pt x="213" y="226"/>
                  </a:lnTo>
                  <a:close/>
                  <a:moveTo>
                    <a:pt x="0" y="0"/>
                  </a:moveTo>
                  <a:lnTo>
                    <a:pt x="3" y="1"/>
                  </a:lnTo>
                  <a:lnTo>
                    <a:pt x="14" y="3"/>
                  </a:lnTo>
                  <a:lnTo>
                    <a:pt x="32" y="5"/>
                  </a:lnTo>
                  <a:lnTo>
                    <a:pt x="56" y="9"/>
                  </a:lnTo>
                  <a:lnTo>
                    <a:pt x="86" y="13"/>
                  </a:lnTo>
                  <a:lnTo>
                    <a:pt x="123" y="18"/>
                  </a:lnTo>
                  <a:lnTo>
                    <a:pt x="165" y="23"/>
                  </a:lnTo>
                  <a:lnTo>
                    <a:pt x="214" y="29"/>
                  </a:lnTo>
                  <a:lnTo>
                    <a:pt x="269" y="34"/>
                  </a:lnTo>
                  <a:lnTo>
                    <a:pt x="328" y="40"/>
                  </a:lnTo>
                  <a:lnTo>
                    <a:pt x="393" y="44"/>
                  </a:lnTo>
                  <a:lnTo>
                    <a:pt x="462" y="49"/>
                  </a:lnTo>
                  <a:lnTo>
                    <a:pt x="535" y="54"/>
                  </a:lnTo>
                  <a:lnTo>
                    <a:pt x="614" y="57"/>
                  </a:lnTo>
                  <a:lnTo>
                    <a:pt x="696" y="60"/>
                  </a:lnTo>
                  <a:lnTo>
                    <a:pt x="783" y="63"/>
                  </a:lnTo>
                  <a:lnTo>
                    <a:pt x="874" y="64"/>
                  </a:lnTo>
                  <a:lnTo>
                    <a:pt x="967" y="64"/>
                  </a:lnTo>
                  <a:lnTo>
                    <a:pt x="1065" y="62"/>
                  </a:lnTo>
                  <a:lnTo>
                    <a:pt x="1166" y="58"/>
                  </a:lnTo>
                  <a:lnTo>
                    <a:pt x="1269" y="54"/>
                  </a:lnTo>
                  <a:lnTo>
                    <a:pt x="1374" y="47"/>
                  </a:lnTo>
                  <a:lnTo>
                    <a:pt x="1483" y="38"/>
                  </a:lnTo>
                  <a:lnTo>
                    <a:pt x="1594" y="29"/>
                  </a:lnTo>
                  <a:lnTo>
                    <a:pt x="1706" y="15"/>
                  </a:lnTo>
                  <a:lnTo>
                    <a:pt x="1821" y="0"/>
                  </a:lnTo>
                  <a:lnTo>
                    <a:pt x="1821" y="1669"/>
                  </a:lnTo>
                  <a:lnTo>
                    <a:pt x="1816" y="1668"/>
                  </a:lnTo>
                  <a:lnTo>
                    <a:pt x="1805" y="1667"/>
                  </a:lnTo>
                  <a:lnTo>
                    <a:pt x="1787" y="1665"/>
                  </a:lnTo>
                  <a:lnTo>
                    <a:pt x="1762" y="1661"/>
                  </a:lnTo>
                  <a:lnTo>
                    <a:pt x="1731" y="1658"/>
                  </a:lnTo>
                  <a:lnTo>
                    <a:pt x="1692" y="1654"/>
                  </a:lnTo>
                  <a:lnTo>
                    <a:pt x="1649" y="1649"/>
                  </a:lnTo>
                  <a:lnTo>
                    <a:pt x="1599" y="1645"/>
                  </a:lnTo>
                  <a:lnTo>
                    <a:pt x="1546" y="1639"/>
                  </a:lnTo>
                  <a:lnTo>
                    <a:pt x="1485" y="1635"/>
                  </a:lnTo>
                  <a:lnTo>
                    <a:pt x="1422" y="1631"/>
                  </a:lnTo>
                  <a:lnTo>
                    <a:pt x="1352" y="1626"/>
                  </a:lnTo>
                  <a:lnTo>
                    <a:pt x="1280" y="1622"/>
                  </a:lnTo>
                  <a:lnTo>
                    <a:pt x="1203" y="1619"/>
                  </a:lnTo>
                  <a:lnTo>
                    <a:pt x="1123" y="1615"/>
                  </a:lnTo>
                  <a:lnTo>
                    <a:pt x="1040" y="1613"/>
                  </a:lnTo>
                  <a:lnTo>
                    <a:pt x="953" y="1612"/>
                  </a:lnTo>
                  <a:lnTo>
                    <a:pt x="865" y="1611"/>
                  </a:lnTo>
                  <a:lnTo>
                    <a:pt x="774" y="1612"/>
                  </a:lnTo>
                  <a:lnTo>
                    <a:pt x="681" y="1613"/>
                  </a:lnTo>
                  <a:lnTo>
                    <a:pt x="586" y="1616"/>
                  </a:lnTo>
                  <a:lnTo>
                    <a:pt x="490" y="1621"/>
                  </a:lnTo>
                  <a:lnTo>
                    <a:pt x="393" y="1627"/>
                  </a:lnTo>
                  <a:lnTo>
                    <a:pt x="295" y="1635"/>
                  </a:lnTo>
                  <a:lnTo>
                    <a:pt x="196" y="1644"/>
                  </a:lnTo>
                  <a:lnTo>
                    <a:pt x="97" y="1656"/>
                  </a:lnTo>
                  <a:lnTo>
                    <a:pt x="0" y="166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664"/>
              <a:endParaRPr lang="en-US">
                <a:solidFill>
                  <a:srgbClr val="FFFFFF"/>
                </a:solidFill>
              </a:endParaRPr>
            </a:p>
          </p:txBody>
        </p:sp>
      </p:grpSp>
      <p:sp>
        <p:nvSpPr>
          <p:cNvPr id="26"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7"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pic>
        <p:nvPicPr>
          <p:cNvPr id="28"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88154208"/>
      </p:ext>
    </p:extLst>
  </p:cSld>
  <p:clrMapOvr>
    <a:masterClrMapping/>
  </p:clrMapOvr>
  <p:transition>
    <p:fade/>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Content Placeholder 27"/>
          <p:cNvSpPr txBox="1">
            <a:spLocks/>
          </p:cNvSpPr>
          <p:nvPr/>
        </p:nvSpPr>
        <p:spPr>
          <a:xfrm>
            <a:off x="2146564" y="1763722"/>
            <a:ext cx="6269066" cy="276999"/>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dirty="0">
                <a:ln>
                  <a:solidFill>
                    <a:srgbClr val="000000">
                      <a:alpha val="0"/>
                    </a:srgbClr>
                  </a:solidFill>
                </a:ln>
                <a:solidFill>
                  <a:srgbClr val="3397D3"/>
                </a:solidFill>
                <a:latin typeface="Consolas" pitchFamily="49" charset="0"/>
                <a:cs typeface="Consolas" pitchFamily="49" charset="0"/>
              </a:rPr>
              <a:t>01010111001010101010001010100011101010100101</a:t>
            </a:r>
          </a:p>
        </p:txBody>
      </p:sp>
      <p:sp>
        <p:nvSpPr>
          <p:cNvPr id="42" name="Rectangle 41"/>
          <p:cNvSpPr/>
          <p:nvPr/>
        </p:nvSpPr>
        <p:spPr bwMode="auto">
          <a:xfrm>
            <a:off x="2146564" y="1763722"/>
            <a:ext cx="5469558" cy="276999"/>
          </a:xfrm>
          <a:prstGeom prst="rect">
            <a:avLst/>
          </a:prstGeom>
          <a:gradFill flip="none" rotWithShape="1">
            <a:gsLst>
              <a:gs pos="0">
                <a:schemeClr val="accent5">
                  <a:alpha val="0"/>
                </a:schemeClr>
              </a:gs>
              <a:gs pos="63000">
                <a:srgbClr val="FCFCFC"/>
              </a:gs>
              <a:gs pos="100000">
                <a:srgbClr val="FCFCFC"/>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71" bIns="34286" numCol="1" rtlCol="0" anchor="ctr" anchorCtr="0" compatLnSpc="1">
            <a:prstTxWarp prst="textNoShape">
              <a:avLst/>
            </a:prstTxWarp>
          </a:bodyPr>
          <a:lstStyle/>
          <a:p>
            <a:pPr algn="ctr" defTabSz="685523"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38" name="Content Placeholder 27"/>
          <p:cNvSpPr txBox="1">
            <a:spLocks/>
          </p:cNvSpPr>
          <p:nvPr/>
        </p:nvSpPr>
        <p:spPr>
          <a:xfrm>
            <a:off x="2146564" y="3890828"/>
            <a:ext cx="6269066" cy="276999"/>
          </a:xfrm>
          <a:prstGeom prst="rect">
            <a:avLst/>
          </a:prstGeom>
        </p:spPr>
        <p:txBody>
          <a:bodyPr vert="horz" wrap="square" lIns="0" tIns="0" rIns="0" bIns="0" rtlCol="0">
            <a:spAutoFit/>
          </a:bodyPr>
          <a:lstStyle>
            <a:defPPr>
              <a:defRPr lang="en-US"/>
            </a:defPPr>
            <a:lvl1pPr indent="0">
              <a:lnSpc>
                <a:spcPct val="100000"/>
              </a:lnSpc>
              <a:spcBef>
                <a:spcPts val="1200"/>
              </a:spcBef>
              <a:buSzPct val="80000"/>
              <a:buFont typeface="Arial" pitchFamily="34" charset="0"/>
              <a:buNone/>
              <a:defRPr sz="1600">
                <a:ln>
                  <a:solidFill>
                    <a:schemeClr val="bg1">
                      <a:alpha val="0"/>
                    </a:schemeClr>
                  </a:solidFill>
                </a:ln>
                <a:gradFill>
                  <a:gsLst>
                    <a:gs pos="0">
                      <a:srgbClr val="595959"/>
                    </a:gs>
                    <a:gs pos="86000">
                      <a:srgbClr val="595959"/>
                    </a:gs>
                  </a:gsLst>
                  <a:lin ang="5400000" scaled="0"/>
                </a:gradFill>
                <a:latin typeface="Consolas" pitchFamily="49" charset="0"/>
                <a:cs typeface="Consolas" pitchFamily="49" charset="0"/>
              </a:defRPr>
            </a:lvl1pPr>
            <a:lvl2pPr marL="801688" indent="-341313">
              <a:lnSpc>
                <a:spcPct val="100000"/>
              </a:lnSpc>
              <a:spcBef>
                <a:spcPts val="300"/>
              </a:spcBef>
              <a:buSzPct val="80000"/>
              <a:buFont typeface="Arial" pitchFamily="34" charset="0"/>
              <a:buChar char="•"/>
              <a:defRPr sz="2800">
                <a:ln>
                  <a:solidFill>
                    <a:schemeClr val="bg1">
                      <a:alpha val="0"/>
                    </a:schemeClr>
                  </a:solidFill>
                </a:ln>
                <a:gradFill>
                  <a:gsLst>
                    <a:gs pos="0">
                      <a:srgbClr val="595959"/>
                    </a:gs>
                    <a:gs pos="86000">
                      <a:srgbClr val="595959"/>
                    </a:gs>
                  </a:gsLst>
                  <a:lin ang="5400000" scaled="0"/>
                </a:gradFill>
              </a:defRPr>
            </a:lvl2pPr>
            <a:lvl3pPr marL="1258888" indent="-344488">
              <a:lnSpc>
                <a:spcPct val="100000"/>
              </a:lnSpc>
              <a:spcBef>
                <a:spcPts val="300"/>
              </a:spcBef>
              <a:buSzPct val="80000"/>
              <a:buFont typeface="Arial" pitchFamily="34" charset="0"/>
              <a:buChar char="•"/>
              <a:defRPr sz="2400">
                <a:ln>
                  <a:solidFill>
                    <a:schemeClr val="bg1">
                      <a:alpha val="0"/>
                    </a:schemeClr>
                  </a:solidFill>
                </a:ln>
                <a:gradFill>
                  <a:gsLst>
                    <a:gs pos="0">
                      <a:srgbClr val="595959"/>
                    </a:gs>
                    <a:gs pos="86000">
                      <a:srgbClr val="595959"/>
                    </a:gs>
                  </a:gsLst>
                  <a:lin ang="5400000" scaled="0"/>
                </a:gradFill>
              </a:defRPr>
            </a:lvl3pPr>
            <a:lvl4pPr marL="1716088" indent="-346075">
              <a:lnSpc>
                <a:spcPct val="100000"/>
              </a:lnSpc>
              <a:spcBef>
                <a:spcPts val="300"/>
              </a:spcBef>
              <a:buSzPct val="80000"/>
              <a:buFont typeface="Arial" pitchFamily="34" charset="0"/>
              <a:buChar char="•"/>
              <a:defRPr sz="2000">
                <a:ln>
                  <a:solidFill>
                    <a:schemeClr val="bg1">
                      <a:alpha val="0"/>
                    </a:schemeClr>
                  </a:solidFill>
                </a:ln>
                <a:gradFill>
                  <a:gsLst>
                    <a:gs pos="0">
                      <a:srgbClr val="595959"/>
                    </a:gs>
                    <a:gs pos="86000">
                      <a:srgbClr val="595959"/>
                    </a:gs>
                  </a:gsLst>
                  <a:lin ang="5400000" scaled="0"/>
                </a:gradFill>
              </a:defRPr>
            </a:lvl4pPr>
            <a:lvl5pPr marL="2173288" indent="-336550">
              <a:lnSpc>
                <a:spcPct val="100000"/>
              </a:lnSpc>
              <a:spcBef>
                <a:spcPts val="300"/>
              </a:spcBef>
              <a:buSzPct val="80000"/>
              <a:buFont typeface="Arial" pitchFamily="34" charset="0"/>
              <a:buChar char="•"/>
              <a:defRPr sz="2000">
                <a:ln>
                  <a:solidFill>
                    <a:schemeClr val="bg1">
                      <a:alpha val="0"/>
                    </a:schemeClr>
                  </a:solidFill>
                </a:ln>
                <a:gradFill>
                  <a:gsLst>
                    <a:gs pos="0">
                      <a:srgbClr val="595959"/>
                    </a:gs>
                    <a:gs pos="86000">
                      <a:srgbClr val="595959"/>
                    </a:gs>
                  </a:gsLst>
                  <a:lin ang="5400000" scaled="0"/>
                </a:gradFill>
              </a:defRPr>
            </a:lvl5pPr>
            <a:lvl6pPr marL="2514499" indent="-228591">
              <a:spcBef>
                <a:spcPct val="20000"/>
              </a:spcBef>
              <a:buFont typeface="Arial" pitchFamily="34" charset="0"/>
              <a:buChar char="•"/>
              <a:defRPr sz="2000"/>
            </a:lvl6pPr>
            <a:lvl7pPr marL="2971681" indent="-228591">
              <a:spcBef>
                <a:spcPct val="20000"/>
              </a:spcBef>
              <a:buFont typeface="Arial" pitchFamily="34" charset="0"/>
              <a:buChar char="•"/>
              <a:defRPr sz="2000"/>
            </a:lvl7pPr>
            <a:lvl8pPr marL="3428863" indent="-228591">
              <a:spcBef>
                <a:spcPct val="20000"/>
              </a:spcBef>
              <a:buFont typeface="Arial" pitchFamily="34" charset="0"/>
              <a:buChar char="•"/>
              <a:defRPr sz="2000"/>
            </a:lvl8pPr>
            <a:lvl9pPr marL="3886045" indent="-228591">
              <a:spcBef>
                <a:spcPct val="20000"/>
              </a:spcBef>
              <a:buFont typeface="Arial" pitchFamily="34" charset="0"/>
              <a:buChar char="•"/>
              <a:defRPr sz="2000"/>
            </a:lvl9pPr>
          </a:lstStyle>
          <a:p>
            <a:pPr defTabSz="685721"/>
            <a:r>
              <a:rPr lang="en-US" sz="1800" dirty="0">
                <a:ln>
                  <a:solidFill>
                    <a:srgbClr val="000000">
                      <a:alpha val="0"/>
                    </a:srgbClr>
                  </a:solidFill>
                </a:ln>
                <a:solidFill>
                  <a:srgbClr val="ED5326"/>
                </a:solidFill>
              </a:rPr>
              <a:t>01010111001010101010001010100011101010100101</a:t>
            </a:r>
          </a:p>
        </p:txBody>
      </p:sp>
      <p:sp>
        <p:nvSpPr>
          <p:cNvPr id="37" name="Content Placeholder 27"/>
          <p:cNvSpPr txBox="1">
            <a:spLocks/>
          </p:cNvSpPr>
          <p:nvPr/>
        </p:nvSpPr>
        <p:spPr>
          <a:xfrm>
            <a:off x="2146564" y="2804846"/>
            <a:ext cx="6269066" cy="276999"/>
          </a:xfrm>
          <a:prstGeom prst="rect">
            <a:avLst/>
          </a:prstGeom>
        </p:spPr>
        <p:txBody>
          <a:bodyPr vert="horz" wrap="square" lIns="0" tIns="0" rIns="0" bIns="0" rtlCol="0">
            <a:spAutoFit/>
          </a:bodyPr>
          <a:lstStyle>
            <a:defPPr>
              <a:defRPr lang="en-US"/>
            </a:defPPr>
            <a:lvl1pPr indent="0">
              <a:lnSpc>
                <a:spcPct val="100000"/>
              </a:lnSpc>
              <a:spcBef>
                <a:spcPts val="1200"/>
              </a:spcBef>
              <a:buSzPct val="80000"/>
              <a:buFont typeface="Arial" pitchFamily="34" charset="0"/>
              <a:buNone/>
              <a:defRPr sz="1600">
                <a:ln>
                  <a:solidFill>
                    <a:schemeClr val="bg1">
                      <a:alpha val="0"/>
                    </a:schemeClr>
                  </a:solidFill>
                </a:ln>
                <a:gradFill>
                  <a:gsLst>
                    <a:gs pos="0">
                      <a:srgbClr val="595959"/>
                    </a:gs>
                    <a:gs pos="86000">
                      <a:srgbClr val="595959"/>
                    </a:gs>
                  </a:gsLst>
                  <a:lin ang="5400000" scaled="0"/>
                </a:gradFill>
                <a:latin typeface="Consolas" pitchFamily="49" charset="0"/>
                <a:cs typeface="Consolas" pitchFamily="49" charset="0"/>
              </a:defRPr>
            </a:lvl1pPr>
            <a:lvl2pPr marL="801688" indent="-341313">
              <a:lnSpc>
                <a:spcPct val="100000"/>
              </a:lnSpc>
              <a:spcBef>
                <a:spcPts val="300"/>
              </a:spcBef>
              <a:buSzPct val="80000"/>
              <a:buFont typeface="Arial" pitchFamily="34" charset="0"/>
              <a:buChar char="•"/>
              <a:defRPr sz="2800">
                <a:ln>
                  <a:solidFill>
                    <a:schemeClr val="bg1">
                      <a:alpha val="0"/>
                    </a:schemeClr>
                  </a:solidFill>
                </a:ln>
                <a:gradFill>
                  <a:gsLst>
                    <a:gs pos="0">
                      <a:srgbClr val="595959"/>
                    </a:gs>
                    <a:gs pos="86000">
                      <a:srgbClr val="595959"/>
                    </a:gs>
                  </a:gsLst>
                  <a:lin ang="5400000" scaled="0"/>
                </a:gradFill>
              </a:defRPr>
            </a:lvl2pPr>
            <a:lvl3pPr marL="1258888" indent="-344488">
              <a:lnSpc>
                <a:spcPct val="100000"/>
              </a:lnSpc>
              <a:spcBef>
                <a:spcPts val="300"/>
              </a:spcBef>
              <a:buSzPct val="80000"/>
              <a:buFont typeface="Arial" pitchFamily="34" charset="0"/>
              <a:buChar char="•"/>
              <a:defRPr sz="2400">
                <a:ln>
                  <a:solidFill>
                    <a:schemeClr val="bg1">
                      <a:alpha val="0"/>
                    </a:schemeClr>
                  </a:solidFill>
                </a:ln>
                <a:gradFill>
                  <a:gsLst>
                    <a:gs pos="0">
                      <a:srgbClr val="595959"/>
                    </a:gs>
                    <a:gs pos="86000">
                      <a:srgbClr val="595959"/>
                    </a:gs>
                  </a:gsLst>
                  <a:lin ang="5400000" scaled="0"/>
                </a:gradFill>
              </a:defRPr>
            </a:lvl3pPr>
            <a:lvl4pPr marL="1716088" indent="-346075">
              <a:lnSpc>
                <a:spcPct val="100000"/>
              </a:lnSpc>
              <a:spcBef>
                <a:spcPts val="300"/>
              </a:spcBef>
              <a:buSzPct val="80000"/>
              <a:buFont typeface="Arial" pitchFamily="34" charset="0"/>
              <a:buChar char="•"/>
              <a:defRPr sz="2000">
                <a:ln>
                  <a:solidFill>
                    <a:schemeClr val="bg1">
                      <a:alpha val="0"/>
                    </a:schemeClr>
                  </a:solidFill>
                </a:ln>
                <a:gradFill>
                  <a:gsLst>
                    <a:gs pos="0">
                      <a:srgbClr val="595959"/>
                    </a:gs>
                    <a:gs pos="86000">
                      <a:srgbClr val="595959"/>
                    </a:gs>
                  </a:gsLst>
                  <a:lin ang="5400000" scaled="0"/>
                </a:gradFill>
              </a:defRPr>
            </a:lvl4pPr>
            <a:lvl5pPr marL="2173288" indent="-336550">
              <a:lnSpc>
                <a:spcPct val="100000"/>
              </a:lnSpc>
              <a:spcBef>
                <a:spcPts val="300"/>
              </a:spcBef>
              <a:buSzPct val="80000"/>
              <a:buFont typeface="Arial" pitchFamily="34" charset="0"/>
              <a:buChar char="•"/>
              <a:defRPr sz="2000">
                <a:ln>
                  <a:solidFill>
                    <a:schemeClr val="bg1">
                      <a:alpha val="0"/>
                    </a:schemeClr>
                  </a:solidFill>
                </a:ln>
                <a:gradFill>
                  <a:gsLst>
                    <a:gs pos="0">
                      <a:srgbClr val="595959"/>
                    </a:gs>
                    <a:gs pos="86000">
                      <a:srgbClr val="595959"/>
                    </a:gs>
                  </a:gsLst>
                  <a:lin ang="5400000" scaled="0"/>
                </a:gradFill>
              </a:defRPr>
            </a:lvl5pPr>
            <a:lvl6pPr marL="2514499" indent="-228591">
              <a:spcBef>
                <a:spcPct val="20000"/>
              </a:spcBef>
              <a:buFont typeface="Arial" pitchFamily="34" charset="0"/>
              <a:buChar char="•"/>
              <a:defRPr sz="2000"/>
            </a:lvl6pPr>
            <a:lvl7pPr marL="2971681" indent="-228591">
              <a:spcBef>
                <a:spcPct val="20000"/>
              </a:spcBef>
              <a:buFont typeface="Arial" pitchFamily="34" charset="0"/>
              <a:buChar char="•"/>
              <a:defRPr sz="2000"/>
            </a:lvl7pPr>
            <a:lvl8pPr marL="3428863" indent="-228591">
              <a:spcBef>
                <a:spcPct val="20000"/>
              </a:spcBef>
              <a:buFont typeface="Arial" pitchFamily="34" charset="0"/>
              <a:buChar char="•"/>
              <a:defRPr sz="2000"/>
            </a:lvl8pPr>
            <a:lvl9pPr marL="3886045" indent="-228591">
              <a:spcBef>
                <a:spcPct val="20000"/>
              </a:spcBef>
              <a:buFont typeface="Arial" pitchFamily="34" charset="0"/>
              <a:buChar char="•"/>
              <a:defRPr sz="2000"/>
            </a:lvl9pPr>
          </a:lstStyle>
          <a:p>
            <a:pPr defTabSz="685721"/>
            <a:r>
              <a:rPr lang="en-US" sz="1800" dirty="0">
                <a:ln>
                  <a:solidFill>
                    <a:srgbClr val="000000">
                      <a:alpha val="0"/>
                    </a:srgbClr>
                  </a:solidFill>
                </a:ln>
                <a:solidFill>
                  <a:srgbClr val="8E499C"/>
                </a:solidFill>
              </a:rPr>
              <a:t>01010111001010101010001010100011101010100101</a:t>
            </a:r>
          </a:p>
        </p:txBody>
      </p:sp>
      <p:grpSp>
        <p:nvGrpSpPr>
          <p:cNvPr id="22" name="Group 21"/>
          <p:cNvGrpSpPr/>
          <p:nvPr/>
        </p:nvGrpSpPr>
        <p:grpSpPr>
          <a:xfrm>
            <a:off x="634024" y="1327900"/>
            <a:ext cx="1447828" cy="871652"/>
            <a:chOff x="931406" y="1269912"/>
            <a:chExt cx="1929934" cy="1162203"/>
          </a:xfrm>
        </p:grpSpPr>
        <p:grpSp>
          <p:nvGrpSpPr>
            <p:cNvPr id="6" name="Group 5"/>
            <p:cNvGrpSpPr>
              <a:grpSpLocks noChangeAspect="1"/>
            </p:cNvGrpSpPr>
            <p:nvPr/>
          </p:nvGrpSpPr>
          <p:grpSpPr bwMode="black">
            <a:xfrm>
              <a:off x="931406" y="1269912"/>
              <a:ext cx="1929934" cy="1162203"/>
              <a:chOff x="8843608" y="828600"/>
              <a:chExt cx="925448" cy="557448"/>
            </a:xfrm>
            <a:solidFill>
              <a:schemeClr val="tx2"/>
            </a:solidFill>
          </p:grpSpPr>
          <p:sp>
            <p:nvSpPr>
              <p:cNvPr id="7" name="Rectangle 6"/>
              <p:cNvSpPr/>
              <p:nvPr/>
            </p:nvSpPr>
            <p:spPr bwMode="black">
              <a:xfrm>
                <a:off x="8857595" y="835151"/>
                <a:ext cx="623646" cy="459637"/>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17041" fontAlgn="base">
                  <a:spcBef>
                    <a:spcPct val="0"/>
                  </a:spcBef>
                  <a:spcAft>
                    <a:spcPct val="0"/>
                  </a:spcAft>
                </a:pPr>
                <a:endParaRPr lang="en-US" sz="900" dirty="0">
                  <a:gradFill>
                    <a:gsLst>
                      <a:gs pos="0">
                        <a:srgbClr val="FFFFFF"/>
                      </a:gs>
                      <a:gs pos="100000">
                        <a:srgbClr val="FFFFFF"/>
                      </a:gs>
                    </a:gsLst>
                    <a:lin ang="5400000" scaled="0"/>
                  </a:gradFill>
                </a:endParaRPr>
              </a:p>
            </p:txBody>
          </p:sp>
          <p:grpSp>
            <p:nvGrpSpPr>
              <p:cNvPr id="8" name="Group 7"/>
              <p:cNvGrpSpPr/>
              <p:nvPr/>
            </p:nvGrpSpPr>
            <p:grpSpPr bwMode="black">
              <a:xfrm>
                <a:off x="8843608" y="828600"/>
                <a:ext cx="925448" cy="557448"/>
                <a:chOff x="863600" y="2393157"/>
                <a:chExt cx="876300" cy="527844"/>
              </a:xfrm>
              <a:grpFill/>
            </p:grpSpPr>
            <p:sp>
              <p:nvSpPr>
                <p:cNvPr id="9" name="Freeform 8"/>
                <p:cNvSpPr>
                  <a:spLocks noEditPoints="1"/>
                </p:cNvSpPr>
                <p:nvPr/>
              </p:nvSpPr>
              <p:spPr bwMode="black">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514"/>
                  <a:endParaRPr lang="en-US" spc="-92" dirty="0">
                    <a:solidFill>
                      <a:srgbClr val="FFFFFF">
                        <a:lumMod val="50000"/>
                      </a:srgbClr>
                    </a:solidFill>
                    <a:latin typeface="Segoe Light" pitchFamily="34" charset="0"/>
                  </a:endParaRPr>
                </a:p>
              </p:txBody>
            </p:sp>
            <p:sp>
              <p:nvSpPr>
                <p:cNvPr id="10" name="Freeform 88"/>
                <p:cNvSpPr>
                  <a:spLocks noEditPoints="1"/>
                </p:cNvSpPr>
                <p:nvPr/>
              </p:nvSpPr>
              <p:spPr bwMode="black">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514"/>
                  <a:endParaRPr lang="en-US" spc="-92" dirty="0">
                    <a:solidFill>
                      <a:srgbClr val="FFFFFF">
                        <a:lumMod val="50000"/>
                      </a:srgbClr>
                    </a:solidFill>
                    <a:latin typeface="Segoe Light" pitchFamily="34" charset="0"/>
                  </a:endParaRPr>
                </a:p>
              </p:txBody>
            </p:sp>
          </p:grpSp>
        </p:grpSp>
        <p:pic>
          <p:nvPicPr>
            <p:cNvPr id="21" name="Picture 20"/>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1393460" y="1496689"/>
              <a:ext cx="434784" cy="532039"/>
            </a:xfrm>
            <a:prstGeom prst="rect">
              <a:avLst/>
            </a:prstGeom>
          </p:spPr>
        </p:pic>
      </p:grpSp>
      <p:grpSp>
        <p:nvGrpSpPr>
          <p:cNvPr id="11" name="Group 10"/>
          <p:cNvGrpSpPr>
            <a:grpSpLocks noChangeAspect="1"/>
          </p:cNvGrpSpPr>
          <p:nvPr/>
        </p:nvGrpSpPr>
        <p:grpSpPr bwMode="black">
          <a:xfrm>
            <a:off x="634024" y="2388547"/>
            <a:ext cx="1447828" cy="871652"/>
            <a:chOff x="8843608" y="828600"/>
            <a:chExt cx="925448" cy="557448"/>
          </a:xfrm>
          <a:solidFill>
            <a:schemeClr val="tx2"/>
          </a:solidFill>
        </p:grpSpPr>
        <p:sp>
          <p:nvSpPr>
            <p:cNvPr id="12" name="Rectangle 11"/>
            <p:cNvSpPr/>
            <p:nvPr/>
          </p:nvSpPr>
          <p:spPr bwMode="black">
            <a:xfrm>
              <a:off x="8857595" y="835151"/>
              <a:ext cx="623646" cy="459637"/>
            </a:xfrm>
            <a:prstGeom prst="rect">
              <a:avLst/>
            </a:prstGeom>
            <a:solidFill>
              <a:schemeClr val="accent6"/>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17041" fontAlgn="base">
                <a:spcBef>
                  <a:spcPct val="0"/>
                </a:spcBef>
                <a:spcAft>
                  <a:spcPct val="0"/>
                </a:spcAft>
              </a:pPr>
              <a:endParaRPr lang="en-US" sz="900" dirty="0">
                <a:gradFill>
                  <a:gsLst>
                    <a:gs pos="0">
                      <a:srgbClr val="FFFFFF"/>
                    </a:gs>
                    <a:gs pos="100000">
                      <a:srgbClr val="FFFFFF"/>
                    </a:gs>
                  </a:gsLst>
                  <a:lin ang="5400000" scaled="0"/>
                </a:gradFill>
              </a:endParaRPr>
            </a:p>
          </p:txBody>
        </p:sp>
        <p:grpSp>
          <p:nvGrpSpPr>
            <p:cNvPr id="13" name="Group 12"/>
            <p:cNvGrpSpPr/>
            <p:nvPr/>
          </p:nvGrpSpPr>
          <p:grpSpPr bwMode="black">
            <a:xfrm>
              <a:off x="8843608" y="828600"/>
              <a:ext cx="925448" cy="557448"/>
              <a:chOff x="863600" y="2393157"/>
              <a:chExt cx="876300" cy="527844"/>
            </a:xfrm>
            <a:grpFill/>
          </p:grpSpPr>
          <p:sp>
            <p:nvSpPr>
              <p:cNvPr id="14" name="Freeform 13"/>
              <p:cNvSpPr>
                <a:spLocks noEditPoints="1"/>
              </p:cNvSpPr>
              <p:nvPr/>
            </p:nvSpPr>
            <p:spPr bwMode="black">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514"/>
                <a:endParaRPr lang="en-US" spc="-92" dirty="0">
                  <a:solidFill>
                    <a:srgbClr val="FFFFFF">
                      <a:lumMod val="50000"/>
                    </a:srgbClr>
                  </a:solidFill>
                  <a:latin typeface="Segoe Light" pitchFamily="34" charset="0"/>
                </a:endParaRPr>
              </a:p>
            </p:txBody>
          </p:sp>
          <p:sp>
            <p:nvSpPr>
              <p:cNvPr id="15" name="Freeform 88"/>
              <p:cNvSpPr>
                <a:spLocks noEditPoints="1"/>
              </p:cNvSpPr>
              <p:nvPr/>
            </p:nvSpPr>
            <p:spPr bwMode="black">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514"/>
                <a:endParaRPr lang="en-US" spc="-92" dirty="0">
                  <a:solidFill>
                    <a:srgbClr val="FFFFFF">
                      <a:lumMod val="50000"/>
                    </a:srgbClr>
                  </a:solidFill>
                  <a:latin typeface="Segoe Light" pitchFamily="34" charset="0"/>
                </a:endParaRPr>
              </a:p>
            </p:txBody>
          </p:sp>
        </p:grpSp>
      </p:grpSp>
      <p:grpSp>
        <p:nvGrpSpPr>
          <p:cNvPr id="16" name="Group 15"/>
          <p:cNvGrpSpPr>
            <a:grpSpLocks noChangeAspect="1"/>
          </p:cNvGrpSpPr>
          <p:nvPr/>
        </p:nvGrpSpPr>
        <p:grpSpPr bwMode="black">
          <a:xfrm>
            <a:off x="634024" y="3449194"/>
            <a:ext cx="1447828" cy="871652"/>
            <a:chOff x="8843608" y="828600"/>
            <a:chExt cx="925448" cy="557448"/>
          </a:xfrm>
          <a:solidFill>
            <a:schemeClr val="tx2"/>
          </a:solidFill>
        </p:grpSpPr>
        <p:sp>
          <p:nvSpPr>
            <p:cNvPr id="17" name="Rectangle 16"/>
            <p:cNvSpPr/>
            <p:nvPr/>
          </p:nvSpPr>
          <p:spPr bwMode="black">
            <a:xfrm>
              <a:off x="8857595" y="835151"/>
              <a:ext cx="623646" cy="459637"/>
            </a:xfrm>
            <a:prstGeom prst="rect">
              <a:avLst/>
            </a:prstGeom>
            <a:solidFill>
              <a:schemeClr val="accent4"/>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17041" fontAlgn="base">
                <a:spcBef>
                  <a:spcPct val="0"/>
                </a:spcBef>
                <a:spcAft>
                  <a:spcPct val="0"/>
                </a:spcAft>
              </a:pPr>
              <a:endParaRPr lang="en-US" sz="900" dirty="0">
                <a:gradFill>
                  <a:gsLst>
                    <a:gs pos="0">
                      <a:srgbClr val="FFFFFF"/>
                    </a:gs>
                    <a:gs pos="100000">
                      <a:srgbClr val="FFFFFF"/>
                    </a:gs>
                  </a:gsLst>
                  <a:lin ang="5400000" scaled="0"/>
                </a:gradFill>
              </a:endParaRPr>
            </a:p>
          </p:txBody>
        </p:sp>
        <p:grpSp>
          <p:nvGrpSpPr>
            <p:cNvPr id="18" name="Group 17"/>
            <p:cNvGrpSpPr/>
            <p:nvPr/>
          </p:nvGrpSpPr>
          <p:grpSpPr bwMode="black">
            <a:xfrm>
              <a:off x="8843608" y="828600"/>
              <a:ext cx="925448" cy="557448"/>
              <a:chOff x="863600" y="2393157"/>
              <a:chExt cx="876300" cy="527844"/>
            </a:xfrm>
            <a:grpFill/>
          </p:grpSpPr>
          <p:sp>
            <p:nvSpPr>
              <p:cNvPr id="19" name="Freeform 18"/>
              <p:cNvSpPr>
                <a:spLocks noEditPoints="1"/>
              </p:cNvSpPr>
              <p:nvPr/>
            </p:nvSpPr>
            <p:spPr bwMode="black">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514"/>
                <a:endParaRPr lang="en-US" spc="-92" dirty="0">
                  <a:solidFill>
                    <a:srgbClr val="FFFFFF">
                      <a:lumMod val="50000"/>
                    </a:srgbClr>
                  </a:solidFill>
                  <a:latin typeface="Segoe Light" pitchFamily="34" charset="0"/>
                </a:endParaRPr>
              </a:p>
            </p:txBody>
          </p:sp>
          <p:sp>
            <p:nvSpPr>
              <p:cNvPr id="20" name="Freeform 88"/>
              <p:cNvSpPr>
                <a:spLocks noEditPoints="1"/>
              </p:cNvSpPr>
              <p:nvPr/>
            </p:nvSpPr>
            <p:spPr bwMode="black">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514"/>
                <a:endParaRPr lang="en-US" spc="-92" dirty="0">
                  <a:solidFill>
                    <a:srgbClr val="FFFFFF">
                      <a:lumMod val="50000"/>
                    </a:srgbClr>
                  </a:solidFill>
                  <a:latin typeface="Segoe Light" pitchFamily="34" charset="0"/>
                </a:endParaRPr>
              </a:p>
            </p:txBody>
          </p:sp>
        </p:grpSp>
      </p:grpSp>
      <p:pic>
        <p:nvPicPr>
          <p:cNvPr id="26" name="Picture 25"/>
          <p:cNvPicPr>
            <a:picLocks noChangeAspect="1"/>
          </p:cNvPicPr>
          <p:nvPr/>
        </p:nvPicPr>
        <p:blipFill>
          <a:blip r:embed="rId4">
            <a:lum bright="70000" contrast="-70000"/>
            <a:extLst>
              <a:ext uri="{BEBA8EAE-BF5A-486C-A8C5-ECC9F3942E4B}">
                <a14:imgProps xmlns:a14="http://schemas.microsoft.com/office/drawing/2010/main">
                  <a14:imgLayer r:embed="rId5">
                    <a14:imgEffect>
                      <a14:artisticPhotocopy/>
                    </a14:imgEffect>
                    <a14:imgEffect>
                      <a14:colorTemperature colorTemp="6625"/>
                    </a14:imgEffect>
                    <a14:imgEffect>
                      <a14:saturation sat="25000"/>
                    </a14:imgEffect>
                  </a14:imgLayer>
                </a14:imgProps>
              </a:ext>
              <a:ext uri="{28A0092B-C50C-407E-A947-70E740481C1C}">
                <a14:useLocalDpi xmlns:a14="http://schemas.microsoft.com/office/drawing/2010/main" val="0"/>
              </a:ext>
            </a:extLst>
          </a:blip>
          <a:stretch>
            <a:fillRect/>
          </a:stretch>
        </p:blipFill>
        <p:spPr>
          <a:xfrm>
            <a:off x="983338" y="2564731"/>
            <a:ext cx="329542" cy="386837"/>
          </a:xfrm>
          <a:prstGeom prst="rect">
            <a:avLst/>
          </a:prstGeom>
        </p:spPr>
      </p:pic>
      <p:sp>
        <p:nvSpPr>
          <p:cNvPr id="27" name="Title 26"/>
          <p:cNvSpPr>
            <a:spLocks noGrp="1"/>
          </p:cNvSpPr>
          <p:nvPr>
            <p:ph type="title"/>
          </p:nvPr>
        </p:nvSpPr>
        <p:spPr/>
        <p:txBody>
          <a:bodyPr/>
          <a:lstStyle/>
          <a:p>
            <a:r>
              <a:rPr lang="en-US" dirty="0" smtClean="0"/>
              <a:t>Supported Deployment Protocols</a:t>
            </a:r>
            <a:endParaRPr lang="en-US" dirty="0"/>
          </a:p>
        </p:txBody>
      </p:sp>
      <p:sp>
        <p:nvSpPr>
          <p:cNvPr id="28" name="Content Placeholder 27"/>
          <p:cNvSpPr>
            <a:spLocks noGrp="1"/>
          </p:cNvSpPr>
          <p:nvPr>
            <p:ph sz="quarter" idx="10"/>
          </p:nvPr>
        </p:nvSpPr>
        <p:spPr>
          <a:xfrm>
            <a:off x="2180796" y="1473509"/>
            <a:ext cx="1127248" cy="219291"/>
          </a:xfrm>
        </p:spPr>
        <p:txBody>
          <a:bodyPr/>
          <a:lstStyle/>
          <a:p>
            <a:pPr marL="0" indent="0">
              <a:lnSpc>
                <a:spcPct val="100000"/>
              </a:lnSpc>
              <a:spcBef>
                <a:spcPts val="0"/>
              </a:spcBef>
              <a:buSzTx/>
              <a:buNone/>
            </a:pPr>
            <a:r>
              <a:rPr lang="en-US" sz="1400" spc="0" dirty="0">
                <a:solidFill>
                  <a:srgbClr val="FFFFFF"/>
                </a:solidFill>
                <a:latin typeface="Segoe UI"/>
              </a:rPr>
              <a:t>GIT : FTP</a:t>
            </a:r>
          </a:p>
        </p:txBody>
      </p:sp>
      <p:sp>
        <p:nvSpPr>
          <p:cNvPr id="33" name="Content Placeholder 27"/>
          <p:cNvSpPr txBox="1">
            <a:spLocks/>
          </p:cNvSpPr>
          <p:nvPr/>
        </p:nvSpPr>
        <p:spPr>
          <a:xfrm>
            <a:off x="2174071" y="2534159"/>
            <a:ext cx="1127248" cy="219291"/>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400" dirty="0">
                <a:ln>
                  <a:solidFill>
                    <a:srgbClr val="000000">
                      <a:alpha val="0"/>
                    </a:srgbClr>
                  </a:solidFill>
                </a:ln>
                <a:solidFill>
                  <a:srgbClr val="FFFFFF"/>
                </a:solidFill>
              </a:rPr>
              <a:t>GIT : FTP</a:t>
            </a:r>
          </a:p>
        </p:txBody>
      </p:sp>
      <p:sp>
        <p:nvSpPr>
          <p:cNvPr id="34" name="Content Placeholder 27"/>
          <p:cNvSpPr txBox="1">
            <a:spLocks/>
          </p:cNvSpPr>
          <p:nvPr/>
        </p:nvSpPr>
        <p:spPr>
          <a:xfrm>
            <a:off x="2174076" y="3594806"/>
            <a:ext cx="3205973" cy="219291"/>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400" dirty="0">
                <a:ln>
                  <a:solidFill>
                    <a:srgbClr val="000000">
                      <a:alpha val="0"/>
                    </a:srgbClr>
                  </a:solidFill>
                </a:ln>
                <a:solidFill>
                  <a:srgbClr val="FFFFFF"/>
                </a:solidFill>
              </a:rPr>
              <a:t>GIT : FTP : Web Deploy : TFS Deploy </a:t>
            </a:r>
          </a:p>
        </p:txBody>
      </p:sp>
      <p:pic>
        <p:nvPicPr>
          <p:cNvPr id="25" name="Picture 24"/>
          <p:cNvPicPr>
            <a:picLocks noChangeAspect="1"/>
          </p:cNvPicPr>
          <p:nvPr/>
        </p:nvPicPr>
        <p:blipFill rotWithShape="1">
          <a:blip r:embed="rId6">
            <a:lum bright="70000" contrast="-70000"/>
            <a:extLst>
              <a:ext uri="{BEBA8EAE-BF5A-486C-A8C5-ECC9F3942E4B}">
                <a14:imgProps xmlns:a14="http://schemas.microsoft.com/office/drawing/2010/main">
                  <a14:imgLayer r:embed="rId7">
                    <a14:imgEffect>
                      <a14:brightnessContrast bright="-20000" contrast="-40000"/>
                    </a14:imgEffect>
                  </a14:imgLayer>
                </a14:imgProps>
              </a:ext>
              <a:ext uri="{28A0092B-C50C-407E-A947-70E740481C1C}">
                <a14:useLocalDpi xmlns:a14="http://schemas.microsoft.com/office/drawing/2010/main" val="0"/>
              </a:ext>
            </a:extLst>
          </a:blip>
          <a:srcRect/>
          <a:stretch/>
        </p:blipFill>
        <p:spPr>
          <a:xfrm>
            <a:off x="917750" y="3635287"/>
            <a:ext cx="460716" cy="367021"/>
          </a:xfrm>
          <a:prstGeom prst="rect">
            <a:avLst/>
          </a:prstGeom>
        </p:spPr>
      </p:pic>
      <p:sp>
        <p:nvSpPr>
          <p:cNvPr id="40" name="Rectangle 39"/>
          <p:cNvSpPr/>
          <p:nvPr/>
        </p:nvSpPr>
        <p:spPr bwMode="auto">
          <a:xfrm>
            <a:off x="2146564" y="2804846"/>
            <a:ext cx="5469558" cy="276999"/>
          </a:xfrm>
          <a:prstGeom prst="rect">
            <a:avLst/>
          </a:prstGeom>
          <a:gradFill flip="none" rotWithShape="1">
            <a:gsLst>
              <a:gs pos="0">
                <a:schemeClr val="accent5">
                  <a:alpha val="0"/>
                </a:schemeClr>
              </a:gs>
              <a:gs pos="63000">
                <a:srgbClr val="FCFCFC"/>
              </a:gs>
              <a:gs pos="100000">
                <a:srgbClr val="FCFCFC"/>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71" bIns="34286" numCol="1" rtlCol="0" anchor="ctr" anchorCtr="0" compatLnSpc="1">
            <a:prstTxWarp prst="textNoShape">
              <a:avLst/>
            </a:prstTxWarp>
          </a:bodyPr>
          <a:lstStyle/>
          <a:p>
            <a:pPr algn="ctr" defTabSz="685523"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43" name="Rectangle 42"/>
          <p:cNvSpPr/>
          <p:nvPr/>
        </p:nvSpPr>
        <p:spPr bwMode="auto">
          <a:xfrm>
            <a:off x="2146564" y="3890828"/>
            <a:ext cx="5469558" cy="276999"/>
          </a:xfrm>
          <a:prstGeom prst="rect">
            <a:avLst/>
          </a:prstGeom>
          <a:gradFill flip="none" rotWithShape="1">
            <a:gsLst>
              <a:gs pos="0">
                <a:schemeClr val="accent5">
                  <a:alpha val="0"/>
                </a:schemeClr>
              </a:gs>
              <a:gs pos="63000">
                <a:srgbClr val="FCFCFC"/>
              </a:gs>
              <a:gs pos="100000">
                <a:srgbClr val="FCFCFC"/>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71" bIns="34286" numCol="1" rtlCol="0" anchor="ctr" anchorCtr="0" compatLnSpc="1">
            <a:prstTxWarp prst="textNoShape">
              <a:avLst/>
            </a:prstTxWarp>
          </a:bodyPr>
          <a:lstStyle/>
          <a:p>
            <a:pPr algn="ctr" defTabSz="685523"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35" name="Group 34"/>
          <p:cNvGrpSpPr/>
          <p:nvPr/>
        </p:nvGrpSpPr>
        <p:grpSpPr>
          <a:xfrm>
            <a:off x="6003158" y="1001590"/>
            <a:ext cx="2779396" cy="3530900"/>
            <a:chOff x="1087822" y="827327"/>
            <a:chExt cx="3704896" cy="4707867"/>
          </a:xfrm>
        </p:grpSpPr>
        <p:sp>
          <p:nvSpPr>
            <p:cNvPr id="39" name="Rectangle 38"/>
            <p:cNvSpPr/>
            <p:nvPr/>
          </p:nvSpPr>
          <p:spPr bwMode="auto">
            <a:xfrm>
              <a:off x="1087822" y="827327"/>
              <a:ext cx="3704896" cy="4707867"/>
            </a:xfrm>
            <a:prstGeom prst="rect">
              <a:avLst/>
            </a:prstGeom>
            <a:solidFill>
              <a:schemeClr val="accent2"/>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721">
                <a:lnSpc>
                  <a:spcPct val="90000"/>
                </a:lnSpc>
                <a:buSzPct val="90000"/>
              </a:pPr>
              <a:endParaRPr lang="en-US" sz="2200" dirty="0">
                <a:gradFill>
                  <a:gsLst>
                    <a:gs pos="85000">
                      <a:srgbClr val="FFFFFF"/>
                    </a:gs>
                    <a:gs pos="0">
                      <a:srgbClr val="FFFFFF"/>
                    </a:gs>
                  </a:gsLst>
                  <a:lin ang="5400000" scaled="0"/>
                </a:gradFill>
              </a:endParaRPr>
            </a:p>
          </p:txBody>
        </p:sp>
        <p:pic>
          <p:nvPicPr>
            <p:cNvPr id="41" name="Picture 4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58427" y="1175657"/>
              <a:ext cx="3363686" cy="3363686"/>
            </a:xfrm>
            <a:prstGeom prst="rect">
              <a:avLst/>
            </a:prstGeom>
          </p:spPr>
        </p:pic>
      </p:grpSp>
      <p:sp>
        <p:nvSpPr>
          <p:cNvPr id="44"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45"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9"/>
              </a:rPr>
              <a:t>www.rapidbbs.cn</a:t>
            </a:r>
            <a:endParaRPr lang="zh-CN" altLang="en-US" sz="1200" b="0">
              <a:latin typeface="Arial" charset="0"/>
              <a:ea typeface="ＭＳ Ｐゴシック" pitchFamily="34" charset="-128"/>
            </a:endParaRPr>
          </a:p>
        </p:txBody>
      </p:sp>
      <p:pic>
        <p:nvPicPr>
          <p:cNvPr id="46" name="Picture 2">
            <a:hlinkClick r:id="rId9"/>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801724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36">
                                            <p:txEl>
                                              <p:pRg st="0" end="0"/>
                                            </p:txEl>
                                          </p:spTgt>
                                        </p:tgtEl>
                                        <p:attrNameLst>
                                          <p:attrName>style.visibility</p:attrName>
                                        </p:attrNameLst>
                                      </p:cBhvr>
                                      <p:to>
                                        <p:strVal val="visible"/>
                                      </p:to>
                                    </p:set>
                                    <p:anim calcmode="lin" valueType="num">
                                      <p:cBhvr additive="base">
                                        <p:cTn id="7" dur="500" fill="hold"/>
                                        <p:tgtEl>
                                          <p:spTgt spid="36">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36">
                                            <p:txEl>
                                              <p:pRg st="0" end="0"/>
                                            </p:txEl>
                                          </p:spTgt>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decel="100000" fill="hold" grpId="0" nodeType="afterEffect">
                                  <p:stCondLst>
                                    <p:cond delay="0"/>
                                  </p:stCondLst>
                                  <p:childTnLst>
                                    <p:set>
                                      <p:cBhvr>
                                        <p:cTn id="11" dur="1" fill="hold">
                                          <p:stCondLst>
                                            <p:cond delay="0"/>
                                          </p:stCondLst>
                                        </p:cTn>
                                        <p:tgtEl>
                                          <p:spTgt spid="37">
                                            <p:txEl>
                                              <p:pRg st="0" end="0"/>
                                            </p:txEl>
                                          </p:spTgt>
                                        </p:tgtEl>
                                        <p:attrNameLst>
                                          <p:attrName>style.visibility</p:attrName>
                                        </p:attrNameLst>
                                      </p:cBhvr>
                                      <p:to>
                                        <p:strVal val="visible"/>
                                      </p:to>
                                    </p:set>
                                    <p:anim calcmode="lin" valueType="num">
                                      <p:cBhvr additive="base">
                                        <p:cTn id="12" dur="500" fill="hold"/>
                                        <p:tgtEl>
                                          <p:spTgt spid="37">
                                            <p:txEl>
                                              <p:pRg st="0" end="0"/>
                                            </p:txEl>
                                          </p:spTgt>
                                        </p:tgtEl>
                                        <p:attrNameLst>
                                          <p:attrName>ppt_x</p:attrName>
                                        </p:attrNameLst>
                                      </p:cBhvr>
                                      <p:tavLst>
                                        <p:tav tm="0">
                                          <p:val>
                                            <p:strVal val="0-#ppt_w/2"/>
                                          </p:val>
                                        </p:tav>
                                        <p:tav tm="100000">
                                          <p:val>
                                            <p:strVal val="#ppt_x"/>
                                          </p:val>
                                        </p:tav>
                                      </p:tavLst>
                                    </p:anim>
                                    <p:anim calcmode="lin" valueType="num">
                                      <p:cBhvr additive="base">
                                        <p:cTn id="13" dur="500" fill="hold"/>
                                        <p:tgtEl>
                                          <p:spTgt spid="37">
                                            <p:txEl>
                                              <p:pRg st="0" end="0"/>
                                            </p:txEl>
                                          </p:spTgt>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8" decel="100000" fill="hold" grpId="0" nodeType="afterEffect">
                                  <p:stCondLst>
                                    <p:cond delay="0"/>
                                  </p:stCondLst>
                                  <p:childTnLst>
                                    <p:set>
                                      <p:cBhvr>
                                        <p:cTn id="16" dur="1" fill="hold">
                                          <p:stCondLst>
                                            <p:cond delay="0"/>
                                          </p:stCondLst>
                                        </p:cTn>
                                        <p:tgtEl>
                                          <p:spTgt spid="38">
                                            <p:txEl>
                                              <p:pRg st="0" end="0"/>
                                            </p:txEl>
                                          </p:spTgt>
                                        </p:tgtEl>
                                        <p:attrNameLst>
                                          <p:attrName>style.visibility</p:attrName>
                                        </p:attrNameLst>
                                      </p:cBhvr>
                                      <p:to>
                                        <p:strVal val="visible"/>
                                      </p:to>
                                    </p:set>
                                    <p:anim calcmode="lin" valueType="num">
                                      <p:cBhvr additive="base">
                                        <p:cTn id="17" dur="500" fill="hold"/>
                                        <p:tgtEl>
                                          <p:spTgt spid="38">
                                            <p:txEl>
                                              <p:pRg st="0" end="0"/>
                                            </p:txEl>
                                          </p:spTgt>
                                        </p:tgtEl>
                                        <p:attrNameLst>
                                          <p:attrName>ppt_x</p:attrName>
                                        </p:attrNameLst>
                                      </p:cBhvr>
                                      <p:tavLst>
                                        <p:tav tm="0">
                                          <p:val>
                                            <p:strVal val="0-#ppt_w/2"/>
                                          </p:val>
                                        </p:tav>
                                        <p:tav tm="100000">
                                          <p:val>
                                            <p:strVal val="#ppt_x"/>
                                          </p:val>
                                        </p:tav>
                                      </p:tavLst>
                                    </p:anim>
                                    <p:anim calcmode="lin" valueType="num">
                                      <p:cBhvr additive="base">
                                        <p:cTn id="18" dur="500" fill="hold"/>
                                        <p:tgtEl>
                                          <p:spTgt spid="38">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build="p" bldLvl="5"/>
      <p:bldP spid="38" grpId="0" build="p" bldLvl="5"/>
      <p:bldP spid="37" grpId="0" build="p" bldLvl="5"/>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6734436" y="607237"/>
            <a:ext cx="1951691" cy="613850"/>
          </a:xfrm>
          <a:prstGeom prst="rect">
            <a:avLst/>
          </a:prstGeom>
          <a:solidFill>
            <a:schemeClr val="accent1"/>
          </a:solidFill>
          <a:ln w="9525" cap="flat" cmpd="sng" algn="ctr">
            <a:noFill/>
            <a:prstDash val="solid"/>
          </a:ln>
          <a:effectLst/>
        </p:spPr>
        <p:txBody>
          <a:bodyPr lIns="0" tIns="0" rIns="0" bIns="0" rtlCol="0" anchor="ctr" anchorCtr="0"/>
          <a:lstStyle/>
          <a:p>
            <a:pPr algn="ctr" defTabSz="685466">
              <a:lnSpc>
                <a:spcPct val="90000"/>
              </a:lnSpc>
              <a:spcAft>
                <a:spcPts val="675"/>
              </a:spcAft>
              <a:buSzPct val="80000"/>
            </a:pPr>
            <a:r>
              <a:rPr lang="en-US" spc="-62" dirty="0">
                <a:solidFill>
                  <a:srgbClr val="000000">
                    <a:alpha val="99000"/>
                  </a:srgbClr>
                </a:solidFill>
                <a:latin typeface="Segoe UI Light" pitchFamily="34" charset="0"/>
              </a:rPr>
              <a:t>Web Role</a:t>
            </a:r>
          </a:p>
        </p:txBody>
      </p:sp>
      <p:sp>
        <p:nvSpPr>
          <p:cNvPr id="136" name="Rectangle 135"/>
          <p:cNvSpPr/>
          <p:nvPr/>
        </p:nvSpPr>
        <p:spPr>
          <a:xfrm>
            <a:off x="6734427" y="1365918"/>
            <a:ext cx="1932272" cy="197759"/>
          </a:xfrm>
          <a:prstGeom prst="rect">
            <a:avLst/>
          </a:prstGeom>
          <a:solidFill>
            <a:schemeClr val="accent1"/>
          </a:solidFill>
          <a:ln w="9525" cap="flat" cmpd="sng" algn="ctr">
            <a:noFill/>
            <a:prstDash val="solid"/>
          </a:ln>
          <a:effectLst/>
        </p:spPr>
        <p:txBody>
          <a:bodyPr lIns="0" tIns="0" rIns="0" bIns="0" rtlCol="0" anchor="ctr" anchorCtr="0"/>
          <a:lstStyle/>
          <a:p>
            <a:pPr algn="ctr" defTabSz="685466">
              <a:lnSpc>
                <a:spcPct val="90000"/>
              </a:lnSpc>
              <a:spcAft>
                <a:spcPts val="675"/>
              </a:spcAft>
              <a:buSzPct val="80000"/>
            </a:pPr>
            <a:endParaRPr lang="en-US" spc="-62" dirty="0">
              <a:solidFill>
                <a:srgbClr val="000000">
                  <a:alpha val="99000"/>
                </a:srgbClr>
              </a:solidFill>
              <a:latin typeface="Segoe UI Light" pitchFamily="34" charset="0"/>
            </a:endParaRPr>
          </a:p>
        </p:txBody>
      </p:sp>
      <p:sp>
        <p:nvSpPr>
          <p:cNvPr id="137" name="Rectangle 136"/>
          <p:cNvSpPr/>
          <p:nvPr/>
        </p:nvSpPr>
        <p:spPr>
          <a:xfrm>
            <a:off x="6734427" y="1595165"/>
            <a:ext cx="1932272" cy="197759"/>
          </a:xfrm>
          <a:prstGeom prst="rect">
            <a:avLst/>
          </a:prstGeom>
          <a:solidFill>
            <a:schemeClr val="accent1"/>
          </a:solidFill>
          <a:ln w="9525" cap="flat" cmpd="sng" algn="ctr">
            <a:noFill/>
            <a:prstDash val="solid"/>
          </a:ln>
          <a:effectLst/>
        </p:spPr>
        <p:txBody>
          <a:bodyPr lIns="0" tIns="0" rIns="0" bIns="0" rtlCol="0" anchor="ctr" anchorCtr="0"/>
          <a:lstStyle/>
          <a:p>
            <a:pPr algn="ctr" defTabSz="685466">
              <a:lnSpc>
                <a:spcPct val="90000"/>
              </a:lnSpc>
              <a:spcAft>
                <a:spcPts val="675"/>
              </a:spcAft>
              <a:buSzPct val="80000"/>
            </a:pPr>
            <a:endParaRPr lang="en-US" spc="-62" dirty="0">
              <a:solidFill>
                <a:srgbClr val="000000">
                  <a:alpha val="99000"/>
                </a:srgbClr>
              </a:solidFill>
              <a:latin typeface="Segoe UI Light" pitchFamily="34" charset="0"/>
            </a:endParaRPr>
          </a:p>
        </p:txBody>
      </p:sp>
      <p:sp>
        <p:nvSpPr>
          <p:cNvPr id="138" name="Rectangle 137"/>
          <p:cNvSpPr/>
          <p:nvPr/>
        </p:nvSpPr>
        <p:spPr>
          <a:xfrm>
            <a:off x="6734427" y="1824405"/>
            <a:ext cx="1932272" cy="197759"/>
          </a:xfrm>
          <a:prstGeom prst="rect">
            <a:avLst/>
          </a:prstGeom>
          <a:solidFill>
            <a:schemeClr val="accent1"/>
          </a:solidFill>
          <a:ln w="9525" cap="flat" cmpd="sng" algn="ctr">
            <a:noFill/>
            <a:prstDash val="solid"/>
          </a:ln>
          <a:effectLst/>
        </p:spPr>
        <p:txBody>
          <a:bodyPr lIns="0" tIns="0" rIns="0" bIns="0" rtlCol="0" anchor="ctr" anchorCtr="0"/>
          <a:lstStyle/>
          <a:p>
            <a:pPr algn="ctr" defTabSz="685466">
              <a:lnSpc>
                <a:spcPct val="90000"/>
              </a:lnSpc>
              <a:spcAft>
                <a:spcPts val="675"/>
              </a:spcAft>
              <a:buSzPct val="80000"/>
            </a:pPr>
            <a:endParaRPr lang="en-US" spc="-62" dirty="0">
              <a:solidFill>
                <a:srgbClr val="000000">
                  <a:alpha val="99000"/>
                </a:srgbClr>
              </a:solidFill>
              <a:latin typeface="Segoe UI Light" pitchFamily="34" charset="0"/>
            </a:endParaRPr>
          </a:p>
        </p:txBody>
      </p:sp>
      <p:sp>
        <p:nvSpPr>
          <p:cNvPr id="139" name="Rectangle 138"/>
          <p:cNvSpPr/>
          <p:nvPr/>
        </p:nvSpPr>
        <p:spPr>
          <a:xfrm>
            <a:off x="6734427" y="2053644"/>
            <a:ext cx="1932272" cy="197759"/>
          </a:xfrm>
          <a:prstGeom prst="rect">
            <a:avLst/>
          </a:prstGeom>
          <a:solidFill>
            <a:schemeClr val="accent1"/>
          </a:solidFill>
          <a:ln w="9525" cap="flat" cmpd="sng" algn="ctr">
            <a:noFill/>
            <a:prstDash val="solid"/>
          </a:ln>
          <a:effectLst/>
        </p:spPr>
        <p:txBody>
          <a:bodyPr lIns="0" tIns="0" rIns="0" bIns="0" rtlCol="0" anchor="ctr" anchorCtr="0"/>
          <a:lstStyle/>
          <a:p>
            <a:pPr algn="ctr" defTabSz="685466">
              <a:lnSpc>
                <a:spcPct val="90000"/>
              </a:lnSpc>
              <a:spcAft>
                <a:spcPts val="675"/>
              </a:spcAft>
              <a:buSzPct val="80000"/>
            </a:pPr>
            <a:endParaRPr lang="en-US" spc="-62" dirty="0">
              <a:solidFill>
                <a:srgbClr val="000000">
                  <a:alpha val="99000"/>
                </a:srgbClr>
              </a:solidFill>
              <a:latin typeface="Segoe UI Light" pitchFamily="34" charset="0"/>
            </a:endParaRPr>
          </a:p>
        </p:txBody>
      </p:sp>
      <p:sp>
        <p:nvSpPr>
          <p:cNvPr id="140" name="Rectangle 139"/>
          <p:cNvSpPr/>
          <p:nvPr/>
        </p:nvSpPr>
        <p:spPr>
          <a:xfrm>
            <a:off x="6734427" y="2282884"/>
            <a:ext cx="1932272" cy="197759"/>
          </a:xfrm>
          <a:prstGeom prst="rect">
            <a:avLst/>
          </a:prstGeom>
          <a:solidFill>
            <a:schemeClr val="accent1"/>
          </a:solidFill>
          <a:ln w="9525" cap="flat" cmpd="sng" algn="ctr">
            <a:noFill/>
            <a:prstDash val="solid"/>
          </a:ln>
          <a:effectLst/>
        </p:spPr>
        <p:txBody>
          <a:bodyPr lIns="0" tIns="0" rIns="0" bIns="0" rtlCol="0" anchor="ctr" anchorCtr="0"/>
          <a:lstStyle/>
          <a:p>
            <a:pPr algn="ctr" defTabSz="685466">
              <a:lnSpc>
                <a:spcPct val="90000"/>
              </a:lnSpc>
              <a:spcAft>
                <a:spcPts val="675"/>
              </a:spcAft>
              <a:buSzPct val="80000"/>
            </a:pPr>
            <a:endParaRPr lang="en-US" spc="-62" dirty="0">
              <a:solidFill>
                <a:srgbClr val="000000">
                  <a:alpha val="99000"/>
                </a:srgbClr>
              </a:solidFill>
              <a:latin typeface="Segoe UI Light" pitchFamily="34" charset="0"/>
            </a:endParaRPr>
          </a:p>
        </p:txBody>
      </p:sp>
      <p:sp>
        <p:nvSpPr>
          <p:cNvPr id="141" name="Rectangle 140"/>
          <p:cNvSpPr/>
          <p:nvPr/>
        </p:nvSpPr>
        <p:spPr>
          <a:xfrm>
            <a:off x="6734427" y="2512124"/>
            <a:ext cx="1932272" cy="197759"/>
          </a:xfrm>
          <a:prstGeom prst="rect">
            <a:avLst/>
          </a:prstGeom>
          <a:solidFill>
            <a:schemeClr val="accent1"/>
          </a:solidFill>
          <a:ln w="9525" cap="flat" cmpd="sng" algn="ctr">
            <a:noFill/>
            <a:prstDash val="solid"/>
          </a:ln>
          <a:effectLst/>
        </p:spPr>
        <p:txBody>
          <a:bodyPr lIns="0" tIns="0" rIns="0" bIns="0" rtlCol="0" anchor="ctr" anchorCtr="0"/>
          <a:lstStyle/>
          <a:p>
            <a:pPr algn="ctr" defTabSz="685466">
              <a:lnSpc>
                <a:spcPct val="90000"/>
              </a:lnSpc>
              <a:spcAft>
                <a:spcPts val="675"/>
              </a:spcAft>
              <a:buSzPct val="80000"/>
            </a:pPr>
            <a:endParaRPr lang="en-US" spc="-62" dirty="0">
              <a:solidFill>
                <a:srgbClr val="000000">
                  <a:alpha val="99000"/>
                </a:srgbClr>
              </a:solidFill>
              <a:latin typeface="Segoe UI Light" pitchFamily="34" charset="0"/>
            </a:endParaRPr>
          </a:p>
        </p:txBody>
      </p:sp>
      <p:sp>
        <p:nvSpPr>
          <p:cNvPr id="142" name="Rectangle 141"/>
          <p:cNvSpPr/>
          <p:nvPr/>
        </p:nvSpPr>
        <p:spPr>
          <a:xfrm>
            <a:off x="6734427" y="2741364"/>
            <a:ext cx="1932272" cy="197759"/>
          </a:xfrm>
          <a:prstGeom prst="rect">
            <a:avLst/>
          </a:prstGeom>
          <a:solidFill>
            <a:schemeClr val="accent1"/>
          </a:solidFill>
          <a:ln w="9525" cap="flat" cmpd="sng" algn="ctr">
            <a:noFill/>
            <a:prstDash val="solid"/>
          </a:ln>
          <a:effectLst/>
        </p:spPr>
        <p:txBody>
          <a:bodyPr lIns="0" tIns="0" rIns="0" bIns="0" rtlCol="0" anchor="ctr" anchorCtr="0"/>
          <a:lstStyle/>
          <a:p>
            <a:pPr algn="ctr" defTabSz="685466">
              <a:lnSpc>
                <a:spcPct val="90000"/>
              </a:lnSpc>
              <a:spcAft>
                <a:spcPts val="675"/>
              </a:spcAft>
              <a:buSzPct val="80000"/>
            </a:pPr>
            <a:endParaRPr lang="en-US" spc="-62" dirty="0">
              <a:solidFill>
                <a:srgbClr val="000000">
                  <a:alpha val="99000"/>
                </a:srgbClr>
              </a:solidFill>
              <a:latin typeface="Segoe UI Light" pitchFamily="34" charset="0"/>
            </a:endParaRPr>
          </a:p>
        </p:txBody>
      </p:sp>
      <p:sp>
        <p:nvSpPr>
          <p:cNvPr id="143" name="Rectangle 142"/>
          <p:cNvSpPr/>
          <p:nvPr/>
        </p:nvSpPr>
        <p:spPr>
          <a:xfrm>
            <a:off x="6734427" y="2970603"/>
            <a:ext cx="1932272" cy="197759"/>
          </a:xfrm>
          <a:prstGeom prst="rect">
            <a:avLst/>
          </a:prstGeom>
          <a:solidFill>
            <a:schemeClr val="accent1"/>
          </a:solidFill>
          <a:ln w="9525" cap="flat" cmpd="sng" algn="ctr">
            <a:noFill/>
            <a:prstDash val="solid"/>
          </a:ln>
          <a:effectLst/>
        </p:spPr>
        <p:txBody>
          <a:bodyPr lIns="0" tIns="0" rIns="0" bIns="0" rtlCol="0" anchor="ctr" anchorCtr="0"/>
          <a:lstStyle/>
          <a:p>
            <a:pPr algn="ctr" defTabSz="685466">
              <a:lnSpc>
                <a:spcPct val="90000"/>
              </a:lnSpc>
              <a:spcAft>
                <a:spcPts val="675"/>
              </a:spcAft>
              <a:buSzPct val="80000"/>
            </a:pPr>
            <a:endParaRPr lang="en-US" spc="-62" dirty="0">
              <a:solidFill>
                <a:srgbClr val="000000">
                  <a:alpha val="99000"/>
                </a:srgbClr>
              </a:solidFill>
              <a:latin typeface="Segoe UI Light" pitchFamily="34" charset="0"/>
            </a:endParaRPr>
          </a:p>
        </p:txBody>
      </p:sp>
      <p:sp>
        <p:nvSpPr>
          <p:cNvPr id="144" name="Rectangle 143"/>
          <p:cNvSpPr/>
          <p:nvPr/>
        </p:nvSpPr>
        <p:spPr>
          <a:xfrm>
            <a:off x="6734427" y="3199843"/>
            <a:ext cx="1932272" cy="197759"/>
          </a:xfrm>
          <a:prstGeom prst="rect">
            <a:avLst/>
          </a:prstGeom>
          <a:solidFill>
            <a:schemeClr val="accent1"/>
          </a:solidFill>
          <a:ln w="9525" cap="flat" cmpd="sng" algn="ctr">
            <a:noFill/>
            <a:prstDash val="solid"/>
          </a:ln>
          <a:effectLst/>
        </p:spPr>
        <p:txBody>
          <a:bodyPr lIns="0" tIns="0" rIns="0" bIns="0" rtlCol="0" anchor="ctr" anchorCtr="0"/>
          <a:lstStyle/>
          <a:p>
            <a:pPr algn="ctr" defTabSz="685466">
              <a:lnSpc>
                <a:spcPct val="90000"/>
              </a:lnSpc>
              <a:spcAft>
                <a:spcPts val="675"/>
              </a:spcAft>
              <a:buSzPct val="80000"/>
            </a:pPr>
            <a:endParaRPr lang="en-US" spc="-62" dirty="0">
              <a:solidFill>
                <a:srgbClr val="000000">
                  <a:alpha val="99000"/>
                </a:srgbClr>
              </a:solidFill>
              <a:latin typeface="Segoe UI Light" pitchFamily="34" charset="0"/>
            </a:endParaRPr>
          </a:p>
        </p:txBody>
      </p:sp>
      <p:sp>
        <p:nvSpPr>
          <p:cNvPr id="145" name="Rectangle 144"/>
          <p:cNvSpPr/>
          <p:nvPr/>
        </p:nvSpPr>
        <p:spPr>
          <a:xfrm>
            <a:off x="6734427" y="3429083"/>
            <a:ext cx="1932272" cy="197759"/>
          </a:xfrm>
          <a:prstGeom prst="rect">
            <a:avLst/>
          </a:prstGeom>
          <a:solidFill>
            <a:schemeClr val="accent1"/>
          </a:solidFill>
          <a:ln w="9525" cap="flat" cmpd="sng" algn="ctr">
            <a:noFill/>
            <a:prstDash val="solid"/>
          </a:ln>
          <a:effectLst/>
        </p:spPr>
        <p:txBody>
          <a:bodyPr lIns="0" tIns="0" rIns="0" bIns="0" rtlCol="0" anchor="ctr" anchorCtr="0"/>
          <a:lstStyle/>
          <a:p>
            <a:pPr algn="ctr" defTabSz="685466">
              <a:lnSpc>
                <a:spcPct val="90000"/>
              </a:lnSpc>
              <a:spcAft>
                <a:spcPts val="675"/>
              </a:spcAft>
              <a:buSzPct val="80000"/>
            </a:pPr>
            <a:endParaRPr lang="en-US" spc="-62" dirty="0">
              <a:solidFill>
                <a:srgbClr val="000000">
                  <a:alpha val="99000"/>
                </a:srgbClr>
              </a:solidFill>
              <a:latin typeface="Segoe UI Light" pitchFamily="34" charset="0"/>
            </a:endParaRPr>
          </a:p>
        </p:txBody>
      </p:sp>
      <p:sp>
        <p:nvSpPr>
          <p:cNvPr id="146" name="Rectangle 145"/>
          <p:cNvSpPr/>
          <p:nvPr/>
        </p:nvSpPr>
        <p:spPr>
          <a:xfrm>
            <a:off x="6734427" y="3658323"/>
            <a:ext cx="1932272" cy="197759"/>
          </a:xfrm>
          <a:prstGeom prst="rect">
            <a:avLst/>
          </a:prstGeom>
          <a:solidFill>
            <a:schemeClr val="accent1"/>
          </a:solidFill>
          <a:ln w="9525" cap="flat" cmpd="sng" algn="ctr">
            <a:noFill/>
            <a:prstDash val="solid"/>
          </a:ln>
          <a:effectLst/>
        </p:spPr>
        <p:txBody>
          <a:bodyPr lIns="0" tIns="0" rIns="0" bIns="0" rtlCol="0" anchor="ctr" anchorCtr="0"/>
          <a:lstStyle/>
          <a:p>
            <a:pPr algn="ctr" defTabSz="685466">
              <a:lnSpc>
                <a:spcPct val="90000"/>
              </a:lnSpc>
              <a:spcAft>
                <a:spcPts val="675"/>
              </a:spcAft>
              <a:buSzPct val="80000"/>
            </a:pPr>
            <a:endParaRPr lang="en-US" spc="-62" dirty="0">
              <a:solidFill>
                <a:srgbClr val="000000">
                  <a:alpha val="99000"/>
                </a:srgbClr>
              </a:solidFill>
              <a:latin typeface="Segoe UI Light" pitchFamily="34" charset="0"/>
            </a:endParaRPr>
          </a:p>
        </p:txBody>
      </p:sp>
      <p:sp>
        <p:nvSpPr>
          <p:cNvPr id="147" name="Rectangle 146"/>
          <p:cNvSpPr/>
          <p:nvPr/>
        </p:nvSpPr>
        <p:spPr>
          <a:xfrm>
            <a:off x="6734427" y="3887562"/>
            <a:ext cx="1932272" cy="197759"/>
          </a:xfrm>
          <a:prstGeom prst="rect">
            <a:avLst/>
          </a:prstGeom>
          <a:solidFill>
            <a:schemeClr val="accent1"/>
          </a:solidFill>
          <a:ln w="9525" cap="flat" cmpd="sng" algn="ctr">
            <a:noFill/>
            <a:prstDash val="solid"/>
          </a:ln>
          <a:effectLst/>
        </p:spPr>
        <p:txBody>
          <a:bodyPr lIns="0" tIns="0" rIns="0" bIns="0" rtlCol="0" anchor="ctr" anchorCtr="0"/>
          <a:lstStyle/>
          <a:p>
            <a:pPr algn="ctr" defTabSz="685466">
              <a:lnSpc>
                <a:spcPct val="90000"/>
              </a:lnSpc>
              <a:spcAft>
                <a:spcPts val="675"/>
              </a:spcAft>
              <a:buSzPct val="80000"/>
            </a:pPr>
            <a:endParaRPr lang="en-US" spc="-62" dirty="0">
              <a:solidFill>
                <a:srgbClr val="000000">
                  <a:alpha val="99000"/>
                </a:srgbClr>
              </a:solidFill>
              <a:latin typeface="Segoe UI Light" pitchFamily="34" charset="0"/>
            </a:endParaRPr>
          </a:p>
        </p:txBody>
      </p:sp>
      <p:sp>
        <p:nvSpPr>
          <p:cNvPr id="148" name="Rectangle 147"/>
          <p:cNvSpPr/>
          <p:nvPr/>
        </p:nvSpPr>
        <p:spPr>
          <a:xfrm>
            <a:off x="6734427" y="4116802"/>
            <a:ext cx="1932272" cy="197759"/>
          </a:xfrm>
          <a:prstGeom prst="rect">
            <a:avLst/>
          </a:prstGeom>
          <a:solidFill>
            <a:schemeClr val="accent1"/>
          </a:solidFill>
          <a:ln w="9525" cap="flat" cmpd="sng" algn="ctr">
            <a:noFill/>
            <a:prstDash val="solid"/>
          </a:ln>
          <a:effectLst/>
        </p:spPr>
        <p:txBody>
          <a:bodyPr lIns="0" tIns="0" rIns="0" bIns="0" rtlCol="0" anchor="ctr" anchorCtr="0"/>
          <a:lstStyle/>
          <a:p>
            <a:pPr algn="ctr" defTabSz="685466">
              <a:lnSpc>
                <a:spcPct val="90000"/>
              </a:lnSpc>
              <a:spcAft>
                <a:spcPts val="675"/>
              </a:spcAft>
              <a:buSzPct val="80000"/>
            </a:pPr>
            <a:endParaRPr lang="en-US" spc="-62" dirty="0">
              <a:solidFill>
                <a:srgbClr val="000000">
                  <a:alpha val="99000"/>
                </a:srgbClr>
              </a:solidFill>
              <a:latin typeface="Segoe UI Light" pitchFamily="34" charset="0"/>
            </a:endParaRPr>
          </a:p>
        </p:txBody>
      </p:sp>
      <p:sp>
        <p:nvSpPr>
          <p:cNvPr id="149" name="Rectangle 148"/>
          <p:cNvSpPr/>
          <p:nvPr/>
        </p:nvSpPr>
        <p:spPr>
          <a:xfrm>
            <a:off x="6734427" y="4346040"/>
            <a:ext cx="1932272" cy="197759"/>
          </a:xfrm>
          <a:prstGeom prst="rect">
            <a:avLst/>
          </a:prstGeom>
          <a:solidFill>
            <a:schemeClr val="accent1"/>
          </a:solidFill>
          <a:ln w="9525" cap="flat" cmpd="sng" algn="ctr">
            <a:noFill/>
            <a:prstDash val="solid"/>
          </a:ln>
          <a:effectLst/>
        </p:spPr>
        <p:txBody>
          <a:bodyPr lIns="0" tIns="0" rIns="0" bIns="0" rtlCol="0" anchor="ctr" anchorCtr="0"/>
          <a:lstStyle/>
          <a:p>
            <a:pPr algn="ctr" defTabSz="685466">
              <a:lnSpc>
                <a:spcPct val="90000"/>
              </a:lnSpc>
              <a:spcAft>
                <a:spcPts val="675"/>
              </a:spcAft>
              <a:buSzPct val="80000"/>
            </a:pPr>
            <a:endParaRPr lang="en-US" spc="-62" dirty="0">
              <a:solidFill>
                <a:srgbClr val="000000">
                  <a:alpha val="99000"/>
                </a:srgbClr>
              </a:solidFill>
              <a:latin typeface="Segoe UI Light" pitchFamily="34" charset="0"/>
            </a:endParaRPr>
          </a:p>
        </p:txBody>
      </p:sp>
      <p:sp>
        <p:nvSpPr>
          <p:cNvPr id="122" name="Rectangle 121"/>
          <p:cNvSpPr/>
          <p:nvPr/>
        </p:nvSpPr>
        <p:spPr>
          <a:xfrm>
            <a:off x="4738653" y="1365918"/>
            <a:ext cx="1932272" cy="197759"/>
          </a:xfrm>
          <a:prstGeom prst="rect">
            <a:avLst/>
          </a:prstGeom>
          <a:solidFill>
            <a:schemeClr val="accent2"/>
          </a:solidFill>
          <a:ln w="9525" cap="flat" cmpd="sng" algn="ctr">
            <a:noFill/>
            <a:prstDash val="solid"/>
          </a:ln>
          <a:effectLst/>
        </p:spPr>
        <p:txBody>
          <a:bodyPr lIns="0" tIns="0" rIns="0" bIns="0" rtlCol="0" anchor="ctr" anchorCtr="0"/>
          <a:lstStyle/>
          <a:p>
            <a:pPr algn="ctr" defTabSz="685466">
              <a:lnSpc>
                <a:spcPct val="90000"/>
              </a:lnSpc>
              <a:spcAft>
                <a:spcPts val="675"/>
              </a:spcAft>
              <a:buSzPct val="80000"/>
            </a:pPr>
            <a:endParaRPr lang="en-US" spc="-62" dirty="0">
              <a:solidFill>
                <a:srgbClr val="000000">
                  <a:alpha val="99000"/>
                </a:srgbClr>
              </a:solidFill>
              <a:latin typeface="Segoe UI Light" pitchFamily="34" charset="0"/>
            </a:endParaRPr>
          </a:p>
        </p:txBody>
      </p:sp>
      <p:sp>
        <p:nvSpPr>
          <p:cNvPr id="123" name="Rectangle 122"/>
          <p:cNvSpPr/>
          <p:nvPr/>
        </p:nvSpPr>
        <p:spPr>
          <a:xfrm>
            <a:off x="4738653" y="1595165"/>
            <a:ext cx="1932272" cy="197759"/>
          </a:xfrm>
          <a:prstGeom prst="rect">
            <a:avLst/>
          </a:prstGeom>
          <a:solidFill>
            <a:schemeClr val="accent2"/>
          </a:solidFill>
          <a:ln w="9525" cap="flat" cmpd="sng" algn="ctr">
            <a:noFill/>
            <a:prstDash val="solid"/>
          </a:ln>
          <a:effectLst/>
        </p:spPr>
        <p:txBody>
          <a:bodyPr lIns="0" tIns="0" rIns="0" bIns="0" rtlCol="0" anchor="ctr" anchorCtr="0"/>
          <a:lstStyle/>
          <a:p>
            <a:pPr algn="ctr" defTabSz="685466">
              <a:lnSpc>
                <a:spcPct val="90000"/>
              </a:lnSpc>
              <a:spcAft>
                <a:spcPts val="675"/>
              </a:spcAft>
              <a:buSzPct val="80000"/>
            </a:pPr>
            <a:endParaRPr lang="en-US" spc="-62" dirty="0">
              <a:solidFill>
                <a:srgbClr val="000000">
                  <a:alpha val="99000"/>
                </a:srgbClr>
              </a:solidFill>
              <a:latin typeface="Segoe UI Light" pitchFamily="34" charset="0"/>
            </a:endParaRPr>
          </a:p>
        </p:txBody>
      </p:sp>
      <p:sp>
        <p:nvSpPr>
          <p:cNvPr id="124" name="Rectangle 123"/>
          <p:cNvSpPr/>
          <p:nvPr/>
        </p:nvSpPr>
        <p:spPr>
          <a:xfrm>
            <a:off x="4738653" y="1824405"/>
            <a:ext cx="1932272" cy="197759"/>
          </a:xfrm>
          <a:prstGeom prst="rect">
            <a:avLst/>
          </a:prstGeom>
          <a:solidFill>
            <a:schemeClr val="accent2"/>
          </a:solidFill>
          <a:ln w="9525" cap="flat" cmpd="sng" algn="ctr">
            <a:noFill/>
            <a:prstDash val="solid"/>
          </a:ln>
          <a:effectLst/>
        </p:spPr>
        <p:txBody>
          <a:bodyPr lIns="0" tIns="0" rIns="0" bIns="0" rtlCol="0" anchor="ctr" anchorCtr="0"/>
          <a:lstStyle/>
          <a:p>
            <a:pPr algn="ctr" defTabSz="685466">
              <a:lnSpc>
                <a:spcPct val="90000"/>
              </a:lnSpc>
              <a:spcAft>
                <a:spcPts val="675"/>
              </a:spcAft>
              <a:buSzPct val="80000"/>
            </a:pPr>
            <a:endParaRPr lang="en-US" spc="-62" dirty="0">
              <a:solidFill>
                <a:srgbClr val="000000">
                  <a:alpha val="99000"/>
                </a:srgbClr>
              </a:solidFill>
              <a:latin typeface="Segoe UI Light" pitchFamily="34" charset="0"/>
            </a:endParaRPr>
          </a:p>
        </p:txBody>
      </p:sp>
      <p:sp>
        <p:nvSpPr>
          <p:cNvPr id="125" name="Rectangle 124"/>
          <p:cNvSpPr/>
          <p:nvPr/>
        </p:nvSpPr>
        <p:spPr>
          <a:xfrm>
            <a:off x="4738653" y="2053644"/>
            <a:ext cx="1932272" cy="197759"/>
          </a:xfrm>
          <a:prstGeom prst="rect">
            <a:avLst/>
          </a:prstGeom>
          <a:solidFill>
            <a:schemeClr val="accent2"/>
          </a:solidFill>
          <a:ln w="9525" cap="flat" cmpd="sng" algn="ctr">
            <a:noFill/>
            <a:prstDash val="solid"/>
          </a:ln>
          <a:effectLst/>
        </p:spPr>
        <p:txBody>
          <a:bodyPr lIns="0" tIns="0" rIns="0" bIns="0" rtlCol="0" anchor="ctr" anchorCtr="0"/>
          <a:lstStyle/>
          <a:p>
            <a:pPr algn="ctr" defTabSz="685466">
              <a:lnSpc>
                <a:spcPct val="90000"/>
              </a:lnSpc>
              <a:spcAft>
                <a:spcPts val="675"/>
              </a:spcAft>
              <a:buSzPct val="80000"/>
            </a:pPr>
            <a:endParaRPr lang="en-US" spc="-62" dirty="0">
              <a:solidFill>
                <a:srgbClr val="000000">
                  <a:alpha val="99000"/>
                </a:srgbClr>
              </a:solidFill>
              <a:latin typeface="Segoe UI Light" pitchFamily="34" charset="0"/>
            </a:endParaRPr>
          </a:p>
        </p:txBody>
      </p:sp>
      <p:sp>
        <p:nvSpPr>
          <p:cNvPr id="126" name="Rectangle 125"/>
          <p:cNvSpPr/>
          <p:nvPr/>
        </p:nvSpPr>
        <p:spPr>
          <a:xfrm>
            <a:off x="4738653" y="2282884"/>
            <a:ext cx="1932272" cy="197759"/>
          </a:xfrm>
          <a:prstGeom prst="rect">
            <a:avLst/>
          </a:prstGeom>
          <a:solidFill>
            <a:schemeClr val="accent2"/>
          </a:solidFill>
          <a:ln w="9525" cap="flat" cmpd="sng" algn="ctr">
            <a:noFill/>
            <a:prstDash val="solid"/>
          </a:ln>
          <a:effectLst/>
        </p:spPr>
        <p:txBody>
          <a:bodyPr lIns="0" tIns="0" rIns="0" bIns="0" rtlCol="0" anchor="ctr" anchorCtr="0"/>
          <a:lstStyle/>
          <a:p>
            <a:pPr algn="ctr" defTabSz="685466">
              <a:lnSpc>
                <a:spcPct val="90000"/>
              </a:lnSpc>
              <a:spcAft>
                <a:spcPts val="675"/>
              </a:spcAft>
              <a:buSzPct val="80000"/>
            </a:pPr>
            <a:endParaRPr lang="en-US" spc="-62" dirty="0">
              <a:solidFill>
                <a:srgbClr val="000000">
                  <a:alpha val="99000"/>
                </a:srgbClr>
              </a:solidFill>
              <a:latin typeface="Segoe UI Light" pitchFamily="34" charset="0"/>
            </a:endParaRPr>
          </a:p>
        </p:txBody>
      </p:sp>
      <p:sp>
        <p:nvSpPr>
          <p:cNvPr id="127" name="Rectangle 126"/>
          <p:cNvSpPr/>
          <p:nvPr/>
        </p:nvSpPr>
        <p:spPr>
          <a:xfrm>
            <a:off x="4738653" y="2512124"/>
            <a:ext cx="1932272" cy="197759"/>
          </a:xfrm>
          <a:prstGeom prst="rect">
            <a:avLst/>
          </a:prstGeom>
          <a:solidFill>
            <a:schemeClr val="accent2"/>
          </a:solidFill>
          <a:ln w="9525" cap="flat" cmpd="sng" algn="ctr">
            <a:noFill/>
            <a:prstDash val="solid"/>
          </a:ln>
          <a:effectLst/>
        </p:spPr>
        <p:txBody>
          <a:bodyPr lIns="0" tIns="0" rIns="0" bIns="0" rtlCol="0" anchor="ctr" anchorCtr="0"/>
          <a:lstStyle/>
          <a:p>
            <a:pPr algn="ctr" defTabSz="685466">
              <a:lnSpc>
                <a:spcPct val="90000"/>
              </a:lnSpc>
              <a:spcAft>
                <a:spcPts val="675"/>
              </a:spcAft>
              <a:buSzPct val="80000"/>
            </a:pPr>
            <a:endParaRPr lang="en-US" spc="-62" dirty="0">
              <a:solidFill>
                <a:srgbClr val="000000">
                  <a:alpha val="99000"/>
                </a:srgbClr>
              </a:solidFill>
              <a:latin typeface="Segoe UI Light" pitchFamily="34" charset="0"/>
            </a:endParaRPr>
          </a:p>
        </p:txBody>
      </p:sp>
      <p:sp>
        <p:nvSpPr>
          <p:cNvPr id="128" name="Rectangle 127"/>
          <p:cNvSpPr/>
          <p:nvPr/>
        </p:nvSpPr>
        <p:spPr>
          <a:xfrm>
            <a:off x="4738653" y="2741364"/>
            <a:ext cx="1932272" cy="197759"/>
          </a:xfrm>
          <a:prstGeom prst="rect">
            <a:avLst/>
          </a:prstGeom>
          <a:solidFill>
            <a:schemeClr val="accent2"/>
          </a:solidFill>
          <a:ln w="9525" cap="flat" cmpd="sng" algn="ctr">
            <a:noFill/>
            <a:prstDash val="solid"/>
          </a:ln>
          <a:effectLst/>
        </p:spPr>
        <p:txBody>
          <a:bodyPr lIns="0" tIns="0" rIns="0" bIns="0" rtlCol="0" anchor="ctr" anchorCtr="0"/>
          <a:lstStyle/>
          <a:p>
            <a:pPr algn="ctr" defTabSz="685466">
              <a:lnSpc>
                <a:spcPct val="90000"/>
              </a:lnSpc>
              <a:spcAft>
                <a:spcPts val="675"/>
              </a:spcAft>
              <a:buSzPct val="80000"/>
            </a:pPr>
            <a:endParaRPr lang="en-US" spc="-62" dirty="0">
              <a:solidFill>
                <a:srgbClr val="000000">
                  <a:alpha val="99000"/>
                </a:srgbClr>
              </a:solidFill>
              <a:latin typeface="Segoe UI Light" pitchFamily="34" charset="0"/>
            </a:endParaRPr>
          </a:p>
        </p:txBody>
      </p:sp>
      <p:sp>
        <p:nvSpPr>
          <p:cNvPr id="129" name="Rectangle 128"/>
          <p:cNvSpPr/>
          <p:nvPr/>
        </p:nvSpPr>
        <p:spPr>
          <a:xfrm>
            <a:off x="4738653" y="2970603"/>
            <a:ext cx="1932272" cy="197759"/>
          </a:xfrm>
          <a:prstGeom prst="rect">
            <a:avLst/>
          </a:prstGeom>
          <a:solidFill>
            <a:schemeClr val="accent2"/>
          </a:solidFill>
          <a:ln w="9525" cap="flat" cmpd="sng" algn="ctr">
            <a:noFill/>
            <a:prstDash val="solid"/>
          </a:ln>
          <a:effectLst/>
        </p:spPr>
        <p:txBody>
          <a:bodyPr lIns="0" tIns="0" rIns="0" bIns="0" rtlCol="0" anchor="ctr" anchorCtr="0"/>
          <a:lstStyle/>
          <a:p>
            <a:pPr algn="ctr" defTabSz="685466">
              <a:lnSpc>
                <a:spcPct val="90000"/>
              </a:lnSpc>
              <a:spcAft>
                <a:spcPts val="675"/>
              </a:spcAft>
              <a:buSzPct val="80000"/>
            </a:pPr>
            <a:endParaRPr lang="en-US" spc="-62" dirty="0">
              <a:solidFill>
                <a:srgbClr val="000000">
                  <a:alpha val="99000"/>
                </a:srgbClr>
              </a:solidFill>
              <a:latin typeface="Segoe UI Light" pitchFamily="34" charset="0"/>
            </a:endParaRPr>
          </a:p>
        </p:txBody>
      </p:sp>
      <p:sp>
        <p:nvSpPr>
          <p:cNvPr id="130" name="Rectangle 129"/>
          <p:cNvSpPr/>
          <p:nvPr/>
        </p:nvSpPr>
        <p:spPr>
          <a:xfrm>
            <a:off x="4738653" y="3199843"/>
            <a:ext cx="1932272" cy="197759"/>
          </a:xfrm>
          <a:prstGeom prst="rect">
            <a:avLst/>
          </a:prstGeom>
          <a:solidFill>
            <a:schemeClr val="accent2"/>
          </a:solidFill>
          <a:ln w="9525" cap="flat" cmpd="sng" algn="ctr">
            <a:noFill/>
            <a:prstDash val="solid"/>
          </a:ln>
          <a:effectLst/>
        </p:spPr>
        <p:txBody>
          <a:bodyPr lIns="0" tIns="0" rIns="0" bIns="0" rtlCol="0" anchor="ctr" anchorCtr="0"/>
          <a:lstStyle/>
          <a:p>
            <a:pPr algn="ctr" defTabSz="685466">
              <a:lnSpc>
                <a:spcPct val="90000"/>
              </a:lnSpc>
              <a:spcAft>
                <a:spcPts val="675"/>
              </a:spcAft>
              <a:buSzPct val="80000"/>
            </a:pPr>
            <a:endParaRPr lang="en-US" spc="-62" dirty="0">
              <a:solidFill>
                <a:srgbClr val="000000">
                  <a:alpha val="99000"/>
                </a:srgbClr>
              </a:solidFill>
              <a:latin typeface="Segoe UI Light" pitchFamily="34" charset="0"/>
            </a:endParaRPr>
          </a:p>
        </p:txBody>
      </p:sp>
      <p:sp>
        <p:nvSpPr>
          <p:cNvPr id="131" name="Rectangle 130"/>
          <p:cNvSpPr/>
          <p:nvPr/>
        </p:nvSpPr>
        <p:spPr>
          <a:xfrm>
            <a:off x="4738653" y="3429083"/>
            <a:ext cx="1932272" cy="197759"/>
          </a:xfrm>
          <a:prstGeom prst="rect">
            <a:avLst/>
          </a:prstGeom>
          <a:solidFill>
            <a:schemeClr val="accent2"/>
          </a:solidFill>
          <a:ln w="9525" cap="flat" cmpd="sng" algn="ctr">
            <a:noFill/>
            <a:prstDash val="solid"/>
          </a:ln>
          <a:effectLst/>
        </p:spPr>
        <p:txBody>
          <a:bodyPr lIns="0" tIns="0" rIns="0" bIns="0" rtlCol="0" anchor="ctr" anchorCtr="0"/>
          <a:lstStyle/>
          <a:p>
            <a:pPr algn="ctr" defTabSz="685466">
              <a:lnSpc>
                <a:spcPct val="90000"/>
              </a:lnSpc>
              <a:spcAft>
                <a:spcPts val="675"/>
              </a:spcAft>
              <a:buSzPct val="80000"/>
            </a:pPr>
            <a:endParaRPr lang="en-US" spc="-62" dirty="0">
              <a:solidFill>
                <a:srgbClr val="000000">
                  <a:alpha val="99000"/>
                </a:srgbClr>
              </a:solidFill>
              <a:latin typeface="Segoe UI Light" pitchFamily="34" charset="0"/>
            </a:endParaRPr>
          </a:p>
        </p:txBody>
      </p:sp>
      <p:sp>
        <p:nvSpPr>
          <p:cNvPr id="132" name="Rectangle 131"/>
          <p:cNvSpPr/>
          <p:nvPr/>
        </p:nvSpPr>
        <p:spPr>
          <a:xfrm>
            <a:off x="4738653" y="3658323"/>
            <a:ext cx="1932272" cy="197759"/>
          </a:xfrm>
          <a:prstGeom prst="rect">
            <a:avLst/>
          </a:prstGeom>
          <a:solidFill>
            <a:schemeClr val="accent2"/>
          </a:solidFill>
          <a:ln w="9525" cap="flat" cmpd="sng" algn="ctr">
            <a:noFill/>
            <a:prstDash val="solid"/>
          </a:ln>
          <a:effectLst/>
        </p:spPr>
        <p:txBody>
          <a:bodyPr lIns="0" tIns="0" rIns="0" bIns="0" rtlCol="0" anchor="ctr" anchorCtr="0"/>
          <a:lstStyle/>
          <a:p>
            <a:pPr algn="ctr" defTabSz="685466">
              <a:lnSpc>
                <a:spcPct val="90000"/>
              </a:lnSpc>
              <a:spcAft>
                <a:spcPts val="675"/>
              </a:spcAft>
              <a:buSzPct val="80000"/>
            </a:pPr>
            <a:endParaRPr lang="en-US" spc="-62" dirty="0">
              <a:solidFill>
                <a:srgbClr val="000000">
                  <a:alpha val="99000"/>
                </a:srgbClr>
              </a:solidFill>
              <a:latin typeface="Segoe UI Light" pitchFamily="34" charset="0"/>
            </a:endParaRPr>
          </a:p>
        </p:txBody>
      </p:sp>
      <p:sp>
        <p:nvSpPr>
          <p:cNvPr id="133" name="Rectangle 132"/>
          <p:cNvSpPr/>
          <p:nvPr/>
        </p:nvSpPr>
        <p:spPr>
          <a:xfrm>
            <a:off x="4738653" y="3887562"/>
            <a:ext cx="1932272" cy="197759"/>
          </a:xfrm>
          <a:prstGeom prst="rect">
            <a:avLst/>
          </a:prstGeom>
          <a:solidFill>
            <a:schemeClr val="accent2"/>
          </a:solidFill>
          <a:ln w="9525" cap="flat" cmpd="sng" algn="ctr">
            <a:noFill/>
            <a:prstDash val="solid"/>
          </a:ln>
          <a:effectLst/>
        </p:spPr>
        <p:txBody>
          <a:bodyPr lIns="0" tIns="0" rIns="0" bIns="0" rtlCol="0" anchor="ctr" anchorCtr="0"/>
          <a:lstStyle/>
          <a:p>
            <a:pPr algn="ctr" defTabSz="685466">
              <a:lnSpc>
                <a:spcPct val="90000"/>
              </a:lnSpc>
              <a:spcAft>
                <a:spcPts val="675"/>
              </a:spcAft>
              <a:buSzPct val="80000"/>
            </a:pPr>
            <a:endParaRPr lang="en-US" spc="-62" dirty="0">
              <a:solidFill>
                <a:srgbClr val="000000">
                  <a:alpha val="99000"/>
                </a:srgbClr>
              </a:solidFill>
              <a:latin typeface="Segoe UI Light" pitchFamily="34" charset="0"/>
            </a:endParaRPr>
          </a:p>
        </p:txBody>
      </p:sp>
      <p:sp>
        <p:nvSpPr>
          <p:cNvPr id="134" name="Rectangle 133"/>
          <p:cNvSpPr/>
          <p:nvPr/>
        </p:nvSpPr>
        <p:spPr>
          <a:xfrm>
            <a:off x="4738653" y="4116802"/>
            <a:ext cx="1932272" cy="197759"/>
          </a:xfrm>
          <a:prstGeom prst="rect">
            <a:avLst/>
          </a:prstGeom>
          <a:solidFill>
            <a:schemeClr val="accent2"/>
          </a:solidFill>
          <a:ln w="9525" cap="flat" cmpd="sng" algn="ctr">
            <a:noFill/>
            <a:prstDash val="solid"/>
          </a:ln>
          <a:effectLst/>
        </p:spPr>
        <p:txBody>
          <a:bodyPr lIns="0" tIns="0" rIns="0" bIns="0" rtlCol="0" anchor="ctr" anchorCtr="0"/>
          <a:lstStyle/>
          <a:p>
            <a:pPr algn="ctr" defTabSz="685466">
              <a:lnSpc>
                <a:spcPct val="90000"/>
              </a:lnSpc>
              <a:spcAft>
                <a:spcPts val="675"/>
              </a:spcAft>
              <a:buSzPct val="80000"/>
            </a:pPr>
            <a:endParaRPr lang="en-US" spc="-62" dirty="0">
              <a:solidFill>
                <a:srgbClr val="000000">
                  <a:alpha val="99000"/>
                </a:srgbClr>
              </a:solidFill>
              <a:latin typeface="Segoe UI Light" pitchFamily="34" charset="0"/>
            </a:endParaRPr>
          </a:p>
        </p:txBody>
      </p:sp>
      <p:sp>
        <p:nvSpPr>
          <p:cNvPr id="135" name="Rectangle 134"/>
          <p:cNvSpPr/>
          <p:nvPr/>
        </p:nvSpPr>
        <p:spPr>
          <a:xfrm>
            <a:off x="4738653" y="4346040"/>
            <a:ext cx="1932272" cy="197759"/>
          </a:xfrm>
          <a:prstGeom prst="rect">
            <a:avLst/>
          </a:prstGeom>
          <a:solidFill>
            <a:schemeClr val="accent2"/>
          </a:solidFill>
          <a:ln w="9525" cap="flat" cmpd="sng" algn="ctr">
            <a:noFill/>
            <a:prstDash val="solid"/>
          </a:ln>
          <a:effectLst/>
        </p:spPr>
        <p:txBody>
          <a:bodyPr lIns="0" tIns="0" rIns="0" bIns="0" rtlCol="0" anchor="ctr" anchorCtr="0"/>
          <a:lstStyle/>
          <a:p>
            <a:pPr algn="ctr" defTabSz="685466">
              <a:lnSpc>
                <a:spcPct val="90000"/>
              </a:lnSpc>
              <a:spcAft>
                <a:spcPts val="675"/>
              </a:spcAft>
              <a:buSzPct val="80000"/>
            </a:pPr>
            <a:endParaRPr lang="en-US" spc="-62" dirty="0">
              <a:solidFill>
                <a:srgbClr val="000000">
                  <a:alpha val="99000"/>
                </a:srgbClr>
              </a:solidFill>
              <a:latin typeface="Segoe UI Light" pitchFamily="34" charset="0"/>
            </a:endParaRPr>
          </a:p>
        </p:txBody>
      </p:sp>
      <p:sp>
        <p:nvSpPr>
          <p:cNvPr id="14" name="Rectangle 13"/>
          <p:cNvSpPr/>
          <p:nvPr/>
        </p:nvSpPr>
        <p:spPr>
          <a:xfrm>
            <a:off x="4738653" y="605971"/>
            <a:ext cx="1932272" cy="613850"/>
          </a:xfrm>
          <a:prstGeom prst="rect">
            <a:avLst/>
          </a:prstGeom>
          <a:solidFill>
            <a:schemeClr val="accent2"/>
          </a:solidFill>
          <a:ln w="9525" cap="flat" cmpd="sng" algn="ctr">
            <a:noFill/>
            <a:prstDash val="solid"/>
          </a:ln>
          <a:effectLst/>
        </p:spPr>
        <p:txBody>
          <a:bodyPr lIns="0" tIns="0" rIns="0" bIns="0" rtlCol="0" anchor="ctr" anchorCtr="0"/>
          <a:lstStyle/>
          <a:p>
            <a:pPr algn="ctr" defTabSz="685466">
              <a:lnSpc>
                <a:spcPct val="90000"/>
              </a:lnSpc>
              <a:spcAft>
                <a:spcPts val="675"/>
              </a:spcAft>
              <a:buSzPct val="80000"/>
            </a:pPr>
            <a:r>
              <a:rPr lang="en-US" spc="-62" dirty="0">
                <a:solidFill>
                  <a:srgbClr val="000000">
                    <a:alpha val="99000"/>
                  </a:srgbClr>
                </a:solidFill>
                <a:latin typeface="Segoe UI Light" pitchFamily="34" charset="0"/>
              </a:rPr>
              <a:t>Web Sites</a:t>
            </a:r>
          </a:p>
        </p:txBody>
      </p:sp>
      <p:sp>
        <p:nvSpPr>
          <p:cNvPr id="2" name="TextBox 1"/>
          <p:cNvSpPr txBox="1"/>
          <p:nvPr/>
        </p:nvSpPr>
        <p:spPr>
          <a:xfrm>
            <a:off x="-371103" y="4945977"/>
            <a:ext cx="9065419" cy="114262"/>
          </a:xfrm>
          <a:prstGeom prst="rect">
            <a:avLst/>
          </a:prstGeom>
          <a:noFill/>
        </p:spPr>
        <p:txBody>
          <a:bodyPr wrap="square" lIns="0" tIns="0" rIns="0" bIns="0" rtlCol="0">
            <a:spAutoFit/>
          </a:bodyPr>
          <a:lstStyle/>
          <a:p>
            <a:pPr algn="r" defTabSz="685721">
              <a:lnSpc>
                <a:spcPct val="90000"/>
              </a:lnSpc>
              <a:spcBef>
                <a:spcPct val="20000"/>
              </a:spcBef>
              <a:buSzPct val="80000"/>
            </a:pPr>
            <a:r>
              <a:rPr lang="en-US" sz="800" dirty="0">
                <a:solidFill>
                  <a:srgbClr val="FFFFFF">
                    <a:lumMod val="50000"/>
                    <a:lumOff val="50000"/>
                    <a:alpha val="99000"/>
                  </a:srgbClr>
                </a:solidFill>
              </a:rPr>
              <a:t>* Cloud Apps (Web or Worker roles) can integrate with </a:t>
            </a:r>
            <a:r>
              <a:rPr lang="en-US" sz="800" dirty="0" err="1">
                <a:solidFill>
                  <a:srgbClr val="FFFFFF">
                    <a:lumMod val="50000"/>
                    <a:lumOff val="50000"/>
                    <a:alpha val="99000"/>
                  </a:srgbClr>
                </a:solidFill>
              </a:rPr>
              <a:t>ClearDB’s</a:t>
            </a:r>
            <a:r>
              <a:rPr lang="en-US" sz="800" dirty="0">
                <a:solidFill>
                  <a:srgbClr val="FFFFFF">
                    <a:lumMod val="50000"/>
                    <a:lumOff val="50000"/>
                    <a:alpha val="99000"/>
                  </a:srgbClr>
                </a:solidFill>
              </a:rPr>
              <a:t> MySQL as a Service via connection string through the Marketplace but not via seamless portal/provisioning workflow  </a:t>
            </a:r>
          </a:p>
        </p:txBody>
      </p:sp>
      <p:graphicFrame>
        <p:nvGraphicFramePr>
          <p:cNvPr id="13" name="Table 12"/>
          <p:cNvGraphicFramePr>
            <a:graphicFrameLocks noGrp="1"/>
          </p:cNvGraphicFramePr>
          <p:nvPr>
            <p:extLst>
              <p:ext uri="{D42A27DB-BD31-4B8C-83A1-F6EECF244321}">
                <p14:modId xmlns:p14="http://schemas.microsoft.com/office/powerpoint/2010/main" val="4090150196"/>
              </p:ext>
            </p:extLst>
          </p:nvPr>
        </p:nvGraphicFramePr>
        <p:xfrm>
          <a:off x="334401" y="1339994"/>
          <a:ext cx="4402883" cy="3360420"/>
        </p:xfrm>
        <a:graphic>
          <a:graphicData uri="http://schemas.openxmlformats.org/drawingml/2006/table">
            <a:tbl>
              <a:tblPr firstRow="1" bandRow="1">
                <a:tableStyleId>{5C22544A-7EE6-4342-B048-85BDC9FD1C3A}</a:tableStyleId>
              </a:tblPr>
              <a:tblGrid>
                <a:gridCol w="4402883"/>
              </a:tblGrid>
              <a:tr h="240030">
                <a:tc>
                  <a:txBody>
                    <a:bodyPr/>
                    <a:lstStyle/>
                    <a:p>
                      <a:pPr algn="r"/>
                      <a:r>
                        <a:rPr lang="en-US" sz="1100" b="0" dirty="0" smtClean="0">
                          <a:solidFill>
                            <a:schemeClr val="tx2">
                              <a:alpha val="99000"/>
                            </a:schemeClr>
                          </a:solidFill>
                        </a:rPr>
                        <a:t>Access to services like Caching, Service Bus, Storage, SQL Database</a:t>
                      </a:r>
                      <a:endParaRPr lang="en-US" sz="1100" b="0" dirty="0">
                        <a:solidFill>
                          <a:schemeClr val="tx2">
                            <a:alpha val="99000"/>
                          </a:schemeClr>
                        </a:solidFill>
                      </a:endParaRPr>
                    </a:p>
                  </a:txBody>
                  <a:tcPr marL="68580" marR="68580" marT="34290" marB="34290">
                    <a:lnL w="12700" cmpd="sng">
                      <a:noFill/>
                    </a:lnL>
                    <a:lnR w="12700" cmpd="sng">
                      <a:noFill/>
                    </a:lnR>
                    <a:lnT w="12700" cmpd="sng">
                      <a:noFill/>
                    </a:lnT>
                    <a:lnB w="38100" cmpd="sng">
                      <a:noFill/>
                    </a:lnB>
                    <a:lnTlToBr w="12700" cmpd="sng">
                      <a:noFill/>
                      <a:prstDash val="solid"/>
                    </a:lnTlToBr>
                    <a:lnBlToTr w="12700" cmpd="sng">
                      <a:noFill/>
                      <a:prstDash val="solid"/>
                    </a:lnBlToTr>
                    <a:noFill/>
                  </a:tcPr>
                </a:tc>
              </a:tr>
              <a:tr h="240030">
                <a:tc>
                  <a:txBody>
                    <a:bodyPr/>
                    <a:lstStyle/>
                    <a:p>
                      <a:pPr algn="r"/>
                      <a:r>
                        <a:rPr lang="en-US" sz="1100" b="0" dirty="0" smtClean="0">
                          <a:solidFill>
                            <a:schemeClr val="tx2">
                              <a:alpha val="99000"/>
                            </a:schemeClr>
                          </a:solidFill>
                        </a:rPr>
                        <a:t>Supports</a:t>
                      </a:r>
                      <a:r>
                        <a:rPr lang="en-US" sz="1100" b="0" baseline="0" dirty="0" smtClean="0">
                          <a:solidFill>
                            <a:schemeClr val="tx2">
                              <a:alpha val="99000"/>
                            </a:schemeClr>
                          </a:solidFill>
                        </a:rPr>
                        <a:t> ASP.NET, classic ASP, Node.js, PHP</a:t>
                      </a:r>
                      <a:endParaRPr lang="en-US" sz="1100" b="0" dirty="0">
                        <a:solidFill>
                          <a:schemeClr val="tx2">
                            <a:alpha val="99000"/>
                          </a:schemeClr>
                        </a:solidFill>
                      </a:endParaRPr>
                    </a:p>
                  </a:txBody>
                  <a:tcPr marL="68580" marR="68580" marT="34290" marB="34290">
                    <a:lnL w="12700" cmpd="sng">
                      <a:noFill/>
                    </a:lnL>
                    <a:lnR w="12700" cmpd="sng">
                      <a:noFill/>
                    </a:lnR>
                    <a:lnT w="38100" cmpd="sng">
                      <a:noFill/>
                    </a:lnT>
                    <a:lnB w="12700" cmpd="sng">
                      <a:noFill/>
                    </a:lnB>
                    <a:lnTlToBr w="12700" cmpd="sng">
                      <a:noFill/>
                      <a:prstDash val="solid"/>
                    </a:lnTlToBr>
                    <a:lnBlToTr w="12700" cmpd="sng">
                      <a:noFill/>
                      <a:prstDash val="solid"/>
                    </a:lnBlToTr>
                    <a:noFill/>
                  </a:tcPr>
                </a:tc>
              </a:tr>
              <a:tr h="240030">
                <a:tc>
                  <a:txBody>
                    <a:bodyPr/>
                    <a:lstStyle/>
                    <a:p>
                      <a:pPr algn="r"/>
                      <a:r>
                        <a:rPr lang="en-US" sz="1100" b="0" dirty="0" smtClean="0">
                          <a:solidFill>
                            <a:schemeClr val="tx2">
                              <a:alpha val="99000"/>
                            </a:schemeClr>
                          </a:solidFill>
                        </a:rPr>
                        <a:t>Shared content and configuration</a:t>
                      </a:r>
                      <a:endParaRPr lang="en-US" sz="1100" b="0" dirty="0">
                        <a:solidFill>
                          <a:schemeClr val="tx2">
                            <a:alpha val="99000"/>
                          </a:schemeClr>
                        </a:solidFill>
                      </a:endParaRPr>
                    </a:p>
                  </a:txBody>
                  <a:tcPr marL="68580" marR="68580" marT="34290" marB="34290">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240030">
                <a:tc>
                  <a:txBody>
                    <a:bodyPr/>
                    <a:lstStyle/>
                    <a:p>
                      <a:pPr algn="r"/>
                      <a:r>
                        <a:rPr lang="en-US" sz="1100" b="0" dirty="0" smtClean="0">
                          <a:solidFill>
                            <a:schemeClr val="tx2">
                              <a:alpha val="99000"/>
                            </a:schemeClr>
                          </a:solidFill>
                        </a:rPr>
                        <a:t>GIT,</a:t>
                      </a:r>
                      <a:r>
                        <a:rPr lang="en-US" sz="1100" b="0" baseline="0" dirty="0" smtClean="0">
                          <a:solidFill>
                            <a:schemeClr val="tx2">
                              <a:alpha val="99000"/>
                            </a:schemeClr>
                          </a:solidFill>
                        </a:rPr>
                        <a:t> FTP</a:t>
                      </a:r>
                      <a:endParaRPr lang="en-US" sz="1100" b="0" dirty="0">
                        <a:solidFill>
                          <a:schemeClr val="tx2">
                            <a:alpha val="99000"/>
                          </a:schemeClr>
                        </a:solidFill>
                      </a:endParaRPr>
                    </a:p>
                  </a:txBody>
                  <a:tcPr marL="68580" marR="68580" marT="34290" marB="34290">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240030">
                <a:tc>
                  <a:txBody>
                    <a:bodyPr/>
                    <a:lstStyle/>
                    <a:p>
                      <a:pPr algn="r"/>
                      <a:r>
                        <a:rPr lang="en-US" sz="1100" b="0" dirty="0" smtClean="0">
                          <a:solidFill>
                            <a:schemeClr val="tx2">
                              <a:alpha val="99000"/>
                            </a:schemeClr>
                          </a:solidFill>
                        </a:rPr>
                        <a:t>Near-instant deployment</a:t>
                      </a:r>
                      <a:endParaRPr lang="en-US" sz="1100" b="0" dirty="0">
                        <a:solidFill>
                          <a:schemeClr val="tx2">
                            <a:alpha val="99000"/>
                          </a:schemeClr>
                        </a:solidFill>
                      </a:endParaRPr>
                    </a:p>
                  </a:txBody>
                  <a:tcPr marL="68580" marR="68580" marT="34290" marB="34290">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240030">
                <a:tc>
                  <a:txBody>
                    <a:bodyPr/>
                    <a:lstStyle/>
                    <a:p>
                      <a:pPr algn="r"/>
                      <a:r>
                        <a:rPr lang="en-US" sz="1100" b="0" dirty="0" smtClean="0">
                          <a:solidFill>
                            <a:schemeClr val="tx2">
                              <a:alpha val="99000"/>
                            </a:schemeClr>
                          </a:solidFill>
                        </a:rPr>
                        <a:t>Integrated MySQL</a:t>
                      </a:r>
                      <a:r>
                        <a:rPr lang="en-US" sz="1100" b="0" baseline="0" dirty="0" smtClean="0">
                          <a:solidFill>
                            <a:schemeClr val="tx2">
                              <a:alpha val="99000"/>
                            </a:schemeClr>
                          </a:solidFill>
                        </a:rPr>
                        <a:t> as a service support</a:t>
                      </a:r>
                      <a:endParaRPr lang="en-US" sz="1100" b="0" dirty="0">
                        <a:solidFill>
                          <a:schemeClr val="tx2">
                            <a:alpha val="99000"/>
                          </a:schemeClr>
                        </a:solidFill>
                      </a:endParaRPr>
                    </a:p>
                  </a:txBody>
                  <a:tcPr marL="68580" marR="68580" marT="34290" marB="34290">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240030">
                <a:tc>
                  <a:txBody>
                    <a:bodyPr/>
                    <a:lstStyle/>
                    <a:p>
                      <a:pPr algn="r"/>
                      <a:r>
                        <a:rPr lang="en-US" sz="1100" b="0" dirty="0" smtClean="0">
                          <a:solidFill>
                            <a:schemeClr val="tx2">
                              <a:alpha val="99000"/>
                            </a:schemeClr>
                          </a:solidFill>
                        </a:rPr>
                        <a:t>Environments/Staging</a:t>
                      </a:r>
                      <a:endParaRPr lang="en-US" sz="1100" b="0" dirty="0">
                        <a:solidFill>
                          <a:schemeClr val="tx2">
                            <a:alpha val="99000"/>
                          </a:schemeClr>
                        </a:solidFill>
                      </a:endParaRPr>
                    </a:p>
                  </a:txBody>
                  <a:tcPr marL="68580" marR="68580" marT="34290" marB="34290">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240030">
                <a:tc>
                  <a:txBody>
                    <a:bodyPr/>
                    <a:lstStyle/>
                    <a:p>
                      <a:pPr algn="r"/>
                      <a:r>
                        <a:rPr lang="en-US" sz="1100" b="0" dirty="0" smtClean="0">
                          <a:solidFill>
                            <a:schemeClr val="tx2">
                              <a:alpha val="99000"/>
                            </a:schemeClr>
                          </a:solidFill>
                        </a:rPr>
                        <a:t>Network isolation</a:t>
                      </a:r>
                      <a:endParaRPr lang="en-US" sz="1100" b="0" dirty="0">
                        <a:solidFill>
                          <a:schemeClr val="tx2">
                            <a:alpha val="99000"/>
                          </a:schemeClr>
                        </a:solidFill>
                      </a:endParaRPr>
                    </a:p>
                  </a:txBody>
                  <a:tcPr marL="68580" marR="68580" marT="34290" marB="34290">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240030">
                <a:tc>
                  <a:txBody>
                    <a:bodyPr/>
                    <a:lstStyle/>
                    <a:p>
                      <a:pPr algn="r"/>
                      <a:r>
                        <a:rPr lang="en-US" sz="1100" b="0" dirty="0" smtClean="0">
                          <a:solidFill>
                            <a:schemeClr val="tx2">
                              <a:alpha val="99000"/>
                            </a:schemeClr>
                          </a:solidFill>
                        </a:rPr>
                        <a:t>Remote desktop access</a:t>
                      </a:r>
                      <a:endParaRPr lang="en-US" sz="1100" b="0" dirty="0">
                        <a:solidFill>
                          <a:schemeClr val="tx2">
                            <a:alpha val="99000"/>
                          </a:schemeClr>
                        </a:solidFill>
                      </a:endParaRPr>
                    </a:p>
                  </a:txBody>
                  <a:tcPr marL="68580" marR="68580" marT="34290" marB="34290">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240030">
                <a:tc>
                  <a:txBody>
                    <a:bodyPr/>
                    <a:lstStyle/>
                    <a:p>
                      <a:pPr algn="r"/>
                      <a:r>
                        <a:rPr lang="en-US" sz="1100" b="0" dirty="0" smtClean="0">
                          <a:solidFill>
                            <a:schemeClr val="tx2">
                              <a:alpha val="99000"/>
                            </a:schemeClr>
                          </a:solidFill>
                        </a:rPr>
                        <a:t>Elevated permissions</a:t>
                      </a:r>
                      <a:endParaRPr lang="en-US" sz="1100" b="0" dirty="0">
                        <a:solidFill>
                          <a:schemeClr val="tx2">
                            <a:alpha val="99000"/>
                          </a:schemeClr>
                        </a:solidFill>
                      </a:endParaRPr>
                    </a:p>
                  </a:txBody>
                  <a:tcPr marL="68580" marR="68580" marT="34290" marB="34290">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240030">
                <a:tc>
                  <a:txBody>
                    <a:bodyPr/>
                    <a:lstStyle/>
                    <a:p>
                      <a:pPr algn="r"/>
                      <a:r>
                        <a:rPr lang="en-US" sz="1100" b="0" dirty="0" smtClean="0">
                          <a:solidFill>
                            <a:schemeClr val="tx2">
                              <a:alpha val="99000"/>
                            </a:schemeClr>
                          </a:solidFill>
                        </a:rPr>
                        <a:t>Start-up tasks</a:t>
                      </a:r>
                      <a:endParaRPr lang="en-US" sz="1100" b="0" dirty="0">
                        <a:solidFill>
                          <a:schemeClr val="tx2">
                            <a:alpha val="99000"/>
                          </a:schemeClr>
                        </a:solidFill>
                      </a:endParaRPr>
                    </a:p>
                  </a:txBody>
                  <a:tcPr marL="68580" marR="68580" marT="34290" marB="34290">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240030">
                <a:tc>
                  <a:txBody>
                    <a:bodyPr/>
                    <a:lstStyle/>
                    <a:p>
                      <a:pPr algn="r"/>
                      <a:r>
                        <a:rPr lang="en-US" sz="1100" b="0" dirty="0" smtClean="0">
                          <a:solidFill>
                            <a:schemeClr val="tx2">
                              <a:alpha val="99000"/>
                            </a:schemeClr>
                          </a:solidFill>
                        </a:rPr>
                        <a:t>Unsupported</a:t>
                      </a:r>
                      <a:r>
                        <a:rPr lang="en-US" sz="1100" b="0" baseline="0" dirty="0" smtClean="0">
                          <a:solidFill>
                            <a:schemeClr val="tx2">
                              <a:alpha val="99000"/>
                            </a:schemeClr>
                          </a:solidFill>
                        </a:rPr>
                        <a:t> frameworks or libraries</a:t>
                      </a:r>
                      <a:endParaRPr lang="en-US" sz="1100" b="0" dirty="0">
                        <a:solidFill>
                          <a:schemeClr val="tx2">
                            <a:alpha val="99000"/>
                          </a:schemeClr>
                        </a:solidFill>
                      </a:endParaRPr>
                    </a:p>
                  </a:txBody>
                  <a:tcPr marL="68580" marR="68580" marT="34290" marB="34290">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240030">
                <a:tc>
                  <a:txBody>
                    <a:bodyPr/>
                    <a:lstStyle/>
                    <a:p>
                      <a:pPr algn="r"/>
                      <a:r>
                        <a:rPr lang="en-US" sz="1100" b="0" dirty="0" smtClean="0">
                          <a:solidFill>
                            <a:schemeClr val="tx2">
                              <a:alpha val="99000"/>
                            </a:schemeClr>
                          </a:solidFill>
                        </a:rPr>
                        <a:t>Service Model</a:t>
                      </a:r>
                      <a:endParaRPr lang="en-US" sz="1100" b="0" dirty="0">
                        <a:solidFill>
                          <a:schemeClr val="tx2">
                            <a:alpha val="99000"/>
                          </a:schemeClr>
                        </a:solidFill>
                      </a:endParaRPr>
                    </a:p>
                  </a:txBody>
                  <a:tcPr marL="68580" marR="68580" marT="34290" marB="34290">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240030">
                <a:tc>
                  <a:txBody>
                    <a:bodyPr/>
                    <a:lstStyle/>
                    <a:p>
                      <a:pPr algn="r"/>
                      <a:r>
                        <a:rPr lang="en-US" sz="1100" b="0" dirty="0" smtClean="0">
                          <a:solidFill>
                            <a:schemeClr val="tx2">
                              <a:alpha val="99000"/>
                            </a:schemeClr>
                          </a:solidFill>
                        </a:rPr>
                        <a:t>Windows Azure Connect/ Windows Azure</a:t>
                      </a:r>
                      <a:r>
                        <a:rPr lang="en-US" sz="1100" b="0" baseline="0" dirty="0" smtClean="0">
                          <a:solidFill>
                            <a:schemeClr val="tx2">
                              <a:alpha val="99000"/>
                            </a:schemeClr>
                          </a:solidFill>
                        </a:rPr>
                        <a:t> </a:t>
                      </a:r>
                      <a:r>
                        <a:rPr lang="en-US" sz="1100" b="0" dirty="0" smtClean="0">
                          <a:solidFill>
                            <a:schemeClr val="tx2">
                              <a:alpha val="99000"/>
                            </a:schemeClr>
                          </a:solidFill>
                        </a:rPr>
                        <a:t>Network</a:t>
                      </a:r>
                      <a:endParaRPr lang="en-US" sz="1100" b="0" dirty="0">
                        <a:solidFill>
                          <a:schemeClr val="tx2">
                            <a:alpha val="99000"/>
                          </a:schemeClr>
                        </a:solidFill>
                      </a:endParaRPr>
                    </a:p>
                  </a:txBody>
                  <a:tcPr marL="68580" marR="68580" marT="34290" marB="34290">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119" name="TextBox 118"/>
          <p:cNvSpPr txBox="1"/>
          <p:nvPr/>
        </p:nvSpPr>
        <p:spPr>
          <a:xfrm>
            <a:off x="7857881" y="2507690"/>
            <a:ext cx="666206" cy="207749"/>
          </a:xfrm>
          <a:prstGeom prst="rect">
            <a:avLst/>
          </a:prstGeom>
          <a:noFill/>
        </p:spPr>
        <p:txBody>
          <a:bodyPr wrap="square" lIns="0" tIns="0" rIns="0" bIns="0" rtlCol="0">
            <a:spAutoFit/>
          </a:bodyPr>
          <a:lstStyle/>
          <a:p>
            <a:pPr defTabSz="685721">
              <a:lnSpc>
                <a:spcPct val="90000"/>
              </a:lnSpc>
              <a:spcBef>
                <a:spcPct val="20000"/>
              </a:spcBef>
              <a:buSzPct val="80000"/>
            </a:pPr>
            <a:r>
              <a:rPr lang="en-US" sz="1500" dirty="0">
                <a:solidFill>
                  <a:srgbClr val="000000">
                    <a:alpha val="57000"/>
                  </a:srgbClr>
                </a:solidFill>
              </a:rPr>
              <a:t>*</a:t>
            </a:r>
          </a:p>
        </p:txBody>
      </p:sp>
      <p:sp>
        <p:nvSpPr>
          <p:cNvPr id="120" name="Rectangle 119"/>
          <p:cNvSpPr/>
          <p:nvPr/>
        </p:nvSpPr>
        <p:spPr>
          <a:xfrm>
            <a:off x="402874" y="607237"/>
            <a:ext cx="4263932" cy="613850"/>
          </a:xfrm>
          <a:prstGeom prst="rect">
            <a:avLst/>
          </a:prstGeom>
          <a:solidFill>
            <a:schemeClr val="tx1">
              <a:lumMod val="75000"/>
              <a:lumOff val="25000"/>
            </a:schemeClr>
          </a:solidFill>
          <a:ln w="9525" cap="flat" cmpd="sng" algn="ctr">
            <a:noFill/>
            <a:prstDash val="solid"/>
          </a:ln>
          <a:effectLst/>
        </p:spPr>
        <p:txBody>
          <a:bodyPr lIns="0" tIns="0" rIns="0" bIns="0" rtlCol="0" anchor="ctr" anchorCtr="0"/>
          <a:lstStyle/>
          <a:p>
            <a:pPr algn="ctr" defTabSz="685466">
              <a:lnSpc>
                <a:spcPct val="90000"/>
              </a:lnSpc>
              <a:spcAft>
                <a:spcPts val="675"/>
              </a:spcAft>
              <a:buSzPct val="80000"/>
            </a:pPr>
            <a:r>
              <a:rPr lang="en-US" spc="-62" dirty="0">
                <a:solidFill>
                  <a:srgbClr val="000000">
                    <a:alpha val="99000"/>
                  </a:srgbClr>
                </a:solidFill>
                <a:latin typeface="Segoe UI Light" pitchFamily="34" charset="0"/>
              </a:rPr>
              <a:t>Capabilities</a:t>
            </a:r>
          </a:p>
        </p:txBody>
      </p:sp>
      <p:sp>
        <p:nvSpPr>
          <p:cNvPr id="121" name="Oval 120"/>
          <p:cNvSpPr/>
          <p:nvPr/>
        </p:nvSpPr>
        <p:spPr bwMode="auto">
          <a:xfrm>
            <a:off x="6545813" y="763602"/>
            <a:ext cx="313010" cy="3130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34277" numCol="1" rtlCol="0" anchor="ctr" anchorCtr="0" compatLnSpc="1">
            <a:prstTxWarp prst="textNoShape">
              <a:avLst/>
            </a:prstTxWarp>
          </a:bodyPr>
          <a:lstStyle/>
          <a:p>
            <a:pPr algn="ctr" defTabSz="685346" fontAlgn="base">
              <a:spcBef>
                <a:spcPct val="0"/>
              </a:spcBef>
              <a:spcAft>
                <a:spcPct val="0"/>
              </a:spcAft>
            </a:pPr>
            <a:r>
              <a:rPr lang="en-US" sz="1200" b="1" dirty="0">
                <a:solidFill>
                  <a:srgbClr val="80BEE4">
                    <a:alpha val="99000"/>
                  </a:srgbClr>
                </a:solidFill>
              </a:rPr>
              <a:t>vs.</a:t>
            </a:r>
          </a:p>
        </p:txBody>
      </p:sp>
      <p:sp>
        <p:nvSpPr>
          <p:cNvPr id="8" name="Freeform 5"/>
          <p:cNvSpPr>
            <a:spLocks noEditPoints="1"/>
          </p:cNvSpPr>
          <p:nvPr/>
        </p:nvSpPr>
        <p:spPr bwMode="auto">
          <a:xfrm>
            <a:off x="5588184" y="1385977"/>
            <a:ext cx="157640" cy="157640"/>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6" tIns="34279" rIns="68556" bIns="34279" numCol="1" anchor="t" anchorCtr="0" compatLnSpc="1">
            <a:prstTxWarp prst="textNoShape">
              <a:avLst/>
            </a:prstTxWarp>
          </a:bodyPr>
          <a:lstStyle/>
          <a:p>
            <a:pPr defTabSz="685721"/>
            <a:endParaRPr lang="en-US">
              <a:solidFill>
                <a:srgbClr val="FFFFFF"/>
              </a:solidFill>
            </a:endParaRPr>
          </a:p>
        </p:txBody>
      </p:sp>
      <p:sp>
        <p:nvSpPr>
          <p:cNvPr id="150" name="Freeform 5"/>
          <p:cNvSpPr>
            <a:spLocks noEditPoints="1"/>
          </p:cNvSpPr>
          <p:nvPr/>
        </p:nvSpPr>
        <p:spPr bwMode="auto">
          <a:xfrm>
            <a:off x="5588184" y="1614238"/>
            <a:ext cx="157640" cy="157640"/>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6" tIns="34279" rIns="68556" bIns="34279" numCol="1" anchor="t" anchorCtr="0" compatLnSpc="1">
            <a:prstTxWarp prst="textNoShape">
              <a:avLst/>
            </a:prstTxWarp>
          </a:bodyPr>
          <a:lstStyle/>
          <a:p>
            <a:pPr defTabSz="685721"/>
            <a:endParaRPr lang="en-US">
              <a:solidFill>
                <a:srgbClr val="FFFFFF"/>
              </a:solidFill>
            </a:endParaRPr>
          </a:p>
        </p:txBody>
      </p:sp>
      <p:sp>
        <p:nvSpPr>
          <p:cNvPr id="151" name="Freeform 5"/>
          <p:cNvSpPr>
            <a:spLocks noEditPoints="1"/>
          </p:cNvSpPr>
          <p:nvPr/>
        </p:nvSpPr>
        <p:spPr bwMode="auto">
          <a:xfrm>
            <a:off x="5588184" y="1841836"/>
            <a:ext cx="157640" cy="157640"/>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6" tIns="34279" rIns="68556" bIns="34279" numCol="1" anchor="t" anchorCtr="0" compatLnSpc="1">
            <a:prstTxWarp prst="textNoShape">
              <a:avLst/>
            </a:prstTxWarp>
          </a:bodyPr>
          <a:lstStyle/>
          <a:p>
            <a:pPr defTabSz="685721"/>
            <a:endParaRPr lang="en-US">
              <a:solidFill>
                <a:srgbClr val="FFFFFF"/>
              </a:solidFill>
            </a:endParaRPr>
          </a:p>
        </p:txBody>
      </p:sp>
      <p:sp>
        <p:nvSpPr>
          <p:cNvPr id="152" name="Freeform 5"/>
          <p:cNvSpPr>
            <a:spLocks noEditPoints="1"/>
          </p:cNvSpPr>
          <p:nvPr/>
        </p:nvSpPr>
        <p:spPr bwMode="auto">
          <a:xfrm>
            <a:off x="5588184" y="2070604"/>
            <a:ext cx="157640" cy="157640"/>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6" tIns="34279" rIns="68556" bIns="34279" numCol="1" anchor="t" anchorCtr="0" compatLnSpc="1">
            <a:prstTxWarp prst="textNoShape">
              <a:avLst/>
            </a:prstTxWarp>
          </a:bodyPr>
          <a:lstStyle/>
          <a:p>
            <a:pPr defTabSz="685721"/>
            <a:endParaRPr lang="en-US">
              <a:solidFill>
                <a:srgbClr val="FFFFFF"/>
              </a:solidFill>
            </a:endParaRPr>
          </a:p>
        </p:txBody>
      </p:sp>
      <p:sp>
        <p:nvSpPr>
          <p:cNvPr id="153" name="Freeform 5"/>
          <p:cNvSpPr>
            <a:spLocks noEditPoints="1"/>
          </p:cNvSpPr>
          <p:nvPr/>
        </p:nvSpPr>
        <p:spPr bwMode="auto">
          <a:xfrm>
            <a:off x="5588184" y="2302936"/>
            <a:ext cx="157640" cy="157640"/>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6" tIns="34279" rIns="68556" bIns="34279" numCol="1" anchor="t" anchorCtr="0" compatLnSpc="1">
            <a:prstTxWarp prst="textNoShape">
              <a:avLst/>
            </a:prstTxWarp>
          </a:bodyPr>
          <a:lstStyle/>
          <a:p>
            <a:pPr defTabSz="685721"/>
            <a:endParaRPr lang="en-US">
              <a:solidFill>
                <a:srgbClr val="FFFFFF"/>
              </a:solidFill>
            </a:endParaRPr>
          </a:p>
        </p:txBody>
      </p:sp>
      <p:sp>
        <p:nvSpPr>
          <p:cNvPr id="154" name="Freeform 5"/>
          <p:cNvSpPr>
            <a:spLocks noEditPoints="1"/>
          </p:cNvSpPr>
          <p:nvPr/>
        </p:nvSpPr>
        <p:spPr bwMode="auto">
          <a:xfrm>
            <a:off x="5588184" y="2525725"/>
            <a:ext cx="157640" cy="157640"/>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6" tIns="34279" rIns="68556" bIns="34279" numCol="1" anchor="t" anchorCtr="0" compatLnSpc="1">
            <a:prstTxWarp prst="textNoShape">
              <a:avLst/>
            </a:prstTxWarp>
          </a:bodyPr>
          <a:lstStyle/>
          <a:p>
            <a:pPr defTabSz="685721"/>
            <a:endParaRPr lang="en-US">
              <a:solidFill>
                <a:srgbClr val="FFFFFF"/>
              </a:solidFill>
            </a:endParaRPr>
          </a:p>
        </p:txBody>
      </p:sp>
      <p:sp>
        <p:nvSpPr>
          <p:cNvPr id="155" name="Freeform 5"/>
          <p:cNvSpPr>
            <a:spLocks noEditPoints="1"/>
          </p:cNvSpPr>
          <p:nvPr/>
        </p:nvSpPr>
        <p:spPr bwMode="auto">
          <a:xfrm>
            <a:off x="7679688" y="2761414"/>
            <a:ext cx="157640" cy="157640"/>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6" tIns="34279" rIns="68556" bIns="34279" numCol="1" anchor="t" anchorCtr="0" compatLnSpc="1">
            <a:prstTxWarp prst="textNoShape">
              <a:avLst/>
            </a:prstTxWarp>
          </a:bodyPr>
          <a:lstStyle/>
          <a:p>
            <a:pPr defTabSz="685721"/>
            <a:endParaRPr lang="en-US">
              <a:solidFill>
                <a:srgbClr val="FFFFFF"/>
              </a:solidFill>
            </a:endParaRPr>
          </a:p>
        </p:txBody>
      </p:sp>
      <p:sp>
        <p:nvSpPr>
          <p:cNvPr id="156" name="Freeform 5"/>
          <p:cNvSpPr>
            <a:spLocks noEditPoints="1"/>
          </p:cNvSpPr>
          <p:nvPr/>
        </p:nvSpPr>
        <p:spPr bwMode="auto">
          <a:xfrm>
            <a:off x="7679688" y="2989678"/>
            <a:ext cx="157640" cy="157640"/>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6" tIns="34279" rIns="68556" bIns="34279" numCol="1" anchor="t" anchorCtr="0" compatLnSpc="1">
            <a:prstTxWarp prst="textNoShape">
              <a:avLst/>
            </a:prstTxWarp>
          </a:bodyPr>
          <a:lstStyle/>
          <a:p>
            <a:pPr defTabSz="685721"/>
            <a:endParaRPr lang="en-US">
              <a:solidFill>
                <a:srgbClr val="FFFFFF"/>
              </a:solidFill>
            </a:endParaRPr>
          </a:p>
        </p:txBody>
      </p:sp>
      <p:sp>
        <p:nvSpPr>
          <p:cNvPr id="157" name="Freeform 5"/>
          <p:cNvSpPr>
            <a:spLocks noEditPoints="1"/>
          </p:cNvSpPr>
          <p:nvPr/>
        </p:nvSpPr>
        <p:spPr bwMode="auto">
          <a:xfrm>
            <a:off x="7679688" y="3217273"/>
            <a:ext cx="157640" cy="157640"/>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6" tIns="34279" rIns="68556" bIns="34279" numCol="1" anchor="t" anchorCtr="0" compatLnSpc="1">
            <a:prstTxWarp prst="textNoShape">
              <a:avLst/>
            </a:prstTxWarp>
          </a:bodyPr>
          <a:lstStyle/>
          <a:p>
            <a:pPr defTabSz="685721"/>
            <a:endParaRPr lang="en-US">
              <a:solidFill>
                <a:srgbClr val="FFFFFF"/>
              </a:solidFill>
            </a:endParaRPr>
          </a:p>
        </p:txBody>
      </p:sp>
      <p:sp>
        <p:nvSpPr>
          <p:cNvPr id="158" name="Freeform 5"/>
          <p:cNvSpPr>
            <a:spLocks noEditPoints="1"/>
          </p:cNvSpPr>
          <p:nvPr/>
        </p:nvSpPr>
        <p:spPr bwMode="auto">
          <a:xfrm>
            <a:off x="7679688" y="3446041"/>
            <a:ext cx="157640" cy="157640"/>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6" tIns="34279" rIns="68556" bIns="34279" numCol="1" anchor="t" anchorCtr="0" compatLnSpc="1">
            <a:prstTxWarp prst="textNoShape">
              <a:avLst/>
            </a:prstTxWarp>
          </a:bodyPr>
          <a:lstStyle/>
          <a:p>
            <a:pPr defTabSz="685721"/>
            <a:endParaRPr lang="en-US">
              <a:solidFill>
                <a:srgbClr val="FFFFFF"/>
              </a:solidFill>
            </a:endParaRPr>
          </a:p>
        </p:txBody>
      </p:sp>
      <p:sp>
        <p:nvSpPr>
          <p:cNvPr id="159" name="Freeform 5"/>
          <p:cNvSpPr>
            <a:spLocks noEditPoints="1"/>
          </p:cNvSpPr>
          <p:nvPr/>
        </p:nvSpPr>
        <p:spPr bwMode="auto">
          <a:xfrm>
            <a:off x="7679688" y="3678373"/>
            <a:ext cx="157640" cy="157640"/>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6" tIns="34279" rIns="68556" bIns="34279" numCol="1" anchor="t" anchorCtr="0" compatLnSpc="1">
            <a:prstTxWarp prst="textNoShape">
              <a:avLst/>
            </a:prstTxWarp>
          </a:bodyPr>
          <a:lstStyle/>
          <a:p>
            <a:pPr defTabSz="685721"/>
            <a:endParaRPr lang="en-US">
              <a:solidFill>
                <a:srgbClr val="FFFFFF"/>
              </a:solidFill>
            </a:endParaRPr>
          </a:p>
        </p:txBody>
      </p:sp>
      <p:sp>
        <p:nvSpPr>
          <p:cNvPr id="160" name="Freeform 5"/>
          <p:cNvSpPr>
            <a:spLocks noEditPoints="1"/>
          </p:cNvSpPr>
          <p:nvPr/>
        </p:nvSpPr>
        <p:spPr bwMode="auto">
          <a:xfrm>
            <a:off x="7679688" y="3907663"/>
            <a:ext cx="157640" cy="157640"/>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6" tIns="34279" rIns="68556" bIns="34279" numCol="1" anchor="t" anchorCtr="0" compatLnSpc="1">
            <a:prstTxWarp prst="textNoShape">
              <a:avLst/>
            </a:prstTxWarp>
          </a:bodyPr>
          <a:lstStyle/>
          <a:p>
            <a:pPr defTabSz="685721"/>
            <a:endParaRPr lang="en-US">
              <a:solidFill>
                <a:srgbClr val="FFFFFF"/>
              </a:solidFill>
            </a:endParaRPr>
          </a:p>
        </p:txBody>
      </p:sp>
      <p:sp>
        <p:nvSpPr>
          <p:cNvPr id="161" name="Freeform 5"/>
          <p:cNvSpPr>
            <a:spLocks noEditPoints="1"/>
          </p:cNvSpPr>
          <p:nvPr/>
        </p:nvSpPr>
        <p:spPr bwMode="auto">
          <a:xfrm>
            <a:off x="7679688" y="4136854"/>
            <a:ext cx="157640" cy="157640"/>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6" tIns="34279" rIns="68556" bIns="34279" numCol="1" anchor="t" anchorCtr="0" compatLnSpc="1">
            <a:prstTxWarp prst="textNoShape">
              <a:avLst/>
            </a:prstTxWarp>
          </a:bodyPr>
          <a:lstStyle/>
          <a:p>
            <a:pPr defTabSz="685721"/>
            <a:endParaRPr lang="en-US">
              <a:solidFill>
                <a:srgbClr val="FFFFFF"/>
              </a:solidFill>
            </a:endParaRPr>
          </a:p>
        </p:txBody>
      </p:sp>
      <p:sp>
        <p:nvSpPr>
          <p:cNvPr id="162" name="Freeform 5"/>
          <p:cNvSpPr>
            <a:spLocks noEditPoints="1"/>
          </p:cNvSpPr>
          <p:nvPr/>
        </p:nvSpPr>
        <p:spPr bwMode="auto">
          <a:xfrm>
            <a:off x="7679688" y="4366144"/>
            <a:ext cx="157640" cy="157640"/>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6" tIns="34279" rIns="68556" bIns="34279" numCol="1" anchor="t" anchorCtr="0" compatLnSpc="1">
            <a:prstTxWarp prst="textNoShape">
              <a:avLst/>
            </a:prstTxWarp>
          </a:bodyPr>
          <a:lstStyle/>
          <a:p>
            <a:pPr defTabSz="685721"/>
            <a:endParaRPr lang="en-US">
              <a:solidFill>
                <a:srgbClr val="FFFFFF"/>
              </a:solidFill>
            </a:endParaRPr>
          </a:p>
        </p:txBody>
      </p:sp>
      <p:sp>
        <p:nvSpPr>
          <p:cNvPr id="163" name="Freeform 5"/>
          <p:cNvSpPr>
            <a:spLocks noEditPoints="1"/>
          </p:cNvSpPr>
          <p:nvPr/>
        </p:nvSpPr>
        <p:spPr bwMode="auto">
          <a:xfrm>
            <a:off x="7679688" y="2528434"/>
            <a:ext cx="157640" cy="157640"/>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alpha val="60000"/>
            </a:srgbClr>
          </a:solidFill>
          <a:ln>
            <a:noFill/>
          </a:ln>
        </p:spPr>
        <p:txBody>
          <a:bodyPr vert="horz" wrap="square" lIns="68556" tIns="34279" rIns="68556" bIns="34279" numCol="1" anchor="t" anchorCtr="0" compatLnSpc="1">
            <a:prstTxWarp prst="textNoShape">
              <a:avLst/>
            </a:prstTxWarp>
          </a:bodyPr>
          <a:lstStyle/>
          <a:p>
            <a:pPr defTabSz="685721"/>
            <a:endParaRPr lang="en-US">
              <a:solidFill>
                <a:srgbClr val="FFFFFF"/>
              </a:solidFill>
            </a:endParaRPr>
          </a:p>
        </p:txBody>
      </p:sp>
      <p:sp>
        <p:nvSpPr>
          <p:cNvPr id="164" name="Freeform 5"/>
          <p:cNvSpPr>
            <a:spLocks noEditPoints="1"/>
          </p:cNvSpPr>
          <p:nvPr/>
        </p:nvSpPr>
        <p:spPr bwMode="auto">
          <a:xfrm>
            <a:off x="7679688" y="1386955"/>
            <a:ext cx="157640" cy="157640"/>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6" tIns="34279" rIns="68556" bIns="34279" numCol="1" anchor="t" anchorCtr="0" compatLnSpc="1">
            <a:prstTxWarp prst="textNoShape">
              <a:avLst/>
            </a:prstTxWarp>
          </a:bodyPr>
          <a:lstStyle/>
          <a:p>
            <a:pPr defTabSz="685721"/>
            <a:endParaRPr lang="en-US">
              <a:solidFill>
                <a:srgbClr val="FFFFFF"/>
              </a:solidFill>
            </a:endParaRPr>
          </a:p>
        </p:txBody>
      </p:sp>
      <p:sp>
        <p:nvSpPr>
          <p:cNvPr id="165" name="Freeform 5"/>
          <p:cNvSpPr>
            <a:spLocks noEditPoints="1"/>
          </p:cNvSpPr>
          <p:nvPr/>
        </p:nvSpPr>
        <p:spPr bwMode="auto">
          <a:xfrm>
            <a:off x="7679688" y="1615216"/>
            <a:ext cx="157640" cy="157640"/>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6" tIns="34279" rIns="68556" bIns="34279" numCol="1" anchor="t" anchorCtr="0" compatLnSpc="1">
            <a:prstTxWarp prst="textNoShape">
              <a:avLst/>
            </a:prstTxWarp>
          </a:bodyPr>
          <a:lstStyle/>
          <a:p>
            <a:pPr defTabSz="685721"/>
            <a:endParaRPr lang="en-US">
              <a:solidFill>
                <a:srgbClr val="FFFFFF"/>
              </a:solidFill>
            </a:endParaRPr>
          </a:p>
        </p:txBody>
      </p:sp>
      <p:pic>
        <p:nvPicPr>
          <p:cNvPr id="54"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05256536"/>
      </p:ext>
    </p:extLst>
  </p:cSld>
  <p:clrMapOvr>
    <a:masterClrMapping/>
  </p:clrMapOvr>
  <p:transition>
    <p:fade/>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grating to Virtual Machines</a:t>
            </a:r>
            <a:endParaRPr lang="en-US" dirty="0"/>
          </a:p>
        </p:txBody>
      </p:sp>
      <p:sp>
        <p:nvSpPr>
          <p:cNvPr id="27" name="Rectangle 26"/>
          <p:cNvSpPr/>
          <p:nvPr/>
        </p:nvSpPr>
        <p:spPr bwMode="auto">
          <a:xfrm>
            <a:off x="828314" y="1215529"/>
            <a:ext cx="528578" cy="52857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2" tIns="45716" rIns="91432" bIns="91432" numCol="1" spcCol="0" rtlCol="0" fromWordArt="0" anchor="b" anchorCtr="0" forceAA="0" compatLnSpc="1">
            <a:prstTxWarp prst="textNoShape">
              <a:avLst/>
            </a:prstTxWarp>
            <a:noAutofit/>
          </a:bodyPr>
          <a:lstStyle/>
          <a:p>
            <a:pPr defTabSz="914023" fontAlgn="base">
              <a:spcBef>
                <a:spcPct val="0"/>
              </a:spcBef>
              <a:spcAft>
                <a:spcPct val="0"/>
              </a:spcAft>
            </a:pPr>
            <a:endParaRPr lang="en-US" sz="1100" dirty="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a:off x="1356894" y="1215529"/>
            <a:ext cx="6808151" cy="52857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2" tIns="45716" rIns="91432" bIns="91432" numCol="1" spcCol="0" rtlCol="0" fromWordArt="0" anchor="b" anchorCtr="0" forceAA="0" compatLnSpc="1">
            <a:prstTxWarp prst="textNoShape">
              <a:avLst/>
            </a:prstTxWarp>
            <a:noAutofit/>
          </a:bodyPr>
          <a:lstStyle/>
          <a:p>
            <a:pPr marL="174611" lvl="1" defTabSz="685294"/>
            <a:r>
              <a:rPr lang="en-US" sz="2000" dirty="0">
                <a:solidFill>
                  <a:srgbClr val="FFFFFF">
                    <a:alpha val="99000"/>
                  </a:srgbClr>
                </a:solidFill>
              </a:rPr>
              <a:t>Motivation and App Selection</a:t>
            </a:r>
          </a:p>
        </p:txBody>
      </p:sp>
      <p:sp>
        <p:nvSpPr>
          <p:cNvPr id="30" name="Rectangle 29"/>
          <p:cNvSpPr/>
          <p:nvPr/>
        </p:nvSpPr>
        <p:spPr bwMode="auto">
          <a:xfrm>
            <a:off x="828314" y="1784743"/>
            <a:ext cx="528578" cy="52857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2" tIns="45716" rIns="91432" bIns="91432" numCol="1" spcCol="0" rtlCol="0" fromWordArt="0" anchor="b" anchorCtr="0" forceAA="0" compatLnSpc="1">
            <a:prstTxWarp prst="textNoShape">
              <a:avLst/>
            </a:prstTxWarp>
            <a:noAutofit/>
          </a:bodyPr>
          <a:lstStyle/>
          <a:p>
            <a:pPr defTabSz="914023" fontAlgn="base">
              <a:spcBef>
                <a:spcPct val="0"/>
              </a:spcBef>
              <a:spcAft>
                <a:spcPct val="0"/>
              </a:spcAft>
            </a:pPr>
            <a:endParaRPr lang="en-US" sz="1100"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1356894" y="1784743"/>
            <a:ext cx="6808151" cy="52857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2" tIns="45716" rIns="91432" bIns="91432" numCol="1" spcCol="0" rtlCol="0" fromWordArt="0" anchor="b" anchorCtr="0" forceAA="0" compatLnSpc="1">
            <a:prstTxWarp prst="textNoShape">
              <a:avLst/>
            </a:prstTxWarp>
            <a:noAutofit/>
          </a:bodyPr>
          <a:lstStyle/>
          <a:p>
            <a:pPr marL="174611" lvl="1" defTabSz="685294"/>
            <a:r>
              <a:rPr lang="en-US" sz="2000" dirty="0">
                <a:solidFill>
                  <a:srgbClr val="FFFFFF">
                    <a:alpha val="99000"/>
                  </a:srgbClr>
                </a:solidFill>
              </a:rPr>
              <a:t>Migration Approaches</a:t>
            </a:r>
          </a:p>
        </p:txBody>
      </p:sp>
      <p:sp>
        <p:nvSpPr>
          <p:cNvPr id="33" name="Rectangle 32"/>
          <p:cNvSpPr/>
          <p:nvPr/>
        </p:nvSpPr>
        <p:spPr bwMode="auto">
          <a:xfrm>
            <a:off x="828314" y="2353957"/>
            <a:ext cx="528578" cy="52857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2" tIns="45716" rIns="91432" bIns="91432" numCol="1" spcCol="0" rtlCol="0" fromWordArt="0" anchor="b" anchorCtr="0" forceAA="0" compatLnSpc="1">
            <a:prstTxWarp prst="textNoShape">
              <a:avLst/>
            </a:prstTxWarp>
            <a:noAutofit/>
          </a:bodyPr>
          <a:lstStyle/>
          <a:p>
            <a:pPr defTabSz="914023" fontAlgn="base">
              <a:spcBef>
                <a:spcPct val="0"/>
              </a:spcBef>
              <a:spcAft>
                <a:spcPct val="0"/>
              </a:spcAft>
            </a:pPr>
            <a:endParaRPr lang="en-US" sz="1100" dirty="0">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1356894" y="2353957"/>
            <a:ext cx="6808151" cy="52857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2" tIns="45716" rIns="91432" bIns="91432" numCol="1" spcCol="0" rtlCol="0" fromWordArt="0" anchor="b" anchorCtr="0" forceAA="0" compatLnSpc="1">
            <a:prstTxWarp prst="textNoShape">
              <a:avLst/>
            </a:prstTxWarp>
            <a:noAutofit/>
          </a:bodyPr>
          <a:lstStyle/>
          <a:p>
            <a:pPr marL="174611" lvl="1" defTabSz="685294"/>
            <a:r>
              <a:rPr lang="en-US" sz="2000" dirty="0">
                <a:solidFill>
                  <a:srgbClr val="FFFFFF">
                    <a:alpha val="99000"/>
                  </a:srgbClr>
                </a:solidFill>
              </a:rPr>
              <a:t>Virtual Networking</a:t>
            </a:r>
          </a:p>
        </p:txBody>
      </p:sp>
      <p:sp>
        <p:nvSpPr>
          <p:cNvPr id="36" name="Rectangle 35"/>
          <p:cNvSpPr/>
          <p:nvPr/>
        </p:nvSpPr>
        <p:spPr bwMode="auto">
          <a:xfrm>
            <a:off x="828314" y="2923171"/>
            <a:ext cx="528578" cy="52857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2" tIns="45716" rIns="91432" bIns="91432" numCol="1" spcCol="0" rtlCol="0" fromWordArt="0" anchor="b" anchorCtr="0" forceAA="0" compatLnSpc="1">
            <a:prstTxWarp prst="textNoShape">
              <a:avLst/>
            </a:prstTxWarp>
            <a:noAutofit/>
          </a:bodyPr>
          <a:lstStyle/>
          <a:p>
            <a:pPr defTabSz="914023" fontAlgn="base">
              <a:spcBef>
                <a:spcPct val="0"/>
              </a:spcBef>
              <a:spcAft>
                <a:spcPct val="0"/>
              </a:spcAft>
            </a:pPr>
            <a:endParaRPr lang="en-US" sz="1100" dirty="0">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p:nvSpPr>
        <p:spPr bwMode="auto">
          <a:xfrm>
            <a:off x="1356894" y="2923171"/>
            <a:ext cx="6808151" cy="52857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2" tIns="45716" rIns="91432" bIns="91432" numCol="1" spcCol="0" rtlCol="0" fromWordArt="0" anchor="b" anchorCtr="0" forceAA="0" compatLnSpc="1">
            <a:prstTxWarp prst="textNoShape">
              <a:avLst/>
            </a:prstTxWarp>
            <a:noAutofit/>
          </a:bodyPr>
          <a:lstStyle/>
          <a:p>
            <a:pPr marL="174611" lvl="1" defTabSz="685294"/>
            <a:r>
              <a:rPr lang="en-US" sz="2000" dirty="0">
                <a:solidFill>
                  <a:srgbClr val="FFFFFF">
                    <a:alpha val="99000"/>
                  </a:srgbClr>
                </a:solidFill>
              </a:rPr>
              <a:t>Extending Identity with </a:t>
            </a:r>
            <a:r>
              <a:rPr lang="en-US" sz="2000" dirty="0" err="1">
                <a:solidFill>
                  <a:srgbClr val="FFFFFF">
                    <a:alpha val="99000"/>
                  </a:srgbClr>
                </a:solidFill>
              </a:rPr>
              <a:t>IaaS</a:t>
            </a:r>
            <a:endParaRPr lang="en-US" sz="2000" dirty="0">
              <a:solidFill>
                <a:srgbClr val="FFFFFF">
                  <a:alpha val="99000"/>
                </a:srgbClr>
              </a:solidFill>
            </a:endParaRPr>
          </a:p>
        </p:txBody>
      </p:sp>
      <p:sp>
        <p:nvSpPr>
          <p:cNvPr id="41" name="Rectangle 40"/>
          <p:cNvSpPr/>
          <p:nvPr/>
        </p:nvSpPr>
        <p:spPr bwMode="auto">
          <a:xfrm>
            <a:off x="828314" y="3492385"/>
            <a:ext cx="528578" cy="52857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2" tIns="45716" rIns="91432" bIns="91432" numCol="1" spcCol="0" rtlCol="0" fromWordArt="0" anchor="b" anchorCtr="0" forceAA="0" compatLnSpc="1">
            <a:prstTxWarp prst="textNoShape">
              <a:avLst/>
            </a:prstTxWarp>
            <a:noAutofit/>
          </a:bodyPr>
          <a:lstStyle/>
          <a:p>
            <a:pPr defTabSz="914023" fontAlgn="base">
              <a:spcBef>
                <a:spcPct val="0"/>
              </a:spcBef>
              <a:spcAft>
                <a:spcPct val="0"/>
              </a:spcAft>
            </a:pPr>
            <a:endParaRPr lang="en-US" sz="11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1356894" y="3492385"/>
            <a:ext cx="6808151" cy="52857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2" tIns="45716" rIns="91432" bIns="91432" numCol="1" spcCol="0" rtlCol="0" fromWordArt="0" anchor="b" anchorCtr="0" forceAA="0" compatLnSpc="1">
            <a:prstTxWarp prst="textNoShape">
              <a:avLst/>
            </a:prstTxWarp>
            <a:noAutofit/>
          </a:bodyPr>
          <a:lstStyle/>
          <a:p>
            <a:pPr marL="174611" lvl="1" defTabSz="685294"/>
            <a:r>
              <a:rPr lang="en-US" sz="2000" dirty="0">
                <a:solidFill>
                  <a:srgbClr val="FFFFFF">
                    <a:alpha val="99000"/>
                  </a:srgbClr>
                </a:solidFill>
              </a:rPr>
              <a:t>Managing Application Data</a:t>
            </a:r>
          </a:p>
        </p:txBody>
      </p:sp>
      <p:sp>
        <p:nvSpPr>
          <p:cNvPr id="44" name="Rectangle 43"/>
          <p:cNvSpPr/>
          <p:nvPr/>
        </p:nvSpPr>
        <p:spPr bwMode="auto">
          <a:xfrm>
            <a:off x="828314" y="4061599"/>
            <a:ext cx="528578" cy="52857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2" tIns="45716" rIns="91432" bIns="91432" numCol="1" spcCol="0" rtlCol="0" fromWordArt="0" anchor="b" anchorCtr="0" forceAA="0" compatLnSpc="1">
            <a:prstTxWarp prst="textNoShape">
              <a:avLst/>
            </a:prstTxWarp>
            <a:noAutofit/>
          </a:bodyPr>
          <a:lstStyle/>
          <a:p>
            <a:pPr defTabSz="914023" fontAlgn="base">
              <a:spcBef>
                <a:spcPct val="0"/>
              </a:spcBef>
              <a:spcAft>
                <a:spcPct val="0"/>
              </a:spcAft>
            </a:pPr>
            <a:endParaRPr lang="en-US" sz="1100" dirty="0">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p:cNvSpPr/>
          <p:nvPr/>
        </p:nvSpPr>
        <p:spPr bwMode="auto">
          <a:xfrm>
            <a:off x="1356894" y="4061599"/>
            <a:ext cx="6808151" cy="52857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2" tIns="45716" rIns="91432" bIns="91432" numCol="1" spcCol="0" rtlCol="0" fromWordArt="0" anchor="b" anchorCtr="0" forceAA="0" compatLnSpc="1">
            <a:prstTxWarp prst="textNoShape">
              <a:avLst/>
            </a:prstTxWarp>
            <a:noAutofit/>
          </a:bodyPr>
          <a:lstStyle/>
          <a:p>
            <a:pPr marL="174611" lvl="1" defTabSz="685294"/>
            <a:r>
              <a:rPr lang="en-US" sz="2000" dirty="0">
                <a:solidFill>
                  <a:srgbClr val="FFFFFF">
                    <a:alpha val="99000"/>
                  </a:srgbClr>
                </a:solidFill>
              </a:rPr>
              <a:t>Integration with compute </a:t>
            </a:r>
            <a:r>
              <a:rPr lang="en-US" sz="2000" dirty="0" err="1">
                <a:solidFill>
                  <a:srgbClr val="FFFFFF">
                    <a:alpha val="99000"/>
                  </a:srgbClr>
                </a:solidFill>
              </a:rPr>
              <a:t>PaaS</a:t>
            </a:r>
            <a:endParaRPr lang="en-US" sz="2000" dirty="0">
              <a:solidFill>
                <a:srgbClr val="FFFFFF">
                  <a:alpha val="99000"/>
                </a:srgbClr>
              </a:solidFill>
            </a:endParaRPr>
          </a:p>
        </p:txBody>
      </p:sp>
      <p:sp>
        <p:nvSpPr>
          <p:cNvPr id="48" name="Freeform 79"/>
          <p:cNvSpPr>
            <a:spLocks noEditPoints="1"/>
          </p:cNvSpPr>
          <p:nvPr/>
        </p:nvSpPr>
        <p:spPr bwMode="black">
          <a:xfrm>
            <a:off x="970544" y="3597338"/>
            <a:ext cx="235725" cy="31867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pPr defTabSz="685294"/>
            <a:endParaRPr lang="en-US" sz="1600" dirty="0">
              <a:solidFill>
                <a:srgbClr val="FFFFFF"/>
              </a:solidFill>
            </a:endParaRPr>
          </a:p>
        </p:txBody>
      </p:sp>
      <p:sp>
        <p:nvSpPr>
          <p:cNvPr id="50" name="Freeform 80"/>
          <p:cNvSpPr>
            <a:spLocks noEditPoints="1"/>
          </p:cNvSpPr>
          <p:nvPr/>
        </p:nvSpPr>
        <p:spPr bwMode="black">
          <a:xfrm>
            <a:off x="939233" y="1869916"/>
            <a:ext cx="295275" cy="358230"/>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pPr defTabSz="685294"/>
            <a:endParaRPr lang="en-US" sz="1600">
              <a:solidFill>
                <a:srgbClr val="FFFFFF"/>
              </a:solidFill>
            </a:endParaRPr>
          </a:p>
        </p:txBody>
      </p:sp>
      <p:sp>
        <p:nvSpPr>
          <p:cNvPr id="51" name="Freeform 24"/>
          <p:cNvSpPr>
            <a:spLocks noEditPoints="1"/>
          </p:cNvSpPr>
          <p:nvPr/>
        </p:nvSpPr>
        <p:spPr bwMode="black">
          <a:xfrm>
            <a:off x="902728" y="4183655"/>
            <a:ext cx="368284" cy="284463"/>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2" tIns="45716" rIns="91432" bIns="45716" numCol="1" anchor="t" anchorCtr="0" compatLnSpc="1">
            <a:prstTxWarp prst="textNoShape">
              <a:avLst/>
            </a:prstTxWarp>
          </a:bodyPr>
          <a:lstStyle/>
          <a:p>
            <a:pPr defTabSz="685294"/>
            <a:endParaRPr lang="en-US">
              <a:solidFill>
                <a:srgbClr val="FFFFFF"/>
              </a:solidFill>
            </a:endParaRPr>
          </a:p>
        </p:txBody>
      </p:sp>
      <p:sp>
        <p:nvSpPr>
          <p:cNvPr id="53" name="Freeform 25"/>
          <p:cNvSpPr>
            <a:spLocks noEditPoints="1"/>
          </p:cNvSpPr>
          <p:nvPr/>
        </p:nvSpPr>
        <p:spPr bwMode="black">
          <a:xfrm>
            <a:off x="889963" y="3019799"/>
            <a:ext cx="393814" cy="335322"/>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pPr defTabSz="685294"/>
            <a:endParaRPr lang="en-US" sz="1600">
              <a:solidFill>
                <a:srgbClr val="FFFFFF"/>
              </a:solidFill>
            </a:endParaRPr>
          </a:p>
        </p:txBody>
      </p:sp>
      <p:sp>
        <p:nvSpPr>
          <p:cNvPr id="21" name="Freeform 20"/>
          <p:cNvSpPr>
            <a:spLocks noEditPoints="1"/>
          </p:cNvSpPr>
          <p:nvPr/>
        </p:nvSpPr>
        <p:spPr bwMode="black">
          <a:xfrm>
            <a:off x="889964" y="2436682"/>
            <a:ext cx="398967" cy="363128"/>
          </a:xfrm>
          <a:custGeom>
            <a:avLst/>
            <a:gdLst>
              <a:gd name="T0" fmla="*/ 572 w 780"/>
              <a:gd name="T1" fmla="*/ 322 h 676"/>
              <a:gd name="T2" fmla="*/ 615 w 780"/>
              <a:gd name="T3" fmla="*/ 322 h 676"/>
              <a:gd name="T4" fmla="*/ 117 w 780"/>
              <a:gd name="T5" fmla="*/ 322 h 676"/>
              <a:gd name="T6" fmla="*/ 159 w 780"/>
              <a:gd name="T7" fmla="*/ 322 h 676"/>
              <a:gd name="T8" fmla="*/ 276 w 780"/>
              <a:gd name="T9" fmla="*/ 190 h 676"/>
              <a:gd name="T10" fmla="*/ 288 w 780"/>
              <a:gd name="T11" fmla="*/ 209 h 676"/>
              <a:gd name="T12" fmla="*/ 455 w 780"/>
              <a:gd name="T13" fmla="*/ 205 h 676"/>
              <a:gd name="T14" fmla="*/ 485 w 780"/>
              <a:gd name="T15" fmla="*/ 173 h 676"/>
              <a:gd name="T16" fmla="*/ 288 w 780"/>
              <a:gd name="T17" fmla="*/ 460 h 676"/>
              <a:gd name="T18" fmla="*/ 288 w 780"/>
              <a:gd name="T19" fmla="*/ 460 h 676"/>
              <a:gd name="T20" fmla="*/ 265 w 780"/>
              <a:gd name="T21" fmla="*/ 496 h 676"/>
              <a:gd name="T22" fmla="*/ 485 w 780"/>
              <a:gd name="T23" fmla="*/ 496 h 676"/>
              <a:gd name="T24" fmla="*/ 463 w 780"/>
              <a:gd name="T25" fmla="*/ 460 h 676"/>
              <a:gd name="T26" fmla="*/ 545 w 780"/>
              <a:gd name="T27" fmla="*/ 341 h 676"/>
              <a:gd name="T28" fmla="*/ 319 w 780"/>
              <a:gd name="T29" fmla="*/ 250 h 676"/>
              <a:gd name="T30" fmla="*/ 261 w 780"/>
              <a:gd name="T31" fmla="*/ 379 h 676"/>
              <a:gd name="T32" fmla="*/ 437 w 780"/>
              <a:gd name="T33" fmla="*/ 423 h 676"/>
              <a:gd name="T34" fmla="*/ 297 w 780"/>
              <a:gd name="T35" fmla="*/ 78 h 676"/>
              <a:gd name="T36" fmla="*/ 177 w 780"/>
              <a:gd name="T37" fmla="*/ 0 h 676"/>
              <a:gd name="T38" fmla="*/ 279 w 780"/>
              <a:gd name="T39" fmla="*/ 11 h 676"/>
              <a:gd name="T40" fmla="*/ 279 w 780"/>
              <a:gd name="T41" fmla="*/ 85 h 676"/>
              <a:gd name="T42" fmla="*/ 324 w 780"/>
              <a:gd name="T43" fmla="*/ 140 h 676"/>
              <a:gd name="T44" fmla="*/ 157 w 780"/>
              <a:gd name="T45" fmla="*/ 105 h 676"/>
              <a:gd name="T46" fmla="*/ 542 w 780"/>
              <a:gd name="T47" fmla="*/ 8 h 676"/>
              <a:gd name="T48" fmla="*/ 419 w 780"/>
              <a:gd name="T49" fmla="*/ 98 h 676"/>
              <a:gd name="T50" fmla="*/ 551 w 780"/>
              <a:gd name="T51" fmla="*/ 98 h 676"/>
              <a:gd name="T52" fmla="*/ 432 w 780"/>
              <a:gd name="T53" fmla="*/ 98 h 676"/>
              <a:gd name="T54" fmla="*/ 530 w 780"/>
              <a:gd name="T55" fmla="*/ 143 h 676"/>
              <a:gd name="T56" fmla="*/ 463 w 780"/>
              <a:gd name="T57" fmla="*/ 129 h 676"/>
              <a:gd name="T58" fmla="*/ 528 w 780"/>
              <a:gd name="T59" fmla="*/ 147 h 676"/>
              <a:gd name="T60" fmla="*/ 639 w 780"/>
              <a:gd name="T61" fmla="*/ 147 h 676"/>
              <a:gd name="T62" fmla="*/ 639 w 780"/>
              <a:gd name="T63" fmla="*/ 8 h 676"/>
              <a:gd name="T64" fmla="*/ 613 w 780"/>
              <a:gd name="T65" fmla="*/ 137 h 676"/>
              <a:gd name="T66" fmla="*/ 22 w 780"/>
              <a:gd name="T67" fmla="*/ 413 h 676"/>
              <a:gd name="T68" fmla="*/ 85 w 780"/>
              <a:gd name="T69" fmla="*/ 387 h 676"/>
              <a:gd name="T70" fmla="*/ 13 w 780"/>
              <a:gd name="T71" fmla="*/ 288 h 676"/>
              <a:gd name="T72" fmla="*/ 546 w 780"/>
              <a:gd name="T73" fmla="*/ 519 h 676"/>
              <a:gd name="T74" fmla="*/ 478 w 780"/>
              <a:gd name="T75" fmla="*/ 542 h 676"/>
              <a:gd name="T76" fmla="*/ 488 w 780"/>
              <a:gd name="T77" fmla="*/ 541 h 676"/>
              <a:gd name="T78" fmla="*/ 763 w 780"/>
              <a:gd name="T79" fmla="*/ 413 h 676"/>
              <a:gd name="T80" fmla="*/ 763 w 780"/>
              <a:gd name="T81" fmla="*/ 251 h 676"/>
              <a:gd name="T82" fmla="*/ 679 w 780"/>
              <a:gd name="T83" fmla="*/ 261 h 676"/>
              <a:gd name="T84" fmla="*/ 770 w 780"/>
              <a:gd name="T85" fmla="*/ 378 h 676"/>
              <a:gd name="T86" fmla="*/ 695 w 780"/>
              <a:gd name="T87" fmla="*/ 397 h 676"/>
              <a:gd name="T88" fmla="*/ 737 w 780"/>
              <a:gd name="T89" fmla="*/ 397 h 676"/>
              <a:gd name="T90" fmla="*/ 716 w 780"/>
              <a:gd name="T91" fmla="*/ 397 h 676"/>
              <a:gd name="T92" fmla="*/ 250 w 780"/>
              <a:gd name="T93" fmla="*/ 504 h 676"/>
              <a:gd name="T94" fmla="*/ 179 w 780"/>
              <a:gd name="T95" fmla="*/ 524 h 676"/>
              <a:gd name="T96" fmla="*/ 187 w 780"/>
              <a:gd name="T97" fmla="*/ 676 h 676"/>
              <a:gd name="T98" fmla="*/ 253 w 780"/>
              <a:gd name="T99" fmla="*/ 527 h 676"/>
              <a:gd name="T100" fmla="*/ 196 w 780"/>
              <a:gd name="T101" fmla="*/ 642 h 676"/>
              <a:gd name="T102" fmla="*/ 253 w 780"/>
              <a:gd name="T103" fmla="*/ 626 h 676"/>
              <a:gd name="T104" fmla="*/ 249 w 780"/>
              <a:gd name="T105" fmla="*/ 630 h 676"/>
              <a:gd name="T106" fmla="*/ 191 w 780"/>
              <a:gd name="T107" fmla="*/ 604 h 676"/>
              <a:gd name="T108" fmla="*/ 246 w 780"/>
              <a:gd name="T109" fmla="*/ 542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0" h="676">
                <a:moveTo>
                  <a:pt x="572" y="322"/>
                </a:moveTo>
                <a:cubicBezTo>
                  <a:pt x="594" y="322"/>
                  <a:pt x="594" y="322"/>
                  <a:pt x="594" y="322"/>
                </a:cubicBezTo>
                <a:cubicBezTo>
                  <a:pt x="594" y="331"/>
                  <a:pt x="594" y="331"/>
                  <a:pt x="594" y="331"/>
                </a:cubicBezTo>
                <a:cubicBezTo>
                  <a:pt x="572" y="331"/>
                  <a:pt x="572" y="331"/>
                  <a:pt x="572" y="331"/>
                </a:cubicBezTo>
                <a:cubicBezTo>
                  <a:pt x="572" y="322"/>
                  <a:pt x="572" y="322"/>
                  <a:pt x="572" y="322"/>
                </a:cubicBezTo>
                <a:close/>
                <a:moveTo>
                  <a:pt x="615" y="322"/>
                </a:moveTo>
                <a:cubicBezTo>
                  <a:pt x="615" y="331"/>
                  <a:pt x="615" y="331"/>
                  <a:pt x="615" y="331"/>
                </a:cubicBezTo>
                <a:cubicBezTo>
                  <a:pt x="636" y="331"/>
                  <a:pt x="636" y="331"/>
                  <a:pt x="636" y="331"/>
                </a:cubicBezTo>
                <a:cubicBezTo>
                  <a:pt x="636" y="322"/>
                  <a:pt x="636" y="322"/>
                  <a:pt x="636" y="322"/>
                </a:cubicBezTo>
                <a:cubicBezTo>
                  <a:pt x="615" y="322"/>
                  <a:pt x="615" y="322"/>
                  <a:pt x="615" y="322"/>
                </a:cubicBezTo>
                <a:close/>
                <a:moveTo>
                  <a:pt x="117" y="322"/>
                </a:moveTo>
                <a:cubicBezTo>
                  <a:pt x="117" y="331"/>
                  <a:pt x="117" y="331"/>
                  <a:pt x="117" y="331"/>
                </a:cubicBezTo>
                <a:cubicBezTo>
                  <a:pt x="138" y="331"/>
                  <a:pt x="138" y="331"/>
                  <a:pt x="138" y="331"/>
                </a:cubicBezTo>
                <a:cubicBezTo>
                  <a:pt x="138" y="322"/>
                  <a:pt x="138" y="322"/>
                  <a:pt x="138" y="322"/>
                </a:cubicBezTo>
                <a:cubicBezTo>
                  <a:pt x="117" y="322"/>
                  <a:pt x="117" y="322"/>
                  <a:pt x="117" y="322"/>
                </a:cubicBezTo>
                <a:close/>
                <a:moveTo>
                  <a:pt x="159" y="322"/>
                </a:moveTo>
                <a:cubicBezTo>
                  <a:pt x="159" y="331"/>
                  <a:pt x="159" y="331"/>
                  <a:pt x="159" y="331"/>
                </a:cubicBezTo>
                <a:cubicBezTo>
                  <a:pt x="182" y="331"/>
                  <a:pt x="182" y="331"/>
                  <a:pt x="182" y="331"/>
                </a:cubicBezTo>
                <a:cubicBezTo>
                  <a:pt x="182" y="322"/>
                  <a:pt x="182" y="322"/>
                  <a:pt x="182" y="322"/>
                </a:cubicBezTo>
                <a:cubicBezTo>
                  <a:pt x="159" y="322"/>
                  <a:pt x="159" y="322"/>
                  <a:pt x="159" y="322"/>
                </a:cubicBezTo>
                <a:close/>
                <a:moveTo>
                  <a:pt x="276" y="190"/>
                </a:moveTo>
                <a:cubicBezTo>
                  <a:pt x="285" y="186"/>
                  <a:pt x="285" y="186"/>
                  <a:pt x="285" y="186"/>
                </a:cubicBezTo>
                <a:cubicBezTo>
                  <a:pt x="273" y="168"/>
                  <a:pt x="273" y="168"/>
                  <a:pt x="273" y="168"/>
                </a:cubicBezTo>
                <a:cubicBezTo>
                  <a:pt x="265" y="173"/>
                  <a:pt x="265" y="173"/>
                  <a:pt x="265" y="173"/>
                </a:cubicBezTo>
                <a:cubicBezTo>
                  <a:pt x="276" y="190"/>
                  <a:pt x="276" y="190"/>
                  <a:pt x="276" y="190"/>
                </a:cubicBezTo>
                <a:cubicBezTo>
                  <a:pt x="276" y="190"/>
                  <a:pt x="276" y="190"/>
                  <a:pt x="276" y="190"/>
                </a:cubicBezTo>
                <a:close/>
                <a:moveTo>
                  <a:pt x="298" y="227"/>
                </a:moveTo>
                <a:cubicBezTo>
                  <a:pt x="306" y="223"/>
                  <a:pt x="306" y="223"/>
                  <a:pt x="306" y="223"/>
                </a:cubicBezTo>
                <a:cubicBezTo>
                  <a:pt x="295" y="205"/>
                  <a:pt x="295" y="205"/>
                  <a:pt x="295" y="205"/>
                </a:cubicBezTo>
                <a:cubicBezTo>
                  <a:pt x="288" y="209"/>
                  <a:pt x="288" y="209"/>
                  <a:pt x="288" y="209"/>
                </a:cubicBezTo>
                <a:cubicBezTo>
                  <a:pt x="298" y="227"/>
                  <a:pt x="298" y="227"/>
                  <a:pt x="298" y="227"/>
                </a:cubicBezTo>
                <a:cubicBezTo>
                  <a:pt x="298" y="227"/>
                  <a:pt x="298" y="227"/>
                  <a:pt x="298" y="227"/>
                </a:cubicBezTo>
                <a:close/>
                <a:moveTo>
                  <a:pt x="452" y="227"/>
                </a:moveTo>
                <a:cubicBezTo>
                  <a:pt x="463" y="209"/>
                  <a:pt x="463" y="209"/>
                  <a:pt x="463" y="209"/>
                </a:cubicBezTo>
                <a:cubicBezTo>
                  <a:pt x="455" y="205"/>
                  <a:pt x="455" y="205"/>
                  <a:pt x="455" y="205"/>
                </a:cubicBezTo>
                <a:cubicBezTo>
                  <a:pt x="445" y="223"/>
                  <a:pt x="445" y="223"/>
                  <a:pt x="445" y="223"/>
                </a:cubicBezTo>
                <a:cubicBezTo>
                  <a:pt x="452" y="227"/>
                  <a:pt x="452" y="227"/>
                  <a:pt x="452" y="227"/>
                </a:cubicBezTo>
                <a:cubicBezTo>
                  <a:pt x="452" y="227"/>
                  <a:pt x="452" y="227"/>
                  <a:pt x="452" y="227"/>
                </a:cubicBezTo>
                <a:close/>
                <a:moveTo>
                  <a:pt x="475" y="190"/>
                </a:moveTo>
                <a:cubicBezTo>
                  <a:pt x="485" y="173"/>
                  <a:pt x="485" y="173"/>
                  <a:pt x="485" y="173"/>
                </a:cubicBezTo>
                <a:cubicBezTo>
                  <a:pt x="478" y="168"/>
                  <a:pt x="478" y="168"/>
                  <a:pt x="478" y="168"/>
                </a:cubicBezTo>
                <a:cubicBezTo>
                  <a:pt x="467" y="186"/>
                  <a:pt x="467" y="186"/>
                  <a:pt x="467" y="186"/>
                </a:cubicBezTo>
                <a:cubicBezTo>
                  <a:pt x="475" y="190"/>
                  <a:pt x="475" y="190"/>
                  <a:pt x="475" y="190"/>
                </a:cubicBezTo>
                <a:cubicBezTo>
                  <a:pt x="475" y="190"/>
                  <a:pt x="475" y="190"/>
                  <a:pt x="475" y="190"/>
                </a:cubicBezTo>
                <a:close/>
                <a:moveTo>
                  <a:pt x="288" y="460"/>
                </a:moveTo>
                <a:cubicBezTo>
                  <a:pt x="295" y="464"/>
                  <a:pt x="295" y="464"/>
                  <a:pt x="295" y="464"/>
                </a:cubicBezTo>
                <a:cubicBezTo>
                  <a:pt x="306" y="445"/>
                  <a:pt x="306" y="445"/>
                  <a:pt x="306" y="445"/>
                </a:cubicBezTo>
                <a:cubicBezTo>
                  <a:pt x="298" y="441"/>
                  <a:pt x="298" y="441"/>
                  <a:pt x="298" y="441"/>
                </a:cubicBezTo>
                <a:cubicBezTo>
                  <a:pt x="288" y="460"/>
                  <a:pt x="288" y="460"/>
                  <a:pt x="288" y="460"/>
                </a:cubicBezTo>
                <a:cubicBezTo>
                  <a:pt x="288" y="460"/>
                  <a:pt x="288" y="460"/>
                  <a:pt x="288" y="460"/>
                </a:cubicBezTo>
                <a:close/>
                <a:moveTo>
                  <a:pt x="265" y="496"/>
                </a:moveTo>
                <a:cubicBezTo>
                  <a:pt x="273" y="501"/>
                  <a:pt x="273" y="501"/>
                  <a:pt x="273" y="501"/>
                </a:cubicBezTo>
                <a:cubicBezTo>
                  <a:pt x="285" y="482"/>
                  <a:pt x="285" y="482"/>
                  <a:pt x="285" y="482"/>
                </a:cubicBezTo>
                <a:cubicBezTo>
                  <a:pt x="276" y="477"/>
                  <a:pt x="276" y="477"/>
                  <a:pt x="276" y="477"/>
                </a:cubicBezTo>
                <a:cubicBezTo>
                  <a:pt x="265" y="496"/>
                  <a:pt x="265" y="496"/>
                  <a:pt x="265" y="496"/>
                </a:cubicBezTo>
                <a:cubicBezTo>
                  <a:pt x="265" y="496"/>
                  <a:pt x="265" y="496"/>
                  <a:pt x="265" y="496"/>
                </a:cubicBezTo>
                <a:close/>
                <a:moveTo>
                  <a:pt x="475" y="477"/>
                </a:moveTo>
                <a:cubicBezTo>
                  <a:pt x="467" y="482"/>
                  <a:pt x="467" y="482"/>
                  <a:pt x="467" y="482"/>
                </a:cubicBezTo>
                <a:cubicBezTo>
                  <a:pt x="478" y="501"/>
                  <a:pt x="478" y="501"/>
                  <a:pt x="478" y="501"/>
                </a:cubicBezTo>
                <a:cubicBezTo>
                  <a:pt x="485" y="496"/>
                  <a:pt x="485" y="496"/>
                  <a:pt x="485" y="496"/>
                </a:cubicBezTo>
                <a:cubicBezTo>
                  <a:pt x="475" y="477"/>
                  <a:pt x="475" y="477"/>
                  <a:pt x="475" y="477"/>
                </a:cubicBezTo>
                <a:cubicBezTo>
                  <a:pt x="475" y="477"/>
                  <a:pt x="475" y="477"/>
                  <a:pt x="475" y="477"/>
                </a:cubicBezTo>
                <a:close/>
                <a:moveTo>
                  <a:pt x="445" y="445"/>
                </a:moveTo>
                <a:cubicBezTo>
                  <a:pt x="455" y="464"/>
                  <a:pt x="455" y="464"/>
                  <a:pt x="455" y="464"/>
                </a:cubicBezTo>
                <a:cubicBezTo>
                  <a:pt x="463" y="460"/>
                  <a:pt x="463" y="460"/>
                  <a:pt x="463" y="460"/>
                </a:cubicBezTo>
                <a:cubicBezTo>
                  <a:pt x="452" y="441"/>
                  <a:pt x="452" y="441"/>
                  <a:pt x="452" y="441"/>
                </a:cubicBezTo>
                <a:cubicBezTo>
                  <a:pt x="445" y="445"/>
                  <a:pt x="445" y="445"/>
                  <a:pt x="445" y="445"/>
                </a:cubicBezTo>
                <a:cubicBezTo>
                  <a:pt x="445" y="445"/>
                  <a:pt x="445" y="445"/>
                  <a:pt x="445" y="445"/>
                </a:cubicBezTo>
                <a:close/>
                <a:moveTo>
                  <a:pt x="494" y="392"/>
                </a:moveTo>
                <a:cubicBezTo>
                  <a:pt x="522" y="392"/>
                  <a:pt x="545" y="369"/>
                  <a:pt x="545" y="341"/>
                </a:cubicBezTo>
                <a:cubicBezTo>
                  <a:pt x="545" y="312"/>
                  <a:pt x="522" y="289"/>
                  <a:pt x="494" y="289"/>
                </a:cubicBezTo>
                <a:cubicBezTo>
                  <a:pt x="491" y="289"/>
                  <a:pt x="488" y="289"/>
                  <a:pt x="486" y="290"/>
                </a:cubicBezTo>
                <a:cubicBezTo>
                  <a:pt x="475" y="259"/>
                  <a:pt x="446" y="238"/>
                  <a:pt x="411" y="238"/>
                </a:cubicBezTo>
                <a:cubicBezTo>
                  <a:pt x="389" y="238"/>
                  <a:pt x="369" y="247"/>
                  <a:pt x="354" y="262"/>
                </a:cubicBezTo>
                <a:cubicBezTo>
                  <a:pt x="345" y="255"/>
                  <a:pt x="332" y="250"/>
                  <a:pt x="319" y="250"/>
                </a:cubicBezTo>
                <a:cubicBezTo>
                  <a:pt x="286" y="250"/>
                  <a:pt x="260" y="274"/>
                  <a:pt x="256" y="305"/>
                </a:cubicBezTo>
                <a:cubicBezTo>
                  <a:pt x="253" y="304"/>
                  <a:pt x="249" y="304"/>
                  <a:pt x="246" y="304"/>
                </a:cubicBezTo>
                <a:cubicBezTo>
                  <a:pt x="224" y="304"/>
                  <a:pt x="207" y="321"/>
                  <a:pt x="207" y="343"/>
                </a:cubicBezTo>
                <a:cubicBezTo>
                  <a:pt x="207" y="364"/>
                  <a:pt x="224" y="382"/>
                  <a:pt x="246" y="382"/>
                </a:cubicBezTo>
                <a:cubicBezTo>
                  <a:pt x="251" y="382"/>
                  <a:pt x="256" y="381"/>
                  <a:pt x="261" y="379"/>
                </a:cubicBezTo>
                <a:cubicBezTo>
                  <a:pt x="264" y="400"/>
                  <a:pt x="282" y="416"/>
                  <a:pt x="304" y="416"/>
                </a:cubicBezTo>
                <a:cubicBezTo>
                  <a:pt x="314" y="416"/>
                  <a:pt x="323" y="413"/>
                  <a:pt x="330" y="407"/>
                </a:cubicBezTo>
                <a:cubicBezTo>
                  <a:pt x="338" y="424"/>
                  <a:pt x="354" y="435"/>
                  <a:pt x="374" y="435"/>
                </a:cubicBezTo>
                <a:cubicBezTo>
                  <a:pt x="390" y="435"/>
                  <a:pt x="404" y="427"/>
                  <a:pt x="412" y="415"/>
                </a:cubicBezTo>
                <a:cubicBezTo>
                  <a:pt x="419" y="420"/>
                  <a:pt x="428" y="423"/>
                  <a:pt x="437" y="423"/>
                </a:cubicBezTo>
                <a:cubicBezTo>
                  <a:pt x="457" y="423"/>
                  <a:pt x="474" y="408"/>
                  <a:pt x="477" y="388"/>
                </a:cubicBezTo>
                <a:cubicBezTo>
                  <a:pt x="481" y="390"/>
                  <a:pt x="488" y="392"/>
                  <a:pt x="494" y="392"/>
                </a:cubicBezTo>
                <a:moveTo>
                  <a:pt x="279" y="0"/>
                </a:moveTo>
                <a:cubicBezTo>
                  <a:pt x="288" y="0"/>
                  <a:pt x="297" y="8"/>
                  <a:pt x="297" y="19"/>
                </a:cubicBezTo>
                <a:cubicBezTo>
                  <a:pt x="297" y="19"/>
                  <a:pt x="297" y="19"/>
                  <a:pt x="297" y="78"/>
                </a:cubicBezTo>
                <a:cubicBezTo>
                  <a:pt x="297" y="88"/>
                  <a:pt x="288" y="96"/>
                  <a:pt x="279" y="96"/>
                </a:cubicBezTo>
                <a:cubicBezTo>
                  <a:pt x="279" y="96"/>
                  <a:pt x="279" y="96"/>
                  <a:pt x="177" y="96"/>
                </a:cubicBezTo>
                <a:cubicBezTo>
                  <a:pt x="167" y="96"/>
                  <a:pt x="159" y="88"/>
                  <a:pt x="159" y="78"/>
                </a:cubicBezTo>
                <a:cubicBezTo>
                  <a:pt x="159" y="78"/>
                  <a:pt x="159" y="78"/>
                  <a:pt x="159" y="19"/>
                </a:cubicBezTo>
                <a:cubicBezTo>
                  <a:pt x="159" y="8"/>
                  <a:pt x="167" y="0"/>
                  <a:pt x="177" y="0"/>
                </a:cubicBezTo>
                <a:cubicBezTo>
                  <a:pt x="177" y="0"/>
                  <a:pt x="177" y="0"/>
                  <a:pt x="279" y="0"/>
                </a:cubicBezTo>
                <a:moveTo>
                  <a:pt x="286" y="78"/>
                </a:moveTo>
                <a:cubicBezTo>
                  <a:pt x="286" y="78"/>
                  <a:pt x="286" y="78"/>
                  <a:pt x="286" y="78"/>
                </a:cubicBezTo>
                <a:cubicBezTo>
                  <a:pt x="286" y="19"/>
                  <a:pt x="286" y="19"/>
                  <a:pt x="286" y="19"/>
                </a:cubicBezTo>
                <a:cubicBezTo>
                  <a:pt x="286" y="15"/>
                  <a:pt x="283" y="11"/>
                  <a:pt x="279" y="11"/>
                </a:cubicBezTo>
                <a:cubicBezTo>
                  <a:pt x="279" y="11"/>
                  <a:pt x="279" y="11"/>
                  <a:pt x="177" y="11"/>
                </a:cubicBezTo>
                <a:cubicBezTo>
                  <a:pt x="173" y="11"/>
                  <a:pt x="169" y="15"/>
                  <a:pt x="169" y="19"/>
                </a:cubicBezTo>
                <a:cubicBezTo>
                  <a:pt x="169" y="19"/>
                  <a:pt x="169" y="19"/>
                  <a:pt x="169" y="78"/>
                </a:cubicBezTo>
                <a:cubicBezTo>
                  <a:pt x="169" y="82"/>
                  <a:pt x="173" y="85"/>
                  <a:pt x="177" y="85"/>
                </a:cubicBezTo>
                <a:cubicBezTo>
                  <a:pt x="177" y="85"/>
                  <a:pt x="177" y="85"/>
                  <a:pt x="279" y="85"/>
                </a:cubicBezTo>
                <a:cubicBezTo>
                  <a:pt x="283" y="85"/>
                  <a:pt x="286" y="82"/>
                  <a:pt x="286" y="78"/>
                </a:cubicBezTo>
                <a:close/>
                <a:moveTo>
                  <a:pt x="137" y="147"/>
                </a:moveTo>
                <a:cubicBezTo>
                  <a:pt x="319" y="147"/>
                  <a:pt x="319" y="147"/>
                  <a:pt x="319" y="147"/>
                </a:cubicBezTo>
                <a:cubicBezTo>
                  <a:pt x="322" y="147"/>
                  <a:pt x="324" y="145"/>
                  <a:pt x="324" y="142"/>
                </a:cubicBezTo>
                <a:cubicBezTo>
                  <a:pt x="324" y="140"/>
                  <a:pt x="324" y="140"/>
                  <a:pt x="324" y="140"/>
                </a:cubicBezTo>
                <a:cubicBezTo>
                  <a:pt x="324" y="137"/>
                  <a:pt x="322" y="133"/>
                  <a:pt x="321" y="131"/>
                </a:cubicBezTo>
                <a:cubicBezTo>
                  <a:pt x="299" y="105"/>
                  <a:pt x="299" y="105"/>
                  <a:pt x="299" y="105"/>
                </a:cubicBezTo>
                <a:cubicBezTo>
                  <a:pt x="297" y="103"/>
                  <a:pt x="294" y="102"/>
                  <a:pt x="291" y="102"/>
                </a:cubicBezTo>
                <a:cubicBezTo>
                  <a:pt x="165" y="102"/>
                  <a:pt x="165" y="102"/>
                  <a:pt x="165" y="102"/>
                </a:cubicBezTo>
                <a:cubicBezTo>
                  <a:pt x="162" y="102"/>
                  <a:pt x="159" y="103"/>
                  <a:pt x="157" y="105"/>
                </a:cubicBezTo>
                <a:cubicBezTo>
                  <a:pt x="135" y="131"/>
                  <a:pt x="135" y="131"/>
                  <a:pt x="135" y="131"/>
                </a:cubicBezTo>
                <a:cubicBezTo>
                  <a:pt x="134" y="133"/>
                  <a:pt x="132" y="137"/>
                  <a:pt x="132" y="140"/>
                </a:cubicBezTo>
                <a:cubicBezTo>
                  <a:pt x="132" y="142"/>
                  <a:pt x="132" y="142"/>
                  <a:pt x="132" y="142"/>
                </a:cubicBezTo>
                <a:cubicBezTo>
                  <a:pt x="132" y="145"/>
                  <a:pt x="134" y="147"/>
                  <a:pt x="137" y="147"/>
                </a:cubicBezTo>
                <a:moveTo>
                  <a:pt x="542" y="8"/>
                </a:moveTo>
                <a:cubicBezTo>
                  <a:pt x="553" y="8"/>
                  <a:pt x="563" y="17"/>
                  <a:pt x="563" y="29"/>
                </a:cubicBezTo>
                <a:cubicBezTo>
                  <a:pt x="563" y="29"/>
                  <a:pt x="563" y="29"/>
                  <a:pt x="563" y="98"/>
                </a:cubicBezTo>
                <a:cubicBezTo>
                  <a:pt x="563" y="110"/>
                  <a:pt x="553" y="120"/>
                  <a:pt x="542" y="120"/>
                </a:cubicBezTo>
                <a:cubicBezTo>
                  <a:pt x="542" y="120"/>
                  <a:pt x="542" y="120"/>
                  <a:pt x="441" y="120"/>
                </a:cubicBezTo>
                <a:cubicBezTo>
                  <a:pt x="429" y="120"/>
                  <a:pt x="419" y="110"/>
                  <a:pt x="419" y="98"/>
                </a:cubicBezTo>
                <a:cubicBezTo>
                  <a:pt x="419" y="98"/>
                  <a:pt x="419" y="98"/>
                  <a:pt x="419" y="29"/>
                </a:cubicBezTo>
                <a:cubicBezTo>
                  <a:pt x="419" y="17"/>
                  <a:pt x="429" y="8"/>
                  <a:pt x="441" y="8"/>
                </a:cubicBezTo>
                <a:cubicBezTo>
                  <a:pt x="441" y="8"/>
                  <a:pt x="441" y="8"/>
                  <a:pt x="542" y="8"/>
                </a:cubicBezTo>
                <a:moveTo>
                  <a:pt x="551" y="98"/>
                </a:moveTo>
                <a:cubicBezTo>
                  <a:pt x="551" y="98"/>
                  <a:pt x="551" y="98"/>
                  <a:pt x="551" y="98"/>
                </a:cubicBezTo>
                <a:cubicBezTo>
                  <a:pt x="551" y="29"/>
                  <a:pt x="551" y="29"/>
                  <a:pt x="551" y="29"/>
                </a:cubicBezTo>
                <a:cubicBezTo>
                  <a:pt x="551" y="24"/>
                  <a:pt x="546" y="20"/>
                  <a:pt x="542" y="20"/>
                </a:cubicBezTo>
                <a:cubicBezTo>
                  <a:pt x="542" y="20"/>
                  <a:pt x="542" y="20"/>
                  <a:pt x="441" y="20"/>
                </a:cubicBezTo>
                <a:cubicBezTo>
                  <a:pt x="436" y="20"/>
                  <a:pt x="432" y="24"/>
                  <a:pt x="432" y="29"/>
                </a:cubicBezTo>
                <a:cubicBezTo>
                  <a:pt x="432" y="29"/>
                  <a:pt x="432" y="29"/>
                  <a:pt x="432" y="98"/>
                </a:cubicBezTo>
                <a:cubicBezTo>
                  <a:pt x="432" y="103"/>
                  <a:pt x="436" y="107"/>
                  <a:pt x="441" y="107"/>
                </a:cubicBezTo>
                <a:cubicBezTo>
                  <a:pt x="441" y="107"/>
                  <a:pt x="441" y="107"/>
                  <a:pt x="542" y="107"/>
                </a:cubicBezTo>
                <a:cubicBezTo>
                  <a:pt x="546" y="107"/>
                  <a:pt x="551" y="103"/>
                  <a:pt x="551" y="98"/>
                </a:cubicBezTo>
                <a:close/>
                <a:moveTo>
                  <a:pt x="530" y="145"/>
                </a:moveTo>
                <a:cubicBezTo>
                  <a:pt x="530" y="143"/>
                  <a:pt x="530" y="143"/>
                  <a:pt x="530" y="143"/>
                </a:cubicBezTo>
                <a:cubicBezTo>
                  <a:pt x="530" y="143"/>
                  <a:pt x="529" y="141"/>
                  <a:pt x="529" y="140"/>
                </a:cubicBezTo>
                <a:cubicBezTo>
                  <a:pt x="519" y="129"/>
                  <a:pt x="519" y="129"/>
                  <a:pt x="519" y="129"/>
                </a:cubicBezTo>
                <a:cubicBezTo>
                  <a:pt x="518" y="128"/>
                  <a:pt x="517" y="127"/>
                  <a:pt x="516" y="127"/>
                </a:cubicBezTo>
                <a:cubicBezTo>
                  <a:pt x="467" y="127"/>
                  <a:pt x="467" y="127"/>
                  <a:pt x="467" y="127"/>
                </a:cubicBezTo>
                <a:cubicBezTo>
                  <a:pt x="466" y="127"/>
                  <a:pt x="464" y="128"/>
                  <a:pt x="463" y="129"/>
                </a:cubicBezTo>
                <a:cubicBezTo>
                  <a:pt x="454" y="140"/>
                  <a:pt x="454" y="140"/>
                  <a:pt x="454" y="140"/>
                </a:cubicBezTo>
                <a:cubicBezTo>
                  <a:pt x="453" y="141"/>
                  <a:pt x="452" y="143"/>
                  <a:pt x="452" y="143"/>
                </a:cubicBezTo>
                <a:cubicBezTo>
                  <a:pt x="452" y="145"/>
                  <a:pt x="452" y="145"/>
                  <a:pt x="452" y="145"/>
                </a:cubicBezTo>
                <a:cubicBezTo>
                  <a:pt x="452" y="145"/>
                  <a:pt x="453" y="147"/>
                  <a:pt x="454" y="147"/>
                </a:cubicBezTo>
                <a:cubicBezTo>
                  <a:pt x="528" y="147"/>
                  <a:pt x="528" y="147"/>
                  <a:pt x="528" y="147"/>
                </a:cubicBezTo>
                <a:cubicBezTo>
                  <a:pt x="529" y="147"/>
                  <a:pt x="530" y="145"/>
                  <a:pt x="530" y="145"/>
                </a:cubicBezTo>
                <a:moveTo>
                  <a:pt x="639" y="8"/>
                </a:moveTo>
                <a:cubicBezTo>
                  <a:pt x="644" y="8"/>
                  <a:pt x="648" y="12"/>
                  <a:pt x="648" y="17"/>
                </a:cubicBezTo>
                <a:cubicBezTo>
                  <a:pt x="648" y="17"/>
                  <a:pt x="648" y="17"/>
                  <a:pt x="648" y="137"/>
                </a:cubicBezTo>
                <a:cubicBezTo>
                  <a:pt x="648" y="143"/>
                  <a:pt x="644" y="147"/>
                  <a:pt x="639" y="147"/>
                </a:cubicBezTo>
                <a:cubicBezTo>
                  <a:pt x="639" y="147"/>
                  <a:pt x="639" y="147"/>
                  <a:pt x="586" y="147"/>
                </a:cubicBezTo>
                <a:cubicBezTo>
                  <a:pt x="581" y="147"/>
                  <a:pt x="577" y="143"/>
                  <a:pt x="577" y="137"/>
                </a:cubicBezTo>
                <a:cubicBezTo>
                  <a:pt x="577" y="137"/>
                  <a:pt x="577" y="137"/>
                  <a:pt x="577" y="17"/>
                </a:cubicBezTo>
                <a:cubicBezTo>
                  <a:pt x="577" y="12"/>
                  <a:pt x="581" y="8"/>
                  <a:pt x="586" y="8"/>
                </a:cubicBezTo>
                <a:cubicBezTo>
                  <a:pt x="586" y="8"/>
                  <a:pt x="586" y="8"/>
                  <a:pt x="639" y="8"/>
                </a:cubicBezTo>
                <a:moveTo>
                  <a:pt x="613" y="137"/>
                </a:moveTo>
                <a:cubicBezTo>
                  <a:pt x="617" y="137"/>
                  <a:pt x="620" y="133"/>
                  <a:pt x="620" y="129"/>
                </a:cubicBezTo>
                <a:cubicBezTo>
                  <a:pt x="620" y="124"/>
                  <a:pt x="617" y="120"/>
                  <a:pt x="613" y="120"/>
                </a:cubicBezTo>
                <a:cubicBezTo>
                  <a:pt x="608" y="120"/>
                  <a:pt x="604" y="124"/>
                  <a:pt x="604" y="129"/>
                </a:cubicBezTo>
                <a:cubicBezTo>
                  <a:pt x="604" y="133"/>
                  <a:pt x="608" y="137"/>
                  <a:pt x="613" y="137"/>
                </a:cubicBezTo>
                <a:moveTo>
                  <a:pt x="76" y="263"/>
                </a:moveTo>
                <a:cubicBezTo>
                  <a:pt x="88" y="263"/>
                  <a:pt x="98" y="272"/>
                  <a:pt x="98" y="284"/>
                </a:cubicBezTo>
                <a:cubicBezTo>
                  <a:pt x="98" y="284"/>
                  <a:pt x="98" y="284"/>
                  <a:pt x="98" y="391"/>
                </a:cubicBezTo>
                <a:cubicBezTo>
                  <a:pt x="98" y="403"/>
                  <a:pt x="88" y="413"/>
                  <a:pt x="76" y="413"/>
                </a:cubicBezTo>
                <a:cubicBezTo>
                  <a:pt x="76" y="413"/>
                  <a:pt x="76" y="413"/>
                  <a:pt x="22" y="413"/>
                </a:cubicBezTo>
                <a:cubicBezTo>
                  <a:pt x="10" y="413"/>
                  <a:pt x="0" y="403"/>
                  <a:pt x="0" y="391"/>
                </a:cubicBezTo>
                <a:cubicBezTo>
                  <a:pt x="0" y="391"/>
                  <a:pt x="0" y="391"/>
                  <a:pt x="0" y="284"/>
                </a:cubicBezTo>
                <a:cubicBezTo>
                  <a:pt x="0" y="272"/>
                  <a:pt x="10" y="263"/>
                  <a:pt x="22" y="263"/>
                </a:cubicBezTo>
                <a:cubicBezTo>
                  <a:pt x="22" y="263"/>
                  <a:pt x="22" y="263"/>
                  <a:pt x="76" y="263"/>
                </a:cubicBezTo>
                <a:moveTo>
                  <a:pt x="85" y="387"/>
                </a:moveTo>
                <a:cubicBezTo>
                  <a:pt x="85" y="387"/>
                  <a:pt x="85" y="387"/>
                  <a:pt x="85" y="387"/>
                </a:cubicBezTo>
                <a:cubicBezTo>
                  <a:pt x="85" y="288"/>
                  <a:pt x="85" y="288"/>
                  <a:pt x="85" y="288"/>
                </a:cubicBezTo>
                <a:cubicBezTo>
                  <a:pt x="85" y="281"/>
                  <a:pt x="81" y="276"/>
                  <a:pt x="76" y="276"/>
                </a:cubicBezTo>
                <a:cubicBezTo>
                  <a:pt x="76" y="276"/>
                  <a:pt x="76" y="276"/>
                  <a:pt x="22" y="276"/>
                </a:cubicBezTo>
                <a:cubicBezTo>
                  <a:pt x="17" y="276"/>
                  <a:pt x="13" y="281"/>
                  <a:pt x="13" y="288"/>
                </a:cubicBezTo>
                <a:cubicBezTo>
                  <a:pt x="13" y="288"/>
                  <a:pt x="13" y="288"/>
                  <a:pt x="13" y="387"/>
                </a:cubicBezTo>
                <a:cubicBezTo>
                  <a:pt x="13" y="394"/>
                  <a:pt x="17" y="399"/>
                  <a:pt x="22" y="399"/>
                </a:cubicBezTo>
                <a:cubicBezTo>
                  <a:pt x="22" y="399"/>
                  <a:pt x="22" y="399"/>
                  <a:pt x="76" y="399"/>
                </a:cubicBezTo>
                <a:cubicBezTo>
                  <a:pt x="81" y="399"/>
                  <a:pt x="85" y="394"/>
                  <a:pt x="85" y="387"/>
                </a:cubicBezTo>
                <a:close/>
                <a:moveTo>
                  <a:pt x="546" y="519"/>
                </a:moveTo>
                <a:cubicBezTo>
                  <a:pt x="571" y="519"/>
                  <a:pt x="614" y="524"/>
                  <a:pt x="614" y="542"/>
                </a:cubicBezTo>
                <a:cubicBezTo>
                  <a:pt x="614" y="542"/>
                  <a:pt x="614" y="542"/>
                  <a:pt x="614" y="654"/>
                </a:cubicBezTo>
                <a:cubicBezTo>
                  <a:pt x="614" y="672"/>
                  <a:pt x="571" y="676"/>
                  <a:pt x="546" y="676"/>
                </a:cubicBezTo>
                <a:cubicBezTo>
                  <a:pt x="521" y="676"/>
                  <a:pt x="478" y="672"/>
                  <a:pt x="478" y="654"/>
                </a:cubicBezTo>
                <a:cubicBezTo>
                  <a:pt x="478" y="654"/>
                  <a:pt x="478" y="654"/>
                  <a:pt x="478" y="542"/>
                </a:cubicBezTo>
                <a:cubicBezTo>
                  <a:pt x="478" y="524"/>
                  <a:pt x="521" y="519"/>
                  <a:pt x="546" y="519"/>
                </a:cubicBezTo>
                <a:moveTo>
                  <a:pt x="546" y="557"/>
                </a:moveTo>
                <a:cubicBezTo>
                  <a:pt x="577" y="557"/>
                  <a:pt x="604" y="550"/>
                  <a:pt x="604" y="541"/>
                </a:cubicBezTo>
                <a:cubicBezTo>
                  <a:pt x="604" y="533"/>
                  <a:pt x="577" y="526"/>
                  <a:pt x="546" y="526"/>
                </a:cubicBezTo>
                <a:cubicBezTo>
                  <a:pt x="514" y="526"/>
                  <a:pt x="488" y="533"/>
                  <a:pt x="488" y="541"/>
                </a:cubicBezTo>
                <a:cubicBezTo>
                  <a:pt x="488" y="550"/>
                  <a:pt x="514" y="557"/>
                  <a:pt x="546" y="557"/>
                </a:cubicBezTo>
                <a:moveTo>
                  <a:pt x="763" y="251"/>
                </a:moveTo>
                <a:cubicBezTo>
                  <a:pt x="772" y="251"/>
                  <a:pt x="780" y="259"/>
                  <a:pt x="780" y="269"/>
                </a:cubicBezTo>
                <a:cubicBezTo>
                  <a:pt x="780" y="269"/>
                  <a:pt x="780" y="269"/>
                  <a:pt x="780" y="396"/>
                </a:cubicBezTo>
                <a:cubicBezTo>
                  <a:pt x="780" y="405"/>
                  <a:pt x="772" y="413"/>
                  <a:pt x="763" y="413"/>
                </a:cubicBezTo>
                <a:cubicBezTo>
                  <a:pt x="763" y="413"/>
                  <a:pt x="763" y="413"/>
                  <a:pt x="679" y="413"/>
                </a:cubicBezTo>
                <a:cubicBezTo>
                  <a:pt x="669" y="413"/>
                  <a:pt x="662" y="405"/>
                  <a:pt x="662" y="396"/>
                </a:cubicBezTo>
                <a:cubicBezTo>
                  <a:pt x="662" y="396"/>
                  <a:pt x="662" y="396"/>
                  <a:pt x="662" y="269"/>
                </a:cubicBezTo>
                <a:cubicBezTo>
                  <a:pt x="662" y="259"/>
                  <a:pt x="669" y="251"/>
                  <a:pt x="679" y="251"/>
                </a:cubicBezTo>
                <a:cubicBezTo>
                  <a:pt x="679" y="251"/>
                  <a:pt x="679" y="251"/>
                  <a:pt x="763" y="251"/>
                </a:cubicBezTo>
                <a:moveTo>
                  <a:pt x="770" y="378"/>
                </a:moveTo>
                <a:cubicBezTo>
                  <a:pt x="770" y="378"/>
                  <a:pt x="770" y="378"/>
                  <a:pt x="770" y="378"/>
                </a:cubicBezTo>
                <a:cubicBezTo>
                  <a:pt x="770" y="269"/>
                  <a:pt x="770" y="269"/>
                  <a:pt x="770" y="269"/>
                </a:cubicBezTo>
                <a:cubicBezTo>
                  <a:pt x="770" y="265"/>
                  <a:pt x="767" y="261"/>
                  <a:pt x="763" y="261"/>
                </a:cubicBezTo>
                <a:cubicBezTo>
                  <a:pt x="763" y="261"/>
                  <a:pt x="763" y="261"/>
                  <a:pt x="679" y="261"/>
                </a:cubicBezTo>
                <a:cubicBezTo>
                  <a:pt x="675" y="261"/>
                  <a:pt x="672" y="265"/>
                  <a:pt x="672" y="269"/>
                </a:cubicBezTo>
                <a:cubicBezTo>
                  <a:pt x="672" y="269"/>
                  <a:pt x="672" y="269"/>
                  <a:pt x="672" y="378"/>
                </a:cubicBezTo>
                <a:cubicBezTo>
                  <a:pt x="672" y="381"/>
                  <a:pt x="675" y="385"/>
                  <a:pt x="679" y="385"/>
                </a:cubicBezTo>
                <a:cubicBezTo>
                  <a:pt x="679" y="385"/>
                  <a:pt x="679" y="385"/>
                  <a:pt x="763" y="385"/>
                </a:cubicBezTo>
                <a:cubicBezTo>
                  <a:pt x="767" y="385"/>
                  <a:pt x="770" y="381"/>
                  <a:pt x="770" y="378"/>
                </a:cubicBezTo>
                <a:close/>
                <a:moveTo>
                  <a:pt x="695" y="397"/>
                </a:moveTo>
                <a:cubicBezTo>
                  <a:pt x="695" y="399"/>
                  <a:pt x="697" y="401"/>
                  <a:pt x="699" y="401"/>
                </a:cubicBezTo>
                <a:cubicBezTo>
                  <a:pt x="702" y="401"/>
                  <a:pt x="704" y="399"/>
                  <a:pt x="704" y="397"/>
                </a:cubicBezTo>
                <a:cubicBezTo>
                  <a:pt x="704" y="394"/>
                  <a:pt x="702" y="392"/>
                  <a:pt x="699" y="392"/>
                </a:cubicBezTo>
                <a:cubicBezTo>
                  <a:pt x="697" y="392"/>
                  <a:pt x="695" y="394"/>
                  <a:pt x="695" y="397"/>
                </a:cubicBezTo>
                <a:close/>
                <a:moveTo>
                  <a:pt x="737" y="397"/>
                </a:moveTo>
                <a:cubicBezTo>
                  <a:pt x="737" y="399"/>
                  <a:pt x="739" y="401"/>
                  <a:pt x="742" y="401"/>
                </a:cubicBezTo>
                <a:cubicBezTo>
                  <a:pt x="745" y="401"/>
                  <a:pt x="747" y="399"/>
                  <a:pt x="747" y="397"/>
                </a:cubicBezTo>
                <a:cubicBezTo>
                  <a:pt x="747" y="394"/>
                  <a:pt x="745" y="392"/>
                  <a:pt x="742" y="392"/>
                </a:cubicBezTo>
                <a:cubicBezTo>
                  <a:pt x="739" y="392"/>
                  <a:pt x="737" y="394"/>
                  <a:pt x="737" y="397"/>
                </a:cubicBezTo>
                <a:close/>
                <a:moveTo>
                  <a:pt x="716" y="397"/>
                </a:moveTo>
                <a:cubicBezTo>
                  <a:pt x="716" y="399"/>
                  <a:pt x="718" y="401"/>
                  <a:pt x="721" y="401"/>
                </a:cubicBezTo>
                <a:cubicBezTo>
                  <a:pt x="724" y="401"/>
                  <a:pt x="726" y="399"/>
                  <a:pt x="726" y="397"/>
                </a:cubicBezTo>
                <a:cubicBezTo>
                  <a:pt x="726" y="394"/>
                  <a:pt x="724" y="392"/>
                  <a:pt x="721" y="392"/>
                </a:cubicBezTo>
                <a:cubicBezTo>
                  <a:pt x="718" y="392"/>
                  <a:pt x="716" y="394"/>
                  <a:pt x="716" y="397"/>
                </a:cubicBezTo>
                <a:close/>
                <a:moveTo>
                  <a:pt x="179" y="524"/>
                </a:moveTo>
                <a:cubicBezTo>
                  <a:pt x="181" y="522"/>
                  <a:pt x="185" y="521"/>
                  <a:pt x="188" y="521"/>
                </a:cubicBezTo>
                <a:cubicBezTo>
                  <a:pt x="252" y="521"/>
                  <a:pt x="252" y="521"/>
                  <a:pt x="252" y="521"/>
                </a:cubicBezTo>
                <a:cubicBezTo>
                  <a:pt x="255" y="521"/>
                  <a:pt x="257" y="522"/>
                  <a:pt x="259" y="522"/>
                </a:cubicBezTo>
                <a:cubicBezTo>
                  <a:pt x="250" y="504"/>
                  <a:pt x="250" y="504"/>
                  <a:pt x="250" y="504"/>
                </a:cubicBezTo>
                <a:cubicBezTo>
                  <a:pt x="248" y="499"/>
                  <a:pt x="240" y="494"/>
                  <a:pt x="234" y="494"/>
                </a:cubicBezTo>
                <a:cubicBezTo>
                  <a:pt x="205" y="494"/>
                  <a:pt x="205" y="494"/>
                  <a:pt x="205" y="494"/>
                </a:cubicBezTo>
                <a:cubicBezTo>
                  <a:pt x="199" y="494"/>
                  <a:pt x="192" y="499"/>
                  <a:pt x="189" y="504"/>
                </a:cubicBezTo>
                <a:cubicBezTo>
                  <a:pt x="179" y="524"/>
                  <a:pt x="179" y="524"/>
                  <a:pt x="179" y="524"/>
                </a:cubicBezTo>
                <a:cubicBezTo>
                  <a:pt x="179" y="524"/>
                  <a:pt x="179" y="524"/>
                  <a:pt x="179" y="524"/>
                </a:cubicBezTo>
                <a:close/>
                <a:moveTo>
                  <a:pt x="258" y="528"/>
                </a:moveTo>
                <a:cubicBezTo>
                  <a:pt x="262" y="530"/>
                  <a:pt x="264" y="534"/>
                  <a:pt x="264" y="539"/>
                </a:cubicBezTo>
                <a:cubicBezTo>
                  <a:pt x="264" y="539"/>
                  <a:pt x="264" y="539"/>
                  <a:pt x="264" y="665"/>
                </a:cubicBezTo>
                <a:cubicBezTo>
                  <a:pt x="264" y="671"/>
                  <a:pt x="259" y="676"/>
                  <a:pt x="253" y="676"/>
                </a:cubicBezTo>
                <a:cubicBezTo>
                  <a:pt x="253" y="676"/>
                  <a:pt x="253" y="676"/>
                  <a:pt x="187" y="676"/>
                </a:cubicBezTo>
                <a:cubicBezTo>
                  <a:pt x="181" y="676"/>
                  <a:pt x="176" y="671"/>
                  <a:pt x="176" y="665"/>
                </a:cubicBezTo>
                <a:cubicBezTo>
                  <a:pt x="176" y="665"/>
                  <a:pt x="176" y="665"/>
                  <a:pt x="176" y="539"/>
                </a:cubicBezTo>
                <a:cubicBezTo>
                  <a:pt x="176" y="534"/>
                  <a:pt x="178" y="530"/>
                  <a:pt x="182" y="528"/>
                </a:cubicBezTo>
                <a:cubicBezTo>
                  <a:pt x="183" y="527"/>
                  <a:pt x="185" y="527"/>
                  <a:pt x="187" y="527"/>
                </a:cubicBezTo>
                <a:cubicBezTo>
                  <a:pt x="187" y="527"/>
                  <a:pt x="187" y="527"/>
                  <a:pt x="253" y="527"/>
                </a:cubicBezTo>
                <a:cubicBezTo>
                  <a:pt x="255" y="527"/>
                  <a:pt x="256" y="527"/>
                  <a:pt x="258" y="528"/>
                </a:cubicBezTo>
                <a:moveTo>
                  <a:pt x="249" y="651"/>
                </a:moveTo>
                <a:cubicBezTo>
                  <a:pt x="251" y="651"/>
                  <a:pt x="253" y="649"/>
                  <a:pt x="253" y="647"/>
                </a:cubicBezTo>
                <a:cubicBezTo>
                  <a:pt x="253" y="644"/>
                  <a:pt x="251" y="642"/>
                  <a:pt x="249" y="642"/>
                </a:cubicBezTo>
                <a:cubicBezTo>
                  <a:pt x="249" y="642"/>
                  <a:pt x="249" y="642"/>
                  <a:pt x="196" y="642"/>
                </a:cubicBezTo>
                <a:cubicBezTo>
                  <a:pt x="193" y="642"/>
                  <a:pt x="191" y="644"/>
                  <a:pt x="191" y="647"/>
                </a:cubicBezTo>
                <a:cubicBezTo>
                  <a:pt x="191" y="649"/>
                  <a:pt x="193" y="651"/>
                  <a:pt x="196" y="651"/>
                </a:cubicBezTo>
                <a:cubicBezTo>
                  <a:pt x="196" y="651"/>
                  <a:pt x="196" y="651"/>
                  <a:pt x="249" y="651"/>
                </a:cubicBezTo>
                <a:moveTo>
                  <a:pt x="249" y="630"/>
                </a:moveTo>
                <a:cubicBezTo>
                  <a:pt x="251" y="630"/>
                  <a:pt x="253" y="628"/>
                  <a:pt x="253" y="626"/>
                </a:cubicBezTo>
                <a:cubicBezTo>
                  <a:pt x="253" y="623"/>
                  <a:pt x="251" y="621"/>
                  <a:pt x="249" y="621"/>
                </a:cubicBezTo>
                <a:cubicBezTo>
                  <a:pt x="249" y="621"/>
                  <a:pt x="249" y="621"/>
                  <a:pt x="196" y="621"/>
                </a:cubicBezTo>
                <a:cubicBezTo>
                  <a:pt x="193" y="621"/>
                  <a:pt x="191" y="623"/>
                  <a:pt x="191" y="626"/>
                </a:cubicBezTo>
                <a:cubicBezTo>
                  <a:pt x="191" y="628"/>
                  <a:pt x="193" y="630"/>
                  <a:pt x="196" y="630"/>
                </a:cubicBezTo>
                <a:cubicBezTo>
                  <a:pt x="196" y="630"/>
                  <a:pt x="196" y="630"/>
                  <a:pt x="249" y="630"/>
                </a:cubicBezTo>
                <a:moveTo>
                  <a:pt x="249" y="609"/>
                </a:moveTo>
                <a:cubicBezTo>
                  <a:pt x="251" y="609"/>
                  <a:pt x="253" y="607"/>
                  <a:pt x="253" y="604"/>
                </a:cubicBezTo>
                <a:cubicBezTo>
                  <a:pt x="253" y="602"/>
                  <a:pt x="251" y="600"/>
                  <a:pt x="249" y="600"/>
                </a:cubicBezTo>
                <a:cubicBezTo>
                  <a:pt x="249" y="600"/>
                  <a:pt x="249" y="600"/>
                  <a:pt x="196" y="600"/>
                </a:cubicBezTo>
                <a:cubicBezTo>
                  <a:pt x="193" y="600"/>
                  <a:pt x="191" y="602"/>
                  <a:pt x="191" y="604"/>
                </a:cubicBezTo>
                <a:cubicBezTo>
                  <a:pt x="191" y="607"/>
                  <a:pt x="193" y="609"/>
                  <a:pt x="196" y="609"/>
                </a:cubicBezTo>
                <a:cubicBezTo>
                  <a:pt x="196" y="609"/>
                  <a:pt x="196" y="609"/>
                  <a:pt x="249" y="609"/>
                </a:cubicBezTo>
                <a:moveTo>
                  <a:pt x="246" y="554"/>
                </a:moveTo>
                <a:cubicBezTo>
                  <a:pt x="250" y="554"/>
                  <a:pt x="253" y="552"/>
                  <a:pt x="253" y="548"/>
                </a:cubicBezTo>
                <a:cubicBezTo>
                  <a:pt x="253" y="545"/>
                  <a:pt x="250" y="542"/>
                  <a:pt x="246" y="542"/>
                </a:cubicBezTo>
                <a:cubicBezTo>
                  <a:pt x="243" y="542"/>
                  <a:pt x="240" y="545"/>
                  <a:pt x="240" y="548"/>
                </a:cubicBezTo>
                <a:cubicBezTo>
                  <a:pt x="240" y="552"/>
                  <a:pt x="243" y="554"/>
                  <a:pt x="246" y="55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6" tIns="34294" rIns="68586" bIns="34294" numCol="1" anchor="t"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2" algn="l" defTabSz="914286" rtl="0" eaLnBrk="1" latinLnBrk="0" hangingPunct="1">
              <a:defRPr sz="1800" kern="1200">
                <a:solidFill>
                  <a:schemeClr val="tx1"/>
                </a:solidFill>
                <a:latin typeface="+mn-lt"/>
                <a:ea typeface="+mn-ea"/>
                <a:cs typeface="+mn-cs"/>
              </a:defRPr>
            </a:lvl5pPr>
            <a:lvl6pPr marL="2285714"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199999" algn="l" defTabSz="914286" rtl="0" eaLnBrk="1" latinLnBrk="0" hangingPunct="1">
              <a:defRPr sz="1800" kern="1200">
                <a:solidFill>
                  <a:schemeClr val="tx1"/>
                </a:solidFill>
                <a:latin typeface="+mn-lt"/>
                <a:ea typeface="+mn-ea"/>
                <a:cs typeface="+mn-cs"/>
              </a:defRPr>
            </a:lvl8pPr>
            <a:lvl9pPr marL="3657143" algn="l" defTabSz="914286" rtl="0" eaLnBrk="1" latinLnBrk="0" hangingPunct="1">
              <a:defRPr sz="1800" kern="1200">
                <a:solidFill>
                  <a:schemeClr val="tx1"/>
                </a:solidFill>
                <a:latin typeface="+mn-lt"/>
                <a:ea typeface="+mn-ea"/>
                <a:cs typeface="+mn-cs"/>
              </a:defRPr>
            </a:lvl9pPr>
          </a:lstStyle>
          <a:p>
            <a:endParaRPr lang="en-US">
              <a:solidFill>
                <a:srgbClr val="FFFFFF"/>
              </a:solidFill>
            </a:endParaRPr>
          </a:p>
        </p:txBody>
      </p:sp>
      <p:sp>
        <p:nvSpPr>
          <p:cNvPr id="23" name="Freeform 139"/>
          <p:cNvSpPr>
            <a:spLocks/>
          </p:cNvSpPr>
          <p:nvPr/>
        </p:nvSpPr>
        <p:spPr bwMode="black">
          <a:xfrm>
            <a:off x="942379" y="1331801"/>
            <a:ext cx="324662" cy="296033"/>
          </a:xfrm>
          <a:custGeom>
            <a:avLst/>
            <a:gdLst>
              <a:gd name="T0" fmla="*/ 384 w 450"/>
              <a:gd name="T1" fmla="*/ 111 h 378"/>
              <a:gd name="T2" fmla="*/ 388 w 450"/>
              <a:gd name="T3" fmla="*/ 104 h 378"/>
              <a:gd name="T4" fmla="*/ 381 w 450"/>
              <a:gd name="T5" fmla="*/ 97 h 378"/>
              <a:gd name="T6" fmla="*/ 349 w 450"/>
              <a:gd name="T7" fmla="*/ 97 h 378"/>
              <a:gd name="T8" fmla="*/ 257 w 450"/>
              <a:gd name="T9" fmla="*/ 68 h 378"/>
              <a:gd name="T10" fmla="*/ 231 w 450"/>
              <a:gd name="T11" fmla="*/ 50 h 378"/>
              <a:gd name="T12" fmla="*/ 231 w 450"/>
              <a:gd name="T13" fmla="*/ 33 h 378"/>
              <a:gd name="T14" fmla="*/ 242 w 450"/>
              <a:gd name="T15" fmla="*/ 17 h 378"/>
              <a:gd name="T16" fmla="*/ 224 w 450"/>
              <a:gd name="T17" fmla="*/ 0 h 378"/>
              <a:gd name="T18" fmla="*/ 207 w 450"/>
              <a:gd name="T19" fmla="*/ 17 h 378"/>
              <a:gd name="T20" fmla="*/ 217 w 450"/>
              <a:gd name="T21" fmla="*/ 33 h 378"/>
              <a:gd name="T22" fmla="*/ 217 w 450"/>
              <a:gd name="T23" fmla="*/ 50 h 378"/>
              <a:gd name="T24" fmla="*/ 192 w 450"/>
              <a:gd name="T25" fmla="*/ 68 h 378"/>
              <a:gd name="T26" fmla="*/ 99 w 450"/>
              <a:gd name="T27" fmla="*/ 97 h 378"/>
              <a:gd name="T28" fmla="*/ 69 w 450"/>
              <a:gd name="T29" fmla="*/ 97 h 378"/>
              <a:gd name="T30" fmla="*/ 62 w 450"/>
              <a:gd name="T31" fmla="*/ 104 h 378"/>
              <a:gd name="T32" fmla="*/ 66 w 450"/>
              <a:gd name="T33" fmla="*/ 111 h 378"/>
              <a:gd name="T34" fmla="*/ 6 w 450"/>
              <a:gd name="T35" fmla="*/ 255 h 378"/>
              <a:gd name="T36" fmla="*/ 20 w 450"/>
              <a:gd name="T37" fmla="*/ 255 h 378"/>
              <a:gd name="T38" fmla="*/ 69 w 450"/>
              <a:gd name="T39" fmla="*/ 136 h 378"/>
              <a:gd name="T40" fmla="*/ 125 w 450"/>
              <a:gd name="T41" fmla="*/ 270 h 378"/>
              <a:gd name="T42" fmla="*/ 0 w 450"/>
              <a:gd name="T43" fmla="*/ 270 h 378"/>
              <a:gd name="T44" fmla="*/ 69 w 450"/>
              <a:gd name="T45" fmla="*/ 319 h 378"/>
              <a:gd name="T46" fmla="*/ 139 w 450"/>
              <a:gd name="T47" fmla="*/ 270 h 378"/>
              <a:gd name="T48" fmla="*/ 73 w 450"/>
              <a:gd name="T49" fmla="*/ 112 h 378"/>
              <a:gd name="T50" fmla="*/ 196 w 450"/>
              <a:gd name="T51" fmla="*/ 112 h 378"/>
              <a:gd name="T52" fmla="*/ 213 w 450"/>
              <a:gd name="T53" fmla="*/ 122 h 378"/>
              <a:gd name="T54" fmla="*/ 213 w 450"/>
              <a:gd name="T55" fmla="*/ 328 h 378"/>
              <a:gd name="T56" fmla="*/ 108 w 450"/>
              <a:gd name="T57" fmla="*/ 367 h 378"/>
              <a:gd name="T58" fmla="*/ 108 w 450"/>
              <a:gd name="T59" fmla="*/ 378 h 378"/>
              <a:gd name="T60" fmla="*/ 342 w 450"/>
              <a:gd name="T61" fmla="*/ 378 h 378"/>
              <a:gd name="T62" fmla="*/ 342 w 450"/>
              <a:gd name="T63" fmla="*/ 367 h 378"/>
              <a:gd name="T64" fmla="*/ 236 w 450"/>
              <a:gd name="T65" fmla="*/ 328 h 378"/>
              <a:gd name="T66" fmla="*/ 236 w 450"/>
              <a:gd name="T67" fmla="*/ 122 h 378"/>
              <a:gd name="T68" fmla="*/ 252 w 450"/>
              <a:gd name="T69" fmla="*/ 112 h 378"/>
              <a:gd name="T70" fmla="*/ 377 w 450"/>
              <a:gd name="T71" fmla="*/ 112 h 378"/>
              <a:gd name="T72" fmla="*/ 317 w 450"/>
              <a:gd name="T73" fmla="*/ 255 h 378"/>
              <a:gd name="T74" fmla="*/ 331 w 450"/>
              <a:gd name="T75" fmla="*/ 255 h 378"/>
              <a:gd name="T76" fmla="*/ 380 w 450"/>
              <a:gd name="T77" fmla="*/ 136 h 378"/>
              <a:gd name="T78" fmla="*/ 436 w 450"/>
              <a:gd name="T79" fmla="*/ 270 h 378"/>
              <a:gd name="T80" fmla="*/ 311 w 450"/>
              <a:gd name="T81" fmla="*/ 270 h 378"/>
              <a:gd name="T82" fmla="*/ 380 w 450"/>
              <a:gd name="T83" fmla="*/ 319 h 378"/>
              <a:gd name="T84" fmla="*/ 450 w 450"/>
              <a:gd name="T85" fmla="*/ 270 h 378"/>
              <a:gd name="T86" fmla="*/ 384 w 450"/>
              <a:gd name="T87" fmla="*/ 111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50" h="378">
                <a:moveTo>
                  <a:pt x="384" y="111"/>
                </a:moveTo>
                <a:cubicBezTo>
                  <a:pt x="386" y="110"/>
                  <a:pt x="388" y="107"/>
                  <a:pt x="388" y="104"/>
                </a:cubicBezTo>
                <a:cubicBezTo>
                  <a:pt x="388" y="100"/>
                  <a:pt x="385" y="97"/>
                  <a:pt x="381" y="97"/>
                </a:cubicBezTo>
                <a:cubicBezTo>
                  <a:pt x="349" y="97"/>
                  <a:pt x="349" y="97"/>
                  <a:pt x="349" y="97"/>
                </a:cubicBezTo>
                <a:cubicBezTo>
                  <a:pt x="321" y="89"/>
                  <a:pt x="292" y="74"/>
                  <a:pt x="257" y="68"/>
                </a:cubicBezTo>
                <a:cubicBezTo>
                  <a:pt x="251" y="59"/>
                  <a:pt x="242" y="52"/>
                  <a:pt x="231" y="50"/>
                </a:cubicBezTo>
                <a:cubicBezTo>
                  <a:pt x="231" y="33"/>
                  <a:pt x="231" y="33"/>
                  <a:pt x="231" y="33"/>
                </a:cubicBezTo>
                <a:cubicBezTo>
                  <a:pt x="237" y="31"/>
                  <a:pt x="242" y="24"/>
                  <a:pt x="242" y="17"/>
                </a:cubicBezTo>
                <a:cubicBezTo>
                  <a:pt x="242" y="8"/>
                  <a:pt x="234" y="0"/>
                  <a:pt x="224" y="0"/>
                </a:cubicBezTo>
                <a:cubicBezTo>
                  <a:pt x="215" y="0"/>
                  <a:pt x="207" y="8"/>
                  <a:pt x="207" y="17"/>
                </a:cubicBezTo>
                <a:cubicBezTo>
                  <a:pt x="207" y="24"/>
                  <a:pt x="211" y="31"/>
                  <a:pt x="217" y="33"/>
                </a:cubicBezTo>
                <a:cubicBezTo>
                  <a:pt x="217" y="50"/>
                  <a:pt x="217" y="50"/>
                  <a:pt x="217" y="50"/>
                </a:cubicBezTo>
                <a:cubicBezTo>
                  <a:pt x="206" y="52"/>
                  <a:pt x="197" y="59"/>
                  <a:pt x="192" y="68"/>
                </a:cubicBezTo>
                <a:cubicBezTo>
                  <a:pt x="156" y="74"/>
                  <a:pt x="128" y="89"/>
                  <a:pt x="99" y="97"/>
                </a:cubicBezTo>
                <a:cubicBezTo>
                  <a:pt x="69" y="97"/>
                  <a:pt x="69" y="97"/>
                  <a:pt x="69" y="97"/>
                </a:cubicBezTo>
                <a:cubicBezTo>
                  <a:pt x="65" y="97"/>
                  <a:pt x="62" y="100"/>
                  <a:pt x="62" y="104"/>
                </a:cubicBezTo>
                <a:cubicBezTo>
                  <a:pt x="62" y="107"/>
                  <a:pt x="63" y="110"/>
                  <a:pt x="66" y="111"/>
                </a:cubicBezTo>
                <a:cubicBezTo>
                  <a:pt x="6" y="255"/>
                  <a:pt x="6" y="255"/>
                  <a:pt x="6" y="255"/>
                </a:cubicBezTo>
                <a:cubicBezTo>
                  <a:pt x="20" y="255"/>
                  <a:pt x="20" y="255"/>
                  <a:pt x="20" y="255"/>
                </a:cubicBezTo>
                <a:cubicBezTo>
                  <a:pt x="69" y="136"/>
                  <a:pt x="69" y="136"/>
                  <a:pt x="69" y="136"/>
                </a:cubicBezTo>
                <a:cubicBezTo>
                  <a:pt x="125" y="270"/>
                  <a:pt x="125" y="270"/>
                  <a:pt x="125" y="270"/>
                </a:cubicBezTo>
                <a:cubicBezTo>
                  <a:pt x="0" y="270"/>
                  <a:pt x="0" y="270"/>
                  <a:pt x="0" y="270"/>
                </a:cubicBezTo>
                <a:cubicBezTo>
                  <a:pt x="0" y="297"/>
                  <a:pt x="31" y="319"/>
                  <a:pt x="69" y="319"/>
                </a:cubicBezTo>
                <a:cubicBezTo>
                  <a:pt x="108" y="319"/>
                  <a:pt x="139" y="297"/>
                  <a:pt x="139" y="270"/>
                </a:cubicBezTo>
                <a:cubicBezTo>
                  <a:pt x="73" y="112"/>
                  <a:pt x="73" y="112"/>
                  <a:pt x="73" y="112"/>
                </a:cubicBezTo>
                <a:cubicBezTo>
                  <a:pt x="196" y="112"/>
                  <a:pt x="196" y="112"/>
                  <a:pt x="196" y="112"/>
                </a:cubicBezTo>
                <a:cubicBezTo>
                  <a:pt x="201" y="117"/>
                  <a:pt x="206" y="120"/>
                  <a:pt x="213" y="122"/>
                </a:cubicBezTo>
                <a:cubicBezTo>
                  <a:pt x="213" y="328"/>
                  <a:pt x="213" y="328"/>
                  <a:pt x="213" y="328"/>
                </a:cubicBezTo>
                <a:cubicBezTo>
                  <a:pt x="164" y="331"/>
                  <a:pt x="124" y="351"/>
                  <a:pt x="108" y="367"/>
                </a:cubicBezTo>
                <a:cubicBezTo>
                  <a:pt x="108" y="370"/>
                  <a:pt x="108" y="373"/>
                  <a:pt x="108" y="378"/>
                </a:cubicBezTo>
                <a:cubicBezTo>
                  <a:pt x="114" y="378"/>
                  <a:pt x="335" y="378"/>
                  <a:pt x="342" y="378"/>
                </a:cubicBezTo>
                <a:cubicBezTo>
                  <a:pt x="342" y="373"/>
                  <a:pt x="342" y="370"/>
                  <a:pt x="342" y="367"/>
                </a:cubicBezTo>
                <a:cubicBezTo>
                  <a:pt x="326" y="351"/>
                  <a:pt x="285" y="331"/>
                  <a:pt x="236" y="328"/>
                </a:cubicBezTo>
                <a:cubicBezTo>
                  <a:pt x="236" y="122"/>
                  <a:pt x="236" y="122"/>
                  <a:pt x="236" y="122"/>
                </a:cubicBezTo>
                <a:cubicBezTo>
                  <a:pt x="242" y="120"/>
                  <a:pt x="248" y="117"/>
                  <a:pt x="252" y="112"/>
                </a:cubicBezTo>
                <a:cubicBezTo>
                  <a:pt x="377" y="112"/>
                  <a:pt x="377" y="112"/>
                  <a:pt x="377" y="112"/>
                </a:cubicBezTo>
                <a:cubicBezTo>
                  <a:pt x="317" y="255"/>
                  <a:pt x="317" y="255"/>
                  <a:pt x="317" y="255"/>
                </a:cubicBezTo>
                <a:cubicBezTo>
                  <a:pt x="331" y="255"/>
                  <a:pt x="331" y="255"/>
                  <a:pt x="331" y="255"/>
                </a:cubicBezTo>
                <a:cubicBezTo>
                  <a:pt x="380" y="136"/>
                  <a:pt x="380" y="136"/>
                  <a:pt x="380" y="136"/>
                </a:cubicBezTo>
                <a:cubicBezTo>
                  <a:pt x="436" y="270"/>
                  <a:pt x="436" y="270"/>
                  <a:pt x="436" y="270"/>
                </a:cubicBezTo>
                <a:cubicBezTo>
                  <a:pt x="311" y="270"/>
                  <a:pt x="311" y="270"/>
                  <a:pt x="311" y="270"/>
                </a:cubicBezTo>
                <a:cubicBezTo>
                  <a:pt x="311" y="297"/>
                  <a:pt x="342" y="319"/>
                  <a:pt x="380" y="319"/>
                </a:cubicBezTo>
                <a:cubicBezTo>
                  <a:pt x="419" y="319"/>
                  <a:pt x="450" y="297"/>
                  <a:pt x="450" y="270"/>
                </a:cubicBezTo>
                <a:lnTo>
                  <a:pt x="384" y="111"/>
                </a:lnTo>
                <a:close/>
              </a:path>
            </a:pathLst>
          </a:custGeom>
          <a:solidFill>
            <a:srgbClr val="FFFFFF"/>
          </a:solidFill>
          <a:ln>
            <a:noFill/>
          </a:ln>
        </p:spPr>
        <p:txBody>
          <a:bodyPr vert="horz" wrap="square" lIns="61735" tIns="30867" rIns="61735" bIns="30867" numCol="1" anchor="t" anchorCtr="0" compatLnSpc="1">
            <a:prstTxWarp prst="textNoShape">
              <a:avLst/>
            </a:prstTxWarp>
          </a:bodyPr>
          <a:lstStyle/>
          <a:p>
            <a:pPr defTabSz="685294"/>
            <a:endParaRPr lang="en-US" sz="1200">
              <a:solidFill>
                <a:srgbClr val="FFFFFF"/>
              </a:solidFill>
            </a:endParaRPr>
          </a:p>
        </p:txBody>
      </p:sp>
      <p:sp>
        <p:nvSpPr>
          <p:cNvPr id="22"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4"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
              </a:rPr>
              <a:t>www.rapidbbs.cn</a:t>
            </a:r>
            <a:endParaRPr lang="zh-CN" altLang="en-US" sz="1200" b="0">
              <a:latin typeface="Arial" charset="0"/>
              <a:ea typeface="ＭＳ Ｐゴシック" pitchFamily="34" charset="-128"/>
            </a:endParaRPr>
          </a:p>
        </p:txBody>
      </p:sp>
      <p:pic>
        <p:nvPicPr>
          <p:cNvPr id="25" name="Picture 2">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19952925"/>
      </p:ext>
    </p:extLst>
  </p:cSld>
  <p:clrMapOvr>
    <a:masterClrMapping/>
  </p:clrMapOvr>
  <p:transition>
    <p:fade/>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eatures in Action</a:t>
            </a:r>
            <a:endParaRPr lang="en-US" dirty="0"/>
          </a:p>
        </p:txBody>
      </p:sp>
      <p:grpSp>
        <p:nvGrpSpPr>
          <p:cNvPr id="44" name="Group 43"/>
          <p:cNvGrpSpPr/>
          <p:nvPr/>
        </p:nvGrpSpPr>
        <p:grpSpPr>
          <a:xfrm>
            <a:off x="342991" y="1525972"/>
            <a:ext cx="2042940" cy="2044007"/>
            <a:chOff x="457200" y="5407398"/>
            <a:chExt cx="2723211" cy="2725342"/>
          </a:xfrm>
        </p:grpSpPr>
        <p:sp>
          <p:nvSpPr>
            <p:cNvPr id="16" name="Rounded Rectangle 15"/>
            <p:cNvSpPr/>
            <p:nvPr/>
          </p:nvSpPr>
          <p:spPr bwMode="auto">
            <a:xfrm>
              <a:off x="457200" y="5407398"/>
              <a:ext cx="2723211" cy="2725342"/>
            </a:xfrm>
            <a:prstGeom prst="roundRect">
              <a:avLst>
                <a:gd name="adj" fmla="val 0"/>
              </a:avLst>
            </a:prstGeom>
            <a:solidFill>
              <a:schemeClr val="accent4"/>
            </a:solidFill>
            <a:ln w="9525" cap="flat" cmpd="sng" algn="ctr">
              <a:noFill/>
              <a:prstDash val="solid"/>
            </a:ln>
            <a:effectLst/>
          </p:spPr>
          <p:txBody>
            <a:bodyPr rtlCol="0" anchor="t" anchorCtr="0"/>
            <a:lstStyle/>
            <a:p>
              <a:pPr algn="ctr" defTabSz="914248"/>
              <a:r>
                <a:rPr lang="en-US" sz="1800" dirty="0">
                  <a:solidFill>
                    <a:srgbClr val="FFFFFF">
                      <a:alpha val="99000"/>
                    </a:srgbClr>
                  </a:solidFill>
                  <a:ea typeface="Segoe UI" pitchFamily="34" charset="0"/>
                  <a:cs typeface="Segoe UI" pitchFamily="34" charset="0"/>
                </a:rPr>
                <a:t> </a:t>
              </a:r>
            </a:p>
          </p:txBody>
        </p:sp>
        <p:sp>
          <p:nvSpPr>
            <p:cNvPr id="17" name="Rectangle 16"/>
            <p:cNvSpPr/>
            <p:nvPr/>
          </p:nvSpPr>
          <p:spPr>
            <a:xfrm>
              <a:off x="595949" y="7629997"/>
              <a:ext cx="2453752" cy="455509"/>
            </a:xfrm>
            <a:prstGeom prst="rect">
              <a:avLst/>
            </a:prstGeom>
          </p:spPr>
          <p:txBody>
            <a:bodyPr wrap="square">
              <a:spAutoFit/>
            </a:bodyPr>
            <a:lstStyle/>
            <a:p>
              <a:pPr defTabSz="685805">
                <a:lnSpc>
                  <a:spcPct val="90000"/>
                </a:lnSpc>
                <a:defRPr/>
              </a:pPr>
              <a:r>
                <a:rPr lang="en-US" sz="1800" kern="0" dirty="0">
                  <a:gradFill>
                    <a:gsLst>
                      <a:gs pos="0">
                        <a:srgbClr val="FFFFFF"/>
                      </a:gs>
                      <a:gs pos="100000">
                        <a:srgbClr val="FFFFFF"/>
                      </a:gs>
                    </a:gsLst>
                    <a:lin ang="5400000" scaled="0"/>
                  </a:gradFill>
                </a:rPr>
                <a:t>Storage</a:t>
              </a:r>
            </a:p>
          </p:txBody>
        </p:sp>
        <p:sp>
          <p:nvSpPr>
            <p:cNvPr id="29" name="Freeform 6"/>
            <p:cNvSpPr>
              <a:spLocks noEditPoints="1"/>
            </p:cNvSpPr>
            <p:nvPr/>
          </p:nvSpPr>
          <p:spPr bwMode="auto">
            <a:xfrm>
              <a:off x="1512636" y="5864082"/>
              <a:ext cx="612338" cy="1101536"/>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86"/>
              <a:endParaRPr lang="en-US" sz="1800" dirty="0">
                <a:solidFill>
                  <a:srgbClr val="292929"/>
                </a:solidFill>
              </a:endParaRPr>
            </a:p>
          </p:txBody>
        </p:sp>
      </p:grpSp>
      <p:grpSp>
        <p:nvGrpSpPr>
          <p:cNvPr id="46" name="Group 45"/>
          <p:cNvGrpSpPr/>
          <p:nvPr/>
        </p:nvGrpSpPr>
        <p:grpSpPr>
          <a:xfrm>
            <a:off x="4620504" y="1525972"/>
            <a:ext cx="2042940" cy="2257881"/>
            <a:chOff x="6159067" y="5407398"/>
            <a:chExt cx="2723211" cy="3010507"/>
          </a:xfrm>
        </p:grpSpPr>
        <p:sp>
          <p:nvSpPr>
            <p:cNvPr id="23" name="Rounded Rectangle 22"/>
            <p:cNvSpPr/>
            <p:nvPr/>
          </p:nvSpPr>
          <p:spPr bwMode="auto">
            <a:xfrm>
              <a:off x="6159067" y="5407398"/>
              <a:ext cx="2723211" cy="2725342"/>
            </a:xfrm>
            <a:prstGeom prst="roundRect">
              <a:avLst>
                <a:gd name="adj" fmla="val 0"/>
              </a:avLst>
            </a:prstGeom>
            <a:solidFill>
              <a:schemeClr val="accent4"/>
            </a:solidFill>
            <a:ln w="9525" cap="flat" cmpd="sng" algn="ctr">
              <a:noFill/>
              <a:prstDash val="solid"/>
            </a:ln>
            <a:effectLst/>
          </p:spPr>
          <p:txBody>
            <a:bodyPr rtlCol="0" anchor="t" anchorCtr="0"/>
            <a:lstStyle/>
            <a:p>
              <a:pPr algn="ctr" defTabSz="914248"/>
              <a:r>
                <a:rPr lang="en-US" sz="1800" dirty="0">
                  <a:solidFill>
                    <a:srgbClr val="FFFFFF">
                      <a:alpha val="99000"/>
                    </a:srgbClr>
                  </a:solidFill>
                  <a:ea typeface="Segoe UI" pitchFamily="34" charset="0"/>
                  <a:cs typeface="Segoe UI" pitchFamily="34" charset="0"/>
                </a:rPr>
                <a:t> </a:t>
              </a:r>
            </a:p>
          </p:txBody>
        </p:sp>
        <p:sp>
          <p:nvSpPr>
            <p:cNvPr id="24" name="Rectangle 23"/>
            <p:cNvSpPr/>
            <p:nvPr/>
          </p:nvSpPr>
          <p:spPr>
            <a:xfrm>
              <a:off x="6297816" y="7629997"/>
              <a:ext cx="2453752" cy="787908"/>
            </a:xfrm>
            <a:prstGeom prst="rect">
              <a:avLst/>
            </a:prstGeom>
          </p:spPr>
          <p:txBody>
            <a:bodyPr wrap="square">
              <a:spAutoFit/>
            </a:bodyPr>
            <a:lstStyle/>
            <a:p>
              <a:pPr defTabSz="685805">
                <a:lnSpc>
                  <a:spcPct val="90000"/>
                </a:lnSpc>
                <a:defRPr/>
              </a:pPr>
              <a:r>
                <a:rPr lang="en-US" sz="1800" kern="0" dirty="0">
                  <a:gradFill>
                    <a:gsLst>
                      <a:gs pos="0">
                        <a:srgbClr val="FFFFFF"/>
                      </a:gs>
                      <a:gs pos="100000">
                        <a:srgbClr val="FFFFFF"/>
                      </a:gs>
                    </a:gsLst>
                    <a:lin ang="5400000" scaled="0"/>
                  </a:gradFill>
                </a:rPr>
                <a:t>Communications</a:t>
              </a:r>
            </a:p>
          </p:txBody>
        </p:sp>
        <p:grpSp>
          <p:nvGrpSpPr>
            <p:cNvPr id="31" name="Group 30"/>
            <p:cNvGrpSpPr/>
            <p:nvPr/>
          </p:nvGrpSpPr>
          <p:grpSpPr bwMode="black">
            <a:xfrm>
              <a:off x="7242871" y="5867400"/>
              <a:ext cx="555603" cy="1178245"/>
              <a:chOff x="8920162" y="3943878"/>
              <a:chExt cx="419101" cy="889001"/>
            </a:xfrm>
            <a:solidFill>
              <a:schemeClr val="bg1"/>
            </a:solidFill>
          </p:grpSpPr>
          <p:sp>
            <p:nvSpPr>
              <p:cNvPr id="32" name="Oval 16"/>
              <p:cNvSpPr>
                <a:spLocks noChangeArrowheads="1"/>
              </p:cNvSpPr>
              <p:nvPr/>
            </p:nvSpPr>
            <p:spPr bwMode="black">
              <a:xfrm>
                <a:off x="9148762" y="3943878"/>
                <a:ext cx="149225" cy="146050"/>
              </a:xfrm>
              <a:prstGeom prst="ellipse">
                <a:avLst/>
              </a:prstGeom>
              <a:grpFill/>
              <a:ln>
                <a:noFill/>
              </a:ln>
              <a:extLst/>
            </p:spPr>
            <p:txBody>
              <a:bodyPr vert="horz" wrap="square" lIns="91440" tIns="45720" rIns="91440" bIns="45720" numCol="1" anchor="t" anchorCtr="0" compatLnSpc="1">
                <a:prstTxWarp prst="textNoShape">
                  <a:avLst/>
                </a:prstTxWarp>
              </a:bodyPr>
              <a:lstStyle/>
              <a:p>
                <a:pPr defTabSz="914286"/>
                <a:endParaRPr lang="en-US" sz="1800">
                  <a:solidFill>
                    <a:srgbClr val="292929"/>
                  </a:solidFill>
                </a:endParaRPr>
              </a:p>
            </p:txBody>
          </p:sp>
          <p:sp>
            <p:nvSpPr>
              <p:cNvPr id="33" name="Freeform 17"/>
              <p:cNvSpPr>
                <a:spLocks/>
              </p:cNvSpPr>
              <p:nvPr/>
            </p:nvSpPr>
            <p:spPr bwMode="black">
              <a:xfrm>
                <a:off x="9017000" y="4123266"/>
                <a:ext cx="322263" cy="709613"/>
              </a:xfrm>
              <a:custGeom>
                <a:avLst/>
                <a:gdLst>
                  <a:gd name="T0" fmla="*/ 76 w 86"/>
                  <a:gd name="T1" fmla="*/ 0 h 189"/>
                  <a:gd name="T2" fmla="*/ 80 w 86"/>
                  <a:gd name="T3" fmla="*/ 3 h 189"/>
                  <a:gd name="T4" fmla="*/ 83 w 86"/>
                  <a:gd name="T5" fmla="*/ 11 h 189"/>
                  <a:gd name="T6" fmla="*/ 78 w 86"/>
                  <a:gd name="T7" fmla="*/ 21 h 189"/>
                  <a:gd name="T8" fmla="*/ 44 w 86"/>
                  <a:gd name="T9" fmla="*/ 47 h 189"/>
                  <a:gd name="T10" fmla="*/ 39 w 86"/>
                  <a:gd name="T11" fmla="*/ 50 h 189"/>
                  <a:gd name="T12" fmla="*/ 39 w 86"/>
                  <a:gd name="T13" fmla="*/ 81 h 189"/>
                  <a:gd name="T14" fmla="*/ 2 w 86"/>
                  <a:gd name="T15" fmla="*/ 173 h 189"/>
                  <a:gd name="T16" fmla="*/ 9 w 86"/>
                  <a:gd name="T17" fmla="*/ 188 h 189"/>
                  <a:gd name="T18" fmla="*/ 13 w 86"/>
                  <a:gd name="T19" fmla="*/ 189 h 189"/>
                  <a:gd name="T20" fmla="*/ 24 w 86"/>
                  <a:gd name="T21" fmla="*/ 181 h 189"/>
                  <a:gd name="T22" fmla="*/ 63 w 86"/>
                  <a:gd name="T23" fmla="*/ 83 h 189"/>
                  <a:gd name="T24" fmla="*/ 63 w 86"/>
                  <a:gd name="T25" fmla="*/ 177 h 189"/>
                  <a:gd name="T26" fmla="*/ 74 w 86"/>
                  <a:gd name="T27" fmla="*/ 189 h 189"/>
                  <a:gd name="T28" fmla="*/ 86 w 86"/>
                  <a:gd name="T29" fmla="*/ 177 h 189"/>
                  <a:gd name="T30" fmla="*/ 86 w 86"/>
                  <a:gd name="T31" fmla="*/ 72 h 189"/>
                  <a:gd name="T32" fmla="*/ 86 w 86"/>
                  <a:gd name="T33" fmla="*/ 17 h 189"/>
                  <a:gd name="T34" fmla="*/ 76 w 86"/>
                  <a:gd name="T35"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 h="189">
                    <a:moveTo>
                      <a:pt x="76" y="0"/>
                    </a:moveTo>
                    <a:cubicBezTo>
                      <a:pt x="78" y="1"/>
                      <a:pt x="79" y="2"/>
                      <a:pt x="80" y="3"/>
                    </a:cubicBezTo>
                    <a:cubicBezTo>
                      <a:pt x="82" y="6"/>
                      <a:pt x="83" y="8"/>
                      <a:pt x="83" y="11"/>
                    </a:cubicBezTo>
                    <a:cubicBezTo>
                      <a:pt x="83" y="15"/>
                      <a:pt x="81" y="18"/>
                      <a:pt x="78" y="21"/>
                    </a:cubicBezTo>
                    <a:cubicBezTo>
                      <a:pt x="44" y="47"/>
                      <a:pt x="44" y="47"/>
                      <a:pt x="44" y="47"/>
                    </a:cubicBezTo>
                    <a:cubicBezTo>
                      <a:pt x="42" y="49"/>
                      <a:pt x="40" y="49"/>
                      <a:pt x="39" y="50"/>
                    </a:cubicBezTo>
                    <a:cubicBezTo>
                      <a:pt x="39" y="81"/>
                      <a:pt x="39" y="81"/>
                      <a:pt x="39" y="81"/>
                    </a:cubicBezTo>
                    <a:cubicBezTo>
                      <a:pt x="2" y="173"/>
                      <a:pt x="2" y="173"/>
                      <a:pt x="2" y="173"/>
                    </a:cubicBezTo>
                    <a:cubicBezTo>
                      <a:pt x="0" y="179"/>
                      <a:pt x="3" y="186"/>
                      <a:pt x="9" y="188"/>
                    </a:cubicBezTo>
                    <a:cubicBezTo>
                      <a:pt x="10" y="189"/>
                      <a:pt x="12" y="189"/>
                      <a:pt x="13" y="189"/>
                    </a:cubicBezTo>
                    <a:cubicBezTo>
                      <a:pt x="18" y="189"/>
                      <a:pt x="22" y="186"/>
                      <a:pt x="24" y="181"/>
                    </a:cubicBezTo>
                    <a:cubicBezTo>
                      <a:pt x="63" y="83"/>
                      <a:pt x="63" y="83"/>
                      <a:pt x="63" y="83"/>
                    </a:cubicBezTo>
                    <a:cubicBezTo>
                      <a:pt x="63" y="177"/>
                      <a:pt x="63" y="177"/>
                      <a:pt x="63" y="177"/>
                    </a:cubicBezTo>
                    <a:cubicBezTo>
                      <a:pt x="63" y="184"/>
                      <a:pt x="68" y="189"/>
                      <a:pt x="74" y="189"/>
                    </a:cubicBezTo>
                    <a:cubicBezTo>
                      <a:pt x="81" y="189"/>
                      <a:pt x="86" y="184"/>
                      <a:pt x="86" y="177"/>
                    </a:cubicBezTo>
                    <a:cubicBezTo>
                      <a:pt x="86" y="72"/>
                      <a:pt x="86" y="72"/>
                      <a:pt x="86" y="72"/>
                    </a:cubicBezTo>
                    <a:cubicBezTo>
                      <a:pt x="86" y="17"/>
                      <a:pt x="86" y="17"/>
                      <a:pt x="86" y="17"/>
                    </a:cubicBezTo>
                    <a:cubicBezTo>
                      <a:pt x="86" y="8"/>
                      <a:pt x="83" y="2"/>
                      <a:pt x="76" y="0"/>
                    </a:cubicBezTo>
                    <a:close/>
                  </a:path>
                </a:pathLst>
              </a:custGeom>
              <a:grpFill/>
              <a:ln>
                <a:noFill/>
              </a:ln>
              <a:extLst/>
            </p:spPr>
            <p:txBody>
              <a:bodyPr vert="horz" wrap="square" lIns="91440" tIns="45720" rIns="91440" bIns="45720" numCol="1" anchor="t" anchorCtr="0" compatLnSpc="1">
                <a:prstTxWarp prst="textNoShape">
                  <a:avLst/>
                </a:prstTxWarp>
              </a:bodyPr>
              <a:lstStyle/>
              <a:p>
                <a:pPr defTabSz="914286"/>
                <a:endParaRPr lang="en-US" sz="1800">
                  <a:solidFill>
                    <a:srgbClr val="292929"/>
                  </a:solidFill>
                </a:endParaRPr>
              </a:p>
            </p:txBody>
          </p:sp>
          <p:sp>
            <p:nvSpPr>
              <p:cNvPr id="34" name="Freeform 18"/>
              <p:cNvSpPr>
                <a:spLocks/>
              </p:cNvSpPr>
              <p:nvPr/>
            </p:nvSpPr>
            <p:spPr bwMode="black">
              <a:xfrm>
                <a:off x="9051925" y="4089928"/>
                <a:ext cx="265113" cy="206375"/>
              </a:xfrm>
              <a:custGeom>
                <a:avLst/>
                <a:gdLst>
                  <a:gd name="T0" fmla="*/ 30 w 71"/>
                  <a:gd name="T1" fmla="*/ 33 h 55"/>
                  <a:gd name="T2" fmla="*/ 18 w 71"/>
                  <a:gd name="T3" fmla="*/ 6 h 55"/>
                  <a:gd name="T4" fmla="*/ 6 w 71"/>
                  <a:gd name="T5" fmla="*/ 2 h 55"/>
                  <a:gd name="T6" fmla="*/ 2 w 71"/>
                  <a:gd name="T7" fmla="*/ 14 h 55"/>
                  <a:gd name="T8" fmla="*/ 20 w 71"/>
                  <a:gd name="T9" fmla="*/ 50 h 55"/>
                  <a:gd name="T10" fmla="*/ 25 w 71"/>
                  <a:gd name="T11" fmla="*/ 55 h 55"/>
                  <a:gd name="T12" fmla="*/ 27 w 71"/>
                  <a:gd name="T13" fmla="*/ 55 h 55"/>
                  <a:gd name="T14" fmla="*/ 33 w 71"/>
                  <a:gd name="T15" fmla="*/ 53 h 55"/>
                  <a:gd name="T16" fmla="*/ 67 w 71"/>
                  <a:gd name="T17" fmla="*/ 27 h 55"/>
                  <a:gd name="T18" fmla="*/ 69 w 71"/>
                  <a:gd name="T19" fmla="*/ 15 h 55"/>
                  <a:gd name="T20" fmla="*/ 56 w 71"/>
                  <a:gd name="T21" fmla="*/ 13 h 55"/>
                  <a:gd name="T22" fmla="*/ 30 w 71"/>
                  <a:gd name="T23" fmla="*/ 3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1" h="55">
                    <a:moveTo>
                      <a:pt x="30" y="33"/>
                    </a:moveTo>
                    <a:cubicBezTo>
                      <a:pt x="18" y="6"/>
                      <a:pt x="18" y="6"/>
                      <a:pt x="18" y="6"/>
                    </a:cubicBezTo>
                    <a:cubicBezTo>
                      <a:pt x="16" y="2"/>
                      <a:pt x="10" y="0"/>
                      <a:pt x="6" y="2"/>
                    </a:cubicBezTo>
                    <a:cubicBezTo>
                      <a:pt x="2" y="4"/>
                      <a:pt x="0" y="10"/>
                      <a:pt x="2" y="14"/>
                    </a:cubicBezTo>
                    <a:cubicBezTo>
                      <a:pt x="20" y="50"/>
                      <a:pt x="20" y="50"/>
                      <a:pt x="20" y="50"/>
                    </a:cubicBezTo>
                    <a:cubicBezTo>
                      <a:pt x="21" y="53"/>
                      <a:pt x="23" y="54"/>
                      <a:pt x="25" y="55"/>
                    </a:cubicBezTo>
                    <a:cubicBezTo>
                      <a:pt x="26" y="55"/>
                      <a:pt x="27" y="55"/>
                      <a:pt x="27" y="55"/>
                    </a:cubicBezTo>
                    <a:cubicBezTo>
                      <a:pt x="29" y="55"/>
                      <a:pt x="31" y="55"/>
                      <a:pt x="33" y="53"/>
                    </a:cubicBezTo>
                    <a:cubicBezTo>
                      <a:pt x="67" y="27"/>
                      <a:pt x="67" y="27"/>
                      <a:pt x="67" y="27"/>
                    </a:cubicBezTo>
                    <a:cubicBezTo>
                      <a:pt x="71" y="24"/>
                      <a:pt x="71" y="18"/>
                      <a:pt x="69" y="15"/>
                    </a:cubicBezTo>
                    <a:cubicBezTo>
                      <a:pt x="66" y="11"/>
                      <a:pt x="60" y="10"/>
                      <a:pt x="56" y="13"/>
                    </a:cubicBezTo>
                    <a:lnTo>
                      <a:pt x="30" y="33"/>
                    </a:lnTo>
                    <a:close/>
                  </a:path>
                </a:pathLst>
              </a:custGeom>
              <a:grpFill/>
              <a:ln>
                <a:noFill/>
              </a:ln>
              <a:extLst/>
            </p:spPr>
            <p:txBody>
              <a:bodyPr vert="horz" wrap="square" lIns="91440" tIns="45720" rIns="91440" bIns="45720" numCol="1" anchor="t" anchorCtr="0" compatLnSpc="1">
                <a:prstTxWarp prst="textNoShape">
                  <a:avLst/>
                </a:prstTxWarp>
              </a:bodyPr>
              <a:lstStyle/>
              <a:p>
                <a:pPr defTabSz="914286"/>
                <a:endParaRPr lang="en-US" sz="1800">
                  <a:solidFill>
                    <a:srgbClr val="292929"/>
                  </a:solidFill>
                </a:endParaRPr>
              </a:p>
            </p:txBody>
          </p:sp>
          <p:sp>
            <p:nvSpPr>
              <p:cNvPr id="35" name="Freeform 19"/>
              <p:cNvSpPr>
                <a:spLocks/>
              </p:cNvSpPr>
              <p:nvPr/>
            </p:nvSpPr>
            <p:spPr bwMode="black">
              <a:xfrm>
                <a:off x="8953500" y="3958166"/>
                <a:ext cx="90488" cy="165100"/>
              </a:xfrm>
              <a:custGeom>
                <a:avLst/>
                <a:gdLst>
                  <a:gd name="T0" fmla="*/ 24 w 24"/>
                  <a:gd name="T1" fmla="*/ 27 h 44"/>
                  <a:gd name="T2" fmla="*/ 24 w 24"/>
                  <a:gd name="T3" fmla="*/ 17 h 44"/>
                  <a:gd name="T4" fmla="*/ 24 w 24"/>
                  <a:gd name="T5" fmla="*/ 16 h 44"/>
                  <a:gd name="T6" fmla="*/ 0 w 24"/>
                  <a:gd name="T7" fmla="*/ 0 h 44"/>
                  <a:gd name="T8" fmla="*/ 0 w 24"/>
                  <a:gd name="T9" fmla="*/ 44 h 44"/>
                  <a:gd name="T10" fmla="*/ 24 w 24"/>
                  <a:gd name="T11" fmla="*/ 28 h 44"/>
                  <a:gd name="T12" fmla="*/ 24 w 24"/>
                  <a:gd name="T13" fmla="*/ 27 h 44"/>
                </a:gdLst>
                <a:ahLst/>
                <a:cxnLst>
                  <a:cxn ang="0">
                    <a:pos x="T0" y="T1"/>
                  </a:cxn>
                  <a:cxn ang="0">
                    <a:pos x="T2" y="T3"/>
                  </a:cxn>
                  <a:cxn ang="0">
                    <a:pos x="T4" y="T5"/>
                  </a:cxn>
                  <a:cxn ang="0">
                    <a:pos x="T6" y="T7"/>
                  </a:cxn>
                  <a:cxn ang="0">
                    <a:pos x="T8" y="T9"/>
                  </a:cxn>
                  <a:cxn ang="0">
                    <a:pos x="T10" y="T11"/>
                  </a:cxn>
                  <a:cxn ang="0">
                    <a:pos x="T12" y="T13"/>
                  </a:cxn>
                </a:cxnLst>
                <a:rect l="0" t="0" r="r" b="b"/>
                <a:pathLst>
                  <a:path w="24" h="44">
                    <a:moveTo>
                      <a:pt x="24" y="27"/>
                    </a:moveTo>
                    <a:cubicBezTo>
                      <a:pt x="24" y="17"/>
                      <a:pt x="24" y="17"/>
                      <a:pt x="24" y="17"/>
                    </a:cubicBezTo>
                    <a:cubicBezTo>
                      <a:pt x="24" y="16"/>
                      <a:pt x="24" y="16"/>
                      <a:pt x="24" y="16"/>
                    </a:cubicBezTo>
                    <a:cubicBezTo>
                      <a:pt x="0" y="0"/>
                      <a:pt x="0" y="0"/>
                      <a:pt x="0" y="0"/>
                    </a:cubicBezTo>
                    <a:cubicBezTo>
                      <a:pt x="0" y="44"/>
                      <a:pt x="0" y="44"/>
                      <a:pt x="0" y="44"/>
                    </a:cubicBezTo>
                    <a:cubicBezTo>
                      <a:pt x="24" y="28"/>
                      <a:pt x="24" y="28"/>
                      <a:pt x="24" y="28"/>
                    </a:cubicBezTo>
                    <a:cubicBezTo>
                      <a:pt x="24" y="27"/>
                      <a:pt x="24" y="27"/>
                      <a:pt x="24" y="27"/>
                    </a:cubicBezTo>
                    <a:close/>
                  </a:path>
                </a:pathLst>
              </a:custGeom>
              <a:grpFill/>
              <a:ln>
                <a:noFill/>
              </a:ln>
              <a:extLst/>
            </p:spPr>
            <p:txBody>
              <a:bodyPr vert="horz" wrap="square" lIns="91440" tIns="45720" rIns="91440" bIns="45720" numCol="1" anchor="t" anchorCtr="0" compatLnSpc="1">
                <a:prstTxWarp prst="textNoShape">
                  <a:avLst/>
                </a:prstTxWarp>
              </a:bodyPr>
              <a:lstStyle/>
              <a:p>
                <a:pPr defTabSz="914286"/>
                <a:endParaRPr lang="en-US" sz="1800">
                  <a:solidFill>
                    <a:srgbClr val="292929"/>
                  </a:solidFill>
                </a:endParaRPr>
              </a:p>
            </p:txBody>
          </p:sp>
          <p:sp>
            <p:nvSpPr>
              <p:cNvPr id="36" name="Freeform 20"/>
              <p:cNvSpPr>
                <a:spLocks/>
              </p:cNvSpPr>
              <p:nvPr/>
            </p:nvSpPr>
            <p:spPr bwMode="black">
              <a:xfrm>
                <a:off x="9055100" y="4010553"/>
                <a:ext cx="68263" cy="60325"/>
              </a:xfrm>
              <a:custGeom>
                <a:avLst/>
                <a:gdLst>
                  <a:gd name="T0" fmla="*/ 3 w 18"/>
                  <a:gd name="T1" fmla="*/ 16 h 16"/>
                  <a:gd name="T2" fmla="*/ 15 w 18"/>
                  <a:gd name="T3" fmla="*/ 16 h 16"/>
                  <a:gd name="T4" fmla="*/ 18 w 18"/>
                  <a:gd name="T5" fmla="*/ 13 h 16"/>
                  <a:gd name="T6" fmla="*/ 18 w 18"/>
                  <a:gd name="T7" fmla="*/ 3 h 16"/>
                  <a:gd name="T8" fmla="*/ 15 w 18"/>
                  <a:gd name="T9" fmla="*/ 0 h 16"/>
                  <a:gd name="T10" fmla="*/ 3 w 18"/>
                  <a:gd name="T11" fmla="*/ 0 h 16"/>
                  <a:gd name="T12" fmla="*/ 0 w 18"/>
                  <a:gd name="T13" fmla="*/ 3 h 16"/>
                  <a:gd name="T14" fmla="*/ 0 w 18"/>
                  <a:gd name="T15" fmla="*/ 13 h 16"/>
                  <a:gd name="T16" fmla="*/ 3 w 18"/>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6">
                    <a:moveTo>
                      <a:pt x="3" y="16"/>
                    </a:moveTo>
                    <a:cubicBezTo>
                      <a:pt x="15" y="16"/>
                      <a:pt x="15" y="16"/>
                      <a:pt x="15" y="16"/>
                    </a:cubicBezTo>
                    <a:cubicBezTo>
                      <a:pt x="17" y="16"/>
                      <a:pt x="18" y="15"/>
                      <a:pt x="18" y="13"/>
                    </a:cubicBezTo>
                    <a:cubicBezTo>
                      <a:pt x="18" y="3"/>
                      <a:pt x="18" y="3"/>
                      <a:pt x="18" y="3"/>
                    </a:cubicBezTo>
                    <a:cubicBezTo>
                      <a:pt x="18" y="1"/>
                      <a:pt x="17" y="0"/>
                      <a:pt x="15" y="0"/>
                    </a:cubicBezTo>
                    <a:cubicBezTo>
                      <a:pt x="3" y="0"/>
                      <a:pt x="3" y="0"/>
                      <a:pt x="3" y="0"/>
                    </a:cubicBezTo>
                    <a:cubicBezTo>
                      <a:pt x="1" y="0"/>
                      <a:pt x="0" y="1"/>
                      <a:pt x="0" y="3"/>
                    </a:cubicBezTo>
                    <a:cubicBezTo>
                      <a:pt x="0" y="13"/>
                      <a:pt x="0" y="13"/>
                      <a:pt x="0" y="13"/>
                    </a:cubicBezTo>
                    <a:cubicBezTo>
                      <a:pt x="0" y="15"/>
                      <a:pt x="1" y="16"/>
                      <a:pt x="3" y="16"/>
                    </a:cubicBezTo>
                    <a:close/>
                  </a:path>
                </a:pathLst>
              </a:custGeom>
              <a:grpFill/>
              <a:ln>
                <a:noFill/>
              </a:ln>
              <a:extLst/>
            </p:spPr>
            <p:txBody>
              <a:bodyPr vert="horz" wrap="square" lIns="91440" tIns="45720" rIns="91440" bIns="45720" numCol="1" anchor="t" anchorCtr="0" compatLnSpc="1">
                <a:prstTxWarp prst="textNoShape">
                  <a:avLst/>
                </a:prstTxWarp>
              </a:bodyPr>
              <a:lstStyle/>
              <a:p>
                <a:pPr defTabSz="914286"/>
                <a:endParaRPr lang="en-US" sz="1800">
                  <a:solidFill>
                    <a:srgbClr val="292929"/>
                  </a:solidFill>
                </a:endParaRPr>
              </a:p>
            </p:txBody>
          </p:sp>
          <p:sp>
            <p:nvSpPr>
              <p:cNvPr id="37" name="Freeform 21"/>
              <p:cNvSpPr>
                <a:spLocks/>
              </p:cNvSpPr>
              <p:nvPr/>
            </p:nvSpPr>
            <p:spPr bwMode="black">
              <a:xfrm>
                <a:off x="8920162" y="3943878"/>
                <a:ext cx="19050" cy="195263"/>
              </a:xfrm>
              <a:custGeom>
                <a:avLst/>
                <a:gdLst>
                  <a:gd name="T0" fmla="*/ 3 w 5"/>
                  <a:gd name="T1" fmla="*/ 0 h 52"/>
                  <a:gd name="T2" fmla="*/ 2 w 5"/>
                  <a:gd name="T3" fmla="*/ 0 h 52"/>
                  <a:gd name="T4" fmla="*/ 0 w 5"/>
                  <a:gd name="T5" fmla="*/ 2 h 52"/>
                  <a:gd name="T6" fmla="*/ 0 w 5"/>
                  <a:gd name="T7" fmla="*/ 50 h 52"/>
                  <a:gd name="T8" fmla="*/ 2 w 5"/>
                  <a:gd name="T9" fmla="*/ 52 h 52"/>
                  <a:gd name="T10" fmla="*/ 3 w 5"/>
                  <a:gd name="T11" fmla="*/ 52 h 52"/>
                  <a:gd name="T12" fmla="*/ 5 w 5"/>
                  <a:gd name="T13" fmla="*/ 50 h 52"/>
                  <a:gd name="T14" fmla="*/ 5 w 5"/>
                  <a:gd name="T15" fmla="*/ 2 h 52"/>
                  <a:gd name="T16" fmla="*/ 3 w 5"/>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52">
                    <a:moveTo>
                      <a:pt x="3" y="0"/>
                    </a:moveTo>
                    <a:cubicBezTo>
                      <a:pt x="2" y="0"/>
                      <a:pt x="2" y="0"/>
                      <a:pt x="2" y="0"/>
                    </a:cubicBezTo>
                    <a:cubicBezTo>
                      <a:pt x="1" y="0"/>
                      <a:pt x="0" y="1"/>
                      <a:pt x="0" y="2"/>
                    </a:cubicBezTo>
                    <a:cubicBezTo>
                      <a:pt x="0" y="50"/>
                      <a:pt x="0" y="50"/>
                      <a:pt x="0" y="50"/>
                    </a:cubicBezTo>
                    <a:cubicBezTo>
                      <a:pt x="0" y="51"/>
                      <a:pt x="1" y="52"/>
                      <a:pt x="2" y="52"/>
                    </a:cubicBezTo>
                    <a:cubicBezTo>
                      <a:pt x="3" y="52"/>
                      <a:pt x="3" y="52"/>
                      <a:pt x="3" y="52"/>
                    </a:cubicBezTo>
                    <a:cubicBezTo>
                      <a:pt x="4" y="52"/>
                      <a:pt x="5" y="51"/>
                      <a:pt x="5" y="50"/>
                    </a:cubicBezTo>
                    <a:cubicBezTo>
                      <a:pt x="5" y="2"/>
                      <a:pt x="5" y="2"/>
                      <a:pt x="5" y="2"/>
                    </a:cubicBezTo>
                    <a:cubicBezTo>
                      <a:pt x="5" y="1"/>
                      <a:pt x="4" y="0"/>
                      <a:pt x="3" y="0"/>
                    </a:cubicBezTo>
                    <a:close/>
                  </a:path>
                </a:pathLst>
              </a:custGeom>
              <a:grpFill/>
              <a:ln>
                <a:noFill/>
              </a:ln>
              <a:extLst/>
            </p:spPr>
            <p:txBody>
              <a:bodyPr vert="horz" wrap="square" lIns="91440" tIns="45720" rIns="91440" bIns="45720" numCol="1" anchor="t" anchorCtr="0" compatLnSpc="1">
                <a:prstTxWarp prst="textNoShape">
                  <a:avLst/>
                </a:prstTxWarp>
              </a:bodyPr>
              <a:lstStyle/>
              <a:p>
                <a:pPr defTabSz="914286"/>
                <a:endParaRPr lang="en-US" sz="1800">
                  <a:solidFill>
                    <a:srgbClr val="292929"/>
                  </a:solidFill>
                </a:endParaRPr>
              </a:p>
            </p:txBody>
          </p:sp>
        </p:grpSp>
      </p:grpSp>
      <p:grpSp>
        <p:nvGrpSpPr>
          <p:cNvPr id="47" name="Group 46"/>
          <p:cNvGrpSpPr/>
          <p:nvPr/>
        </p:nvGrpSpPr>
        <p:grpSpPr>
          <a:xfrm>
            <a:off x="6759261" y="1525972"/>
            <a:ext cx="2042940" cy="2044007"/>
            <a:chOff x="9010001" y="5407398"/>
            <a:chExt cx="2723211" cy="2725342"/>
          </a:xfrm>
        </p:grpSpPr>
        <p:sp>
          <p:nvSpPr>
            <p:cNvPr id="26" name="Rounded Rectangle 25"/>
            <p:cNvSpPr/>
            <p:nvPr/>
          </p:nvSpPr>
          <p:spPr bwMode="auto">
            <a:xfrm>
              <a:off x="9010001" y="5407398"/>
              <a:ext cx="2723211" cy="2725342"/>
            </a:xfrm>
            <a:prstGeom prst="roundRect">
              <a:avLst>
                <a:gd name="adj" fmla="val 0"/>
              </a:avLst>
            </a:prstGeom>
            <a:solidFill>
              <a:schemeClr val="accent4"/>
            </a:solidFill>
            <a:ln w="9525" cap="flat" cmpd="sng" algn="ctr">
              <a:noFill/>
              <a:prstDash val="solid"/>
            </a:ln>
            <a:effectLst/>
          </p:spPr>
          <p:txBody>
            <a:bodyPr rtlCol="0" anchor="t" anchorCtr="0"/>
            <a:lstStyle/>
            <a:p>
              <a:pPr algn="ctr" defTabSz="914248"/>
              <a:r>
                <a:rPr lang="en-US" sz="1800" dirty="0">
                  <a:solidFill>
                    <a:srgbClr val="FFFFFF">
                      <a:alpha val="99000"/>
                    </a:srgbClr>
                  </a:solidFill>
                  <a:ea typeface="Segoe UI" pitchFamily="34" charset="0"/>
                  <a:cs typeface="Segoe UI" pitchFamily="34" charset="0"/>
                </a:rPr>
                <a:t> </a:t>
              </a:r>
            </a:p>
          </p:txBody>
        </p:sp>
        <p:sp>
          <p:nvSpPr>
            <p:cNvPr id="27" name="Rectangle 26"/>
            <p:cNvSpPr/>
            <p:nvPr/>
          </p:nvSpPr>
          <p:spPr>
            <a:xfrm>
              <a:off x="9148750" y="7633875"/>
              <a:ext cx="2584462" cy="455509"/>
            </a:xfrm>
            <a:prstGeom prst="rect">
              <a:avLst/>
            </a:prstGeom>
          </p:spPr>
          <p:txBody>
            <a:bodyPr wrap="square">
              <a:spAutoFit/>
            </a:bodyPr>
            <a:lstStyle/>
            <a:p>
              <a:pPr defTabSz="685805">
                <a:lnSpc>
                  <a:spcPct val="90000"/>
                </a:lnSpc>
                <a:defRPr/>
              </a:pPr>
              <a:r>
                <a:rPr lang="en-US" sz="1800" kern="0" dirty="0">
                  <a:gradFill>
                    <a:gsLst>
                      <a:gs pos="0">
                        <a:srgbClr val="FFFFFF"/>
                      </a:gs>
                      <a:gs pos="100000">
                        <a:srgbClr val="FFFFFF"/>
                      </a:gs>
                    </a:gsLst>
                    <a:lin ang="5400000" scaled="0"/>
                  </a:gradFill>
                </a:rPr>
                <a:t>Platform Services</a:t>
              </a:r>
            </a:p>
          </p:txBody>
        </p:sp>
        <p:sp>
          <p:nvSpPr>
            <p:cNvPr id="38" name="Freeform 80"/>
            <p:cNvSpPr>
              <a:spLocks noEditPoints="1"/>
            </p:cNvSpPr>
            <p:nvPr/>
          </p:nvSpPr>
          <p:spPr bwMode="black">
            <a:xfrm>
              <a:off x="9876306" y="5795037"/>
              <a:ext cx="990600" cy="1201804"/>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86"/>
              <a:endParaRPr lang="en-US" sz="1800">
                <a:solidFill>
                  <a:srgbClr val="292929"/>
                </a:solidFill>
              </a:endParaRPr>
            </a:p>
          </p:txBody>
        </p:sp>
      </p:grpSp>
      <p:grpSp>
        <p:nvGrpSpPr>
          <p:cNvPr id="3" name="Group 2"/>
          <p:cNvGrpSpPr/>
          <p:nvPr/>
        </p:nvGrpSpPr>
        <p:grpSpPr>
          <a:xfrm>
            <a:off x="2481747" y="1525972"/>
            <a:ext cx="2042940" cy="2044007"/>
            <a:chOff x="3308134" y="2034627"/>
            <a:chExt cx="2723211" cy="2725342"/>
          </a:xfrm>
        </p:grpSpPr>
        <p:sp>
          <p:nvSpPr>
            <p:cNvPr id="20" name="Rounded Rectangle 19"/>
            <p:cNvSpPr/>
            <p:nvPr/>
          </p:nvSpPr>
          <p:spPr bwMode="auto">
            <a:xfrm>
              <a:off x="3308134" y="2034627"/>
              <a:ext cx="2723211" cy="2725342"/>
            </a:xfrm>
            <a:prstGeom prst="roundRect">
              <a:avLst>
                <a:gd name="adj" fmla="val 0"/>
              </a:avLst>
            </a:prstGeom>
            <a:solidFill>
              <a:schemeClr val="accent4"/>
            </a:solidFill>
            <a:ln w="9525" cap="flat" cmpd="sng" algn="ctr">
              <a:noFill/>
              <a:prstDash val="solid"/>
            </a:ln>
            <a:effectLst/>
          </p:spPr>
          <p:txBody>
            <a:bodyPr rtlCol="0" anchor="t" anchorCtr="0"/>
            <a:lstStyle/>
            <a:p>
              <a:pPr algn="ctr" defTabSz="914248"/>
              <a:r>
                <a:rPr lang="en-US" sz="1800" dirty="0">
                  <a:solidFill>
                    <a:srgbClr val="FFFFFF">
                      <a:alpha val="99000"/>
                    </a:srgbClr>
                  </a:solidFill>
                  <a:ea typeface="Segoe UI" pitchFamily="34" charset="0"/>
                  <a:cs typeface="Segoe UI" pitchFamily="34" charset="0"/>
                </a:rPr>
                <a:t> </a:t>
              </a:r>
            </a:p>
          </p:txBody>
        </p:sp>
        <p:sp>
          <p:nvSpPr>
            <p:cNvPr id="21" name="Rectangle 20"/>
            <p:cNvSpPr/>
            <p:nvPr/>
          </p:nvSpPr>
          <p:spPr>
            <a:xfrm>
              <a:off x="3446883" y="4257226"/>
              <a:ext cx="2453752" cy="455509"/>
            </a:xfrm>
            <a:prstGeom prst="rect">
              <a:avLst/>
            </a:prstGeom>
          </p:spPr>
          <p:txBody>
            <a:bodyPr wrap="square">
              <a:spAutoFit/>
            </a:bodyPr>
            <a:lstStyle/>
            <a:p>
              <a:pPr defTabSz="685805">
                <a:lnSpc>
                  <a:spcPct val="90000"/>
                </a:lnSpc>
                <a:defRPr/>
              </a:pPr>
              <a:r>
                <a:rPr lang="en-US" sz="1800" kern="0" dirty="0">
                  <a:gradFill>
                    <a:gsLst>
                      <a:gs pos="0">
                        <a:srgbClr val="FFFFFF"/>
                      </a:gs>
                      <a:gs pos="100000">
                        <a:srgbClr val="FFFFFF"/>
                      </a:gs>
                    </a:gsLst>
                    <a:lin ang="5400000" scaled="0"/>
                  </a:gradFill>
                </a:rPr>
                <a:t>Identity</a:t>
              </a:r>
            </a:p>
          </p:txBody>
        </p:sp>
        <p:sp>
          <p:nvSpPr>
            <p:cNvPr id="25" name="Freeform 164"/>
            <p:cNvSpPr>
              <a:spLocks noEditPoints="1"/>
            </p:cNvSpPr>
            <p:nvPr/>
          </p:nvSpPr>
          <p:spPr bwMode="black">
            <a:xfrm>
              <a:off x="4231136" y="2491311"/>
              <a:ext cx="877207" cy="1216165"/>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defTabSz="914286"/>
              <a:endParaRPr lang="en-US" sz="1800">
                <a:solidFill>
                  <a:srgbClr val="292929"/>
                </a:solidFill>
              </a:endParaRPr>
            </a:p>
          </p:txBody>
        </p:sp>
      </p:grpSp>
      <p:sp>
        <p:nvSpPr>
          <p:cNvPr id="28"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0"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
              </a:rPr>
              <a:t>www.rapidbbs.cn</a:t>
            </a:r>
            <a:endParaRPr lang="zh-CN" altLang="en-US" sz="1200" b="0">
              <a:latin typeface="Arial" charset="0"/>
              <a:ea typeface="ＭＳ Ｐゴシック" pitchFamily="34" charset="-128"/>
            </a:endParaRPr>
          </a:p>
        </p:txBody>
      </p:sp>
      <p:pic>
        <p:nvPicPr>
          <p:cNvPr id="39" name="Picture 2">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05016829"/>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1000"/>
                                        <p:tgtEl>
                                          <p:spTgt spid="44"/>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1000"/>
                                        <p:tgtEl>
                                          <p:spTgt spid="3"/>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46"/>
                                        </p:tgtEl>
                                        <p:attrNameLst>
                                          <p:attrName>style.visibility</p:attrName>
                                        </p:attrNameLst>
                                      </p:cBhvr>
                                      <p:to>
                                        <p:strVal val="visible"/>
                                      </p:to>
                                    </p:set>
                                    <p:animEffect transition="in" filter="fade">
                                      <p:cBhvr>
                                        <p:cTn id="15" dur="1000"/>
                                        <p:tgtEl>
                                          <p:spTgt spid="46"/>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47"/>
                                        </p:tgtEl>
                                        <p:attrNameLst>
                                          <p:attrName>style.visibility</p:attrName>
                                        </p:attrNameLst>
                                      </p:cBhvr>
                                      <p:to>
                                        <p:strVal val="visible"/>
                                      </p:to>
                                    </p:set>
                                    <p:animEffect transition="in" filter="fade">
                                      <p:cBhvr>
                                        <p:cTn id="19" dur="10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4105" y="4629157"/>
            <a:ext cx="8363938" cy="457049"/>
          </a:xfrm>
        </p:spPr>
        <p:txBody>
          <a:bodyPr/>
          <a:lstStyle/>
          <a:p>
            <a:r>
              <a:rPr lang="en-US" dirty="0" smtClean="0"/>
              <a:t>Private Cloud Considerations</a:t>
            </a:r>
            <a:endParaRPr lang="en-US" dirty="0"/>
          </a:p>
        </p:txBody>
      </p:sp>
      <p:grpSp>
        <p:nvGrpSpPr>
          <p:cNvPr id="5" name="Group 4"/>
          <p:cNvGrpSpPr/>
          <p:nvPr/>
        </p:nvGrpSpPr>
        <p:grpSpPr>
          <a:xfrm>
            <a:off x="708556" y="330355"/>
            <a:ext cx="1943606" cy="1910000"/>
            <a:chOff x="708848" y="1820883"/>
            <a:chExt cx="3429000" cy="2791498"/>
          </a:xfrm>
        </p:grpSpPr>
        <p:sp>
          <p:nvSpPr>
            <p:cNvPr id="6" name="Rectangle 5"/>
            <p:cNvSpPr/>
            <p:nvPr/>
          </p:nvSpPr>
          <p:spPr bwMode="auto">
            <a:xfrm>
              <a:off x="708848" y="1820883"/>
              <a:ext cx="3429000" cy="2791498"/>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dirty="0">
                <a:solidFill>
                  <a:srgbClr val="FFFFFF">
                    <a:alpha val="98824"/>
                  </a:srgbClr>
                </a:solidFill>
                <a:ea typeface="Segoe UI" pitchFamily="34" charset="0"/>
                <a:cs typeface="Segoe UI" pitchFamily="34" charset="0"/>
              </a:endParaRPr>
            </a:p>
          </p:txBody>
        </p:sp>
        <p:sp>
          <p:nvSpPr>
            <p:cNvPr id="7" name="Content Placeholder 4"/>
            <p:cNvSpPr txBox="1">
              <a:spLocks/>
            </p:cNvSpPr>
            <p:nvPr/>
          </p:nvSpPr>
          <p:spPr>
            <a:xfrm>
              <a:off x="975547" y="3388660"/>
              <a:ext cx="2895601" cy="971612"/>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en-US" sz="2400" dirty="0">
                  <a:gradFill>
                    <a:gsLst>
                      <a:gs pos="0">
                        <a:srgbClr val="FFFFFF"/>
                      </a:gs>
                      <a:gs pos="86000">
                        <a:srgbClr val="FFFFFF"/>
                      </a:gs>
                    </a:gsLst>
                    <a:lin ang="5400000" scaled="0"/>
                  </a:gradFill>
                </a:rPr>
                <a:t>Mission Critical</a:t>
              </a:r>
            </a:p>
          </p:txBody>
        </p:sp>
        <p:sp>
          <p:nvSpPr>
            <p:cNvPr id="8" name="Freeform 7"/>
            <p:cNvSpPr>
              <a:spLocks/>
            </p:cNvSpPr>
            <p:nvPr/>
          </p:nvSpPr>
          <p:spPr bwMode="black">
            <a:xfrm>
              <a:off x="1743644" y="2329024"/>
              <a:ext cx="1359408" cy="1059941"/>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grpSp>
      <p:grpSp>
        <p:nvGrpSpPr>
          <p:cNvPr id="14" name="Group 13"/>
          <p:cNvGrpSpPr/>
          <p:nvPr/>
        </p:nvGrpSpPr>
        <p:grpSpPr>
          <a:xfrm>
            <a:off x="3550006" y="330355"/>
            <a:ext cx="1943606" cy="1910000"/>
            <a:chOff x="3503612" y="425134"/>
            <a:chExt cx="3162300" cy="2546666"/>
          </a:xfrm>
        </p:grpSpPr>
        <p:sp>
          <p:nvSpPr>
            <p:cNvPr id="11" name="Rectangle 10"/>
            <p:cNvSpPr/>
            <p:nvPr/>
          </p:nvSpPr>
          <p:spPr bwMode="auto">
            <a:xfrm>
              <a:off x="3503612" y="425134"/>
              <a:ext cx="3162300" cy="2546666"/>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dirty="0">
                <a:solidFill>
                  <a:srgbClr val="FFFFFF">
                    <a:alpha val="98824"/>
                  </a:srgbClr>
                </a:solidFill>
                <a:ea typeface="Segoe UI" pitchFamily="34" charset="0"/>
                <a:cs typeface="Segoe UI" pitchFamily="34" charset="0"/>
              </a:endParaRPr>
            </a:p>
          </p:txBody>
        </p:sp>
        <p:sp>
          <p:nvSpPr>
            <p:cNvPr id="12" name="Content Placeholder 4"/>
            <p:cNvSpPr txBox="1">
              <a:spLocks/>
            </p:cNvSpPr>
            <p:nvPr/>
          </p:nvSpPr>
          <p:spPr>
            <a:xfrm>
              <a:off x="3749568" y="2069783"/>
              <a:ext cx="2670388" cy="443199"/>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en-US" sz="2400" dirty="0">
                  <a:gradFill>
                    <a:gsLst>
                      <a:gs pos="0">
                        <a:srgbClr val="FFFFFF"/>
                      </a:gs>
                      <a:gs pos="86000">
                        <a:srgbClr val="FFFFFF"/>
                      </a:gs>
                    </a:gsLst>
                    <a:lin ang="5400000" scaled="0"/>
                  </a:gradFill>
                </a:rPr>
                <a:t>Storage</a:t>
              </a:r>
            </a:p>
          </p:txBody>
        </p:sp>
        <p:sp>
          <p:nvSpPr>
            <p:cNvPr id="13" name="Freeform 12"/>
            <p:cNvSpPr>
              <a:spLocks noEditPoints="1"/>
            </p:cNvSpPr>
            <p:nvPr/>
          </p:nvSpPr>
          <p:spPr bwMode="black">
            <a:xfrm>
              <a:off x="4592848" y="881486"/>
              <a:ext cx="983829" cy="972983"/>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grpSp>
      <p:grpSp>
        <p:nvGrpSpPr>
          <p:cNvPr id="15" name="Group 14"/>
          <p:cNvGrpSpPr/>
          <p:nvPr/>
        </p:nvGrpSpPr>
        <p:grpSpPr>
          <a:xfrm>
            <a:off x="6371183" y="330356"/>
            <a:ext cx="1943608" cy="1886991"/>
            <a:chOff x="8489660" y="1820883"/>
            <a:chExt cx="3429000" cy="2791498"/>
          </a:xfrm>
        </p:grpSpPr>
        <p:sp>
          <p:nvSpPr>
            <p:cNvPr id="16" name="Rectangle 15"/>
            <p:cNvSpPr/>
            <p:nvPr/>
          </p:nvSpPr>
          <p:spPr bwMode="auto">
            <a:xfrm>
              <a:off x="8489660" y="1820883"/>
              <a:ext cx="3429000" cy="2791498"/>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dirty="0">
                <a:solidFill>
                  <a:srgbClr val="FFFFFF">
                    <a:alpha val="98824"/>
                  </a:srgbClr>
                </a:solidFill>
                <a:ea typeface="Segoe UI" pitchFamily="34" charset="0"/>
                <a:cs typeface="Segoe UI" pitchFamily="34" charset="0"/>
              </a:endParaRPr>
            </a:p>
          </p:txBody>
        </p:sp>
        <p:sp>
          <p:nvSpPr>
            <p:cNvPr id="17" name="Content Placeholder 4"/>
            <p:cNvSpPr txBox="1">
              <a:spLocks/>
            </p:cNvSpPr>
            <p:nvPr/>
          </p:nvSpPr>
          <p:spPr>
            <a:xfrm>
              <a:off x="8756357" y="3382736"/>
              <a:ext cx="2895602" cy="983460"/>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en-US" sz="2400" dirty="0">
                  <a:gradFill>
                    <a:gsLst>
                      <a:gs pos="0">
                        <a:srgbClr val="FFFFFF"/>
                      </a:gs>
                      <a:gs pos="86000">
                        <a:srgbClr val="FFFFFF"/>
                      </a:gs>
                    </a:gsLst>
                    <a:lin ang="5400000" scaled="0"/>
                  </a:gradFill>
                </a:rPr>
                <a:t>High Availability</a:t>
              </a:r>
            </a:p>
          </p:txBody>
        </p:sp>
        <p:pic>
          <p:nvPicPr>
            <p:cNvPr id="18" name="Picture 7" descr="\\MAGNUM\Projects\Microsoft\Cloud Power FY12\Design\ICONS_PNG\Within_Your_Reach.png"/>
            <p:cNvPicPr>
              <a:picLocks noChangeAspect="1" noChangeArrowheads="1"/>
            </p:cNvPicPr>
            <p:nvPr/>
          </p:nvPicPr>
          <p:blipFill>
            <a:blip r:embed="rId4" cstate="print">
              <a:biLevel thresh="25000"/>
            </a:blip>
            <a:stretch>
              <a:fillRect/>
            </a:stretch>
          </p:blipFill>
          <p:spPr bwMode="auto">
            <a:xfrm>
              <a:off x="9597086" y="2196732"/>
              <a:ext cx="1214147" cy="1324526"/>
            </a:xfrm>
            <a:prstGeom prst="rect">
              <a:avLst/>
            </a:prstGeom>
            <a:noFill/>
          </p:spPr>
        </p:pic>
      </p:grpSp>
      <p:grpSp>
        <p:nvGrpSpPr>
          <p:cNvPr id="24" name="Group 23"/>
          <p:cNvGrpSpPr/>
          <p:nvPr/>
        </p:nvGrpSpPr>
        <p:grpSpPr>
          <a:xfrm>
            <a:off x="708557" y="2468954"/>
            <a:ext cx="1943606" cy="1714500"/>
            <a:chOff x="684213" y="3276600"/>
            <a:chExt cx="2590800" cy="2286000"/>
          </a:xfrm>
        </p:grpSpPr>
        <p:sp>
          <p:nvSpPr>
            <p:cNvPr id="20" name="Rectangle 19"/>
            <p:cNvSpPr/>
            <p:nvPr/>
          </p:nvSpPr>
          <p:spPr bwMode="auto">
            <a:xfrm>
              <a:off x="684213" y="3276600"/>
              <a:ext cx="2590800" cy="228600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dirty="0">
                <a:solidFill>
                  <a:srgbClr val="FFFFFF">
                    <a:alpha val="98824"/>
                  </a:srgbClr>
                </a:solidFill>
                <a:ea typeface="Segoe UI" pitchFamily="34" charset="0"/>
                <a:cs typeface="Segoe UI" pitchFamily="34" charset="0"/>
              </a:endParaRPr>
            </a:p>
          </p:txBody>
        </p:sp>
        <p:sp>
          <p:nvSpPr>
            <p:cNvPr id="21" name="Content Placeholder 4"/>
            <p:cNvSpPr txBox="1">
              <a:spLocks/>
            </p:cNvSpPr>
            <p:nvPr/>
          </p:nvSpPr>
          <p:spPr>
            <a:xfrm>
              <a:off x="885718" y="4515112"/>
              <a:ext cx="2187788" cy="886396"/>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en-US" sz="2400" dirty="0">
                  <a:gradFill>
                    <a:gsLst>
                      <a:gs pos="0">
                        <a:srgbClr val="FFFFFF"/>
                      </a:gs>
                      <a:gs pos="86000">
                        <a:srgbClr val="FFFFFF"/>
                      </a:gs>
                    </a:gsLst>
                    <a:lin ang="5400000" scaled="0"/>
                  </a:gradFill>
                </a:rPr>
                <a:t>VM Mobility</a:t>
              </a:r>
            </a:p>
          </p:txBody>
        </p:sp>
        <p:sp>
          <p:nvSpPr>
            <p:cNvPr id="23" name="Freeform 87"/>
            <p:cNvSpPr>
              <a:spLocks noEditPoints="1"/>
            </p:cNvSpPr>
            <p:nvPr/>
          </p:nvSpPr>
          <p:spPr bwMode="auto">
            <a:xfrm>
              <a:off x="1293811" y="3906487"/>
              <a:ext cx="1371600" cy="533400"/>
            </a:xfrm>
            <a:custGeom>
              <a:avLst/>
              <a:gdLst>
                <a:gd name="T0" fmla="*/ 0 w 385"/>
                <a:gd name="T1" fmla="*/ 46 h 107"/>
                <a:gd name="T2" fmla="*/ 37 w 385"/>
                <a:gd name="T3" fmla="*/ 46 h 107"/>
                <a:gd name="T4" fmla="*/ 37 w 385"/>
                <a:gd name="T5" fmla="*/ 61 h 107"/>
                <a:gd name="T6" fmla="*/ 0 w 385"/>
                <a:gd name="T7" fmla="*/ 61 h 107"/>
                <a:gd name="T8" fmla="*/ 0 w 385"/>
                <a:gd name="T9" fmla="*/ 46 h 107"/>
                <a:gd name="T10" fmla="*/ 74 w 385"/>
                <a:gd name="T11" fmla="*/ 61 h 107"/>
                <a:gd name="T12" fmla="*/ 111 w 385"/>
                <a:gd name="T13" fmla="*/ 61 h 107"/>
                <a:gd name="T14" fmla="*/ 111 w 385"/>
                <a:gd name="T15" fmla="*/ 46 h 107"/>
                <a:gd name="T16" fmla="*/ 74 w 385"/>
                <a:gd name="T17" fmla="*/ 46 h 107"/>
                <a:gd name="T18" fmla="*/ 74 w 385"/>
                <a:gd name="T19" fmla="*/ 61 h 107"/>
                <a:gd name="T20" fmla="*/ 222 w 385"/>
                <a:gd name="T21" fmla="*/ 61 h 107"/>
                <a:gd name="T22" fmla="*/ 259 w 385"/>
                <a:gd name="T23" fmla="*/ 61 h 107"/>
                <a:gd name="T24" fmla="*/ 259 w 385"/>
                <a:gd name="T25" fmla="*/ 46 h 107"/>
                <a:gd name="T26" fmla="*/ 222 w 385"/>
                <a:gd name="T27" fmla="*/ 46 h 107"/>
                <a:gd name="T28" fmla="*/ 222 w 385"/>
                <a:gd name="T29" fmla="*/ 61 h 107"/>
                <a:gd name="T30" fmla="*/ 148 w 385"/>
                <a:gd name="T31" fmla="*/ 61 h 107"/>
                <a:gd name="T32" fmla="*/ 185 w 385"/>
                <a:gd name="T33" fmla="*/ 61 h 107"/>
                <a:gd name="T34" fmla="*/ 185 w 385"/>
                <a:gd name="T35" fmla="*/ 46 h 107"/>
                <a:gd name="T36" fmla="*/ 148 w 385"/>
                <a:gd name="T37" fmla="*/ 46 h 107"/>
                <a:gd name="T38" fmla="*/ 148 w 385"/>
                <a:gd name="T39" fmla="*/ 61 h 107"/>
                <a:gd name="T40" fmla="*/ 382 w 385"/>
                <a:gd name="T41" fmla="*/ 48 h 107"/>
                <a:gd name="T42" fmla="*/ 334 w 385"/>
                <a:gd name="T43" fmla="*/ 0 h 107"/>
                <a:gd name="T44" fmla="*/ 324 w 385"/>
                <a:gd name="T45" fmla="*/ 11 h 107"/>
                <a:gd name="T46" fmla="*/ 359 w 385"/>
                <a:gd name="T47" fmla="*/ 46 h 107"/>
                <a:gd name="T48" fmla="*/ 296 w 385"/>
                <a:gd name="T49" fmla="*/ 46 h 107"/>
                <a:gd name="T50" fmla="*/ 296 w 385"/>
                <a:gd name="T51" fmla="*/ 61 h 107"/>
                <a:gd name="T52" fmla="*/ 359 w 385"/>
                <a:gd name="T53" fmla="*/ 61 h 107"/>
                <a:gd name="T54" fmla="*/ 324 w 385"/>
                <a:gd name="T55" fmla="*/ 96 h 107"/>
                <a:gd name="T56" fmla="*/ 334 w 385"/>
                <a:gd name="T57" fmla="*/ 107 h 107"/>
                <a:gd name="T58" fmla="*/ 382 w 385"/>
                <a:gd name="T59" fmla="*/ 59 h 107"/>
                <a:gd name="T60" fmla="*/ 382 w 385"/>
                <a:gd name="T61" fmla="*/ 4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5" h="107">
                  <a:moveTo>
                    <a:pt x="0" y="46"/>
                  </a:moveTo>
                  <a:cubicBezTo>
                    <a:pt x="37" y="46"/>
                    <a:pt x="37" y="46"/>
                    <a:pt x="37" y="46"/>
                  </a:cubicBezTo>
                  <a:cubicBezTo>
                    <a:pt x="37" y="61"/>
                    <a:pt x="37" y="61"/>
                    <a:pt x="37" y="61"/>
                  </a:cubicBezTo>
                  <a:cubicBezTo>
                    <a:pt x="0" y="61"/>
                    <a:pt x="0" y="61"/>
                    <a:pt x="0" y="61"/>
                  </a:cubicBezTo>
                  <a:lnTo>
                    <a:pt x="0" y="46"/>
                  </a:lnTo>
                  <a:close/>
                  <a:moveTo>
                    <a:pt x="74" y="61"/>
                  </a:moveTo>
                  <a:cubicBezTo>
                    <a:pt x="111" y="61"/>
                    <a:pt x="111" y="61"/>
                    <a:pt x="111" y="61"/>
                  </a:cubicBezTo>
                  <a:cubicBezTo>
                    <a:pt x="111" y="46"/>
                    <a:pt x="111" y="46"/>
                    <a:pt x="111" y="46"/>
                  </a:cubicBezTo>
                  <a:cubicBezTo>
                    <a:pt x="74" y="46"/>
                    <a:pt x="74" y="46"/>
                    <a:pt x="74" y="46"/>
                  </a:cubicBezTo>
                  <a:lnTo>
                    <a:pt x="74" y="61"/>
                  </a:lnTo>
                  <a:close/>
                  <a:moveTo>
                    <a:pt x="222" y="61"/>
                  </a:moveTo>
                  <a:cubicBezTo>
                    <a:pt x="259" y="61"/>
                    <a:pt x="259" y="61"/>
                    <a:pt x="259" y="61"/>
                  </a:cubicBezTo>
                  <a:cubicBezTo>
                    <a:pt x="259" y="46"/>
                    <a:pt x="259" y="46"/>
                    <a:pt x="259" y="46"/>
                  </a:cubicBezTo>
                  <a:cubicBezTo>
                    <a:pt x="222" y="46"/>
                    <a:pt x="222" y="46"/>
                    <a:pt x="222" y="46"/>
                  </a:cubicBezTo>
                  <a:lnTo>
                    <a:pt x="222" y="61"/>
                  </a:lnTo>
                  <a:close/>
                  <a:moveTo>
                    <a:pt x="148" y="61"/>
                  </a:moveTo>
                  <a:cubicBezTo>
                    <a:pt x="185" y="61"/>
                    <a:pt x="185" y="61"/>
                    <a:pt x="185" y="61"/>
                  </a:cubicBezTo>
                  <a:cubicBezTo>
                    <a:pt x="185" y="46"/>
                    <a:pt x="185" y="46"/>
                    <a:pt x="185" y="46"/>
                  </a:cubicBezTo>
                  <a:cubicBezTo>
                    <a:pt x="148" y="46"/>
                    <a:pt x="148" y="46"/>
                    <a:pt x="148" y="46"/>
                  </a:cubicBezTo>
                  <a:lnTo>
                    <a:pt x="148" y="61"/>
                  </a:lnTo>
                  <a:close/>
                  <a:moveTo>
                    <a:pt x="382" y="48"/>
                  </a:moveTo>
                  <a:cubicBezTo>
                    <a:pt x="334" y="0"/>
                    <a:pt x="334" y="0"/>
                    <a:pt x="334" y="0"/>
                  </a:cubicBezTo>
                  <a:cubicBezTo>
                    <a:pt x="324" y="11"/>
                    <a:pt x="324" y="11"/>
                    <a:pt x="324" y="11"/>
                  </a:cubicBezTo>
                  <a:cubicBezTo>
                    <a:pt x="359" y="46"/>
                    <a:pt x="359" y="46"/>
                    <a:pt x="359" y="46"/>
                  </a:cubicBezTo>
                  <a:cubicBezTo>
                    <a:pt x="296" y="46"/>
                    <a:pt x="296" y="46"/>
                    <a:pt x="296" y="46"/>
                  </a:cubicBezTo>
                  <a:cubicBezTo>
                    <a:pt x="296" y="61"/>
                    <a:pt x="296" y="61"/>
                    <a:pt x="296" y="61"/>
                  </a:cubicBezTo>
                  <a:cubicBezTo>
                    <a:pt x="359" y="61"/>
                    <a:pt x="359" y="61"/>
                    <a:pt x="359" y="61"/>
                  </a:cubicBezTo>
                  <a:cubicBezTo>
                    <a:pt x="324" y="96"/>
                    <a:pt x="324" y="96"/>
                    <a:pt x="324" y="96"/>
                  </a:cubicBezTo>
                  <a:cubicBezTo>
                    <a:pt x="334" y="107"/>
                    <a:pt x="334" y="107"/>
                    <a:pt x="334" y="107"/>
                  </a:cubicBezTo>
                  <a:cubicBezTo>
                    <a:pt x="382" y="59"/>
                    <a:pt x="382" y="59"/>
                    <a:pt x="382" y="59"/>
                  </a:cubicBezTo>
                  <a:cubicBezTo>
                    <a:pt x="385" y="56"/>
                    <a:pt x="385" y="51"/>
                    <a:pt x="382" y="4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2400">
                <a:solidFill>
                  <a:srgbClr val="FFFFFF"/>
                </a:solidFill>
              </a:endParaRPr>
            </a:p>
          </p:txBody>
        </p:sp>
      </p:grpSp>
      <p:grpSp>
        <p:nvGrpSpPr>
          <p:cNvPr id="26" name="Group 25"/>
          <p:cNvGrpSpPr/>
          <p:nvPr/>
        </p:nvGrpSpPr>
        <p:grpSpPr>
          <a:xfrm>
            <a:off x="3550006" y="2484170"/>
            <a:ext cx="1943606" cy="1714500"/>
            <a:chOff x="684213" y="3276600"/>
            <a:chExt cx="2590800" cy="2286000"/>
          </a:xfrm>
        </p:grpSpPr>
        <p:sp>
          <p:nvSpPr>
            <p:cNvPr id="27" name="Rectangle 26"/>
            <p:cNvSpPr/>
            <p:nvPr/>
          </p:nvSpPr>
          <p:spPr bwMode="auto">
            <a:xfrm>
              <a:off x="684213" y="3276600"/>
              <a:ext cx="2590800" cy="228600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dirty="0">
                <a:solidFill>
                  <a:srgbClr val="FFFFFF">
                    <a:alpha val="98824"/>
                  </a:srgbClr>
                </a:solidFill>
                <a:ea typeface="Segoe UI" pitchFamily="34" charset="0"/>
                <a:cs typeface="Segoe UI" pitchFamily="34" charset="0"/>
              </a:endParaRPr>
            </a:p>
          </p:txBody>
        </p:sp>
        <p:sp>
          <p:nvSpPr>
            <p:cNvPr id="28" name="Content Placeholder 4"/>
            <p:cNvSpPr txBox="1">
              <a:spLocks/>
            </p:cNvSpPr>
            <p:nvPr/>
          </p:nvSpPr>
          <p:spPr>
            <a:xfrm>
              <a:off x="885718" y="4736711"/>
              <a:ext cx="2187788" cy="443199"/>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en-US" sz="2400" dirty="0">
                  <a:gradFill>
                    <a:gsLst>
                      <a:gs pos="0">
                        <a:srgbClr val="FFFFFF"/>
                      </a:gs>
                      <a:gs pos="86000">
                        <a:srgbClr val="FFFFFF"/>
                      </a:gs>
                    </a:gsLst>
                    <a:lin ang="5400000" scaled="0"/>
                  </a:gradFill>
                </a:rPr>
                <a:t>Networking</a:t>
              </a:r>
            </a:p>
          </p:txBody>
        </p:sp>
      </p:grpSp>
      <p:grpSp>
        <p:nvGrpSpPr>
          <p:cNvPr id="34" name="Group 33"/>
          <p:cNvGrpSpPr/>
          <p:nvPr/>
        </p:nvGrpSpPr>
        <p:grpSpPr>
          <a:xfrm>
            <a:off x="6371184" y="2461161"/>
            <a:ext cx="1943606" cy="1714500"/>
            <a:chOff x="684213" y="3276600"/>
            <a:chExt cx="2590800" cy="2286000"/>
          </a:xfrm>
        </p:grpSpPr>
        <p:sp>
          <p:nvSpPr>
            <p:cNvPr id="35" name="Rectangle 34"/>
            <p:cNvSpPr/>
            <p:nvPr/>
          </p:nvSpPr>
          <p:spPr bwMode="auto">
            <a:xfrm>
              <a:off x="684213" y="3276600"/>
              <a:ext cx="2590800" cy="228600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66"/>
              <a:endParaRPr lang="en-US" sz="2400" dirty="0">
                <a:solidFill>
                  <a:srgbClr val="FFFFFF">
                    <a:alpha val="98824"/>
                  </a:srgbClr>
                </a:solidFill>
                <a:ea typeface="Segoe UI" pitchFamily="34" charset="0"/>
                <a:cs typeface="Segoe UI" pitchFamily="34" charset="0"/>
              </a:endParaRPr>
            </a:p>
          </p:txBody>
        </p:sp>
        <p:sp>
          <p:nvSpPr>
            <p:cNvPr id="36" name="Content Placeholder 4"/>
            <p:cNvSpPr txBox="1">
              <a:spLocks/>
            </p:cNvSpPr>
            <p:nvPr/>
          </p:nvSpPr>
          <p:spPr>
            <a:xfrm>
              <a:off x="885718" y="4736711"/>
              <a:ext cx="2187788" cy="443199"/>
            </a:xfrm>
            <a:prstGeom prst="rect">
              <a:avLst/>
            </a:prstGeom>
          </p:spPr>
          <p:txBody>
            <a:bodyPr vert="horz" wrap="square" lIns="0" tIns="0" rIns="0" bIns="0" rtlCol="0" anchor="ctr">
              <a:spAutoFit/>
            </a:bodyPr>
            <a:lstStyle>
              <a:lvl1pPr marL="347914" indent="-347914"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3"/>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en-US" sz="2400" dirty="0">
                  <a:gradFill>
                    <a:gsLst>
                      <a:gs pos="0">
                        <a:srgbClr val="FFFFFF"/>
                      </a:gs>
                      <a:gs pos="86000">
                        <a:srgbClr val="FFFFFF"/>
                      </a:gs>
                    </a:gsLst>
                    <a:lin ang="5400000" scaled="0"/>
                  </a:gradFill>
                </a:rPr>
                <a:t>Automation</a:t>
              </a:r>
            </a:p>
          </p:txBody>
        </p:sp>
      </p:grpSp>
      <p:sp>
        <p:nvSpPr>
          <p:cNvPr id="25"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9"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5"/>
              </a:rPr>
              <a:t>www.rapidbbs.cn</a:t>
            </a:r>
            <a:endParaRPr lang="zh-CN" altLang="en-US" sz="1200" b="0">
              <a:latin typeface="Arial" charset="0"/>
              <a:ea typeface="ＭＳ Ｐゴシック" pitchFamily="34" charset="-128"/>
            </a:endParaRPr>
          </a:p>
        </p:txBody>
      </p:sp>
      <p:pic>
        <p:nvPicPr>
          <p:cNvPr id="30" name="Picture 2">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895038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ounded Rectangle 24"/>
          <p:cNvSpPr/>
          <p:nvPr/>
        </p:nvSpPr>
        <p:spPr bwMode="auto">
          <a:xfrm>
            <a:off x="2511243" y="1009140"/>
            <a:ext cx="4475194" cy="848906"/>
          </a:xfrm>
          <a:prstGeom prst="roundRect">
            <a:avLst>
              <a:gd name="adj" fmla="val 0"/>
            </a:avLst>
          </a:prstGeom>
          <a:solidFill>
            <a:schemeClr val="accent1"/>
          </a:solidFill>
          <a:ln w="9525" cap="flat" cmpd="sng" algn="ctr">
            <a:noFill/>
            <a:prstDash val="solid"/>
          </a:ln>
          <a:effectLst/>
        </p:spPr>
        <p:txBody>
          <a:bodyPr lIns="68583" tIns="34292" rIns="68583" bIns="34292" rtlCol="0" anchor="t" anchorCtr="0"/>
          <a:lstStyle/>
          <a:p>
            <a:pPr algn="ctr" defTabSz="914248"/>
            <a:r>
              <a:rPr lang="en-US" sz="1100" dirty="0">
                <a:solidFill>
                  <a:srgbClr val="FFFFFF">
                    <a:alpha val="99000"/>
                  </a:srgbClr>
                </a:solidFill>
                <a:ea typeface="Segoe UI" pitchFamily="34" charset="0"/>
                <a:cs typeface="Segoe UI" pitchFamily="34" charset="0"/>
              </a:rPr>
              <a:t> </a:t>
            </a:r>
          </a:p>
        </p:txBody>
      </p:sp>
      <p:sp>
        <p:nvSpPr>
          <p:cNvPr id="47" name="Rounded Rectangle 46"/>
          <p:cNvSpPr/>
          <p:nvPr/>
        </p:nvSpPr>
        <p:spPr bwMode="auto">
          <a:xfrm>
            <a:off x="2511243" y="1924180"/>
            <a:ext cx="4475194" cy="848906"/>
          </a:xfrm>
          <a:prstGeom prst="roundRect">
            <a:avLst>
              <a:gd name="adj" fmla="val 0"/>
            </a:avLst>
          </a:prstGeom>
          <a:solidFill>
            <a:schemeClr val="accent1"/>
          </a:solidFill>
          <a:ln w="9525" cap="flat" cmpd="sng" algn="ctr">
            <a:noFill/>
            <a:prstDash val="solid"/>
          </a:ln>
          <a:effectLst/>
        </p:spPr>
        <p:txBody>
          <a:bodyPr lIns="68583" tIns="34292" rIns="68583" bIns="34292" rtlCol="0" anchor="t" anchorCtr="0"/>
          <a:lstStyle/>
          <a:p>
            <a:pPr algn="ctr" defTabSz="914248"/>
            <a:r>
              <a:rPr lang="en-US" sz="1100" dirty="0">
                <a:solidFill>
                  <a:srgbClr val="FFFFFF">
                    <a:alpha val="99000"/>
                  </a:srgbClr>
                </a:solidFill>
                <a:ea typeface="Segoe UI" pitchFamily="34" charset="0"/>
                <a:cs typeface="Segoe UI" pitchFamily="34" charset="0"/>
              </a:rPr>
              <a:t> </a:t>
            </a:r>
          </a:p>
        </p:txBody>
      </p:sp>
      <p:sp>
        <p:nvSpPr>
          <p:cNvPr id="68" name="Rounded Rectangle 67"/>
          <p:cNvSpPr/>
          <p:nvPr/>
        </p:nvSpPr>
        <p:spPr bwMode="auto">
          <a:xfrm>
            <a:off x="2511243" y="2839216"/>
            <a:ext cx="4475194" cy="848906"/>
          </a:xfrm>
          <a:prstGeom prst="roundRect">
            <a:avLst>
              <a:gd name="adj" fmla="val 0"/>
            </a:avLst>
          </a:prstGeom>
          <a:solidFill>
            <a:schemeClr val="accent1"/>
          </a:solidFill>
          <a:ln w="9525" cap="flat" cmpd="sng" algn="ctr">
            <a:noFill/>
            <a:prstDash val="solid"/>
          </a:ln>
          <a:effectLst/>
        </p:spPr>
        <p:txBody>
          <a:bodyPr lIns="68583" tIns="34292" rIns="68583" bIns="34292" rtlCol="0" anchor="t" anchorCtr="0"/>
          <a:lstStyle/>
          <a:p>
            <a:pPr algn="ctr" defTabSz="914248"/>
            <a:r>
              <a:rPr lang="en-US" sz="1100" dirty="0">
                <a:solidFill>
                  <a:srgbClr val="FFFFFF">
                    <a:alpha val="99000"/>
                  </a:srgbClr>
                </a:solidFill>
                <a:ea typeface="Segoe UI" pitchFamily="34" charset="0"/>
                <a:cs typeface="Segoe UI" pitchFamily="34" charset="0"/>
              </a:rPr>
              <a:t> </a:t>
            </a:r>
          </a:p>
        </p:txBody>
      </p:sp>
      <p:sp>
        <p:nvSpPr>
          <p:cNvPr id="88" name="Rounded Rectangle 87"/>
          <p:cNvSpPr/>
          <p:nvPr/>
        </p:nvSpPr>
        <p:spPr bwMode="auto">
          <a:xfrm>
            <a:off x="2511243" y="3766637"/>
            <a:ext cx="4475194" cy="1234440"/>
          </a:xfrm>
          <a:prstGeom prst="roundRect">
            <a:avLst>
              <a:gd name="adj" fmla="val 0"/>
            </a:avLst>
          </a:prstGeom>
          <a:solidFill>
            <a:schemeClr val="accent1"/>
          </a:solidFill>
          <a:ln w="9525" cap="flat" cmpd="sng" algn="ctr">
            <a:noFill/>
            <a:prstDash val="solid"/>
          </a:ln>
          <a:effectLst/>
        </p:spPr>
        <p:txBody>
          <a:bodyPr lIns="68583" tIns="34292" rIns="68583" bIns="34292" rtlCol="0" anchor="t" anchorCtr="0"/>
          <a:lstStyle/>
          <a:p>
            <a:pPr algn="ctr" defTabSz="914248"/>
            <a:r>
              <a:rPr lang="en-US" sz="1100" dirty="0">
                <a:solidFill>
                  <a:srgbClr val="FFFFFF">
                    <a:alpha val="99000"/>
                  </a:srgbClr>
                </a:solidFill>
                <a:ea typeface="Segoe UI" pitchFamily="34" charset="0"/>
                <a:cs typeface="Segoe UI" pitchFamily="34" charset="0"/>
              </a:rPr>
              <a:t> </a:t>
            </a:r>
          </a:p>
        </p:txBody>
      </p:sp>
      <p:sp>
        <p:nvSpPr>
          <p:cNvPr id="2" name="Title 1"/>
          <p:cNvSpPr>
            <a:spLocks noGrp="1"/>
          </p:cNvSpPr>
          <p:nvPr>
            <p:ph type="title"/>
          </p:nvPr>
        </p:nvSpPr>
        <p:spPr/>
        <p:txBody>
          <a:bodyPr/>
          <a:lstStyle/>
          <a:p>
            <a:r>
              <a:rPr lang="en-US" dirty="0"/>
              <a:t>Storage: What are our options?</a:t>
            </a:r>
          </a:p>
        </p:txBody>
      </p:sp>
      <p:sp>
        <p:nvSpPr>
          <p:cNvPr id="32" name="Content Placeholder 4"/>
          <p:cNvSpPr txBox="1">
            <a:spLocks/>
          </p:cNvSpPr>
          <p:nvPr/>
        </p:nvSpPr>
        <p:spPr>
          <a:xfrm>
            <a:off x="3383218" y="1071001"/>
            <a:ext cx="3793891" cy="782265"/>
          </a:xfrm>
          <a:prstGeom prst="rect">
            <a:avLst/>
          </a:prstGeom>
        </p:spPr>
        <p:txBody>
          <a:bodyPr vert="horz" wrap="square" lIns="68583" tIns="0" rIns="0" bIns="0" rtlCol="0">
            <a:sp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ts val="0"/>
              </a:spcBef>
              <a:spcAft>
                <a:spcPts val="225"/>
              </a:spcAft>
              <a:buNone/>
            </a:pPr>
            <a:r>
              <a:rPr lang="en-US" sz="1400" spc="-38" dirty="0">
                <a:solidFill>
                  <a:srgbClr val="FFFFFF">
                    <a:alpha val="99000"/>
                  </a:srgbClr>
                </a:solidFill>
              </a:rPr>
              <a:t>Benefits: </a:t>
            </a:r>
          </a:p>
          <a:p>
            <a:pPr marL="0" lvl="1" indent="0">
              <a:spcBef>
                <a:spcPts val="0"/>
              </a:spcBef>
              <a:spcAft>
                <a:spcPts val="450"/>
              </a:spcAft>
              <a:buNone/>
            </a:pPr>
            <a:r>
              <a:rPr lang="en-US" sz="1800" spc="-38" dirty="0">
                <a:solidFill>
                  <a:srgbClr val="FFFFFF">
                    <a:alpha val="99000"/>
                  </a:srgbClr>
                </a:solidFill>
                <a:latin typeface="Segoe UI Light" pitchFamily="34" charset="0"/>
              </a:rPr>
              <a:t>Non-relational structured storage</a:t>
            </a:r>
          </a:p>
          <a:p>
            <a:pPr marL="0" lvl="1" indent="0">
              <a:spcBef>
                <a:spcPts val="0"/>
              </a:spcBef>
              <a:spcAft>
                <a:spcPts val="450"/>
              </a:spcAft>
              <a:buNone/>
            </a:pPr>
            <a:r>
              <a:rPr lang="en-US" sz="1800" spc="-38" dirty="0">
                <a:solidFill>
                  <a:srgbClr val="FFFFFF">
                    <a:alpha val="99000"/>
                  </a:srgbClr>
                </a:solidFill>
                <a:latin typeface="Segoe UI Light" pitchFamily="34" charset="0"/>
              </a:rPr>
              <a:t>Massive scale-out</a:t>
            </a:r>
          </a:p>
        </p:txBody>
      </p:sp>
      <p:sp>
        <p:nvSpPr>
          <p:cNvPr id="26" name="Rectangle 25"/>
          <p:cNvSpPr/>
          <p:nvPr/>
        </p:nvSpPr>
        <p:spPr>
          <a:xfrm>
            <a:off x="308542" y="1027458"/>
            <a:ext cx="2016494" cy="810222"/>
          </a:xfrm>
          <a:prstGeom prst="rect">
            <a:avLst/>
          </a:prstGeom>
        </p:spPr>
        <p:txBody>
          <a:bodyPr wrap="square" lIns="137166" tIns="68583" rIns="68583" bIns="34292" anchor="t" anchorCtr="0">
            <a:spAutoFit/>
          </a:bodyPr>
          <a:lstStyle/>
          <a:p>
            <a:pPr algn="r" defTabSz="685805">
              <a:lnSpc>
                <a:spcPct val="90000"/>
              </a:lnSpc>
              <a:defRPr/>
            </a:pPr>
            <a:r>
              <a:rPr lang="en-US" sz="2100" kern="0" dirty="0">
                <a:solidFill>
                  <a:srgbClr val="292929">
                    <a:lumMod val="75000"/>
                    <a:lumOff val="25000"/>
                    <a:alpha val="99000"/>
                  </a:srgbClr>
                </a:solidFill>
                <a:latin typeface="Segoe UI Light" pitchFamily="34" charset="0"/>
              </a:rPr>
              <a:t>Windows Azure </a:t>
            </a:r>
            <a:r>
              <a:rPr lang="en-US" sz="3000" kern="0" dirty="0">
                <a:solidFill>
                  <a:srgbClr val="FF8A00">
                    <a:alpha val="99000"/>
                  </a:srgbClr>
                </a:solidFill>
              </a:rPr>
              <a:t>Tables</a:t>
            </a:r>
            <a:endParaRPr lang="en-US" sz="2400" kern="0" dirty="0">
              <a:solidFill>
                <a:srgbClr val="FF8A00">
                  <a:alpha val="99000"/>
                </a:srgbClr>
              </a:solidFill>
            </a:endParaRPr>
          </a:p>
        </p:txBody>
      </p:sp>
      <p:grpSp>
        <p:nvGrpSpPr>
          <p:cNvPr id="34" name="Group 33"/>
          <p:cNvGrpSpPr/>
          <p:nvPr/>
        </p:nvGrpSpPr>
        <p:grpSpPr>
          <a:xfrm>
            <a:off x="2650496" y="1128417"/>
            <a:ext cx="554792" cy="610355"/>
            <a:chOff x="-1290162" y="842737"/>
            <a:chExt cx="986944" cy="1086067"/>
          </a:xfrm>
        </p:grpSpPr>
        <p:sp>
          <p:nvSpPr>
            <p:cNvPr id="36" name="Rectangle 35"/>
            <p:cNvSpPr/>
            <p:nvPr/>
          </p:nvSpPr>
          <p:spPr>
            <a:xfrm>
              <a:off x="-1278789" y="842737"/>
              <a:ext cx="975571" cy="1086067"/>
            </a:xfrm>
            <a:prstGeom prst="rect">
              <a:avLst/>
            </a:prstGeom>
            <a:noFill/>
            <a:ln w="38100">
              <a:solidFill>
                <a:schemeClr val="bg1"/>
              </a:solidFill>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685580" fontAlgn="base">
                <a:spcBef>
                  <a:spcPct val="0"/>
                </a:spcBef>
                <a:spcAft>
                  <a:spcPct val="0"/>
                </a:spcAft>
              </a:pPr>
              <a:endParaRPr lang="en-US" sz="1500" dirty="0">
                <a:ln>
                  <a:solidFill>
                    <a:srgbClr val="8CC600"/>
                  </a:solidFill>
                </a:ln>
                <a:solidFill>
                  <a:srgbClr val="8CC600"/>
                </a:solidFill>
              </a:endParaRPr>
            </a:p>
          </p:txBody>
        </p:sp>
        <p:cxnSp>
          <p:nvCxnSpPr>
            <p:cNvPr id="43" name="Straight Connector 42"/>
            <p:cNvCxnSpPr/>
            <p:nvPr/>
          </p:nvCxnSpPr>
          <p:spPr>
            <a:xfrm>
              <a:off x="-1088825" y="842737"/>
              <a:ext cx="0" cy="1086067"/>
            </a:xfrm>
            <a:prstGeom prst="line">
              <a:avLst/>
            </a:prstGeom>
            <a:noFill/>
            <a:ln w="38100">
              <a:solidFill>
                <a:schemeClr val="bg1"/>
              </a:solidFill>
            </a:ln>
          </p:spPr>
          <p:style>
            <a:lnRef idx="2">
              <a:schemeClr val="dk1"/>
            </a:lnRef>
            <a:fillRef idx="1">
              <a:schemeClr val="lt1"/>
            </a:fillRef>
            <a:effectRef idx="0">
              <a:schemeClr val="dk1"/>
            </a:effectRef>
            <a:fontRef idx="minor">
              <a:schemeClr val="dk1"/>
            </a:fontRef>
          </p:style>
        </p:cxnSp>
        <p:cxnSp>
          <p:nvCxnSpPr>
            <p:cNvPr id="44" name="Straight Connector 43"/>
            <p:cNvCxnSpPr/>
            <p:nvPr/>
          </p:nvCxnSpPr>
          <p:spPr>
            <a:xfrm>
              <a:off x="-885244" y="842737"/>
              <a:ext cx="0" cy="1086067"/>
            </a:xfrm>
            <a:prstGeom prst="line">
              <a:avLst/>
            </a:prstGeom>
            <a:noFill/>
            <a:ln w="38100">
              <a:solidFill>
                <a:schemeClr val="bg1"/>
              </a:solidFill>
            </a:ln>
          </p:spPr>
          <p:style>
            <a:lnRef idx="2">
              <a:schemeClr val="dk1"/>
            </a:lnRef>
            <a:fillRef idx="1">
              <a:schemeClr val="lt1"/>
            </a:fillRef>
            <a:effectRef idx="0">
              <a:schemeClr val="dk1"/>
            </a:effectRef>
            <a:fontRef idx="minor">
              <a:schemeClr val="dk1"/>
            </a:fontRef>
          </p:style>
        </p:cxnSp>
        <p:cxnSp>
          <p:nvCxnSpPr>
            <p:cNvPr id="45" name="Straight Connector 44"/>
            <p:cNvCxnSpPr/>
            <p:nvPr/>
          </p:nvCxnSpPr>
          <p:spPr>
            <a:xfrm>
              <a:off x="-681663" y="842737"/>
              <a:ext cx="0" cy="1086067"/>
            </a:xfrm>
            <a:prstGeom prst="line">
              <a:avLst/>
            </a:prstGeom>
            <a:noFill/>
            <a:ln w="38100">
              <a:solidFill>
                <a:schemeClr val="bg1"/>
              </a:solidFill>
            </a:ln>
          </p:spPr>
          <p:style>
            <a:lnRef idx="2">
              <a:schemeClr val="dk1"/>
            </a:lnRef>
            <a:fillRef idx="1">
              <a:schemeClr val="lt1"/>
            </a:fillRef>
            <a:effectRef idx="0">
              <a:schemeClr val="dk1"/>
            </a:effectRef>
            <a:fontRef idx="minor">
              <a:schemeClr val="dk1"/>
            </a:fontRef>
          </p:style>
        </p:cxnSp>
        <p:cxnSp>
          <p:nvCxnSpPr>
            <p:cNvPr id="46" name="Straight Connector 45"/>
            <p:cNvCxnSpPr/>
            <p:nvPr/>
          </p:nvCxnSpPr>
          <p:spPr>
            <a:xfrm>
              <a:off x="-478083" y="842737"/>
              <a:ext cx="0" cy="1086067"/>
            </a:xfrm>
            <a:prstGeom prst="line">
              <a:avLst/>
            </a:prstGeom>
            <a:noFill/>
            <a:ln w="38100">
              <a:solidFill>
                <a:schemeClr val="bg1"/>
              </a:solidFill>
            </a:ln>
          </p:spPr>
          <p:style>
            <a:lnRef idx="2">
              <a:schemeClr val="dk1"/>
            </a:lnRef>
            <a:fillRef idx="1">
              <a:schemeClr val="lt1"/>
            </a:fillRef>
            <a:effectRef idx="0">
              <a:schemeClr val="dk1"/>
            </a:effectRef>
            <a:fontRef idx="minor">
              <a:schemeClr val="dk1"/>
            </a:fontRef>
          </p:style>
        </p:cxnSp>
        <p:cxnSp>
          <p:nvCxnSpPr>
            <p:cNvPr id="39" name="Straight Connector 38"/>
            <p:cNvCxnSpPr/>
            <p:nvPr/>
          </p:nvCxnSpPr>
          <p:spPr>
            <a:xfrm rot="16200000">
              <a:off x="-802701" y="1228665"/>
              <a:ext cx="0" cy="974921"/>
            </a:xfrm>
            <a:prstGeom prst="line">
              <a:avLst/>
            </a:prstGeom>
            <a:noFill/>
            <a:ln w="38100">
              <a:solidFill>
                <a:schemeClr val="bg1"/>
              </a:solidFill>
            </a:ln>
          </p:spPr>
          <p:style>
            <a:lnRef idx="2">
              <a:schemeClr val="dk1"/>
            </a:lnRef>
            <a:fillRef idx="1">
              <a:schemeClr val="lt1"/>
            </a:fillRef>
            <a:effectRef idx="0">
              <a:schemeClr val="dk1"/>
            </a:effectRef>
            <a:fontRef idx="minor">
              <a:schemeClr val="dk1"/>
            </a:fontRef>
          </p:style>
        </p:cxnSp>
        <p:cxnSp>
          <p:nvCxnSpPr>
            <p:cNvPr id="40" name="Straight Connector 39"/>
            <p:cNvCxnSpPr/>
            <p:nvPr/>
          </p:nvCxnSpPr>
          <p:spPr>
            <a:xfrm rot="16200000">
              <a:off x="-802701" y="1015066"/>
              <a:ext cx="0" cy="974921"/>
            </a:xfrm>
            <a:prstGeom prst="line">
              <a:avLst/>
            </a:prstGeom>
            <a:noFill/>
            <a:ln w="38100">
              <a:solidFill>
                <a:schemeClr val="bg1"/>
              </a:solidFill>
            </a:ln>
          </p:spPr>
          <p:style>
            <a:lnRef idx="2">
              <a:schemeClr val="dk1"/>
            </a:lnRef>
            <a:fillRef idx="1">
              <a:schemeClr val="lt1"/>
            </a:fillRef>
            <a:effectRef idx="0">
              <a:schemeClr val="dk1"/>
            </a:effectRef>
            <a:fontRef idx="minor">
              <a:schemeClr val="dk1"/>
            </a:fontRef>
          </p:style>
        </p:cxnSp>
        <p:cxnSp>
          <p:nvCxnSpPr>
            <p:cNvPr id="41" name="Straight Connector 40"/>
            <p:cNvCxnSpPr/>
            <p:nvPr/>
          </p:nvCxnSpPr>
          <p:spPr>
            <a:xfrm rot="16200000">
              <a:off x="-802701" y="801468"/>
              <a:ext cx="0" cy="974921"/>
            </a:xfrm>
            <a:prstGeom prst="line">
              <a:avLst/>
            </a:prstGeom>
            <a:noFill/>
            <a:ln w="38100">
              <a:solidFill>
                <a:schemeClr val="bg1"/>
              </a:solidFill>
            </a:ln>
          </p:spPr>
          <p:style>
            <a:lnRef idx="2">
              <a:schemeClr val="dk1"/>
            </a:lnRef>
            <a:fillRef idx="1">
              <a:schemeClr val="lt1"/>
            </a:fillRef>
            <a:effectRef idx="0">
              <a:schemeClr val="dk1"/>
            </a:effectRef>
            <a:fontRef idx="minor">
              <a:schemeClr val="dk1"/>
            </a:fontRef>
          </p:style>
        </p:cxnSp>
        <p:cxnSp>
          <p:nvCxnSpPr>
            <p:cNvPr id="42" name="Straight Connector 41"/>
            <p:cNvCxnSpPr/>
            <p:nvPr/>
          </p:nvCxnSpPr>
          <p:spPr>
            <a:xfrm rot="16200000">
              <a:off x="-802701" y="587869"/>
              <a:ext cx="0" cy="974921"/>
            </a:xfrm>
            <a:prstGeom prst="line">
              <a:avLst/>
            </a:prstGeom>
            <a:noFill/>
            <a:ln w="38100">
              <a:solidFill>
                <a:schemeClr val="bg1"/>
              </a:solidFill>
            </a:ln>
          </p:spPr>
          <p:style>
            <a:lnRef idx="2">
              <a:schemeClr val="dk1"/>
            </a:lnRef>
            <a:fillRef idx="1">
              <a:schemeClr val="lt1"/>
            </a:fillRef>
            <a:effectRef idx="0">
              <a:schemeClr val="dk1"/>
            </a:effectRef>
            <a:fontRef idx="minor">
              <a:schemeClr val="dk1"/>
            </a:fontRef>
          </p:style>
        </p:cxnSp>
      </p:grpSp>
      <p:sp>
        <p:nvSpPr>
          <p:cNvPr id="38" name="Content Placeholder 4"/>
          <p:cNvSpPr txBox="1">
            <a:spLocks/>
          </p:cNvSpPr>
          <p:nvPr/>
        </p:nvSpPr>
        <p:spPr>
          <a:xfrm>
            <a:off x="3383218" y="1986039"/>
            <a:ext cx="3793891" cy="507318"/>
          </a:xfrm>
          <a:prstGeom prst="rect">
            <a:avLst/>
          </a:prstGeom>
        </p:spPr>
        <p:txBody>
          <a:bodyPr vert="horz" wrap="square" lIns="68583" tIns="0" rIns="0" bIns="0" rtlCol="0">
            <a:sp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ts val="0"/>
              </a:spcBef>
              <a:spcAft>
                <a:spcPts val="450"/>
              </a:spcAft>
              <a:buNone/>
            </a:pPr>
            <a:r>
              <a:rPr lang="en-US" sz="1400" spc="-38" dirty="0">
                <a:solidFill>
                  <a:srgbClr val="FFFFFF">
                    <a:alpha val="99000"/>
                  </a:srgbClr>
                </a:solidFill>
              </a:rPr>
              <a:t>Benefits: </a:t>
            </a:r>
          </a:p>
          <a:p>
            <a:pPr marL="0" lvl="1" indent="0">
              <a:spcBef>
                <a:spcPts val="0"/>
              </a:spcBef>
              <a:spcAft>
                <a:spcPts val="450"/>
              </a:spcAft>
              <a:buNone/>
            </a:pPr>
            <a:r>
              <a:rPr lang="en-US" sz="1800" spc="-38" dirty="0">
                <a:solidFill>
                  <a:srgbClr val="FFFFFF">
                    <a:alpha val="99000"/>
                  </a:srgbClr>
                </a:solidFill>
                <a:latin typeface="Segoe UI Light" pitchFamily="34" charset="0"/>
              </a:rPr>
              <a:t>Big files</a:t>
            </a:r>
          </a:p>
        </p:txBody>
      </p:sp>
      <p:sp>
        <p:nvSpPr>
          <p:cNvPr id="48" name="Rectangle 47"/>
          <p:cNvSpPr/>
          <p:nvPr/>
        </p:nvSpPr>
        <p:spPr>
          <a:xfrm>
            <a:off x="308542" y="1942500"/>
            <a:ext cx="2016494" cy="810221"/>
          </a:xfrm>
          <a:prstGeom prst="rect">
            <a:avLst/>
          </a:prstGeom>
        </p:spPr>
        <p:txBody>
          <a:bodyPr wrap="square" lIns="137166" tIns="68583" rIns="68583" bIns="34292" anchor="t" anchorCtr="0">
            <a:spAutoFit/>
          </a:bodyPr>
          <a:lstStyle/>
          <a:p>
            <a:pPr algn="r" defTabSz="685805">
              <a:lnSpc>
                <a:spcPct val="90000"/>
              </a:lnSpc>
              <a:defRPr/>
            </a:pPr>
            <a:r>
              <a:rPr lang="en-US" sz="2100" kern="0" dirty="0">
                <a:solidFill>
                  <a:srgbClr val="292929">
                    <a:lumMod val="75000"/>
                    <a:lumOff val="25000"/>
                    <a:alpha val="99000"/>
                  </a:srgbClr>
                </a:solidFill>
                <a:latin typeface="Segoe UI Light" pitchFamily="34" charset="0"/>
              </a:rPr>
              <a:t>Windows Azure </a:t>
            </a:r>
            <a:r>
              <a:rPr lang="en-US" sz="3000" kern="0" dirty="0">
                <a:solidFill>
                  <a:srgbClr val="FF8A00">
                    <a:alpha val="99000"/>
                  </a:srgbClr>
                </a:solidFill>
              </a:rPr>
              <a:t>Blobs</a:t>
            </a:r>
            <a:endParaRPr lang="en-US" sz="2400" kern="0" dirty="0">
              <a:solidFill>
                <a:srgbClr val="FF8A00">
                  <a:alpha val="99000"/>
                </a:srgbClr>
              </a:solidFill>
            </a:endParaRPr>
          </a:p>
        </p:txBody>
      </p:sp>
      <p:sp>
        <p:nvSpPr>
          <p:cNvPr id="80" name="Freeform 8"/>
          <p:cNvSpPr>
            <a:spLocks noEditPoints="1"/>
          </p:cNvSpPr>
          <p:nvPr/>
        </p:nvSpPr>
        <p:spPr bwMode="auto">
          <a:xfrm>
            <a:off x="2650497" y="2041697"/>
            <a:ext cx="491923" cy="612111"/>
          </a:xfrm>
          <a:custGeom>
            <a:avLst/>
            <a:gdLst>
              <a:gd name="T0" fmla="*/ 55 w 58"/>
              <a:gd name="T1" fmla="*/ 19 h 72"/>
              <a:gd name="T2" fmla="*/ 37 w 58"/>
              <a:gd name="T3" fmla="*/ 2 h 72"/>
              <a:gd name="T4" fmla="*/ 32 w 58"/>
              <a:gd name="T5" fmla="*/ 0 h 72"/>
              <a:gd name="T6" fmla="*/ 6 w 58"/>
              <a:gd name="T7" fmla="*/ 0 h 72"/>
              <a:gd name="T8" fmla="*/ 0 w 58"/>
              <a:gd name="T9" fmla="*/ 5 h 72"/>
              <a:gd name="T10" fmla="*/ 0 w 58"/>
              <a:gd name="T11" fmla="*/ 65 h 72"/>
              <a:gd name="T12" fmla="*/ 6 w 58"/>
              <a:gd name="T13" fmla="*/ 72 h 72"/>
              <a:gd name="T14" fmla="*/ 50 w 58"/>
              <a:gd name="T15" fmla="*/ 72 h 72"/>
              <a:gd name="T16" fmla="*/ 57 w 58"/>
              <a:gd name="T17" fmla="*/ 65 h 72"/>
              <a:gd name="T18" fmla="*/ 57 w 58"/>
              <a:gd name="T19" fmla="*/ 24 h 72"/>
              <a:gd name="T20" fmla="*/ 55 w 58"/>
              <a:gd name="T21" fmla="*/ 19 h 72"/>
              <a:gd name="T22" fmla="*/ 52 w 58"/>
              <a:gd name="T23" fmla="*/ 66 h 72"/>
              <a:gd name="T24" fmla="*/ 5 w 58"/>
              <a:gd name="T25" fmla="*/ 66 h 72"/>
              <a:gd name="T26" fmla="*/ 5 w 58"/>
              <a:gd name="T27" fmla="*/ 5 h 72"/>
              <a:gd name="T28" fmla="*/ 26 w 58"/>
              <a:gd name="T29" fmla="*/ 5 h 72"/>
              <a:gd name="T30" fmla="*/ 26 w 58"/>
              <a:gd name="T31" fmla="*/ 24 h 72"/>
              <a:gd name="T32" fmla="*/ 32 w 58"/>
              <a:gd name="T33" fmla="*/ 31 h 72"/>
              <a:gd name="T34" fmla="*/ 52 w 58"/>
              <a:gd name="T35" fmla="*/ 31 h 72"/>
              <a:gd name="T36" fmla="*/ 52 w 58"/>
              <a:gd name="T37" fmla="*/ 66 h 72"/>
              <a:gd name="T38" fmla="*/ 32 w 58"/>
              <a:gd name="T39" fmla="*/ 24 h 72"/>
              <a:gd name="T40" fmla="*/ 32 w 58"/>
              <a:gd name="T41" fmla="*/ 5 h 72"/>
              <a:gd name="T42" fmla="*/ 52 w 58"/>
              <a:gd name="T43" fmla="*/ 24 h 72"/>
              <a:gd name="T44" fmla="*/ 32 w 58"/>
              <a:gd name="T45" fmla="*/ 2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8" h="72">
                <a:moveTo>
                  <a:pt x="55" y="19"/>
                </a:moveTo>
                <a:cubicBezTo>
                  <a:pt x="37" y="2"/>
                  <a:pt x="37" y="2"/>
                  <a:pt x="37" y="2"/>
                </a:cubicBezTo>
                <a:cubicBezTo>
                  <a:pt x="35" y="0"/>
                  <a:pt x="34" y="0"/>
                  <a:pt x="32" y="0"/>
                </a:cubicBezTo>
                <a:cubicBezTo>
                  <a:pt x="6" y="0"/>
                  <a:pt x="6" y="0"/>
                  <a:pt x="6" y="0"/>
                </a:cubicBezTo>
                <a:cubicBezTo>
                  <a:pt x="3" y="0"/>
                  <a:pt x="0" y="2"/>
                  <a:pt x="0" y="5"/>
                </a:cubicBezTo>
                <a:cubicBezTo>
                  <a:pt x="0" y="65"/>
                  <a:pt x="0" y="65"/>
                  <a:pt x="0" y="65"/>
                </a:cubicBezTo>
                <a:cubicBezTo>
                  <a:pt x="0" y="68"/>
                  <a:pt x="3" y="72"/>
                  <a:pt x="6" y="72"/>
                </a:cubicBezTo>
                <a:cubicBezTo>
                  <a:pt x="50" y="72"/>
                  <a:pt x="50" y="72"/>
                  <a:pt x="50" y="72"/>
                </a:cubicBezTo>
                <a:cubicBezTo>
                  <a:pt x="54" y="72"/>
                  <a:pt x="57" y="68"/>
                  <a:pt x="57" y="65"/>
                </a:cubicBezTo>
                <a:cubicBezTo>
                  <a:pt x="57" y="24"/>
                  <a:pt x="57" y="24"/>
                  <a:pt x="57" y="24"/>
                </a:cubicBezTo>
                <a:cubicBezTo>
                  <a:pt x="57" y="24"/>
                  <a:pt x="58" y="22"/>
                  <a:pt x="55" y="19"/>
                </a:cubicBezTo>
                <a:close/>
                <a:moveTo>
                  <a:pt x="52" y="66"/>
                </a:moveTo>
                <a:cubicBezTo>
                  <a:pt x="8" y="66"/>
                  <a:pt x="5" y="66"/>
                  <a:pt x="5" y="66"/>
                </a:cubicBezTo>
                <a:cubicBezTo>
                  <a:pt x="5" y="6"/>
                  <a:pt x="5" y="5"/>
                  <a:pt x="5" y="5"/>
                </a:cubicBezTo>
                <a:cubicBezTo>
                  <a:pt x="25" y="5"/>
                  <a:pt x="26" y="5"/>
                  <a:pt x="26" y="5"/>
                </a:cubicBezTo>
                <a:cubicBezTo>
                  <a:pt x="26" y="23"/>
                  <a:pt x="26" y="24"/>
                  <a:pt x="26" y="24"/>
                </a:cubicBezTo>
                <a:cubicBezTo>
                  <a:pt x="26" y="27"/>
                  <a:pt x="28" y="31"/>
                  <a:pt x="32" y="31"/>
                </a:cubicBezTo>
                <a:cubicBezTo>
                  <a:pt x="50" y="31"/>
                  <a:pt x="52" y="31"/>
                  <a:pt x="52" y="31"/>
                </a:cubicBezTo>
                <a:lnTo>
                  <a:pt x="52" y="66"/>
                </a:lnTo>
                <a:close/>
                <a:moveTo>
                  <a:pt x="32" y="24"/>
                </a:moveTo>
                <a:cubicBezTo>
                  <a:pt x="32" y="5"/>
                  <a:pt x="32" y="5"/>
                  <a:pt x="32" y="5"/>
                </a:cubicBezTo>
                <a:cubicBezTo>
                  <a:pt x="52" y="24"/>
                  <a:pt x="52" y="24"/>
                  <a:pt x="52" y="24"/>
                </a:cubicBezTo>
                <a:lnTo>
                  <a:pt x="32" y="24"/>
                </a:lnTo>
                <a:close/>
              </a:path>
            </a:pathLst>
          </a:custGeom>
          <a:solidFill>
            <a:schemeClr val="bg1"/>
          </a:solidFill>
          <a:ln>
            <a:noFill/>
          </a:ln>
          <a:extLst/>
        </p:spPr>
        <p:txBody>
          <a:bodyPr vert="horz" wrap="square" lIns="68583" tIns="34292" rIns="68583" bIns="34292" numCol="1" anchor="t" anchorCtr="0" compatLnSpc="1">
            <a:prstTxWarp prst="textNoShape">
              <a:avLst/>
            </a:prstTxWarp>
          </a:bodyPr>
          <a:lstStyle/>
          <a:p>
            <a:pPr defTabSz="914286"/>
            <a:endParaRPr lang="en-US" sz="1200">
              <a:solidFill>
                <a:srgbClr val="292929"/>
              </a:solidFill>
            </a:endParaRPr>
          </a:p>
        </p:txBody>
      </p:sp>
      <p:sp>
        <p:nvSpPr>
          <p:cNvPr id="67" name="Content Placeholder 4"/>
          <p:cNvSpPr txBox="1">
            <a:spLocks/>
          </p:cNvSpPr>
          <p:nvPr/>
        </p:nvSpPr>
        <p:spPr>
          <a:xfrm>
            <a:off x="3383218" y="2901077"/>
            <a:ext cx="3793891" cy="782265"/>
          </a:xfrm>
          <a:prstGeom prst="rect">
            <a:avLst/>
          </a:prstGeom>
        </p:spPr>
        <p:txBody>
          <a:bodyPr vert="horz" wrap="square" lIns="68583" tIns="0" rIns="0" bIns="0" rtlCol="0">
            <a:sp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ts val="0"/>
              </a:spcBef>
              <a:spcAft>
                <a:spcPts val="225"/>
              </a:spcAft>
              <a:buNone/>
            </a:pPr>
            <a:r>
              <a:rPr lang="en-US" sz="1400" spc="-38" dirty="0">
                <a:solidFill>
                  <a:srgbClr val="FFFFFF">
                    <a:alpha val="99000"/>
                  </a:srgbClr>
                </a:solidFill>
              </a:rPr>
              <a:t>Benefits: </a:t>
            </a:r>
          </a:p>
          <a:p>
            <a:pPr marL="0" lvl="1" indent="0">
              <a:spcBef>
                <a:spcPts val="0"/>
              </a:spcBef>
              <a:spcAft>
                <a:spcPts val="450"/>
              </a:spcAft>
              <a:buNone/>
            </a:pPr>
            <a:r>
              <a:rPr lang="fr-FR" sz="1800" spc="-38" dirty="0">
                <a:solidFill>
                  <a:srgbClr val="FFFFFF">
                    <a:alpha val="99000"/>
                  </a:srgbClr>
                </a:solidFill>
                <a:latin typeface="Segoe UI Light" pitchFamily="34" charset="0"/>
              </a:rPr>
              <a:t>Persistent </a:t>
            </a:r>
            <a:r>
              <a:rPr lang="fr-FR" sz="1800" spc="-38" dirty="0" err="1">
                <a:solidFill>
                  <a:srgbClr val="FFFFFF">
                    <a:alpha val="99000"/>
                  </a:srgbClr>
                </a:solidFill>
                <a:latin typeface="Segoe UI Light" pitchFamily="34" charset="0"/>
              </a:rPr>
              <a:t>Async</a:t>
            </a:r>
            <a:r>
              <a:rPr lang="fr-FR" sz="1800" spc="-38" dirty="0">
                <a:solidFill>
                  <a:srgbClr val="FFFFFF">
                    <a:alpha val="99000"/>
                  </a:srgbClr>
                </a:solidFill>
                <a:latin typeface="Segoe UI Light" pitchFamily="34" charset="0"/>
              </a:rPr>
              <a:t> Messaging</a:t>
            </a:r>
          </a:p>
          <a:p>
            <a:pPr marL="0" lvl="1" indent="0">
              <a:spcBef>
                <a:spcPts val="0"/>
              </a:spcBef>
              <a:spcAft>
                <a:spcPts val="450"/>
              </a:spcAft>
              <a:buNone/>
            </a:pPr>
            <a:r>
              <a:rPr lang="fr-FR" sz="1800" spc="-38" dirty="0" err="1">
                <a:solidFill>
                  <a:srgbClr val="FFFFFF">
                    <a:alpha val="99000"/>
                  </a:srgbClr>
                </a:solidFill>
                <a:latin typeface="Segoe UI Light" pitchFamily="34" charset="0"/>
              </a:rPr>
              <a:t>Enqueue</a:t>
            </a:r>
            <a:r>
              <a:rPr lang="fr-FR" sz="1800" spc="-38" dirty="0">
                <a:solidFill>
                  <a:srgbClr val="FFFFFF">
                    <a:alpha val="99000"/>
                  </a:srgbClr>
                </a:solidFill>
                <a:latin typeface="Segoe UI Light" pitchFamily="34" charset="0"/>
              </a:rPr>
              <a:t>, </a:t>
            </a:r>
            <a:r>
              <a:rPr lang="fr-FR" sz="1800" spc="-38" dirty="0" err="1">
                <a:solidFill>
                  <a:srgbClr val="FFFFFF">
                    <a:alpha val="99000"/>
                  </a:srgbClr>
                </a:solidFill>
                <a:latin typeface="Segoe UI Light" pitchFamily="34" charset="0"/>
              </a:rPr>
              <a:t>Dequeue</a:t>
            </a:r>
            <a:endParaRPr lang="fr-FR" sz="1800" spc="-38" dirty="0">
              <a:solidFill>
                <a:srgbClr val="FFFFFF">
                  <a:alpha val="99000"/>
                </a:srgbClr>
              </a:solidFill>
              <a:latin typeface="Segoe UI Light" pitchFamily="34" charset="0"/>
            </a:endParaRPr>
          </a:p>
        </p:txBody>
      </p:sp>
      <p:sp>
        <p:nvSpPr>
          <p:cNvPr id="69" name="Rectangle 68"/>
          <p:cNvSpPr/>
          <p:nvPr/>
        </p:nvSpPr>
        <p:spPr>
          <a:xfrm>
            <a:off x="308542" y="2857535"/>
            <a:ext cx="2016494" cy="810222"/>
          </a:xfrm>
          <a:prstGeom prst="rect">
            <a:avLst/>
          </a:prstGeom>
        </p:spPr>
        <p:txBody>
          <a:bodyPr wrap="square" lIns="137166" tIns="68583" rIns="68583" bIns="34292" anchor="t" anchorCtr="0">
            <a:spAutoFit/>
          </a:bodyPr>
          <a:lstStyle/>
          <a:p>
            <a:pPr algn="r" defTabSz="685805">
              <a:lnSpc>
                <a:spcPct val="90000"/>
              </a:lnSpc>
              <a:defRPr/>
            </a:pPr>
            <a:r>
              <a:rPr lang="en-US" sz="2100" kern="0" dirty="0">
                <a:solidFill>
                  <a:srgbClr val="292929">
                    <a:lumMod val="75000"/>
                    <a:lumOff val="25000"/>
                    <a:alpha val="99000"/>
                  </a:srgbClr>
                </a:solidFill>
                <a:latin typeface="Segoe UI Light" pitchFamily="34" charset="0"/>
              </a:rPr>
              <a:t>Windows Azure </a:t>
            </a:r>
            <a:r>
              <a:rPr lang="en-US" sz="3000" kern="0" dirty="0">
                <a:solidFill>
                  <a:srgbClr val="FF8A00">
                    <a:alpha val="99000"/>
                  </a:srgbClr>
                </a:solidFill>
              </a:rPr>
              <a:t>Queues</a:t>
            </a:r>
            <a:endParaRPr lang="en-US" sz="2400" kern="0" dirty="0">
              <a:solidFill>
                <a:srgbClr val="FF8A00">
                  <a:alpha val="99000"/>
                </a:srgbClr>
              </a:solidFill>
            </a:endParaRPr>
          </a:p>
        </p:txBody>
      </p:sp>
      <p:grpSp>
        <p:nvGrpSpPr>
          <p:cNvPr id="81" name="Group 80"/>
          <p:cNvGrpSpPr/>
          <p:nvPr/>
        </p:nvGrpSpPr>
        <p:grpSpPr>
          <a:xfrm flipV="1">
            <a:off x="2644193" y="3198645"/>
            <a:ext cx="571520" cy="130049"/>
            <a:chOff x="8079777" y="5723467"/>
            <a:chExt cx="672244" cy="269455"/>
          </a:xfrm>
          <a:noFill/>
        </p:grpSpPr>
        <p:sp>
          <p:nvSpPr>
            <p:cNvPr id="82" name="Rectangle 81"/>
            <p:cNvSpPr/>
            <p:nvPr/>
          </p:nvSpPr>
          <p:spPr bwMode="auto">
            <a:xfrm>
              <a:off x="8079777" y="5723467"/>
              <a:ext cx="336122" cy="269455"/>
            </a:xfrm>
            <a:prstGeom prst="rect">
              <a:avLst/>
            </a:prstGeom>
            <a:grpFill/>
            <a:ln w="31750">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685580" fontAlgn="base">
                <a:spcBef>
                  <a:spcPct val="0"/>
                </a:spcBef>
                <a:spcAft>
                  <a:spcPct val="0"/>
                </a:spcAft>
              </a:pPr>
              <a:endParaRPr lang="en-US" sz="1200" dirty="0">
                <a:solidFill>
                  <a:srgbClr val="FF8A00"/>
                </a:solidFill>
              </a:endParaRPr>
            </a:p>
          </p:txBody>
        </p:sp>
        <p:sp>
          <p:nvSpPr>
            <p:cNvPr id="83" name="Rectangle 82"/>
            <p:cNvSpPr/>
            <p:nvPr/>
          </p:nvSpPr>
          <p:spPr bwMode="auto">
            <a:xfrm>
              <a:off x="8247838" y="5723467"/>
              <a:ext cx="336122" cy="269455"/>
            </a:xfrm>
            <a:prstGeom prst="rect">
              <a:avLst/>
            </a:prstGeom>
            <a:grpFill/>
            <a:ln w="31750">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685580" fontAlgn="base">
                <a:spcBef>
                  <a:spcPct val="0"/>
                </a:spcBef>
                <a:spcAft>
                  <a:spcPct val="0"/>
                </a:spcAft>
              </a:pPr>
              <a:endParaRPr lang="en-US" sz="1200" dirty="0">
                <a:solidFill>
                  <a:srgbClr val="FF8A00"/>
                </a:solidFill>
              </a:endParaRPr>
            </a:p>
          </p:txBody>
        </p:sp>
        <p:sp>
          <p:nvSpPr>
            <p:cNvPr id="84" name="Rectangle 83"/>
            <p:cNvSpPr/>
            <p:nvPr/>
          </p:nvSpPr>
          <p:spPr bwMode="auto">
            <a:xfrm>
              <a:off x="8415899" y="5723467"/>
              <a:ext cx="336122" cy="269455"/>
            </a:xfrm>
            <a:prstGeom prst="rect">
              <a:avLst/>
            </a:prstGeom>
            <a:grpFill/>
            <a:ln w="31750">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685580" fontAlgn="base">
                <a:spcBef>
                  <a:spcPct val="0"/>
                </a:spcBef>
                <a:spcAft>
                  <a:spcPct val="0"/>
                </a:spcAft>
              </a:pPr>
              <a:endParaRPr lang="en-US" sz="1200" dirty="0">
                <a:solidFill>
                  <a:srgbClr val="FF8A00"/>
                </a:solidFill>
              </a:endParaRPr>
            </a:p>
          </p:txBody>
        </p:sp>
        <p:sp>
          <p:nvSpPr>
            <p:cNvPr id="85" name="Rectangle 84"/>
            <p:cNvSpPr/>
            <p:nvPr/>
          </p:nvSpPr>
          <p:spPr bwMode="auto">
            <a:xfrm>
              <a:off x="8583960" y="5723467"/>
              <a:ext cx="168061" cy="269455"/>
            </a:xfrm>
            <a:prstGeom prst="rect">
              <a:avLst/>
            </a:prstGeom>
            <a:grpFill/>
            <a:ln w="31750">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685580" fontAlgn="base">
                <a:spcBef>
                  <a:spcPct val="0"/>
                </a:spcBef>
                <a:spcAft>
                  <a:spcPct val="0"/>
                </a:spcAft>
              </a:pPr>
              <a:endParaRPr lang="en-US" sz="1200" dirty="0">
                <a:solidFill>
                  <a:srgbClr val="FF8A00"/>
                </a:solidFill>
              </a:endParaRPr>
            </a:p>
          </p:txBody>
        </p:sp>
      </p:grpSp>
      <p:sp>
        <p:nvSpPr>
          <p:cNvPr id="87" name="Content Placeholder 4"/>
          <p:cNvSpPr txBox="1">
            <a:spLocks/>
          </p:cNvSpPr>
          <p:nvPr/>
        </p:nvSpPr>
        <p:spPr>
          <a:xfrm>
            <a:off x="3383218" y="3828500"/>
            <a:ext cx="3793891" cy="1095685"/>
          </a:xfrm>
          <a:prstGeom prst="rect">
            <a:avLst/>
          </a:prstGeom>
        </p:spPr>
        <p:txBody>
          <a:bodyPr vert="horz" wrap="square" lIns="68583" tIns="0" rIns="0" bIns="0" rtlCol="0">
            <a:sp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ts val="0"/>
              </a:spcBef>
              <a:spcAft>
                <a:spcPts val="225"/>
              </a:spcAft>
              <a:buNone/>
            </a:pPr>
            <a:r>
              <a:rPr lang="en-US" sz="1400" spc="-38" dirty="0">
                <a:solidFill>
                  <a:srgbClr val="FFFFFF">
                    <a:alpha val="99000"/>
                  </a:srgbClr>
                </a:solidFill>
              </a:rPr>
              <a:t>Benefits: </a:t>
            </a:r>
          </a:p>
          <a:p>
            <a:pPr marL="0" lvl="1" indent="0">
              <a:spcBef>
                <a:spcPts val="0"/>
              </a:spcBef>
              <a:spcAft>
                <a:spcPts val="450"/>
              </a:spcAft>
              <a:buNone/>
            </a:pPr>
            <a:r>
              <a:rPr lang="en-US" sz="1800" spc="-38" dirty="0">
                <a:solidFill>
                  <a:srgbClr val="FFFFFF">
                    <a:alpha val="99000"/>
                  </a:srgbClr>
                </a:solidFill>
                <a:latin typeface="Segoe UI Light" pitchFamily="34" charset="0"/>
              </a:rPr>
              <a:t>Relational database</a:t>
            </a:r>
          </a:p>
          <a:p>
            <a:pPr marL="0" lvl="1" indent="0">
              <a:spcBef>
                <a:spcPts val="0"/>
              </a:spcBef>
              <a:spcAft>
                <a:spcPts val="450"/>
              </a:spcAft>
              <a:buNone/>
            </a:pPr>
            <a:r>
              <a:rPr lang="en-US" sz="1800" spc="-38" dirty="0">
                <a:solidFill>
                  <a:srgbClr val="FFFFFF">
                    <a:alpha val="99000"/>
                  </a:srgbClr>
                </a:solidFill>
                <a:latin typeface="Segoe UI Light" pitchFamily="34" charset="0"/>
              </a:rPr>
              <a:t>Highly available</a:t>
            </a:r>
          </a:p>
          <a:p>
            <a:pPr marL="0" lvl="1" indent="0">
              <a:spcBef>
                <a:spcPts val="0"/>
              </a:spcBef>
              <a:spcAft>
                <a:spcPts val="450"/>
              </a:spcAft>
              <a:buNone/>
            </a:pPr>
            <a:r>
              <a:rPr lang="en-US" sz="1800" spc="-38" dirty="0">
                <a:solidFill>
                  <a:srgbClr val="FFFFFF">
                    <a:alpha val="99000"/>
                  </a:srgbClr>
                </a:solidFill>
                <a:latin typeface="Segoe UI Light" pitchFamily="34" charset="0"/>
              </a:rPr>
              <a:t>Managed for you as a service</a:t>
            </a:r>
          </a:p>
        </p:txBody>
      </p:sp>
      <p:sp>
        <p:nvSpPr>
          <p:cNvPr id="89" name="Rectangle 88"/>
          <p:cNvSpPr/>
          <p:nvPr/>
        </p:nvSpPr>
        <p:spPr>
          <a:xfrm>
            <a:off x="308542" y="3784955"/>
            <a:ext cx="2016494" cy="810222"/>
          </a:xfrm>
          <a:prstGeom prst="rect">
            <a:avLst/>
          </a:prstGeom>
        </p:spPr>
        <p:txBody>
          <a:bodyPr wrap="square" lIns="137166" tIns="68583" rIns="68583" bIns="34292" anchor="t" anchorCtr="0">
            <a:spAutoFit/>
          </a:bodyPr>
          <a:lstStyle/>
          <a:p>
            <a:pPr algn="r" defTabSz="685805">
              <a:lnSpc>
                <a:spcPct val="90000"/>
              </a:lnSpc>
              <a:defRPr/>
            </a:pPr>
            <a:r>
              <a:rPr lang="en-US" sz="2100" kern="0" dirty="0">
                <a:solidFill>
                  <a:srgbClr val="292929">
                    <a:lumMod val="75000"/>
                    <a:lumOff val="25000"/>
                    <a:alpha val="99000"/>
                  </a:srgbClr>
                </a:solidFill>
                <a:latin typeface="Segoe UI Light" pitchFamily="34" charset="0"/>
              </a:rPr>
              <a:t>SQL </a:t>
            </a:r>
            <a:br>
              <a:rPr lang="en-US" sz="2100" kern="0" dirty="0">
                <a:solidFill>
                  <a:srgbClr val="292929">
                    <a:lumMod val="75000"/>
                    <a:lumOff val="25000"/>
                    <a:alpha val="99000"/>
                  </a:srgbClr>
                </a:solidFill>
                <a:latin typeface="Segoe UI Light" pitchFamily="34" charset="0"/>
              </a:rPr>
            </a:br>
            <a:r>
              <a:rPr lang="en-US" sz="3000" kern="0" dirty="0">
                <a:solidFill>
                  <a:srgbClr val="FF8A00">
                    <a:alpha val="99000"/>
                  </a:srgbClr>
                </a:solidFill>
              </a:rPr>
              <a:t>Azure</a:t>
            </a:r>
          </a:p>
        </p:txBody>
      </p:sp>
      <p:sp>
        <p:nvSpPr>
          <p:cNvPr id="35" name="Freeform 6"/>
          <p:cNvSpPr>
            <a:spLocks noEditPoints="1"/>
          </p:cNvSpPr>
          <p:nvPr/>
        </p:nvSpPr>
        <p:spPr bwMode="auto">
          <a:xfrm>
            <a:off x="2749551" y="3869330"/>
            <a:ext cx="356687" cy="641477"/>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a:noFill/>
          </a:ln>
        </p:spPr>
        <p:txBody>
          <a:bodyPr vert="horz" wrap="square" lIns="68583" tIns="34292" rIns="68583" bIns="34292" numCol="1" anchor="t" anchorCtr="0" compatLnSpc="1">
            <a:prstTxWarp prst="textNoShape">
              <a:avLst/>
            </a:prstTxWarp>
          </a:bodyPr>
          <a:lstStyle/>
          <a:p>
            <a:pPr defTabSz="914286"/>
            <a:endParaRPr lang="en-US" sz="1800" dirty="0">
              <a:solidFill>
                <a:srgbClr val="292929"/>
              </a:solidFill>
            </a:endParaRPr>
          </a:p>
        </p:txBody>
      </p:sp>
      <p:sp>
        <p:nvSpPr>
          <p:cNvPr id="33"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7"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pic>
        <p:nvPicPr>
          <p:cNvPr id="49"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31219558"/>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Platform Services</a:t>
            </a:r>
            <a:endParaRPr lang="en-US" dirty="0"/>
          </a:p>
        </p:txBody>
      </p:sp>
      <p:grpSp>
        <p:nvGrpSpPr>
          <p:cNvPr id="13" name="Group 12"/>
          <p:cNvGrpSpPr/>
          <p:nvPr/>
        </p:nvGrpSpPr>
        <p:grpSpPr>
          <a:xfrm>
            <a:off x="389436" y="983791"/>
            <a:ext cx="3299130" cy="1604840"/>
            <a:chOff x="519112" y="1311721"/>
            <a:chExt cx="4397695" cy="2139787"/>
          </a:xfrm>
        </p:grpSpPr>
        <p:sp>
          <p:nvSpPr>
            <p:cNvPr id="19" name="Rounded Rectangle 18"/>
            <p:cNvSpPr/>
            <p:nvPr/>
          </p:nvSpPr>
          <p:spPr bwMode="auto">
            <a:xfrm>
              <a:off x="519112" y="1311721"/>
              <a:ext cx="4397695" cy="2139787"/>
            </a:xfrm>
            <a:prstGeom prst="roundRect">
              <a:avLst>
                <a:gd name="adj" fmla="val 0"/>
              </a:avLst>
            </a:prstGeom>
            <a:solidFill>
              <a:schemeClr val="accent4"/>
            </a:solidFill>
            <a:ln w="9525" cap="flat" cmpd="sng" algn="ctr">
              <a:noFill/>
              <a:prstDash val="solid"/>
            </a:ln>
            <a:effectLst/>
          </p:spPr>
          <p:txBody>
            <a:bodyPr rtlCol="0" anchor="t" anchorCtr="0"/>
            <a:lstStyle/>
            <a:p>
              <a:pPr algn="ctr" defTabSz="914248"/>
              <a:r>
                <a:rPr lang="en-US" sz="1800" dirty="0">
                  <a:solidFill>
                    <a:srgbClr val="FFFFFF">
                      <a:alpha val="99000"/>
                    </a:srgbClr>
                  </a:solidFill>
                  <a:ea typeface="Segoe UI" pitchFamily="34" charset="0"/>
                  <a:cs typeface="Segoe UI" pitchFamily="34" charset="0"/>
                </a:rPr>
                <a:t> </a:t>
              </a:r>
            </a:p>
          </p:txBody>
        </p:sp>
        <p:sp>
          <p:nvSpPr>
            <p:cNvPr id="20" name="Rectangle 19"/>
            <p:cNvSpPr/>
            <p:nvPr/>
          </p:nvSpPr>
          <p:spPr>
            <a:xfrm>
              <a:off x="636568" y="2975976"/>
              <a:ext cx="3440132" cy="455509"/>
            </a:xfrm>
            <a:prstGeom prst="rect">
              <a:avLst/>
            </a:prstGeom>
          </p:spPr>
          <p:txBody>
            <a:bodyPr wrap="square">
              <a:spAutoFit/>
            </a:bodyPr>
            <a:lstStyle/>
            <a:p>
              <a:pPr defTabSz="685805">
                <a:lnSpc>
                  <a:spcPct val="90000"/>
                </a:lnSpc>
                <a:defRPr/>
              </a:pPr>
              <a:r>
                <a:rPr lang="en-US" sz="1800" kern="0" dirty="0">
                  <a:gradFill>
                    <a:gsLst>
                      <a:gs pos="0">
                        <a:srgbClr val="FFFFFF"/>
                      </a:gs>
                      <a:gs pos="100000">
                        <a:srgbClr val="FFFFFF"/>
                      </a:gs>
                    </a:gsLst>
                    <a:lin ang="5400000" scaled="0"/>
                  </a:gradFill>
                </a:rPr>
                <a:t>Access Control Service</a:t>
              </a:r>
            </a:p>
          </p:txBody>
        </p:sp>
        <p:sp>
          <p:nvSpPr>
            <p:cNvPr id="90" name="Freeform 17"/>
            <p:cNvSpPr>
              <a:spLocks noEditPoints="1"/>
            </p:cNvSpPr>
            <p:nvPr/>
          </p:nvSpPr>
          <p:spPr bwMode="black">
            <a:xfrm>
              <a:off x="2266183" y="1745081"/>
              <a:ext cx="897241" cy="898274"/>
            </a:xfrm>
            <a:custGeom>
              <a:avLst/>
              <a:gdLst>
                <a:gd name="T0" fmla="*/ 112 w 300"/>
                <a:gd name="T1" fmla="*/ 75 h 300"/>
                <a:gd name="T2" fmla="*/ 187 w 300"/>
                <a:gd name="T3" fmla="*/ 0 h 300"/>
                <a:gd name="T4" fmla="*/ 150 w 300"/>
                <a:gd name="T5" fmla="*/ 225 h 300"/>
                <a:gd name="T6" fmla="*/ 150 w 300"/>
                <a:gd name="T7" fmla="*/ 300 h 300"/>
                <a:gd name="T8" fmla="*/ 150 w 300"/>
                <a:gd name="T9" fmla="*/ 225 h 300"/>
                <a:gd name="T10" fmla="*/ 217 w 300"/>
                <a:gd name="T11" fmla="*/ 152 h 300"/>
                <a:gd name="T12" fmla="*/ 197 w 300"/>
                <a:gd name="T13" fmla="*/ 168 h 300"/>
                <a:gd name="T14" fmla="*/ 196 w 300"/>
                <a:gd name="T15" fmla="*/ 160 h 300"/>
                <a:gd name="T16" fmla="*/ 159 w 300"/>
                <a:gd name="T17" fmla="*/ 196 h 300"/>
                <a:gd name="T18" fmla="*/ 168 w 300"/>
                <a:gd name="T19" fmla="*/ 198 h 300"/>
                <a:gd name="T20" fmla="*/ 151 w 300"/>
                <a:gd name="T21" fmla="*/ 217 h 300"/>
                <a:gd name="T22" fmla="*/ 131 w 300"/>
                <a:gd name="T23" fmla="*/ 200 h 300"/>
                <a:gd name="T24" fmla="*/ 139 w 300"/>
                <a:gd name="T25" fmla="*/ 198 h 300"/>
                <a:gd name="T26" fmla="*/ 140 w 300"/>
                <a:gd name="T27" fmla="*/ 160 h 300"/>
                <a:gd name="T28" fmla="*/ 103 w 300"/>
                <a:gd name="T29" fmla="*/ 161 h 300"/>
                <a:gd name="T30" fmla="*/ 100 w 300"/>
                <a:gd name="T31" fmla="*/ 169 h 300"/>
                <a:gd name="T32" fmla="*/ 83 w 300"/>
                <a:gd name="T33" fmla="*/ 149 h 300"/>
                <a:gd name="T34" fmla="*/ 103 w 300"/>
                <a:gd name="T35" fmla="*/ 133 h 300"/>
                <a:gd name="T36" fmla="*/ 104 w 300"/>
                <a:gd name="T37" fmla="*/ 141 h 300"/>
                <a:gd name="T38" fmla="*/ 140 w 300"/>
                <a:gd name="T39" fmla="*/ 104 h 300"/>
                <a:gd name="T40" fmla="*/ 132 w 300"/>
                <a:gd name="T41" fmla="*/ 103 h 300"/>
                <a:gd name="T42" fmla="*/ 148 w 300"/>
                <a:gd name="T43" fmla="*/ 84 h 300"/>
                <a:gd name="T44" fmla="*/ 169 w 300"/>
                <a:gd name="T45" fmla="*/ 101 h 300"/>
                <a:gd name="T46" fmla="*/ 160 w 300"/>
                <a:gd name="T47" fmla="*/ 103 h 300"/>
                <a:gd name="T48" fmla="*/ 159 w 300"/>
                <a:gd name="T49" fmla="*/ 141 h 300"/>
                <a:gd name="T50" fmla="*/ 197 w 300"/>
                <a:gd name="T51" fmla="*/ 140 h 300"/>
                <a:gd name="T52" fmla="*/ 200 w 300"/>
                <a:gd name="T53" fmla="*/ 132 h 300"/>
                <a:gd name="T54" fmla="*/ 150 w 300"/>
                <a:gd name="T55" fmla="*/ 150 h 300"/>
                <a:gd name="T56" fmla="*/ 150 w 300"/>
                <a:gd name="T57" fmla="*/ 150 h 300"/>
                <a:gd name="T58" fmla="*/ 0 w 300"/>
                <a:gd name="T59" fmla="*/ 183 h 300"/>
                <a:gd name="T60" fmla="*/ 37 w 300"/>
                <a:gd name="T61" fmla="*/ 118 h 300"/>
                <a:gd name="T62" fmla="*/ 281 w 300"/>
                <a:gd name="T63" fmla="*/ 183 h 300"/>
                <a:gd name="T64" fmla="*/ 281 w 300"/>
                <a:gd name="T65" fmla="*/ 118 h 300"/>
                <a:gd name="T66" fmla="*/ 225 w 300"/>
                <a:gd name="T67" fmla="*/ 150 h 300"/>
                <a:gd name="T68" fmla="*/ 281 w 300"/>
                <a:gd name="T69" fmla="*/ 183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87" y="75"/>
                  </a:moveTo>
                  <a:cubicBezTo>
                    <a:pt x="112" y="75"/>
                    <a:pt x="112" y="75"/>
                    <a:pt x="112" y="75"/>
                  </a:cubicBezTo>
                  <a:cubicBezTo>
                    <a:pt x="112" y="0"/>
                    <a:pt x="112" y="0"/>
                    <a:pt x="112" y="0"/>
                  </a:cubicBezTo>
                  <a:cubicBezTo>
                    <a:pt x="187" y="0"/>
                    <a:pt x="187" y="0"/>
                    <a:pt x="187" y="0"/>
                  </a:cubicBezTo>
                  <a:lnTo>
                    <a:pt x="187" y="75"/>
                  </a:lnTo>
                  <a:close/>
                  <a:moveTo>
                    <a:pt x="150" y="225"/>
                  </a:moveTo>
                  <a:cubicBezTo>
                    <a:pt x="129" y="225"/>
                    <a:pt x="112" y="242"/>
                    <a:pt x="112" y="263"/>
                  </a:cubicBezTo>
                  <a:cubicBezTo>
                    <a:pt x="112" y="284"/>
                    <a:pt x="129" y="300"/>
                    <a:pt x="150" y="300"/>
                  </a:cubicBezTo>
                  <a:cubicBezTo>
                    <a:pt x="171" y="300"/>
                    <a:pt x="187" y="284"/>
                    <a:pt x="187" y="263"/>
                  </a:cubicBezTo>
                  <a:cubicBezTo>
                    <a:pt x="187" y="242"/>
                    <a:pt x="171" y="225"/>
                    <a:pt x="150" y="225"/>
                  </a:cubicBezTo>
                  <a:close/>
                  <a:moveTo>
                    <a:pt x="217" y="149"/>
                  </a:moveTo>
                  <a:cubicBezTo>
                    <a:pt x="218" y="150"/>
                    <a:pt x="218" y="151"/>
                    <a:pt x="217" y="152"/>
                  </a:cubicBezTo>
                  <a:cubicBezTo>
                    <a:pt x="200" y="169"/>
                    <a:pt x="200" y="169"/>
                    <a:pt x="200" y="169"/>
                  </a:cubicBezTo>
                  <a:cubicBezTo>
                    <a:pt x="198" y="171"/>
                    <a:pt x="197" y="170"/>
                    <a:pt x="197" y="168"/>
                  </a:cubicBezTo>
                  <a:cubicBezTo>
                    <a:pt x="197" y="161"/>
                    <a:pt x="197" y="161"/>
                    <a:pt x="197" y="161"/>
                  </a:cubicBezTo>
                  <a:cubicBezTo>
                    <a:pt x="197" y="160"/>
                    <a:pt x="197" y="160"/>
                    <a:pt x="196" y="160"/>
                  </a:cubicBezTo>
                  <a:cubicBezTo>
                    <a:pt x="159" y="160"/>
                    <a:pt x="159" y="160"/>
                    <a:pt x="159" y="160"/>
                  </a:cubicBezTo>
                  <a:cubicBezTo>
                    <a:pt x="159" y="196"/>
                    <a:pt x="159" y="196"/>
                    <a:pt x="159" y="196"/>
                  </a:cubicBezTo>
                  <a:cubicBezTo>
                    <a:pt x="159" y="197"/>
                    <a:pt x="160" y="198"/>
                    <a:pt x="160" y="198"/>
                  </a:cubicBezTo>
                  <a:cubicBezTo>
                    <a:pt x="168" y="198"/>
                    <a:pt x="168" y="198"/>
                    <a:pt x="168" y="198"/>
                  </a:cubicBezTo>
                  <a:cubicBezTo>
                    <a:pt x="169" y="198"/>
                    <a:pt x="170" y="199"/>
                    <a:pt x="169" y="200"/>
                  </a:cubicBezTo>
                  <a:cubicBezTo>
                    <a:pt x="151" y="217"/>
                    <a:pt x="151" y="217"/>
                    <a:pt x="151" y="217"/>
                  </a:cubicBezTo>
                  <a:cubicBezTo>
                    <a:pt x="151" y="218"/>
                    <a:pt x="149" y="218"/>
                    <a:pt x="148" y="217"/>
                  </a:cubicBezTo>
                  <a:cubicBezTo>
                    <a:pt x="131" y="200"/>
                    <a:pt x="131" y="200"/>
                    <a:pt x="131" y="200"/>
                  </a:cubicBezTo>
                  <a:cubicBezTo>
                    <a:pt x="130" y="199"/>
                    <a:pt x="130" y="198"/>
                    <a:pt x="132" y="198"/>
                  </a:cubicBezTo>
                  <a:cubicBezTo>
                    <a:pt x="139" y="198"/>
                    <a:pt x="139" y="198"/>
                    <a:pt x="139" y="198"/>
                  </a:cubicBezTo>
                  <a:cubicBezTo>
                    <a:pt x="140" y="198"/>
                    <a:pt x="140" y="197"/>
                    <a:pt x="140" y="196"/>
                  </a:cubicBezTo>
                  <a:cubicBezTo>
                    <a:pt x="140" y="160"/>
                    <a:pt x="140" y="160"/>
                    <a:pt x="140" y="160"/>
                  </a:cubicBezTo>
                  <a:cubicBezTo>
                    <a:pt x="104" y="160"/>
                    <a:pt x="104" y="160"/>
                    <a:pt x="104" y="160"/>
                  </a:cubicBezTo>
                  <a:cubicBezTo>
                    <a:pt x="103" y="160"/>
                    <a:pt x="103" y="160"/>
                    <a:pt x="103" y="161"/>
                  </a:cubicBezTo>
                  <a:cubicBezTo>
                    <a:pt x="103" y="168"/>
                    <a:pt x="103" y="168"/>
                    <a:pt x="103" y="168"/>
                  </a:cubicBezTo>
                  <a:cubicBezTo>
                    <a:pt x="103" y="170"/>
                    <a:pt x="101" y="171"/>
                    <a:pt x="100" y="169"/>
                  </a:cubicBezTo>
                  <a:cubicBezTo>
                    <a:pt x="83" y="152"/>
                    <a:pt x="83" y="152"/>
                    <a:pt x="83" y="152"/>
                  </a:cubicBezTo>
                  <a:cubicBezTo>
                    <a:pt x="82" y="151"/>
                    <a:pt x="82" y="150"/>
                    <a:pt x="83" y="149"/>
                  </a:cubicBezTo>
                  <a:cubicBezTo>
                    <a:pt x="100" y="132"/>
                    <a:pt x="100" y="132"/>
                    <a:pt x="100" y="132"/>
                  </a:cubicBezTo>
                  <a:cubicBezTo>
                    <a:pt x="101" y="130"/>
                    <a:pt x="103" y="131"/>
                    <a:pt x="103" y="133"/>
                  </a:cubicBezTo>
                  <a:cubicBezTo>
                    <a:pt x="103" y="140"/>
                    <a:pt x="103" y="140"/>
                    <a:pt x="103" y="140"/>
                  </a:cubicBezTo>
                  <a:cubicBezTo>
                    <a:pt x="103" y="140"/>
                    <a:pt x="103" y="141"/>
                    <a:pt x="104" y="141"/>
                  </a:cubicBezTo>
                  <a:cubicBezTo>
                    <a:pt x="140" y="141"/>
                    <a:pt x="140" y="141"/>
                    <a:pt x="140" y="141"/>
                  </a:cubicBezTo>
                  <a:cubicBezTo>
                    <a:pt x="140" y="104"/>
                    <a:pt x="140" y="104"/>
                    <a:pt x="140" y="104"/>
                  </a:cubicBezTo>
                  <a:cubicBezTo>
                    <a:pt x="140" y="104"/>
                    <a:pt x="140" y="103"/>
                    <a:pt x="139" y="103"/>
                  </a:cubicBezTo>
                  <a:cubicBezTo>
                    <a:pt x="132" y="103"/>
                    <a:pt x="132" y="103"/>
                    <a:pt x="132" y="103"/>
                  </a:cubicBezTo>
                  <a:cubicBezTo>
                    <a:pt x="130" y="103"/>
                    <a:pt x="130" y="102"/>
                    <a:pt x="131" y="101"/>
                  </a:cubicBezTo>
                  <a:cubicBezTo>
                    <a:pt x="148" y="84"/>
                    <a:pt x="148" y="84"/>
                    <a:pt x="148" y="84"/>
                  </a:cubicBezTo>
                  <a:cubicBezTo>
                    <a:pt x="149" y="83"/>
                    <a:pt x="151" y="83"/>
                    <a:pt x="151" y="84"/>
                  </a:cubicBezTo>
                  <a:cubicBezTo>
                    <a:pt x="169" y="101"/>
                    <a:pt x="169" y="101"/>
                    <a:pt x="169" y="101"/>
                  </a:cubicBezTo>
                  <a:cubicBezTo>
                    <a:pt x="170" y="102"/>
                    <a:pt x="169" y="103"/>
                    <a:pt x="168" y="103"/>
                  </a:cubicBezTo>
                  <a:cubicBezTo>
                    <a:pt x="160" y="103"/>
                    <a:pt x="160" y="103"/>
                    <a:pt x="160" y="103"/>
                  </a:cubicBezTo>
                  <a:cubicBezTo>
                    <a:pt x="160" y="103"/>
                    <a:pt x="159" y="104"/>
                    <a:pt x="159" y="104"/>
                  </a:cubicBezTo>
                  <a:cubicBezTo>
                    <a:pt x="159" y="141"/>
                    <a:pt x="159" y="141"/>
                    <a:pt x="159" y="141"/>
                  </a:cubicBezTo>
                  <a:cubicBezTo>
                    <a:pt x="196" y="141"/>
                    <a:pt x="196" y="141"/>
                    <a:pt x="196" y="141"/>
                  </a:cubicBezTo>
                  <a:cubicBezTo>
                    <a:pt x="197" y="141"/>
                    <a:pt x="197" y="140"/>
                    <a:pt x="197" y="140"/>
                  </a:cubicBezTo>
                  <a:cubicBezTo>
                    <a:pt x="197" y="133"/>
                    <a:pt x="197" y="133"/>
                    <a:pt x="197" y="133"/>
                  </a:cubicBezTo>
                  <a:cubicBezTo>
                    <a:pt x="197" y="131"/>
                    <a:pt x="198" y="130"/>
                    <a:pt x="200" y="132"/>
                  </a:cubicBezTo>
                  <a:lnTo>
                    <a:pt x="217" y="149"/>
                  </a:lnTo>
                  <a:close/>
                  <a:moveTo>
                    <a:pt x="150" y="150"/>
                  </a:moveTo>
                  <a:cubicBezTo>
                    <a:pt x="150" y="150"/>
                    <a:pt x="150" y="150"/>
                    <a:pt x="150" y="150"/>
                  </a:cubicBezTo>
                  <a:cubicBezTo>
                    <a:pt x="150" y="150"/>
                    <a:pt x="150" y="150"/>
                    <a:pt x="150" y="150"/>
                  </a:cubicBezTo>
                  <a:cubicBezTo>
                    <a:pt x="150" y="150"/>
                    <a:pt x="150" y="150"/>
                    <a:pt x="150" y="150"/>
                  </a:cubicBezTo>
                  <a:close/>
                  <a:moveTo>
                    <a:pt x="0" y="183"/>
                  </a:moveTo>
                  <a:cubicBezTo>
                    <a:pt x="75" y="183"/>
                    <a:pt x="75" y="183"/>
                    <a:pt x="75" y="183"/>
                  </a:cubicBezTo>
                  <a:cubicBezTo>
                    <a:pt x="37" y="118"/>
                    <a:pt x="37" y="118"/>
                    <a:pt x="37" y="118"/>
                  </a:cubicBezTo>
                  <a:lnTo>
                    <a:pt x="0" y="183"/>
                  </a:lnTo>
                  <a:close/>
                  <a:moveTo>
                    <a:pt x="281" y="183"/>
                  </a:moveTo>
                  <a:cubicBezTo>
                    <a:pt x="300" y="150"/>
                    <a:pt x="300" y="150"/>
                    <a:pt x="300" y="150"/>
                  </a:cubicBezTo>
                  <a:cubicBezTo>
                    <a:pt x="281" y="118"/>
                    <a:pt x="281" y="118"/>
                    <a:pt x="281" y="118"/>
                  </a:cubicBezTo>
                  <a:cubicBezTo>
                    <a:pt x="244" y="118"/>
                    <a:pt x="244" y="118"/>
                    <a:pt x="244" y="118"/>
                  </a:cubicBezTo>
                  <a:cubicBezTo>
                    <a:pt x="225" y="150"/>
                    <a:pt x="225" y="150"/>
                    <a:pt x="225" y="150"/>
                  </a:cubicBezTo>
                  <a:cubicBezTo>
                    <a:pt x="244" y="183"/>
                    <a:pt x="244" y="183"/>
                    <a:pt x="244" y="183"/>
                  </a:cubicBezTo>
                  <a:lnTo>
                    <a:pt x="281" y="183"/>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286"/>
              <a:endParaRPr lang="en-US" sz="1200">
                <a:solidFill>
                  <a:srgbClr val="292929"/>
                </a:solidFill>
              </a:endParaRPr>
            </a:p>
          </p:txBody>
        </p:sp>
      </p:grpSp>
      <p:grpSp>
        <p:nvGrpSpPr>
          <p:cNvPr id="15" name="Group 14"/>
          <p:cNvGrpSpPr/>
          <p:nvPr/>
        </p:nvGrpSpPr>
        <p:grpSpPr>
          <a:xfrm>
            <a:off x="7173280" y="983791"/>
            <a:ext cx="1604003" cy="3297598"/>
            <a:chOff x="9561881" y="1311721"/>
            <a:chExt cx="2138114" cy="4396797"/>
          </a:xfrm>
        </p:grpSpPr>
        <p:sp>
          <p:nvSpPr>
            <p:cNvPr id="27" name="Rounded Rectangle 26"/>
            <p:cNvSpPr/>
            <p:nvPr/>
          </p:nvSpPr>
          <p:spPr bwMode="auto">
            <a:xfrm>
              <a:off x="9561881" y="1311721"/>
              <a:ext cx="2138114" cy="4396797"/>
            </a:xfrm>
            <a:prstGeom prst="roundRect">
              <a:avLst>
                <a:gd name="adj" fmla="val 0"/>
              </a:avLst>
            </a:prstGeom>
            <a:solidFill>
              <a:schemeClr val="accent4"/>
            </a:solidFill>
            <a:ln w="9525" cap="flat" cmpd="sng" algn="ctr">
              <a:noFill/>
              <a:prstDash val="solid"/>
            </a:ln>
            <a:effectLst/>
          </p:spPr>
          <p:txBody>
            <a:bodyPr rtlCol="0" anchor="t" anchorCtr="0"/>
            <a:lstStyle/>
            <a:p>
              <a:pPr algn="ctr" defTabSz="914248"/>
              <a:r>
                <a:rPr lang="en-US" sz="1800" dirty="0">
                  <a:solidFill>
                    <a:srgbClr val="FFFFFF">
                      <a:alpha val="99000"/>
                    </a:srgbClr>
                  </a:solidFill>
                  <a:ea typeface="Segoe UI" pitchFamily="34" charset="0"/>
                  <a:cs typeface="Segoe UI" pitchFamily="34" charset="0"/>
                </a:rPr>
                <a:t> </a:t>
              </a:r>
            </a:p>
          </p:txBody>
        </p:sp>
        <p:sp>
          <p:nvSpPr>
            <p:cNvPr id="28" name="Rectangle 27"/>
            <p:cNvSpPr/>
            <p:nvPr/>
          </p:nvSpPr>
          <p:spPr>
            <a:xfrm>
              <a:off x="9676181" y="4240421"/>
              <a:ext cx="1926550" cy="1452705"/>
            </a:xfrm>
            <a:prstGeom prst="rect">
              <a:avLst/>
            </a:prstGeom>
          </p:spPr>
          <p:txBody>
            <a:bodyPr wrap="square">
              <a:spAutoFit/>
            </a:bodyPr>
            <a:lstStyle/>
            <a:p>
              <a:pPr defTabSz="685805">
                <a:lnSpc>
                  <a:spcPct val="90000"/>
                </a:lnSpc>
                <a:defRPr/>
              </a:pPr>
              <a:r>
                <a:rPr lang="en-US" sz="1800" kern="0" dirty="0">
                  <a:gradFill>
                    <a:gsLst>
                      <a:gs pos="0">
                        <a:srgbClr val="FFFFFF"/>
                      </a:gs>
                      <a:gs pos="100000">
                        <a:srgbClr val="FFFFFF"/>
                      </a:gs>
                    </a:gsLst>
                    <a:lin ang="5400000" scaled="0"/>
                  </a:gradFill>
                </a:rPr>
                <a:t>Content Delivery Network (CDN)</a:t>
              </a:r>
            </a:p>
          </p:txBody>
        </p:sp>
        <p:sp>
          <p:nvSpPr>
            <p:cNvPr id="91" name="Freeform 80"/>
            <p:cNvSpPr>
              <a:spLocks noEditPoints="1"/>
            </p:cNvSpPr>
            <p:nvPr/>
          </p:nvSpPr>
          <p:spPr bwMode="black">
            <a:xfrm>
              <a:off x="10176950" y="2553406"/>
              <a:ext cx="907974" cy="1101562"/>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286"/>
              <a:endParaRPr lang="en-US" sz="1200">
                <a:solidFill>
                  <a:srgbClr val="292929"/>
                </a:solidFill>
              </a:endParaRPr>
            </a:p>
          </p:txBody>
        </p:sp>
      </p:grpSp>
      <p:grpSp>
        <p:nvGrpSpPr>
          <p:cNvPr id="16" name="Group 15"/>
          <p:cNvGrpSpPr/>
          <p:nvPr/>
        </p:nvGrpSpPr>
        <p:grpSpPr>
          <a:xfrm>
            <a:off x="3778309" y="2676550"/>
            <a:ext cx="3299130" cy="1604840"/>
            <a:chOff x="5036433" y="3568731"/>
            <a:chExt cx="4397695" cy="2139787"/>
          </a:xfrm>
        </p:grpSpPr>
        <p:sp>
          <p:nvSpPr>
            <p:cNvPr id="67" name="Rounded Rectangle 66"/>
            <p:cNvSpPr/>
            <p:nvPr/>
          </p:nvSpPr>
          <p:spPr bwMode="auto">
            <a:xfrm>
              <a:off x="5036433" y="3568731"/>
              <a:ext cx="4397695" cy="2139787"/>
            </a:xfrm>
            <a:prstGeom prst="roundRect">
              <a:avLst>
                <a:gd name="adj" fmla="val 0"/>
              </a:avLst>
            </a:prstGeom>
            <a:solidFill>
              <a:schemeClr val="accent4"/>
            </a:solidFill>
            <a:ln w="9525" cap="flat" cmpd="sng" algn="ctr">
              <a:noFill/>
              <a:prstDash val="solid"/>
            </a:ln>
            <a:effectLst/>
          </p:spPr>
          <p:txBody>
            <a:bodyPr rtlCol="0" anchor="t" anchorCtr="0"/>
            <a:lstStyle/>
            <a:p>
              <a:pPr algn="ctr" defTabSz="914248"/>
              <a:r>
                <a:rPr lang="en-US" sz="1800" dirty="0">
                  <a:solidFill>
                    <a:srgbClr val="FFFFFF">
                      <a:alpha val="99000"/>
                    </a:srgbClr>
                  </a:solidFill>
                  <a:ea typeface="Segoe UI" pitchFamily="34" charset="0"/>
                  <a:cs typeface="Segoe UI" pitchFamily="34" charset="0"/>
                </a:rPr>
                <a:t> </a:t>
              </a:r>
            </a:p>
          </p:txBody>
        </p:sp>
        <p:sp>
          <p:nvSpPr>
            <p:cNvPr id="68" name="Rectangle 67"/>
            <p:cNvSpPr/>
            <p:nvPr/>
          </p:nvSpPr>
          <p:spPr>
            <a:xfrm>
              <a:off x="5150733" y="5232986"/>
              <a:ext cx="2964567" cy="455509"/>
            </a:xfrm>
            <a:prstGeom prst="rect">
              <a:avLst/>
            </a:prstGeom>
          </p:spPr>
          <p:txBody>
            <a:bodyPr wrap="square">
              <a:spAutoFit/>
            </a:bodyPr>
            <a:lstStyle/>
            <a:p>
              <a:pPr defTabSz="685805">
                <a:lnSpc>
                  <a:spcPct val="90000"/>
                </a:lnSpc>
                <a:defRPr/>
              </a:pPr>
              <a:r>
                <a:rPr lang="en-US" sz="1800" kern="0" dirty="0">
                  <a:gradFill>
                    <a:gsLst>
                      <a:gs pos="0">
                        <a:srgbClr val="FFFFFF"/>
                      </a:gs>
                      <a:gs pos="100000">
                        <a:srgbClr val="FFFFFF"/>
                      </a:gs>
                    </a:gsLst>
                    <a:lin ang="5400000" scaled="0"/>
                  </a:gradFill>
                </a:rPr>
                <a:t>Traffic Manager</a:t>
              </a:r>
            </a:p>
          </p:txBody>
        </p:sp>
        <p:grpSp>
          <p:nvGrpSpPr>
            <p:cNvPr id="92" name="Group 91"/>
            <p:cNvGrpSpPr/>
            <p:nvPr/>
          </p:nvGrpSpPr>
          <p:grpSpPr bwMode="black">
            <a:xfrm>
              <a:off x="6847881" y="4043359"/>
              <a:ext cx="768488" cy="766546"/>
              <a:chOff x="741363" y="4105804"/>
              <a:chExt cx="700088" cy="698500"/>
            </a:xfrm>
            <a:solidFill>
              <a:srgbClr val="FFFFFF"/>
            </a:solidFill>
          </p:grpSpPr>
          <p:sp>
            <p:nvSpPr>
              <p:cNvPr id="93" name="Freeform 34"/>
              <p:cNvSpPr>
                <a:spLocks noEditPoints="1"/>
              </p:cNvSpPr>
              <p:nvPr/>
            </p:nvSpPr>
            <p:spPr bwMode="black">
              <a:xfrm>
                <a:off x="741363" y="4105804"/>
                <a:ext cx="700088" cy="698500"/>
              </a:xfrm>
              <a:custGeom>
                <a:avLst/>
                <a:gdLst>
                  <a:gd name="T0" fmla="*/ 333 w 394"/>
                  <a:gd name="T1" fmla="*/ 0 h 393"/>
                  <a:gd name="T2" fmla="*/ 61 w 394"/>
                  <a:gd name="T3" fmla="*/ 0 h 393"/>
                  <a:gd name="T4" fmla="*/ 0 w 394"/>
                  <a:gd name="T5" fmla="*/ 60 h 393"/>
                  <a:gd name="T6" fmla="*/ 0 w 394"/>
                  <a:gd name="T7" fmla="*/ 333 h 393"/>
                  <a:gd name="T8" fmla="*/ 61 w 394"/>
                  <a:gd name="T9" fmla="*/ 393 h 393"/>
                  <a:gd name="T10" fmla="*/ 333 w 394"/>
                  <a:gd name="T11" fmla="*/ 393 h 393"/>
                  <a:gd name="T12" fmla="*/ 394 w 394"/>
                  <a:gd name="T13" fmla="*/ 333 h 393"/>
                  <a:gd name="T14" fmla="*/ 394 w 394"/>
                  <a:gd name="T15" fmla="*/ 60 h 393"/>
                  <a:gd name="T16" fmla="*/ 333 w 394"/>
                  <a:gd name="T17" fmla="*/ 0 h 393"/>
                  <a:gd name="T18" fmla="*/ 376 w 394"/>
                  <a:gd name="T19" fmla="*/ 333 h 393"/>
                  <a:gd name="T20" fmla="*/ 333 w 394"/>
                  <a:gd name="T21" fmla="*/ 376 h 393"/>
                  <a:gd name="T22" fmla="*/ 61 w 394"/>
                  <a:gd name="T23" fmla="*/ 376 h 393"/>
                  <a:gd name="T24" fmla="*/ 18 w 394"/>
                  <a:gd name="T25" fmla="*/ 333 h 393"/>
                  <a:gd name="T26" fmla="*/ 18 w 394"/>
                  <a:gd name="T27" fmla="*/ 60 h 393"/>
                  <a:gd name="T28" fmla="*/ 61 w 394"/>
                  <a:gd name="T29" fmla="*/ 17 h 393"/>
                  <a:gd name="T30" fmla="*/ 333 w 394"/>
                  <a:gd name="T31" fmla="*/ 17 h 393"/>
                  <a:gd name="T32" fmla="*/ 376 w 394"/>
                  <a:gd name="T33" fmla="*/ 60 h 393"/>
                  <a:gd name="T34" fmla="*/ 376 w 394"/>
                  <a:gd name="T35" fmla="*/ 333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4" h="393">
                    <a:moveTo>
                      <a:pt x="333" y="0"/>
                    </a:moveTo>
                    <a:cubicBezTo>
                      <a:pt x="61" y="0"/>
                      <a:pt x="61" y="0"/>
                      <a:pt x="61" y="0"/>
                    </a:cubicBezTo>
                    <a:cubicBezTo>
                      <a:pt x="28" y="0"/>
                      <a:pt x="0" y="27"/>
                      <a:pt x="0" y="60"/>
                    </a:cubicBezTo>
                    <a:cubicBezTo>
                      <a:pt x="0" y="333"/>
                      <a:pt x="0" y="333"/>
                      <a:pt x="0" y="333"/>
                    </a:cubicBezTo>
                    <a:cubicBezTo>
                      <a:pt x="0" y="366"/>
                      <a:pt x="28" y="393"/>
                      <a:pt x="61" y="393"/>
                    </a:cubicBezTo>
                    <a:cubicBezTo>
                      <a:pt x="333" y="393"/>
                      <a:pt x="333" y="393"/>
                      <a:pt x="333" y="393"/>
                    </a:cubicBezTo>
                    <a:cubicBezTo>
                      <a:pt x="366" y="393"/>
                      <a:pt x="394" y="366"/>
                      <a:pt x="394" y="333"/>
                    </a:cubicBezTo>
                    <a:cubicBezTo>
                      <a:pt x="394" y="60"/>
                      <a:pt x="394" y="60"/>
                      <a:pt x="394" y="60"/>
                    </a:cubicBezTo>
                    <a:cubicBezTo>
                      <a:pt x="394" y="27"/>
                      <a:pt x="366" y="0"/>
                      <a:pt x="333" y="0"/>
                    </a:cubicBezTo>
                    <a:close/>
                    <a:moveTo>
                      <a:pt x="376" y="333"/>
                    </a:moveTo>
                    <a:cubicBezTo>
                      <a:pt x="376" y="356"/>
                      <a:pt x="357" y="376"/>
                      <a:pt x="333" y="376"/>
                    </a:cubicBezTo>
                    <a:cubicBezTo>
                      <a:pt x="61" y="376"/>
                      <a:pt x="61" y="376"/>
                      <a:pt x="61" y="376"/>
                    </a:cubicBezTo>
                    <a:cubicBezTo>
                      <a:pt x="37" y="376"/>
                      <a:pt x="18" y="356"/>
                      <a:pt x="18" y="333"/>
                    </a:cubicBezTo>
                    <a:cubicBezTo>
                      <a:pt x="18" y="60"/>
                      <a:pt x="18" y="60"/>
                      <a:pt x="18" y="60"/>
                    </a:cubicBezTo>
                    <a:cubicBezTo>
                      <a:pt x="18" y="37"/>
                      <a:pt x="37" y="17"/>
                      <a:pt x="61" y="17"/>
                    </a:cubicBezTo>
                    <a:cubicBezTo>
                      <a:pt x="333" y="17"/>
                      <a:pt x="333" y="17"/>
                      <a:pt x="333" y="17"/>
                    </a:cubicBezTo>
                    <a:cubicBezTo>
                      <a:pt x="357" y="17"/>
                      <a:pt x="376" y="37"/>
                      <a:pt x="376" y="60"/>
                    </a:cubicBezTo>
                    <a:lnTo>
                      <a:pt x="376" y="333"/>
                    </a:lnTo>
                    <a:close/>
                  </a:path>
                </a:pathLst>
              </a:custGeom>
              <a:grpFill/>
              <a:ln>
                <a:noFill/>
              </a:ln>
            </p:spPr>
            <p:txBody>
              <a:bodyPr vert="horz" wrap="square" lIns="91440" tIns="45720" rIns="91440" bIns="45720" numCol="1" anchor="t" anchorCtr="0" compatLnSpc="1">
                <a:prstTxWarp prst="textNoShape">
                  <a:avLst/>
                </a:prstTxWarp>
              </a:bodyPr>
              <a:lstStyle/>
              <a:p>
                <a:pPr defTabSz="914286"/>
                <a:endParaRPr lang="en-US" sz="1200">
                  <a:solidFill>
                    <a:srgbClr val="292929"/>
                  </a:solidFill>
                </a:endParaRPr>
              </a:p>
            </p:txBody>
          </p:sp>
          <p:sp>
            <p:nvSpPr>
              <p:cNvPr id="94" name="Freeform 35"/>
              <p:cNvSpPr>
                <a:spLocks noEditPoints="1"/>
              </p:cNvSpPr>
              <p:nvPr/>
            </p:nvSpPr>
            <p:spPr bwMode="black">
              <a:xfrm>
                <a:off x="803275" y="4166129"/>
                <a:ext cx="576263" cy="576263"/>
              </a:xfrm>
              <a:custGeom>
                <a:avLst/>
                <a:gdLst>
                  <a:gd name="T0" fmla="*/ 298 w 324"/>
                  <a:gd name="T1" fmla="*/ 0 h 324"/>
                  <a:gd name="T2" fmla="*/ 26 w 324"/>
                  <a:gd name="T3" fmla="*/ 0 h 324"/>
                  <a:gd name="T4" fmla="*/ 0 w 324"/>
                  <a:gd name="T5" fmla="*/ 26 h 324"/>
                  <a:gd name="T6" fmla="*/ 0 w 324"/>
                  <a:gd name="T7" fmla="*/ 299 h 324"/>
                  <a:gd name="T8" fmla="*/ 26 w 324"/>
                  <a:gd name="T9" fmla="*/ 324 h 324"/>
                  <a:gd name="T10" fmla="*/ 298 w 324"/>
                  <a:gd name="T11" fmla="*/ 324 h 324"/>
                  <a:gd name="T12" fmla="*/ 324 w 324"/>
                  <a:gd name="T13" fmla="*/ 299 h 324"/>
                  <a:gd name="T14" fmla="*/ 324 w 324"/>
                  <a:gd name="T15" fmla="*/ 26 h 324"/>
                  <a:gd name="T16" fmla="*/ 298 w 324"/>
                  <a:gd name="T17" fmla="*/ 0 h 324"/>
                  <a:gd name="T18" fmla="*/ 233 w 324"/>
                  <a:gd name="T19" fmla="*/ 125 h 324"/>
                  <a:gd name="T20" fmla="*/ 229 w 324"/>
                  <a:gd name="T21" fmla="*/ 161 h 324"/>
                  <a:gd name="T22" fmla="*/ 209 w 324"/>
                  <a:gd name="T23" fmla="*/ 201 h 324"/>
                  <a:gd name="T24" fmla="*/ 201 w 324"/>
                  <a:gd name="T25" fmla="*/ 201 h 324"/>
                  <a:gd name="T26" fmla="*/ 201 w 324"/>
                  <a:gd name="T27" fmla="*/ 208 h 324"/>
                  <a:gd name="T28" fmla="*/ 233 w 324"/>
                  <a:gd name="T29" fmla="*/ 208 h 324"/>
                  <a:gd name="T30" fmla="*/ 229 w 324"/>
                  <a:gd name="T31" fmla="*/ 244 h 324"/>
                  <a:gd name="T32" fmla="*/ 209 w 324"/>
                  <a:gd name="T33" fmla="*/ 284 h 324"/>
                  <a:gd name="T34" fmla="*/ 201 w 324"/>
                  <a:gd name="T35" fmla="*/ 284 h 324"/>
                  <a:gd name="T36" fmla="*/ 201 w 324"/>
                  <a:gd name="T37" fmla="*/ 287 h 324"/>
                  <a:gd name="T38" fmla="*/ 182 w 324"/>
                  <a:gd name="T39" fmla="*/ 296 h 324"/>
                  <a:gd name="T40" fmla="*/ 137 w 324"/>
                  <a:gd name="T41" fmla="*/ 296 h 324"/>
                  <a:gd name="T42" fmla="*/ 118 w 324"/>
                  <a:gd name="T43" fmla="*/ 287 h 324"/>
                  <a:gd name="T44" fmla="*/ 118 w 324"/>
                  <a:gd name="T45" fmla="*/ 284 h 324"/>
                  <a:gd name="T46" fmla="*/ 110 w 324"/>
                  <a:gd name="T47" fmla="*/ 284 h 324"/>
                  <a:gd name="T48" fmla="*/ 91 w 324"/>
                  <a:gd name="T49" fmla="*/ 244 h 324"/>
                  <a:gd name="T50" fmla="*/ 86 w 324"/>
                  <a:gd name="T51" fmla="*/ 208 h 324"/>
                  <a:gd name="T52" fmla="*/ 118 w 324"/>
                  <a:gd name="T53" fmla="*/ 208 h 324"/>
                  <a:gd name="T54" fmla="*/ 118 w 324"/>
                  <a:gd name="T55" fmla="*/ 201 h 324"/>
                  <a:gd name="T56" fmla="*/ 110 w 324"/>
                  <a:gd name="T57" fmla="*/ 201 h 324"/>
                  <a:gd name="T58" fmla="*/ 91 w 324"/>
                  <a:gd name="T59" fmla="*/ 161 h 324"/>
                  <a:gd name="T60" fmla="*/ 86 w 324"/>
                  <a:gd name="T61" fmla="*/ 125 h 324"/>
                  <a:gd name="T62" fmla="*/ 118 w 324"/>
                  <a:gd name="T63" fmla="*/ 125 h 324"/>
                  <a:gd name="T64" fmla="*/ 118 w 324"/>
                  <a:gd name="T65" fmla="*/ 119 h 324"/>
                  <a:gd name="T66" fmla="*/ 110 w 324"/>
                  <a:gd name="T67" fmla="*/ 119 h 324"/>
                  <a:gd name="T68" fmla="*/ 91 w 324"/>
                  <a:gd name="T69" fmla="*/ 78 h 324"/>
                  <a:gd name="T70" fmla="*/ 86 w 324"/>
                  <a:gd name="T71" fmla="*/ 42 h 324"/>
                  <a:gd name="T72" fmla="*/ 118 w 324"/>
                  <a:gd name="T73" fmla="*/ 42 h 324"/>
                  <a:gd name="T74" fmla="*/ 118 w 324"/>
                  <a:gd name="T75" fmla="*/ 39 h 324"/>
                  <a:gd name="T76" fmla="*/ 137 w 324"/>
                  <a:gd name="T77" fmla="*/ 19 h 324"/>
                  <a:gd name="T78" fmla="*/ 182 w 324"/>
                  <a:gd name="T79" fmla="*/ 19 h 324"/>
                  <a:gd name="T80" fmla="*/ 201 w 324"/>
                  <a:gd name="T81" fmla="*/ 39 h 324"/>
                  <a:gd name="T82" fmla="*/ 201 w 324"/>
                  <a:gd name="T83" fmla="*/ 42 h 324"/>
                  <a:gd name="T84" fmla="*/ 233 w 324"/>
                  <a:gd name="T85" fmla="*/ 42 h 324"/>
                  <a:gd name="T86" fmla="*/ 229 w 324"/>
                  <a:gd name="T87" fmla="*/ 78 h 324"/>
                  <a:gd name="T88" fmla="*/ 209 w 324"/>
                  <a:gd name="T89" fmla="*/ 119 h 324"/>
                  <a:gd name="T90" fmla="*/ 201 w 324"/>
                  <a:gd name="T91" fmla="*/ 119 h 324"/>
                  <a:gd name="T92" fmla="*/ 201 w 324"/>
                  <a:gd name="T93" fmla="*/ 125 h 324"/>
                  <a:gd name="T94" fmla="*/ 233 w 324"/>
                  <a:gd name="T95" fmla="*/ 12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298" y="0"/>
                    </a:moveTo>
                    <a:cubicBezTo>
                      <a:pt x="26" y="0"/>
                      <a:pt x="26" y="0"/>
                      <a:pt x="26" y="0"/>
                    </a:cubicBezTo>
                    <a:cubicBezTo>
                      <a:pt x="12" y="0"/>
                      <a:pt x="0" y="12"/>
                      <a:pt x="0" y="26"/>
                    </a:cubicBezTo>
                    <a:cubicBezTo>
                      <a:pt x="0" y="299"/>
                      <a:pt x="0" y="299"/>
                      <a:pt x="0" y="299"/>
                    </a:cubicBezTo>
                    <a:cubicBezTo>
                      <a:pt x="0" y="313"/>
                      <a:pt x="12" y="324"/>
                      <a:pt x="26" y="324"/>
                    </a:cubicBezTo>
                    <a:cubicBezTo>
                      <a:pt x="298" y="324"/>
                      <a:pt x="298" y="324"/>
                      <a:pt x="298" y="324"/>
                    </a:cubicBezTo>
                    <a:cubicBezTo>
                      <a:pt x="312" y="324"/>
                      <a:pt x="324" y="313"/>
                      <a:pt x="324" y="299"/>
                    </a:cubicBezTo>
                    <a:cubicBezTo>
                      <a:pt x="324" y="26"/>
                      <a:pt x="324" y="26"/>
                      <a:pt x="324" y="26"/>
                    </a:cubicBezTo>
                    <a:cubicBezTo>
                      <a:pt x="324" y="12"/>
                      <a:pt x="312" y="0"/>
                      <a:pt x="298" y="0"/>
                    </a:cubicBezTo>
                    <a:close/>
                    <a:moveTo>
                      <a:pt x="233" y="125"/>
                    </a:moveTo>
                    <a:cubicBezTo>
                      <a:pt x="239" y="125"/>
                      <a:pt x="237" y="131"/>
                      <a:pt x="229" y="161"/>
                    </a:cubicBezTo>
                    <a:cubicBezTo>
                      <a:pt x="221" y="190"/>
                      <a:pt x="209" y="201"/>
                      <a:pt x="209" y="201"/>
                    </a:cubicBezTo>
                    <a:cubicBezTo>
                      <a:pt x="201" y="201"/>
                      <a:pt x="201" y="201"/>
                      <a:pt x="201" y="201"/>
                    </a:cubicBezTo>
                    <a:cubicBezTo>
                      <a:pt x="201" y="208"/>
                      <a:pt x="201" y="208"/>
                      <a:pt x="201" y="208"/>
                    </a:cubicBezTo>
                    <a:cubicBezTo>
                      <a:pt x="233" y="208"/>
                      <a:pt x="233" y="208"/>
                      <a:pt x="233" y="208"/>
                    </a:cubicBezTo>
                    <a:cubicBezTo>
                      <a:pt x="239" y="208"/>
                      <a:pt x="237" y="214"/>
                      <a:pt x="229" y="244"/>
                    </a:cubicBezTo>
                    <a:cubicBezTo>
                      <a:pt x="221" y="273"/>
                      <a:pt x="209" y="284"/>
                      <a:pt x="209" y="284"/>
                    </a:cubicBezTo>
                    <a:cubicBezTo>
                      <a:pt x="201" y="284"/>
                      <a:pt x="201" y="284"/>
                      <a:pt x="201" y="284"/>
                    </a:cubicBezTo>
                    <a:cubicBezTo>
                      <a:pt x="201" y="287"/>
                      <a:pt x="201" y="287"/>
                      <a:pt x="201" y="287"/>
                    </a:cubicBezTo>
                    <a:cubicBezTo>
                      <a:pt x="182" y="296"/>
                      <a:pt x="182" y="296"/>
                      <a:pt x="182" y="296"/>
                    </a:cubicBezTo>
                    <a:cubicBezTo>
                      <a:pt x="137" y="296"/>
                      <a:pt x="137" y="296"/>
                      <a:pt x="137" y="296"/>
                    </a:cubicBezTo>
                    <a:cubicBezTo>
                      <a:pt x="118" y="287"/>
                      <a:pt x="118" y="287"/>
                      <a:pt x="118" y="287"/>
                    </a:cubicBezTo>
                    <a:cubicBezTo>
                      <a:pt x="118" y="284"/>
                      <a:pt x="118" y="284"/>
                      <a:pt x="118" y="284"/>
                    </a:cubicBezTo>
                    <a:cubicBezTo>
                      <a:pt x="110" y="284"/>
                      <a:pt x="110" y="284"/>
                      <a:pt x="110" y="284"/>
                    </a:cubicBezTo>
                    <a:cubicBezTo>
                      <a:pt x="110" y="284"/>
                      <a:pt x="99" y="273"/>
                      <a:pt x="91" y="244"/>
                    </a:cubicBezTo>
                    <a:cubicBezTo>
                      <a:pt x="83" y="214"/>
                      <a:pt x="80" y="208"/>
                      <a:pt x="86" y="208"/>
                    </a:cubicBezTo>
                    <a:cubicBezTo>
                      <a:pt x="118" y="208"/>
                      <a:pt x="118" y="208"/>
                      <a:pt x="118" y="208"/>
                    </a:cubicBezTo>
                    <a:cubicBezTo>
                      <a:pt x="118" y="201"/>
                      <a:pt x="118" y="201"/>
                      <a:pt x="118" y="201"/>
                    </a:cubicBezTo>
                    <a:cubicBezTo>
                      <a:pt x="110" y="201"/>
                      <a:pt x="110" y="201"/>
                      <a:pt x="110" y="201"/>
                    </a:cubicBezTo>
                    <a:cubicBezTo>
                      <a:pt x="110" y="201"/>
                      <a:pt x="99" y="190"/>
                      <a:pt x="91" y="161"/>
                    </a:cubicBezTo>
                    <a:cubicBezTo>
                      <a:pt x="83" y="131"/>
                      <a:pt x="80" y="125"/>
                      <a:pt x="86" y="125"/>
                    </a:cubicBezTo>
                    <a:cubicBezTo>
                      <a:pt x="118" y="125"/>
                      <a:pt x="118" y="125"/>
                      <a:pt x="118" y="125"/>
                    </a:cubicBezTo>
                    <a:cubicBezTo>
                      <a:pt x="118" y="119"/>
                      <a:pt x="118" y="119"/>
                      <a:pt x="118" y="119"/>
                    </a:cubicBezTo>
                    <a:cubicBezTo>
                      <a:pt x="110" y="119"/>
                      <a:pt x="110" y="119"/>
                      <a:pt x="110" y="119"/>
                    </a:cubicBezTo>
                    <a:cubicBezTo>
                      <a:pt x="110" y="119"/>
                      <a:pt x="99" y="108"/>
                      <a:pt x="91" y="78"/>
                    </a:cubicBezTo>
                    <a:cubicBezTo>
                      <a:pt x="83" y="49"/>
                      <a:pt x="80" y="42"/>
                      <a:pt x="86" y="42"/>
                    </a:cubicBezTo>
                    <a:cubicBezTo>
                      <a:pt x="118" y="42"/>
                      <a:pt x="118" y="42"/>
                      <a:pt x="118" y="42"/>
                    </a:cubicBezTo>
                    <a:cubicBezTo>
                      <a:pt x="118" y="39"/>
                      <a:pt x="118" y="39"/>
                      <a:pt x="118" y="39"/>
                    </a:cubicBezTo>
                    <a:cubicBezTo>
                      <a:pt x="137" y="19"/>
                      <a:pt x="137" y="19"/>
                      <a:pt x="137" y="19"/>
                    </a:cubicBezTo>
                    <a:cubicBezTo>
                      <a:pt x="182" y="19"/>
                      <a:pt x="182" y="19"/>
                      <a:pt x="182" y="19"/>
                    </a:cubicBezTo>
                    <a:cubicBezTo>
                      <a:pt x="201" y="39"/>
                      <a:pt x="201" y="39"/>
                      <a:pt x="201" y="39"/>
                    </a:cubicBezTo>
                    <a:cubicBezTo>
                      <a:pt x="201" y="42"/>
                      <a:pt x="201" y="42"/>
                      <a:pt x="201" y="42"/>
                    </a:cubicBezTo>
                    <a:cubicBezTo>
                      <a:pt x="233" y="42"/>
                      <a:pt x="233" y="42"/>
                      <a:pt x="233" y="42"/>
                    </a:cubicBezTo>
                    <a:cubicBezTo>
                      <a:pt x="239" y="42"/>
                      <a:pt x="237" y="49"/>
                      <a:pt x="229" y="78"/>
                    </a:cubicBezTo>
                    <a:cubicBezTo>
                      <a:pt x="221" y="108"/>
                      <a:pt x="209" y="119"/>
                      <a:pt x="209" y="119"/>
                    </a:cubicBezTo>
                    <a:cubicBezTo>
                      <a:pt x="201" y="119"/>
                      <a:pt x="201" y="119"/>
                      <a:pt x="201" y="119"/>
                    </a:cubicBezTo>
                    <a:cubicBezTo>
                      <a:pt x="201" y="125"/>
                      <a:pt x="201" y="125"/>
                      <a:pt x="201" y="125"/>
                    </a:cubicBezTo>
                    <a:lnTo>
                      <a:pt x="233" y="125"/>
                    </a:lnTo>
                    <a:close/>
                  </a:path>
                </a:pathLst>
              </a:custGeom>
              <a:grpFill/>
              <a:ln>
                <a:noFill/>
              </a:ln>
            </p:spPr>
            <p:txBody>
              <a:bodyPr vert="horz" wrap="square" lIns="91440" tIns="45720" rIns="91440" bIns="45720" numCol="1" anchor="t" anchorCtr="0" compatLnSpc="1">
                <a:prstTxWarp prst="textNoShape">
                  <a:avLst/>
                </a:prstTxWarp>
              </a:bodyPr>
              <a:lstStyle/>
              <a:p>
                <a:pPr defTabSz="914286"/>
                <a:endParaRPr lang="en-US" sz="1200">
                  <a:solidFill>
                    <a:srgbClr val="292929"/>
                  </a:solidFill>
                </a:endParaRPr>
              </a:p>
            </p:txBody>
          </p:sp>
          <p:sp>
            <p:nvSpPr>
              <p:cNvPr id="95" name="Oval 36"/>
              <p:cNvSpPr>
                <a:spLocks noChangeArrowheads="1"/>
              </p:cNvSpPr>
              <p:nvPr/>
            </p:nvSpPr>
            <p:spPr bwMode="black">
              <a:xfrm>
                <a:off x="1027113" y="4251854"/>
                <a:ext cx="119063" cy="117475"/>
              </a:xfrm>
              <a:prstGeom prst="ellipse">
                <a:avLst/>
              </a:prstGeom>
              <a:grpFill/>
              <a:ln>
                <a:noFill/>
              </a:ln>
            </p:spPr>
            <p:txBody>
              <a:bodyPr vert="horz" wrap="square" lIns="91440" tIns="45720" rIns="91440" bIns="45720" numCol="1" anchor="t" anchorCtr="0" compatLnSpc="1">
                <a:prstTxWarp prst="textNoShape">
                  <a:avLst/>
                </a:prstTxWarp>
              </a:bodyPr>
              <a:lstStyle/>
              <a:p>
                <a:pPr defTabSz="914286"/>
                <a:endParaRPr lang="en-US" sz="1200">
                  <a:solidFill>
                    <a:srgbClr val="292929"/>
                  </a:solidFill>
                </a:endParaRPr>
              </a:p>
            </p:txBody>
          </p:sp>
          <p:sp>
            <p:nvSpPr>
              <p:cNvPr id="96" name="Oval 37"/>
              <p:cNvSpPr>
                <a:spLocks noChangeArrowheads="1"/>
              </p:cNvSpPr>
              <p:nvPr/>
            </p:nvSpPr>
            <p:spPr bwMode="black">
              <a:xfrm>
                <a:off x="1027113" y="4399491"/>
                <a:ext cx="119063" cy="119063"/>
              </a:xfrm>
              <a:prstGeom prst="ellipse">
                <a:avLst/>
              </a:prstGeom>
              <a:grpFill/>
              <a:ln>
                <a:noFill/>
              </a:ln>
            </p:spPr>
            <p:txBody>
              <a:bodyPr vert="horz" wrap="square" lIns="91440" tIns="45720" rIns="91440" bIns="45720" numCol="1" anchor="t" anchorCtr="0" compatLnSpc="1">
                <a:prstTxWarp prst="textNoShape">
                  <a:avLst/>
                </a:prstTxWarp>
              </a:bodyPr>
              <a:lstStyle/>
              <a:p>
                <a:pPr defTabSz="914286"/>
                <a:endParaRPr lang="en-US" sz="1200">
                  <a:solidFill>
                    <a:srgbClr val="292929"/>
                  </a:solidFill>
                </a:endParaRPr>
              </a:p>
            </p:txBody>
          </p:sp>
          <p:sp>
            <p:nvSpPr>
              <p:cNvPr id="97" name="Oval 38"/>
              <p:cNvSpPr>
                <a:spLocks noChangeArrowheads="1"/>
              </p:cNvSpPr>
              <p:nvPr/>
            </p:nvSpPr>
            <p:spPr bwMode="black">
              <a:xfrm>
                <a:off x="1027113" y="4545541"/>
                <a:ext cx="119063" cy="119063"/>
              </a:xfrm>
              <a:prstGeom prst="ellipse">
                <a:avLst/>
              </a:prstGeom>
              <a:grpFill/>
              <a:ln>
                <a:noFill/>
              </a:ln>
            </p:spPr>
            <p:txBody>
              <a:bodyPr vert="horz" wrap="square" lIns="91440" tIns="45720" rIns="91440" bIns="45720" numCol="1" anchor="t" anchorCtr="0" compatLnSpc="1">
                <a:prstTxWarp prst="textNoShape">
                  <a:avLst/>
                </a:prstTxWarp>
              </a:bodyPr>
              <a:lstStyle/>
              <a:p>
                <a:pPr defTabSz="914286"/>
                <a:endParaRPr lang="en-US" sz="1200">
                  <a:solidFill>
                    <a:srgbClr val="292929"/>
                  </a:solidFill>
                </a:endParaRPr>
              </a:p>
            </p:txBody>
          </p:sp>
        </p:grpSp>
      </p:grpSp>
      <p:grpSp>
        <p:nvGrpSpPr>
          <p:cNvPr id="17" name="Group 16"/>
          <p:cNvGrpSpPr/>
          <p:nvPr/>
        </p:nvGrpSpPr>
        <p:grpSpPr>
          <a:xfrm>
            <a:off x="391804" y="2676550"/>
            <a:ext cx="3299130" cy="1604840"/>
            <a:chOff x="522268" y="3568731"/>
            <a:chExt cx="4397695" cy="2139787"/>
          </a:xfrm>
        </p:grpSpPr>
        <p:sp>
          <p:nvSpPr>
            <p:cNvPr id="70" name="Rounded Rectangle 69"/>
            <p:cNvSpPr/>
            <p:nvPr/>
          </p:nvSpPr>
          <p:spPr bwMode="auto">
            <a:xfrm>
              <a:off x="522268" y="3568731"/>
              <a:ext cx="4397695" cy="2139787"/>
            </a:xfrm>
            <a:prstGeom prst="roundRect">
              <a:avLst>
                <a:gd name="adj" fmla="val 0"/>
              </a:avLst>
            </a:prstGeom>
            <a:solidFill>
              <a:schemeClr val="accent4"/>
            </a:solidFill>
            <a:ln w="9525" cap="flat" cmpd="sng" algn="ctr">
              <a:noFill/>
              <a:prstDash val="solid"/>
            </a:ln>
            <a:effectLst/>
          </p:spPr>
          <p:txBody>
            <a:bodyPr rtlCol="0" anchor="t" anchorCtr="0"/>
            <a:lstStyle/>
            <a:p>
              <a:pPr algn="ctr" defTabSz="914248"/>
              <a:r>
                <a:rPr lang="en-US" sz="1800" dirty="0">
                  <a:solidFill>
                    <a:srgbClr val="FFFFFF">
                      <a:alpha val="99000"/>
                    </a:srgbClr>
                  </a:solidFill>
                  <a:ea typeface="Segoe UI" pitchFamily="34" charset="0"/>
                  <a:cs typeface="Segoe UI" pitchFamily="34" charset="0"/>
                </a:rPr>
                <a:t> </a:t>
              </a:r>
            </a:p>
          </p:txBody>
        </p:sp>
        <p:sp>
          <p:nvSpPr>
            <p:cNvPr id="71" name="Rectangle 70"/>
            <p:cNvSpPr/>
            <p:nvPr/>
          </p:nvSpPr>
          <p:spPr>
            <a:xfrm>
              <a:off x="636568" y="5232986"/>
              <a:ext cx="3795732" cy="455509"/>
            </a:xfrm>
            <a:prstGeom prst="rect">
              <a:avLst/>
            </a:prstGeom>
          </p:spPr>
          <p:txBody>
            <a:bodyPr wrap="square">
              <a:spAutoFit/>
            </a:bodyPr>
            <a:lstStyle/>
            <a:p>
              <a:pPr defTabSz="685805">
                <a:lnSpc>
                  <a:spcPct val="90000"/>
                </a:lnSpc>
                <a:defRPr/>
              </a:pPr>
              <a:r>
                <a:rPr lang="en-US" sz="1800" kern="0" dirty="0">
                  <a:gradFill>
                    <a:gsLst>
                      <a:gs pos="0">
                        <a:srgbClr val="FFFFFF"/>
                      </a:gs>
                      <a:gs pos="100000">
                        <a:srgbClr val="FFFFFF"/>
                      </a:gs>
                    </a:gsLst>
                    <a:lin ang="5400000" scaled="0"/>
                  </a:gradFill>
                </a:rPr>
                <a:t>SQL Azure Data Sync</a:t>
              </a:r>
            </a:p>
          </p:txBody>
        </p:sp>
        <p:sp>
          <p:nvSpPr>
            <p:cNvPr id="98" name="Freeform 83"/>
            <p:cNvSpPr>
              <a:spLocks noEditPoints="1"/>
            </p:cNvSpPr>
            <p:nvPr/>
          </p:nvSpPr>
          <p:spPr bwMode="black">
            <a:xfrm>
              <a:off x="2323570" y="4010304"/>
              <a:ext cx="788778" cy="832655"/>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286"/>
              <a:endParaRPr lang="en-US" sz="1200">
                <a:solidFill>
                  <a:srgbClr val="292929"/>
                </a:solidFill>
              </a:endParaRPr>
            </a:p>
          </p:txBody>
        </p:sp>
      </p:grpSp>
      <p:grpSp>
        <p:nvGrpSpPr>
          <p:cNvPr id="8" name="Group 7"/>
          <p:cNvGrpSpPr/>
          <p:nvPr/>
        </p:nvGrpSpPr>
        <p:grpSpPr>
          <a:xfrm>
            <a:off x="3778309" y="983791"/>
            <a:ext cx="3299130" cy="1604840"/>
            <a:chOff x="5036433" y="1311721"/>
            <a:chExt cx="4397695" cy="2139787"/>
          </a:xfrm>
        </p:grpSpPr>
        <p:sp>
          <p:nvSpPr>
            <p:cNvPr id="23" name="Rounded Rectangle 22"/>
            <p:cNvSpPr/>
            <p:nvPr/>
          </p:nvSpPr>
          <p:spPr bwMode="auto">
            <a:xfrm>
              <a:off x="5036433" y="1311721"/>
              <a:ext cx="4397695" cy="2139787"/>
            </a:xfrm>
            <a:prstGeom prst="roundRect">
              <a:avLst>
                <a:gd name="adj" fmla="val 0"/>
              </a:avLst>
            </a:prstGeom>
            <a:solidFill>
              <a:schemeClr val="accent4"/>
            </a:solidFill>
            <a:ln w="9525" cap="flat" cmpd="sng" algn="ctr">
              <a:noFill/>
              <a:prstDash val="solid"/>
            </a:ln>
            <a:effectLst/>
          </p:spPr>
          <p:txBody>
            <a:bodyPr rtlCol="0" anchor="t" anchorCtr="0"/>
            <a:lstStyle/>
            <a:p>
              <a:pPr algn="ctr" defTabSz="914248"/>
              <a:r>
                <a:rPr lang="en-US" sz="1800" dirty="0">
                  <a:solidFill>
                    <a:srgbClr val="FFFFFF">
                      <a:alpha val="99000"/>
                    </a:srgbClr>
                  </a:solidFill>
                  <a:ea typeface="Segoe UI" pitchFamily="34" charset="0"/>
                  <a:cs typeface="Segoe UI" pitchFamily="34" charset="0"/>
                </a:rPr>
                <a:t> </a:t>
              </a:r>
            </a:p>
          </p:txBody>
        </p:sp>
        <p:sp>
          <p:nvSpPr>
            <p:cNvPr id="24" name="Rectangle 23"/>
            <p:cNvSpPr/>
            <p:nvPr/>
          </p:nvSpPr>
          <p:spPr>
            <a:xfrm>
              <a:off x="5150733" y="2975976"/>
              <a:ext cx="1926550" cy="455509"/>
            </a:xfrm>
            <a:prstGeom prst="rect">
              <a:avLst/>
            </a:prstGeom>
          </p:spPr>
          <p:txBody>
            <a:bodyPr wrap="square">
              <a:spAutoFit/>
            </a:bodyPr>
            <a:lstStyle/>
            <a:p>
              <a:pPr defTabSz="685805">
                <a:lnSpc>
                  <a:spcPct val="90000"/>
                </a:lnSpc>
                <a:defRPr/>
              </a:pPr>
              <a:r>
                <a:rPr lang="en-US" sz="1800" kern="0" dirty="0">
                  <a:gradFill>
                    <a:gsLst>
                      <a:gs pos="0">
                        <a:srgbClr val="FFFFFF"/>
                      </a:gs>
                      <a:gs pos="100000">
                        <a:srgbClr val="FFFFFF"/>
                      </a:gs>
                    </a:gsLst>
                    <a:lin ang="5400000" scaled="0"/>
                  </a:gradFill>
                </a:rPr>
                <a:t>Caching</a:t>
              </a:r>
            </a:p>
          </p:txBody>
        </p:sp>
        <p:grpSp>
          <p:nvGrpSpPr>
            <p:cNvPr id="7" name="Group 6"/>
            <p:cNvGrpSpPr/>
            <p:nvPr/>
          </p:nvGrpSpPr>
          <p:grpSpPr>
            <a:xfrm>
              <a:off x="6821393" y="1702083"/>
              <a:ext cx="827775" cy="981717"/>
              <a:chOff x="8791575" y="-838200"/>
              <a:chExt cx="973138" cy="1154113"/>
            </a:xfrm>
          </p:grpSpPr>
          <p:sp>
            <p:nvSpPr>
              <p:cNvPr id="6" name="Freeform 7" hidden="1"/>
              <p:cNvSpPr>
                <a:spLocks/>
              </p:cNvSpPr>
              <p:nvPr/>
            </p:nvSpPr>
            <p:spPr bwMode="auto">
              <a:xfrm>
                <a:off x="8829675" y="-808037"/>
                <a:ext cx="896938" cy="1082675"/>
              </a:xfrm>
              <a:custGeom>
                <a:avLst/>
                <a:gdLst>
                  <a:gd name="T0" fmla="*/ 0 w 565"/>
                  <a:gd name="T1" fmla="*/ 9 h 682"/>
                  <a:gd name="T2" fmla="*/ 7 w 565"/>
                  <a:gd name="T3" fmla="*/ 538 h 682"/>
                  <a:gd name="T4" fmla="*/ 73 w 565"/>
                  <a:gd name="T5" fmla="*/ 595 h 682"/>
                  <a:gd name="T6" fmla="*/ 123 w 565"/>
                  <a:gd name="T7" fmla="*/ 630 h 682"/>
                  <a:gd name="T8" fmla="*/ 137 w 565"/>
                  <a:gd name="T9" fmla="*/ 670 h 682"/>
                  <a:gd name="T10" fmla="*/ 549 w 565"/>
                  <a:gd name="T11" fmla="*/ 682 h 682"/>
                  <a:gd name="T12" fmla="*/ 565 w 565"/>
                  <a:gd name="T13" fmla="*/ 659 h 682"/>
                  <a:gd name="T14" fmla="*/ 553 w 565"/>
                  <a:gd name="T15" fmla="*/ 292 h 682"/>
                  <a:gd name="T16" fmla="*/ 260 w 565"/>
                  <a:gd name="T17" fmla="*/ 0 h 682"/>
                  <a:gd name="T18" fmla="*/ 0 w 565"/>
                  <a:gd name="T19" fmla="*/ 9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5" h="682">
                    <a:moveTo>
                      <a:pt x="0" y="9"/>
                    </a:moveTo>
                    <a:lnTo>
                      <a:pt x="7" y="538"/>
                    </a:lnTo>
                    <a:lnTo>
                      <a:pt x="73" y="595"/>
                    </a:lnTo>
                    <a:lnTo>
                      <a:pt x="123" y="630"/>
                    </a:lnTo>
                    <a:lnTo>
                      <a:pt x="137" y="670"/>
                    </a:lnTo>
                    <a:lnTo>
                      <a:pt x="549" y="682"/>
                    </a:lnTo>
                    <a:lnTo>
                      <a:pt x="565" y="659"/>
                    </a:lnTo>
                    <a:lnTo>
                      <a:pt x="553" y="292"/>
                    </a:lnTo>
                    <a:lnTo>
                      <a:pt x="260" y="0"/>
                    </a:lnTo>
                    <a:lnTo>
                      <a:pt x="0" y="9"/>
                    </a:lnTo>
                    <a:close/>
                  </a:path>
                </a:pathLst>
              </a:custGeom>
              <a:solidFill>
                <a:schemeClr val="accent4"/>
              </a:solidFill>
              <a:ln w="9525" cap="flat" cmpd="sng" algn="ctr">
                <a:noFill/>
                <a:prstDash val="solid"/>
              </a:ln>
              <a:effectLst/>
            </p:spPr>
            <p:txBody>
              <a:bodyPr rtlCol="0" anchor="t" anchorCtr="0"/>
              <a:lstStyle/>
              <a:p>
                <a:pPr algn="ctr" defTabSz="914248"/>
                <a:endParaRPr lang="en-US" sz="1800">
                  <a:solidFill>
                    <a:srgbClr val="FFFFFF">
                      <a:alpha val="99000"/>
                    </a:srgbClr>
                  </a:solidFill>
                  <a:ea typeface="Segoe UI" pitchFamily="34" charset="0"/>
                  <a:cs typeface="Segoe UI" pitchFamily="34" charset="0"/>
                </a:endParaRPr>
              </a:p>
            </p:txBody>
          </p:sp>
          <p:sp>
            <p:nvSpPr>
              <p:cNvPr id="5" name="Freeform 6"/>
              <p:cNvSpPr>
                <a:spLocks noEditPoints="1"/>
              </p:cNvSpPr>
              <p:nvPr/>
            </p:nvSpPr>
            <p:spPr bwMode="auto">
              <a:xfrm>
                <a:off x="8791575" y="-838200"/>
                <a:ext cx="973138" cy="1154113"/>
              </a:xfrm>
              <a:custGeom>
                <a:avLst/>
                <a:gdLst>
                  <a:gd name="T0" fmla="*/ 249 w 259"/>
                  <a:gd name="T1" fmla="*/ 122 h 308"/>
                  <a:gd name="T2" fmla="*/ 225 w 259"/>
                  <a:gd name="T3" fmla="*/ 101 h 308"/>
                  <a:gd name="T4" fmla="*/ 221 w 259"/>
                  <a:gd name="T5" fmla="*/ 95 h 308"/>
                  <a:gd name="T6" fmla="*/ 199 w 259"/>
                  <a:gd name="T7" fmla="*/ 74 h 308"/>
                  <a:gd name="T8" fmla="*/ 193 w 259"/>
                  <a:gd name="T9" fmla="*/ 67 h 308"/>
                  <a:gd name="T10" fmla="*/ 130 w 259"/>
                  <a:gd name="T11" fmla="*/ 7 h 308"/>
                  <a:gd name="T12" fmla="*/ 113 w 259"/>
                  <a:gd name="T13" fmla="*/ 0 h 308"/>
                  <a:gd name="T14" fmla="*/ 21 w 259"/>
                  <a:gd name="T15" fmla="*/ 0 h 308"/>
                  <a:gd name="T16" fmla="*/ 0 w 259"/>
                  <a:gd name="T17" fmla="*/ 18 h 308"/>
                  <a:gd name="T18" fmla="*/ 0 w 259"/>
                  <a:gd name="T19" fmla="*/ 229 h 308"/>
                  <a:gd name="T20" fmla="*/ 21 w 259"/>
                  <a:gd name="T21" fmla="*/ 253 h 308"/>
                  <a:gd name="T22" fmla="*/ 28 w 259"/>
                  <a:gd name="T23" fmla="*/ 253 h 308"/>
                  <a:gd name="T24" fmla="*/ 28 w 259"/>
                  <a:gd name="T25" fmla="*/ 256 h 308"/>
                  <a:gd name="T26" fmla="*/ 49 w 259"/>
                  <a:gd name="T27" fmla="*/ 281 h 308"/>
                  <a:gd name="T28" fmla="*/ 56 w 259"/>
                  <a:gd name="T29" fmla="*/ 281 h 308"/>
                  <a:gd name="T30" fmla="*/ 56 w 259"/>
                  <a:gd name="T31" fmla="*/ 284 h 308"/>
                  <a:gd name="T32" fmla="*/ 77 w 259"/>
                  <a:gd name="T33" fmla="*/ 308 h 308"/>
                  <a:gd name="T34" fmla="*/ 231 w 259"/>
                  <a:gd name="T35" fmla="*/ 308 h 308"/>
                  <a:gd name="T36" fmla="*/ 256 w 259"/>
                  <a:gd name="T37" fmla="*/ 284 h 308"/>
                  <a:gd name="T38" fmla="*/ 256 w 259"/>
                  <a:gd name="T39" fmla="*/ 140 h 308"/>
                  <a:gd name="T40" fmla="*/ 249 w 259"/>
                  <a:gd name="T41" fmla="*/ 122 h 308"/>
                  <a:gd name="T42" fmla="*/ 140 w 259"/>
                  <a:gd name="T43" fmla="*/ 46 h 308"/>
                  <a:gd name="T44" fmla="*/ 151 w 259"/>
                  <a:gd name="T45" fmla="*/ 56 h 308"/>
                  <a:gd name="T46" fmla="*/ 140 w 259"/>
                  <a:gd name="T47" fmla="*/ 56 h 308"/>
                  <a:gd name="T48" fmla="*/ 140 w 259"/>
                  <a:gd name="T49" fmla="*/ 46 h 308"/>
                  <a:gd name="T50" fmla="*/ 123 w 259"/>
                  <a:gd name="T51" fmla="*/ 28 h 308"/>
                  <a:gd name="T52" fmla="*/ 113 w 259"/>
                  <a:gd name="T53" fmla="*/ 28 h 308"/>
                  <a:gd name="T54" fmla="*/ 113 w 259"/>
                  <a:gd name="T55" fmla="*/ 18 h 308"/>
                  <a:gd name="T56" fmla="*/ 123 w 259"/>
                  <a:gd name="T57" fmla="*/ 28 h 308"/>
                  <a:gd name="T58" fmla="*/ 18 w 259"/>
                  <a:gd name="T59" fmla="*/ 232 h 308"/>
                  <a:gd name="T60" fmla="*/ 18 w 259"/>
                  <a:gd name="T61" fmla="*/ 18 h 308"/>
                  <a:gd name="T62" fmla="*/ 92 w 259"/>
                  <a:gd name="T63" fmla="*/ 18 h 308"/>
                  <a:gd name="T64" fmla="*/ 92 w 259"/>
                  <a:gd name="T65" fmla="*/ 28 h 308"/>
                  <a:gd name="T66" fmla="*/ 49 w 259"/>
                  <a:gd name="T67" fmla="*/ 28 h 308"/>
                  <a:gd name="T68" fmla="*/ 28 w 259"/>
                  <a:gd name="T69" fmla="*/ 46 h 308"/>
                  <a:gd name="T70" fmla="*/ 28 w 259"/>
                  <a:gd name="T71" fmla="*/ 232 h 308"/>
                  <a:gd name="T72" fmla="*/ 18 w 259"/>
                  <a:gd name="T73" fmla="*/ 232 h 308"/>
                  <a:gd name="T74" fmla="*/ 46 w 259"/>
                  <a:gd name="T75" fmla="*/ 260 h 308"/>
                  <a:gd name="T76" fmla="*/ 46 w 259"/>
                  <a:gd name="T77" fmla="*/ 46 h 308"/>
                  <a:gd name="T78" fmla="*/ 119 w 259"/>
                  <a:gd name="T79" fmla="*/ 46 h 308"/>
                  <a:gd name="T80" fmla="*/ 119 w 259"/>
                  <a:gd name="T81" fmla="*/ 56 h 308"/>
                  <a:gd name="T82" fmla="*/ 77 w 259"/>
                  <a:gd name="T83" fmla="*/ 56 h 308"/>
                  <a:gd name="T84" fmla="*/ 56 w 259"/>
                  <a:gd name="T85" fmla="*/ 73 h 308"/>
                  <a:gd name="T86" fmla="*/ 56 w 259"/>
                  <a:gd name="T87" fmla="*/ 260 h 308"/>
                  <a:gd name="T88" fmla="*/ 46 w 259"/>
                  <a:gd name="T89" fmla="*/ 260 h 308"/>
                  <a:gd name="T90" fmla="*/ 238 w 259"/>
                  <a:gd name="T91" fmla="*/ 287 h 308"/>
                  <a:gd name="T92" fmla="*/ 74 w 259"/>
                  <a:gd name="T93" fmla="*/ 287 h 308"/>
                  <a:gd name="T94" fmla="*/ 74 w 259"/>
                  <a:gd name="T95" fmla="*/ 73 h 308"/>
                  <a:gd name="T96" fmla="*/ 147 w 259"/>
                  <a:gd name="T97" fmla="*/ 73 h 308"/>
                  <a:gd name="T98" fmla="*/ 147 w 259"/>
                  <a:gd name="T99" fmla="*/ 140 h 308"/>
                  <a:gd name="T100" fmla="*/ 168 w 259"/>
                  <a:gd name="T101" fmla="*/ 165 h 308"/>
                  <a:gd name="T102" fmla="*/ 238 w 259"/>
                  <a:gd name="T103" fmla="*/ 165 h 308"/>
                  <a:gd name="T104" fmla="*/ 238 w 259"/>
                  <a:gd name="T105" fmla="*/ 287 h 308"/>
                  <a:gd name="T106" fmla="*/ 168 w 259"/>
                  <a:gd name="T107" fmla="*/ 140 h 308"/>
                  <a:gd name="T108" fmla="*/ 168 w 259"/>
                  <a:gd name="T109" fmla="*/ 73 h 308"/>
                  <a:gd name="T110" fmla="*/ 238 w 259"/>
                  <a:gd name="T111" fmla="*/ 140 h 308"/>
                  <a:gd name="T112" fmla="*/ 168 w 259"/>
                  <a:gd name="T113" fmla="*/ 14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9" h="308">
                    <a:moveTo>
                      <a:pt x="249" y="122"/>
                    </a:moveTo>
                    <a:cubicBezTo>
                      <a:pt x="240" y="114"/>
                      <a:pt x="232" y="107"/>
                      <a:pt x="225" y="101"/>
                    </a:cubicBezTo>
                    <a:cubicBezTo>
                      <a:pt x="224" y="99"/>
                      <a:pt x="223" y="97"/>
                      <a:pt x="221" y="95"/>
                    </a:cubicBezTo>
                    <a:cubicBezTo>
                      <a:pt x="212" y="87"/>
                      <a:pt x="205" y="80"/>
                      <a:pt x="199" y="74"/>
                    </a:cubicBezTo>
                    <a:cubicBezTo>
                      <a:pt x="198" y="72"/>
                      <a:pt x="196" y="69"/>
                      <a:pt x="193" y="67"/>
                    </a:cubicBezTo>
                    <a:cubicBezTo>
                      <a:pt x="130" y="7"/>
                      <a:pt x="130" y="7"/>
                      <a:pt x="130" y="7"/>
                    </a:cubicBezTo>
                    <a:cubicBezTo>
                      <a:pt x="123" y="0"/>
                      <a:pt x="120" y="0"/>
                      <a:pt x="113" y="0"/>
                    </a:cubicBezTo>
                    <a:cubicBezTo>
                      <a:pt x="21" y="0"/>
                      <a:pt x="21" y="0"/>
                      <a:pt x="21" y="0"/>
                    </a:cubicBezTo>
                    <a:cubicBezTo>
                      <a:pt x="11" y="0"/>
                      <a:pt x="0" y="7"/>
                      <a:pt x="0" y="18"/>
                    </a:cubicBezTo>
                    <a:cubicBezTo>
                      <a:pt x="0" y="229"/>
                      <a:pt x="0" y="229"/>
                      <a:pt x="0" y="229"/>
                    </a:cubicBezTo>
                    <a:cubicBezTo>
                      <a:pt x="0" y="239"/>
                      <a:pt x="11" y="253"/>
                      <a:pt x="21" y="253"/>
                    </a:cubicBezTo>
                    <a:cubicBezTo>
                      <a:pt x="24" y="253"/>
                      <a:pt x="26" y="253"/>
                      <a:pt x="28" y="253"/>
                    </a:cubicBezTo>
                    <a:cubicBezTo>
                      <a:pt x="28" y="256"/>
                      <a:pt x="28" y="256"/>
                      <a:pt x="28" y="256"/>
                    </a:cubicBezTo>
                    <a:cubicBezTo>
                      <a:pt x="28" y="267"/>
                      <a:pt x="39" y="281"/>
                      <a:pt x="49" y="281"/>
                    </a:cubicBezTo>
                    <a:cubicBezTo>
                      <a:pt x="52" y="281"/>
                      <a:pt x="54" y="281"/>
                      <a:pt x="56" y="281"/>
                    </a:cubicBezTo>
                    <a:cubicBezTo>
                      <a:pt x="56" y="284"/>
                      <a:pt x="56" y="284"/>
                      <a:pt x="56" y="284"/>
                    </a:cubicBezTo>
                    <a:cubicBezTo>
                      <a:pt x="56" y="294"/>
                      <a:pt x="67" y="308"/>
                      <a:pt x="77" y="308"/>
                    </a:cubicBezTo>
                    <a:cubicBezTo>
                      <a:pt x="231" y="308"/>
                      <a:pt x="231" y="308"/>
                      <a:pt x="231" y="308"/>
                    </a:cubicBezTo>
                    <a:cubicBezTo>
                      <a:pt x="245" y="308"/>
                      <a:pt x="256" y="294"/>
                      <a:pt x="256" y="284"/>
                    </a:cubicBezTo>
                    <a:cubicBezTo>
                      <a:pt x="256" y="140"/>
                      <a:pt x="256" y="140"/>
                      <a:pt x="256" y="140"/>
                    </a:cubicBezTo>
                    <a:cubicBezTo>
                      <a:pt x="256" y="140"/>
                      <a:pt x="259" y="133"/>
                      <a:pt x="249" y="122"/>
                    </a:cubicBezTo>
                    <a:close/>
                    <a:moveTo>
                      <a:pt x="140" y="46"/>
                    </a:moveTo>
                    <a:cubicBezTo>
                      <a:pt x="144" y="49"/>
                      <a:pt x="148" y="53"/>
                      <a:pt x="151" y="56"/>
                    </a:cubicBezTo>
                    <a:cubicBezTo>
                      <a:pt x="147" y="56"/>
                      <a:pt x="144" y="56"/>
                      <a:pt x="140" y="56"/>
                    </a:cubicBezTo>
                    <a:cubicBezTo>
                      <a:pt x="140" y="46"/>
                      <a:pt x="140" y="46"/>
                      <a:pt x="140" y="46"/>
                    </a:cubicBezTo>
                    <a:close/>
                    <a:moveTo>
                      <a:pt x="123" y="28"/>
                    </a:moveTo>
                    <a:cubicBezTo>
                      <a:pt x="120" y="28"/>
                      <a:pt x="116" y="28"/>
                      <a:pt x="113" y="28"/>
                    </a:cubicBezTo>
                    <a:cubicBezTo>
                      <a:pt x="113" y="18"/>
                      <a:pt x="113" y="18"/>
                      <a:pt x="113" y="18"/>
                    </a:cubicBezTo>
                    <a:cubicBezTo>
                      <a:pt x="116" y="21"/>
                      <a:pt x="120" y="25"/>
                      <a:pt x="123" y="28"/>
                    </a:cubicBezTo>
                    <a:close/>
                    <a:moveTo>
                      <a:pt x="18" y="232"/>
                    </a:moveTo>
                    <a:cubicBezTo>
                      <a:pt x="18" y="21"/>
                      <a:pt x="18" y="18"/>
                      <a:pt x="18" y="18"/>
                    </a:cubicBezTo>
                    <a:cubicBezTo>
                      <a:pt x="88" y="18"/>
                      <a:pt x="92" y="18"/>
                      <a:pt x="92" y="18"/>
                    </a:cubicBezTo>
                    <a:cubicBezTo>
                      <a:pt x="92" y="21"/>
                      <a:pt x="92" y="25"/>
                      <a:pt x="92" y="28"/>
                    </a:cubicBezTo>
                    <a:cubicBezTo>
                      <a:pt x="49" y="28"/>
                      <a:pt x="49" y="28"/>
                      <a:pt x="49" y="28"/>
                    </a:cubicBezTo>
                    <a:cubicBezTo>
                      <a:pt x="39" y="28"/>
                      <a:pt x="28" y="35"/>
                      <a:pt x="28" y="46"/>
                    </a:cubicBezTo>
                    <a:cubicBezTo>
                      <a:pt x="28" y="154"/>
                      <a:pt x="28" y="206"/>
                      <a:pt x="28" y="232"/>
                    </a:cubicBezTo>
                    <a:cubicBezTo>
                      <a:pt x="19" y="232"/>
                      <a:pt x="18" y="232"/>
                      <a:pt x="18" y="232"/>
                    </a:cubicBezTo>
                    <a:close/>
                    <a:moveTo>
                      <a:pt x="46" y="260"/>
                    </a:moveTo>
                    <a:cubicBezTo>
                      <a:pt x="46" y="49"/>
                      <a:pt x="46" y="46"/>
                      <a:pt x="46" y="46"/>
                    </a:cubicBezTo>
                    <a:cubicBezTo>
                      <a:pt x="116" y="46"/>
                      <a:pt x="119" y="46"/>
                      <a:pt x="119" y="46"/>
                    </a:cubicBezTo>
                    <a:cubicBezTo>
                      <a:pt x="119" y="49"/>
                      <a:pt x="119" y="53"/>
                      <a:pt x="119" y="56"/>
                    </a:cubicBezTo>
                    <a:cubicBezTo>
                      <a:pt x="77" y="56"/>
                      <a:pt x="77" y="56"/>
                      <a:pt x="77" y="56"/>
                    </a:cubicBezTo>
                    <a:cubicBezTo>
                      <a:pt x="67" y="56"/>
                      <a:pt x="56" y="63"/>
                      <a:pt x="56" y="73"/>
                    </a:cubicBezTo>
                    <a:cubicBezTo>
                      <a:pt x="56" y="182"/>
                      <a:pt x="56" y="234"/>
                      <a:pt x="56" y="260"/>
                    </a:cubicBezTo>
                    <a:cubicBezTo>
                      <a:pt x="47" y="260"/>
                      <a:pt x="46" y="260"/>
                      <a:pt x="46" y="260"/>
                    </a:cubicBezTo>
                    <a:close/>
                    <a:moveTo>
                      <a:pt x="238" y="287"/>
                    </a:moveTo>
                    <a:cubicBezTo>
                      <a:pt x="84" y="287"/>
                      <a:pt x="74" y="287"/>
                      <a:pt x="74" y="287"/>
                    </a:cubicBezTo>
                    <a:cubicBezTo>
                      <a:pt x="74" y="77"/>
                      <a:pt x="74" y="73"/>
                      <a:pt x="74" y="73"/>
                    </a:cubicBezTo>
                    <a:cubicBezTo>
                      <a:pt x="144" y="73"/>
                      <a:pt x="147" y="73"/>
                      <a:pt x="147" y="73"/>
                    </a:cubicBezTo>
                    <a:cubicBezTo>
                      <a:pt x="147" y="136"/>
                      <a:pt x="147" y="140"/>
                      <a:pt x="147" y="140"/>
                    </a:cubicBezTo>
                    <a:cubicBezTo>
                      <a:pt x="147" y="151"/>
                      <a:pt x="154" y="165"/>
                      <a:pt x="168" y="165"/>
                    </a:cubicBezTo>
                    <a:cubicBezTo>
                      <a:pt x="231" y="165"/>
                      <a:pt x="238" y="165"/>
                      <a:pt x="238" y="165"/>
                    </a:cubicBezTo>
                    <a:lnTo>
                      <a:pt x="238" y="287"/>
                    </a:lnTo>
                    <a:close/>
                    <a:moveTo>
                      <a:pt x="168" y="140"/>
                    </a:moveTo>
                    <a:cubicBezTo>
                      <a:pt x="168" y="73"/>
                      <a:pt x="168" y="73"/>
                      <a:pt x="168" y="73"/>
                    </a:cubicBezTo>
                    <a:cubicBezTo>
                      <a:pt x="238" y="140"/>
                      <a:pt x="238" y="140"/>
                      <a:pt x="238" y="140"/>
                    </a:cubicBezTo>
                    <a:lnTo>
                      <a:pt x="168" y="1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86"/>
                <a:endParaRPr lang="en-US" sz="1800">
                  <a:solidFill>
                    <a:srgbClr val="292929"/>
                  </a:solidFill>
                </a:endParaRPr>
              </a:p>
            </p:txBody>
          </p:sp>
        </p:grpSp>
      </p:grpSp>
      <p:sp>
        <p:nvSpPr>
          <p:cNvPr id="30"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1"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
              </a:rPr>
              <a:t>www.rapidbbs.cn</a:t>
            </a:r>
            <a:endParaRPr lang="zh-CN" altLang="en-US" sz="1200" b="0">
              <a:latin typeface="Arial" charset="0"/>
              <a:ea typeface="ＭＳ Ｐゴシック" pitchFamily="34" charset="-128"/>
            </a:endParaRPr>
          </a:p>
        </p:txBody>
      </p:sp>
      <p:pic>
        <p:nvPicPr>
          <p:cNvPr id="32" name="Picture 2">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0568685"/>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bwMode="auto">
          <a:xfrm>
            <a:off x="389436" y="902709"/>
            <a:ext cx="8363937" cy="2907293"/>
          </a:xfrm>
          <a:prstGeom prst="rect">
            <a:avLst/>
          </a:prstGeom>
          <a:solidFill>
            <a:schemeClr val="accent2"/>
          </a:solidFill>
          <a:ln w="9525" cap="flat" cmpd="sng" algn="ctr">
            <a:noFill/>
            <a:prstDash val="solid"/>
            <a:headEnd type="none" w="med" len="med"/>
            <a:tailEnd type="none" w="med" len="med"/>
          </a:ln>
          <a:effectLst/>
        </p:spPr>
        <p:txBody>
          <a:bodyPr rot="0" spcFirstLastPara="0" vert="horz" wrap="square" lIns="137166" tIns="68583" rIns="34292" bIns="34292"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spcAft>
                <a:spcPts val="450"/>
              </a:spcAft>
            </a:pPr>
            <a:r>
              <a:rPr lang="en-US" sz="2700" dirty="0">
                <a:solidFill>
                  <a:srgbClr val="FFFFFF">
                    <a:alpha val="99000"/>
                  </a:srgbClr>
                </a:solidFill>
                <a:latin typeface="Segoe UI Light" pitchFamily="34" charset="0"/>
              </a:rPr>
              <a:t>Devices + Cloud</a:t>
            </a:r>
          </a:p>
        </p:txBody>
      </p:sp>
      <p:sp>
        <p:nvSpPr>
          <p:cNvPr id="2" name="Title 1"/>
          <p:cNvSpPr>
            <a:spLocks noGrp="1"/>
          </p:cNvSpPr>
          <p:nvPr>
            <p:ph type="title"/>
          </p:nvPr>
        </p:nvSpPr>
        <p:spPr/>
        <p:txBody>
          <a:bodyPr/>
          <a:lstStyle/>
          <a:p>
            <a:r>
              <a:rPr lang="en-US" dirty="0" smtClean="0"/>
              <a:t>Summary</a:t>
            </a:r>
            <a:endParaRPr lang="en-US" dirty="0"/>
          </a:p>
        </p:txBody>
      </p:sp>
      <p:sp>
        <p:nvSpPr>
          <p:cNvPr id="3" name="Text Placeholder 2"/>
          <p:cNvSpPr>
            <a:spLocks noGrp="1"/>
          </p:cNvSpPr>
          <p:nvPr>
            <p:ph type="body" sz="quarter" idx="10"/>
          </p:nvPr>
        </p:nvSpPr>
        <p:spPr>
          <a:xfrm>
            <a:off x="389436" y="4095351"/>
            <a:ext cx="8363938" cy="415498"/>
          </a:xfrm>
        </p:spPr>
        <p:txBody>
          <a:bodyPr/>
          <a:lstStyle/>
          <a:p>
            <a:r>
              <a:rPr lang="en-US" dirty="0" smtClean="0"/>
              <a:t>Toolkits</a:t>
            </a:r>
            <a:endParaRPr lang="en-US" dirty="0"/>
          </a:p>
        </p:txBody>
      </p:sp>
      <p:grpSp>
        <p:nvGrpSpPr>
          <p:cNvPr id="59" name="Group 58"/>
          <p:cNvGrpSpPr/>
          <p:nvPr/>
        </p:nvGrpSpPr>
        <p:grpSpPr>
          <a:xfrm>
            <a:off x="582612" y="1556013"/>
            <a:ext cx="4801253" cy="2023756"/>
            <a:chOff x="776613" y="2190794"/>
            <a:chExt cx="6400003" cy="2698341"/>
          </a:xfrm>
        </p:grpSpPr>
        <p:grpSp>
          <p:nvGrpSpPr>
            <p:cNvPr id="5" name="Group 4"/>
            <p:cNvGrpSpPr/>
            <p:nvPr/>
          </p:nvGrpSpPr>
          <p:grpSpPr>
            <a:xfrm>
              <a:off x="4538952" y="2743168"/>
              <a:ext cx="2637664" cy="1593592"/>
              <a:chOff x="214313" y="2174875"/>
              <a:chExt cx="990600" cy="598488"/>
            </a:xfrm>
            <a:solidFill>
              <a:schemeClr val="bg1"/>
            </a:solidFill>
          </p:grpSpPr>
          <p:sp>
            <p:nvSpPr>
              <p:cNvPr id="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pPr defTabSz="914286"/>
                <a:endParaRPr lang="en-US" sz="1800">
                  <a:solidFill>
                    <a:srgbClr val="292929"/>
                  </a:solidFill>
                </a:endParaRPr>
              </a:p>
            </p:txBody>
          </p:sp>
          <p:sp>
            <p:nvSpPr>
              <p:cNvPr id="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pPr defTabSz="914286"/>
                <a:endParaRPr lang="en-US" sz="1800">
                  <a:solidFill>
                    <a:srgbClr val="292929"/>
                  </a:solidFill>
                </a:endParaRPr>
              </a:p>
            </p:txBody>
          </p:sp>
        </p:grpSp>
        <p:grpSp>
          <p:nvGrpSpPr>
            <p:cNvPr id="8" name="Group 7"/>
            <p:cNvGrpSpPr/>
            <p:nvPr/>
          </p:nvGrpSpPr>
          <p:grpSpPr>
            <a:xfrm>
              <a:off x="776613" y="2190794"/>
              <a:ext cx="1412854" cy="2698341"/>
              <a:chOff x="-498475" y="1609726"/>
              <a:chExt cx="950913" cy="1816099"/>
            </a:xfrm>
          </p:grpSpPr>
          <p:sp>
            <p:nvSpPr>
              <p:cNvPr id="9" name="Freeform 17"/>
              <p:cNvSpPr>
                <a:spLocks/>
              </p:cNvSpPr>
              <p:nvPr/>
            </p:nvSpPr>
            <p:spPr bwMode="auto">
              <a:xfrm>
                <a:off x="247650" y="3240088"/>
                <a:ext cx="47625" cy="44450"/>
              </a:xfrm>
              <a:custGeom>
                <a:avLst/>
                <a:gdLst>
                  <a:gd name="T0" fmla="*/ 7 w 12"/>
                  <a:gd name="T1" fmla="*/ 0 h 11"/>
                  <a:gd name="T2" fmla="*/ 6 w 12"/>
                  <a:gd name="T3" fmla="*/ 0 h 11"/>
                  <a:gd name="T4" fmla="*/ 1 w 12"/>
                  <a:gd name="T5" fmla="*/ 4 h 11"/>
                  <a:gd name="T6" fmla="*/ 5 w 12"/>
                  <a:gd name="T7" fmla="*/ 11 h 11"/>
                  <a:gd name="T8" fmla="*/ 6 w 12"/>
                  <a:gd name="T9" fmla="*/ 11 h 11"/>
                  <a:gd name="T10" fmla="*/ 12 w 12"/>
                  <a:gd name="T11" fmla="*/ 7 h 11"/>
                  <a:gd name="T12" fmla="*/ 11 w 12"/>
                  <a:gd name="T13" fmla="*/ 2 h 11"/>
                  <a:gd name="T14" fmla="*/ 7 w 12"/>
                  <a:gd name="T15" fmla="*/ 0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1">
                    <a:moveTo>
                      <a:pt x="7" y="0"/>
                    </a:moveTo>
                    <a:cubicBezTo>
                      <a:pt x="7" y="0"/>
                      <a:pt x="7" y="0"/>
                      <a:pt x="6" y="0"/>
                    </a:cubicBezTo>
                    <a:cubicBezTo>
                      <a:pt x="4" y="0"/>
                      <a:pt x="1" y="2"/>
                      <a:pt x="1" y="4"/>
                    </a:cubicBezTo>
                    <a:cubicBezTo>
                      <a:pt x="0" y="7"/>
                      <a:pt x="2" y="10"/>
                      <a:pt x="5" y="11"/>
                    </a:cubicBezTo>
                    <a:cubicBezTo>
                      <a:pt x="5" y="11"/>
                      <a:pt x="6" y="11"/>
                      <a:pt x="6" y="11"/>
                    </a:cubicBezTo>
                    <a:cubicBezTo>
                      <a:pt x="9" y="11"/>
                      <a:pt x="11" y="9"/>
                      <a:pt x="12" y="7"/>
                    </a:cubicBezTo>
                    <a:cubicBezTo>
                      <a:pt x="12" y="5"/>
                      <a:pt x="12" y="4"/>
                      <a:pt x="11" y="2"/>
                    </a:cubicBezTo>
                    <a:cubicBezTo>
                      <a:pt x="10" y="1"/>
                      <a:pt x="9" y="0"/>
                      <a:pt x="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86"/>
                <a:endParaRPr lang="en-US" sz="1800">
                  <a:solidFill>
                    <a:srgbClr val="292929"/>
                  </a:solidFill>
                </a:endParaRPr>
              </a:p>
            </p:txBody>
          </p:sp>
          <p:sp>
            <p:nvSpPr>
              <p:cNvPr id="10" name="Freeform 18"/>
              <p:cNvSpPr>
                <a:spLocks noEditPoints="1"/>
              </p:cNvSpPr>
              <p:nvPr/>
            </p:nvSpPr>
            <p:spPr bwMode="auto">
              <a:xfrm>
                <a:off x="-498475" y="1609726"/>
                <a:ext cx="950913" cy="1816099"/>
              </a:xfrm>
              <a:custGeom>
                <a:avLst/>
                <a:gdLst>
                  <a:gd name="T0" fmla="*/ 15 w 240"/>
                  <a:gd name="T1" fmla="*/ 0 h 458"/>
                  <a:gd name="T2" fmla="*/ 0 w 240"/>
                  <a:gd name="T3" fmla="*/ 444 h 458"/>
                  <a:gd name="T4" fmla="*/ 225 w 240"/>
                  <a:gd name="T5" fmla="*/ 458 h 458"/>
                  <a:gd name="T6" fmla="*/ 240 w 240"/>
                  <a:gd name="T7" fmla="*/ 14 h 458"/>
                  <a:gd name="T8" fmla="*/ 67 w 240"/>
                  <a:gd name="T9" fmla="*/ 420 h 458"/>
                  <a:gd name="T10" fmla="*/ 57 w 240"/>
                  <a:gd name="T11" fmla="*/ 428 h 458"/>
                  <a:gd name="T12" fmla="*/ 38 w 240"/>
                  <a:gd name="T13" fmla="*/ 417 h 458"/>
                  <a:gd name="T14" fmla="*/ 57 w 240"/>
                  <a:gd name="T15" fmla="*/ 406 h 458"/>
                  <a:gd name="T16" fmla="*/ 67 w 240"/>
                  <a:gd name="T17" fmla="*/ 414 h 458"/>
                  <a:gd name="T18" fmla="*/ 106 w 240"/>
                  <a:gd name="T19" fmla="*/ 427 h 458"/>
                  <a:gd name="T20" fmla="*/ 106 w 240"/>
                  <a:gd name="T21" fmla="*/ 426 h 458"/>
                  <a:gd name="T22" fmla="*/ 109 w 240"/>
                  <a:gd name="T23" fmla="*/ 417 h 458"/>
                  <a:gd name="T24" fmla="*/ 117 w 240"/>
                  <a:gd name="T25" fmla="*/ 428 h 458"/>
                  <a:gd name="T26" fmla="*/ 109 w 240"/>
                  <a:gd name="T27" fmla="*/ 415 h 458"/>
                  <a:gd name="T28" fmla="*/ 124 w 240"/>
                  <a:gd name="T29" fmla="*/ 405 h 458"/>
                  <a:gd name="T30" fmla="*/ 109 w 240"/>
                  <a:gd name="T31" fmla="*/ 415 h 458"/>
                  <a:gd name="T32" fmla="*/ 119 w 240"/>
                  <a:gd name="T33" fmla="*/ 429 h 458"/>
                  <a:gd name="T34" fmla="*/ 133 w 240"/>
                  <a:gd name="T35" fmla="*/ 419 h 458"/>
                  <a:gd name="T36" fmla="*/ 137 w 240"/>
                  <a:gd name="T37" fmla="*/ 407 h 458"/>
                  <a:gd name="T38" fmla="*/ 122 w 240"/>
                  <a:gd name="T39" fmla="*/ 416 h 458"/>
                  <a:gd name="T40" fmla="*/ 136 w 240"/>
                  <a:gd name="T41" fmla="*/ 407 h 458"/>
                  <a:gd name="T42" fmla="*/ 137 w 240"/>
                  <a:gd name="T43" fmla="*/ 407 h 458"/>
                  <a:gd name="T44" fmla="*/ 202 w 240"/>
                  <a:gd name="T45" fmla="*/ 418 h 458"/>
                  <a:gd name="T46" fmla="*/ 192 w 240"/>
                  <a:gd name="T47" fmla="*/ 424 h 458"/>
                  <a:gd name="T48" fmla="*/ 184 w 240"/>
                  <a:gd name="T49" fmla="*/ 429 h 458"/>
                  <a:gd name="T50" fmla="*/ 181 w 240"/>
                  <a:gd name="T51" fmla="*/ 429 h 458"/>
                  <a:gd name="T52" fmla="*/ 187 w 240"/>
                  <a:gd name="T53" fmla="*/ 420 h 458"/>
                  <a:gd name="T54" fmla="*/ 194 w 240"/>
                  <a:gd name="T55" fmla="*/ 408 h 458"/>
                  <a:gd name="T56" fmla="*/ 201 w 240"/>
                  <a:gd name="T57" fmla="*/ 412 h 458"/>
                  <a:gd name="T58" fmla="*/ 217 w 240"/>
                  <a:gd name="T59" fmla="*/ 361 h 458"/>
                  <a:gd name="T60" fmla="*/ 23 w 240"/>
                  <a:gd name="T61" fmla="*/ 37 h 458"/>
                  <a:gd name="T62" fmla="*/ 217 w 240"/>
                  <a:gd name="T63" fmla="*/ 361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458">
                    <a:moveTo>
                      <a:pt x="225" y="0"/>
                    </a:moveTo>
                    <a:cubicBezTo>
                      <a:pt x="15" y="0"/>
                      <a:pt x="15" y="0"/>
                      <a:pt x="15" y="0"/>
                    </a:cubicBezTo>
                    <a:cubicBezTo>
                      <a:pt x="7" y="0"/>
                      <a:pt x="0" y="6"/>
                      <a:pt x="0" y="14"/>
                    </a:cubicBezTo>
                    <a:cubicBezTo>
                      <a:pt x="0" y="444"/>
                      <a:pt x="0" y="444"/>
                      <a:pt x="0" y="444"/>
                    </a:cubicBezTo>
                    <a:cubicBezTo>
                      <a:pt x="0" y="452"/>
                      <a:pt x="7" y="458"/>
                      <a:pt x="15" y="458"/>
                    </a:cubicBezTo>
                    <a:cubicBezTo>
                      <a:pt x="225" y="458"/>
                      <a:pt x="225" y="458"/>
                      <a:pt x="225" y="458"/>
                    </a:cubicBezTo>
                    <a:cubicBezTo>
                      <a:pt x="233" y="458"/>
                      <a:pt x="240" y="452"/>
                      <a:pt x="240" y="444"/>
                    </a:cubicBezTo>
                    <a:cubicBezTo>
                      <a:pt x="240" y="14"/>
                      <a:pt x="240" y="14"/>
                      <a:pt x="240" y="14"/>
                    </a:cubicBezTo>
                    <a:cubicBezTo>
                      <a:pt x="240" y="6"/>
                      <a:pt x="233" y="0"/>
                      <a:pt x="225" y="0"/>
                    </a:cubicBezTo>
                    <a:close/>
                    <a:moveTo>
                      <a:pt x="67" y="420"/>
                    </a:moveTo>
                    <a:cubicBezTo>
                      <a:pt x="48" y="420"/>
                      <a:pt x="48" y="420"/>
                      <a:pt x="48" y="420"/>
                    </a:cubicBezTo>
                    <a:cubicBezTo>
                      <a:pt x="57" y="428"/>
                      <a:pt x="57" y="428"/>
                      <a:pt x="57" y="428"/>
                    </a:cubicBezTo>
                    <a:cubicBezTo>
                      <a:pt x="49" y="428"/>
                      <a:pt x="49" y="428"/>
                      <a:pt x="49" y="428"/>
                    </a:cubicBezTo>
                    <a:cubicBezTo>
                      <a:pt x="38" y="417"/>
                      <a:pt x="38" y="417"/>
                      <a:pt x="38" y="417"/>
                    </a:cubicBezTo>
                    <a:cubicBezTo>
                      <a:pt x="49" y="406"/>
                      <a:pt x="49" y="406"/>
                      <a:pt x="49" y="406"/>
                    </a:cubicBezTo>
                    <a:cubicBezTo>
                      <a:pt x="57" y="406"/>
                      <a:pt x="57" y="406"/>
                      <a:pt x="57" y="406"/>
                    </a:cubicBezTo>
                    <a:cubicBezTo>
                      <a:pt x="48" y="414"/>
                      <a:pt x="48" y="414"/>
                      <a:pt x="48" y="414"/>
                    </a:cubicBezTo>
                    <a:cubicBezTo>
                      <a:pt x="67" y="414"/>
                      <a:pt x="67" y="414"/>
                      <a:pt x="67" y="414"/>
                    </a:cubicBezTo>
                    <a:lnTo>
                      <a:pt x="67" y="420"/>
                    </a:lnTo>
                    <a:close/>
                    <a:moveTo>
                      <a:pt x="106" y="427"/>
                    </a:moveTo>
                    <a:cubicBezTo>
                      <a:pt x="106" y="427"/>
                      <a:pt x="106" y="427"/>
                      <a:pt x="106" y="427"/>
                    </a:cubicBezTo>
                    <a:cubicBezTo>
                      <a:pt x="106" y="427"/>
                      <a:pt x="106" y="427"/>
                      <a:pt x="106" y="426"/>
                    </a:cubicBezTo>
                    <a:cubicBezTo>
                      <a:pt x="106" y="426"/>
                      <a:pt x="106" y="426"/>
                      <a:pt x="106" y="426"/>
                    </a:cubicBezTo>
                    <a:cubicBezTo>
                      <a:pt x="109" y="417"/>
                      <a:pt x="109" y="417"/>
                      <a:pt x="109" y="417"/>
                    </a:cubicBezTo>
                    <a:cubicBezTo>
                      <a:pt x="115" y="414"/>
                      <a:pt x="118" y="415"/>
                      <a:pt x="120" y="417"/>
                    </a:cubicBezTo>
                    <a:cubicBezTo>
                      <a:pt x="117" y="428"/>
                      <a:pt x="117" y="428"/>
                      <a:pt x="117" y="428"/>
                    </a:cubicBezTo>
                    <a:cubicBezTo>
                      <a:pt x="115" y="426"/>
                      <a:pt x="112" y="424"/>
                      <a:pt x="106" y="427"/>
                    </a:cubicBezTo>
                    <a:close/>
                    <a:moveTo>
                      <a:pt x="109" y="415"/>
                    </a:moveTo>
                    <a:cubicBezTo>
                      <a:pt x="112" y="404"/>
                      <a:pt x="112" y="404"/>
                      <a:pt x="112" y="404"/>
                    </a:cubicBezTo>
                    <a:cubicBezTo>
                      <a:pt x="118" y="402"/>
                      <a:pt x="121" y="403"/>
                      <a:pt x="124" y="405"/>
                    </a:cubicBezTo>
                    <a:cubicBezTo>
                      <a:pt x="121" y="415"/>
                      <a:pt x="121" y="415"/>
                      <a:pt x="121" y="415"/>
                    </a:cubicBezTo>
                    <a:cubicBezTo>
                      <a:pt x="118" y="414"/>
                      <a:pt x="115" y="412"/>
                      <a:pt x="109" y="415"/>
                    </a:cubicBezTo>
                    <a:close/>
                    <a:moveTo>
                      <a:pt x="130" y="429"/>
                    </a:moveTo>
                    <a:cubicBezTo>
                      <a:pt x="124" y="432"/>
                      <a:pt x="122" y="430"/>
                      <a:pt x="119" y="429"/>
                    </a:cubicBezTo>
                    <a:cubicBezTo>
                      <a:pt x="122" y="418"/>
                      <a:pt x="122" y="418"/>
                      <a:pt x="122" y="418"/>
                    </a:cubicBezTo>
                    <a:cubicBezTo>
                      <a:pt x="125" y="420"/>
                      <a:pt x="127" y="421"/>
                      <a:pt x="133" y="419"/>
                    </a:cubicBezTo>
                    <a:lnTo>
                      <a:pt x="130" y="429"/>
                    </a:lnTo>
                    <a:close/>
                    <a:moveTo>
                      <a:pt x="137" y="407"/>
                    </a:moveTo>
                    <a:cubicBezTo>
                      <a:pt x="134" y="417"/>
                      <a:pt x="134" y="417"/>
                      <a:pt x="134" y="417"/>
                    </a:cubicBezTo>
                    <a:cubicBezTo>
                      <a:pt x="128" y="420"/>
                      <a:pt x="125" y="418"/>
                      <a:pt x="122" y="416"/>
                    </a:cubicBezTo>
                    <a:cubicBezTo>
                      <a:pt x="125" y="406"/>
                      <a:pt x="125" y="406"/>
                      <a:pt x="125" y="406"/>
                    </a:cubicBezTo>
                    <a:cubicBezTo>
                      <a:pt x="128" y="408"/>
                      <a:pt x="131" y="409"/>
                      <a:pt x="136" y="407"/>
                    </a:cubicBezTo>
                    <a:cubicBezTo>
                      <a:pt x="136" y="407"/>
                      <a:pt x="137" y="407"/>
                      <a:pt x="137" y="407"/>
                    </a:cubicBezTo>
                    <a:cubicBezTo>
                      <a:pt x="137" y="407"/>
                      <a:pt x="137" y="407"/>
                      <a:pt x="137" y="407"/>
                    </a:cubicBezTo>
                    <a:cubicBezTo>
                      <a:pt x="137" y="407"/>
                      <a:pt x="137" y="407"/>
                      <a:pt x="137" y="407"/>
                    </a:cubicBezTo>
                    <a:close/>
                    <a:moveTo>
                      <a:pt x="202" y="418"/>
                    </a:moveTo>
                    <a:cubicBezTo>
                      <a:pt x="201" y="422"/>
                      <a:pt x="198" y="424"/>
                      <a:pt x="194" y="424"/>
                    </a:cubicBezTo>
                    <a:cubicBezTo>
                      <a:pt x="194" y="424"/>
                      <a:pt x="193" y="424"/>
                      <a:pt x="192" y="424"/>
                    </a:cubicBezTo>
                    <a:cubicBezTo>
                      <a:pt x="191" y="424"/>
                      <a:pt x="191" y="424"/>
                      <a:pt x="190" y="423"/>
                    </a:cubicBezTo>
                    <a:cubicBezTo>
                      <a:pt x="184" y="429"/>
                      <a:pt x="184" y="429"/>
                      <a:pt x="184" y="429"/>
                    </a:cubicBezTo>
                    <a:cubicBezTo>
                      <a:pt x="184" y="430"/>
                      <a:pt x="183" y="430"/>
                      <a:pt x="183" y="430"/>
                    </a:cubicBezTo>
                    <a:cubicBezTo>
                      <a:pt x="182" y="430"/>
                      <a:pt x="182" y="430"/>
                      <a:pt x="181" y="429"/>
                    </a:cubicBezTo>
                    <a:cubicBezTo>
                      <a:pt x="180" y="429"/>
                      <a:pt x="180" y="427"/>
                      <a:pt x="181" y="427"/>
                    </a:cubicBezTo>
                    <a:cubicBezTo>
                      <a:pt x="187" y="420"/>
                      <a:pt x="187" y="420"/>
                      <a:pt x="187" y="420"/>
                    </a:cubicBezTo>
                    <a:cubicBezTo>
                      <a:pt x="186" y="419"/>
                      <a:pt x="186" y="417"/>
                      <a:pt x="186" y="414"/>
                    </a:cubicBezTo>
                    <a:cubicBezTo>
                      <a:pt x="187" y="411"/>
                      <a:pt x="190" y="408"/>
                      <a:pt x="194" y="408"/>
                    </a:cubicBezTo>
                    <a:cubicBezTo>
                      <a:pt x="195" y="408"/>
                      <a:pt x="195" y="408"/>
                      <a:pt x="196" y="409"/>
                    </a:cubicBezTo>
                    <a:cubicBezTo>
                      <a:pt x="198" y="409"/>
                      <a:pt x="200" y="410"/>
                      <a:pt x="201" y="412"/>
                    </a:cubicBezTo>
                    <a:cubicBezTo>
                      <a:pt x="202" y="414"/>
                      <a:pt x="203" y="416"/>
                      <a:pt x="202" y="418"/>
                    </a:cubicBezTo>
                    <a:close/>
                    <a:moveTo>
                      <a:pt x="217" y="361"/>
                    </a:moveTo>
                    <a:cubicBezTo>
                      <a:pt x="23" y="361"/>
                      <a:pt x="23" y="361"/>
                      <a:pt x="23" y="361"/>
                    </a:cubicBezTo>
                    <a:cubicBezTo>
                      <a:pt x="23" y="37"/>
                      <a:pt x="23" y="37"/>
                      <a:pt x="23" y="37"/>
                    </a:cubicBezTo>
                    <a:cubicBezTo>
                      <a:pt x="217" y="37"/>
                      <a:pt x="217" y="37"/>
                      <a:pt x="217" y="37"/>
                    </a:cubicBezTo>
                    <a:lnTo>
                      <a:pt x="217" y="3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86"/>
                <a:endParaRPr lang="en-US" sz="1800">
                  <a:solidFill>
                    <a:srgbClr val="292929"/>
                  </a:solidFill>
                </a:endParaRPr>
              </a:p>
            </p:txBody>
          </p:sp>
        </p:grpSp>
        <p:sp>
          <p:nvSpPr>
            <p:cNvPr id="11" name="Cross 10"/>
            <p:cNvSpPr/>
            <p:nvPr/>
          </p:nvSpPr>
          <p:spPr bwMode="auto">
            <a:xfrm>
              <a:off x="2819979" y="2995733"/>
              <a:ext cx="1088461" cy="1088461"/>
            </a:xfrm>
            <a:prstGeom prst="plus">
              <a:avLst>
                <a:gd name="adj" fmla="val 3722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09" fontAlgn="base">
                <a:spcBef>
                  <a:spcPct val="0"/>
                </a:spcBef>
                <a:spcAft>
                  <a:spcPct val="0"/>
                </a:spcAft>
              </a:pPr>
              <a:endParaRPr lang="en-US" sz="1700" dirty="0">
                <a:gradFill>
                  <a:gsLst>
                    <a:gs pos="0">
                      <a:srgbClr val="FFFFFF"/>
                    </a:gs>
                    <a:gs pos="100000">
                      <a:srgbClr val="FFFFFF"/>
                    </a:gs>
                  </a:gsLst>
                  <a:lin ang="5400000" scaled="0"/>
                </a:gradFill>
              </a:endParaRPr>
            </a:p>
          </p:txBody>
        </p:sp>
      </p:grpSp>
      <p:sp>
        <p:nvSpPr>
          <p:cNvPr id="27" name="Rounded Rectangle 26"/>
          <p:cNvSpPr/>
          <p:nvPr/>
        </p:nvSpPr>
        <p:spPr bwMode="auto">
          <a:xfrm>
            <a:off x="5934718" y="997574"/>
            <a:ext cx="1329359" cy="1330051"/>
          </a:xfrm>
          <a:prstGeom prst="roundRect">
            <a:avLst>
              <a:gd name="adj" fmla="val 0"/>
            </a:avLst>
          </a:prstGeom>
          <a:solidFill>
            <a:schemeClr val="bg1"/>
          </a:solidFill>
          <a:ln w="9525" cap="flat" cmpd="sng" algn="ctr">
            <a:noFill/>
            <a:prstDash val="solid"/>
          </a:ln>
          <a:effectLst/>
        </p:spPr>
        <p:txBody>
          <a:bodyPr lIns="68583" tIns="34292" rIns="0" bIns="34292" rtlCol="0" anchor="t" anchorCtr="0"/>
          <a:lstStyle/>
          <a:p>
            <a:pPr algn="ctr" defTabSz="914248"/>
            <a:r>
              <a:rPr lang="en-US" sz="1100" dirty="0">
                <a:solidFill>
                  <a:srgbClr val="FFFFFF">
                    <a:alpha val="99000"/>
                  </a:srgbClr>
                </a:solidFill>
                <a:ea typeface="Segoe UI" pitchFamily="34" charset="0"/>
                <a:cs typeface="Segoe UI" pitchFamily="34" charset="0"/>
              </a:rPr>
              <a:t> </a:t>
            </a:r>
          </a:p>
        </p:txBody>
      </p:sp>
      <p:sp>
        <p:nvSpPr>
          <p:cNvPr id="28" name="Rectangle 27"/>
          <p:cNvSpPr/>
          <p:nvPr/>
        </p:nvSpPr>
        <p:spPr>
          <a:xfrm>
            <a:off x="6002450" y="2082268"/>
            <a:ext cx="1197821" cy="225062"/>
          </a:xfrm>
          <a:prstGeom prst="rect">
            <a:avLst/>
          </a:prstGeom>
        </p:spPr>
        <p:txBody>
          <a:bodyPr wrap="square" lIns="68583" tIns="34292" rIns="0" bIns="34292">
            <a:spAutoFit/>
          </a:bodyPr>
          <a:lstStyle/>
          <a:p>
            <a:pPr defTabSz="685805">
              <a:lnSpc>
                <a:spcPct val="90000"/>
              </a:lnSpc>
              <a:defRPr/>
            </a:pPr>
            <a:r>
              <a:rPr lang="en-US" sz="1100" kern="0" dirty="0">
                <a:solidFill>
                  <a:srgbClr val="00AEEF">
                    <a:alpha val="99000"/>
                  </a:srgbClr>
                </a:solidFill>
              </a:rPr>
              <a:t>Storage</a:t>
            </a:r>
          </a:p>
        </p:txBody>
      </p:sp>
      <p:sp>
        <p:nvSpPr>
          <p:cNvPr id="29" name="Freeform 6"/>
          <p:cNvSpPr>
            <a:spLocks noEditPoints="1"/>
          </p:cNvSpPr>
          <p:nvPr/>
        </p:nvSpPr>
        <p:spPr bwMode="auto">
          <a:xfrm>
            <a:off x="6449936" y="1300459"/>
            <a:ext cx="298918" cy="537584"/>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accent2"/>
          </a:solidFill>
          <a:ln>
            <a:noFill/>
          </a:ln>
        </p:spPr>
        <p:txBody>
          <a:bodyPr vert="horz" wrap="square" lIns="68583" tIns="34292" rIns="0" bIns="34292" numCol="1" anchor="t" anchorCtr="0" compatLnSpc="1">
            <a:prstTxWarp prst="textNoShape">
              <a:avLst/>
            </a:prstTxWarp>
          </a:bodyPr>
          <a:lstStyle/>
          <a:p>
            <a:pPr defTabSz="914286"/>
            <a:endParaRPr lang="en-US" sz="1100" dirty="0">
              <a:solidFill>
                <a:srgbClr val="292929"/>
              </a:solidFill>
            </a:endParaRPr>
          </a:p>
        </p:txBody>
      </p:sp>
      <p:sp>
        <p:nvSpPr>
          <p:cNvPr id="31" name="Rounded Rectangle 30"/>
          <p:cNvSpPr/>
          <p:nvPr/>
        </p:nvSpPr>
        <p:spPr bwMode="auto">
          <a:xfrm>
            <a:off x="7326425" y="997574"/>
            <a:ext cx="1329359" cy="1330051"/>
          </a:xfrm>
          <a:prstGeom prst="roundRect">
            <a:avLst>
              <a:gd name="adj" fmla="val 0"/>
            </a:avLst>
          </a:prstGeom>
          <a:solidFill>
            <a:schemeClr val="bg1"/>
          </a:solidFill>
          <a:ln w="9525" cap="flat" cmpd="sng" algn="ctr">
            <a:noFill/>
            <a:prstDash val="solid"/>
          </a:ln>
          <a:effectLst/>
        </p:spPr>
        <p:txBody>
          <a:bodyPr lIns="68583" tIns="34292" rIns="0" bIns="34292" rtlCol="0" anchor="t" anchorCtr="0"/>
          <a:lstStyle/>
          <a:p>
            <a:pPr algn="ctr" defTabSz="914248"/>
            <a:r>
              <a:rPr lang="en-US" sz="1100" dirty="0">
                <a:solidFill>
                  <a:srgbClr val="FFFFFF">
                    <a:alpha val="99000"/>
                  </a:srgbClr>
                </a:solidFill>
                <a:ea typeface="Segoe UI" pitchFamily="34" charset="0"/>
                <a:cs typeface="Segoe UI" pitchFamily="34" charset="0"/>
              </a:rPr>
              <a:t> </a:t>
            </a:r>
          </a:p>
        </p:txBody>
      </p:sp>
      <p:sp>
        <p:nvSpPr>
          <p:cNvPr id="32" name="Rectangle 31"/>
          <p:cNvSpPr/>
          <p:nvPr/>
        </p:nvSpPr>
        <p:spPr>
          <a:xfrm>
            <a:off x="7394157" y="2082268"/>
            <a:ext cx="1197821" cy="225062"/>
          </a:xfrm>
          <a:prstGeom prst="rect">
            <a:avLst/>
          </a:prstGeom>
        </p:spPr>
        <p:txBody>
          <a:bodyPr wrap="square" lIns="68583" tIns="34292" rIns="0" bIns="34292">
            <a:spAutoFit/>
          </a:bodyPr>
          <a:lstStyle/>
          <a:p>
            <a:pPr defTabSz="685805">
              <a:lnSpc>
                <a:spcPct val="90000"/>
              </a:lnSpc>
              <a:defRPr/>
            </a:pPr>
            <a:r>
              <a:rPr lang="en-US" sz="1100" kern="0" dirty="0">
                <a:solidFill>
                  <a:srgbClr val="00AEEF">
                    <a:alpha val="99000"/>
                  </a:srgbClr>
                </a:solidFill>
              </a:rPr>
              <a:t>Identity</a:t>
            </a:r>
          </a:p>
        </p:txBody>
      </p:sp>
      <p:sp>
        <p:nvSpPr>
          <p:cNvPr id="35" name="Rounded Rectangle 34"/>
          <p:cNvSpPr/>
          <p:nvPr/>
        </p:nvSpPr>
        <p:spPr bwMode="auto">
          <a:xfrm>
            <a:off x="5936680" y="2385086"/>
            <a:ext cx="1329359" cy="1330051"/>
          </a:xfrm>
          <a:prstGeom prst="roundRect">
            <a:avLst>
              <a:gd name="adj" fmla="val 0"/>
            </a:avLst>
          </a:prstGeom>
          <a:solidFill>
            <a:schemeClr val="bg1"/>
          </a:solidFill>
          <a:ln w="9525" cap="flat" cmpd="sng" algn="ctr">
            <a:noFill/>
            <a:prstDash val="solid"/>
          </a:ln>
          <a:effectLst/>
        </p:spPr>
        <p:txBody>
          <a:bodyPr lIns="68583" tIns="34292" rIns="0" bIns="34292" rtlCol="0" anchor="t" anchorCtr="0"/>
          <a:lstStyle/>
          <a:p>
            <a:pPr algn="ctr" defTabSz="914248"/>
            <a:r>
              <a:rPr lang="en-US" sz="1100" dirty="0">
                <a:solidFill>
                  <a:srgbClr val="FFFFFF">
                    <a:alpha val="99000"/>
                  </a:srgbClr>
                </a:solidFill>
                <a:ea typeface="Segoe UI" pitchFamily="34" charset="0"/>
                <a:cs typeface="Segoe UI" pitchFamily="34" charset="0"/>
              </a:rPr>
              <a:t> </a:t>
            </a:r>
          </a:p>
        </p:txBody>
      </p:sp>
      <p:sp>
        <p:nvSpPr>
          <p:cNvPr id="36" name="Rectangle 35"/>
          <p:cNvSpPr/>
          <p:nvPr/>
        </p:nvSpPr>
        <p:spPr>
          <a:xfrm>
            <a:off x="6004412" y="3469783"/>
            <a:ext cx="1197821" cy="225062"/>
          </a:xfrm>
          <a:prstGeom prst="rect">
            <a:avLst/>
          </a:prstGeom>
        </p:spPr>
        <p:txBody>
          <a:bodyPr wrap="square" lIns="68583" tIns="34292" rIns="0" bIns="34292">
            <a:spAutoFit/>
          </a:bodyPr>
          <a:lstStyle/>
          <a:p>
            <a:pPr defTabSz="685805">
              <a:lnSpc>
                <a:spcPct val="90000"/>
              </a:lnSpc>
              <a:defRPr/>
            </a:pPr>
            <a:r>
              <a:rPr lang="en-US" sz="1100" kern="0" dirty="0">
                <a:solidFill>
                  <a:srgbClr val="00AEEF">
                    <a:alpha val="99000"/>
                  </a:srgbClr>
                </a:solidFill>
              </a:rPr>
              <a:t>Communications</a:t>
            </a:r>
          </a:p>
        </p:txBody>
      </p:sp>
      <p:grpSp>
        <p:nvGrpSpPr>
          <p:cNvPr id="37" name="Group 36"/>
          <p:cNvGrpSpPr/>
          <p:nvPr/>
        </p:nvGrpSpPr>
        <p:grpSpPr bwMode="black">
          <a:xfrm>
            <a:off x="6465747" y="2689593"/>
            <a:ext cx="271222" cy="575020"/>
            <a:chOff x="8920162" y="3943878"/>
            <a:chExt cx="419101" cy="889001"/>
          </a:xfrm>
          <a:solidFill>
            <a:schemeClr val="accent2"/>
          </a:solidFill>
        </p:grpSpPr>
        <p:sp>
          <p:nvSpPr>
            <p:cNvPr id="38" name="Oval 16"/>
            <p:cNvSpPr>
              <a:spLocks noChangeArrowheads="1"/>
            </p:cNvSpPr>
            <p:nvPr/>
          </p:nvSpPr>
          <p:spPr bwMode="black">
            <a:xfrm>
              <a:off x="9148762" y="3943878"/>
              <a:ext cx="149225" cy="146050"/>
            </a:xfrm>
            <a:prstGeom prst="ellipse">
              <a:avLst/>
            </a:prstGeom>
            <a:grpFill/>
            <a:ln>
              <a:noFill/>
            </a:ln>
            <a:extLst/>
          </p:spPr>
          <p:txBody>
            <a:bodyPr vert="horz" wrap="square" lIns="91440" tIns="45720" rIns="0" bIns="45720" numCol="1" anchor="t" anchorCtr="0" compatLnSpc="1">
              <a:prstTxWarp prst="textNoShape">
                <a:avLst/>
              </a:prstTxWarp>
            </a:bodyPr>
            <a:lstStyle/>
            <a:p>
              <a:pPr defTabSz="914286"/>
              <a:endParaRPr lang="en-US" sz="1100">
                <a:solidFill>
                  <a:srgbClr val="292929"/>
                </a:solidFill>
              </a:endParaRPr>
            </a:p>
          </p:txBody>
        </p:sp>
        <p:sp>
          <p:nvSpPr>
            <p:cNvPr id="39" name="Freeform 17"/>
            <p:cNvSpPr>
              <a:spLocks/>
            </p:cNvSpPr>
            <p:nvPr/>
          </p:nvSpPr>
          <p:spPr bwMode="black">
            <a:xfrm>
              <a:off x="9017000" y="4123266"/>
              <a:ext cx="322263" cy="709613"/>
            </a:xfrm>
            <a:custGeom>
              <a:avLst/>
              <a:gdLst>
                <a:gd name="T0" fmla="*/ 76 w 86"/>
                <a:gd name="T1" fmla="*/ 0 h 189"/>
                <a:gd name="T2" fmla="*/ 80 w 86"/>
                <a:gd name="T3" fmla="*/ 3 h 189"/>
                <a:gd name="T4" fmla="*/ 83 w 86"/>
                <a:gd name="T5" fmla="*/ 11 h 189"/>
                <a:gd name="T6" fmla="*/ 78 w 86"/>
                <a:gd name="T7" fmla="*/ 21 h 189"/>
                <a:gd name="T8" fmla="*/ 44 w 86"/>
                <a:gd name="T9" fmla="*/ 47 h 189"/>
                <a:gd name="T10" fmla="*/ 39 w 86"/>
                <a:gd name="T11" fmla="*/ 50 h 189"/>
                <a:gd name="T12" fmla="*/ 39 w 86"/>
                <a:gd name="T13" fmla="*/ 81 h 189"/>
                <a:gd name="T14" fmla="*/ 2 w 86"/>
                <a:gd name="T15" fmla="*/ 173 h 189"/>
                <a:gd name="T16" fmla="*/ 9 w 86"/>
                <a:gd name="T17" fmla="*/ 188 h 189"/>
                <a:gd name="T18" fmla="*/ 13 w 86"/>
                <a:gd name="T19" fmla="*/ 189 h 189"/>
                <a:gd name="T20" fmla="*/ 24 w 86"/>
                <a:gd name="T21" fmla="*/ 181 h 189"/>
                <a:gd name="T22" fmla="*/ 63 w 86"/>
                <a:gd name="T23" fmla="*/ 83 h 189"/>
                <a:gd name="T24" fmla="*/ 63 w 86"/>
                <a:gd name="T25" fmla="*/ 177 h 189"/>
                <a:gd name="T26" fmla="*/ 74 w 86"/>
                <a:gd name="T27" fmla="*/ 189 h 189"/>
                <a:gd name="T28" fmla="*/ 86 w 86"/>
                <a:gd name="T29" fmla="*/ 177 h 189"/>
                <a:gd name="T30" fmla="*/ 86 w 86"/>
                <a:gd name="T31" fmla="*/ 72 h 189"/>
                <a:gd name="T32" fmla="*/ 86 w 86"/>
                <a:gd name="T33" fmla="*/ 17 h 189"/>
                <a:gd name="T34" fmla="*/ 76 w 86"/>
                <a:gd name="T35"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 h="189">
                  <a:moveTo>
                    <a:pt x="76" y="0"/>
                  </a:moveTo>
                  <a:cubicBezTo>
                    <a:pt x="78" y="1"/>
                    <a:pt x="79" y="2"/>
                    <a:pt x="80" y="3"/>
                  </a:cubicBezTo>
                  <a:cubicBezTo>
                    <a:pt x="82" y="6"/>
                    <a:pt x="83" y="8"/>
                    <a:pt x="83" y="11"/>
                  </a:cubicBezTo>
                  <a:cubicBezTo>
                    <a:pt x="83" y="15"/>
                    <a:pt x="81" y="18"/>
                    <a:pt x="78" y="21"/>
                  </a:cubicBezTo>
                  <a:cubicBezTo>
                    <a:pt x="44" y="47"/>
                    <a:pt x="44" y="47"/>
                    <a:pt x="44" y="47"/>
                  </a:cubicBezTo>
                  <a:cubicBezTo>
                    <a:pt x="42" y="49"/>
                    <a:pt x="40" y="49"/>
                    <a:pt x="39" y="50"/>
                  </a:cubicBezTo>
                  <a:cubicBezTo>
                    <a:pt x="39" y="81"/>
                    <a:pt x="39" y="81"/>
                    <a:pt x="39" y="81"/>
                  </a:cubicBezTo>
                  <a:cubicBezTo>
                    <a:pt x="2" y="173"/>
                    <a:pt x="2" y="173"/>
                    <a:pt x="2" y="173"/>
                  </a:cubicBezTo>
                  <a:cubicBezTo>
                    <a:pt x="0" y="179"/>
                    <a:pt x="3" y="186"/>
                    <a:pt x="9" y="188"/>
                  </a:cubicBezTo>
                  <a:cubicBezTo>
                    <a:pt x="10" y="189"/>
                    <a:pt x="12" y="189"/>
                    <a:pt x="13" y="189"/>
                  </a:cubicBezTo>
                  <a:cubicBezTo>
                    <a:pt x="18" y="189"/>
                    <a:pt x="22" y="186"/>
                    <a:pt x="24" y="181"/>
                  </a:cubicBezTo>
                  <a:cubicBezTo>
                    <a:pt x="63" y="83"/>
                    <a:pt x="63" y="83"/>
                    <a:pt x="63" y="83"/>
                  </a:cubicBezTo>
                  <a:cubicBezTo>
                    <a:pt x="63" y="177"/>
                    <a:pt x="63" y="177"/>
                    <a:pt x="63" y="177"/>
                  </a:cubicBezTo>
                  <a:cubicBezTo>
                    <a:pt x="63" y="184"/>
                    <a:pt x="68" y="189"/>
                    <a:pt x="74" y="189"/>
                  </a:cubicBezTo>
                  <a:cubicBezTo>
                    <a:pt x="81" y="189"/>
                    <a:pt x="86" y="184"/>
                    <a:pt x="86" y="177"/>
                  </a:cubicBezTo>
                  <a:cubicBezTo>
                    <a:pt x="86" y="72"/>
                    <a:pt x="86" y="72"/>
                    <a:pt x="86" y="72"/>
                  </a:cubicBezTo>
                  <a:cubicBezTo>
                    <a:pt x="86" y="17"/>
                    <a:pt x="86" y="17"/>
                    <a:pt x="86" y="17"/>
                  </a:cubicBezTo>
                  <a:cubicBezTo>
                    <a:pt x="86" y="8"/>
                    <a:pt x="83" y="2"/>
                    <a:pt x="76" y="0"/>
                  </a:cubicBezTo>
                  <a:close/>
                </a:path>
              </a:pathLst>
            </a:custGeom>
            <a:grpFill/>
            <a:ln>
              <a:noFill/>
            </a:ln>
            <a:extLst/>
          </p:spPr>
          <p:txBody>
            <a:bodyPr vert="horz" wrap="square" lIns="91440" tIns="45720" rIns="0" bIns="45720" numCol="1" anchor="t" anchorCtr="0" compatLnSpc="1">
              <a:prstTxWarp prst="textNoShape">
                <a:avLst/>
              </a:prstTxWarp>
            </a:bodyPr>
            <a:lstStyle/>
            <a:p>
              <a:pPr defTabSz="914286"/>
              <a:endParaRPr lang="en-US" sz="1100">
                <a:solidFill>
                  <a:srgbClr val="292929"/>
                </a:solidFill>
              </a:endParaRPr>
            </a:p>
          </p:txBody>
        </p:sp>
        <p:sp>
          <p:nvSpPr>
            <p:cNvPr id="40" name="Freeform 18"/>
            <p:cNvSpPr>
              <a:spLocks/>
            </p:cNvSpPr>
            <p:nvPr/>
          </p:nvSpPr>
          <p:spPr bwMode="black">
            <a:xfrm>
              <a:off x="9051925" y="4089928"/>
              <a:ext cx="265113" cy="206375"/>
            </a:xfrm>
            <a:custGeom>
              <a:avLst/>
              <a:gdLst>
                <a:gd name="T0" fmla="*/ 30 w 71"/>
                <a:gd name="T1" fmla="*/ 33 h 55"/>
                <a:gd name="T2" fmla="*/ 18 w 71"/>
                <a:gd name="T3" fmla="*/ 6 h 55"/>
                <a:gd name="T4" fmla="*/ 6 w 71"/>
                <a:gd name="T5" fmla="*/ 2 h 55"/>
                <a:gd name="T6" fmla="*/ 2 w 71"/>
                <a:gd name="T7" fmla="*/ 14 h 55"/>
                <a:gd name="T8" fmla="*/ 20 w 71"/>
                <a:gd name="T9" fmla="*/ 50 h 55"/>
                <a:gd name="T10" fmla="*/ 25 w 71"/>
                <a:gd name="T11" fmla="*/ 55 h 55"/>
                <a:gd name="T12" fmla="*/ 27 w 71"/>
                <a:gd name="T13" fmla="*/ 55 h 55"/>
                <a:gd name="T14" fmla="*/ 33 w 71"/>
                <a:gd name="T15" fmla="*/ 53 h 55"/>
                <a:gd name="T16" fmla="*/ 67 w 71"/>
                <a:gd name="T17" fmla="*/ 27 h 55"/>
                <a:gd name="T18" fmla="*/ 69 w 71"/>
                <a:gd name="T19" fmla="*/ 15 h 55"/>
                <a:gd name="T20" fmla="*/ 56 w 71"/>
                <a:gd name="T21" fmla="*/ 13 h 55"/>
                <a:gd name="T22" fmla="*/ 30 w 71"/>
                <a:gd name="T23" fmla="*/ 3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1" h="55">
                  <a:moveTo>
                    <a:pt x="30" y="33"/>
                  </a:moveTo>
                  <a:cubicBezTo>
                    <a:pt x="18" y="6"/>
                    <a:pt x="18" y="6"/>
                    <a:pt x="18" y="6"/>
                  </a:cubicBezTo>
                  <a:cubicBezTo>
                    <a:pt x="16" y="2"/>
                    <a:pt x="10" y="0"/>
                    <a:pt x="6" y="2"/>
                  </a:cubicBezTo>
                  <a:cubicBezTo>
                    <a:pt x="2" y="4"/>
                    <a:pt x="0" y="10"/>
                    <a:pt x="2" y="14"/>
                  </a:cubicBezTo>
                  <a:cubicBezTo>
                    <a:pt x="20" y="50"/>
                    <a:pt x="20" y="50"/>
                    <a:pt x="20" y="50"/>
                  </a:cubicBezTo>
                  <a:cubicBezTo>
                    <a:pt x="21" y="53"/>
                    <a:pt x="23" y="54"/>
                    <a:pt x="25" y="55"/>
                  </a:cubicBezTo>
                  <a:cubicBezTo>
                    <a:pt x="26" y="55"/>
                    <a:pt x="27" y="55"/>
                    <a:pt x="27" y="55"/>
                  </a:cubicBezTo>
                  <a:cubicBezTo>
                    <a:pt x="29" y="55"/>
                    <a:pt x="31" y="55"/>
                    <a:pt x="33" y="53"/>
                  </a:cubicBezTo>
                  <a:cubicBezTo>
                    <a:pt x="67" y="27"/>
                    <a:pt x="67" y="27"/>
                    <a:pt x="67" y="27"/>
                  </a:cubicBezTo>
                  <a:cubicBezTo>
                    <a:pt x="71" y="24"/>
                    <a:pt x="71" y="18"/>
                    <a:pt x="69" y="15"/>
                  </a:cubicBezTo>
                  <a:cubicBezTo>
                    <a:pt x="66" y="11"/>
                    <a:pt x="60" y="10"/>
                    <a:pt x="56" y="13"/>
                  </a:cubicBezTo>
                  <a:lnTo>
                    <a:pt x="30" y="33"/>
                  </a:lnTo>
                  <a:close/>
                </a:path>
              </a:pathLst>
            </a:custGeom>
            <a:grpFill/>
            <a:ln>
              <a:noFill/>
            </a:ln>
            <a:extLst/>
          </p:spPr>
          <p:txBody>
            <a:bodyPr vert="horz" wrap="square" lIns="91440" tIns="45720" rIns="0" bIns="45720" numCol="1" anchor="t" anchorCtr="0" compatLnSpc="1">
              <a:prstTxWarp prst="textNoShape">
                <a:avLst/>
              </a:prstTxWarp>
            </a:bodyPr>
            <a:lstStyle/>
            <a:p>
              <a:pPr defTabSz="914286"/>
              <a:endParaRPr lang="en-US" sz="1100">
                <a:solidFill>
                  <a:srgbClr val="292929"/>
                </a:solidFill>
              </a:endParaRPr>
            </a:p>
          </p:txBody>
        </p:sp>
        <p:sp>
          <p:nvSpPr>
            <p:cNvPr id="41" name="Freeform 19"/>
            <p:cNvSpPr>
              <a:spLocks/>
            </p:cNvSpPr>
            <p:nvPr/>
          </p:nvSpPr>
          <p:spPr bwMode="black">
            <a:xfrm>
              <a:off x="8953500" y="3958166"/>
              <a:ext cx="90488" cy="165100"/>
            </a:xfrm>
            <a:custGeom>
              <a:avLst/>
              <a:gdLst>
                <a:gd name="T0" fmla="*/ 24 w 24"/>
                <a:gd name="T1" fmla="*/ 27 h 44"/>
                <a:gd name="T2" fmla="*/ 24 w 24"/>
                <a:gd name="T3" fmla="*/ 17 h 44"/>
                <a:gd name="T4" fmla="*/ 24 w 24"/>
                <a:gd name="T5" fmla="*/ 16 h 44"/>
                <a:gd name="T6" fmla="*/ 0 w 24"/>
                <a:gd name="T7" fmla="*/ 0 h 44"/>
                <a:gd name="T8" fmla="*/ 0 w 24"/>
                <a:gd name="T9" fmla="*/ 44 h 44"/>
                <a:gd name="T10" fmla="*/ 24 w 24"/>
                <a:gd name="T11" fmla="*/ 28 h 44"/>
                <a:gd name="T12" fmla="*/ 24 w 24"/>
                <a:gd name="T13" fmla="*/ 27 h 44"/>
              </a:gdLst>
              <a:ahLst/>
              <a:cxnLst>
                <a:cxn ang="0">
                  <a:pos x="T0" y="T1"/>
                </a:cxn>
                <a:cxn ang="0">
                  <a:pos x="T2" y="T3"/>
                </a:cxn>
                <a:cxn ang="0">
                  <a:pos x="T4" y="T5"/>
                </a:cxn>
                <a:cxn ang="0">
                  <a:pos x="T6" y="T7"/>
                </a:cxn>
                <a:cxn ang="0">
                  <a:pos x="T8" y="T9"/>
                </a:cxn>
                <a:cxn ang="0">
                  <a:pos x="T10" y="T11"/>
                </a:cxn>
                <a:cxn ang="0">
                  <a:pos x="T12" y="T13"/>
                </a:cxn>
              </a:cxnLst>
              <a:rect l="0" t="0" r="r" b="b"/>
              <a:pathLst>
                <a:path w="24" h="44">
                  <a:moveTo>
                    <a:pt x="24" y="27"/>
                  </a:moveTo>
                  <a:cubicBezTo>
                    <a:pt x="24" y="17"/>
                    <a:pt x="24" y="17"/>
                    <a:pt x="24" y="17"/>
                  </a:cubicBezTo>
                  <a:cubicBezTo>
                    <a:pt x="24" y="16"/>
                    <a:pt x="24" y="16"/>
                    <a:pt x="24" y="16"/>
                  </a:cubicBezTo>
                  <a:cubicBezTo>
                    <a:pt x="0" y="0"/>
                    <a:pt x="0" y="0"/>
                    <a:pt x="0" y="0"/>
                  </a:cubicBezTo>
                  <a:cubicBezTo>
                    <a:pt x="0" y="44"/>
                    <a:pt x="0" y="44"/>
                    <a:pt x="0" y="44"/>
                  </a:cubicBezTo>
                  <a:cubicBezTo>
                    <a:pt x="24" y="28"/>
                    <a:pt x="24" y="28"/>
                    <a:pt x="24" y="28"/>
                  </a:cubicBezTo>
                  <a:cubicBezTo>
                    <a:pt x="24" y="27"/>
                    <a:pt x="24" y="27"/>
                    <a:pt x="24" y="27"/>
                  </a:cubicBezTo>
                  <a:close/>
                </a:path>
              </a:pathLst>
            </a:custGeom>
            <a:grpFill/>
            <a:ln>
              <a:noFill/>
            </a:ln>
            <a:extLst/>
          </p:spPr>
          <p:txBody>
            <a:bodyPr vert="horz" wrap="square" lIns="91440" tIns="45720" rIns="0" bIns="45720" numCol="1" anchor="t" anchorCtr="0" compatLnSpc="1">
              <a:prstTxWarp prst="textNoShape">
                <a:avLst/>
              </a:prstTxWarp>
            </a:bodyPr>
            <a:lstStyle/>
            <a:p>
              <a:pPr defTabSz="914286"/>
              <a:endParaRPr lang="en-US" sz="1100">
                <a:solidFill>
                  <a:srgbClr val="292929"/>
                </a:solidFill>
              </a:endParaRPr>
            </a:p>
          </p:txBody>
        </p:sp>
        <p:sp>
          <p:nvSpPr>
            <p:cNvPr id="42" name="Freeform 20"/>
            <p:cNvSpPr>
              <a:spLocks/>
            </p:cNvSpPr>
            <p:nvPr/>
          </p:nvSpPr>
          <p:spPr bwMode="black">
            <a:xfrm>
              <a:off x="9055100" y="4010553"/>
              <a:ext cx="68263" cy="60325"/>
            </a:xfrm>
            <a:custGeom>
              <a:avLst/>
              <a:gdLst>
                <a:gd name="T0" fmla="*/ 3 w 18"/>
                <a:gd name="T1" fmla="*/ 16 h 16"/>
                <a:gd name="T2" fmla="*/ 15 w 18"/>
                <a:gd name="T3" fmla="*/ 16 h 16"/>
                <a:gd name="T4" fmla="*/ 18 w 18"/>
                <a:gd name="T5" fmla="*/ 13 h 16"/>
                <a:gd name="T6" fmla="*/ 18 w 18"/>
                <a:gd name="T7" fmla="*/ 3 h 16"/>
                <a:gd name="T8" fmla="*/ 15 w 18"/>
                <a:gd name="T9" fmla="*/ 0 h 16"/>
                <a:gd name="T10" fmla="*/ 3 w 18"/>
                <a:gd name="T11" fmla="*/ 0 h 16"/>
                <a:gd name="T12" fmla="*/ 0 w 18"/>
                <a:gd name="T13" fmla="*/ 3 h 16"/>
                <a:gd name="T14" fmla="*/ 0 w 18"/>
                <a:gd name="T15" fmla="*/ 13 h 16"/>
                <a:gd name="T16" fmla="*/ 3 w 18"/>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6">
                  <a:moveTo>
                    <a:pt x="3" y="16"/>
                  </a:moveTo>
                  <a:cubicBezTo>
                    <a:pt x="15" y="16"/>
                    <a:pt x="15" y="16"/>
                    <a:pt x="15" y="16"/>
                  </a:cubicBezTo>
                  <a:cubicBezTo>
                    <a:pt x="17" y="16"/>
                    <a:pt x="18" y="15"/>
                    <a:pt x="18" y="13"/>
                  </a:cubicBezTo>
                  <a:cubicBezTo>
                    <a:pt x="18" y="3"/>
                    <a:pt x="18" y="3"/>
                    <a:pt x="18" y="3"/>
                  </a:cubicBezTo>
                  <a:cubicBezTo>
                    <a:pt x="18" y="1"/>
                    <a:pt x="17" y="0"/>
                    <a:pt x="15" y="0"/>
                  </a:cubicBezTo>
                  <a:cubicBezTo>
                    <a:pt x="3" y="0"/>
                    <a:pt x="3" y="0"/>
                    <a:pt x="3" y="0"/>
                  </a:cubicBezTo>
                  <a:cubicBezTo>
                    <a:pt x="1" y="0"/>
                    <a:pt x="0" y="1"/>
                    <a:pt x="0" y="3"/>
                  </a:cubicBezTo>
                  <a:cubicBezTo>
                    <a:pt x="0" y="13"/>
                    <a:pt x="0" y="13"/>
                    <a:pt x="0" y="13"/>
                  </a:cubicBezTo>
                  <a:cubicBezTo>
                    <a:pt x="0" y="15"/>
                    <a:pt x="1" y="16"/>
                    <a:pt x="3" y="16"/>
                  </a:cubicBezTo>
                  <a:close/>
                </a:path>
              </a:pathLst>
            </a:custGeom>
            <a:grpFill/>
            <a:ln>
              <a:noFill/>
            </a:ln>
            <a:extLst/>
          </p:spPr>
          <p:txBody>
            <a:bodyPr vert="horz" wrap="square" lIns="91440" tIns="45720" rIns="0" bIns="45720" numCol="1" anchor="t" anchorCtr="0" compatLnSpc="1">
              <a:prstTxWarp prst="textNoShape">
                <a:avLst/>
              </a:prstTxWarp>
            </a:bodyPr>
            <a:lstStyle/>
            <a:p>
              <a:pPr defTabSz="914286"/>
              <a:endParaRPr lang="en-US" sz="1100">
                <a:solidFill>
                  <a:srgbClr val="292929"/>
                </a:solidFill>
              </a:endParaRPr>
            </a:p>
          </p:txBody>
        </p:sp>
        <p:sp>
          <p:nvSpPr>
            <p:cNvPr id="43" name="Freeform 21"/>
            <p:cNvSpPr>
              <a:spLocks/>
            </p:cNvSpPr>
            <p:nvPr/>
          </p:nvSpPr>
          <p:spPr bwMode="black">
            <a:xfrm>
              <a:off x="8920162" y="3943878"/>
              <a:ext cx="19050" cy="195263"/>
            </a:xfrm>
            <a:custGeom>
              <a:avLst/>
              <a:gdLst>
                <a:gd name="T0" fmla="*/ 3 w 5"/>
                <a:gd name="T1" fmla="*/ 0 h 52"/>
                <a:gd name="T2" fmla="*/ 2 w 5"/>
                <a:gd name="T3" fmla="*/ 0 h 52"/>
                <a:gd name="T4" fmla="*/ 0 w 5"/>
                <a:gd name="T5" fmla="*/ 2 h 52"/>
                <a:gd name="T6" fmla="*/ 0 w 5"/>
                <a:gd name="T7" fmla="*/ 50 h 52"/>
                <a:gd name="T8" fmla="*/ 2 w 5"/>
                <a:gd name="T9" fmla="*/ 52 h 52"/>
                <a:gd name="T10" fmla="*/ 3 w 5"/>
                <a:gd name="T11" fmla="*/ 52 h 52"/>
                <a:gd name="T12" fmla="*/ 5 w 5"/>
                <a:gd name="T13" fmla="*/ 50 h 52"/>
                <a:gd name="T14" fmla="*/ 5 w 5"/>
                <a:gd name="T15" fmla="*/ 2 h 52"/>
                <a:gd name="T16" fmla="*/ 3 w 5"/>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52">
                  <a:moveTo>
                    <a:pt x="3" y="0"/>
                  </a:moveTo>
                  <a:cubicBezTo>
                    <a:pt x="2" y="0"/>
                    <a:pt x="2" y="0"/>
                    <a:pt x="2" y="0"/>
                  </a:cubicBezTo>
                  <a:cubicBezTo>
                    <a:pt x="1" y="0"/>
                    <a:pt x="0" y="1"/>
                    <a:pt x="0" y="2"/>
                  </a:cubicBezTo>
                  <a:cubicBezTo>
                    <a:pt x="0" y="50"/>
                    <a:pt x="0" y="50"/>
                    <a:pt x="0" y="50"/>
                  </a:cubicBezTo>
                  <a:cubicBezTo>
                    <a:pt x="0" y="51"/>
                    <a:pt x="1" y="52"/>
                    <a:pt x="2" y="52"/>
                  </a:cubicBezTo>
                  <a:cubicBezTo>
                    <a:pt x="3" y="52"/>
                    <a:pt x="3" y="52"/>
                    <a:pt x="3" y="52"/>
                  </a:cubicBezTo>
                  <a:cubicBezTo>
                    <a:pt x="4" y="52"/>
                    <a:pt x="5" y="51"/>
                    <a:pt x="5" y="50"/>
                  </a:cubicBezTo>
                  <a:cubicBezTo>
                    <a:pt x="5" y="2"/>
                    <a:pt x="5" y="2"/>
                    <a:pt x="5" y="2"/>
                  </a:cubicBezTo>
                  <a:cubicBezTo>
                    <a:pt x="5" y="1"/>
                    <a:pt x="4" y="0"/>
                    <a:pt x="3" y="0"/>
                  </a:cubicBezTo>
                  <a:close/>
                </a:path>
              </a:pathLst>
            </a:custGeom>
            <a:grpFill/>
            <a:ln>
              <a:noFill/>
            </a:ln>
            <a:extLst/>
          </p:spPr>
          <p:txBody>
            <a:bodyPr vert="horz" wrap="square" lIns="91440" tIns="45720" rIns="0" bIns="45720" numCol="1" anchor="t" anchorCtr="0" compatLnSpc="1">
              <a:prstTxWarp prst="textNoShape">
                <a:avLst/>
              </a:prstTxWarp>
            </a:bodyPr>
            <a:lstStyle/>
            <a:p>
              <a:pPr defTabSz="914286"/>
              <a:endParaRPr lang="en-US" sz="1100">
                <a:solidFill>
                  <a:srgbClr val="292929"/>
                </a:solidFill>
              </a:endParaRPr>
            </a:p>
          </p:txBody>
        </p:sp>
      </p:grpSp>
      <p:sp>
        <p:nvSpPr>
          <p:cNvPr id="45" name="Rounded Rectangle 44"/>
          <p:cNvSpPr/>
          <p:nvPr/>
        </p:nvSpPr>
        <p:spPr bwMode="auto">
          <a:xfrm>
            <a:off x="7328387" y="2385086"/>
            <a:ext cx="1329359" cy="1330051"/>
          </a:xfrm>
          <a:prstGeom prst="roundRect">
            <a:avLst>
              <a:gd name="adj" fmla="val 0"/>
            </a:avLst>
          </a:prstGeom>
          <a:solidFill>
            <a:schemeClr val="bg1"/>
          </a:solidFill>
          <a:ln w="9525" cap="flat" cmpd="sng" algn="ctr">
            <a:noFill/>
            <a:prstDash val="solid"/>
          </a:ln>
          <a:effectLst/>
        </p:spPr>
        <p:txBody>
          <a:bodyPr lIns="68583" tIns="34292" rIns="0" bIns="34292" rtlCol="0" anchor="t" anchorCtr="0"/>
          <a:lstStyle/>
          <a:p>
            <a:pPr algn="ctr" defTabSz="914248"/>
            <a:r>
              <a:rPr lang="en-US" sz="1100" dirty="0">
                <a:solidFill>
                  <a:srgbClr val="FFFFFF">
                    <a:alpha val="99000"/>
                  </a:srgbClr>
                </a:solidFill>
                <a:ea typeface="Segoe UI" pitchFamily="34" charset="0"/>
                <a:cs typeface="Segoe UI" pitchFamily="34" charset="0"/>
              </a:rPr>
              <a:t> </a:t>
            </a:r>
          </a:p>
        </p:txBody>
      </p:sp>
      <p:sp>
        <p:nvSpPr>
          <p:cNvPr id="46" name="Rectangle 45"/>
          <p:cNvSpPr/>
          <p:nvPr/>
        </p:nvSpPr>
        <p:spPr>
          <a:xfrm>
            <a:off x="7396119" y="3477424"/>
            <a:ext cx="1197821" cy="225062"/>
          </a:xfrm>
          <a:prstGeom prst="rect">
            <a:avLst/>
          </a:prstGeom>
        </p:spPr>
        <p:txBody>
          <a:bodyPr wrap="square" lIns="68583" tIns="34292" rIns="0" bIns="34292">
            <a:spAutoFit/>
          </a:bodyPr>
          <a:lstStyle/>
          <a:p>
            <a:pPr defTabSz="685805">
              <a:lnSpc>
                <a:spcPct val="90000"/>
              </a:lnSpc>
              <a:defRPr/>
            </a:pPr>
            <a:r>
              <a:rPr lang="en-US" sz="1100" kern="0" dirty="0">
                <a:solidFill>
                  <a:srgbClr val="00AEEF">
                    <a:alpha val="99000"/>
                  </a:srgbClr>
                </a:solidFill>
              </a:rPr>
              <a:t>Platform Services</a:t>
            </a:r>
          </a:p>
        </p:txBody>
      </p:sp>
      <p:sp>
        <p:nvSpPr>
          <p:cNvPr id="47" name="Freeform 80"/>
          <p:cNvSpPr>
            <a:spLocks noEditPoints="1"/>
          </p:cNvSpPr>
          <p:nvPr/>
        </p:nvSpPr>
        <p:spPr bwMode="black">
          <a:xfrm>
            <a:off x="7751279" y="2654276"/>
            <a:ext cx="483570" cy="586518"/>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chemeClr val="accent2"/>
          </a:solidFill>
          <a:ln>
            <a:noFill/>
          </a:ln>
        </p:spPr>
        <p:txBody>
          <a:bodyPr vert="horz" wrap="square" lIns="68583" tIns="34292" rIns="0" bIns="34292" numCol="1" anchor="t" anchorCtr="0" compatLnSpc="1">
            <a:prstTxWarp prst="textNoShape">
              <a:avLst/>
            </a:prstTxWarp>
          </a:bodyPr>
          <a:lstStyle/>
          <a:p>
            <a:pPr defTabSz="914286"/>
            <a:endParaRPr lang="en-US" sz="1100">
              <a:solidFill>
                <a:srgbClr val="292929"/>
              </a:solidFill>
            </a:endParaRPr>
          </a:p>
        </p:txBody>
      </p:sp>
      <p:sp>
        <p:nvSpPr>
          <p:cNvPr id="34" name="Freeform 164"/>
          <p:cNvSpPr>
            <a:spLocks noEditPoints="1"/>
          </p:cNvSpPr>
          <p:nvPr/>
        </p:nvSpPr>
        <p:spPr bwMode="black">
          <a:xfrm>
            <a:off x="7785979" y="1300460"/>
            <a:ext cx="410246" cy="56861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accent2"/>
          </a:solidFill>
          <a:ln>
            <a:noFill/>
          </a:ln>
          <a:extLst/>
        </p:spPr>
        <p:txBody>
          <a:bodyPr vert="horz" wrap="square" lIns="68583" tIns="34292" rIns="0" bIns="34292" numCol="1" anchor="t" anchorCtr="0" compatLnSpc="1">
            <a:prstTxWarp prst="textNoShape">
              <a:avLst/>
            </a:prstTxWarp>
          </a:bodyPr>
          <a:lstStyle/>
          <a:p>
            <a:pPr defTabSz="914286"/>
            <a:endParaRPr lang="en-US" sz="1100">
              <a:solidFill>
                <a:srgbClr val="292929"/>
              </a:solidFill>
            </a:endParaRPr>
          </a:p>
        </p:txBody>
      </p:sp>
      <p:sp>
        <p:nvSpPr>
          <p:cNvPr id="33"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44"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
              </a:rPr>
              <a:t>www.rapidbbs.cn</a:t>
            </a:r>
            <a:endParaRPr lang="zh-CN" altLang="en-US" sz="1200" b="0">
              <a:latin typeface="Arial" charset="0"/>
              <a:ea typeface="ＭＳ Ｐゴシック" pitchFamily="34" charset="-128"/>
            </a:endParaRPr>
          </a:p>
        </p:txBody>
      </p:sp>
      <p:pic>
        <p:nvPicPr>
          <p:cNvPr id="48" name="Picture 2">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84355608"/>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446805" y="801126"/>
            <a:ext cx="2155932" cy="3592168"/>
            <a:chOff x="595584" y="1068168"/>
            <a:chExt cx="2873828" cy="4789557"/>
          </a:xfrm>
        </p:grpSpPr>
        <p:sp>
          <p:nvSpPr>
            <p:cNvPr id="67" name="Rectangle 66"/>
            <p:cNvSpPr/>
            <p:nvPr/>
          </p:nvSpPr>
          <p:spPr bwMode="auto">
            <a:xfrm flipH="1">
              <a:off x="595584" y="1068168"/>
              <a:ext cx="2873828" cy="4789557"/>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685403" fontAlgn="base">
                <a:spcBef>
                  <a:spcPct val="0"/>
                </a:spcBef>
                <a:spcAft>
                  <a:spcPct val="0"/>
                </a:spcAft>
              </a:pPr>
              <a:endParaRPr lang="en-US" sz="1700" dirty="0">
                <a:solidFill>
                  <a:schemeClr val="bg1"/>
                </a:solidFill>
              </a:endParaRPr>
            </a:p>
          </p:txBody>
        </p:sp>
        <p:sp>
          <p:nvSpPr>
            <p:cNvPr id="124" name="Rectangle 123"/>
            <p:cNvSpPr/>
            <p:nvPr/>
          </p:nvSpPr>
          <p:spPr>
            <a:xfrm>
              <a:off x="1700893" y="1068169"/>
              <a:ext cx="1617891" cy="640080"/>
            </a:xfrm>
            <a:prstGeom prst="rect">
              <a:avLst/>
            </a:prstGeom>
            <a:noFill/>
            <a:ln w="9525" cap="flat" cmpd="sng" algn="ctr">
              <a:noFill/>
              <a:prstDash val="solid"/>
            </a:ln>
            <a:effectLst/>
          </p:spPr>
          <p:txBody>
            <a:bodyPr lIns="0" tIns="0" rIns="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914211" fontAlgn="base">
                <a:spcAft>
                  <a:spcPct val="0"/>
                </a:spcAft>
              </a:pPr>
              <a:r>
                <a:rPr lang="en-US" sz="1500" dirty="0">
                  <a:solidFill>
                    <a:schemeClr val="bg1"/>
                  </a:solidFill>
                  <a:ea typeface="Kozuka Gothic Pro R" pitchFamily="34" charset="-128"/>
                </a:rPr>
                <a:t>On-Premises</a:t>
              </a:r>
              <a:endParaRPr lang="en-US" sz="1500" dirty="0">
                <a:solidFill>
                  <a:schemeClr val="bg1"/>
                </a:solidFill>
                <a:ea typeface="Kozuka Gothic Pro R" pitchFamily="34" charset="-128"/>
              </a:endParaRPr>
            </a:p>
          </p:txBody>
        </p:sp>
        <p:pic>
          <p:nvPicPr>
            <p:cNvPr id="65" name="Picture 12" descr="Gift 512x512.png"/>
            <p:cNvPicPr>
              <a:picLocks noChangeAspect="1"/>
            </p:cNvPicPr>
            <p:nvPr/>
          </p:nvPicPr>
          <p:blipFill>
            <a:blip r:embed="rId3"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696072" y="4971068"/>
              <a:ext cx="806273" cy="80627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sp>
        <p:nvSpPr>
          <p:cNvPr id="2" name="Title 1"/>
          <p:cNvSpPr>
            <a:spLocks noGrp="1"/>
          </p:cNvSpPr>
          <p:nvPr>
            <p:ph type="title"/>
          </p:nvPr>
        </p:nvSpPr>
        <p:spPr/>
        <p:txBody>
          <a:bodyPr/>
          <a:lstStyle/>
          <a:p>
            <a:r>
              <a:rPr lang="en-US" dirty="0" smtClean="0"/>
              <a:t>Compute: What are our Options?</a:t>
            </a:r>
            <a:endParaRPr lang="en-US" dirty="0">
              <a:solidFill>
                <a:schemeClr val="accent2">
                  <a:alpha val="99000"/>
                </a:schemeClr>
              </a:solidFill>
            </a:endParaRPr>
          </a:p>
        </p:txBody>
      </p:sp>
      <p:sp>
        <p:nvSpPr>
          <p:cNvPr id="128" name="Rectangle 127"/>
          <p:cNvSpPr/>
          <p:nvPr/>
        </p:nvSpPr>
        <p:spPr>
          <a:xfrm>
            <a:off x="1260738" y="3723938"/>
            <a:ext cx="1229001" cy="285750"/>
          </a:xfrm>
          <a:prstGeom prst="rect">
            <a:avLst/>
          </a:prstGeom>
          <a:solidFill>
            <a:schemeClr val="accent1"/>
          </a:solidFill>
          <a:ln w="9525" cap="flat" cmpd="sng" algn="ctr">
            <a:noFill/>
            <a:prstDash val="solid"/>
          </a:ln>
          <a:effectLst/>
        </p:spPr>
        <p:txBody>
          <a:bodyPr lIns="68586" tIns="34294" rIns="68586" bIns="34294"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286"/>
            <a:r>
              <a:rPr lang="en-US" sz="1100" dirty="0">
                <a:solidFill>
                  <a:schemeClr val="bg1"/>
                </a:solidFill>
                <a:ea typeface="Segoe UI" pitchFamily="34" charset="0"/>
                <a:cs typeface="Segoe UI" pitchFamily="34" charset="0"/>
              </a:rPr>
              <a:t>Virtualization</a:t>
            </a:r>
            <a:endParaRPr lang="en-US" sz="1100" dirty="0">
              <a:solidFill>
                <a:schemeClr val="bg1"/>
              </a:solidFill>
              <a:ea typeface="Segoe UI" pitchFamily="34" charset="0"/>
              <a:cs typeface="Segoe UI" pitchFamily="34" charset="0"/>
            </a:endParaRPr>
          </a:p>
        </p:txBody>
      </p:sp>
      <p:sp>
        <p:nvSpPr>
          <p:cNvPr id="129" name="Rectangle 128"/>
          <p:cNvSpPr/>
          <p:nvPr/>
        </p:nvSpPr>
        <p:spPr>
          <a:xfrm>
            <a:off x="1260738" y="3382824"/>
            <a:ext cx="1229001" cy="285750"/>
          </a:xfrm>
          <a:prstGeom prst="rect">
            <a:avLst/>
          </a:prstGeom>
          <a:solidFill>
            <a:schemeClr val="accent1"/>
          </a:solidFill>
          <a:ln w="9525" cap="flat" cmpd="sng" algn="ctr">
            <a:noFill/>
            <a:prstDash val="solid"/>
          </a:ln>
          <a:effectLst/>
        </p:spPr>
        <p:txBody>
          <a:bodyPr lIns="68586" tIns="34294" rIns="68586" bIns="34294"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286"/>
            <a:r>
              <a:rPr lang="en-US" sz="1100" dirty="0">
                <a:solidFill>
                  <a:schemeClr val="bg1"/>
                </a:solidFill>
                <a:ea typeface="Segoe UI" pitchFamily="34" charset="0"/>
                <a:cs typeface="Segoe UI" pitchFamily="34" charset="0"/>
              </a:rPr>
              <a:t>O/S</a:t>
            </a:r>
            <a:endParaRPr lang="en-US" sz="1100" dirty="0">
              <a:solidFill>
                <a:schemeClr val="bg1"/>
              </a:solidFill>
              <a:ea typeface="Segoe UI" pitchFamily="34" charset="0"/>
              <a:cs typeface="Segoe UI" pitchFamily="34" charset="0"/>
            </a:endParaRPr>
          </a:p>
        </p:txBody>
      </p:sp>
      <p:sp>
        <p:nvSpPr>
          <p:cNvPr id="130" name="Rectangle 129"/>
          <p:cNvSpPr/>
          <p:nvPr/>
        </p:nvSpPr>
        <p:spPr>
          <a:xfrm>
            <a:off x="1260738" y="4065051"/>
            <a:ext cx="1229001" cy="285750"/>
          </a:xfrm>
          <a:prstGeom prst="rect">
            <a:avLst/>
          </a:prstGeom>
          <a:solidFill>
            <a:schemeClr val="accent1"/>
          </a:solidFill>
          <a:ln w="9525" cap="flat" cmpd="sng" algn="ctr">
            <a:noFill/>
            <a:prstDash val="solid"/>
          </a:ln>
          <a:effectLst/>
        </p:spPr>
        <p:txBody>
          <a:bodyPr lIns="68586" tIns="34294" rIns="68586" bIns="34294"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286"/>
            <a:r>
              <a:rPr lang="en-US" sz="1100" dirty="0">
                <a:solidFill>
                  <a:schemeClr val="bg1"/>
                </a:solidFill>
                <a:ea typeface="Segoe UI" pitchFamily="34" charset="0"/>
                <a:cs typeface="Segoe UI" pitchFamily="34" charset="0"/>
              </a:rPr>
              <a:t>Hardware</a:t>
            </a:r>
            <a:endParaRPr lang="en-US" sz="1100" dirty="0">
              <a:solidFill>
                <a:schemeClr val="bg1"/>
              </a:solidFill>
              <a:ea typeface="Segoe UI" pitchFamily="34" charset="0"/>
              <a:cs typeface="Segoe UI" pitchFamily="34" charset="0"/>
            </a:endParaRPr>
          </a:p>
        </p:txBody>
      </p:sp>
      <p:sp>
        <p:nvSpPr>
          <p:cNvPr id="131" name="Rectangle 130"/>
          <p:cNvSpPr/>
          <p:nvPr/>
        </p:nvSpPr>
        <p:spPr>
          <a:xfrm>
            <a:off x="1260738" y="2359481"/>
            <a:ext cx="1229001" cy="285750"/>
          </a:xfrm>
          <a:prstGeom prst="rect">
            <a:avLst/>
          </a:prstGeom>
          <a:solidFill>
            <a:schemeClr val="accent1"/>
          </a:solidFill>
          <a:ln w="9525" cap="flat" cmpd="sng" algn="ctr">
            <a:noFill/>
            <a:prstDash val="solid"/>
          </a:ln>
          <a:effectLst/>
        </p:spPr>
        <p:txBody>
          <a:bodyPr lIns="68586" tIns="34294" rIns="68586" bIns="34294"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286"/>
            <a:r>
              <a:rPr lang="en-US" sz="1100" dirty="0">
                <a:solidFill>
                  <a:schemeClr val="bg1"/>
                </a:solidFill>
                <a:ea typeface="Segoe UI" pitchFamily="34" charset="0"/>
                <a:cs typeface="Segoe UI" pitchFamily="34" charset="0"/>
              </a:rPr>
              <a:t>Native Code</a:t>
            </a:r>
            <a:endParaRPr lang="en-US" sz="1100" dirty="0">
              <a:solidFill>
                <a:schemeClr val="bg1"/>
              </a:solidFill>
              <a:ea typeface="Segoe UI" pitchFamily="34" charset="0"/>
              <a:cs typeface="Segoe UI" pitchFamily="34" charset="0"/>
            </a:endParaRPr>
          </a:p>
        </p:txBody>
      </p:sp>
      <p:sp>
        <p:nvSpPr>
          <p:cNvPr id="132" name="Rectangle 131"/>
          <p:cNvSpPr/>
          <p:nvPr/>
        </p:nvSpPr>
        <p:spPr>
          <a:xfrm>
            <a:off x="1260738" y="2018367"/>
            <a:ext cx="1229001" cy="285750"/>
          </a:xfrm>
          <a:prstGeom prst="rect">
            <a:avLst/>
          </a:prstGeom>
          <a:solidFill>
            <a:schemeClr val="accent1"/>
          </a:solidFill>
          <a:ln w="9525" cap="flat" cmpd="sng" algn="ctr">
            <a:noFill/>
            <a:prstDash val="solid"/>
          </a:ln>
          <a:effectLst/>
        </p:spPr>
        <p:txBody>
          <a:bodyPr lIns="68586" tIns="34294" rIns="68586" bIns="34294"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286"/>
            <a:r>
              <a:rPr lang="en-US" sz="1100" dirty="0">
                <a:solidFill>
                  <a:schemeClr val="bg1"/>
                </a:solidFill>
                <a:ea typeface="Segoe UI" pitchFamily="34" charset="0"/>
                <a:cs typeface="Segoe UI" pitchFamily="34" charset="0"/>
              </a:rPr>
              <a:t>Custom Software</a:t>
            </a:r>
            <a:endParaRPr lang="en-US" sz="1100" dirty="0">
              <a:solidFill>
                <a:schemeClr val="bg1"/>
              </a:solidFill>
              <a:ea typeface="Segoe UI" pitchFamily="34" charset="0"/>
              <a:cs typeface="Segoe UI" pitchFamily="34" charset="0"/>
            </a:endParaRPr>
          </a:p>
        </p:txBody>
      </p:sp>
      <p:sp>
        <p:nvSpPr>
          <p:cNvPr id="133" name="Rectangle 132"/>
          <p:cNvSpPr/>
          <p:nvPr/>
        </p:nvSpPr>
        <p:spPr>
          <a:xfrm>
            <a:off x="1260738" y="3041710"/>
            <a:ext cx="1229001" cy="285750"/>
          </a:xfrm>
          <a:prstGeom prst="rect">
            <a:avLst/>
          </a:prstGeom>
          <a:solidFill>
            <a:schemeClr val="accent1"/>
          </a:solidFill>
          <a:ln w="9525" cap="flat" cmpd="sng" algn="ctr">
            <a:noFill/>
            <a:prstDash val="solid"/>
          </a:ln>
          <a:effectLst/>
        </p:spPr>
        <p:txBody>
          <a:bodyPr lIns="0" tIns="34294" rIns="0" bIns="34294"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286"/>
            <a:r>
              <a:rPr lang="en-US" sz="1100" dirty="0">
                <a:solidFill>
                  <a:schemeClr val="bg1"/>
                </a:solidFill>
                <a:ea typeface="Segoe UI" pitchFamily="34" charset="0"/>
                <a:cs typeface="Segoe UI" pitchFamily="34" charset="0"/>
              </a:rPr>
              <a:t>Network</a:t>
            </a:r>
            <a:endParaRPr lang="en-US" sz="1100" dirty="0">
              <a:solidFill>
                <a:schemeClr val="bg1"/>
              </a:solidFill>
              <a:ea typeface="Segoe UI" pitchFamily="34" charset="0"/>
              <a:cs typeface="Segoe UI" pitchFamily="34" charset="0"/>
            </a:endParaRPr>
          </a:p>
        </p:txBody>
      </p:sp>
      <p:sp>
        <p:nvSpPr>
          <p:cNvPr id="134" name="Rectangle 133"/>
          <p:cNvSpPr/>
          <p:nvPr/>
        </p:nvSpPr>
        <p:spPr>
          <a:xfrm>
            <a:off x="1260738" y="1677253"/>
            <a:ext cx="1229001" cy="285750"/>
          </a:xfrm>
          <a:prstGeom prst="rect">
            <a:avLst/>
          </a:prstGeom>
          <a:solidFill>
            <a:schemeClr val="accent1"/>
          </a:solidFill>
          <a:ln w="9525" cap="flat" cmpd="sng" algn="ctr">
            <a:noFill/>
            <a:prstDash val="solid"/>
          </a:ln>
          <a:effectLst/>
        </p:spPr>
        <p:txBody>
          <a:bodyPr lIns="68586" tIns="34294" rIns="68586" bIns="34294"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286"/>
            <a:r>
              <a:rPr lang="en-US" sz="1100" dirty="0">
                <a:solidFill>
                  <a:schemeClr val="bg1"/>
                </a:solidFill>
                <a:ea typeface="Segoe UI" pitchFamily="34" charset="0"/>
                <a:cs typeface="Segoe UI" pitchFamily="34" charset="0"/>
              </a:rPr>
              <a:t>Data</a:t>
            </a:r>
          </a:p>
        </p:txBody>
      </p:sp>
      <p:sp>
        <p:nvSpPr>
          <p:cNvPr id="135" name="Rectangle 134"/>
          <p:cNvSpPr/>
          <p:nvPr/>
        </p:nvSpPr>
        <p:spPr>
          <a:xfrm>
            <a:off x="1260738" y="1336139"/>
            <a:ext cx="1229001" cy="285750"/>
          </a:xfrm>
          <a:prstGeom prst="rect">
            <a:avLst/>
          </a:prstGeom>
          <a:solidFill>
            <a:schemeClr val="accent1"/>
          </a:solidFill>
          <a:ln w="9525" cap="flat" cmpd="sng" algn="ctr">
            <a:noFill/>
            <a:prstDash val="solid"/>
          </a:ln>
          <a:effectLst/>
        </p:spPr>
        <p:txBody>
          <a:bodyPr lIns="68586" tIns="34294" rIns="68586" bIns="34294"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286"/>
            <a:r>
              <a:rPr lang="en-US" sz="1100" dirty="0">
                <a:solidFill>
                  <a:schemeClr val="bg1"/>
                </a:solidFill>
                <a:ea typeface="Segoe UI" pitchFamily="34" charset="0"/>
                <a:cs typeface="Segoe UI" pitchFamily="34" charset="0"/>
              </a:rPr>
              <a:t>Applications</a:t>
            </a:r>
          </a:p>
        </p:txBody>
      </p:sp>
      <p:sp>
        <p:nvSpPr>
          <p:cNvPr id="136" name="Rectangle 135"/>
          <p:cNvSpPr/>
          <p:nvPr/>
        </p:nvSpPr>
        <p:spPr>
          <a:xfrm>
            <a:off x="1260737" y="2700596"/>
            <a:ext cx="1229001" cy="285750"/>
          </a:xfrm>
          <a:prstGeom prst="rect">
            <a:avLst/>
          </a:prstGeom>
          <a:solidFill>
            <a:schemeClr val="accent1"/>
          </a:solidFill>
          <a:ln w="9525" cap="flat" cmpd="sng" algn="ctr">
            <a:noFill/>
            <a:prstDash val="solid"/>
          </a:ln>
          <a:effectLst/>
        </p:spPr>
        <p:txBody>
          <a:bodyPr lIns="68586" tIns="34294" rIns="68586" bIns="34294"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286"/>
            <a:r>
              <a:rPr lang="en-US" sz="1100" dirty="0">
                <a:solidFill>
                  <a:schemeClr val="bg1"/>
                </a:solidFill>
                <a:ea typeface="Segoe UI" pitchFamily="34" charset="0"/>
                <a:cs typeface="Segoe UI" pitchFamily="34" charset="0"/>
              </a:rPr>
              <a:t>Firewall</a:t>
            </a:r>
            <a:endParaRPr lang="en-US" sz="1100" dirty="0">
              <a:solidFill>
                <a:schemeClr val="bg1"/>
              </a:solidFill>
              <a:ea typeface="Segoe UI" pitchFamily="34" charset="0"/>
              <a:cs typeface="Segoe UI" pitchFamily="34" charset="0"/>
            </a:endParaRPr>
          </a:p>
        </p:txBody>
      </p:sp>
      <p:sp>
        <p:nvSpPr>
          <p:cNvPr id="44" name="Rectangle 43"/>
          <p:cNvSpPr/>
          <p:nvPr/>
        </p:nvSpPr>
        <p:spPr bwMode="auto">
          <a:xfrm>
            <a:off x="2717192" y="801126"/>
            <a:ext cx="5875828" cy="3592168"/>
          </a:xfrm>
          <a:custGeom>
            <a:avLst/>
            <a:gdLst/>
            <a:ahLst/>
            <a:cxnLst/>
            <a:rect l="l" t="t" r="r" b="b"/>
            <a:pathLst>
              <a:path w="7832397" h="4789557">
                <a:moveTo>
                  <a:pt x="5396139" y="0"/>
                </a:moveTo>
                <a:lnTo>
                  <a:pt x="7832397" y="0"/>
                </a:lnTo>
                <a:lnTo>
                  <a:pt x="7832397" y="4789557"/>
                </a:lnTo>
                <a:lnTo>
                  <a:pt x="5396139" y="4789557"/>
                </a:lnTo>
                <a:close/>
                <a:moveTo>
                  <a:pt x="0" y="0"/>
                </a:moveTo>
                <a:lnTo>
                  <a:pt x="2698069" y="0"/>
                </a:lnTo>
                <a:lnTo>
                  <a:pt x="5396138" y="0"/>
                </a:lnTo>
                <a:lnTo>
                  <a:pt x="5396138" y="4789557"/>
                </a:lnTo>
                <a:lnTo>
                  <a:pt x="2698069" y="4789557"/>
                </a:lnTo>
                <a:lnTo>
                  <a:pt x="0" y="4789557"/>
                </a:lnTo>
                <a:close/>
              </a:path>
            </a:pathLst>
          </a:cu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80" rIns="68559" bIns="34280" numCol="1" spcCol="0" rtlCol="0" anchor="ctr" anchorCtr="0" compatLnSpc="1">
            <a:prstTxWarp prst="textNoShape">
              <a:avLst/>
            </a:prstTxWarp>
          </a:bodyPr>
          <a:lstStyle/>
          <a:p>
            <a:pPr algn="ctr" defTabSz="685403" fontAlgn="base">
              <a:spcBef>
                <a:spcPct val="0"/>
              </a:spcBef>
              <a:spcAft>
                <a:spcPct val="0"/>
              </a:spcAft>
            </a:pPr>
            <a:endParaRPr lang="en-US" sz="1700" dirty="0">
              <a:solidFill>
                <a:schemeClr val="bg1"/>
              </a:solidFill>
            </a:endParaRPr>
          </a:p>
        </p:txBody>
      </p:sp>
      <p:sp>
        <p:nvSpPr>
          <p:cNvPr id="170" name="Rectangle 169"/>
          <p:cNvSpPr/>
          <p:nvPr/>
        </p:nvSpPr>
        <p:spPr>
          <a:xfrm>
            <a:off x="6983839" y="801127"/>
            <a:ext cx="1229000" cy="480060"/>
          </a:xfrm>
          <a:prstGeom prst="rect">
            <a:avLst/>
          </a:prstGeom>
          <a:noFill/>
          <a:ln w="9525" cap="flat" cmpd="sng" algn="ctr">
            <a:noFill/>
            <a:prstDash val="solid"/>
          </a:ln>
          <a:effectLst/>
        </p:spPr>
        <p:txBody>
          <a:bodyPr lIns="68586" tIns="0" rIns="68586"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914211" fontAlgn="base">
              <a:spcAft>
                <a:spcPct val="0"/>
              </a:spcAft>
            </a:pPr>
            <a:r>
              <a:rPr lang="en-US" sz="1500" dirty="0">
                <a:solidFill>
                  <a:schemeClr val="bg1"/>
                </a:solidFill>
                <a:ea typeface="Kozuka Gothic Pro R" pitchFamily="34" charset="-128"/>
              </a:rPr>
              <a:t>Web </a:t>
            </a:r>
            <a:br>
              <a:rPr lang="en-US" sz="1500" dirty="0">
                <a:solidFill>
                  <a:schemeClr val="bg1"/>
                </a:solidFill>
                <a:ea typeface="Kozuka Gothic Pro R" pitchFamily="34" charset="-128"/>
              </a:rPr>
            </a:br>
            <a:r>
              <a:rPr lang="en-US" sz="1500" dirty="0">
                <a:solidFill>
                  <a:schemeClr val="bg1"/>
                </a:solidFill>
                <a:ea typeface="Kozuka Gothic Pro R" pitchFamily="34" charset="-128"/>
              </a:rPr>
              <a:t>Sites</a:t>
            </a:r>
            <a:endParaRPr lang="en-US" sz="1500" dirty="0">
              <a:solidFill>
                <a:schemeClr val="bg1"/>
              </a:solidFill>
              <a:ea typeface="Kozuka Gothic Pro R" pitchFamily="34" charset="-128"/>
            </a:endParaRPr>
          </a:p>
        </p:txBody>
      </p:sp>
      <p:sp>
        <p:nvSpPr>
          <p:cNvPr id="180" name="Rectangle 179"/>
          <p:cNvSpPr/>
          <p:nvPr/>
        </p:nvSpPr>
        <p:spPr>
          <a:xfrm>
            <a:off x="6983839" y="1336139"/>
            <a:ext cx="1229000" cy="285750"/>
          </a:xfrm>
          <a:prstGeom prst="rect">
            <a:avLst/>
          </a:prstGeom>
          <a:solidFill>
            <a:schemeClr val="accent5"/>
          </a:solidFill>
          <a:ln w="9525" cap="flat" cmpd="sng" algn="ctr">
            <a:noFill/>
            <a:prstDash val="solid"/>
          </a:ln>
          <a:effectLst/>
        </p:spPr>
        <p:txBody>
          <a:bodyPr lIns="0" tIns="34294" rIns="0" bIns="34294" rtlCol="0" anchor="t" anchorCtr="0"/>
          <a:lstStyle/>
          <a:p>
            <a:pPr algn="ctr" defTabSz="914286"/>
            <a:r>
              <a:rPr lang="en-US" sz="1100" dirty="0">
                <a:solidFill>
                  <a:schemeClr val="bg1"/>
                </a:solidFill>
                <a:ea typeface="Segoe UI" pitchFamily="34" charset="0"/>
                <a:cs typeface="Segoe UI" pitchFamily="34" charset="0"/>
              </a:rPr>
              <a:t>Applications</a:t>
            </a:r>
          </a:p>
        </p:txBody>
      </p:sp>
      <p:sp>
        <p:nvSpPr>
          <p:cNvPr id="182" name="Rectangle 181"/>
          <p:cNvSpPr/>
          <p:nvPr/>
        </p:nvSpPr>
        <p:spPr>
          <a:xfrm>
            <a:off x="6983839" y="1677253"/>
            <a:ext cx="1229000" cy="285750"/>
          </a:xfrm>
          <a:prstGeom prst="rect">
            <a:avLst/>
          </a:prstGeom>
          <a:solidFill>
            <a:schemeClr val="accent5"/>
          </a:solidFill>
          <a:ln w="9525" cap="flat" cmpd="sng" algn="ctr">
            <a:noFill/>
            <a:prstDash val="solid"/>
          </a:ln>
          <a:effectLst/>
        </p:spPr>
        <p:txBody>
          <a:bodyPr lIns="0" tIns="34294" rIns="0" bIns="34294" rtlCol="0" anchor="t" anchorCtr="0"/>
          <a:lstStyle/>
          <a:p>
            <a:pPr algn="ctr" defTabSz="914286"/>
            <a:r>
              <a:rPr lang="en-US" sz="1100" dirty="0">
                <a:solidFill>
                  <a:schemeClr val="bg1"/>
                </a:solidFill>
                <a:ea typeface="Segoe UI" pitchFamily="34" charset="0"/>
                <a:cs typeface="Segoe UI" pitchFamily="34" charset="0"/>
              </a:rPr>
              <a:t>Data</a:t>
            </a:r>
          </a:p>
        </p:txBody>
      </p:sp>
      <p:pic>
        <p:nvPicPr>
          <p:cNvPr id="63" name="Picture 11" descr="Cloud 512x512.png"/>
          <p:cNvPicPr>
            <a:picLocks noChangeAspect="1"/>
          </p:cNvPicPr>
          <p:nvPr/>
        </p:nvPicPr>
        <p:blipFill rotWithShape="1">
          <a:blip r:embed="rId4" cstate="print">
            <a:duotone>
              <a:prstClr val="black"/>
              <a:schemeClr val="tx1">
                <a:tint val="45000"/>
                <a:satMod val="400000"/>
              </a:schemeClr>
            </a:duotone>
            <a:extLst>
              <a:ext uri="{28A0092B-C50C-407E-A947-70E740481C1C}">
                <a14:useLocalDpi xmlns:a14="http://schemas.microsoft.com/office/drawing/2010/main" val="0"/>
              </a:ext>
            </a:extLst>
          </a:blip>
          <a:srcRect t="9664" b="10134"/>
          <a:stretch/>
        </p:blipFill>
        <p:spPr bwMode="auto">
          <a:xfrm>
            <a:off x="5872009" y="2971195"/>
            <a:ext cx="1987141" cy="159333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54" name="Rectangle 153"/>
          <p:cNvSpPr/>
          <p:nvPr/>
        </p:nvSpPr>
        <p:spPr>
          <a:xfrm>
            <a:off x="5065914" y="801127"/>
            <a:ext cx="1229000" cy="480060"/>
          </a:xfrm>
          <a:prstGeom prst="rect">
            <a:avLst/>
          </a:prstGeom>
          <a:noFill/>
          <a:ln w="9525" cap="flat" cmpd="sng" algn="ctr">
            <a:noFill/>
            <a:prstDash val="solid"/>
          </a:ln>
          <a:effectLst/>
        </p:spPr>
        <p:txBody>
          <a:bodyPr lIns="68586" tIns="0" rIns="68586"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914211" fontAlgn="base">
              <a:spcAft>
                <a:spcPct val="0"/>
              </a:spcAft>
            </a:pPr>
            <a:r>
              <a:rPr lang="en-US" sz="1500" dirty="0">
                <a:solidFill>
                  <a:schemeClr val="bg1"/>
                </a:solidFill>
                <a:ea typeface="Kozuka Gothic Pro R" pitchFamily="34" charset="-128"/>
              </a:rPr>
              <a:t>Cloud Services</a:t>
            </a:r>
            <a:endParaRPr lang="en-US" sz="1200" dirty="0">
              <a:solidFill>
                <a:schemeClr val="bg1"/>
              </a:solidFill>
              <a:ea typeface="Kozuka Gothic Pro R" pitchFamily="34" charset="-128"/>
            </a:endParaRPr>
          </a:p>
        </p:txBody>
      </p:sp>
      <p:sp>
        <p:nvSpPr>
          <p:cNvPr id="163" name="Rectangle 162"/>
          <p:cNvSpPr/>
          <p:nvPr/>
        </p:nvSpPr>
        <p:spPr>
          <a:xfrm>
            <a:off x="5065913" y="2359484"/>
            <a:ext cx="1229000" cy="285750"/>
          </a:xfrm>
          <a:prstGeom prst="rect">
            <a:avLst/>
          </a:prstGeom>
          <a:solidFill>
            <a:schemeClr val="accent2"/>
          </a:solidFill>
          <a:ln w="9525" cap="flat" cmpd="sng" algn="ctr">
            <a:solidFill>
              <a:schemeClr val="accent2"/>
            </a:solidFill>
            <a:prstDash val="solid"/>
          </a:ln>
          <a:effectLst/>
        </p:spPr>
        <p:txBody>
          <a:bodyPr lIns="0" tIns="34294" rIns="0" bIns="34294" rtlCol="0" anchor="t" anchorCtr="0"/>
          <a:lstStyle/>
          <a:p>
            <a:pPr algn="ctr" defTabSz="914286"/>
            <a:r>
              <a:rPr lang="en-US" sz="1100" dirty="0">
                <a:solidFill>
                  <a:schemeClr val="bg1"/>
                </a:solidFill>
                <a:ea typeface="Segoe UI" pitchFamily="34" charset="0"/>
                <a:cs typeface="Segoe UI" pitchFamily="34" charset="0"/>
              </a:rPr>
              <a:t>Native Code</a:t>
            </a:r>
            <a:endParaRPr lang="en-US" sz="1100" dirty="0">
              <a:solidFill>
                <a:schemeClr val="bg1"/>
              </a:solidFill>
              <a:ea typeface="Segoe UI" pitchFamily="34" charset="0"/>
              <a:cs typeface="Segoe UI" pitchFamily="34" charset="0"/>
            </a:endParaRPr>
          </a:p>
        </p:txBody>
      </p:sp>
      <p:sp>
        <p:nvSpPr>
          <p:cNvPr id="164" name="Rectangle 163"/>
          <p:cNvSpPr/>
          <p:nvPr/>
        </p:nvSpPr>
        <p:spPr>
          <a:xfrm>
            <a:off x="5065913" y="2018370"/>
            <a:ext cx="1229000" cy="285750"/>
          </a:xfrm>
          <a:prstGeom prst="rect">
            <a:avLst/>
          </a:prstGeom>
          <a:solidFill>
            <a:schemeClr val="accent2"/>
          </a:solidFill>
          <a:ln w="9525" cap="flat" cmpd="sng" algn="ctr">
            <a:solidFill>
              <a:schemeClr val="accent2"/>
            </a:solidFill>
            <a:prstDash val="solid"/>
          </a:ln>
          <a:effectLst/>
        </p:spPr>
        <p:txBody>
          <a:bodyPr lIns="0" tIns="34294" rIns="0" bIns="34294" rtlCol="0" anchor="t" anchorCtr="0"/>
          <a:lstStyle/>
          <a:p>
            <a:pPr algn="ctr" defTabSz="914286"/>
            <a:r>
              <a:rPr lang="en-US" sz="1100" dirty="0">
                <a:solidFill>
                  <a:schemeClr val="bg1"/>
                </a:solidFill>
                <a:ea typeface="Segoe UI" pitchFamily="34" charset="0"/>
                <a:cs typeface="Segoe UI" pitchFamily="34" charset="0"/>
              </a:rPr>
              <a:t>Startup Tasks</a:t>
            </a:r>
            <a:endParaRPr lang="en-US" sz="1100" dirty="0">
              <a:solidFill>
                <a:schemeClr val="bg1"/>
              </a:solidFill>
              <a:ea typeface="Segoe UI" pitchFamily="34" charset="0"/>
              <a:cs typeface="Segoe UI" pitchFamily="34" charset="0"/>
            </a:endParaRPr>
          </a:p>
        </p:txBody>
      </p:sp>
      <p:sp>
        <p:nvSpPr>
          <p:cNvPr id="166" name="Rectangle 165"/>
          <p:cNvSpPr/>
          <p:nvPr/>
        </p:nvSpPr>
        <p:spPr>
          <a:xfrm>
            <a:off x="5065913" y="1336141"/>
            <a:ext cx="1229000" cy="285750"/>
          </a:xfrm>
          <a:prstGeom prst="rect">
            <a:avLst/>
          </a:prstGeom>
          <a:solidFill>
            <a:schemeClr val="accent2"/>
          </a:solidFill>
          <a:ln w="9525" cap="flat" cmpd="sng" algn="ctr">
            <a:solidFill>
              <a:schemeClr val="accent2"/>
            </a:solidFill>
            <a:prstDash val="solid"/>
          </a:ln>
          <a:effectLst/>
        </p:spPr>
        <p:txBody>
          <a:bodyPr lIns="68586" tIns="34294" rIns="68586" bIns="34294" rtlCol="0" anchor="t" anchorCtr="0"/>
          <a:lstStyle/>
          <a:p>
            <a:pPr algn="ctr" defTabSz="914286"/>
            <a:r>
              <a:rPr lang="en-US" sz="1100" dirty="0">
                <a:solidFill>
                  <a:schemeClr val="bg1"/>
                </a:solidFill>
                <a:ea typeface="Segoe UI" pitchFamily="34" charset="0"/>
                <a:cs typeface="Segoe UI" pitchFamily="34" charset="0"/>
              </a:rPr>
              <a:t>Applications</a:t>
            </a:r>
          </a:p>
        </p:txBody>
      </p:sp>
      <p:sp>
        <p:nvSpPr>
          <p:cNvPr id="167" name="Rectangle 166"/>
          <p:cNvSpPr/>
          <p:nvPr/>
        </p:nvSpPr>
        <p:spPr>
          <a:xfrm>
            <a:off x="5065913" y="2696843"/>
            <a:ext cx="1229000" cy="285750"/>
          </a:xfrm>
          <a:prstGeom prst="rect">
            <a:avLst/>
          </a:prstGeom>
          <a:solidFill>
            <a:schemeClr val="accent2"/>
          </a:solidFill>
          <a:ln w="9525" cap="flat" cmpd="sng" algn="ctr">
            <a:solidFill>
              <a:schemeClr val="accent2"/>
            </a:solidFill>
            <a:prstDash val="solid"/>
          </a:ln>
          <a:effectLst/>
        </p:spPr>
        <p:txBody>
          <a:bodyPr lIns="0" tIns="34294" rIns="0" bIns="34294" rtlCol="0" anchor="t" anchorCtr="0"/>
          <a:lstStyle/>
          <a:p>
            <a:pPr algn="ctr" defTabSz="914286"/>
            <a:r>
              <a:rPr lang="en-US" sz="1100" dirty="0">
                <a:solidFill>
                  <a:schemeClr val="bg1"/>
                </a:solidFill>
                <a:ea typeface="Segoe UI" pitchFamily="34" charset="0"/>
                <a:cs typeface="Segoe UI" pitchFamily="34" charset="0"/>
              </a:rPr>
              <a:t>Firewall Rules</a:t>
            </a:r>
            <a:endParaRPr lang="en-US" sz="1100" dirty="0">
              <a:solidFill>
                <a:schemeClr val="bg1"/>
              </a:solidFill>
              <a:ea typeface="Segoe UI" pitchFamily="34" charset="0"/>
              <a:cs typeface="Segoe UI" pitchFamily="34" charset="0"/>
            </a:endParaRPr>
          </a:p>
        </p:txBody>
      </p:sp>
      <p:sp>
        <p:nvSpPr>
          <p:cNvPr id="168" name="Rectangle 167"/>
          <p:cNvSpPr/>
          <p:nvPr/>
        </p:nvSpPr>
        <p:spPr>
          <a:xfrm>
            <a:off x="5065913" y="1677255"/>
            <a:ext cx="1229000" cy="285750"/>
          </a:xfrm>
          <a:prstGeom prst="rect">
            <a:avLst/>
          </a:prstGeom>
          <a:solidFill>
            <a:schemeClr val="accent2"/>
          </a:solidFill>
          <a:ln w="9525" cap="flat" cmpd="sng" algn="ctr">
            <a:solidFill>
              <a:schemeClr val="accent2"/>
            </a:solidFill>
            <a:prstDash val="solid"/>
          </a:ln>
          <a:effectLst/>
        </p:spPr>
        <p:txBody>
          <a:bodyPr lIns="68586" tIns="34294" rIns="68586" bIns="34294" rtlCol="0" anchor="t" anchorCtr="0"/>
          <a:lstStyle/>
          <a:p>
            <a:pPr algn="ctr" defTabSz="914286"/>
            <a:r>
              <a:rPr lang="en-US" sz="1100" dirty="0">
                <a:solidFill>
                  <a:schemeClr val="bg1"/>
                </a:solidFill>
                <a:ea typeface="Segoe UI" pitchFamily="34" charset="0"/>
                <a:cs typeface="Segoe UI" pitchFamily="34" charset="0"/>
              </a:rPr>
              <a:t>Data</a:t>
            </a:r>
          </a:p>
        </p:txBody>
      </p:sp>
      <p:sp>
        <p:nvSpPr>
          <p:cNvPr id="77" name="Rectangle 76"/>
          <p:cNvSpPr/>
          <p:nvPr/>
        </p:nvSpPr>
        <p:spPr>
          <a:xfrm>
            <a:off x="5065913" y="3047135"/>
            <a:ext cx="1229000" cy="285750"/>
          </a:xfrm>
          <a:prstGeom prst="rect">
            <a:avLst/>
          </a:prstGeom>
          <a:solidFill>
            <a:schemeClr val="accent2"/>
          </a:solidFill>
          <a:ln w="9525" cap="flat" cmpd="sng" algn="ctr">
            <a:solidFill>
              <a:schemeClr val="accent2"/>
            </a:solidFill>
            <a:prstDash val="solid"/>
          </a:ln>
          <a:effectLst/>
        </p:spPr>
        <p:txBody>
          <a:bodyPr lIns="0" tIns="34294" rIns="0" bIns="34294" rtlCol="0" anchor="t" anchorCtr="0"/>
          <a:lstStyle/>
          <a:p>
            <a:pPr algn="ctr" defTabSz="914286"/>
            <a:r>
              <a:rPr lang="en-US" sz="1100" dirty="0">
                <a:solidFill>
                  <a:schemeClr val="bg1"/>
                </a:solidFill>
                <a:ea typeface="Segoe UI" pitchFamily="34" charset="0"/>
                <a:cs typeface="Segoe UI" pitchFamily="34" charset="0"/>
              </a:rPr>
              <a:t>Virtual Network</a:t>
            </a:r>
            <a:endParaRPr lang="en-US" sz="1100" dirty="0">
              <a:solidFill>
                <a:schemeClr val="bg1"/>
              </a:solidFill>
              <a:ea typeface="Segoe UI" pitchFamily="34" charset="0"/>
              <a:cs typeface="Segoe UI" pitchFamily="34" charset="0"/>
            </a:endParaRPr>
          </a:p>
        </p:txBody>
      </p:sp>
      <p:pic>
        <p:nvPicPr>
          <p:cNvPr id="39" name="Picture 11" descr="Cloud 512x512.png"/>
          <p:cNvPicPr>
            <a:picLocks noChangeAspect="1"/>
          </p:cNvPicPr>
          <p:nvPr/>
        </p:nvPicPr>
        <p:blipFill rotWithShape="1">
          <a:blip r:embed="rId4" cstate="print">
            <a:alphaModFix amt="85000"/>
            <a:extLst>
              <a:ext uri="{28A0092B-C50C-407E-A947-70E740481C1C}">
                <a14:useLocalDpi xmlns:a14="http://schemas.microsoft.com/office/drawing/2010/main" val="0"/>
              </a:ext>
            </a:extLst>
          </a:blip>
          <a:srcRect t="9664" b="10134"/>
          <a:stretch/>
        </p:blipFill>
        <p:spPr bwMode="auto">
          <a:xfrm>
            <a:off x="5069275" y="3452478"/>
            <a:ext cx="1359019" cy="1089692"/>
          </a:xfrm>
          <a:prstGeom prst="rect">
            <a:avLst/>
          </a:prstGeom>
          <a:blipFill dpi="0" rotWithShape="1">
            <a:blip r:embed="rId5">
              <a:alphaModFix amt="85000"/>
            </a:blip>
            <a:srcRect/>
            <a:stretch>
              <a:fillRect/>
            </a:stretch>
          </a:blipFill>
          <a:ln w="55000" cap="flat" cmpd="thickThin" algn="ctr">
            <a:noFill/>
            <a:prstDash val="solid"/>
            <a:headEnd type="none" w="med" len="med"/>
            <a:tailEnd type="none" w="med" len="med"/>
          </a:ln>
          <a:effectLst/>
          <a:extLs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38" name="Rectangle 137"/>
          <p:cNvSpPr/>
          <p:nvPr/>
        </p:nvSpPr>
        <p:spPr>
          <a:xfrm>
            <a:off x="3153228" y="801127"/>
            <a:ext cx="1229001" cy="480060"/>
          </a:xfrm>
          <a:prstGeom prst="rect">
            <a:avLst/>
          </a:prstGeom>
          <a:noFill/>
          <a:ln w="9525" cap="flat" cmpd="sng" algn="ctr">
            <a:noFill/>
            <a:prstDash val="solid"/>
          </a:ln>
          <a:effectLst/>
        </p:spPr>
        <p:txBody>
          <a:bodyPr lIns="68586" tIns="0" rIns="68586"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914211" fontAlgn="base">
              <a:spcAft>
                <a:spcPct val="0"/>
              </a:spcAft>
            </a:pPr>
            <a:r>
              <a:rPr lang="en-US" sz="1500" dirty="0">
                <a:solidFill>
                  <a:schemeClr val="bg1"/>
                </a:solidFill>
                <a:ea typeface="Kozuka Gothic Pro R" pitchFamily="34" charset="-128"/>
              </a:rPr>
              <a:t>Virtual Machines</a:t>
            </a:r>
            <a:endParaRPr lang="en-US" sz="1200" dirty="0">
              <a:solidFill>
                <a:schemeClr val="bg1"/>
              </a:solidFill>
              <a:ea typeface="Kozuka Gothic Pro R" pitchFamily="34" charset="-128"/>
            </a:endParaRPr>
          </a:p>
        </p:txBody>
      </p:sp>
      <p:sp>
        <p:nvSpPr>
          <p:cNvPr id="147" name="Rectangle 146"/>
          <p:cNvSpPr/>
          <p:nvPr/>
        </p:nvSpPr>
        <p:spPr>
          <a:xfrm>
            <a:off x="3153228" y="2359482"/>
            <a:ext cx="1229001" cy="285750"/>
          </a:xfrm>
          <a:prstGeom prst="rect">
            <a:avLst/>
          </a:prstGeom>
          <a:solidFill>
            <a:schemeClr val="accent4"/>
          </a:solidFill>
          <a:ln w="9525" cap="flat" cmpd="sng" algn="ctr">
            <a:solidFill>
              <a:schemeClr val="accent4"/>
            </a:solidFill>
            <a:prstDash val="solid"/>
          </a:ln>
          <a:effectLst/>
        </p:spPr>
        <p:txBody>
          <a:bodyPr lIns="68586" tIns="34294" rIns="68586" bIns="34294" rtlCol="0" anchor="t" anchorCtr="0"/>
          <a:lstStyle/>
          <a:p>
            <a:pPr algn="ctr" defTabSz="914286"/>
            <a:r>
              <a:rPr lang="en-US" sz="1100" dirty="0">
                <a:solidFill>
                  <a:schemeClr val="bg1"/>
                </a:solidFill>
                <a:ea typeface="Segoe UI" pitchFamily="34" charset="0"/>
                <a:cs typeface="Segoe UI" pitchFamily="34" charset="0"/>
              </a:rPr>
              <a:t>Native Code</a:t>
            </a:r>
            <a:endParaRPr lang="en-US" sz="1100" dirty="0">
              <a:solidFill>
                <a:schemeClr val="bg1"/>
              </a:solidFill>
              <a:ea typeface="Segoe UI" pitchFamily="34" charset="0"/>
              <a:cs typeface="Segoe UI" pitchFamily="34" charset="0"/>
            </a:endParaRPr>
          </a:p>
        </p:txBody>
      </p:sp>
      <p:sp>
        <p:nvSpPr>
          <p:cNvPr id="148" name="Rectangle 147"/>
          <p:cNvSpPr/>
          <p:nvPr/>
        </p:nvSpPr>
        <p:spPr>
          <a:xfrm>
            <a:off x="3153228" y="2018369"/>
            <a:ext cx="1229001" cy="285750"/>
          </a:xfrm>
          <a:prstGeom prst="rect">
            <a:avLst/>
          </a:prstGeom>
          <a:solidFill>
            <a:schemeClr val="accent4"/>
          </a:solidFill>
          <a:ln w="9525" cap="flat" cmpd="sng" algn="ctr">
            <a:solidFill>
              <a:schemeClr val="accent4"/>
            </a:solidFill>
            <a:prstDash val="solid"/>
          </a:ln>
          <a:effectLst/>
        </p:spPr>
        <p:txBody>
          <a:bodyPr lIns="68586" tIns="34294" rIns="68586" bIns="34294" rtlCol="0" anchor="t" anchorCtr="0"/>
          <a:lstStyle/>
          <a:p>
            <a:pPr algn="ctr" defTabSz="914286"/>
            <a:r>
              <a:rPr lang="en-US" sz="1100" dirty="0">
                <a:solidFill>
                  <a:schemeClr val="bg1"/>
                </a:solidFill>
                <a:ea typeface="Segoe UI" pitchFamily="34" charset="0"/>
                <a:cs typeface="Segoe UI" pitchFamily="34" charset="0"/>
              </a:rPr>
              <a:t>Custom Software</a:t>
            </a:r>
            <a:endParaRPr lang="en-US" sz="1100" dirty="0">
              <a:solidFill>
                <a:schemeClr val="bg1"/>
              </a:solidFill>
              <a:ea typeface="Segoe UI" pitchFamily="34" charset="0"/>
              <a:cs typeface="Segoe UI" pitchFamily="34" charset="0"/>
            </a:endParaRPr>
          </a:p>
        </p:txBody>
      </p:sp>
      <p:sp>
        <p:nvSpPr>
          <p:cNvPr id="149" name="Rectangle 148"/>
          <p:cNvSpPr/>
          <p:nvPr/>
        </p:nvSpPr>
        <p:spPr>
          <a:xfrm>
            <a:off x="3153228" y="3041709"/>
            <a:ext cx="1229001" cy="285750"/>
          </a:xfrm>
          <a:prstGeom prst="rect">
            <a:avLst/>
          </a:prstGeom>
          <a:solidFill>
            <a:schemeClr val="accent4"/>
          </a:solidFill>
          <a:ln w="9525" cap="flat" cmpd="sng" algn="ctr">
            <a:noFill/>
            <a:prstDash val="solid"/>
          </a:ln>
          <a:effectLst/>
        </p:spPr>
        <p:txBody>
          <a:bodyPr lIns="0" tIns="34294" rIns="0" bIns="34294"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286"/>
            <a:r>
              <a:rPr lang="en-US" sz="1100" dirty="0">
                <a:solidFill>
                  <a:schemeClr val="bg1"/>
                </a:solidFill>
                <a:ea typeface="Segoe UI" pitchFamily="34" charset="0"/>
                <a:cs typeface="Segoe UI" pitchFamily="34" charset="0"/>
              </a:rPr>
              <a:t>Virtual Network</a:t>
            </a:r>
            <a:endParaRPr lang="en-US" sz="1100" dirty="0">
              <a:solidFill>
                <a:schemeClr val="bg1"/>
              </a:solidFill>
              <a:ea typeface="Segoe UI" pitchFamily="34" charset="0"/>
              <a:cs typeface="Segoe UI" pitchFamily="34" charset="0"/>
            </a:endParaRPr>
          </a:p>
        </p:txBody>
      </p:sp>
      <p:sp>
        <p:nvSpPr>
          <p:cNvPr id="150" name="Rectangle 149"/>
          <p:cNvSpPr/>
          <p:nvPr/>
        </p:nvSpPr>
        <p:spPr>
          <a:xfrm>
            <a:off x="3153228" y="1677255"/>
            <a:ext cx="1229001" cy="285750"/>
          </a:xfrm>
          <a:prstGeom prst="rect">
            <a:avLst/>
          </a:prstGeom>
          <a:solidFill>
            <a:schemeClr val="accent4"/>
          </a:solidFill>
          <a:ln w="9525" cap="flat" cmpd="sng" algn="ctr">
            <a:solidFill>
              <a:schemeClr val="accent4"/>
            </a:solidFill>
            <a:prstDash val="solid"/>
          </a:ln>
          <a:effectLst/>
        </p:spPr>
        <p:txBody>
          <a:bodyPr lIns="68586" tIns="34294" rIns="68586" bIns="34294" rtlCol="0" anchor="t" anchorCtr="0"/>
          <a:lstStyle/>
          <a:p>
            <a:pPr algn="ctr" defTabSz="914286"/>
            <a:r>
              <a:rPr lang="en-US" sz="1100" dirty="0">
                <a:solidFill>
                  <a:schemeClr val="bg1"/>
                </a:solidFill>
                <a:ea typeface="Segoe UI" pitchFamily="34" charset="0"/>
                <a:cs typeface="Segoe UI" pitchFamily="34" charset="0"/>
              </a:rPr>
              <a:t>Data</a:t>
            </a:r>
          </a:p>
        </p:txBody>
      </p:sp>
      <p:sp>
        <p:nvSpPr>
          <p:cNvPr id="151" name="Rectangle 150"/>
          <p:cNvSpPr/>
          <p:nvPr/>
        </p:nvSpPr>
        <p:spPr>
          <a:xfrm>
            <a:off x="3153228" y="1336142"/>
            <a:ext cx="1229001" cy="285750"/>
          </a:xfrm>
          <a:prstGeom prst="rect">
            <a:avLst/>
          </a:prstGeom>
          <a:solidFill>
            <a:schemeClr val="accent4"/>
          </a:solidFill>
          <a:ln w="9525" cap="flat" cmpd="sng" algn="ctr">
            <a:solidFill>
              <a:schemeClr val="accent4"/>
            </a:solidFill>
            <a:prstDash val="solid"/>
          </a:ln>
          <a:effectLst/>
        </p:spPr>
        <p:txBody>
          <a:bodyPr lIns="68586" tIns="34294" rIns="68586" bIns="34294" rtlCol="0" anchor="t" anchorCtr="0"/>
          <a:lstStyle/>
          <a:p>
            <a:pPr algn="ctr" defTabSz="914286"/>
            <a:r>
              <a:rPr lang="en-US" sz="1100" dirty="0">
                <a:solidFill>
                  <a:schemeClr val="bg1"/>
                </a:solidFill>
                <a:ea typeface="Segoe UI" pitchFamily="34" charset="0"/>
                <a:cs typeface="Segoe UI" pitchFamily="34" charset="0"/>
              </a:rPr>
              <a:t>Applications</a:t>
            </a:r>
          </a:p>
        </p:txBody>
      </p:sp>
      <p:sp>
        <p:nvSpPr>
          <p:cNvPr id="152" name="Rectangle 151"/>
          <p:cNvSpPr/>
          <p:nvPr/>
        </p:nvSpPr>
        <p:spPr>
          <a:xfrm>
            <a:off x="3153228" y="2700596"/>
            <a:ext cx="1229001" cy="285750"/>
          </a:xfrm>
          <a:prstGeom prst="rect">
            <a:avLst/>
          </a:prstGeom>
          <a:solidFill>
            <a:schemeClr val="accent4"/>
          </a:solidFill>
          <a:ln w="9525" cap="flat" cmpd="sng" algn="ctr">
            <a:solidFill>
              <a:schemeClr val="accent4"/>
            </a:solidFill>
            <a:prstDash val="solid"/>
          </a:ln>
          <a:effectLst/>
        </p:spPr>
        <p:txBody>
          <a:bodyPr lIns="68586" tIns="34294" rIns="68586" bIns="34294" rtlCol="0" anchor="t" anchorCtr="0"/>
          <a:lstStyle/>
          <a:p>
            <a:pPr algn="ctr" defTabSz="914286"/>
            <a:r>
              <a:rPr lang="en-US" sz="1100" dirty="0">
                <a:solidFill>
                  <a:schemeClr val="bg1"/>
                </a:solidFill>
                <a:ea typeface="Segoe UI" pitchFamily="34" charset="0"/>
                <a:cs typeface="Segoe UI" pitchFamily="34" charset="0"/>
              </a:rPr>
              <a:t>Firewall Rules</a:t>
            </a:r>
            <a:endParaRPr lang="en-US" sz="1100" dirty="0">
              <a:solidFill>
                <a:schemeClr val="bg1"/>
              </a:solidFill>
              <a:ea typeface="Segoe UI" pitchFamily="34" charset="0"/>
              <a:cs typeface="Segoe UI" pitchFamily="34" charset="0"/>
            </a:endParaRPr>
          </a:p>
        </p:txBody>
      </p:sp>
      <p:sp>
        <p:nvSpPr>
          <p:cNvPr id="71" name="Rectangle 70"/>
          <p:cNvSpPr/>
          <p:nvPr/>
        </p:nvSpPr>
        <p:spPr>
          <a:xfrm>
            <a:off x="3153228" y="3382824"/>
            <a:ext cx="1229001" cy="285750"/>
          </a:xfrm>
          <a:prstGeom prst="rect">
            <a:avLst/>
          </a:prstGeom>
          <a:solidFill>
            <a:schemeClr val="accent4"/>
          </a:solidFill>
          <a:ln w="9525" cap="flat" cmpd="sng" algn="ctr">
            <a:solidFill>
              <a:schemeClr val="accent4"/>
            </a:solidFill>
            <a:prstDash val="solid"/>
          </a:ln>
          <a:effectLst/>
        </p:spPr>
        <p:txBody>
          <a:bodyPr lIns="68586" tIns="34294" rIns="68586" bIns="34294" rtlCol="0" anchor="t" anchorCtr="0"/>
          <a:lstStyle/>
          <a:p>
            <a:pPr algn="ctr" defTabSz="914286"/>
            <a:r>
              <a:rPr lang="en-US" sz="1100" dirty="0">
                <a:solidFill>
                  <a:schemeClr val="bg1"/>
                </a:solidFill>
                <a:ea typeface="Segoe UI" pitchFamily="34" charset="0"/>
                <a:cs typeface="Segoe UI" pitchFamily="34" charset="0"/>
              </a:rPr>
              <a:t>O/S</a:t>
            </a:r>
            <a:endParaRPr lang="en-US" sz="1100" dirty="0">
              <a:solidFill>
                <a:schemeClr val="bg1"/>
              </a:solidFill>
              <a:ea typeface="Segoe UI" pitchFamily="34" charset="0"/>
              <a:cs typeface="Segoe UI" pitchFamily="34" charset="0"/>
            </a:endParaRPr>
          </a:p>
        </p:txBody>
      </p:sp>
      <p:pic>
        <p:nvPicPr>
          <p:cNvPr id="40" name="Picture 11" descr="Cloud 512x512.png"/>
          <p:cNvPicPr>
            <a:picLocks noChangeAspect="1"/>
          </p:cNvPicPr>
          <p:nvPr/>
        </p:nvPicPr>
        <p:blipFill rotWithShape="1">
          <a:blip r:embed="rId4" cstate="print">
            <a:alphaModFix amt="70000"/>
            <a:extLst>
              <a:ext uri="{28A0092B-C50C-407E-A947-70E740481C1C}">
                <a14:useLocalDpi xmlns:a14="http://schemas.microsoft.com/office/drawing/2010/main" val="0"/>
              </a:ext>
            </a:extLst>
          </a:blip>
          <a:srcRect t="9664" b="10134"/>
          <a:stretch/>
        </p:blipFill>
        <p:spPr bwMode="auto">
          <a:xfrm>
            <a:off x="4447687" y="3534908"/>
            <a:ext cx="979075" cy="785044"/>
          </a:xfrm>
          <a:prstGeom prst="rect">
            <a:avLst/>
          </a:prstGeom>
          <a:blipFill dpi="0" rotWithShape="1">
            <a:blip r:embed="rId5">
              <a:alphaModFix amt="70000"/>
            </a:blip>
            <a:srcRect/>
            <a:stretch>
              <a:fillRect/>
            </a:stretch>
          </a:blipFill>
          <a:ln w="55000" cap="flat" cmpd="thickThin" algn="ctr">
            <a:noFill/>
            <a:prstDash val="solid"/>
            <a:headEnd type="none" w="med" len="med"/>
            <a:tailEnd type="none" w="med" len="med"/>
          </a:ln>
          <a:effectLst/>
          <a:extLs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49" name="Picture 11" descr="Cloud 512x512.png"/>
          <p:cNvPicPr>
            <a:picLocks noChangeAspect="1"/>
          </p:cNvPicPr>
          <p:nvPr/>
        </p:nvPicPr>
        <p:blipFill rotWithShape="1">
          <a:blip r:embed="rId4" cstate="print">
            <a:alphaModFix amt="40000"/>
            <a:extLst>
              <a:ext uri="{28A0092B-C50C-407E-A947-70E740481C1C}">
                <a14:useLocalDpi xmlns:a14="http://schemas.microsoft.com/office/drawing/2010/main" val="0"/>
              </a:ext>
            </a:extLst>
          </a:blip>
          <a:srcRect t="9664" b="10134"/>
          <a:stretch/>
        </p:blipFill>
        <p:spPr bwMode="auto">
          <a:xfrm>
            <a:off x="4196476" y="3808264"/>
            <a:ext cx="502420" cy="402851"/>
          </a:xfrm>
          <a:prstGeom prst="rect">
            <a:avLst/>
          </a:prstGeom>
          <a:blipFill dpi="0" rotWithShape="1">
            <a:blip r:embed="rId5">
              <a:alphaModFix amt="40000"/>
            </a:blip>
            <a:srcRect/>
            <a:stretch>
              <a:fillRect/>
            </a:stretch>
          </a:blipFill>
          <a:ln w="55000" cap="flat" cmpd="thickThin" algn="ctr">
            <a:noFill/>
            <a:prstDash val="solid"/>
            <a:headEnd type="none" w="med" len="med"/>
            <a:tailEnd type="none" w="med" len="med"/>
          </a:ln>
          <a:effectLst/>
          <a:extLs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50" name="Picture 11" descr="Cloud 512x512.png"/>
          <p:cNvPicPr>
            <a:picLocks noChangeAspect="1"/>
          </p:cNvPicPr>
          <p:nvPr/>
        </p:nvPicPr>
        <p:blipFill rotWithShape="1">
          <a:blip r:embed="rId4" cstate="print">
            <a:alphaModFix amt="70000"/>
            <a:extLst>
              <a:ext uri="{28A0092B-C50C-407E-A947-70E740481C1C}">
                <a14:useLocalDpi xmlns:a14="http://schemas.microsoft.com/office/drawing/2010/main" val="0"/>
              </a:ext>
            </a:extLst>
          </a:blip>
          <a:srcRect t="9664" b="10134"/>
          <a:stretch/>
        </p:blipFill>
        <p:spPr bwMode="auto">
          <a:xfrm>
            <a:off x="7450390" y="3608250"/>
            <a:ext cx="979075" cy="785044"/>
          </a:xfrm>
          <a:prstGeom prst="rect">
            <a:avLst/>
          </a:prstGeom>
          <a:blipFill dpi="0" rotWithShape="1">
            <a:blip r:embed="rId5">
              <a:alphaModFix amt="70000"/>
            </a:blip>
            <a:srcRect/>
            <a:stretch>
              <a:fillRect/>
            </a:stretch>
          </a:blipFill>
          <a:ln w="55000" cap="flat" cmpd="thickThin" algn="ctr">
            <a:noFill/>
            <a:prstDash val="solid"/>
            <a:headEnd type="none" w="med" len="med"/>
            <a:tailEnd type="none" w="med" len="med"/>
          </a:ln>
          <a:effectLst/>
          <a:extLs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52" name="Picture 11" descr="Cloud 512x512.png"/>
          <p:cNvPicPr>
            <a:picLocks noChangeAspect="1"/>
          </p:cNvPicPr>
          <p:nvPr/>
        </p:nvPicPr>
        <p:blipFill rotWithShape="1">
          <a:blip r:embed="rId4" cstate="print">
            <a:alphaModFix amt="40000"/>
            <a:extLst>
              <a:ext uri="{28A0092B-C50C-407E-A947-70E740481C1C}">
                <a14:useLocalDpi xmlns:a14="http://schemas.microsoft.com/office/drawing/2010/main" val="0"/>
              </a:ext>
            </a:extLst>
          </a:blip>
          <a:srcRect t="9664" b="10134"/>
          <a:stretch/>
        </p:blipFill>
        <p:spPr bwMode="auto">
          <a:xfrm>
            <a:off x="3950486" y="3709369"/>
            <a:ext cx="415223" cy="332936"/>
          </a:xfrm>
          <a:prstGeom prst="rect">
            <a:avLst/>
          </a:prstGeom>
          <a:blipFill dpi="0" rotWithShape="1">
            <a:blip r:embed="rId5">
              <a:alphaModFix amt="40000"/>
            </a:blip>
            <a:srcRect/>
            <a:stretch>
              <a:fillRect/>
            </a:stretch>
          </a:blipFill>
          <a:ln w="55000" cap="flat" cmpd="thickThin" algn="ctr">
            <a:noFill/>
            <a:prstDash val="solid"/>
            <a:headEnd type="none" w="med" len="med"/>
            <a:tailEnd type="none" w="med" len="med"/>
          </a:ln>
          <a:effectLst/>
          <a:extLs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53" name="Picture 11" descr="Cloud 512x512.png"/>
          <p:cNvPicPr>
            <a:picLocks noChangeAspect="1"/>
          </p:cNvPicPr>
          <p:nvPr/>
        </p:nvPicPr>
        <p:blipFill rotWithShape="1">
          <a:blip r:embed="rId4" cstate="print">
            <a:alphaModFix amt="25000"/>
            <a:extLst>
              <a:ext uri="{28A0092B-C50C-407E-A947-70E740481C1C}">
                <a14:useLocalDpi xmlns:a14="http://schemas.microsoft.com/office/drawing/2010/main" val="0"/>
              </a:ext>
            </a:extLst>
          </a:blip>
          <a:srcRect t="9664" b="10134"/>
          <a:stretch/>
        </p:blipFill>
        <p:spPr bwMode="auto">
          <a:xfrm>
            <a:off x="3783138" y="3862811"/>
            <a:ext cx="283602" cy="227399"/>
          </a:xfrm>
          <a:prstGeom prst="rect">
            <a:avLst/>
          </a:prstGeom>
          <a:blipFill dpi="0" rotWithShape="1">
            <a:blip r:embed="rId5">
              <a:alphaModFix amt="25000"/>
            </a:blip>
            <a:srcRect/>
            <a:stretch>
              <a:fillRect/>
            </a:stretch>
          </a:blipFill>
          <a:ln w="55000" cap="flat" cmpd="thickThin" algn="ctr">
            <a:noFill/>
            <a:prstDash val="solid"/>
            <a:headEnd type="none" w="med" len="med"/>
            <a:tailEnd type="none" w="med" len="med"/>
          </a:ln>
          <a:effectLst/>
          <a:extLs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54" name="Picture 11" descr="Cloud 512x512.png"/>
          <p:cNvPicPr>
            <a:picLocks noChangeAspect="1"/>
          </p:cNvPicPr>
          <p:nvPr/>
        </p:nvPicPr>
        <p:blipFill rotWithShape="1">
          <a:blip r:embed="rId4" cstate="print">
            <a:alphaModFix amt="5000"/>
            <a:extLst>
              <a:ext uri="{28A0092B-C50C-407E-A947-70E740481C1C}">
                <a14:useLocalDpi xmlns:a14="http://schemas.microsoft.com/office/drawing/2010/main" val="0"/>
              </a:ext>
            </a:extLst>
          </a:blip>
          <a:srcRect t="9664" b="10134"/>
          <a:stretch/>
        </p:blipFill>
        <p:spPr bwMode="auto">
          <a:xfrm>
            <a:off x="3630377" y="3874839"/>
            <a:ext cx="213074" cy="170848"/>
          </a:xfrm>
          <a:prstGeom prst="rect">
            <a:avLst/>
          </a:prstGeom>
          <a:blipFill dpi="0" rotWithShape="1">
            <a:blip r:embed="rId5">
              <a:alphaModFix amt="5000"/>
            </a:blip>
            <a:srcRect/>
            <a:stretch>
              <a:fillRect/>
            </a:stretch>
          </a:blipFill>
          <a:ln w="55000" cap="flat" cmpd="thickThin" algn="ctr">
            <a:noFill/>
            <a:prstDash val="solid"/>
            <a:headEnd type="none" w="med" len="med"/>
            <a:tailEnd type="none" w="med" len="med"/>
          </a:ln>
          <a:effectLst/>
          <a:extLs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43"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45"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6"/>
              </a:rPr>
              <a:t>www.rapidbbs.cn</a:t>
            </a:r>
            <a:endParaRPr lang="zh-CN" altLang="en-US" sz="1200" b="0">
              <a:latin typeface="Arial" charset="0"/>
              <a:ea typeface="ＭＳ Ｐゴシック" pitchFamily="34" charset="-128"/>
            </a:endParaRPr>
          </a:p>
        </p:txBody>
      </p:sp>
      <p:pic>
        <p:nvPicPr>
          <p:cNvPr id="46" name="Picture 2">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26413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decel="100000" fill="hold" grpId="0" nodeType="clickEffect">
                                  <p:stCondLst>
                                    <p:cond delay="0"/>
                                  </p:stCondLst>
                                  <p:childTnLst>
                                    <p:set>
                                      <p:cBhvr>
                                        <p:cTn id="11" dur="1" fill="hold">
                                          <p:stCondLst>
                                            <p:cond delay="0"/>
                                          </p:stCondLst>
                                        </p:cTn>
                                        <p:tgtEl>
                                          <p:spTgt spid="135"/>
                                        </p:tgtEl>
                                        <p:attrNameLst>
                                          <p:attrName>style.visibility</p:attrName>
                                        </p:attrNameLst>
                                      </p:cBhvr>
                                      <p:to>
                                        <p:strVal val="visible"/>
                                      </p:to>
                                    </p:set>
                                    <p:anim calcmode="lin" valueType="num">
                                      <p:cBhvr additive="base">
                                        <p:cTn id="12" dur="500" fill="hold"/>
                                        <p:tgtEl>
                                          <p:spTgt spid="135"/>
                                        </p:tgtEl>
                                        <p:attrNameLst>
                                          <p:attrName>ppt_x</p:attrName>
                                        </p:attrNameLst>
                                      </p:cBhvr>
                                      <p:tavLst>
                                        <p:tav tm="0">
                                          <p:val>
                                            <p:strVal val="#ppt_x"/>
                                          </p:val>
                                        </p:tav>
                                        <p:tav tm="100000">
                                          <p:val>
                                            <p:strVal val="#ppt_x"/>
                                          </p:val>
                                        </p:tav>
                                      </p:tavLst>
                                    </p:anim>
                                    <p:anim calcmode="lin" valueType="num">
                                      <p:cBhvr additive="base">
                                        <p:cTn id="13" dur="500" fill="hold"/>
                                        <p:tgtEl>
                                          <p:spTgt spid="135"/>
                                        </p:tgtEl>
                                        <p:attrNameLst>
                                          <p:attrName>ppt_y</p:attrName>
                                        </p:attrNameLst>
                                      </p:cBhvr>
                                      <p:tavLst>
                                        <p:tav tm="0">
                                          <p:val>
                                            <p:strVal val="1+#ppt_h/2"/>
                                          </p:val>
                                        </p:tav>
                                        <p:tav tm="100000">
                                          <p:val>
                                            <p:strVal val="#ppt_y"/>
                                          </p:val>
                                        </p:tav>
                                      </p:tavLst>
                                    </p:anim>
                                  </p:childTnLst>
                                </p:cTn>
                              </p:par>
                              <p:par>
                                <p:cTn id="14" presetID="2" presetClass="entr" presetSubtype="4" decel="100000" fill="hold" grpId="0" nodeType="withEffect">
                                  <p:stCondLst>
                                    <p:cond delay="130"/>
                                  </p:stCondLst>
                                  <p:childTnLst>
                                    <p:set>
                                      <p:cBhvr>
                                        <p:cTn id="15" dur="1" fill="hold">
                                          <p:stCondLst>
                                            <p:cond delay="0"/>
                                          </p:stCondLst>
                                        </p:cTn>
                                        <p:tgtEl>
                                          <p:spTgt spid="134"/>
                                        </p:tgtEl>
                                        <p:attrNameLst>
                                          <p:attrName>style.visibility</p:attrName>
                                        </p:attrNameLst>
                                      </p:cBhvr>
                                      <p:to>
                                        <p:strVal val="visible"/>
                                      </p:to>
                                    </p:set>
                                    <p:anim calcmode="lin" valueType="num">
                                      <p:cBhvr additive="base">
                                        <p:cTn id="16" dur="500" fill="hold"/>
                                        <p:tgtEl>
                                          <p:spTgt spid="134"/>
                                        </p:tgtEl>
                                        <p:attrNameLst>
                                          <p:attrName>ppt_x</p:attrName>
                                        </p:attrNameLst>
                                      </p:cBhvr>
                                      <p:tavLst>
                                        <p:tav tm="0">
                                          <p:val>
                                            <p:strVal val="#ppt_x"/>
                                          </p:val>
                                        </p:tav>
                                        <p:tav tm="100000">
                                          <p:val>
                                            <p:strVal val="#ppt_x"/>
                                          </p:val>
                                        </p:tav>
                                      </p:tavLst>
                                    </p:anim>
                                    <p:anim calcmode="lin" valueType="num">
                                      <p:cBhvr additive="base">
                                        <p:cTn id="17" dur="500" fill="hold"/>
                                        <p:tgtEl>
                                          <p:spTgt spid="134"/>
                                        </p:tgtEl>
                                        <p:attrNameLst>
                                          <p:attrName>ppt_y</p:attrName>
                                        </p:attrNameLst>
                                      </p:cBhvr>
                                      <p:tavLst>
                                        <p:tav tm="0">
                                          <p:val>
                                            <p:strVal val="1+#ppt_h/2"/>
                                          </p:val>
                                        </p:tav>
                                        <p:tav tm="100000">
                                          <p:val>
                                            <p:strVal val="#ppt_y"/>
                                          </p:val>
                                        </p:tav>
                                      </p:tavLst>
                                    </p:anim>
                                  </p:childTnLst>
                                </p:cTn>
                              </p:par>
                              <p:par>
                                <p:cTn id="18" presetID="2" presetClass="entr" presetSubtype="4" decel="100000" fill="hold" grpId="0" nodeType="withEffect">
                                  <p:stCondLst>
                                    <p:cond delay="250"/>
                                  </p:stCondLst>
                                  <p:childTnLst>
                                    <p:set>
                                      <p:cBhvr>
                                        <p:cTn id="19" dur="1" fill="hold">
                                          <p:stCondLst>
                                            <p:cond delay="0"/>
                                          </p:stCondLst>
                                        </p:cTn>
                                        <p:tgtEl>
                                          <p:spTgt spid="132"/>
                                        </p:tgtEl>
                                        <p:attrNameLst>
                                          <p:attrName>style.visibility</p:attrName>
                                        </p:attrNameLst>
                                      </p:cBhvr>
                                      <p:to>
                                        <p:strVal val="visible"/>
                                      </p:to>
                                    </p:set>
                                    <p:anim calcmode="lin" valueType="num">
                                      <p:cBhvr additive="base">
                                        <p:cTn id="20" dur="500" fill="hold"/>
                                        <p:tgtEl>
                                          <p:spTgt spid="132"/>
                                        </p:tgtEl>
                                        <p:attrNameLst>
                                          <p:attrName>ppt_x</p:attrName>
                                        </p:attrNameLst>
                                      </p:cBhvr>
                                      <p:tavLst>
                                        <p:tav tm="0">
                                          <p:val>
                                            <p:strVal val="#ppt_x"/>
                                          </p:val>
                                        </p:tav>
                                        <p:tav tm="100000">
                                          <p:val>
                                            <p:strVal val="#ppt_x"/>
                                          </p:val>
                                        </p:tav>
                                      </p:tavLst>
                                    </p:anim>
                                    <p:anim calcmode="lin" valueType="num">
                                      <p:cBhvr additive="base">
                                        <p:cTn id="21" dur="500" fill="hold"/>
                                        <p:tgtEl>
                                          <p:spTgt spid="132"/>
                                        </p:tgtEl>
                                        <p:attrNameLst>
                                          <p:attrName>ppt_y</p:attrName>
                                        </p:attrNameLst>
                                      </p:cBhvr>
                                      <p:tavLst>
                                        <p:tav tm="0">
                                          <p:val>
                                            <p:strVal val="1+#ppt_h/2"/>
                                          </p:val>
                                        </p:tav>
                                        <p:tav tm="100000">
                                          <p:val>
                                            <p:strVal val="#ppt_y"/>
                                          </p:val>
                                        </p:tav>
                                      </p:tavLst>
                                    </p:anim>
                                  </p:childTnLst>
                                </p:cTn>
                              </p:par>
                              <p:par>
                                <p:cTn id="22" presetID="2" presetClass="entr" presetSubtype="4" decel="100000" fill="hold" grpId="0" nodeType="withEffect">
                                  <p:stCondLst>
                                    <p:cond delay="380"/>
                                  </p:stCondLst>
                                  <p:childTnLst>
                                    <p:set>
                                      <p:cBhvr>
                                        <p:cTn id="23" dur="1" fill="hold">
                                          <p:stCondLst>
                                            <p:cond delay="0"/>
                                          </p:stCondLst>
                                        </p:cTn>
                                        <p:tgtEl>
                                          <p:spTgt spid="131"/>
                                        </p:tgtEl>
                                        <p:attrNameLst>
                                          <p:attrName>style.visibility</p:attrName>
                                        </p:attrNameLst>
                                      </p:cBhvr>
                                      <p:to>
                                        <p:strVal val="visible"/>
                                      </p:to>
                                    </p:set>
                                    <p:anim calcmode="lin" valueType="num">
                                      <p:cBhvr additive="base">
                                        <p:cTn id="24" dur="500" fill="hold"/>
                                        <p:tgtEl>
                                          <p:spTgt spid="131"/>
                                        </p:tgtEl>
                                        <p:attrNameLst>
                                          <p:attrName>ppt_x</p:attrName>
                                        </p:attrNameLst>
                                      </p:cBhvr>
                                      <p:tavLst>
                                        <p:tav tm="0">
                                          <p:val>
                                            <p:strVal val="#ppt_x"/>
                                          </p:val>
                                        </p:tav>
                                        <p:tav tm="100000">
                                          <p:val>
                                            <p:strVal val="#ppt_x"/>
                                          </p:val>
                                        </p:tav>
                                      </p:tavLst>
                                    </p:anim>
                                    <p:anim calcmode="lin" valueType="num">
                                      <p:cBhvr additive="base">
                                        <p:cTn id="25" dur="500" fill="hold"/>
                                        <p:tgtEl>
                                          <p:spTgt spid="131"/>
                                        </p:tgtEl>
                                        <p:attrNameLst>
                                          <p:attrName>ppt_y</p:attrName>
                                        </p:attrNameLst>
                                      </p:cBhvr>
                                      <p:tavLst>
                                        <p:tav tm="0">
                                          <p:val>
                                            <p:strVal val="1+#ppt_h/2"/>
                                          </p:val>
                                        </p:tav>
                                        <p:tav tm="100000">
                                          <p:val>
                                            <p:strVal val="#ppt_y"/>
                                          </p:val>
                                        </p:tav>
                                      </p:tavLst>
                                    </p:anim>
                                  </p:childTnLst>
                                </p:cTn>
                              </p:par>
                              <p:par>
                                <p:cTn id="26" presetID="2" presetClass="entr" presetSubtype="4" decel="100000" fill="hold" grpId="0" nodeType="withEffect">
                                  <p:stCondLst>
                                    <p:cond delay="500"/>
                                  </p:stCondLst>
                                  <p:childTnLst>
                                    <p:set>
                                      <p:cBhvr>
                                        <p:cTn id="27" dur="1" fill="hold">
                                          <p:stCondLst>
                                            <p:cond delay="0"/>
                                          </p:stCondLst>
                                        </p:cTn>
                                        <p:tgtEl>
                                          <p:spTgt spid="136"/>
                                        </p:tgtEl>
                                        <p:attrNameLst>
                                          <p:attrName>style.visibility</p:attrName>
                                        </p:attrNameLst>
                                      </p:cBhvr>
                                      <p:to>
                                        <p:strVal val="visible"/>
                                      </p:to>
                                    </p:set>
                                    <p:anim calcmode="lin" valueType="num">
                                      <p:cBhvr additive="base">
                                        <p:cTn id="28" dur="500" fill="hold"/>
                                        <p:tgtEl>
                                          <p:spTgt spid="136"/>
                                        </p:tgtEl>
                                        <p:attrNameLst>
                                          <p:attrName>ppt_x</p:attrName>
                                        </p:attrNameLst>
                                      </p:cBhvr>
                                      <p:tavLst>
                                        <p:tav tm="0">
                                          <p:val>
                                            <p:strVal val="#ppt_x"/>
                                          </p:val>
                                        </p:tav>
                                        <p:tav tm="100000">
                                          <p:val>
                                            <p:strVal val="#ppt_x"/>
                                          </p:val>
                                        </p:tav>
                                      </p:tavLst>
                                    </p:anim>
                                    <p:anim calcmode="lin" valueType="num">
                                      <p:cBhvr additive="base">
                                        <p:cTn id="29" dur="500" fill="hold"/>
                                        <p:tgtEl>
                                          <p:spTgt spid="136"/>
                                        </p:tgtEl>
                                        <p:attrNameLst>
                                          <p:attrName>ppt_y</p:attrName>
                                        </p:attrNameLst>
                                      </p:cBhvr>
                                      <p:tavLst>
                                        <p:tav tm="0">
                                          <p:val>
                                            <p:strVal val="1+#ppt_h/2"/>
                                          </p:val>
                                        </p:tav>
                                        <p:tav tm="100000">
                                          <p:val>
                                            <p:strVal val="#ppt_y"/>
                                          </p:val>
                                        </p:tav>
                                      </p:tavLst>
                                    </p:anim>
                                  </p:childTnLst>
                                </p:cTn>
                              </p:par>
                              <p:par>
                                <p:cTn id="30" presetID="2" presetClass="entr" presetSubtype="4" decel="100000" fill="hold" grpId="0" nodeType="withEffect">
                                  <p:stCondLst>
                                    <p:cond delay="630"/>
                                  </p:stCondLst>
                                  <p:childTnLst>
                                    <p:set>
                                      <p:cBhvr>
                                        <p:cTn id="31" dur="1" fill="hold">
                                          <p:stCondLst>
                                            <p:cond delay="0"/>
                                          </p:stCondLst>
                                        </p:cTn>
                                        <p:tgtEl>
                                          <p:spTgt spid="133"/>
                                        </p:tgtEl>
                                        <p:attrNameLst>
                                          <p:attrName>style.visibility</p:attrName>
                                        </p:attrNameLst>
                                      </p:cBhvr>
                                      <p:to>
                                        <p:strVal val="visible"/>
                                      </p:to>
                                    </p:set>
                                    <p:anim calcmode="lin" valueType="num">
                                      <p:cBhvr additive="base">
                                        <p:cTn id="32" dur="500" fill="hold"/>
                                        <p:tgtEl>
                                          <p:spTgt spid="133"/>
                                        </p:tgtEl>
                                        <p:attrNameLst>
                                          <p:attrName>ppt_x</p:attrName>
                                        </p:attrNameLst>
                                      </p:cBhvr>
                                      <p:tavLst>
                                        <p:tav tm="0">
                                          <p:val>
                                            <p:strVal val="#ppt_x"/>
                                          </p:val>
                                        </p:tav>
                                        <p:tav tm="100000">
                                          <p:val>
                                            <p:strVal val="#ppt_x"/>
                                          </p:val>
                                        </p:tav>
                                      </p:tavLst>
                                    </p:anim>
                                    <p:anim calcmode="lin" valueType="num">
                                      <p:cBhvr additive="base">
                                        <p:cTn id="33" dur="500" fill="hold"/>
                                        <p:tgtEl>
                                          <p:spTgt spid="133"/>
                                        </p:tgtEl>
                                        <p:attrNameLst>
                                          <p:attrName>ppt_y</p:attrName>
                                        </p:attrNameLst>
                                      </p:cBhvr>
                                      <p:tavLst>
                                        <p:tav tm="0">
                                          <p:val>
                                            <p:strVal val="1+#ppt_h/2"/>
                                          </p:val>
                                        </p:tav>
                                        <p:tav tm="100000">
                                          <p:val>
                                            <p:strVal val="#ppt_y"/>
                                          </p:val>
                                        </p:tav>
                                      </p:tavLst>
                                    </p:anim>
                                  </p:childTnLst>
                                </p:cTn>
                              </p:par>
                              <p:par>
                                <p:cTn id="34" presetID="2" presetClass="entr" presetSubtype="4" decel="100000" fill="hold" grpId="0" nodeType="withEffect">
                                  <p:stCondLst>
                                    <p:cond delay="750"/>
                                  </p:stCondLst>
                                  <p:childTnLst>
                                    <p:set>
                                      <p:cBhvr>
                                        <p:cTn id="35" dur="1" fill="hold">
                                          <p:stCondLst>
                                            <p:cond delay="0"/>
                                          </p:stCondLst>
                                        </p:cTn>
                                        <p:tgtEl>
                                          <p:spTgt spid="129"/>
                                        </p:tgtEl>
                                        <p:attrNameLst>
                                          <p:attrName>style.visibility</p:attrName>
                                        </p:attrNameLst>
                                      </p:cBhvr>
                                      <p:to>
                                        <p:strVal val="visible"/>
                                      </p:to>
                                    </p:set>
                                    <p:anim calcmode="lin" valueType="num">
                                      <p:cBhvr additive="base">
                                        <p:cTn id="36" dur="500" fill="hold"/>
                                        <p:tgtEl>
                                          <p:spTgt spid="129"/>
                                        </p:tgtEl>
                                        <p:attrNameLst>
                                          <p:attrName>ppt_x</p:attrName>
                                        </p:attrNameLst>
                                      </p:cBhvr>
                                      <p:tavLst>
                                        <p:tav tm="0">
                                          <p:val>
                                            <p:strVal val="#ppt_x"/>
                                          </p:val>
                                        </p:tav>
                                        <p:tav tm="100000">
                                          <p:val>
                                            <p:strVal val="#ppt_x"/>
                                          </p:val>
                                        </p:tav>
                                      </p:tavLst>
                                    </p:anim>
                                    <p:anim calcmode="lin" valueType="num">
                                      <p:cBhvr additive="base">
                                        <p:cTn id="37" dur="500" fill="hold"/>
                                        <p:tgtEl>
                                          <p:spTgt spid="129"/>
                                        </p:tgtEl>
                                        <p:attrNameLst>
                                          <p:attrName>ppt_y</p:attrName>
                                        </p:attrNameLst>
                                      </p:cBhvr>
                                      <p:tavLst>
                                        <p:tav tm="0">
                                          <p:val>
                                            <p:strVal val="1+#ppt_h/2"/>
                                          </p:val>
                                        </p:tav>
                                        <p:tav tm="100000">
                                          <p:val>
                                            <p:strVal val="#ppt_y"/>
                                          </p:val>
                                        </p:tav>
                                      </p:tavLst>
                                    </p:anim>
                                  </p:childTnLst>
                                </p:cTn>
                              </p:par>
                              <p:par>
                                <p:cTn id="38" presetID="2" presetClass="entr" presetSubtype="4" decel="100000" fill="hold" grpId="0" nodeType="withEffect">
                                  <p:stCondLst>
                                    <p:cond delay="880"/>
                                  </p:stCondLst>
                                  <p:childTnLst>
                                    <p:set>
                                      <p:cBhvr>
                                        <p:cTn id="39" dur="1" fill="hold">
                                          <p:stCondLst>
                                            <p:cond delay="0"/>
                                          </p:stCondLst>
                                        </p:cTn>
                                        <p:tgtEl>
                                          <p:spTgt spid="128"/>
                                        </p:tgtEl>
                                        <p:attrNameLst>
                                          <p:attrName>style.visibility</p:attrName>
                                        </p:attrNameLst>
                                      </p:cBhvr>
                                      <p:to>
                                        <p:strVal val="visible"/>
                                      </p:to>
                                    </p:set>
                                    <p:anim calcmode="lin" valueType="num">
                                      <p:cBhvr additive="base">
                                        <p:cTn id="40" dur="500" fill="hold"/>
                                        <p:tgtEl>
                                          <p:spTgt spid="128"/>
                                        </p:tgtEl>
                                        <p:attrNameLst>
                                          <p:attrName>ppt_x</p:attrName>
                                        </p:attrNameLst>
                                      </p:cBhvr>
                                      <p:tavLst>
                                        <p:tav tm="0">
                                          <p:val>
                                            <p:strVal val="#ppt_x"/>
                                          </p:val>
                                        </p:tav>
                                        <p:tav tm="100000">
                                          <p:val>
                                            <p:strVal val="#ppt_x"/>
                                          </p:val>
                                        </p:tav>
                                      </p:tavLst>
                                    </p:anim>
                                    <p:anim calcmode="lin" valueType="num">
                                      <p:cBhvr additive="base">
                                        <p:cTn id="41" dur="500" fill="hold"/>
                                        <p:tgtEl>
                                          <p:spTgt spid="128"/>
                                        </p:tgtEl>
                                        <p:attrNameLst>
                                          <p:attrName>ppt_y</p:attrName>
                                        </p:attrNameLst>
                                      </p:cBhvr>
                                      <p:tavLst>
                                        <p:tav tm="0">
                                          <p:val>
                                            <p:strVal val="1+#ppt_h/2"/>
                                          </p:val>
                                        </p:tav>
                                        <p:tav tm="100000">
                                          <p:val>
                                            <p:strVal val="#ppt_y"/>
                                          </p:val>
                                        </p:tav>
                                      </p:tavLst>
                                    </p:anim>
                                  </p:childTnLst>
                                </p:cTn>
                              </p:par>
                              <p:par>
                                <p:cTn id="42" presetID="2" presetClass="entr" presetSubtype="4" decel="100000" fill="hold" grpId="0" nodeType="withEffect">
                                  <p:stCondLst>
                                    <p:cond delay="1000"/>
                                  </p:stCondLst>
                                  <p:childTnLst>
                                    <p:set>
                                      <p:cBhvr>
                                        <p:cTn id="43" dur="1" fill="hold">
                                          <p:stCondLst>
                                            <p:cond delay="0"/>
                                          </p:stCondLst>
                                        </p:cTn>
                                        <p:tgtEl>
                                          <p:spTgt spid="130"/>
                                        </p:tgtEl>
                                        <p:attrNameLst>
                                          <p:attrName>style.visibility</p:attrName>
                                        </p:attrNameLst>
                                      </p:cBhvr>
                                      <p:to>
                                        <p:strVal val="visible"/>
                                      </p:to>
                                    </p:set>
                                    <p:anim calcmode="lin" valueType="num">
                                      <p:cBhvr additive="base">
                                        <p:cTn id="44" dur="500" fill="hold"/>
                                        <p:tgtEl>
                                          <p:spTgt spid="130"/>
                                        </p:tgtEl>
                                        <p:attrNameLst>
                                          <p:attrName>ppt_x</p:attrName>
                                        </p:attrNameLst>
                                      </p:cBhvr>
                                      <p:tavLst>
                                        <p:tav tm="0">
                                          <p:val>
                                            <p:strVal val="#ppt_x"/>
                                          </p:val>
                                        </p:tav>
                                        <p:tav tm="100000">
                                          <p:val>
                                            <p:strVal val="#ppt_x"/>
                                          </p:val>
                                        </p:tav>
                                      </p:tavLst>
                                    </p:anim>
                                    <p:anim calcmode="lin" valueType="num">
                                      <p:cBhvr additive="base">
                                        <p:cTn id="45" dur="500" fill="hold"/>
                                        <p:tgtEl>
                                          <p:spTgt spid="130"/>
                                        </p:tgtEl>
                                        <p:attrNameLst>
                                          <p:attrName>ppt_y</p:attrName>
                                        </p:attrNameLst>
                                      </p:cBhvr>
                                      <p:tavLst>
                                        <p:tav tm="0">
                                          <p:val>
                                            <p:strVal val="1+#ppt_h/2"/>
                                          </p:val>
                                        </p:tav>
                                        <p:tav tm="100000">
                                          <p:val>
                                            <p:strVal val="#ppt_y"/>
                                          </p:val>
                                        </p:tav>
                                      </p:tavLst>
                                    </p:anim>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44"/>
                                        </p:tgtEl>
                                        <p:attrNameLst>
                                          <p:attrName>style.visibility</p:attrName>
                                        </p:attrNameLst>
                                      </p:cBhvr>
                                      <p:to>
                                        <p:strVal val="visible"/>
                                      </p:to>
                                    </p:set>
                                    <p:animEffect transition="in" filter="fade">
                                      <p:cBhvr>
                                        <p:cTn id="50" dur="500"/>
                                        <p:tgtEl>
                                          <p:spTgt spid="44"/>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38"/>
                                        </p:tgtEl>
                                        <p:attrNameLst>
                                          <p:attrName>style.visibility</p:attrName>
                                        </p:attrNameLst>
                                      </p:cBhvr>
                                      <p:to>
                                        <p:strVal val="visible"/>
                                      </p:to>
                                    </p:set>
                                    <p:animEffect transition="in" filter="fade">
                                      <p:cBhvr>
                                        <p:cTn id="55" dur="500"/>
                                        <p:tgtEl>
                                          <p:spTgt spid="138"/>
                                        </p:tgtEl>
                                      </p:cBhvr>
                                    </p:animEffect>
                                  </p:childTnLst>
                                </p:cTn>
                              </p:par>
                              <p:par>
                                <p:cTn id="56" presetID="2" presetClass="entr" presetSubtype="4" decel="100000" fill="hold" grpId="0" nodeType="withEffect">
                                  <p:stCondLst>
                                    <p:cond delay="130"/>
                                  </p:stCondLst>
                                  <p:childTnLst>
                                    <p:set>
                                      <p:cBhvr>
                                        <p:cTn id="57" dur="1" fill="hold">
                                          <p:stCondLst>
                                            <p:cond delay="0"/>
                                          </p:stCondLst>
                                        </p:cTn>
                                        <p:tgtEl>
                                          <p:spTgt spid="151"/>
                                        </p:tgtEl>
                                        <p:attrNameLst>
                                          <p:attrName>style.visibility</p:attrName>
                                        </p:attrNameLst>
                                      </p:cBhvr>
                                      <p:to>
                                        <p:strVal val="visible"/>
                                      </p:to>
                                    </p:set>
                                    <p:anim calcmode="lin" valueType="num">
                                      <p:cBhvr additive="base">
                                        <p:cTn id="58" dur="500" fill="hold"/>
                                        <p:tgtEl>
                                          <p:spTgt spid="151"/>
                                        </p:tgtEl>
                                        <p:attrNameLst>
                                          <p:attrName>ppt_x</p:attrName>
                                        </p:attrNameLst>
                                      </p:cBhvr>
                                      <p:tavLst>
                                        <p:tav tm="0">
                                          <p:val>
                                            <p:strVal val="#ppt_x"/>
                                          </p:val>
                                        </p:tav>
                                        <p:tav tm="100000">
                                          <p:val>
                                            <p:strVal val="#ppt_x"/>
                                          </p:val>
                                        </p:tav>
                                      </p:tavLst>
                                    </p:anim>
                                    <p:anim calcmode="lin" valueType="num">
                                      <p:cBhvr additive="base">
                                        <p:cTn id="59" dur="500" fill="hold"/>
                                        <p:tgtEl>
                                          <p:spTgt spid="151"/>
                                        </p:tgtEl>
                                        <p:attrNameLst>
                                          <p:attrName>ppt_y</p:attrName>
                                        </p:attrNameLst>
                                      </p:cBhvr>
                                      <p:tavLst>
                                        <p:tav tm="0">
                                          <p:val>
                                            <p:strVal val="1+#ppt_h/2"/>
                                          </p:val>
                                        </p:tav>
                                        <p:tav tm="100000">
                                          <p:val>
                                            <p:strVal val="#ppt_y"/>
                                          </p:val>
                                        </p:tav>
                                      </p:tavLst>
                                    </p:anim>
                                  </p:childTnLst>
                                </p:cTn>
                              </p:par>
                              <p:par>
                                <p:cTn id="60" presetID="2" presetClass="entr" presetSubtype="4" decel="100000" fill="hold" grpId="0" nodeType="withEffect">
                                  <p:stCondLst>
                                    <p:cond delay="250"/>
                                  </p:stCondLst>
                                  <p:childTnLst>
                                    <p:set>
                                      <p:cBhvr>
                                        <p:cTn id="61" dur="1" fill="hold">
                                          <p:stCondLst>
                                            <p:cond delay="0"/>
                                          </p:stCondLst>
                                        </p:cTn>
                                        <p:tgtEl>
                                          <p:spTgt spid="150"/>
                                        </p:tgtEl>
                                        <p:attrNameLst>
                                          <p:attrName>style.visibility</p:attrName>
                                        </p:attrNameLst>
                                      </p:cBhvr>
                                      <p:to>
                                        <p:strVal val="visible"/>
                                      </p:to>
                                    </p:set>
                                    <p:anim calcmode="lin" valueType="num">
                                      <p:cBhvr additive="base">
                                        <p:cTn id="62" dur="500" fill="hold"/>
                                        <p:tgtEl>
                                          <p:spTgt spid="150"/>
                                        </p:tgtEl>
                                        <p:attrNameLst>
                                          <p:attrName>ppt_x</p:attrName>
                                        </p:attrNameLst>
                                      </p:cBhvr>
                                      <p:tavLst>
                                        <p:tav tm="0">
                                          <p:val>
                                            <p:strVal val="#ppt_x"/>
                                          </p:val>
                                        </p:tav>
                                        <p:tav tm="100000">
                                          <p:val>
                                            <p:strVal val="#ppt_x"/>
                                          </p:val>
                                        </p:tav>
                                      </p:tavLst>
                                    </p:anim>
                                    <p:anim calcmode="lin" valueType="num">
                                      <p:cBhvr additive="base">
                                        <p:cTn id="63" dur="500" fill="hold"/>
                                        <p:tgtEl>
                                          <p:spTgt spid="150"/>
                                        </p:tgtEl>
                                        <p:attrNameLst>
                                          <p:attrName>ppt_y</p:attrName>
                                        </p:attrNameLst>
                                      </p:cBhvr>
                                      <p:tavLst>
                                        <p:tav tm="0">
                                          <p:val>
                                            <p:strVal val="1+#ppt_h/2"/>
                                          </p:val>
                                        </p:tav>
                                        <p:tav tm="100000">
                                          <p:val>
                                            <p:strVal val="#ppt_y"/>
                                          </p:val>
                                        </p:tav>
                                      </p:tavLst>
                                    </p:anim>
                                  </p:childTnLst>
                                </p:cTn>
                              </p:par>
                              <p:par>
                                <p:cTn id="64" presetID="2" presetClass="entr" presetSubtype="4" decel="100000" fill="hold" grpId="0" nodeType="withEffect">
                                  <p:stCondLst>
                                    <p:cond delay="380"/>
                                  </p:stCondLst>
                                  <p:childTnLst>
                                    <p:set>
                                      <p:cBhvr>
                                        <p:cTn id="65" dur="1" fill="hold">
                                          <p:stCondLst>
                                            <p:cond delay="0"/>
                                          </p:stCondLst>
                                        </p:cTn>
                                        <p:tgtEl>
                                          <p:spTgt spid="148"/>
                                        </p:tgtEl>
                                        <p:attrNameLst>
                                          <p:attrName>style.visibility</p:attrName>
                                        </p:attrNameLst>
                                      </p:cBhvr>
                                      <p:to>
                                        <p:strVal val="visible"/>
                                      </p:to>
                                    </p:set>
                                    <p:anim calcmode="lin" valueType="num">
                                      <p:cBhvr additive="base">
                                        <p:cTn id="66" dur="500" fill="hold"/>
                                        <p:tgtEl>
                                          <p:spTgt spid="148"/>
                                        </p:tgtEl>
                                        <p:attrNameLst>
                                          <p:attrName>ppt_x</p:attrName>
                                        </p:attrNameLst>
                                      </p:cBhvr>
                                      <p:tavLst>
                                        <p:tav tm="0">
                                          <p:val>
                                            <p:strVal val="#ppt_x"/>
                                          </p:val>
                                        </p:tav>
                                        <p:tav tm="100000">
                                          <p:val>
                                            <p:strVal val="#ppt_x"/>
                                          </p:val>
                                        </p:tav>
                                      </p:tavLst>
                                    </p:anim>
                                    <p:anim calcmode="lin" valueType="num">
                                      <p:cBhvr additive="base">
                                        <p:cTn id="67" dur="500" fill="hold"/>
                                        <p:tgtEl>
                                          <p:spTgt spid="148"/>
                                        </p:tgtEl>
                                        <p:attrNameLst>
                                          <p:attrName>ppt_y</p:attrName>
                                        </p:attrNameLst>
                                      </p:cBhvr>
                                      <p:tavLst>
                                        <p:tav tm="0">
                                          <p:val>
                                            <p:strVal val="1+#ppt_h/2"/>
                                          </p:val>
                                        </p:tav>
                                        <p:tav tm="100000">
                                          <p:val>
                                            <p:strVal val="#ppt_y"/>
                                          </p:val>
                                        </p:tav>
                                      </p:tavLst>
                                    </p:anim>
                                  </p:childTnLst>
                                </p:cTn>
                              </p:par>
                              <p:par>
                                <p:cTn id="68" presetID="2" presetClass="entr" presetSubtype="4" decel="100000" fill="hold" grpId="0" nodeType="withEffect">
                                  <p:stCondLst>
                                    <p:cond delay="500"/>
                                  </p:stCondLst>
                                  <p:childTnLst>
                                    <p:set>
                                      <p:cBhvr>
                                        <p:cTn id="69" dur="1" fill="hold">
                                          <p:stCondLst>
                                            <p:cond delay="0"/>
                                          </p:stCondLst>
                                        </p:cTn>
                                        <p:tgtEl>
                                          <p:spTgt spid="147"/>
                                        </p:tgtEl>
                                        <p:attrNameLst>
                                          <p:attrName>style.visibility</p:attrName>
                                        </p:attrNameLst>
                                      </p:cBhvr>
                                      <p:to>
                                        <p:strVal val="visible"/>
                                      </p:to>
                                    </p:set>
                                    <p:anim calcmode="lin" valueType="num">
                                      <p:cBhvr additive="base">
                                        <p:cTn id="70" dur="500" fill="hold"/>
                                        <p:tgtEl>
                                          <p:spTgt spid="147"/>
                                        </p:tgtEl>
                                        <p:attrNameLst>
                                          <p:attrName>ppt_x</p:attrName>
                                        </p:attrNameLst>
                                      </p:cBhvr>
                                      <p:tavLst>
                                        <p:tav tm="0">
                                          <p:val>
                                            <p:strVal val="#ppt_x"/>
                                          </p:val>
                                        </p:tav>
                                        <p:tav tm="100000">
                                          <p:val>
                                            <p:strVal val="#ppt_x"/>
                                          </p:val>
                                        </p:tav>
                                      </p:tavLst>
                                    </p:anim>
                                    <p:anim calcmode="lin" valueType="num">
                                      <p:cBhvr additive="base">
                                        <p:cTn id="71" dur="500" fill="hold"/>
                                        <p:tgtEl>
                                          <p:spTgt spid="147"/>
                                        </p:tgtEl>
                                        <p:attrNameLst>
                                          <p:attrName>ppt_y</p:attrName>
                                        </p:attrNameLst>
                                      </p:cBhvr>
                                      <p:tavLst>
                                        <p:tav tm="0">
                                          <p:val>
                                            <p:strVal val="1+#ppt_h/2"/>
                                          </p:val>
                                        </p:tav>
                                        <p:tav tm="100000">
                                          <p:val>
                                            <p:strVal val="#ppt_y"/>
                                          </p:val>
                                        </p:tav>
                                      </p:tavLst>
                                    </p:anim>
                                  </p:childTnLst>
                                </p:cTn>
                              </p:par>
                              <p:par>
                                <p:cTn id="72" presetID="2" presetClass="entr" presetSubtype="4" decel="100000" fill="hold" grpId="0" nodeType="withEffect">
                                  <p:stCondLst>
                                    <p:cond delay="630"/>
                                  </p:stCondLst>
                                  <p:childTnLst>
                                    <p:set>
                                      <p:cBhvr>
                                        <p:cTn id="73" dur="1" fill="hold">
                                          <p:stCondLst>
                                            <p:cond delay="0"/>
                                          </p:stCondLst>
                                        </p:cTn>
                                        <p:tgtEl>
                                          <p:spTgt spid="152"/>
                                        </p:tgtEl>
                                        <p:attrNameLst>
                                          <p:attrName>style.visibility</p:attrName>
                                        </p:attrNameLst>
                                      </p:cBhvr>
                                      <p:to>
                                        <p:strVal val="visible"/>
                                      </p:to>
                                    </p:set>
                                    <p:anim calcmode="lin" valueType="num">
                                      <p:cBhvr additive="base">
                                        <p:cTn id="74" dur="500" fill="hold"/>
                                        <p:tgtEl>
                                          <p:spTgt spid="152"/>
                                        </p:tgtEl>
                                        <p:attrNameLst>
                                          <p:attrName>ppt_x</p:attrName>
                                        </p:attrNameLst>
                                      </p:cBhvr>
                                      <p:tavLst>
                                        <p:tav tm="0">
                                          <p:val>
                                            <p:strVal val="#ppt_x"/>
                                          </p:val>
                                        </p:tav>
                                        <p:tav tm="100000">
                                          <p:val>
                                            <p:strVal val="#ppt_x"/>
                                          </p:val>
                                        </p:tav>
                                      </p:tavLst>
                                    </p:anim>
                                    <p:anim calcmode="lin" valueType="num">
                                      <p:cBhvr additive="base">
                                        <p:cTn id="75" dur="500" fill="hold"/>
                                        <p:tgtEl>
                                          <p:spTgt spid="152"/>
                                        </p:tgtEl>
                                        <p:attrNameLst>
                                          <p:attrName>ppt_y</p:attrName>
                                        </p:attrNameLst>
                                      </p:cBhvr>
                                      <p:tavLst>
                                        <p:tav tm="0">
                                          <p:val>
                                            <p:strVal val="1+#ppt_h/2"/>
                                          </p:val>
                                        </p:tav>
                                        <p:tav tm="100000">
                                          <p:val>
                                            <p:strVal val="#ppt_y"/>
                                          </p:val>
                                        </p:tav>
                                      </p:tavLst>
                                    </p:anim>
                                  </p:childTnLst>
                                </p:cTn>
                              </p:par>
                              <p:par>
                                <p:cTn id="76" presetID="2" presetClass="entr" presetSubtype="4" decel="100000" fill="hold" grpId="0" nodeType="withEffect">
                                  <p:stCondLst>
                                    <p:cond delay="750"/>
                                  </p:stCondLst>
                                  <p:childTnLst>
                                    <p:set>
                                      <p:cBhvr>
                                        <p:cTn id="77" dur="1" fill="hold">
                                          <p:stCondLst>
                                            <p:cond delay="0"/>
                                          </p:stCondLst>
                                        </p:cTn>
                                        <p:tgtEl>
                                          <p:spTgt spid="149"/>
                                        </p:tgtEl>
                                        <p:attrNameLst>
                                          <p:attrName>style.visibility</p:attrName>
                                        </p:attrNameLst>
                                      </p:cBhvr>
                                      <p:to>
                                        <p:strVal val="visible"/>
                                      </p:to>
                                    </p:set>
                                    <p:anim calcmode="lin" valueType="num">
                                      <p:cBhvr additive="base">
                                        <p:cTn id="78" dur="500" fill="hold"/>
                                        <p:tgtEl>
                                          <p:spTgt spid="149"/>
                                        </p:tgtEl>
                                        <p:attrNameLst>
                                          <p:attrName>ppt_x</p:attrName>
                                        </p:attrNameLst>
                                      </p:cBhvr>
                                      <p:tavLst>
                                        <p:tav tm="0">
                                          <p:val>
                                            <p:strVal val="#ppt_x"/>
                                          </p:val>
                                        </p:tav>
                                        <p:tav tm="100000">
                                          <p:val>
                                            <p:strVal val="#ppt_x"/>
                                          </p:val>
                                        </p:tav>
                                      </p:tavLst>
                                    </p:anim>
                                    <p:anim calcmode="lin" valueType="num">
                                      <p:cBhvr additive="base">
                                        <p:cTn id="79" dur="500" fill="hold"/>
                                        <p:tgtEl>
                                          <p:spTgt spid="149"/>
                                        </p:tgtEl>
                                        <p:attrNameLst>
                                          <p:attrName>ppt_y</p:attrName>
                                        </p:attrNameLst>
                                      </p:cBhvr>
                                      <p:tavLst>
                                        <p:tav tm="0">
                                          <p:val>
                                            <p:strVal val="1+#ppt_h/2"/>
                                          </p:val>
                                        </p:tav>
                                        <p:tav tm="100000">
                                          <p:val>
                                            <p:strVal val="#ppt_y"/>
                                          </p:val>
                                        </p:tav>
                                      </p:tavLst>
                                    </p:anim>
                                  </p:childTnLst>
                                </p:cTn>
                              </p:par>
                              <p:par>
                                <p:cTn id="80" presetID="2" presetClass="entr" presetSubtype="4" decel="100000" fill="hold" grpId="0" nodeType="withEffect">
                                  <p:stCondLst>
                                    <p:cond delay="880"/>
                                  </p:stCondLst>
                                  <p:childTnLst>
                                    <p:set>
                                      <p:cBhvr>
                                        <p:cTn id="81" dur="1" fill="hold">
                                          <p:stCondLst>
                                            <p:cond delay="0"/>
                                          </p:stCondLst>
                                        </p:cTn>
                                        <p:tgtEl>
                                          <p:spTgt spid="71"/>
                                        </p:tgtEl>
                                        <p:attrNameLst>
                                          <p:attrName>style.visibility</p:attrName>
                                        </p:attrNameLst>
                                      </p:cBhvr>
                                      <p:to>
                                        <p:strVal val="visible"/>
                                      </p:to>
                                    </p:set>
                                    <p:anim calcmode="lin" valueType="num">
                                      <p:cBhvr additive="base">
                                        <p:cTn id="82" dur="500" fill="hold"/>
                                        <p:tgtEl>
                                          <p:spTgt spid="71"/>
                                        </p:tgtEl>
                                        <p:attrNameLst>
                                          <p:attrName>ppt_x</p:attrName>
                                        </p:attrNameLst>
                                      </p:cBhvr>
                                      <p:tavLst>
                                        <p:tav tm="0">
                                          <p:val>
                                            <p:strVal val="#ppt_x"/>
                                          </p:val>
                                        </p:tav>
                                        <p:tav tm="100000">
                                          <p:val>
                                            <p:strVal val="#ppt_x"/>
                                          </p:val>
                                        </p:tav>
                                      </p:tavLst>
                                    </p:anim>
                                    <p:anim calcmode="lin" valueType="num">
                                      <p:cBhvr additive="base">
                                        <p:cTn id="83" dur="500" fill="hold"/>
                                        <p:tgtEl>
                                          <p:spTgt spid="71"/>
                                        </p:tgtEl>
                                        <p:attrNameLst>
                                          <p:attrName>ppt_y</p:attrName>
                                        </p:attrNameLst>
                                      </p:cBhvr>
                                      <p:tavLst>
                                        <p:tav tm="0">
                                          <p:val>
                                            <p:strVal val="1+#ppt_h/2"/>
                                          </p:val>
                                        </p:tav>
                                        <p:tav tm="100000">
                                          <p:val>
                                            <p:strVal val="#ppt_y"/>
                                          </p:val>
                                        </p:tav>
                                      </p:tavLst>
                                    </p:anim>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54"/>
                                        </p:tgtEl>
                                        <p:attrNameLst>
                                          <p:attrName>style.visibility</p:attrName>
                                        </p:attrNameLst>
                                      </p:cBhvr>
                                      <p:to>
                                        <p:strVal val="visible"/>
                                      </p:to>
                                    </p:set>
                                    <p:animEffect transition="in" filter="fade">
                                      <p:cBhvr>
                                        <p:cTn id="88" dur="500"/>
                                        <p:tgtEl>
                                          <p:spTgt spid="154"/>
                                        </p:tgtEl>
                                      </p:cBhvr>
                                    </p:animEffect>
                                  </p:childTnLst>
                                </p:cTn>
                              </p:par>
                              <p:par>
                                <p:cTn id="89" presetID="2" presetClass="entr" presetSubtype="4" decel="100000" fill="hold" grpId="0" nodeType="withEffect">
                                  <p:stCondLst>
                                    <p:cond delay="130"/>
                                  </p:stCondLst>
                                  <p:childTnLst>
                                    <p:set>
                                      <p:cBhvr>
                                        <p:cTn id="90" dur="1" fill="hold">
                                          <p:stCondLst>
                                            <p:cond delay="0"/>
                                          </p:stCondLst>
                                        </p:cTn>
                                        <p:tgtEl>
                                          <p:spTgt spid="166"/>
                                        </p:tgtEl>
                                        <p:attrNameLst>
                                          <p:attrName>style.visibility</p:attrName>
                                        </p:attrNameLst>
                                      </p:cBhvr>
                                      <p:to>
                                        <p:strVal val="visible"/>
                                      </p:to>
                                    </p:set>
                                    <p:anim calcmode="lin" valueType="num">
                                      <p:cBhvr additive="base">
                                        <p:cTn id="91" dur="500" fill="hold"/>
                                        <p:tgtEl>
                                          <p:spTgt spid="166"/>
                                        </p:tgtEl>
                                        <p:attrNameLst>
                                          <p:attrName>ppt_x</p:attrName>
                                        </p:attrNameLst>
                                      </p:cBhvr>
                                      <p:tavLst>
                                        <p:tav tm="0">
                                          <p:val>
                                            <p:strVal val="#ppt_x"/>
                                          </p:val>
                                        </p:tav>
                                        <p:tav tm="100000">
                                          <p:val>
                                            <p:strVal val="#ppt_x"/>
                                          </p:val>
                                        </p:tav>
                                      </p:tavLst>
                                    </p:anim>
                                    <p:anim calcmode="lin" valueType="num">
                                      <p:cBhvr additive="base">
                                        <p:cTn id="92" dur="500" fill="hold"/>
                                        <p:tgtEl>
                                          <p:spTgt spid="166"/>
                                        </p:tgtEl>
                                        <p:attrNameLst>
                                          <p:attrName>ppt_y</p:attrName>
                                        </p:attrNameLst>
                                      </p:cBhvr>
                                      <p:tavLst>
                                        <p:tav tm="0">
                                          <p:val>
                                            <p:strVal val="1+#ppt_h/2"/>
                                          </p:val>
                                        </p:tav>
                                        <p:tav tm="100000">
                                          <p:val>
                                            <p:strVal val="#ppt_y"/>
                                          </p:val>
                                        </p:tav>
                                      </p:tavLst>
                                    </p:anim>
                                  </p:childTnLst>
                                </p:cTn>
                              </p:par>
                              <p:par>
                                <p:cTn id="93" presetID="2" presetClass="entr" presetSubtype="4" decel="100000" fill="hold" grpId="0" nodeType="withEffect">
                                  <p:stCondLst>
                                    <p:cond delay="250"/>
                                  </p:stCondLst>
                                  <p:childTnLst>
                                    <p:set>
                                      <p:cBhvr>
                                        <p:cTn id="94" dur="1" fill="hold">
                                          <p:stCondLst>
                                            <p:cond delay="0"/>
                                          </p:stCondLst>
                                        </p:cTn>
                                        <p:tgtEl>
                                          <p:spTgt spid="168"/>
                                        </p:tgtEl>
                                        <p:attrNameLst>
                                          <p:attrName>style.visibility</p:attrName>
                                        </p:attrNameLst>
                                      </p:cBhvr>
                                      <p:to>
                                        <p:strVal val="visible"/>
                                      </p:to>
                                    </p:set>
                                    <p:anim calcmode="lin" valueType="num">
                                      <p:cBhvr additive="base">
                                        <p:cTn id="95" dur="500" fill="hold"/>
                                        <p:tgtEl>
                                          <p:spTgt spid="168"/>
                                        </p:tgtEl>
                                        <p:attrNameLst>
                                          <p:attrName>ppt_x</p:attrName>
                                        </p:attrNameLst>
                                      </p:cBhvr>
                                      <p:tavLst>
                                        <p:tav tm="0">
                                          <p:val>
                                            <p:strVal val="#ppt_x"/>
                                          </p:val>
                                        </p:tav>
                                        <p:tav tm="100000">
                                          <p:val>
                                            <p:strVal val="#ppt_x"/>
                                          </p:val>
                                        </p:tav>
                                      </p:tavLst>
                                    </p:anim>
                                    <p:anim calcmode="lin" valueType="num">
                                      <p:cBhvr additive="base">
                                        <p:cTn id="96" dur="500" fill="hold"/>
                                        <p:tgtEl>
                                          <p:spTgt spid="168"/>
                                        </p:tgtEl>
                                        <p:attrNameLst>
                                          <p:attrName>ppt_y</p:attrName>
                                        </p:attrNameLst>
                                      </p:cBhvr>
                                      <p:tavLst>
                                        <p:tav tm="0">
                                          <p:val>
                                            <p:strVal val="1+#ppt_h/2"/>
                                          </p:val>
                                        </p:tav>
                                        <p:tav tm="100000">
                                          <p:val>
                                            <p:strVal val="#ppt_y"/>
                                          </p:val>
                                        </p:tav>
                                      </p:tavLst>
                                    </p:anim>
                                  </p:childTnLst>
                                </p:cTn>
                              </p:par>
                              <p:par>
                                <p:cTn id="97" presetID="2" presetClass="entr" presetSubtype="4" decel="100000" fill="hold" grpId="0" nodeType="withEffect">
                                  <p:stCondLst>
                                    <p:cond delay="380"/>
                                  </p:stCondLst>
                                  <p:childTnLst>
                                    <p:set>
                                      <p:cBhvr>
                                        <p:cTn id="98" dur="1" fill="hold">
                                          <p:stCondLst>
                                            <p:cond delay="0"/>
                                          </p:stCondLst>
                                        </p:cTn>
                                        <p:tgtEl>
                                          <p:spTgt spid="164"/>
                                        </p:tgtEl>
                                        <p:attrNameLst>
                                          <p:attrName>style.visibility</p:attrName>
                                        </p:attrNameLst>
                                      </p:cBhvr>
                                      <p:to>
                                        <p:strVal val="visible"/>
                                      </p:to>
                                    </p:set>
                                    <p:anim calcmode="lin" valueType="num">
                                      <p:cBhvr additive="base">
                                        <p:cTn id="99" dur="500" fill="hold"/>
                                        <p:tgtEl>
                                          <p:spTgt spid="164"/>
                                        </p:tgtEl>
                                        <p:attrNameLst>
                                          <p:attrName>ppt_x</p:attrName>
                                        </p:attrNameLst>
                                      </p:cBhvr>
                                      <p:tavLst>
                                        <p:tav tm="0">
                                          <p:val>
                                            <p:strVal val="#ppt_x"/>
                                          </p:val>
                                        </p:tav>
                                        <p:tav tm="100000">
                                          <p:val>
                                            <p:strVal val="#ppt_x"/>
                                          </p:val>
                                        </p:tav>
                                      </p:tavLst>
                                    </p:anim>
                                    <p:anim calcmode="lin" valueType="num">
                                      <p:cBhvr additive="base">
                                        <p:cTn id="100" dur="500" fill="hold"/>
                                        <p:tgtEl>
                                          <p:spTgt spid="164"/>
                                        </p:tgtEl>
                                        <p:attrNameLst>
                                          <p:attrName>ppt_y</p:attrName>
                                        </p:attrNameLst>
                                      </p:cBhvr>
                                      <p:tavLst>
                                        <p:tav tm="0">
                                          <p:val>
                                            <p:strVal val="1+#ppt_h/2"/>
                                          </p:val>
                                        </p:tav>
                                        <p:tav tm="100000">
                                          <p:val>
                                            <p:strVal val="#ppt_y"/>
                                          </p:val>
                                        </p:tav>
                                      </p:tavLst>
                                    </p:anim>
                                  </p:childTnLst>
                                </p:cTn>
                              </p:par>
                              <p:par>
                                <p:cTn id="101" presetID="2" presetClass="entr" presetSubtype="4" decel="100000" fill="hold" grpId="0" nodeType="withEffect">
                                  <p:stCondLst>
                                    <p:cond delay="500"/>
                                  </p:stCondLst>
                                  <p:childTnLst>
                                    <p:set>
                                      <p:cBhvr>
                                        <p:cTn id="102" dur="1" fill="hold">
                                          <p:stCondLst>
                                            <p:cond delay="0"/>
                                          </p:stCondLst>
                                        </p:cTn>
                                        <p:tgtEl>
                                          <p:spTgt spid="163"/>
                                        </p:tgtEl>
                                        <p:attrNameLst>
                                          <p:attrName>style.visibility</p:attrName>
                                        </p:attrNameLst>
                                      </p:cBhvr>
                                      <p:to>
                                        <p:strVal val="visible"/>
                                      </p:to>
                                    </p:set>
                                    <p:anim calcmode="lin" valueType="num">
                                      <p:cBhvr additive="base">
                                        <p:cTn id="103" dur="500" fill="hold"/>
                                        <p:tgtEl>
                                          <p:spTgt spid="163"/>
                                        </p:tgtEl>
                                        <p:attrNameLst>
                                          <p:attrName>ppt_x</p:attrName>
                                        </p:attrNameLst>
                                      </p:cBhvr>
                                      <p:tavLst>
                                        <p:tav tm="0">
                                          <p:val>
                                            <p:strVal val="#ppt_x"/>
                                          </p:val>
                                        </p:tav>
                                        <p:tav tm="100000">
                                          <p:val>
                                            <p:strVal val="#ppt_x"/>
                                          </p:val>
                                        </p:tav>
                                      </p:tavLst>
                                    </p:anim>
                                    <p:anim calcmode="lin" valueType="num">
                                      <p:cBhvr additive="base">
                                        <p:cTn id="104" dur="500" fill="hold"/>
                                        <p:tgtEl>
                                          <p:spTgt spid="163"/>
                                        </p:tgtEl>
                                        <p:attrNameLst>
                                          <p:attrName>ppt_y</p:attrName>
                                        </p:attrNameLst>
                                      </p:cBhvr>
                                      <p:tavLst>
                                        <p:tav tm="0">
                                          <p:val>
                                            <p:strVal val="1+#ppt_h/2"/>
                                          </p:val>
                                        </p:tav>
                                        <p:tav tm="100000">
                                          <p:val>
                                            <p:strVal val="#ppt_y"/>
                                          </p:val>
                                        </p:tav>
                                      </p:tavLst>
                                    </p:anim>
                                  </p:childTnLst>
                                </p:cTn>
                              </p:par>
                              <p:par>
                                <p:cTn id="105" presetID="2" presetClass="entr" presetSubtype="4" decel="100000" fill="hold" grpId="0" nodeType="withEffect">
                                  <p:stCondLst>
                                    <p:cond delay="630"/>
                                  </p:stCondLst>
                                  <p:childTnLst>
                                    <p:set>
                                      <p:cBhvr>
                                        <p:cTn id="106" dur="1" fill="hold">
                                          <p:stCondLst>
                                            <p:cond delay="0"/>
                                          </p:stCondLst>
                                        </p:cTn>
                                        <p:tgtEl>
                                          <p:spTgt spid="167"/>
                                        </p:tgtEl>
                                        <p:attrNameLst>
                                          <p:attrName>style.visibility</p:attrName>
                                        </p:attrNameLst>
                                      </p:cBhvr>
                                      <p:to>
                                        <p:strVal val="visible"/>
                                      </p:to>
                                    </p:set>
                                    <p:anim calcmode="lin" valueType="num">
                                      <p:cBhvr additive="base">
                                        <p:cTn id="107" dur="500" fill="hold"/>
                                        <p:tgtEl>
                                          <p:spTgt spid="167"/>
                                        </p:tgtEl>
                                        <p:attrNameLst>
                                          <p:attrName>ppt_x</p:attrName>
                                        </p:attrNameLst>
                                      </p:cBhvr>
                                      <p:tavLst>
                                        <p:tav tm="0">
                                          <p:val>
                                            <p:strVal val="#ppt_x"/>
                                          </p:val>
                                        </p:tav>
                                        <p:tav tm="100000">
                                          <p:val>
                                            <p:strVal val="#ppt_x"/>
                                          </p:val>
                                        </p:tav>
                                      </p:tavLst>
                                    </p:anim>
                                    <p:anim calcmode="lin" valueType="num">
                                      <p:cBhvr additive="base">
                                        <p:cTn id="108" dur="500" fill="hold"/>
                                        <p:tgtEl>
                                          <p:spTgt spid="167"/>
                                        </p:tgtEl>
                                        <p:attrNameLst>
                                          <p:attrName>ppt_y</p:attrName>
                                        </p:attrNameLst>
                                      </p:cBhvr>
                                      <p:tavLst>
                                        <p:tav tm="0">
                                          <p:val>
                                            <p:strVal val="1+#ppt_h/2"/>
                                          </p:val>
                                        </p:tav>
                                        <p:tav tm="100000">
                                          <p:val>
                                            <p:strVal val="#ppt_y"/>
                                          </p:val>
                                        </p:tav>
                                      </p:tavLst>
                                    </p:anim>
                                  </p:childTnLst>
                                </p:cTn>
                              </p:par>
                              <p:par>
                                <p:cTn id="109" presetID="2" presetClass="entr" presetSubtype="4" decel="100000" fill="hold" grpId="0" nodeType="withEffect">
                                  <p:stCondLst>
                                    <p:cond delay="750"/>
                                  </p:stCondLst>
                                  <p:childTnLst>
                                    <p:set>
                                      <p:cBhvr>
                                        <p:cTn id="110" dur="1" fill="hold">
                                          <p:stCondLst>
                                            <p:cond delay="0"/>
                                          </p:stCondLst>
                                        </p:cTn>
                                        <p:tgtEl>
                                          <p:spTgt spid="77"/>
                                        </p:tgtEl>
                                        <p:attrNameLst>
                                          <p:attrName>style.visibility</p:attrName>
                                        </p:attrNameLst>
                                      </p:cBhvr>
                                      <p:to>
                                        <p:strVal val="visible"/>
                                      </p:to>
                                    </p:set>
                                    <p:anim calcmode="lin" valueType="num">
                                      <p:cBhvr additive="base">
                                        <p:cTn id="111" dur="500" fill="hold"/>
                                        <p:tgtEl>
                                          <p:spTgt spid="77"/>
                                        </p:tgtEl>
                                        <p:attrNameLst>
                                          <p:attrName>ppt_x</p:attrName>
                                        </p:attrNameLst>
                                      </p:cBhvr>
                                      <p:tavLst>
                                        <p:tav tm="0">
                                          <p:val>
                                            <p:strVal val="#ppt_x"/>
                                          </p:val>
                                        </p:tav>
                                        <p:tav tm="100000">
                                          <p:val>
                                            <p:strVal val="#ppt_x"/>
                                          </p:val>
                                        </p:tav>
                                      </p:tavLst>
                                    </p:anim>
                                    <p:anim calcmode="lin" valueType="num">
                                      <p:cBhvr additive="base">
                                        <p:cTn id="112" dur="500" fill="hold"/>
                                        <p:tgtEl>
                                          <p:spTgt spid="77"/>
                                        </p:tgtEl>
                                        <p:attrNameLst>
                                          <p:attrName>ppt_y</p:attrName>
                                        </p:attrNameLst>
                                      </p:cBhvr>
                                      <p:tavLst>
                                        <p:tav tm="0">
                                          <p:val>
                                            <p:strVal val="1+#ppt_h/2"/>
                                          </p:val>
                                        </p:tav>
                                        <p:tav tm="100000">
                                          <p:val>
                                            <p:strVal val="#ppt_y"/>
                                          </p:val>
                                        </p:tav>
                                      </p:tavLst>
                                    </p:anim>
                                  </p:childTnLst>
                                </p:cTn>
                              </p:par>
                            </p:childTnLst>
                          </p:cTn>
                        </p:par>
                      </p:childTnLst>
                    </p:cTn>
                  </p:par>
                  <p:par>
                    <p:cTn id="113" fill="hold">
                      <p:stCondLst>
                        <p:cond delay="indefinite"/>
                      </p:stCondLst>
                      <p:childTnLst>
                        <p:par>
                          <p:cTn id="114" fill="hold">
                            <p:stCondLst>
                              <p:cond delay="0"/>
                            </p:stCondLst>
                            <p:childTnLst>
                              <p:par>
                                <p:cTn id="115" presetID="10" presetClass="entr" presetSubtype="0" fill="hold" grpId="0" nodeType="clickEffect">
                                  <p:stCondLst>
                                    <p:cond delay="0"/>
                                  </p:stCondLst>
                                  <p:childTnLst>
                                    <p:set>
                                      <p:cBhvr>
                                        <p:cTn id="116" dur="1" fill="hold">
                                          <p:stCondLst>
                                            <p:cond delay="0"/>
                                          </p:stCondLst>
                                        </p:cTn>
                                        <p:tgtEl>
                                          <p:spTgt spid="170"/>
                                        </p:tgtEl>
                                        <p:attrNameLst>
                                          <p:attrName>style.visibility</p:attrName>
                                        </p:attrNameLst>
                                      </p:cBhvr>
                                      <p:to>
                                        <p:strVal val="visible"/>
                                      </p:to>
                                    </p:set>
                                    <p:animEffect transition="in" filter="fade">
                                      <p:cBhvr>
                                        <p:cTn id="117" dur="500"/>
                                        <p:tgtEl>
                                          <p:spTgt spid="170"/>
                                        </p:tgtEl>
                                      </p:cBhvr>
                                    </p:animEffect>
                                  </p:childTnLst>
                                </p:cTn>
                              </p:par>
                              <p:par>
                                <p:cTn id="118" presetID="2" presetClass="entr" presetSubtype="4" decel="100000" fill="hold" grpId="0" nodeType="withEffect">
                                  <p:stCondLst>
                                    <p:cond delay="130"/>
                                  </p:stCondLst>
                                  <p:childTnLst>
                                    <p:set>
                                      <p:cBhvr>
                                        <p:cTn id="119" dur="1" fill="hold">
                                          <p:stCondLst>
                                            <p:cond delay="0"/>
                                          </p:stCondLst>
                                        </p:cTn>
                                        <p:tgtEl>
                                          <p:spTgt spid="180"/>
                                        </p:tgtEl>
                                        <p:attrNameLst>
                                          <p:attrName>style.visibility</p:attrName>
                                        </p:attrNameLst>
                                      </p:cBhvr>
                                      <p:to>
                                        <p:strVal val="visible"/>
                                      </p:to>
                                    </p:set>
                                    <p:anim calcmode="lin" valueType="num">
                                      <p:cBhvr additive="base">
                                        <p:cTn id="120" dur="500" fill="hold"/>
                                        <p:tgtEl>
                                          <p:spTgt spid="180"/>
                                        </p:tgtEl>
                                        <p:attrNameLst>
                                          <p:attrName>ppt_x</p:attrName>
                                        </p:attrNameLst>
                                      </p:cBhvr>
                                      <p:tavLst>
                                        <p:tav tm="0">
                                          <p:val>
                                            <p:strVal val="#ppt_x"/>
                                          </p:val>
                                        </p:tav>
                                        <p:tav tm="100000">
                                          <p:val>
                                            <p:strVal val="#ppt_x"/>
                                          </p:val>
                                        </p:tav>
                                      </p:tavLst>
                                    </p:anim>
                                    <p:anim calcmode="lin" valueType="num">
                                      <p:cBhvr additive="base">
                                        <p:cTn id="121" dur="500" fill="hold"/>
                                        <p:tgtEl>
                                          <p:spTgt spid="180"/>
                                        </p:tgtEl>
                                        <p:attrNameLst>
                                          <p:attrName>ppt_y</p:attrName>
                                        </p:attrNameLst>
                                      </p:cBhvr>
                                      <p:tavLst>
                                        <p:tav tm="0">
                                          <p:val>
                                            <p:strVal val="1+#ppt_h/2"/>
                                          </p:val>
                                        </p:tav>
                                        <p:tav tm="100000">
                                          <p:val>
                                            <p:strVal val="#ppt_y"/>
                                          </p:val>
                                        </p:tav>
                                      </p:tavLst>
                                    </p:anim>
                                  </p:childTnLst>
                                </p:cTn>
                              </p:par>
                              <p:par>
                                <p:cTn id="122" presetID="2" presetClass="entr" presetSubtype="4" decel="100000" fill="hold" grpId="0" nodeType="withEffect">
                                  <p:stCondLst>
                                    <p:cond delay="250"/>
                                  </p:stCondLst>
                                  <p:childTnLst>
                                    <p:set>
                                      <p:cBhvr>
                                        <p:cTn id="123" dur="1" fill="hold">
                                          <p:stCondLst>
                                            <p:cond delay="0"/>
                                          </p:stCondLst>
                                        </p:cTn>
                                        <p:tgtEl>
                                          <p:spTgt spid="182"/>
                                        </p:tgtEl>
                                        <p:attrNameLst>
                                          <p:attrName>style.visibility</p:attrName>
                                        </p:attrNameLst>
                                      </p:cBhvr>
                                      <p:to>
                                        <p:strVal val="visible"/>
                                      </p:to>
                                    </p:set>
                                    <p:anim calcmode="lin" valueType="num">
                                      <p:cBhvr additive="base">
                                        <p:cTn id="124" dur="500" fill="hold"/>
                                        <p:tgtEl>
                                          <p:spTgt spid="182"/>
                                        </p:tgtEl>
                                        <p:attrNameLst>
                                          <p:attrName>ppt_x</p:attrName>
                                        </p:attrNameLst>
                                      </p:cBhvr>
                                      <p:tavLst>
                                        <p:tav tm="0">
                                          <p:val>
                                            <p:strVal val="#ppt_x"/>
                                          </p:val>
                                        </p:tav>
                                        <p:tav tm="100000">
                                          <p:val>
                                            <p:strVal val="#ppt_x"/>
                                          </p:val>
                                        </p:tav>
                                      </p:tavLst>
                                    </p:anim>
                                    <p:anim calcmode="lin" valueType="num">
                                      <p:cBhvr additive="base">
                                        <p:cTn id="125" dur="500" fill="hold"/>
                                        <p:tgtEl>
                                          <p:spTgt spid="182"/>
                                        </p:tgtEl>
                                        <p:attrNameLst>
                                          <p:attrName>ppt_y</p:attrName>
                                        </p:attrNameLst>
                                      </p:cBhvr>
                                      <p:tavLst>
                                        <p:tav tm="0">
                                          <p:val>
                                            <p:strVal val="1+#ppt_h/2"/>
                                          </p:val>
                                        </p:tav>
                                        <p:tav tm="100000">
                                          <p:val>
                                            <p:strVal val="#ppt_y"/>
                                          </p:val>
                                        </p:tav>
                                      </p:tavLst>
                                    </p:anim>
                                  </p:childTnLst>
                                </p:cTn>
                              </p:par>
                            </p:childTnLst>
                          </p:cTn>
                        </p:par>
                      </p:childTnLst>
                    </p:cTn>
                  </p:par>
                  <p:par>
                    <p:cTn id="126" fill="hold">
                      <p:stCondLst>
                        <p:cond delay="indefinite"/>
                      </p:stCondLst>
                      <p:childTnLst>
                        <p:par>
                          <p:cTn id="127" fill="hold">
                            <p:stCondLst>
                              <p:cond delay="0"/>
                            </p:stCondLst>
                            <p:childTnLst>
                              <p:par>
                                <p:cTn id="128" presetID="10" presetClass="entr" presetSubtype="0" fill="hold" nodeType="clickEffect">
                                  <p:stCondLst>
                                    <p:cond delay="0"/>
                                  </p:stCondLst>
                                  <p:childTnLst>
                                    <p:set>
                                      <p:cBhvr>
                                        <p:cTn id="129" dur="1" fill="hold">
                                          <p:stCondLst>
                                            <p:cond delay="0"/>
                                          </p:stCondLst>
                                        </p:cTn>
                                        <p:tgtEl>
                                          <p:spTgt spid="63"/>
                                        </p:tgtEl>
                                        <p:attrNameLst>
                                          <p:attrName>style.visibility</p:attrName>
                                        </p:attrNameLst>
                                      </p:cBhvr>
                                      <p:to>
                                        <p:strVal val="visible"/>
                                      </p:to>
                                    </p:set>
                                    <p:animEffect transition="in" filter="fade">
                                      <p:cBhvr>
                                        <p:cTn id="130" dur="500"/>
                                        <p:tgtEl>
                                          <p:spTgt spid="63"/>
                                        </p:tgtEl>
                                      </p:cBhvr>
                                    </p:animEffect>
                                  </p:childTnLst>
                                </p:cTn>
                              </p:par>
                              <p:par>
                                <p:cTn id="131" presetID="10" presetClass="entr" presetSubtype="0" fill="hold" nodeType="withEffect">
                                  <p:stCondLst>
                                    <p:cond delay="250"/>
                                  </p:stCondLst>
                                  <p:childTnLst>
                                    <p:set>
                                      <p:cBhvr>
                                        <p:cTn id="132" dur="1" fill="hold">
                                          <p:stCondLst>
                                            <p:cond delay="0"/>
                                          </p:stCondLst>
                                        </p:cTn>
                                        <p:tgtEl>
                                          <p:spTgt spid="50"/>
                                        </p:tgtEl>
                                        <p:attrNameLst>
                                          <p:attrName>style.visibility</p:attrName>
                                        </p:attrNameLst>
                                      </p:cBhvr>
                                      <p:to>
                                        <p:strVal val="visible"/>
                                      </p:to>
                                    </p:set>
                                    <p:animEffect transition="in" filter="fade">
                                      <p:cBhvr>
                                        <p:cTn id="133" dur="500"/>
                                        <p:tgtEl>
                                          <p:spTgt spid="50"/>
                                        </p:tgtEl>
                                      </p:cBhvr>
                                    </p:animEffect>
                                  </p:childTnLst>
                                </p:cTn>
                              </p:par>
                              <p:par>
                                <p:cTn id="134" presetID="10" presetClass="entr" presetSubtype="0" fill="hold" nodeType="withEffect">
                                  <p:stCondLst>
                                    <p:cond delay="380"/>
                                  </p:stCondLst>
                                  <p:childTnLst>
                                    <p:set>
                                      <p:cBhvr>
                                        <p:cTn id="135" dur="1" fill="hold">
                                          <p:stCondLst>
                                            <p:cond delay="0"/>
                                          </p:stCondLst>
                                        </p:cTn>
                                        <p:tgtEl>
                                          <p:spTgt spid="39"/>
                                        </p:tgtEl>
                                        <p:attrNameLst>
                                          <p:attrName>style.visibility</p:attrName>
                                        </p:attrNameLst>
                                      </p:cBhvr>
                                      <p:to>
                                        <p:strVal val="visible"/>
                                      </p:to>
                                    </p:set>
                                    <p:animEffect transition="in" filter="fade">
                                      <p:cBhvr>
                                        <p:cTn id="136" dur="500"/>
                                        <p:tgtEl>
                                          <p:spTgt spid="39"/>
                                        </p:tgtEl>
                                      </p:cBhvr>
                                    </p:animEffect>
                                  </p:childTnLst>
                                </p:cTn>
                              </p:par>
                              <p:par>
                                <p:cTn id="137" presetID="10" presetClass="entr" presetSubtype="0" fill="hold" nodeType="withEffect">
                                  <p:stCondLst>
                                    <p:cond delay="500"/>
                                  </p:stCondLst>
                                  <p:childTnLst>
                                    <p:set>
                                      <p:cBhvr>
                                        <p:cTn id="138" dur="1" fill="hold">
                                          <p:stCondLst>
                                            <p:cond delay="0"/>
                                          </p:stCondLst>
                                        </p:cTn>
                                        <p:tgtEl>
                                          <p:spTgt spid="40"/>
                                        </p:tgtEl>
                                        <p:attrNameLst>
                                          <p:attrName>style.visibility</p:attrName>
                                        </p:attrNameLst>
                                      </p:cBhvr>
                                      <p:to>
                                        <p:strVal val="visible"/>
                                      </p:to>
                                    </p:set>
                                    <p:animEffect transition="in" filter="fade">
                                      <p:cBhvr>
                                        <p:cTn id="139" dur="500"/>
                                        <p:tgtEl>
                                          <p:spTgt spid="40"/>
                                        </p:tgtEl>
                                      </p:cBhvr>
                                    </p:animEffect>
                                  </p:childTnLst>
                                </p:cTn>
                              </p:par>
                              <p:par>
                                <p:cTn id="140" presetID="10" presetClass="entr" presetSubtype="0" fill="hold" nodeType="withEffect">
                                  <p:stCondLst>
                                    <p:cond delay="630"/>
                                  </p:stCondLst>
                                  <p:childTnLst>
                                    <p:set>
                                      <p:cBhvr>
                                        <p:cTn id="141" dur="1" fill="hold">
                                          <p:stCondLst>
                                            <p:cond delay="0"/>
                                          </p:stCondLst>
                                        </p:cTn>
                                        <p:tgtEl>
                                          <p:spTgt spid="49"/>
                                        </p:tgtEl>
                                        <p:attrNameLst>
                                          <p:attrName>style.visibility</p:attrName>
                                        </p:attrNameLst>
                                      </p:cBhvr>
                                      <p:to>
                                        <p:strVal val="visible"/>
                                      </p:to>
                                    </p:set>
                                    <p:animEffect transition="in" filter="fade">
                                      <p:cBhvr>
                                        <p:cTn id="142" dur="500"/>
                                        <p:tgtEl>
                                          <p:spTgt spid="49"/>
                                        </p:tgtEl>
                                      </p:cBhvr>
                                    </p:animEffect>
                                  </p:childTnLst>
                                </p:cTn>
                              </p:par>
                              <p:par>
                                <p:cTn id="143" presetID="10" presetClass="entr" presetSubtype="0" fill="hold" nodeType="withEffect">
                                  <p:stCondLst>
                                    <p:cond delay="750"/>
                                  </p:stCondLst>
                                  <p:childTnLst>
                                    <p:set>
                                      <p:cBhvr>
                                        <p:cTn id="144" dur="1" fill="hold">
                                          <p:stCondLst>
                                            <p:cond delay="0"/>
                                          </p:stCondLst>
                                        </p:cTn>
                                        <p:tgtEl>
                                          <p:spTgt spid="52"/>
                                        </p:tgtEl>
                                        <p:attrNameLst>
                                          <p:attrName>style.visibility</p:attrName>
                                        </p:attrNameLst>
                                      </p:cBhvr>
                                      <p:to>
                                        <p:strVal val="visible"/>
                                      </p:to>
                                    </p:set>
                                    <p:animEffect transition="in" filter="fade">
                                      <p:cBhvr>
                                        <p:cTn id="145" dur="500"/>
                                        <p:tgtEl>
                                          <p:spTgt spid="52"/>
                                        </p:tgtEl>
                                      </p:cBhvr>
                                    </p:animEffect>
                                  </p:childTnLst>
                                </p:cTn>
                              </p:par>
                              <p:par>
                                <p:cTn id="146" presetID="10" presetClass="entr" presetSubtype="0" fill="hold" nodeType="withEffect">
                                  <p:stCondLst>
                                    <p:cond delay="880"/>
                                  </p:stCondLst>
                                  <p:childTnLst>
                                    <p:set>
                                      <p:cBhvr>
                                        <p:cTn id="147" dur="1" fill="hold">
                                          <p:stCondLst>
                                            <p:cond delay="0"/>
                                          </p:stCondLst>
                                        </p:cTn>
                                        <p:tgtEl>
                                          <p:spTgt spid="53"/>
                                        </p:tgtEl>
                                        <p:attrNameLst>
                                          <p:attrName>style.visibility</p:attrName>
                                        </p:attrNameLst>
                                      </p:cBhvr>
                                      <p:to>
                                        <p:strVal val="visible"/>
                                      </p:to>
                                    </p:set>
                                    <p:animEffect transition="in" filter="fade">
                                      <p:cBhvr>
                                        <p:cTn id="148" dur="500"/>
                                        <p:tgtEl>
                                          <p:spTgt spid="53"/>
                                        </p:tgtEl>
                                      </p:cBhvr>
                                    </p:animEffect>
                                  </p:childTnLst>
                                </p:cTn>
                              </p:par>
                              <p:par>
                                <p:cTn id="149" presetID="10" presetClass="entr" presetSubtype="0" fill="hold" nodeType="withEffect">
                                  <p:stCondLst>
                                    <p:cond delay="1000"/>
                                  </p:stCondLst>
                                  <p:childTnLst>
                                    <p:set>
                                      <p:cBhvr>
                                        <p:cTn id="150" dur="1" fill="hold">
                                          <p:stCondLst>
                                            <p:cond delay="0"/>
                                          </p:stCondLst>
                                        </p:cTn>
                                        <p:tgtEl>
                                          <p:spTgt spid="54"/>
                                        </p:tgtEl>
                                        <p:attrNameLst>
                                          <p:attrName>style.visibility</p:attrName>
                                        </p:attrNameLst>
                                      </p:cBhvr>
                                      <p:to>
                                        <p:strVal val="visible"/>
                                      </p:to>
                                    </p:set>
                                    <p:animEffect transition="in" filter="fade">
                                      <p:cBhvr>
                                        <p:cTn id="151"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8" grpId="0" animBg="1"/>
      <p:bldP spid="129" grpId="0" animBg="1"/>
      <p:bldP spid="130" grpId="0" animBg="1"/>
      <p:bldP spid="131" grpId="0" animBg="1"/>
      <p:bldP spid="132" grpId="0" animBg="1"/>
      <p:bldP spid="133" grpId="0" animBg="1"/>
      <p:bldP spid="134" grpId="0" animBg="1"/>
      <p:bldP spid="135" grpId="0" animBg="1"/>
      <p:bldP spid="136" grpId="0" animBg="1"/>
      <p:bldP spid="44" grpId="0" animBg="1"/>
      <p:bldP spid="170" grpId="0"/>
      <p:bldP spid="180" grpId="0" animBg="1"/>
      <p:bldP spid="182" grpId="0" animBg="1"/>
      <p:bldP spid="154" grpId="0"/>
      <p:bldP spid="163" grpId="0" animBg="1"/>
      <p:bldP spid="164" grpId="0" animBg="1"/>
      <p:bldP spid="166" grpId="0" animBg="1"/>
      <p:bldP spid="167" grpId="0" animBg="1"/>
      <p:bldP spid="168" grpId="0" animBg="1"/>
      <p:bldP spid="77" grpId="0" animBg="1"/>
      <p:bldP spid="138" grpId="0"/>
      <p:bldP spid="147" grpId="0" animBg="1"/>
      <p:bldP spid="148" grpId="0" animBg="1"/>
      <p:bldP spid="149" grpId="0" animBg="1"/>
      <p:bldP spid="150" grpId="0" animBg="1"/>
      <p:bldP spid="151" grpId="0" animBg="1"/>
      <p:bldP spid="152" grpId="0" animBg="1"/>
      <p:bldP spid="71" grpId="0" animBg="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1841424"/>
            <a:ext cx="7063101" cy="1578628"/>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0" rIns="68583" bIns="68586" numCol="1" rtlCol="0" anchor="b" anchorCtr="0" compatLnSpc="1">
            <a:prstTxWarp prst="textNoShape">
              <a:avLst/>
            </a:prstTxWarp>
          </a:bodyPr>
          <a:lstStyle/>
          <a:p>
            <a:pPr defTabSz="685637" fontAlgn="base">
              <a:spcBef>
                <a:spcPct val="0"/>
              </a:spcBef>
              <a:spcAft>
                <a:spcPct val="0"/>
              </a:spcAft>
            </a:pPr>
            <a:endParaRPr lang="en-US" sz="1700" dirty="0">
              <a:solidFill>
                <a:srgbClr val="00AEEF">
                  <a:alpha val="99000"/>
                </a:srgbClr>
              </a:solidFill>
            </a:endParaRPr>
          </a:p>
        </p:txBody>
      </p:sp>
      <p:sp>
        <p:nvSpPr>
          <p:cNvPr id="2" name="Title 1"/>
          <p:cNvSpPr>
            <a:spLocks noGrp="1"/>
          </p:cNvSpPr>
          <p:nvPr>
            <p:ph type="title"/>
          </p:nvPr>
        </p:nvSpPr>
        <p:spPr>
          <a:xfrm>
            <a:off x="734212" y="2256788"/>
            <a:ext cx="7680340" cy="747897"/>
          </a:xfrm>
        </p:spPr>
        <p:txBody>
          <a:bodyPr/>
          <a:lstStyle/>
          <a:p>
            <a:r>
              <a:rPr lang="en-US" dirty="0" smtClean="0"/>
              <a:t>Push Notifications</a:t>
            </a:r>
            <a:endParaRPr lang="en-US" dirty="0"/>
          </a:p>
        </p:txBody>
      </p:sp>
      <p:grpSp>
        <p:nvGrpSpPr>
          <p:cNvPr id="4" name="Group 3"/>
          <p:cNvGrpSpPr/>
          <p:nvPr/>
        </p:nvGrpSpPr>
        <p:grpSpPr>
          <a:xfrm>
            <a:off x="7054224" y="1085851"/>
            <a:ext cx="13001124" cy="3089772"/>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685637" fontAlgn="base">
                <a:spcBef>
                  <a:spcPct val="0"/>
                </a:spcBef>
                <a:spcAft>
                  <a:spcPct val="0"/>
                </a:spcAft>
              </a:pPr>
              <a:r>
                <a:rPr lang="en-US" sz="170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685637"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9"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1"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pic>
        <p:nvPicPr>
          <p:cNvPr id="12"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48232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78751" y="1956534"/>
            <a:ext cx="3573422" cy="1135696"/>
          </a:xfrm>
        </p:spPr>
        <p:txBody>
          <a:bodyPr/>
          <a:lstStyle/>
          <a:p>
            <a:pPr algn="r"/>
            <a:r>
              <a:rPr lang="en-US" dirty="0" smtClean="0">
                <a:solidFill>
                  <a:schemeClr val="tx1"/>
                </a:solidFill>
              </a:rPr>
              <a:t>application</a:t>
            </a:r>
            <a:br>
              <a:rPr lang="en-US" dirty="0" smtClean="0">
                <a:solidFill>
                  <a:schemeClr val="tx1"/>
                </a:solidFill>
              </a:rPr>
            </a:br>
            <a:r>
              <a:rPr lang="en-US" dirty="0" smtClean="0">
                <a:solidFill>
                  <a:schemeClr val="tx1"/>
                </a:solidFill>
              </a:rPr>
              <a:t>building</a:t>
            </a:r>
            <a:r>
              <a:rPr lang="en-US" dirty="0">
                <a:solidFill>
                  <a:schemeClr val="tx1"/>
                </a:solidFill>
              </a:rPr>
              <a:t> </a:t>
            </a:r>
            <a:r>
              <a:rPr lang="en-US" dirty="0" smtClean="0">
                <a:solidFill>
                  <a:schemeClr val="tx1"/>
                </a:solidFill>
              </a:rPr>
              <a:t>blocks</a:t>
            </a:r>
            <a:endParaRPr lang="en-US" dirty="0">
              <a:solidFill>
                <a:schemeClr val="tx1"/>
              </a:solidFill>
            </a:endParaRPr>
          </a:p>
        </p:txBody>
      </p:sp>
      <p:grpSp>
        <p:nvGrpSpPr>
          <p:cNvPr id="37" name="Group 36"/>
          <p:cNvGrpSpPr/>
          <p:nvPr/>
        </p:nvGrpSpPr>
        <p:grpSpPr>
          <a:xfrm>
            <a:off x="4256911" y="467038"/>
            <a:ext cx="1422788" cy="1329482"/>
            <a:chOff x="5665775" y="2466267"/>
            <a:chExt cx="1896557" cy="1772642"/>
          </a:xfrm>
        </p:grpSpPr>
        <p:sp>
          <p:nvSpPr>
            <p:cNvPr id="17" name="Rectangle 16"/>
            <p:cNvSpPr/>
            <p:nvPr/>
          </p:nvSpPr>
          <p:spPr bwMode="auto">
            <a:xfrm>
              <a:off x="5665775" y="2466267"/>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637" fontAlgn="base">
                <a:spcBef>
                  <a:spcPct val="0"/>
                </a:spcBef>
                <a:spcAft>
                  <a:spcPct val="0"/>
                </a:spcAft>
              </a:pPr>
              <a:r>
                <a:rPr lang="en-US" dirty="0" smtClean="0">
                  <a:gradFill>
                    <a:gsLst>
                      <a:gs pos="0">
                        <a:srgbClr val="FFFFFF"/>
                      </a:gs>
                      <a:gs pos="100000">
                        <a:srgbClr val="FFFFFF"/>
                      </a:gs>
                    </a:gsLst>
                    <a:lin ang="5400000" scaled="0"/>
                  </a:gradFill>
                </a:rPr>
                <a:t>storage</a:t>
              </a:r>
            </a:p>
          </p:txBody>
        </p:sp>
        <p:pic>
          <p:nvPicPr>
            <p:cNvPr id="1026" name="Picture 2" descr="C:\Users\Jonahs\Dropbox\Projects SCOTT\MEET Windows Azure\source\Background\tile-icon-storag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 name="Group 1"/>
          <p:cNvGrpSpPr/>
          <p:nvPr/>
        </p:nvGrpSpPr>
        <p:grpSpPr>
          <a:xfrm>
            <a:off x="1303596" y="467038"/>
            <a:ext cx="1422788" cy="1329482"/>
            <a:chOff x="1685919" y="596839"/>
            <a:chExt cx="1896557" cy="1772642"/>
          </a:xfrm>
        </p:grpSpPr>
        <p:sp>
          <p:nvSpPr>
            <p:cNvPr id="8" name="Rectangle 7"/>
            <p:cNvSpPr/>
            <p:nvPr/>
          </p:nvSpPr>
          <p:spPr bwMode="auto">
            <a:xfrm>
              <a:off x="1685919" y="596839"/>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637" fontAlgn="base">
                <a:spcBef>
                  <a:spcPct val="0"/>
                </a:spcBef>
                <a:spcAft>
                  <a:spcPct val="0"/>
                </a:spcAft>
              </a:pPr>
              <a:r>
                <a:rPr lang="en-US" dirty="0" smtClean="0">
                  <a:gradFill>
                    <a:gsLst>
                      <a:gs pos="0">
                        <a:srgbClr val="FFFFFF"/>
                      </a:gs>
                      <a:gs pos="100000">
                        <a:srgbClr val="FFFFFF"/>
                      </a:gs>
                    </a:gsLst>
                    <a:lin ang="5400000" scaled="0"/>
                  </a:gradFill>
                </a:rPr>
                <a:t>big data</a:t>
              </a:r>
            </a:p>
          </p:txBody>
        </p:sp>
        <p:pic>
          <p:nvPicPr>
            <p:cNvPr id="1027" name="Picture 3" descr="C:\Users\Jonahs\Dropbox\Projects SCOTT\MEET Windows Azure\source\Background\tile-icon-bigdata.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52075"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6" name="Group 35"/>
          <p:cNvGrpSpPr/>
          <p:nvPr/>
        </p:nvGrpSpPr>
        <p:grpSpPr>
          <a:xfrm>
            <a:off x="4256592" y="1850974"/>
            <a:ext cx="1422788" cy="1329482"/>
            <a:chOff x="3671322" y="4341709"/>
            <a:chExt cx="1896557" cy="1772642"/>
          </a:xfrm>
        </p:grpSpPr>
        <p:sp>
          <p:nvSpPr>
            <p:cNvPr id="26" name="Rectangle 25"/>
            <p:cNvSpPr/>
            <p:nvPr/>
          </p:nvSpPr>
          <p:spPr bwMode="auto">
            <a:xfrm>
              <a:off x="3671322" y="4341709"/>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637" fontAlgn="base">
                <a:spcBef>
                  <a:spcPct val="0"/>
                </a:spcBef>
                <a:spcAft>
                  <a:spcPct val="0"/>
                </a:spcAft>
              </a:pPr>
              <a:r>
                <a:rPr lang="en-US" dirty="0" smtClean="0">
                  <a:gradFill>
                    <a:gsLst>
                      <a:gs pos="0">
                        <a:srgbClr val="FFFFFF"/>
                      </a:gs>
                      <a:gs pos="100000">
                        <a:srgbClr val="FFFFFF"/>
                      </a:gs>
                    </a:gsLst>
                    <a:lin ang="5400000" scaled="0"/>
                  </a:gradFill>
                </a:rPr>
                <a:t>caching</a:t>
              </a:r>
            </a:p>
          </p:txBody>
        </p:sp>
        <p:pic>
          <p:nvPicPr>
            <p:cNvPr id="1028" name="Picture 4" descr="C:\Users\Jonahs\Dropbox\Projects SCOTT\MEET Windows Azure\source\Background\tile-icon-cach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93856" y="464308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oup 37"/>
          <p:cNvGrpSpPr/>
          <p:nvPr/>
        </p:nvGrpSpPr>
        <p:grpSpPr>
          <a:xfrm>
            <a:off x="4256592" y="3236874"/>
            <a:ext cx="1422788" cy="1329482"/>
            <a:chOff x="5656726" y="4341709"/>
            <a:chExt cx="1896557" cy="1772642"/>
          </a:xfrm>
        </p:grpSpPr>
        <p:sp>
          <p:nvSpPr>
            <p:cNvPr id="29" name="Rectangle 28"/>
            <p:cNvSpPr/>
            <p:nvPr/>
          </p:nvSpPr>
          <p:spPr bwMode="auto">
            <a:xfrm>
              <a:off x="5656726" y="4341709"/>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637" fontAlgn="base">
                <a:spcBef>
                  <a:spcPct val="0"/>
                </a:spcBef>
                <a:spcAft>
                  <a:spcPct val="0"/>
                </a:spcAft>
              </a:pPr>
              <a:r>
                <a:rPr lang="en-US" dirty="0" smtClean="0">
                  <a:gradFill>
                    <a:gsLst>
                      <a:gs pos="0">
                        <a:srgbClr val="FFFFFF"/>
                      </a:gs>
                      <a:gs pos="100000">
                        <a:srgbClr val="FFFFFF"/>
                      </a:gs>
                    </a:gsLst>
                    <a:lin ang="5400000" scaled="0"/>
                  </a:gradFill>
                </a:rPr>
                <a:t>CDN</a:t>
              </a:r>
            </a:p>
          </p:txBody>
        </p:sp>
        <p:pic>
          <p:nvPicPr>
            <p:cNvPr id="1029" name="Picture 5" descr="C:\Users\Jonahs\Dropbox\Projects SCOTT\MEET Windows Azure\source\Background\tile-icon-CDN.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79260"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p:cNvGrpSpPr/>
          <p:nvPr/>
        </p:nvGrpSpPr>
        <p:grpSpPr>
          <a:xfrm>
            <a:off x="2780095" y="467038"/>
            <a:ext cx="1422788" cy="1329482"/>
            <a:chOff x="3671323" y="596839"/>
            <a:chExt cx="1896557" cy="1772642"/>
          </a:xfrm>
        </p:grpSpPr>
        <p:sp>
          <p:nvSpPr>
            <p:cNvPr id="11" name="Rectangle 10"/>
            <p:cNvSpPr/>
            <p:nvPr/>
          </p:nvSpPr>
          <p:spPr bwMode="auto">
            <a:xfrm>
              <a:off x="3671323" y="596839"/>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637" fontAlgn="base">
                <a:spcBef>
                  <a:spcPct val="0"/>
                </a:spcBef>
                <a:spcAft>
                  <a:spcPct val="0"/>
                </a:spcAft>
              </a:pPr>
              <a:r>
                <a:rPr lang="en-US" dirty="0" smtClean="0">
                  <a:gradFill>
                    <a:gsLst>
                      <a:gs pos="0">
                        <a:srgbClr val="FFFFFF"/>
                      </a:gs>
                      <a:gs pos="100000">
                        <a:srgbClr val="FFFFFF"/>
                      </a:gs>
                    </a:gsLst>
                    <a:lin ang="5400000" scaled="0"/>
                  </a:gradFill>
                </a:rPr>
                <a:t>database</a:t>
              </a:r>
            </a:p>
          </p:txBody>
        </p:sp>
        <p:pic>
          <p:nvPicPr>
            <p:cNvPr id="1030" name="Picture 6" descr="C:\Users\Jonahs\Dropbox\Projects SCOTT\MEET Windows Azure\source\Background\tile-icon-database.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93856"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7223167" y="1850974"/>
            <a:ext cx="1422788" cy="1329482"/>
            <a:chOff x="9645631" y="2476591"/>
            <a:chExt cx="1896557" cy="1772642"/>
          </a:xfrm>
        </p:grpSpPr>
        <p:sp>
          <p:nvSpPr>
            <p:cNvPr id="23" name="Rectangle 22"/>
            <p:cNvSpPr/>
            <p:nvPr/>
          </p:nvSpPr>
          <p:spPr bwMode="auto">
            <a:xfrm>
              <a:off x="9645631" y="2476591"/>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637" fontAlgn="base">
                <a:spcBef>
                  <a:spcPct val="0"/>
                </a:spcBef>
                <a:spcAft>
                  <a:spcPct val="0"/>
                </a:spcAft>
              </a:pPr>
              <a:r>
                <a:rPr lang="en-US" dirty="0" smtClean="0">
                  <a:gradFill>
                    <a:gsLst>
                      <a:gs pos="0">
                        <a:srgbClr val="FFFFFF"/>
                      </a:gs>
                      <a:gs pos="100000">
                        <a:srgbClr val="FFFFFF"/>
                      </a:gs>
                    </a:gsLst>
                    <a:lin ang="5400000" scaled="0"/>
                  </a:gradFill>
                </a:rPr>
                <a:t>identity</a:t>
              </a:r>
            </a:p>
          </p:txBody>
        </p:sp>
        <p:pic>
          <p:nvPicPr>
            <p:cNvPr id="1031" name="Picture 7" descr="C:\Users\Jonahs\Dropbox\Projects SCOTT\MEET Windows Azure\source\Background\tile-icon-identity.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168165" y="270556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Group 4"/>
          <p:cNvGrpSpPr/>
          <p:nvPr/>
        </p:nvGrpSpPr>
        <p:grpSpPr>
          <a:xfrm>
            <a:off x="2780095" y="3236874"/>
            <a:ext cx="1422788" cy="1329482"/>
            <a:chOff x="5665775" y="596839"/>
            <a:chExt cx="1896557" cy="1772642"/>
          </a:xfrm>
        </p:grpSpPr>
        <p:sp>
          <p:nvSpPr>
            <p:cNvPr id="14" name="Rectangle 13"/>
            <p:cNvSpPr/>
            <p:nvPr/>
          </p:nvSpPr>
          <p:spPr bwMode="auto">
            <a:xfrm>
              <a:off x="5665775" y="596839"/>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637" fontAlgn="base">
                <a:spcBef>
                  <a:spcPct val="0"/>
                </a:spcBef>
                <a:spcAft>
                  <a:spcPct val="0"/>
                </a:spcAft>
              </a:pPr>
              <a:r>
                <a:rPr lang="en-US" dirty="0" smtClean="0">
                  <a:gradFill>
                    <a:gsLst>
                      <a:gs pos="0">
                        <a:srgbClr val="FFFFFF"/>
                      </a:gs>
                      <a:gs pos="100000">
                        <a:srgbClr val="FFFFFF"/>
                      </a:gs>
                    </a:gsLst>
                    <a:lin ang="5400000" scaled="0"/>
                  </a:gradFill>
                </a:rPr>
                <a:t>media</a:t>
              </a:r>
            </a:p>
          </p:txBody>
        </p:sp>
        <p:pic>
          <p:nvPicPr>
            <p:cNvPr id="1032" name="Picture 8" descr="C:\Users\Jonahs\Dropbox\Projects SCOTT\MEET Windows Azure\source\Background\tile-icon-media.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88309" y="89821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5" name="Group 34"/>
          <p:cNvGrpSpPr/>
          <p:nvPr/>
        </p:nvGrpSpPr>
        <p:grpSpPr>
          <a:xfrm>
            <a:off x="5739880" y="1849701"/>
            <a:ext cx="1422788" cy="1329482"/>
            <a:chOff x="7651179" y="2466267"/>
            <a:chExt cx="1896557" cy="1772642"/>
          </a:xfrm>
        </p:grpSpPr>
        <p:sp>
          <p:nvSpPr>
            <p:cNvPr id="20" name="Rectangle 19"/>
            <p:cNvSpPr/>
            <p:nvPr/>
          </p:nvSpPr>
          <p:spPr bwMode="auto">
            <a:xfrm>
              <a:off x="7651179" y="2466267"/>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637" fontAlgn="base">
                <a:spcBef>
                  <a:spcPct val="0"/>
                </a:spcBef>
                <a:spcAft>
                  <a:spcPct val="0"/>
                </a:spcAft>
              </a:pPr>
              <a:r>
                <a:rPr lang="en-US" dirty="0" smtClean="0">
                  <a:gradFill>
                    <a:gsLst>
                      <a:gs pos="0">
                        <a:srgbClr val="FFFFFF"/>
                      </a:gs>
                      <a:gs pos="100000">
                        <a:srgbClr val="FFFFFF"/>
                      </a:gs>
                    </a:gsLst>
                    <a:lin ang="5400000" scaled="0"/>
                  </a:gradFill>
                </a:rPr>
                <a:t>messaging</a:t>
              </a:r>
            </a:p>
          </p:txBody>
        </p:sp>
        <p:pic>
          <p:nvPicPr>
            <p:cNvPr id="1033" name="Picture 9" descr="C:\Users\Jonahs\Dropbox\Projects SCOTT\MEET Windows Azure\source\Background\tile-icon-messaging.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173712"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4" name="Group 33"/>
          <p:cNvGrpSpPr/>
          <p:nvPr/>
        </p:nvGrpSpPr>
        <p:grpSpPr>
          <a:xfrm>
            <a:off x="5739880" y="3236874"/>
            <a:ext cx="1422788" cy="1329482"/>
            <a:chOff x="7651178" y="4341709"/>
            <a:chExt cx="1896557" cy="1772642"/>
          </a:xfrm>
        </p:grpSpPr>
        <p:sp>
          <p:nvSpPr>
            <p:cNvPr id="32" name="Rectangle 31"/>
            <p:cNvSpPr/>
            <p:nvPr/>
          </p:nvSpPr>
          <p:spPr bwMode="auto">
            <a:xfrm>
              <a:off x="7651178" y="4341709"/>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637" fontAlgn="base">
                <a:spcBef>
                  <a:spcPct val="0"/>
                </a:spcBef>
                <a:spcAft>
                  <a:spcPct val="0"/>
                </a:spcAft>
              </a:pPr>
              <a:r>
                <a:rPr lang="en-US" dirty="0" smtClean="0">
                  <a:gradFill>
                    <a:gsLst>
                      <a:gs pos="0">
                        <a:srgbClr val="FFFFFF"/>
                      </a:gs>
                      <a:gs pos="100000">
                        <a:srgbClr val="FFFFFF"/>
                      </a:gs>
                    </a:gsLst>
                    <a:lin ang="5400000" scaled="0"/>
                  </a:gradFill>
                </a:rPr>
                <a:t>networking</a:t>
              </a:r>
            </a:p>
          </p:txBody>
        </p:sp>
        <p:pic>
          <p:nvPicPr>
            <p:cNvPr id="1034" name="Picture 10" descr="C:\Users\Jonahs\Dropbox\Projects SCOTT\MEET Windows Azure\source\Background\tile-icon-network.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173712"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oup 29"/>
          <p:cNvGrpSpPr/>
          <p:nvPr/>
        </p:nvGrpSpPr>
        <p:grpSpPr>
          <a:xfrm>
            <a:off x="5746015" y="467038"/>
            <a:ext cx="1422788" cy="1329482"/>
            <a:chOff x="5665775" y="2466267"/>
            <a:chExt cx="1896557" cy="1772642"/>
          </a:xfrm>
        </p:grpSpPr>
        <p:sp>
          <p:nvSpPr>
            <p:cNvPr id="31" name="Rectangle 30"/>
            <p:cNvSpPr/>
            <p:nvPr/>
          </p:nvSpPr>
          <p:spPr bwMode="auto">
            <a:xfrm>
              <a:off x="5665775" y="2466267"/>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637" fontAlgn="base">
                <a:spcBef>
                  <a:spcPct val="0"/>
                </a:spcBef>
                <a:spcAft>
                  <a:spcPct val="0"/>
                </a:spcAft>
              </a:pPr>
              <a:r>
                <a:rPr lang="en-US" dirty="0" smtClean="0">
                  <a:gradFill>
                    <a:gsLst>
                      <a:gs pos="0">
                        <a:srgbClr val="FFFFFF"/>
                      </a:gs>
                      <a:gs pos="100000">
                        <a:srgbClr val="FFFFFF"/>
                      </a:gs>
                    </a:gsLst>
                    <a:lin ang="5400000" scaled="0"/>
                  </a:gradFill>
                </a:rPr>
                <a:t>traffic</a:t>
              </a:r>
            </a:p>
          </p:txBody>
        </p:sp>
        <p:pic>
          <p:nvPicPr>
            <p:cNvPr id="33" name="Picture 2"/>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sp>
        <p:nvSpPr>
          <p:cNvPr id="39"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40"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3"/>
              </a:rPr>
              <a:t>www.rapidbbs.cn</a:t>
            </a:r>
            <a:endParaRPr lang="zh-CN" altLang="en-US" sz="1200" b="0">
              <a:latin typeface="Arial" charset="0"/>
              <a:ea typeface="ＭＳ Ｐゴシック" pitchFamily="34" charset="-128"/>
            </a:endParaRPr>
          </a:p>
        </p:txBody>
      </p:sp>
      <p:pic>
        <p:nvPicPr>
          <p:cNvPr id="41" name="Picture 2">
            <a:hlinkClick r:id="rId13"/>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49428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nodeType="withEffect">
                                  <p:stCondLst>
                                    <p:cond delay="10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nodeType="withEffect">
                                  <p:stCondLst>
                                    <p:cond delay="1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nodeType="withEffect">
                                  <p:stCondLst>
                                    <p:cond delay="20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nodeType="withEffect">
                                  <p:stCondLst>
                                    <p:cond delay="25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10" presetClass="entr" presetSubtype="0" fill="hold" nodeType="withEffect">
                                  <p:stCondLst>
                                    <p:cond delay="300"/>
                                  </p:stCondLst>
                                  <p:childTnLst>
                                    <p:set>
                                      <p:cBhvr>
                                        <p:cTn id="21" dur="1" fill="hold">
                                          <p:stCondLst>
                                            <p:cond delay="0"/>
                                          </p:stCondLst>
                                        </p:cTn>
                                        <p:tgtEl>
                                          <p:spTgt spid="34"/>
                                        </p:tgtEl>
                                        <p:attrNameLst>
                                          <p:attrName>style.visibility</p:attrName>
                                        </p:attrNameLst>
                                      </p:cBhvr>
                                      <p:to>
                                        <p:strVal val="visible"/>
                                      </p:to>
                                    </p:set>
                                    <p:animEffect transition="in" filter="fade">
                                      <p:cBhvr>
                                        <p:cTn id="22" dur="500"/>
                                        <p:tgtEl>
                                          <p:spTgt spid="34"/>
                                        </p:tgtEl>
                                      </p:cBhvr>
                                    </p:animEffect>
                                  </p:childTnLst>
                                </p:cTn>
                              </p:par>
                              <p:par>
                                <p:cTn id="23" presetID="10" presetClass="entr" presetSubtype="0" fill="hold" nodeType="withEffect">
                                  <p:stCondLst>
                                    <p:cond delay="35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par>
                                <p:cTn id="26" presetID="10" presetClass="entr" presetSubtype="0" fill="hold" nodeType="withEffect">
                                  <p:stCondLst>
                                    <p:cond delay="400"/>
                                  </p:stCondLst>
                                  <p:childTnLst>
                                    <p:set>
                                      <p:cBhvr>
                                        <p:cTn id="27" dur="1" fill="hold">
                                          <p:stCondLst>
                                            <p:cond delay="0"/>
                                          </p:stCondLst>
                                        </p:cTn>
                                        <p:tgtEl>
                                          <p:spTgt spid="36"/>
                                        </p:tgtEl>
                                        <p:attrNameLst>
                                          <p:attrName>style.visibility</p:attrName>
                                        </p:attrNameLst>
                                      </p:cBhvr>
                                      <p:to>
                                        <p:strVal val="visible"/>
                                      </p:to>
                                    </p:set>
                                    <p:animEffect transition="in" filter="fade">
                                      <p:cBhvr>
                                        <p:cTn id="28" dur="500"/>
                                        <p:tgtEl>
                                          <p:spTgt spid="36"/>
                                        </p:tgtEl>
                                      </p:cBhvr>
                                    </p:animEffect>
                                  </p:childTnLst>
                                </p:cTn>
                              </p:par>
                              <p:par>
                                <p:cTn id="29" presetID="10" presetClass="entr" presetSubtype="0" fill="hold" nodeType="withEffect">
                                  <p:stCondLst>
                                    <p:cond delay="45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nodeType="withEffect">
                                  <p:stCondLst>
                                    <p:cond delay="500"/>
                                  </p:stCondLst>
                                  <p:childTnLst>
                                    <p:set>
                                      <p:cBhvr>
                                        <p:cTn id="33" dur="1" fill="hold">
                                          <p:stCondLst>
                                            <p:cond delay="0"/>
                                          </p:stCondLst>
                                        </p:cTn>
                                        <p:tgtEl>
                                          <p:spTgt spid="30"/>
                                        </p:tgtEl>
                                        <p:attrNameLst>
                                          <p:attrName>style.visibility</p:attrName>
                                        </p:attrNameLst>
                                      </p:cBhvr>
                                      <p:to>
                                        <p:strVal val="visible"/>
                                      </p:to>
                                    </p:set>
                                    <p:animEffect transition="in" filter="fade">
                                      <p:cBhvr>
                                        <p:cTn id="34"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istening to you</a:t>
            </a:r>
            <a:endParaRPr lang="en-US" dirty="0"/>
          </a:p>
        </p:txBody>
      </p:sp>
      <p:sp>
        <p:nvSpPr>
          <p:cNvPr id="12" name="TextBox 11"/>
          <p:cNvSpPr txBox="1"/>
          <p:nvPr/>
        </p:nvSpPr>
        <p:spPr>
          <a:xfrm>
            <a:off x="170303" y="763954"/>
            <a:ext cx="5916566" cy="755602"/>
          </a:xfrm>
          <a:prstGeom prst="rect">
            <a:avLst/>
          </a:prstGeom>
          <a:solidFill>
            <a:schemeClr val="accent6"/>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0" tIns="102875" rIns="68580" bIns="102875" numCol="1" rtlCol="0" anchor="t" anchorCtr="0" compatLnSpc="1">
            <a:prstTxWarp prst="textNoShape">
              <a:avLst/>
            </a:prstTxWarp>
            <a:spAutoFit/>
          </a:bodyPr>
          <a:lstStyle>
            <a:defPPr>
              <a:defRPr lang="en-US"/>
            </a:defPPr>
            <a:lvl1pPr marL="460375" lvl="0" indent="-460375">
              <a:lnSpc>
                <a:spcPct val="90000"/>
              </a:lnSpc>
              <a:spcBef>
                <a:spcPct val="20000"/>
              </a:spcBef>
              <a:buSzPct val="90000"/>
              <a:buBlip>
                <a:blip r:embed="rId3"/>
              </a:buBlip>
              <a:defRPr sz="2400">
                <a:gradFill>
                  <a:gsLst>
                    <a:gs pos="0">
                      <a:schemeClr val="tx1"/>
                    </a:gs>
                    <a:gs pos="100000">
                      <a:schemeClr val="tx1"/>
                    </a:gs>
                  </a:gsLst>
                  <a:lin ang="5400000" scaled="0"/>
                </a:gradFill>
              </a:defRPr>
            </a:lvl1pPr>
          </a:lstStyle>
          <a:p>
            <a:pPr defTabSz="685807"/>
            <a:r>
              <a:rPr lang="en-US" dirty="0">
                <a:gradFill>
                  <a:gsLst>
                    <a:gs pos="0">
                      <a:srgbClr val="FFFFFF"/>
                    </a:gs>
                    <a:gs pos="100000">
                      <a:srgbClr val="FFFFFF"/>
                    </a:gs>
                  </a:gsLst>
                  <a:lin ang="5400000" scaled="0"/>
                </a:gradFill>
              </a:rPr>
              <a:t>Better quota </a:t>
            </a:r>
            <a:r>
              <a:rPr lang="en-US" dirty="0" smtClean="0">
                <a:gradFill>
                  <a:gsLst>
                    <a:gs pos="0">
                      <a:srgbClr val="FFFFFF"/>
                    </a:gs>
                    <a:gs pos="100000">
                      <a:srgbClr val="FFFFFF"/>
                    </a:gs>
                  </a:gsLst>
                  <a:lin ang="5400000" scaled="0"/>
                </a:gradFill>
              </a:rPr>
              <a:t>management</a:t>
            </a:r>
          </a:p>
          <a:p>
            <a:pPr marL="342904" lvl="1" algn="r" defTabSz="685807"/>
            <a:r>
              <a:rPr lang="en-US" dirty="0">
                <a:solidFill>
                  <a:srgbClr val="FFFFFF"/>
                </a:solidFill>
              </a:rPr>
              <a:t>Relax the limits and warn me before I cross them</a:t>
            </a:r>
          </a:p>
        </p:txBody>
      </p:sp>
      <p:sp>
        <p:nvSpPr>
          <p:cNvPr id="13" name="TextBox 12"/>
          <p:cNvSpPr txBox="1"/>
          <p:nvPr/>
        </p:nvSpPr>
        <p:spPr>
          <a:xfrm>
            <a:off x="170303" y="4343401"/>
            <a:ext cx="5916566" cy="755602"/>
          </a:xfrm>
          <a:prstGeom prst="rect">
            <a:avLst/>
          </a:prstGeom>
          <a:solidFill>
            <a:schemeClr val="accent2"/>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0" tIns="102875" rIns="68580" bIns="102875" numCol="1" rtlCol="0" anchor="t" anchorCtr="0" compatLnSpc="1">
            <a:prstTxWarp prst="textNoShape">
              <a:avLst/>
            </a:prstTxWarp>
            <a:spAutoFit/>
          </a:bodyPr>
          <a:lstStyle>
            <a:defPPr>
              <a:defRPr lang="en-US"/>
            </a:defPPr>
            <a:lvl1pPr marL="460375" lvl="0" indent="-460375">
              <a:lnSpc>
                <a:spcPct val="90000"/>
              </a:lnSpc>
              <a:spcBef>
                <a:spcPct val="20000"/>
              </a:spcBef>
              <a:buSzPct val="90000"/>
              <a:buBlip>
                <a:blip r:embed="rId3"/>
              </a:buBlip>
              <a:defRPr sz="2400">
                <a:gradFill>
                  <a:gsLst>
                    <a:gs pos="0">
                      <a:schemeClr val="tx1"/>
                    </a:gs>
                    <a:gs pos="100000">
                      <a:schemeClr val="tx1"/>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685807"/>
            <a:r>
              <a:rPr lang="en-US" dirty="0" smtClean="0">
                <a:gradFill>
                  <a:gsLst>
                    <a:gs pos="0">
                      <a:srgbClr val="FFFFFF"/>
                    </a:gs>
                    <a:gs pos="100000">
                      <a:srgbClr val="FFFFFF"/>
                    </a:gs>
                  </a:gsLst>
                  <a:lin ang="5400000" scaled="0"/>
                </a:gradFill>
              </a:rPr>
              <a:t>No compromises with </a:t>
            </a:r>
            <a:r>
              <a:rPr lang="en-US" dirty="0" err="1" smtClean="0">
                <a:gradFill>
                  <a:gsLst>
                    <a:gs pos="0">
                      <a:srgbClr val="FFFFFF"/>
                    </a:gs>
                    <a:gs pos="100000">
                      <a:srgbClr val="FFFFFF"/>
                    </a:gs>
                  </a:gsLst>
                  <a:lin ang="5400000" scaled="0"/>
                </a:gradFill>
              </a:rPr>
              <a:t>perf</a:t>
            </a:r>
            <a:endParaRPr lang="en-US" dirty="0">
              <a:gradFill>
                <a:gsLst>
                  <a:gs pos="0">
                    <a:srgbClr val="FFFFFF"/>
                  </a:gs>
                  <a:gs pos="100000">
                    <a:srgbClr val="FFFFFF"/>
                  </a:gs>
                </a:gsLst>
                <a:lin ang="5400000" scaled="0"/>
              </a:gradFill>
            </a:endParaRPr>
          </a:p>
          <a:p>
            <a:pPr marL="342904" lvl="1" algn="r" defTabSz="685807"/>
            <a:r>
              <a:rPr lang="en-US" dirty="0">
                <a:solidFill>
                  <a:srgbClr val="FFFFFF"/>
                </a:solidFill>
              </a:rPr>
              <a:t>Hold the bar</a:t>
            </a:r>
          </a:p>
        </p:txBody>
      </p:sp>
      <p:sp>
        <p:nvSpPr>
          <p:cNvPr id="14" name="TextBox 13"/>
          <p:cNvSpPr txBox="1"/>
          <p:nvPr/>
        </p:nvSpPr>
        <p:spPr>
          <a:xfrm>
            <a:off x="170303" y="1657351"/>
            <a:ext cx="5916566" cy="755602"/>
          </a:xfrm>
          <a:prstGeom prst="rect">
            <a:avLst/>
          </a:prstGeom>
          <a:solidFill>
            <a:schemeClr val="accent4"/>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0" tIns="102875" rIns="68580" bIns="102875" numCol="1" rtlCol="0" anchor="t" anchorCtr="0" compatLnSpc="1">
            <a:prstTxWarp prst="textNoShape">
              <a:avLst/>
            </a:prstTxWarp>
            <a:spAutoFit/>
          </a:bodyPr>
          <a:lstStyle>
            <a:defPPr>
              <a:defRPr lang="en-US"/>
            </a:defPPr>
            <a:lvl1pPr marL="460375" lvl="0" indent="-460375">
              <a:lnSpc>
                <a:spcPct val="90000"/>
              </a:lnSpc>
              <a:spcBef>
                <a:spcPct val="20000"/>
              </a:spcBef>
              <a:buSzPct val="90000"/>
              <a:buBlip>
                <a:blip r:embed="rId3"/>
              </a:buBlip>
              <a:defRPr sz="2400">
                <a:gradFill>
                  <a:gsLst>
                    <a:gs pos="0">
                      <a:schemeClr val="tx1"/>
                    </a:gs>
                    <a:gs pos="100000">
                      <a:schemeClr val="tx1"/>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685807"/>
            <a:r>
              <a:rPr lang="en-US" dirty="0">
                <a:gradFill>
                  <a:gsLst>
                    <a:gs pos="0">
                      <a:srgbClr val="FFFFFF"/>
                    </a:gs>
                    <a:gs pos="100000">
                      <a:srgbClr val="FFFFFF"/>
                    </a:gs>
                  </a:gsLst>
                  <a:lin ang="5400000" scaled="0"/>
                </a:gradFill>
              </a:rPr>
              <a:t>Flexibility, control, isolation</a:t>
            </a:r>
          </a:p>
          <a:p>
            <a:pPr marL="342904" lvl="1" algn="r" defTabSz="685807"/>
            <a:r>
              <a:rPr lang="en-US" dirty="0">
                <a:solidFill>
                  <a:srgbClr val="FFFFFF"/>
                </a:solidFill>
              </a:rPr>
              <a:t>Make the service less of a black box</a:t>
            </a:r>
          </a:p>
        </p:txBody>
      </p:sp>
      <p:sp>
        <p:nvSpPr>
          <p:cNvPr id="15" name="TextBox 14"/>
          <p:cNvSpPr txBox="1"/>
          <p:nvPr/>
        </p:nvSpPr>
        <p:spPr>
          <a:xfrm>
            <a:off x="170303" y="2556492"/>
            <a:ext cx="5916566" cy="755602"/>
          </a:xfrm>
          <a:prstGeom prst="rect">
            <a:avLst/>
          </a:prstGeom>
          <a:solidFill>
            <a:schemeClr val="accent3"/>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0" tIns="102875" rIns="68580" bIns="102875" numCol="1" rtlCol="0" anchor="t" anchorCtr="0" compatLnSpc="1">
            <a:prstTxWarp prst="textNoShape">
              <a:avLst/>
            </a:prstTxWarp>
            <a:spAutoFit/>
          </a:bodyPr>
          <a:lstStyle>
            <a:defPPr>
              <a:defRPr lang="en-US"/>
            </a:defPPr>
            <a:lvl1pPr marL="460375" lvl="0" indent="-460375">
              <a:lnSpc>
                <a:spcPct val="90000"/>
              </a:lnSpc>
              <a:spcBef>
                <a:spcPct val="20000"/>
              </a:spcBef>
              <a:buSzPct val="90000"/>
              <a:buBlip>
                <a:blip r:embed="rId3"/>
              </a:buBlip>
              <a:defRPr sz="2400">
                <a:gradFill>
                  <a:gsLst>
                    <a:gs pos="0">
                      <a:schemeClr val="tx1"/>
                    </a:gs>
                    <a:gs pos="100000">
                      <a:schemeClr val="tx1"/>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685807"/>
            <a:r>
              <a:rPr lang="en-US" dirty="0" smtClean="0">
                <a:gradFill>
                  <a:gsLst>
                    <a:gs pos="0">
                      <a:srgbClr val="FFFFFF"/>
                    </a:gs>
                    <a:gs pos="100000">
                      <a:srgbClr val="FFFFFF"/>
                    </a:gs>
                  </a:gsLst>
                  <a:lin ang="5400000" scaled="0"/>
                </a:gradFill>
              </a:rPr>
              <a:t>Larger caches</a:t>
            </a:r>
            <a:endParaRPr lang="en-US" dirty="0">
              <a:gradFill>
                <a:gsLst>
                  <a:gs pos="0">
                    <a:srgbClr val="FFFFFF"/>
                  </a:gs>
                  <a:gs pos="100000">
                    <a:srgbClr val="FFFFFF"/>
                  </a:gs>
                </a:gsLst>
                <a:lin ang="5400000" scaled="0"/>
              </a:gradFill>
            </a:endParaRPr>
          </a:p>
          <a:p>
            <a:pPr marL="342904" lvl="1" algn="r" defTabSz="685807"/>
            <a:r>
              <a:rPr lang="en-US" dirty="0">
                <a:solidFill>
                  <a:srgbClr val="FFFFFF"/>
                </a:solidFill>
              </a:rPr>
              <a:t>Give me caches bigger than 4GB</a:t>
            </a:r>
          </a:p>
        </p:txBody>
      </p:sp>
      <p:sp>
        <p:nvSpPr>
          <p:cNvPr id="16" name="TextBox 15"/>
          <p:cNvSpPr txBox="1"/>
          <p:nvPr/>
        </p:nvSpPr>
        <p:spPr>
          <a:xfrm>
            <a:off x="3371537" y="867639"/>
            <a:ext cx="5544994" cy="872557"/>
          </a:xfrm>
          <a:prstGeom prst="rect">
            <a:avLst/>
          </a:prstGeom>
          <a:solidFill>
            <a:schemeClr val="accent6"/>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0" tIns="102875" rIns="68580" bIns="102875" numCol="1" rtlCol="0" anchor="t" anchorCtr="0" compatLnSpc="1">
            <a:prstTxWarp prst="textNoShape">
              <a:avLst/>
            </a:prstTxWarp>
            <a:spAutoFit/>
          </a:bodyPr>
          <a:lstStyle>
            <a:defPPr>
              <a:defRPr lang="en-US"/>
            </a:defPPr>
            <a:lvl1pPr marL="460375" lvl="0" indent="-460375">
              <a:lnSpc>
                <a:spcPct val="90000"/>
              </a:lnSpc>
              <a:spcBef>
                <a:spcPct val="20000"/>
              </a:spcBef>
              <a:buSzPct val="90000"/>
              <a:buBlip>
                <a:blip r:embed="rId3"/>
              </a:buBlip>
              <a:defRPr sz="2400">
                <a:gradFill>
                  <a:gsLst>
                    <a:gs pos="0">
                      <a:schemeClr val="tx1"/>
                    </a:gs>
                    <a:gs pos="100000">
                      <a:schemeClr val="tx1"/>
                    </a:gs>
                  </a:gsLst>
                  <a:lin ang="5400000" scaled="0"/>
                </a:gradFill>
              </a:defRPr>
            </a:lvl1pPr>
            <a:lvl2pPr lvl="1"/>
          </a:lstStyle>
          <a:p>
            <a:pPr defTabSz="685807"/>
            <a:r>
              <a:rPr lang="en-US" dirty="0">
                <a:gradFill>
                  <a:gsLst>
                    <a:gs pos="0">
                      <a:srgbClr val="FFFFFF"/>
                    </a:gs>
                    <a:gs pos="100000">
                      <a:srgbClr val="FFFFFF"/>
                    </a:gs>
                  </a:gsLst>
                  <a:lin ang="5400000" scaled="0"/>
                </a:gradFill>
              </a:rPr>
              <a:t>What if there were </a:t>
            </a:r>
            <a:r>
              <a:rPr lang="en-US" dirty="0" smtClean="0">
                <a:gradFill>
                  <a:gsLst>
                    <a:gs pos="0">
                      <a:srgbClr val="FFFFFF"/>
                    </a:gs>
                    <a:gs pos="100000">
                      <a:srgbClr val="FFFFFF"/>
                    </a:gs>
                  </a:gsLst>
                  <a:lin ang="5400000" scaled="0"/>
                </a:gradFill>
              </a:rPr>
              <a:t>no cache quotas at all?</a:t>
            </a:r>
            <a:endParaRPr lang="en-US" dirty="0">
              <a:gradFill>
                <a:gsLst>
                  <a:gs pos="0">
                    <a:srgbClr val="FFFFFF"/>
                  </a:gs>
                  <a:gs pos="100000">
                    <a:srgbClr val="FFFFFF"/>
                  </a:gs>
                </a:gsLst>
                <a:lin ang="5400000" scaled="0"/>
              </a:gradFill>
            </a:endParaRPr>
          </a:p>
        </p:txBody>
      </p:sp>
      <p:sp>
        <p:nvSpPr>
          <p:cNvPr id="18" name="TextBox 17"/>
          <p:cNvSpPr txBox="1"/>
          <p:nvPr/>
        </p:nvSpPr>
        <p:spPr>
          <a:xfrm>
            <a:off x="3371537" y="1751748"/>
            <a:ext cx="5544994" cy="872557"/>
          </a:xfrm>
          <a:prstGeom prst="rect">
            <a:avLst/>
          </a:prstGeom>
          <a:solidFill>
            <a:schemeClr val="accent4"/>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0" tIns="102875" rIns="68580" bIns="102875" numCol="1" rtlCol="0" anchor="t" anchorCtr="0" compatLnSpc="1">
            <a:prstTxWarp prst="textNoShape">
              <a:avLst/>
            </a:prstTxWarp>
            <a:spAutoFit/>
          </a:bodyPr>
          <a:lstStyle>
            <a:defPPr>
              <a:defRPr lang="en-US"/>
            </a:defPPr>
            <a:lvl1pPr marL="460375" lvl="0" indent="-460375">
              <a:lnSpc>
                <a:spcPct val="90000"/>
              </a:lnSpc>
              <a:spcBef>
                <a:spcPct val="20000"/>
              </a:spcBef>
              <a:buSzPct val="90000"/>
              <a:buBlip>
                <a:blip r:embed="rId3"/>
              </a:buBlip>
              <a:defRPr sz="2400">
                <a:gradFill>
                  <a:gsLst>
                    <a:gs pos="0">
                      <a:schemeClr val="tx1"/>
                    </a:gs>
                    <a:gs pos="100000">
                      <a:schemeClr val="tx1"/>
                    </a:gs>
                  </a:gsLst>
                  <a:lin ang="5400000" scaled="0"/>
                </a:gradFill>
              </a:defRPr>
            </a:lvl1pPr>
            <a:lvl2pPr lvl="1">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685807"/>
            <a:r>
              <a:rPr lang="en-US" dirty="0" smtClean="0">
                <a:gradFill>
                  <a:gsLst>
                    <a:gs pos="0">
                      <a:srgbClr val="FFFFFF"/>
                    </a:gs>
                    <a:gs pos="100000">
                      <a:srgbClr val="FFFFFF"/>
                    </a:gs>
                  </a:gsLst>
                  <a:lin ang="5400000" scaled="0"/>
                </a:gradFill>
              </a:rPr>
              <a:t>What if you had control over cache like your app?</a:t>
            </a:r>
            <a:endParaRPr lang="en-US" dirty="0">
              <a:gradFill>
                <a:gsLst>
                  <a:gs pos="0">
                    <a:srgbClr val="FFFFFF"/>
                  </a:gs>
                  <a:gs pos="100000">
                    <a:srgbClr val="FFFFFF"/>
                  </a:gs>
                </a:gsLst>
                <a:lin ang="5400000" scaled="0"/>
              </a:gradFill>
            </a:endParaRPr>
          </a:p>
        </p:txBody>
      </p:sp>
      <p:sp>
        <p:nvSpPr>
          <p:cNvPr id="19" name="TextBox 18"/>
          <p:cNvSpPr txBox="1"/>
          <p:nvPr/>
        </p:nvSpPr>
        <p:spPr>
          <a:xfrm>
            <a:off x="3371537" y="2649942"/>
            <a:ext cx="5544994" cy="872557"/>
          </a:xfrm>
          <a:prstGeom prst="rect">
            <a:avLst/>
          </a:prstGeom>
          <a:solidFill>
            <a:schemeClr val="accent3"/>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0" tIns="102875" rIns="68580" bIns="102875" numCol="1" rtlCol="0" anchor="t" anchorCtr="0" compatLnSpc="1">
            <a:prstTxWarp prst="textNoShape">
              <a:avLst/>
            </a:prstTxWarp>
            <a:spAutoFit/>
          </a:bodyPr>
          <a:lstStyle>
            <a:defPPr>
              <a:defRPr lang="en-US"/>
            </a:defPPr>
            <a:lvl1pPr marL="460375" lvl="0" indent="-460375">
              <a:lnSpc>
                <a:spcPct val="90000"/>
              </a:lnSpc>
              <a:spcBef>
                <a:spcPct val="20000"/>
              </a:spcBef>
              <a:buSzPct val="90000"/>
              <a:buBlip>
                <a:blip r:embed="rId3"/>
              </a:buBlip>
              <a:defRPr sz="2400">
                <a:gradFill>
                  <a:gsLst>
                    <a:gs pos="0">
                      <a:schemeClr val="tx1"/>
                    </a:gs>
                    <a:gs pos="100000">
                      <a:schemeClr val="tx1"/>
                    </a:gs>
                  </a:gsLst>
                  <a:lin ang="5400000" scaled="0"/>
                </a:gradFill>
              </a:defRPr>
            </a:lvl1pPr>
            <a:lvl2pPr lvl="1">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685807"/>
            <a:r>
              <a:rPr lang="en-US" dirty="0" smtClean="0">
                <a:gradFill>
                  <a:gsLst>
                    <a:gs pos="0">
                      <a:srgbClr val="FFFFFF"/>
                    </a:gs>
                    <a:gs pos="100000">
                      <a:srgbClr val="FFFFFF"/>
                    </a:gs>
                  </a:gsLst>
                  <a:lin ang="5400000" scaled="0"/>
                </a:gradFill>
              </a:rPr>
              <a:t>How about hundreds of GB of cache?</a:t>
            </a:r>
            <a:endParaRPr lang="en-US" dirty="0">
              <a:gradFill>
                <a:gsLst>
                  <a:gs pos="0">
                    <a:srgbClr val="FFFFFF"/>
                  </a:gs>
                  <a:gs pos="100000">
                    <a:srgbClr val="FFFFFF"/>
                  </a:gs>
                </a:gsLst>
                <a:lin ang="5400000" scaled="0"/>
              </a:gradFill>
            </a:endParaRPr>
          </a:p>
        </p:txBody>
      </p:sp>
      <p:sp>
        <p:nvSpPr>
          <p:cNvPr id="20" name="TextBox 19"/>
          <p:cNvSpPr txBox="1"/>
          <p:nvPr/>
        </p:nvSpPr>
        <p:spPr>
          <a:xfrm>
            <a:off x="3371537" y="4452300"/>
            <a:ext cx="5544994" cy="872557"/>
          </a:xfrm>
          <a:prstGeom prst="rect">
            <a:avLst/>
          </a:prstGeom>
          <a:solidFill>
            <a:schemeClr val="accent2"/>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0" tIns="102875" rIns="68580" bIns="102875" numCol="1" rtlCol="0" anchor="t" anchorCtr="0" compatLnSpc="1">
            <a:prstTxWarp prst="textNoShape">
              <a:avLst/>
            </a:prstTxWarp>
            <a:spAutoFit/>
          </a:bodyPr>
          <a:lstStyle>
            <a:defPPr>
              <a:defRPr lang="en-US"/>
            </a:defPPr>
            <a:lvl1pPr marL="460375" lvl="0" indent="-460375">
              <a:lnSpc>
                <a:spcPct val="90000"/>
              </a:lnSpc>
              <a:spcBef>
                <a:spcPct val="20000"/>
              </a:spcBef>
              <a:buSzPct val="90000"/>
              <a:buBlip>
                <a:blip r:embed="rId3"/>
              </a:buBlip>
              <a:defRPr sz="2400">
                <a:gradFill>
                  <a:gsLst>
                    <a:gs pos="0">
                      <a:schemeClr val="tx1"/>
                    </a:gs>
                    <a:gs pos="100000">
                      <a:schemeClr val="tx1"/>
                    </a:gs>
                  </a:gsLst>
                  <a:lin ang="5400000" scaled="0"/>
                </a:gradFill>
              </a:defRPr>
            </a:lvl1pPr>
            <a:lvl2pPr lvl="1">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685807"/>
            <a:r>
              <a:rPr lang="en-US" dirty="0">
                <a:gradFill>
                  <a:gsLst>
                    <a:gs pos="0">
                      <a:srgbClr val="FFFFFF"/>
                    </a:gs>
                    <a:gs pos="100000">
                      <a:srgbClr val="FFFFFF"/>
                    </a:gs>
                  </a:gsLst>
                  <a:lin ang="5400000" scaled="0"/>
                </a:gradFill>
              </a:rPr>
              <a:t>How about </a:t>
            </a:r>
            <a:r>
              <a:rPr lang="en-US" dirty="0" smtClean="0">
                <a:gradFill>
                  <a:gsLst>
                    <a:gs pos="0">
                      <a:srgbClr val="FFFFFF"/>
                    </a:gs>
                    <a:gs pos="100000">
                      <a:srgbClr val="FFFFFF"/>
                    </a:gs>
                  </a:gsLst>
                  <a:lin ang="5400000" scaled="0"/>
                </a:gradFill>
              </a:rPr>
              <a:t>reducing latency by more than half?</a:t>
            </a:r>
            <a:endParaRPr lang="en-US" dirty="0">
              <a:gradFill>
                <a:gsLst>
                  <a:gs pos="0">
                    <a:srgbClr val="FFFFFF"/>
                  </a:gs>
                  <a:gs pos="100000">
                    <a:srgbClr val="FFFFFF"/>
                  </a:gs>
                </a:gsLst>
                <a:lin ang="5400000" scaled="0"/>
              </a:gradFill>
            </a:endParaRPr>
          </a:p>
        </p:txBody>
      </p:sp>
      <p:sp>
        <p:nvSpPr>
          <p:cNvPr id="17" name="TextBox 16"/>
          <p:cNvSpPr txBox="1"/>
          <p:nvPr/>
        </p:nvSpPr>
        <p:spPr>
          <a:xfrm>
            <a:off x="170303" y="3449890"/>
            <a:ext cx="5916566" cy="755602"/>
          </a:xfrm>
          <a:prstGeom prst="rect">
            <a:avLst/>
          </a:prstGeom>
          <a:solidFill>
            <a:schemeClr val="accent5"/>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0" tIns="102875" rIns="68580" bIns="102875" numCol="1" rtlCol="0" anchor="t" anchorCtr="0" compatLnSpc="1">
            <a:prstTxWarp prst="textNoShape">
              <a:avLst/>
            </a:prstTxWarp>
            <a:spAutoFit/>
          </a:bodyPr>
          <a:lstStyle>
            <a:defPPr>
              <a:defRPr lang="en-US"/>
            </a:defPPr>
            <a:lvl1pPr marL="460375" lvl="0" indent="-460375">
              <a:lnSpc>
                <a:spcPct val="90000"/>
              </a:lnSpc>
              <a:spcBef>
                <a:spcPct val="20000"/>
              </a:spcBef>
              <a:buSzPct val="90000"/>
              <a:buBlip>
                <a:blip r:embed="rId3"/>
              </a:buBlip>
              <a:defRPr sz="2400">
                <a:gradFill>
                  <a:gsLst>
                    <a:gs pos="0">
                      <a:schemeClr val="tx1"/>
                    </a:gs>
                    <a:gs pos="100000">
                      <a:schemeClr val="tx1"/>
                    </a:gs>
                  </a:gsLst>
                  <a:lin ang="5400000" scaled="0"/>
                </a:gradFill>
              </a:defRPr>
            </a:lvl1pPr>
          </a:lstStyle>
          <a:p>
            <a:pPr defTabSz="685807"/>
            <a:r>
              <a:rPr lang="en-US" dirty="0">
                <a:gradFill>
                  <a:gsLst>
                    <a:gs pos="0">
                      <a:srgbClr val="FFFFFF"/>
                    </a:gs>
                    <a:gs pos="100000">
                      <a:srgbClr val="FFFFFF"/>
                    </a:gs>
                  </a:gsLst>
                  <a:lin ang="5400000" scaled="0"/>
                </a:gradFill>
              </a:rPr>
              <a:t>Lower cost</a:t>
            </a:r>
          </a:p>
          <a:p>
            <a:pPr marL="342904" lvl="1" algn="r" defTabSz="685807"/>
            <a:r>
              <a:rPr lang="en-US" dirty="0">
                <a:solidFill>
                  <a:srgbClr val="FFFFFF"/>
                </a:solidFill>
              </a:rPr>
              <a:t>Cache should be cheaper than $45/</a:t>
            </a:r>
            <a:r>
              <a:rPr lang="en-US" dirty="0" err="1">
                <a:solidFill>
                  <a:srgbClr val="FFFFFF"/>
                </a:solidFill>
              </a:rPr>
              <a:t>mo</a:t>
            </a:r>
            <a:r>
              <a:rPr lang="en-US" dirty="0">
                <a:solidFill>
                  <a:srgbClr val="FFFFFF"/>
                </a:solidFill>
              </a:rPr>
              <a:t> for 128MB </a:t>
            </a:r>
          </a:p>
        </p:txBody>
      </p:sp>
      <p:sp>
        <p:nvSpPr>
          <p:cNvPr id="23" name="TextBox 22"/>
          <p:cNvSpPr txBox="1"/>
          <p:nvPr/>
        </p:nvSpPr>
        <p:spPr>
          <a:xfrm>
            <a:off x="3371537" y="3553575"/>
            <a:ext cx="5544994" cy="872557"/>
          </a:xfrm>
          <a:prstGeom prst="rect">
            <a:avLst/>
          </a:prstGeom>
          <a:solidFill>
            <a:schemeClr val="accent5"/>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0" tIns="102875" rIns="68580" bIns="102875" numCol="1" rtlCol="0" anchor="t" anchorCtr="0" compatLnSpc="1">
            <a:prstTxWarp prst="textNoShape">
              <a:avLst/>
            </a:prstTxWarp>
            <a:spAutoFit/>
          </a:bodyPr>
          <a:lstStyle>
            <a:defPPr>
              <a:defRPr lang="en-US"/>
            </a:defPPr>
            <a:lvl1pPr marL="460375" lvl="0" indent="-460375">
              <a:lnSpc>
                <a:spcPct val="90000"/>
              </a:lnSpc>
              <a:spcBef>
                <a:spcPct val="20000"/>
              </a:spcBef>
              <a:buSzPct val="90000"/>
              <a:buBlip>
                <a:blip r:embed="rId3"/>
              </a:buBlip>
              <a:defRPr sz="2400">
                <a:gradFill>
                  <a:gsLst>
                    <a:gs pos="0">
                      <a:schemeClr val="tx1"/>
                    </a:gs>
                    <a:gs pos="100000">
                      <a:schemeClr val="tx1"/>
                    </a:gs>
                  </a:gsLst>
                  <a:lin ang="5400000" scaled="0"/>
                </a:gradFill>
              </a:defRPr>
            </a:lvl1pPr>
            <a:lvl2pPr lvl="1"/>
          </a:lstStyle>
          <a:p>
            <a:pPr defTabSz="685807"/>
            <a:r>
              <a:rPr lang="en-US" dirty="0">
                <a:gradFill>
                  <a:gsLst>
                    <a:gs pos="0">
                      <a:srgbClr val="FFFFFF"/>
                    </a:gs>
                    <a:gs pos="100000">
                      <a:srgbClr val="FFFFFF"/>
                    </a:gs>
                  </a:gsLst>
                  <a:lin ang="5400000" scaled="0"/>
                </a:gradFill>
              </a:rPr>
              <a:t>What if you didn’t pay </a:t>
            </a:r>
            <a:r>
              <a:rPr lang="en-US" dirty="0" smtClean="0">
                <a:gradFill>
                  <a:gsLst>
                    <a:gs pos="0">
                      <a:srgbClr val="FFFFFF"/>
                    </a:gs>
                    <a:gs pos="100000">
                      <a:srgbClr val="FFFFFF"/>
                    </a:gs>
                  </a:gsLst>
                  <a:lin ang="5400000" scaled="0"/>
                </a:gradFill>
              </a:rPr>
              <a:t>a premium </a:t>
            </a:r>
            <a:r>
              <a:rPr lang="en-US" dirty="0">
                <a:gradFill>
                  <a:gsLst>
                    <a:gs pos="0">
                      <a:srgbClr val="FFFFFF"/>
                    </a:gs>
                    <a:gs pos="100000">
                      <a:srgbClr val="FFFFFF"/>
                    </a:gs>
                  </a:gsLst>
                  <a:lin ang="5400000" scaled="0"/>
                </a:gradFill>
              </a:rPr>
              <a:t>for cache?</a:t>
            </a:r>
          </a:p>
        </p:txBody>
      </p:sp>
      <p:sp>
        <p:nvSpPr>
          <p:cNvPr id="22" name="Title 1"/>
          <p:cNvSpPr txBox="1">
            <a:spLocks/>
          </p:cNvSpPr>
          <p:nvPr/>
        </p:nvSpPr>
        <p:spPr>
          <a:xfrm>
            <a:off x="390986" y="171450"/>
            <a:ext cx="8363938" cy="6093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dirty="0" smtClean="0">
                <a:gradFill flip="none" rotWithShape="1">
                  <a:gsLst>
                    <a:gs pos="0">
                      <a:srgbClr val="FFFFFF"/>
                    </a:gs>
                    <a:gs pos="86000">
                      <a:srgbClr val="FFFFFF"/>
                    </a:gs>
                  </a:gsLst>
                  <a:lin ang="5400000" scaled="0"/>
                  <a:tileRect/>
                </a:gradFill>
              </a:rPr>
              <a:t>Raising the bar</a:t>
            </a:r>
            <a:endParaRPr dirty="0">
              <a:gradFill flip="none" rotWithShape="1">
                <a:gsLst>
                  <a:gs pos="0">
                    <a:srgbClr val="FFFFFF"/>
                  </a:gs>
                  <a:gs pos="86000">
                    <a:srgbClr val="FFFFFF"/>
                  </a:gs>
                </a:gsLst>
                <a:lin ang="5400000" scaled="0"/>
                <a:tileRect/>
              </a:gradFill>
            </a:endParaRPr>
          </a:p>
        </p:txBody>
      </p:sp>
      <p:sp>
        <p:nvSpPr>
          <p:cNvPr id="21"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4"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4"/>
              </a:rPr>
              <a:t>www.rapidbbs.cn</a:t>
            </a:r>
            <a:endParaRPr lang="zh-CN" altLang="en-US" sz="1200" b="0">
              <a:latin typeface="Arial" charset="0"/>
              <a:ea typeface="ＭＳ Ｐゴシック" pitchFamily="34" charset="-128"/>
            </a:endParaRPr>
          </a:p>
        </p:txBody>
      </p:sp>
      <p:pic>
        <p:nvPicPr>
          <p:cNvPr id="25" name="Picture 2">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552018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decel="100000" fill="hold" grpId="1"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1000" fill="hold"/>
                                        <p:tgtEl>
                                          <p:spTgt spid="12"/>
                                        </p:tgtEl>
                                        <p:attrNameLst>
                                          <p:attrName>ppt_x</p:attrName>
                                        </p:attrNameLst>
                                      </p:cBhvr>
                                      <p:tavLst>
                                        <p:tav tm="0">
                                          <p:val>
                                            <p:strVal val="0-#ppt_w/2"/>
                                          </p:val>
                                        </p:tav>
                                        <p:tav tm="100000">
                                          <p:val>
                                            <p:strVal val="#ppt_x"/>
                                          </p:val>
                                        </p:tav>
                                      </p:tavLst>
                                    </p:anim>
                                    <p:anim calcmode="lin" valueType="num">
                                      <p:cBhvr additive="base">
                                        <p:cTn id="8" dur="1000" fill="hold"/>
                                        <p:tgtEl>
                                          <p:spTgt spid="12"/>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250"/>
                                  </p:stCondLst>
                                  <p:childTnLst>
                                    <p:set>
                                      <p:cBhvr>
                                        <p:cTn id="10" dur="1" fill="hold">
                                          <p:stCondLst>
                                            <p:cond delay="0"/>
                                          </p:stCondLst>
                                        </p:cTn>
                                        <p:tgtEl>
                                          <p:spTgt spid="12">
                                            <p:txEl>
                                              <p:pRg st="0" end="0"/>
                                            </p:txEl>
                                          </p:spTgt>
                                        </p:tgtEl>
                                        <p:attrNameLst>
                                          <p:attrName>style.visibility</p:attrName>
                                        </p:attrNameLst>
                                      </p:cBhvr>
                                      <p:to>
                                        <p:strVal val="visible"/>
                                      </p:to>
                                    </p:set>
                                    <p:anim calcmode="lin" valueType="num">
                                      <p:cBhvr additive="base">
                                        <p:cTn id="11" dur="1000" fill="hold"/>
                                        <p:tgtEl>
                                          <p:spTgt spid="12">
                                            <p:txEl>
                                              <p:pRg st="0" end="0"/>
                                            </p:txEl>
                                          </p:spTgt>
                                        </p:tgtEl>
                                        <p:attrNameLst>
                                          <p:attrName>ppt_x</p:attrName>
                                        </p:attrNameLst>
                                      </p:cBhvr>
                                      <p:tavLst>
                                        <p:tav tm="0">
                                          <p:val>
                                            <p:strVal val="0-#ppt_w/2"/>
                                          </p:val>
                                        </p:tav>
                                        <p:tav tm="100000">
                                          <p:val>
                                            <p:strVal val="#ppt_x"/>
                                          </p:val>
                                        </p:tav>
                                      </p:tavLst>
                                    </p:anim>
                                    <p:anim calcmode="lin" valueType="num">
                                      <p:cBhvr additive="base">
                                        <p:cTn id="12" dur="1000" fill="hold"/>
                                        <p:tgtEl>
                                          <p:spTgt spid="12">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250"/>
                                  </p:stCondLst>
                                  <p:childTnLst>
                                    <p:set>
                                      <p:cBhvr>
                                        <p:cTn id="14" dur="1" fill="hold">
                                          <p:stCondLst>
                                            <p:cond delay="0"/>
                                          </p:stCondLst>
                                        </p:cTn>
                                        <p:tgtEl>
                                          <p:spTgt spid="12">
                                            <p:txEl>
                                              <p:pRg st="1" end="1"/>
                                            </p:txEl>
                                          </p:spTgt>
                                        </p:tgtEl>
                                        <p:attrNameLst>
                                          <p:attrName>style.visibility</p:attrName>
                                        </p:attrNameLst>
                                      </p:cBhvr>
                                      <p:to>
                                        <p:strVal val="visible"/>
                                      </p:to>
                                    </p:set>
                                    <p:anim calcmode="lin" valueType="num">
                                      <p:cBhvr additive="base">
                                        <p:cTn id="15" dur="1000" fill="hold"/>
                                        <p:tgtEl>
                                          <p:spTgt spid="12">
                                            <p:txEl>
                                              <p:pRg st="1" end="1"/>
                                            </p:txEl>
                                          </p:spTgt>
                                        </p:tgtEl>
                                        <p:attrNameLst>
                                          <p:attrName>ppt_x</p:attrName>
                                        </p:attrNameLst>
                                      </p:cBhvr>
                                      <p:tavLst>
                                        <p:tav tm="0">
                                          <p:val>
                                            <p:strVal val="0-#ppt_w/2"/>
                                          </p:val>
                                        </p:tav>
                                        <p:tav tm="100000">
                                          <p:val>
                                            <p:strVal val="#ppt_x"/>
                                          </p:val>
                                        </p:tav>
                                      </p:tavLst>
                                    </p:anim>
                                    <p:anim calcmode="lin" valueType="num">
                                      <p:cBhvr additive="base">
                                        <p:cTn id="16" dur="1000" fill="hold"/>
                                        <p:tgtEl>
                                          <p:spTgt spid="12">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8" decel="100000" fill="hold" grpId="1" nodeType="clickEffect">
                                  <p:stCondLst>
                                    <p:cond delay="0"/>
                                  </p:stCondLst>
                                  <p:childTnLst>
                                    <p:set>
                                      <p:cBhvr>
                                        <p:cTn id="20" dur="1" fill="hold">
                                          <p:stCondLst>
                                            <p:cond delay="0"/>
                                          </p:stCondLst>
                                        </p:cTn>
                                        <p:tgtEl>
                                          <p:spTgt spid="14"/>
                                        </p:tgtEl>
                                        <p:attrNameLst>
                                          <p:attrName>style.visibility</p:attrName>
                                        </p:attrNameLst>
                                      </p:cBhvr>
                                      <p:to>
                                        <p:strVal val="visible"/>
                                      </p:to>
                                    </p:set>
                                    <p:anim calcmode="lin" valueType="num">
                                      <p:cBhvr additive="base">
                                        <p:cTn id="21" dur="1000" fill="hold"/>
                                        <p:tgtEl>
                                          <p:spTgt spid="14"/>
                                        </p:tgtEl>
                                        <p:attrNameLst>
                                          <p:attrName>ppt_x</p:attrName>
                                        </p:attrNameLst>
                                      </p:cBhvr>
                                      <p:tavLst>
                                        <p:tav tm="0">
                                          <p:val>
                                            <p:strVal val="0-#ppt_w/2"/>
                                          </p:val>
                                        </p:tav>
                                        <p:tav tm="100000">
                                          <p:val>
                                            <p:strVal val="#ppt_x"/>
                                          </p:val>
                                        </p:tav>
                                      </p:tavLst>
                                    </p:anim>
                                    <p:anim calcmode="lin" valueType="num">
                                      <p:cBhvr additive="base">
                                        <p:cTn id="22" dur="1000" fill="hold"/>
                                        <p:tgtEl>
                                          <p:spTgt spid="14"/>
                                        </p:tgtEl>
                                        <p:attrNameLst>
                                          <p:attrName>ppt_y</p:attrName>
                                        </p:attrNameLst>
                                      </p:cBhvr>
                                      <p:tavLst>
                                        <p:tav tm="0">
                                          <p:val>
                                            <p:strVal val="#ppt_y"/>
                                          </p:val>
                                        </p:tav>
                                        <p:tav tm="100000">
                                          <p:val>
                                            <p:strVal val="#ppt_y"/>
                                          </p:val>
                                        </p:tav>
                                      </p:tavLst>
                                    </p:anim>
                                  </p:childTnLst>
                                </p:cTn>
                              </p:par>
                              <p:par>
                                <p:cTn id="23" presetID="2" presetClass="entr" presetSubtype="8" decel="100000" fill="hold" nodeType="withEffect">
                                  <p:stCondLst>
                                    <p:cond delay="0"/>
                                  </p:stCondLst>
                                  <p:childTnLst>
                                    <p:set>
                                      <p:cBhvr>
                                        <p:cTn id="24" dur="1" fill="hold">
                                          <p:stCondLst>
                                            <p:cond delay="0"/>
                                          </p:stCondLst>
                                        </p:cTn>
                                        <p:tgtEl>
                                          <p:spTgt spid="14">
                                            <p:txEl>
                                              <p:pRg st="0" end="0"/>
                                            </p:txEl>
                                          </p:spTgt>
                                        </p:tgtEl>
                                        <p:attrNameLst>
                                          <p:attrName>style.visibility</p:attrName>
                                        </p:attrNameLst>
                                      </p:cBhvr>
                                      <p:to>
                                        <p:strVal val="visible"/>
                                      </p:to>
                                    </p:set>
                                    <p:anim calcmode="lin" valueType="num">
                                      <p:cBhvr additive="base">
                                        <p:cTn id="25" dur="1000" fill="hold"/>
                                        <p:tgtEl>
                                          <p:spTgt spid="14">
                                            <p:txEl>
                                              <p:pRg st="0" end="0"/>
                                            </p:txEl>
                                          </p:spTgt>
                                        </p:tgtEl>
                                        <p:attrNameLst>
                                          <p:attrName>ppt_x</p:attrName>
                                        </p:attrNameLst>
                                      </p:cBhvr>
                                      <p:tavLst>
                                        <p:tav tm="0">
                                          <p:val>
                                            <p:strVal val="0-#ppt_w/2"/>
                                          </p:val>
                                        </p:tav>
                                        <p:tav tm="100000">
                                          <p:val>
                                            <p:strVal val="#ppt_x"/>
                                          </p:val>
                                        </p:tav>
                                      </p:tavLst>
                                    </p:anim>
                                    <p:anim calcmode="lin" valueType="num">
                                      <p:cBhvr additive="base">
                                        <p:cTn id="26" dur="1000" fill="hold"/>
                                        <p:tgtEl>
                                          <p:spTgt spid="14">
                                            <p:txEl>
                                              <p:pRg st="0" end="0"/>
                                            </p:txEl>
                                          </p:spTgt>
                                        </p:tgtEl>
                                        <p:attrNameLst>
                                          <p:attrName>ppt_y</p:attrName>
                                        </p:attrNameLst>
                                      </p:cBhvr>
                                      <p:tavLst>
                                        <p:tav tm="0">
                                          <p:val>
                                            <p:strVal val="#ppt_y"/>
                                          </p:val>
                                        </p:tav>
                                        <p:tav tm="100000">
                                          <p:val>
                                            <p:strVal val="#ppt_y"/>
                                          </p:val>
                                        </p:tav>
                                      </p:tavLst>
                                    </p:anim>
                                  </p:childTnLst>
                                </p:cTn>
                              </p:par>
                              <p:par>
                                <p:cTn id="27" presetID="2" presetClass="entr" presetSubtype="8" decel="100000" fill="hold" nodeType="withEffect">
                                  <p:stCondLst>
                                    <p:cond delay="0"/>
                                  </p:stCondLst>
                                  <p:childTnLst>
                                    <p:set>
                                      <p:cBhvr>
                                        <p:cTn id="28" dur="1" fill="hold">
                                          <p:stCondLst>
                                            <p:cond delay="0"/>
                                          </p:stCondLst>
                                        </p:cTn>
                                        <p:tgtEl>
                                          <p:spTgt spid="14">
                                            <p:txEl>
                                              <p:pRg st="1" end="1"/>
                                            </p:txEl>
                                          </p:spTgt>
                                        </p:tgtEl>
                                        <p:attrNameLst>
                                          <p:attrName>style.visibility</p:attrName>
                                        </p:attrNameLst>
                                      </p:cBhvr>
                                      <p:to>
                                        <p:strVal val="visible"/>
                                      </p:to>
                                    </p:set>
                                    <p:anim calcmode="lin" valueType="num">
                                      <p:cBhvr additive="base">
                                        <p:cTn id="29" dur="1000" fill="hold"/>
                                        <p:tgtEl>
                                          <p:spTgt spid="14">
                                            <p:txEl>
                                              <p:pRg st="1" end="1"/>
                                            </p:txEl>
                                          </p:spTgt>
                                        </p:tgtEl>
                                        <p:attrNameLst>
                                          <p:attrName>ppt_x</p:attrName>
                                        </p:attrNameLst>
                                      </p:cBhvr>
                                      <p:tavLst>
                                        <p:tav tm="0">
                                          <p:val>
                                            <p:strVal val="0-#ppt_w/2"/>
                                          </p:val>
                                        </p:tav>
                                        <p:tav tm="100000">
                                          <p:val>
                                            <p:strVal val="#ppt_x"/>
                                          </p:val>
                                        </p:tav>
                                      </p:tavLst>
                                    </p:anim>
                                    <p:anim calcmode="lin" valueType="num">
                                      <p:cBhvr additive="base">
                                        <p:cTn id="30" dur="1000" fill="hold"/>
                                        <p:tgtEl>
                                          <p:spTgt spid="14">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8" decel="100000" fill="hold" grpId="1" nodeType="clickEffect">
                                  <p:stCondLst>
                                    <p:cond delay="0"/>
                                  </p:stCondLst>
                                  <p:childTnLst>
                                    <p:set>
                                      <p:cBhvr>
                                        <p:cTn id="34" dur="1" fill="hold">
                                          <p:stCondLst>
                                            <p:cond delay="0"/>
                                          </p:stCondLst>
                                        </p:cTn>
                                        <p:tgtEl>
                                          <p:spTgt spid="15"/>
                                        </p:tgtEl>
                                        <p:attrNameLst>
                                          <p:attrName>style.visibility</p:attrName>
                                        </p:attrNameLst>
                                      </p:cBhvr>
                                      <p:to>
                                        <p:strVal val="visible"/>
                                      </p:to>
                                    </p:set>
                                    <p:anim calcmode="lin" valueType="num">
                                      <p:cBhvr additive="base">
                                        <p:cTn id="35" dur="1000" fill="hold"/>
                                        <p:tgtEl>
                                          <p:spTgt spid="15"/>
                                        </p:tgtEl>
                                        <p:attrNameLst>
                                          <p:attrName>ppt_x</p:attrName>
                                        </p:attrNameLst>
                                      </p:cBhvr>
                                      <p:tavLst>
                                        <p:tav tm="0">
                                          <p:val>
                                            <p:strVal val="0-#ppt_w/2"/>
                                          </p:val>
                                        </p:tav>
                                        <p:tav tm="100000">
                                          <p:val>
                                            <p:strVal val="#ppt_x"/>
                                          </p:val>
                                        </p:tav>
                                      </p:tavLst>
                                    </p:anim>
                                    <p:anim calcmode="lin" valueType="num">
                                      <p:cBhvr additive="base">
                                        <p:cTn id="36" dur="1000" fill="hold"/>
                                        <p:tgtEl>
                                          <p:spTgt spid="15"/>
                                        </p:tgtEl>
                                        <p:attrNameLst>
                                          <p:attrName>ppt_y</p:attrName>
                                        </p:attrNameLst>
                                      </p:cBhvr>
                                      <p:tavLst>
                                        <p:tav tm="0">
                                          <p:val>
                                            <p:strVal val="#ppt_y"/>
                                          </p:val>
                                        </p:tav>
                                        <p:tav tm="100000">
                                          <p:val>
                                            <p:strVal val="#ppt_y"/>
                                          </p:val>
                                        </p:tav>
                                      </p:tavLst>
                                    </p:anim>
                                  </p:childTnLst>
                                </p:cTn>
                              </p:par>
                              <p:par>
                                <p:cTn id="37" presetID="2" presetClass="entr" presetSubtype="8" decel="100000" fill="hold" nodeType="withEffect">
                                  <p:stCondLst>
                                    <p:cond delay="250"/>
                                  </p:stCondLst>
                                  <p:childTnLst>
                                    <p:set>
                                      <p:cBhvr>
                                        <p:cTn id="38" dur="1" fill="hold">
                                          <p:stCondLst>
                                            <p:cond delay="0"/>
                                          </p:stCondLst>
                                        </p:cTn>
                                        <p:tgtEl>
                                          <p:spTgt spid="15">
                                            <p:txEl>
                                              <p:pRg st="0" end="0"/>
                                            </p:txEl>
                                          </p:spTgt>
                                        </p:tgtEl>
                                        <p:attrNameLst>
                                          <p:attrName>style.visibility</p:attrName>
                                        </p:attrNameLst>
                                      </p:cBhvr>
                                      <p:to>
                                        <p:strVal val="visible"/>
                                      </p:to>
                                    </p:set>
                                    <p:anim calcmode="lin" valueType="num">
                                      <p:cBhvr additive="base">
                                        <p:cTn id="39" dur="1000" fill="hold"/>
                                        <p:tgtEl>
                                          <p:spTgt spid="15">
                                            <p:txEl>
                                              <p:pRg st="0" end="0"/>
                                            </p:txEl>
                                          </p:spTgt>
                                        </p:tgtEl>
                                        <p:attrNameLst>
                                          <p:attrName>ppt_x</p:attrName>
                                        </p:attrNameLst>
                                      </p:cBhvr>
                                      <p:tavLst>
                                        <p:tav tm="0">
                                          <p:val>
                                            <p:strVal val="0-#ppt_w/2"/>
                                          </p:val>
                                        </p:tav>
                                        <p:tav tm="100000">
                                          <p:val>
                                            <p:strVal val="#ppt_x"/>
                                          </p:val>
                                        </p:tav>
                                      </p:tavLst>
                                    </p:anim>
                                    <p:anim calcmode="lin" valueType="num">
                                      <p:cBhvr additive="base">
                                        <p:cTn id="40" dur="1000" fill="hold"/>
                                        <p:tgtEl>
                                          <p:spTgt spid="15">
                                            <p:txEl>
                                              <p:pRg st="0" end="0"/>
                                            </p:txEl>
                                          </p:spTgt>
                                        </p:tgtEl>
                                        <p:attrNameLst>
                                          <p:attrName>ppt_y</p:attrName>
                                        </p:attrNameLst>
                                      </p:cBhvr>
                                      <p:tavLst>
                                        <p:tav tm="0">
                                          <p:val>
                                            <p:strVal val="#ppt_y"/>
                                          </p:val>
                                        </p:tav>
                                        <p:tav tm="100000">
                                          <p:val>
                                            <p:strVal val="#ppt_y"/>
                                          </p:val>
                                        </p:tav>
                                      </p:tavLst>
                                    </p:anim>
                                  </p:childTnLst>
                                </p:cTn>
                              </p:par>
                              <p:par>
                                <p:cTn id="41" presetID="2" presetClass="entr" presetSubtype="8" decel="100000" fill="hold" nodeType="withEffect">
                                  <p:stCondLst>
                                    <p:cond delay="250"/>
                                  </p:stCondLst>
                                  <p:childTnLst>
                                    <p:set>
                                      <p:cBhvr>
                                        <p:cTn id="42" dur="1" fill="hold">
                                          <p:stCondLst>
                                            <p:cond delay="0"/>
                                          </p:stCondLst>
                                        </p:cTn>
                                        <p:tgtEl>
                                          <p:spTgt spid="15">
                                            <p:txEl>
                                              <p:pRg st="1" end="1"/>
                                            </p:txEl>
                                          </p:spTgt>
                                        </p:tgtEl>
                                        <p:attrNameLst>
                                          <p:attrName>style.visibility</p:attrName>
                                        </p:attrNameLst>
                                      </p:cBhvr>
                                      <p:to>
                                        <p:strVal val="visible"/>
                                      </p:to>
                                    </p:set>
                                    <p:anim calcmode="lin" valueType="num">
                                      <p:cBhvr additive="base">
                                        <p:cTn id="43" dur="1000" fill="hold"/>
                                        <p:tgtEl>
                                          <p:spTgt spid="15">
                                            <p:txEl>
                                              <p:pRg st="1" end="1"/>
                                            </p:txEl>
                                          </p:spTgt>
                                        </p:tgtEl>
                                        <p:attrNameLst>
                                          <p:attrName>ppt_x</p:attrName>
                                        </p:attrNameLst>
                                      </p:cBhvr>
                                      <p:tavLst>
                                        <p:tav tm="0">
                                          <p:val>
                                            <p:strVal val="0-#ppt_w/2"/>
                                          </p:val>
                                        </p:tav>
                                        <p:tav tm="100000">
                                          <p:val>
                                            <p:strVal val="#ppt_x"/>
                                          </p:val>
                                        </p:tav>
                                      </p:tavLst>
                                    </p:anim>
                                    <p:anim calcmode="lin" valueType="num">
                                      <p:cBhvr additive="base">
                                        <p:cTn id="44" dur="1000" fill="hold"/>
                                        <p:tgtEl>
                                          <p:spTgt spid="15">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8" decel="100000" fill="hold" grpId="1" nodeType="click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additive="base">
                                        <p:cTn id="49" dur="1000" fill="hold"/>
                                        <p:tgtEl>
                                          <p:spTgt spid="17"/>
                                        </p:tgtEl>
                                        <p:attrNameLst>
                                          <p:attrName>ppt_x</p:attrName>
                                        </p:attrNameLst>
                                      </p:cBhvr>
                                      <p:tavLst>
                                        <p:tav tm="0">
                                          <p:val>
                                            <p:strVal val="0-#ppt_w/2"/>
                                          </p:val>
                                        </p:tav>
                                        <p:tav tm="100000">
                                          <p:val>
                                            <p:strVal val="#ppt_x"/>
                                          </p:val>
                                        </p:tav>
                                      </p:tavLst>
                                    </p:anim>
                                    <p:anim calcmode="lin" valueType="num">
                                      <p:cBhvr additive="base">
                                        <p:cTn id="50" dur="1000" fill="hold"/>
                                        <p:tgtEl>
                                          <p:spTgt spid="17"/>
                                        </p:tgtEl>
                                        <p:attrNameLst>
                                          <p:attrName>ppt_y</p:attrName>
                                        </p:attrNameLst>
                                      </p:cBhvr>
                                      <p:tavLst>
                                        <p:tav tm="0">
                                          <p:val>
                                            <p:strVal val="#ppt_y"/>
                                          </p:val>
                                        </p:tav>
                                        <p:tav tm="100000">
                                          <p:val>
                                            <p:strVal val="#ppt_y"/>
                                          </p:val>
                                        </p:tav>
                                      </p:tavLst>
                                    </p:anim>
                                  </p:childTnLst>
                                </p:cTn>
                              </p:par>
                              <p:par>
                                <p:cTn id="51" presetID="2" presetClass="entr" presetSubtype="8" decel="100000" fill="hold" nodeType="withEffect">
                                  <p:stCondLst>
                                    <p:cond delay="250"/>
                                  </p:stCondLst>
                                  <p:childTnLst>
                                    <p:set>
                                      <p:cBhvr>
                                        <p:cTn id="52" dur="1" fill="hold">
                                          <p:stCondLst>
                                            <p:cond delay="0"/>
                                          </p:stCondLst>
                                        </p:cTn>
                                        <p:tgtEl>
                                          <p:spTgt spid="17">
                                            <p:txEl>
                                              <p:pRg st="0" end="0"/>
                                            </p:txEl>
                                          </p:spTgt>
                                        </p:tgtEl>
                                        <p:attrNameLst>
                                          <p:attrName>style.visibility</p:attrName>
                                        </p:attrNameLst>
                                      </p:cBhvr>
                                      <p:to>
                                        <p:strVal val="visible"/>
                                      </p:to>
                                    </p:set>
                                    <p:anim calcmode="lin" valueType="num">
                                      <p:cBhvr additive="base">
                                        <p:cTn id="53" dur="1000" fill="hold"/>
                                        <p:tgtEl>
                                          <p:spTgt spid="17">
                                            <p:txEl>
                                              <p:pRg st="0" end="0"/>
                                            </p:txEl>
                                          </p:spTgt>
                                        </p:tgtEl>
                                        <p:attrNameLst>
                                          <p:attrName>ppt_x</p:attrName>
                                        </p:attrNameLst>
                                      </p:cBhvr>
                                      <p:tavLst>
                                        <p:tav tm="0">
                                          <p:val>
                                            <p:strVal val="0-#ppt_w/2"/>
                                          </p:val>
                                        </p:tav>
                                        <p:tav tm="100000">
                                          <p:val>
                                            <p:strVal val="#ppt_x"/>
                                          </p:val>
                                        </p:tav>
                                      </p:tavLst>
                                    </p:anim>
                                    <p:anim calcmode="lin" valueType="num">
                                      <p:cBhvr additive="base">
                                        <p:cTn id="54" dur="1000" fill="hold"/>
                                        <p:tgtEl>
                                          <p:spTgt spid="17">
                                            <p:txEl>
                                              <p:pRg st="0" end="0"/>
                                            </p:txEl>
                                          </p:spTgt>
                                        </p:tgtEl>
                                        <p:attrNameLst>
                                          <p:attrName>ppt_y</p:attrName>
                                        </p:attrNameLst>
                                      </p:cBhvr>
                                      <p:tavLst>
                                        <p:tav tm="0">
                                          <p:val>
                                            <p:strVal val="#ppt_y"/>
                                          </p:val>
                                        </p:tav>
                                        <p:tav tm="100000">
                                          <p:val>
                                            <p:strVal val="#ppt_y"/>
                                          </p:val>
                                        </p:tav>
                                      </p:tavLst>
                                    </p:anim>
                                  </p:childTnLst>
                                </p:cTn>
                              </p:par>
                              <p:par>
                                <p:cTn id="55" presetID="2" presetClass="entr" presetSubtype="8" decel="100000" fill="hold" nodeType="withEffect">
                                  <p:stCondLst>
                                    <p:cond delay="250"/>
                                  </p:stCondLst>
                                  <p:childTnLst>
                                    <p:set>
                                      <p:cBhvr>
                                        <p:cTn id="56" dur="1" fill="hold">
                                          <p:stCondLst>
                                            <p:cond delay="0"/>
                                          </p:stCondLst>
                                        </p:cTn>
                                        <p:tgtEl>
                                          <p:spTgt spid="17">
                                            <p:txEl>
                                              <p:pRg st="1" end="1"/>
                                            </p:txEl>
                                          </p:spTgt>
                                        </p:tgtEl>
                                        <p:attrNameLst>
                                          <p:attrName>style.visibility</p:attrName>
                                        </p:attrNameLst>
                                      </p:cBhvr>
                                      <p:to>
                                        <p:strVal val="visible"/>
                                      </p:to>
                                    </p:set>
                                    <p:anim calcmode="lin" valueType="num">
                                      <p:cBhvr additive="base">
                                        <p:cTn id="57" dur="1000" fill="hold"/>
                                        <p:tgtEl>
                                          <p:spTgt spid="17">
                                            <p:txEl>
                                              <p:pRg st="1" end="1"/>
                                            </p:txEl>
                                          </p:spTgt>
                                        </p:tgtEl>
                                        <p:attrNameLst>
                                          <p:attrName>ppt_x</p:attrName>
                                        </p:attrNameLst>
                                      </p:cBhvr>
                                      <p:tavLst>
                                        <p:tav tm="0">
                                          <p:val>
                                            <p:strVal val="0-#ppt_w/2"/>
                                          </p:val>
                                        </p:tav>
                                        <p:tav tm="100000">
                                          <p:val>
                                            <p:strVal val="#ppt_x"/>
                                          </p:val>
                                        </p:tav>
                                      </p:tavLst>
                                    </p:anim>
                                    <p:anim calcmode="lin" valueType="num">
                                      <p:cBhvr additive="base">
                                        <p:cTn id="58" dur="1000" fill="hold"/>
                                        <p:tgtEl>
                                          <p:spTgt spid="17">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2" presetClass="entr" presetSubtype="8" decel="100000" fill="hold" grpId="1" nodeType="clickEffect">
                                  <p:stCondLst>
                                    <p:cond delay="0"/>
                                  </p:stCondLst>
                                  <p:childTnLst>
                                    <p:set>
                                      <p:cBhvr>
                                        <p:cTn id="62" dur="1" fill="hold">
                                          <p:stCondLst>
                                            <p:cond delay="0"/>
                                          </p:stCondLst>
                                        </p:cTn>
                                        <p:tgtEl>
                                          <p:spTgt spid="13"/>
                                        </p:tgtEl>
                                        <p:attrNameLst>
                                          <p:attrName>style.visibility</p:attrName>
                                        </p:attrNameLst>
                                      </p:cBhvr>
                                      <p:to>
                                        <p:strVal val="visible"/>
                                      </p:to>
                                    </p:set>
                                    <p:anim calcmode="lin" valueType="num">
                                      <p:cBhvr additive="base">
                                        <p:cTn id="63" dur="1000" fill="hold"/>
                                        <p:tgtEl>
                                          <p:spTgt spid="13"/>
                                        </p:tgtEl>
                                        <p:attrNameLst>
                                          <p:attrName>ppt_x</p:attrName>
                                        </p:attrNameLst>
                                      </p:cBhvr>
                                      <p:tavLst>
                                        <p:tav tm="0">
                                          <p:val>
                                            <p:strVal val="0-#ppt_w/2"/>
                                          </p:val>
                                        </p:tav>
                                        <p:tav tm="100000">
                                          <p:val>
                                            <p:strVal val="#ppt_x"/>
                                          </p:val>
                                        </p:tav>
                                      </p:tavLst>
                                    </p:anim>
                                    <p:anim calcmode="lin" valueType="num">
                                      <p:cBhvr additive="base">
                                        <p:cTn id="64" dur="1000" fill="hold"/>
                                        <p:tgtEl>
                                          <p:spTgt spid="13"/>
                                        </p:tgtEl>
                                        <p:attrNameLst>
                                          <p:attrName>ppt_y</p:attrName>
                                        </p:attrNameLst>
                                      </p:cBhvr>
                                      <p:tavLst>
                                        <p:tav tm="0">
                                          <p:val>
                                            <p:strVal val="#ppt_y"/>
                                          </p:val>
                                        </p:tav>
                                        <p:tav tm="100000">
                                          <p:val>
                                            <p:strVal val="#ppt_y"/>
                                          </p:val>
                                        </p:tav>
                                      </p:tavLst>
                                    </p:anim>
                                  </p:childTnLst>
                                </p:cTn>
                              </p:par>
                              <p:par>
                                <p:cTn id="65" presetID="2" presetClass="entr" presetSubtype="8" decel="100000" fill="hold" nodeType="withEffect">
                                  <p:stCondLst>
                                    <p:cond delay="250"/>
                                  </p:stCondLst>
                                  <p:childTnLst>
                                    <p:set>
                                      <p:cBhvr>
                                        <p:cTn id="66" dur="1" fill="hold">
                                          <p:stCondLst>
                                            <p:cond delay="0"/>
                                          </p:stCondLst>
                                        </p:cTn>
                                        <p:tgtEl>
                                          <p:spTgt spid="13">
                                            <p:txEl>
                                              <p:pRg st="0" end="0"/>
                                            </p:txEl>
                                          </p:spTgt>
                                        </p:tgtEl>
                                        <p:attrNameLst>
                                          <p:attrName>style.visibility</p:attrName>
                                        </p:attrNameLst>
                                      </p:cBhvr>
                                      <p:to>
                                        <p:strVal val="visible"/>
                                      </p:to>
                                    </p:set>
                                    <p:anim calcmode="lin" valueType="num">
                                      <p:cBhvr additive="base">
                                        <p:cTn id="67" dur="1000" fill="hold"/>
                                        <p:tgtEl>
                                          <p:spTgt spid="13">
                                            <p:txEl>
                                              <p:pRg st="0" end="0"/>
                                            </p:txEl>
                                          </p:spTgt>
                                        </p:tgtEl>
                                        <p:attrNameLst>
                                          <p:attrName>ppt_x</p:attrName>
                                        </p:attrNameLst>
                                      </p:cBhvr>
                                      <p:tavLst>
                                        <p:tav tm="0">
                                          <p:val>
                                            <p:strVal val="0-#ppt_w/2"/>
                                          </p:val>
                                        </p:tav>
                                        <p:tav tm="100000">
                                          <p:val>
                                            <p:strVal val="#ppt_x"/>
                                          </p:val>
                                        </p:tav>
                                      </p:tavLst>
                                    </p:anim>
                                    <p:anim calcmode="lin" valueType="num">
                                      <p:cBhvr additive="base">
                                        <p:cTn id="68" dur="1000" fill="hold"/>
                                        <p:tgtEl>
                                          <p:spTgt spid="13">
                                            <p:txEl>
                                              <p:pRg st="0" end="0"/>
                                            </p:txEl>
                                          </p:spTgt>
                                        </p:tgtEl>
                                        <p:attrNameLst>
                                          <p:attrName>ppt_y</p:attrName>
                                        </p:attrNameLst>
                                      </p:cBhvr>
                                      <p:tavLst>
                                        <p:tav tm="0">
                                          <p:val>
                                            <p:strVal val="#ppt_y"/>
                                          </p:val>
                                        </p:tav>
                                        <p:tav tm="100000">
                                          <p:val>
                                            <p:strVal val="#ppt_y"/>
                                          </p:val>
                                        </p:tav>
                                      </p:tavLst>
                                    </p:anim>
                                  </p:childTnLst>
                                </p:cTn>
                              </p:par>
                              <p:par>
                                <p:cTn id="69" presetID="2" presetClass="entr" presetSubtype="8" decel="100000" fill="hold" nodeType="withEffect">
                                  <p:stCondLst>
                                    <p:cond delay="250"/>
                                  </p:stCondLst>
                                  <p:childTnLst>
                                    <p:set>
                                      <p:cBhvr>
                                        <p:cTn id="70" dur="1" fill="hold">
                                          <p:stCondLst>
                                            <p:cond delay="0"/>
                                          </p:stCondLst>
                                        </p:cTn>
                                        <p:tgtEl>
                                          <p:spTgt spid="13">
                                            <p:txEl>
                                              <p:pRg st="1" end="1"/>
                                            </p:txEl>
                                          </p:spTgt>
                                        </p:tgtEl>
                                        <p:attrNameLst>
                                          <p:attrName>style.visibility</p:attrName>
                                        </p:attrNameLst>
                                      </p:cBhvr>
                                      <p:to>
                                        <p:strVal val="visible"/>
                                      </p:to>
                                    </p:set>
                                    <p:anim calcmode="lin" valueType="num">
                                      <p:cBhvr additive="base">
                                        <p:cTn id="71" dur="1000" fill="hold"/>
                                        <p:tgtEl>
                                          <p:spTgt spid="13">
                                            <p:txEl>
                                              <p:pRg st="1" end="1"/>
                                            </p:txEl>
                                          </p:spTgt>
                                        </p:tgtEl>
                                        <p:attrNameLst>
                                          <p:attrName>ppt_x</p:attrName>
                                        </p:attrNameLst>
                                      </p:cBhvr>
                                      <p:tavLst>
                                        <p:tav tm="0">
                                          <p:val>
                                            <p:strVal val="0-#ppt_w/2"/>
                                          </p:val>
                                        </p:tav>
                                        <p:tav tm="100000">
                                          <p:val>
                                            <p:strVal val="#ppt_x"/>
                                          </p:val>
                                        </p:tav>
                                      </p:tavLst>
                                    </p:anim>
                                    <p:anim calcmode="lin" valueType="num">
                                      <p:cBhvr additive="base">
                                        <p:cTn id="72" dur="1000" fill="hold"/>
                                        <p:tgtEl>
                                          <p:spTgt spid="13">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73" fill="hold">
                      <p:stCondLst>
                        <p:cond delay="indefinite"/>
                      </p:stCondLst>
                      <p:childTnLst>
                        <p:par>
                          <p:cTn id="74" fill="hold">
                            <p:stCondLst>
                              <p:cond delay="0"/>
                            </p:stCondLst>
                            <p:childTnLst>
                              <p:par>
                                <p:cTn id="75" presetID="10" presetClass="exit" presetSubtype="0" fill="hold" grpId="0" nodeType="clickEffect">
                                  <p:stCondLst>
                                    <p:cond delay="0"/>
                                  </p:stCondLst>
                                  <p:childTnLst>
                                    <p:animEffect transition="out" filter="fade">
                                      <p:cBhvr>
                                        <p:cTn id="76" dur="500"/>
                                        <p:tgtEl>
                                          <p:spTgt spid="2"/>
                                        </p:tgtEl>
                                      </p:cBhvr>
                                    </p:animEffect>
                                    <p:set>
                                      <p:cBhvr>
                                        <p:cTn id="77" dur="1" fill="hold">
                                          <p:stCondLst>
                                            <p:cond delay="499"/>
                                          </p:stCondLst>
                                        </p:cTn>
                                        <p:tgtEl>
                                          <p:spTgt spid="2"/>
                                        </p:tgtEl>
                                        <p:attrNameLst>
                                          <p:attrName>style.visibility</p:attrName>
                                        </p:attrNameLst>
                                      </p:cBhvr>
                                      <p:to>
                                        <p:strVal val="hidden"/>
                                      </p:to>
                                    </p:set>
                                  </p:childTnLst>
                                </p:cTn>
                              </p:par>
                              <p:par>
                                <p:cTn id="78" presetID="10" presetClass="entr" presetSubtype="0" fill="hold" grpId="0" nodeType="withEffect">
                                  <p:stCondLst>
                                    <p:cond delay="0"/>
                                  </p:stCondLst>
                                  <p:childTnLst>
                                    <p:set>
                                      <p:cBhvr>
                                        <p:cTn id="79" dur="1" fill="hold">
                                          <p:stCondLst>
                                            <p:cond delay="0"/>
                                          </p:stCondLst>
                                        </p:cTn>
                                        <p:tgtEl>
                                          <p:spTgt spid="22"/>
                                        </p:tgtEl>
                                        <p:attrNameLst>
                                          <p:attrName>style.visibility</p:attrName>
                                        </p:attrNameLst>
                                      </p:cBhvr>
                                      <p:to>
                                        <p:strVal val="visible"/>
                                      </p:to>
                                    </p:set>
                                    <p:animEffect transition="in" filter="fade">
                                      <p:cBhvr>
                                        <p:cTn id="80" dur="500"/>
                                        <p:tgtEl>
                                          <p:spTgt spid="22"/>
                                        </p:tgtEl>
                                      </p:cBhvr>
                                    </p:animEffect>
                                  </p:childTnLst>
                                </p:cTn>
                              </p:par>
                            </p:childTnLst>
                          </p:cTn>
                        </p:par>
                      </p:childTnLst>
                    </p:cTn>
                  </p:par>
                  <p:par>
                    <p:cTn id="81" fill="hold">
                      <p:stCondLst>
                        <p:cond delay="indefinite"/>
                      </p:stCondLst>
                      <p:childTnLst>
                        <p:par>
                          <p:cTn id="82" fill="hold">
                            <p:stCondLst>
                              <p:cond delay="0"/>
                            </p:stCondLst>
                            <p:childTnLst>
                              <p:par>
                                <p:cTn id="83" presetID="9" presetClass="emph" presetSubtype="0" grpId="0" nodeType="clickEffect">
                                  <p:stCondLst>
                                    <p:cond delay="0"/>
                                  </p:stCondLst>
                                  <p:childTnLst>
                                    <p:set>
                                      <p:cBhvr rctx="PPT">
                                        <p:cTn id="84" dur="indefinite"/>
                                        <p:tgtEl>
                                          <p:spTgt spid="12"/>
                                        </p:tgtEl>
                                        <p:attrNameLst>
                                          <p:attrName>style.opacity</p:attrName>
                                        </p:attrNameLst>
                                      </p:cBhvr>
                                      <p:to>
                                        <p:strVal val="0.25"/>
                                      </p:to>
                                    </p:set>
                                    <p:animEffect filter="image" prLst="opacity: 0.25">
                                      <p:cBhvr rctx="IE">
                                        <p:cTn id="85" dur="indefinite"/>
                                        <p:tgtEl>
                                          <p:spTgt spid="12"/>
                                        </p:tgtEl>
                                      </p:cBhvr>
                                    </p:animEffect>
                                  </p:childTnLst>
                                </p:cTn>
                              </p:par>
                              <p:par>
                                <p:cTn id="86" presetID="2" presetClass="entr" presetSubtype="8" decel="100000" fill="hold" grpId="0" nodeType="withEffect">
                                  <p:stCondLst>
                                    <p:cond delay="0"/>
                                  </p:stCondLst>
                                  <p:childTnLst>
                                    <p:set>
                                      <p:cBhvr>
                                        <p:cTn id="87" dur="1" fill="hold">
                                          <p:stCondLst>
                                            <p:cond delay="0"/>
                                          </p:stCondLst>
                                        </p:cTn>
                                        <p:tgtEl>
                                          <p:spTgt spid="16"/>
                                        </p:tgtEl>
                                        <p:attrNameLst>
                                          <p:attrName>style.visibility</p:attrName>
                                        </p:attrNameLst>
                                      </p:cBhvr>
                                      <p:to>
                                        <p:strVal val="visible"/>
                                      </p:to>
                                    </p:set>
                                    <p:anim calcmode="lin" valueType="num">
                                      <p:cBhvr additive="base">
                                        <p:cTn id="88" dur="1000" fill="hold"/>
                                        <p:tgtEl>
                                          <p:spTgt spid="16"/>
                                        </p:tgtEl>
                                        <p:attrNameLst>
                                          <p:attrName>ppt_x</p:attrName>
                                        </p:attrNameLst>
                                      </p:cBhvr>
                                      <p:tavLst>
                                        <p:tav tm="0">
                                          <p:val>
                                            <p:strVal val="0-#ppt_w/2"/>
                                          </p:val>
                                        </p:tav>
                                        <p:tav tm="100000">
                                          <p:val>
                                            <p:strVal val="#ppt_x"/>
                                          </p:val>
                                        </p:tav>
                                      </p:tavLst>
                                    </p:anim>
                                    <p:anim calcmode="lin" valueType="num">
                                      <p:cBhvr additive="base">
                                        <p:cTn id="89" dur="1000" fill="hold"/>
                                        <p:tgtEl>
                                          <p:spTgt spid="16"/>
                                        </p:tgtEl>
                                        <p:attrNameLst>
                                          <p:attrName>ppt_y</p:attrName>
                                        </p:attrNameLst>
                                      </p:cBhvr>
                                      <p:tavLst>
                                        <p:tav tm="0">
                                          <p:val>
                                            <p:strVal val="#ppt_y"/>
                                          </p:val>
                                        </p:tav>
                                        <p:tav tm="100000">
                                          <p:val>
                                            <p:strVal val="#ppt_y"/>
                                          </p:val>
                                        </p:tav>
                                      </p:tavLst>
                                    </p:anim>
                                  </p:childTnLst>
                                </p:cTn>
                              </p:par>
                              <p:par>
                                <p:cTn id="90" presetID="2" presetClass="entr" presetSubtype="8" decel="100000" fill="hold" nodeType="withEffect">
                                  <p:stCondLst>
                                    <p:cond delay="250"/>
                                  </p:stCondLst>
                                  <p:childTnLst>
                                    <p:set>
                                      <p:cBhvr>
                                        <p:cTn id="91" dur="1" fill="hold">
                                          <p:stCondLst>
                                            <p:cond delay="0"/>
                                          </p:stCondLst>
                                        </p:cTn>
                                        <p:tgtEl>
                                          <p:spTgt spid="16">
                                            <p:txEl>
                                              <p:pRg st="0" end="0"/>
                                            </p:txEl>
                                          </p:spTgt>
                                        </p:tgtEl>
                                        <p:attrNameLst>
                                          <p:attrName>style.visibility</p:attrName>
                                        </p:attrNameLst>
                                      </p:cBhvr>
                                      <p:to>
                                        <p:strVal val="visible"/>
                                      </p:to>
                                    </p:set>
                                    <p:anim calcmode="lin" valueType="num">
                                      <p:cBhvr additive="base">
                                        <p:cTn id="92" dur="1000" fill="hold"/>
                                        <p:tgtEl>
                                          <p:spTgt spid="16">
                                            <p:txEl>
                                              <p:pRg st="0" end="0"/>
                                            </p:txEl>
                                          </p:spTgt>
                                        </p:tgtEl>
                                        <p:attrNameLst>
                                          <p:attrName>ppt_x</p:attrName>
                                        </p:attrNameLst>
                                      </p:cBhvr>
                                      <p:tavLst>
                                        <p:tav tm="0">
                                          <p:val>
                                            <p:strVal val="0-#ppt_w/2"/>
                                          </p:val>
                                        </p:tav>
                                        <p:tav tm="100000">
                                          <p:val>
                                            <p:strVal val="#ppt_x"/>
                                          </p:val>
                                        </p:tav>
                                      </p:tavLst>
                                    </p:anim>
                                    <p:anim calcmode="lin" valueType="num">
                                      <p:cBhvr additive="base">
                                        <p:cTn id="93" dur="1000" fill="hold"/>
                                        <p:tgtEl>
                                          <p:spTgt spid="16">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4" fill="hold">
                      <p:stCondLst>
                        <p:cond delay="indefinite"/>
                      </p:stCondLst>
                      <p:childTnLst>
                        <p:par>
                          <p:cTn id="95" fill="hold">
                            <p:stCondLst>
                              <p:cond delay="0"/>
                            </p:stCondLst>
                            <p:childTnLst>
                              <p:par>
                                <p:cTn id="96" presetID="9" presetClass="emph" presetSubtype="0" grpId="0" nodeType="clickEffect">
                                  <p:stCondLst>
                                    <p:cond delay="0"/>
                                  </p:stCondLst>
                                  <p:childTnLst>
                                    <p:set>
                                      <p:cBhvr rctx="PPT">
                                        <p:cTn id="97" dur="indefinite"/>
                                        <p:tgtEl>
                                          <p:spTgt spid="14"/>
                                        </p:tgtEl>
                                        <p:attrNameLst>
                                          <p:attrName>style.opacity</p:attrName>
                                        </p:attrNameLst>
                                      </p:cBhvr>
                                      <p:to>
                                        <p:strVal val="0.25"/>
                                      </p:to>
                                    </p:set>
                                    <p:animEffect filter="image" prLst="opacity: 0.25">
                                      <p:cBhvr rctx="IE">
                                        <p:cTn id="98" dur="indefinite"/>
                                        <p:tgtEl>
                                          <p:spTgt spid="14"/>
                                        </p:tgtEl>
                                      </p:cBhvr>
                                    </p:animEffect>
                                  </p:childTnLst>
                                </p:cTn>
                              </p:par>
                              <p:par>
                                <p:cTn id="99" presetID="2" presetClass="entr" presetSubtype="8" decel="100000" fill="hold" grpId="0" nodeType="withEffect">
                                  <p:stCondLst>
                                    <p:cond delay="0"/>
                                  </p:stCondLst>
                                  <p:childTnLst>
                                    <p:set>
                                      <p:cBhvr>
                                        <p:cTn id="100" dur="1" fill="hold">
                                          <p:stCondLst>
                                            <p:cond delay="0"/>
                                          </p:stCondLst>
                                        </p:cTn>
                                        <p:tgtEl>
                                          <p:spTgt spid="18"/>
                                        </p:tgtEl>
                                        <p:attrNameLst>
                                          <p:attrName>style.visibility</p:attrName>
                                        </p:attrNameLst>
                                      </p:cBhvr>
                                      <p:to>
                                        <p:strVal val="visible"/>
                                      </p:to>
                                    </p:set>
                                    <p:anim calcmode="lin" valueType="num">
                                      <p:cBhvr additive="base">
                                        <p:cTn id="101" dur="1000" fill="hold"/>
                                        <p:tgtEl>
                                          <p:spTgt spid="18"/>
                                        </p:tgtEl>
                                        <p:attrNameLst>
                                          <p:attrName>ppt_x</p:attrName>
                                        </p:attrNameLst>
                                      </p:cBhvr>
                                      <p:tavLst>
                                        <p:tav tm="0">
                                          <p:val>
                                            <p:strVal val="0-#ppt_w/2"/>
                                          </p:val>
                                        </p:tav>
                                        <p:tav tm="100000">
                                          <p:val>
                                            <p:strVal val="#ppt_x"/>
                                          </p:val>
                                        </p:tav>
                                      </p:tavLst>
                                    </p:anim>
                                    <p:anim calcmode="lin" valueType="num">
                                      <p:cBhvr additive="base">
                                        <p:cTn id="102" dur="1000" fill="hold"/>
                                        <p:tgtEl>
                                          <p:spTgt spid="18"/>
                                        </p:tgtEl>
                                        <p:attrNameLst>
                                          <p:attrName>ppt_y</p:attrName>
                                        </p:attrNameLst>
                                      </p:cBhvr>
                                      <p:tavLst>
                                        <p:tav tm="0">
                                          <p:val>
                                            <p:strVal val="#ppt_y"/>
                                          </p:val>
                                        </p:tav>
                                        <p:tav tm="100000">
                                          <p:val>
                                            <p:strVal val="#ppt_y"/>
                                          </p:val>
                                        </p:tav>
                                      </p:tavLst>
                                    </p:anim>
                                  </p:childTnLst>
                                </p:cTn>
                              </p:par>
                              <p:par>
                                <p:cTn id="103" presetID="2" presetClass="entr" presetSubtype="8" decel="100000" fill="hold" nodeType="withEffect">
                                  <p:stCondLst>
                                    <p:cond delay="250"/>
                                  </p:stCondLst>
                                  <p:childTnLst>
                                    <p:set>
                                      <p:cBhvr>
                                        <p:cTn id="104" dur="1" fill="hold">
                                          <p:stCondLst>
                                            <p:cond delay="0"/>
                                          </p:stCondLst>
                                        </p:cTn>
                                        <p:tgtEl>
                                          <p:spTgt spid="18">
                                            <p:txEl>
                                              <p:pRg st="0" end="0"/>
                                            </p:txEl>
                                          </p:spTgt>
                                        </p:tgtEl>
                                        <p:attrNameLst>
                                          <p:attrName>style.visibility</p:attrName>
                                        </p:attrNameLst>
                                      </p:cBhvr>
                                      <p:to>
                                        <p:strVal val="visible"/>
                                      </p:to>
                                    </p:set>
                                    <p:anim calcmode="lin" valueType="num">
                                      <p:cBhvr additive="base">
                                        <p:cTn id="105" dur="1000" fill="hold"/>
                                        <p:tgtEl>
                                          <p:spTgt spid="18">
                                            <p:txEl>
                                              <p:pRg st="0" end="0"/>
                                            </p:txEl>
                                          </p:spTgt>
                                        </p:tgtEl>
                                        <p:attrNameLst>
                                          <p:attrName>ppt_x</p:attrName>
                                        </p:attrNameLst>
                                      </p:cBhvr>
                                      <p:tavLst>
                                        <p:tav tm="0">
                                          <p:val>
                                            <p:strVal val="0-#ppt_w/2"/>
                                          </p:val>
                                        </p:tav>
                                        <p:tav tm="100000">
                                          <p:val>
                                            <p:strVal val="#ppt_x"/>
                                          </p:val>
                                        </p:tav>
                                      </p:tavLst>
                                    </p:anim>
                                    <p:anim calcmode="lin" valueType="num">
                                      <p:cBhvr additive="base">
                                        <p:cTn id="106" dur="1000" fill="hold"/>
                                        <p:tgtEl>
                                          <p:spTgt spid="18">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107" fill="hold">
                      <p:stCondLst>
                        <p:cond delay="indefinite"/>
                      </p:stCondLst>
                      <p:childTnLst>
                        <p:par>
                          <p:cTn id="108" fill="hold">
                            <p:stCondLst>
                              <p:cond delay="0"/>
                            </p:stCondLst>
                            <p:childTnLst>
                              <p:par>
                                <p:cTn id="109" presetID="9" presetClass="emph" presetSubtype="0" grpId="0" nodeType="clickEffect">
                                  <p:stCondLst>
                                    <p:cond delay="0"/>
                                  </p:stCondLst>
                                  <p:childTnLst>
                                    <p:set>
                                      <p:cBhvr rctx="PPT">
                                        <p:cTn id="110" dur="indefinite"/>
                                        <p:tgtEl>
                                          <p:spTgt spid="15"/>
                                        </p:tgtEl>
                                        <p:attrNameLst>
                                          <p:attrName>style.opacity</p:attrName>
                                        </p:attrNameLst>
                                      </p:cBhvr>
                                      <p:to>
                                        <p:strVal val="0.25"/>
                                      </p:to>
                                    </p:set>
                                    <p:animEffect filter="image" prLst="opacity: 0.25">
                                      <p:cBhvr rctx="IE">
                                        <p:cTn id="111" dur="indefinite"/>
                                        <p:tgtEl>
                                          <p:spTgt spid="15"/>
                                        </p:tgtEl>
                                      </p:cBhvr>
                                    </p:animEffect>
                                  </p:childTnLst>
                                </p:cTn>
                              </p:par>
                              <p:par>
                                <p:cTn id="112" presetID="2" presetClass="entr" presetSubtype="8" decel="100000" fill="hold" grpId="0" nodeType="withEffect">
                                  <p:stCondLst>
                                    <p:cond delay="0"/>
                                  </p:stCondLst>
                                  <p:childTnLst>
                                    <p:set>
                                      <p:cBhvr>
                                        <p:cTn id="113" dur="1" fill="hold">
                                          <p:stCondLst>
                                            <p:cond delay="0"/>
                                          </p:stCondLst>
                                        </p:cTn>
                                        <p:tgtEl>
                                          <p:spTgt spid="19"/>
                                        </p:tgtEl>
                                        <p:attrNameLst>
                                          <p:attrName>style.visibility</p:attrName>
                                        </p:attrNameLst>
                                      </p:cBhvr>
                                      <p:to>
                                        <p:strVal val="visible"/>
                                      </p:to>
                                    </p:set>
                                    <p:anim calcmode="lin" valueType="num">
                                      <p:cBhvr additive="base">
                                        <p:cTn id="114" dur="1000" fill="hold"/>
                                        <p:tgtEl>
                                          <p:spTgt spid="19"/>
                                        </p:tgtEl>
                                        <p:attrNameLst>
                                          <p:attrName>ppt_x</p:attrName>
                                        </p:attrNameLst>
                                      </p:cBhvr>
                                      <p:tavLst>
                                        <p:tav tm="0">
                                          <p:val>
                                            <p:strVal val="0-#ppt_w/2"/>
                                          </p:val>
                                        </p:tav>
                                        <p:tav tm="100000">
                                          <p:val>
                                            <p:strVal val="#ppt_x"/>
                                          </p:val>
                                        </p:tav>
                                      </p:tavLst>
                                    </p:anim>
                                    <p:anim calcmode="lin" valueType="num">
                                      <p:cBhvr additive="base">
                                        <p:cTn id="115" dur="1000" fill="hold"/>
                                        <p:tgtEl>
                                          <p:spTgt spid="19"/>
                                        </p:tgtEl>
                                        <p:attrNameLst>
                                          <p:attrName>ppt_y</p:attrName>
                                        </p:attrNameLst>
                                      </p:cBhvr>
                                      <p:tavLst>
                                        <p:tav tm="0">
                                          <p:val>
                                            <p:strVal val="#ppt_y"/>
                                          </p:val>
                                        </p:tav>
                                        <p:tav tm="100000">
                                          <p:val>
                                            <p:strVal val="#ppt_y"/>
                                          </p:val>
                                        </p:tav>
                                      </p:tavLst>
                                    </p:anim>
                                  </p:childTnLst>
                                </p:cTn>
                              </p:par>
                              <p:par>
                                <p:cTn id="116" presetID="2" presetClass="entr" presetSubtype="8" decel="100000" fill="hold" nodeType="withEffect">
                                  <p:stCondLst>
                                    <p:cond delay="250"/>
                                  </p:stCondLst>
                                  <p:childTnLst>
                                    <p:set>
                                      <p:cBhvr>
                                        <p:cTn id="117" dur="1" fill="hold">
                                          <p:stCondLst>
                                            <p:cond delay="0"/>
                                          </p:stCondLst>
                                        </p:cTn>
                                        <p:tgtEl>
                                          <p:spTgt spid="19">
                                            <p:txEl>
                                              <p:pRg st="0" end="0"/>
                                            </p:txEl>
                                          </p:spTgt>
                                        </p:tgtEl>
                                        <p:attrNameLst>
                                          <p:attrName>style.visibility</p:attrName>
                                        </p:attrNameLst>
                                      </p:cBhvr>
                                      <p:to>
                                        <p:strVal val="visible"/>
                                      </p:to>
                                    </p:set>
                                    <p:anim calcmode="lin" valueType="num">
                                      <p:cBhvr additive="base">
                                        <p:cTn id="118" dur="1000" fill="hold"/>
                                        <p:tgtEl>
                                          <p:spTgt spid="19">
                                            <p:txEl>
                                              <p:pRg st="0" end="0"/>
                                            </p:txEl>
                                          </p:spTgt>
                                        </p:tgtEl>
                                        <p:attrNameLst>
                                          <p:attrName>ppt_x</p:attrName>
                                        </p:attrNameLst>
                                      </p:cBhvr>
                                      <p:tavLst>
                                        <p:tav tm="0">
                                          <p:val>
                                            <p:strVal val="0-#ppt_w/2"/>
                                          </p:val>
                                        </p:tav>
                                        <p:tav tm="100000">
                                          <p:val>
                                            <p:strVal val="#ppt_x"/>
                                          </p:val>
                                        </p:tav>
                                      </p:tavLst>
                                    </p:anim>
                                    <p:anim calcmode="lin" valueType="num">
                                      <p:cBhvr additive="base">
                                        <p:cTn id="119" dur="1000" fill="hold"/>
                                        <p:tgtEl>
                                          <p:spTgt spid="19">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120" fill="hold">
                      <p:stCondLst>
                        <p:cond delay="indefinite"/>
                      </p:stCondLst>
                      <p:childTnLst>
                        <p:par>
                          <p:cTn id="121" fill="hold">
                            <p:stCondLst>
                              <p:cond delay="0"/>
                            </p:stCondLst>
                            <p:childTnLst>
                              <p:par>
                                <p:cTn id="122" presetID="9" presetClass="emph" presetSubtype="0" grpId="0" nodeType="clickEffect">
                                  <p:stCondLst>
                                    <p:cond delay="0"/>
                                  </p:stCondLst>
                                  <p:childTnLst>
                                    <p:set>
                                      <p:cBhvr rctx="PPT">
                                        <p:cTn id="123" dur="indefinite"/>
                                        <p:tgtEl>
                                          <p:spTgt spid="17"/>
                                        </p:tgtEl>
                                        <p:attrNameLst>
                                          <p:attrName>style.opacity</p:attrName>
                                        </p:attrNameLst>
                                      </p:cBhvr>
                                      <p:to>
                                        <p:strVal val="0.25"/>
                                      </p:to>
                                    </p:set>
                                    <p:animEffect filter="image" prLst="opacity: 0.25">
                                      <p:cBhvr rctx="IE">
                                        <p:cTn id="124" dur="indefinite"/>
                                        <p:tgtEl>
                                          <p:spTgt spid="17"/>
                                        </p:tgtEl>
                                      </p:cBhvr>
                                    </p:animEffect>
                                  </p:childTnLst>
                                </p:cTn>
                              </p:par>
                              <p:par>
                                <p:cTn id="125" presetID="2" presetClass="entr" presetSubtype="8" decel="100000" fill="hold" grpId="0" nodeType="withEffect">
                                  <p:stCondLst>
                                    <p:cond delay="0"/>
                                  </p:stCondLst>
                                  <p:childTnLst>
                                    <p:set>
                                      <p:cBhvr>
                                        <p:cTn id="126" dur="1" fill="hold">
                                          <p:stCondLst>
                                            <p:cond delay="0"/>
                                          </p:stCondLst>
                                        </p:cTn>
                                        <p:tgtEl>
                                          <p:spTgt spid="23"/>
                                        </p:tgtEl>
                                        <p:attrNameLst>
                                          <p:attrName>style.visibility</p:attrName>
                                        </p:attrNameLst>
                                      </p:cBhvr>
                                      <p:to>
                                        <p:strVal val="visible"/>
                                      </p:to>
                                    </p:set>
                                    <p:anim calcmode="lin" valueType="num">
                                      <p:cBhvr additive="base">
                                        <p:cTn id="127" dur="1000" fill="hold"/>
                                        <p:tgtEl>
                                          <p:spTgt spid="23"/>
                                        </p:tgtEl>
                                        <p:attrNameLst>
                                          <p:attrName>ppt_x</p:attrName>
                                        </p:attrNameLst>
                                      </p:cBhvr>
                                      <p:tavLst>
                                        <p:tav tm="0">
                                          <p:val>
                                            <p:strVal val="0-#ppt_w/2"/>
                                          </p:val>
                                        </p:tav>
                                        <p:tav tm="100000">
                                          <p:val>
                                            <p:strVal val="#ppt_x"/>
                                          </p:val>
                                        </p:tav>
                                      </p:tavLst>
                                    </p:anim>
                                    <p:anim calcmode="lin" valueType="num">
                                      <p:cBhvr additive="base">
                                        <p:cTn id="128" dur="1000" fill="hold"/>
                                        <p:tgtEl>
                                          <p:spTgt spid="23"/>
                                        </p:tgtEl>
                                        <p:attrNameLst>
                                          <p:attrName>ppt_y</p:attrName>
                                        </p:attrNameLst>
                                      </p:cBhvr>
                                      <p:tavLst>
                                        <p:tav tm="0">
                                          <p:val>
                                            <p:strVal val="#ppt_y"/>
                                          </p:val>
                                        </p:tav>
                                        <p:tav tm="100000">
                                          <p:val>
                                            <p:strVal val="#ppt_y"/>
                                          </p:val>
                                        </p:tav>
                                      </p:tavLst>
                                    </p:anim>
                                  </p:childTnLst>
                                </p:cTn>
                              </p:par>
                              <p:par>
                                <p:cTn id="129" presetID="2" presetClass="entr" presetSubtype="8" decel="100000" fill="hold" nodeType="withEffect">
                                  <p:stCondLst>
                                    <p:cond delay="250"/>
                                  </p:stCondLst>
                                  <p:childTnLst>
                                    <p:set>
                                      <p:cBhvr>
                                        <p:cTn id="130" dur="1" fill="hold">
                                          <p:stCondLst>
                                            <p:cond delay="0"/>
                                          </p:stCondLst>
                                        </p:cTn>
                                        <p:tgtEl>
                                          <p:spTgt spid="23">
                                            <p:txEl>
                                              <p:pRg st="0" end="0"/>
                                            </p:txEl>
                                          </p:spTgt>
                                        </p:tgtEl>
                                        <p:attrNameLst>
                                          <p:attrName>style.visibility</p:attrName>
                                        </p:attrNameLst>
                                      </p:cBhvr>
                                      <p:to>
                                        <p:strVal val="visible"/>
                                      </p:to>
                                    </p:set>
                                    <p:anim calcmode="lin" valueType="num">
                                      <p:cBhvr additive="base">
                                        <p:cTn id="131" dur="1000" fill="hold"/>
                                        <p:tgtEl>
                                          <p:spTgt spid="23">
                                            <p:txEl>
                                              <p:pRg st="0" end="0"/>
                                            </p:txEl>
                                          </p:spTgt>
                                        </p:tgtEl>
                                        <p:attrNameLst>
                                          <p:attrName>ppt_x</p:attrName>
                                        </p:attrNameLst>
                                      </p:cBhvr>
                                      <p:tavLst>
                                        <p:tav tm="0">
                                          <p:val>
                                            <p:strVal val="0-#ppt_w/2"/>
                                          </p:val>
                                        </p:tav>
                                        <p:tav tm="100000">
                                          <p:val>
                                            <p:strVal val="#ppt_x"/>
                                          </p:val>
                                        </p:tav>
                                      </p:tavLst>
                                    </p:anim>
                                    <p:anim calcmode="lin" valueType="num">
                                      <p:cBhvr additive="base">
                                        <p:cTn id="132" dur="1000" fill="hold"/>
                                        <p:tgtEl>
                                          <p:spTgt spid="23">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133" fill="hold">
                      <p:stCondLst>
                        <p:cond delay="indefinite"/>
                      </p:stCondLst>
                      <p:childTnLst>
                        <p:par>
                          <p:cTn id="134" fill="hold">
                            <p:stCondLst>
                              <p:cond delay="0"/>
                            </p:stCondLst>
                            <p:childTnLst>
                              <p:par>
                                <p:cTn id="135" presetID="9" presetClass="emph" presetSubtype="0" grpId="0" nodeType="clickEffect">
                                  <p:stCondLst>
                                    <p:cond delay="0"/>
                                  </p:stCondLst>
                                  <p:childTnLst>
                                    <p:set>
                                      <p:cBhvr rctx="PPT">
                                        <p:cTn id="136" dur="indefinite"/>
                                        <p:tgtEl>
                                          <p:spTgt spid="13"/>
                                        </p:tgtEl>
                                        <p:attrNameLst>
                                          <p:attrName>style.opacity</p:attrName>
                                        </p:attrNameLst>
                                      </p:cBhvr>
                                      <p:to>
                                        <p:strVal val="0.25"/>
                                      </p:to>
                                    </p:set>
                                    <p:animEffect filter="image" prLst="opacity: 0.25">
                                      <p:cBhvr rctx="IE">
                                        <p:cTn id="137" dur="indefinite"/>
                                        <p:tgtEl>
                                          <p:spTgt spid="13"/>
                                        </p:tgtEl>
                                      </p:cBhvr>
                                    </p:animEffect>
                                  </p:childTnLst>
                                </p:cTn>
                              </p:par>
                              <p:par>
                                <p:cTn id="138" presetID="2" presetClass="entr" presetSubtype="8" decel="100000" fill="hold" grpId="0" nodeType="withEffect">
                                  <p:stCondLst>
                                    <p:cond delay="0"/>
                                  </p:stCondLst>
                                  <p:childTnLst>
                                    <p:set>
                                      <p:cBhvr>
                                        <p:cTn id="139" dur="1" fill="hold">
                                          <p:stCondLst>
                                            <p:cond delay="0"/>
                                          </p:stCondLst>
                                        </p:cTn>
                                        <p:tgtEl>
                                          <p:spTgt spid="20"/>
                                        </p:tgtEl>
                                        <p:attrNameLst>
                                          <p:attrName>style.visibility</p:attrName>
                                        </p:attrNameLst>
                                      </p:cBhvr>
                                      <p:to>
                                        <p:strVal val="visible"/>
                                      </p:to>
                                    </p:set>
                                    <p:anim calcmode="lin" valueType="num">
                                      <p:cBhvr additive="base">
                                        <p:cTn id="140" dur="1000" fill="hold"/>
                                        <p:tgtEl>
                                          <p:spTgt spid="20"/>
                                        </p:tgtEl>
                                        <p:attrNameLst>
                                          <p:attrName>ppt_x</p:attrName>
                                        </p:attrNameLst>
                                      </p:cBhvr>
                                      <p:tavLst>
                                        <p:tav tm="0">
                                          <p:val>
                                            <p:strVal val="0-#ppt_w/2"/>
                                          </p:val>
                                        </p:tav>
                                        <p:tav tm="100000">
                                          <p:val>
                                            <p:strVal val="#ppt_x"/>
                                          </p:val>
                                        </p:tav>
                                      </p:tavLst>
                                    </p:anim>
                                    <p:anim calcmode="lin" valueType="num">
                                      <p:cBhvr additive="base">
                                        <p:cTn id="141" dur="1000" fill="hold"/>
                                        <p:tgtEl>
                                          <p:spTgt spid="20"/>
                                        </p:tgtEl>
                                        <p:attrNameLst>
                                          <p:attrName>ppt_y</p:attrName>
                                        </p:attrNameLst>
                                      </p:cBhvr>
                                      <p:tavLst>
                                        <p:tav tm="0">
                                          <p:val>
                                            <p:strVal val="#ppt_y"/>
                                          </p:val>
                                        </p:tav>
                                        <p:tav tm="100000">
                                          <p:val>
                                            <p:strVal val="#ppt_y"/>
                                          </p:val>
                                        </p:tav>
                                      </p:tavLst>
                                    </p:anim>
                                  </p:childTnLst>
                                </p:cTn>
                              </p:par>
                              <p:par>
                                <p:cTn id="142" presetID="2" presetClass="entr" presetSubtype="8" decel="100000" fill="hold" nodeType="withEffect">
                                  <p:stCondLst>
                                    <p:cond delay="250"/>
                                  </p:stCondLst>
                                  <p:childTnLst>
                                    <p:set>
                                      <p:cBhvr>
                                        <p:cTn id="143" dur="1" fill="hold">
                                          <p:stCondLst>
                                            <p:cond delay="0"/>
                                          </p:stCondLst>
                                        </p:cTn>
                                        <p:tgtEl>
                                          <p:spTgt spid="20">
                                            <p:txEl>
                                              <p:pRg st="0" end="0"/>
                                            </p:txEl>
                                          </p:spTgt>
                                        </p:tgtEl>
                                        <p:attrNameLst>
                                          <p:attrName>style.visibility</p:attrName>
                                        </p:attrNameLst>
                                      </p:cBhvr>
                                      <p:to>
                                        <p:strVal val="visible"/>
                                      </p:to>
                                    </p:set>
                                    <p:anim calcmode="lin" valueType="num">
                                      <p:cBhvr additive="base">
                                        <p:cTn id="144" dur="1000" fill="hold"/>
                                        <p:tgtEl>
                                          <p:spTgt spid="20">
                                            <p:txEl>
                                              <p:pRg st="0" end="0"/>
                                            </p:txEl>
                                          </p:spTgt>
                                        </p:tgtEl>
                                        <p:attrNameLst>
                                          <p:attrName>ppt_x</p:attrName>
                                        </p:attrNameLst>
                                      </p:cBhvr>
                                      <p:tavLst>
                                        <p:tav tm="0">
                                          <p:val>
                                            <p:strVal val="0-#ppt_w/2"/>
                                          </p:val>
                                        </p:tav>
                                        <p:tav tm="100000">
                                          <p:val>
                                            <p:strVal val="#ppt_x"/>
                                          </p:val>
                                        </p:tav>
                                      </p:tavLst>
                                    </p:anim>
                                    <p:anim calcmode="lin" valueType="num">
                                      <p:cBhvr additive="base">
                                        <p:cTn id="145" dur="1000" fill="hold"/>
                                        <p:tgtEl>
                                          <p:spTgt spid="20">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2" grpId="0" animBg="1"/>
      <p:bldP spid="12" grpId="1" animBg="1"/>
      <p:bldP spid="13" grpId="0" animBg="1"/>
      <p:bldP spid="13" grpId="1" animBg="1"/>
      <p:bldP spid="14" grpId="0" animBg="1"/>
      <p:bldP spid="14" grpId="1" animBg="1"/>
      <p:bldP spid="15" grpId="0" animBg="1"/>
      <p:bldP spid="15" grpId="1" animBg="1"/>
      <p:bldP spid="16" grpId="0" animBg="1"/>
      <p:bldP spid="18" grpId="0" animBg="1"/>
      <p:bldP spid="19" grpId="0" animBg="1"/>
      <p:bldP spid="20" grpId="0" animBg="1"/>
      <p:bldP spid="17" grpId="0" animBg="1"/>
      <p:bldP spid="17" grpId="1" animBg="1"/>
      <p:bldP spid="23" grpId="0" animBg="1"/>
      <p:bldP spid="22" grpId="0"/>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89436" y="628650"/>
            <a:ext cx="8363938" cy="1421928"/>
          </a:xfrm>
        </p:spPr>
        <p:txBody>
          <a:bodyPr/>
          <a:lstStyle/>
          <a:p>
            <a:pPr marL="0" indent="0">
              <a:buNone/>
            </a:pPr>
            <a:r>
              <a:rPr lang="en-US" sz="3300" b="1" dirty="0">
                <a:solidFill>
                  <a:srgbClr val="FFFF00"/>
                </a:solidFill>
              </a:rPr>
              <a:t>Windows Azure Caching (Preview) </a:t>
            </a:r>
            <a:r>
              <a:rPr lang="en-US" sz="3300" dirty="0"/>
              <a:t>is a new model of caching on Windows Azure where…</a:t>
            </a:r>
          </a:p>
          <a:p>
            <a:pPr marL="345297" lvl="1" indent="0">
              <a:buNone/>
            </a:pPr>
            <a:endParaRPr lang="en-US" sz="3000" dirty="0">
              <a:solidFill>
                <a:srgbClr val="FFFF00"/>
              </a:solidFill>
            </a:endParaRPr>
          </a:p>
        </p:txBody>
      </p:sp>
      <p:sp>
        <p:nvSpPr>
          <p:cNvPr id="4" name="Rectangle 3"/>
          <p:cNvSpPr/>
          <p:nvPr/>
        </p:nvSpPr>
        <p:spPr bwMode="auto">
          <a:xfrm>
            <a:off x="381000" y="1767241"/>
            <a:ext cx="8382000" cy="457076"/>
          </a:xfrm>
          <a:prstGeom prst="rect">
            <a:avLst/>
          </a:prstGeom>
          <a:solidFill>
            <a:schemeClr val="accent1"/>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0" tIns="102875" rIns="68580" bIns="102875" numCol="1" rtlCol="0" anchor="t" anchorCtr="0" compatLnSpc="1">
            <a:prstTxWarp prst="textNoShape">
              <a:avLst/>
            </a:prstTxWarp>
            <a:spAutoFit/>
          </a:bodyPr>
          <a:lstStyle/>
          <a:p>
            <a:pPr marL="345297" indent="-345297" defTabSz="685807">
              <a:lnSpc>
                <a:spcPct val="90000"/>
              </a:lnSpc>
              <a:spcBef>
                <a:spcPct val="20000"/>
              </a:spcBef>
              <a:buSzPct val="90000"/>
              <a:buBlip>
                <a:blip r:embed="rId3"/>
              </a:buBlip>
            </a:pPr>
            <a:endParaRPr lang="en-US" sz="1800" dirty="0">
              <a:gradFill>
                <a:gsLst>
                  <a:gs pos="0">
                    <a:srgbClr val="FFFFFF"/>
                  </a:gs>
                  <a:gs pos="100000">
                    <a:srgbClr val="FFFFFF"/>
                  </a:gs>
                </a:gsLst>
                <a:lin ang="5400000" scaled="0"/>
              </a:gradFill>
            </a:endParaRPr>
          </a:p>
        </p:txBody>
      </p:sp>
      <p:sp>
        <p:nvSpPr>
          <p:cNvPr id="5" name="Rectangle 4"/>
          <p:cNvSpPr/>
          <p:nvPr/>
        </p:nvSpPr>
        <p:spPr bwMode="auto">
          <a:xfrm>
            <a:off x="381000" y="2511823"/>
            <a:ext cx="8382000" cy="457076"/>
          </a:xfrm>
          <a:prstGeom prst="rect">
            <a:avLst/>
          </a:prstGeom>
          <a:solidFill>
            <a:srgbClr val="00B050"/>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0" tIns="102875" rIns="68580" bIns="102875" numCol="1" rtlCol="0" anchor="t" anchorCtr="0" compatLnSpc="1">
            <a:prstTxWarp prst="textNoShape">
              <a:avLst/>
            </a:prstTxWarp>
            <a:spAutoFit/>
          </a:bodyPr>
          <a:lstStyle/>
          <a:p>
            <a:pPr marL="345297" indent="-345297" defTabSz="685807">
              <a:lnSpc>
                <a:spcPct val="90000"/>
              </a:lnSpc>
              <a:spcBef>
                <a:spcPct val="20000"/>
              </a:spcBef>
              <a:buSzPct val="90000"/>
              <a:buBlip>
                <a:blip r:embed="rId4"/>
              </a:buBlip>
            </a:pPr>
            <a:endParaRPr lang="en-US" sz="1800" dirty="0">
              <a:gradFill>
                <a:gsLst>
                  <a:gs pos="0">
                    <a:srgbClr val="FFFFFF"/>
                  </a:gs>
                  <a:gs pos="100000">
                    <a:srgbClr val="FFFFFF"/>
                  </a:gs>
                </a:gsLst>
                <a:lin ang="5400000" scaled="0"/>
              </a:gradFill>
            </a:endParaRPr>
          </a:p>
        </p:txBody>
      </p:sp>
      <p:sp>
        <p:nvSpPr>
          <p:cNvPr id="6" name="Rectangle 5"/>
          <p:cNvSpPr/>
          <p:nvPr/>
        </p:nvSpPr>
        <p:spPr bwMode="auto">
          <a:xfrm>
            <a:off x="381000" y="3230281"/>
            <a:ext cx="8382000" cy="457076"/>
          </a:xfrm>
          <a:prstGeom prst="rect">
            <a:avLst/>
          </a:prstGeom>
          <a:solidFill>
            <a:schemeClr val="accent3"/>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0" tIns="102875" rIns="68580" bIns="102875" numCol="1" rtlCol="0" anchor="t" anchorCtr="0" compatLnSpc="1">
            <a:prstTxWarp prst="textNoShape">
              <a:avLst/>
            </a:prstTxWarp>
            <a:spAutoFit/>
          </a:bodyPr>
          <a:lstStyle/>
          <a:p>
            <a:pPr marL="345297" indent="-345297" defTabSz="685807">
              <a:lnSpc>
                <a:spcPct val="90000"/>
              </a:lnSpc>
              <a:spcBef>
                <a:spcPct val="20000"/>
              </a:spcBef>
              <a:buSzPct val="90000"/>
              <a:buBlip>
                <a:blip r:embed="rId4"/>
              </a:buBlip>
            </a:pPr>
            <a:endParaRPr lang="en-US" sz="1800" dirty="0">
              <a:gradFill>
                <a:gsLst>
                  <a:gs pos="0">
                    <a:srgbClr val="FFFFFF"/>
                  </a:gs>
                  <a:gs pos="100000">
                    <a:srgbClr val="FFFFFF"/>
                  </a:gs>
                </a:gsLst>
                <a:lin ang="5400000" scaled="0"/>
              </a:gradFill>
            </a:endParaRPr>
          </a:p>
        </p:txBody>
      </p:sp>
      <p:sp>
        <p:nvSpPr>
          <p:cNvPr id="7" name="Rectangle 6"/>
          <p:cNvSpPr/>
          <p:nvPr/>
        </p:nvSpPr>
        <p:spPr>
          <a:xfrm>
            <a:off x="501034" y="1847994"/>
            <a:ext cx="8261968" cy="360098"/>
          </a:xfrm>
          <a:prstGeom prst="rect">
            <a:avLst/>
          </a:prstGeom>
        </p:spPr>
        <p:txBody>
          <a:bodyPr wrap="square" lIns="68583" tIns="34292" rIns="68583" bIns="34292">
            <a:spAutoFit/>
          </a:bodyPr>
          <a:lstStyle/>
          <a:p>
            <a:pPr marL="302434" indent="-302434" defTabSz="685807">
              <a:lnSpc>
                <a:spcPct val="90000"/>
              </a:lnSpc>
              <a:spcBef>
                <a:spcPct val="20000"/>
              </a:spcBef>
              <a:buSzPct val="105000"/>
              <a:buBlip>
                <a:blip r:embed="rId3"/>
              </a:buBlip>
            </a:pPr>
            <a:r>
              <a:rPr lang="en-US" sz="2100" dirty="0">
                <a:solidFill>
                  <a:srgbClr val="FFFFFF">
                    <a:alpha val="99000"/>
                  </a:srgbClr>
                </a:solidFill>
              </a:rPr>
              <a:t>Cache is a </a:t>
            </a:r>
            <a:r>
              <a:rPr lang="en-US" sz="2100" dirty="0">
                <a:solidFill>
                  <a:srgbClr val="FFFF00">
                    <a:alpha val="99000"/>
                  </a:srgbClr>
                </a:solidFill>
              </a:rPr>
              <a:t>part of your app</a:t>
            </a:r>
          </a:p>
        </p:txBody>
      </p:sp>
      <p:sp>
        <p:nvSpPr>
          <p:cNvPr id="8" name="Rectangle 7"/>
          <p:cNvSpPr/>
          <p:nvPr/>
        </p:nvSpPr>
        <p:spPr>
          <a:xfrm>
            <a:off x="501034" y="2592580"/>
            <a:ext cx="8261968" cy="360098"/>
          </a:xfrm>
          <a:prstGeom prst="rect">
            <a:avLst/>
          </a:prstGeom>
        </p:spPr>
        <p:txBody>
          <a:bodyPr wrap="square" lIns="68583" tIns="34292" rIns="68583" bIns="34292">
            <a:spAutoFit/>
          </a:bodyPr>
          <a:lstStyle/>
          <a:p>
            <a:pPr marL="302434" indent="-302434" defTabSz="685807">
              <a:lnSpc>
                <a:spcPct val="90000"/>
              </a:lnSpc>
              <a:spcBef>
                <a:spcPct val="20000"/>
              </a:spcBef>
              <a:buSzPct val="105000"/>
              <a:buBlip>
                <a:blip r:embed="rId3"/>
              </a:buBlip>
            </a:pPr>
            <a:r>
              <a:rPr lang="en-US" sz="2100" dirty="0">
                <a:solidFill>
                  <a:srgbClr val="FFFFFF">
                    <a:alpha val="99000"/>
                  </a:srgbClr>
                </a:solidFill>
              </a:rPr>
              <a:t>Cache is </a:t>
            </a:r>
            <a:r>
              <a:rPr lang="en-US" sz="2100" dirty="0">
                <a:solidFill>
                  <a:srgbClr val="FFFF00">
                    <a:alpha val="99000"/>
                  </a:srgbClr>
                </a:solidFill>
              </a:rPr>
              <a:t>deployed on regular web and worker roles</a:t>
            </a:r>
          </a:p>
        </p:txBody>
      </p:sp>
      <p:sp>
        <p:nvSpPr>
          <p:cNvPr id="9" name="Rectangle 8"/>
          <p:cNvSpPr/>
          <p:nvPr/>
        </p:nvSpPr>
        <p:spPr>
          <a:xfrm>
            <a:off x="501034" y="3311035"/>
            <a:ext cx="8261968" cy="360098"/>
          </a:xfrm>
          <a:prstGeom prst="rect">
            <a:avLst/>
          </a:prstGeom>
        </p:spPr>
        <p:txBody>
          <a:bodyPr wrap="square" lIns="68583" tIns="34292" rIns="68583" bIns="34292">
            <a:spAutoFit/>
          </a:bodyPr>
          <a:lstStyle/>
          <a:p>
            <a:pPr marL="302434" indent="-302434" defTabSz="685807">
              <a:lnSpc>
                <a:spcPct val="90000"/>
              </a:lnSpc>
              <a:spcBef>
                <a:spcPct val="20000"/>
              </a:spcBef>
              <a:buSzPct val="105000"/>
              <a:buBlip>
                <a:blip r:embed="rId3"/>
              </a:buBlip>
            </a:pPr>
            <a:r>
              <a:rPr lang="en-US" sz="2100" dirty="0">
                <a:solidFill>
                  <a:srgbClr val="FFFFFF">
                    <a:alpha val="99000"/>
                  </a:srgbClr>
                </a:solidFill>
              </a:rPr>
              <a:t>Cache lives </a:t>
            </a:r>
            <a:r>
              <a:rPr lang="en-US" sz="2100" dirty="0">
                <a:solidFill>
                  <a:srgbClr val="FFFF00">
                    <a:alpha val="99000"/>
                  </a:srgbClr>
                </a:solidFill>
              </a:rPr>
              <a:t>inside your cloud service</a:t>
            </a:r>
          </a:p>
        </p:txBody>
      </p:sp>
      <p:sp>
        <p:nvSpPr>
          <p:cNvPr id="10" name="Rectangle 9"/>
          <p:cNvSpPr/>
          <p:nvPr/>
        </p:nvSpPr>
        <p:spPr bwMode="auto">
          <a:xfrm>
            <a:off x="398963" y="3920491"/>
            <a:ext cx="8382000" cy="457076"/>
          </a:xfrm>
          <a:prstGeom prst="rect">
            <a:avLst/>
          </a:prstGeom>
          <a:solidFill>
            <a:schemeClr val="accent2">
              <a:lumMod val="75000"/>
            </a:schemeClr>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0" tIns="102875" rIns="68580" bIns="102875" numCol="1" rtlCol="0" anchor="t" anchorCtr="0" compatLnSpc="1">
            <a:prstTxWarp prst="textNoShape">
              <a:avLst/>
            </a:prstTxWarp>
            <a:spAutoFit/>
          </a:bodyPr>
          <a:lstStyle/>
          <a:p>
            <a:pPr marL="345297" indent="-345297" defTabSz="685807">
              <a:lnSpc>
                <a:spcPct val="90000"/>
              </a:lnSpc>
              <a:spcBef>
                <a:spcPct val="20000"/>
              </a:spcBef>
              <a:buSzPct val="90000"/>
              <a:buBlip>
                <a:blip r:embed="rId4"/>
              </a:buBlip>
            </a:pPr>
            <a:endParaRPr lang="en-US" sz="1800" dirty="0">
              <a:gradFill>
                <a:gsLst>
                  <a:gs pos="0">
                    <a:srgbClr val="FFFFFF"/>
                  </a:gs>
                  <a:gs pos="100000">
                    <a:srgbClr val="FFFFFF"/>
                  </a:gs>
                </a:gsLst>
                <a:lin ang="5400000" scaled="0"/>
              </a:gradFill>
            </a:endParaRPr>
          </a:p>
        </p:txBody>
      </p:sp>
      <p:sp>
        <p:nvSpPr>
          <p:cNvPr id="11" name="Rectangle 10"/>
          <p:cNvSpPr/>
          <p:nvPr/>
        </p:nvSpPr>
        <p:spPr>
          <a:xfrm>
            <a:off x="518995" y="4001247"/>
            <a:ext cx="8261968" cy="360098"/>
          </a:xfrm>
          <a:prstGeom prst="rect">
            <a:avLst/>
          </a:prstGeom>
        </p:spPr>
        <p:txBody>
          <a:bodyPr wrap="square" lIns="68583" tIns="34292" rIns="68583" bIns="34292">
            <a:spAutoFit/>
          </a:bodyPr>
          <a:lstStyle/>
          <a:p>
            <a:pPr marL="302434" indent="-302434" defTabSz="685807">
              <a:lnSpc>
                <a:spcPct val="90000"/>
              </a:lnSpc>
              <a:spcBef>
                <a:spcPct val="20000"/>
              </a:spcBef>
              <a:buSzPct val="105000"/>
              <a:buBlip>
                <a:blip r:embed="rId3"/>
              </a:buBlip>
            </a:pPr>
            <a:r>
              <a:rPr lang="en-US" sz="2100" dirty="0">
                <a:solidFill>
                  <a:srgbClr val="FFFFFF">
                    <a:alpha val="99000"/>
                  </a:srgbClr>
                </a:solidFill>
              </a:rPr>
              <a:t>Cache is </a:t>
            </a:r>
            <a:r>
              <a:rPr lang="en-US" sz="2100" dirty="0">
                <a:solidFill>
                  <a:srgbClr val="FFFF00">
                    <a:alpha val="99000"/>
                  </a:srgbClr>
                </a:solidFill>
              </a:rPr>
              <a:t>scaled, managed and monitored just like your app</a:t>
            </a:r>
          </a:p>
        </p:txBody>
      </p:sp>
    </p:spTree>
    <p:extLst>
      <p:ext uri="{BB962C8B-B14F-4D97-AF65-F5344CB8AC3E}">
        <p14:creationId xmlns:p14="http://schemas.microsoft.com/office/powerpoint/2010/main" val="36719228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000" fill="hold"/>
                                        <p:tgtEl>
                                          <p:spTgt spid="4"/>
                                        </p:tgtEl>
                                        <p:attrNameLst>
                                          <p:attrName>ppt_x</p:attrName>
                                        </p:attrNameLst>
                                      </p:cBhvr>
                                      <p:tavLst>
                                        <p:tav tm="0">
                                          <p:val>
                                            <p:strVal val="0-#ppt_w/2"/>
                                          </p:val>
                                        </p:tav>
                                        <p:tav tm="100000">
                                          <p:val>
                                            <p:strVal val="#ppt_x"/>
                                          </p:val>
                                        </p:tav>
                                      </p:tavLst>
                                    </p:anim>
                                    <p:anim calcmode="lin" valueType="num">
                                      <p:cBhvr additive="base">
                                        <p:cTn id="8" dur="1000" fill="hold"/>
                                        <p:tgtEl>
                                          <p:spTgt spid="4"/>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1000" fill="hold"/>
                                        <p:tgtEl>
                                          <p:spTgt spid="7"/>
                                        </p:tgtEl>
                                        <p:attrNameLst>
                                          <p:attrName>ppt_x</p:attrName>
                                        </p:attrNameLst>
                                      </p:cBhvr>
                                      <p:tavLst>
                                        <p:tav tm="0">
                                          <p:val>
                                            <p:strVal val="0-#ppt_w/2"/>
                                          </p:val>
                                        </p:tav>
                                        <p:tav tm="100000">
                                          <p:val>
                                            <p:strVal val="#ppt_x"/>
                                          </p:val>
                                        </p:tav>
                                      </p:tavLst>
                                    </p:anim>
                                    <p:anim calcmode="lin" valueType="num">
                                      <p:cBhvr additive="base">
                                        <p:cTn id="12" dur="1000" fill="hold"/>
                                        <p:tgtEl>
                                          <p:spTgt spid="7"/>
                                        </p:tgtEl>
                                        <p:attrNameLst>
                                          <p:attrName>ppt_y</p:attrName>
                                        </p:attrNameLst>
                                      </p:cBhvr>
                                      <p:tavLst>
                                        <p:tav tm="0">
                                          <p:val>
                                            <p:strVal val="#ppt_y"/>
                                          </p:val>
                                        </p:tav>
                                        <p:tav tm="100000">
                                          <p:val>
                                            <p:strVal val="#ppt_y"/>
                                          </p:val>
                                        </p:tav>
                                      </p:tavLst>
                                    </p:anim>
                                  </p:childTnLst>
                                </p:cTn>
                              </p:par>
                            </p:childTnLst>
                          </p:cTn>
                        </p:par>
                        <p:par>
                          <p:cTn id="13" fill="hold">
                            <p:stCondLst>
                              <p:cond delay="1250"/>
                            </p:stCondLst>
                            <p:childTnLst>
                              <p:par>
                                <p:cTn id="14" presetID="2" presetClass="entr" presetSubtype="8" decel="100000" fill="hold" grpId="0" nodeType="afterEffect">
                                  <p:stCondLst>
                                    <p:cond delay="0"/>
                                  </p:stCondLst>
                                  <p:childTnLst>
                                    <p:set>
                                      <p:cBhvr>
                                        <p:cTn id="15" dur="1" fill="hold">
                                          <p:stCondLst>
                                            <p:cond delay="0"/>
                                          </p:stCondLst>
                                        </p:cTn>
                                        <p:tgtEl>
                                          <p:spTgt spid="5"/>
                                        </p:tgtEl>
                                        <p:attrNameLst>
                                          <p:attrName>style.visibility</p:attrName>
                                        </p:attrNameLst>
                                      </p:cBhvr>
                                      <p:to>
                                        <p:strVal val="visible"/>
                                      </p:to>
                                    </p:set>
                                    <p:anim calcmode="lin" valueType="num">
                                      <p:cBhvr additive="base">
                                        <p:cTn id="16" dur="1000" fill="hold"/>
                                        <p:tgtEl>
                                          <p:spTgt spid="5"/>
                                        </p:tgtEl>
                                        <p:attrNameLst>
                                          <p:attrName>ppt_x</p:attrName>
                                        </p:attrNameLst>
                                      </p:cBhvr>
                                      <p:tavLst>
                                        <p:tav tm="0">
                                          <p:val>
                                            <p:strVal val="0-#ppt_w/2"/>
                                          </p:val>
                                        </p:tav>
                                        <p:tav tm="100000">
                                          <p:val>
                                            <p:strVal val="#ppt_x"/>
                                          </p:val>
                                        </p:tav>
                                      </p:tavLst>
                                    </p:anim>
                                    <p:anim calcmode="lin" valueType="num">
                                      <p:cBhvr additive="base">
                                        <p:cTn id="17" dur="1000" fill="hold"/>
                                        <p:tgtEl>
                                          <p:spTgt spid="5"/>
                                        </p:tgtEl>
                                        <p:attrNameLst>
                                          <p:attrName>ppt_y</p:attrName>
                                        </p:attrNameLst>
                                      </p:cBhvr>
                                      <p:tavLst>
                                        <p:tav tm="0">
                                          <p:val>
                                            <p:strVal val="#ppt_y"/>
                                          </p:val>
                                        </p:tav>
                                        <p:tav tm="100000">
                                          <p:val>
                                            <p:strVal val="#ppt_y"/>
                                          </p:val>
                                        </p:tav>
                                      </p:tavLst>
                                    </p:anim>
                                  </p:childTnLst>
                                </p:cTn>
                              </p:par>
                              <p:par>
                                <p:cTn id="18" presetID="2" presetClass="entr" presetSubtype="8" decel="100000" fill="hold" grpId="0" nodeType="withEffect">
                                  <p:stCondLst>
                                    <p:cond delay="25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1000" fill="hold"/>
                                        <p:tgtEl>
                                          <p:spTgt spid="8"/>
                                        </p:tgtEl>
                                        <p:attrNameLst>
                                          <p:attrName>ppt_x</p:attrName>
                                        </p:attrNameLst>
                                      </p:cBhvr>
                                      <p:tavLst>
                                        <p:tav tm="0">
                                          <p:val>
                                            <p:strVal val="0-#ppt_w/2"/>
                                          </p:val>
                                        </p:tav>
                                        <p:tav tm="100000">
                                          <p:val>
                                            <p:strVal val="#ppt_x"/>
                                          </p:val>
                                        </p:tav>
                                      </p:tavLst>
                                    </p:anim>
                                    <p:anim calcmode="lin" valueType="num">
                                      <p:cBhvr additive="base">
                                        <p:cTn id="21" dur="1000" fill="hold"/>
                                        <p:tgtEl>
                                          <p:spTgt spid="8"/>
                                        </p:tgtEl>
                                        <p:attrNameLst>
                                          <p:attrName>ppt_y</p:attrName>
                                        </p:attrNameLst>
                                      </p:cBhvr>
                                      <p:tavLst>
                                        <p:tav tm="0">
                                          <p:val>
                                            <p:strVal val="#ppt_y"/>
                                          </p:val>
                                        </p:tav>
                                        <p:tav tm="100000">
                                          <p:val>
                                            <p:strVal val="#ppt_y"/>
                                          </p:val>
                                        </p:tav>
                                      </p:tavLst>
                                    </p:anim>
                                  </p:childTnLst>
                                </p:cTn>
                              </p:par>
                            </p:childTnLst>
                          </p:cTn>
                        </p:par>
                        <p:par>
                          <p:cTn id="22" fill="hold">
                            <p:stCondLst>
                              <p:cond delay="2500"/>
                            </p:stCondLst>
                            <p:childTnLst>
                              <p:par>
                                <p:cTn id="23" presetID="2" presetClass="entr" presetSubtype="8" decel="100000" fill="hold" grpId="0" nodeType="afterEffect">
                                  <p:stCondLst>
                                    <p:cond delay="0"/>
                                  </p:stCondLst>
                                  <p:childTnLst>
                                    <p:set>
                                      <p:cBhvr>
                                        <p:cTn id="24" dur="1" fill="hold">
                                          <p:stCondLst>
                                            <p:cond delay="0"/>
                                          </p:stCondLst>
                                        </p:cTn>
                                        <p:tgtEl>
                                          <p:spTgt spid="6"/>
                                        </p:tgtEl>
                                        <p:attrNameLst>
                                          <p:attrName>style.visibility</p:attrName>
                                        </p:attrNameLst>
                                      </p:cBhvr>
                                      <p:to>
                                        <p:strVal val="visible"/>
                                      </p:to>
                                    </p:set>
                                    <p:anim calcmode="lin" valueType="num">
                                      <p:cBhvr additive="base">
                                        <p:cTn id="25" dur="1000" fill="hold"/>
                                        <p:tgtEl>
                                          <p:spTgt spid="6"/>
                                        </p:tgtEl>
                                        <p:attrNameLst>
                                          <p:attrName>ppt_x</p:attrName>
                                        </p:attrNameLst>
                                      </p:cBhvr>
                                      <p:tavLst>
                                        <p:tav tm="0">
                                          <p:val>
                                            <p:strVal val="0-#ppt_w/2"/>
                                          </p:val>
                                        </p:tav>
                                        <p:tav tm="100000">
                                          <p:val>
                                            <p:strVal val="#ppt_x"/>
                                          </p:val>
                                        </p:tav>
                                      </p:tavLst>
                                    </p:anim>
                                    <p:anim calcmode="lin" valueType="num">
                                      <p:cBhvr additive="base">
                                        <p:cTn id="26" dur="1000" fill="hold"/>
                                        <p:tgtEl>
                                          <p:spTgt spid="6"/>
                                        </p:tgtEl>
                                        <p:attrNameLst>
                                          <p:attrName>ppt_y</p:attrName>
                                        </p:attrNameLst>
                                      </p:cBhvr>
                                      <p:tavLst>
                                        <p:tav tm="0">
                                          <p:val>
                                            <p:strVal val="#ppt_y"/>
                                          </p:val>
                                        </p:tav>
                                        <p:tav tm="100000">
                                          <p:val>
                                            <p:strVal val="#ppt_y"/>
                                          </p:val>
                                        </p:tav>
                                      </p:tavLst>
                                    </p:anim>
                                  </p:childTnLst>
                                </p:cTn>
                              </p:par>
                              <p:par>
                                <p:cTn id="27" presetID="2" presetClass="entr" presetSubtype="8" decel="100000" fill="hold" grpId="0" nodeType="withEffect">
                                  <p:stCondLst>
                                    <p:cond delay="250"/>
                                  </p:stCondLst>
                                  <p:childTnLst>
                                    <p:set>
                                      <p:cBhvr>
                                        <p:cTn id="28" dur="1" fill="hold">
                                          <p:stCondLst>
                                            <p:cond delay="0"/>
                                          </p:stCondLst>
                                        </p:cTn>
                                        <p:tgtEl>
                                          <p:spTgt spid="9"/>
                                        </p:tgtEl>
                                        <p:attrNameLst>
                                          <p:attrName>style.visibility</p:attrName>
                                        </p:attrNameLst>
                                      </p:cBhvr>
                                      <p:to>
                                        <p:strVal val="visible"/>
                                      </p:to>
                                    </p:set>
                                    <p:anim calcmode="lin" valueType="num">
                                      <p:cBhvr additive="base">
                                        <p:cTn id="29" dur="1000" fill="hold"/>
                                        <p:tgtEl>
                                          <p:spTgt spid="9"/>
                                        </p:tgtEl>
                                        <p:attrNameLst>
                                          <p:attrName>ppt_x</p:attrName>
                                        </p:attrNameLst>
                                      </p:cBhvr>
                                      <p:tavLst>
                                        <p:tav tm="0">
                                          <p:val>
                                            <p:strVal val="0-#ppt_w/2"/>
                                          </p:val>
                                        </p:tav>
                                        <p:tav tm="100000">
                                          <p:val>
                                            <p:strVal val="#ppt_x"/>
                                          </p:val>
                                        </p:tav>
                                      </p:tavLst>
                                    </p:anim>
                                    <p:anim calcmode="lin" valueType="num">
                                      <p:cBhvr additive="base">
                                        <p:cTn id="30" dur="1000" fill="hold"/>
                                        <p:tgtEl>
                                          <p:spTgt spid="9"/>
                                        </p:tgtEl>
                                        <p:attrNameLst>
                                          <p:attrName>ppt_y</p:attrName>
                                        </p:attrNameLst>
                                      </p:cBhvr>
                                      <p:tavLst>
                                        <p:tav tm="0">
                                          <p:val>
                                            <p:strVal val="#ppt_y"/>
                                          </p:val>
                                        </p:tav>
                                        <p:tav tm="100000">
                                          <p:val>
                                            <p:strVal val="#ppt_y"/>
                                          </p:val>
                                        </p:tav>
                                      </p:tavLst>
                                    </p:anim>
                                  </p:childTnLst>
                                </p:cTn>
                              </p:par>
                            </p:childTnLst>
                          </p:cTn>
                        </p:par>
                        <p:par>
                          <p:cTn id="31" fill="hold">
                            <p:stCondLst>
                              <p:cond delay="3750"/>
                            </p:stCondLst>
                            <p:childTnLst>
                              <p:par>
                                <p:cTn id="32" presetID="2" presetClass="entr" presetSubtype="8" decel="100000" fill="hold" grpId="0" nodeType="afterEffect">
                                  <p:stCondLst>
                                    <p:cond delay="0"/>
                                  </p:stCondLst>
                                  <p:childTnLst>
                                    <p:set>
                                      <p:cBhvr>
                                        <p:cTn id="33" dur="1" fill="hold">
                                          <p:stCondLst>
                                            <p:cond delay="0"/>
                                          </p:stCondLst>
                                        </p:cTn>
                                        <p:tgtEl>
                                          <p:spTgt spid="10"/>
                                        </p:tgtEl>
                                        <p:attrNameLst>
                                          <p:attrName>style.visibility</p:attrName>
                                        </p:attrNameLst>
                                      </p:cBhvr>
                                      <p:to>
                                        <p:strVal val="visible"/>
                                      </p:to>
                                    </p:set>
                                    <p:anim calcmode="lin" valueType="num">
                                      <p:cBhvr additive="base">
                                        <p:cTn id="34" dur="1000" fill="hold"/>
                                        <p:tgtEl>
                                          <p:spTgt spid="10"/>
                                        </p:tgtEl>
                                        <p:attrNameLst>
                                          <p:attrName>ppt_x</p:attrName>
                                        </p:attrNameLst>
                                      </p:cBhvr>
                                      <p:tavLst>
                                        <p:tav tm="0">
                                          <p:val>
                                            <p:strVal val="0-#ppt_w/2"/>
                                          </p:val>
                                        </p:tav>
                                        <p:tav tm="100000">
                                          <p:val>
                                            <p:strVal val="#ppt_x"/>
                                          </p:val>
                                        </p:tav>
                                      </p:tavLst>
                                    </p:anim>
                                    <p:anim calcmode="lin" valueType="num">
                                      <p:cBhvr additive="base">
                                        <p:cTn id="35" dur="1000" fill="hold"/>
                                        <p:tgtEl>
                                          <p:spTgt spid="10"/>
                                        </p:tgtEl>
                                        <p:attrNameLst>
                                          <p:attrName>ppt_y</p:attrName>
                                        </p:attrNameLst>
                                      </p:cBhvr>
                                      <p:tavLst>
                                        <p:tav tm="0">
                                          <p:val>
                                            <p:strVal val="#ppt_y"/>
                                          </p:val>
                                        </p:tav>
                                        <p:tav tm="100000">
                                          <p:val>
                                            <p:strVal val="#ppt_y"/>
                                          </p:val>
                                        </p:tav>
                                      </p:tavLst>
                                    </p:anim>
                                  </p:childTnLst>
                                </p:cTn>
                              </p:par>
                              <p:par>
                                <p:cTn id="36" presetID="2" presetClass="entr" presetSubtype="8" decel="100000" fill="hold" grpId="0" nodeType="withEffect">
                                  <p:stCondLst>
                                    <p:cond delay="250"/>
                                  </p:stCondLst>
                                  <p:childTnLst>
                                    <p:set>
                                      <p:cBhvr>
                                        <p:cTn id="37" dur="1" fill="hold">
                                          <p:stCondLst>
                                            <p:cond delay="0"/>
                                          </p:stCondLst>
                                        </p:cTn>
                                        <p:tgtEl>
                                          <p:spTgt spid="11"/>
                                        </p:tgtEl>
                                        <p:attrNameLst>
                                          <p:attrName>style.visibility</p:attrName>
                                        </p:attrNameLst>
                                      </p:cBhvr>
                                      <p:to>
                                        <p:strVal val="visible"/>
                                      </p:to>
                                    </p:set>
                                    <p:anim calcmode="lin" valueType="num">
                                      <p:cBhvr additive="base">
                                        <p:cTn id="38" dur="1000" fill="hold"/>
                                        <p:tgtEl>
                                          <p:spTgt spid="11"/>
                                        </p:tgtEl>
                                        <p:attrNameLst>
                                          <p:attrName>ppt_x</p:attrName>
                                        </p:attrNameLst>
                                      </p:cBhvr>
                                      <p:tavLst>
                                        <p:tav tm="0">
                                          <p:val>
                                            <p:strVal val="0-#ppt_w/2"/>
                                          </p:val>
                                        </p:tav>
                                        <p:tav tm="100000">
                                          <p:val>
                                            <p:strVal val="#ppt_x"/>
                                          </p:val>
                                        </p:tav>
                                      </p:tavLst>
                                    </p:anim>
                                    <p:anim calcmode="lin" valueType="num">
                                      <p:cBhvr additive="base">
                                        <p:cTn id="39" dur="10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p:bldP spid="8" grpId="0"/>
      <p:bldP spid="9" grpId="0"/>
      <p:bldP spid="10" grpId="0" animBg="1"/>
      <p:bldP spid="11" grpId="0"/>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enefits of the new caching model</a:t>
            </a:r>
            <a:endParaRPr lang="en-US" dirty="0"/>
          </a:p>
        </p:txBody>
      </p:sp>
      <p:sp>
        <p:nvSpPr>
          <p:cNvPr id="3" name="Rectangle 2"/>
          <p:cNvSpPr/>
          <p:nvPr/>
        </p:nvSpPr>
        <p:spPr bwMode="auto">
          <a:xfrm>
            <a:off x="381000" y="914401"/>
            <a:ext cx="8382000" cy="457076"/>
          </a:xfrm>
          <a:prstGeom prst="rect">
            <a:avLst/>
          </a:prstGeom>
          <a:solidFill>
            <a:schemeClr val="accent1"/>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0" tIns="102875" rIns="68580" bIns="102875" numCol="1" rtlCol="0" anchor="t" anchorCtr="0" compatLnSpc="1">
            <a:prstTxWarp prst="textNoShape">
              <a:avLst/>
            </a:prstTxWarp>
            <a:spAutoFit/>
          </a:bodyPr>
          <a:lstStyle/>
          <a:p>
            <a:pPr marL="345297" indent="-345297" defTabSz="685807">
              <a:lnSpc>
                <a:spcPct val="90000"/>
              </a:lnSpc>
              <a:spcBef>
                <a:spcPct val="20000"/>
              </a:spcBef>
              <a:buSzPct val="90000"/>
              <a:buBlip>
                <a:blip r:embed="rId3"/>
              </a:buBlip>
            </a:pPr>
            <a:endParaRPr lang="en-US" sz="1800" dirty="0">
              <a:gradFill>
                <a:gsLst>
                  <a:gs pos="0">
                    <a:srgbClr val="FFFFFF"/>
                  </a:gs>
                  <a:gs pos="100000">
                    <a:srgbClr val="FFFFFF"/>
                  </a:gs>
                </a:gsLst>
                <a:lin ang="5400000" scaled="0"/>
              </a:gradFill>
            </a:endParaRPr>
          </a:p>
        </p:txBody>
      </p:sp>
      <p:sp>
        <p:nvSpPr>
          <p:cNvPr id="5" name="Rectangle 4"/>
          <p:cNvSpPr/>
          <p:nvPr/>
        </p:nvSpPr>
        <p:spPr bwMode="auto">
          <a:xfrm>
            <a:off x="398963" y="2256127"/>
            <a:ext cx="8382000" cy="457076"/>
          </a:xfrm>
          <a:prstGeom prst="rect">
            <a:avLst/>
          </a:prstGeom>
          <a:solidFill>
            <a:schemeClr val="accent3"/>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0" tIns="102875" rIns="68580" bIns="102875" numCol="1" rtlCol="0" anchor="t" anchorCtr="0" compatLnSpc="1">
            <a:prstTxWarp prst="textNoShape">
              <a:avLst/>
            </a:prstTxWarp>
            <a:spAutoFit/>
          </a:bodyPr>
          <a:lstStyle/>
          <a:p>
            <a:pPr marL="345297" indent="-345297" defTabSz="685807">
              <a:lnSpc>
                <a:spcPct val="90000"/>
              </a:lnSpc>
              <a:spcBef>
                <a:spcPct val="20000"/>
              </a:spcBef>
              <a:buSzPct val="90000"/>
              <a:buBlip>
                <a:blip r:embed="rId4"/>
              </a:buBlip>
            </a:pPr>
            <a:endParaRPr lang="en-US" sz="1800" dirty="0">
              <a:gradFill>
                <a:gsLst>
                  <a:gs pos="0">
                    <a:srgbClr val="FFFFFF"/>
                  </a:gs>
                  <a:gs pos="100000">
                    <a:srgbClr val="FFFFFF"/>
                  </a:gs>
                </a:gsLst>
                <a:lin ang="5400000" scaled="0"/>
              </a:gradFill>
            </a:endParaRPr>
          </a:p>
        </p:txBody>
      </p:sp>
      <p:sp>
        <p:nvSpPr>
          <p:cNvPr id="8" name="Rectangle 7"/>
          <p:cNvSpPr/>
          <p:nvPr/>
        </p:nvSpPr>
        <p:spPr>
          <a:xfrm>
            <a:off x="501034" y="995156"/>
            <a:ext cx="8261968" cy="318549"/>
          </a:xfrm>
          <a:prstGeom prst="rect">
            <a:avLst/>
          </a:prstGeom>
        </p:spPr>
        <p:txBody>
          <a:bodyPr wrap="square" lIns="68583" tIns="34292" rIns="68583" bIns="34292">
            <a:spAutoFit/>
          </a:bodyPr>
          <a:lstStyle/>
          <a:p>
            <a:pPr marL="302434" indent="-302434" defTabSz="685807">
              <a:lnSpc>
                <a:spcPct val="90000"/>
              </a:lnSpc>
              <a:spcBef>
                <a:spcPct val="20000"/>
              </a:spcBef>
              <a:buSzPct val="105000"/>
              <a:buBlip>
                <a:blip r:embed="rId3"/>
              </a:buBlip>
            </a:pPr>
            <a:r>
              <a:rPr lang="en-US" sz="1800" dirty="0">
                <a:solidFill>
                  <a:srgbClr val="FFFFFF">
                    <a:alpha val="99000"/>
                  </a:srgbClr>
                </a:solidFill>
              </a:rPr>
              <a:t>No cache quotas or throttling</a:t>
            </a:r>
          </a:p>
        </p:txBody>
      </p:sp>
      <p:sp>
        <p:nvSpPr>
          <p:cNvPr id="10" name="Rectangle 9"/>
          <p:cNvSpPr/>
          <p:nvPr/>
        </p:nvSpPr>
        <p:spPr>
          <a:xfrm>
            <a:off x="518995" y="2336882"/>
            <a:ext cx="8261968" cy="318549"/>
          </a:xfrm>
          <a:prstGeom prst="rect">
            <a:avLst/>
          </a:prstGeom>
        </p:spPr>
        <p:txBody>
          <a:bodyPr wrap="square" lIns="68583" tIns="34292" rIns="68583" bIns="34292">
            <a:spAutoFit/>
          </a:bodyPr>
          <a:lstStyle/>
          <a:p>
            <a:pPr marL="302434" indent="-302434" defTabSz="685807">
              <a:lnSpc>
                <a:spcPct val="90000"/>
              </a:lnSpc>
              <a:spcBef>
                <a:spcPct val="20000"/>
              </a:spcBef>
              <a:buSzPct val="105000"/>
              <a:buBlip>
                <a:blip r:embed="rId3"/>
              </a:buBlip>
            </a:pPr>
            <a:r>
              <a:rPr lang="en-US" sz="1800" dirty="0">
                <a:solidFill>
                  <a:srgbClr val="FFFFFF">
                    <a:alpha val="99000"/>
                  </a:srgbClr>
                </a:solidFill>
              </a:rPr>
              <a:t>Isolation, Flexibility &amp; Control</a:t>
            </a:r>
          </a:p>
        </p:txBody>
      </p:sp>
      <p:sp>
        <p:nvSpPr>
          <p:cNvPr id="14" name="TextBox 13"/>
          <p:cNvSpPr txBox="1"/>
          <p:nvPr/>
        </p:nvSpPr>
        <p:spPr>
          <a:xfrm>
            <a:off x="627622" y="1425695"/>
            <a:ext cx="7660095" cy="553998"/>
          </a:xfrm>
          <a:prstGeom prst="rect">
            <a:avLst/>
          </a:prstGeom>
          <a:noFill/>
        </p:spPr>
        <p:txBody>
          <a:bodyPr wrap="square" lIns="68583" tIns="68583" rIns="68583" bIns="68583" rtlCol="0">
            <a:spAutoFit/>
          </a:bodyPr>
          <a:lstStyle/>
          <a:p>
            <a:pPr defTabSz="685807">
              <a:lnSpc>
                <a:spcPct val="90000"/>
              </a:lnSpc>
              <a:spcBef>
                <a:spcPct val="20000"/>
              </a:spcBef>
              <a:buSzPct val="90000"/>
            </a:pPr>
            <a:r>
              <a:rPr lang="en-US" sz="1500" dirty="0">
                <a:solidFill>
                  <a:srgbClr val="FFFFFF">
                    <a:alpha val="99000"/>
                  </a:srgbClr>
                </a:solidFill>
              </a:rPr>
              <a:t>Your application is the only consumer of cache. Use as much cache as your app needs, only limited by physical capacity.</a:t>
            </a:r>
          </a:p>
        </p:txBody>
      </p:sp>
      <p:sp>
        <p:nvSpPr>
          <p:cNvPr id="16" name="TextBox 15"/>
          <p:cNvSpPr txBox="1"/>
          <p:nvPr/>
        </p:nvSpPr>
        <p:spPr>
          <a:xfrm>
            <a:off x="627622" y="2770938"/>
            <a:ext cx="7660095" cy="553998"/>
          </a:xfrm>
          <a:prstGeom prst="rect">
            <a:avLst/>
          </a:prstGeom>
          <a:noFill/>
        </p:spPr>
        <p:txBody>
          <a:bodyPr wrap="square" lIns="68583" tIns="68583" rIns="68583" bIns="68583" rtlCol="0">
            <a:spAutoFit/>
          </a:bodyPr>
          <a:lstStyle/>
          <a:p>
            <a:pPr defTabSz="685807">
              <a:lnSpc>
                <a:spcPct val="90000"/>
              </a:lnSpc>
              <a:spcBef>
                <a:spcPct val="20000"/>
              </a:spcBef>
              <a:buSzPct val="90000"/>
            </a:pPr>
            <a:r>
              <a:rPr lang="en-US" sz="1500" dirty="0">
                <a:solidFill>
                  <a:srgbClr val="FFFFFF">
                    <a:alpha val="99000"/>
                  </a:srgbClr>
                </a:solidFill>
              </a:rPr>
              <a:t>Co-located and dedicated topologies allow you maximize your resources. You have as much control over cache as you do over your own application. </a:t>
            </a:r>
          </a:p>
        </p:txBody>
      </p:sp>
      <p:sp>
        <p:nvSpPr>
          <p:cNvPr id="12" name="Rectangle 11"/>
          <p:cNvSpPr/>
          <p:nvPr/>
        </p:nvSpPr>
        <p:spPr bwMode="auto">
          <a:xfrm>
            <a:off x="370762" y="3594480"/>
            <a:ext cx="8382000" cy="457076"/>
          </a:xfrm>
          <a:prstGeom prst="rect">
            <a:avLst/>
          </a:prstGeom>
          <a:solidFill>
            <a:schemeClr val="accent6"/>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0" tIns="102875" rIns="68580" bIns="102875" numCol="1" rtlCol="0" anchor="t" anchorCtr="0" compatLnSpc="1">
            <a:prstTxWarp prst="textNoShape">
              <a:avLst/>
            </a:prstTxWarp>
            <a:spAutoFit/>
          </a:bodyPr>
          <a:lstStyle/>
          <a:p>
            <a:pPr marL="345297" indent="-345297" defTabSz="685807">
              <a:lnSpc>
                <a:spcPct val="90000"/>
              </a:lnSpc>
              <a:spcBef>
                <a:spcPct val="20000"/>
              </a:spcBef>
              <a:buSzPct val="90000"/>
              <a:buBlip>
                <a:blip r:embed="rId4"/>
              </a:buBlip>
            </a:pPr>
            <a:endParaRPr lang="en-US" sz="1800" dirty="0">
              <a:gradFill>
                <a:gsLst>
                  <a:gs pos="0">
                    <a:srgbClr val="FFFFFF"/>
                  </a:gs>
                  <a:gs pos="100000">
                    <a:srgbClr val="FFFFFF"/>
                  </a:gs>
                </a:gsLst>
                <a:lin ang="5400000" scaled="0"/>
              </a:gradFill>
            </a:endParaRPr>
          </a:p>
        </p:txBody>
      </p:sp>
      <p:sp>
        <p:nvSpPr>
          <p:cNvPr id="13" name="Rectangle 12"/>
          <p:cNvSpPr/>
          <p:nvPr/>
        </p:nvSpPr>
        <p:spPr>
          <a:xfrm>
            <a:off x="490794" y="3675236"/>
            <a:ext cx="8261968" cy="318549"/>
          </a:xfrm>
          <a:prstGeom prst="rect">
            <a:avLst/>
          </a:prstGeom>
        </p:spPr>
        <p:txBody>
          <a:bodyPr wrap="square" lIns="68583" tIns="34292" rIns="68583" bIns="34292">
            <a:spAutoFit/>
          </a:bodyPr>
          <a:lstStyle/>
          <a:p>
            <a:pPr marL="302434" indent="-302434" defTabSz="685807">
              <a:lnSpc>
                <a:spcPct val="90000"/>
              </a:lnSpc>
              <a:spcBef>
                <a:spcPct val="20000"/>
              </a:spcBef>
              <a:buSzPct val="105000"/>
              <a:buBlip>
                <a:blip r:embed="rId3"/>
              </a:buBlip>
            </a:pPr>
            <a:r>
              <a:rPr lang="en-US" sz="1800" dirty="0">
                <a:solidFill>
                  <a:srgbClr val="FFFFFF">
                    <a:alpha val="99000"/>
                  </a:srgbClr>
                </a:solidFill>
              </a:rPr>
              <a:t>Lower cost</a:t>
            </a:r>
          </a:p>
        </p:txBody>
      </p:sp>
      <p:sp>
        <p:nvSpPr>
          <p:cNvPr id="17" name="TextBox 16"/>
          <p:cNvSpPr txBox="1"/>
          <p:nvPr/>
        </p:nvSpPr>
        <p:spPr>
          <a:xfrm>
            <a:off x="617384" y="4108830"/>
            <a:ext cx="7660095" cy="553998"/>
          </a:xfrm>
          <a:prstGeom prst="rect">
            <a:avLst/>
          </a:prstGeom>
          <a:noFill/>
        </p:spPr>
        <p:txBody>
          <a:bodyPr wrap="square" lIns="68583" tIns="68583" rIns="68583" bIns="68583" rtlCol="0">
            <a:spAutoFit/>
          </a:bodyPr>
          <a:lstStyle/>
          <a:p>
            <a:pPr defTabSz="685807">
              <a:lnSpc>
                <a:spcPct val="90000"/>
              </a:lnSpc>
              <a:spcBef>
                <a:spcPct val="20000"/>
              </a:spcBef>
              <a:buSzPct val="90000"/>
            </a:pPr>
            <a:r>
              <a:rPr lang="en-US" sz="1500" dirty="0">
                <a:solidFill>
                  <a:srgbClr val="FFFFFF">
                    <a:alpha val="99000"/>
                  </a:srgbClr>
                </a:solidFill>
              </a:rPr>
              <a:t>Pay no premium for cache. Pay only for the web/worker roles on which cache runs. In co-located, you’ve already paid for the role!</a:t>
            </a:r>
          </a:p>
        </p:txBody>
      </p:sp>
      <p:sp>
        <p:nvSpPr>
          <p:cNvPr id="15"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8"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5"/>
              </a:rPr>
              <a:t>www.rapidbbs.cn</a:t>
            </a:r>
            <a:endParaRPr lang="zh-CN" altLang="en-US" sz="1200" b="0">
              <a:latin typeface="Arial" charset="0"/>
              <a:ea typeface="ＭＳ Ｐゴシック" pitchFamily="34" charset="-128"/>
            </a:endParaRPr>
          </a:p>
        </p:txBody>
      </p:sp>
      <p:pic>
        <p:nvPicPr>
          <p:cNvPr id="19" name="Picture 2">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82299757"/>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1000"/>
                                        <p:tgtEl>
                                          <p:spTgt spid="3"/>
                                        </p:tgtEl>
                                      </p:cBhvr>
                                    </p:animEffect>
                                    <p:anim calcmode="lin" valueType="num">
                                      <p:cBhvr>
                                        <p:cTn id="13" dur="1000" fill="hold"/>
                                        <p:tgtEl>
                                          <p:spTgt spid="3"/>
                                        </p:tgtEl>
                                        <p:attrNameLst>
                                          <p:attrName>ppt_x</p:attrName>
                                        </p:attrNameLst>
                                      </p:cBhvr>
                                      <p:tavLst>
                                        <p:tav tm="0">
                                          <p:val>
                                            <p:strVal val="#ppt_x"/>
                                          </p:val>
                                        </p:tav>
                                        <p:tav tm="100000">
                                          <p:val>
                                            <p:strVal val="#ppt_x"/>
                                          </p:val>
                                        </p:tav>
                                      </p:tavLst>
                                    </p:anim>
                                    <p:anim calcmode="lin" valueType="num">
                                      <p:cBhvr>
                                        <p:cTn id="14" dur="1000" fill="hold"/>
                                        <p:tgtEl>
                                          <p:spTgt spid="3"/>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25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1000"/>
                                        <p:tgtEl>
                                          <p:spTgt spid="14"/>
                                        </p:tgtEl>
                                      </p:cBhvr>
                                    </p:animEffect>
                                    <p:anim calcmode="lin" valueType="num">
                                      <p:cBhvr>
                                        <p:cTn id="18" dur="1000" fill="hold"/>
                                        <p:tgtEl>
                                          <p:spTgt spid="14"/>
                                        </p:tgtEl>
                                        <p:attrNameLst>
                                          <p:attrName>ppt_x</p:attrName>
                                        </p:attrNameLst>
                                      </p:cBhvr>
                                      <p:tavLst>
                                        <p:tav tm="0">
                                          <p:val>
                                            <p:strVal val="#ppt_x"/>
                                          </p:val>
                                        </p:tav>
                                        <p:tav tm="100000">
                                          <p:val>
                                            <p:strVal val="#ppt_x"/>
                                          </p:val>
                                        </p:tav>
                                      </p:tavLst>
                                    </p:anim>
                                    <p:anim calcmode="lin" valueType="num">
                                      <p:cBhvr>
                                        <p:cTn id="19"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grpId="0" nodeType="click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1000"/>
                                        <p:tgtEl>
                                          <p:spTgt spid="10"/>
                                        </p:tgtEl>
                                      </p:cBhvr>
                                    </p:animEffect>
                                    <p:anim calcmode="lin" valueType="num">
                                      <p:cBhvr>
                                        <p:cTn id="25" dur="1000" fill="hold"/>
                                        <p:tgtEl>
                                          <p:spTgt spid="10"/>
                                        </p:tgtEl>
                                        <p:attrNameLst>
                                          <p:attrName>ppt_x</p:attrName>
                                        </p:attrNameLst>
                                      </p:cBhvr>
                                      <p:tavLst>
                                        <p:tav tm="0">
                                          <p:val>
                                            <p:strVal val="#ppt_x"/>
                                          </p:val>
                                        </p:tav>
                                        <p:tav tm="100000">
                                          <p:val>
                                            <p:strVal val="#ppt_x"/>
                                          </p:val>
                                        </p:tav>
                                      </p:tavLst>
                                    </p:anim>
                                    <p:anim calcmode="lin" valueType="num">
                                      <p:cBhvr>
                                        <p:cTn id="26" dur="1000" fill="hold"/>
                                        <p:tgtEl>
                                          <p:spTgt spid="10"/>
                                        </p:tgtEl>
                                        <p:attrNameLst>
                                          <p:attrName>ppt_y</p:attrName>
                                        </p:attrNameLst>
                                      </p:cBhvr>
                                      <p:tavLst>
                                        <p:tav tm="0">
                                          <p:val>
                                            <p:strVal val="#ppt_y+.1"/>
                                          </p:val>
                                        </p:tav>
                                        <p:tav tm="100000">
                                          <p:val>
                                            <p:strVal val="#ppt_y"/>
                                          </p:val>
                                        </p:tav>
                                      </p:tavLst>
                                    </p:anim>
                                  </p:childTnLst>
                                </p:cTn>
                              </p:par>
                              <p:par>
                                <p:cTn id="27" presetID="42" presetClass="entr" presetSubtype="0" fill="hold" grpId="0" nodeType="withEffect">
                                  <p:stCondLst>
                                    <p:cond delay="0"/>
                                  </p:stCondLst>
                                  <p:childTnLst>
                                    <p:set>
                                      <p:cBhvr>
                                        <p:cTn id="28" dur="1" fill="hold">
                                          <p:stCondLst>
                                            <p:cond delay="0"/>
                                          </p:stCondLst>
                                        </p:cTn>
                                        <p:tgtEl>
                                          <p:spTgt spid="5"/>
                                        </p:tgtEl>
                                        <p:attrNameLst>
                                          <p:attrName>style.visibility</p:attrName>
                                        </p:attrNameLst>
                                      </p:cBhvr>
                                      <p:to>
                                        <p:strVal val="visible"/>
                                      </p:to>
                                    </p:set>
                                    <p:animEffect transition="in" filter="fade">
                                      <p:cBhvr>
                                        <p:cTn id="29" dur="1000"/>
                                        <p:tgtEl>
                                          <p:spTgt spid="5"/>
                                        </p:tgtEl>
                                      </p:cBhvr>
                                    </p:animEffect>
                                    <p:anim calcmode="lin" valueType="num">
                                      <p:cBhvr>
                                        <p:cTn id="30" dur="1000" fill="hold"/>
                                        <p:tgtEl>
                                          <p:spTgt spid="5"/>
                                        </p:tgtEl>
                                        <p:attrNameLst>
                                          <p:attrName>ppt_x</p:attrName>
                                        </p:attrNameLst>
                                      </p:cBhvr>
                                      <p:tavLst>
                                        <p:tav tm="0">
                                          <p:val>
                                            <p:strVal val="#ppt_x"/>
                                          </p:val>
                                        </p:tav>
                                        <p:tav tm="100000">
                                          <p:val>
                                            <p:strVal val="#ppt_x"/>
                                          </p:val>
                                        </p:tav>
                                      </p:tavLst>
                                    </p:anim>
                                    <p:anim calcmode="lin" valueType="num">
                                      <p:cBhvr>
                                        <p:cTn id="31" dur="1000" fill="hold"/>
                                        <p:tgtEl>
                                          <p:spTgt spid="5"/>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250"/>
                                  </p:stCondLst>
                                  <p:childTnLst>
                                    <p:set>
                                      <p:cBhvr>
                                        <p:cTn id="33" dur="1" fill="hold">
                                          <p:stCondLst>
                                            <p:cond delay="0"/>
                                          </p:stCondLst>
                                        </p:cTn>
                                        <p:tgtEl>
                                          <p:spTgt spid="16"/>
                                        </p:tgtEl>
                                        <p:attrNameLst>
                                          <p:attrName>style.visibility</p:attrName>
                                        </p:attrNameLst>
                                      </p:cBhvr>
                                      <p:to>
                                        <p:strVal val="visible"/>
                                      </p:to>
                                    </p:set>
                                    <p:animEffect transition="in" filter="fade">
                                      <p:cBhvr>
                                        <p:cTn id="34" dur="1000"/>
                                        <p:tgtEl>
                                          <p:spTgt spid="16"/>
                                        </p:tgtEl>
                                      </p:cBhvr>
                                    </p:animEffect>
                                    <p:anim calcmode="lin" valueType="num">
                                      <p:cBhvr>
                                        <p:cTn id="35" dur="1000" fill="hold"/>
                                        <p:tgtEl>
                                          <p:spTgt spid="16"/>
                                        </p:tgtEl>
                                        <p:attrNameLst>
                                          <p:attrName>ppt_x</p:attrName>
                                        </p:attrNameLst>
                                      </p:cBhvr>
                                      <p:tavLst>
                                        <p:tav tm="0">
                                          <p:val>
                                            <p:strVal val="#ppt_x"/>
                                          </p:val>
                                        </p:tav>
                                        <p:tav tm="100000">
                                          <p:val>
                                            <p:strVal val="#ppt_x"/>
                                          </p:val>
                                        </p:tav>
                                      </p:tavLst>
                                    </p:anim>
                                    <p:anim calcmode="lin" valueType="num">
                                      <p:cBhvr>
                                        <p:cTn id="36"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42" presetClass="entr" presetSubtype="0" fill="hold" grpId="0" nodeType="click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fade">
                                      <p:cBhvr>
                                        <p:cTn id="41" dur="1000"/>
                                        <p:tgtEl>
                                          <p:spTgt spid="13"/>
                                        </p:tgtEl>
                                      </p:cBhvr>
                                    </p:animEffect>
                                    <p:anim calcmode="lin" valueType="num">
                                      <p:cBhvr>
                                        <p:cTn id="42" dur="1000" fill="hold"/>
                                        <p:tgtEl>
                                          <p:spTgt spid="13"/>
                                        </p:tgtEl>
                                        <p:attrNameLst>
                                          <p:attrName>ppt_x</p:attrName>
                                        </p:attrNameLst>
                                      </p:cBhvr>
                                      <p:tavLst>
                                        <p:tav tm="0">
                                          <p:val>
                                            <p:strVal val="#ppt_x"/>
                                          </p:val>
                                        </p:tav>
                                        <p:tav tm="100000">
                                          <p:val>
                                            <p:strVal val="#ppt_x"/>
                                          </p:val>
                                        </p:tav>
                                      </p:tavLst>
                                    </p:anim>
                                    <p:anim calcmode="lin" valueType="num">
                                      <p:cBhvr>
                                        <p:cTn id="43" dur="1000" fill="hold"/>
                                        <p:tgtEl>
                                          <p:spTgt spid="13"/>
                                        </p:tgtEl>
                                        <p:attrNameLst>
                                          <p:attrName>ppt_y</p:attrName>
                                        </p:attrNameLst>
                                      </p:cBhvr>
                                      <p:tavLst>
                                        <p:tav tm="0">
                                          <p:val>
                                            <p:strVal val="#ppt_y+.1"/>
                                          </p:val>
                                        </p:tav>
                                        <p:tav tm="100000">
                                          <p:val>
                                            <p:strVal val="#ppt_y"/>
                                          </p:val>
                                        </p:tav>
                                      </p:tavLst>
                                    </p:anim>
                                  </p:childTnLst>
                                </p:cTn>
                              </p:par>
                              <p:par>
                                <p:cTn id="44" presetID="42" presetClass="entr" presetSubtype="0" fill="hold" grpId="0" nodeType="withEffect">
                                  <p:stCondLst>
                                    <p:cond delay="0"/>
                                  </p:stCondLst>
                                  <p:childTnLst>
                                    <p:set>
                                      <p:cBhvr>
                                        <p:cTn id="45" dur="1" fill="hold">
                                          <p:stCondLst>
                                            <p:cond delay="0"/>
                                          </p:stCondLst>
                                        </p:cTn>
                                        <p:tgtEl>
                                          <p:spTgt spid="12"/>
                                        </p:tgtEl>
                                        <p:attrNameLst>
                                          <p:attrName>style.visibility</p:attrName>
                                        </p:attrNameLst>
                                      </p:cBhvr>
                                      <p:to>
                                        <p:strVal val="visible"/>
                                      </p:to>
                                    </p:set>
                                    <p:animEffect transition="in" filter="fade">
                                      <p:cBhvr>
                                        <p:cTn id="46" dur="1000"/>
                                        <p:tgtEl>
                                          <p:spTgt spid="12"/>
                                        </p:tgtEl>
                                      </p:cBhvr>
                                    </p:animEffect>
                                    <p:anim calcmode="lin" valueType="num">
                                      <p:cBhvr>
                                        <p:cTn id="47" dur="1000" fill="hold"/>
                                        <p:tgtEl>
                                          <p:spTgt spid="12"/>
                                        </p:tgtEl>
                                        <p:attrNameLst>
                                          <p:attrName>ppt_x</p:attrName>
                                        </p:attrNameLst>
                                      </p:cBhvr>
                                      <p:tavLst>
                                        <p:tav tm="0">
                                          <p:val>
                                            <p:strVal val="#ppt_x"/>
                                          </p:val>
                                        </p:tav>
                                        <p:tav tm="100000">
                                          <p:val>
                                            <p:strVal val="#ppt_x"/>
                                          </p:val>
                                        </p:tav>
                                      </p:tavLst>
                                    </p:anim>
                                    <p:anim calcmode="lin" valueType="num">
                                      <p:cBhvr>
                                        <p:cTn id="48" dur="1000" fill="hold"/>
                                        <p:tgtEl>
                                          <p:spTgt spid="12"/>
                                        </p:tgtEl>
                                        <p:attrNameLst>
                                          <p:attrName>ppt_y</p:attrName>
                                        </p:attrNameLst>
                                      </p:cBhvr>
                                      <p:tavLst>
                                        <p:tav tm="0">
                                          <p:val>
                                            <p:strVal val="#ppt_y+.1"/>
                                          </p:val>
                                        </p:tav>
                                        <p:tav tm="100000">
                                          <p:val>
                                            <p:strVal val="#ppt_y"/>
                                          </p:val>
                                        </p:tav>
                                      </p:tavLst>
                                    </p:anim>
                                  </p:childTnLst>
                                </p:cTn>
                              </p:par>
                              <p:par>
                                <p:cTn id="49" presetID="42" presetClass="entr" presetSubtype="0" fill="hold" grpId="0" nodeType="withEffect">
                                  <p:stCondLst>
                                    <p:cond delay="250"/>
                                  </p:stCondLst>
                                  <p:childTnLst>
                                    <p:set>
                                      <p:cBhvr>
                                        <p:cTn id="50" dur="1" fill="hold">
                                          <p:stCondLst>
                                            <p:cond delay="0"/>
                                          </p:stCondLst>
                                        </p:cTn>
                                        <p:tgtEl>
                                          <p:spTgt spid="17"/>
                                        </p:tgtEl>
                                        <p:attrNameLst>
                                          <p:attrName>style.visibility</p:attrName>
                                        </p:attrNameLst>
                                      </p:cBhvr>
                                      <p:to>
                                        <p:strVal val="visible"/>
                                      </p:to>
                                    </p:set>
                                    <p:animEffect transition="in" filter="fade">
                                      <p:cBhvr>
                                        <p:cTn id="51" dur="1000"/>
                                        <p:tgtEl>
                                          <p:spTgt spid="17"/>
                                        </p:tgtEl>
                                      </p:cBhvr>
                                    </p:animEffect>
                                    <p:anim calcmode="lin" valueType="num">
                                      <p:cBhvr>
                                        <p:cTn id="52" dur="1000" fill="hold"/>
                                        <p:tgtEl>
                                          <p:spTgt spid="17"/>
                                        </p:tgtEl>
                                        <p:attrNameLst>
                                          <p:attrName>ppt_x</p:attrName>
                                        </p:attrNameLst>
                                      </p:cBhvr>
                                      <p:tavLst>
                                        <p:tav tm="0">
                                          <p:val>
                                            <p:strVal val="#ppt_x"/>
                                          </p:val>
                                        </p:tav>
                                        <p:tav tm="100000">
                                          <p:val>
                                            <p:strVal val="#ppt_x"/>
                                          </p:val>
                                        </p:tav>
                                      </p:tavLst>
                                    </p:anim>
                                    <p:anim calcmode="lin" valueType="num">
                                      <p:cBhvr>
                                        <p:cTn id="53"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animBg="1"/>
      <p:bldP spid="8" grpId="0"/>
      <p:bldP spid="10" grpId="0"/>
      <p:bldP spid="14" grpId="0"/>
      <p:bldP spid="16" grpId="0"/>
      <p:bldP spid="12" grpId="0" animBg="1"/>
      <p:bldP spid="13" grpId="0"/>
      <p:bldP spid="17" grpId="0"/>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enefits of the new caching model</a:t>
            </a:r>
          </a:p>
        </p:txBody>
      </p:sp>
      <p:sp>
        <p:nvSpPr>
          <p:cNvPr id="7" name="Rectangle 6"/>
          <p:cNvSpPr/>
          <p:nvPr/>
        </p:nvSpPr>
        <p:spPr bwMode="auto">
          <a:xfrm>
            <a:off x="381000" y="907870"/>
            <a:ext cx="8382000" cy="457076"/>
          </a:xfrm>
          <a:prstGeom prst="rect">
            <a:avLst/>
          </a:prstGeom>
          <a:solidFill>
            <a:schemeClr val="accent5"/>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0" tIns="102875" rIns="68580" bIns="102875" numCol="1" rtlCol="0" anchor="t" anchorCtr="0" compatLnSpc="1">
            <a:prstTxWarp prst="textNoShape">
              <a:avLst/>
            </a:prstTxWarp>
            <a:spAutoFit/>
          </a:bodyPr>
          <a:lstStyle/>
          <a:p>
            <a:pPr marL="345297" indent="-345297" defTabSz="685807">
              <a:lnSpc>
                <a:spcPct val="90000"/>
              </a:lnSpc>
              <a:spcBef>
                <a:spcPct val="20000"/>
              </a:spcBef>
              <a:buSzPct val="90000"/>
              <a:buBlip>
                <a:blip r:embed="rId3"/>
              </a:buBlip>
            </a:pPr>
            <a:endParaRPr lang="en-US" sz="1800" dirty="0">
              <a:gradFill>
                <a:gsLst>
                  <a:gs pos="0">
                    <a:srgbClr val="FFFFFF"/>
                  </a:gs>
                  <a:gs pos="100000">
                    <a:srgbClr val="FFFFFF"/>
                  </a:gs>
                </a:gsLst>
                <a:lin ang="5400000" scaled="0"/>
              </a:gradFill>
            </a:endParaRPr>
          </a:p>
        </p:txBody>
      </p:sp>
      <p:sp>
        <p:nvSpPr>
          <p:cNvPr id="12" name="Rectangle 11"/>
          <p:cNvSpPr/>
          <p:nvPr/>
        </p:nvSpPr>
        <p:spPr>
          <a:xfrm>
            <a:off x="501034" y="988625"/>
            <a:ext cx="8261968" cy="318549"/>
          </a:xfrm>
          <a:prstGeom prst="rect">
            <a:avLst/>
          </a:prstGeom>
        </p:spPr>
        <p:txBody>
          <a:bodyPr wrap="square" lIns="68583" tIns="34292" rIns="68583" bIns="34292">
            <a:spAutoFit/>
          </a:bodyPr>
          <a:lstStyle/>
          <a:p>
            <a:pPr marL="302434" indent="-302434" defTabSz="685807">
              <a:lnSpc>
                <a:spcPct val="90000"/>
              </a:lnSpc>
              <a:spcBef>
                <a:spcPct val="20000"/>
              </a:spcBef>
              <a:buSzPct val="105000"/>
              <a:buBlip>
                <a:blip r:embed="rId4"/>
              </a:buBlip>
            </a:pPr>
            <a:r>
              <a:rPr lang="en-US" sz="1800" dirty="0">
                <a:solidFill>
                  <a:srgbClr val="FFFFFF">
                    <a:alpha val="99000"/>
                  </a:srgbClr>
                </a:solidFill>
              </a:rPr>
              <a:t>Easy to scale</a:t>
            </a:r>
          </a:p>
        </p:txBody>
      </p:sp>
      <p:sp>
        <p:nvSpPr>
          <p:cNvPr id="17" name="TextBox 16"/>
          <p:cNvSpPr txBox="1"/>
          <p:nvPr/>
        </p:nvSpPr>
        <p:spPr>
          <a:xfrm>
            <a:off x="627622" y="1424481"/>
            <a:ext cx="7660095" cy="553998"/>
          </a:xfrm>
          <a:prstGeom prst="rect">
            <a:avLst/>
          </a:prstGeom>
          <a:noFill/>
        </p:spPr>
        <p:txBody>
          <a:bodyPr wrap="square" lIns="68583" tIns="68583" rIns="68583" bIns="68583" rtlCol="0">
            <a:spAutoFit/>
          </a:bodyPr>
          <a:lstStyle/>
          <a:p>
            <a:pPr defTabSz="685807">
              <a:lnSpc>
                <a:spcPct val="90000"/>
              </a:lnSpc>
              <a:spcBef>
                <a:spcPct val="20000"/>
              </a:spcBef>
              <a:buSzPct val="90000"/>
            </a:pPr>
            <a:r>
              <a:rPr lang="en-US" sz="1500" dirty="0">
                <a:solidFill>
                  <a:srgbClr val="FFFFFF">
                    <a:alpha val="99000"/>
                  </a:srgbClr>
                </a:solidFill>
              </a:rPr>
              <a:t>Scale cache just like you scale your app. Scale up, scale out, as often as you want. Bigger caches – 100+ GB. </a:t>
            </a:r>
          </a:p>
        </p:txBody>
      </p:sp>
      <p:sp>
        <p:nvSpPr>
          <p:cNvPr id="9" name="Rectangle 8"/>
          <p:cNvSpPr/>
          <p:nvPr/>
        </p:nvSpPr>
        <p:spPr bwMode="auto">
          <a:xfrm>
            <a:off x="381000" y="2249410"/>
            <a:ext cx="8382000" cy="457076"/>
          </a:xfrm>
          <a:prstGeom prst="rect">
            <a:avLst/>
          </a:prstGeom>
          <a:solidFill>
            <a:schemeClr val="accent1"/>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0" tIns="102875" rIns="68580" bIns="102875" numCol="1" rtlCol="0" anchor="t" anchorCtr="0" compatLnSpc="1">
            <a:prstTxWarp prst="textNoShape">
              <a:avLst/>
            </a:prstTxWarp>
            <a:spAutoFit/>
          </a:bodyPr>
          <a:lstStyle/>
          <a:p>
            <a:pPr marL="345297" indent="-345297" defTabSz="685807">
              <a:lnSpc>
                <a:spcPct val="90000"/>
              </a:lnSpc>
              <a:spcBef>
                <a:spcPct val="20000"/>
              </a:spcBef>
              <a:buSzPct val="90000"/>
              <a:buBlip>
                <a:blip r:embed="rId4"/>
              </a:buBlip>
            </a:pPr>
            <a:endParaRPr lang="en-US" sz="1800" dirty="0">
              <a:gradFill>
                <a:gsLst>
                  <a:gs pos="0">
                    <a:srgbClr val="FFFFFF"/>
                  </a:gs>
                  <a:gs pos="100000">
                    <a:srgbClr val="FFFFFF"/>
                  </a:gs>
                </a:gsLst>
                <a:lin ang="5400000" scaled="0"/>
              </a:gradFill>
            </a:endParaRPr>
          </a:p>
        </p:txBody>
      </p:sp>
      <p:sp>
        <p:nvSpPr>
          <p:cNvPr id="10" name="Rectangle 9"/>
          <p:cNvSpPr/>
          <p:nvPr/>
        </p:nvSpPr>
        <p:spPr>
          <a:xfrm>
            <a:off x="501034" y="2330165"/>
            <a:ext cx="8261968" cy="318549"/>
          </a:xfrm>
          <a:prstGeom prst="rect">
            <a:avLst/>
          </a:prstGeom>
        </p:spPr>
        <p:txBody>
          <a:bodyPr wrap="square" lIns="68583" tIns="34292" rIns="68583" bIns="34292">
            <a:spAutoFit/>
          </a:bodyPr>
          <a:lstStyle/>
          <a:p>
            <a:pPr marL="302434" indent="-302434" defTabSz="685807">
              <a:lnSpc>
                <a:spcPct val="90000"/>
              </a:lnSpc>
              <a:spcBef>
                <a:spcPct val="20000"/>
              </a:spcBef>
              <a:buSzPct val="105000"/>
              <a:buBlip>
                <a:blip r:embed="rId4"/>
              </a:buBlip>
            </a:pPr>
            <a:r>
              <a:rPr lang="en-US" sz="1800" dirty="0">
                <a:solidFill>
                  <a:srgbClr val="FFFFFF">
                    <a:alpha val="99000"/>
                  </a:srgbClr>
                </a:solidFill>
              </a:rPr>
              <a:t>Great development experience </a:t>
            </a:r>
          </a:p>
        </p:txBody>
      </p:sp>
      <p:sp>
        <p:nvSpPr>
          <p:cNvPr id="13" name="TextBox 12"/>
          <p:cNvSpPr txBox="1"/>
          <p:nvPr/>
        </p:nvSpPr>
        <p:spPr>
          <a:xfrm>
            <a:off x="627622" y="2760702"/>
            <a:ext cx="7660095" cy="553998"/>
          </a:xfrm>
          <a:prstGeom prst="rect">
            <a:avLst/>
          </a:prstGeom>
          <a:noFill/>
        </p:spPr>
        <p:txBody>
          <a:bodyPr wrap="square" lIns="68583" tIns="68583" rIns="68583" bIns="68583" rtlCol="0">
            <a:spAutoFit/>
          </a:bodyPr>
          <a:lstStyle/>
          <a:p>
            <a:pPr defTabSz="685807">
              <a:lnSpc>
                <a:spcPct val="90000"/>
              </a:lnSpc>
              <a:spcBef>
                <a:spcPct val="20000"/>
              </a:spcBef>
              <a:buSzPct val="90000"/>
            </a:pPr>
            <a:r>
              <a:rPr lang="en-US" sz="1500" dirty="0">
                <a:solidFill>
                  <a:srgbClr val="FFFFFF">
                    <a:alpha val="99000"/>
                  </a:srgbClr>
                </a:solidFill>
              </a:rPr>
              <a:t>Integrated Visual Studio experience to make it easy to add cache to your app. Full fidelity </a:t>
            </a:r>
            <a:r>
              <a:rPr lang="en-US" sz="1500" dirty="0" err="1">
                <a:solidFill>
                  <a:srgbClr val="FFFFFF">
                    <a:alpha val="99000"/>
                  </a:srgbClr>
                </a:solidFill>
              </a:rPr>
              <a:t>devfabric</a:t>
            </a:r>
            <a:r>
              <a:rPr lang="en-US" sz="1500" dirty="0">
                <a:solidFill>
                  <a:srgbClr val="FFFFFF">
                    <a:alpha val="99000"/>
                  </a:srgbClr>
                </a:solidFill>
              </a:rPr>
              <a:t> experience for debugging your application before deployment.</a:t>
            </a:r>
          </a:p>
        </p:txBody>
      </p:sp>
      <p:sp>
        <p:nvSpPr>
          <p:cNvPr id="14" name="Rectangle 13"/>
          <p:cNvSpPr/>
          <p:nvPr/>
        </p:nvSpPr>
        <p:spPr bwMode="auto">
          <a:xfrm>
            <a:off x="381000" y="3600450"/>
            <a:ext cx="8382000" cy="457076"/>
          </a:xfrm>
          <a:prstGeom prst="rect">
            <a:avLst/>
          </a:prstGeom>
          <a:solidFill>
            <a:schemeClr val="accent6"/>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0" tIns="102875" rIns="68580" bIns="102875" numCol="1" rtlCol="0" anchor="t" anchorCtr="0" compatLnSpc="1">
            <a:prstTxWarp prst="textNoShape">
              <a:avLst/>
            </a:prstTxWarp>
            <a:spAutoFit/>
          </a:bodyPr>
          <a:lstStyle/>
          <a:p>
            <a:pPr marL="345297" indent="-345297" defTabSz="685807">
              <a:lnSpc>
                <a:spcPct val="90000"/>
              </a:lnSpc>
              <a:spcBef>
                <a:spcPct val="20000"/>
              </a:spcBef>
              <a:buSzPct val="90000"/>
              <a:buBlip>
                <a:blip r:embed="rId3"/>
              </a:buBlip>
            </a:pPr>
            <a:endParaRPr lang="en-US" sz="1800" dirty="0">
              <a:gradFill>
                <a:gsLst>
                  <a:gs pos="0">
                    <a:srgbClr val="FFFFFF"/>
                  </a:gs>
                  <a:gs pos="100000">
                    <a:srgbClr val="FFFFFF"/>
                  </a:gs>
                </a:gsLst>
                <a:lin ang="5400000" scaled="0"/>
              </a:gradFill>
            </a:endParaRPr>
          </a:p>
        </p:txBody>
      </p:sp>
      <p:sp>
        <p:nvSpPr>
          <p:cNvPr id="15" name="Rectangle 14"/>
          <p:cNvSpPr/>
          <p:nvPr/>
        </p:nvSpPr>
        <p:spPr>
          <a:xfrm>
            <a:off x="501034" y="3681206"/>
            <a:ext cx="8261968" cy="318549"/>
          </a:xfrm>
          <a:prstGeom prst="rect">
            <a:avLst/>
          </a:prstGeom>
        </p:spPr>
        <p:txBody>
          <a:bodyPr wrap="square" lIns="68583" tIns="34292" rIns="68583" bIns="34292">
            <a:spAutoFit/>
          </a:bodyPr>
          <a:lstStyle/>
          <a:p>
            <a:pPr marL="302434" indent="-302434" defTabSz="685807">
              <a:lnSpc>
                <a:spcPct val="90000"/>
              </a:lnSpc>
              <a:spcBef>
                <a:spcPct val="20000"/>
              </a:spcBef>
              <a:buSzPct val="105000"/>
              <a:buBlip>
                <a:blip r:embed="rId4"/>
              </a:buBlip>
            </a:pPr>
            <a:r>
              <a:rPr lang="en-US" sz="1800" dirty="0">
                <a:solidFill>
                  <a:srgbClr val="FFFFFF">
                    <a:alpha val="99000"/>
                  </a:srgbClr>
                </a:solidFill>
              </a:rPr>
              <a:t>Support for memcache</a:t>
            </a:r>
          </a:p>
        </p:txBody>
      </p:sp>
      <p:sp>
        <p:nvSpPr>
          <p:cNvPr id="18" name="TextBox 17"/>
          <p:cNvSpPr txBox="1"/>
          <p:nvPr/>
        </p:nvSpPr>
        <p:spPr>
          <a:xfrm>
            <a:off x="627622" y="4114800"/>
            <a:ext cx="7660095" cy="553998"/>
          </a:xfrm>
          <a:prstGeom prst="rect">
            <a:avLst/>
          </a:prstGeom>
          <a:noFill/>
        </p:spPr>
        <p:txBody>
          <a:bodyPr wrap="square" lIns="68583" tIns="68583" rIns="68583" bIns="68583" rtlCol="0">
            <a:spAutoFit/>
          </a:bodyPr>
          <a:lstStyle/>
          <a:p>
            <a:pPr defTabSz="685807">
              <a:lnSpc>
                <a:spcPct val="90000"/>
              </a:lnSpc>
              <a:spcBef>
                <a:spcPct val="20000"/>
              </a:spcBef>
              <a:buSzPct val="90000"/>
            </a:pPr>
            <a:r>
              <a:rPr lang="en-US" sz="1500" dirty="0">
                <a:solidFill>
                  <a:srgbClr val="FFFFFF">
                    <a:alpha val="99000"/>
                  </a:srgbClr>
                </a:solidFill>
              </a:rPr>
              <a:t>Support for the memcache binary and text protocols for easy migration of memcache-based applications to Windows Azure.</a:t>
            </a:r>
          </a:p>
        </p:txBody>
      </p:sp>
      <p:sp>
        <p:nvSpPr>
          <p:cNvPr id="16"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9"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5"/>
              </a:rPr>
              <a:t>www.rapidbbs.cn</a:t>
            </a:r>
            <a:endParaRPr lang="zh-CN" altLang="en-US" sz="1200" b="0">
              <a:latin typeface="Arial" charset="0"/>
              <a:ea typeface="ＭＳ Ｐゴシック" pitchFamily="34" charset="-128"/>
            </a:endParaRPr>
          </a:p>
        </p:txBody>
      </p:sp>
      <p:pic>
        <p:nvPicPr>
          <p:cNvPr id="20" name="Picture 2">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36505793"/>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1000"/>
                                        <p:tgtEl>
                                          <p:spTgt spid="12"/>
                                        </p:tgtEl>
                                      </p:cBhvr>
                                    </p:animEffect>
                                    <p:anim calcmode="lin" valueType="num">
                                      <p:cBhvr>
                                        <p:cTn id="8" dur="1000" fill="hold"/>
                                        <p:tgtEl>
                                          <p:spTgt spid="12"/>
                                        </p:tgtEl>
                                        <p:attrNameLst>
                                          <p:attrName>ppt_x</p:attrName>
                                        </p:attrNameLst>
                                      </p:cBhvr>
                                      <p:tavLst>
                                        <p:tav tm="0">
                                          <p:val>
                                            <p:strVal val="#ppt_x"/>
                                          </p:val>
                                        </p:tav>
                                        <p:tav tm="100000">
                                          <p:val>
                                            <p:strVal val="#ppt_x"/>
                                          </p:val>
                                        </p:tav>
                                      </p:tavLst>
                                    </p:anim>
                                    <p:anim calcmode="lin" valueType="num">
                                      <p:cBhvr>
                                        <p:cTn id="9" dur="1000" fill="hold"/>
                                        <p:tgtEl>
                                          <p:spTgt spid="1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1000"/>
                                        <p:tgtEl>
                                          <p:spTgt spid="7"/>
                                        </p:tgtEl>
                                      </p:cBhvr>
                                    </p:animEffect>
                                    <p:anim calcmode="lin" valueType="num">
                                      <p:cBhvr>
                                        <p:cTn id="13" dur="1000" fill="hold"/>
                                        <p:tgtEl>
                                          <p:spTgt spid="7"/>
                                        </p:tgtEl>
                                        <p:attrNameLst>
                                          <p:attrName>ppt_x</p:attrName>
                                        </p:attrNameLst>
                                      </p:cBhvr>
                                      <p:tavLst>
                                        <p:tav tm="0">
                                          <p:val>
                                            <p:strVal val="#ppt_x"/>
                                          </p:val>
                                        </p:tav>
                                        <p:tav tm="100000">
                                          <p:val>
                                            <p:strVal val="#ppt_x"/>
                                          </p:val>
                                        </p:tav>
                                      </p:tavLst>
                                    </p:anim>
                                    <p:anim calcmode="lin" valueType="num">
                                      <p:cBhvr>
                                        <p:cTn id="14" dur="1000" fill="hold"/>
                                        <p:tgtEl>
                                          <p:spTgt spid="7"/>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25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1000"/>
                                        <p:tgtEl>
                                          <p:spTgt spid="17"/>
                                        </p:tgtEl>
                                      </p:cBhvr>
                                    </p:animEffect>
                                    <p:anim calcmode="lin" valueType="num">
                                      <p:cBhvr>
                                        <p:cTn id="18" dur="1000" fill="hold"/>
                                        <p:tgtEl>
                                          <p:spTgt spid="17"/>
                                        </p:tgtEl>
                                        <p:attrNameLst>
                                          <p:attrName>ppt_x</p:attrName>
                                        </p:attrNameLst>
                                      </p:cBhvr>
                                      <p:tavLst>
                                        <p:tav tm="0">
                                          <p:val>
                                            <p:strVal val="#ppt_x"/>
                                          </p:val>
                                        </p:tav>
                                        <p:tav tm="100000">
                                          <p:val>
                                            <p:strVal val="#ppt_x"/>
                                          </p:val>
                                        </p:tav>
                                      </p:tavLst>
                                    </p:anim>
                                    <p:anim calcmode="lin" valueType="num">
                                      <p:cBhvr>
                                        <p:cTn id="19"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grpId="0" nodeType="click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1000"/>
                                        <p:tgtEl>
                                          <p:spTgt spid="10"/>
                                        </p:tgtEl>
                                      </p:cBhvr>
                                    </p:animEffect>
                                    <p:anim calcmode="lin" valueType="num">
                                      <p:cBhvr>
                                        <p:cTn id="25" dur="1000" fill="hold"/>
                                        <p:tgtEl>
                                          <p:spTgt spid="10"/>
                                        </p:tgtEl>
                                        <p:attrNameLst>
                                          <p:attrName>ppt_x</p:attrName>
                                        </p:attrNameLst>
                                      </p:cBhvr>
                                      <p:tavLst>
                                        <p:tav tm="0">
                                          <p:val>
                                            <p:strVal val="#ppt_x"/>
                                          </p:val>
                                        </p:tav>
                                        <p:tav tm="100000">
                                          <p:val>
                                            <p:strVal val="#ppt_x"/>
                                          </p:val>
                                        </p:tav>
                                      </p:tavLst>
                                    </p:anim>
                                    <p:anim calcmode="lin" valueType="num">
                                      <p:cBhvr>
                                        <p:cTn id="26" dur="1000" fill="hold"/>
                                        <p:tgtEl>
                                          <p:spTgt spid="10"/>
                                        </p:tgtEl>
                                        <p:attrNameLst>
                                          <p:attrName>ppt_y</p:attrName>
                                        </p:attrNameLst>
                                      </p:cBhvr>
                                      <p:tavLst>
                                        <p:tav tm="0">
                                          <p:val>
                                            <p:strVal val="#ppt_y+.1"/>
                                          </p:val>
                                        </p:tav>
                                        <p:tav tm="100000">
                                          <p:val>
                                            <p:strVal val="#ppt_y"/>
                                          </p:val>
                                        </p:tav>
                                      </p:tavLst>
                                    </p:anim>
                                  </p:childTnLst>
                                </p:cTn>
                              </p:par>
                              <p:par>
                                <p:cTn id="27" presetID="42" presetClass="entr" presetSubtype="0" fill="hold" grpId="0" nodeType="withEffect">
                                  <p:stCondLst>
                                    <p:cond delay="0"/>
                                  </p:stCondLst>
                                  <p:childTnLst>
                                    <p:set>
                                      <p:cBhvr>
                                        <p:cTn id="28" dur="1" fill="hold">
                                          <p:stCondLst>
                                            <p:cond delay="0"/>
                                          </p:stCondLst>
                                        </p:cTn>
                                        <p:tgtEl>
                                          <p:spTgt spid="9"/>
                                        </p:tgtEl>
                                        <p:attrNameLst>
                                          <p:attrName>style.visibility</p:attrName>
                                        </p:attrNameLst>
                                      </p:cBhvr>
                                      <p:to>
                                        <p:strVal val="visible"/>
                                      </p:to>
                                    </p:set>
                                    <p:animEffect transition="in" filter="fade">
                                      <p:cBhvr>
                                        <p:cTn id="29" dur="1000"/>
                                        <p:tgtEl>
                                          <p:spTgt spid="9"/>
                                        </p:tgtEl>
                                      </p:cBhvr>
                                    </p:animEffect>
                                    <p:anim calcmode="lin" valueType="num">
                                      <p:cBhvr>
                                        <p:cTn id="30" dur="1000" fill="hold"/>
                                        <p:tgtEl>
                                          <p:spTgt spid="9"/>
                                        </p:tgtEl>
                                        <p:attrNameLst>
                                          <p:attrName>ppt_x</p:attrName>
                                        </p:attrNameLst>
                                      </p:cBhvr>
                                      <p:tavLst>
                                        <p:tav tm="0">
                                          <p:val>
                                            <p:strVal val="#ppt_x"/>
                                          </p:val>
                                        </p:tav>
                                        <p:tav tm="100000">
                                          <p:val>
                                            <p:strVal val="#ppt_x"/>
                                          </p:val>
                                        </p:tav>
                                      </p:tavLst>
                                    </p:anim>
                                    <p:anim calcmode="lin" valueType="num">
                                      <p:cBhvr>
                                        <p:cTn id="31" dur="1000" fill="hold"/>
                                        <p:tgtEl>
                                          <p:spTgt spid="9"/>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250"/>
                                  </p:stCondLst>
                                  <p:childTnLst>
                                    <p:set>
                                      <p:cBhvr>
                                        <p:cTn id="33" dur="1" fill="hold">
                                          <p:stCondLst>
                                            <p:cond delay="0"/>
                                          </p:stCondLst>
                                        </p:cTn>
                                        <p:tgtEl>
                                          <p:spTgt spid="13"/>
                                        </p:tgtEl>
                                        <p:attrNameLst>
                                          <p:attrName>style.visibility</p:attrName>
                                        </p:attrNameLst>
                                      </p:cBhvr>
                                      <p:to>
                                        <p:strVal val="visible"/>
                                      </p:to>
                                    </p:set>
                                    <p:animEffect transition="in" filter="fade">
                                      <p:cBhvr>
                                        <p:cTn id="34" dur="1000"/>
                                        <p:tgtEl>
                                          <p:spTgt spid="13"/>
                                        </p:tgtEl>
                                      </p:cBhvr>
                                    </p:animEffect>
                                    <p:anim calcmode="lin" valueType="num">
                                      <p:cBhvr>
                                        <p:cTn id="35" dur="1000" fill="hold"/>
                                        <p:tgtEl>
                                          <p:spTgt spid="13"/>
                                        </p:tgtEl>
                                        <p:attrNameLst>
                                          <p:attrName>ppt_x</p:attrName>
                                        </p:attrNameLst>
                                      </p:cBhvr>
                                      <p:tavLst>
                                        <p:tav tm="0">
                                          <p:val>
                                            <p:strVal val="#ppt_x"/>
                                          </p:val>
                                        </p:tav>
                                        <p:tav tm="100000">
                                          <p:val>
                                            <p:strVal val="#ppt_x"/>
                                          </p:val>
                                        </p:tav>
                                      </p:tavLst>
                                    </p:anim>
                                    <p:anim calcmode="lin" valueType="num">
                                      <p:cBhvr>
                                        <p:cTn id="36"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42" presetClass="entr" presetSubtype="0" fill="hold" grpId="0" nodeType="click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fade">
                                      <p:cBhvr>
                                        <p:cTn id="41" dur="1000"/>
                                        <p:tgtEl>
                                          <p:spTgt spid="15"/>
                                        </p:tgtEl>
                                      </p:cBhvr>
                                    </p:animEffect>
                                    <p:anim calcmode="lin" valueType="num">
                                      <p:cBhvr>
                                        <p:cTn id="42" dur="1000" fill="hold"/>
                                        <p:tgtEl>
                                          <p:spTgt spid="15"/>
                                        </p:tgtEl>
                                        <p:attrNameLst>
                                          <p:attrName>ppt_x</p:attrName>
                                        </p:attrNameLst>
                                      </p:cBhvr>
                                      <p:tavLst>
                                        <p:tav tm="0">
                                          <p:val>
                                            <p:strVal val="#ppt_x"/>
                                          </p:val>
                                        </p:tav>
                                        <p:tav tm="100000">
                                          <p:val>
                                            <p:strVal val="#ppt_x"/>
                                          </p:val>
                                        </p:tav>
                                      </p:tavLst>
                                    </p:anim>
                                    <p:anim calcmode="lin" valueType="num">
                                      <p:cBhvr>
                                        <p:cTn id="43" dur="1000" fill="hold"/>
                                        <p:tgtEl>
                                          <p:spTgt spid="15"/>
                                        </p:tgtEl>
                                        <p:attrNameLst>
                                          <p:attrName>ppt_y</p:attrName>
                                        </p:attrNameLst>
                                      </p:cBhvr>
                                      <p:tavLst>
                                        <p:tav tm="0">
                                          <p:val>
                                            <p:strVal val="#ppt_y+.1"/>
                                          </p:val>
                                        </p:tav>
                                        <p:tav tm="100000">
                                          <p:val>
                                            <p:strVal val="#ppt_y"/>
                                          </p:val>
                                        </p:tav>
                                      </p:tavLst>
                                    </p:anim>
                                  </p:childTnLst>
                                </p:cTn>
                              </p:par>
                              <p:par>
                                <p:cTn id="44" presetID="42" presetClass="entr" presetSubtype="0" fill="hold" grpId="0" nodeType="withEffect">
                                  <p:stCondLst>
                                    <p:cond delay="0"/>
                                  </p:stCondLst>
                                  <p:childTnLst>
                                    <p:set>
                                      <p:cBhvr>
                                        <p:cTn id="45" dur="1" fill="hold">
                                          <p:stCondLst>
                                            <p:cond delay="0"/>
                                          </p:stCondLst>
                                        </p:cTn>
                                        <p:tgtEl>
                                          <p:spTgt spid="14"/>
                                        </p:tgtEl>
                                        <p:attrNameLst>
                                          <p:attrName>style.visibility</p:attrName>
                                        </p:attrNameLst>
                                      </p:cBhvr>
                                      <p:to>
                                        <p:strVal val="visible"/>
                                      </p:to>
                                    </p:set>
                                    <p:animEffect transition="in" filter="fade">
                                      <p:cBhvr>
                                        <p:cTn id="46" dur="1000"/>
                                        <p:tgtEl>
                                          <p:spTgt spid="14"/>
                                        </p:tgtEl>
                                      </p:cBhvr>
                                    </p:animEffect>
                                    <p:anim calcmode="lin" valueType="num">
                                      <p:cBhvr>
                                        <p:cTn id="47" dur="1000" fill="hold"/>
                                        <p:tgtEl>
                                          <p:spTgt spid="14"/>
                                        </p:tgtEl>
                                        <p:attrNameLst>
                                          <p:attrName>ppt_x</p:attrName>
                                        </p:attrNameLst>
                                      </p:cBhvr>
                                      <p:tavLst>
                                        <p:tav tm="0">
                                          <p:val>
                                            <p:strVal val="#ppt_x"/>
                                          </p:val>
                                        </p:tav>
                                        <p:tav tm="100000">
                                          <p:val>
                                            <p:strVal val="#ppt_x"/>
                                          </p:val>
                                        </p:tav>
                                      </p:tavLst>
                                    </p:anim>
                                    <p:anim calcmode="lin" valueType="num">
                                      <p:cBhvr>
                                        <p:cTn id="48" dur="1000" fill="hold"/>
                                        <p:tgtEl>
                                          <p:spTgt spid="14"/>
                                        </p:tgtEl>
                                        <p:attrNameLst>
                                          <p:attrName>ppt_y</p:attrName>
                                        </p:attrNameLst>
                                      </p:cBhvr>
                                      <p:tavLst>
                                        <p:tav tm="0">
                                          <p:val>
                                            <p:strVal val="#ppt_y+.1"/>
                                          </p:val>
                                        </p:tav>
                                        <p:tav tm="100000">
                                          <p:val>
                                            <p:strVal val="#ppt_y"/>
                                          </p:val>
                                        </p:tav>
                                      </p:tavLst>
                                    </p:anim>
                                  </p:childTnLst>
                                </p:cTn>
                              </p:par>
                              <p:par>
                                <p:cTn id="49" presetID="42" presetClass="entr" presetSubtype="0" fill="hold" grpId="0" nodeType="withEffect">
                                  <p:stCondLst>
                                    <p:cond delay="250"/>
                                  </p:stCondLst>
                                  <p:childTnLst>
                                    <p:set>
                                      <p:cBhvr>
                                        <p:cTn id="50" dur="1" fill="hold">
                                          <p:stCondLst>
                                            <p:cond delay="0"/>
                                          </p:stCondLst>
                                        </p:cTn>
                                        <p:tgtEl>
                                          <p:spTgt spid="18"/>
                                        </p:tgtEl>
                                        <p:attrNameLst>
                                          <p:attrName>style.visibility</p:attrName>
                                        </p:attrNameLst>
                                      </p:cBhvr>
                                      <p:to>
                                        <p:strVal val="visible"/>
                                      </p:to>
                                    </p:set>
                                    <p:animEffect transition="in" filter="fade">
                                      <p:cBhvr>
                                        <p:cTn id="51" dur="1000"/>
                                        <p:tgtEl>
                                          <p:spTgt spid="18"/>
                                        </p:tgtEl>
                                      </p:cBhvr>
                                    </p:animEffect>
                                    <p:anim calcmode="lin" valueType="num">
                                      <p:cBhvr>
                                        <p:cTn id="52" dur="1000" fill="hold"/>
                                        <p:tgtEl>
                                          <p:spTgt spid="18"/>
                                        </p:tgtEl>
                                        <p:attrNameLst>
                                          <p:attrName>ppt_x</p:attrName>
                                        </p:attrNameLst>
                                      </p:cBhvr>
                                      <p:tavLst>
                                        <p:tav tm="0">
                                          <p:val>
                                            <p:strVal val="#ppt_x"/>
                                          </p:val>
                                        </p:tav>
                                        <p:tav tm="100000">
                                          <p:val>
                                            <p:strVal val="#ppt_x"/>
                                          </p:val>
                                        </p:tav>
                                      </p:tavLst>
                                    </p:anim>
                                    <p:anim calcmode="lin" valueType="num">
                                      <p:cBhvr>
                                        <p:cTn id="53"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2" grpId="0"/>
      <p:bldP spid="17" grpId="0"/>
      <p:bldP spid="9" grpId="0" animBg="1"/>
      <p:bldP spid="10" grpId="0"/>
      <p:bldP spid="13" grpId="0"/>
      <p:bldP spid="14" grpId="0" animBg="1"/>
      <p:bldP spid="15" grpId="0"/>
      <p:bldP spid="1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dirty="0"/>
          </a:p>
        </p:txBody>
      </p:sp>
      <p:sp>
        <p:nvSpPr>
          <p:cNvPr id="4" name="Subtitle 3"/>
          <p:cNvSpPr>
            <a:spLocks noGrp="1"/>
          </p:cNvSpPr>
          <p:nvPr>
            <p:ph type="subTitle" idx="1"/>
          </p:nvPr>
        </p:nvSpPr>
        <p:spPr/>
        <p:txBody>
          <a:bodyPr/>
          <a:lstStyle/>
          <a:p>
            <a:r>
              <a:rPr lang="en-US" dirty="0" smtClean="0"/>
              <a:t>Heterogeneous Storage </a:t>
            </a:r>
            <a:endParaRPr lang="en-US" dirty="0"/>
          </a:p>
        </p:txBody>
      </p:sp>
      <p:sp>
        <p:nvSpPr>
          <p:cNvPr id="3" name="Title 2"/>
          <p:cNvSpPr>
            <a:spLocks noGrp="1"/>
          </p:cNvSpPr>
          <p:nvPr>
            <p:ph type="ctrTitle"/>
          </p:nvPr>
        </p:nvSpPr>
        <p:spPr/>
        <p:txBody>
          <a:bodyPr/>
          <a:lstStyle/>
          <a:p>
            <a:r>
              <a:rPr lang="en-US" dirty="0"/>
              <a:t>Demo Pooled Storage</a:t>
            </a:r>
            <a:br>
              <a:rPr lang="en-US" dirty="0"/>
            </a:br>
            <a:endParaRPr lang="en-US" dirty="0"/>
          </a:p>
        </p:txBody>
      </p:sp>
      <p:sp>
        <p:nvSpPr>
          <p:cNvPr id="5"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6"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pic>
        <p:nvPicPr>
          <p:cNvPr id="7"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87864342"/>
      </p:ext>
    </p:extLst>
  </p:cSld>
  <p:clrMapOvr>
    <a:masterClrMapping/>
  </p:clrMapOvr>
  <p:transition>
    <p:fade/>
  </p:transition>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eyond Public Cloud</a:t>
            </a:r>
            <a:endParaRPr lang="en-US" dirty="0"/>
          </a:p>
        </p:txBody>
      </p:sp>
      <p:sp>
        <p:nvSpPr>
          <p:cNvPr id="3" name="Text Placeholder 2"/>
          <p:cNvSpPr>
            <a:spLocks noGrp="1"/>
          </p:cNvSpPr>
          <p:nvPr>
            <p:ph type="body" sz="quarter" idx="10"/>
          </p:nvPr>
        </p:nvSpPr>
        <p:spPr>
          <a:xfrm>
            <a:off x="389436" y="1085850"/>
            <a:ext cx="8363938" cy="332399"/>
          </a:xfrm>
        </p:spPr>
        <p:txBody>
          <a:bodyPr/>
          <a:lstStyle/>
          <a:p>
            <a:r>
              <a:rPr lang="en-US" dirty="0" smtClean="0"/>
              <a:t>Managed public clouds != happiness</a:t>
            </a:r>
          </a:p>
        </p:txBody>
      </p:sp>
      <p:sp>
        <p:nvSpPr>
          <p:cNvPr id="6" name="Orange"/>
          <p:cNvSpPr/>
          <p:nvPr/>
        </p:nvSpPr>
        <p:spPr bwMode="auto">
          <a:xfrm>
            <a:off x="553089" y="2628900"/>
            <a:ext cx="2286595" cy="2171700"/>
          </a:xfrm>
          <a:prstGeom prst="roundRect">
            <a:avLst>
              <a:gd name="adj" fmla="val 0"/>
            </a:avLst>
          </a:prstGeom>
          <a:solidFill>
            <a:schemeClr val="accent3"/>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marL="257198" indent="-257198" algn="ctr" defTabSz="685637">
              <a:buFont typeface="Arial" pitchFamily="34" charset="0"/>
              <a:buChar char="•"/>
            </a:pPr>
            <a:endParaRPr lang="en-US" sz="1700" dirty="0">
              <a:solidFill>
                <a:schemeClr val="tx1">
                  <a:alpha val="99000"/>
                </a:schemeClr>
              </a:solidFill>
              <a:latin typeface="Segoe UI" pitchFamily="34" charset="0"/>
              <a:ea typeface="Segoe UI" pitchFamily="34" charset="0"/>
              <a:cs typeface="Segoe UI" pitchFamily="34" charset="0"/>
            </a:endParaRPr>
          </a:p>
        </p:txBody>
      </p:sp>
      <p:sp>
        <p:nvSpPr>
          <p:cNvPr id="7" name="Orange"/>
          <p:cNvSpPr/>
          <p:nvPr/>
        </p:nvSpPr>
        <p:spPr bwMode="auto">
          <a:xfrm>
            <a:off x="553089" y="1647645"/>
            <a:ext cx="2286595" cy="800100"/>
          </a:xfrm>
          <a:prstGeom prst="roundRect">
            <a:avLst>
              <a:gd name="adj" fmla="val 0"/>
            </a:avLst>
          </a:prstGeom>
          <a:solidFill>
            <a:schemeClr val="accent3"/>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p:txBody>
      </p:sp>
      <p:sp>
        <p:nvSpPr>
          <p:cNvPr id="8" name="Freeform 79"/>
          <p:cNvSpPr>
            <a:spLocks noEditPoints="1"/>
          </p:cNvSpPr>
          <p:nvPr/>
        </p:nvSpPr>
        <p:spPr bwMode="auto">
          <a:xfrm>
            <a:off x="684789" y="1823684"/>
            <a:ext cx="487608" cy="448024"/>
          </a:xfrm>
          <a:custGeom>
            <a:avLst/>
            <a:gdLst>
              <a:gd name="T0" fmla="*/ 406 w 413"/>
              <a:gd name="T1" fmla="*/ 0 h 380"/>
              <a:gd name="T2" fmla="*/ 7 w 413"/>
              <a:gd name="T3" fmla="*/ 0 h 380"/>
              <a:gd name="T4" fmla="*/ 0 w 413"/>
              <a:gd name="T5" fmla="*/ 7 h 380"/>
              <a:gd name="T6" fmla="*/ 0 w 413"/>
              <a:gd name="T7" fmla="*/ 273 h 380"/>
              <a:gd name="T8" fmla="*/ 7 w 413"/>
              <a:gd name="T9" fmla="*/ 281 h 380"/>
              <a:gd name="T10" fmla="*/ 133 w 413"/>
              <a:gd name="T11" fmla="*/ 281 h 380"/>
              <a:gd name="T12" fmla="*/ 133 w 413"/>
              <a:gd name="T13" fmla="*/ 332 h 380"/>
              <a:gd name="T14" fmla="*/ 73 w 413"/>
              <a:gd name="T15" fmla="*/ 332 h 380"/>
              <a:gd name="T16" fmla="*/ 65 w 413"/>
              <a:gd name="T17" fmla="*/ 340 h 380"/>
              <a:gd name="T18" fmla="*/ 65 w 413"/>
              <a:gd name="T19" fmla="*/ 373 h 380"/>
              <a:gd name="T20" fmla="*/ 73 w 413"/>
              <a:gd name="T21" fmla="*/ 380 h 380"/>
              <a:gd name="T22" fmla="*/ 339 w 413"/>
              <a:gd name="T23" fmla="*/ 380 h 380"/>
              <a:gd name="T24" fmla="*/ 346 w 413"/>
              <a:gd name="T25" fmla="*/ 373 h 380"/>
              <a:gd name="T26" fmla="*/ 346 w 413"/>
              <a:gd name="T27" fmla="*/ 340 h 380"/>
              <a:gd name="T28" fmla="*/ 339 w 413"/>
              <a:gd name="T29" fmla="*/ 332 h 380"/>
              <a:gd name="T30" fmla="*/ 280 w 413"/>
              <a:gd name="T31" fmla="*/ 332 h 380"/>
              <a:gd name="T32" fmla="*/ 280 w 413"/>
              <a:gd name="T33" fmla="*/ 281 h 380"/>
              <a:gd name="T34" fmla="*/ 406 w 413"/>
              <a:gd name="T35" fmla="*/ 281 h 380"/>
              <a:gd name="T36" fmla="*/ 413 w 413"/>
              <a:gd name="T37" fmla="*/ 273 h 380"/>
              <a:gd name="T38" fmla="*/ 413 w 413"/>
              <a:gd name="T39" fmla="*/ 7 h 380"/>
              <a:gd name="T40" fmla="*/ 406 w 413"/>
              <a:gd name="T41" fmla="*/ 0 h 380"/>
              <a:gd name="T42" fmla="*/ 331 w 413"/>
              <a:gd name="T43" fmla="*/ 366 h 380"/>
              <a:gd name="T44" fmla="*/ 80 w 413"/>
              <a:gd name="T45" fmla="*/ 366 h 380"/>
              <a:gd name="T46" fmla="*/ 80 w 413"/>
              <a:gd name="T47" fmla="*/ 347 h 380"/>
              <a:gd name="T48" fmla="*/ 331 w 413"/>
              <a:gd name="T49" fmla="*/ 347 h 380"/>
              <a:gd name="T50" fmla="*/ 331 w 413"/>
              <a:gd name="T51" fmla="*/ 366 h 380"/>
              <a:gd name="T52" fmla="*/ 266 w 413"/>
              <a:gd name="T53" fmla="*/ 332 h 380"/>
              <a:gd name="T54" fmla="*/ 148 w 413"/>
              <a:gd name="T55" fmla="*/ 332 h 380"/>
              <a:gd name="T56" fmla="*/ 148 w 413"/>
              <a:gd name="T57" fmla="*/ 281 h 380"/>
              <a:gd name="T58" fmla="*/ 266 w 413"/>
              <a:gd name="T59" fmla="*/ 281 h 380"/>
              <a:gd name="T60" fmla="*/ 266 w 413"/>
              <a:gd name="T61" fmla="*/ 332 h 380"/>
              <a:gd name="T62" fmla="*/ 399 w 413"/>
              <a:gd name="T63" fmla="*/ 266 h 380"/>
              <a:gd name="T64" fmla="*/ 15 w 413"/>
              <a:gd name="T65" fmla="*/ 266 h 380"/>
              <a:gd name="T66" fmla="*/ 15 w 413"/>
              <a:gd name="T67" fmla="*/ 15 h 380"/>
              <a:gd name="T68" fmla="*/ 399 w 413"/>
              <a:gd name="T69" fmla="*/ 15 h 380"/>
              <a:gd name="T70" fmla="*/ 399 w 413"/>
              <a:gd name="T71" fmla="*/ 266 h 380"/>
              <a:gd name="T72" fmla="*/ 40 w 413"/>
              <a:gd name="T73" fmla="*/ 247 h 380"/>
              <a:gd name="T74" fmla="*/ 373 w 413"/>
              <a:gd name="T75" fmla="*/ 247 h 380"/>
              <a:gd name="T76" fmla="*/ 381 w 413"/>
              <a:gd name="T77" fmla="*/ 240 h 380"/>
              <a:gd name="T78" fmla="*/ 381 w 413"/>
              <a:gd name="T79" fmla="*/ 41 h 380"/>
              <a:gd name="T80" fmla="*/ 373 w 413"/>
              <a:gd name="T81" fmla="*/ 33 h 380"/>
              <a:gd name="T82" fmla="*/ 40 w 413"/>
              <a:gd name="T83" fmla="*/ 33 h 380"/>
              <a:gd name="T84" fmla="*/ 33 w 413"/>
              <a:gd name="T85" fmla="*/ 41 h 380"/>
              <a:gd name="T86" fmla="*/ 33 w 413"/>
              <a:gd name="T87" fmla="*/ 240 h 380"/>
              <a:gd name="T88" fmla="*/ 40 w 413"/>
              <a:gd name="T89" fmla="*/ 247 h 380"/>
              <a:gd name="T90" fmla="*/ 47 w 413"/>
              <a:gd name="T91" fmla="*/ 48 h 380"/>
              <a:gd name="T92" fmla="*/ 366 w 413"/>
              <a:gd name="T93" fmla="*/ 48 h 380"/>
              <a:gd name="T94" fmla="*/ 366 w 413"/>
              <a:gd name="T95" fmla="*/ 233 h 380"/>
              <a:gd name="T96" fmla="*/ 47 w 413"/>
              <a:gd name="T97" fmla="*/ 233 h 380"/>
              <a:gd name="T98" fmla="*/ 47 w 413"/>
              <a:gd name="T99" fmla="*/ 48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3" h="380">
                <a:moveTo>
                  <a:pt x="406" y="0"/>
                </a:moveTo>
                <a:cubicBezTo>
                  <a:pt x="7" y="0"/>
                  <a:pt x="7" y="0"/>
                  <a:pt x="7" y="0"/>
                </a:cubicBezTo>
                <a:cubicBezTo>
                  <a:pt x="3" y="0"/>
                  <a:pt x="0" y="3"/>
                  <a:pt x="0" y="7"/>
                </a:cubicBezTo>
                <a:cubicBezTo>
                  <a:pt x="0" y="273"/>
                  <a:pt x="0" y="273"/>
                  <a:pt x="0" y="273"/>
                </a:cubicBezTo>
                <a:cubicBezTo>
                  <a:pt x="0" y="277"/>
                  <a:pt x="3" y="281"/>
                  <a:pt x="7" y="281"/>
                </a:cubicBezTo>
                <a:cubicBezTo>
                  <a:pt x="133" y="281"/>
                  <a:pt x="133" y="281"/>
                  <a:pt x="133" y="281"/>
                </a:cubicBezTo>
                <a:cubicBezTo>
                  <a:pt x="133" y="332"/>
                  <a:pt x="133" y="332"/>
                  <a:pt x="133" y="332"/>
                </a:cubicBezTo>
                <a:cubicBezTo>
                  <a:pt x="73" y="332"/>
                  <a:pt x="73" y="332"/>
                  <a:pt x="73" y="332"/>
                </a:cubicBezTo>
                <a:cubicBezTo>
                  <a:pt x="69" y="332"/>
                  <a:pt x="65" y="336"/>
                  <a:pt x="65" y="340"/>
                </a:cubicBezTo>
                <a:cubicBezTo>
                  <a:pt x="65" y="373"/>
                  <a:pt x="65" y="373"/>
                  <a:pt x="65" y="373"/>
                </a:cubicBezTo>
                <a:cubicBezTo>
                  <a:pt x="65" y="377"/>
                  <a:pt x="69" y="380"/>
                  <a:pt x="73" y="380"/>
                </a:cubicBezTo>
                <a:cubicBezTo>
                  <a:pt x="339" y="380"/>
                  <a:pt x="339" y="380"/>
                  <a:pt x="339" y="380"/>
                </a:cubicBezTo>
                <a:cubicBezTo>
                  <a:pt x="343" y="380"/>
                  <a:pt x="346" y="377"/>
                  <a:pt x="346" y="373"/>
                </a:cubicBezTo>
                <a:cubicBezTo>
                  <a:pt x="346" y="340"/>
                  <a:pt x="346" y="340"/>
                  <a:pt x="346" y="340"/>
                </a:cubicBezTo>
                <a:cubicBezTo>
                  <a:pt x="346" y="336"/>
                  <a:pt x="343" y="332"/>
                  <a:pt x="339" y="332"/>
                </a:cubicBezTo>
                <a:cubicBezTo>
                  <a:pt x="280" y="332"/>
                  <a:pt x="280" y="332"/>
                  <a:pt x="280" y="332"/>
                </a:cubicBezTo>
                <a:cubicBezTo>
                  <a:pt x="280" y="281"/>
                  <a:pt x="280" y="281"/>
                  <a:pt x="280" y="281"/>
                </a:cubicBezTo>
                <a:cubicBezTo>
                  <a:pt x="406" y="281"/>
                  <a:pt x="406" y="281"/>
                  <a:pt x="406" y="281"/>
                </a:cubicBezTo>
                <a:cubicBezTo>
                  <a:pt x="410" y="281"/>
                  <a:pt x="413" y="277"/>
                  <a:pt x="413" y="273"/>
                </a:cubicBezTo>
                <a:cubicBezTo>
                  <a:pt x="413" y="7"/>
                  <a:pt x="413" y="7"/>
                  <a:pt x="413" y="7"/>
                </a:cubicBezTo>
                <a:cubicBezTo>
                  <a:pt x="413" y="3"/>
                  <a:pt x="410" y="0"/>
                  <a:pt x="406" y="0"/>
                </a:cubicBezTo>
                <a:close/>
                <a:moveTo>
                  <a:pt x="331" y="366"/>
                </a:moveTo>
                <a:cubicBezTo>
                  <a:pt x="80" y="366"/>
                  <a:pt x="80" y="366"/>
                  <a:pt x="80" y="366"/>
                </a:cubicBezTo>
                <a:cubicBezTo>
                  <a:pt x="80" y="347"/>
                  <a:pt x="80" y="347"/>
                  <a:pt x="80" y="347"/>
                </a:cubicBezTo>
                <a:cubicBezTo>
                  <a:pt x="331" y="347"/>
                  <a:pt x="331" y="347"/>
                  <a:pt x="331" y="347"/>
                </a:cubicBezTo>
                <a:lnTo>
                  <a:pt x="331" y="366"/>
                </a:lnTo>
                <a:close/>
                <a:moveTo>
                  <a:pt x="266" y="332"/>
                </a:moveTo>
                <a:cubicBezTo>
                  <a:pt x="148" y="332"/>
                  <a:pt x="148" y="332"/>
                  <a:pt x="148" y="332"/>
                </a:cubicBezTo>
                <a:cubicBezTo>
                  <a:pt x="148" y="281"/>
                  <a:pt x="148" y="281"/>
                  <a:pt x="148" y="281"/>
                </a:cubicBezTo>
                <a:cubicBezTo>
                  <a:pt x="266" y="281"/>
                  <a:pt x="266" y="281"/>
                  <a:pt x="266" y="281"/>
                </a:cubicBezTo>
                <a:lnTo>
                  <a:pt x="266" y="332"/>
                </a:lnTo>
                <a:close/>
                <a:moveTo>
                  <a:pt x="399" y="266"/>
                </a:moveTo>
                <a:cubicBezTo>
                  <a:pt x="15" y="266"/>
                  <a:pt x="15" y="266"/>
                  <a:pt x="15" y="266"/>
                </a:cubicBezTo>
                <a:cubicBezTo>
                  <a:pt x="15" y="15"/>
                  <a:pt x="15" y="15"/>
                  <a:pt x="15" y="15"/>
                </a:cubicBezTo>
                <a:cubicBezTo>
                  <a:pt x="399" y="15"/>
                  <a:pt x="399" y="15"/>
                  <a:pt x="399" y="15"/>
                </a:cubicBezTo>
                <a:lnTo>
                  <a:pt x="399" y="266"/>
                </a:lnTo>
                <a:close/>
                <a:moveTo>
                  <a:pt x="40" y="247"/>
                </a:moveTo>
                <a:cubicBezTo>
                  <a:pt x="373" y="247"/>
                  <a:pt x="373" y="247"/>
                  <a:pt x="373" y="247"/>
                </a:cubicBezTo>
                <a:cubicBezTo>
                  <a:pt x="377" y="247"/>
                  <a:pt x="381" y="244"/>
                  <a:pt x="381" y="240"/>
                </a:cubicBezTo>
                <a:cubicBezTo>
                  <a:pt x="381" y="41"/>
                  <a:pt x="381" y="41"/>
                  <a:pt x="381" y="41"/>
                </a:cubicBezTo>
                <a:cubicBezTo>
                  <a:pt x="381" y="37"/>
                  <a:pt x="377" y="33"/>
                  <a:pt x="373" y="33"/>
                </a:cubicBezTo>
                <a:cubicBezTo>
                  <a:pt x="40" y="33"/>
                  <a:pt x="40" y="33"/>
                  <a:pt x="40" y="33"/>
                </a:cubicBezTo>
                <a:cubicBezTo>
                  <a:pt x="36" y="33"/>
                  <a:pt x="33" y="37"/>
                  <a:pt x="33" y="41"/>
                </a:cubicBezTo>
                <a:cubicBezTo>
                  <a:pt x="33" y="240"/>
                  <a:pt x="33" y="240"/>
                  <a:pt x="33" y="240"/>
                </a:cubicBezTo>
                <a:cubicBezTo>
                  <a:pt x="33" y="244"/>
                  <a:pt x="36" y="247"/>
                  <a:pt x="40" y="247"/>
                </a:cubicBezTo>
                <a:close/>
                <a:moveTo>
                  <a:pt x="47" y="48"/>
                </a:moveTo>
                <a:cubicBezTo>
                  <a:pt x="366" y="48"/>
                  <a:pt x="366" y="48"/>
                  <a:pt x="366" y="48"/>
                </a:cubicBezTo>
                <a:cubicBezTo>
                  <a:pt x="366" y="233"/>
                  <a:pt x="366" y="233"/>
                  <a:pt x="366" y="233"/>
                </a:cubicBezTo>
                <a:cubicBezTo>
                  <a:pt x="47" y="233"/>
                  <a:pt x="47" y="233"/>
                  <a:pt x="47" y="233"/>
                </a:cubicBezTo>
                <a:lnTo>
                  <a:pt x="47" y="48"/>
                </a:ln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9" name="Red"/>
          <p:cNvSpPr/>
          <p:nvPr/>
        </p:nvSpPr>
        <p:spPr bwMode="auto">
          <a:xfrm>
            <a:off x="3411333" y="1647645"/>
            <a:ext cx="2303965" cy="800100"/>
          </a:xfrm>
          <a:prstGeom prst="roundRect">
            <a:avLst>
              <a:gd name="adj" fmla="val 0"/>
            </a:avLst>
          </a:prstGeom>
          <a:solidFill>
            <a:schemeClr val="accent5"/>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p:txBody>
      </p:sp>
      <p:sp>
        <p:nvSpPr>
          <p:cNvPr id="10" name="Red"/>
          <p:cNvSpPr/>
          <p:nvPr/>
        </p:nvSpPr>
        <p:spPr bwMode="auto">
          <a:xfrm>
            <a:off x="3411333" y="2628900"/>
            <a:ext cx="2303965" cy="2171700"/>
          </a:xfrm>
          <a:prstGeom prst="roundRect">
            <a:avLst>
              <a:gd name="adj" fmla="val 0"/>
            </a:avLst>
          </a:prstGeom>
          <a:solidFill>
            <a:schemeClr val="accent5"/>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p:txBody>
      </p:sp>
      <p:sp>
        <p:nvSpPr>
          <p:cNvPr id="11" name="Yellow"/>
          <p:cNvSpPr/>
          <p:nvPr/>
        </p:nvSpPr>
        <p:spPr bwMode="auto">
          <a:xfrm>
            <a:off x="6272700" y="1647647"/>
            <a:ext cx="2300842" cy="804413"/>
          </a:xfrm>
          <a:prstGeom prst="roundRect">
            <a:avLst>
              <a:gd name="adj" fmla="val 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p:txBody>
      </p:sp>
      <p:sp>
        <p:nvSpPr>
          <p:cNvPr id="12" name="Yellow"/>
          <p:cNvSpPr/>
          <p:nvPr/>
        </p:nvSpPr>
        <p:spPr bwMode="auto">
          <a:xfrm>
            <a:off x="6272700" y="2645074"/>
            <a:ext cx="2300842" cy="2155526"/>
          </a:xfrm>
          <a:prstGeom prst="roundRect">
            <a:avLst>
              <a:gd name="adj" fmla="val 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p:txBody>
      </p:sp>
      <p:sp>
        <p:nvSpPr>
          <p:cNvPr id="13" name="TextBox 12"/>
          <p:cNvSpPr txBox="1"/>
          <p:nvPr/>
        </p:nvSpPr>
        <p:spPr>
          <a:xfrm>
            <a:off x="1313602" y="1885951"/>
            <a:ext cx="1257628" cy="387799"/>
          </a:xfrm>
          <a:prstGeom prst="rect">
            <a:avLst/>
          </a:prstGeom>
          <a:noFill/>
        </p:spPr>
        <p:txBody>
          <a:bodyPr wrap="square" lIns="68586" tIns="68586" rIns="68586" bIns="68586" rtlCol="0">
            <a:spAutoFit/>
          </a:bodyPr>
          <a:lstStyle/>
          <a:p>
            <a:pPr>
              <a:lnSpc>
                <a:spcPct val="90000"/>
              </a:lnSpc>
              <a:spcBef>
                <a:spcPct val="20000"/>
              </a:spcBef>
              <a:buSzPct val="90000"/>
            </a:pPr>
            <a:r>
              <a:rPr lang="en-US" sz="1800" dirty="0">
                <a:solidFill>
                  <a:schemeClr val="tx1">
                    <a:alpha val="99000"/>
                  </a:schemeClr>
                </a:solidFill>
              </a:rPr>
              <a:t>Bare Metal</a:t>
            </a:r>
          </a:p>
        </p:txBody>
      </p:sp>
      <p:sp>
        <p:nvSpPr>
          <p:cNvPr id="16" name="Freeform 69"/>
          <p:cNvSpPr>
            <a:spLocks noEditPoints="1"/>
          </p:cNvSpPr>
          <p:nvPr/>
        </p:nvSpPr>
        <p:spPr bwMode="auto">
          <a:xfrm>
            <a:off x="3657363" y="1797803"/>
            <a:ext cx="331734" cy="488481"/>
          </a:xfrm>
          <a:custGeom>
            <a:avLst/>
            <a:gdLst>
              <a:gd name="T0" fmla="*/ 207 w 281"/>
              <a:gd name="T1" fmla="*/ 0 h 414"/>
              <a:gd name="T2" fmla="*/ 74 w 281"/>
              <a:gd name="T3" fmla="*/ 0 h 414"/>
              <a:gd name="T4" fmla="*/ 0 w 281"/>
              <a:gd name="T5" fmla="*/ 75 h 414"/>
              <a:gd name="T6" fmla="*/ 0 w 281"/>
              <a:gd name="T7" fmla="*/ 340 h 414"/>
              <a:gd name="T8" fmla="*/ 74 w 281"/>
              <a:gd name="T9" fmla="*/ 414 h 414"/>
              <a:gd name="T10" fmla="*/ 207 w 281"/>
              <a:gd name="T11" fmla="*/ 414 h 414"/>
              <a:gd name="T12" fmla="*/ 281 w 281"/>
              <a:gd name="T13" fmla="*/ 340 h 414"/>
              <a:gd name="T14" fmla="*/ 281 w 281"/>
              <a:gd name="T15" fmla="*/ 75 h 414"/>
              <a:gd name="T16" fmla="*/ 207 w 281"/>
              <a:gd name="T17" fmla="*/ 0 h 414"/>
              <a:gd name="T18" fmla="*/ 141 w 281"/>
              <a:gd name="T19" fmla="*/ 151 h 414"/>
              <a:gd name="T20" fmla="*/ 126 w 281"/>
              <a:gd name="T21" fmla="*/ 137 h 414"/>
              <a:gd name="T22" fmla="*/ 126 w 281"/>
              <a:gd name="T23" fmla="*/ 92 h 414"/>
              <a:gd name="T24" fmla="*/ 141 w 281"/>
              <a:gd name="T25" fmla="*/ 78 h 414"/>
              <a:gd name="T26" fmla="*/ 155 w 281"/>
              <a:gd name="T27" fmla="*/ 92 h 414"/>
              <a:gd name="T28" fmla="*/ 155 w 281"/>
              <a:gd name="T29" fmla="*/ 137 h 414"/>
              <a:gd name="T30" fmla="*/ 141 w 281"/>
              <a:gd name="T31" fmla="*/ 151 h 414"/>
              <a:gd name="T32" fmla="*/ 266 w 281"/>
              <a:gd name="T33" fmla="*/ 340 h 414"/>
              <a:gd name="T34" fmla="*/ 207 w 281"/>
              <a:gd name="T35" fmla="*/ 399 h 414"/>
              <a:gd name="T36" fmla="*/ 74 w 281"/>
              <a:gd name="T37" fmla="*/ 399 h 414"/>
              <a:gd name="T38" fmla="*/ 15 w 281"/>
              <a:gd name="T39" fmla="*/ 340 h 414"/>
              <a:gd name="T40" fmla="*/ 15 w 281"/>
              <a:gd name="T41" fmla="*/ 75 h 414"/>
              <a:gd name="T42" fmla="*/ 74 w 281"/>
              <a:gd name="T43" fmla="*/ 15 h 414"/>
              <a:gd name="T44" fmla="*/ 133 w 281"/>
              <a:gd name="T45" fmla="*/ 15 h 414"/>
              <a:gd name="T46" fmla="*/ 133 w 281"/>
              <a:gd name="T47" fmla="*/ 64 h 414"/>
              <a:gd name="T48" fmla="*/ 111 w 281"/>
              <a:gd name="T49" fmla="*/ 92 h 414"/>
              <a:gd name="T50" fmla="*/ 111 w 281"/>
              <a:gd name="T51" fmla="*/ 137 h 414"/>
              <a:gd name="T52" fmla="*/ 133 w 281"/>
              <a:gd name="T53" fmla="*/ 165 h 414"/>
              <a:gd name="T54" fmla="*/ 133 w 281"/>
              <a:gd name="T55" fmla="*/ 208 h 414"/>
              <a:gd name="T56" fmla="*/ 148 w 281"/>
              <a:gd name="T57" fmla="*/ 208 h 414"/>
              <a:gd name="T58" fmla="*/ 148 w 281"/>
              <a:gd name="T59" fmla="*/ 165 h 414"/>
              <a:gd name="T60" fmla="*/ 170 w 281"/>
              <a:gd name="T61" fmla="*/ 137 h 414"/>
              <a:gd name="T62" fmla="*/ 170 w 281"/>
              <a:gd name="T63" fmla="*/ 92 h 414"/>
              <a:gd name="T64" fmla="*/ 148 w 281"/>
              <a:gd name="T65" fmla="*/ 64 h 414"/>
              <a:gd name="T66" fmla="*/ 148 w 281"/>
              <a:gd name="T67" fmla="*/ 15 h 414"/>
              <a:gd name="T68" fmla="*/ 207 w 281"/>
              <a:gd name="T69" fmla="*/ 15 h 414"/>
              <a:gd name="T70" fmla="*/ 266 w 281"/>
              <a:gd name="T71" fmla="*/ 75 h 414"/>
              <a:gd name="T72" fmla="*/ 266 w 281"/>
              <a:gd name="T73" fmla="*/ 340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1" h="414">
                <a:moveTo>
                  <a:pt x="207" y="0"/>
                </a:moveTo>
                <a:cubicBezTo>
                  <a:pt x="74" y="0"/>
                  <a:pt x="74" y="0"/>
                  <a:pt x="74" y="0"/>
                </a:cubicBezTo>
                <a:cubicBezTo>
                  <a:pt x="34" y="0"/>
                  <a:pt x="0" y="34"/>
                  <a:pt x="0" y="75"/>
                </a:cubicBezTo>
                <a:cubicBezTo>
                  <a:pt x="0" y="340"/>
                  <a:pt x="0" y="340"/>
                  <a:pt x="0" y="340"/>
                </a:cubicBezTo>
                <a:cubicBezTo>
                  <a:pt x="0" y="381"/>
                  <a:pt x="34" y="414"/>
                  <a:pt x="74" y="414"/>
                </a:cubicBezTo>
                <a:cubicBezTo>
                  <a:pt x="207" y="414"/>
                  <a:pt x="207" y="414"/>
                  <a:pt x="207" y="414"/>
                </a:cubicBezTo>
                <a:cubicBezTo>
                  <a:pt x="248" y="414"/>
                  <a:pt x="281" y="381"/>
                  <a:pt x="281" y="340"/>
                </a:cubicBezTo>
                <a:cubicBezTo>
                  <a:pt x="281" y="75"/>
                  <a:pt x="281" y="75"/>
                  <a:pt x="281" y="75"/>
                </a:cubicBezTo>
                <a:cubicBezTo>
                  <a:pt x="281" y="34"/>
                  <a:pt x="248" y="0"/>
                  <a:pt x="207" y="0"/>
                </a:cubicBezTo>
                <a:close/>
                <a:moveTo>
                  <a:pt x="141" y="151"/>
                </a:moveTo>
                <a:cubicBezTo>
                  <a:pt x="133" y="151"/>
                  <a:pt x="126" y="145"/>
                  <a:pt x="126" y="137"/>
                </a:cubicBezTo>
                <a:cubicBezTo>
                  <a:pt x="126" y="92"/>
                  <a:pt x="126" y="92"/>
                  <a:pt x="126" y="92"/>
                </a:cubicBezTo>
                <a:cubicBezTo>
                  <a:pt x="126" y="84"/>
                  <a:pt x="133" y="78"/>
                  <a:pt x="141" y="78"/>
                </a:cubicBezTo>
                <a:cubicBezTo>
                  <a:pt x="149" y="78"/>
                  <a:pt x="155" y="84"/>
                  <a:pt x="155" y="92"/>
                </a:cubicBezTo>
                <a:cubicBezTo>
                  <a:pt x="155" y="137"/>
                  <a:pt x="155" y="137"/>
                  <a:pt x="155" y="137"/>
                </a:cubicBezTo>
                <a:cubicBezTo>
                  <a:pt x="155" y="145"/>
                  <a:pt x="149" y="151"/>
                  <a:pt x="141" y="151"/>
                </a:cubicBezTo>
                <a:close/>
                <a:moveTo>
                  <a:pt x="266" y="340"/>
                </a:moveTo>
                <a:cubicBezTo>
                  <a:pt x="266" y="373"/>
                  <a:pt x="239" y="399"/>
                  <a:pt x="207" y="399"/>
                </a:cubicBezTo>
                <a:cubicBezTo>
                  <a:pt x="74" y="399"/>
                  <a:pt x="74" y="399"/>
                  <a:pt x="74" y="399"/>
                </a:cubicBezTo>
                <a:cubicBezTo>
                  <a:pt x="42" y="399"/>
                  <a:pt x="15" y="373"/>
                  <a:pt x="15" y="340"/>
                </a:cubicBezTo>
                <a:cubicBezTo>
                  <a:pt x="15" y="75"/>
                  <a:pt x="15" y="75"/>
                  <a:pt x="15" y="75"/>
                </a:cubicBezTo>
                <a:cubicBezTo>
                  <a:pt x="15" y="42"/>
                  <a:pt x="42" y="15"/>
                  <a:pt x="74" y="15"/>
                </a:cubicBezTo>
                <a:cubicBezTo>
                  <a:pt x="133" y="15"/>
                  <a:pt x="133" y="15"/>
                  <a:pt x="133" y="15"/>
                </a:cubicBezTo>
                <a:cubicBezTo>
                  <a:pt x="133" y="64"/>
                  <a:pt x="133" y="64"/>
                  <a:pt x="133" y="64"/>
                </a:cubicBezTo>
                <a:cubicBezTo>
                  <a:pt x="121" y="68"/>
                  <a:pt x="111" y="79"/>
                  <a:pt x="111" y="92"/>
                </a:cubicBezTo>
                <a:cubicBezTo>
                  <a:pt x="111" y="137"/>
                  <a:pt x="111" y="137"/>
                  <a:pt x="111" y="137"/>
                </a:cubicBezTo>
                <a:cubicBezTo>
                  <a:pt x="111" y="150"/>
                  <a:pt x="121" y="162"/>
                  <a:pt x="133" y="165"/>
                </a:cubicBezTo>
                <a:cubicBezTo>
                  <a:pt x="133" y="208"/>
                  <a:pt x="133" y="208"/>
                  <a:pt x="133" y="208"/>
                </a:cubicBezTo>
                <a:cubicBezTo>
                  <a:pt x="148" y="208"/>
                  <a:pt x="148" y="208"/>
                  <a:pt x="148" y="208"/>
                </a:cubicBezTo>
                <a:cubicBezTo>
                  <a:pt x="148" y="165"/>
                  <a:pt x="148" y="165"/>
                  <a:pt x="148" y="165"/>
                </a:cubicBezTo>
                <a:cubicBezTo>
                  <a:pt x="160" y="162"/>
                  <a:pt x="170" y="150"/>
                  <a:pt x="170" y="137"/>
                </a:cubicBezTo>
                <a:cubicBezTo>
                  <a:pt x="170" y="92"/>
                  <a:pt x="170" y="92"/>
                  <a:pt x="170" y="92"/>
                </a:cubicBezTo>
                <a:cubicBezTo>
                  <a:pt x="170" y="79"/>
                  <a:pt x="160" y="68"/>
                  <a:pt x="148" y="64"/>
                </a:cubicBezTo>
                <a:cubicBezTo>
                  <a:pt x="148" y="15"/>
                  <a:pt x="148" y="15"/>
                  <a:pt x="148" y="15"/>
                </a:cubicBezTo>
                <a:cubicBezTo>
                  <a:pt x="207" y="15"/>
                  <a:pt x="207" y="15"/>
                  <a:pt x="207" y="15"/>
                </a:cubicBezTo>
                <a:cubicBezTo>
                  <a:pt x="239" y="15"/>
                  <a:pt x="266" y="42"/>
                  <a:pt x="266" y="75"/>
                </a:cubicBezTo>
                <a:lnTo>
                  <a:pt x="266" y="340"/>
                </a:ln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17" name="TextBox 16"/>
          <p:cNvSpPr txBox="1"/>
          <p:nvPr/>
        </p:nvSpPr>
        <p:spPr>
          <a:xfrm>
            <a:off x="4229010" y="1714502"/>
            <a:ext cx="1257628" cy="637097"/>
          </a:xfrm>
          <a:prstGeom prst="rect">
            <a:avLst/>
          </a:prstGeom>
          <a:noFill/>
        </p:spPr>
        <p:txBody>
          <a:bodyPr wrap="square" lIns="68586" tIns="68586" rIns="68586" bIns="68586" rtlCol="0">
            <a:spAutoFit/>
          </a:bodyPr>
          <a:lstStyle/>
          <a:p>
            <a:pPr>
              <a:lnSpc>
                <a:spcPct val="90000"/>
              </a:lnSpc>
              <a:spcBef>
                <a:spcPct val="20000"/>
              </a:spcBef>
              <a:buSzPct val="90000"/>
            </a:pPr>
            <a:r>
              <a:rPr lang="en-US" sz="1800" dirty="0">
                <a:solidFill>
                  <a:schemeClr val="tx1">
                    <a:alpha val="99000"/>
                  </a:schemeClr>
                </a:solidFill>
              </a:rPr>
              <a:t>Private Virtualized</a:t>
            </a:r>
          </a:p>
        </p:txBody>
      </p:sp>
      <p:sp>
        <p:nvSpPr>
          <p:cNvPr id="18" name="Freeform 72"/>
          <p:cNvSpPr>
            <a:spLocks noEditPoints="1"/>
          </p:cNvSpPr>
          <p:nvPr/>
        </p:nvSpPr>
        <p:spPr bwMode="auto">
          <a:xfrm>
            <a:off x="6515606" y="1836858"/>
            <a:ext cx="485110" cy="485984"/>
          </a:xfrm>
          <a:custGeom>
            <a:avLst/>
            <a:gdLst>
              <a:gd name="T0" fmla="*/ 337 w 411"/>
              <a:gd name="T1" fmla="*/ 198 h 412"/>
              <a:gd name="T2" fmla="*/ 284 w 411"/>
              <a:gd name="T3" fmla="*/ 220 h 412"/>
              <a:gd name="T4" fmla="*/ 249 w 411"/>
              <a:gd name="T5" fmla="*/ 185 h 412"/>
              <a:gd name="T6" fmla="*/ 283 w 411"/>
              <a:gd name="T7" fmla="*/ 107 h 412"/>
              <a:gd name="T8" fmla="*/ 176 w 411"/>
              <a:gd name="T9" fmla="*/ 0 h 412"/>
              <a:gd name="T10" fmla="*/ 68 w 411"/>
              <a:gd name="T11" fmla="*/ 107 h 412"/>
              <a:gd name="T12" fmla="*/ 116 w 411"/>
              <a:gd name="T13" fmla="*/ 196 h 412"/>
              <a:gd name="T14" fmla="*/ 96 w 411"/>
              <a:gd name="T15" fmla="*/ 266 h 412"/>
              <a:gd name="T16" fmla="*/ 74 w 411"/>
              <a:gd name="T17" fmla="*/ 263 h 412"/>
              <a:gd name="T18" fmla="*/ 0 w 411"/>
              <a:gd name="T19" fmla="*/ 337 h 412"/>
              <a:gd name="T20" fmla="*/ 74 w 411"/>
              <a:gd name="T21" fmla="*/ 412 h 412"/>
              <a:gd name="T22" fmla="*/ 149 w 411"/>
              <a:gd name="T23" fmla="*/ 337 h 412"/>
              <a:gd name="T24" fmla="*/ 110 w 411"/>
              <a:gd name="T25" fmla="*/ 272 h 412"/>
              <a:gd name="T26" fmla="*/ 130 w 411"/>
              <a:gd name="T27" fmla="*/ 204 h 412"/>
              <a:gd name="T28" fmla="*/ 176 w 411"/>
              <a:gd name="T29" fmla="*/ 214 h 412"/>
              <a:gd name="T30" fmla="*/ 238 w 411"/>
              <a:gd name="T31" fmla="*/ 195 h 412"/>
              <a:gd name="T32" fmla="*/ 275 w 411"/>
              <a:gd name="T33" fmla="*/ 232 h 412"/>
              <a:gd name="T34" fmla="*/ 262 w 411"/>
              <a:gd name="T35" fmla="*/ 273 h 412"/>
              <a:gd name="T36" fmla="*/ 337 w 411"/>
              <a:gd name="T37" fmla="*/ 347 h 412"/>
              <a:gd name="T38" fmla="*/ 411 w 411"/>
              <a:gd name="T39" fmla="*/ 273 h 412"/>
              <a:gd name="T40" fmla="*/ 337 w 411"/>
              <a:gd name="T41" fmla="*/ 198 h 412"/>
              <a:gd name="T42" fmla="*/ 134 w 411"/>
              <a:gd name="T43" fmla="*/ 337 h 412"/>
              <a:gd name="T44" fmla="*/ 74 w 411"/>
              <a:gd name="T45" fmla="*/ 397 h 412"/>
              <a:gd name="T46" fmla="*/ 14 w 411"/>
              <a:gd name="T47" fmla="*/ 337 h 412"/>
              <a:gd name="T48" fmla="*/ 74 w 411"/>
              <a:gd name="T49" fmla="*/ 278 h 412"/>
              <a:gd name="T50" fmla="*/ 134 w 411"/>
              <a:gd name="T51" fmla="*/ 337 h 412"/>
              <a:gd name="T52" fmla="*/ 83 w 411"/>
              <a:gd name="T53" fmla="*/ 107 h 412"/>
              <a:gd name="T54" fmla="*/ 176 w 411"/>
              <a:gd name="T55" fmla="*/ 14 h 412"/>
              <a:gd name="T56" fmla="*/ 268 w 411"/>
              <a:gd name="T57" fmla="*/ 107 h 412"/>
              <a:gd name="T58" fmla="*/ 176 w 411"/>
              <a:gd name="T59" fmla="*/ 200 h 412"/>
              <a:gd name="T60" fmla="*/ 83 w 411"/>
              <a:gd name="T61" fmla="*/ 107 h 412"/>
              <a:gd name="T62" fmla="*/ 337 w 411"/>
              <a:gd name="T63" fmla="*/ 332 h 412"/>
              <a:gd name="T64" fmla="*/ 277 w 411"/>
              <a:gd name="T65" fmla="*/ 273 h 412"/>
              <a:gd name="T66" fmla="*/ 337 w 411"/>
              <a:gd name="T67" fmla="*/ 213 h 412"/>
              <a:gd name="T68" fmla="*/ 397 w 411"/>
              <a:gd name="T69" fmla="*/ 273 h 412"/>
              <a:gd name="T70" fmla="*/ 337 w 411"/>
              <a:gd name="T71" fmla="*/ 33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1" h="412">
                <a:moveTo>
                  <a:pt x="337" y="198"/>
                </a:moveTo>
                <a:cubicBezTo>
                  <a:pt x="316" y="198"/>
                  <a:pt x="298" y="206"/>
                  <a:pt x="284" y="220"/>
                </a:cubicBezTo>
                <a:cubicBezTo>
                  <a:pt x="249" y="185"/>
                  <a:pt x="249" y="185"/>
                  <a:pt x="249" y="185"/>
                </a:cubicBezTo>
                <a:cubicBezTo>
                  <a:pt x="270" y="166"/>
                  <a:pt x="283" y="138"/>
                  <a:pt x="283" y="107"/>
                </a:cubicBezTo>
                <a:cubicBezTo>
                  <a:pt x="283" y="48"/>
                  <a:pt x="235" y="0"/>
                  <a:pt x="176" y="0"/>
                </a:cubicBezTo>
                <a:cubicBezTo>
                  <a:pt x="117" y="0"/>
                  <a:pt x="68" y="48"/>
                  <a:pt x="68" y="107"/>
                </a:cubicBezTo>
                <a:cubicBezTo>
                  <a:pt x="68" y="144"/>
                  <a:pt x="88" y="177"/>
                  <a:pt x="116" y="196"/>
                </a:cubicBezTo>
                <a:cubicBezTo>
                  <a:pt x="96" y="266"/>
                  <a:pt x="96" y="266"/>
                  <a:pt x="96" y="266"/>
                </a:cubicBezTo>
                <a:cubicBezTo>
                  <a:pt x="89" y="264"/>
                  <a:pt x="82" y="263"/>
                  <a:pt x="74" y="263"/>
                </a:cubicBezTo>
                <a:cubicBezTo>
                  <a:pt x="33" y="263"/>
                  <a:pt x="0" y="296"/>
                  <a:pt x="0" y="337"/>
                </a:cubicBezTo>
                <a:cubicBezTo>
                  <a:pt x="0" y="378"/>
                  <a:pt x="33" y="412"/>
                  <a:pt x="74" y="412"/>
                </a:cubicBezTo>
                <a:cubicBezTo>
                  <a:pt x="115" y="412"/>
                  <a:pt x="149" y="378"/>
                  <a:pt x="149" y="337"/>
                </a:cubicBezTo>
                <a:cubicBezTo>
                  <a:pt x="149" y="309"/>
                  <a:pt x="133" y="284"/>
                  <a:pt x="110" y="272"/>
                </a:cubicBezTo>
                <a:cubicBezTo>
                  <a:pt x="130" y="204"/>
                  <a:pt x="130" y="204"/>
                  <a:pt x="130" y="204"/>
                </a:cubicBezTo>
                <a:cubicBezTo>
                  <a:pt x="144" y="210"/>
                  <a:pt x="159" y="214"/>
                  <a:pt x="176" y="214"/>
                </a:cubicBezTo>
                <a:cubicBezTo>
                  <a:pt x="199" y="214"/>
                  <a:pt x="220" y="207"/>
                  <a:pt x="238" y="195"/>
                </a:cubicBezTo>
                <a:cubicBezTo>
                  <a:pt x="275" y="232"/>
                  <a:pt x="275" y="232"/>
                  <a:pt x="275" y="232"/>
                </a:cubicBezTo>
                <a:cubicBezTo>
                  <a:pt x="267" y="243"/>
                  <a:pt x="262" y="257"/>
                  <a:pt x="262" y="273"/>
                </a:cubicBezTo>
                <a:cubicBezTo>
                  <a:pt x="262" y="314"/>
                  <a:pt x="296" y="347"/>
                  <a:pt x="337" y="347"/>
                </a:cubicBezTo>
                <a:cubicBezTo>
                  <a:pt x="378" y="347"/>
                  <a:pt x="411" y="314"/>
                  <a:pt x="411" y="273"/>
                </a:cubicBezTo>
                <a:cubicBezTo>
                  <a:pt x="411" y="231"/>
                  <a:pt x="378" y="198"/>
                  <a:pt x="337" y="198"/>
                </a:cubicBezTo>
                <a:close/>
                <a:moveTo>
                  <a:pt x="134" y="337"/>
                </a:moveTo>
                <a:cubicBezTo>
                  <a:pt x="134" y="370"/>
                  <a:pt x="107" y="397"/>
                  <a:pt x="74" y="397"/>
                </a:cubicBezTo>
                <a:cubicBezTo>
                  <a:pt x="41" y="397"/>
                  <a:pt x="14" y="370"/>
                  <a:pt x="14" y="337"/>
                </a:cubicBezTo>
                <a:cubicBezTo>
                  <a:pt x="14" y="304"/>
                  <a:pt x="41" y="278"/>
                  <a:pt x="74" y="278"/>
                </a:cubicBezTo>
                <a:cubicBezTo>
                  <a:pt x="107" y="278"/>
                  <a:pt x="134" y="304"/>
                  <a:pt x="134" y="337"/>
                </a:cubicBezTo>
                <a:close/>
                <a:moveTo>
                  <a:pt x="83" y="107"/>
                </a:moveTo>
                <a:cubicBezTo>
                  <a:pt x="83" y="56"/>
                  <a:pt x="125" y="14"/>
                  <a:pt x="176" y="14"/>
                </a:cubicBezTo>
                <a:cubicBezTo>
                  <a:pt x="227" y="14"/>
                  <a:pt x="268" y="56"/>
                  <a:pt x="268" y="107"/>
                </a:cubicBezTo>
                <a:cubicBezTo>
                  <a:pt x="268" y="158"/>
                  <a:pt x="227" y="200"/>
                  <a:pt x="176" y="200"/>
                </a:cubicBezTo>
                <a:cubicBezTo>
                  <a:pt x="125" y="200"/>
                  <a:pt x="83" y="158"/>
                  <a:pt x="83" y="107"/>
                </a:cubicBezTo>
                <a:close/>
                <a:moveTo>
                  <a:pt x="337" y="332"/>
                </a:moveTo>
                <a:cubicBezTo>
                  <a:pt x="304" y="332"/>
                  <a:pt x="277" y="306"/>
                  <a:pt x="277" y="273"/>
                </a:cubicBezTo>
                <a:cubicBezTo>
                  <a:pt x="277" y="240"/>
                  <a:pt x="304" y="213"/>
                  <a:pt x="337" y="213"/>
                </a:cubicBezTo>
                <a:cubicBezTo>
                  <a:pt x="370" y="213"/>
                  <a:pt x="397" y="240"/>
                  <a:pt x="397" y="273"/>
                </a:cubicBezTo>
                <a:cubicBezTo>
                  <a:pt x="397" y="306"/>
                  <a:pt x="370" y="332"/>
                  <a:pt x="337" y="332"/>
                </a:cubicBez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19" name="TextBox 18"/>
          <p:cNvSpPr txBox="1"/>
          <p:nvPr/>
        </p:nvSpPr>
        <p:spPr>
          <a:xfrm>
            <a:off x="7201584" y="1878517"/>
            <a:ext cx="1257628" cy="387799"/>
          </a:xfrm>
          <a:prstGeom prst="rect">
            <a:avLst/>
          </a:prstGeom>
          <a:noFill/>
        </p:spPr>
        <p:txBody>
          <a:bodyPr wrap="square" lIns="68586" tIns="68586" rIns="68586" bIns="68586" rtlCol="0">
            <a:spAutoFit/>
          </a:bodyPr>
          <a:lstStyle/>
          <a:p>
            <a:pPr>
              <a:lnSpc>
                <a:spcPct val="90000"/>
              </a:lnSpc>
              <a:spcBef>
                <a:spcPct val="20000"/>
              </a:spcBef>
              <a:buSzPct val="90000"/>
            </a:pPr>
            <a:r>
              <a:rPr lang="en-US" sz="1800" dirty="0">
                <a:solidFill>
                  <a:schemeClr val="tx1">
                    <a:alpha val="99000"/>
                  </a:schemeClr>
                </a:solidFill>
              </a:rPr>
              <a:t>Hybrid</a:t>
            </a:r>
          </a:p>
        </p:txBody>
      </p:sp>
      <p:sp>
        <p:nvSpPr>
          <p:cNvPr id="20" name="TextBox 19"/>
          <p:cNvSpPr txBox="1"/>
          <p:nvPr/>
        </p:nvSpPr>
        <p:spPr>
          <a:xfrm>
            <a:off x="1142108" y="2800351"/>
            <a:ext cx="1398833" cy="387799"/>
          </a:xfrm>
          <a:prstGeom prst="rect">
            <a:avLst/>
          </a:prstGeom>
          <a:noFill/>
        </p:spPr>
        <p:txBody>
          <a:bodyPr wrap="square" lIns="68586" tIns="68586" rIns="68586" bIns="68586" rtlCol="0">
            <a:spAutoFit/>
          </a:bodyPr>
          <a:lstStyle/>
          <a:p>
            <a:pPr>
              <a:lnSpc>
                <a:spcPct val="90000"/>
              </a:lnSpc>
              <a:spcBef>
                <a:spcPct val="20000"/>
              </a:spcBef>
              <a:buSzPct val="90000"/>
            </a:pPr>
            <a:r>
              <a:rPr lang="en-US" sz="1800" dirty="0">
                <a:solidFill>
                  <a:schemeClr val="tx1">
                    <a:alpha val="99000"/>
                  </a:schemeClr>
                </a:solidFill>
              </a:rPr>
              <a:t>Specialized</a:t>
            </a:r>
          </a:p>
        </p:txBody>
      </p:sp>
      <p:sp>
        <p:nvSpPr>
          <p:cNvPr id="21" name="Freeform 88"/>
          <p:cNvSpPr>
            <a:spLocks noEditPoints="1"/>
          </p:cNvSpPr>
          <p:nvPr/>
        </p:nvSpPr>
        <p:spPr bwMode="auto">
          <a:xfrm>
            <a:off x="799117" y="2872130"/>
            <a:ext cx="244304" cy="244241"/>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22" name="TextBox 21"/>
          <p:cNvSpPr txBox="1"/>
          <p:nvPr/>
        </p:nvSpPr>
        <p:spPr>
          <a:xfrm>
            <a:off x="1172397" y="3384103"/>
            <a:ext cx="1398833" cy="387799"/>
          </a:xfrm>
          <a:prstGeom prst="rect">
            <a:avLst/>
          </a:prstGeom>
          <a:noFill/>
        </p:spPr>
        <p:txBody>
          <a:bodyPr wrap="square" lIns="68586" tIns="68586" rIns="68586" bIns="68586" rtlCol="0">
            <a:spAutoFit/>
          </a:bodyPr>
          <a:lstStyle/>
          <a:p>
            <a:pPr>
              <a:lnSpc>
                <a:spcPct val="90000"/>
              </a:lnSpc>
              <a:spcBef>
                <a:spcPct val="20000"/>
              </a:spcBef>
              <a:buSzPct val="90000"/>
            </a:pPr>
            <a:r>
              <a:rPr lang="en-US" sz="1800" dirty="0">
                <a:solidFill>
                  <a:schemeClr val="tx1">
                    <a:alpha val="99000"/>
                  </a:schemeClr>
                </a:solidFill>
              </a:rPr>
              <a:t>Non-Virtual</a:t>
            </a:r>
          </a:p>
        </p:txBody>
      </p:sp>
      <p:sp>
        <p:nvSpPr>
          <p:cNvPr id="23" name="Freeform 88"/>
          <p:cNvSpPr>
            <a:spLocks noEditPoints="1"/>
          </p:cNvSpPr>
          <p:nvPr/>
        </p:nvSpPr>
        <p:spPr bwMode="auto">
          <a:xfrm>
            <a:off x="829406" y="3455881"/>
            <a:ext cx="244304" cy="244241"/>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24" name="TextBox 23"/>
          <p:cNvSpPr txBox="1"/>
          <p:nvPr/>
        </p:nvSpPr>
        <p:spPr>
          <a:xfrm>
            <a:off x="1172397" y="3934904"/>
            <a:ext cx="1398833" cy="637097"/>
          </a:xfrm>
          <a:prstGeom prst="rect">
            <a:avLst/>
          </a:prstGeom>
          <a:noFill/>
        </p:spPr>
        <p:txBody>
          <a:bodyPr wrap="square" lIns="68586" tIns="68586" rIns="68586" bIns="68586" rtlCol="0">
            <a:spAutoFit/>
          </a:bodyPr>
          <a:lstStyle/>
          <a:p>
            <a:pPr>
              <a:lnSpc>
                <a:spcPct val="90000"/>
              </a:lnSpc>
              <a:spcBef>
                <a:spcPct val="20000"/>
              </a:spcBef>
              <a:buSzPct val="90000"/>
            </a:pPr>
            <a:r>
              <a:rPr lang="en-US" sz="1800" dirty="0">
                <a:solidFill>
                  <a:schemeClr val="tx1">
                    <a:alpha val="99000"/>
                  </a:schemeClr>
                </a:solidFill>
              </a:rPr>
              <a:t>Ultra </a:t>
            </a:r>
            <a:r>
              <a:rPr lang="en-US" sz="1800" dirty="0" err="1">
                <a:solidFill>
                  <a:schemeClr val="tx1">
                    <a:alpha val="99000"/>
                  </a:schemeClr>
                </a:solidFill>
              </a:rPr>
              <a:t>Performant</a:t>
            </a:r>
            <a:endParaRPr lang="en-US" sz="1800" dirty="0">
              <a:solidFill>
                <a:schemeClr val="tx1">
                  <a:alpha val="99000"/>
                </a:schemeClr>
              </a:solidFill>
            </a:endParaRPr>
          </a:p>
        </p:txBody>
      </p:sp>
      <p:sp>
        <p:nvSpPr>
          <p:cNvPr id="25" name="Freeform 88"/>
          <p:cNvSpPr>
            <a:spLocks noEditPoints="1"/>
          </p:cNvSpPr>
          <p:nvPr/>
        </p:nvSpPr>
        <p:spPr bwMode="auto">
          <a:xfrm>
            <a:off x="829406" y="4006682"/>
            <a:ext cx="244304" cy="244241"/>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26" name="TextBox 25"/>
          <p:cNvSpPr txBox="1"/>
          <p:nvPr/>
        </p:nvSpPr>
        <p:spPr>
          <a:xfrm>
            <a:off x="4023346" y="2800352"/>
            <a:ext cx="1398833" cy="637097"/>
          </a:xfrm>
          <a:prstGeom prst="rect">
            <a:avLst/>
          </a:prstGeom>
          <a:noFill/>
        </p:spPr>
        <p:txBody>
          <a:bodyPr wrap="square" lIns="68586" tIns="68586" rIns="68586" bIns="68586" rtlCol="0">
            <a:spAutoFit/>
          </a:bodyPr>
          <a:lstStyle/>
          <a:p>
            <a:pPr>
              <a:lnSpc>
                <a:spcPct val="90000"/>
              </a:lnSpc>
              <a:spcBef>
                <a:spcPct val="20000"/>
              </a:spcBef>
              <a:buSzPct val="90000"/>
            </a:pPr>
            <a:r>
              <a:rPr lang="en-US" sz="1800" dirty="0">
                <a:solidFill>
                  <a:schemeClr val="tx1">
                    <a:alpha val="99000"/>
                  </a:schemeClr>
                </a:solidFill>
              </a:rPr>
              <a:t>Compliance Constrained</a:t>
            </a:r>
          </a:p>
        </p:txBody>
      </p:sp>
      <p:sp>
        <p:nvSpPr>
          <p:cNvPr id="27" name="Freeform 88"/>
          <p:cNvSpPr>
            <a:spLocks noEditPoints="1"/>
          </p:cNvSpPr>
          <p:nvPr/>
        </p:nvSpPr>
        <p:spPr bwMode="auto">
          <a:xfrm>
            <a:off x="3680356" y="2872130"/>
            <a:ext cx="244304" cy="244241"/>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28" name="TextBox 27"/>
          <p:cNvSpPr txBox="1"/>
          <p:nvPr/>
        </p:nvSpPr>
        <p:spPr>
          <a:xfrm>
            <a:off x="4030641" y="3486151"/>
            <a:ext cx="1398833" cy="387799"/>
          </a:xfrm>
          <a:prstGeom prst="rect">
            <a:avLst/>
          </a:prstGeom>
          <a:noFill/>
        </p:spPr>
        <p:txBody>
          <a:bodyPr wrap="square" lIns="68586" tIns="68586" rIns="68586" bIns="68586" rtlCol="0">
            <a:spAutoFit/>
          </a:bodyPr>
          <a:lstStyle/>
          <a:p>
            <a:pPr>
              <a:lnSpc>
                <a:spcPct val="90000"/>
              </a:lnSpc>
              <a:spcBef>
                <a:spcPct val="20000"/>
              </a:spcBef>
              <a:buSzPct val="90000"/>
            </a:pPr>
            <a:r>
              <a:rPr lang="en-US" sz="1800" dirty="0">
                <a:solidFill>
                  <a:schemeClr val="tx1">
                    <a:alpha val="99000"/>
                  </a:schemeClr>
                </a:solidFill>
              </a:rPr>
              <a:t>Pre-Invested</a:t>
            </a:r>
          </a:p>
        </p:txBody>
      </p:sp>
      <p:sp>
        <p:nvSpPr>
          <p:cNvPr id="29" name="Freeform 88"/>
          <p:cNvSpPr>
            <a:spLocks noEditPoints="1"/>
          </p:cNvSpPr>
          <p:nvPr/>
        </p:nvSpPr>
        <p:spPr bwMode="auto">
          <a:xfrm>
            <a:off x="3687651" y="3557930"/>
            <a:ext cx="244304" cy="244241"/>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30" name="TextBox 29"/>
          <p:cNvSpPr txBox="1"/>
          <p:nvPr/>
        </p:nvSpPr>
        <p:spPr>
          <a:xfrm>
            <a:off x="4057516" y="3955602"/>
            <a:ext cx="1543452" cy="886397"/>
          </a:xfrm>
          <a:prstGeom prst="rect">
            <a:avLst/>
          </a:prstGeom>
          <a:noFill/>
        </p:spPr>
        <p:txBody>
          <a:bodyPr wrap="square" lIns="68586" tIns="68586" rIns="68586" bIns="68586" rtlCol="0">
            <a:spAutoFit/>
          </a:bodyPr>
          <a:lstStyle/>
          <a:p>
            <a:pPr>
              <a:lnSpc>
                <a:spcPct val="90000"/>
              </a:lnSpc>
              <a:spcBef>
                <a:spcPct val="20000"/>
              </a:spcBef>
              <a:buSzPct val="90000"/>
            </a:pPr>
            <a:r>
              <a:rPr lang="en-US" sz="1800" dirty="0">
                <a:solidFill>
                  <a:schemeClr val="tx1">
                    <a:alpha val="99000"/>
                  </a:schemeClr>
                </a:solidFill>
              </a:rPr>
              <a:t>On-Prem Infrastructure Bound</a:t>
            </a:r>
          </a:p>
        </p:txBody>
      </p:sp>
      <p:sp>
        <p:nvSpPr>
          <p:cNvPr id="31" name="Freeform 88"/>
          <p:cNvSpPr>
            <a:spLocks noEditPoints="1"/>
          </p:cNvSpPr>
          <p:nvPr/>
        </p:nvSpPr>
        <p:spPr bwMode="auto">
          <a:xfrm>
            <a:off x="3714526" y="4027381"/>
            <a:ext cx="244304" cy="244241"/>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32" name="TextBox 31"/>
          <p:cNvSpPr txBox="1"/>
          <p:nvPr/>
        </p:nvSpPr>
        <p:spPr>
          <a:xfrm>
            <a:off x="6870183" y="2800351"/>
            <a:ext cx="1398833" cy="387799"/>
          </a:xfrm>
          <a:prstGeom prst="rect">
            <a:avLst/>
          </a:prstGeom>
          <a:noFill/>
        </p:spPr>
        <p:txBody>
          <a:bodyPr wrap="square" lIns="68586" tIns="68586" rIns="68586" bIns="68586" rtlCol="0">
            <a:spAutoFit/>
          </a:bodyPr>
          <a:lstStyle/>
          <a:p>
            <a:pPr>
              <a:lnSpc>
                <a:spcPct val="90000"/>
              </a:lnSpc>
              <a:spcBef>
                <a:spcPct val="20000"/>
              </a:spcBef>
              <a:buSzPct val="90000"/>
            </a:pPr>
            <a:r>
              <a:rPr lang="en-US" sz="1800" dirty="0">
                <a:solidFill>
                  <a:schemeClr val="tx1">
                    <a:alpha val="99000"/>
                  </a:schemeClr>
                </a:solidFill>
              </a:rPr>
              <a:t>Niche Need</a:t>
            </a:r>
          </a:p>
        </p:txBody>
      </p:sp>
      <p:sp>
        <p:nvSpPr>
          <p:cNvPr id="33" name="Freeform 88"/>
          <p:cNvSpPr>
            <a:spLocks noEditPoints="1"/>
          </p:cNvSpPr>
          <p:nvPr/>
        </p:nvSpPr>
        <p:spPr bwMode="auto">
          <a:xfrm>
            <a:off x="6527193" y="2872130"/>
            <a:ext cx="244304" cy="244241"/>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34" name="TextBox 33"/>
          <p:cNvSpPr txBox="1"/>
          <p:nvPr/>
        </p:nvSpPr>
        <p:spPr>
          <a:xfrm>
            <a:off x="6893202" y="3371852"/>
            <a:ext cx="1566010" cy="637097"/>
          </a:xfrm>
          <a:prstGeom prst="rect">
            <a:avLst/>
          </a:prstGeom>
          <a:noFill/>
        </p:spPr>
        <p:txBody>
          <a:bodyPr wrap="square" lIns="68586" tIns="68586" rIns="68586" bIns="68586" rtlCol="0">
            <a:spAutoFit/>
          </a:bodyPr>
          <a:lstStyle/>
          <a:p>
            <a:pPr>
              <a:lnSpc>
                <a:spcPct val="90000"/>
              </a:lnSpc>
              <a:spcBef>
                <a:spcPct val="20000"/>
              </a:spcBef>
              <a:buSzPct val="90000"/>
            </a:pPr>
            <a:r>
              <a:rPr lang="en-US" sz="1800" dirty="0">
                <a:solidFill>
                  <a:schemeClr val="tx1">
                    <a:alpha val="99000"/>
                  </a:schemeClr>
                </a:solidFill>
              </a:rPr>
              <a:t>Continuity and Recovery</a:t>
            </a:r>
          </a:p>
        </p:txBody>
      </p:sp>
      <p:sp>
        <p:nvSpPr>
          <p:cNvPr id="35" name="Freeform 88"/>
          <p:cNvSpPr>
            <a:spLocks noEditPoints="1"/>
          </p:cNvSpPr>
          <p:nvPr/>
        </p:nvSpPr>
        <p:spPr bwMode="auto">
          <a:xfrm>
            <a:off x="6550212" y="3443630"/>
            <a:ext cx="244304" cy="244241"/>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36" name="TextBox 35"/>
          <p:cNvSpPr txBox="1"/>
          <p:nvPr/>
        </p:nvSpPr>
        <p:spPr>
          <a:xfrm>
            <a:off x="6893202" y="4049204"/>
            <a:ext cx="1566010" cy="637097"/>
          </a:xfrm>
          <a:prstGeom prst="rect">
            <a:avLst/>
          </a:prstGeom>
          <a:noFill/>
        </p:spPr>
        <p:txBody>
          <a:bodyPr wrap="square" lIns="68586" tIns="68586" rIns="68586" bIns="68586" rtlCol="0">
            <a:spAutoFit/>
          </a:bodyPr>
          <a:lstStyle/>
          <a:p>
            <a:pPr>
              <a:lnSpc>
                <a:spcPct val="90000"/>
              </a:lnSpc>
              <a:spcBef>
                <a:spcPct val="20000"/>
              </a:spcBef>
              <a:buSzPct val="90000"/>
            </a:pPr>
            <a:r>
              <a:rPr lang="en-US" sz="1800" dirty="0">
                <a:solidFill>
                  <a:schemeClr val="tx1">
                    <a:alpha val="99000"/>
                  </a:schemeClr>
                </a:solidFill>
              </a:rPr>
              <a:t>Increasing Reach</a:t>
            </a:r>
          </a:p>
        </p:txBody>
      </p:sp>
      <p:sp>
        <p:nvSpPr>
          <p:cNvPr id="37" name="Freeform 88"/>
          <p:cNvSpPr>
            <a:spLocks noEditPoints="1"/>
          </p:cNvSpPr>
          <p:nvPr/>
        </p:nvSpPr>
        <p:spPr bwMode="auto">
          <a:xfrm>
            <a:off x="6550212" y="4120982"/>
            <a:ext cx="244304" cy="244241"/>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38"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9"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
              </a:rPr>
              <a:t>www.rapidbbs.cn</a:t>
            </a:r>
            <a:endParaRPr lang="zh-CN" altLang="en-US" sz="1200" b="0">
              <a:latin typeface="Arial" charset="0"/>
              <a:ea typeface="ＭＳ Ｐゴシック" pitchFamily="34" charset="-128"/>
            </a:endParaRPr>
          </a:p>
        </p:txBody>
      </p:sp>
      <p:pic>
        <p:nvPicPr>
          <p:cNvPr id="40" name="Picture 2">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08811883"/>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500" fill="hold"/>
                                        <p:tgtEl>
                                          <p:spTgt spid="8"/>
                                        </p:tgtEl>
                                        <p:attrNameLst>
                                          <p:attrName>ppt_x</p:attrName>
                                        </p:attrNameLst>
                                      </p:cBhvr>
                                      <p:tavLst>
                                        <p:tav tm="0">
                                          <p:val>
                                            <p:strVal val="#ppt_x"/>
                                          </p:val>
                                        </p:tav>
                                        <p:tav tm="100000">
                                          <p:val>
                                            <p:strVal val="#ppt_x"/>
                                          </p:val>
                                        </p:tav>
                                      </p:tavLst>
                                    </p:anim>
                                    <p:anim calcmode="lin" valueType="num">
                                      <p:cBhvr additive="base">
                                        <p:cTn id="16" dur="500" fill="hold"/>
                                        <p:tgtEl>
                                          <p:spTgt spid="8"/>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500" fill="hold"/>
                                        <p:tgtEl>
                                          <p:spTgt spid="13"/>
                                        </p:tgtEl>
                                        <p:attrNameLst>
                                          <p:attrName>ppt_x</p:attrName>
                                        </p:attrNameLst>
                                      </p:cBhvr>
                                      <p:tavLst>
                                        <p:tav tm="0">
                                          <p:val>
                                            <p:strVal val="#ppt_x"/>
                                          </p:val>
                                        </p:tav>
                                        <p:tav tm="100000">
                                          <p:val>
                                            <p:strVal val="#ppt_x"/>
                                          </p:val>
                                        </p:tav>
                                      </p:tavLst>
                                    </p:anim>
                                    <p:anim calcmode="lin" valueType="num">
                                      <p:cBhvr additive="base">
                                        <p:cTn id="20" dur="500" fill="hold"/>
                                        <p:tgtEl>
                                          <p:spTgt spid="13"/>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20"/>
                                        </p:tgtEl>
                                        <p:attrNameLst>
                                          <p:attrName>style.visibility</p:attrName>
                                        </p:attrNameLst>
                                      </p:cBhvr>
                                      <p:to>
                                        <p:strVal val="visible"/>
                                      </p:to>
                                    </p:set>
                                    <p:anim calcmode="lin" valueType="num">
                                      <p:cBhvr additive="base">
                                        <p:cTn id="23" dur="500" fill="hold"/>
                                        <p:tgtEl>
                                          <p:spTgt spid="20"/>
                                        </p:tgtEl>
                                        <p:attrNameLst>
                                          <p:attrName>ppt_x</p:attrName>
                                        </p:attrNameLst>
                                      </p:cBhvr>
                                      <p:tavLst>
                                        <p:tav tm="0">
                                          <p:val>
                                            <p:strVal val="#ppt_x"/>
                                          </p:val>
                                        </p:tav>
                                        <p:tav tm="100000">
                                          <p:val>
                                            <p:strVal val="#ppt_x"/>
                                          </p:val>
                                        </p:tav>
                                      </p:tavLst>
                                    </p:anim>
                                    <p:anim calcmode="lin" valueType="num">
                                      <p:cBhvr additive="base">
                                        <p:cTn id="24" dur="500" fill="hold"/>
                                        <p:tgtEl>
                                          <p:spTgt spid="20"/>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21"/>
                                        </p:tgtEl>
                                        <p:attrNameLst>
                                          <p:attrName>style.visibility</p:attrName>
                                        </p:attrNameLst>
                                      </p:cBhvr>
                                      <p:to>
                                        <p:strVal val="visible"/>
                                      </p:to>
                                    </p:set>
                                    <p:anim calcmode="lin" valueType="num">
                                      <p:cBhvr additive="base">
                                        <p:cTn id="27" dur="500" fill="hold"/>
                                        <p:tgtEl>
                                          <p:spTgt spid="21"/>
                                        </p:tgtEl>
                                        <p:attrNameLst>
                                          <p:attrName>ppt_x</p:attrName>
                                        </p:attrNameLst>
                                      </p:cBhvr>
                                      <p:tavLst>
                                        <p:tav tm="0">
                                          <p:val>
                                            <p:strVal val="#ppt_x"/>
                                          </p:val>
                                        </p:tav>
                                        <p:tav tm="100000">
                                          <p:val>
                                            <p:strVal val="#ppt_x"/>
                                          </p:val>
                                        </p:tav>
                                      </p:tavLst>
                                    </p:anim>
                                    <p:anim calcmode="lin" valueType="num">
                                      <p:cBhvr additive="base">
                                        <p:cTn id="28" dur="500" fill="hold"/>
                                        <p:tgtEl>
                                          <p:spTgt spid="21"/>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22"/>
                                        </p:tgtEl>
                                        <p:attrNameLst>
                                          <p:attrName>style.visibility</p:attrName>
                                        </p:attrNameLst>
                                      </p:cBhvr>
                                      <p:to>
                                        <p:strVal val="visible"/>
                                      </p:to>
                                    </p:set>
                                    <p:anim calcmode="lin" valueType="num">
                                      <p:cBhvr additive="base">
                                        <p:cTn id="31" dur="500" fill="hold"/>
                                        <p:tgtEl>
                                          <p:spTgt spid="22"/>
                                        </p:tgtEl>
                                        <p:attrNameLst>
                                          <p:attrName>ppt_x</p:attrName>
                                        </p:attrNameLst>
                                      </p:cBhvr>
                                      <p:tavLst>
                                        <p:tav tm="0">
                                          <p:val>
                                            <p:strVal val="#ppt_x"/>
                                          </p:val>
                                        </p:tav>
                                        <p:tav tm="100000">
                                          <p:val>
                                            <p:strVal val="#ppt_x"/>
                                          </p:val>
                                        </p:tav>
                                      </p:tavLst>
                                    </p:anim>
                                    <p:anim calcmode="lin" valueType="num">
                                      <p:cBhvr additive="base">
                                        <p:cTn id="32" dur="500" fill="hold"/>
                                        <p:tgtEl>
                                          <p:spTgt spid="22"/>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23"/>
                                        </p:tgtEl>
                                        <p:attrNameLst>
                                          <p:attrName>style.visibility</p:attrName>
                                        </p:attrNameLst>
                                      </p:cBhvr>
                                      <p:to>
                                        <p:strVal val="visible"/>
                                      </p:to>
                                    </p:set>
                                    <p:anim calcmode="lin" valueType="num">
                                      <p:cBhvr additive="base">
                                        <p:cTn id="35" dur="500" fill="hold"/>
                                        <p:tgtEl>
                                          <p:spTgt spid="23"/>
                                        </p:tgtEl>
                                        <p:attrNameLst>
                                          <p:attrName>ppt_x</p:attrName>
                                        </p:attrNameLst>
                                      </p:cBhvr>
                                      <p:tavLst>
                                        <p:tav tm="0">
                                          <p:val>
                                            <p:strVal val="#ppt_x"/>
                                          </p:val>
                                        </p:tav>
                                        <p:tav tm="100000">
                                          <p:val>
                                            <p:strVal val="#ppt_x"/>
                                          </p:val>
                                        </p:tav>
                                      </p:tavLst>
                                    </p:anim>
                                    <p:anim calcmode="lin" valueType="num">
                                      <p:cBhvr additive="base">
                                        <p:cTn id="36" dur="500" fill="hold"/>
                                        <p:tgtEl>
                                          <p:spTgt spid="23"/>
                                        </p:tgtEl>
                                        <p:attrNameLst>
                                          <p:attrName>ppt_y</p:attrName>
                                        </p:attrNameLst>
                                      </p:cBhvr>
                                      <p:tavLst>
                                        <p:tav tm="0">
                                          <p:val>
                                            <p:strVal val="1+#ppt_h/2"/>
                                          </p:val>
                                        </p:tav>
                                        <p:tav tm="100000">
                                          <p:val>
                                            <p:strVal val="#ppt_y"/>
                                          </p:val>
                                        </p:tav>
                                      </p:tavLst>
                                    </p:anim>
                                  </p:childTnLst>
                                </p:cTn>
                              </p:par>
                              <p:par>
                                <p:cTn id="37" presetID="2" presetClass="entr" presetSubtype="4" fill="hold" grpId="0" nodeType="withEffect">
                                  <p:stCondLst>
                                    <p:cond delay="0"/>
                                  </p:stCondLst>
                                  <p:childTnLst>
                                    <p:set>
                                      <p:cBhvr>
                                        <p:cTn id="38" dur="1" fill="hold">
                                          <p:stCondLst>
                                            <p:cond delay="0"/>
                                          </p:stCondLst>
                                        </p:cTn>
                                        <p:tgtEl>
                                          <p:spTgt spid="24"/>
                                        </p:tgtEl>
                                        <p:attrNameLst>
                                          <p:attrName>style.visibility</p:attrName>
                                        </p:attrNameLst>
                                      </p:cBhvr>
                                      <p:to>
                                        <p:strVal val="visible"/>
                                      </p:to>
                                    </p:set>
                                    <p:anim calcmode="lin" valueType="num">
                                      <p:cBhvr additive="base">
                                        <p:cTn id="39" dur="500" fill="hold"/>
                                        <p:tgtEl>
                                          <p:spTgt spid="24"/>
                                        </p:tgtEl>
                                        <p:attrNameLst>
                                          <p:attrName>ppt_x</p:attrName>
                                        </p:attrNameLst>
                                      </p:cBhvr>
                                      <p:tavLst>
                                        <p:tav tm="0">
                                          <p:val>
                                            <p:strVal val="#ppt_x"/>
                                          </p:val>
                                        </p:tav>
                                        <p:tav tm="100000">
                                          <p:val>
                                            <p:strVal val="#ppt_x"/>
                                          </p:val>
                                        </p:tav>
                                      </p:tavLst>
                                    </p:anim>
                                    <p:anim calcmode="lin" valueType="num">
                                      <p:cBhvr additive="base">
                                        <p:cTn id="40" dur="500" fill="hold"/>
                                        <p:tgtEl>
                                          <p:spTgt spid="24"/>
                                        </p:tgtEl>
                                        <p:attrNameLst>
                                          <p:attrName>ppt_y</p:attrName>
                                        </p:attrNameLst>
                                      </p:cBhvr>
                                      <p:tavLst>
                                        <p:tav tm="0">
                                          <p:val>
                                            <p:strVal val="1+#ppt_h/2"/>
                                          </p:val>
                                        </p:tav>
                                        <p:tav tm="100000">
                                          <p:val>
                                            <p:strVal val="#ppt_y"/>
                                          </p:val>
                                        </p:tav>
                                      </p:tavLst>
                                    </p:anim>
                                  </p:childTnLst>
                                </p:cTn>
                              </p:par>
                              <p:par>
                                <p:cTn id="41" presetID="2" presetClass="entr" presetSubtype="4" fill="hold" grpId="0" nodeType="withEffect">
                                  <p:stCondLst>
                                    <p:cond delay="0"/>
                                  </p:stCondLst>
                                  <p:childTnLst>
                                    <p:set>
                                      <p:cBhvr>
                                        <p:cTn id="42" dur="1" fill="hold">
                                          <p:stCondLst>
                                            <p:cond delay="0"/>
                                          </p:stCondLst>
                                        </p:cTn>
                                        <p:tgtEl>
                                          <p:spTgt spid="25"/>
                                        </p:tgtEl>
                                        <p:attrNameLst>
                                          <p:attrName>style.visibility</p:attrName>
                                        </p:attrNameLst>
                                      </p:cBhvr>
                                      <p:to>
                                        <p:strVal val="visible"/>
                                      </p:to>
                                    </p:set>
                                    <p:anim calcmode="lin" valueType="num">
                                      <p:cBhvr additive="base">
                                        <p:cTn id="43" dur="500" fill="hold"/>
                                        <p:tgtEl>
                                          <p:spTgt spid="25"/>
                                        </p:tgtEl>
                                        <p:attrNameLst>
                                          <p:attrName>ppt_x</p:attrName>
                                        </p:attrNameLst>
                                      </p:cBhvr>
                                      <p:tavLst>
                                        <p:tav tm="0">
                                          <p:val>
                                            <p:strVal val="#ppt_x"/>
                                          </p:val>
                                        </p:tav>
                                        <p:tav tm="100000">
                                          <p:val>
                                            <p:strVal val="#ppt_x"/>
                                          </p:val>
                                        </p:tav>
                                      </p:tavLst>
                                    </p:anim>
                                    <p:anim calcmode="lin" valueType="num">
                                      <p:cBhvr additive="base">
                                        <p:cTn id="44" dur="500" fill="hold"/>
                                        <p:tgtEl>
                                          <p:spTgt spid="25"/>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grpId="0" nodeType="clickEffect">
                                  <p:stCondLst>
                                    <p:cond delay="0"/>
                                  </p:stCondLst>
                                  <p:childTnLst>
                                    <p:set>
                                      <p:cBhvr>
                                        <p:cTn id="48" dur="1" fill="hold">
                                          <p:stCondLst>
                                            <p:cond delay="0"/>
                                          </p:stCondLst>
                                        </p:cTn>
                                        <p:tgtEl>
                                          <p:spTgt spid="9"/>
                                        </p:tgtEl>
                                        <p:attrNameLst>
                                          <p:attrName>style.visibility</p:attrName>
                                        </p:attrNameLst>
                                      </p:cBhvr>
                                      <p:to>
                                        <p:strVal val="visible"/>
                                      </p:to>
                                    </p:set>
                                    <p:anim calcmode="lin" valueType="num">
                                      <p:cBhvr additive="base">
                                        <p:cTn id="49" dur="500" fill="hold"/>
                                        <p:tgtEl>
                                          <p:spTgt spid="9"/>
                                        </p:tgtEl>
                                        <p:attrNameLst>
                                          <p:attrName>ppt_x</p:attrName>
                                        </p:attrNameLst>
                                      </p:cBhvr>
                                      <p:tavLst>
                                        <p:tav tm="0">
                                          <p:val>
                                            <p:strVal val="#ppt_x"/>
                                          </p:val>
                                        </p:tav>
                                        <p:tav tm="100000">
                                          <p:val>
                                            <p:strVal val="#ppt_x"/>
                                          </p:val>
                                        </p:tav>
                                      </p:tavLst>
                                    </p:anim>
                                    <p:anim calcmode="lin" valueType="num">
                                      <p:cBhvr additive="base">
                                        <p:cTn id="50" dur="500" fill="hold"/>
                                        <p:tgtEl>
                                          <p:spTgt spid="9"/>
                                        </p:tgtEl>
                                        <p:attrNameLst>
                                          <p:attrName>ppt_y</p:attrName>
                                        </p:attrNameLst>
                                      </p:cBhvr>
                                      <p:tavLst>
                                        <p:tav tm="0">
                                          <p:val>
                                            <p:strVal val="1+#ppt_h/2"/>
                                          </p:val>
                                        </p:tav>
                                        <p:tav tm="100000">
                                          <p:val>
                                            <p:strVal val="#ppt_y"/>
                                          </p:val>
                                        </p:tav>
                                      </p:tavLst>
                                    </p:anim>
                                  </p:childTnLst>
                                </p:cTn>
                              </p:par>
                              <p:par>
                                <p:cTn id="51" presetID="2" presetClass="entr" presetSubtype="4" fill="hold" grpId="0" nodeType="withEffect">
                                  <p:stCondLst>
                                    <p:cond delay="0"/>
                                  </p:stCondLst>
                                  <p:childTnLst>
                                    <p:set>
                                      <p:cBhvr>
                                        <p:cTn id="52" dur="1" fill="hold">
                                          <p:stCondLst>
                                            <p:cond delay="0"/>
                                          </p:stCondLst>
                                        </p:cTn>
                                        <p:tgtEl>
                                          <p:spTgt spid="10"/>
                                        </p:tgtEl>
                                        <p:attrNameLst>
                                          <p:attrName>style.visibility</p:attrName>
                                        </p:attrNameLst>
                                      </p:cBhvr>
                                      <p:to>
                                        <p:strVal val="visible"/>
                                      </p:to>
                                    </p:set>
                                    <p:anim calcmode="lin" valueType="num">
                                      <p:cBhvr additive="base">
                                        <p:cTn id="53" dur="500" fill="hold"/>
                                        <p:tgtEl>
                                          <p:spTgt spid="10"/>
                                        </p:tgtEl>
                                        <p:attrNameLst>
                                          <p:attrName>ppt_x</p:attrName>
                                        </p:attrNameLst>
                                      </p:cBhvr>
                                      <p:tavLst>
                                        <p:tav tm="0">
                                          <p:val>
                                            <p:strVal val="#ppt_x"/>
                                          </p:val>
                                        </p:tav>
                                        <p:tav tm="100000">
                                          <p:val>
                                            <p:strVal val="#ppt_x"/>
                                          </p:val>
                                        </p:tav>
                                      </p:tavLst>
                                    </p:anim>
                                    <p:anim calcmode="lin" valueType="num">
                                      <p:cBhvr additive="base">
                                        <p:cTn id="54" dur="500" fill="hold"/>
                                        <p:tgtEl>
                                          <p:spTgt spid="10"/>
                                        </p:tgtEl>
                                        <p:attrNameLst>
                                          <p:attrName>ppt_y</p:attrName>
                                        </p:attrNameLst>
                                      </p:cBhvr>
                                      <p:tavLst>
                                        <p:tav tm="0">
                                          <p:val>
                                            <p:strVal val="1+#ppt_h/2"/>
                                          </p:val>
                                        </p:tav>
                                        <p:tav tm="100000">
                                          <p:val>
                                            <p:strVal val="#ppt_y"/>
                                          </p:val>
                                        </p:tav>
                                      </p:tavLst>
                                    </p:anim>
                                  </p:childTnLst>
                                </p:cTn>
                              </p:par>
                              <p:par>
                                <p:cTn id="55" presetID="2" presetClass="entr" presetSubtype="4" fill="hold" grpId="0" nodeType="withEffect">
                                  <p:stCondLst>
                                    <p:cond delay="0"/>
                                  </p:stCondLst>
                                  <p:childTnLst>
                                    <p:set>
                                      <p:cBhvr>
                                        <p:cTn id="56" dur="1" fill="hold">
                                          <p:stCondLst>
                                            <p:cond delay="0"/>
                                          </p:stCondLst>
                                        </p:cTn>
                                        <p:tgtEl>
                                          <p:spTgt spid="16"/>
                                        </p:tgtEl>
                                        <p:attrNameLst>
                                          <p:attrName>style.visibility</p:attrName>
                                        </p:attrNameLst>
                                      </p:cBhvr>
                                      <p:to>
                                        <p:strVal val="visible"/>
                                      </p:to>
                                    </p:set>
                                    <p:anim calcmode="lin" valueType="num">
                                      <p:cBhvr additive="base">
                                        <p:cTn id="57" dur="500" fill="hold"/>
                                        <p:tgtEl>
                                          <p:spTgt spid="16"/>
                                        </p:tgtEl>
                                        <p:attrNameLst>
                                          <p:attrName>ppt_x</p:attrName>
                                        </p:attrNameLst>
                                      </p:cBhvr>
                                      <p:tavLst>
                                        <p:tav tm="0">
                                          <p:val>
                                            <p:strVal val="#ppt_x"/>
                                          </p:val>
                                        </p:tav>
                                        <p:tav tm="100000">
                                          <p:val>
                                            <p:strVal val="#ppt_x"/>
                                          </p:val>
                                        </p:tav>
                                      </p:tavLst>
                                    </p:anim>
                                    <p:anim calcmode="lin" valueType="num">
                                      <p:cBhvr additive="base">
                                        <p:cTn id="58" dur="500" fill="hold"/>
                                        <p:tgtEl>
                                          <p:spTgt spid="16"/>
                                        </p:tgtEl>
                                        <p:attrNameLst>
                                          <p:attrName>ppt_y</p:attrName>
                                        </p:attrNameLst>
                                      </p:cBhvr>
                                      <p:tavLst>
                                        <p:tav tm="0">
                                          <p:val>
                                            <p:strVal val="1+#ppt_h/2"/>
                                          </p:val>
                                        </p:tav>
                                        <p:tav tm="100000">
                                          <p:val>
                                            <p:strVal val="#ppt_y"/>
                                          </p:val>
                                        </p:tav>
                                      </p:tavLst>
                                    </p:anim>
                                  </p:childTnLst>
                                </p:cTn>
                              </p:par>
                              <p:par>
                                <p:cTn id="59" presetID="2" presetClass="entr" presetSubtype="4" fill="hold" grpId="0" nodeType="withEffect">
                                  <p:stCondLst>
                                    <p:cond delay="0"/>
                                  </p:stCondLst>
                                  <p:childTnLst>
                                    <p:set>
                                      <p:cBhvr>
                                        <p:cTn id="60" dur="1" fill="hold">
                                          <p:stCondLst>
                                            <p:cond delay="0"/>
                                          </p:stCondLst>
                                        </p:cTn>
                                        <p:tgtEl>
                                          <p:spTgt spid="17"/>
                                        </p:tgtEl>
                                        <p:attrNameLst>
                                          <p:attrName>style.visibility</p:attrName>
                                        </p:attrNameLst>
                                      </p:cBhvr>
                                      <p:to>
                                        <p:strVal val="visible"/>
                                      </p:to>
                                    </p:set>
                                    <p:anim calcmode="lin" valueType="num">
                                      <p:cBhvr additive="base">
                                        <p:cTn id="61" dur="500" fill="hold"/>
                                        <p:tgtEl>
                                          <p:spTgt spid="17"/>
                                        </p:tgtEl>
                                        <p:attrNameLst>
                                          <p:attrName>ppt_x</p:attrName>
                                        </p:attrNameLst>
                                      </p:cBhvr>
                                      <p:tavLst>
                                        <p:tav tm="0">
                                          <p:val>
                                            <p:strVal val="#ppt_x"/>
                                          </p:val>
                                        </p:tav>
                                        <p:tav tm="100000">
                                          <p:val>
                                            <p:strVal val="#ppt_x"/>
                                          </p:val>
                                        </p:tav>
                                      </p:tavLst>
                                    </p:anim>
                                    <p:anim calcmode="lin" valueType="num">
                                      <p:cBhvr additive="base">
                                        <p:cTn id="62" dur="500" fill="hold"/>
                                        <p:tgtEl>
                                          <p:spTgt spid="17"/>
                                        </p:tgtEl>
                                        <p:attrNameLst>
                                          <p:attrName>ppt_y</p:attrName>
                                        </p:attrNameLst>
                                      </p:cBhvr>
                                      <p:tavLst>
                                        <p:tav tm="0">
                                          <p:val>
                                            <p:strVal val="1+#ppt_h/2"/>
                                          </p:val>
                                        </p:tav>
                                        <p:tav tm="100000">
                                          <p:val>
                                            <p:strVal val="#ppt_y"/>
                                          </p:val>
                                        </p:tav>
                                      </p:tavLst>
                                    </p:anim>
                                  </p:childTnLst>
                                </p:cTn>
                              </p:par>
                              <p:par>
                                <p:cTn id="63" presetID="2" presetClass="entr" presetSubtype="4" fill="hold" grpId="0" nodeType="withEffect">
                                  <p:stCondLst>
                                    <p:cond delay="0"/>
                                  </p:stCondLst>
                                  <p:childTnLst>
                                    <p:set>
                                      <p:cBhvr>
                                        <p:cTn id="64" dur="1" fill="hold">
                                          <p:stCondLst>
                                            <p:cond delay="0"/>
                                          </p:stCondLst>
                                        </p:cTn>
                                        <p:tgtEl>
                                          <p:spTgt spid="26"/>
                                        </p:tgtEl>
                                        <p:attrNameLst>
                                          <p:attrName>style.visibility</p:attrName>
                                        </p:attrNameLst>
                                      </p:cBhvr>
                                      <p:to>
                                        <p:strVal val="visible"/>
                                      </p:to>
                                    </p:set>
                                    <p:anim calcmode="lin" valueType="num">
                                      <p:cBhvr additive="base">
                                        <p:cTn id="65" dur="500" fill="hold"/>
                                        <p:tgtEl>
                                          <p:spTgt spid="26"/>
                                        </p:tgtEl>
                                        <p:attrNameLst>
                                          <p:attrName>ppt_x</p:attrName>
                                        </p:attrNameLst>
                                      </p:cBhvr>
                                      <p:tavLst>
                                        <p:tav tm="0">
                                          <p:val>
                                            <p:strVal val="#ppt_x"/>
                                          </p:val>
                                        </p:tav>
                                        <p:tav tm="100000">
                                          <p:val>
                                            <p:strVal val="#ppt_x"/>
                                          </p:val>
                                        </p:tav>
                                      </p:tavLst>
                                    </p:anim>
                                    <p:anim calcmode="lin" valueType="num">
                                      <p:cBhvr additive="base">
                                        <p:cTn id="66" dur="500" fill="hold"/>
                                        <p:tgtEl>
                                          <p:spTgt spid="26"/>
                                        </p:tgtEl>
                                        <p:attrNameLst>
                                          <p:attrName>ppt_y</p:attrName>
                                        </p:attrNameLst>
                                      </p:cBhvr>
                                      <p:tavLst>
                                        <p:tav tm="0">
                                          <p:val>
                                            <p:strVal val="1+#ppt_h/2"/>
                                          </p:val>
                                        </p:tav>
                                        <p:tav tm="100000">
                                          <p:val>
                                            <p:strVal val="#ppt_y"/>
                                          </p:val>
                                        </p:tav>
                                      </p:tavLst>
                                    </p:anim>
                                  </p:childTnLst>
                                </p:cTn>
                              </p:par>
                              <p:par>
                                <p:cTn id="67" presetID="2" presetClass="entr" presetSubtype="4" fill="hold" grpId="0" nodeType="withEffect">
                                  <p:stCondLst>
                                    <p:cond delay="0"/>
                                  </p:stCondLst>
                                  <p:childTnLst>
                                    <p:set>
                                      <p:cBhvr>
                                        <p:cTn id="68" dur="1" fill="hold">
                                          <p:stCondLst>
                                            <p:cond delay="0"/>
                                          </p:stCondLst>
                                        </p:cTn>
                                        <p:tgtEl>
                                          <p:spTgt spid="27"/>
                                        </p:tgtEl>
                                        <p:attrNameLst>
                                          <p:attrName>style.visibility</p:attrName>
                                        </p:attrNameLst>
                                      </p:cBhvr>
                                      <p:to>
                                        <p:strVal val="visible"/>
                                      </p:to>
                                    </p:set>
                                    <p:anim calcmode="lin" valueType="num">
                                      <p:cBhvr additive="base">
                                        <p:cTn id="69" dur="500" fill="hold"/>
                                        <p:tgtEl>
                                          <p:spTgt spid="27"/>
                                        </p:tgtEl>
                                        <p:attrNameLst>
                                          <p:attrName>ppt_x</p:attrName>
                                        </p:attrNameLst>
                                      </p:cBhvr>
                                      <p:tavLst>
                                        <p:tav tm="0">
                                          <p:val>
                                            <p:strVal val="#ppt_x"/>
                                          </p:val>
                                        </p:tav>
                                        <p:tav tm="100000">
                                          <p:val>
                                            <p:strVal val="#ppt_x"/>
                                          </p:val>
                                        </p:tav>
                                      </p:tavLst>
                                    </p:anim>
                                    <p:anim calcmode="lin" valueType="num">
                                      <p:cBhvr additive="base">
                                        <p:cTn id="70" dur="500" fill="hold"/>
                                        <p:tgtEl>
                                          <p:spTgt spid="27"/>
                                        </p:tgtEl>
                                        <p:attrNameLst>
                                          <p:attrName>ppt_y</p:attrName>
                                        </p:attrNameLst>
                                      </p:cBhvr>
                                      <p:tavLst>
                                        <p:tav tm="0">
                                          <p:val>
                                            <p:strVal val="1+#ppt_h/2"/>
                                          </p:val>
                                        </p:tav>
                                        <p:tav tm="100000">
                                          <p:val>
                                            <p:strVal val="#ppt_y"/>
                                          </p:val>
                                        </p:tav>
                                      </p:tavLst>
                                    </p:anim>
                                  </p:childTnLst>
                                </p:cTn>
                              </p:par>
                              <p:par>
                                <p:cTn id="71" presetID="2" presetClass="entr" presetSubtype="4" fill="hold" grpId="0" nodeType="withEffect">
                                  <p:stCondLst>
                                    <p:cond delay="0"/>
                                  </p:stCondLst>
                                  <p:childTnLst>
                                    <p:set>
                                      <p:cBhvr>
                                        <p:cTn id="72" dur="1" fill="hold">
                                          <p:stCondLst>
                                            <p:cond delay="0"/>
                                          </p:stCondLst>
                                        </p:cTn>
                                        <p:tgtEl>
                                          <p:spTgt spid="28"/>
                                        </p:tgtEl>
                                        <p:attrNameLst>
                                          <p:attrName>style.visibility</p:attrName>
                                        </p:attrNameLst>
                                      </p:cBhvr>
                                      <p:to>
                                        <p:strVal val="visible"/>
                                      </p:to>
                                    </p:set>
                                    <p:anim calcmode="lin" valueType="num">
                                      <p:cBhvr additive="base">
                                        <p:cTn id="73" dur="500" fill="hold"/>
                                        <p:tgtEl>
                                          <p:spTgt spid="28"/>
                                        </p:tgtEl>
                                        <p:attrNameLst>
                                          <p:attrName>ppt_x</p:attrName>
                                        </p:attrNameLst>
                                      </p:cBhvr>
                                      <p:tavLst>
                                        <p:tav tm="0">
                                          <p:val>
                                            <p:strVal val="#ppt_x"/>
                                          </p:val>
                                        </p:tav>
                                        <p:tav tm="100000">
                                          <p:val>
                                            <p:strVal val="#ppt_x"/>
                                          </p:val>
                                        </p:tav>
                                      </p:tavLst>
                                    </p:anim>
                                    <p:anim calcmode="lin" valueType="num">
                                      <p:cBhvr additive="base">
                                        <p:cTn id="74" dur="500" fill="hold"/>
                                        <p:tgtEl>
                                          <p:spTgt spid="28"/>
                                        </p:tgtEl>
                                        <p:attrNameLst>
                                          <p:attrName>ppt_y</p:attrName>
                                        </p:attrNameLst>
                                      </p:cBhvr>
                                      <p:tavLst>
                                        <p:tav tm="0">
                                          <p:val>
                                            <p:strVal val="1+#ppt_h/2"/>
                                          </p:val>
                                        </p:tav>
                                        <p:tav tm="100000">
                                          <p:val>
                                            <p:strVal val="#ppt_y"/>
                                          </p:val>
                                        </p:tav>
                                      </p:tavLst>
                                    </p:anim>
                                  </p:childTnLst>
                                </p:cTn>
                              </p:par>
                              <p:par>
                                <p:cTn id="75" presetID="2" presetClass="entr" presetSubtype="4" fill="hold" grpId="0" nodeType="withEffect">
                                  <p:stCondLst>
                                    <p:cond delay="0"/>
                                  </p:stCondLst>
                                  <p:childTnLst>
                                    <p:set>
                                      <p:cBhvr>
                                        <p:cTn id="76" dur="1" fill="hold">
                                          <p:stCondLst>
                                            <p:cond delay="0"/>
                                          </p:stCondLst>
                                        </p:cTn>
                                        <p:tgtEl>
                                          <p:spTgt spid="29"/>
                                        </p:tgtEl>
                                        <p:attrNameLst>
                                          <p:attrName>style.visibility</p:attrName>
                                        </p:attrNameLst>
                                      </p:cBhvr>
                                      <p:to>
                                        <p:strVal val="visible"/>
                                      </p:to>
                                    </p:set>
                                    <p:anim calcmode="lin" valueType="num">
                                      <p:cBhvr additive="base">
                                        <p:cTn id="77" dur="500" fill="hold"/>
                                        <p:tgtEl>
                                          <p:spTgt spid="29"/>
                                        </p:tgtEl>
                                        <p:attrNameLst>
                                          <p:attrName>ppt_x</p:attrName>
                                        </p:attrNameLst>
                                      </p:cBhvr>
                                      <p:tavLst>
                                        <p:tav tm="0">
                                          <p:val>
                                            <p:strVal val="#ppt_x"/>
                                          </p:val>
                                        </p:tav>
                                        <p:tav tm="100000">
                                          <p:val>
                                            <p:strVal val="#ppt_x"/>
                                          </p:val>
                                        </p:tav>
                                      </p:tavLst>
                                    </p:anim>
                                    <p:anim calcmode="lin" valueType="num">
                                      <p:cBhvr additive="base">
                                        <p:cTn id="78" dur="500" fill="hold"/>
                                        <p:tgtEl>
                                          <p:spTgt spid="29"/>
                                        </p:tgtEl>
                                        <p:attrNameLst>
                                          <p:attrName>ppt_y</p:attrName>
                                        </p:attrNameLst>
                                      </p:cBhvr>
                                      <p:tavLst>
                                        <p:tav tm="0">
                                          <p:val>
                                            <p:strVal val="1+#ppt_h/2"/>
                                          </p:val>
                                        </p:tav>
                                        <p:tav tm="100000">
                                          <p:val>
                                            <p:strVal val="#ppt_y"/>
                                          </p:val>
                                        </p:tav>
                                      </p:tavLst>
                                    </p:anim>
                                  </p:childTnLst>
                                </p:cTn>
                              </p:par>
                              <p:par>
                                <p:cTn id="79" presetID="2" presetClass="entr" presetSubtype="4" fill="hold" grpId="0" nodeType="withEffect">
                                  <p:stCondLst>
                                    <p:cond delay="0"/>
                                  </p:stCondLst>
                                  <p:childTnLst>
                                    <p:set>
                                      <p:cBhvr>
                                        <p:cTn id="80" dur="1" fill="hold">
                                          <p:stCondLst>
                                            <p:cond delay="0"/>
                                          </p:stCondLst>
                                        </p:cTn>
                                        <p:tgtEl>
                                          <p:spTgt spid="30"/>
                                        </p:tgtEl>
                                        <p:attrNameLst>
                                          <p:attrName>style.visibility</p:attrName>
                                        </p:attrNameLst>
                                      </p:cBhvr>
                                      <p:to>
                                        <p:strVal val="visible"/>
                                      </p:to>
                                    </p:set>
                                    <p:anim calcmode="lin" valueType="num">
                                      <p:cBhvr additive="base">
                                        <p:cTn id="81" dur="500" fill="hold"/>
                                        <p:tgtEl>
                                          <p:spTgt spid="30"/>
                                        </p:tgtEl>
                                        <p:attrNameLst>
                                          <p:attrName>ppt_x</p:attrName>
                                        </p:attrNameLst>
                                      </p:cBhvr>
                                      <p:tavLst>
                                        <p:tav tm="0">
                                          <p:val>
                                            <p:strVal val="#ppt_x"/>
                                          </p:val>
                                        </p:tav>
                                        <p:tav tm="100000">
                                          <p:val>
                                            <p:strVal val="#ppt_x"/>
                                          </p:val>
                                        </p:tav>
                                      </p:tavLst>
                                    </p:anim>
                                    <p:anim calcmode="lin" valueType="num">
                                      <p:cBhvr additive="base">
                                        <p:cTn id="82" dur="500" fill="hold"/>
                                        <p:tgtEl>
                                          <p:spTgt spid="30"/>
                                        </p:tgtEl>
                                        <p:attrNameLst>
                                          <p:attrName>ppt_y</p:attrName>
                                        </p:attrNameLst>
                                      </p:cBhvr>
                                      <p:tavLst>
                                        <p:tav tm="0">
                                          <p:val>
                                            <p:strVal val="1+#ppt_h/2"/>
                                          </p:val>
                                        </p:tav>
                                        <p:tav tm="100000">
                                          <p:val>
                                            <p:strVal val="#ppt_y"/>
                                          </p:val>
                                        </p:tav>
                                      </p:tavLst>
                                    </p:anim>
                                  </p:childTnLst>
                                </p:cTn>
                              </p:par>
                              <p:par>
                                <p:cTn id="83" presetID="2" presetClass="entr" presetSubtype="4" fill="hold" grpId="0" nodeType="withEffect">
                                  <p:stCondLst>
                                    <p:cond delay="0"/>
                                  </p:stCondLst>
                                  <p:childTnLst>
                                    <p:set>
                                      <p:cBhvr>
                                        <p:cTn id="84" dur="1" fill="hold">
                                          <p:stCondLst>
                                            <p:cond delay="0"/>
                                          </p:stCondLst>
                                        </p:cTn>
                                        <p:tgtEl>
                                          <p:spTgt spid="31"/>
                                        </p:tgtEl>
                                        <p:attrNameLst>
                                          <p:attrName>style.visibility</p:attrName>
                                        </p:attrNameLst>
                                      </p:cBhvr>
                                      <p:to>
                                        <p:strVal val="visible"/>
                                      </p:to>
                                    </p:set>
                                    <p:anim calcmode="lin" valueType="num">
                                      <p:cBhvr additive="base">
                                        <p:cTn id="85" dur="500" fill="hold"/>
                                        <p:tgtEl>
                                          <p:spTgt spid="31"/>
                                        </p:tgtEl>
                                        <p:attrNameLst>
                                          <p:attrName>ppt_x</p:attrName>
                                        </p:attrNameLst>
                                      </p:cBhvr>
                                      <p:tavLst>
                                        <p:tav tm="0">
                                          <p:val>
                                            <p:strVal val="#ppt_x"/>
                                          </p:val>
                                        </p:tav>
                                        <p:tav tm="100000">
                                          <p:val>
                                            <p:strVal val="#ppt_x"/>
                                          </p:val>
                                        </p:tav>
                                      </p:tavLst>
                                    </p:anim>
                                    <p:anim calcmode="lin" valueType="num">
                                      <p:cBhvr additive="base">
                                        <p:cTn id="86" dur="500" fill="hold"/>
                                        <p:tgtEl>
                                          <p:spTgt spid="31"/>
                                        </p:tgtEl>
                                        <p:attrNameLst>
                                          <p:attrName>ppt_y</p:attrName>
                                        </p:attrNameLst>
                                      </p:cBhvr>
                                      <p:tavLst>
                                        <p:tav tm="0">
                                          <p:val>
                                            <p:strVal val="1+#ppt_h/2"/>
                                          </p:val>
                                        </p:tav>
                                        <p:tav tm="100000">
                                          <p:val>
                                            <p:strVal val="#ppt_y"/>
                                          </p:val>
                                        </p:tav>
                                      </p:tavLst>
                                    </p:anim>
                                  </p:childTnLst>
                                </p:cTn>
                              </p:par>
                            </p:childTnLst>
                          </p:cTn>
                        </p:par>
                      </p:childTnLst>
                    </p:cTn>
                  </p:par>
                  <p:par>
                    <p:cTn id="87" fill="hold">
                      <p:stCondLst>
                        <p:cond delay="indefinite"/>
                      </p:stCondLst>
                      <p:childTnLst>
                        <p:par>
                          <p:cTn id="88" fill="hold">
                            <p:stCondLst>
                              <p:cond delay="0"/>
                            </p:stCondLst>
                            <p:childTnLst>
                              <p:par>
                                <p:cTn id="89" presetID="2" presetClass="entr" presetSubtype="4" fill="hold" grpId="0" nodeType="clickEffect">
                                  <p:stCondLst>
                                    <p:cond delay="0"/>
                                  </p:stCondLst>
                                  <p:childTnLst>
                                    <p:set>
                                      <p:cBhvr>
                                        <p:cTn id="90" dur="1" fill="hold">
                                          <p:stCondLst>
                                            <p:cond delay="0"/>
                                          </p:stCondLst>
                                        </p:cTn>
                                        <p:tgtEl>
                                          <p:spTgt spid="11"/>
                                        </p:tgtEl>
                                        <p:attrNameLst>
                                          <p:attrName>style.visibility</p:attrName>
                                        </p:attrNameLst>
                                      </p:cBhvr>
                                      <p:to>
                                        <p:strVal val="visible"/>
                                      </p:to>
                                    </p:set>
                                    <p:anim calcmode="lin" valueType="num">
                                      <p:cBhvr additive="base">
                                        <p:cTn id="91" dur="500" fill="hold"/>
                                        <p:tgtEl>
                                          <p:spTgt spid="11"/>
                                        </p:tgtEl>
                                        <p:attrNameLst>
                                          <p:attrName>ppt_x</p:attrName>
                                        </p:attrNameLst>
                                      </p:cBhvr>
                                      <p:tavLst>
                                        <p:tav tm="0">
                                          <p:val>
                                            <p:strVal val="#ppt_x"/>
                                          </p:val>
                                        </p:tav>
                                        <p:tav tm="100000">
                                          <p:val>
                                            <p:strVal val="#ppt_x"/>
                                          </p:val>
                                        </p:tav>
                                      </p:tavLst>
                                    </p:anim>
                                    <p:anim calcmode="lin" valueType="num">
                                      <p:cBhvr additive="base">
                                        <p:cTn id="92" dur="500" fill="hold"/>
                                        <p:tgtEl>
                                          <p:spTgt spid="11"/>
                                        </p:tgtEl>
                                        <p:attrNameLst>
                                          <p:attrName>ppt_y</p:attrName>
                                        </p:attrNameLst>
                                      </p:cBhvr>
                                      <p:tavLst>
                                        <p:tav tm="0">
                                          <p:val>
                                            <p:strVal val="1+#ppt_h/2"/>
                                          </p:val>
                                        </p:tav>
                                        <p:tav tm="100000">
                                          <p:val>
                                            <p:strVal val="#ppt_y"/>
                                          </p:val>
                                        </p:tav>
                                      </p:tavLst>
                                    </p:anim>
                                  </p:childTnLst>
                                </p:cTn>
                              </p:par>
                              <p:par>
                                <p:cTn id="93" presetID="2" presetClass="entr" presetSubtype="4" fill="hold" grpId="0" nodeType="withEffect">
                                  <p:stCondLst>
                                    <p:cond delay="0"/>
                                  </p:stCondLst>
                                  <p:childTnLst>
                                    <p:set>
                                      <p:cBhvr>
                                        <p:cTn id="94" dur="1" fill="hold">
                                          <p:stCondLst>
                                            <p:cond delay="0"/>
                                          </p:stCondLst>
                                        </p:cTn>
                                        <p:tgtEl>
                                          <p:spTgt spid="12"/>
                                        </p:tgtEl>
                                        <p:attrNameLst>
                                          <p:attrName>style.visibility</p:attrName>
                                        </p:attrNameLst>
                                      </p:cBhvr>
                                      <p:to>
                                        <p:strVal val="visible"/>
                                      </p:to>
                                    </p:set>
                                    <p:anim calcmode="lin" valueType="num">
                                      <p:cBhvr additive="base">
                                        <p:cTn id="95" dur="500" fill="hold"/>
                                        <p:tgtEl>
                                          <p:spTgt spid="12"/>
                                        </p:tgtEl>
                                        <p:attrNameLst>
                                          <p:attrName>ppt_x</p:attrName>
                                        </p:attrNameLst>
                                      </p:cBhvr>
                                      <p:tavLst>
                                        <p:tav tm="0">
                                          <p:val>
                                            <p:strVal val="#ppt_x"/>
                                          </p:val>
                                        </p:tav>
                                        <p:tav tm="100000">
                                          <p:val>
                                            <p:strVal val="#ppt_x"/>
                                          </p:val>
                                        </p:tav>
                                      </p:tavLst>
                                    </p:anim>
                                    <p:anim calcmode="lin" valueType="num">
                                      <p:cBhvr additive="base">
                                        <p:cTn id="96" dur="500" fill="hold"/>
                                        <p:tgtEl>
                                          <p:spTgt spid="12"/>
                                        </p:tgtEl>
                                        <p:attrNameLst>
                                          <p:attrName>ppt_y</p:attrName>
                                        </p:attrNameLst>
                                      </p:cBhvr>
                                      <p:tavLst>
                                        <p:tav tm="0">
                                          <p:val>
                                            <p:strVal val="1+#ppt_h/2"/>
                                          </p:val>
                                        </p:tav>
                                        <p:tav tm="100000">
                                          <p:val>
                                            <p:strVal val="#ppt_y"/>
                                          </p:val>
                                        </p:tav>
                                      </p:tavLst>
                                    </p:anim>
                                  </p:childTnLst>
                                </p:cTn>
                              </p:par>
                              <p:par>
                                <p:cTn id="97" presetID="2" presetClass="entr" presetSubtype="4" fill="hold" grpId="0" nodeType="withEffect">
                                  <p:stCondLst>
                                    <p:cond delay="0"/>
                                  </p:stCondLst>
                                  <p:childTnLst>
                                    <p:set>
                                      <p:cBhvr>
                                        <p:cTn id="98" dur="1" fill="hold">
                                          <p:stCondLst>
                                            <p:cond delay="0"/>
                                          </p:stCondLst>
                                        </p:cTn>
                                        <p:tgtEl>
                                          <p:spTgt spid="18"/>
                                        </p:tgtEl>
                                        <p:attrNameLst>
                                          <p:attrName>style.visibility</p:attrName>
                                        </p:attrNameLst>
                                      </p:cBhvr>
                                      <p:to>
                                        <p:strVal val="visible"/>
                                      </p:to>
                                    </p:set>
                                    <p:anim calcmode="lin" valueType="num">
                                      <p:cBhvr additive="base">
                                        <p:cTn id="99" dur="500" fill="hold"/>
                                        <p:tgtEl>
                                          <p:spTgt spid="18"/>
                                        </p:tgtEl>
                                        <p:attrNameLst>
                                          <p:attrName>ppt_x</p:attrName>
                                        </p:attrNameLst>
                                      </p:cBhvr>
                                      <p:tavLst>
                                        <p:tav tm="0">
                                          <p:val>
                                            <p:strVal val="#ppt_x"/>
                                          </p:val>
                                        </p:tav>
                                        <p:tav tm="100000">
                                          <p:val>
                                            <p:strVal val="#ppt_x"/>
                                          </p:val>
                                        </p:tav>
                                      </p:tavLst>
                                    </p:anim>
                                    <p:anim calcmode="lin" valueType="num">
                                      <p:cBhvr additive="base">
                                        <p:cTn id="100" dur="500" fill="hold"/>
                                        <p:tgtEl>
                                          <p:spTgt spid="18"/>
                                        </p:tgtEl>
                                        <p:attrNameLst>
                                          <p:attrName>ppt_y</p:attrName>
                                        </p:attrNameLst>
                                      </p:cBhvr>
                                      <p:tavLst>
                                        <p:tav tm="0">
                                          <p:val>
                                            <p:strVal val="1+#ppt_h/2"/>
                                          </p:val>
                                        </p:tav>
                                        <p:tav tm="100000">
                                          <p:val>
                                            <p:strVal val="#ppt_y"/>
                                          </p:val>
                                        </p:tav>
                                      </p:tavLst>
                                    </p:anim>
                                  </p:childTnLst>
                                </p:cTn>
                              </p:par>
                              <p:par>
                                <p:cTn id="101" presetID="2" presetClass="entr" presetSubtype="4" fill="hold" grpId="0" nodeType="withEffect">
                                  <p:stCondLst>
                                    <p:cond delay="0"/>
                                  </p:stCondLst>
                                  <p:childTnLst>
                                    <p:set>
                                      <p:cBhvr>
                                        <p:cTn id="102" dur="1" fill="hold">
                                          <p:stCondLst>
                                            <p:cond delay="0"/>
                                          </p:stCondLst>
                                        </p:cTn>
                                        <p:tgtEl>
                                          <p:spTgt spid="19"/>
                                        </p:tgtEl>
                                        <p:attrNameLst>
                                          <p:attrName>style.visibility</p:attrName>
                                        </p:attrNameLst>
                                      </p:cBhvr>
                                      <p:to>
                                        <p:strVal val="visible"/>
                                      </p:to>
                                    </p:set>
                                    <p:anim calcmode="lin" valueType="num">
                                      <p:cBhvr additive="base">
                                        <p:cTn id="103" dur="500" fill="hold"/>
                                        <p:tgtEl>
                                          <p:spTgt spid="19"/>
                                        </p:tgtEl>
                                        <p:attrNameLst>
                                          <p:attrName>ppt_x</p:attrName>
                                        </p:attrNameLst>
                                      </p:cBhvr>
                                      <p:tavLst>
                                        <p:tav tm="0">
                                          <p:val>
                                            <p:strVal val="#ppt_x"/>
                                          </p:val>
                                        </p:tav>
                                        <p:tav tm="100000">
                                          <p:val>
                                            <p:strVal val="#ppt_x"/>
                                          </p:val>
                                        </p:tav>
                                      </p:tavLst>
                                    </p:anim>
                                    <p:anim calcmode="lin" valueType="num">
                                      <p:cBhvr additive="base">
                                        <p:cTn id="104" dur="500" fill="hold"/>
                                        <p:tgtEl>
                                          <p:spTgt spid="19"/>
                                        </p:tgtEl>
                                        <p:attrNameLst>
                                          <p:attrName>ppt_y</p:attrName>
                                        </p:attrNameLst>
                                      </p:cBhvr>
                                      <p:tavLst>
                                        <p:tav tm="0">
                                          <p:val>
                                            <p:strVal val="1+#ppt_h/2"/>
                                          </p:val>
                                        </p:tav>
                                        <p:tav tm="100000">
                                          <p:val>
                                            <p:strVal val="#ppt_y"/>
                                          </p:val>
                                        </p:tav>
                                      </p:tavLst>
                                    </p:anim>
                                  </p:childTnLst>
                                </p:cTn>
                              </p:par>
                              <p:par>
                                <p:cTn id="105" presetID="2" presetClass="entr" presetSubtype="4" fill="hold" grpId="0" nodeType="withEffect">
                                  <p:stCondLst>
                                    <p:cond delay="0"/>
                                  </p:stCondLst>
                                  <p:childTnLst>
                                    <p:set>
                                      <p:cBhvr>
                                        <p:cTn id="106" dur="1" fill="hold">
                                          <p:stCondLst>
                                            <p:cond delay="0"/>
                                          </p:stCondLst>
                                        </p:cTn>
                                        <p:tgtEl>
                                          <p:spTgt spid="32"/>
                                        </p:tgtEl>
                                        <p:attrNameLst>
                                          <p:attrName>style.visibility</p:attrName>
                                        </p:attrNameLst>
                                      </p:cBhvr>
                                      <p:to>
                                        <p:strVal val="visible"/>
                                      </p:to>
                                    </p:set>
                                    <p:anim calcmode="lin" valueType="num">
                                      <p:cBhvr additive="base">
                                        <p:cTn id="107" dur="500" fill="hold"/>
                                        <p:tgtEl>
                                          <p:spTgt spid="32"/>
                                        </p:tgtEl>
                                        <p:attrNameLst>
                                          <p:attrName>ppt_x</p:attrName>
                                        </p:attrNameLst>
                                      </p:cBhvr>
                                      <p:tavLst>
                                        <p:tav tm="0">
                                          <p:val>
                                            <p:strVal val="#ppt_x"/>
                                          </p:val>
                                        </p:tav>
                                        <p:tav tm="100000">
                                          <p:val>
                                            <p:strVal val="#ppt_x"/>
                                          </p:val>
                                        </p:tav>
                                      </p:tavLst>
                                    </p:anim>
                                    <p:anim calcmode="lin" valueType="num">
                                      <p:cBhvr additive="base">
                                        <p:cTn id="108" dur="500" fill="hold"/>
                                        <p:tgtEl>
                                          <p:spTgt spid="32"/>
                                        </p:tgtEl>
                                        <p:attrNameLst>
                                          <p:attrName>ppt_y</p:attrName>
                                        </p:attrNameLst>
                                      </p:cBhvr>
                                      <p:tavLst>
                                        <p:tav tm="0">
                                          <p:val>
                                            <p:strVal val="1+#ppt_h/2"/>
                                          </p:val>
                                        </p:tav>
                                        <p:tav tm="100000">
                                          <p:val>
                                            <p:strVal val="#ppt_y"/>
                                          </p:val>
                                        </p:tav>
                                      </p:tavLst>
                                    </p:anim>
                                  </p:childTnLst>
                                </p:cTn>
                              </p:par>
                              <p:par>
                                <p:cTn id="109" presetID="2" presetClass="entr" presetSubtype="4" fill="hold" grpId="0" nodeType="withEffect">
                                  <p:stCondLst>
                                    <p:cond delay="0"/>
                                  </p:stCondLst>
                                  <p:childTnLst>
                                    <p:set>
                                      <p:cBhvr>
                                        <p:cTn id="110" dur="1" fill="hold">
                                          <p:stCondLst>
                                            <p:cond delay="0"/>
                                          </p:stCondLst>
                                        </p:cTn>
                                        <p:tgtEl>
                                          <p:spTgt spid="33"/>
                                        </p:tgtEl>
                                        <p:attrNameLst>
                                          <p:attrName>style.visibility</p:attrName>
                                        </p:attrNameLst>
                                      </p:cBhvr>
                                      <p:to>
                                        <p:strVal val="visible"/>
                                      </p:to>
                                    </p:set>
                                    <p:anim calcmode="lin" valueType="num">
                                      <p:cBhvr additive="base">
                                        <p:cTn id="111" dur="500" fill="hold"/>
                                        <p:tgtEl>
                                          <p:spTgt spid="33"/>
                                        </p:tgtEl>
                                        <p:attrNameLst>
                                          <p:attrName>ppt_x</p:attrName>
                                        </p:attrNameLst>
                                      </p:cBhvr>
                                      <p:tavLst>
                                        <p:tav tm="0">
                                          <p:val>
                                            <p:strVal val="#ppt_x"/>
                                          </p:val>
                                        </p:tav>
                                        <p:tav tm="100000">
                                          <p:val>
                                            <p:strVal val="#ppt_x"/>
                                          </p:val>
                                        </p:tav>
                                      </p:tavLst>
                                    </p:anim>
                                    <p:anim calcmode="lin" valueType="num">
                                      <p:cBhvr additive="base">
                                        <p:cTn id="112" dur="500" fill="hold"/>
                                        <p:tgtEl>
                                          <p:spTgt spid="33"/>
                                        </p:tgtEl>
                                        <p:attrNameLst>
                                          <p:attrName>ppt_y</p:attrName>
                                        </p:attrNameLst>
                                      </p:cBhvr>
                                      <p:tavLst>
                                        <p:tav tm="0">
                                          <p:val>
                                            <p:strVal val="1+#ppt_h/2"/>
                                          </p:val>
                                        </p:tav>
                                        <p:tav tm="100000">
                                          <p:val>
                                            <p:strVal val="#ppt_y"/>
                                          </p:val>
                                        </p:tav>
                                      </p:tavLst>
                                    </p:anim>
                                  </p:childTnLst>
                                </p:cTn>
                              </p:par>
                              <p:par>
                                <p:cTn id="113" presetID="2" presetClass="entr" presetSubtype="4" fill="hold" grpId="0" nodeType="withEffect">
                                  <p:stCondLst>
                                    <p:cond delay="0"/>
                                  </p:stCondLst>
                                  <p:childTnLst>
                                    <p:set>
                                      <p:cBhvr>
                                        <p:cTn id="114" dur="1" fill="hold">
                                          <p:stCondLst>
                                            <p:cond delay="0"/>
                                          </p:stCondLst>
                                        </p:cTn>
                                        <p:tgtEl>
                                          <p:spTgt spid="34"/>
                                        </p:tgtEl>
                                        <p:attrNameLst>
                                          <p:attrName>style.visibility</p:attrName>
                                        </p:attrNameLst>
                                      </p:cBhvr>
                                      <p:to>
                                        <p:strVal val="visible"/>
                                      </p:to>
                                    </p:set>
                                    <p:anim calcmode="lin" valueType="num">
                                      <p:cBhvr additive="base">
                                        <p:cTn id="115" dur="500" fill="hold"/>
                                        <p:tgtEl>
                                          <p:spTgt spid="34"/>
                                        </p:tgtEl>
                                        <p:attrNameLst>
                                          <p:attrName>ppt_x</p:attrName>
                                        </p:attrNameLst>
                                      </p:cBhvr>
                                      <p:tavLst>
                                        <p:tav tm="0">
                                          <p:val>
                                            <p:strVal val="#ppt_x"/>
                                          </p:val>
                                        </p:tav>
                                        <p:tav tm="100000">
                                          <p:val>
                                            <p:strVal val="#ppt_x"/>
                                          </p:val>
                                        </p:tav>
                                      </p:tavLst>
                                    </p:anim>
                                    <p:anim calcmode="lin" valueType="num">
                                      <p:cBhvr additive="base">
                                        <p:cTn id="116" dur="500" fill="hold"/>
                                        <p:tgtEl>
                                          <p:spTgt spid="34"/>
                                        </p:tgtEl>
                                        <p:attrNameLst>
                                          <p:attrName>ppt_y</p:attrName>
                                        </p:attrNameLst>
                                      </p:cBhvr>
                                      <p:tavLst>
                                        <p:tav tm="0">
                                          <p:val>
                                            <p:strVal val="1+#ppt_h/2"/>
                                          </p:val>
                                        </p:tav>
                                        <p:tav tm="100000">
                                          <p:val>
                                            <p:strVal val="#ppt_y"/>
                                          </p:val>
                                        </p:tav>
                                      </p:tavLst>
                                    </p:anim>
                                  </p:childTnLst>
                                </p:cTn>
                              </p:par>
                              <p:par>
                                <p:cTn id="117" presetID="2" presetClass="entr" presetSubtype="4" fill="hold" grpId="0" nodeType="withEffect">
                                  <p:stCondLst>
                                    <p:cond delay="0"/>
                                  </p:stCondLst>
                                  <p:childTnLst>
                                    <p:set>
                                      <p:cBhvr>
                                        <p:cTn id="118" dur="1" fill="hold">
                                          <p:stCondLst>
                                            <p:cond delay="0"/>
                                          </p:stCondLst>
                                        </p:cTn>
                                        <p:tgtEl>
                                          <p:spTgt spid="35"/>
                                        </p:tgtEl>
                                        <p:attrNameLst>
                                          <p:attrName>style.visibility</p:attrName>
                                        </p:attrNameLst>
                                      </p:cBhvr>
                                      <p:to>
                                        <p:strVal val="visible"/>
                                      </p:to>
                                    </p:set>
                                    <p:anim calcmode="lin" valueType="num">
                                      <p:cBhvr additive="base">
                                        <p:cTn id="119" dur="500" fill="hold"/>
                                        <p:tgtEl>
                                          <p:spTgt spid="35"/>
                                        </p:tgtEl>
                                        <p:attrNameLst>
                                          <p:attrName>ppt_x</p:attrName>
                                        </p:attrNameLst>
                                      </p:cBhvr>
                                      <p:tavLst>
                                        <p:tav tm="0">
                                          <p:val>
                                            <p:strVal val="#ppt_x"/>
                                          </p:val>
                                        </p:tav>
                                        <p:tav tm="100000">
                                          <p:val>
                                            <p:strVal val="#ppt_x"/>
                                          </p:val>
                                        </p:tav>
                                      </p:tavLst>
                                    </p:anim>
                                    <p:anim calcmode="lin" valueType="num">
                                      <p:cBhvr additive="base">
                                        <p:cTn id="120" dur="500" fill="hold"/>
                                        <p:tgtEl>
                                          <p:spTgt spid="35"/>
                                        </p:tgtEl>
                                        <p:attrNameLst>
                                          <p:attrName>ppt_y</p:attrName>
                                        </p:attrNameLst>
                                      </p:cBhvr>
                                      <p:tavLst>
                                        <p:tav tm="0">
                                          <p:val>
                                            <p:strVal val="1+#ppt_h/2"/>
                                          </p:val>
                                        </p:tav>
                                        <p:tav tm="100000">
                                          <p:val>
                                            <p:strVal val="#ppt_y"/>
                                          </p:val>
                                        </p:tav>
                                      </p:tavLst>
                                    </p:anim>
                                  </p:childTnLst>
                                </p:cTn>
                              </p:par>
                              <p:par>
                                <p:cTn id="121" presetID="2" presetClass="entr" presetSubtype="4" fill="hold" grpId="0" nodeType="withEffect">
                                  <p:stCondLst>
                                    <p:cond delay="0"/>
                                  </p:stCondLst>
                                  <p:childTnLst>
                                    <p:set>
                                      <p:cBhvr>
                                        <p:cTn id="122" dur="1" fill="hold">
                                          <p:stCondLst>
                                            <p:cond delay="0"/>
                                          </p:stCondLst>
                                        </p:cTn>
                                        <p:tgtEl>
                                          <p:spTgt spid="36"/>
                                        </p:tgtEl>
                                        <p:attrNameLst>
                                          <p:attrName>style.visibility</p:attrName>
                                        </p:attrNameLst>
                                      </p:cBhvr>
                                      <p:to>
                                        <p:strVal val="visible"/>
                                      </p:to>
                                    </p:set>
                                    <p:anim calcmode="lin" valueType="num">
                                      <p:cBhvr additive="base">
                                        <p:cTn id="123" dur="500" fill="hold"/>
                                        <p:tgtEl>
                                          <p:spTgt spid="36"/>
                                        </p:tgtEl>
                                        <p:attrNameLst>
                                          <p:attrName>ppt_x</p:attrName>
                                        </p:attrNameLst>
                                      </p:cBhvr>
                                      <p:tavLst>
                                        <p:tav tm="0">
                                          <p:val>
                                            <p:strVal val="#ppt_x"/>
                                          </p:val>
                                        </p:tav>
                                        <p:tav tm="100000">
                                          <p:val>
                                            <p:strVal val="#ppt_x"/>
                                          </p:val>
                                        </p:tav>
                                      </p:tavLst>
                                    </p:anim>
                                    <p:anim calcmode="lin" valueType="num">
                                      <p:cBhvr additive="base">
                                        <p:cTn id="124" dur="500" fill="hold"/>
                                        <p:tgtEl>
                                          <p:spTgt spid="36"/>
                                        </p:tgtEl>
                                        <p:attrNameLst>
                                          <p:attrName>ppt_y</p:attrName>
                                        </p:attrNameLst>
                                      </p:cBhvr>
                                      <p:tavLst>
                                        <p:tav tm="0">
                                          <p:val>
                                            <p:strVal val="1+#ppt_h/2"/>
                                          </p:val>
                                        </p:tav>
                                        <p:tav tm="100000">
                                          <p:val>
                                            <p:strVal val="#ppt_y"/>
                                          </p:val>
                                        </p:tav>
                                      </p:tavLst>
                                    </p:anim>
                                  </p:childTnLst>
                                </p:cTn>
                              </p:par>
                              <p:par>
                                <p:cTn id="125" presetID="2" presetClass="entr" presetSubtype="4" fill="hold" grpId="0" nodeType="withEffect">
                                  <p:stCondLst>
                                    <p:cond delay="0"/>
                                  </p:stCondLst>
                                  <p:childTnLst>
                                    <p:set>
                                      <p:cBhvr>
                                        <p:cTn id="126" dur="1" fill="hold">
                                          <p:stCondLst>
                                            <p:cond delay="0"/>
                                          </p:stCondLst>
                                        </p:cTn>
                                        <p:tgtEl>
                                          <p:spTgt spid="37"/>
                                        </p:tgtEl>
                                        <p:attrNameLst>
                                          <p:attrName>style.visibility</p:attrName>
                                        </p:attrNameLst>
                                      </p:cBhvr>
                                      <p:to>
                                        <p:strVal val="visible"/>
                                      </p:to>
                                    </p:set>
                                    <p:anim calcmode="lin" valueType="num">
                                      <p:cBhvr additive="base">
                                        <p:cTn id="127" dur="500" fill="hold"/>
                                        <p:tgtEl>
                                          <p:spTgt spid="37"/>
                                        </p:tgtEl>
                                        <p:attrNameLst>
                                          <p:attrName>ppt_x</p:attrName>
                                        </p:attrNameLst>
                                      </p:cBhvr>
                                      <p:tavLst>
                                        <p:tav tm="0">
                                          <p:val>
                                            <p:strVal val="#ppt_x"/>
                                          </p:val>
                                        </p:tav>
                                        <p:tav tm="100000">
                                          <p:val>
                                            <p:strVal val="#ppt_x"/>
                                          </p:val>
                                        </p:tav>
                                      </p:tavLst>
                                    </p:anim>
                                    <p:anim calcmode="lin" valueType="num">
                                      <p:cBhvr additive="base">
                                        <p:cTn id="128" dur="500" fill="hold"/>
                                        <p:tgtEl>
                                          <p:spTgt spid="3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12" grpId="0" animBg="1"/>
      <p:bldP spid="13" grpId="0"/>
      <p:bldP spid="16" grpId="0" animBg="1"/>
      <p:bldP spid="17" grpId="0"/>
      <p:bldP spid="18" grpId="0" animBg="1"/>
      <p:bldP spid="19" grpId="0"/>
      <p:bldP spid="20" grpId="0"/>
      <p:bldP spid="21" grpId="0" animBg="1"/>
      <p:bldP spid="22" grpId="0"/>
      <p:bldP spid="23" grpId="0" animBg="1"/>
      <p:bldP spid="24" grpId="0"/>
      <p:bldP spid="25" grpId="0" animBg="1"/>
      <p:bldP spid="26" grpId="0"/>
      <p:bldP spid="27" grpId="0" animBg="1"/>
      <p:bldP spid="28" grpId="0"/>
      <p:bldP spid="29" grpId="0" animBg="1"/>
      <p:bldP spid="30" grpId="0"/>
      <p:bldP spid="31" grpId="0" animBg="1"/>
      <p:bldP spid="32" grpId="0"/>
      <p:bldP spid="33" grpId="0" animBg="1"/>
      <p:bldP spid="34" grpId="0"/>
      <p:bldP spid="35" grpId="0" animBg="1"/>
      <p:bldP spid="36" grpId="0"/>
      <p:bldP spid="37" grpId="0" animBg="1"/>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ll About the Apps</a:t>
            </a:r>
            <a:endParaRPr lang="en-US" dirty="0"/>
          </a:p>
        </p:txBody>
      </p:sp>
      <p:sp>
        <p:nvSpPr>
          <p:cNvPr id="3" name="Text Placeholder 2"/>
          <p:cNvSpPr>
            <a:spLocks noGrp="1"/>
          </p:cNvSpPr>
          <p:nvPr>
            <p:ph type="body" sz="quarter" idx="10"/>
          </p:nvPr>
        </p:nvSpPr>
        <p:spPr>
          <a:xfrm>
            <a:off x="389436" y="1085850"/>
            <a:ext cx="8363938" cy="332399"/>
          </a:xfrm>
        </p:spPr>
        <p:txBody>
          <a:bodyPr/>
          <a:lstStyle/>
          <a:p>
            <a:r>
              <a:rPr lang="en-US" dirty="0" smtClean="0"/>
              <a:t>Three typical solution architectures</a:t>
            </a:r>
            <a:endParaRPr lang="en-US" dirty="0"/>
          </a:p>
        </p:txBody>
      </p:sp>
      <p:sp>
        <p:nvSpPr>
          <p:cNvPr id="4" name="Light Blue"/>
          <p:cNvSpPr/>
          <p:nvPr/>
        </p:nvSpPr>
        <p:spPr bwMode="auto">
          <a:xfrm>
            <a:off x="55974" y="1657350"/>
            <a:ext cx="2915409" cy="655884"/>
          </a:xfrm>
          <a:prstGeom prst="roundRect">
            <a:avLst>
              <a:gd name="adj" fmla="val 0"/>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p:txBody>
      </p:sp>
      <p:sp>
        <p:nvSpPr>
          <p:cNvPr id="5" name="Green"/>
          <p:cNvSpPr/>
          <p:nvPr/>
        </p:nvSpPr>
        <p:spPr bwMode="auto">
          <a:xfrm>
            <a:off x="3142878" y="1657350"/>
            <a:ext cx="2915409" cy="655884"/>
          </a:xfrm>
          <a:prstGeom prst="roundRect">
            <a:avLst>
              <a:gd name="adj" fmla="val 0"/>
            </a:avLst>
          </a:prstGeom>
          <a:solidFill>
            <a:schemeClr val="accent6"/>
          </a:soli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p:txBody>
      </p:sp>
      <p:sp>
        <p:nvSpPr>
          <p:cNvPr id="6" name="Dark Gray"/>
          <p:cNvSpPr/>
          <p:nvPr/>
        </p:nvSpPr>
        <p:spPr bwMode="auto">
          <a:xfrm>
            <a:off x="6172617" y="1657350"/>
            <a:ext cx="2915409" cy="655884"/>
          </a:xfrm>
          <a:prstGeom prst="roundRect">
            <a:avLst>
              <a:gd name="adj" fmla="val 0"/>
            </a:avLst>
          </a:prstGeom>
          <a:solidFill>
            <a:schemeClr val="bg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p:txBody>
      </p:sp>
      <p:sp>
        <p:nvSpPr>
          <p:cNvPr id="7" name="Freeform 78"/>
          <p:cNvSpPr>
            <a:spLocks noEditPoints="1"/>
          </p:cNvSpPr>
          <p:nvPr/>
        </p:nvSpPr>
        <p:spPr bwMode="auto">
          <a:xfrm>
            <a:off x="170303" y="1780511"/>
            <a:ext cx="409671" cy="409565"/>
          </a:xfrm>
          <a:custGeom>
            <a:avLst/>
            <a:gdLst>
              <a:gd name="T0" fmla="*/ 174 w 347"/>
              <a:gd name="T1" fmla="*/ 0 h 347"/>
              <a:gd name="T2" fmla="*/ 0 w 347"/>
              <a:gd name="T3" fmla="*/ 174 h 347"/>
              <a:gd name="T4" fmla="*/ 174 w 347"/>
              <a:gd name="T5" fmla="*/ 347 h 347"/>
              <a:gd name="T6" fmla="*/ 347 w 347"/>
              <a:gd name="T7" fmla="*/ 174 h 347"/>
              <a:gd name="T8" fmla="*/ 174 w 347"/>
              <a:gd name="T9" fmla="*/ 0 h 347"/>
              <a:gd name="T10" fmla="*/ 332 w 347"/>
              <a:gd name="T11" fmla="*/ 166 h 347"/>
              <a:gd name="T12" fmla="*/ 283 w 347"/>
              <a:gd name="T13" fmla="*/ 166 h 347"/>
              <a:gd name="T14" fmla="*/ 231 w 347"/>
              <a:gd name="T15" fmla="*/ 26 h 347"/>
              <a:gd name="T16" fmla="*/ 332 w 347"/>
              <a:gd name="T17" fmla="*/ 166 h 347"/>
              <a:gd name="T18" fmla="*/ 174 w 347"/>
              <a:gd name="T19" fmla="*/ 332 h 347"/>
              <a:gd name="T20" fmla="*/ 147 w 347"/>
              <a:gd name="T21" fmla="*/ 181 h 347"/>
              <a:gd name="T22" fmla="*/ 200 w 347"/>
              <a:gd name="T23" fmla="*/ 181 h 347"/>
              <a:gd name="T24" fmla="*/ 174 w 347"/>
              <a:gd name="T25" fmla="*/ 332 h 347"/>
              <a:gd name="T26" fmla="*/ 147 w 347"/>
              <a:gd name="T27" fmla="*/ 166 h 347"/>
              <a:gd name="T28" fmla="*/ 174 w 347"/>
              <a:gd name="T29" fmla="*/ 15 h 347"/>
              <a:gd name="T30" fmla="*/ 174 w 347"/>
              <a:gd name="T31" fmla="*/ 15 h 347"/>
              <a:gd name="T32" fmla="*/ 200 w 347"/>
              <a:gd name="T33" fmla="*/ 166 h 347"/>
              <a:gd name="T34" fmla="*/ 147 w 347"/>
              <a:gd name="T35" fmla="*/ 166 h 347"/>
              <a:gd name="T36" fmla="*/ 153 w 347"/>
              <a:gd name="T37" fmla="*/ 19 h 347"/>
              <a:gd name="T38" fmla="*/ 133 w 347"/>
              <a:gd name="T39" fmla="*/ 166 h 347"/>
              <a:gd name="T40" fmla="*/ 79 w 347"/>
              <a:gd name="T41" fmla="*/ 166 h 347"/>
              <a:gd name="T42" fmla="*/ 153 w 347"/>
              <a:gd name="T43" fmla="*/ 19 h 347"/>
              <a:gd name="T44" fmla="*/ 133 w 347"/>
              <a:gd name="T45" fmla="*/ 181 h 347"/>
              <a:gd name="T46" fmla="*/ 153 w 347"/>
              <a:gd name="T47" fmla="*/ 329 h 347"/>
              <a:gd name="T48" fmla="*/ 79 w 347"/>
              <a:gd name="T49" fmla="*/ 181 h 347"/>
              <a:gd name="T50" fmla="*/ 133 w 347"/>
              <a:gd name="T51" fmla="*/ 181 h 347"/>
              <a:gd name="T52" fmla="*/ 194 w 347"/>
              <a:gd name="T53" fmla="*/ 329 h 347"/>
              <a:gd name="T54" fmla="*/ 215 w 347"/>
              <a:gd name="T55" fmla="*/ 181 h 347"/>
              <a:gd name="T56" fmla="*/ 268 w 347"/>
              <a:gd name="T57" fmla="*/ 181 h 347"/>
              <a:gd name="T58" fmla="*/ 194 w 347"/>
              <a:gd name="T59" fmla="*/ 329 h 347"/>
              <a:gd name="T60" fmla="*/ 215 w 347"/>
              <a:gd name="T61" fmla="*/ 166 h 347"/>
              <a:gd name="T62" fmla="*/ 194 w 347"/>
              <a:gd name="T63" fmla="*/ 19 h 347"/>
              <a:gd name="T64" fmla="*/ 268 w 347"/>
              <a:gd name="T65" fmla="*/ 166 h 347"/>
              <a:gd name="T66" fmla="*/ 215 w 347"/>
              <a:gd name="T67" fmla="*/ 166 h 347"/>
              <a:gd name="T68" fmla="*/ 117 w 347"/>
              <a:gd name="T69" fmla="*/ 26 h 347"/>
              <a:gd name="T70" fmla="*/ 64 w 347"/>
              <a:gd name="T71" fmla="*/ 166 h 347"/>
              <a:gd name="T72" fmla="*/ 15 w 347"/>
              <a:gd name="T73" fmla="*/ 166 h 347"/>
              <a:gd name="T74" fmla="*/ 117 w 347"/>
              <a:gd name="T75" fmla="*/ 26 h 347"/>
              <a:gd name="T76" fmla="*/ 15 w 347"/>
              <a:gd name="T77" fmla="*/ 181 h 347"/>
              <a:gd name="T78" fmla="*/ 64 w 347"/>
              <a:gd name="T79" fmla="*/ 181 h 347"/>
              <a:gd name="T80" fmla="*/ 117 w 347"/>
              <a:gd name="T81" fmla="*/ 322 h 347"/>
              <a:gd name="T82" fmla="*/ 15 w 347"/>
              <a:gd name="T83" fmla="*/ 181 h 347"/>
              <a:gd name="T84" fmla="*/ 231 w 347"/>
              <a:gd name="T85" fmla="*/ 322 h 347"/>
              <a:gd name="T86" fmla="*/ 283 w 347"/>
              <a:gd name="T87" fmla="*/ 181 h 347"/>
              <a:gd name="T88" fmla="*/ 332 w 347"/>
              <a:gd name="T89" fmla="*/ 181 h 347"/>
              <a:gd name="T90" fmla="*/ 231 w 347"/>
              <a:gd name="T91" fmla="*/ 322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7" h="347">
                <a:moveTo>
                  <a:pt x="174" y="0"/>
                </a:moveTo>
                <a:cubicBezTo>
                  <a:pt x="78" y="0"/>
                  <a:pt x="0" y="78"/>
                  <a:pt x="0" y="174"/>
                </a:cubicBezTo>
                <a:cubicBezTo>
                  <a:pt x="0" y="269"/>
                  <a:pt x="78" y="347"/>
                  <a:pt x="174" y="347"/>
                </a:cubicBezTo>
                <a:cubicBezTo>
                  <a:pt x="269" y="347"/>
                  <a:pt x="347" y="269"/>
                  <a:pt x="347" y="174"/>
                </a:cubicBezTo>
                <a:cubicBezTo>
                  <a:pt x="347" y="78"/>
                  <a:pt x="269" y="0"/>
                  <a:pt x="174" y="0"/>
                </a:cubicBezTo>
                <a:close/>
                <a:moveTo>
                  <a:pt x="332" y="166"/>
                </a:moveTo>
                <a:cubicBezTo>
                  <a:pt x="283" y="166"/>
                  <a:pt x="283" y="166"/>
                  <a:pt x="283" y="166"/>
                </a:cubicBezTo>
                <a:cubicBezTo>
                  <a:pt x="281" y="107"/>
                  <a:pt x="261" y="55"/>
                  <a:pt x="231" y="26"/>
                </a:cubicBezTo>
                <a:cubicBezTo>
                  <a:pt x="288" y="48"/>
                  <a:pt x="329" y="102"/>
                  <a:pt x="332" y="166"/>
                </a:cubicBezTo>
                <a:close/>
                <a:moveTo>
                  <a:pt x="174" y="332"/>
                </a:moveTo>
                <a:cubicBezTo>
                  <a:pt x="165" y="330"/>
                  <a:pt x="148" y="277"/>
                  <a:pt x="147" y="181"/>
                </a:cubicBezTo>
                <a:cubicBezTo>
                  <a:pt x="200" y="181"/>
                  <a:pt x="200" y="181"/>
                  <a:pt x="200" y="181"/>
                </a:cubicBezTo>
                <a:cubicBezTo>
                  <a:pt x="199" y="277"/>
                  <a:pt x="183" y="330"/>
                  <a:pt x="174" y="332"/>
                </a:cubicBezTo>
                <a:close/>
                <a:moveTo>
                  <a:pt x="147" y="166"/>
                </a:moveTo>
                <a:cubicBezTo>
                  <a:pt x="148" y="70"/>
                  <a:pt x="165" y="17"/>
                  <a:pt x="174" y="15"/>
                </a:cubicBezTo>
                <a:cubicBezTo>
                  <a:pt x="174" y="15"/>
                  <a:pt x="174" y="15"/>
                  <a:pt x="174" y="15"/>
                </a:cubicBezTo>
                <a:cubicBezTo>
                  <a:pt x="183" y="17"/>
                  <a:pt x="199" y="70"/>
                  <a:pt x="200" y="166"/>
                </a:cubicBezTo>
                <a:lnTo>
                  <a:pt x="147" y="166"/>
                </a:lnTo>
                <a:close/>
                <a:moveTo>
                  <a:pt x="153" y="19"/>
                </a:moveTo>
                <a:cubicBezTo>
                  <a:pt x="138" y="51"/>
                  <a:pt x="133" y="118"/>
                  <a:pt x="133" y="166"/>
                </a:cubicBezTo>
                <a:cubicBezTo>
                  <a:pt x="79" y="166"/>
                  <a:pt x="79" y="166"/>
                  <a:pt x="79" y="166"/>
                </a:cubicBezTo>
                <a:cubicBezTo>
                  <a:pt x="81" y="94"/>
                  <a:pt x="112" y="34"/>
                  <a:pt x="153" y="19"/>
                </a:cubicBezTo>
                <a:close/>
                <a:moveTo>
                  <a:pt x="133" y="181"/>
                </a:moveTo>
                <a:cubicBezTo>
                  <a:pt x="133" y="229"/>
                  <a:pt x="138" y="296"/>
                  <a:pt x="153" y="329"/>
                </a:cubicBezTo>
                <a:cubicBezTo>
                  <a:pt x="112" y="313"/>
                  <a:pt x="81" y="254"/>
                  <a:pt x="79" y="181"/>
                </a:cubicBezTo>
                <a:lnTo>
                  <a:pt x="133" y="181"/>
                </a:lnTo>
                <a:close/>
                <a:moveTo>
                  <a:pt x="194" y="329"/>
                </a:moveTo>
                <a:cubicBezTo>
                  <a:pt x="209" y="296"/>
                  <a:pt x="214" y="229"/>
                  <a:pt x="215" y="181"/>
                </a:cubicBezTo>
                <a:cubicBezTo>
                  <a:pt x="268" y="181"/>
                  <a:pt x="268" y="181"/>
                  <a:pt x="268" y="181"/>
                </a:cubicBezTo>
                <a:cubicBezTo>
                  <a:pt x="266" y="254"/>
                  <a:pt x="235" y="313"/>
                  <a:pt x="194" y="329"/>
                </a:cubicBezTo>
                <a:close/>
                <a:moveTo>
                  <a:pt x="215" y="166"/>
                </a:moveTo>
                <a:cubicBezTo>
                  <a:pt x="214" y="118"/>
                  <a:pt x="209" y="51"/>
                  <a:pt x="194" y="19"/>
                </a:cubicBezTo>
                <a:cubicBezTo>
                  <a:pt x="235" y="34"/>
                  <a:pt x="266" y="94"/>
                  <a:pt x="268" y="166"/>
                </a:cubicBezTo>
                <a:lnTo>
                  <a:pt x="215" y="166"/>
                </a:lnTo>
                <a:close/>
                <a:moveTo>
                  <a:pt x="117" y="26"/>
                </a:moveTo>
                <a:cubicBezTo>
                  <a:pt x="87" y="55"/>
                  <a:pt x="66" y="107"/>
                  <a:pt x="64" y="166"/>
                </a:cubicBezTo>
                <a:cubicBezTo>
                  <a:pt x="15" y="166"/>
                  <a:pt x="15" y="166"/>
                  <a:pt x="15" y="166"/>
                </a:cubicBezTo>
                <a:cubicBezTo>
                  <a:pt x="18" y="102"/>
                  <a:pt x="59" y="48"/>
                  <a:pt x="117" y="26"/>
                </a:cubicBezTo>
                <a:close/>
                <a:moveTo>
                  <a:pt x="15" y="181"/>
                </a:moveTo>
                <a:cubicBezTo>
                  <a:pt x="64" y="181"/>
                  <a:pt x="64" y="181"/>
                  <a:pt x="64" y="181"/>
                </a:cubicBezTo>
                <a:cubicBezTo>
                  <a:pt x="66" y="241"/>
                  <a:pt x="87" y="292"/>
                  <a:pt x="117" y="322"/>
                </a:cubicBezTo>
                <a:cubicBezTo>
                  <a:pt x="59" y="300"/>
                  <a:pt x="18" y="245"/>
                  <a:pt x="15" y="181"/>
                </a:cubicBezTo>
                <a:close/>
                <a:moveTo>
                  <a:pt x="231" y="322"/>
                </a:moveTo>
                <a:cubicBezTo>
                  <a:pt x="261" y="292"/>
                  <a:pt x="281" y="241"/>
                  <a:pt x="283" y="181"/>
                </a:cubicBezTo>
                <a:cubicBezTo>
                  <a:pt x="332" y="181"/>
                  <a:pt x="332" y="181"/>
                  <a:pt x="332" y="181"/>
                </a:cubicBezTo>
                <a:cubicBezTo>
                  <a:pt x="329" y="245"/>
                  <a:pt x="288" y="300"/>
                  <a:pt x="231" y="322"/>
                </a:cubicBez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8" name="TextBox 7"/>
          <p:cNvSpPr txBox="1"/>
          <p:nvPr/>
        </p:nvSpPr>
        <p:spPr>
          <a:xfrm>
            <a:off x="741952" y="1657352"/>
            <a:ext cx="1886441" cy="637097"/>
          </a:xfrm>
          <a:prstGeom prst="rect">
            <a:avLst/>
          </a:prstGeom>
          <a:noFill/>
        </p:spPr>
        <p:txBody>
          <a:bodyPr wrap="square" lIns="68586" tIns="68586" rIns="68586" bIns="68586" rtlCol="0">
            <a:spAutoFit/>
          </a:bodyPr>
          <a:lstStyle/>
          <a:p>
            <a:pPr>
              <a:lnSpc>
                <a:spcPct val="90000"/>
              </a:lnSpc>
              <a:spcBef>
                <a:spcPct val="20000"/>
              </a:spcBef>
              <a:buSzPct val="90000"/>
            </a:pPr>
            <a:r>
              <a:rPr lang="en-US" sz="1800" dirty="0">
                <a:solidFill>
                  <a:schemeClr val="tx1">
                    <a:alpha val="99000"/>
                  </a:schemeClr>
                </a:solidFill>
              </a:rPr>
              <a:t>Geo-Distributed Service</a:t>
            </a:r>
            <a:endParaRPr lang="en-US" sz="2400" dirty="0">
              <a:solidFill>
                <a:schemeClr val="tx1">
                  <a:alpha val="99000"/>
                </a:schemeClr>
              </a:solidFill>
            </a:endParaRPr>
          </a:p>
        </p:txBody>
      </p:sp>
      <p:sp>
        <p:nvSpPr>
          <p:cNvPr id="9" name="Light Blue"/>
          <p:cNvSpPr/>
          <p:nvPr/>
        </p:nvSpPr>
        <p:spPr bwMode="auto">
          <a:xfrm>
            <a:off x="55974" y="2438672"/>
            <a:ext cx="2915409" cy="2590529"/>
          </a:xfrm>
          <a:prstGeom prst="roundRect">
            <a:avLst>
              <a:gd name="adj" fmla="val 0"/>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p:txBody>
      </p:sp>
      <p:sp>
        <p:nvSpPr>
          <p:cNvPr id="10" name="Freeform 69"/>
          <p:cNvSpPr>
            <a:spLocks noEditPoints="1"/>
          </p:cNvSpPr>
          <p:nvPr/>
        </p:nvSpPr>
        <p:spPr bwMode="auto">
          <a:xfrm>
            <a:off x="3314373" y="1727687"/>
            <a:ext cx="331734" cy="488481"/>
          </a:xfrm>
          <a:custGeom>
            <a:avLst/>
            <a:gdLst>
              <a:gd name="T0" fmla="*/ 207 w 281"/>
              <a:gd name="T1" fmla="*/ 0 h 414"/>
              <a:gd name="T2" fmla="*/ 74 w 281"/>
              <a:gd name="T3" fmla="*/ 0 h 414"/>
              <a:gd name="T4" fmla="*/ 0 w 281"/>
              <a:gd name="T5" fmla="*/ 75 h 414"/>
              <a:gd name="T6" fmla="*/ 0 w 281"/>
              <a:gd name="T7" fmla="*/ 340 h 414"/>
              <a:gd name="T8" fmla="*/ 74 w 281"/>
              <a:gd name="T9" fmla="*/ 414 h 414"/>
              <a:gd name="T10" fmla="*/ 207 w 281"/>
              <a:gd name="T11" fmla="*/ 414 h 414"/>
              <a:gd name="T12" fmla="*/ 281 w 281"/>
              <a:gd name="T13" fmla="*/ 340 h 414"/>
              <a:gd name="T14" fmla="*/ 281 w 281"/>
              <a:gd name="T15" fmla="*/ 75 h 414"/>
              <a:gd name="T16" fmla="*/ 207 w 281"/>
              <a:gd name="T17" fmla="*/ 0 h 414"/>
              <a:gd name="T18" fmla="*/ 141 w 281"/>
              <a:gd name="T19" fmla="*/ 151 h 414"/>
              <a:gd name="T20" fmla="*/ 126 w 281"/>
              <a:gd name="T21" fmla="*/ 137 h 414"/>
              <a:gd name="T22" fmla="*/ 126 w 281"/>
              <a:gd name="T23" fmla="*/ 92 h 414"/>
              <a:gd name="T24" fmla="*/ 141 w 281"/>
              <a:gd name="T25" fmla="*/ 78 h 414"/>
              <a:gd name="T26" fmla="*/ 155 w 281"/>
              <a:gd name="T27" fmla="*/ 92 h 414"/>
              <a:gd name="T28" fmla="*/ 155 w 281"/>
              <a:gd name="T29" fmla="*/ 137 h 414"/>
              <a:gd name="T30" fmla="*/ 141 w 281"/>
              <a:gd name="T31" fmla="*/ 151 h 414"/>
              <a:gd name="T32" fmla="*/ 266 w 281"/>
              <a:gd name="T33" fmla="*/ 340 h 414"/>
              <a:gd name="T34" fmla="*/ 207 w 281"/>
              <a:gd name="T35" fmla="*/ 399 h 414"/>
              <a:gd name="T36" fmla="*/ 74 w 281"/>
              <a:gd name="T37" fmla="*/ 399 h 414"/>
              <a:gd name="T38" fmla="*/ 15 w 281"/>
              <a:gd name="T39" fmla="*/ 340 h 414"/>
              <a:gd name="T40" fmla="*/ 15 w 281"/>
              <a:gd name="T41" fmla="*/ 75 h 414"/>
              <a:gd name="T42" fmla="*/ 74 w 281"/>
              <a:gd name="T43" fmla="*/ 15 h 414"/>
              <a:gd name="T44" fmla="*/ 133 w 281"/>
              <a:gd name="T45" fmla="*/ 15 h 414"/>
              <a:gd name="T46" fmla="*/ 133 w 281"/>
              <a:gd name="T47" fmla="*/ 64 h 414"/>
              <a:gd name="T48" fmla="*/ 111 w 281"/>
              <a:gd name="T49" fmla="*/ 92 h 414"/>
              <a:gd name="T50" fmla="*/ 111 w 281"/>
              <a:gd name="T51" fmla="*/ 137 h 414"/>
              <a:gd name="T52" fmla="*/ 133 w 281"/>
              <a:gd name="T53" fmla="*/ 165 h 414"/>
              <a:gd name="T54" fmla="*/ 133 w 281"/>
              <a:gd name="T55" fmla="*/ 208 h 414"/>
              <a:gd name="T56" fmla="*/ 148 w 281"/>
              <a:gd name="T57" fmla="*/ 208 h 414"/>
              <a:gd name="T58" fmla="*/ 148 w 281"/>
              <a:gd name="T59" fmla="*/ 165 h 414"/>
              <a:gd name="T60" fmla="*/ 170 w 281"/>
              <a:gd name="T61" fmla="*/ 137 h 414"/>
              <a:gd name="T62" fmla="*/ 170 w 281"/>
              <a:gd name="T63" fmla="*/ 92 h 414"/>
              <a:gd name="T64" fmla="*/ 148 w 281"/>
              <a:gd name="T65" fmla="*/ 64 h 414"/>
              <a:gd name="T66" fmla="*/ 148 w 281"/>
              <a:gd name="T67" fmla="*/ 15 h 414"/>
              <a:gd name="T68" fmla="*/ 207 w 281"/>
              <a:gd name="T69" fmla="*/ 15 h 414"/>
              <a:gd name="T70" fmla="*/ 266 w 281"/>
              <a:gd name="T71" fmla="*/ 75 h 414"/>
              <a:gd name="T72" fmla="*/ 266 w 281"/>
              <a:gd name="T73" fmla="*/ 340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1" h="414">
                <a:moveTo>
                  <a:pt x="207" y="0"/>
                </a:moveTo>
                <a:cubicBezTo>
                  <a:pt x="74" y="0"/>
                  <a:pt x="74" y="0"/>
                  <a:pt x="74" y="0"/>
                </a:cubicBezTo>
                <a:cubicBezTo>
                  <a:pt x="34" y="0"/>
                  <a:pt x="0" y="34"/>
                  <a:pt x="0" y="75"/>
                </a:cubicBezTo>
                <a:cubicBezTo>
                  <a:pt x="0" y="340"/>
                  <a:pt x="0" y="340"/>
                  <a:pt x="0" y="340"/>
                </a:cubicBezTo>
                <a:cubicBezTo>
                  <a:pt x="0" y="381"/>
                  <a:pt x="34" y="414"/>
                  <a:pt x="74" y="414"/>
                </a:cubicBezTo>
                <a:cubicBezTo>
                  <a:pt x="207" y="414"/>
                  <a:pt x="207" y="414"/>
                  <a:pt x="207" y="414"/>
                </a:cubicBezTo>
                <a:cubicBezTo>
                  <a:pt x="248" y="414"/>
                  <a:pt x="281" y="381"/>
                  <a:pt x="281" y="340"/>
                </a:cubicBezTo>
                <a:cubicBezTo>
                  <a:pt x="281" y="75"/>
                  <a:pt x="281" y="75"/>
                  <a:pt x="281" y="75"/>
                </a:cubicBezTo>
                <a:cubicBezTo>
                  <a:pt x="281" y="34"/>
                  <a:pt x="248" y="0"/>
                  <a:pt x="207" y="0"/>
                </a:cubicBezTo>
                <a:close/>
                <a:moveTo>
                  <a:pt x="141" y="151"/>
                </a:moveTo>
                <a:cubicBezTo>
                  <a:pt x="133" y="151"/>
                  <a:pt x="126" y="145"/>
                  <a:pt x="126" y="137"/>
                </a:cubicBezTo>
                <a:cubicBezTo>
                  <a:pt x="126" y="92"/>
                  <a:pt x="126" y="92"/>
                  <a:pt x="126" y="92"/>
                </a:cubicBezTo>
                <a:cubicBezTo>
                  <a:pt x="126" y="84"/>
                  <a:pt x="133" y="78"/>
                  <a:pt x="141" y="78"/>
                </a:cubicBezTo>
                <a:cubicBezTo>
                  <a:pt x="149" y="78"/>
                  <a:pt x="155" y="84"/>
                  <a:pt x="155" y="92"/>
                </a:cubicBezTo>
                <a:cubicBezTo>
                  <a:pt x="155" y="137"/>
                  <a:pt x="155" y="137"/>
                  <a:pt x="155" y="137"/>
                </a:cubicBezTo>
                <a:cubicBezTo>
                  <a:pt x="155" y="145"/>
                  <a:pt x="149" y="151"/>
                  <a:pt x="141" y="151"/>
                </a:cubicBezTo>
                <a:close/>
                <a:moveTo>
                  <a:pt x="266" y="340"/>
                </a:moveTo>
                <a:cubicBezTo>
                  <a:pt x="266" y="373"/>
                  <a:pt x="239" y="399"/>
                  <a:pt x="207" y="399"/>
                </a:cubicBezTo>
                <a:cubicBezTo>
                  <a:pt x="74" y="399"/>
                  <a:pt x="74" y="399"/>
                  <a:pt x="74" y="399"/>
                </a:cubicBezTo>
                <a:cubicBezTo>
                  <a:pt x="42" y="399"/>
                  <a:pt x="15" y="373"/>
                  <a:pt x="15" y="340"/>
                </a:cubicBezTo>
                <a:cubicBezTo>
                  <a:pt x="15" y="75"/>
                  <a:pt x="15" y="75"/>
                  <a:pt x="15" y="75"/>
                </a:cubicBezTo>
                <a:cubicBezTo>
                  <a:pt x="15" y="42"/>
                  <a:pt x="42" y="15"/>
                  <a:pt x="74" y="15"/>
                </a:cubicBezTo>
                <a:cubicBezTo>
                  <a:pt x="133" y="15"/>
                  <a:pt x="133" y="15"/>
                  <a:pt x="133" y="15"/>
                </a:cubicBezTo>
                <a:cubicBezTo>
                  <a:pt x="133" y="64"/>
                  <a:pt x="133" y="64"/>
                  <a:pt x="133" y="64"/>
                </a:cubicBezTo>
                <a:cubicBezTo>
                  <a:pt x="121" y="68"/>
                  <a:pt x="111" y="79"/>
                  <a:pt x="111" y="92"/>
                </a:cubicBezTo>
                <a:cubicBezTo>
                  <a:pt x="111" y="137"/>
                  <a:pt x="111" y="137"/>
                  <a:pt x="111" y="137"/>
                </a:cubicBezTo>
                <a:cubicBezTo>
                  <a:pt x="111" y="150"/>
                  <a:pt x="121" y="162"/>
                  <a:pt x="133" y="165"/>
                </a:cubicBezTo>
                <a:cubicBezTo>
                  <a:pt x="133" y="208"/>
                  <a:pt x="133" y="208"/>
                  <a:pt x="133" y="208"/>
                </a:cubicBezTo>
                <a:cubicBezTo>
                  <a:pt x="148" y="208"/>
                  <a:pt x="148" y="208"/>
                  <a:pt x="148" y="208"/>
                </a:cubicBezTo>
                <a:cubicBezTo>
                  <a:pt x="148" y="165"/>
                  <a:pt x="148" y="165"/>
                  <a:pt x="148" y="165"/>
                </a:cubicBezTo>
                <a:cubicBezTo>
                  <a:pt x="160" y="162"/>
                  <a:pt x="170" y="150"/>
                  <a:pt x="170" y="137"/>
                </a:cubicBezTo>
                <a:cubicBezTo>
                  <a:pt x="170" y="92"/>
                  <a:pt x="170" y="92"/>
                  <a:pt x="170" y="92"/>
                </a:cubicBezTo>
                <a:cubicBezTo>
                  <a:pt x="170" y="79"/>
                  <a:pt x="160" y="68"/>
                  <a:pt x="148" y="64"/>
                </a:cubicBezTo>
                <a:cubicBezTo>
                  <a:pt x="148" y="15"/>
                  <a:pt x="148" y="15"/>
                  <a:pt x="148" y="15"/>
                </a:cubicBezTo>
                <a:cubicBezTo>
                  <a:pt x="207" y="15"/>
                  <a:pt x="207" y="15"/>
                  <a:pt x="207" y="15"/>
                </a:cubicBezTo>
                <a:cubicBezTo>
                  <a:pt x="239" y="15"/>
                  <a:pt x="266" y="42"/>
                  <a:pt x="266" y="75"/>
                </a:cubicBezTo>
                <a:lnTo>
                  <a:pt x="266" y="340"/>
                </a:ln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11" name="TextBox 10"/>
          <p:cNvSpPr txBox="1"/>
          <p:nvPr/>
        </p:nvSpPr>
        <p:spPr>
          <a:xfrm>
            <a:off x="3771691" y="1676138"/>
            <a:ext cx="1886441" cy="637097"/>
          </a:xfrm>
          <a:prstGeom prst="rect">
            <a:avLst/>
          </a:prstGeom>
          <a:noFill/>
        </p:spPr>
        <p:txBody>
          <a:bodyPr wrap="square" lIns="68586" tIns="68586" rIns="68586" bIns="68586" rtlCol="0">
            <a:spAutoFit/>
          </a:bodyPr>
          <a:lstStyle/>
          <a:p>
            <a:pPr>
              <a:lnSpc>
                <a:spcPct val="90000"/>
              </a:lnSpc>
              <a:spcBef>
                <a:spcPct val="20000"/>
              </a:spcBef>
              <a:buSzPct val="90000"/>
            </a:pPr>
            <a:r>
              <a:rPr lang="en-US" sz="1800" dirty="0">
                <a:solidFill>
                  <a:schemeClr val="tx1">
                    <a:alpha val="99000"/>
                  </a:schemeClr>
                </a:solidFill>
              </a:rPr>
              <a:t>Public Facing Website</a:t>
            </a:r>
            <a:endParaRPr lang="en-US" sz="2400" dirty="0">
              <a:solidFill>
                <a:schemeClr val="tx1">
                  <a:alpha val="99000"/>
                </a:schemeClr>
              </a:solidFill>
            </a:endParaRPr>
          </a:p>
        </p:txBody>
      </p:sp>
      <p:sp>
        <p:nvSpPr>
          <p:cNvPr id="12" name="Green"/>
          <p:cNvSpPr/>
          <p:nvPr/>
        </p:nvSpPr>
        <p:spPr bwMode="auto">
          <a:xfrm>
            <a:off x="3136643" y="2438671"/>
            <a:ext cx="2915409" cy="2590529"/>
          </a:xfrm>
          <a:prstGeom prst="roundRect">
            <a:avLst>
              <a:gd name="adj" fmla="val 0"/>
            </a:avLst>
          </a:prstGeom>
          <a:solidFill>
            <a:schemeClr val="accent6"/>
          </a:soli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p:txBody>
      </p:sp>
      <p:sp>
        <p:nvSpPr>
          <p:cNvPr id="13" name="Freeform 81"/>
          <p:cNvSpPr>
            <a:spLocks noEditPoints="1"/>
          </p:cNvSpPr>
          <p:nvPr/>
        </p:nvSpPr>
        <p:spPr bwMode="auto">
          <a:xfrm>
            <a:off x="6401276" y="1828862"/>
            <a:ext cx="330234" cy="331648"/>
          </a:xfrm>
          <a:custGeom>
            <a:avLst/>
            <a:gdLst>
              <a:gd name="T0" fmla="*/ 239 w 280"/>
              <a:gd name="T1" fmla="*/ 66 h 281"/>
              <a:gd name="T2" fmla="*/ 214 w 280"/>
              <a:gd name="T3" fmla="*/ 66 h 281"/>
              <a:gd name="T4" fmla="*/ 214 w 280"/>
              <a:gd name="T5" fmla="*/ 8 h 281"/>
              <a:gd name="T6" fmla="*/ 207 w 280"/>
              <a:gd name="T7" fmla="*/ 0 h 281"/>
              <a:gd name="T8" fmla="*/ 8 w 280"/>
              <a:gd name="T9" fmla="*/ 0 h 281"/>
              <a:gd name="T10" fmla="*/ 0 w 280"/>
              <a:gd name="T11" fmla="*/ 8 h 281"/>
              <a:gd name="T12" fmla="*/ 0 w 280"/>
              <a:gd name="T13" fmla="*/ 207 h 281"/>
              <a:gd name="T14" fmla="*/ 74 w 280"/>
              <a:gd name="T15" fmla="*/ 281 h 281"/>
              <a:gd name="T16" fmla="*/ 141 w 280"/>
              <a:gd name="T17" fmla="*/ 281 h 281"/>
              <a:gd name="T18" fmla="*/ 214 w 280"/>
              <a:gd name="T19" fmla="*/ 214 h 281"/>
              <a:gd name="T20" fmla="*/ 239 w 280"/>
              <a:gd name="T21" fmla="*/ 214 h 281"/>
              <a:gd name="T22" fmla="*/ 280 w 280"/>
              <a:gd name="T23" fmla="*/ 140 h 281"/>
              <a:gd name="T24" fmla="*/ 239 w 280"/>
              <a:gd name="T25" fmla="*/ 66 h 281"/>
              <a:gd name="T26" fmla="*/ 200 w 280"/>
              <a:gd name="T27" fmla="*/ 15 h 281"/>
              <a:gd name="T28" fmla="*/ 200 w 280"/>
              <a:gd name="T29" fmla="*/ 49 h 281"/>
              <a:gd name="T30" fmla="*/ 15 w 280"/>
              <a:gd name="T31" fmla="*/ 49 h 281"/>
              <a:gd name="T32" fmla="*/ 15 w 280"/>
              <a:gd name="T33" fmla="*/ 15 h 281"/>
              <a:gd name="T34" fmla="*/ 200 w 280"/>
              <a:gd name="T35" fmla="*/ 15 h 281"/>
              <a:gd name="T36" fmla="*/ 239 w 280"/>
              <a:gd name="T37" fmla="*/ 199 h 281"/>
              <a:gd name="T38" fmla="*/ 214 w 280"/>
              <a:gd name="T39" fmla="*/ 199 h 281"/>
              <a:gd name="T40" fmla="*/ 214 w 280"/>
              <a:gd name="T41" fmla="*/ 81 h 281"/>
              <a:gd name="T42" fmla="*/ 239 w 280"/>
              <a:gd name="T43" fmla="*/ 81 h 281"/>
              <a:gd name="T44" fmla="*/ 265 w 280"/>
              <a:gd name="T45" fmla="*/ 140 h 281"/>
              <a:gd name="T46" fmla="*/ 239 w 280"/>
              <a:gd name="T47" fmla="*/ 199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0" h="281">
                <a:moveTo>
                  <a:pt x="239" y="66"/>
                </a:moveTo>
                <a:cubicBezTo>
                  <a:pt x="214" y="66"/>
                  <a:pt x="214" y="66"/>
                  <a:pt x="214" y="66"/>
                </a:cubicBezTo>
                <a:cubicBezTo>
                  <a:pt x="214" y="8"/>
                  <a:pt x="214" y="8"/>
                  <a:pt x="214" y="8"/>
                </a:cubicBezTo>
                <a:cubicBezTo>
                  <a:pt x="214" y="4"/>
                  <a:pt x="211" y="0"/>
                  <a:pt x="207" y="0"/>
                </a:cubicBezTo>
                <a:cubicBezTo>
                  <a:pt x="8" y="0"/>
                  <a:pt x="8" y="0"/>
                  <a:pt x="8" y="0"/>
                </a:cubicBezTo>
                <a:cubicBezTo>
                  <a:pt x="4" y="0"/>
                  <a:pt x="0" y="4"/>
                  <a:pt x="0" y="8"/>
                </a:cubicBezTo>
                <a:cubicBezTo>
                  <a:pt x="0" y="207"/>
                  <a:pt x="0" y="207"/>
                  <a:pt x="0" y="207"/>
                </a:cubicBezTo>
                <a:cubicBezTo>
                  <a:pt x="0" y="248"/>
                  <a:pt x="33" y="281"/>
                  <a:pt x="74" y="281"/>
                </a:cubicBezTo>
                <a:cubicBezTo>
                  <a:pt x="141" y="281"/>
                  <a:pt x="141" y="281"/>
                  <a:pt x="141" y="281"/>
                </a:cubicBezTo>
                <a:cubicBezTo>
                  <a:pt x="179" y="281"/>
                  <a:pt x="211" y="251"/>
                  <a:pt x="214" y="214"/>
                </a:cubicBezTo>
                <a:cubicBezTo>
                  <a:pt x="239" y="214"/>
                  <a:pt x="239" y="214"/>
                  <a:pt x="239" y="214"/>
                </a:cubicBezTo>
                <a:cubicBezTo>
                  <a:pt x="262" y="214"/>
                  <a:pt x="280" y="181"/>
                  <a:pt x="280" y="140"/>
                </a:cubicBezTo>
                <a:cubicBezTo>
                  <a:pt x="280" y="98"/>
                  <a:pt x="262" y="66"/>
                  <a:pt x="239" y="66"/>
                </a:cubicBezTo>
                <a:close/>
                <a:moveTo>
                  <a:pt x="200" y="15"/>
                </a:moveTo>
                <a:cubicBezTo>
                  <a:pt x="200" y="49"/>
                  <a:pt x="200" y="49"/>
                  <a:pt x="200" y="49"/>
                </a:cubicBezTo>
                <a:cubicBezTo>
                  <a:pt x="15" y="49"/>
                  <a:pt x="15" y="49"/>
                  <a:pt x="15" y="49"/>
                </a:cubicBezTo>
                <a:cubicBezTo>
                  <a:pt x="15" y="15"/>
                  <a:pt x="15" y="15"/>
                  <a:pt x="15" y="15"/>
                </a:cubicBezTo>
                <a:lnTo>
                  <a:pt x="200" y="15"/>
                </a:lnTo>
                <a:close/>
                <a:moveTo>
                  <a:pt x="239" y="199"/>
                </a:moveTo>
                <a:cubicBezTo>
                  <a:pt x="214" y="199"/>
                  <a:pt x="214" y="199"/>
                  <a:pt x="214" y="199"/>
                </a:cubicBezTo>
                <a:cubicBezTo>
                  <a:pt x="214" y="81"/>
                  <a:pt x="214" y="81"/>
                  <a:pt x="214" y="81"/>
                </a:cubicBezTo>
                <a:cubicBezTo>
                  <a:pt x="239" y="81"/>
                  <a:pt x="239" y="81"/>
                  <a:pt x="239" y="81"/>
                </a:cubicBezTo>
                <a:cubicBezTo>
                  <a:pt x="251" y="81"/>
                  <a:pt x="265" y="106"/>
                  <a:pt x="265" y="140"/>
                </a:cubicBezTo>
                <a:cubicBezTo>
                  <a:pt x="265" y="174"/>
                  <a:pt x="251" y="199"/>
                  <a:pt x="239" y="199"/>
                </a:cubicBez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14" name="TextBox 13"/>
          <p:cNvSpPr txBox="1"/>
          <p:nvPr/>
        </p:nvSpPr>
        <p:spPr>
          <a:xfrm>
            <a:off x="6972926" y="1676138"/>
            <a:ext cx="1886441" cy="637097"/>
          </a:xfrm>
          <a:prstGeom prst="rect">
            <a:avLst/>
          </a:prstGeom>
          <a:noFill/>
        </p:spPr>
        <p:txBody>
          <a:bodyPr wrap="square" lIns="68586" tIns="68586" rIns="68586" bIns="68586" rtlCol="0">
            <a:spAutoFit/>
          </a:bodyPr>
          <a:lstStyle/>
          <a:p>
            <a:pPr>
              <a:lnSpc>
                <a:spcPct val="90000"/>
              </a:lnSpc>
              <a:spcBef>
                <a:spcPct val="20000"/>
              </a:spcBef>
              <a:buSzPct val="90000"/>
            </a:pPr>
            <a:r>
              <a:rPr lang="en-US" sz="1800" dirty="0">
                <a:solidFill>
                  <a:schemeClr val="tx1">
                    <a:alpha val="99000"/>
                  </a:schemeClr>
                </a:solidFill>
              </a:rPr>
              <a:t>Intranet LOB Application</a:t>
            </a:r>
            <a:endParaRPr lang="en-US" sz="2400" dirty="0">
              <a:solidFill>
                <a:schemeClr val="tx1">
                  <a:alpha val="99000"/>
                </a:schemeClr>
              </a:solidFill>
            </a:endParaRPr>
          </a:p>
        </p:txBody>
      </p:sp>
      <p:sp>
        <p:nvSpPr>
          <p:cNvPr id="15" name="Dark Gray"/>
          <p:cNvSpPr/>
          <p:nvPr/>
        </p:nvSpPr>
        <p:spPr bwMode="auto">
          <a:xfrm>
            <a:off x="6172617" y="2395980"/>
            <a:ext cx="2915409" cy="2633219"/>
          </a:xfrm>
          <a:prstGeom prst="roundRect">
            <a:avLst>
              <a:gd name="adj" fmla="val 0"/>
            </a:avLst>
          </a:prstGeom>
          <a:solidFill>
            <a:schemeClr val="bg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p:txBody>
      </p:sp>
      <p:sp>
        <p:nvSpPr>
          <p:cNvPr id="16" name="TextBox 15"/>
          <p:cNvSpPr txBox="1"/>
          <p:nvPr/>
        </p:nvSpPr>
        <p:spPr>
          <a:xfrm>
            <a:off x="466121" y="2518879"/>
            <a:ext cx="2390932" cy="553998"/>
          </a:xfrm>
          <a:prstGeom prst="rect">
            <a:avLst/>
          </a:prstGeom>
          <a:noFill/>
        </p:spPr>
        <p:txBody>
          <a:bodyPr wrap="square" lIns="68586" tIns="68586" rIns="68586" bIns="68586" rtlCol="0">
            <a:spAutoFit/>
          </a:bodyPr>
          <a:lstStyle/>
          <a:p>
            <a:pPr>
              <a:lnSpc>
                <a:spcPct val="90000"/>
              </a:lnSpc>
              <a:spcBef>
                <a:spcPct val="20000"/>
              </a:spcBef>
              <a:buSzPct val="90000"/>
            </a:pPr>
            <a:r>
              <a:rPr lang="en-US" sz="1500" dirty="0">
                <a:solidFill>
                  <a:schemeClr val="tx1">
                    <a:alpha val="99000"/>
                  </a:schemeClr>
                </a:solidFill>
              </a:rPr>
              <a:t>No data privacy or compliance Issues</a:t>
            </a:r>
          </a:p>
        </p:txBody>
      </p:sp>
      <p:sp>
        <p:nvSpPr>
          <p:cNvPr id="17" name="Freeform 88"/>
          <p:cNvSpPr>
            <a:spLocks noEditPoints="1"/>
          </p:cNvSpPr>
          <p:nvPr/>
        </p:nvSpPr>
        <p:spPr bwMode="auto">
          <a:xfrm>
            <a:off x="123132" y="2590658"/>
            <a:ext cx="244304" cy="244241"/>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18" name="TextBox 17"/>
          <p:cNvSpPr txBox="1"/>
          <p:nvPr/>
        </p:nvSpPr>
        <p:spPr>
          <a:xfrm>
            <a:off x="456128" y="3257552"/>
            <a:ext cx="2390932" cy="761747"/>
          </a:xfrm>
          <a:prstGeom prst="rect">
            <a:avLst/>
          </a:prstGeom>
          <a:noFill/>
        </p:spPr>
        <p:txBody>
          <a:bodyPr wrap="square" lIns="68586" tIns="68586" rIns="68586" bIns="68586" rtlCol="0">
            <a:spAutoFit/>
          </a:bodyPr>
          <a:lstStyle/>
          <a:p>
            <a:pPr>
              <a:lnSpc>
                <a:spcPct val="90000"/>
              </a:lnSpc>
              <a:spcBef>
                <a:spcPct val="20000"/>
              </a:spcBef>
              <a:buSzPct val="90000"/>
            </a:pPr>
            <a:r>
              <a:rPr lang="en-US" sz="1500" dirty="0">
                <a:solidFill>
                  <a:schemeClr val="tx1">
                    <a:alpha val="99000"/>
                  </a:schemeClr>
                </a:solidFill>
              </a:rPr>
              <a:t>Depends on specialized Windows Server Infra. (ex. DTC, AD)</a:t>
            </a:r>
          </a:p>
        </p:txBody>
      </p:sp>
      <p:sp>
        <p:nvSpPr>
          <p:cNvPr id="19" name="Freeform 88"/>
          <p:cNvSpPr>
            <a:spLocks noEditPoints="1"/>
          </p:cNvSpPr>
          <p:nvPr/>
        </p:nvSpPr>
        <p:spPr bwMode="auto">
          <a:xfrm>
            <a:off x="113139" y="3329330"/>
            <a:ext cx="244304" cy="244241"/>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20" name="TextBox 19"/>
          <p:cNvSpPr txBox="1"/>
          <p:nvPr/>
        </p:nvSpPr>
        <p:spPr>
          <a:xfrm>
            <a:off x="456128" y="4171950"/>
            <a:ext cx="2390932" cy="553998"/>
          </a:xfrm>
          <a:prstGeom prst="rect">
            <a:avLst/>
          </a:prstGeom>
          <a:noFill/>
        </p:spPr>
        <p:txBody>
          <a:bodyPr wrap="square" lIns="68586" tIns="68586" rIns="68586" bIns="68586" rtlCol="0">
            <a:spAutoFit/>
          </a:bodyPr>
          <a:lstStyle/>
          <a:p>
            <a:pPr>
              <a:lnSpc>
                <a:spcPct val="90000"/>
              </a:lnSpc>
              <a:spcBef>
                <a:spcPct val="20000"/>
              </a:spcBef>
              <a:buSzPct val="90000"/>
            </a:pPr>
            <a:r>
              <a:rPr lang="en-US" sz="1500" dirty="0">
                <a:solidFill>
                  <a:schemeClr val="tx1">
                    <a:alpha val="99000"/>
                  </a:schemeClr>
                </a:solidFill>
              </a:rPr>
              <a:t>Usage patterns map well to the cloud</a:t>
            </a:r>
          </a:p>
        </p:txBody>
      </p:sp>
      <p:sp>
        <p:nvSpPr>
          <p:cNvPr id="21" name="Freeform 88"/>
          <p:cNvSpPr>
            <a:spLocks noEditPoints="1"/>
          </p:cNvSpPr>
          <p:nvPr/>
        </p:nvSpPr>
        <p:spPr bwMode="auto">
          <a:xfrm>
            <a:off x="113139" y="4243730"/>
            <a:ext cx="244304" cy="244241"/>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pic>
        <p:nvPicPr>
          <p:cNvPr id="22" name="Picture 2" descr="C:\Users\tofuller.NORTHAMERICA\Desktop\msdn_new_logo.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979" y="1712474"/>
            <a:ext cx="764900" cy="573526"/>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p:cNvSpPr txBox="1"/>
          <p:nvPr/>
        </p:nvSpPr>
        <p:spPr>
          <a:xfrm>
            <a:off x="3610190" y="2532102"/>
            <a:ext cx="2390932" cy="553998"/>
          </a:xfrm>
          <a:prstGeom prst="rect">
            <a:avLst/>
          </a:prstGeom>
          <a:noFill/>
        </p:spPr>
        <p:txBody>
          <a:bodyPr wrap="square" lIns="68586" tIns="68586" rIns="68586" bIns="68586" rtlCol="0">
            <a:spAutoFit/>
          </a:bodyPr>
          <a:lstStyle/>
          <a:p>
            <a:pPr>
              <a:lnSpc>
                <a:spcPct val="90000"/>
              </a:lnSpc>
              <a:spcBef>
                <a:spcPct val="20000"/>
              </a:spcBef>
              <a:buSzPct val="90000"/>
            </a:pPr>
            <a:r>
              <a:rPr lang="en-US" sz="1500" dirty="0">
                <a:solidFill>
                  <a:schemeClr val="tx1">
                    <a:alpha val="99000"/>
                  </a:schemeClr>
                </a:solidFill>
              </a:rPr>
              <a:t>High data storage requirements</a:t>
            </a:r>
          </a:p>
        </p:txBody>
      </p:sp>
      <p:sp>
        <p:nvSpPr>
          <p:cNvPr id="24" name="Freeform 88"/>
          <p:cNvSpPr>
            <a:spLocks noEditPoints="1"/>
          </p:cNvSpPr>
          <p:nvPr/>
        </p:nvSpPr>
        <p:spPr bwMode="auto">
          <a:xfrm>
            <a:off x="3267201" y="2603880"/>
            <a:ext cx="244304" cy="244241"/>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25" name="TextBox 24"/>
          <p:cNvSpPr txBox="1"/>
          <p:nvPr/>
        </p:nvSpPr>
        <p:spPr>
          <a:xfrm>
            <a:off x="3610190" y="3082752"/>
            <a:ext cx="2390932" cy="346249"/>
          </a:xfrm>
          <a:prstGeom prst="rect">
            <a:avLst/>
          </a:prstGeom>
          <a:noFill/>
        </p:spPr>
        <p:txBody>
          <a:bodyPr wrap="square" lIns="68586" tIns="68586" rIns="68586" bIns="68586" rtlCol="0">
            <a:spAutoFit/>
          </a:bodyPr>
          <a:lstStyle/>
          <a:p>
            <a:pPr>
              <a:lnSpc>
                <a:spcPct val="90000"/>
              </a:lnSpc>
              <a:spcBef>
                <a:spcPct val="20000"/>
              </a:spcBef>
              <a:buSzPct val="90000"/>
            </a:pPr>
            <a:r>
              <a:rPr lang="en-US" sz="1500" dirty="0">
                <a:solidFill>
                  <a:schemeClr val="tx1">
                    <a:alpha val="99000"/>
                  </a:schemeClr>
                </a:solidFill>
              </a:rPr>
              <a:t>No complex dependencies</a:t>
            </a:r>
          </a:p>
        </p:txBody>
      </p:sp>
      <p:sp>
        <p:nvSpPr>
          <p:cNvPr id="26" name="Freeform 88"/>
          <p:cNvSpPr>
            <a:spLocks noEditPoints="1"/>
          </p:cNvSpPr>
          <p:nvPr/>
        </p:nvSpPr>
        <p:spPr bwMode="auto">
          <a:xfrm>
            <a:off x="3267201" y="3086101"/>
            <a:ext cx="244304" cy="244241"/>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27" name="TextBox 26"/>
          <p:cNvSpPr txBox="1"/>
          <p:nvPr/>
        </p:nvSpPr>
        <p:spPr>
          <a:xfrm>
            <a:off x="3600198" y="3539953"/>
            <a:ext cx="2390932" cy="346249"/>
          </a:xfrm>
          <a:prstGeom prst="rect">
            <a:avLst/>
          </a:prstGeom>
          <a:noFill/>
        </p:spPr>
        <p:txBody>
          <a:bodyPr wrap="square" lIns="68586" tIns="68586" rIns="68586" bIns="68586" rtlCol="0">
            <a:spAutoFit/>
          </a:bodyPr>
          <a:lstStyle/>
          <a:p>
            <a:pPr>
              <a:lnSpc>
                <a:spcPct val="90000"/>
              </a:lnSpc>
              <a:spcBef>
                <a:spcPct val="20000"/>
              </a:spcBef>
              <a:buSzPct val="90000"/>
            </a:pPr>
            <a:r>
              <a:rPr lang="en-US" sz="1500" dirty="0">
                <a:solidFill>
                  <a:schemeClr val="tx1">
                    <a:alpha val="99000"/>
                  </a:schemeClr>
                </a:solidFill>
              </a:rPr>
              <a:t>Stateless design for UI Tier</a:t>
            </a:r>
          </a:p>
        </p:txBody>
      </p:sp>
      <p:sp>
        <p:nvSpPr>
          <p:cNvPr id="28" name="Freeform 88"/>
          <p:cNvSpPr>
            <a:spLocks noEditPoints="1"/>
          </p:cNvSpPr>
          <p:nvPr/>
        </p:nvSpPr>
        <p:spPr bwMode="auto">
          <a:xfrm>
            <a:off x="3257207" y="3600451"/>
            <a:ext cx="244304" cy="244241"/>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29" name="TextBox 28"/>
          <p:cNvSpPr txBox="1"/>
          <p:nvPr/>
        </p:nvSpPr>
        <p:spPr>
          <a:xfrm>
            <a:off x="3610190" y="3943350"/>
            <a:ext cx="2390932" cy="553998"/>
          </a:xfrm>
          <a:prstGeom prst="rect">
            <a:avLst/>
          </a:prstGeom>
          <a:noFill/>
        </p:spPr>
        <p:txBody>
          <a:bodyPr wrap="square" lIns="68586" tIns="68586" rIns="68586" bIns="68586" rtlCol="0">
            <a:spAutoFit/>
          </a:bodyPr>
          <a:lstStyle/>
          <a:p>
            <a:pPr>
              <a:lnSpc>
                <a:spcPct val="90000"/>
              </a:lnSpc>
              <a:spcBef>
                <a:spcPct val="20000"/>
              </a:spcBef>
              <a:buSzPct val="90000"/>
            </a:pPr>
            <a:r>
              <a:rPr lang="en-US" sz="1500" dirty="0">
                <a:solidFill>
                  <a:schemeClr val="tx1">
                    <a:alpha val="99000"/>
                  </a:schemeClr>
                </a:solidFill>
              </a:rPr>
              <a:t>High scale and elasticity demands</a:t>
            </a:r>
          </a:p>
        </p:txBody>
      </p:sp>
      <p:sp>
        <p:nvSpPr>
          <p:cNvPr id="30" name="Freeform 88"/>
          <p:cNvSpPr>
            <a:spLocks noEditPoints="1"/>
          </p:cNvSpPr>
          <p:nvPr/>
        </p:nvSpPr>
        <p:spPr bwMode="auto">
          <a:xfrm>
            <a:off x="3267201" y="4057651"/>
            <a:ext cx="244304" cy="244241"/>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31" name="TextBox 30"/>
          <p:cNvSpPr txBox="1"/>
          <p:nvPr/>
        </p:nvSpPr>
        <p:spPr>
          <a:xfrm>
            <a:off x="6697094" y="2514600"/>
            <a:ext cx="2390932" cy="553998"/>
          </a:xfrm>
          <a:prstGeom prst="rect">
            <a:avLst/>
          </a:prstGeom>
          <a:noFill/>
        </p:spPr>
        <p:txBody>
          <a:bodyPr wrap="square" lIns="68586" tIns="68586" rIns="68586" bIns="68586" rtlCol="0">
            <a:spAutoFit/>
          </a:bodyPr>
          <a:lstStyle/>
          <a:p>
            <a:pPr>
              <a:lnSpc>
                <a:spcPct val="90000"/>
              </a:lnSpc>
              <a:spcBef>
                <a:spcPct val="20000"/>
              </a:spcBef>
              <a:buSzPct val="90000"/>
            </a:pPr>
            <a:r>
              <a:rPr lang="en-US" sz="1500" dirty="0">
                <a:solidFill>
                  <a:schemeClr val="tx1">
                    <a:alpha val="99000"/>
                  </a:schemeClr>
                </a:solidFill>
              </a:rPr>
              <a:t>No data privacy or compliance Issues</a:t>
            </a:r>
          </a:p>
        </p:txBody>
      </p:sp>
      <p:sp>
        <p:nvSpPr>
          <p:cNvPr id="32" name="Freeform 88"/>
          <p:cNvSpPr>
            <a:spLocks noEditPoints="1"/>
          </p:cNvSpPr>
          <p:nvPr/>
        </p:nvSpPr>
        <p:spPr bwMode="auto">
          <a:xfrm>
            <a:off x="6354105" y="2586380"/>
            <a:ext cx="244304" cy="244241"/>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33" name="TextBox 32"/>
          <p:cNvSpPr txBox="1"/>
          <p:nvPr/>
        </p:nvSpPr>
        <p:spPr>
          <a:xfrm>
            <a:off x="6697094" y="3275052"/>
            <a:ext cx="2390932" cy="553998"/>
          </a:xfrm>
          <a:prstGeom prst="rect">
            <a:avLst/>
          </a:prstGeom>
          <a:noFill/>
        </p:spPr>
        <p:txBody>
          <a:bodyPr wrap="square" lIns="68586" tIns="68586" rIns="68586" bIns="68586" rtlCol="0">
            <a:spAutoFit/>
          </a:bodyPr>
          <a:lstStyle/>
          <a:p>
            <a:pPr>
              <a:lnSpc>
                <a:spcPct val="90000"/>
              </a:lnSpc>
              <a:spcBef>
                <a:spcPct val="20000"/>
              </a:spcBef>
              <a:buSzPct val="90000"/>
            </a:pPr>
            <a:r>
              <a:rPr lang="en-US" sz="1500" dirty="0">
                <a:solidFill>
                  <a:schemeClr val="tx1">
                    <a:alpha val="99000"/>
                  </a:schemeClr>
                </a:solidFill>
              </a:rPr>
              <a:t>Infra. dependencies can be automated</a:t>
            </a:r>
          </a:p>
        </p:txBody>
      </p:sp>
      <p:sp>
        <p:nvSpPr>
          <p:cNvPr id="34" name="Freeform 88"/>
          <p:cNvSpPr>
            <a:spLocks noEditPoints="1"/>
          </p:cNvSpPr>
          <p:nvPr/>
        </p:nvSpPr>
        <p:spPr bwMode="auto">
          <a:xfrm>
            <a:off x="6354105" y="3346832"/>
            <a:ext cx="244304" cy="244241"/>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35" name="TextBox 34"/>
          <p:cNvSpPr txBox="1"/>
          <p:nvPr/>
        </p:nvSpPr>
        <p:spPr>
          <a:xfrm>
            <a:off x="6720679" y="4057652"/>
            <a:ext cx="2390932" cy="761747"/>
          </a:xfrm>
          <a:prstGeom prst="rect">
            <a:avLst/>
          </a:prstGeom>
          <a:noFill/>
        </p:spPr>
        <p:txBody>
          <a:bodyPr wrap="square" lIns="68586" tIns="68586" rIns="68586" bIns="68586" rtlCol="0">
            <a:spAutoFit/>
          </a:bodyPr>
          <a:lstStyle/>
          <a:p>
            <a:pPr>
              <a:lnSpc>
                <a:spcPct val="90000"/>
              </a:lnSpc>
              <a:spcBef>
                <a:spcPct val="20000"/>
              </a:spcBef>
              <a:buSzPct val="90000"/>
            </a:pPr>
            <a:r>
              <a:rPr lang="en-US" sz="1500" dirty="0">
                <a:solidFill>
                  <a:schemeClr val="tx1">
                    <a:alpha val="99000"/>
                  </a:schemeClr>
                </a:solidFill>
              </a:rPr>
              <a:t>Trivial to move toward Statelessness and high Resiliency</a:t>
            </a:r>
          </a:p>
        </p:txBody>
      </p:sp>
      <p:sp>
        <p:nvSpPr>
          <p:cNvPr id="36" name="Freeform 88"/>
          <p:cNvSpPr>
            <a:spLocks noEditPoints="1"/>
          </p:cNvSpPr>
          <p:nvPr/>
        </p:nvSpPr>
        <p:spPr bwMode="auto">
          <a:xfrm>
            <a:off x="6377690" y="4129430"/>
            <a:ext cx="244304" cy="244241"/>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37" name="TextBox 36"/>
          <p:cNvSpPr txBox="1"/>
          <p:nvPr/>
        </p:nvSpPr>
        <p:spPr>
          <a:xfrm>
            <a:off x="3610190" y="4514851"/>
            <a:ext cx="2390932" cy="346249"/>
          </a:xfrm>
          <a:prstGeom prst="rect">
            <a:avLst/>
          </a:prstGeom>
          <a:noFill/>
        </p:spPr>
        <p:txBody>
          <a:bodyPr wrap="square" lIns="68586" tIns="68586" rIns="68586" bIns="68586" rtlCol="0">
            <a:spAutoFit/>
          </a:bodyPr>
          <a:lstStyle/>
          <a:p>
            <a:pPr>
              <a:lnSpc>
                <a:spcPct val="90000"/>
              </a:lnSpc>
              <a:spcBef>
                <a:spcPct val="20000"/>
              </a:spcBef>
              <a:buSzPct val="90000"/>
            </a:pPr>
            <a:r>
              <a:rPr lang="en-US" sz="1500" dirty="0">
                <a:solidFill>
                  <a:schemeClr val="tx1">
                    <a:alpha val="99000"/>
                  </a:schemeClr>
                </a:solidFill>
              </a:rPr>
              <a:t>Performance is key</a:t>
            </a:r>
          </a:p>
        </p:txBody>
      </p:sp>
      <p:sp>
        <p:nvSpPr>
          <p:cNvPr id="38" name="Freeform 88"/>
          <p:cNvSpPr>
            <a:spLocks noEditPoints="1"/>
          </p:cNvSpPr>
          <p:nvPr/>
        </p:nvSpPr>
        <p:spPr bwMode="auto">
          <a:xfrm>
            <a:off x="3267201" y="4575350"/>
            <a:ext cx="244304" cy="244241"/>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39"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40"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pic>
        <p:nvPicPr>
          <p:cNvPr id="41"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1801600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500" fill="hold"/>
                                        <p:tgtEl>
                                          <p:spTgt spid="8"/>
                                        </p:tgtEl>
                                        <p:attrNameLst>
                                          <p:attrName>ppt_x</p:attrName>
                                        </p:attrNameLst>
                                      </p:cBhvr>
                                      <p:tavLst>
                                        <p:tav tm="0">
                                          <p:val>
                                            <p:strVal val="#ppt_x"/>
                                          </p:val>
                                        </p:tav>
                                        <p:tav tm="100000">
                                          <p:val>
                                            <p:strVal val="#ppt_x"/>
                                          </p:val>
                                        </p:tav>
                                      </p:tavLst>
                                    </p:anim>
                                    <p:anim calcmode="lin" valueType="num">
                                      <p:cBhvr additive="base">
                                        <p:cTn id="16" dur="500" fill="hold"/>
                                        <p:tgtEl>
                                          <p:spTgt spid="8"/>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additive="base">
                                        <p:cTn id="19" dur="500" fill="hold"/>
                                        <p:tgtEl>
                                          <p:spTgt spid="9"/>
                                        </p:tgtEl>
                                        <p:attrNameLst>
                                          <p:attrName>ppt_x</p:attrName>
                                        </p:attrNameLst>
                                      </p:cBhvr>
                                      <p:tavLst>
                                        <p:tav tm="0">
                                          <p:val>
                                            <p:strVal val="#ppt_x"/>
                                          </p:val>
                                        </p:tav>
                                        <p:tav tm="100000">
                                          <p:val>
                                            <p:strVal val="#ppt_x"/>
                                          </p:val>
                                        </p:tav>
                                      </p:tavLst>
                                    </p:anim>
                                    <p:anim calcmode="lin" valueType="num">
                                      <p:cBhvr additive="base">
                                        <p:cTn id="20" dur="500" fill="hold"/>
                                        <p:tgtEl>
                                          <p:spTgt spid="9"/>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16"/>
                                        </p:tgtEl>
                                        <p:attrNameLst>
                                          <p:attrName>style.visibility</p:attrName>
                                        </p:attrNameLst>
                                      </p:cBhvr>
                                      <p:to>
                                        <p:strVal val="visible"/>
                                      </p:to>
                                    </p:set>
                                    <p:anim calcmode="lin" valueType="num">
                                      <p:cBhvr additive="base">
                                        <p:cTn id="23" dur="500" fill="hold"/>
                                        <p:tgtEl>
                                          <p:spTgt spid="16"/>
                                        </p:tgtEl>
                                        <p:attrNameLst>
                                          <p:attrName>ppt_x</p:attrName>
                                        </p:attrNameLst>
                                      </p:cBhvr>
                                      <p:tavLst>
                                        <p:tav tm="0">
                                          <p:val>
                                            <p:strVal val="#ppt_x"/>
                                          </p:val>
                                        </p:tav>
                                        <p:tav tm="100000">
                                          <p:val>
                                            <p:strVal val="#ppt_x"/>
                                          </p:val>
                                        </p:tav>
                                      </p:tavLst>
                                    </p:anim>
                                    <p:anim calcmode="lin" valueType="num">
                                      <p:cBhvr additive="base">
                                        <p:cTn id="24" dur="500" fill="hold"/>
                                        <p:tgtEl>
                                          <p:spTgt spid="16"/>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17"/>
                                        </p:tgtEl>
                                        <p:attrNameLst>
                                          <p:attrName>style.visibility</p:attrName>
                                        </p:attrNameLst>
                                      </p:cBhvr>
                                      <p:to>
                                        <p:strVal val="visible"/>
                                      </p:to>
                                    </p:set>
                                    <p:anim calcmode="lin" valueType="num">
                                      <p:cBhvr additive="base">
                                        <p:cTn id="27" dur="500" fill="hold"/>
                                        <p:tgtEl>
                                          <p:spTgt spid="17"/>
                                        </p:tgtEl>
                                        <p:attrNameLst>
                                          <p:attrName>ppt_x</p:attrName>
                                        </p:attrNameLst>
                                      </p:cBhvr>
                                      <p:tavLst>
                                        <p:tav tm="0">
                                          <p:val>
                                            <p:strVal val="#ppt_x"/>
                                          </p:val>
                                        </p:tav>
                                        <p:tav tm="100000">
                                          <p:val>
                                            <p:strVal val="#ppt_x"/>
                                          </p:val>
                                        </p:tav>
                                      </p:tavLst>
                                    </p:anim>
                                    <p:anim calcmode="lin" valueType="num">
                                      <p:cBhvr additive="base">
                                        <p:cTn id="28" dur="500" fill="hold"/>
                                        <p:tgtEl>
                                          <p:spTgt spid="17"/>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18"/>
                                        </p:tgtEl>
                                        <p:attrNameLst>
                                          <p:attrName>style.visibility</p:attrName>
                                        </p:attrNameLst>
                                      </p:cBhvr>
                                      <p:to>
                                        <p:strVal val="visible"/>
                                      </p:to>
                                    </p:set>
                                    <p:anim calcmode="lin" valueType="num">
                                      <p:cBhvr additive="base">
                                        <p:cTn id="31" dur="500" fill="hold"/>
                                        <p:tgtEl>
                                          <p:spTgt spid="18"/>
                                        </p:tgtEl>
                                        <p:attrNameLst>
                                          <p:attrName>ppt_x</p:attrName>
                                        </p:attrNameLst>
                                      </p:cBhvr>
                                      <p:tavLst>
                                        <p:tav tm="0">
                                          <p:val>
                                            <p:strVal val="#ppt_x"/>
                                          </p:val>
                                        </p:tav>
                                        <p:tav tm="100000">
                                          <p:val>
                                            <p:strVal val="#ppt_x"/>
                                          </p:val>
                                        </p:tav>
                                      </p:tavLst>
                                    </p:anim>
                                    <p:anim calcmode="lin" valueType="num">
                                      <p:cBhvr additive="base">
                                        <p:cTn id="32" dur="500" fill="hold"/>
                                        <p:tgtEl>
                                          <p:spTgt spid="18"/>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19"/>
                                        </p:tgtEl>
                                        <p:attrNameLst>
                                          <p:attrName>style.visibility</p:attrName>
                                        </p:attrNameLst>
                                      </p:cBhvr>
                                      <p:to>
                                        <p:strVal val="visible"/>
                                      </p:to>
                                    </p:set>
                                    <p:anim calcmode="lin" valueType="num">
                                      <p:cBhvr additive="base">
                                        <p:cTn id="35" dur="500" fill="hold"/>
                                        <p:tgtEl>
                                          <p:spTgt spid="19"/>
                                        </p:tgtEl>
                                        <p:attrNameLst>
                                          <p:attrName>ppt_x</p:attrName>
                                        </p:attrNameLst>
                                      </p:cBhvr>
                                      <p:tavLst>
                                        <p:tav tm="0">
                                          <p:val>
                                            <p:strVal val="#ppt_x"/>
                                          </p:val>
                                        </p:tav>
                                        <p:tav tm="100000">
                                          <p:val>
                                            <p:strVal val="#ppt_x"/>
                                          </p:val>
                                        </p:tav>
                                      </p:tavLst>
                                    </p:anim>
                                    <p:anim calcmode="lin" valueType="num">
                                      <p:cBhvr additive="base">
                                        <p:cTn id="36" dur="500" fill="hold"/>
                                        <p:tgtEl>
                                          <p:spTgt spid="19"/>
                                        </p:tgtEl>
                                        <p:attrNameLst>
                                          <p:attrName>ppt_y</p:attrName>
                                        </p:attrNameLst>
                                      </p:cBhvr>
                                      <p:tavLst>
                                        <p:tav tm="0">
                                          <p:val>
                                            <p:strVal val="1+#ppt_h/2"/>
                                          </p:val>
                                        </p:tav>
                                        <p:tav tm="100000">
                                          <p:val>
                                            <p:strVal val="#ppt_y"/>
                                          </p:val>
                                        </p:tav>
                                      </p:tavLst>
                                    </p:anim>
                                  </p:childTnLst>
                                </p:cTn>
                              </p:par>
                              <p:par>
                                <p:cTn id="37" presetID="2" presetClass="entr" presetSubtype="4" fill="hold" grpId="0" nodeType="withEffect">
                                  <p:stCondLst>
                                    <p:cond delay="0"/>
                                  </p:stCondLst>
                                  <p:childTnLst>
                                    <p:set>
                                      <p:cBhvr>
                                        <p:cTn id="38" dur="1" fill="hold">
                                          <p:stCondLst>
                                            <p:cond delay="0"/>
                                          </p:stCondLst>
                                        </p:cTn>
                                        <p:tgtEl>
                                          <p:spTgt spid="20"/>
                                        </p:tgtEl>
                                        <p:attrNameLst>
                                          <p:attrName>style.visibility</p:attrName>
                                        </p:attrNameLst>
                                      </p:cBhvr>
                                      <p:to>
                                        <p:strVal val="visible"/>
                                      </p:to>
                                    </p:set>
                                    <p:anim calcmode="lin" valueType="num">
                                      <p:cBhvr additive="base">
                                        <p:cTn id="39" dur="500" fill="hold"/>
                                        <p:tgtEl>
                                          <p:spTgt spid="20"/>
                                        </p:tgtEl>
                                        <p:attrNameLst>
                                          <p:attrName>ppt_x</p:attrName>
                                        </p:attrNameLst>
                                      </p:cBhvr>
                                      <p:tavLst>
                                        <p:tav tm="0">
                                          <p:val>
                                            <p:strVal val="#ppt_x"/>
                                          </p:val>
                                        </p:tav>
                                        <p:tav tm="100000">
                                          <p:val>
                                            <p:strVal val="#ppt_x"/>
                                          </p:val>
                                        </p:tav>
                                      </p:tavLst>
                                    </p:anim>
                                    <p:anim calcmode="lin" valueType="num">
                                      <p:cBhvr additive="base">
                                        <p:cTn id="40" dur="500" fill="hold"/>
                                        <p:tgtEl>
                                          <p:spTgt spid="20"/>
                                        </p:tgtEl>
                                        <p:attrNameLst>
                                          <p:attrName>ppt_y</p:attrName>
                                        </p:attrNameLst>
                                      </p:cBhvr>
                                      <p:tavLst>
                                        <p:tav tm="0">
                                          <p:val>
                                            <p:strVal val="1+#ppt_h/2"/>
                                          </p:val>
                                        </p:tav>
                                        <p:tav tm="100000">
                                          <p:val>
                                            <p:strVal val="#ppt_y"/>
                                          </p:val>
                                        </p:tav>
                                      </p:tavLst>
                                    </p:anim>
                                  </p:childTnLst>
                                </p:cTn>
                              </p:par>
                              <p:par>
                                <p:cTn id="41" presetID="2" presetClass="entr" presetSubtype="4" fill="hold" grpId="0" nodeType="withEffect">
                                  <p:stCondLst>
                                    <p:cond delay="0"/>
                                  </p:stCondLst>
                                  <p:childTnLst>
                                    <p:set>
                                      <p:cBhvr>
                                        <p:cTn id="42" dur="1" fill="hold">
                                          <p:stCondLst>
                                            <p:cond delay="0"/>
                                          </p:stCondLst>
                                        </p:cTn>
                                        <p:tgtEl>
                                          <p:spTgt spid="21"/>
                                        </p:tgtEl>
                                        <p:attrNameLst>
                                          <p:attrName>style.visibility</p:attrName>
                                        </p:attrNameLst>
                                      </p:cBhvr>
                                      <p:to>
                                        <p:strVal val="visible"/>
                                      </p:to>
                                    </p:set>
                                    <p:anim calcmode="lin" valueType="num">
                                      <p:cBhvr additive="base">
                                        <p:cTn id="43" dur="500" fill="hold"/>
                                        <p:tgtEl>
                                          <p:spTgt spid="21"/>
                                        </p:tgtEl>
                                        <p:attrNameLst>
                                          <p:attrName>ppt_x</p:attrName>
                                        </p:attrNameLst>
                                      </p:cBhvr>
                                      <p:tavLst>
                                        <p:tav tm="0">
                                          <p:val>
                                            <p:strVal val="#ppt_x"/>
                                          </p:val>
                                        </p:tav>
                                        <p:tav tm="100000">
                                          <p:val>
                                            <p:strVal val="#ppt_x"/>
                                          </p:val>
                                        </p:tav>
                                      </p:tavLst>
                                    </p:anim>
                                    <p:anim calcmode="lin" valueType="num">
                                      <p:cBhvr additive="base">
                                        <p:cTn id="44"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grpId="0" nodeType="clickEffect">
                                  <p:stCondLst>
                                    <p:cond delay="0"/>
                                  </p:stCondLst>
                                  <p:childTnLst>
                                    <p:set>
                                      <p:cBhvr>
                                        <p:cTn id="48" dur="1" fill="hold">
                                          <p:stCondLst>
                                            <p:cond delay="0"/>
                                          </p:stCondLst>
                                        </p:cTn>
                                        <p:tgtEl>
                                          <p:spTgt spid="5"/>
                                        </p:tgtEl>
                                        <p:attrNameLst>
                                          <p:attrName>style.visibility</p:attrName>
                                        </p:attrNameLst>
                                      </p:cBhvr>
                                      <p:to>
                                        <p:strVal val="visible"/>
                                      </p:to>
                                    </p:set>
                                    <p:anim calcmode="lin" valueType="num">
                                      <p:cBhvr additive="base">
                                        <p:cTn id="49" dur="500" fill="hold"/>
                                        <p:tgtEl>
                                          <p:spTgt spid="5"/>
                                        </p:tgtEl>
                                        <p:attrNameLst>
                                          <p:attrName>ppt_x</p:attrName>
                                        </p:attrNameLst>
                                      </p:cBhvr>
                                      <p:tavLst>
                                        <p:tav tm="0">
                                          <p:val>
                                            <p:strVal val="#ppt_x"/>
                                          </p:val>
                                        </p:tav>
                                        <p:tav tm="100000">
                                          <p:val>
                                            <p:strVal val="#ppt_x"/>
                                          </p:val>
                                        </p:tav>
                                      </p:tavLst>
                                    </p:anim>
                                    <p:anim calcmode="lin" valueType="num">
                                      <p:cBhvr additive="base">
                                        <p:cTn id="50" dur="500" fill="hold"/>
                                        <p:tgtEl>
                                          <p:spTgt spid="5"/>
                                        </p:tgtEl>
                                        <p:attrNameLst>
                                          <p:attrName>ppt_y</p:attrName>
                                        </p:attrNameLst>
                                      </p:cBhvr>
                                      <p:tavLst>
                                        <p:tav tm="0">
                                          <p:val>
                                            <p:strVal val="1+#ppt_h/2"/>
                                          </p:val>
                                        </p:tav>
                                        <p:tav tm="100000">
                                          <p:val>
                                            <p:strVal val="#ppt_y"/>
                                          </p:val>
                                        </p:tav>
                                      </p:tavLst>
                                    </p:anim>
                                  </p:childTnLst>
                                </p:cTn>
                              </p:par>
                              <p:par>
                                <p:cTn id="51" presetID="2" presetClass="entr" presetSubtype="4" fill="hold" grpId="0" nodeType="withEffect">
                                  <p:stCondLst>
                                    <p:cond delay="0"/>
                                  </p:stCondLst>
                                  <p:childTnLst>
                                    <p:set>
                                      <p:cBhvr>
                                        <p:cTn id="52" dur="1" fill="hold">
                                          <p:stCondLst>
                                            <p:cond delay="0"/>
                                          </p:stCondLst>
                                        </p:cTn>
                                        <p:tgtEl>
                                          <p:spTgt spid="10"/>
                                        </p:tgtEl>
                                        <p:attrNameLst>
                                          <p:attrName>style.visibility</p:attrName>
                                        </p:attrNameLst>
                                      </p:cBhvr>
                                      <p:to>
                                        <p:strVal val="visible"/>
                                      </p:to>
                                    </p:set>
                                    <p:anim calcmode="lin" valueType="num">
                                      <p:cBhvr additive="base">
                                        <p:cTn id="53" dur="500" fill="hold"/>
                                        <p:tgtEl>
                                          <p:spTgt spid="10"/>
                                        </p:tgtEl>
                                        <p:attrNameLst>
                                          <p:attrName>ppt_x</p:attrName>
                                        </p:attrNameLst>
                                      </p:cBhvr>
                                      <p:tavLst>
                                        <p:tav tm="0">
                                          <p:val>
                                            <p:strVal val="#ppt_x"/>
                                          </p:val>
                                        </p:tav>
                                        <p:tav tm="100000">
                                          <p:val>
                                            <p:strVal val="#ppt_x"/>
                                          </p:val>
                                        </p:tav>
                                      </p:tavLst>
                                    </p:anim>
                                    <p:anim calcmode="lin" valueType="num">
                                      <p:cBhvr additive="base">
                                        <p:cTn id="54" dur="500" fill="hold"/>
                                        <p:tgtEl>
                                          <p:spTgt spid="10"/>
                                        </p:tgtEl>
                                        <p:attrNameLst>
                                          <p:attrName>ppt_y</p:attrName>
                                        </p:attrNameLst>
                                      </p:cBhvr>
                                      <p:tavLst>
                                        <p:tav tm="0">
                                          <p:val>
                                            <p:strVal val="1+#ppt_h/2"/>
                                          </p:val>
                                        </p:tav>
                                        <p:tav tm="100000">
                                          <p:val>
                                            <p:strVal val="#ppt_y"/>
                                          </p:val>
                                        </p:tav>
                                      </p:tavLst>
                                    </p:anim>
                                  </p:childTnLst>
                                </p:cTn>
                              </p:par>
                              <p:par>
                                <p:cTn id="55" presetID="2" presetClass="entr" presetSubtype="4" fill="hold" grpId="0" nodeType="withEffect">
                                  <p:stCondLst>
                                    <p:cond delay="0"/>
                                  </p:stCondLst>
                                  <p:childTnLst>
                                    <p:set>
                                      <p:cBhvr>
                                        <p:cTn id="56" dur="1" fill="hold">
                                          <p:stCondLst>
                                            <p:cond delay="0"/>
                                          </p:stCondLst>
                                        </p:cTn>
                                        <p:tgtEl>
                                          <p:spTgt spid="11"/>
                                        </p:tgtEl>
                                        <p:attrNameLst>
                                          <p:attrName>style.visibility</p:attrName>
                                        </p:attrNameLst>
                                      </p:cBhvr>
                                      <p:to>
                                        <p:strVal val="visible"/>
                                      </p:to>
                                    </p:set>
                                    <p:anim calcmode="lin" valueType="num">
                                      <p:cBhvr additive="base">
                                        <p:cTn id="57" dur="500" fill="hold"/>
                                        <p:tgtEl>
                                          <p:spTgt spid="11"/>
                                        </p:tgtEl>
                                        <p:attrNameLst>
                                          <p:attrName>ppt_x</p:attrName>
                                        </p:attrNameLst>
                                      </p:cBhvr>
                                      <p:tavLst>
                                        <p:tav tm="0">
                                          <p:val>
                                            <p:strVal val="#ppt_x"/>
                                          </p:val>
                                        </p:tav>
                                        <p:tav tm="100000">
                                          <p:val>
                                            <p:strVal val="#ppt_x"/>
                                          </p:val>
                                        </p:tav>
                                      </p:tavLst>
                                    </p:anim>
                                    <p:anim calcmode="lin" valueType="num">
                                      <p:cBhvr additive="base">
                                        <p:cTn id="58" dur="500" fill="hold"/>
                                        <p:tgtEl>
                                          <p:spTgt spid="11"/>
                                        </p:tgtEl>
                                        <p:attrNameLst>
                                          <p:attrName>ppt_y</p:attrName>
                                        </p:attrNameLst>
                                      </p:cBhvr>
                                      <p:tavLst>
                                        <p:tav tm="0">
                                          <p:val>
                                            <p:strVal val="1+#ppt_h/2"/>
                                          </p:val>
                                        </p:tav>
                                        <p:tav tm="100000">
                                          <p:val>
                                            <p:strVal val="#ppt_y"/>
                                          </p:val>
                                        </p:tav>
                                      </p:tavLst>
                                    </p:anim>
                                  </p:childTnLst>
                                </p:cTn>
                              </p:par>
                              <p:par>
                                <p:cTn id="59" presetID="2" presetClass="entr" presetSubtype="4" fill="hold" grpId="0" nodeType="withEffect">
                                  <p:stCondLst>
                                    <p:cond delay="0"/>
                                  </p:stCondLst>
                                  <p:childTnLst>
                                    <p:set>
                                      <p:cBhvr>
                                        <p:cTn id="60" dur="1" fill="hold">
                                          <p:stCondLst>
                                            <p:cond delay="0"/>
                                          </p:stCondLst>
                                        </p:cTn>
                                        <p:tgtEl>
                                          <p:spTgt spid="12"/>
                                        </p:tgtEl>
                                        <p:attrNameLst>
                                          <p:attrName>style.visibility</p:attrName>
                                        </p:attrNameLst>
                                      </p:cBhvr>
                                      <p:to>
                                        <p:strVal val="visible"/>
                                      </p:to>
                                    </p:set>
                                    <p:anim calcmode="lin" valueType="num">
                                      <p:cBhvr additive="base">
                                        <p:cTn id="61" dur="500" fill="hold"/>
                                        <p:tgtEl>
                                          <p:spTgt spid="12"/>
                                        </p:tgtEl>
                                        <p:attrNameLst>
                                          <p:attrName>ppt_x</p:attrName>
                                        </p:attrNameLst>
                                      </p:cBhvr>
                                      <p:tavLst>
                                        <p:tav tm="0">
                                          <p:val>
                                            <p:strVal val="#ppt_x"/>
                                          </p:val>
                                        </p:tav>
                                        <p:tav tm="100000">
                                          <p:val>
                                            <p:strVal val="#ppt_x"/>
                                          </p:val>
                                        </p:tav>
                                      </p:tavLst>
                                    </p:anim>
                                    <p:anim calcmode="lin" valueType="num">
                                      <p:cBhvr additive="base">
                                        <p:cTn id="62" dur="500" fill="hold"/>
                                        <p:tgtEl>
                                          <p:spTgt spid="12"/>
                                        </p:tgtEl>
                                        <p:attrNameLst>
                                          <p:attrName>ppt_y</p:attrName>
                                        </p:attrNameLst>
                                      </p:cBhvr>
                                      <p:tavLst>
                                        <p:tav tm="0">
                                          <p:val>
                                            <p:strVal val="1+#ppt_h/2"/>
                                          </p:val>
                                        </p:tav>
                                        <p:tav tm="100000">
                                          <p:val>
                                            <p:strVal val="#ppt_y"/>
                                          </p:val>
                                        </p:tav>
                                      </p:tavLst>
                                    </p:anim>
                                  </p:childTnLst>
                                </p:cTn>
                              </p:par>
                              <p:par>
                                <p:cTn id="63" presetID="2" presetClass="entr" presetSubtype="4" fill="hold" nodeType="withEffect">
                                  <p:stCondLst>
                                    <p:cond delay="0"/>
                                  </p:stCondLst>
                                  <p:childTnLst>
                                    <p:set>
                                      <p:cBhvr>
                                        <p:cTn id="64" dur="1" fill="hold">
                                          <p:stCondLst>
                                            <p:cond delay="0"/>
                                          </p:stCondLst>
                                        </p:cTn>
                                        <p:tgtEl>
                                          <p:spTgt spid="22"/>
                                        </p:tgtEl>
                                        <p:attrNameLst>
                                          <p:attrName>style.visibility</p:attrName>
                                        </p:attrNameLst>
                                      </p:cBhvr>
                                      <p:to>
                                        <p:strVal val="visible"/>
                                      </p:to>
                                    </p:set>
                                    <p:anim calcmode="lin" valueType="num">
                                      <p:cBhvr additive="base">
                                        <p:cTn id="65" dur="500" fill="hold"/>
                                        <p:tgtEl>
                                          <p:spTgt spid="22"/>
                                        </p:tgtEl>
                                        <p:attrNameLst>
                                          <p:attrName>ppt_x</p:attrName>
                                        </p:attrNameLst>
                                      </p:cBhvr>
                                      <p:tavLst>
                                        <p:tav tm="0">
                                          <p:val>
                                            <p:strVal val="#ppt_x"/>
                                          </p:val>
                                        </p:tav>
                                        <p:tav tm="100000">
                                          <p:val>
                                            <p:strVal val="#ppt_x"/>
                                          </p:val>
                                        </p:tav>
                                      </p:tavLst>
                                    </p:anim>
                                    <p:anim calcmode="lin" valueType="num">
                                      <p:cBhvr additive="base">
                                        <p:cTn id="66" dur="500" fill="hold"/>
                                        <p:tgtEl>
                                          <p:spTgt spid="22"/>
                                        </p:tgtEl>
                                        <p:attrNameLst>
                                          <p:attrName>ppt_y</p:attrName>
                                        </p:attrNameLst>
                                      </p:cBhvr>
                                      <p:tavLst>
                                        <p:tav tm="0">
                                          <p:val>
                                            <p:strVal val="1+#ppt_h/2"/>
                                          </p:val>
                                        </p:tav>
                                        <p:tav tm="100000">
                                          <p:val>
                                            <p:strVal val="#ppt_y"/>
                                          </p:val>
                                        </p:tav>
                                      </p:tavLst>
                                    </p:anim>
                                  </p:childTnLst>
                                </p:cTn>
                              </p:par>
                              <p:par>
                                <p:cTn id="67" presetID="2" presetClass="entr" presetSubtype="4" fill="hold" grpId="0" nodeType="withEffect">
                                  <p:stCondLst>
                                    <p:cond delay="0"/>
                                  </p:stCondLst>
                                  <p:childTnLst>
                                    <p:set>
                                      <p:cBhvr>
                                        <p:cTn id="68" dur="1" fill="hold">
                                          <p:stCondLst>
                                            <p:cond delay="0"/>
                                          </p:stCondLst>
                                        </p:cTn>
                                        <p:tgtEl>
                                          <p:spTgt spid="23"/>
                                        </p:tgtEl>
                                        <p:attrNameLst>
                                          <p:attrName>style.visibility</p:attrName>
                                        </p:attrNameLst>
                                      </p:cBhvr>
                                      <p:to>
                                        <p:strVal val="visible"/>
                                      </p:to>
                                    </p:set>
                                    <p:anim calcmode="lin" valueType="num">
                                      <p:cBhvr additive="base">
                                        <p:cTn id="69" dur="500" fill="hold"/>
                                        <p:tgtEl>
                                          <p:spTgt spid="23"/>
                                        </p:tgtEl>
                                        <p:attrNameLst>
                                          <p:attrName>ppt_x</p:attrName>
                                        </p:attrNameLst>
                                      </p:cBhvr>
                                      <p:tavLst>
                                        <p:tav tm="0">
                                          <p:val>
                                            <p:strVal val="#ppt_x"/>
                                          </p:val>
                                        </p:tav>
                                        <p:tav tm="100000">
                                          <p:val>
                                            <p:strVal val="#ppt_x"/>
                                          </p:val>
                                        </p:tav>
                                      </p:tavLst>
                                    </p:anim>
                                    <p:anim calcmode="lin" valueType="num">
                                      <p:cBhvr additive="base">
                                        <p:cTn id="70" dur="500" fill="hold"/>
                                        <p:tgtEl>
                                          <p:spTgt spid="23"/>
                                        </p:tgtEl>
                                        <p:attrNameLst>
                                          <p:attrName>ppt_y</p:attrName>
                                        </p:attrNameLst>
                                      </p:cBhvr>
                                      <p:tavLst>
                                        <p:tav tm="0">
                                          <p:val>
                                            <p:strVal val="1+#ppt_h/2"/>
                                          </p:val>
                                        </p:tav>
                                        <p:tav tm="100000">
                                          <p:val>
                                            <p:strVal val="#ppt_y"/>
                                          </p:val>
                                        </p:tav>
                                      </p:tavLst>
                                    </p:anim>
                                  </p:childTnLst>
                                </p:cTn>
                              </p:par>
                              <p:par>
                                <p:cTn id="71" presetID="2" presetClass="entr" presetSubtype="4" fill="hold" grpId="0" nodeType="withEffect">
                                  <p:stCondLst>
                                    <p:cond delay="0"/>
                                  </p:stCondLst>
                                  <p:childTnLst>
                                    <p:set>
                                      <p:cBhvr>
                                        <p:cTn id="72" dur="1" fill="hold">
                                          <p:stCondLst>
                                            <p:cond delay="0"/>
                                          </p:stCondLst>
                                        </p:cTn>
                                        <p:tgtEl>
                                          <p:spTgt spid="24"/>
                                        </p:tgtEl>
                                        <p:attrNameLst>
                                          <p:attrName>style.visibility</p:attrName>
                                        </p:attrNameLst>
                                      </p:cBhvr>
                                      <p:to>
                                        <p:strVal val="visible"/>
                                      </p:to>
                                    </p:set>
                                    <p:anim calcmode="lin" valueType="num">
                                      <p:cBhvr additive="base">
                                        <p:cTn id="73" dur="500" fill="hold"/>
                                        <p:tgtEl>
                                          <p:spTgt spid="24"/>
                                        </p:tgtEl>
                                        <p:attrNameLst>
                                          <p:attrName>ppt_x</p:attrName>
                                        </p:attrNameLst>
                                      </p:cBhvr>
                                      <p:tavLst>
                                        <p:tav tm="0">
                                          <p:val>
                                            <p:strVal val="#ppt_x"/>
                                          </p:val>
                                        </p:tav>
                                        <p:tav tm="100000">
                                          <p:val>
                                            <p:strVal val="#ppt_x"/>
                                          </p:val>
                                        </p:tav>
                                      </p:tavLst>
                                    </p:anim>
                                    <p:anim calcmode="lin" valueType="num">
                                      <p:cBhvr additive="base">
                                        <p:cTn id="74" dur="500" fill="hold"/>
                                        <p:tgtEl>
                                          <p:spTgt spid="24"/>
                                        </p:tgtEl>
                                        <p:attrNameLst>
                                          <p:attrName>ppt_y</p:attrName>
                                        </p:attrNameLst>
                                      </p:cBhvr>
                                      <p:tavLst>
                                        <p:tav tm="0">
                                          <p:val>
                                            <p:strVal val="1+#ppt_h/2"/>
                                          </p:val>
                                        </p:tav>
                                        <p:tav tm="100000">
                                          <p:val>
                                            <p:strVal val="#ppt_y"/>
                                          </p:val>
                                        </p:tav>
                                      </p:tavLst>
                                    </p:anim>
                                  </p:childTnLst>
                                </p:cTn>
                              </p:par>
                              <p:par>
                                <p:cTn id="75" presetID="2" presetClass="entr" presetSubtype="4" fill="hold" grpId="0" nodeType="withEffect">
                                  <p:stCondLst>
                                    <p:cond delay="0"/>
                                  </p:stCondLst>
                                  <p:childTnLst>
                                    <p:set>
                                      <p:cBhvr>
                                        <p:cTn id="76" dur="1" fill="hold">
                                          <p:stCondLst>
                                            <p:cond delay="0"/>
                                          </p:stCondLst>
                                        </p:cTn>
                                        <p:tgtEl>
                                          <p:spTgt spid="25"/>
                                        </p:tgtEl>
                                        <p:attrNameLst>
                                          <p:attrName>style.visibility</p:attrName>
                                        </p:attrNameLst>
                                      </p:cBhvr>
                                      <p:to>
                                        <p:strVal val="visible"/>
                                      </p:to>
                                    </p:set>
                                    <p:anim calcmode="lin" valueType="num">
                                      <p:cBhvr additive="base">
                                        <p:cTn id="77" dur="500" fill="hold"/>
                                        <p:tgtEl>
                                          <p:spTgt spid="25"/>
                                        </p:tgtEl>
                                        <p:attrNameLst>
                                          <p:attrName>ppt_x</p:attrName>
                                        </p:attrNameLst>
                                      </p:cBhvr>
                                      <p:tavLst>
                                        <p:tav tm="0">
                                          <p:val>
                                            <p:strVal val="#ppt_x"/>
                                          </p:val>
                                        </p:tav>
                                        <p:tav tm="100000">
                                          <p:val>
                                            <p:strVal val="#ppt_x"/>
                                          </p:val>
                                        </p:tav>
                                      </p:tavLst>
                                    </p:anim>
                                    <p:anim calcmode="lin" valueType="num">
                                      <p:cBhvr additive="base">
                                        <p:cTn id="78" dur="500" fill="hold"/>
                                        <p:tgtEl>
                                          <p:spTgt spid="25"/>
                                        </p:tgtEl>
                                        <p:attrNameLst>
                                          <p:attrName>ppt_y</p:attrName>
                                        </p:attrNameLst>
                                      </p:cBhvr>
                                      <p:tavLst>
                                        <p:tav tm="0">
                                          <p:val>
                                            <p:strVal val="1+#ppt_h/2"/>
                                          </p:val>
                                        </p:tav>
                                        <p:tav tm="100000">
                                          <p:val>
                                            <p:strVal val="#ppt_y"/>
                                          </p:val>
                                        </p:tav>
                                      </p:tavLst>
                                    </p:anim>
                                  </p:childTnLst>
                                </p:cTn>
                              </p:par>
                              <p:par>
                                <p:cTn id="79" presetID="2" presetClass="entr" presetSubtype="4" fill="hold" grpId="0" nodeType="withEffect">
                                  <p:stCondLst>
                                    <p:cond delay="0"/>
                                  </p:stCondLst>
                                  <p:childTnLst>
                                    <p:set>
                                      <p:cBhvr>
                                        <p:cTn id="80" dur="1" fill="hold">
                                          <p:stCondLst>
                                            <p:cond delay="0"/>
                                          </p:stCondLst>
                                        </p:cTn>
                                        <p:tgtEl>
                                          <p:spTgt spid="26"/>
                                        </p:tgtEl>
                                        <p:attrNameLst>
                                          <p:attrName>style.visibility</p:attrName>
                                        </p:attrNameLst>
                                      </p:cBhvr>
                                      <p:to>
                                        <p:strVal val="visible"/>
                                      </p:to>
                                    </p:set>
                                    <p:anim calcmode="lin" valueType="num">
                                      <p:cBhvr additive="base">
                                        <p:cTn id="81" dur="500" fill="hold"/>
                                        <p:tgtEl>
                                          <p:spTgt spid="26"/>
                                        </p:tgtEl>
                                        <p:attrNameLst>
                                          <p:attrName>ppt_x</p:attrName>
                                        </p:attrNameLst>
                                      </p:cBhvr>
                                      <p:tavLst>
                                        <p:tav tm="0">
                                          <p:val>
                                            <p:strVal val="#ppt_x"/>
                                          </p:val>
                                        </p:tav>
                                        <p:tav tm="100000">
                                          <p:val>
                                            <p:strVal val="#ppt_x"/>
                                          </p:val>
                                        </p:tav>
                                      </p:tavLst>
                                    </p:anim>
                                    <p:anim calcmode="lin" valueType="num">
                                      <p:cBhvr additive="base">
                                        <p:cTn id="82" dur="500" fill="hold"/>
                                        <p:tgtEl>
                                          <p:spTgt spid="26"/>
                                        </p:tgtEl>
                                        <p:attrNameLst>
                                          <p:attrName>ppt_y</p:attrName>
                                        </p:attrNameLst>
                                      </p:cBhvr>
                                      <p:tavLst>
                                        <p:tav tm="0">
                                          <p:val>
                                            <p:strVal val="1+#ppt_h/2"/>
                                          </p:val>
                                        </p:tav>
                                        <p:tav tm="100000">
                                          <p:val>
                                            <p:strVal val="#ppt_y"/>
                                          </p:val>
                                        </p:tav>
                                      </p:tavLst>
                                    </p:anim>
                                  </p:childTnLst>
                                </p:cTn>
                              </p:par>
                              <p:par>
                                <p:cTn id="83" presetID="2" presetClass="entr" presetSubtype="4" fill="hold" grpId="0" nodeType="withEffect">
                                  <p:stCondLst>
                                    <p:cond delay="0"/>
                                  </p:stCondLst>
                                  <p:childTnLst>
                                    <p:set>
                                      <p:cBhvr>
                                        <p:cTn id="84" dur="1" fill="hold">
                                          <p:stCondLst>
                                            <p:cond delay="0"/>
                                          </p:stCondLst>
                                        </p:cTn>
                                        <p:tgtEl>
                                          <p:spTgt spid="27"/>
                                        </p:tgtEl>
                                        <p:attrNameLst>
                                          <p:attrName>style.visibility</p:attrName>
                                        </p:attrNameLst>
                                      </p:cBhvr>
                                      <p:to>
                                        <p:strVal val="visible"/>
                                      </p:to>
                                    </p:set>
                                    <p:anim calcmode="lin" valueType="num">
                                      <p:cBhvr additive="base">
                                        <p:cTn id="85" dur="500" fill="hold"/>
                                        <p:tgtEl>
                                          <p:spTgt spid="27"/>
                                        </p:tgtEl>
                                        <p:attrNameLst>
                                          <p:attrName>ppt_x</p:attrName>
                                        </p:attrNameLst>
                                      </p:cBhvr>
                                      <p:tavLst>
                                        <p:tav tm="0">
                                          <p:val>
                                            <p:strVal val="#ppt_x"/>
                                          </p:val>
                                        </p:tav>
                                        <p:tav tm="100000">
                                          <p:val>
                                            <p:strVal val="#ppt_x"/>
                                          </p:val>
                                        </p:tav>
                                      </p:tavLst>
                                    </p:anim>
                                    <p:anim calcmode="lin" valueType="num">
                                      <p:cBhvr additive="base">
                                        <p:cTn id="86" dur="500" fill="hold"/>
                                        <p:tgtEl>
                                          <p:spTgt spid="27"/>
                                        </p:tgtEl>
                                        <p:attrNameLst>
                                          <p:attrName>ppt_y</p:attrName>
                                        </p:attrNameLst>
                                      </p:cBhvr>
                                      <p:tavLst>
                                        <p:tav tm="0">
                                          <p:val>
                                            <p:strVal val="1+#ppt_h/2"/>
                                          </p:val>
                                        </p:tav>
                                        <p:tav tm="100000">
                                          <p:val>
                                            <p:strVal val="#ppt_y"/>
                                          </p:val>
                                        </p:tav>
                                      </p:tavLst>
                                    </p:anim>
                                  </p:childTnLst>
                                </p:cTn>
                              </p:par>
                              <p:par>
                                <p:cTn id="87" presetID="2" presetClass="entr" presetSubtype="4" fill="hold" grpId="0" nodeType="withEffect">
                                  <p:stCondLst>
                                    <p:cond delay="0"/>
                                  </p:stCondLst>
                                  <p:childTnLst>
                                    <p:set>
                                      <p:cBhvr>
                                        <p:cTn id="88" dur="1" fill="hold">
                                          <p:stCondLst>
                                            <p:cond delay="0"/>
                                          </p:stCondLst>
                                        </p:cTn>
                                        <p:tgtEl>
                                          <p:spTgt spid="28"/>
                                        </p:tgtEl>
                                        <p:attrNameLst>
                                          <p:attrName>style.visibility</p:attrName>
                                        </p:attrNameLst>
                                      </p:cBhvr>
                                      <p:to>
                                        <p:strVal val="visible"/>
                                      </p:to>
                                    </p:set>
                                    <p:anim calcmode="lin" valueType="num">
                                      <p:cBhvr additive="base">
                                        <p:cTn id="89" dur="500" fill="hold"/>
                                        <p:tgtEl>
                                          <p:spTgt spid="28"/>
                                        </p:tgtEl>
                                        <p:attrNameLst>
                                          <p:attrName>ppt_x</p:attrName>
                                        </p:attrNameLst>
                                      </p:cBhvr>
                                      <p:tavLst>
                                        <p:tav tm="0">
                                          <p:val>
                                            <p:strVal val="#ppt_x"/>
                                          </p:val>
                                        </p:tav>
                                        <p:tav tm="100000">
                                          <p:val>
                                            <p:strVal val="#ppt_x"/>
                                          </p:val>
                                        </p:tav>
                                      </p:tavLst>
                                    </p:anim>
                                    <p:anim calcmode="lin" valueType="num">
                                      <p:cBhvr additive="base">
                                        <p:cTn id="90" dur="500" fill="hold"/>
                                        <p:tgtEl>
                                          <p:spTgt spid="28"/>
                                        </p:tgtEl>
                                        <p:attrNameLst>
                                          <p:attrName>ppt_y</p:attrName>
                                        </p:attrNameLst>
                                      </p:cBhvr>
                                      <p:tavLst>
                                        <p:tav tm="0">
                                          <p:val>
                                            <p:strVal val="1+#ppt_h/2"/>
                                          </p:val>
                                        </p:tav>
                                        <p:tav tm="100000">
                                          <p:val>
                                            <p:strVal val="#ppt_y"/>
                                          </p:val>
                                        </p:tav>
                                      </p:tavLst>
                                    </p:anim>
                                  </p:childTnLst>
                                </p:cTn>
                              </p:par>
                              <p:par>
                                <p:cTn id="91" presetID="2" presetClass="entr" presetSubtype="4" fill="hold" grpId="0" nodeType="withEffect">
                                  <p:stCondLst>
                                    <p:cond delay="0"/>
                                  </p:stCondLst>
                                  <p:childTnLst>
                                    <p:set>
                                      <p:cBhvr>
                                        <p:cTn id="92" dur="1" fill="hold">
                                          <p:stCondLst>
                                            <p:cond delay="0"/>
                                          </p:stCondLst>
                                        </p:cTn>
                                        <p:tgtEl>
                                          <p:spTgt spid="29"/>
                                        </p:tgtEl>
                                        <p:attrNameLst>
                                          <p:attrName>style.visibility</p:attrName>
                                        </p:attrNameLst>
                                      </p:cBhvr>
                                      <p:to>
                                        <p:strVal val="visible"/>
                                      </p:to>
                                    </p:set>
                                    <p:anim calcmode="lin" valueType="num">
                                      <p:cBhvr additive="base">
                                        <p:cTn id="93" dur="500" fill="hold"/>
                                        <p:tgtEl>
                                          <p:spTgt spid="29"/>
                                        </p:tgtEl>
                                        <p:attrNameLst>
                                          <p:attrName>ppt_x</p:attrName>
                                        </p:attrNameLst>
                                      </p:cBhvr>
                                      <p:tavLst>
                                        <p:tav tm="0">
                                          <p:val>
                                            <p:strVal val="#ppt_x"/>
                                          </p:val>
                                        </p:tav>
                                        <p:tav tm="100000">
                                          <p:val>
                                            <p:strVal val="#ppt_x"/>
                                          </p:val>
                                        </p:tav>
                                      </p:tavLst>
                                    </p:anim>
                                    <p:anim calcmode="lin" valueType="num">
                                      <p:cBhvr additive="base">
                                        <p:cTn id="94" dur="500" fill="hold"/>
                                        <p:tgtEl>
                                          <p:spTgt spid="29"/>
                                        </p:tgtEl>
                                        <p:attrNameLst>
                                          <p:attrName>ppt_y</p:attrName>
                                        </p:attrNameLst>
                                      </p:cBhvr>
                                      <p:tavLst>
                                        <p:tav tm="0">
                                          <p:val>
                                            <p:strVal val="1+#ppt_h/2"/>
                                          </p:val>
                                        </p:tav>
                                        <p:tav tm="100000">
                                          <p:val>
                                            <p:strVal val="#ppt_y"/>
                                          </p:val>
                                        </p:tav>
                                      </p:tavLst>
                                    </p:anim>
                                  </p:childTnLst>
                                </p:cTn>
                              </p:par>
                              <p:par>
                                <p:cTn id="95" presetID="2" presetClass="entr" presetSubtype="4" fill="hold" grpId="0" nodeType="withEffect">
                                  <p:stCondLst>
                                    <p:cond delay="0"/>
                                  </p:stCondLst>
                                  <p:childTnLst>
                                    <p:set>
                                      <p:cBhvr>
                                        <p:cTn id="96" dur="1" fill="hold">
                                          <p:stCondLst>
                                            <p:cond delay="0"/>
                                          </p:stCondLst>
                                        </p:cTn>
                                        <p:tgtEl>
                                          <p:spTgt spid="30"/>
                                        </p:tgtEl>
                                        <p:attrNameLst>
                                          <p:attrName>style.visibility</p:attrName>
                                        </p:attrNameLst>
                                      </p:cBhvr>
                                      <p:to>
                                        <p:strVal val="visible"/>
                                      </p:to>
                                    </p:set>
                                    <p:anim calcmode="lin" valueType="num">
                                      <p:cBhvr additive="base">
                                        <p:cTn id="97" dur="500" fill="hold"/>
                                        <p:tgtEl>
                                          <p:spTgt spid="30"/>
                                        </p:tgtEl>
                                        <p:attrNameLst>
                                          <p:attrName>ppt_x</p:attrName>
                                        </p:attrNameLst>
                                      </p:cBhvr>
                                      <p:tavLst>
                                        <p:tav tm="0">
                                          <p:val>
                                            <p:strVal val="#ppt_x"/>
                                          </p:val>
                                        </p:tav>
                                        <p:tav tm="100000">
                                          <p:val>
                                            <p:strVal val="#ppt_x"/>
                                          </p:val>
                                        </p:tav>
                                      </p:tavLst>
                                    </p:anim>
                                    <p:anim calcmode="lin" valueType="num">
                                      <p:cBhvr additive="base">
                                        <p:cTn id="98" dur="500" fill="hold"/>
                                        <p:tgtEl>
                                          <p:spTgt spid="30"/>
                                        </p:tgtEl>
                                        <p:attrNameLst>
                                          <p:attrName>ppt_y</p:attrName>
                                        </p:attrNameLst>
                                      </p:cBhvr>
                                      <p:tavLst>
                                        <p:tav tm="0">
                                          <p:val>
                                            <p:strVal val="1+#ppt_h/2"/>
                                          </p:val>
                                        </p:tav>
                                        <p:tav tm="100000">
                                          <p:val>
                                            <p:strVal val="#ppt_y"/>
                                          </p:val>
                                        </p:tav>
                                      </p:tavLst>
                                    </p:anim>
                                  </p:childTnLst>
                                </p:cTn>
                              </p:par>
                              <p:par>
                                <p:cTn id="99" presetID="2" presetClass="entr" presetSubtype="4" fill="hold" grpId="0" nodeType="withEffect">
                                  <p:stCondLst>
                                    <p:cond delay="0"/>
                                  </p:stCondLst>
                                  <p:childTnLst>
                                    <p:set>
                                      <p:cBhvr>
                                        <p:cTn id="100" dur="1" fill="hold">
                                          <p:stCondLst>
                                            <p:cond delay="0"/>
                                          </p:stCondLst>
                                        </p:cTn>
                                        <p:tgtEl>
                                          <p:spTgt spid="37"/>
                                        </p:tgtEl>
                                        <p:attrNameLst>
                                          <p:attrName>style.visibility</p:attrName>
                                        </p:attrNameLst>
                                      </p:cBhvr>
                                      <p:to>
                                        <p:strVal val="visible"/>
                                      </p:to>
                                    </p:set>
                                    <p:anim calcmode="lin" valueType="num">
                                      <p:cBhvr additive="base">
                                        <p:cTn id="101" dur="500" fill="hold"/>
                                        <p:tgtEl>
                                          <p:spTgt spid="37"/>
                                        </p:tgtEl>
                                        <p:attrNameLst>
                                          <p:attrName>ppt_x</p:attrName>
                                        </p:attrNameLst>
                                      </p:cBhvr>
                                      <p:tavLst>
                                        <p:tav tm="0">
                                          <p:val>
                                            <p:strVal val="#ppt_x"/>
                                          </p:val>
                                        </p:tav>
                                        <p:tav tm="100000">
                                          <p:val>
                                            <p:strVal val="#ppt_x"/>
                                          </p:val>
                                        </p:tav>
                                      </p:tavLst>
                                    </p:anim>
                                    <p:anim calcmode="lin" valueType="num">
                                      <p:cBhvr additive="base">
                                        <p:cTn id="102" dur="500" fill="hold"/>
                                        <p:tgtEl>
                                          <p:spTgt spid="37"/>
                                        </p:tgtEl>
                                        <p:attrNameLst>
                                          <p:attrName>ppt_y</p:attrName>
                                        </p:attrNameLst>
                                      </p:cBhvr>
                                      <p:tavLst>
                                        <p:tav tm="0">
                                          <p:val>
                                            <p:strVal val="1+#ppt_h/2"/>
                                          </p:val>
                                        </p:tav>
                                        <p:tav tm="100000">
                                          <p:val>
                                            <p:strVal val="#ppt_y"/>
                                          </p:val>
                                        </p:tav>
                                      </p:tavLst>
                                    </p:anim>
                                  </p:childTnLst>
                                </p:cTn>
                              </p:par>
                              <p:par>
                                <p:cTn id="103" presetID="2" presetClass="entr" presetSubtype="4" fill="hold" grpId="0" nodeType="withEffect">
                                  <p:stCondLst>
                                    <p:cond delay="0"/>
                                  </p:stCondLst>
                                  <p:childTnLst>
                                    <p:set>
                                      <p:cBhvr>
                                        <p:cTn id="104" dur="1" fill="hold">
                                          <p:stCondLst>
                                            <p:cond delay="0"/>
                                          </p:stCondLst>
                                        </p:cTn>
                                        <p:tgtEl>
                                          <p:spTgt spid="38"/>
                                        </p:tgtEl>
                                        <p:attrNameLst>
                                          <p:attrName>style.visibility</p:attrName>
                                        </p:attrNameLst>
                                      </p:cBhvr>
                                      <p:to>
                                        <p:strVal val="visible"/>
                                      </p:to>
                                    </p:set>
                                    <p:anim calcmode="lin" valueType="num">
                                      <p:cBhvr additive="base">
                                        <p:cTn id="105" dur="500" fill="hold"/>
                                        <p:tgtEl>
                                          <p:spTgt spid="38"/>
                                        </p:tgtEl>
                                        <p:attrNameLst>
                                          <p:attrName>ppt_x</p:attrName>
                                        </p:attrNameLst>
                                      </p:cBhvr>
                                      <p:tavLst>
                                        <p:tav tm="0">
                                          <p:val>
                                            <p:strVal val="#ppt_x"/>
                                          </p:val>
                                        </p:tav>
                                        <p:tav tm="100000">
                                          <p:val>
                                            <p:strVal val="#ppt_x"/>
                                          </p:val>
                                        </p:tav>
                                      </p:tavLst>
                                    </p:anim>
                                    <p:anim calcmode="lin" valueType="num">
                                      <p:cBhvr additive="base">
                                        <p:cTn id="106" dur="500" fill="hold"/>
                                        <p:tgtEl>
                                          <p:spTgt spid="38"/>
                                        </p:tgtEl>
                                        <p:attrNameLst>
                                          <p:attrName>ppt_y</p:attrName>
                                        </p:attrNameLst>
                                      </p:cBhvr>
                                      <p:tavLst>
                                        <p:tav tm="0">
                                          <p:val>
                                            <p:strVal val="1+#ppt_h/2"/>
                                          </p:val>
                                        </p:tav>
                                        <p:tav tm="100000">
                                          <p:val>
                                            <p:strVal val="#ppt_y"/>
                                          </p:val>
                                        </p:tav>
                                      </p:tavLst>
                                    </p:anim>
                                  </p:childTnLst>
                                </p:cTn>
                              </p:par>
                            </p:childTnLst>
                          </p:cTn>
                        </p:par>
                      </p:childTnLst>
                    </p:cTn>
                  </p:par>
                  <p:par>
                    <p:cTn id="107" fill="hold">
                      <p:stCondLst>
                        <p:cond delay="indefinite"/>
                      </p:stCondLst>
                      <p:childTnLst>
                        <p:par>
                          <p:cTn id="108" fill="hold">
                            <p:stCondLst>
                              <p:cond delay="0"/>
                            </p:stCondLst>
                            <p:childTnLst>
                              <p:par>
                                <p:cTn id="109" presetID="2" presetClass="entr" presetSubtype="4" fill="hold" grpId="0" nodeType="clickEffect">
                                  <p:stCondLst>
                                    <p:cond delay="0"/>
                                  </p:stCondLst>
                                  <p:childTnLst>
                                    <p:set>
                                      <p:cBhvr>
                                        <p:cTn id="110" dur="1" fill="hold">
                                          <p:stCondLst>
                                            <p:cond delay="0"/>
                                          </p:stCondLst>
                                        </p:cTn>
                                        <p:tgtEl>
                                          <p:spTgt spid="6"/>
                                        </p:tgtEl>
                                        <p:attrNameLst>
                                          <p:attrName>style.visibility</p:attrName>
                                        </p:attrNameLst>
                                      </p:cBhvr>
                                      <p:to>
                                        <p:strVal val="visible"/>
                                      </p:to>
                                    </p:set>
                                    <p:anim calcmode="lin" valueType="num">
                                      <p:cBhvr additive="base">
                                        <p:cTn id="111" dur="500" fill="hold"/>
                                        <p:tgtEl>
                                          <p:spTgt spid="6"/>
                                        </p:tgtEl>
                                        <p:attrNameLst>
                                          <p:attrName>ppt_x</p:attrName>
                                        </p:attrNameLst>
                                      </p:cBhvr>
                                      <p:tavLst>
                                        <p:tav tm="0">
                                          <p:val>
                                            <p:strVal val="#ppt_x"/>
                                          </p:val>
                                        </p:tav>
                                        <p:tav tm="100000">
                                          <p:val>
                                            <p:strVal val="#ppt_x"/>
                                          </p:val>
                                        </p:tav>
                                      </p:tavLst>
                                    </p:anim>
                                    <p:anim calcmode="lin" valueType="num">
                                      <p:cBhvr additive="base">
                                        <p:cTn id="112" dur="500" fill="hold"/>
                                        <p:tgtEl>
                                          <p:spTgt spid="6"/>
                                        </p:tgtEl>
                                        <p:attrNameLst>
                                          <p:attrName>ppt_y</p:attrName>
                                        </p:attrNameLst>
                                      </p:cBhvr>
                                      <p:tavLst>
                                        <p:tav tm="0">
                                          <p:val>
                                            <p:strVal val="1+#ppt_h/2"/>
                                          </p:val>
                                        </p:tav>
                                        <p:tav tm="100000">
                                          <p:val>
                                            <p:strVal val="#ppt_y"/>
                                          </p:val>
                                        </p:tav>
                                      </p:tavLst>
                                    </p:anim>
                                  </p:childTnLst>
                                </p:cTn>
                              </p:par>
                              <p:par>
                                <p:cTn id="113" presetID="2" presetClass="entr" presetSubtype="4" fill="hold" grpId="0" nodeType="withEffect">
                                  <p:stCondLst>
                                    <p:cond delay="0"/>
                                  </p:stCondLst>
                                  <p:childTnLst>
                                    <p:set>
                                      <p:cBhvr>
                                        <p:cTn id="114" dur="1" fill="hold">
                                          <p:stCondLst>
                                            <p:cond delay="0"/>
                                          </p:stCondLst>
                                        </p:cTn>
                                        <p:tgtEl>
                                          <p:spTgt spid="13"/>
                                        </p:tgtEl>
                                        <p:attrNameLst>
                                          <p:attrName>style.visibility</p:attrName>
                                        </p:attrNameLst>
                                      </p:cBhvr>
                                      <p:to>
                                        <p:strVal val="visible"/>
                                      </p:to>
                                    </p:set>
                                    <p:anim calcmode="lin" valueType="num">
                                      <p:cBhvr additive="base">
                                        <p:cTn id="115" dur="500" fill="hold"/>
                                        <p:tgtEl>
                                          <p:spTgt spid="13"/>
                                        </p:tgtEl>
                                        <p:attrNameLst>
                                          <p:attrName>ppt_x</p:attrName>
                                        </p:attrNameLst>
                                      </p:cBhvr>
                                      <p:tavLst>
                                        <p:tav tm="0">
                                          <p:val>
                                            <p:strVal val="#ppt_x"/>
                                          </p:val>
                                        </p:tav>
                                        <p:tav tm="100000">
                                          <p:val>
                                            <p:strVal val="#ppt_x"/>
                                          </p:val>
                                        </p:tav>
                                      </p:tavLst>
                                    </p:anim>
                                    <p:anim calcmode="lin" valueType="num">
                                      <p:cBhvr additive="base">
                                        <p:cTn id="116" dur="500" fill="hold"/>
                                        <p:tgtEl>
                                          <p:spTgt spid="13"/>
                                        </p:tgtEl>
                                        <p:attrNameLst>
                                          <p:attrName>ppt_y</p:attrName>
                                        </p:attrNameLst>
                                      </p:cBhvr>
                                      <p:tavLst>
                                        <p:tav tm="0">
                                          <p:val>
                                            <p:strVal val="1+#ppt_h/2"/>
                                          </p:val>
                                        </p:tav>
                                        <p:tav tm="100000">
                                          <p:val>
                                            <p:strVal val="#ppt_y"/>
                                          </p:val>
                                        </p:tav>
                                      </p:tavLst>
                                    </p:anim>
                                  </p:childTnLst>
                                </p:cTn>
                              </p:par>
                              <p:par>
                                <p:cTn id="117" presetID="2" presetClass="entr" presetSubtype="4" fill="hold" grpId="0" nodeType="withEffect">
                                  <p:stCondLst>
                                    <p:cond delay="0"/>
                                  </p:stCondLst>
                                  <p:childTnLst>
                                    <p:set>
                                      <p:cBhvr>
                                        <p:cTn id="118" dur="1" fill="hold">
                                          <p:stCondLst>
                                            <p:cond delay="0"/>
                                          </p:stCondLst>
                                        </p:cTn>
                                        <p:tgtEl>
                                          <p:spTgt spid="14"/>
                                        </p:tgtEl>
                                        <p:attrNameLst>
                                          <p:attrName>style.visibility</p:attrName>
                                        </p:attrNameLst>
                                      </p:cBhvr>
                                      <p:to>
                                        <p:strVal val="visible"/>
                                      </p:to>
                                    </p:set>
                                    <p:anim calcmode="lin" valueType="num">
                                      <p:cBhvr additive="base">
                                        <p:cTn id="119" dur="500" fill="hold"/>
                                        <p:tgtEl>
                                          <p:spTgt spid="14"/>
                                        </p:tgtEl>
                                        <p:attrNameLst>
                                          <p:attrName>ppt_x</p:attrName>
                                        </p:attrNameLst>
                                      </p:cBhvr>
                                      <p:tavLst>
                                        <p:tav tm="0">
                                          <p:val>
                                            <p:strVal val="#ppt_x"/>
                                          </p:val>
                                        </p:tav>
                                        <p:tav tm="100000">
                                          <p:val>
                                            <p:strVal val="#ppt_x"/>
                                          </p:val>
                                        </p:tav>
                                      </p:tavLst>
                                    </p:anim>
                                    <p:anim calcmode="lin" valueType="num">
                                      <p:cBhvr additive="base">
                                        <p:cTn id="120" dur="500" fill="hold"/>
                                        <p:tgtEl>
                                          <p:spTgt spid="14"/>
                                        </p:tgtEl>
                                        <p:attrNameLst>
                                          <p:attrName>ppt_y</p:attrName>
                                        </p:attrNameLst>
                                      </p:cBhvr>
                                      <p:tavLst>
                                        <p:tav tm="0">
                                          <p:val>
                                            <p:strVal val="1+#ppt_h/2"/>
                                          </p:val>
                                        </p:tav>
                                        <p:tav tm="100000">
                                          <p:val>
                                            <p:strVal val="#ppt_y"/>
                                          </p:val>
                                        </p:tav>
                                      </p:tavLst>
                                    </p:anim>
                                  </p:childTnLst>
                                </p:cTn>
                              </p:par>
                              <p:par>
                                <p:cTn id="121" presetID="2" presetClass="entr" presetSubtype="4" fill="hold" grpId="0" nodeType="withEffect">
                                  <p:stCondLst>
                                    <p:cond delay="0"/>
                                  </p:stCondLst>
                                  <p:childTnLst>
                                    <p:set>
                                      <p:cBhvr>
                                        <p:cTn id="122" dur="1" fill="hold">
                                          <p:stCondLst>
                                            <p:cond delay="0"/>
                                          </p:stCondLst>
                                        </p:cTn>
                                        <p:tgtEl>
                                          <p:spTgt spid="15"/>
                                        </p:tgtEl>
                                        <p:attrNameLst>
                                          <p:attrName>style.visibility</p:attrName>
                                        </p:attrNameLst>
                                      </p:cBhvr>
                                      <p:to>
                                        <p:strVal val="visible"/>
                                      </p:to>
                                    </p:set>
                                    <p:anim calcmode="lin" valueType="num">
                                      <p:cBhvr additive="base">
                                        <p:cTn id="123" dur="500" fill="hold"/>
                                        <p:tgtEl>
                                          <p:spTgt spid="15"/>
                                        </p:tgtEl>
                                        <p:attrNameLst>
                                          <p:attrName>ppt_x</p:attrName>
                                        </p:attrNameLst>
                                      </p:cBhvr>
                                      <p:tavLst>
                                        <p:tav tm="0">
                                          <p:val>
                                            <p:strVal val="#ppt_x"/>
                                          </p:val>
                                        </p:tav>
                                        <p:tav tm="100000">
                                          <p:val>
                                            <p:strVal val="#ppt_x"/>
                                          </p:val>
                                        </p:tav>
                                      </p:tavLst>
                                    </p:anim>
                                    <p:anim calcmode="lin" valueType="num">
                                      <p:cBhvr additive="base">
                                        <p:cTn id="124" dur="500" fill="hold"/>
                                        <p:tgtEl>
                                          <p:spTgt spid="15"/>
                                        </p:tgtEl>
                                        <p:attrNameLst>
                                          <p:attrName>ppt_y</p:attrName>
                                        </p:attrNameLst>
                                      </p:cBhvr>
                                      <p:tavLst>
                                        <p:tav tm="0">
                                          <p:val>
                                            <p:strVal val="1+#ppt_h/2"/>
                                          </p:val>
                                        </p:tav>
                                        <p:tav tm="100000">
                                          <p:val>
                                            <p:strVal val="#ppt_y"/>
                                          </p:val>
                                        </p:tav>
                                      </p:tavLst>
                                    </p:anim>
                                  </p:childTnLst>
                                </p:cTn>
                              </p:par>
                              <p:par>
                                <p:cTn id="125" presetID="2" presetClass="entr" presetSubtype="4" fill="hold" grpId="0" nodeType="withEffect">
                                  <p:stCondLst>
                                    <p:cond delay="0"/>
                                  </p:stCondLst>
                                  <p:childTnLst>
                                    <p:set>
                                      <p:cBhvr>
                                        <p:cTn id="126" dur="1" fill="hold">
                                          <p:stCondLst>
                                            <p:cond delay="0"/>
                                          </p:stCondLst>
                                        </p:cTn>
                                        <p:tgtEl>
                                          <p:spTgt spid="31"/>
                                        </p:tgtEl>
                                        <p:attrNameLst>
                                          <p:attrName>style.visibility</p:attrName>
                                        </p:attrNameLst>
                                      </p:cBhvr>
                                      <p:to>
                                        <p:strVal val="visible"/>
                                      </p:to>
                                    </p:set>
                                    <p:anim calcmode="lin" valueType="num">
                                      <p:cBhvr additive="base">
                                        <p:cTn id="127" dur="500" fill="hold"/>
                                        <p:tgtEl>
                                          <p:spTgt spid="31"/>
                                        </p:tgtEl>
                                        <p:attrNameLst>
                                          <p:attrName>ppt_x</p:attrName>
                                        </p:attrNameLst>
                                      </p:cBhvr>
                                      <p:tavLst>
                                        <p:tav tm="0">
                                          <p:val>
                                            <p:strVal val="#ppt_x"/>
                                          </p:val>
                                        </p:tav>
                                        <p:tav tm="100000">
                                          <p:val>
                                            <p:strVal val="#ppt_x"/>
                                          </p:val>
                                        </p:tav>
                                      </p:tavLst>
                                    </p:anim>
                                    <p:anim calcmode="lin" valueType="num">
                                      <p:cBhvr additive="base">
                                        <p:cTn id="128" dur="500" fill="hold"/>
                                        <p:tgtEl>
                                          <p:spTgt spid="31"/>
                                        </p:tgtEl>
                                        <p:attrNameLst>
                                          <p:attrName>ppt_y</p:attrName>
                                        </p:attrNameLst>
                                      </p:cBhvr>
                                      <p:tavLst>
                                        <p:tav tm="0">
                                          <p:val>
                                            <p:strVal val="1+#ppt_h/2"/>
                                          </p:val>
                                        </p:tav>
                                        <p:tav tm="100000">
                                          <p:val>
                                            <p:strVal val="#ppt_y"/>
                                          </p:val>
                                        </p:tav>
                                      </p:tavLst>
                                    </p:anim>
                                  </p:childTnLst>
                                </p:cTn>
                              </p:par>
                              <p:par>
                                <p:cTn id="129" presetID="2" presetClass="entr" presetSubtype="4" fill="hold" grpId="0" nodeType="withEffect">
                                  <p:stCondLst>
                                    <p:cond delay="0"/>
                                  </p:stCondLst>
                                  <p:childTnLst>
                                    <p:set>
                                      <p:cBhvr>
                                        <p:cTn id="130" dur="1" fill="hold">
                                          <p:stCondLst>
                                            <p:cond delay="0"/>
                                          </p:stCondLst>
                                        </p:cTn>
                                        <p:tgtEl>
                                          <p:spTgt spid="32"/>
                                        </p:tgtEl>
                                        <p:attrNameLst>
                                          <p:attrName>style.visibility</p:attrName>
                                        </p:attrNameLst>
                                      </p:cBhvr>
                                      <p:to>
                                        <p:strVal val="visible"/>
                                      </p:to>
                                    </p:set>
                                    <p:anim calcmode="lin" valueType="num">
                                      <p:cBhvr additive="base">
                                        <p:cTn id="131" dur="500" fill="hold"/>
                                        <p:tgtEl>
                                          <p:spTgt spid="32"/>
                                        </p:tgtEl>
                                        <p:attrNameLst>
                                          <p:attrName>ppt_x</p:attrName>
                                        </p:attrNameLst>
                                      </p:cBhvr>
                                      <p:tavLst>
                                        <p:tav tm="0">
                                          <p:val>
                                            <p:strVal val="#ppt_x"/>
                                          </p:val>
                                        </p:tav>
                                        <p:tav tm="100000">
                                          <p:val>
                                            <p:strVal val="#ppt_x"/>
                                          </p:val>
                                        </p:tav>
                                      </p:tavLst>
                                    </p:anim>
                                    <p:anim calcmode="lin" valueType="num">
                                      <p:cBhvr additive="base">
                                        <p:cTn id="132" dur="500" fill="hold"/>
                                        <p:tgtEl>
                                          <p:spTgt spid="32"/>
                                        </p:tgtEl>
                                        <p:attrNameLst>
                                          <p:attrName>ppt_y</p:attrName>
                                        </p:attrNameLst>
                                      </p:cBhvr>
                                      <p:tavLst>
                                        <p:tav tm="0">
                                          <p:val>
                                            <p:strVal val="1+#ppt_h/2"/>
                                          </p:val>
                                        </p:tav>
                                        <p:tav tm="100000">
                                          <p:val>
                                            <p:strVal val="#ppt_y"/>
                                          </p:val>
                                        </p:tav>
                                      </p:tavLst>
                                    </p:anim>
                                  </p:childTnLst>
                                </p:cTn>
                              </p:par>
                              <p:par>
                                <p:cTn id="133" presetID="2" presetClass="entr" presetSubtype="4" fill="hold" grpId="0" nodeType="withEffect">
                                  <p:stCondLst>
                                    <p:cond delay="0"/>
                                  </p:stCondLst>
                                  <p:childTnLst>
                                    <p:set>
                                      <p:cBhvr>
                                        <p:cTn id="134" dur="1" fill="hold">
                                          <p:stCondLst>
                                            <p:cond delay="0"/>
                                          </p:stCondLst>
                                        </p:cTn>
                                        <p:tgtEl>
                                          <p:spTgt spid="33"/>
                                        </p:tgtEl>
                                        <p:attrNameLst>
                                          <p:attrName>style.visibility</p:attrName>
                                        </p:attrNameLst>
                                      </p:cBhvr>
                                      <p:to>
                                        <p:strVal val="visible"/>
                                      </p:to>
                                    </p:set>
                                    <p:anim calcmode="lin" valueType="num">
                                      <p:cBhvr additive="base">
                                        <p:cTn id="135" dur="500" fill="hold"/>
                                        <p:tgtEl>
                                          <p:spTgt spid="33"/>
                                        </p:tgtEl>
                                        <p:attrNameLst>
                                          <p:attrName>ppt_x</p:attrName>
                                        </p:attrNameLst>
                                      </p:cBhvr>
                                      <p:tavLst>
                                        <p:tav tm="0">
                                          <p:val>
                                            <p:strVal val="#ppt_x"/>
                                          </p:val>
                                        </p:tav>
                                        <p:tav tm="100000">
                                          <p:val>
                                            <p:strVal val="#ppt_x"/>
                                          </p:val>
                                        </p:tav>
                                      </p:tavLst>
                                    </p:anim>
                                    <p:anim calcmode="lin" valueType="num">
                                      <p:cBhvr additive="base">
                                        <p:cTn id="136" dur="500" fill="hold"/>
                                        <p:tgtEl>
                                          <p:spTgt spid="33"/>
                                        </p:tgtEl>
                                        <p:attrNameLst>
                                          <p:attrName>ppt_y</p:attrName>
                                        </p:attrNameLst>
                                      </p:cBhvr>
                                      <p:tavLst>
                                        <p:tav tm="0">
                                          <p:val>
                                            <p:strVal val="1+#ppt_h/2"/>
                                          </p:val>
                                        </p:tav>
                                        <p:tav tm="100000">
                                          <p:val>
                                            <p:strVal val="#ppt_y"/>
                                          </p:val>
                                        </p:tav>
                                      </p:tavLst>
                                    </p:anim>
                                  </p:childTnLst>
                                </p:cTn>
                              </p:par>
                              <p:par>
                                <p:cTn id="137" presetID="2" presetClass="entr" presetSubtype="4" fill="hold" grpId="0" nodeType="withEffect">
                                  <p:stCondLst>
                                    <p:cond delay="0"/>
                                  </p:stCondLst>
                                  <p:childTnLst>
                                    <p:set>
                                      <p:cBhvr>
                                        <p:cTn id="138" dur="1" fill="hold">
                                          <p:stCondLst>
                                            <p:cond delay="0"/>
                                          </p:stCondLst>
                                        </p:cTn>
                                        <p:tgtEl>
                                          <p:spTgt spid="34"/>
                                        </p:tgtEl>
                                        <p:attrNameLst>
                                          <p:attrName>style.visibility</p:attrName>
                                        </p:attrNameLst>
                                      </p:cBhvr>
                                      <p:to>
                                        <p:strVal val="visible"/>
                                      </p:to>
                                    </p:set>
                                    <p:anim calcmode="lin" valueType="num">
                                      <p:cBhvr additive="base">
                                        <p:cTn id="139" dur="500" fill="hold"/>
                                        <p:tgtEl>
                                          <p:spTgt spid="34"/>
                                        </p:tgtEl>
                                        <p:attrNameLst>
                                          <p:attrName>ppt_x</p:attrName>
                                        </p:attrNameLst>
                                      </p:cBhvr>
                                      <p:tavLst>
                                        <p:tav tm="0">
                                          <p:val>
                                            <p:strVal val="#ppt_x"/>
                                          </p:val>
                                        </p:tav>
                                        <p:tav tm="100000">
                                          <p:val>
                                            <p:strVal val="#ppt_x"/>
                                          </p:val>
                                        </p:tav>
                                      </p:tavLst>
                                    </p:anim>
                                    <p:anim calcmode="lin" valueType="num">
                                      <p:cBhvr additive="base">
                                        <p:cTn id="140" dur="500" fill="hold"/>
                                        <p:tgtEl>
                                          <p:spTgt spid="34"/>
                                        </p:tgtEl>
                                        <p:attrNameLst>
                                          <p:attrName>ppt_y</p:attrName>
                                        </p:attrNameLst>
                                      </p:cBhvr>
                                      <p:tavLst>
                                        <p:tav tm="0">
                                          <p:val>
                                            <p:strVal val="1+#ppt_h/2"/>
                                          </p:val>
                                        </p:tav>
                                        <p:tav tm="100000">
                                          <p:val>
                                            <p:strVal val="#ppt_y"/>
                                          </p:val>
                                        </p:tav>
                                      </p:tavLst>
                                    </p:anim>
                                  </p:childTnLst>
                                </p:cTn>
                              </p:par>
                              <p:par>
                                <p:cTn id="141" presetID="2" presetClass="entr" presetSubtype="4" fill="hold" grpId="0" nodeType="withEffect">
                                  <p:stCondLst>
                                    <p:cond delay="0"/>
                                  </p:stCondLst>
                                  <p:childTnLst>
                                    <p:set>
                                      <p:cBhvr>
                                        <p:cTn id="142" dur="1" fill="hold">
                                          <p:stCondLst>
                                            <p:cond delay="0"/>
                                          </p:stCondLst>
                                        </p:cTn>
                                        <p:tgtEl>
                                          <p:spTgt spid="35"/>
                                        </p:tgtEl>
                                        <p:attrNameLst>
                                          <p:attrName>style.visibility</p:attrName>
                                        </p:attrNameLst>
                                      </p:cBhvr>
                                      <p:to>
                                        <p:strVal val="visible"/>
                                      </p:to>
                                    </p:set>
                                    <p:anim calcmode="lin" valueType="num">
                                      <p:cBhvr additive="base">
                                        <p:cTn id="143" dur="500" fill="hold"/>
                                        <p:tgtEl>
                                          <p:spTgt spid="35"/>
                                        </p:tgtEl>
                                        <p:attrNameLst>
                                          <p:attrName>ppt_x</p:attrName>
                                        </p:attrNameLst>
                                      </p:cBhvr>
                                      <p:tavLst>
                                        <p:tav tm="0">
                                          <p:val>
                                            <p:strVal val="#ppt_x"/>
                                          </p:val>
                                        </p:tav>
                                        <p:tav tm="100000">
                                          <p:val>
                                            <p:strVal val="#ppt_x"/>
                                          </p:val>
                                        </p:tav>
                                      </p:tavLst>
                                    </p:anim>
                                    <p:anim calcmode="lin" valueType="num">
                                      <p:cBhvr additive="base">
                                        <p:cTn id="144" dur="500" fill="hold"/>
                                        <p:tgtEl>
                                          <p:spTgt spid="35"/>
                                        </p:tgtEl>
                                        <p:attrNameLst>
                                          <p:attrName>ppt_y</p:attrName>
                                        </p:attrNameLst>
                                      </p:cBhvr>
                                      <p:tavLst>
                                        <p:tav tm="0">
                                          <p:val>
                                            <p:strVal val="1+#ppt_h/2"/>
                                          </p:val>
                                        </p:tav>
                                        <p:tav tm="100000">
                                          <p:val>
                                            <p:strVal val="#ppt_y"/>
                                          </p:val>
                                        </p:tav>
                                      </p:tavLst>
                                    </p:anim>
                                  </p:childTnLst>
                                </p:cTn>
                              </p:par>
                              <p:par>
                                <p:cTn id="145" presetID="2" presetClass="entr" presetSubtype="4" fill="hold" grpId="0" nodeType="withEffect">
                                  <p:stCondLst>
                                    <p:cond delay="0"/>
                                  </p:stCondLst>
                                  <p:childTnLst>
                                    <p:set>
                                      <p:cBhvr>
                                        <p:cTn id="146" dur="1" fill="hold">
                                          <p:stCondLst>
                                            <p:cond delay="0"/>
                                          </p:stCondLst>
                                        </p:cTn>
                                        <p:tgtEl>
                                          <p:spTgt spid="36"/>
                                        </p:tgtEl>
                                        <p:attrNameLst>
                                          <p:attrName>style.visibility</p:attrName>
                                        </p:attrNameLst>
                                      </p:cBhvr>
                                      <p:to>
                                        <p:strVal val="visible"/>
                                      </p:to>
                                    </p:set>
                                    <p:anim calcmode="lin" valueType="num">
                                      <p:cBhvr additive="base">
                                        <p:cTn id="147" dur="500" fill="hold"/>
                                        <p:tgtEl>
                                          <p:spTgt spid="36"/>
                                        </p:tgtEl>
                                        <p:attrNameLst>
                                          <p:attrName>ppt_x</p:attrName>
                                        </p:attrNameLst>
                                      </p:cBhvr>
                                      <p:tavLst>
                                        <p:tav tm="0">
                                          <p:val>
                                            <p:strVal val="#ppt_x"/>
                                          </p:val>
                                        </p:tav>
                                        <p:tav tm="100000">
                                          <p:val>
                                            <p:strVal val="#ppt_x"/>
                                          </p:val>
                                        </p:tav>
                                      </p:tavLst>
                                    </p:anim>
                                    <p:anim calcmode="lin" valueType="num">
                                      <p:cBhvr additive="base">
                                        <p:cTn id="148" dur="500" fill="hold"/>
                                        <p:tgtEl>
                                          <p:spTgt spid="3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p:bldP spid="9" grpId="0" animBg="1"/>
      <p:bldP spid="10" grpId="0" animBg="1"/>
      <p:bldP spid="11" grpId="0"/>
      <p:bldP spid="12" grpId="0" animBg="1"/>
      <p:bldP spid="13" grpId="0" animBg="1"/>
      <p:bldP spid="14" grpId="0"/>
      <p:bldP spid="15" grpId="0" animBg="1"/>
      <p:bldP spid="16" grpId="0"/>
      <p:bldP spid="17" grpId="0" animBg="1"/>
      <p:bldP spid="18" grpId="0"/>
      <p:bldP spid="19" grpId="0" animBg="1"/>
      <p:bldP spid="20" grpId="0"/>
      <p:bldP spid="21" grpId="0" animBg="1"/>
      <p:bldP spid="23" grpId="0"/>
      <p:bldP spid="24" grpId="0" animBg="1"/>
      <p:bldP spid="25" grpId="0"/>
      <p:bldP spid="26" grpId="0" animBg="1"/>
      <p:bldP spid="27" grpId="0"/>
      <p:bldP spid="28" grpId="0" animBg="1"/>
      <p:bldP spid="29" grpId="0"/>
      <p:bldP spid="30" grpId="0" animBg="1"/>
      <p:bldP spid="31" grpId="0"/>
      <p:bldP spid="32" grpId="0" animBg="1"/>
      <p:bldP spid="33" grpId="0"/>
      <p:bldP spid="34" grpId="0" animBg="1"/>
      <p:bldP spid="35" grpId="0"/>
      <p:bldP spid="36" grpId="0" animBg="1"/>
      <p:bldP spid="37" grpId="0"/>
      <p:bldP spid="38" grpId="0" animBg="1"/>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Forklift?</a:t>
            </a:r>
            <a:endParaRPr lang="en-US" dirty="0"/>
          </a:p>
        </p:txBody>
      </p:sp>
      <p:sp>
        <p:nvSpPr>
          <p:cNvPr id="3" name="Text Placeholder 2"/>
          <p:cNvSpPr>
            <a:spLocks noGrp="1"/>
          </p:cNvSpPr>
          <p:nvPr>
            <p:ph type="body" sz="quarter" idx="10"/>
          </p:nvPr>
        </p:nvSpPr>
        <p:spPr>
          <a:xfrm>
            <a:off x="389436" y="1085850"/>
            <a:ext cx="8363938" cy="738664"/>
          </a:xfrm>
        </p:spPr>
        <p:txBody>
          <a:bodyPr/>
          <a:lstStyle/>
          <a:p>
            <a:r>
              <a:rPr lang="en-US" dirty="0" smtClean="0"/>
              <a:t>Just make it work baby</a:t>
            </a:r>
          </a:p>
          <a:p>
            <a:pPr marL="0" indent="0">
              <a:buNone/>
            </a:pPr>
            <a:endParaRPr lang="en-US" dirty="0"/>
          </a:p>
        </p:txBody>
      </p:sp>
      <p:sp>
        <p:nvSpPr>
          <p:cNvPr id="7" name="Light Blue"/>
          <p:cNvSpPr/>
          <p:nvPr/>
        </p:nvSpPr>
        <p:spPr bwMode="auto">
          <a:xfrm>
            <a:off x="227469" y="1600200"/>
            <a:ext cx="2801079" cy="800100"/>
          </a:xfrm>
          <a:prstGeom prst="roundRect">
            <a:avLst>
              <a:gd name="adj" fmla="val 0"/>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p:txBody>
      </p:sp>
      <p:sp>
        <p:nvSpPr>
          <p:cNvPr id="8" name="Light Blue"/>
          <p:cNvSpPr/>
          <p:nvPr/>
        </p:nvSpPr>
        <p:spPr bwMode="auto">
          <a:xfrm>
            <a:off x="227469" y="2571750"/>
            <a:ext cx="2801079" cy="2228850"/>
          </a:xfrm>
          <a:prstGeom prst="roundRect">
            <a:avLst>
              <a:gd name="adj" fmla="val 0"/>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p:txBody>
      </p:sp>
      <p:sp>
        <p:nvSpPr>
          <p:cNvPr id="9" name="Dark Gray"/>
          <p:cNvSpPr/>
          <p:nvPr/>
        </p:nvSpPr>
        <p:spPr bwMode="auto">
          <a:xfrm>
            <a:off x="6172618" y="1600200"/>
            <a:ext cx="2801079" cy="800100"/>
          </a:xfrm>
          <a:prstGeom prst="roundRect">
            <a:avLst>
              <a:gd name="adj" fmla="val 0"/>
            </a:avLst>
          </a:prstGeom>
          <a:solidFill>
            <a:schemeClr val="bg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p:txBody>
      </p:sp>
      <p:sp>
        <p:nvSpPr>
          <p:cNvPr id="10" name="Dark Gray"/>
          <p:cNvSpPr/>
          <p:nvPr/>
        </p:nvSpPr>
        <p:spPr bwMode="auto">
          <a:xfrm>
            <a:off x="6172618" y="2565643"/>
            <a:ext cx="2801079" cy="2228850"/>
          </a:xfrm>
          <a:prstGeom prst="roundRect">
            <a:avLst>
              <a:gd name="adj" fmla="val 0"/>
            </a:avLst>
          </a:prstGeom>
          <a:solidFill>
            <a:schemeClr val="bg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p:txBody>
      </p:sp>
      <p:sp>
        <p:nvSpPr>
          <p:cNvPr id="11" name="Green"/>
          <p:cNvSpPr/>
          <p:nvPr/>
        </p:nvSpPr>
        <p:spPr bwMode="auto">
          <a:xfrm>
            <a:off x="3200044" y="1605592"/>
            <a:ext cx="2801079" cy="800100"/>
          </a:xfrm>
          <a:prstGeom prst="roundRect">
            <a:avLst>
              <a:gd name="adj" fmla="val 0"/>
            </a:avLst>
          </a:prstGeom>
          <a:solidFill>
            <a:schemeClr val="accent6"/>
          </a:soli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p:txBody>
      </p:sp>
      <p:sp>
        <p:nvSpPr>
          <p:cNvPr id="12" name="Green"/>
          <p:cNvSpPr/>
          <p:nvPr/>
        </p:nvSpPr>
        <p:spPr bwMode="auto">
          <a:xfrm>
            <a:off x="3200044" y="2565643"/>
            <a:ext cx="2801079" cy="2228850"/>
          </a:xfrm>
          <a:prstGeom prst="roundRect">
            <a:avLst>
              <a:gd name="adj" fmla="val 0"/>
            </a:avLst>
          </a:prstGeom>
          <a:solidFill>
            <a:schemeClr val="accent6"/>
          </a:soli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p:txBody>
      </p:sp>
      <p:sp>
        <p:nvSpPr>
          <p:cNvPr id="13" name="Freeform 91"/>
          <p:cNvSpPr>
            <a:spLocks noEditPoints="1"/>
          </p:cNvSpPr>
          <p:nvPr/>
        </p:nvSpPr>
        <p:spPr bwMode="auto">
          <a:xfrm>
            <a:off x="456128" y="1756010"/>
            <a:ext cx="410670" cy="488481"/>
          </a:xfrm>
          <a:custGeom>
            <a:avLst/>
            <a:gdLst>
              <a:gd name="T0" fmla="*/ 8 w 348"/>
              <a:gd name="T1" fmla="*/ 0 h 414"/>
              <a:gd name="T2" fmla="*/ 0 w 348"/>
              <a:gd name="T3" fmla="*/ 406 h 414"/>
              <a:gd name="T4" fmla="*/ 340 w 348"/>
              <a:gd name="T5" fmla="*/ 414 h 414"/>
              <a:gd name="T6" fmla="*/ 348 w 348"/>
              <a:gd name="T7" fmla="*/ 8 h 414"/>
              <a:gd name="T8" fmla="*/ 333 w 348"/>
              <a:gd name="T9" fmla="*/ 399 h 414"/>
              <a:gd name="T10" fmla="*/ 15 w 348"/>
              <a:gd name="T11" fmla="*/ 15 h 414"/>
              <a:gd name="T12" fmla="*/ 333 w 348"/>
              <a:gd name="T13" fmla="*/ 399 h 414"/>
              <a:gd name="T14" fmla="*/ 33 w 348"/>
              <a:gd name="T15" fmla="*/ 43 h 414"/>
              <a:gd name="T16" fmla="*/ 307 w 348"/>
              <a:gd name="T17" fmla="*/ 36 h 414"/>
              <a:gd name="T18" fmla="*/ 315 w 348"/>
              <a:gd name="T19" fmla="*/ 104 h 414"/>
              <a:gd name="T20" fmla="*/ 41 w 348"/>
              <a:gd name="T21" fmla="*/ 111 h 414"/>
              <a:gd name="T22" fmla="*/ 108 w 348"/>
              <a:gd name="T23" fmla="*/ 141 h 414"/>
              <a:gd name="T24" fmla="*/ 123 w 348"/>
              <a:gd name="T25" fmla="*/ 203 h 414"/>
              <a:gd name="T26" fmla="*/ 53 w 348"/>
              <a:gd name="T27" fmla="*/ 210 h 414"/>
              <a:gd name="T28" fmla="*/ 108 w 348"/>
              <a:gd name="T29" fmla="*/ 195 h 414"/>
              <a:gd name="T30" fmla="*/ 198 w 348"/>
              <a:gd name="T31" fmla="*/ 141 h 414"/>
              <a:gd name="T32" fmla="*/ 212 w 348"/>
              <a:gd name="T33" fmla="*/ 203 h 414"/>
              <a:gd name="T34" fmla="*/ 143 w 348"/>
              <a:gd name="T35" fmla="*/ 210 h 414"/>
              <a:gd name="T36" fmla="*/ 198 w 348"/>
              <a:gd name="T37" fmla="*/ 195 h 414"/>
              <a:gd name="T38" fmla="*/ 287 w 348"/>
              <a:gd name="T39" fmla="*/ 141 h 414"/>
              <a:gd name="T40" fmla="*/ 302 w 348"/>
              <a:gd name="T41" fmla="*/ 203 h 414"/>
              <a:gd name="T42" fmla="*/ 233 w 348"/>
              <a:gd name="T43" fmla="*/ 210 h 414"/>
              <a:gd name="T44" fmla="*/ 287 w 348"/>
              <a:gd name="T45" fmla="*/ 195 h 414"/>
              <a:gd name="T46" fmla="*/ 108 w 348"/>
              <a:gd name="T47" fmla="*/ 314 h 414"/>
              <a:gd name="T48" fmla="*/ 123 w 348"/>
              <a:gd name="T49" fmla="*/ 376 h 414"/>
              <a:gd name="T50" fmla="*/ 53 w 348"/>
              <a:gd name="T51" fmla="*/ 384 h 414"/>
              <a:gd name="T52" fmla="*/ 108 w 348"/>
              <a:gd name="T53" fmla="*/ 369 h 414"/>
              <a:gd name="T54" fmla="*/ 198 w 348"/>
              <a:gd name="T55" fmla="*/ 314 h 414"/>
              <a:gd name="T56" fmla="*/ 212 w 348"/>
              <a:gd name="T57" fmla="*/ 376 h 414"/>
              <a:gd name="T58" fmla="*/ 143 w 348"/>
              <a:gd name="T59" fmla="*/ 384 h 414"/>
              <a:gd name="T60" fmla="*/ 198 w 348"/>
              <a:gd name="T61" fmla="*/ 369 h 414"/>
              <a:gd name="T62" fmla="*/ 287 w 348"/>
              <a:gd name="T63" fmla="*/ 314 h 414"/>
              <a:gd name="T64" fmla="*/ 302 w 348"/>
              <a:gd name="T65" fmla="*/ 376 h 414"/>
              <a:gd name="T66" fmla="*/ 233 w 348"/>
              <a:gd name="T67" fmla="*/ 384 h 414"/>
              <a:gd name="T68" fmla="*/ 287 w 348"/>
              <a:gd name="T69" fmla="*/ 369 h 414"/>
              <a:gd name="T70" fmla="*/ 108 w 348"/>
              <a:gd name="T71" fmla="*/ 227 h 414"/>
              <a:gd name="T72" fmla="*/ 123 w 348"/>
              <a:gd name="T73" fmla="*/ 289 h 414"/>
              <a:gd name="T74" fmla="*/ 53 w 348"/>
              <a:gd name="T75" fmla="*/ 297 h 414"/>
              <a:gd name="T76" fmla="*/ 108 w 348"/>
              <a:gd name="T77" fmla="*/ 282 h 414"/>
              <a:gd name="T78" fmla="*/ 198 w 348"/>
              <a:gd name="T79" fmla="*/ 227 h 414"/>
              <a:gd name="T80" fmla="*/ 212 w 348"/>
              <a:gd name="T81" fmla="*/ 289 h 414"/>
              <a:gd name="T82" fmla="*/ 143 w 348"/>
              <a:gd name="T83" fmla="*/ 297 h 414"/>
              <a:gd name="T84" fmla="*/ 198 w 348"/>
              <a:gd name="T85" fmla="*/ 282 h 414"/>
              <a:gd name="T86" fmla="*/ 287 w 348"/>
              <a:gd name="T87" fmla="*/ 227 h 414"/>
              <a:gd name="T88" fmla="*/ 302 w 348"/>
              <a:gd name="T89" fmla="*/ 289 h 414"/>
              <a:gd name="T90" fmla="*/ 233 w 348"/>
              <a:gd name="T91" fmla="*/ 297 h 414"/>
              <a:gd name="T92" fmla="*/ 287 w 348"/>
              <a:gd name="T93" fmla="*/ 28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8" h="414">
                <a:moveTo>
                  <a:pt x="340" y="0"/>
                </a:moveTo>
                <a:cubicBezTo>
                  <a:pt x="8" y="0"/>
                  <a:pt x="8" y="0"/>
                  <a:pt x="8" y="0"/>
                </a:cubicBezTo>
                <a:cubicBezTo>
                  <a:pt x="4" y="0"/>
                  <a:pt x="0" y="4"/>
                  <a:pt x="0" y="8"/>
                </a:cubicBezTo>
                <a:cubicBezTo>
                  <a:pt x="0" y="406"/>
                  <a:pt x="0" y="406"/>
                  <a:pt x="0" y="406"/>
                </a:cubicBezTo>
                <a:cubicBezTo>
                  <a:pt x="0" y="410"/>
                  <a:pt x="4" y="414"/>
                  <a:pt x="8" y="414"/>
                </a:cubicBezTo>
                <a:cubicBezTo>
                  <a:pt x="340" y="414"/>
                  <a:pt x="340" y="414"/>
                  <a:pt x="340" y="414"/>
                </a:cubicBezTo>
                <a:cubicBezTo>
                  <a:pt x="344" y="414"/>
                  <a:pt x="348" y="410"/>
                  <a:pt x="348" y="406"/>
                </a:cubicBezTo>
                <a:cubicBezTo>
                  <a:pt x="348" y="8"/>
                  <a:pt x="348" y="8"/>
                  <a:pt x="348" y="8"/>
                </a:cubicBezTo>
                <a:cubicBezTo>
                  <a:pt x="348" y="4"/>
                  <a:pt x="344" y="0"/>
                  <a:pt x="340" y="0"/>
                </a:cubicBezTo>
                <a:close/>
                <a:moveTo>
                  <a:pt x="333" y="399"/>
                </a:moveTo>
                <a:cubicBezTo>
                  <a:pt x="15" y="399"/>
                  <a:pt x="15" y="399"/>
                  <a:pt x="15" y="399"/>
                </a:cubicBezTo>
                <a:cubicBezTo>
                  <a:pt x="15" y="15"/>
                  <a:pt x="15" y="15"/>
                  <a:pt x="15" y="15"/>
                </a:cubicBezTo>
                <a:cubicBezTo>
                  <a:pt x="333" y="15"/>
                  <a:pt x="333" y="15"/>
                  <a:pt x="333" y="15"/>
                </a:cubicBezTo>
                <a:lnTo>
                  <a:pt x="333" y="399"/>
                </a:lnTo>
                <a:close/>
                <a:moveTo>
                  <a:pt x="33" y="104"/>
                </a:moveTo>
                <a:cubicBezTo>
                  <a:pt x="33" y="43"/>
                  <a:pt x="33" y="43"/>
                  <a:pt x="33" y="43"/>
                </a:cubicBezTo>
                <a:cubicBezTo>
                  <a:pt x="33" y="39"/>
                  <a:pt x="37" y="36"/>
                  <a:pt x="41" y="36"/>
                </a:cubicBezTo>
                <a:cubicBezTo>
                  <a:pt x="307" y="36"/>
                  <a:pt x="307" y="36"/>
                  <a:pt x="307" y="36"/>
                </a:cubicBezTo>
                <a:cubicBezTo>
                  <a:pt x="311" y="36"/>
                  <a:pt x="315" y="39"/>
                  <a:pt x="315" y="43"/>
                </a:cubicBezTo>
                <a:cubicBezTo>
                  <a:pt x="315" y="104"/>
                  <a:pt x="315" y="104"/>
                  <a:pt x="315" y="104"/>
                </a:cubicBezTo>
                <a:cubicBezTo>
                  <a:pt x="315" y="108"/>
                  <a:pt x="311" y="111"/>
                  <a:pt x="307" y="111"/>
                </a:cubicBezTo>
                <a:cubicBezTo>
                  <a:pt x="41" y="111"/>
                  <a:pt x="41" y="111"/>
                  <a:pt x="41" y="111"/>
                </a:cubicBezTo>
                <a:cubicBezTo>
                  <a:pt x="37" y="111"/>
                  <a:pt x="33" y="108"/>
                  <a:pt x="33" y="104"/>
                </a:cubicBezTo>
                <a:close/>
                <a:moveTo>
                  <a:pt x="108" y="141"/>
                </a:moveTo>
                <a:cubicBezTo>
                  <a:pt x="123" y="141"/>
                  <a:pt x="123" y="141"/>
                  <a:pt x="123" y="141"/>
                </a:cubicBezTo>
                <a:cubicBezTo>
                  <a:pt x="123" y="203"/>
                  <a:pt x="123" y="203"/>
                  <a:pt x="123" y="203"/>
                </a:cubicBezTo>
                <a:cubicBezTo>
                  <a:pt x="123" y="207"/>
                  <a:pt x="119" y="210"/>
                  <a:pt x="115" y="210"/>
                </a:cubicBezTo>
                <a:cubicBezTo>
                  <a:pt x="53" y="210"/>
                  <a:pt x="53" y="210"/>
                  <a:pt x="53" y="210"/>
                </a:cubicBezTo>
                <a:cubicBezTo>
                  <a:pt x="53" y="195"/>
                  <a:pt x="53" y="195"/>
                  <a:pt x="53" y="195"/>
                </a:cubicBezTo>
                <a:cubicBezTo>
                  <a:pt x="108" y="195"/>
                  <a:pt x="108" y="195"/>
                  <a:pt x="108" y="195"/>
                </a:cubicBezTo>
                <a:lnTo>
                  <a:pt x="108" y="141"/>
                </a:lnTo>
                <a:close/>
                <a:moveTo>
                  <a:pt x="198" y="141"/>
                </a:moveTo>
                <a:cubicBezTo>
                  <a:pt x="212" y="141"/>
                  <a:pt x="212" y="141"/>
                  <a:pt x="212" y="141"/>
                </a:cubicBezTo>
                <a:cubicBezTo>
                  <a:pt x="212" y="203"/>
                  <a:pt x="212" y="203"/>
                  <a:pt x="212" y="203"/>
                </a:cubicBezTo>
                <a:cubicBezTo>
                  <a:pt x="212" y="207"/>
                  <a:pt x="209" y="210"/>
                  <a:pt x="205" y="210"/>
                </a:cubicBezTo>
                <a:cubicBezTo>
                  <a:pt x="143" y="210"/>
                  <a:pt x="143" y="210"/>
                  <a:pt x="143" y="210"/>
                </a:cubicBezTo>
                <a:cubicBezTo>
                  <a:pt x="143" y="195"/>
                  <a:pt x="143" y="195"/>
                  <a:pt x="143" y="195"/>
                </a:cubicBezTo>
                <a:cubicBezTo>
                  <a:pt x="198" y="195"/>
                  <a:pt x="198" y="195"/>
                  <a:pt x="198" y="195"/>
                </a:cubicBezTo>
                <a:lnTo>
                  <a:pt x="198" y="141"/>
                </a:lnTo>
                <a:close/>
                <a:moveTo>
                  <a:pt x="287" y="141"/>
                </a:moveTo>
                <a:cubicBezTo>
                  <a:pt x="302" y="141"/>
                  <a:pt x="302" y="141"/>
                  <a:pt x="302" y="141"/>
                </a:cubicBezTo>
                <a:cubicBezTo>
                  <a:pt x="302" y="203"/>
                  <a:pt x="302" y="203"/>
                  <a:pt x="302" y="203"/>
                </a:cubicBezTo>
                <a:cubicBezTo>
                  <a:pt x="302" y="207"/>
                  <a:pt x="299" y="210"/>
                  <a:pt x="295" y="210"/>
                </a:cubicBezTo>
                <a:cubicBezTo>
                  <a:pt x="233" y="210"/>
                  <a:pt x="233" y="210"/>
                  <a:pt x="233" y="210"/>
                </a:cubicBezTo>
                <a:cubicBezTo>
                  <a:pt x="233" y="195"/>
                  <a:pt x="233" y="195"/>
                  <a:pt x="233" y="195"/>
                </a:cubicBezTo>
                <a:cubicBezTo>
                  <a:pt x="287" y="195"/>
                  <a:pt x="287" y="195"/>
                  <a:pt x="287" y="195"/>
                </a:cubicBezTo>
                <a:lnTo>
                  <a:pt x="287" y="141"/>
                </a:lnTo>
                <a:close/>
                <a:moveTo>
                  <a:pt x="108" y="314"/>
                </a:moveTo>
                <a:cubicBezTo>
                  <a:pt x="123" y="314"/>
                  <a:pt x="123" y="314"/>
                  <a:pt x="123" y="314"/>
                </a:cubicBezTo>
                <a:cubicBezTo>
                  <a:pt x="123" y="376"/>
                  <a:pt x="123" y="376"/>
                  <a:pt x="123" y="376"/>
                </a:cubicBezTo>
                <a:cubicBezTo>
                  <a:pt x="123" y="380"/>
                  <a:pt x="119" y="384"/>
                  <a:pt x="115" y="384"/>
                </a:cubicBezTo>
                <a:cubicBezTo>
                  <a:pt x="53" y="384"/>
                  <a:pt x="53" y="384"/>
                  <a:pt x="53" y="384"/>
                </a:cubicBezTo>
                <a:cubicBezTo>
                  <a:pt x="53" y="369"/>
                  <a:pt x="53" y="369"/>
                  <a:pt x="53" y="369"/>
                </a:cubicBezTo>
                <a:cubicBezTo>
                  <a:pt x="108" y="369"/>
                  <a:pt x="108" y="369"/>
                  <a:pt x="108" y="369"/>
                </a:cubicBezTo>
                <a:lnTo>
                  <a:pt x="108" y="314"/>
                </a:lnTo>
                <a:close/>
                <a:moveTo>
                  <a:pt x="198" y="314"/>
                </a:moveTo>
                <a:cubicBezTo>
                  <a:pt x="212" y="314"/>
                  <a:pt x="212" y="314"/>
                  <a:pt x="212" y="314"/>
                </a:cubicBezTo>
                <a:cubicBezTo>
                  <a:pt x="212" y="376"/>
                  <a:pt x="212" y="376"/>
                  <a:pt x="212" y="376"/>
                </a:cubicBezTo>
                <a:cubicBezTo>
                  <a:pt x="212" y="380"/>
                  <a:pt x="209" y="384"/>
                  <a:pt x="205" y="384"/>
                </a:cubicBezTo>
                <a:cubicBezTo>
                  <a:pt x="143" y="384"/>
                  <a:pt x="143" y="384"/>
                  <a:pt x="143" y="384"/>
                </a:cubicBezTo>
                <a:cubicBezTo>
                  <a:pt x="143" y="369"/>
                  <a:pt x="143" y="369"/>
                  <a:pt x="143" y="369"/>
                </a:cubicBezTo>
                <a:cubicBezTo>
                  <a:pt x="198" y="369"/>
                  <a:pt x="198" y="369"/>
                  <a:pt x="198" y="369"/>
                </a:cubicBezTo>
                <a:lnTo>
                  <a:pt x="198" y="314"/>
                </a:lnTo>
                <a:close/>
                <a:moveTo>
                  <a:pt x="287" y="314"/>
                </a:moveTo>
                <a:cubicBezTo>
                  <a:pt x="302" y="314"/>
                  <a:pt x="302" y="314"/>
                  <a:pt x="302" y="314"/>
                </a:cubicBezTo>
                <a:cubicBezTo>
                  <a:pt x="302" y="376"/>
                  <a:pt x="302" y="376"/>
                  <a:pt x="302" y="376"/>
                </a:cubicBezTo>
                <a:cubicBezTo>
                  <a:pt x="302" y="380"/>
                  <a:pt x="299" y="384"/>
                  <a:pt x="295" y="384"/>
                </a:cubicBezTo>
                <a:cubicBezTo>
                  <a:pt x="233" y="384"/>
                  <a:pt x="233" y="384"/>
                  <a:pt x="233" y="384"/>
                </a:cubicBezTo>
                <a:cubicBezTo>
                  <a:pt x="233" y="369"/>
                  <a:pt x="233" y="369"/>
                  <a:pt x="233" y="369"/>
                </a:cubicBezTo>
                <a:cubicBezTo>
                  <a:pt x="287" y="369"/>
                  <a:pt x="287" y="369"/>
                  <a:pt x="287" y="369"/>
                </a:cubicBezTo>
                <a:lnTo>
                  <a:pt x="287" y="314"/>
                </a:lnTo>
                <a:close/>
                <a:moveTo>
                  <a:pt x="108" y="227"/>
                </a:moveTo>
                <a:cubicBezTo>
                  <a:pt x="123" y="227"/>
                  <a:pt x="123" y="227"/>
                  <a:pt x="123" y="227"/>
                </a:cubicBezTo>
                <a:cubicBezTo>
                  <a:pt x="123" y="289"/>
                  <a:pt x="123" y="289"/>
                  <a:pt x="123" y="289"/>
                </a:cubicBezTo>
                <a:cubicBezTo>
                  <a:pt x="123" y="293"/>
                  <a:pt x="119" y="297"/>
                  <a:pt x="115" y="297"/>
                </a:cubicBezTo>
                <a:cubicBezTo>
                  <a:pt x="53" y="297"/>
                  <a:pt x="53" y="297"/>
                  <a:pt x="53" y="297"/>
                </a:cubicBezTo>
                <a:cubicBezTo>
                  <a:pt x="53" y="282"/>
                  <a:pt x="53" y="282"/>
                  <a:pt x="53" y="282"/>
                </a:cubicBezTo>
                <a:cubicBezTo>
                  <a:pt x="108" y="282"/>
                  <a:pt x="108" y="282"/>
                  <a:pt x="108" y="282"/>
                </a:cubicBezTo>
                <a:lnTo>
                  <a:pt x="108" y="227"/>
                </a:lnTo>
                <a:close/>
                <a:moveTo>
                  <a:pt x="198" y="227"/>
                </a:moveTo>
                <a:cubicBezTo>
                  <a:pt x="212" y="227"/>
                  <a:pt x="212" y="227"/>
                  <a:pt x="212" y="227"/>
                </a:cubicBezTo>
                <a:cubicBezTo>
                  <a:pt x="212" y="289"/>
                  <a:pt x="212" y="289"/>
                  <a:pt x="212" y="289"/>
                </a:cubicBezTo>
                <a:cubicBezTo>
                  <a:pt x="212" y="293"/>
                  <a:pt x="209" y="297"/>
                  <a:pt x="205" y="297"/>
                </a:cubicBezTo>
                <a:cubicBezTo>
                  <a:pt x="143" y="297"/>
                  <a:pt x="143" y="297"/>
                  <a:pt x="143" y="297"/>
                </a:cubicBezTo>
                <a:cubicBezTo>
                  <a:pt x="143" y="282"/>
                  <a:pt x="143" y="282"/>
                  <a:pt x="143" y="282"/>
                </a:cubicBezTo>
                <a:cubicBezTo>
                  <a:pt x="198" y="282"/>
                  <a:pt x="198" y="282"/>
                  <a:pt x="198" y="282"/>
                </a:cubicBezTo>
                <a:lnTo>
                  <a:pt x="198" y="227"/>
                </a:lnTo>
                <a:close/>
                <a:moveTo>
                  <a:pt x="287" y="227"/>
                </a:moveTo>
                <a:cubicBezTo>
                  <a:pt x="302" y="227"/>
                  <a:pt x="302" y="227"/>
                  <a:pt x="302" y="227"/>
                </a:cubicBezTo>
                <a:cubicBezTo>
                  <a:pt x="302" y="289"/>
                  <a:pt x="302" y="289"/>
                  <a:pt x="302" y="289"/>
                </a:cubicBezTo>
                <a:cubicBezTo>
                  <a:pt x="302" y="293"/>
                  <a:pt x="299" y="297"/>
                  <a:pt x="295" y="297"/>
                </a:cubicBezTo>
                <a:cubicBezTo>
                  <a:pt x="233" y="297"/>
                  <a:pt x="233" y="297"/>
                  <a:pt x="233" y="297"/>
                </a:cubicBezTo>
                <a:cubicBezTo>
                  <a:pt x="233" y="282"/>
                  <a:pt x="233" y="282"/>
                  <a:pt x="233" y="282"/>
                </a:cubicBezTo>
                <a:cubicBezTo>
                  <a:pt x="287" y="282"/>
                  <a:pt x="287" y="282"/>
                  <a:pt x="287" y="282"/>
                </a:cubicBezTo>
                <a:lnTo>
                  <a:pt x="287" y="227"/>
                </a:ln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14" name="TextBox 13"/>
          <p:cNvSpPr txBox="1"/>
          <p:nvPr/>
        </p:nvSpPr>
        <p:spPr>
          <a:xfrm>
            <a:off x="1027777" y="1790968"/>
            <a:ext cx="1200463" cy="429348"/>
          </a:xfrm>
          <a:prstGeom prst="rect">
            <a:avLst/>
          </a:prstGeom>
          <a:noFill/>
        </p:spPr>
        <p:txBody>
          <a:bodyPr wrap="square" lIns="68586" tIns="68586" rIns="68586" bIns="68586" rtlCol="0">
            <a:spAutoFit/>
          </a:bodyPr>
          <a:lstStyle/>
          <a:p>
            <a:pPr>
              <a:lnSpc>
                <a:spcPct val="90000"/>
              </a:lnSpc>
              <a:spcBef>
                <a:spcPct val="20000"/>
              </a:spcBef>
              <a:buSzPct val="90000"/>
            </a:pPr>
            <a:r>
              <a:rPr lang="en-US" sz="2100" dirty="0">
                <a:solidFill>
                  <a:schemeClr val="tx1">
                    <a:alpha val="99000"/>
                  </a:schemeClr>
                </a:solidFill>
              </a:rPr>
              <a:t>Triggers</a:t>
            </a:r>
          </a:p>
        </p:txBody>
      </p:sp>
      <p:sp>
        <p:nvSpPr>
          <p:cNvPr id="15" name="Freeform 80"/>
          <p:cNvSpPr>
            <a:spLocks noEditPoints="1"/>
          </p:cNvSpPr>
          <p:nvPr/>
        </p:nvSpPr>
        <p:spPr bwMode="auto">
          <a:xfrm>
            <a:off x="3485867" y="1771651"/>
            <a:ext cx="330234" cy="486983"/>
          </a:xfrm>
          <a:custGeom>
            <a:avLst/>
            <a:gdLst>
              <a:gd name="T0" fmla="*/ 273 w 280"/>
              <a:gd name="T1" fmla="*/ 0 h 413"/>
              <a:gd name="T2" fmla="*/ 7 w 280"/>
              <a:gd name="T3" fmla="*/ 0 h 413"/>
              <a:gd name="T4" fmla="*/ 0 w 280"/>
              <a:gd name="T5" fmla="*/ 7 h 413"/>
              <a:gd name="T6" fmla="*/ 0 w 280"/>
              <a:gd name="T7" fmla="*/ 406 h 413"/>
              <a:gd name="T8" fmla="*/ 7 w 280"/>
              <a:gd name="T9" fmla="*/ 413 h 413"/>
              <a:gd name="T10" fmla="*/ 273 w 280"/>
              <a:gd name="T11" fmla="*/ 413 h 413"/>
              <a:gd name="T12" fmla="*/ 280 w 280"/>
              <a:gd name="T13" fmla="*/ 406 h 413"/>
              <a:gd name="T14" fmla="*/ 280 w 280"/>
              <a:gd name="T15" fmla="*/ 7 h 413"/>
              <a:gd name="T16" fmla="*/ 273 w 280"/>
              <a:gd name="T17" fmla="*/ 0 h 413"/>
              <a:gd name="T18" fmla="*/ 266 w 280"/>
              <a:gd name="T19" fmla="*/ 398 h 413"/>
              <a:gd name="T20" fmla="*/ 14 w 280"/>
              <a:gd name="T21" fmla="*/ 398 h 413"/>
              <a:gd name="T22" fmla="*/ 14 w 280"/>
              <a:gd name="T23" fmla="*/ 14 h 413"/>
              <a:gd name="T24" fmla="*/ 266 w 280"/>
              <a:gd name="T25" fmla="*/ 14 h 413"/>
              <a:gd name="T26" fmla="*/ 266 w 280"/>
              <a:gd name="T27" fmla="*/ 398 h 413"/>
              <a:gd name="T28" fmla="*/ 108 w 280"/>
              <a:gd name="T29" fmla="*/ 81 h 413"/>
              <a:gd name="T30" fmla="*/ 174 w 280"/>
              <a:gd name="T31" fmla="*/ 81 h 413"/>
              <a:gd name="T32" fmla="*/ 198 w 280"/>
              <a:gd name="T33" fmla="*/ 57 h 413"/>
              <a:gd name="T34" fmla="*/ 174 w 280"/>
              <a:gd name="T35" fmla="*/ 33 h 413"/>
              <a:gd name="T36" fmla="*/ 108 w 280"/>
              <a:gd name="T37" fmla="*/ 33 h 413"/>
              <a:gd name="T38" fmla="*/ 84 w 280"/>
              <a:gd name="T39" fmla="*/ 57 h 413"/>
              <a:gd name="T40" fmla="*/ 108 w 280"/>
              <a:gd name="T41" fmla="*/ 81 h 413"/>
              <a:gd name="T42" fmla="*/ 108 w 280"/>
              <a:gd name="T43" fmla="*/ 48 h 413"/>
              <a:gd name="T44" fmla="*/ 174 w 280"/>
              <a:gd name="T45" fmla="*/ 48 h 413"/>
              <a:gd name="T46" fmla="*/ 184 w 280"/>
              <a:gd name="T47" fmla="*/ 57 h 413"/>
              <a:gd name="T48" fmla="*/ 174 w 280"/>
              <a:gd name="T49" fmla="*/ 66 h 413"/>
              <a:gd name="T50" fmla="*/ 108 w 280"/>
              <a:gd name="T51" fmla="*/ 66 h 413"/>
              <a:gd name="T52" fmla="*/ 99 w 280"/>
              <a:gd name="T53" fmla="*/ 57 h 413"/>
              <a:gd name="T54" fmla="*/ 108 w 280"/>
              <a:gd name="T55" fmla="*/ 48 h 413"/>
              <a:gd name="T56" fmla="*/ 140 w 280"/>
              <a:gd name="T57" fmla="*/ 207 h 413"/>
              <a:gd name="T58" fmla="*/ 73 w 280"/>
              <a:gd name="T59" fmla="*/ 207 h 413"/>
              <a:gd name="T60" fmla="*/ 73 w 280"/>
              <a:gd name="T61" fmla="*/ 140 h 413"/>
              <a:gd name="T62" fmla="*/ 140 w 280"/>
              <a:gd name="T63" fmla="*/ 140 h 413"/>
              <a:gd name="T64" fmla="*/ 140 w 280"/>
              <a:gd name="T65" fmla="*/ 207 h 413"/>
              <a:gd name="T66" fmla="*/ 206 w 280"/>
              <a:gd name="T67" fmla="*/ 280 h 413"/>
              <a:gd name="T68" fmla="*/ 74 w 280"/>
              <a:gd name="T69" fmla="*/ 280 h 413"/>
              <a:gd name="T70" fmla="*/ 74 w 280"/>
              <a:gd name="T71" fmla="*/ 266 h 413"/>
              <a:gd name="T72" fmla="*/ 206 w 280"/>
              <a:gd name="T73" fmla="*/ 266 h 413"/>
              <a:gd name="T74" fmla="*/ 206 w 280"/>
              <a:gd name="T75" fmla="*/ 280 h 413"/>
              <a:gd name="T76" fmla="*/ 75 w 280"/>
              <a:gd name="T77" fmla="*/ 232 h 413"/>
              <a:gd name="T78" fmla="*/ 207 w 280"/>
              <a:gd name="T79" fmla="*/ 232 h 413"/>
              <a:gd name="T80" fmla="*/ 207 w 280"/>
              <a:gd name="T81" fmla="*/ 247 h 413"/>
              <a:gd name="T82" fmla="*/ 75 w 280"/>
              <a:gd name="T83" fmla="*/ 247 h 413"/>
              <a:gd name="T84" fmla="*/ 75 w 280"/>
              <a:gd name="T85" fmla="*/ 232 h 413"/>
              <a:gd name="T86" fmla="*/ 74 w 280"/>
              <a:gd name="T87" fmla="*/ 313 h 413"/>
              <a:gd name="T88" fmla="*/ 74 w 280"/>
              <a:gd name="T89" fmla="*/ 299 h 413"/>
              <a:gd name="T90" fmla="*/ 206 w 280"/>
              <a:gd name="T91" fmla="*/ 299 h 413"/>
              <a:gd name="T92" fmla="*/ 206 w 280"/>
              <a:gd name="T93" fmla="*/ 313 h 413"/>
              <a:gd name="T94" fmla="*/ 74 w 280"/>
              <a:gd name="T95" fmla="*/ 313 h 413"/>
              <a:gd name="T96" fmla="*/ 206 w 280"/>
              <a:gd name="T97" fmla="*/ 347 h 413"/>
              <a:gd name="T98" fmla="*/ 73 w 280"/>
              <a:gd name="T99" fmla="*/ 347 h 413"/>
              <a:gd name="T100" fmla="*/ 73 w 280"/>
              <a:gd name="T101" fmla="*/ 332 h 413"/>
              <a:gd name="T102" fmla="*/ 206 w 280"/>
              <a:gd name="T103" fmla="*/ 332 h 413"/>
              <a:gd name="T104" fmla="*/ 206 w 280"/>
              <a:gd name="T105" fmla="*/ 347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0" h="413">
                <a:moveTo>
                  <a:pt x="273" y="0"/>
                </a:moveTo>
                <a:cubicBezTo>
                  <a:pt x="7" y="0"/>
                  <a:pt x="7" y="0"/>
                  <a:pt x="7" y="0"/>
                </a:cubicBezTo>
                <a:cubicBezTo>
                  <a:pt x="3" y="0"/>
                  <a:pt x="0" y="3"/>
                  <a:pt x="0" y="7"/>
                </a:cubicBezTo>
                <a:cubicBezTo>
                  <a:pt x="0" y="406"/>
                  <a:pt x="0" y="406"/>
                  <a:pt x="0" y="406"/>
                </a:cubicBezTo>
                <a:cubicBezTo>
                  <a:pt x="0" y="410"/>
                  <a:pt x="3" y="413"/>
                  <a:pt x="7" y="413"/>
                </a:cubicBezTo>
                <a:cubicBezTo>
                  <a:pt x="273" y="413"/>
                  <a:pt x="273" y="413"/>
                  <a:pt x="273" y="413"/>
                </a:cubicBezTo>
                <a:cubicBezTo>
                  <a:pt x="277" y="413"/>
                  <a:pt x="280" y="410"/>
                  <a:pt x="280" y="406"/>
                </a:cubicBezTo>
                <a:cubicBezTo>
                  <a:pt x="280" y="7"/>
                  <a:pt x="280" y="7"/>
                  <a:pt x="280" y="7"/>
                </a:cubicBezTo>
                <a:cubicBezTo>
                  <a:pt x="280" y="3"/>
                  <a:pt x="277" y="0"/>
                  <a:pt x="273" y="0"/>
                </a:cubicBezTo>
                <a:close/>
                <a:moveTo>
                  <a:pt x="266" y="398"/>
                </a:moveTo>
                <a:cubicBezTo>
                  <a:pt x="14" y="398"/>
                  <a:pt x="14" y="398"/>
                  <a:pt x="14" y="398"/>
                </a:cubicBezTo>
                <a:cubicBezTo>
                  <a:pt x="14" y="14"/>
                  <a:pt x="14" y="14"/>
                  <a:pt x="14" y="14"/>
                </a:cubicBezTo>
                <a:cubicBezTo>
                  <a:pt x="266" y="14"/>
                  <a:pt x="266" y="14"/>
                  <a:pt x="266" y="14"/>
                </a:cubicBezTo>
                <a:lnTo>
                  <a:pt x="266" y="398"/>
                </a:lnTo>
                <a:close/>
                <a:moveTo>
                  <a:pt x="108" y="81"/>
                </a:moveTo>
                <a:cubicBezTo>
                  <a:pt x="174" y="81"/>
                  <a:pt x="174" y="81"/>
                  <a:pt x="174" y="81"/>
                </a:cubicBezTo>
                <a:cubicBezTo>
                  <a:pt x="187" y="81"/>
                  <a:pt x="198" y="70"/>
                  <a:pt x="198" y="57"/>
                </a:cubicBezTo>
                <a:cubicBezTo>
                  <a:pt x="198" y="44"/>
                  <a:pt x="187" y="33"/>
                  <a:pt x="174" y="33"/>
                </a:cubicBezTo>
                <a:cubicBezTo>
                  <a:pt x="108" y="33"/>
                  <a:pt x="108" y="33"/>
                  <a:pt x="108" y="33"/>
                </a:cubicBezTo>
                <a:cubicBezTo>
                  <a:pt x="95" y="33"/>
                  <a:pt x="84" y="44"/>
                  <a:pt x="84" y="57"/>
                </a:cubicBezTo>
                <a:cubicBezTo>
                  <a:pt x="84" y="70"/>
                  <a:pt x="95" y="81"/>
                  <a:pt x="108" y="81"/>
                </a:cubicBezTo>
                <a:close/>
                <a:moveTo>
                  <a:pt x="108" y="48"/>
                </a:moveTo>
                <a:cubicBezTo>
                  <a:pt x="174" y="48"/>
                  <a:pt x="174" y="48"/>
                  <a:pt x="174" y="48"/>
                </a:cubicBezTo>
                <a:cubicBezTo>
                  <a:pt x="179" y="48"/>
                  <a:pt x="184" y="52"/>
                  <a:pt x="184" y="57"/>
                </a:cubicBezTo>
                <a:cubicBezTo>
                  <a:pt x="184" y="62"/>
                  <a:pt x="179" y="66"/>
                  <a:pt x="174" y="66"/>
                </a:cubicBezTo>
                <a:cubicBezTo>
                  <a:pt x="108" y="66"/>
                  <a:pt x="108" y="66"/>
                  <a:pt x="108" y="66"/>
                </a:cubicBezTo>
                <a:cubicBezTo>
                  <a:pt x="103" y="66"/>
                  <a:pt x="99" y="62"/>
                  <a:pt x="99" y="57"/>
                </a:cubicBezTo>
                <a:cubicBezTo>
                  <a:pt x="99" y="52"/>
                  <a:pt x="103" y="48"/>
                  <a:pt x="108" y="48"/>
                </a:cubicBezTo>
                <a:close/>
                <a:moveTo>
                  <a:pt x="140" y="207"/>
                </a:moveTo>
                <a:cubicBezTo>
                  <a:pt x="73" y="207"/>
                  <a:pt x="73" y="207"/>
                  <a:pt x="73" y="207"/>
                </a:cubicBezTo>
                <a:cubicBezTo>
                  <a:pt x="73" y="140"/>
                  <a:pt x="73" y="140"/>
                  <a:pt x="73" y="140"/>
                </a:cubicBezTo>
                <a:cubicBezTo>
                  <a:pt x="140" y="140"/>
                  <a:pt x="140" y="140"/>
                  <a:pt x="140" y="140"/>
                </a:cubicBezTo>
                <a:lnTo>
                  <a:pt x="140" y="207"/>
                </a:lnTo>
                <a:close/>
                <a:moveTo>
                  <a:pt x="206" y="280"/>
                </a:moveTo>
                <a:cubicBezTo>
                  <a:pt x="74" y="280"/>
                  <a:pt x="74" y="280"/>
                  <a:pt x="74" y="280"/>
                </a:cubicBezTo>
                <a:cubicBezTo>
                  <a:pt x="74" y="266"/>
                  <a:pt x="74" y="266"/>
                  <a:pt x="74" y="266"/>
                </a:cubicBezTo>
                <a:cubicBezTo>
                  <a:pt x="206" y="266"/>
                  <a:pt x="206" y="266"/>
                  <a:pt x="206" y="266"/>
                </a:cubicBezTo>
                <a:lnTo>
                  <a:pt x="206" y="280"/>
                </a:lnTo>
                <a:close/>
                <a:moveTo>
                  <a:pt x="75" y="232"/>
                </a:moveTo>
                <a:cubicBezTo>
                  <a:pt x="207" y="232"/>
                  <a:pt x="207" y="232"/>
                  <a:pt x="207" y="232"/>
                </a:cubicBezTo>
                <a:cubicBezTo>
                  <a:pt x="207" y="247"/>
                  <a:pt x="207" y="247"/>
                  <a:pt x="207" y="247"/>
                </a:cubicBezTo>
                <a:cubicBezTo>
                  <a:pt x="75" y="247"/>
                  <a:pt x="75" y="247"/>
                  <a:pt x="75" y="247"/>
                </a:cubicBezTo>
                <a:lnTo>
                  <a:pt x="75" y="232"/>
                </a:lnTo>
                <a:close/>
                <a:moveTo>
                  <a:pt x="74" y="313"/>
                </a:moveTo>
                <a:cubicBezTo>
                  <a:pt x="74" y="299"/>
                  <a:pt x="74" y="299"/>
                  <a:pt x="74" y="299"/>
                </a:cubicBezTo>
                <a:cubicBezTo>
                  <a:pt x="206" y="299"/>
                  <a:pt x="206" y="299"/>
                  <a:pt x="206" y="299"/>
                </a:cubicBezTo>
                <a:cubicBezTo>
                  <a:pt x="206" y="313"/>
                  <a:pt x="206" y="313"/>
                  <a:pt x="206" y="313"/>
                </a:cubicBezTo>
                <a:lnTo>
                  <a:pt x="74" y="313"/>
                </a:lnTo>
                <a:close/>
                <a:moveTo>
                  <a:pt x="206" y="347"/>
                </a:moveTo>
                <a:cubicBezTo>
                  <a:pt x="73" y="347"/>
                  <a:pt x="73" y="347"/>
                  <a:pt x="73" y="347"/>
                </a:cubicBezTo>
                <a:cubicBezTo>
                  <a:pt x="73" y="332"/>
                  <a:pt x="73" y="332"/>
                  <a:pt x="73" y="332"/>
                </a:cubicBezTo>
                <a:cubicBezTo>
                  <a:pt x="206" y="332"/>
                  <a:pt x="206" y="332"/>
                  <a:pt x="206" y="332"/>
                </a:cubicBezTo>
                <a:lnTo>
                  <a:pt x="206" y="347"/>
                </a:ln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16" name="TextBox 15"/>
          <p:cNvSpPr txBox="1"/>
          <p:nvPr/>
        </p:nvSpPr>
        <p:spPr>
          <a:xfrm>
            <a:off x="3943187" y="1809482"/>
            <a:ext cx="1200463" cy="429348"/>
          </a:xfrm>
          <a:prstGeom prst="rect">
            <a:avLst/>
          </a:prstGeom>
          <a:noFill/>
        </p:spPr>
        <p:txBody>
          <a:bodyPr wrap="square" lIns="68586" tIns="68586" rIns="68586" bIns="68586" rtlCol="0">
            <a:spAutoFit/>
          </a:bodyPr>
          <a:lstStyle/>
          <a:p>
            <a:pPr>
              <a:lnSpc>
                <a:spcPct val="90000"/>
              </a:lnSpc>
              <a:spcBef>
                <a:spcPct val="20000"/>
              </a:spcBef>
              <a:buSzPct val="90000"/>
            </a:pPr>
            <a:r>
              <a:rPr lang="en-US" sz="2100" dirty="0">
                <a:solidFill>
                  <a:schemeClr val="tx1">
                    <a:alpha val="99000"/>
                  </a:schemeClr>
                </a:solidFill>
              </a:rPr>
              <a:t>Privacy</a:t>
            </a:r>
          </a:p>
        </p:txBody>
      </p:sp>
      <p:sp>
        <p:nvSpPr>
          <p:cNvPr id="17" name="Freeform 77"/>
          <p:cNvSpPr>
            <a:spLocks noEditPoints="1"/>
          </p:cNvSpPr>
          <p:nvPr/>
        </p:nvSpPr>
        <p:spPr bwMode="auto">
          <a:xfrm>
            <a:off x="6401276" y="1838570"/>
            <a:ext cx="487109" cy="334145"/>
          </a:xfrm>
          <a:custGeom>
            <a:avLst/>
            <a:gdLst>
              <a:gd name="T0" fmla="*/ 340 w 413"/>
              <a:gd name="T1" fmla="*/ 283 h 283"/>
              <a:gd name="T2" fmla="*/ 73 w 413"/>
              <a:gd name="T3" fmla="*/ 283 h 283"/>
              <a:gd name="T4" fmla="*/ 72 w 413"/>
              <a:gd name="T5" fmla="*/ 283 h 283"/>
              <a:gd name="T6" fmla="*/ 0 w 413"/>
              <a:gd name="T7" fmla="*/ 209 h 283"/>
              <a:gd name="T8" fmla="*/ 70 w 413"/>
              <a:gd name="T9" fmla="*/ 135 h 283"/>
              <a:gd name="T10" fmla="*/ 66 w 413"/>
              <a:gd name="T11" fmla="*/ 107 h 283"/>
              <a:gd name="T12" fmla="*/ 173 w 413"/>
              <a:gd name="T13" fmla="*/ 0 h 283"/>
              <a:gd name="T14" fmla="*/ 273 w 413"/>
              <a:gd name="T15" fmla="*/ 69 h 283"/>
              <a:gd name="T16" fmla="*/ 273 w 413"/>
              <a:gd name="T17" fmla="*/ 69 h 283"/>
              <a:gd name="T18" fmla="*/ 346 w 413"/>
              <a:gd name="T19" fmla="*/ 135 h 283"/>
              <a:gd name="T20" fmla="*/ 413 w 413"/>
              <a:gd name="T21" fmla="*/ 209 h 283"/>
              <a:gd name="T22" fmla="*/ 341 w 413"/>
              <a:gd name="T23" fmla="*/ 283 h 283"/>
              <a:gd name="T24" fmla="*/ 340 w 413"/>
              <a:gd name="T25" fmla="*/ 283 h 283"/>
              <a:gd name="T26" fmla="*/ 73 w 413"/>
              <a:gd name="T27" fmla="*/ 268 h 283"/>
              <a:gd name="T28" fmla="*/ 339 w 413"/>
              <a:gd name="T29" fmla="*/ 268 h 283"/>
              <a:gd name="T30" fmla="*/ 340 w 413"/>
              <a:gd name="T31" fmla="*/ 268 h 283"/>
              <a:gd name="T32" fmla="*/ 398 w 413"/>
              <a:gd name="T33" fmla="*/ 209 h 283"/>
              <a:gd name="T34" fmla="*/ 339 w 413"/>
              <a:gd name="T35" fmla="*/ 150 h 283"/>
              <a:gd name="T36" fmla="*/ 332 w 413"/>
              <a:gd name="T37" fmla="*/ 142 h 283"/>
              <a:gd name="T38" fmla="*/ 273 w 413"/>
              <a:gd name="T39" fmla="*/ 83 h 283"/>
              <a:gd name="T40" fmla="*/ 268 w 413"/>
              <a:gd name="T41" fmla="*/ 84 h 283"/>
              <a:gd name="T42" fmla="*/ 261 w 413"/>
              <a:gd name="T43" fmla="*/ 79 h 283"/>
              <a:gd name="T44" fmla="*/ 173 w 413"/>
              <a:gd name="T45" fmla="*/ 15 h 283"/>
              <a:gd name="T46" fmla="*/ 81 w 413"/>
              <a:gd name="T47" fmla="*/ 107 h 283"/>
              <a:gd name="T48" fmla="*/ 87 w 413"/>
              <a:gd name="T49" fmla="*/ 140 h 283"/>
              <a:gd name="T50" fmla="*/ 86 w 413"/>
              <a:gd name="T51" fmla="*/ 147 h 283"/>
              <a:gd name="T52" fmla="*/ 79 w 413"/>
              <a:gd name="T53" fmla="*/ 150 h 283"/>
              <a:gd name="T54" fmla="*/ 73 w 413"/>
              <a:gd name="T55" fmla="*/ 150 h 283"/>
              <a:gd name="T56" fmla="*/ 14 w 413"/>
              <a:gd name="T57" fmla="*/ 209 h 283"/>
              <a:gd name="T58" fmla="*/ 73 w 413"/>
              <a:gd name="T59" fmla="*/ 268 h 283"/>
              <a:gd name="T60" fmla="*/ 73 w 413"/>
              <a:gd name="T61" fmla="*/ 268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3" h="283">
                <a:moveTo>
                  <a:pt x="340" y="283"/>
                </a:moveTo>
                <a:cubicBezTo>
                  <a:pt x="73" y="283"/>
                  <a:pt x="73" y="283"/>
                  <a:pt x="73" y="283"/>
                </a:cubicBezTo>
                <a:cubicBezTo>
                  <a:pt x="73" y="283"/>
                  <a:pt x="72" y="283"/>
                  <a:pt x="72" y="283"/>
                </a:cubicBezTo>
                <a:cubicBezTo>
                  <a:pt x="32" y="282"/>
                  <a:pt x="0" y="249"/>
                  <a:pt x="0" y="209"/>
                </a:cubicBezTo>
                <a:cubicBezTo>
                  <a:pt x="0" y="169"/>
                  <a:pt x="31" y="137"/>
                  <a:pt x="70" y="135"/>
                </a:cubicBezTo>
                <a:cubicBezTo>
                  <a:pt x="67" y="126"/>
                  <a:pt x="66" y="117"/>
                  <a:pt x="66" y="107"/>
                </a:cubicBezTo>
                <a:cubicBezTo>
                  <a:pt x="66" y="48"/>
                  <a:pt x="114" y="0"/>
                  <a:pt x="173" y="0"/>
                </a:cubicBezTo>
                <a:cubicBezTo>
                  <a:pt x="217" y="0"/>
                  <a:pt x="257" y="27"/>
                  <a:pt x="273" y="69"/>
                </a:cubicBezTo>
                <a:cubicBezTo>
                  <a:pt x="273" y="69"/>
                  <a:pt x="273" y="69"/>
                  <a:pt x="273" y="69"/>
                </a:cubicBezTo>
                <a:cubicBezTo>
                  <a:pt x="311" y="69"/>
                  <a:pt x="343" y="98"/>
                  <a:pt x="346" y="135"/>
                </a:cubicBezTo>
                <a:cubicBezTo>
                  <a:pt x="384" y="139"/>
                  <a:pt x="413" y="171"/>
                  <a:pt x="413" y="209"/>
                </a:cubicBezTo>
                <a:cubicBezTo>
                  <a:pt x="413" y="249"/>
                  <a:pt x="381" y="282"/>
                  <a:pt x="341" y="283"/>
                </a:cubicBezTo>
                <a:cubicBezTo>
                  <a:pt x="340" y="283"/>
                  <a:pt x="340" y="283"/>
                  <a:pt x="340" y="283"/>
                </a:cubicBezTo>
                <a:close/>
                <a:moveTo>
                  <a:pt x="73" y="268"/>
                </a:moveTo>
                <a:cubicBezTo>
                  <a:pt x="339" y="268"/>
                  <a:pt x="339" y="268"/>
                  <a:pt x="339" y="268"/>
                </a:cubicBezTo>
                <a:cubicBezTo>
                  <a:pt x="339" y="268"/>
                  <a:pt x="340" y="268"/>
                  <a:pt x="340" y="268"/>
                </a:cubicBezTo>
                <a:cubicBezTo>
                  <a:pt x="372" y="268"/>
                  <a:pt x="398" y="241"/>
                  <a:pt x="398" y="209"/>
                </a:cubicBezTo>
                <a:cubicBezTo>
                  <a:pt x="398" y="176"/>
                  <a:pt x="372" y="150"/>
                  <a:pt x="339" y="150"/>
                </a:cubicBezTo>
                <a:cubicBezTo>
                  <a:pt x="335" y="150"/>
                  <a:pt x="332" y="146"/>
                  <a:pt x="332" y="142"/>
                </a:cubicBezTo>
                <a:cubicBezTo>
                  <a:pt x="332" y="110"/>
                  <a:pt x="305" y="83"/>
                  <a:pt x="273" y="83"/>
                </a:cubicBezTo>
                <a:cubicBezTo>
                  <a:pt x="271" y="83"/>
                  <a:pt x="270" y="83"/>
                  <a:pt x="268" y="84"/>
                </a:cubicBezTo>
                <a:cubicBezTo>
                  <a:pt x="265" y="84"/>
                  <a:pt x="262" y="82"/>
                  <a:pt x="261" y="79"/>
                </a:cubicBezTo>
                <a:cubicBezTo>
                  <a:pt x="248" y="40"/>
                  <a:pt x="213" y="15"/>
                  <a:pt x="173" y="15"/>
                </a:cubicBezTo>
                <a:cubicBezTo>
                  <a:pt x="122" y="15"/>
                  <a:pt x="81" y="56"/>
                  <a:pt x="81" y="107"/>
                </a:cubicBezTo>
                <a:cubicBezTo>
                  <a:pt x="81" y="118"/>
                  <a:pt x="83" y="129"/>
                  <a:pt x="87" y="140"/>
                </a:cubicBezTo>
                <a:cubicBezTo>
                  <a:pt x="88" y="142"/>
                  <a:pt x="87" y="145"/>
                  <a:pt x="86" y="147"/>
                </a:cubicBezTo>
                <a:cubicBezTo>
                  <a:pt x="84" y="149"/>
                  <a:pt x="82" y="150"/>
                  <a:pt x="79" y="150"/>
                </a:cubicBezTo>
                <a:cubicBezTo>
                  <a:pt x="77" y="150"/>
                  <a:pt x="75" y="150"/>
                  <a:pt x="73" y="150"/>
                </a:cubicBezTo>
                <a:cubicBezTo>
                  <a:pt x="41" y="150"/>
                  <a:pt x="14" y="176"/>
                  <a:pt x="14" y="209"/>
                </a:cubicBezTo>
                <a:cubicBezTo>
                  <a:pt x="14" y="241"/>
                  <a:pt x="41" y="268"/>
                  <a:pt x="73" y="268"/>
                </a:cubicBezTo>
                <a:cubicBezTo>
                  <a:pt x="73" y="268"/>
                  <a:pt x="73" y="268"/>
                  <a:pt x="73" y="268"/>
                </a:cubicBez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18" name="TextBox 17"/>
          <p:cNvSpPr txBox="1"/>
          <p:nvPr/>
        </p:nvSpPr>
        <p:spPr>
          <a:xfrm>
            <a:off x="7030091" y="1815143"/>
            <a:ext cx="1200463" cy="429348"/>
          </a:xfrm>
          <a:prstGeom prst="rect">
            <a:avLst/>
          </a:prstGeom>
          <a:noFill/>
        </p:spPr>
        <p:txBody>
          <a:bodyPr wrap="square" lIns="68586" tIns="68586" rIns="68586" bIns="68586" rtlCol="0">
            <a:spAutoFit/>
          </a:bodyPr>
          <a:lstStyle/>
          <a:p>
            <a:pPr>
              <a:lnSpc>
                <a:spcPct val="90000"/>
              </a:lnSpc>
              <a:spcBef>
                <a:spcPct val="20000"/>
              </a:spcBef>
              <a:buSzPct val="90000"/>
            </a:pPr>
            <a:r>
              <a:rPr lang="en-US" sz="2100" dirty="0">
                <a:solidFill>
                  <a:schemeClr val="tx1">
                    <a:alpha val="99000"/>
                  </a:schemeClr>
                </a:solidFill>
              </a:rPr>
              <a:t>Options</a:t>
            </a:r>
          </a:p>
        </p:txBody>
      </p:sp>
      <p:sp>
        <p:nvSpPr>
          <p:cNvPr id="19" name="TextBox 18"/>
          <p:cNvSpPr txBox="1"/>
          <p:nvPr/>
        </p:nvSpPr>
        <p:spPr>
          <a:xfrm>
            <a:off x="741952" y="2641153"/>
            <a:ext cx="1943606" cy="387799"/>
          </a:xfrm>
          <a:prstGeom prst="rect">
            <a:avLst/>
          </a:prstGeom>
          <a:noFill/>
        </p:spPr>
        <p:txBody>
          <a:bodyPr wrap="square" lIns="68586" tIns="68586" rIns="68586" bIns="68586" rtlCol="0">
            <a:spAutoFit/>
          </a:bodyPr>
          <a:lstStyle/>
          <a:p>
            <a:pPr>
              <a:lnSpc>
                <a:spcPct val="90000"/>
              </a:lnSpc>
              <a:spcBef>
                <a:spcPct val="20000"/>
              </a:spcBef>
              <a:buSzPct val="90000"/>
            </a:pPr>
            <a:r>
              <a:rPr lang="en-US" sz="1800" dirty="0">
                <a:solidFill>
                  <a:schemeClr val="tx1">
                    <a:alpha val="99000"/>
                  </a:schemeClr>
                </a:solidFill>
              </a:rPr>
              <a:t>Usage Changing</a:t>
            </a:r>
          </a:p>
        </p:txBody>
      </p:sp>
      <p:sp>
        <p:nvSpPr>
          <p:cNvPr id="20" name="Freeform 88"/>
          <p:cNvSpPr>
            <a:spLocks noEditPoints="1"/>
          </p:cNvSpPr>
          <p:nvPr/>
        </p:nvSpPr>
        <p:spPr bwMode="auto">
          <a:xfrm>
            <a:off x="398963" y="2712931"/>
            <a:ext cx="244304" cy="244241"/>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21" name="TextBox 20"/>
          <p:cNvSpPr txBox="1"/>
          <p:nvPr/>
        </p:nvSpPr>
        <p:spPr>
          <a:xfrm>
            <a:off x="741954" y="3155503"/>
            <a:ext cx="2313471" cy="387799"/>
          </a:xfrm>
          <a:prstGeom prst="rect">
            <a:avLst/>
          </a:prstGeom>
          <a:noFill/>
        </p:spPr>
        <p:txBody>
          <a:bodyPr wrap="square" lIns="68586" tIns="68586" rIns="68586" bIns="68586" rtlCol="0">
            <a:spAutoFit/>
          </a:bodyPr>
          <a:lstStyle/>
          <a:p>
            <a:pPr>
              <a:lnSpc>
                <a:spcPct val="90000"/>
              </a:lnSpc>
              <a:spcBef>
                <a:spcPct val="20000"/>
              </a:spcBef>
              <a:buSzPct val="90000"/>
            </a:pPr>
            <a:r>
              <a:rPr lang="en-US" sz="1800" dirty="0">
                <a:solidFill>
                  <a:schemeClr val="tx1">
                    <a:alpha val="99000"/>
                  </a:schemeClr>
                </a:solidFill>
              </a:rPr>
              <a:t>Hardware Refreshing</a:t>
            </a:r>
          </a:p>
        </p:txBody>
      </p:sp>
      <p:sp>
        <p:nvSpPr>
          <p:cNvPr id="22" name="Freeform 88"/>
          <p:cNvSpPr>
            <a:spLocks noEditPoints="1"/>
          </p:cNvSpPr>
          <p:nvPr/>
        </p:nvSpPr>
        <p:spPr bwMode="auto">
          <a:xfrm>
            <a:off x="398963" y="3227281"/>
            <a:ext cx="244304" cy="244241"/>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23" name="TextBox 22"/>
          <p:cNvSpPr txBox="1"/>
          <p:nvPr/>
        </p:nvSpPr>
        <p:spPr>
          <a:xfrm>
            <a:off x="741953" y="3714751"/>
            <a:ext cx="2286595" cy="387799"/>
          </a:xfrm>
          <a:prstGeom prst="rect">
            <a:avLst/>
          </a:prstGeom>
          <a:noFill/>
        </p:spPr>
        <p:txBody>
          <a:bodyPr wrap="square" lIns="68586" tIns="68586" rIns="68586" bIns="68586" rtlCol="0">
            <a:spAutoFit/>
          </a:bodyPr>
          <a:lstStyle/>
          <a:p>
            <a:pPr>
              <a:lnSpc>
                <a:spcPct val="90000"/>
              </a:lnSpc>
              <a:spcBef>
                <a:spcPct val="20000"/>
              </a:spcBef>
              <a:buSzPct val="90000"/>
            </a:pPr>
            <a:r>
              <a:rPr lang="en-US" sz="1800" dirty="0">
                <a:solidFill>
                  <a:schemeClr val="tx1">
                    <a:alpha val="99000"/>
                  </a:schemeClr>
                </a:solidFill>
              </a:rPr>
              <a:t>Capacity Exceeded</a:t>
            </a:r>
          </a:p>
        </p:txBody>
      </p:sp>
      <p:sp>
        <p:nvSpPr>
          <p:cNvPr id="24" name="Freeform 88"/>
          <p:cNvSpPr>
            <a:spLocks noEditPoints="1"/>
          </p:cNvSpPr>
          <p:nvPr/>
        </p:nvSpPr>
        <p:spPr bwMode="auto">
          <a:xfrm>
            <a:off x="398963" y="3786530"/>
            <a:ext cx="244304" cy="244241"/>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25" name="TextBox 24"/>
          <p:cNvSpPr txBox="1"/>
          <p:nvPr/>
        </p:nvSpPr>
        <p:spPr>
          <a:xfrm>
            <a:off x="3714528" y="2698303"/>
            <a:ext cx="1856152" cy="387799"/>
          </a:xfrm>
          <a:prstGeom prst="rect">
            <a:avLst/>
          </a:prstGeom>
          <a:noFill/>
        </p:spPr>
        <p:txBody>
          <a:bodyPr wrap="square" lIns="68586" tIns="68586" rIns="68586" bIns="68586" rtlCol="0">
            <a:spAutoFit/>
          </a:bodyPr>
          <a:lstStyle/>
          <a:p>
            <a:pPr>
              <a:lnSpc>
                <a:spcPct val="90000"/>
              </a:lnSpc>
              <a:spcBef>
                <a:spcPct val="20000"/>
              </a:spcBef>
              <a:buSzPct val="90000"/>
            </a:pPr>
            <a:r>
              <a:rPr lang="en-US" sz="1800" dirty="0">
                <a:solidFill>
                  <a:schemeClr val="tx1">
                    <a:alpha val="99000"/>
                  </a:schemeClr>
                </a:solidFill>
              </a:rPr>
              <a:t>Retain Control</a:t>
            </a:r>
          </a:p>
        </p:txBody>
      </p:sp>
      <p:sp>
        <p:nvSpPr>
          <p:cNvPr id="26" name="Freeform 88"/>
          <p:cNvSpPr>
            <a:spLocks noEditPoints="1"/>
          </p:cNvSpPr>
          <p:nvPr/>
        </p:nvSpPr>
        <p:spPr bwMode="auto">
          <a:xfrm>
            <a:off x="3371537" y="2770081"/>
            <a:ext cx="244304" cy="244241"/>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27" name="TextBox 26"/>
          <p:cNvSpPr txBox="1"/>
          <p:nvPr/>
        </p:nvSpPr>
        <p:spPr>
          <a:xfrm>
            <a:off x="6717391" y="2675470"/>
            <a:ext cx="1398833" cy="387799"/>
          </a:xfrm>
          <a:prstGeom prst="rect">
            <a:avLst/>
          </a:prstGeom>
          <a:noFill/>
        </p:spPr>
        <p:txBody>
          <a:bodyPr wrap="square" lIns="68586" tIns="68586" rIns="68586" bIns="68586" rtlCol="0">
            <a:spAutoFit/>
          </a:bodyPr>
          <a:lstStyle/>
          <a:p>
            <a:pPr>
              <a:lnSpc>
                <a:spcPct val="90000"/>
              </a:lnSpc>
              <a:spcBef>
                <a:spcPct val="20000"/>
              </a:spcBef>
              <a:buSzPct val="90000"/>
            </a:pPr>
            <a:r>
              <a:rPr lang="en-US" sz="1800" dirty="0">
                <a:solidFill>
                  <a:schemeClr val="tx1">
                    <a:alpha val="99000"/>
                  </a:schemeClr>
                </a:solidFill>
              </a:rPr>
              <a:t>VM Mobility</a:t>
            </a:r>
          </a:p>
        </p:txBody>
      </p:sp>
      <p:sp>
        <p:nvSpPr>
          <p:cNvPr id="28" name="Freeform 88"/>
          <p:cNvSpPr>
            <a:spLocks noEditPoints="1"/>
          </p:cNvSpPr>
          <p:nvPr/>
        </p:nvSpPr>
        <p:spPr bwMode="auto">
          <a:xfrm>
            <a:off x="6374400" y="2747248"/>
            <a:ext cx="244304" cy="244241"/>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29" name="TextBox 28"/>
          <p:cNvSpPr txBox="1"/>
          <p:nvPr/>
        </p:nvSpPr>
        <p:spPr>
          <a:xfrm>
            <a:off x="6744265" y="3249104"/>
            <a:ext cx="2172266" cy="637097"/>
          </a:xfrm>
          <a:prstGeom prst="rect">
            <a:avLst/>
          </a:prstGeom>
          <a:noFill/>
        </p:spPr>
        <p:txBody>
          <a:bodyPr wrap="square" lIns="68586" tIns="68586" rIns="68586" bIns="68586" rtlCol="0">
            <a:spAutoFit/>
          </a:bodyPr>
          <a:lstStyle/>
          <a:p>
            <a:pPr>
              <a:lnSpc>
                <a:spcPct val="90000"/>
              </a:lnSpc>
              <a:spcBef>
                <a:spcPct val="20000"/>
              </a:spcBef>
              <a:buSzPct val="90000"/>
            </a:pPr>
            <a:r>
              <a:rPr lang="en-US" sz="1800" dirty="0">
                <a:solidFill>
                  <a:schemeClr val="tx1">
                    <a:alpha val="99000"/>
                  </a:schemeClr>
                </a:solidFill>
              </a:rPr>
              <a:t>Extend your DC via VPN</a:t>
            </a:r>
          </a:p>
        </p:txBody>
      </p:sp>
      <p:sp>
        <p:nvSpPr>
          <p:cNvPr id="30" name="Freeform 88"/>
          <p:cNvSpPr>
            <a:spLocks noEditPoints="1"/>
          </p:cNvSpPr>
          <p:nvPr/>
        </p:nvSpPr>
        <p:spPr bwMode="auto">
          <a:xfrm>
            <a:off x="6401276" y="3320882"/>
            <a:ext cx="244304" cy="244241"/>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31" name="TextBox 30"/>
          <p:cNvSpPr txBox="1"/>
          <p:nvPr/>
        </p:nvSpPr>
        <p:spPr>
          <a:xfrm>
            <a:off x="6744265" y="3934904"/>
            <a:ext cx="2172266" cy="637097"/>
          </a:xfrm>
          <a:prstGeom prst="rect">
            <a:avLst/>
          </a:prstGeom>
          <a:noFill/>
        </p:spPr>
        <p:txBody>
          <a:bodyPr wrap="square" lIns="68586" tIns="68586" rIns="68586" bIns="68586" rtlCol="0">
            <a:spAutoFit/>
          </a:bodyPr>
          <a:lstStyle/>
          <a:p>
            <a:pPr>
              <a:lnSpc>
                <a:spcPct val="90000"/>
              </a:lnSpc>
              <a:spcBef>
                <a:spcPct val="20000"/>
              </a:spcBef>
              <a:buSzPct val="90000"/>
            </a:pPr>
            <a:r>
              <a:rPr lang="en-US" sz="1800" dirty="0">
                <a:solidFill>
                  <a:schemeClr val="tx1">
                    <a:alpha val="99000"/>
                  </a:schemeClr>
                </a:solidFill>
              </a:rPr>
              <a:t>Use your Windows SKUs</a:t>
            </a:r>
          </a:p>
        </p:txBody>
      </p:sp>
      <p:sp>
        <p:nvSpPr>
          <p:cNvPr id="32" name="Freeform 88"/>
          <p:cNvSpPr>
            <a:spLocks noEditPoints="1"/>
          </p:cNvSpPr>
          <p:nvPr/>
        </p:nvSpPr>
        <p:spPr bwMode="auto">
          <a:xfrm>
            <a:off x="6401276" y="4006682"/>
            <a:ext cx="244304" cy="244241"/>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33" name="TextBox 32"/>
          <p:cNvSpPr txBox="1"/>
          <p:nvPr/>
        </p:nvSpPr>
        <p:spPr>
          <a:xfrm>
            <a:off x="3714528" y="3249104"/>
            <a:ext cx="2286595" cy="637097"/>
          </a:xfrm>
          <a:prstGeom prst="rect">
            <a:avLst/>
          </a:prstGeom>
          <a:noFill/>
        </p:spPr>
        <p:txBody>
          <a:bodyPr wrap="square" lIns="68586" tIns="68586" rIns="68586" bIns="68586" rtlCol="0">
            <a:spAutoFit/>
          </a:bodyPr>
          <a:lstStyle/>
          <a:p>
            <a:pPr>
              <a:lnSpc>
                <a:spcPct val="90000"/>
              </a:lnSpc>
              <a:spcBef>
                <a:spcPct val="20000"/>
              </a:spcBef>
              <a:buSzPct val="90000"/>
            </a:pPr>
            <a:r>
              <a:rPr lang="en-US" sz="1800" dirty="0">
                <a:solidFill>
                  <a:schemeClr val="tx1">
                    <a:alpha val="99000"/>
                  </a:schemeClr>
                </a:solidFill>
              </a:rPr>
              <a:t>Move Non-Sensitive Components</a:t>
            </a:r>
          </a:p>
        </p:txBody>
      </p:sp>
      <p:sp>
        <p:nvSpPr>
          <p:cNvPr id="34" name="Freeform 88"/>
          <p:cNvSpPr>
            <a:spLocks noEditPoints="1"/>
          </p:cNvSpPr>
          <p:nvPr/>
        </p:nvSpPr>
        <p:spPr bwMode="auto">
          <a:xfrm>
            <a:off x="3371537" y="3320882"/>
            <a:ext cx="244304" cy="244241"/>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35" name="TextBox 34"/>
          <p:cNvSpPr txBox="1"/>
          <p:nvPr/>
        </p:nvSpPr>
        <p:spPr>
          <a:xfrm>
            <a:off x="741953" y="4229102"/>
            <a:ext cx="2286595" cy="637097"/>
          </a:xfrm>
          <a:prstGeom prst="rect">
            <a:avLst/>
          </a:prstGeom>
          <a:noFill/>
        </p:spPr>
        <p:txBody>
          <a:bodyPr wrap="square" lIns="68586" tIns="68586" rIns="68586" bIns="68586" rtlCol="0">
            <a:spAutoFit/>
          </a:bodyPr>
          <a:lstStyle/>
          <a:p>
            <a:pPr>
              <a:lnSpc>
                <a:spcPct val="90000"/>
              </a:lnSpc>
              <a:spcBef>
                <a:spcPct val="20000"/>
              </a:spcBef>
              <a:buSzPct val="90000"/>
            </a:pPr>
            <a:r>
              <a:rPr lang="en-US" sz="1800" dirty="0">
                <a:solidFill>
                  <a:schemeClr val="tx1">
                    <a:alpha val="99000"/>
                  </a:schemeClr>
                </a:solidFill>
              </a:rPr>
              <a:t>Missing Platform Features</a:t>
            </a:r>
          </a:p>
        </p:txBody>
      </p:sp>
      <p:sp>
        <p:nvSpPr>
          <p:cNvPr id="36" name="Freeform 88"/>
          <p:cNvSpPr>
            <a:spLocks noEditPoints="1"/>
          </p:cNvSpPr>
          <p:nvPr/>
        </p:nvSpPr>
        <p:spPr bwMode="auto">
          <a:xfrm>
            <a:off x="398963" y="4300880"/>
            <a:ext cx="244304" cy="244241"/>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37"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8"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
              </a:rPr>
              <a:t>www.rapidbbs.cn</a:t>
            </a:r>
            <a:endParaRPr lang="zh-CN" altLang="en-US" sz="1200" b="0">
              <a:latin typeface="Arial" charset="0"/>
              <a:ea typeface="ＭＳ Ｐゴシック" pitchFamily="34" charset="-128"/>
            </a:endParaRPr>
          </a:p>
        </p:txBody>
      </p:sp>
      <p:pic>
        <p:nvPicPr>
          <p:cNvPr id="39" name="Picture 2">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6425721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ppt_x"/>
                                          </p:val>
                                        </p:tav>
                                        <p:tav tm="100000">
                                          <p:val>
                                            <p:strVal val="#ppt_x"/>
                                          </p:val>
                                        </p:tav>
                                      </p:tavLst>
                                    </p:anim>
                                    <p:anim calcmode="lin" valueType="num">
                                      <p:cBhvr additive="base">
                                        <p:cTn id="12" dur="500" fill="hold"/>
                                        <p:tgtEl>
                                          <p:spTgt spid="8"/>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anim calcmode="lin" valueType="num">
                                      <p:cBhvr additive="base">
                                        <p:cTn id="15" dur="500" fill="hold"/>
                                        <p:tgtEl>
                                          <p:spTgt spid="13"/>
                                        </p:tgtEl>
                                        <p:attrNameLst>
                                          <p:attrName>ppt_x</p:attrName>
                                        </p:attrNameLst>
                                      </p:cBhvr>
                                      <p:tavLst>
                                        <p:tav tm="0">
                                          <p:val>
                                            <p:strVal val="#ppt_x"/>
                                          </p:val>
                                        </p:tav>
                                        <p:tav tm="100000">
                                          <p:val>
                                            <p:strVal val="#ppt_x"/>
                                          </p:val>
                                        </p:tav>
                                      </p:tavLst>
                                    </p:anim>
                                    <p:anim calcmode="lin" valueType="num">
                                      <p:cBhvr additive="base">
                                        <p:cTn id="16" dur="500" fill="hold"/>
                                        <p:tgtEl>
                                          <p:spTgt spid="13"/>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500" fill="hold"/>
                                        <p:tgtEl>
                                          <p:spTgt spid="14"/>
                                        </p:tgtEl>
                                        <p:attrNameLst>
                                          <p:attrName>ppt_x</p:attrName>
                                        </p:attrNameLst>
                                      </p:cBhvr>
                                      <p:tavLst>
                                        <p:tav tm="0">
                                          <p:val>
                                            <p:strVal val="#ppt_x"/>
                                          </p:val>
                                        </p:tav>
                                        <p:tav tm="100000">
                                          <p:val>
                                            <p:strVal val="#ppt_x"/>
                                          </p:val>
                                        </p:tav>
                                      </p:tavLst>
                                    </p:anim>
                                    <p:anim calcmode="lin" valueType="num">
                                      <p:cBhvr additive="base">
                                        <p:cTn id="20" dur="500" fill="hold"/>
                                        <p:tgtEl>
                                          <p:spTgt spid="14"/>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19"/>
                                        </p:tgtEl>
                                        <p:attrNameLst>
                                          <p:attrName>style.visibility</p:attrName>
                                        </p:attrNameLst>
                                      </p:cBhvr>
                                      <p:to>
                                        <p:strVal val="visible"/>
                                      </p:to>
                                    </p:set>
                                    <p:anim calcmode="lin" valueType="num">
                                      <p:cBhvr additive="base">
                                        <p:cTn id="23" dur="500" fill="hold"/>
                                        <p:tgtEl>
                                          <p:spTgt spid="19"/>
                                        </p:tgtEl>
                                        <p:attrNameLst>
                                          <p:attrName>ppt_x</p:attrName>
                                        </p:attrNameLst>
                                      </p:cBhvr>
                                      <p:tavLst>
                                        <p:tav tm="0">
                                          <p:val>
                                            <p:strVal val="#ppt_x"/>
                                          </p:val>
                                        </p:tav>
                                        <p:tav tm="100000">
                                          <p:val>
                                            <p:strVal val="#ppt_x"/>
                                          </p:val>
                                        </p:tav>
                                      </p:tavLst>
                                    </p:anim>
                                    <p:anim calcmode="lin" valueType="num">
                                      <p:cBhvr additive="base">
                                        <p:cTn id="24" dur="500" fill="hold"/>
                                        <p:tgtEl>
                                          <p:spTgt spid="19"/>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20"/>
                                        </p:tgtEl>
                                        <p:attrNameLst>
                                          <p:attrName>style.visibility</p:attrName>
                                        </p:attrNameLst>
                                      </p:cBhvr>
                                      <p:to>
                                        <p:strVal val="visible"/>
                                      </p:to>
                                    </p:set>
                                    <p:anim calcmode="lin" valueType="num">
                                      <p:cBhvr additive="base">
                                        <p:cTn id="27" dur="500" fill="hold"/>
                                        <p:tgtEl>
                                          <p:spTgt spid="20"/>
                                        </p:tgtEl>
                                        <p:attrNameLst>
                                          <p:attrName>ppt_x</p:attrName>
                                        </p:attrNameLst>
                                      </p:cBhvr>
                                      <p:tavLst>
                                        <p:tav tm="0">
                                          <p:val>
                                            <p:strVal val="#ppt_x"/>
                                          </p:val>
                                        </p:tav>
                                        <p:tav tm="100000">
                                          <p:val>
                                            <p:strVal val="#ppt_x"/>
                                          </p:val>
                                        </p:tav>
                                      </p:tavLst>
                                    </p:anim>
                                    <p:anim calcmode="lin" valueType="num">
                                      <p:cBhvr additive="base">
                                        <p:cTn id="28" dur="500" fill="hold"/>
                                        <p:tgtEl>
                                          <p:spTgt spid="20"/>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21"/>
                                        </p:tgtEl>
                                        <p:attrNameLst>
                                          <p:attrName>style.visibility</p:attrName>
                                        </p:attrNameLst>
                                      </p:cBhvr>
                                      <p:to>
                                        <p:strVal val="visible"/>
                                      </p:to>
                                    </p:set>
                                    <p:anim calcmode="lin" valueType="num">
                                      <p:cBhvr additive="base">
                                        <p:cTn id="31" dur="500" fill="hold"/>
                                        <p:tgtEl>
                                          <p:spTgt spid="21"/>
                                        </p:tgtEl>
                                        <p:attrNameLst>
                                          <p:attrName>ppt_x</p:attrName>
                                        </p:attrNameLst>
                                      </p:cBhvr>
                                      <p:tavLst>
                                        <p:tav tm="0">
                                          <p:val>
                                            <p:strVal val="#ppt_x"/>
                                          </p:val>
                                        </p:tav>
                                        <p:tav tm="100000">
                                          <p:val>
                                            <p:strVal val="#ppt_x"/>
                                          </p:val>
                                        </p:tav>
                                      </p:tavLst>
                                    </p:anim>
                                    <p:anim calcmode="lin" valueType="num">
                                      <p:cBhvr additive="base">
                                        <p:cTn id="32" dur="500" fill="hold"/>
                                        <p:tgtEl>
                                          <p:spTgt spid="21"/>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22"/>
                                        </p:tgtEl>
                                        <p:attrNameLst>
                                          <p:attrName>style.visibility</p:attrName>
                                        </p:attrNameLst>
                                      </p:cBhvr>
                                      <p:to>
                                        <p:strVal val="visible"/>
                                      </p:to>
                                    </p:set>
                                    <p:anim calcmode="lin" valueType="num">
                                      <p:cBhvr additive="base">
                                        <p:cTn id="35" dur="500" fill="hold"/>
                                        <p:tgtEl>
                                          <p:spTgt spid="22"/>
                                        </p:tgtEl>
                                        <p:attrNameLst>
                                          <p:attrName>ppt_x</p:attrName>
                                        </p:attrNameLst>
                                      </p:cBhvr>
                                      <p:tavLst>
                                        <p:tav tm="0">
                                          <p:val>
                                            <p:strVal val="#ppt_x"/>
                                          </p:val>
                                        </p:tav>
                                        <p:tav tm="100000">
                                          <p:val>
                                            <p:strVal val="#ppt_x"/>
                                          </p:val>
                                        </p:tav>
                                      </p:tavLst>
                                    </p:anim>
                                    <p:anim calcmode="lin" valueType="num">
                                      <p:cBhvr additive="base">
                                        <p:cTn id="36" dur="500" fill="hold"/>
                                        <p:tgtEl>
                                          <p:spTgt spid="22"/>
                                        </p:tgtEl>
                                        <p:attrNameLst>
                                          <p:attrName>ppt_y</p:attrName>
                                        </p:attrNameLst>
                                      </p:cBhvr>
                                      <p:tavLst>
                                        <p:tav tm="0">
                                          <p:val>
                                            <p:strVal val="1+#ppt_h/2"/>
                                          </p:val>
                                        </p:tav>
                                        <p:tav tm="100000">
                                          <p:val>
                                            <p:strVal val="#ppt_y"/>
                                          </p:val>
                                        </p:tav>
                                      </p:tavLst>
                                    </p:anim>
                                  </p:childTnLst>
                                </p:cTn>
                              </p:par>
                              <p:par>
                                <p:cTn id="37" presetID="2" presetClass="entr" presetSubtype="4" fill="hold" grpId="0" nodeType="withEffect">
                                  <p:stCondLst>
                                    <p:cond delay="0"/>
                                  </p:stCondLst>
                                  <p:childTnLst>
                                    <p:set>
                                      <p:cBhvr>
                                        <p:cTn id="38" dur="1" fill="hold">
                                          <p:stCondLst>
                                            <p:cond delay="0"/>
                                          </p:stCondLst>
                                        </p:cTn>
                                        <p:tgtEl>
                                          <p:spTgt spid="23"/>
                                        </p:tgtEl>
                                        <p:attrNameLst>
                                          <p:attrName>style.visibility</p:attrName>
                                        </p:attrNameLst>
                                      </p:cBhvr>
                                      <p:to>
                                        <p:strVal val="visible"/>
                                      </p:to>
                                    </p:set>
                                    <p:anim calcmode="lin" valueType="num">
                                      <p:cBhvr additive="base">
                                        <p:cTn id="39" dur="500" fill="hold"/>
                                        <p:tgtEl>
                                          <p:spTgt spid="23"/>
                                        </p:tgtEl>
                                        <p:attrNameLst>
                                          <p:attrName>ppt_x</p:attrName>
                                        </p:attrNameLst>
                                      </p:cBhvr>
                                      <p:tavLst>
                                        <p:tav tm="0">
                                          <p:val>
                                            <p:strVal val="#ppt_x"/>
                                          </p:val>
                                        </p:tav>
                                        <p:tav tm="100000">
                                          <p:val>
                                            <p:strVal val="#ppt_x"/>
                                          </p:val>
                                        </p:tav>
                                      </p:tavLst>
                                    </p:anim>
                                    <p:anim calcmode="lin" valueType="num">
                                      <p:cBhvr additive="base">
                                        <p:cTn id="40" dur="500" fill="hold"/>
                                        <p:tgtEl>
                                          <p:spTgt spid="23"/>
                                        </p:tgtEl>
                                        <p:attrNameLst>
                                          <p:attrName>ppt_y</p:attrName>
                                        </p:attrNameLst>
                                      </p:cBhvr>
                                      <p:tavLst>
                                        <p:tav tm="0">
                                          <p:val>
                                            <p:strVal val="1+#ppt_h/2"/>
                                          </p:val>
                                        </p:tav>
                                        <p:tav tm="100000">
                                          <p:val>
                                            <p:strVal val="#ppt_y"/>
                                          </p:val>
                                        </p:tav>
                                      </p:tavLst>
                                    </p:anim>
                                  </p:childTnLst>
                                </p:cTn>
                              </p:par>
                              <p:par>
                                <p:cTn id="41" presetID="2" presetClass="entr" presetSubtype="4" fill="hold" grpId="0" nodeType="withEffect">
                                  <p:stCondLst>
                                    <p:cond delay="0"/>
                                  </p:stCondLst>
                                  <p:childTnLst>
                                    <p:set>
                                      <p:cBhvr>
                                        <p:cTn id="42" dur="1" fill="hold">
                                          <p:stCondLst>
                                            <p:cond delay="0"/>
                                          </p:stCondLst>
                                        </p:cTn>
                                        <p:tgtEl>
                                          <p:spTgt spid="24"/>
                                        </p:tgtEl>
                                        <p:attrNameLst>
                                          <p:attrName>style.visibility</p:attrName>
                                        </p:attrNameLst>
                                      </p:cBhvr>
                                      <p:to>
                                        <p:strVal val="visible"/>
                                      </p:to>
                                    </p:set>
                                    <p:anim calcmode="lin" valueType="num">
                                      <p:cBhvr additive="base">
                                        <p:cTn id="43" dur="500" fill="hold"/>
                                        <p:tgtEl>
                                          <p:spTgt spid="24"/>
                                        </p:tgtEl>
                                        <p:attrNameLst>
                                          <p:attrName>ppt_x</p:attrName>
                                        </p:attrNameLst>
                                      </p:cBhvr>
                                      <p:tavLst>
                                        <p:tav tm="0">
                                          <p:val>
                                            <p:strVal val="#ppt_x"/>
                                          </p:val>
                                        </p:tav>
                                        <p:tav tm="100000">
                                          <p:val>
                                            <p:strVal val="#ppt_x"/>
                                          </p:val>
                                        </p:tav>
                                      </p:tavLst>
                                    </p:anim>
                                    <p:anim calcmode="lin" valueType="num">
                                      <p:cBhvr additive="base">
                                        <p:cTn id="44" dur="500" fill="hold"/>
                                        <p:tgtEl>
                                          <p:spTgt spid="24"/>
                                        </p:tgtEl>
                                        <p:attrNameLst>
                                          <p:attrName>ppt_y</p:attrName>
                                        </p:attrNameLst>
                                      </p:cBhvr>
                                      <p:tavLst>
                                        <p:tav tm="0">
                                          <p:val>
                                            <p:strVal val="1+#ppt_h/2"/>
                                          </p:val>
                                        </p:tav>
                                        <p:tav tm="100000">
                                          <p:val>
                                            <p:strVal val="#ppt_y"/>
                                          </p:val>
                                        </p:tav>
                                      </p:tavLst>
                                    </p:anim>
                                  </p:childTnLst>
                                </p:cTn>
                              </p:par>
                              <p:par>
                                <p:cTn id="45" presetID="2" presetClass="entr" presetSubtype="4" fill="hold" grpId="0" nodeType="withEffect">
                                  <p:stCondLst>
                                    <p:cond delay="0"/>
                                  </p:stCondLst>
                                  <p:childTnLst>
                                    <p:set>
                                      <p:cBhvr>
                                        <p:cTn id="46" dur="1" fill="hold">
                                          <p:stCondLst>
                                            <p:cond delay="0"/>
                                          </p:stCondLst>
                                        </p:cTn>
                                        <p:tgtEl>
                                          <p:spTgt spid="35"/>
                                        </p:tgtEl>
                                        <p:attrNameLst>
                                          <p:attrName>style.visibility</p:attrName>
                                        </p:attrNameLst>
                                      </p:cBhvr>
                                      <p:to>
                                        <p:strVal val="visible"/>
                                      </p:to>
                                    </p:set>
                                    <p:anim calcmode="lin" valueType="num">
                                      <p:cBhvr additive="base">
                                        <p:cTn id="47" dur="500" fill="hold"/>
                                        <p:tgtEl>
                                          <p:spTgt spid="35"/>
                                        </p:tgtEl>
                                        <p:attrNameLst>
                                          <p:attrName>ppt_x</p:attrName>
                                        </p:attrNameLst>
                                      </p:cBhvr>
                                      <p:tavLst>
                                        <p:tav tm="0">
                                          <p:val>
                                            <p:strVal val="#ppt_x"/>
                                          </p:val>
                                        </p:tav>
                                        <p:tav tm="100000">
                                          <p:val>
                                            <p:strVal val="#ppt_x"/>
                                          </p:val>
                                        </p:tav>
                                      </p:tavLst>
                                    </p:anim>
                                    <p:anim calcmode="lin" valueType="num">
                                      <p:cBhvr additive="base">
                                        <p:cTn id="48" dur="500" fill="hold"/>
                                        <p:tgtEl>
                                          <p:spTgt spid="35"/>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0"/>
                                  </p:stCondLst>
                                  <p:childTnLst>
                                    <p:set>
                                      <p:cBhvr>
                                        <p:cTn id="50" dur="1" fill="hold">
                                          <p:stCondLst>
                                            <p:cond delay="0"/>
                                          </p:stCondLst>
                                        </p:cTn>
                                        <p:tgtEl>
                                          <p:spTgt spid="36"/>
                                        </p:tgtEl>
                                        <p:attrNameLst>
                                          <p:attrName>style.visibility</p:attrName>
                                        </p:attrNameLst>
                                      </p:cBhvr>
                                      <p:to>
                                        <p:strVal val="visible"/>
                                      </p:to>
                                    </p:set>
                                    <p:anim calcmode="lin" valueType="num">
                                      <p:cBhvr additive="base">
                                        <p:cTn id="51" dur="500" fill="hold"/>
                                        <p:tgtEl>
                                          <p:spTgt spid="36"/>
                                        </p:tgtEl>
                                        <p:attrNameLst>
                                          <p:attrName>ppt_x</p:attrName>
                                        </p:attrNameLst>
                                      </p:cBhvr>
                                      <p:tavLst>
                                        <p:tav tm="0">
                                          <p:val>
                                            <p:strVal val="#ppt_x"/>
                                          </p:val>
                                        </p:tav>
                                        <p:tav tm="100000">
                                          <p:val>
                                            <p:strVal val="#ppt_x"/>
                                          </p:val>
                                        </p:tav>
                                      </p:tavLst>
                                    </p:anim>
                                    <p:anim calcmode="lin" valueType="num">
                                      <p:cBhvr additive="base">
                                        <p:cTn id="52" dur="500" fill="hold"/>
                                        <p:tgtEl>
                                          <p:spTgt spid="36"/>
                                        </p:tgtEl>
                                        <p:attrNameLst>
                                          <p:attrName>ppt_y</p:attrName>
                                        </p:attrNameLst>
                                      </p:cBhvr>
                                      <p:tavLst>
                                        <p:tav tm="0">
                                          <p:val>
                                            <p:strVal val="1+#ppt_h/2"/>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2" presetClass="entr" presetSubtype="4" fill="hold" grpId="0" nodeType="clickEffect">
                                  <p:stCondLst>
                                    <p:cond delay="0"/>
                                  </p:stCondLst>
                                  <p:childTnLst>
                                    <p:set>
                                      <p:cBhvr>
                                        <p:cTn id="56" dur="1" fill="hold">
                                          <p:stCondLst>
                                            <p:cond delay="0"/>
                                          </p:stCondLst>
                                        </p:cTn>
                                        <p:tgtEl>
                                          <p:spTgt spid="11"/>
                                        </p:tgtEl>
                                        <p:attrNameLst>
                                          <p:attrName>style.visibility</p:attrName>
                                        </p:attrNameLst>
                                      </p:cBhvr>
                                      <p:to>
                                        <p:strVal val="visible"/>
                                      </p:to>
                                    </p:set>
                                    <p:anim calcmode="lin" valueType="num">
                                      <p:cBhvr additive="base">
                                        <p:cTn id="57" dur="500" fill="hold"/>
                                        <p:tgtEl>
                                          <p:spTgt spid="11"/>
                                        </p:tgtEl>
                                        <p:attrNameLst>
                                          <p:attrName>ppt_x</p:attrName>
                                        </p:attrNameLst>
                                      </p:cBhvr>
                                      <p:tavLst>
                                        <p:tav tm="0">
                                          <p:val>
                                            <p:strVal val="#ppt_x"/>
                                          </p:val>
                                        </p:tav>
                                        <p:tav tm="100000">
                                          <p:val>
                                            <p:strVal val="#ppt_x"/>
                                          </p:val>
                                        </p:tav>
                                      </p:tavLst>
                                    </p:anim>
                                    <p:anim calcmode="lin" valueType="num">
                                      <p:cBhvr additive="base">
                                        <p:cTn id="58" dur="500" fill="hold"/>
                                        <p:tgtEl>
                                          <p:spTgt spid="11"/>
                                        </p:tgtEl>
                                        <p:attrNameLst>
                                          <p:attrName>ppt_y</p:attrName>
                                        </p:attrNameLst>
                                      </p:cBhvr>
                                      <p:tavLst>
                                        <p:tav tm="0">
                                          <p:val>
                                            <p:strVal val="1+#ppt_h/2"/>
                                          </p:val>
                                        </p:tav>
                                        <p:tav tm="100000">
                                          <p:val>
                                            <p:strVal val="#ppt_y"/>
                                          </p:val>
                                        </p:tav>
                                      </p:tavLst>
                                    </p:anim>
                                  </p:childTnLst>
                                </p:cTn>
                              </p:par>
                              <p:par>
                                <p:cTn id="59" presetID="2" presetClass="entr" presetSubtype="4" fill="hold" grpId="0" nodeType="withEffect">
                                  <p:stCondLst>
                                    <p:cond delay="0"/>
                                  </p:stCondLst>
                                  <p:childTnLst>
                                    <p:set>
                                      <p:cBhvr>
                                        <p:cTn id="60" dur="1" fill="hold">
                                          <p:stCondLst>
                                            <p:cond delay="0"/>
                                          </p:stCondLst>
                                        </p:cTn>
                                        <p:tgtEl>
                                          <p:spTgt spid="12"/>
                                        </p:tgtEl>
                                        <p:attrNameLst>
                                          <p:attrName>style.visibility</p:attrName>
                                        </p:attrNameLst>
                                      </p:cBhvr>
                                      <p:to>
                                        <p:strVal val="visible"/>
                                      </p:to>
                                    </p:set>
                                    <p:anim calcmode="lin" valueType="num">
                                      <p:cBhvr additive="base">
                                        <p:cTn id="61" dur="500" fill="hold"/>
                                        <p:tgtEl>
                                          <p:spTgt spid="12"/>
                                        </p:tgtEl>
                                        <p:attrNameLst>
                                          <p:attrName>ppt_x</p:attrName>
                                        </p:attrNameLst>
                                      </p:cBhvr>
                                      <p:tavLst>
                                        <p:tav tm="0">
                                          <p:val>
                                            <p:strVal val="#ppt_x"/>
                                          </p:val>
                                        </p:tav>
                                        <p:tav tm="100000">
                                          <p:val>
                                            <p:strVal val="#ppt_x"/>
                                          </p:val>
                                        </p:tav>
                                      </p:tavLst>
                                    </p:anim>
                                    <p:anim calcmode="lin" valueType="num">
                                      <p:cBhvr additive="base">
                                        <p:cTn id="62" dur="500" fill="hold"/>
                                        <p:tgtEl>
                                          <p:spTgt spid="12"/>
                                        </p:tgtEl>
                                        <p:attrNameLst>
                                          <p:attrName>ppt_y</p:attrName>
                                        </p:attrNameLst>
                                      </p:cBhvr>
                                      <p:tavLst>
                                        <p:tav tm="0">
                                          <p:val>
                                            <p:strVal val="1+#ppt_h/2"/>
                                          </p:val>
                                        </p:tav>
                                        <p:tav tm="100000">
                                          <p:val>
                                            <p:strVal val="#ppt_y"/>
                                          </p:val>
                                        </p:tav>
                                      </p:tavLst>
                                    </p:anim>
                                  </p:childTnLst>
                                </p:cTn>
                              </p:par>
                              <p:par>
                                <p:cTn id="63" presetID="2" presetClass="entr" presetSubtype="4" fill="hold" grpId="0" nodeType="withEffect">
                                  <p:stCondLst>
                                    <p:cond delay="0"/>
                                  </p:stCondLst>
                                  <p:childTnLst>
                                    <p:set>
                                      <p:cBhvr>
                                        <p:cTn id="64" dur="1" fill="hold">
                                          <p:stCondLst>
                                            <p:cond delay="0"/>
                                          </p:stCondLst>
                                        </p:cTn>
                                        <p:tgtEl>
                                          <p:spTgt spid="15"/>
                                        </p:tgtEl>
                                        <p:attrNameLst>
                                          <p:attrName>style.visibility</p:attrName>
                                        </p:attrNameLst>
                                      </p:cBhvr>
                                      <p:to>
                                        <p:strVal val="visible"/>
                                      </p:to>
                                    </p:set>
                                    <p:anim calcmode="lin" valueType="num">
                                      <p:cBhvr additive="base">
                                        <p:cTn id="65" dur="500" fill="hold"/>
                                        <p:tgtEl>
                                          <p:spTgt spid="15"/>
                                        </p:tgtEl>
                                        <p:attrNameLst>
                                          <p:attrName>ppt_x</p:attrName>
                                        </p:attrNameLst>
                                      </p:cBhvr>
                                      <p:tavLst>
                                        <p:tav tm="0">
                                          <p:val>
                                            <p:strVal val="#ppt_x"/>
                                          </p:val>
                                        </p:tav>
                                        <p:tav tm="100000">
                                          <p:val>
                                            <p:strVal val="#ppt_x"/>
                                          </p:val>
                                        </p:tav>
                                      </p:tavLst>
                                    </p:anim>
                                    <p:anim calcmode="lin" valueType="num">
                                      <p:cBhvr additive="base">
                                        <p:cTn id="66" dur="500" fill="hold"/>
                                        <p:tgtEl>
                                          <p:spTgt spid="15"/>
                                        </p:tgtEl>
                                        <p:attrNameLst>
                                          <p:attrName>ppt_y</p:attrName>
                                        </p:attrNameLst>
                                      </p:cBhvr>
                                      <p:tavLst>
                                        <p:tav tm="0">
                                          <p:val>
                                            <p:strVal val="1+#ppt_h/2"/>
                                          </p:val>
                                        </p:tav>
                                        <p:tav tm="100000">
                                          <p:val>
                                            <p:strVal val="#ppt_y"/>
                                          </p:val>
                                        </p:tav>
                                      </p:tavLst>
                                    </p:anim>
                                  </p:childTnLst>
                                </p:cTn>
                              </p:par>
                              <p:par>
                                <p:cTn id="67" presetID="2" presetClass="entr" presetSubtype="4" fill="hold" grpId="0" nodeType="withEffect">
                                  <p:stCondLst>
                                    <p:cond delay="0"/>
                                  </p:stCondLst>
                                  <p:childTnLst>
                                    <p:set>
                                      <p:cBhvr>
                                        <p:cTn id="68" dur="1" fill="hold">
                                          <p:stCondLst>
                                            <p:cond delay="0"/>
                                          </p:stCondLst>
                                        </p:cTn>
                                        <p:tgtEl>
                                          <p:spTgt spid="16"/>
                                        </p:tgtEl>
                                        <p:attrNameLst>
                                          <p:attrName>style.visibility</p:attrName>
                                        </p:attrNameLst>
                                      </p:cBhvr>
                                      <p:to>
                                        <p:strVal val="visible"/>
                                      </p:to>
                                    </p:set>
                                    <p:anim calcmode="lin" valueType="num">
                                      <p:cBhvr additive="base">
                                        <p:cTn id="69" dur="500" fill="hold"/>
                                        <p:tgtEl>
                                          <p:spTgt spid="16"/>
                                        </p:tgtEl>
                                        <p:attrNameLst>
                                          <p:attrName>ppt_x</p:attrName>
                                        </p:attrNameLst>
                                      </p:cBhvr>
                                      <p:tavLst>
                                        <p:tav tm="0">
                                          <p:val>
                                            <p:strVal val="#ppt_x"/>
                                          </p:val>
                                        </p:tav>
                                        <p:tav tm="100000">
                                          <p:val>
                                            <p:strVal val="#ppt_x"/>
                                          </p:val>
                                        </p:tav>
                                      </p:tavLst>
                                    </p:anim>
                                    <p:anim calcmode="lin" valueType="num">
                                      <p:cBhvr additive="base">
                                        <p:cTn id="70" dur="500" fill="hold"/>
                                        <p:tgtEl>
                                          <p:spTgt spid="16"/>
                                        </p:tgtEl>
                                        <p:attrNameLst>
                                          <p:attrName>ppt_y</p:attrName>
                                        </p:attrNameLst>
                                      </p:cBhvr>
                                      <p:tavLst>
                                        <p:tav tm="0">
                                          <p:val>
                                            <p:strVal val="1+#ppt_h/2"/>
                                          </p:val>
                                        </p:tav>
                                        <p:tav tm="100000">
                                          <p:val>
                                            <p:strVal val="#ppt_y"/>
                                          </p:val>
                                        </p:tav>
                                      </p:tavLst>
                                    </p:anim>
                                  </p:childTnLst>
                                </p:cTn>
                              </p:par>
                              <p:par>
                                <p:cTn id="71" presetID="2" presetClass="entr" presetSubtype="4" fill="hold" grpId="0" nodeType="withEffect">
                                  <p:stCondLst>
                                    <p:cond delay="0"/>
                                  </p:stCondLst>
                                  <p:childTnLst>
                                    <p:set>
                                      <p:cBhvr>
                                        <p:cTn id="72" dur="1" fill="hold">
                                          <p:stCondLst>
                                            <p:cond delay="0"/>
                                          </p:stCondLst>
                                        </p:cTn>
                                        <p:tgtEl>
                                          <p:spTgt spid="25"/>
                                        </p:tgtEl>
                                        <p:attrNameLst>
                                          <p:attrName>style.visibility</p:attrName>
                                        </p:attrNameLst>
                                      </p:cBhvr>
                                      <p:to>
                                        <p:strVal val="visible"/>
                                      </p:to>
                                    </p:set>
                                    <p:anim calcmode="lin" valueType="num">
                                      <p:cBhvr additive="base">
                                        <p:cTn id="73" dur="500" fill="hold"/>
                                        <p:tgtEl>
                                          <p:spTgt spid="25"/>
                                        </p:tgtEl>
                                        <p:attrNameLst>
                                          <p:attrName>ppt_x</p:attrName>
                                        </p:attrNameLst>
                                      </p:cBhvr>
                                      <p:tavLst>
                                        <p:tav tm="0">
                                          <p:val>
                                            <p:strVal val="#ppt_x"/>
                                          </p:val>
                                        </p:tav>
                                        <p:tav tm="100000">
                                          <p:val>
                                            <p:strVal val="#ppt_x"/>
                                          </p:val>
                                        </p:tav>
                                      </p:tavLst>
                                    </p:anim>
                                    <p:anim calcmode="lin" valueType="num">
                                      <p:cBhvr additive="base">
                                        <p:cTn id="74" dur="500" fill="hold"/>
                                        <p:tgtEl>
                                          <p:spTgt spid="25"/>
                                        </p:tgtEl>
                                        <p:attrNameLst>
                                          <p:attrName>ppt_y</p:attrName>
                                        </p:attrNameLst>
                                      </p:cBhvr>
                                      <p:tavLst>
                                        <p:tav tm="0">
                                          <p:val>
                                            <p:strVal val="1+#ppt_h/2"/>
                                          </p:val>
                                        </p:tav>
                                        <p:tav tm="100000">
                                          <p:val>
                                            <p:strVal val="#ppt_y"/>
                                          </p:val>
                                        </p:tav>
                                      </p:tavLst>
                                    </p:anim>
                                  </p:childTnLst>
                                </p:cTn>
                              </p:par>
                              <p:par>
                                <p:cTn id="75" presetID="2" presetClass="entr" presetSubtype="4" fill="hold" grpId="0" nodeType="withEffect">
                                  <p:stCondLst>
                                    <p:cond delay="0"/>
                                  </p:stCondLst>
                                  <p:childTnLst>
                                    <p:set>
                                      <p:cBhvr>
                                        <p:cTn id="76" dur="1" fill="hold">
                                          <p:stCondLst>
                                            <p:cond delay="0"/>
                                          </p:stCondLst>
                                        </p:cTn>
                                        <p:tgtEl>
                                          <p:spTgt spid="26"/>
                                        </p:tgtEl>
                                        <p:attrNameLst>
                                          <p:attrName>style.visibility</p:attrName>
                                        </p:attrNameLst>
                                      </p:cBhvr>
                                      <p:to>
                                        <p:strVal val="visible"/>
                                      </p:to>
                                    </p:set>
                                    <p:anim calcmode="lin" valueType="num">
                                      <p:cBhvr additive="base">
                                        <p:cTn id="77" dur="500" fill="hold"/>
                                        <p:tgtEl>
                                          <p:spTgt spid="26"/>
                                        </p:tgtEl>
                                        <p:attrNameLst>
                                          <p:attrName>ppt_x</p:attrName>
                                        </p:attrNameLst>
                                      </p:cBhvr>
                                      <p:tavLst>
                                        <p:tav tm="0">
                                          <p:val>
                                            <p:strVal val="#ppt_x"/>
                                          </p:val>
                                        </p:tav>
                                        <p:tav tm="100000">
                                          <p:val>
                                            <p:strVal val="#ppt_x"/>
                                          </p:val>
                                        </p:tav>
                                      </p:tavLst>
                                    </p:anim>
                                    <p:anim calcmode="lin" valueType="num">
                                      <p:cBhvr additive="base">
                                        <p:cTn id="78" dur="500" fill="hold"/>
                                        <p:tgtEl>
                                          <p:spTgt spid="26"/>
                                        </p:tgtEl>
                                        <p:attrNameLst>
                                          <p:attrName>ppt_y</p:attrName>
                                        </p:attrNameLst>
                                      </p:cBhvr>
                                      <p:tavLst>
                                        <p:tav tm="0">
                                          <p:val>
                                            <p:strVal val="1+#ppt_h/2"/>
                                          </p:val>
                                        </p:tav>
                                        <p:tav tm="100000">
                                          <p:val>
                                            <p:strVal val="#ppt_y"/>
                                          </p:val>
                                        </p:tav>
                                      </p:tavLst>
                                    </p:anim>
                                  </p:childTnLst>
                                </p:cTn>
                              </p:par>
                              <p:par>
                                <p:cTn id="79" presetID="2" presetClass="entr" presetSubtype="4" fill="hold" grpId="0" nodeType="withEffect">
                                  <p:stCondLst>
                                    <p:cond delay="0"/>
                                  </p:stCondLst>
                                  <p:childTnLst>
                                    <p:set>
                                      <p:cBhvr>
                                        <p:cTn id="80" dur="1" fill="hold">
                                          <p:stCondLst>
                                            <p:cond delay="0"/>
                                          </p:stCondLst>
                                        </p:cTn>
                                        <p:tgtEl>
                                          <p:spTgt spid="33"/>
                                        </p:tgtEl>
                                        <p:attrNameLst>
                                          <p:attrName>style.visibility</p:attrName>
                                        </p:attrNameLst>
                                      </p:cBhvr>
                                      <p:to>
                                        <p:strVal val="visible"/>
                                      </p:to>
                                    </p:set>
                                    <p:anim calcmode="lin" valueType="num">
                                      <p:cBhvr additive="base">
                                        <p:cTn id="81" dur="500" fill="hold"/>
                                        <p:tgtEl>
                                          <p:spTgt spid="33"/>
                                        </p:tgtEl>
                                        <p:attrNameLst>
                                          <p:attrName>ppt_x</p:attrName>
                                        </p:attrNameLst>
                                      </p:cBhvr>
                                      <p:tavLst>
                                        <p:tav tm="0">
                                          <p:val>
                                            <p:strVal val="#ppt_x"/>
                                          </p:val>
                                        </p:tav>
                                        <p:tav tm="100000">
                                          <p:val>
                                            <p:strVal val="#ppt_x"/>
                                          </p:val>
                                        </p:tav>
                                      </p:tavLst>
                                    </p:anim>
                                    <p:anim calcmode="lin" valueType="num">
                                      <p:cBhvr additive="base">
                                        <p:cTn id="82" dur="500" fill="hold"/>
                                        <p:tgtEl>
                                          <p:spTgt spid="33"/>
                                        </p:tgtEl>
                                        <p:attrNameLst>
                                          <p:attrName>ppt_y</p:attrName>
                                        </p:attrNameLst>
                                      </p:cBhvr>
                                      <p:tavLst>
                                        <p:tav tm="0">
                                          <p:val>
                                            <p:strVal val="1+#ppt_h/2"/>
                                          </p:val>
                                        </p:tav>
                                        <p:tav tm="100000">
                                          <p:val>
                                            <p:strVal val="#ppt_y"/>
                                          </p:val>
                                        </p:tav>
                                      </p:tavLst>
                                    </p:anim>
                                  </p:childTnLst>
                                </p:cTn>
                              </p:par>
                              <p:par>
                                <p:cTn id="83" presetID="2" presetClass="entr" presetSubtype="4" fill="hold" grpId="0" nodeType="withEffect">
                                  <p:stCondLst>
                                    <p:cond delay="0"/>
                                  </p:stCondLst>
                                  <p:childTnLst>
                                    <p:set>
                                      <p:cBhvr>
                                        <p:cTn id="84" dur="1" fill="hold">
                                          <p:stCondLst>
                                            <p:cond delay="0"/>
                                          </p:stCondLst>
                                        </p:cTn>
                                        <p:tgtEl>
                                          <p:spTgt spid="34"/>
                                        </p:tgtEl>
                                        <p:attrNameLst>
                                          <p:attrName>style.visibility</p:attrName>
                                        </p:attrNameLst>
                                      </p:cBhvr>
                                      <p:to>
                                        <p:strVal val="visible"/>
                                      </p:to>
                                    </p:set>
                                    <p:anim calcmode="lin" valueType="num">
                                      <p:cBhvr additive="base">
                                        <p:cTn id="85" dur="500" fill="hold"/>
                                        <p:tgtEl>
                                          <p:spTgt spid="34"/>
                                        </p:tgtEl>
                                        <p:attrNameLst>
                                          <p:attrName>ppt_x</p:attrName>
                                        </p:attrNameLst>
                                      </p:cBhvr>
                                      <p:tavLst>
                                        <p:tav tm="0">
                                          <p:val>
                                            <p:strVal val="#ppt_x"/>
                                          </p:val>
                                        </p:tav>
                                        <p:tav tm="100000">
                                          <p:val>
                                            <p:strVal val="#ppt_x"/>
                                          </p:val>
                                        </p:tav>
                                      </p:tavLst>
                                    </p:anim>
                                    <p:anim calcmode="lin" valueType="num">
                                      <p:cBhvr additive="base">
                                        <p:cTn id="86" dur="500" fill="hold"/>
                                        <p:tgtEl>
                                          <p:spTgt spid="34"/>
                                        </p:tgtEl>
                                        <p:attrNameLst>
                                          <p:attrName>ppt_y</p:attrName>
                                        </p:attrNameLst>
                                      </p:cBhvr>
                                      <p:tavLst>
                                        <p:tav tm="0">
                                          <p:val>
                                            <p:strVal val="1+#ppt_h/2"/>
                                          </p:val>
                                        </p:tav>
                                        <p:tav tm="100000">
                                          <p:val>
                                            <p:strVal val="#ppt_y"/>
                                          </p:val>
                                        </p:tav>
                                      </p:tavLst>
                                    </p:anim>
                                  </p:childTnLst>
                                </p:cTn>
                              </p:par>
                            </p:childTnLst>
                          </p:cTn>
                        </p:par>
                      </p:childTnLst>
                    </p:cTn>
                  </p:par>
                  <p:par>
                    <p:cTn id="87" fill="hold">
                      <p:stCondLst>
                        <p:cond delay="indefinite"/>
                      </p:stCondLst>
                      <p:childTnLst>
                        <p:par>
                          <p:cTn id="88" fill="hold">
                            <p:stCondLst>
                              <p:cond delay="0"/>
                            </p:stCondLst>
                            <p:childTnLst>
                              <p:par>
                                <p:cTn id="89" presetID="2" presetClass="entr" presetSubtype="4" fill="hold" grpId="0" nodeType="clickEffect">
                                  <p:stCondLst>
                                    <p:cond delay="0"/>
                                  </p:stCondLst>
                                  <p:childTnLst>
                                    <p:set>
                                      <p:cBhvr>
                                        <p:cTn id="90" dur="1" fill="hold">
                                          <p:stCondLst>
                                            <p:cond delay="0"/>
                                          </p:stCondLst>
                                        </p:cTn>
                                        <p:tgtEl>
                                          <p:spTgt spid="9"/>
                                        </p:tgtEl>
                                        <p:attrNameLst>
                                          <p:attrName>style.visibility</p:attrName>
                                        </p:attrNameLst>
                                      </p:cBhvr>
                                      <p:to>
                                        <p:strVal val="visible"/>
                                      </p:to>
                                    </p:set>
                                    <p:anim calcmode="lin" valueType="num">
                                      <p:cBhvr additive="base">
                                        <p:cTn id="91" dur="500" fill="hold"/>
                                        <p:tgtEl>
                                          <p:spTgt spid="9"/>
                                        </p:tgtEl>
                                        <p:attrNameLst>
                                          <p:attrName>ppt_x</p:attrName>
                                        </p:attrNameLst>
                                      </p:cBhvr>
                                      <p:tavLst>
                                        <p:tav tm="0">
                                          <p:val>
                                            <p:strVal val="#ppt_x"/>
                                          </p:val>
                                        </p:tav>
                                        <p:tav tm="100000">
                                          <p:val>
                                            <p:strVal val="#ppt_x"/>
                                          </p:val>
                                        </p:tav>
                                      </p:tavLst>
                                    </p:anim>
                                    <p:anim calcmode="lin" valueType="num">
                                      <p:cBhvr additive="base">
                                        <p:cTn id="92" dur="500" fill="hold"/>
                                        <p:tgtEl>
                                          <p:spTgt spid="9"/>
                                        </p:tgtEl>
                                        <p:attrNameLst>
                                          <p:attrName>ppt_y</p:attrName>
                                        </p:attrNameLst>
                                      </p:cBhvr>
                                      <p:tavLst>
                                        <p:tav tm="0">
                                          <p:val>
                                            <p:strVal val="1+#ppt_h/2"/>
                                          </p:val>
                                        </p:tav>
                                        <p:tav tm="100000">
                                          <p:val>
                                            <p:strVal val="#ppt_y"/>
                                          </p:val>
                                        </p:tav>
                                      </p:tavLst>
                                    </p:anim>
                                  </p:childTnLst>
                                </p:cTn>
                              </p:par>
                              <p:par>
                                <p:cTn id="93" presetID="2" presetClass="entr" presetSubtype="4" fill="hold" grpId="0" nodeType="withEffect">
                                  <p:stCondLst>
                                    <p:cond delay="0"/>
                                  </p:stCondLst>
                                  <p:childTnLst>
                                    <p:set>
                                      <p:cBhvr>
                                        <p:cTn id="94" dur="1" fill="hold">
                                          <p:stCondLst>
                                            <p:cond delay="0"/>
                                          </p:stCondLst>
                                        </p:cTn>
                                        <p:tgtEl>
                                          <p:spTgt spid="10"/>
                                        </p:tgtEl>
                                        <p:attrNameLst>
                                          <p:attrName>style.visibility</p:attrName>
                                        </p:attrNameLst>
                                      </p:cBhvr>
                                      <p:to>
                                        <p:strVal val="visible"/>
                                      </p:to>
                                    </p:set>
                                    <p:anim calcmode="lin" valueType="num">
                                      <p:cBhvr additive="base">
                                        <p:cTn id="95" dur="500" fill="hold"/>
                                        <p:tgtEl>
                                          <p:spTgt spid="10"/>
                                        </p:tgtEl>
                                        <p:attrNameLst>
                                          <p:attrName>ppt_x</p:attrName>
                                        </p:attrNameLst>
                                      </p:cBhvr>
                                      <p:tavLst>
                                        <p:tav tm="0">
                                          <p:val>
                                            <p:strVal val="#ppt_x"/>
                                          </p:val>
                                        </p:tav>
                                        <p:tav tm="100000">
                                          <p:val>
                                            <p:strVal val="#ppt_x"/>
                                          </p:val>
                                        </p:tav>
                                      </p:tavLst>
                                    </p:anim>
                                    <p:anim calcmode="lin" valueType="num">
                                      <p:cBhvr additive="base">
                                        <p:cTn id="96" dur="500" fill="hold"/>
                                        <p:tgtEl>
                                          <p:spTgt spid="10"/>
                                        </p:tgtEl>
                                        <p:attrNameLst>
                                          <p:attrName>ppt_y</p:attrName>
                                        </p:attrNameLst>
                                      </p:cBhvr>
                                      <p:tavLst>
                                        <p:tav tm="0">
                                          <p:val>
                                            <p:strVal val="1+#ppt_h/2"/>
                                          </p:val>
                                        </p:tav>
                                        <p:tav tm="100000">
                                          <p:val>
                                            <p:strVal val="#ppt_y"/>
                                          </p:val>
                                        </p:tav>
                                      </p:tavLst>
                                    </p:anim>
                                  </p:childTnLst>
                                </p:cTn>
                              </p:par>
                              <p:par>
                                <p:cTn id="97" presetID="2" presetClass="entr" presetSubtype="4" fill="hold" grpId="0" nodeType="withEffect">
                                  <p:stCondLst>
                                    <p:cond delay="0"/>
                                  </p:stCondLst>
                                  <p:childTnLst>
                                    <p:set>
                                      <p:cBhvr>
                                        <p:cTn id="98" dur="1" fill="hold">
                                          <p:stCondLst>
                                            <p:cond delay="0"/>
                                          </p:stCondLst>
                                        </p:cTn>
                                        <p:tgtEl>
                                          <p:spTgt spid="17"/>
                                        </p:tgtEl>
                                        <p:attrNameLst>
                                          <p:attrName>style.visibility</p:attrName>
                                        </p:attrNameLst>
                                      </p:cBhvr>
                                      <p:to>
                                        <p:strVal val="visible"/>
                                      </p:to>
                                    </p:set>
                                    <p:anim calcmode="lin" valueType="num">
                                      <p:cBhvr additive="base">
                                        <p:cTn id="99" dur="500" fill="hold"/>
                                        <p:tgtEl>
                                          <p:spTgt spid="17"/>
                                        </p:tgtEl>
                                        <p:attrNameLst>
                                          <p:attrName>ppt_x</p:attrName>
                                        </p:attrNameLst>
                                      </p:cBhvr>
                                      <p:tavLst>
                                        <p:tav tm="0">
                                          <p:val>
                                            <p:strVal val="#ppt_x"/>
                                          </p:val>
                                        </p:tav>
                                        <p:tav tm="100000">
                                          <p:val>
                                            <p:strVal val="#ppt_x"/>
                                          </p:val>
                                        </p:tav>
                                      </p:tavLst>
                                    </p:anim>
                                    <p:anim calcmode="lin" valueType="num">
                                      <p:cBhvr additive="base">
                                        <p:cTn id="100" dur="500" fill="hold"/>
                                        <p:tgtEl>
                                          <p:spTgt spid="17"/>
                                        </p:tgtEl>
                                        <p:attrNameLst>
                                          <p:attrName>ppt_y</p:attrName>
                                        </p:attrNameLst>
                                      </p:cBhvr>
                                      <p:tavLst>
                                        <p:tav tm="0">
                                          <p:val>
                                            <p:strVal val="1+#ppt_h/2"/>
                                          </p:val>
                                        </p:tav>
                                        <p:tav tm="100000">
                                          <p:val>
                                            <p:strVal val="#ppt_y"/>
                                          </p:val>
                                        </p:tav>
                                      </p:tavLst>
                                    </p:anim>
                                  </p:childTnLst>
                                </p:cTn>
                              </p:par>
                              <p:par>
                                <p:cTn id="101" presetID="2" presetClass="entr" presetSubtype="4" fill="hold" grpId="0" nodeType="withEffect">
                                  <p:stCondLst>
                                    <p:cond delay="0"/>
                                  </p:stCondLst>
                                  <p:childTnLst>
                                    <p:set>
                                      <p:cBhvr>
                                        <p:cTn id="102" dur="1" fill="hold">
                                          <p:stCondLst>
                                            <p:cond delay="0"/>
                                          </p:stCondLst>
                                        </p:cTn>
                                        <p:tgtEl>
                                          <p:spTgt spid="18"/>
                                        </p:tgtEl>
                                        <p:attrNameLst>
                                          <p:attrName>style.visibility</p:attrName>
                                        </p:attrNameLst>
                                      </p:cBhvr>
                                      <p:to>
                                        <p:strVal val="visible"/>
                                      </p:to>
                                    </p:set>
                                    <p:anim calcmode="lin" valueType="num">
                                      <p:cBhvr additive="base">
                                        <p:cTn id="103" dur="500" fill="hold"/>
                                        <p:tgtEl>
                                          <p:spTgt spid="18"/>
                                        </p:tgtEl>
                                        <p:attrNameLst>
                                          <p:attrName>ppt_x</p:attrName>
                                        </p:attrNameLst>
                                      </p:cBhvr>
                                      <p:tavLst>
                                        <p:tav tm="0">
                                          <p:val>
                                            <p:strVal val="#ppt_x"/>
                                          </p:val>
                                        </p:tav>
                                        <p:tav tm="100000">
                                          <p:val>
                                            <p:strVal val="#ppt_x"/>
                                          </p:val>
                                        </p:tav>
                                      </p:tavLst>
                                    </p:anim>
                                    <p:anim calcmode="lin" valueType="num">
                                      <p:cBhvr additive="base">
                                        <p:cTn id="104" dur="500" fill="hold"/>
                                        <p:tgtEl>
                                          <p:spTgt spid="18"/>
                                        </p:tgtEl>
                                        <p:attrNameLst>
                                          <p:attrName>ppt_y</p:attrName>
                                        </p:attrNameLst>
                                      </p:cBhvr>
                                      <p:tavLst>
                                        <p:tav tm="0">
                                          <p:val>
                                            <p:strVal val="1+#ppt_h/2"/>
                                          </p:val>
                                        </p:tav>
                                        <p:tav tm="100000">
                                          <p:val>
                                            <p:strVal val="#ppt_y"/>
                                          </p:val>
                                        </p:tav>
                                      </p:tavLst>
                                    </p:anim>
                                  </p:childTnLst>
                                </p:cTn>
                              </p:par>
                              <p:par>
                                <p:cTn id="105" presetID="2" presetClass="entr" presetSubtype="4" fill="hold" grpId="0" nodeType="withEffect">
                                  <p:stCondLst>
                                    <p:cond delay="0"/>
                                  </p:stCondLst>
                                  <p:childTnLst>
                                    <p:set>
                                      <p:cBhvr>
                                        <p:cTn id="106" dur="1" fill="hold">
                                          <p:stCondLst>
                                            <p:cond delay="0"/>
                                          </p:stCondLst>
                                        </p:cTn>
                                        <p:tgtEl>
                                          <p:spTgt spid="27"/>
                                        </p:tgtEl>
                                        <p:attrNameLst>
                                          <p:attrName>style.visibility</p:attrName>
                                        </p:attrNameLst>
                                      </p:cBhvr>
                                      <p:to>
                                        <p:strVal val="visible"/>
                                      </p:to>
                                    </p:set>
                                    <p:anim calcmode="lin" valueType="num">
                                      <p:cBhvr additive="base">
                                        <p:cTn id="107" dur="500" fill="hold"/>
                                        <p:tgtEl>
                                          <p:spTgt spid="27"/>
                                        </p:tgtEl>
                                        <p:attrNameLst>
                                          <p:attrName>ppt_x</p:attrName>
                                        </p:attrNameLst>
                                      </p:cBhvr>
                                      <p:tavLst>
                                        <p:tav tm="0">
                                          <p:val>
                                            <p:strVal val="#ppt_x"/>
                                          </p:val>
                                        </p:tav>
                                        <p:tav tm="100000">
                                          <p:val>
                                            <p:strVal val="#ppt_x"/>
                                          </p:val>
                                        </p:tav>
                                      </p:tavLst>
                                    </p:anim>
                                    <p:anim calcmode="lin" valueType="num">
                                      <p:cBhvr additive="base">
                                        <p:cTn id="108" dur="500" fill="hold"/>
                                        <p:tgtEl>
                                          <p:spTgt spid="27"/>
                                        </p:tgtEl>
                                        <p:attrNameLst>
                                          <p:attrName>ppt_y</p:attrName>
                                        </p:attrNameLst>
                                      </p:cBhvr>
                                      <p:tavLst>
                                        <p:tav tm="0">
                                          <p:val>
                                            <p:strVal val="1+#ppt_h/2"/>
                                          </p:val>
                                        </p:tav>
                                        <p:tav tm="100000">
                                          <p:val>
                                            <p:strVal val="#ppt_y"/>
                                          </p:val>
                                        </p:tav>
                                      </p:tavLst>
                                    </p:anim>
                                  </p:childTnLst>
                                </p:cTn>
                              </p:par>
                              <p:par>
                                <p:cTn id="109" presetID="2" presetClass="entr" presetSubtype="4" fill="hold" grpId="0" nodeType="withEffect">
                                  <p:stCondLst>
                                    <p:cond delay="0"/>
                                  </p:stCondLst>
                                  <p:childTnLst>
                                    <p:set>
                                      <p:cBhvr>
                                        <p:cTn id="110" dur="1" fill="hold">
                                          <p:stCondLst>
                                            <p:cond delay="0"/>
                                          </p:stCondLst>
                                        </p:cTn>
                                        <p:tgtEl>
                                          <p:spTgt spid="28"/>
                                        </p:tgtEl>
                                        <p:attrNameLst>
                                          <p:attrName>style.visibility</p:attrName>
                                        </p:attrNameLst>
                                      </p:cBhvr>
                                      <p:to>
                                        <p:strVal val="visible"/>
                                      </p:to>
                                    </p:set>
                                    <p:anim calcmode="lin" valueType="num">
                                      <p:cBhvr additive="base">
                                        <p:cTn id="111" dur="500" fill="hold"/>
                                        <p:tgtEl>
                                          <p:spTgt spid="28"/>
                                        </p:tgtEl>
                                        <p:attrNameLst>
                                          <p:attrName>ppt_x</p:attrName>
                                        </p:attrNameLst>
                                      </p:cBhvr>
                                      <p:tavLst>
                                        <p:tav tm="0">
                                          <p:val>
                                            <p:strVal val="#ppt_x"/>
                                          </p:val>
                                        </p:tav>
                                        <p:tav tm="100000">
                                          <p:val>
                                            <p:strVal val="#ppt_x"/>
                                          </p:val>
                                        </p:tav>
                                      </p:tavLst>
                                    </p:anim>
                                    <p:anim calcmode="lin" valueType="num">
                                      <p:cBhvr additive="base">
                                        <p:cTn id="112" dur="500" fill="hold"/>
                                        <p:tgtEl>
                                          <p:spTgt spid="28"/>
                                        </p:tgtEl>
                                        <p:attrNameLst>
                                          <p:attrName>ppt_y</p:attrName>
                                        </p:attrNameLst>
                                      </p:cBhvr>
                                      <p:tavLst>
                                        <p:tav tm="0">
                                          <p:val>
                                            <p:strVal val="1+#ppt_h/2"/>
                                          </p:val>
                                        </p:tav>
                                        <p:tav tm="100000">
                                          <p:val>
                                            <p:strVal val="#ppt_y"/>
                                          </p:val>
                                        </p:tav>
                                      </p:tavLst>
                                    </p:anim>
                                  </p:childTnLst>
                                </p:cTn>
                              </p:par>
                              <p:par>
                                <p:cTn id="113" presetID="2" presetClass="entr" presetSubtype="4" fill="hold" grpId="0" nodeType="withEffect">
                                  <p:stCondLst>
                                    <p:cond delay="0"/>
                                  </p:stCondLst>
                                  <p:childTnLst>
                                    <p:set>
                                      <p:cBhvr>
                                        <p:cTn id="114" dur="1" fill="hold">
                                          <p:stCondLst>
                                            <p:cond delay="0"/>
                                          </p:stCondLst>
                                        </p:cTn>
                                        <p:tgtEl>
                                          <p:spTgt spid="29"/>
                                        </p:tgtEl>
                                        <p:attrNameLst>
                                          <p:attrName>style.visibility</p:attrName>
                                        </p:attrNameLst>
                                      </p:cBhvr>
                                      <p:to>
                                        <p:strVal val="visible"/>
                                      </p:to>
                                    </p:set>
                                    <p:anim calcmode="lin" valueType="num">
                                      <p:cBhvr additive="base">
                                        <p:cTn id="115" dur="500" fill="hold"/>
                                        <p:tgtEl>
                                          <p:spTgt spid="29"/>
                                        </p:tgtEl>
                                        <p:attrNameLst>
                                          <p:attrName>ppt_x</p:attrName>
                                        </p:attrNameLst>
                                      </p:cBhvr>
                                      <p:tavLst>
                                        <p:tav tm="0">
                                          <p:val>
                                            <p:strVal val="#ppt_x"/>
                                          </p:val>
                                        </p:tav>
                                        <p:tav tm="100000">
                                          <p:val>
                                            <p:strVal val="#ppt_x"/>
                                          </p:val>
                                        </p:tav>
                                      </p:tavLst>
                                    </p:anim>
                                    <p:anim calcmode="lin" valueType="num">
                                      <p:cBhvr additive="base">
                                        <p:cTn id="116" dur="500" fill="hold"/>
                                        <p:tgtEl>
                                          <p:spTgt spid="29"/>
                                        </p:tgtEl>
                                        <p:attrNameLst>
                                          <p:attrName>ppt_y</p:attrName>
                                        </p:attrNameLst>
                                      </p:cBhvr>
                                      <p:tavLst>
                                        <p:tav tm="0">
                                          <p:val>
                                            <p:strVal val="1+#ppt_h/2"/>
                                          </p:val>
                                        </p:tav>
                                        <p:tav tm="100000">
                                          <p:val>
                                            <p:strVal val="#ppt_y"/>
                                          </p:val>
                                        </p:tav>
                                      </p:tavLst>
                                    </p:anim>
                                  </p:childTnLst>
                                </p:cTn>
                              </p:par>
                              <p:par>
                                <p:cTn id="117" presetID="2" presetClass="entr" presetSubtype="4" fill="hold" grpId="0" nodeType="withEffect">
                                  <p:stCondLst>
                                    <p:cond delay="0"/>
                                  </p:stCondLst>
                                  <p:childTnLst>
                                    <p:set>
                                      <p:cBhvr>
                                        <p:cTn id="118" dur="1" fill="hold">
                                          <p:stCondLst>
                                            <p:cond delay="0"/>
                                          </p:stCondLst>
                                        </p:cTn>
                                        <p:tgtEl>
                                          <p:spTgt spid="30"/>
                                        </p:tgtEl>
                                        <p:attrNameLst>
                                          <p:attrName>style.visibility</p:attrName>
                                        </p:attrNameLst>
                                      </p:cBhvr>
                                      <p:to>
                                        <p:strVal val="visible"/>
                                      </p:to>
                                    </p:set>
                                    <p:anim calcmode="lin" valueType="num">
                                      <p:cBhvr additive="base">
                                        <p:cTn id="119" dur="500" fill="hold"/>
                                        <p:tgtEl>
                                          <p:spTgt spid="30"/>
                                        </p:tgtEl>
                                        <p:attrNameLst>
                                          <p:attrName>ppt_x</p:attrName>
                                        </p:attrNameLst>
                                      </p:cBhvr>
                                      <p:tavLst>
                                        <p:tav tm="0">
                                          <p:val>
                                            <p:strVal val="#ppt_x"/>
                                          </p:val>
                                        </p:tav>
                                        <p:tav tm="100000">
                                          <p:val>
                                            <p:strVal val="#ppt_x"/>
                                          </p:val>
                                        </p:tav>
                                      </p:tavLst>
                                    </p:anim>
                                    <p:anim calcmode="lin" valueType="num">
                                      <p:cBhvr additive="base">
                                        <p:cTn id="120" dur="500" fill="hold"/>
                                        <p:tgtEl>
                                          <p:spTgt spid="30"/>
                                        </p:tgtEl>
                                        <p:attrNameLst>
                                          <p:attrName>ppt_y</p:attrName>
                                        </p:attrNameLst>
                                      </p:cBhvr>
                                      <p:tavLst>
                                        <p:tav tm="0">
                                          <p:val>
                                            <p:strVal val="1+#ppt_h/2"/>
                                          </p:val>
                                        </p:tav>
                                        <p:tav tm="100000">
                                          <p:val>
                                            <p:strVal val="#ppt_y"/>
                                          </p:val>
                                        </p:tav>
                                      </p:tavLst>
                                    </p:anim>
                                  </p:childTnLst>
                                </p:cTn>
                              </p:par>
                              <p:par>
                                <p:cTn id="121" presetID="2" presetClass="entr" presetSubtype="4" fill="hold" grpId="0" nodeType="withEffect">
                                  <p:stCondLst>
                                    <p:cond delay="0"/>
                                  </p:stCondLst>
                                  <p:childTnLst>
                                    <p:set>
                                      <p:cBhvr>
                                        <p:cTn id="122" dur="1" fill="hold">
                                          <p:stCondLst>
                                            <p:cond delay="0"/>
                                          </p:stCondLst>
                                        </p:cTn>
                                        <p:tgtEl>
                                          <p:spTgt spid="31"/>
                                        </p:tgtEl>
                                        <p:attrNameLst>
                                          <p:attrName>style.visibility</p:attrName>
                                        </p:attrNameLst>
                                      </p:cBhvr>
                                      <p:to>
                                        <p:strVal val="visible"/>
                                      </p:to>
                                    </p:set>
                                    <p:anim calcmode="lin" valueType="num">
                                      <p:cBhvr additive="base">
                                        <p:cTn id="123" dur="500" fill="hold"/>
                                        <p:tgtEl>
                                          <p:spTgt spid="31"/>
                                        </p:tgtEl>
                                        <p:attrNameLst>
                                          <p:attrName>ppt_x</p:attrName>
                                        </p:attrNameLst>
                                      </p:cBhvr>
                                      <p:tavLst>
                                        <p:tav tm="0">
                                          <p:val>
                                            <p:strVal val="#ppt_x"/>
                                          </p:val>
                                        </p:tav>
                                        <p:tav tm="100000">
                                          <p:val>
                                            <p:strVal val="#ppt_x"/>
                                          </p:val>
                                        </p:tav>
                                      </p:tavLst>
                                    </p:anim>
                                    <p:anim calcmode="lin" valueType="num">
                                      <p:cBhvr additive="base">
                                        <p:cTn id="124" dur="500" fill="hold"/>
                                        <p:tgtEl>
                                          <p:spTgt spid="31"/>
                                        </p:tgtEl>
                                        <p:attrNameLst>
                                          <p:attrName>ppt_y</p:attrName>
                                        </p:attrNameLst>
                                      </p:cBhvr>
                                      <p:tavLst>
                                        <p:tav tm="0">
                                          <p:val>
                                            <p:strVal val="1+#ppt_h/2"/>
                                          </p:val>
                                        </p:tav>
                                        <p:tav tm="100000">
                                          <p:val>
                                            <p:strVal val="#ppt_y"/>
                                          </p:val>
                                        </p:tav>
                                      </p:tavLst>
                                    </p:anim>
                                  </p:childTnLst>
                                </p:cTn>
                              </p:par>
                              <p:par>
                                <p:cTn id="125" presetID="2" presetClass="entr" presetSubtype="4" fill="hold" grpId="0" nodeType="withEffect">
                                  <p:stCondLst>
                                    <p:cond delay="0"/>
                                  </p:stCondLst>
                                  <p:childTnLst>
                                    <p:set>
                                      <p:cBhvr>
                                        <p:cTn id="126" dur="1" fill="hold">
                                          <p:stCondLst>
                                            <p:cond delay="0"/>
                                          </p:stCondLst>
                                        </p:cTn>
                                        <p:tgtEl>
                                          <p:spTgt spid="32"/>
                                        </p:tgtEl>
                                        <p:attrNameLst>
                                          <p:attrName>style.visibility</p:attrName>
                                        </p:attrNameLst>
                                      </p:cBhvr>
                                      <p:to>
                                        <p:strVal val="visible"/>
                                      </p:to>
                                    </p:set>
                                    <p:anim calcmode="lin" valueType="num">
                                      <p:cBhvr additive="base">
                                        <p:cTn id="127" dur="500" fill="hold"/>
                                        <p:tgtEl>
                                          <p:spTgt spid="32"/>
                                        </p:tgtEl>
                                        <p:attrNameLst>
                                          <p:attrName>ppt_x</p:attrName>
                                        </p:attrNameLst>
                                      </p:cBhvr>
                                      <p:tavLst>
                                        <p:tav tm="0">
                                          <p:val>
                                            <p:strVal val="#ppt_x"/>
                                          </p:val>
                                        </p:tav>
                                        <p:tav tm="100000">
                                          <p:val>
                                            <p:strVal val="#ppt_x"/>
                                          </p:val>
                                        </p:tav>
                                      </p:tavLst>
                                    </p:anim>
                                    <p:anim calcmode="lin" valueType="num">
                                      <p:cBhvr additive="base">
                                        <p:cTn id="128" dur="500" fill="hold"/>
                                        <p:tgtEl>
                                          <p:spTgt spid="3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p:bldP spid="15" grpId="0" animBg="1"/>
      <p:bldP spid="16" grpId="0"/>
      <p:bldP spid="17" grpId="0" animBg="1"/>
      <p:bldP spid="18" grpId="0"/>
      <p:bldP spid="19" grpId="0"/>
      <p:bldP spid="20" grpId="0" animBg="1"/>
      <p:bldP spid="21" grpId="0"/>
      <p:bldP spid="22" grpId="0" animBg="1"/>
      <p:bldP spid="23" grpId="0"/>
      <p:bldP spid="24" grpId="0" animBg="1"/>
      <p:bldP spid="25" grpId="0"/>
      <p:bldP spid="26" grpId="0" animBg="1"/>
      <p:bldP spid="27" grpId="0"/>
      <p:bldP spid="28" grpId="0" animBg="1"/>
      <p:bldP spid="29" grpId="0"/>
      <p:bldP spid="30" grpId="0" animBg="1"/>
      <p:bldP spid="31" grpId="0"/>
      <p:bldP spid="32" grpId="0" animBg="1"/>
      <p:bldP spid="33" grpId="0"/>
      <p:bldP spid="34" grpId="0" animBg="1"/>
      <p:bldP spid="35" grpId="0"/>
      <p:bldP spid="36" grpId="0" animBg="1"/>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153932874"/>
              </p:ext>
            </p:extLst>
          </p:nvPr>
        </p:nvGraphicFramePr>
        <p:xfrm>
          <a:off x="1" y="2"/>
          <a:ext cx="119094" cy="119063"/>
        </p:xfrm>
        <a:graphic>
          <a:graphicData uri="http://schemas.openxmlformats.org/presentationml/2006/ole">
            <mc:AlternateContent xmlns:mc="http://schemas.openxmlformats.org/markup-compatibility/2006">
              <mc:Choice xmlns:v="urn:schemas-microsoft-com:vml" Requires="v">
                <p:oleObj spid="_x0000_s3107"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 y="2"/>
                        <a:ext cx="119094" cy="119063"/>
                      </a:xfrm>
                      <a:prstGeom prst="rect">
                        <a:avLst/>
                      </a:prstGeom>
                    </p:spPr>
                  </p:pic>
                </p:oleObj>
              </mc:Fallback>
            </mc:AlternateContent>
          </a:graphicData>
        </a:graphic>
      </p:graphicFrame>
      <p:sp>
        <p:nvSpPr>
          <p:cNvPr id="4" name="Rectangle 3"/>
          <p:cNvSpPr/>
          <p:nvPr>
            <p:custDataLst>
              <p:tags r:id="rId3"/>
            </p:custDataLst>
          </p:nvPr>
        </p:nvSpPr>
        <p:spPr bwMode="auto">
          <a:xfrm>
            <a:off x="397273" y="828675"/>
            <a:ext cx="8344069" cy="19202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0" bIns="34291" numCol="1" rtlCol="0" anchor="ctr" anchorCtr="0" compatLnSpc="1">
            <a:prstTxWarp prst="textNoShape">
              <a:avLst/>
            </a:prstTxWarp>
          </a:bodyPr>
          <a:lstStyle/>
          <a:p>
            <a:pPr algn="ctr" defTabSz="685609"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3" name="Title 2"/>
          <p:cNvSpPr>
            <a:spLocks noGrp="1"/>
          </p:cNvSpPr>
          <p:nvPr>
            <p:ph type="title"/>
            <p:custDataLst>
              <p:tags r:id="rId4"/>
            </p:custDataLst>
          </p:nvPr>
        </p:nvSpPr>
        <p:spPr/>
        <p:txBody>
          <a:bodyPr/>
          <a:lstStyle/>
          <a:p>
            <a:r>
              <a:rPr lang="en-IN" dirty="0">
                <a:cs typeface="Segoe UI"/>
              </a:rPr>
              <a:t>What will work on upload…</a:t>
            </a:r>
            <a:endParaRPr lang="en-US" dirty="0">
              <a:cs typeface="Segoe UI"/>
            </a:endParaRPr>
          </a:p>
        </p:txBody>
      </p:sp>
      <p:sp>
        <p:nvSpPr>
          <p:cNvPr id="5" name="TextBox 4"/>
          <p:cNvSpPr txBox="1"/>
          <p:nvPr>
            <p:custDataLst>
              <p:tags r:id="rId5"/>
            </p:custDataLst>
          </p:nvPr>
        </p:nvSpPr>
        <p:spPr>
          <a:xfrm>
            <a:off x="3724967" y="887289"/>
            <a:ext cx="1657782" cy="373949"/>
          </a:xfrm>
          <a:prstGeom prst="rect">
            <a:avLst/>
          </a:prstGeom>
          <a:noFill/>
          <a:ln>
            <a:noFill/>
          </a:ln>
        </p:spPr>
        <p:txBody>
          <a:bodyPr wrap="square" lIns="0" tIns="0" rIns="0" bIns="0" rtlCol="0">
            <a:spAutoFit/>
          </a:bodyPr>
          <a:lstStyle/>
          <a:p>
            <a:pPr marL="2382" lvl="1" algn="ctr">
              <a:lnSpc>
                <a:spcPct val="90000"/>
              </a:lnSpc>
              <a:spcAft>
                <a:spcPts val="450"/>
              </a:spcAft>
              <a:buSzPct val="80000"/>
            </a:pPr>
            <a:r>
              <a:rPr lang="en-US" sz="2700" b="1" spc="-38" dirty="0">
                <a:gradFill>
                  <a:gsLst>
                    <a:gs pos="0">
                      <a:schemeClr val="accent2"/>
                    </a:gs>
                    <a:gs pos="100000">
                      <a:schemeClr val="accent2"/>
                    </a:gs>
                  </a:gsLst>
                  <a:lin ang="5400000" scaled="0"/>
                </a:gradFill>
                <a:cs typeface="Segoe UI" pitchFamily="34" charset="0"/>
              </a:rPr>
              <a:t>Images</a:t>
            </a:r>
          </a:p>
        </p:txBody>
      </p:sp>
      <p:sp>
        <p:nvSpPr>
          <p:cNvPr id="6" name="Rectangle 5"/>
          <p:cNvSpPr/>
          <p:nvPr>
            <p:custDataLst>
              <p:tags r:id="rId6"/>
            </p:custDataLst>
          </p:nvPr>
        </p:nvSpPr>
        <p:spPr bwMode="auto">
          <a:xfrm>
            <a:off x="389436" y="2819360"/>
            <a:ext cx="8344069" cy="192024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6" tIns="34279" rIns="68556" bIns="34279" numCol="1" spcCol="0" rtlCol="0" anchor="ctr" anchorCtr="0" compatLnSpc="1">
            <a:prstTxWarp prst="textNoShape">
              <a:avLst/>
            </a:prstTxWarp>
          </a:bodyPr>
          <a:lstStyle/>
          <a:p>
            <a:pPr algn="ctr" defTabSz="68537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7" name="TextBox 6"/>
          <p:cNvSpPr txBox="1"/>
          <p:nvPr>
            <p:custDataLst>
              <p:tags r:id="rId7"/>
            </p:custDataLst>
          </p:nvPr>
        </p:nvSpPr>
        <p:spPr>
          <a:xfrm>
            <a:off x="4011392" y="4367100"/>
            <a:ext cx="1137282" cy="373949"/>
          </a:xfrm>
          <a:prstGeom prst="rect">
            <a:avLst/>
          </a:prstGeom>
          <a:noFill/>
          <a:ln>
            <a:noFill/>
          </a:ln>
        </p:spPr>
        <p:txBody>
          <a:bodyPr wrap="square" lIns="0" tIns="0" rIns="0" bIns="0" rtlCol="0">
            <a:spAutoFit/>
          </a:bodyPr>
          <a:lstStyle/>
          <a:p>
            <a:pPr marL="2382" lvl="1" algn="ctr">
              <a:lnSpc>
                <a:spcPct val="90000"/>
              </a:lnSpc>
              <a:spcAft>
                <a:spcPts val="450"/>
              </a:spcAft>
              <a:buSzPct val="80000"/>
            </a:pPr>
            <a:r>
              <a:rPr lang="en-US" sz="2700" b="1" spc="-38" dirty="0">
                <a:gradFill>
                  <a:gsLst>
                    <a:gs pos="0">
                      <a:schemeClr val="tx2"/>
                    </a:gs>
                    <a:gs pos="86000">
                      <a:schemeClr val="tx2"/>
                    </a:gs>
                  </a:gsLst>
                  <a:lin ang="5400000" scaled="0"/>
                </a:gradFill>
                <a:cs typeface="Segoe UI" pitchFamily="34" charset="0"/>
              </a:rPr>
              <a:t>Disks</a:t>
            </a:r>
          </a:p>
        </p:txBody>
      </p:sp>
      <p:sp>
        <p:nvSpPr>
          <p:cNvPr id="8" name="Rectangle 7"/>
          <p:cNvSpPr/>
          <p:nvPr>
            <p:custDataLst>
              <p:tags r:id="rId8"/>
            </p:custDataLst>
          </p:nvPr>
        </p:nvSpPr>
        <p:spPr bwMode="auto">
          <a:xfrm>
            <a:off x="544052" y="1082590"/>
            <a:ext cx="2662008" cy="1489160"/>
          </a:xfrm>
          <a:prstGeom prst="rect">
            <a:avLst/>
          </a:prstGeom>
          <a:solidFill>
            <a:schemeClr val="accent2"/>
          </a:solidFill>
          <a:ln w="9525" cap="flat" cmpd="sng" algn="ctr">
            <a:noFill/>
            <a:prstDash val="solid"/>
          </a:ln>
          <a:effectLst/>
        </p:spPr>
        <p:txBody>
          <a:bodyPr lIns="68583" tIns="34292" rIns="68583" bIns="34292" rtlCol="0" anchor="ctr" anchorCtr="0"/>
          <a:lstStyle/>
          <a:p>
            <a:pPr defTabSz="914248"/>
            <a:r>
              <a:rPr lang="en-US" sz="1700" dirty="0" err="1">
                <a:gradFill>
                  <a:gsLst>
                    <a:gs pos="0">
                      <a:schemeClr val="tx1"/>
                    </a:gs>
                    <a:gs pos="100000">
                      <a:schemeClr val="tx1"/>
                    </a:gs>
                  </a:gsLst>
                  <a:lin ang="5400000" scaled="0"/>
                </a:gradFill>
                <a:latin typeface="Segoe UI"/>
                <a:ea typeface="Segoe UI" pitchFamily="34" charset="0"/>
                <a:cs typeface="Segoe UI" pitchFamily="34" charset="0"/>
              </a:rPr>
              <a:t>Sysprep’d</a:t>
            </a:r>
            <a:r>
              <a:rPr lang="en-US" sz="1700" dirty="0">
                <a:gradFill>
                  <a:gsLst>
                    <a:gs pos="0">
                      <a:schemeClr val="tx1"/>
                    </a:gs>
                    <a:gs pos="100000">
                      <a:schemeClr val="tx1"/>
                    </a:gs>
                  </a:gsLst>
                  <a:lin ang="5400000" scaled="0"/>
                </a:gradFill>
                <a:latin typeface="Segoe UI"/>
                <a:ea typeface="Segoe UI" pitchFamily="34" charset="0"/>
                <a:cs typeface="Segoe UI" pitchFamily="34" charset="0"/>
              </a:rPr>
              <a:t> Windows Server </a:t>
            </a:r>
          </a:p>
          <a:p>
            <a:pPr defTabSz="914248"/>
            <a:r>
              <a:rPr lang="en-US" sz="1700" dirty="0" err="1">
                <a:gradFill>
                  <a:gsLst>
                    <a:gs pos="0">
                      <a:schemeClr val="tx1"/>
                    </a:gs>
                    <a:gs pos="100000">
                      <a:schemeClr val="tx1"/>
                    </a:gs>
                  </a:gsLst>
                  <a:lin ang="5400000" scaled="0"/>
                </a:gradFill>
                <a:latin typeface="Segoe UI"/>
                <a:ea typeface="Segoe UI" pitchFamily="34" charset="0"/>
                <a:cs typeface="Segoe UI" pitchFamily="34" charset="0"/>
              </a:rPr>
              <a:t>VHD</a:t>
            </a:r>
            <a:r>
              <a:rPr lang="en-US" sz="1700" dirty="0">
                <a:gradFill>
                  <a:gsLst>
                    <a:gs pos="0">
                      <a:schemeClr val="tx1"/>
                    </a:gs>
                    <a:gs pos="100000">
                      <a:schemeClr val="tx1"/>
                    </a:gs>
                  </a:gsLst>
                  <a:lin ang="5400000" scaled="0"/>
                </a:gradFill>
                <a:latin typeface="Segoe UI"/>
                <a:ea typeface="Segoe UI" pitchFamily="34" charset="0"/>
                <a:cs typeface="Segoe UI" pitchFamily="34" charset="0"/>
              </a:rPr>
              <a:t> on Hyper-V</a:t>
            </a:r>
          </a:p>
          <a:p>
            <a:pPr defTabSz="914248"/>
            <a:endParaRPr lang="en-US" sz="1700" dirty="0">
              <a:gradFill>
                <a:gsLst>
                  <a:gs pos="0">
                    <a:schemeClr val="tx1"/>
                  </a:gs>
                  <a:gs pos="100000">
                    <a:schemeClr val="tx1"/>
                  </a:gs>
                </a:gsLst>
                <a:lin ang="5400000" scaled="0"/>
              </a:gradFill>
              <a:latin typeface="Segoe UI"/>
              <a:ea typeface="Segoe UI" pitchFamily="34" charset="0"/>
              <a:cs typeface="Segoe UI" pitchFamily="34" charset="0"/>
            </a:endParaRPr>
          </a:p>
          <a:p>
            <a:pPr defTabSz="914248"/>
            <a:r>
              <a:rPr lang="en-US" sz="1700" dirty="0">
                <a:gradFill>
                  <a:gsLst>
                    <a:gs pos="0">
                      <a:schemeClr val="tx1"/>
                    </a:gs>
                    <a:gs pos="100000">
                      <a:schemeClr val="tx1"/>
                    </a:gs>
                  </a:gsLst>
                  <a:lin ang="5400000" scaled="0"/>
                </a:gradFill>
                <a:latin typeface="Segoe UI"/>
                <a:ea typeface="Segoe UI" pitchFamily="34" charset="0"/>
                <a:cs typeface="Segoe UI" pitchFamily="34" charset="0"/>
              </a:rPr>
              <a:t>(Server 2008 R2 and Windows 8 Server)</a:t>
            </a:r>
          </a:p>
        </p:txBody>
      </p:sp>
      <p:sp>
        <p:nvSpPr>
          <p:cNvPr id="9" name="Rectangle 8"/>
          <p:cNvSpPr/>
          <p:nvPr>
            <p:custDataLst>
              <p:tags r:id="rId9"/>
            </p:custDataLst>
          </p:nvPr>
        </p:nvSpPr>
        <p:spPr bwMode="auto">
          <a:xfrm>
            <a:off x="6054089" y="1082590"/>
            <a:ext cx="2515255" cy="1489160"/>
          </a:xfrm>
          <a:prstGeom prst="rect">
            <a:avLst/>
          </a:prstGeom>
          <a:solidFill>
            <a:schemeClr val="accent2"/>
          </a:solidFill>
          <a:ln w="9525" cap="flat" cmpd="sng" algn="ctr">
            <a:noFill/>
            <a:prstDash val="solid"/>
          </a:ln>
          <a:effectLst/>
        </p:spPr>
        <p:txBody>
          <a:bodyPr lIns="68583" tIns="34292" rIns="68583" bIns="34292" rtlCol="0" anchor="ctr" anchorCtr="0"/>
          <a:lstStyle/>
          <a:p>
            <a:pPr algn="ctr" defTabSz="914248"/>
            <a:r>
              <a:rPr lang="en-US" sz="2700" dirty="0">
                <a:gradFill>
                  <a:gsLst>
                    <a:gs pos="0">
                      <a:schemeClr val="tx1"/>
                    </a:gs>
                    <a:gs pos="100000">
                      <a:schemeClr val="tx1"/>
                    </a:gs>
                  </a:gsLst>
                  <a:lin ang="5400000" scaled="0"/>
                </a:gradFill>
                <a:latin typeface="Segoe UI"/>
                <a:ea typeface="Segoe UI" pitchFamily="34" charset="0"/>
                <a:cs typeface="Segoe UI" pitchFamily="34" charset="0"/>
              </a:rPr>
              <a:t>Windows </a:t>
            </a:r>
            <a:br>
              <a:rPr lang="en-US" sz="2700" dirty="0">
                <a:gradFill>
                  <a:gsLst>
                    <a:gs pos="0">
                      <a:schemeClr val="tx1"/>
                    </a:gs>
                    <a:gs pos="100000">
                      <a:schemeClr val="tx1"/>
                    </a:gs>
                  </a:gsLst>
                  <a:lin ang="5400000" scaled="0"/>
                </a:gradFill>
                <a:latin typeface="Segoe UI"/>
                <a:ea typeface="Segoe UI" pitchFamily="34" charset="0"/>
                <a:cs typeface="Segoe UI" pitchFamily="34" charset="0"/>
              </a:rPr>
            </a:br>
            <a:r>
              <a:rPr lang="en-US" sz="2700" dirty="0">
                <a:gradFill>
                  <a:gsLst>
                    <a:gs pos="0">
                      <a:schemeClr val="tx1"/>
                    </a:gs>
                    <a:gs pos="100000">
                      <a:schemeClr val="tx1"/>
                    </a:gs>
                  </a:gsLst>
                  <a:lin ang="5400000" scaled="0"/>
                </a:gradFill>
                <a:latin typeface="Segoe UI"/>
                <a:ea typeface="Segoe UI" pitchFamily="34" charset="0"/>
                <a:cs typeface="Segoe UI" pitchFamily="34" charset="0"/>
              </a:rPr>
              <a:t>Azure Image</a:t>
            </a:r>
          </a:p>
        </p:txBody>
      </p:sp>
      <p:sp>
        <p:nvSpPr>
          <p:cNvPr id="10" name="Rectangle 9"/>
          <p:cNvSpPr/>
          <p:nvPr>
            <p:custDataLst>
              <p:tags r:id="rId10"/>
            </p:custDataLst>
          </p:nvPr>
        </p:nvSpPr>
        <p:spPr bwMode="auto">
          <a:xfrm>
            <a:off x="544052" y="3084346"/>
            <a:ext cx="2690904" cy="1489160"/>
          </a:xfrm>
          <a:prstGeom prst="rect">
            <a:avLst/>
          </a:prstGeom>
          <a:solidFill>
            <a:schemeClr val="accent1"/>
          </a:solidFill>
          <a:ln w="9525" cap="flat" cmpd="sng" algn="ctr">
            <a:noFill/>
            <a:prstDash val="solid"/>
          </a:ln>
          <a:effectLst/>
        </p:spPr>
        <p:txBody>
          <a:bodyPr lIns="68583" tIns="34292" rIns="68583" bIns="34292" rtlCol="0" anchor="ctr" anchorCtr="0"/>
          <a:lstStyle/>
          <a:p>
            <a:pPr defTabSz="914248"/>
            <a:r>
              <a:rPr lang="en-US" sz="1700" dirty="0">
                <a:gradFill>
                  <a:gsLst>
                    <a:gs pos="0">
                      <a:schemeClr val="tx1"/>
                    </a:gs>
                    <a:gs pos="100000">
                      <a:schemeClr val="tx1"/>
                    </a:gs>
                  </a:gsLst>
                  <a:lin ang="5400000" scaled="0"/>
                </a:gradFill>
                <a:latin typeface="Segoe UI"/>
                <a:ea typeface="Segoe UI" pitchFamily="34" charset="0"/>
                <a:cs typeface="Segoe UI" pitchFamily="34" charset="0"/>
              </a:rPr>
              <a:t>Windows Server </a:t>
            </a:r>
          </a:p>
          <a:p>
            <a:pPr defTabSz="914248"/>
            <a:r>
              <a:rPr lang="en-US" sz="1700" dirty="0" err="1">
                <a:gradFill>
                  <a:gsLst>
                    <a:gs pos="0">
                      <a:schemeClr val="tx1"/>
                    </a:gs>
                    <a:gs pos="100000">
                      <a:schemeClr val="tx1"/>
                    </a:gs>
                  </a:gsLst>
                  <a:lin ang="5400000" scaled="0"/>
                </a:gradFill>
                <a:latin typeface="Segoe UI"/>
                <a:ea typeface="Segoe UI" pitchFamily="34" charset="0"/>
                <a:cs typeface="Segoe UI" pitchFamily="34" charset="0"/>
              </a:rPr>
              <a:t>VHD</a:t>
            </a:r>
            <a:r>
              <a:rPr lang="en-US" sz="1700" dirty="0">
                <a:gradFill>
                  <a:gsLst>
                    <a:gs pos="0">
                      <a:schemeClr val="tx1"/>
                    </a:gs>
                    <a:gs pos="100000">
                      <a:schemeClr val="tx1"/>
                    </a:gs>
                  </a:gsLst>
                  <a:lin ang="5400000" scaled="0"/>
                </a:gradFill>
                <a:latin typeface="Segoe UI"/>
                <a:ea typeface="Segoe UI" pitchFamily="34" charset="0"/>
                <a:cs typeface="Segoe UI" pitchFamily="34" charset="0"/>
              </a:rPr>
              <a:t> on Hyper-V</a:t>
            </a:r>
          </a:p>
          <a:p>
            <a:pPr defTabSz="914248"/>
            <a:endParaRPr lang="en-US" sz="1700" dirty="0">
              <a:gradFill>
                <a:gsLst>
                  <a:gs pos="0">
                    <a:schemeClr val="tx1"/>
                  </a:gs>
                  <a:gs pos="100000">
                    <a:schemeClr val="tx1"/>
                  </a:gs>
                </a:gsLst>
                <a:lin ang="5400000" scaled="0"/>
              </a:gradFill>
              <a:latin typeface="Segoe UI"/>
              <a:ea typeface="Segoe UI" pitchFamily="34" charset="0"/>
              <a:cs typeface="Segoe UI" pitchFamily="34" charset="0"/>
            </a:endParaRPr>
          </a:p>
          <a:p>
            <a:pPr defTabSz="914248"/>
            <a:r>
              <a:rPr lang="en-US" sz="1700" dirty="0">
                <a:gradFill>
                  <a:gsLst>
                    <a:gs pos="0">
                      <a:schemeClr val="tx1"/>
                    </a:gs>
                    <a:gs pos="100000">
                      <a:schemeClr val="tx1"/>
                    </a:gs>
                  </a:gsLst>
                  <a:lin ang="5400000" scaled="0"/>
                </a:gradFill>
                <a:latin typeface="Segoe UI"/>
                <a:ea typeface="Segoe UI" pitchFamily="34" charset="0"/>
                <a:cs typeface="Segoe UI" pitchFamily="34" charset="0"/>
              </a:rPr>
              <a:t>(Server 2008 R2 and Windows 8 Server)</a:t>
            </a:r>
          </a:p>
        </p:txBody>
      </p:sp>
      <p:sp>
        <p:nvSpPr>
          <p:cNvPr id="11" name="Rectangle 10"/>
          <p:cNvSpPr/>
          <p:nvPr>
            <p:custDataLst>
              <p:tags r:id="rId11"/>
            </p:custDataLst>
          </p:nvPr>
        </p:nvSpPr>
        <p:spPr bwMode="auto">
          <a:xfrm>
            <a:off x="6054089" y="3084346"/>
            <a:ext cx="2515255" cy="1489160"/>
          </a:xfrm>
          <a:prstGeom prst="rect">
            <a:avLst/>
          </a:prstGeom>
          <a:solidFill>
            <a:schemeClr val="accent1"/>
          </a:solidFill>
          <a:ln w="9525" cap="flat" cmpd="sng" algn="ctr">
            <a:noFill/>
            <a:prstDash val="solid"/>
          </a:ln>
          <a:effectLst/>
        </p:spPr>
        <p:txBody>
          <a:bodyPr lIns="68583" tIns="34292" rIns="68583" bIns="34292" rtlCol="0" anchor="ctr" anchorCtr="0"/>
          <a:lstStyle/>
          <a:p>
            <a:pPr algn="ctr" defTabSz="914248"/>
            <a:r>
              <a:rPr lang="en-US" sz="2700" dirty="0">
                <a:gradFill>
                  <a:gsLst>
                    <a:gs pos="0">
                      <a:schemeClr val="tx1"/>
                    </a:gs>
                    <a:gs pos="100000">
                      <a:schemeClr val="tx1"/>
                    </a:gs>
                  </a:gsLst>
                  <a:lin ang="5400000" scaled="0"/>
                </a:gradFill>
                <a:latin typeface="Segoe UI"/>
                <a:ea typeface="Segoe UI" pitchFamily="34" charset="0"/>
                <a:cs typeface="Segoe UI" pitchFamily="34" charset="0"/>
              </a:rPr>
              <a:t>Windows </a:t>
            </a:r>
            <a:br>
              <a:rPr lang="en-US" sz="2700" dirty="0">
                <a:gradFill>
                  <a:gsLst>
                    <a:gs pos="0">
                      <a:schemeClr val="tx1"/>
                    </a:gs>
                    <a:gs pos="100000">
                      <a:schemeClr val="tx1"/>
                    </a:gs>
                  </a:gsLst>
                  <a:lin ang="5400000" scaled="0"/>
                </a:gradFill>
                <a:latin typeface="Segoe UI"/>
                <a:ea typeface="Segoe UI" pitchFamily="34" charset="0"/>
                <a:cs typeface="Segoe UI" pitchFamily="34" charset="0"/>
              </a:rPr>
            </a:br>
            <a:r>
              <a:rPr lang="en-US" sz="2700" dirty="0">
                <a:gradFill>
                  <a:gsLst>
                    <a:gs pos="0">
                      <a:schemeClr val="tx1"/>
                    </a:gs>
                    <a:gs pos="100000">
                      <a:schemeClr val="tx1"/>
                    </a:gs>
                  </a:gsLst>
                  <a:lin ang="5400000" scaled="0"/>
                </a:gradFill>
                <a:latin typeface="Segoe UI"/>
                <a:ea typeface="Segoe UI" pitchFamily="34" charset="0"/>
                <a:cs typeface="Segoe UI" pitchFamily="34" charset="0"/>
              </a:rPr>
              <a:t>Azure Disk</a:t>
            </a:r>
          </a:p>
        </p:txBody>
      </p:sp>
      <p:sp>
        <p:nvSpPr>
          <p:cNvPr id="12" name="Equal 11"/>
          <p:cNvSpPr/>
          <p:nvPr>
            <p:custDataLst>
              <p:tags r:id="rId12"/>
            </p:custDataLst>
          </p:nvPr>
        </p:nvSpPr>
        <p:spPr bwMode="auto">
          <a:xfrm>
            <a:off x="3381161" y="1219284"/>
            <a:ext cx="2360620" cy="1407697"/>
          </a:xfrm>
          <a:prstGeom prst="mathEqual">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0" bIns="34291" numCol="1" rtlCol="0" anchor="ctr" anchorCtr="0" compatLnSpc="1">
            <a:prstTxWarp prst="textNoShape">
              <a:avLst/>
            </a:prstTxWarp>
          </a:bodyPr>
          <a:lstStyle/>
          <a:p>
            <a:pPr algn="ctr" defTabSz="685609"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4" name="Equal 13"/>
          <p:cNvSpPr/>
          <p:nvPr>
            <p:custDataLst>
              <p:tags r:id="rId13"/>
            </p:custDataLst>
          </p:nvPr>
        </p:nvSpPr>
        <p:spPr bwMode="auto">
          <a:xfrm>
            <a:off x="3878928" y="3099512"/>
            <a:ext cx="1365091" cy="1407697"/>
          </a:xfrm>
          <a:prstGeom prst="mathEqual">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0" bIns="34291" numCol="1" rtlCol="0" anchor="ctr" anchorCtr="0" compatLnSpc="1">
            <a:prstTxWarp prst="textNoShape">
              <a:avLst/>
            </a:prstTxWarp>
          </a:bodyPr>
          <a:lstStyle/>
          <a:p>
            <a:pPr algn="ctr" defTabSz="685609" fontAlgn="base">
              <a:spcBef>
                <a:spcPct val="0"/>
              </a:spcBef>
              <a:spcAft>
                <a:spcPct val="0"/>
              </a:spcAft>
            </a:pPr>
            <a:endParaRPr lang="en-US" sz="1700" dirty="0">
              <a:gradFill>
                <a:gsLst>
                  <a:gs pos="0">
                    <a:srgbClr val="FFFFFF"/>
                  </a:gs>
                  <a:gs pos="100000">
                    <a:srgbClr val="FFFFFF"/>
                  </a:gs>
                </a:gsLst>
                <a:lin ang="5400000" scaled="0"/>
              </a:gradFill>
            </a:endParaRPr>
          </a:p>
        </p:txBody>
      </p:sp>
      <p:pic>
        <p:nvPicPr>
          <p:cNvPr id="41026" name="Picture 66"/>
          <p:cNvPicPr>
            <a:picLocks noChangeAspect="1" noChangeArrowheads="1"/>
          </p:cNvPicPr>
          <p:nvPr/>
        </p:nvPicPr>
        <p:blipFill rotWithShape="1">
          <a:blip r:embed="rId18" cstate="print">
            <a:extLst>
              <a:ext uri="{28A0092B-C50C-407E-A947-70E740481C1C}">
                <a14:useLocalDpi xmlns:a14="http://schemas.microsoft.com/office/drawing/2010/main" val="0"/>
              </a:ext>
            </a:extLst>
          </a:blip>
          <a:srcRect b="64861"/>
          <a:stretch/>
        </p:blipFill>
        <p:spPr bwMode="auto">
          <a:xfrm>
            <a:off x="3905267" y="1329974"/>
            <a:ext cx="1312411" cy="11729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 name="Picture 66"/>
          <p:cNvPicPr>
            <a:picLocks noChangeAspect="1" noChangeArrowheads="1"/>
          </p:cNvPicPr>
          <p:nvPr/>
        </p:nvPicPr>
        <p:blipFill rotWithShape="1">
          <a:blip r:embed="rId18" cstate="print">
            <a:extLst>
              <a:ext uri="{28A0092B-C50C-407E-A947-70E740481C1C}">
                <a14:useLocalDpi xmlns:a14="http://schemas.microsoft.com/office/drawing/2010/main" val="0"/>
              </a:ext>
            </a:extLst>
          </a:blip>
          <a:srcRect b="64861"/>
          <a:stretch/>
        </p:blipFill>
        <p:spPr bwMode="auto">
          <a:xfrm>
            <a:off x="3905267" y="3088256"/>
            <a:ext cx="1312411" cy="11729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Rectangle 12"/>
          <p:cNvSpPr/>
          <p:nvPr/>
        </p:nvSpPr>
        <p:spPr>
          <a:xfrm>
            <a:off x="2286597" y="2121628"/>
            <a:ext cx="4570809" cy="288539"/>
          </a:xfrm>
          <a:prstGeom prst="rect">
            <a:avLst/>
          </a:prstGeom>
        </p:spPr>
        <p:txBody>
          <a:bodyPr lIns="68586" tIns="34294" rIns="68586" bIns="34294">
            <a:spAutoFit/>
          </a:bodyPr>
          <a:lstStyle/>
          <a:p>
            <a:endParaRPr lang="en-US" dirty="0"/>
          </a:p>
        </p:txBody>
      </p:sp>
      <p:sp>
        <p:nvSpPr>
          <p:cNvPr id="17"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8"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9"/>
              </a:rPr>
              <a:t>www.rapidbbs.cn</a:t>
            </a:r>
            <a:endParaRPr lang="zh-CN" altLang="en-US" sz="1200" b="0">
              <a:latin typeface="Arial" charset="0"/>
              <a:ea typeface="ＭＳ Ｐゴシック" pitchFamily="34" charset="-128"/>
            </a:endParaRPr>
          </a:p>
        </p:txBody>
      </p:sp>
      <p:pic>
        <p:nvPicPr>
          <p:cNvPr id="19" name="Picture 2">
            <a:hlinkClick r:id="rId19"/>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02791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41026"/>
                                        </p:tgtEl>
                                        <p:attrNameLst>
                                          <p:attrName>style.visibility</p:attrName>
                                        </p:attrNameLst>
                                      </p:cBhvr>
                                      <p:to>
                                        <p:strVal val="visible"/>
                                      </p:to>
                                    </p:set>
                                    <p:animEffect transition="in" filter="fade">
                                      <p:cBhvr>
                                        <p:cTn id="21" dur="500"/>
                                        <p:tgtEl>
                                          <p:spTgt spid="41026"/>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xit" presetSubtype="32" fill="hold" nodeType="clickEffect">
                                  <p:stCondLst>
                                    <p:cond delay="0"/>
                                  </p:stCondLst>
                                  <p:childTnLst>
                                    <p:anim calcmode="lin" valueType="num">
                                      <p:cBhvr>
                                        <p:cTn id="25" dur="500"/>
                                        <p:tgtEl>
                                          <p:spTgt spid="41026"/>
                                        </p:tgtEl>
                                        <p:attrNameLst>
                                          <p:attrName>ppt_w</p:attrName>
                                        </p:attrNameLst>
                                      </p:cBhvr>
                                      <p:tavLst>
                                        <p:tav tm="0">
                                          <p:val>
                                            <p:strVal val="ppt_w"/>
                                          </p:val>
                                        </p:tav>
                                        <p:tav tm="100000">
                                          <p:val>
                                            <p:fltVal val="0"/>
                                          </p:val>
                                        </p:tav>
                                      </p:tavLst>
                                    </p:anim>
                                    <p:anim calcmode="lin" valueType="num">
                                      <p:cBhvr>
                                        <p:cTn id="26" dur="500"/>
                                        <p:tgtEl>
                                          <p:spTgt spid="41026"/>
                                        </p:tgtEl>
                                        <p:attrNameLst>
                                          <p:attrName>ppt_h</p:attrName>
                                        </p:attrNameLst>
                                      </p:cBhvr>
                                      <p:tavLst>
                                        <p:tav tm="0">
                                          <p:val>
                                            <p:strVal val="ppt_h"/>
                                          </p:val>
                                        </p:tav>
                                        <p:tav tm="100000">
                                          <p:val>
                                            <p:fltVal val="0"/>
                                          </p:val>
                                        </p:tav>
                                      </p:tavLst>
                                    </p:anim>
                                    <p:animEffect transition="out" filter="fade">
                                      <p:cBhvr>
                                        <p:cTn id="27" dur="500"/>
                                        <p:tgtEl>
                                          <p:spTgt spid="41026"/>
                                        </p:tgtEl>
                                      </p:cBhvr>
                                    </p:animEffect>
                                    <p:set>
                                      <p:cBhvr>
                                        <p:cTn id="28" dur="1" fill="hold">
                                          <p:stCondLst>
                                            <p:cond delay="499"/>
                                          </p:stCondLst>
                                        </p:cTn>
                                        <p:tgtEl>
                                          <p:spTgt spid="41026"/>
                                        </p:tgtEl>
                                        <p:attrNameLst>
                                          <p:attrName>style.visibility</p:attrName>
                                        </p:attrNameLst>
                                      </p:cBhvr>
                                      <p:to>
                                        <p:strVal val="hidden"/>
                                      </p:to>
                                    </p:set>
                                  </p:childTnLst>
                                </p:cTn>
                              </p:par>
                              <p:par>
                                <p:cTn id="29" presetID="10" presetClass="entr" presetSubtype="0" fill="hold" grpId="0" nodeType="with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fade">
                                      <p:cBhvr>
                                        <p:cTn id="31" dur="500"/>
                                        <p:tgtEl>
                                          <p:spTgt spid="12"/>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10"/>
                                        </p:tgtEl>
                                        <p:attrNameLst>
                                          <p:attrName>style.visibility</p:attrName>
                                        </p:attrNameLst>
                                      </p:cBhvr>
                                      <p:to>
                                        <p:strVal val="visible"/>
                                      </p:to>
                                    </p:set>
                                    <p:animEffect transition="in" filter="fade">
                                      <p:cBhvr>
                                        <p:cTn id="36" dur="500"/>
                                        <p:tgtEl>
                                          <p:spTgt spid="10"/>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6"/>
                                        </p:tgtEl>
                                        <p:attrNameLst>
                                          <p:attrName>style.visibility</p:attrName>
                                        </p:attrNameLst>
                                      </p:cBhvr>
                                      <p:to>
                                        <p:strVal val="visible"/>
                                      </p:to>
                                    </p:set>
                                    <p:animEffect transition="in" filter="fade">
                                      <p:cBhvr>
                                        <p:cTn id="39" dur="500"/>
                                        <p:tgtEl>
                                          <p:spTgt spid="6"/>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7"/>
                                        </p:tgtEl>
                                        <p:attrNameLst>
                                          <p:attrName>style.visibility</p:attrName>
                                        </p:attrNameLst>
                                      </p:cBhvr>
                                      <p:to>
                                        <p:strVal val="visible"/>
                                      </p:to>
                                    </p:set>
                                    <p:animEffect transition="in" filter="fade">
                                      <p:cBhvr>
                                        <p:cTn id="42" dur="500"/>
                                        <p:tgtEl>
                                          <p:spTgt spid="7"/>
                                        </p:tgtEl>
                                      </p:cBhvr>
                                    </p:animEffect>
                                  </p:childTnLst>
                                </p:cTn>
                              </p:par>
                            </p:childTnLst>
                          </p:cTn>
                        </p:par>
                        <p:par>
                          <p:cTn id="43" fill="hold">
                            <p:stCondLst>
                              <p:cond delay="500"/>
                            </p:stCondLst>
                            <p:childTnLst>
                              <p:par>
                                <p:cTn id="44" presetID="10" presetClass="entr" presetSubtype="0" fill="hold" grpId="0" nodeType="afterEffect">
                                  <p:stCondLst>
                                    <p:cond delay="0"/>
                                  </p:stCondLst>
                                  <p:childTnLst>
                                    <p:set>
                                      <p:cBhvr>
                                        <p:cTn id="45" dur="1" fill="hold">
                                          <p:stCondLst>
                                            <p:cond delay="0"/>
                                          </p:stCondLst>
                                        </p:cTn>
                                        <p:tgtEl>
                                          <p:spTgt spid="11"/>
                                        </p:tgtEl>
                                        <p:attrNameLst>
                                          <p:attrName>style.visibility</p:attrName>
                                        </p:attrNameLst>
                                      </p:cBhvr>
                                      <p:to>
                                        <p:strVal val="visible"/>
                                      </p:to>
                                    </p:set>
                                    <p:animEffect transition="in" filter="fade">
                                      <p:cBhvr>
                                        <p:cTn id="46" dur="500"/>
                                        <p:tgtEl>
                                          <p:spTgt spid="11"/>
                                        </p:tgtEl>
                                      </p:cBhvr>
                                    </p:animEffect>
                                  </p:childTnLst>
                                </p:cTn>
                              </p:par>
                            </p:childTnLst>
                          </p:cTn>
                        </p:par>
                        <p:par>
                          <p:cTn id="47" fill="hold">
                            <p:stCondLst>
                              <p:cond delay="1000"/>
                            </p:stCondLst>
                            <p:childTnLst>
                              <p:par>
                                <p:cTn id="48" presetID="10" presetClass="entr" presetSubtype="0" fill="hold" nodeType="afterEffect">
                                  <p:stCondLst>
                                    <p:cond delay="0"/>
                                  </p:stCondLst>
                                  <p:childTnLst>
                                    <p:set>
                                      <p:cBhvr>
                                        <p:cTn id="49" dur="1" fill="hold">
                                          <p:stCondLst>
                                            <p:cond delay="0"/>
                                          </p:stCondLst>
                                        </p:cTn>
                                        <p:tgtEl>
                                          <p:spTgt spid="25"/>
                                        </p:tgtEl>
                                        <p:attrNameLst>
                                          <p:attrName>style.visibility</p:attrName>
                                        </p:attrNameLst>
                                      </p:cBhvr>
                                      <p:to>
                                        <p:strVal val="visible"/>
                                      </p:to>
                                    </p:set>
                                    <p:animEffect transition="in" filter="fade">
                                      <p:cBhvr>
                                        <p:cTn id="50" dur="500"/>
                                        <p:tgtEl>
                                          <p:spTgt spid="25"/>
                                        </p:tgtEl>
                                      </p:cBhvr>
                                    </p:animEffect>
                                  </p:childTnLst>
                                </p:cTn>
                              </p:par>
                            </p:childTnLst>
                          </p:cTn>
                        </p:par>
                      </p:childTnLst>
                    </p:cTn>
                  </p:par>
                  <p:par>
                    <p:cTn id="51" fill="hold">
                      <p:stCondLst>
                        <p:cond delay="indefinite"/>
                      </p:stCondLst>
                      <p:childTnLst>
                        <p:par>
                          <p:cTn id="52" fill="hold">
                            <p:stCondLst>
                              <p:cond delay="0"/>
                            </p:stCondLst>
                            <p:childTnLst>
                              <p:par>
                                <p:cTn id="53" presetID="53" presetClass="exit" presetSubtype="32" fill="hold" nodeType="clickEffect">
                                  <p:stCondLst>
                                    <p:cond delay="0"/>
                                  </p:stCondLst>
                                  <p:childTnLst>
                                    <p:anim calcmode="lin" valueType="num">
                                      <p:cBhvr>
                                        <p:cTn id="54" dur="500"/>
                                        <p:tgtEl>
                                          <p:spTgt spid="25"/>
                                        </p:tgtEl>
                                        <p:attrNameLst>
                                          <p:attrName>ppt_w</p:attrName>
                                        </p:attrNameLst>
                                      </p:cBhvr>
                                      <p:tavLst>
                                        <p:tav tm="0">
                                          <p:val>
                                            <p:strVal val="ppt_w"/>
                                          </p:val>
                                        </p:tav>
                                        <p:tav tm="100000">
                                          <p:val>
                                            <p:fltVal val="0"/>
                                          </p:val>
                                        </p:tav>
                                      </p:tavLst>
                                    </p:anim>
                                    <p:anim calcmode="lin" valueType="num">
                                      <p:cBhvr>
                                        <p:cTn id="55" dur="500"/>
                                        <p:tgtEl>
                                          <p:spTgt spid="25"/>
                                        </p:tgtEl>
                                        <p:attrNameLst>
                                          <p:attrName>ppt_h</p:attrName>
                                        </p:attrNameLst>
                                      </p:cBhvr>
                                      <p:tavLst>
                                        <p:tav tm="0">
                                          <p:val>
                                            <p:strVal val="ppt_h"/>
                                          </p:val>
                                        </p:tav>
                                        <p:tav tm="100000">
                                          <p:val>
                                            <p:fltVal val="0"/>
                                          </p:val>
                                        </p:tav>
                                      </p:tavLst>
                                    </p:anim>
                                    <p:animEffect transition="out" filter="fade">
                                      <p:cBhvr>
                                        <p:cTn id="56" dur="500"/>
                                        <p:tgtEl>
                                          <p:spTgt spid="25"/>
                                        </p:tgtEl>
                                      </p:cBhvr>
                                    </p:animEffect>
                                    <p:set>
                                      <p:cBhvr>
                                        <p:cTn id="57" dur="1" fill="hold">
                                          <p:stCondLst>
                                            <p:cond delay="499"/>
                                          </p:stCondLst>
                                        </p:cTn>
                                        <p:tgtEl>
                                          <p:spTgt spid="25"/>
                                        </p:tgtEl>
                                        <p:attrNameLst>
                                          <p:attrName>style.visibility</p:attrName>
                                        </p:attrNameLst>
                                      </p:cBhvr>
                                      <p:to>
                                        <p:strVal val="hidden"/>
                                      </p:to>
                                    </p:set>
                                  </p:childTnLst>
                                </p:cTn>
                              </p:par>
                              <p:par>
                                <p:cTn id="58" presetID="10" presetClass="entr" presetSubtype="0" fill="hold" grpId="0" nodeType="withEffect">
                                  <p:stCondLst>
                                    <p:cond delay="0"/>
                                  </p:stCondLst>
                                  <p:childTnLst>
                                    <p:set>
                                      <p:cBhvr>
                                        <p:cTn id="59" dur="1" fill="hold">
                                          <p:stCondLst>
                                            <p:cond delay="0"/>
                                          </p:stCondLst>
                                        </p:cTn>
                                        <p:tgtEl>
                                          <p:spTgt spid="14"/>
                                        </p:tgtEl>
                                        <p:attrNameLst>
                                          <p:attrName>style.visibility</p:attrName>
                                        </p:attrNameLst>
                                      </p:cBhvr>
                                      <p:to>
                                        <p:strVal val="visible"/>
                                      </p:to>
                                    </p:set>
                                    <p:animEffect transition="in" filter="fade">
                                      <p:cBhvr>
                                        <p:cTn id="60"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6" grpId="0" animBg="1"/>
      <p:bldP spid="7" grpId="0"/>
      <p:bldP spid="8" grpId="0" animBg="1"/>
      <p:bldP spid="9" grpId="0" animBg="1"/>
      <p:bldP spid="10" grpId="0" animBg="1"/>
      <p:bldP spid="11" grpId="0" animBg="1"/>
      <p:bldP spid="12" grpId="0" animBg="1"/>
      <p:bldP spid="14" grpId="0" animBg="1"/>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Agenda</a:t>
            </a:r>
            <a:endParaRPr lang="en-US" dirty="0"/>
          </a:p>
        </p:txBody>
      </p:sp>
      <p:sp>
        <p:nvSpPr>
          <p:cNvPr id="4" name="Content Placeholder 5"/>
          <p:cNvSpPr txBox="1">
            <a:spLocks/>
          </p:cNvSpPr>
          <p:nvPr/>
        </p:nvSpPr>
        <p:spPr>
          <a:xfrm>
            <a:off x="957406" y="1727516"/>
            <a:ext cx="7795968" cy="480060"/>
          </a:xfrm>
          <a:prstGeom prst="rect">
            <a:avLst/>
          </a:prstGeom>
          <a:solidFill>
            <a:schemeClr val="tx1"/>
          </a:solidFill>
        </p:spPr>
        <p:txBody>
          <a:bodyPr vert="horz" wrap="square" lIns="68586" tIns="68586" rIns="68586" bIns="68586" rtlCol="0">
            <a:noAutofit/>
          </a:bodyPr>
          <a:lstStyle>
            <a:lvl1pPr marL="460375" indent="-460375" algn="l" defTabSz="914363" rtl="0" eaLnBrk="1" latinLnBrk="0" hangingPunct="1">
              <a:lnSpc>
                <a:spcPct val="90000"/>
              </a:lnSpc>
              <a:spcBef>
                <a:spcPct val="20000"/>
              </a:spcBef>
              <a:buSzPct val="90000"/>
              <a:buFontTx/>
              <a:buBlip>
                <a:blip r:embed="rId2"/>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2"/>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2"/>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53" dirty="0">
                <a:gradFill>
                  <a:gsLst>
                    <a:gs pos="0">
                      <a:schemeClr val="bg2"/>
                    </a:gs>
                    <a:gs pos="86000">
                      <a:schemeClr val="bg2"/>
                    </a:gs>
                  </a:gsLst>
                  <a:lin ang="5400000" scaled="0"/>
                </a:gradFill>
              </a:rPr>
              <a:t>Overview of Windows Azure Virtual Network</a:t>
            </a:r>
          </a:p>
        </p:txBody>
      </p:sp>
      <p:sp>
        <p:nvSpPr>
          <p:cNvPr id="7" name="Content Placeholder 5"/>
          <p:cNvSpPr txBox="1">
            <a:spLocks/>
          </p:cNvSpPr>
          <p:nvPr/>
        </p:nvSpPr>
        <p:spPr>
          <a:xfrm>
            <a:off x="957406" y="2369182"/>
            <a:ext cx="7795968" cy="480060"/>
          </a:xfrm>
          <a:prstGeom prst="rect">
            <a:avLst/>
          </a:prstGeom>
          <a:solidFill>
            <a:schemeClr val="tx1"/>
          </a:solidFill>
        </p:spPr>
        <p:txBody>
          <a:bodyPr vert="horz" wrap="square" lIns="68586" tIns="68586" rIns="68586" bIns="68586" rtlCol="0">
            <a:noAutofit/>
          </a:bodyPr>
          <a:lstStyle>
            <a:lvl1pPr marL="460375" indent="-460375" algn="l" defTabSz="914363" rtl="0" eaLnBrk="1" latinLnBrk="0" hangingPunct="1">
              <a:lnSpc>
                <a:spcPct val="90000"/>
              </a:lnSpc>
              <a:spcBef>
                <a:spcPct val="20000"/>
              </a:spcBef>
              <a:buSzPct val="90000"/>
              <a:buFontTx/>
              <a:buBlip>
                <a:blip r:embed="rId2"/>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2"/>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2"/>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53" dirty="0">
                <a:gradFill>
                  <a:gsLst>
                    <a:gs pos="0">
                      <a:schemeClr val="bg2"/>
                    </a:gs>
                    <a:gs pos="86000">
                      <a:schemeClr val="bg2"/>
                    </a:gs>
                  </a:gsLst>
                  <a:lin ang="5400000" scaled="0"/>
                </a:gradFill>
              </a:rPr>
              <a:t>Typical use cases and scenarios</a:t>
            </a:r>
          </a:p>
        </p:txBody>
      </p:sp>
      <p:sp>
        <p:nvSpPr>
          <p:cNvPr id="8" name="Content Placeholder 5"/>
          <p:cNvSpPr txBox="1">
            <a:spLocks/>
          </p:cNvSpPr>
          <p:nvPr/>
        </p:nvSpPr>
        <p:spPr>
          <a:xfrm>
            <a:off x="957406" y="3010848"/>
            <a:ext cx="7795968" cy="480060"/>
          </a:xfrm>
          <a:prstGeom prst="rect">
            <a:avLst/>
          </a:prstGeom>
          <a:solidFill>
            <a:schemeClr val="tx1"/>
          </a:solidFill>
        </p:spPr>
        <p:txBody>
          <a:bodyPr vert="horz" wrap="square" lIns="68586" tIns="68586" rIns="68586" bIns="68586" rtlCol="0">
            <a:noAutofit/>
          </a:bodyPr>
          <a:lstStyle>
            <a:lvl1pPr marL="460375" indent="-460375" algn="l" defTabSz="914363" rtl="0" eaLnBrk="1" latinLnBrk="0" hangingPunct="1">
              <a:lnSpc>
                <a:spcPct val="90000"/>
              </a:lnSpc>
              <a:spcBef>
                <a:spcPct val="20000"/>
              </a:spcBef>
              <a:buSzPct val="90000"/>
              <a:buFontTx/>
              <a:buBlip>
                <a:blip r:embed="rId2"/>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2"/>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2"/>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53" dirty="0">
                <a:gradFill>
                  <a:gsLst>
                    <a:gs pos="0">
                      <a:schemeClr val="bg2"/>
                    </a:gs>
                    <a:gs pos="86000">
                      <a:schemeClr val="bg2"/>
                    </a:gs>
                  </a:gsLst>
                  <a:lin ang="5400000" scaled="0"/>
                </a:gradFill>
              </a:rPr>
              <a:t>Setting up Virtual Networks</a:t>
            </a:r>
          </a:p>
        </p:txBody>
      </p:sp>
      <p:sp>
        <p:nvSpPr>
          <p:cNvPr id="9" name="Content Placeholder 5"/>
          <p:cNvSpPr txBox="1">
            <a:spLocks/>
          </p:cNvSpPr>
          <p:nvPr/>
        </p:nvSpPr>
        <p:spPr>
          <a:xfrm>
            <a:off x="957406" y="3652515"/>
            <a:ext cx="7795968" cy="480060"/>
          </a:xfrm>
          <a:prstGeom prst="rect">
            <a:avLst/>
          </a:prstGeom>
          <a:solidFill>
            <a:schemeClr val="tx1"/>
          </a:solidFill>
        </p:spPr>
        <p:txBody>
          <a:bodyPr vert="horz" wrap="square" lIns="68586" tIns="68586" rIns="68586" bIns="68586" rtlCol="0">
            <a:noAutofit/>
          </a:bodyPr>
          <a:lstStyle>
            <a:lvl1pPr marL="460375" indent="-460375" algn="l" defTabSz="914363" rtl="0" eaLnBrk="1" latinLnBrk="0" hangingPunct="1">
              <a:lnSpc>
                <a:spcPct val="90000"/>
              </a:lnSpc>
              <a:spcBef>
                <a:spcPct val="20000"/>
              </a:spcBef>
              <a:buSzPct val="90000"/>
              <a:buFontTx/>
              <a:buBlip>
                <a:blip r:embed="rId2"/>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2"/>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2"/>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53" dirty="0">
                <a:gradFill>
                  <a:gsLst>
                    <a:gs pos="0">
                      <a:schemeClr val="bg2"/>
                    </a:gs>
                    <a:gs pos="86000">
                      <a:schemeClr val="bg2"/>
                    </a:gs>
                  </a:gsLst>
                  <a:lin ang="5400000" scaled="0"/>
                </a:gradFill>
              </a:rPr>
              <a:t>What’s in our preview release </a:t>
            </a:r>
          </a:p>
        </p:txBody>
      </p:sp>
      <p:sp>
        <p:nvSpPr>
          <p:cNvPr id="11" name="Content Placeholder 5"/>
          <p:cNvSpPr txBox="1">
            <a:spLocks/>
          </p:cNvSpPr>
          <p:nvPr/>
        </p:nvSpPr>
        <p:spPr>
          <a:xfrm>
            <a:off x="957405" y="1085849"/>
            <a:ext cx="7795969" cy="480060"/>
          </a:xfrm>
          <a:prstGeom prst="rect">
            <a:avLst/>
          </a:prstGeom>
          <a:solidFill>
            <a:schemeClr val="tx1"/>
          </a:solidFill>
        </p:spPr>
        <p:txBody>
          <a:bodyPr vert="horz" wrap="square" lIns="68586" tIns="68586" rIns="68586" bIns="68586" rtlCol="0">
            <a:noAutofit/>
          </a:bodyPr>
          <a:lstStyle>
            <a:lvl1pPr marL="460375" indent="-460375" algn="l" defTabSz="914363" rtl="0" eaLnBrk="1" latinLnBrk="0" hangingPunct="1">
              <a:lnSpc>
                <a:spcPct val="90000"/>
              </a:lnSpc>
              <a:spcBef>
                <a:spcPct val="20000"/>
              </a:spcBef>
              <a:buSzPct val="90000"/>
              <a:buFontTx/>
              <a:buBlip>
                <a:blip r:embed="rId2"/>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2"/>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2"/>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53" dirty="0">
                <a:gradFill>
                  <a:gsLst>
                    <a:gs pos="0">
                      <a:schemeClr val="bg2"/>
                    </a:gs>
                    <a:gs pos="86000">
                      <a:schemeClr val="bg2"/>
                    </a:gs>
                  </a:gsLst>
                  <a:lin ang="5400000" scaled="0"/>
                </a:gradFill>
              </a:rPr>
              <a:t>Overview of Hybrid Options in Windows Azure</a:t>
            </a:r>
          </a:p>
        </p:txBody>
      </p:sp>
      <p:grpSp>
        <p:nvGrpSpPr>
          <p:cNvPr id="18" name="Group 17"/>
          <p:cNvGrpSpPr/>
          <p:nvPr/>
        </p:nvGrpSpPr>
        <p:grpSpPr>
          <a:xfrm>
            <a:off x="389435" y="1085849"/>
            <a:ext cx="480185" cy="480060"/>
            <a:chOff x="519112" y="1447799"/>
            <a:chExt cx="640080" cy="640080"/>
          </a:xfrm>
        </p:grpSpPr>
        <p:sp>
          <p:nvSpPr>
            <p:cNvPr id="16" name="Content Placeholder 5"/>
            <p:cNvSpPr txBox="1">
              <a:spLocks/>
            </p:cNvSpPr>
            <p:nvPr/>
          </p:nvSpPr>
          <p:spPr>
            <a:xfrm>
              <a:off x="519112" y="1447799"/>
              <a:ext cx="640080" cy="640080"/>
            </a:xfrm>
            <a:prstGeom prst="rect">
              <a:avLst/>
            </a:prstGeom>
            <a:solidFill>
              <a:schemeClr val="accent3"/>
            </a:solidFill>
          </p:spPr>
          <p:txBody>
            <a:bodyPr vert="horz" wrap="square" lIns="91440" tIns="91440" rIns="91440" bIns="91440" rtlCol="0">
              <a:noAutofit/>
            </a:bodyPr>
            <a:lstStyle>
              <a:lvl1pPr marL="460375" indent="-460375" algn="l" defTabSz="914363" rtl="0" eaLnBrk="1" latinLnBrk="0" hangingPunct="1">
                <a:lnSpc>
                  <a:spcPct val="90000"/>
                </a:lnSpc>
                <a:spcBef>
                  <a:spcPct val="20000"/>
                </a:spcBef>
                <a:buSzPct val="90000"/>
                <a:buFontTx/>
                <a:buBlip>
                  <a:blip r:embed="rId2"/>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2"/>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2"/>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smtClean="0">
                  <a:gradFill>
                    <a:gsLst>
                      <a:gs pos="0">
                        <a:schemeClr val="bg2"/>
                      </a:gs>
                      <a:gs pos="86000">
                        <a:schemeClr val="bg2"/>
                      </a:gs>
                    </a:gsLst>
                    <a:lin ang="5400000" scaled="0"/>
                  </a:gradFill>
                </a:rPr>
                <a:t> </a:t>
              </a:r>
            </a:p>
          </p:txBody>
        </p:sp>
        <p:sp>
          <p:nvSpPr>
            <p:cNvPr id="17" name="Circle Arrow"/>
            <p:cNvSpPr>
              <a:spLocks noEditPoints="1"/>
            </p:cNvSpPr>
            <p:nvPr/>
          </p:nvSpPr>
          <p:spPr bwMode="auto">
            <a:xfrm>
              <a:off x="606193" y="1534880"/>
              <a:ext cx="465919" cy="465919"/>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9" name="Group 18"/>
          <p:cNvGrpSpPr/>
          <p:nvPr/>
        </p:nvGrpSpPr>
        <p:grpSpPr>
          <a:xfrm>
            <a:off x="389435" y="1727516"/>
            <a:ext cx="480185" cy="480060"/>
            <a:chOff x="519112" y="1447799"/>
            <a:chExt cx="640080" cy="640080"/>
          </a:xfrm>
        </p:grpSpPr>
        <p:sp>
          <p:nvSpPr>
            <p:cNvPr id="20" name="Content Placeholder 5"/>
            <p:cNvSpPr txBox="1">
              <a:spLocks/>
            </p:cNvSpPr>
            <p:nvPr/>
          </p:nvSpPr>
          <p:spPr>
            <a:xfrm>
              <a:off x="519112" y="1447799"/>
              <a:ext cx="640080" cy="640080"/>
            </a:xfrm>
            <a:prstGeom prst="rect">
              <a:avLst/>
            </a:prstGeom>
            <a:solidFill>
              <a:schemeClr val="accent3"/>
            </a:solidFill>
          </p:spPr>
          <p:txBody>
            <a:bodyPr vert="horz" wrap="square" lIns="91440" tIns="91440" rIns="91440" bIns="91440" rtlCol="0">
              <a:noAutofit/>
            </a:bodyPr>
            <a:lstStyle>
              <a:lvl1pPr marL="460375" indent="-460375" algn="l" defTabSz="914363" rtl="0" eaLnBrk="1" latinLnBrk="0" hangingPunct="1">
                <a:lnSpc>
                  <a:spcPct val="90000"/>
                </a:lnSpc>
                <a:spcBef>
                  <a:spcPct val="20000"/>
                </a:spcBef>
                <a:buSzPct val="90000"/>
                <a:buFontTx/>
                <a:buBlip>
                  <a:blip r:embed="rId2"/>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2"/>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2"/>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smtClean="0">
                  <a:gradFill>
                    <a:gsLst>
                      <a:gs pos="0">
                        <a:schemeClr val="bg2"/>
                      </a:gs>
                      <a:gs pos="86000">
                        <a:schemeClr val="bg2"/>
                      </a:gs>
                    </a:gsLst>
                    <a:lin ang="5400000" scaled="0"/>
                  </a:gradFill>
                </a:rPr>
                <a:t> </a:t>
              </a:r>
            </a:p>
          </p:txBody>
        </p:sp>
        <p:sp>
          <p:nvSpPr>
            <p:cNvPr id="21" name="Circle Arrow"/>
            <p:cNvSpPr>
              <a:spLocks noEditPoints="1"/>
            </p:cNvSpPr>
            <p:nvPr/>
          </p:nvSpPr>
          <p:spPr bwMode="auto">
            <a:xfrm>
              <a:off x="606193" y="1534880"/>
              <a:ext cx="465919" cy="465919"/>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2" name="Group 21"/>
          <p:cNvGrpSpPr/>
          <p:nvPr/>
        </p:nvGrpSpPr>
        <p:grpSpPr>
          <a:xfrm>
            <a:off x="389435" y="2369182"/>
            <a:ext cx="480185" cy="480060"/>
            <a:chOff x="519112" y="1447799"/>
            <a:chExt cx="640080" cy="640080"/>
          </a:xfrm>
        </p:grpSpPr>
        <p:sp>
          <p:nvSpPr>
            <p:cNvPr id="23" name="Content Placeholder 5"/>
            <p:cNvSpPr txBox="1">
              <a:spLocks/>
            </p:cNvSpPr>
            <p:nvPr/>
          </p:nvSpPr>
          <p:spPr>
            <a:xfrm>
              <a:off x="519112" y="1447799"/>
              <a:ext cx="640080" cy="640080"/>
            </a:xfrm>
            <a:prstGeom prst="rect">
              <a:avLst/>
            </a:prstGeom>
            <a:solidFill>
              <a:schemeClr val="accent3"/>
            </a:solidFill>
          </p:spPr>
          <p:txBody>
            <a:bodyPr vert="horz" wrap="square" lIns="91440" tIns="91440" rIns="91440" bIns="91440" rtlCol="0">
              <a:noAutofit/>
            </a:bodyPr>
            <a:lstStyle>
              <a:lvl1pPr marL="460375" indent="-460375" algn="l" defTabSz="914363" rtl="0" eaLnBrk="1" latinLnBrk="0" hangingPunct="1">
                <a:lnSpc>
                  <a:spcPct val="90000"/>
                </a:lnSpc>
                <a:spcBef>
                  <a:spcPct val="20000"/>
                </a:spcBef>
                <a:buSzPct val="90000"/>
                <a:buFontTx/>
                <a:buBlip>
                  <a:blip r:embed="rId2"/>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2"/>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2"/>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smtClean="0">
                  <a:gradFill>
                    <a:gsLst>
                      <a:gs pos="0">
                        <a:schemeClr val="bg2"/>
                      </a:gs>
                      <a:gs pos="86000">
                        <a:schemeClr val="bg2"/>
                      </a:gs>
                    </a:gsLst>
                    <a:lin ang="5400000" scaled="0"/>
                  </a:gradFill>
                </a:rPr>
                <a:t> </a:t>
              </a:r>
            </a:p>
          </p:txBody>
        </p:sp>
        <p:sp>
          <p:nvSpPr>
            <p:cNvPr id="24" name="Circle Arrow"/>
            <p:cNvSpPr>
              <a:spLocks noEditPoints="1"/>
            </p:cNvSpPr>
            <p:nvPr/>
          </p:nvSpPr>
          <p:spPr bwMode="auto">
            <a:xfrm>
              <a:off x="606193" y="1534880"/>
              <a:ext cx="465919" cy="465919"/>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5" name="Group 24"/>
          <p:cNvGrpSpPr/>
          <p:nvPr/>
        </p:nvGrpSpPr>
        <p:grpSpPr>
          <a:xfrm>
            <a:off x="389435" y="3010848"/>
            <a:ext cx="480185" cy="480060"/>
            <a:chOff x="519112" y="1447799"/>
            <a:chExt cx="640080" cy="640080"/>
          </a:xfrm>
        </p:grpSpPr>
        <p:sp>
          <p:nvSpPr>
            <p:cNvPr id="26" name="Content Placeholder 5"/>
            <p:cNvSpPr txBox="1">
              <a:spLocks/>
            </p:cNvSpPr>
            <p:nvPr/>
          </p:nvSpPr>
          <p:spPr>
            <a:xfrm>
              <a:off x="519112" y="1447799"/>
              <a:ext cx="640080" cy="640080"/>
            </a:xfrm>
            <a:prstGeom prst="rect">
              <a:avLst/>
            </a:prstGeom>
            <a:solidFill>
              <a:schemeClr val="accent3"/>
            </a:solidFill>
          </p:spPr>
          <p:txBody>
            <a:bodyPr vert="horz" wrap="square" lIns="91440" tIns="91440" rIns="91440" bIns="91440" rtlCol="0">
              <a:noAutofit/>
            </a:bodyPr>
            <a:lstStyle>
              <a:lvl1pPr marL="460375" indent="-460375" algn="l" defTabSz="914363" rtl="0" eaLnBrk="1" latinLnBrk="0" hangingPunct="1">
                <a:lnSpc>
                  <a:spcPct val="90000"/>
                </a:lnSpc>
                <a:spcBef>
                  <a:spcPct val="20000"/>
                </a:spcBef>
                <a:buSzPct val="90000"/>
                <a:buFontTx/>
                <a:buBlip>
                  <a:blip r:embed="rId2"/>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2"/>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2"/>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smtClean="0">
                  <a:gradFill>
                    <a:gsLst>
                      <a:gs pos="0">
                        <a:schemeClr val="bg2"/>
                      </a:gs>
                      <a:gs pos="86000">
                        <a:schemeClr val="bg2"/>
                      </a:gs>
                    </a:gsLst>
                    <a:lin ang="5400000" scaled="0"/>
                  </a:gradFill>
                </a:rPr>
                <a:t> </a:t>
              </a:r>
            </a:p>
          </p:txBody>
        </p:sp>
        <p:sp>
          <p:nvSpPr>
            <p:cNvPr id="27" name="Circle Arrow"/>
            <p:cNvSpPr>
              <a:spLocks noEditPoints="1"/>
            </p:cNvSpPr>
            <p:nvPr/>
          </p:nvSpPr>
          <p:spPr bwMode="auto">
            <a:xfrm>
              <a:off x="606193" y="1534880"/>
              <a:ext cx="465919" cy="465919"/>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8" name="Group 27"/>
          <p:cNvGrpSpPr/>
          <p:nvPr/>
        </p:nvGrpSpPr>
        <p:grpSpPr>
          <a:xfrm>
            <a:off x="389435" y="3652515"/>
            <a:ext cx="480185" cy="480060"/>
            <a:chOff x="519112" y="1447799"/>
            <a:chExt cx="640080" cy="640080"/>
          </a:xfrm>
        </p:grpSpPr>
        <p:sp>
          <p:nvSpPr>
            <p:cNvPr id="29" name="Content Placeholder 5"/>
            <p:cNvSpPr txBox="1">
              <a:spLocks/>
            </p:cNvSpPr>
            <p:nvPr/>
          </p:nvSpPr>
          <p:spPr>
            <a:xfrm>
              <a:off x="519112" y="1447799"/>
              <a:ext cx="640080" cy="640080"/>
            </a:xfrm>
            <a:prstGeom prst="rect">
              <a:avLst/>
            </a:prstGeom>
            <a:solidFill>
              <a:schemeClr val="accent3"/>
            </a:solidFill>
          </p:spPr>
          <p:txBody>
            <a:bodyPr vert="horz" wrap="square" lIns="91440" tIns="91440" rIns="91440" bIns="91440" rtlCol="0">
              <a:noAutofit/>
            </a:bodyPr>
            <a:lstStyle>
              <a:lvl1pPr marL="460375" indent="-460375" algn="l" defTabSz="914363" rtl="0" eaLnBrk="1" latinLnBrk="0" hangingPunct="1">
                <a:lnSpc>
                  <a:spcPct val="90000"/>
                </a:lnSpc>
                <a:spcBef>
                  <a:spcPct val="20000"/>
                </a:spcBef>
                <a:buSzPct val="90000"/>
                <a:buFontTx/>
                <a:buBlip>
                  <a:blip r:embed="rId2"/>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2"/>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2"/>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smtClean="0">
                  <a:gradFill>
                    <a:gsLst>
                      <a:gs pos="0">
                        <a:schemeClr val="bg2"/>
                      </a:gs>
                      <a:gs pos="86000">
                        <a:schemeClr val="bg2"/>
                      </a:gs>
                    </a:gsLst>
                    <a:lin ang="5400000" scaled="0"/>
                  </a:gradFill>
                </a:rPr>
                <a:t> </a:t>
              </a:r>
            </a:p>
          </p:txBody>
        </p:sp>
        <p:sp>
          <p:nvSpPr>
            <p:cNvPr id="30" name="Circle Arrow"/>
            <p:cNvSpPr>
              <a:spLocks noEditPoints="1"/>
            </p:cNvSpPr>
            <p:nvPr/>
          </p:nvSpPr>
          <p:spPr bwMode="auto">
            <a:xfrm>
              <a:off x="606193" y="1534880"/>
              <a:ext cx="465919" cy="465919"/>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31"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2"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pic>
        <p:nvPicPr>
          <p:cNvPr id="33"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55896088"/>
      </p:ext>
    </p:extLst>
  </p:cSld>
  <p:clrMapOvr>
    <a:masterClrMapping/>
  </p:clrMapOvr>
  <p:transition>
    <p:fade/>
  </p:transition>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Rectangle 92"/>
          <p:cNvSpPr/>
          <p:nvPr/>
        </p:nvSpPr>
        <p:spPr>
          <a:xfrm>
            <a:off x="3307462" y="3840405"/>
            <a:ext cx="2529931" cy="535525"/>
          </a:xfrm>
          <a:prstGeom prst="rect">
            <a:avLst/>
          </a:prstGeom>
        </p:spPr>
        <p:txBody>
          <a:bodyPr wrap="square" lIns="91424" tIns="45713" rIns="91424" bIns="45713">
            <a:spAutoFit/>
          </a:bodyPr>
          <a:lstStyle/>
          <a:p>
            <a:pPr algn="ctr" defTabSz="571345" fontAlgn="base">
              <a:lnSpc>
                <a:spcPct val="80000"/>
              </a:lnSpc>
            </a:pPr>
            <a:r>
              <a:rPr lang="en-US" dirty="0">
                <a:gradFill>
                  <a:gsLst>
                    <a:gs pos="0">
                      <a:srgbClr val="FFFFFF"/>
                    </a:gs>
                    <a:gs pos="100000">
                      <a:srgbClr val="FFFFFF"/>
                    </a:gs>
                  </a:gsLst>
                  <a:lin ang="5400000" scaled="0"/>
                </a:gradFill>
              </a:rPr>
              <a:t>Secure Site-to-Site </a:t>
            </a:r>
          </a:p>
          <a:p>
            <a:pPr algn="ctr" defTabSz="571345" fontAlgn="base">
              <a:lnSpc>
                <a:spcPct val="80000"/>
              </a:lnSpc>
            </a:pPr>
            <a:r>
              <a:rPr lang="en-US" dirty="0">
                <a:gradFill>
                  <a:gsLst>
                    <a:gs pos="0">
                      <a:srgbClr val="FFFFFF"/>
                    </a:gs>
                    <a:gs pos="100000">
                      <a:srgbClr val="FFFFFF"/>
                    </a:gs>
                  </a:gsLst>
                  <a:lin ang="5400000" scaled="0"/>
                </a:gradFill>
              </a:rPr>
              <a:t>Network Connectivity</a:t>
            </a:r>
          </a:p>
          <a:p>
            <a:pPr algn="ctr" defTabSz="571345" fontAlgn="base">
              <a:lnSpc>
                <a:spcPct val="80000"/>
              </a:lnSpc>
            </a:pPr>
            <a:r>
              <a:rPr lang="en-US" sz="700" dirty="0">
                <a:gradFill>
                  <a:gsLst>
                    <a:gs pos="0">
                      <a:srgbClr val="FFFFFF"/>
                    </a:gs>
                    <a:gs pos="100000">
                      <a:srgbClr val="FFFFFF"/>
                    </a:gs>
                  </a:gsLst>
                  <a:lin ang="5400000" scaled="0"/>
                </a:gradFill>
              </a:rPr>
              <a:t>Windows Azure Virtual Network</a:t>
            </a:r>
          </a:p>
        </p:txBody>
      </p:sp>
      <p:grpSp>
        <p:nvGrpSpPr>
          <p:cNvPr id="37" name="Group 36"/>
          <p:cNvGrpSpPr/>
          <p:nvPr/>
        </p:nvGrpSpPr>
        <p:grpSpPr>
          <a:xfrm>
            <a:off x="6085487" y="3765266"/>
            <a:ext cx="1783544" cy="685800"/>
            <a:chOff x="8111868" y="4860859"/>
            <a:chExt cx="2377439" cy="914400"/>
          </a:xfrm>
        </p:grpSpPr>
        <p:sp>
          <p:nvSpPr>
            <p:cNvPr id="52" name="Freeform 51"/>
            <p:cNvSpPr/>
            <p:nvPr/>
          </p:nvSpPr>
          <p:spPr>
            <a:xfrm>
              <a:off x="8111868" y="4860859"/>
              <a:ext cx="2377439"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685609"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65" name="Freeform 17"/>
            <p:cNvSpPr>
              <a:spLocks noEditPoints="1"/>
            </p:cNvSpPr>
            <p:nvPr/>
          </p:nvSpPr>
          <p:spPr bwMode="auto">
            <a:xfrm>
              <a:off x="8975363" y="4990019"/>
              <a:ext cx="650449" cy="656080"/>
            </a:xfrm>
            <a:custGeom>
              <a:avLst/>
              <a:gdLst>
                <a:gd name="T0" fmla="*/ 57 w 293"/>
                <a:gd name="T1" fmla="*/ 195 h 296"/>
                <a:gd name="T2" fmla="*/ 112 w 293"/>
                <a:gd name="T3" fmla="*/ 187 h 296"/>
                <a:gd name="T4" fmla="*/ 229 w 293"/>
                <a:gd name="T5" fmla="*/ 213 h 296"/>
                <a:gd name="T6" fmla="*/ 44 w 293"/>
                <a:gd name="T7" fmla="*/ 120 h 296"/>
                <a:gd name="T8" fmla="*/ 61 w 293"/>
                <a:gd name="T9" fmla="*/ 101 h 296"/>
                <a:gd name="T10" fmla="*/ 44 w 293"/>
                <a:gd name="T11" fmla="*/ 217 h 296"/>
                <a:gd name="T12" fmla="*/ 52 w 293"/>
                <a:gd name="T13" fmla="*/ 236 h 296"/>
                <a:gd name="T14" fmla="*/ 183 w 293"/>
                <a:gd name="T15" fmla="*/ 236 h 296"/>
                <a:gd name="T16" fmla="*/ 223 w 293"/>
                <a:gd name="T17" fmla="*/ 244 h 296"/>
                <a:gd name="T18" fmla="*/ 229 w 293"/>
                <a:gd name="T19" fmla="*/ 179 h 296"/>
                <a:gd name="T20" fmla="*/ 223 w 293"/>
                <a:gd name="T21" fmla="*/ 143 h 296"/>
                <a:gd name="T22" fmla="*/ 32 w 293"/>
                <a:gd name="T23" fmla="*/ 139 h 296"/>
                <a:gd name="T24" fmla="*/ 56 w 293"/>
                <a:gd name="T25" fmla="*/ 142 h 296"/>
                <a:gd name="T26" fmla="*/ 179 w 293"/>
                <a:gd name="T27" fmla="*/ 150 h 296"/>
                <a:gd name="T28" fmla="*/ 57 w 293"/>
                <a:gd name="T29" fmla="*/ 60 h 296"/>
                <a:gd name="T30" fmla="*/ 112 w 293"/>
                <a:gd name="T31" fmla="*/ 52 h 296"/>
                <a:gd name="T32" fmla="*/ 261 w 293"/>
                <a:gd name="T33" fmla="*/ 194 h 296"/>
                <a:gd name="T34" fmla="*/ 277 w 293"/>
                <a:gd name="T35" fmla="*/ 147 h 296"/>
                <a:gd name="T36" fmla="*/ 246 w 293"/>
                <a:gd name="T37" fmla="*/ 279 h 296"/>
                <a:gd name="T38" fmla="*/ 261 w 293"/>
                <a:gd name="T39" fmla="*/ 254 h 296"/>
                <a:gd name="T40" fmla="*/ 223 w 293"/>
                <a:gd name="T41" fmla="*/ 87 h 296"/>
                <a:gd name="T42" fmla="*/ 253 w 293"/>
                <a:gd name="T43" fmla="*/ 254 h 296"/>
                <a:gd name="T44" fmla="*/ 79 w 293"/>
                <a:gd name="T45" fmla="*/ 272 h 296"/>
                <a:gd name="T46" fmla="*/ 43 w 293"/>
                <a:gd name="T47" fmla="*/ 23 h 296"/>
                <a:gd name="T48" fmla="*/ 226 w 293"/>
                <a:gd name="T49" fmla="*/ 109 h 296"/>
                <a:gd name="T50" fmla="*/ 4 w 293"/>
                <a:gd name="T51" fmla="*/ 96 h 296"/>
                <a:gd name="T52" fmla="*/ 61 w 293"/>
                <a:gd name="T53" fmla="*/ 4 h 296"/>
                <a:gd name="T54" fmla="*/ 4 w 293"/>
                <a:gd name="T55" fmla="*/ 24 h 296"/>
                <a:gd name="T56" fmla="*/ 69 w 293"/>
                <a:gd name="T57" fmla="*/ 0 h 296"/>
                <a:gd name="T58" fmla="*/ 0 w 293"/>
                <a:gd name="T59" fmla="*/ 56 h 296"/>
                <a:gd name="T60" fmla="*/ 4 w 293"/>
                <a:gd name="T61" fmla="*/ 42 h 296"/>
                <a:gd name="T62" fmla="*/ 4 w 293"/>
                <a:gd name="T63" fmla="*/ 72 h 296"/>
                <a:gd name="T64" fmla="*/ 109 w 293"/>
                <a:gd name="T65" fmla="*/ 0 h 296"/>
                <a:gd name="T66" fmla="*/ 259 w 293"/>
                <a:gd name="T67" fmla="*/ 61 h 296"/>
                <a:gd name="T68" fmla="*/ 274 w 293"/>
                <a:gd name="T69" fmla="*/ 89 h 296"/>
                <a:gd name="T70" fmla="*/ 243 w 293"/>
                <a:gd name="T71" fmla="*/ 33 h 296"/>
                <a:gd name="T72" fmla="*/ 205 w 293"/>
                <a:gd name="T73" fmla="*/ 4 h 296"/>
                <a:gd name="T74" fmla="*/ 172 w 293"/>
                <a:gd name="T75" fmla="*/ 0 h 296"/>
                <a:gd name="T76" fmla="*/ 210 w 293"/>
                <a:gd name="T77" fmla="*/ 11 h 296"/>
                <a:gd name="T78" fmla="*/ 291 w 293"/>
                <a:gd name="T79" fmla="*/ 142 h 296"/>
                <a:gd name="T80" fmla="*/ 234 w 293"/>
                <a:gd name="T81" fmla="*/ 292 h 296"/>
                <a:gd name="T82" fmla="*/ 218 w 293"/>
                <a:gd name="T83" fmla="*/ 292 h 296"/>
                <a:gd name="T84" fmla="*/ 171 w 293"/>
                <a:gd name="T85" fmla="*/ 292 h 296"/>
                <a:gd name="T86" fmla="*/ 203 w 293"/>
                <a:gd name="T87" fmla="*/ 292 h 296"/>
                <a:gd name="T88" fmla="*/ 281 w 293"/>
                <a:gd name="T89" fmla="*/ 284 h 296"/>
                <a:gd name="T90" fmla="*/ 293 w 293"/>
                <a:gd name="T91" fmla="*/ 175 h 296"/>
                <a:gd name="T92" fmla="*/ 282 w 293"/>
                <a:gd name="T93" fmla="*/ 120 h 296"/>
                <a:gd name="T94" fmla="*/ 283 w 293"/>
                <a:gd name="T95" fmla="*/ 276 h 296"/>
                <a:gd name="T96" fmla="*/ 288 w 293"/>
                <a:gd name="T97" fmla="*/ 262 h 296"/>
                <a:gd name="T98" fmla="*/ 289 w 293"/>
                <a:gd name="T99" fmla="*/ 246 h 296"/>
                <a:gd name="T100" fmla="*/ 4 w 293"/>
                <a:gd name="T101" fmla="*/ 215 h 296"/>
                <a:gd name="T102" fmla="*/ 4 w 293"/>
                <a:gd name="T103" fmla="*/ 247 h 296"/>
                <a:gd name="T104" fmla="*/ 4 w 293"/>
                <a:gd name="T105" fmla="*/ 183 h 296"/>
                <a:gd name="T106" fmla="*/ 4 w 293"/>
                <a:gd name="T107" fmla="*/ 104 h 296"/>
                <a:gd name="T108" fmla="*/ 4 w 293"/>
                <a:gd name="T109" fmla="*/ 151 h 296"/>
                <a:gd name="T110" fmla="*/ 51 w 293"/>
                <a:gd name="T111" fmla="*/ 296 h 296"/>
                <a:gd name="T112" fmla="*/ 67 w 293"/>
                <a:gd name="T113" fmla="*/ 296 h 296"/>
                <a:gd name="T114" fmla="*/ 20 w 293"/>
                <a:gd name="T115" fmla="*/ 290 h 296"/>
                <a:gd name="T116" fmla="*/ 43 w 293"/>
                <a:gd name="T117" fmla="*/ 29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3" h="296">
                  <a:moveTo>
                    <a:pt x="187" y="172"/>
                  </a:moveTo>
                  <a:cubicBezTo>
                    <a:pt x="44" y="172"/>
                    <a:pt x="44" y="172"/>
                    <a:pt x="44" y="172"/>
                  </a:cubicBezTo>
                  <a:cubicBezTo>
                    <a:pt x="38" y="172"/>
                    <a:pt x="32" y="178"/>
                    <a:pt x="32" y="184"/>
                  </a:cubicBezTo>
                  <a:cubicBezTo>
                    <a:pt x="32" y="198"/>
                    <a:pt x="32" y="198"/>
                    <a:pt x="32" y="198"/>
                  </a:cubicBezTo>
                  <a:cubicBezTo>
                    <a:pt x="32" y="205"/>
                    <a:pt x="38" y="210"/>
                    <a:pt x="44" y="210"/>
                  </a:cubicBezTo>
                  <a:cubicBezTo>
                    <a:pt x="187" y="210"/>
                    <a:pt x="187" y="210"/>
                    <a:pt x="187" y="210"/>
                  </a:cubicBezTo>
                  <a:cubicBezTo>
                    <a:pt x="194" y="210"/>
                    <a:pt x="199" y="205"/>
                    <a:pt x="199" y="198"/>
                  </a:cubicBezTo>
                  <a:cubicBezTo>
                    <a:pt x="199" y="184"/>
                    <a:pt x="199" y="184"/>
                    <a:pt x="199" y="184"/>
                  </a:cubicBezTo>
                  <a:cubicBezTo>
                    <a:pt x="199" y="178"/>
                    <a:pt x="194" y="172"/>
                    <a:pt x="187" y="172"/>
                  </a:cubicBezTo>
                  <a:close/>
                  <a:moveTo>
                    <a:pt x="57" y="195"/>
                  </a:moveTo>
                  <a:cubicBezTo>
                    <a:pt x="56" y="195"/>
                    <a:pt x="56" y="195"/>
                    <a:pt x="56" y="195"/>
                  </a:cubicBezTo>
                  <a:cubicBezTo>
                    <a:pt x="54" y="195"/>
                    <a:pt x="52" y="193"/>
                    <a:pt x="52" y="191"/>
                  </a:cubicBezTo>
                  <a:cubicBezTo>
                    <a:pt x="52" y="189"/>
                    <a:pt x="54" y="187"/>
                    <a:pt x="56" y="187"/>
                  </a:cubicBezTo>
                  <a:cubicBezTo>
                    <a:pt x="57" y="187"/>
                    <a:pt x="57" y="187"/>
                    <a:pt x="57" y="187"/>
                  </a:cubicBezTo>
                  <a:cubicBezTo>
                    <a:pt x="59" y="187"/>
                    <a:pt x="61" y="189"/>
                    <a:pt x="61" y="191"/>
                  </a:cubicBezTo>
                  <a:cubicBezTo>
                    <a:pt x="61" y="193"/>
                    <a:pt x="59" y="195"/>
                    <a:pt x="57" y="195"/>
                  </a:cubicBezTo>
                  <a:close/>
                  <a:moveTo>
                    <a:pt x="179" y="195"/>
                  </a:moveTo>
                  <a:cubicBezTo>
                    <a:pt x="112" y="195"/>
                    <a:pt x="112" y="195"/>
                    <a:pt x="112" y="195"/>
                  </a:cubicBezTo>
                  <a:cubicBezTo>
                    <a:pt x="110" y="195"/>
                    <a:pt x="108" y="193"/>
                    <a:pt x="108" y="191"/>
                  </a:cubicBezTo>
                  <a:cubicBezTo>
                    <a:pt x="108" y="189"/>
                    <a:pt x="110" y="187"/>
                    <a:pt x="112" y="187"/>
                  </a:cubicBezTo>
                  <a:cubicBezTo>
                    <a:pt x="179" y="187"/>
                    <a:pt x="179" y="187"/>
                    <a:pt x="179" y="187"/>
                  </a:cubicBezTo>
                  <a:cubicBezTo>
                    <a:pt x="181" y="187"/>
                    <a:pt x="183" y="189"/>
                    <a:pt x="183" y="191"/>
                  </a:cubicBezTo>
                  <a:cubicBezTo>
                    <a:pt x="183" y="193"/>
                    <a:pt x="181" y="195"/>
                    <a:pt x="179" y="195"/>
                  </a:cubicBezTo>
                  <a:close/>
                  <a:moveTo>
                    <a:pt x="241" y="218"/>
                  </a:moveTo>
                  <a:cubicBezTo>
                    <a:pt x="241" y="208"/>
                    <a:pt x="241" y="208"/>
                    <a:pt x="241" y="208"/>
                  </a:cubicBezTo>
                  <a:cubicBezTo>
                    <a:pt x="241" y="203"/>
                    <a:pt x="237" y="199"/>
                    <a:pt x="232" y="199"/>
                  </a:cubicBezTo>
                  <a:cubicBezTo>
                    <a:pt x="223" y="199"/>
                    <a:pt x="223" y="199"/>
                    <a:pt x="223" y="199"/>
                  </a:cubicBezTo>
                  <a:cubicBezTo>
                    <a:pt x="223" y="210"/>
                    <a:pt x="223" y="210"/>
                    <a:pt x="223" y="210"/>
                  </a:cubicBezTo>
                  <a:cubicBezTo>
                    <a:pt x="226" y="210"/>
                    <a:pt x="226" y="210"/>
                    <a:pt x="226" y="210"/>
                  </a:cubicBezTo>
                  <a:cubicBezTo>
                    <a:pt x="228" y="210"/>
                    <a:pt x="229" y="212"/>
                    <a:pt x="229" y="213"/>
                  </a:cubicBezTo>
                  <a:cubicBezTo>
                    <a:pt x="229" y="215"/>
                    <a:pt x="228" y="216"/>
                    <a:pt x="226" y="216"/>
                  </a:cubicBezTo>
                  <a:cubicBezTo>
                    <a:pt x="223" y="216"/>
                    <a:pt x="223" y="216"/>
                    <a:pt x="223" y="216"/>
                  </a:cubicBezTo>
                  <a:cubicBezTo>
                    <a:pt x="223" y="227"/>
                    <a:pt x="223" y="227"/>
                    <a:pt x="223" y="227"/>
                  </a:cubicBezTo>
                  <a:cubicBezTo>
                    <a:pt x="232" y="227"/>
                    <a:pt x="232" y="227"/>
                    <a:pt x="232" y="227"/>
                  </a:cubicBezTo>
                  <a:cubicBezTo>
                    <a:pt x="237" y="227"/>
                    <a:pt x="241" y="223"/>
                    <a:pt x="241" y="218"/>
                  </a:cubicBezTo>
                  <a:close/>
                  <a:moveTo>
                    <a:pt x="187" y="82"/>
                  </a:moveTo>
                  <a:cubicBezTo>
                    <a:pt x="44" y="82"/>
                    <a:pt x="44" y="82"/>
                    <a:pt x="44" y="82"/>
                  </a:cubicBezTo>
                  <a:cubicBezTo>
                    <a:pt x="38" y="82"/>
                    <a:pt x="32" y="88"/>
                    <a:pt x="32" y="94"/>
                  </a:cubicBezTo>
                  <a:cubicBezTo>
                    <a:pt x="32" y="108"/>
                    <a:pt x="32" y="108"/>
                    <a:pt x="32" y="108"/>
                  </a:cubicBezTo>
                  <a:cubicBezTo>
                    <a:pt x="32" y="115"/>
                    <a:pt x="38" y="120"/>
                    <a:pt x="44" y="120"/>
                  </a:cubicBezTo>
                  <a:cubicBezTo>
                    <a:pt x="187" y="120"/>
                    <a:pt x="187" y="120"/>
                    <a:pt x="187" y="120"/>
                  </a:cubicBezTo>
                  <a:cubicBezTo>
                    <a:pt x="194" y="120"/>
                    <a:pt x="199" y="115"/>
                    <a:pt x="199" y="108"/>
                  </a:cubicBezTo>
                  <a:cubicBezTo>
                    <a:pt x="199" y="94"/>
                    <a:pt x="199" y="94"/>
                    <a:pt x="199" y="94"/>
                  </a:cubicBezTo>
                  <a:cubicBezTo>
                    <a:pt x="199" y="88"/>
                    <a:pt x="194" y="82"/>
                    <a:pt x="187" y="82"/>
                  </a:cubicBezTo>
                  <a:close/>
                  <a:moveTo>
                    <a:pt x="57" y="105"/>
                  </a:moveTo>
                  <a:cubicBezTo>
                    <a:pt x="56" y="105"/>
                    <a:pt x="56" y="105"/>
                    <a:pt x="56" y="105"/>
                  </a:cubicBezTo>
                  <a:cubicBezTo>
                    <a:pt x="54" y="105"/>
                    <a:pt x="52" y="103"/>
                    <a:pt x="52" y="101"/>
                  </a:cubicBezTo>
                  <a:cubicBezTo>
                    <a:pt x="52" y="99"/>
                    <a:pt x="54" y="97"/>
                    <a:pt x="56" y="97"/>
                  </a:cubicBezTo>
                  <a:cubicBezTo>
                    <a:pt x="57" y="97"/>
                    <a:pt x="57" y="97"/>
                    <a:pt x="57" y="97"/>
                  </a:cubicBezTo>
                  <a:cubicBezTo>
                    <a:pt x="59" y="97"/>
                    <a:pt x="61" y="99"/>
                    <a:pt x="61" y="101"/>
                  </a:cubicBezTo>
                  <a:cubicBezTo>
                    <a:pt x="61" y="103"/>
                    <a:pt x="59" y="105"/>
                    <a:pt x="57" y="105"/>
                  </a:cubicBezTo>
                  <a:close/>
                  <a:moveTo>
                    <a:pt x="179" y="105"/>
                  </a:moveTo>
                  <a:cubicBezTo>
                    <a:pt x="112" y="105"/>
                    <a:pt x="112" y="105"/>
                    <a:pt x="112" y="105"/>
                  </a:cubicBezTo>
                  <a:cubicBezTo>
                    <a:pt x="110" y="105"/>
                    <a:pt x="108" y="103"/>
                    <a:pt x="108" y="101"/>
                  </a:cubicBezTo>
                  <a:cubicBezTo>
                    <a:pt x="108" y="99"/>
                    <a:pt x="110" y="97"/>
                    <a:pt x="112" y="97"/>
                  </a:cubicBezTo>
                  <a:cubicBezTo>
                    <a:pt x="179" y="97"/>
                    <a:pt x="179" y="97"/>
                    <a:pt x="179" y="97"/>
                  </a:cubicBezTo>
                  <a:cubicBezTo>
                    <a:pt x="181" y="97"/>
                    <a:pt x="183" y="99"/>
                    <a:pt x="183" y="101"/>
                  </a:cubicBezTo>
                  <a:cubicBezTo>
                    <a:pt x="183" y="103"/>
                    <a:pt x="181" y="105"/>
                    <a:pt x="179" y="105"/>
                  </a:cubicBezTo>
                  <a:close/>
                  <a:moveTo>
                    <a:pt x="187" y="217"/>
                  </a:moveTo>
                  <a:cubicBezTo>
                    <a:pt x="44" y="217"/>
                    <a:pt x="44" y="217"/>
                    <a:pt x="44" y="217"/>
                  </a:cubicBezTo>
                  <a:cubicBezTo>
                    <a:pt x="38" y="217"/>
                    <a:pt x="32" y="223"/>
                    <a:pt x="32" y="229"/>
                  </a:cubicBezTo>
                  <a:cubicBezTo>
                    <a:pt x="32" y="243"/>
                    <a:pt x="32" y="243"/>
                    <a:pt x="32" y="243"/>
                  </a:cubicBezTo>
                  <a:cubicBezTo>
                    <a:pt x="32" y="250"/>
                    <a:pt x="38" y="255"/>
                    <a:pt x="44" y="255"/>
                  </a:cubicBezTo>
                  <a:cubicBezTo>
                    <a:pt x="187" y="255"/>
                    <a:pt x="187" y="255"/>
                    <a:pt x="187" y="255"/>
                  </a:cubicBezTo>
                  <a:cubicBezTo>
                    <a:pt x="194" y="255"/>
                    <a:pt x="199" y="250"/>
                    <a:pt x="199" y="243"/>
                  </a:cubicBezTo>
                  <a:cubicBezTo>
                    <a:pt x="199" y="229"/>
                    <a:pt x="199" y="229"/>
                    <a:pt x="199" y="229"/>
                  </a:cubicBezTo>
                  <a:cubicBezTo>
                    <a:pt x="199" y="223"/>
                    <a:pt x="194" y="217"/>
                    <a:pt x="187" y="217"/>
                  </a:cubicBezTo>
                  <a:close/>
                  <a:moveTo>
                    <a:pt x="57" y="240"/>
                  </a:moveTo>
                  <a:cubicBezTo>
                    <a:pt x="56" y="240"/>
                    <a:pt x="56" y="240"/>
                    <a:pt x="56" y="240"/>
                  </a:cubicBezTo>
                  <a:cubicBezTo>
                    <a:pt x="54" y="240"/>
                    <a:pt x="52" y="238"/>
                    <a:pt x="52" y="236"/>
                  </a:cubicBezTo>
                  <a:cubicBezTo>
                    <a:pt x="52" y="234"/>
                    <a:pt x="54" y="232"/>
                    <a:pt x="56" y="232"/>
                  </a:cubicBezTo>
                  <a:cubicBezTo>
                    <a:pt x="57" y="232"/>
                    <a:pt x="57" y="232"/>
                    <a:pt x="57" y="232"/>
                  </a:cubicBezTo>
                  <a:cubicBezTo>
                    <a:pt x="59" y="232"/>
                    <a:pt x="61" y="234"/>
                    <a:pt x="61" y="236"/>
                  </a:cubicBezTo>
                  <a:cubicBezTo>
                    <a:pt x="61" y="238"/>
                    <a:pt x="59" y="240"/>
                    <a:pt x="57" y="240"/>
                  </a:cubicBezTo>
                  <a:close/>
                  <a:moveTo>
                    <a:pt x="179" y="240"/>
                  </a:moveTo>
                  <a:cubicBezTo>
                    <a:pt x="112" y="240"/>
                    <a:pt x="112" y="240"/>
                    <a:pt x="112" y="240"/>
                  </a:cubicBezTo>
                  <a:cubicBezTo>
                    <a:pt x="110" y="240"/>
                    <a:pt x="108" y="238"/>
                    <a:pt x="108" y="236"/>
                  </a:cubicBezTo>
                  <a:cubicBezTo>
                    <a:pt x="108" y="234"/>
                    <a:pt x="110" y="232"/>
                    <a:pt x="112" y="232"/>
                  </a:cubicBezTo>
                  <a:cubicBezTo>
                    <a:pt x="179" y="232"/>
                    <a:pt x="179" y="232"/>
                    <a:pt x="179" y="232"/>
                  </a:cubicBezTo>
                  <a:cubicBezTo>
                    <a:pt x="181" y="232"/>
                    <a:pt x="183" y="234"/>
                    <a:pt x="183" y="236"/>
                  </a:cubicBezTo>
                  <a:cubicBezTo>
                    <a:pt x="183" y="238"/>
                    <a:pt x="181" y="240"/>
                    <a:pt x="179" y="240"/>
                  </a:cubicBezTo>
                  <a:close/>
                  <a:moveTo>
                    <a:pt x="226" y="250"/>
                  </a:moveTo>
                  <a:cubicBezTo>
                    <a:pt x="223" y="250"/>
                    <a:pt x="223" y="250"/>
                    <a:pt x="223" y="250"/>
                  </a:cubicBezTo>
                  <a:cubicBezTo>
                    <a:pt x="222" y="254"/>
                    <a:pt x="221" y="258"/>
                    <a:pt x="219" y="261"/>
                  </a:cubicBezTo>
                  <a:cubicBezTo>
                    <a:pt x="232" y="261"/>
                    <a:pt x="232" y="261"/>
                    <a:pt x="232" y="261"/>
                  </a:cubicBezTo>
                  <a:cubicBezTo>
                    <a:pt x="237" y="261"/>
                    <a:pt x="241" y="257"/>
                    <a:pt x="241" y="252"/>
                  </a:cubicBezTo>
                  <a:cubicBezTo>
                    <a:pt x="241" y="242"/>
                    <a:pt x="241" y="242"/>
                    <a:pt x="241" y="242"/>
                  </a:cubicBezTo>
                  <a:cubicBezTo>
                    <a:pt x="241" y="237"/>
                    <a:pt x="237" y="233"/>
                    <a:pt x="232" y="233"/>
                  </a:cubicBezTo>
                  <a:cubicBezTo>
                    <a:pt x="223" y="233"/>
                    <a:pt x="223" y="233"/>
                    <a:pt x="223" y="233"/>
                  </a:cubicBezTo>
                  <a:cubicBezTo>
                    <a:pt x="223" y="244"/>
                    <a:pt x="223" y="244"/>
                    <a:pt x="223" y="244"/>
                  </a:cubicBezTo>
                  <a:cubicBezTo>
                    <a:pt x="226" y="244"/>
                    <a:pt x="226" y="244"/>
                    <a:pt x="226" y="244"/>
                  </a:cubicBezTo>
                  <a:cubicBezTo>
                    <a:pt x="228" y="244"/>
                    <a:pt x="229" y="245"/>
                    <a:pt x="229" y="247"/>
                  </a:cubicBezTo>
                  <a:cubicBezTo>
                    <a:pt x="229" y="249"/>
                    <a:pt x="228" y="250"/>
                    <a:pt x="226" y="250"/>
                  </a:cubicBezTo>
                  <a:close/>
                  <a:moveTo>
                    <a:pt x="241" y="185"/>
                  </a:moveTo>
                  <a:cubicBezTo>
                    <a:pt x="241" y="174"/>
                    <a:pt x="241" y="174"/>
                    <a:pt x="241" y="174"/>
                  </a:cubicBezTo>
                  <a:cubicBezTo>
                    <a:pt x="241" y="169"/>
                    <a:pt x="237" y="165"/>
                    <a:pt x="232" y="165"/>
                  </a:cubicBezTo>
                  <a:cubicBezTo>
                    <a:pt x="223" y="165"/>
                    <a:pt x="223" y="165"/>
                    <a:pt x="223" y="165"/>
                  </a:cubicBezTo>
                  <a:cubicBezTo>
                    <a:pt x="223" y="176"/>
                    <a:pt x="223" y="176"/>
                    <a:pt x="223" y="176"/>
                  </a:cubicBezTo>
                  <a:cubicBezTo>
                    <a:pt x="226" y="176"/>
                    <a:pt x="226" y="176"/>
                    <a:pt x="226" y="176"/>
                  </a:cubicBezTo>
                  <a:cubicBezTo>
                    <a:pt x="228" y="176"/>
                    <a:pt x="229" y="178"/>
                    <a:pt x="229" y="179"/>
                  </a:cubicBezTo>
                  <a:cubicBezTo>
                    <a:pt x="229" y="181"/>
                    <a:pt x="228" y="182"/>
                    <a:pt x="226" y="182"/>
                  </a:cubicBezTo>
                  <a:cubicBezTo>
                    <a:pt x="223" y="182"/>
                    <a:pt x="223" y="182"/>
                    <a:pt x="223" y="182"/>
                  </a:cubicBezTo>
                  <a:cubicBezTo>
                    <a:pt x="223" y="194"/>
                    <a:pt x="223" y="194"/>
                    <a:pt x="223" y="194"/>
                  </a:cubicBezTo>
                  <a:cubicBezTo>
                    <a:pt x="232" y="194"/>
                    <a:pt x="232" y="194"/>
                    <a:pt x="232" y="194"/>
                  </a:cubicBezTo>
                  <a:cubicBezTo>
                    <a:pt x="237" y="194"/>
                    <a:pt x="241" y="190"/>
                    <a:pt x="241" y="185"/>
                  </a:cubicBezTo>
                  <a:close/>
                  <a:moveTo>
                    <a:pt x="241" y="151"/>
                  </a:moveTo>
                  <a:cubicBezTo>
                    <a:pt x="241" y="141"/>
                    <a:pt x="241" y="141"/>
                    <a:pt x="241" y="141"/>
                  </a:cubicBezTo>
                  <a:cubicBezTo>
                    <a:pt x="241" y="136"/>
                    <a:pt x="237" y="132"/>
                    <a:pt x="232" y="132"/>
                  </a:cubicBezTo>
                  <a:cubicBezTo>
                    <a:pt x="223" y="132"/>
                    <a:pt x="223" y="132"/>
                    <a:pt x="223" y="132"/>
                  </a:cubicBezTo>
                  <a:cubicBezTo>
                    <a:pt x="223" y="143"/>
                    <a:pt x="223" y="143"/>
                    <a:pt x="223" y="143"/>
                  </a:cubicBezTo>
                  <a:cubicBezTo>
                    <a:pt x="226" y="143"/>
                    <a:pt x="226" y="143"/>
                    <a:pt x="226" y="143"/>
                  </a:cubicBezTo>
                  <a:cubicBezTo>
                    <a:pt x="228" y="143"/>
                    <a:pt x="229" y="144"/>
                    <a:pt x="229" y="146"/>
                  </a:cubicBezTo>
                  <a:cubicBezTo>
                    <a:pt x="229" y="147"/>
                    <a:pt x="228" y="149"/>
                    <a:pt x="226" y="149"/>
                  </a:cubicBezTo>
                  <a:cubicBezTo>
                    <a:pt x="223" y="149"/>
                    <a:pt x="223" y="149"/>
                    <a:pt x="223" y="149"/>
                  </a:cubicBezTo>
                  <a:cubicBezTo>
                    <a:pt x="223" y="160"/>
                    <a:pt x="223" y="160"/>
                    <a:pt x="223" y="160"/>
                  </a:cubicBezTo>
                  <a:cubicBezTo>
                    <a:pt x="232" y="160"/>
                    <a:pt x="232" y="160"/>
                    <a:pt x="232" y="160"/>
                  </a:cubicBezTo>
                  <a:cubicBezTo>
                    <a:pt x="237" y="160"/>
                    <a:pt x="241" y="156"/>
                    <a:pt x="241" y="151"/>
                  </a:cubicBezTo>
                  <a:close/>
                  <a:moveTo>
                    <a:pt x="187" y="127"/>
                  </a:moveTo>
                  <a:cubicBezTo>
                    <a:pt x="44" y="127"/>
                    <a:pt x="44" y="127"/>
                    <a:pt x="44" y="127"/>
                  </a:cubicBezTo>
                  <a:cubicBezTo>
                    <a:pt x="38" y="127"/>
                    <a:pt x="32" y="133"/>
                    <a:pt x="32" y="139"/>
                  </a:cubicBezTo>
                  <a:cubicBezTo>
                    <a:pt x="32" y="153"/>
                    <a:pt x="32" y="153"/>
                    <a:pt x="32" y="153"/>
                  </a:cubicBezTo>
                  <a:cubicBezTo>
                    <a:pt x="32" y="160"/>
                    <a:pt x="38" y="165"/>
                    <a:pt x="44" y="165"/>
                  </a:cubicBezTo>
                  <a:cubicBezTo>
                    <a:pt x="187" y="165"/>
                    <a:pt x="187" y="165"/>
                    <a:pt x="187" y="165"/>
                  </a:cubicBezTo>
                  <a:cubicBezTo>
                    <a:pt x="194" y="165"/>
                    <a:pt x="199" y="160"/>
                    <a:pt x="199" y="153"/>
                  </a:cubicBezTo>
                  <a:cubicBezTo>
                    <a:pt x="199" y="139"/>
                    <a:pt x="199" y="139"/>
                    <a:pt x="199" y="139"/>
                  </a:cubicBezTo>
                  <a:cubicBezTo>
                    <a:pt x="199" y="133"/>
                    <a:pt x="194" y="127"/>
                    <a:pt x="187" y="127"/>
                  </a:cubicBezTo>
                  <a:close/>
                  <a:moveTo>
                    <a:pt x="57" y="150"/>
                  </a:moveTo>
                  <a:cubicBezTo>
                    <a:pt x="56" y="150"/>
                    <a:pt x="56" y="150"/>
                    <a:pt x="56" y="150"/>
                  </a:cubicBezTo>
                  <a:cubicBezTo>
                    <a:pt x="54" y="150"/>
                    <a:pt x="52" y="148"/>
                    <a:pt x="52" y="146"/>
                  </a:cubicBezTo>
                  <a:cubicBezTo>
                    <a:pt x="52" y="144"/>
                    <a:pt x="54" y="142"/>
                    <a:pt x="56" y="142"/>
                  </a:cubicBezTo>
                  <a:cubicBezTo>
                    <a:pt x="57" y="142"/>
                    <a:pt x="57" y="142"/>
                    <a:pt x="57" y="142"/>
                  </a:cubicBezTo>
                  <a:cubicBezTo>
                    <a:pt x="59" y="142"/>
                    <a:pt x="61" y="144"/>
                    <a:pt x="61" y="146"/>
                  </a:cubicBezTo>
                  <a:cubicBezTo>
                    <a:pt x="61" y="148"/>
                    <a:pt x="59" y="150"/>
                    <a:pt x="57" y="150"/>
                  </a:cubicBezTo>
                  <a:close/>
                  <a:moveTo>
                    <a:pt x="179" y="150"/>
                  </a:moveTo>
                  <a:cubicBezTo>
                    <a:pt x="112" y="150"/>
                    <a:pt x="112" y="150"/>
                    <a:pt x="112" y="150"/>
                  </a:cubicBezTo>
                  <a:cubicBezTo>
                    <a:pt x="110" y="150"/>
                    <a:pt x="108" y="148"/>
                    <a:pt x="108" y="146"/>
                  </a:cubicBezTo>
                  <a:cubicBezTo>
                    <a:pt x="108" y="144"/>
                    <a:pt x="110" y="142"/>
                    <a:pt x="112" y="142"/>
                  </a:cubicBezTo>
                  <a:cubicBezTo>
                    <a:pt x="179" y="142"/>
                    <a:pt x="179" y="142"/>
                    <a:pt x="179" y="142"/>
                  </a:cubicBezTo>
                  <a:cubicBezTo>
                    <a:pt x="181" y="142"/>
                    <a:pt x="183" y="144"/>
                    <a:pt x="183" y="146"/>
                  </a:cubicBezTo>
                  <a:cubicBezTo>
                    <a:pt x="183" y="148"/>
                    <a:pt x="181" y="150"/>
                    <a:pt x="179" y="150"/>
                  </a:cubicBezTo>
                  <a:close/>
                  <a:moveTo>
                    <a:pt x="187" y="37"/>
                  </a:moveTo>
                  <a:cubicBezTo>
                    <a:pt x="44" y="37"/>
                    <a:pt x="44" y="37"/>
                    <a:pt x="44" y="37"/>
                  </a:cubicBezTo>
                  <a:cubicBezTo>
                    <a:pt x="38" y="37"/>
                    <a:pt x="32" y="43"/>
                    <a:pt x="32" y="49"/>
                  </a:cubicBezTo>
                  <a:cubicBezTo>
                    <a:pt x="32" y="63"/>
                    <a:pt x="32" y="63"/>
                    <a:pt x="32" y="63"/>
                  </a:cubicBezTo>
                  <a:cubicBezTo>
                    <a:pt x="32" y="70"/>
                    <a:pt x="38" y="75"/>
                    <a:pt x="44" y="75"/>
                  </a:cubicBezTo>
                  <a:cubicBezTo>
                    <a:pt x="187" y="75"/>
                    <a:pt x="187" y="75"/>
                    <a:pt x="187" y="75"/>
                  </a:cubicBezTo>
                  <a:cubicBezTo>
                    <a:pt x="194" y="75"/>
                    <a:pt x="199" y="70"/>
                    <a:pt x="199" y="63"/>
                  </a:cubicBezTo>
                  <a:cubicBezTo>
                    <a:pt x="199" y="49"/>
                    <a:pt x="199" y="49"/>
                    <a:pt x="199" y="49"/>
                  </a:cubicBezTo>
                  <a:cubicBezTo>
                    <a:pt x="199" y="43"/>
                    <a:pt x="194" y="37"/>
                    <a:pt x="187" y="37"/>
                  </a:cubicBezTo>
                  <a:close/>
                  <a:moveTo>
                    <a:pt x="57" y="60"/>
                  </a:moveTo>
                  <a:cubicBezTo>
                    <a:pt x="56" y="60"/>
                    <a:pt x="56" y="60"/>
                    <a:pt x="56" y="60"/>
                  </a:cubicBezTo>
                  <a:cubicBezTo>
                    <a:pt x="54" y="60"/>
                    <a:pt x="52" y="58"/>
                    <a:pt x="52" y="56"/>
                  </a:cubicBezTo>
                  <a:cubicBezTo>
                    <a:pt x="52" y="54"/>
                    <a:pt x="54" y="52"/>
                    <a:pt x="56" y="52"/>
                  </a:cubicBezTo>
                  <a:cubicBezTo>
                    <a:pt x="57" y="52"/>
                    <a:pt x="57" y="52"/>
                    <a:pt x="57" y="52"/>
                  </a:cubicBezTo>
                  <a:cubicBezTo>
                    <a:pt x="59" y="52"/>
                    <a:pt x="61" y="54"/>
                    <a:pt x="61" y="56"/>
                  </a:cubicBezTo>
                  <a:cubicBezTo>
                    <a:pt x="61" y="58"/>
                    <a:pt x="59" y="60"/>
                    <a:pt x="57" y="60"/>
                  </a:cubicBezTo>
                  <a:close/>
                  <a:moveTo>
                    <a:pt x="179" y="60"/>
                  </a:moveTo>
                  <a:cubicBezTo>
                    <a:pt x="112" y="60"/>
                    <a:pt x="112" y="60"/>
                    <a:pt x="112" y="60"/>
                  </a:cubicBezTo>
                  <a:cubicBezTo>
                    <a:pt x="110" y="60"/>
                    <a:pt x="108" y="58"/>
                    <a:pt x="108" y="56"/>
                  </a:cubicBezTo>
                  <a:cubicBezTo>
                    <a:pt x="108" y="54"/>
                    <a:pt x="110" y="52"/>
                    <a:pt x="112" y="52"/>
                  </a:cubicBezTo>
                  <a:cubicBezTo>
                    <a:pt x="179" y="52"/>
                    <a:pt x="179" y="52"/>
                    <a:pt x="179" y="52"/>
                  </a:cubicBezTo>
                  <a:cubicBezTo>
                    <a:pt x="181" y="52"/>
                    <a:pt x="183" y="54"/>
                    <a:pt x="183" y="56"/>
                  </a:cubicBezTo>
                  <a:cubicBezTo>
                    <a:pt x="183" y="58"/>
                    <a:pt x="181" y="60"/>
                    <a:pt x="179" y="60"/>
                  </a:cubicBezTo>
                  <a:close/>
                  <a:moveTo>
                    <a:pt x="268" y="175"/>
                  </a:moveTo>
                  <a:cubicBezTo>
                    <a:pt x="268" y="172"/>
                    <a:pt x="265" y="169"/>
                    <a:pt x="261" y="169"/>
                  </a:cubicBezTo>
                  <a:cubicBezTo>
                    <a:pt x="261" y="190"/>
                    <a:pt x="261" y="190"/>
                    <a:pt x="261" y="190"/>
                  </a:cubicBezTo>
                  <a:cubicBezTo>
                    <a:pt x="265" y="189"/>
                    <a:pt x="268" y="187"/>
                    <a:pt x="268" y="183"/>
                  </a:cubicBezTo>
                  <a:lnTo>
                    <a:pt x="268" y="175"/>
                  </a:lnTo>
                  <a:close/>
                  <a:moveTo>
                    <a:pt x="268" y="201"/>
                  </a:moveTo>
                  <a:cubicBezTo>
                    <a:pt x="268" y="197"/>
                    <a:pt x="265" y="194"/>
                    <a:pt x="261" y="194"/>
                  </a:cubicBezTo>
                  <a:cubicBezTo>
                    <a:pt x="261" y="215"/>
                    <a:pt x="261" y="215"/>
                    <a:pt x="261" y="215"/>
                  </a:cubicBezTo>
                  <a:cubicBezTo>
                    <a:pt x="265" y="215"/>
                    <a:pt x="268" y="212"/>
                    <a:pt x="268" y="208"/>
                  </a:cubicBezTo>
                  <a:lnTo>
                    <a:pt x="268" y="201"/>
                  </a:lnTo>
                  <a:close/>
                  <a:moveTo>
                    <a:pt x="268" y="150"/>
                  </a:moveTo>
                  <a:cubicBezTo>
                    <a:pt x="268" y="146"/>
                    <a:pt x="265" y="143"/>
                    <a:pt x="261" y="143"/>
                  </a:cubicBezTo>
                  <a:cubicBezTo>
                    <a:pt x="261" y="164"/>
                    <a:pt x="261" y="164"/>
                    <a:pt x="261" y="164"/>
                  </a:cubicBezTo>
                  <a:cubicBezTo>
                    <a:pt x="265" y="164"/>
                    <a:pt x="268" y="161"/>
                    <a:pt x="268" y="158"/>
                  </a:cubicBezTo>
                  <a:lnTo>
                    <a:pt x="268" y="150"/>
                  </a:lnTo>
                  <a:close/>
                  <a:moveTo>
                    <a:pt x="277" y="260"/>
                  </a:moveTo>
                  <a:cubicBezTo>
                    <a:pt x="277" y="147"/>
                    <a:pt x="277" y="147"/>
                    <a:pt x="277" y="147"/>
                  </a:cubicBezTo>
                  <a:cubicBezTo>
                    <a:pt x="277" y="139"/>
                    <a:pt x="270" y="132"/>
                    <a:pt x="261" y="132"/>
                  </a:cubicBezTo>
                  <a:cubicBezTo>
                    <a:pt x="261" y="132"/>
                    <a:pt x="261" y="132"/>
                    <a:pt x="261" y="132"/>
                  </a:cubicBezTo>
                  <a:cubicBezTo>
                    <a:pt x="261" y="135"/>
                    <a:pt x="261" y="135"/>
                    <a:pt x="261" y="135"/>
                  </a:cubicBezTo>
                  <a:cubicBezTo>
                    <a:pt x="261" y="135"/>
                    <a:pt x="261" y="135"/>
                    <a:pt x="261" y="135"/>
                  </a:cubicBezTo>
                  <a:cubicBezTo>
                    <a:pt x="268" y="135"/>
                    <a:pt x="273" y="141"/>
                    <a:pt x="273" y="147"/>
                  </a:cubicBezTo>
                  <a:cubicBezTo>
                    <a:pt x="273" y="260"/>
                    <a:pt x="273" y="260"/>
                    <a:pt x="273" y="260"/>
                  </a:cubicBezTo>
                  <a:cubicBezTo>
                    <a:pt x="273" y="267"/>
                    <a:pt x="268" y="272"/>
                    <a:pt x="261" y="272"/>
                  </a:cubicBezTo>
                  <a:cubicBezTo>
                    <a:pt x="254" y="272"/>
                    <a:pt x="254" y="272"/>
                    <a:pt x="254" y="272"/>
                  </a:cubicBezTo>
                  <a:cubicBezTo>
                    <a:pt x="252" y="275"/>
                    <a:pt x="249" y="277"/>
                    <a:pt x="246" y="279"/>
                  </a:cubicBezTo>
                  <a:cubicBezTo>
                    <a:pt x="246" y="279"/>
                    <a:pt x="246" y="279"/>
                    <a:pt x="246" y="279"/>
                  </a:cubicBezTo>
                  <a:cubicBezTo>
                    <a:pt x="264" y="279"/>
                    <a:pt x="264" y="279"/>
                    <a:pt x="264" y="279"/>
                  </a:cubicBezTo>
                  <a:cubicBezTo>
                    <a:pt x="267" y="274"/>
                    <a:pt x="267" y="274"/>
                    <a:pt x="267" y="274"/>
                  </a:cubicBezTo>
                  <a:cubicBezTo>
                    <a:pt x="273" y="272"/>
                    <a:pt x="277" y="267"/>
                    <a:pt x="277" y="260"/>
                  </a:cubicBezTo>
                  <a:close/>
                  <a:moveTo>
                    <a:pt x="268" y="226"/>
                  </a:moveTo>
                  <a:cubicBezTo>
                    <a:pt x="268" y="222"/>
                    <a:pt x="265" y="219"/>
                    <a:pt x="261" y="219"/>
                  </a:cubicBezTo>
                  <a:cubicBezTo>
                    <a:pt x="261" y="240"/>
                    <a:pt x="261" y="240"/>
                    <a:pt x="261" y="240"/>
                  </a:cubicBezTo>
                  <a:cubicBezTo>
                    <a:pt x="265" y="240"/>
                    <a:pt x="268" y="237"/>
                    <a:pt x="268" y="234"/>
                  </a:cubicBezTo>
                  <a:lnTo>
                    <a:pt x="268" y="226"/>
                  </a:lnTo>
                  <a:close/>
                  <a:moveTo>
                    <a:pt x="261" y="245"/>
                  </a:moveTo>
                  <a:cubicBezTo>
                    <a:pt x="261" y="254"/>
                    <a:pt x="261" y="254"/>
                    <a:pt x="261" y="254"/>
                  </a:cubicBezTo>
                  <a:cubicBezTo>
                    <a:pt x="261" y="258"/>
                    <a:pt x="260" y="262"/>
                    <a:pt x="259" y="266"/>
                  </a:cubicBezTo>
                  <a:cubicBezTo>
                    <a:pt x="261" y="266"/>
                    <a:pt x="261" y="266"/>
                    <a:pt x="261" y="266"/>
                  </a:cubicBezTo>
                  <a:cubicBezTo>
                    <a:pt x="265" y="266"/>
                    <a:pt x="268" y="263"/>
                    <a:pt x="268" y="259"/>
                  </a:cubicBezTo>
                  <a:cubicBezTo>
                    <a:pt x="268" y="251"/>
                    <a:pt x="268" y="251"/>
                    <a:pt x="268" y="251"/>
                  </a:cubicBezTo>
                  <a:cubicBezTo>
                    <a:pt x="268" y="248"/>
                    <a:pt x="265" y="245"/>
                    <a:pt x="261" y="245"/>
                  </a:cubicBezTo>
                  <a:close/>
                  <a:moveTo>
                    <a:pt x="253" y="254"/>
                  </a:moveTo>
                  <a:cubicBezTo>
                    <a:pt x="253" y="103"/>
                    <a:pt x="253" y="103"/>
                    <a:pt x="253" y="103"/>
                  </a:cubicBezTo>
                  <a:cubicBezTo>
                    <a:pt x="253" y="92"/>
                    <a:pt x="244" y="83"/>
                    <a:pt x="233" y="83"/>
                  </a:cubicBezTo>
                  <a:cubicBezTo>
                    <a:pt x="223" y="83"/>
                    <a:pt x="223" y="83"/>
                    <a:pt x="223" y="83"/>
                  </a:cubicBezTo>
                  <a:cubicBezTo>
                    <a:pt x="223" y="87"/>
                    <a:pt x="223" y="87"/>
                    <a:pt x="223" y="87"/>
                  </a:cubicBezTo>
                  <a:cubicBezTo>
                    <a:pt x="233" y="87"/>
                    <a:pt x="233" y="87"/>
                    <a:pt x="233" y="87"/>
                  </a:cubicBezTo>
                  <a:cubicBezTo>
                    <a:pt x="242" y="87"/>
                    <a:pt x="249" y="94"/>
                    <a:pt x="249" y="103"/>
                  </a:cubicBezTo>
                  <a:cubicBezTo>
                    <a:pt x="249" y="254"/>
                    <a:pt x="249" y="254"/>
                    <a:pt x="249" y="254"/>
                  </a:cubicBezTo>
                  <a:cubicBezTo>
                    <a:pt x="249" y="262"/>
                    <a:pt x="242" y="269"/>
                    <a:pt x="233" y="269"/>
                  </a:cubicBezTo>
                  <a:cubicBezTo>
                    <a:pt x="213" y="269"/>
                    <a:pt x="213" y="269"/>
                    <a:pt x="213" y="269"/>
                  </a:cubicBezTo>
                  <a:cubicBezTo>
                    <a:pt x="211" y="271"/>
                    <a:pt x="209" y="273"/>
                    <a:pt x="207" y="275"/>
                  </a:cubicBezTo>
                  <a:cubicBezTo>
                    <a:pt x="209" y="279"/>
                    <a:pt x="209" y="279"/>
                    <a:pt x="209" y="279"/>
                  </a:cubicBezTo>
                  <a:cubicBezTo>
                    <a:pt x="237" y="279"/>
                    <a:pt x="237" y="279"/>
                    <a:pt x="237" y="279"/>
                  </a:cubicBezTo>
                  <a:cubicBezTo>
                    <a:pt x="240" y="273"/>
                    <a:pt x="240" y="273"/>
                    <a:pt x="240" y="273"/>
                  </a:cubicBezTo>
                  <a:cubicBezTo>
                    <a:pt x="248" y="270"/>
                    <a:pt x="253" y="262"/>
                    <a:pt x="253" y="254"/>
                  </a:cubicBezTo>
                  <a:close/>
                  <a:moveTo>
                    <a:pt x="215" y="245"/>
                  </a:moveTo>
                  <a:cubicBezTo>
                    <a:pt x="215" y="44"/>
                    <a:pt x="215" y="44"/>
                    <a:pt x="215" y="44"/>
                  </a:cubicBezTo>
                  <a:cubicBezTo>
                    <a:pt x="215" y="29"/>
                    <a:pt x="203" y="17"/>
                    <a:pt x="188" y="17"/>
                  </a:cubicBezTo>
                  <a:cubicBezTo>
                    <a:pt x="43" y="17"/>
                    <a:pt x="43" y="17"/>
                    <a:pt x="43" y="17"/>
                  </a:cubicBezTo>
                  <a:cubicBezTo>
                    <a:pt x="28" y="17"/>
                    <a:pt x="16" y="29"/>
                    <a:pt x="16" y="44"/>
                  </a:cubicBezTo>
                  <a:cubicBezTo>
                    <a:pt x="16" y="245"/>
                    <a:pt x="16" y="245"/>
                    <a:pt x="16" y="245"/>
                  </a:cubicBezTo>
                  <a:cubicBezTo>
                    <a:pt x="16" y="257"/>
                    <a:pt x="24" y="266"/>
                    <a:pt x="34" y="270"/>
                  </a:cubicBezTo>
                  <a:cubicBezTo>
                    <a:pt x="38" y="279"/>
                    <a:pt x="38" y="279"/>
                    <a:pt x="38" y="279"/>
                  </a:cubicBezTo>
                  <a:cubicBezTo>
                    <a:pt x="75" y="279"/>
                    <a:pt x="75" y="279"/>
                    <a:pt x="75" y="279"/>
                  </a:cubicBezTo>
                  <a:cubicBezTo>
                    <a:pt x="79" y="272"/>
                    <a:pt x="79" y="272"/>
                    <a:pt x="79" y="272"/>
                  </a:cubicBezTo>
                  <a:cubicBezTo>
                    <a:pt x="153" y="272"/>
                    <a:pt x="153" y="272"/>
                    <a:pt x="153" y="272"/>
                  </a:cubicBezTo>
                  <a:cubicBezTo>
                    <a:pt x="156" y="279"/>
                    <a:pt x="156" y="279"/>
                    <a:pt x="156" y="279"/>
                  </a:cubicBezTo>
                  <a:cubicBezTo>
                    <a:pt x="193" y="279"/>
                    <a:pt x="193" y="279"/>
                    <a:pt x="193" y="279"/>
                  </a:cubicBezTo>
                  <a:cubicBezTo>
                    <a:pt x="198" y="270"/>
                    <a:pt x="198" y="270"/>
                    <a:pt x="198" y="270"/>
                  </a:cubicBezTo>
                  <a:cubicBezTo>
                    <a:pt x="208" y="266"/>
                    <a:pt x="215" y="257"/>
                    <a:pt x="215" y="245"/>
                  </a:cubicBezTo>
                  <a:close/>
                  <a:moveTo>
                    <a:pt x="188" y="266"/>
                  </a:moveTo>
                  <a:cubicBezTo>
                    <a:pt x="43" y="266"/>
                    <a:pt x="43" y="266"/>
                    <a:pt x="43" y="266"/>
                  </a:cubicBezTo>
                  <a:cubicBezTo>
                    <a:pt x="32" y="266"/>
                    <a:pt x="22" y="257"/>
                    <a:pt x="22" y="245"/>
                  </a:cubicBezTo>
                  <a:cubicBezTo>
                    <a:pt x="22" y="44"/>
                    <a:pt x="22" y="44"/>
                    <a:pt x="22" y="44"/>
                  </a:cubicBezTo>
                  <a:cubicBezTo>
                    <a:pt x="22" y="32"/>
                    <a:pt x="32" y="23"/>
                    <a:pt x="43" y="23"/>
                  </a:cubicBezTo>
                  <a:cubicBezTo>
                    <a:pt x="188" y="23"/>
                    <a:pt x="188" y="23"/>
                    <a:pt x="188" y="23"/>
                  </a:cubicBezTo>
                  <a:cubicBezTo>
                    <a:pt x="200" y="23"/>
                    <a:pt x="209" y="32"/>
                    <a:pt x="209" y="44"/>
                  </a:cubicBezTo>
                  <a:cubicBezTo>
                    <a:pt x="209" y="245"/>
                    <a:pt x="209" y="245"/>
                    <a:pt x="209" y="245"/>
                  </a:cubicBezTo>
                  <a:cubicBezTo>
                    <a:pt x="209" y="257"/>
                    <a:pt x="200" y="266"/>
                    <a:pt x="188" y="266"/>
                  </a:cubicBezTo>
                  <a:close/>
                  <a:moveTo>
                    <a:pt x="241" y="117"/>
                  </a:moveTo>
                  <a:cubicBezTo>
                    <a:pt x="241" y="107"/>
                    <a:pt x="241" y="107"/>
                    <a:pt x="241" y="107"/>
                  </a:cubicBezTo>
                  <a:cubicBezTo>
                    <a:pt x="241" y="102"/>
                    <a:pt x="237" y="98"/>
                    <a:pt x="232" y="98"/>
                  </a:cubicBezTo>
                  <a:cubicBezTo>
                    <a:pt x="223" y="98"/>
                    <a:pt x="223" y="98"/>
                    <a:pt x="223" y="98"/>
                  </a:cubicBezTo>
                  <a:cubicBezTo>
                    <a:pt x="223" y="109"/>
                    <a:pt x="223" y="109"/>
                    <a:pt x="223" y="109"/>
                  </a:cubicBezTo>
                  <a:cubicBezTo>
                    <a:pt x="226" y="109"/>
                    <a:pt x="226" y="109"/>
                    <a:pt x="226" y="109"/>
                  </a:cubicBezTo>
                  <a:cubicBezTo>
                    <a:pt x="228" y="109"/>
                    <a:pt x="229" y="110"/>
                    <a:pt x="229" y="112"/>
                  </a:cubicBezTo>
                  <a:cubicBezTo>
                    <a:pt x="229" y="114"/>
                    <a:pt x="228" y="115"/>
                    <a:pt x="226" y="115"/>
                  </a:cubicBezTo>
                  <a:cubicBezTo>
                    <a:pt x="223" y="115"/>
                    <a:pt x="223" y="115"/>
                    <a:pt x="223" y="115"/>
                  </a:cubicBezTo>
                  <a:cubicBezTo>
                    <a:pt x="223" y="126"/>
                    <a:pt x="223" y="126"/>
                    <a:pt x="223" y="126"/>
                  </a:cubicBezTo>
                  <a:cubicBezTo>
                    <a:pt x="232" y="126"/>
                    <a:pt x="232" y="126"/>
                    <a:pt x="232" y="126"/>
                  </a:cubicBezTo>
                  <a:cubicBezTo>
                    <a:pt x="237" y="126"/>
                    <a:pt x="241" y="122"/>
                    <a:pt x="241" y="117"/>
                  </a:cubicBezTo>
                  <a:close/>
                  <a:moveTo>
                    <a:pt x="4" y="88"/>
                  </a:moveTo>
                  <a:cubicBezTo>
                    <a:pt x="0" y="88"/>
                    <a:pt x="0" y="88"/>
                    <a:pt x="0" y="88"/>
                  </a:cubicBezTo>
                  <a:cubicBezTo>
                    <a:pt x="0" y="96"/>
                    <a:pt x="0" y="96"/>
                    <a:pt x="0" y="96"/>
                  </a:cubicBezTo>
                  <a:cubicBezTo>
                    <a:pt x="4" y="96"/>
                    <a:pt x="4" y="96"/>
                    <a:pt x="4" y="96"/>
                  </a:cubicBezTo>
                  <a:lnTo>
                    <a:pt x="4" y="88"/>
                  </a:lnTo>
                  <a:close/>
                  <a:moveTo>
                    <a:pt x="125" y="0"/>
                  </a:moveTo>
                  <a:cubicBezTo>
                    <a:pt x="117" y="0"/>
                    <a:pt x="117" y="0"/>
                    <a:pt x="117" y="0"/>
                  </a:cubicBezTo>
                  <a:cubicBezTo>
                    <a:pt x="117" y="4"/>
                    <a:pt x="117" y="4"/>
                    <a:pt x="117" y="4"/>
                  </a:cubicBezTo>
                  <a:cubicBezTo>
                    <a:pt x="125" y="4"/>
                    <a:pt x="125" y="4"/>
                    <a:pt x="125" y="4"/>
                  </a:cubicBezTo>
                  <a:lnTo>
                    <a:pt x="125" y="0"/>
                  </a:lnTo>
                  <a:close/>
                  <a:moveTo>
                    <a:pt x="61" y="0"/>
                  </a:moveTo>
                  <a:cubicBezTo>
                    <a:pt x="53" y="0"/>
                    <a:pt x="53" y="0"/>
                    <a:pt x="53" y="0"/>
                  </a:cubicBezTo>
                  <a:cubicBezTo>
                    <a:pt x="53" y="4"/>
                    <a:pt x="53" y="4"/>
                    <a:pt x="53" y="4"/>
                  </a:cubicBezTo>
                  <a:cubicBezTo>
                    <a:pt x="61" y="4"/>
                    <a:pt x="61" y="4"/>
                    <a:pt x="61" y="4"/>
                  </a:cubicBezTo>
                  <a:lnTo>
                    <a:pt x="61" y="0"/>
                  </a:lnTo>
                  <a:close/>
                  <a:moveTo>
                    <a:pt x="42" y="4"/>
                  </a:moveTo>
                  <a:cubicBezTo>
                    <a:pt x="45" y="4"/>
                    <a:pt x="45" y="4"/>
                    <a:pt x="45" y="4"/>
                  </a:cubicBezTo>
                  <a:cubicBezTo>
                    <a:pt x="45" y="0"/>
                    <a:pt x="45" y="0"/>
                    <a:pt x="45" y="0"/>
                  </a:cubicBezTo>
                  <a:cubicBezTo>
                    <a:pt x="42" y="0"/>
                    <a:pt x="42" y="0"/>
                    <a:pt x="42" y="0"/>
                  </a:cubicBezTo>
                  <a:cubicBezTo>
                    <a:pt x="40" y="0"/>
                    <a:pt x="39" y="0"/>
                    <a:pt x="37" y="1"/>
                  </a:cubicBezTo>
                  <a:cubicBezTo>
                    <a:pt x="37" y="5"/>
                    <a:pt x="37" y="5"/>
                    <a:pt x="37" y="5"/>
                  </a:cubicBezTo>
                  <a:cubicBezTo>
                    <a:pt x="39" y="4"/>
                    <a:pt x="40" y="4"/>
                    <a:pt x="42" y="4"/>
                  </a:cubicBezTo>
                  <a:close/>
                  <a:moveTo>
                    <a:pt x="8" y="25"/>
                  </a:moveTo>
                  <a:cubicBezTo>
                    <a:pt x="4" y="24"/>
                    <a:pt x="4" y="24"/>
                    <a:pt x="4" y="24"/>
                  </a:cubicBezTo>
                  <a:cubicBezTo>
                    <a:pt x="3" y="26"/>
                    <a:pt x="2" y="29"/>
                    <a:pt x="1" y="32"/>
                  </a:cubicBezTo>
                  <a:cubicBezTo>
                    <a:pt x="5" y="33"/>
                    <a:pt x="5" y="33"/>
                    <a:pt x="5" y="33"/>
                  </a:cubicBezTo>
                  <a:cubicBezTo>
                    <a:pt x="6" y="30"/>
                    <a:pt x="7" y="28"/>
                    <a:pt x="8" y="25"/>
                  </a:cubicBezTo>
                  <a:close/>
                  <a:moveTo>
                    <a:pt x="93" y="0"/>
                  </a:moveTo>
                  <a:cubicBezTo>
                    <a:pt x="85" y="0"/>
                    <a:pt x="85" y="0"/>
                    <a:pt x="85" y="0"/>
                  </a:cubicBezTo>
                  <a:cubicBezTo>
                    <a:pt x="85" y="4"/>
                    <a:pt x="85" y="4"/>
                    <a:pt x="85" y="4"/>
                  </a:cubicBezTo>
                  <a:cubicBezTo>
                    <a:pt x="93" y="4"/>
                    <a:pt x="93" y="4"/>
                    <a:pt x="93" y="4"/>
                  </a:cubicBezTo>
                  <a:lnTo>
                    <a:pt x="93" y="0"/>
                  </a:lnTo>
                  <a:close/>
                  <a:moveTo>
                    <a:pt x="77" y="0"/>
                  </a:moveTo>
                  <a:cubicBezTo>
                    <a:pt x="69" y="0"/>
                    <a:pt x="69" y="0"/>
                    <a:pt x="69" y="0"/>
                  </a:cubicBezTo>
                  <a:cubicBezTo>
                    <a:pt x="69" y="4"/>
                    <a:pt x="69" y="4"/>
                    <a:pt x="69" y="4"/>
                  </a:cubicBezTo>
                  <a:cubicBezTo>
                    <a:pt x="77" y="4"/>
                    <a:pt x="77" y="4"/>
                    <a:pt x="77" y="4"/>
                  </a:cubicBezTo>
                  <a:lnTo>
                    <a:pt x="77" y="0"/>
                  </a:lnTo>
                  <a:close/>
                  <a:moveTo>
                    <a:pt x="141" y="0"/>
                  </a:moveTo>
                  <a:cubicBezTo>
                    <a:pt x="133" y="0"/>
                    <a:pt x="133" y="0"/>
                    <a:pt x="133" y="0"/>
                  </a:cubicBezTo>
                  <a:cubicBezTo>
                    <a:pt x="133" y="4"/>
                    <a:pt x="133" y="4"/>
                    <a:pt x="133" y="4"/>
                  </a:cubicBezTo>
                  <a:cubicBezTo>
                    <a:pt x="141" y="4"/>
                    <a:pt x="141" y="4"/>
                    <a:pt x="141" y="4"/>
                  </a:cubicBezTo>
                  <a:lnTo>
                    <a:pt x="141" y="0"/>
                  </a:lnTo>
                  <a:close/>
                  <a:moveTo>
                    <a:pt x="4" y="56"/>
                  </a:moveTo>
                  <a:cubicBezTo>
                    <a:pt x="0" y="56"/>
                    <a:pt x="0" y="56"/>
                    <a:pt x="0" y="56"/>
                  </a:cubicBezTo>
                  <a:cubicBezTo>
                    <a:pt x="0" y="64"/>
                    <a:pt x="0" y="64"/>
                    <a:pt x="0" y="64"/>
                  </a:cubicBezTo>
                  <a:cubicBezTo>
                    <a:pt x="4" y="64"/>
                    <a:pt x="4" y="64"/>
                    <a:pt x="4" y="64"/>
                  </a:cubicBezTo>
                  <a:lnTo>
                    <a:pt x="4" y="56"/>
                  </a:lnTo>
                  <a:close/>
                  <a:moveTo>
                    <a:pt x="4" y="42"/>
                  </a:moveTo>
                  <a:cubicBezTo>
                    <a:pt x="4" y="42"/>
                    <a:pt x="4" y="41"/>
                    <a:pt x="4" y="40"/>
                  </a:cubicBezTo>
                  <a:cubicBezTo>
                    <a:pt x="0" y="40"/>
                    <a:pt x="0" y="40"/>
                    <a:pt x="0" y="40"/>
                  </a:cubicBezTo>
                  <a:cubicBezTo>
                    <a:pt x="0" y="41"/>
                    <a:pt x="0" y="41"/>
                    <a:pt x="0" y="42"/>
                  </a:cubicBezTo>
                  <a:cubicBezTo>
                    <a:pt x="0" y="48"/>
                    <a:pt x="0" y="48"/>
                    <a:pt x="0" y="48"/>
                  </a:cubicBezTo>
                  <a:cubicBezTo>
                    <a:pt x="4" y="48"/>
                    <a:pt x="4" y="48"/>
                    <a:pt x="4" y="48"/>
                  </a:cubicBezTo>
                  <a:lnTo>
                    <a:pt x="4" y="42"/>
                  </a:lnTo>
                  <a:close/>
                  <a:moveTo>
                    <a:pt x="17" y="14"/>
                  </a:moveTo>
                  <a:cubicBezTo>
                    <a:pt x="14" y="11"/>
                    <a:pt x="14" y="11"/>
                    <a:pt x="14" y="11"/>
                  </a:cubicBezTo>
                  <a:cubicBezTo>
                    <a:pt x="12" y="12"/>
                    <a:pt x="10" y="14"/>
                    <a:pt x="9" y="17"/>
                  </a:cubicBezTo>
                  <a:cubicBezTo>
                    <a:pt x="12" y="19"/>
                    <a:pt x="12" y="19"/>
                    <a:pt x="12" y="19"/>
                  </a:cubicBezTo>
                  <a:cubicBezTo>
                    <a:pt x="13" y="17"/>
                    <a:pt x="15" y="15"/>
                    <a:pt x="17" y="14"/>
                  </a:cubicBezTo>
                  <a:close/>
                  <a:moveTo>
                    <a:pt x="4" y="72"/>
                  </a:moveTo>
                  <a:cubicBezTo>
                    <a:pt x="0" y="72"/>
                    <a:pt x="0" y="72"/>
                    <a:pt x="0" y="72"/>
                  </a:cubicBezTo>
                  <a:cubicBezTo>
                    <a:pt x="0" y="80"/>
                    <a:pt x="0" y="80"/>
                    <a:pt x="0" y="80"/>
                  </a:cubicBezTo>
                  <a:cubicBezTo>
                    <a:pt x="4" y="80"/>
                    <a:pt x="4" y="80"/>
                    <a:pt x="4" y="80"/>
                  </a:cubicBezTo>
                  <a:lnTo>
                    <a:pt x="4" y="72"/>
                  </a:lnTo>
                  <a:close/>
                  <a:moveTo>
                    <a:pt x="30" y="6"/>
                  </a:moveTo>
                  <a:cubicBezTo>
                    <a:pt x="29" y="2"/>
                    <a:pt x="29" y="2"/>
                    <a:pt x="29" y="2"/>
                  </a:cubicBezTo>
                  <a:cubicBezTo>
                    <a:pt x="26" y="3"/>
                    <a:pt x="24" y="4"/>
                    <a:pt x="21" y="6"/>
                  </a:cubicBezTo>
                  <a:cubicBezTo>
                    <a:pt x="23" y="9"/>
                    <a:pt x="23" y="9"/>
                    <a:pt x="23" y="9"/>
                  </a:cubicBezTo>
                  <a:cubicBezTo>
                    <a:pt x="25" y="8"/>
                    <a:pt x="28" y="7"/>
                    <a:pt x="30" y="6"/>
                  </a:cubicBezTo>
                  <a:close/>
                  <a:moveTo>
                    <a:pt x="109" y="0"/>
                  </a:moveTo>
                  <a:cubicBezTo>
                    <a:pt x="101" y="0"/>
                    <a:pt x="101" y="0"/>
                    <a:pt x="101" y="0"/>
                  </a:cubicBezTo>
                  <a:cubicBezTo>
                    <a:pt x="101" y="4"/>
                    <a:pt x="101" y="4"/>
                    <a:pt x="101" y="4"/>
                  </a:cubicBezTo>
                  <a:cubicBezTo>
                    <a:pt x="109" y="4"/>
                    <a:pt x="109" y="4"/>
                    <a:pt x="109" y="4"/>
                  </a:cubicBezTo>
                  <a:lnTo>
                    <a:pt x="109" y="0"/>
                  </a:lnTo>
                  <a:close/>
                  <a:moveTo>
                    <a:pt x="251" y="47"/>
                  </a:moveTo>
                  <a:cubicBezTo>
                    <a:pt x="247" y="40"/>
                    <a:pt x="247" y="40"/>
                    <a:pt x="247" y="40"/>
                  </a:cubicBezTo>
                  <a:cubicBezTo>
                    <a:pt x="244" y="42"/>
                    <a:pt x="244" y="42"/>
                    <a:pt x="244" y="42"/>
                  </a:cubicBezTo>
                  <a:cubicBezTo>
                    <a:pt x="247" y="49"/>
                    <a:pt x="247" y="49"/>
                    <a:pt x="247" y="49"/>
                  </a:cubicBezTo>
                  <a:lnTo>
                    <a:pt x="251" y="47"/>
                  </a:lnTo>
                  <a:close/>
                  <a:moveTo>
                    <a:pt x="259" y="61"/>
                  </a:moveTo>
                  <a:cubicBezTo>
                    <a:pt x="255" y="54"/>
                    <a:pt x="255" y="54"/>
                    <a:pt x="255" y="54"/>
                  </a:cubicBezTo>
                  <a:cubicBezTo>
                    <a:pt x="251" y="56"/>
                    <a:pt x="251" y="56"/>
                    <a:pt x="251" y="56"/>
                  </a:cubicBezTo>
                  <a:cubicBezTo>
                    <a:pt x="255" y="63"/>
                    <a:pt x="255" y="63"/>
                    <a:pt x="255" y="63"/>
                  </a:cubicBezTo>
                  <a:lnTo>
                    <a:pt x="259" y="61"/>
                  </a:lnTo>
                  <a:close/>
                  <a:moveTo>
                    <a:pt x="266" y="75"/>
                  </a:moveTo>
                  <a:cubicBezTo>
                    <a:pt x="262" y="68"/>
                    <a:pt x="262" y="68"/>
                    <a:pt x="262" y="68"/>
                  </a:cubicBezTo>
                  <a:cubicBezTo>
                    <a:pt x="259" y="70"/>
                    <a:pt x="259" y="70"/>
                    <a:pt x="259" y="70"/>
                  </a:cubicBezTo>
                  <a:cubicBezTo>
                    <a:pt x="263" y="77"/>
                    <a:pt x="263" y="77"/>
                    <a:pt x="263" y="77"/>
                  </a:cubicBezTo>
                  <a:lnTo>
                    <a:pt x="266" y="75"/>
                  </a:lnTo>
                  <a:close/>
                  <a:moveTo>
                    <a:pt x="274" y="89"/>
                  </a:moveTo>
                  <a:cubicBezTo>
                    <a:pt x="270" y="82"/>
                    <a:pt x="270" y="82"/>
                    <a:pt x="270" y="82"/>
                  </a:cubicBezTo>
                  <a:cubicBezTo>
                    <a:pt x="266" y="84"/>
                    <a:pt x="266" y="84"/>
                    <a:pt x="266" y="84"/>
                  </a:cubicBezTo>
                  <a:cubicBezTo>
                    <a:pt x="270" y="91"/>
                    <a:pt x="270" y="91"/>
                    <a:pt x="270" y="91"/>
                  </a:cubicBezTo>
                  <a:lnTo>
                    <a:pt x="274" y="89"/>
                  </a:lnTo>
                  <a:close/>
                  <a:moveTo>
                    <a:pt x="232" y="20"/>
                  </a:moveTo>
                  <a:cubicBezTo>
                    <a:pt x="231" y="19"/>
                    <a:pt x="228" y="17"/>
                    <a:pt x="226" y="15"/>
                  </a:cubicBezTo>
                  <a:cubicBezTo>
                    <a:pt x="224" y="19"/>
                    <a:pt x="224" y="19"/>
                    <a:pt x="224" y="19"/>
                  </a:cubicBezTo>
                  <a:cubicBezTo>
                    <a:pt x="226" y="20"/>
                    <a:pt x="228" y="22"/>
                    <a:pt x="230" y="23"/>
                  </a:cubicBezTo>
                  <a:lnTo>
                    <a:pt x="232" y="20"/>
                  </a:lnTo>
                  <a:close/>
                  <a:moveTo>
                    <a:pt x="243" y="33"/>
                  </a:moveTo>
                  <a:cubicBezTo>
                    <a:pt x="242" y="31"/>
                    <a:pt x="240" y="28"/>
                    <a:pt x="238" y="26"/>
                  </a:cubicBezTo>
                  <a:cubicBezTo>
                    <a:pt x="235" y="29"/>
                    <a:pt x="235" y="29"/>
                    <a:pt x="235" y="29"/>
                  </a:cubicBezTo>
                  <a:cubicBezTo>
                    <a:pt x="237" y="31"/>
                    <a:pt x="239" y="33"/>
                    <a:pt x="240" y="35"/>
                  </a:cubicBezTo>
                  <a:lnTo>
                    <a:pt x="243" y="33"/>
                  </a:lnTo>
                  <a:close/>
                  <a:moveTo>
                    <a:pt x="277" y="105"/>
                  </a:moveTo>
                  <a:cubicBezTo>
                    <a:pt x="280" y="104"/>
                    <a:pt x="280" y="104"/>
                    <a:pt x="280" y="104"/>
                  </a:cubicBezTo>
                  <a:cubicBezTo>
                    <a:pt x="279" y="101"/>
                    <a:pt x="278" y="99"/>
                    <a:pt x="277" y="96"/>
                  </a:cubicBezTo>
                  <a:cubicBezTo>
                    <a:pt x="274" y="98"/>
                    <a:pt x="274" y="98"/>
                    <a:pt x="274" y="98"/>
                  </a:cubicBezTo>
                  <a:cubicBezTo>
                    <a:pt x="275" y="100"/>
                    <a:pt x="276" y="103"/>
                    <a:pt x="277" y="105"/>
                  </a:cubicBezTo>
                  <a:close/>
                  <a:moveTo>
                    <a:pt x="205" y="4"/>
                  </a:moveTo>
                  <a:cubicBezTo>
                    <a:pt x="202" y="3"/>
                    <a:pt x="199" y="2"/>
                    <a:pt x="197" y="2"/>
                  </a:cubicBezTo>
                  <a:cubicBezTo>
                    <a:pt x="196" y="6"/>
                    <a:pt x="196" y="6"/>
                    <a:pt x="196" y="6"/>
                  </a:cubicBezTo>
                  <a:cubicBezTo>
                    <a:pt x="198" y="6"/>
                    <a:pt x="201" y="7"/>
                    <a:pt x="203" y="8"/>
                  </a:cubicBezTo>
                  <a:lnTo>
                    <a:pt x="205" y="4"/>
                  </a:lnTo>
                  <a:close/>
                  <a:moveTo>
                    <a:pt x="157" y="0"/>
                  </a:moveTo>
                  <a:cubicBezTo>
                    <a:pt x="149" y="0"/>
                    <a:pt x="149" y="0"/>
                    <a:pt x="149" y="0"/>
                  </a:cubicBezTo>
                  <a:cubicBezTo>
                    <a:pt x="149" y="4"/>
                    <a:pt x="149" y="4"/>
                    <a:pt x="149" y="4"/>
                  </a:cubicBezTo>
                  <a:cubicBezTo>
                    <a:pt x="157" y="4"/>
                    <a:pt x="157" y="4"/>
                    <a:pt x="157" y="4"/>
                  </a:cubicBezTo>
                  <a:lnTo>
                    <a:pt x="157" y="0"/>
                  </a:lnTo>
                  <a:close/>
                  <a:moveTo>
                    <a:pt x="172" y="0"/>
                  </a:moveTo>
                  <a:cubicBezTo>
                    <a:pt x="165" y="0"/>
                    <a:pt x="165" y="0"/>
                    <a:pt x="165" y="0"/>
                  </a:cubicBezTo>
                  <a:cubicBezTo>
                    <a:pt x="165" y="4"/>
                    <a:pt x="165" y="4"/>
                    <a:pt x="165" y="4"/>
                  </a:cubicBezTo>
                  <a:cubicBezTo>
                    <a:pt x="172" y="4"/>
                    <a:pt x="172" y="4"/>
                    <a:pt x="172" y="4"/>
                  </a:cubicBezTo>
                  <a:lnTo>
                    <a:pt x="172" y="0"/>
                  </a:lnTo>
                  <a:close/>
                  <a:moveTo>
                    <a:pt x="188" y="4"/>
                  </a:moveTo>
                  <a:cubicBezTo>
                    <a:pt x="189" y="0"/>
                    <a:pt x="189" y="0"/>
                    <a:pt x="189" y="0"/>
                  </a:cubicBezTo>
                  <a:cubicBezTo>
                    <a:pt x="187" y="0"/>
                    <a:pt x="186" y="0"/>
                    <a:pt x="185" y="0"/>
                  </a:cubicBezTo>
                  <a:cubicBezTo>
                    <a:pt x="180" y="0"/>
                    <a:pt x="180" y="0"/>
                    <a:pt x="180" y="0"/>
                  </a:cubicBezTo>
                  <a:cubicBezTo>
                    <a:pt x="180" y="4"/>
                    <a:pt x="180" y="4"/>
                    <a:pt x="180" y="4"/>
                  </a:cubicBezTo>
                  <a:cubicBezTo>
                    <a:pt x="185" y="4"/>
                    <a:pt x="185" y="4"/>
                    <a:pt x="185" y="4"/>
                  </a:cubicBezTo>
                  <a:cubicBezTo>
                    <a:pt x="186" y="4"/>
                    <a:pt x="187" y="4"/>
                    <a:pt x="188" y="4"/>
                  </a:cubicBezTo>
                  <a:close/>
                  <a:moveTo>
                    <a:pt x="219" y="11"/>
                  </a:moveTo>
                  <a:cubicBezTo>
                    <a:pt x="217" y="9"/>
                    <a:pt x="215" y="8"/>
                    <a:pt x="212" y="7"/>
                  </a:cubicBezTo>
                  <a:cubicBezTo>
                    <a:pt x="210" y="11"/>
                    <a:pt x="210" y="11"/>
                    <a:pt x="210" y="11"/>
                  </a:cubicBezTo>
                  <a:cubicBezTo>
                    <a:pt x="213" y="12"/>
                    <a:pt x="215" y="13"/>
                    <a:pt x="217" y="14"/>
                  </a:cubicBezTo>
                  <a:lnTo>
                    <a:pt x="219" y="11"/>
                  </a:lnTo>
                  <a:close/>
                  <a:moveTo>
                    <a:pt x="285" y="135"/>
                  </a:moveTo>
                  <a:cubicBezTo>
                    <a:pt x="289" y="135"/>
                    <a:pt x="289" y="135"/>
                    <a:pt x="289" y="135"/>
                  </a:cubicBezTo>
                  <a:cubicBezTo>
                    <a:pt x="289" y="132"/>
                    <a:pt x="288" y="129"/>
                    <a:pt x="288" y="127"/>
                  </a:cubicBezTo>
                  <a:cubicBezTo>
                    <a:pt x="284" y="128"/>
                    <a:pt x="284" y="128"/>
                    <a:pt x="284" y="128"/>
                  </a:cubicBezTo>
                  <a:cubicBezTo>
                    <a:pt x="284" y="130"/>
                    <a:pt x="285" y="133"/>
                    <a:pt x="285" y="135"/>
                  </a:cubicBezTo>
                  <a:close/>
                  <a:moveTo>
                    <a:pt x="288" y="151"/>
                  </a:moveTo>
                  <a:cubicBezTo>
                    <a:pt x="292" y="150"/>
                    <a:pt x="292" y="150"/>
                    <a:pt x="292" y="150"/>
                  </a:cubicBezTo>
                  <a:cubicBezTo>
                    <a:pt x="292" y="148"/>
                    <a:pt x="291" y="145"/>
                    <a:pt x="291" y="142"/>
                  </a:cubicBezTo>
                  <a:cubicBezTo>
                    <a:pt x="287" y="143"/>
                    <a:pt x="287" y="143"/>
                    <a:pt x="287" y="143"/>
                  </a:cubicBezTo>
                  <a:cubicBezTo>
                    <a:pt x="287" y="146"/>
                    <a:pt x="288" y="148"/>
                    <a:pt x="288" y="151"/>
                  </a:cubicBezTo>
                  <a:close/>
                  <a:moveTo>
                    <a:pt x="242" y="296"/>
                  </a:moveTo>
                  <a:cubicBezTo>
                    <a:pt x="250" y="296"/>
                    <a:pt x="250" y="296"/>
                    <a:pt x="250" y="296"/>
                  </a:cubicBezTo>
                  <a:cubicBezTo>
                    <a:pt x="250" y="292"/>
                    <a:pt x="250" y="292"/>
                    <a:pt x="250" y="292"/>
                  </a:cubicBezTo>
                  <a:cubicBezTo>
                    <a:pt x="242" y="292"/>
                    <a:pt x="242" y="292"/>
                    <a:pt x="242" y="292"/>
                  </a:cubicBezTo>
                  <a:lnTo>
                    <a:pt x="242" y="296"/>
                  </a:lnTo>
                  <a:close/>
                  <a:moveTo>
                    <a:pt x="226" y="296"/>
                  </a:moveTo>
                  <a:cubicBezTo>
                    <a:pt x="234" y="296"/>
                    <a:pt x="234" y="296"/>
                    <a:pt x="234" y="296"/>
                  </a:cubicBezTo>
                  <a:cubicBezTo>
                    <a:pt x="234" y="292"/>
                    <a:pt x="234" y="292"/>
                    <a:pt x="234" y="292"/>
                  </a:cubicBezTo>
                  <a:cubicBezTo>
                    <a:pt x="226" y="292"/>
                    <a:pt x="226" y="292"/>
                    <a:pt x="226" y="292"/>
                  </a:cubicBezTo>
                  <a:lnTo>
                    <a:pt x="226" y="296"/>
                  </a:lnTo>
                  <a:close/>
                  <a:moveTo>
                    <a:pt x="258" y="292"/>
                  </a:moveTo>
                  <a:cubicBezTo>
                    <a:pt x="259" y="296"/>
                    <a:pt x="259" y="296"/>
                    <a:pt x="259" y="296"/>
                  </a:cubicBezTo>
                  <a:cubicBezTo>
                    <a:pt x="261" y="295"/>
                    <a:pt x="264" y="294"/>
                    <a:pt x="267" y="293"/>
                  </a:cubicBezTo>
                  <a:cubicBezTo>
                    <a:pt x="265" y="290"/>
                    <a:pt x="265" y="290"/>
                    <a:pt x="265" y="290"/>
                  </a:cubicBezTo>
                  <a:cubicBezTo>
                    <a:pt x="263" y="291"/>
                    <a:pt x="260" y="291"/>
                    <a:pt x="258" y="292"/>
                  </a:cubicBezTo>
                  <a:close/>
                  <a:moveTo>
                    <a:pt x="210" y="296"/>
                  </a:moveTo>
                  <a:cubicBezTo>
                    <a:pt x="218" y="296"/>
                    <a:pt x="218" y="296"/>
                    <a:pt x="218" y="296"/>
                  </a:cubicBezTo>
                  <a:cubicBezTo>
                    <a:pt x="218" y="292"/>
                    <a:pt x="218" y="292"/>
                    <a:pt x="218" y="292"/>
                  </a:cubicBezTo>
                  <a:cubicBezTo>
                    <a:pt x="210" y="292"/>
                    <a:pt x="210" y="292"/>
                    <a:pt x="210" y="292"/>
                  </a:cubicBezTo>
                  <a:lnTo>
                    <a:pt x="210" y="296"/>
                  </a:lnTo>
                  <a:close/>
                  <a:moveTo>
                    <a:pt x="179" y="296"/>
                  </a:moveTo>
                  <a:cubicBezTo>
                    <a:pt x="187" y="296"/>
                    <a:pt x="187" y="296"/>
                    <a:pt x="187" y="296"/>
                  </a:cubicBezTo>
                  <a:cubicBezTo>
                    <a:pt x="187" y="292"/>
                    <a:pt x="187" y="292"/>
                    <a:pt x="187" y="292"/>
                  </a:cubicBezTo>
                  <a:cubicBezTo>
                    <a:pt x="179" y="292"/>
                    <a:pt x="179" y="292"/>
                    <a:pt x="179" y="292"/>
                  </a:cubicBezTo>
                  <a:lnTo>
                    <a:pt x="179" y="296"/>
                  </a:lnTo>
                  <a:close/>
                  <a:moveTo>
                    <a:pt x="163" y="296"/>
                  </a:moveTo>
                  <a:cubicBezTo>
                    <a:pt x="171" y="296"/>
                    <a:pt x="171" y="296"/>
                    <a:pt x="171" y="296"/>
                  </a:cubicBezTo>
                  <a:cubicBezTo>
                    <a:pt x="171" y="292"/>
                    <a:pt x="171" y="292"/>
                    <a:pt x="171" y="292"/>
                  </a:cubicBezTo>
                  <a:cubicBezTo>
                    <a:pt x="163" y="292"/>
                    <a:pt x="163" y="292"/>
                    <a:pt x="163" y="292"/>
                  </a:cubicBezTo>
                  <a:lnTo>
                    <a:pt x="163" y="296"/>
                  </a:lnTo>
                  <a:close/>
                  <a:moveTo>
                    <a:pt x="147" y="296"/>
                  </a:moveTo>
                  <a:cubicBezTo>
                    <a:pt x="155" y="296"/>
                    <a:pt x="155" y="296"/>
                    <a:pt x="155" y="296"/>
                  </a:cubicBezTo>
                  <a:cubicBezTo>
                    <a:pt x="155" y="292"/>
                    <a:pt x="155" y="292"/>
                    <a:pt x="155" y="292"/>
                  </a:cubicBezTo>
                  <a:cubicBezTo>
                    <a:pt x="147" y="292"/>
                    <a:pt x="147" y="292"/>
                    <a:pt x="147" y="292"/>
                  </a:cubicBezTo>
                  <a:lnTo>
                    <a:pt x="147" y="296"/>
                  </a:lnTo>
                  <a:close/>
                  <a:moveTo>
                    <a:pt x="195" y="296"/>
                  </a:moveTo>
                  <a:cubicBezTo>
                    <a:pt x="203" y="296"/>
                    <a:pt x="203" y="296"/>
                    <a:pt x="203" y="296"/>
                  </a:cubicBezTo>
                  <a:cubicBezTo>
                    <a:pt x="203" y="292"/>
                    <a:pt x="203" y="292"/>
                    <a:pt x="203" y="292"/>
                  </a:cubicBezTo>
                  <a:cubicBezTo>
                    <a:pt x="195" y="292"/>
                    <a:pt x="195" y="292"/>
                    <a:pt x="195" y="292"/>
                  </a:cubicBezTo>
                  <a:lnTo>
                    <a:pt x="195" y="296"/>
                  </a:lnTo>
                  <a:close/>
                  <a:moveTo>
                    <a:pt x="131" y="296"/>
                  </a:moveTo>
                  <a:cubicBezTo>
                    <a:pt x="139" y="296"/>
                    <a:pt x="139" y="296"/>
                    <a:pt x="139" y="296"/>
                  </a:cubicBezTo>
                  <a:cubicBezTo>
                    <a:pt x="139" y="292"/>
                    <a:pt x="139" y="292"/>
                    <a:pt x="139" y="292"/>
                  </a:cubicBezTo>
                  <a:cubicBezTo>
                    <a:pt x="131" y="292"/>
                    <a:pt x="131" y="292"/>
                    <a:pt x="131" y="292"/>
                  </a:cubicBezTo>
                  <a:lnTo>
                    <a:pt x="131" y="296"/>
                  </a:lnTo>
                  <a:close/>
                  <a:moveTo>
                    <a:pt x="272" y="286"/>
                  </a:moveTo>
                  <a:cubicBezTo>
                    <a:pt x="274" y="289"/>
                    <a:pt x="274" y="289"/>
                    <a:pt x="274" y="289"/>
                  </a:cubicBezTo>
                  <a:cubicBezTo>
                    <a:pt x="276" y="288"/>
                    <a:pt x="279" y="286"/>
                    <a:pt x="281" y="284"/>
                  </a:cubicBezTo>
                  <a:cubicBezTo>
                    <a:pt x="278" y="281"/>
                    <a:pt x="278" y="281"/>
                    <a:pt x="278" y="281"/>
                  </a:cubicBezTo>
                  <a:cubicBezTo>
                    <a:pt x="276" y="283"/>
                    <a:pt x="274" y="285"/>
                    <a:pt x="272" y="286"/>
                  </a:cubicBezTo>
                  <a:close/>
                  <a:moveTo>
                    <a:pt x="289" y="214"/>
                  </a:moveTo>
                  <a:cubicBezTo>
                    <a:pt x="293" y="214"/>
                    <a:pt x="293" y="214"/>
                    <a:pt x="293" y="214"/>
                  </a:cubicBezTo>
                  <a:cubicBezTo>
                    <a:pt x="293" y="206"/>
                    <a:pt x="293" y="206"/>
                    <a:pt x="293" y="206"/>
                  </a:cubicBezTo>
                  <a:cubicBezTo>
                    <a:pt x="289" y="206"/>
                    <a:pt x="289" y="206"/>
                    <a:pt x="289" y="206"/>
                  </a:cubicBezTo>
                  <a:lnTo>
                    <a:pt x="289" y="214"/>
                  </a:lnTo>
                  <a:close/>
                  <a:moveTo>
                    <a:pt x="289" y="182"/>
                  </a:moveTo>
                  <a:cubicBezTo>
                    <a:pt x="293" y="182"/>
                    <a:pt x="293" y="182"/>
                    <a:pt x="293" y="182"/>
                  </a:cubicBezTo>
                  <a:cubicBezTo>
                    <a:pt x="293" y="175"/>
                    <a:pt x="293" y="175"/>
                    <a:pt x="293" y="175"/>
                  </a:cubicBezTo>
                  <a:cubicBezTo>
                    <a:pt x="289" y="175"/>
                    <a:pt x="289" y="175"/>
                    <a:pt x="289" y="175"/>
                  </a:cubicBezTo>
                  <a:lnTo>
                    <a:pt x="289" y="182"/>
                  </a:lnTo>
                  <a:close/>
                  <a:moveTo>
                    <a:pt x="289" y="198"/>
                  </a:moveTo>
                  <a:cubicBezTo>
                    <a:pt x="293" y="198"/>
                    <a:pt x="293" y="198"/>
                    <a:pt x="293" y="198"/>
                  </a:cubicBezTo>
                  <a:cubicBezTo>
                    <a:pt x="293" y="190"/>
                    <a:pt x="293" y="190"/>
                    <a:pt x="293" y="190"/>
                  </a:cubicBezTo>
                  <a:cubicBezTo>
                    <a:pt x="289" y="190"/>
                    <a:pt x="289" y="190"/>
                    <a:pt x="289" y="190"/>
                  </a:cubicBezTo>
                  <a:lnTo>
                    <a:pt x="289" y="198"/>
                  </a:lnTo>
                  <a:close/>
                  <a:moveTo>
                    <a:pt x="283" y="111"/>
                  </a:moveTo>
                  <a:cubicBezTo>
                    <a:pt x="279" y="113"/>
                    <a:pt x="279" y="113"/>
                    <a:pt x="279" y="113"/>
                  </a:cubicBezTo>
                  <a:cubicBezTo>
                    <a:pt x="280" y="115"/>
                    <a:pt x="281" y="118"/>
                    <a:pt x="282" y="120"/>
                  </a:cubicBezTo>
                  <a:cubicBezTo>
                    <a:pt x="285" y="119"/>
                    <a:pt x="285" y="119"/>
                    <a:pt x="285" y="119"/>
                  </a:cubicBezTo>
                  <a:cubicBezTo>
                    <a:pt x="285" y="116"/>
                    <a:pt x="284" y="114"/>
                    <a:pt x="283" y="111"/>
                  </a:cubicBezTo>
                  <a:close/>
                  <a:moveTo>
                    <a:pt x="293" y="158"/>
                  </a:moveTo>
                  <a:cubicBezTo>
                    <a:pt x="289" y="159"/>
                    <a:pt x="289" y="159"/>
                    <a:pt x="289" y="159"/>
                  </a:cubicBezTo>
                  <a:cubicBezTo>
                    <a:pt x="289" y="161"/>
                    <a:pt x="289" y="163"/>
                    <a:pt x="289" y="166"/>
                  </a:cubicBezTo>
                  <a:cubicBezTo>
                    <a:pt x="289" y="167"/>
                    <a:pt x="289" y="167"/>
                    <a:pt x="289" y="167"/>
                  </a:cubicBezTo>
                  <a:cubicBezTo>
                    <a:pt x="293" y="167"/>
                    <a:pt x="293" y="167"/>
                    <a:pt x="293" y="167"/>
                  </a:cubicBezTo>
                  <a:cubicBezTo>
                    <a:pt x="293" y="166"/>
                    <a:pt x="293" y="166"/>
                    <a:pt x="293" y="166"/>
                  </a:cubicBezTo>
                  <a:cubicBezTo>
                    <a:pt x="293" y="163"/>
                    <a:pt x="293" y="161"/>
                    <a:pt x="293" y="158"/>
                  </a:cubicBezTo>
                  <a:close/>
                  <a:moveTo>
                    <a:pt x="283" y="276"/>
                  </a:moveTo>
                  <a:cubicBezTo>
                    <a:pt x="286" y="278"/>
                    <a:pt x="286" y="278"/>
                    <a:pt x="286" y="278"/>
                  </a:cubicBezTo>
                  <a:cubicBezTo>
                    <a:pt x="287" y="276"/>
                    <a:pt x="289" y="273"/>
                    <a:pt x="290" y="271"/>
                  </a:cubicBezTo>
                  <a:cubicBezTo>
                    <a:pt x="286" y="269"/>
                    <a:pt x="286" y="269"/>
                    <a:pt x="286" y="269"/>
                  </a:cubicBezTo>
                  <a:cubicBezTo>
                    <a:pt x="285" y="271"/>
                    <a:pt x="284" y="274"/>
                    <a:pt x="283" y="276"/>
                  </a:cubicBezTo>
                  <a:close/>
                  <a:moveTo>
                    <a:pt x="288" y="262"/>
                  </a:moveTo>
                  <a:cubicBezTo>
                    <a:pt x="292" y="263"/>
                    <a:pt x="292" y="263"/>
                    <a:pt x="292" y="263"/>
                  </a:cubicBezTo>
                  <a:cubicBezTo>
                    <a:pt x="293" y="260"/>
                    <a:pt x="293" y="257"/>
                    <a:pt x="293" y="254"/>
                  </a:cubicBezTo>
                  <a:cubicBezTo>
                    <a:pt x="293" y="254"/>
                    <a:pt x="293" y="254"/>
                    <a:pt x="293" y="254"/>
                  </a:cubicBezTo>
                  <a:cubicBezTo>
                    <a:pt x="289" y="254"/>
                    <a:pt x="289" y="254"/>
                    <a:pt x="289" y="254"/>
                  </a:cubicBezTo>
                  <a:cubicBezTo>
                    <a:pt x="289" y="257"/>
                    <a:pt x="289" y="259"/>
                    <a:pt x="288" y="262"/>
                  </a:cubicBezTo>
                  <a:close/>
                  <a:moveTo>
                    <a:pt x="289" y="230"/>
                  </a:moveTo>
                  <a:cubicBezTo>
                    <a:pt x="293" y="230"/>
                    <a:pt x="293" y="230"/>
                    <a:pt x="293" y="230"/>
                  </a:cubicBezTo>
                  <a:cubicBezTo>
                    <a:pt x="293" y="222"/>
                    <a:pt x="293" y="222"/>
                    <a:pt x="293" y="222"/>
                  </a:cubicBezTo>
                  <a:cubicBezTo>
                    <a:pt x="289" y="222"/>
                    <a:pt x="289" y="222"/>
                    <a:pt x="289" y="222"/>
                  </a:cubicBezTo>
                  <a:lnTo>
                    <a:pt x="289" y="230"/>
                  </a:lnTo>
                  <a:close/>
                  <a:moveTo>
                    <a:pt x="289" y="246"/>
                  </a:moveTo>
                  <a:cubicBezTo>
                    <a:pt x="293" y="246"/>
                    <a:pt x="293" y="246"/>
                    <a:pt x="293" y="246"/>
                  </a:cubicBezTo>
                  <a:cubicBezTo>
                    <a:pt x="293" y="238"/>
                    <a:pt x="293" y="238"/>
                    <a:pt x="293" y="238"/>
                  </a:cubicBezTo>
                  <a:cubicBezTo>
                    <a:pt x="289" y="238"/>
                    <a:pt x="289" y="238"/>
                    <a:pt x="289" y="238"/>
                  </a:cubicBezTo>
                  <a:lnTo>
                    <a:pt x="289" y="246"/>
                  </a:lnTo>
                  <a:close/>
                  <a:moveTo>
                    <a:pt x="4" y="119"/>
                  </a:moveTo>
                  <a:cubicBezTo>
                    <a:pt x="0" y="119"/>
                    <a:pt x="0" y="119"/>
                    <a:pt x="0" y="119"/>
                  </a:cubicBezTo>
                  <a:cubicBezTo>
                    <a:pt x="0" y="127"/>
                    <a:pt x="0" y="127"/>
                    <a:pt x="0" y="127"/>
                  </a:cubicBezTo>
                  <a:cubicBezTo>
                    <a:pt x="4" y="127"/>
                    <a:pt x="4" y="127"/>
                    <a:pt x="4" y="127"/>
                  </a:cubicBezTo>
                  <a:lnTo>
                    <a:pt x="4" y="119"/>
                  </a:lnTo>
                  <a:close/>
                  <a:moveTo>
                    <a:pt x="4" y="215"/>
                  </a:moveTo>
                  <a:cubicBezTo>
                    <a:pt x="0" y="215"/>
                    <a:pt x="0" y="215"/>
                    <a:pt x="0" y="215"/>
                  </a:cubicBezTo>
                  <a:cubicBezTo>
                    <a:pt x="0" y="223"/>
                    <a:pt x="0" y="223"/>
                    <a:pt x="0" y="223"/>
                  </a:cubicBezTo>
                  <a:cubicBezTo>
                    <a:pt x="4" y="223"/>
                    <a:pt x="4" y="223"/>
                    <a:pt x="4" y="223"/>
                  </a:cubicBezTo>
                  <a:lnTo>
                    <a:pt x="4" y="215"/>
                  </a:lnTo>
                  <a:close/>
                  <a:moveTo>
                    <a:pt x="115" y="296"/>
                  </a:moveTo>
                  <a:cubicBezTo>
                    <a:pt x="123" y="296"/>
                    <a:pt x="123" y="296"/>
                    <a:pt x="123" y="296"/>
                  </a:cubicBezTo>
                  <a:cubicBezTo>
                    <a:pt x="123" y="292"/>
                    <a:pt x="123" y="292"/>
                    <a:pt x="123" y="292"/>
                  </a:cubicBezTo>
                  <a:cubicBezTo>
                    <a:pt x="115" y="292"/>
                    <a:pt x="115" y="292"/>
                    <a:pt x="115" y="292"/>
                  </a:cubicBezTo>
                  <a:lnTo>
                    <a:pt x="115" y="296"/>
                  </a:lnTo>
                  <a:close/>
                  <a:moveTo>
                    <a:pt x="4" y="247"/>
                  </a:moveTo>
                  <a:cubicBezTo>
                    <a:pt x="0" y="247"/>
                    <a:pt x="0" y="247"/>
                    <a:pt x="0" y="247"/>
                  </a:cubicBezTo>
                  <a:cubicBezTo>
                    <a:pt x="0" y="255"/>
                    <a:pt x="0" y="255"/>
                    <a:pt x="0" y="255"/>
                  </a:cubicBezTo>
                  <a:cubicBezTo>
                    <a:pt x="4" y="255"/>
                    <a:pt x="4" y="255"/>
                    <a:pt x="4" y="255"/>
                  </a:cubicBezTo>
                  <a:lnTo>
                    <a:pt x="4" y="247"/>
                  </a:lnTo>
                  <a:close/>
                  <a:moveTo>
                    <a:pt x="4" y="231"/>
                  </a:moveTo>
                  <a:cubicBezTo>
                    <a:pt x="0" y="231"/>
                    <a:pt x="0" y="231"/>
                    <a:pt x="0" y="231"/>
                  </a:cubicBezTo>
                  <a:cubicBezTo>
                    <a:pt x="0" y="239"/>
                    <a:pt x="0" y="239"/>
                    <a:pt x="0" y="239"/>
                  </a:cubicBezTo>
                  <a:cubicBezTo>
                    <a:pt x="4" y="239"/>
                    <a:pt x="4" y="239"/>
                    <a:pt x="4" y="239"/>
                  </a:cubicBezTo>
                  <a:lnTo>
                    <a:pt x="4" y="231"/>
                  </a:lnTo>
                  <a:close/>
                  <a:moveTo>
                    <a:pt x="4" y="183"/>
                  </a:moveTo>
                  <a:cubicBezTo>
                    <a:pt x="0" y="183"/>
                    <a:pt x="0" y="183"/>
                    <a:pt x="0" y="183"/>
                  </a:cubicBezTo>
                  <a:cubicBezTo>
                    <a:pt x="0" y="191"/>
                    <a:pt x="0" y="191"/>
                    <a:pt x="0" y="191"/>
                  </a:cubicBezTo>
                  <a:cubicBezTo>
                    <a:pt x="4" y="191"/>
                    <a:pt x="4" y="191"/>
                    <a:pt x="4" y="191"/>
                  </a:cubicBezTo>
                  <a:lnTo>
                    <a:pt x="4" y="183"/>
                  </a:lnTo>
                  <a:close/>
                  <a:moveTo>
                    <a:pt x="4" y="135"/>
                  </a:moveTo>
                  <a:cubicBezTo>
                    <a:pt x="0" y="135"/>
                    <a:pt x="0" y="135"/>
                    <a:pt x="0" y="135"/>
                  </a:cubicBezTo>
                  <a:cubicBezTo>
                    <a:pt x="0" y="143"/>
                    <a:pt x="0" y="143"/>
                    <a:pt x="0" y="143"/>
                  </a:cubicBezTo>
                  <a:cubicBezTo>
                    <a:pt x="4" y="143"/>
                    <a:pt x="4" y="143"/>
                    <a:pt x="4" y="143"/>
                  </a:cubicBezTo>
                  <a:lnTo>
                    <a:pt x="4" y="135"/>
                  </a:lnTo>
                  <a:close/>
                  <a:moveTo>
                    <a:pt x="4" y="104"/>
                  </a:moveTo>
                  <a:cubicBezTo>
                    <a:pt x="0" y="104"/>
                    <a:pt x="0" y="104"/>
                    <a:pt x="0" y="104"/>
                  </a:cubicBezTo>
                  <a:cubicBezTo>
                    <a:pt x="0" y="112"/>
                    <a:pt x="0" y="112"/>
                    <a:pt x="0" y="112"/>
                  </a:cubicBezTo>
                  <a:cubicBezTo>
                    <a:pt x="4" y="112"/>
                    <a:pt x="4" y="112"/>
                    <a:pt x="4" y="112"/>
                  </a:cubicBezTo>
                  <a:lnTo>
                    <a:pt x="4" y="104"/>
                  </a:lnTo>
                  <a:close/>
                  <a:moveTo>
                    <a:pt x="4" y="167"/>
                  </a:moveTo>
                  <a:cubicBezTo>
                    <a:pt x="0" y="167"/>
                    <a:pt x="0" y="167"/>
                    <a:pt x="0" y="167"/>
                  </a:cubicBezTo>
                  <a:cubicBezTo>
                    <a:pt x="0" y="175"/>
                    <a:pt x="0" y="175"/>
                    <a:pt x="0" y="175"/>
                  </a:cubicBezTo>
                  <a:cubicBezTo>
                    <a:pt x="4" y="175"/>
                    <a:pt x="4" y="175"/>
                    <a:pt x="4" y="175"/>
                  </a:cubicBezTo>
                  <a:lnTo>
                    <a:pt x="4" y="167"/>
                  </a:lnTo>
                  <a:close/>
                  <a:moveTo>
                    <a:pt x="4" y="151"/>
                  </a:moveTo>
                  <a:cubicBezTo>
                    <a:pt x="0" y="151"/>
                    <a:pt x="0" y="151"/>
                    <a:pt x="0" y="151"/>
                  </a:cubicBezTo>
                  <a:cubicBezTo>
                    <a:pt x="0" y="159"/>
                    <a:pt x="0" y="159"/>
                    <a:pt x="0" y="159"/>
                  </a:cubicBezTo>
                  <a:cubicBezTo>
                    <a:pt x="4" y="159"/>
                    <a:pt x="4" y="159"/>
                    <a:pt x="4" y="159"/>
                  </a:cubicBezTo>
                  <a:lnTo>
                    <a:pt x="4" y="151"/>
                  </a:lnTo>
                  <a:close/>
                  <a:moveTo>
                    <a:pt x="4" y="199"/>
                  </a:moveTo>
                  <a:cubicBezTo>
                    <a:pt x="0" y="199"/>
                    <a:pt x="0" y="199"/>
                    <a:pt x="0" y="199"/>
                  </a:cubicBezTo>
                  <a:cubicBezTo>
                    <a:pt x="0" y="207"/>
                    <a:pt x="0" y="207"/>
                    <a:pt x="0" y="207"/>
                  </a:cubicBezTo>
                  <a:cubicBezTo>
                    <a:pt x="4" y="207"/>
                    <a:pt x="4" y="207"/>
                    <a:pt x="4" y="207"/>
                  </a:cubicBezTo>
                  <a:lnTo>
                    <a:pt x="4" y="199"/>
                  </a:lnTo>
                  <a:close/>
                  <a:moveTo>
                    <a:pt x="51" y="296"/>
                  </a:moveTo>
                  <a:cubicBezTo>
                    <a:pt x="59" y="296"/>
                    <a:pt x="59" y="296"/>
                    <a:pt x="59" y="296"/>
                  </a:cubicBezTo>
                  <a:cubicBezTo>
                    <a:pt x="59" y="292"/>
                    <a:pt x="59" y="292"/>
                    <a:pt x="59" y="292"/>
                  </a:cubicBezTo>
                  <a:cubicBezTo>
                    <a:pt x="51" y="292"/>
                    <a:pt x="51" y="292"/>
                    <a:pt x="51" y="292"/>
                  </a:cubicBezTo>
                  <a:lnTo>
                    <a:pt x="51" y="296"/>
                  </a:lnTo>
                  <a:close/>
                  <a:moveTo>
                    <a:pt x="83" y="296"/>
                  </a:moveTo>
                  <a:cubicBezTo>
                    <a:pt x="91" y="296"/>
                    <a:pt x="91" y="296"/>
                    <a:pt x="91" y="296"/>
                  </a:cubicBezTo>
                  <a:cubicBezTo>
                    <a:pt x="91" y="292"/>
                    <a:pt x="91" y="292"/>
                    <a:pt x="91" y="292"/>
                  </a:cubicBezTo>
                  <a:cubicBezTo>
                    <a:pt x="83" y="292"/>
                    <a:pt x="83" y="292"/>
                    <a:pt x="83" y="292"/>
                  </a:cubicBezTo>
                  <a:lnTo>
                    <a:pt x="83" y="296"/>
                  </a:lnTo>
                  <a:close/>
                  <a:moveTo>
                    <a:pt x="67" y="296"/>
                  </a:moveTo>
                  <a:cubicBezTo>
                    <a:pt x="75" y="296"/>
                    <a:pt x="75" y="296"/>
                    <a:pt x="75" y="296"/>
                  </a:cubicBezTo>
                  <a:cubicBezTo>
                    <a:pt x="75" y="292"/>
                    <a:pt x="75" y="292"/>
                    <a:pt x="75" y="292"/>
                  </a:cubicBezTo>
                  <a:cubicBezTo>
                    <a:pt x="67" y="292"/>
                    <a:pt x="67" y="292"/>
                    <a:pt x="67" y="292"/>
                  </a:cubicBezTo>
                  <a:lnTo>
                    <a:pt x="67" y="296"/>
                  </a:lnTo>
                  <a:close/>
                  <a:moveTo>
                    <a:pt x="99" y="296"/>
                  </a:moveTo>
                  <a:cubicBezTo>
                    <a:pt x="107" y="296"/>
                    <a:pt x="107" y="296"/>
                    <a:pt x="107" y="296"/>
                  </a:cubicBezTo>
                  <a:cubicBezTo>
                    <a:pt x="107" y="292"/>
                    <a:pt x="107" y="292"/>
                    <a:pt x="107" y="292"/>
                  </a:cubicBezTo>
                  <a:cubicBezTo>
                    <a:pt x="99" y="292"/>
                    <a:pt x="99" y="292"/>
                    <a:pt x="99" y="292"/>
                  </a:cubicBezTo>
                  <a:lnTo>
                    <a:pt x="99" y="296"/>
                  </a:lnTo>
                  <a:close/>
                  <a:moveTo>
                    <a:pt x="20" y="290"/>
                  </a:moveTo>
                  <a:cubicBezTo>
                    <a:pt x="22" y="291"/>
                    <a:pt x="24" y="293"/>
                    <a:pt x="27" y="294"/>
                  </a:cubicBezTo>
                  <a:cubicBezTo>
                    <a:pt x="28" y="290"/>
                    <a:pt x="28" y="290"/>
                    <a:pt x="28" y="290"/>
                  </a:cubicBezTo>
                  <a:cubicBezTo>
                    <a:pt x="26" y="289"/>
                    <a:pt x="24" y="288"/>
                    <a:pt x="22" y="286"/>
                  </a:cubicBezTo>
                  <a:lnTo>
                    <a:pt x="20" y="290"/>
                  </a:lnTo>
                  <a:close/>
                  <a:moveTo>
                    <a:pt x="7" y="278"/>
                  </a:moveTo>
                  <a:cubicBezTo>
                    <a:pt x="9" y="281"/>
                    <a:pt x="11" y="283"/>
                    <a:pt x="13" y="285"/>
                  </a:cubicBezTo>
                  <a:cubicBezTo>
                    <a:pt x="16" y="282"/>
                    <a:pt x="16" y="282"/>
                    <a:pt x="16" y="282"/>
                  </a:cubicBezTo>
                  <a:cubicBezTo>
                    <a:pt x="14" y="280"/>
                    <a:pt x="12" y="278"/>
                    <a:pt x="11" y="276"/>
                  </a:cubicBezTo>
                  <a:lnTo>
                    <a:pt x="7" y="278"/>
                  </a:lnTo>
                  <a:close/>
                  <a:moveTo>
                    <a:pt x="36" y="292"/>
                  </a:moveTo>
                  <a:cubicBezTo>
                    <a:pt x="35" y="296"/>
                    <a:pt x="35" y="296"/>
                    <a:pt x="35" y="296"/>
                  </a:cubicBezTo>
                  <a:cubicBezTo>
                    <a:pt x="37" y="296"/>
                    <a:pt x="40" y="296"/>
                    <a:pt x="42" y="296"/>
                  </a:cubicBezTo>
                  <a:cubicBezTo>
                    <a:pt x="43" y="296"/>
                    <a:pt x="43" y="296"/>
                    <a:pt x="43" y="296"/>
                  </a:cubicBezTo>
                  <a:cubicBezTo>
                    <a:pt x="43" y="292"/>
                    <a:pt x="43" y="292"/>
                    <a:pt x="43" y="292"/>
                  </a:cubicBezTo>
                  <a:cubicBezTo>
                    <a:pt x="42" y="292"/>
                    <a:pt x="42" y="292"/>
                    <a:pt x="42" y="292"/>
                  </a:cubicBezTo>
                  <a:cubicBezTo>
                    <a:pt x="40" y="292"/>
                    <a:pt x="38" y="292"/>
                    <a:pt x="36" y="292"/>
                  </a:cubicBezTo>
                  <a:close/>
                  <a:moveTo>
                    <a:pt x="1" y="263"/>
                  </a:moveTo>
                  <a:cubicBezTo>
                    <a:pt x="1" y="266"/>
                    <a:pt x="2" y="269"/>
                    <a:pt x="3" y="271"/>
                  </a:cubicBezTo>
                  <a:cubicBezTo>
                    <a:pt x="7" y="269"/>
                    <a:pt x="7" y="269"/>
                    <a:pt x="7" y="269"/>
                  </a:cubicBezTo>
                  <a:cubicBezTo>
                    <a:pt x="6" y="267"/>
                    <a:pt x="5" y="265"/>
                    <a:pt x="5" y="262"/>
                  </a:cubicBezTo>
                  <a:lnTo>
                    <a:pt x="1" y="26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36" name="Group 35"/>
          <p:cNvGrpSpPr/>
          <p:nvPr/>
        </p:nvGrpSpPr>
        <p:grpSpPr>
          <a:xfrm>
            <a:off x="1275091" y="3765266"/>
            <a:ext cx="1785007" cy="685800"/>
            <a:chOff x="1699678" y="4860859"/>
            <a:chExt cx="2379390" cy="914400"/>
          </a:xfrm>
        </p:grpSpPr>
        <p:sp>
          <p:nvSpPr>
            <p:cNvPr id="58" name="Freeform 57"/>
            <p:cNvSpPr/>
            <p:nvPr/>
          </p:nvSpPr>
          <p:spPr>
            <a:xfrm>
              <a:off x="1699678" y="4860859"/>
              <a:ext cx="2379390"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685609" fontAlgn="base">
                <a:spcBef>
                  <a:spcPct val="0"/>
                </a:spcBef>
                <a:spcAft>
                  <a:spcPct val="0"/>
                </a:spcAft>
              </a:pPr>
              <a:endParaRPr lang="en-US" sz="1500" dirty="0">
                <a:gradFill>
                  <a:gsLst>
                    <a:gs pos="0">
                      <a:srgbClr val="FFFFFF"/>
                    </a:gs>
                    <a:gs pos="100000">
                      <a:srgbClr val="FFFFFF"/>
                    </a:gs>
                  </a:gsLst>
                  <a:lin ang="5400000" scaled="0"/>
                </a:gradFill>
              </a:endParaRPr>
            </a:p>
          </p:txBody>
        </p:sp>
        <p:grpSp>
          <p:nvGrpSpPr>
            <p:cNvPr id="35" name="Group 34"/>
            <p:cNvGrpSpPr/>
            <p:nvPr/>
          </p:nvGrpSpPr>
          <p:grpSpPr>
            <a:xfrm>
              <a:off x="2496910" y="4922508"/>
              <a:ext cx="784927" cy="791107"/>
              <a:chOff x="2361279" y="4922508"/>
              <a:chExt cx="784927" cy="791107"/>
            </a:xfrm>
          </p:grpSpPr>
          <p:sp>
            <p:nvSpPr>
              <p:cNvPr id="103" name="Freeform 17"/>
              <p:cNvSpPr>
                <a:spLocks noChangeAspect="1" noEditPoints="1"/>
              </p:cNvSpPr>
              <p:nvPr/>
            </p:nvSpPr>
            <p:spPr bwMode="auto">
              <a:xfrm>
                <a:off x="2361279" y="4922508"/>
                <a:ext cx="386858" cy="390210"/>
              </a:xfrm>
              <a:custGeom>
                <a:avLst/>
                <a:gdLst>
                  <a:gd name="T0" fmla="*/ 57 w 293"/>
                  <a:gd name="T1" fmla="*/ 195 h 296"/>
                  <a:gd name="T2" fmla="*/ 112 w 293"/>
                  <a:gd name="T3" fmla="*/ 187 h 296"/>
                  <a:gd name="T4" fmla="*/ 229 w 293"/>
                  <a:gd name="T5" fmla="*/ 213 h 296"/>
                  <a:gd name="T6" fmla="*/ 44 w 293"/>
                  <a:gd name="T7" fmla="*/ 120 h 296"/>
                  <a:gd name="T8" fmla="*/ 61 w 293"/>
                  <a:gd name="T9" fmla="*/ 101 h 296"/>
                  <a:gd name="T10" fmla="*/ 44 w 293"/>
                  <a:gd name="T11" fmla="*/ 217 h 296"/>
                  <a:gd name="T12" fmla="*/ 52 w 293"/>
                  <a:gd name="T13" fmla="*/ 236 h 296"/>
                  <a:gd name="T14" fmla="*/ 183 w 293"/>
                  <a:gd name="T15" fmla="*/ 236 h 296"/>
                  <a:gd name="T16" fmla="*/ 223 w 293"/>
                  <a:gd name="T17" fmla="*/ 244 h 296"/>
                  <a:gd name="T18" fmla="*/ 229 w 293"/>
                  <a:gd name="T19" fmla="*/ 179 h 296"/>
                  <a:gd name="T20" fmla="*/ 223 w 293"/>
                  <a:gd name="T21" fmla="*/ 143 h 296"/>
                  <a:gd name="T22" fmla="*/ 32 w 293"/>
                  <a:gd name="T23" fmla="*/ 139 h 296"/>
                  <a:gd name="T24" fmla="*/ 56 w 293"/>
                  <a:gd name="T25" fmla="*/ 142 h 296"/>
                  <a:gd name="T26" fmla="*/ 179 w 293"/>
                  <a:gd name="T27" fmla="*/ 150 h 296"/>
                  <a:gd name="T28" fmla="*/ 57 w 293"/>
                  <a:gd name="T29" fmla="*/ 60 h 296"/>
                  <a:gd name="T30" fmla="*/ 112 w 293"/>
                  <a:gd name="T31" fmla="*/ 52 h 296"/>
                  <a:gd name="T32" fmla="*/ 261 w 293"/>
                  <a:gd name="T33" fmla="*/ 194 h 296"/>
                  <a:gd name="T34" fmla="*/ 277 w 293"/>
                  <a:gd name="T35" fmla="*/ 147 h 296"/>
                  <a:gd name="T36" fmla="*/ 246 w 293"/>
                  <a:gd name="T37" fmla="*/ 279 h 296"/>
                  <a:gd name="T38" fmla="*/ 261 w 293"/>
                  <a:gd name="T39" fmla="*/ 254 h 296"/>
                  <a:gd name="T40" fmla="*/ 223 w 293"/>
                  <a:gd name="T41" fmla="*/ 87 h 296"/>
                  <a:gd name="T42" fmla="*/ 253 w 293"/>
                  <a:gd name="T43" fmla="*/ 254 h 296"/>
                  <a:gd name="T44" fmla="*/ 79 w 293"/>
                  <a:gd name="T45" fmla="*/ 272 h 296"/>
                  <a:gd name="T46" fmla="*/ 43 w 293"/>
                  <a:gd name="T47" fmla="*/ 23 h 296"/>
                  <a:gd name="T48" fmla="*/ 226 w 293"/>
                  <a:gd name="T49" fmla="*/ 109 h 296"/>
                  <a:gd name="T50" fmla="*/ 4 w 293"/>
                  <a:gd name="T51" fmla="*/ 96 h 296"/>
                  <a:gd name="T52" fmla="*/ 61 w 293"/>
                  <a:gd name="T53" fmla="*/ 4 h 296"/>
                  <a:gd name="T54" fmla="*/ 4 w 293"/>
                  <a:gd name="T55" fmla="*/ 24 h 296"/>
                  <a:gd name="T56" fmla="*/ 69 w 293"/>
                  <a:gd name="T57" fmla="*/ 0 h 296"/>
                  <a:gd name="T58" fmla="*/ 0 w 293"/>
                  <a:gd name="T59" fmla="*/ 56 h 296"/>
                  <a:gd name="T60" fmla="*/ 4 w 293"/>
                  <a:gd name="T61" fmla="*/ 42 h 296"/>
                  <a:gd name="T62" fmla="*/ 4 w 293"/>
                  <a:gd name="T63" fmla="*/ 72 h 296"/>
                  <a:gd name="T64" fmla="*/ 109 w 293"/>
                  <a:gd name="T65" fmla="*/ 0 h 296"/>
                  <a:gd name="T66" fmla="*/ 259 w 293"/>
                  <a:gd name="T67" fmla="*/ 61 h 296"/>
                  <a:gd name="T68" fmla="*/ 274 w 293"/>
                  <a:gd name="T69" fmla="*/ 89 h 296"/>
                  <a:gd name="T70" fmla="*/ 243 w 293"/>
                  <a:gd name="T71" fmla="*/ 33 h 296"/>
                  <a:gd name="T72" fmla="*/ 205 w 293"/>
                  <a:gd name="T73" fmla="*/ 4 h 296"/>
                  <a:gd name="T74" fmla="*/ 172 w 293"/>
                  <a:gd name="T75" fmla="*/ 0 h 296"/>
                  <a:gd name="T76" fmla="*/ 210 w 293"/>
                  <a:gd name="T77" fmla="*/ 11 h 296"/>
                  <a:gd name="T78" fmla="*/ 291 w 293"/>
                  <a:gd name="T79" fmla="*/ 142 h 296"/>
                  <a:gd name="T80" fmla="*/ 234 w 293"/>
                  <a:gd name="T81" fmla="*/ 292 h 296"/>
                  <a:gd name="T82" fmla="*/ 218 w 293"/>
                  <a:gd name="T83" fmla="*/ 292 h 296"/>
                  <a:gd name="T84" fmla="*/ 171 w 293"/>
                  <a:gd name="T85" fmla="*/ 292 h 296"/>
                  <a:gd name="T86" fmla="*/ 203 w 293"/>
                  <a:gd name="T87" fmla="*/ 292 h 296"/>
                  <a:gd name="T88" fmla="*/ 281 w 293"/>
                  <a:gd name="T89" fmla="*/ 284 h 296"/>
                  <a:gd name="T90" fmla="*/ 293 w 293"/>
                  <a:gd name="T91" fmla="*/ 175 h 296"/>
                  <a:gd name="T92" fmla="*/ 282 w 293"/>
                  <a:gd name="T93" fmla="*/ 120 h 296"/>
                  <a:gd name="T94" fmla="*/ 283 w 293"/>
                  <a:gd name="T95" fmla="*/ 276 h 296"/>
                  <a:gd name="T96" fmla="*/ 288 w 293"/>
                  <a:gd name="T97" fmla="*/ 262 h 296"/>
                  <a:gd name="T98" fmla="*/ 289 w 293"/>
                  <a:gd name="T99" fmla="*/ 246 h 296"/>
                  <a:gd name="T100" fmla="*/ 4 w 293"/>
                  <a:gd name="T101" fmla="*/ 215 h 296"/>
                  <a:gd name="T102" fmla="*/ 4 w 293"/>
                  <a:gd name="T103" fmla="*/ 247 h 296"/>
                  <a:gd name="T104" fmla="*/ 4 w 293"/>
                  <a:gd name="T105" fmla="*/ 183 h 296"/>
                  <a:gd name="T106" fmla="*/ 4 w 293"/>
                  <a:gd name="T107" fmla="*/ 104 h 296"/>
                  <a:gd name="T108" fmla="*/ 4 w 293"/>
                  <a:gd name="T109" fmla="*/ 151 h 296"/>
                  <a:gd name="T110" fmla="*/ 51 w 293"/>
                  <a:gd name="T111" fmla="*/ 296 h 296"/>
                  <a:gd name="T112" fmla="*/ 67 w 293"/>
                  <a:gd name="T113" fmla="*/ 296 h 296"/>
                  <a:gd name="T114" fmla="*/ 20 w 293"/>
                  <a:gd name="T115" fmla="*/ 290 h 296"/>
                  <a:gd name="T116" fmla="*/ 43 w 293"/>
                  <a:gd name="T117" fmla="*/ 29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3" h="296">
                    <a:moveTo>
                      <a:pt x="187" y="172"/>
                    </a:moveTo>
                    <a:cubicBezTo>
                      <a:pt x="44" y="172"/>
                      <a:pt x="44" y="172"/>
                      <a:pt x="44" y="172"/>
                    </a:cubicBezTo>
                    <a:cubicBezTo>
                      <a:pt x="38" y="172"/>
                      <a:pt x="32" y="178"/>
                      <a:pt x="32" y="184"/>
                    </a:cubicBezTo>
                    <a:cubicBezTo>
                      <a:pt x="32" y="198"/>
                      <a:pt x="32" y="198"/>
                      <a:pt x="32" y="198"/>
                    </a:cubicBezTo>
                    <a:cubicBezTo>
                      <a:pt x="32" y="205"/>
                      <a:pt x="38" y="210"/>
                      <a:pt x="44" y="210"/>
                    </a:cubicBezTo>
                    <a:cubicBezTo>
                      <a:pt x="187" y="210"/>
                      <a:pt x="187" y="210"/>
                      <a:pt x="187" y="210"/>
                    </a:cubicBezTo>
                    <a:cubicBezTo>
                      <a:pt x="194" y="210"/>
                      <a:pt x="199" y="205"/>
                      <a:pt x="199" y="198"/>
                    </a:cubicBezTo>
                    <a:cubicBezTo>
                      <a:pt x="199" y="184"/>
                      <a:pt x="199" y="184"/>
                      <a:pt x="199" y="184"/>
                    </a:cubicBezTo>
                    <a:cubicBezTo>
                      <a:pt x="199" y="178"/>
                      <a:pt x="194" y="172"/>
                      <a:pt x="187" y="172"/>
                    </a:cubicBezTo>
                    <a:close/>
                    <a:moveTo>
                      <a:pt x="57" y="195"/>
                    </a:moveTo>
                    <a:cubicBezTo>
                      <a:pt x="56" y="195"/>
                      <a:pt x="56" y="195"/>
                      <a:pt x="56" y="195"/>
                    </a:cubicBezTo>
                    <a:cubicBezTo>
                      <a:pt x="54" y="195"/>
                      <a:pt x="52" y="193"/>
                      <a:pt x="52" y="191"/>
                    </a:cubicBezTo>
                    <a:cubicBezTo>
                      <a:pt x="52" y="189"/>
                      <a:pt x="54" y="187"/>
                      <a:pt x="56" y="187"/>
                    </a:cubicBezTo>
                    <a:cubicBezTo>
                      <a:pt x="57" y="187"/>
                      <a:pt x="57" y="187"/>
                      <a:pt x="57" y="187"/>
                    </a:cubicBezTo>
                    <a:cubicBezTo>
                      <a:pt x="59" y="187"/>
                      <a:pt x="61" y="189"/>
                      <a:pt x="61" y="191"/>
                    </a:cubicBezTo>
                    <a:cubicBezTo>
                      <a:pt x="61" y="193"/>
                      <a:pt x="59" y="195"/>
                      <a:pt x="57" y="195"/>
                    </a:cubicBezTo>
                    <a:close/>
                    <a:moveTo>
                      <a:pt x="179" y="195"/>
                    </a:moveTo>
                    <a:cubicBezTo>
                      <a:pt x="112" y="195"/>
                      <a:pt x="112" y="195"/>
                      <a:pt x="112" y="195"/>
                    </a:cubicBezTo>
                    <a:cubicBezTo>
                      <a:pt x="110" y="195"/>
                      <a:pt x="108" y="193"/>
                      <a:pt x="108" y="191"/>
                    </a:cubicBezTo>
                    <a:cubicBezTo>
                      <a:pt x="108" y="189"/>
                      <a:pt x="110" y="187"/>
                      <a:pt x="112" y="187"/>
                    </a:cubicBezTo>
                    <a:cubicBezTo>
                      <a:pt x="179" y="187"/>
                      <a:pt x="179" y="187"/>
                      <a:pt x="179" y="187"/>
                    </a:cubicBezTo>
                    <a:cubicBezTo>
                      <a:pt x="181" y="187"/>
                      <a:pt x="183" y="189"/>
                      <a:pt x="183" y="191"/>
                    </a:cubicBezTo>
                    <a:cubicBezTo>
                      <a:pt x="183" y="193"/>
                      <a:pt x="181" y="195"/>
                      <a:pt x="179" y="195"/>
                    </a:cubicBezTo>
                    <a:close/>
                    <a:moveTo>
                      <a:pt x="241" y="218"/>
                    </a:moveTo>
                    <a:cubicBezTo>
                      <a:pt x="241" y="208"/>
                      <a:pt x="241" y="208"/>
                      <a:pt x="241" y="208"/>
                    </a:cubicBezTo>
                    <a:cubicBezTo>
                      <a:pt x="241" y="203"/>
                      <a:pt x="237" y="199"/>
                      <a:pt x="232" y="199"/>
                    </a:cubicBezTo>
                    <a:cubicBezTo>
                      <a:pt x="223" y="199"/>
                      <a:pt x="223" y="199"/>
                      <a:pt x="223" y="199"/>
                    </a:cubicBezTo>
                    <a:cubicBezTo>
                      <a:pt x="223" y="210"/>
                      <a:pt x="223" y="210"/>
                      <a:pt x="223" y="210"/>
                    </a:cubicBezTo>
                    <a:cubicBezTo>
                      <a:pt x="226" y="210"/>
                      <a:pt x="226" y="210"/>
                      <a:pt x="226" y="210"/>
                    </a:cubicBezTo>
                    <a:cubicBezTo>
                      <a:pt x="228" y="210"/>
                      <a:pt x="229" y="212"/>
                      <a:pt x="229" y="213"/>
                    </a:cubicBezTo>
                    <a:cubicBezTo>
                      <a:pt x="229" y="215"/>
                      <a:pt x="228" y="216"/>
                      <a:pt x="226" y="216"/>
                    </a:cubicBezTo>
                    <a:cubicBezTo>
                      <a:pt x="223" y="216"/>
                      <a:pt x="223" y="216"/>
                      <a:pt x="223" y="216"/>
                    </a:cubicBezTo>
                    <a:cubicBezTo>
                      <a:pt x="223" y="227"/>
                      <a:pt x="223" y="227"/>
                      <a:pt x="223" y="227"/>
                    </a:cubicBezTo>
                    <a:cubicBezTo>
                      <a:pt x="232" y="227"/>
                      <a:pt x="232" y="227"/>
                      <a:pt x="232" y="227"/>
                    </a:cubicBezTo>
                    <a:cubicBezTo>
                      <a:pt x="237" y="227"/>
                      <a:pt x="241" y="223"/>
                      <a:pt x="241" y="218"/>
                    </a:cubicBezTo>
                    <a:close/>
                    <a:moveTo>
                      <a:pt x="187" y="82"/>
                    </a:moveTo>
                    <a:cubicBezTo>
                      <a:pt x="44" y="82"/>
                      <a:pt x="44" y="82"/>
                      <a:pt x="44" y="82"/>
                    </a:cubicBezTo>
                    <a:cubicBezTo>
                      <a:pt x="38" y="82"/>
                      <a:pt x="32" y="88"/>
                      <a:pt x="32" y="94"/>
                    </a:cubicBezTo>
                    <a:cubicBezTo>
                      <a:pt x="32" y="108"/>
                      <a:pt x="32" y="108"/>
                      <a:pt x="32" y="108"/>
                    </a:cubicBezTo>
                    <a:cubicBezTo>
                      <a:pt x="32" y="115"/>
                      <a:pt x="38" y="120"/>
                      <a:pt x="44" y="120"/>
                    </a:cubicBezTo>
                    <a:cubicBezTo>
                      <a:pt x="187" y="120"/>
                      <a:pt x="187" y="120"/>
                      <a:pt x="187" y="120"/>
                    </a:cubicBezTo>
                    <a:cubicBezTo>
                      <a:pt x="194" y="120"/>
                      <a:pt x="199" y="115"/>
                      <a:pt x="199" y="108"/>
                    </a:cubicBezTo>
                    <a:cubicBezTo>
                      <a:pt x="199" y="94"/>
                      <a:pt x="199" y="94"/>
                      <a:pt x="199" y="94"/>
                    </a:cubicBezTo>
                    <a:cubicBezTo>
                      <a:pt x="199" y="88"/>
                      <a:pt x="194" y="82"/>
                      <a:pt x="187" y="82"/>
                    </a:cubicBezTo>
                    <a:close/>
                    <a:moveTo>
                      <a:pt x="57" y="105"/>
                    </a:moveTo>
                    <a:cubicBezTo>
                      <a:pt x="56" y="105"/>
                      <a:pt x="56" y="105"/>
                      <a:pt x="56" y="105"/>
                    </a:cubicBezTo>
                    <a:cubicBezTo>
                      <a:pt x="54" y="105"/>
                      <a:pt x="52" y="103"/>
                      <a:pt x="52" y="101"/>
                    </a:cubicBezTo>
                    <a:cubicBezTo>
                      <a:pt x="52" y="99"/>
                      <a:pt x="54" y="97"/>
                      <a:pt x="56" y="97"/>
                    </a:cubicBezTo>
                    <a:cubicBezTo>
                      <a:pt x="57" y="97"/>
                      <a:pt x="57" y="97"/>
                      <a:pt x="57" y="97"/>
                    </a:cubicBezTo>
                    <a:cubicBezTo>
                      <a:pt x="59" y="97"/>
                      <a:pt x="61" y="99"/>
                      <a:pt x="61" y="101"/>
                    </a:cubicBezTo>
                    <a:cubicBezTo>
                      <a:pt x="61" y="103"/>
                      <a:pt x="59" y="105"/>
                      <a:pt x="57" y="105"/>
                    </a:cubicBezTo>
                    <a:close/>
                    <a:moveTo>
                      <a:pt x="179" y="105"/>
                    </a:moveTo>
                    <a:cubicBezTo>
                      <a:pt x="112" y="105"/>
                      <a:pt x="112" y="105"/>
                      <a:pt x="112" y="105"/>
                    </a:cubicBezTo>
                    <a:cubicBezTo>
                      <a:pt x="110" y="105"/>
                      <a:pt x="108" y="103"/>
                      <a:pt x="108" y="101"/>
                    </a:cubicBezTo>
                    <a:cubicBezTo>
                      <a:pt x="108" y="99"/>
                      <a:pt x="110" y="97"/>
                      <a:pt x="112" y="97"/>
                    </a:cubicBezTo>
                    <a:cubicBezTo>
                      <a:pt x="179" y="97"/>
                      <a:pt x="179" y="97"/>
                      <a:pt x="179" y="97"/>
                    </a:cubicBezTo>
                    <a:cubicBezTo>
                      <a:pt x="181" y="97"/>
                      <a:pt x="183" y="99"/>
                      <a:pt x="183" y="101"/>
                    </a:cubicBezTo>
                    <a:cubicBezTo>
                      <a:pt x="183" y="103"/>
                      <a:pt x="181" y="105"/>
                      <a:pt x="179" y="105"/>
                    </a:cubicBezTo>
                    <a:close/>
                    <a:moveTo>
                      <a:pt x="187" y="217"/>
                    </a:moveTo>
                    <a:cubicBezTo>
                      <a:pt x="44" y="217"/>
                      <a:pt x="44" y="217"/>
                      <a:pt x="44" y="217"/>
                    </a:cubicBezTo>
                    <a:cubicBezTo>
                      <a:pt x="38" y="217"/>
                      <a:pt x="32" y="223"/>
                      <a:pt x="32" y="229"/>
                    </a:cubicBezTo>
                    <a:cubicBezTo>
                      <a:pt x="32" y="243"/>
                      <a:pt x="32" y="243"/>
                      <a:pt x="32" y="243"/>
                    </a:cubicBezTo>
                    <a:cubicBezTo>
                      <a:pt x="32" y="250"/>
                      <a:pt x="38" y="255"/>
                      <a:pt x="44" y="255"/>
                    </a:cubicBezTo>
                    <a:cubicBezTo>
                      <a:pt x="187" y="255"/>
                      <a:pt x="187" y="255"/>
                      <a:pt x="187" y="255"/>
                    </a:cubicBezTo>
                    <a:cubicBezTo>
                      <a:pt x="194" y="255"/>
                      <a:pt x="199" y="250"/>
                      <a:pt x="199" y="243"/>
                    </a:cubicBezTo>
                    <a:cubicBezTo>
                      <a:pt x="199" y="229"/>
                      <a:pt x="199" y="229"/>
                      <a:pt x="199" y="229"/>
                    </a:cubicBezTo>
                    <a:cubicBezTo>
                      <a:pt x="199" y="223"/>
                      <a:pt x="194" y="217"/>
                      <a:pt x="187" y="217"/>
                    </a:cubicBezTo>
                    <a:close/>
                    <a:moveTo>
                      <a:pt x="57" y="240"/>
                    </a:moveTo>
                    <a:cubicBezTo>
                      <a:pt x="56" y="240"/>
                      <a:pt x="56" y="240"/>
                      <a:pt x="56" y="240"/>
                    </a:cubicBezTo>
                    <a:cubicBezTo>
                      <a:pt x="54" y="240"/>
                      <a:pt x="52" y="238"/>
                      <a:pt x="52" y="236"/>
                    </a:cubicBezTo>
                    <a:cubicBezTo>
                      <a:pt x="52" y="234"/>
                      <a:pt x="54" y="232"/>
                      <a:pt x="56" y="232"/>
                    </a:cubicBezTo>
                    <a:cubicBezTo>
                      <a:pt x="57" y="232"/>
                      <a:pt x="57" y="232"/>
                      <a:pt x="57" y="232"/>
                    </a:cubicBezTo>
                    <a:cubicBezTo>
                      <a:pt x="59" y="232"/>
                      <a:pt x="61" y="234"/>
                      <a:pt x="61" y="236"/>
                    </a:cubicBezTo>
                    <a:cubicBezTo>
                      <a:pt x="61" y="238"/>
                      <a:pt x="59" y="240"/>
                      <a:pt x="57" y="240"/>
                    </a:cubicBezTo>
                    <a:close/>
                    <a:moveTo>
                      <a:pt x="179" y="240"/>
                    </a:moveTo>
                    <a:cubicBezTo>
                      <a:pt x="112" y="240"/>
                      <a:pt x="112" y="240"/>
                      <a:pt x="112" y="240"/>
                    </a:cubicBezTo>
                    <a:cubicBezTo>
                      <a:pt x="110" y="240"/>
                      <a:pt x="108" y="238"/>
                      <a:pt x="108" y="236"/>
                    </a:cubicBezTo>
                    <a:cubicBezTo>
                      <a:pt x="108" y="234"/>
                      <a:pt x="110" y="232"/>
                      <a:pt x="112" y="232"/>
                    </a:cubicBezTo>
                    <a:cubicBezTo>
                      <a:pt x="179" y="232"/>
                      <a:pt x="179" y="232"/>
                      <a:pt x="179" y="232"/>
                    </a:cubicBezTo>
                    <a:cubicBezTo>
                      <a:pt x="181" y="232"/>
                      <a:pt x="183" y="234"/>
                      <a:pt x="183" y="236"/>
                    </a:cubicBezTo>
                    <a:cubicBezTo>
                      <a:pt x="183" y="238"/>
                      <a:pt x="181" y="240"/>
                      <a:pt x="179" y="240"/>
                    </a:cubicBezTo>
                    <a:close/>
                    <a:moveTo>
                      <a:pt x="226" y="250"/>
                    </a:moveTo>
                    <a:cubicBezTo>
                      <a:pt x="223" y="250"/>
                      <a:pt x="223" y="250"/>
                      <a:pt x="223" y="250"/>
                    </a:cubicBezTo>
                    <a:cubicBezTo>
                      <a:pt x="222" y="254"/>
                      <a:pt x="221" y="258"/>
                      <a:pt x="219" y="261"/>
                    </a:cubicBezTo>
                    <a:cubicBezTo>
                      <a:pt x="232" y="261"/>
                      <a:pt x="232" y="261"/>
                      <a:pt x="232" y="261"/>
                    </a:cubicBezTo>
                    <a:cubicBezTo>
                      <a:pt x="237" y="261"/>
                      <a:pt x="241" y="257"/>
                      <a:pt x="241" y="252"/>
                    </a:cubicBezTo>
                    <a:cubicBezTo>
                      <a:pt x="241" y="242"/>
                      <a:pt x="241" y="242"/>
                      <a:pt x="241" y="242"/>
                    </a:cubicBezTo>
                    <a:cubicBezTo>
                      <a:pt x="241" y="237"/>
                      <a:pt x="237" y="233"/>
                      <a:pt x="232" y="233"/>
                    </a:cubicBezTo>
                    <a:cubicBezTo>
                      <a:pt x="223" y="233"/>
                      <a:pt x="223" y="233"/>
                      <a:pt x="223" y="233"/>
                    </a:cubicBezTo>
                    <a:cubicBezTo>
                      <a:pt x="223" y="244"/>
                      <a:pt x="223" y="244"/>
                      <a:pt x="223" y="244"/>
                    </a:cubicBezTo>
                    <a:cubicBezTo>
                      <a:pt x="226" y="244"/>
                      <a:pt x="226" y="244"/>
                      <a:pt x="226" y="244"/>
                    </a:cubicBezTo>
                    <a:cubicBezTo>
                      <a:pt x="228" y="244"/>
                      <a:pt x="229" y="245"/>
                      <a:pt x="229" y="247"/>
                    </a:cubicBezTo>
                    <a:cubicBezTo>
                      <a:pt x="229" y="249"/>
                      <a:pt x="228" y="250"/>
                      <a:pt x="226" y="250"/>
                    </a:cubicBezTo>
                    <a:close/>
                    <a:moveTo>
                      <a:pt x="241" y="185"/>
                    </a:moveTo>
                    <a:cubicBezTo>
                      <a:pt x="241" y="174"/>
                      <a:pt x="241" y="174"/>
                      <a:pt x="241" y="174"/>
                    </a:cubicBezTo>
                    <a:cubicBezTo>
                      <a:pt x="241" y="169"/>
                      <a:pt x="237" y="165"/>
                      <a:pt x="232" y="165"/>
                    </a:cubicBezTo>
                    <a:cubicBezTo>
                      <a:pt x="223" y="165"/>
                      <a:pt x="223" y="165"/>
                      <a:pt x="223" y="165"/>
                    </a:cubicBezTo>
                    <a:cubicBezTo>
                      <a:pt x="223" y="176"/>
                      <a:pt x="223" y="176"/>
                      <a:pt x="223" y="176"/>
                    </a:cubicBezTo>
                    <a:cubicBezTo>
                      <a:pt x="226" y="176"/>
                      <a:pt x="226" y="176"/>
                      <a:pt x="226" y="176"/>
                    </a:cubicBezTo>
                    <a:cubicBezTo>
                      <a:pt x="228" y="176"/>
                      <a:pt x="229" y="178"/>
                      <a:pt x="229" y="179"/>
                    </a:cubicBezTo>
                    <a:cubicBezTo>
                      <a:pt x="229" y="181"/>
                      <a:pt x="228" y="182"/>
                      <a:pt x="226" y="182"/>
                    </a:cubicBezTo>
                    <a:cubicBezTo>
                      <a:pt x="223" y="182"/>
                      <a:pt x="223" y="182"/>
                      <a:pt x="223" y="182"/>
                    </a:cubicBezTo>
                    <a:cubicBezTo>
                      <a:pt x="223" y="194"/>
                      <a:pt x="223" y="194"/>
                      <a:pt x="223" y="194"/>
                    </a:cubicBezTo>
                    <a:cubicBezTo>
                      <a:pt x="232" y="194"/>
                      <a:pt x="232" y="194"/>
                      <a:pt x="232" y="194"/>
                    </a:cubicBezTo>
                    <a:cubicBezTo>
                      <a:pt x="237" y="194"/>
                      <a:pt x="241" y="190"/>
                      <a:pt x="241" y="185"/>
                    </a:cubicBezTo>
                    <a:close/>
                    <a:moveTo>
                      <a:pt x="241" y="151"/>
                    </a:moveTo>
                    <a:cubicBezTo>
                      <a:pt x="241" y="141"/>
                      <a:pt x="241" y="141"/>
                      <a:pt x="241" y="141"/>
                    </a:cubicBezTo>
                    <a:cubicBezTo>
                      <a:pt x="241" y="136"/>
                      <a:pt x="237" y="132"/>
                      <a:pt x="232" y="132"/>
                    </a:cubicBezTo>
                    <a:cubicBezTo>
                      <a:pt x="223" y="132"/>
                      <a:pt x="223" y="132"/>
                      <a:pt x="223" y="132"/>
                    </a:cubicBezTo>
                    <a:cubicBezTo>
                      <a:pt x="223" y="143"/>
                      <a:pt x="223" y="143"/>
                      <a:pt x="223" y="143"/>
                    </a:cubicBezTo>
                    <a:cubicBezTo>
                      <a:pt x="226" y="143"/>
                      <a:pt x="226" y="143"/>
                      <a:pt x="226" y="143"/>
                    </a:cubicBezTo>
                    <a:cubicBezTo>
                      <a:pt x="228" y="143"/>
                      <a:pt x="229" y="144"/>
                      <a:pt x="229" y="146"/>
                    </a:cubicBezTo>
                    <a:cubicBezTo>
                      <a:pt x="229" y="147"/>
                      <a:pt x="228" y="149"/>
                      <a:pt x="226" y="149"/>
                    </a:cubicBezTo>
                    <a:cubicBezTo>
                      <a:pt x="223" y="149"/>
                      <a:pt x="223" y="149"/>
                      <a:pt x="223" y="149"/>
                    </a:cubicBezTo>
                    <a:cubicBezTo>
                      <a:pt x="223" y="160"/>
                      <a:pt x="223" y="160"/>
                      <a:pt x="223" y="160"/>
                    </a:cubicBezTo>
                    <a:cubicBezTo>
                      <a:pt x="232" y="160"/>
                      <a:pt x="232" y="160"/>
                      <a:pt x="232" y="160"/>
                    </a:cubicBezTo>
                    <a:cubicBezTo>
                      <a:pt x="237" y="160"/>
                      <a:pt x="241" y="156"/>
                      <a:pt x="241" y="151"/>
                    </a:cubicBezTo>
                    <a:close/>
                    <a:moveTo>
                      <a:pt x="187" y="127"/>
                    </a:moveTo>
                    <a:cubicBezTo>
                      <a:pt x="44" y="127"/>
                      <a:pt x="44" y="127"/>
                      <a:pt x="44" y="127"/>
                    </a:cubicBezTo>
                    <a:cubicBezTo>
                      <a:pt x="38" y="127"/>
                      <a:pt x="32" y="133"/>
                      <a:pt x="32" y="139"/>
                    </a:cubicBezTo>
                    <a:cubicBezTo>
                      <a:pt x="32" y="153"/>
                      <a:pt x="32" y="153"/>
                      <a:pt x="32" y="153"/>
                    </a:cubicBezTo>
                    <a:cubicBezTo>
                      <a:pt x="32" y="160"/>
                      <a:pt x="38" y="165"/>
                      <a:pt x="44" y="165"/>
                    </a:cubicBezTo>
                    <a:cubicBezTo>
                      <a:pt x="187" y="165"/>
                      <a:pt x="187" y="165"/>
                      <a:pt x="187" y="165"/>
                    </a:cubicBezTo>
                    <a:cubicBezTo>
                      <a:pt x="194" y="165"/>
                      <a:pt x="199" y="160"/>
                      <a:pt x="199" y="153"/>
                    </a:cubicBezTo>
                    <a:cubicBezTo>
                      <a:pt x="199" y="139"/>
                      <a:pt x="199" y="139"/>
                      <a:pt x="199" y="139"/>
                    </a:cubicBezTo>
                    <a:cubicBezTo>
                      <a:pt x="199" y="133"/>
                      <a:pt x="194" y="127"/>
                      <a:pt x="187" y="127"/>
                    </a:cubicBezTo>
                    <a:close/>
                    <a:moveTo>
                      <a:pt x="57" y="150"/>
                    </a:moveTo>
                    <a:cubicBezTo>
                      <a:pt x="56" y="150"/>
                      <a:pt x="56" y="150"/>
                      <a:pt x="56" y="150"/>
                    </a:cubicBezTo>
                    <a:cubicBezTo>
                      <a:pt x="54" y="150"/>
                      <a:pt x="52" y="148"/>
                      <a:pt x="52" y="146"/>
                    </a:cubicBezTo>
                    <a:cubicBezTo>
                      <a:pt x="52" y="144"/>
                      <a:pt x="54" y="142"/>
                      <a:pt x="56" y="142"/>
                    </a:cubicBezTo>
                    <a:cubicBezTo>
                      <a:pt x="57" y="142"/>
                      <a:pt x="57" y="142"/>
                      <a:pt x="57" y="142"/>
                    </a:cubicBezTo>
                    <a:cubicBezTo>
                      <a:pt x="59" y="142"/>
                      <a:pt x="61" y="144"/>
                      <a:pt x="61" y="146"/>
                    </a:cubicBezTo>
                    <a:cubicBezTo>
                      <a:pt x="61" y="148"/>
                      <a:pt x="59" y="150"/>
                      <a:pt x="57" y="150"/>
                    </a:cubicBezTo>
                    <a:close/>
                    <a:moveTo>
                      <a:pt x="179" y="150"/>
                    </a:moveTo>
                    <a:cubicBezTo>
                      <a:pt x="112" y="150"/>
                      <a:pt x="112" y="150"/>
                      <a:pt x="112" y="150"/>
                    </a:cubicBezTo>
                    <a:cubicBezTo>
                      <a:pt x="110" y="150"/>
                      <a:pt x="108" y="148"/>
                      <a:pt x="108" y="146"/>
                    </a:cubicBezTo>
                    <a:cubicBezTo>
                      <a:pt x="108" y="144"/>
                      <a:pt x="110" y="142"/>
                      <a:pt x="112" y="142"/>
                    </a:cubicBezTo>
                    <a:cubicBezTo>
                      <a:pt x="179" y="142"/>
                      <a:pt x="179" y="142"/>
                      <a:pt x="179" y="142"/>
                    </a:cubicBezTo>
                    <a:cubicBezTo>
                      <a:pt x="181" y="142"/>
                      <a:pt x="183" y="144"/>
                      <a:pt x="183" y="146"/>
                    </a:cubicBezTo>
                    <a:cubicBezTo>
                      <a:pt x="183" y="148"/>
                      <a:pt x="181" y="150"/>
                      <a:pt x="179" y="150"/>
                    </a:cubicBezTo>
                    <a:close/>
                    <a:moveTo>
                      <a:pt x="187" y="37"/>
                    </a:moveTo>
                    <a:cubicBezTo>
                      <a:pt x="44" y="37"/>
                      <a:pt x="44" y="37"/>
                      <a:pt x="44" y="37"/>
                    </a:cubicBezTo>
                    <a:cubicBezTo>
                      <a:pt x="38" y="37"/>
                      <a:pt x="32" y="43"/>
                      <a:pt x="32" y="49"/>
                    </a:cubicBezTo>
                    <a:cubicBezTo>
                      <a:pt x="32" y="63"/>
                      <a:pt x="32" y="63"/>
                      <a:pt x="32" y="63"/>
                    </a:cubicBezTo>
                    <a:cubicBezTo>
                      <a:pt x="32" y="70"/>
                      <a:pt x="38" y="75"/>
                      <a:pt x="44" y="75"/>
                    </a:cubicBezTo>
                    <a:cubicBezTo>
                      <a:pt x="187" y="75"/>
                      <a:pt x="187" y="75"/>
                      <a:pt x="187" y="75"/>
                    </a:cubicBezTo>
                    <a:cubicBezTo>
                      <a:pt x="194" y="75"/>
                      <a:pt x="199" y="70"/>
                      <a:pt x="199" y="63"/>
                    </a:cubicBezTo>
                    <a:cubicBezTo>
                      <a:pt x="199" y="49"/>
                      <a:pt x="199" y="49"/>
                      <a:pt x="199" y="49"/>
                    </a:cubicBezTo>
                    <a:cubicBezTo>
                      <a:pt x="199" y="43"/>
                      <a:pt x="194" y="37"/>
                      <a:pt x="187" y="37"/>
                    </a:cubicBezTo>
                    <a:close/>
                    <a:moveTo>
                      <a:pt x="57" y="60"/>
                    </a:moveTo>
                    <a:cubicBezTo>
                      <a:pt x="56" y="60"/>
                      <a:pt x="56" y="60"/>
                      <a:pt x="56" y="60"/>
                    </a:cubicBezTo>
                    <a:cubicBezTo>
                      <a:pt x="54" y="60"/>
                      <a:pt x="52" y="58"/>
                      <a:pt x="52" y="56"/>
                    </a:cubicBezTo>
                    <a:cubicBezTo>
                      <a:pt x="52" y="54"/>
                      <a:pt x="54" y="52"/>
                      <a:pt x="56" y="52"/>
                    </a:cubicBezTo>
                    <a:cubicBezTo>
                      <a:pt x="57" y="52"/>
                      <a:pt x="57" y="52"/>
                      <a:pt x="57" y="52"/>
                    </a:cubicBezTo>
                    <a:cubicBezTo>
                      <a:pt x="59" y="52"/>
                      <a:pt x="61" y="54"/>
                      <a:pt x="61" y="56"/>
                    </a:cubicBezTo>
                    <a:cubicBezTo>
                      <a:pt x="61" y="58"/>
                      <a:pt x="59" y="60"/>
                      <a:pt x="57" y="60"/>
                    </a:cubicBezTo>
                    <a:close/>
                    <a:moveTo>
                      <a:pt x="179" y="60"/>
                    </a:moveTo>
                    <a:cubicBezTo>
                      <a:pt x="112" y="60"/>
                      <a:pt x="112" y="60"/>
                      <a:pt x="112" y="60"/>
                    </a:cubicBezTo>
                    <a:cubicBezTo>
                      <a:pt x="110" y="60"/>
                      <a:pt x="108" y="58"/>
                      <a:pt x="108" y="56"/>
                    </a:cubicBezTo>
                    <a:cubicBezTo>
                      <a:pt x="108" y="54"/>
                      <a:pt x="110" y="52"/>
                      <a:pt x="112" y="52"/>
                    </a:cubicBezTo>
                    <a:cubicBezTo>
                      <a:pt x="179" y="52"/>
                      <a:pt x="179" y="52"/>
                      <a:pt x="179" y="52"/>
                    </a:cubicBezTo>
                    <a:cubicBezTo>
                      <a:pt x="181" y="52"/>
                      <a:pt x="183" y="54"/>
                      <a:pt x="183" y="56"/>
                    </a:cubicBezTo>
                    <a:cubicBezTo>
                      <a:pt x="183" y="58"/>
                      <a:pt x="181" y="60"/>
                      <a:pt x="179" y="60"/>
                    </a:cubicBezTo>
                    <a:close/>
                    <a:moveTo>
                      <a:pt x="268" y="175"/>
                    </a:moveTo>
                    <a:cubicBezTo>
                      <a:pt x="268" y="172"/>
                      <a:pt x="265" y="169"/>
                      <a:pt x="261" y="169"/>
                    </a:cubicBezTo>
                    <a:cubicBezTo>
                      <a:pt x="261" y="190"/>
                      <a:pt x="261" y="190"/>
                      <a:pt x="261" y="190"/>
                    </a:cubicBezTo>
                    <a:cubicBezTo>
                      <a:pt x="265" y="189"/>
                      <a:pt x="268" y="187"/>
                      <a:pt x="268" y="183"/>
                    </a:cubicBezTo>
                    <a:lnTo>
                      <a:pt x="268" y="175"/>
                    </a:lnTo>
                    <a:close/>
                    <a:moveTo>
                      <a:pt x="268" y="201"/>
                    </a:moveTo>
                    <a:cubicBezTo>
                      <a:pt x="268" y="197"/>
                      <a:pt x="265" y="194"/>
                      <a:pt x="261" y="194"/>
                    </a:cubicBezTo>
                    <a:cubicBezTo>
                      <a:pt x="261" y="215"/>
                      <a:pt x="261" y="215"/>
                      <a:pt x="261" y="215"/>
                    </a:cubicBezTo>
                    <a:cubicBezTo>
                      <a:pt x="265" y="215"/>
                      <a:pt x="268" y="212"/>
                      <a:pt x="268" y="208"/>
                    </a:cubicBezTo>
                    <a:lnTo>
                      <a:pt x="268" y="201"/>
                    </a:lnTo>
                    <a:close/>
                    <a:moveTo>
                      <a:pt x="268" y="150"/>
                    </a:moveTo>
                    <a:cubicBezTo>
                      <a:pt x="268" y="146"/>
                      <a:pt x="265" y="143"/>
                      <a:pt x="261" y="143"/>
                    </a:cubicBezTo>
                    <a:cubicBezTo>
                      <a:pt x="261" y="164"/>
                      <a:pt x="261" y="164"/>
                      <a:pt x="261" y="164"/>
                    </a:cubicBezTo>
                    <a:cubicBezTo>
                      <a:pt x="265" y="164"/>
                      <a:pt x="268" y="161"/>
                      <a:pt x="268" y="158"/>
                    </a:cubicBezTo>
                    <a:lnTo>
                      <a:pt x="268" y="150"/>
                    </a:lnTo>
                    <a:close/>
                    <a:moveTo>
                      <a:pt x="277" y="260"/>
                    </a:moveTo>
                    <a:cubicBezTo>
                      <a:pt x="277" y="147"/>
                      <a:pt x="277" y="147"/>
                      <a:pt x="277" y="147"/>
                    </a:cubicBezTo>
                    <a:cubicBezTo>
                      <a:pt x="277" y="139"/>
                      <a:pt x="270" y="132"/>
                      <a:pt x="261" y="132"/>
                    </a:cubicBezTo>
                    <a:cubicBezTo>
                      <a:pt x="261" y="132"/>
                      <a:pt x="261" y="132"/>
                      <a:pt x="261" y="132"/>
                    </a:cubicBezTo>
                    <a:cubicBezTo>
                      <a:pt x="261" y="135"/>
                      <a:pt x="261" y="135"/>
                      <a:pt x="261" y="135"/>
                    </a:cubicBezTo>
                    <a:cubicBezTo>
                      <a:pt x="261" y="135"/>
                      <a:pt x="261" y="135"/>
                      <a:pt x="261" y="135"/>
                    </a:cubicBezTo>
                    <a:cubicBezTo>
                      <a:pt x="268" y="135"/>
                      <a:pt x="273" y="141"/>
                      <a:pt x="273" y="147"/>
                    </a:cubicBezTo>
                    <a:cubicBezTo>
                      <a:pt x="273" y="260"/>
                      <a:pt x="273" y="260"/>
                      <a:pt x="273" y="260"/>
                    </a:cubicBezTo>
                    <a:cubicBezTo>
                      <a:pt x="273" y="267"/>
                      <a:pt x="268" y="272"/>
                      <a:pt x="261" y="272"/>
                    </a:cubicBezTo>
                    <a:cubicBezTo>
                      <a:pt x="254" y="272"/>
                      <a:pt x="254" y="272"/>
                      <a:pt x="254" y="272"/>
                    </a:cubicBezTo>
                    <a:cubicBezTo>
                      <a:pt x="252" y="275"/>
                      <a:pt x="249" y="277"/>
                      <a:pt x="246" y="279"/>
                    </a:cubicBezTo>
                    <a:cubicBezTo>
                      <a:pt x="246" y="279"/>
                      <a:pt x="246" y="279"/>
                      <a:pt x="246" y="279"/>
                    </a:cubicBezTo>
                    <a:cubicBezTo>
                      <a:pt x="264" y="279"/>
                      <a:pt x="264" y="279"/>
                      <a:pt x="264" y="279"/>
                    </a:cubicBezTo>
                    <a:cubicBezTo>
                      <a:pt x="267" y="274"/>
                      <a:pt x="267" y="274"/>
                      <a:pt x="267" y="274"/>
                    </a:cubicBezTo>
                    <a:cubicBezTo>
                      <a:pt x="273" y="272"/>
                      <a:pt x="277" y="267"/>
                      <a:pt x="277" y="260"/>
                    </a:cubicBezTo>
                    <a:close/>
                    <a:moveTo>
                      <a:pt x="268" y="226"/>
                    </a:moveTo>
                    <a:cubicBezTo>
                      <a:pt x="268" y="222"/>
                      <a:pt x="265" y="219"/>
                      <a:pt x="261" y="219"/>
                    </a:cubicBezTo>
                    <a:cubicBezTo>
                      <a:pt x="261" y="240"/>
                      <a:pt x="261" y="240"/>
                      <a:pt x="261" y="240"/>
                    </a:cubicBezTo>
                    <a:cubicBezTo>
                      <a:pt x="265" y="240"/>
                      <a:pt x="268" y="237"/>
                      <a:pt x="268" y="234"/>
                    </a:cubicBezTo>
                    <a:lnTo>
                      <a:pt x="268" y="226"/>
                    </a:lnTo>
                    <a:close/>
                    <a:moveTo>
                      <a:pt x="261" y="245"/>
                    </a:moveTo>
                    <a:cubicBezTo>
                      <a:pt x="261" y="254"/>
                      <a:pt x="261" y="254"/>
                      <a:pt x="261" y="254"/>
                    </a:cubicBezTo>
                    <a:cubicBezTo>
                      <a:pt x="261" y="258"/>
                      <a:pt x="260" y="262"/>
                      <a:pt x="259" y="266"/>
                    </a:cubicBezTo>
                    <a:cubicBezTo>
                      <a:pt x="261" y="266"/>
                      <a:pt x="261" y="266"/>
                      <a:pt x="261" y="266"/>
                    </a:cubicBezTo>
                    <a:cubicBezTo>
                      <a:pt x="265" y="266"/>
                      <a:pt x="268" y="263"/>
                      <a:pt x="268" y="259"/>
                    </a:cubicBezTo>
                    <a:cubicBezTo>
                      <a:pt x="268" y="251"/>
                      <a:pt x="268" y="251"/>
                      <a:pt x="268" y="251"/>
                    </a:cubicBezTo>
                    <a:cubicBezTo>
                      <a:pt x="268" y="248"/>
                      <a:pt x="265" y="245"/>
                      <a:pt x="261" y="245"/>
                    </a:cubicBezTo>
                    <a:close/>
                    <a:moveTo>
                      <a:pt x="253" y="254"/>
                    </a:moveTo>
                    <a:cubicBezTo>
                      <a:pt x="253" y="103"/>
                      <a:pt x="253" y="103"/>
                      <a:pt x="253" y="103"/>
                    </a:cubicBezTo>
                    <a:cubicBezTo>
                      <a:pt x="253" y="92"/>
                      <a:pt x="244" y="83"/>
                      <a:pt x="233" y="83"/>
                    </a:cubicBezTo>
                    <a:cubicBezTo>
                      <a:pt x="223" y="83"/>
                      <a:pt x="223" y="83"/>
                      <a:pt x="223" y="83"/>
                    </a:cubicBezTo>
                    <a:cubicBezTo>
                      <a:pt x="223" y="87"/>
                      <a:pt x="223" y="87"/>
                      <a:pt x="223" y="87"/>
                    </a:cubicBezTo>
                    <a:cubicBezTo>
                      <a:pt x="233" y="87"/>
                      <a:pt x="233" y="87"/>
                      <a:pt x="233" y="87"/>
                    </a:cubicBezTo>
                    <a:cubicBezTo>
                      <a:pt x="242" y="87"/>
                      <a:pt x="249" y="94"/>
                      <a:pt x="249" y="103"/>
                    </a:cubicBezTo>
                    <a:cubicBezTo>
                      <a:pt x="249" y="254"/>
                      <a:pt x="249" y="254"/>
                      <a:pt x="249" y="254"/>
                    </a:cubicBezTo>
                    <a:cubicBezTo>
                      <a:pt x="249" y="262"/>
                      <a:pt x="242" y="269"/>
                      <a:pt x="233" y="269"/>
                    </a:cubicBezTo>
                    <a:cubicBezTo>
                      <a:pt x="213" y="269"/>
                      <a:pt x="213" y="269"/>
                      <a:pt x="213" y="269"/>
                    </a:cubicBezTo>
                    <a:cubicBezTo>
                      <a:pt x="211" y="271"/>
                      <a:pt x="209" y="273"/>
                      <a:pt x="207" y="275"/>
                    </a:cubicBezTo>
                    <a:cubicBezTo>
                      <a:pt x="209" y="279"/>
                      <a:pt x="209" y="279"/>
                      <a:pt x="209" y="279"/>
                    </a:cubicBezTo>
                    <a:cubicBezTo>
                      <a:pt x="237" y="279"/>
                      <a:pt x="237" y="279"/>
                      <a:pt x="237" y="279"/>
                    </a:cubicBezTo>
                    <a:cubicBezTo>
                      <a:pt x="240" y="273"/>
                      <a:pt x="240" y="273"/>
                      <a:pt x="240" y="273"/>
                    </a:cubicBezTo>
                    <a:cubicBezTo>
                      <a:pt x="248" y="270"/>
                      <a:pt x="253" y="262"/>
                      <a:pt x="253" y="254"/>
                    </a:cubicBezTo>
                    <a:close/>
                    <a:moveTo>
                      <a:pt x="215" y="245"/>
                    </a:moveTo>
                    <a:cubicBezTo>
                      <a:pt x="215" y="44"/>
                      <a:pt x="215" y="44"/>
                      <a:pt x="215" y="44"/>
                    </a:cubicBezTo>
                    <a:cubicBezTo>
                      <a:pt x="215" y="29"/>
                      <a:pt x="203" y="17"/>
                      <a:pt x="188" y="17"/>
                    </a:cubicBezTo>
                    <a:cubicBezTo>
                      <a:pt x="43" y="17"/>
                      <a:pt x="43" y="17"/>
                      <a:pt x="43" y="17"/>
                    </a:cubicBezTo>
                    <a:cubicBezTo>
                      <a:pt x="28" y="17"/>
                      <a:pt x="16" y="29"/>
                      <a:pt x="16" y="44"/>
                    </a:cubicBezTo>
                    <a:cubicBezTo>
                      <a:pt x="16" y="245"/>
                      <a:pt x="16" y="245"/>
                      <a:pt x="16" y="245"/>
                    </a:cubicBezTo>
                    <a:cubicBezTo>
                      <a:pt x="16" y="257"/>
                      <a:pt x="24" y="266"/>
                      <a:pt x="34" y="270"/>
                    </a:cubicBezTo>
                    <a:cubicBezTo>
                      <a:pt x="38" y="279"/>
                      <a:pt x="38" y="279"/>
                      <a:pt x="38" y="279"/>
                    </a:cubicBezTo>
                    <a:cubicBezTo>
                      <a:pt x="75" y="279"/>
                      <a:pt x="75" y="279"/>
                      <a:pt x="75" y="279"/>
                    </a:cubicBezTo>
                    <a:cubicBezTo>
                      <a:pt x="79" y="272"/>
                      <a:pt x="79" y="272"/>
                      <a:pt x="79" y="272"/>
                    </a:cubicBezTo>
                    <a:cubicBezTo>
                      <a:pt x="153" y="272"/>
                      <a:pt x="153" y="272"/>
                      <a:pt x="153" y="272"/>
                    </a:cubicBezTo>
                    <a:cubicBezTo>
                      <a:pt x="156" y="279"/>
                      <a:pt x="156" y="279"/>
                      <a:pt x="156" y="279"/>
                    </a:cubicBezTo>
                    <a:cubicBezTo>
                      <a:pt x="193" y="279"/>
                      <a:pt x="193" y="279"/>
                      <a:pt x="193" y="279"/>
                    </a:cubicBezTo>
                    <a:cubicBezTo>
                      <a:pt x="198" y="270"/>
                      <a:pt x="198" y="270"/>
                      <a:pt x="198" y="270"/>
                    </a:cubicBezTo>
                    <a:cubicBezTo>
                      <a:pt x="208" y="266"/>
                      <a:pt x="215" y="257"/>
                      <a:pt x="215" y="245"/>
                    </a:cubicBezTo>
                    <a:close/>
                    <a:moveTo>
                      <a:pt x="188" y="266"/>
                    </a:moveTo>
                    <a:cubicBezTo>
                      <a:pt x="43" y="266"/>
                      <a:pt x="43" y="266"/>
                      <a:pt x="43" y="266"/>
                    </a:cubicBezTo>
                    <a:cubicBezTo>
                      <a:pt x="32" y="266"/>
                      <a:pt x="22" y="257"/>
                      <a:pt x="22" y="245"/>
                    </a:cubicBezTo>
                    <a:cubicBezTo>
                      <a:pt x="22" y="44"/>
                      <a:pt x="22" y="44"/>
                      <a:pt x="22" y="44"/>
                    </a:cubicBezTo>
                    <a:cubicBezTo>
                      <a:pt x="22" y="32"/>
                      <a:pt x="32" y="23"/>
                      <a:pt x="43" y="23"/>
                    </a:cubicBezTo>
                    <a:cubicBezTo>
                      <a:pt x="188" y="23"/>
                      <a:pt x="188" y="23"/>
                      <a:pt x="188" y="23"/>
                    </a:cubicBezTo>
                    <a:cubicBezTo>
                      <a:pt x="200" y="23"/>
                      <a:pt x="209" y="32"/>
                      <a:pt x="209" y="44"/>
                    </a:cubicBezTo>
                    <a:cubicBezTo>
                      <a:pt x="209" y="245"/>
                      <a:pt x="209" y="245"/>
                      <a:pt x="209" y="245"/>
                    </a:cubicBezTo>
                    <a:cubicBezTo>
                      <a:pt x="209" y="257"/>
                      <a:pt x="200" y="266"/>
                      <a:pt x="188" y="266"/>
                    </a:cubicBezTo>
                    <a:close/>
                    <a:moveTo>
                      <a:pt x="241" y="117"/>
                    </a:moveTo>
                    <a:cubicBezTo>
                      <a:pt x="241" y="107"/>
                      <a:pt x="241" y="107"/>
                      <a:pt x="241" y="107"/>
                    </a:cubicBezTo>
                    <a:cubicBezTo>
                      <a:pt x="241" y="102"/>
                      <a:pt x="237" y="98"/>
                      <a:pt x="232" y="98"/>
                    </a:cubicBezTo>
                    <a:cubicBezTo>
                      <a:pt x="223" y="98"/>
                      <a:pt x="223" y="98"/>
                      <a:pt x="223" y="98"/>
                    </a:cubicBezTo>
                    <a:cubicBezTo>
                      <a:pt x="223" y="109"/>
                      <a:pt x="223" y="109"/>
                      <a:pt x="223" y="109"/>
                    </a:cubicBezTo>
                    <a:cubicBezTo>
                      <a:pt x="226" y="109"/>
                      <a:pt x="226" y="109"/>
                      <a:pt x="226" y="109"/>
                    </a:cubicBezTo>
                    <a:cubicBezTo>
                      <a:pt x="228" y="109"/>
                      <a:pt x="229" y="110"/>
                      <a:pt x="229" y="112"/>
                    </a:cubicBezTo>
                    <a:cubicBezTo>
                      <a:pt x="229" y="114"/>
                      <a:pt x="228" y="115"/>
                      <a:pt x="226" y="115"/>
                    </a:cubicBezTo>
                    <a:cubicBezTo>
                      <a:pt x="223" y="115"/>
                      <a:pt x="223" y="115"/>
                      <a:pt x="223" y="115"/>
                    </a:cubicBezTo>
                    <a:cubicBezTo>
                      <a:pt x="223" y="126"/>
                      <a:pt x="223" y="126"/>
                      <a:pt x="223" y="126"/>
                    </a:cubicBezTo>
                    <a:cubicBezTo>
                      <a:pt x="232" y="126"/>
                      <a:pt x="232" y="126"/>
                      <a:pt x="232" y="126"/>
                    </a:cubicBezTo>
                    <a:cubicBezTo>
                      <a:pt x="237" y="126"/>
                      <a:pt x="241" y="122"/>
                      <a:pt x="241" y="117"/>
                    </a:cubicBezTo>
                    <a:close/>
                    <a:moveTo>
                      <a:pt x="4" y="88"/>
                    </a:moveTo>
                    <a:cubicBezTo>
                      <a:pt x="0" y="88"/>
                      <a:pt x="0" y="88"/>
                      <a:pt x="0" y="88"/>
                    </a:cubicBezTo>
                    <a:cubicBezTo>
                      <a:pt x="0" y="96"/>
                      <a:pt x="0" y="96"/>
                      <a:pt x="0" y="96"/>
                    </a:cubicBezTo>
                    <a:cubicBezTo>
                      <a:pt x="4" y="96"/>
                      <a:pt x="4" y="96"/>
                      <a:pt x="4" y="96"/>
                    </a:cubicBezTo>
                    <a:lnTo>
                      <a:pt x="4" y="88"/>
                    </a:lnTo>
                    <a:close/>
                    <a:moveTo>
                      <a:pt x="125" y="0"/>
                    </a:moveTo>
                    <a:cubicBezTo>
                      <a:pt x="117" y="0"/>
                      <a:pt x="117" y="0"/>
                      <a:pt x="117" y="0"/>
                    </a:cubicBezTo>
                    <a:cubicBezTo>
                      <a:pt x="117" y="4"/>
                      <a:pt x="117" y="4"/>
                      <a:pt x="117" y="4"/>
                    </a:cubicBezTo>
                    <a:cubicBezTo>
                      <a:pt x="125" y="4"/>
                      <a:pt x="125" y="4"/>
                      <a:pt x="125" y="4"/>
                    </a:cubicBezTo>
                    <a:lnTo>
                      <a:pt x="125" y="0"/>
                    </a:lnTo>
                    <a:close/>
                    <a:moveTo>
                      <a:pt x="61" y="0"/>
                    </a:moveTo>
                    <a:cubicBezTo>
                      <a:pt x="53" y="0"/>
                      <a:pt x="53" y="0"/>
                      <a:pt x="53" y="0"/>
                    </a:cubicBezTo>
                    <a:cubicBezTo>
                      <a:pt x="53" y="4"/>
                      <a:pt x="53" y="4"/>
                      <a:pt x="53" y="4"/>
                    </a:cubicBezTo>
                    <a:cubicBezTo>
                      <a:pt x="61" y="4"/>
                      <a:pt x="61" y="4"/>
                      <a:pt x="61" y="4"/>
                    </a:cubicBezTo>
                    <a:lnTo>
                      <a:pt x="61" y="0"/>
                    </a:lnTo>
                    <a:close/>
                    <a:moveTo>
                      <a:pt x="42" y="4"/>
                    </a:moveTo>
                    <a:cubicBezTo>
                      <a:pt x="45" y="4"/>
                      <a:pt x="45" y="4"/>
                      <a:pt x="45" y="4"/>
                    </a:cubicBezTo>
                    <a:cubicBezTo>
                      <a:pt x="45" y="0"/>
                      <a:pt x="45" y="0"/>
                      <a:pt x="45" y="0"/>
                    </a:cubicBezTo>
                    <a:cubicBezTo>
                      <a:pt x="42" y="0"/>
                      <a:pt x="42" y="0"/>
                      <a:pt x="42" y="0"/>
                    </a:cubicBezTo>
                    <a:cubicBezTo>
                      <a:pt x="40" y="0"/>
                      <a:pt x="39" y="0"/>
                      <a:pt x="37" y="1"/>
                    </a:cubicBezTo>
                    <a:cubicBezTo>
                      <a:pt x="37" y="5"/>
                      <a:pt x="37" y="5"/>
                      <a:pt x="37" y="5"/>
                    </a:cubicBezTo>
                    <a:cubicBezTo>
                      <a:pt x="39" y="4"/>
                      <a:pt x="40" y="4"/>
                      <a:pt x="42" y="4"/>
                    </a:cubicBezTo>
                    <a:close/>
                    <a:moveTo>
                      <a:pt x="8" y="25"/>
                    </a:moveTo>
                    <a:cubicBezTo>
                      <a:pt x="4" y="24"/>
                      <a:pt x="4" y="24"/>
                      <a:pt x="4" y="24"/>
                    </a:cubicBezTo>
                    <a:cubicBezTo>
                      <a:pt x="3" y="26"/>
                      <a:pt x="2" y="29"/>
                      <a:pt x="1" y="32"/>
                    </a:cubicBezTo>
                    <a:cubicBezTo>
                      <a:pt x="5" y="33"/>
                      <a:pt x="5" y="33"/>
                      <a:pt x="5" y="33"/>
                    </a:cubicBezTo>
                    <a:cubicBezTo>
                      <a:pt x="6" y="30"/>
                      <a:pt x="7" y="28"/>
                      <a:pt x="8" y="25"/>
                    </a:cubicBezTo>
                    <a:close/>
                    <a:moveTo>
                      <a:pt x="93" y="0"/>
                    </a:moveTo>
                    <a:cubicBezTo>
                      <a:pt x="85" y="0"/>
                      <a:pt x="85" y="0"/>
                      <a:pt x="85" y="0"/>
                    </a:cubicBezTo>
                    <a:cubicBezTo>
                      <a:pt x="85" y="4"/>
                      <a:pt x="85" y="4"/>
                      <a:pt x="85" y="4"/>
                    </a:cubicBezTo>
                    <a:cubicBezTo>
                      <a:pt x="93" y="4"/>
                      <a:pt x="93" y="4"/>
                      <a:pt x="93" y="4"/>
                    </a:cubicBezTo>
                    <a:lnTo>
                      <a:pt x="93" y="0"/>
                    </a:lnTo>
                    <a:close/>
                    <a:moveTo>
                      <a:pt x="77" y="0"/>
                    </a:moveTo>
                    <a:cubicBezTo>
                      <a:pt x="69" y="0"/>
                      <a:pt x="69" y="0"/>
                      <a:pt x="69" y="0"/>
                    </a:cubicBezTo>
                    <a:cubicBezTo>
                      <a:pt x="69" y="4"/>
                      <a:pt x="69" y="4"/>
                      <a:pt x="69" y="4"/>
                    </a:cubicBezTo>
                    <a:cubicBezTo>
                      <a:pt x="77" y="4"/>
                      <a:pt x="77" y="4"/>
                      <a:pt x="77" y="4"/>
                    </a:cubicBezTo>
                    <a:lnTo>
                      <a:pt x="77" y="0"/>
                    </a:lnTo>
                    <a:close/>
                    <a:moveTo>
                      <a:pt x="141" y="0"/>
                    </a:moveTo>
                    <a:cubicBezTo>
                      <a:pt x="133" y="0"/>
                      <a:pt x="133" y="0"/>
                      <a:pt x="133" y="0"/>
                    </a:cubicBezTo>
                    <a:cubicBezTo>
                      <a:pt x="133" y="4"/>
                      <a:pt x="133" y="4"/>
                      <a:pt x="133" y="4"/>
                    </a:cubicBezTo>
                    <a:cubicBezTo>
                      <a:pt x="141" y="4"/>
                      <a:pt x="141" y="4"/>
                      <a:pt x="141" y="4"/>
                    </a:cubicBezTo>
                    <a:lnTo>
                      <a:pt x="141" y="0"/>
                    </a:lnTo>
                    <a:close/>
                    <a:moveTo>
                      <a:pt x="4" y="56"/>
                    </a:moveTo>
                    <a:cubicBezTo>
                      <a:pt x="0" y="56"/>
                      <a:pt x="0" y="56"/>
                      <a:pt x="0" y="56"/>
                    </a:cubicBezTo>
                    <a:cubicBezTo>
                      <a:pt x="0" y="64"/>
                      <a:pt x="0" y="64"/>
                      <a:pt x="0" y="64"/>
                    </a:cubicBezTo>
                    <a:cubicBezTo>
                      <a:pt x="4" y="64"/>
                      <a:pt x="4" y="64"/>
                      <a:pt x="4" y="64"/>
                    </a:cubicBezTo>
                    <a:lnTo>
                      <a:pt x="4" y="56"/>
                    </a:lnTo>
                    <a:close/>
                    <a:moveTo>
                      <a:pt x="4" y="42"/>
                    </a:moveTo>
                    <a:cubicBezTo>
                      <a:pt x="4" y="42"/>
                      <a:pt x="4" y="41"/>
                      <a:pt x="4" y="40"/>
                    </a:cubicBezTo>
                    <a:cubicBezTo>
                      <a:pt x="0" y="40"/>
                      <a:pt x="0" y="40"/>
                      <a:pt x="0" y="40"/>
                    </a:cubicBezTo>
                    <a:cubicBezTo>
                      <a:pt x="0" y="41"/>
                      <a:pt x="0" y="41"/>
                      <a:pt x="0" y="42"/>
                    </a:cubicBezTo>
                    <a:cubicBezTo>
                      <a:pt x="0" y="48"/>
                      <a:pt x="0" y="48"/>
                      <a:pt x="0" y="48"/>
                    </a:cubicBezTo>
                    <a:cubicBezTo>
                      <a:pt x="4" y="48"/>
                      <a:pt x="4" y="48"/>
                      <a:pt x="4" y="48"/>
                    </a:cubicBezTo>
                    <a:lnTo>
                      <a:pt x="4" y="42"/>
                    </a:lnTo>
                    <a:close/>
                    <a:moveTo>
                      <a:pt x="17" y="14"/>
                    </a:moveTo>
                    <a:cubicBezTo>
                      <a:pt x="14" y="11"/>
                      <a:pt x="14" y="11"/>
                      <a:pt x="14" y="11"/>
                    </a:cubicBezTo>
                    <a:cubicBezTo>
                      <a:pt x="12" y="12"/>
                      <a:pt x="10" y="14"/>
                      <a:pt x="9" y="17"/>
                    </a:cubicBezTo>
                    <a:cubicBezTo>
                      <a:pt x="12" y="19"/>
                      <a:pt x="12" y="19"/>
                      <a:pt x="12" y="19"/>
                    </a:cubicBezTo>
                    <a:cubicBezTo>
                      <a:pt x="13" y="17"/>
                      <a:pt x="15" y="15"/>
                      <a:pt x="17" y="14"/>
                    </a:cubicBezTo>
                    <a:close/>
                    <a:moveTo>
                      <a:pt x="4" y="72"/>
                    </a:moveTo>
                    <a:cubicBezTo>
                      <a:pt x="0" y="72"/>
                      <a:pt x="0" y="72"/>
                      <a:pt x="0" y="72"/>
                    </a:cubicBezTo>
                    <a:cubicBezTo>
                      <a:pt x="0" y="80"/>
                      <a:pt x="0" y="80"/>
                      <a:pt x="0" y="80"/>
                    </a:cubicBezTo>
                    <a:cubicBezTo>
                      <a:pt x="4" y="80"/>
                      <a:pt x="4" y="80"/>
                      <a:pt x="4" y="80"/>
                    </a:cubicBezTo>
                    <a:lnTo>
                      <a:pt x="4" y="72"/>
                    </a:lnTo>
                    <a:close/>
                    <a:moveTo>
                      <a:pt x="30" y="6"/>
                    </a:moveTo>
                    <a:cubicBezTo>
                      <a:pt x="29" y="2"/>
                      <a:pt x="29" y="2"/>
                      <a:pt x="29" y="2"/>
                    </a:cubicBezTo>
                    <a:cubicBezTo>
                      <a:pt x="26" y="3"/>
                      <a:pt x="24" y="4"/>
                      <a:pt x="21" y="6"/>
                    </a:cubicBezTo>
                    <a:cubicBezTo>
                      <a:pt x="23" y="9"/>
                      <a:pt x="23" y="9"/>
                      <a:pt x="23" y="9"/>
                    </a:cubicBezTo>
                    <a:cubicBezTo>
                      <a:pt x="25" y="8"/>
                      <a:pt x="28" y="7"/>
                      <a:pt x="30" y="6"/>
                    </a:cubicBezTo>
                    <a:close/>
                    <a:moveTo>
                      <a:pt x="109" y="0"/>
                    </a:moveTo>
                    <a:cubicBezTo>
                      <a:pt x="101" y="0"/>
                      <a:pt x="101" y="0"/>
                      <a:pt x="101" y="0"/>
                    </a:cubicBezTo>
                    <a:cubicBezTo>
                      <a:pt x="101" y="4"/>
                      <a:pt x="101" y="4"/>
                      <a:pt x="101" y="4"/>
                    </a:cubicBezTo>
                    <a:cubicBezTo>
                      <a:pt x="109" y="4"/>
                      <a:pt x="109" y="4"/>
                      <a:pt x="109" y="4"/>
                    </a:cubicBezTo>
                    <a:lnTo>
                      <a:pt x="109" y="0"/>
                    </a:lnTo>
                    <a:close/>
                    <a:moveTo>
                      <a:pt x="251" y="47"/>
                    </a:moveTo>
                    <a:cubicBezTo>
                      <a:pt x="247" y="40"/>
                      <a:pt x="247" y="40"/>
                      <a:pt x="247" y="40"/>
                    </a:cubicBezTo>
                    <a:cubicBezTo>
                      <a:pt x="244" y="42"/>
                      <a:pt x="244" y="42"/>
                      <a:pt x="244" y="42"/>
                    </a:cubicBezTo>
                    <a:cubicBezTo>
                      <a:pt x="247" y="49"/>
                      <a:pt x="247" y="49"/>
                      <a:pt x="247" y="49"/>
                    </a:cubicBezTo>
                    <a:lnTo>
                      <a:pt x="251" y="47"/>
                    </a:lnTo>
                    <a:close/>
                    <a:moveTo>
                      <a:pt x="259" y="61"/>
                    </a:moveTo>
                    <a:cubicBezTo>
                      <a:pt x="255" y="54"/>
                      <a:pt x="255" y="54"/>
                      <a:pt x="255" y="54"/>
                    </a:cubicBezTo>
                    <a:cubicBezTo>
                      <a:pt x="251" y="56"/>
                      <a:pt x="251" y="56"/>
                      <a:pt x="251" y="56"/>
                    </a:cubicBezTo>
                    <a:cubicBezTo>
                      <a:pt x="255" y="63"/>
                      <a:pt x="255" y="63"/>
                      <a:pt x="255" y="63"/>
                    </a:cubicBezTo>
                    <a:lnTo>
                      <a:pt x="259" y="61"/>
                    </a:lnTo>
                    <a:close/>
                    <a:moveTo>
                      <a:pt x="266" y="75"/>
                    </a:moveTo>
                    <a:cubicBezTo>
                      <a:pt x="262" y="68"/>
                      <a:pt x="262" y="68"/>
                      <a:pt x="262" y="68"/>
                    </a:cubicBezTo>
                    <a:cubicBezTo>
                      <a:pt x="259" y="70"/>
                      <a:pt x="259" y="70"/>
                      <a:pt x="259" y="70"/>
                    </a:cubicBezTo>
                    <a:cubicBezTo>
                      <a:pt x="263" y="77"/>
                      <a:pt x="263" y="77"/>
                      <a:pt x="263" y="77"/>
                    </a:cubicBezTo>
                    <a:lnTo>
                      <a:pt x="266" y="75"/>
                    </a:lnTo>
                    <a:close/>
                    <a:moveTo>
                      <a:pt x="274" y="89"/>
                    </a:moveTo>
                    <a:cubicBezTo>
                      <a:pt x="270" y="82"/>
                      <a:pt x="270" y="82"/>
                      <a:pt x="270" y="82"/>
                    </a:cubicBezTo>
                    <a:cubicBezTo>
                      <a:pt x="266" y="84"/>
                      <a:pt x="266" y="84"/>
                      <a:pt x="266" y="84"/>
                    </a:cubicBezTo>
                    <a:cubicBezTo>
                      <a:pt x="270" y="91"/>
                      <a:pt x="270" y="91"/>
                      <a:pt x="270" y="91"/>
                    </a:cubicBezTo>
                    <a:lnTo>
                      <a:pt x="274" y="89"/>
                    </a:lnTo>
                    <a:close/>
                    <a:moveTo>
                      <a:pt x="232" y="20"/>
                    </a:moveTo>
                    <a:cubicBezTo>
                      <a:pt x="231" y="19"/>
                      <a:pt x="228" y="17"/>
                      <a:pt x="226" y="15"/>
                    </a:cubicBezTo>
                    <a:cubicBezTo>
                      <a:pt x="224" y="19"/>
                      <a:pt x="224" y="19"/>
                      <a:pt x="224" y="19"/>
                    </a:cubicBezTo>
                    <a:cubicBezTo>
                      <a:pt x="226" y="20"/>
                      <a:pt x="228" y="22"/>
                      <a:pt x="230" y="23"/>
                    </a:cubicBezTo>
                    <a:lnTo>
                      <a:pt x="232" y="20"/>
                    </a:lnTo>
                    <a:close/>
                    <a:moveTo>
                      <a:pt x="243" y="33"/>
                    </a:moveTo>
                    <a:cubicBezTo>
                      <a:pt x="242" y="31"/>
                      <a:pt x="240" y="28"/>
                      <a:pt x="238" y="26"/>
                    </a:cubicBezTo>
                    <a:cubicBezTo>
                      <a:pt x="235" y="29"/>
                      <a:pt x="235" y="29"/>
                      <a:pt x="235" y="29"/>
                    </a:cubicBezTo>
                    <a:cubicBezTo>
                      <a:pt x="237" y="31"/>
                      <a:pt x="239" y="33"/>
                      <a:pt x="240" y="35"/>
                    </a:cubicBezTo>
                    <a:lnTo>
                      <a:pt x="243" y="33"/>
                    </a:lnTo>
                    <a:close/>
                    <a:moveTo>
                      <a:pt x="277" y="105"/>
                    </a:moveTo>
                    <a:cubicBezTo>
                      <a:pt x="280" y="104"/>
                      <a:pt x="280" y="104"/>
                      <a:pt x="280" y="104"/>
                    </a:cubicBezTo>
                    <a:cubicBezTo>
                      <a:pt x="279" y="101"/>
                      <a:pt x="278" y="99"/>
                      <a:pt x="277" y="96"/>
                    </a:cubicBezTo>
                    <a:cubicBezTo>
                      <a:pt x="274" y="98"/>
                      <a:pt x="274" y="98"/>
                      <a:pt x="274" y="98"/>
                    </a:cubicBezTo>
                    <a:cubicBezTo>
                      <a:pt x="275" y="100"/>
                      <a:pt x="276" y="103"/>
                      <a:pt x="277" y="105"/>
                    </a:cubicBezTo>
                    <a:close/>
                    <a:moveTo>
                      <a:pt x="205" y="4"/>
                    </a:moveTo>
                    <a:cubicBezTo>
                      <a:pt x="202" y="3"/>
                      <a:pt x="199" y="2"/>
                      <a:pt x="197" y="2"/>
                    </a:cubicBezTo>
                    <a:cubicBezTo>
                      <a:pt x="196" y="6"/>
                      <a:pt x="196" y="6"/>
                      <a:pt x="196" y="6"/>
                    </a:cubicBezTo>
                    <a:cubicBezTo>
                      <a:pt x="198" y="6"/>
                      <a:pt x="201" y="7"/>
                      <a:pt x="203" y="8"/>
                    </a:cubicBezTo>
                    <a:lnTo>
                      <a:pt x="205" y="4"/>
                    </a:lnTo>
                    <a:close/>
                    <a:moveTo>
                      <a:pt x="157" y="0"/>
                    </a:moveTo>
                    <a:cubicBezTo>
                      <a:pt x="149" y="0"/>
                      <a:pt x="149" y="0"/>
                      <a:pt x="149" y="0"/>
                    </a:cubicBezTo>
                    <a:cubicBezTo>
                      <a:pt x="149" y="4"/>
                      <a:pt x="149" y="4"/>
                      <a:pt x="149" y="4"/>
                    </a:cubicBezTo>
                    <a:cubicBezTo>
                      <a:pt x="157" y="4"/>
                      <a:pt x="157" y="4"/>
                      <a:pt x="157" y="4"/>
                    </a:cubicBezTo>
                    <a:lnTo>
                      <a:pt x="157" y="0"/>
                    </a:lnTo>
                    <a:close/>
                    <a:moveTo>
                      <a:pt x="172" y="0"/>
                    </a:moveTo>
                    <a:cubicBezTo>
                      <a:pt x="165" y="0"/>
                      <a:pt x="165" y="0"/>
                      <a:pt x="165" y="0"/>
                    </a:cubicBezTo>
                    <a:cubicBezTo>
                      <a:pt x="165" y="4"/>
                      <a:pt x="165" y="4"/>
                      <a:pt x="165" y="4"/>
                    </a:cubicBezTo>
                    <a:cubicBezTo>
                      <a:pt x="172" y="4"/>
                      <a:pt x="172" y="4"/>
                      <a:pt x="172" y="4"/>
                    </a:cubicBezTo>
                    <a:lnTo>
                      <a:pt x="172" y="0"/>
                    </a:lnTo>
                    <a:close/>
                    <a:moveTo>
                      <a:pt x="188" y="4"/>
                    </a:moveTo>
                    <a:cubicBezTo>
                      <a:pt x="189" y="0"/>
                      <a:pt x="189" y="0"/>
                      <a:pt x="189" y="0"/>
                    </a:cubicBezTo>
                    <a:cubicBezTo>
                      <a:pt x="187" y="0"/>
                      <a:pt x="186" y="0"/>
                      <a:pt x="185" y="0"/>
                    </a:cubicBezTo>
                    <a:cubicBezTo>
                      <a:pt x="180" y="0"/>
                      <a:pt x="180" y="0"/>
                      <a:pt x="180" y="0"/>
                    </a:cubicBezTo>
                    <a:cubicBezTo>
                      <a:pt x="180" y="4"/>
                      <a:pt x="180" y="4"/>
                      <a:pt x="180" y="4"/>
                    </a:cubicBezTo>
                    <a:cubicBezTo>
                      <a:pt x="185" y="4"/>
                      <a:pt x="185" y="4"/>
                      <a:pt x="185" y="4"/>
                    </a:cubicBezTo>
                    <a:cubicBezTo>
                      <a:pt x="186" y="4"/>
                      <a:pt x="187" y="4"/>
                      <a:pt x="188" y="4"/>
                    </a:cubicBezTo>
                    <a:close/>
                    <a:moveTo>
                      <a:pt x="219" y="11"/>
                    </a:moveTo>
                    <a:cubicBezTo>
                      <a:pt x="217" y="9"/>
                      <a:pt x="215" y="8"/>
                      <a:pt x="212" y="7"/>
                    </a:cubicBezTo>
                    <a:cubicBezTo>
                      <a:pt x="210" y="11"/>
                      <a:pt x="210" y="11"/>
                      <a:pt x="210" y="11"/>
                    </a:cubicBezTo>
                    <a:cubicBezTo>
                      <a:pt x="213" y="12"/>
                      <a:pt x="215" y="13"/>
                      <a:pt x="217" y="14"/>
                    </a:cubicBezTo>
                    <a:lnTo>
                      <a:pt x="219" y="11"/>
                    </a:lnTo>
                    <a:close/>
                    <a:moveTo>
                      <a:pt x="285" y="135"/>
                    </a:moveTo>
                    <a:cubicBezTo>
                      <a:pt x="289" y="135"/>
                      <a:pt x="289" y="135"/>
                      <a:pt x="289" y="135"/>
                    </a:cubicBezTo>
                    <a:cubicBezTo>
                      <a:pt x="289" y="132"/>
                      <a:pt x="288" y="129"/>
                      <a:pt x="288" y="127"/>
                    </a:cubicBezTo>
                    <a:cubicBezTo>
                      <a:pt x="284" y="128"/>
                      <a:pt x="284" y="128"/>
                      <a:pt x="284" y="128"/>
                    </a:cubicBezTo>
                    <a:cubicBezTo>
                      <a:pt x="284" y="130"/>
                      <a:pt x="285" y="133"/>
                      <a:pt x="285" y="135"/>
                    </a:cubicBezTo>
                    <a:close/>
                    <a:moveTo>
                      <a:pt x="288" y="151"/>
                    </a:moveTo>
                    <a:cubicBezTo>
                      <a:pt x="292" y="150"/>
                      <a:pt x="292" y="150"/>
                      <a:pt x="292" y="150"/>
                    </a:cubicBezTo>
                    <a:cubicBezTo>
                      <a:pt x="292" y="148"/>
                      <a:pt x="291" y="145"/>
                      <a:pt x="291" y="142"/>
                    </a:cubicBezTo>
                    <a:cubicBezTo>
                      <a:pt x="287" y="143"/>
                      <a:pt x="287" y="143"/>
                      <a:pt x="287" y="143"/>
                    </a:cubicBezTo>
                    <a:cubicBezTo>
                      <a:pt x="287" y="146"/>
                      <a:pt x="288" y="148"/>
                      <a:pt x="288" y="151"/>
                    </a:cubicBezTo>
                    <a:close/>
                    <a:moveTo>
                      <a:pt x="242" y="296"/>
                    </a:moveTo>
                    <a:cubicBezTo>
                      <a:pt x="250" y="296"/>
                      <a:pt x="250" y="296"/>
                      <a:pt x="250" y="296"/>
                    </a:cubicBezTo>
                    <a:cubicBezTo>
                      <a:pt x="250" y="292"/>
                      <a:pt x="250" y="292"/>
                      <a:pt x="250" y="292"/>
                    </a:cubicBezTo>
                    <a:cubicBezTo>
                      <a:pt x="242" y="292"/>
                      <a:pt x="242" y="292"/>
                      <a:pt x="242" y="292"/>
                    </a:cubicBezTo>
                    <a:lnTo>
                      <a:pt x="242" y="296"/>
                    </a:lnTo>
                    <a:close/>
                    <a:moveTo>
                      <a:pt x="226" y="296"/>
                    </a:moveTo>
                    <a:cubicBezTo>
                      <a:pt x="234" y="296"/>
                      <a:pt x="234" y="296"/>
                      <a:pt x="234" y="296"/>
                    </a:cubicBezTo>
                    <a:cubicBezTo>
                      <a:pt x="234" y="292"/>
                      <a:pt x="234" y="292"/>
                      <a:pt x="234" y="292"/>
                    </a:cubicBezTo>
                    <a:cubicBezTo>
                      <a:pt x="226" y="292"/>
                      <a:pt x="226" y="292"/>
                      <a:pt x="226" y="292"/>
                    </a:cubicBezTo>
                    <a:lnTo>
                      <a:pt x="226" y="296"/>
                    </a:lnTo>
                    <a:close/>
                    <a:moveTo>
                      <a:pt x="258" y="292"/>
                    </a:moveTo>
                    <a:cubicBezTo>
                      <a:pt x="259" y="296"/>
                      <a:pt x="259" y="296"/>
                      <a:pt x="259" y="296"/>
                    </a:cubicBezTo>
                    <a:cubicBezTo>
                      <a:pt x="261" y="295"/>
                      <a:pt x="264" y="294"/>
                      <a:pt x="267" y="293"/>
                    </a:cubicBezTo>
                    <a:cubicBezTo>
                      <a:pt x="265" y="290"/>
                      <a:pt x="265" y="290"/>
                      <a:pt x="265" y="290"/>
                    </a:cubicBezTo>
                    <a:cubicBezTo>
                      <a:pt x="263" y="291"/>
                      <a:pt x="260" y="291"/>
                      <a:pt x="258" y="292"/>
                    </a:cubicBezTo>
                    <a:close/>
                    <a:moveTo>
                      <a:pt x="210" y="296"/>
                    </a:moveTo>
                    <a:cubicBezTo>
                      <a:pt x="218" y="296"/>
                      <a:pt x="218" y="296"/>
                      <a:pt x="218" y="296"/>
                    </a:cubicBezTo>
                    <a:cubicBezTo>
                      <a:pt x="218" y="292"/>
                      <a:pt x="218" y="292"/>
                      <a:pt x="218" y="292"/>
                    </a:cubicBezTo>
                    <a:cubicBezTo>
                      <a:pt x="210" y="292"/>
                      <a:pt x="210" y="292"/>
                      <a:pt x="210" y="292"/>
                    </a:cubicBezTo>
                    <a:lnTo>
                      <a:pt x="210" y="296"/>
                    </a:lnTo>
                    <a:close/>
                    <a:moveTo>
                      <a:pt x="179" y="296"/>
                    </a:moveTo>
                    <a:cubicBezTo>
                      <a:pt x="187" y="296"/>
                      <a:pt x="187" y="296"/>
                      <a:pt x="187" y="296"/>
                    </a:cubicBezTo>
                    <a:cubicBezTo>
                      <a:pt x="187" y="292"/>
                      <a:pt x="187" y="292"/>
                      <a:pt x="187" y="292"/>
                    </a:cubicBezTo>
                    <a:cubicBezTo>
                      <a:pt x="179" y="292"/>
                      <a:pt x="179" y="292"/>
                      <a:pt x="179" y="292"/>
                    </a:cubicBezTo>
                    <a:lnTo>
                      <a:pt x="179" y="296"/>
                    </a:lnTo>
                    <a:close/>
                    <a:moveTo>
                      <a:pt x="163" y="296"/>
                    </a:moveTo>
                    <a:cubicBezTo>
                      <a:pt x="171" y="296"/>
                      <a:pt x="171" y="296"/>
                      <a:pt x="171" y="296"/>
                    </a:cubicBezTo>
                    <a:cubicBezTo>
                      <a:pt x="171" y="292"/>
                      <a:pt x="171" y="292"/>
                      <a:pt x="171" y="292"/>
                    </a:cubicBezTo>
                    <a:cubicBezTo>
                      <a:pt x="163" y="292"/>
                      <a:pt x="163" y="292"/>
                      <a:pt x="163" y="292"/>
                    </a:cubicBezTo>
                    <a:lnTo>
                      <a:pt x="163" y="296"/>
                    </a:lnTo>
                    <a:close/>
                    <a:moveTo>
                      <a:pt x="147" y="296"/>
                    </a:moveTo>
                    <a:cubicBezTo>
                      <a:pt x="155" y="296"/>
                      <a:pt x="155" y="296"/>
                      <a:pt x="155" y="296"/>
                    </a:cubicBezTo>
                    <a:cubicBezTo>
                      <a:pt x="155" y="292"/>
                      <a:pt x="155" y="292"/>
                      <a:pt x="155" y="292"/>
                    </a:cubicBezTo>
                    <a:cubicBezTo>
                      <a:pt x="147" y="292"/>
                      <a:pt x="147" y="292"/>
                      <a:pt x="147" y="292"/>
                    </a:cubicBezTo>
                    <a:lnTo>
                      <a:pt x="147" y="296"/>
                    </a:lnTo>
                    <a:close/>
                    <a:moveTo>
                      <a:pt x="195" y="296"/>
                    </a:moveTo>
                    <a:cubicBezTo>
                      <a:pt x="203" y="296"/>
                      <a:pt x="203" y="296"/>
                      <a:pt x="203" y="296"/>
                    </a:cubicBezTo>
                    <a:cubicBezTo>
                      <a:pt x="203" y="292"/>
                      <a:pt x="203" y="292"/>
                      <a:pt x="203" y="292"/>
                    </a:cubicBezTo>
                    <a:cubicBezTo>
                      <a:pt x="195" y="292"/>
                      <a:pt x="195" y="292"/>
                      <a:pt x="195" y="292"/>
                    </a:cubicBezTo>
                    <a:lnTo>
                      <a:pt x="195" y="296"/>
                    </a:lnTo>
                    <a:close/>
                    <a:moveTo>
                      <a:pt x="131" y="296"/>
                    </a:moveTo>
                    <a:cubicBezTo>
                      <a:pt x="139" y="296"/>
                      <a:pt x="139" y="296"/>
                      <a:pt x="139" y="296"/>
                    </a:cubicBezTo>
                    <a:cubicBezTo>
                      <a:pt x="139" y="292"/>
                      <a:pt x="139" y="292"/>
                      <a:pt x="139" y="292"/>
                    </a:cubicBezTo>
                    <a:cubicBezTo>
                      <a:pt x="131" y="292"/>
                      <a:pt x="131" y="292"/>
                      <a:pt x="131" y="292"/>
                    </a:cubicBezTo>
                    <a:lnTo>
                      <a:pt x="131" y="296"/>
                    </a:lnTo>
                    <a:close/>
                    <a:moveTo>
                      <a:pt x="272" y="286"/>
                    </a:moveTo>
                    <a:cubicBezTo>
                      <a:pt x="274" y="289"/>
                      <a:pt x="274" y="289"/>
                      <a:pt x="274" y="289"/>
                    </a:cubicBezTo>
                    <a:cubicBezTo>
                      <a:pt x="276" y="288"/>
                      <a:pt x="279" y="286"/>
                      <a:pt x="281" y="284"/>
                    </a:cubicBezTo>
                    <a:cubicBezTo>
                      <a:pt x="278" y="281"/>
                      <a:pt x="278" y="281"/>
                      <a:pt x="278" y="281"/>
                    </a:cubicBezTo>
                    <a:cubicBezTo>
                      <a:pt x="276" y="283"/>
                      <a:pt x="274" y="285"/>
                      <a:pt x="272" y="286"/>
                    </a:cubicBezTo>
                    <a:close/>
                    <a:moveTo>
                      <a:pt x="289" y="214"/>
                    </a:moveTo>
                    <a:cubicBezTo>
                      <a:pt x="293" y="214"/>
                      <a:pt x="293" y="214"/>
                      <a:pt x="293" y="214"/>
                    </a:cubicBezTo>
                    <a:cubicBezTo>
                      <a:pt x="293" y="206"/>
                      <a:pt x="293" y="206"/>
                      <a:pt x="293" y="206"/>
                    </a:cubicBezTo>
                    <a:cubicBezTo>
                      <a:pt x="289" y="206"/>
                      <a:pt x="289" y="206"/>
                      <a:pt x="289" y="206"/>
                    </a:cubicBezTo>
                    <a:lnTo>
                      <a:pt x="289" y="214"/>
                    </a:lnTo>
                    <a:close/>
                    <a:moveTo>
                      <a:pt x="289" y="182"/>
                    </a:moveTo>
                    <a:cubicBezTo>
                      <a:pt x="293" y="182"/>
                      <a:pt x="293" y="182"/>
                      <a:pt x="293" y="182"/>
                    </a:cubicBezTo>
                    <a:cubicBezTo>
                      <a:pt x="293" y="175"/>
                      <a:pt x="293" y="175"/>
                      <a:pt x="293" y="175"/>
                    </a:cubicBezTo>
                    <a:cubicBezTo>
                      <a:pt x="289" y="175"/>
                      <a:pt x="289" y="175"/>
                      <a:pt x="289" y="175"/>
                    </a:cubicBezTo>
                    <a:lnTo>
                      <a:pt x="289" y="182"/>
                    </a:lnTo>
                    <a:close/>
                    <a:moveTo>
                      <a:pt x="289" y="198"/>
                    </a:moveTo>
                    <a:cubicBezTo>
                      <a:pt x="293" y="198"/>
                      <a:pt x="293" y="198"/>
                      <a:pt x="293" y="198"/>
                    </a:cubicBezTo>
                    <a:cubicBezTo>
                      <a:pt x="293" y="190"/>
                      <a:pt x="293" y="190"/>
                      <a:pt x="293" y="190"/>
                    </a:cubicBezTo>
                    <a:cubicBezTo>
                      <a:pt x="289" y="190"/>
                      <a:pt x="289" y="190"/>
                      <a:pt x="289" y="190"/>
                    </a:cubicBezTo>
                    <a:lnTo>
                      <a:pt x="289" y="198"/>
                    </a:lnTo>
                    <a:close/>
                    <a:moveTo>
                      <a:pt x="283" y="111"/>
                    </a:moveTo>
                    <a:cubicBezTo>
                      <a:pt x="279" y="113"/>
                      <a:pt x="279" y="113"/>
                      <a:pt x="279" y="113"/>
                    </a:cubicBezTo>
                    <a:cubicBezTo>
                      <a:pt x="280" y="115"/>
                      <a:pt x="281" y="118"/>
                      <a:pt x="282" y="120"/>
                    </a:cubicBezTo>
                    <a:cubicBezTo>
                      <a:pt x="285" y="119"/>
                      <a:pt x="285" y="119"/>
                      <a:pt x="285" y="119"/>
                    </a:cubicBezTo>
                    <a:cubicBezTo>
                      <a:pt x="285" y="116"/>
                      <a:pt x="284" y="114"/>
                      <a:pt x="283" y="111"/>
                    </a:cubicBezTo>
                    <a:close/>
                    <a:moveTo>
                      <a:pt x="293" y="158"/>
                    </a:moveTo>
                    <a:cubicBezTo>
                      <a:pt x="289" y="159"/>
                      <a:pt x="289" y="159"/>
                      <a:pt x="289" y="159"/>
                    </a:cubicBezTo>
                    <a:cubicBezTo>
                      <a:pt x="289" y="161"/>
                      <a:pt x="289" y="163"/>
                      <a:pt x="289" y="166"/>
                    </a:cubicBezTo>
                    <a:cubicBezTo>
                      <a:pt x="289" y="167"/>
                      <a:pt x="289" y="167"/>
                      <a:pt x="289" y="167"/>
                    </a:cubicBezTo>
                    <a:cubicBezTo>
                      <a:pt x="293" y="167"/>
                      <a:pt x="293" y="167"/>
                      <a:pt x="293" y="167"/>
                    </a:cubicBezTo>
                    <a:cubicBezTo>
                      <a:pt x="293" y="166"/>
                      <a:pt x="293" y="166"/>
                      <a:pt x="293" y="166"/>
                    </a:cubicBezTo>
                    <a:cubicBezTo>
                      <a:pt x="293" y="163"/>
                      <a:pt x="293" y="161"/>
                      <a:pt x="293" y="158"/>
                    </a:cubicBezTo>
                    <a:close/>
                    <a:moveTo>
                      <a:pt x="283" y="276"/>
                    </a:moveTo>
                    <a:cubicBezTo>
                      <a:pt x="286" y="278"/>
                      <a:pt x="286" y="278"/>
                      <a:pt x="286" y="278"/>
                    </a:cubicBezTo>
                    <a:cubicBezTo>
                      <a:pt x="287" y="276"/>
                      <a:pt x="289" y="273"/>
                      <a:pt x="290" y="271"/>
                    </a:cubicBezTo>
                    <a:cubicBezTo>
                      <a:pt x="286" y="269"/>
                      <a:pt x="286" y="269"/>
                      <a:pt x="286" y="269"/>
                    </a:cubicBezTo>
                    <a:cubicBezTo>
                      <a:pt x="285" y="271"/>
                      <a:pt x="284" y="274"/>
                      <a:pt x="283" y="276"/>
                    </a:cubicBezTo>
                    <a:close/>
                    <a:moveTo>
                      <a:pt x="288" y="262"/>
                    </a:moveTo>
                    <a:cubicBezTo>
                      <a:pt x="292" y="263"/>
                      <a:pt x="292" y="263"/>
                      <a:pt x="292" y="263"/>
                    </a:cubicBezTo>
                    <a:cubicBezTo>
                      <a:pt x="293" y="260"/>
                      <a:pt x="293" y="257"/>
                      <a:pt x="293" y="254"/>
                    </a:cubicBezTo>
                    <a:cubicBezTo>
                      <a:pt x="293" y="254"/>
                      <a:pt x="293" y="254"/>
                      <a:pt x="293" y="254"/>
                    </a:cubicBezTo>
                    <a:cubicBezTo>
                      <a:pt x="289" y="254"/>
                      <a:pt x="289" y="254"/>
                      <a:pt x="289" y="254"/>
                    </a:cubicBezTo>
                    <a:cubicBezTo>
                      <a:pt x="289" y="257"/>
                      <a:pt x="289" y="259"/>
                      <a:pt x="288" y="262"/>
                    </a:cubicBezTo>
                    <a:close/>
                    <a:moveTo>
                      <a:pt x="289" y="230"/>
                    </a:moveTo>
                    <a:cubicBezTo>
                      <a:pt x="293" y="230"/>
                      <a:pt x="293" y="230"/>
                      <a:pt x="293" y="230"/>
                    </a:cubicBezTo>
                    <a:cubicBezTo>
                      <a:pt x="293" y="222"/>
                      <a:pt x="293" y="222"/>
                      <a:pt x="293" y="222"/>
                    </a:cubicBezTo>
                    <a:cubicBezTo>
                      <a:pt x="289" y="222"/>
                      <a:pt x="289" y="222"/>
                      <a:pt x="289" y="222"/>
                    </a:cubicBezTo>
                    <a:lnTo>
                      <a:pt x="289" y="230"/>
                    </a:lnTo>
                    <a:close/>
                    <a:moveTo>
                      <a:pt x="289" y="246"/>
                    </a:moveTo>
                    <a:cubicBezTo>
                      <a:pt x="293" y="246"/>
                      <a:pt x="293" y="246"/>
                      <a:pt x="293" y="246"/>
                    </a:cubicBezTo>
                    <a:cubicBezTo>
                      <a:pt x="293" y="238"/>
                      <a:pt x="293" y="238"/>
                      <a:pt x="293" y="238"/>
                    </a:cubicBezTo>
                    <a:cubicBezTo>
                      <a:pt x="289" y="238"/>
                      <a:pt x="289" y="238"/>
                      <a:pt x="289" y="238"/>
                    </a:cubicBezTo>
                    <a:lnTo>
                      <a:pt x="289" y="246"/>
                    </a:lnTo>
                    <a:close/>
                    <a:moveTo>
                      <a:pt x="4" y="119"/>
                    </a:moveTo>
                    <a:cubicBezTo>
                      <a:pt x="0" y="119"/>
                      <a:pt x="0" y="119"/>
                      <a:pt x="0" y="119"/>
                    </a:cubicBezTo>
                    <a:cubicBezTo>
                      <a:pt x="0" y="127"/>
                      <a:pt x="0" y="127"/>
                      <a:pt x="0" y="127"/>
                    </a:cubicBezTo>
                    <a:cubicBezTo>
                      <a:pt x="4" y="127"/>
                      <a:pt x="4" y="127"/>
                      <a:pt x="4" y="127"/>
                    </a:cubicBezTo>
                    <a:lnTo>
                      <a:pt x="4" y="119"/>
                    </a:lnTo>
                    <a:close/>
                    <a:moveTo>
                      <a:pt x="4" y="215"/>
                    </a:moveTo>
                    <a:cubicBezTo>
                      <a:pt x="0" y="215"/>
                      <a:pt x="0" y="215"/>
                      <a:pt x="0" y="215"/>
                    </a:cubicBezTo>
                    <a:cubicBezTo>
                      <a:pt x="0" y="223"/>
                      <a:pt x="0" y="223"/>
                      <a:pt x="0" y="223"/>
                    </a:cubicBezTo>
                    <a:cubicBezTo>
                      <a:pt x="4" y="223"/>
                      <a:pt x="4" y="223"/>
                      <a:pt x="4" y="223"/>
                    </a:cubicBezTo>
                    <a:lnTo>
                      <a:pt x="4" y="215"/>
                    </a:lnTo>
                    <a:close/>
                    <a:moveTo>
                      <a:pt x="115" y="296"/>
                    </a:moveTo>
                    <a:cubicBezTo>
                      <a:pt x="123" y="296"/>
                      <a:pt x="123" y="296"/>
                      <a:pt x="123" y="296"/>
                    </a:cubicBezTo>
                    <a:cubicBezTo>
                      <a:pt x="123" y="292"/>
                      <a:pt x="123" y="292"/>
                      <a:pt x="123" y="292"/>
                    </a:cubicBezTo>
                    <a:cubicBezTo>
                      <a:pt x="115" y="292"/>
                      <a:pt x="115" y="292"/>
                      <a:pt x="115" y="292"/>
                    </a:cubicBezTo>
                    <a:lnTo>
                      <a:pt x="115" y="296"/>
                    </a:lnTo>
                    <a:close/>
                    <a:moveTo>
                      <a:pt x="4" y="247"/>
                    </a:moveTo>
                    <a:cubicBezTo>
                      <a:pt x="0" y="247"/>
                      <a:pt x="0" y="247"/>
                      <a:pt x="0" y="247"/>
                    </a:cubicBezTo>
                    <a:cubicBezTo>
                      <a:pt x="0" y="255"/>
                      <a:pt x="0" y="255"/>
                      <a:pt x="0" y="255"/>
                    </a:cubicBezTo>
                    <a:cubicBezTo>
                      <a:pt x="4" y="255"/>
                      <a:pt x="4" y="255"/>
                      <a:pt x="4" y="255"/>
                    </a:cubicBezTo>
                    <a:lnTo>
                      <a:pt x="4" y="247"/>
                    </a:lnTo>
                    <a:close/>
                    <a:moveTo>
                      <a:pt x="4" y="231"/>
                    </a:moveTo>
                    <a:cubicBezTo>
                      <a:pt x="0" y="231"/>
                      <a:pt x="0" y="231"/>
                      <a:pt x="0" y="231"/>
                    </a:cubicBezTo>
                    <a:cubicBezTo>
                      <a:pt x="0" y="239"/>
                      <a:pt x="0" y="239"/>
                      <a:pt x="0" y="239"/>
                    </a:cubicBezTo>
                    <a:cubicBezTo>
                      <a:pt x="4" y="239"/>
                      <a:pt x="4" y="239"/>
                      <a:pt x="4" y="239"/>
                    </a:cubicBezTo>
                    <a:lnTo>
                      <a:pt x="4" y="231"/>
                    </a:lnTo>
                    <a:close/>
                    <a:moveTo>
                      <a:pt x="4" y="183"/>
                    </a:moveTo>
                    <a:cubicBezTo>
                      <a:pt x="0" y="183"/>
                      <a:pt x="0" y="183"/>
                      <a:pt x="0" y="183"/>
                    </a:cubicBezTo>
                    <a:cubicBezTo>
                      <a:pt x="0" y="191"/>
                      <a:pt x="0" y="191"/>
                      <a:pt x="0" y="191"/>
                    </a:cubicBezTo>
                    <a:cubicBezTo>
                      <a:pt x="4" y="191"/>
                      <a:pt x="4" y="191"/>
                      <a:pt x="4" y="191"/>
                    </a:cubicBezTo>
                    <a:lnTo>
                      <a:pt x="4" y="183"/>
                    </a:lnTo>
                    <a:close/>
                    <a:moveTo>
                      <a:pt x="4" y="135"/>
                    </a:moveTo>
                    <a:cubicBezTo>
                      <a:pt x="0" y="135"/>
                      <a:pt x="0" y="135"/>
                      <a:pt x="0" y="135"/>
                    </a:cubicBezTo>
                    <a:cubicBezTo>
                      <a:pt x="0" y="143"/>
                      <a:pt x="0" y="143"/>
                      <a:pt x="0" y="143"/>
                    </a:cubicBezTo>
                    <a:cubicBezTo>
                      <a:pt x="4" y="143"/>
                      <a:pt x="4" y="143"/>
                      <a:pt x="4" y="143"/>
                    </a:cubicBezTo>
                    <a:lnTo>
                      <a:pt x="4" y="135"/>
                    </a:lnTo>
                    <a:close/>
                    <a:moveTo>
                      <a:pt x="4" y="104"/>
                    </a:moveTo>
                    <a:cubicBezTo>
                      <a:pt x="0" y="104"/>
                      <a:pt x="0" y="104"/>
                      <a:pt x="0" y="104"/>
                    </a:cubicBezTo>
                    <a:cubicBezTo>
                      <a:pt x="0" y="112"/>
                      <a:pt x="0" y="112"/>
                      <a:pt x="0" y="112"/>
                    </a:cubicBezTo>
                    <a:cubicBezTo>
                      <a:pt x="4" y="112"/>
                      <a:pt x="4" y="112"/>
                      <a:pt x="4" y="112"/>
                    </a:cubicBezTo>
                    <a:lnTo>
                      <a:pt x="4" y="104"/>
                    </a:lnTo>
                    <a:close/>
                    <a:moveTo>
                      <a:pt x="4" y="167"/>
                    </a:moveTo>
                    <a:cubicBezTo>
                      <a:pt x="0" y="167"/>
                      <a:pt x="0" y="167"/>
                      <a:pt x="0" y="167"/>
                    </a:cubicBezTo>
                    <a:cubicBezTo>
                      <a:pt x="0" y="175"/>
                      <a:pt x="0" y="175"/>
                      <a:pt x="0" y="175"/>
                    </a:cubicBezTo>
                    <a:cubicBezTo>
                      <a:pt x="4" y="175"/>
                      <a:pt x="4" y="175"/>
                      <a:pt x="4" y="175"/>
                    </a:cubicBezTo>
                    <a:lnTo>
                      <a:pt x="4" y="167"/>
                    </a:lnTo>
                    <a:close/>
                    <a:moveTo>
                      <a:pt x="4" y="151"/>
                    </a:moveTo>
                    <a:cubicBezTo>
                      <a:pt x="0" y="151"/>
                      <a:pt x="0" y="151"/>
                      <a:pt x="0" y="151"/>
                    </a:cubicBezTo>
                    <a:cubicBezTo>
                      <a:pt x="0" y="159"/>
                      <a:pt x="0" y="159"/>
                      <a:pt x="0" y="159"/>
                    </a:cubicBezTo>
                    <a:cubicBezTo>
                      <a:pt x="4" y="159"/>
                      <a:pt x="4" y="159"/>
                      <a:pt x="4" y="159"/>
                    </a:cubicBezTo>
                    <a:lnTo>
                      <a:pt x="4" y="151"/>
                    </a:lnTo>
                    <a:close/>
                    <a:moveTo>
                      <a:pt x="4" y="199"/>
                    </a:moveTo>
                    <a:cubicBezTo>
                      <a:pt x="0" y="199"/>
                      <a:pt x="0" y="199"/>
                      <a:pt x="0" y="199"/>
                    </a:cubicBezTo>
                    <a:cubicBezTo>
                      <a:pt x="0" y="207"/>
                      <a:pt x="0" y="207"/>
                      <a:pt x="0" y="207"/>
                    </a:cubicBezTo>
                    <a:cubicBezTo>
                      <a:pt x="4" y="207"/>
                      <a:pt x="4" y="207"/>
                      <a:pt x="4" y="207"/>
                    </a:cubicBezTo>
                    <a:lnTo>
                      <a:pt x="4" y="199"/>
                    </a:lnTo>
                    <a:close/>
                    <a:moveTo>
                      <a:pt x="51" y="296"/>
                    </a:moveTo>
                    <a:cubicBezTo>
                      <a:pt x="59" y="296"/>
                      <a:pt x="59" y="296"/>
                      <a:pt x="59" y="296"/>
                    </a:cubicBezTo>
                    <a:cubicBezTo>
                      <a:pt x="59" y="292"/>
                      <a:pt x="59" y="292"/>
                      <a:pt x="59" y="292"/>
                    </a:cubicBezTo>
                    <a:cubicBezTo>
                      <a:pt x="51" y="292"/>
                      <a:pt x="51" y="292"/>
                      <a:pt x="51" y="292"/>
                    </a:cubicBezTo>
                    <a:lnTo>
                      <a:pt x="51" y="296"/>
                    </a:lnTo>
                    <a:close/>
                    <a:moveTo>
                      <a:pt x="83" y="296"/>
                    </a:moveTo>
                    <a:cubicBezTo>
                      <a:pt x="91" y="296"/>
                      <a:pt x="91" y="296"/>
                      <a:pt x="91" y="296"/>
                    </a:cubicBezTo>
                    <a:cubicBezTo>
                      <a:pt x="91" y="292"/>
                      <a:pt x="91" y="292"/>
                      <a:pt x="91" y="292"/>
                    </a:cubicBezTo>
                    <a:cubicBezTo>
                      <a:pt x="83" y="292"/>
                      <a:pt x="83" y="292"/>
                      <a:pt x="83" y="292"/>
                    </a:cubicBezTo>
                    <a:lnTo>
                      <a:pt x="83" y="296"/>
                    </a:lnTo>
                    <a:close/>
                    <a:moveTo>
                      <a:pt x="67" y="296"/>
                    </a:moveTo>
                    <a:cubicBezTo>
                      <a:pt x="75" y="296"/>
                      <a:pt x="75" y="296"/>
                      <a:pt x="75" y="296"/>
                    </a:cubicBezTo>
                    <a:cubicBezTo>
                      <a:pt x="75" y="292"/>
                      <a:pt x="75" y="292"/>
                      <a:pt x="75" y="292"/>
                    </a:cubicBezTo>
                    <a:cubicBezTo>
                      <a:pt x="67" y="292"/>
                      <a:pt x="67" y="292"/>
                      <a:pt x="67" y="292"/>
                    </a:cubicBezTo>
                    <a:lnTo>
                      <a:pt x="67" y="296"/>
                    </a:lnTo>
                    <a:close/>
                    <a:moveTo>
                      <a:pt x="99" y="296"/>
                    </a:moveTo>
                    <a:cubicBezTo>
                      <a:pt x="107" y="296"/>
                      <a:pt x="107" y="296"/>
                      <a:pt x="107" y="296"/>
                    </a:cubicBezTo>
                    <a:cubicBezTo>
                      <a:pt x="107" y="292"/>
                      <a:pt x="107" y="292"/>
                      <a:pt x="107" y="292"/>
                    </a:cubicBezTo>
                    <a:cubicBezTo>
                      <a:pt x="99" y="292"/>
                      <a:pt x="99" y="292"/>
                      <a:pt x="99" y="292"/>
                    </a:cubicBezTo>
                    <a:lnTo>
                      <a:pt x="99" y="296"/>
                    </a:lnTo>
                    <a:close/>
                    <a:moveTo>
                      <a:pt x="20" y="290"/>
                    </a:moveTo>
                    <a:cubicBezTo>
                      <a:pt x="22" y="291"/>
                      <a:pt x="24" y="293"/>
                      <a:pt x="27" y="294"/>
                    </a:cubicBezTo>
                    <a:cubicBezTo>
                      <a:pt x="28" y="290"/>
                      <a:pt x="28" y="290"/>
                      <a:pt x="28" y="290"/>
                    </a:cubicBezTo>
                    <a:cubicBezTo>
                      <a:pt x="26" y="289"/>
                      <a:pt x="24" y="288"/>
                      <a:pt x="22" y="286"/>
                    </a:cubicBezTo>
                    <a:lnTo>
                      <a:pt x="20" y="290"/>
                    </a:lnTo>
                    <a:close/>
                    <a:moveTo>
                      <a:pt x="7" y="278"/>
                    </a:moveTo>
                    <a:cubicBezTo>
                      <a:pt x="9" y="281"/>
                      <a:pt x="11" y="283"/>
                      <a:pt x="13" y="285"/>
                    </a:cubicBezTo>
                    <a:cubicBezTo>
                      <a:pt x="16" y="282"/>
                      <a:pt x="16" y="282"/>
                      <a:pt x="16" y="282"/>
                    </a:cubicBezTo>
                    <a:cubicBezTo>
                      <a:pt x="14" y="280"/>
                      <a:pt x="12" y="278"/>
                      <a:pt x="11" y="276"/>
                    </a:cubicBezTo>
                    <a:lnTo>
                      <a:pt x="7" y="278"/>
                    </a:lnTo>
                    <a:close/>
                    <a:moveTo>
                      <a:pt x="36" y="292"/>
                    </a:moveTo>
                    <a:cubicBezTo>
                      <a:pt x="35" y="296"/>
                      <a:pt x="35" y="296"/>
                      <a:pt x="35" y="296"/>
                    </a:cubicBezTo>
                    <a:cubicBezTo>
                      <a:pt x="37" y="296"/>
                      <a:pt x="40" y="296"/>
                      <a:pt x="42" y="296"/>
                    </a:cubicBezTo>
                    <a:cubicBezTo>
                      <a:pt x="43" y="296"/>
                      <a:pt x="43" y="296"/>
                      <a:pt x="43" y="296"/>
                    </a:cubicBezTo>
                    <a:cubicBezTo>
                      <a:pt x="43" y="292"/>
                      <a:pt x="43" y="292"/>
                      <a:pt x="43" y="292"/>
                    </a:cubicBezTo>
                    <a:cubicBezTo>
                      <a:pt x="42" y="292"/>
                      <a:pt x="42" y="292"/>
                      <a:pt x="42" y="292"/>
                    </a:cubicBezTo>
                    <a:cubicBezTo>
                      <a:pt x="40" y="292"/>
                      <a:pt x="38" y="292"/>
                      <a:pt x="36" y="292"/>
                    </a:cubicBezTo>
                    <a:close/>
                    <a:moveTo>
                      <a:pt x="1" y="263"/>
                    </a:moveTo>
                    <a:cubicBezTo>
                      <a:pt x="1" y="266"/>
                      <a:pt x="2" y="269"/>
                      <a:pt x="3" y="271"/>
                    </a:cubicBezTo>
                    <a:cubicBezTo>
                      <a:pt x="7" y="269"/>
                      <a:pt x="7" y="269"/>
                      <a:pt x="7" y="269"/>
                    </a:cubicBezTo>
                    <a:cubicBezTo>
                      <a:pt x="6" y="267"/>
                      <a:pt x="5" y="265"/>
                      <a:pt x="5" y="262"/>
                    </a:cubicBezTo>
                    <a:lnTo>
                      <a:pt x="1" y="26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5" name="Freeform 37"/>
              <p:cNvSpPr>
                <a:spLocks noEditPoints="1"/>
              </p:cNvSpPr>
              <p:nvPr/>
            </p:nvSpPr>
            <p:spPr bwMode="auto">
              <a:xfrm>
                <a:off x="2649541" y="5346266"/>
                <a:ext cx="496665" cy="367349"/>
              </a:xfrm>
              <a:custGeom>
                <a:avLst/>
                <a:gdLst>
                  <a:gd name="T0" fmla="*/ 151 w 184"/>
                  <a:gd name="T1" fmla="*/ 69 h 136"/>
                  <a:gd name="T2" fmla="*/ 134 w 184"/>
                  <a:gd name="T3" fmla="*/ 74 h 136"/>
                  <a:gd name="T4" fmla="*/ 87 w 184"/>
                  <a:gd name="T5" fmla="*/ 44 h 136"/>
                  <a:gd name="T6" fmla="*/ 37 w 184"/>
                  <a:gd name="T7" fmla="*/ 85 h 136"/>
                  <a:gd name="T8" fmla="*/ 26 w 184"/>
                  <a:gd name="T9" fmla="*/ 83 h 136"/>
                  <a:gd name="T10" fmla="*/ 0 w 184"/>
                  <a:gd name="T11" fmla="*/ 109 h 136"/>
                  <a:gd name="T12" fmla="*/ 26 w 184"/>
                  <a:gd name="T13" fmla="*/ 136 h 136"/>
                  <a:gd name="T14" fmla="*/ 151 w 184"/>
                  <a:gd name="T15" fmla="*/ 136 h 136"/>
                  <a:gd name="T16" fmla="*/ 184 w 184"/>
                  <a:gd name="T17" fmla="*/ 102 h 136"/>
                  <a:gd name="T18" fmla="*/ 151 w 184"/>
                  <a:gd name="T19" fmla="*/ 69 h 136"/>
                  <a:gd name="T20" fmla="*/ 31 w 184"/>
                  <a:gd name="T21" fmla="*/ 63 h 136"/>
                  <a:gd name="T22" fmla="*/ 39 w 184"/>
                  <a:gd name="T23" fmla="*/ 58 h 136"/>
                  <a:gd name="T24" fmla="*/ 22 w 184"/>
                  <a:gd name="T25" fmla="*/ 32 h 136"/>
                  <a:gd name="T26" fmla="*/ 30 w 184"/>
                  <a:gd name="T27" fmla="*/ 10 h 136"/>
                  <a:gd name="T28" fmla="*/ 53 w 184"/>
                  <a:gd name="T29" fmla="*/ 12 h 136"/>
                  <a:gd name="T30" fmla="*/ 70 w 184"/>
                  <a:gd name="T31" fmla="*/ 38 h 136"/>
                  <a:gd name="T32" fmla="*/ 78 w 184"/>
                  <a:gd name="T33" fmla="*/ 33 h 136"/>
                  <a:gd name="T34" fmla="*/ 64 w 184"/>
                  <a:gd name="T35" fmla="*/ 12 h 136"/>
                  <a:gd name="T36" fmla="*/ 76 w 184"/>
                  <a:gd name="T37" fmla="*/ 4 h 136"/>
                  <a:gd name="T38" fmla="*/ 23 w 184"/>
                  <a:gd name="T39" fmla="*/ 0 h 136"/>
                  <a:gd name="T40" fmla="*/ 6 w 184"/>
                  <a:gd name="T41" fmla="*/ 50 h 136"/>
                  <a:gd name="T42" fmla="*/ 18 w 184"/>
                  <a:gd name="T43" fmla="*/ 42 h 136"/>
                  <a:gd name="T44" fmla="*/ 31 w 184"/>
                  <a:gd name="T45" fmla="*/ 6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4" h="136">
                    <a:moveTo>
                      <a:pt x="151" y="69"/>
                    </a:moveTo>
                    <a:cubicBezTo>
                      <a:pt x="145" y="69"/>
                      <a:pt x="139" y="71"/>
                      <a:pt x="134" y="74"/>
                    </a:cubicBezTo>
                    <a:cubicBezTo>
                      <a:pt x="125" y="56"/>
                      <a:pt x="108" y="44"/>
                      <a:pt x="87" y="44"/>
                    </a:cubicBezTo>
                    <a:cubicBezTo>
                      <a:pt x="62" y="44"/>
                      <a:pt x="42" y="62"/>
                      <a:pt x="37" y="85"/>
                    </a:cubicBezTo>
                    <a:cubicBezTo>
                      <a:pt x="33" y="83"/>
                      <a:pt x="30" y="83"/>
                      <a:pt x="26" y="83"/>
                    </a:cubicBezTo>
                    <a:cubicBezTo>
                      <a:pt x="11" y="83"/>
                      <a:pt x="0" y="94"/>
                      <a:pt x="0" y="109"/>
                    </a:cubicBezTo>
                    <a:cubicBezTo>
                      <a:pt x="0" y="124"/>
                      <a:pt x="11" y="136"/>
                      <a:pt x="26" y="136"/>
                    </a:cubicBezTo>
                    <a:cubicBezTo>
                      <a:pt x="151" y="136"/>
                      <a:pt x="151" y="136"/>
                      <a:pt x="151" y="136"/>
                    </a:cubicBezTo>
                    <a:cubicBezTo>
                      <a:pt x="169" y="136"/>
                      <a:pt x="184" y="121"/>
                      <a:pt x="184" y="102"/>
                    </a:cubicBezTo>
                    <a:cubicBezTo>
                      <a:pt x="184" y="84"/>
                      <a:pt x="169" y="69"/>
                      <a:pt x="151" y="69"/>
                    </a:cubicBezTo>
                    <a:close/>
                    <a:moveTo>
                      <a:pt x="31" y="63"/>
                    </a:moveTo>
                    <a:cubicBezTo>
                      <a:pt x="39" y="58"/>
                      <a:pt x="39" y="58"/>
                      <a:pt x="39" y="58"/>
                    </a:cubicBezTo>
                    <a:cubicBezTo>
                      <a:pt x="22" y="32"/>
                      <a:pt x="22" y="32"/>
                      <a:pt x="22" y="32"/>
                    </a:cubicBezTo>
                    <a:cubicBezTo>
                      <a:pt x="30" y="10"/>
                      <a:pt x="30" y="10"/>
                      <a:pt x="30" y="10"/>
                    </a:cubicBezTo>
                    <a:cubicBezTo>
                      <a:pt x="53" y="12"/>
                      <a:pt x="53" y="12"/>
                      <a:pt x="53" y="12"/>
                    </a:cubicBezTo>
                    <a:cubicBezTo>
                      <a:pt x="70" y="38"/>
                      <a:pt x="70" y="38"/>
                      <a:pt x="70" y="38"/>
                    </a:cubicBezTo>
                    <a:cubicBezTo>
                      <a:pt x="78" y="33"/>
                      <a:pt x="78" y="33"/>
                      <a:pt x="78" y="33"/>
                    </a:cubicBezTo>
                    <a:cubicBezTo>
                      <a:pt x="64" y="12"/>
                      <a:pt x="64" y="12"/>
                      <a:pt x="64" y="12"/>
                    </a:cubicBezTo>
                    <a:cubicBezTo>
                      <a:pt x="76" y="4"/>
                      <a:pt x="76" y="4"/>
                      <a:pt x="76" y="4"/>
                    </a:cubicBezTo>
                    <a:cubicBezTo>
                      <a:pt x="23" y="0"/>
                      <a:pt x="23" y="0"/>
                      <a:pt x="23" y="0"/>
                    </a:cubicBezTo>
                    <a:cubicBezTo>
                      <a:pt x="6" y="50"/>
                      <a:pt x="6" y="50"/>
                      <a:pt x="6" y="50"/>
                    </a:cubicBezTo>
                    <a:cubicBezTo>
                      <a:pt x="18" y="42"/>
                      <a:pt x="18" y="42"/>
                      <a:pt x="18" y="42"/>
                    </a:cubicBezTo>
                    <a:lnTo>
                      <a:pt x="31" y="6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91" name="Group 90"/>
          <p:cNvGrpSpPr/>
          <p:nvPr/>
        </p:nvGrpSpPr>
        <p:grpSpPr>
          <a:xfrm>
            <a:off x="0" y="3765266"/>
            <a:ext cx="9144000" cy="685800"/>
            <a:chOff x="-1" y="4860859"/>
            <a:chExt cx="12188825" cy="914400"/>
          </a:xfrm>
        </p:grpSpPr>
        <p:grpSp>
          <p:nvGrpSpPr>
            <p:cNvPr id="66" name="Group 65"/>
            <p:cNvGrpSpPr/>
            <p:nvPr/>
          </p:nvGrpSpPr>
          <p:grpSpPr>
            <a:xfrm>
              <a:off x="-1" y="4860859"/>
              <a:ext cx="12188825" cy="914400"/>
              <a:chOff x="-1" y="4860859"/>
              <a:chExt cx="12188825" cy="914400"/>
            </a:xfrm>
          </p:grpSpPr>
          <p:sp>
            <p:nvSpPr>
              <p:cNvPr id="129" name="Freeform 128"/>
              <p:cNvSpPr/>
              <p:nvPr/>
            </p:nvSpPr>
            <p:spPr>
              <a:xfrm>
                <a:off x="-1" y="4860859"/>
                <a:ext cx="12188825"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685609"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133" name="Rectangle 132"/>
              <p:cNvSpPr/>
              <p:nvPr/>
            </p:nvSpPr>
            <p:spPr>
              <a:xfrm>
                <a:off x="4408229" y="4961043"/>
                <a:ext cx="3372363" cy="738624"/>
              </a:xfrm>
              <a:prstGeom prst="rect">
                <a:avLst/>
              </a:prstGeom>
            </p:spPr>
            <p:txBody>
              <a:bodyPr wrap="square" lIns="121888" tIns="60945" rIns="121888" bIns="60945">
                <a:spAutoFit/>
              </a:bodyPr>
              <a:lstStyle/>
              <a:p>
                <a:pPr algn="ctr" defTabSz="571345" fontAlgn="base">
                  <a:lnSpc>
                    <a:spcPct val="80000"/>
                  </a:lnSpc>
                </a:pPr>
                <a:r>
                  <a:rPr lang="en-US" dirty="0">
                    <a:gradFill>
                      <a:gsLst>
                        <a:gs pos="0">
                          <a:schemeClr val="bg1">
                            <a:lumMod val="50000"/>
                          </a:schemeClr>
                        </a:gs>
                        <a:gs pos="100000">
                          <a:schemeClr val="bg1">
                            <a:lumMod val="50000"/>
                          </a:schemeClr>
                        </a:gs>
                      </a:gsLst>
                      <a:lin ang="5400000" scaled="0"/>
                    </a:gradFill>
                  </a:rPr>
                  <a:t>Secure Site-to-Site </a:t>
                </a:r>
              </a:p>
              <a:p>
                <a:pPr algn="ctr" defTabSz="571345" fontAlgn="base">
                  <a:lnSpc>
                    <a:spcPct val="80000"/>
                  </a:lnSpc>
                </a:pPr>
                <a:r>
                  <a:rPr lang="en-US" dirty="0">
                    <a:gradFill>
                      <a:gsLst>
                        <a:gs pos="0">
                          <a:schemeClr val="bg1">
                            <a:lumMod val="50000"/>
                          </a:schemeClr>
                        </a:gs>
                        <a:gs pos="100000">
                          <a:schemeClr val="bg1">
                            <a:lumMod val="50000"/>
                          </a:schemeClr>
                        </a:gs>
                      </a:gsLst>
                      <a:lin ang="5400000" scaled="0"/>
                    </a:gradFill>
                  </a:rPr>
                  <a:t>Network Connectivity</a:t>
                </a:r>
              </a:p>
              <a:p>
                <a:pPr algn="ctr" defTabSz="571345" fontAlgn="base">
                  <a:lnSpc>
                    <a:spcPct val="80000"/>
                  </a:lnSpc>
                </a:pPr>
                <a:r>
                  <a:rPr lang="en-US" sz="700" dirty="0">
                    <a:gradFill>
                      <a:gsLst>
                        <a:gs pos="0">
                          <a:schemeClr val="bg1">
                            <a:lumMod val="50000"/>
                          </a:schemeClr>
                        </a:gs>
                        <a:gs pos="100000">
                          <a:schemeClr val="bg1">
                            <a:lumMod val="50000"/>
                          </a:schemeClr>
                        </a:gs>
                      </a:gsLst>
                      <a:lin ang="5400000" scaled="0"/>
                    </a:gradFill>
                  </a:rPr>
                  <a:t>Windows Azure Virtual Network</a:t>
                </a:r>
              </a:p>
            </p:txBody>
          </p:sp>
        </p:grpSp>
        <p:grpSp>
          <p:nvGrpSpPr>
            <p:cNvPr id="135" name="Group 134"/>
            <p:cNvGrpSpPr/>
            <p:nvPr/>
          </p:nvGrpSpPr>
          <p:grpSpPr>
            <a:xfrm>
              <a:off x="8111868" y="4860859"/>
              <a:ext cx="2377439" cy="914400"/>
              <a:chOff x="8111868" y="4860859"/>
              <a:chExt cx="2377439" cy="914400"/>
            </a:xfrm>
          </p:grpSpPr>
          <p:sp>
            <p:nvSpPr>
              <p:cNvPr id="136" name="Freeform 135"/>
              <p:cNvSpPr/>
              <p:nvPr/>
            </p:nvSpPr>
            <p:spPr>
              <a:xfrm>
                <a:off x="8111868" y="4860859"/>
                <a:ext cx="2377439"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685609"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137" name="Freeform 17"/>
              <p:cNvSpPr>
                <a:spLocks noEditPoints="1"/>
              </p:cNvSpPr>
              <p:nvPr/>
            </p:nvSpPr>
            <p:spPr bwMode="auto">
              <a:xfrm>
                <a:off x="8975363" y="4990019"/>
                <a:ext cx="650449" cy="656080"/>
              </a:xfrm>
              <a:custGeom>
                <a:avLst/>
                <a:gdLst>
                  <a:gd name="T0" fmla="*/ 57 w 293"/>
                  <a:gd name="T1" fmla="*/ 195 h 296"/>
                  <a:gd name="T2" fmla="*/ 112 w 293"/>
                  <a:gd name="T3" fmla="*/ 187 h 296"/>
                  <a:gd name="T4" fmla="*/ 229 w 293"/>
                  <a:gd name="T5" fmla="*/ 213 h 296"/>
                  <a:gd name="T6" fmla="*/ 44 w 293"/>
                  <a:gd name="T7" fmla="*/ 120 h 296"/>
                  <a:gd name="T8" fmla="*/ 61 w 293"/>
                  <a:gd name="T9" fmla="*/ 101 h 296"/>
                  <a:gd name="T10" fmla="*/ 44 w 293"/>
                  <a:gd name="T11" fmla="*/ 217 h 296"/>
                  <a:gd name="T12" fmla="*/ 52 w 293"/>
                  <a:gd name="T13" fmla="*/ 236 h 296"/>
                  <a:gd name="T14" fmla="*/ 183 w 293"/>
                  <a:gd name="T15" fmla="*/ 236 h 296"/>
                  <a:gd name="T16" fmla="*/ 223 w 293"/>
                  <a:gd name="T17" fmla="*/ 244 h 296"/>
                  <a:gd name="T18" fmla="*/ 229 w 293"/>
                  <a:gd name="T19" fmla="*/ 179 h 296"/>
                  <a:gd name="T20" fmla="*/ 223 w 293"/>
                  <a:gd name="T21" fmla="*/ 143 h 296"/>
                  <a:gd name="T22" fmla="*/ 32 w 293"/>
                  <a:gd name="T23" fmla="*/ 139 h 296"/>
                  <a:gd name="T24" fmla="*/ 56 w 293"/>
                  <a:gd name="T25" fmla="*/ 142 h 296"/>
                  <a:gd name="T26" fmla="*/ 179 w 293"/>
                  <a:gd name="T27" fmla="*/ 150 h 296"/>
                  <a:gd name="T28" fmla="*/ 57 w 293"/>
                  <a:gd name="T29" fmla="*/ 60 h 296"/>
                  <a:gd name="T30" fmla="*/ 112 w 293"/>
                  <a:gd name="T31" fmla="*/ 52 h 296"/>
                  <a:gd name="T32" fmla="*/ 261 w 293"/>
                  <a:gd name="T33" fmla="*/ 194 h 296"/>
                  <a:gd name="T34" fmla="*/ 277 w 293"/>
                  <a:gd name="T35" fmla="*/ 147 h 296"/>
                  <a:gd name="T36" fmla="*/ 246 w 293"/>
                  <a:gd name="T37" fmla="*/ 279 h 296"/>
                  <a:gd name="T38" fmla="*/ 261 w 293"/>
                  <a:gd name="T39" fmla="*/ 254 h 296"/>
                  <a:gd name="T40" fmla="*/ 223 w 293"/>
                  <a:gd name="T41" fmla="*/ 87 h 296"/>
                  <a:gd name="T42" fmla="*/ 253 w 293"/>
                  <a:gd name="T43" fmla="*/ 254 h 296"/>
                  <a:gd name="T44" fmla="*/ 79 w 293"/>
                  <a:gd name="T45" fmla="*/ 272 h 296"/>
                  <a:gd name="T46" fmla="*/ 43 w 293"/>
                  <a:gd name="T47" fmla="*/ 23 h 296"/>
                  <a:gd name="T48" fmla="*/ 226 w 293"/>
                  <a:gd name="T49" fmla="*/ 109 h 296"/>
                  <a:gd name="T50" fmla="*/ 4 w 293"/>
                  <a:gd name="T51" fmla="*/ 96 h 296"/>
                  <a:gd name="T52" fmla="*/ 61 w 293"/>
                  <a:gd name="T53" fmla="*/ 4 h 296"/>
                  <a:gd name="T54" fmla="*/ 4 w 293"/>
                  <a:gd name="T55" fmla="*/ 24 h 296"/>
                  <a:gd name="T56" fmla="*/ 69 w 293"/>
                  <a:gd name="T57" fmla="*/ 0 h 296"/>
                  <a:gd name="T58" fmla="*/ 0 w 293"/>
                  <a:gd name="T59" fmla="*/ 56 h 296"/>
                  <a:gd name="T60" fmla="*/ 4 w 293"/>
                  <a:gd name="T61" fmla="*/ 42 h 296"/>
                  <a:gd name="T62" fmla="*/ 4 w 293"/>
                  <a:gd name="T63" fmla="*/ 72 h 296"/>
                  <a:gd name="T64" fmla="*/ 109 w 293"/>
                  <a:gd name="T65" fmla="*/ 0 h 296"/>
                  <a:gd name="T66" fmla="*/ 259 w 293"/>
                  <a:gd name="T67" fmla="*/ 61 h 296"/>
                  <a:gd name="T68" fmla="*/ 274 w 293"/>
                  <a:gd name="T69" fmla="*/ 89 h 296"/>
                  <a:gd name="T70" fmla="*/ 243 w 293"/>
                  <a:gd name="T71" fmla="*/ 33 h 296"/>
                  <a:gd name="T72" fmla="*/ 205 w 293"/>
                  <a:gd name="T73" fmla="*/ 4 h 296"/>
                  <a:gd name="T74" fmla="*/ 172 w 293"/>
                  <a:gd name="T75" fmla="*/ 0 h 296"/>
                  <a:gd name="T76" fmla="*/ 210 w 293"/>
                  <a:gd name="T77" fmla="*/ 11 h 296"/>
                  <a:gd name="T78" fmla="*/ 291 w 293"/>
                  <a:gd name="T79" fmla="*/ 142 h 296"/>
                  <a:gd name="T80" fmla="*/ 234 w 293"/>
                  <a:gd name="T81" fmla="*/ 292 h 296"/>
                  <a:gd name="T82" fmla="*/ 218 w 293"/>
                  <a:gd name="T83" fmla="*/ 292 h 296"/>
                  <a:gd name="T84" fmla="*/ 171 w 293"/>
                  <a:gd name="T85" fmla="*/ 292 h 296"/>
                  <a:gd name="T86" fmla="*/ 203 w 293"/>
                  <a:gd name="T87" fmla="*/ 292 h 296"/>
                  <a:gd name="T88" fmla="*/ 281 w 293"/>
                  <a:gd name="T89" fmla="*/ 284 h 296"/>
                  <a:gd name="T90" fmla="*/ 293 w 293"/>
                  <a:gd name="T91" fmla="*/ 175 h 296"/>
                  <a:gd name="T92" fmla="*/ 282 w 293"/>
                  <a:gd name="T93" fmla="*/ 120 h 296"/>
                  <a:gd name="T94" fmla="*/ 283 w 293"/>
                  <a:gd name="T95" fmla="*/ 276 h 296"/>
                  <a:gd name="T96" fmla="*/ 288 w 293"/>
                  <a:gd name="T97" fmla="*/ 262 h 296"/>
                  <a:gd name="T98" fmla="*/ 289 w 293"/>
                  <a:gd name="T99" fmla="*/ 246 h 296"/>
                  <a:gd name="T100" fmla="*/ 4 w 293"/>
                  <a:gd name="T101" fmla="*/ 215 h 296"/>
                  <a:gd name="T102" fmla="*/ 4 w 293"/>
                  <a:gd name="T103" fmla="*/ 247 h 296"/>
                  <a:gd name="T104" fmla="*/ 4 w 293"/>
                  <a:gd name="T105" fmla="*/ 183 h 296"/>
                  <a:gd name="T106" fmla="*/ 4 w 293"/>
                  <a:gd name="T107" fmla="*/ 104 h 296"/>
                  <a:gd name="T108" fmla="*/ 4 w 293"/>
                  <a:gd name="T109" fmla="*/ 151 h 296"/>
                  <a:gd name="T110" fmla="*/ 51 w 293"/>
                  <a:gd name="T111" fmla="*/ 296 h 296"/>
                  <a:gd name="T112" fmla="*/ 67 w 293"/>
                  <a:gd name="T113" fmla="*/ 296 h 296"/>
                  <a:gd name="T114" fmla="*/ 20 w 293"/>
                  <a:gd name="T115" fmla="*/ 290 h 296"/>
                  <a:gd name="T116" fmla="*/ 43 w 293"/>
                  <a:gd name="T117" fmla="*/ 29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3" h="296">
                    <a:moveTo>
                      <a:pt x="187" y="172"/>
                    </a:moveTo>
                    <a:cubicBezTo>
                      <a:pt x="44" y="172"/>
                      <a:pt x="44" y="172"/>
                      <a:pt x="44" y="172"/>
                    </a:cubicBezTo>
                    <a:cubicBezTo>
                      <a:pt x="38" y="172"/>
                      <a:pt x="32" y="178"/>
                      <a:pt x="32" y="184"/>
                    </a:cubicBezTo>
                    <a:cubicBezTo>
                      <a:pt x="32" y="198"/>
                      <a:pt x="32" y="198"/>
                      <a:pt x="32" y="198"/>
                    </a:cubicBezTo>
                    <a:cubicBezTo>
                      <a:pt x="32" y="205"/>
                      <a:pt x="38" y="210"/>
                      <a:pt x="44" y="210"/>
                    </a:cubicBezTo>
                    <a:cubicBezTo>
                      <a:pt x="187" y="210"/>
                      <a:pt x="187" y="210"/>
                      <a:pt x="187" y="210"/>
                    </a:cubicBezTo>
                    <a:cubicBezTo>
                      <a:pt x="194" y="210"/>
                      <a:pt x="199" y="205"/>
                      <a:pt x="199" y="198"/>
                    </a:cubicBezTo>
                    <a:cubicBezTo>
                      <a:pt x="199" y="184"/>
                      <a:pt x="199" y="184"/>
                      <a:pt x="199" y="184"/>
                    </a:cubicBezTo>
                    <a:cubicBezTo>
                      <a:pt x="199" y="178"/>
                      <a:pt x="194" y="172"/>
                      <a:pt x="187" y="172"/>
                    </a:cubicBezTo>
                    <a:close/>
                    <a:moveTo>
                      <a:pt x="57" y="195"/>
                    </a:moveTo>
                    <a:cubicBezTo>
                      <a:pt x="56" y="195"/>
                      <a:pt x="56" y="195"/>
                      <a:pt x="56" y="195"/>
                    </a:cubicBezTo>
                    <a:cubicBezTo>
                      <a:pt x="54" y="195"/>
                      <a:pt x="52" y="193"/>
                      <a:pt x="52" y="191"/>
                    </a:cubicBezTo>
                    <a:cubicBezTo>
                      <a:pt x="52" y="189"/>
                      <a:pt x="54" y="187"/>
                      <a:pt x="56" y="187"/>
                    </a:cubicBezTo>
                    <a:cubicBezTo>
                      <a:pt x="57" y="187"/>
                      <a:pt x="57" y="187"/>
                      <a:pt x="57" y="187"/>
                    </a:cubicBezTo>
                    <a:cubicBezTo>
                      <a:pt x="59" y="187"/>
                      <a:pt x="61" y="189"/>
                      <a:pt x="61" y="191"/>
                    </a:cubicBezTo>
                    <a:cubicBezTo>
                      <a:pt x="61" y="193"/>
                      <a:pt x="59" y="195"/>
                      <a:pt x="57" y="195"/>
                    </a:cubicBezTo>
                    <a:close/>
                    <a:moveTo>
                      <a:pt x="179" y="195"/>
                    </a:moveTo>
                    <a:cubicBezTo>
                      <a:pt x="112" y="195"/>
                      <a:pt x="112" y="195"/>
                      <a:pt x="112" y="195"/>
                    </a:cubicBezTo>
                    <a:cubicBezTo>
                      <a:pt x="110" y="195"/>
                      <a:pt x="108" y="193"/>
                      <a:pt x="108" y="191"/>
                    </a:cubicBezTo>
                    <a:cubicBezTo>
                      <a:pt x="108" y="189"/>
                      <a:pt x="110" y="187"/>
                      <a:pt x="112" y="187"/>
                    </a:cubicBezTo>
                    <a:cubicBezTo>
                      <a:pt x="179" y="187"/>
                      <a:pt x="179" y="187"/>
                      <a:pt x="179" y="187"/>
                    </a:cubicBezTo>
                    <a:cubicBezTo>
                      <a:pt x="181" y="187"/>
                      <a:pt x="183" y="189"/>
                      <a:pt x="183" y="191"/>
                    </a:cubicBezTo>
                    <a:cubicBezTo>
                      <a:pt x="183" y="193"/>
                      <a:pt x="181" y="195"/>
                      <a:pt x="179" y="195"/>
                    </a:cubicBezTo>
                    <a:close/>
                    <a:moveTo>
                      <a:pt x="241" y="218"/>
                    </a:moveTo>
                    <a:cubicBezTo>
                      <a:pt x="241" y="208"/>
                      <a:pt x="241" y="208"/>
                      <a:pt x="241" y="208"/>
                    </a:cubicBezTo>
                    <a:cubicBezTo>
                      <a:pt x="241" y="203"/>
                      <a:pt x="237" y="199"/>
                      <a:pt x="232" y="199"/>
                    </a:cubicBezTo>
                    <a:cubicBezTo>
                      <a:pt x="223" y="199"/>
                      <a:pt x="223" y="199"/>
                      <a:pt x="223" y="199"/>
                    </a:cubicBezTo>
                    <a:cubicBezTo>
                      <a:pt x="223" y="210"/>
                      <a:pt x="223" y="210"/>
                      <a:pt x="223" y="210"/>
                    </a:cubicBezTo>
                    <a:cubicBezTo>
                      <a:pt x="226" y="210"/>
                      <a:pt x="226" y="210"/>
                      <a:pt x="226" y="210"/>
                    </a:cubicBezTo>
                    <a:cubicBezTo>
                      <a:pt x="228" y="210"/>
                      <a:pt x="229" y="212"/>
                      <a:pt x="229" y="213"/>
                    </a:cubicBezTo>
                    <a:cubicBezTo>
                      <a:pt x="229" y="215"/>
                      <a:pt x="228" y="216"/>
                      <a:pt x="226" y="216"/>
                    </a:cubicBezTo>
                    <a:cubicBezTo>
                      <a:pt x="223" y="216"/>
                      <a:pt x="223" y="216"/>
                      <a:pt x="223" y="216"/>
                    </a:cubicBezTo>
                    <a:cubicBezTo>
                      <a:pt x="223" y="227"/>
                      <a:pt x="223" y="227"/>
                      <a:pt x="223" y="227"/>
                    </a:cubicBezTo>
                    <a:cubicBezTo>
                      <a:pt x="232" y="227"/>
                      <a:pt x="232" y="227"/>
                      <a:pt x="232" y="227"/>
                    </a:cubicBezTo>
                    <a:cubicBezTo>
                      <a:pt x="237" y="227"/>
                      <a:pt x="241" y="223"/>
                      <a:pt x="241" y="218"/>
                    </a:cubicBezTo>
                    <a:close/>
                    <a:moveTo>
                      <a:pt x="187" y="82"/>
                    </a:moveTo>
                    <a:cubicBezTo>
                      <a:pt x="44" y="82"/>
                      <a:pt x="44" y="82"/>
                      <a:pt x="44" y="82"/>
                    </a:cubicBezTo>
                    <a:cubicBezTo>
                      <a:pt x="38" y="82"/>
                      <a:pt x="32" y="88"/>
                      <a:pt x="32" y="94"/>
                    </a:cubicBezTo>
                    <a:cubicBezTo>
                      <a:pt x="32" y="108"/>
                      <a:pt x="32" y="108"/>
                      <a:pt x="32" y="108"/>
                    </a:cubicBezTo>
                    <a:cubicBezTo>
                      <a:pt x="32" y="115"/>
                      <a:pt x="38" y="120"/>
                      <a:pt x="44" y="120"/>
                    </a:cubicBezTo>
                    <a:cubicBezTo>
                      <a:pt x="187" y="120"/>
                      <a:pt x="187" y="120"/>
                      <a:pt x="187" y="120"/>
                    </a:cubicBezTo>
                    <a:cubicBezTo>
                      <a:pt x="194" y="120"/>
                      <a:pt x="199" y="115"/>
                      <a:pt x="199" y="108"/>
                    </a:cubicBezTo>
                    <a:cubicBezTo>
                      <a:pt x="199" y="94"/>
                      <a:pt x="199" y="94"/>
                      <a:pt x="199" y="94"/>
                    </a:cubicBezTo>
                    <a:cubicBezTo>
                      <a:pt x="199" y="88"/>
                      <a:pt x="194" y="82"/>
                      <a:pt x="187" y="82"/>
                    </a:cubicBezTo>
                    <a:close/>
                    <a:moveTo>
                      <a:pt x="57" y="105"/>
                    </a:moveTo>
                    <a:cubicBezTo>
                      <a:pt x="56" y="105"/>
                      <a:pt x="56" y="105"/>
                      <a:pt x="56" y="105"/>
                    </a:cubicBezTo>
                    <a:cubicBezTo>
                      <a:pt x="54" y="105"/>
                      <a:pt x="52" y="103"/>
                      <a:pt x="52" y="101"/>
                    </a:cubicBezTo>
                    <a:cubicBezTo>
                      <a:pt x="52" y="99"/>
                      <a:pt x="54" y="97"/>
                      <a:pt x="56" y="97"/>
                    </a:cubicBezTo>
                    <a:cubicBezTo>
                      <a:pt x="57" y="97"/>
                      <a:pt x="57" y="97"/>
                      <a:pt x="57" y="97"/>
                    </a:cubicBezTo>
                    <a:cubicBezTo>
                      <a:pt x="59" y="97"/>
                      <a:pt x="61" y="99"/>
                      <a:pt x="61" y="101"/>
                    </a:cubicBezTo>
                    <a:cubicBezTo>
                      <a:pt x="61" y="103"/>
                      <a:pt x="59" y="105"/>
                      <a:pt x="57" y="105"/>
                    </a:cubicBezTo>
                    <a:close/>
                    <a:moveTo>
                      <a:pt x="179" y="105"/>
                    </a:moveTo>
                    <a:cubicBezTo>
                      <a:pt x="112" y="105"/>
                      <a:pt x="112" y="105"/>
                      <a:pt x="112" y="105"/>
                    </a:cubicBezTo>
                    <a:cubicBezTo>
                      <a:pt x="110" y="105"/>
                      <a:pt x="108" y="103"/>
                      <a:pt x="108" y="101"/>
                    </a:cubicBezTo>
                    <a:cubicBezTo>
                      <a:pt x="108" y="99"/>
                      <a:pt x="110" y="97"/>
                      <a:pt x="112" y="97"/>
                    </a:cubicBezTo>
                    <a:cubicBezTo>
                      <a:pt x="179" y="97"/>
                      <a:pt x="179" y="97"/>
                      <a:pt x="179" y="97"/>
                    </a:cubicBezTo>
                    <a:cubicBezTo>
                      <a:pt x="181" y="97"/>
                      <a:pt x="183" y="99"/>
                      <a:pt x="183" y="101"/>
                    </a:cubicBezTo>
                    <a:cubicBezTo>
                      <a:pt x="183" y="103"/>
                      <a:pt x="181" y="105"/>
                      <a:pt x="179" y="105"/>
                    </a:cubicBezTo>
                    <a:close/>
                    <a:moveTo>
                      <a:pt x="187" y="217"/>
                    </a:moveTo>
                    <a:cubicBezTo>
                      <a:pt x="44" y="217"/>
                      <a:pt x="44" y="217"/>
                      <a:pt x="44" y="217"/>
                    </a:cubicBezTo>
                    <a:cubicBezTo>
                      <a:pt x="38" y="217"/>
                      <a:pt x="32" y="223"/>
                      <a:pt x="32" y="229"/>
                    </a:cubicBezTo>
                    <a:cubicBezTo>
                      <a:pt x="32" y="243"/>
                      <a:pt x="32" y="243"/>
                      <a:pt x="32" y="243"/>
                    </a:cubicBezTo>
                    <a:cubicBezTo>
                      <a:pt x="32" y="250"/>
                      <a:pt x="38" y="255"/>
                      <a:pt x="44" y="255"/>
                    </a:cubicBezTo>
                    <a:cubicBezTo>
                      <a:pt x="187" y="255"/>
                      <a:pt x="187" y="255"/>
                      <a:pt x="187" y="255"/>
                    </a:cubicBezTo>
                    <a:cubicBezTo>
                      <a:pt x="194" y="255"/>
                      <a:pt x="199" y="250"/>
                      <a:pt x="199" y="243"/>
                    </a:cubicBezTo>
                    <a:cubicBezTo>
                      <a:pt x="199" y="229"/>
                      <a:pt x="199" y="229"/>
                      <a:pt x="199" y="229"/>
                    </a:cubicBezTo>
                    <a:cubicBezTo>
                      <a:pt x="199" y="223"/>
                      <a:pt x="194" y="217"/>
                      <a:pt x="187" y="217"/>
                    </a:cubicBezTo>
                    <a:close/>
                    <a:moveTo>
                      <a:pt x="57" y="240"/>
                    </a:moveTo>
                    <a:cubicBezTo>
                      <a:pt x="56" y="240"/>
                      <a:pt x="56" y="240"/>
                      <a:pt x="56" y="240"/>
                    </a:cubicBezTo>
                    <a:cubicBezTo>
                      <a:pt x="54" y="240"/>
                      <a:pt x="52" y="238"/>
                      <a:pt x="52" y="236"/>
                    </a:cubicBezTo>
                    <a:cubicBezTo>
                      <a:pt x="52" y="234"/>
                      <a:pt x="54" y="232"/>
                      <a:pt x="56" y="232"/>
                    </a:cubicBezTo>
                    <a:cubicBezTo>
                      <a:pt x="57" y="232"/>
                      <a:pt x="57" y="232"/>
                      <a:pt x="57" y="232"/>
                    </a:cubicBezTo>
                    <a:cubicBezTo>
                      <a:pt x="59" y="232"/>
                      <a:pt x="61" y="234"/>
                      <a:pt x="61" y="236"/>
                    </a:cubicBezTo>
                    <a:cubicBezTo>
                      <a:pt x="61" y="238"/>
                      <a:pt x="59" y="240"/>
                      <a:pt x="57" y="240"/>
                    </a:cubicBezTo>
                    <a:close/>
                    <a:moveTo>
                      <a:pt x="179" y="240"/>
                    </a:moveTo>
                    <a:cubicBezTo>
                      <a:pt x="112" y="240"/>
                      <a:pt x="112" y="240"/>
                      <a:pt x="112" y="240"/>
                    </a:cubicBezTo>
                    <a:cubicBezTo>
                      <a:pt x="110" y="240"/>
                      <a:pt x="108" y="238"/>
                      <a:pt x="108" y="236"/>
                    </a:cubicBezTo>
                    <a:cubicBezTo>
                      <a:pt x="108" y="234"/>
                      <a:pt x="110" y="232"/>
                      <a:pt x="112" y="232"/>
                    </a:cubicBezTo>
                    <a:cubicBezTo>
                      <a:pt x="179" y="232"/>
                      <a:pt x="179" y="232"/>
                      <a:pt x="179" y="232"/>
                    </a:cubicBezTo>
                    <a:cubicBezTo>
                      <a:pt x="181" y="232"/>
                      <a:pt x="183" y="234"/>
                      <a:pt x="183" y="236"/>
                    </a:cubicBezTo>
                    <a:cubicBezTo>
                      <a:pt x="183" y="238"/>
                      <a:pt x="181" y="240"/>
                      <a:pt x="179" y="240"/>
                    </a:cubicBezTo>
                    <a:close/>
                    <a:moveTo>
                      <a:pt x="226" y="250"/>
                    </a:moveTo>
                    <a:cubicBezTo>
                      <a:pt x="223" y="250"/>
                      <a:pt x="223" y="250"/>
                      <a:pt x="223" y="250"/>
                    </a:cubicBezTo>
                    <a:cubicBezTo>
                      <a:pt x="222" y="254"/>
                      <a:pt x="221" y="258"/>
                      <a:pt x="219" y="261"/>
                    </a:cubicBezTo>
                    <a:cubicBezTo>
                      <a:pt x="232" y="261"/>
                      <a:pt x="232" y="261"/>
                      <a:pt x="232" y="261"/>
                    </a:cubicBezTo>
                    <a:cubicBezTo>
                      <a:pt x="237" y="261"/>
                      <a:pt x="241" y="257"/>
                      <a:pt x="241" y="252"/>
                    </a:cubicBezTo>
                    <a:cubicBezTo>
                      <a:pt x="241" y="242"/>
                      <a:pt x="241" y="242"/>
                      <a:pt x="241" y="242"/>
                    </a:cubicBezTo>
                    <a:cubicBezTo>
                      <a:pt x="241" y="237"/>
                      <a:pt x="237" y="233"/>
                      <a:pt x="232" y="233"/>
                    </a:cubicBezTo>
                    <a:cubicBezTo>
                      <a:pt x="223" y="233"/>
                      <a:pt x="223" y="233"/>
                      <a:pt x="223" y="233"/>
                    </a:cubicBezTo>
                    <a:cubicBezTo>
                      <a:pt x="223" y="244"/>
                      <a:pt x="223" y="244"/>
                      <a:pt x="223" y="244"/>
                    </a:cubicBezTo>
                    <a:cubicBezTo>
                      <a:pt x="226" y="244"/>
                      <a:pt x="226" y="244"/>
                      <a:pt x="226" y="244"/>
                    </a:cubicBezTo>
                    <a:cubicBezTo>
                      <a:pt x="228" y="244"/>
                      <a:pt x="229" y="245"/>
                      <a:pt x="229" y="247"/>
                    </a:cubicBezTo>
                    <a:cubicBezTo>
                      <a:pt x="229" y="249"/>
                      <a:pt x="228" y="250"/>
                      <a:pt x="226" y="250"/>
                    </a:cubicBezTo>
                    <a:close/>
                    <a:moveTo>
                      <a:pt x="241" y="185"/>
                    </a:moveTo>
                    <a:cubicBezTo>
                      <a:pt x="241" y="174"/>
                      <a:pt x="241" y="174"/>
                      <a:pt x="241" y="174"/>
                    </a:cubicBezTo>
                    <a:cubicBezTo>
                      <a:pt x="241" y="169"/>
                      <a:pt x="237" y="165"/>
                      <a:pt x="232" y="165"/>
                    </a:cubicBezTo>
                    <a:cubicBezTo>
                      <a:pt x="223" y="165"/>
                      <a:pt x="223" y="165"/>
                      <a:pt x="223" y="165"/>
                    </a:cubicBezTo>
                    <a:cubicBezTo>
                      <a:pt x="223" y="176"/>
                      <a:pt x="223" y="176"/>
                      <a:pt x="223" y="176"/>
                    </a:cubicBezTo>
                    <a:cubicBezTo>
                      <a:pt x="226" y="176"/>
                      <a:pt x="226" y="176"/>
                      <a:pt x="226" y="176"/>
                    </a:cubicBezTo>
                    <a:cubicBezTo>
                      <a:pt x="228" y="176"/>
                      <a:pt x="229" y="178"/>
                      <a:pt x="229" y="179"/>
                    </a:cubicBezTo>
                    <a:cubicBezTo>
                      <a:pt x="229" y="181"/>
                      <a:pt x="228" y="182"/>
                      <a:pt x="226" y="182"/>
                    </a:cubicBezTo>
                    <a:cubicBezTo>
                      <a:pt x="223" y="182"/>
                      <a:pt x="223" y="182"/>
                      <a:pt x="223" y="182"/>
                    </a:cubicBezTo>
                    <a:cubicBezTo>
                      <a:pt x="223" y="194"/>
                      <a:pt x="223" y="194"/>
                      <a:pt x="223" y="194"/>
                    </a:cubicBezTo>
                    <a:cubicBezTo>
                      <a:pt x="232" y="194"/>
                      <a:pt x="232" y="194"/>
                      <a:pt x="232" y="194"/>
                    </a:cubicBezTo>
                    <a:cubicBezTo>
                      <a:pt x="237" y="194"/>
                      <a:pt x="241" y="190"/>
                      <a:pt x="241" y="185"/>
                    </a:cubicBezTo>
                    <a:close/>
                    <a:moveTo>
                      <a:pt x="241" y="151"/>
                    </a:moveTo>
                    <a:cubicBezTo>
                      <a:pt x="241" y="141"/>
                      <a:pt x="241" y="141"/>
                      <a:pt x="241" y="141"/>
                    </a:cubicBezTo>
                    <a:cubicBezTo>
                      <a:pt x="241" y="136"/>
                      <a:pt x="237" y="132"/>
                      <a:pt x="232" y="132"/>
                    </a:cubicBezTo>
                    <a:cubicBezTo>
                      <a:pt x="223" y="132"/>
                      <a:pt x="223" y="132"/>
                      <a:pt x="223" y="132"/>
                    </a:cubicBezTo>
                    <a:cubicBezTo>
                      <a:pt x="223" y="143"/>
                      <a:pt x="223" y="143"/>
                      <a:pt x="223" y="143"/>
                    </a:cubicBezTo>
                    <a:cubicBezTo>
                      <a:pt x="226" y="143"/>
                      <a:pt x="226" y="143"/>
                      <a:pt x="226" y="143"/>
                    </a:cubicBezTo>
                    <a:cubicBezTo>
                      <a:pt x="228" y="143"/>
                      <a:pt x="229" y="144"/>
                      <a:pt x="229" y="146"/>
                    </a:cubicBezTo>
                    <a:cubicBezTo>
                      <a:pt x="229" y="147"/>
                      <a:pt x="228" y="149"/>
                      <a:pt x="226" y="149"/>
                    </a:cubicBezTo>
                    <a:cubicBezTo>
                      <a:pt x="223" y="149"/>
                      <a:pt x="223" y="149"/>
                      <a:pt x="223" y="149"/>
                    </a:cubicBezTo>
                    <a:cubicBezTo>
                      <a:pt x="223" y="160"/>
                      <a:pt x="223" y="160"/>
                      <a:pt x="223" y="160"/>
                    </a:cubicBezTo>
                    <a:cubicBezTo>
                      <a:pt x="232" y="160"/>
                      <a:pt x="232" y="160"/>
                      <a:pt x="232" y="160"/>
                    </a:cubicBezTo>
                    <a:cubicBezTo>
                      <a:pt x="237" y="160"/>
                      <a:pt x="241" y="156"/>
                      <a:pt x="241" y="151"/>
                    </a:cubicBezTo>
                    <a:close/>
                    <a:moveTo>
                      <a:pt x="187" y="127"/>
                    </a:moveTo>
                    <a:cubicBezTo>
                      <a:pt x="44" y="127"/>
                      <a:pt x="44" y="127"/>
                      <a:pt x="44" y="127"/>
                    </a:cubicBezTo>
                    <a:cubicBezTo>
                      <a:pt x="38" y="127"/>
                      <a:pt x="32" y="133"/>
                      <a:pt x="32" y="139"/>
                    </a:cubicBezTo>
                    <a:cubicBezTo>
                      <a:pt x="32" y="153"/>
                      <a:pt x="32" y="153"/>
                      <a:pt x="32" y="153"/>
                    </a:cubicBezTo>
                    <a:cubicBezTo>
                      <a:pt x="32" y="160"/>
                      <a:pt x="38" y="165"/>
                      <a:pt x="44" y="165"/>
                    </a:cubicBezTo>
                    <a:cubicBezTo>
                      <a:pt x="187" y="165"/>
                      <a:pt x="187" y="165"/>
                      <a:pt x="187" y="165"/>
                    </a:cubicBezTo>
                    <a:cubicBezTo>
                      <a:pt x="194" y="165"/>
                      <a:pt x="199" y="160"/>
                      <a:pt x="199" y="153"/>
                    </a:cubicBezTo>
                    <a:cubicBezTo>
                      <a:pt x="199" y="139"/>
                      <a:pt x="199" y="139"/>
                      <a:pt x="199" y="139"/>
                    </a:cubicBezTo>
                    <a:cubicBezTo>
                      <a:pt x="199" y="133"/>
                      <a:pt x="194" y="127"/>
                      <a:pt x="187" y="127"/>
                    </a:cubicBezTo>
                    <a:close/>
                    <a:moveTo>
                      <a:pt x="57" y="150"/>
                    </a:moveTo>
                    <a:cubicBezTo>
                      <a:pt x="56" y="150"/>
                      <a:pt x="56" y="150"/>
                      <a:pt x="56" y="150"/>
                    </a:cubicBezTo>
                    <a:cubicBezTo>
                      <a:pt x="54" y="150"/>
                      <a:pt x="52" y="148"/>
                      <a:pt x="52" y="146"/>
                    </a:cubicBezTo>
                    <a:cubicBezTo>
                      <a:pt x="52" y="144"/>
                      <a:pt x="54" y="142"/>
                      <a:pt x="56" y="142"/>
                    </a:cubicBezTo>
                    <a:cubicBezTo>
                      <a:pt x="57" y="142"/>
                      <a:pt x="57" y="142"/>
                      <a:pt x="57" y="142"/>
                    </a:cubicBezTo>
                    <a:cubicBezTo>
                      <a:pt x="59" y="142"/>
                      <a:pt x="61" y="144"/>
                      <a:pt x="61" y="146"/>
                    </a:cubicBezTo>
                    <a:cubicBezTo>
                      <a:pt x="61" y="148"/>
                      <a:pt x="59" y="150"/>
                      <a:pt x="57" y="150"/>
                    </a:cubicBezTo>
                    <a:close/>
                    <a:moveTo>
                      <a:pt x="179" y="150"/>
                    </a:moveTo>
                    <a:cubicBezTo>
                      <a:pt x="112" y="150"/>
                      <a:pt x="112" y="150"/>
                      <a:pt x="112" y="150"/>
                    </a:cubicBezTo>
                    <a:cubicBezTo>
                      <a:pt x="110" y="150"/>
                      <a:pt x="108" y="148"/>
                      <a:pt x="108" y="146"/>
                    </a:cubicBezTo>
                    <a:cubicBezTo>
                      <a:pt x="108" y="144"/>
                      <a:pt x="110" y="142"/>
                      <a:pt x="112" y="142"/>
                    </a:cubicBezTo>
                    <a:cubicBezTo>
                      <a:pt x="179" y="142"/>
                      <a:pt x="179" y="142"/>
                      <a:pt x="179" y="142"/>
                    </a:cubicBezTo>
                    <a:cubicBezTo>
                      <a:pt x="181" y="142"/>
                      <a:pt x="183" y="144"/>
                      <a:pt x="183" y="146"/>
                    </a:cubicBezTo>
                    <a:cubicBezTo>
                      <a:pt x="183" y="148"/>
                      <a:pt x="181" y="150"/>
                      <a:pt x="179" y="150"/>
                    </a:cubicBezTo>
                    <a:close/>
                    <a:moveTo>
                      <a:pt x="187" y="37"/>
                    </a:moveTo>
                    <a:cubicBezTo>
                      <a:pt x="44" y="37"/>
                      <a:pt x="44" y="37"/>
                      <a:pt x="44" y="37"/>
                    </a:cubicBezTo>
                    <a:cubicBezTo>
                      <a:pt x="38" y="37"/>
                      <a:pt x="32" y="43"/>
                      <a:pt x="32" y="49"/>
                    </a:cubicBezTo>
                    <a:cubicBezTo>
                      <a:pt x="32" y="63"/>
                      <a:pt x="32" y="63"/>
                      <a:pt x="32" y="63"/>
                    </a:cubicBezTo>
                    <a:cubicBezTo>
                      <a:pt x="32" y="70"/>
                      <a:pt x="38" y="75"/>
                      <a:pt x="44" y="75"/>
                    </a:cubicBezTo>
                    <a:cubicBezTo>
                      <a:pt x="187" y="75"/>
                      <a:pt x="187" y="75"/>
                      <a:pt x="187" y="75"/>
                    </a:cubicBezTo>
                    <a:cubicBezTo>
                      <a:pt x="194" y="75"/>
                      <a:pt x="199" y="70"/>
                      <a:pt x="199" y="63"/>
                    </a:cubicBezTo>
                    <a:cubicBezTo>
                      <a:pt x="199" y="49"/>
                      <a:pt x="199" y="49"/>
                      <a:pt x="199" y="49"/>
                    </a:cubicBezTo>
                    <a:cubicBezTo>
                      <a:pt x="199" y="43"/>
                      <a:pt x="194" y="37"/>
                      <a:pt x="187" y="37"/>
                    </a:cubicBezTo>
                    <a:close/>
                    <a:moveTo>
                      <a:pt x="57" y="60"/>
                    </a:moveTo>
                    <a:cubicBezTo>
                      <a:pt x="56" y="60"/>
                      <a:pt x="56" y="60"/>
                      <a:pt x="56" y="60"/>
                    </a:cubicBezTo>
                    <a:cubicBezTo>
                      <a:pt x="54" y="60"/>
                      <a:pt x="52" y="58"/>
                      <a:pt x="52" y="56"/>
                    </a:cubicBezTo>
                    <a:cubicBezTo>
                      <a:pt x="52" y="54"/>
                      <a:pt x="54" y="52"/>
                      <a:pt x="56" y="52"/>
                    </a:cubicBezTo>
                    <a:cubicBezTo>
                      <a:pt x="57" y="52"/>
                      <a:pt x="57" y="52"/>
                      <a:pt x="57" y="52"/>
                    </a:cubicBezTo>
                    <a:cubicBezTo>
                      <a:pt x="59" y="52"/>
                      <a:pt x="61" y="54"/>
                      <a:pt x="61" y="56"/>
                    </a:cubicBezTo>
                    <a:cubicBezTo>
                      <a:pt x="61" y="58"/>
                      <a:pt x="59" y="60"/>
                      <a:pt x="57" y="60"/>
                    </a:cubicBezTo>
                    <a:close/>
                    <a:moveTo>
                      <a:pt x="179" y="60"/>
                    </a:moveTo>
                    <a:cubicBezTo>
                      <a:pt x="112" y="60"/>
                      <a:pt x="112" y="60"/>
                      <a:pt x="112" y="60"/>
                    </a:cubicBezTo>
                    <a:cubicBezTo>
                      <a:pt x="110" y="60"/>
                      <a:pt x="108" y="58"/>
                      <a:pt x="108" y="56"/>
                    </a:cubicBezTo>
                    <a:cubicBezTo>
                      <a:pt x="108" y="54"/>
                      <a:pt x="110" y="52"/>
                      <a:pt x="112" y="52"/>
                    </a:cubicBezTo>
                    <a:cubicBezTo>
                      <a:pt x="179" y="52"/>
                      <a:pt x="179" y="52"/>
                      <a:pt x="179" y="52"/>
                    </a:cubicBezTo>
                    <a:cubicBezTo>
                      <a:pt x="181" y="52"/>
                      <a:pt x="183" y="54"/>
                      <a:pt x="183" y="56"/>
                    </a:cubicBezTo>
                    <a:cubicBezTo>
                      <a:pt x="183" y="58"/>
                      <a:pt x="181" y="60"/>
                      <a:pt x="179" y="60"/>
                    </a:cubicBezTo>
                    <a:close/>
                    <a:moveTo>
                      <a:pt x="268" y="175"/>
                    </a:moveTo>
                    <a:cubicBezTo>
                      <a:pt x="268" y="172"/>
                      <a:pt x="265" y="169"/>
                      <a:pt x="261" y="169"/>
                    </a:cubicBezTo>
                    <a:cubicBezTo>
                      <a:pt x="261" y="190"/>
                      <a:pt x="261" y="190"/>
                      <a:pt x="261" y="190"/>
                    </a:cubicBezTo>
                    <a:cubicBezTo>
                      <a:pt x="265" y="189"/>
                      <a:pt x="268" y="187"/>
                      <a:pt x="268" y="183"/>
                    </a:cubicBezTo>
                    <a:lnTo>
                      <a:pt x="268" y="175"/>
                    </a:lnTo>
                    <a:close/>
                    <a:moveTo>
                      <a:pt x="268" y="201"/>
                    </a:moveTo>
                    <a:cubicBezTo>
                      <a:pt x="268" y="197"/>
                      <a:pt x="265" y="194"/>
                      <a:pt x="261" y="194"/>
                    </a:cubicBezTo>
                    <a:cubicBezTo>
                      <a:pt x="261" y="215"/>
                      <a:pt x="261" y="215"/>
                      <a:pt x="261" y="215"/>
                    </a:cubicBezTo>
                    <a:cubicBezTo>
                      <a:pt x="265" y="215"/>
                      <a:pt x="268" y="212"/>
                      <a:pt x="268" y="208"/>
                    </a:cubicBezTo>
                    <a:lnTo>
                      <a:pt x="268" y="201"/>
                    </a:lnTo>
                    <a:close/>
                    <a:moveTo>
                      <a:pt x="268" y="150"/>
                    </a:moveTo>
                    <a:cubicBezTo>
                      <a:pt x="268" y="146"/>
                      <a:pt x="265" y="143"/>
                      <a:pt x="261" y="143"/>
                    </a:cubicBezTo>
                    <a:cubicBezTo>
                      <a:pt x="261" y="164"/>
                      <a:pt x="261" y="164"/>
                      <a:pt x="261" y="164"/>
                    </a:cubicBezTo>
                    <a:cubicBezTo>
                      <a:pt x="265" y="164"/>
                      <a:pt x="268" y="161"/>
                      <a:pt x="268" y="158"/>
                    </a:cubicBezTo>
                    <a:lnTo>
                      <a:pt x="268" y="150"/>
                    </a:lnTo>
                    <a:close/>
                    <a:moveTo>
                      <a:pt x="277" y="260"/>
                    </a:moveTo>
                    <a:cubicBezTo>
                      <a:pt x="277" y="147"/>
                      <a:pt x="277" y="147"/>
                      <a:pt x="277" y="147"/>
                    </a:cubicBezTo>
                    <a:cubicBezTo>
                      <a:pt x="277" y="139"/>
                      <a:pt x="270" y="132"/>
                      <a:pt x="261" y="132"/>
                    </a:cubicBezTo>
                    <a:cubicBezTo>
                      <a:pt x="261" y="132"/>
                      <a:pt x="261" y="132"/>
                      <a:pt x="261" y="132"/>
                    </a:cubicBezTo>
                    <a:cubicBezTo>
                      <a:pt x="261" y="135"/>
                      <a:pt x="261" y="135"/>
                      <a:pt x="261" y="135"/>
                    </a:cubicBezTo>
                    <a:cubicBezTo>
                      <a:pt x="261" y="135"/>
                      <a:pt x="261" y="135"/>
                      <a:pt x="261" y="135"/>
                    </a:cubicBezTo>
                    <a:cubicBezTo>
                      <a:pt x="268" y="135"/>
                      <a:pt x="273" y="141"/>
                      <a:pt x="273" y="147"/>
                    </a:cubicBezTo>
                    <a:cubicBezTo>
                      <a:pt x="273" y="260"/>
                      <a:pt x="273" y="260"/>
                      <a:pt x="273" y="260"/>
                    </a:cubicBezTo>
                    <a:cubicBezTo>
                      <a:pt x="273" y="267"/>
                      <a:pt x="268" y="272"/>
                      <a:pt x="261" y="272"/>
                    </a:cubicBezTo>
                    <a:cubicBezTo>
                      <a:pt x="254" y="272"/>
                      <a:pt x="254" y="272"/>
                      <a:pt x="254" y="272"/>
                    </a:cubicBezTo>
                    <a:cubicBezTo>
                      <a:pt x="252" y="275"/>
                      <a:pt x="249" y="277"/>
                      <a:pt x="246" y="279"/>
                    </a:cubicBezTo>
                    <a:cubicBezTo>
                      <a:pt x="246" y="279"/>
                      <a:pt x="246" y="279"/>
                      <a:pt x="246" y="279"/>
                    </a:cubicBezTo>
                    <a:cubicBezTo>
                      <a:pt x="264" y="279"/>
                      <a:pt x="264" y="279"/>
                      <a:pt x="264" y="279"/>
                    </a:cubicBezTo>
                    <a:cubicBezTo>
                      <a:pt x="267" y="274"/>
                      <a:pt x="267" y="274"/>
                      <a:pt x="267" y="274"/>
                    </a:cubicBezTo>
                    <a:cubicBezTo>
                      <a:pt x="273" y="272"/>
                      <a:pt x="277" y="267"/>
                      <a:pt x="277" y="260"/>
                    </a:cubicBezTo>
                    <a:close/>
                    <a:moveTo>
                      <a:pt x="268" y="226"/>
                    </a:moveTo>
                    <a:cubicBezTo>
                      <a:pt x="268" y="222"/>
                      <a:pt x="265" y="219"/>
                      <a:pt x="261" y="219"/>
                    </a:cubicBezTo>
                    <a:cubicBezTo>
                      <a:pt x="261" y="240"/>
                      <a:pt x="261" y="240"/>
                      <a:pt x="261" y="240"/>
                    </a:cubicBezTo>
                    <a:cubicBezTo>
                      <a:pt x="265" y="240"/>
                      <a:pt x="268" y="237"/>
                      <a:pt x="268" y="234"/>
                    </a:cubicBezTo>
                    <a:lnTo>
                      <a:pt x="268" y="226"/>
                    </a:lnTo>
                    <a:close/>
                    <a:moveTo>
                      <a:pt x="261" y="245"/>
                    </a:moveTo>
                    <a:cubicBezTo>
                      <a:pt x="261" y="254"/>
                      <a:pt x="261" y="254"/>
                      <a:pt x="261" y="254"/>
                    </a:cubicBezTo>
                    <a:cubicBezTo>
                      <a:pt x="261" y="258"/>
                      <a:pt x="260" y="262"/>
                      <a:pt x="259" y="266"/>
                    </a:cubicBezTo>
                    <a:cubicBezTo>
                      <a:pt x="261" y="266"/>
                      <a:pt x="261" y="266"/>
                      <a:pt x="261" y="266"/>
                    </a:cubicBezTo>
                    <a:cubicBezTo>
                      <a:pt x="265" y="266"/>
                      <a:pt x="268" y="263"/>
                      <a:pt x="268" y="259"/>
                    </a:cubicBezTo>
                    <a:cubicBezTo>
                      <a:pt x="268" y="251"/>
                      <a:pt x="268" y="251"/>
                      <a:pt x="268" y="251"/>
                    </a:cubicBezTo>
                    <a:cubicBezTo>
                      <a:pt x="268" y="248"/>
                      <a:pt x="265" y="245"/>
                      <a:pt x="261" y="245"/>
                    </a:cubicBezTo>
                    <a:close/>
                    <a:moveTo>
                      <a:pt x="253" y="254"/>
                    </a:moveTo>
                    <a:cubicBezTo>
                      <a:pt x="253" y="103"/>
                      <a:pt x="253" y="103"/>
                      <a:pt x="253" y="103"/>
                    </a:cubicBezTo>
                    <a:cubicBezTo>
                      <a:pt x="253" y="92"/>
                      <a:pt x="244" y="83"/>
                      <a:pt x="233" y="83"/>
                    </a:cubicBezTo>
                    <a:cubicBezTo>
                      <a:pt x="223" y="83"/>
                      <a:pt x="223" y="83"/>
                      <a:pt x="223" y="83"/>
                    </a:cubicBezTo>
                    <a:cubicBezTo>
                      <a:pt x="223" y="87"/>
                      <a:pt x="223" y="87"/>
                      <a:pt x="223" y="87"/>
                    </a:cubicBezTo>
                    <a:cubicBezTo>
                      <a:pt x="233" y="87"/>
                      <a:pt x="233" y="87"/>
                      <a:pt x="233" y="87"/>
                    </a:cubicBezTo>
                    <a:cubicBezTo>
                      <a:pt x="242" y="87"/>
                      <a:pt x="249" y="94"/>
                      <a:pt x="249" y="103"/>
                    </a:cubicBezTo>
                    <a:cubicBezTo>
                      <a:pt x="249" y="254"/>
                      <a:pt x="249" y="254"/>
                      <a:pt x="249" y="254"/>
                    </a:cubicBezTo>
                    <a:cubicBezTo>
                      <a:pt x="249" y="262"/>
                      <a:pt x="242" y="269"/>
                      <a:pt x="233" y="269"/>
                    </a:cubicBezTo>
                    <a:cubicBezTo>
                      <a:pt x="213" y="269"/>
                      <a:pt x="213" y="269"/>
                      <a:pt x="213" y="269"/>
                    </a:cubicBezTo>
                    <a:cubicBezTo>
                      <a:pt x="211" y="271"/>
                      <a:pt x="209" y="273"/>
                      <a:pt x="207" y="275"/>
                    </a:cubicBezTo>
                    <a:cubicBezTo>
                      <a:pt x="209" y="279"/>
                      <a:pt x="209" y="279"/>
                      <a:pt x="209" y="279"/>
                    </a:cubicBezTo>
                    <a:cubicBezTo>
                      <a:pt x="237" y="279"/>
                      <a:pt x="237" y="279"/>
                      <a:pt x="237" y="279"/>
                    </a:cubicBezTo>
                    <a:cubicBezTo>
                      <a:pt x="240" y="273"/>
                      <a:pt x="240" y="273"/>
                      <a:pt x="240" y="273"/>
                    </a:cubicBezTo>
                    <a:cubicBezTo>
                      <a:pt x="248" y="270"/>
                      <a:pt x="253" y="262"/>
                      <a:pt x="253" y="254"/>
                    </a:cubicBezTo>
                    <a:close/>
                    <a:moveTo>
                      <a:pt x="215" y="245"/>
                    </a:moveTo>
                    <a:cubicBezTo>
                      <a:pt x="215" y="44"/>
                      <a:pt x="215" y="44"/>
                      <a:pt x="215" y="44"/>
                    </a:cubicBezTo>
                    <a:cubicBezTo>
                      <a:pt x="215" y="29"/>
                      <a:pt x="203" y="17"/>
                      <a:pt x="188" y="17"/>
                    </a:cubicBezTo>
                    <a:cubicBezTo>
                      <a:pt x="43" y="17"/>
                      <a:pt x="43" y="17"/>
                      <a:pt x="43" y="17"/>
                    </a:cubicBezTo>
                    <a:cubicBezTo>
                      <a:pt x="28" y="17"/>
                      <a:pt x="16" y="29"/>
                      <a:pt x="16" y="44"/>
                    </a:cubicBezTo>
                    <a:cubicBezTo>
                      <a:pt x="16" y="245"/>
                      <a:pt x="16" y="245"/>
                      <a:pt x="16" y="245"/>
                    </a:cubicBezTo>
                    <a:cubicBezTo>
                      <a:pt x="16" y="257"/>
                      <a:pt x="24" y="266"/>
                      <a:pt x="34" y="270"/>
                    </a:cubicBezTo>
                    <a:cubicBezTo>
                      <a:pt x="38" y="279"/>
                      <a:pt x="38" y="279"/>
                      <a:pt x="38" y="279"/>
                    </a:cubicBezTo>
                    <a:cubicBezTo>
                      <a:pt x="75" y="279"/>
                      <a:pt x="75" y="279"/>
                      <a:pt x="75" y="279"/>
                    </a:cubicBezTo>
                    <a:cubicBezTo>
                      <a:pt x="79" y="272"/>
                      <a:pt x="79" y="272"/>
                      <a:pt x="79" y="272"/>
                    </a:cubicBezTo>
                    <a:cubicBezTo>
                      <a:pt x="153" y="272"/>
                      <a:pt x="153" y="272"/>
                      <a:pt x="153" y="272"/>
                    </a:cubicBezTo>
                    <a:cubicBezTo>
                      <a:pt x="156" y="279"/>
                      <a:pt x="156" y="279"/>
                      <a:pt x="156" y="279"/>
                    </a:cubicBezTo>
                    <a:cubicBezTo>
                      <a:pt x="193" y="279"/>
                      <a:pt x="193" y="279"/>
                      <a:pt x="193" y="279"/>
                    </a:cubicBezTo>
                    <a:cubicBezTo>
                      <a:pt x="198" y="270"/>
                      <a:pt x="198" y="270"/>
                      <a:pt x="198" y="270"/>
                    </a:cubicBezTo>
                    <a:cubicBezTo>
                      <a:pt x="208" y="266"/>
                      <a:pt x="215" y="257"/>
                      <a:pt x="215" y="245"/>
                    </a:cubicBezTo>
                    <a:close/>
                    <a:moveTo>
                      <a:pt x="188" y="266"/>
                    </a:moveTo>
                    <a:cubicBezTo>
                      <a:pt x="43" y="266"/>
                      <a:pt x="43" y="266"/>
                      <a:pt x="43" y="266"/>
                    </a:cubicBezTo>
                    <a:cubicBezTo>
                      <a:pt x="32" y="266"/>
                      <a:pt x="22" y="257"/>
                      <a:pt x="22" y="245"/>
                    </a:cubicBezTo>
                    <a:cubicBezTo>
                      <a:pt x="22" y="44"/>
                      <a:pt x="22" y="44"/>
                      <a:pt x="22" y="44"/>
                    </a:cubicBezTo>
                    <a:cubicBezTo>
                      <a:pt x="22" y="32"/>
                      <a:pt x="32" y="23"/>
                      <a:pt x="43" y="23"/>
                    </a:cubicBezTo>
                    <a:cubicBezTo>
                      <a:pt x="188" y="23"/>
                      <a:pt x="188" y="23"/>
                      <a:pt x="188" y="23"/>
                    </a:cubicBezTo>
                    <a:cubicBezTo>
                      <a:pt x="200" y="23"/>
                      <a:pt x="209" y="32"/>
                      <a:pt x="209" y="44"/>
                    </a:cubicBezTo>
                    <a:cubicBezTo>
                      <a:pt x="209" y="245"/>
                      <a:pt x="209" y="245"/>
                      <a:pt x="209" y="245"/>
                    </a:cubicBezTo>
                    <a:cubicBezTo>
                      <a:pt x="209" y="257"/>
                      <a:pt x="200" y="266"/>
                      <a:pt x="188" y="266"/>
                    </a:cubicBezTo>
                    <a:close/>
                    <a:moveTo>
                      <a:pt x="241" y="117"/>
                    </a:moveTo>
                    <a:cubicBezTo>
                      <a:pt x="241" y="107"/>
                      <a:pt x="241" y="107"/>
                      <a:pt x="241" y="107"/>
                    </a:cubicBezTo>
                    <a:cubicBezTo>
                      <a:pt x="241" y="102"/>
                      <a:pt x="237" y="98"/>
                      <a:pt x="232" y="98"/>
                    </a:cubicBezTo>
                    <a:cubicBezTo>
                      <a:pt x="223" y="98"/>
                      <a:pt x="223" y="98"/>
                      <a:pt x="223" y="98"/>
                    </a:cubicBezTo>
                    <a:cubicBezTo>
                      <a:pt x="223" y="109"/>
                      <a:pt x="223" y="109"/>
                      <a:pt x="223" y="109"/>
                    </a:cubicBezTo>
                    <a:cubicBezTo>
                      <a:pt x="226" y="109"/>
                      <a:pt x="226" y="109"/>
                      <a:pt x="226" y="109"/>
                    </a:cubicBezTo>
                    <a:cubicBezTo>
                      <a:pt x="228" y="109"/>
                      <a:pt x="229" y="110"/>
                      <a:pt x="229" y="112"/>
                    </a:cubicBezTo>
                    <a:cubicBezTo>
                      <a:pt x="229" y="114"/>
                      <a:pt x="228" y="115"/>
                      <a:pt x="226" y="115"/>
                    </a:cubicBezTo>
                    <a:cubicBezTo>
                      <a:pt x="223" y="115"/>
                      <a:pt x="223" y="115"/>
                      <a:pt x="223" y="115"/>
                    </a:cubicBezTo>
                    <a:cubicBezTo>
                      <a:pt x="223" y="126"/>
                      <a:pt x="223" y="126"/>
                      <a:pt x="223" y="126"/>
                    </a:cubicBezTo>
                    <a:cubicBezTo>
                      <a:pt x="232" y="126"/>
                      <a:pt x="232" y="126"/>
                      <a:pt x="232" y="126"/>
                    </a:cubicBezTo>
                    <a:cubicBezTo>
                      <a:pt x="237" y="126"/>
                      <a:pt x="241" y="122"/>
                      <a:pt x="241" y="117"/>
                    </a:cubicBezTo>
                    <a:close/>
                    <a:moveTo>
                      <a:pt x="4" y="88"/>
                    </a:moveTo>
                    <a:cubicBezTo>
                      <a:pt x="0" y="88"/>
                      <a:pt x="0" y="88"/>
                      <a:pt x="0" y="88"/>
                    </a:cubicBezTo>
                    <a:cubicBezTo>
                      <a:pt x="0" y="96"/>
                      <a:pt x="0" y="96"/>
                      <a:pt x="0" y="96"/>
                    </a:cubicBezTo>
                    <a:cubicBezTo>
                      <a:pt x="4" y="96"/>
                      <a:pt x="4" y="96"/>
                      <a:pt x="4" y="96"/>
                    </a:cubicBezTo>
                    <a:lnTo>
                      <a:pt x="4" y="88"/>
                    </a:lnTo>
                    <a:close/>
                    <a:moveTo>
                      <a:pt x="125" y="0"/>
                    </a:moveTo>
                    <a:cubicBezTo>
                      <a:pt x="117" y="0"/>
                      <a:pt x="117" y="0"/>
                      <a:pt x="117" y="0"/>
                    </a:cubicBezTo>
                    <a:cubicBezTo>
                      <a:pt x="117" y="4"/>
                      <a:pt x="117" y="4"/>
                      <a:pt x="117" y="4"/>
                    </a:cubicBezTo>
                    <a:cubicBezTo>
                      <a:pt x="125" y="4"/>
                      <a:pt x="125" y="4"/>
                      <a:pt x="125" y="4"/>
                    </a:cubicBezTo>
                    <a:lnTo>
                      <a:pt x="125" y="0"/>
                    </a:lnTo>
                    <a:close/>
                    <a:moveTo>
                      <a:pt x="61" y="0"/>
                    </a:moveTo>
                    <a:cubicBezTo>
                      <a:pt x="53" y="0"/>
                      <a:pt x="53" y="0"/>
                      <a:pt x="53" y="0"/>
                    </a:cubicBezTo>
                    <a:cubicBezTo>
                      <a:pt x="53" y="4"/>
                      <a:pt x="53" y="4"/>
                      <a:pt x="53" y="4"/>
                    </a:cubicBezTo>
                    <a:cubicBezTo>
                      <a:pt x="61" y="4"/>
                      <a:pt x="61" y="4"/>
                      <a:pt x="61" y="4"/>
                    </a:cubicBezTo>
                    <a:lnTo>
                      <a:pt x="61" y="0"/>
                    </a:lnTo>
                    <a:close/>
                    <a:moveTo>
                      <a:pt x="42" y="4"/>
                    </a:moveTo>
                    <a:cubicBezTo>
                      <a:pt x="45" y="4"/>
                      <a:pt x="45" y="4"/>
                      <a:pt x="45" y="4"/>
                    </a:cubicBezTo>
                    <a:cubicBezTo>
                      <a:pt x="45" y="0"/>
                      <a:pt x="45" y="0"/>
                      <a:pt x="45" y="0"/>
                    </a:cubicBezTo>
                    <a:cubicBezTo>
                      <a:pt x="42" y="0"/>
                      <a:pt x="42" y="0"/>
                      <a:pt x="42" y="0"/>
                    </a:cubicBezTo>
                    <a:cubicBezTo>
                      <a:pt x="40" y="0"/>
                      <a:pt x="39" y="0"/>
                      <a:pt x="37" y="1"/>
                    </a:cubicBezTo>
                    <a:cubicBezTo>
                      <a:pt x="37" y="5"/>
                      <a:pt x="37" y="5"/>
                      <a:pt x="37" y="5"/>
                    </a:cubicBezTo>
                    <a:cubicBezTo>
                      <a:pt x="39" y="4"/>
                      <a:pt x="40" y="4"/>
                      <a:pt x="42" y="4"/>
                    </a:cubicBezTo>
                    <a:close/>
                    <a:moveTo>
                      <a:pt x="8" y="25"/>
                    </a:moveTo>
                    <a:cubicBezTo>
                      <a:pt x="4" y="24"/>
                      <a:pt x="4" y="24"/>
                      <a:pt x="4" y="24"/>
                    </a:cubicBezTo>
                    <a:cubicBezTo>
                      <a:pt x="3" y="26"/>
                      <a:pt x="2" y="29"/>
                      <a:pt x="1" y="32"/>
                    </a:cubicBezTo>
                    <a:cubicBezTo>
                      <a:pt x="5" y="33"/>
                      <a:pt x="5" y="33"/>
                      <a:pt x="5" y="33"/>
                    </a:cubicBezTo>
                    <a:cubicBezTo>
                      <a:pt x="6" y="30"/>
                      <a:pt x="7" y="28"/>
                      <a:pt x="8" y="25"/>
                    </a:cubicBezTo>
                    <a:close/>
                    <a:moveTo>
                      <a:pt x="93" y="0"/>
                    </a:moveTo>
                    <a:cubicBezTo>
                      <a:pt x="85" y="0"/>
                      <a:pt x="85" y="0"/>
                      <a:pt x="85" y="0"/>
                    </a:cubicBezTo>
                    <a:cubicBezTo>
                      <a:pt x="85" y="4"/>
                      <a:pt x="85" y="4"/>
                      <a:pt x="85" y="4"/>
                    </a:cubicBezTo>
                    <a:cubicBezTo>
                      <a:pt x="93" y="4"/>
                      <a:pt x="93" y="4"/>
                      <a:pt x="93" y="4"/>
                    </a:cubicBezTo>
                    <a:lnTo>
                      <a:pt x="93" y="0"/>
                    </a:lnTo>
                    <a:close/>
                    <a:moveTo>
                      <a:pt x="77" y="0"/>
                    </a:moveTo>
                    <a:cubicBezTo>
                      <a:pt x="69" y="0"/>
                      <a:pt x="69" y="0"/>
                      <a:pt x="69" y="0"/>
                    </a:cubicBezTo>
                    <a:cubicBezTo>
                      <a:pt x="69" y="4"/>
                      <a:pt x="69" y="4"/>
                      <a:pt x="69" y="4"/>
                    </a:cubicBezTo>
                    <a:cubicBezTo>
                      <a:pt x="77" y="4"/>
                      <a:pt x="77" y="4"/>
                      <a:pt x="77" y="4"/>
                    </a:cubicBezTo>
                    <a:lnTo>
                      <a:pt x="77" y="0"/>
                    </a:lnTo>
                    <a:close/>
                    <a:moveTo>
                      <a:pt x="141" y="0"/>
                    </a:moveTo>
                    <a:cubicBezTo>
                      <a:pt x="133" y="0"/>
                      <a:pt x="133" y="0"/>
                      <a:pt x="133" y="0"/>
                    </a:cubicBezTo>
                    <a:cubicBezTo>
                      <a:pt x="133" y="4"/>
                      <a:pt x="133" y="4"/>
                      <a:pt x="133" y="4"/>
                    </a:cubicBezTo>
                    <a:cubicBezTo>
                      <a:pt x="141" y="4"/>
                      <a:pt x="141" y="4"/>
                      <a:pt x="141" y="4"/>
                    </a:cubicBezTo>
                    <a:lnTo>
                      <a:pt x="141" y="0"/>
                    </a:lnTo>
                    <a:close/>
                    <a:moveTo>
                      <a:pt x="4" y="56"/>
                    </a:moveTo>
                    <a:cubicBezTo>
                      <a:pt x="0" y="56"/>
                      <a:pt x="0" y="56"/>
                      <a:pt x="0" y="56"/>
                    </a:cubicBezTo>
                    <a:cubicBezTo>
                      <a:pt x="0" y="64"/>
                      <a:pt x="0" y="64"/>
                      <a:pt x="0" y="64"/>
                    </a:cubicBezTo>
                    <a:cubicBezTo>
                      <a:pt x="4" y="64"/>
                      <a:pt x="4" y="64"/>
                      <a:pt x="4" y="64"/>
                    </a:cubicBezTo>
                    <a:lnTo>
                      <a:pt x="4" y="56"/>
                    </a:lnTo>
                    <a:close/>
                    <a:moveTo>
                      <a:pt x="4" y="42"/>
                    </a:moveTo>
                    <a:cubicBezTo>
                      <a:pt x="4" y="42"/>
                      <a:pt x="4" y="41"/>
                      <a:pt x="4" y="40"/>
                    </a:cubicBezTo>
                    <a:cubicBezTo>
                      <a:pt x="0" y="40"/>
                      <a:pt x="0" y="40"/>
                      <a:pt x="0" y="40"/>
                    </a:cubicBezTo>
                    <a:cubicBezTo>
                      <a:pt x="0" y="41"/>
                      <a:pt x="0" y="41"/>
                      <a:pt x="0" y="42"/>
                    </a:cubicBezTo>
                    <a:cubicBezTo>
                      <a:pt x="0" y="48"/>
                      <a:pt x="0" y="48"/>
                      <a:pt x="0" y="48"/>
                    </a:cubicBezTo>
                    <a:cubicBezTo>
                      <a:pt x="4" y="48"/>
                      <a:pt x="4" y="48"/>
                      <a:pt x="4" y="48"/>
                    </a:cubicBezTo>
                    <a:lnTo>
                      <a:pt x="4" y="42"/>
                    </a:lnTo>
                    <a:close/>
                    <a:moveTo>
                      <a:pt x="17" y="14"/>
                    </a:moveTo>
                    <a:cubicBezTo>
                      <a:pt x="14" y="11"/>
                      <a:pt x="14" y="11"/>
                      <a:pt x="14" y="11"/>
                    </a:cubicBezTo>
                    <a:cubicBezTo>
                      <a:pt x="12" y="12"/>
                      <a:pt x="10" y="14"/>
                      <a:pt x="9" y="17"/>
                    </a:cubicBezTo>
                    <a:cubicBezTo>
                      <a:pt x="12" y="19"/>
                      <a:pt x="12" y="19"/>
                      <a:pt x="12" y="19"/>
                    </a:cubicBezTo>
                    <a:cubicBezTo>
                      <a:pt x="13" y="17"/>
                      <a:pt x="15" y="15"/>
                      <a:pt x="17" y="14"/>
                    </a:cubicBezTo>
                    <a:close/>
                    <a:moveTo>
                      <a:pt x="4" y="72"/>
                    </a:moveTo>
                    <a:cubicBezTo>
                      <a:pt x="0" y="72"/>
                      <a:pt x="0" y="72"/>
                      <a:pt x="0" y="72"/>
                    </a:cubicBezTo>
                    <a:cubicBezTo>
                      <a:pt x="0" y="80"/>
                      <a:pt x="0" y="80"/>
                      <a:pt x="0" y="80"/>
                    </a:cubicBezTo>
                    <a:cubicBezTo>
                      <a:pt x="4" y="80"/>
                      <a:pt x="4" y="80"/>
                      <a:pt x="4" y="80"/>
                    </a:cubicBezTo>
                    <a:lnTo>
                      <a:pt x="4" y="72"/>
                    </a:lnTo>
                    <a:close/>
                    <a:moveTo>
                      <a:pt x="30" y="6"/>
                    </a:moveTo>
                    <a:cubicBezTo>
                      <a:pt x="29" y="2"/>
                      <a:pt x="29" y="2"/>
                      <a:pt x="29" y="2"/>
                    </a:cubicBezTo>
                    <a:cubicBezTo>
                      <a:pt x="26" y="3"/>
                      <a:pt x="24" y="4"/>
                      <a:pt x="21" y="6"/>
                    </a:cubicBezTo>
                    <a:cubicBezTo>
                      <a:pt x="23" y="9"/>
                      <a:pt x="23" y="9"/>
                      <a:pt x="23" y="9"/>
                    </a:cubicBezTo>
                    <a:cubicBezTo>
                      <a:pt x="25" y="8"/>
                      <a:pt x="28" y="7"/>
                      <a:pt x="30" y="6"/>
                    </a:cubicBezTo>
                    <a:close/>
                    <a:moveTo>
                      <a:pt x="109" y="0"/>
                    </a:moveTo>
                    <a:cubicBezTo>
                      <a:pt x="101" y="0"/>
                      <a:pt x="101" y="0"/>
                      <a:pt x="101" y="0"/>
                    </a:cubicBezTo>
                    <a:cubicBezTo>
                      <a:pt x="101" y="4"/>
                      <a:pt x="101" y="4"/>
                      <a:pt x="101" y="4"/>
                    </a:cubicBezTo>
                    <a:cubicBezTo>
                      <a:pt x="109" y="4"/>
                      <a:pt x="109" y="4"/>
                      <a:pt x="109" y="4"/>
                    </a:cubicBezTo>
                    <a:lnTo>
                      <a:pt x="109" y="0"/>
                    </a:lnTo>
                    <a:close/>
                    <a:moveTo>
                      <a:pt x="251" y="47"/>
                    </a:moveTo>
                    <a:cubicBezTo>
                      <a:pt x="247" y="40"/>
                      <a:pt x="247" y="40"/>
                      <a:pt x="247" y="40"/>
                    </a:cubicBezTo>
                    <a:cubicBezTo>
                      <a:pt x="244" y="42"/>
                      <a:pt x="244" y="42"/>
                      <a:pt x="244" y="42"/>
                    </a:cubicBezTo>
                    <a:cubicBezTo>
                      <a:pt x="247" y="49"/>
                      <a:pt x="247" y="49"/>
                      <a:pt x="247" y="49"/>
                    </a:cubicBezTo>
                    <a:lnTo>
                      <a:pt x="251" y="47"/>
                    </a:lnTo>
                    <a:close/>
                    <a:moveTo>
                      <a:pt x="259" y="61"/>
                    </a:moveTo>
                    <a:cubicBezTo>
                      <a:pt x="255" y="54"/>
                      <a:pt x="255" y="54"/>
                      <a:pt x="255" y="54"/>
                    </a:cubicBezTo>
                    <a:cubicBezTo>
                      <a:pt x="251" y="56"/>
                      <a:pt x="251" y="56"/>
                      <a:pt x="251" y="56"/>
                    </a:cubicBezTo>
                    <a:cubicBezTo>
                      <a:pt x="255" y="63"/>
                      <a:pt x="255" y="63"/>
                      <a:pt x="255" y="63"/>
                    </a:cubicBezTo>
                    <a:lnTo>
                      <a:pt x="259" y="61"/>
                    </a:lnTo>
                    <a:close/>
                    <a:moveTo>
                      <a:pt x="266" y="75"/>
                    </a:moveTo>
                    <a:cubicBezTo>
                      <a:pt x="262" y="68"/>
                      <a:pt x="262" y="68"/>
                      <a:pt x="262" y="68"/>
                    </a:cubicBezTo>
                    <a:cubicBezTo>
                      <a:pt x="259" y="70"/>
                      <a:pt x="259" y="70"/>
                      <a:pt x="259" y="70"/>
                    </a:cubicBezTo>
                    <a:cubicBezTo>
                      <a:pt x="263" y="77"/>
                      <a:pt x="263" y="77"/>
                      <a:pt x="263" y="77"/>
                    </a:cubicBezTo>
                    <a:lnTo>
                      <a:pt x="266" y="75"/>
                    </a:lnTo>
                    <a:close/>
                    <a:moveTo>
                      <a:pt x="274" y="89"/>
                    </a:moveTo>
                    <a:cubicBezTo>
                      <a:pt x="270" y="82"/>
                      <a:pt x="270" y="82"/>
                      <a:pt x="270" y="82"/>
                    </a:cubicBezTo>
                    <a:cubicBezTo>
                      <a:pt x="266" y="84"/>
                      <a:pt x="266" y="84"/>
                      <a:pt x="266" y="84"/>
                    </a:cubicBezTo>
                    <a:cubicBezTo>
                      <a:pt x="270" y="91"/>
                      <a:pt x="270" y="91"/>
                      <a:pt x="270" y="91"/>
                    </a:cubicBezTo>
                    <a:lnTo>
                      <a:pt x="274" y="89"/>
                    </a:lnTo>
                    <a:close/>
                    <a:moveTo>
                      <a:pt x="232" y="20"/>
                    </a:moveTo>
                    <a:cubicBezTo>
                      <a:pt x="231" y="19"/>
                      <a:pt x="228" y="17"/>
                      <a:pt x="226" y="15"/>
                    </a:cubicBezTo>
                    <a:cubicBezTo>
                      <a:pt x="224" y="19"/>
                      <a:pt x="224" y="19"/>
                      <a:pt x="224" y="19"/>
                    </a:cubicBezTo>
                    <a:cubicBezTo>
                      <a:pt x="226" y="20"/>
                      <a:pt x="228" y="22"/>
                      <a:pt x="230" y="23"/>
                    </a:cubicBezTo>
                    <a:lnTo>
                      <a:pt x="232" y="20"/>
                    </a:lnTo>
                    <a:close/>
                    <a:moveTo>
                      <a:pt x="243" y="33"/>
                    </a:moveTo>
                    <a:cubicBezTo>
                      <a:pt x="242" y="31"/>
                      <a:pt x="240" y="28"/>
                      <a:pt x="238" y="26"/>
                    </a:cubicBezTo>
                    <a:cubicBezTo>
                      <a:pt x="235" y="29"/>
                      <a:pt x="235" y="29"/>
                      <a:pt x="235" y="29"/>
                    </a:cubicBezTo>
                    <a:cubicBezTo>
                      <a:pt x="237" y="31"/>
                      <a:pt x="239" y="33"/>
                      <a:pt x="240" y="35"/>
                    </a:cubicBezTo>
                    <a:lnTo>
                      <a:pt x="243" y="33"/>
                    </a:lnTo>
                    <a:close/>
                    <a:moveTo>
                      <a:pt x="277" y="105"/>
                    </a:moveTo>
                    <a:cubicBezTo>
                      <a:pt x="280" y="104"/>
                      <a:pt x="280" y="104"/>
                      <a:pt x="280" y="104"/>
                    </a:cubicBezTo>
                    <a:cubicBezTo>
                      <a:pt x="279" y="101"/>
                      <a:pt x="278" y="99"/>
                      <a:pt x="277" y="96"/>
                    </a:cubicBezTo>
                    <a:cubicBezTo>
                      <a:pt x="274" y="98"/>
                      <a:pt x="274" y="98"/>
                      <a:pt x="274" y="98"/>
                    </a:cubicBezTo>
                    <a:cubicBezTo>
                      <a:pt x="275" y="100"/>
                      <a:pt x="276" y="103"/>
                      <a:pt x="277" y="105"/>
                    </a:cubicBezTo>
                    <a:close/>
                    <a:moveTo>
                      <a:pt x="205" y="4"/>
                    </a:moveTo>
                    <a:cubicBezTo>
                      <a:pt x="202" y="3"/>
                      <a:pt x="199" y="2"/>
                      <a:pt x="197" y="2"/>
                    </a:cubicBezTo>
                    <a:cubicBezTo>
                      <a:pt x="196" y="6"/>
                      <a:pt x="196" y="6"/>
                      <a:pt x="196" y="6"/>
                    </a:cubicBezTo>
                    <a:cubicBezTo>
                      <a:pt x="198" y="6"/>
                      <a:pt x="201" y="7"/>
                      <a:pt x="203" y="8"/>
                    </a:cubicBezTo>
                    <a:lnTo>
                      <a:pt x="205" y="4"/>
                    </a:lnTo>
                    <a:close/>
                    <a:moveTo>
                      <a:pt x="157" y="0"/>
                    </a:moveTo>
                    <a:cubicBezTo>
                      <a:pt x="149" y="0"/>
                      <a:pt x="149" y="0"/>
                      <a:pt x="149" y="0"/>
                    </a:cubicBezTo>
                    <a:cubicBezTo>
                      <a:pt x="149" y="4"/>
                      <a:pt x="149" y="4"/>
                      <a:pt x="149" y="4"/>
                    </a:cubicBezTo>
                    <a:cubicBezTo>
                      <a:pt x="157" y="4"/>
                      <a:pt x="157" y="4"/>
                      <a:pt x="157" y="4"/>
                    </a:cubicBezTo>
                    <a:lnTo>
                      <a:pt x="157" y="0"/>
                    </a:lnTo>
                    <a:close/>
                    <a:moveTo>
                      <a:pt x="172" y="0"/>
                    </a:moveTo>
                    <a:cubicBezTo>
                      <a:pt x="165" y="0"/>
                      <a:pt x="165" y="0"/>
                      <a:pt x="165" y="0"/>
                    </a:cubicBezTo>
                    <a:cubicBezTo>
                      <a:pt x="165" y="4"/>
                      <a:pt x="165" y="4"/>
                      <a:pt x="165" y="4"/>
                    </a:cubicBezTo>
                    <a:cubicBezTo>
                      <a:pt x="172" y="4"/>
                      <a:pt x="172" y="4"/>
                      <a:pt x="172" y="4"/>
                    </a:cubicBezTo>
                    <a:lnTo>
                      <a:pt x="172" y="0"/>
                    </a:lnTo>
                    <a:close/>
                    <a:moveTo>
                      <a:pt x="188" y="4"/>
                    </a:moveTo>
                    <a:cubicBezTo>
                      <a:pt x="189" y="0"/>
                      <a:pt x="189" y="0"/>
                      <a:pt x="189" y="0"/>
                    </a:cubicBezTo>
                    <a:cubicBezTo>
                      <a:pt x="187" y="0"/>
                      <a:pt x="186" y="0"/>
                      <a:pt x="185" y="0"/>
                    </a:cubicBezTo>
                    <a:cubicBezTo>
                      <a:pt x="180" y="0"/>
                      <a:pt x="180" y="0"/>
                      <a:pt x="180" y="0"/>
                    </a:cubicBezTo>
                    <a:cubicBezTo>
                      <a:pt x="180" y="4"/>
                      <a:pt x="180" y="4"/>
                      <a:pt x="180" y="4"/>
                    </a:cubicBezTo>
                    <a:cubicBezTo>
                      <a:pt x="185" y="4"/>
                      <a:pt x="185" y="4"/>
                      <a:pt x="185" y="4"/>
                    </a:cubicBezTo>
                    <a:cubicBezTo>
                      <a:pt x="186" y="4"/>
                      <a:pt x="187" y="4"/>
                      <a:pt x="188" y="4"/>
                    </a:cubicBezTo>
                    <a:close/>
                    <a:moveTo>
                      <a:pt x="219" y="11"/>
                    </a:moveTo>
                    <a:cubicBezTo>
                      <a:pt x="217" y="9"/>
                      <a:pt x="215" y="8"/>
                      <a:pt x="212" y="7"/>
                    </a:cubicBezTo>
                    <a:cubicBezTo>
                      <a:pt x="210" y="11"/>
                      <a:pt x="210" y="11"/>
                      <a:pt x="210" y="11"/>
                    </a:cubicBezTo>
                    <a:cubicBezTo>
                      <a:pt x="213" y="12"/>
                      <a:pt x="215" y="13"/>
                      <a:pt x="217" y="14"/>
                    </a:cubicBezTo>
                    <a:lnTo>
                      <a:pt x="219" y="11"/>
                    </a:lnTo>
                    <a:close/>
                    <a:moveTo>
                      <a:pt x="285" y="135"/>
                    </a:moveTo>
                    <a:cubicBezTo>
                      <a:pt x="289" y="135"/>
                      <a:pt x="289" y="135"/>
                      <a:pt x="289" y="135"/>
                    </a:cubicBezTo>
                    <a:cubicBezTo>
                      <a:pt x="289" y="132"/>
                      <a:pt x="288" y="129"/>
                      <a:pt x="288" y="127"/>
                    </a:cubicBezTo>
                    <a:cubicBezTo>
                      <a:pt x="284" y="128"/>
                      <a:pt x="284" y="128"/>
                      <a:pt x="284" y="128"/>
                    </a:cubicBezTo>
                    <a:cubicBezTo>
                      <a:pt x="284" y="130"/>
                      <a:pt x="285" y="133"/>
                      <a:pt x="285" y="135"/>
                    </a:cubicBezTo>
                    <a:close/>
                    <a:moveTo>
                      <a:pt x="288" y="151"/>
                    </a:moveTo>
                    <a:cubicBezTo>
                      <a:pt x="292" y="150"/>
                      <a:pt x="292" y="150"/>
                      <a:pt x="292" y="150"/>
                    </a:cubicBezTo>
                    <a:cubicBezTo>
                      <a:pt x="292" y="148"/>
                      <a:pt x="291" y="145"/>
                      <a:pt x="291" y="142"/>
                    </a:cubicBezTo>
                    <a:cubicBezTo>
                      <a:pt x="287" y="143"/>
                      <a:pt x="287" y="143"/>
                      <a:pt x="287" y="143"/>
                    </a:cubicBezTo>
                    <a:cubicBezTo>
                      <a:pt x="287" y="146"/>
                      <a:pt x="288" y="148"/>
                      <a:pt x="288" y="151"/>
                    </a:cubicBezTo>
                    <a:close/>
                    <a:moveTo>
                      <a:pt x="242" y="296"/>
                    </a:moveTo>
                    <a:cubicBezTo>
                      <a:pt x="250" y="296"/>
                      <a:pt x="250" y="296"/>
                      <a:pt x="250" y="296"/>
                    </a:cubicBezTo>
                    <a:cubicBezTo>
                      <a:pt x="250" y="292"/>
                      <a:pt x="250" y="292"/>
                      <a:pt x="250" y="292"/>
                    </a:cubicBezTo>
                    <a:cubicBezTo>
                      <a:pt x="242" y="292"/>
                      <a:pt x="242" y="292"/>
                      <a:pt x="242" y="292"/>
                    </a:cubicBezTo>
                    <a:lnTo>
                      <a:pt x="242" y="296"/>
                    </a:lnTo>
                    <a:close/>
                    <a:moveTo>
                      <a:pt x="226" y="296"/>
                    </a:moveTo>
                    <a:cubicBezTo>
                      <a:pt x="234" y="296"/>
                      <a:pt x="234" y="296"/>
                      <a:pt x="234" y="296"/>
                    </a:cubicBezTo>
                    <a:cubicBezTo>
                      <a:pt x="234" y="292"/>
                      <a:pt x="234" y="292"/>
                      <a:pt x="234" y="292"/>
                    </a:cubicBezTo>
                    <a:cubicBezTo>
                      <a:pt x="226" y="292"/>
                      <a:pt x="226" y="292"/>
                      <a:pt x="226" y="292"/>
                    </a:cubicBezTo>
                    <a:lnTo>
                      <a:pt x="226" y="296"/>
                    </a:lnTo>
                    <a:close/>
                    <a:moveTo>
                      <a:pt x="258" y="292"/>
                    </a:moveTo>
                    <a:cubicBezTo>
                      <a:pt x="259" y="296"/>
                      <a:pt x="259" y="296"/>
                      <a:pt x="259" y="296"/>
                    </a:cubicBezTo>
                    <a:cubicBezTo>
                      <a:pt x="261" y="295"/>
                      <a:pt x="264" y="294"/>
                      <a:pt x="267" y="293"/>
                    </a:cubicBezTo>
                    <a:cubicBezTo>
                      <a:pt x="265" y="290"/>
                      <a:pt x="265" y="290"/>
                      <a:pt x="265" y="290"/>
                    </a:cubicBezTo>
                    <a:cubicBezTo>
                      <a:pt x="263" y="291"/>
                      <a:pt x="260" y="291"/>
                      <a:pt x="258" y="292"/>
                    </a:cubicBezTo>
                    <a:close/>
                    <a:moveTo>
                      <a:pt x="210" y="296"/>
                    </a:moveTo>
                    <a:cubicBezTo>
                      <a:pt x="218" y="296"/>
                      <a:pt x="218" y="296"/>
                      <a:pt x="218" y="296"/>
                    </a:cubicBezTo>
                    <a:cubicBezTo>
                      <a:pt x="218" y="292"/>
                      <a:pt x="218" y="292"/>
                      <a:pt x="218" y="292"/>
                    </a:cubicBezTo>
                    <a:cubicBezTo>
                      <a:pt x="210" y="292"/>
                      <a:pt x="210" y="292"/>
                      <a:pt x="210" y="292"/>
                    </a:cubicBezTo>
                    <a:lnTo>
                      <a:pt x="210" y="296"/>
                    </a:lnTo>
                    <a:close/>
                    <a:moveTo>
                      <a:pt x="179" y="296"/>
                    </a:moveTo>
                    <a:cubicBezTo>
                      <a:pt x="187" y="296"/>
                      <a:pt x="187" y="296"/>
                      <a:pt x="187" y="296"/>
                    </a:cubicBezTo>
                    <a:cubicBezTo>
                      <a:pt x="187" y="292"/>
                      <a:pt x="187" y="292"/>
                      <a:pt x="187" y="292"/>
                    </a:cubicBezTo>
                    <a:cubicBezTo>
                      <a:pt x="179" y="292"/>
                      <a:pt x="179" y="292"/>
                      <a:pt x="179" y="292"/>
                    </a:cubicBezTo>
                    <a:lnTo>
                      <a:pt x="179" y="296"/>
                    </a:lnTo>
                    <a:close/>
                    <a:moveTo>
                      <a:pt x="163" y="296"/>
                    </a:moveTo>
                    <a:cubicBezTo>
                      <a:pt x="171" y="296"/>
                      <a:pt x="171" y="296"/>
                      <a:pt x="171" y="296"/>
                    </a:cubicBezTo>
                    <a:cubicBezTo>
                      <a:pt x="171" y="292"/>
                      <a:pt x="171" y="292"/>
                      <a:pt x="171" y="292"/>
                    </a:cubicBezTo>
                    <a:cubicBezTo>
                      <a:pt x="163" y="292"/>
                      <a:pt x="163" y="292"/>
                      <a:pt x="163" y="292"/>
                    </a:cubicBezTo>
                    <a:lnTo>
                      <a:pt x="163" y="296"/>
                    </a:lnTo>
                    <a:close/>
                    <a:moveTo>
                      <a:pt x="147" y="296"/>
                    </a:moveTo>
                    <a:cubicBezTo>
                      <a:pt x="155" y="296"/>
                      <a:pt x="155" y="296"/>
                      <a:pt x="155" y="296"/>
                    </a:cubicBezTo>
                    <a:cubicBezTo>
                      <a:pt x="155" y="292"/>
                      <a:pt x="155" y="292"/>
                      <a:pt x="155" y="292"/>
                    </a:cubicBezTo>
                    <a:cubicBezTo>
                      <a:pt x="147" y="292"/>
                      <a:pt x="147" y="292"/>
                      <a:pt x="147" y="292"/>
                    </a:cubicBezTo>
                    <a:lnTo>
                      <a:pt x="147" y="296"/>
                    </a:lnTo>
                    <a:close/>
                    <a:moveTo>
                      <a:pt x="195" y="296"/>
                    </a:moveTo>
                    <a:cubicBezTo>
                      <a:pt x="203" y="296"/>
                      <a:pt x="203" y="296"/>
                      <a:pt x="203" y="296"/>
                    </a:cubicBezTo>
                    <a:cubicBezTo>
                      <a:pt x="203" y="292"/>
                      <a:pt x="203" y="292"/>
                      <a:pt x="203" y="292"/>
                    </a:cubicBezTo>
                    <a:cubicBezTo>
                      <a:pt x="195" y="292"/>
                      <a:pt x="195" y="292"/>
                      <a:pt x="195" y="292"/>
                    </a:cubicBezTo>
                    <a:lnTo>
                      <a:pt x="195" y="296"/>
                    </a:lnTo>
                    <a:close/>
                    <a:moveTo>
                      <a:pt x="131" y="296"/>
                    </a:moveTo>
                    <a:cubicBezTo>
                      <a:pt x="139" y="296"/>
                      <a:pt x="139" y="296"/>
                      <a:pt x="139" y="296"/>
                    </a:cubicBezTo>
                    <a:cubicBezTo>
                      <a:pt x="139" y="292"/>
                      <a:pt x="139" y="292"/>
                      <a:pt x="139" y="292"/>
                    </a:cubicBezTo>
                    <a:cubicBezTo>
                      <a:pt x="131" y="292"/>
                      <a:pt x="131" y="292"/>
                      <a:pt x="131" y="292"/>
                    </a:cubicBezTo>
                    <a:lnTo>
                      <a:pt x="131" y="296"/>
                    </a:lnTo>
                    <a:close/>
                    <a:moveTo>
                      <a:pt x="272" y="286"/>
                    </a:moveTo>
                    <a:cubicBezTo>
                      <a:pt x="274" y="289"/>
                      <a:pt x="274" y="289"/>
                      <a:pt x="274" y="289"/>
                    </a:cubicBezTo>
                    <a:cubicBezTo>
                      <a:pt x="276" y="288"/>
                      <a:pt x="279" y="286"/>
                      <a:pt x="281" y="284"/>
                    </a:cubicBezTo>
                    <a:cubicBezTo>
                      <a:pt x="278" y="281"/>
                      <a:pt x="278" y="281"/>
                      <a:pt x="278" y="281"/>
                    </a:cubicBezTo>
                    <a:cubicBezTo>
                      <a:pt x="276" y="283"/>
                      <a:pt x="274" y="285"/>
                      <a:pt x="272" y="286"/>
                    </a:cubicBezTo>
                    <a:close/>
                    <a:moveTo>
                      <a:pt x="289" y="214"/>
                    </a:moveTo>
                    <a:cubicBezTo>
                      <a:pt x="293" y="214"/>
                      <a:pt x="293" y="214"/>
                      <a:pt x="293" y="214"/>
                    </a:cubicBezTo>
                    <a:cubicBezTo>
                      <a:pt x="293" y="206"/>
                      <a:pt x="293" y="206"/>
                      <a:pt x="293" y="206"/>
                    </a:cubicBezTo>
                    <a:cubicBezTo>
                      <a:pt x="289" y="206"/>
                      <a:pt x="289" y="206"/>
                      <a:pt x="289" y="206"/>
                    </a:cubicBezTo>
                    <a:lnTo>
                      <a:pt x="289" y="214"/>
                    </a:lnTo>
                    <a:close/>
                    <a:moveTo>
                      <a:pt x="289" y="182"/>
                    </a:moveTo>
                    <a:cubicBezTo>
                      <a:pt x="293" y="182"/>
                      <a:pt x="293" y="182"/>
                      <a:pt x="293" y="182"/>
                    </a:cubicBezTo>
                    <a:cubicBezTo>
                      <a:pt x="293" y="175"/>
                      <a:pt x="293" y="175"/>
                      <a:pt x="293" y="175"/>
                    </a:cubicBezTo>
                    <a:cubicBezTo>
                      <a:pt x="289" y="175"/>
                      <a:pt x="289" y="175"/>
                      <a:pt x="289" y="175"/>
                    </a:cubicBezTo>
                    <a:lnTo>
                      <a:pt x="289" y="182"/>
                    </a:lnTo>
                    <a:close/>
                    <a:moveTo>
                      <a:pt x="289" y="198"/>
                    </a:moveTo>
                    <a:cubicBezTo>
                      <a:pt x="293" y="198"/>
                      <a:pt x="293" y="198"/>
                      <a:pt x="293" y="198"/>
                    </a:cubicBezTo>
                    <a:cubicBezTo>
                      <a:pt x="293" y="190"/>
                      <a:pt x="293" y="190"/>
                      <a:pt x="293" y="190"/>
                    </a:cubicBezTo>
                    <a:cubicBezTo>
                      <a:pt x="289" y="190"/>
                      <a:pt x="289" y="190"/>
                      <a:pt x="289" y="190"/>
                    </a:cubicBezTo>
                    <a:lnTo>
                      <a:pt x="289" y="198"/>
                    </a:lnTo>
                    <a:close/>
                    <a:moveTo>
                      <a:pt x="283" y="111"/>
                    </a:moveTo>
                    <a:cubicBezTo>
                      <a:pt x="279" y="113"/>
                      <a:pt x="279" y="113"/>
                      <a:pt x="279" y="113"/>
                    </a:cubicBezTo>
                    <a:cubicBezTo>
                      <a:pt x="280" y="115"/>
                      <a:pt x="281" y="118"/>
                      <a:pt x="282" y="120"/>
                    </a:cubicBezTo>
                    <a:cubicBezTo>
                      <a:pt x="285" y="119"/>
                      <a:pt x="285" y="119"/>
                      <a:pt x="285" y="119"/>
                    </a:cubicBezTo>
                    <a:cubicBezTo>
                      <a:pt x="285" y="116"/>
                      <a:pt x="284" y="114"/>
                      <a:pt x="283" y="111"/>
                    </a:cubicBezTo>
                    <a:close/>
                    <a:moveTo>
                      <a:pt x="293" y="158"/>
                    </a:moveTo>
                    <a:cubicBezTo>
                      <a:pt x="289" y="159"/>
                      <a:pt x="289" y="159"/>
                      <a:pt x="289" y="159"/>
                    </a:cubicBezTo>
                    <a:cubicBezTo>
                      <a:pt x="289" y="161"/>
                      <a:pt x="289" y="163"/>
                      <a:pt x="289" y="166"/>
                    </a:cubicBezTo>
                    <a:cubicBezTo>
                      <a:pt x="289" y="167"/>
                      <a:pt x="289" y="167"/>
                      <a:pt x="289" y="167"/>
                    </a:cubicBezTo>
                    <a:cubicBezTo>
                      <a:pt x="293" y="167"/>
                      <a:pt x="293" y="167"/>
                      <a:pt x="293" y="167"/>
                    </a:cubicBezTo>
                    <a:cubicBezTo>
                      <a:pt x="293" y="166"/>
                      <a:pt x="293" y="166"/>
                      <a:pt x="293" y="166"/>
                    </a:cubicBezTo>
                    <a:cubicBezTo>
                      <a:pt x="293" y="163"/>
                      <a:pt x="293" y="161"/>
                      <a:pt x="293" y="158"/>
                    </a:cubicBezTo>
                    <a:close/>
                    <a:moveTo>
                      <a:pt x="283" y="276"/>
                    </a:moveTo>
                    <a:cubicBezTo>
                      <a:pt x="286" y="278"/>
                      <a:pt x="286" y="278"/>
                      <a:pt x="286" y="278"/>
                    </a:cubicBezTo>
                    <a:cubicBezTo>
                      <a:pt x="287" y="276"/>
                      <a:pt x="289" y="273"/>
                      <a:pt x="290" y="271"/>
                    </a:cubicBezTo>
                    <a:cubicBezTo>
                      <a:pt x="286" y="269"/>
                      <a:pt x="286" y="269"/>
                      <a:pt x="286" y="269"/>
                    </a:cubicBezTo>
                    <a:cubicBezTo>
                      <a:pt x="285" y="271"/>
                      <a:pt x="284" y="274"/>
                      <a:pt x="283" y="276"/>
                    </a:cubicBezTo>
                    <a:close/>
                    <a:moveTo>
                      <a:pt x="288" y="262"/>
                    </a:moveTo>
                    <a:cubicBezTo>
                      <a:pt x="292" y="263"/>
                      <a:pt x="292" y="263"/>
                      <a:pt x="292" y="263"/>
                    </a:cubicBezTo>
                    <a:cubicBezTo>
                      <a:pt x="293" y="260"/>
                      <a:pt x="293" y="257"/>
                      <a:pt x="293" y="254"/>
                    </a:cubicBezTo>
                    <a:cubicBezTo>
                      <a:pt x="293" y="254"/>
                      <a:pt x="293" y="254"/>
                      <a:pt x="293" y="254"/>
                    </a:cubicBezTo>
                    <a:cubicBezTo>
                      <a:pt x="289" y="254"/>
                      <a:pt x="289" y="254"/>
                      <a:pt x="289" y="254"/>
                    </a:cubicBezTo>
                    <a:cubicBezTo>
                      <a:pt x="289" y="257"/>
                      <a:pt x="289" y="259"/>
                      <a:pt x="288" y="262"/>
                    </a:cubicBezTo>
                    <a:close/>
                    <a:moveTo>
                      <a:pt x="289" y="230"/>
                    </a:moveTo>
                    <a:cubicBezTo>
                      <a:pt x="293" y="230"/>
                      <a:pt x="293" y="230"/>
                      <a:pt x="293" y="230"/>
                    </a:cubicBezTo>
                    <a:cubicBezTo>
                      <a:pt x="293" y="222"/>
                      <a:pt x="293" y="222"/>
                      <a:pt x="293" y="222"/>
                    </a:cubicBezTo>
                    <a:cubicBezTo>
                      <a:pt x="289" y="222"/>
                      <a:pt x="289" y="222"/>
                      <a:pt x="289" y="222"/>
                    </a:cubicBezTo>
                    <a:lnTo>
                      <a:pt x="289" y="230"/>
                    </a:lnTo>
                    <a:close/>
                    <a:moveTo>
                      <a:pt x="289" y="246"/>
                    </a:moveTo>
                    <a:cubicBezTo>
                      <a:pt x="293" y="246"/>
                      <a:pt x="293" y="246"/>
                      <a:pt x="293" y="246"/>
                    </a:cubicBezTo>
                    <a:cubicBezTo>
                      <a:pt x="293" y="238"/>
                      <a:pt x="293" y="238"/>
                      <a:pt x="293" y="238"/>
                    </a:cubicBezTo>
                    <a:cubicBezTo>
                      <a:pt x="289" y="238"/>
                      <a:pt x="289" y="238"/>
                      <a:pt x="289" y="238"/>
                    </a:cubicBezTo>
                    <a:lnTo>
                      <a:pt x="289" y="246"/>
                    </a:lnTo>
                    <a:close/>
                    <a:moveTo>
                      <a:pt x="4" y="119"/>
                    </a:moveTo>
                    <a:cubicBezTo>
                      <a:pt x="0" y="119"/>
                      <a:pt x="0" y="119"/>
                      <a:pt x="0" y="119"/>
                    </a:cubicBezTo>
                    <a:cubicBezTo>
                      <a:pt x="0" y="127"/>
                      <a:pt x="0" y="127"/>
                      <a:pt x="0" y="127"/>
                    </a:cubicBezTo>
                    <a:cubicBezTo>
                      <a:pt x="4" y="127"/>
                      <a:pt x="4" y="127"/>
                      <a:pt x="4" y="127"/>
                    </a:cubicBezTo>
                    <a:lnTo>
                      <a:pt x="4" y="119"/>
                    </a:lnTo>
                    <a:close/>
                    <a:moveTo>
                      <a:pt x="4" y="215"/>
                    </a:moveTo>
                    <a:cubicBezTo>
                      <a:pt x="0" y="215"/>
                      <a:pt x="0" y="215"/>
                      <a:pt x="0" y="215"/>
                    </a:cubicBezTo>
                    <a:cubicBezTo>
                      <a:pt x="0" y="223"/>
                      <a:pt x="0" y="223"/>
                      <a:pt x="0" y="223"/>
                    </a:cubicBezTo>
                    <a:cubicBezTo>
                      <a:pt x="4" y="223"/>
                      <a:pt x="4" y="223"/>
                      <a:pt x="4" y="223"/>
                    </a:cubicBezTo>
                    <a:lnTo>
                      <a:pt x="4" y="215"/>
                    </a:lnTo>
                    <a:close/>
                    <a:moveTo>
                      <a:pt x="115" y="296"/>
                    </a:moveTo>
                    <a:cubicBezTo>
                      <a:pt x="123" y="296"/>
                      <a:pt x="123" y="296"/>
                      <a:pt x="123" y="296"/>
                    </a:cubicBezTo>
                    <a:cubicBezTo>
                      <a:pt x="123" y="292"/>
                      <a:pt x="123" y="292"/>
                      <a:pt x="123" y="292"/>
                    </a:cubicBezTo>
                    <a:cubicBezTo>
                      <a:pt x="115" y="292"/>
                      <a:pt x="115" y="292"/>
                      <a:pt x="115" y="292"/>
                    </a:cubicBezTo>
                    <a:lnTo>
                      <a:pt x="115" y="296"/>
                    </a:lnTo>
                    <a:close/>
                    <a:moveTo>
                      <a:pt x="4" y="247"/>
                    </a:moveTo>
                    <a:cubicBezTo>
                      <a:pt x="0" y="247"/>
                      <a:pt x="0" y="247"/>
                      <a:pt x="0" y="247"/>
                    </a:cubicBezTo>
                    <a:cubicBezTo>
                      <a:pt x="0" y="255"/>
                      <a:pt x="0" y="255"/>
                      <a:pt x="0" y="255"/>
                    </a:cubicBezTo>
                    <a:cubicBezTo>
                      <a:pt x="4" y="255"/>
                      <a:pt x="4" y="255"/>
                      <a:pt x="4" y="255"/>
                    </a:cubicBezTo>
                    <a:lnTo>
                      <a:pt x="4" y="247"/>
                    </a:lnTo>
                    <a:close/>
                    <a:moveTo>
                      <a:pt x="4" y="231"/>
                    </a:moveTo>
                    <a:cubicBezTo>
                      <a:pt x="0" y="231"/>
                      <a:pt x="0" y="231"/>
                      <a:pt x="0" y="231"/>
                    </a:cubicBezTo>
                    <a:cubicBezTo>
                      <a:pt x="0" y="239"/>
                      <a:pt x="0" y="239"/>
                      <a:pt x="0" y="239"/>
                    </a:cubicBezTo>
                    <a:cubicBezTo>
                      <a:pt x="4" y="239"/>
                      <a:pt x="4" y="239"/>
                      <a:pt x="4" y="239"/>
                    </a:cubicBezTo>
                    <a:lnTo>
                      <a:pt x="4" y="231"/>
                    </a:lnTo>
                    <a:close/>
                    <a:moveTo>
                      <a:pt x="4" y="183"/>
                    </a:moveTo>
                    <a:cubicBezTo>
                      <a:pt x="0" y="183"/>
                      <a:pt x="0" y="183"/>
                      <a:pt x="0" y="183"/>
                    </a:cubicBezTo>
                    <a:cubicBezTo>
                      <a:pt x="0" y="191"/>
                      <a:pt x="0" y="191"/>
                      <a:pt x="0" y="191"/>
                    </a:cubicBezTo>
                    <a:cubicBezTo>
                      <a:pt x="4" y="191"/>
                      <a:pt x="4" y="191"/>
                      <a:pt x="4" y="191"/>
                    </a:cubicBezTo>
                    <a:lnTo>
                      <a:pt x="4" y="183"/>
                    </a:lnTo>
                    <a:close/>
                    <a:moveTo>
                      <a:pt x="4" y="135"/>
                    </a:moveTo>
                    <a:cubicBezTo>
                      <a:pt x="0" y="135"/>
                      <a:pt x="0" y="135"/>
                      <a:pt x="0" y="135"/>
                    </a:cubicBezTo>
                    <a:cubicBezTo>
                      <a:pt x="0" y="143"/>
                      <a:pt x="0" y="143"/>
                      <a:pt x="0" y="143"/>
                    </a:cubicBezTo>
                    <a:cubicBezTo>
                      <a:pt x="4" y="143"/>
                      <a:pt x="4" y="143"/>
                      <a:pt x="4" y="143"/>
                    </a:cubicBezTo>
                    <a:lnTo>
                      <a:pt x="4" y="135"/>
                    </a:lnTo>
                    <a:close/>
                    <a:moveTo>
                      <a:pt x="4" y="104"/>
                    </a:moveTo>
                    <a:cubicBezTo>
                      <a:pt x="0" y="104"/>
                      <a:pt x="0" y="104"/>
                      <a:pt x="0" y="104"/>
                    </a:cubicBezTo>
                    <a:cubicBezTo>
                      <a:pt x="0" y="112"/>
                      <a:pt x="0" y="112"/>
                      <a:pt x="0" y="112"/>
                    </a:cubicBezTo>
                    <a:cubicBezTo>
                      <a:pt x="4" y="112"/>
                      <a:pt x="4" y="112"/>
                      <a:pt x="4" y="112"/>
                    </a:cubicBezTo>
                    <a:lnTo>
                      <a:pt x="4" y="104"/>
                    </a:lnTo>
                    <a:close/>
                    <a:moveTo>
                      <a:pt x="4" y="167"/>
                    </a:moveTo>
                    <a:cubicBezTo>
                      <a:pt x="0" y="167"/>
                      <a:pt x="0" y="167"/>
                      <a:pt x="0" y="167"/>
                    </a:cubicBezTo>
                    <a:cubicBezTo>
                      <a:pt x="0" y="175"/>
                      <a:pt x="0" y="175"/>
                      <a:pt x="0" y="175"/>
                    </a:cubicBezTo>
                    <a:cubicBezTo>
                      <a:pt x="4" y="175"/>
                      <a:pt x="4" y="175"/>
                      <a:pt x="4" y="175"/>
                    </a:cubicBezTo>
                    <a:lnTo>
                      <a:pt x="4" y="167"/>
                    </a:lnTo>
                    <a:close/>
                    <a:moveTo>
                      <a:pt x="4" y="151"/>
                    </a:moveTo>
                    <a:cubicBezTo>
                      <a:pt x="0" y="151"/>
                      <a:pt x="0" y="151"/>
                      <a:pt x="0" y="151"/>
                    </a:cubicBezTo>
                    <a:cubicBezTo>
                      <a:pt x="0" y="159"/>
                      <a:pt x="0" y="159"/>
                      <a:pt x="0" y="159"/>
                    </a:cubicBezTo>
                    <a:cubicBezTo>
                      <a:pt x="4" y="159"/>
                      <a:pt x="4" y="159"/>
                      <a:pt x="4" y="159"/>
                    </a:cubicBezTo>
                    <a:lnTo>
                      <a:pt x="4" y="151"/>
                    </a:lnTo>
                    <a:close/>
                    <a:moveTo>
                      <a:pt x="4" y="199"/>
                    </a:moveTo>
                    <a:cubicBezTo>
                      <a:pt x="0" y="199"/>
                      <a:pt x="0" y="199"/>
                      <a:pt x="0" y="199"/>
                    </a:cubicBezTo>
                    <a:cubicBezTo>
                      <a:pt x="0" y="207"/>
                      <a:pt x="0" y="207"/>
                      <a:pt x="0" y="207"/>
                    </a:cubicBezTo>
                    <a:cubicBezTo>
                      <a:pt x="4" y="207"/>
                      <a:pt x="4" y="207"/>
                      <a:pt x="4" y="207"/>
                    </a:cubicBezTo>
                    <a:lnTo>
                      <a:pt x="4" y="199"/>
                    </a:lnTo>
                    <a:close/>
                    <a:moveTo>
                      <a:pt x="51" y="296"/>
                    </a:moveTo>
                    <a:cubicBezTo>
                      <a:pt x="59" y="296"/>
                      <a:pt x="59" y="296"/>
                      <a:pt x="59" y="296"/>
                    </a:cubicBezTo>
                    <a:cubicBezTo>
                      <a:pt x="59" y="292"/>
                      <a:pt x="59" y="292"/>
                      <a:pt x="59" y="292"/>
                    </a:cubicBezTo>
                    <a:cubicBezTo>
                      <a:pt x="51" y="292"/>
                      <a:pt x="51" y="292"/>
                      <a:pt x="51" y="292"/>
                    </a:cubicBezTo>
                    <a:lnTo>
                      <a:pt x="51" y="296"/>
                    </a:lnTo>
                    <a:close/>
                    <a:moveTo>
                      <a:pt x="83" y="296"/>
                    </a:moveTo>
                    <a:cubicBezTo>
                      <a:pt x="91" y="296"/>
                      <a:pt x="91" y="296"/>
                      <a:pt x="91" y="296"/>
                    </a:cubicBezTo>
                    <a:cubicBezTo>
                      <a:pt x="91" y="292"/>
                      <a:pt x="91" y="292"/>
                      <a:pt x="91" y="292"/>
                    </a:cubicBezTo>
                    <a:cubicBezTo>
                      <a:pt x="83" y="292"/>
                      <a:pt x="83" y="292"/>
                      <a:pt x="83" y="292"/>
                    </a:cubicBezTo>
                    <a:lnTo>
                      <a:pt x="83" y="296"/>
                    </a:lnTo>
                    <a:close/>
                    <a:moveTo>
                      <a:pt x="67" y="296"/>
                    </a:moveTo>
                    <a:cubicBezTo>
                      <a:pt x="75" y="296"/>
                      <a:pt x="75" y="296"/>
                      <a:pt x="75" y="296"/>
                    </a:cubicBezTo>
                    <a:cubicBezTo>
                      <a:pt x="75" y="292"/>
                      <a:pt x="75" y="292"/>
                      <a:pt x="75" y="292"/>
                    </a:cubicBezTo>
                    <a:cubicBezTo>
                      <a:pt x="67" y="292"/>
                      <a:pt x="67" y="292"/>
                      <a:pt x="67" y="292"/>
                    </a:cubicBezTo>
                    <a:lnTo>
                      <a:pt x="67" y="296"/>
                    </a:lnTo>
                    <a:close/>
                    <a:moveTo>
                      <a:pt x="99" y="296"/>
                    </a:moveTo>
                    <a:cubicBezTo>
                      <a:pt x="107" y="296"/>
                      <a:pt x="107" y="296"/>
                      <a:pt x="107" y="296"/>
                    </a:cubicBezTo>
                    <a:cubicBezTo>
                      <a:pt x="107" y="292"/>
                      <a:pt x="107" y="292"/>
                      <a:pt x="107" y="292"/>
                    </a:cubicBezTo>
                    <a:cubicBezTo>
                      <a:pt x="99" y="292"/>
                      <a:pt x="99" y="292"/>
                      <a:pt x="99" y="292"/>
                    </a:cubicBezTo>
                    <a:lnTo>
                      <a:pt x="99" y="296"/>
                    </a:lnTo>
                    <a:close/>
                    <a:moveTo>
                      <a:pt x="20" y="290"/>
                    </a:moveTo>
                    <a:cubicBezTo>
                      <a:pt x="22" y="291"/>
                      <a:pt x="24" y="293"/>
                      <a:pt x="27" y="294"/>
                    </a:cubicBezTo>
                    <a:cubicBezTo>
                      <a:pt x="28" y="290"/>
                      <a:pt x="28" y="290"/>
                      <a:pt x="28" y="290"/>
                    </a:cubicBezTo>
                    <a:cubicBezTo>
                      <a:pt x="26" y="289"/>
                      <a:pt x="24" y="288"/>
                      <a:pt x="22" y="286"/>
                    </a:cubicBezTo>
                    <a:lnTo>
                      <a:pt x="20" y="290"/>
                    </a:lnTo>
                    <a:close/>
                    <a:moveTo>
                      <a:pt x="7" y="278"/>
                    </a:moveTo>
                    <a:cubicBezTo>
                      <a:pt x="9" y="281"/>
                      <a:pt x="11" y="283"/>
                      <a:pt x="13" y="285"/>
                    </a:cubicBezTo>
                    <a:cubicBezTo>
                      <a:pt x="16" y="282"/>
                      <a:pt x="16" y="282"/>
                      <a:pt x="16" y="282"/>
                    </a:cubicBezTo>
                    <a:cubicBezTo>
                      <a:pt x="14" y="280"/>
                      <a:pt x="12" y="278"/>
                      <a:pt x="11" y="276"/>
                    </a:cubicBezTo>
                    <a:lnTo>
                      <a:pt x="7" y="278"/>
                    </a:lnTo>
                    <a:close/>
                    <a:moveTo>
                      <a:pt x="36" y="292"/>
                    </a:moveTo>
                    <a:cubicBezTo>
                      <a:pt x="35" y="296"/>
                      <a:pt x="35" y="296"/>
                      <a:pt x="35" y="296"/>
                    </a:cubicBezTo>
                    <a:cubicBezTo>
                      <a:pt x="37" y="296"/>
                      <a:pt x="40" y="296"/>
                      <a:pt x="42" y="296"/>
                    </a:cubicBezTo>
                    <a:cubicBezTo>
                      <a:pt x="43" y="296"/>
                      <a:pt x="43" y="296"/>
                      <a:pt x="43" y="296"/>
                    </a:cubicBezTo>
                    <a:cubicBezTo>
                      <a:pt x="43" y="292"/>
                      <a:pt x="43" y="292"/>
                      <a:pt x="43" y="292"/>
                    </a:cubicBezTo>
                    <a:cubicBezTo>
                      <a:pt x="42" y="292"/>
                      <a:pt x="42" y="292"/>
                      <a:pt x="42" y="292"/>
                    </a:cubicBezTo>
                    <a:cubicBezTo>
                      <a:pt x="40" y="292"/>
                      <a:pt x="38" y="292"/>
                      <a:pt x="36" y="292"/>
                    </a:cubicBezTo>
                    <a:close/>
                    <a:moveTo>
                      <a:pt x="1" y="263"/>
                    </a:moveTo>
                    <a:cubicBezTo>
                      <a:pt x="1" y="266"/>
                      <a:pt x="2" y="269"/>
                      <a:pt x="3" y="271"/>
                    </a:cubicBezTo>
                    <a:cubicBezTo>
                      <a:pt x="7" y="269"/>
                      <a:pt x="7" y="269"/>
                      <a:pt x="7" y="269"/>
                    </a:cubicBezTo>
                    <a:cubicBezTo>
                      <a:pt x="6" y="267"/>
                      <a:pt x="5" y="265"/>
                      <a:pt x="5" y="262"/>
                    </a:cubicBezTo>
                    <a:lnTo>
                      <a:pt x="1" y="26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38" name="Group 137"/>
            <p:cNvGrpSpPr/>
            <p:nvPr/>
          </p:nvGrpSpPr>
          <p:grpSpPr>
            <a:xfrm>
              <a:off x="1699678" y="4860859"/>
              <a:ext cx="2379390" cy="914400"/>
              <a:chOff x="1699678" y="4860859"/>
              <a:chExt cx="2379390" cy="914400"/>
            </a:xfrm>
          </p:grpSpPr>
          <p:sp>
            <p:nvSpPr>
              <p:cNvPr id="139" name="Freeform 138"/>
              <p:cNvSpPr/>
              <p:nvPr/>
            </p:nvSpPr>
            <p:spPr>
              <a:xfrm>
                <a:off x="1699678" y="4860859"/>
                <a:ext cx="2379390"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685609" fontAlgn="base">
                  <a:spcBef>
                    <a:spcPct val="0"/>
                  </a:spcBef>
                  <a:spcAft>
                    <a:spcPct val="0"/>
                  </a:spcAft>
                </a:pPr>
                <a:endParaRPr lang="en-US" sz="1500" dirty="0">
                  <a:gradFill>
                    <a:gsLst>
                      <a:gs pos="0">
                        <a:srgbClr val="FFFFFF"/>
                      </a:gs>
                      <a:gs pos="100000">
                        <a:srgbClr val="FFFFFF"/>
                      </a:gs>
                    </a:gsLst>
                    <a:lin ang="5400000" scaled="0"/>
                  </a:gradFill>
                </a:endParaRPr>
              </a:p>
            </p:txBody>
          </p:sp>
          <p:grpSp>
            <p:nvGrpSpPr>
              <p:cNvPr id="140" name="Group 139"/>
              <p:cNvGrpSpPr/>
              <p:nvPr/>
            </p:nvGrpSpPr>
            <p:grpSpPr>
              <a:xfrm>
                <a:off x="2496910" y="4922508"/>
                <a:ext cx="784927" cy="791107"/>
                <a:chOff x="2361279" y="4922508"/>
                <a:chExt cx="784927" cy="791107"/>
              </a:xfrm>
            </p:grpSpPr>
            <p:sp>
              <p:nvSpPr>
                <p:cNvPr id="141" name="Freeform 17"/>
                <p:cNvSpPr>
                  <a:spLocks noChangeAspect="1" noEditPoints="1"/>
                </p:cNvSpPr>
                <p:nvPr/>
              </p:nvSpPr>
              <p:spPr bwMode="auto">
                <a:xfrm>
                  <a:off x="2361279" y="4922508"/>
                  <a:ext cx="386858" cy="390210"/>
                </a:xfrm>
                <a:custGeom>
                  <a:avLst/>
                  <a:gdLst>
                    <a:gd name="T0" fmla="*/ 57 w 293"/>
                    <a:gd name="T1" fmla="*/ 195 h 296"/>
                    <a:gd name="T2" fmla="*/ 112 w 293"/>
                    <a:gd name="T3" fmla="*/ 187 h 296"/>
                    <a:gd name="T4" fmla="*/ 229 w 293"/>
                    <a:gd name="T5" fmla="*/ 213 h 296"/>
                    <a:gd name="T6" fmla="*/ 44 w 293"/>
                    <a:gd name="T7" fmla="*/ 120 h 296"/>
                    <a:gd name="T8" fmla="*/ 61 w 293"/>
                    <a:gd name="T9" fmla="*/ 101 h 296"/>
                    <a:gd name="T10" fmla="*/ 44 w 293"/>
                    <a:gd name="T11" fmla="*/ 217 h 296"/>
                    <a:gd name="T12" fmla="*/ 52 w 293"/>
                    <a:gd name="T13" fmla="*/ 236 h 296"/>
                    <a:gd name="T14" fmla="*/ 183 w 293"/>
                    <a:gd name="T15" fmla="*/ 236 h 296"/>
                    <a:gd name="T16" fmla="*/ 223 w 293"/>
                    <a:gd name="T17" fmla="*/ 244 h 296"/>
                    <a:gd name="T18" fmla="*/ 229 w 293"/>
                    <a:gd name="T19" fmla="*/ 179 h 296"/>
                    <a:gd name="T20" fmla="*/ 223 w 293"/>
                    <a:gd name="T21" fmla="*/ 143 h 296"/>
                    <a:gd name="T22" fmla="*/ 32 w 293"/>
                    <a:gd name="T23" fmla="*/ 139 h 296"/>
                    <a:gd name="T24" fmla="*/ 56 w 293"/>
                    <a:gd name="T25" fmla="*/ 142 h 296"/>
                    <a:gd name="T26" fmla="*/ 179 w 293"/>
                    <a:gd name="T27" fmla="*/ 150 h 296"/>
                    <a:gd name="T28" fmla="*/ 57 w 293"/>
                    <a:gd name="T29" fmla="*/ 60 h 296"/>
                    <a:gd name="T30" fmla="*/ 112 w 293"/>
                    <a:gd name="T31" fmla="*/ 52 h 296"/>
                    <a:gd name="T32" fmla="*/ 261 w 293"/>
                    <a:gd name="T33" fmla="*/ 194 h 296"/>
                    <a:gd name="T34" fmla="*/ 277 w 293"/>
                    <a:gd name="T35" fmla="*/ 147 h 296"/>
                    <a:gd name="T36" fmla="*/ 246 w 293"/>
                    <a:gd name="T37" fmla="*/ 279 h 296"/>
                    <a:gd name="T38" fmla="*/ 261 w 293"/>
                    <a:gd name="T39" fmla="*/ 254 h 296"/>
                    <a:gd name="T40" fmla="*/ 223 w 293"/>
                    <a:gd name="T41" fmla="*/ 87 h 296"/>
                    <a:gd name="T42" fmla="*/ 253 w 293"/>
                    <a:gd name="T43" fmla="*/ 254 h 296"/>
                    <a:gd name="T44" fmla="*/ 79 w 293"/>
                    <a:gd name="T45" fmla="*/ 272 h 296"/>
                    <a:gd name="T46" fmla="*/ 43 w 293"/>
                    <a:gd name="T47" fmla="*/ 23 h 296"/>
                    <a:gd name="T48" fmla="*/ 226 w 293"/>
                    <a:gd name="T49" fmla="*/ 109 h 296"/>
                    <a:gd name="T50" fmla="*/ 4 w 293"/>
                    <a:gd name="T51" fmla="*/ 96 h 296"/>
                    <a:gd name="T52" fmla="*/ 61 w 293"/>
                    <a:gd name="T53" fmla="*/ 4 h 296"/>
                    <a:gd name="T54" fmla="*/ 4 w 293"/>
                    <a:gd name="T55" fmla="*/ 24 h 296"/>
                    <a:gd name="T56" fmla="*/ 69 w 293"/>
                    <a:gd name="T57" fmla="*/ 0 h 296"/>
                    <a:gd name="T58" fmla="*/ 0 w 293"/>
                    <a:gd name="T59" fmla="*/ 56 h 296"/>
                    <a:gd name="T60" fmla="*/ 4 w 293"/>
                    <a:gd name="T61" fmla="*/ 42 h 296"/>
                    <a:gd name="T62" fmla="*/ 4 w 293"/>
                    <a:gd name="T63" fmla="*/ 72 h 296"/>
                    <a:gd name="T64" fmla="*/ 109 w 293"/>
                    <a:gd name="T65" fmla="*/ 0 h 296"/>
                    <a:gd name="T66" fmla="*/ 259 w 293"/>
                    <a:gd name="T67" fmla="*/ 61 h 296"/>
                    <a:gd name="T68" fmla="*/ 274 w 293"/>
                    <a:gd name="T69" fmla="*/ 89 h 296"/>
                    <a:gd name="T70" fmla="*/ 243 w 293"/>
                    <a:gd name="T71" fmla="*/ 33 h 296"/>
                    <a:gd name="T72" fmla="*/ 205 w 293"/>
                    <a:gd name="T73" fmla="*/ 4 h 296"/>
                    <a:gd name="T74" fmla="*/ 172 w 293"/>
                    <a:gd name="T75" fmla="*/ 0 h 296"/>
                    <a:gd name="T76" fmla="*/ 210 w 293"/>
                    <a:gd name="T77" fmla="*/ 11 h 296"/>
                    <a:gd name="T78" fmla="*/ 291 w 293"/>
                    <a:gd name="T79" fmla="*/ 142 h 296"/>
                    <a:gd name="T80" fmla="*/ 234 w 293"/>
                    <a:gd name="T81" fmla="*/ 292 h 296"/>
                    <a:gd name="T82" fmla="*/ 218 w 293"/>
                    <a:gd name="T83" fmla="*/ 292 h 296"/>
                    <a:gd name="T84" fmla="*/ 171 w 293"/>
                    <a:gd name="T85" fmla="*/ 292 h 296"/>
                    <a:gd name="T86" fmla="*/ 203 w 293"/>
                    <a:gd name="T87" fmla="*/ 292 h 296"/>
                    <a:gd name="T88" fmla="*/ 281 w 293"/>
                    <a:gd name="T89" fmla="*/ 284 h 296"/>
                    <a:gd name="T90" fmla="*/ 293 w 293"/>
                    <a:gd name="T91" fmla="*/ 175 h 296"/>
                    <a:gd name="T92" fmla="*/ 282 w 293"/>
                    <a:gd name="T93" fmla="*/ 120 h 296"/>
                    <a:gd name="T94" fmla="*/ 283 w 293"/>
                    <a:gd name="T95" fmla="*/ 276 h 296"/>
                    <a:gd name="T96" fmla="*/ 288 w 293"/>
                    <a:gd name="T97" fmla="*/ 262 h 296"/>
                    <a:gd name="T98" fmla="*/ 289 w 293"/>
                    <a:gd name="T99" fmla="*/ 246 h 296"/>
                    <a:gd name="T100" fmla="*/ 4 w 293"/>
                    <a:gd name="T101" fmla="*/ 215 h 296"/>
                    <a:gd name="T102" fmla="*/ 4 w 293"/>
                    <a:gd name="T103" fmla="*/ 247 h 296"/>
                    <a:gd name="T104" fmla="*/ 4 w 293"/>
                    <a:gd name="T105" fmla="*/ 183 h 296"/>
                    <a:gd name="T106" fmla="*/ 4 w 293"/>
                    <a:gd name="T107" fmla="*/ 104 h 296"/>
                    <a:gd name="T108" fmla="*/ 4 w 293"/>
                    <a:gd name="T109" fmla="*/ 151 h 296"/>
                    <a:gd name="T110" fmla="*/ 51 w 293"/>
                    <a:gd name="T111" fmla="*/ 296 h 296"/>
                    <a:gd name="T112" fmla="*/ 67 w 293"/>
                    <a:gd name="T113" fmla="*/ 296 h 296"/>
                    <a:gd name="T114" fmla="*/ 20 w 293"/>
                    <a:gd name="T115" fmla="*/ 290 h 296"/>
                    <a:gd name="T116" fmla="*/ 43 w 293"/>
                    <a:gd name="T117" fmla="*/ 29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3" h="296">
                      <a:moveTo>
                        <a:pt x="187" y="172"/>
                      </a:moveTo>
                      <a:cubicBezTo>
                        <a:pt x="44" y="172"/>
                        <a:pt x="44" y="172"/>
                        <a:pt x="44" y="172"/>
                      </a:cubicBezTo>
                      <a:cubicBezTo>
                        <a:pt x="38" y="172"/>
                        <a:pt x="32" y="178"/>
                        <a:pt x="32" y="184"/>
                      </a:cubicBezTo>
                      <a:cubicBezTo>
                        <a:pt x="32" y="198"/>
                        <a:pt x="32" y="198"/>
                        <a:pt x="32" y="198"/>
                      </a:cubicBezTo>
                      <a:cubicBezTo>
                        <a:pt x="32" y="205"/>
                        <a:pt x="38" y="210"/>
                        <a:pt x="44" y="210"/>
                      </a:cubicBezTo>
                      <a:cubicBezTo>
                        <a:pt x="187" y="210"/>
                        <a:pt x="187" y="210"/>
                        <a:pt x="187" y="210"/>
                      </a:cubicBezTo>
                      <a:cubicBezTo>
                        <a:pt x="194" y="210"/>
                        <a:pt x="199" y="205"/>
                        <a:pt x="199" y="198"/>
                      </a:cubicBezTo>
                      <a:cubicBezTo>
                        <a:pt x="199" y="184"/>
                        <a:pt x="199" y="184"/>
                        <a:pt x="199" y="184"/>
                      </a:cubicBezTo>
                      <a:cubicBezTo>
                        <a:pt x="199" y="178"/>
                        <a:pt x="194" y="172"/>
                        <a:pt x="187" y="172"/>
                      </a:cubicBezTo>
                      <a:close/>
                      <a:moveTo>
                        <a:pt x="57" y="195"/>
                      </a:moveTo>
                      <a:cubicBezTo>
                        <a:pt x="56" y="195"/>
                        <a:pt x="56" y="195"/>
                        <a:pt x="56" y="195"/>
                      </a:cubicBezTo>
                      <a:cubicBezTo>
                        <a:pt x="54" y="195"/>
                        <a:pt x="52" y="193"/>
                        <a:pt x="52" y="191"/>
                      </a:cubicBezTo>
                      <a:cubicBezTo>
                        <a:pt x="52" y="189"/>
                        <a:pt x="54" y="187"/>
                        <a:pt x="56" y="187"/>
                      </a:cubicBezTo>
                      <a:cubicBezTo>
                        <a:pt x="57" y="187"/>
                        <a:pt x="57" y="187"/>
                        <a:pt x="57" y="187"/>
                      </a:cubicBezTo>
                      <a:cubicBezTo>
                        <a:pt x="59" y="187"/>
                        <a:pt x="61" y="189"/>
                        <a:pt x="61" y="191"/>
                      </a:cubicBezTo>
                      <a:cubicBezTo>
                        <a:pt x="61" y="193"/>
                        <a:pt x="59" y="195"/>
                        <a:pt x="57" y="195"/>
                      </a:cubicBezTo>
                      <a:close/>
                      <a:moveTo>
                        <a:pt x="179" y="195"/>
                      </a:moveTo>
                      <a:cubicBezTo>
                        <a:pt x="112" y="195"/>
                        <a:pt x="112" y="195"/>
                        <a:pt x="112" y="195"/>
                      </a:cubicBezTo>
                      <a:cubicBezTo>
                        <a:pt x="110" y="195"/>
                        <a:pt x="108" y="193"/>
                        <a:pt x="108" y="191"/>
                      </a:cubicBezTo>
                      <a:cubicBezTo>
                        <a:pt x="108" y="189"/>
                        <a:pt x="110" y="187"/>
                        <a:pt x="112" y="187"/>
                      </a:cubicBezTo>
                      <a:cubicBezTo>
                        <a:pt x="179" y="187"/>
                        <a:pt x="179" y="187"/>
                        <a:pt x="179" y="187"/>
                      </a:cubicBezTo>
                      <a:cubicBezTo>
                        <a:pt x="181" y="187"/>
                        <a:pt x="183" y="189"/>
                        <a:pt x="183" y="191"/>
                      </a:cubicBezTo>
                      <a:cubicBezTo>
                        <a:pt x="183" y="193"/>
                        <a:pt x="181" y="195"/>
                        <a:pt x="179" y="195"/>
                      </a:cubicBezTo>
                      <a:close/>
                      <a:moveTo>
                        <a:pt x="241" y="218"/>
                      </a:moveTo>
                      <a:cubicBezTo>
                        <a:pt x="241" y="208"/>
                        <a:pt x="241" y="208"/>
                        <a:pt x="241" y="208"/>
                      </a:cubicBezTo>
                      <a:cubicBezTo>
                        <a:pt x="241" y="203"/>
                        <a:pt x="237" y="199"/>
                        <a:pt x="232" y="199"/>
                      </a:cubicBezTo>
                      <a:cubicBezTo>
                        <a:pt x="223" y="199"/>
                        <a:pt x="223" y="199"/>
                        <a:pt x="223" y="199"/>
                      </a:cubicBezTo>
                      <a:cubicBezTo>
                        <a:pt x="223" y="210"/>
                        <a:pt x="223" y="210"/>
                        <a:pt x="223" y="210"/>
                      </a:cubicBezTo>
                      <a:cubicBezTo>
                        <a:pt x="226" y="210"/>
                        <a:pt x="226" y="210"/>
                        <a:pt x="226" y="210"/>
                      </a:cubicBezTo>
                      <a:cubicBezTo>
                        <a:pt x="228" y="210"/>
                        <a:pt x="229" y="212"/>
                        <a:pt x="229" y="213"/>
                      </a:cubicBezTo>
                      <a:cubicBezTo>
                        <a:pt x="229" y="215"/>
                        <a:pt x="228" y="216"/>
                        <a:pt x="226" y="216"/>
                      </a:cubicBezTo>
                      <a:cubicBezTo>
                        <a:pt x="223" y="216"/>
                        <a:pt x="223" y="216"/>
                        <a:pt x="223" y="216"/>
                      </a:cubicBezTo>
                      <a:cubicBezTo>
                        <a:pt x="223" y="227"/>
                        <a:pt x="223" y="227"/>
                        <a:pt x="223" y="227"/>
                      </a:cubicBezTo>
                      <a:cubicBezTo>
                        <a:pt x="232" y="227"/>
                        <a:pt x="232" y="227"/>
                        <a:pt x="232" y="227"/>
                      </a:cubicBezTo>
                      <a:cubicBezTo>
                        <a:pt x="237" y="227"/>
                        <a:pt x="241" y="223"/>
                        <a:pt x="241" y="218"/>
                      </a:cubicBezTo>
                      <a:close/>
                      <a:moveTo>
                        <a:pt x="187" y="82"/>
                      </a:moveTo>
                      <a:cubicBezTo>
                        <a:pt x="44" y="82"/>
                        <a:pt x="44" y="82"/>
                        <a:pt x="44" y="82"/>
                      </a:cubicBezTo>
                      <a:cubicBezTo>
                        <a:pt x="38" y="82"/>
                        <a:pt x="32" y="88"/>
                        <a:pt x="32" y="94"/>
                      </a:cubicBezTo>
                      <a:cubicBezTo>
                        <a:pt x="32" y="108"/>
                        <a:pt x="32" y="108"/>
                        <a:pt x="32" y="108"/>
                      </a:cubicBezTo>
                      <a:cubicBezTo>
                        <a:pt x="32" y="115"/>
                        <a:pt x="38" y="120"/>
                        <a:pt x="44" y="120"/>
                      </a:cubicBezTo>
                      <a:cubicBezTo>
                        <a:pt x="187" y="120"/>
                        <a:pt x="187" y="120"/>
                        <a:pt x="187" y="120"/>
                      </a:cubicBezTo>
                      <a:cubicBezTo>
                        <a:pt x="194" y="120"/>
                        <a:pt x="199" y="115"/>
                        <a:pt x="199" y="108"/>
                      </a:cubicBezTo>
                      <a:cubicBezTo>
                        <a:pt x="199" y="94"/>
                        <a:pt x="199" y="94"/>
                        <a:pt x="199" y="94"/>
                      </a:cubicBezTo>
                      <a:cubicBezTo>
                        <a:pt x="199" y="88"/>
                        <a:pt x="194" y="82"/>
                        <a:pt x="187" y="82"/>
                      </a:cubicBezTo>
                      <a:close/>
                      <a:moveTo>
                        <a:pt x="57" y="105"/>
                      </a:moveTo>
                      <a:cubicBezTo>
                        <a:pt x="56" y="105"/>
                        <a:pt x="56" y="105"/>
                        <a:pt x="56" y="105"/>
                      </a:cubicBezTo>
                      <a:cubicBezTo>
                        <a:pt x="54" y="105"/>
                        <a:pt x="52" y="103"/>
                        <a:pt x="52" y="101"/>
                      </a:cubicBezTo>
                      <a:cubicBezTo>
                        <a:pt x="52" y="99"/>
                        <a:pt x="54" y="97"/>
                        <a:pt x="56" y="97"/>
                      </a:cubicBezTo>
                      <a:cubicBezTo>
                        <a:pt x="57" y="97"/>
                        <a:pt x="57" y="97"/>
                        <a:pt x="57" y="97"/>
                      </a:cubicBezTo>
                      <a:cubicBezTo>
                        <a:pt x="59" y="97"/>
                        <a:pt x="61" y="99"/>
                        <a:pt x="61" y="101"/>
                      </a:cubicBezTo>
                      <a:cubicBezTo>
                        <a:pt x="61" y="103"/>
                        <a:pt x="59" y="105"/>
                        <a:pt x="57" y="105"/>
                      </a:cubicBezTo>
                      <a:close/>
                      <a:moveTo>
                        <a:pt x="179" y="105"/>
                      </a:moveTo>
                      <a:cubicBezTo>
                        <a:pt x="112" y="105"/>
                        <a:pt x="112" y="105"/>
                        <a:pt x="112" y="105"/>
                      </a:cubicBezTo>
                      <a:cubicBezTo>
                        <a:pt x="110" y="105"/>
                        <a:pt x="108" y="103"/>
                        <a:pt x="108" y="101"/>
                      </a:cubicBezTo>
                      <a:cubicBezTo>
                        <a:pt x="108" y="99"/>
                        <a:pt x="110" y="97"/>
                        <a:pt x="112" y="97"/>
                      </a:cubicBezTo>
                      <a:cubicBezTo>
                        <a:pt x="179" y="97"/>
                        <a:pt x="179" y="97"/>
                        <a:pt x="179" y="97"/>
                      </a:cubicBezTo>
                      <a:cubicBezTo>
                        <a:pt x="181" y="97"/>
                        <a:pt x="183" y="99"/>
                        <a:pt x="183" y="101"/>
                      </a:cubicBezTo>
                      <a:cubicBezTo>
                        <a:pt x="183" y="103"/>
                        <a:pt x="181" y="105"/>
                        <a:pt x="179" y="105"/>
                      </a:cubicBezTo>
                      <a:close/>
                      <a:moveTo>
                        <a:pt x="187" y="217"/>
                      </a:moveTo>
                      <a:cubicBezTo>
                        <a:pt x="44" y="217"/>
                        <a:pt x="44" y="217"/>
                        <a:pt x="44" y="217"/>
                      </a:cubicBezTo>
                      <a:cubicBezTo>
                        <a:pt x="38" y="217"/>
                        <a:pt x="32" y="223"/>
                        <a:pt x="32" y="229"/>
                      </a:cubicBezTo>
                      <a:cubicBezTo>
                        <a:pt x="32" y="243"/>
                        <a:pt x="32" y="243"/>
                        <a:pt x="32" y="243"/>
                      </a:cubicBezTo>
                      <a:cubicBezTo>
                        <a:pt x="32" y="250"/>
                        <a:pt x="38" y="255"/>
                        <a:pt x="44" y="255"/>
                      </a:cubicBezTo>
                      <a:cubicBezTo>
                        <a:pt x="187" y="255"/>
                        <a:pt x="187" y="255"/>
                        <a:pt x="187" y="255"/>
                      </a:cubicBezTo>
                      <a:cubicBezTo>
                        <a:pt x="194" y="255"/>
                        <a:pt x="199" y="250"/>
                        <a:pt x="199" y="243"/>
                      </a:cubicBezTo>
                      <a:cubicBezTo>
                        <a:pt x="199" y="229"/>
                        <a:pt x="199" y="229"/>
                        <a:pt x="199" y="229"/>
                      </a:cubicBezTo>
                      <a:cubicBezTo>
                        <a:pt x="199" y="223"/>
                        <a:pt x="194" y="217"/>
                        <a:pt x="187" y="217"/>
                      </a:cubicBezTo>
                      <a:close/>
                      <a:moveTo>
                        <a:pt x="57" y="240"/>
                      </a:moveTo>
                      <a:cubicBezTo>
                        <a:pt x="56" y="240"/>
                        <a:pt x="56" y="240"/>
                        <a:pt x="56" y="240"/>
                      </a:cubicBezTo>
                      <a:cubicBezTo>
                        <a:pt x="54" y="240"/>
                        <a:pt x="52" y="238"/>
                        <a:pt x="52" y="236"/>
                      </a:cubicBezTo>
                      <a:cubicBezTo>
                        <a:pt x="52" y="234"/>
                        <a:pt x="54" y="232"/>
                        <a:pt x="56" y="232"/>
                      </a:cubicBezTo>
                      <a:cubicBezTo>
                        <a:pt x="57" y="232"/>
                        <a:pt x="57" y="232"/>
                        <a:pt x="57" y="232"/>
                      </a:cubicBezTo>
                      <a:cubicBezTo>
                        <a:pt x="59" y="232"/>
                        <a:pt x="61" y="234"/>
                        <a:pt x="61" y="236"/>
                      </a:cubicBezTo>
                      <a:cubicBezTo>
                        <a:pt x="61" y="238"/>
                        <a:pt x="59" y="240"/>
                        <a:pt x="57" y="240"/>
                      </a:cubicBezTo>
                      <a:close/>
                      <a:moveTo>
                        <a:pt x="179" y="240"/>
                      </a:moveTo>
                      <a:cubicBezTo>
                        <a:pt x="112" y="240"/>
                        <a:pt x="112" y="240"/>
                        <a:pt x="112" y="240"/>
                      </a:cubicBezTo>
                      <a:cubicBezTo>
                        <a:pt x="110" y="240"/>
                        <a:pt x="108" y="238"/>
                        <a:pt x="108" y="236"/>
                      </a:cubicBezTo>
                      <a:cubicBezTo>
                        <a:pt x="108" y="234"/>
                        <a:pt x="110" y="232"/>
                        <a:pt x="112" y="232"/>
                      </a:cubicBezTo>
                      <a:cubicBezTo>
                        <a:pt x="179" y="232"/>
                        <a:pt x="179" y="232"/>
                        <a:pt x="179" y="232"/>
                      </a:cubicBezTo>
                      <a:cubicBezTo>
                        <a:pt x="181" y="232"/>
                        <a:pt x="183" y="234"/>
                        <a:pt x="183" y="236"/>
                      </a:cubicBezTo>
                      <a:cubicBezTo>
                        <a:pt x="183" y="238"/>
                        <a:pt x="181" y="240"/>
                        <a:pt x="179" y="240"/>
                      </a:cubicBezTo>
                      <a:close/>
                      <a:moveTo>
                        <a:pt x="226" y="250"/>
                      </a:moveTo>
                      <a:cubicBezTo>
                        <a:pt x="223" y="250"/>
                        <a:pt x="223" y="250"/>
                        <a:pt x="223" y="250"/>
                      </a:cubicBezTo>
                      <a:cubicBezTo>
                        <a:pt x="222" y="254"/>
                        <a:pt x="221" y="258"/>
                        <a:pt x="219" y="261"/>
                      </a:cubicBezTo>
                      <a:cubicBezTo>
                        <a:pt x="232" y="261"/>
                        <a:pt x="232" y="261"/>
                        <a:pt x="232" y="261"/>
                      </a:cubicBezTo>
                      <a:cubicBezTo>
                        <a:pt x="237" y="261"/>
                        <a:pt x="241" y="257"/>
                        <a:pt x="241" y="252"/>
                      </a:cubicBezTo>
                      <a:cubicBezTo>
                        <a:pt x="241" y="242"/>
                        <a:pt x="241" y="242"/>
                        <a:pt x="241" y="242"/>
                      </a:cubicBezTo>
                      <a:cubicBezTo>
                        <a:pt x="241" y="237"/>
                        <a:pt x="237" y="233"/>
                        <a:pt x="232" y="233"/>
                      </a:cubicBezTo>
                      <a:cubicBezTo>
                        <a:pt x="223" y="233"/>
                        <a:pt x="223" y="233"/>
                        <a:pt x="223" y="233"/>
                      </a:cubicBezTo>
                      <a:cubicBezTo>
                        <a:pt x="223" y="244"/>
                        <a:pt x="223" y="244"/>
                        <a:pt x="223" y="244"/>
                      </a:cubicBezTo>
                      <a:cubicBezTo>
                        <a:pt x="226" y="244"/>
                        <a:pt x="226" y="244"/>
                        <a:pt x="226" y="244"/>
                      </a:cubicBezTo>
                      <a:cubicBezTo>
                        <a:pt x="228" y="244"/>
                        <a:pt x="229" y="245"/>
                        <a:pt x="229" y="247"/>
                      </a:cubicBezTo>
                      <a:cubicBezTo>
                        <a:pt x="229" y="249"/>
                        <a:pt x="228" y="250"/>
                        <a:pt x="226" y="250"/>
                      </a:cubicBezTo>
                      <a:close/>
                      <a:moveTo>
                        <a:pt x="241" y="185"/>
                      </a:moveTo>
                      <a:cubicBezTo>
                        <a:pt x="241" y="174"/>
                        <a:pt x="241" y="174"/>
                        <a:pt x="241" y="174"/>
                      </a:cubicBezTo>
                      <a:cubicBezTo>
                        <a:pt x="241" y="169"/>
                        <a:pt x="237" y="165"/>
                        <a:pt x="232" y="165"/>
                      </a:cubicBezTo>
                      <a:cubicBezTo>
                        <a:pt x="223" y="165"/>
                        <a:pt x="223" y="165"/>
                        <a:pt x="223" y="165"/>
                      </a:cubicBezTo>
                      <a:cubicBezTo>
                        <a:pt x="223" y="176"/>
                        <a:pt x="223" y="176"/>
                        <a:pt x="223" y="176"/>
                      </a:cubicBezTo>
                      <a:cubicBezTo>
                        <a:pt x="226" y="176"/>
                        <a:pt x="226" y="176"/>
                        <a:pt x="226" y="176"/>
                      </a:cubicBezTo>
                      <a:cubicBezTo>
                        <a:pt x="228" y="176"/>
                        <a:pt x="229" y="178"/>
                        <a:pt x="229" y="179"/>
                      </a:cubicBezTo>
                      <a:cubicBezTo>
                        <a:pt x="229" y="181"/>
                        <a:pt x="228" y="182"/>
                        <a:pt x="226" y="182"/>
                      </a:cubicBezTo>
                      <a:cubicBezTo>
                        <a:pt x="223" y="182"/>
                        <a:pt x="223" y="182"/>
                        <a:pt x="223" y="182"/>
                      </a:cubicBezTo>
                      <a:cubicBezTo>
                        <a:pt x="223" y="194"/>
                        <a:pt x="223" y="194"/>
                        <a:pt x="223" y="194"/>
                      </a:cubicBezTo>
                      <a:cubicBezTo>
                        <a:pt x="232" y="194"/>
                        <a:pt x="232" y="194"/>
                        <a:pt x="232" y="194"/>
                      </a:cubicBezTo>
                      <a:cubicBezTo>
                        <a:pt x="237" y="194"/>
                        <a:pt x="241" y="190"/>
                        <a:pt x="241" y="185"/>
                      </a:cubicBezTo>
                      <a:close/>
                      <a:moveTo>
                        <a:pt x="241" y="151"/>
                      </a:moveTo>
                      <a:cubicBezTo>
                        <a:pt x="241" y="141"/>
                        <a:pt x="241" y="141"/>
                        <a:pt x="241" y="141"/>
                      </a:cubicBezTo>
                      <a:cubicBezTo>
                        <a:pt x="241" y="136"/>
                        <a:pt x="237" y="132"/>
                        <a:pt x="232" y="132"/>
                      </a:cubicBezTo>
                      <a:cubicBezTo>
                        <a:pt x="223" y="132"/>
                        <a:pt x="223" y="132"/>
                        <a:pt x="223" y="132"/>
                      </a:cubicBezTo>
                      <a:cubicBezTo>
                        <a:pt x="223" y="143"/>
                        <a:pt x="223" y="143"/>
                        <a:pt x="223" y="143"/>
                      </a:cubicBezTo>
                      <a:cubicBezTo>
                        <a:pt x="226" y="143"/>
                        <a:pt x="226" y="143"/>
                        <a:pt x="226" y="143"/>
                      </a:cubicBezTo>
                      <a:cubicBezTo>
                        <a:pt x="228" y="143"/>
                        <a:pt x="229" y="144"/>
                        <a:pt x="229" y="146"/>
                      </a:cubicBezTo>
                      <a:cubicBezTo>
                        <a:pt x="229" y="147"/>
                        <a:pt x="228" y="149"/>
                        <a:pt x="226" y="149"/>
                      </a:cubicBezTo>
                      <a:cubicBezTo>
                        <a:pt x="223" y="149"/>
                        <a:pt x="223" y="149"/>
                        <a:pt x="223" y="149"/>
                      </a:cubicBezTo>
                      <a:cubicBezTo>
                        <a:pt x="223" y="160"/>
                        <a:pt x="223" y="160"/>
                        <a:pt x="223" y="160"/>
                      </a:cubicBezTo>
                      <a:cubicBezTo>
                        <a:pt x="232" y="160"/>
                        <a:pt x="232" y="160"/>
                        <a:pt x="232" y="160"/>
                      </a:cubicBezTo>
                      <a:cubicBezTo>
                        <a:pt x="237" y="160"/>
                        <a:pt x="241" y="156"/>
                        <a:pt x="241" y="151"/>
                      </a:cubicBezTo>
                      <a:close/>
                      <a:moveTo>
                        <a:pt x="187" y="127"/>
                      </a:moveTo>
                      <a:cubicBezTo>
                        <a:pt x="44" y="127"/>
                        <a:pt x="44" y="127"/>
                        <a:pt x="44" y="127"/>
                      </a:cubicBezTo>
                      <a:cubicBezTo>
                        <a:pt x="38" y="127"/>
                        <a:pt x="32" y="133"/>
                        <a:pt x="32" y="139"/>
                      </a:cubicBezTo>
                      <a:cubicBezTo>
                        <a:pt x="32" y="153"/>
                        <a:pt x="32" y="153"/>
                        <a:pt x="32" y="153"/>
                      </a:cubicBezTo>
                      <a:cubicBezTo>
                        <a:pt x="32" y="160"/>
                        <a:pt x="38" y="165"/>
                        <a:pt x="44" y="165"/>
                      </a:cubicBezTo>
                      <a:cubicBezTo>
                        <a:pt x="187" y="165"/>
                        <a:pt x="187" y="165"/>
                        <a:pt x="187" y="165"/>
                      </a:cubicBezTo>
                      <a:cubicBezTo>
                        <a:pt x="194" y="165"/>
                        <a:pt x="199" y="160"/>
                        <a:pt x="199" y="153"/>
                      </a:cubicBezTo>
                      <a:cubicBezTo>
                        <a:pt x="199" y="139"/>
                        <a:pt x="199" y="139"/>
                        <a:pt x="199" y="139"/>
                      </a:cubicBezTo>
                      <a:cubicBezTo>
                        <a:pt x="199" y="133"/>
                        <a:pt x="194" y="127"/>
                        <a:pt x="187" y="127"/>
                      </a:cubicBezTo>
                      <a:close/>
                      <a:moveTo>
                        <a:pt x="57" y="150"/>
                      </a:moveTo>
                      <a:cubicBezTo>
                        <a:pt x="56" y="150"/>
                        <a:pt x="56" y="150"/>
                        <a:pt x="56" y="150"/>
                      </a:cubicBezTo>
                      <a:cubicBezTo>
                        <a:pt x="54" y="150"/>
                        <a:pt x="52" y="148"/>
                        <a:pt x="52" y="146"/>
                      </a:cubicBezTo>
                      <a:cubicBezTo>
                        <a:pt x="52" y="144"/>
                        <a:pt x="54" y="142"/>
                        <a:pt x="56" y="142"/>
                      </a:cubicBezTo>
                      <a:cubicBezTo>
                        <a:pt x="57" y="142"/>
                        <a:pt x="57" y="142"/>
                        <a:pt x="57" y="142"/>
                      </a:cubicBezTo>
                      <a:cubicBezTo>
                        <a:pt x="59" y="142"/>
                        <a:pt x="61" y="144"/>
                        <a:pt x="61" y="146"/>
                      </a:cubicBezTo>
                      <a:cubicBezTo>
                        <a:pt x="61" y="148"/>
                        <a:pt x="59" y="150"/>
                        <a:pt x="57" y="150"/>
                      </a:cubicBezTo>
                      <a:close/>
                      <a:moveTo>
                        <a:pt x="179" y="150"/>
                      </a:moveTo>
                      <a:cubicBezTo>
                        <a:pt x="112" y="150"/>
                        <a:pt x="112" y="150"/>
                        <a:pt x="112" y="150"/>
                      </a:cubicBezTo>
                      <a:cubicBezTo>
                        <a:pt x="110" y="150"/>
                        <a:pt x="108" y="148"/>
                        <a:pt x="108" y="146"/>
                      </a:cubicBezTo>
                      <a:cubicBezTo>
                        <a:pt x="108" y="144"/>
                        <a:pt x="110" y="142"/>
                        <a:pt x="112" y="142"/>
                      </a:cubicBezTo>
                      <a:cubicBezTo>
                        <a:pt x="179" y="142"/>
                        <a:pt x="179" y="142"/>
                        <a:pt x="179" y="142"/>
                      </a:cubicBezTo>
                      <a:cubicBezTo>
                        <a:pt x="181" y="142"/>
                        <a:pt x="183" y="144"/>
                        <a:pt x="183" y="146"/>
                      </a:cubicBezTo>
                      <a:cubicBezTo>
                        <a:pt x="183" y="148"/>
                        <a:pt x="181" y="150"/>
                        <a:pt x="179" y="150"/>
                      </a:cubicBezTo>
                      <a:close/>
                      <a:moveTo>
                        <a:pt x="187" y="37"/>
                      </a:moveTo>
                      <a:cubicBezTo>
                        <a:pt x="44" y="37"/>
                        <a:pt x="44" y="37"/>
                        <a:pt x="44" y="37"/>
                      </a:cubicBezTo>
                      <a:cubicBezTo>
                        <a:pt x="38" y="37"/>
                        <a:pt x="32" y="43"/>
                        <a:pt x="32" y="49"/>
                      </a:cubicBezTo>
                      <a:cubicBezTo>
                        <a:pt x="32" y="63"/>
                        <a:pt x="32" y="63"/>
                        <a:pt x="32" y="63"/>
                      </a:cubicBezTo>
                      <a:cubicBezTo>
                        <a:pt x="32" y="70"/>
                        <a:pt x="38" y="75"/>
                        <a:pt x="44" y="75"/>
                      </a:cubicBezTo>
                      <a:cubicBezTo>
                        <a:pt x="187" y="75"/>
                        <a:pt x="187" y="75"/>
                        <a:pt x="187" y="75"/>
                      </a:cubicBezTo>
                      <a:cubicBezTo>
                        <a:pt x="194" y="75"/>
                        <a:pt x="199" y="70"/>
                        <a:pt x="199" y="63"/>
                      </a:cubicBezTo>
                      <a:cubicBezTo>
                        <a:pt x="199" y="49"/>
                        <a:pt x="199" y="49"/>
                        <a:pt x="199" y="49"/>
                      </a:cubicBezTo>
                      <a:cubicBezTo>
                        <a:pt x="199" y="43"/>
                        <a:pt x="194" y="37"/>
                        <a:pt x="187" y="37"/>
                      </a:cubicBezTo>
                      <a:close/>
                      <a:moveTo>
                        <a:pt x="57" y="60"/>
                      </a:moveTo>
                      <a:cubicBezTo>
                        <a:pt x="56" y="60"/>
                        <a:pt x="56" y="60"/>
                        <a:pt x="56" y="60"/>
                      </a:cubicBezTo>
                      <a:cubicBezTo>
                        <a:pt x="54" y="60"/>
                        <a:pt x="52" y="58"/>
                        <a:pt x="52" y="56"/>
                      </a:cubicBezTo>
                      <a:cubicBezTo>
                        <a:pt x="52" y="54"/>
                        <a:pt x="54" y="52"/>
                        <a:pt x="56" y="52"/>
                      </a:cubicBezTo>
                      <a:cubicBezTo>
                        <a:pt x="57" y="52"/>
                        <a:pt x="57" y="52"/>
                        <a:pt x="57" y="52"/>
                      </a:cubicBezTo>
                      <a:cubicBezTo>
                        <a:pt x="59" y="52"/>
                        <a:pt x="61" y="54"/>
                        <a:pt x="61" y="56"/>
                      </a:cubicBezTo>
                      <a:cubicBezTo>
                        <a:pt x="61" y="58"/>
                        <a:pt x="59" y="60"/>
                        <a:pt x="57" y="60"/>
                      </a:cubicBezTo>
                      <a:close/>
                      <a:moveTo>
                        <a:pt x="179" y="60"/>
                      </a:moveTo>
                      <a:cubicBezTo>
                        <a:pt x="112" y="60"/>
                        <a:pt x="112" y="60"/>
                        <a:pt x="112" y="60"/>
                      </a:cubicBezTo>
                      <a:cubicBezTo>
                        <a:pt x="110" y="60"/>
                        <a:pt x="108" y="58"/>
                        <a:pt x="108" y="56"/>
                      </a:cubicBezTo>
                      <a:cubicBezTo>
                        <a:pt x="108" y="54"/>
                        <a:pt x="110" y="52"/>
                        <a:pt x="112" y="52"/>
                      </a:cubicBezTo>
                      <a:cubicBezTo>
                        <a:pt x="179" y="52"/>
                        <a:pt x="179" y="52"/>
                        <a:pt x="179" y="52"/>
                      </a:cubicBezTo>
                      <a:cubicBezTo>
                        <a:pt x="181" y="52"/>
                        <a:pt x="183" y="54"/>
                        <a:pt x="183" y="56"/>
                      </a:cubicBezTo>
                      <a:cubicBezTo>
                        <a:pt x="183" y="58"/>
                        <a:pt x="181" y="60"/>
                        <a:pt x="179" y="60"/>
                      </a:cubicBezTo>
                      <a:close/>
                      <a:moveTo>
                        <a:pt x="268" y="175"/>
                      </a:moveTo>
                      <a:cubicBezTo>
                        <a:pt x="268" y="172"/>
                        <a:pt x="265" y="169"/>
                        <a:pt x="261" y="169"/>
                      </a:cubicBezTo>
                      <a:cubicBezTo>
                        <a:pt x="261" y="190"/>
                        <a:pt x="261" y="190"/>
                        <a:pt x="261" y="190"/>
                      </a:cubicBezTo>
                      <a:cubicBezTo>
                        <a:pt x="265" y="189"/>
                        <a:pt x="268" y="187"/>
                        <a:pt x="268" y="183"/>
                      </a:cubicBezTo>
                      <a:lnTo>
                        <a:pt x="268" y="175"/>
                      </a:lnTo>
                      <a:close/>
                      <a:moveTo>
                        <a:pt x="268" y="201"/>
                      </a:moveTo>
                      <a:cubicBezTo>
                        <a:pt x="268" y="197"/>
                        <a:pt x="265" y="194"/>
                        <a:pt x="261" y="194"/>
                      </a:cubicBezTo>
                      <a:cubicBezTo>
                        <a:pt x="261" y="215"/>
                        <a:pt x="261" y="215"/>
                        <a:pt x="261" y="215"/>
                      </a:cubicBezTo>
                      <a:cubicBezTo>
                        <a:pt x="265" y="215"/>
                        <a:pt x="268" y="212"/>
                        <a:pt x="268" y="208"/>
                      </a:cubicBezTo>
                      <a:lnTo>
                        <a:pt x="268" y="201"/>
                      </a:lnTo>
                      <a:close/>
                      <a:moveTo>
                        <a:pt x="268" y="150"/>
                      </a:moveTo>
                      <a:cubicBezTo>
                        <a:pt x="268" y="146"/>
                        <a:pt x="265" y="143"/>
                        <a:pt x="261" y="143"/>
                      </a:cubicBezTo>
                      <a:cubicBezTo>
                        <a:pt x="261" y="164"/>
                        <a:pt x="261" y="164"/>
                        <a:pt x="261" y="164"/>
                      </a:cubicBezTo>
                      <a:cubicBezTo>
                        <a:pt x="265" y="164"/>
                        <a:pt x="268" y="161"/>
                        <a:pt x="268" y="158"/>
                      </a:cubicBezTo>
                      <a:lnTo>
                        <a:pt x="268" y="150"/>
                      </a:lnTo>
                      <a:close/>
                      <a:moveTo>
                        <a:pt x="277" y="260"/>
                      </a:moveTo>
                      <a:cubicBezTo>
                        <a:pt x="277" y="147"/>
                        <a:pt x="277" y="147"/>
                        <a:pt x="277" y="147"/>
                      </a:cubicBezTo>
                      <a:cubicBezTo>
                        <a:pt x="277" y="139"/>
                        <a:pt x="270" y="132"/>
                        <a:pt x="261" y="132"/>
                      </a:cubicBezTo>
                      <a:cubicBezTo>
                        <a:pt x="261" y="132"/>
                        <a:pt x="261" y="132"/>
                        <a:pt x="261" y="132"/>
                      </a:cubicBezTo>
                      <a:cubicBezTo>
                        <a:pt x="261" y="135"/>
                        <a:pt x="261" y="135"/>
                        <a:pt x="261" y="135"/>
                      </a:cubicBezTo>
                      <a:cubicBezTo>
                        <a:pt x="261" y="135"/>
                        <a:pt x="261" y="135"/>
                        <a:pt x="261" y="135"/>
                      </a:cubicBezTo>
                      <a:cubicBezTo>
                        <a:pt x="268" y="135"/>
                        <a:pt x="273" y="141"/>
                        <a:pt x="273" y="147"/>
                      </a:cubicBezTo>
                      <a:cubicBezTo>
                        <a:pt x="273" y="260"/>
                        <a:pt x="273" y="260"/>
                        <a:pt x="273" y="260"/>
                      </a:cubicBezTo>
                      <a:cubicBezTo>
                        <a:pt x="273" y="267"/>
                        <a:pt x="268" y="272"/>
                        <a:pt x="261" y="272"/>
                      </a:cubicBezTo>
                      <a:cubicBezTo>
                        <a:pt x="254" y="272"/>
                        <a:pt x="254" y="272"/>
                        <a:pt x="254" y="272"/>
                      </a:cubicBezTo>
                      <a:cubicBezTo>
                        <a:pt x="252" y="275"/>
                        <a:pt x="249" y="277"/>
                        <a:pt x="246" y="279"/>
                      </a:cubicBezTo>
                      <a:cubicBezTo>
                        <a:pt x="246" y="279"/>
                        <a:pt x="246" y="279"/>
                        <a:pt x="246" y="279"/>
                      </a:cubicBezTo>
                      <a:cubicBezTo>
                        <a:pt x="264" y="279"/>
                        <a:pt x="264" y="279"/>
                        <a:pt x="264" y="279"/>
                      </a:cubicBezTo>
                      <a:cubicBezTo>
                        <a:pt x="267" y="274"/>
                        <a:pt x="267" y="274"/>
                        <a:pt x="267" y="274"/>
                      </a:cubicBezTo>
                      <a:cubicBezTo>
                        <a:pt x="273" y="272"/>
                        <a:pt x="277" y="267"/>
                        <a:pt x="277" y="260"/>
                      </a:cubicBezTo>
                      <a:close/>
                      <a:moveTo>
                        <a:pt x="268" y="226"/>
                      </a:moveTo>
                      <a:cubicBezTo>
                        <a:pt x="268" y="222"/>
                        <a:pt x="265" y="219"/>
                        <a:pt x="261" y="219"/>
                      </a:cubicBezTo>
                      <a:cubicBezTo>
                        <a:pt x="261" y="240"/>
                        <a:pt x="261" y="240"/>
                        <a:pt x="261" y="240"/>
                      </a:cubicBezTo>
                      <a:cubicBezTo>
                        <a:pt x="265" y="240"/>
                        <a:pt x="268" y="237"/>
                        <a:pt x="268" y="234"/>
                      </a:cubicBezTo>
                      <a:lnTo>
                        <a:pt x="268" y="226"/>
                      </a:lnTo>
                      <a:close/>
                      <a:moveTo>
                        <a:pt x="261" y="245"/>
                      </a:moveTo>
                      <a:cubicBezTo>
                        <a:pt x="261" y="254"/>
                        <a:pt x="261" y="254"/>
                        <a:pt x="261" y="254"/>
                      </a:cubicBezTo>
                      <a:cubicBezTo>
                        <a:pt x="261" y="258"/>
                        <a:pt x="260" y="262"/>
                        <a:pt x="259" y="266"/>
                      </a:cubicBezTo>
                      <a:cubicBezTo>
                        <a:pt x="261" y="266"/>
                        <a:pt x="261" y="266"/>
                        <a:pt x="261" y="266"/>
                      </a:cubicBezTo>
                      <a:cubicBezTo>
                        <a:pt x="265" y="266"/>
                        <a:pt x="268" y="263"/>
                        <a:pt x="268" y="259"/>
                      </a:cubicBezTo>
                      <a:cubicBezTo>
                        <a:pt x="268" y="251"/>
                        <a:pt x="268" y="251"/>
                        <a:pt x="268" y="251"/>
                      </a:cubicBezTo>
                      <a:cubicBezTo>
                        <a:pt x="268" y="248"/>
                        <a:pt x="265" y="245"/>
                        <a:pt x="261" y="245"/>
                      </a:cubicBezTo>
                      <a:close/>
                      <a:moveTo>
                        <a:pt x="253" y="254"/>
                      </a:moveTo>
                      <a:cubicBezTo>
                        <a:pt x="253" y="103"/>
                        <a:pt x="253" y="103"/>
                        <a:pt x="253" y="103"/>
                      </a:cubicBezTo>
                      <a:cubicBezTo>
                        <a:pt x="253" y="92"/>
                        <a:pt x="244" y="83"/>
                        <a:pt x="233" y="83"/>
                      </a:cubicBezTo>
                      <a:cubicBezTo>
                        <a:pt x="223" y="83"/>
                        <a:pt x="223" y="83"/>
                        <a:pt x="223" y="83"/>
                      </a:cubicBezTo>
                      <a:cubicBezTo>
                        <a:pt x="223" y="87"/>
                        <a:pt x="223" y="87"/>
                        <a:pt x="223" y="87"/>
                      </a:cubicBezTo>
                      <a:cubicBezTo>
                        <a:pt x="233" y="87"/>
                        <a:pt x="233" y="87"/>
                        <a:pt x="233" y="87"/>
                      </a:cubicBezTo>
                      <a:cubicBezTo>
                        <a:pt x="242" y="87"/>
                        <a:pt x="249" y="94"/>
                        <a:pt x="249" y="103"/>
                      </a:cubicBezTo>
                      <a:cubicBezTo>
                        <a:pt x="249" y="254"/>
                        <a:pt x="249" y="254"/>
                        <a:pt x="249" y="254"/>
                      </a:cubicBezTo>
                      <a:cubicBezTo>
                        <a:pt x="249" y="262"/>
                        <a:pt x="242" y="269"/>
                        <a:pt x="233" y="269"/>
                      </a:cubicBezTo>
                      <a:cubicBezTo>
                        <a:pt x="213" y="269"/>
                        <a:pt x="213" y="269"/>
                        <a:pt x="213" y="269"/>
                      </a:cubicBezTo>
                      <a:cubicBezTo>
                        <a:pt x="211" y="271"/>
                        <a:pt x="209" y="273"/>
                        <a:pt x="207" y="275"/>
                      </a:cubicBezTo>
                      <a:cubicBezTo>
                        <a:pt x="209" y="279"/>
                        <a:pt x="209" y="279"/>
                        <a:pt x="209" y="279"/>
                      </a:cubicBezTo>
                      <a:cubicBezTo>
                        <a:pt x="237" y="279"/>
                        <a:pt x="237" y="279"/>
                        <a:pt x="237" y="279"/>
                      </a:cubicBezTo>
                      <a:cubicBezTo>
                        <a:pt x="240" y="273"/>
                        <a:pt x="240" y="273"/>
                        <a:pt x="240" y="273"/>
                      </a:cubicBezTo>
                      <a:cubicBezTo>
                        <a:pt x="248" y="270"/>
                        <a:pt x="253" y="262"/>
                        <a:pt x="253" y="254"/>
                      </a:cubicBezTo>
                      <a:close/>
                      <a:moveTo>
                        <a:pt x="215" y="245"/>
                      </a:moveTo>
                      <a:cubicBezTo>
                        <a:pt x="215" y="44"/>
                        <a:pt x="215" y="44"/>
                        <a:pt x="215" y="44"/>
                      </a:cubicBezTo>
                      <a:cubicBezTo>
                        <a:pt x="215" y="29"/>
                        <a:pt x="203" y="17"/>
                        <a:pt x="188" y="17"/>
                      </a:cubicBezTo>
                      <a:cubicBezTo>
                        <a:pt x="43" y="17"/>
                        <a:pt x="43" y="17"/>
                        <a:pt x="43" y="17"/>
                      </a:cubicBezTo>
                      <a:cubicBezTo>
                        <a:pt x="28" y="17"/>
                        <a:pt x="16" y="29"/>
                        <a:pt x="16" y="44"/>
                      </a:cubicBezTo>
                      <a:cubicBezTo>
                        <a:pt x="16" y="245"/>
                        <a:pt x="16" y="245"/>
                        <a:pt x="16" y="245"/>
                      </a:cubicBezTo>
                      <a:cubicBezTo>
                        <a:pt x="16" y="257"/>
                        <a:pt x="24" y="266"/>
                        <a:pt x="34" y="270"/>
                      </a:cubicBezTo>
                      <a:cubicBezTo>
                        <a:pt x="38" y="279"/>
                        <a:pt x="38" y="279"/>
                        <a:pt x="38" y="279"/>
                      </a:cubicBezTo>
                      <a:cubicBezTo>
                        <a:pt x="75" y="279"/>
                        <a:pt x="75" y="279"/>
                        <a:pt x="75" y="279"/>
                      </a:cubicBezTo>
                      <a:cubicBezTo>
                        <a:pt x="79" y="272"/>
                        <a:pt x="79" y="272"/>
                        <a:pt x="79" y="272"/>
                      </a:cubicBezTo>
                      <a:cubicBezTo>
                        <a:pt x="153" y="272"/>
                        <a:pt x="153" y="272"/>
                        <a:pt x="153" y="272"/>
                      </a:cubicBezTo>
                      <a:cubicBezTo>
                        <a:pt x="156" y="279"/>
                        <a:pt x="156" y="279"/>
                        <a:pt x="156" y="279"/>
                      </a:cubicBezTo>
                      <a:cubicBezTo>
                        <a:pt x="193" y="279"/>
                        <a:pt x="193" y="279"/>
                        <a:pt x="193" y="279"/>
                      </a:cubicBezTo>
                      <a:cubicBezTo>
                        <a:pt x="198" y="270"/>
                        <a:pt x="198" y="270"/>
                        <a:pt x="198" y="270"/>
                      </a:cubicBezTo>
                      <a:cubicBezTo>
                        <a:pt x="208" y="266"/>
                        <a:pt x="215" y="257"/>
                        <a:pt x="215" y="245"/>
                      </a:cubicBezTo>
                      <a:close/>
                      <a:moveTo>
                        <a:pt x="188" y="266"/>
                      </a:moveTo>
                      <a:cubicBezTo>
                        <a:pt x="43" y="266"/>
                        <a:pt x="43" y="266"/>
                        <a:pt x="43" y="266"/>
                      </a:cubicBezTo>
                      <a:cubicBezTo>
                        <a:pt x="32" y="266"/>
                        <a:pt x="22" y="257"/>
                        <a:pt x="22" y="245"/>
                      </a:cubicBezTo>
                      <a:cubicBezTo>
                        <a:pt x="22" y="44"/>
                        <a:pt x="22" y="44"/>
                        <a:pt x="22" y="44"/>
                      </a:cubicBezTo>
                      <a:cubicBezTo>
                        <a:pt x="22" y="32"/>
                        <a:pt x="32" y="23"/>
                        <a:pt x="43" y="23"/>
                      </a:cubicBezTo>
                      <a:cubicBezTo>
                        <a:pt x="188" y="23"/>
                        <a:pt x="188" y="23"/>
                        <a:pt x="188" y="23"/>
                      </a:cubicBezTo>
                      <a:cubicBezTo>
                        <a:pt x="200" y="23"/>
                        <a:pt x="209" y="32"/>
                        <a:pt x="209" y="44"/>
                      </a:cubicBezTo>
                      <a:cubicBezTo>
                        <a:pt x="209" y="245"/>
                        <a:pt x="209" y="245"/>
                        <a:pt x="209" y="245"/>
                      </a:cubicBezTo>
                      <a:cubicBezTo>
                        <a:pt x="209" y="257"/>
                        <a:pt x="200" y="266"/>
                        <a:pt x="188" y="266"/>
                      </a:cubicBezTo>
                      <a:close/>
                      <a:moveTo>
                        <a:pt x="241" y="117"/>
                      </a:moveTo>
                      <a:cubicBezTo>
                        <a:pt x="241" y="107"/>
                        <a:pt x="241" y="107"/>
                        <a:pt x="241" y="107"/>
                      </a:cubicBezTo>
                      <a:cubicBezTo>
                        <a:pt x="241" y="102"/>
                        <a:pt x="237" y="98"/>
                        <a:pt x="232" y="98"/>
                      </a:cubicBezTo>
                      <a:cubicBezTo>
                        <a:pt x="223" y="98"/>
                        <a:pt x="223" y="98"/>
                        <a:pt x="223" y="98"/>
                      </a:cubicBezTo>
                      <a:cubicBezTo>
                        <a:pt x="223" y="109"/>
                        <a:pt x="223" y="109"/>
                        <a:pt x="223" y="109"/>
                      </a:cubicBezTo>
                      <a:cubicBezTo>
                        <a:pt x="226" y="109"/>
                        <a:pt x="226" y="109"/>
                        <a:pt x="226" y="109"/>
                      </a:cubicBezTo>
                      <a:cubicBezTo>
                        <a:pt x="228" y="109"/>
                        <a:pt x="229" y="110"/>
                        <a:pt x="229" y="112"/>
                      </a:cubicBezTo>
                      <a:cubicBezTo>
                        <a:pt x="229" y="114"/>
                        <a:pt x="228" y="115"/>
                        <a:pt x="226" y="115"/>
                      </a:cubicBezTo>
                      <a:cubicBezTo>
                        <a:pt x="223" y="115"/>
                        <a:pt x="223" y="115"/>
                        <a:pt x="223" y="115"/>
                      </a:cubicBezTo>
                      <a:cubicBezTo>
                        <a:pt x="223" y="126"/>
                        <a:pt x="223" y="126"/>
                        <a:pt x="223" y="126"/>
                      </a:cubicBezTo>
                      <a:cubicBezTo>
                        <a:pt x="232" y="126"/>
                        <a:pt x="232" y="126"/>
                        <a:pt x="232" y="126"/>
                      </a:cubicBezTo>
                      <a:cubicBezTo>
                        <a:pt x="237" y="126"/>
                        <a:pt x="241" y="122"/>
                        <a:pt x="241" y="117"/>
                      </a:cubicBezTo>
                      <a:close/>
                      <a:moveTo>
                        <a:pt x="4" y="88"/>
                      </a:moveTo>
                      <a:cubicBezTo>
                        <a:pt x="0" y="88"/>
                        <a:pt x="0" y="88"/>
                        <a:pt x="0" y="88"/>
                      </a:cubicBezTo>
                      <a:cubicBezTo>
                        <a:pt x="0" y="96"/>
                        <a:pt x="0" y="96"/>
                        <a:pt x="0" y="96"/>
                      </a:cubicBezTo>
                      <a:cubicBezTo>
                        <a:pt x="4" y="96"/>
                        <a:pt x="4" y="96"/>
                        <a:pt x="4" y="96"/>
                      </a:cubicBezTo>
                      <a:lnTo>
                        <a:pt x="4" y="88"/>
                      </a:lnTo>
                      <a:close/>
                      <a:moveTo>
                        <a:pt x="125" y="0"/>
                      </a:moveTo>
                      <a:cubicBezTo>
                        <a:pt x="117" y="0"/>
                        <a:pt x="117" y="0"/>
                        <a:pt x="117" y="0"/>
                      </a:cubicBezTo>
                      <a:cubicBezTo>
                        <a:pt x="117" y="4"/>
                        <a:pt x="117" y="4"/>
                        <a:pt x="117" y="4"/>
                      </a:cubicBezTo>
                      <a:cubicBezTo>
                        <a:pt x="125" y="4"/>
                        <a:pt x="125" y="4"/>
                        <a:pt x="125" y="4"/>
                      </a:cubicBezTo>
                      <a:lnTo>
                        <a:pt x="125" y="0"/>
                      </a:lnTo>
                      <a:close/>
                      <a:moveTo>
                        <a:pt x="61" y="0"/>
                      </a:moveTo>
                      <a:cubicBezTo>
                        <a:pt x="53" y="0"/>
                        <a:pt x="53" y="0"/>
                        <a:pt x="53" y="0"/>
                      </a:cubicBezTo>
                      <a:cubicBezTo>
                        <a:pt x="53" y="4"/>
                        <a:pt x="53" y="4"/>
                        <a:pt x="53" y="4"/>
                      </a:cubicBezTo>
                      <a:cubicBezTo>
                        <a:pt x="61" y="4"/>
                        <a:pt x="61" y="4"/>
                        <a:pt x="61" y="4"/>
                      </a:cubicBezTo>
                      <a:lnTo>
                        <a:pt x="61" y="0"/>
                      </a:lnTo>
                      <a:close/>
                      <a:moveTo>
                        <a:pt x="42" y="4"/>
                      </a:moveTo>
                      <a:cubicBezTo>
                        <a:pt x="45" y="4"/>
                        <a:pt x="45" y="4"/>
                        <a:pt x="45" y="4"/>
                      </a:cubicBezTo>
                      <a:cubicBezTo>
                        <a:pt x="45" y="0"/>
                        <a:pt x="45" y="0"/>
                        <a:pt x="45" y="0"/>
                      </a:cubicBezTo>
                      <a:cubicBezTo>
                        <a:pt x="42" y="0"/>
                        <a:pt x="42" y="0"/>
                        <a:pt x="42" y="0"/>
                      </a:cubicBezTo>
                      <a:cubicBezTo>
                        <a:pt x="40" y="0"/>
                        <a:pt x="39" y="0"/>
                        <a:pt x="37" y="1"/>
                      </a:cubicBezTo>
                      <a:cubicBezTo>
                        <a:pt x="37" y="5"/>
                        <a:pt x="37" y="5"/>
                        <a:pt x="37" y="5"/>
                      </a:cubicBezTo>
                      <a:cubicBezTo>
                        <a:pt x="39" y="4"/>
                        <a:pt x="40" y="4"/>
                        <a:pt x="42" y="4"/>
                      </a:cubicBezTo>
                      <a:close/>
                      <a:moveTo>
                        <a:pt x="8" y="25"/>
                      </a:moveTo>
                      <a:cubicBezTo>
                        <a:pt x="4" y="24"/>
                        <a:pt x="4" y="24"/>
                        <a:pt x="4" y="24"/>
                      </a:cubicBezTo>
                      <a:cubicBezTo>
                        <a:pt x="3" y="26"/>
                        <a:pt x="2" y="29"/>
                        <a:pt x="1" y="32"/>
                      </a:cubicBezTo>
                      <a:cubicBezTo>
                        <a:pt x="5" y="33"/>
                        <a:pt x="5" y="33"/>
                        <a:pt x="5" y="33"/>
                      </a:cubicBezTo>
                      <a:cubicBezTo>
                        <a:pt x="6" y="30"/>
                        <a:pt x="7" y="28"/>
                        <a:pt x="8" y="25"/>
                      </a:cubicBezTo>
                      <a:close/>
                      <a:moveTo>
                        <a:pt x="93" y="0"/>
                      </a:moveTo>
                      <a:cubicBezTo>
                        <a:pt x="85" y="0"/>
                        <a:pt x="85" y="0"/>
                        <a:pt x="85" y="0"/>
                      </a:cubicBezTo>
                      <a:cubicBezTo>
                        <a:pt x="85" y="4"/>
                        <a:pt x="85" y="4"/>
                        <a:pt x="85" y="4"/>
                      </a:cubicBezTo>
                      <a:cubicBezTo>
                        <a:pt x="93" y="4"/>
                        <a:pt x="93" y="4"/>
                        <a:pt x="93" y="4"/>
                      </a:cubicBezTo>
                      <a:lnTo>
                        <a:pt x="93" y="0"/>
                      </a:lnTo>
                      <a:close/>
                      <a:moveTo>
                        <a:pt x="77" y="0"/>
                      </a:moveTo>
                      <a:cubicBezTo>
                        <a:pt x="69" y="0"/>
                        <a:pt x="69" y="0"/>
                        <a:pt x="69" y="0"/>
                      </a:cubicBezTo>
                      <a:cubicBezTo>
                        <a:pt x="69" y="4"/>
                        <a:pt x="69" y="4"/>
                        <a:pt x="69" y="4"/>
                      </a:cubicBezTo>
                      <a:cubicBezTo>
                        <a:pt x="77" y="4"/>
                        <a:pt x="77" y="4"/>
                        <a:pt x="77" y="4"/>
                      </a:cubicBezTo>
                      <a:lnTo>
                        <a:pt x="77" y="0"/>
                      </a:lnTo>
                      <a:close/>
                      <a:moveTo>
                        <a:pt x="141" y="0"/>
                      </a:moveTo>
                      <a:cubicBezTo>
                        <a:pt x="133" y="0"/>
                        <a:pt x="133" y="0"/>
                        <a:pt x="133" y="0"/>
                      </a:cubicBezTo>
                      <a:cubicBezTo>
                        <a:pt x="133" y="4"/>
                        <a:pt x="133" y="4"/>
                        <a:pt x="133" y="4"/>
                      </a:cubicBezTo>
                      <a:cubicBezTo>
                        <a:pt x="141" y="4"/>
                        <a:pt x="141" y="4"/>
                        <a:pt x="141" y="4"/>
                      </a:cubicBezTo>
                      <a:lnTo>
                        <a:pt x="141" y="0"/>
                      </a:lnTo>
                      <a:close/>
                      <a:moveTo>
                        <a:pt x="4" y="56"/>
                      </a:moveTo>
                      <a:cubicBezTo>
                        <a:pt x="0" y="56"/>
                        <a:pt x="0" y="56"/>
                        <a:pt x="0" y="56"/>
                      </a:cubicBezTo>
                      <a:cubicBezTo>
                        <a:pt x="0" y="64"/>
                        <a:pt x="0" y="64"/>
                        <a:pt x="0" y="64"/>
                      </a:cubicBezTo>
                      <a:cubicBezTo>
                        <a:pt x="4" y="64"/>
                        <a:pt x="4" y="64"/>
                        <a:pt x="4" y="64"/>
                      </a:cubicBezTo>
                      <a:lnTo>
                        <a:pt x="4" y="56"/>
                      </a:lnTo>
                      <a:close/>
                      <a:moveTo>
                        <a:pt x="4" y="42"/>
                      </a:moveTo>
                      <a:cubicBezTo>
                        <a:pt x="4" y="42"/>
                        <a:pt x="4" y="41"/>
                        <a:pt x="4" y="40"/>
                      </a:cubicBezTo>
                      <a:cubicBezTo>
                        <a:pt x="0" y="40"/>
                        <a:pt x="0" y="40"/>
                        <a:pt x="0" y="40"/>
                      </a:cubicBezTo>
                      <a:cubicBezTo>
                        <a:pt x="0" y="41"/>
                        <a:pt x="0" y="41"/>
                        <a:pt x="0" y="42"/>
                      </a:cubicBezTo>
                      <a:cubicBezTo>
                        <a:pt x="0" y="48"/>
                        <a:pt x="0" y="48"/>
                        <a:pt x="0" y="48"/>
                      </a:cubicBezTo>
                      <a:cubicBezTo>
                        <a:pt x="4" y="48"/>
                        <a:pt x="4" y="48"/>
                        <a:pt x="4" y="48"/>
                      </a:cubicBezTo>
                      <a:lnTo>
                        <a:pt x="4" y="42"/>
                      </a:lnTo>
                      <a:close/>
                      <a:moveTo>
                        <a:pt x="17" y="14"/>
                      </a:moveTo>
                      <a:cubicBezTo>
                        <a:pt x="14" y="11"/>
                        <a:pt x="14" y="11"/>
                        <a:pt x="14" y="11"/>
                      </a:cubicBezTo>
                      <a:cubicBezTo>
                        <a:pt x="12" y="12"/>
                        <a:pt x="10" y="14"/>
                        <a:pt x="9" y="17"/>
                      </a:cubicBezTo>
                      <a:cubicBezTo>
                        <a:pt x="12" y="19"/>
                        <a:pt x="12" y="19"/>
                        <a:pt x="12" y="19"/>
                      </a:cubicBezTo>
                      <a:cubicBezTo>
                        <a:pt x="13" y="17"/>
                        <a:pt x="15" y="15"/>
                        <a:pt x="17" y="14"/>
                      </a:cubicBezTo>
                      <a:close/>
                      <a:moveTo>
                        <a:pt x="4" y="72"/>
                      </a:moveTo>
                      <a:cubicBezTo>
                        <a:pt x="0" y="72"/>
                        <a:pt x="0" y="72"/>
                        <a:pt x="0" y="72"/>
                      </a:cubicBezTo>
                      <a:cubicBezTo>
                        <a:pt x="0" y="80"/>
                        <a:pt x="0" y="80"/>
                        <a:pt x="0" y="80"/>
                      </a:cubicBezTo>
                      <a:cubicBezTo>
                        <a:pt x="4" y="80"/>
                        <a:pt x="4" y="80"/>
                        <a:pt x="4" y="80"/>
                      </a:cubicBezTo>
                      <a:lnTo>
                        <a:pt x="4" y="72"/>
                      </a:lnTo>
                      <a:close/>
                      <a:moveTo>
                        <a:pt x="30" y="6"/>
                      </a:moveTo>
                      <a:cubicBezTo>
                        <a:pt x="29" y="2"/>
                        <a:pt x="29" y="2"/>
                        <a:pt x="29" y="2"/>
                      </a:cubicBezTo>
                      <a:cubicBezTo>
                        <a:pt x="26" y="3"/>
                        <a:pt x="24" y="4"/>
                        <a:pt x="21" y="6"/>
                      </a:cubicBezTo>
                      <a:cubicBezTo>
                        <a:pt x="23" y="9"/>
                        <a:pt x="23" y="9"/>
                        <a:pt x="23" y="9"/>
                      </a:cubicBezTo>
                      <a:cubicBezTo>
                        <a:pt x="25" y="8"/>
                        <a:pt x="28" y="7"/>
                        <a:pt x="30" y="6"/>
                      </a:cubicBezTo>
                      <a:close/>
                      <a:moveTo>
                        <a:pt x="109" y="0"/>
                      </a:moveTo>
                      <a:cubicBezTo>
                        <a:pt x="101" y="0"/>
                        <a:pt x="101" y="0"/>
                        <a:pt x="101" y="0"/>
                      </a:cubicBezTo>
                      <a:cubicBezTo>
                        <a:pt x="101" y="4"/>
                        <a:pt x="101" y="4"/>
                        <a:pt x="101" y="4"/>
                      </a:cubicBezTo>
                      <a:cubicBezTo>
                        <a:pt x="109" y="4"/>
                        <a:pt x="109" y="4"/>
                        <a:pt x="109" y="4"/>
                      </a:cubicBezTo>
                      <a:lnTo>
                        <a:pt x="109" y="0"/>
                      </a:lnTo>
                      <a:close/>
                      <a:moveTo>
                        <a:pt x="251" y="47"/>
                      </a:moveTo>
                      <a:cubicBezTo>
                        <a:pt x="247" y="40"/>
                        <a:pt x="247" y="40"/>
                        <a:pt x="247" y="40"/>
                      </a:cubicBezTo>
                      <a:cubicBezTo>
                        <a:pt x="244" y="42"/>
                        <a:pt x="244" y="42"/>
                        <a:pt x="244" y="42"/>
                      </a:cubicBezTo>
                      <a:cubicBezTo>
                        <a:pt x="247" y="49"/>
                        <a:pt x="247" y="49"/>
                        <a:pt x="247" y="49"/>
                      </a:cubicBezTo>
                      <a:lnTo>
                        <a:pt x="251" y="47"/>
                      </a:lnTo>
                      <a:close/>
                      <a:moveTo>
                        <a:pt x="259" y="61"/>
                      </a:moveTo>
                      <a:cubicBezTo>
                        <a:pt x="255" y="54"/>
                        <a:pt x="255" y="54"/>
                        <a:pt x="255" y="54"/>
                      </a:cubicBezTo>
                      <a:cubicBezTo>
                        <a:pt x="251" y="56"/>
                        <a:pt x="251" y="56"/>
                        <a:pt x="251" y="56"/>
                      </a:cubicBezTo>
                      <a:cubicBezTo>
                        <a:pt x="255" y="63"/>
                        <a:pt x="255" y="63"/>
                        <a:pt x="255" y="63"/>
                      </a:cubicBezTo>
                      <a:lnTo>
                        <a:pt x="259" y="61"/>
                      </a:lnTo>
                      <a:close/>
                      <a:moveTo>
                        <a:pt x="266" y="75"/>
                      </a:moveTo>
                      <a:cubicBezTo>
                        <a:pt x="262" y="68"/>
                        <a:pt x="262" y="68"/>
                        <a:pt x="262" y="68"/>
                      </a:cubicBezTo>
                      <a:cubicBezTo>
                        <a:pt x="259" y="70"/>
                        <a:pt x="259" y="70"/>
                        <a:pt x="259" y="70"/>
                      </a:cubicBezTo>
                      <a:cubicBezTo>
                        <a:pt x="263" y="77"/>
                        <a:pt x="263" y="77"/>
                        <a:pt x="263" y="77"/>
                      </a:cubicBezTo>
                      <a:lnTo>
                        <a:pt x="266" y="75"/>
                      </a:lnTo>
                      <a:close/>
                      <a:moveTo>
                        <a:pt x="274" y="89"/>
                      </a:moveTo>
                      <a:cubicBezTo>
                        <a:pt x="270" y="82"/>
                        <a:pt x="270" y="82"/>
                        <a:pt x="270" y="82"/>
                      </a:cubicBezTo>
                      <a:cubicBezTo>
                        <a:pt x="266" y="84"/>
                        <a:pt x="266" y="84"/>
                        <a:pt x="266" y="84"/>
                      </a:cubicBezTo>
                      <a:cubicBezTo>
                        <a:pt x="270" y="91"/>
                        <a:pt x="270" y="91"/>
                        <a:pt x="270" y="91"/>
                      </a:cubicBezTo>
                      <a:lnTo>
                        <a:pt x="274" y="89"/>
                      </a:lnTo>
                      <a:close/>
                      <a:moveTo>
                        <a:pt x="232" y="20"/>
                      </a:moveTo>
                      <a:cubicBezTo>
                        <a:pt x="231" y="19"/>
                        <a:pt x="228" y="17"/>
                        <a:pt x="226" y="15"/>
                      </a:cubicBezTo>
                      <a:cubicBezTo>
                        <a:pt x="224" y="19"/>
                        <a:pt x="224" y="19"/>
                        <a:pt x="224" y="19"/>
                      </a:cubicBezTo>
                      <a:cubicBezTo>
                        <a:pt x="226" y="20"/>
                        <a:pt x="228" y="22"/>
                        <a:pt x="230" y="23"/>
                      </a:cubicBezTo>
                      <a:lnTo>
                        <a:pt x="232" y="20"/>
                      </a:lnTo>
                      <a:close/>
                      <a:moveTo>
                        <a:pt x="243" y="33"/>
                      </a:moveTo>
                      <a:cubicBezTo>
                        <a:pt x="242" y="31"/>
                        <a:pt x="240" y="28"/>
                        <a:pt x="238" y="26"/>
                      </a:cubicBezTo>
                      <a:cubicBezTo>
                        <a:pt x="235" y="29"/>
                        <a:pt x="235" y="29"/>
                        <a:pt x="235" y="29"/>
                      </a:cubicBezTo>
                      <a:cubicBezTo>
                        <a:pt x="237" y="31"/>
                        <a:pt x="239" y="33"/>
                        <a:pt x="240" y="35"/>
                      </a:cubicBezTo>
                      <a:lnTo>
                        <a:pt x="243" y="33"/>
                      </a:lnTo>
                      <a:close/>
                      <a:moveTo>
                        <a:pt x="277" y="105"/>
                      </a:moveTo>
                      <a:cubicBezTo>
                        <a:pt x="280" y="104"/>
                        <a:pt x="280" y="104"/>
                        <a:pt x="280" y="104"/>
                      </a:cubicBezTo>
                      <a:cubicBezTo>
                        <a:pt x="279" y="101"/>
                        <a:pt x="278" y="99"/>
                        <a:pt x="277" y="96"/>
                      </a:cubicBezTo>
                      <a:cubicBezTo>
                        <a:pt x="274" y="98"/>
                        <a:pt x="274" y="98"/>
                        <a:pt x="274" y="98"/>
                      </a:cubicBezTo>
                      <a:cubicBezTo>
                        <a:pt x="275" y="100"/>
                        <a:pt x="276" y="103"/>
                        <a:pt x="277" y="105"/>
                      </a:cubicBezTo>
                      <a:close/>
                      <a:moveTo>
                        <a:pt x="205" y="4"/>
                      </a:moveTo>
                      <a:cubicBezTo>
                        <a:pt x="202" y="3"/>
                        <a:pt x="199" y="2"/>
                        <a:pt x="197" y="2"/>
                      </a:cubicBezTo>
                      <a:cubicBezTo>
                        <a:pt x="196" y="6"/>
                        <a:pt x="196" y="6"/>
                        <a:pt x="196" y="6"/>
                      </a:cubicBezTo>
                      <a:cubicBezTo>
                        <a:pt x="198" y="6"/>
                        <a:pt x="201" y="7"/>
                        <a:pt x="203" y="8"/>
                      </a:cubicBezTo>
                      <a:lnTo>
                        <a:pt x="205" y="4"/>
                      </a:lnTo>
                      <a:close/>
                      <a:moveTo>
                        <a:pt x="157" y="0"/>
                      </a:moveTo>
                      <a:cubicBezTo>
                        <a:pt x="149" y="0"/>
                        <a:pt x="149" y="0"/>
                        <a:pt x="149" y="0"/>
                      </a:cubicBezTo>
                      <a:cubicBezTo>
                        <a:pt x="149" y="4"/>
                        <a:pt x="149" y="4"/>
                        <a:pt x="149" y="4"/>
                      </a:cubicBezTo>
                      <a:cubicBezTo>
                        <a:pt x="157" y="4"/>
                        <a:pt x="157" y="4"/>
                        <a:pt x="157" y="4"/>
                      </a:cubicBezTo>
                      <a:lnTo>
                        <a:pt x="157" y="0"/>
                      </a:lnTo>
                      <a:close/>
                      <a:moveTo>
                        <a:pt x="172" y="0"/>
                      </a:moveTo>
                      <a:cubicBezTo>
                        <a:pt x="165" y="0"/>
                        <a:pt x="165" y="0"/>
                        <a:pt x="165" y="0"/>
                      </a:cubicBezTo>
                      <a:cubicBezTo>
                        <a:pt x="165" y="4"/>
                        <a:pt x="165" y="4"/>
                        <a:pt x="165" y="4"/>
                      </a:cubicBezTo>
                      <a:cubicBezTo>
                        <a:pt x="172" y="4"/>
                        <a:pt x="172" y="4"/>
                        <a:pt x="172" y="4"/>
                      </a:cubicBezTo>
                      <a:lnTo>
                        <a:pt x="172" y="0"/>
                      </a:lnTo>
                      <a:close/>
                      <a:moveTo>
                        <a:pt x="188" y="4"/>
                      </a:moveTo>
                      <a:cubicBezTo>
                        <a:pt x="189" y="0"/>
                        <a:pt x="189" y="0"/>
                        <a:pt x="189" y="0"/>
                      </a:cubicBezTo>
                      <a:cubicBezTo>
                        <a:pt x="187" y="0"/>
                        <a:pt x="186" y="0"/>
                        <a:pt x="185" y="0"/>
                      </a:cubicBezTo>
                      <a:cubicBezTo>
                        <a:pt x="180" y="0"/>
                        <a:pt x="180" y="0"/>
                        <a:pt x="180" y="0"/>
                      </a:cubicBezTo>
                      <a:cubicBezTo>
                        <a:pt x="180" y="4"/>
                        <a:pt x="180" y="4"/>
                        <a:pt x="180" y="4"/>
                      </a:cubicBezTo>
                      <a:cubicBezTo>
                        <a:pt x="185" y="4"/>
                        <a:pt x="185" y="4"/>
                        <a:pt x="185" y="4"/>
                      </a:cubicBezTo>
                      <a:cubicBezTo>
                        <a:pt x="186" y="4"/>
                        <a:pt x="187" y="4"/>
                        <a:pt x="188" y="4"/>
                      </a:cubicBezTo>
                      <a:close/>
                      <a:moveTo>
                        <a:pt x="219" y="11"/>
                      </a:moveTo>
                      <a:cubicBezTo>
                        <a:pt x="217" y="9"/>
                        <a:pt x="215" y="8"/>
                        <a:pt x="212" y="7"/>
                      </a:cubicBezTo>
                      <a:cubicBezTo>
                        <a:pt x="210" y="11"/>
                        <a:pt x="210" y="11"/>
                        <a:pt x="210" y="11"/>
                      </a:cubicBezTo>
                      <a:cubicBezTo>
                        <a:pt x="213" y="12"/>
                        <a:pt x="215" y="13"/>
                        <a:pt x="217" y="14"/>
                      </a:cubicBezTo>
                      <a:lnTo>
                        <a:pt x="219" y="11"/>
                      </a:lnTo>
                      <a:close/>
                      <a:moveTo>
                        <a:pt x="285" y="135"/>
                      </a:moveTo>
                      <a:cubicBezTo>
                        <a:pt x="289" y="135"/>
                        <a:pt x="289" y="135"/>
                        <a:pt x="289" y="135"/>
                      </a:cubicBezTo>
                      <a:cubicBezTo>
                        <a:pt x="289" y="132"/>
                        <a:pt x="288" y="129"/>
                        <a:pt x="288" y="127"/>
                      </a:cubicBezTo>
                      <a:cubicBezTo>
                        <a:pt x="284" y="128"/>
                        <a:pt x="284" y="128"/>
                        <a:pt x="284" y="128"/>
                      </a:cubicBezTo>
                      <a:cubicBezTo>
                        <a:pt x="284" y="130"/>
                        <a:pt x="285" y="133"/>
                        <a:pt x="285" y="135"/>
                      </a:cubicBezTo>
                      <a:close/>
                      <a:moveTo>
                        <a:pt x="288" y="151"/>
                      </a:moveTo>
                      <a:cubicBezTo>
                        <a:pt x="292" y="150"/>
                        <a:pt x="292" y="150"/>
                        <a:pt x="292" y="150"/>
                      </a:cubicBezTo>
                      <a:cubicBezTo>
                        <a:pt x="292" y="148"/>
                        <a:pt x="291" y="145"/>
                        <a:pt x="291" y="142"/>
                      </a:cubicBezTo>
                      <a:cubicBezTo>
                        <a:pt x="287" y="143"/>
                        <a:pt x="287" y="143"/>
                        <a:pt x="287" y="143"/>
                      </a:cubicBezTo>
                      <a:cubicBezTo>
                        <a:pt x="287" y="146"/>
                        <a:pt x="288" y="148"/>
                        <a:pt x="288" y="151"/>
                      </a:cubicBezTo>
                      <a:close/>
                      <a:moveTo>
                        <a:pt x="242" y="296"/>
                      </a:moveTo>
                      <a:cubicBezTo>
                        <a:pt x="250" y="296"/>
                        <a:pt x="250" y="296"/>
                        <a:pt x="250" y="296"/>
                      </a:cubicBezTo>
                      <a:cubicBezTo>
                        <a:pt x="250" y="292"/>
                        <a:pt x="250" y="292"/>
                        <a:pt x="250" y="292"/>
                      </a:cubicBezTo>
                      <a:cubicBezTo>
                        <a:pt x="242" y="292"/>
                        <a:pt x="242" y="292"/>
                        <a:pt x="242" y="292"/>
                      </a:cubicBezTo>
                      <a:lnTo>
                        <a:pt x="242" y="296"/>
                      </a:lnTo>
                      <a:close/>
                      <a:moveTo>
                        <a:pt x="226" y="296"/>
                      </a:moveTo>
                      <a:cubicBezTo>
                        <a:pt x="234" y="296"/>
                        <a:pt x="234" y="296"/>
                        <a:pt x="234" y="296"/>
                      </a:cubicBezTo>
                      <a:cubicBezTo>
                        <a:pt x="234" y="292"/>
                        <a:pt x="234" y="292"/>
                        <a:pt x="234" y="292"/>
                      </a:cubicBezTo>
                      <a:cubicBezTo>
                        <a:pt x="226" y="292"/>
                        <a:pt x="226" y="292"/>
                        <a:pt x="226" y="292"/>
                      </a:cubicBezTo>
                      <a:lnTo>
                        <a:pt x="226" y="296"/>
                      </a:lnTo>
                      <a:close/>
                      <a:moveTo>
                        <a:pt x="258" y="292"/>
                      </a:moveTo>
                      <a:cubicBezTo>
                        <a:pt x="259" y="296"/>
                        <a:pt x="259" y="296"/>
                        <a:pt x="259" y="296"/>
                      </a:cubicBezTo>
                      <a:cubicBezTo>
                        <a:pt x="261" y="295"/>
                        <a:pt x="264" y="294"/>
                        <a:pt x="267" y="293"/>
                      </a:cubicBezTo>
                      <a:cubicBezTo>
                        <a:pt x="265" y="290"/>
                        <a:pt x="265" y="290"/>
                        <a:pt x="265" y="290"/>
                      </a:cubicBezTo>
                      <a:cubicBezTo>
                        <a:pt x="263" y="291"/>
                        <a:pt x="260" y="291"/>
                        <a:pt x="258" y="292"/>
                      </a:cubicBezTo>
                      <a:close/>
                      <a:moveTo>
                        <a:pt x="210" y="296"/>
                      </a:moveTo>
                      <a:cubicBezTo>
                        <a:pt x="218" y="296"/>
                        <a:pt x="218" y="296"/>
                        <a:pt x="218" y="296"/>
                      </a:cubicBezTo>
                      <a:cubicBezTo>
                        <a:pt x="218" y="292"/>
                        <a:pt x="218" y="292"/>
                        <a:pt x="218" y="292"/>
                      </a:cubicBezTo>
                      <a:cubicBezTo>
                        <a:pt x="210" y="292"/>
                        <a:pt x="210" y="292"/>
                        <a:pt x="210" y="292"/>
                      </a:cubicBezTo>
                      <a:lnTo>
                        <a:pt x="210" y="296"/>
                      </a:lnTo>
                      <a:close/>
                      <a:moveTo>
                        <a:pt x="179" y="296"/>
                      </a:moveTo>
                      <a:cubicBezTo>
                        <a:pt x="187" y="296"/>
                        <a:pt x="187" y="296"/>
                        <a:pt x="187" y="296"/>
                      </a:cubicBezTo>
                      <a:cubicBezTo>
                        <a:pt x="187" y="292"/>
                        <a:pt x="187" y="292"/>
                        <a:pt x="187" y="292"/>
                      </a:cubicBezTo>
                      <a:cubicBezTo>
                        <a:pt x="179" y="292"/>
                        <a:pt x="179" y="292"/>
                        <a:pt x="179" y="292"/>
                      </a:cubicBezTo>
                      <a:lnTo>
                        <a:pt x="179" y="296"/>
                      </a:lnTo>
                      <a:close/>
                      <a:moveTo>
                        <a:pt x="163" y="296"/>
                      </a:moveTo>
                      <a:cubicBezTo>
                        <a:pt x="171" y="296"/>
                        <a:pt x="171" y="296"/>
                        <a:pt x="171" y="296"/>
                      </a:cubicBezTo>
                      <a:cubicBezTo>
                        <a:pt x="171" y="292"/>
                        <a:pt x="171" y="292"/>
                        <a:pt x="171" y="292"/>
                      </a:cubicBezTo>
                      <a:cubicBezTo>
                        <a:pt x="163" y="292"/>
                        <a:pt x="163" y="292"/>
                        <a:pt x="163" y="292"/>
                      </a:cubicBezTo>
                      <a:lnTo>
                        <a:pt x="163" y="296"/>
                      </a:lnTo>
                      <a:close/>
                      <a:moveTo>
                        <a:pt x="147" y="296"/>
                      </a:moveTo>
                      <a:cubicBezTo>
                        <a:pt x="155" y="296"/>
                        <a:pt x="155" y="296"/>
                        <a:pt x="155" y="296"/>
                      </a:cubicBezTo>
                      <a:cubicBezTo>
                        <a:pt x="155" y="292"/>
                        <a:pt x="155" y="292"/>
                        <a:pt x="155" y="292"/>
                      </a:cubicBezTo>
                      <a:cubicBezTo>
                        <a:pt x="147" y="292"/>
                        <a:pt x="147" y="292"/>
                        <a:pt x="147" y="292"/>
                      </a:cubicBezTo>
                      <a:lnTo>
                        <a:pt x="147" y="296"/>
                      </a:lnTo>
                      <a:close/>
                      <a:moveTo>
                        <a:pt x="195" y="296"/>
                      </a:moveTo>
                      <a:cubicBezTo>
                        <a:pt x="203" y="296"/>
                        <a:pt x="203" y="296"/>
                        <a:pt x="203" y="296"/>
                      </a:cubicBezTo>
                      <a:cubicBezTo>
                        <a:pt x="203" y="292"/>
                        <a:pt x="203" y="292"/>
                        <a:pt x="203" y="292"/>
                      </a:cubicBezTo>
                      <a:cubicBezTo>
                        <a:pt x="195" y="292"/>
                        <a:pt x="195" y="292"/>
                        <a:pt x="195" y="292"/>
                      </a:cubicBezTo>
                      <a:lnTo>
                        <a:pt x="195" y="296"/>
                      </a:lnTo>
                      <a:close/>
                      <a:moveTo>
                        <a:pt x="131" y="296"/>
                      </a:moveTo>
                      <a:cubicBezTo>
                        <a:pt x="139" y="296"/>
                        <a:pt x="139" y="296"/>
                        <a:pt x="139" y="296"/>
                      </a:cubicBezTo>
                      <a:cubicBezTo>
                        <a:pt x="139" y="292"/>
                        <a:pt x="139" y="292"/>
                        <a:pt x="139" y="292"/>
                      </a:cubicBezTo>
                      <a:cubicBezTo>
                        <a:pt x="131" y="292"/>
                        <a:pt x="131" y="292"/>
                        <a:pt x="131" y="292"/>
                      </a:cubicBezTo>
                      <a:lnTo>
                        <a:pt x="131" y="296"/>
                      </a:lnTo>
                      <a:close/>
                      <a:moveTo>
                        <a:pt x="272" y="286"/>
                      </a:moveTo>
                      <a:cubicBezTo>
                        <a:pt x="274" y="289"/>
                        <a:pt x="274" y="289"/>
                        <a:pt x="274" y="289"/>
                      </a:cubicBezTo>
                      <a:cubicBezTo>
                        <a:pt x="276" y="288"/>
                        <a:pt x="279" y="286"/>
                        <a:pt x="281" y="284"/>
                      </a:cubicBezTo>
                      <a:cubicBezTo>
                        <a:pt x="278" y="281"/>
                        <a:pt x="278" y="281"/>
                        <a:pt x="278" y="281"/>
                      </a:cubicBezTo>
                      <a:cubicBezTo>
                        <a:pt x="276" y="283"/>
                        <a:pt x="274" y="285"/>
                        <a:pt x="272" y="286"/>
                      </a:cubicBezTo>
                      <a:close/>
                      <a:moveTo>
                        <a:pt x="289" y="214"/>
                      </a:moveTo>
                      <a:cubicBezTo>
                        <a:pt x="293" y="214"/>
                        <a:pt x="293" y="214"/>
                        <a:pt x="293" y="214"/>
                      </a:cubicBezTo>
                      <a:cubicBezTo>
                        <a:pt x="293" y="206"/>
                        <a:pt x="293" y="206"/>
                        <a:pt x="293" y="206"/>
                      </a:cubicBezTo>
                      <a:cubicBezTo>
                        <a:pt x="289" y="206"/>
                        <a:pt x="289" y="206"/>
                        <a:pt x="289" y="206"/>
                      </a:cubicBezTo>
                      <a:lnTo>
                        <a:pt x="289" y="214"/>
                      </a:lnTo>
                      <a:close/>
                      <a:moveTo>
                        <a:pt x="289" y="182"/>
                      </a:moveTo>
                      <a:cubicBezTo>
                        <a:pt x="293" y="182"/>
                        <a:pt x="293" y="182"/>
                        <a:pt x="293" y="182"/>
                      </a:cubicBezTo>
                      <a:cubicBezTo>
                        <a:pt x="293" y="175"/>
                        <a:pt x="293" y="175"/>
                        <a:pt x="293" y="175"/>
                      </a:cubicBezTo>
                      <a:cubicBezTo>
                        <a:pt x="289" y="175"/>
                        <a:pt x="289" y="175"/>
                        <a:pt x="289" y="175"/>
                      </a:cubicBezTo>
                      <a:lnTo>
                        <a:pt x="289" y="182"/>
                      </a:lnTo>
                      <a:close/>
                      <a:moveTo>
                        <a:pt x="289" y="198"/>
                      </a:moveTo>
                      <a:cubicBezTo>
                        <a:pt x="293" y="198"/>
                        <a:pt x="293" y="198"/>
                        <a:pt x="293" y="198"/>
                      </a:cubicBezTo>
                      <a:cubicBezTo>
                        <a:pt x="293" y="190"/>
                        <a:pt x="293" y="190"/>
                        <a:pt x="293" y="190"/>
                      </a:cubicBezTo>
                      <a:cubicBezTo>
                        <a:pt x="289" y="190"/>
                        <a:pt x="289" y="190"/>
                        <a:pt x="289" y="190"/>
                      </a:cubicBezTo>
                      <a:lnTo>
                        <a:pt x="289" y="198"/>
                      </a:lnTo>
                      <a:close/>
                      <a:moveTo>
                        <a:pt x="283" y="111"/>
                      </a:moveTo>
                      <a:cubicBezTo>
                        <a:pt x="279" y="113"/>
                        <a:pt x="279" y="113"/>
                        <a:pt x="279" y="113"/>
                      </a:cubicBezTo>
                      <a:cubicBezTo>
                        <a:pt x="280" y="115"/>
                        <a:pt x="281" y="118"/>
                        <a:pt x="282" y="120"/>
                      </a:cubicBezTo>
                      <a:cubicBezTo>
                        <a:pt x="285" y="119"/>
                        <a:pt x="285" y="119"/>
                        <a:pt x="285" y="119"/>
                      </a:cubicBezTo>
                      <a:cubicBezTo>
                        <a:pt x="285" y="116"/>
                        <a:pt x="284" y="114"/>
                        <a:pt x="283" y="111"/>
                      </a:cubicBezTo>
                      <a:close/>
                      <a:moveTo>
                        <a:pt x="293" y="158"/>
                      </a:moveTo>
                      <a:cubicBezTo>
                        <a:pt x="289" y="159"/>
                        <a:pt x="289" y="159"/>
                        <a:pt x="289" y="159"/>
                      </a:cubicBezTo>
                      <a:cubicBezTo>
                        <a:pt x="289" y="161"/>
                        <a:pt x="289" y="163"/>
                        <a:pt x="289" y="166"/>
                      </a:cubicBezTo>
                      <a:cubicBezTo>
                        <a:pt x="289" y="167"/>
                        <a:pt x="289" y="167"/>
                        <a:pt x="289" y="167"/>
                      </a:cubicBezTo>
                      <a:cubicBezTo>
                        <a:pt x="293" y="167"/>
                        <a:pt x="293" y="167"/>
                        <a:pt x="293" y="167"/>
                      </a:cubicBezTo>
                      <a:cubicBezTo>
                        <a:pt x="293" y="166"/>
                        <a:pt x="293" y="166"/>
                        <a:pt x="293" y="166"/>
                      </a:cubicBezTo>
                      <a:cubicBezTo>
                        <a:pt x="293" y="163"/>
                        <a:pt x="293" y="161"/>
                        <a:pt x="293" y="158"/>
                      </a:cubicBezTo>
                      <a:close/>
                      <a:moveTo>
                        <a:pt x="283" y="276"/>
                      </a:moveTo>
                      <a:cubicBezTo>
                        <a:pt x="286" y="278"/>
                        <a:pt x="286" y="278"/>
                        <a:pt x="286" y="278"/>
                      </a:cubicBezTo>
                      <a:cubicBezTo>
                        <a:pt x="287" y="276"/>
                        <a:pt x="289" y="273"/>
                        <a:pt x="290" y="271"/>
                      </a:cubicBezTo>
                      <a:cubicBezTo>
                        <a:pt x="286" y="269"/>
                        <a:pt x="286" y="269"/>
                        <a:pt x="286" y="269"/>
                      </a:cubicBezTo>
                      <a:cubicBezTo>
                        <a:pt x="285" y="271"/>
                        <a:pt x="284" y="274"/>
                        <a:pt x="283" y="276"/>
                      </a:cubicBezTo>
                      <a:close/>
                      <a:moveTo>
                        <a:pt x="288" y="262"/>
                      </a:moveTo>
                      <a:cubicBezTo>
                        <a:pt x="292" y="263"/>
                        <a:pt x="292" y="263"/>
                        <a:pt x="292" y="263"/>
                      </a:cubicBezTo>
                      <a:cubicBezTo>
                        <a:pt x="293" y="260"/>
                        <a:pt x="293" y="257"/>
                        <a:pt x="293" y="254"/>
                      </a:cubicBezTo>
                      <a:cubicBezTo>
                        <a:pt x="293" y="254"/>
                        <a:pt x="293" y="254"/>
                        <a:pt x="293" y="254"/>
                      </a:cubicBezTo>
                      <a:cubicBezTo>
                        <a:pt x="289" y="254"/>
                        <a:pt x="289" y="254"/>
                        <a:pt x="289" y="254"/>
                      </a:cubicBezTo>
                      <a:cubicBezTo>
                        <a:pt x="289" y="257"/>
                        <a:pt x="289" y="259"/>
                        <a:pt x="288" y="262"/>
                      </a:cubicBezTo>
                      <a:close/>
                      <a:moveTo>
                        <a:pt x="289" y="230"/>
                      </a:moveTo>
                      <a:cubicBezTo>
                        <a:pt x="293" y="230"/>
                        <a:pt x="293" y="230"/>
                        <a:pt x="293" y="230"/>
                      </a:cubicBezTo>
                      <a:cubicBezTo>
                        <a:pt x="293" y="222"/>
                        <a:pt x="293" y="222"/>
                        <a:pt x="293" y="222"/>
                      </a:cubicBezTo>
                      <a:cubicBezTo>
                        <a:pt x="289" y="222"/>
                        <a:pt x="289" y="222"/>
                        <a:pt x="289" y="222"/>
                      </a:cubicBezTo>
                      <a:lnTo>
                        <a:pt x="289" y="230"/>
                      </a:lnTo>
                      <a:close/>
                      <a:moveTo>
                        <a:pt x="289" y="246"/>
                      </a:moveTo>
                      <a:cubicBezTo>
                        <a:pt x="293" y="246"/>
                        <a:pt x="293" y="246"/>
                        <a:pt x="293" y="246"/>
                      </a:cubicBezTo>
                      <a:cubicBezTo>
                        <a:pt x="293" y="238"/>
                        <a:pt x="293" y="238"/>
                        <a:pt x="293" y="238"/>
                      </a:cubicBezTo>
                      <a:cubicBezTo>
                        <a:pt x="289" y="238"/>
                        <a:pt x="289" y="238"/>
                        <a:pt x="289" y="238"/>
                      </a:cubicBezTo>
                      <a:lnTo>
                        <a:pt x="289" y="246"/>
                      </a:lnTo>
                      <a:close/>
                      <a:moveTo>
                        <a:pt x="4" y="119"/>
                      </a:moveTo>
                      <a:cubicBezTo>
                        <a:pt x="0" y="119"/>
                        <a:pt x="0" y="119"/>
                        <a:pt x="0" y="119"/>
                      </a:cubicBezTo>
                      <a:cubicBezTo>
                        <a:pt x="0" y="127"/>
                        <a:pt x="0" y="127"/>
                        <a:pt x="0" y="127"/>
                      </a:cubicBezTo>
                      <a:cubicBezTo>
                        <a:pt x="4" y="127"/>
                        <a:pt x="4" y="127"/>
                        <a:pt x="4" y="127"/>
                      </a:cubicBezTo>
                      <a:lnTo>
                        <a:pt x="4" y="119"/>
                      </a:lnTo>
                      <a:close/>
                      <a:moveTo>
                        <a:pt x="4" y="215"/>
                      </a:moveTo>
                      <a:cubicBezTo>
                        <a:pt x="0" y="215"/>
                        <a:pt x="0" y="215"/>
                        <a:pt x="0" y="215"/>
                      </a:cubicBezTo>
                      <a:cubicBezTo>
                        <a:pt x="0" y="223"/>
                        <a:pt x="0" y="223"/>
                        <a:pt x="0" y="223"/>
                      </a:cubicBezTo>
                      <a:cubicBezTo>
                        <a:pt x="4" y="223"/>
                        <a:pt x="4" y="223"/>
                        <a:pt x="4" y="223"/>
                      </a:cubicBezTo>
                      <a:lnTo>
                        <a:pt x="4" y="215"/>
                      </a:lnTo>
                      <a:close/>
                      <a:moveTo>
                        <a:pt x="115" y="296"/>
                      </a:moveTo>
                      <a:cubicBezTo>
                        <a:pt x="123" y="296"/>
                        <a:pt x="123" y="296"/>
                        <a:pt x="123" y="296"/>
                      </a:cubicBezTo>
                      <a:cubicBezTo>
                        <a:pt x="123" y="292"/>
                        <a:pt x="123" y="292"/>
                        <a:pt x="123" y="292"/>
                      </a:cubicBezTo>
                      <a:cubicBezTo>
                        <a:pt x="115" y="292"/>
                        <a:pt x="115" y="292"/>
                        <a:pt x="115" y="292"/>
                      </a:cubicBezTo>
                      <a:lnTo>
                        <a:pt x="115" y="296"/>
                      </a:lnTo>
                      <a:close/>
                      <a:moveTo>
                        <a:pt x="4" y="247"/>
                      </a:moveTo>
                      <a:cubicBezTo>
                        <a:pt x="0" y="247"/>
                        <a:pt x="0" y="247"/>
                        <a:pt x="0" y="247"/>
                      </a:cubicBezTo>
                      <a:cubicBezTo>
                        <a:pt x="0" y="255"/>
                        <a:pt x="0" y="255"/>
                        <a:pt x="0" y="255"/>
                      </a:cubicBezTo>
                      <a:cubicBezTo>
                        <a:pt x="4" y="255"/>
                        <a:pt x="4" y="255"/>
                        <a:pt x="4" y="255"/>
                      </a:cubicBezTo>
                      <a:lnTo>
                        <a:pt x="4" y="247"/>
                      </a:lnTo>
                      <a:close/>
                      <a:moveTo>
                        <a:pt x="4" y="231"/>
                      </a:moveTo>
                      <a:cubicBezTo>
                        <a:pt x="0" y="231"/>
                        <a:pt x="0" y="231"/>
                        <a:pt x="0" y="231"/>
                      </a:cubicBezTo>
                      <a:cubicBezTo>
                        <a:pt x="0" y="239"/>
                        <a:pt x="0" y="239"/>
                        <a:pt x="0" y="239"/>
                      </a:cubicBezTo>
                      <a:cubicBezTo>
                        <a:pt x="4" y="239"/>
                        <a:pt x="4" y="239"/>
                        <a:pt x="4" y="239"/>
                      </a:cubicBezTo>
                      <a:lnTo>
                        <a:pt x="4" y="231"/>
                      </a:lnTo>
                      <a:close/>
                      <a:moveTo>
                        <a:pt x="4" y="183"/>
                      </a:moveTo>
                      <a:cubicBezTo>
                        <a:pt x="0" y="183"/>
                        <a:pt x="0" y="183"/>
                        <a:pt x="0" y="183"/>
                      </a:cubicBezTo>
                      <a:cubicBezTo>
                        <a:pt x="0" y="191"/>
                        <a:pt x="0" y="191"/>
                        <a:pt x="0" y="191"/>
                      </a:cubicBezTo>
                      <a:cubicBezTo>
                        <a:pt x="4" y="191"/>
                        <a:pt x="4" y="191"/>
                        <a:pt x="4" y="191"/>
                      </a:cubicBezTo>
                      <a:lnTo>
                        <a:pt x="4" y="183"/>
                      </a:lnTo>
                      <a:close/>
                      <a:moveTo>
                        <a:pt x="4" y="135"/>
                      </a:moveTo>
                      <a:cubicBezTo>
                        <a:pt x="0" y="135"/>
                        <a:pt x="0" y="135"/>
                        <a:pt x="0" y="135"/>
                      </a:cubicBezTo>
                      <a:cubicBezTo>
                        <a:pt x="0" y="143"/>
                        <a:pt x="0" y="143"/>
                        <a:pt x="0" y="143"/>
                      </a:cubicBezTo>
                      <a:cubicBezTo>
                        <a:pt x="4" y="143"/>
                        <a:pt x="4" y="143"/>
                        <a:pt x="4" y="143"/>
                      </a:cubicBezTo>
                      <a:lnTo>
                        <a:pt x="4" y="135"/>
                      </a:lnTo>
                      <a:close/>
                      <a:moveTo>
                        <a:pt x="4" y="104"/>
                      </a:moveTo>
                      <a:cubicBezTo>
                        <a:pt x="0" y="104"/>
                        <a:pt x="0" y="104"/>
                        <a:pt x="0" y="104"/>
                      </a:cubicBezTo>
                      <a:cubicBezTo>
                        <a:pt x="0" y="112"/>
                        <a:pt x="0" y="112"/>
                        <a:pt x="0" y="112"/>
                      </a:cubicBezTo>
                      <a:cubicBezTo>
                        <a:pt x="4" y="112"/>
                        <a:pt x="4" y="112"/>
                        <a:pt x="4" y="112"/>
                      </a:cubicBezTo>
                      <a:lnTo>
                        <a:pt x="4" y="104"/>
                      </a:lnTo>
                      <a:close/>
                      <a:moveTo>
                        <a:pt x="4" y="167"/>
                      </a:moveTo>
                      <a:cubicBezTo>
                        <a:pt x="0" y="167"/>
                        <a:pt x="0" y="167"/>
                        <a:pt x="0" y="167"/>
                      </a:cubicBezTo>
                      <a:cubicBezTo>
                        <a:pt x="0" y="175"/>
                        <a:pt x="0" y="175"/>
                        <a:pt x="0" y="175"/>
                      </a:cubicBezTo>
                      <a:cubicBezTo>
                        <a:pt x="4" y="175"/>
                        <a:pt x="4" y="175"/>
                        <a:pt x="4" y="175"/>
                      </a:cubicBezTo>
                      <a:lnTo>
                        <a:pt x="4" y="167"/>
                      </a:lnTo>
                      <a:close/>
                      <a:moveTo>
                        <a:pt x="4" y="151"/>
                      </a:moveTo>
                      <a:cubicBezTo>
                        <a:pt x="0" y="151"/>
                        <a:pt x="0" y="151"/>
                        <a:pt x="0" y="151"/>
                      </a:cubicBezTo>
                      <a:cubicBezTo>
                        <a:pt x="0" y="159"/>
                        <a:pt x="0" y="159"/>
                        <a:pt x="0" y="159"/>
                      </a:cubicBezTo>
                      <a:cubicBezTo>
                        <a:pt x="4" y="159"/>
                        <a:pt x="4" y="159"/>
                        <a:pt x="4" y="159"/>
                      </a:cubicBezTo>
                      <a:lnTo>
                        <a:pt x="4" y="151"/>
                      </a:lnTo>
                      <a:close/>
                      <a:moveTo>
                        <a:pt x="4" y="199"/>
                      </a:moveTo>
                      <a:cubicBezTo>
                        <a:pt x="0" y="199"/>
                        <a:pt x="0" y="199"/>
                        <a:pt x="0" y="199"/>
                      </a:cubicBezTo>
                      <a:cubicBezTo>
                        <a:pt x="0" y="207"/>
                        <a:pt x="0" y="207"/>
                        <a:pt x="0" y="207"/>
                      </a:cubicBezTo>
                      <a:cubicBezTo>
                        <a:pt x="4" y="207"/>
                        <a:pt x="4" y="207"/>
                        <a:pt x="4" y="207"/>
                      </a:cubicBezTo>
                      <a:lnTo>
                        <a:pt x="4" y="199"/>
                      </a:lnTo>
                      <a:close/>
                      <a:moveTo>
                        <a:pt x="51" y="296"/>
                      </a:moveTo>
                      <a:cubicBezTo>
                        <a:pt x="59" y="296"/>
                        <a:pt x="59" y="296"/>
                        <a:pt x="59" y="296"/>
                      </a:cubicBezTo>
                      <a:cubicBezTo>
                        <a:pt x="59" y="292"/>
                        <a:pt x="59" y="292"/>
                        <a:pt x="59" y="292"/>
                      </a:cubicBezTo>
                      <a:cubicBezTo>
                        <a:pt x="51" y="292"/>
                        <a:pt x="51" y="292"/>
                        <a:pt x="51" y="292"/>
                      </a:cubicBezTo>
                      <a:lnTo>
                        <a:pt x="51" y="296"/>
                      </a:lnTo>
                      <a:close/>
                      <a:moveTo>
                        <a:pt x="83" y="296"/>
                      </a:moveTo>
                      <a:cubicBezTo>
                        <a:pt x="91" y="296"/>
                        <a:pt x="91" y="296"/>
                        <a:pt x="91" y="296"/>
                      </a:cubicBezTo>
                      <a:cubicBezTo>
                        <a:pt x="91" y="292"/>
                        <a:pt x="91" y="292"/>
                        <a:pt x="91" y="292"/>
                      </a:cubicBezTo>
                      <a:cubicBezTo>
                        <a:pt x="83" y="292"/>
                        <a:pt x="83" y="292"/>
                        <a:pt x="83" y="292"/>
                      </a:cubicBezTo>
                      <a:lnTo>
                        <a:pt x="83" y="296"/>
                      </a:lnTo>
                      <a:close/>
                      <a:moveTo>
                        <a:pt x="67" y="296"/>
                      </a:moveTo>
                      <a:cubicBezTo>
                        <a:pt x="75" y="296"/>
                        <a:pt x="75" y="296"/>
                        <a:pt x="75" y="296"/>
                      </a:cubicBezTo>
                      <a:cubicBezTo>
                        <a:pt x="75" y="292"/>
                        <a:pt x="75" y="292"/>
                        <a:pt x="75" y="292"/>
                      </a:cubicBezTo>
                      <a:cubicBezTo>
                        <a:pt x="67" y="292"/>
                        <a:pt x="67" y="292"/>
                        <a:pt x="67" y="292"/>
                      </a:cubicBezTo>
                      <a:lnTo>
                        <a:pt x="67" y="296"/>
                      </a:lnTo>
                      <a:close/>
                      <a:moveTo>
                        <a:pt x="99" y="296"/>
                      </a:moveTo>
                      <a:cubicBezTo>
                        <a:pt x="107" y="296"/>
                        <a:pt x="107" y="296"/>
                        <a:pt x="107" y="296"/>
                      </a:cubicBezTo>
                      <a:cubicBezTo>
                        <a:pt x="107" y="292"/>
                        <a:pt x="107" y="292"/>
                        <a:pt x="107" y="292"/>
                      </a:cubicBezTo>
                      <a:cubicBezTo>
                        <a:pt x="99" y="292"/>
                        <a:pt x="99" y="292"/>
                        <a:pt x="99" y="292"/>
                      </a:cubicBezTo>
                      <a:lnTo>
                        <a:pt x="99" y="296"/>
                      </a:lnTo>
                      <a:close/>
                      <a:moveTo>
                        <a:pt x="20" y="290"/>
                      </a:moveTo>
                      <a:cubicBezTo>
                        <a:pt x="22" y="291"/>
                        <a:pt x="24" y="293"/>
                        <a:pt x="27" y="294"/>
                      </a:cubicBezTo>
                      <a:cubicBezTo>
                        <a:pt x="28" y="290"/>
                        <a:pt x="28" y="290"/>
                        <a:pt x="28" y="290"/>
                      </a:cubicBezTo>
                      <a:cubicBezTo>
                        <a:pt x="26" y="289"/>
                        <a:pt x="24" y="288"/>
                        <a:pt x="22" y="286"/>
                      </a:cubicBezTo>
                      <a:lnTo>
                        <a:pt x="20" y="290"/>
                      </a:lnTo>
                      <a:close/>
                      <a:moveTo>
                        <a:pt x="7" y="278"/>
                      </a:moveTo>
                      <a:cubicBezTo>
                        <a:pt x="9" y="281"/>
                        <a:pt x="11" y="283"/>
                        <a:pt x="13" y="285"/>
                      </a:cubicBezTo>
                      <a:cubicBezTo>
                        <a:pt x="16" y="282"/>
                        <a:pt x="16" y="282"/>
                        <a:pt x="16" y="282"/>
                      </a:cubicBezTo>
                      <a:cubicBezTo>
                        <a:pt x="14" y="280"/>
                        <a:pt x="12" y="278"/>
                        <a:pt x="11" y="276"/>
                      </a:cubicBezTo>
                      <a:lnTo>
                        <a:pt x="7" y="278"/>
                      </a:lnTo>
                      <a:close/>
                      <a:moveTo>
                        <a:pt x="36" y="292"/>
                      </a:moveTo>
                      <a:cubicBezTo>
                        <a:pt x="35" y="296"/>
                        <a:pt x="35" y="296"/>
                        <a:pt x="35" y="296"/>
                      </a:cubicBezTo>
                      <a:cubicBezTo>
                        <a:pt x="37" y="296"/>
                        <a:pt x="40" y="296"/>
                        <a:pt x="42" y="296"/>
                      </a:cubicBezTo>
                      <a:cubicBezTo>
                        <a:pt x="43" y="296"/>
                        <a:pt x="43" y="296"/>
                        <a:pt x="43" y="296"/>
                      </a:cubicBezTo>
                      <a:cubicBezTo>
                        <a:pt x="43" y="292"/>
                        <a:pt x="43" y="292"/>
                        <a:pt x="43" y="292"/>
                      </a:cubicBezTo>
                      <a:cubicBezTo>
                        <a:pt x="42" y="292"/>
                        <a:pt x="42" y="292"/>
                        <a:pt x="42" y="292"/>
                      </a:cubicBezTo>
                      <a:cubicBezTo>
                        <a:pt x="40" y="292"/>
                        <a:pt x="38" y="292"/>
                        <a:pt x="36" y="292"/>
                      </a:cubicBezTo>
                      <a:close/>
                      <a:moveTo>
                        <a:pt x="1" y="263"/>
                      </a:moveTo>
                      <a:cubicBezTo>
                        <a:pt x="1" y="266"/>
                        <a:pt x="2" y="269"/>
                        <a:pt x="3" y="271"/>
                      </a:cubicBezTo>
                      <a:cubicBezTo>
                        <a:pt x="7" y="269"/>
                        <a:pt x="7" y="269"/>
                        <a:pt x="7" y="269"/>
                      </a:cubicBezTo>
                      <a:cubicBezTo>
                        <a:pt x="6" y="267"/>
                        <a:pt x="5" y="265"/>
                        <a:pt x="5" y="262"/>
                      </a:cubicBezTo>
                      <a:lnTo>
                        <a:pt x="1" y="263"/>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142" name="Freeform 37"/>
                <p:cNvSpPr>
                  <a:spLocks noEditPoints="1"/>
                </p:cNvSpPr>
                <p:nvPr/>
              </p:nvSpPr>
              <p:spPr bwMode="auto">
                <a:xfrm>
                  <a:off x="2649541" y="5346266"/>
                  <a:ext cx="496665" cy="367349"/>
                </a:xfrm>
                <a:custGeom>
                  <a:avLst/>
                  <a:gdLst>
                    <a:gd name="T0" fmla="*/ 151 w 184"/>
                    <a:gd name="T1" fmla="*/ 69 h 136"/>
                    <a:gd name="T2" fmla="*/ 134 w 184"/>
                    <a:gd name="T3" fmla="*/ 74 h 136"/>
                    <a:gd name="T4" fmla="*/ 87 w 184"/>
                    <a:gd name="T5" fmla="*/ 44 h 136"/>
                    <a:gd name="T6" fmla="*/ 37 w 184"/>
                    <a:gd name="T7" fmla="*/ 85 h 136"/>
                    <a:gd name="T8" fmla="*/ 26 w 184"/>
                    <a:gd name="T9" fmla="*/ 83 h 136"/>
                    <a:gd name="T10" fmla="*/ 0 w 184"/>
                    <a:gd name="T11" fmla="*/ 109 h 136"/>
                    <a:gd name="T12" fmla="*/ 26 w 184"/>
                    <a:gd name="T13" fmla="*/ 136 h 136"/>
                    <a:gd name="T14" fmla="*/ 151 w 184"/>
                    <a:gd name="T15" fmla="*/ 136 h 136"/>
                    <a:gd name="T16" fmla="*/ 184 w 184"/>
                    <a:gd name="T17" fmla="*/ 102 h 136"/>
                    <a:gd name="T18" fmla="*/ 151 w 184"/>
                    <a:gd name="T19" fmla="*/ 69 h 136"/>
                    <a:gd name="T20" fmla="*/ 31 w 184"/>
                    <a:gd name="T21" fmla="*/ 63 h 136"/>
                    <a:gd name="T22" fmla="*/ 39 w 184"/>
                    <a:gd name="T23" fmla="*/ 58 h 136"/>
                    <a:gd name="T24" fmla="*/ 22 w 184"/>
                    <a:gd name="T25" fmla="*/ 32 h 136"/>
                    <a:gd name="T26" fmla="*/ 30 w 184"/>
                    <a:gd name="T27" fmla="*/ 10 h 136"/>
                    <a:gd name="T28" fmla="*/ 53 w 184"/>
                    <a:gd name="T29" fmla="*/ 12 h 136"/>
                    <a:gd name="T30" fmla="*/ 70 w 184"/>
                    <a:gd name="T31" fmla="*/ 38 h 136"/>
                    <a:gd name="T32" fmla="*/ 78 w 184"/>
                    <a:gd name="T33" fmla="*/ 33 h 136"/>
                    <a:gd name="T34" fmla="*/ 64 w 184"/>
                    <a:gd name="T35" fmla="*/ 12 h 136"/>
                    <a:gd name="T36" fmla="*/ 76 w 184"/>
                    <a:gd name="T37" fmla="*/ 4 h 136"/>
                    <a:gd name="T38" fmla="*/ 23 w 184"/>
                    <a:gd name="T39" fmla="*/ 0 h 136"/>
                    <a:gd name="T40" fmla="*/ 6 w 184"/>
                    <a:gd name="T41" fmla="*/ 50 h 136"/>
                    <a:gd name="T42" fmla="*/ 18 w 184"/>
                    <a:gd name="T43" fmla="*/ 42 h 136"/>
                    <a:gd name="T44" fmla="*/ 31 w 184"/>
                    <a:gd name="T45" fmla="*/ 6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4" h="136">
                      <a:moveTo>
                        <a:pt x="151" y="69"/>
                      </a:moveTo>
                      <a:cubicBezTo>
                        <a:pt x="145" y="69"/>
                        <a:pt x="139" y="71"/>
                        <a:pt x="134" y="74"/>
                      </a:cubicBezTo>
                      <a:cubicBezTo>
                        <a:pt x="125" y="56"/>
                        <a:pt x="108" y="44"/>
                        <a:pt x="87" y="44"/>
                      </a:cubicBezTo>
                      <a:cubicBezTo>
                        <a:pt x="62" y="44"/>
                        <a:pt x="42" y="62"/>
                        <a:pt x="37" y="85"/>
                      </a:cubicBezTo>
                      <a:cubicBezTo>
                        <a:pt x="33" y="83"/>
                        <a:pt x="30" y="83"/>
                        <a:pt x="26" y="83"/>
                      </a:cubicBezTo>
                      <a:cubicBezTo>
                        <a:pt x="11" y="83"/>
                        <a:pt x="0" y="94"/>
                        <a:pt x="0" y="109"/>
                      </a:cubicBezTo>
                      <a:cubicBezTo>
                        <a:pt x="0" y="124"/>
                        <a:pt x="11" y="136"/>
                        <a:pt x="26" y="136"/>
                      </a:cubicBezTo>
                      <a:cubicBezTo>
                        <a:pt x="151" y="136"/>
                        <a:pt x="151" y="136"/>
                        <a:pt x="151" y="136"/>
                      </a:cubicBezTo>
                      <a:cubicBezTo>
                        <a:pt x="169" y="136"/>
                        <a:pt x="184" y="121"/>
                        <a:pt x="184" y="102"/>
                      </a:cubicBezTo>
                      <a:cubicBezTo>
                        <a:pt x="184" y="84"/>
                        <a:pt x="169" y="69"/>
                        <a:pt x="151" y="69"/>
                      </a:cubicBezTo>
                      <a:close/>
                      <a:moveTo>
                        <a:pt x="31" y="63"/>
                      </a:moveTo>
                      <a:cubicBezTo>
                        <a:pt x="39" y="58"/>
                        <a:pt x="39" y="58"/>
                        <a:pt x="39" y="58"/>
                      </a:cubicBezTo>
                      <a:cubicBezTo>
                        <a:pt x="22" y="32"/>
                        <a:pt x="22" y="32"/>
                        <a:pt x="22" y="32"/>
                      </a:cubicBezTo>
                      <a:cubicBezTo>
                        <a:pt x="30" y="10"/>
                        <a:pt x="30" y="10"/>
                        <a:pt x="30" y="10"/>
                      </a:cubicBezTo>
                      <a:cubicBezTo>
                        <a:pt x="53" y="12"/>
                        <a:pt x="53" y="12"/>
                        <a:pt x="53" y="12"/>
                      </a:cubicBezTo>
                      <a:cubicBezTo>
                        <a:pt x="70" y="38"/>
                        <a:pt x="70" y="38"/>
                        <a:pt x="70" y="38"/>
                      </a:cubicBezTo>
                      <a:cubicBezTo>
                        <a:pt x="78" y="33"/>
                        <a:pt x="78" y="33"/>
                        <a:pt x="78" y="33"/>
                      </a:cubicBezTo>
                      <a:cubicBezTo>
                        <a:pt x="64" y="12"/>
                        <a:pt x="64" y="12"/>
                        <a:pt x="64" y="12"/>
                      </a:cubicBezTo>
                      <a:cubicBezTo>
                        <a:pt x="76" y="4"/>
                        <a:pt x="76" y="4"/>
                        <a:pt x="76" y="4"/>
                      </a:cubicBezTo>
                      <a:cubicBezTo>
                        <a:pt x="23" y="0"/>
                        <a:pt x="23" y="0"/>
                        <a:pt x="23" y="0"/>
                      </a:cubicBezTo>
                      <a:cubicBezTo>
                        <a:pt x="6" y="50"/>
                        <a:pt x="6" y="50"/>
                        <a:pt x="6" y="50"/>
                      </a:cubicBezTo>
                      <a:cubicBezTo>
                        <a:pt x="18" y="42"/>
                        <a:pt x="18" y="42"/>
                        <a:pt x="18" y="42"/>
                      </a:cubicBezTo>
                      <a:lnTo>
                        <a:pt x="31" y="63"/>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grpSp>
        </p:grpSp>
      </p:grpSp>
      <p:sp useBgFill="1">
        <p:nvSpPr>
          <p:cNvPr id="145" name="Freeform 144"/>
          <p:cNvSpPr/>
          <p:nvPr/>
        </p:nvSpPr>
        <p:spPr>
          <a:xfrm>
            <a:off x="1" y="1"/>
            <a:ext cx="9143999" cy="3765265"/>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0" bIns="34291" numCol="1" rtlCol="0" anchor="ctr" anchorCtr="0" compatLnSpc="1">
            <a:prstTxWarp prst="textNoShape">
              <a:avLst/>
            </a:prstTxWarp>
          </a:bodyPr>
          <a:lstStyle/>
          <a:p>
            <a:pPr algn="ctr" defTabSz="685609"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389436" y="171451"/>
            <a:ext cx="8363938" cy="415499"/>
          </a:xfrm>
        </p:spPr>
        <p:txBody>
          <a:bodyPr/>
          <a:lstStyle/>
          <a:p>
            <a:r>
              <a:rPr lang="en-US" sz="3000" dirty="0"/>
              <a:t>Windows Azure Hybrid and Connectivity Options</a:t>
            </a:r>
          </a:p>
        </p:txBody>
      </p:sp>
      <p:sp>
        <p:nvSpPr>
          <p:cNvPr id="7" name="Rectangle 6"/>
          <p:cNvSpPr/>
          <p:nvPr/>
        </p:nvSpPr>
        <p:spPr bwMode="auto">
          <a:xfrm>
            <a:off x="1275091" y="1088730"/>
            <a:ext cx="1785007" cy="459486"/>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0" bIns="34291" numCol="1" rtlCol="0" anchor="ctr" anchorCtr="0" compatLnSpc="1">
            <a:prstTxWarp prst="textNoShape">
              <a:avLst/>
            </a:prstTxWarp>
          </a:bodyPr>
          <a:lstStyle/>
          <a:p>
            <a:pPr algn="ctr" defTabSz="685609" fontAlgn="base">
              <a:spcBef>
                <a:spcPct val="0"/>
              </a:spcBef>
              <a:spcAft>
                <a:spcPct val="0"/>
              </a:spcAft>
            </a:pPr>
            <a:r>
              <a:rPr lang="en-US" sz="1500" dirty="0">
                <a:gradFill>
                  <a:gsLst>
                    <a:gs pos="0">
                      <a:srgbClr val="FFFFFF"/>
                    </a:gs>
                    <a:gs pos="100000">
                      <a:srgbClr val="FFFFFF"/>
                    </a:gs>
                  </a:gsLst>
                  <a:lin ang="5400000" scaled="0"/>
                </a:gradFill>
              </a:rPr>
              <a:t>Windows Azure</a:t>
            </a:r>
          </a:p>
        </p:txBody>
      </p:sp>
      <p:sp>
        <p:nvSpPr>
          <p:cNvPr id="96" name="Rectangle 95"/>
          <p:cNvSpPr/>
          <p:nvPr/>
        </p:nvSpPr>
        <p:spPr bwMode="auto">
          <a:xfrm>
            <a:off x="6085487" y="1087524"/>
            <a:ext cx="1783544" cy="45948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0" bIns="34291" numCol="1" rtlCol="0" anchor="ctr" anchorCtr="0" compatLnSpc="1">
            <a:prstTxWarp prst="textNoShape">
              <a:avLst/>
            </a:prstTxWarp>
          </a:bodyPr>
          <a:lstStyle/>
          <a:p>
            <a:pPr algn="ctr" defTabSz="685609" fontAlgn="base">
              <a:spcBef>
                <a:spcPct val="0"/>
              </a:spcBef>
              <a:spcAft>
                <a:spcPct val="0"/>
              </a:spcAft>
            </a:pPr>
            <a:r>
              <a:rPr lang="en-US" sz="1500" dirty="0">
                <a:gradFill>
                  <a:gsLst>
                    <a:gs pos="0">
                      <a:srgbClr val="FFFFFF"/>
                    </a:gs>
                    <a:gs pos="100000">
                      <a:srgbClr val="FFFFFF"/>
                    </a:gs>
                  </a:gsLst>
                  <a:lin ang="5400000" scaled="0"/>
                </a:gradFill>
              </a:rPr>
              <a:t>ENTERPRISE</a:t>
            </a:r>
          </a:p>
        </p:txBody>
      </p:sp>
      <p:grpSp>
        <p:nvGrpSpPr>
          <p:cNvPr id="48" name="Group 47"/>
          <p:cNvGrpSpPr/>
          <p:nvPr/>
        </p:nvGrpSpPr>
        <p:grpSpPr>
          <a:xfrm>
            <a:off x="1275091" y="2313840"/>
            <a:ext cx="1785007" cy="685800"/>
            <a:chOff x="1699678" y="2947732"/>
            <a:chExt cx="2379390" cy="914400"/>
          </a:xfrm>
        </p:grpSpPr>
        <p:sp>
          <p:nvSpPr>
            <p:cNvPr id="51" name="Freeform 50"/>
            <p:cNvSpPr/>
            <p:nvPr/>
          </p:nvSpPr>
          <p:spPr>
            <a:xfrm>
              <a:off x="1699678" y="2947732"/>
              <a:ext cx="2379390"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685609" fontAlgn="base">
                <a:spcBef>
                  <a:spcPct val="0"/>
                </a:spcBef>
                <a:spcAft>
                  <a:spcPct val="0"/>
                </a:spcAft>
              </a:pPr>
              <a:endParaRPr lang="en-US" sz="1500" dirty="0">
                <a:gradFill>
                  <a:gsLst>
                    <a:gs pos="0">
                      <a:srgbClr val="FFFFFF"/>
                    </a:gs>
                    <a:gs pos="100000">
                      <a:srgbClr val="FFFFFF"/>
                    </a:gs>
                  </a:gsLst>
                  <a:lin ang="5400000" scaled="0"/>
                </a:gradFill>
              </a:endParaRPr>
            </a:p>
          </p:txBody>
        </p:sp>
        <p:grpSp>
          <p:nvGrpSpPr>
            <p:cNvPr id="73" name="Group 72"/>
            <p:cNvGrpSpPr/>
            <p:nvPr/>
          </p:nvGrpSpPr>
          <p:grpSpPr bwMode="black">
            <a:xfrm>
              <a:off x="2528758" y="3090290"/>
              <a:ext cx="721231" cy="586753"/>
              <a:chOff x="5184775" y="225425"/>
              <a:chExt cx="1500188" cy="1220788"/>
            </a:xfrm>
            <a:solidFill>
              <a:srgbClr val="FFFFFF"/>
            </a:solidFill>
          </p:grpSpPr>
          <p:sp>
            <p:nvSpPr>
              <p:cNvPr id="74"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6"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7"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grpSp>
        <p:nvGrpSpPr>
          <p:cNvPr id="46" name="Group 45"/>
          <p:cNvGrpSpPr/>
          <p:nvPr/>
        </p:nvGrpSpPr>
        <p:grpSpPr>
          <a:xfrm>
            <a:off x="6084754" y="2313237"/>
            <a:ext cx="1785006" cy="685800"/>
            <a:chOff x="8110893" y="2947732"/>
            <a:chExt cx="2379388" cy="914400"/>
          </a:xfrm>
        </p:grpSpPr>
        <p:sp>
          <p:nvSpPr>
            <p:cNvPr id="49" name="Freeform 48"/>
            <p:cNvSpPr/>
            <p:nvPr/>
          </p:nvSpPr>
          <p:spPr>
            <a:xfrm>
              <a:off x="8110893" y="2947732"/>
              <a:ext cx="2379388"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685609" fontAlgn="base">
                <a:spcBef>
                  <a:spcPct val="0"/>
                </a:spcBef>
                <a:spcAft>
                  <a:spcPct val="0"/>
                </a:spcAft>
              </a:pPr>
              <a:endParaRPr lang="en-US" sz="1500" dirty="0">
                <a:gradFill>
                  <a:gsLst>
                    <a:gs pos="0">
                      <a:srgbClr val="FFFFFF"/>
                    </a:gs>
                    <a:gs pos="100000">
                      <a:srgbClr val="FFFFFF"/>
                    </a:gs>
                  </a:gsLst>
                  <a:lin ang="5400000" scaled="0"/>
                </a:gradFill>
              </a:endParaRPr>
            </a:p>
          </p:txBody>
        </p:sp>
        <p:grpSp>
          <p:nvGrpSpPr>
            <p:cNvPr id="78" name="Group 77"/>
            <p:cNvGrpSpPr/>
            <p:nvPr/>
          </p:nvGrpSpPr>
          <p:grpSpPr bwMode="black">
            <a:xfrm>
              <a:off x="8939972" y="3090290"/>
              <a:ext cx="721231" cy="586753"/>
              <a:chOff x="5184775" y="225425"/>
              <a:chExt cx="1500188" cy="1220788"/>
            </a:xfrm>
            <a:solidFill>
              <a:srgbClr val="FFFFFF"/>
            </a:solidFill>
          </p:grpSpPr>
          <p:sp>
            <p:nvSpPr>
              <p:cNvPr id="7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sp>
        <p:nvSpPr>
          <p:cNvPr id="53" name="Rectangle 52"/>
          <p:cNvSpPr/>
          <p:nvPr/>
        </p:nvSpPr>
        <p:spPr>
          <a:xfrm>
            <a:off x="3307462" y="1667890"/>
            <a:ext cx="2529931" cy="526275"/>
          </a:xfrm>
          <a:prstGeom prst="rect">
            <a:avLst/>
          </a:prstGeom>
        </p:spPr>
        <p:txBody>
          <a:bodyPr wrap="square" lIns="91424" tIns="45713" rIns="91424" bIns="45713">
            <a:spAutoFit/>
          </a:bodyPr>
          <a:lstStyle/>
          <a:p>
            <a:pPr algn="ctr" defTabSz="571345" fontAlgn="base">
              <a:lnSpc>
                <a:spcPct val="80000"/>
              </a:lnSpc>
            </a:pPr>
            <a:r>
              <a:rPr lang="en-US" dirty="0">
                <a:gradFill>
                  <a:gsLst>
                    <a:gs pos="0">
                      <a:srgbClr val="FFFFFF"/>
                    </a:gs>
                    <a:gs pos="100000">
                      <a:srgbClr val="FFFFFF"/>
                    </a:gs>
                  </a:gsLst>
                  <a:lin ang="5400000" scaled="0"/>
                </a:gradFill>
              </a:rPr>
              <a:t>Data </a:t>
            </a:r>
            <a:br>
              <a:rPr lang="en-US" dirty="0">
                <a:gradFill>
                  <a:gsLst>
                    <a:gs pos="0">
                      <a:srgbClr val="FFFFFF"/>
                    </a:gs>
                    <a:gs pos="100000">
                      <a:srgbClr val="FFFFFF"/>
                    </a:gs>
                  </a:gsLst>
                  <a:lin ang="5400000" scaled="0"/>
                </a:gradFill>
              </a:rPr>
            </a:br>
            <a:r>
              <a:rPr lang="en-US" dirty="0">
                <a:gradFill>
                  <a:gsLst>
                    <a:gs pos="0">
                      <a:srgbClr val="FFFFFF"/>
                    </a:gs>
                    <a:gs pos="100000">
                      <a:srgbClr val="FFFFFF"/>
                    </a:gs>
                  </a:gsLst>
                  <a:lin ang="5400000" scaled="0"/>
                </a:gradFill>
              </a:rPr>
              <a:t>Synchronization</a:t>
            </a:r>
          </a:p>
          <a:p>
            <a:pPr algn="ctr" defTabSz="571345" fontAlgn="base">
              <a:lnSpc>
                <a:spcPct val="80000"/>
              </a:lnSpc>
            </a:pPr>
            <a:r>
              <a:rPr lang="en-US" sz="700" dirty="0">
                <a:gradFill>
                  <a:gsLst>
                    <a:gs pos="0">
                      <a:srgbClr val="FFFFFF"/>
                    </a:gs>
                    <a:gs pos="100000">
                      <a:srgbClr val="FFFFFF"/>
                    </a:gs>
                  </a:gsLst>
                  <a:lin ang="5400000" scaled="0"/>
                </a:gradFill>
              </a:rPr>
              <a:t>SQL Data Sync</a:t>
            </a:r>
          </a:p>
        </p:txBody>
      </p:sp>
      <p:sp>
        <p:nvSpPr>
          <p:cNvPr id="60" name="Rectangle 59"/>
          <p:cNvSpPr/>
          <p:nvPr/>
        </p:nvSpPr>
        <p:spPr>
          <a:xfrm>
            <a:off x="3307462" y="2388979"/>
            <a:ext cx="2529931" cy="535525"/>
          </a:xfrm>
          <a:prstGeom prst="rect">
            <a:avLst/>
          </a:prstGeom>
        </p:spPr>
        <p:txBody>
          <a:bodyPr wrap="square" lIns="91424" tIns="45713" rIns="91424" bIns="45713">
            <a:spAutoFit/>
          </a:bodyPr>
          <a:lstStyle/>
          <a:p>
            <a:pPr algn="ctr" defTabSz="571345" fontAlgn="base">
              <a:lnSpc>
                <a:spcPct val="80000"/>
              </a:lnSpc>
            </a:pPr>
            <a:r>
              <a:rPr lang="en-US" dirty="0">
                <a:gradFill>
                  <a:gsLst>
                    <a:gs pos="0">
                      <a:srgbClr val="FFFFFF"/>
                    </a:gs>
                    <a:gs pos="100000">
                      <a:srgbClr val="FFFFFF"/>
                    </a:gs>
                  </a:gsLst>
                  <a:lin ang="5400000" scaled="0"/>
                </a:gradFill>
              </a:rPr>
              <a:t>Application-Layer </a:t>
            </a:r>
          </a:p>
          <a:p>
            <a:pPr algn="ctr" defTabSz="571345" fontAlgn="base">
              <a:lnSpc>
                <a:spcPct val="80000"/>
              </a:lnSpc>
            </a:pPr>
            <a:r>
              <a:rPr lang="en-US" dirty="0">
                <a:gradFill>
                  <a:gsLst>
                    <a:gs pos="0">
                      <a:srgbClr val="FFFFFF"/>
                    </a:gs>
                    <a:gs pos="100000">
                      <a:srgbClr val="FFFFFF"/>
                    </a:gs>
                  </a:gsLst>
                  <a:lin ang="5400000" scaled="0"/>
                </a:gradFill>
              </a:rPr>
              <a:t>Connectivity &amp; Messaging </a:t>
            </a:r>
          </a:p>
          <a:p>
            <a:pPr algn="ctr" defTabSz="571345" fontAlgn="base">
              <a:lnSpc>
                <a:spcPct val="80000"/>
              </a:lnSpc>
            </a:pPr>
            <a:r>
              <a:rPr lang="en-US" sz="700" dirty="0">
                <a:gradFill>
                  <a:gsLst>
                    <a:gs pos="0">
                      <a:srgbClr val="FFFFFF"/>
                    </a:gs>
                    <a:gs pos="100000">
                      <a:srgbClr val="FFFFFF"/>
                    </a:gs>
                  </a:gsLst>
                  <a:lin ang="5400000" scaled="0"/>
                </a:gradFill>
              </a:rPr>
              <a:t>Service Bus</a:t>
            </a:r>
          </a:p>
        </p:txBody>
      </p:sp>
      <p:sp>
        <p:nvSpPr>
          <p:cNvPr id="70" name="Rectangle 69"/>
          <p:cNvSpPr/>
          <p:nvPr/>
        </p:nvSpPr>
        <p:spPr>
          <a:xfrm>
            <a:off x="3307462" y="3114691"/>
            <a:ext cx="2529931" cy="535525"/>
          </a:xfrm>
          <a:prstGeom prst="rect">
            <a:avLst/>
          </a:prstGeom>
        </p:spPr>
        <p:txBody>
          <a:bodyPr wrap="square" lIns="91424" tIns="45713" rIns="91424" bIns="45713">
            <a:spAutoFit/>
          </a:bodyPr>
          <a:lstStyle/>
          <a:p>
            <a:pPr algn="ctr" defTabSz="571345" fontAlgn="base">
              <a:lnSpc>
                <a:spcPct val="80000"/>
              </a:lnSpc>
            </a:pPr>
            <a:r>
              <a:rPr lang="en-US" dirty="0">
                <a:gradFill>
                  <a:gsLst>
                    <a:gs pos="0">
                      <a:srgbClr val="FFFFFF"/>
                    </a:gs>
                    <a:gs pos="100000">
                      <a:srgbClr val="FFFFFF"/>
                    </a:gs>
                  </a:gsLst>
                  <a:lin ang="5400000" scaled="0"/>
                </a:gradFill>
              </a:rPr>
              <a:t>Secure Machine-to-Machine Network Connectivity</a:t>
            </a:r>
            <a:r>
              <a:rPr lang="en-US" sz="700" dirty="0">
                <a:gradFill>
                  <a:gsLst>
                    <a:gs pos="0">
                      <a:srgbClr val="FFFFFF"/>
                    </a:gs>
                    <a:gs pos="100000">
                      <a:srgbClr val="FFFFFF"/>
                    </a:gs>
                  </a:gsLst>
                  <a:lin ang="5400000" scaled="0"/>
                </a:gradFill>
              </a:rPr>
              <a:t/>
            </a:r>
            <a:br>
              <a:rPr lang="en-US" sz="700" dirty="0">
                <a:gradFill>
                  <a:gsLst>
                    <a:gs pos="0">
                      <a:srgbClr val="FFFFFF"/>
                    </a:gs>
                    <a:gs pos="100000">
                      <a:srgbClr val="FFFFFF"/>
                    </a:gs>
                  </a:gsLst>
                  <a:lin ang="5400000" scaled="0"/>
                </a:gradFill>
              </a:rPr>
            </a:br>
            <a:r>
              <a:rPr lang="en-US" sz="700" dirty="0">
                <a:gradFill>
                  <a:gsLst>
                    <a:gs pos="0">
                      <a:srgbClr val="FFFFFF"/>
                    </a:gs>
                    <a:gs pos="100000">
                      <a:srgbClr val="FFFFFF"/>
                    </a:gs>
                  </a:gsLst>
                  <a:lin ang="5400000" scaled="0"/>
                </a:gradFill>
              </a:rPr>
              <a:t>Windows Azure Connect</a:t>
            </a:r>
            <a:endParaRPr lang="en-US" dirty="0">
              <a:gradFill>
                <a:gsLst>
                  <a:gs pos="0">
                    <a:srgbClr val="FFFFFF"/>
                  </a:gs>
                  <a:gs pos="100000">
                    <a:srgbClr val="FFFFFF"/>
                  </a:gs>
                </a:gsLst>
                <a:lin ang="5400000" scaled="0"/>
              </a:gradFill>
            </a:endParaRPr>
          </a:p>
        </p:txBody>
      </p:sp>
      <p:grpSp>
        <p:nvGrpSpPr>
          <p:cNvPr id="42" name="Group 41"/>
          <p:cNvGrpSpPr/>
          <p:nvPr/>
        </p:nvGrpSpPr>
        <p:grpSpPr>
          <a:xfrm>
            <a:off x="6085487" y="3039251"/>
            <a:ext cx="1783544" cy="685800"/>
            <a:chOff x="8111868" y="3904296"/>
            <a:chExt cx="2377439" cy="914400"/>
          </a:xfrm>
        </p:grpSpPr>
        <p:sp>
          <p:nvSpPr>
            <p:cNvPr id="43" name="Freeform 42"/>
            <p:cNvSpPr/>
            <p:nvPr/>
          </p:nvSpPr>
          <p:spPr>
            <a:xfrm>
              <a:off x="8111868" y="3904296"/>
              <a:ext cx="2377439"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685609"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64" name="Freeform 6"/>
            <p:cNvSpPr>
              <a:spLocks noEditPoints="1"/>
            </p:cNvSpPr>
            <p:nvPr/>
          </p:nvSpPr>
          <p:spPr bwMode="auto">
            <a:xfrm>
              <a:off x="9079547" y="4059205"/>
              <a:ext cx="442080" cy="580992"/>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39" name="Group 38"/>
          <p:cNvGrpSpPr/>
          <p:nvPr/>
        </p:nvGrpSpPr>
        <p:grpSpPr>
          <a:xfrm>
            <a:off x="1275091" y="1588128"/>
            <a:ext cx="1785007" cy="685800"/>
            <a:chOff x="1699678" y="1991169"/>
            <a:chExt cx="2379390" cy="914400"/>
          </a:xfrm>
        </p:grpSpPr>
        <p:sp>
          <p:nvSpPr>
            <p:cNvPr id="56" name="Freeform 55"/>
            <p:cNvSpPr/>
            <p:nvPr/>
          </p:nvSpPr>
          <p:spPr>
            <a:xfrm>
              <a:off x="1699678" y="1991169"/>
              <a:ext cx="2379390"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685609" fontAlgn="base">
                <a:spcBef>
                  <a:spcPct val="0"/>
                </a:spcBef>
                <a:spcAft>
                  <a:spcPct val="0"/>
                </a:spcAft>
              </a:pPr>
              <a:endParaRPr lang="en-US" sz="1500" dirty="0">
                <a:gradFill>
                  <a:gsLst>
                    <a:gs pos="0">
                      <a:srgbClr val="FFFFFF"/>
                    </a:gs>
                    <a:gs pos="100000">
                      <a:srgbClr val="FFFFFF"/>
                    </a:gs>
                  </a:gsLst>
                  <a:lin ang="5400000" scaled="0"/>
                </a:gradFill>
              </a:endParaRPr>
            </a:p>
          </p:txBody>
        </p:sp>
        <p:grpSp>
          <p:nvGrpSpPr>
            <p:cNvPr id="29" name="Group 28"/>
            <p:cNvGrpSpPr/>
            <p:nvPr/>
          </p:nvGrpSpPr>
          <p:grpSpPr>
            <a:xfrm flipH="1">
              <a:off x="2554696" y="2173766"/>
              <a:ext cx="669355" cy="549207"/>
              <a:chOff x="2554696" y="2173766"/>
              <a:chExt cx="669355" cy="549207"/>
            </a:xfrm>
          </p:grpSpPr>
          <p:sp>
            <p:nvSpPr>
              <p:cNvPr id="85" name="Freeform 22"/>
              <p:cNvSpPr>
                <a:spLocks noEditPoints="1"/>
              </p:cNvSpPr>
              <p:nvPr/>
            </p:nvSpPr>
            <p:spPr bwMode="auto">
              <a:xfrm>
                <a:off x="2554696" y="2173766"/>
                <a:ext cx="344689" cy="403064"/>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8" name="Group 27"/>
              <p:cNvGrpSpPr/>
              <p:nvPr/>
            </p:nvGrpSpPr>
            <p:grpSpPr>
              <a:xfrm>
                <a:off x="2879362" y="2319909"/>
                <a:ext cx="344689" cy="403064"/>
                <a:chOff x="2879362" y="2319909"/>
                <a:chExt cx="344689" cy="403064"/>
              </a:xfrm>
            </p:grpSpPr>
            <p:sp>
              <p:nvSpPr>
                <p:cNvPr id="75" name="Freeform 22"/>
                <p:cNvSpPr>
                  <a:spLocks noEditPoints="1"/>
                </p:cNvSpPr>
                <p:nvPr/>
              </p:nvSpPr>
              <p:spPr bwMode="auto">
                <a:xfrm>
                  <a:off x="2879362" y="2319909"/>
                  <a:ext cx="344689" cy="403064"/>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tx1"/>
                </a:solidFill>
                <a:ln w="50800" cap="rnd">
                  <a:solidFill>
                    <a:schemeClr val="accent3"/>
                  </a:solidFill>
                </a:ln>
              </p:spPr>
              <p:txBody>
                <a:bodyPr vert="horz" wrap="square" lIns="91440" tIns="45720" rIns="91440" bIns="45720" numCol="1" anchor="t" anchorCtr="0" compatLnSpc="1">
                  <a:prstTxWarp prst="textNoShape">
                    <a:avLst/>
                  </a:prstTxWarp>
                </a:bodyPr>
                <a:lstStyle/>
                <a:p>
                  <a:endParaRPr lang="en-US"/>
                </a:p>
              </p:txBody>
            </p:sp>
            <p:sp>
              <p:nvSpPr>
                <p:cNvPr id="90" name="Freeform 22"/>
                <p:cNvSpPr>
                  <a:spLocks noEditPoints="1"/>
                </p:cNvSpPr>
                <p:nvPr/>
              </p:nvSpPr>
              <p:spPr bwMode="auto">
                <a:xfrm>
                  <a:off x="2879362" y="2319909"/>
                  <a:ext cx="344689" cy="403064"/>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grpSp>
      </p:grpSp>
      <p:grpSp>
        <p:nvGrpSpPr>
          <p:cNvPr id="57" name="Group 56"/>
          <p:cNvGrpSpPr/>
          <p:nvPr/>
        </p:nvGrpSpPr>
        <p:grpSpPr>
          <a:xfrm>
            <a:off x="6084754" y="1587224"/>
            <a:ext cx="1785006" cy="685800"/>
            <a:chOff x="8110893" y="1991171"/>
            <a:chExt cx="2379388" cy="914400"/>
          </a:xfrm>
        </p:grpSpPr>
        <p:sp>
          <p:nvSpPr>
            <p:cNvPr id="63" name="Freeform 62"/>
            <p:cNvSpPr/>
            <p:nvPr/>
          </p:nvSpPr>
          <p:spPr>
            <a:xfrm>
              <a:off x="8110893" y="1991171"/>
              <a:ext cx="2379388"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685609" fontAlgn="base">
                <a:spcBef>
                  <a:spcPct val="0"/>
                </a:spcBef>
                <a:spcAft>
                  <a:spcPct val="0"/>
                </a:spcAft>
              </a:pPr>
              <a:endParaRPr lang="en-US" sz="1500" dirty="0">
                <a:gradFill>
                  <a:gsLst>
                    <a:gs pos="0">
                      <a:srgbClr val="FFFFFF"/>
                    </a:gs>
                    <a:gs pos="100000">
                      <a:srgbClr val="FFFFFF"/>
                    </a:gs>
                  </a:gsLst>
                  <a:lin ang="5400000" scaled="0"/>
                </a:gradFill>
              </a:endParaRPr>
            </a:p>
          </p:txBody>
        </p:sp>
        <p:grpSp>
          <p:nvGrpSpPr>
            <p:cNvPr id="92" name="Group 91"/>
            <p:cNvGrpSpPr/>
            <p:nvPr/>
          </p:nvGrpSpPr>
          <p:grpSpPr>
            <a:xfrm flipH="1">
              <a:off x="8965910" y="2173766"/>
              <a:ext cx="669355" cy="549207"/>
              <a:chOff x="2554696" y="2173766"/>
              <a:chExt cx="669355" cy="549207"/>
            </a:xfrm>
          </p:grpSpPr>
          <p:sp>
            <p:nvSpPr>
              <p:cNvPr id="97" name="Freeform 22"/>
              <p:cNvSpPr>
                <a:spLocks noEditPoints="1"/>
              </p:cNvSpPr>
              <p:nvPr/>
            </p:nvSpPr>
            <p:spPr bwMode="auto">
              <a:xfrm>
                <a:off x="2554696" y="2173766"/>
                <a:ext cx="344689" cy="403064"/>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98" name="Group 97"/>
              <p:cNvGrpSpPr/>
              <p:nvPr/>
            </p:nvGrpSpPr>
            <p:grpSpPr>
              <a:xfrm>
                <a:off x="2879362" y="2319909"/>
                <a:ext cx="344689" cy="403064"/>
                <a:chOff x="2879362" y="2319909"/>
                <a:chExt cx="344689" cy="403064"/>
              </a:xfrm>
            </p:grpSpPr>
            <p:sp>
              <p:nvSpPr>
                <p:cNvPr id="100" name="Freeform 22"/>
                <p:cNvSpPr>
                  <a:spLocks noEditPoints="1"/>
                </p:cNvSpPr>
                <p:nvPr/>
              </p:nvSpPr>
              <p:spPr bwMode="auto">
                <a:xfrm>
                  <a:off x="2879362" y="2319909"/>
                  <a:ext cx="344689" cy="403064"/>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tx1"/>
                </a:solidFill>
                <a:ln w="50800" cap="rnd">
                  <a:solidFill>
                    <a:schemeClr val="accent1"/>
                  </a:solidFill>
                </a:ln>
              </p:spPr>
              <p:txBody>
                <a:bodyPr vert="horz" wrap="square" lIns="91440" tIns="45720" rIns="91440" bIns="45720" numCol="1" anchor="t" anchorCtr="0" compatLnSpc="1">
                  <a:prstTxWarp prst="textNoShape">
                    <a:avLst/>
                  </a:prstTxWarp>
                </a:bodyPr>
                <a:lstStyle/>
                <a:p>
                  <a:endParaRPr lang="en-US"/>
                </a:p>
              </p:txBody>
            </p:sp>
            <p:sp>
              <p:nvSpPr>
                <p:cNvPr id="101" name="Freeform 22"/>
                <p:cNvSpPr>
                  <a:spLocks noEditPoints="1"/>
                </p:cNvSpPr>
                <p:nvPr/>
              </p:nvSpPr>
              <p:spPr bwMode="auto">
                <a:xfrm>
                  <a:off x="2879362" y="2319909"/>
                  <a:ext cx="344689" cy="403064"/>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grpSp>
      </p:grpSp>
      <p:grpSp>
        <p:nvGrpSpPr>
          <p:cNvPr id="41" name="Group 40"/>
          <p:cNvGrpSpPr/>
          <p:nvPr/>
        </p:nvGrpSpPr>
        <p:grpSpPr>
          <a:xfrm>
            <a:off x="1275091" y="3039552"/>
            <a:ext cx="1785007" cy="685800"/>
            <a:chOff x="1699678" y="3904295"/>
            <a:chExt cx="2379390" cy="914400"/>
          </a:xfrm>
        </p:grpSpPr>
        <p:sp>
          <p:nvSpPr>
            <p:cNvPr id="45" name="Freeform 44"/>
            <p:cNvSpPr/>
            <p:nvPr/>
          </p:nvSpPr>
          <p:spPr>
            <a:xfrm>
              <a:off x="1699678" y="3904295"/>
              <a:ext cx="2379390"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685609" fontAlgn="base">
                <a:spcBef>
                  <a:spcPct val="0"/>
                </a:spcBef>
                <a:spcAft>
                  <a:spcPct val="0"/>
                </a:spcAft>
              </a:pPr>
              <a:endParaRPr lang="en-US" sz="1500" dirty="0">
                <a:gradFill>
                  <a:gsLst>
                    <a:gs pos="0">
                      <a:srgbClr val="FFFFFF"/>
                    </a:gs>
                    <a:gs pos="100000">
                      <a:srgbClr val="FFFFFF"/>
                    </a:gs>
                  </a:gsLst>
                  <a:lin ang="5400000" scaled="0"/>
                </a:gradFill>
              </a:endParaRPr>
            </a:p>
          </p:txBody>
        </p:sp>
        <p:grpSp>
          <p:nvGrpSpPr>
            <p:cNvPr id="34" name="Group 33"/>
            <p:cNvGrpSpPr/>
            <p:nvPr/>
          </p:nvGrpSpPr>
          <p:grpSpPr>
            <a:xfrm>
              <a:off x="2528015" y="3986487"/>
              <a:ext cx="722717" cy="770564"/>
              <a:chOff x="2423489" y="3986487"/>
              <a:chExt cx="722717" cy="770564"/>
            </a:xfrm>
          </p:grpSpPr>
          <p:sp>
            <p:nvSpPr>
              <p:cNvPr id="27" name="Freeform 37"/>
              <p:cNvSpPr>
                <a:spLocks noEditPoints="1"/>
              </p:cNvSpPr>
              <p:nvPr/>
            </p:nvSpPr>
            <p:spPr bwMode="auto">
              <a:xfrm>
                <a:off x="2649541" y="4389702"/>
                <a:ext cx="496665" cy="367349"/>
              </a:xfrm>
              <a:custGeom>
                <a:avLst/>
                <a:gdLst>
                  <a:gd name="T0" fmla="*/ 151 w 184"/>
                  <a:gd name="T1" fmla="*/ 69 h 136"/>
                  <a:gd name="T2" fmla="*/ 134 w 184"/>
                  <a:gd name="T3" fmla="*/ 74 h 136"/>
                  <a:gd name="T4" fmla="*/ 87 w 184"/>
                  <a:gd name="T5" fmla="*/ 44 h 136"/>
                  <a:gd name="T6" fmla="*/ 37 w 184"/>
                  <a:gd name="T7" fmla="*/ 85 h 136"/>
                  <a:gd name="T8" fmla="*/ 26 w 184"/>
                  <a:gd name="T9" fmla="*/ 83 h 136"/>
                  <a:gd name="T10" fmla="*/ 0 w 184"/>
                  <a:gd name="T11" fmla="*/ 109 h 136"/>
                  <a:gd name="T12" fmla="*/ 26 w 184"/>
                  <a:gd name="T13" fmla="*/ 136 h 136"/>
                  <a:gd name="T14" fmla="*/ 151 w 184"/>
                  <a:gd name="T15" fmla="*/ 136 h 136"/>
                  <a:gd name="T16" fmla="*/ 184 w 184"/>
                  <a:gd name="T17" fmla="*/ 102 h 136"/>
                  <a:gd name="T18" fmla="*/ 151 w 184"/>
                  <a:gd name="T19" fmla="*/ 69 h 136"/>
                  <a:gd name="T20" fmla="*/ 31 w 184"/>
                  <a:gd name="T21" fmla="*/ 63 h 136"/>
                  <a:gd name="T22" fmla="*/ 39 w 184"/>
                  <a:gd name="T23" fmla="*/ 58 h 136"/>
                  <a:gd name="T24" fmla="*/ 22 w 184"/>
                  <a:gd name="T25" fmla="*/ 32 h 136"/>
                  <a:gd name="T26" fmla="*/ 30 w 184"/>
                  <a:gd name="T27" fmla="*/ 10 h 136"/>
                  <a:gd name="T28" fmla="*/ 53 w 184"/>
                  <a:gd name="T29" fmla="*/ 12 h 136"/>
                  <a:gd name="T30" fmla="*/ 70 w 184"/>
                  <a:gd name="T31" fmla="*/ 38 h 136"/>
                  <a:gd name="T32" fmla="*/ 78 w 184"/>
                  <a:gd name="T33" fmla="*/ 33 h 136"/>
                  <a:gd name="T34" fmla="*/ 64 w 184"/>
                  <a:gd name="T35" fmla="*/ 12 h 136"/>
                  <a:gd name="T36" fmla="*/ 76 w 184"/>
                  <a:gd name="T37" fmla="*/ 4 h 136"/>
                  <a:gd name="T38" fmla="*/ 23 w 184"/>
                  <a:gd name="T39" fmla="*/ 0 h 136"/>
                  <a:gd name="T40" fmla="*/ 6 w 184"/>
                  <a:gd name="T41" fmla="*/ 50 h 136"/>
                  <a:gd name="T42" fmla="*/ 18 w 184"/>
                  <a:gd name="T43" fmla="*/ 42 h 136"/>
                  <a:gd name="T44" fmla="*/ 31 w 184"/>
                  <a:gd name="T45" fmla="*/ 6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4" h="136">
                    <a:moveTo>
                      <a:pt x="151" y="69"/>
                    </a:moveTo>
                    <a:cubicBezTo>
                      <a:pt x="145" y="69"/>
                      <a:pt x="139" y="71"/>
                      <a:pt x="134" y="74"/>
                    </a:cubicBezTo>
                    <a:cubicBezTo>
                      <a:pt x="125" y="56"/>
                      <a:pt x="108" y="44"/>
                      <a:pt x="87" y="44"/>
                    </a:cubicBezTo>
                    <a:cubicBezTo>
                      <a:pt x="62" y="44"/>
                      <a:pt x="42" y="62"/>
                      <a:pt x="37" y="85"/>
                    </a:cubicBezTo>
                    <a:cubicBezTo>
                      <a:pt x="33" y="83"/>
                      <a:pt x="30" y="83"/>
                      <a:pt x="26" y="83"/>
                    </a:cubicBezTo>
                    <a:cubicBezTo>
                      <a:pt x="11" y="83"/>
                      <a:pt x="0" y="94"/>
                      <a:pt x="0" y="109"/>
                    </a:cubicBezTo>
                    <a:cubicBezTo>
                      <a:pt x="0" y="124"/>
                      <a:pt x="11" y="136"/>
                      <a:pt x="26" y="136"/>
                    </a:cubicBezTo>
                    <a:cubicBezTo>
                      <a:pt x="151" y="136"/>
                      <a:pt x="151" y="136"/>
                      <a:pt x="151" y="136"/>
                    </a:cubicBezTo>
                    <a:cubicBezTo>
                      <a:pt x="169" y="136"/>
                      <a:pt x="184" y="121"/>
                      <a:pt x="184" y="102"/>
                    </a:cubicBezTo>
                    <a:cubicBezTo>
                      <a:pt x="184" y="84"/>
                      <a:pt x="169" y="69"/>
                      <a:pt x="151" y="69"/>
                    </a:cubicBezTo>
                    <a:close/>
                    <a:moveTo>
                      <a:pt x="31" y="63"/>
                    </a:moveTo>
                    <a:cubicBezTo>
                      <a:pt x="39" y="58"/>
                      <a:pt x="39" y="58"/>
                      <a:pt x="39" y="58"/>
                    </a:cubicBezTo>
                    <a:cubicBezTo>
                      <a:pt x="22" y="32"/>
                      <a:pt x="22" y="32"/>
                      <a:pt x="22" y="32"/>
                    </a:cubicBezTo>
                    <a:cubicBezTo>
                      <a:pt x="30" y="10"/>
                      <a:pt x="30" y="10"/>
                      <a:pt x="30" y="10"/>
                    </a:cubicBezTo>
                    <a:cubicBezTo>
                      <a:pt x="53" y="12"/>
                      <a:pt x="53" y="12"/>
                      <a:pt x="53" y="12"/>
                    </a:cubicBezTo>
                    <a:cubicBezTo>
                      <a:pt x="70" y="38"/>
                      <a:pt x="70" y="38"/>
                      <a:pt x="70" y="38"/>
                    </a:cubicBezTo>
                    <a:cubicBezTo>
                      <a:pt x="78" y="33"/>
                      <a:pt x="78" y="33"/>
                      <a:pt x="78" y="33"/>
                    </a:cubicBezTo>
                    <a:cubicBezTo>
                      <a:pt x="64" y="12"/>
                      <a:pt x="64" y="12"/>
                      <a:pt x="64" y="12"/>
                    </a:cubicBezTo>
                    <a:cubicBezTo>
                      <a:pt x="76" y="4"/>
                      <a:pt x="76" y="4"/>
                      <a:pt x="76" y="4"/>
                    </a:cubicBezTo>
                    <a:cubicBezTo>
                      <a:pt x="23" y="0"/>
                      <a:pt x="23" y="0"/>
                      <a:pt x="23" y="0"/>
                    </a:cubicBezTo>
                    <a:cubicBezTo>
                      <a:pt x="6" y="50"/>
                      <a:pt x="6" y="50"/>
                      <a:pt x="6" y="50"/>
                    </a:cubicBezTo>
                    <a:cubicBezTo>
                      <a:pt x="18" y="42"/>
                      <a:pt x="18" y="42"/>
                      <a:pt x="18" y="42"/>
                    </a:cubicBezTo>
                    <a:lnTo>
                      <a:pt x="31" y="6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2" name="Freeform 6"/>
              <p:cNvSpPr>
                <a:spLocks noChangeAspect="1" noEditPoints="1"/>
              </p:cNvSpPr>
              <p:nvPr/>
            </p:nvSpPr>
            <p:spPr bwMode="auto">
              <a:xfrm>
                <a:off x="2423489" y="3986487"/>
                <a:ext cx="291851" cy="383561"/>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grpSp>
      <p:sp>
        <p:nvSpPr>
          <p:cNvPr id="67"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68"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pic>
        <p:nvPicPr>
          <p:cNvPr id="69"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87586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decel="100000" fill="hold" nodeType="clickEffect">
                                  <p:stCondLst>
                                    <p:cond delay="0"/>
                                  </p:stCondLst>
                                  <p:childTnLst>
                                    <p:set>
                                      <p:cBhvr>
                                        <p:cTn id="6" dur="1" fill="hold">
                                          <p:stCondLst>
                                            <p:cond delay="0"/>
                                          </p:stCondLst>
                                        </p:cTn>
                                        <p:tgtEl>
                                          <p:spTgt spid="91"/>
                                        </p:tgtEl>
                                        <p:attrNameLst>
                                          <p:attrName>style.visibility</p:attrName>
                                        </p:attrNameLst>
                                      </p:cBhvr>
                                      <p:to>
                                        <p:strVal val="visible"/>
                                      </p:to>
                                    </p:set>
                                    <p:anim calcmode="lin" valueType="num">
                                      <p:cBhvr additive="base">
                                        <p:cTn id="7" dur="1000" fill="hold"/>
                                        <p:tgtEl>
                                          <p:spTgt spid="91"/>
                                        </p:tgtEl>
                                        <p:attrNameLst>
                                          <p:attrName>ppt_x</p:attrName>
                                        </p:attrNameLst>
                                      </p:cBhvr>
                                      <p:tavLst>
                                        <p:tav tm="0">
                                          <p:val>
                                            <p:strVal val="#ppt_x"/>
                                          </p:val>
                                        </p:tav>
                                        <p:tav tm="100000">
                                          <p:val>
                                            <p:strVal val="#ppt_x"/>
                                          </p:val>
                                        </p:tav>
                                      </p:tavLst>
                                    </p:anim>
                                    <p:anim calcmode="lin" valueType="num">
                                      <p:cBhvr additive="base">
                                        <p:cTn id="8" dur="1000" fill="hold"/>
                                        <p:tgtEl>
                                          <p:spTgt spid="91"/>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Freeform 94"/>
          <p:cNvSpPr/>
          <p:nvPr/>
        </p:nvSpPr>
        <p:spPr>
          <a:xfrm>
            <a:off x="-1" y="1691637"/>
            <a:ext cx="4527459" cy="2327471"/>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0" bIns="34291" numCol="1" rtlCol="0" anchor="ctr" anchorCtr="0" compatLnSpc="1">
            <a:prstTxWarp prst="textNoShape">
              <a:avLst/>
            </a:prstTxWarp>
          </a:bodyPr>
          <a:lstStyle/>
          <a:p>
            <a:pPr algn="ctr" defTabSz="685609"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112" name="Freeform 6"/>
          <p:cNvSpPr>
            <a:spLocks noEditPoints="1"/>
          </p:cNvSpPr>
          <p:nvPr/>
        </p:nvSpPr>
        <p:spPr bwMode="auto">
          <a:xfrm>
            <a:off x="2320299" y="1800348"/>
            <a:ext cx="226561" cy="456282"/>
          </a:xfrm>
          <a:custGeom>
            <a:avLst/>
            <a:gdLst>
              <a:gd name="T0" fmla="*/ 340 w 351"/>
              <a:gd name="T1" fmla="*/ 0 h 707"/>
              <a:gd name="T2" fmla="*/ 8 w 351"/>
              <a:gd name="T3" fmla="*/ 0 h 707"/>
              <a:gd name="T4" fmla="*/ 0 w 351"/>
              <a:gd name="T5" fmla="*/ 8 h 707"/>
              <a:gd name="T6" fmla="*/ 0 w 351"/>
              <a:gd name="T7" fmla="*/ 146 h 707"/>
              <a:gd name="T8" fmla="*/ 0 w 351"/>
              <a:gd name="T9" fmla="*/ 157 h 707"/>
              <a:gd name="T10" fmla="*/ 0 w 351"/>
              <a:gd name="T11" fmla="*/ 699 h 707"/>
              <a:gd name="T12" fmla="*/ 8 w 351"/>
              <a:gd name="T13" fmla="*/ 707 h 707"/>
              <a:gd name="T14" fmla="*/ 340 w 351"/>
              <a:gd name="T15" fmla="*/ 707 h 707"/>
              <a:gd name="T16" fmla="*/ 351 w 351"/>
              <a:gd name="T17" fmla="*/ 699 h 707"/>
              <a:gd name="T18" fmla="*/ 351 w 351"/>
              <a:gd name="T19" fmla="*/ 157 h 707"/>
              <a:gd name="T20" fmla="*/ 351 w 351"/>
              <a:gd name="T21" fmla="*/ 146 h 707"/>
              <a:gd name="T22" fmla="*/ 351 w 351"/>
              <a:gd name="T23" fmla="*/ 8 h 707"/>
              <a:gd name="T24" fmla="*/ 340 w 351"/>
              <a:gd name="T25" fmla="*/ 0 h 707"/>
              <a:gd name="T26" fmla="*/ 43 w 351"/>
              <a:gd name="T27" fmla="*/ 108 h 707"/>
              <a:gd name="T28" fmla="*/ 43 w 351"/>
              <a:gd name="T29" fmla="*/ 76 h 707"/>
              <a:gd name="T30" fmla="*/ 51 w 351"/>
              <a:gd name="T31" fmla="*/ 65 h 707"/>
              <a:gd name="T32" fmla="*/ 300 w 351"/>
              <a:gd name="T33" fmla="*/ 65 h 707"/>
              <a:gd name="T34" fmla="*/ 308 w 351"/>
              <a:gd name="T35" fmla="*/ 76 h 707"/>
              <a:gd name="T36" fmla="*/ 308 w 351"/>
              <a:gd name="T37" fmla="*/ 108 h 707"/>
              <a:gd name="T38" fmla="*/ 300 w 351"/>
              <a:gd name="T39" fmla="*/ 116 h 707"/>
              <a:gd name="T40" fmla="*/ 51 w 351"/>
              <a:gd name="T41" fmla="*/ 116 h 707"/>
              <a:gd name="T42" fmla="*/ 43 w 351"/>
              <a:gd name="T43" fmla="*/ 108 h 707"/>
              <a:gd name="T44" fmla="*/ 278 w 351"/>
              <a:gd name="T45" fmla="*/ 333 h 707"/>
              <a:gd name="T46" fmla="*/ 257 w 351"/>
              <a:gd name="T47" fmla="*/ 309 h 707"/>
              <a:gd name="T48" fmla="*/ 278 w 351"/>
              <a:gd name="T49" fmla="*/ 287 h 707"/>
              <a:gd name="T50" fmla="*/ 305 w 351"/>
              <a:gd name="T51" fmla="*/ 309 h 707"/>
              <a:gd name="T52" fmla="*/ 278 w 351"/>
              <a:gd name="T53" fmla="*/ 333 h 707"/>
              <a:gd name="T54" fmla="*/ 278 w 351"/>
              <a:gd name="T55" fmla="*/ 255 h 707"/>
              <a:gd name="T56" fmla="*/ 248 w 351"/>
              <a:gd name="T57" fmla="*/ 222 h 707"/>
              <a:gd name="T58" fmla="*/ 278 w 351"/>
              <a:gd name="T59" fmla="*/ 192 h 707"/>
              <a:gd name="T60" fmla="*/ 313 w 351"/>
              <a:gd name="T61" fmla="*/ 222 h 707"/>
              <a:gd name="T62" fmla="*/ 278 w 351"/>
              <a:gd name="T63" fmla="*/ 255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1" h="707">
                <a:moveTo>
                  <a:pt x="340" y="0"/>
                </a:moveTo>
                <a:cubicBezTo>
                  <a:pt x="8" y="0"/>
                  <a:pt x="8" y="0"/>
                  <a:pt x="8" y="0"/>
                </a:cubicBezTo>
                <a:cubicBezTo>
                  <a:pt x="5" y="0"/>
                  <a:pt x="0" y="2"/>
                  <a:pt x="0" y="8"/>
                </a:cubicBezTo>
                <a:cubicBezTo>
                  <a:pt x="0" y="146"/>
                  <a:pt x="0" y="146"/>
                  <a:pt x="0" y="146"/>
                </a:cubicBezTo>
                <a:cubicBezTo>
                  <a:pt x="0" y="157"/>
                  <a:pt x="0" y="157"/>
                  <a:pt x="0" y="157"/>
                </a:cubicBezTo>
                <a:cubicBezTo>
                  <a:pt x="0" y="699"/>
                  <a:pt x="0" y="699"/>
                  <a:pt x="0" y="699"/>
                </a:cubicBezTo>
                <a:cubicBezTo>
                  <a:pt x="0" y="704"/>
                  <a:pt x="5" y="707"/>
                  <a:pt x="8" y="707"/>
                </a:cubicBezTo>
                <a:cubicBezTo>
                  <a:pt x="340" y="707"/>
                  <a:pt x="340" y="707"/>
                  <a:pt x="340" y="707"/>
                </a:cubicBezTo>
                <a:cubicBezTo>
                  <a:pt x="346" y="707"/>
                  <a:pt x="351" y="704"/>
                  <a:pt x="351" y="699"/>
                </a:cubicBezTo>
                <a:cubicBezTo>
                  <a:pt x="351" y="157"/>
                  <a:pt x="351" y="157"/>
                  <a:pt x="351" y="157"/>
                </a:cubicBezTo>
                <a:cubicBezTo>
                  <a:pt x="351" y="146"/>
                  <a:pt x="351" y="146"/>
                  <a:pt x="351" y="146"/>
                </a:cubicBezTo>
                <a:cubicBezTo>
                  <a:pt x="351" y="8"/>
                  <a:pt x="351" y="8"/>
                  <a:pt x="351" y="8"/>
                </a:cubicBezTo>
                <a:cubicBezTo>
                  <a:pt x="351" y="2"/>
                  <a:pt x="346" y="0"/>
                  <a:pt x="340" y="0"/>
                </a:cubicBezTo>
                <a:close/>
                <a:moveTo>
                  <a:pt x="43" y="108"/>
                </a:moveTo>
                <a:cubicBezTo>
                  <a:pt x="43" y="76"/>
                  <a:pt x="43" y="76"/>
                  <a:pt x="43" y="76"/>
                </a:cubicBezTo>
                <a:cubicBezTo>
                  <a:pt x="43" y="70"/>
                  <a:pt x="46" y="65"/>
                  <a:pt x="51" y="65"/>
                </a:cubicBezTo>
                <a:cubicBezTo>
                  <a:pt x="300" y="65"/>
                  <a:pt x="300" y="65"/>
                  <a:pt x="300" y="65"/>
                </a:cubicBezTo>
                <a:cubicBezTo>
                  <a:pt x="305" y="65"/>
                  <a:pt x="308" y="70"/>
                  <a:pt x="308" y="76"/>
                </a:cubicBezTo>
                <a:cubicBezTo>
                  <a:pt x="308" y="108"/>
                  <a:pt x="308" y="108"/>
                  <a:pt x="308" y="108"/>
                </a:cubicBezTo>
                <a:cubicBezTo>
                  <a:pt x="308" y="114"/>
                  <a:pt x="305" y="116"/>
                  <a:pt x="300" y="116"/>
                </a:cubicBezTo>
                <a:cubicBezTo>
                  <a:pt x="51" y="116"/>
                  <a:pt x="51" y="116"/>
                  <a:pt x="51" y="116"/>
                </a:cubicBezTo>
                <a:cubicBezTo>
                  <a:pt x="46" y="116"/>
                  <a:pt x="43" y="114"/>
                  <a:pt x="43" y="108"/>
                </a:cubicBezTo>
                <a:close/>
                <a:moveTo>
                  <a:pt x="278" y="333"/>
                </a:moveTo>
                <a:cubicBezTo>
                  <a:pt x="267" y="333"/>
                  <a:pt x="257" y="322"/>
                  <a:pt x="257" y="309"/>
                </a:cubicBezTo>
                <a:cubicBezTo>
                  <a:pt x="257" y="298"/>
                  <a:pt x="267" y="287"/>
                  <a:pt x="278" y="287"/>
                </a:cubicBezTo>
                <a:cubicBezTo>
                  <a:pt x="292" y="287"/>
                  <a:pt x="305" y="298"/>
                  <a:pt x="305" y="309"/>
                </a:cubicBezTo>
                <a:cubicBezTo>
                  <a:pt x="305" y="322"/>
                  <a:pt x="292" y="333"/>
                  <a:pt x="278" y="333"/>
                </a:cubicBezTo>
                <a:close/>
                <a:moveTo>
                  <a:pt x="278" y="255"/>
                </a:moveTo>
                <a:cubicBezTo>
                  <a:pt x="262" y="255"/>
                  <a:pt x="248" y="241"/>
                  <a:pt x="248" y="222"/>
                </a:cubicBezTo>
                <a:cubicBezTo>
                  <a:pt x="248" y="206"/>
                  <a:pt x="262" y="192"/>
                  <a:pt x="278" y="192"/>
                </a:cubicBezTo>
                <a:cubicBezTo>
                  <a:pt x="297" y="192"/>
                  <a:pt x="313" y="206"/>
                  <a:pt x="313" y="222"/>
                </a:cubicBezTo>
                <a:cubicBezTo>
                  <a:pt x="313" y="241"/>
                  <a:pt x="297" y="255"/>
                  <a:pt x="278" y="2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6" tIns="34294" rIns="68586" bIns="34294" numCol="1" anchor="t" anchorCtr="0" compatLnSpc="1">
            <a:prstTxWarp prst="textNoShape">
              <a:avLst/>
            </a:prstTxWarp>
          </a:bodyPr>
          <a:lstStyle/>
          <a:p>
            <a:endParaRPr lang="en-US"/>
          </a:p>
        </p:txBody>
      </p:sp>
      <p:sp>
        <p:nvSpPr>
          <p:cNvPr id="96" name="Freeform 95"/>
          <p:cNvSpPr/>
          <p:nvPr/>
        </p:nvSpPr>
        <p:spPr>
          <a:xfrm>
            <a:off x="3548" y="1085851"/>
            <a:ext cx="4527459" cy="529397"/>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0" bIns="34291" numCol="1" rtlCol="0" anchor="ctr" anchorCtr="0" compatLnSpc="1">
            <a:prstTxWarp prst="textNoShape">
              <a:avLst/>
            </a:prstTxWarp>
          </a:bodyPr>
          <a:lstStyle/>
          <a:p>
            <a:pPr algn="ctr" defTabSz="685609" fontAlgn="base">
              <a:spcBef>
                <a:spcPct val="0"/>
              </a:spcBef>
              <a:spcAft>
                <a:spcPct val="0"/>
              </a:spcAft>
            </a:pPr>
            <a:r>
              <a:rPr lang="en-US" sz="1500" dirty="0">
                <a:gradFill>
                  <a:gsLst>
                    <a:gs pos="0">
                      <a:srgbClr val="FFFFFF"/>
                    </a:gs>
                    <a:gs pos="100000">
                      <a:srgbClr val="FFFFFF"/>
                    </a:gs>
                  </a:gsLst>
                  <a:lin ang="5400000" scaled="0"/>
                </a:gradFill>
              </a:rPr>
              <a:t>WINDOWS AZURE CONNECT</a:t>
            </a:r>
          </a:p>
        </p:txBody>
      </p:sp>
      <p:sp>
        <p:nvSpPr>
          <p:cNvPr id="98" name="Freeform 97"/>
          <p:cNvSpPr/>
          <p:nvPr/>
        </p:nvSpPr>
        <p:spPr>
          <a:xfrm>
            <a:off x="4625948" y="1691637"/>
            <a:ext cx="4527459" cy="2327471"/>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0" bIns="34291" numCol="1" rtlCol="0" anchor="ctr" anchorCtr="0" compatLnSpc="1">
            <a:prstTxWarp prst="textNoShape">
              <a:avLst/>
            </a:prstTxWarp>
          </a:bodyPr>
          <a:lstStyle/>
          <a:p>
            <a:pPr algn="ctr" defTabSz="685609"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99" name="Freeform 98"/>
          <p:cNvSpPr/>
          <p:nvPr/>
        </p:nvSpPr>
        <p:spPr>
          <a:xfrm>
            <a:off x="4629497" y="1085851"/>
            <a:ext cx="4527459" cy="529397"/>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0" bIns="34291" numCol="1" rtlCol="0" anchor="ctr" anchorCtr="0" compatLnSpc="1">
            <a:prstTxWarp prst="textNoShape">
              <a:avLst/>
            </a:prstTxWarp>
          </a:bodyPr>
          <a:lstStyle/>
          <a:p>
            <a:pPr algn="ctr" defTabSz="685609" fontAlgn="base">
              <a:spcBef>
                <a:spcPct val="0"/>
              </a:spcBef>
              <a:spcAft>
                <a:spcPct val="0"/>
              </a:spcAft>
            </a:pPr>
            <a:r>
              <a:rPr lang="en-US" sz="1500">
                <a:gradFill>
                  <a:gsLst>
                    <a:gs pos="0">
                      <a:srgbClr val="FFFFFF"/>
                    </a:gs>
                    <a:gs pos="100000">
                      <a:srgbClr val="FFFFFF"/>
                    </a:gs>
                  </a:gsLst>
                  <a:lin ang="5400000" scaled="0"/>
                </a:gradFill>
              </a:rPr>
              <a:t>WINDOWS AZURE VIRTUAL NETWORK</a:t>
            </a:r>
            <a:endParaRPr lang="en-US" sz="1500" dirty="0">
              <a:gradFill>
                <a:gsLst>
                  <a:gs pos="0">
                    <a:srgbClr val="FFFFFF"/>
                  </a:gs>
                  <a:gs pos="100000">
                    <a:srgbClr val="FFFFFF"/>
                  </a:gs>
                </a:gsLst>
                <a:lin ang="5400000" scaled="0"/>
              </a:gradFill>
            </a:endParaRPr>
          </a:p>
        </p:txBody>
      </p:sp>
      <p:sp>
        <p:nvSpPr>
          <p:cNvPr id="10" name="Title 9"/>
          <p:cNvSpPr>
            <a:spLocks noGrp="1"/>
          </p:cNvSpPr>
          <p:nvPr>
            <p:ph type="title"/>
          </p:nvPr>
        </p:nvSpPr>
        <p:spPr/>
        <p:txBody>
          <a:bodyPr/>
          <a:lstStyle/>
          <a:p>
            <a:r>
              <a:rPr lang="en-US" dirty="0" smtClean="0"/>
              <a:t>Azure Cross-premises </a:t>
            </a:r>
            <a:r>
              <a:rPr lang="en-US" dirty="0" smtClean="0">
                <a:gradFill flip="none" rotWithShape="1">
                  <a:gsLst>
                    <a:gs pos="0">
                      <a:schemeClr val="tx2"/>
                    </a:gs>
                    <a:gs pos="86000">
                      <a:schemeClr val="tx2"/>
                    </a:gs>
                  </a:gsLst>
                  <a:lin ang="5400000" scaled="0"/>
                  <a:tileRect/>
                </a:gradFill>
              </a:rPr>
              <a:t>Connectivity</a:t>
            </a:r>
            <a:endParaRPr lang="en-US" dirty="0">
              <a:gradFill flip="none" rotWithShape="1">
                <a:gsLst>
                  <a:gs pos="0">
                    <a:schemeClr val="tx2"/>
                  </a:gs>
                  <a:gs pos="86000">
                    <a:schemeClr val="tx2"/>
                  </a:gs>
                </a:gsLst>
                <a:lin ang="5400000" scaled="0"/>
                <a:tileRect/>
              </a:gradFill>
            </a:endParaRPr>
          </a:p>
        </p:txBody>
      </p:sp>
      <p:sp>
        <p:nvSpPr>
          <p:cNvPr id="136" name="TextBox 135"/>
          <p:cNvSpPr txBox="1"/>
          <p:nvPr/>
        </p:nvSpPr>
        <p:spPr>
          <a:xfrm>
            <a:off x="1261589" y="1787285"/>
            <a:ext cx="997524" cy="191574"/>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lIns="63996" tIns="31999" rIns="63996" bIns="31999" rtlCol="0">
            <a:spAutoFit/>
          </a:bodyPr>
          <a:lstStyle/>
          <a:p>
            <a:pPr algn="r" defTabSz="768014"/>
            <a:r>
              <a:rPr lang="en-US" sz="800" dirty="0">
                <a:solidFill>
                  <a:schemeClr val="tx1">
                    <a:alpha val="99000"/>
                  </a:schemeClr>
                </a:solidFill>
              </a:rPr>
              <a:t>Windows Azure</a:t>
            </a:r>
          </a:p>
        </p:txBody>
      </p:sp>
      <p:sp>
        <p:nvSpPr>
          <p:cNvPr id="100" name="Freeform 128"/>
          <p:cNvSpPr>
            <a:spLocks noChangeAspect="1"/>
          </p:cNvSpPr>
          <p:nvPr/>
        </p:nvSpPr>
        <p:spPr bwMode="black">
          <a:xfrm>
            <a:off x="2113309" y="1913233"/>
            <a:ext cx="2101767" cy="116074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68586" tIns="34294" rIns="68586" bIns="34294" numCol="1" anchor="t" anchorCtr="0" compatLnSpc="1">
            <a:prstTxWarp prst="textNoShape">
              <a:avLst/>
            </a:prstTxWarp>
          </a:bodyPr>
          <a:lstStyle/>
          <a:p>
            <a:endParaRPr lang="en-US"/>
          </a:p>
        </p:txBody>
      </p:sp>
      <p:grpSp>
        <p:nvGrpSpPr>
          <p:cNvPr id="7192" name="Group 7191"/>
          <p:cNvGrpSpPr/>
          <p:nvPr/>
        </p:nvGrpSpPr>
        <p:grpSpPr>
          <a:xfrm>
            <a:off x="1134095" y="2065959"/>
            <a:ext cx="1067346" cy="851923"/>
            <a:chOff x="2109072" y="2998873"/>
            <a:chExt cx="1707753" cy="1363075"/>
          </a:xfrm>
        </p:grpSpPr>
        <p:sp>
          <p:nvSpPr>
            <p:cNvPr id="7179" name="Oval 7178"/>
            <p:cNvSpPr/>
            <p:nvPr/>
          </p:nvSpPr>
          <p:spPr bwMode="auto">
            <a:xfrm>
              <a:off x="3690701" y="2998873"/>
              <a:ext cx="126124" cy="123172"/>
            </a:xfrm>
            <a:prstGeom prst="ellipse">
              <a:avLst/>
            </a:prstGeom>
            <a:solidFill>
              <a:schemeClr val="tx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39751"/>
              <a:endParaRPr lang="en-US" sz="1300" dirty="0">
                <a:gradFill>
                  <a:gsLst>
                    <a:gs pos="0">
                      <a:srgbClr val="FFFFFF"/>
                    </a:gs>
                    <a:gs pos="100000">
                      <a:srgbClr val="FFFFFF"/>
                    </a:gs>
                  </a:gsLst>
                  <a:lin ang="5400000" scaled="0"/>
                </a:gradFill>
              </a:endParaRPr>
            </a:p>
          </p:txBody>
        </p:sp>
        <p:sp>
          <p:nvSpPr>
            <p:cNvPr id="151" name="Oval 150"/>
            <p:cNvSpPr/>
            <p:nvPr/>
          </p:nvSpPr>
          <p:spPr bwMode="auto">
            <a:xfrm>
              <a:off x="2109072" y="4238776"/>
              <a:ext cx="126124" cy="123172"/>
            </a:xfrm>
            <a:prstGeom prst="ellipse">
              <a:avLst/>
            </a:prstGeom>
            <a:solidFill>
              <a:schemeClr val="tx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39751"/>
              <a:endParaRPr lang="en-US" sz="1300" dirty="0">
                <a:gradFill>
                  <a:gsLst>
                    <a:gs pos="0">
                      <a:srgbClr val="FFFFFF"/>
                    </a:gs>
                    <a:gs pos="100000">
                      <a:srgbClr val="FFFFFF"/>
                    </a:gs>
                  </a:gsLst>
                  <a:lin ang="5400000" scaled="0"/>
                </a:gradFill>
              </a:endParaRPr>
            </a:p>
          </p:txBody>
        </p:sp>
        <p:cxnSp>
          <p:nvCxnSpPr>
            <p:cNvPr id="7181" name="Straight Connector 7180"/>
            <p:cNvCxnSpPr/>
            <p:nvPr/>
          </p:nvCxnSpPr>
          <p:spPr>
            <a:xfrm flipV="1">
              <a:off x="2172134" y="3066565"/>
              <a:ext cx="1581629" cy="1232561"/>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7183" name="Straight Connector 7182"/>
          <p:cNvCxnSpPr>
            <a:stCxn id="7179" idx="3"/>
          </p:cNvCxnSpPr>
          <p:nvPr/>
        </p:nvCxnSpPr>
        <p:spPr>
          <a:xfrm flipH="1">
            <a:off x="1760351" y="2131665"/>
            <a:ext cx="373806" cy="942311"/>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85" name="Straight Connector 7184"/>
          <p:cNvCxnSpPr>
            <a:stCxn id="151" idx="7"/>
          </p:cNvCxnSpPr>
          <p:nvPr/>
        </p:nvCxnSpPr>
        <p:spPr>
          <a:xfrm flipV="1">
            <a:off x="1201379" y="2410312"/>
            <a:ext cx="1626505" cy="44186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70" name="Oval 169"/>
          <p:cNvSpPr/>
          <p:nvPr/>
        </p:nvSpPr>
        <p:spPr bwMode="auto">
          <a:xfrm>
            <a:off x="1720937" y="3034986"/>
            <a:ext cx="78828" cy="76982"/>
          </a:xfrm>
          <a:prstGeom prst="ellipse">
            <a:avLst/>
          </a:prstGeom>
          <a:solidFill>
            <a:schemeClr val="tx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3993" tIns="31997" rIns="63993" bIns="31997" numCol="1" rtlCol="0" anchor="ctr" anchorCtr="0" compatLnSpc="1">
            <a:prstTxWarp prst="textNoShape">
              <a:avLst/>
            </a:prstTxWarp>
          </a:bodyPr>
          <a:lstStyle/>
          <a:p>
            <a:pPr algn="ctr" defTabSz="639751"/>
            <a:endParaRPr lang="en-US" sz="1300" dirty="0">
              <a:gradFill>
                <a:gsLst>
                  <a:gs pos="0">
                    <a:srgbClr val="FFFFFF"/>
                  </a:gs>
                  <a:gs pos="100000">
                    <a:srgbClr val="FFFFFF"/>
                  </a:gs>
                </a:gsLst>
                <a:lin ang="5400000" scaled="0"/>
              </a:gradFill>
            </a:endParaRPr>
          </a:p>
        </p:txBody>
      </p:sp>
      <p:sp>
        <p:nvSpPr>
          <p:cNvPr id="171" name="Oval 170"/>
          <p:cNvSpPr/>
          <p:nvPr/>
        </p:nvSpPr>
        <p:spPr bwMode="auto">
          <a:xfrm>
            <a:off x="2788469" y="2371822"/>
            <a:ext cx="78828" cy="76982"/>
          </a:xfrm>
          <a:prstGeom prst="ellipse">
            <a:avLst/>
          </a:prstGeom>
          <a:solidFill>
            <a:schemeClr val="accent5"/>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3993" tIns="31997" rIns="63993" bIns="31997" numCol="1" rtlCol="0" anchor="ctr" anchorCtr="0" compatLnSpc="1">
            <a:prstTxWarp prst="textNoShape">
              <a:avLst/>
            </a:prstTxWarp>
          </a:bodyPr>
          <a:lstStyle/>
          <a:p>
            <a:pPr algn="ctr" defTabSz="639751"/>
            <a:endParaRPr lang="en-US" sz="1300" dirty="0">
              <a:gradFill>
                <a:gsLst>
                  <a:gs pos="0">
                    <a:srgbClr val="FFFFFF"/>
                  </a:gs>
                  <a:gs pos="100000">
                    <a:srgbClr val="FFFFFF"/>
                  </a:gs>
                </a:gsLst>
                <a:lin ang="5400000" scaled="0"/>
              </a:gradFill>
            </a:endParaRPr>
          </a:p>
        </p:txBody>
      </p:sp>
      <p:grpSp>
        <p:nvGrpSpPr>
          <p:cNvPr id="11" name="Group 10"/>
          <p:cNvGrpSpPr/>
          <p:nvPr/>
        </p:nvGrpSpPr>
        <p:grpSpPr>
          <a:xfrm>
            <a:off x="193202" y="4079316"/>
            <a:ext cx="3701173" cy="828580"/>
            <a:chOff x="2218425" y="6526917"/>
            <a:chExt cx="5921878" cy="1325729"/>
          </a:xfrm>
        </p:grpSpPr>
        <p:sp>
          <p:nvSpPr>
            <p:cNvPr id="103" name="TextBox 102"/>
            <p:cNvSpPr txBox="1"/>
            <p:nvPr/>
          </p:nvSpPr>
          <p:spPr>
            <a:xfrm>
              <a:off x="3433214" y="6558744"/>
              <a:ext cx="4707089" cy="453077"/>
            </a:xfrm>
            <a:prstGeom prst="rect">
              <a:avLst/>
            </a:prstGeom>
            <a:noFill/>
          </p:spPr>
          <p:txBody>
            <a:bodyPr wrap="square" lIns="109746" tIns="54873" rIns="109746" bIns="54873" rtlCol="0" anchor="ctr">
              <a:spAutoFit/>
            </a:bodyPr>
            <a:lstStyle/>
            <a:p>
              <a:pPr marL="4002" indent="-4002" defTabSz="768014">
                <a:lnSpc>
                  <a:spcPct val="80000"/>
                </a:lnSpc>
              </a:pPr>
              <a:r>
                <a:rPr lang="en-US" dirty="0">
                  <a:solidFill>
                    <a:schemeClr val="tx1">
                      <a:alpha val="99000"/>
                    </a:schemeClr>
                  </a:solidFill>
                  <a:ea typeface="Segoe UI" pitchFamily="34" charset="0"/>
                  <a:cs typeface="Segoe UI" pitchFamily="34" charset="0"/>
                </a:rPr>
                <a:t>SIMPLE TO SETUP AND MANAGE</a:t>
              </a:r>
            </a:p>
          </p:txBody>
        </p:sp>
        <p:sp>
          <p:nvSpPr>
            <p:cNvPr id="104" name="TextBox 103"/>
            <p:cNvSpPr txBox="1"/>
            <p:nvPr/>
          </p:nvSpPr>
          <p:spPr>
            <a:xfrm>
              <a:off x="3433214" y="6904557"/>
              <a:ext cx="2118176" cy="522018"/>
            </a:xfrm>
            <a:prstGeom prst="rect">
              <a:avLst/>
            </a:prstGeom>
            <a:noFill/>
          </p:spPr>
          <p:txBody>
            <a:bodyPr wrap="none" lIns="109746" tIns="54873" rIns="109746" bIns="54873" rtlCol="0" anchor="ctr">
              <a:spAutoFit/>
            </a:bodyPr>
            <a:lstStyle/>
            <a:p>
              <a:pPr defTabSz="511965"/>
              <a:r>
                <a:rPr lang="en-US" dirty="0">
                  <a:solidFill>
                    <a:schemeClr val="tx1">
                      <a:alpha val="99000"/>
                    </a:schemeClr>
                  </a:solidFill>
                  <a:ea typeface="Segoe UI" pitchFamily="34" charset="0"/>
                  <a:cs typeface="Segoe UI" pitchFamily="34" charset="0"/>
                </a:rPr>
                <a:t>E2E SECURITY</a:t>
              </a:r>
            </a:p>
          </p:txBody>
        </p:sp>
        <p:sp>
          <p:nvSpPr>
            <p:cNvPr id="105" name="TextBox 104"/>
            <p:cNvSpPr txBox="1"/>
            <p:nvPr/>
          </p:nvSpPr>
          <p:spPr>
            <a:xfrm>
              <a:off x="3433214" y="7330628"/>
              <a:ext cx="3185956" cy="522018"/>
            </a:xfrm>
            <a:prstGeom prst="rect">
              <a:avLst/>
            </a:prstGeom>
            <a:noFill/>
          </p:spPr>
          <p:txBody>
            <a:bodyPr wrap="none" lIns="109746" tIns="54873" rIns="109746" bIns="54873" rtlCol="0" anchor="ctr">
              <a:spAutoFit/>
            </a:bodyPr>
            <a:lstStyle>
              <a:defPPr>
                <a:defRPr lang="en-US"/>
              </a:defPPr>
              <a:lvl1pPr algn="ctr" defTabSz="731513">
                <a:defRPr sz="2000">
                  <a:solidFill>
                    <a:schemeClr val="tx1">
                      <a:lumMod val="95000"/>
                      <a:lumOff val="5000"/>
                      <a:alpha val="99000"/>
                    </a:schemeClr>
                  </a:solidFill>
                  <a:ea typeface="Segoe UI" pitchFamily="34" charset="0"/>
                  <a:cs typeface="Segoe UI" pitchFamily="34" charset="0"/>
                </a:defRPr>
              </a:lvl1pPr>
            </a:lstStyle>
            <a:p>
              <a:pPr algn="l"/>
              <a:r>
                <a:rPr lang="en-US" sz="1400" dirty="0">
                  <a:solidFill>
                    <a:schemeClr val="tx1">
                      <a:alpha val="99000"/>
                    </a:schemeClr>
                  </a:solidFill>
                </a:rPr>
                <a:t>RAPID PROVISIONING</a:t>
              </a:r>
            </a:p>
          </p:txBody>
        </p:sp>
        <p:sp>
          <p:nvSpPr>
            <p:cNvPr id="7194" name="Left Brace 7193"/>
            <p:cNvSpPr/>
            <p:nvPr/>
          </p:nvSpPr>
          <p:spPr>
            <a:xfrm>
              <a:off x="3284718" y="6526917"/>
              <a:ext cx="201809" cy="1274013"/>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768014"/>
              <a:endParaRPr lang="en-US" sz="1500" b="1">
                <a:solidFill>
                  <a:prstClr val="black"/>
                </a:solidFill>
              </a:endParaRPr>
            </a:p>
          </p:txBody>
        </p:sp>
        <p:sp>
          <p:nvSpPr>
            <p:cNvPr id="226" name="TextBox 225"/>
            <p:cNvSpPr txBox="1"/>
            <p:nvPr/>
          </p:nvSpPr>
          <p:spPr>
            <a:xfrm>
              <a:off x="2218425" y="6909472"/>
              <a:ext cx="999819" cy="522018"/>
            </a:xfrm>
            <a:prstGeom prst="rect">
              <a:avLst/>
            </a:prstGeom>
            <a:noFill/>
          </p:spPr>
          <p:txBody>
            <a:bodyPr wrap="none" lIns="109746" tIns="54873" rIns="109746" bIns="54873" rtlCol="0" anchor="ctr">
              <a:spAutoFit/>
            </a:bodyPr>
            <a:lstStyle/>
            <a:p>
              <a:pPr algn="ctr" defTabSz="511965"/>
              <a:r>
                <a:rPr lang="en-US" dirty="0">
                  <a:solidFill>
                    <a:schemeClr val="tx1">
                      <a:alpha val="99000"/>
                    </a:schemeClr>
                  </a:solidFill>
                  <a:ea typeface="Segoe UI" pitchFamily="34" charset="0"/>
                  <a:cs typeface="Segoe UI" pitchFamily="34" charset="0"/>
                </a:rPr>
                <a:t>EASY</a:t>
              </a:r>
            </a:p>
          </p:txBody>
        </p:sp>
      </p:grpSp>
      <p:grpSp>
        <p:nvGrpSpPr>
          <p:cNvPr id="9" name="Group 8"/>
          <p:cNvGrpSpPr/>
          <p:nvPr/>
        </p:nvGrpSpPr>
        <p:grpSpPr>
          <a:xfrm>
            <a:off x="4683489" y="4095106"/>
            <a:ext cx="3910406" cy="826558"/>
            <a:chOff x="6774197" y="6552164"/>
            <a:chExt cx="6256648" cy="1322491"/>
          </a:xfrm>
        </p:grpSpPr>
        <p:sp>
          <p:nvSpPr>
            <p:cNvPr id="106" name="TextBox 105"/>
            <p:cNvSpPr txBox="1"/>
            <p:nvPr/>
          </p:nvSpPr>
          <p:spPr>
            <a:xfrm>
              <a:off x="9840542" y="6558102"/>
              <a:ext cx="3099369" cy="522017"/>
            </a:xfrm>
            <a:prstGeom prst="rect">
              <a:avLst/>
            </a:prstGeom>
            <a:noFill/>
          </p:spPr>
          <p:txBody>
            <a:bodyPr wrap="none" lIns="109746" tIns="54873" rIns="109746" bIns="54873" rtlCol="0" anchor="ctr">
              <a:spAutoFit/>
            </a:bodyPr>
            <a:lstStyle/>
            <a:p>
              <a:pPr algn="ctr" defTabSz="511965"/>
              <a:r>
                <a:rPr lang="en-US" dirty="0">
                  <a:solidFill>
                    <a:schemeClr val="tx1">
                      <a:alpha val="99000"/>
                    </a:schemeClr>
                  </a:solidFill>
                  <a:ea typeface="Segoe UI" pitchFamily="34" charset="0"/>
                  <a:cs typeface="Segoe UI" pitchFamily="34" charset="0"/>
                </a:rPr>
                <a:t>COMPLETE CONTROL</a:t>
              </a:r>
            </a:p>
          </p:txBody>
        </p:sp>
        <p:sp>
          <p:nvSpPr>
            <p:cNvPr id="107" name="TextBox 106"/>
            <p:cNvSpPr txBox="1"/>
            <p:nvPr/>
          </p:nvSpPr>
          <p:spPr>
            <a:xfrm>
              <a:off x="9826358" y="6976695"/>
              <a:ext cx="1645329" cy="522017"/>
            </a:xfrm>
            <a:prstGeom prst="rect">
              <a:avLst/>
            </a:prstGeom>
            <a:noFill/>
          </p:spPr>
          <p:txBody>
            <a:bodyPr wrap="none" lIns="109746" tIns="54873" rIns="109746" bIns="54873" rtlCol="0" anchor="ctr">
              <a:spAutoFit/>
            </a:bodyPr>
            <a:lstStyle>
              <a:defPPr>
                <a:defRPr lang="en-US"/>
              </a:defPPr>
              <a:lvl1pPr algn="ctr" defTabSz="731513">
                <a:defRPr sz="2000">
                  <a:solidFill>
                    <a:schemeClr val="tx1">
                      <a:lumMod val="95000"/>
                      <a:lumOff val="5000"/>
                      <a:alpha val="99000"/>
                    </a:schemeClr>
                  </a:solidFill>
                  <a:ea typeface="Segoe UI" pitchFamily="34" charset="0"/>
                  <a:cs typeface="Segoe UI" pitchFamily="34" charset="0"/>
                </a:defRPr>
              </a:lvl1pPr>
            </a:lstStyle>
            <a:p>
              <a:pPr defTabSz="511965"/>
              <a:r>
                <a:rPr lang="en-US" sz="1400" dirty="0">
                  <a:solidFill>
                    <a:schemeClr val="tx1">
                      <a:alpha val="99000"/>
                    </a:schemeClr>
                  </a:solidFill>
                </a:rPr>
                <a:t>SCALABLE</a:t>
              </a:r>
            </a:p>
          </p:txBody>
        </p:sp>
        <p:sp>
          <p:nvSpPr>
            <p:cNvPr id="35" name="TextBox 34"/>
            <p:cNvSpPr txBox="1"/>
            <p:nvPr/>
          </p:nvSpPr>
          <p:spPr>
            <a:xfrm>
              <a:off x="9839657" y="7352638"/>
              <a:ext cx="3191188" cy="522017"/>
            </a:xfrm>
            <a:prstGeom prst="rect">
              <a:avLst/>
            </a:prstGeom>
            <a:noFill/>
          </p:spPr>
          <p:txBody>
            <a:bodyPr wrap="none" lIns="109746" tIns="54873" rIns="109746" bIns="54873" rtlCol="0" anchor="ctr">
              <a:spAutoFit/>
            </a:bodyPr>
            <a:lstStyle>
              <a:defPPr>
                <a:defRPr lang="en-US"/>
              </a:defPPr>
              <a:lvl1pPr algn="ctr" defTabSz="731513">
                <a:defRPr sz="2000">
                  <a:solidFill>
                    <a:schemeClr val="tx1">
                      <a:lumMod val="95000"/>
                      <a:lumOff val="5000"/>
                      <a:alpha val="99000"/>
                    </a:schemeClr>
                  </a:solidFill>
                  <a:ea typeface="Segoe UI" pitchFamily="34" charset="0"/>
                  <a:cs typeface="Segoe UI" pitchFamily="34" charset="0"/>
                </a:defRPr>
              </a:lvl1pPr>
            </a:lstStyle>
            <a:p>
              <a:pPr defTabSz="511965"/>
              <a:r>
                <a:rPr lang="en-US" sz="1400" dirty="0">
                  <a:solidFill>
                    <a:schemeClr val="tx1">
                      <a:alpha val="99000"/>
                    </a:schemeClr>
                  </a:solidFill>
                </a:rPr>
                <a:t>COMPLEX SCENARIOS</a:t>
              </a:r>
            </a:p>
          </p:txBody>
        </p:sp>
        <p:sp>
          <p:nvSpPr>
            <p:cNvPr id="227" name="Left Brace 226"/>
            <p:cNvSpPr/>
            <p:nvPr/>
          </p:nvSpPr>
          <p:spPr>
            <a:xfrm>
              <a:off x="9729388" y="6552164"/>
              <a:ext cx="201809" cy="1274013"/>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768014"/>
              <a:endParaRPr lang="en-US" sz="1500" b="1">
                <a:solidFill>
                  <a:prstClr val="black"/>
                </a:solidFill>
              </a:endParaRPr>
            </a:p>
          </p:txBody>
        </p:sp>
        <p:sp>
          <p:nvSpPr>
            <p:cNvPr id="228" name="TextBox 227"/>
            <p:cNvSpPr txBox="1"/>
            <p:nvPr/>
          </p:nvSpPr>
          <p:spPr>
            <a:xfrm>
              <a:off x="6774197" y="6934050"/>
              <a:ext cx="2877257" cy="522017"/>
            </a:xfrm>
            <a:prstGeom prst="rect">
              <a:avLst/>
            </a:prstGeom>
            <a:noFill/>
          </p:spPr>
          <p:txBody>
            <a:bodyPr wrap="none" lIns="109746" tIns="54873" rIns="109746" bIns="54873" rtlCol="0" anchor="ctr">
              <a:spAutoFit/>
            </a:bodyPr>
            <a:lstStyle/>
            <a:p>
              <a:pPr algn="ctr" defTabSz="511965"/>
              <a:r>
                <a:rPr lang="en-US" dirty="0">
                  <a:solidFill>
                    <a:schemeClr val="tx1">
                      <a:alpha val="99000"/>
                    </a:schemeClr>
                  </a:solidFill>
                  <a:ea typeface="Segoe UI" pitchFamily="34" charset="0"/>
                  <a:cs typeface="Segoe UI" pitchFamily="34" charset="0"/>
                </a:rPr>
                <a:t>ENTERPRISE-READY</a:t>
              </a:r>
            </a:p>
          </p:txBody>
        </p:sp>
      </p:grpSp>
      <p:sp>
        <p:nvSpPr>
          <p:cNvPr id="111" name="Freeform 6"/>
          <p:cNvSpPr>
            <a:spLocks noEditPoints="1"/>
          </p:cNvSpPr>
          <p:nvPr/>
        </p:nvSpPr>
        <p:spPr bwMode="auto">
          <a:xfrm>
            <a:off x="2919579" y="2294216"/>
            <a:ext cx="309672" cy="623664"/>
          </a:xfrm>
          <a:custGeom>
            <a:avLst/>
            <a:gdLst>
              <a:gd name="T0" fmla="*/ 340 w 351"/>
              <a:gd name="T1" fmla="*/ 0 h 707"/>
              <a:gd name="T2" fmla="*/ 8 w 351"/>
              <a:gd name="T3" fmla="*/ 0 h 707"/>
              <a:gd name="T4" fmla="*/ 0 w 351"/>
              <a:gd name="T5" fmla="*/ 8 h 707"/>
              <a:gd name="T6" fmla="*/ 0 w 351"/>
              <a:gd name="T7" fmla="*/ 146 h 707"/>
              <a:gd name="T8" fmla="*/ 0 w 351"/>
              <a:gd name="T9" fmla="*/ 157 h 707"/>
              <a:gd name="T10" fmla="*/ 0 w 351"/>
              <a:gd name="T11" fmla="*/ 699 h 707"/>
              <a:gd name="T12" fmla="*/ 8 w 351"/>
              <a:gd name="T13" fmla="*/ 707 h 707"/>
              <a:gd name="T14" fmla="*/ 340 w 351"/>
              <a:gd name="T15" fmla="*/ 707 h 707"/>
              <a:gd name="T16" fmla="*/ 351 w 351"/>
              <a:gd name="T17" fmla="*/ 699 h 707"/>
              <a:gd name="T18" fmla="*/ 351 w 351"/>
              <a:gd name="T19" fmla="*/ 157 h 707"/>
              <a:gd name="T20" fmla="*/ 351 w 351"/>
              <a:gd name="T21" fmla="*/ 146 h 707"/>
              <a:gd name="T22" fmla="*/ 351 w 351"/>
              <a:gd name="T23" fmla="*/ 8 h 707"/>
              <a:gd name="T24" fmla="*/ 340 w 351"/>
              <a:gd name="T25" fmla="*/ 0 h 707"/>
              <a:gd name="T26" fmla="*/ 43 w 351"/>
              <a:gd name="T27" fmla="*/ 108 h 707"/>
              <a:gd name="T28" fmla="*/ 43 w 351"/>
              <a:gd name="T29" fmla="*/ 76 h 707"/>
              <a:gd name="T30" fmla="*/ 51 w 351"/>
              <a:gd name="T31" fmla="*/ 65 h 707"/>
              <a:gd name="T32" fmla="*/ 300 w 351"/>
              <a:gd name="T33" fmla="*/ 65 h 707"/>
              <a:gd name="T34" fmla="*/ 308 w 351"/>
              <a:gd name="T35" fmla="*/ 76 h 707"/>
              <a:gd name="T36" fmla="*/ 308 w 351"/>
              <a:gd name="T37" fmla="*/ 108 h 707"/>
              <a:gd name="T38" fmla="*/ 300 w 351"/>
              <a:gd name="T39" fmla="*/ 116 h 707"/>
              <a:gd name="T40" fmla="*/ 51 w 351"/>
              <a:gd name="T41" fmla="*/ 116 h 707"/>
              <a:gd name="T42" fmla="*/ 43 w 351"/>
              <a:gd name="T43" fmla="*/ 108 h 707"/>
              <a:gd name="T44" fmla="*/ 278 w 351"/>
              <a:gd name="T45" fmla="*/ 333 h 707"/>
              <a:gd name="T46" fmla="*/ 257 w 351"/>
              <a:gd name="T47" fmla="*/ 309 h 707"/>
              <a:gd name="T48" fmla="*/ 278 w 351"/>
              <a:gd name="T49" fmla="*/ 287 h 707"/>
              <a:gd name="T50" fmla="*/ 305 w 351"/>
              <a:gd name="T51" fmla="*/ 309 h 707"/>
              <a:gd name="T52" fmla="*/ 278 w 351"/>
              <a:gd name="T53" fmla="*/ 333 h 707"/>
              <a:gd name="T54" fmla="*/ 278 w 351"/>
              <a:gd name="T55" fmla="*/ 255 h 707"/>
              <a:gd name="T56" fmla="*/ 248 w 351"/>
              <a:gd name="T57" fmla="*/ 222 h 707"/>
              <a:gd name="T58" fmla="*/ 278 w 351"/>
              <a:gd name="T59" fmla="*/ 192 h 707"/>
              <a:gd name="T60" fmla="*/ 313 w 351"/>
              <a:gd name="T61" fmla="*/ 222 h 707"/>
              <a:gd name="T62" fmla="*/ 278 w 351"/>
              <a:gd name="T63" fmla="*/ 255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1" h="707">
                <a:moveTo>
                  <a:pt x="340" y="0"/>
                </a:moveTo>
                <a:cubicBezTo>
                  <a:pt x="8" y="0"/>
                  <a:pt x="8" y="0"/>
                  <a:pt x="8" y="0"/>
                </a:cubicBezTo>
                <a:cubicBezTo>
                  <a:pt x="5" y="0"/>
                  <a:pt x="0" y="2"/>
                  <a:pt x="0" y="8"/>
                </a:cubicBezTo>
                <a:cubicBezTo>
                  <a:pt x="0" y="146"/>
                  <a:pt x="0" y="146"/>
                  <a:pt x="0" y="146"/>
                </a:cubicBezTo>
                <a:cubicBezTo>
                  <a:pt x="0" y="157"/>
                  <a:pt x="0" y="157"/>
                  <a:pt x="0" y="157"/>
                </a:cubicBezTo>
                <a:cubicBezTo>
                  <a:pt x="0" y="699"/>
                  <a:pt x="0" y="699"/>
                  <a:pt x="0" y="699"/>
                </a:cubicBezTo>
                <a:cubicBezTo>
                  <a:pt x="0" y="704"/>
                  <a:pt x="5" y="707"/>
                  <a:pt x="8" y="707"/>
                </a:cubicBezTo>
                <a:cubicBezTo>
                  <a:pt x="340" y="707"/>
                  <a:pt x="340" y="707"/>
                  <a:pt x="340" y="707"/>
                </a:cubicBezTo>
                <a:cubicBezTo>
                  <a:pt x="346" y="707"/>
                  <a:pt x="351" y="704"/>
                  <a:pt x="351" y="699"/>
                </a:cubicBezTo>
                <a:cubicBezTo>
                  <a:pt x="351" y="157"/>
                  <a:pt x="351" y="157"/>
                  <a:pt x="351" y="157"/>
                </a:cubicBezTo>
                <a:cubicBezTo>
                  <a:pt x="351" y="146"/>
                  <a:pt x="351" y="146"/>
                  <a:pt x="351" y="146"/>
                </a:cubicBezTo>
                <a:cubicBezTo>
                  <a:pt x="351" y="8"/>
                  <a:pt x="351" y="8"/>
                  <a:pt x="351" y="8"/>
                </a:cubicBezTo>
                <a:cubicBezTo>
                  <a:pt x="351" y="2"/>
                  <a:pt x="346" y="0"/>
                  <a:pt x="340" y="0"/>
                </a:cubicBezTo>
                <a:close/>
                <a:moveTo>
                  <a:pt x="43" y="108"/>
                </a:moveTo>
                <a:cubicBezTo>
                  <a:pt x="43" y="76"/>
                  <a:pt x="43" y="76"/>
                  <a:pt x="43" y="76"/>
                </a:cubicBezTo>
                <a:cubicBezTo>
                  <a:pt x="43" y="70"/>
                  <a:pt x="46" y="65"/>
                  <a:pt x="51" y="65"/>
                </a:cubicBezTo>
                <a:cubicBezTo>
                  <a:pt x="300" y="65"/>
                  <a:pt x="300" y="65"/>
                  <a:pt x="300" y="65"/>
                </a:cubicBezTo>
                <a:cubicBezTo>
                  <a:pt x="305" y="65"/>
                  <a:pt x="308" y="70"/>
                  <a:pt x="308" y="76"/>
                </a:cubicBezTo>
                <a:cubicBezTo>
                  <a:pt x="308" y="108"/>
                  <a:pt x="308" y="108"/>
                  <a:pt x="308" y="108"/>
                </a:cubicBezTo>
                <a:cubicBezTo>
                  <a:pt x="308" y="114"/>
                  <a:pt x="305" y="116"/>
                  <a:pt x="300" y="116"/>
                </a:cubicBezTo>
                <a:cubicBezTo>
                  <a:pt x="51" y="116"/>
                  <a:pt x="51" y="116"/>
                  <a:pt x="51" y="116"/>
                </a:cubicBezTo>
                <a:cubicBezTo>
                  <a:pt x="46" y="116"/>
                  <a:pt x="43" y="114"/>
                  <a:pt x="43" y="108"/>
                </a:cubicBezTo>
                <a:close/>
                <a:moveTo>
                  <a:pt x="278" y="333"/>
                </a:moveTo>
                <a:cubicBezTo>
                  <a:pt x="267" y="333"/>
                  <a:pt x="257" y="322"/>
                  <a:pt x="257" y="309"/>
                </a:cubicBezTo>
                <a:cubicBezTo>
                  <a:pt x="257" y="298"/>
                  <a:pt x="267" y="287"/>
                  <a:pt x="278" y="287"/>
                </a:cubicBezTo>
                <a:cubicBezTo>
                  <a:pt x="292" y="287"/>
                  <a:pt x="305" y="298"/>
                  <a:pt x="305" y="309"/>
                </a:cubicBezTo>
                <a:cubicBezTo>
                  <a:pt x="305" y="322"/>
                  <a:pt x="292" y="333"/>
                  <a:pt x="278" y="333"/>
                </a:cubicBezTo>
                <a:close/>
                <a:moveTo>
                  <a:pt x="278" y="255"/>
                </a:moveTo>
                <a:cubicBezTo>
                  <a:pt x="262" y="255"/>
                  <a:pt x="248" y="241"/>
                  <a:pt x="248" y="222"/>
                </a:cubicBezTo>
                <a:cubicBezTo>
                  <a:pt x="248" y="206"/>
                  <a:pt x="262" y="192"/>
                  <a:pt x="278" y="192"/>
                </a:cubicBezTo>
                <a:cubicBezTo>
                  <a:pt x="297" y="192"/>
                  <a:pt x="313" y="206"/>
                  <a:pt x="313" y="222"/>
                </a:cubicBezTo>
                <a:cubicBezTo>
                  <a:pt x="313" y="241"/>
                  <a:pt x="297" y="255"/>
                  <a:pt x="278" y="255"/>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0" bIns="34291" numCol="1" rtlCol="0" anchor="ctr" anchorCtr="0" compatLnSpc="1">
            <a:prstTxWarp prst="textNoShape">
              <a:avLst/>
            </a:prstTxWarp>
          </a:bodyPr>
          <a:lstStyle/>
          <a:p>
            <a:pPr algn="ctr" defTabSz="685609" fontAlgn="base">
              <a:spcBef>
                <a:spcPct val="0"/>
              </a:spcBef>
              <a:spcAft>
                <a:spcPct val="0"/>
              </a:spcAft>
            </a:pPr>
            <a:endParaRPr lang="en-US" sz="1500">
              <a:gradFill>
                <a:gsLst>
                  <a:gs pos="0">
                    <a:srgbClr val="FFFFFF"/>
                  </a:gs>
                  <a:gs pos="100000">
                    <a:srgbClr val="FFFFFF"/>
                  </a:gs>
                </a:gsLst>
                <a:lin ang="5400000" scaled="0"/>
              </a:gradFill>
            </a:endParaRPr>
          </a:p>
        </p:txBody>
      </p:sp>
      <p:grpSp>
        <p:nvGrpSpPr>
          <p:cNvPr id="16" name="Group 15"/>
          <p:cNvGrpSpPr/>
          <p:nvPr/>
        </p:nvGrpSpPr>
        <p:grpSpPr>
          <a:xfrm>
            <a:off x="-772997" y="2263322"/>
            <a:ext cx="2928695" cy="2821277"/>
            <a:chOff x="-1487792" y="3017761"/>
            <a:chExt cx="3903910" cy="3761702"/>
          </a:xfrm>
        </p:grpSpPr>
        <p:sp>
          <p:nvSpPr>
            <p:cNvPr id="2" name="Right Arrow 1"/>
            <p:cNvSpPr/>
            <p:nvPr/>
          </p:nvSpPr>
          <p:spPr bwMode="auto">
            <a:xfrm>
              <a:off x="273246" y="4900894"/>
              <a:ext cx="2046230" cy="166553"/>
            </a:xfrm>
            <a:prstGeom prst="rightArrow">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138" name="Arc 137"/>
            <p:cNvSpPr/>
            <p:nvPr/>
          </p:nvSpPr>
          <p:spPr>
            <a:xfrm>
              <a:off x="-1487792" y="3017761"/>
              <a:ext cx="3903910" cy="3761702"/>
            </a:xfrm>
            <a:prstGeom prst="arc">
              <a:avLst>
                <a:gd name="adj1" fmla="val 16200000"/>
                <a:gd name="adj2" fmla="val 21573307"/>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768014"/>
              <a:endParaRPr lang="en-US" sz="1500">
                <a:solidFill>
                  <a:prstClr val="black"/>
                </a:solidFill>
              </a:endParaRPr>
            </a:p>
          </p:txBody>
        </p:sp>
        <p:sp>
          <p:nvSpPr>
            <p:cNvPr id="159" name="TextBox 158"/>
            <p:cNvSpPr txBox="1"/>
            <p:nvPr/>
          </p:nvSpPr>
          <p:spPr>
            <a:xfrm>
              <a:off x="847786" y="5037391"/>
              <a:ext cx="1085875" cy="230832"/>
            </a:xfrm>
            <a:prstGeom prst="rect">
              <a:avLst/>
            </a:prstGeom>
            <a:noFill/>
          </p:spPr>
          <p:txBody>
            <a:bodyPr wrap="none" lIns="0" tIns="0" rIns="0" bIns="0" rtlCol="0">
              <a:spAutoFit/>
            </a:bodyPr>
            <a:lstStyle/>
            <a:p>
              <a:pPr defTabSz="768014"/>
              <a:r>
                <a:rPr lang="en-US" sz="1100" dirty="0">
                  <a:solidFill>
                    <a:schemeClr val="tx1">
                      <a:alpha val="99000"/>
                    </a:schemeClr>
                  </a:solidFill>
                </a:rPr>
                <a:t>On-premises</a:t>
              </a:r>
            </a:p>
          </p:txBody>
        </p:sp>
        <p:sp>
          <p:nvSpPr>
            <p:cNvPr id="113" name="Freeform 6"/>
            <p:cNvSpPr>
              <a:spLocks noEditPoints="1"/>
            </p:cNvSpPr>
            <p:nvPr/>
          </p:nvSpPr>
          <p:spPr bwMode="auto">
            <a:xfrm>
              <a:off x="1485696" y="4149289"/>
              <a:ext cx="302002" cy="608376"/>
            </a:xfrm>
            <a:custGeom>
              <a:avLst/>
              <a:gdLst>
                <a:gd name="T0" fmla="*/ 340 w 351"/>
                <a:gd name="T1" fmla="*/ 0 h 707"/>
                <a:gd name="T2" fmla="*/ 8 w 351"/>
                <a:gd name="T3" fmla="*/ 0 h 707"/>
                <a:gd name="T4" fmla="*/ 0 w 351"/>
                <a:gd name="T5" fmla="*/ 8 h 707"/>
                <a:gd name="T6" fmla="*/ 0 w 351"/>
                <a:gd name="T7" fmla="*/ 146 h 707"/>
                <a:gd name="T8" fmla="*/ 0 w 351"/>
                <a:gd name="T9" fmla="*/ 157 h 707"/>
                <a:gd name="T10" fmla="*/ 0 w 351"/>
                <a:gd name="T11" fmla="*/ 699 h 707"/>
                <a:gd name="T12" fmla="*/ 8 w 351"/>
                <a:gd name="T13" fmla="*/ 707 h 707"/>
                <a:gd name="T14" fmla="*/ 340 w 351"/>
                <a:gd name="T15" fmla="*/ 707 h 707"/>
                <a:gd name="T16" fmla="*/ 351 w 351"/>
                <a:gd name="T17" fmla="*/ 699 h 707"/>
                <a:gd name="T18" fmla="*/ 351 w 351"/>
                <a:gd name="T19" fmla="*/ 157 h 707"/>
                <a:gd name="T20" fmla="*/ 351 w 351"/>
                <a:gd name="T21" fmla="*/ 146 h 707"/>
                <a:gd name="T22" fmla="*/ 351 w 351"/>
                <a:gd name="T23" fmla="*/ 8 h 707"/>
                <a:gd name="T24" fmla="*/ 340 w 351"/>
                <a:gd name="T25" fmla="*/ 0 h 707"/>
                <a:gd name="T26" fmla="*/ 43 w 351"/>
                <a:gd name="T27" fmla="*/ 108 h 707"/>
                <a:gd name="T28" fmla="*/ 43 w 351"/>
                <a:gd name="T29" fmla="*/ 76 h 707"/>
                <a:gd name="T30" fmla="*/ 51 w 351"/>
                <a:gd name="T31" fmla="*/ 65 h 707"/>
                <a:gd name="T32" fmla="*/ 300 w 351"/>
                <a:gd name="T33" fmla="*/ 65 h 707"/>
                <a:gd name="T34" fmla="*/ 308 w 351"/>
                <a:gd name="T35" fmla="*/ 76 h 707"/>
                <a:gd name="T36" fmla="*/ 308 w 351"/>
                <a:gd name="T37" fmla="*/ 108 h 707"/>
                <a:gd name="T38" fmla="*/ 300 w 351"/>
                <a:gd name="T39" fmla="*/ 116 h 707"/>
                <a:gd name="T40" fmla="*/ 51 w 351"/>
                <a:gd name="T41" fmla="*/ 116 h 707"/>
                <a:gd name="T42" fmla="*/ 43 w 351"/>
                <a:gd name="T43" fmla="*/ 108 h 707"/>
                <a:gd name="T44" fmla="*/ 278 w 351"/>
                <a:gd name="T45" fmla="*/ 333 h 707"/>
                <a:gd name="T46" fmla="*/ 257 w 351"/>
                <a:gd name="T47" fmla="*/ 309 h 707"/>
                <a:gd name="T48" fmla="*/ 278 w 351"/>
                <a:gd name="T49" fmla="*/ 287 h 707"/>
                <a:gd name="T50" fmla="*/ 305 w 351"/>
                <a:gd name="T51" fmla="*/ 309 h 707"/>
                <a:gd name="T52" fmla="*/ 278 w 351"/>
                <a:gd name="T53" fmla="*/ 333 h 707"/>
                <a:gd name="T54" fmla="*/ 278 w 351"/>
                <a:gd name="T55" fmla="*/ 255 h 707"/>
                <a:gd name="T56" fmla="*/ 248 w 351"/>
                <a:gd name="T57" fmla="*/ 222 h 707"/>
                <a:gd name="T58" fmla="*/ 278 w 351"/>
                <a:gd name="T59" fmla="*/ 192 h 707"/>
                <a:gd name="T60" fmla="*/ 313 w 351"/>
                <a:gd name="T61" fmla="*/ 222 h 707"/>
                <a:gd name="T62" fmla="*/ 278 w 351"/>
                <a:gd name="T63" fmla="*/ 255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1" h="707">
                  <a:moveTo>
                    <a:pt x="340" y="0"/>
                  </a:moveTo>
                  <a:cubicBezTo>
                    <a:pt x="8" y="0"/>
                    <a:pt x="8" y="0"/>
                    <a:pt x="8" y="0"/>
                  </a:cubicBezTo>
                  <a:cubicBezTo>
                    <a:pt x="5" y="0"/>
                    <a:pt x="0" y="2"/>
                    <a:pt x="0" y="8"/>
                  </a:cubicBezTo>
                  <a:cubicBezTo>
                    <a:pt x="0" y="146"/>
                    <a:pt x="0" y="146"/>
                    <a:pt x="0" y="146"/>
                  </a:cubicBezTo>
                  <a:cubicBezTo>
                    <a:pt x="0" y="157"/>
                    <a:pt x="0" y="157"/>
                    <a:pt x="0" y="157"/>
                  </a:cubicBezTo>
                  <a:cubicBezTo>
                    <a:pt x="0" y="699"/>
                    <a:pt x="0" y="699"/>
                    <a:pt x="0" y="699"/>
                  </a:cubicBezTo>
                  <a:cubicBezTo>
                    <a:pt x="0" y="704"/>
                    <a:pt x="5" y="707"/>
                    <a:pt x="8" y="707"/>
                  </a:cubicBezTo>
                  <a:cubicBezTo>
                    <a:pt x="340" y="707"/>
                    <a:pt x="340" y="707"/>
                    <a:pt x="340" y="707"/>
                  </a:cubicBezTo>
                  <a:cubicBezTo>
                    <a:pt x="346" y="707"/>
                    <a:pt x="351" y="704"/>
                    <a:pt x="351" y="699"/>
                  </a:cubicBezTo>
                  <a:cubicBezTo>
                    <a:pt x="351" y="157"/>
                    <a:pt x="351" y="157"/>
                    <a:pt x="351" y="157"/>
                  </a:cubicBezTo>
                  <a:cubicBezTo>
                    <a:pt x="351" y="146"/>
                    <a:pt x="351" y="146"/>
                    <a:pt x="351" y="146"/>
                  </a:cubicBezTo>
                  <a:cubicBezTo>
                    <a:pt x="351" y="8"/>
                    <a:pt x="351" y="8"/>
                    <a:pt x="351" y="8"/>
                  </a:cubicBezTo>
                  <a:cubicBezTo>
                    <a:pt x="351" y="2"/>
                    <a:pt x="346" y="0"/>
                    <a:pt x="340" y="0"/>
                  </a:cubicBezTo>
                  <a:close/>
                  <a:moveTo>
                    <a:pt x="43" y="108"/>
                  </a:moveTo>
                  <a:cubicBezTo>
                    <a:pt x="43" y="76"/>
                    <a:pt x="43" y="76"/>
                    <a:pt x="43" y="76"/>
                  </a:cubicBezTo>
                  <a:cubicBezTo>
                    <a:pt x="43" y="70"/>
                    <a:pt x="46" y="65"/>
                    <a:pt x="51" y="65"/>
                  </a:cubicBezTo>
                  <a:cubicBezTo>
                    <a:pt x="300" y="65"/>
                    <a:pt x="300" y="65"/>
                    <a:pt x="300" y="65"/>
                  </a:cubicBezTo>
                  <a:cubicBezTo>
                    <a:pt x="305" y="65"/>
                    <a:pt x="308" y="70"/>
                    <a:pt x="308" y="76"/>
                  </a:cubicBezTo>
                  <a:cubicBezTo>
                    <a:pt x="308" y="108"/>
                    <a:pt x="308" y="108"/>
                    <a:pt x="308" y="108"/>
                  </a:cubicBezTo>
                  <a:cubicBezTo>
                    <a:pt x="308" y="114"/>
                    <a:pt x="305" y="116"/>
                    <a:pt x="300" y="116"/>
                  </a:cubicBezTo>
                  <a:cubicBezTo>
                    <a:pt x="51" y="116"/>
                    <a:pt x="51" y="116"/>
                    <a:pt x="51" y="116"/>
                  </a:cubicBezTo>
                  <a:cubicBezTo>
                    <a:pt x="46" y="116"/>
                    <a:pt x="43" y="114"/>
                    <a:pt x="43" y="108"/>
                  </a:cubicBezTo>
                  <a:close/>
                  <a:moveTo>
                    <a:pt x="278" y="333"/>
                  </a:moveTo>
                  <a:cubicBezTo>
                    <a:pt x="267" y="333"/>
                    <a:pt x="257" y="322"/>
                    <a:pt x="257" y="309"/>
                  </a:cubicBezTo>
                  <a:cubicBezTo>
                    <a:pt x="257" y="298"/>
                    <a:pt x="267" y="287"/>
                    <a:pt x="278" y="287"/>
                  </a:cubicBezTo>
                  <a:cubicBezTo>
                    <a:pt x="292" y="287"/>
                    <a:pt x="305" y="298"/>
                    <a:pt x="305" y="309"/>
                  </a:cubicBezTo>
                  <a:cubicBezTo>
                    <a:pt x="305" y="322"/>
                    <a:pt x="292" y="333"/>
                    <a:pt x="278" y="333"/>
                  </a:cubicBezTo>
                  <a:close/>
                  <a:moveTo>
                    <a:pt x="278" y="255"/>
                  </a:moveTo>
                  <a:cubicBezTo>
                    <a:pt x="262" y="255"/>
                    <a:pt x="248" y="241"/>
                    <a:pt x="248" y="222"/>
                  </a:cubicBezTo>
                  <a:cubicBezTo>
                    <a:pt x="248" y="206"/>
                    <a:pt x="262" y="192"/>
                    <a:pt x="278" y="192"/>
                  </a:cubicBezTo>
                  <a:cubicBezTo>
                    <a:pt x="297" y="192"/>
                    <a:pt x="313" y="206"/>
                    <a:pt x="313" y="222"/>
                  </a:cubicBezTo>
                  <a:cubicBezTo>
                    <a:pt x="313" y="241"/>
                    <a:pt x="297" y="255"/>
                    <a:pt x="278" y="2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6"/>
            <p:cNvSpPr>
              <a:spLocks noEditPoints="1"/>
            </p:cNvSpPr>
            <p:nvPr/>
          </p:nvSpPr>
          <p:spPr bwMode="auto">
            <a:xfrm>
              <a:off x="576847" y="3614337"/>
              <a:ext cx="302002" cy="608376"/>
            </a:xfrm>
            <a:custGeom>
              <a:avLst/>
              <a:gdLst>
                <a:gd name="T0" fmla="*/ 340 w 351"/>
                <a:gd name="T1" fmla="*/ 0 h 707"/>
                <a:gd name="T2" fmla="*/ 8 w 351"/>
                <a:gd name="T3" fmla="*/ 0 h 707"/>
                <a:gd name="T4" fmla="*/ 0 w 351"/>
                <a:gd name="T5" fmla="*/ 8 h 707"/>
                <a:gd name="T6" fmla="*/ 0 w 351"/>
                <a:gd name="T7" fmla="*/ 146 h 707"/>
                <a:gd name="T8" fmla="*/ 0 w 351"/>
                <a:gd name="T9" fmla="*/ 157 h 707"/>
                <a:gd name="T10" fmla="*/ 0 w 351"/>
                <a:gd name="T11" fmla="*/ 699 h 707"/>
                <a:gd name="T12" fmla="*/ 8 w 351"/>
                <a:gd name="T13" fmla="*/ 707 h 707"/>
                <a:gd name="T14" fmla="*/ 340 w 351"/>
                <a:gd name="T15" fmla="*/ 707 h 707"/>
                <a:gd name="T16" fmla="*/ 351 w 351"/>
                <a:gd name="T17" fmla="*/ 699 h 707"/>
                <a:gd name="T18" fmla="*/ 351 w 351"/>
                <a:gd name="T19" fmla="*/ 157 h 707"/>
                <a:gd name="T20" fmla="*/ 351 w 351"/>
                <a:gd name="T21" fmla="*/ 146 h 707"/>
                <a:gd name="T22" fmla="*/ 351 w 351"/>
                <a:gd name="T23" fmla="*/ 8 h 707"/>
                <a:gd name="T24" fmla="*/ 340 w 351"/>
                <a:gd name="T25" fmla="*/ 0 h 707"/>
                <a:gd name="T26" fmla="*/ 43 w 351"/>
                <a:gd name="T27" fmla="*/ 108 h 707"/>
                <a:gd name="T28" fmla="*/ 43 w 351"/>
                <a:gd name="T29" fmla="*/ 76 h 707"/>
                <a:gd name="T30" fmla="*/ 51 w 351"/>
                <a:gd name="T31" fmla="*/ 65 h 707"/>
                <a:gd name="T32" fmla="*/ 300 w 351"/>
                <a:gd name="T33" fmla="*/ 65 h 707"/>
                <a:gd name="T34" fmla="*/ 308 w 351"/>
                <a:gd name="T35" fmla="*/ 76 h 707"/>
                <a:gd name="T36" fmla="*/ 308 w 351"/>
                <a:gd name="T37" fmla="*/ 108 h 707"/>
                <a:gd name="T38" fmla="*/ 300 w 351"/>
                <a:gd name="T39" fmla="*/ 116 h 707"/>
                <a:gd name="T40" fmla="*/ 51 w 351"/>
                <a:gd name="T41" fmla="*/ 116 h 707"/>
                <a:gd name="T42" fmla="*/ 43 w 351"/>
                <a:gd name="T43" fmla="*/ 108 h 707"/>
                <a:gd name="T44" fmla="*/ 278 w 351"/>
                <a:gd name="T45" fmla="*/ 333 h 707"/>
                <a:gd name="T46" fmla="*/ 257 w 351"/>
                <a:gd name="T47" fmla="*/ 309 h 707"/>
                <a:gd name="T48" fmla="*/ 278 w 351"/>
                <a:gd name="T49" fmla="*/ 287 h 707"/>
                <a:gd name="T50" fmla="*/ 305 w 351"/>
                <a:gd name="T51" fmla="*/ 309 h 707"/>
                <a:gd name="T52" fmla="*/ 278 w 351"/>
                <a:gd name="T53" fmla="*/ 333 h 707"/>
                <a:gd name="T54" fmla="*/ 278 w 351"/>
                <a:gd name="T55" fmla="*/ 255 h 707"/>
                <a:gd name="T56" fmla="*/ 248 w 351"/>
                <a:gd name="T57" fmla="*/ 222 h 707"/>
                <a:gd name="T58" fmla="*/ 278 w 351"/>
                <a:gd name="T59" fmla="*/ 192 h 707"/>
                <a:gd name="T60" fmla="*/ 313 w 351"/>
                <a:gd name="T61" fmla="*/ 222 h 707"/>
                <a:gd name="T62" fmla="*/ 278 w 351"/>
                <a:gd name="T63" fmla="*/ 255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1" h="707">
                  <a:moveTo>
                    <a:pt x="340" y="0"/>
                  </a:moveTo>
                  <a:cubicBezTo>
                    <a:pt x="8" y="0"/>
                    <a:pt x="8" y="0"/>
                    <a:pt x="8" y="0"/>
                  </a:cubicBezTo>
                  <a:cubicBezTo>
                    <a:pt x="5" y="0"/>
                    <a:pt x="0" y="2"/>
                    <a:pt x="0" y="8"/>
                  </a:cubicBezTo>
                  <a:cubicBezTo>
                    <a:pt x="0" y="146"/>
                    <a:pt x="0" y="146"/>
                    <a:pt x="0" y="146"/>
                  </a:cubicBezTo>
                  <a:cubicBezTo>
                    <a:pt x="0" y="157"/>
                    <a:pt x="0" y="157"/>
                    <a:pt x="0" y="157"/>
                  </a:cubicBezTo>
                  <a:cubicBezTo>
                    <a:pt x="0" y="699"/>
                    <a:pt x="0" y="699"/>
                    <a:pt x="0" y="699"/>
                  </a:cubicBezTo>
                  <a:cubicBezTo>
                    <a:pt x="0" y="704"/>
                    <a:pt x="5" y="707"/>
                    <a:pt x="8" y="707"/>
                  </a:cubicBezTo>
                  <a:cubicBezTo>
                    <a:pt x="340" y="707"/>
                    <a:pt x="340" y="707"/>
                    <a:pt x="340" y="707"/>
                  </a:cubicBezTo>
                  <a:cubicBezTo>
                    <a:pt x="346" y="707"/>
                    <a:pt x="351" y="704"/>
                    <a:pt x="351" y="699"/>
                  </a:cubicBezTo>
                  <a:cubicBezTo>
                    <a:pt x="351" y="157"/>
                    <a:pt x="351" y="157"/>
                    <a:pt x="351" y="157"/>
                  </a:cubicBezTo>
                  <a:cubicBezTo>
                    <a:pt x="351" y="146"/>
                    <a:pt x="351" y="146"/>
                    <a:pt x="351" y="146"/>
                  </a:cubicBezTo>
                  <a:cubicBezTo>
                    <a:pt x="351" y="8"/>
                    <a:pt x="351" y="8"/>
                    <a:pt x="351" y="8"/>
                  </a:cubicBezTo>
                  <a:cubicBezTo>
                    <a:pt x="351" y="2"/>
                    <a:pt x="346" y="0"/>
                    <a:pt x="340" y="0"/>
                  </a:cubicBezTo>
                  <a:close/>
                  <a:moveTo>
                    <a:pt x="43" y="108"/>
                  </a:moveTo>
                  <a:cubicBezTo>
                    <a:pt x="43" y="76"/>
                    <a:pt x="43" y="76"/>
                    <a:pt x="43" y="76"/>
                  </a:cubicBezTo>
                  <a:cubicBezTo>
                    <a:pt x="43" y="70"/>
                    <a:pt x="46" y="65"/>
                    <a:pt x="51" y="65"/>
                  </a:cubicBezTo>
                  <a:cubicBezTo>
                    <a:pt x="300" y="65"/>
                    <a:pt x="300" y="65"/>
                    <a:pt x="300" y="65"/>
                  </a:cubicBezTo>
                  <a:cubicBezTo>
                    <a:pt x="305" y="65"/>
                    <a:pt x="308" y="70"/>
                    <a:pt x="308" y="76"/>
                  </a:cubicBezTo>
                  <a:cubicBezTo>
                    <a:pt x="308" y="108"/>
                    <a:pt x="308" y="108"/>
                    <a:pt x="308" y="108"/>
                  </a:cubicBezTo>
                  <a:cubicBezTo>
                    <a:pt x="308" y="114"/>
                    <a:pt x="305" y="116"/>
                    <a:pt x="300" y="116"/>
                  </a:cubicBezTo>
                  <a:cubicBezTo>
                    <a:pt x="51" y="116"/>
                    <a:pt x="51" y="116"/>
                    <a:pt x="51" y="116"/>
                  </a:cubicBezTo>
                  <a:cubicBezTo>
                    <a:pt x="46" y="116"/>
                    <a:pt x="43" y="114"/>
                    <a:pt x="43" y="108"/>
                  </a:cubicBezTo>
                  <a:close/>
                  <a:moveTo>
                    <a:pt x="278" y="333"/>
                  </a:moveTo>
                  <a:cubicBezTo>
                    <a:pt x="267" y="333"/>
                    <a:pt x="257" y="322"/>
                    <a:pt x="257" y="309"/>
                  </a:cubicBezTo>
                  <a:cubicBezTo>
                    <a:pt x="257" y="298"/>
                    <a:pt x="267" y="287"/>
                    <a:pt x="278" y="287"/>
                  </a:cubicBezTo>
                  <a:cubicBezTo>
                    <a:pt x="292" y="287"/>
                    <a:pt x="305" y="298"/>
                    <a:pt x="305" y="309"/>
                  </a:cubicBezTo>
                  <a:cubicBezTo>
                    <a:pt x="305" y="322"/>
                    <a:pt x="292" y="333"/>
                    <a:pt x="278" y="333"/>
                  </a:cubicBezTo>
                  <a:close/>
                  <a:moveTo>
                    <a:pt x="278" y="255"/>
                  </a:moveTo>
                  <a:cubicBezTo>
                    <a:pt x="262" y="255"/>
                    <a:pt x="248" y="241"/>
                    <a:pt x="248" y="222"/>
                  </a:cubicBezTo>
                  <a:cubicBezTo>
                    <a:pt x="248" y="206"/>
                    <a:pt x="262" y="192"/>
                    <a:pt x="278" y="192"/>
                  </a:cubicBezTo>
                  <a:cubicBezTo>
                    <a:pt x="297" y="192"/>
                    <a:pt x="313" y="206"/>
                    <a:pt x="313" y="222"/>
                  </a:cubicBezTo>
                  <a:cubicBezTo>
                    <a:pt x="313" y="241"/>
                    <a:pt x="297" y="255"/>
                    <a:pt x="278" y="2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cxnSp>
        <p:nvCxnSpPr>
          <p:cNvPr id="117" name="Straight Connector 116"/>
          <p:cNvCxnSpPr/>
          <p:nvPr/>
        </p:nvCxnSpPr>
        <p:spPr>
          <a:xfrm flipV="1">
            <a:off x="2425765" y="2410313"/>
            <a:ext cx="402118" cy="121079"/>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91" name="Elbow Connector 190"/>
          <p:cNvCxnSpPr/>
          <p:nvPr/>
        </p:nvCxnSpPr>
        <p:spPr>
          <a:xfrm flipH="1">
            <a:off x="6492004" y="2374301"/>
            <a:ext cx="368926" cy="450897"/>
          </a:xfrm>
          <a:prstGeom prst="bentConnector3">
            <a:avLst>
              <a:gd name="adj1" fmla="val -767"/>
            </a:avLst>
          </a:prstGeom>
          <a:ln w="38100" cap="rnd">
            <a:solidFill>
              <a:schemeClr val="tx1"/>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cxnSp>
        <p:nvCxnSpPr>
          <p:cNvPr id="192" name="Elbow Connector 191"/>
          <p:cNvCxnSpPr/>
          <p:nvPr/>
        </p:nvCxnSpPr>
        <p:spPr>
          <a:xfrm flipV="1">
            <a:off x="7108600" y="2762258"/>
            <a:ext cx="492844" cy="559434"/>
          </a:xfrm>
          <a:prstGeom prst="bentConnector3">
            <a:avLst>
              <a:gd name="adj1" fmla="val -23497"/>
            </a:avLst>
          </a:prstGeom>
          <a:ln w="38100" cap="rnd">
            <a:solidFill>
              <a:schemeClr val="tx1"/>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cxnSp>
        <p:nvCxnSpPr>
          <p:cNvPr id="193" name="Straight Connector 192"/>
          <p:cNvCxnSpPr/>
          <p:nvPr/>
        </p:nvCxnSpPr>
        <p:spPr>
          <a:xfrm flipV="1">
            <a:off x="6431142" y="2583705"/>
            <a:ext cx="761450" cy="756506"/>
          </a:xfrm>
          <a:prstGeom prst="line">
            <a:avLst/>
          </a:prstGeom>
          <a:ln w="38100" cap="rnd">
            <a:solidFill>
              <a:schemeClr val="tx1"/>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sp>
        <p:nvSpPr>
          <p:cNvPr id="12" name="Right Arrow 11"/>
          <p:cNvSpPr/>
          <p:nvPr/>
        </p:nvSpPr>
        <p:spPr bwMode="auto">
          <a:xfrm rot="21256316">
            <a:off x="7473650" y="3480892"/>
            <a:ext cx="613487" cy="154004"/>
          </a:xfrm>
          <a:prstGeom prst="rightArrow">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94" name="Right Arrow 93"/>
          <p:cNvSpPr/>
          <p:nvPr/>
        </p:nvSpPr>
        <p:spPr bwMode="auto">
          <a:xfrm rot="16838143">
            <a:off x="6024641" y="2042224"/>
            <a:ext cx="613487" cy="154004"/>
          </a:xfrm>
          <a:prstGeom prst="rightArrow">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grpSp>
        <p:nvGrpSpPr>
          <p:cNvPr id="32" name="Group 31"/>
          <p:cNvGrpSpPr/>
          <p:nvPr/>
        </p:nvGrpSpPr>
        <p:grpSpPr>
          <a:xfrm>
            <a:off x="4729414" y="1730660"/>
            <a:ext cx="3530605" cy="3336630"/>
            <a:chOff x="6304242" y="2307547"/>
            <a:chExt cx="4706248" cy="4448840"/>
          </a:xfrm>
        </p:grpSpPr>
        <p:sp>
          <p:nvSpPr>
            <p:cNvPr id="188" name="Arc 187"/>
            <p:cNvSpPr/>
            <p:nvPr/>
          </p:nvSpPr>
          <p:spPr>
            <a:xfrm>
              <a:off x="6304242" y="2307547"/>
              <a:ext cx="4706248" cy="4448840"/>
            </a:xfrm>
            <a:prstGeom prst="arc">
              <a:avLst>
                <a:gd name="adj1" fmla="val 16170703"/>
                <a:gd name="adj2" fmla="val 393691"/>
              </a:avLst>
            </a:prstGeom>
            <a:ln w="38100" cap="rnd">
              <a:solidFill>
                <a:schemeClr val="tx1"/>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defTabSz="768014"/>
              <a:endParaRPr lang="en-US" sz="1500">
                <a:solidFill>
                  <a:prstClr val="black"/>
                </a:solidFill>
              </a:endParaRPr>
            </a:p>
          </p:txBody>
        </p:sp>
        <p:sp>
          <p:nvSpPr>
            <p:cNvPr id="190" name="TextBox 189"/>
            <p:cNvSpPr txBox="1"/>
            <p:nvPr/>
          </p:nvSpPr>
          <p:spPr>
            <a:xfrm>
              <a:off x="8612102" y="2585333"/>
              <a:ext cx="971420" cy="169277"/>
            </a:xfrm>
            <a:prstGeom prst="rect">
              <a:avLst/>
            </a:prstGeom>
            <a:noFill/>
          </p:spPr>
          <p:txBody>
            <a:bodyPr wrap="none" lIns="0" tIns="0" rIns="0" bIns="0" rtlCol="0">
              <a:spAutoFit/>
            </a:bodyPr>
            <a:lstStyle/>
            <a:p>
              <a:pPr algn="r" defTabSz="768014"/>
              <a:r>
                <a:rPr lang="en-US" sz="800" dirty="0">
                  <a:solidFill>
                    <a:schemeClr val="tx1">
                      <a:alpha val="99000"/>
                    </a:schemeClr>
                  </a:solidFill>
                </a:rPr>
                <a:t>Windows Azure</a:t>
              </a:r>
            </a:p>
          </p:txBody>
        </p:sp>
        <p:grpSp>
          <p:nvGrpSpPr>
            <p:cNvPr id="144" name="Group 143"/>
            <p:cNvGrpSpPr/>
            <p:nvPr/>
          </p:nvGrpSpPr>
          <p:grpSpPr>
            <a:xfrm>
              <a:off x="10226532" y="3604861"/>
              <a:ext cx="466373" cy="434591"/>
              <a:chOff x="6566049" y="4340235"/>
              <a:chExt cx="611501" cy="569829"/>
            </a:xfrm>
          </p:grpSpPr>
          <p:sp>
            <p:nvSpPr>
              <p:cNvPr id="145" name="Freeform 6"/>
              <p:cNvSpPr>
                <a:spLocks noEditPoints="1"/>
              </p:cNvSpPr>
              <p:nvPr/>
            </p:nvSpPr>
            <p:spPr bwMode="auto">
              <a:xfrm>
                <a:off x="6566049" y="4340235"/>
                <a:ext cx="282867" cy="569829"/>
              </a:xfrm>
              <a:custGeom>
                <a:avLst/>
                <a:gdLst>
                  <a:gd name="T0" fmla="*/ 340 w 351"/>
                  <a:gd name="T1" fmla="*/ 0 h 707"/>
                  <a:gd name="T2" fmla="*/ 8 w 351"/>
                  <a:gd name="T3" fmla="*/ 0 h 707"/>
                  <a:gd name="T4" fmla="*/ 0 w 351"/>
                  <a:gd name="T5" fmla="*/ 8 h 707"/>
                  <a:gd name="T6" fmla="*/ 0 w 351"/>
                  <a:gd name="T7" fmla="*/ 146 h 707"/>
                  <a:gd name="T8" fmla="*/ 0 w 351"/>
                  <a:gd name="T9" fmla="*/ 157 h 707"/>
                  <a:gd name="T10" fmla="*/ 0 w 351"/>
                  <a:gd name="T11" fmla="*/ 699 h 707"/>
                  <a:gd name="T12" fmla="*/ 8 w 351"/>
                  <a:gd name="T13" fmla="*/ 707 h 707"/>
                  <a:gd name="T14" fmla="*/ 340 w 351"/>
                  <a:gd name="T15" fmla="*/ 707 h 707"/>
                  <a:gd name="T16" fmla="*/ 351 w 351"/>
                  <a:gd name="T17" fmla="*/ 699 h 707"/>
                  <a:gd name="T18" fmla="*/ 351 w 351"/>
                  <a:gd name="T19" fmla="*/ 157 h 707"/>
                  <a:gd name="T20" fmla="*/ 351 w 351"/>
                  <a:gd name="T21" fmla="*/ 146 h 707"/>
                  <a:gd name="T22" fmla="*/ 351 w 351"/>
                  <a:gd name="T23" fmla="*/ 8 h 707"/>
                  <a:gd name="T24" fmla="*/ 340 w 351"/>
                  <a:gd name="T25" fmla="*/ 0 h 707"/>
                  <a:gd name="T26" fmla="*/ 43 w 351"/>
                  <a:gd name="T27" fmla="*/ 108 h 707"/>
                  <a:gd name="T28" fmla="*/ 43 w 351"/>
                  <a:gd name="T29" fmla="*/ 76 h 707"/>
                  <a:gd name="T30" fmla="*/ 51 w 351"/>
                  <a:gd name="T31" fmla="*/ 65 h 707"/>
                  <a:gd name="T32" fmla="*/ 300 w 351"/>
                  <a:gd name="T33" fmla="*/ 65 h 707"/>
                  <a:gd name="T34" fmla="*/ 308 w 351"/>
                  <a:gd name="T35" fmla="*/ 76 h 707"/>
                  <a:gd name="T36" fmla="*/ 308 w 351"/>
                  <a:gd name="T37" fmla="*/ 108 h 707"/>
                  <a:gd name="T38" fmla="*/ 300 w 351"/>
                  <a:gd name="T39" fmla="*/ 116 h 707"/>
                  <a:gd name="T40" fmla="*/ 51 w 351"/>
                  <a:gd name="T41" fmla="*/ 116 h 707"/>
                  <a:gd name="T42" fmla="*/ 43 w 351"/>
                  <a:gd name="T43" fmla="*/ 108 h 707"/>
                  <a:gd name="T44" fmla="*/ 278 w 351"/>
                  <a:gd name="T45" fmla="*/ 333 h 707"/>
                  <a:gd name="T46" fmla="*/ 257 w 351"/>
                  <a:gd name="T47" fmla="*/ 309 h 707"/>
                  <a:gd name="T48" fmla="*/ 278 w 351"/>
                  <a:gd name="T49" fmla="*/ 287 h 707"/>
                  <a:gd name="T50" fmla="*/ 305 w 351"/>
                  <a:gd name="T51" fmla="*/ 309 h 707"/>
                  <a:gd name="T52" fmla="*/ 278 w 351"/>
                  <a:gd name="T53" fmla="*/ 333 h 707"/>
                  <a:gd name="T54" fmla="*/ 278 w 351"/>
                  <a:gd name="T55" fmla="*/ 255 h 707"/>
                  <a:gd name="T56" fmla="*/ 248 w 351"/>
                  <a:gd name="T57" fmla="*/ 222 h 707"/>
                  <a:gd name="T58" fmla="*/ 278 w 351"/>
                  <a:gd name="T59" fmla="*/ 192 h 707"/>
                  <a:gd name="T60" fmla="*/ 313 w 351"/>
                  <a:gd name="T61" fmla="*/ 222 h 707"/>
                  <a:gd name="T62" fmla="*/ 278 w 351"/>
                  <a:gd name="T63" fmla="*/ 255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1" h="707">
                    <a:moveTo>
                      <a:pt x="340" y="0"/>
                    </a:moveTo>
                    <a:cubicBezTo>
                      <a:pt x="8" y="0"/>
                      <a:pt x="8" y="0"/>
                      <a:pt x="8" y="0"/>
                    </a:cubicBezTo>
                    <a:cubicBezTo>
                      <a:pt x="5" y="0"/>
                      <a:pt x="0" y="2"/>
                      <a:pt x="0" y="8"/>
                    </a:cubicBezTo>
                    <a:cubicBezTo>
                      <a:pt x="0" y="146"/>
                      <a:pt x="0" y="146"/>
                      <a:pt x="0" y="146"/>
                    </a:cubicBezTo>
                    <a:cubicBezTo>
                      <a:pt x="0" y="157"/>
                      <a:pt x="0" y="157"/>
                      <a:pt x="0" y="157"/>
                    </a:cubicBezTo>
                    <a:cubicBezTo>
                      <a:pt x="0" y="699"/>
                      <a:pt x="0" y="699"/>
                      <a:pt x="0" y="699"/>
                    </a:cubicBezTo>
                    <a:cubicBezTo>
                      <a:pt x="0" y="704"/>
                      <a:pt x="5" y="707"/>
                      <a:pt x="8" y="707"/>
                    </a:cubicBezTo>
                    <a:cubicBezTo>
                      <a:pt x="340" y="707"/>
                      <a:pt x="340" y="707"/>
                      <a:pt x="340" y="707"/>
                    </a:cubicBezTo>
                    <a:cubicBezTo>
                      <a:pt x="346" y="707"/>
                      <a:pt x="351" y="704"/>
                      <a:pt x="351" y="699"/>
                    </a:cubicBezTo>
                    <a:cubicBezTo>
                      <a:pt x="351" y="157"/>
                      <a:pt x="351" y="157"/>
                      <a:pt x="351" y="157"/>
                    </a:cubicBezTo>
                    <a:cubicBezTo>
                      <a:pt x="351" y="146"/>
                      <a:pt x="351" y="146"/>
                      <a:pt x="351" y="146"/>
                    </a:cubicBezTo>
                    <a:cubicBezTo>
                      <a:pt x="351" y="8"/>
                      <a:pt x="351" y="8"/>
                      <a:pt x="351" y="8"/>
                    </a:cubicBezTo>
                    <a:cubicBezTo>
                      <a:pt x="351" y="2"/>
                      <a:pt x="346" y="0"/>
                      <a:pt x="340" y="0"/>
                    </a:cubicBezTo>
                    <a:close/>
                    <a:moveTo>
                      <a:pt x="43" y="108"/>
                    </a:moveTo>
                    <a:cubicBezTo>
                      <a:pt x="43" y="76"/>
                      <a:pt x="43" y="76"/>
                      <a:pt x="43" y="76"/>
                    </a:cubicBezTo>
                    <a:cubicBezTo>
                      <a:pt x="43" y="70"/>
                      <a:pt x="46" y="65"/>
                      <a:pt x="51" y="65"/>
                    </a:cubicBezTo>
                    <a:cubicBezTo>
                      <a:pt x="300" y="65"/>
                      <a:pt x="300" y="65"/>
                      <a:pt x="300" y="65"/>
                    </a:cubicBezTo>
                    <a:cubicBezTo>
                      <a:pt x="305" y="65"/>
                      <a:pt x="308" y="70"/>
                      <a:pt x="308" y="76"/>
                    </a:cubicBezTo>
                    <a:cubicBezTo>
                      <a:pt x="308" y="108"/>
                      <a:pt x="308" y="108"/>
                      <a:pt x="308" y="108"/>
                    </a:cubicBezTo>
                    <a:cubicBezTo>
                      <a:pt x="308" y="114"/>
                      <a:pt x="305" y="116"/>
                      <a:pt x="300" y="116"/>
                    </a:cubicBezTo>
                    <a:cubicBezTo>
                      <a:pt x="51" y="116"/>
                      <a:pt x="51" y="116"/>
                      <a:pt x="51" y="116"/>
                    </a:cubicBezTo>
                    <a:cubicBezTo>
                      <a:pt x="46" y="116"/>
                      <a:pt x="43" y="114"/>
                      <a:pt x="43" y="108"/>
                    </a:cubicBezTo>
                    <a:close/>
                    <a:moveTo>
                      <a:pt x="278" y="333"/>
                    </a:moveTo>
                    <a:cubicBezTo>
                      <a:pt x="267" y="333"/>
                      <a:pt x="257" y="322"/>
                      <a:pt x="257" y="309"/>
                    </a:cubicBezTo>
                    <a:cubicBezTo>
                      <a:pt x="257" y="298"/>
                      <a:pt x="267" y="287"/>
                      <a:pt x="278" y="287"/>
                    </a:cubicBezTo>
                    <a:cubicBezTo>
                      <a:pt x="292" y="287"/>
                      <a:pt x="305" y="298"/>
                      <a:pt x="305" y="309"/>
                    </a:cubicBezTo>
                    <a:cubicBezTo>
                      <a:pt x="305" y="322"/>
                      <a:pt x="292" y="333"/>
                      <a:pt x="278" y="333"/>
                    </a:cubicBezTo>
                    <a:close/>
                    <a:moveTo>
                      <a:pt x="278" y="255"/>
                    </a:moveTo>
                    <a:cubicBezTo>
                      <a:pt x="262" y="255"/>
                      <a:pt x="248" y="241"/>
                      <a:pt x="248" y="222"/>
                    </a:cubicBezTo>
                    <a:cubicBezTo>
                      <a:pt x="248" y="206"/>
                      <a:pt x="262" y="192"/>
                      <a:pt x="278" y="192"/>
                    </a:cubicBezTo>
                    <a:cubicBezTo>
                      <a:pt x="297" y="192"/>
                      <a:pt x="313" y="206"/>
                      <a:pt x="313" y="222"/>
                    </a:cubicBezTo>
                    <a:cubicBezTo>
                      <a:pt x="313" y="241"/>
                      <a:pt x="297" y="255"/>
                      <a:pt x="278" y="2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6"/>
              <p:cNvSpPr>
                <a:spLocks noEditPoints="1"/>
              </p:cNvSpPr>
              <p:nvPr/>
            </p:nvSpPr>
            <p:spPr bwMode="auto">
              <a:xfrm>
                <a:off x="6894683" y="4340235"/>
                <a:ext cx="282867" cy="569829"/>
              </a:xfrm>
              <a:custGeom>
                <a:avLst/>
                <a:gdLst>
                  <a:gd name="T0" fmla="*/ 340 w 351"/>
                  <a:gd name="T1" fmla="*/ 0 h 707"/>
                  <a:gd name="T2" fmla="*/ 8 w 351"/>
                  <a:gd name="T3" fmla="*/ 0 h 707"/>
                  <a:gd name="T4" fmla="*/ 0 w 351"/>
                  <a:gd name="T5" fmla="*/ 8 h 707"/>
                  <a:gd name="T6" fmla="*/ 0 w 351"/>
                  <a:gd name="T7" fmla="*/ 146 h 707"/>
                  <a:gd name="T8" fmla="*/ 0 w 351"/>
                  <a:gd name="T9" fmla="*/ 157 h 707"/>
                  <a:gd name="T10" fmla="*/ 0 w 351"/>
                  <a:gd name="T11" fmla="*/ 699 h 707"/>
                  <a:gd name="T12" fmla="*/ 8 w 351"/>
                  <a:gd name="T13" fmla="*/ 707 h 707"/>
                  <a:gd name="T14" fmla="*/ 340 w 351"/>
                  <a:gd name="T15" fmla="*/ 707 h 707"/>
                  <a:gd name="T16" fmla="*/ 351 w 351"/>
                  <a:gd name="T17" fmla="*/ 699 h 707"/>
                  <a:gd name="T18" fmla="*/ 351 w 351"/>
                  <a:gd name="T19" fmla="*/ 157 h 707"/>
                  <a:gd name="T20" fmla="*/ 351 w 351"/>
                  <a:gd name="T21" fmla="*/ 146 h 707"/>
                  <a:gd name="T22" fmla="*/ 351 w 351"/>
                  <a:gd name="T23" fmla="*/ 8 h 707"/>
                  <a:gd name="T24" fmla="*/ 340 w 351"/>
                  <a:gd name="T25" fmla="*/ 0 h 707"/>
                  <a:gd name="T26" fmla="*/ 43 w 351"/>
                  <a:gd name="T27" fmla="*/ 108 h 707"/>
                  <a:gd name="T28" fmla="*/ 43 w 351"/>
                  <a:gd name="T29" fmla="*/ 76 h 707"/>
                  <a:gd name="T30" fmla="*/ 51 w 351"/>
                  <a:gd name="T31" fmla="*/ 65 h 707"/>
                  <a:gd name="T32" fmla="*/ 300 w 351"/>
                  <a:gd name="T33" fmla="*/ 65 h 707"/>
                  <a:gd name="T34" fmla="*/ 308 w 351"/>
                  <a:gd name="T35" fmla="*/ 76 h 707"/>
                  <a:gd name="T36" fmla="*/ 308 w 351"/>
                  <a:gd name="T37" fmla="*/ 108 h 707"/>
                  <a:gd name="T38" fmla="*/ 300 w 351"/>
                  <a:gd name="T39" fmla="*/ 116 h 707"/>
                  <a:gd name="T40" fmla="*/ 51 w 351"/>
                  <a:gd name="T41" fmla="*/ 116 h 707"/>
                  <a:gd name="T42" fmla="*/ 43 w 351"/>
                  <a:gd name="T43" fmla="*/ 108 h 707"/>
                  <a:gd name="T44" fmla="*/ 278 w 351"/>
                  <a:gd name="T45" fmla="*/ 333 h 707"/>
                  <a:gd name="T46" fmla="*/ 257 w 351"/>
                  <a:gd name="T47" fmla="*/ 309 h 707"/>
                  <a:gd name="T48" fmla="*/ 278 w 351"/>
                  <a:gd name="T49" fmla="*/ 287 h 707"/>
                  <a:gd name="T50" fmla="*/ 305 w 351"/>
                  <a:gd name="T51" fmla="*/ 309 h 707"/>
                  <a:gd name="T52" fmla="*/ 278 w 351"/>
                  <a:gd name="T53" fmla="*/ 333 h 707"/>
                  <a:gd name="T54" fmla="*/ 278 w 351"/>
                  <a:gd name="T55" fmla="*/ 255 h 707"/>
                  <a:gd name="T56" fmla="*/ 248 w 351"/>
                  <a:gd name="T57" fmla="*/ 222 h 707"/>
                  <a:gd name="T58" fmla="*/ 278 w 351"/>
                  <a:gd name="T59" fmla="*/ 192 h 707"/>
                  <a:gd name="T60" fmla="*/ 313 w 351"/>
                  <a:gd name="T61" fmla="*/ 222 h 707"/>
                  <a:gd name="T62" fmla="*/ 278 w 351"/>
                  <a:gd name="T63" fmla="*/ 255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1" h="707">
                    <a:moveTo>
                      <a:pt x="340" y="0"/>
                    </a:moveTo>
                    <a:cubicBezTo>
                      <a:pt x="8" y="0"/>
                      <a:pt x="8" y="0"/>
                      <a:pt x="8" y="0"/>
                    </a:cubicBezTo>
                    <a:cubicBezTo>
                      <a:pt x="5" y="0"/>
                      <a:pt x="0" y="2"/>
                      <a:pt x="0" y="8"/>
                    </a:cubicBezTo>
                    <a:cubicBezTo>
                      <a:pt x="0" y="146"/>
                      <a:pt x="0" y="146"/>
                      <a:pt x="0" y="146"/>
                    </a:cubicBezTo>
                    <a:cubicBezTo>
                      <a:pt x="0" y="157"/>
                      <a:pt x="0" y="157"/>
                      <a:pt x="0" y="157"/>
                    </a:cubicBezTo>
                    <a:cubicBezTo>
                      <a:pt x="0" y="699"/>
                      <a:pt x="0" y="699"/>
                      <a:pt x="0" y="699"/>
                    </a:cubicBezTo>
                    <a:cubicBezTo>
                      <a:pt x="0" y="704"/>
                      <a:pt x="5" y="707"/>
                      <a:pt x="8" y="707"/>
                    </a:cubicBezTo>
                    <a:cubicBezTo>
                      <a:pt x="340" y="707"/>
                      <a:pt x="340" y="707"/>
                      <a:pt x="340" y="707"/>
                    </a:cubicBezTo>
                    <a:cubicBezTo>
                      <a:pt x="346" y="707"/>
                      <a:pt x="351" y="704"/>
                      <a:pt x="351" y="699"/>
                    </a:cubicBezTo>
                    <a:cubicBezTo>
                      <a:pt x="351" y="157"/>
                      <a:pt x="351" y="157"/>
                      <a:pt x="351" y="157"/>
                    </a:cubicBezTo>
                    <a:cubicBezTo>
                      <a:pt x="351" y="146"/>
                      <a:pt x="351" y="146"/>
                      <a:pt x="351" y="146"/>
                    </a:cubicBezTo>
                    <a:cubicBezTo>
                      <a:pt x="351" y="8"/>
                      <a:pt x="351" y="8"/>
                      <a:pt x="351" y="8"/>
                    </a:cubicBezTo>
                    <a:cubicBezTo>
                      <a:pt x="351" y="2"/>
                      <a:pt x="346" y="0"/>
                      <a:pt x="340" y="0"/>
                    </a:cubicBezTo>
                    <a:close/>
                    <a:moveTo>
                      <a:pt x="43" y="108"/>
                    </a:moveTo>
                    <a:cubicBezTo>
                      <a:pt x="43" y="76"/>
                      <a:pt x="43" y="76"/>
                      <a:pt x="43" y="76"/>
                    </a:cubicBezTo>
                    <a:cubicBezTo>
                      <a:pt x="43" y="70"/>
                      <a:pt x="46" y="65"/>
                      <a:pt x="51" y="65"/>
                    </a:cubicBezTo>
                    <a:cubicBezTo>
                      <a:pt x="300" y="65"/>
                      <a:pt x="300" y="65"/>
                      <a:pt x="300" y="65"/>
                    </a:cubicBezTo>
                    <a:cubicBezTo>
                      <a:pt x="305" y="65"/>
                      <a:pt x="308" y="70"/>
                      <a:pt x="308" y="76"/>
                    </a:cubicBezTo>
                    <a:cubicBezTo>
                      <a:pt x="308" y="108"/>
                      <a:pt x="308" y="108"/>
                      <a:pt x="308" y="108"/>
                    </a:cubicBezTo>
                    <a:cubicBezTo>
                      <a:pt x="308" y="114"/>
                      <a:pt x="305" y="116"/>
                      <a:pt x="300" y="116"/>
                    </a:cubicBezTo>
                    <a:cubicBezTo>
                      <a:pt x="51" y="116"/>
                      <a:pt x="51" y="116"/>
                      <a:pt x="51" y="116"/>
                    </a:cubicBezTo>
                    <a:cubicBezTo>
                      <a:pt x="46" y="116"/>
                      <a:pt x="43" y="114"/>
                      <a:pt x="43" y="108"/>
                    </a:cubicBezTo>
                    <a:close/>
                    <a:moveTo>
                      <a:pt x="278" y="333"/>
                    </a:moveTo>
                    <a:cubicBezTo>
                      <a:pt x="267" y="333"/>
                      <a:pt x="257" y="322"/>
                      <a:pt x="257" y="309"/>
                    </a:cubicBezTo>
                    <a:cubicBezTo>
                      <a:pt x="257" y="298"/>
                      <a:pt x="267" y="287"/>
                      <a:pt x="278" y="287"/>
                    </a:cubicBezTo>
                    <a:cubicBezTo>
                      <a:pt x="292" y="287"/>
                      <a:pt x="305" y="298"/>
                      <a:pt x="305" y="309"/>
                    </a:cubicBezTo>
                    <a:cubicBezTo>
                      <a:pt x="305" y="322"/>
                      <a:pt x="292" y="333"/>
                      <a:pt x="278" y="333"/>
                    </a:cubicBezTo>
                    <a:close/>
                    <a:moveTo>
                      <a:pt x="278" y="255"/>
                    </a:moveTo>
                    <a:cubicBezTo>
                      <a:pt x="262" y="255"/>
                      <a:pt x="248" y="241"/>
                      <a:pt x="248" y="222"/>
                    </a:cubicBezTo>
                    <a:cubicBezTo>
                      <a:pt x="248" y="206"/>
                      <a:pt x="262" y="192"/>
                      <a:pt x="278" y="192"/>
                    </a:cubicBezTo>
                    <a:cubicBezTo>
                      <a:pt x="297" y="192"/>
                      <a:pt x="313" y="206"/>
                      <a:pt x="313" y="222"/>
                    </a:cubicBezTo>
                    <a:cubicBezTo>
                      <a:pt x="313" y="241"/>
                      <a:pt x="297" y="255"/>
                      <a:pt x="278" y="2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0" name="Group 149"/>
            <p:cNvGrpSpPr/>
            <p:nvPr/>
          </p:nvGrpSpPr>
          <p:grpSpPr>
            <a:xfrm>
              <a:off x="9637920" y="3117566"/>
              <a:ext cx="422078" cy="255827"/>
              <a:chOff x="6317492" y="4290559"/>
              <a:chExt cx="940136" cy="569829"/>
            </a:xfrm>
          </p:grpSpPr>
          <p:sp>
            <p:nvSpPr>
              <p:cNvPr id="152" name="Freeform 6"/>
              <p:cNvSpPr>
                <a:spLocks noEditPoints="1"/>
              </p:cNvSpPr>
              <p:nvPr/>
            </p:nvSpPr>
            <p:spPr bwMode="auto">
              <a:xfrm>
                <a:off x="6317492" y="4290559"/>
                <a:ext cx="282866" cy="569829"/>
              </a:xfrm>
              <a:custGeom>
                <a:avLst/>
                <a:gdLst>
                  <a:gd name="T0" fmla="*/ 340 w 351"/>
                  <a:gd name="T1" fmla="*/ 0 h 707"/>
                  <a:gd name="T2" fmla="*/ 8 w 351"/>
                  <a:gd name="T3" fmla="*/ 0 h 707"/>
                  <a:gd name="T4" fmla="*/ 0 w 351"/>
                  <a:gd name="T5" fmla="*/ 8 h 707"/>
                  <a:gd name="T6" fmla="*/ 0 w 351"/>
                  <a:gd name="T7" fmla="*/ 146 h 707"/>
                  <a:gd name="T8" fmla="*/ 0 w 351"/>
                  <a:gd name="T9" fmla="*/ 157 h 707"/>
                  <a:gd name="T10" fmla="*/ 0 w 351"/>
                  <a:gd name="T11" fmla="*/ 699 h 707"/>
                  <a:gd name="T12" fmla="*/ 8 w 351"/>
                  <a:gd name="T13" fmla="*/ 707 h 707"/>
                  <a:gd name="T14" fmla="*/ 340 w 351"/>
                  <a:gd name="T15" fmla="*/ 707 h 707"/>
                  <a:gd name="T16" fmla="*/ 351 w 351"/>
                  <a:gd name="T17" fmla="*/ 699 h 707"/>
                  <a:gd name="T18" fmla="*/ 351 w 351"/>
                  <a:gd name="T19" fmla="*/ 157 h 707"/>
                  <a:gd name="T20" fmla="*/ 351 w 351"/>
                  <a:gd name="T21" fmla="*/ 146 h 707"/>
                  <a:gd name="T22" fmla="*/ 351 w 351"/>
                  <a:gd name="T23" fmla="*/ 8 h 707"/>
                  <a:gd name="T24" fmla="*/ 340 w 351"/>
                  <a:gd name="T25" fmla="*/ 0 h 707"/>
                  <a:gd name="T26" fmla="*/ 43 w 351"/>
                  <a:gd name="T27" fmla="*/ 108 h 707"/>
                  <a:gd name="T28" fmla="*/ 43 w 351"/>
                  <a:gd name="T29" fmla="*/ 76 h 707"/>
                  <a:gd name="T30" fmla="*/ 51 w 351"/>
                  <a:gd name="T31" fmla="*/ 65 h 707"/>
                  <a:gd name="T32" fmla="*/ 300 w 351"/>
                  <a:gd name="T33" fmla="*/ 65 h 707"/>
                  <a:gd name="T34" fmla="*/ 308 w 351"/>
                  <a:gd name="T35" fmla="*/ 76 h 707"/>
                  <a:gd name="T36" fmla="*/ 308 w 351"/>
                  <a:gd name="T37" fmla="*/ 108 h 707"/>
                  <a:gd name="T38" fmla="*/ 300 w 351"/>
                  <a:gd name="T39" fmla="*/ 116 h 707"/>
                  <a:gd name="T40" fmla="*/ 51 w 351"/>
                  <a:gd name="T41" fmla="*/ 116 h 707"/>
                  <a:gd name="T42" fmla="*/ 43 w 351"/>
                  <a:gd name="T43" fmla="*/ 108 h 707"/>
                  <a:gd name="T44" fmla="*/ 278 w 351"/>
                  <a:gd name="T45" fmla="*/ 333 h 707"/>
                  <a:gd name="T46" fmla="*/ 257 w 351"/>
                  <a:gd name="T47" fmla="*/ 309 h 707"/>
                  <a:gd name="T48" fmla="*/ 278 w 351"/>
                  <a:gd name="T49" fmla="*/ 287 h 707"/>
                  <a:gd name="T50" fmla="*/ 305 w 351"/>
                  <a:gd name="T51" fmla="*/ 309 h 707"/>
                  <a:gd name="T52" fmla="*/ 278 w 351"/>
                  <a:gd name="T53" fmla="*/ 333 h 707"/>
                  <a:gd name="T54" fmla="*/ 278 w 351"/>
                  <a:gd name="T55" fmla="*/ 255 h 707"/>
                  <a:gd name="T56" fmla="*/ 248 w 351"/>
                  <a:gd name="T57" fmla="*/ 222 h 707"/>
                  <a:gd name="T58" fmla="*/ 278 w 351"/>
                  <a:gd name="T59" fmla="*/ 192 h 707"/>
                  <a:gd name="T60" fmla="*/ 313 w 351"/>
                  <a:gd name="T61" fmla="*/ 222 h 707"/>
                  <a:gd name="T62" fmla="*/ 278 w 351"/>
                  <a:gd name="T63" fmla="*/ 255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1" h="707">
                    <a:moveTo>
                      <a:pt x="340" y="0"/>
                    </a:moveTo>
                    <a:cubicBezTo>
                      <a:pt x="8" y="0"/>
                      <a:pt x="8" y="0"/>
                      <a:pt x="8" y="0"/>
                    </a:cubicBezTo>
                    <a:cubicBezTo>
                      <a:pt x="5" y="0"/>
                      <a:pt x="0" y="2"/>
                      <a:pt x="0" y="8"/>
                    </a:cubicBezTo>
                    <a:cubicBezTo>
                      <a:pt x="0" y="146"/>
                      <a:pt x="0" y="146"/>
                      <a:pt x="0" y="146"/>
                    </a:cubicBezTo>
                    <a:cubicBezTo>
                      <a:pt x="0" y="157"/>
                      <a:pt x="0" y="157"/>
                      <a:pt x="0" y="157"/>
                    </a:cubicBezTo>
                    <a:cubicBezTo>
                      <a:pt x="0" y="699"/>
                      <a:pt x="0" y="699"/>
                      <a:pt x="0" y="699"/>
                    </a:cubicBezTo>
                    <a:cubicBezTo>
                      <a:pt x="0" y="704"/>
                      <a:pt x="5" y="707"/>
                      <a:pt x="8" y="707"/>
                    </a:cubicBezTo>
                    <a:cubicBezTo>
                      <a:pt x="340" y="707"/>
                      <a:pt x="340" y="707"/>
                      <a:pt x="340" y="707"/>
                    </a:cubicBezTo>
                    <a:cubicBezTo>
                      <a:pt x="346" y="707"/>
                      <a:pt x="351" y="704"/>
                      <a:pt x="351" y="699"/>
                    </a:cubicBezTo>
                    <a:cubicBezTo>
                      <a:pt x="351" y="157"/>
                      <a:pt x="351" y="157"/>
                      <a:pt x="351" y="157"/>
                    </a:cubicBezTo>
                    <a:cubicBezTo>
                      <a:pt x="351" y="146"/>
                      <a:pt x="351" y="146"/>
                      <a:pt x="351" y="146"/>
                    </a:cubicBezTo>
                    <a:cubicBezTo>
                      <a:pt x="351" y="8"/>
                      <a:pt x="351" y="8"/>
                      <a:pt x="351" y="8"/>
                    </a:cubicBezTo>
                    <a:cubicBezTo>
                      <a:pt x="351" y="2"/>
                      <a:pt x="346" y="0"/>
                      <a:pt x="340" y="0"/>
                    </a:cubicBezTo>
                    <a:close/>
                    <a:moveTo>
                      <a:pt x="43" y="108"/>
                    </a:moveTo>
                    <a:cubicBezTo>
                      <a:pt x="43" y="76"/>
                      <a:pt x="43" y="76"/>
                      <a:pt x="43" y="76"/>
                    </a:cubicBezTo>
                    <a:cubicBezTo>
                      <a:pt x="43" y="70"/>
                      <a:pt x="46" y="65"/>
                      <a:pt x="51" y="65"/>
                    </a:cubicBezTo>
                    <a:cubicBezTo>
                      <a:pt x="300" y="65"/>
                      <a:pt x="300" y="65"/>
                      <a:pt x="300" y="65"/>
                    </a:cubicBezTo>
                    <a:cubicBezTo>
                      <a:pt x="305" y="65"/>
                      <a:pt x="308" y="70"/>
                      <a:pt x="308" y="76"/>
                    </a:cubicBezTo>
                    <a:cubicBezTo>
                      <a:pt x="308" y="108"/>
                      <a:pt x="308" y="108"/>
                      <a:pt x="308" y="108"/>
                    </a:cubicBezTo>
                    <a:cubicBezTo>
                      <a:pt x="308" y="114"/>
                      <a:pt x="305" y="116"/>
                      <a:pt x="300" y="116"/>
                    </a:cubicBezTo>
                    <a:cubicBezTo>
                      <a:pt x="51" y="116"/>
                      <a:pt x="51" y="116"/>
                      <a:pt x="51" y="116"/>
                    </a:cubicBezTo>
                    <a:cubicBezTo>
                      <a:pt x="46" y="116"/>
                      <a:pt x="43" y="114"/>
                      <a:pt x="43" y="108"/>
                    </a:cubicBezTo>
                    <a:close/>
                    <a:moveTo>
                      <a:pt x="278" y="333"/>
                    </a:moveTo>
                    <a:cubicBezTo>
                      <a:pt x="267" y="333"/>
                      <a:pt x="257" y="322"/>
                      <a:pt x="257" y="309"/>
                    </a:cubicBezTo>
                    <a:cubicBezTo>
                      <a:pt x="257" y="298"/>
                      <a:pt x="267" y="287"/>
                      <a:pt x="278" y="287"/>
                    </a:cubicBezTo>
                    <a:cubicBezTo>
                      <a:pt x="292" y="287"/>
                      <a:pt x="305" y="298"/>
                      <a:pt x="305" y="309"/>
                    </a:cubicBezTo>
                    <a:cubicBezTo>
                      <a:pt x="305" y="322"/>
                      <a:pt x="292" y="333"/>
                      <a:pt x="278" y="333"/>
                    </a:cubicBezTo>
                    <a:close/>
                    <a:moveTo>
                      <a:pt x="278" y="255"/>
                    </a:moveTo>
                    <a:cubicBezTo>
                      <a:pt x="262" y="255"/>
                      <a:pt x="248" y="241"/>
                      <a:pt x="248" y="222"/>
                    </a:cubicBezTo>
                    <a:cubicBezTo>
                      <a:pt x="248" y="206"/>
                      <a:pt x="262" y="192"/>
                      <a:pt x="278" y="192"/>
                    </a:cubicBezTo>
                    <a:cubicBezTo>
                      <a:pt x="297" y="192"/>
                      <a:pt x="313" y="206"/>
                      <a:pt x="313" y="222"/>
                    </a:cubicBezTo>
                    <a:cubicBezTo>
                      <a:pt x="313" y="241"/>
                      <a:pt x="297" y="255"/>
                      <a:pt x="278" y="2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6"/>
              <p:cNvSpPr>
                <a:spLocks noEditPoints="1"/>
              </p:cNvSpPr>
              <p:nvPr/>
            </p:nvSpPr>
            <p:spPr bwMode="auto">
              <a:xfrm>
                <a:off x="6646127" y="4290559"/>
                <a:ext cx="282866" cy="569829"/>
              </a:xfrm>
              <a:custGeom>
                <a:avLst/>
                <a:gdLst>
                  <a:gd name="T0" fmla="*/ 340 w 351"/>
                  <a:gd name="T1" fmla="*/ 0 h 707"/>
                  <a:gd name="T2" fmla="*/ 8 w 351"/>
                  <a:gd name="T3" fmla="*/ 0 h 707"/>
                  <a:gd name="T4" fmla="*/ 0 w 351"/>
                  <a:gd name="T5" fmla="*/ 8 h 707"/>
                  <a:gd name="T6" fmla="*/ 0 w 351"/>
                  <a:gd name="T7" fmla="*/ 146 h 707"/>
                  <a:gd name="T8" fmla="*/ 0 w 351"/>
                  <a:gd name="T9" fmla="*/ 157 h 707"/>
                  <a:gd name="T10" fmla="*/ 0 w 351"/>
                  <a:gd name="T11" fmla="*/ 699 h 707"/>
                  <a:gd name="T12" fmla="*/ 8 w 351"/>
                  <a:gd name="T13" fmla="*/ 707 h 707"/>
                  <a:gd name="T14" fmla="*/ 340 w 351"/>
                  <a:gd name="T15" fmla="*/ 707 h 707"/>
                  <a:gd name="T16" fmla="*/ 351 w 351"/>
                  <a:gd name="T17" fmla="*/ 699 h 707"/>
                  <a:gd name="T18" fmla="*/ 351 w 351"/>
                  <a:gd name="T19" fmla="*/ 157 h 707"/>
                  <a:gd name="T20" fmla="*/ 351 w 351"/>
                  <a:gd name="T21" fmla="*/ 146 h 707"/>
                  <a:gd name="T22" fmla="*/ 351 w 351"/>
                  <a:gd name="T23" fmla="*/ 8 h 707"/>
                  <a:gd name="T24" fmla="*/ 340 w 351"/>
                  <a:gd name="T25" fmla="*/ 0 h 707"/>
                  <a:gd name="T26" fmla="*/ 43 w 351"/>
                  <a:gd name="T27" fmla="*/ 108 h 707"/>
                  <a:gd name="T28" fmla="*/ 43 w 351"/>
                  <a:gd name="T29" fmla="*/ 76 h 707"/>
                  <a:gd name="T30" fmla="*/ 51 w 351"/>
                  <a:gd name="T31" fmla="*/ 65 h 707"/>
                  <a:gd name="T32" fmla="*/ 300 w 351"/>
                  <a:gd name="T33" fmla="*/ 65 h 707"/>
                  <a:gd name="T34" fmla="*/ 308 w 351"/>
                  <a:gd name="T35" fmla="*/ 76 h 707"/>
                  <a:gd name="T36" fmla="*/ 308 w 351"/>
                  <a:gd name="T37" fmla="*/ 108 h 707"/>
                  <a:gd name="T38" fmla="*/ 300 w 351"/>
                  <a:gd name="T39" fmla="*/ 116 h 707"/>
                  <a:gd name="T40" fmla="*/ 51 w 351"/>
                  <a:gd name="T41" fmla="*/ 116 h 707"/>
                  <a:gd name="T42" fmla="*/ 43 w 351"/>
                  <a:gd name="T43" fmla="*/ 108 h 707"/>
                  <a:gd name="T44" fmla="*/ 278 w 351"/>
                  <a:gd name="T45" fmla="*/ 333 h 707"/>
                  <a:gd name="T46" fmla="*/ 257 w 351"/>
                  <a:gd name="T47" fmla="*/ 309 h 707"/>
                  <a:gd name="T48" fmla="*/ 278 w 351"/>
                  <a:gd name="T49" fmla="*/ 287 h 707"/>
                  <a:gd name="T50" fmla="*/ 305 w 351"/>
                  <a:gd name="T51" fmla="*/ 309 h 707"/>
                  <a:gd name="T52" fmla="*/ 278 w 351"/>
                  <a:gd name="T53" fmla="*/ 333 h 707"/>
                  <a:gd name="T54" fmla="*/ 278 w 351"/>
                  <a:gd name="T55" fmla="*/ 255 h 707"/>
                  <a:gd name="T56" fmla="*/ 248 w 351"/>
                  <a:gd name="T57" fmla="*/ 222 h 707"/>
                  <a:gd name="T58" fmla="*/ 278 w 351"/>
                  <a:gd name="T59" fmla="*/ 192 h 707"/>
                  <a:gd name="T60" fmla="*/ 313 w 351"/>
                  <a:gd name="T61" fmla="*/ 222 h 707"/>
                  <a:gd name="T62" fmla="*/ 278 w 351"/>
                  <a:gd name="T63" fmla="*/ 255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1" h="707">
                    <a:moveTo>
                      <a:pt x="340" y="0"/>
                    </a:moveTo>
                    <a:cubicBezTo>
                      <a:pt x="8" y="0"/>
                      <a:pt x="8" y="0"/>
                      <a:pt x="8" y="0"/>
                    </a:cubicBezTo>
                    <a:cubicBezTo>
                      <a:pt x="5" y="0"/>
                      <a:pt x="0" y="2"/>
                      <a:pt x="0" y="8"/>
                    </a:cubicBezTo>
                    <a:cubicBezTo>
                      <a:pt x="0" y="146"/>
                      <a:pt x="0" y="146"/>
                      <a:pt x="0" y="146"/>
                    </a:cubicBezTo>
                    <a:cubicBezTo>
                      <a:pt x="0" y="157"/>
                      <a:pt x="0" y="157"/>
                      <a:pt x="0" y="157"/>
                    </a:cubicBezTo>
                    <a:cubicBezTo>
                      <a:pt x="0" y="699"/>
                      <a:pt x="0" y="699"/>
                      <a:pt x="0" y="699"/>
                    </a:cubicBezTo>
                    <a:cubicBezTo>
                      <a:pt x="0" y="704"/>
                      <a:pt x="5" y="707"/>
                      <a:pt x="8" y="707"/>
                    </a:cubicBezTo>
                    <a:cubicBezTo>
                      <a:pt x="340" y="707"/>
                      <a:pt x="340" y="707"/>
                      <a:pt x="340" y="707"/>
                    </a:cubicBezTo>
                    <a:cubicBezTo>
                      <a:pt x="346" y="707"/>
                      <a:pt x="351" y="704"/>
                      <a:pt x="351" y="699"/>
                    </a:cubicBezTo>
                    <a:cubicBezTo>
                      <a:pt x="351" y="157"/>
                      <a:pt x="351" y="157"/>
                      <a:pt x="351" y="157"/>
                    </a:cubicBezTo>
                    <a:cubicBezTo>
                      <a:pt x="351" y="146"/>
                      <a:pt x="351" y="146"/>
                      <a:pt x="351" y="146"/>
                    </a:cubicBezTo>
                    <a:cubicBezTo>
                      <a:pt x="351" y="8"/>
                      <a:pt x="351" y="8"/>
                      <a:pt x="351" y="8"/>
                    </a:cubicBezTo>
                    <a:cubicBezTo>
                      <a:pt x="351" y="2"/>
                      <a:pt x="346" y="0"/>
                      <a:pt x="340" y="0"/>
                    </a:cubicBezTo>
                    <a:close/>
                    <a:moveTo>
                      <a:pt x="43" y="108"/>
                    </a:moveTo>
                    <a:cubicBezTo>
                      <a:pt x="43" y="76"/>
                      <a:pt x="43" y="76"/>
                      <a:pt x="43" y="76"/>
                    </a:cubicBezTo>
                    <a:cubicBezTo>
                      <a:pt x="43" y="70"/>
                      <a:pt x="46" y="65"/>
                      <a:pt x="51" y="65"/>
                    </a:cubicBezTo>
                    <a:cubicBezTo>
                      <a:pt x="300" y="65"/>
                      <a:pt x="300" y="65"/>
                      <a:pt x="300" y="65"/>
                    </a:cubicBezTo>
                    <a:cubicBezTo>
                      <a:pt x="305" y="65"/>
                      <a:pt x="308" y="70"/>
                      <a:pt x="308" y="76"/>
                    </a:cubicBezTo>
                    <a:cubicBezTo>
                      <a:pt x="308" y="108"/>
                      <a:pt x="308" y="108"/>
                      <a:pt x="308" y="108"/>
                    </a:cubicBezTo>
                    <a:cubicBezTo>
                      <a:pt x="308" y="114"/>
                      <a:pt x="305" y="116"/>
                      <a:pt x="300" y="116"/>
                    </a:cubicBezTo>
                    <a:cubicBezTo>
                      <a:pt x="51" y="116"/>
                      <a:pt x="51" y="116"/>
                      <a:pt x="51" y="116"/>
                    </a:cubicBezTo>
                    <a:cubicBezTo>
                      <a:pt x="46" y="116"/>
                      <a:pt x="43" y="114"/>
                      <a:pt x="43" y="108"/>
                    </a:cubicBezTo>
                    <a:close/>
                    <a:moveTo>
                      <a:pt x="278" y="333"/>
                    </a:moveTo>
                    <a:cubicBezTo>
                      <a:pt x="267" y="333"/>
                      <a:pt x="257" y="322"/>
                      <a:pt x="257" y="309"/>
                    </a:cubicBezTo>
                    <a:cubicBezTo>
                      <a:pt x="257" y="298"/>
                      <a:pt x="267" y="287"/>
                      <a:pt x="278" y="287"/>
                    </a:cubicBezTo>
                    <a:cubicBezTo>
                      <a:pt x="292" y="287"/>
                      <a:pt x="305" y="298"/>
                      <a:pt x="305" y="309"/>
                    </a:cubicBezTo>
                    <a:cubicBezTo>
                      <a:pt x="305" y="322"/>
                      <a:pt x="292" y="333"/>
                      <a:pt x="278" y="333"/>
                    </a:cubicBezTo>
                    <a:close/>
                    <a:moveTo>
                      <a:pt x="278" y="255"/>
                    </a:moveTo>
                    <a:cubicBezTo>
                      <a:pt x="262" y="255"/>
                      <a:pt x="248" y="241"/>
                      <a:pt x="248" y="222"/>
                    </a:cubicBezTo>
                    <a:cubicBezTo>
                      <a:pt x="248" y="206"/>
                      <a:pt x="262" y="192"/>
                      <a:pt x="278" y="192"/>
                    </a:cubicBezTo>
                    <a:cubicBezTo>
                      <a:pt x="297" y="192"/>
                      <a:pt x="313" y="206"/>
                      <a:pt x="313" y="222"/>
                    </a:cubicBezTo>
                    <a:cubicBezTo>
                      <a:pt x="313" y="241"/>
                      <a:pt x="297" y="255"/>
                      <a:pt x="278" y="2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6"/>
              <p:cNvSpPr>
                <a:spLocks noEditPoints="1"/>
              </p:cNvSpPr>
              <p:nvPr/>
            </p:nvSpPr>
            <p:spPr bwMode="auto">
              <a:xfrm>
                <a:off x="6974762" y="4290559"/>
                <a:ext cx="282866" cy="569829"/>
              </a:xfrm>
              <a:custGeom>
                <a:avLst/>
                <a:gdLst>
                  <a:gd name="T0" fmla="*/ 340 w 351"/>
                  <a:gd name="T1" fmla="*/ 0 h 707"/>
                  <a:gd name="T2" fmla="*/ 8 w 351"/>
                  <a:gd name="T3" fmla="*/ 0 h 707"/>
                  <a:gd name="T4" fmla="*/ 0 w 351"/>
                  <a:gd name="T5" fmla="*/ 8 h 707"/>
                  <a:gd name="T6" fmla="*/ 0 w 351"/>
                  <a:gd name="T7" fmla="*/ 146 h 707"/>
                  <a:gd name="T8" fmla="*/ 0 w 351"/>
                  <a:gd name="T9" fmla="*/ 157 h 707"/>
                  <a:gd name="T10" fmla="*/ 0 w 351"/>
                  <a:gd name="T11" fmla="*/ 699 h 707"/>
                  <a:gd name="T12" fmla="*/ 8 w 351"/>
                  <a:gd name="T13" fmla="*/ 707 h 707"/>
                  <a:gd name="T14" fmla="*/ 340 w 351"/>
                  <a:gd name="T15" fmla="*/ 707 h 707"/>
                  <a:gd name="T16" fmla="*/ 351 w 351"/>
                  <a:gd name="T17" fmla="*/ 699 h 707"/>
                  <a:gd name="T18" fmla="*/ 351 w 351"/>
                  <a:gd name="T19" fmla="*/ 157 h 707"/>
                  <a:gd name="T20" fmla="*/ 351 w 351"/>
                  <a:gd name="T21" fmla="*/ 146 h 707"/>
                  <a:gd name="T22" fmla="*/ 351 w 351"/>
                  <a:gd name="T23" fmla="*/ 8 h 707"/>
                  <a:gd name="T24" fmla="*/ 340 w 351"/>
                  <a:gd name="T25" fmla="*/ 0 h 707"/>
                  <a:gd name="T26" fmla="*/ 43 w 351"/>
                  <a:gd name="T27" fmla="*/ 108 h 707"/>
                  <a:gd name="T28" fmla="*/ 43 w 351"/>
                  <a:gd name="T29" fmla="*/ 76 h 707"/>
                  <a:gd name="T30" fmla="*/ 51 w 351"/>
                  <a:gd name="T31" fmla="*/ 65 h 707"/>
                  <a:gd name="T32" fmla="*/ 300 w 351"/>
                  <a:gd name="T33" fmla="*/ 65 h 707"/>
                  <a:gd name="T34" fmla="*/ 308 w 351"/>
                  <a:gd name="T35" fmla="*/ 76 h 707"/>
                  <a:gd name="T36" fmla="*/ 308 w 351"/>
                  <a:gd name="T37" fmla="*/ 108 h 707"/>
                  <a:gd name="T38" fmla="*/ 300 w 351"/>
                  <a:gd name="T39" fmla="*/ 116 h 707"/>
                  <a:gd name="T40" fmla="*/ 51 w 351"/>
                  <a:gd name="T41" fmla="*/ 116 h 707"/>
                  <a:gd name="T42" fmla="*/ 43 w 351"/>
                  <a:gd name="T43" fmla="*/ 108 h 707"/>
                  <a:gd name="T44" fmla="*/ 278 w 351"/>
                  <a:gd name="T45" fmla="*/ 333 h 707"/>
                  <a:gd name="T46" fmla="*/ 257 w 351"/>
                  <a:gd name="T47" fmla="*/ 309 h 707"/>
                  <a:gd name="T48" fmla="*/ 278 w 351"/>
                  <a:gd name="T49" fmla="*/ 287 h 707"/>
                  <a:gd name="T50" fmla="*/ 305 w 351"/>
                  <a:gd name="T51" fmla="*/ 309 h 707"/>
                  <a:gd name="T52" fmla="*/ 278 w 351"/>
                  <a:gd name="T53" fmla="*/ 333 h 707"/>
                  <a:gd name="T54" fmla="*/ 278 w 351"/>
                  <a:gd name="T55" fmla="*/ 255 h 707"/>
                  <a:gd name="T56" fmla="*/ 248 w 351"/>
                  <a:gd name="T57" fmla="*/ 222 h 707"/>
                  <a:gd name="T58" fmla="*/ 278 w 351"/>
                  <a:gd name="T59" fmla="*/ 192 h 707"/>
                  <a:gd name="T60" fmla="*/ 313 w 351"/>
                  <a:gd name="T61" fmla="*/ 222 h 707"/>
                  <a:gd name="T62" fmla="*/ 278 w 351"/>
                  <a:gd name="T63" fmla="*/ 255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1" h="707">
                    <a:moveTo>
                      <a:pt x="340" y="0"/>
                    </a:moveTo>
                    <a:cubicBezTo>
                      <a:pt x="8" y="0"/>
                      <a:pt x="8" y="0"/>
                      <a:pt x="8" y="0"/>
                    </a:cubicBezTo>
                    <a:cubicBezTo>
                      <a:pt x="5" y="0"/>
                      <a:pt x="0" y="2"/>
                      <a:pt x="0" y="8"/>
                    </a:cubicBezTo>
                    <a:cubicBezTo>
                      <a:pt x="0" y="146"/>
                      <a:pt x="0" y="146"/>
                      <a:pt x="0" y="146"/>
                    </a:cubicBezTo>
                    <a:cubicBezTo>
                      <a:pt x="0" y="157"/>
                      <a:pt x="0" y="157"/>
                      <a:pt x="0" y="157"/>
                    </a:cubicBezTo>
                    <a:cubicBezTo>
                      <a:pt x="0" y="699"/>
                      <a:pt x="0" y="699"/>
                      <a:pt x="0" y="699"/>
                    </a:cubicBezTo>
                    <a:cubicBezTo>
                      <a:pt x="0" y="704"/>
                      <a:pt x="5" y="707"/>
                      <a:pt x="8" y="707"/>
                    </a:cubicBezTo>
                    <a:cubicBezTo>
                      <a:pt x="340" y="707"/>
                      <a:pt x="340" y="707"/>
                      <a:pt x="340" y="707"/>
                    </a:cubicBezTo>
                    <a:cubicBezTo>
                      <a:pt x="346" y="707"/>
                      <a:pt x="351" y="704"/>
                      <a:pt x="351" y="699"/>
                    </a:cubicBezTo>
                    <a:cubicBezTo>
                      <a:pt x="351" y="157"/>
                      <a:pt x="351" y="157"/>
                      <a:pt x="351" y="157"/>
                    </a:cubicBezTo>
                    <a:cubicBezTo>
                      <a:pt x="351" y="146"/>
                      <a:pt x="351" y="146"/>
                      <a:pt x="351" y="146"/>
                    </a:cubicBezTo>
                    <a:cubicBezTo>
                      <a:pt x="351" y="8"/>
                      <a:pt x="351" y="8"/>
                      <a:pt x="351" y="8"/>
                    </a:cubicBezTo>
                    <a:cubicBezTo>
                      <a:pt x="351" y="2"/>
                      <a:pt x="346" y="0"/>
                      <a:pt x="340" y="0"/>
                    </a:cubicBezTo>
                    <a:close/>
                    <a:moveTo>
                      <a:pt x="43" y="108"/>
                    </a:moveTo>
                    <a:cubicBezTo>
                      <a:pt x="43" y="76"/>
                      <a:pt x="43" y="76"/>
                      <a:pt x="43" y="76"/>
                    </a:cubicBezTo>
                    <a:cubicBezTo>
                      <a:pt x="43" y="70"/>
                      <a:pt x="46" y="65"/>
                      <a:pt x="51" y="65"/>
                    </a:cubicBezTo>
                    <a:cubicBezTo>
                      <a:pt x="300" y="65"/>
                      <a:pt x="300" y="65"/>
                      <a:pt x="300" y="65"/>
                    </a:cubicBezTo>
                    <a:cubicBezTo>
                      <a:pt x="305" y="65"/>
                      <a:pt x="308" y="70"/>
                      <a:pt x="308" y="76"/>
                    </a:cubicBezTo>
                    <a:cubicBezTo>
                      <a:pt x="308" y="108"/>
                      <a:pt x="308" y="108"/>
                      <a:pt x="308" y="108"/>
                    </a:cubicBezTo>
                    <a:cubicBezTo>
                      <a:pt x="308" y="114"/>
                      <a:pt x="305" y="116"/>
                      <a:pt x="300" y="116"/>
                    </a:cubicBezTo>
                    <a:cubicBezTo>
                      <a:pt x="51" y="116"/>
                      <a:pt x="51" y="116"/>
                      <a:pt x="51" y="116"/>
                    </a:cubicBezTo>
                    <a:cubicBezTo>
                      <a:pt x="46" y="116"/>
                      <a:pt x="43" y="114"/>
                      <a:pt x="43" y="108"/>
                    </a:cubicBezTo>
                    <a:close/>
                    <a:moveTo>
                      <a:pt x="278" y="333"/>
                    </a:moveTo>
                    <a:cubicBezTo>
                      <a:pt x="267" y="333"/>
                      <a:pt x="257" y="322"/>
                      <a:pt x="257" y="309"/>
                    </a:cubicBezTo>
                    <a:cubicBezTo>
                      <a:pt x="257" y="298"/>
                      <a:pt x="267" y="287"/>
                      <a:pt x="278" y="287"/>
                    </a:cubicBezTo>
                    <a:cubicBezTo>
                      <a:pt x="292" y="287"/>
                      <a:pt x="305" y="298"/>
                      <a:pt x="305" y="309"/>
                    </a:cubicBezTo>
                    <a:cubicBezTo>
                      <a:pt x="305" y="322"/>
                      <a:pt x="292" y="333"/>
                      <a:pt x="278" y="333"/>
                    </a:cubicBezTo>
                    <a:close/>
                    <a:moveTo>
                      <a:pt x="278" y="255"/>
                    </a:moveTo>
                    <a:cubicBezTo>
                      <a:pt x="262" y="255"/>
                      <a:pt x="248" y="241"/>
                      <a:pt x="248" y="222"/>
                    </a:cubicBezTo>
                    <a:cubicBezTo>
                      <a:pt x="248" y="206"/>
                      <a:pt x="262" y="192"/>
                      <a:pt x="278" y="192"/>
                    </a:cubicBezTo>
                    <a:cubicBezTo>
                      <a:pt x="297" y="192"/>
                      <a:pt x="313" y="206"/>
                      <a:pt x="313" y="222"/>
                    </a:cubicBezTo>
                    <a:cubicBezTo>
                      <a:pt x="313" y="241"/>
                      <a:pt x="297" y="255"/>
                      <a:pt x="278" y="2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5" name="Group 154"/>
            <p:cNvGrpSpPr/>
            <p:nvPr/>
          </p:nvGrpSpPr>
          <p:grpSpPr>
            <a:xfrm>
              <a:off x="8822802" y="2841295"/>
              <a:ext cx="422078" cy="255827"/>
              <a:chOff x="6317492" y="4166369"/>
              <a:chExt cx="940136" cy="569829"/>
            </a:xfrm>
          </p:grpSpPr>
          <p:sp>
            <p:nvSpPr>
              <p:cNvPr id="156" name="Freeform 6"/>
              <p:cNvSpPr>
                <a:spLocks noEditPoints="1"/>
              </p:cNvSpPr>
              <p:nvPr/>
            </p:nvSpPr>
            <p:spPr bwMode="auto">
              <a:xfrm>
                <a:off x="6317492" y="4166369"/>
                <a:ext cx="282866" cy="569829"/>
              </a:xfrm>
              <a:custGeom>
                <a:avLst/>
                <a:gdLst>
                  <a:gd name="T0" fmla="*/ 340 w 351"/>
                  <a:gd name="T1" fmla="*/ 0 h 707"/>
                  <a:gd name="T2" fmla="*/ 8 w 351"/>
                  <a:gd name="T3" fmla="*/ 0 h 707"/>
                  <a:gd name="T4" fmla="*/ 0 w 351"/>
                  <a:gd name="T5" fmla="*/ 8 h 707"/>
                  <a:gd name="T6" fmla="*/ 0 w 351"/>
                  <a:gd name="T7" fmla="*/ 146 h 707"/>
                  <a:gd name="T8" fmla="*/ 0 w 351"/>
                  <a:gd name="T9" fmla="*/ 157 h 707"/>
                  <a:gd name="T10" fmla="*/ 0 w 351"/>
                  <a:gd name="T11" fmla="*/ 699 h 707"/>
                  <a:gd name="T12" fmla="*/ 8 w 351"/>
                  <a:gd name="T13" fmla="*/ 707 h 707"/>
                  <a:gd name="T14" fmla="*/ 340 w 351"/>
                  <a:gd name="T15" fmla="*/ 707 h 707"/>
                  <a:gd name="T16" fmla="*/ 351 w 351"/>
                  <a:gd name="T17" fmla="*/ 699 h 707"/>
                  <a:gd name="T18" fmla="*/ 351 w 351"/>
                  <a:gd name="T19" fmla="*/ 157 h 707"/>
                  <a:gd name="T20" fmla="*/ 351 w 351"/>
                  <a:gd name="T21" fmla="*/ 146 h 707"/>
                  <a:gd name="T22" fmla="*/ 351 w 351"/>
                  <a:gd name="T23" fmla="*/ 8 h 707"/>
                  <a:gd name="T24" fmla="*/ 340 w 351"/>
                  <a:gd name="T25" fmla="*/ 0 h 707"/>
                  <a:gd name="T26" fmla="*/ 43 w 351"/>
                  <a:gd name="T27" fmla="*/ 108 h 707"/>
                  <a:gd name="T28" fmla="*/ 43 w 351"/>
                  <a:gd name="T29" fmla="*/ 76 h 707"/>
                  <a:gd name="T30" fmla="*/ 51 w 351"/>
                  <a:gd name="T31" fmla="*/ 65 h 707"/>
                  <a:gd name="T32" fmla="*/ 300 w 351"/>
                  <a:gd name="T33" fmla="*/ 65 h 707"/>
                  <a:gd name="T34" fmla="*/ 308 w 351"/>
                  <a:gd name="T35" fmla="*/ 76 h 707"/>
                  <a:gd name="T36" fmla="*/ 308 w 351"/>
                  <a:gd name="T37" fmla="*/ 108 h 707"/>
                  <a:gd name="T38" fmla="*/ 300 w 351"/>
                  <a:gd name="T39" fmla="*/ 116 h 707"/>
                  <a:gd name="T40" fmla="*/ 51 w 351"/>
                  <a:gd name="T41" fmla="*/ 116 h 707"/>
                  <a:gd name="T42" fmla="*/ 43 w 351"/>
                  <a:gd name="T43" fmla="*/ 108 h 707"/>
                  <a:gd name="T44" fmla="*/ 278 w 351"/>
                  <a:gd name="T45" fmla="*/ 333 h 707"/>
                  <a:gd name="T46" fmla="*/ 257 w 351"/>
                  <a:gd name="T47" fmla="*/ 309 h 707"/>
                  <a:gd name="T48" fmla="*/ 278 w 351"/>
                  <a:gd name="T49" fmla="*/ 287 h 707"/>
                  <a:gd name="T50" fmla="*/ 305 w 351"/>
                  <a:gd name="T51" fmla="*/ 309 h 707"/>
                  <a:gd name="T52" fmla="*/ 278 w 351"/>
                  <a:gd name="T53" fmla="*/ 333 h 707"/>
                  <a:gd name="T54" fmla="*/ 278 w 351"/>
                  <a:gd name="T55" fmla="*/ 255 h 707"/>
                  <a:gd name="T56" fmla="*/ 248 w 351"/>
                  <a:gd name="T57" fmla="*/ 222 h 707"/>
                  <a:gd name="T58" fmla="*/ 278 w 351"/>
                  <a:gd name="T59" fmla="*/ 192 h 707"/>
                  <a:gd name="T60" fmla="*/ 313 w 351"/>
                  <a:gd name="T61" fmla="*/ 222 h 707"/>
                  <a:gd name="T62" fmla="*/ 278 w 351"/>
                  <a:gd name="T63" fmla="*/ 255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1" h="707">
                    <a:moveTo>
                      <a:pt x="340" y="0"/>
                    </a:moveTo>
                    <a:cubicBezTo>
                      <a:pt x="8" y="0"/>
                      <a:pt x="8" y="0"/>
                      <a:pt x="8" y="0"/>
                    </a:cubicBezTo>
                    <a:cubicBezTo>
                      <a:pt x="5" y="0"/>
                      <a:pt x="0" y="2"/>
                      <a:pt x="0" y="8"/>
                    </a:cubicBezTo>
                    <a:cubicBezTo>
                      <a:pt x="0" y="146"/>
                      <a:pt x="0" y="146"/>
                      <a:pt x="0" y="146"/>
                    </a:cubicBezTo>
                    <a:cubicBezTo>
                      <a:pt x="0" y="157"/>
                      <a:pt x="0" y="157"/>
                      <a:pt x="0" y="157"/>
                    </a:cubicBezTo>
                    <a:cubicBezTo>
                      <a:pt x="0" y="699"/>
                      <a:pt x="0" y="699"/>
                      <a:pt x="0" y="699"/>
                    </a:cubicBezTo>
                    <a:cubicBezTo>
                      <a:pt x="0" y="704"/>
                      <a:pt x="5" y="707"/>
                      <a:pt x="8" y="707"/>
                    </a:cubicBezTo>
                    <a:cubicBezTo>
                      <a:pt x="340" y="707"/>
                      <a:pt x="340" y="707"/>
                      <a:pt x="340" y="707"/>
                    </a:cubicBezTo>
                    <a:cubicBezTo>
                      <a:pt x="346" y="707"/>
                      <a:pt x="351" y="704"/>
                      <a:pt x="351" y="699"/>
                    </a:cubicBezTo>
                    <a:cubicBezTo>
                      <a:pt x="351" y="157"/>
                      <a:pt x="351" y="157"/>
                      <a:pt x="351" y="157"/>
                    </a:cubicBezTo>
                    <a:cubicBezTo>
                      <a:pt x="351" y="146"/>
                      <a:pt x="351" y="146"/>
                      <a:pt x="351" y="146"/>
                    </a:cubicBezTo>
                    <a:cubicBezTo>
                      <a:pt x="351" y="8"/>
                      <a:pt x="351" y="8"/>
                      <a:pt x="351" y="8"/>
                    </a:cubicBezTo>
                    <a:cubicBezTo>
                      <a:pt x="351" y="2"/>
                      <a:pt x="346" y="0"/>
                      <a:pt x="340" y="0"/>
                    </a:cubicBezTo>
                    <a:close/>
                    <a:moveTo>
                      <a:pt x="43" y="108"/>
                    </a:moveTo>
                    <a:cubicBezTo>
                      <a:pt x="43" y="76"/>
                      <a:pt x="43" y="76"/>
                      <a:pt x="43" y="76"/>
                    </a:cubicBezTo>
                    <a:cubicBezTo>
                      <a:pt x="43" y="70"/>
                      <a:pt x="46" y="65"/>
                      <a:pt x="51" y="65"/>
                    </a:cubicBezTo>
                    <a:cubicBezTo>
                      <a:pt x="300" y="65"/>
                      <a:pt x="300" y="65"/>
                      <a:pt x="300" y="65"/>
                    </a:cubicBezTo>
                    <a:cubicBezTo>
                      <a:pt x="305" y="65"/>
                      <a:pt x="308" y="70"/>
                      <a:pt x="308" y="76"/>
                    </a:cubicBezTo>
                    <a:cubicBezTo>
                      <a:pt x="308" y="108"/>
                      <a:pt x="308" y="108"/>
                      <a:pt x="308" y="108"/>
                    </a:cubicBezTo>
                    <a:cubicBezTo>
                      <a:pt x="308" y="114"/>
                      <a:pt x="305" y="116"/>
                      <a:pt x="300" y="116"/>
                    </a:cubicBezTo>
                    <a:cubicBezTo>
                      <a:pt x="51" y="116"/>
                      <a:pt x="51" y="116"/>
                      <a:pt x="51" y="116"/>
                    </a:cubicBezTo>
                    <a:cubicBezTo>
                      <a:pt x="46" y="116"/>
                      <a:pt x="43" y="114"/>
                      <a:pt x="43" y="108"/>
                    </a:cubicBezTo>
                    <a:close/>
                    <a:moveTo>
                      <a:pt x="278" y="333"/>
                    </a:moveTo>
                    <a:cubicBezTo>
                      <a:pt x="267" y="333"/>
                      <a:pt x="257" y="322"/>
                      <a:pt x="257" y="309"/>
                    </a:cubicBezTo>
                    <a:cubicBezTo>
                      <a:pt x="257" y="298"/>
                      <a:pt x="267" y="287"/>
                      <a:pt x="278" y="287"/>
                    </a:cubicBezTo>
                    <a:cubicBezTo>
                      <a:pt x="292" y="287"/>
                      <a:pt x="305" y="298"/>
                      <a:pt x="305" y="309"/>
                    </a:cubicBezTo>
                    <a:cubicBezTo>
                      <a:pt x="305" y="322"/>
                      <a:pt x="292" y="333"/>
                      <a:pt x="278" y="333"/>
                    </a:cubicBezTo>
                    <a:close/>
                    <a:moveTo>
                      <a:pt x="278" y="255"/>
                    </a:moveTo>
                    <a:cubicBezTo>
                      <a:pt x="262" y="255"/>
                      <a:pt x="248" y="241"/>
                      <a:pt x="248" y="222"/>
                    </a:cubicBezTo>
                    <a:cubicBezTo>
                      <a:pt x="248" y="206"/>
                      <a:pt x="262" y="192"/>
                      <a:pt x="278" y="192"/>
                    </a:cubicBezTo>
                    <a:cubicBezTo>
                      <a:pt x="297" y="192"/>
                      <a:pt x="313" y="206"/>
                      <a:pt x="313" y="222"/>
                    </a:cubicBezTo>
                    <a:cubicBezTo>
                      <a:pt x="313" y="241"/>
                      <a:pt x="297" y="255"/>
                      <a:pt x="278" y="2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6"/>
              <p:cNvSpPr>
                <a:spLocks noEditPoints="1"/>
              </p:cNvSpPr>
              <p:nvPr/>
            </p:nvSpPr>
            <p:spPr bwMode="auto">
              <a:xfrm>
                <a:off x="6646127" y="4166369"/>
                <a:ext cx="282866" cy="569829"/>
              </a:xfrm>
              <a:custGeom>
                <a:avLst/>
                <a:gdLst>
                  <a:gd name="T0" fmla="*/ 340 w 351"/>
                  <a:gd name="T1" fmla="*/ 0 h 707"/>
                  <a:gd name="T2" fmla="*/ 8 w 351"/>
                  <a:gd name="T3" fmla="*/ 0 h 707"/>
                  <a:gd name="T4" fmla="*/ 0 w 351"/>
                  <a:gd name="T5" fmla="*/ 8 h 707"/>
                  <a:gd name="T6" fmla="*/ 0 w 351"/>
                  <a:gd name="T7" fmla="*/ 146 h 707"/>
                  <a:gd name="T8" fmla="*/ 0 w 351"/>
                  <a:gd name="T9" fmla="*/ 157 h 707"/>
                  <a:gd name="T10" fmla="*/ 0 w 351"/>
                  <a:gd name="T11" fmla="*/ 699 h 707"/>
                  <a:gd name="T12" fmla="*/ 8 w 351"/>
                  <a:gd name="T13" fmla="*/ 707 h 707"/>
                  <a:gd name="T14" fmla="*/ 340 w 351"/>
                  <a:gd name="T15" fmla="*/ 707 h 707"/>
                  <a:gd name="T16" fmla="*/ 351 w 351"/>
                  <a:gd name="T17" fmla="*/ 699 h 707"/>
                  <a:gd name="T18" fmla="*/ 351 w 351"/>
                  <a:gd name="T19" fmla="*/ 157 h 707"/>
                  <a:gd name="T20" fmla="*/ 351 w 351"/>
                  <a:gd name="T21" fmla="*/ 146 h 707"/>
                  <a:gd name="T22" fmla="*/ 351 w 351"/>
                  <a:gd name="T23" fmla="*/ 8 h 707"/>
                  <a:gd name="T24" fmla="*/ 340 w 351"/>
                  <a:gd name="T25" fmla="*/ 0 h 707"/>
                  <a:gd name="T26" fmla="*/ 43 w 351"/>
                  <a:gd name="T27" fmla="*/ 108 h 707"/>
                  <a:gd name="T28" fmla="*/ 43 w 351"/>
                  <a:gd name="T29" fmla="*/ 76 h 707"/>
                  <a:gd name="T30" fmla="*/ 51 w 351"/>
                  <a:gd name="T31" fmla="*/ 65 h 707"/>
                  <a:gd name="T32" fmla="*/ 300 w 351"/>
                  <a:gd name="T33" fmla="*/ 65 h 707"/>
                  <a:gd name="T34" fmla="*/ 308 w 351"/>
                  <a:gd name="T35" fmla="*/ 76 h 707"/>
                  <a:gd name="T36" fmla="*/ 308 w 351"/>
                  <a:gd name="T37" fmla="*/ 108 h 707"/>
                  <a:gd name="T38" fmla="*/ 300 w 351"/>
                  <a:gd name="T39" fmla="*/ 116 h 707"/>
                  <a:gd name="T40" fmla="*/ 51 w 351"/>
                  <a:gd name="T41" fmla="*/ 116 h 707"/>
                  <a:gd name="T42" fmla="*/ 43 w 351"/>
                  <a:gd name="T43" fmla="*/ 108 h 707"/>
                  <a:gd name="T44" fmla="*/ 278 w 351"/>
                  <a:gd name="T45" fmla="*/ 333 h 707"/>
                  <a:gd name="T46" fmla="*/ 257 w 351"/>
                  <a:gd name="T47" fmla="*/ 309 h 707"/>
                  <a:gd name="T48" fmla="*/ 278 w 351"/>
                  <a:gd name="T49" fmla="*/ 287 h 707"/>
                  <a:gd name="T50" fmla="*/ 305 w 351"/>
                  <a:gd name="T51" fmla="*/ 309 h 707"/>
                  <a:gd name="T52" fmla="*/ 278 w 351"/>
                  <a:gd name="T53" fmla="*/ 333 h 707"/>
                  <a:gd name="T54" fmla="*/ 278 w 351"/>
                  <a:gd name="T55" fmla="*/ 255 h 707"/>
                  <a:gd name="T56" fmla="*/ 248 w 351"/>
                  <a:gd name="T57" fmla="*/ 222 h 707"/>
                  <a:gd name="T58" fmla="*/ 278 w 351"/>
                  <a:gd name="T59" fmla="*/ 192 h 707"/>
                  <a:gd name="T60" fmla="*/ 313 w 351"/>
                  <a:gd name="T61" fmla="*/ 222 h 707"/>
                  <a:gd name="T62" fmla="*/ 278 w 351"/>
                  <a:gd name="T63" fmla="*/ 255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1" h="707">
                    <a:moveTo>
                      <a:pt x="340" y="0"/>
                    </a:moveTo>
                    <a:cubicBezTo>
                      <a:pt x="8" y="0"/>
                      <a:pt x="8" y="0"/>
                      <a:pt x="8" y="0"/>
                    </a:cubicBezTo>
                    <a:cubicBezTo>
                      <a:pt x="5" y="0"/>
                      <a:pt x="0" y="2"/>
                      <a:pt x="0" y="8"/>
                    </a:cubicBezTo>
                    <a:cubicBezTo>
                      <a:pt x="0" y="146"/>
                      <a:pt x="0" y="146"/>
                      <a:pt x="0" y="146"/>
                    </a:cubicBezTo>
                    <a:cubicBezTo>
                      <a:pt x="0" y="157"/>
                      <a:pt x="0" y="157"/>
                      <a:pt x="0" y="157"/>
                    </a:cubicBezTo>
                    <a:cubicBezTo>
                      <a:pt x="0" y="699"/>
                      <a:pt x="0" y="699"/>
                      <a:pt x="0" y="699"/>
                    </a:cubicBezTo>
                    <a:cubicBezTo>
                      <a:pt x="0" y="704"/>
                      <a:pt x="5" y="707"/>
                      <a:pt x="8" y="707"/>
                    </a:cubicBezTo>
                    <a:cubicBezTo>
                      <a:pt x="340" y="707"/>
                      <a:pt x="340" y="707"/>
                      <a:pt x="340" y="707"/>
                    </a:cubicBezTo>
                    <a:cubicBezTo>
                      <a:pt x="346" y="707"/>
                      <a:pt x="351" y="704"/>
                      <a:pt x="351" y="699"/>
                    </a:cubicBezTo>
                    <a:cubicBezTo>
                      <a:pt x="351" y="157"/>
                      <a:pt x="351" y="157"/>
                      <a:pt x="351" y="157"/>
                    </a:cubicBezTo>
                    <a:cubicBezTo>
                      <a:pt x="351" y="146"/>
                      <a:pt x="351" y="146"/>
                      <a:pt x="351" y="146"/>
                    </a:cubicBezTo>
                    <a:cubicBezTo>
                      <a:pt x="351" y="8"/>
                      <a:pt x="351" y="8"/>
                      <a:pt x="351" y="8"/>
                    </a:cubicBezTo>
                    <a:cubicBezTo>
                      <a:pt x="351" y="2"/>
                      <a:pt x="346" y="0"/>
                      <a:pt x="340" y="0"/>
                    </a:cubicBezTo>
                    <a:close/>
                    <a:moveTo>
                      <a:pt x="43" y="108"/>
                    </a:moveTo>
                    <a:cubicBezTo>
                      <a:pt x="43" y="76"/>
                      <a:pt x="43" y="76"/>
                      <a:pt x="43" y="76"/>
                    </a:cubicBezTo>
                    <a:cubicBezTo>
                      <a:pt x="43" y="70"/>
                      <a:pt x="46" y="65"/>
                      <a:pt x="51" y="65"/>
                    </a:cubicBezTo>
                    <a:cubicBezTo>
                      <a:pt x="300" y="65"/>
                      <a:pt x="300" y="65"/>
                      <a:pt x="300" y="65"/>
                    </a:cubicBezTo>
                    <a:cubicBezTo>
                      <a:pt x="305" y="65"/>
                      <a:pt x="308" y="70"/>
                      <a:pt x="308" y="76"/>
                    </a:cubicBezTo>
                    <a:cubicBezTo>
                      <a:pt x="308" y="108"/>
                      <a:pt x="308" y="108"/>
                      <a:pt x="308" y="108"/>
                    </a:cubicBezTo>
                    <a:cubicBezTo>
                      <a:pt x="308" y="114"/>
                      <a:pt x="305" y="116"/>
                      <a:pt x="300" y="116"/>
                    </a:cubicBezTo>
                    <a:cubicBezTo>
                      <a:pt x="51" y="116"/>
                      <a:pt x="51" y="116"/>
                      <a:pt x="51" y="116"/>
                    </a:cubicBezTo>
                    <a:cubicBezTo>
                      <a:pt x="46" y="116"/>
                      <a:pt x="43" y="114"/>
                      <a:pt x="43" y="108"/>
                    </a:cubicBezTo>
                    <a:close/>
                    <a:moveTo>
                      <a:pt x="278" y="333"/>
                    </a:moveTo>
                    <a:cubicBezTo>
                      <a:pt x="267" y="333"/>
                      <a:pt x="257" y="322"/>
                      <a:pt x="257" y="309"/>
                    </a:cubicBezTo>
                    <a:cubicBezTo>
                      <a:pt x="257" y="298"/>
                      <a:pt x="267" y="287"/>
                      <a:pt x="278" y="287"/>
                    </a:cubicBezTo>
                    <a:cubicBezTo>
                      <a:pt x="292" y="287"/>
                      <a:pt x="305" y="298"/>
                      <a:pt x="305" y="309"/>
                    </a:cubicBezTo>
                    <a:cubicBezTo>
                      <a:pt x="305" y="322"/>
                      <a:pt x="292" y="333"/>
                      <a:pt x="278" y="333"/>
                    </a:cubicBezTo>
                    <a:close/>
                    <a:moveTo>
                      <a:pt x="278" y="255"/>
                    </a:moveTo>
                    <a:cubicBezTo>
                      <a:pt x="262" y="255"/>
                      <a:pt x="248" y="241"/>
                      <a:pt x="248" y="222"/>
                    </a:cubicBezTo>
                    <a:cubicBezTo>
                      <a:pt x="248" y="206"/>
                      <a:pt x="262" y="192"/>
                      <a:pt x="278" y="192"/>
                    </a:cubicBezTo>
                    <a:cubicBezTo>
                      <a:pt x="297" y="192"/>
                      <a:pt x="313" y="206"/>
                      <a:pt x="313" y="222"/>
                    </a:cubicBezTo>
                    <a:cubicBezTo>
                      <a:pt x="313" y="241"/>
                      <a:pt x="297" y="255"/>
                      <a:pt x="278" y="2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6"/>
              <p:cNvSpPr>
                <a:spLocks noEditPoints="1"/>
              </p:cNvSpPr>
              <p:nvPr/>
            </p:nvSpPr>
            <p:spPr bwMode="auto">
              <a:xfrm>
                <a:off x="6974762" y="4166369"/>
                <a:ext cx="282866" cy="569829"/>
              </a:xfrm>
              <a:custGeom>
                <a:avLst/>
                <a:gdLst>
                  <a:gd name="T0" fmla="*/ 340 w 351"/>
                  <a:gd name="T1" fmla="*/ 0 h 707"/>
                  <a:gd name="T2" fmla="*/ 8 w 351"/>
                  <a:gd name="T3" fmla="*/ 0 h 707"/>
                  <a:gd name="T4" fmla="*/ 0 w 351"/>
                  <a:gd name="T5" fmla="*/ 8 h 707"/>
                  <a:gd name="T6" fmla="*/ 0 w 351"/>
                  <a:gd name="T7" fmla="*/ 146 h 707"/>
                  <a:gd name="T8" fmla="*/ 0 w 351"/>
                  <a:gd name="T9" fmla="*/ 157 h 707"/>
                  <a:gd name="T10" fmla="*/ 0 w 351"/>
                  <a:gd name="T11" fmla="*/ 699 h 707"/>
                  <a:gd name="T12" fmla="*/ 8 w 351"/>
                  <a:gd name="T13" fmla="*/ 707 h 707"/>
                  <a:gd name="T14" fmla="*/ 340 w 351"/>
                  <a:gd name="T15" fmla="*/ 707 h 707"/>
                  <a:gd name="T16" fmla="*/ 351 w 351"/>
                  <a:gd name="T17" fmla="*/ 699 h 707"/>
                  <a:gd name="T18" fmla="*/ 351 w 351"/>
                  <a:gd name="T19" fmla="*/ 157 h 707"/>
                  <a:gd name="T20" fmla="*/ 351 w 351"/>
                  <a:gd name="T21" fmla="*/ 146 h 707"/>
                  <a:gd name="T22" fmla="*/ 351 w 351"/>
                  <a:gd name="T23" fmla="*/ 8 h 707"/>
                  <a:gd name="T24" fmla="*/ 340 w 351"/>
                  <a:gd name="T25" fmla="*/ 0 h 707"/>
                  <a:gd name="T26" fmla="*/ 43 w 351"/>
                  <a:gd name="T27" fmla="*/ 108 h 707"/>
                  <a:gd name="T28" fmla="*/ 43 w 351"/>
                  <a:gd name="T29" fmla="*/ 76 h 707"/>
                  <a:gd name="T30" fmla="*/ 51 w 351"/>
                  <a:gd name="T31" fmla="*/ 65 h 707"/>
                  <a:gd name="T32" fmla="*/ 300 w 351"/>
                  <a:gd name="T33" fmla="*/ 65 h 707"/>
                  <a:gd name="T34" fmla="*/ 308 w 351"/>
                  <a:gd name="T35" fmla="*/ 76 h 707"/>
                  <a:gd name="T36" fmla="*/ 308 w 351"/>
                  <a:gd name="T37" fmla="*/ 108 h 707"/>
                  <a:gd name="T38" fmla="*/ 300 w 351"/>
                  <a:gd name="T39" fmla="*/ 116 h 707"/>
                  <a:gd name="T40" fmla="*/ 51 w 351"/>
                  <a:gd name="T41" fmla="*/ 116 h 707"/>
                  <a:gd name="T42" fmla="*/ 43 w 351"/>
                  <a:gd name="T43" fmla="*/ 108 h 707"/>
                  <a:gd name="T44" fmla="*/ 278 w 351"/>
                  <a:gd name="T45" fmla="*/ 333 h 707"/>
                  <a:gd name="T46" fmla="*/ 257 w 351"/>
                  <a:gd name="T47" fmla="*/ 309 h 707"/>
                  <a:gd name="T48" fmla="*/ 278 w 351"/>
                  <a:gd name="T49" fmla="*/ 287 h 707"/>
                  <a:gd name="T50" fmla="*/ 305 w 351"/>
                  <a:gd name="T51" fmla="*/ 309 h 707"/>
                  <a:gd name="T52" fmla="*/ 278 w 351"/>
                  <a:gd name="T53" fmla="*/ 333 h 707"/>
                  <a:gd name="T54" fmla="*/ 278 w 351"/>
                  <a:gd name="T55" fmla="*/ 255 h 707"/>
                  <a:gd name="T56" fmla="*/ 248 w 351"/>
                  <a:gd name="T57" fmla="*/ 222 h 707"/>
                  <a:gd name="T58" fmla="*/ 278 w 351"/>
                  <a:gd name="T59" fmla="*/ 192 h 707"/>
                  <a:gd name="T60" fmla="*/ 313 w 351"/>
                  <a:gd name="T61" fmla="*/ 222 h 707"/>
                  <a:gd name="T62" fmla="*/ 278 w 351"/>
                  <a:gd name="T63" fmla="*/ 255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1" h="707">
                    <a:moveTo>
                      <a:pt x="340" y="0"/>
                    </a:moveTo>
                    <a:cubicBezTo>
                      <a:pt x="8" y="0"/>
                      <a:pt x="8" y="0"/>
                      <a:pt x="8" y="0"/>
                    </a:cubicBezTo>
                    <a:cubicBezTo>
                      <a:pt x="5" y="0"/>
                      <a:pt x="0" y="2"/>
                      <a:pt x="0" y="8"/>
                    </a:cubicBezTo>
                    <a:cubicBezTo>
                      <a:pt x="0" y="146"/>
                      <a:pt x="0" y="146"/>
                      <a:pt x="0" y="146"/>
                    </a:cubicBezTo>
                    <a:cubicBezTo>
                      <a:pt x="0" y="157"/>
                      <a:pt x="0" y="157"/>
                      <a:pt x="0" y="157"/>
                    </a:cubicBezTo>
                    <a:cubicBezTo>
                      <a:pt x="0" y="699"/>
                      <a:pt x="0" y="699"/>
                      <a:pt x="0" y="699"/>
                    </a:cubicBezTo>
                    <a:cubicBezTo>
                      <a:pt x="0" y="704"/>
                      <a:pt x="5" y="707"/>
                      <a:pt x="8" y="707"/>
                    </a:cubicBezTo>
                    <a:cubicBezTo>
                      <a:pt x="340" y="707"/>
                      <a:pt x="340" y="707"/>
                      <a:pt x="340" y="707"/>
                    </a:cubicBezTo>
                    <a:cubicBezTo>
                      <a:pt x="346" y="707"/>
                      <a:pt x="351" y="704"/>
                      <a:pt x="351" y="699"/>
                    </a:cubicBezTo>
                    <a:cubicBezTo>
                      <a:pt x="351" y="157"/>
                      <a:pt x="351" y="157"/>
                      <a:pt x="351" y="157"/>
                    </a:cubicBezTo>
                    <a:cubicBezTo>
                      <a:pt x="351" y="146"/>
                      <a:pt x="351" y="146"/>
                      <a:pt x="351" y="146"/>
                    </a:cubicBezTo>
                    <a:cubicBezTo>
                      <a:pt x="351" y="8"/>
                      <a:pt x="351" y="8"/>
                      <a:pt x="351" y="8"/>
                    </a:cubicBezTo>
                    <a:cubicBezTo>
                      <a:pt x="351" y="2"/>
                      <a:pt x="346" y="0"/>
                      <a:pt x="340" y="0"/>
                    </a:cubicBezTo>
                    <a:close/>
                    <a:moveTo>
                      <a:pt x="43" y="108"/>
                    </a:moveTo>
                    <a:cubicBezTo>
                      <a:pt x="43" y="76"/>
                      <a:pt x="43" y="76"/>
                      <a:pt x="43" y="76"/>
                    </a:cubicBezTo>
                    <a:cubicBezTo>
                      <a:pt x="43" y="70"/>
                      <a:pt x="46" y="65"/>
                      <a:pt x="51" y="65"/>
                    </a:cubicBezTo>
                    <a:cubicBezTo>
                      <a:pt x="300" y="65"/>
                      <a:pt x="300" y="65"/>
                      <a:pt x="300" y="65"/>
                    </a:cubicBezTo>
                    <a:cubicBezTo>
                      <a:pt x="305" y="65"/>
                      <a:pt x="308" y="70"/>
                      <a:pt x="308" y="76"/>
                    </a:cubicBezTo>
                    <a:cubicBezTo>
                      <a:pt x="308" y="108"/>
                      <a:pt x="308" y="108"/>
                      <a:pt x="308" y="108"/>
                    </a:cubicBezTo>
                    <a:cubicBezTo>
                      <a:pt x="308" y="114"/>
                      <a:pt x="305" y="116"/>
                      <a:pt x="300" y="116"/>
                    </a:cubicBezTo>
                    <a:cubicBezTo>
                      <a:pt x="51" y="116"/>
                      <a:pt x="51" y="116"/>
                      <a:pt x="51" y="116"/>
                    </a:cubicBezTo>
                    <a:cubicBezTo>
                      <a:pt x="46" y="116"/>
                      <a:pt x="43" y="114"/>
                      <a:pt x="43" y="108"/>
                    </a:cubicBezTo>
                    <a:close/>
                    <a:moveTo>
                      <a:pt x="278" y="333"/>
                    </a:moveTo>
                    <a:cubicBezTo>
                      <a:pt x="267" y="333"/>
                      <a:pt x="257" y="322"/>
                      <a:pt x="257" y="309"/>
                    </a:cubicBezTo>
                    <a:cubicBezTo>
                      <a:pt x="257" y="298"/>
                      <a:pt x="267" y="287"/>
                      <a:pt x="278" y="287"/>
                    </a:cubicBezTo>
                    <a:cubicBezTo>
                      <a:pt x="292" y="287"/>
                      <a:pt x="305" y="298"/>
                      <a:pt x="305" y="309"/>
                    </a:cubicBezTo>
                    <a:cubicBezTo>
                      <a:pt x="305" y="322"/>
                      <a:pt x="292" y="333"/>
                      <a:pt x="278" y="333"/>
                    </a:cubicBezTo>
                    <a:close/>
                    <a:moveTo>
                      <a:pt x="278" y="255"/>
                    </a:moveTo>
                    <a:cubicBezTo>
                      <a:pt x="262" y="255"/>
                      <a:pt x="248" y="241"/>
                      <a:pt x="248" y="222"/>
                    </a:cubicBezTo>
                    <a:cubicBezTo>
                      <a:pt x="248" y="206"/>
                      <a:pt x="262" y="192"/>
                      <a:pt x="278" y="192"/>
                    </a:cubicBezTo>
                    <a:cubicBezTo>
                      <a:pt x="297" y="192"/>
                      <a:pt x="313" y="206"/>
                      <a:pt x="313" y="222"/>
                    </a:cubicBezTo>
                    <a:cubicBezTo>
                      <a:pt x="313" y="241"/>
                      <a:pt x="297" y="255"/>
                      <a:pt x="278" y="2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1" name="Group 30"/>
          <p:cNvGrpSpPr/>
          <p:nvPr/>
        </p:nvGrpSpPr>
        <p:grpSpPr>
          <a:xfrm>
            <a:off x="5157468" y="2476152"/>
            <a:ext cx="2233624" cy="2151701"/>
            <a:chOff x="6874833" y="3301534"/>
            <a:chExt cx="2977390" cy="2868935"/>
          </a:xfrm>
        </p:grpSpPr>
        <p:sp>
          <p:nvSpPr>
            <p:cNvPr id="197" name="Arc 196"/>
            <p:cNvSpPr/>
            <p:nvPr/>
          </p:nvSpPr>
          <p:spPr>
            <a:xfrm>
              <a:off x="6874833" y="3301534"/>
              <a:ext cx="2977390" cy="2868935"/>
            </a:xfrm>
            <a:prstGeom prst="arc">
              <a:avLst>
                <a:gd name="adj1" fmla="val 16200000"/>
                <a:gd name="adj2" fmla="val 209341"/>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768014"/>
              <a:endParaRPr lang="en-US" sz="1500">
                <a:solidFill>
                  <a:prstClr val="black"/>
                </a:solidFill>
              </a:endParaRPr>
            </a:p>
          </p:txBody>
        </p:sp>
        <p:sp>
          <p:nvSpPr>
            <p:cNvPr id="202" name="TextBox 201"/>
            <p:cNvSpPr txBox="1"/>
            <p:nvPr/>
          </p:nvSpPr>
          <p:spPr>
            <a:xfrm>
              <a:off x="8740142" y="5032464"/>
              <a:ext cx="1085875" cy="230832"/>
            </a:xfrm>
            <a:prstGeom prst="rect">
              <a:avLst/>
            </a:prstGeom>
            <a:noFill/>
          </p:spPr>
          <p:txBody>
            <a:bodyPr wrap="none" lIns="0" tIns="0" rIns="0" bIns="0" rtlCol="0">
              <a:spAutoFit/>
            </a:bodyPr>
            <a:lstStyle/>
            <a:p>
              <a:pPr defTabSz="768014"/>
              <a:r>
                <a:rPr lang="en-US" sz="1100" dirty="0">
                  <a:solidFill>
                    <a:schemeClr val="tx1">
                      <a:alpha val="99000"/>
                    </a:schemeClr>
                  </a:solidFill>
                </a:rPr>
                <a:t>On-premises</a:t>
              </a:r>
            </a:p>
          </p:txBody>
        </p:sp>
        <p:grpSp>
          <p:nvGrpSpPr>
            <p:cNvPr id="22" name="Group 21"/>
            <p:cNvGrpSpPr/>
            <p:nvPr/>
          </p:nvGrpSpPr>
          <p:grpSpPr>
            <a:xfrm>
              <a:off x="8214117" y="4534727"/>
              <a:ext cx="717013" cy="434591"/>
              <a:chOff x="6317492" y="4427961"/>
              <a:chExt cx="940136" cy="569829"/>
            </a:xfrm>
          </p:grpSpPr>
          <p:sp>
            <p:nvSpPr>
              <p:cNvPr id="120" name="Freeform 6"/>
              <p:cNvSpPr>
                <a:spLocks noEditPoints="1"/>
              </p:cNvSpPr>
              <p:nvPr/>
            </p:nvSpPr>
            <p:spPr bwMode="auto">
              <a:xfrm>
                <a:off x="6317492" y="4427961"/>
                <a:ext cx="282867" cy="569829"/>
              </a:xfrm>
              <a:custGeom>
                <a:avLst/>
                <a:gdLst>
                  <a:gd name="T0" fmla="*/ 340 w 351"/>
                  <a:gd name="T1" fmla="*/ 0 h 707"/>
                  <a:gd name="T2" fmla="*/ 8 w 351"/>
                  <a:gd name="T3" fmla="*/ 0 h 707"/>
                  <a:gd name="T4" fmla="*/ 0 w 351"/>
                  <a:gd name="T5" fmla="*/ 8 h 707"/>
                  <a:gd name="T6" fmla="*/ 0 w 351"/>
                  <a:gd name="T7" fmla="*/ 146 h 707"/>
                  <a:gd name="T8" fmla="*/ 0 w 351"/>
                  <a:gd name="T9" fmla="*/ 157 h 707"/>
                  <a:gd name="T10" fmla="*/ 0 w 351"/>
                  <a:gd name="T11" fmla="*/ 699 h 707"/>
                  <a:gd name="T12" fmla="*/ 8 w 351"/>
                  <a:gd name="T13" fmla="*/ 707 h 707"/>
                  <a:gd name="T14" fmla="*/ 340 w 351"/>
                  <a:gd name="T15" fmla="*/ 707 h 707"/>
                  <a:gd name="T16" fmla="*/ 351 w 351"/>
                  <a:gd name="T17" fmla="*/ 699 h 707"/>
                  <a:gd name="T18" fmla="*/ 351 w 351"/>
                  <a:gd name="T19" fmla="*/ 157 h 707"/>
                  <a:gd name="T20" fmla="*/ 351 w 351"/>
                  <a:gd name="T21" fmla="*/ 146 h 707"/>
                  <a:gd name="T22" fmla="*/ 351 w 351"/>
                  <a:gd name="T23" fmla="*/ 8 h 707"/>
                  <a:gd name="T24" fmla="*/ 340 w 351"/>
                  <a:gd name="T25" fmla="*/ 0 h 707"/>
                  <a:gd name="T26" fmla="*/ 43 w 351"/>
                  <a:gd name="T27" fmla="*/ 108 h 707"/>
                  <a:gd name="T28" fmla="*/ 43 w 351"/>
                  <a:gd name="T29" fmla="*/ 76 h 707"/>
                  <a:gd name="T30" fmla="*/ 51 w 351"/>
                  <a:gd name="T31" fmla="*/ 65 h 707"/>
                  <a:gd name="T32" fmla="*/ 300 w 351"/>
                  <a:gd name="T33" fmla="*/ 65 h 707"/>
                  <a:gd name="T34" fmla="*/ 308 w 351"/>
                  <a:gd name="T35" fmla="*/ 76 h 707"/>
                  <a:gd name="T36" fmla="*/ 308 w 351"/>
                  <a:gd name="T37" fmla="*/ 108 h 707"/>
                  <a:gd name="T38" fmla="*/ 300 w 351"/>
                  <a:gd name="T39" fmla="*/ 116 h 707"/>
                  <a:gd name="T40" fmla="*/ 51 w 351"/>
                  <a:gd name="T41" fmla="*/ 116 h 707"/>
                  <a:gd name="T42" fmla="*/ 43 w 351"/>
                  <a:gd name="T43" fmla="*/ 108 h 707"/>
                  <a:gd name="T44" fmla="*/ 278 w 351"/>
                  <a:gd name="T45" fmla="*/ 333 h 707"/>
                  <a:gd name="T46" fmla="*/ 257 w 351"/>
                  <a:gd name="T47" fmla="*/ 309 h 707"/>
                  <a:gd name="T48" fmla="*/ 278 w 351"/>
                  <a:gd name="T49" fmla="*/ 287 h 707"/>
                  <a:gd name="T50" fmla="*/ 305 w 351"/>
                  <a:gd name="T51" fmla="*/ 309 h 707"/>
                  <a:gd name="T52" fmla="*/ 278 w 351"/>
                  <a:gd name="T53" fmla="*/ 333 h 707"/>
                  <a:gd name="T54" fmla="*/ 278 w 351"/>
                  <a:gd name="T55" fmla="*/ 255 h 707"/>
                  <a:gd name="T56" fmla="*/ 248 w 351"/>
                  <a:gd name="T57" fmla="*/ 222 h 707"/>
                  <a:gd name="T58" fmla="*/ 278 w 351"/>
                  <a:gd name="T59" fmla="*/ 192 h 707"/>
                  <a:gd name="T60" fmla="*/ 313 w 351"/>
                  <a:gd name="T61" fmla="*/ 222 h 707"/>
                  <a:gd name="T62" fmla="*/ 278 w 351"/>
                  <a:gd name="T63" fmla="*/ 255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1" h="707">
                    <a:moveTo>
                      <a:pt x="340" y="0"/>
                    </a:moveTo>
                    <a:cubicBezTo>
                      <a:pt x="8" y="0"/>
                      <a:pt x="8" y="0"/>
                      <a:pt x="8" y="0"/>
                    </a:cubicBezTo>
                    <a:cubicBezTo>
                      <a:pt x="5" y="0"/>
                      <a:pt x="0" y="2"/>
                      <a:pt x="0" y="8"/>
                    </a:cubicBezTo>
                    <a:cubicBezTo>
                      <a:pt x="0" y="146"/>
                      <a:pt x="0" y="146"/>
                      <a:pt x="0" y="146"/>
                    </a:cubicBezTo>
                    <a:cubicBezTo>
                      <a:pt x="0" y="157"/>
                      <a:pt x="0" y="157"/>
                      <a:pt x="0" y="157"/>
                    </a:cubicBezTo>
                    <a:cubicBezTo>
                      <a:pt x="0" y="699"/>
                      <a:pt x="0" y="699"/>
                      <a:pt x="0" y="699"/>
                    </a:cubicBezTo>
                    <a:cubicBezTo>
                      <a:pt x="0" y="704"/>
                      <a:pt x="5" y="707"/>
                      <a:pt x="8" y="707"/>
                    </a:cubicBezTo>
                    <a:cubicBezTo>
                      <a:pt x="340" y="707"/>
                      <a:pt x="340" y="707"/>
                      <a:pt x="340" y="707"/>
                    </a:cubicBezTo>
                    <a:cubicBezTo>
                      <a:pt x="346" y="707"/>
                      <a:pt x="351" y="704"/>
                      <a:pt x="351" y="699"/>
                    </a:cubicBezTo>
                    <a:cubicBezTo>
                      <a:pt x="351" y="157"/>
                      <a:pt x="351" y="157"/>
                      <a:pt x="351" y="157"/>
                    </a:cubicBezTo>
                    <a:cubicBezTo>
                      <a:pt x="351" y="146"/>
                      <a:pt x="351" y="146"/>
                      <a:pt x="351" y="146"/>
                    </a:cubicBezTo>
                    <a:cubicBezTo>
                      <a:pt x="351" y="8"/>
                      <a:pt x="351" y="8"/>
                      <a:pt x="351" y="8"/>
                    </a:cubicBezTo>
                    <a:cubicBezTo>
                      <a:pt x="351" y="2"/>
                      <a:pt x="346" y="0"/>
                      <a:pt x="340" y="0"/>
                    </a:cubicBezTo>
                    <a:close/>
                    <a:moveTo>
                      <a:pt x="43" y="108"/>
                    </a:moveTo>
                    <a:cubicBezTo>
                      <a:pt x="43" y="76"/>
                      <a:pt x="43" y="76"/>
                      <a:pt x="43" y="76"/>
                    </a:cubicBezTo>
                    <a:cubicBezTo>
                      <a:pt x="43" y="70"/>
                      <a:pt x="46" y="65"/>
                      <a:pt x="51" y="65"/>
                    </a:cubicBezTo>
                    <a:cubicBezTo>
                      <a:pt x="300" y="65"/>
                      <a:pt x="300" y="65"/>
                      <a:pt x="300" y="65"/>
                    </a:cubicBezTo>
                    <a:cubicBezTo>
                      <a:pt x="305" y="65"/>
                      <a:pt x="308" y="70"/>
                      <a:pt x="308" y="76"/>
                    </a:cubicBezTo>
                    <a:cubicBezTo>
                      <a:pt x="308" y="108"/>
                      <a:pt x="308" y="108"/>
                      <a:pt x="308" y="108"/>
                    </a:cubicBezTo>
                    <a:cubicBezTo>
                      <a:pt x="308" y="114"/>
                      <a:pt x="305" y="116"/>
                      <a:pt x="300" y="116"/>
                    </a:cubicBezTo>
                    <a:cubicBezTo>
                      <a:pt x="51" y="116"/>
                      <a:pt x="51" y="116"/>
                      <a:pt x="51" y="116"/>
                    </a:cubicBezTo>
                    <a:cubicBezTo>
                      <a:pt x="46" y="116"/>
                      <a:pt x="43" y="114"/>
                      <a:pt x="43" y="108"/>
                    </a:cubicBezTo>
                    <a:close/>
                    <a:moveTo>
                      <a:pt x="278" y="333"/>
                    </a:moveTo>
                    <a:cubicBezTo>
                      <a:pt x="267" y="333"/>
                      <a:pt x="257" y="322"/>
                      <a:pt x="257" y="309"/>
                    </a:cubicBezTo>
                    <a:cubicBezTo>
                      <a:pt x="257" y="298"/>
                      <a:pt x="267" y="287"/>
                      <a:pt x="278" y="287"/>
                    </a:cubicBezTo>
                    <a:cubicBezTo>
                      <a:pt x="292" y="287"/>
                      <a:pt x="305" y="298"/>
                      <a:pt x="305" y="309"/>
                    </a:cubicBezTo>
                    <a:cubicBezTo>
                      <a:pt x="305" y="322"/>
                      <a:pt x="292" y="333"/>
                      <a:pt x="278" y="333"/>
                    </a:cubicBezTo>
                    <a:close/>
                    <a:moveTo>
                      <a:pt x="278" y="255"/>
                    </a:moveTo>
                    <a:cubicBezTo>
                      <a:pt x="262" y="255"/>
                      <a:pt x="248" y="241"/>
                      <a:pt x="248" y="222"/>
                    </a:cubicBezTo>
                    <a:cubicBezTo>
                      <a:pt x="248" y="206"/>
                      <a:pt x="262" y="192"/>
                      <a:pt x="278" y="192"/>
                    </a:cubicBezTo>
                    <a:cubicBezTo>
                      <a:pt x="297" y="192"/>
                      <a:pt x="313" y="206"/>
                      <a:pt x="313" y="222"/>
                    </a:cubicBezTo>
                    <a:cubicBezTo>
                      <a:pt x="313" y="241"/>
                      <a:pt x="297" y="255"/>
                      <a:pt x="278" y="2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6"/>
              <p:cNvSpPr>
                <a:spLocks noEditPoints="1"/>
              </p:cNvSpPr>
              <p:nvPr/>
            </p:nvSpPr>
            <p:spPr bwMode="auto">
              <a:xfrm>
                <a:off x="6646126" y="4427961"/>
                <a:ext cx="282867" cy="569829"/>
              </a:xfrm>
              <a:custGeom>
                <a:avLst/>
                <a:gdLst>
                  <a:gd name="T0" fmla="*/ 340 w 351"/>
                  <a:gd name="T1" fmla="*/ 0 h 707"/>
                  <a:gd name="T2" fmla="*/ 8 w 351"/>
                  <a:gd name="T3" fmla="*/ 0 h 707"/>
                  <a:gd name="T4" fmla="*/ 0 w 351"/>
                  <a:gd name="T5" fmla="*/ 8 h 707"/>
                  <a:gd name="T6" fmla="*/ 0 w 351"/>
                  <a:gd name="T7" fmla="*/ 146 h 707"/>
                  <a:gd name="T8" fmla="*/ 0 w 351"/>
                  <a:gd name="T9" fmla="*/ 157 h 707"/>
                  <a:gd name="T10" fmla="*/ 0 w 351"/>
                  <a:gd name="T11" fmla="*/ 699 h 707"/>
                  <a:gd name="T12" fmla="*/ 8 w 351"/>
                  <a:gd name="T13" fmla="*/ 707 h 707"/>
                  <a:gd name="T14" fmla="*/ 340 w 351"/>
                  <a:gd name="T15" fmla="*/ 707 h 707"/>
                  <a:gd name="T16" fmla="*/ 351 w 351"/>
                  <a:gd name="T17" fmla="*/ 699 h 707"/>
                  <a:gd name="T18" fmla="*/ 351 w 351"/>
                  <a:gd name="T19" fmla="*/ 157 h 707"/>
                  <a:gd name="T20" fmla="*/ 351 w 351"/>
                  <a:gd name="T21" fmla="*/ 146 h 707"/>
                  <a:gd name="T22" fmla="*/ 351 w 351"/>
                  <a:gd name="T23" fmla="*/ 8 h 707"/>
                  <a:gd name="T24" fmla="*/ 340 w 351"/>
                  <a:gd name="T25" fmla="*/ 0 h 707"/>
                  <a:gd name="T26" fmla="*/ 43 w 351"/>
                  <a:gd name="T27" fmla="*/ 108 h 707"/>
                  <a:gd name="T28" fmla="*/ 43 w 351"/>
                  <a:gd name="T29" fmla="*/ 76 h 707"/>
                  <a:gd name="T30" fmla="*/ 51 w 351"/>
                  <a:gd name="T31" fmla="*/ 65 h 707"/>
                  <a:gd name="T32" fmla="*/ 300 w 351"/>
                  <a:gd name="T33" fmla="*/ 65 h 707"/>
                  <a:gd name="T34" fmla="*/ 308 w 351"/>
                  <a:gd name="T35" fmla="*/ 76 h 707"/>
                  <a:gd name="T36" fmla="*/ 308 w 351"/>
                  <a:gd name="T37" fmla="*/ 108 h 707"/>
                  <a:gd name="T38" fmla="*/ 300 w 351"/>
                  <a:gd name="T39" fmla="*/ 116 h 707"/>
                  <a:gd name="T40" fmla="*/ 51 w 351"/>
                  <a:gd name="T41" fmla="*/ 116 h 707"/>
                  <a:gd name="T42" fmla="*/ 43 w 351"/>
                  <a:gd name="T43" fmla="*/ 108 h 707"/>
                  <a:gd name="T44" fmla="*/ 278 w 351"/>
                  <a:gd name="T45" fmla="*/ 333 h 707"/>
                  <a:gd name="T46" fmla="*/ 257 w 351"/>
                  <a:gd name="T47" fmla="*/ 309 h 707"/>
                  <a:gd name="T48" fmla="*/ 278 w 351"/>
                  <a:gd name="T49" fmla="*/ 287 h 707"/>
                  <a:gd name="T50" fmla="*/ 305 w 351"/>
                  <a:gd name="T51" fmla="*/ 309 h 707"/>
                  <a:gd name="T52" fmla="*/ 278 w 351"/>
                  <a:gd name="T53" fmla="*/ 333 h 707"/>
                  <a:gd name="T54" fmla="*/ 278 w 351"/>
                  <a:gd name="T55" fmla="*/ 255 h 707"/>
                  <a:gd name="T56" fmla="*/ 248 w 351"/>
                  <a:gd name="T57" fmla="*/ 222 h 707"/>
                  <a:gd name="T58" fmla="*/ 278 w 351"/>
                  <a:gd name="T59" fmla="*/ 192 h 707"/>
                  <a:gd name="T60" fmla="*/ 313 w 351"/>
                  <a:gd name="T61" fmla="*/ 222 h 707"/>
                  <a:gd name="T62" fmla="*/ 278 w 351"/>
                  <a:gd name="T63" fmla="*/ 255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1" h="707">
                    <a:moveTo>
                      <a:pt x="340" y="0"/>
                    </a:moveTo>
                    <a:cubicBezTo>
                      <a:pt x="8" y="0"/>
                      <a:pt x="8" y="0"/>
                      <a:pt x="8" y="0"/>
                    </a:cubicBezTo>
                    <a:cubicBezTo>
                      <a:pt x="5" y="0"/>
                      <a:pt x="0" y="2"/>
                      <a:pt x="0" y="8"/>
                    </a:cubicBezTo>
                    <a:cubicBezTo>
                      <a:pt x="0" y="146"/>
                      <a:pt x="0" y="146"/>
                      <a:pt x="0" y="146"/>
                    </a:cubicBezTo>
                    <a:cubicBezTo>
                      <a:pt x="0" y="157"/>
                      <a:pt x="0" y="157"/>
                      <a:pt x="0" y="157"/>
                    </a:cubicBezTo>
                    <a:cubicBezTo>
                      <a:pt x="0" y="699"/>
                      <a:pt x="0" y="699"/>
                      <a:pt x="0" y="699"/>
                    </a:cubicBezTo>
                    <a:cubicBezTo>
                      <a:pt x="0" y="704"/>
                      <a:pt x="5" y="707"/>
                      <a:pt x="8" y="707"/>
                    </a:cubicBezTo>
                    <a:cubicBezTo>
                      <a:pt x="340" y="707"/>
                      <a:pt x="340" y="707"/>
                      <a:pt x="340" y="707"/>
                    </a:cubicBezTo>
                    <a:cubicBezTo>
                      <a:pt x="346" y="707"/>
                      <a:pt x="351" y="704"/>
                      <a:pt x="351" y="699"/>
                    </a:cubicBezTo>
                    <a:cubicBezTo>
                      <a:pt x="351" y="157"/>
                      <a:pt x="351" y="157"/>
                      <a:pt x="351" y="157"/>
                    </a:cubicBezTo>
                    <a:cubicBezTo>
                      <a:pt x="351" y="146"/>
                      <a:pt x="351" y="146"/>
                      <a:pt x="351" y="146"/>
                    </a:cubicBezTo>
                    <a:cubicBezTo>
                      <a:pt x="351" y="8"/>
                      <a:pt x="351" y="8"/>
                      <a:pt x="351" y="8"/>
                    </a:cubicBezTo>
                    <a:cubicBezTo>
                      <a:pt x="351" y="2"/>
                      <a:pt x="346" y="0"/>
                      <a:pt x="340" y="0"/>
                    </a:cubicBezTo>
                    <a:close/>
                    <a:moveTo>
                      <a:pt x="43" y="108"/>
                    </a:moveTo>
                    <a:cubicBezTo>
                      <a:pt x="43" y="76"/>
                      <a:pt x="43" y="76"/>
                      <a:pt x="43" y="76"/>
                    </a:cubicBezTo>
                    <a:cubicBezTo>
                      <a:pt x="43" y="70"/>
                      <a:pt x="46" y="65"/>
                      <a:pt x="51" y="65"/>
                    </a:cubicBezTo>
                    <a:cubicBezTo>
                      <a:pt x="300" y="65"/>
                      <a:pt x="300" y="65"/>
                      <a:pt x="300" y="65"/>
                    </a:cubicBezTo>
                    <a:cubicBezTo>
                      <a:pt x="305" y="65"/>
                      <a:pt x="308" y="70"/>
                      <a:pt x="308" y="76"/>
                    </a:cubicBezTo>
                    <a:cubicBezTo>
                      <a:pt x="308" y="108"/>
                      <a:pt x="308" y="108"/>
                      <a:pt x="308" y="108"/>
                    </a:cubicBezTo>
                    <a:cubicBezTo>
                      <a:pt x="308" y="114"/>
                      <a:pt x="305" y="116"/>
                      <a:pt x="300" y="116"/>
                    </a:cubicBezTo>
                    <a:cubicBezTo>
                      <a:pt x="51" y="116"/>
                      <a:pt x="51" y="116"/>
                      <a:pt x="51" y="116"/>
                    </a:cubicBezTo>
                    <a:cubicBezTo>
                      <a:pt x="46" y="116"/>
                      <a:pt x="43" y="114"/>
                      <a:pt x="43" y="108"/>
                    </a:cubicBezTo>
                    <a:close/>
                    <a:moveTo>
                      <a:pt x="278" y="333"/>
                    </a:moveTo>
                    <a:cubicBezTo>
                      <a:pt x="267" y="333"/>
                      <a:pt x="257" y="322"/>
                      <a:pt x="257" y="309"/>
                    </a:cubicBezTo>
                    <a:cubicBezTo>
                      <a:pt x="257" y="298"/>
                      <a:pt x="267" y="287"/>
                      <a:pt x="278" y="287"/>
                    </a:cubicBezTo>
                    <a:cubicBezTo>
                      <a:pt x="292" y="287"/>
                      <a:pt x="305" y="298"/>
                      <a:pt x="305" y="309"/>
                    </a:cubicBezTo>
                    <a:cubicBezTo>
                      <a:pt x="305" y="322"/>
                      <a:pt x="292" y="333"/>
                      <a:pt x="278" y="333"/>
                    </a:cubicBezTo>
                    <a:close/>
                    <a:moveTo>
                      <a:pt x="278" y="255"/>
                    </a:moveTo>
                    <a:cubicBezTo>
                      <a:pt x="262" y="255"/>
                      <a:pt x="248" y="241"/>
                      <a:pt x="248" y="222"/>
                    </a:cubicBezTo>
                    <a:cubicBezTo>
                      <a:pt x="248" y="206"/>
                      <a:pt x="262" y="192"/>
                      <a:pt x="278" y="192"/>
                    </a:cubicBezTo>
                    <a:cubicBezTo>
                      <a:pt x="297" y="192"/>
                      <a:pt x="313" y="206"/>
                      <a:pt x="313" y="222"/>
                    </a:cubicBezTo>
                    <a:cubicBezTo>
                      <a:pt x="313" y="241"/>
                      <a:pt x="297" y="255"/>
                      <a:pt x="278" y="2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6"/>
              <p:cNvSpPr>
                <a:spLocks noEditPoints="1"/>
              </p:cNvSpPr>
              <p:nvPr/>
            </p:nvSpPr>
            <p:spPr bwMode="auto">
              <a:xfrm>
                <a:off x="6974761" y="4427961"/>
                <a:ext cx="282867" cy="569829"/>
              </a:xfrm>
              <a:custGeom>
                <a:avLst/>
                <a:gdLst>
                  <a:gd name="T0" fmla="*/ 340 w 351"/>
                  <a:gd name="T1" fmla="*/ 0 h 707"/>
                  <a:gd name="T2" fmla="*/ 8 w 351"/>
                  <a:gd name="T3" fmla="*/ 0 h 707"/>
                  <a:gd name="T4" fmla="*/ 0 w 351"/>
                  <a:gd name="T5" fmla="*/ 8 h 707"/>
                  <a:gd name="T6" fmla="*/ 0 w 351"/>
                  <a:gd name="T7" fmla="*/ 146 h 707"/>
                  <a:gd name="T8" fmla="*/ 0 w 351"/>
                  <a:gd name="T9" fmla="*/ 157 h 707"/>
                  <a:gd name="T10" fmla="*/ 0 w 351"/>
                  <a:gd name="T11" fmla="*/ 699 h 707"/>
                  <a:gd name="T12" fmla="*/ 8 w 351"/>
                  <a:gd name="T13" fmla="*/ 707 h 707"/>
                  <a:gd name="T14" fmla="*/ 340 w 351"/>
                  <a:gd name="T15" fmla="*/ 707 h 707"/>
                  <a:gd name="T16" fmla="*/ 351 w 351"/>
                  <a:gd name="T17" fmla="*/ 699 h 707"/>
                  <a:gd name="T18" fmla="*/ 351 w 351"/>
                  <a:gd name="T19" fmla="*/ 157 h 707"/>
                  <a:gd name="T20" fmla="*/ 351 w 351"/>
                  <a:gd name="T21" fmla="*/ 146 h 707"/>
                  <a:gd name="T22" fmla="*/ 351 w 351"/>
                  <a:gd name="T23" fmla="*/ 8 h 707"/>
                  <a:gd name="T24" fmla="*/ 340 w 351"/>
                  <a:gd name="T25" fmla="*/ 0 h 707"/>
                  <a:gd name="T26" fmla="*/ 43 w 351"/>
                  <a:gd name="T27" fmla="*/ 108 h 707"/>
                  <a:gd name="T28" fmla="*/ 43 w 351"/>
                  <a:gd name="T29" fmla="*/ 76 h 707"/>
                  <a:gd name="T30" fmla="*/ 51 w 351"/>
                  <a:gd name="T31" fmla="*/ 65 h 707"/>
                  <a:gd name="T32" fmla="*/ 300 w 351"/>
                  <a:gd name="T33" fmla="*/ 65 h 707"/>
                  <a:gd name="T34" fmla="*/ 308 w 351"/>
                  <a:gd name="T35" fmla="*/ 76 h 707"/>
                  <a:gd name="T36" fmla="*/ 308 w 351"/>
                  <a:gd name="T37" fmla="*/ 108 h 707"/>
                  <a:gd name="T38" fmla="*/ 300 w 351"/>
                  <a:gd name="T39" fmla="*/ 116 h 707"/>
                  <a:gd name="T40" fmla="*/ 51 w 351"/>
                  <a:gd name="T41" fmla="*/ 116 h 707"/>
                  <a:gd name="T42" fmla="*/ 43 w 351"/>
                  <a:gd name="T43" fmla="*/ 108 h 707"/>
                  <a:gd name="T44" fmla="*/ 278 w 351"/>
                  <a:gd name="T45" fmla="*/ 333 h 707"/>
                  <a:gd name="T46" fmla="*/ 257 w 351"/>
                  <a:gd name="T47" fmla="*/ 309 h 707"/>
                  <a:gd name="T48" fmla="*/ 278 w 351"/>
                  <a:gd name="T49" fmla="*/ 287 h 707"/>
                  <a:gd name="T50" fmla="*/ 305 w 351"/>
                  <a:gd name="T51" fmla="*/ 309 h 707"/>
                  <a:gd name="T52" fmla="*/ 278 w 351"/>
                  <a:gd name="T53" fmla="*/ 333 h 707"/>
                  <a:gd name="T54" fmla="*/ 278 w 351"/>
                  <a:gd name="T55" fmla="*/ 255 h 707"/>
                  <a:gd name="T56" fmla="*/ 248 w 351"/>
                  <a:gd name="T57" fmla="*/ 222 h 707"/>
                  <a:gd name="T58" fmla="*/ 278 w 351"/>
                  <a:gd name="T59" fmla="*/ 192 h 707"/>
                  <a:gd name="T60" fmla="*/ 313 w 351"/>
                  <a:gd name="T61" fmla="*/ 222 h 707"/>
                  <a:gd name="T62" fmla="*/ 278 w 351"/>
                  <a:gd name="T63" fmla="*/ 255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1" h="707">
                    <a:moveTo>
                      <a:pt x="340" y="0"/>
                    </a:moveTo>
                    <a:cubicBezTo>
                      <a:pt x="8" y="0"/>
                      <a:pt x="8" y="0"/>
                      <a:pt x="8" y="0"/>
                    </a:cubicBezTo>
                    <a:cubicBezTo>
                      <a:pt x="5" y="0"/>
                      <a:pt x="0" y="2"/>
                      <a:pt x="0" y="8"/>
                    </a:cubicBezTo>
                    <a:cubicBezTo>
                      <a:pt x="0" y="146"/>
                      <a:pt x="0" y="146"/>
                      <a:pt x="0" y="146"/>
                    </a:cubicBezTo>
                    <a:cubicBezTo>
                      <a:pt x="0" y="157"/>
                      <a:pt x="0" y="157"/>
                      <a:pt x="0" y="157"/>
                    </a:cubicBezTo>
                    <a:cubicBezTo>
                      <a:pt x="0" y="699"/>
                      <a:pt x="0" y="699"/>
                      <a:pt x="0" y="699"/>
                    </a:cubicBezTo>
                    <a:cubicBezTo>
                      <a:pt x="0" y="704"/>
                      <a:pt x="5" y="707"/>
                      <a:pt x="8" y="707"/>
                    </a:cubicBezTo>
                    <a:cubicBezTo>
                      <a:pt x="340" y="707"/>
                      <a:pt x="340" y="707"/>
                      <a:pt x="340" y="707"/>
                    </a:cubicBezTo>
                    <a:cubicBezTo>
                      <a:pt x="346" y="707"/>
                      <a:pt x="351" y="704"/>
                      <a:pt x="351" y="699"/>
                    </a:cubicBezTo>
                    <a:cubicBezTo>
                      <a:pt x="351" y="157"/>
                      <a:pt x="351" y="157"/>
                      <a:pt x="351" y="157"/>
                    </a:cubicBezTo>
                    <a:cubicBezTo>
                      <a:pt x="351" y="146"/>
                      <a:pt x="351" y="146"/>
                      <a:pt x="351" y="146"/>
                    </a:cubicBezTo>
                    <a:cubicBezTo>
                      <a:pt x="351" y="8"/>
                      <a:pt x="351" y="8"/>
                      <a:pt x="351" y="8"/>
                    </a:cubicBezTo>
                    <a:cubicBezTo>
                      <a:pt x="351" y="2"/>
                      <a:pt x="346" y="0"/>
                      <a:pt x="340" y="0"/>
                    </a:cubicBezTo>
                    <a:close/>
                    <a:moveTo>
                      <a:pt x="43" y="108"/>
                    </a:moveTo>
                    <a:cubicBezTo>
                      <a:pt x="43" y="76"/>
                      <a:pt x="43" y="76"/>
                      <a:pt x="43" y="76"/>
                    </a:cubicBezTo>
                    <a:cubicBezTo>
                      <a:pt x="43" y="70"/>
                      <a:pt x="46" y="65"/>
                      <a:pt x="51" y="65"/>
                    </a:cubicBezTo>
                    <a:cubicBezTo>
                      <a:pt x="300" y="65"/>
                      <a:pt x="300" y="65"/>
                      <a:pt x="300" y="65"/>
                    </a:cubicBezTo>
                    <a:cubicBezTo>
                      <a:pt x="305" y="65"/>
                      <a:pt x="308" y="70"/>
                      <a:pt x="308" y="76"/>
                    </a:cubicBezTo>
                    <a:cubicBezTo>
                      <a:pt x="308" y="108"/>
                      <a:pt x="308" y="108"/>
                      <a:pt x="308" y="108"/>
                    </a:cubicBezTo>
                    <a:cubicBezTo>
                      <a:pt x="308" y="114"/>
                      <a:pt x="305" y="116"/>
                      <a:pt x="300" y="116"/>
                    </a:cubicBezTo>
                    <a:cubicBezTo>
                      <a:pt x="51" y="116"/>
                      <a:pt x="51" y="116"/>
                      <a:pt x="51" y="116"/>
                    </a:cubicBezTo>
                    <a:cubicBezTo>
                      <a:pt x="46" y="116"/>
                      <a:pt x="43" y="114"/>
                      <a:pt x="43" y="108"/>
                    </a:cubicBezTo>
                    <a:close/>
                    <a:moveTo>
                      <a:pt x="278" y="333"/>
                    </a:moveTo>
                    <a:cubicBezTo>
                      <a:pt x="267" y="333"/>
                      <a:pt x="257" y="322"/>
                      <a:pt x="257" y="309"/>
                    </a:cubicBezTo>
                    <a:cubicBezTo>
                      <a:pt x="257" y="298"/>
                      <a:pt x="267" y="287"/>
                      <a:pt x="278" y="287"/>
                    </a:cubicBezTo>
                    <a:cubicBezTo>
                      <a:pt x="292" y="287"/>
                      <a:pt x="305" y="298"/>
                      <a:pt x="305" y="309"/>
                    </a:cubicBezTo>
                    <a:cubicBezTo>
                      <a:pt x="305" y="322"/>
                      <a:pt x="292" y="333"/>
                      <a:pt x="278" y="333"/>
                    </a:cubicBezTo>
                    <a:close/>
                    <a:moveTo>
                      <a:pt x="278" y="255"/>
                    </a:moveTo>
                    <a:cubicBezTo>
                      <a:pt x="262" y="255"/>
                      <a:pt x="248" y="241"/>
                      <a:pt x="248" y="222"/>
                    </a:cubicBezTo>
                    <a:cubicBezTo>
                      <a:pt x="248" y="206"/>
                      <a:pt x="262" y="192"/>
                      <a:pt x="278" y="192"/>
                    </a:cubicBezTo>
                    <a:cubicBezTo>
                      <a:pt x="297" y="192"/>
                      <a:pt x="313" y="206"/>
                      <a:pt x="313" y="222"/>
                    </a:cubicBezTo>
                    <a:cubicBezTo>
                      <a:pt x="313" y="241"/>
                      <a:pt x="297" y="255"/>
                      <a:pt x="278" y="2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4" name="Group 123"/>
            <p:cNvGrpSpPr/>
            <p:nvPr/>
          </p:nvGrpSpPr>
          <p:grpSpPr>
            <a:xfrm>
              <a:off x="9086346" y="4534727"/>
              <a:ext cx="717013" cy="434591"/>
              <a:chOff x="6317492" y="4427961"/>
              <a:chExt cx="940136" cy="569829"/>
            </a:xfrm>
          </p:grpSpPr>
          <p:sp>
            <p:nvSpPr>
              <p:cNvPr id="125" name="Freeform 6"/>
              <p:cNvSpPr>
                <a:spLocks noEditPoints="1"/>
              </p:cNvSpPr>
              <p:nvPr/>
            </p:nvSpPr>
            <p:spPr bwMode="auto">
              <a:xfrm>
                <a:off x="6317492" y="4427961"/>
                <a:ext cx="282867" cy="569829"/>
              </a:xfrm>
              <a:custGeom>
                <a:avLst/>
                <a:gdLst>
                  <a:gd name="T0" fmla="*/ 340 w 351"/>
                  <a:gd name="T1" fmla="*/ 0 h 707"/>
                  <a:gd name="T2" fmla="*/ 8 w 351"/>
                  <a:gd name="T3" fmla="*/ 0 h 707"/>
                  <a:gd name="T4" fmla="*/ 0 w 351"/>
                  <a:gd name="T5" fmla="*/ 8 h 707"/>
                  <a:gd name="T6" fmla="*/ 0 w 351"/>
                  <a:gd name="T7" fmla="*/ 146 h 707"/>
                  <a:gd name="T8" fmla="*/ 0 w 351"/>
                  <a:gd name="T9" fmla="*/ 157 h 707"/>
                  <a:gd name="T10" fmla="*/ 0 w 351"/>
                  <a:gd name="T11" fmla="*/ 699 h 707"/>
                  <a:gd name="T12" fmla="*/ 8 w 351"/>
                  <a:gd name="T13" fmla="*/ 707 h 707"/>
                  <a:gd name="T14" fmla="*/ 340 w 351"/>
                  <a:gd name="T15" fmla="*/ 707 h 707"/>
                  <a:gd name="T16" fmla="*/ 351 w 351"/>
                  <a:gd name="T17" fmla="*/ 699 h 707"/>
                  <a:gd name="T18" fmla="*/ 351 w 351"/>
                  <a:gd name="T19" fmla="*/ 157 h 707"/>
                  <a:gd name="T20" fmla="*/ 351 w 351"/>
                  <a:gd name="T21" fmla="*/ 146 h 707"/>
                  <a:gd name="T22" fmla="*/ 351 w 351"/>
                  <a:gd name="T23" fmla="*/ 8 h 707"/>
                  <a:gd name="T24" fmla="*/ 340 w 351"/>
                  <a:gd name="T25" fmla="*/ 0 h 707"/>
                  <a:gd name="T26" fmla="*/ 43 w 351"/>
                  <a:gd name="T27" fmla="*/ 108 h 707"/>
                  <a:gd name="T28" fmla="*/ 43 w 351"/>
                  <a:gd name="T29" fmla="*/ 76 h 707"/>
                  <a:gd name="T30" fmla="*/ 51 w 351"/>
                  <a:gd name="T31" fmla="*/ 65 h 707"/>
                  <a:gd name="T32" fmla="*/ 300 w 351"/>
                  <a:gd name="T33" fmla="*/ 65 h 707"/>
                  <a:gd name="T34" fmla="*/ 308 w 351"/>
                  <a:gd name="T35" fmla="*/ 76 h 707"/>
                  <a:gd name="T36" fmla="*/ 308 w 351"/>
                  <a:gd name="T37" fmla="*/ 108 h 707"/>
                  <a:gd name="T38" fmla="*/ 300 w 351"/>
                  <a:gd name="T39" fmla="*/ 116 h 707"/>
                  <a:gd name="T40" fmla="*/ 51 w 351"/>
                  <a:gd name="T41" fmla="*/ 116 h 707"/>
                  <a:gd name="T42" fmla="*/ 43 w 351"/>
                  <a:gd name="T43" fmla="*/ 108 h 707"/>
                  <a:gd name="T44" fmla="*/ 278 w 351"/>
                  <a:gd name="T45" fmla="*/ 333 h 707"/>
                  <a:gd name="T46" fmla="*/ 257 w 351"/>
                  <a:gd name="T47" fmla="*/ 309 h 707"/>
                  <a:gd name="T48" fmla="*/ 278 w 351"/>
                  <a:gd name="T49" fmla="*/ 287 h 707"/>
                  <a:gd name="T50" fmla="*/ 305 w 351"/>
                  <a:gd name="T51" fmla="*/ 309 h 707"/>
                  <a:gd name="T52" fmla="*/ 278 w 351"/>
                  <a:gd name="T53" fmla="*/ 333 h 707"/>
                  <a:gd name="T54" fmla="*/ 278 w 351"/>
                  <a:gd name="T55" fmla="*/ 255 h 707"/>
                  <a:gd name="T56" fmla="*/ 248 w 351"/>
                  <a:gd name="T57" fmla="*/ 222 h 707"/>
                  <a:gd name="T58" fmla="*/ 278 w 351"/>
                  <a:gd name="T59" fmla="*/ 192 h 707"/>
                  <a:gd name="T60" fmla="*/ 313 w 351"/>
                  <a:gd name="T61" fmla="*/ 222 h 707"/>
                  <a:gd name="T62" fmla="*/ 278 w 351"/>
                  <a:gd name="T63" fmla="*/ 255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1" h="707">
                    <a:moveTo>
                      <a:pt x="340" y="0"/>
                    </a:moveTo>
                    <a:cubicBezTo>
                      <a:pt x="8" y="0"/>
                      <a:pt x="8" y="0"/>
                      <a:pt x="8" y="0"/>
                    </a:cubicBezTo>
                    <a:cubicBezTo>
                      <a:pt x="5" y="0"/>
                      <a:pt x="0" y="2"/>
                      <a:pt x="0" y="8"/>
                    </a:cubicBezTo>
                    <a:cubicBezTo>
                      <a:pt x="0" y="146"/>
                      <a:pt x="0" y="146"/>
                      <a:pt x="0" y="146"/>
                    </a:cubicBezTo>
                    <a:cubicBezTo>
                      <a:pt x="0" y="157"/>
                      <a:pt x="0" y="157"/>
                      <a:pt x="0" y="157"/>
                    </a:cubicBezTo>
                    <a:cubicBezTo>
                      <a:pt x="0" y="699"/>
                      <a:pt x="0" y="699"/>
                      <a:pt x="0" y="699"/>
                    </a:cubicBezTo>
                    <a:cubicBezTo>
                      <a:pt x="0" y="704"/>
                      <a:pt x="5" y="707"/>
                      <a:pt x="8" y="707"/>
                    </a:cubicBezTo>
                    <a:cubicBezTo>
                      <a:pt x="340" y="707"/>
                      <a:pt x="340" y="707"/>
                      <a:pt x="340" y="707"/>
                    </a:cubicBezTo>
                    <a:cubicBezTo>
                      <a:pt x="346" y="707"/>
                      <a:pt x="351" y="704"/>
                      <a:pt x="351" y="699"/>
                    </a:cubicBezTo>
                    <a:cubicBezTo>
                      <a:pt x="351" y="157"/>
                      <a:pt x="351" y="157"/>
                      <a:pt x="351" y="157"/>
                    </a:cubicBezTo>
                    <a:cubicBezTo>
                      <a:pt x="351" y="146"/>
                      <a:pt x="351" y="146"/>
                      <a:pt x="351" y="146"/>
                    </a:cubicBezTo>
                    <a:cubicBezTo>
                      <a:pt x="351" y="8"/>
                      <a:pt x="351" y="8"/>
                      <a:pt x="351" y="8"/>
                    </a:cubicBezTo>
                    <a:cubicBezTo>
                      <a:pt x="351" y="2"/>
                      <a:pt x="346" y="0"/>
                      <a:pt x="340" y="0"/>
                    </a:cubicBezTo>
                    <a:close/>
                    <a:moveTo>
                      <a:pt x="43" y="108"/>
                    </a:moveTo>
                    <a:cubicBezTo>
                      <a:pt x="43" y="76"/>
                      <a:pt x="43" y="76"/>
                      <a:pt x="43" y="76"/>
                    </a:cubicBezTo>
                    <a:cubicBezTo>
                      <a:pt x="43" y="70"/>
                      <a:pt x="46" y="65"/>
                      <a:pt x="51" y="65"/>
                    </a:cubicBezTo>
                    <a:cubicBezTo>
                      <a:pt x="300" y="65"/>
                      <a:pt x="300" y="65"/>
                      <a:pt x="300" y="65"/>
                    </a:cubicBezTo>
                    <a:cubicBezTo>
                      <a:pt x="305" y="65"/>
                      <a:pt x="308" y="70"/>
                      <a:pt x="308" y="76"/>
                    </a:cubicBezTo>
                    <a:cubicBezTo>
                      <a:pt x="308" y="108"/>
                      <a:pt x="308" y="108"/>
                      <a:pt x="308" y="108"/>
                    </a:cubicBezTo>
                    <a:cubicBezTo>
                      <a:pt x="308" y="114"/>
                      <a:pt x="305" y="116"/>
                      <a:pt x="300" y="116"/>
                    </a:cubicBezTo>
                    <a:cubicBezTo>
                      <a:pt x="51" y="116"/>
                      <a:pt x="51" y="116"/>
                      <a:pt x="51" y="116"/>
                    </a:cubicBezTo>
                    <a:cubicBezTo>
                      <a:pt x="46" y="116"/>
                      <a:pt x="43" y="114"/>
                      <a:pt x="43" y="108"/>
                    </a:cubicBezTo>
                    <a:close/>
                    <a:moveTo>
                      <a:pt x="278" y="333"/>
                    </a:moveTo>
                    <a:cubicBezTo>
                      <a:pt x="267" y="333"/>
                      <a:pt x="257" y="322"/>
                      <a:pt x="257" y="309"/>
                    </a:cubicBezTo>
                    <a:cubicBezTo>
                      <a:pt x="257" y="298"/>
                      <a:pt x="267" y="287"/>
                      <a:pt x="278" y="287"/>
                    </a:cubicBezTo>
                    <a:cubicBezTo>
                      <a:pt x="292" y="287"/>
                      <a:pt x="305" y="298"/>
                      <a:pt x="305" y="309"/>
                    </a:cubicBezTo>
                    <a:cubicBezTo>
                      <a:pt x="305" y="322"/>
                      <a:pt x="292" y="333"/>
                      <a:pt x="278" y="333"/>
                    </a:cubicBezTo>
                    <a:close/>
                    <a:moveTo>
                      <a:pt x="278" y="255"/>
                    </a:moveTo>
                    <a:cubicBezTo>
                      <a:pt x="262" y="255"/>
                      <a:pt x="248" y="241"/>
                      <a:pt x="248" y="222"/>
                    </a:cubicBezTo>
                    <a:cubicBezTo>
                      <a:pt x="248" y="206"/>
                      <a:pt x="262" y="192"/>
                      <a:pt x="278" y="192"/>
                    </a:cubicBezTo>
                    <a:cubicBezTo>
                      <a:pt x="297" y="192"/>
                      <a:pt x="313" y="206"/>
                      <a:pt x="313" y="222"/>
                    </a:cubicBezTo>
                    <a:cubicBezTo>
                      <a:pt x="313" y="241"/>
                      <a:pt x="297" y="255"/>
                      <a:pt x="278" y="2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6"/>
              <p:cNvSpPr>
                <a:spLocks noEditPoints="1"/>
              </p:cNvSpPr>
              <p:nvPr/>
            </p:nvSpPr>
            <p:spPr bwMode="auto">
              <a:xfrm>
                <a:off x="6646126" y="4427961"/>
                <a:ext cx="282867" cy="569829"/>
              </a:xfrm>
              <a:custGeom>
                <a:avLst/>
                <a:gdLst>
                  <a:gd name="T0" fmla="*/ 340 w 351"/>
                  <a:gd name="T1" fmla="*/ 0 h 707"/>
                  <a:gd name="T2" fmla="*/ 8 w 351"/>
                  <a:gd name="T3" fmla="*/ 0 h 707"/>
                  <a:gd name="T4" fmla="*/ 0 w 351"/>
                  <a:gd name="T5" fmla="*/ 8 h 707"/>
                  <a:gd name="T6" fmla="*/ 0 w 351"/>
                  <a:gd name="T7" fmla="*/ 146 h 707"/>
                  <a:gd name="T8" fmla="*/ 0 w 351"/>
                  <a:gd name="T9" fmla="*/ 157 h 707"/>
                  <a:gd name="T10" fmla="*/ 0 w 351"/>
                  <a:gd name="T11" fmla="*/ 699 h 707"/>
                  <a:gd name="T12" fmla="*/ 8 w 351"/>
                  <a:gd name="T13" fmla="*/ 707 h 707"/>
                  <a:gd name="T14" fmla="*/ 340 w 351"/>
                  <a:gd name="T15" fmla="*/ 707 h 707"/>
                  <a:gd name="T16" fmla="*/ 351 w 351"/>
                  <a:gd name="T17" fmla="*/ 699 h 707"/>
                  <a:gd name="T18" fmla="*/ 351 w 351"/>
                  <a:gd name="T19" fmla="*/ 157 h 707"/>
                  <a:gd name="T20" fmla="*/ 351 w 351"/>
                  <a:gd name="T21" fmla="*/ 146 h 707"/>
                  <a:gd name="T22" fmla="*/ 351 w 351"/>
                  <a:gd name="T23" fmla="*/ 8 h 707"/>
                  <a:gd name="T24" fmla="*/ 340 w 351"/>
                  <a:gd name="T25" fmla="*/ 0 h 707"/>
                  <a:gd name="T26" fmla="*/ 43 w 351"/>
                  <a:gd name="T27" fmla="*/ 108 h 707"/>
                  <a:gd name="T28" fmla="*/ 43 w 351"/>
                  <a:gd name="T29" fmla="*/ 76 h 707"/>
                  <a:gd name="T30" fmla="*/ 51 w 351"/>
                  <a:gd name="T31" fmla="*/ 65 h 707"/>
                  <a:gd name="T32" fmla="*/ 300 w 351"/>
                  <a:gd name="T33" fmla="*/ 65 h 707"/>
                  <a:gd name="T34" fmla="*/ 308 w 351"/>
                  <a:gd name="T35" fmla="*/ 76 h 707"/>
                  <a:gd name="T36" fmla="*/ 308 w 351"/>
                  <a:gd name="T37" fmla="*/ 108 h 707"/>
                  <a:gd name="T38" fmla="*/ 300 w 351"/>
                  <a:gd name="T39" fmla="*/ 116 h 707"/>
                  <a:gd name="T40" fmla="*/ 51 w 351"/>
                  <a:gd name="T41" fmla="*/ 116 h 707"/>
                  <a:gd name="T42" fmla="*/ 43 w 351"/>
                  <a:gd name="T43" fmla="*/ 108 h 707"/>
                  <a:gd name="T44" fmla="*/ 278 w 351"/>
                  <a:gd name="T45" fmla="*/ 333 h 707"/>
                  <a:gd name="T46" fmla="*/ 257 w 351"/>
                  <a:gd name="T47" fmla="*/ 309 h 707"/>
                  <a:gd name="T48" fmla="*/ 278 w 351"/>
                  <a:gd name="T49" fmla="*/ 287 h 707"/>
                  <a:gd name="T50" fmla="*/ 305 w 351"/>
                  <a:gd name="T51" fmla="*/ 309 h 707"/>
                  <a:gd name="T52" fmla="*/ 278 w 351"/>
                  <a:gd name="T53" fmla="*/ 333 h 707"/>
                  <a:gd name="T54" fmla="*/ 278 w 351"/>
                  <a:gd name="T55" fmla="*/ 255 h 707"/>
                  <a:gd name="T56" fmla="*/ 248 w 351"/>
                  <a:gd name="T57" fmla="*/ 222 h 707"/>
                  <a:gd name="T58" fmla="*/ 278 w 351"/>
                  <a:gd name="T59" fmla="*/ 192 h 707"/>
                  <a:gd name="T60" fmla="*/ 313 w 351"/>
                  <a:gd name="T61" fmla="*/ 222 h 707"/>
                  <a:gd name="T62" fmla="*/ 278 w 351"/>
                  <a:gd name="T63" fmla="*/ 255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1" h="707">
                    <a:moveTo>
                      <a:pt x="340" y="0"/>
                    </a:moveTo>
                    <a:cubicBezTo>
                      <a:pt x="8" y="0"/>
                      <a:pt x="8" y="0"/>
                      <a:pt x="8" y="0"/>
                    </a:cubicBezTo>
                    <a:cubicBezTo>
                      <a:pt x="5" y="0"/>
                      <a:pt x="0" y="2"/>
                      <a:pt x="0" y="8"/>
                    </a:cubicBezTo>
                    <a:cubicBezTo>
                      <a:pt x="0" y="146"/>
                      <a:pt x="0" y="146"/>
                      <a:pt x="0" y="146"/>
                    </a:cubicBezTo>
                    <a:cubicBezTo>
                      <a:pt x="0" y="157"/>
                      <a:pt x="0" y="157"/>
                      <a:pt x="0" y="157"/>
                    </a:cubicBezTo>
                    <a:cubicBezTo>
                      <a:pt x="0" y="699"/>
                      <a:pt x="0" y="699"/>
                      <a:pt x="0" y="699"/>
                    </a:cubicBezTo>
                    <a:cubicBezTo>
                      <a:pt x="0" y="704"/>
                      <a:pt x="5" y="707"/>
                      <a:pt x="8" y="707"/>
                    </a:cubicBezTo>
                    <a:cubicBezTo>
                      <a:pt x="340" y="707"/>
                      <a:pt x="340" y="707"/>
                      <a:pt x="340" y="707"/>
                    </a:cubicBezTo>
                    <a:cubicBezTo>
                      <a:pt x="346" y="707"/>
                      <a:pt x="351" y="704"/>
                      <a:pt x="351" y="699"/>
                    </a:cubicBezTo>
                    <a:cubicBezTo>
                      <a:pt x="351" y="157"/>
                      <a:pt x="351" y="157"/>
                      <a:pt x="351" y="157"/>
                    </a:cubicBezTo>
                    <a:cubicBezTo>
                      <a:pt x="351" y="146"/>
                      <a:pt x="351" y="146"/>
                      <a:pt x="351" y="146"/>
                    </a:cubicBezTo>
                    <a:cubicBezTo>
                      <a:pt x="351" y="8"/>
                      <a:pt x="351" y="8"/>
                      <a:pt x="351" y="8"/>
                    </a:cubicBezTo>
                    <a:cubicBezTo>
                      <a:pt x="351" y="2"/>
                      <a:pt x="346" y="0"/>
                      <a:pt x="340" y="0"/>
                    </a:cubicBezTo>
                    <a:close/>
                    <a:moveTo>
                      <a:pt x="43" y="108"/>
                    </a:moveTo>
                    <a:cubicBezTo>
                      <a:pt x="43" y="76"/>
                      <a:pt x="43" y="76"/>
                      <a:pt x="43" y="76"/>
                    </a:cubicBezTo>
                    <a:cubicBezTo>
                      <a:pt x="43" y="70"/>
                      <a:pt x="46" y="65"/>
                      <a:pt x="51" y="65"/>
                    </a:cubicBezTo>
                    <a:cubicBezTo>
                      <a:pt x="300" y="65"/>
                      <a:pt x="300" y="65"/>
                      <a:pt x="300" y="65"/>
                    </a:cubicBezTo>
                    <a:cubicBezTo>
                      <a:pt x="305" y="65"/>
                      <a:pt x="308" y="70"/>
                      <a:pt x="308" y="76"/>
                    </a:cubicBezTo>
                    <a:cubicBezTo>
                      <a:pt x="308" y="108"/>
                      <a:pt x="308" y="108"/>
                      <a:pt x="308" y="108"/>
                    </a:cubicBezTo>
                    <a:cubicBezTo>
                      <a:pt x="308" y="114"/>
                      <a:pt x="305" y="116"/>
                      <a:pt x="300" y="116"/>
                    </a:cubicBezTo>
                    <a:cubicBezTo>
                      <a:pt x="51" y="116"/>
                      <a:pt x="51" y="116"/>
                      <a:pt x="51" y="116"/>
                    </a:cubicBezTo>
                    <a:cubicBezTo>
                      <a:pt x="46" y="116"/>
                      <a:pt x="43" y="114"/>
                      <a:pt x="43" y="108"/>
                    </a:cubicBezTo>
                    <a:close/>
                    <a:moveTo>
                      <a:pt x="278" y="333"/>
                    </a:moveTo>
                    <a:cubicBezTo>
                      <a:pt x="267" y="333"/>
                      <a:pt x="257" y="322"/>
                      <a:pt x="257" y="309"/>
                    </a:cubicBezTo>
                    <a:cubicBezTo>
                      <a:pt x="257" y="298"/>
                      <a:pt x="267" y="287"/>
                      <a:pt x="278" y="287"/>
                    </a:cubicBezTo>
                    <a:cubicBezTo>
                      <a:pt x="292" y="287"/>
                      <a:pt x="305" y="298"/>
                      <a:pt x="305" y="309"/>
                    </a:cubicBezTo>
                    <a:cubicBezTo>
                      <a:pt x="305" y="322"/>
                      <a:pt x="292" y="333"/>
                      <a:pt x="278" y="333"/>
                    </a:cubicBezTo>
                    <a:close/>
                    <a:moveTo>
                      <a:pt x="278" y="255"/>
                    </a:moveTo>
                    <a:cubicBezTo>
                      <a:pt x="262" y="255"/>
                      <a:pt x="248" y="241"/>
                      <a:pt x="248" y="222"/>
                    </a:cubicBezTo>
                    <a:cubicBezTo>
                      <a:pt x="248" y="206"/>
                      <a:pt x="262" y="192"/>
                      <a:pt x="278" y="192"/>
                    </a:cubicBezTo>
                    <a:cubicBezTo>
                      <a:pt x="297" y="192"/>
                      <a:pt x="313" y="206"/>
                      <a:pt x="313" y="222"/>
                    </a:cubicBezTo>
                    <a:cubicBezTo>
                      <a:pt x="313" y="241"/>
                      <a:pt x="297" y="255"/>
                      <a:pt x="278" y="2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6"/>
              <p:cNvSpPr>
                <a:spLocks noEditPoints="1"/>
              </p:cNvSpPr>
              <p:nvPr/>
            </p:nvSpPr>
            <p:spPr bwMode="auto">
              <a:xfrm>
                <a:off x="6974761" y="4427961"/>
                <a:ext cx="282867" cy="569829"/>
              </a:xfrm>
              <a:custGeom>
                <a:avLst/>
                <a:gdLst>
                  <a:gd name="T0" fmla="*/ 340 w 351"/>
                  <a:gd name="T1" fmla="*/ 0 h 707"/>
                  <a:gd name="T2" fmla="*/ 8 w 351"/>
                  <a:gd name="T3" fmla="*/ 0 h 707"/>
                  <a:gd name="T4" fmla="*/ 0 w 351"/>
                  <a:gd name="T5" fmla="*/ 8 h 707"/>
                  <a:gd name="T6" fmla="*/ 0 w 351"/>
                  <a:gd name="T7" fmla="*/ 146 h 707"/>
                  <a:gd name="T8" fmla="*/ 0 w 351"/>
                  <a:gd name="T9" fmla="*/ 157 h 707"/>
                  <a:gd name="T10" fmla="*/ 0 w 351"/>
                  <a:gd name="T11" fmla="*/ 699 h 707"/>
                  <a:gd name="T12" fmla="*/ 8 w 351"/>
                  <a:gd name="T13" fmla="*/ 707 h 707"/>
                  <a:gd name="T14" fmla="*/ 340 w 351"/>
                  <a:gd name="T15" fmla="*/ 707 h 707"/>
                  <a:gd name="T16" fmla="*/ 351 w 351"/>
                  <a:gd name="T17" fmla="*/ 699 h 707"/>
                  <a:gd name="T18" fmla="*/ 351 w 351"/>
                  <a:gd name="T19" fmla="*/ 157 h 707"/>
                  <a:gd name="T20" fmla="*/ 351 w 351"/>
                  <a:gd name="T21" fmla="*/ 146 h 707"/>
                  <a:gd name="T22" fmla="*/ 351 w 351"/>
                  <a:gd name="T23" fmla="*/ 8 h 707"/>
                  <a:gd name="T24" fmla="*/ 340 w 351"/>
                  <a:gd name="T25" fmla="*/ 0 h 707"/>
                  <a:gd name="T26" fmla="*/ 43 w 351"/>
                  <a:gd name="T27" fmla="*/ 108 h 707"/>
                  <a:gd name="T28" fmla="*/ 43 w 351"/>
                  <a:gd name="T29" fmla="*/ 76 h 707"/>
                  <a:gd name="T30" fmla="*/ 51 w 351"/>
                  <a:gd name="T31" fmla="*/ 65 h 707"/>
                  <a:gd name="T32" fmla="*/ 300 w 351"/>
                  <a:gd name="T33" fmla="*/ 65 h 707"/>
                  <a:gd name="T34" fmla="*/ 308 w 351"/>
                  <a:gd name="T35" fmla="*/ 76 h 707"/>
                  <a:gd name="T36" fmla="*/ 308 w 351"/>
                  <a:gd name="T37" fmla="*/ 108 h 707"/>
                  <a:gd name="T38" fmla="*/ 300 w 351"/>
                  <a:gd name="T39" fmla="*/ 116 h 707"/>
                  <a:gd name="T40" fmla="*/ 51 w 351"/>
                  <a:gd name="T41" fmla="*/ 116 h 707"/>
                  <a:gd name="T42" fmla="*/ 43 w 351"/>
                  <a:gd name="T43" fmla="*/ 108 h 707"/>
                  <a:gd name="T44" fmla="*/ 278 w 351"/>
                  <a:gd name="T45" fmla="*/ 333 h 707"/>
                  <a:gd name="T46" fmla="*/ 257 w 351"/>
                  <a:gd name="T47" fmla="*/ 309 h 707"/>
                  <a:gd name="T48" fmla="*/ 278 w 351"/>
                  <a:gd name="T49" fmla="*/ 287 h 707"/>
                  <a:gd name="T50" fmla="*/ 305 w 351"/>
                  <a:gd name="T51" fmla="*/ 309 h 707"/>
                  <a:gd name="T52" fmla="*/ 278 w 351"/>
                  <a:gd name="T53" fmla="*/ 333 h 707"/>
                  <a:gd name="T54" fmla="*/ 278 w 351"/>
                  <a:gd name="T55" fmla="*/ 255 h 707"/>
                  <a:gd name="T56" fmla="*/ 248 w 351"/>
                  <a:gd name="T57" fmla="*/ 222 h 707"/>
                  <a:gd name="T58" fmla="*/ 278 w 351"/>
                  <a:gd name="T59" fmla="*/ 192 h 707"/>
                  <a:gd name="T60" fmla="*/ 313 w 351"/>
                  <a:gd name="T61" fmla="*/ 222 h 707"/>
                  <a:gd name="T62" fmla="*/ 278 w 351"/>
                  <a:gd name="T63" fmla="*/ 255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1" h="707">
                    <a:moveTo>
                      <a:pt x="340" y="0"/>
                    </a:moveTo>
                    <a:cubicBezTo>
                      <a:pt x="8" y="0"/>
                      <a:pt x="8" y="0"/>
                      <a:pt x="8" y="0"/>
                    </a:cubicBezTo>
                    <a:cubicBezTo>
                      <a:pt x="5" y="0"/>
                      <a:pt x="0" y="2"/>
                      <a:pt x="0" y="8"/>
                    </a:cubicBezTo>
                    <a:cubicBezTo>
                      <a:pt x="0" y="146"/>
                      <a:pt x="0" y="146"/>
                      <a:pt x="0" y="146"/>
                    </a:cubicBezTo>
                    <a:cubicBezTo>
                      <a:pt x="0" y="157"/>
                      <a:pt x="0" y="157"/>
                      <a:pt x="0" y="157"/>
                    </a:cubicBezTo>
                    <a:cubicBezTo>
                      <a:pt x="0" y="699"/>
                      <a:pt x="0" y="699"/>
                      <a:pt x="0" y="699"/>
                    </a:cubicBezTo>
                    <a:cubicBezTo>
                      <a:pt x="0" y="704"/>
                      <a:pt x="5" y="707"/>
                      <a:pt x="8" y="707"/>
                    </a:cubicBezTo>
                    <a:cubicBezTo>
                      <a:pt x="340" y="707"/>
                      <a:pt x="340" y="707"/>
                      <a:pt x="340" y="707"/>
                    </a:cubicBezTo>
                    <a:cubicBezTo>
                      <a:pt x="346" y="707"/>
                      <a:pt x="351" y="704"/>
                      <a:pt x="351" y="699"/>
                    </a:cubicBezTo>
                    <a:cubicBezTo>
                      <a:pt x="351" y="157"/>
                      <a:pt x="351" y="157"/>
                      <a:pt x="351" y="157"/>
                    </a:cubicBezTo>
                    <a:cubicBezTo>
                      <a:pt x="351" y="146"/>
                      <a:pt x="351" y="146"/>
                      <a:pt x="351" y="146"/>
                    </a:cubicBezTo>
                    <a:cubicBezTo>
                      <a:pt x="351" y="8"/>
                      <a:pt x="351" y="8"/>
                      <a:pt x="351" y="8"/>
                    </a:cubicBezTo>
                    <a:cubicBezTo>
                      <a:pt x="351" y="2"/>
                      <a:pt x="346" y="0"/>
                      <a:pt x="340" y="0"/>
                    </a:cubicBezTo>
                    <a:close/>
                    <a:moveTo>
                      <a:pt x="43" y="108"/>
                    </a:moveTo>
                    <a:cubicBezTo>
                      <a:pt x="43" y="76"/>
                      <a:pt x="43" y="76"/>
                      <a:pt x="43" y="76"/>
                    </a:cubicBezTo>
                    <a:cubicBezTo>
                      <a:pt x="43" y="70"/>
                      <a:pt x="46" y="65"/>
                      <a:pt x="51" y="65"/>
                    </a:cubicBezTo>
                    <a:cubicBezTo>
                      <a:pt x="300" y="65"/>
                      <a:pt x="300" y="65"/>
                      <a:pt x="300" y="65"/>
                    </a:cubicBezTo>
                    <a:cubicBezTo>
                      <a:pt x="305" y="65"/>
                      <a:pt x="308" y="70"/>
                      <a:pt x="308" y="76"/>
                    </a:cubicBezTo>
                    <a:cubicBezTo>
                      <a:pt x="308" y="108"/>
                      <a:pt x="308" y="108"/>
                      <a:pt x="308" y="108"/>
                    </a:cubicBezTo>
                    <a:cubicBezTo>
                      <a:pt x="308" y="114"/>
                      <a:pt x="305" y="116"/>
                      <a:pt x="300" y="116"/>
                    </a:cubicBezTo>
                    <a:cubicBezTo>
                      <a:pt x="51" y="116"/>
                      <a:pt x="51" y="116"/>
                      <a:pt x="51" y="116"/>
                    </a:cubicBezTo>
                    <a:cubicBezTo>
                      <a:pt x="46" y="116"/>
                      <a:pt x="43" y="114"/>
                      <a:pt x="43" y="108"/>
                    </a:cubicBezTo>
                    <a:close/>
                    <a:moveTo>
                      <a:pt x="278" y="333"/>
                    </a:moveTo>
                    <a:cubicBezTo>
                      <a:pt x="267" y="333"/>
                      <a:pt x="257" y="322"/>
                      <a:pt x="257" y="309"/>
                    </a:cubicBezTo>
                    <a:cubicBezTo>
                      <a:pt x="257" y="298"/>
                      <a:pt x="267" y="287"/>
                      <a:pt x="278" y="287"/>
                    </a:cubicBezTo>
                    <a:cubicBezTo>
                      <a:pt x="292" y="287"/>
                      <a:pt x="305" y="298"/>
                      <a:pt x="305" y="309"/>
                    </a:cubicBezTo>
                    <a:cubicBezTo>
                      <a:pt x="305" y="322"/>
                      <a:pt x="292" y="333"/>
                      <a:pt x="278" y="333"/>
                    </a:cubicBezTo>
                    <a:close/>
                    <a:moveTo>
                      <a:pt x="278" y="255"/>
                    </a:moveTo>
                    <a:cubicBezTo>
                      <a:pt x="262" y="255"/>
                      <a:pt x="248" y="241"/>
                      <a:pt x="248" y="222"/>
                    </a:cubicBezTo>
                    <a:cubicBezTo>
                      <a:pt x="248" y="206"/>
                      <a:pt x="262" y="192"/>
                      <a:pt x="278" y="192"/>
                    </a:cubicBezTo>
                    <a:cubicBezTo>
                      <a:pt x="297" y="192"/>
                      <a:pt x="313" y="206"/>
                      <a:pt x="313" y="222"/>
                    </a:cubicBezTo>
                    <a:cubicBezTo>
                      <a:pt x="313" y="241"/>
                      <a:pt x="297" y="255"/>
                      <a:pt x="278" y="2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8" name="Group 127"/>
            <p:cNvGrpSpPr/>
            <p:nvPr/>
          </p:nvGrpSpPr>
          <p:grpSpPr>
            <a:xfrm>
              <a:off x="8113758" y="3604861"/>
              <a:ext cx="466373" cy="434591"/>
              <a:chOff x="6185903" y="4340235"/>
              <a:chExt cx="611501" cy="569829"/>
            </a:xfrm>
          </p:grpSpPr>
          <p:sp>
            <p:nvSpPr>
              <p:cNvPr id="129" name="Freeform 6"/>
              <p:cNvSpPr>
                <a:spLocks noEditPoints="1"/>
              </p:cNvSpPr>
              <p:nvPr/>
            </p:nvSpPr>
            <p:spPr bwMode="auto">
              <a:xfrm>
                <a:off x="6185903" y="4340235"/>
                <a:ext cx="282867" cy="569829"/>
              </a:xfrm>
              <a:custGeom>
                <a:avLst/>
                <a:gdLst>
                  <a:gd name="T0" fmla="*/ 340 w 351"/>
                  <a:gd name="T1" fmla="*/ 0 h 707"/>
                  <a:gd name="T2" fmla="*/ 8 w 351"/>
                  <a:gd name="T3" fmla="*/ 0 h 707"/>
                  <a:gd name="T4" fmla="*/ 0 w 351"/>
                  <a:gd name="T5" fmla="*/ 8 h 707"/>
                  <a:gd name="T6" fmla="*/ 0 w 351"/>
                  <a:gd name="T7" fmla="*/ 146 h 707"/>
                  <a:gd name="T8" fmla="*/ 0 w 351"/>
                  <a:gd name="T9" fmla="*/ 157 h 707"/>
                  <a:gd name="T10" fmla="*/ 0 w 351"/>
                  <a:gd name="T11" fmla="*/ 699 h 707"/>
                  <a:gd name="T12" fmla="*/ 8 w 351"/>
                  <a:gd name="T13" fmla="*/ 707 h 707"/>
                  <a:gd name="T14" fmla="*/ 340 w 351"/>
                  <a:gd name="T15" fmla="*/ 707 h 707"/>
                  <a:gd name="T16" fmla="*/ 351 w 351"/>
                  <a:gd name="T17" fmla="*/ 699 h 707"/>
                  <a:gd name="T18" fmla="*/ 351 w 351"/>
                  <a:gd name="T19" fmla="*/ 157 h 707"/>
                  <a:gd name="T20" fmla="*/ 351 w 351"/>
                  <a:gd name="T21" fmla="*/ 146 h 707"/>
                  <a:gd name="T22" fmla="*/ 351 w 351"/>
                  <a:gd name="T23" fmla="*/ 8 h 707"/>
                  <a:gd name="T24" fmla="*/ 340 w 351"/>
                  <a:gd name="T25" fmla="*/ 0 h 707"/>
                  <a:gd name="T26" fmla="*/ 43 w 351"/>
                  <a:gd name="T27" fmla="*/ 108 h 707"/>
                  <a:gd name="T28" fmla="*/ 43 w 351"/>
                  <a:gd name="T29" fmla="*/ 76 h 707"/>
                  <a:gd name="T30" fmla="*/ 51 w 351"/>
                  <a:gd name="T31" fmla="*/ 65 h 707"/>
                  <a:gd name="T32" fmla="*/ 300 w 351"/>
                  <a:gd name="T33" fmla="*/ 65 h 707"/>
                  <a:gd name="T34" fmla="*/ 308 w 351"/>
                  <a:gd name="T35" fmla="*/ 76 h 707"/>
                  <a:gd name="T36" fmla="*/ 308 w 351"/>
                  <a:gd name="T37" fmla="*/ 108 h 707"/>
                  <a:gd name="T38" fmla="*/ 300 w 351"/>
                  <a:gd name="T39" fmla="*/ 116 h 707"/>
                  <a:gd name="T40" fmla="*/ 51 w 351"/>
                  <a:gd name="T41" fmla="*/ 116 h 707"/>
                  <a:gd name="T42" fmla="*/ 43 w 351"/>
                  <a:gd name="T43" fmla="*/ 108 h 707"/>
                  <a:gd name="T44" fmla="*/ 278 w 351"/>
                  <a:gd name="T45" fmla="*/ 333 h 707"/>
                  <a:gd name="T46" fmla="*/ 257 w 351"/>
                  <a:gd name="T47" fmla="*/ 309 h 707"/>
                  <a:gd name="T48" fmla="*/ 278 w 351"/>
                  <a:gd name="T49" fmla="*/ 287 h 707"/>
                  <a:gd name="T50" fmla="*/ 305 w 351"/>
                  <a:gd name="T51" fmla="*/ 309 h 707"/>
                  <a:gd name="T52" fmla="*/ 278 w 351"/>
                  <a:gd name="T53" fmla="*/ 333 h 707"/>
                  <a:gd name="T54" fmla="*/ 278 w 351"/>
                  <a:gd name="T55" fmla="*/ 255 h 707"/>
                  <a:gd name="T56" fmla="*/ 248 w 351"/>
                  <a:gd name="T57" fmla="*/ 222 h 707"/>
                  <a:gd name="T58" fmla="*/ 278 w 351"/>
                  <a:gd name="T59" fmla="*/ 192 h 707"/>
                  <a:gd name="T60" fmla="*/ 313 w 351"/>
                  <a:gd name="T61" fmla="*/ 222 h 707"/>
                  <a:gd name="T62" fmla="*/ 278 w 351"/>
                  <a:gd name="T63" fmla="*/ 255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1" h="707">
                    <a:moveTo>
                      <a:pt x="340" y="0"/>
                    </a:moveTo>
                    <a:cubicBezTo>
                      <a:pt x="8" y="0"/>
                      <a:pt x="8" y="0"/>
                      <a:pt x="8" y="0"/>
                    </a:cubicBezTo>
                    <a:cubicBezTo>
                      <a:pt x="5" y="0"/>
                      <a:pt x="0" y="2"/>
                      <a:pt x="0" y="8"/>
                    </a:cubicBezTo>
                    <a:cubicBezTo>
                      <a:pt x="0" y="146"/>
                      <a:pt x="0" y="146"/>
                      <a:pt x="0" y="146"/>
                    </a:cubicBezTo>
                    <a:cubicBezTo>
                      <a:pt x="0" y="157"/>
                      <a:pt x="0" y="157"/>
                      <a:pt x="0" y="157"/>
                    </a:cubicBezTo>
                    <a:cubicBezTo>
                      <a:pt x="0" y="699"/>
                      <a:pt x="0" y="699"/>
                      <a:pt x="0" y="699"/>
                    </a:cubicBezTo>
                    <a:cubicBezTo>
                      <a:pt x="0" y="704"/>
                      <a:pt x="5" y="707"/>
                      <a:pt x="8" y="707"/>
                    </a:cubicBezTo>
                    <a:cubicBezTo>
                      <a:pt x="340" y="707"/>
                      <a:pt x="340" y="707"/>
                      <a:pt x="340" y="707"/>
                    </a:cubicBezTo>
                    <a:cubicBezTo>
                      <a:pt x="346" y="707"/>
                      <a:pt x="351" y="704"/>
                      <a:pt x="351" y="699"/>
                    </a:cubicBezTo>
                    <a:cubicBezTo>
                      <a:pt x="351" y="157"/>
                      <a:pt x="351" y="157"/>
                      <a:pt x="351" y="157"/>
                    </a:cubicBezTo>
                    <a:cubicBezTo>
                      <a:pt x="351" y="146"/>
                      <a:pt x="351" y="146"/>
                      <a:pt x="351" y="146"/>
                    </a:cubicBezTo>
                    <a:cubicBezTo>
                      <a:pt x="351" y="8"/>
                      <a:pt x="351" y="8"/>
                      <a:pt x="351" y="8"/>
                    </a:cubicBezTo>
                    <a:cubicBezTo>
                      <a:pt x="351" y="2"/>
                      <a:pt x="346" y="0"/>
                      <a:pt x="340" y="0"/>
                    </a:cubicBezTo>
                    <a:close/>
                    <a:moveTo>
                      <a:pt x="43" y="108"/>
                    </a:moveTo>
                    <a:cubicBezTo>
                      <a:pt x="43" y="76"/>
                      <a:pt x="43" y="76"/>
                      <a:pt x="43" y="76"/>
                    </a:cubicBezTo>
                    <a:cubicBezTo>
                      <a:pt x="43" y="70"/>
                      <a:pt x="46" y="65"/>
                      <a:pt x="51" y="65"/>
                    </a:cubicBezTo>
                    <a:cubicBezTo>
                      <a:pt x="300" y="65"/>
                      <a:pt x="300" y="65"/>
                      <a:pt x="300" y="65"/>
                    </a:cubicBezTo>
                    <a:cubicBezTo>
                      <a:pt x="305" y="65"/>
                      <a:pt x="308" y="70"/>
                      <a:pt x="308" y="76"/>
                    </a:cubicBezTo>
                    <a:cubicBezTo>
                      <a:pt x="308" y="108"/>
                      <a:pt x="308" y="108"/>
                      <a:pt x="308" y="108"/>
                    </a:cubicBezTo>
                    <a:cubicBezTo>
                      <a:pt x="308" y="114"/>
                      <a:pt x="305" y="116"/>
                      <a:pt x="300" y="116"/>
                    </a:cubicBezTo>
                    <a:cubicBezTo>
                      <a:pt x="51" y="116"/>
                      <a:pt x="51" y="116"/>
                      <a:pt x="51" y="116"/>
                    </a:cubicBezTo>
                    <a:cubicBezTo>
                      <a:pt x="46" y="116"/>
                      <a:pt x="43" y="114"/>
                      <a:pt x="43" y="108"/>
                    </a:cubicBezTo>
                    <a:close/>
                    <a:moveTo>
                      <a:pt x="278" y="333"/>
                    </a:moveTo>
                    <a:cubicBezTo>
                      <a:pt x="267" y="333"/>
                      <a:pt x="257" y="322"/>
                      <a:pt x="257" y="309"/>
                    </a:cubicBezTo>
                    <a:cubicBezTo>
                      <a:pt x="257" y="298"/>
                      <a:pt x="267" y="287"/>
                      <a:pt x="278" y="287"/>
                    </a:cubicBezTo>
                    <a:cubicBezTo>
                      <a:pt x="292" y="287"/>
                      <a:pt x="305" y="298"/>
                      <a:pt x="305" y="309"/>
                    </a:cubicBezTo>
                    <a:cubicBezTo>
                      <a:pt x="305" y="322"/>
                      <a:pt x="292" y="333"/>
                      <a:pt x="278" y="333"/>
                    </a:cubicBezTo>
                    <a:close/>
                    <a:moveTo>
                      <a:pt x="278" y="255"/>
                    </a:moveTo>
                    <a:cubicBezTo>
                      <a:pt x="262" y="255"/>
                      <a:pt x="248" y="241"/>
                      <a:pt x="248" y="222"/>
                    </a:cubicBezTo>
                    <a:cubicBezTo>
                      <a:pt x="248" y="206"/>
                      <a:pt x="262" y="192"/>
                      <a:pt x="278" y="192"/>
                    </a:cubicBezTo>
                    <a:cubicBezTo>
                      <a:pt x="297" y="192"/>
                      <a:pt x="313" y="206"/>
                      <a:pt x="313" y="222"/>
                    </a:cubicBezTo>
                    <a:cubicBezTo>
                      <a:pt x="313" y="241"/>
                      <a:pt x="297" y="255"/>
                      <a:pt x="278" y="2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6"/>
              <p:cNvSpPr>
                <a:spLocks noEditPoints="1"/>
              </p:cNvSpPr>
              <p:nvPr/>
            </p:nvSpPr>
            <p:spPr bwMode="auto">
              <a:xfrm>
                <a:off x="6514537" y="4340235"/>
                <a:ext cx="282867" cy="569829"/>
              </a:xfrm>
              <a:custGeom>
                <a:avLst/>
                <a:gdLst>
                  <a:gd name="T0" fmla="*/ 340 w 351"/>
                  <a:gd name="T1" fmla="*/ 0 h 707"/>
                  <a:gd name="T2" fmla="*/ 8 w 351"/>
                  <a:gd name="T3" fmla="*/ 0 h 707"/>
                  <a:gd name="T4" fmla="*/ 0 w 351"/>
                  <a:gd name="T5" fmla="*/ 8 h 707"/>
                  <a:gd name="T6" fmla="*/ 0 w 351"/>
                  <a:gd name="T7" fmla="*/ 146 h 707"/>
                  <a:gd name="T8" fmla="*/ 0 w 351"/>
                  <a:gd name="T9" fmla="*/ 157 h 707"/>
                  <a:gd name="T10" fmla="*/ 0 w 351"/>
                  <a:gd name="T11" fmla="*/ 699 h 707"/>
                  <a:gd name="T12" fmla="*/ 8 w 351"/>
                  <a:gd name="T13" fmla="*/ 707 h 707"/>
                  <a:gd name="T14" fmla="*/ 340 w 351"/>
                  <a:gd name="T15" fmla="*/ 707 h 707"/>
                  <a:gd name="T16" fmla="*/ 351 w 351"/>
                  <a:gd name="T17" fmla="*/ 699 h 707"/>
                  <a:gd name="T18" fmla="*/ 351 w 351"/>
                  <a:gd name="T19" fmla="*/ 157 h 707"/>
                  <a:gd name="T20" fmla="*/ 351 w 351"/>
                  <a:gd name="T21" fmla="*/ 146 h 707"/>
                  <a:gd name="T22" fmla="*/ 351 w 351"/>
                  <a:gd name="T23" fmla="*/ 8 h 707"/>
                  <a:gd name="T24" fmla="*/ 340 w 351"/>
                  <a:gd name="T25" fmla="*/ 0 h 707"/>
                  <a:gd name="T26" fmla="*/ 43 w 351"/>
                  <a:gd name="T27" fmla="*/ 108 h 707"/>
                  <a:gd name="T28" fmla="*/ 43 w 351"/>
                  <a:gd name="T29" fmla="*/ 76 h 707"/>
                  <a:gd name="T30" fmla="*/ 51 w 351"/>
                  <a:gd name="T31" fmla="*/ 65 h 707"/>
                  <a:gd name="T32" fmla="*/ 300 w 351"/>
                  <a:gd name="T33" fmla="*/ 65 h 707"/>
                  <a:gd name="T34" fmla="*/ 308 w 351"/>
                  <a:gd name="T35" fmla="*/ 76 h 707"/>
                  <a:gd name="T36" fmla="*/ 308 w 351"/>
                  <a:gd name="T37" fmla="*/ 108 h 707"/>
                  <a:gd name="T38" fmla="*/ 300 w 351"/>
                  <a:gd name="T39" fmla="*/ 116 h 707"/>
                  <a:gd name="T40" fmla="*/ 51 w 351"/>
                  <a:gd name="T41" fmla="*/ 116 h 707"/>
                  <a:gd name="T42" fmla="*/ 43 w 351"/>
                  <a:gd name="T43" fmla="*/ 108 h 707"/>
                  <a:gd name="T44" fmla="*/ 278 w 351"/>
                  <a:gd name="T45" fmla="*/ 333 h 707"/>
                  <a:gd name="T46" fmla="*/ 257 w 351"/>
                  <a:gd name="T47" fmla="*/ 309 h 707"/>
                  <a:gd name="T48" fmla="*/ 278 w 351"/>
                  <a:gd name="T49" fmla="*/ 287 h 707"/>
                  <a:gd name="T50" fmla="*/ 305 w 351"/>
                  <a:gd name="T51" fmla="*/ 309 h 707"/>
                  <a:gd name="T52" fmla="*/ 278 w 351"/>
                  <a:gd name="T53" fmla="*/ 333 h 707"/>
                  <a:gd name="T54" fmla="*/ 278 w 351"/>
                  <a:gd name="T55" fmla="*/ 255 h 707"/>
                  <a:gd name="T56" fmla="*/ 248 w 351"/>
                  <a:gd name="T57" fmla="*/ 222 h 707"/>
                  <a:gd name="T58" fmla="*/ 278 w 351"/>
                  <a:gd name="T59" fmla="*/ 192 h 707"/>
                  <a:gd name="T60" fmla="*/ 313 w 351"/>
                  <a:gd name="T61" fmla="*/ 222 h 707"/>
                  <a:gd name="T62" fmla="*/ 278 w 351"/>
                  <a:gd name="T63" fmla="*/ 255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1" h="707">
                    <a:moveTo>
                      <a:pt x="340" y="0"/>
                    </a:moveTo>
                    <a:cubicBezTo>
                      <a:pt x="8" y="0"/>
                      <a:pt x="8" y="0"/>
                      <a:pt x="8" y="0"/>
                    </a:cubicBezTo>
                    <a:cubicBezTo>
                      <a:pt x="5" y="0"/>
                      <a:pt x="0" y="2"/>
                      <a:pt x="0" y="8"/>
                    </a:cubicBezTo>
                    <a:cubicBezTo>
                      <a:pt x="0" y="146"/>
                      <a:pt x="0" y="146"/>
                      <a:pt x="0" y="146"/>
                    </a:cubicBezTo>
                    <a:cubicBezTo>
                      <a:pt x="0" y="157"/>
                      <a:pt x="0" y="157"/>
                      <a:pt x="0" y="157"/>
                    </a:cubicBezTo>
                    <a:cubicBezTo>
                      <a:pt x="0" y="699"/>
                      <a:pt x="0" y="699"/>
                      <a:pt x="0" y="699"/>
                    </a:cubicBezTo>
                    <a:cubicBezTo>
                      <a:pt x="0" y="704"/>
                      <a:pt x="5" y="707"/>
                      <a:pt x="8" y="707"/>
                    </a:cubicBezTo>
                    <a:cubicBezTo>
                      <a:pt x="340" y="707"/>
                      <a:pt x="340" y="707"/>
                      <a:pt x="340" y="707"/>
                    </a:cubicBezTo>
                    <a:cubicBezTo>
                      <a:pt x="346" y="707"/>
                      <a:pt x="351" y="704"/>
                      <a:pt x="351" y="699"/>
                    </a:cubicBezTo>
                    <a:cubicBezTo>
                      <a:pt x="351" y="157"/>
                      <a:pt x="351" y="157"/>
                      <a:pt x="351" y="157"/>
                    </a:cubicBezTo>
                    <a:cubicBezTo>
                      <a:pt x="351" y="146"/>
                      <a:pt x="351" y="146"/>
                      <a:pt x="351" y="146"/>
                    </a:cubicBezTo>
                    <a:cubicBezTo>
                      <a:pt x="351" y="8"/>
                      <a:pt x="351" y="8"/>
                      <a:pt x="351" y="8"/>
                    </a:cubicBezTo>
                    <a:cubicBezTo>
                      <a:pt x="351" y="2"/>
                      <a:pt x="346" y="0"/>
                      <a:pt x="340" y="0"/>
                    </a:cubicBezTo>
                    <a:close/>
                    <a:moveTo>
                      <a:pt x="43" y="108"/>
                    </a:moveTo>
                    <a:cubicBezTo>
                      <a:pt x="43" y="76"/>
                      <a:pt x="43" y="76"/>
                      <a:pt x="43" y="76"/>
                    </a:cubicBezTo>
                    <a:cubicBezTo>
                      <a:pt x="43" y="70"/>
                      <a:pt x="46" y="65"/>
                      <a:pt x="51" y="65"/>
                    </a:cubicBezTo>
                    <a:cubicBezTo>
                      <a:pt x="300" y="65"/>
                      <a:pt x="300" y="65"/>
                      <a:pt x="300" y="65"/>
                    </a:cubicBezTo>
                    <a:cubicBezTo>
                      <a:pt x="305" y="65"/>
                      <a:pt x="308" y="70"/>
                      <a:pt x="308" y="76"/>
                    </a:cubicBezTo>
                    <a:cubicBezTo>
                      <a:pt x="308" y="108"/>
                      <a:pt x="308" y="108"/>
                      <a:pt x="308" y="108"/>
                    </a:cubicBezTo>
                    <a:cubicBezTo>
                      <a:pt x="308" y="114"/>
                      <a:pt x="305" y="116"/>
                      <a:pt x="300" y="116"/>
                    </a:cubicBezTo>
                    <a:cubicBezTo>
                      <a:pt x="51" y="116"/>
                      <a:pt x="51" y="116"/>
                      <a:pt x="51" y="116"/>
                    </a:cubicBezTo>
                    <a:cubicBezTo>
                      <a:pt x="46" y="116"/>
                      <a:pt x="43" y="114"/>
                      <a:pt x="43" y="108"/>
                    </a:cubicBezTo>
                    <a:close/>
                    <a:moveTo>
                      <a:pt x="278" y="333"/>
                    </a:moveTo>
                    <a:cubicBezTo>
                      <a:pt x="267" y="333"/>
                      <a:pt x="257" y="322"/>
                      <a:pt x="257" y="309"/>
                    </a:cubicBezTo>
                    <a:cubicBezTo>
                      <a:pt x="257" y="298"/>
                      <a:pt x="267" y="287"/>
                      <a:pt x="278" y="287"/>
                    </a:cubicBezTo>
                    <a:cubicBezTo>
                      <a:pt x="292" y="287"/>
                      <a:pt x="305" y="298"/>
                      <a:pt x="305" y="309"/>
                    </a:cubicBezTo>
                    <a:cubicBezTo>
                      <a:pt x="305" y="322"/>
                      <a:pt x="292" y="333"/>
                      <a:pt x="278" y="333"/>
                    </a:cubicBezTo>
                    <a:close/>
                    <a:moveTo>
                      <a:pt x="278" y="255"/>
                    </a:moveTo>
                    <a:cubicBezTo>
                      <a:pt x="262" y="255"/>
                      <a:pt x="248" y="241"/>
                      <a:pt x="248" y="222"/>
                    </a:cubicBezTo>
                    <a:cubicBezTo>
                      <a:pt x="248" y="206"/>
                      <a:pt x="262" y="192"/>
                      <a:pt x="278" y="192"/>
                    </a:cubicBezTo>
                    <a:cubicBezTo>
                      <a:pt x="297" y="192"/>
                      <a:pt x="313" y="206"/>
                      <a:pt x="313" y="222"/>
                    </a:cubicBezTo>
                    <a:cubicBezTo>
                      <a:pt x="313" y="241"/>
                      <a:pt x="297" y="255"/>
                      <a:pt x="278" y="2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9" name="Group 28"/>
            <p:cNvGrpSpPr/>
            <p:nvPr/>
          </p:nvGrpSpPr>
          <p:grpSpPr>
            <a:xfrm>
              <a:off x="9030905" y="3467241"/>
              <a:ext cx="541465" cy="704350"/>
              <a:chOff x="9030905" y="3467241"/>
              <a:chExt cx="541465" cy="704350"/>
            </a:xfrm>
          </p:grpSpPr>
          <p:sp>
            <p:nvSpPr>
              <p:cNvPr id="28" name="Rectangle 27"/>
              <p:cNvSpPr/>
              <p:nvPr/>
            </p:nvSpPr>
            <p:spPr bwMode="auto">
              <a:xfrm>
                <a:off x="9030905" y="3467241"/>
                <a:ext cx="541465" cy="70435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685609"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161" name="Freeform 6"/>
              <p:cNvSpPr>
                <a:spLocks noEditPoints="1"/>
              </p:cNvSpPr>
              <p:nvPr/>
            </p:nvSpPr>
            <p:spPr bwMode="auto">
              <a:xfrm>
                <a:off x="9079547" y="3517642"/>
                <a:ext cx="442080" cy="580992"/>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grpSp>
      <p:pic>
        <p:nvPicPr>
          <p:cNvPr id="74"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58605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5"/>
                                        </p:tgtEl>
                                        <p:attrNameLst>
                                          <p:attrName>style.visibility</p:attrName>
                                        </p:attrNameLst>
                                      </p:cBhvr>
                                      <p:to>
                                        <p:strVal val="visible"/>
                                      </p:to>
                                    </p:set>
                                    <p:animEffect transition="in" filter="fade">
                                      <p:cBhvr>
                                        <p:cTn id="10" dur="500"/>
                                        <p:tgtEl>
                                          <p:spTgt spid="9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6"/>
                                        </p:tgtEl>
                                        <p:attrNameLst>
                                          <p:attrName>style.visibility</p:attrName>
                                        </p:attrNameLst>
                                      </p:cBhvr>
                                      <p:to>
                                        <p:strVal val="visible"/>
                                      </p:to>
                                    </p:set>
                                    <p:animEffect transition="in" filter="fade">
                                      <p:cBhvr>
                                        <p:cTn id="13" dur="500"/>
                                        <p:tgtEl>
                                          <p:spTgt spid="96"/>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136"/>
                                        </p:tgtEl>
                                        <p:attrNameLst>
                                          <p:attrName>style.visibility</p:attrName>
                                        </p:attrNameLst>
                                      </p:cBhvr>
                                      <p:to>
                                        <p:strVal val="visible"/>
                                      </p:to>
                                    </p:set>
                                    <p:animEffect transition="in" filter="fade">
                                      <p:cBhvr>
                                        <p:cTn id="17" dur="2000"/>
                                        <p:tgtEl>
                                          <p:spTgt spid="136"/>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00"/>
                                        </p:tgtEl>
                                        <p:attrNameLst>
                                          <p:attrName>style.visibility</p:attrName>
                                        </p:attrNameLst>
                                      </p:cBhvr>
                                      <p:to>
                                        <p:strVal val="visible"/>
                                      </p:to>
                                    </p:set>
                                    <p:animEffect transition="in" filter="fade">
                                      <p:cBhvr>
                                        <p:cTn id="20" dur="2000"/>
                                        <p:tgtEl>
                                          <p:spTgt spid="100"/>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12"/>
                                        </p:tgtEl>
                                        <p:attrNameLst>
                                          <p:attrName>style.visibility</p:attrName>
                                        </p:attrNameLst>
                                      </p:cBhvr>
                                      <p:to>
                                        <p:strVal val="visible"/>
                                      </p:to>
                                    </p:set>
                                    <p:animEffect transition="in" filter="fade">
                                      <p:cBhvr>
                                        <p:cTn id="23" dur="2000"/>
                                        <p:tgtEl>
                                          <p:spTgt spid="112"/>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1"/>
                                        </p:tgtEl>
                                        <p:attrNameLst>
                                          <p:attrName>style.visibility</p:attrName>
                                        </p:attrNameLst>
                                      </p:cBhvr>
                                      <p:to>
                                        <p:strVal val="visible"/>
                                      </p:to>
                                    </p:set>
                                    <p:animEffect transition="in" filter="fade">
                                      <p:cBhvr>
                                        <p:cTn id="26" dur="2000"/>
                                        <p:tgtEl>
                                          <p:spTgt spid="111"/>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7183"/>
                                        </p:tgtEl>
                                        <p:attrNameLst>
                                          <p:attrName>style.visibility</p:attrName>
                                        </p:attrNameLst>
                                      </p:cBhvr>
                                      <p:to>
                                        <p:strVal val="visible"/>
                                      </p:to>
                                    </p:set>
                                    <p:animEffect transition="in" filter="fade">
                                      <p:cBhvr>
                                        <p:cTn id="30" dur="500"/>
                                        <p:tgtEl>
                                          <p:spTgt spid="7183"/>
                                        </p:tgtEl>
                                      </p:cBhvr>
                                    </p:animEffect>
                                  </p:childTnLst>
                                </p:cTn>
                              </p:par>
                              <p:par>
                                <p:cTn id="31" presetID="10" presetClass="entr" presetSubtype="0" fill="hold" nodeType="withEffect">
                                  <p:stCondLst>
                                    <p:cond delay="0"/>
                                  </p:stCondLst>
                                  <p:childTnLst>
                                    <p:set>
                                      <p:cBhvr>
                                        <p:cTn id="32" dur="1" fill="hold">
                                          <p:stCondLst>
                                            <p:cond delay="0"/>
                                          </p:stCondLst>
                                        </p:cTn>
                                        <p:tgtEl>
                                          <p:spTgt spid="7185"/>
                                        </p:tgtEl>
                                        <p:attrNameLst>
                                          <p:attrName>style.visibility</p:attrName>
                                        </p:attrNameLst>
                                      </p:cBhvr>
                                      <p:to>
                                        <p:strVal val="visible"/>
                                      </p:to>
                                    </p:set>
                                    <p:animEffect transition="in" filter="fade">
                                      <p:cBhvr>
                                        <p:cTn id="33" dur="500"/>
                                        <p:tgtEl>
                                          <p:spTgt spid="7185"/>
                                        </p:tgtEl>
                                      </p:cBhvr>
                                    </p:animEffect>
                                  </p:childTnLst>
                                </p:cTn>
                              </p:par>
                              <p:par>
                                <p:cTn id="34" presetID="10" presetClass="entr" presetSubtype="0" fill="hold" nodeType="withEffect">
                                  <p:stCondLst>
                                    <p:cond delay="0"/>
                                  </p:stCondLst>
                                  <p:childTnLst>
                                    <p:set>
                                      <p:cBhvr>
                                        <p:cTn id="35" dur="1" fill="hold">
                                          <p:stCondLst>
                                            <p:cond delay="0"/>
                                          </p:stCondLst>
                                        </p:cTn>
                                        <p:tgtEl>
                                          <p:spTgt spid="117"/>
                                        </p:tgtEl>
                                        <p:attrNameLst>
                                          <p:attrName>style.visibility</p:attrName>
                                        </p:attrNameLst>
                                      </p:cBhvr>
                                      <p:to>
                                        <p:strVal val="visible"/>
                                      </p:to>
                                    </p:set>
                                    <p:animEffect transition="in" filter="fade">
                                      <p:cBhvr>
                                        <p:cTn id="36" dur="500"/>
                                        <p:tgtEl>
                                          <p:spTgt spid="117"/>
                                        </p:tgtEl>
                                      </p:cBhvr>
                                    </p:animEffect>
                                  </p:childTnLst>
                                </p:cTn>
                              </p:par>
                              <p:par>
                                <p:cTn id="37" presetID="10" presetClass="entr" presetSubtype="0" fill="hold" nodeType="withEffect">
                                  <p:stCondLst>
                                    <p:cond delay="0"/>
                                  </p:stCondLst>
                                  <p:childTnLst>
                                    <p:set>
                                      <p:cBhvr>
                                        <p:cTn id="38" dur="1" fill="hold">
                                          <p:stCondLst>
                                            <p:cond delay="0"/>
                                          </p:stCondLst>
                                        </p:cTn>
                                        <p:tgtEl>
                                          <p:spTgt spid="7192"/>
                                        </p:tgtEl>
                                        <p:attrNameLst>
                                          <p:attrName>style.visibility</p:attrName>
                                        </p:attrNameLst>
                                      </p:cBhvr>
                                      <p:to>
                                        <p:strVal val="visible"/>
                                      </p:to>
                                    </p:set>
                                    <p:animEffect transition="in" filter="fade">
                                      <p:cBhvr>
                                        <p:cTn id="39" dur="500"/>
                                        <p:tgtEl>
                                          <p:spTgt spid="7192"/>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70"/>
                                        </p:tgtEl>
                                        <p:attrNameLst>
                                          <p:attrName>style.visibility</p:attrName>
                                        </p:attrNameLst>
                                      </p:cBhvr>
                                      <p:to>
                                        <p:strVal val="visible"/>
                                      </p:to>
                                    </p:set>
                                    <p:animEffect transition="in" filter="fade">
                                      <p:cBhvr>
                                        <p:cTn id="42" dur="500"/>
                                        <p:tgtEl>
                                          <p:spTgt spid="170"/>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71"/>
                                        </p:tgtEl>
                                        <p:attrNameLst>
                                          <p:attrName>style.visibility</p:attrName>
                                        </p:attrNameLst>
                                      </p:cBhvr>
                                      <p:to>
                                        <p:strVal val="visible"/>
                                      </p:to>
                                    </p:set>
                                    <p:animEffect transition="in" filter="fade">
                                      <p:cBhvr>
                                        <p:cTn id="45" dur="500"/>
                                        <p:tgtEl>
                                          <p:spTgt spid="171"/>
                                        </p:tgtEl>
                                      </p:cBhvr>
                                    </p:animEffect>
                                  </p:childTnLst>
                                </p:cTn>
                              </p:par>
                            </p:childTnLst>
                          </p:cTn>
                        </p:par>
                        <p:par>
                          <p:cTn id="46" fill="hold">
                            <p:stCondLst>
                              <p:cond delay="3000"/>
                            </p:stCondLst>
                            <p:childTnLst>
                              <p:par>
                                <p:cTn id="47" presetID="10" presetClass="entr" presetSubtype="0" fill="hold" nodeType="afterEffect">
                                  <p:stCondLst>
                                    <p:cond delay="0"/>
                                  </p:stCondLst>
                                  <p:childTnLst>
                                    <p:set>
                                      <p:cBhvr>
                                        <p:cTn id="48" dur="1" fill="hold">
                                          <p:stCondLst>
                                            <p:cond delay="0"/>
                                          </p:stCondLst>
                                        </p:cTn>
                                        <p:tgtEl>
                                          <p:spTgt spid="11"/>
                                        </p:tgtEl>
                                        <p:attrNameLst>
                                          <p:attrName>style.visibility</p:attrName>
                                        </p:attrNameLst>
                                      </p:cBhvr>
                                      <p:to>
                                        <p:strVal val="visible"/>
                                      </p:to>
                                    </p:set>
                                    <p:animEffect transition="in" filter="fade">
                                      <p:cBhvr>
                                        <p:cTn id="49" dur="500"/>
                                        <p:tgtEl>
                                          <p:spTgt spid="11"/>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nodeType="clickEffect">
                                  <p:stCondLst>
                                    <p:cond delay="0"/>
                                  </p:stCondLst>
                                  <p:childTnLst>
                                    <p:set>
                                      <p:cBhvr>
                                        <p:cTn id="53" dur="1" fill="hold">
                                          <p:stCondLst>
                                            <p:cond delay="0"/>
                                          </p:stCondLst>
                                        </p:cTn>
                                        <p:tgtEl>
                                          <p:spTgt spid="31"/>
                                        </p:tgtEl>
                                        <p:attrNameLst>
                                          <p:attrName>style.visibility</p:attrName>
                                        </p:attrNameLst>
                                      </p:cBhvr>
                                      <p:to>
                                        <p:strVal val="visible"/>
                                      </p:to>
                                    </p:set>
                                    <p:animEffect transition="in" filter="fade">
                                      <p:cBhvr>
                                        <p:cTn id="54" dur="500"/>
                                        <p:tgtEl>
                                          <p:spTgt spid="31"/>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99"/>
                                        </p:tgtEl>
                                        <p:attrNameLst>
                                          <p:attrName>style.visibility</p:attrName>
                                        </p:attrNameLst>
                                      </p:cBhvr>
                                      <p:to>
                                        <p:strVal val="visible"/>
                                      </p:to>
                                    </p:set>
                                    <p:animEffect transition="in" filter="fade">
                                      <p:cBhvr>
                                        <p:cTn id="57" dur="500"/>
                                        <p:tgtEl>
                                          <p:spTgt spid="99"/>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98"/>
                                        </p:tgtEl>
                                        <p:attrNameLst>
                                          <p:attrName>style.visibility</p:attrName>
                                        </p:attrNameLst>
                                      </p:cBhvr>
                                      <p:to>
                                        <p:strVal val="visible"/>
                                      </p:to>
                                    </p:set>
                                    <p:animEffect transition="in" filter="fade">
                                      <p:cBhvr>
                                        <p:cTn id="60" dur="500"/>
                                        <p:tgtEl>
                                          <p:spTgt spid="98"/>
                                        </p:tgtEl>
                                      </p:cBhvr>
                                    </p:animEffect>
                                  </p:childTnLst>
                                </p:cTn>
                              </p:par>
                            </p:childTnLst>
                          </p:cTn>
                        </p:par>
                        <p:par>
                          <p:cTn id="61" fill="hold">
                            <p:stCondLst>
                              <p:cond delay="500"/>
                            </p:stCondLst>
                            <p:childTnLst>
                              <p:par>
                                <p:cTn id="62" presetID="22" presetClass="entr" presetSubtype="8" fill="hold" grpId="0" nodeType="afterEffect">
                                  <p:stCondLst>
                                    <p:cond delay="0"/>
                                  </p:stCondLst>
                                  <p:childTnLst>
                                    <p:set>
                                      <p:cBhvr>
                                        <p:cTn id="63" dur="1" fill="hold">
                                          <p:stCondLst>
                                            <p:cond delay="0"/>
                                          </p:stCondLst>
                                        </p:cTn>
                                        <p:tgtEl>
                                          <p:spTgt spid="12"/>
                                        </p:tgtEl>
                                        <p:attrNameLst>
                                          <p:attrName>style.visibility</p:attrName>
                                        </p:attrNameLst>
                                      </p:cBhvr>
                                      <p:to>
                                        <p:strVal val="visible"/>
                                      </p:to>
                                    </p:set>
                                    <p:animEffect transition="in" filter="wipe(left)">
                                      <p:cBhvr>
                                        <p:cTn id="64" dur="500"/>
                                        <p:tgtEl>
                                          <p:spTgt spid="12"/>
                                        </p:tgtEl>
                                      </p:cBhvr>
                                    </p:animEffect>
                                  </p:childTnLst>
                                </p:cTn>
                              </p:par>
                              <p:par>
                                <p:cTn id="65" presetID="22" presetClass="entr" presetSubtype="8" fill="hold" grpId="0" nodeType="withEffect">
                                  <p:stCondLst>
                                    <p:cond delay="0"/>
                                  </p:stCondLst>
                                  <p:childTnLst>
                                    <p:set>
                                      <p:cBhvr>
                                        <p:cTn id="66" dur="1" fill="hold">
                                          <p:stCondLst>
                                            <p:cond delay="0"/>
                                          </p:stCondLst>
                                        </p:cTn>
                                        <p:tgtEl>
                                          <p:spTgt spid="94"/>
                                        </p:tgtEl>
                                        <p:attrNameLst>
                                          <p:attrName>style.visibility</p:attrName>
                                        </p:attrNameLst>
                                      </p:cBhvr>
                                      <p:to>
                                        <p:strVal val="visible"/>
                                      </p:to>
                                    </p:set>
                                    <p:animEffect transition="in" filter="wipe(left)">
                                      <p:cBhvr>
                                        <p:cTn id="67" dur="500"/>
                                        <p:tgtEl>
                                          <p:spTgt spid="94"/>
                                        </p:tgtEl>
                                      </p:cBhvr>
                                    </p:animEffect>
                                  </p:childTnLst>
                                </p:cTn>
                              </p:par>
                              <p:par>
                                <p:cTn id="68" presetID="10" presetClass="entr" presetSubtype="0" fill="hold" nodeType="with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500"/>
                                        <p:tgtEl>
                                          <p:spTgt spid="32"/>
                                        </p:tgtEl>
                                      </p:cBhvr>
                                    </p:animEffect>
                                  </p:childTnLst>
                                </p:cTn>
                              </p:par>
                            </p:childTnLst>
                          </p:cTn>
                        </p:par>
                        <p:par>
                          <p:cTn id="71" fill="hold">
                            <p:stCondLst>
                              <p:cond delay="1000"/>
                            </p:stCondLst>
                            <p:childTnLst>
                              <p:par>
                                <p:cTn id="72" presetID="10" presetClass="entr" presetSubtype="0" fill="hold" nodeType="afterEffect">
                                  <p:stCondLst>
                                    <p:cond delay="0"/>
                                  </p:stCondLst>
                                  <p:childTnLst>
                                    <p:set>
                                      <p:cBhvr>
                                        <p:cTn id="73" dur="1" fill="hold">
                                          <p:stCondLst>
                                            <p:cond delay="0"/>
                                          </p:stCondLst>
                                        </p:cTn>
                                        <p:tgtEl>
                                          <p:spTgt spid="191"/>
                                        </p:tgtEl>
                                        <p:attrNameLst>
                                          <p:attrName>style.visibility</p:attrName>
                                        </p:attrNameLst>
                                      </p:cBhvr>
                                      <p:to>
                                        <p:strVal val="visible"/>
                                      </p:to>
                                    </p:set>
                                    <p:animEffect transition="in" filter="fade">
                                      <p:cBhvr>
                                        <p:cTn id="74" dur="2000"/>
                                        <p:tgtEl>
                                          <p:spTgt spid="191"/>
                                        </p:tgtEl>
                                      </p:cBhvr>
                                    </p:animEffect>
                                  </p:childTnLst>
                                </p:cTn>
                              </p:par>
                              <p:par>
                                <p:cTn id="75" presetID="10" presetClass="entr" presetSubtype="0" fill="hold" nodeType="withEffect">
                                  <p:stCondLst>
                                    <p:cond delay="250"/>
                                  </p:stCondLst>
                                  <p:childTnLst>
                                    <p:set>
                                      <p:cBhvr>
                                        <p:cTn id="76" dur="1" fill="hold">
                                          <p:stCondLst>
                                            <p:cond delay="0"/>
                                          </p:stCondLst>
                                        </p:cTn>
                                        <p:tgtEl>
                                          <p:spTgt spid="193"/>
                                        </p:tgtEl>
                                        <p:attrNameLst>
                                          <p:attrName>style.visibility</p:attrName>
                                        </p:attrNameLst>
                                      </p:cBhvr>
                                      <p:to>
                                        <p:strVal val="visible"/>
                                      </p:to>
                                    </p:set>
                                    <p:animEffect transition="in" filter="fade">
                                      <p:cBhvr>
                                        <p:cTn id="77" dur="2000"/>
                                        <p:tgtEl>
                                          <p:spTgt spid="193"/>
                                        </p:tgtEl>
                                      </p:cBhvr>
                                    </p:animEffect>
                                  </p:childTnLst>
                                </p:cTn>
                              </p:par>
                              <p:par>
                                <p:cTn id="78" presetID="10" presetClass="entr" presetSubtype="0" fill="hold" nodeType="withEffect">
                                  <p:stCondLst>
                                    <p:cond delay="500"/>
                                  </p:stCondLst>
                                  <p:childTnLst>
                                    <p:set>
                                      <p:cBhvr>
                                        <p:cTn id="79" dur="1" fill="hold">
                                          <p:stCondLst>
                                            <p:cond delay="0"/>
                                          </p:stCondLst>
                                        </p:cTn>
                                        <p:tgtEl>
                                          <p:spTgt spid="192"/>
                                        </p:tgtEl>
                                        <p:attrNameLst>
                                          <p:attrName>style.visibility</p:attrName>
                                        </p:attrNameLst>
                                      </p:cBhvr>
                                      <p:to>
                                        <p:strVal val="visible"/>
                                      </p:to>
                                    </p:set>
                                    <p:animEffect transition="in" filter="fade">
                                      <p:cBhvr>
                                        <p:cTn id="80" dur="2000"/>
                                        <p:tgtEl>
                                          <p:spTgt spid="192"/>
                                        </p:tgtEl>
                                      </p:cBhvr>
                                    </p:animEffect>
                                  </p:childTnLst>
                                </p:cTn>
                              </p:par>
                            </p:childTnLst>
                          </p:cTn>
                        </p:par>
                        <p:par>
                          <p:cTn id="81" fill="hold">
                            <p:stCondLst>
                              <p:cond delay="3500"/>
                            </p:stCondLst>
                            <p:childTnLst>
                              <p:par>
                                <p:cTn id="82" presetID="10" presetClass="entr" presetSubtype="0" fill="hold" nodeType="afterEffect">
                                  <p:stCondLst>
                                    <p:cond delay="0"/>
                                  </p:stCondLst>
                                  <p:childTnLst>
                                    <p:set>
                                      <p:cBhvr>
                                        <p:cTn id="83" dur="1" fill="hold">
                                          <p:stCondLst>
                                            <p:cond delay="0"/>
                                          </p:stCondLst>
                                        </p:cTn>
                                        <p:tgtEl>
                                          <p:spTgt spid="9"/>
                                        </p:tgtEl>
                                        <p:attrNameLst>
                                          <p:attrName>style.visibility</p:attrName>
                                        </p:attrNameLst>
                                      </p:cBhvr>
                                      <p:to>
                                        <p:strVal val="visible"/>
                                      </p:to>
                                    </p:set>
                                    <p:animEffect transition="in" filter="fade">
                                      <p:cBhvr>
                                        <p:cTn id="84"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5" grpId="0" animBg="1"/>
      <p:bldP spid="112" grpId="0" animBg="1"/>
      <p:bldP spid="96" grpId="0" animBg="1"/>
      <p:bldP spid="98" grpId="0" animBg="1"/>
      <p:bldP spid="99" grpId="0" animBg="1"/>
      <p:bldP spid="136" grpId="0"/>
      <p:bldP spid="100" grpId="0" animBg="1"/>
      <p:bldP spid="170" grpId="0" animBg="1"/>
      <p:bldP spid="171" grpId="0" animBg="1"/>
      <p:bldP spid="111" grpId="0" animBg="1"/>
      <p:bldP spid="12" grpId="0" animBg="1"/>
      <p:bldP spid="94" grpId="0" animBg="1"/>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747897"/>
          </a:xfrm>
        </p:spPr>
        <p:txBody>
          <a:bodyPr/>
          <a:lstStyle/>
          <a:p>
            <a:r>
              <a:rPr lang="en-US" sz="2700" dirty="0"/>
              <a:t>Hosting Multiple Customers with Overlapping Address Spaces</a:t>
            </a:r>
          </a:p>
        </p:txBody>
      </p:sp>
      <p:sp>
        <p:nvSpPr>
          <p:cNvPr id="4" name="Rectangle 3"/>
          <p:cNvSpPr/>
          <p:nvPr/>
        </p:nvSpPr>
        <p:spPr bwMode="auto">
          <a:xfrm>
            <a:off x="389437" y="1088203"/>
            <a:ext cx="1901795" cy="19013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lnSpc>
                <a:spcPct val="90000"/>
              </a:lnSpc>
              <a:spcBef>
                <a:spcPct val="0"/>
              </a:spcBef>
              <a:spcAft>
                <a:spcPct val="0"/>
              </a:spcAft>
            </a:pPr>
            <a:r>
              <a:rPr lang="en-US" sz="1800" dirty="0" err="1">
                <a:gradFill>
                  <a:gsLst>
                    <a:gs pos="0">
                      <a:srgbClr val="FFFFFF"/>
                    </a:gs>
                    <a:gs pos="100000">
                      <a:srgbClr val="FFFFFF"/>
                    </a:gs>
                  </a:gsLst>
                  <a:lin ang="5400000" scaled="0"/>
                </a:gradFill>
                <a:latin typeface="Segoe UI Light" pitchFamily="34" charset="0"/>
              </a:rPr>
              <a:t>Contoso</a:t>
            </a:r>
            <a:r>
              <a:rPr lang="en-US" sz="1800" dirty="0">
                <a:gradFill>
                  <a:gsLst>
                    <a:gs pos="0">
                      <a:srgbClr val="FFFFFF"/>
                    </a:gs>
                    <a:gs pos="100000">
                      <a:srgbClr val="FFFFFF"/>
                    </a:gs>
                  </a:gsLst>
                  <a:lin ang="5400000" scaled="0"/>
                </a:gradFill>
              </a:rPr>
              <a:t> </a:t>
            </a:r>
            <a:r>
              <a:rPr lang="en-US" sz="900" b="1" dirty="0">
                <a:solidFill>
                  <a:schemeClr val="tx1">
                    <a:alpha val="99000"/>
                  </a:schemeClr>
                </a:solidFill>
              </a:rPr>
              <a:t>(10.0.0.0/16)</a:t>
            </a:r>
          </a:p>
        </p:txBody>
      </p:sp>
      <p:sp>
        <p:nvSpPr>
          <p:cNvPr id="5" name="Rectangle 4"/>
          <p:cNvSpPr/>
          <p:nvPr/>
        </p:nvSpPr>
        <p:spPr>
          <a:xfrm>
            <a:off x="1125159" y="1852552"/>
            <a:ext cx="659494" cy="193909"/>
          </a:xfrm>
          <a:prstGeom prst="rect">
            <a:avLst/>
          </a:prstGeom>
        </p:spPr>
        <p:txBody>
          <a:bodyPr wrap="none" lIns="68586" tIns="34294" rIns="68586" bIns="34294">
            <a:spAutoFit/>
          </a:bodyPr>
          <a:lstStyle/>
          <a:p>
            <a:pPr algn="ctr" defTabSz="685637" fontAlgn="base">
              <a:lnSpc>
                <a:spcPct val="90000"/>
              </a:lnSpc>
              <a:spcBef>
                <a:spcPct val="0"/>
              </a:spcBef>
              <a:spcAft>
                <a:spcPct val="0"/>
              </a:spcAft>
            </a:pPr>
            <a:r>
              <a:rPr lang="en-US" sz="900" dirty="0">
                <a:gradFill>
                  <a:gsLst>
                    <a:gs pos="0">
                      <a:srgbClr val="FFFFFF"/>
                    </a:gs>
                    <a:gs pos="100000">
                      <a:srgbClr val="FFFFFF"/>
                    </a:gs>
                  </a:gsLst>
                  <a:lin ang="5400000" scaled="0"/>
                </a:gradFill>
              </a:rPr>
              <a:t>IIS Servers</a:t>
            </a:r>
          </a:p>
        </p:txBody>
      </p:sp>
      <p:grpSp>
        <p:nvGrpSpPr>
          <p:cNvPr id="6" name="Group 5"/>
          <p:cNvGrpSpPr/>
          <p:nvPr/>
        </p:nvGrpSpPr>
        <p:grpSpPr>
          <a:xfrm>
            <a:off x="1585079" y="2322144"/>
            <a:ext cx="675185" cy="636648"/>
            <a:chOff x="1535279" y="3360257"/>
            <a:chExt cx="1230499" cy="1160571"/>
          </a:xfrm>
        </p:grpSpPr>
        <p:grpSp>
          <p:nvGrpSpPr>
            <p:cNvPr id="17" name="Group 16"/>
            <p:cNvGrpSpPr/>
            <p:nvPr/>
          </p:nvGrpSpPr>
          <p:grpSpPr>
            <a:xfrm>
              <a:off x="1927195" y="3360257"/>
              <a:ext cx="524971" cy="803545"/>
              <a:chOff x="1927195" y="3360257"/>
              <a:chExt cx="524971" cy="803545"/>
            </a:xfrm>
          </p:grpSpPr>
          <p:pic>
            <p:nvPicPr>
              <p:cNvPr id="19" name="Picture 6" descr="\\magnum\Projects\Microsoft\Cloud Power FY12\Design\Icons\PNGs\Server_2.png"/>
              <p:cNvPicPr>
                <a:picLocks noChangeAspect="1" noChangeArrowheads="1"/>
              </p:cNvPicPr>
              <p:nvPr/>
            </p:nvPicPr>
            <p:blipFill rotWithShape="1">
              <a:blip r:embed="rId2" cstate="print">
                <a:lum bright="100000"/>
              </a:blip>
              <a:srcRect l="24157" r="25929"/>
              <a:stretch/>
            </p:blipFill>
            <p:spPr bwMode="auto">
              <a:xfrm>
                <a:off x="1927195" y="3360257"/>
                <a:ext cx="401089" cy="803545"/>
              </a:xfrm>
              <a:prstGeom prst="rect">
                <a:avLst/>
              </a:prstGeom>
              <a:noFill/>
            </p:spPr>
          </p:pic>
          <p:grpSp>
            <p:nvGrpSpPr>
              <p:cNvPr id="20" name="Group 19"/>
              <p:cNvGrpSpPr/>
              <p:nvPr/>
            </p:nvGrpSpPr>
            <p:grpSpPr>
              <a:xfrm>
                <a:off x="2245986" y="3924261"/>
                <a:ext cx="206180" cy="206424"/>
                <a:chOff x="2245986" y="3924261"/>
                <a:chExt cx="206180" cy="206424"/>
              </a:xfrm>
            </p:grpSpPr>
            <p:grpSp>
              <p:nvGrpSpPr>
                <p:cNvPr id="21" name="Group 20"/>
                <p:cNvGrpSpPr/>
                <p:nvPr/>
              </p:nvGrpSpPr>
              <p:grpSpPr>
                <a:xfrm>
                  <a:off x="2245986" y="3924261"/>
                  <a:ext cx="206180" cy="206424"/>
                  <a:chOff x="1779323" y="4627897"/>
                  <a:chExt cx="472764" cy="473323"/>
                </a:xfrm>
              </p:grpSpPr>
              <p:sp>
                <p:nvSpPr>
                  <p:cNvPr id="23" name="Isosceles Triangle 22"/>
                  <p:cNvSpPr/>
                  <p:nvPr/>
                </p:nvSpPr>
                <p:spPr bwMode="auto">
                  <a:xfrm>
                    <a:off x="1779323" y="4627897"/>
                    <a:ext cx="472764" cy="407555"/>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4" name="Rectangle 23"/>
                  <p:cNvSpPr/>
                  <p:nvPr/>
                </p:nvSpPr>
                <p:spPr bwMode="auto">
                  <a:xfrm>
                    <a:off x="1779323" y="4824517"/>
                    <a:ext cx="472764" cy="6040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5" name="Rectangle 24"/>
                  <p:cNvSpPr/>
                  <p:nvPr/>
                </p:nvSpPr>
                <p:spPr bwMode="auto">
                  <a:xfrm rot="16200000">
                    <a:off x="1881399" y="4936712"/>
                    <a:ext cx="268612" cy="6040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grpSp>
            <p:sp>
              <p:nvSpPr>
                <p:cNvPr id="22" name="Isosceles Triangle 21"/>
                <p:cNvSpPr/>
                <p:nvPr/>
              </p:nvSpPr>
              <p:spPr bwMode="auto">
                <a:xfrm>
                  <a:off x="2304709" y="3989226"/>
                  <a:ext cx="88734" cy="76495"/>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sp>
          <p:nvSpPr>
            <p:cNvPr id="18" name="Rectangle 17"/>
            <p:cNvSpPr/>
            <p:nvPr/>
          </p:nvSpPr>
          <p:spPr>
            <a:xfrm>
              <a:off x="1535279" y="4125283"/>
              <a:ext cx="1230499" cy="395545"/>
            </a:xfrm>
            <a:prstGeom prst="rect">
              <a:avLst/>
            </a:prstGeom>
          </p:spPr>
          <p:txBody>
            <a:bodyPr wrap="none">
              <a:spAutoFit/>
            </a:bodyPr>
            <a:lstStyle/>
            <a:p>
              <a:pPr algn="ctr" defTabSz="685637" fontAlgn="base">
                <a:lnSpc>
                  <a:spcPct val="90000"/>
                </a:lnSpc>
                <a:spcBef>
                  <a:spcPct val="0"/>
                </a:spcBef>
                <a:spcAft>
                  <a:spcPct val="0"/>
                </a:spcAft>
              </a:pPr>
              <a:r>
                <a:rPr lang="en-US" sz="900" dirty="0">
                  <a:gradFill>
                    <a:gsLst>
                      <a:gs pos="0">
                        <a:srgbClr val="FFFFFF"/>
                      </a:gs>
                      <a:gs pos="100000">
                        <a:srgbClr val="FFFFFF"/>
                      </a:gs>
                    </a:gsLst>
                    <a:lin ang="5400000" scaled="0"/>
                  </a:gradFill>
                </a:rPr>
                <a:t>AD / DNS</a:t>
              </a:r>
            </a:p>
          </p:txBody>
        </p:sp>
      </p:grpSp>
      <p:sp>
        <p:nvSpPr>
          <p:cNvPr id="7" name="Rectangle 6"/>
          <p:cNvSpPr/>
          <p:nvPr/>
        </p:nvSpPr>
        <p:spPr>
          <a:xfrm>
            <a:off x="490690" y="1835095"/>
            <a:ext cx="627434" cy="193909"/>
          </a:xfrm>
          <a:prstGeom prst="rect">
            <a:avLst/>
          </a:prstGeom>
        </p:spPr>
        <p:txBody>
          <a:bodyPr wrap="none" lIns="68586" tIns="34294" rIns="68586" bIns="34294">
            <a:spAutoFit/>
          </a:bodyPr>
          <a:lstStyle/>
          <a:p>
            <a:pPr algn="ctr" defTabSz="685637" fontAlgn="base">
              <a:lnSpc>
                <a:spcPct val="90000"/>
              </a:lnSpc>
              <a:spcBef>
                <a:spcPct val="0"/>
              </a:spcBef>
              <a:spcAft>
                <a:spcPct val="0"/>
              </a:spcAft>
            </a:pPr>
            <a:r>
              <a:rPr lang="en-US" sz="900" dirty="0">
                <a:gradFill>
                  <a:gsLst>
                    <a:gs pos="0">
                      <a:srgbClr val="FFFFFF"/>
                    </a:gs>
                    <a:gs pos="100000">
                      <a:srgbClr val="FFFFFF"/>
                    </a:gs>
                  </a:gsLst>
                  <a:lin ang="5400000" scaled="0"/>
                </a:gradFill>
              </a:rPr>
              <a:t>SQL Farm</a:t>
            </a:r>
          </a:p>
        </p:txBody>
      </p:sp>
      <p:pic>
        <p:nvPicPr>
          <p:cNvPr id="8" name="Picture 6" descr="\\magnum\Projects\Microsoft\Cloud Power FY12\Design\Icons\PNGs\Server_2.png"/>
          <p:cNvPicPr>
            <a:picLocks noChangeAspect="1" noChangeArrowheads="1"/>
          </p:cNvPicPr>
          <p:nvPr/>
        </p:nvPicPr>
        <p:blipFill rotWithShape="1">
          <a:blip r:embed="rId2" cstate="print">
            <a:lum bright="100000"/>
          </a:blip>
          <a:srcRect l="24157" r="25929"/>
          <a:stretch/>
        </p:blipFill>
        <p:spPr bwMode="auto">
          <a:xfrm>
            <a:off x="1955158" y="1543045"/>
            <a:ext cx="258423" cy="517592"/>
          </a:xfrm>
          <a:prstGeom prst="rect">
            <a:avLst/>
          </a:prstGeom>
          <a:noFill/>
        </p:spPr>
      </p:pic>
      <p:grpSp>
        <p:nvGrpSpPr>
          <p:cNvPr id="9" name="Group 8"/>
          <p:cNvGrpSpPr/>
          <p:nvPr/>
        </p:nvGrpSpPr>
        <p:grpSpPr>
          <a:xfrm>
            <a:off x="624159" y="1402426"/>
            <a:ext cx="360497" cy="468757"/>
            <a:chOff x="1228435" y="2297707"/>
            <a:chExt cx="656993" cy="854514"/>
          </a:xfrm>
        </p:grpSpPr>
        <p:pic>
          <p:nvPicPr>
            <p:cNvPr id="15" name="Picture 2"/>
            <p:cNvPicPr>
              <a:picLocks noChangeAspect="1" noChangeArrowheads="1"/>
            </p:cNvPicPr>
            <p:nvPr/>
          </p:nvPicPr>
          <p:blipFill>
            <a:blip r:embed="rId3"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1552091" y="2807265"/>
              <a:ext cx="333337" cy="302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6" descr="\\magnum\Projects\Microsoft\Cloud Power FY12\Design\Icons\PNGs\Server_2.png"/>
            <p:cNvPicPr>
              <a:picLocks noChangeAspect="1" noChangeArrowheads="1"/>
            </p:cNvPicPr>
            <p:nvPr/>
          </p:nvPicPr>
          <p:blipFill rotWithShape="1">
            <a:blip r:embed="rId2" cstate="print">
              <a:lum bright="100000"/>
            </a:blip>
            <a:srcRect l="24157" r="25929"/>
            <a:stretch/>
          </p:blipFill>
          <p:spPr bwMode="auto">
            <a:xfrm>
              <a:off x="1228435" y="2297707"/>
              <a:ext cx="426530" cy="854514"/>
            </a:xfrm>
            <a:prstGeom prst="rect">
              <a:avLst/>
            </a:prstGeom>
            <a:noFill/>
          </p:spPr>
        </p:pic>
      </p:grpSp>
      <p:grpSp>
        <p:nvGrpSpPr>
          <p:cNvPr id="10" name="Group 9"/>
          <p:cNvGrpSpPr/>
          <p:nvPr/>
        </p:nvGrpSpPr>
        <p:grpSpPr>
          <a:xfrm>
            <a:off x="1264033" y="1419636"/>
            <a:ext cx="381746" cy="468757"/>
            <a:chOff x="2383961" y="2329080"/>
            <a:chExt cx="695717" cy="854514"/>
          </a:xfrm>
        </p:grpSpPr>
        <p:sp>
          <p:nvSpPr>
            <p:cNvPr id="13" name="Freeform 6"/>
            <p:cNvSpPr>
              <a:spLocks noChangeAspect="1" noEditPoints="1"/>
            </p:cNvSpPr>
            <p:nvPr/>
          </p:nvSpPr>
          <p:spPr bwMode="black">
            <a:xfrm>
              <a:off x="2751133" y="2827478"/>
              <a:ext cx="328545" cy="332665"/>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pic>
          <p:nvPicPr>
            <p:cNvPr id="14" name="Picture 6" descr="\\magnum\Projects\Microsoft\Cloud Power FY12\Design\Icons\PNGs\Server_2.png"/>
            <p:cNvPicPr>
              <a:picLocks noChangeAspect="1" noChangeArrowheads="1"/>
            </p:cNvPicPr>
            <p:nvPr/>
          </p:nvPicPr>
          <p:blipFill rotWithShape="1">
            <a:blip r:embed="rId2" cstate="print">
              <a:lum bright="100000"/>
            </a:blip>
            <a:srcRect l="24157" r="25929"/>
            <a:stretch/>
          </p:blipFill>
          <p:spPr bwMode="auto">
            <a:xfrm>
              <a:off x="2383961" y="2329080"/>
              <a:ext cx="426530" cy="854514"/>
            </a:xfrm>
            <a:prstGeom prst="rect">
              <a:avLst/>
            </a:prstGeom>
            <a:noFill/>
          </p:spPr>
        </p:pic>
      </p:grpSp>
      <p:sp>
        <p:nvSpPr>
          <p:cNvPr id="27" name="Rectangle 26"/>
          <p:cNvSpPr/>
          <p:nvPr/>
        </p:nvSpPr>
        <p:spPr bwMode="auto">
          <a:xfrm>
            <a:off x="396759" y="3073102"/>
            <a:ext cx="1901795" cy="19013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lnSpc>
                <a:spcPct val="90000"/>
              </a:lnSpc>
              <a:spcBef>
                <a:spcPct val="0"/>
              </a:spcBef>
              <a:spcAft>
                <a:spcPct val="0"/>
              </a:spcAft>
            </a:pPr>
            <a:r>
              <a:rPr lang="en-US" sz="1800" dirty="0" err="1">
                <a:gradFill>
                  <a:gsLst>
                    <a:gs pos="0">
                      <a:srgbClr val="FFFFFF"/>
                    </a:gs>
                    <a:gs pos="100000">
                      <a:srgbClr val="FFFFFF"/>
                    </a:gs>
                  </a:gsLst>
                  <a:lin ang="5400000" scaled="0"/>
                </a:gradFill>
                <a:latin typeface="Segoe UI Light" pitchFamily="34" charset="0"/>
              </a:rPr>
              <a:t>Woodgrove</a:t>
            </a:r>
            <a:r>
              <a:rPr lang="en-US" sz="1800" dirty="0">
                <a:gradFill>
                  <a:gsLst>
                    <a:gs pos="0">
                      <a:srgbClr val="FFFFFF"/>
                    </a:gs>
                    <a:gs pos="100000">
                      <a:srgbClr val="FFFFFF"/>
                    </a:gs>
                  </a:gsLst>
                  <a:lin ang="5400000" scaled="0"/>
                </a:gradFill>
                <a:latin typeface="Segoe UI Light" pitchFamily="34" charset="0"/>
              </a:rPr>
              <a:t> </a:t>
            </a:r>
            <a:r>
              <a:rPr lang="en-US" sz="900" b="1" dirty="0">
                <a:solidFill>
                  <a:schemeClr val="tx1">
                    <a:alpha val="99000"/>
                  </a:schemeClr>
                </a:solidFill>
              </a:rPr>
              <a:t>(10.0.0.0/16)</a:t>
            </a:r>
          </a:p>
        </p:txBody>
      </p:sp>
      <p:sp>
        <p:nvSpPr>
          <p:cNvPr id="28" name="Rectangle 27"/>
          <p:cNvSpPr/>
          <p:nvPr/>
        </p:nvSpPr>
        <p:spPr>
          <a:xfrm>
            <a:off x="1132481" y="3984814"/>
            <a:ext cx="659494" cy="193909"/>
          </a:xfrm>
          <a:prstGeom prst="rect">
            <a:avLst/>
          </a:prstGeom>
        </p:spPr>
        <p:txBody>
          <a:bodyPr wrap="none" lIns="68586" tIns="34294" rIns="68586" bIns="34294">
            <a:spAutoFit/>
          </a:bodyPr>
          <a:lstStyle/>
          <a:p>
            <a:pPr algn="ctr" defTabSz="685637" fontAlgn="base">
              <a:lnSpc>
                <a:spcPct val="90000"/>
              </a:lnSpc>
              <a:spcBef>
                <a:spcPct val="0"/>
              </a:spcBef>
              <a:spcAft>
                <a:spcPct val="0"/>
              </a:spcAft>
            </a:pPr>
            <a:r>
              <a:rPr lang="en-US" sz="900" dirty="0">
                <a:gradFill>
                  <a:gsLst>
                    <a:gs pos="0">
                      <a:srgbClr val="FFFFFF"/>
                    </a:gs>
                    <a:gs pos="100000">
                      <a:srgbClr val="FFFFFF"/>
                    </a:gs>
                  </a:gsLst>
                  <a:lin ang="5400000" scaled="0"/>
                </a:gradFill>
              </a:rPr>
              <a:t>IIS Servers</a:t>
            </a:r>
          </a:p>
        </p:txBody>
      </p:sp>
      <p:grpSp>
        <p:nvGrpSpPr>
          <p:cNvPr id="29" name="Group 28"/>
          <p:cNvGrpSpPr/>
          <p:nvPr/>
        </p:nvGrpSpPr>
        <p:grpSpPr>
          <a:xfrm>
            <a:off x="1592402" y="4307044"/>
            <a:ext cx="675185" cy="636648"/>
            <a:chOff x="1535279" y="3360257"/>
            <a:chExt cx="1230499" cy="1160571"/>
          </a:xfrm>
        </p:grpSpPr>
        <p:grpSp>
          <p:nvGrpSpPr>
            <p:cNvPr id="40" name="Group 39"/>
            <p:cNvGrpSpPr/>
            <p:nvPr/>
          </p:nvGrpSpPr>
          <p:grpSpPr>
            <a:xfrm>
              <a:off x="1927195" y="3360257"/>
              <a:ext cx="524971" cy="803545"/>
              <a:chOff x="1927195" y="3360257"/>
              <a:chExt cx="524971" cy="803545"/>
            </a:xfrm>
          </p:grpSpPr>
          <p:pic>
            <p:nvPicPr>
              <p:cNvPr id="42" name="Picture 6" descr="\\magnum\Projects\Microsoft\Cloud Power FY12\Design\Icons\PNGs\Server_2.png"/>
              <p:cNvPicPr>
                <a:picLocks noChangeAspect="1" noChangeArrowheads="1"/>
              </p:cNvPicPr>
              <p:nvPr/>
            </p:nvPicPr>
            <p:blipFill rotWithShape="1">
              <a:blip r:embed="rId2" cstate="print">
                <a:lum bright="100000"/>
              </a:blip>
              <a:srcRect l="24157" r="25929"/>
              <a:stretch/>
            </p:blipFill>
            <p:spPr bwMode="auto">
              <a:xfrm>
                <a:off x="1927195" y="3360257"/>
                <a:ext cx="401089" cy="803545"/>
              </a:xfrm>
              <a:prstGeom prst="rect">
                <a:avLst/>
              </a:prstGeom>
              <a:noFill/>
            </p:spPr>
          </p:pic>
          <p:grpSp>
            <p:nvGrpSpPr>
              <p:cNvPr id="43" name="Group 42"/>
              <p:cNvGrpSpPr/>
              <p:nvPr/>
            </p:nvGrpSpPr>
            <p:grpSpPr>
              <a:xfrm>
                <a:off x="2245986" y="3924261"/>
                <a:ext cx="206180" cy="206424"/>
                <a:chOff x="2245986" y="3924261"/>
                <a:chExt cx="206180" cy="206424"/>
              </a:xfrm>
            </p:grpSpPr>
            <p:grpSp>
              <p:nvGrpSpPr>
                <p:cNvPr id="44" name="Group 43"/>
                <p:cNvGrpSpPr/>
                <p:nvPr/>
              </p:nvGrpSpPr>
              <p:grpSpPr>
                <a:xfrm>
                  <a:off x="2245986" y="3924261"/>
                  <a:ext cx="206180" cy="206424"/>
                  <a:chOff x="1779323" y="4627897"/>
                  <a:chExt cx="472764" cy="473323"/>
                </a:xfrm>
              </p:grpSpPr>
              <p:sp>
                <p:nvSpPr>
                  <p:cNvPr id="46" name="Isosceles Triangle 45"/>
                  <p:cNvSpPr/>
                  <p:nvPr/>
                </p:nvSpPr>
                <p:spPr bwMode="auto">
                  <a:xfrm>
                    <a:off x="1779323" y="4627897"/>
                    <a:ext cx="472764" cy="407555"/>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47" name="Rectangle 46"/>
                  <p:cNvSpPr/>
                  <p:nvPr/>
                </p:nvSpPr>
                <p:spPr bwMode="auto">
                  <a:xfrm>
                    <a:off x="1779323" y="4824517"/>
                    <a:ext cx="472764" cy="6040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48" name="Rectangle 47"/>
                  <p:cNvSpPr/>
                  <p:nvPr/>
                </p:nvSpPr>
                <p:spPr bwMode="auto">
                  <a:xfrm rot="16200000">
                    <a:off x="1881399" y="4936712"/>
                    <a:ext cx="268612" cy="6040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grpSp>
            <p:sp>
              <p:nvSpPr>
                <p:cNvPr id="45" name="Isosceles Triangle 44"/>
                <p:cNvSpPr/>
                <p:nvPr/>
              </p:nvSpPr>
              <p:spPr bwMode="auto">
                <a:xfrm>
                  <a:off x="2304709" y="3989226"/>
                  <a:ext cx="88734" cy="76495"/>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sp>
          <p:nvSpPr>
            <p:cNvPr id="41" name="Rectangle 40"/>
            <p:cNvSpPr/>
            <p:nvPr/>
          </p:nvSpPr>
          <p:spPr>
            <a:xfrm>
              <a:off x="1535279" y="4125283"/>
              <a:ext cx="1230499" cy="395545"/>
            </a:xfrm>
            <a:prstGeom prst="rect">
              <a:avLst/>
            </a:prstGeom>
          </p:spPr>
          <p:txBody>
            <a:bodyPr wrap="none">
              <a:spAutoFit/>
            </a:bodyPr>
            <a:lstStyle/>
            <a:p>
              <a:pPr algn="ctr" defTabSz="685637" fontAlgn="base">
                <a:lnSpc>
                  <a:spcPct val="90000"/>
                </a:lnSpc>
                <a:spcBef>
                  <a:spcPct val="0"/>
                </a:spcBef>
                <a:spcAft>
                  <a:spcPct val="0"/>
                </a:spcAft>
              </a:pPr>
              <a:r>
                <a:rPr lang="en-US" sz="900" dirty="0">
                  <a:gradFill>
                    <a:gsLst>
                      <a:gs pos="0">
                        <a:srgbClr val="FFFFFF"/>
                      </a:gs>
                      <a:gs pos="100000">
                        <a:srgbClr val="FFFFFF"/>
                      </a:gs>
                    </a:gsLst>
                    <a:lin ang="5400000" scaled="0"/>
                  </a:gradFill>
                </a:rPr>
                <a:t>AD / DNS</a:t>
              </a:r>
            </a:p>
          </p:txBody>
        </p:sp>
      </p:grpSp>
      <p:sp>
        <p:nvSpPr>
          <p:cNvPr id="30" name="Rectangle 29"/>
          <p:cNvSpPr/>
          <p:nvPr/>
        </p:nvSpPr>
        <p:spPr>
          <a:xfrm>
            <a:off x="498013" y="3967357"/>
            <a:ext cx="627434" cy="193909"/>
          </a:xfrm>
          <a:prstGeom prst="rect">
            <a:avLst/>
          </a:prstGeom>
        </p:spPr>
        <p:txBody>
          <a:bodyPr wrap="none" lIns="68586" tIns="34294" rIns="68586" bIns="34294">
            <a:spAutoFit/>
          </a:bodyPr>
          <a:lstStyle/>
          <a:p>
            <a:pPr algn="ctr" defTabSz="685637" fontAlgn="base">
              <a:lnSpc>
                <a:spcPct val="90000"/>
              </a:lnSpc>
              <a:spcBef>
                <a:spcPct val="0"/>
              </a:spcBef>
              <a:spcAft>
                <a:spcPct val="0"/>
              </a:spcAft>
            </a:pPr>
            <a:r>
              <a:rPr lang="en-US" sz="900" dirty="0">
                <a:gradFill>
                  <a:gsLst>
                    <a:gs pos="0">
                      <a:srgbClr val="FFFFFF"/>
                    </a:gs>
                    <a:gs pos="100000">
                      <a:srgbClr val="FFFFFF"/>
                    </a:gs>
                  </a:gsLst>
                  <a:lin ang="5400000" scaled="0"/>
                </a:gradFill>
              </a:rPr>
              <a:t>SQL Farm</a:t>
            </a:r>
          </a:p>
        </p:txBody>
      </p:sp>
      <p:pic>
        <p:nvPicPr>
          <p:cNvPr id="31" name="Picture 6" descr="\\magnum\Projects\Microsoft\Cloud Power FY12\Design\Icons\PNGs\Server_2.png"/>
          <p:cNvPicPr>
            <a:picLocks noChangeAspect="1" noChangeArrowheads="1"/>
          </p:cNvPicPr>
          <p:nvPr/>
        </p:nvPicPr>
        <p:blipFill rotWithShape="1">
          <a:blip r:embed="rId2" cstate="print">
            <a:lum bright="100000"/>
          </a:blip>
          <a:srcRect l="24157" r="25929"/>
          <a:stretch/>
        </p:blipFill>
        <p:spPr bwMode="auto">
          <a:xfrm>
            <a:off x="1962482" y="3525931"/>
            <a:ext cx="258423" cy="517592"/>
          </a:xfrm>
          <a:prstGeom prst="rect">
            <a:avLst/>
          </a:prstGeom>
          <a:noFill/>
        </p:spPr>
      </p:pic>
      <p:grpSp>
        <p:nvGrpSpPr>
          <p:cNvPr id="32" name="Group 31"/>
          <p:cNvGrpSpPr/>
          <p:nvPr/>
        </p:nvGrpSpPr>
        <p:grpSpPr>
          <a:xfrm>
            <a:off x="631482" y="3534688"/>
            <a:ext cx="360497" cy="468757"/>
            <a:chOff x="1228435" y="2297707"/>
            <a:chExt cx="656993" cy="854514"/>
          </a:xfrm>
        </p:grpSpPr>
        <p:pic>
          <p:nvPicPr>
            <p:cNvPr id="38" name="Picture 2"/>
            <p:cNvPicPr>
              <a:picLocks noChangeAspect="1" noChangeArrowheads="1"/>
            </p:cNvPicPr>
            <p:nvPr/>
          </p:nvPicPr>
          <p:blipFill>
            <a:blip r:embed="rId3"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1552091" y="2807265"/>
              <a:ext cx="333337" cy="302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6" descr="\\magnum\Projects\Microsoft\Cloud Power FY12\Design\Icons\PNGs\Server_2.png"/>
            <p:cNvPicPr>
              <a:picLocks noChangeAspect="1" noChangeArrowheads="1"/>
            </p:cNvPicPr>
            <p:nvPr/>
          </p:nvPicPr>
          <p:blipFill rotWithShape="1">
            <a:blip r:embed="rId2" cstate="print">
              <a:lum bright="100000"/>
            </a:blip>
            <a:srcRect l="24157" r="25929"/>
            <a:stretch/>
          </p:blipFill>
          <p:spPr bwMode="auto">
            <a:xfrm>
              <a:off x="1228435" y="2297707"/>
              <a:ext cx="426530" cy="854514"/>
            </a:xfrm>
            <a:prstGeom prst="rect">
              <a:avLst/>
            </a:prstGeom>
            <a:noFill/>
          </p:spPr>
        </p:pic>
      </p:grpSp>
      <p:grpSp>
        <p:nvGrpSpPr>
          <p:cNvPr id="33" name="Group 32"/>
          <p:cNvGrpSpPr/>
          <p:nvPr/>
        </p:nvGrpSpPr>
        <p:grpSpPr>
          <a:xfrm>
            <a:off x="1271355" y="3551898"/>
            <a:ext cx="381746" cy="468757"/>
            <a:chOff x="2383961" y="2329080"/>
            <a:chExt cx="695717" cy="854514"/>
          </a:xfrm>
        </p:grpSpPr>
        <p:sp>
          <p:nvSpPr>
            <p:cNvPr id="36" name="Freeform 6"/>
            <p:cNvSpPr>
              <a:spLocks noChangeAspect="1" noEditPoints="1"/>
            </p:cNvSpPr>
            <p:nvPr/>
          </p:nvSpPr>
          <p:spPr bwMode="black">
            <a:xfrm>
              <a:off x="2751133" y="2827478"/>
              <a:ext cx="328545" cy="332665"/>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pic>
          <p:nvPicPr>
            <p:cNvPr id="37" name="Picture 6" descr="\\magnum\Projects\Microsoft\Cloud Power FY12\Design\Icons\PNGs\Server_2.png"/>
            <p:cNvPicPr>
              <a:picLocks noChangeAspect="1" noChangeArrowheads="1"/>
            </p:cNvPicPr>
            <p:nvPr/>
          </p:nvPicPr>
          <p:blipFill rotWithShape="1">
            <a:blip r:embed="rId2" cstate="print">
              <a:lum bright="100000"/>
            </a:blip>
            <a:srcRect l="24157" r="25929"/>
            <a:stretch/>
          </p:blipFill>
          <p:spPr bwMode="auto">
            <a:xfrm>
              <a:off x="2383961" y="2329080"/>
              <a:ext cx="426530" cy="854514"/>
            </a:xfrm>
            <a:prstGeom prst="rect">
              <a:avLst/>
            </a:prstGeom>
            <a:noFill/>
          </p:spPr>
        </p:pic>
      </p:grpSp>
      <p:sp>
        <p:nvSpPr>
          <p:cNvPr id="50" name="Rectangle 49"/>
          <p:cNvSpPr/>
          <p:nvPr/>
        </p:nvSpPr>
        <p:spPr bwMode="auto">
          <a:xfrm>
            <a:off x="6851578" y="1103203"/>
            <a:ext cx="1901795" cy="19013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lnSpc>
                <a:spcPct val="90000"/>
              </a:lnSpc>
              <a:spcBef>
                <a:spcPct val="0"/>
              </a:spcBef>
              <a:spcAft>
                <a:spcPct val="0"/>
              </a:spcAft>
            </a:pPr>
            <a:r>
              <a:rPr lang="en-US" dirty="0" err="1">
                <a:gradFill>
                  <a:gsLst>
                    <a:gs pos="0">
                      <a:srgbClr val="FFFFFF"/>
                    </a:gs>
                    <a:gs pos="100000">
                      <a:srgbClr val="FFFFFF"/>
                    </a:gs>
                  </a:gsLst>
                  <a:lin ang="5400000" scaled="0"/>
                </a:gradFill>
                <a:latin typeface="Segoe UI Light" pitchFamily="34" charset="0"/>
              </a:rPr>
              <a:t>Contoso’s</a:t>
            </a:r>
            <a:r>
              <a:rPr lang="en-US" dirty="0">
                <a:gradFill>
                  <a:gsLst>
                    <a:gs pos="0">
                      <a:srgbClr val="FFFFFF"/>
                    </a:gs>
                    <a:gs pos="100000">
                      <a:srgbClr val="FFFFFF"/>
                    </a:gs>
                  </a:gsLst>
                  <a:lin ang="5400000" scaled="0"/>
                </a:gradFill>
                <a:latin typeface="Segoe UI Light" pitchFamily="34" charset="0"/>
              </a:rPr>
              <a:t> </a:t>
            </a:r>
            <a:r>
              <a:rPr lang="en-US" dirty="0" err="1">
                <a:gradFill>
                  <a:gsLst>
                    <a:gs pos="0">
                      <a:srgbClr val="FFFFFF"/>
                    </a:gs>
                    <a:gs pos="100000">
                      <a:srgbClr val="FFFFFF"/>
                    </a:gs>
                  </a:gsLst>
                  <a:lin ang="5400000" scaled="0"/>
                </a:gradFill>
                <a:latin typeface="Segoe UI Light" pitchFamily="34" charset="0"/>
              </a:rPr>
              <a:t>VNet</a:t>
            </a:r>
            <a:r>
              <a:rPr lang="en-US" dirty="0">
                <a:gradFill>
                  <a:gsLst>
                    <a:gs pos="0">
                      <a:srgbClr val="FFFFFF"/>
                    </a:gs>
                    <a:gs pos="100000">
                      <a:srgbClr val="FFFFFF"/>
                    </a:gs>
                  </a:gsLst>
                  <a:lin ang="5400000" scaled="0"/>
                </a:gradFill>
                <a:latin typeface="Segoe UI Light" pitchFamily="34" charset="0"/>
              </a:rPr>
              <a:t> in Windows Azure </a:t>
            </a:r>
            <a:r>
              <a:rPr lang="en-US" sz="900" b="1" dirty="0">
                <a:solidFill>
                  <a:schemeClr val="tx1">
                    <a:alpha val="99000"/>
                  </a:schemeClr>
                </a:solidFill>
              </a:rPr>
              <a:t>(10.1.0.0/16)</a:t>
            </a:r>
          </a:p>
        </p:txBody>
      </p:sp>
      <p:sp>
        <p:nvSpPr>
          <p:cNvPr id="51" name="Freeform 40"/>
          <p:cNvSpPr>
            <a:spLocks noEditPoints="1"/>
          </p:cNvSpPr>
          <p:nvPr/>
        </p:nvSpPr>
        <p:spPr bwMode="black">
          <a:xfrm>
            <a:off x="8209076" y="1681008"/>
            <a:ext cx="445019" cy="428261"/>
          </a:xfrm>
          <a:custGeom>
            <a:avLst/>
            <a:gdLst>
              <a:gd name="T0" fmla="*/ 461 w 891"/>
              <a:gd name="T1" fmla="*/ 470 h 859"/>
              <a:gd name="T2" fmla="*/ 793 w 891"/>
              <a:gd name="T3" fmla="*/ 489 h 859"/>
              <a:gd name="T4" fmla="*/ 707 w 891"/>
              <a:gd name="T5" fmla="*/ 787 h 859"/>
              <a:gd name="T6" fmla="*/ 375 w 891"/>
              <a:gd name="T7" fmla="*/ 767 h 859"/>
              <a:gd name="T8" fmla="*/ 461 w 891"/>
              <a:gd name="T9" fmla="*/ 470 h 859"/>
              <a:gd name="T10" fmla="*/ 430 w 891"/>
              <a:gd name="T11" fmla="*/ 387 h 859"/>
              <a:gd name="T12" fmla="*/ 517 w 891"/>
              <a:gd name="T13" fmla="*/ 90 h 859"/>
              <a:gd name="T14" fmla="*/ 184 w 891"/>
              <a:gd name="T15" fmla="*/ 71 h 859"/>
              <a:gd name="T16" fmla="*/ 98 w 891"/>
              <a:gd name="T17" fmla="*/ 368 h 859"/>
              <a:gd name="T18" fmla="*/ 430 w 891"/>
              <a:gd name="T19" fmla="*/ 387 h 859"/>
              <a:gd name="T20" fmla="*/ 83 w 891"/>
              <a:gd name="T21" fmla="*/ 421 h 859"/>
              <a:gd name="T22" fmla="*/ 0 w 891"/>
              <a:gd name="T23" fmla="*/ 703 h 859"/>
              <a:gd name="T24" fmla="*/ 0 w 891"/>
              <a:gd name="T25" fmla="*/ 706 h 859"/>
              <a:gd name="T26" fmla="*/ 7 w 891"/>
              <a:gd name="T27" fmla="*/ 712 h 859"/>
              <a:gd name="T28" fmla="*/ 9 w 891"/>
              <a:gd name="T29" fmla="*/ 712 h 859"/>
              <a:gd name="T30" fmla="*/ 329 w 891"/>
              <a:gd name="T31" fmla="*/ 737 h 859"/>
              <a:gd name="T32" fmla="*/ 415 w 891"/>
              <a:gd name="T33" fmla="*/ 440 h 859"/>
              <a:gd name="T34" fmla="*/ 83 w 891"/>
              <a:gd name="T35" fmla="*/ 421 h 859"/>
              <a:gd name="T36" fmla="*/ 883 w 891"/>
              <a:gd name="T37" fmla="*/ 147 h 859"/>
              <a:gd name="T38" fmla="*/ 882 w 891"/>
              <a:gd name="T39" fmla="*/ 147 h 859"/>
              <a:gd name="T40" fmla="*/ 561 w 891"/>
              <a:gd name="T41" fmla="*/ 122 h 859"/>
              <a:gd name="T42" fmla="*/ 475 w 891"/>
              <a:gd name="T43" fmla="*/ 419 h 859"/>
              <a:gd name="T44" fmla="*/ 808 w 891"/>
              <a:gd name="T45" fmla="*/ 438 h 859"/>
              <a:gd name="T46" fmla="*/ 891 w 891"/>
              <a:gd name="T47" fmla="*/ 154 h 859"/>
              <a:gd name="T48" fmla="*/ 891 w 891"/>
              <a:gd name="T49" fmla="*/ 153 h 859"/>
              <a:gd name="T50" fmla="*/ 883 w 891"/>
              <a:gd name="T51" fmla="*/ 147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91" h="859">
                <a:moveTo>
                  <a:pt x="461" y="470"/>
                </a:moveTo>
                <a:cubicBezTo>
                  <a:pt x="535" y="522"/>
                  <a:pt x="620" y="562"/>
                  <a:pt x="793" y="489"/>
                </a:cubicBezTo>
                <a:cubicBezTo>
                  <a:pt x="793" y="489"/>
                  <a:pt x="793" y="489"/>
                  <a:pt x="707" y="787"/>
                </a:cubicBezTo>
                <a:cubicBezTo>
                  <a:pt x="534" y="859"/>
                  <a:pt x="449" y="818"/>
                  <a:pt x="375" y="767"/>
                </a:cubicBezTo>
                <a:cubicBezTo>
                  <a:pt x="375" y="767"/>
                  <a:pt x="375" y="767"/>
                  <a:pt x="461" y="470"/>
                </a:cubicBezTo>
                <a:close/>
                <a:moveTo>
                  <a:pt x="430" y="387"/>
                </a:moveTo>
                <a:cubicBezTo>
                  <a:pt x="517" y="90"/>
                  <a:pt x="517" y="90"/>
                  <a:pt x="517" y="90"/>
                </a:cubicBezTo>
                <a:cubicBezTo>
                  <a:pt x="441" y="41"/>
                  <a:pt x="357" y="0"/>
                  <a:pt x="184" y="71"/>
                </a:cubicBezTo>
                <a:cubicBezTo>
                  <a:pt x="98" y="368"/>
                  <a:pt x="98" y="368"/>
                  <a:pt x="98" y="368"/>
                </a:cubicBezTo>
                <a:cubicBezTo>
                  <a:pt x="271" y="297"/>
                  <a:pt x="354" y="337"/>
                  <a:pt x="430" y="387"/>
                </a:cubicBezTo>
                <a:close/>
                <a:moveTo>
                  <a:pt x="83" y="421"/>
                </a:moveTo>
                <a:cubicBezTo>
                  <a:pt x="0" y="703"/>
                  <a:pt x="0" y="703"/>
                  <a:pt x="0" y="703"/>
                </a:cubicBezTo>
                <a:cubicBezTo>
                  <a:pt x="0" y="704"/>
                  <a:pt x="0" y="704"/>
                  <a:pt x="0" y="706"/>
                </a:cubicBezTo>
                <a:cubicBezTo>
                  <a:pt x="0" y="709"/>
                  <a:pt x="3" y="712"/>
                  <a:pt x="7" y="712"/>
                </a:cubicBezTo>
                <a:cubicBezTo>
                  <a:pt x="9" y="712"/>
                  <a:pt x="9" y="712"/>
                  <a:pt x="9" y="712"/>
                </a:cubicBezTo>
                <a:cubicBezTo>
                  <a:pt x="175" y="646"/>
                  <a:pt x="256" y="687"/>
                  <a:pt x="329" y="737"/>
                </a:cubicBezTo>
                <a:cubicBezTo>
                  <a:pt x="415" y="440"/>
                  <a:pt x="415" y="440"/>
                  <a:pt x="415" y="440"/>
                </a:cubicBezTo>
                <a:cubicBezTo>
                  <a:pt x="339" y="389"/>
                  <a:pt x="256" y="348"/>
                  <a:pt x="83" y="421"/>
                </a:cubicBezTo>
                <a:close/>
                <a:moveTo>
                  <a:pt x="883" y="147"/>
                </a:moveTo>
                <a:cubicBezTo>
                  <a:pt x="882" y="147"/>
                  <a:pt x="882" y="147"/>
                  <a:pt x="882" y="147"/>
                </a:cubicBezTo>
                <a:cubicBezTo>
                  <a:pt x="716" y="212"/>
                  <a:pt x="634" y="172"/>
                  <a:pt x="561" y="122"/>
                </a:cubicBezTo>
                <a:cubicBezTo>
                  <a:pt x="475" y="419"/>
                  <a:pt x="475" y="419"/>
                  <a:pt x="475" y="419"/>
                </a:cubicBezTo>
                <a:cubicBezTo>
                  <a:pt x="551" y="468"/>
                  <a:pt x="634" y="509"/>
                  <a:pt x="808" y="438"/>
                </a:cubicBezTo>
                <a:cubicBezTo>
                  <a:pt x="891" y="154"/>
                  <a:pt x="891" y="154"/>
                  <a:pt x="891" y="154"/>
                </a:cubicBezTo>
                <a:cubicBezTo>
                  <a:pt x="891" y="153"/>
                  <a:pt x="891" y="153"/>
                  <a:pt x="891" y="153"/>
                </a:cubicBezTo>
                <a:cubicBezTo>
                  <a:pt x="891" y="150"/>
                  <a:pt x="888" y="147"/>
                  <a:pt x="883" y="1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6" tIns="34294" rIns="68586" bIns="34294" numCol="1" anchor="t" anchorCtr="0" compatLnSpc="1">
            <a:prstTxWarp prst="textNoShape">
              <a:avLst/>
            </a:prstTxWarp>
          </a:bodyPr>
          <a:lstStyle/>
          <a:p>
            <a:endParaRPr lang="en-US"/>
          </a:p>
        </p:txBody>
      </p:sp>
      <p:grpSp>
        <p:nvGrpSpPr>
          <p:cNvPr id="56" name="Group 55"/>
          <p:cNvGrpSpPr/>
          <p:nvPr/>
        </p:nvGrpSpPr>
        <p:grpSpPr>
          <a:xfrm>
            <a:off x="6896653" y="2353594"/>
            <a:ext cx="1794254" cy="590907"/>
            <a:chOff x="9003494" y="5339445"/>
            <a:chExt cx="2209019" cy="727692"/>
          </a:xfrm>
        </p:grpSpPr>
        <p:sp useBgFill="1">
          <p:nvSpPr>
            <p:cNvPr id="57" name="Rectangle 56"/>
            <p:cNvSpPr/>
            <p:nvPr/>
          </p:nvSpPr>
          <p:spPr bwMode="auto">
            <a:xfrm>
              <a:off x="9003494" y="5339445"/>
              <a:ext cx="1063292" cy="727692"/>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algn="ctr" defTabSz="685637" fontAlgn="base">
                <a:lnSpc>
                  <a:spcPct val="90000"/>
                </a:lnSpc>
                <a:spcBef>
                  <a:spcPct val="0"/>
                </a:spcBef>
                <a:spcAft>
                  <a:spcPct val="0"/>
                </a:spcAft>
              </a:pPr>
              <a:r>
                <a:rPr lang="en-US" sz="900" b="1" dirty="0">
                  <a:solidFill>
                    <a:schemeClr val="tx1">
                      <a:alpha val="99000"/>
                    </a:schemeClr>
                  </a:solidFill>
                </a:rPr>
                <a:t>Svc1</a:t>
              </a:r>
            </a:p>
            <a:p>
              <a:pPr algn="ctr" defTabSz="685637" fontAlgn="base">
                <a:lnSpc>
                  <a:spcPct val="90000"/>
                </a:lnSpc>
                <a:spcBef>
                  <a:spcPct val="0"/>
                </a:spcBef>
                <a:spcAft>
                  <a:spcPct val="0"/>
                </a:spcAft>
              </a:pPr>
              <a:endParaRPr lang="en-US" sz="900" b="1" dirty="0">
                <a:solidFill>
                  <a:schemeClr val="tx1">
                    <a:alpha val="99000"/>
                  </a:schemeClr>
                </a:solidFill>
              </a:endParaRPr>
            </a:p>
            <a:p>
              <a:pPr algn="ctr" defTabSz="685637" fontAlgn="base">
                <a:lnSpc>
                  <a:spcPct val="90000"/>
                </a:lnSpc>
                <a:spcBef>
                  <a:spcPct val="0"/>
                </a:spcBef>
                <a:spcAft>
                  <a:spcPct val="0"/>
                </a:spcAft>
              </a:pPr>
              <a:r>
                <a:rPr lang="en-US" sz="900" b="1" dirty="0">
                  <a:solidFill>
                    <a:schemeClr val="tx1">
                      <a:alpha val="99000"/>
                    </a:schemeClr>
                  </a:solidFill>
                </a:rPr>
                <a:t>10.1.2.0/24</a:t>
              </a:r>
            </a:p>
          </p:txBody>
        </p:sp>
        <p:sp useBgFill="1">
          <p:nvSpPr>
            <p:cNvPr id="59" name="Rectangle 58"/>
            <p:cNvSpPr/>
            <p:nvPr/>
          </p:nvSpPr>
          <p:spPr bwMode="auto">
            <a:xfrm>
              <a:off x="10149221" y="5339445"/>
              <a:ext cx="1063292" cy="72769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algn="ctr" defTabSz="685637" fontAlgn="base">
                <a:lnSpc>
                  <a:spcPct val="90000"/>
                </a:lnSpc>
                <a:spcBef>
                  <a:spcPct val="0"/>
                </a:spcBef>
                <a:spcAft>
                  <a:spcPct val="0"/>
                </a:spcAft>
              </a:pPr>
              <a:r>
                <a:rPr lang="en-US" sz="900" b="1" dirty="0">
                  <a:solidFill>
                    <a:schemeClr val="tx1">
                      <a:alpha val="99000"/>
                    </a:schemeClr>
                  </a:solidFill>
                </a:rPr>
                <a:t>Svc2</a:t>
              </a:r>
            </a:p>
            <a:p>
              <a:pPr algn="ctr" defTabSz="685637" fontAlgn="base">
                <a:lnSpc>
                  <a:spcPct val="90000"/>
                </a:lnSpc>
                <a:spcBef>
                  <a:spcPct val="0"/>
                </a:spcBef>
                <a:spcAft>
                  <a:spcPct val="0"/>
                </a:spcAft>
              </a:pPr>
              <a:endParaRPr lang="en-US" sz="900" b="1" dirty="0">
                <a:solidFill>
                  <a:schemeClr val="tx1">
                    <a:alpha val="99000"/>
                  </a:schemeClr>
                </a:solidFill>
              </a:endParaRPr>
            </a:p>
            <a:p>
              <a:pPr algn="ctr" defTabSz="685637" fontAlgn="base">
                <a:lnSpc>
                  <a:spcPct val="90000"/>
                </a:lnSpc>
                <a:spcBef>
                  <a:spcPct val="0"/>
                </a:spcBef>
                <a:spcAft>
                  <a:spcPct val="0"/>
                </a:spcAft>
              </a:pPr>
              <a:r>
                <a:rPr lang="en-US" sz="900" b="1" dirty="0">
                  <a:solidFill>
                    <a:schemeClr val="tx1">
                      <a:alpha val="99000"/>
                    </a:schemeClr>
                  </a:solidFill>
                </a:rPr>
                <a:t>10.1.3.0/24</a:t>
              </a:r>
            </a:p>
          </p:txBody>
        </p:sp>
      </p:grpSp>
      <p:grpSp>
        <p:nvGrpSpPr>
          <p:cNvPr id="62" name="Group 61"/>
          <p:cNvGrpSpPr/>
          <p:nvPr/>
        </p:nvGrpSpPr>
        <p:grpSpPr>
          <a:xfrm>
            <a:off x="7071497" y="1527249"/>
            <a:ext cx="342706" cy="549185"/>
            <a:chOff x="9293863" y="2567228"/>
            <a:chExt cx="444336" cy="712232"/>
          </a:xfrm>
        </p:grpSpPr>
        <p:sp>
          <p:nvSpPr>
            <p:cNvPr id="63" name="Freeform 92"/>
            <p:cNvSpPr>
              <a:spLocks noEditPoints="1"/>
            </p:cNvSpPr>
            <p:nvPr/>
          </p:nvSpPr>
          <p:spPr bwMode="black">
            <a:xfrm>
              <a:off x="9585112" y="3026043"/>
              <a:ext cx="153087" cy="208580"/>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pic>
          <p:nvPicPr>
            <p:cNvPr id="64" name="Picture 6" descr="\\magnum\Projects\Microsoft\Cloud Power FY12\Design\Icons\PNGs\Server_2.png"/>
            <p:cNvPicPr>
              <a:picLocks noChangeAspect="1" noChangeArrowheads="1"/>
            </p:cNvPicPr>
            <p:nvPr/>
          </p:nvPicPr>
          <p:blipFill rotWithShape="1">
            <a:blip r:embed="rId2" cstate="print">
              <a:lum bright="100000"/>
            </a:blip>
            <a:srcRect l="24157" r="25929"/>
            <a:stretch/>
          </p:blipFill>
          <p:spPr bwMode="auto">
            <a:xfrm>
              <a:off x="9293863" y="2567228"/>
              <a:ext cx="355510" cy="712232"/>
            </a:xfrm>
            <a:prstGeom prst="rect">
              <a:avLst/>
            </a:prstGeom>
            <a:noFill/>
          </p:spPr>
        </p:pic>
      </p:grpSp>
      <p:sp>
        <p:nvSpPr>
          <p:cNvPr id="66" name="Rectangle 65"/>
          <p:cNvSpPr/>
          <p:nvPr/>
        </p:nvSpPr>
        <p:spPr>
          <a:xfrm>
            <a:off x="6853701" y="2053165"/>
            <a:ext cx="778300" cy="183512"/>
          </a:xfrm>
          <a:prstGeom prst="rect">
            <a:avLst/>
          </a:prstGeom>
        </p:spPr>
        <p:txBody>
          <a:bodyPr wrap="none" lIns="68586" tIns="34294" rIns="68586" bIns="34294">
            <a:spAutoFit/>
          </a:bodyPr>
          <a:lstStyle/>
          <a:p>
            <a:pPr algn="ctr" defTabSz="685637" fontAlgn="base">
              <a:lnSpc>
                <a:spcPct val="90000"/>
              </a:lnSpc>
              <a:spcBef>
                <a:spcPct val="0"/>
              </a:spcBef>
              <a:spcAft>
                <a:spcPct val="0"/>
              </a:spcAft>
            </a:pPr>
            <a:r>
              <a:rPr lang="en-US" sz="800" b="1" dirty="0">
                <a:solidFill>
                  <a:schemeClr val="tx1">
                    <a:alpha val="99000"/>
                  </a:schemeClr>
                </a:solidFill>
              </a:rPr>
              <a:t>65.52.249.22</a:t>
            </a:r>
          </a:p>
        </p:txBody>
      </p:sp>
      <p:sp>
        <p:nvSpPr>
          <p:cNvPr id="69" name="Rectangle 68"/>
          <p:cNvSpPr/>
          <p:nvPr/>
        </p:nvSpPr>
        <p:spPr bwMode="auto">
          <a:xfrm>
            <a:off x="6851578" y="3084073"/>
            <a:ext cx="1901795" cy="1901300"/>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lnSpc>
                <a:spcPct val="90000"/>
              </a:lnSpc>
              <a:spcBef>
                <a:spcPct val="0"/>
              </a:spcBef>
              <a:spcAft>
                <a:spcPct val="0"/>
              </a:spcAft>
            </a:pPr>
            <a:r>
              <a:rPr lang="en-US" dirty="0" err="1">
                <a:gradFill>
                  <a:gsLst>
                    <a:gs pos="0">
                      <a:srgbClr val="FFFFFF"/>
                    </a:gs>
                    <a:gs pos="100000">
                      <a:srgbClr val="FFFFFF"/>
                    </a:gs>
                  </a:gsLst>
                  <a:lin ang="5400000" scaled="0"/>
                </a:gradFill>
                <a:latin typeface="Segoe UI Light" pitchFamily="34" charset="0"/>
              </a:rPr>
              <a:t>Woodgrove’s</a:t>
            </a:r>
            <a:r>
              <a:rPr lang="en-US" dirty="0">
                <a:gradFill>
                  <a:gsLst>
                    <a:gs pos="0">
                      <a:srgbClr val="FFFFFF"/>
                    </a:gs>
                    <a:gs pos="100000">
                      <a:srgbClr val="FFFFFF"/>
                    </a:gs>
                  </a:gsLst>
                  <a:lin ang="5400000" scaled="0"/>
                </a:gradFill>
                <a:latin typeface="Segoe UI Light" pitchFamily="34" charset="0"/>
              </a:rPr>
              <a:t> </a:t>
            </a:r>
            <a:r>
              <a:rPr lang="en-US" dirty="0" err="1">
                <a:gradFill>
                  <a:gsLst>
                    <a:gs pos="0">
                      <a:srgbClr val="FFFFFF"/>
                    </a:gs>
                    <a:gs pos="100000">
                      <a:srgbClr val="FFFFFF"/>
                    </a:gs>
                  </a:gsLst>
                  <a:lin ang="5400000" scaled="0"/>
                </a:gradFill>
                <a:latin typeface="Segoe UI Light" pitchFamily="34" charset="0"/>
              </a:rPr>
              <a:t>VNet</a:t>
            </a:r>
            <a:r>
              <a:rPr lang="en-US" dirty="0">
                <a:gradFill>
                  <a:gsLst>
                    <a:gs pos="0">
                      <a:srgbClr val="FFFFFF"/>
                    </a:gs>
                    <a:gs pos="100000">
                      <a:srgbClr val="FFFFFF"/>
                    </a:gs>
                  </a:gsLst>
                  <a:lin ang="5400000" scaled="0"/>
                </a:gradFill>
                <a:latin typeface="Segoe UI Light" pitchFamily="34" charset="0"/>
              </a:rPr>
              <a:t> in Windows Azure </a:t>
            </a:r>
            <a:r>
              <a:rPr lang="en-US" sz="900" b="1" dirty="0">
                <a:solidFill>
                  <a:schemeClr val="tx1">
                    <a:alpha val="99000"/>
                  </a:schemeClr>
                </a:solidFill>
              </a:rPr>
              <a:t>(10.1.0.0/16)</a:t>
            </a:r>
          </a:p>
        </p:txBody>
      </p:sp>
      <p:sp>
        <p:nvSpPr>
          <p:cNvPr id="70" name="Freeform 40"/>
          <p:cNvSpPr>
            <a:spLocks noEditPoints="1"/>
          </p:cNvSpPr>
          <p:nvPr/>
        </p:nvSpPr>
        <p:spPr bwMode="black">
          <a:xfrm>
            <a:off x="8209076" y="3661878"/>
            <a:ext cx="445019" cy="428261"/>
          </a:xfrm>
          <a:custGeom>
            <a:avLst/>
            <a:gdLst>
              <a:gd name="T0" fmla="*/ 461 w 891"/>
              <a:gd name="T1" fmla="*/ 470 h 859"/>
              <a:gd name="T2" fmla="*/ 793 w 891"/>
              <a:gd name="T3" fmla="*/ 489 h 859"/>
              <a:gd name="T4" fmla="*/ 707 w 891"/>
              <a:gd name="T5" fmla="*/ 787 h 859"/>
              <a:gd name="T6" fmla="*/ 375 w 891"/>
              <a:gd name="T7" fmla="*/ 767 h 859"/>
              <a:gd name="T8" fmla="*/ 461 w 891"/>
              <a:gd name="T9" fmla="*/ 470 h 859"/>
              <a:gd name="T10" fmla="*/ 430 w 891"/>
              <a:gd name="T11" fmla="*/ 387 h 859"/>
              <a:gd name="T12" fmla="*/ 517 w 891"/>
              <a:gd name="T13" fmla="*/ 90 h 859"/>
              <a:gd name="T14" fmla="*/ 184 w 891"/>
              <a:gd name="T15" fmla="*/ 71 h 859"/>
              <a:gd name="T16" fmla="*/ 98 w 891"/>
              <a:gd name="T17" fmla="*/ 368 h 859"/>
              <a:gd name="T18" fmla="*/ 430 w 891"/>
              <a:gd name="T19" fmla="*/ 387 h 859"/>
              <a:gd name="T20" fmla="*/ 83 w 891"/>
              <a:gd name="T21" fmla="*/ 421 h 859"/>
              <a:gd name="T22" fmla="*/ 0 w 891"/>
              <a:gd name="T23" fmla="*/ 703 h 859"/>
              <a:gd name="T24" fmla="*/ 0 w 891"/>
              <a:gd name="T25" fmla="*/ 706 h 859"/>
              <a:gd name="T26" fmla="*/ 7 w 891"/>
              <a:gd name="T27" fmla="*/ 712 h 859"/>
              <a:gd name="T28" fmla="*/ 9 w 891"/>
              <a:gd name="T29" fmla="*/ 712 h 859"/>
              <a:gd name="T30" fmla="*/ 329 w 891"/>
              <a:gd name="T31" fmla="*/ 737 h 859"/>
              <a:gd name="T32" fmla="*/ 415 w 891"/>
              <a:gd name="T33" fmla="*/ 440 h 859"/>
              <a:gd name="T34" fmla="*/ 83 w 891"/>
              <a:gd name="T35" fmla="*/ 421 h 859"/>
              <a:gd name="T36" fmla="*/ 883 w 891"/>
              <a:gd name="T37" fmla="*/ 147 h 859"/>
              <a:gd name="T38" fmla="*/ 882 w 891"/>
              <a:gd name="T39" fmla="*/ 147 h 859"/>
              <a:gd name="T40" fmla="*/ 561 w 891"/>
              <a:gd name="T41" fmla="*/ 122 h 859"/>
              <a:gd name="T42" fmla="*/ 475 w 891"/>
              <a:gd name="T43" fmla="*/ 419 h 859"/>
              <a:gd name="T44" fmla="*/ 808 w 891"/>
              <a:gd name="T45" fmla="*/ 438 h 859"/>
              <a:gd name="T46" fmla="*/ 891 w 891"/>
              <a:gd name="T47" fmla="*/ 154 h 859"/>
              <a:gd name="T48" fmla="*/ 891 w 891"/>
              <a:gd name="T49" fmla="*/ 153 h 859"/>
              <a:gd name="T50" fmla="*/ 883 w 891"/>
              <a:gd name="T51" fmla="*/ 147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91" h="859">
                <a:moveTo>
                  <a:pt x="461" y="470"/>
                </a:moveTo>
                <a:cubicBezTo>
                  <a:pt x="535" y="522"/>
                  <a:pt x="620" y="562"/>
                  <a:pt x="793" y="489"/>
                </a:cubicBezTo>
                <a:cubicBezTo>
                  <a:pt x="793" y="489"/>
                  <a:pt x="793" y="489"/>
                  <a:pt x="707" y="787"/>
                </a:cubicBezTo>
                <a:cubicBezTo>
                  <a:pt x="534" y="859"/>
                  <a:pt x="449" y="818"/>
                  <a:pt x="375" y="767"/>
                </a:cubicBezTo>
                <a:cubicBezTo>
                  <a:pt x="375" y="767"/>
                  <a:pt x="375" y="767"/>
                  <a:pt x="461" y="470"/>
                </a:cubicBezTo>
                <a:close/>
                <a:moveTo>
                  <a:pt x="430" y="387"/>
                </a:moveTo>
                <a:cubicBezTo>
                  <a:pt x="517" y="90"/>
                  <a:pt x="517" y="90"/>
                  <a:pt x="517" y="90"/>
                </a:cubicBezTo>
                <a:cubicBezTo>
                  <a:pt x="441" y="41"/>
                  <a:pt x="357" y="0"/>
                  <a:pt x="184" y="71"/>
                </a:cubicBezTo>
                <a:cubicBezTo>
                  <a:pt x="98" y="368"/>
                  <a:pt x="98" y="368"/>
                  <a:pt x="98" y="368"/>
                </a:cubicBezTo>
                <a:cubicBezTo>
                  <a:pt x="271" y="297"/>
                  <a:pt x="354" y="337"/>
                  <a:pt x="430" y="387"/>
                </a:cubicBezTo>
                <a:close/>
                <a:moveTo>
                  <a:pt x="83" y="421"/>
                </a:moveTo>
                <a:cubicBezTo>
                  <a:pt x="0" y="703"/>
                  <a:pt x="0" y="703"/>
                  <a:pt x="0" y="703"/>
                </a:cubicBezTo>
                <a:cubicBezTo>
                  <a:pt x="0" y="704"/>
                  <a:pt x="0" y="704"/>
                  <a:pt x="0" y="706"/>
                </a:cubicBezTo>
                <a:cubicBezTo>
                  <a:pt x="0" y="709"/>
                  <a:pt x="3" y="712"/>
                  <a:pt x="7" y="712"/>
                </a:cubicBezTo>
                <a:cubicBezTo>
                  <a:pt x="9" y="712"/>
                  <a:pt x="9" y="712"/>
                  <a:pt x="9" y="712"/>
                </a:cubicBezTo>
                <a:cubicBezTo>
                  <a:pt x="175" y="646"/>
                  <a:pt x="256" y="687"/>
                  <a:pt x="329" y="737"/>
                </a:cubicBezTo>
                <a:cubicBezTo>
                  <a:pt x="415" y="440"/>
                  <a:pt x="415" y="440"/>
                  <a:pt x="415" y="440"/>
                </a:cubicBezTo>
                <a:cubicBezTo>
                  <a:pt x="339" y="389"/>
                  <a:pt x="256" y="348"/>
                  <a:pt x="83" y="421"/>
                </a:cubicBezTo>
                <a:close/>
                <a:moveTo>
                  <a:pt x="883" y="147"/>
                </a:moveTo>
                <a:cubicBezTo>
                  <a:pt x="882" y="147"/>
                  <a:pt x="882" y="147"/>
                  <a:pt x="882" y="147"/>
                </a:cubicBezTo>
                <a:cubicBezTo>
                  <a:pt x="716" y="212"/>
                  <a:pt x="634" y="172"/>
                  <a:pt x="561" y="122"/>
                </a:cubicBezTo>
                <a:cubicBezTo>
                  <a:pt x="475" y="419"/>
                  <a:pt x="475" y="419"/>
                  <a:pt x="475" y="419"/>
                </a:cubicBezTo>
                <a:cubicBezTo>
                  <a:pt x="551" y="468"/>
                  <a:pt x="634" y="509"/>
                  <a:pt x="808" y="438"/>
                </a:cubicBezTo>
                <a:cubicBezTo>
                  <a:pt x="891" y="154"/>
                  <a:pt x="891" y="154"/>
                  <a:pt x="891" y="154"/>
                </a:cubicBezTo>
                <a:cubicBezTo>
                  <a:pt x="891" y="153"/>
                  <a:pt x="891" y="153"/>
                  <a:pt x="891" y="153"/>
                </a:cubicBezTo>
                <a:cubicBezTo>
                  <a:pt x="891" y="150"/>
                  <a:pt x="888" y="147"/>
                  <a:pt x="883" y="1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6" tIns="34294" rIns="68586" bIns="34294" numCol="1" anchor="t" anchorCtr="0" compatLnSpc="1">
            <a:prstTxWarp prst="textNoShape">
              <a:avLst/>
            </a:prstTxWarp>
          </a:bodyPr>
          <a:lstStyle/>
          <a:p>
            <a:endParaRPr lang="en-US"/>
          </a:p>
        </p:txBody>
      </p:sp>
      <p:grpSp>
        <p:nvGrpSpPr>
          <p:cNvPr id="71" name="Group 70"/>
          <p:cNvGrpSpPr/>
          <p:nvPr/>
        </p:nvGrpSpPr>
        <p:grpSpPr>
          <a:xfrm>
            <a:off x="6896653" y="4334464"/>
            <a:ext cx="1794254" cy="590907"/>
            <a:chOff x="9003494" y="5339445"/>
            <a:chExt cx="2209019" cy="727692"/>
          </a:xfrm>
        </p:grpSpPr>
        <p:sp>
          <p:nvSpPr>
            <p:cNvPr id="76" name="Rectangle 75"/>
            <p:cNvSpPr/>
            <p:nvPr/>
          </p:nvSpPr>
          <p:spPr bwMode="auto">
            <a:xfrm>
              <a:off x="9003494" y="5339445"/>
              <a:ext cx="1063292" cy="72769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algn="ctr" defTabSz="685637" fontAlgn="base">
                <a:lnSpc>
                  <a:spcPct val="90000"/>
                </a:lnSpc>
                <a:spcBef>
                  <a:spcPct val="0"/>
                </a:spcBef>
                <a:spcAft>
                  <a:spcPct val="0"/>
                </a:spcAft>
              </a:pPr>
              <a:r>
                <a:rPr lang="en-US" sz="900" b="1" dirty="0">
                  <a:solidFill>
                    <a:schemeClr val="tx1">
                      <a:alpha val="99000"/>
                    </a:schemeClr>
                  </a:solidFill>
                </a:rPr>
                <a:t>Svc1</a:t>
              </a:r>
            </a:p>
            <a:p>
              <a:pPr algn="ctr" defTabSz="685637" fontAlgn="base">
                <a:lnSpc>
                  <a:spcPct val="90000"/>
                </a:lnSpc>
                <a:spcBef>
                  <a:spcPct val="0"/>
                </a:spcBef>
                <a:spcAft>
                  <a:spcPct val="0"/>
                </a:spcAft>
              </a:pPr>
              <a:endParaRPr lang="en-US" sz="900" b="1" dirty="0">
                <a:solidFill>
                  <a:schemeClr val="tx1">
                    <a:alpha val="99000"/>
                  </a:schemeClr>
                </a:solidFill>
              </a:endParaRPr>
            </a:p>
            <a:p>
              <a:pPr algn="ctr" defTabSz="685637" fontAlgn="base">
                <a:lnSpc>
                  <a:spcPct val="90000"/>
                </a:lnSpc>
                <a:spcBef>
                  <a:spcPct val="0"/>
                </a:spcBef>
                <a:spcAft>
                  <a:spcPct val="0"/>
                </a:spcAft>
              </a:pPr>
              <a:r>
                <a:rPr lang="en-US" sz="900" b="1" dirty="0">
                  <a:solidFill>
                    <a:schemeClr val="tx1">
                      <a:alpha val="99000"/>
                    </a:schemeClr>
                  </a:solidFill>
                </a:rPr>
                <a:t>10.1.2.0/24</a:t>
              </a:r>
            </a:p>
          </p:txBody>
        </p:sp>
        <p:sp>
          <p:nvSpPr>
            <p:cNvPr id="77" name="Rectangle 76"/>
            <p:cNvSpPr/>
            <p:nvPr/>
          </p:nvSpPr>
          <p:spPr bwMode="auto">
            <a:xfrm>
              <a:off x="10149221" y="5339445"/>
              <a:ext cx="1063292" cy="72769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algn="ctr" defTabSz="685637" fontAlgn="base">
                <a:lnSpc>
                  <a:spcPct val="90000"/>
                </a:lnSpc>
                <a:spcBef>
                  <a:spcPct val="0"/>
                </a:spcBef>
                <a:spcAft>
                  <a:spcPct val="0"/>
                </a:spcAft>
              </a:pPr>
              <a:r>
                <a:rPr lang="en-US" sz="900" b="1" dirty="0">
                  <a:solidFill>
                    <a:schemeClr val="tx1">
                      <a:alpha val="99000"/>
                    </a:schemeClr>
                  </a:solidFill>
                </a:rPr>
                <a:t>Svc2</a:t>
              </a:r>
            </a:p>
            <a:p>
              <a:pPr algn="ctr" defTabSz="685637" fontAlgn="base">
                <a:lnSpc>
                  <a:spcPct val="90000"/>
                </a:lnSpc>
                <a:spcBef>
                  <a:spcPct val="0"/>
                </a:spcBef>
                <a:spcAft>
                  <a:spcPct val="0"/>
                </a:spcAft>
              </a:pPr>
              <a:endParaRPr lang="en-US" sz="900" b="1" dirty="0">
                <a:solidFill>
                  <a:schemeClr val="tx1">
                    <a:alpha val="99000"/>
                  </a:schemeClr>
                </a:solidFill>
              </a:endParaRPr>
            </a:p>
            <a:p>
              <a:pPr algn="ctr" defTabSz="685637" fontAlgn="base">
                <a:lnSpc>
                  <a:spcPct val="90000"/>
                </a:lnSpc>
                <a:spcBef>
                  <a:spcPct val="0"/>
                </a:spcBef>
                <a:spcAft>
                  <a:spcPct val="0"/>
                </a:spcAft>
              </a:pPr>
              <a:r>
                <a:rPr lang="en-US" sz="900" b="1" dirty="0">
                  <a:solidFill>
                    <a:schemeClr val="tx1">
                      <a:alpha val="99000"/>
                    </a:schemeClr>
                  </a:solidFill>
                </a:rPr>
                <a:t>10.1.3.0/24</a:t>
              </a:r>
            </a:p>
          </p:txBody>
        </p:sp>
      </p:grpSp>
      <p:grpSp>
        <p:nvGrpSpPr>
          <p:cNvPr id="72" name="Group 71"/>
          <p:cNvGrpSpPr/>
          <p:nvPr/>
        </p:nvGrpSpPr>
        <p:grpSpPr>
          <a:xfrm>
            <a:off x="7071497" y="3510134"/>
            <a:ext cx="342706" cy="549185"/>
            <a:chOff x="9293863" y="2567228"/>
            <a:chExt cx="444336" cy="712232"/>
          </a:xfrm>
        </p:grpSpPr>
        <p:sp>
          <p:nvSpPr>
            <p:cNvPr id="74" name="Freeform 92"/>
            <p:cNvSpPr>
              <a:spLocks noEditPoints="1"/>
            </p:cNvSpPr>
            <p:nvPr/>
          </p:nvSpPr>
          <p:spPr bwMode="black">
            <a:xfrm>
              <a:off x="9585112" y="3026043"/>
              <a:ext cx="153087" cy="208580"/>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pic>
          <p:nvPicPr>
            <p:cNvPr id="75" name="Picture 6" descr="\\magnum\Projects\Microsoft\Cloud Power FY12\Design\Icons\PNGs\Server_2.png"/>
            <p:cNvPicPr>
              <a:picLocks noChangeAspect="1" noChangeArrowheads="1"/>
            </p:cNvPicPr>
            <p:nvPr/>
          </p:nvPicPr>
          <p:blipFill rotWithShape="1">
            <a:blip r:embed="rId2" cstate="print">
              <a:lum bright="100000"/>
            </a:blip>
            <a:srcRect l="24157" r="25929"/>
            <a:stretch/>
          </p:blipFill>
          <p:spPr bwMode="auto">
            <a:xfrm>
              <a:off x="9293863" y="2567228"/>
              <a:ext cx="355510" cy="712232"/>
            </a:xfrm>
            <a:prstGeom prst="rect">
              <a:avLst/>
            </a:prstGeom>
            <a:noFill/>
          </p:spPr>
        </p:pic>
      </p:grpSp>
      <p:sp>
        <p:nvSpPr>
          <p:cNvPr id="73" name="Rectangle 72"/>
          <p:cNvSpPr/>
          <p:nvPr/>
        </p:nvSpPr>
        <p:spPr>
          <a:xfrm>
            <a:off x="6884969" y="4034035"/>
            <a:ext cx="715767" cy="183512"/>
          </a:xfrm>
          <a:prstGeom prst="rect">
            <a:avLst/>
          </a:prstGeom>
        </p:spPr>
        <p:txBody>
          <a:bodyPr wrap="none" lIns="68586" tIns="34294" rIns="68586" bIns="34294">
            <a:spAutoFit/>
          </a:bodyPr>
          <a:lstStyle/>
          <a:p>
            <a:pPr algn="ctr" defTabSz="685637" fontAlgn="base">
              <a:lnSpc>
                <a:spcPct val="90000"/>
              </a:lnSpc>
              <a:spcBef>
                <a:spcPct val="0"/>
              </a:spcBef>
              <a:spcAft>
                <a:spcPct val="0"/>
              </a:spcAft>
            </a:pPr>
            <a:r>
              <a:rPr lang="en-US" sz="800" b="1" dirty="0">
                <a:solidFill>
                  <a:schemeClr val="tx1">
                    <a:alpha val="99000"/>
                  </a:schemeClr>
                </a:solidFill>
              </a:rPr>
              <a:t>65.22.192.5</a:t>
            </a:r>
          </a:p>
        </p:txBody>
      </p:sp>
      <p:sp>
        <p:nvSpPr>
          <p:cNvPr id="82" name="Freeform 128"/>
          <p:cNvSpPr>
            <a:spLocks noChangeAspect="1"/>
          </p:cNvSpPr>
          <p:nvPr/>
        </p:nvSpPr>
        <p:spPr bwMode="black">
          <a:xfrm>
            <a:off x="2571229" y="1663359"/>
            <a:ext cx="4001542" cy="220993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4"/>
          </a:solidFill>
          <a:ln>
            <a:noFill/>
          </a:ln>
          <a:extLst/>
        </p:spPr>
        <p:txBody>
          <a:bodyPr vert="horz" wrap="square" lIns="68586" tIns="34294" rIns="68586" bIns="34294" numCol="1" anchor="t" anchorCtr="0" compatLnSpc="1">
            <a:prstTxWarp prst="textNoShape">
              <a:avLst/>
            </a:prstTxWarp>
          </a:bodyPr>
          <a:lstStyle/>
          <a:p>
            <a:endParaRPr lang="en-US"/>
          </a:p>
        </p:txBody>
      </p:sp>
      <p:grpSp>
        <p:nvGrpSpPr>
          <p:cNvPr id="83" name="Group 82"/>
          <p:cNvGrpSpPr/>
          <p:nvPr/>
        </p:nvGrpSpPr>
        <p:grpSpPr>
          <a:xfrm>
            <a:off x="439335" y="2426092"/>
            <a:ext cx="498858" cy="354569"/>
            <a:chOff x="9749347" y="2169580"/>
            <a:chExt cx="955874" cy="679574"/>
          </a:xfrm>
          <a:solidFill>
            <a:schemeClr val="tx1"/>
          </a:solidFill>
        </p:grpSpPr>
        <p:sp>
          <p:nvSpPr>
            <p:cNvPr id="84" name="Freeform 27"/>
            <p:cNvSpPr>
              <a:spLocks noChangeAspect="1" noEditPoints="1"/>
            </p:cNvSpPr>
            <p:nvPr/>
          </p:nvSpPr>
          <p:spPr bwMode="black">
            <a:xfrm>
              <a:off x="9749347" y="2169581"/>
              <a:ext cx="430451" cy="277285"/>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grpFill/>
            <a:extLst/>
          </p:spPr>
          <p:txBody>
            <a:bodyPr vert="horz" wrap="square" lIns="91440" tIns="45720" rIns="91440" bIns="45720" numCol="1" anchor="t" anchorCtr="0" compatLnSpc="1">
              <a:prstTxWarp prst="textNoShape">
                <a:avLst/>
              </a:prstTxWarp>
            </a:bodyPr>
            <a:lstStyle/>
            <a:p>
              <a:endParaRPr lang="en-US"/>
            </a:p>
          </p:txBody>
        </p:sp>
        <p:sp>
          <p:nvSpPr>
            <p:cNvPr id="85" name="Freeform 27"/>
            <p:cNvSpPr>
              <a:spLocks noChangeAspect="1" noEditPoints="1"/>
            </p:cNvSpPr>
            <p:nvPr/>
          </p:nvSpPr>
          <p:spPr bwMode="black">
            <a:xfrm>
              <a:off x="9749347" y="2571869"/>
              <a:ext cx="430451" cy="277285"/>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grpFill/>
            <a:extLst/>
          </p:spPr>
          <p:txBody>
            <a:bodyPr vert="horz" wrap="square" lIns="91440" tIns="45720" rIns="91440" bIns="45720" numCol="1" anchor="t" anchorCtr="0" compatLnSpc="1">
              <a:prstTxWarp prst="textNoShape">
                <a:avLst/>
              </a:prstTxWarp>
            </a:bodyPr>
            <a:lstStyle/>
            <a:p>
              <a:endParaRPr lang="en-US"/>
            </a:p>
          </p:txBody>
        </p:sp>
        <p:sp>
          <p:nvSpPr>
            <p:cNvPr id="86" name="Freeform 27"/>
            <p:cNvSpPr>
              <a:spLocks noChangeAspect="1" noEditPoints="1"/>
            </p:cNvSpPr>
            <p:nvPr/>
          </p:nvSpPr>
          <p:spPr bwMode="black">
            <a:xfrm>
              <a:off x="10274770" y="2169580"/>
              <a:ext cx="430451" cy="277285"/>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grpFill/>
            <a:extLst/>
          </p:spPr>
          <p:txBody>
            <a:bodyPr vert="horz" wrap="square" lIns="91440" tIns="45720" rIns="91440" bIns="45720" numCol="1" anchor="t" anchorCtr="0" compatLnSpc="1">
              <a:prstTxWarp prst="textNoShape">
                <a:avLst/>
              </a:prstTxWarp>
            </a:bodyPr>
            <a:lstStyle/>
            <a:p>
              <a:endParaRPr lang="en-US"/>
            </a:p>
          </p:txBody>
        </p:sp>
        <p:sp>
          <p:nvSpPr>
            <p:cNvPr id="87" name="Freeform 27"/>
            <p:cNvSpPr>
              <a:spLocks noChangeAspect="1" noEditPoints="1"/>
            </p:cNvSpPr>
            <p:nvPr/>
          </p:nvSpPr>
          <p:spPr bwMode="black">
            <a:xfrm>
              <a:off x="10274770" y="2571868"/>
              <a:ext cx="430451" cy="277285"/>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grpFill/>
            <a:extLst/>
          </p:spPr>
          <p:txBody>
            <a:bodyPr vert="horz" wrap="square" lIns="91440" tIns="45720" rIns="91440" bIns="45720" numCol="1" anchor="t" anchorCtr="0" compatLnSpc="1">
              <a:prstTxWarp prst="textNoShape">
                <a:avLst/>
              </a:prstTxWarp>
            </a:bodyPr>
            <a:lstStyle/>
            <a:p>
              <a:endParaRPr lang="en-US"/>
            </a:p>
          </p:txBody>
        </p:sp>
      </p:grpSp>
      <p:grpSp>
        <p:nvGrpSpPr>
          <p:cNvPr id="88" name="Group 87"/>
          <p:cNvGrpSpPr/>
          <p:nvPr/>
        </p:nvGrpSpPr>
        <p:grpSpPr>
          <a:xfrm>
            <a:off x="439335" y="4404578"/>
            <a:ext cx="498858" cy="354568"/>
            <a:chOff x="9749347" y="2169580"/>
            <a:chExt cx="955874" cy="679572"/>
          </a:xfrm>
          <a:solidFill>
            <a:schemeClr val="tx1"/>
          </a:solidFill>
        </p:grpSpPr>
        <p:sp>
          <p:nvSpPr>
            <p:cNvPr id="89" name="Freeform 27"/>
            <p:cNvSpPr>
              <a:spLocks noChangeAspect="1" noEditPoints="1"/>
            </p:cNvSpPr>
            <p:nvPr/>
          </p:nvSpPr>
          <p:spPr bwMode="black">
            <a:xfrm>
              <a:off x="9749347" y="2169580"/>
              <a:ext cx="430451" cy="277284"/>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grpFill/>
            <a:extLst/>
          </p:spPr>
          <p:txBody>
            <a:bodyPr vert="horz" wrap="square" lIns="91440" tIns="45720" rIns="91440" bIns="45720" numCol="1" anchor="t" anchorCtr="0" compatLnSpc="1">
              <a:prstTxWarp prst="textNoShape">
                <a:avLst/>
              </a:prstTxWarp>
            </a:bodyPr>
            <a:lstStyle/>
            <a:p>
              <a:endParaRPr lang="en-US"/>
            </a:p>
          </p:txBody>
        </p:sp>
        <p:sp>
          <p:nvSpPr>
            <p:cNvPr id="90" name="Freeform 27"/>
            <p:cNvSpPr>
              <a:spLocks noChangeAspect="1" noEditPoints="1"/>
            </p:cNvSpPr>
            <p:nvPr/>
          </p:nvSpPr>
          <p:spPr bwMode="black">
            <a:xfrm>
              <a:off x="9749347" y="2571868"/>
              <a:ext cx="430451" cy="277284"/>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grpFill/>
            <a:extLst/>
          </p:spPr>
          <p:txBody>
            <a:bodyPr vert="horz" wrap="square" lIns="91440" tIns="45720" rIns="91440" bIns="45720" numCol="1" anchor="t" anchorCtr="0" compatLnSpc="1">
              <a:prstTxWarp prst="textNoShape">
                <a:avLst/>
              </a:prstTxWarp>
            </a:bodyPr>
            <a:lstStyle/>
            <a:p>
              <a:endParaRPr lang="en-US"/>
            </a:p>
          </p:txBody>
        </p:sp>
        <p:sp>
          <p:nvSpPr>
            <p:cNvPr id="91" name="Freeform 27"/>
            <p:cNvSpPr>
              <a:spLocks noChangeAspect="1" noEditPoints="1"/>
            </p:cNvSpPr>
            <p:nvPr/>
          </p:nvSpPr>
          <p:spPr bwMode="black">
            <a:xfrm>
              <a:off x="10274770" y="2169580"/>
              <a:ext cx="430451" cy="277284"/>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grpFill/>
            <a:extLst/>
          </p:spPr>
          <p:txBody>
            <a:bodyPr vert="horz" wrap="square" lIns="91440" tIns="45720" rIns="91440" bIns="45720" numCol="1" anchor="t" anchorCtr="0" compatLnSpc="1">
              <a:prstTxWarp prst="textNoShape">
                <a:avLst/>
              </a:prstTxWarp>
            </a:bodyPr>
            <a:lstStyle/>
            <a:p>
              <a:endParaRPr lang="en-US"/>
            </a:p>
          </p:txBody>
        </p:sp>
        <p:sp>
          <p:nvSpPr>
            <p:cNvPr id="92" name="Freeform 27"/>
            <p:cNvSpPr>
              <a:spLocks noChangeAspect="1" noEditPoints="1"/>
            </p:cNvSpPr>
            <p:nvPr/>
          </p:nvSpPr>
          <p:spPr bwMode="black">
            <a:xfrm>
              <a:off x="10274770" y="2571868"/>
              <a:ext cx="430451" cy="277284"/>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grpFill/>
            <a:extLst/>
          </p:spPr>
          <p:txBody>
            <a:bodyPr vert="horz" wrap="square" lIns="91440" tIns="45720" rIns="91440" bIns="45720" numCol="1" anchor="t" anchorCtr="0" compatLnSpc="1">
              <a:prstTxWarp prst="textNoShape">
                <a:avLst/>
              </a:prstTxWarp>
            </a:bodyPr>
            <a:lstStyle/>
            <a:p>
              <a:endParaRPr lang="en-US"/>
            </a:p>
          </p:txBody>
        </p:sp>
      </p:grpSp>
      <p:grpSp>
        <p:nvGrpSpPr>
          <p:cNvPr id="93" name="Group 92"/>
          <p:cNvGrpSpPr/>
          <p:nvPr/>
        </p:nvGrpSpPr>
        <p:grpSpPr>
          <a:xfrm>
            <a:off x="966974" y="4260739"/>
            <a:ext cx="667170" cy="681454"/>
            <a:chOff x="1730090" y="4442923"/>
            <a:chExt cx="1055988" cy="1078876"/>
          </a:xfrm>
        </p:grpSpPr>
        <p:pic>
          <p:nvPicPr>
            <p:cNvPr id="94" name="Picture 2"/>
            <p:cNvPicPr>
              <a:picLocks noChangeAspect="1" noChangeArrowheads="1"/>
            </p:cNvPicPr>
            <p:nvPr/>
          </p:nvPicPr>
          <p:blipFill>
            <a:blip r:embed="rId4"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95" name="Rectangle 94"/>
            <p:cNvSpPr/>
            <p:nvPr/>
          </p:nvSpPr>
          <p:spPr>
            <a:xfrm>
              <a:off x="1730090" y="5178274"/>
              <a:ext cx="1055988" cy="343525"/>
            </a:xfrm>
            <a:prstGeom prst="rect">
              <a:avLst/>
            </a:prstGeom>
          </p:spPr>
          <p:txBody>
            <a:bodyPr wrap="none">
              <a:spAutoFit/>
            </a:bodyPr>
            <a:lstStyle/>
            <a:p>
              <a:pPr algn="ctr" defTabSz="685637" fontAlgn="base">
                <a:lnSpc>
                  <a:spcPct val="90000"/>
                </a:lnSpc>
                <a:spcBef>
                  <a:spcPct val="0"/>
                </a:spcBef>
                <a:spcAft>
                  <a:spcPct val="0"/>
                </a:spcAft>
              </a:pPr>
              <a:r>
                <a:rPr lang="en-US" sz="900" dirty="0">
                  <a:gradFill>
                    <a:gsLst>
                      <a:gs pos="0">
                        <a:srgbClr val="FFFFFF"/>
                      </a:gs>
                      <a:gs pos="100000">
                        <a:srgbClr val="FFFFFF"/>
                      </a:gs>
                    </a:gsLst>
                    <a:lin ang="5400000" scaled="0"/>
                  </a:gradFill>
                </a:rPr>
                <a:t>Exchange</a:t>
              </a:r>
            </a:p>
          </p:txBody>
        </p:sp>
        <p:sp>
          <p:nvSpPr>
            <p:cNvPr id="96" name="Freeform 128"/>
            <p:cNvSpPr>
              <a:spLocks noEditPoints="1"/>
            </p:cNvSpPr>
            <p:nvPr/>
          </p:nvSpPr>
          <p:spPr bwMode="black">
            <a:xfrm>
              <a:off x="2433694" y="4961317"/>
              <a:ext cx="322748" cy="225728"/>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200"/>
            </a:p>
          </p:txBody>
        </p:sp>
      </p:grpSp>
      <p:grpSp>
        <p:nvGrpSpPr>
          <p:cNvPr id="97" name="Group 96"/>
          <p:cNvGrpSpPr/>
          <p:nvPr/>
        </p:nvGrpSpPr>
        <p:grpSpPr>
          <a:xfrm>
            <a:off x="966974" y="2276092"/>
            <a:ext cx="667170" cy="681454"/>
            <a:chOff x="1730090" y="4442923"/>
            <a:chExt cx="1055988" cy="1078876"/>
          </a:xfrm>
        </p:grpSpPr>
        <p:pic>
          <p:nvPicPr>
            <p:cNvPr id="98" name="Picture 2"/>
            <p:cNvPicPr>
              <a:picLocks noChangeAspect="1" noChangeArrowheads="1"/>
            </p:cNvPicPr>
            <p:nvPr/>
          </p:nvPicPr>
          <p:blipFill>
            <a:blip r:embed="rId4"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99" name="Rectangle 98"/>
            <p:cNvSpPr/>
            <p:nvPr/>
          </p:nvSpPr>
          <p:spPr>
            <a:xfrm>
              <a:off x="1730090" y="5178274"/>
              <a:ext cx="1055988" cy="343525"/>
            </a:xfrm>
            <a:prstGeom prst="rect">
              <a:avLst/>
            </a:prstGeom>
          </p:spPr>
          <p:txBody>
            <a:bodyPr wrap="none">
              <a:spAutoFit/>
            </a:bodyPr>
            <a:lstStyle/>
            <a:p>
              <a:pPr algn="ctr" defTabSz="685637" fontAlgn="base">
                <a:lnSpc>
                  <a:spcPct val="90000"/>
                </a:lnSpc>
                <a:spcBef>
                  <a:spcPct val="0"/>
                </a:spcBef>
                <a:spcAft>
                  <a:spcPct val="0"/>
                </a:spcAft>
              </a:pPr>
              <a:r>
                <a:rPr lang="en-US" sz="900" dirty="0">
                  <a:gradFill>
                    <a:gsLst>
                      <a:gs pos="0">
                        <a:srgbClr val="FFFFFF"/>
                      </a:gs>
                      <a:gs pos="100000">
                        <a:srgbClr val="FFFFFF"/>
                      </a:gs>
                    </a:gsLst>
                    <a:lin ang="5400000" scaled="0"/>
                  </a:gradFill>
                </a:rPr>
                <a:t>Exchange</a:t>
              </a:r>
            </a:p>
          </p:txBody>
        </p:sp>
        <p:sp>
          <p:nvSpPr>
            <p:cNvPr id="100" name="Freeform 128"/>
            <p:cNvSpPr>
              <a:spLocks noEditPoints="1"/>
            </p:cNvSpPr>
            <p:nvPr/>
          </p:nvSpPr>
          <p:spPr bwMode="black">
            <a:xfrm>
              <a:off x="2433694" y="4961317"/>
              <a:ext cx="322748" cy="225728"/>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200"/>
            </a:p>
          </p:txBody>
        </p:sp>
      </p:grpSp>
      <p:sp>
        <p:nvSpPr>
          <p:cNvPr id="101" name="Rectangle 100"/>
          <p:cNvSpPr/>
          <p:nvPr/>
        </p:nvSpPr>
        <p:spPr>
          <a:xfrm>
            <a:off x="1753548" y="1986362"/>
            <a:ext cx="586185" cy="318549"/>
          </a:xfrm>
          <a:prstGeom prst="rect">
            <a:avLst/>
          </a:prstGeom>
        </p:spPr>
        <p:txBody>
          <a:bodyPr wrap="square" lIns="68586" tIns="34294" rIns="68586" bIns="34294">
            <a:spAutoFit/>
          </a:bodyPr>
          <a:lstStyle/>
          <a:p>
            <a:pPr algn="ctr" defTabSz="685637" fontAlgn="base">
              <a:lnSpc>
                <a:spcPct val="90000"/>
              </a:lnSpc>
              <a:spcBef>
                <a:spcPct val="0"/>
              </a:spcBef>
              <a:spcAft>
                <a:spcPct val="0"/>
              </a:spcAft>
            </a:pPr>
            <a:r>
              <a:rPr lang="en-US" sz="900" dirty="0">
                <a:gradFill>
                  <a:gsLst>
                    <a:gs pos="0">
                      <a:srgbClr val="FFFFFF"/>
                    </a:gs>
                    <a:gs pos="100000">
                      <a:srgbClr val="FFFFFF"/>
                    </a:gs>
                  </a:gsLst>
                  <a:lin ang="5400000" scaled="0"/>
                </a:gradFill>
              </a:rPr>
              <a:t>S2S VPN Device</a:t>
            </a:r>
          </a:p>
        </p:txBody>
      </p:sp>
      <p:sp>
        <p:nvSpPr>
          <p:cNvPr id="102" name="Rectangle 101"/>
          <p:cNvSpPr/>
          <p:nvPr/>
        </p:nvSpPr>
        <p:spPr>
          <a:xfrm>
            <a:off x="1773465" y="3978305"/>
            <a:ext cx="586185" cy="318549"/>
          </a:xfrm>
          <a:prstGeom prst="rect">
            <a:avLst/>
          </a:prstGeom>
        </p:spPr>
        <p:txBody>
          <a:bodyPr wrap="square" lIns="68586" tIns="34294" rIns="68586" bIns="34294">
            <a:spAutoFit/>
          </a:bodyPr>
          <a:lstStyle/>
          <a:p>
            <a:pPr algn="ctr" defTabSz="685637" fontAlgn="base">
              <a:lnSpc>
                <a:spcPct val="90000"/>
              </a:lnSpc>
              <a:spcBef>
                <a:spcPct val="0"/>
              </a:spcBef>
              <a:spcAft>
                <a:spcPct val="0"/>
              </a:spcAft>
            </a:pPr>
            <a:r>
              <a:rPr lang="en-US" sz="900" dirty="0">
                <a:gradFill>
                  <a:gsLst>
                    <a:gs pos="0">
                      <a:srgbClr val="FFFFFF"/>
                    </a:gs>
                    <a:gs pos="100000">
                      <a:srgbClr val="FFFFFF"/>
                    </a:gs>
                  </a:gsLst>
                  <a:lin ang="5400000" scaled="0"/>
                </a:gradFill>
              </a:rPr>
              <a:t>S2S VPN Device</a:t>
            </a:r>
          </a:p>
        </p:txBody>
      </p:sp>
      <p:sp>
        <p:nvSpPr>
          <p:cNvPr id="103" name="Rectangle 102"/>
          <p:cNvSpPr/>
          <p:nvPr/>
        </p:nvSpPr>
        <p:spPr>
          <a:xfrm>
            <a:off x="1592448" y="3440366"/>
            <a:ext cx="777092" cy="183510"/>
          </a:xfrm>
          <a:prstGeom prst="rect">
            <a:avLst/>
          </a:prstGeom>
        </p:spPr>
        <p:txBody>
          <a:bodyPr wrap="none" lIns="68586" tIns="34294" rIns="68586" bIns="34294">
            <a:spAutoFit/>
          </a:bodyPr>
          <a:lstStyle/>
          <a:p>
            <a:pPr algn="ctr" defTabSz="685637" fontAlgn="base">
              <a:lnSpc>
                <a:spcPct val="90000"/>
              </a:lnSpc>
              <a:spcBef>
                <a:spcPct val="0"/>
              </a:spcBef>
              <a:spcAft>
                <a:spcPct val="0"/>
              </a:spcAft>
            </a:pPr>
            <a:r>
              <a:rPr lang="en-US" sz="800" b="1" dirty="0">
                <a:solidFill>
                  <a:schemeClr val="tx1">
                    <a:alpha val="99000"/>
                  </a:schemeClr>
                </a:solidFill>
              </a:rPr>
              <a:t>132.27.23.20</a:t>
            </a:r>
          </a:p>
        </p:txBody>
      </p:sp>
      <p:sp>
        <p:nvSpPr>
          <p:cNvPr id="104" name="Rectangle 103"/>
          <p:cNvSpPr/>
          <p:nvPr/>
        </p:nvSpPr>
        <p:spPr>
          <a:xfrm>
            <a:off x="1532920" y="1440416"/>
            <a:ext cx="838424" cy="183510"/>
          </a:xfrm>
          <a:prstGeom prst="rect">
            <a:avLst/>
          </a:prstGeom>
        </p:spPr>
        <p:txBody>
          <a:bodyPr wrap="none" lIns="68586" tIns="34294" rIns="68586" bIns="34294">
            <a:spAutoFit/>
          </a:bodyPr>
          <a:lstStyle/>
          <a:p>
            <a:pPr algn="ctr" defTabSz="685637" fontAlgn="base">
              <a:lnSpc>
                <a:spcPct val="90000"/>
              </a:lnSpc>
              <a:spcBef>
                <a:spcPct val="0"/>
              </a:spcBef>
              <a:spcAft>
                <a:spcPct val="0"/>
              </a:spcAft>
            </a:pPr>
            <a:r>
              <a:rPr lang="en-US" sz="800" b="1" dirty="0">
                <a:solidFill>
                  <a:schemeClr val="tx1">
                    <a:alpha val="99000"/>
                  </a:schemeClr>
                </a:solidFill>
              </a:rPr>
              <a:t>131.57.23.120</a:t>
            </a:r>
          </a:p>
        </p:txBody>
      </p:sp>
      <p:cxnSp>
        <p:nvCxnSpPr>
          <p:cNvPr id="105" name="Straight Arrow Connector 104"/>
          <p:cNvCxnSpPr/>
          <p:nvPr/>
        </p:nvCxnSpPr>
        <p:spPr>
          <a:xfrm flipH="1">
            <a:off x="2213582" y="1801841"/>
            <a:ext cx="4857916" cy="0"/>
          </a:xfrm>
          <a:prstGeom prst="straightConnector1">
            <a:avLst/>
          </a:prstGeom>
          <a:ln w="57150">
            <a:solidFill>
              <a:schemeClr val="tx1"/>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07" name="Straight Arrow Connector 106"/>
          <p:cNvCxnSpPr/>
          <p:nvPr/>
        </p:nvCxnSpPr>
        <p:spPr>
          <a:xfrm flipH="1">
            <a:off x="2220904" y="3769183"/>
            <a:ext cx="4857916" cy="0"/>
          </a:xfrm>
          <a:prstGeom prst="straightConnector1">
            <a:avLst/>
          </a:prstGeom>
          <a:ln w="57150">
            <a:solidFill>
              <a:schemeClr val="tx1"/>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sp>
        <p:nvSpPr>
          <p:cNvPr id="106"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08"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5"/>
              </a:rPr>
              <a:t>www.rapidbbs.cn</a:t>
            </a:r>
            <a:endParaRPr lang="zh-CN" altLang="en-US" sz="1200" b="0">
              <a:latin typeface="Arial" charset="0"/>
              <a:ea typeface="ＭＳ Ｐゴシック" pitchFamily="34" charset="-128"/>
            </a:endParaRPr>
          </a:p>
        </p:txBody>
      </p:sp>
      <p:pic>
        <p:nvPicPr>
          <p:cNvPr id="109" name="Picture 2">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61509603"/>
      </p:ext>
    </p:extLst>
  </p:cSld>
  <p:clrMapOvr>
    <a:masterClrMapping/>
  </p:clrMapOvr>
  <p:transition>
    <p:fade/>
  </p:transition>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F Value Props</a:t>
            </a:r>
            <a:endParaRPr lang="en-US" dirty="0"/>
          </a:p>
        </p:txBody>
      </p:sp>
      <p:pic>
        <p:nvPicPr>
          <p:cNvPr id="614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528" y="17827"/>
            <a:ext cx="3354436" cy="5143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2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39265" y="11795"/>
            <a:ext cx="3579951" cy="5143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5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37434" y="1"/>
            <a:ext cx="3926204" cy="5155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23"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88891" y="-14289"/>
            <a:ext cx="2465236" cy="51577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p:nvSpPr>
        <p:spPr bwMode="auto">
          <a:xfrm>
            <a:off x="10127" y="3917731"/>
            <a:ext cx="9144000" cy="1060230"/>
          </a:xfrm>
          <a:prstGeom prst="rect">
            <a:avLst/>
          </a:prstGeom>
          <a:solidFill>
            <a:schemeClr val="bg2">
              <a:lumMod val="75000"/>
              <a:alpha val="21000"/>
            </a:scheme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4" name="TextBox 3"/>
          <p:cNvSpPr txBox="1"/>
          <p:nvPr/>
        </p:nvSpPr>
        <p:spPr>
          <a:xfrm>
            <a:off x="78839" y="3937440"/>
            <a:ext cx="2188035" cy="892552"/>
          </a:xfrm>
          <a:prstGeom prst="rect">
            <a:avLst/>
          </a:prstGeom>
          <a:noFill/>
          <a:effectLst>
            <a:outerShdw blurRad="50800" dist="38100" dir="2700000" algn="tl" rotWithShape="0">
              <a:prstClr val="black"/>
            </a:outerShdw>
          </a:effectLst>
        </p:spPr>
        <p:txBody>
          <a:bodyPr wrap="square" lIns="0" tIns="0" rIns="0" bIns="0" rtlCol="0">
            <a:spAutoFit/>
          </a:bodyPr>
          <a:lstStyle/>
          <a:p>
            <a:r>
              <a:rPr lang="en-US" sz="2900" b="1" dirty="0">
                <a:latin typeface="Calibri" pitchFamily="34" charset="0"/>
                <a:cs typeface="Calibri" pitchFamily="34" charset="0"/>
              </a:rPr>
              <a:t>Long</a:t>
            </a:r>
          </a:p>
          <a:p>
            <a:r>
              <a:rPr lang="en-US" sz="2900" b="1" dirty="0">
                <a:latin typeface="Calibri" pitchFamily="34" charset="0"/>
                <a:cs typeface="Calibri" pitchFamily="34" charset="0"/>
              </a:rPr>
              <a:t>Running</a:t>
            </a:r>
          </a:p>
        </p:txBody>
      </p:sp>
      <p:sp>
        <p:nvSpPr>
          <p:cNvPr id="8" name="TextBox 7"/>
          <p:cNvSpPr txBox="1"/>
          <p:nvPr/>
        </p:nvSpPr>
        <p:spPr>
          <a:xfrm>
            <a:off x="2150845" y="3929555"/>
            <a:ext cx="2523140" cy="1338828"/>
          </a:xfrm>
          <a:prstGeom prst="rect">
            <a:avLst/>
          </a:prstGeom>
          <a:noFill/>
          <a:effectLst>
            <a:outerShdw blurRad="50800" dist="38100" dir="2700000" algn="tl" rotWithShape="0">
              <a:prstClr val="black"/>
            </a:outerShdw>
          </a:effectLst>
        </p:spPr>
        <p:txBody>
          <a:bodyPr wrap="square" lIns="0" tIns="0" rIns="0" bIns="0" rtlCol="0">
            <a:spAutoFit/>
          </a:bodyPr>
          <a:lstStyle/>
          <a:p>
            <a:r>
              <a:rPr lang="en-US" sz="2900" b="1" dirty="0">
                <a:latin typeface="Calibri" pitchFamily="34" charset="0"/>
                <a:cs typeface="Calibri" pitchFamily="34" charset="0"/>
              </a:rPr>
              <a:t>Composition </a:t>
            </a:r>
          </a:p>
          <a:p>
            <a:r>
              <a:rPr lang="en-US" sz="2900" b="1" dirty="0">
                <a:latin typeface="Calibri" pitchFamily="34" charset="0"/>
                <a:cs typeface="Calibri" pitchFamily="34" charset="0"/>
              </a:rPr>
              <a:t>&amp; Coordination</a:t>
            </a:r>
          </a:p>
          <a:p>
            <a:endParaRPr lang="en-US" sz="2900" b="1" dirty="0">
              <a:latin typeface="Calibri" pitchFamily="34" charset="0"/>
              <a:cs typeface="Calibri" pitchFamily="34" charset="0"/>
            </a:endParaRPr>
          </a:p>
        </p:txBody>
      </p:sp>
      <p:sp>
        <p:nvSpPr>
          <p:cNvPr id="11" name="TextBox 10"/>
          <p:cNvSpPr txBox="1"/>
          <p:nvPr/>
        </p:nvSpPr>
        <p:spPr>
          <a:xfrm>
            <a:off x="4591192" y="3961087"/>
            <a:ext cx="2523140" cy="1338828"/>
          </a:xfrm>
          <a:prstGeom prst="rect">
            <a:avLst/>
          </a:prstGeom>
          <a:noFill/>
          <a:effectLst>
            <a:outerShdw blurRad="50800" dist="38100" dir="2700000" algn="tl" rotWithShape="0">
              <a:prstClr val="black"/>
            </a:outerShdw>
          </a:effectLst>
        </p:spPr>
        <p:txBody>
          <a:bodyPr wrap="square" lIns="0" tIns="0" rIns="0" bIns="0" rtlCol="0">
            <a:spAutoFit/>
          </a:bodyPr>
          <a:lstStyle/>
          <a:p>
            <a:r>
              <a:rPr lang="en-US" sz="2900" b="1" dirty="0">
                <a:latin typeface="Calibri" pitchFamily="34" charset="0"/>
                <a:cs typeface="Calibri" pitchFamily="34" charset="0"/>
              </a:rPr>
              <a:t>Application</a:t>
            </a:r>
          </a:p>
          <a:p>
            <a:r>
              <a:rPr lang="en-US" sz="2900" b="1" dirty="0">
                <a:latin typeface="Calibri" pitchFamily="34" charset="0"/>
                <a:cs typeface="Calibri" pitchFamily="34" charset="0"/>
              </a:rPr>
              <a:t>Visibility</a:t>
            </a:r>
          </a:p>
          <a:p>
            <a:endParaRPr lang="en-US" sz="2900" b="1" dirty="0">
              <a:latin typeface="Calibri" pitchFamily="34" charset="0"/>
              <a:cs typeface="Calibri" pitchFamily="34" charset="0"/>
            </a:endParaRPr>
          </a:p>
        </p:txBody>
      </p:sp>
      <p:sp>
        <p:nvSpPr>
          <p:cNvPr id="14" name="TextBox 13"/>
          <p:cNvSpPr txBox="1"/>
          <p:nvPr/>
        </p:nvSpPr>
        <p:spPr>
          <a:xfrm>
            <a:off x="6810766" y="3961086"/>
            <a:ext cx="2523140" cy="1338828"/>
          </a:xfrm>
          <a:prstGeom prst="rect">
            <a:avLst/>
          </a:prstGeom>
          <a:noFill/>
          <a:effectLst>
            <a:outerShdw blurRad="50800" dist="38100" dir="2700000" algn="tl" rotWithShape="0">
              <a:prstClr val="black"/>
            </a:outerShdw>
          </a:effectLst>
        </p:spPr>
        <p:txBody>
          <a:bodyPr wrap="square" lIns="0" tIns="0" rIns="0" bIns="0" rtlCol="0">
            <a:spAutoFit/>
          </a:bodyPr>
          <a:lstStyle/>
          <a:p>
            <a:r>
              <a:rPr lang="en-US" sz="2900" b="1" dirty="0">
                <a:latin typeface="Calibri" pitchFamily="34" charset="0"/>
                <a:cs typeface="Calibri" pitchFamily="34" charset="0"/>
              </a:rPr>
              <a:t>Custom</a:t>
            </a:r>
          </a:p>
          <a:p>
            <a:r>
              <a:rPr lang="en-US" sz="2900" b="1" dirty="0">
                <a:latin typeface="Calibri" pitchFamily="34" charset="0"/>
                <a:cs typeface="Calibri" pitchFamily="34" charset="0"/>
              </a:rPr>
              <a:t>Authoring</a:t>
            </a:r>
          </a:p>
          <a:p>
            <a:endParaRPr lang="en-US" sz="2900" b="1" dirty="0">
              <a:latin typeface="Calibri" pitchFamily="34" charset="0"/>
              <a:cs typeface="Calibri" pitchFamily="34" charset="0"/>
            </a:endParaRPr>
          </a:p>
        </p:txBody>
      </p:sp>
      <p:sp>
        <p:nvSpPr>
          <p:cNvPr id="12"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3"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7"/>
              </a:rPr>
              <a:t>www.rapidbbs.cn</a:t>
            </a:r>
            <a:endParaRPr lang="zh-CN" altLang="en-US" sz="1200" b="0">
              <a:latin typeface="Arial" charset="0"/>
              <a:ea typeface="ＭＳ Ｐゴシック" pitchFamily="34" charset="-128"/>
            </a:endParaRPr>
          </a:p>
        </p:txBody>
      </p:sp>
      <p:pic>
        <p:nvPicPr>
          <p:cNvPr id="15" name="Picture 2">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581977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6147"/>
                                        </p:tgtEl>
                                        <p:attrNameLst>
                                          <p:attrName>style.visibility</p:attrName>
                                        </p:attrNameLst>
                                      </p:cBhvr>
                                      <p:to>
                                        <p:strVal val="visible"/>
                                      </p:to>
                                    </p:set>
                                    <p:animEffect transition="in" filter="wipe(up)">
                                      <p:cBhvr>
                                        <p:cTn id="7" dur="500"/>
                                        <p:tgtEl>
                                          <p:spTgt spid="6147"/>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up)">
                                      <p:cBhvr>
                                        <p:cTn id="11" dur="500"/>
                                        <p:tgtEl>
                                          <p:spTgt spid="4"/>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1" fill="hold" nodeType="clickEffect">
                                  <p:stCondLst>
                                    <p:cond delay="0"/>
                                  </p:stCondLst>
                                  <p:childTnLst>
                                    <p:set>
                                      <p:cBhvr>
                                        <p:cTn id="15" dur="1" fill="hold">
                                          <p:stCondLst>
                                            <p:cond delay="0"/>
                                          </p:stCondLst>
                                        </p:cTn>
                                        <p:tgtEl>
                                          <p:spTgt spid="5122"/>
                                        </p:tgtEl>
                                        <p:attrNameLst>
                                          <p:attrName>style.visibility</p:attrName>
                                        </p:attrNameLst>
                                      </p:cBhvr>
                                      <p:to>
                                        <p:strVal val="visible"/>
                                      </p:to>
                                    </p:set>
                                    <p:animEffect transition="in" filter="wipe(up)">
                                      <p:cBhvr>
                                        <p:cTn id="16" dur="500"/>
                                        <p:tgtEl>
                                          <p:spTgt spid="5122"/>
                                        </p:tgtEl>
                                      </p:cBhvr>
                                    </p:animEffect>
                                  </p:childTnLst>
                                </p:cTn>
                              </p:par>
                            </p:childTnLst>
                          </p:cTn>
                        </p:par>
                        <p:par>
                          <p:cTn id="17" fill="hold">
                            <p:stCondLst>
                              <p:cond delay="500"/>
                            </p:stCondLst>
                            <p:childTnLst>
                              <p:par>
                                <p:cTn id="18" presetID="22" presetClass="entr" presetSubtype="1" fill="hold" grpId="0" nodeType="after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wipe(up)">
                                      <p:cBhvr>
                                        <p:cTn id="20" dur="500"/>
                                        <p:tgtEl>
                                          <p:spTgt spid="8"/>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1" fill="hold" nodeType="clickEffect">
                                  <p:stCondLst>
                                    <p:cond delay="0"/>
                                  </p:stCondLst>
                                  <p:childTnLst>
                                    <p:set>
                                      <p:cBhvr>
                                        <p:cTn id="24" dur="1" fill="hold">
                                          <p:stCondLst>
                                            <p:cond delay="0"/>
                                          </p:stCondLst>
                                        </p:cTn>
                                        <p:tgtEl>
                                          <p:spTgt spid="6150"/>
                                        </p:tgtEl>
                                        <p:attrNameLst>
                                          <p:attrName>style.visibility</p:attrName>
                                        </p:attrNameLst>
                                      </p:cBhvr>
                                      <p:to>
                                        <p:strVal val="visible"/>
                                      </p:to>
                                    </p:set>
                                    <p:animEffect transition="in" filter="wipe(up)">
                                      <p:cBhvr>
                                        <p:cTn id="25" dur="500"/>
                                        <p:tgtEl>
                                          <p:spTgt spid="6150"/>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1" fill="hold" nodeType="clickEffect">
                                  <p:stCondLst>
                                    <p:cond delay="0"/>
                                  </p:stCondLst>
                                  <p:childTnLst>
                                    <p:set>
                                      <p:cBhvr>
                                        <p:cTn id="33" dur="1" fill="hold">
                                          <p:stCondLst>
                                            <p:cond delay="0"/>
                                          </p:stCondLst>
                                        </p:cTn>
                                        <p:tgtEl>
                                          <p:spTgt spid="5123"/>
                                        </p:tgtEl>
                                        <p:attrNameLst>
                                          <p:attrName>style.visibility</p:attrName>
                                        </p:attrNameLst>
                                      </p:cBhvr>
                                      <p:to>
                                        <p:strVal val="visible"/>
                                      </p:to>
                                    </p:set>
                                    <p:animEffect transition="in" filter="wipe(up)">
                                      <p:cBhvr>
                                        <p:cTn id="34" dur="500"/>
                                        <p:tgtEl>
                                          <p:spTgt spid="5123"/>
                                        </p:tgtEl>
                                      </p:cBhvr>
                                    </p:animEffect>
                                  </p:childTnLst>
                                </p:cTn>
                              </p:par>
                            </p:childTnLst>
                          </p:cTn>
                        </p:par>
                        <p:par>
                          <p:cTn id="35" fill="hold">
                            <p:stCondLst>
                              <p:cond delay="500"/>
                            </p:stCondLst>
                            <p:childTnLst>
                              <p:par>
                                <p:cTn id="36" presetID="22" presetClass="entr" presetSubtype="1" fill="hold" grpId="0" nodeType="after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8" grpId="0"/>
      <p:bldP spid="11" grpId="0"/>
      <p:bldP spid="14" grpId="0"/>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899459974"/>
              </p:ext>
            </p:extLst>
          </p:nvPr>
        </p:nvGraphicFramePr>
        <p:xfrm>
          <a:off x="1" y="1"/>
          <a:ext cx="119094" cy="119063"/>
        </p:xfrm>
        <a:graphic>
          <a:graphicData uri="http://schemas.openxmlformats.org/presentationml/2006/ole">
            <mc:AlternateContent xmlns:mc="http://schemas.openxmlformats.org/markup-compatibility/2006">
              <mc:Choice xmlns:v="urn:schemas-microsoft-com:vml" Requires="v">
                <p:oleObj spid="_x0000_s413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 y="1"/>
                        <a:ext cx="119094" cy="119063"/>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a:solidFill>
                  <a:schemeClr val="tx1"/>
                </a:solidFill>
              </a:rPr>
              <a:t>Characteristics of </a:t>
            </a:r>
            <a:r>
              <a:rPr lang="en-US" dirty="0" smtClean="0">
                <a:solidFill>
                  <a:schemeClr val="tx1"/>
                </a:solidFill>
              </a:rPr>
              <a:t>Big Data</a:t>
            </a:r>
            <a:endParaRPr lang="en-US" dirty="0">
              <a:solidFill>
                <a:schemeClr val="tx1"/>
              </a:solidFill>
            </a:endParaRPr>
          </a:p>
        </p:txBody>
      </p:sp>
      <p:sp>
        <p:nvSpPr>
          <p:cNvPr id="56" name="Round Same Side Corner Rectangle 55"/>
          <p:cNvSpPr/>
          <p:nvPr/>
        </p:nvSpPr>
        <p:spPr>
          <a:xfrm>
            <a:off x="3405797" y="859550"/>
            <a:ext cx="2332327" cy="2331720"/>
          </a:xfrm>
          <a:prstGeom prst="rect">
            <a:avLst/>
          </a:prstGeom>
          <a:solidFill>
            <a:schemeClr val="accent2"/>
          </a:solidFill>
          <a:ln w="10795" cap="flat" cmpd="sng" algn="ctr">
            <a:noFill/>
            <a:prstDash val="dash"/>
          </a:ln>
          <a:effectLst/>
        </p:spPr>
        <p:txBody>
          <a:bodyPr lIns="68586" tIns="68586" rIns="68586" bIns="68586" rtlCol="0" anchor="b"/>
          <a:lstStyle/>
          <a:p>
            <a:pPr defTabSz="685862"/>
            <a:r>
              <a:rPr lang="en-US" kern="0" dirty="0">
                <a:ln>
                  <a:solidFill>
                    <a:schemeClr val="bg1">
                      <a:alpha val="0"/>
                    </a:schemeClr>
                  </a:solidFill>
                </a:ln>
                <a:latin typeface="Segoe UI Light" pitchFamily="34" charset="0"/>
                <a:cs typeface="Arial"/>
              </a:rPr>
              <a:t>Large Data Volumes</a:t>
            </a:r>
          </a:p>
        </p:txBody>
      </p:sp>
      <p:grpSp>
        <p:nvGrpSpPr>
          <p:cNvPr id="9" name="Group 8"/>
          <p:cNvGrpSpPr/>
          <p:nvPr/>
        </p:nvGrpSpPr>
        <p:grpSpPr>
          <a:xfrm>
            <a:off x="996961" y="2059700"/>
            <a:ext cx="2332327" cy="1131570"/>
            <a:chOff x="554233" y="2746267"/>
            <a:chExt cx="3108960" cy="1508760"/>
          </a:xfrm>
        </p:grpSpPr>
        <p:sp>
          <p:nvSpPr>
            <p:cNvPr id="74" name="Round Same Side Corner Rectangle 73"/>
            <p:cNvSpPr/>
            <p:nvPr/>
          </p:nvSpPr>
          <p:spPr>
            <a:xfrm>
              <a:off x="554233" y="2746267"/>
              <a:ext cx="3108960" cy="1508760"/>
            </a:xfrm>
            <a:prstGeom prst="rect">
              <a:avLst/>
            </a:prstGeom>
            <a:solidFill>
              <a:schemeClr val="accent2"/>
            </a:solidFill>
            <a:ln w="10795" cap="flat" cmpd="sng" algn="ctr">
              <a:noFill/>
              <a:prstDash val="dash"/>
            </a:ln>
            <a:effectLst/>
          </p:spPr>
          <p:txBody>
            <a:bodyPr lIns="91440" tIns="91440" rIns="0" bIns="91440" rtlCol="0" anchor="b"/>
            <a:lstStyle/>
            <a:p>
              <a:pPr defTabSz="685862">
                <a:lnSpc>
                  <a:spcPct val="80000"/>
                </a:lnSpc>
              </a:pPr>
              <a:r>
                <a:rPr lang="en-US" sz="1700" kern="0" spc="-75" dirty="0">
                  <a:ln>
                    <a:solidFill>
                      <a:schemeClr val="bg1">
                        <a:alpha val="0"/>
                      </a:schemeClr>
                    </a:solidFill>
                  </a:ln>
                  <a:latin typeface="Segoe UI Light" pitchFamily="34" charset="0"/>
                  <a:cs typeface="Arial"/>
                </a:rPr>
                <a:t>Non-traditional Data Types</a:t>
              </a:r>
            </a:p>
          </p:txBody>
        </p:sp>
        <p:pic>
          <p:nvPicPr>
            <p:cNvPr id="117" name="Picture 116" descr="non.png"/>
            <p:cNvPicPr>
              <a:picLocks noChangeAspect="1"/>
            </p:cNvPicPr>
            <p:nvPr/>
          </p:nvPicPr>
          <p:blipFill>
            <a:blip r:embed="rId7" cstate="print"/>
            <a:stretch>
              <a:fillRect/>
            </a:stretch>
          </p:blipFill>
          <p:spPr>
            <a:xfrm>
              <a:off x="1454031" y="2978568"/>
              <a:ext cx="1309364" cy="741172"/>
            </a:xfrm>
            <a:prstGeom prst="rect">
              <a:avLst/>
            </a:prstGeom>
            <a:effectLst/>
          </p:spPr>
        </p:pic>
      </p:grpSp>
      <p:sp>
        <p:nvSpPr>
          <p:cNvPr id="134" name="Isosceles Triangle 133"/>
          <p:cNvSpPr/>
          <p:nvPr/>
        </p:nvSpPr>
        <p:spPr bwMode="auto">
          <a:xfrm rot="10800000">
            <a:off x="996958" y="3191272"/>
            <a:ext cx="7146861" cy="429020"/>
          </a:xfrm>
          <a:prstGeom prst="triangle">
            <a:avLst/>
          </a:prstGeom>
          <a:solidFill>
            <a:schemeClr val="bg2">
              <a:lumMod val="90000"/>
            </a:schemeClr>
          </a:solidFill>
          <a:ln>
            <a:noFill/>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noAutofit/>
          </a:bodyPr>
          <a:lstStyle/>
          <a:p>
            <a:pPr algn="ctr" defTabSz="685637" fontAlgn="base">
              <a:spcBef>
                <a:spcPct val="0"/>
              </a:spcBef>
              <a:spcAft>
                <a:spcPct val="0"/>
              </a:spcAft>
            </a:pPr>
            <a:endParaRPr lang="en-US" sz="1500" dirty="0">
              <a:solidFill>
                <a:schemeClr val="tx1"/>
              </a:solidFill>
            </a:endParaRPr>
          </a:p>
        </p:txBody>
      </p:sp>
      <p:sp>
        <p:nvSpPr>
          <p:cNvPr id="135" name="Round Same Side Corner Rectangle 73"/>
          <p:cNvSpPr/>
          <p:nvPr/>
        </p:nvSpPr>
        <p:spPr>
          <a:xfrm>
            <a:off x="996958" y="3700396"/>
            <a:ext cx="7146861" cy="1234440"/>
          </a:xfrm>
          <a:prstGeom prst="rect">
            <a:avLst/>
          </a:prstGeom>
          <a:solidFill>
            <a:schemeClr val="accent4"/>
          </a:solidFill>
          <a:ln w="10795" cap="flat" cmpd="sng" algn="ctr">
            <a:noFill/>
            <a:prstDash val="dash"/>
          </a:ln>
          <a:effectLst/>
        </p:spPr>
        <p:txBody>
          <a:bodyPr lIns="68586" tIns="68586" rIns="68586" bIns="68586" rtlCol="0" anchor="ctr" anchorCtr="0"/>
          <a:lstStyle/>
          <a:p>
            <a:pPr defTabSz="685862">
              <a:defRPr/>
            </a:pPr>
            <a:r>
              <a:rPr lang="en-US" sz="2700" kern="0" dirty="0">
                <a:ln>
                  <a:solidFill>
                    <a:schemeClr val="bg1">
                      <a:alpha val="0"/>
                    </a:schemeClr>
                  </a:solidFill>
                </a:ln>
                <a:latin typeface="Segoe UI Light" pitchFamily="34" charset="0"/>
                <a:cs typeface="Arial"/>
              </a:rPr>
              <a:t>New Questions &amp; New Insights</a:t>
            </a:r>
          </a:p>
        </p:txBody>
      </p:sp>
      <p:pic>
        <p:nvPicPr>
          <p:cNvPr id="137" name="Picture 136" descr="QI.png"/>
          <p:cNvPicPr>
            <a:picLocks noChangeAspect="1"/>
          </p:cNvPicPr>
          <p:nvPr/>
        </p:nvPicPr>
        <p:blipFill>
          <a:blip r:embed="rId8" cstate="print">
            <a:biLevel thresh="25000"/>
            <a:extLst>
              <a:ext uri="{BEBA8EAE-BF5A-486C-A8C5-ECC9F3942E4B}">
                <a14:imgProps xmlns:a14="http://schemas.microsoft.com/office/drawing/2010/main">
                  <a14:imgLayer r:embed="rId9">
                    <a14:imgEffect>
                      <a14:colorTemperature colorTemp="5300"/>
                    </a14:imgEffect>
                    <a14:imgEffect>
                      <a14:saturation sat="200000"/>
                    </a14:imgEffect>
                  </a14:imgLayer>
                </a14:imgProps>
              </a:ext>
            </a:extLst>
          </a:blip>
          <a:stretch>
            <a:fillRect/>
          </a:stretch>
        </p:blipFill>
        <p:spPr>
          <a:xfrm>
            <a:off x="6055700" y="3771901"/>
            <a:ext cx="1350322" cy="1056026"/>
          </a:xfrm>
          <a:prstGeom prst="rect">
            <a:avLst/>
          </a:prstGeom>
          <a:effectLst/>
        </p:spPr>
      </p:pic>
      <p:grpSp>
        <p:nvGrpSpPr>
          <p:cNvPr id="10" name="Group 9"/>
          <p:cNvGrpSpPr/>
          <p:nvPr/>
        </p:nvGrpSpPr>
        <p:grpSpPr>
          <a:xfrm>
            <a:off x="5811493" y="859550"/>
            <a:ext cx="2332327" cy="1131570"/>
            <a:chOff x="7999412" y="1146067"/>
            <a:chExt cx="3108960" cy="1508760"/>
          </a:xfrm>
        </p:grpSpPr>
        <p:sp>
          <p:nvSpPr>
            <p:cNvPr id="48" name="Round Same Side Corner Rectangle 73"/>
            <p:cNvSpPr/>
            <p:nvPr/>
          </p:nvSpPr>
          <p:spPr>
            <a:xfrm>
              <a:off x="7999412" y="1146067"/>
              <a:ext cx="3108960" cy="1508760"/>
            </a:xfrm>
            <a:prstGeom prst="rect">
              <a:avLst/>
            </a:prstGeom>
            <a:solidFill>
              <a:schemeClr val="accent2"/>
            </a:solidFill>
            <a:ln w="10795" cap="flat" cmpd="sng" algn="ctr">
              <a:noFill/>
              <a:prstDash val="dash"/>
            </a:ln>
            <a:effectLst/>
          </p:spPr>
          <p:txBody>
            <a:bodyPr lIns="91440" tIns="91440" rIns="91440" bIns="91440" rtlCol="0" anchor="b"/>
            <a:lstStyle/>
            <a:p>
              <a:pPr defTabSz="685862">
                <a:lnSpc>
                  <a:spcPct val="80000"/>
                </a:lnSpc>
              </a:pPr>
              <a:r>
                <a:rPr lang="en-US" kern="0" dirty="0">
                  <a:ln>
                    <a:solidFill>
                      <a:schemeClr val="bg1">
                        <a:alpha val="0"/>
                      </a:schemeClr>
                    </a:solidFill>
                  </a:ln>
                  <a:latin typeface="Segoe UI Light" pitchFamily="34" charset="0"/>
                  <a:cs typeface="Arial"/>
                </a:rPr>
                <a:t>New Technologies</a:t>
              </a:r>
            </a:p>
          </p:txBody>
        </p:sp>
        <p:sp>
          <p:nvSpPr>
            <p:cNvPr id="33" name="Freeform 84"/>
            <p:cNvSpPr>
              <a:spLocks noEditPoints="1"/>
            </p:cNvSpPr>
            <p:nvPr/>
          </p:nvSpPr>
          <p:spPr bwMode="black">
            <a:xfrm>
              <a:off x="9224918" y="1324631"/>
              <a:ext cx="657948" cy="78652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35" name="Freeform 83"/>
          <p:cNvSpPr>
            <a:spLocks noEditPoints="1"/>
          </p:cNvSpPr>
          <p:nvPr/>
        </p:nvSpPr>
        <p:spPr bwMode="black">
          <a:xfrm>
            <a:off x="3994348" y="1283428"/>
            <a:ext cx="1147650" cy="1211175"/>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61735" tIns="30867" rIns="61735" bIns="30867" numCol="1" anchor="t" anchorCtr="0" compatLnSpc="1">
            <a:prstTxWarp prst="textNoShape">
              <a:avLst/>
            </a:prstTxWarp>
          </a:bodyPr>
          <a:lstStyle/>
          <a:p>
            <a:endParaRPr lang="en-US" sz="1200"/>
          </a:p>
        </p:txBody>
      </p:sp>
      <p:grpSp>
        <p:nvGrpSpPr>
          <p:cNvPr id="8" name="Group 7"/>
          <p:cNvGrpSpPr/>
          <p:nvPr/>
        </p:nvGrpSpPr>
        <p:grpSpPr>
          <a:xfrm>
            <a:off x="996961" y="859550"/>
            <a:ext cx="2332327" cy="1131570"/>
            <a:chOff x="554233" y="1146067"/>
            <a:chExt cx="3108960" cy="1508760"/>
          </a:xfrm>
        </p:grpSpPr>
        <p:sp>
          <p:nvSpPr>
            <p:cNvPr id="45" name="Round Same Side Corner Rectangle 73"/>
            <p:cNvSpPr/>
            <p:nvPr/>
          </p:nvSpPr>
          <p:spPr>
            <a:xfrm>
              <a:off x="554233" y="1146067"/>
              <a:ext cx="3108960" cy="1508760"/>
            </a:xfrm>
            <a:prstGeom prst="rect">
              <a:avLst/>
            </a:prstGeom>
            <a:solidFill>
              <a:schemeClr val="accent2"/>
            </a:solidFill>
            <a:ln w="10795" cap="flat" cmpd="sng" algn="ctr">
              <a:noFill/>
              <a:prstDash val="dash"/>
            </a:ln>
            <a:effectLst/>
          </p:spPr>
          <p:txBody>
            <a:bodyPr lIns="91440" tIns="91440" rIns="91440" bIns="91440" rtlCol="0" anchor="b"/>
            <a:lstStyle/>
            <a:p>
              <a:pPr defTabSz="685862">
                <a:lnSpc>
                  <a:spcPct val="80000"/>
                </a:lnSpc>
              </a:pPr>
              <a:r>
                <a:rPr lang="en-US" kern="0" dirty="0">
                  <a:ln>
                    <a:solidFill>
                      <a:schemeClr val="bg1">
                        <a:alpha val="0"/>
                      </a:schemeClr>
                    </a:solidFill>
                  </a:ln>
                  <a:latin typeface="Segoe UI Light" pitchFamily="34" charset="0"/>
                  <a:cs typeface="Arial"/>
                </a:rPr>
                <a:t>New Data Sources </a:t>
              </a:r>
            </a:p>
          </p:txBody>
        </p:sp>
        <p:sp>
          <p:nvSpPr>
            <p:cNvPr id="36" name="Freeform 7"/>
            <p:cNvSpPr>
              <a:spLocks/>
            </p:cNvSpPr>
            <p:nvPr/>
          </p:nvSpPr>
          <p:spPr bwMode="auto">
            <a:xfrm>
              <a:off x="1545628" y="1451631"/>
              <a:ext cx="1126170" cy="600921"/>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ln w="18415" cmpd="sng">
                  <a:solidFill>
                    <a:srgbClr val="FFFFFF"/>
                  </a:solidFill>
                  <a:prstDash val="solid"/>
                </a:ln>
                <a:effectLst>
                  <a:outerShdw blurRad="63500" dir="3600000" algn="tl" rotWithShape="0">
                    <a:srgbClr val="000000">
                      <a:alpha val="70000"/>
                    </a:srgbClr>
                  </a:outerShdw>
                </a:effectLst>
              </a:endParaRPr>
            </a:p>
          </p:txBody>
        </p:sp>
      </p:grpSp>
      <p:grpSp>
        <p:nvGrpSpPr>
          <p:cNvPr id="11" name="Group 10"/>
          <p:cNvGrpSpPr/>
          <p:nvPr/>
        </p:nvGrpSpPr>
        <p:grpSpPr>
          <a:xfrm>
            <a:off x="5811493" y="2059700"/>
            <a:ext cx="2332327" cy="1131570"/>
            <a:chOff x="7999412" y="2746267"/>
            <a:chExt cx="3108960" cy="1508760"/>
          </a:xfrm>
        </p:grpSpPr>
        <p:sp>
          <p:nvSpPr>
            <p:cNvPr id="49" name="Round Same Side Corner Rectangle 73"/>
            <p:cNvSpPr/>
            <p:nvPr/>
          </p:nvSpPr>
          <p:spPr>
            <a:xfrm>
              <a:off x="7999412" y="2746267"/>
              <a:ext cx="3108960" cy="1508760"/>
            </a:xfrm>
            <a:prstGeom prst="rect">
              <a:avLst/>
            </a:prstGeom>
            <a:solidFill>
              <a:schemeClr val="accent2"/>
            </a:solidFill>
            <a:ln w="10795" cap="flat" cmpd="sng" algn="ctr">
              <a:noFill/>
              <a:prstDash val="dash"/>
            </a:ln>
            <a:effectLst/>
          </p:spPr>
          <p:txBody>
            <a:bodyPr lIns="91440" tIns="91440" rIns="0" bIns="91440" rtlCol="0" anchor="b"/>
            <a:lstStyle/>
            <a:p>
              <a:pPr defTabSz="685862">
                <a:lnSpc>
                  <a:spcPct val="80000"/>
                </a:lnSpc>
              </a:pPr>
              <a:r>
                <a:rPr lang="en-US" kern="0" dirty="0">
                  <a:ln>
                    <a:solidFill>
                      <a:schemeClr val="bg1">
                        <a:alpha val="0"/>
                      </a:schemeClr>
                    </a:solidFill>
                  </a:ln>
                  <a:latin typeface="Segoe UI Light" pitchFamily="34" charset="0"/>
                  <a:cs typeface="Arial"/>
                </a:rPr>
                <a:t>New Economics</a:t>
              </a:r>
            </a:p>
          </p:txBody>
        </p:sp>
        <p:sp>
          <p:nvSpPr>
            <p:cNvPr id="7" name="Freeform 27"/>
            <p:cNvSpPr>
              <a:spLocks noEditPoints="1"/>
            </p:cNvSpPr>
            <p:nvPr/>
          </p:nvSpPr>
          <p:spPr bwMode="auto">
            <a:xfrm>
              <a:off x="9072620" y="3001186"/>
              <a:ext cx="962545" cy="673321"/>
            </a:xfrm>
            <a:custGeom>
              <a:avLst/>
              <a:gdLst>
                <a:gd name="T0" fmla="*/ 30 w 176"/>
                <a:gd name="T1" fmla="*/ 0 h 123"/>
                <a:gd name="T2" fmla="*/ 0 w 176"/>
                <a:gd name="T3" fmla="*/ 31 h 123"/>
                <a:gd name="T4" fmla="*/ 0 w 176"/>
                <a:gd name="T5" fmla="*/ 93 h 123"/>
                <a:gd name="T6" fmla="*/ 30 w 176"/>
                <a:gd name="T7" fmla="*/ 123 h 123"/>
                <a:gd name="T8" fmla="*/ 176 w 176"/>
                <a:gd name="T9" fmla="*/ 123 h 123"/>
                <a:gd name="T10" fmla="*/ 176 w 176"/>
                <a:gd name="T11" fmla="*/ 0 h 123"/>
                <a:gd name="T12" fmla="*/ 30 w 176"/>
                <a:gd name="T13" fmla="*/ 0 h 123"/>
                <a:gd name="T14" fmla="*/ 21 w 176"/>
                <a:gd name="T15" fmla="*/ 69 h 123"/>
                <a:gd name="T16" fmla="*/ 13 w 176"/>
                <a:gd name="T17" fmla="*/ 61 h 123"/>
                <a:gd name="T18" fmla="*/ 21 w 176"/>
                <a:gd name="T19" fmla="*/ 54 h 123"/>
                <a:gd name="T20" fmla="*/ 28 w 176"/>
                <a:gd name="T21" fmla="*/ 61 h 123"/>
                <a:gd name="T22" fmla="*/ 21 w 176"/>
                <a:gd name="T23" fmla="*/ 69 h 123"/>
                <a:gd name="T24" fmla="*/ 106 w 176"/>
                <a:gd name="T25" fmla="*/ 96 h 123"/>
                <a:gd name="T26" fmla="*/ 106 w 176"/>
                <a:gd name="T27" fmla="*/ 108 h 123"/>
                <a:gd name="T28" fmla="*/ 99 w 176"/>
                <a:gd name="T29" fmla="*/ 108 h 123"/>
                <a:gd name="T30" fmla="*/ 99 w 176"/>
                <a:gd name="T31" fmla="*/ 96 h 123"/>
                <a:gd name="T32" fmla="*/ 82 w 176"/>
                <a:gd name="T33" fmla="*/ 91 h 123"/>
                <a:gd name="T34" fmla="*/ 85 w 176"/>
                <a:gd name="T35" fmla="*/ 84 h 123"/>
                <a:gd name="T36" fmla="*/ 101 w 176"/>
                <a:gd name="T37" fmla="*/ 89 h 123"/>
                <a:gd name="T38" fmla="*/ 114 w 176"/>
                <a:gd name="T39" fmla="*/ 77 h 123"/>
                <a:gd name="T40" fmla="*/ 101 w 176"/>
                <a:gd name="T41" fmla="*/ 64 h 123"/>
                <a:gd name="T42" fmla="*/ 83 w 176"/>
                <a:gd name="T43" fmla="*/ 44 h 123"/>
                <a:gd name="T44" fmla="*/ 100 w 176"/>
                <a:gd name="T45" fmla="*/ 26 h 123"/>
                <a:gd name="T46" fmla="*/ 100 w 176"/>
                <a:gd name="T47" fmla="*/ 15 h 123"/>
                <a:gd name="T48" fmla="*/ 107 w 176"/>
                <a:gd name="T49" fmla="*/ 15 h 123"/>
                <a:gd name="T50" fmla="*/ 107 w 176"/>
                <a:gd name="T51" fmla="*/ 26 h 123"/>
                <a:gd name="T52" fmla="*/ 122 w 176"/>
                <a:gd name="T53" fmla="*/ 30 h 123"/>
                <a:gd name="T54" fmla="*/ 119 w 176"/>
                <a:gd name="T55" fmla="*/ 37 h 123"/>
                <a:gd name="T56" fmla="*/ 105 w 176"/>
                <a:gd name="T57" fmla="*/ 33 h 123"/>
                <a:gd name="T58" fmla="*/ 93 w 176"/>
                <a:gd name="T59" fmla="*/ 43 h 123"/>
                <a:gd name="T60" fmla="*/ 107 w 176"/>
                <a:gd name="T61" fmla="*/ 56 h 123"/>
                <a:gd name="T62" fmla="*/ 124 w 176"/>
                <a:gd name="T63" fmla="*/ 77 h 123"/>
                <a:gd name="T64" fmla="*/ 106 w 176"/>
                <a:gd name="T65" fmla="*/ 9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6" h="123">
                  <a:moveTo>
                    <a:pt x="30" y="0"/>
                  </a:moveTo>
                  <a:cubicBezTo>
                    <a:pt x="30" y="0"/>
                    <a:pt x="30" y="0"/>
                    <a:pt x="0" y="31"/>
                  </a:cubicBezTo>
                  <a:cubicBezTo>
                    <a:pt x="0" y="31"/>
                    <a:pt x="0" y="31"/>
                    <a:pt x="0" y="93"/>
                  </a:cubicBezTo>
                  <a:cubicBezTo>
                    <a:pt x="0" y="93"/>
                    <a:pt x="0" y="93"/>
                    <a:pt x="30" y="123"/>
                  </a:cubicBezTo>
                  <a:cubicBezTo>
                    <a:pt x="30" y="123"/>
                    <a:pt x="30" y="123"/>
                    <a:pt x="176" y="123"/>
                  </a:cubicBezTo>
                  <a:cubicBezTo>
                    <a:pt x="176" y="0"/>
                    <a:pt x="176" y="0"/>
                    <a:pt x="176" y="0"/>
                  </a:cubicBezTo>
                  <a:cubicBezTo>
                    <a:pt x="176" y="0"/>
                    <a:pt x="176" y="0"/>
                    <a:pt x="30" y="0"/>
                  </a:cubicBezTo>
                  <a:close/>
                  <a:moveTo>
                    <a:pt x="21" y="69"/>
                  </a:moveTo>
                  <a:cubicBezTo>
                    <a:pt x="16" y="69"/>
                    <a:pt x="13" y="66"/>
                    <a:pt x="13" y="61"/>
                  </a:cubicBezTo>
                  <a:cubicBezTo>
                    <a:pt x="13" y="57"/>
                    <a:pt x="16" y="54"/>
                    <a:pt x="21" y="54"/>
                  </a:cubicBezTo>
                  <a:cubicBezTo>
                    <a:pt x="25" y="54"/>
                    <a:pt x="28" y="57"/>
                    <a:pt x="28" y="61"/>
                  </a:cubicBezTo>
                  <a:cubicBezTo>
                    <a:pt x="28" y="66"/>
                    <a:pt x="25" y="69"/>
                    <a:pt x="21" y="69"/>
                  </a:cubicBezTo>
                  <a:close/>
                  <a:moveTo>
                    <a:pt x="106" y="96"/>
                  </a:moveTo>
                  <a:cubicBezTo>
                    <a:pt x="106" y="108"/>
                    <a:pt x="106" y="108"/>
                    <a:pt x="106" y="108"/>
                  </a:cubicBezTo>
                  <a:cubicBezTo>
                    <a:pt x="99" y="108"/>
                    <a:pt x="99" y="108"/>
                    <a:pt x="99" y="108"/>
                  </a:cubicBezTo>
                  <a:cubicBezTo>
                    <a:pt x="99" y="96"/>
                    <a:pt x="99" y="96"/>
                    <a:pt x="99" y="96"/>
                  </a:cubicBezTo>
                  <a:cubicBezTo>
                    <a:pt x="93" y="96"/>
                    <a:pt x="86" y="94"/>
                    <a:pt x="82" y="91"/>
                  </a:cubicBezTo>
                  <a:cubicBezTo>
                    <a:pt x="85" y="84"/>
                    <a:pt x="85" y="84"/>
                    <a:pt x="85" y="84"/>
                  </a:cubicBezTo>
                  <a:cubicBezTo>
                    <a:pt x="89" y="86"/>
                    <a:pt x="94" y="89"/>
                    <a:pt x="101" y="89"/>
                  </a:cubicBezTo>
                  <a:cubicBezTo>
                    <a:pt x="109" y="89"/>
                    <a:pt x="114" y="84"/>
                    <a:pt x="114" y="77"/>
                  </a:cubicBezTo>
                  <a:cubicBezTo>
                    <a:pt x="114" y="71"/>
                    <a:pt x="110" y="67"/>
                    <a:pt x="101" y="64"/>
                  </a:cubicBezTo>
                  <a:cubicBezTo>
                    <a:pt x="90" y="59"/>
                    <a:pt x="83" y="54"/>
                    <a:pt x="83" y="44"/>
                  </a:cubicBezTo>
                  <a:cubicBezTo>
                    <a:pt x="83" y="35"/>
                    <a:pt x="89" y="28"/>
                    <a:pt x="100" y="26"/>
                  </a:cubicBezTo>
                  <a:cubicBezTo>
                    <a:pt x="100" y="15"/>
                    <a:pt x="100" y="15"/>
                    <a:pt x="100" y="15"/>
                  </a:cubicBezTo>
                  <a:cubicBezTo>
                    <a:pt x="107" y="15"/>
                    <a:pt x="107" y="15"/>
                    <a:pt x="107" y="15"/>
                  </a:cubicBezTo>
                  <a:cubicBezTo>
                    <a:pt x="107" y="26"/>
                    <a:pt x="107" y="26"/>
                    <a:pt x="107" y="26"/>
                  </a:cubicBezTo>
                  <a:cubicBezTo>
                    <a:pt x="114" y="26"/>
                    <a:pt x="118" y="28"/>
                    <a:pt x="122" y="30"/>
                  </a:cubicBezTo>
                  <a:cubicBezTo>
                    <a:pt x="119" y="37"/>
                    <a:pt x="119" y="37"/>
                    <a:pt x="119" y="37"/>
                  </a:cubicBezTo>
                  <a:cubicBezTo>
                    <a:pt x="116" y="36"/>
                    <a:pt x="112" y="33"/>
                    <a:pt x="105" y="33"/>
                  </a:cubicBezTo>
                  <a:cubicBezTo>
                    <a:pt x="96" y="33"/>
                    <a:pt x="93" y="38"/>
                    <a:pt x="93" y="43"/>
                  </a:cubicBezTo>
                  <a:cubicBezTo>
                    <a:pt x="93" y="49"/>
                    <a:pt x="97" y="52"/>
                    <a:pt x="107" y="56"/>
                  </a:cubicBezTo>
                  <a:cubicBezTo>
                    <a:pt x="118" y="61"/>
                    <a:pt x="124" y="66"/>
                    <a:pt x="124" y="77"/>
                  </a:cubicBezTo>
                  <a:cubicBezTo>
                    <a:pt x="124" y="86"/>
                    <a:pt x="118" y="94"/>
                    <a:pt x="106"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2"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0"/>
              </a:rPr>
              <a:t>www.rapidbbs.cn</a:t>
            </a:r>
            <a:endParaRPr lang="zh-CN" altLang="en-US" sz="1200" b="0">
              <a:latin typeface="Arial" charset="0"/>
              <a:ea typeface="ＭＳ Ｐゴシック" pitchFamily="34" charset="-128"/>
            </a:endParaRPr>
          </a:p>
        </p:txBody>
      </p:sp>
      <p:pic>
        <p:nvPicPr>
          <p:cNvPr id="23" name="Picture 2">
            <a:hlinkClick r:id="rId10"/>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5224482"/>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smtClean="0"/>
              <a:t>video</a:t>
            </a:r>
            <a:endParaRPr lang="en-US" dirty="0"/>
          </a:p>
        </p:txBody>
      </p:sp>
      <p:sp>
        <p:nvSpPr>
          <p:cNvPr id="3" name="Subtitle 2"/>
          <p:cNvSpPr>
            <a:spLocks noGrp="1"/>
          </p:cNvSpPr>
          <p:nvPr>
            <p:ph type="subTitle" idx="1"/>
          </p:nvPr>
        </p:nvSpPr>
        <p:spPr>
          <a:xfrm>
            <a:off x="3135106" y="3771906"/>
            <a:ext cx="4959201" cy="460549"/>
          </a:xfrm>
        </p:spPr>
        <p:txBody>
          <a:bodyPr/>
          <a:lstStyle/>
          <a:p>
            <a:r>
              <a:rPr lang="en-US" dirty="0"/>
              <a:t>Tim Huckaby</a:t>
            </a:r>
          </a:p>
          <a:p>
            <a:r>
              <a:rPr lang="en-US" dirty="0"/>
              <a:t>Founder / Chairman, InterKnowlogy</a:t>
            </a:r>
          </a:p>
          <a:p>
            <a:r>
              <a:rPr lang="en-US" dirty="0"/>
              <a:t>Founder / CEO, Actus Software</a:t>
            </a:r>
          </a:p>
          <a:p>
            <a:r>
              <a:rPr lang="en-US" dirty="0"/>
              <a:t>Microsoft RD &amp; MVP</a:t>
            </a:r>
          </a:p>
          <a:p>
            <a:endParaRPr lang="en-US" dirty="0"/>
          </a:p>
          <a:p>
            <a:endParaRPr lang="en-US" dirty="0"/>
          </a:p>
          <a:p>
            <a:endParaRPr lang="en-US" dirty="0"/>
          </a:p>
          <a:p>
            <a:endParaRPr lang="en-US" dirty="0"/>
          </a:p>
        </p:txBody>
      </p:sp>
      <p:sp>
        <p:nvSpPr>
          <p:cNvPr id="2" name="Title 1"/>
          <p:cNvSpPr>
            <a:spLocks noGrp="1"/>
          </p:cNvSpPr>
          <p:nvPr>
            <p:ph type="ctrTitle"/>
          </p:nvPr>
        </p:nvSpPr>
        <p:spPr>
          <a:xfrm>
            <a:off x="3135105" y="2390358"/>
            <a:ext cx="2694522" cy="1142621"/>
          </a:xfrm>
        </p:spPr>
        <p:txBody>
          <a:bodyPr/>
          <a:lstStyle/>
          <a:p>
            <a:r>
              <a:rPr dirty="0" smtClean="0"/>
              <a:t>Grey's Anatomy</a:t>
            </a:r>
            <a:endParaRPr lang="en-US" dirty="0"/>
          </a:p>
        </p:txBody>
      </p:sp>
      <p:sp useBgFill="1">
        <p:nvSpPr>
          <p:cNvPr id="5" name="MASK bottom"/>
          <p:cNvSpPr/>
          <p:nvPr/>
        </p:nvSpPr>
        <p:spPr bwMode="auto">
          <a:xfrm>
            <a:off x="2914218" y="4514850"/>
            <a:ext cx="6229782" cy="62865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useBgFill="1">
        <p:nvSpPr>
          <p:cNvPr id="6" name="MASK top"/>
          <p:cNvSpPr/>
          <p:nvPr/>
        </p:nvSpPr>
        <p:spPr bwMode="auto">
          <a:xfrm>
            <a:off x="2914218" y="0"/>
            <a:ext cx="6229782" cy="112849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9"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0"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pic>
        <p:nvPicPr>
          <p:cNvPr id="11"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24517103"/>
      </p:ext>
    </p:extLst>
  </p:cSld>
  <p:clrMapOvr>
    <a:masterClrMapping/>
  </p:clrMapOvr>
  <p:transition spd="slow">
    <p:fade/>
  </p:transition>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re Data From: Internet, Internet of Things</a:t>
            </a:r>
            <a:endParaRPr lang="en-US" dirty="0"/>
          </a:p>
        </p:txBody>
      </p:sp>
      <p:grpSp>
        <p:nvGrpSpPr>
          <p:cNvPr id="9" name="Group 8"/>
          <p:cNvGrpSpPr/>
          <p:nvPr/>
        </p:nvGrpSpPr>
        <p:grpSpPr>
          <a:xfrm>
            <a:off x="872396" y="1076460"/>
            <a:ext cx="4860592" cy="3718102"/>
            <a:chOff x="1162892" y="1435280"/>
            <a:chExt cx="6479102" cy="4957469"/>
          </a:xfrm>
        </p:grpSpPr>
        <p:sp>
          <p:nvSpPr>
            <p:cNvPr id="3" name="Rectangle 2"/>
            <p:cNvSpPr/>
            <p:nvPr/>
          </p:nvSpPr>
          <p:spPr bwMode="auto">
            <a:xfrm>
              <a:off x="1162892" y="149996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685609" fontAlgn="base">
                <a:lnSpc>
                  <a:spcPct val="80000"/>
                </a:lnSpc>
                <a:spcBef>
                  <a:spcPct val="0"/>
                </a:spcBef>
                <a:spcAft>
                  <a:spcPct val="0"/>
                </a:spcAft>
              </a:pPr>
              <a:r>
                <a:rPr lang="en-US" sz="2400" b="1"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Internet of things</a:t>
              </a:r>
            </a:p>
          </p:txBody>
        </p:sp>
        <p:sp>
          <p:nvSpPr>
            <p:cNvPr id="4" name="Rectangle 3"/>
            <p:cNvSpPr/>
            <p:nvPr/>
          </p:nvSpPr>
          <p:spPr bwMode="auto">
            <a:xfrm>
              <a:off x="1162892" y="317235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09" fontAlgn="base">
                <a:lnSpc>
                  <a:spcPct val="80000"/>
                </a:lnSpc>
                <a:spcBef>
                  <a:spcPct val="0"/>
                </a:spcBef>
                <a:spcAft>
                  <a:spcPct val="0"/>
                </a:spcAft>
              </a:pP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 name="Rectangle 4"/>
            <p:cNvSpPr/>
            <p:nvPr/>
          </p:nvSpPr>
          <p:spPr bwMode="auto">
            <a:xfrm>
              <a:off x="2811346" y="149996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09" fontAlgn="base">
                <a:lnSpc>
                  <a:spcPct val="80000"/>
                </a:lnSpc>
                <a:spcBef>
                  <a:spcPct val="0"/>
                </a:spcBef>
                <a:spcAft>
                  <a:spcPct val="0"/>
                </a:spcAft>
              </a:pP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 name="Rectangle 5"/>
            <p:cNvSpPr/>
            <p:nvPr/>
          </p:nvSpPr>
          <p:spPr bwMode="auto">
            <a:xfrm>
              <a:off x="4447514" y="317235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09" fontAlgn="base">
                <a:lnSpc>
                  <a:spcPct val="80000"/>
                </a:lnSpc>
                <a:spcBef>
                  <a:spcPct val="0"/>
                </a:spcBef>
                <a:spcAft>
                  <a:spcPct val="0"/>
                </a:spcAft>
              </a:pP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7" name="Rectangle 6"/>
            <p:cNvSpPr/>
            <p:nvPr/>
          </p:nvSpPr>
          <p:spPr bwMode="auto">
            <a:xfrm>
              <a:off x="2811346" y="317235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09" fontAlgn="base">
                <a:lnSpc>
                  <a:spcPct val="80000"/>
                </a:lnSpc>
                <a:spcBef>
                  <a:spcPct val="0"/>
                </a:spcBef>
                <a:spcAft>
                  <a:spcPct val="0"/>
                </a:spcAft>
              </a:pP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8" name="Rectangle 7"/>
            <p:cNvSpPr/>
            <p:nvPr/>
          </p:nvSpPr>
          <p:spPr bwMode="auto">
            <a:xfrm>
              <a:off x="4447514" y="149996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09" fontAlgn="base">
                <a:lnSpc>
                  <a:spcPct val="80000"/>
                </a:lnSpc>
                <a:spcBef>
                  <a:spcPct val="0"/>
                </a:spcBef>
                <a:spcAft>
                  <a:spcPct val="0"/>
                </a:spcAft>
              </a:pP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8" name="Rectangle 17"/>
            <p:cNvSpPr/>
            <p:nvPr/>
          </p:nvSpPr>
          <p:spPr bwMode="auto">
            <a:xfrm>
              <a:off x="6093994" y="1502762"/>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09" fontAlgn="base">
                <a:lnSpc>
                  <a:spcPct val="80000"/>
                </a:lnSpc>
                <a:spcBef>
                  <a:spcPct val="0"/>
                </a:spcBef>
                <a:spcAft>
                  <a:spcPct val="0"/>
                </a:spcAft>
              </a:pP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7" name="Rectangle 26"/>
            <p:cNvSpPr/>
            <p:nvPr/>
          </p:nvSpPr>
          <p:spPr bwMode="auto">
            <a:xfrm>
              <a:off x="2811346" y="2543968"/>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20" tIns="45720" rIns="45720" bIns="45720" numCol="1" rtlCol="0" anchor="ctr" anchorCtr="0" compatLnSpc="1">
              <a:prstTxWarp prst="textNoShape">
                <a:avLst/>
              </a:prstTxWarp>
            </a:bodyPr>
            <a:lstStyle/>
            <a:p>
              <a:pPr algn="ctr" defTabSz="685609" fontAlgn="base">
                <a:spcBef>
                  <a:spcPct val="0"/>
                </a:spcBef>
                <a:spcAft>
                  <a:spcPct val="0"/>
                </a:spcAft>
              </a:pPr>
              <a:r>
                <a:rPr lang="en-US" sz="1200" spc="-113" dirty="0">
                  <a:solidFill>
                    <a:schemeClr val="tx1">
                      <a:alpha val="99000"/>
                    </a:schemeClr>
                  </a:solidFill>
                </a:rPr>
                <a:t>Invisible devices</a:t>
              </a:r>
            </a:p>
          </p:txBody>
        </p:sp>
        <p:grpSp>
          <p:nvGrpSpPr>
            <p:cNvPr id="30" name="Group 29"/>
            <p:cNvGrpSpPr/>
            <p:nvPr/>
          </p:nvGrpSpPr>
          <p:grpSpPr>
            <a:xfrm>
              <a:off x="2854023" y="1435280"/>
              <a:ext cx="1303325" cy="1303325"/>
              <a:chOff x="2854023" y="1435280"/>
              <a:chExt cx="1303325" cy="1303325"/>
            </a:xfrm>
          </p:grpSpPr>
          <p:pic>
            <p:nvPicPr>
              <p:cNvPr id="29" name="Picture 9" descr="\\MAGNUM\Projects\Microsoft\Cloud Power FY12\Design\Icons\PNGs\Optimized.png"/>
              <p:cNvPicPr>
                <a:picLocks noChangeAspect="1" noChangeArrowheads="1"/>
              </p:cNvPicPr>
              <p:nvPr/>
            </p:nvPicPr>
            <p:blipFill>
              <a:blip r:embed="rId3" cstate="print">
                <a:lum bright="100000"/>
              </a:blip>
              <a:stretch>
                <a:fillRect/>
              </a:stretch>
            </p:blipFill>
            <p:spPr bwMode="auto">
              <a:xfrm>
                <a:off x="2854023" y="1435280"/>
                <a:ext cx="1303325" cy="1303325"/>
              </a:xfrm>
              <a:prstGeom prst="rect">
                <a:avLst/>
              </a:prstGeom>
              <a:noFill/>
            </p:spPr>
          </p:pic>
          <p:pic>
            <p:nvPicPr>
              <p:cNvPr id="2050" name="Picture 2" descr="C:\Users\HOWARDY.REDMOND\AppData\Local\Microsoft\Windows\Temporary Internet Files\Content.IE5\R6AKOP9I\MC900013282[1].wmf"/>
              <p:cNvPicPr>
                <a:picLocks noChangeAspect="1" noChangeArrowheads="1"/>
              </p:cNvPicPr>
              <p:nvPr/>
            </p:nvPicPr>
            <p:blipFill>
              <a:blip r:embed="rId4">
                <a:biLevel thresh="25000"/>
                <a:lum bright="100000"/>
                <a:extLst>
                  <a:ext uri="{28A0092B-C50C-407E-A947-70E740481C1C}">
                    <a14:useLocalDpi xmlns:a14="http://schemas.microsoft.com/office/drawing/2010/main" val="0"/>
                  </a:ext>
                </a:extLst>
              </a:blip>
              <a:srcRect/>
              <a:stretch>
                <a:fillRect/>
              </a:stretch>
            </p:blipFill>
            <p:spPr bwMode="auto">
              <a:xfrm flipH="1">
                <a:off x="3896839" y="1899918"/>
                <a:ext cx="260509" cy="374050"/>
              </a:xfrm>
              <a:prstGeom prst="rect">
                <a:avLst/>
              </a:prstGeom>
              <a:noFill/>
              <a:extLst>
                <a:ext uri="{909E8E84-426E-40DD-AFC4-6F175D3DCCD1}">
                  <a14:hiddenFill xmlns:a14="http://schemas.microsoft.com/office/drawing/2010/main">
                    <a:solidFill>
                      <a:srgbClr val="FFFFFF"/>
                    </a:solidFill>
                  </a14:hiddenFill>
                </a:ext>
              </a:extLst>
            </p:spPr>
          </p:pic>
        </p:grpSp>
        <p:sp>
          <p:nvSpPr>
            <p:cNvPr id="33" name="Rectangle 32"/>
            <p:cNvSpPr/>
            <p:nvPr/>
          </p:nvSpPr>
          <p:spPr bwMode="auto">
            <a:xfrm>
              <a:off x="4447514" y="2539373"/>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20" tIns="45720" rIns="45720" bIns="45720" numCol="1" rtlCol="0" anchor="ctr" anchorCtr="0" compatLnSpc="1">
              <a:prstTxWarp prst="textNoShape">
                <a:avLst/>
              </a:prstTxWarp>
            </a:bodyPr>
            <a:lstStyle/>
            <a:p>
              <a:pPr algn="ctr" defTabSz="685609" fontAlgn="base">
                <a:spcBef>
                  <a:spcPct val="0"/>
                </a:spcBef>
                <a:spcAft>
                  <a:spcPct val="0"/>
                </a:spcAft>
              </a:pPr>
              <a:r>
                <a:rPr lang="en-US" sz="1200" spc="-113" dirty="0">
                  <a:solidFill>
                    <a:schemeClr val="tx1">
                      <a:alpha val="99000"/>
                    </a:schemeClr>
                  </a:solidFill>
                </a:rPr>
                <a:t>Trillions  of networked nodes</a:t>
              </a:r>
            </a:p>
          </p:txBody>
        </p:sp>
        <p:sp>
          <p:nvSpPr>
            <p:cNvPr id="34" name="Rectangle 33"/>
            <p:cNvSpPr/>
            <p:nvPr/>
          </p:nvSpPr>
          <p:spPr bwMode="auto">
            <a:xfrm>
              <a:off x="6093994" y="2535441"/>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20" tIns="45720" rIns="45720" bIns="45720" numCol="1" rtlCol="0" anchor="ctr" anchorCtr="0" compatLnSpc="1">
              <a:prstTxWarp prst="textNoShape">
                <a:avLst/>
              </a:prstTxWarp>
            </a:bodyPr>
            <a:lstStyle/>
            <a:p>
              <a:pPr algn="ctr" defTabSz="685609" fontAlgn="base">
                <a:spcBef>
                  <a:spcPct val="0"/>
                </a:spcBef>
                <a:spcAft>
                  <a:spcPct val="0"/>
                </a:spcAft>
              </a:pPr>
              <a:r>
                <a:rPr lang="en-US" sz="1200" spc="-113" dirty="0">
                  <a:solidFill>
                    <a:schemeClr val="tx1">
                      <a:alpha val="99000"/>
                    </a:schemeClr>
                  </a:solidFill>
                </a:rPr>
                <a:t>Low bandwidth last-mile connection</a:t>
              </a:r>
            </a:p>
          </p:txBody>
        </p:sp>
        <p:pic>
          <p:nvPicPr>
            <p:cNvPr id="2051" name="Picture 3" descr="C:\Users\HOWARDY.REDMOND\AppData\Local\Microsoft\Windows\Temporary Internet Files\Content.IE5\5W4A3OMT\MC900351855[1].wmf"/>
            <p:cNvPicPr>
              <a:picLocks noChangeAspect="1" noChangeArrowheads="1"/>
            </p:cNvPicPr>
            <p:nvPr/>
          </p:nvPicPr>
          <p:blipFill>
            <a:blip r:embed="rId5">
              <a:lum bright="100000"/>
              <a:extLst>
                <a:ext uri="{28A0092B-C50C-407E-A947-70E740481C1C}">
                  <a14:useLocalDpi xmlns:a14="http://schemas.microsoft.com/office/drawing/2010/main" val="0"/>
                </a:ext>
              </a:extLst>
            </a:blip>
            <a:srcRect/>
            <a:stretch>
              <a:fillRect/>
            </a:stretch>
          </p:blipFill>
          <p:spPr bwMode="auto">
            <a:xfrm>
              <a:off x="6614050" y="1586853"/>
              <a:ext cx="507888" cy="619712"/>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p:cNvSpPr txBox="1"/>
            <p:nvPr/>
          </p:nvSpPr>
          <p:spPr>
            <a:xfrm>
              <a:off x="6403924" y="2261936"/>
              <a:ext cx="846386" cy="184666"/>
            </a:xfrm>
            <a:prstGeom prst="rect">
              <a:avLst/>
            </a:prstGeom>
            <a:noFill/>
          </p:spPr>
          <p:txBody>
            <a:bodyPr wrap="none" lIns="0" tIns="0" rIns="0" bIns="0" rtlCol="0">
              <a:spAutoFit/>
            </a:bodyPr>
            <a:lstStyle/>
            <a:p>
              <a:r>
                <a:rPr lang="en-US" sz="900" b="1" dirty="0">
                  <a:gradFill>
                    <a:gsLst>
                      <a:gs pos="0">
                        <a:schemeClr val="tx1"/>
                      </a:gs>
                      <a:gs pos="86000">
                        <a:schemeClr val="tx1"/>
                      </a:gs>
                    </a:gsLst>
                    <a:lin ang="5400000" scaled="0"/>
                  </a:gradFill>
                </a:rPr>
                <a:t>100kBit/sec</a:t>
              </a:r>
            </a:p>
          </p:txBody>
        </p:sp>
        <p:sp>
          <p:nvSpPr>
            <p:cNvPr id="56" name="Rectangle 55"/>
            <p:cNvSpPr/>
            <p:nvPr/>
          </p:nvSpPr>
          <p:spPr bwMode="auto">
            <a:xfrm>
              <a:off x="1162892" y="4216358"/>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20" tIns="45720" rIns="45720" bIns="45720" numCol="1" rtlCol="0" anchor="ctr" anchorCtr="0" compatLnSpc="1">
              <a:prstTxWarp prst="textNoShape">
                <a:avLst/>
              </a:prstTxWarp>
            </a:bodyPr>
            <a:lstStyle/>
            <a:p>
              <a:pPr algn="ctr" defTabSz="685609" fontAlgn="base">
                <a:spcBef>
                  <a:spcPct val="0"/>
                </a:spcBef>
                <a:spcAft>
                  <a:spcPct val="0"/>
                </a:spcAft>
              </a:pPr>
              <a:r>
                <a:rPr lang="en-US" sz="1200" spc="-113" dirty="0">
                  <a:solidFill>
                    <a:schemeClr val="tx1">
                      <a:alpha val="99000"/>
                    </a:schemeClr>
                  </a:solidFill>
                </a:rPr>
                <a:t>Mostly addressed by local  schemes</a:t>
              </a:r>
            </a:p>
          </p:txBody>
        </p:sp>
        <p:sp>
          <p:nvSpPr>
            <p:cNvPr id="58" name="Rectangle 57"/>
            <p:cNvSpPr/>
            <p:nvPr/>
          </p:nvSpPr>
          <p:spPr bwMode="auto">
            <a:xfrm>
              <a:off x="2811346" y="4216358"/>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20" tIns="45720" rIns="45720" bIns="45720" numCol="1" rtlCol="0" anchor="ctr" anchorCtr="0" compatLnSpc="1">
              <a:prstTxWarp prst="textNoShape">
                <a:avLst/>
              </a:prstTxWarp>
            </a:bodyPr>
            <a:lstStyle/>
            <a:p>
              <a:pPr algn="ctr" defTabSz="685609" fontAlgn="base">
                <a:spcBef>
                  <a:spcPct val="0"/>
                </a:spcBef>
                <a:spcAft>
                  <a:spcPct val="0"/>
                </a:spcAft>
              </a:pPr>
              <a:r>
                <a:rPr lang="en-US" sz="1200" spc="-113" dirty="0">
                  <a:solidFill>
                    <a:schemeClr val="tx1">
                      <a:alpha val="99000"/>
                    </a:schemeClr>
                  </a:solidFill>
                </a:rPr>
                <a:t>Machine-centric</a:t>
              </a:r>
            </a:p>
          </p:txBody>
        </p:sp>
        <p:sp>
          <p:nvSpPr>
            <p:cNvPr id="60" name="Rectangle 59"/>
            <p:cNvSpPr/>
            <p:nvPr/>
          </p:nvSpPr>
          <p:spPr bwMode="auto">
            <a:xfrm>
              <a:off x="4447514" y="4216358"/>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20" tIns="45720" rIns="45720" bIns="45720" numCol="1" rtlCol="0" anchor="ctr" anchorCtr="0" compatLnSpc="1">
              <a:prstTxWarp prst="textNoShape">
                <a:avLst/>
              </a:prstTxWarp>
            </a:bodyPr>
            <a:lstStyle/>
            <a:p>
              <a:pPr algn="ctr" defTabSz="685609" fontAlgn="base">
                <a:spcBef>
                  <a:spcPct val="0"/>
                </a:spcBef>
                <a:spcAft>
                  <a:spcPct val="0"/>
                </a:spcAft>
              </a:pPr>
              <a:r>
                <a:rPr lang="en-US" sz="1200" spc="-113" dirty="0">
                  <a:solidFill>
                    <a:schemeClr val="tx1">
                      <a:alpha val="99000"/>
                    </a:schemeClr>
                  </a:solidFill>
                </a:rPr>
                <a:t>Sensing-focus</a:t>
              </a:r>
            </a:p>
          </p:txBody>
        </p:sp>
        <p:pic>
          <p:nvPicPr>
            <p:cNvPr id="63" name="Picture 8" descr="\\MAGNUM\Projects\Microsoft\Cloud Power FY12\Design\Icons\PNGs\Cross Platform.png"/>
            <p:cNvPicPr>
              <a:picLocks noChangeAspect="1" noChangeArrowheads="1"/>
            </p:cNvPicPr>
            <p:nvPr/>
          </p:nvPicPr>
          <p:blipFill>
            <a:blip r:embed="rId6" cstate="print">
              <a:lum bright="100000"/>
            </a:blip>
            <a:srcRect/>
            <a:stretch>
              <a:fillRect/>
            </a:stretch>
          </p:blipFill>
          <p:spPr bwMode="auto">
            <a:xfrm>
              <a:off x="2877330" y="2963178"/>
              <a:ext cx="1381849" cy="1482016"/>
            </a:xfrm>
            <a:prstGeom prst="rect">
              <a:avLst/>
            </a:prstGeom>
            <a:noFill/>
          </p:spPr>
        </p:pic>
        <p:pic>
          <p:nvPicPr>
            <p:cNvPr id="2078" name="Picture 30" descr="C:\Users\HOWARDY.REDMOND\AppData\Local\Microsoft\Windows\Temporary Internet Files\Content.IE5\JSHLW3M1\MC900239673[1].wmf"/>
            <p:cNvPicPr>
              <a:picLocks noChangeAspect="1" noChangeArrowheads="1"/>
            </p:cNvPicPr>
            <p:nvPr/>
          </p:nvPicPr>
          <p:blipFill>
            <a:blip r:embed="rId7">
              <a:lum bright="100000"/>
              <a:extLst>
                <a:ext uri="{28A0092B-C50C-407E-A947-70E740481C1C}">
                  <a14:useLocalDpi xmlns:a14="http://schemas.microsoft.com/office/drawing/2010/main" val="0"/>
                </a:ext>
              </a:extLst>
            </a:blip>
            <a:srcRect/>
            <a:stretch>
              <a:fillRect/>
            </a:stretch>
          </p:blipFill>
          <p:spPr bwMode="auto">
            <a:xfrm>
              <a:off x="4690416" y="3320714"/>
              <a:ext cx="1062196" cy="830597"/>
            </a:xfrm>
            <a:prstGeom prst="rect">
              <a:avLst/>
            </a:prstGeom>
            <a:noFill/>
            <a:extLst>
              <a:ext uri="{909E8E84-426E-40DD-AFC4-6F175D3DCCD1}">
                <a14:hiddenFill xmlns:a14="http://schemas.microsoft.com/office/drawing/2010/main">
                  <a:solidFill>
                    <a:srgbClr val="FFFFFF"/>
                  </a:solidFill>
                </a14:hiddenFill>
              </a:ext>
            </a:extLst>
          </p:spPr>
        </p:pic>
        <p:sp>
          <p:nvSpPr>
            <p:cNvPr id="91" name="TextBox 90"/>
            <p:cNvSpPr txBox="1"/>
            <p:nvPr/>
          </p:nvSpPr>
          <p:spPr>
            <a:xfrm>
              <a:off x="4571152" y="1578390"/>
              <a:ext cx="1290539" cy="923330"/>
            </a:xfrm>
            <a:prstGeom prst="rect">
              <a:avLst/>
            </a:prstGeom>
            <a:noFill/>
          </p:spPr>
          <p:txBody>
            <a:bodyPr wrap="square" lIns="0" tIns="0" rIns="0" bIns="0" rtlCol="0">
              <a:spAutoFit/>
            </a:bodyPr>
            <a:lstStyle/>
            <a:p>
              <a:pPr algn="ctr"/>
              <a:r>
                <a:rPr lang="en-US" sz="900" b="1" dirty="0">
                  <a:gradFill>
                    <a:gsLst>
                      <a:gs pos="0">
                        <a:schemeClr val="tx1"/>
                      </a:gs>
                      <a:gs pos="86000">
                        <a:schemeClr val="tx1"/>
                      </a:gs>
                    </a:gsLst>
                    <a:lin ang="5400000" scaled="0"/>
                  </a:gradFill>
                </a:rPr>
                <a:t>Trillions of computer-enabled devices which are part of the </a:t>
              </a:r>
              <a:r>
                <a:rPr lang="en-US" sz="900" b="1" dirty="0" err="1">
                  <a:gradFill>
                    <a:gsLst>
                      <a:gs pos="0">
                        <a:schemeClr val="tx1"/>
                      </a:gs>
                      <a:gs pos="86000">
                        <a:schemeClr val="tx1"/>
                      </a:gs>
                    </a:gsLst>
                    <a:lin ang="5400000" scaled="0"/>
                  </a:gradFill>
                </a:rPr>
                <a:t>IoT</a:t>
              </a:r>
              <a:endParaRPr lang="en-US" sz="900" b="1" dirty="0">
                <a:gradFill>
                  <a:gsLst>
                    <a:gs pos="0">
                      <a:schemeClr val="tx1"/>
                    </a:gs>
                    <a:gs pos="86000">
                      <a:schemeClr val="tx1"/>
                    </a:gs>
                  </a:gsLst>
                  <a:lin ang="5400000" scaled="0"/>
                </a:gradFill>
              </a:endParaRPr>
            </a:p>
          </p:txBody>
        </p:sp>
        <p:pic>
          <p:nvPicPr>
            <p:cNvPr id="2092" name="Picture 44" descr="C:\Users\HOWARDY.REDMOND\AppData\Local\Microsoft\Windows\Temporary Internet Files\Content.IE5\VP137ABM\MC900441462[1].png"/>
            <p:cNvPicPr>
              <a:picLocks noChangeAspect="1" noChangeArrowheads="1"/>
            </p:cNvPicPr>
            <p:nvPr/>
          </p:nvPicPr>
          <p:blipFill>
            <a:blip r:embed="rId8">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411387" y="3210507"/>
              <a:ext cx="1051009" cy="1051009"/>
            </a:xfrm>
            <a:prstGeom prst="rect">
              <a:avLst/>
            </a:prstGeom>
            <a:noFill/>
            <a:extLst>
              <a:ext uri="{909E8E84-426E-40DD-AFC4-6F175D3DCCD1}">
                <a14:hiddenFill xmlns:a14="http://schemas.microsoft.com/office/drawing/2010/main">
                  <a:solidFill>
                    <a:srgbClr val="FFFFFF"/>
                  </a:solidFill>
                </a14:hiddenFill>
              </a:ext>
            </a:extLst>
          </p:spPr>
        </p:pic>
        <p:pic>
          <p:nvPicPr>
            <p:cNvPr id="2096" name="Picture 48" descr="C:\Users\HOWARDY.REDMOND\AppData\Local\Microsoft\Windows\Temporary Internet Files\Content.IE5\KIYKZX54\MP900401814[1].jpg"/>
            <p:cNvPicPr>
              <a:picLocks noChangeAspect="1" noChangeArrowheads="1"/>
            </p:cNvPicPr>
            <p:nvPr/>
          </p:nvPicPr>
          <p:blipFill>
            <a:blip r:embed="rId10">
              <a:duotone>
                <a:schemeClr val="accent5">
                  <a:shade val="45000"/>
                  <a:satMod val="135000"/>
                </a:schemeClr>
                <a:prstClr val="white"/>
              </a:duotone>
              <a:extLst>
                <a:ext uri="{BEBA8EAE-BF5A-486C-A8C5-ECC9F3942E4B}">
                  <a14:imgProps xmlns:a14="http://schemas.microsoft.com/office/drawing/2010/main">
                    <a14:imgLayer r:embed="rId11">
                      <a14:imgEffect>
                        <a14:brightnessContrast bright="-5000"/>
                      </a14:imgEffect>
                    </a14:imgLayer>
                  </a14:imgProps>
                </a:ext>
                <a:ext uri="{28A0092B-C50C-407E-A947-70E740481C1C}">
                  <a14:useLocalDpi xmlns:a14="http://schemas.microsoft.com/office/drawing/2010/main" val="0"/>
                </a:ext>
              </a:extLst>
            </a:blip>
            <a:srcRect/>
            <a:stretch>
              <a:fillRect/>
            </a:stretch>
          </p:blipFill>
          <p:spPr bwMode="auto">
            <a:xfrm>
              <a:off x="1162892" y="4844749"/>
              <a:ext cx="3196454" cy="1548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8" name="Group 27"/>
          <p:cNvGrpSpPr/>
          <p:nvPr/>
        </p:nvGrpSpPr>
        <p:grpSpPr>
          <a:xfrm>
            <a:off x="3336505" y="1127074"/>
            <a:ext cx="4860592" cy="3667490"/>
            <a:chOff x="4447514" y="1502762"/>
            <a:chExt cx="6479102" cy="4889987"/>
          </a:xfrm>
        </p:grpSpPr>
        <p:grpSp>
          <p:nvGrpSpPr>
            <p:cNvPr id="10" name="Group 9"/>
            <p:cNvGrpSpPr/>
            <p:nvPr/>
          </p:nvGrpSpPr>
          <p:grpSpPr>
            <a:xfrm>
              <a:off x="4447514" y="4816370"/>
              <a:ext cx="6479101" cy="1576379"/>
              <a:chOff x="4447514" y="4816370"/>
              <a:chExt cx="6479101" cy="1576379"/>
            </a:xfrm>
          </p:grpSpPr>
          <p:sp>
            <p:nvSpPr>
              <p:cNvPr id="12" name="Rectangle 11"/>
              <p:cNvSpPr/>
              <p:nvPr/>
            </p:nvSpPr>
            <p:spPr bwMode="auto">
              <a:xfrm>
                <a:off x="6093994" y="484474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09" fontAlgn="base">
                  <a:lnSpc>
                    <a:spcPct val="80000"/>
                  </a:lnSpc>
                  <a:spcBef>
                    <a:spcPct val="0"/>
                  </a:spcBef>
                  <a:spcAft>
                    <a:spcPct val="0"/>
                  </a:spcAft>
                </a:pP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5" name="Rectangle 14"/>
              <p:cNvSpPr/>
              <p:nvPr/>
            </p:nvSpPr>
            <p:spPr bwMode="auto">
              <a:xfrm>
                <a:off x="7742448" y="4844749"/>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09" fontAlgn="base">
                  <a:lnSpc>
                    <a:spcPct val="80000"/>
                  </a:lnSpc>
                  <a:spcBef>
                    <a:spcPct val="0"/>
                  </a:spcBef>
                  <a:spcAft>
                    <a:spcPct val="0"/>
                  </a:spcAft>
                </a:pP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7" name="Rectangle 16"/>
              <p:cNvSpPr/>
              <p:nvPr/>
            </p:nvSpPr>
            <p:spPr bwMode="auto">
              <a:xfrm>
                <a:off x="4447514" y="484474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09" fontAlgn="base">
                  <a:lnSpc>
                    <a:spcPct val="80000"/>
                  </a:lnSpc>
                  <a:spcBef>
                    <a:spcPct val="0"/>
                  </a:spcBef>
                  <a:spcAft>
                    <a:spcPct val="0"/>
                  </a:spcAft>
                </a:pP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7" name="Rectangle 56"/>
              <p:cNvSpPr/>
              <p:nvPr/>
            </p:nvSpPr>
            <p:spPr bwMode="auto">
              <a:xfrm>
                <a:off x="4447514" y="5888749"/>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20" tIns="45720" rIns="45720" bIns="45720" numCol="1" rtlCol="0" anchor="ctr" anchorCtr="0" compatLnSpc="1">
                <a:prstTxWarp prst="textNoShape">
                  <a:avLst/>
                </a:prstTxWarp>
              </a:bodyPr>
              <a:lstStyle/>
              <a:p>
                <a:pPr algn="ctr" defTabSz="685609" fontAlgn="base">
                  <a:spcBef>
                    <a:spcPct val="0"/>
                  </a:spcBef>
                  <a:spcAft>
                    <a:spcPct val="0"/>
                  </a:spcAft>
                </a:pPr>
                <a:r>
                  <a:rPr lang="en-US" sz="1200" spc="-113" dirty="0">
                    <a:solidFill>
                      <a:schemeClr val="tx1">
                        <a:alpha val="99000"/>
                      </a:schemeClr>
                    </a:solidFill>
                  </a:rPr>
                  <a:t>Global addressing</a:t>
                </a:r>
              </a:p>
            </p:txBody>
          </p:sp>
          <p:sp>
            <p:nvSpPr>
              <p:cNvPr id="59" name="Rectangle 58"/>
              <p:cNvSpPr/>
              <p:nvPr/>
            </p:nvSpPr>
            <p:spPr bwMode="auto">
              <a:xfrm>
                <a:off x="6085086" y="5888749"/>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20" tIns="45720" rIns="45720" bIns="45720" numCol="1" rtlCol="0" anchor="ctr" anchorCtr="0" compatLnSpc="1">
                <a:prstTxWarp prst="textNoShape">
                  <a:avLst/>
                </a:prstTxWarp>
              </a:bodyPr>
              <a:lstStyle/>
              <a:p>
                <a:pPr algn="ctr" defTabSz="685609" fontAlgn="base">
                  <a:spcBef>
                    <a:spcPct val="0"/>
                  </a:spcBef>
                  <a:spcAft>
                    <a:spcPct val="0"/>
                  </a:spcAft>
                </a:pPr>
                <a:r>
                  <a:rPr lang="en-US" sz="1200" spc="-113" dirty="0">
                    <a:solidFill>
                      <a:schemeClr val="tx1">
                        <a:alpha val="99000"/>
                      </a:schemeClr>
                    </a:solidFill>
                  </a:rPr>
                  <a:t>User-centric</a:t>
                </a:r>
              </a:p>
            </p:txBody>
          </p:sp>
          <p:sp>
            <p:nvSpPr>
              <p:cNvPr id="61" name="Rectangle 60"/>
              <p:cNvSpPr/>
              <p:nvPr/>
            </p:nvSpPr>
            <p:spPr bwMode="auto">
              <a:xfrm>
                <a:off x="7742447" y="5888749"/>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20" tIns="45720" rIns="45720" bIns="45720" numCol="1" rtlCol="0" anchor="ctr" anchorCtr="0" compatLnSpc="1">
                <a:prstTxWarp prst="textNoShape">
                  <a:avLst/>
                </a:prstTxWarp>
              </a:bodyPr>
              <a:lstStyle/>
              <a:p>
                <a:pPr algn="ctr" defTabSz="685609" fontAlgn="base">
                  <a:spcBef>
                    <a:spcPct val="0"/>
                  </a:spcBef>
                  <a:spcAft>
                    <a:spcPct val="0"/>
                  </a:spcAft>
                </a:pPr>
                <a:r>
                  <a:rPr lang="en-US" sz="1200" spc="-113" dirty="0">
                    <a:solidFill>
                      <a:schemeClr val="tx1">
                        <a:alpha val="99000"/>
                      </a:schemeClr>
                    </a:solidFill>
                  </a:rPr>
                  <a:t>Communication-focus</a:t>
                </a:r>
              </a:p>
            </p:txBody>
          </p:sp>
          <p:pic>
            <p:nvPicPr>
              <p:cNvPr id="76" name="Picture 4" descr="\\MAGNUM\Projects\Microsoft\Cloud Power FY12\Design\ICONS_PNG\Open_Web_Platform.png"/>
              <p:cNvPicPr>
                <a:picLocks noChangeAspect="1" noChangeArrowheads="1"/>
              </p:cNvPicPr>
              <p:nvPr/>
            </p:nvPicPr>
            <p:blipFill>
              <a:blip r:embed="rId12" cstate="print">
                <a:lum bright="100000"/>
              </a:blip>
              <a:srcRect/>
              <a:stretch>
                <a:fillRect/>
              </a:stretch>
            </p:blipFill>
            <p:spPr bwMode="auto">
              <a:xfrm>
                <a:off x="4680233" y="4816370"/>
                <a:ext cx="1072379" cy="1072379"/>
              </a:xfrm>
              <a:prstGeom prst="rect">
                <a:avLst/>
              </a:prstGeom>
              <a:noFill/>
            </p:spPr>
          </p:pic>
          <p:pic>
            <p:nvPicPr>
              <p:cNvPr id="2081" name="Picture 33" descr="C:\Users\HOWARDY.REDMOND\AppData\Local\Microsoft\Windows\Temporary Internet Files\Content.IE5\G469HTVF\MC900442094[1].wmf"/>
              <p:cNvPicPr>
                <a:picLocks noChangeAspect="1" noChangeArrowheads="1"/>
              </p:cNvPicPr>
              <p:nvPr/>
            </p:nvPicPr>
            <p:blipFill>
              <a:blip r:embed="rId13">
                <a:lum bright="100000"/>
                <a:extLst>
                  <a:ext uri="{28A0092B-C50C-407E-A947-70E740481C1C}">
                    <a14:useLocalDpi xmlns:a14="http://schemas.microsoft.com/office/drawing/2010/main" val="0"/>
                  </a:ext>
                </a:extLst>
              </a:blip>
              <a:srcRect/>
              <a:stretch>
                <a:fillRect/>
              </a:stretch>
            </p:blipFill>
            <p:spPr bwMode="auto">
              <a:xfrm>
                <a:off x="6366042" y="5057773"/>
                <a:ext cx="986087" cy="607213"/>
              </a:xfrm>
              <a:prstGeom prst="rect">
                <a:avLst/>
              </a:prstGeom>
              <a:noFill/>
              <a:extLst>
                <a:ext uri="{909E8E84-426E-40DD-AFC4-6F175D3DCCD1}">
                  <a14:hiddenFill xmlns:a14="http://schemas.microsoft.com/office/drawing/2010/main">
                    <a:solidFill>
                      <a:srgbClr val="FFFFFF"/>
                    </a:solidFill>
                  </a14:hiddenFill>
                </a:ext>
              </a:extLst>
            </p:spPr>
          </p:pic>
          <p:pic>
            <p:nvPicPr>
              <p:cNvPr id="2083" name="Picture 35" descr="C:\Users\HOWARDY.REDMOND\AppData\Local\Microsoft\Windows\Temporary Internet Files\Content.IE5\MNDNOLUZ\MC900059703[1].wmf"/>
              <p:cNvPicPr>
                <a:picLocks noChangeAspect="1" noChangeArrowheads="1"/>
              </p:cNvPicPr>
              <p:nvPr/>
            </p:nvPicPr>
            <p:blipFill>
              <a:blip r:embed="rId14">
                <a:lum bright="100000"/>
                <a:extLst>
                  <a:ext uri="{28A0092B-C50C-407E-A947-70E740481C1C}">
                    <a14:useLocalDpi xmlns:a14="http://schemas.microsoft.com/office/drawing/2010/main" val="0"/>
                  </a:ext>
                </a:extLst>
              </a:blip>
              <a:srcRect/>
              <a:stretch>
                <a:fillRect/>
              </a:stretch>
            </p:blipFill>
            <p:spPr bwMode="auto">
              <a:xfrm>
                <a:off x="7889556" y="4972978"/>
                <a:ext cx="1253783" cy="759161"/>
              </a:xfrm>
              <a:prstGeom prst="rect">
                <a:avLst/>
              </a:prstGeom>
              <a:noFill/>
              <a:extLst>
                <a:ext uri="{909E8E84-426E-40DD-AFC4-6F175D3DCCD1}">
                  <a14:hiddenFill xmlns:a14="http://schemas.microsoft.com/office/drawing/2010/main">
                    <a:solidFill>
                      <a:srgbClr val="FFFFFF"/>
                    </a:solidFill>
                  </a14:hiddenFill>
                </a:ext>
              </a:extLst>
            </p:spPr>
          </p:pic>
          <p:sp>
            <p:nvSpPr>
              <p:cNvPr id="87" name="Rectangle 86"/>
              <p:cNvSpPr/>
              <p:nvPr/>
            </p:nvSpPr>
            <p:spPr bwMode="auto">
              <a:xfrm>
                <a:off x="9378615" y="484474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685609" fontAlgn="base">
                  <a:lnSpc>
                    <a:spcPct val="80000"/>
                  </a:lnSpc>
                  <a:spcBef>
                    <a:spcPct val="0"/>
                  </a:spcBef>
                  <a:spcAft>
                    <a:spcPct val="0"/>
                  </a:spcAft>
                </a:pPr>
                <a:r>
                  <a:rPr lang="en-US" sz="2400" b="1"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Internet</a:t>
                </a:r>
              </a:p>
            </p:txBody>
          </p:sp>
        </p:grpSp>
        <p:pic>
          <p:nvPicPr>
            <p:cNvPr id="2093" name="Picture 45" descr="C:\Users\HOWARDY.REDMOND\AppData\Local\Microsoft\Windows\Temporary Internet Files\Content.IE5\KIYKZX54\MC900433176[1].jpg"/>
            <p:cNvPicPr>
              <a:picLocks noChangeAspect="1" noChangeArrowheads="1"/>
            </p:cNvPicPr>
            <p:nvPr/>
          </p:nvPicPr>
          <p:blipFill>
            <a:blip r:embed="rId15">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742447" y="1502762"/>
              <a:ext cx="3184168" cy="1543420"/>
            </a:xfrm>
            <a:prstGeom prst="rect">
              <a:avLst/>
            </a:prstGeom>
            <a:noFill/>
            <a:extLst>
              <a:ext uri="{909E8E84-426E-40DD-AFC4-6F175D3DCCD1}">
                <a14:hiddenFill xmlns:a14="http://schemas.microsoft.com/office/drawing/2010/main">
                  <a:solidFill>
                    <a:srgbClr val="FFFFFF"/>
                  </a:solidFill>
                </a14:hiddenFill>
              </a:ext>
            </a:extLst>
          </p:spPr>
        </p:pic>
        <p:grpSp>
          <p:nvGrpSpPr>
            <p:cNvPr id="24" name="Group 23"/>
            <p:cNvGrpSpPr/>
            <p:nvPr/>
          </p:nvGrpSpPr>
          <p:grpSpPr>
            <a:xfrm>
              <a:off x="6093994" y="3012108"/>
              <a:ext cx="4832622" cy="1708250"/>
              <a:chOff x="6093994" y="3012108"/>
              <a:chExt cx="4832622" cy="1708250"/>
            </a:xfrm>
          </p:grpSpPr>
          <p:grpSp>
            <p:nvGrpSpPr>
              <p:cNvPr id="14" name="Group 13"/>
              <p:cNvGrpSpPr/>
              <p:nvPr/>
            </p:nvGrpSpPr>
            <p:grpSpPr>
              <a:xfrm>
                <a:off x="6093994" y="3172358"/>
                <a:ext cx="4832622" cy="1548000"/>
                <a:chOff x="6093994" y="3172358"/>
                <a:chExt cx="4832622" cy="1548000"/>
              </a:xfrm>
            </p:grpSpPr>
            <p:sp>
              <p:nvSpPr>
                <p:cNvPr id="11" name="Rectangle 10"/>
                <p:cNvSpPr/>
                <p:nvPr/>
              </p:nvSpPr>
              <p:spPr bwMode="auto">
                <a:xfrm>
                  <a:off x="6093994" y="317235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09" fontAlgn="base">
                    <a:lnSpc>
                      <a:spcPct val="80000"/>
                    </a:lnSpc>
                    <a:spcBef>
                      <a:spcPct val="0"/>
                    </a:spcBef>
                    <a:spcAft>
                      <a:spcPct val="0"/>
                    </a:spcAft>
                  </a:pP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3" name="Rectangle 12"/>
                <p:cNvSpPr/>
                <p:nvPr/>
              </p:nvSpPr>
              <p:spPr bwMode="auto">
                <a:xfrm>
                  <a:off x="7742448" y="317235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09" fontAlgn="base">
                    <a:lnSpc>
                      <a:spcPct val="80000"/>
                    </a:lnSpc>
                    <a:spcBef>
                      <a:spcPct val="0"/>
                    </a:spcBef>
                    <a:spcAft>
                      <a:spcPct val="0"/>
                    </a:spcAft>
                  </a:pP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6" name="Rectangle 15"/>
                <p:cNvSpPr/>
                <p:nvPr/>
              </p:nvSpPr>
              <p:spPr bwMode="auto">
                <a:xfrm>
                  <a:off x="9378616" y="317235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09" fontAlgn="base">
                    <a:lnSpc>
                      <a:spcPct val="80000"/>
                    </a:lnSpc>
                    <a:spcBef>
                      <a:spcPct val="0"/>
                    </a:spcBef>
                    <a:spcAft>
                      <a:spcPct val="0"/>
                    </a:spcAft>
                  </a:pPr>
                  <a:endParaRPr lang="en-US"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25" name="Group 24"/>
                <p:cNvGrpSpPr/>
                <p:nvPr/>
              </p:nvGrpSpPr>
              <p:grpSpPr>
                <a:xfrm>
                  <a:off x="6237456" y="3466602"/>
                  <a:ext cx="1261076" cy="474211"/>
                  <a:chOff x="8926609" y="4973963"/>
                  <a:chExt cx="2164752" cy="721953"/>
                </a:xfrm>
              </p:grpSpPr>
              <p:pic>
                <p:nvPicPr>
                  <p:cNvPr id="20" name="Picture 19"/>
                  <p:cNvPicPr>
                    <a:picLocks noChangeAspect="1"/>
                  </p:cNvPicPr>
                  <p:nvPr/>
                </p:nvPicPr>
                <p:blipFill>
                  <a:blip r:embed="rId16" cstate="print">
                    <a:extLst>
                      <a:ext uri="{BEBA8EAE-BF5A-486C-A8C5-ECC9F3942E4B}">
                        <a14:imgProps xmlns:a14="http://schemas.microsoft.com/office/drawing/2010/main">
                          <a14:imgLayer r:embed="rId17">
                            <a14:imgEffect>
                              <a14:brightnessContrast bright="100000"/>
                            </a14:imgEffect>
                          </a14:imgLayer>
                        </a14:imgProps>
                      </a:ext>
                      <a:ext uri="{28A0092B-C50C-407E-A947-70E740481C1C}">
                        <a14:useLocalDpi xmlns:a14="http://schemas.microsoft.com/office/drawing/2010/main"/>
                      </a:ext>
                    </a:extLst>
                  </a:blip>
                  <a:stretch>
                    <a:fillRect/>
                  </a:stretch>
                </p:blipFill>
                <p:spPr>
                  <a:xfrm rot="2614426" flipH="1">
                    <a:off x="8926609" y="5279315"/>
                    <a:ext cx="310121" cy="416601"/>
                  </a:xfrm>
                  <a:prstGeom prst="rect">
                    <a:avLst/>
                  </a:prstGeom>
                </p:spPr>
              </p:pic>
              <p:sp>
                <p:nvSpPr>
                  <p:cNvPr id="21" name="Freeform 61"/>
                  <p:cNvSpPr>
                    <a:spLocks/>
                  </p:cNvSpPr>
                  <p:nvPr/>
                </p:nvSpPr>
                <p:spPr bwMode="auto">
                  <a:xfrm rot="10800000">
                    <a:off x="9212369" y="4973963"/>
                    <a:ext cx="445820" cy="64478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chemeClr val="tx1"/>
                  </a:solidFill>
                  <a:extLst/>
                </p:spPr>
                <p:txBody>
                  <a:bodyPr vert="horz" wrap="square" lIns="91440" tIns="45720" rIns="91440" bIns="45720" numCol="1" anchor="t" anchorCtr="0" compatLnSpc="1">
                    <a:prstTxWarp prst="textNoShape">
                      <a:avLst/>
                    </a:prstTxWarp>
                  </a:bodyPr>
                  <a:lstStyle/>
                  <a:p>
                    <a:endParaRPr lang="en-US" dirty="0">
                      <a:solidFill>
                        <a:srgbClr val="FFFFFF"/>
                      </a:solidFill>
                      <a:latin typeface="+mj-lt"/>
                    </a:endParaRPr>
                  </a:p>
                </p:txBody>
              </p:sp>
              <p:sp>
                <p:nvSpPr>
                  <p:cNvPr id="22" name="Freeform 20"/>
                  <p:cNvSpPr>
                    <a:spLocks noEditPoints="1"/>
                  </p:cNvSpPr>
                  <p:nvPr/>
                </p:nvSpPr>
                <p:spPr bwMode="auto">
                  <a:xfrm>
                    <a:off x="9761762" y="4985710"/>
                    <a:ext cx="910300" cy="633038"/>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tx1"/>
                  </a:solidFill>
                  <a:extLst/>
                </p:spPr>
                <p:txBody>
                  <a:bodyPr vert="horz" wrap="square" lIns="91440" tIns="45720" rIns="91440" bIns="45720" numCol="1" anchor="t" anchorCtr="0" compatLnSpc="1">
                    <a:prstTxWarp prst="textNoShape">
                      <a:avLst/>
                    </a:prstTxWarp>
                  </a:bodyPr>
                  <a:lstStyle/>
                  <a:p>
                    <a:endParaRPr lang="en-US" dirty="0">
                      <a:solidFill>
                        <a:srgbClr val="FFFFFF"/>
                      </a:solidFill>
                      <a:latin typeface="+mj-lt"/>
                    </a:endParaRPr>
                  </a:p>
                </p:txBody>
              </p:sp>
              <p:pic>
                <p:nvPicPr>
                  <p:cNvPr id="23" name="Picture 22"/>
                  <p:cNvPicPr>
                    <a:picLocks noChangeAspect="1"/>
                  </p:cNvPicPr>
                  <p:nvPr/>
                </p:nvPicPr>
                <p:blipFill>
                  <a:blip r:embed="rId18" cstate="print">
                    <a:extLst>
                      <a:ext uri="{BEBA8EAE-BF5A-486C-A8C5-ECC9F3942E4B}">
                        <a14:imgProps xmlns:a14="http://schemas.microsoft.com/office/drawing/2010/main">
                          <a14:imgLayer r:embed="rId19">
                            <a14:imgEffect>
                              <a14:brightnessContrast bright="100000"/>
                            </a14:imgEffect>
                          </a14:imgLayer>
                        </a14:imgProps>
                      </a:ext>
                      <a:ext uri="{28A0092B-C50C-407E-A947-70E740481C1C}">
                        <a14:useLocalDpi xmlns:a14="http://schemas.microsoft.com/office/drawing/2010/main"/>
                      </a:ext>
                    </a:extLst>
                  </a:blip>
                  <a:stretch>
                    <a:fillRect/>
                  </a:stretch>
                </p:blipFill>
                <p:spPr>
                  <a:xfrm>
                    <a:off x="10761870" y="4985711"/>
                    <a:ext cx="329491" cy="633037"/>
                  </a:xfrm>
                  <a:prstGeom prst="rect">
                    <a:avLst/>
                  </a:prstGeom>
                </p:spPr>
              </p:pic>
            </p:grpSp>
            <p:sp>
              <p:nvSpPr>
                <p:cNvPr id="26" name="Rectangle 25"/>
                <p:cNvSpPr/>
                <p:nvPr/>
              </p:nvSpPr>
              <p:spPr bwMode="auto">
                <a:xfrm>
                  <a:off x="6093994" y="4211052"/>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20" tIns="45720" rIns="45720" bIns="45720" numCol="1" rtlCol="0" anchor="ctr" anchorCtr="0" compatLnSpc="1">
                  <a:prstTxWarp prst="textNoShape">
                    <a:avLst/>
                  </a:prstTxWarp>
                </a:bodyPr>
                <a:lstStyle/>
                <a:p>
                  <a:pPr algn="ctr" defTabSz="685609" fontAlgn="base">
                    <a:spcBef>
                      <a:spcPct val="0"/>
                    </a:spcBef>
                    <a:spcAft>
                      <a:spcPct val="0"/>
                    </a:spcAft>
                  </a:pPr>
                  <a:r>
                    <a:rPr lang="en-US" sz="1200" spc="-113" dirty="0">
                      <a:solidFill>
                        <a:schemeClr val="tx1">
                          <a:alpha val="99000"/>
                        </a:schemeClr>
                      </a:solidFill>
                    </a:rPr>
                    <a:t>Laptops  / tablets  / smartphones </a:t>
                  </a:r>
                </a:p>
              </p:txBody>
            </p:sp>
            <p:sp>
              <p:nvSpPr>
                <p:cNvPr id="32" name="Rectangle 31"/>
                <p:cNvSpPr/>
                <p:nvPr/>
              </p:nvSpPr>
              <p:spPr bwMode="auto">
                <a:xfrm>
                  <a:off x="7742448" y="4216358"/>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20" tIns="45720" rIns="45720" bIns="45720" numCol="1" rtlCol="0" anchor="ctr" anchorCtr="0" compatLnSpc="1">
                  <a:prstTxWarp prst="textNoShape">
                    <a:avLst/>
                  </a:prstTxWarp>
                </a:bodyPr>
                <a:lstStyle/>
                <a:p>
                  <a:pPr algn="ctr" defTabSz="685609" fontAlgn="base">
                    <a:spcBef>
                      <a:spcPct val="0"/>
                    </a:spcBef>
                    <a:spcAft>
                      <a:spcPct val="0"/>
                    </a:spcAft>
                  </a:pPr>
                  <a:r>
                    <a:rPr lang="en-US" sz="1200" spc="-113" dirty="0">
                      <a:solidFill>
                        <a:schemeClr val="tx1">
                          <a:alpha val="99000"/>
                        </a:schemeClr>
                      </a:solidFill>
                    </a:rPr>
                    <a:t>Billions of networked devices</a:t>
                  </a:r>
                </a:p>
              </p:txBody>
            </p:sp>
            <p:sp>
              <p:nvSpPr>
                <p:cNvPr id="35" name="Rectangle 34"/>
                <p:cNvSpPr/>
                <p:nvPr/>
              </p:nvSpPr>
              <p:spPr bwMode="auto">
                <a:xfrm>
                  <a:off x="9378616" y="4211052"/>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20" tIns="45720" rIns="45720" bIns="45720" numCol="1" rtlCol="0" anchor="ctr" anchorCtr="0" compatLnSpc="1">
                  <a:prstTxWarp prst="textNoShape">
                    <a:avLst/>
                  </a:prstTxWarp>
                </a:bodyPr>
                <a:lstStyle/>
                <a:p>
                  <a:pPr algn="ctr" defTabSz="685609" fontAlgn="base">
                    <a:spcBef>
                      <a:spcPct val="0"/>
                    </a:spcBef>
                    <a:spcAft>
                      <a:spcPct val="0"/>
                    </a:spcAft>
                  </a:pPr>
                  <a:r>
                    <a:rPr lang="en-US" sz="1200" spc="-113" dirty="0">
                      <a:solidFill>
                        <a:schemeClr val="tx1">
                          <a:alpha val="99000"/>
                        </a:schemeClr>
                      </a:solidFill>
                    </a:rPr>
                    <a:t>High-bandwidth access</a:t>
                  </a:r>
                </a:p>
              </p:txBody>
            </p:sp>
            <p:sp>
              <p:nvSpPr>
                <p:cNvPr id="55" name="TextBox 54"/>
                <p:cNvSpPr txBox="1"/>
                <p:nvPr/>
              </p:nvSpPr>
              <p:spPr>
                <a:xfrm>
                  <a:off x="9378616" y="3803992"/>
                  <a:ext cx="1547999" cy="369332"/>
                </a:xfrm>
                <a:prstGeom prst="rect">
                  <a:avLst/>
                </a:prstGeom>
                <a:noFill/>
              </p:spPr>
              <p:txBody>
                <a:bodyPr wrap="square" lIns="0" tIns="0" rIns="0" bIns="0" rtlCol="0">
                  <a:spAutoFit/>
                </a:bodyPr>
                <a:lstStyle/>
                <a:p>
                  <a:pPr algn="ctr"/>
                  <a:r>
                    <a:rPr lang="en-US" sz="900" b="1" dirty="0">
                      <a:gradFill>
                        <a:gsLst>
                          <a:gs pos="0">
                            <a:schemeClr val="tx1"/>
                          </a:gs>
                          <a:gs pos="86000">
                            <a:schemeClr val="tx1"/>
                          </a:gs>
                        </a:gsLst>
                        <a:lin ang="5400000" scaled="0"/>
                      </a:gradFill>
                    </a:rPr>
                    <a:t>Cable: 10Mbs+</a:t>
                  </a:r>
                </a:p>
                <a:p>
                  <a:pPr algn="ctr"/>
                  <a:r>
                    <a:rPr lang="en-US" sz="900" b="1" dirty="0">
                      <a:gradFill>
                        <a:gsLst>
                          <a:gs pos="0">
                            <a:schemeClr val="tx1"/>
                          </a:gs>
                          <a:gs pos="86000">
                            <a:schemeClr val="tx1"/>
                          </a:gs>
                        </a:gsLst>
                        <a:lin ang="5400000" scaled="0"/>
                      </a:gradFill>
                    </a:rPr>
                    <a:t>Fiber: 50-100Mbs</a:t>
                  </a:r>
                </a:p>
              </p:txBody>
            </p:sp>
            <p:sp>
              <p:nvSpPr>
                <p:cNvPr id="2048" name="TextBox 2047"/>
                <p:cNvSpPr txBox="1"/>
                <p:nvPr/>
              </p:nvSpPr>
              <p:spPr>
                <a:xfrm>
                  <a:off x="7889556" y="3312890"/>
                  <a:ext cx="1290539" cy="738664"/>
                </a:xfrm>
                <a:prstGeom prst="rect">
                  <a:avLst/>
                </a:prstGeom>
                <a:noFill/>
              </p:spPr>
              <p:txBody>
                <a:bodyPr wrap="square" lIns="0" tIns="0" rIns="0" bIns="0" rtlCol="0">
                  <a:spAutoFit/>
                </a:bodyPr>
                <a:lstStyle/>
                <a:p>
                  <a:pPr algn="ctr"/>
                  <a:r>
                    <a:rPr lang="en-US" sz="900" b="1" dirty="0">
                      <a:gradFill>
                        <a:gsLst>
                          <a:gs pos="0">
                            <a:schemeClr val="tx1"/>
                          </a:gs>
                          <a:gs pos="86000">
                            <a:schemeClr val="tx1"/>
                          </a:gs>
                        </a:gsLst>
                        <a:lin ang="5400000" scaled="0"/>
                      </a:gradFill>
                    </a:rPr>
                    <a:t>6+billion people</a:t>
                  </a:r>
                </a:p>
                <a:p>
                  <a:pPr algn="ctr"/>
                  <a:r>
                    <a:rPr lang="en-US" sz="900" b="1" dirty="0">
                      <a:gradFill>
                        <a:gsLst>
                          <a:gs pos="0">
                            <a:schemeClr val="tx1"/>
                          </a:gs>
                          <a:gs pos="86000">
                            <a:schemeClr val="tx1"/>
                          </a:gs>
                        </a:gsLst>
                        <a:lin ang="5400000" scaled="0"/>
                      </a:gradFill>
                    </a:rPr>
                    <a:t>1.5 billion use net</a:t>
                  </a:r>
                </a:p>
                <a:p>
                  <a:pPr algn="ctr"/>
                  <a:r>
                    <a:rPr lang="en-US" sz="900" b="1" dirty="0">
                      <a:gradFill>
                        <a:gsLst>
                          <a:gs pos="0">
                            <a:schemeClr val="tx1"/>
                          </a:gs>
                          <a:gs pos="86000">
                            <a:schemeClr val="tx1"/>
                          </a:gs>
                        </a:gsLst>
                        <a:lin ang="5400000" scaled="0"/>
                      </a:gradFill>
                    </a:rPr>
                    <a:t>US: 4.3 devices </a:t>
                  </a:r>
                </a:p>
                <a:p>
                  <a:pPr algn="ctr"/>
                  <a:r>
                    <a:rPr lang="en-US" sz="900" b="1" dirty="0">
                      <a:gradFill>
                        <a:gsLst>
                          <a:gs pos="0">
                            <a:schemeClr val="tx1"/>
                          </a:gs>
                          <a:gs pos="86000">
                            <a:schemeClr val="tx1"/>
                          </a:gs>
                        </a:gsLst>
                        <a:lin ang="5400000" scaled="0"/>
                      </a:gradFill>
                    </a:rPr>
                    <a:t>per adult</a:t>
                  </a:r>
                </a:p>
              </p:txBody>
            </p:sp>
          </p:grpSp>
          <p:pic>
            <p:nvPicPr>
              <p:cNvPr id="2068" name="Picture 20" descr="C:\Users\HOWARDY.REDMOND\AppData\Local\Microsoft\Windows\Temporary Internet Files\Content.IE5\D2ELR7P4\MC900432567[1].png"/>
              <p:cNvPicPr>
                <a:picLocks noChangeAspect="1" noChangeArrowheads="1"/>
              </p:cNvPicPr>
              <p:nvPr/>
            </p:nvPicPr>
            <p:blipFill>
              <a:blip r:embed="rId20">
                <a:extLst>
                  <a:ext uri="{BEBA8EAE-BF5A-486C-A8C5-ECC9F3942E4B}">
                    <a14:imgProps xmlns:a14="http://schemas.microsoft.com/office/drawing/2010/main">
                      <a14:imgLayer r:embed="rId21">
                        <a14:imgEffect>
                          <a14:brightnessContrast bright="88000"/>
                        </a14:imgEffect>
                      </a14:imgLayer>
                    </a14:imgProps>
                  </a:ext>
                  <a:ext uri="{28A0092B-C50C-407E-A947-70E740481C1C}">
                    <a14:useLocalDpi xmlns:a14="http://schemas.microsoft.com/office/drawing/2010/main" val="0"/>
                  </a:ext>
                </a:extLst>
              </a:blip>
              <a:srcRect/>
              <a:stretch>
                <a:fillRect/>
              </a:stretch>
            </p:blipFill>
            <p:spPr bwMode="auto">
              <a:xfrm>
                <a:off x="9690404" y="3012108"/>
                <a:ext cx="924422" cy="924422"/>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62"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64"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2"/>
              </a:rPr>
              <a:t>www.rapidbbs.cn</a:t>
            </a:r>
            <a:endParaRPr lang="zh-CN" altLang="en-US" sz="1200" b="0">
              <a:latin typeface="Arial" charset="0"/>
              <a:ea typeface="ＭＳ Ｐゴシック" pitchFamily="34" charset="-128"/>
            </a:endParaRPr>
          </a:p>
        </p:txBody>
      </p:sp>
      <p:pic>
        <p:nvPicPr>
          <p:cNvPr id="65" name="Picture 2">
            <a:hlinkClick r:id="rId22"/>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93115996"/>
      </p:ext>
    </p:extLst>
  </p:cSld>
  <p:clrMapOvr>
    <a:masterClrMapping/>
  </p:clrMapOvr>
  <p:transition spd="slow">
    <p:push dir="u"/>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14:presetBounceEnd="5000">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14:bounceEnd="5000">
                                          <p:cBhvr additive="base">
                                            <p:cTn id="7" dur="1000" fill="hold"/>
                                            <p:tgtEl>
                                              <p:spTgt spid="9"/>
                                            </p:tgtEl>
                                            <p:attrNameLst>
                                              <p:attrName>ppt_x</p:attrName>
                                            </p:attrNameLst>
                                          </p:cBhvr>
                                          <p:tavLst>
                                            <p:tav tm="0">
                                              <p:val>
                                                <p:strVal val="0-#ppt_w/2"/>
                                              </p:val>
                                            </p:tav>
                                            <p:tav tm="100000">
                                              <p:val>
                                                <p:strVal val="#ppt_x"/>
                                              </p:val>
                                            </p:tav>
                                          </p:tavLst>
                                        </p:anim>
                                        <p:anim calcmode="lin" valueType="num" p14:bounceEnd="5000">
                                          <p:cBhvr additive="base">
                                            <p:cTn id="8" dur="10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14:presetBounceEnd="5000">
                                      <p:stCondLst>
                                        <p:cond delay="0"/>
                                      </p:stCondLst>
                                      <p:childTnLst>
                                        <p:set>
                                          <p:cBhvr>
                                            <p:cTn id="10" dur="1" fill="hold">
                                              <p:stCondLst>
                                                <p:cond delay="0"/>
                                              </p:stCondLst>
                                            </p:cTn>
                                            <p:tgtEl>
                                              <p:spTgt spid="28"/>
                                            </p:tgtEl>
                                            <p:attrNameLst>
                                              <p:attrName>style.visibility</p:attrName>
                                            </p:attrNameLst>
                                          </p:cBhvr>
                                          <p:to>
                                            <p:strVal val="visible"/>
                                          </p:to>
                                        </p:set>
                                        <p:anim calcmode="lin" valueType="num" p14:bounceEnd="5000">
                                          <p:cBhvr additive="base">
                                            <p:cTn id="11" dur="1000" fill="hold"/>
                                            <p:tgtEl>
                                              <p:spTgt spid="28"/>
                                            </p:tgtEl>
                                            <p:attrNameLst>
                                              <p:attrName>ppt_x</p:attrName>
                                            </p:attrNameLst>
                                          </p:cBhvr>
                                          <p:tavLst>
                                            <p:tav tm="0">
                                              <p:val>
                                                <p:strVal val="1+#ppt_w/2"/>
                                              </p:val>
                                            </p:tav>
                                            <p:tav tm="100000">
                                              <p:val>
                                                <p:strVal val="#ppt_x"/>
                                              </p:val>
                                            </p:tav>
                                          </p:tavLst>
                                        </p:anim>
                                        <p:anim calcmode="lin" valueType="num" p14:bounceEnd="5000">
                                          <p:cBhvr additive="base">
                                            <p:cTn id="12" dur="1000" fill="hold"/>
                                            <p:tgtEl>
                                              <p:spTgt spid="2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1000" fill="hold"/>
                                            <p:tgtEl>
                                              <p:spTgt spid="9"/>
                                            </p:tgtEl>
                                            <p:attrNameLst>
                                              <p:attrName>ppt_x</p:attrName>
                                            </p:attrNameLst>
                                          </p:cBhvr>
                                          <p:tavLst>
                                            <p:tav tm="0">
                                              <p:val>
                                                <p:strVal val="0-#ppt_w/2"/>
                                              </p:val>
                                            </p:tav>
                                            <p:tav tm="100000">
                                              <p:val>
                                                <p:strVal val="#ppt_x"/>
                                              </p:val>
                                            </p:tav>
                                          </p:tavLst>
                                        </p:anim>
                                        <p:anim calcmode="lin" valueType="num">
                                          <p:cBhvr additive="base">
                                            <p:cTn id="8" dur="10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28"/>
                                            </p:tgtEl>
                                            <p:attrNameLst>
                                              <p:attrName>style.visibility</p:attrName>
                                            </p:attrNameLst>
                                          </p:cBhvr>
                                          <p:to>
                                            <p:strVal val="visible"/>
                                          </p:to>
                                        </p:set>
                                        <p:anim calcmode="lin" valueType="num">
                                          <p:cBhvr additive="base">
                                            <p:cTn id="11" dur="1000" fill="hold"/>
                                            <p:tgtEl>
                                              <p:spTgt spid="28"/>
                                            </p:tgtEl>
                                            <p:attrNameLst>
                                              <p:attrName>ppt_x</p:attrName>
                                            </p:attrNameLst>
                                          </p:cBhvr>
                                          <p:tavLst>
                                            <p:tav tm="0">
                                              <p:val>
                                                <p:strVal val="1+#ppt_w/2"/>
                                              </p:val>
                                            </p:tav>
                                            <p:tav tm="100000">
                                              <p:val>
                                                <p:strVal val="#ppt_x"/>
                                              </p:val>
                                            </p:tav>
                                          </p:tavLst>
                                        </p:anim>
                                        <p:anim calcmode="lin" valueType="num">
                                          <p:cBhvr additive="base">
                                            <p:cTn id="12" dur="1000" fill="hold"/>
                                            <p:tgtEl>
                                              <p:spTgt spid="2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3776524619"/>
              </p:ext>
            </p:extLst>
          </p:nvPr>
        </p:nvGraphicFramePr>
        <p:xfrm>
          <a:off x="0" y="1"/>
          <a:ext cx="158750" cy="119063"/>
        </p:xfrm>
        <a:graphic>
          <a:graphicData uri="http://schemas.openxmlformats.org/presentationml/2006/ole">
            <mc:AlternateContent xmlns:mc="http://schemas.openxmlformats.org/markup-compatibility/2006">
              <mc:Choice xmlns:v="urn:schemas-microsoft-com:vml" Requires="v">
                <p:oleObj spid="_x0000_s5153"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1"/>
                        <a:ext cx="158750" cy="119063"/>
                      </a:xfrm>
                      <a:prstGeom prst="rect">
                        <a:avLst/>
                      </a:prstGeom>
                    </p:spPr>
                  </p:pic>
                </p:oleObj>
              </mc:Fallback>
            </mc:AlternateContent>
          </a:graphicData>
        </a:graphic>
      </p:graphicFrame>
      <p:sp>
        <p:nvSpPr>
          <p:cNvPr id="42" name="TextBox 41"/>
          <p:cNvSpPr txBox="1"/>
          <p:nvPr>
            <p:custDataLst>
              <p:tags r:id="rId3"/>
            </p:custDataLst>
          </p:nvPr>
        </p:nvSpPr>
        <p:spPr>
          <a:xfrm>
            <a:off x="273049" y="779860"/>
            <a:ext cx="2286000" cy="2743200"/>
          </a:xfrm>
          <a:prstGeom prst="rect">
            <a:avLst/>
          </a:prstGeom>
          <a:noFill/>
          <a:ln w="6350" cap="flat" cmpd="sng" algn="ctr">
            <a:solidFill>
              <a:srgbClr val="FFFFFF">
                <a:alpha val="50000"/>
              </a:srgbClr>
            </a:solidFill>
            <a:prstDash val="solid"/>
            <a:headEnd type="none" w="med" len="med"/>
            <a:tailEnd type="none" w="med" len="med"/>
          </a:ln>
          <a:effectLst/>
        </p:spPr>
        <p:txBody>
          <a:bodyPr wrap="square" lIns="68586" tIns="1303140" rIns="68586" bIns="34294" rtlCol="0" anchor="t" anchorCtr="0">
            <a:noAutofit/>
          </a:bodyPr>
          <a:lstStyle>
            <a:defPPr>
              <a:defRPr lang="en-US"/>
            </a:defPPr>
            <a:lvl1pPr indent="-396875" algn="ctr">
              <a:lnSpc>
                <a:spcPct val="90000"/>
              </a:lnSpc>
              <a:spcBef>
                <a:spcPct val="20000"/>
              </a:spcBef>
              <a:buClr>
                <a:srgbClr val="777777"/>
              </a:buClr>
              <a:defRPr sz="2000" b="1"/>
            </a:lvl1pPr>
          </a:lstStyle>
          <a:p>
            <a:pPr defTabSz="685862">
              <a:lnSpc>
                <a:spcPct val="100000"/>
              </a:lnSpc>
              <a:spcBef>
                <a:spcPts val="900"/>
              </a:spcBef>
            </a:pPr>
            <a:r>
              <a:rPr lang="en-US" sz="1200" dirty="0">
                <a:solidFill>
                  <a:srgbClr val="FF8B00"/>
                </a:solidFill>
                <a:effectLst>
                  <a:outerShdw blurRad="711200" algn="tl">
                    <a:srgbClr val="FFFFFF">
                      <a:alpha val="39000"/>
                    </a:srgbClr>
                  </a:outerShdw>
                </a:effectLst>
              </a:rPr>
              <a:t>Sophisticated</a:t>
            </a:r>
            <a:r>
              <a:rPr lang="en-US" sz="1200" b="0" dirty="0">
                <a:solidFill>
                  <a:srgbClr val="FFFFFF"/>
                </a:solidFill>
              </a:rPr>
              <a:t> Design Environment</a:t>
            </a:r>
          </a:p>
          <a:p>
            <a:pPr defTabSz="685862">
              <a:lnSpc>
                <a:spcPct val="100000"/>
              </a:lnSpc>
              <a:spcBef>
                <a:spcPts val="900"/>
              </a:spcBef>
            </a:pPr>
            <a:r>
              <a:rPr lang="en-US" sz="1200" dirty="0">
                <a:solidFill>
                  <a:srgbClr val="FF8B00"/>
                </a:solidFill>
                <a:effectLst>
                  <a:outerShdw blurRad="711200" algn="tl">
                    <a:srgbClr val="FFFFFF">
                      <a:alpha val="39000"/>
                    </a:srgbClr>
                  </a:outerShdw>
                </a:effectLst>
                <a:sym typeface="Wingdings" pitchFamily="2" charset="2"/>
              </a:rPr>
              <a:t>Report Viewer </a:t>
            </a:r>
            <a:r>
              <a:rPr lang="en-US" sz="1200" b="0" dirty="0">
                <a:solidFill>
                  <a:srgbClr val="FFFFFF"/>
                </a:solidFill>
                <a:effectLst>
                  <a:outerShdw blurRad="50800" dist="38100" dir="2700000" algn="tl" rotWithShape="0">
                    <a:prstClr val="black">
                      <a:alpha val="40000"/>
                    </a:prstClr>
                  </a:outerShdw>
                </a:effectLst>
                <a:ea typeface="Segoe UI" pitchFamily="34" charset="0"/>
                <a:cs typeface="Segoe UI" pitchFamily="34" charset="0"/>
                <a:sym typeface="Wingdings" pitchFamily="2" charset="2"/>
              </a:rPr>
              <a:t>Controls</a:t>
            </a:r>
          </a:p>
          <a:p>
            <a:pPr defTabSz="685862">
              <a:lnSpc>
                <a:spcPct val="100000"/>
              </a:lnSpc>
              <a:spcBef>
                <a:spcPts val="900"/>
              </a:spcBef>
            </a:pPr>
            <a:r>
              <a:rPr lang="en-US" sz="1200" dirty="0">
                <a:solidFill>
                  <a:srgbClr val="FF8B00"/>
                </a:solidFill>
                <a:effectLst>
                  <a:outerShdw blurRad="711200" algn="tl">
                    <a:srgbClr val="FFFFFF">
                      <a:alpha val="39000"/>
                    </a:srgbClr>
                  </a:outerShdw>
                </a:effectLst>
                <a:sym typeface="Wingdings" pitchFamily="2" charset="2"/>
              </a:rPr>
              <a:t>Rich Design </a:t>
            </a:r>
            <a:r>
              <a:rPr lang="en-US" sz="1200" b="0" dirty="0">
                <a:solidFill>
                  <a:srgbClr val="FFFFFF"/>
                </a:solidFill>
                <a:effectLst>
                  <a:outerShdw blurRad="50800" dist="38100" dir="2700000" algn="tl" rotWithShape="0">
                    <a:prstClr val="black">
                      <a:alpha val="40000"/>
                    </a:prstClr>
                  </a:outerShdw>
                </a:effectLst>
                <a:ea typeface="Segoe UI" pitchFamily="34" charset="0"/>
                <a:cs typeface="Segoe UI" pitchFamily="34" charset="0"/>
                <a:sym typeface="Wingdings" pitchFamily="2" charset="2"/>
              </a:rPr>
              <a:t>Capabilities</a:t>
            </a:r>
          </a:p>
        </p:txBody>
      </p:sp>
      <p:sp>
        <p:nvSpPr>
          <p:cNvPr id="47" name="TextBox 46"/>
          <p:cNvSpPr txBox="1"/>
          <p:nvPr>
            <p:custDataLst>
              <p:tags r:id="rId4"/>
            </p:custDataLst>
          </p:nvPr>
        </p:nvSpPr>
        <p:spPr>
          <a:xfrm>
            <a:off x="2650171" y="779860"/>
            <a:ext cx="3840480" cy="2743200"/>
          </a:xfrm>
          <a:prstGeom prst="rect">
            <a:avLst/>
          </a:prstGeom>
          <a:noFill/>
          <a:ln w="6350" cap="flat" cmpd="sng" algn="ctr">
            <a:solidFill>
              <a:srgbClr val="FFFFFF">
                <a:alpha val="50000"/>
              </a:srgbClr>
            </a:solidFill>
            <a:prstDash val="solid"/>
            <a:headEnd type="none" w="med" len="med"/>
            <a:tailEnd type="none" w="med" len="med"/>
          </a:ln>
          <a:effectLst/>
        </p:spPr>
        <p:txBody>
          <a:bodyPr wrap="square" lIns="68586" tIns="1303140" rIns="68586" bIns="34294" rtlCol="0" anchor="t" anchorCtr="0">
            <a:noAutofit/>
          </a:bodyPr>
          <a:lstStyle>
            <a:defPPr>
              <a:defRPr lang="en-US"/>
            </a:defPPr>
            <a:lvl1pPr indent="-396875" algn="ctr">
              <a:lnSpc>
                <a:spcPct val="90000"/>
              </a:lnSpc>
              <a:spcBef>
                <a:spcPct val="20000"/>
              </a:spcBef>
              <a:buClr>
                <a:srgbClr val="777777"/>
              </a:buClr>
              <a:defRPr sz="2000" b="1"/>
            </a:lvl1pPr>
          </a:lstStyle>
          <a:p>
            <a:pPr defTabSz="685862">
              <a:lnSpc>
                <a:spcPct val="100000"/>
              </a:lnSpc>
              <a:spcBef>
                <a:spcPts val="900"/>
              </a:spcBef>
              <a:buClr>
                <a:srgbClr val="FFFFFF"/>
              </a:buClr>
              <a:buSzPct val="100000"/>
              <a:defRPr/>
            </a:pPr>
            <a:r>
              <a:rPr lang="en-US" sz="1200" dirty="0">
                <a:solidFill>
                  <a:srgbClr val="FF8B00"/>
                </a:solidFill>
                <a:effectLst>
                  <a:outerShdw blurRad="711200" algn="tl">
                    <a:srgbClr val="FFFFFF">
                      <a:alpha val="39000"/>
                    </a:srgbClr>
                  </a:outerShdw>
                </a:effectLst>
                <a:sym typeface="Wingdings" pitchFamily="2" charset="2"/>
              </a:rPr>
              <a:t>Productive</a:t>
            </a:r>
            <a:r>
              <a:rPr lang="en-US" sz="1200" b="0" dirty="0">
                <a:solidFill>
                  <a:srgbClr val="FFFFFF"/>
                </a:solidFill>
                <a:effectLst>
                  <a:outerShdw blurRad="50800" dist="38100" dir="2700000" algn="tl" rotWithShape="0">
                    <a:prstClr val="black">
                      <a:alpha val="40000"/>
                    </a:prstClr>
                  </a:outerShdw>
                </a:effectLst>
                <a:ea typeface="Segoe UI" pitchFamily="34" charset="0"/>
                <a:cs typeface="Segoe UI" pitchFamily="34" charset="0"/>
                <a:sym typeface="Wingdings" pitchFamily="2" charset="2"/>
              </a:rPr>
              <a:t> Authoring</a:t>
            </a:r>
          </a:p>
          <a:p>
            <a:pPr defTabSz="685862">
              <a:lnSpc>
                <a:spcPct val="100000"/>
              </a:lnSpc>
              <a:spcBef>
                <a:spcPts val="900"/>
              </a:spcBef>
              <a:buClr>
                <a:srgbClr val="FFFFFF"/>
              </a:buClr>
              <a:buSzPct val="100000"/>
              <a:defRPr/>
            </a:pPr>
            <a:r>
              <a:rPr lang="en-US" sz="1200" b="0" dirty="0">
                <a:solidFill>
                  <a:srgbClr val="FFFFFF"/>
                </a:solidFill>
                <a:effectLst>
                  <a:outerShdw blurRad="50800" dist="38100" dir="2700000" algn="tl" rotWithShape="0">
                    <a:prstClr val="black">
                      <a:alpha val="40000"/>
                    </a:prstClr>
                  </a:outerShdw>
                </a:effectLst>
                <a:ea typeface="Segoe UI" pitchFamily="34" charset="0"/>
                <a:cs typeface="Segoe UI" pitchFamily="34" charset="0"/>
                <a:sym typeface="Wingdings" pitchFamily="2" charset="2"/>
              </a:rPr>
              <a:t>Re-use of </a:t>
            </a:r>
            <a:r>
              <a:rPr lang="en-US" sz="1200" dirty="0">
                <a:solidFill>
                  <a:srgbClr val="FF8B00"/>
                </a:solidFill>
                <a:effectLst>
                  <a:outerShdw blurRad="711200" algn="tl">
                    <a:srgbClr val="FFFFFF">
                      <a:alpha val="39000"/>
                    </a:srgbClr>
                  </a:outerShdw>
                </a:effectLst>
                <a:sym typeface="Wingdings" pitchFamily="2" charset="2"/>
              </a:rPr>
              <a:t>insights</a:t>
            </a:r>
          </a:p>
          <a:p>
            <a:pPr defTabSz="685862">
              <a:lnSpc>
                <a:spcPct val="100000"/>
              </a:lnSpc>
              <a:spcBef>
                <a:spcPts val="900"/>
              </a:spcBef>
              <a:buClr>
                <a:srgbClr val="FFFFFF"/>
              </a:buClr>
              <a:buSzPct val="100000"/>
              <a:defRPr/>
            </a:pPr>
            <a:r>
              <a:rPr lang="en-US" sz="1200" dirty="0">
                <a:solidFill>
                  <a:srgbClr val="FF8B00"/>
                </a:solidFill>
                <a:effectLst>
                  <a:outerShdw blurRad="711200" algn="tl">
                    <a:srgbClr val="FFFFFF">
                      <a:alpha val="39000"/>
                    </a:srgbClr>
                  </a:outerShdw>
                </a:effectLst>
                <a:sym typeface="Wingdings" pitchFamily="2" charset="2"/>
              </a:rPr>
              <a:t>Flexible</a:t>
            </a:r>
            <a:r>
              <a:rPr lang="en-US" sz="1200" b="0" dirty="0">
                <a:solidFill>
                  <a:srgbClr val="FFFFFF"/>
                </a:solidFill>
                <a:effectLst>
                  <a:outerShdw blurRad="50800" dist="38100" dir="2700000" algn="tl" rotWithShape="0">
                    <a:prstClr val="black">
                      <a:alpha val="40000"/>
                    </a:prstClr>
                  </a:outerShdw>
                </a:effectLst>
                <a:ea typeface="Segoe UI" pitchFamily="34" charset="0"/>
                <a:cs typeface="Segoe UI" pitchFamily="34" charset="0"/>
                <a:sym typeface="Wingdings" pitchFamily="2" charset="2"/>
              </a:rPr>
              <a:t> layout</a:t>
            </a:r>
          </a:p>
        </p:txBody>
      </p:sp>
      <p:sp>
        <p:nvSpPr>
          <p:cNvPr id="48" name="TextBox 47"/>
          <p:cNvSpPr txBox="1"/>
          <p:nvPr>
            <p:custDataLst>
              <p:tags r:id="rId5"/>
            </p:custDataLst>
          </p:nvPr>
        </p:nvSpPr>
        <p:spPr>
          <a:xfrm>
            <a:off x="6581774" y="779860"/>
            <a:ext cx="2286000" cy="2743200"/>
          </a:xfrm>
          <a:prstGeom prst="rect">
            <a:avLst/>
          </a:prstGeom>
          <a:noFill/>
          <a:ln w="6350" cap="flat" cmpd="sng" algn="ctr">
            <a:solidFill>
              <a:srgbClr val="FFFFFF">
                <a:alpha val="50000"/>
              </a:srgbClr>
            </a:solidFill>
            <a:prstDash val="solid"/>
            <a:headEnd type="none" w="med" len="med"/>
            <a:tailEnd type="none" w="med" len="med"/>
          </a:ln>
          <a:effectLst/>
        </p:spPr>
        <p:txBody>
          <a:bodyPr wrap="square" lIns="68586" tIns="1303140" rIns="68586" bIns="34294" rtlCol="0" anchor="t" anchorCtr="0">
            <a:noAutofit/>
          </a:bodyPr>
          <a:lstStyle>
            <a:defPPr>
              <a:defRPr lang="en-US"/>
            </a:defPPr>
            <a:lvl1pPr indent="-396875" algn="ctr">
              <a:lnSpc>
                <a:spcPct val="90000"/>
              </a:lnSpc>
              <a:spcBef>
                <a:spcPct val="20000"/>
              </a:spcBef>
              <a:buClr>
                <a:srgbClr val="777777"/>
              </a:buClr>
              <a:defRPr sz="2000" b="1"/>
            </a:lvl1pPr>
          </a:lstStyle>
          <a:p>
            <a:pPr defTabSz="685862">
              <a:lnSpc>
                <a:spcPct val="100000"/>
              </a:lnSpc>
              <a:spcBef>
                <a:spcPts val="900"/>
              </a:spcBef>
            </a:pPr>
            <a:r>
              <a:rPr lang="en-US" sz="1200" dirty="0">
                <a:solidFill>
                  <a:srgbClr val="FF8B00"/>
                </a:solidFill>
                <a:effectLst>
                  <a:outerShdw blurRad="711200" algn="tl">
                    <a:srgbClr val="FFFFFF">
                      <a:alpha val="39000"/>
                    </a:srgbClr>
                  </a:outerShdw>
                </a:effectLst>
              </a:rPr>
              <a:t>Visual</a:t>
            </a:r>
            <a:r>
              <a:rPr lang="en-US" sz="1200" b="0" dirty="0">
                <a:solidFill>
                  <a:srgbClr val="FFFFFF"/>
                </a:solidFill>
              </a:rPr>
              <a:t> </a:t>
            </a:r>
            <a:r>
              <a:rPr lang="en-US" sz="1200" dirty="0">
                <a:solidFill>
                  <a:srgbClr val="FF8B00"/>
                </a:solidFill>
                <a:effectLst>
                  <a:outerShdw blurRad="711200" algn="tl">
                    <a:srgbClr val="FFFFFF">
                      <a:alpha val="39000"/>
                    </a:srgbClr>
                  </a:outerShdw>
                </a:effectLst>
              </a:rPr>
              <a:t>data</a:t>
            </a:r>
            <a:r>
              <a:rPr lang="en-US" sz="1200" b="0" dirty="0">
                <a:solidFill>
                  <a:srgbClr val="FFFFFF"/>
                </a:solidFill>
              </a:rPr>
              <a:t> representation</a:t>
            </a:r>
          </a:p>
          <a:p>
            <a:pPr defTabSz="685862">
              <a:lnSpc>
                <a:spcPct val="100000"/>
              </a:lnSpc>
              <a:spcBef>
                <a:spcPts val="900"/>
              </a:spcBef>
            </a:pPr>
            <a:r>
              <a:rPr lang="en-US" sz="1200" b="0" dirty="0">
                <a:solidFill>
                  <a:srgbClr val="FFFFFF"/>
                </a:solidFill>
                <a:effectLst>
                  <a:outerShdw blurRad="50800" dist="38100" dir="2700000" algn="tl" rotWithShape="0">
                    <a:prstClr val="black">
                      <a:alpha val="40000"/>
                    </a:prstClr>
                  </a:outerShdw>
                </a:effectLst>
                <a:ea typeface="Segoe UI" pitchFamily="34" charset="0"/>
                <a:cs typeface="Segoe UI" pitchFamily="34" charset="0"/>
                <a:sym typeface="Wingdings" pitchFamily="2" charset="2"/>
              </a:rPr>
              <a:t>Highly </a:t>
            </a:r>
            <a:r>
              <a:rPr lang="en-US" sz="1200" dirty="0">
                <a:solidFill>
                  <a:srgbClr val="FF8B00"/>
                </a:solidFill>
                <a:effectLst>
                  <a:outerShdw blurRad="711200" algn="tl">
                    <a:srgbClr val="FFFFFF">
                      <a:alpha val="39000"/>
                    </a:srgbClr>
                  </a:outerShdw>
                </a:effectLst>
                <a:sym typeface="Wingdings" pitchFamily="2" charset="2"/>
              </a:rPr>
              <a:t>Interactive</a:t>
            </a:r>
          </a:p>
          <a:p>
            <a:pPr defTabSz="685862">
              <a:lnSpc>
                <a:spcPct val="100000"/>
              </a:lnSpc>
              <a:spcBef>
                <a:spcPts val="900"/>
              </a:spcBef>
            </a:pPr>
            <a:r>
              <a:rPr lang="en-US" sz="1200" dirty="0">
                <a:solidFill>
                  <a:srgbClr val="FF8B00"/>
                </a:solidFill>
                <a:effectLst>
                  <a:outerShdw blurRad="711200" algn="tl">
                    <a:srgbClr val="FFFFFF">
                      <a:alpha val="39000"/>
                    </a:srgbClr>
                  </a:outerShdw>
                </a:effectLst>
                <a:sym typeface="Wingdings" pitchFamily="2" charset="2"/>
              </a:rPr>
              <a:t>Rich Presentation</a:t>
            </a:r>
          </a:p>
        </p:txBody>
      </p:sp>
      <p:sp>
        <p:nvSpPr>
          <p:cNvPr id="3" name="Title 2"/>
          <p:cNvSpPr>
            <a:spLocks noGrp="1"/>
          </p:cNvSpPr>
          <p:nvPr>
            <p:ph type="title"/>
            <p:custDataLst>
              <p:tags r:id="rId6"/>
            </p:custDataLst>
          </p:nvPr>
        </p:nvSpPr>
        <p:spPr>
          <a:xfrm>
            <a:off x="273051" y="171451"/>
            <a:ext cx="8594725" cy="332399"/>
          </a:xfrm>
        </p:spPr>
        <p:txBody>
          <a:bodyPr/>
          <a:lstStyle/>
          <a:p>
            <a:r>
              <a:rPr lang="en-US" sz="2400" cap="all" dirty="0">
                <a:latin typeface="Segoe Light" pitchFamily="34" charset="0"/>
                <a:ea typeface="+mj-ea"/>
                <a:cs typeface="+mj-cs"/>
              </a:rPr>
              <a:t>Reporting Services for All Users</a:t>
            </a:r>
          </a:p>
        </p:txBody>
      </p:sp>
      <p:sp>
        <p:nvSpPr>
          <p:cNvPr id="4" name="Left-Right Arrow 3"/>
          <p:cNvSpPr/>
          <p:nvPr>
            <p:custDataLst>
              <p:tags r:id="rId7"/>
            </p:custDataLst>
          </p:nvPr>
        </p:nvSpPr>
        <p:spPr bwMode="auto">
          <a:xfrm>
            <a:off x="1280160" y="4397692"/>
            <a:ext cx="6583680" cy="548640"/>
          </a:xfrm>
          <a:prstGeom prst="leftRightArrow">
            <a:avLst>
              <a:gd name="adj1" fmla="val 53473"/>
              <a:gd name="adj2" fmla="val 39306"/>
            </a:avLst>
          </a:prstGeom>
          <a:noFill/>
          <a:ln w="6350" cap="flat" cmpd="sng" algn="ctr">
            <a:solidFill>
              <a:srgbClr val="FFFFFF">
                <a:alpha val="50000"/>
              </a:srgbClr>
            </a:solidFill>
            <a:prstDash val="solid"/>
            <a:headEnd type="none" w="med" len="med"/>
            <a:tailEnd type="none" w="med" len="med"/>
          </a:ln>
          <a:effectLst/>
        </p:spPr>
        <p:txBody>
          <a:bodyPr wrap="square" lIns="68586" tIns="34294" rIns="68586" bIns="34294" rtlCol="0" anchor="t" anchorCtr="0">
            <a:noAutofit/>
          </a:bodyPr>
          <a:lstStyle/>
          <a:p>
            <a:pPr indent="-297684" algn="ctr">
              <a:buClr>
                <a:srgbClr val="777777"/>
              </a:buClr>
              <a:buSzPct val="80000"/>
            </a:pPr>
            <a:endParaRPr lang="en-US" sz="1800" b="1" kern="0" dirty="0">
              <a:solidFill>
                <a:srgbClr val="FF8B00"/>
              </a:solidFill>
              <a:effectLst>
                <a:outerShdw blurRad="190500" algn="ctr" rotWithShape="0">
                  <a:srgbClr val="FFFFFF">
                    <a:alpha val="40000"/>
                  </a:srgbClr>
                </a:outerShdw>
              </a:effectLst>
              <a:latin typeface="Segoe Condensed" pitchFamily="34" charset="0"/>
            </a:endParaRPr>
          </a:p>
        </p:txBody>
      </p:sp>
      <p:sp>
        <p:nvSpPr>
          <p:cNvPr id="7" name="Rectangle 6"/>
          <p:cNvSpPr/>
          <p:nvPr>
            <p:custDataLst>
              <p:tags r:id="rId8"/>
            </p:custDataLst>
          </p:nvPr>
        </p:nvSpPr>
        <p:spPr>
          <a:xfrm>
            <a:off x="2060094" y="4521970"/>
            <a:ext cx="1121159" cy="300092"/>
          </a:xfrm>
          <a:prstGeom prst="rect">
            <a:avLst/>
          </a:prstGeom>
        </p:spPr>
        <p:txBody>
          <a:bodyPr wrap="none" lIns="68586" tIns="34294" rIns="68586" bIns="34294">
            <a:spAutoFit/>
          </a:bodyPr>
          <a:lstStyle/>
          <a:p>
            <a:pPr defTabSz="685862"/>
            <a:r>
              <a:rPr lang="en-US" sz="1500" b="1" kern="0" dirty="0">
                <a:solidFill>
                  <a:srgbClr val="FFFFFF"/>
                </a:solidFill>
                <a:effectLst>
                  <a:outerShdw blurRad="190500" algn="ctr" rotWithShape="0">
                    <a:srgbClr val="FFFFFF">
                      <a:alpha val="40000"/>
                    </a:srgbClr>
                  </a:outerShdw>
                </a:effectLst>
                <a:latin typeface="Segoe Condensed" pitchFamily="34" charset="0"/>
              </a:rPr>
              <a:t>Embedded</a:t>
            </a:r>
          </a:p>
        </p:txBody>
      </p:sp>
      <p:sp>
        <p:nvSpPr>
          <p:cNvPr id="40" name="Rectangle 39"/>
          <p:cNvSpPr/>
          <p:nvPr>
            <p:custDataLst>
              <p:tags r:id="rId9"/>
            </p:custDataLst>
          </p:nvPr>
        </p:nvSpPr>
        <p:spPr>
          <a:xfrm>
            <a:off x="3920219" y="4521970"/>
            <a:ext cx="1206118" cy="300092"/>
          </a:xfrm>
          <a:prstGeom prst="rect">
            <a:avLst/>
          </a:prstGeom>
        </p:spPr>
        <p:txBody>
          <a:bodyPr wrap="none" lIns="68586" tIns="34294" rIns="68586" bIns="34294">
            <a:spAutoFit/>
          </a:bodyPr>
          <a:lstStyle/>
          <a:p>
            <a:pPr defTabSz="685862"/>
            <a:r>
              <a:rPr lang="en-US" sz="1500" b="1" kern="0" dirty="0">
                <a:solidFill>
                  <a:srgbClr val="FFFFFF"/>
                </a:solidFill>
                <a:effectLst>
                  <a:outerShdw blurRad="190500" algn="ctr" rotWithShape="0">
                    <a:srgbClr val="FFFFFF">
                      <a:alpha val="40000"/>
                    </a:srgbClr>
                  </a:outerShdw>
                </a:effectLst>
                <a:latin typeface="Segoe Condensed" pitchFamily="34" charset="0"/>
              </a:rPr>
              <a:t>Operational</a:t>
            </a:r>
          </a:p>
        </p:txBody>
      </p:sp>
      <p:sp>
        <p:nvSpPr>
          <p:cNvPr id="41" name="Rectangle 40"/>
          <p:cNvSpPr/>
          <p:nvPr>
            <p:custDataLst>
              <p:tags r:id="rId10"/>
            </p:custDataLst>
          </p:nvPr>
        </p:nvSpPr>
        <p:spPr>
          <a:xfrm>
            <a:off x="5990342" y="4521970"/>
            <a:ext cx="994521" cy="300092"/>
          </a:xfrm>
          <a:prstGeom prst="rect">
            <a:avLst/>
          </a:prstGeom>
        </p:spPr>
        <p:txBody>
          <a:bodyPr wrap="none" lIns="68586" tIns="34294" rIns="68586" bIns="34294">
            <a:spAutoFit/>
          </a:bodyPr>
          <a:lstStyle/>
          <a:p>
            <a:pPr defTabSz="685862"/>
            <a:r>
              <a:rPr lang="en-US" sz="1500" b="1" kern="0" dirty="0">
                <a:solidFill>
                  <a:srgbClr val="FFFFFF"/>
                </a:solidFill>
                <a:effectLst>
                  <a:outerShdw blurRad="190500" algn="ctr" rotWithShape="0">
                    <a:srgbClr val="FFFFFF">
                      <a:alpha val="40000"/>
                    </a:srgbClr>
                  </a:outerShdw>
                </a:effectLst>
                <a:latin typeface="Segoe Condensed" pitchFamily="34" charset="0"/>
              </a:rPr>
              <a:t>Business</a:t>
            </a:r>
          </a:p>
        </p:txBody>
      </p:sp>
      <p:sp>
        <p:nvSpPr>
          <p:cNvPr id="43" name="TextBox 42"/>
          <p:cNvSpPr txBox="1"/>
          <p:nvPr>
            <p:custDataLst>
              <p:tags r:id="rId11"/>
            </p:custDataLst>
          </p:nvPr>
        </p:nvSpPr>
        <p:spPr>
          <a:xfrm>
            <a:off x="273049" y="779860"/>
            <a:ext cx="2286000" cy="342900"/>
          </a:xfrm>
          <a:prstGeom prst="rect">
            <a:avLst/>
          </a:prstGeom>
          <a:pattFill prst="dkUpDiag">
            <a:fgClr>
              <a:schemeClr val="accent2"/>
            </a:fgClr>
            <a:bgClr>
              <a:schemeClr val="accent2">
                <a:lumMod val="75000"/>
              </a:schemeClr>
            </a:bgClr>
          </a:pattFill>
          <a:ln w="3175" cap="flat" cmpd="sng" algn="ctr">
            <a:noFill/>
            <a:prstDash val="solid"/>
            <a:headEnd type="none" w="med" len="med"/>
            <a:tailEnd type="none" w="med" len="med"/>
          </a:ln>
          <a:effectLst/>
        </p:spPr>
        <p:txBody>
          <a:bodyPr spcFirstLastPara="0" vert="horz" wrap="square" lIns="68586" tIns="34294" rIns="68586" bIns="34294" numCol="1" spcCol="953" anchor="ctr" anchorCtr="0">
            <a:noAutofit/>
          </a:bodyPr>
          <a:lstStyle>
            <a:defPPr>
              <a:defRPr lang="en-US"/>
            </a:defPPr>
            <a:lvl1pPr lvl="0" algn="ctr">
              <a:defRPr b="1" kern="0">
                <a:ln>
                  <a:solidFill>
                    <a:srgbClr val="FFFFFF">
                      <a:alpha val="0"/>
                    </a:srgbClr>
                  </a:solidFill>
                </a:ln>
                <a:solidFill>
                  <a:srgbClr val="000000"/>
                </a:solidFill>
                <a:latin typeface="Segoe Condensed" pitchFamily="34" charset="0"/>
              </a:defRPr>
            </a:lvl1pPr>
          </a:lstStyle>
          <a:p>
            <a:pPr defTabSz="685862"/>
            <a:r>
              <a:rPr lang="en-US" sz="1800" dirty="0">
                <a:solidFill>
                  <a:srgbClr val="FFFFFF"/>
                </a:solidFill>
              </a:rPr>
              <a:t>Developers</a:t>
            </a:r>
          </a:p>
        </p:txBody>
      </p:sp>
      <p:sp>
        <p:nvSpPr>
          <p:cNvPr id="44" name="TextBox 43"/>
          <p:cNvSpPr txBox="1"/>
          <p:nvPr>
            <p:custDataLst>
              <p:tags r:id="rId12"/>
            </p:custDataLst>
          </p:nvPr>
        </p:nvSpPr>
        <p:spPr>
          <a:xfrm>
            <a:off x="6581774" y="779860"/>
            <a:ext cx="2286000" cy="342900"/>
          </a:xfrm>
          <a:prstGeom prst="rect">
            <a:avLst/>
          </a:prstGeom>
          <a:pattFill prst="dkUpDiag">
            <a:fgClr>
              <a:schemeClr val="accent2"/>
            </a:fgClr>
            <a:bgClr>
              <a:schemeClr val="accent2">
                <a:lumMod val="75000"/>
              </a:schemeClr>
            </a:bgClr>
          </a:pattFill>
          <a:ln w="3175" cap="flat" cmpd="sng" algn="ctr">
            <a:noFill/>
            <a:prstDash val="solid"/>
            <a:headEnd type="none" w="med" len="med"/>
            <a:tailEnd type="none" w="med" len="med"/>
          </a:ln>
          <a:effectLst/>
        </p:spPr>
        <p:txBody>
          <a:bodyPr spcFirstLastPara="0" vert="horz" wrap="square" lIns="68586" tIns="34294" rIns="68586" bIns="34294" numCol="1" spcCol="953" anchor="ctr" anchorCtr="0">
            <a:noAutofit/>
          </a:bodyPr>
          <a:lstStyle>
            <a:defPPr>
              <a:defRPr lang="en-US"/>
            </a:defPPr>
            <a:lvl1pPr lvl="0" algn="ctr">
              <a:defRPr b="1" kern="0">
                <a:ln>
                  <a:solidFill>
                    <a:srgbClr val="FFFFFF">
                      <a:alpha val="0"/>
                    </a:srgbClr>
                  </a:solidFill>
                </a:ln>
                <a:solidFill>
                  <a:srgbClr val="000000"/>
                </a:solidFill>
                <a:latin typeface="Segoe Condensed" pitchFamily="34" charset="0"/>
              </a:defRPr>
            </a:lvl1pPr>
          </a:lstStyle>
          <a:p>
            <a:pPr defTabSz="685862"/>
            <a:r>
              <a:rPr lang="en-US" sz="1800" dirty="0">
                <a:solidFill>
                  <a:srgbClr val="FFFFFF"/>
                </a:solidFill>
              </a:rPr>
              <a:t>Business Users</a:t>
            </a:r>
          </a:p>
        </p:txBody>
      </p:sp>
      <p:sp>
        <p:nvSpPr>
          <p:cNvPr id="45" name="TextBox 44"/>
          <p:cNvSpPr txBox="1"/>
          <p:nvPr>
            <p:custDataLst>
              <p:tags r:id="rId13"/>
            </p:custDataLst>
          </p:nvPr>
        </p:nvSpPr>
        <p:spPr>
          <a:xfrm>
            <a:off x="2650171" y="779860"/>
            <a:ext cx="3840480" cy="342900"/>
          </a:xfrm>
          <a:prstGeom prst="rect">
            <a:avLst/>
          </a:prstGeom>
          <a:pattFill prst="dkUpDiag">
            <a:fgClr>
              <a:schemeClr val="accent2"/>
            </a:fgClr>
            <a:bgClr>
              <a:schemeClr val="accent2">
                <a:lumMod val="75000"/>
              </a:schemeClr>
            </a:bgClr>
          </a:pattFill>
          <a:ln w="3175" cap="flat" cmpd="sng" algn="ctr">
            <a:noFill/>
            <a:prstDash val="solid"/>
            <a:headEnd type="none" w="med" len="med"/>
            <a:tailEnd type="none" w="med" len="med"/>
          </a:ln>
          <a:effectLst/>
        </p:spPr>
        <p:txBody>
          <a:bodyPr spcFirstLastPara="0" vert="horz" wrap="square" lIns="68586" tIns="34294" rIns="68586" bIns="34294" numCol="1" spcCol="953" anchor="ctr" anchorCtr="0">
            <a:noAutofit/>
          </a:bodyPr>
          <a:lstStyle>
            <a:defPPr>
              <a:defRPr lang="en-US"/>
            </a:defPPr>
            <a:lvl1pPr lvl="0" algn="ctr">
              <a:defRPr b="1" kern="0">
                <a:ln>
                  <a:solidFill>
                    <a:srgbClr val="FFFFFF">
                      <a:alpha val="0"/>
                    </a:srgbClr>
                  </a:solidFill>
                </a:ln>
                <a:solidFill>
                  <a:srgbClr val="000000"/>
                </a:solidFill>
                <a:latin typeface="Segoe Condensed" pitchFamily="34" charset="0"/>
              </a:defRPr>
            </a:lvl1pPr>
          </a:lstStyle>
          <a:p>
            <a:pPr defTabSz="685862"/>
            <a:endParaRPr lang="en-US" sz="1800" dirty="0">
              <a:solidFill>
                <a:srgbClr val="FFFFFF"/>
              </a:solidFill>
            </a:endParaRPr>
          </a:p>
        </p:txBody>
      </p:sp>
      <p:sp>
        <p:nvSpPr>
          <p:cNvPr id="50" name="Trapezoid 49"/>
          <p:cNvSpPr/>
          <p:nvPr/>
        </p:nvSpPr>
        <p:spPr bwMode="auto">
          <a:xfrm rot="10800000">
            <a:off x="273049" y="3540440"/>
            <a:ext cx="8595360" cy="274320"/>
          </a:xfrm>
          <a:prstGeom prst="trapezoid">
            <a:avLst>
              <a:gd name="adj" fmla="val 370833"/>
            </a:avLst>
          </a:prstGeom>
          <a:gradFill flip="none" rotWithShape="1">
            <a:gsLst>
              <a:gs pos="0">
                <a:schemeClr val="bg1">
                  <a:alpha val="0"/>
                </a:schemeClr>
              </a:gs>
              <a:gs pos="100000">
                <a:schemeClr val="tx1"/>
              </a:gs>
            </a:gsLst>
            <a:lin ang="16200000" scaled="1"/>
            <a:tileRect/>
          </a:gradFill>
          <a:ln w="12700" cap="flat" cmpd="sng" algn="ctr">
            <a:gradFill flip="none" rotWithShape="1">
              <a:gsLst>
                <a:gs pos="0">
                  <a:schemeClr val="tx1">
                    <a:alpha val="75000"/>
                  </a:schemeClr>
                </a:gs>
                <a:gs pos="50000">
                  <a:schemeClr val="tx1">
                    <a:alpha val="27000"/>
                  </a:schemeClr>
                </a:gs>
                <a:gs pos="100000">
                  <a:schemeClr val="tx1">
                    <a:alpha val="0"/>
                  </a:schemeClr>
                </a:gs>
              </a:gsLst>
              <a:lin ang="5400000" scaled="1"/>
              <a:tileRect/>
            </a:gradFill>
            <a:prstDash val="solid"/>
            <a:round/>
            <a:headEnd type="none" w="med" len="med"/>
            <a:tailEnd type="none" w="med" len="med"/>
          </a:ln>
          <a:effectLst/>
        </p:spPr>
        <p:txBody>
          <a:bodyPr vert="horz" wrap="square" lIns="34286" tIns="34286" rIns="41142" bIns="30861" numCol="1" rtlCol="0" anchor="ctr" anchorCtr="1" compatLnSpc="1">
            <a:prstTxWarp prst="textNoShape">
              <a:avLst/>
            </a:prstTxWarp>
          </a:bodyPr>
          <a:lstStyle/>
          <a:p>
            <a:pPr marL="170376" indent="-170376" algn="ctr" defTabSz="685682" fontAlgn="base">
              <a:lnSpc>
                <a:spcPct val="90000"/>
              </a:lnSpc>
              <a:spcBef>
                <a:spcPts val="473"/>
              </a:spcBef>
              <a:spcAft>
                <a:spcPct val="0"/>
              </a:spcAft>
              <a:buClr>
                <a:srgbClr val="FFFF99"/>
              </a:buClr>
              <a:buSzPct val="120000"/>
            </a:pPr>
            <a:endParaRPr lang="en-US" sz="2400" i="1" dirty="0" err="1">
              <a:solidFill>
                <a:srgbClr val="FFFFFF"/>
              </a:solidFill>
              <a:latin typeface="Segoe" pitchFamily="34" charset="0"/>
            </a:endParaRPr>
          </a:p>
        </p:txBody>
      </p:sp>
      <p:sp>
        <p:nvSpPr>
          <p:cNvPr id="51" name="TextBox 50"/>
          <p:cNvSpPr txBox="1"/>
          <p:nvPr>
            <p:custDataLst>
              <p:tags r:id="rId14"/>
            </p:custDataLst>
          </p:nvPr>
        </p:nvSpPr>
        <p:spPr>
          <a:xfrm>
            <a:off x="1645920" y="3814762"/>
            <a:ext cx="5852160" cy="480060"/>
          </a:xfrm>
          <a:prstGeom prst="rect">
            <a:avLst/>
          </a:prstGeom>
          <a:noFill/>
          <a:ln w="6350" cap="flat" cmpd="sng" algn="ctr">
            <a:solidFill>
              <a:srgbClr val="FFFFFF">
                <a:alpha val="50000"/>
              </a:srgbClr>
            </a:solidFill>
            <a:prstDash val="solid"/>
            <a:headEnd type="none" w="med" len="med"/>
            <a:tailEnd type="none" w="med" len="med"/>
          </a:ln>
          <a:effectLst/>
        </p:spPr>
        <p:txBody>
          <a:bodyPr wrap="square" lIns="68586" tIns="34294" rIns="68586" bIns="34294" rtlCol="0" anchor="t" anchorCtr="0">
            <a:noAutofit/>
          </a:bodyPr>
          <a:lstStyle>
            <a:defPPr>
              <a:defRPr lang="en-US"/>
            </a:defPPr>
            <a:lvl1pPr indent="-396875" algn="ctr">
              <a:lnSpc>
                <a:spcPct val="90000"/>
              </a:lnSpc>
              <a:spcBef>
                <a:spcPct val="20000"/>
              </a:spcBef>
              <a:buClr>
                <a:srgbClr val="777777"/>
              </a:buClr>
              <a:defRPr sz="2000" b="1"/>
            </a:lvl1pPr>
          </a:lstStyle>
          <a:p>
            <a:pPr defTabSz="685862"/>
            <a:endParaRPr lang="en-US" dirty="0">
              <a:solidFill>
                <a:srgbClr val="FFFFFF"/>
              </a:solidFill>
            </a:endParaRPr>
          </a:p>
        </p:txBody>
      </p:sp>
      <p:sp>
        <p:nvSpPr>
          <p:cNvPr id="52" name="TextBox 51"/>
          <p:cNvSpPr txBox="1"/>
          <p:nvPr>
            <p:custDataLst>
              <p:tags r:id="rId15"/>
            </p:custDataLst>
          </p:nvPr>
        </p:nvSpPr>
        <p:spPr>
          <a:xfrm>
            <a:off x="1737361" y="3883342"/>
            <a:ext cx="1828800" cy="342900"/>
          </a:xfrm>
          <a:prstGeom prst="rect">
            <a:avLst/>
          </a:prstGeom>
          <a:solidFill>
            <a:schemeClr val="bg1"/>
          </a:solidFill>
          <a:ln w="6350" cap="flat" cmpd="sng" algn="ctr">
            <a:noFill/>
            <a:prstDash val="solid"/>
            <a:headEnd type="none" w="med" len="med"/>
            <a:tailEnd type="none" w="med" len="med"/>
          </a:ln>
          <a:effectLst/>
        </p:spPr>
        <p:txBody>
          <a:bodyPr wrap="square" lIns="68586" tIns="34294" rIns="68586" bIns="34294" rtlCol="0" anchor="ctr" anchorCtr="0">
            <a:noAutofit/>
          </a:bodyPr>
          <a:lstStyle>
            <a:defPPr>
              <a:defRPr lang="en-US"/>
            </a:defPPr>
            <a:lvl1pPr indent="-396875" algn="ctr">
              <a:lnSpc>
                <a:spcPct val="90000"/>
              </a:lnSpc>
              <a:spcBef>
                <a:spcPct val="20000"/>
              </a:spcBef>
              <a:buClr>
                <a:srgbClr val="777777"/>
              </a:buClr>
              <a:defRPr sz="2000" b="1"/>
            </a:lvl1pPr>
          </a:lstStyle>
          <a:p>
            <a:pPr defTabSz="685862"/>
            <a:r>
              <a:rPr lang="en-US" sz="1200" b="0" dirty="0">
                <a:solidFill>
                  <a:srgbClr val="FFFFFF"/>
                </a:solidFill>
              </a:rPr>
              <a:t>Report Designer</a:t>
            </a:r>
          </a:p>
        </p:txBody>
      </p:sp>
      <p:sp>
        <p:nvSpPr>
          <p:cNvPr id="53" name="TextBox 52"/>
          <p:cNvSpPr txBox="1"/>
          <p:nvPr>
            <p:custDataLst>
              <p:tags r:id="rId16"/>
            </p:custDataLst>
          </p:nvPr>
        </p:nvSpPr>
        <p:spPr>
          <a:xfrm>
            <a:off x="3657600" y="3883342"/>
            <a:ext cx="1828800" cy="342900"/>
          </a:xfrm>
          <a:prstGeom prst="rect">
            <a:avLst/>
          </a:prstGeom>
          <a:solidFill>
            <a:schemeClr val="bg1"/>
          </a:solidFill>
          <a:ln w="6350" cap="flat" cmpd="sng" algn="ctr">
            <a:noFill/>
            <a:prstDash val="solid"/>
            <a:headEnd type="none" w="med" len="med"/>
            <a:tailEnd type="none" w="med" len="med"/>
          </a:ln>
          <a:effectLst/>
        </p:spPr>
        <p:txBody>
          <a:bodyPr wrap="square" lIns="68586" tIns="34294" rIns="68586" bIns="34294" rtlCol="0" anchor="ctr" anchorCtr="0">
            <a:noAutofit/>
          </a:bodyPr>
          <a:lstStyle>
            <a:defPPr>
              <a:defRPr lang="en-US"/>
            </a:defPPr>
            <a:lvl1pPr indent="-396875" algn="ctr">
              <a:lnSpc>
                <a:spcPct val="90000"/>
              </a:lnSpc>
              <a:spcBef>
                <a:spcPct val="20000"/>
              </a:spcBef>
              <a:buClr>
                <a:srgbClr val="777777"/>
              </a:buClr>
              <a:defRPr sz="2000" b="1"/>
            </a:lvl1pPr>
          </a:lstStyle>
          <a:p>
            <a:pPr defTabSz="685862"/>
            <a:r>
              <a:rPr lang="en-US" sz="1200" b="0" dirty="0">
                <a:solidFill>
                  <a:srgbClr val="FFFFFF"/>
                </a:solidFill>
              </a:rPr>
              <a:t>Report Builder</a:t>
            </a:r>
          </a:p>
        </p:txBody>
      </p:sp>
      <p:sp>
        <p:nvSpPr>
          <p:cNvPr id="55" name="TextBox 54"/>
          <p:cNvSpPr txBox="1"/>
          <p:nvPr>
            <p:custDataLst>
              <p:tags r:id="rId17"/>
            </p:custDataLst>
          </p:nvPr>
        </p:nvSpPr>
        <p:spPr>
          <a:xfrm>
            <a:off x="5577840" y="3883342"/>
            <a:ext cx="1828800" cy="342900"/>
          </a:xfrm>
          <a:prstGeom prst="rect">
            <a:avLst/>
          </a:prstGeom>
          <a:solidFill>
            <a:schemeClr val="bg1"/>
          </a:solidFill>
          <a:ln w="6350" cap="flat" cmpd="sng" algn="ctr">
            <a:noFill/>
            <a:prstDash val="solid"/>
            <a:headEnd type="none" w="med" len="med"/>
            <a:tailEnd type="none" w="med" len="med"/>
          </a:ln>
          <a:effectLst/>
        </p:spPr>
        <p:txBody>
          <a:bodyPr wrap="square" lIns="68586" tIns="34294" rIns="68586" bIns="34294" rtlCol="0" anchor="ctr" anchorCtr="0">
            <a:noAutofit/>
          </a:bodyPr>
          <a:lstStyle>
            <a:defPPr>
              <a:defRPr lang="en-US"/>
            </a:defPPr>
            <a:lvl1pPr indent="-396875" algn="ctr">
              <a:lnSpc>
                <a:spcPct val="90000"/>
              </a:lnSpc>
              <a:spcBef>
                <a:spcPct val="20000"/>
              </a:spcBef>
              <a:buClr>
                <a:srgbClr val="777777"/>
              </a:buClr>
              <a:defRPr sz="2000" b="1"/>
            </a:lvl1pPr>
          </a:lstStyle>
          <a:p>
            <a:pPr defTabSz="685862"/>
            <a:r>
              <a:rPr lang="en-US" sz="1200" b="0" dirty="0">
                <a:solidFill>
                  <a:srgbClr val="FFFFFF"/>
                </a:solidFill>
              </a:rPr>
              <a:t>Power View</a:t>
            </a:r>
          </a:p>
        </p:txBody>
      </p:sp>
      <p:sp>
        <p:nvSpPr>
          <p:cNvPr id="56" name="TextBox 55"/>
          <p:cNvSpPr txBox="1"/>
          <p:nvPr>
            <p:custDataLst>
              <p:tags r:id="rId18"/>
            </p:custDataLst>
          </p:nvPr>
        </p:nvSpPr>
        <p:spPr>
          <a:xfrm>
            <a:off x="2650171" y="779860"/>
            <a:ext cx="1920240" cy="342900"/>
          </a:xfrm>
          <a:prstGeom prst="rect">
            <a:avLst/>
          </a:prstGeom>
          <a:noFill/>
          <a:ln w="3175" cap="flat" cmpd="sng" algn="ctr">
            <a:noFill/>
            <a:prstDash val="solid"/>
            <a:headEnd type="none" w="med" len="med"/>
            <a:tailEnd type="none" w="med" len="med"/>
          </a:ln>
          <a:effectLst/>
        </p:spPr>
        <p:txBody>
          <a:bodyPr spcFirstLastPara="0" vert="horz" wrap="square" lIns="68586" tIns="34294" rIns="68586" bIns="34294" numCol="1" spcCol="953" anchor="ctr" anchorCtr="0">
            <a:noAutofit/>
          </a:bodyPr>
          <a:lstStyle>
            <a:defPPr>
              <a:defRPr lang="en-US"/>
            </a:defPPr>
            <a:lvl1pPr lvl="0" algn="ctr">
              <a:defRPr b="1" kern="0">
                <a:ln>
                  <a:solidFill>
                    <a:srgbClr val="FFFFFF">
                      <a:alpha val="0"/>
                    </a:srgbClr>
                  </a:solidFill>
                </a:ln>
                <a:solidFill>
                  <a:srgbClr val="000000"/>
                </a:solidFill>
                <a:latin typeface="Segoe Condensed" pitchFamily="34" charset="0"/>
              </a:defRPr>
            </a:lvl1pPr>
          </a:lstStyle>
          <a:p>
            <a:pPr defTabSz="685862"/>
            <a:r>
              <a:rPr lang="en-US" sz="1800" dirty="0">
                <a:solidFill>
                  <a:srgbClr val="FFFFFF"/>
                </a:solidFill>
              </a:rPr>
              <a:t>IT Pros</a:t>
            </a:r>
          </a:p>
        </p:txBody>
      </p:sp>
      <p:sp>
        <p:nvSpPr>
          <p:cNvPr id="57" name="TextBox 56"/>
          <p:cNvSpPr txBox="1"/>
          <p:nvPr>
            <p:custDataLst>
              <p:tags r:id="rId19"/>
            </p:custDataLst>
          </p:nvPr>
        </p:nvSpPr>
        <p:spPr>
          <a:xfrm>
            <a:off x="4616132" y="779860"/>
            <a:ext cx="1920240" cy="342900"/>
          </a:xfrm>
          <a:prstGeom prst="rect">
            <a:avLst/>
          </a:prstGeom>
          <a:noFill/>
          <a:ln w="3175" cap="flat" cmpd="sng" algn="ctr">
            <a:noFill/>
            <a:prstDash val="solid"/>
            <a:headEnd type="none" w="med" len="med"/>
            <a:tailEnd type="none" w="med" len="med"/>
          </a:ln>
          <a:effectLst/>
        </p:spPr>
        <p:txBody>
          <a:bodyPr spcFirstLastPara="0" vert="horz" wrap="square" lIns="68586" tIns="34294" rIns="68586" bIns="34294" numCol="1" spcCol="953" anchor="ctr" anchorCtr="0">
            <a:noAutofit/>
          </a:bodyPr>
          <a:lstStyle>
            <a:defPPr>
              <a:defRPr lang="en-US"/>
            </a:defPPr>
            <a:lvl1pPr lvl="0" algn="ctr">
              <a:defRPr b="1" kern="0">
                <a:ln>
                  <a:solidFill>
                    <a:srgbClr val="FFFFFF">
                      <a:alpha val="0"/>
                    </a:srgbClr>
                  </a:solidFill>
                </a:ln>
                <a:solidFill>
                  <a:srgbClr val="000000"/>
                </a:solidFill>
                <a:latin typeface="Segoe Condensed" pitchFamily="34" charset="0"/>
              </a:defRPr>
            </a:lvl1pPr>
          </a:lstStyle>
          <a:p>
            <a:pPr defTabSz="685862"/>
            <a:r>
              <a:rPr lang="en-US" sz="1800" dirty="0">
                <a:solidFill>
                  <a:srgbClr val="FFFFFF"/>
                </a:solidFill>
              </a:rPr>
              <a:t>Power Users</a:t>
            </a:r>
          </a:p>
        </p:txBody>
      </p:sp>
      <p:cxnSp>
        <p:nvCxnSpPr>
          <p:cNvPr id="12" name="Straight Connector 11"/>
          <p:cNvCxnSpPr>
            <a:stCxn id="47" idx="0"/>
            <a:endCxn id="45" idx="2"/>
          </p:cNvCxnSpPr>
          <p:nvPr/>
        </p:nvCxnSpPr>
        <p:spPr>
          <a:xfrm>
            <a:off x="4570411" y="779860"/>
            <a:ext cx="0" cy="342900"/>
          </a:xfrm>
          <a:prstGeom prst="line">
            <a:avLst/>
          </a:prstGeom>
          <a:ln>
            <a:solidFill>
              <a:schemeClr val="tx1">
                <a:alpha val="50000"/>
              </a:schemeClr>
            </a:solidFill>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944312" y="1218972"/>
            <a:ext cx="943477" cy="746864"/>
            <a:chOff x="3178605" y="1172857"/>
            <a:chExt cx="3954460" cy="4173843"/>
          </a:xfrm>
          <a:solidFill>
            <a:schemeClr val="tx1"/>
          </a:solidFill>
        </p:grpSpPr>
        <p:sp>
          <p:nvSpPr>
            <p:cNvPr id="23" name="Freeform 22"/>
            <p:cNvSpPr/>
            <p:nvPr/>
          </p:nvSpPr>
          <p:spPr>
            <a:xfrm>
              <a:off x="3178605" y="2575878"/>
              <a:ext cx="1700526" cy="2545333"/>
            </a:xfrm>
            <a:custGeom>
              <a:avLst/>
              <a:gdLst>
                <a:gd name="connsiteX0" fmla="*/ 1093358 w 1700526"/>
                <a:gd name="connsiteY0" fmla="*/ 2265997 h 2545333"/>
                <a:gd name="connsiteX1" fmla="*/ 1079070 w 1700526"/>
                <a:gd name="connsiteY1" fmla="*/ 2351722 h 2545333"/>
                <a:gd name="connsiteX2" fmla="*/ 1090574 w 1700526"/>
                <a:gd name="connsiteY2" fmla="*/ 2454957 h 2545333"/>
                <a:gd name="connsiteX3" fmla="*/ 1040168 w 1700526"/>
                <a:gd name="connsiteY3" fmla="*/ 2464240 h 2545333"/>
                <a:gd name="connsiteX4" fmla="*/ 1040970 w 1700526"/>
                <a:gd name="connsiteY4" fmla="*/ 2451735 h 2545333"/>
                <a:gd name="connsiteX5" fmla="*/ 1069545 w 1700526"/>
                <a:gd name="connsiteY5" fmla="*/ 2323147 h 2545333"/>
                <a:gd name="connsiteX6" fmla="*/ 1093358 w 1700526"/>
                <a:gd name="connsiteY6" fmla="*/ 2265997 h 2545333"/>
                <a:gd name="connsiteX7" fmla="*/ 1614375 w 1700526"/>
                <a:gd name="connsiteY7" fmla="*/ 538962 h 2545333"/>
                <a:gd name="connsiteX8" fmla="*/ 1669620 w 1700526"/>
                <a:gd name="connsiteY8" fmla="*/ 613410 h 2545333"/>
                <a:gd name="connsiteX9" fmla="*/ 1700526 w 1700526"/>
                <a:gd name="connsiteY9" fmla="*/ 648587 h 2545333"/>
                <a:gd name="connsiteX10" fmla="*/ 1700526 w 1700526"/>
                <a:gd name="connsiteY10" fmla="*/ 743556 h 2545333"/>
                <a:gd name="connsiteX11" fmla="*/ 1660095 w 1700526"/>
                <a:gd name="connsiteY11" fmla="*/ 818197 h 2545333"/>
                <a:gd name="connsiteX12" fmla="*/ 1614375 w 1700526"/>
                <a:gd name="connsiteY12" fmla="*/ 907520 h 2545333"/>
                <a:gd name="connsiteX13" fmla="*/ 1614375 w 1700526"/>
                <a:gd name="connsiteY13" fmla="*/ 538962 h 2545333"/>
                <a:gd name="connsiteX14" fmla="*/ 407558 w 1700526"/>
                <a:gd name="connsiteY14" fmla="*/ 113347 h 2545333"/>
                <a:gd name="connsiteX15" fmla="*/ 59895 w 1700526"/>
                <a:gd name="connsiteY15" fmla="*/ 132397 h 2545333"/>
                <a:gd name="connsiteX16" fmla="*/ 59895 w 1700526"/>
                <a:gd name="connsiteY16" fmla="*/ 446722 h 2545333"/>
                <a:gd name="connsiteX17" fmla="*/ 88470 w 1700526"/>
                <a:gd name="connsiteY17" fmla="*/ 156210 h 2545333"/>
                <a:gd name="connsiteX18" fmla="*/ 407558 w 1700526"/>
                <a:gd name="connsiteY18" fmla="*/ 113347 h 2545333"/>
                <a:gd name="connsiteX19" fmla="*/ 939051 w 1700526"/>
                <a:gd name="connsiteY19" fmla="*/ 52387 h 2545333"/>
                <a:gd name="connsiteX20" fmla="*/ 889044 w 1700526"/>
                <a:gd name="connsiteY20" fmla="*/ 69056 h 2545333"/>
                <a:gd name="connsiteX21" fmla="*/ 889044 w 1700526"/>
                <a:gd name="connsiteY21" fmla="*/ 103636 h 2545333"/>
                <a:gd name="connsiteX22" fmla="*/ 1209494 w 1700526"/>
                <a:gd name="connsiteY22" fmla="*/ 199929 h 2545333"/>
                <a:gd name="connsiteX23" fmla="*/ 1205751 w 1700526"/>
                <a:gd name="connsiteY23" fmla="*/ 161925 h 2545333"/>
                <a:gd name="connsiteX24" fmla="*/ 939051 w 1700526"/>
                <a:gd name="connsiteY24" fmla="*/ 52387 h 2545333"/>
                <a:gd name="connsiteX25" fmla="*/ 939051 w 1700526"/>
                <a:gd name="connsiteY25" fmla="*/ 0 h 2545333"/>
                <a:gd name="connsiteX26" fmla="*/ 1215276 w 1700526"/>
                <a:gd name="connsiteY26" fmla="*/ 119062 h 2545333"/>
                <a:gd name="connsiteX27" fmla="*/ 1255757 w 1700526"/>
                <a:gd name="connsiteY27" fmla="*/ 157163 h 2545333"/>
                <a:gd name="connsiteX28" fmla="*/ 1255757 w 1700526"/>
                <a:gd name="connsiteY28" fmla="*/ 213831 h 2545333"/>
                <a:gd name="connsiteX29" fmla="*/ 1533554 w 1700526"/>
                <a:gd name="connsiteY29" fmla="*/ 297308 h 2545333"/>
                <a:gd name="connsiteX30" fmla="*/ 1550558 w 1700526"/>
                <a:gd name="connsiteY30" fmla="*/ 375285 h 2545333"/>
                <a:gd name="connsiteX31" fmla="*/ 1562758 w 1700526"/>
                <a:gd name="connsiteY31" fmla="*/ 424788 h 2545333"/>
                <a:gd name="connsiteX32" fmla="*/ 707595 w 1700526"/>
                <a:gd name="connsiteY32" fmla="*/ 187642 h 2545333"/>
                <a:gd name="connsiteX33" fmla="*/ 1568655 w 1700526"/>
                <a:gd name="connsiteY33" fmla="*/ 469582 h 2545333"/>
                <a:gd name="connsiteX34" fmla="*/ 1582522 w 1700526"/>
                <a:gd name="connsiteY34" fmla="*/ 966472 h 2545333"/>
                <a:gd name="connsiteX35" fmla="*/ 1560083 w 1700526"/>
                <a:gd name="connsiteY35" fmla="*/ 1003935 h 2545333"/>
                <a:gd name="connsiteX36" fmla="*/ 1474358 w 1700526"/>
                <a:gd name="connsiteY36" fmla="*/ 1094422 h 2545333"/>
                <a:gd name="connsiteX37" fmla="*/ 1360058 w 1700526"/>
                <a:gd name="connsiteY37" fmla="*/ 1142047 h 2545333"/>
                <a:gd name="connsiteX38" fmla="*/ 1202895 w 1700526"/>
                <a:gd name="connsiteY38" fmla="*/ 1189672 h 2545333"/>
                <a:gd name="connsiteX39" fmla="*/ 983820 w 1700526"/>
                <a:gd name="connsiteY39" fmla="*/ 1251585 h 2545333"/>
                <a:gd name="connsiteX40" fmla="*/ 745695 w 1700526"/>
                <a:gd name="connsiteY40" fmla="*/ 1342072 h 2545333"/>
                <a:gd name="connsiteX41" fmla="*/ 621870 w 1700526"/>
                <a:gd name="connsiteY41" fmla="*/ 1427797 h 2545333"/>
                <a:gd name="connsiteX42" fmla="*/ 602819 w 1700526"/>
                <a:gd name="connsiteY42" fmla="*/ 1460905 h 2545333"/>
                <a:gd name="connsiteX43" fmla="*/ 602819 w 1700526"/>
                <a:gd name="connsiteY43" fmla="*/ 70485 h 2545333"/>
                <a:gd name="connsiteX44" fmla="*/ 579008 w 1700526"/>
                <a:gd name="connsiteY44" fmla="*/ 82391 h 2545333"/>
                <a:gd name="connsiteX45" fmla="*/ 585775 w 1700526"/>
                <a:gd name="connsiteY45" fmla="*/ 1502155 h 2545333"/>
                <a:gd name="connsiteX46" fmla="*/ 574245 w 1700526"/>
                <a:gd name="connsiteY46" fmla="*/ 1546860 h 2545333"/>
                <a:gd name="connsiteX47" fmla="*/ 559958 w 1700526"/>
                <a:gd name="connsiteY47" fmla="*/ 1732597 h 2545333"/>
                <a:gd name="connsiteX48" fmla="*/ 581017 w 1700526"/>
                <a:gd name="connsiteY48" fmla="*/ 1901895 h 2545333"/>
                <a:gd name="connsiteX49" fmla="*/ 574244 w 1700526"/>
                <a:gd name="connsiteY49" fmla="*/ 2470785 h 2545333"/>
                <a:gd name="connsiteX50" fmla="*/ 221819 w 1700526"/>
                <a:gd name="connsiteY50" fmla="*/ 2442210 h 2545333"/>
                <a:gd name="connsiteX51" fmla="*/ 602819 w 1700526"/>
                <a:gd name="connsiteY51" fmla="*/ 2499360 h 2545333"/>
                <a:gd name="connsiteX52" fmla="*/ 602819 w 1700526"/>
                <a:gd name="connsiteY52" fmla="*/ 1987531 h 2545333"/>
                <a:gd name="connsiteX53" fmla="*/ 645683 w 1700526"/>
                <a:gd name="connsiteY53" fmla="*/ 2089785 h 2545333"/>
                <a:gd name="connsiteX54" fmla="*/ 750458 w 1700526"/>
                <a:gd name="connsiteY54" fmla="*/ 2270760 h 2545333"/>
                <a:gd name="connsiteX55" fmla="*/ 869520 w 1700526"/>
                <a:gd name="connsiteY55" fmla="*/ 2423160 h 2545333"/>
                <a:gd name="connsiteX56" fmla="*/ 928437 w 1700526"/>
                <a:gd name="connsiteY56" fmla="*/ 2484818 h 2545333"/>
                <a:gd name="connsiteX57" fmla="*/ 599860 w 1700526"/>
                <a:gd name="connsiteY57" fmla="*/ 2545333 h 2545333"/>
                <a:gd name="connsiteX58" fmla="*/ 32385 w 1700526"/>
                <a:gd name="connsiteY58" fmla="*/ 2474403 h 2545333"/>
                <a:gd name="connsiteX59" fmla="*/ 2328 w 1700526"/>
                <a:gd name="connsiteY59" fmla="*/ 2443649 h 2545333"/>
                <a:gd name="connsiteX60" fmla="*/ 0 w 1700526"/>
                <a:gd name="connsiteY60" fmla="*/ 95355 h 2545333"/>
                <a:gd name="connsiteX61" fmla="*/ 30645 w 1700526"/>
                <a:gd name="connsiteY61" fmla="*/ 66357 h 2545333"/>
                <a:gd name="connsiteX62" fmla="*/ 599860 w 1700526"/>
                <a:gd name="connsiteY62" fmla="*/ 16737 h 2545333"/>
                <a:gd name="connsiteX63" fmla="*/ 839752 w 1700526"/>
                <a:gd name="connsiteY63" fmla="*/ 88823 h 2545333"/>
                <a:gd name="connsiteX64" fmla="*/ 848563 w 1700526"/>
                <a:gd name="connsiteY64" fmla="*/ 38100 h 2545333"/>
                <a:gd name="connsiteX65" fmla="*/ 939051 w 1700526"/>
                <a:gd name="connsiteY65" fmla="*/ 0 h 2545333"/>
                <a:gd name="connsiteX0" fmla="*/ 1093358 w 1700526"/>
                <a:gd name="connsiteY0" fmla="*/ 2265997 h 2545333"/>
                <a:gd name="connsiteX1" fmla="*/ 1079070 w 1700526"/>
                <a:gd name="connsiteY1" fmla="*/ 2351722 h 2545333"/>
                <a:gd name="connsiteX2" fmla="*/ 1090574 w 1700526"/>
                <a:gd name="connsiteY2" fmla="*/ 2454957 h 2545333"/>
                <a:gd name="connsiteX3" fmla="*/ 1040168 w 1700526"/>
                <a:gd name="connsiteY3" fmla="*/ 2464240 h 2545333"/>
                <a:gd name="connsiteX4" fmla="*/ 1040970 w 1700526"/>
                <a:gd name="connsiteY4" fmla="*/ 2451735 h 2545333"/>
                <a:gd name="connsiteX5" fmla="*/ 1069545 w 1700526"/>
                <a:gd name="connsiteY5" fmla="*/ 2323147 h 2545333"/>
                <a:gd name="connsiteX6" fmla="*/ 1093358 w 1700526"/>
                <a:gd name="connsiteY6" fmla="*/ 2265997 h 2545333"/>
                <a:gd name="connsiteX7" fmla="*/ 1614375 w 1700526"/>
                <a:gd name="connsiteY7" fmla="*/ 538962 h 2545333"/>
                <a:gd name="connsiteX8" fmla="*/ 1669620 w 1700526"/>
                <a:gd name="connsiteY8" fmla="*/ 613410 h 2545333"/>
                <a:gd name="connsiteX9" fmla="*/ 1700526 w 1700526"/>
                <a:gd name="connsiteY9" fmla="*/ 648587 h 2545333"/>
                <a:gd name="connsiteX10" fmla="*/ 1700526 w 1700526"/>
                <a:gd name="connsiteY10" fmla="*/ 743556 h 2545333"/>
                <a:gd name="connsiteX11" fmla="*/ 1660095 w 1700526"/>
                <a:gd name="connsiteY11" fmla="*/ 818197 h 2545333"/>
                <a:gd name="connsiteX12" fmla="*/ 1614375 w 1700526"/>
                <a:gd name="connsiteY12" fmla="*/ 907520 h 2545333"/>
                <a:gd name="connsiteX13" fmla="*/ 1614375 w 1700526"/>
                <a:gd name="connsiteY13" fmla="*/ 538962 h 2545333"/>
                <a:gd name="connsiteX14" fmla="*/ 407558 w 1700526"/>
                <a:gd name="connsiteY14" fmla="*/ 113347 h 2545333"/>
                <a:gd name="connsiteX15" fmla="*/ 59895 w 1700526"/>
                <a:gd name="connsiteY15" fmla="*/ 132397 h 2545333"/>
                <a:gd name="connsiteX16" fmla="*/ 59895 w 1700526"/>
                <a:gd name="connsiteY16" fmla="*/ 446722 h 2545333"/>
                <a:gd name="connsiteX17" fmla="*/ 88470 w 1700526"/>
                <a:gd name="connsiteY17" fmla="*/ 156210 h 2545333"/>
                <a:gd name="connsiteX18" fmla="*/ 407558 w 1700526"/>
                <a:gd name="connsiteY18" fmla="*/ 113347 h 2545333"/>
                <a:gd name="connsiteX19" fmla="*/ 939051 w 1700526"/>
                <a:gd name="connsiteY19" fmla="*/ 52387 h 2545333"/>
                <a:gd name="connsiteX20" fmla="*/ 889044 w 1700526"/>
                <a:gd name="connsiteY20" fmla="*/ 69056 h 2545333"/>
                <a:gd name="connsiteX21" fmla="*/ 889044 w 1700526"/>
                <a:gd name="connsiteY21" fmla="*/ 103636 h 2545333"/>
                <a:gd name="connsiteX22" fmla="*/ 1209494 w 1700526"/>
                <a:gd name="connsiteY22" fmla="*/ 199929 h 2545333"/>
                <a:gd name="connsiteX23" fmla="*/ 1205751 w 1700526"/>
                <a:gd name="connsiteY23" fmla="*/ 161925 h 2545333"/>
                <a:gd name="connsiteX24" fmla="*/ 939051 w 1700526"/>
                <a:gd name="connsiteY24" fmla="*/ 52387 h 2545333"/>
                <a:gd name="connsiteX25" fmla="*/ 939051 w 1700526"/>
                <a:gd name="connsiteY25" fmla="*/ 0 h 2545333"/>
                <a:gd name="connsiteX26" fmla="*/ 1215276 w 1700526"/>
                <a:gd name="connsiteY26" fmla="*/ 119062 h 2545333"/>
                <a:gd name="connsiteX27" fmla="*/ 1255757 w 1700526"/>
                <a:gd name="connsiteY27" fmla="*/ 157163 h 2545333"/>
                <a:gd name="connsiteX28" fmla="*/ 1255757 w 1700526"/>
                <a:gd name="connsiteY28" fmla="*/ 213831 h 2545333"/>
                <a:gd name="connsiteX29" fmla="*/ 1533554 w 1700526"/>
                <a:gd name="connsiteY29" fmla="*/ 297308 h 2545333"/>
                <a:gd name="connsiteX30" fmla="*/ 1550558 w 1700526"/>
                <a:gd name="connsiteY30" fmla="*/ 375285 h 2545333"/>
                <a:gd name="connsiteX31" fmla="*/ 1562758 w 1700526"/>
                <a:gd name="connsiteY31" fmla="*/ 424788 h 2545333"/>
                <a:gd name="connsiteX32" fmla="*/ 707595 w 1700526"/>
                <a:gd name="connsiteY32" fmla="*/ 187642 h 2545333"/>
                <a:gd name="connsiteX33" fmla="*/ 1568655 w 1700526"/>
                <a:gd name="connsiteY33" fmla="*/ 469582 h 2545333"/>
                <a:gd name="connsiteX34" fmla="*/ 1582522 w 1700526"/>
                <a:gd name="connsiteY34" fmla="*/ 966472 h 2545333"/>
                <a:gd name="connsiteX35" fmla="*/ 1560083 w 1700526"/>
                <a:gd name="connsiteY35" fmla="*/ 1003935 h 2545333"/>
                <a:gd name="connsiteX36" fmla="*/ 1474358 w 1700526"/>
                <a:gd name="connsiteY36" fmla="*/ 1094422 h 2545333"/>
                <a:gd name="connsiteX37" fmla="*/ 1360058 w 1700526"/>
                <a:gd name="connsiteY37" fmla="*/ 1142047 h 2545333"/>
                <a:gd name="connsiteX38" fmla="*/ 1202895 w 1700526"/>
                <a:gd name="connsiteY38" fmla="*/ 1189672 h 2545333"/>
                <a:gd name="connsiteX39" fmla="*/ 983820 w 1700526"/>
                <a:gd name="connsiteY39" fmla="*/ 1251585 h 2545333"/>
                <a:gd name="connsiteX40" fmla="*/ 745695 w 1700526"/>
                <a:gd name="connsiteY40" fmla="*/ 1342072 h 2545333"/>
                <a:gd name="connsiteX41" fmla="*/ 621870 w 1700526"/>
                <a:gd name="connsiteY41" fmla="*/ 1427797 h 2545333"/>
                <a:gd name="connsiteX42" fmla="*/ 602819 w 1700526"/>
                <a:gd name="connsiteY42" fmla="*/ 1460905 h 2545333"/>
                <a:gd name="connsiteX43" fmla="*/ 602819 w 1700526"/>
                <a:gd name="connsiteY43" fmla="*/ 70485 h 2545333"/>
                <a:gd name="connsiteX44" fmla="*/ 579008 w 1700526"/>
                <a:gd name="connsiteY44" fmla="*/ 82391 h 2545333"/>
                <a:gd name="connsiteX45" fmla="*/ 585775 w 1700526"/>
                <a:gd name="connsiteY45" fmla="*/ 1502155 h 2545333"/>
                <a:gd name="connsiteX46" fmla="*/ 574245 w 1700526"/>
                <a:gd name="connsiteY46" fmla="*/ 1546860 h 2545333"/>
                <a:gd name="connsiteX47" fmla="*/ 559958 w 1700526"/>
                <a:gd name="connsiteY47" fmla="*/ 1732597 h 2545333"/>
                <a:gd name="connsiteX48" fmla="*/ 581017 w 1700526"/>
                <a:gd name="connsiteY48" fmla="*/ 1901895 h 2545333"/>
                <a:gd name="connsiteX49" fmla="*/ 574244 w 1700526"/>
                <a:gd name="connsiteY49" fmla="*/ 2470785 h 2545333"/>
                <a:gd name="connsiteX50" fmla="*/ 221819 w 1700526"/>
                <a:gd name="connsiteY50" fmla="*/ 2442210 h 2545333"/>
                <a:gd name="connsiteX51" fmla="*/ 602819 w 1700526"/>
                <a:gd name="connsiteY51" fmla="*/ 2499360 h 2545333"/>
                <a:gd name="connsiteX52" fmla="*/ 602819 w 1700526"/>
                <a:gd name="connsiteY52" fmla="*/ 1987531 h 2545333"/>
                <a:gd name="connsiteX53" fmla="*/ 645683 w 1700526"/>
                <a:gd name="connsiteY53" fmla="*/ 2089785 h 2545333"/>
                <a:gd name="connsiteX54" fmla="*/ 750458 w 1700526"/>
                <a:gd name="connsiteY54" fmla="*/ 2270760 h 2545333"/>
                <a:gd name="connsiteX55" fmla="*/ 869520 w 1700526"/>
                <a:gd name="connsiteY55" fmla="*/ 2423160 h 2545333"/>
                <a:gd name="connsiteX56" fmla="*/ 928437 w 1700526"/>
                <a:gd name="connsiteY56" fmla="*/ 2484818 h 2545333"/>
                <a:gd name="connsiteX57" fmla="*/ 599860 w 1700526"/>
                <a:gd name="connsiteY57" fmla="*/ 2545333 h 2545333"/>
                <a:gd name="connsiteX58" fmla="*/ 32385 w 1700526"/>
                <a:gd name="connsiteY58" fmla="*/ 2474403 h 2545333"/>
                <a:gd name="connsiteX59" fmla="*/ 2328 w 1700526"/>
                <a:gd name="connsiteY59" fmla="*/ 2443649 h 2545333"/>
                <a:gd name="connsiteX60" fmla="*/ 0 w 1700526"/>
                <a:gd name="connsiteY60" fmla="*/ 95355 h 2545333"/>
                <a:gd name="connsiteX61" fmla="*/ 30645 w 1700526"/>
                <a:gd name="connsiteY61" fmla="*/ 66357 h 2545333"/>
                <a:gd name="connsiteX62" fmla="*/ 599860 w 1700526"/>
                <a:gd name="connsiteY62" fmla="*/ 16737 h 2545333"/>
                <a:gd name="connsiteX63" fmla="*/ 839752 w 1700526"/>
                <a:gd name="connsiteY63" fmla="*/ 88823 h 2545333"/>
                <a:gd name="connsiteX64" fmla="*/ 848563 w 1700526"/>
                <a:gd name="connsiteY64" fmla="*/ 38100 h 2545333"/>
                <a:gd name="connsiteX65" fmla="*/ 939051 w 1700526"/>
                <a:gd name="connsiteY65" fmla="*/ 0 h 2545333"/>
                <a:gd name="connsiteX0" fmla="*/ 1093358 w 1700526"/>
                <a:gd name="connsiteY0" fmla="*/ 2265997 h 2545333"/>
                <a:gd name="connsiteX1" fmla="*/ 1079070 w 1700526"/>
                <a:gd name="connsiteY1" fmla="*/ 2351722 h 2545333"/>
                <a:gd name="connsiteX2" fmla="*/ 1090574 w 1700526"/>
                <a:gd name="connsiteY2" fmla="*/ 2454957 h 2545333"/>
                <a:gd name="connsiteX3" fmla="*/ 1040168 w 1700526"/>
                <a:gd name="connsiteY3" fmla="*/ 2464240 h 2545333"/>
                <a:gd name="connsiteX4" fmla="*/ 1040970 w 1700526"/>
                <a:gd name="connsiteY4" fmla="*/ 2451735 h 2545333"/>
                <a:gd name="connsiteX5" fmla="*/ 1069545 w 1700526"/>
                <a:gd name="connsiteY5" fmla="*/ 2323147 h 2545333"/>
                <a:gd name="connsiteX6" fmla="*/ 1093358 w 1700526"/>
                <a:gd name="connsiteY6" fmla="*/ 2265997 h 2545333"/>
                <a:gd name="connsiteX7" fmla="*/ 1614375 w 1700526"/>
                <a:gd name="connsiteY7" fmla="*/ 538962 h 2545333"/>
                <a:gd name="connsiteX8" fmla="*/ 1669620 w 1700526"/>
                <a:gd name="connsiteY8" fmla="*/ 613410 h 2545333"/>
                <a:gd name="connsiteX9" fmla="*/ 1700526 w 1700526"/>
                <a:gd name="connsiteY9" fmla="*/ 648587 h 2545333"/>
                <a:gd name="connsiteX10" fmla="*/ 1700526 w 1700526"/>
                <a:gd name="connsiteY10" fmla="*/ 743556 h 2545333"/>
                <a:gd name="connsiteX11" fmla="*/ 1660095 w 1700526"/>
                <a:gd name="connsiteY11" fmla="*/ 818197 h 2545333"/>
                <a:gd name="connsiteX12" fmla="*/ 1614375 w 1700526"/>
                <a:gd name="connsiteY12" fmla="*/ 907520 h 2545333"/>
                <a:gd name="connsiteX13" fmla="*/ 1614375 w 1700526"/>
                <a:gd name="connsiteY13" fmla="*/ 538962 h 2545333"/>
                <a:gd name="connsiteX14" fmla="*/ 407558 w 1700526"/>
                <a:gd name="connsiteY14" fmla="*/ 113347 h 2545333"/>
                <a:gd name="connsiteX15" fmla="*/ 59895 w 1700526"/>
                <a:gd name="connsiteY15" fmla="*/ 132397 h 2545333"/>
                <a:gd name="connsiteX16" fmla="*/ 59895 w 1700526"/>
                <a:gd name="connsiteY16" fmla="*/ 446722 h 2545333"/>
                <a:gd name="connsiteX17" fmla="*/ 88470 w 1700526"/>
                <a:gd name="connsiteY17" fmla="*/ 156210 h 2545333"/>
                <a:gd name="connsiteX18" fmla="*/ 407558 w 1700526"/>
                <a:gd name="connsiteY18" fmla="*/ 113347 h 2545333"/>
                <a:gd name="connsiteX19" fmla="*/ 939051 w 1700526"/>
                <a:gd name="connsiteY19" fmla="*/ 52387 h 2545333"/>
                <a:gd name="connsiteX20" fmla="*/ 889044 w 1700526"/>
                <a:gd name="connsiteY20" fmla="*/ 69056 h 2545333"/>
                <a:gd name="connsiteX21" fmla="*/ 889044 w 1700526"/>
                <a:gd name="connsiteY21" fmla="*/ 103636 h 2545333"/>
                <a:gd name="connsiteX22" fmla="*/ 1209494 w 1700526"/>
                <a:gd name="connsiteY22" fmla="*/ 199929 h 2545333"/>
                <a:gd name="connsiteX23" fmla="*/ 1205751 w 1700526"/>
                <a:gd name="connsiteY23" fmla="*/ 161925 h 2545333"/>
                <a:gd name="connsiteX24" fmla="*/ 939051 w 1700526"/>
                <a:gd name="connsiteY24" fmla="*/ 52387 h 2545333"/>
                <a:gd name="connsiteX25" fmla="*/ 939051 w 1700526"/>
                <a:gd name="connsiteY25" fmla="*/ 0 h 2545333"/>
                <a:gd name="connsiteX26" fmla="*/ 1215276 w 1700526"/>
                <a:gd name="connsiteY26" fmla="*/ 119062 h 2545333"/>
                <a:gd name="connsiteX27" fmla="*/ 1255757 w 1700526"/>
                <a:gd name="connsiteY27" fmla="*/ 157163 h 2545333"/>
                <a:gd name="connsiteX28" fmla="*/ 1255757 w 1700526"/>
                <a:gd name="connsiteY28" fmla="*/ 213831 h 2545333"/>
                <a:gd name="connsiteX29" fmla="*/ 1533554 w 1700526"/>
                <a:gd name="connsiteY29" fmla="*/ 297308 h 2545333"/>
                <a:gd name="connsiteX30" fmla="*/ 1550558 w 1700526"/>
                <a:gd name="connsiteY30" fmla="*/ 375285 h 2545333"/>
                <a:gd name="connsiteX31" fmla="*/ 1562758 w 1700526"/>
                <a:gd name="connsiteY31" fmla="*/ 424788 h 2545333"/>
                <a:gd name="connsiteX32" fmla="*/ 707595 w 1700526"/>
                <a:gd name="connsiteY32" fmla="*/ 187642 h 2545333"/>
                <a:gd name="connsiteX33" fmla="*/ 1568655 w 1700526"/>
                <a:gd name="connsiteY33" fmla="*/ 469582 h 2545333"/>
                <a:gd name="connsiteX34" fmla="*/ 1582522 w 1700526"/>
                <a:gd name="connsiteY34" fmla="*/ 966472 h 2545333"/>
                <a:gd name="connsiteX35" fmla="*/ 1560083 w 1700526"/>
                <a:gd name="connsiteY35" fmla="*/ 1003935 h 2545333"/>
                <a:gd name="connsiteX36" fmla="*/ 1474358 w 1700526"/>
                <a:gd name="connsiteY36" fmla="*/ 1094422 h 2545333"/>
                <a:gd name="connsiteX37" fmla="*/ 1360058 w 1700526"/>
                <a:gd name="connsiteY37" fmla="*/ 1142047 h 2545333"/>
                <a:gd name="connsiteX38" fmla="*/ 1202895 w 1700526"/>
                <a:gd name="connsiteY38" fmla="*/ 1189672 h 2545333"/>
                <a:gd name="connsiteX39" fmla="*/ 983820 w 1700526"/>
                <a:gd name="connsiteY39" fmla="*/ 1251585 h 2545333"/>
                <a:gd name="connsiteX40" fmla="*/ 745695 w 1700526"/>
                <a:gd name="connsiteY40" fmla="*/ 1342072 h 2545333"/>
                <a:gd name="connsiteX41" fmla="*/ 621870 w 1700526"/>
                <a:gd name="connsiteY41" fmla="*/ 1427797 h 2545333"/>
                <a:gd name="connsiteX42" fmla="*/ 602819 w 1700526"/>
                <a:gd name="connsiteY42" fmla="*/ 1460905 h 2545333"/>
                <a:gd name="connsiteX43" fmla="*/ 602819 w 1700526"/>
                <a:gd name="connsiteY43" fmla="*/ 70485 h 2545333"/>
                <a:gd name="connsiteX44" fmla="*/ 579008 w 1700526"/>
                <a:gd name="connsiteY44" fmla="*/ 82391 h 2545333"/>
                <a:gd name="connsiteX45" fmla="*/ 585775 w 1700526"/>
                <a:gd name="connsiteY45" fmla="*/ 1502155 h 2545333"/>
                <a:gd name="connsiteX46" fmla="*/ 574245 w 1700526"/>
                <a:gd name="connsiteY46" fmla="*/ 1546860 h 2545333"/>
                <a:gd name="connsiteX47" fmla="*/ 559958 w 1700526"/>
                <a:gd name="connsiteY47" fmla="*/ 1732597 h 2545333"/>
                <a:gd name="connsiteX48" fmla="*/ 581017 w 1700526"/>
                <a:gd name="connsiteY48" fmla="*/ 1901895 h 2545333"/>
                <a:gd name="connsiteX49" fmla="*/ 574244 w 1700526"/>
                <a:gd name="connsiteY49" fmla="*/ 2470785 h 2545333"/>
                <a:gd name="connsiteX50" fmla="*/ 221819 w 1700526"/>
                <a:gd name="connsiteY50" fmla="*/ 2442210 h 2545333"/>
                <a:gd name="connsiteX51" fmla="*/ 602819 w 1700526"/>
                <a:gd name="connsiteY51" fmla="*/ 2499360 h 2545333"/>
                <a:gd name="connsiteX52" fmla="*/ 602819 w 1700526"/>
                <a:gd name="connsiteY52" fmla="*/ 1987531 h 2545333"/>
                <a:gd name="connsiteX53" fmla="*/ 645683 w 1700526"/>
                <a:gd name="connsiteY53" fmla="*/ 2089785 h 2545333"/>
                <a:gd name="connsiteX54" fmla="*/ 750458 w 1700526"/>
                <a:gd name="connsiteY54" fmla="*/ 2270760 h 2545333"/>
                <a:gd name="connsiteX55" fmla="*/ 869520 w 1700526"/>
                <a:gd name="connsiteY55" fmla="*/ 2423160 h 2545333"/>
                <a:gd name="connsiteX56" fmla="*/ 928437 w 1700526"/>
                <a:gd name="connsiteY56" fmla="*/ 2484818 h 2545333"/>
                <a:gd name="connsiteX57" fmla="*/ 599860 w 1700526"/>
                <a:gd name="connsiteY57" fmla="*/ 2545333 h 2545333"/>
                <a:gd name="connsiteX58" fmla="*/ 32385 w 1700526"/>
                <a:gd name="connsiteY58" fmla="*/ 2474403 h 2545333"/>
                <a:gd name="connsiteX59" fmla="*/ 2328 w 1700526"/>
                <a:gd name="connsiteY59" fmla="*/ 2443649 h 2545333"/>
                <a:gd name="connsiteX60" fmla="*/ 0 w 1700526"/>
                <a:gd name="connsiteY60" fmla="*/ 95355 h 2545333"/>
                <a:gd name="connsiteX61" fmla="*/ 30645 w 1700526"/>
                <a:gd name="connsiteY61" fmla="*/ 66357 h 2545333"/>
                <a:gd name="connsiteX62" fmla="*/ 599860 w 1700526"/>
                <a:gd name="connsiteY62" fmla="*/ 16737 h 2545333"/>
                <a:gd name="connsiteX63" fmla="*/ 839752 w 1700526"/>
                <a:gd name="connsiteY63" fmla="*/ 88823 h 2545333"/>
                <a:gd name="connsiteX64" fmla="*/ 848563 w 1700526"/>
                <a:gd name="connsiteY64" fmla="*/ 38100 h 2545333"/>
                <a:gd name="connsiteX65" fmla="*/ 939051 w 1700526"/>
                <a:gd name="connsiteY65" fmla="*/ 0 h 2545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700526" h="2545333">
                  <a:moveTo>
                    <a:pt x="1093358" y="2265997"/>
                  </a:moveTo>
                  <a:cubicBezTo>
                    <a:pt x="1094945" y="2270759"/>
                    <a:pt x="1075101" y="2315209"/>
                    <a:pt x="1079070" y="2351722"/>
                  </a:cubicBezTo>
                  <a:cubicBezTo>
                    <a:pt x="1081934" y="2378070"/>
                    <a:pt x="1075705" y="2423019"/>
                    <a:pt x="1090574" y="2454957"/>
                  </a:cubicBezTo>
                  <a:lnTo>
                    <a:pt x="1040168" y="2464240"/>
                  </a:lnTo>
                  <a:cubicBezTo>
                    <a:pt x="1040435" y="2460072"/>
                    <a:pt x="1040703" y="2455903"/>
                    <a:pt x="1040970" y="2451735"/>
                  </a:cubicBezTo>
                  <a:cubicBezTo>
                    <a:pt x="1047320" y="2417604"/>
                    <a:pt x="1060814" y="2354103"/>
                    <a:pt x="1069545" y="2323147"/>
                  </a:cubicBezTo>
                  <a:cubicBezTo>
                    <a:pt x="1078276" y="2292191"/>
                    <a:pt x="1091771" y="2261235"/>
                    <a:pt x="1093358" y="2265997"/>
                  </a:cubicBezTo>
                  <a:close/>
                  <a:moveTo>
                    <a:pt x="1614375" y="538962"/>
                  </a:moveTo>
                  <a:cubicBezTo>
                    <a:pt x="1631979" y="566618"/>
                    <a:pt x="1653784" y="592823"/>
                    <a:pt x="1669620" y="613410"/>
                  </a:cubicBezTo>
                  <a:cubicBezTo>
                    <a:pt x="1679518" y="626277"/>
                    <a:pt x="1690375" y="638183"/>
                    <a:pt x="1700526" y="648587"/>
                  </a:cubicBezTo>
                  <a:lnTo>
                    <a:pt x="1700526" y="743556"/>
                  </a:lnTo>
                  <a:lnTo>
                    <a:pt x="1660095" y="818197"/>
                  </a:lnTo>
                  <a:cubicBezTo>
                    <a:pt x="1660095" y="818197"/>
                    <a:pt x="1638766" y="861346"/>
                    <a:pt x="1614375" y="907520"/>
                  </a:cubicBezTo>
                  <a:lnTo>
                    <a:pt x="1614375" y="538962"/>
                  </a:lnTo>
                  <a:close/>
                  <a:moveTo>
                    <a:pt x="407558" y="113347"/>
                  </a:moveTo>
                  <a:lnTo>
                    <a:pt x="59895" y="132397"/>
                  </a:lnTo>
                  <a:lnTo>
                    <a:pt x="59895" y="446722"/>
                  </a:lnTo>
                  <a:lnTo>
                    <a:pt x="88470" y="156210"/>
                  </a:lnTo>
                  <a:lnTo>
                    <a:pt x="407558" y="113347"/>
                  </a:lnTo>
                  <a:close/>
                  <a:moveTo>
                    <a:pt x="939051" y="52387"/>
                  </a:moveTo>
                  <a:cubicBezTo>
                    <a:pt x="910476" y="55561"/>
                    <a:pt x="905713" y="63500"/>
                    <a:pt x="889044" y="69056"/>
                  </a:cubicBezTo>
                  <a:lnTo>
                    <a:pt x="889044" y="103636"/>
                  </a:lnTo>
                  <a:lnTo>
                    <a:pt x="1209494" y="199929"/>
                  </a:lnTo>
                  <a:lnTo>
                    <a:pt x="1205751" y="161925"/>
                  </a:lnTo>
                  <a:lnTo>
                    <a:pt x="939051" y="52387"/>
                  </a:lnTo>
                  <a:close/>
                  <a:moveTo>
                    <a:pt x="939051" y="0"/>
                  </a:moveTo>
                  <a:lnTo>
                    <a:pt x="1215276" y="119062"/>
                  </a:lnTo>
                  <a:cubicBezTo>
                    <a:pt x="1245439" y="134143"/>
                    <a:pt x="1237501" y="134938"/>
                    <a:pt x="1255757" y="157163"/>
                  </a:cubicBezTo>
                  <a:lnTo>
                    <a:pt x="1255757" y="213831"/>
                  </a:lnTo>
                  <a:lnTo>
                    <a:pt x="1533554" y="297308"/>
                  </a:lnTo>
                  <a:cubicBezTo>
                    <a:pt x="1537391" y="324095"/>
                    <a:pt x="1544129" y="349074"/>
                    <a:pt x="1550558" y="375285"/>
                  </a:cubicBezTo>
                  <a:cubicBezTo>
                    <a:pt x="1554623" y="391855"/>
                    <a:pt x="1558317" y="408425"/>
                    <a:pt x="1562758" y="424788"/>
                  </a:cubicBezTo>
                  <a:lnTo>
                    <a:pt x="707595" y="187642"/>
                  </a:lnTo>
                  <a:lnTo>
                    <a:pt x="1568655" y="469582"/>
                  </a:lnTo>
                  <a:lnTo>
                    <a:pt x="1582522" y="966472"/>
                  </a:lnTo>
                  <a:cubicBezTo>
                    <a:pt x="1574135" y="981530"/>
                    <a:pt x="1566333" y="994641"/>
                    <a:pt x="1560083" y="1003935"/>
                  </a:cubicBezTo>
                  <a:cubicBezTo>
                    <a:pt x="1529127" y="1049973"/>
                    <a:pt x="1507695" y="1071403"/>
                    <a:pt x="1474358" y="1094422"/>
                  </a:cubicBezTo>
                  <a:cubicBezTo>
                    <a:pt x="1441021" y="1117441"/>
                    <a:pt x="1405302" y="1126172"/>
                    <a:pt x="1360058" y="1142047"/>
                  </a:cubicBezTo>
                  <a:cubicBezTo>
                    <a:pt x="1314814" y="1157922"/>
                    <a:pt x="1265601" y="1171416"/>
                    <a:pt x="1202895" y="1189672"/>
                  </a:cubicBezTo>
                  <a:cubicBezTo>
                    <a:pt x="1140189" y="1207928"/>
                    <a:pt x="1060020" y="1226185"/>
                    <a:pt x="983820" y="1251585"/>
                  </a:cubicBezTo>
                  <a:cubicBezTo>
                    <a:pt x="907620" y="1276985"/>
                    <a:pt x="806020" y="1312703"/>
                    <a:pt x="745695" y="1342072"/>
                  </a:cubicBezTo>
                  <a:cubicBezTo>
                    <a:pt x="685370" y="1371441"/>
                    <a:pt x="650445" y="1393666"/>
                    <a:pt x="621870" y="1427797"/>
                  </a:cubicBezTo>
                  <a:cubicBezTo>
                    <a:pt x="613094" y="1438280"/>
                    <a:pt x="606189" y="1448763"/>
                    <a:pt x="602819" y="1460905"/>
                  </a:cubicBezTo>
                  <a:lnTo>
                    <a:pt x="602819" y="70485"/>
                  </a:lnTo>
                  <a:cubicBezTo>
                    <a:pt x="582182" y="66516"/>
                    <a:pt x="573451" y="69691"/>
                    <a:pt x="579008" y="82391"/>
                  </a:cubicBezTo>
                  <a:cubicBezTo>
                    <a:pt x="581264" y="555646"/>
                    <a:pt x="583519" y="1028900"/>
                    <a:pt x="585775" y="1502155"/>
                  </a:cubicBezTo>
                  <a:lnTo>
                    <a:pt x="574245" y="1546860"/>
                  </a:lnTo>
                  <a:cubicBezTo>
                    <a:pt x="563926" y="1597660"/>
                    <a:pt x="557577" y="1667510"/>
                    <a:pt x="559958" y="1732597"/>
                  </a:cubicBezTo>
                  <a:cubicBezTo>
                    <a:pt x="561892" y="1785474"/>
                    <a:pt x="570114" y="1848306"/>
                    <a:pt x="581017" y="1901895"/>
                  </a:cubicBezTo>
                  <a:cubicBezTo>
                    <a:pt x="578759" y="2091525"/>
                    <a:pt x="576502" y="2281155"/>
                    <a:pt x="574244" y="2470785"/>
                  </a:cubicBezTo>
                  <a:lnTo>
                    <a:pt x="221819" y="2442210"/>
                  </a:lnTo>
                  <a:lnTo>
                    <a:pt x="602819" y="2499360"/>
                  </a:lnTo>
                  <a:lnTo>
                    <a:pt x="602819" y="1987531"/>
                  </a:lnTo>
                  <a:cubicBezTo>
                    <a:pt x="613747" y="2021836"/>
                    <a:pt x="627073" y="2051470"/>
                    <a:pt x="645683" y="2089785"/>
                  </a:cubicBezTo>
                  <a:cubicBezTo>
                    <a:pt x="672670" y="2145347"/>
                    <a:pt x="713152" y="2215198"/>
                    <a:pt x="750458" y="2270760"/>
                  </a:cubicBezTo>
                  <a:cubicBezTo>
                    <a:pt x="787764" y="2326322"/>
                    <a:pt x="832214" y="2381091"/>
                    <a:pt x="869520" y="2423160"/>
                  </a:cubicBezTo>
                  <a:cubicBezTo>
                    <a:pt x="889064" y="2445199"/>
                    <a:pt x="909479" y="2466803"/>
                    <a:pt x="928437" y="2484818"/>
                  </a:cubicBezTo>
                  <a:lnTo>
                    <a:pt x="599860" y="2545333"/>
                  </a:lnTo>
                  <a:lnTo>
                    <a:pt x="32385" y="2474403"/>
                  </a:lnTo>
                  <a:cubicBezTo>
                    <a:pt x="19170" y="2467485"/>
                    <a:pt x="8776" y="2456854"/>
                    <a:pt x="2328" y="2443649"/>
                  </a:cubicBezTo>
                  <a:lnTo>
                    <a:pt x="0" y="95355"/>
                  </a:lnTo>
                  <a:cubicBezTo>
                    <a:pt x="6831" y="82422"/>
                    <a:pt x="17426" y="72372"/>
                    <a:pt x="30645" y="66357"/>
                  </a:cubicBezTo>
                  <a:lnTo>
                    <a:pt x="599860" y="16737"/>
                  </a:lnTo>
                  <a:lnTo>
                    <a:pt x="839752" y="88823"/>
                  </a:lnTo>
                  <a:cubicBezTo>
                    <a:pt x="840354" y="68310"/>
                    <a:pt x="843220" y="48609"/>
                    <a:pt x="848563" y="38100"/>
                  </a:cubicBezTo>
                  <a:cubicBezTo>
                    <a:pt x="869201" y="15875"/>
                    <a:pt x="894601" y="793"/>
                    <a:pt x="939051"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62"/>
              <a:endParaRPr lang="en-US">
                <a:solidFill>
                  <a:srgbClr val="FFFFFF"/>
                </a:solidFill>
              </a:endParaRPr>
            </a:p>
          </p:txBody>
        </p:sp>
        <p:sp>
          <p:nvSpPr>
            <p:cNvPr id="24" name="Freeform 23"/>
            <p:cNvSpPr/>
            <p:nvPr/>
          </p:nvSpPr>
          <p:spPr>
            <a:xfrm>
              <a:off x="3801836" y="1172857"/>
              <a:ext cx="3331229" cy="3869060"/>
            </a:xfrm>
            <a:custGeom>
              <a:avLst/>
              <a:gdLst>
                <a:gd name="connsiteX0" fmla="*/ 2716278 w 3331229"/>
                <a:gd name="connsiteY0" fmla="*/ 3664253 h 3869060"/>
                <a:gd name="connsiteX1" fmla="*/ 2155701 w 3331229"/>
                <a:gd name="connsiteY1" fmla="*/ 3678876 h 3869060"/>
                <a:gd name="connsiteX2" fmla="*/ 2209321 w 3331229"/>
                <a:gd name="connsiteY2" fmla="*/ 3708123 h 3869060"/>
                <a:gd name="connsiteX3" fmla="*/ 2716278 w 3331229"/>
                <a:gd name="connsiteY3" fmla="*/ 3664253 h 3869060"/>
                <a:gd name="connsiteX4" fmla="*/ 1508057 w 3331229"/>
                <a:gd name="connsiteY4" fmla="*/ 3611535 h 3869060"/>
                <a:gd name="connsiteX5" fmla="*/ 1495987 w 3331229"/>
                <a:gd name="connsiteY5" fmla="*/ 3703355 h 3869060"/>
                <a:gd name="connsiteX6" fmla="*/ 1440068 w 3331229"/>
                <a:gd name="connsiteY6" fmla="*/ 3680017 h 3869060"/>
                <a:gd name="connsiteX7" fmla="*/ 1463109 w 3331229"/>
                <a:gd name="connsiteY7" fmla="*/ 3619012 h 3869060"/>
                <a:gd name="connsiteX8" fmla="*/ 1508057 w 3331229"/>
                <a:gd name="connsiteY8" fmla="*/ 3611535 h 3869060"/>
                <a:gd name="connsiteX9" fmla="*/ 1861030 w 3331229"/>
                <a:gd name="connsiteY9" fmla="*/ 3550757 h 3869060"/>
                <a:gd name="connsiteX10" fmla="*/ 1906356 w 3331229"/>
                <a:gd name="connsiteY10" fmla="*/ 3869060 h 3869060"/>
                <a:gd name="connsiteX11" fmla="*/ 1892778 w 3331229"/>
                <a:gd name="connsiteY11" fmla="*/ 3868958 h 3869060"/>
                <a:gd name="connsiteX12" fmla="*/ 1538997 w 3331229"/>
                <a:gd name="connsiteY12" fmla="*/ 3721305 h 3869060"/>
                <a:gd name="connsiteX13" fmla="*/ 1551846 w 3331229"/>
                <a:gd name="connsiteY13" fmla="*/ 3602744 h 3869060"/>
                <a:gd name="connsiteX14" fmla="*/ 1644566 w 3331229"/>
                <a:gd name="connsiteY14" fmla="*/ 3574740 h 3869060"/>
                <a:gd name="connsiteX15" fmla="*/ 1813152 w 3331229"/>
                <a:gd name="connsiteY15" fmla="*/ 3564243 h 3869060"/>
                <a:gd name="connsiteX16" fmla="*/ 1861030 w 3331229"/>
                <a:gd name="connsiteY16" fmla="*/ 3550757 h 3869060"/>
                <a:gd name="connsiteX17" fmla="*/ 1840046 w 3331229"/>
                <a:gd name="connsiteY17" fmla="*/ 3403400 h 3869060"/>
                <a:gd name="connsiteX18" fmla="*/ 1854699 w 3331229"/>
                <a:gd name="connsiteY18" fmla="*/ 3506298 h 3869060"/>
                <a:gd name="connsiteX19" fmla="*/ 1703614 w 3331229"/>
                <a:gd name="connsiteY19" fmla="*/ 3549956 h 3869060"/>
                <a:gd name="connsiteX20" fmla="*/ 1693964 w 3331229"/>
                <a:gd name="connsiteY20" fmla="*/ 3552204 h 3869060"/>
                <a:gd name="connsiteX21" fmla="*/ 1840046 w 3331229"/>
                <a:gd name="connsiteY21" fmla="*/ 3403400 h 3869060"/>
                <a:gd name="connsiteX22" fmla="*/ 1838628 w 3331229"/>
                <a:gd name="connsiteY22" fmla="*/ 3182112 h 3869060"/>
                <a:gd name="connsiteX23" fmla="*/ 1867663 w 3331229"/>
                <a:gd name="connsiteY23" fmla="*/ 3336975 h 3869060"/>
                <a:gd name="connsiteX24" fmla="*/ 1838628 w 3331229"/>
                <a:gd name="connsiteY24" fmla="*/ 3182112 h 3869060"/>
                <a:gd name="connsiteX25" fmla="*/ 1601004 w 3331229"/>
                <a:gd name="connsiteY25" fmla="*/ 3149134 h 3869060"/>
                <a:gd name="connsiteX26" fmla="*/ 1807421 w 3331229"/>
                <a:gd name="connsiteY26" fmla="*/ 3174289 h 3869060"/>
                <a:gd name="connsiteX27" fmla="*/ 1839495 w 3331229"/>
                <a:gd name="connsiteY27" fmla="*/ 3399531 h 3869060"/>
                <a:gd name="connsiteX28" fmla="*/ 1765527 w 3331229"/>
                <a:gd name="connsiteY28" fmla="*/ 3468993 h 3869060"/>
                <a:gd name="connsiteX29" fmla="*/ 1556344 w 3331229"/>
                <a:gd name="connsiteY29" fmla="*/ 3561237 h 3869060"/>
                <a:gd name="connsiteX30" fmla="*/ 1601004 w 3331229"/>
                <a:gd name="connsiteY30" fmla="*/ 3149134 h 3869060"/>
                <a:gd name="connsiteX31" fmla="*/ 1895429 w 3331229"/>
                <a:gd name="connsiteY31" fmla="*/ 2774153 h 3869060"/>
                <a:gd name="connsiteX32" fmla="*/ 1923916 w 3331229"/>
                <a:gd name="connsiteY32" fmla="*/ 2802639 h 3869060"/>
                <a:gd name="connsiteX33" fmla="*/ 1895429 w 3331229"/>
                <a:gd name="connsiteY33" fmla="*/ 2831125 h 3869060"/>
                <a:gd name="connsiteX34" fmla="*/ 1866942 w 3331229"/>
                <a:gd name="connsiteY34" fmla="*/ 2802639 h 3869060"/>
                <a:gd name="connsiteX35" fmla="*/ 1895429 w 3331229"/>
                <a:gd name="connsiteY35" fmla="*/ 2774153 h 3869060"/>
                <a:gd name="connsiteX36" fmla="*/ 1478652 w 3331229"/>
                <a:gd name="connsiteY36" fmla="*/ 2774153 h 3869060"/>
                <a:gd name="connsiteX37" fmla="*/ 1507139 w 3331229"/>
                <a:gd name="connsiteY37" fmla="*/ 2802639 h 3869060"/>
                <a:gd name="connsiteX38" fmla="*/ 1478652 w 3331229"/>
                <a:gd name="connsiteY38" fmla="*/ 2831125 h 3869060"/>
                <a:gd name="connsiteX39" fmla="*/ 1450165 w 3331229"/>
                <a:gd name="connsiteY39" fmla="*/ 2802639 h 3869060"/>
                <a:gd name="connsiteX40" fmla="*/ 1478652 w 3331229"/>
                <a:gd name="connsiteY40" fmla="*/ 2774153 h 3869060"/>
                <a:gd name="connsiteX41" fmla="*/ 1894911 w 3331229"/>
                <a:gd name="connsiteY41" fmla="*/ 2757579 h 3869060"/>
                <a:gd name="connsiteX42" fmla="*/ 1853476 w 3331229"/>
                <a:gd name="connsiteY42" fmla="*/ 2799013 h 3869060"/>
                <a:gd name="connsiteX43" fmla="*/ 1894911 w 3331229"/>
                <a:gd name="connsiteY43" fmla="*/ 2840448 h 3869060"/>
                <a:gd name="connsiteX44" fmla="*/ 1936346 w 3331229"/>
                <a:gd name="connsiteY44" fmla="*/ 2799013 h 3869060"/>
                <a:gd name="connsiteX45" fmla="*/ 1894911 w 3331229"/>
                <a:gd name="connsiteY45" fmla="*/ 2757579 h 3869060"/>
                <a:gd name="connsiteX46" fmla="*/ 1478134 w 3331229"/>
                <a:gd name="connsiteY46" fmla="*/ 2757579 h 3869060"/>
                <a:gd name="connsiteX47" fmla="*/ 1436699 w 3331229"/>
                <a:gd name="connsiteY47" fmla="*/ 2799013 h 3869060"/>
                <a:gd name="connsiteX48" fmla="*/ 1478134 w 3331229"/>
                <a:gd name="connsiteY48" fmla="*/ 2840448 h 3869060"/>
                <a:gd name="connsiteX49" fmla="*/ 1519569 w 3331229"/>
                <a:gd name="connsiteY49" fmla="*/ 2799013 h 3869060"/>
                <a:gd name="connsiteX50" fmla="*/ 1478134 w 3331229"/>
                <a:gd name="connsiteY50" fmla="*/ 2757579 h 3869060"/>
                <a:gd name="connsiteX51" fmla="*/ 2428199 w 3331229"/>
                <a:gd name="connsiteY51" fmla="*/ 2540148 h 3869060"/>
                <a:gd name="connsiteX52" fmla="*/ 3330475 w 3331229"/>
                <a:gd name="connsiteY52" fmla="*/ 2967187 h 3869060"/>
                <a:gd name="connsiteX53" fmla="*/ 3115993 w 3331229"/>
                <a:gd name="connsiteY53" fmla="*/ 3662627 h 3869060"/>
                <a:gd name="connsiteX54" fmla="*/ 2869015 w 3331229"/>
                <a:gd name="connsiteY54" fmla="*/ 3363653 h 3869060"/>
                <a:gd name="connsiteX55" fmla="*/ 2986004 w 3331229"/>
                <a:gd name="connsiteY55" fmla="*/ 3805615 h 3869060"/>
                <a:gd name="connsiteX56" fmla="*/ 1967317 w 3331229"/>
                <a:gd name="connsiteY56" fmla="*/ 3868494 h 3869060"/>
                <a:gd name="connsiteX57" fmla="*/ 1905081 w 3331229"/>
                <a:gd name="connsiteY57" fmla="*/ 3536552 h 3869060"/>
                <a:gd name="connsiteX58" fmla="*/ 1970314 w 3331229"/>
                <a:gd name="connsiteY58" fmla="*/ 3502331 h 3869060"/>
                <a:gd name="connsiteX59" fmla="*/ 2098902 w 3331229"/>
                <a:gd name="connsiteY59" fmla="*/ 3378506 h 3869060"/>
                <a:gd name="connsiteX60" fmla="*/ 2113189 w 3331229"/>
                <a:gd name="connsiteY60" fmla="*/ 3245156 h 3869060"/>
                <a:gd name="connsiteX61" fmla="*/ 2060802 w 3331229"/>
                <a:gd name="connsiteY61" fmla="*/ 3130856 h 3869060"/>
                <a:gd name="connsiteX62" fmla="*/ 2051277 w 3331229"/>
                <a:gd name="connsiteY62" fmla="*/ 2987981 h 3869060"/>
                <a:gd name="connsiteX63" fmla="*/ 2103664 w 3331229"/>
                <a:gd name="connsiteY63" fmla="*/ 2926068 h 3869060"/>
                <a:gd name="connsiteX64" fmla="*/ 2275114 w 3331229"/>
                <a:gd name="connsiteY64" fmla="*/ 2807006 h 3869060"/>
                <a:gd name="connsiteX65" fmla="*/ 2408464 w 3331229"/>
                <a:gd name="connsiteY65" fmla="*/ 2635556 h 3869060"/>
                <a:gd name="connsiteX66" fmla="*/ 2428199 w 3331229"/>
                <a:gd name="connsiteY66" fmla="*/ 2540148 h 3869060"/>
                <a:gd name="connsiteX67" fmla="*/ 1821792 w 3331229"/>
                <a:gd name="connsiteY67" fmla="*/ 2496790 h 3869060"/>
                <a:gd name="connsiteX68" fmla="*/ 1721863 w 3331229"/>
                <a:gd name="connsiteY68" fmla="*/ 2750269 h 3869060"/>
                <a:gd name="connsiteX69" fmla="*/ 1660931 w 3331229"/>
                <a:gd name="connsiteY69" fmla="*/ 2774641 h 3869060"/>
                <a:gd name="connsiteX70" fmla="*/ 1734049 w 3331229"/>
                <a:gd name="connsiteY70" fmla="*/ 2767330 h 3869060"/>
                <a:gd name="connsiteX71" fmla="*/ 1821792 w 3331229"/>
                <a:gd name="connsiteY71" fmla="*/ 2496790 h 3869060"/>
                <a:gd name="connsiteX72" fmla="*/ 1035331 w 3331229"/>
                <a:gd name="connsiteY72" fmla="*/ 2449210 h 3869060"/>
                <a:gd name="connsiteX73" fmla="*/ 987425 w 3331229"/>
                <a:gd name="connsiteY73" fmla="*/ 2514927 h 3869060"/>
                <a:gd name="connsiteX74" fmla="*/ 1509102 w 3331229"/>
                <a:gd name="connsiteY74" fmla="*/ 2902193 h 3869060"/>
                <a:gd name="connsiteX75" fmla="*/ 1575625 w 3331229"/>
                <a:gd name="connsiteY75" fmla="*/ 2771023 h 3869060"/>
                <a:gd name="connsiteX76" fmla="*/ 1495098 w 3331229"/>
                <a:gd name="connsiteY76" fmla="*/ 2883454 h 3869060"/>
                <a:gd name="connsiteX77" fmla="*/ 1035331 w 3331229"/>
                <a:gd name="connsiteY77" fmla="*/ 2449210 h 3869060"/>
                <a:gd name="connsiteX78" fmla="*/ 2282794 w 3331229"/>
                <a:gd name="connsiteY78" fmla="*/ 2434797 h 3869060"/>
                <a:gd name="connsiteX79" fmla="*/ 1871350 w 3331229"/>
                <a:gd name="connsiteY79" fmla="*/ 2892444 h 3869060"/>
                <a:gd name="connsiteX80" fmla="*/ 1796607 w 3331229"/>
                <a:gd name="connsiteY80" fmla="*/ 2775454 h 3869060"/>
                <a:gd name="connsiteX81" fmla="*/ 1858351 w 3331229"/>
                <a:gd name="connsiteY81" fmla="*/ 2911942 h 3869060"/>
                <a:gd name="connsiteX82" fmla="*/ 2342560 w 3331229"/>
                <a:gd name="connsiteY82" fmla="*/ 2508976 h 3869060"/>
                <a:gd name="connsiteX83" fmla="*/ 2282794 w 3331229"/>
                <a:gd name="connsiteY83" fmla="*/ 2434797 h 3869060"/>
                <a:gd name="connsiteX84" fmla="*/ 1880855 w 3331229"/>
                <a:gd name="connsiteY84" fmla="*/ 2396344 h 3869060"/>
                <a:gd name="connsiteX85" fmla="*/ 1750879 w 3331229"/>
                <a:gd name="connsiteY85" fmla="*/ 2777224 h 3869060"/>
                <a:gd name="connsiteX86" fmla="*/ 1803263 w 3331229"/>
                <a:gd name="connsiteY86" fmla="*/ 3145093 h 3869060"/>
                <a:gd name="connsiteX87" fmla="*/ 1604470 w 3331229"/>
                <a:gd name="connsiteY87" fmla="*/ 3117148 h 3869060"/>
                <a:gd name="connsiteX88" fmla="*/ 1640912 w 3331229"/>
                <a:gd name="connsiteY88" fmla="*/ 2780880 h 3869060"/>
                <a:gd name="connsiteX89" fmla="*/ 1499951 w 3331229"/>
                <a:gd name="connsiteY89" fmla="*/ 2415404 h 3869060"/>
                <a:gd name="connsiteX90" fmla="*/ 1880855 w 3331229"/>
                <a:gd name="connsiteY90" fmla="*/ 2396344 h 3869060"/>
                <a:gd name="connsiteX91" fmla="*/ 2160575 w 3331229"/>
                <a:gd name="connsiteY91" fmla="*/ 2219751 h 3869060"/>
                <a:gd name="connsiteX92" fmla="*/ 2402834 w 3331229"/>
                <a:gd name="connsiteY92" fmla="*/ 2525763 h 3869060"/>
                <a:gd name="connsiteX93" fmla="*/ 2398939 w 3331229"/>
                <a:gd name="connsiteY93" fmla="*/ 2535543 h 3869060"/>
                <a:gd name="connsiteX94" fmla="*/ 2365602 w 3331229"/>
                <a:gd name="connsiteY94" fmla="*/ 2640318 h 3869060"/>
                <a:gd name="connsiteX95" fmla="*/ 2237014 w 3331229"/>
                <a:gd name="connsiteY95" fmla="*/ 2787956 h 3869060"/>
                <a:gd name="connsiteX96" fmla="*/ 2065564 w 3331229"/>
                <a:gd name="connsiteY96" fmla="*/ 2940356 h 3869060"/>
                <a:gd name="connsiteX97" fmla="*/ 2032227 w 3331229"/>
                <a:gd name="connsiteY97" fmla="*/ 3097518 h 3869060"/>
                <a:gd name="connsiteX98" fmla="*/ 2065564 w 3331229"/>
                <a:gd name="connsiteY98" fmla="*/ 3307068 h 3869060"/>
                <a:gd name="connsiteX99" fmla="*/ 1898877 w 3331229"/>
                <a:gd name="connsiteY99" fmla="*/ 3483281 h 3869060"/>
                <a:gd name="connsiteX100" fmla="*/ 1895430 w 3331229"/>
                <a:gd name="connsiteY100" fmla="*/ 3485077 h 3869060"/>
                <a:gd name="connsiteX101" fmla="*/ 1873960 w 3331229"/>
                <a:gd name="connsiteY101" fmla="*/ 3370564 h 3869060"/>
                <a:gd name="connsiteX102" fmla="*/ 1901259 w 3331229"/>
                <a:gd name="connsiteY102" fmla="*/ 3349931 h 3869060"/>
                <a:gd name="connsiteX103" fmla="*/ 1833269 w 3331229"/>
                <a:gd name="connsiteY103" fmla="*/ 3153532 h 3869060"/>
                <a:gd name="connsiteX104" fmla="*/ 1760860 w 3331229"/>
                <a:gd name="connsiteY104" fmla="*/ 2767328 h 3869060"/>
                <a:gd name="connsiteX105" fmla="*/ 1921924 w 3331229"/>
                <a:gd name="connsiteY105" fmla="*/ 2378228 h 3869060"/>
                <a:gd name="connsiteX106" fmla="*/ 2160575 w 3331229"/>
                <a:gd name="connsiteY106" fmla="*/ 2219751 h 3869060"/>
                <a:gd name="connsiteX107" fmla="*/ 1133664 w 3331229"/>
                <a:gd name="connsiteY107" fmla="*/ 2187254 h 3869060"/>
                <a:gd name="connsiteX108" fmla="*/ 1441077 w 3331229"/>
                <a:gd name="connsiteY108" fmla="*/ 2391954 h 3869060"/>
                <a:gd name="connsiteX109" fmla="*/ 1618521 w 3331229"/>
                <a:gd name="connsiteY109" fmla="*/ 2771228 h 3869060"/>
                <a:gd name="connsiteX110" fmla="*/ 1573489 w 3331229"/>
                <a:gd name="connsiteY110" fmla="*/ 3113795 h 3869060"/>
                <a:gd name="connsiteX111" fmla="*/ 1315471 w 3331229"/>
                <a:gd name="connsiteY111" fmla="*/ 3057037 h 3869060"/>
                <a:gd name="connsiteX112" fmla="*/ 943996 w 3331229"/>
                <a:gd name="connsiteY112" fmla="*/ 2530781 h 3869060"/>
                <a:gd name="connsiteX113" fmla="*/ 941615 w 3331229"/>
                <a:gd name="connsiteY113" fmla="*/ 2561737 h 3869060"/>
                <a:gd name="connsiteX114" fmla="*/ 1303565 w 3331229"/>
                <a:gd name="connsiteY114" fmla="*/ 3099899 h 3869060"/>
                <a:gd name="connsiteX115" fmla="*/ 1569168 w 3331229"/>
                <a:gd name="connsiteY115" fmla="*/ 3146659 h 3869060"/>
                <a:gd name="connsiteX116" fmla="*/ 1512433 w 3331229"/>
                <a:gd name="connsiteY116" fmla="*/ 3578253 h 3869060"/>
                <a:gd name="connsiteX117" fmla="*/ 1444059 w 3331229"/>
                <a:gd name="connsiteY117" fmla="*/ 3604724 h 3869060"/>
                <a:gd name="connsiteX118" fmla="*/ 1412735 w 3331229"/>
                <a:gd name="connsiteY118" fmla="*/ 3668609 h 3869060"/>
                <a:gd name="connsiteX119" fmla="*/ 1208314 w 3331229"/>
                <a:gd name="connsiteY119" fmla="*/ 3583293 h 3869060"/>
                <a:gd name="connsiteX120" fmla="*/ 534275 w 3331229"/>
                <a:gd name="connsiteY120" fmla="*/ 3797898 h 3869060"/>
                <a:gd name="connsiteX121" fmla="*/ 639706 w 3331229"/>
                <a:gd name="connsiteY121" fmla="*/ 3344155 h 3869060"/>
                <a:gd name="connsiteX122" fmla="*/ 347231 w 3331229"/>
                <a:gd name="connsiteY122" fmla="*/ 3831613 h 3869060"/>
                <a:gd name="connsiteX123" fmla="*/ 15759 w 3331229"/>
                <a:gd name="connsiteY123" fmla="*/ 2947689 h 3869060"/>
                <a:gd name="connsiteX124" fmla="*/ 932181 w 3331229"/>
                <a:gd name="connsiteY124" fmla="*/ 2525225 h 3869060"/>
                <a:gd name="connsiteX125" fmla="*/ 1133664 w 3331229"/>
                <a:gd name="connsiteY125" fmla="*/ 2187254 h 3869060"/>
                <a:gd name="connsiteX126" fmla="*/ 1577147 w 3331229"/>
                <a:gd name="connsiteY126" fmla="*/ 22 h 3869060"/>
                <a:gd name="connsiteX127" fmla="*/ 1751109 w 3331229"/>
                <a:gd name="connsiteY127" fmla="*/ 27813 h 3869060"/>
                <a:gd name="connsiteX128" fmla="*/ 1790105 w 3331229"/>
                <a:gd name="connsiteY128" fmla="*/ 105806 h 3869060"/>
                <a:gd name="connsiteX129" fmla="*/ 1911969 w 3331229"/>
                <a:gd name="connsiteY129" fmla="*/ 71683 h 3869060"/>
                <a:gd name="connsiteX130" fmla="*/ 2540790 w 3331229"/>
                <a:gd name="connsiteY130" fmla="*/ 768749 h 3869060"/>
                <a:gd name="connsiteX131" fmla="*/ 2404302 w 3331229"/>
                <a:gd name="connsiteY131" fmla="*/ 1153840 h 3869060"/>
                <a:gd name="connsiteX132" fmla="*/ 2501794 w 3331229"/>
                <a:gd name="connsiteY132" fmla="*/ 1183088 h 3869060"/>
                <a:gd name="connsiteX133" fmla="*/ 2399428 w 3331229"/>
                <a:gd name="connsiteY133" fmla="*/ 1607177 h 3869060"/>
                <a:gd name="connsiteX134" fmla="*/ 2321435 w 3331229"/>
                <a:gd name="connsiteY134" fmla="*/ 1641299 h 3869060"/>
                <a:gd name="connsiteX135" fmla="*/ 1760857 w 3331229"/>
                <a:gd name="connsiteY135" fmla="*/ 2323740 h 3869060"/>
                <a:gd name="connsiteX136" fmla="*/ 1556125 w 3331229"/>
                <a:gd name="connsiteY136" fmla="*/ 2309117 h 3869060"/>
                <a:gd name="connsiteX137" fmla="*/ 951677 w 3331229"/>
                <a:gd name="connsiteY137" fmla="*/ 1621800 h 3869060"/>
                <a:gd name="connsiteX138" fmla="*/ 771318 w 3331229"/>
                <a:gd name="connsiteY138" fmla="*/ 1202586 h 3869060"/>
                <a:gd name="connsiteX139" fmla="*/ 844436 w 3331229"/>
                <a:gd name="connsiteY139" fmla="*/ 1148966 h 3869060"/>
                <a:gd name="connsiteX140" fmla="*/ 717697 w 3331229"/>
                <a:gd name="connsiteY140" fmla="*/ 744376 h 3869060"/>
                <a:gd name="connsiteX141" fmla="*/ 1577147 w 3331229"/>
                <a:gd name="connsiteY141" fmla="*/ 22 h 3869060"/>
                <a:gd name="connsiteX0" fmla="*/ 2716278 w 3331229"/>
                <a:gd name="connsiteY0" fmla="*/ 3664253 h 3869060"/>
                <a:gd name="connsiteX1" fmla="*/ 2155701 w 3331229"/>
                <a:gd name="connsiteY1" fmla="*/ 3678876 h 3869060"/>
                <a:gd name="connsiteX2" fmla="*/ 2716278 w 3331229"/>
                <a:gd name="connsiteY2" fmla="*/ 3664253 h 3869060"/>
                <a:gd name="connsiteX3" fmla="*/ 1508057 w 3331229"/>
                <a:gd name="connsiteY3" fmla="*/ 3611535 h 3869060"/>
                <a:gd name="connsiteX4" fmla="*/ 1495987 w 3331229"/>
                <a:gd name="connsiteY4" fmla="*/ 3703355 h 3869060"/>
                <a:gd name="connsiteX5" fmla="*/ 1440068 w 3331229"/>
                <a:gd name="connsiteY5" fmla="*/ 3680017 h 3869060"/>
                <a:gd name="connsiteX6" fmla="*/ 1463109 w 3331229"/>
                <a:gd name="connsiteY6" fmla="*/ 3619012 h 3869060"/>
                <a:gd name="connsiteX7" fmla="*/ 1508057 w 3331229"/>
                <a:gd name="connsiteY7" fmla="*/ 3611535 h 3869060"/>
                <a:gd name="connsiteX8" fmla="*/ 1861030 w 3331229"/>
                <a:gd name="connsiteY8" fmla="*/ 3550757 h 3869060"/>
                <a:gd name="connsiteX9" fmla="*/ 1906356 w 3331229"/>
                <a:gd name="connsiteY9" fmla="*/ 3869060 h 3869060"/>
                <a:gd name="connsiteX10" fmla="*/ 1892778 w 3331229"/>
                <a:gd name="connsiteY10" fmla="*/ 3868958 h 3869060"/>
                <a:gd name="connsiteX11" fmla="*/ 1538997 w 3331229"/>
                <a:gd name="connsiteY11" fmla="*/ 3721305 h 3869060"/>
                <a:gd name="connsiteX12" fmla="*/ 1551846 w 3331229"/>
                <a:gd name="connsiteY12" fmla="*/ 3602744 h 3869060"/>
                <a:gd name="connsiteX13" fmla="*/ 1644566 w 3331229"/>
                <a:gd name="connsiteY13" fmla="*/ 3574740 h 3869060"/>
                <a:gd name="connsiteX14" fmla="*/ 1813152 w 3331229"/>
                <a:gd name="connsiteY14" fmla="*/ 3564243 h 3869060"/>
                <a:gd name="connsiteX15" fmla="*/ 1861030 w 3331229"/>
                <a:gd name="connsiteY15" fmla="*/ 3550757 h 3869060"/>
                <a:gd name="connsiteX16" fmla="*/ 1840046 w 3331229"/>
                <a:gd name="connsiteY16" fmla="*/ 3403400 h 3869060"/>
                <a:gd name="connsiteX17" fmla="*/ 1854699 w 3331229"/>
                <a:gd name="connsiteY17" fmla="*/ 3506298 h 3869060"/>
                <a:gd name="connsiteX18" fmla="*/ 1703614 w 3331229"/>
                <a:gd name="connsiteY18" fmla="*/ 3549956 h 3869060"/>
                <a:gd name="connsiteX19" fmla="*/ 1693964 w 3331229"/>
                <a:gd name="connsiteY19" fmla="*/ 3552204 h 3869060"/>
                <a:gd name="connsiteX20" fmla="*/ 1840046 w 3331229"/>
                <a:gd name="connsiteY20" fmla="*/ 3403400 h 3869060"/>
                <a:gd name="connsiteX21" fmla="*/ 1838628 w 3331229"/>
                <a:gd name="connsiteY21" fmla="*/ 3182112 h 3869060"/>
                <a:gd name="connsiteX22" fmla="*/ 1867663 w 3331229"/>
                <a:gd name="connsiteY22" fmla="*/ 3336975 h 3869060"/>
                <a:gd name="connsiteX23" fmla="*/ 1838628 w 3331229"/>
                <a:gd name="connsiteY23" fmla="*/ 3182112 h 3869060"/>
                <a:gd name="connsiteX24" fmla="*/ 1601004 w 3331229"/>
                <a:gd name="connsiteY24" fmla="*/ 3149134 h 3869060"/>
                <a:gd name="connsiteX25" fmla="*/ 1807421 w 3331229"/>
                <a:gd name="connsiteY25" fmla="*/ 3174289 h 3869060"/>
                <a:gd name="connsiteX26" fmla="*/ 1839495 w 3331229"/>
                <a:gd name="connsiteY26" fmla="*/ 3399531 h 3869060"/>
                <a:gd name="connsiteX27" fmla="*/ 1765527 w 3331229"/>
                <a:gd name="connsiteY27" fmla="*/ 3468993 h 3869060"/>
                <a:gd name="connsiteX28" fmla="*/ 1556344 w 3331229"/>
                <a:gd name="connsiteY28" fmla="*/ 3561237 h 3869060"/>
                <a:gd name="connsiteX29" fmla="*/ 1601004 w 3331229"/>
                <a:gd name="connsiteY29" fmla="*/ 3149134 h 3869060"/>
                <a:gd name="connsiteX30" fmla="*/ 1895429 w 3331229"/>
                <a:gd name="connsiteY30" fmla="*/ 2774153 h 3869060"/>
                <a:gd name="connsiteX31" fmla="*/ 1923916 w 3331229"/>
                <a:gd name="connsiteY31" fmla="*/ 2802639 h 3869060"/>
                <a:gd name="connsiteX32" fmla="*/ 1895429 w 3331229"/>
                <a:gd name="connsiteY32" fmla="*/ 2831125 h 3869060"/>
                <a:gd name="connsiteX33" fmla="*/ 1866942 w 3331229"/>
                <a:gd name="connsiteY33" fmla="*/ 2802639 h 3869060"/>
                <a:gd name="connsiteX34" fmla="*/ 1895429 w 3331229"/>
                <a:gd name="connsiteY34" fmla="*/ 2774153 h 3869060"/>
                <a:gd name="connsiteX35" fmla="*/ 1478652 w 3331229"/>
                <a:gd name="connsiteY35" fmla="*/ 2774153 h 3869060"/>
                <a:gd name="connsiteX36" fmla="*/ 1507139 w 3331229"/>
                <a:gd name="connsiteY36" fmla="*/ 2802639 h 3869060"/>
                <a:gd name="connsiteX37" fmla="*/ 1478652 w 3331229"/>
                <a:gd name="connsiteY37" fmla="*/ 2831125 h 3869060"/>
                <a:gd name="connsiteX38" fmla="*/ 1450165 w 3331229"/>
                <a:gd name="connsiteY38" fmla="*/ 2802639 h 3869060"/>
                <a:gd name="connsiteX39" fmla="*/ 1478652 w 3331229"/>
                <a:gd name="connsiteY39" fmla="*/ 2774153 h 3869060"/>
                <a:gd name="connsiteX40" fmla="*/ 1894911 w 3331229"/>
                <a:gd name="connsiteY40" fmla="*/ 2757579 h 3869060"/>
                <a:gd name="connsiteX41" fmla="*/ 1853476 w 3331229"/>
                <a:gd name="connsiteY41" fmla="*/ 2799013 h 3869060"/>
                <a:gd name="connsiteX42" fmla="*/ 1894911 w 3331229"/>
                <a:gd name="connsiteY42" fmla="*/ 2840448 h 3869060"/>
                <a:gd name="connsiteX43" fmla="*/ 1936346 w 3331229"/>
                <a:gd name="connsiteY43" fmla="*/ 2799013 h 3869060"/>
                <a:gd name="connsiteX44" fmla="*/ 1894911 w 3331229"/>
                <a:gd name="connsiteY44" fmla="*/ 2757579 h 3869060"/>
                <a:gd name="connsiteX45" fmla="*/ 1478134 w 3331229"/>
                <a:gd name="connsiteY45" fmla="*/ 2757579 h 3869060"/>
                <a:gd name="connsiteX46" fmla="*/ 1436699 w 3331229"/>
                <a:gd name="connsiteY46" fmla="*/ 2799013 h 3869060"/>
                <a:gd name="connsiteX47" fmla="*/ 1478134 w 3331229"/>
                <a:gd name="connsiteY47" fmla="*/ 2840448 h 3869060"/>
                <a:gd name="connsiteX48" fmla="*/ 1519569 w 3331229"/>
                <a:gd name="connsiteY48" fmla="*/ 2799013 h 3869060"/>
                <a:gd name="connsiteX49" fmla="*/ 1478134 w 3331229"/>
                <a:gd name="connsiteY49" fmla="*/ 2757579 h 3869060"/>
                <a:gd name="connsiteX50" fmla="*/ 2428199 w 3331229"/>
                <a:gd name="connsiteY50" fmla="*/ 2540148 h 3869060"/>
                <a:gd name="connsiteX51" fmla="*/ 3330475 w 3331229"/>
                <a:gd name="connsiteY51" fmla="*/ 2967187 h 3869060"/>
                <a:gd name="connsiteX52" fmla="*/ 3115993 w 3331229"/>
                <a:gd name="connsiteY52" fmla="*/ 3662627 h 3869060"/>
                <a:gd name="connsiteX53" fmla="*/ 2869015 w 3331229"/>
                <a:gd name="connsiteY53" fmla="*/ 3363653 h 3869060"/>
                <a:gd name="connsiteX54" fmla="*/ 2986004 w 3331229"/>
                <a:gd name="connsiteY54" fmla="*/ 3805615 h 3869060"/>
                <a:gd name="connsiteX55" fmla="*/ 1967317 w 3331229"/>
                <a:gd name="connsiteY55" fmla="*/ 3868494 h 3869060"/>
                <a:gd name="connsiteX56" fmla="*/ 1905081 w 3331229"/>
                <a:gd name="connsiteY56" fmla="*/ 3536552 h 3869060"/>
                <a:gd name="connsiteX57" fmla="*/ 1970314 w 3331229"/>
                <a:gd name="connsiteY57" fmla="*/ 3502331 h 3869060"/>
                <a:gd name="connsiteX58" fmla="*/ 2098902 w 3331229"/>
                <a:gd name="connsiteY58" fmla="*/ 3378506 h 3869060"/>
                <a:gd name="connsiteX59" fmla="*/ 2113189 w 3331229"/>
                <a:gd name="connsiteY59" fmla="*/ 3245156 h 3869060"/>
                <a:gd name="connsiteX60" fmla="*/ 2060802 w 3331229"/>
                <a:gd name="connsiteY60" fmla="*/ 3130856 h 3869060"/>
                <a:gd name="connsiteX61" fmla="*/ 2051277 w 3331229"/>
                <a:gd name="connsiteY61" fmla="*/ 2987981 h 3869060"/>
                <a:gd name="connsiteX62" fmla="*/ 2103664 w 3331229"/>
                <a:gd name="connsiteY62" fmla="*/ 2926068 h 3869060"/>
                <a:gd name="connsiteX63" fmla="*/ 2275114 w 3331229"/>
                <a:gd name="connsiteY63" fmla="*/ 2807006 h 3869060"/>
                <a:gd name="connsiteX64" fmla="*/ 2408464 w 3331229"/>
                <a:gd name="connsiteY64" fmla="*/ 2635556 h 3869060"/>
                <a:gd name="connsiteX65" fmla="*/ 2428199 w 3331229"/>
                <a:gd name="connsiteY65" fmla="*/ 2540148 h 3869060"/>
                <a:gd name="connsiteX66" fmla="*/ 1821792 w 3331229"/>
                <a:gd name="connsiteY66" fmla="*/ 2496790 h 3869060"/>
                <a:gd name="connsiteX67" fmla="*/ 1721863 w 3331229"/>
                <a:gd name="connsiteY67" fmla="*/ 2750269 h 3869060"/>
                <a:gd name="connsiteX68" fmla="*/ 1660931 w 3331229"/>
                <a:gd name="connsiteY68" fmla="*/ 2774641 h 3869060"/>
                <a:gd name="connsiteX69" fmla="*/ 1734049 w 3331229"/>
                <a:gd name="connsiteY69" fmla="*/ 2767330 h 3869060"/>
                <a:gd name="connsiteX70" fmla="*/ 1821792 w 3331229"/>
                <a:gd name="connsiteY70" fmla="*/ 2496790 h 3869060"/>
                <a:gd name="connsiteX71" fmla="*/ 1035331 w 3331229"/>
                <a:gd name="connsiteY71" fmla="*/ 2449210 h 3869060"/>
                <a:gd name="connsiteX72" fmla="*/ 987425 w 3331229"/>
                <a:gd name="connsiteY72" fmla="*/ 2514927 h 3869060"/>
                <a:gd name="connsiteX73" fmla="*/ 1509102 w 3331229"/>
                <a:gd name="connsiteY73" fmla="*/ 2902193 h 3869060"/>
                <a:gd name="connsiteX74" fmla="*/ 1575625 w 3331229"/>
                <a:gd name="connsiteY74" fmla="*/ 2771023 h 3869060"/>
                <a:gd name="connsiteX75" fmla="*/ 1495098 w 3331229"/>
                <a:gd name="connsiteY75" fmla="*/ 2883454 h 3869060"/>
                <a:gd name="connsiteX76" fmla="*/ 1035331 w 3331229"/>
                <a:gd name="connsiteY76" fmla="*/ 2449210 h 3869060"/>
                <a:gd name="connsiteX77" fmla="*/ 2282794 w 3331229"/>
                <a:gd name="connsiteY77" fmla="*/ 2434797 h 3869060"/>
                <a:gd name="connsiteX78" fmla="*/ 1871350 w 3331229"/>
                <a:gd name="connsiteY78" fmla="*/ 2892444 h 3869060"/>
                <a:gd name="connsiteX79" fmla="*/ 1796607 w 3331229"/>
                <a:gd name="connsiteY79" fmla="*/ 2775454 h 3869060"/>
                <a:gd name="connsiteX80" fmla="*/ 1858351 w 3331229"/>
                <a:gd name="connsiteY80" fmla="*/ 2911942 h 3869060"/>
                <a:gd name="connsiteX81" fmla="*/ 2342560 w 3331229"/>
                <a:gd name="connsiteY81" fmla="*/ 2508976 h 3869060"/>
                <a:gd name="connsiteX82" fmla="*/ 2282794 w 3331229"/>
                <a:gd name="connsiteY82" fmla="*/ 2434797 h 3869060"/>
                <a:gd name="connsiteX83" fmla="*/ 1880855 w 3331229"/>
                <a:gd name="connsiteY83" fmla="*/ 2396344 h 3869060"/>
                <a:gd name="connsiteX84" fmla="*/ 1750879 w 3331229"/>
                <a:gd name="connsiteY84" fmla="*/ 2777224 h 3869060"/>
                <a:gd name="connsiteX85" fmla="*/ 1803263 w 3331229"/>
                <a:gd name="connsiteY85" fmla="*/ 3145093 h 3869060"/>
                <a:gd name="connsiteX86" fmla="*/ 1604470 w 3331229"/>
                <a:gd name="connsiteY86" fmla="*/ 3117148 h 3869060"/>
                <a:gd name="connsiteX87" fmla="*/ 1640912 w 3331229"/>
                <a:gd name="connsiteY87" fmla="*/ 2780880 h 3869060"/>
                <a:gd name="connsiteX88" fmla="*/ 1499951 w 3331229"/>
                <a:gd name="connsiteY88" fmla="*/ 2415404 h 3869060"/>
                <a:gd name="connsiteX89" fmla="*/ 1880855 w 3331229"/>
                <a:gd name="connsiteY89" fmla="*/ 2396344 h 3869060"/>
                <a:gd name="connsiteX90" fmla="*/ 2160575 w 3331229"/>
                <a:gd name="connsiteY90" fmla="*/ 2219751 h 3869060"/>
                <a:gd name="connsiteX91" fmla="*/ 2402834 w 3331229"/>
                <a:gd name="connsiteY91" fmla="*/ 2525763 h 3869060"/>
                <a:gd name="connsiteX92" fmla="*/ 2398939 w 3331229"/>
                <a:gd name="connsiteY92" fmla="*/ 2535543 h 3869060"/>
                <a:gd name="connsiteX93" fmla="*/ 2365602 w 3331229"/>
                <a:gd name="connsiteY93" fmla="*/ 2640318 h 3869060"/>
                <a:gd name="connsiteX94" fmla="*/ 2237014 w 3331229"/>
                <a:gd name="connsiteY94" fmla="*/ 2787956 h 3869060"/>
                <a:gd name="connsiteX95" fmla="*/ 2065564 w 3331229"/>
                <a:gd name="connsiteY95" fmla="*/ 2940356 h 3869060"/>
                <a:gd name="connsiteX96" fmla="*/ 2032227 w 3331229"/>
                <a:gd name="connsiteY96" fmla="*/ 3097518 h 3869060"/>
                <a:gd name="connsiteX97" fmla="*/ 2065564 w 3331229"/>
                <a:gd name="connsiteY97" fmla="*/ 3307068 h 3869060"/>
                <a:gd name="connsiteX98" fmla="*/ 1898877 w 3331229"/>
                <a:gd name="connsiteY98" fmla="*/ 3483281 h 3869060"/>
                <a:gd name="connsiteX99" fmla="*/ 1895430 w 3331229"/>
                <a:gd name="connsiteY99" fmla="*/ 3485077 h 3869060"/>
                <a:gd name="connsiteX100" fmla="*/ 1873960 w 3331229"/>
                <a:gd name="connsiteY100" fmla="*/ 3370564 h 3869060"/>
                <a:gd name="connsiteX101" fmla="*/ 1901259 w 3331229"/>
                <a:gd name="connsiteY101" fmla="*/ 3349931 h 3869060"/>
                <a:gd name="connsiteX102" fmla="*/ 1833269 w 3331229"/>
                <a:gd name="connsiteY102" fmla="*/ 3153532 h 3869060"/>
                <a:gd name="connsiteX103" fmla="*/ 1760860 w 3331229"/>
                <a:gd name="connsiteY103" fmla="*/ 2767328 h 3869060"/>
                <a:gd name="connsiteX104" fmla="*/ 1921924 w 3331229"/>
                <a:gd name="connsiteY104" fmla="*/ 2378228 h 3869060"/>
                <a:gd name="connsiteX105" fmla="*/ 2160575 w 3331229"/>
                <a:gd name="connsiteY105" fmla="*/ 2219751 h 3869060"/>
                <a:gd name="connsiteX106" fmla="*/ 1133664 w 3331229"/>
                <a:gd name="connsiteY106" fmla="*/ 2187254 h 3869060"/>
                <a:gd name="connsiteX107" fmla="*/ 1441077 w 3331229"/>
                <a:gd name="connsiteY107" fmla="*/ 2391954 h 3869060"/>
                <a:gd name="connsiteX108" fmla="*/ 1618521 w 3331229"/>
                <a:gd name="connsiteY108" fmla="*/ 2771228 h 3869060"/>
                <a:gd name="connsiteX109" fmla="*/ 1573489 w 3331229"/>
                <a:gd name="connsiteY109" fmla="*/ 3113795 h 3869060"/>
                <a:gd name="connsiteX110" fmla="*/ 1315471 w 3331229"/>
                <a:gd name="connsiteY110" fmla="*/ 3057037 h 3869060"/>
                <a:gd name="connsiteX111" fmla="*/ 943996 w 3331229"/>
                <a:gd name="connsiteY111" fmla="*/ 2530781 h 3869060"/>
                <a:gd name="connsiteX112" fmla="*/ 941615 w 3331229"/>
                <a:gd name="connsiteY112" fmla="*/ 2561737 h 3869060"/>
                <a:gd name="connsiteX113" fmla="*/ 1303565 w 3331229"/>
                <a:gd name="connsiteY113" fmla="*/ 3099899 h 3869060"/>
                <a:gd name="connsiteX114" fmla="*/ 1569168 w 3331229"/>
                <a:gd name="connsiteY114" fmla="*/ 3146659 h 3869060"/>
                <a:gd name="connsiteX115" fmla="*/ 1512433 w 3331229"/>
                <a:gd name="connsiteY115" fmla="*/ 3578253 h 3869060"/>
                <a:gd name="connsiteX116" fmla="*/ 1444059 w 3331229"/>
                <a:gd name="connsiteY116" fmla="*/ 3604724 h 3869060"/>
                <a:gd name="connsiteX117" fmla="*/ 1412735 w 3331229"/>
                <a:gd name="connsiteY117" fmla="*/ 3668609 h 3869060"/>
                <a:gd name="connsiteX118" fmla="*/ 1208314 w 3331229"/>
                <a:gd name="connsiteY118" fmla="*/ 3583293 h 3869060"/>
                <a:gd name="connsiteX119" fmla="*/ 534275 w 3331229"/>
                <a:gd name="connsiteY119" fmla="*/ 3797898 h 3869060"/>
                <a:gd name="connsiteX120" fmla="*/ 639706 w 3331229"/>
                <a:gd name="connsiteY120" fmla="*/ 3344155 h 3869060"/>
                <a:gd name="connsiteX121" fmla="*/ 347231 w 3331229"/>
                <a:gd name="connsiteY121" fmla="*/ 3831613 h 3869060"/>
                <a:gd name="connsiteX122" fmla="*/ 15759 w 3331229"/>
                <a:gd name="connsiteY122" fmla="*/ 2947689 h 3869060"/>
                <a:gd name="connsiteX123" fmla="*/ 932181 w 3331229"/>
                <a:gd name="connsiteY123" fmla="*/ 2525225 h 3869060"/>
                <a:gd name="connsiteX124" fmla="*/ 1133664 w 3331229"/>
                <a:gd name="connsiteY124" fmla="*/ 2187254 h 3869060"/>
                <a:gd name="connsiteX125" fmla="*/ 1577147 w 3331229"/>
                <a:gd name="connsiteY125" fmla="*/ 22 h 3869060"/>
                <a:gd name="connsiteX126" fmla="*/ 1751109 w 3331229"/>
                <a:gd name="connsiteY126" fmla="*/ 27813 h 3869060"/>
                <a:gd name="connsiteX127" fmla="*/ 1790105 w 3331229"/>
                <a:gd name="connsiteY127" fmla="*/ 105806 h 3869060"/>
                <a:gd name="connsiteX128" fmla="*/ 1911969 w 3331229"/>
                <a:gd name="connsiteY128" fmla="*/ 71683 h 3869060"/>
                <a:gd name="connsiteX129" fmla="*/ 2540790 w 3331229"/>
                <a:gd name="connsiteY129" fmla="*/ 768749 h 3869060"/>
                <a:gd name="connsiteX130" fmla="*/ 2404302 w 3331229"/>
                <a:gd name="connsiteY130" fmla="*/ 1153840 h 3869060"/>
                <a:gd name="connsiteX131" fmla="*/ 2501794 w 3331229"/>
                <a:gd name="connsiteY131" fmla="*/ 1183088 h 3869060"/>
                <a:gd name="connsiteX132" fmla="*/ 2399428 w 3331229"/>
                <a:gd name="connsiteY132" fmla="*/ 1607177 h 3869060"/>
                <a:gd name="connsiteX133" fmla="*/ 2321435 w 3331229"/>
                <a:gd name="connsiteY133" fmla="*/ 1641299 h 3869060"/>
                <a:gd name="connsiteX134" fmla="*/ 1760857 w 3331229"/>
                <a:gd name="connsiteY134" fmla="*/ 2323740 h 3869060"/>
                <a:gd name="connsiteX135" fmla="*/ 1556125 w 3331229"/>
                <a:gd name="connsiteY135" fmla="*/ 2309117 h 3869060"/>
                <a:gd name="connsiteX136" fmla="*/ 951677 w 3331229"/>
                <a:gd name="connsiteY136" fmla="*/ 1621800 h 3869060"/>
                <a:gd name="connsiteX137" fmla="*/ 771318 w 3331229"/>
                <a:gd name="connsiteY137" fmla="*/ 1202586 h 3869060"/>
                <a:gd name="connsiteX138" fmla="*/ 844436 w 3331229"/>
                <a:gd name="connsiteY138" fmla="*/ 1148966 h 3869060"/>
                <a:gd name="connsiteX139" fmla="*/ 717697 w 3331229"/>
                <a:gd name="connsiteY139" fmla="*/ 744376 h 3869060"/>
                <a:gd name="connsiteX140" fmla="*/ 1577147 w 3331229"/>
                <a:gd name="connsiteY140" fmla="*/ 22 h 3869060"/>
                <a:gd name="connsiteX0" fmla="*/ 1508057 w 3331229"/>
                <a:gd name="connsiteY0" fmla="*/ 3611535 h 3869060"/>
                <a:gd name="connsiteX1" fmla="*/ 1495987 w 3331229"/>
                <a:gd name="connsiteY1" fmla="*/ 3703355 h 3869060"/>
                <a:gd name="connsiteX2" fmla="*/ 1440068 w 3331229"/>
                <a:gd name="connsiteY2" fmla="*/ 3680017 h 3869060"/>
                <a:gd name="connsiteX3" fmla="*/ 1463109 w 3331229"/>
                <a:gd name="connsiteY3" fmla="*/ 3619012 h 3869060"/>
                <a:gd name="connsiteX4" fmla="*/ 1508057 w 3331229"/>
                <a:gd name="connsiteY4" fmla="*/ 3611535 h 3869060"/>
                <a:gd name="connsiteX5" fmla="*/ 1861030 w 3331229"/>
                <a:gd name="connsiteY5" fmla="*/ 3550757 h 3869060"/>
                <a:gd name="connsiteX6" fmla="*/ 1906356 w 3331229"/>
                <a:gd name="connsiteY6" fmla="*/ 3869060 h 3869060"/>
                <a:gd name="connsiteX7" fmla="*/ 1892778 w 3331229"/>
                <a:gd name="connsiteY7" fmla="*/ 3868958 h 3869060"/>
                <a:gd name="connsiteX8" fmla="*/ 1538997 w 3331229"/>
                <a:gd name="connsiteY8" fmla="*/ 3721305 h 3869060"/>
                <a:gd name="connsiteX9" fmla="*/ 1551846 w 3331229"/>
                <a:gd name="connsiteY9" fmla="*/ 3602744 h 3869060"/>
                <a:gd name="connsiteX10" fmla="*/ 1644566 w 3331229"/>
                <a:gd name="connsiteY10" fmla="*/ 3574740 h 3869060"/>
                <a:gd name="connsiteX11" fmla="*/ 1813152 w 3331229"/>
                <a:gd name="connsiteY11" fmla="*/ 3564243 h 3869060"/>
                <a:gd name="connsiteX12" fmla="*/ 1861030 w 3331229"/>
                <a:gd name="connsiteY12" fmla="*/ 3550757 h 3869060"/>
                <a:gd name="connsiteX13" fmla="*/ 1840046 w 3331229"/>
                <a:gd name="connsiteY13" fmla="*/ 3403400 h 3869060"/>
                <a:gd name="connsiteX14" fmla="*/ 1854699 w 3331229"/>
                <a:gd name="connsiteY14" fmla="*/ 3506298 h 3869060"/>
                <a:gd name="connsiteX15" fmla="*/ 1703614 w 3331229"/>
                <a:gd name="connsiteY15" fmla="*/ 3549956 h 3869060"/>
                <a:gd name="connsiteX16" fmla="*/ 1693964 w 3331229"/>
                <a:gd name="connsiteY16" fmla="*/ 3552204 h 3869060"/>
                <a:gd name="connsiteX17" fmla="*/ 1840046 w 3331229"/>
                <a:gd name="connsiteY17" fmla="*/ 3403400 h 3869060"/>
                <a:gd name="connsiteX18" fmla="*/ 1838628 w 3331229"/>
                <a:gd name="connsiteY18" fmla="*/ 3182112 h 3869060"/>
                <a:gd name="connsiteX19" fmla="*/ 1867663 w 3331229"/>
                <a:gd name="connsiteY19" fmla="*/ 3336975 h 3869060"/>
                <a:gd name="connsiteX20" fmla="*/ 1838628 w 3331229"/>
                <a:gd name="connsiteY20" fmla="*/ 3182112 h 3869060"/>
                <a:gd name="connsiteX21" fmla="*/ 1601004 w 3331229"/>
                <a:gd name="connsiteY21" fmla="*/ 3149134 h 3869060"/>
                <a:gd name="connsiteX22" fmla="*/ 1807421 w 3331229"/>
                <a:gd name="connsiteY22" fmla="*/ 3174289 h 3869060"/>
                <a:gd name="connsiteX23" fmla="*/ 1839495 w 3331229"/>
                <a:gd name="connsiteY23" fmla="*/ 3399531 h 3869060"/>
                <a:gd name="connsiteX24" fmla="*/ 1765527 w 3331229"/>
                <a:gd name="connsiteY24" fmla="*/ 3468993 h 3869060"/>
                <a:gd name="connsiteX25" fmla="*/ 1556344 w 3331229"/>
                <a:gd name="connsiteY25" fmla="*/ 3561237 h 3869060"/>
                <a:gd name="connsiteX26" fmla="*/ 1601004 w 3331229"/>
                <a:gd name="connsiteY26" fmla="*/ 3149134 h 3869060"/>
                <a:gd name="connsiteX27" fmla="*/ 1895429 w 3331229"/>
                <a:gd name="connsiteY27" fmla="*/ 2774153 h 3869060"/>
                <a:gd name="connsiteX28" fmla="*/ 1923916 w 3331229"/>
                <a:gd name="connsiteY28" fmla="*/ 2802639 h 3869060"/>
                <a:gd name="connsiteX29" fmla="*/ 1895429 w 3331229"/>
                <a:gd name="connsiteY29" fmla="*/ 2831125 h 3869060"/>
                <a:gd name="connsiteX30" fmla="*/ 1866942 w 3331229"/>
                <a:gd name="connsiteY30" fmla="*/ 2802639 h 3869060"/>
                <a:gd name="connsiteX31" fmla="*/ 1895429 w 3331229"/>
                <a:gd name="connsiteY31" fmla="*/ 2774153 h 3869060"/>
                <a:gd name="connsiteX32" fmla="*/ 1478652 w 3331229"/>
                <a:gd name="connsiteY32" fmla="*/ 2774153 h 3869060"/>
                <a:gd name="connsiteX33" fmla="*/ 1507139 w 3331229"/>
                <a:gd name="connsiteY33" fmla="*/ 2802639 h 3869060"/>
                <a:gd name="connsiteX34" fmla="*/ 1478652 w 3331229"/>
                <a:gd name="connsiteY34" fmla="*/ 2831125 h 3869060"/>
                <a:gd name="connsiteX35" fmla="*/ 1450165 w 3331229"/>
                <a:gd name="connsiteY35" fmla="*/ 2802639 h 3869060"/>
                <a:gd name="connsiteX36" fmla="*/ 1478652 w 3331229"/>
                <a:gd name="connsiteY36" fmla="*/ 2774153 h 3869060"/>
                <a:gd name="connsiteX37" fmla="*/ 1894911 w 3331229"/>
                <a:gd name="connsiteY37" fmla="*/ 2757579 h 3869060"/>
                <a:gd name="connsiteX38" fmla="*/ 1853476 w 3331229"/>
                <a:gd name="connsiteY38" fmla="*/ 2799013 h 3869060"/>
                <a:gd name="connsiteX39" fmla="*/ 1894911 w 3331229"/>
                <a:gd name="connsiteY39" fmla="*/ 2840448 h 3869060"/>
                <a:gd name="connsiteX40" fmla="*/ 1936346 w 3331229"/>
                <a:gd name="connsiteY40" fmla="*/ 2799013 h 3869060"/>
                <a:gd name="connsiteX41" fmla="*/ 1894911 w 3331229"/>
                <a:gd name="connsiteY41" fmla="*/ 2757579 h 3869060"/>
                <a:gd name="connsiteX42" fmla="*/ 1478134 w 3331229"/>
                <a:gd name="connsiteY42" fmla="*/ 2757579 h 3869060"/>
                <a:gd name="connsiteX43" fmla="*/ 1436699 w 3331229"/>
                <a:gd name="connsiteY43" fmla="*/ 2799013 h 3869060"/>
                <a:gd name="connsiteX44" fmla="*/ 1478134 w 3331229"/>
                <a:gd name="connsiteY44" fmla="*/ 2840448 h 3869060"/>
                <a:gd name="connsiteX45" fmla="*/ 1519569 w 3331229"/>
                <a:gd name="connsiteY45" fmla="*/ 2799013 h 3869060"/>
                <a:gd name="connsiteX46" fmla="*/ 1478134 w 3331229"/>
                <a:gd name="connsiteY46" fmla="*/ 2757579 h 3869060"/>
                <a:gd name="connsiteX47" fmla="*/ 2428199 w 3331229"/>
                <a:gd name="connsiteY47" fmla="*/ 2540148 h 3869060"/>
                <a:gd name="connsiteX48" fmla="*/ 3330475 w 3331229"/>
                <a:gd name="connsiteY48" fmla="*/ 2967187 h 3869060"/>
                <a:gd name="connsiteX49" fmla="*/ 3115993 w 3331229"/>
                <a:gd name="connsiteY49" fmla="*/ 3662627 h 3869060"/>
                <a:gd name="connsiteX50" fmla="*/ 2869015 w 3331229"/>
                <a:gd name="connsiteY50" fmla="*/ 3363653 h 3869060"/>
                <a:gd name="connsiteX51" fmla="*/ 2986004 w 3331229"/>
                <a:gd name="connsiteY51" fmla="*/ 3805615 h 3869060"/>
                <a:gd name="connsiteX52" fmla="*/ 1967317 w 3331229"/>
                <a:gd name="connsiteY52" fmla="*/ 3868494 h 3869060"/>
                <a:gd name="connsiteX53" fmla="*/ 1905081 w 3331229"/>
                <a:gd name="connsiteY53" fmla="*/ 3536552 h 3869060"/>
                <a:gd name="connsiteX54" fmla="*/ 1970314 w 3331229"/>
                <a:gd name="connsiteY54" fmla="*/ 3502331 h 3869060"/>
                <a:gd name="connsiteX55" fmla="*/ 2098902 w 3331229"/>
                <a:gd name="connsiteY55" fmla="*/ 3378506 h 3869060"/>
                <a:gd name="connsiteX56" fmla="*/ 2113189 w 3331229"/>
                <a:gd name="connsiteY56" fmla="*/ 3245156 h 3869060"/>
                <a:gd name="connsiteX57" fmla="*/ 2060802 w 3331229"/>
                <a:gd name="connsiteY57" fmla="*/ 3130856 h 3869060"/>
                <a:gd name="connsiteX58" fmla="*/ 2051277 w 3331229"/>
                <a:gd name="connsiteY58" fmla="*/ 2987981 h 3869060"/>
                <a:gd name="connsiteX59" fmla="*/ 2103664 w 3331229"/>
                <a:gd name="connsiteY59" fmla="*/ 2926068 h 3869060"/>
                <a:gd name="connsiteX60" fmla="*/ 2275114 w 3331229"/>
                <a:gd name="connsiteY60" fmla="*/ 2807006 h 3869060"/>
                <a:gd name="connsiteX61" fmla="*/ 2408464 w 3331229"/>
                <a:gd name="connsiteY61" fmla="*/ 2635556 h 3869060"/>
                <a:gd name="connsiteX62" fmla="*/ 2428199 w 3331229"/>
                <a:gd name="connsiteY62" fmla="*/ 2540148 h 3869060"/>
                <a:gd name="connsiteX63" fmla="*/ 1821792 w 3331229"/>
                <a:gd name="connsiteY63" fmla="*/ 2496790 h 3869060"/>
                <a:gd name="connsiteX64" fmla="*/ 1721863 w 3331229"/>
                <a:gd name="connsiteY64" fmla="*/ 2750269 h 3869060"/>
                <a:gd name="connsiteX65" fmla="*/ 1660931 w 3331229"/>
                <a:gd name="connsiteY65" fmla="*/ 2774641 h 3869060"/>
                <a:gd name="connsiteX66" fmla="*/ 1734049 w 3331229"/>
                <a:gd name="connsiteY66" fmla="*/ 2767330 h 3869060"/>
                <a:gd name="connsiteX67" fmla="*/ 1821792 w 3331229"/>
                <a:gd name="connsiteY67" fmla="*/ 2496790 h 3869060"/>
                <a:gd name="connsiteX68" fmla="*/ 1035331 w 3331229"/>
                <a:gd name="connsiteY68" fmla="*/ 2449210 h 3869060"/>
                <a:gd name="connsiteX69" fmla="*/ 987425 w 3331229"/>
                <a:gd name="connsiteY69" fmla="*/ 2514927 h 3869060"/>
                <a:gd name="connsiteX70" fmla="*/ 1509102 w 3331229"/>
                <a:gd name="connsiteY70" fmla="*/ 2902193 h 3869060"/>
                <a:gd name="connsiteX71" fmla="*/ 1575625 w 3331229"/>
                <a:gd name="connsiteY71" fmla="*/ 2771023 h 3869060"/>
                <a:gd name="connsiteX72" fmla="*/ 1495098 w 3331229"/>
                <a:gd name="connsiteY72" fmla="*/ 2883454 h 3869060"/>
                <a:gd name="connsiteX73" fmla="*/ 1035331 w 3331229"/>
                <a:gd name="connsiteY73" fmla="*/ 2449210 h 3869060"/>
                <a:gd name="connsiteX74" fmla="*/ 2282794 w 3331229"/>
                <a:gd name="connsiteY74" fmla="*/ 2434797 h 3869060"/>
                <a:gd name="connsiteX75" fmla="*/ 1871350 w 3331229"/>
                <a:gd name="connsiteY75" fmla="*/ 2892444 h 3869060"/>
                <a:gd name="connsiteX76" fmla="*/ 1796607 w 3331229"/>
                <a:gd name="connsiteY76" fmla="*/ 2775454 h 3869060"/>
                <a:gd name="connsiteX77" fmla="*/ 1858351 w 3331229"/>
                <a:gd name="connsiteY77" fmla="*/ 2911942 h 3869060"/>
                <a:gd name="connsiteX78" fmla="*/ 2342560 w 3331229"/>
                <a:gd name="connsiteY78" fmla="*/ 2508976 h 3869060"/>
                <a:gd name="connsiteX79" fmla="*/ 2282794 w 3331229"/>
                <a:gd name="connsiteY79" fmla="*/ 2434797 h 3869060"/>
                <a:gd name="connsiteX80" fmla="*/ 1880855 w 3331229"/>
                <a:gd name="connsiteY80" fmla="*/ 2396344 h 3869060"/>
                <a:gd name="connsiteX81" fmla="*/ 1750879 w 3331229"/>
                <a:gd name="connsiteY81" fmla="*/ 2777224 h 3869060"/>
                <a:gd name="connsiteX82" fmla="*/ 1803263 w 3331229"/>
                <a:gd name="connsiteY82" fmla="*/ 3145093 h 3869060"/>
                <a:gd name="connsiteX83" fmla="*/ 1604470 w 3331229"/>
                <a:gd name="connsiteY83" fmla="*/ 3117148 h 3869060"/>
                <a:gd name="connsiteX84" fmla="*/ 1640912 w 3331229"/>
                <a:gd name="connsiteY84" fmla="*/ 2780880 h 3869060"/>
                <a:gd name="connsiteX85" fmla="*/ 1499951 w 3331229"/>
                <a:gd name="connsiteY85" fmla="*/ 2415404 h 3869060"/>
                <a:gd name="connsiteX86" fmla="*/ 1880855 w 3331229"/>
                <a:gd name="connsiteY86" fmla="*/ 2396344 h 3869060"/>
                <a:gd name="connsiteX87" fmla="*/ 2160575 w 3331229"/>
                <a:gd name="connsiteY87" fmla="*/ 2219751 h 3869060"/>
                <a:gd name="connsiteX88" fmla="*/ 2402834 w 3331229"/>
                <a:gd name="connsiteY88" fmla="*/ 2525763 h 3869060"/>
                <a:gd name="connsiteX89" fmla="*/ 2398939 w 3331229"/>
                <a:gd name="connsiteY89" fmla="*/ 2535543 h 3869060"/>
                <a:gd name="connsiteX90" fmla="*/ 2365602 w 3331229"/>
                <a:gd name="connsiteY90" fmla="*/ 2640318 h 3869060"/>
                <a:gd name="connsiteX91" fmla="*/ 2237014 w 3331229"/>
                <a:gd name="connsiteY91" fmla="*/ 2787956 h 3869060"/>
                <a:gd name="connsiteX92" fmla="*/ 2065564 w 3331229"/>
                <a:gd name="connsiteY92" fmla="*/ 2940356 h 3869060"/>
                <a:gd name="connsiteX93" fmla="*/ 2032227 w 3331229"/>
                <a:gd name="connsiteY93" fmla="*/ 3097518 h 3869060"/>
                <a:gd name="connsiteX94" fmla="*/ 2065564 w 3331229"/>
                <a:gd name="connsiteY94" fmla="*/ 3307068 h 3869060"/>
                <a:gd name="connsiteX95" fmla="*/ 1898877 w 3331229"/>
                <a:gd name="connsiteY95" fmla="*/ 3483281 h 3869060"/>
                <a:gd name="connsiteX96" fmla="*/ 1895430 w 3331229"/>
                <a:gd name="connsiteY96" fmla="*/ 3485077 h 3869060"/>
                <a:gd name="connsiteX97" fmla="*/ 1873960 w 3331229"/>
                <a:gd name="connsiteY97" fmla="*/ 3370564 h 3869060"/>
                <a:gd name="connsiteX98" fmla="*/ 1901259 w 3331229"/>
                <a:gd name="connsiteY98" fmla="*/ 3349931 h 3869060"/>
                <a:gd name="connsiteX99" fmla="*/ 1833269 w 3331229"/>
                <a:gd name="connsiteY99" fmla="*/ 3153532 h 3869060"/>
                <a:gd name="connsiteX100" fmla="*/ 1760860 w 3331229"/>
                <a:gd name="connsiteY100" fmla="*/ 2767328 h 3869060"/>
                <a:gd name="connsiteX101" fmla="*/ 1921924 w 3331229"/>
                <a:gd name="connsiteY101" fmla="*/ 2378228 h 3869060"/>
                <a:gd name="connsiteX102" fmla="*/ 2160575 w 3331229"/>
                <a:gd name="connsiteY102" fmla="*/ 2219751 h 3869060"/>
                <a:gd name="connsiteX103" fmla="*/ 1133664 w 3331229"/>
                <a:gd name="connsiteY103" fmla="*/ 2187254 h 3869060"/>
                <a:gd name="connsiteX104" fmla="*/ 1441077 w 3331229"/>
                <a:gd name="connsiteY104" fmla="*/ 2391954 h 3869060"/>
                <a:gd name="connsiteX105" fmla="*/ 1618521 w 3331229"/>
                <a:gd name="connsiteY105" fmla="*/ 2771228 h 3869060"/>
                <a:gd name="connsiteX106" fmla="*/ 1573489 w 3331229"/>
                <a:gd name="connsiteY106" fmla="*/ 3113795 h 3869060"/>
                <a:gd name="connsiteX107" fmla="*/ 1315471 w 3331229"/>
                <a:gd name="connsiteY107" fmla="*/ 3057037 h 3869060"/>
                <a:gd name="connsiteX108" fmla="*/ 943996 w 3331229"/>
                <a:gd name="connsiteY108" fmla="*/ 2530781 h 3869060"/>
                <a:gd name="connsiteX109" fmla="*/ 941615 w 3331229"/>
                <a:gd name="connsiteY109" fmla="*/ 2561737 h 3869060"/>
                <a:gd name="connsiteX110" fmla="*/ 1303565 w 3331229"/>
                <a:gd name="connsiteY110" fmla="*/ 3099899 h 3869060"/>
                <a:gd name="connsiteX111" fmla="*/ 1569168 w 3331229"/>
                <a:gd name="connsiteY111" fmla="*/ 3146659 h 3869060"/>
                <a:gd name="connsiteX112" fmla="*/ 1512433 w 3331229"/>
                <a:gd name="connsiteY112" fmla="*/ 3578253 h 3869060"/>
                <a:gd name="connsiteX113" fmla="*/ 1444059 w 3331229"/>
                <a:gd name="connsiteY113" fmla="*/ 3604724 h 3869060"/>
                <a:gd name="connsiteX114" fmla="*/ 1412735 w 3331229"/>
                <a:gd name="connsiteY114" fmla="*/ 3668609 h 3869060"/>
                <a:gd name="connsiteX115" fmla="*/ 1208314 w 3331229"/>
                <a:gd name="connsiteY115" fmla="*/ 3583293 h 3869060"/>
                <a:gd name="connsiteX116" fmla="*/ 534275 w 3331229"/>
                <a:gd name="connsiteY116" fmla="*/ 3797898 h 3869060"/>
                <a:gd name="connsiteX117" fmla="*/ 639706 w 3331229"/>
                <a:gd name="connsiteY117" fmla="*/ 3344155 h 3869060"/>
                <a:gd name="connsiteX118" fmla="*/ 347231 w 3331229"/>
                <a:gd name="connsiteY118" fmla="*/ 3831613 h 3869060"/>
                <a:gd name="connsiteX119" fmla="*/ 15759 w 3331229"/>
                <a:gd name="connsiteY119" fmla="*/ 2947689 h 3869060"/>
                <a:gd name="connsiteX120" fmla="*/ 932181 w 3331229"/>
                <a:gd name="connsiteY120" fmla="*/ 2525225 h 3869060"/>
                <a:gd name="connsiteX121" fmla="*/ 1133664 w 3331229"/>
                <a:gd name="connsiteY121" fmla="*/ 2187254 h 3869060"/>
                <a:gd name="connsiteX122" fmla="*/ 1577147 w 3331229"/>
                <a:gd name="connsiteY122" fmla="*/ 22 h 3869060"/>
                <a:gd name="connsiteX123" fmla="*/ 1751109 w 3331229"/>
                <a:gd name="connsiteY123" fmla="*/ 27813 h 3869060"/>
                <a:gd name="connsiteX124" fmla="*/ 1790105 w 3331229"/>
                <a:gd name="connsiteY124" fmla="*/ 105806 h 3869060"/>
                <a:gd name="connsiteX125" fmla="*/ 1911969 w 3331229"/>
                <a:gd name="connsiteY125" fmla="*/ 71683 h 3869060"/>
                <a:gd name="connsiteX126" fmla="*/ 2540790 w 3331229"/>
                <a:gd name="connsiteY126" fmla="*/ 768749 h 3869060"/>
                <a:gd name="connsiteX127" fmla="*/ 2404302 w 3331229"/>
                <a:gd name="connsiteY127" fmla="*/ 1153840 h 3869060"/>
                <a:gd name="connsiteX128" fmla="*/ 2501794 w 3331229"/>
                <a:gd name="connsiteY128" fmla="*/ 1183088 h 3869060"/>
                <a:gd name="connsiteX129" fmla="*/ 2399428 w 3331229"/>
                <a:gd name="connsiteY129" fmla="*/ 1607177 h 3869060"/>
                <a:gd name="connsiteX130" fmla="*/ 2321435 w 3331229"/>
                <a:gd name="connsiteY130" fmla="*/ 1641299 h 3869060"/>
                <a:gd name="connsiteX131" fmla="*/ 1760857 w 3331229"/>
                <a:gd name="connsiteY131" fmla="*/ 2323740 h 3869060"/>
                <a:gd name="connsiteX132" fmla="*/ 1556125 w 3331229"/>
                <a:gd name="connsiteY132" fmla="*/ 2309117 h 3869060"/>
                <a:gd name="connsiteX133" fmla="*/ 951677 w 3331229"/>
                <a:gd name="connsiteY133" fmla="*/ 1621800 h 3869060"/>
                <a:gd name="connsiteX134" fmla="*/ 771318 w 3331229"/>
                <a:gd name="connsiteY134" fmla="*/ 1202586 h 3869060"/>
                <a:gd name="connsiteX135" fmla="*/ 844436 w 3331229"/>
                <a:gd name="connsiteY135" fmla="*/ 1148966 h 3869060"/>
                <a:gd name="connsiteX136" fmla="*/ 717697 w 3331229"/>
                <a:gd name="connsiteY136" fmla="*/ 744376 h 3869060"/>
                <a:gd name="connsiteX137" fmla="*/ 1577147 w 3331229"/>
                <a:gd name="connsiteY137" fmla="*/ 22 h 3869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3331229" h="3869060">
                  <a:moveTo>
                    <a:pt x="1508057" y="3611535"/>
                  </a:moveTo>
                  <a:lnTo>
                    <a:pt x="1495987" y="3703355"/>
                  </a:lnTo>
                  <a:lnTo>
                    <a:pt x="1440068" y="3680017"/>
                  </a:lnTo>
                  <a:cubicBezTo>
                    <a:pt x="1436561" y="3647800"/>
                    <a:pt x="1442311" y="3633944"/>
                    <a:pt x="1463109" y="3619012"/>
                  </a:cubicBezTo>
                  <a:lnTo>
                    <a:pt x="1508057" y="3611535"/>
                  </a:lnTo>
                  <a:close/>
                  <a:moveTo>
                    <a:pt x="1861030" y="3550757"/>
                  </a:moveTo>
                  <a:lnTo>
                    <a:pt x="1906356" y="3869060"/>
                  </a:lnTo>
                  <a:lnTo>
                    <a:pt x="1892778" y="3868958"/>
                  </a:lnTo>
                  <a:lnTo>
                    <a:pt x="1538997" y="3721305"/>
                  </a:lnTo>
                  <a:lnTo>
                    <a:pt x="1551846" y="3602744"/>
                  </a:lnTo>
                  <a:cubicBezTo>
                    <a:pt x="1588171" y="3594717"/>
                    <a:pt x="1618787" y="3585571"/>
                    <a:pt x="1644566" y="3574740"/>
                  </a:cubicBezTo>
                  <a:cubicBezTo>
                    <a:pt x="1696697" y="3574680"/>
                    <a:pt x="1771960" y="3571967"/>
                    <a:pt x="1813152" y="3564243"/>
                  </a:cubicBezTo>
                  <a:cubicBezTo>
                    <a:pt x="1830482" y="3560994"/>
                    <a:pt x="1846511" y="3557213"/>
                    <a:pt x="1861030" y="3550757"/>
                  </a:cubicBezTo>
                  <a:close/>
                  <a:moveTo>
                    <a:pt x="1840046" y="3403400"/>
                  </a:moveTo>
                  <a:lnTo>
                    <a:pt x="1854699" y="3506298"/>
                  </a:lnTo>
                  <a:cubicBezTo>
                    <a:pt x="1802344" y="3529013"/>
                    <a:pt x="1743494" y="3538299"/>
                    <a:pt x="1703614" y="3549956"/>
                  </a:cubicBezTo>
                  <a:cubicBezTo>
                    <a:pt x="1700518" y="3550861"/>
                    <a:pt x="1697325" y="3551735"/>
                    <a:pt x="1693964" y="3552204"/>
                  </a:cubicBezTo>
                  <a:cubicBezTo>
                    <a:pt x="1777023" y="3507797"/>
                    <a:pt x="1798599" y="3451785"/>
                    <a:pt x="1840046" y="3403400"/>
                  </a:cubicBezTo>
                  <a:close/>
                  <a:moveTo>
                    <a:pt x="1838628" y="3182112"/>
                  </a:moveTo>
                  <a:cubicBezTo>
                    <a:pt x="1920908" y="3206476"/>
                    <a:pt x="1953276" y="3250671"/>
                    <a:pt x="1867663" y="3336975"/>
                  </a:cubicBezTo>
                  <a:lnTo>
                    <a:pt x="1838628" y="3182112"/>
                  </a:lnTo>
                  <a:close/>
                  <a:moveTo>
                    <a:pt x="1601004" y="3149134"/>
                  </a:moveTo>
                  <a:cubicBezTo>
                    <a:pt x="1675206" y="3154629"/>
                    <a:pt x="1749516" y="3160919"/>
                    <a:pt x="1807421" y="3174289"/>
                  </a:cubicBezTo>
                  <a:lnTo>
                    <a:pt x="1839495" y="3399531"/>
                  </a:lnTo>
                  <a:cubicBezTo>
                    <a:pt x="1825257" y="3421921"/>
                    <a:pt x="1801010" y="3447047"/>
                    <a:pt x="1765527" y="3468993"/>
                  </a:cubicBezTo>
                  <a:cubicBezTo>
                    <a:pt x="1716650" y="3499223"/>
                    <a:pt x="1643637" y="3527845"/>
                    <a:pt x="1556344" y="3561237"/>
                  </a:cubicBezTo>
                  <a:lnTo>
                    <a:pt x="1601004" y="3149134"/>
                  </a:lnTo>
                  <a:close/>
                  <a:moveTo>
                    <a:pt x="1895429" y="2774153"/>
                  </a:moveTo>
                  <a:cubicBezTo>
                    <a:pt x="1911162" y="2774153"/>
                    <a:pt x="1923916" y="2786906"/>
                    <a:pt x="1923916" y="2802639"/>
                  </a:cubicBezTo>
                  <a:cubicBezTo>
                    <a:pt x="1923916" y="2818371"/>
                    <a:pt x="1911162" y="2831125"/>
                    <a:pt x="1895429" y="2831125"/>
                  </a:cubicBezTo>
                  <a:cubicBezTo>
                    <a:pt x="1879696" y="2831125"/>
                    <a:pt x="1866942" y="2818371"/>
                    <a:pt x="1866942" y="2802639"/>
                  </a:cubicBezTo>
                  <a:cubicBezTo>
                    <a:pt x="1866942" y="2786906"/>
                    <a:pt x="1879696" y="2774153"/>
                    <a:pt x="1895429" y="2774153"/>
                  </a:cubicBezTo>
                  <a:close/>
                  <a:moveTo>
                    <a:pt x="1478652" y="2774153"/>
                  </a:moveTo>
                  <a:cubicBezTo>
                    <a:pt x="1494385" y="2774153"/>
                    <a:pt x="1507139" y="2786906"/>
                    <a:pt x="1507139" y="2802639"/>
                  </a:cubicBezTo>
                  <a:cubicBezTo>
                    <a:pt x="1507139" y="2818371"/>
                    <a:pt x="1494385" y="2831125"/>
                    <a:pt x="1478652" y="2831125"/>
                  </a:cubicBezTo>
                  <a:cubicBezTo>
                    <a:pt x="1462919" y="2831125"/>
                    <a:pt x="1450165" y="2818371"/>
                    <a:pt x="1450165" y="2802639"/>
                  </a:cubicBezTo>
                  <a:cubicBezTo>
                    <a:pt x="1450165" y="2786906"/>
                    <a:pt x="1462919" y="2774153"/>
                    <a:pt x="1478652" y="2774153"/>
                  </a:cubicBezTo>
                  <a:close/>
                  <a:moveTo>
                    <a:pt x="1894911" y="2757579"/>
                  </a:moveTo>
                  <a:cubicBezTo>
                    <a:pt x="1872027" y="2757579"/>
                    <a:pt x="1853476" y="2776129"/>
                    <a:pt x="1853476" y="2799013"/>
                  </a:cubicBezTo>
                  <a:cubicBezTo>
                    <a:pt x="1853476" y="2821897"/>
                    <a:pt x="1872027" y="2840448"/>
                    <a:pt x="1894911" y="2840448"/>
                  </a:cubicBezTo>
                  <a:cubicBezTo>
                    <a:pt x="1917795" y="2840448"/>
                    <a:pt x="1936346" y="2821897"/>
                    <a:pt x="1936346" y="2799013"/>
                  </a:cubicBezTo>
                  <a:cubicBezTo>
                    <a:pt x="1936346" y="2776129"/>
                    <a:pt x="1917795" y="2757579"/>
                    <a:pt x="1894911" y="2757579"/>
                  </a:cubicBezTo>
                  <a:close/>
                  <a:moveTo>
                    <a:pt x="1478134" y="2757579"/>
                  </a:moveTo>
                  <a:cubicBezTo>
                    <a:pt x="1455250" y="2757579"/>
                    <a:pt x="1436699" y="2776129"/>
                    <a:pt x="1436699" y="2799013"/>
                  </a:cubicBezTo>
                  <a:cubicBezTo>
                    <a:pt x="1436699" y="2821897"/>
                    <a:pt x="1455250" y="2840448"/>
                    <a:pt x="1478134" y="2840448"/>
                  </a:cubicBezTo>
                  <a:cubicBezTo>
                    <a:pt x="1501018" y="2840448"/>
                    <a:pt x="1519569" y="2821897"/>
                    <a:pt x="1519569" y="2799013"/>
                  </a:cubicBezTo>
                  <a:cubicBezTo>
                    <a:pt x="1519569" y="2776129"/>
                    <a:pt x="1501018" y="2757579"/>
                    <a:pt x="1478134" y="2757579"/>
                  </a:cubicBezTo>
                  <a:close/>
                  <a:moveTo>
                    <a:pt x="2428199" y="2540148"/>
                  </a:moveTo>
                  <a:cubicBezTo>
                    <a:pt x="2737422" y="2679198"/>
                    <a:pt x="3235516" y="2733606"/>
                    <a:pt x="3330475" y="2967187"/>
                  </a:cubicBezTo>
                  <a:cubicBezTo>
                    <a:pt x="3336974" y="3253596"/>
                    <a:pt x="3304477" y="3306025"/>
                    <a:pt x="3115993" y="3662627"/>
                  </a:cubicBezTo>
                  <a:cubicBezTo>
                    <a:pt x="3025868" y="3461578"/>
                    <a:pt x="2990337" y="3455512"/>
                    <a:pt x="2869015" y="3363653"/>
                  </a:cubicBezTo>
                  <a:cubicBezTo>
                    <a:pt x="2962606" y="3534371"/>
                    <a:pt x="3009402" y="3564703"/>
                    <a:pt x="2986004" y="3805615"/>
                  </a:cubicBezTo>
                  <a:cubicBezTo>
                    <a:pt x="2636669" y="3844451"/>
                    <a:pt x="2309106" y="3863952"/>
                    <a:pt x="1967317" y="3868494"/>
                  </a:cubicBezTo>
                  <a:lnTo>
                    <a:pt x="1905081" y="3536552"/>
                  </a:lnTo>
                  <a:lnTo>
                    <a:pt x="1970314" y="3502331"/>
                  </a:lnTo>
                  <a:cubicBezTo>
                    <a:pt x="2017939" y="3471375"/>
                    <a:pt x="2075090" y="3421368"/>
                    <a:pt x="2098902" y="3378506"/>
                  </a:cubicBezTo>
                  <a:cubicBezTo>
                    <a:pt x="2122715" y="3335643"/>
                    <a:pt x="2119539" y="3286431"/>
                    <a:pt x="2113189" y="3245156"/>
                  </a:cubicBezTo>
                  <a:cubicBezTo>
                    <a:pt x="2106839" y="3203881"/>
                    <a:pt x="2071121" y="3173718"/>
                    <a:pt x="2060802" y="3130856"/>
                  </a:cubicBezTo>
                  <a:cubicBezTo>
                    <a:pt x="2050483" y="3087994"/>
                    <a:pt x="2044133" y="3022112"/>
                    <a:pt x="2051277" y="2987981"/>
                  </a:cubicBezTo>
                  <a:cubicBezTo>
                    <a:pt x="2058421" y="2953850"/>
                    <a:pt x="2066358" y="2956230"/>
                    <a:pt x="2103664" y="2926068"/>
                  </a:cubicBezTo>
                  <a:cubicBezTo>
                    <a:pt x="2140970" y="2895906"/>
                    <a:pt x="2224314" y="2855425"/>
                    <a:pt x="2275114" y="2807006"/>
                  </a:cubicBezTo>
                  <a:cubicBezTo>
                    <a:pt x="2325914" y="2758587"/>
                    <a:pt x="2383064" y="2689531"/>
                    <a:pt x="2408464" y="2635556"/>
                  </a:cubicBezTo>
                  <a:cubicBezTo>
                    <a:pt x="2421925" y="2606952"/>
                    <a:pt x="2426915" y="2570545"/>
                    <a:pt x="2428199" y="2540148"/>
                  </a:cubicBezTo>
                  <a:close/>
                  <a:moveTo>
                    <a:pt x="1821792" y="2496790"/>
                  </a:moveTo>
                  <a:lnTo>
                    <a:pt x="1721863" y="2750269"/>
                  </a:lnTo>
                  <a:lnTo>
                    <a:pt x="1660931" y="2774641"/>
                  </a:lnTo>
                  <a:lnTo>
                    <a:pt x="1734049" y="2767330"/>
                  </a:lnTo>
                  <a:lnTo>
                    <a:pt x="1821792" y="2496790"/>
                  </a:lnTo>
                  <a:close/>
                  <a:moveTo>
                    <a:pt x="1035331" y="2449210"/>
                  </a:moveTo>
                  <a:cubicBezTo>
                    <a:pt x="1003820" y="2480441"/>
                    <a:pt x="1018936" y="2483696"/>
                    <a:pt x="987425" y="2514927"/>
                  </a:cubicBezTo>
                  <a:cubicBezTo>
                    <a:pt x="1085458" y="2641935"/>
                    <a:pt x="1229007" y="2797048"/>
                    <a:pt x="1509102" y="2902193"/>
                  </a:cubicBezTo>
                  <a:lnTo>
                    <a:pt x="1575625" y="2771023"/>
                  </a:lnTo>
                  <a:lnTo>
                    <a:pt x="1495098" y="2883454"/>
                  </a:lnTo>
                  <a:cubicBezTo>
                    <a:pt x="1276857" y="2757490"/>
                    <a:pt x="1168294" y="2704852"/>
                    <a:pt x="1035331" y="2449210"/>
                  </a:cubicBezTo>
                  <a:close/>
                  <a:moveTo>
                    <a:pt x="2282794" y="2434797"/>
                  </a:moveTo>
                  <a:cubicBezTo>
                    <a:pt x="2229292" y="2682720"/>
                    <a:pt x="2073916" y="2761372"/>
                    <a:pt x="1871350" y="2892444"/>
                  </a:cubicBezTo>
                  <a:lnTo>
                    <a:pt x="1796607" y="2775454"/>
                  </a:lnTo>
                  <a:lnTo>
                    <a:pt x="1858351" y="2911942"/>
                  </a:lnTo>
                  <a:cubicBezTo>
                    <a:pt x="2118329" y="2802534"/>
                    <a:pt x="2251568" y="2641132"/>
                    <a:pt x="2342560" y="2508976"/>
                  </a:cubicBezTo>
                  <a:lnTo>
                    <a:pt x="2282794" y="2434797"/>
                  </a:lnTo>
                  <a:close/>
                  <a:moveTo>
                    <a:pt x="1880855" y="2396344"/>
                  </a:moveTo>
                  <a:lnTo>
                    <a:pt x="1750879" y="2777224"/>
                  </a:lnTo>
                  <a:lnTo>
                    <a:pt x="1803263" y="3145093"/>
                  </a:lnTo>
                  <a:cubicBezTo>
                    <a:pt x="1745457" y="3131681"/>
                    <a:pt x="1675084" y="3124533"/>
                    <a:pt x="1604470" y="3117148"/>
                  </a:cubicBezTo>
                  <a:lnTo>
                    <a:pt x="1640912" y="2780880"/>
                  </a:lnTo>
                  <a:lnTo>
                    <a:pt x="1499951" y="2415404"/>
                  </a:lnTo>
                  <a:cubicBezTo>
                    <a:pt x="1618034" y="2455339"/>
                    <a:pt x="1742081" y="2454502"/>
                    <a:pt x="1880855" y="2396344"/>
                  </a:cubicBezTo>
                  <a:close/>
                  <a:moveTo>
                    <a:pt x="2160575" y="2219751"/>
                  </a:moveTo>
                  <a:lnTo>
                    <a:pt x="2402834" y="2525763"/>
                  </a:lnTo>
                  <a:lnTo>
                    <a:pt x="2398939" y="2535543"/>
                  </a:lnTo>
                  <a:cubicBezTo>
                    <a:pt x="2388620" y="2561737"/>
                    <a:pt x="2392590" y="2598249"/>
                    <a:pt x="2365602" y="2640318"/>
                  </a:cubicBezTo>
                  <a:cubicBezTo>
                    <a:pt x="2338615" y="2682387"/>
                    <a:pt x="2287020" y="2737950"/>
                    <a:pt x="2237014" y="2787956"/>
                  </a:cubicBezTo>
                  <a:cubicBezTo>
                    <a:pt x="2187008" y="2837962"/>
                    <a:pt x="2099695" y="2888762"/>
                    <a:pt x="2065564" y="2940356"/>
                  </a:cubicBezTo>
                  <a:cubicBezTo>
                    <a:pt x="2031433" y="2991950"/>
                    <a:pt x="2032227" y="3036399"/>
                    <a:pt x="2032227" y="3097518"/>
                  </a:cubicBezTo>
                  <a:cubicBezTo>
                    <a:pt x="2032227" y="3158637"/>
                    <a:pt x="2087789" y="3242774"/>
                    <a:pt x="2065564" y="3307068"/>
                  </a:cubicBezTo>
                  <a:cubicBezTo>
                    <a:pt x="2043339" y="3371362"/>
                    <a:pt x="1959202" y="3442800"/>
                    <a:pt x="1898877" y="3483281"/>
                  </a:cubicBezTo>
                  <a:cubicBezTo>
                    <a:pt x="1897807" y="3484000"/>
                    <a:pt x="1896729" y="3484709"/>
                    <a:pt x="1895430" y="3485077"/>
                  </a:cubicBezTo>
                  <a:lnTo>
                    <a:pt x="1873960" y="3370564"/>
                  </a:lnTo>
                  <a:cubicBezTo>
                    <a:pt x="1881430" y="3362619"/>
                    <a:pt x="1890744" y="3356106"/>
                    <a:pt x="1901259" y="3349931"/>
                  </a:cubicBezTo>
                  <a:cubicBezTo>
                    <a:pt x="1976783" y="3234756"/>
                    <a:pt x="1929546" y="3181711"/>
                    <a:pt x="1833269" y="3153532"/>
                  </a:cubicBezTo>
                  <a:lnTo>
                    <a:pt x="1760860" y="2767328"/>
                  </a:lnTo>
                  <a:lnTo>
                    <a:pt x="1921924" y="2378228"/>
                  </a:lnTo>
                  <a:cubicBezTo>
                    <a:pt x="1996756" y="2342621"/>
                    <a:pt x="2075774" y="2290491"/>
                    <a:pt x="2160575" y="2219751"/>
                  </a:cubicBezTo>
                  <a:close/>
                  <a:moveTo>
                    <a:pt x="1133664" y="2187254"/>
                  </a:moveTo>
                  <a:cubicBezTo>
                    <a:pt x="1237143" y="2276460"/>
                    <a:pt x="1337095" y="2349445"/>
                    <a:pt x="1441077" y="2391954"/>
                  </a:cubicBezTo>
                  <a:lnTo>
                    <a:pt x="1618521" y="2771228"/>
                  </a:lnTo>
                  <a:lnTo>
                    <a:pt x="1573489" y="3113795"/>
                  </a:lnTo>
                  <a:cubicBezTo>
                    <a:pt x="1472025" y="3103435"/>
                    <a:pt x="1373792" y="3090684"/>
                    <a:pt x="1315471" y="3057037"/>
                  </a:cubicBezTo>
                  <a:cubicBezTo>
                    <a:pt x="1239271" y="2956231"/>
                    <a:pt x="1020196" y="2631587"/>
                    <a:pt x="943996" y="2530781"/>
                  </a:cubicBezTo>
                  <a:lnTo>
                    <a:pt x="941615" y="2561737"/>
                  </a:lnTo>
                  <a:cubicBezTo>
                    <a:pt x="1117033" y="2826849"/>
                    <a:pt x="1263877" y="3087199"/>
                    <a:pt x="1303565" y="3099899"/>
                  </a:cubicBezTo>
                  <a:cubicBezTo>
                    <a:pt x="1344515" y="3130002"/>
                    <a:pt x="1453844" y="3138423"/>
                    <a:pt x="1569168" y="3146659"/>
                  </a:cubicBezTo>
                  <a:lnTo>
                    <a:pt x="1512433" y="3578253"/>
                  </a:lnTo>
                  <a:lnTo>
                    <a:pt x="1444059" y="3604724"/>
                  </a:lnTo>
                  <a:cubicBezTo>
                    <a:pt x="1418713" y="3619087"/>
                    <a:pt x="1413601" y="3642893"/>
                    <a:pt x="1412735" y="3668609"/>
                  </a:cubicBezTo>
                  <a:lnTo>
                    <a:pt x="1208314" y="3583293"/>
                  </a:lnTo>
                  <a:lnTo>
                    <a:pt x="534275" y="3797898"/>
                  </a:lnTo>
                  <a:cubicBezTo>
                    <a:pt x="504539" y="3716726"/>
                    <a:pt x="516650" y="3617611"/>
                    <a:pt x="639706" y="3344155"/>
                  </a:cubicBezTo>
                  <a:cubicBezTo>
                    <a:pt x="490218" y="3461145"/>
                    <a:pt x="418725" y="3532639"/>
                    <a:pt x="347231" y="3831613"/>
                  </a:cubicBezTo>
                  <a:cubicBezTo>
                    <a:pt x="165246" y="3575968"/>
                    <a:pt x="-62234" y="3417815"/>
                    <a:pt x="15759" y="2947689"/>
                  </a:cubicBezTo>
                  <a:cubicBezTo>
                    <a:pt x="113251" y="2729958"/>
                    <a:pt x="745864" y="2651964"/>
                    <a:pt x="932181" y="2525225"/>
                  </a:cubicBezTo>
                  <a:lnTo>
                    <a:pt x="1133664" y="2187254"/>
                  </a:lnTo>
                  <a:close/>
                  <a:moveTo>
                    <a:pt x="1577147" y="22"/>
                  </a:moveTo>
                  <a:cubicBezTo>
                    <a:pt x="1637623" y="520"/>
                    <a:pt x="1696270" y="9330"/>
                    <a:pt x="1751109" y="27813"/>
                  </a:cubicBezTo>
                  <a:cubicBezTo>
                    <a:pt x="1752734" y="79808"/>
                    <a:pt x="1763295" y="98494"/>
                    <a:pt x="1790105" y="105806"/>
                  </a:cubicBezTo>
                  <a:cubicBezTo>
                    <a:pt x="1816914" y="113118"/>
                    <a:pt x="1816103" y="86308"/>
                    <a:pt x="1911969" y="71683"/>
                  </a:cubicBezTo>
                  <a:cubicBezTo>
                    <a:pt x="2098828" y="16438"/>
                    <a:pt x="2661029" y="429153"/>
                    <a:pt x="2540790" y="768749"/>
                  </a:cubicBezTo>
                  <a:lnTo>
                    <a:pt x="2404302" y="1153840"/>
                  </a:lnTo>
                  <a:cubicBezTo>
                    <a:pt x="2456297" y="1144091"/>
                    <a:pt x="2474170" y="1119718"/>
                    <a:pt x="2501794" y="1183088"/>
                  </a:cubicBezTo>
                  <a:cubicBezTo>
                    <a:pt x="2467672" y="1324451"/>
                    <a:pt x="2457923" y="1485312"/>
                    <a:pt x="2399428" y="1607177"/>
                  </a:cubicBezTo>
                  <a:cubicBezTo>
                    <a:pt x="2378305" y="1638049"/>
                    <a:pt x="2347432" y="1629925"/>
                    <a:pt x="2321435" y="1641299"/>
                  </a:cubicBezTo>
                  <a:cubicBezTo>
                    <a:pt x="2329558" y="2000393"/>
                    <a:pt x="2040333" y="2164504"/>
                    <a:pt x="1760857" y="2323740"/>
                  </a:cubicBezTo>
                  <a:cubicBezTo>
                    <a:pt x="1668240" y="2338363"/>
                    <a:pt x="1638992" y="2348113"/>
                    <a:pt x="1556125" y="2309117"/>
                  </a:cubicBezTo>
                  <a:cubicBezTo>
                    <a:pt x="1018296" y="2084885"/>
                    <a:pt x="982549" y="1777787"/>
                    <a:pt x="951677" y="1621800"/>
                  </a:cubicBezTo>
                  <a:cubicBezTo>
                    <a:pt x="818438" y="1652672"/>
                    <a:pt x="743695" y="1210710"/>
                    <a:pt x="771318" y="1202586"/>
                  </a:cubicBezTo>
                  <a:cubicBezTo>
                    <a:pt x="795690" y="1184713"/>
                    <a:pt x="839562" y="1186338"/>
                    <a:pt x="844436" y="1148966"/>
                  </a:cubicBezTo>
                  <a:cubicBezTo>
                    <a:pt x="792441" y="1023852"/>
                    <a:pt x="735571" y="884115"/>
                    <a:pt x="717697" y="744376"/>
                  </a:cubicBezTo>
                  <a:cubicBezTo>
                    <a:pt x="640923" y="400311"/>
                    <a:pt x="1153820" y="-3467"/>
                    <a:pt x="1577147" y="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62"/>
              <a:endParaRPr lang="en-US">
                <a:solidFill>
                  <a:srgbClr val="FFFFFF"/>
                </a:solidFill>
              </a:endParaRPr>
            </a:p>
          </p:txBody>
        </p:sp>
        <p:sp>
          <p:nvSpPr>
            <p:cNvPr id="25" name="Freeform 24"/>
            <p:cNvSpPr/>
            <p:nvPr/>
          </p:nvSpPr>
          <p:spPr>
            <a:xfrm>
              <a:off x="4419600" y="4826000"/>
              <a:ext cx="1155700" cy="520700"/>
            </a:xfrm>
            <a:custGeom>
              <a:avLst/>
              <a:gdLst/>
              <a:ahLst/>
              <a:cxnLst/>
              <a:rect l="l" t="t" r="r" b="b"/>
              <a:pathLst>
                <a:path w="1155700" h="520700">
                  <a:moveTo>
                    <a:pt x="887413" y="167791"/>
                  </a:moveTo>
                  <a:lnTo>
                    <a:pt x="1026319" y="226441"/>
                  </a:lnTo>
                  <a:lnTo>
                    <a:pt x="841111" y="319045"/>
                  </a:lnTo>
                  <a:lnTo>
                    <a:pt x="692945" y="244962"/>
                  </a:lnTo>
                  <a:close/>
                  <a:moveTo>
                    <a:pt x="221455" y="158750"/>
                  </a:moveTo>
                  <a:lnTo>
                    <a:pt x="195262" y="163513"/>
                  </a:lnTo>
                  <a:cubicBezTo>
                    <a:pt x="313531" y="223838"/>
                    <a:pt x="555624" y="334169"/>
                    <a:pt x="673893" y="394494"/>
                  </a:cubicBezTo>
                  <a:lnTo>
                    <a:pt x="697705" y="387350"/>
                  </a:lnTo>
                  <a:close/>
                  <a:moveTo>
                    <a:pt x="890588" y="155047"/>
                  </a:moveTo>
                  <a:lnTo>
                    <a:pt x="657225" y="247651"/>
                  </a:lnTo>
                  <a:lnTo>
                    <a:pt x="835025" y="336551"/>
                  </a:lnTo>
                  <a:lnTo>
                    <a:pt x="1057275" y="225426"/>
                  </a:lnTo>
                  <a:close/>
                  <a:moveTo>
                    <a:pt x="504826" y="65881"/>
                  </a:moveTo>
                  <a:lnTo>
                    <a:pt x="488157" y="73025"/>
                  </a:lnTo>
                  <a:cubicBezTo>
                    <a:pt x="542926" y="102394"/>
                    <a:pt x="669132" y="157956"/>
                    <a:pt x="723901" y="187325"/>
                  </a:cubicBezTo>
                  <a:lnTo>
                    <a:pt x="754857" y="173038"/>
                  </a:lnTo>
                  <a:close/>
                  <a:moveTo>
                    <a:pt x="566738" y="46831"/>
                  </a:moveTo>
                  <a:lnTo>
                    <a:pt x="550069" y="53975"/>
                  </a:lnTo>
                  <a:cubicBezTo>
                    <a:pt x="604838" y="83344"/>
                    <a:pt x="731044" y="138906"/>
                    <a:pt x="785813" y="168275"/>
                  </a:cubicBezTo>
                  <a:lnTo>
                    <a:pt x="816769" y="153988"/>
                  </a:lnTo>
                  <a:close/>
                  <a:moveTo>
                    <a:pt x="590550" y="0"/>
                  </a:moveTo>
                  <a:lnTo>
                    <a:pt x="1155700" y="228600"/>
                  </a:lnTo>
                  <a:lnTo>
                    <a:pt x="558800" y="520700"/>
                  </a:lnTo>
                  <a:lnTo>
                    <a:pt x="0" y="18415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62"/>
              <a:endParaRPr lang="en-US">
                <a:solidFill>
                  <a:srgbClr val="FFFFFF"/>
                </a:solidFill>
              </a:endParaRPr>
            </a:p>
          </p:txBody>
        </p:sp>
        <p:sp>
          <p:nvSpPr>
            <p:cNvPr id="26" name="Freeform 17"/>
            <p:cNvSpPr>
              <a:spLocks/>
            </p:cNvSpPr>
            <p:nvPr/>
          </p:nvSpPr>
          <p:spPr bwMode="auto">
            <a:xfrm>
              <a:off x="5817393" y="4764882"/>
              <a:ext cx="181955" cy="140205"/>
            </a:xfrm>
            <a:custGeom>
              <a:avLst/>
              <a:gdLst>
                <a:gd name="T0" fmla="*/ 0 w 1168"/>
                <a:gd name="T1" fmla="*/ 900 h 900"/>
                <a:gd name="T2" fmla="*/ 198 w 1168"/>
                <a:gd name="T3" fmla="*/ 0 h 900"/>
                <a:gd name="T4" fmla="*/ 556 w 1168"/>
                <a:gd name="T5" fmla="*/ 0 h 900"/>
                <a:gd name="T6" fmla="*/ 572 w 1168"/>
                <a:gd name="T7" fmla="*/ 502 h 900"/>
                <a:gd name="T8" fmla="*/ 812 w 1168"/>
                <a:gd name="T9" fmla="*/ 0 h 900"/>
                <a:gd name="T10" fmla="*/ 1168 w 1168"/>
                <a:gd name="T11" fmla="*/ 0 h 900"/>
                <a:gd name="T12" fmla="*/ 968 w 1168"/>
                <a:gd name="T13" fmla="*/ 900 h 900"/>
                <a:gd name="T14" fmla="*/ 710 w 1168"/>
                <a:gd name="T15" fmla="*/ 900 h 900"/>
                <a:gd name="T16" fmla="*/ 816 w 1168"/>
                <a:gd name="T17" fmla="*/ 416 h 900"/>
                <a:gd name="T18" fmla="*/ 576 w 1168"/>
                <a:gd name="T19" fmla="*/ 900 h 900"/>
                <a:gd name="T20" fmla="*/ 390 w 1168"/>
                <a:gd name="T21" fmla="*/ 900 h 900"/>
                <a:gd name="T22" fmla="*/ 380 w 1168"/>
                <a:gd name="T23" fmla="*/ 416 h 900"/>
                <a:gd name="T24" fmla="*/ 260 w 1168"/>
                <a:gd name="T25" fmla="*/ 900 h 900"/>
                <a:gd name="T26" fmla="*/ 0 w 1168"/>
                <a:gd name="T27" fmla="*/ 900 h 900"/>
                <a:gd name="T28" fmla="*/ 0 w 1168"/>
                <a:gd name="T29" fmla="*/ 900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68" h="900">
                  <a:moveTo>
                    <a:pt x="0" y="900"/>
                  </a:moveTo>
                  <a:lnTo>
                    <a:pt x="198" y="0"/>
                  </a:lnTo>
                  <a:lnTo>
                    <a:pt x="556" y="0"/>
                  </a:lnTo>
                  <a:lnTo>
                    <a:pt x="572" y="502"/>
                  </a:lnTo>
                  <a:lnTo>
                    <a:pt x="812" y="0"/>
                  </a:lnTo>
                  <a:lnTo>
                    <a:pt x="1168" y="0"/>
                  </a:lnTo>
                  <a:lnTo>
                    <a:pt x="968" y="900"/>
                  </a:lnTo>
                  <a:lnTo>
                    <a:pt x="710" y="900"/>
                  </a:lnTo>
                  <a:lnTo>
                    <a:pt x="816" y="416"/>
                  </a:lnTo>
                  <a:lnTo>
                    <a:pt x="576" y="900"/>
                  </a:lnTo>
                  <a:lnTo>
                    <a:pt x="390" y="900"/>
                  </a:lnTo>
                  <a:lnTo>
                    <a:pt x="380" y="416"/>
                  </a:lnTo>
                  <a:lnTo>
                    <a:pt x="260" y="900"/>
                  </a:lnTo>
                  <a:lnTo>
                    <a:pt x="0" y="900"/>
                  </a:lnTo>
                  <a:lnTo>
                    <a:pt x="0" y="9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62"/>
              <a:endParaRPr lang="en-US">
                <a:solidFill>
                  <a:srgbClr val="FFFFFF"/>
                </a:solidFill>
              </a:endParaRPr>
            </a:p>
          </p:txBody>
        </p:sp>
        <p:sp>
          <p:nvSpPr>
            <p:cNvPr id="27" name="Freeform 18"/>
            <p:cNvSpPr>
              <a:spLocks/>
            </p:cNvSpPr>
            <p:nvPr/>
          </p:nvSpPr>
          <p:spPr bwMode="auto">
            <a:xfrm>
              <a:off x="6004334" y="4764882"/>
              <a:ext cx="42373" cy="23056"/>
            </a:xfrm>
            <a:custGeom>
              <a:avLst/>
              <a:gdLst>
                <a:gd name="T0" fmla="*/ 0 w 272"/>
                <a:gd name="T1" fmla="*/ 148 h 148"/>
                <a:gd name="T2" fmla="*/ 240 w 272"/>
                <a:gd name="T3" fmla="*/ 148 h 148"/>
                <a:gd name="T4" fmla="*/ 272 w 272"/>
                <a:gd name="T5" fmla="*/ 0 h 148"/>
                <a:gd name="T6" fmla="*/ 32 w 272"/>
                <a:gd name="T7" fmla="*/ 0 h 148"/>
                <a:gd name="T8" fmla="*/ 0 w 272"/>
                <a:gd name="T9" fmla="*/ 148 h 148"/>
                <a:gd name="T10" fmla="*/ 0 w 272"/>
                <a:gd name="T11" fmla="*/ 148 h 148"/>
              </a:gdLst>
              <a:ahLst/>
              <a:cxnLst>
                <a:cxn ang="0">
                  <a:pos x="T0" y="T1"/>
                </a:cxn>
                <a:cxn ang="0">
                  <a:pos x="T2" y="T3"/>
                </a:cxn>
                <a:cxn ang="0">
                  <a:pos x="T4" y="T5"/>
                </a:cxn>
                <a:cxn ang="0">
                  <a:pos x="T6" y="T7"/>
                </a:cxn>
                <a:cxn ang="0">
                  <a:pos x="T8" y="T9"/>
                </a:cxn>
                <a:cxn ang="0">
                  <a:pos x="T10" y="T11"/>
                </a:cxn>
              </a:cxnLst>
              <a:rect l="0" t="0" r="r" b="b"/>
              <a:pathLst>
                <a:path w="272" h="148">
                  <a:moveTo>
                    <a:pt x="0" y="148"/>
                  </a:moveTo>
                  <a:lnTo>
                    <a:pt x="240" y="148"/>
                  </a:lnTo>
                  <a:lnTo>
                    <a:pt x="272" y="0"/>
                  </a:lnTo>
                  <a:lnTo>
                    <a:pt x="32" y="0"/>
                  </a:lnTo>
                  <a:lnTo>
                    <a:pt x="0" y="148"/>
                  </a:lnTo>
                  <a:lnTo>
                    <a:pt x="0" y="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62"/>
              <a:endParaRPr lang="en-US">
                <a:solidFill>
                  <a:srgbClr val="FFFFFF"/>
                </a:solidFill>
              </a:endParaRPr>
            </a:p>
          </p:txBody>
        </p:sp>
        <p:sp>
          <p:nvSpPr>
            <p:cNvPr id="28" name="Freeform 19"/>
            <p:cNvSpPr>
              <a:spLocks/>
            </p:cNvSpPr>
            <p:nvPr/>
          </p:nvSpPr>
          <p:spPr bwMode="auto">
            <a:xfrm>
              <a:off x="5977850" y="4801335"/>
              <a:ext cx="61067" cy="103752"/>
            </a:xfrm>
            <a:custGeom>
              <a:avLst/>
              <a:gdLst>
                <a:gd name="T0" fmla="*/ 244 w 392"/>
                <a:gd name="T1" fmla="*/ 666 h 666"/>
                <a:gd name="T2" fmla="*/ 0 w 392"/>
                <a:gd name="T3" fmla="*/ 666 h 666"/>
                <a:gd name="T4" fmla="*/ 148 w 392"/>
                <a:gd name="T5" fmla="*/ 0 h 666"/>
                <a:gd name="T6" fmla="*/ 392 w 392"/>
                <a:gd name="T7" fmla="*/ 0 h 666"/>
                <a:gd name="T8" fmla="*/ 244 w 392"/>
                <a:gd name="T9" fmla="*/ 666 h 666"/>
                <a:gd name="T10" fmla="*/ 244 w 392"/>
                <a:gd name="T11" fmla="*/ 666 h 666"/>
              </a:gdLst>
              <a:ahLst/>
              <a:cxnLst>
                <a:cxn ang="0">
                  <a:pos x="T0" y="T1"/>
                </a:cxn>
                <a:cxn ang="0">
                  <a:pos x="T2" y="T3"/>
                </a:cxn>
                <a:cxn ang="0">
                  <a:pos x="T4" y="T5"/>
                </a:cxn>
                <a:cxn ang="0">
                  <a:pos x="T6" y="T7"/>
                </a:cxn>
                <a:cxn ang="0">
                  <a:pos x="T8" y="T9"/>
                </a:cxn>
                <a:cxn ang="0">
                  <a:pos x="T10" y="T11"/>
                </a:cxn>
              </a:cxnLst>
              <a:rect l="0" t="0" r="r" b="b"/>
              <a:pathLst>
                <a:path w="392" h="666">
                  <a:moveTo>
                    <a:pt x="244" y="666"/>
                  </a:moveTo>
                  <a:lnTo>
                    <a:pt x="0" y="666"/>
                  </a:lnTo>
                  <a:lnTo>
                    <a:pt x="148" y="0"/>
                  </a:lnTo>
                  <a:lnTo>
                    <a:pt x="392" y="0"/>
                  </a:lnTo>
                  <a:lnTo>
                    <a:pt x="244" y="666"/>
                  </a:lnTo>
                  <a:lnTo>
                    <a:pt x="244" y="6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62"/>
              <a:endParaRPr lang="en-US">
                <a:solidFill>
                  <a:srgbClr val="FFFFFF"/>
                </a:solidFill>
              </a:endParaRPr>
            </a:p>
          </p:txBody>
        </p:sp>
        <p:sp>
          <p:nvSpPr>
            <p:cNvPr id="29" name="Freeform 20"/>
            <p:cNvSpPr>
              <a:spLocks/>
            </p:cNvSpPr>
            <p:nvPr/>
          </p:nvSpPr>
          <p:spPr bwMode="auto">
            <a:xfrm>
              <a:off x="6135503" y="4799466"/>
              <a:ext cx="89108" cy="105621"/>
            </a:xfrm>
            <a:custGeom>
              <a:avLst/>
              <a:gdLst>
                <a:gd name="T0" fmla="*/ 150 w 572"/>
                <a:gd name="T1" fmla="*/ 12 h 678"/>
                <a:gd name="T2" fmla="*/ 366 w 572"/>
                <a:gd name="T3" fmla="*/ 12 h 678"/>
                <a:gd name="T4" fmla="*/ 348 w 572"/>
                <a:gd name="T5" fmla="*/ 94 h 678"/>
                <a:gd name="T6" fmla="*/ 348 w 572"/>
                <a:gd name="T7" fmla="*/ 94 h 678"/>
                <a:gd name="T8" fmla="*/ 358 w 572"/>
                <a:gd name="T9" fmla="*/ 80 h 678"/>
                <a:gd name="T10" fmla="*/ 370 w 572"/>
                <a:gd name="T11" fmla="*/ 68 h 678"/>
                <a:gd name="T12" fmla="*/ 384 w 572"/>
                <a:gd name="T13" fmla="*/ 58 h 678"/>
                <a:gd name="T14" fmla="*/ 398 w 572"/>
                <a:gd name="T15" fmla="*/ 48 h 678"/>
                <a:gd name="T16" fmla="*/ 412 w 572"/>
                <a:gd name="T17" fmla="*/ 40 h 678"/>
                <a:gd name="T18" fmla="*/ 426 w 572"/>
                <a:gd name="T19" fmla="*/ 32 h 678"/>
                <a:gd name="T20" fmla="*/ 458 w 572"/>
                <a:gd name="T21" fmla="*/ 18 h 678"/>
                <a:gd name="T22" fmla="*/ 458 w 572"/>
                <a:gd name="T23" fmla="*/ 18 h 678"/>
                <a:gd name="T24" fmla="*/ 486 w 572"/>
                <a:gd name="T25" fmla="*/ 10 h 678"/>
                <a:gd name="T26" fmla="*/ 514 w 572"/>
                <a:gd name="T27" fmla="*/ 6 h 678"/>
                <a:gd name="T28" fmla="*/ 542 w 572"/>
                <a:gd name="T29" fmla="*/ 2 h 678"/>
                <a:gd name="T30" fmla="*/ 572 w 572"/>
                <a:gd name="T31" fmla="*/ 0 h 678"/>
                <a:gd name="T32" fmla="*/ 516 w 572"/>
                <a:gd name="T33" fmla="*/ 218 h 678"/>
                <a:gd name="T34" fmla="*/ 516 w 572"/>
                <a:gd name="T35" fmla="*/ 218 h 678"/>
                <a:gd name="T36" fmla="*/ 504 w 572"/>
                <a:gd name="T37" fmla="*/ 216 h 678"/>
                <a:gd name="T38" fmla="*/ 482 w 572"/>
                <a:gd name="T39" fmla="*/ 216 h 678"/>
                <a:gd name="T40" fmla="*/ 466 w 572"/>
                <a:gd name="T41" fmla="*/ 218 h 678"/>
                <a:gd name="T42" fmla="*/ 450 w 572"/>
                <a:gd name="T43" fmla="*/ 220 h 678"/>
                <a:gd name="T44" fmla="*/ 432 w 572"/>
                <a:gd name="T45" fmla="*/ 226 h 678"/>
                <a:gd name="T46" fmla="*/ 414 w 572"/>
                <a:gd name="T47" fmla="*/ 234 h 678"/>
                <a:gd name="T48" fmla="*/ 394 w 572"/>
                <a:gd name="T49" fmla="*/ 244 h 678"/>
                <a:gd name="T50" fmla="*/ 376 w 572"/>
                <a:gd name="T51" fmla="*/ 258 h 678"/>
                <a:gd name="T52" fmla="*/ 356 w 572"/>
                <a:gd name="T53" fmla="*/ 276 h 678"/>
                <a:gd name="T54" fmla="*/ 338 w 572"/>
                <a:gd name="T55" fmla="*/ 298 h 678"/>
                <a:gd name="T56" fmla="*/ 322 w 572"/>
                <a:gd name="T57" fmla="*/ 326 h 678"/>
                <a:gd name="T58" fmla="*/ 306 w 572"/>
                <a:gd name="T59" fmla="*/ 358 h 678"/>
                <a:gd name="T60" fmla="*/ 294 w 572"/>
                <a:gd name="T61" fmla="*/ 396 h 678"/>
                <a:gd name="T62" fmla="*/ 282 w 572"/>
                <a:gd name="T63" fmla="*/ 440 h 678"/>
                <a:gd name="T64" fmla="*/ 228 w 572"/>
                <a:gd name="T65" fmla="*/ 678 h 678"/>
                <a:gd name="T66" fmla="*/ 0 w 572"/>
                <a:gd name="T67" fmla="*/ 678 h 678"/>
                <a:gd name="T68" fmla="*/ 150 w 572"/>
                <a:gd name="T69" fmla="*/ 12 h 678"/>
                <a:gd name="T70" fmla="*/ 150 w 572"/>
                <a:gd name="T71" fmla="*/ 12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72" h="678">
                  <a:moveTo>
                    <a:pt x="150" y="12"/>
                  </a:moveTo>
                  <a:lnTo>
                    <a:pt x="366" y="12"/>
                  </a:lnTo>
                  <a:lnTo>
                    <a:pt x="348" y="94"/>
                  </a:lnTo>
                  <a:lnTo>
                    <a:pt x="348" y="94"/>
                  </a:lnTo>
                  <a:lnTo>
                    <a:pt x="358" y="80"/>
                  </a:lnTo>
                  <a:lnTo>
                    <a:pt x="370" y="68"/>
                  </a:lnTo>
                  <a:lnTo>
                    <a:pt x="384" y="58"/>
                  </a:lnTo>
                  <a:lnTo>
                    <a:pt x="398" y="48"/>
                  </a:lnTo>
                  <a:lnTo>
                    <a:pt x="412" y="40"/>
                  </a:lnTo>
                  <a:lnTo>
                    <a:pt x="426" y="32"/>
                  </a:lnTo>
                  <a:lnTo>
                    <a:pt x="458" y="18"/>
                  </a:lnTo>
                  <a:lnTo>
                    <a:pt x="458" y="18"/>
                  </a:lnTo>
                  <a:lnTo>
                    <a:pt x="486" y="10"/>
                  </a:lnTo>
                  <a:lnTo>
                    <a:pt x="514" y="6"/>
                  </a:lnTo>
                  <a:lnTo>
                    <a:pt x="542" y="2"/>
                  </a:lnTo>
                  <a:lnTo>
                    <a:pt x="572" y="0"/>
                  </a:lnTo>
                  <a:lnTo>
                    <a:pt x="516" y="218"/>
                  </a:lnTo>
                  <a:lnTo>
                    <a:pt x="516" y="218"/>
                  </a:lnTo>
                  <a:lnTo>
                    <a:pt x="504" y="216"/>
                  </a:lnTo>
                  <a:lnTo>
                    <a:pt x="482" y="216"/>
                  </a:lnTo>
                  <a:lnTo>
                    <a:pt x="466" y="218"/>
                  </a:lnTo>
                  <a:lnTo>
                    <a:pt x="450" y="220"/>
                  </a:lnTo>
                  <a:lnTo>
                    <a:pt x="432" y="226"/>
                  </a:lnTo>
                  <a:lnTo>
                    <a:pt x="414" y="234"/>
                  </a:lnTo>
                  <a:lnTo>
                    <a:pt x="394" y="244"/>
                  </a:lnTo>
                  <a:lnTo>
                    <a:pt x="376" y="258"/>
                  </a:lnTo>
                  <a:lnTo>
                    <a:pt x="356" y="276"/>
                  </a:lnTo>
                  <a:lnTo>
                    <a:pt x="338" y="298"/>
                  </a:lnTo>
                  <a:lnTo>
                    <a:pt x="322" y="326"/>
                  </a:lnTo>
                  <a:lnTo>
                    <a:pt x="306" y="358"/>
                  </a:lnTo>
                  <a:lnTo>
                    <a:pt x="294" y="396"/>
                  </a:lnTo>
                  <a:lnTo>
                    <a:pt x="282" y="440"/>
                  </a:lnTo>
                  <a:lnTo>
                    <a:pt x="228" y="678"/>
                  </a:lnTo>
                  <a:lnTo>
                    <a:pt x="0" y="678"/>
                  </a:lnTo>
                  <a:lnTo>
                    <a:pt x="150" y="12"/>
                  </a:lnTo>
                  <a:lnTo>
                    <a:pt x="15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62"/>
              <a:endParaRPr lang="en-US">
                <a:solidFill>
                  <a:srgbClr val="FFFFFF"/>
                </a:solidFill>
              </a:endParaRPr>
            </a:p>
          </p:txBody>
        </p:sp>
        <p:sp>
          <p:nvSpPr>
            <p:cNvPr id="30" name="Freeform 21"/>
            <p:cNvSpPr>
              <a:spLocks/>
            </p:cNvSpPr>
            <p:nvPr/>
          </p:nvSpPr>
          <p:spPr bwMode="auto">
            <a:xfrm>
              <a:off x="6031440" y="4798531"/>
              <a:ext cx="113722" cy="109672"/>
            </a:xfrm>
            <a:custGeom>
              <a:avLst/>
              <a:gdLst>
                <a:gd name="T0" fmla="*/ 690 w 730"/>
                <a:gd name="T1" fmla="*/ 438 h 704"/>
                <a:gd name="T2" fmla="*/ 674 w 730"/>
                <a:gd name="T3" fmla="*/ 482 h 704"/>
                <a:gd name="T4" fmla="*/ 648 w 730"/>
                <a:gd name="T5" fmla="*/ 526 h 704"/>
                <a:gd name="T6" fmla="*/ 610 w 730"/>
                <a:gd name="T7" fmla="*/ 574 h 704"/>
                <a:gd name="T8" fmla="*/ 556 w 730"/>
                <a:gd name="T9" fmla="*/ 624 h 704"/>
                <a:gd name="T10" fmla="*/ 504 w 730"/>
                <a:gd name="T11" fmla="*/ 656 h 704"/>
                <a:gd name="T12" fmla="*/ 464 w 730"/>
                <a:gd name="T13" fmla="*/ 674 h 704"/>
                <a:gd name="T14" fmla="*/ 418 w 730"/>
                <a:gd name="T15" fmla="*/ 688 h 704"/>
                <a:gd name="T16" fmla="*/ 366 w 730"/>
                <a:gd name="T17" fmla="*/ 698 h 704"/>
                <a:gd name="T18" fmla="*/ 310 w 730"/>
                <a:gd name="T19" fmla="*/ 702 h 704"/>
                <a:gd name="T20" fmla="*/ 280 w 730"/>
                <a:gd name="T21" fmla="*/ 704 h 704"/>
                <a:gd name="T22" fmla="*/ 202 w 730"/>
                <a:gd name="T23" fmla="*/ 694 h 704"/>
                <a:gd name="T24" fmla="*/ 138 w 730"/>
                <a:gd name="T25" fmla="*/ 670 h 704"/>
                <a:gd name="T26" fmla="*/ 86 w 730"/>
                <a:gd name="T27" fmla="*/ 632 h 704"/>
                <a:gd name="T28" fmla="*/ 46 w 730"/>
                <a:gd name="T29" fmla="*/ 586 h 704"/>
                <a:gd name="T30" fmla="*/ 20 w 730"/>
                <a:gd name="T31" fmla="*/ 530 h 704"/>
                <a:gd name="T32" fmla="*/ 4 w 730"/>
                <a:gd name="T33" fmla="*/ 470 h 704"/>
                <a:gd name="T34" fmla="*/ 0 w 730"/>
                <a:gd name="T35" fmla="*/ 404 h 704"/>
                <a:gd name="T36" fmla="*/ 8 w 730"/>
                <a:gd name="T37" fmla="*/ 338 h 704"/>
                <a:gd name="T38" fmla="*/ 28 w 730"/>
                <a:gd name="T39" fmla="*/ 272 h 704"/>
                <a:gd name="T40" fmla="*/ 58 w 730"/>
                <a:gd name="T41" fmla="*/ 208 h 704"/>
                <a:gd name="T42" fmla="*/ 100 w 730"/>
                <a:gd name="T43" fmla="*/ 150 h 704"/>
                <a:gd name="T44" fmla="*/ 150 w 730"/>
                <a:gd name="T45" fmla="*/ 98 h 704"/>
                <a:gd name="T46" fmla="*/ 212 w 730"/>
                <a:gd name="T47" fmla="*/ 54 h 704"/>
                <a:gd name="T48" fmla="*/ 284 w 730"/>
                <a:gd name="T49" fmla="*/ 22 h 704"/>
                <a:gd name="T50" fmla="*/ 366 w 730"/>
                <a:gd name="T51" fmla="*/ 4 h 704"/>
                <a:gd name="T52" fmla="*/ 456 w 730"/>
                <a:gd name="T53" fmla="*/ 0 h 704"/>
                <a:gd name="T54" fmla="*/ 484 w 730"/>
                <a:gd name="T55" fmla="*/ 2 h 704"/>
                <a:gd name="T56" fmla="*/ 530 w 730"/>
                <a:gd name="T57" fmla="*/ 10 h 704"/>
                <a:gd name="T58" fmla="*/ 572 w 730"/>
                <a:gd name="T59" fmla="*/ 22 h 704"/>
                <a:gd name="T60" fmla="*/ 606 w 730"/>
                <a:gd name="T61" fmla="*/ 36 h 704"/>
                <a:gd name="T62" fmla="*/ 636 w 730"/>
                <a:gd name="T63" fmla="*/ 56 h 704"/>
                <a:gd name="T64" fmla="*/ 670 w 730"/>
                <a:gd name="T65" fmla="*/ 88 h 704"/>
                <a:gd name="T66" fmla="*/ 702 w 730"/>
                <a:gd name="T67" fmla="*/ 134 h 704"/>
                <a:gd name="T68" fmla="*/ 720 w 730"/>
                <a:gd name="T69" fmla="*/ 180 h 704"/>
                <a:gd name="T70" fmla="*/ 728 w 730"/>
                <a:gd name="T71" fmla="*/ 222 h 704"/>
                <a:gd name="T72" fmla="*/ 730 w 730"/>
                <a:gd name="T73" fmla="*/ 266 h 704"/>
                <a:gd name="T74" fmla="*/ 480 w 730"/>
                <a:gd name="T75" fmla="*/ 266 h 704"/>
                <a:gd name="T76" fmla="*/ 482 w 730"/>
                <a:gd name="T77" fmla="*/ 244 h 704"/>
                <a:gd name="T78" fmla="*/ 476 w 730"/>
                <a:gd name="T79" fmla="*/ 208 h 704"/>
                <a:gd name="T80" fmla="*/ 468 w 730"/>
                <a:gd name="T81" fmla="*/ 188 h 704"/>
                <a:gd name="T82" fmla="*/ 456 w 730"/>
                <a:gd name="T83" fmla="*/ 172 h 704"/>
                <a:gd name="T84" fmla="*/ 438 w 730"/>
                <a:gd name="T85" fmla="*/ 162 h 704"/>
                <a:gd name="T86" fmla="*/ 412 w 730"/>
                <a:gd name="T87" fmla="*/ 158 h 704"/>
                <a:gd name="T88" fmla="*/ 398 w 730"/>
                <a:gd name="T89" fmla="*/ 160 h 704"/>
                <a:gd name="T90" fmla="*/ 370 w 730"/>
                <a:gd name="T91" fmla="*/ 168 h 704"/>
                <a:gd name="T92" fmla="*/ 346 w 730"/>
                <a:gd name="T93" fmla="*/ 184 h 704"/>
                <a:gd name="T94" fmla="*/ 322 w 730"/>
                <a:gd name="T95" fmla="*/ 206 h 704"/>
                <a:gd name="T96" fmla="*/ 292 w 730"/>
                <a:gd name="T97" fmla="*/ 246 h 704"/>
                <a:gd name="T98" fmla="*/ 260 w 730"/>
                <a:gd name="T99" fmla="*/ 312 h 704"/>
                <a:gd name="T100" fmla="*/ 242 w 730"/>
                <a:gd name="T101" fmla="*/ 380 h 704"/>
                <a:gd name="T102" fmla="*/ 240 w 730"/>
                <a:gd name="T103" fmla="*/ 446 h 704"/>
                <a:gd name="T104" fmla="*/ 246 w 730"/>
                <a:gd name="T105" fmla="*/ 474 h 704"/>
                <a:gd name="T106" fmla="*/ 256 w 730"/>
                <a:gd name="T107" fmla="*/ 498 h 704"/>
                <a:gd name="T108" fmla="*/ 272 w 730"/>
                <a:gd name="T109" fmla="*/ 516 h 704"/>
                <a:gd name="T110" fmla="*/ 294 w 730"/>
                <a:gd name="T111" fmla="*/ 528 h 704"/>
                <a:gd name="T112" fmla="*/ 322 w 730"/>
                <a:gd name="T113" fmla="*/ 534 h 704"/>
                <a:gd name="T114" fmla="*/ 336 w 730"/>
                <a:gd name="T115" fmla="*/ 532 h 704"/>
                <a:gd name="T116" fmla="*/ 360 w 730"/>
                <a:gd name="T117" fmla="*/ 526 h 704"/>
                <a:gd name="T118" fmla="*/ 380 w 730"/>
                <a:gd name="T119" fmla="*/ 514 h 704"/>
                <a:gd name="T120" fmla="*/ 406 w 730"/>
                <a:gd name="T121" fmla="*/ 490 h 704"/>
                <a:gd name="T122" fmla="*/ 428 w 730"/>
                <a:gd name="T123" fmla="*/ 458 h 704"/>
                <a:gd name="T124" fmla="*/ 690 w 730"/>
                <a:gd name="T125" fmla="*/ 438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30" h="704">
                  <a:moveTo>
                    <a:pt x="690" y="438"/>
                  </a:moveTo>
                  <a:lnTo>
                    <a:pt x="690" y="438"/>
                  </a:lnTo>
                  <a:lnTo>
                    <a:pt x="686" y="450"/>
                  </a:lnTo>
                  <a:lnTo>
                    <a:pt x="674" y="482"/>
                  </a:lnTo>
                  <a:lnTo>
                    <a:pt x="662" y="502"/>
                  </a:lnTo>
                  <a:lnTo>
                    <a:pt x="648" y="526"/>
                  </a:lnTo>
                  <a:lnTo>
                    <a:pt x="632" y="550"/>
                  </a:lnTo>
                  <a:lnTo>
                    <a:pt x="610" y="574"/>
                  </a:lnTo>
                  <a:lnTo>
                    <a:pt x="586" y="600"/>
                  </a:lnTo>
                  <a:lnTo>
                    <a:pt x="556" y="624"/>
                  </a:lnTo>
                  <a:lnTo>
                    <a:pt x="524" y="646"/>
                  </a:lnTo>
                  <a:lnTo>
                    <a:pt x="504" y="656"/>
                  </a:lnTo>
                  <a:lnTo>
                    <a:pt x="484" y="666"/>
                  </a:lnTo>
                  <a:lnTo>
                    <a:pt x="464" y="674"/>
                  </a:lnTo>
                  <a:lnTo>
                    <a:pt x="442" y="682"/>
                  </a:lnTo>
                  <a:lnTo>
                    <a:pt x="418" y="688"/>
                  </a:lnTo>
                  <a:lnTo>
                    <a:pt x="394" y="694"/>
                  </a:lnTo>
                  <a:lnTo>
                    <a:pt x="366" y="698"/>
                  </a:lnTo>
                  <a:lnTo>
                    <a:pt x="340" y="702"/>
                  </a:lnTo>
                  <a:lnTo>
                    <a:pt x="310" y="702"/>
                  </a:lnTo>
                  <a:lnTo>
                    <a:pt x="280" y="704"/>
                  </a:lnTo>
                  <a:lnTo>
                    <a:pt x="280" y="704"/>
                  </a:lnTo>
                  <a:lnTo>
                    <a:pt x="240" y="700"/>
                  </a:lnTo>
                  <a:lnTo>
                    <a:pt x="202" y="694"/>
                  </a:lnTo>
                  <a:lnTo>
                    <a:pt x="168" y="682"/>
                  </a:lnTo>
                  <a:lnTo>
                    <a:pt x="138" y="670"/>
                  </a:lnTo>
                  <a:lnTo>
                    <a:pt x="110" y="652"/>
                  </a:lnTo>
                  <a:lnTo>
                    <a:pt x="86" y="632"/>
                  </a:lnTo>
                  <a:lnTo>
                    <a:pt x="64" y="610"/>
                  </a:lnTo>
                  <a:lnTo>
                    <a:pt x="46" y="586"/>
                  </a:lnTo>
                  <a:lnTo>
                    <a:pt x="32" y="558"/>
                  </a:lnTo>
                  <a:lnTo>
                    <a:pt x="20" y="530"/>
                  </a:lnTo>
                  <a:lnTo>
                    <a:pt x="10" y="500"/>
                  </a:lnTo>
                  <a:lnTo>
                    <a:pt x="4" y="470"/>
                  </a:lnTo>
                  <a:lnTo>
                    <a:pt x="0" y="438"/>
                  </a:lnTo>
                  <a:lnTo>
                    <a:pt x="0" y="404"/>
                  </a:lnTo>
                  <a:lnTo>
                    <a:pt x="4" y="372"/>
                  </a:lnTo>
                  <a:lnTo>
                    <a:pt x="8" y="338"/>
                  </a:lnTo>
                  <a:lnTo>
                    <a:pt x="16" y="304"/>
                  </a:lnTo>
                  <a:lnTo>
                    <a:pt x="28" y="272"/>
                  </a:lnTo>
                  <a:lnTo>
                    <a:pt x="42" y="240"/>
                  </a:lnTo>
                  <a:lnTo>
                    <a:pt x="58" y="208"/>
                  </a:lnTo>
                  <a:lnTo>
                    <a:pt x="78" y="178"/>
                  </a:lnTo>
                  <a:lnTo>
                    <a:pt x="100" y="150"/>
                  </a:lnTo>
                  <a:lnTo>
                    <a:pt x="124" y="122"/>
                  </a:lnTo>
                  <a:lnTo>
                    <a:pt x="150" y="98"/>
                  </a:lnTo>
                  <a:lnTo>
                    <a:pt x="180" y="74"/>
                  </a:lnTo>
                  <a:lnTo>
                    <a:pt x="212" y="54"/>
                  </a:lnTo>
                  <a:lnTo>
                    <a:pt x="248" y="36"/>
                  </a:lnTo>
                  <a:lnTo>
                    <a:pt x="284" y="22"/>
                  </a:lnTo>
                  <a:lnTo>
                    <a:pt x="324" y="10"/>
                  </a:lnTo>
                  <a:lnTo>
                    <a:pt x="366" y="4"/>
                  </a:lnTo>
                  <a:lnTo>
                    <a:pt x="410" y="0"/>
                  </a:lnTo>
                  <a:lnTo>
                    <a:pt x="456" y="0"/>
                  </a:lnTo>
                  <a:lnTo>
                    <a:pt x="456" y="0"/>
                  </a:lnTo>
                  <a:lnTo>
                    <a:pt x="484" y="2"/>
                  </a:lnTo>
                  <a:lnTo>
                    <a:pt x="508" y="6"/>
                  </a:lnTo>
                  <a:lnTo>
                    <a:pt x="530" y="10"/>
                  </a:lnTo>
                  <a:lnTo>
                    <a:pt x="552" y="14"/>
                  </a:lnTo>
                  <a:lnTo>
                    <a:pt x="572" y="22"/>
                  </a:lnTo>
                  <a:lnTo>
                    <a:pt x="590" y="28"/>
                  </a:lnTo>
                  <a:lnTo>
                    <a:pt x="606" y="36"/>
                  </a:lnTo>
                  <a:lnTo>
                    <a:pt x="622" y="46"/>
                  </a:lnTo>
                  <a:lnTo>
                    <a:pt x="636" y="56"/>
                  </a:lnTo>
                  <a:lnTo>
                    <a:pt x="648" y="66"/>
                  </a:lnTo>
                  <a:lnTo>
                    <a:pt x="670" y="88"/>
                  </a:lnTo>
                  <a:lnTo>
                    <a:pt x="688" y="110"/>
                  </a:lnTo>
                  <a:lnTo>
                    <a:pt x="702" y="134"/>
                  </a:lnTo>
                  <a:lnTo>
                    <a:pt x="712" y="158"/>
                  </a:lnTo>
                  <a:lnTo>
                    <a:pt x="720" y="180"/>
                  </a:lnTo>
                  <a:lnTo>
                    <a:pt x="726" y="202"/>
                  </a:lnTo>
                  <a:lnTo>
                    <a:pt x="728" y="222"/>
                  </a:lnTo>
                  <a:lnTo>
                    <a:pt x="730" y="252"/>
                  </a:lnTo>
                  <a:lnTo>
                    <a:pt x="730" y="266"/>
                  </a:lnTo>
                  <a:lnTo>
                    <a:pt x="480" y="266"/>
                  </a:lnTo>
                  <a:lnTo>
                    <a:pt x="480" y="266"/>
                  </a:lnTo>
                  <a:lnTo>
                    <a:pt x="480" y="258"/>
                  </a:lnTo>
                  <a:lnTo>
                    <a:pt x="482" y="244"/>
                  </a:lnTo>
                  <a:lnTo>
                    <a:pt x="480" y="226"/>
                  </a:lnTo>
                  <a:lnTo>
                    <a:pt x="476" y="208"/>
                  </a:lnTo>
                  <a:lnTo>
                    <a:pt x="474" y="198"/>
                  </a:lnTo>
                  <a:lnTo>
                    <a:pt x="468" y="188"/>
                  </a:lnTo>
                  <a:lnTo>
                    <a:pt x="464" y="180"/>
                  </a:lnTo>
                  <a:lnTo>
                    <a:pt x="456" y="172"/>
                  </a:lnTo>
                  <a:lnTo>
                    <a:pt x="448" y="166"/>
                  </a:lnTo>
                  <a:lnTo>
                    <a:pt x="438" y="162"/>
                  </a:lnTo>
                  <a:lnTo>
                    <a:pt x="426" y="160"/>
                  </a:lnTo>
                  <a:lnTo>
                    <a:pt x="412" y="158"/>
                  </a:lnTo>
                  <a:lnTo>
                    <a:pt x="412" y="158"/>
                  </a:lnTo>
                  <a:lnTo>
                    <a:pt x="398" y="160"/>
                  </a:lnTo>
                  <a:lnTo>
                    <a:pt x="384" y="164"/>
                  </a:lnTo>
                  <a:lnTo>
                    <a:pt x="370" y="168"/>
                  </a:lnTo>
                  <a:lnTo>
                    <a:pt x="358" y="176"/>
                  </a:lnTo>
                  <a:lnTo>
                    <a:pt x="346" y="184"/>
                  </a:lnTo>
                  <a:lnTo>
                    <a:pt x="334" y="194"/>
                  </a:lnTo>
                  <a:lnTo>
                    <a:pt x="322" y="206"/>
                  </a:lnTo>
                  <a:lnTo>
                    <a:pt x="312" y="218"/>
                  </a:lnTo>
                  <a:lnTo>
                    <a:pt x="292" y="246"/>
                  </a:lnTo>
                  <a:lnTo>
                    <a:pt x="274" y="278"/>
                  </a:lnTo>
                  <a:lnTo>
                    <a:pt x="260" y="312"/>
                  </a:lnTo>
                  <a:lnTo>
                    <a:pt x="250" y="346"/>
                  </a:lnTo>
                  <a:lnTo>
                    <a:pt x="242" y="380"/>
                  </a:lnTo>
                  <a:lnTo>
                    <a:pt x="238" y="414"/>
                  </a:lnTo>
                  <a:lnTo>
                    <a:pt x="240" y="446"/>
                  </a:lnTo>
                  <a:lnTo>
                    <a:pt x="242" y="460"/>
                  </a:lnTo>
                  <a:lnTo>
                    <a:pt x="246" y="474"/>
                  </a:lnTo>
                  <a:lnTo>
                    <a:pt x="250" y="486"/>
                  </a:lnTo>
                  <a:lnTo>
                    <a:pt x="256" y="498"/>
                  </a:lnTo>
                  <a:lnTo>
                    <a:pt x="264" y="508"/>
                  </a:lnTo>
                  <a:lnTo>
                    <a:pt x="272" y="516"/>
                  </a:lnTo>
                  <a:lnTo>
                    <a:pt x="282" y="524"/>
                  </a:lnTo>
                  <a:lnTo>
                    <a:pt x="294" y="528"/>
                  </a:lnTo>
                  <a:lnTo>
                    <a:pt x="306" y="532"/>
                  </a:lnTo>
                  <a:lnTo>
                    <a:pt x="322" y="534"/>
                  </a:lnTo>
                  <a:lnTo>
                    <a:pt x="322" y="534"/>
                  </a:lnTo>
                  <a:lnTo>
                    <a:pt x="336" y="532"/>
                  </a:lnTo>
                  <a:lnTo>
                    <a:pt x="348" y="530"/>
                  </a:lnTo>
                  <a:lnTo>
                    <a:pt x="360" y="526"/>
                  </a:lnTo>
                  <a:lnTo>
                    <a:pt x="370" y="522"/>
                  </a:lnTo>
                  <a:lnTo>
                    <a:pt x="380" y="514"/>
                  </a:lnTo>
                  <a:lnTo>
                    <a:pt x="390" y="508"/>
                  </a:lnTo>
                  <a:lnTo>
                    <a:pt x="406" y="490"/>
                  </a:lnTo>
                  <a:lnTo>
                    <a:pt x="418" y="474"/>
                  </a:lnTo>
                  <a:lnTo>
                    <a:pt x="428" y="458"/>
                  </a:lnTo>
                  <a:lnTo>
                    <a:pt x="438" y="438"/>
                  </a:lnTo>
                  <a:lnTo>
                    <a:pt x="690" y="438"/>
                  </a:lnTo>
                  <a:lnTo>
                    <a:pt x="690" y="4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62"/>
              <a:endParaRPr lang="en-US">
                <a:solidFill>
                  <a:srgbClr val="FFFFFF"/>
                </a:solidFill>
              </a:endParaRPr>
            </a:p>
          </p:txBody>
        </p:sp>
        <p:sp>
          <p:nvSpPr>
            <p:cNvPr id="31" name="Freeform 22"/>
            <p:cNvSpPr>
              <a:spLocks noEditPoints="1"/>
            </p:cNvSpPr>
            <p:nvPr/>
          </p:nvSpPr>
          <p:spPr bwMode="auto">
            <a:xfrm>
              <a:off x="6427131" y="4797285"/>
              <a:ext cx="116838" cy="111229"/>
            </a:xfrm>
            <a:custGeom>
              <a:avLst/>
              <a:gdLst>
                <a:gd name="T0" fmla="*/ 300 w 750"/>
                <a:gd name="T1" fmla="*/ 714 h 714"/>
                <a:gd name="T2" fmla="*/ 216 w 750"/>
                <a:gd name="T3" fmla="*/ 702 h 714"/>
                <a:gd name="T4" fmla="*/ 146 w 750"/>
                <a:gd name="T5" fmla="*/ 676 h 714"/>
                <a:gd name="T6" fmla="*/ 90 w 750"/>
                <a:gd name="T7" fmla="*/ 638 h 714"/>
                <a:gd name="T8" fmla="*/ 48 w 750"/>
                <a:gd name="T9" fmla="*/ 590 h 714"/>
                <a:gd name="T10" fmla="*/ 20 w 750"/>
                <a:gd name="T11" fmla="*/ 534 h 714"/>
                <a:gd name="T12" fmla="*/ 4 w 750"/>
                <a:gd name="T13" fmla="*/ 472 h 714"/>
                <a:gd name="T14" fmla="*/ 0 w 750"/>
                <a:gd name="T15" fmla="*/ 406 h 714"/>
                <a:gd name="T16" fmla="*/ 10 w 750"/>
                <a:gd name="T17" fmla="*/ 340 h 714"/>
                <a:gd name="T18" fmla="*/ 30 w 750"/>
                <a:gd name="T19" fmla="*/ 274 h 714"/>
                <a:gd name="T20" fmla="*/ 60 w 750"/>
                <a:gd name="T21" fmla="*/ 210 h 714"/>
                <a:gd name="T22" fmla="*/ 102 w 750"/>
                <a:gd name="T23" fmla="*/ 150 h 714"/>
                <a:gd name="T24" fmla="*/ 154 w 750"/>
                <a:gd name="T25" fmla="*/ 98 h 714"/>
                <a:gd name="T26" fmla="*/ 216 w 750"/>
                <a:gd name="T27" fmla="*/ 54 h 714"/>
                <a:gd name="T28" fmla="*/ 288 w 750"/>
                <a:gd name="T29" fmla="*/ 22 h 714"/>
                <a:gd name="T30" fmla="*/ 370 w 750"/>
                <a:gd name="T31" fmla="*/ 4 h 714"/>
                <a:gd name="T32" fmla="*/ 460 w 750"/>
                <a:gd name="T33" fmla="*/ 0 h 714"/>
                <a:gd name="T34" fmla="*/ 502 w 750"/>
                <a:gd name="T35" fmla="*/ 4 h 714"/>
                <a:gd name="T36" fmla="*/ 576 w 750"/>
                <a:gd name="T37" fmla="*/ 22 h 714"/>
                <a:gd name="T38" fmla="*/ 636 w 750"/>
                <a:gd name="T39" fmla="*/ 54 h 714"/>
                <a:gd name="T40" fmla="*/ 684 w 750"/>
                <a:gd name="T41" fmla="*/ 98 h 714"/>
                <a:gd name="T42" fmla="*/ 718 w 750"/>
                <a:gd name="T43" fmla="*/ 150 h 714"/>
                <a:gd name="T44" fmla="*/ 740 w 750"/>
                <a:gd name="T45" fmla="*/ 210 h 714"/>
                <a:gd name="T46" fmla="*/ 750 w 750"/>
                <a:gd name="T47" fmla="*/ 272 h 714"/>
                <a:gd name="T48" fmla="*/ 748 w 750"/>
                <a:gd name="T49" fmla="*/ 340 h 714"/>
                <a:gd name="T50" fmla="*/ 734 w 750"/>
                <a:gd name="T51" fmla="*/ 406 h 714"/>
                <a:gd name="T52" fmla="*/ 708 w 750"/>
                <a:gd name="T53" fmla="*/ 470 h 714"/>
                <a:gd name="T54" fmla="*/ 672 w 750"/>
                <a:gd name="T55" fmla="*/ 532 h 714"/>
                <a:gd name="T56" fmla="*/ 626 w 750"/>
                <a:gd name="T57" fmla="*/ 588 h 714"/>
                <a:gd name="T58" fmla="*/ 570 w 750"/>
                <a:gd name="T59" fmla="*/ 636 h 714"/>
                <a:gd name="T60" fmla="*/ 504 w 750"/>
                <a:gd name="T61" fmla="*/ 674 h 714"/>
                <a:gd name="T62" fmla="*/ 430 w 750"/>
                <a:gd name="T63" fmla="*/ 702 h 714"/>
                <a:gd name="T64" fmla="*/ 346 w 750"/>
                <a:gd name="T65" fmla="*/ 714 h 714"/>
                <a:gd name="T66" fmla="*/ 300 w 750"/>
                <a:gd name="T67" fmla="*/ 714 h 714"/>
                <a:gd name="T68" fmla="*/ 442 w 750"/>
                <a:gd name="T69" fmla="*/ 156 h 714"/>
                <a:gd name="T70" fmla="*/ 414 w 750"/>
                <a:gd name="T71" fmla="*/ 154 h 714"/>
                <a:gd name="T72" fmla="*/ 384 w 750"/>
                <a:gd name="T73" fmla="*/ 162 h 714"/>
                <a:gd name="T74" fmla="*/ 358 w 750"/>
                <a:gd name="T75" fmla="*/ 176 h 714"/>
                <a:gd name="T76" fmla="*/ 332 w 750"/>
                <a:gd name="T77" fmla="*/ 198 h 714"/>
                <a:gd name="T78" fmla="*/ 310 w 750"/>
                <a:gd name="T79" fmla="*/ 226 h 714"/>
                <a:gd name="T80" fmla="*/ 274 w 750"/>
                <a:gd name="T81" fmla="*/ 290 h 714"/>
                <a:gd name="T82" fmla="*/ 250 w 750"/>
                <a:gd name="T83" fmla="*/ 362 h 714"/>
                <a:gd name="T84" fmla="*/ 244 w 750"/>
                <a:gd name="T85" fmla="*/ 434 h 714"/>
                <a:gd name="T86" fmla="*/ 246 w 750"/>
                <a:gd name="T87" fmla="*/ 466 h 714"/>
                <a:gd name="T88" fmla="*/ 256 w 750"/>
                <a:gd name="T89" fmla="*/ 494 h 714"/>
                <a:gd name="T90" fmla="*/ 268 w 750"/>
                <a:gd name="T91" fmla="*/ 516 h 714"/>
                <a:gd name="T92" fmla="*/ 288 w 750"/>
                <a:gd name="T93" fmla="*/ 534 h 714"/>
                <a:gd name="T94" fmla="*/ 314 w 750"/>
                <a:gd name="T95" fmla="*/ 544 h 714"/>
                <a:gd name="T96" fmla="*/ 330 w 750"/>
                <a:gd name="T97" fmla="*/ 546 h 714"/>
                <a:gd name="T98" fmla="*/ 360 w 750"/>
                <a:gd name="T99" fmla="*/ 544 h 714"/>
                <a:gd name="T100" fmla="*/ 390 w 750"/>
                <a:gd name="T101" fmla="*/ 532 h 714"/>
                <a:gd name="T102" fmla="*/ 416 w 750"/>
                <a:gd name="T103" fmla="*/ 514 h 714"/>
                <a:gd name="T104" fmla="*/ 440 w 750"/>
                <a:gd name="T105" fmla="*/ 490 h 714"/>
                <a:gd name="T106" fmla="*/ 472 w 750"/>
                <a:gd name="T107" fmla="*/ 446 h 714"/>
                <a:gd name="T108" fmla="*/ 502 w 750"/>
                <a:gd name="T109" fmla="*/ 376 h 714"/>
                <a:gd name="T110" fmla="*/ 516 w 750"/>
                <a:gd name="T111" fmla="*/ 302 h 714"/>
                <a:gd name="T112" fmla="*/ 516 w 750"/>
                <a:gd name="T113" fmla="*/ 250 h 714"/>
                <a:gd name="T114" fmla="*/ 510 w 750"/>
                <a:gd name="T115" fmla="*/ 220 h 714"/>
                <a:gd name="T116" fmla="*/ 498 w 750"/>
                <a:gd name="T117" fmla="*/ 194 h 714"/>
                <a:gd name="T118" fmla="*/ 480 w 750"/>
                <a:gd name="T119" fmla="*/ 174 h 714"/>
                <a:gd name="T120" fmla="*/ 456 w 750"/>
                <a:gd name="T121" fmla="*/ 160 h 714"/>
                <a:gd name="T122" fmla="*/ 442 w 750"/>
                <a:gd name="T123" fmla="*/ 156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50" h="714">
                  <a:moveTo>
                    <a:pt x="300" y="714"/>
                  </a:moveTo>
                  <a:lnTo>
                    <a:pt x="300" y="714"/>
                  </a:lnTo>
                  <a:lnTo>
                    <a:pt x="256" y="710"/>
                  </a:lnTo>
                  <a:lnTo>
                    <a:pt x="216" y="702"/>
                  </a:lnTo>
                  <a:lnTo>
                    <a:pt x="180" y="690"/>
                  </a:lnTo>
                  <a:lnTo>
                    <a:pt x="146" y="676"/>
                  </a:lnTo>
                  <a:lnTo>
                    <a:pt x="116" y="658"/>
                  </a:lnTo>
                  <a:lnTo>
                    <a:pt x="90" y="638"/>
                  </a:lnTo>
                  <a:lnTo>
                    <a:pt x="68" y="616"/>
                  </a:lnTo>
                  <a:lnTo>
                    <a:pt x="48" y="590"/>
                  </a:lnTo>
                  <a:lnTo>
                    <a:pt x="32" y="562"/>
                  </a:lnTo>
                  <a:lnTo>
                    <a:pt x="20" y="534"/>
                  </a:lnTo>
                  <a:lnTo>
                    <a:pt x="10" y="504"/>
                  </a:lnTo>
                  <a:lnTo>
                    <a:pt x="4" y="472"/>
                  </a:lnTo>
                  <a:lnTo>
                    <a:pt x="0" y="440"/>
                  </a:lnTo>
                  <a:lnTo>
                    <a:pt x="0" y="406"/>
                  </a:lnTo>
                  <a:lnTo>
                    <a:pt x="4" y="374"/>
                  </a:lnTo>
                  <a:lnTo>
                    <a:pt x="10" y="340"/>
                  </a:lnTo>
                  <a:lnTo>
                    <a:pt x="18" y="306"/>
                  </a:lnTo>
                  <a:lnTo>
                    <a:pt x="30" y="274"/>
                  </a:lnTo>
                  <a:lnTo>
                    <a:pt x="44" y="240"/>
                  </a:lnTo>
                  <a:lnTo>
                    <a:pt x="60" y="210"/>
                  </a:lnTo>
                  <a:lnTo>
                    <a:pt x="80" y="178"/>
                  </a:lnTo>
                  <a:lnTo>
                    <a:pt x="102" y="150"/>
                  </a:lnTo>
                  <a:lnTo>
                    <a:pt x="128" y="122"/>
                  </a:lnTo>
                  <a:lnTo>
                    <a:pt x="154" y="98"/>
                  </a:lnTo>
                  <a:lnTo>
                    <a:pt x="184" y="74"/>
                  </a:lnTo>
                  <a:lnTo>
                    <a:pt x="216" y="54"/>
                  </a:lnTo>
                  <a:lnTo>
                    <a:pt x="252" y="36"/>
                  </a:lnTo>
                  <a:lnTo>
                    <a:pt x="288" y="22"/>
                  </a:lnTo>
                  <a:lnTo>
                    <a:pt x="328" y="10"/>
                  </a:lnTo>
                  <a:lnTo>
                    <a:pt x="370" y="4"/>
                  </a:lnTo>
                  <a:lnTo>
                    <a:pt x="414" y="0"/>
                  </a:lnTo>
                  <a:lnTo>
                    <a:pt x="460" y="0"/>
                  </a:lnTo>
                  <a:lnTo>
                    <a:pt x="460" y="0"/>
                  </a:lnTo>
                  <a:lnTo>
                    <a:pt x="502" y="4"/>
                  </a:lnTo>
                  <a:lnTo>
                    <a:pt x="540" y="12"/>
                  </a:lnTo>
                  <a:lnTo>
                    <a:pt x="576" y="22"/>
                  </a:lnTo>
                  <a:lnTo>
                    <a:pt x="608" y="38"/>
                  </a:lnTo>
                  <a:lnTo>
                    <a:pt x="636" y="54"/>
                  </a:lnTo>
                  <a:lnTo>
                    <a:pt x="662" y="76"/>
                  </a:lnTo>
                  <a:lnTo>
                    <a:pt x="684" y="98"/>
                  </a:lnTo>
                  <a:lnTo>
                    <a:pt x="702" y="124"/>
                  </a:lnTo>
                  <a:lnTo>
                    <a:pt x="718" y="150"/>
                  </a:lnTo>
                  <a:lnTo>
                    <a:pt x="730" y="180"/>
                  </a:lnTo>
                  <a:lnTo>
                    <a:pt x="740" y="210"/>
                  </a:lnTo>
                  <a:lnTo>
                    <a:pt x="746" y="240"/>
                  </a:lnTo>
                  <a:lnTo>
                    <a:pt x="750" y="272"/>
                  </a:lnTo>
                  <a:lnTo>
                    <a:pt x="750" y="306"/>
                  </a:lnTo>
                  <a:lnTo>
                    <a:pt x="748" y="340"/>
                  </a:lnTo>
                  <a:lnTo>
                    <a:pt x="742" y="372"/>
                  </a:lnTo>
                  <a:lnTo>
                    <a:pt x="734" y="406"/>
                  </a:lnTo>
                  <a:lnTo>
                    <a:pt x="722" y="438"/>
                  </a:lnTo>
                  <a:lnTo>
                    <a:pt x="708" y="470"/>
                  </a:lnTo>
                  <a:lnTo>
                    <a:pt x="692" y="502"/>
                  </a:lnTo>
                  <a:lnTo>
                    <a:pt x="672" y="532"/>
                  </a:lnTo>
                  <a:lnTo>
                    <a:pt x="652" y="562"/>
                  </a:lnTo>
                  <a:lnTo>
                    <a:pt x="626" y="588"/>
                  </a:lnTo>
                  <a:lnTo>
                    <a:pt x="600" y="614"/>
                  </a:lnTo>
                  <a:lnTo>
                    <a:pt x="570" y="636"/>
                  </a:lnTo>
                  <a:lnTo>
                    <a:pt x="538" y="656"/>
                  </a:lnTo>
                  <a:lnTo>
                    <a:pt x="504" y="674"/>
                  </a:lnTo>
                  <a:lnTo>
                    <a:pt x="468" y="690"/>
                  </a:lnTo>
                  <a:lnTo>
                    <a:pt x="430" y="702"/>
                  </a:lnTo>
                  <a:lnTo>
                    <a:pt x="388" y="710"/>
                  </a:lnTo>
                  <a:lnTo>
                    <a:pt x="346" y="714"/>
                  </a:lnTo>
                  <a:lnTo>
                    <a:pt x="300" y="714"/>
                  </a:lnTo>
                  <a:lnTo>
                    <a:pt x="300" y="714"/>
                  </a:lnTo>
                  <a:close/>
                  <a:moveTo>
                    <a:pt x="442" y="156"/>
                  </a:moveTo>
                  <a:lnTo>
                    <a:pt x="442" y="156"/>
                  </a:lnTo>
                  <a:lnTo>
                    <a:pt x="428" y="154"/>
                  </a:lnTo>
                  <a:lnTo>
                    <a:pt x="414" y="154"/>
                  </a:lnTo>
                  <a:lnTo>
                    <a:pt x="398" y="158"/>
                  </a:lnTo>
                  <a:lnTo>
                    <a:pt x="384" y="162"/>
                  </a:lnTo>
                  <a:lnTo>
                    <a:pt x="370" y="168"/>
                  </a:lnTo>
                  <a:lnTo>
                    <a:pt x="358" y="176"/>
                  </a:lnTo>
                  <a:lnTo>
                    <a:pt x="344" y="186"/>
                  </a:lnTo>
                  <a:lnTo>
                    <a:pt x="332" y="198"/>
                  </a:lnTo>
                  <a:lnTo>
                    <a:pt x="322" y="212"/>
                  </a:lnTo>
                  <a:lnTo>
                    <a:pt x="310" y="226"/>
                  </a:lnTo>
                  <a:lnTo>
                    <a:pt x="290" y="256"/>
                  </a:lnTo>
                  <a:lnTo>
                    <a:pt x="274" y="290"/>
                  </a:lnTo>
                  <a:lnTo>
                    <a:pt x="260" y="326"/>
                  </a:lnTo>
                  <a:lnTo>
                    <a:pt x="250" y="362"/>
                  </a:lnTo>
                  <a:lnTo>
                    <a:pt x="244" y="398"/>
                  </a:lnTo>
                  <a:lnTo>
                    <a:pt x="244" y="434"/>
                  </a:lnTo>
                  <a:lnTo>
                    <a:pt x="244" y="450"/>
                  </a:lnTo>
                  <a:lnTo>
                    <a:pt x="246" y="466"/>
                  </a:lnTo>
                  <a:lnTo>
                    <a:pt x="250" y="480"/>
                  </a:lnTo>
                  <a:lnTo>
                    <a:pt x="256" y="494"/>
                  </a:lnTo>
                  <a:lnTo>
                    <a:pt x="262" y="506"/>
                  </a:lnTo>
                  <a:lnTo>
                    <a:pt x="268" y="516"/>
                  </a:lnTo>
                  <a:lnTo>
                    <a:pt x="278" y="526"/>
                  </a:lnTo>
                  <a:lnTo>
                    <a:pt x="288" y="534"/>
                  </a:lnTo>
                  <a:lnTo>
                    <a:pt x="300" y="540"/>
                  </a:lnTo>
                  <a:lnTo>
                    <a:pt x="314" y="544"/>
                  </a:lnTo>
                  <a:lnTo>
                    <a:pt x="314" y="544"/>
                  </a:lnTo>
                  <a:lnTo>
                    <a:pt x="330" y="546"/>
                  </a:lnTo>
                  <a:lnTo>
                    <a:pt x="346" y="546"/>
                  </a:lnTo>
                  <a:lnTo>
                    <a:pt x="360" y="544"/>
                  </a:lnTo>
                  <a:lnTo>
                    <a:pt x="376" y="538"/>
                  </a:lnTo>
                  <a:lnTo>
                    <a:pt x="390" y="532"/>
                  </a:lnTo>
                  <a:lnTo>
                    <a:pt x="404" y="524"/>
                  </a:lnTo>
                  <a:lnTo>
                    <a:pt x="416" y="514"/>
                  </a:lnTo>
                  <a:lnTo>
                    <a:pt x="428" y="502"/>
                  </a:lnTo>
                  <a:lnTo>
                    <a:pt x="440" y="490"/>
                  </a:lnTo>
                  <a:lnTo>
                    <a:pt x="452" y="476"/>
                  </a:lnTo>
                  <a:lnTo>
                    <a:pt x="472" y="446"/>
                  </a:lnTo>
                  <a:lnTo>
                    <a:pt x="488" y="412"/>
                  </a:lnTo>
                  <a:lnTo>
                    <a:pt x="502" y="376"/>
                  </a:lnTo>
                  <a:lnTo>
                    <a:pt x="512" y="338"/>
                  </a:lnTo>
                  <a:lnTo>
                    <a:pt x="516" y="302"/>
                  </a:lnTo>
                  <a:lnTo>
                    <a:pt x="518" y="268"/>
                  </a:lnTo>
                  <a:lnTo>
                    <a:pt x="516" y="250"/>
                  </a:lnTo>
                  <a:lnTo>
                    <a:pt x="514" y="236"/>
                  </a:lnTo>
                  <a:lnTo>
                    <a:pt x="510" y="220"/>
                  </a:lnTo>
                  <a:lnTo>
                    <a:pt x="504" y="206"/>
                  </a:lnTo>
                  <a:lnTo>
                    <a:pt x="498" y="194"/>
                  </a:lnTo>
                  <a:lnTo>
                    <a:pt x="490" y="184"/>
                  </a:lnTo>
                  <a:lnTo>
                    <a:pt x="480" y="174"/>
                  </a:lnTo>
                  <a:lnTo>
                    <a:pt x="470" y="166"/>
                  </a:lnTo>
                  <a:lnTo>
                    <a:pt x="456" y="160"/>
                  </a:lnTo>
                  <a:lnTo>
                    <a:pt x="442" y="156"/>
                  </a:lnTo>
                  <a:lnTo>
                    <a:pt x="442"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62"/>
              <a:endParaRPr lang="en-US">
                <a:solidFill>
                  <a:srgbClr val="FFFFFF"/>
                </a:solidFill>
              </a:endParaRPr>
            </a:p>
          </p:txBody>
        </p:sp>
        <p:sp>
          <p:nvSpPr>
            <p:cNvPr id="32" name="Freeform 23"/>
            <p:cNvSpPr>
              <a:spLocks/>
            </p:cNvSpPr>
            <p:nvPr/>
          </p:nvSpPr>
          <p:spPr bwMode="auto">
            <a:xfrm>
              <a:off x="6540853" y="4765817"/>
              <a:ext cx="134597" cy="139582"/>
            </a:xfrm>
            <a:custGeom>
              <a:avLst/>
              <a:gdLst>
                <a:gd name="T0" fmla="*/ 482 w 864"/>
                <a:gd name="T1" fmla="*/ 130 h 896"/>
                <a:gd name="T2" fmla="*/ 442 w 864"/>
                <a:gd name="T3" fmla="*/ 134 h 896"/>
                <a:gd name="T4" fmla="*/ 416 w 864"/>
                <a:gd name="T5" fmla="*/ 148 h 896"/>
                <a:gd name="T6" fmla="*/ 402 w 864"/>
                <a:gd name="T7" fmla="*/ 172 h 896"/>
                <a:gd name="T8" fmla="*/ 392 w 864"/>
                <a:gd name="T9" fmla="*/ 206 h 896"/>
                <a:gd name="T10" fmla="*/ 530 w 864"/>
                <a:gd name="T11" fmla="*/ 228 h 896"/>
                <a:gd name="T12" fmla="*/ 786 w 864"/>
                <a:gd name="T13" fmla="*/ 66 h 896"/>
                <a:gd name="T14" fmla="*/ 864 w 864"/>
                <a:gd name="T15" fmla="*/ 228 h 896"/>
                <a:gd name="T16" fmla="*/ 718 w 864"/>
                <a:gd name="T17" fmla="*/ 382 h 896"/>
                <a:gd name="T18" fmla="*/ 656 w 864"/>
                <a:gd name="T19" fmla="*/ 674 h 896"/>
                <a:gd name="T20" fmla="*/ 650 w 864"/>
                <a:gd name="T21" fmla="*/ 710 h 896"/>
                <a:gd name="T22" fmla="*/ 652 w 864"/>
                <a:gd name="T23" fmla="*/ 722 h 896"/>
                <a:gd name="T24" fmla="*/ 660 w 864"/>
                <a:gd name="T25" fmla="*/ 730 h 896"/>
                <a:gd name="T26" fmla="*/ 690 w 864"/>
                <a:gd name="T27" fmla="*/ 738 h 896"/>
                <a:gd name="T28" fmla="*/ 742 w 864"/>
                <a:gd name="T29" fmla="*/ 738 h 896"/>
                <a:gd name="T30" fmla="*/ 720 w 864"/>
                <a:gd name="T31" fmla="*/ 890 h 896"/>
                <a:gd name="T32" fmla="*/ 688 w 864"/>
                <a:gd name="T33" fmla="*/ 892 h 896"/>
                <a:gd name="T34" fmla="*/ 616 w 864"/>
                <a:gd name="T35" fmla="*/ 896 h 896"/>
                <a:gd name="T36" fmla="*/ 530 w 864"/>
                <a:gd name="T37" fmla="*/ 890 h 896"/>
                <a:gd name="T38" fmla="*/ 492 w 864"/>
                <a:gd name="T39" fmla="*/ 880 h 896"/>
                <a:gd name="T40" fmla="*/ 462 w 864"/>
                <a:gd name="T41" fmla="*/ 866 h 896"/>
                <a:gd name="T42" fmla="*/ 450 w 864"/>
                <a:gd name="T43" fmla="*/ 858 h 896"/>
                <a:gd name="T44" fmla="*/ 430 w 864"/>
                <a:gd name="T45" fmla="*/ 834 h 896"/>
                <a:gd name="T46" fmla="*/ 418 w 864"/>
                <a:gd name="T47" fmla="*/ 798 h 896"/>
                <a:gd name="T48" fmla="*/ 416 w 864"/>
                <a:gd name="T49" fmla="*/ 748 h 896"/>
                <a:gd name="T50" fmla="*/ 494 w 864"/>
                <a:gd name="T51" fmla="*/ 382 h 896"/>
                <a:gd name="T52" fmla="*/ 250 w 864"/>
                <a:gd name="T53" fmla="*/ 894 h 896"/>
                <a:gd name="T54" fmla="*/ 124 w 864"/>
                <a:gd name="T55" fmla="*/ 382 h 896"/>
                <a:gd name="T56" fmla="*/ 34 w 864"/>
                <a:gd name="T57" fmla="*/ 228 h 896"/>
                <a:gd name="T58" fmla="*/ 154 w 864"/>
                <a:gd name="T59" fmla="*/ 228 h 896"/>
                <a:gd name="T60" fmla="*/ 178 w 864"/>
                <a:gd name="T61" fmla="*/ 142 h 896"/>
                <a:gd name="T62" fmla="*/ 200 w 864"/>
                <a:gd name="T63" fmla="*/ 96 h 896"/>
                <a:gd name="T64" fmla="*/ 228 w 864"/>
                <a:gd name="T65" fmla="*/ 56 h 896"/>
                <a:gd name="T66" fmla="*/ 248 w 864"/>
                <a:gd name="T67" fmla="*/ 40 h 896"/>
                <a:gd name="T68" fmla="*/ 280 w 864"/>
                <a:gd name="T69" fmla="*/ 20 h 896"/>
                <a:gd name="T70" fmla="*/ 320 w 864"/>
                <a:gd name="T71" fmla="*/ 8 h 896"/>
                <a:gd name="T72" fmla="*/ 362 w 864"/>
                <a:gd name="T73" fmla="*/ 2 h 896"/>
                <a:gd name="T74" fmla="*/ 446 w 864"/>
                <a:gd name="T75" fmla="*/ 0 h 896"/>
                <a:gd name="T76" fmla="*/ 510 w 864"/>
                <a:gd name="T77" fmla="*/ 4 h 896"/>
                <a:gd name="T78" fmla="*/ 482 w 864"/>
                <a:gd name="T79" fmla="*/ 130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64" h="896">
                  <a:moveTo>
                    <a:pt x="482" y="130"/>
                  </a:moveTo>
                  <a:lnTo>
                    <a:pt x="482" y="130"/>
                  </a:lnTo>
                  <a:lnTo>
                    <a:pt x="460" y="130"/>
                  </a:lnTo>
                  <a:lnTo>
                    <a:pt x="442" y="134"/>
                  </a:lnTo>
                  <a:lnTo>
                    <a:pt x="428" y="140"/>
                  </a:lnTo>
                  <a:lnTo>
                    <a:pt x="416" y="148"/>
                  </a:lnTo>
                  <a:lnTo>
                    <a:pt x="408" y="160"/>
                  </a:lnTo>
                  <a:lnTo>
                    <a:pt x="402" y="172"/>
                  </a:lnTo>
                  <a:lnTo>
                    <a:pt x="396" y="188"/>
                  </a:lnTo>
                  <a:lnTo>
                    <a:pt x="392" y="206"/>
                  </a:lnTo>
                  <a:lnTo>
                    <a:pt x="388" y="228"/>
                  </a:lnTo>
                  <a:lnTo>
                    <a:pt x="530" y="228"/>
                  </a:lnTo>
                  <a:lnTo>
                    <a:pt x="564" y="66"/>
                  </a:lnTo>
                  <a:lnTo>
                    <a:pt x="786" y="66"/>
                  </a:lnTo>
                  <a:lnTo>
                    <a:pt x="752" y="228"/>
                  </a:lnTo>
                  <a:lnTo>
                    <a:pt x="864" y="228"/>
                  </a:lnTo>
                  <a:lnTo>
                    <a:pt x="832" y="382"/>
                  </a:lnTo>
                  <a:lnTo>
                    <a:pt x="718" y="382"/>
                  </a:lnTo>
                  <a:lnTo>
                    <a:pt x="656" y="674"/>
                  </a:lnTo>
                  <a:lnTo>
                    <a:pt x="656" y="674"/>
                  </a:lnTo>
                  <a:lnTo>
                    <a:pt x="650" y="696"/>
                  </a:lnTo>
                  <a:lnTo>
                    <a:pt x="650" y="710"/>
                  </a:lnTo>
                  <a:lnTo>
                    <a:pt x="652" y="722"/>
                  </a:lnTo>
                  <a:lnTo>
                    <a:pt x="652" y="722"/>
                  </a:lnTo>
                  <a:lnTo>
                    <a:pt x="656" y="726"/>
                  </a:lnTo>
                  <a:lnTo>
                    <a:pt x="660" y="730"/>
                  </a:lnTo>
                  <a:lnTo>
                    <a:pt x="672" y="736"/>
                  </a:lnTo>
                  <a:lnTo>
                    <a:pt x="690" y="738"/>
                  </a:lnTo>
                  <a:lnTo>
                    <a:pt x="708" y="740"/>
                  </a:lnTo>
                  <a:lnTo>
                    <a:pt x="742" y="738"/>
                  </a:lnTo>
                  <a:lnTo>
                    <a:pt x="758" y="738"/>
                  </a:lnTo>
                  <a:lnTo>
                    <a:pt x="720" y="890"/>
                  </a:lnTo>
                  <a:lnTo>
                    <a:pt x="720" y="890"/>
                  </a:lnTo>
                  <a:lnTo>
                    <a:pt x="688" y="892"/>
                  </a:lnTo>
                  <a:lnTo>
                    <a:pt x="656" y="894"/>
                  </a:lnTo>
                  <a:lnTo>
                    <a:pt x="616" y="896"/>
                  </a:lnTo>
                  <a:lnTo>
                    <a:pt x="572" y="894"/>
                  </a:lnTo>
                  <a:lnTo>
                    <a:pt x="530" y="890"/>
                  </a:lnTo>
                  <a:lnTo>
                    <a:pt x="510" y="886"/>
                  </a:lnTo>
                  <a:lnTo>
                    <a:pt x="492" y="880"/>
                  </a:lnTo>
                  <a:lnTo>
                    <a:pt x="476" y="874"/>
                  </a:lnTo>
                  <a:lnTo>
                    <a:pt x="462" y="866"/>
                  </a:lnTo>
                  <a:lnTo>
                    <a:pt x="462" y="866"/>
                  </a:lnTo>
                  <a:lnTo>
                    <a:pt x="450" y="858"/>
                  </a:lnTo>
                  <a:lnTo>
                    <a:pt x="440" y="848"/>
                  </a:lnTo>
                  <a:lnTo>
                    <a:pt x="430" y="834"/>
                  </a:lnTo>
                  <a:lnTo>
                    <a:pt x="422" y="818"/>
                  </a:lnTo>
                  <a:lnTo>
                    <a:pt x="418" y="798"/>
                  </a:lnTo>
                  <a:lnTo>
                    <a:pt x="414" y="776"/>
                  </a:lnTo>
                  <a:lnTo>
                    <a:pt x="416" y="748"/>
                  </a:lnTo>
                  <a:lnTo>
                    <a:pt x="420" y="718"/>
                  </a:lnTo>
                  <a:lnTo>
                    <a:pt x="494" y="382"/>
                  </a:lnTo>
                  <a:lnTo>
                    <a:pt x="362" y="382"/>
                  </a:lnTo>
                  <a:lnTo>
                    <a:pt x="250" y="894"/>
                  </a:lnTo>
                  <a:lnTo>
                    <a:pt x="12" y="894"/>
                  </a:lnTo>
                  <a:lnTo>
                    <a:pt x="124" y="382"/>
                  </a:lnTo>
                  <a:lnTo>
                    <a:pt x="0" y="382"/>
                  </a:lnTo>
                  <a:lnTo>
                    <a:pt x="34" y="228"/>
                  </a:lnTo>
                  <a:lnTo>
                    <a:pt x="154" y="228"/>
                  </a:lnTo>
                  <a:lnTo>
                    <a:pt x="154" y="228"/>
                  </a:lnTo>
                  <a:lnTo>
                    <a:pt x="170" y="168"/>
                  </a:lnTo>
                  <a:lnTo>
                    <a:pt x="178" y="142"/>
                  </a:lnTo>
                  <a:lnTo>
                    <a:pt x="188" y="118"/>
                  </a:lnTo>
                  <a:lnTo>
                    <a:pt x="200" y="96"/>
                  </a:lnTo>
                  <a:lnTo>
                    <a:pt x="214" y="76"/>
                  </a:lnTo>
                  <a:lnTo>
                    <a:pt x="228" y="56"/>
                  </a:lnTo>
                  <a:lnTo>
                    <a:pt x="248" y="40"/>
                  </a:lnTo>
                  <a:lnTo>
                    <a:pt x="248" y="40"/>
                  </a:lnTo>
                  <a:lnTo>
                    <a:pt x="262" y="30"/>
                  </a:lnTo>
                  <a:lnTo>
                    <a:pt x="280" y="20"/>
                  </a:lnTo>
                  <a:lnTo>
                    <a:pt x="298" y="14"/>
                  </a:lnTo>
                  <a:lnTo>
                    <a:pt x="320" y="8"/>
                  </a:lnTo>
                  <a:lnTo>
                    <a:pt x="340" y="4"/>
                  </a:lnTo>
                  <a:lnTo>
                    <a:pt x="362" y="2"/>
                  </a:lnTo>
                  <a:lnTo>
                    <a:pt x="406" y="0"/>
                  </a:lnTo>
                  <a:lnTo>
                    <a:pt x="446" y="0"/>
                  </a:lnTo>
                  <a:lnTo>
                    <a:pt x="478" y="0"/>
                  </a:lnTo>
                  <a:lnTo>
                    <a:pt x="510" y="4"/>
                  </a:lnTo>
                  <a:lnTo>
                    <a:pt x="482" y="130"/>
                  </a:lnTo>
                  <a:lnTo>
                    <a:pt x="482" y="1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62"/>
              <a:endParaRPr lang="en-US">
                <a:solidFill>
                  <a:srgbClr val="FFFFFF"/>
                </a:solidFill>
              </a:endParaRPr>
            </a:p>
          </p:txBody>
        </p:sp>
        <p:sp>
          <p:nvSpPr>
            <p:cNvPr id="33" name="Freeform 24"/>
            <p:cNvSpPr>
              <a:spLocks/>
            </p:cNvSpPr>
            <p:nvPr/>
          </p:nvSpPr>
          <p:spPr bwMode="auto">
            <a:xfrm>
              <a:off x="6204048" y="4796973"/>
              <a:ext cx="223082" cy="111853"/>
            </a:xfrm>
            <a:custGeom>
              <a:avLst/>
              <a:gdLst/>
              <a:ahLst/>
              <a:cxnLst/>
              <a:rect l="l" t="t" r="r" b="b"/>
              <a:pathLst>
                <a:path w="223082" h="111853">
                  <a:moveTo>
                    <a:pt x="64184" y="24303"/>
                  </a:moveTo>
                  <a:lnTo>
                    <a:pt x="62003" y="24615"/>
                  </a:lnTo>
                  <a:lnTo>
                    <a:pt x="59822" y="25550"/>
                  </a:lnTo>
                  <a:lnTo>
                    <a:pt x="57641" y="26484"/>
                  </a:lnTo>
                  <a:lnTo>
                    <a:pt x="55460" y="27730"/>
                  </a:lnTo>
                  <a:lnTo>
                    <a:pt x="53591" y="29288"/>
                  </a:lnTo>
                  <a:lnTo>
                    <a:pt x="51721" y="31158"/>
                  </a:lnTo>
                  <a:lnTo>
                    <a:pt x="49852" y="33027"/>
                  </a:lnTo>
                  <a:lnTo>
                    <a:pt x="48294" y="35208"/>
                  </a:lnTo>
                  <a:lnTo>
                    <a:pt x="45178" y="40193"/>
                  </a:lnTo>
                  <a:lnTo>
                    <a:pt x="42686" y="45490"/>
                  </a:lnTo>
                  <a:lnTo>
                    <a:pt x="40505" y="51098"/>
                  </a:lnTo>
                  <a:lnTo>
                    <a:pt x="38947" y="56706"/>
                  </a:lnTo>
                  <a:lnTo>
                    <a:pt x="38012" y="62314"/>
                  </a:lnTo>
                  <a:lnTo>
                    <a:pt x="38012" y="67611"/>
                  </a:lnTo>
                  <a:lnTo>
                    <a:pt x="38012" y="70103"/>
                  </a:lnTo>
                  <a:lnTo>
                    <a:pt x="38324" y="72596"/>
                  </a:lnTo>
                  <a:lnTo>
                    <a:pt x="38947" y="74777"/>
                  </a:lnTo>
                  <a:lnTo>
                    <a:pt x="39882" y="76958"/>
                  </a:lnTo>
                  <a:lnTo>
                    <a:pt x="40816" y="78827"/>
                  </a:lnTo>
                  <a:lnTo>
                    <a:pt x="41751" y="80697"/>
                  </a:lnTo>
                  <a:lnTo>
                    <a:pt x="43309" y="82255"/>
                  </a:lnTo>
                  <a:lnTo>
                    <a:pt x="44867" y="83501"/>
                  </a:lnTo>
                  <a:lnTo>
                    <a:pt x="46736" y="84436"/>
                  </a:lnTo>
                  <a:lnTo>
                    <a:pt x="48917" y="85059"/>
                  </a:lnTo>
                  <a:lnTo>
                    <a:pt x="51410" y="85370"/>
                  </a:lnTo>
                  <a:lnTo>
                    <a:pt x="53902" y="85059"/>
                  </a:lnTo>
                  <a:lnTo>
                    <a:pt x="56083" y="84747"/>
                  </a:lnTo>
                  <a:lnTo>
                    <a:pt x="58264" y="84124"/>
                  </a:lnTo>
                  <a:lnTo>
                    <a:pt x="60445" y="83189"/>
                  </a:lnTo>
                  <a:lnTo>
                    <a:pt x="62626" y="81943"/>
                  </a:lnTo>
                  <a:lnTo>
                    <a:pt x="64807" y="80385"/>
                  </a:lnTo>
                  <a:lnTo>
                    <a:pt x="66676" y="78516"/>
                  </a:lnTo>
                  <a:lnTo>
                    <a:pt x="68546" y="76646"/>
                  </a:lnTo>
                  <a:lnTo>
                    <a:pt x="70104" y="74465"/>
                  </a:lnTo>
                  <a:lnTo>
                    <a:pt x="73219" y="69480"/>
                  </a:lnTo>
                  <a:lnTo>
                    <a:pt x="75712" y="64184"/>
                  </a:lnTo>
                  <a:lnTo>
                    <a:pt x="77893" y="58576"/>
                  </a:lnTo>
                  <a:lnTo>
                    <a:pt x="79451" y="52967"/>
                  </a:lnTo>
                  <a:lnTo>
                    <a:pt x="80074" y="47359"/>
                  </a:lnTo>
                  <a:lnTo>
                    <a:pt x="80385" y="41751"/>
                  </a:lnTo>
                  <a:lnTo>
                    <a:pt x="80074" y="39258"/>
                  </a:lnTo>
                  <a:lnTo>
                    <a:pt x="79762" y="36766"/>
                  </a:lnTo>
                  <a:lnTo>
                    <a:pt x="79139" y="34585"/>
                  </a:lnTo>
                  <a:lnTo>
                    <a:pt x="78204" y="32404"/>
                  </a:lnTo>
                  <a:lnTo>
                    <a:pt x="77270" y="30535"/>
                  </a:lnTo>
                  <a:lnTo>
                    <a:pt x="76023" y="28665"/>
                  </a:lnTo>
                  <a:lnTo>
                    <a:pt x="74465" y="27107"/>
                  </a:lnTo>
                  <a:lnTo>
                    <a:pt x="72908" y="26173"/>
                  </a:lnTo>
                  <a:lnTo>
                    <a:pt x="70727" y="25238"/>
                  </a:lnTo>
                  <a:lnTo>
                    <a:pt x="68546" y="24615"/>
                  </a:lnTo>
                  <a:lnTo>
                    <a:pt x="66365" y="24303"/>
                  </a:lnTo>
                  <a:close/>
                  <a:moveTo>
                    <a:pt x="173232" y="0"/>
                  </a:moveTo>
                  <a:lnTo>
                    <a:pt x="178217" y="0"/>
                  </a:lnTo>
                  <a:lnTo>
                    <a:pt x="183202" y="0"/>
                  </a:lnTo>
                  <a:lnTo>
                    <a:pt x="187564" y="312"/>
                  </a:lnTo>
                  <a:lnTo>
                    <a:pt x="191926" y="935"/>
                  </a:lnTo>
                  <a:lnTo>
                    <a:pt x="195664" y="1558"/>
                  </a:lnTo>
                  <a:lnTo>
                    <a:pt x="199092" y="2181"/>
                  </a:lnTo>
                  <a:lnTo>
                    <a:pt x="202519" y="3116"/>
                  </a:lnTo>
                  <a:lnTo>
                    <a:pt x="205323" y="4051"/>
                  </a:lnTo>
                  <a:lnTo>
                    <a:pt x="207815" y="5297"/>
                  </a:lnTo>
                  <a:lnTo>
                    <a:pt x="210308" y="6543"/>
                  </a:lnTo>
                  <a:lnTo>
                    <a:pt x="212489" y="7789"/>
                  </a:lnTo>
                  <a:lnTo>
                    <a:pt x="214358" y="9036"/>
                  </a:lnTo>
                  <a:lnTo>
                    <a:pt x="215916" y="10594"/>
                  </a:lnTo>
                  <a:lnTo>
                    <a:pt x="218720" y="13709"/>
                  </a:lnTo>
                  <a:lnTo>
                    <a:pt x="220590" y="16513"/>
                  </a:lnTo>
                  <a:lnTo>
                    <a:pt x="221836" y="19629"/>
                  </a:lnTo>
                  <a:lnTo>
                    <a:pt x="222771" y="22745"/>
                  </a:lnTo>
                  <a:lnTo>
                    <a:pt x="223082" y="25549"/>
                  </a:lnTo>
                  <a:lnTo>
                    <a:pt x="223082" y="28353"/>
                  </a:lnTo>
                  <a:lnTo>
                    <a:pt x="222771" y="32403"/>
                  </a:lnTo>
                  <a:lnTo>
                    <a:pt x="222771" y="34584"/>
                  </a:lnTo>
                  <a:lnTo>
                    <a:pt x="186940" y="34584"/>
                  </a:lnTo>
                  <a:lnTo>
                    <a:pt x="187252" y="32403"/>
                  </a:lnTo>
                  <a:lnTo>
                    <a:pt x="187252" y="30222"/>
                  </a:lnTo>
                  <a:lnTo>
                    <a:pt x="186629" y="27730"/>
                  </a:lnTo>
                  <a:lnTo>
                    <a:pt x="186317" y="26484"/>
                  </a:lnTo>
                  <a:lnTo>
                    <a:pt x="185383" y="25237"/>
                  </a:lnTo>
                  <a:lnTo>
                    <a:pt x="184448" y="24303"/>
                  </a:lnTo>
                  <a:lnTo>
                    <a:pt x="183202" y="23368"/>
                  </a:lnTo>
                  <a:lnTo>
                    <a:pt x="181644" y="22433"/>
                  </a:lnTo>
                  <a:lnTo>
                    <a:pt x="179463" y="21810"/>
                  </a:lnTo>
                  <a:lnTo>
                    <a:pt x="177282" y="21187"/>
                  </a:lnTo>
                  <a:lnTo>
                    <a:pt x="174478" y="21187"/>
                  </a:lnTo>
                  <a:lnTo>
                    <a:pt x="171674" y="21187"/>
                  </a:lnTo>
                  <a:lnTo>
                    <a:pt x="169493" y="21810"/>
                  </a:lnTo>
                  <a:lnTo>
                    <a:pt x="167312" y="22433"/>
                  </a:lnTo>
                  <a:lnTo>
                    <a:pt x="165442" y="23368"/>
                  </a:lnTo>
                  <a:lnTo>
                    <a:pt x="164196" y="24303"/>
                  </a:lnTo>
                  <a:lnTo>
                    <a:pt x="162950" y="25549"/>
                  </a:lnTo>
                  <a:lnTo>
                    <a:pt x="162015" y="26795"/>
                  </a:lnTo>
                  <a:lnTo>
                    <a:pt x="161704" y="28353"/>
                  </a:lnTo>
                  <a:lnTo>
                    <a:pt x="161704" y="29599"/>
                  </a:lnTo>
                  <a:lnTo>
                    <a:pt x="162015" y="31157"/>
                  </a:lnTo>
                  <a:lnTo>
                    <a:pt x="162950" y="32403"/>
                  </a:lnTo>
                  <a:lnTo>
                    <a:pt x="163885" y="33961"/>
                  </a:lnTo>
                  <a:lnTo>
                    <a:pt x="165442" y="35207"/>
                  </a:lnTo>
                  <a:lnTo>
                    <a:pt x="167623" y="36454"/>
                  </a:lnTo>
                  <a:lnTo>
                    <a:pt x="170116" y="37388"/>
                  </a:lnTo>
                  <a:lnTo>
                    <a:pt x="172920" y="38012"/>
                  </a:lnTo>
                  <a:lnTo>
                    <a:pt x="188810" y="41439"/>
                  </a:lnTo>
                  <a:lnTo>
                    <a:pt x="196287" y="43308"/>
                  </a:lnTo>
                  <a:lnTo>
                    <a:pt x="200026" y="44555"/>
                  </a:lnTo>
                  <a:lnTo>
                    <a:pt x="203454" y="45801"/>
                  </a:lnTo>
                  <a:lnTo>
                    <a:pt x="206569" y="47670"/>
                  </a:lnTo>
                  <a:lnTo>
                    <a:pt x="209373" y="49540"/>
                  </a:lnTo>
                  <a:lnTo>
                    <a:pt x="211866" y="52032"/>
                  </a:lnTo>
                  <a:lnTo>
                    <a:pt x="214358" y="54836"/>
                  </a:lnTo>
                  <a:lnTo>
                    <a:pt x="216228" y="57952"/>
                  </a:lnTo>
                  <a:lnTo>
                    <a:pt x="217474" y="61691"/>
                  </a:lnTo>
                  <a:lnTo>
                    <a:pt x="218720" y="65741"/>
                  </a:lnTo>
                  <a:lnTo>
                    <a:pt x="219032" y="70415"/>
                  </a:lnTo>
                  <a:lnTo>
                    <a:pt x="219032" y="74465"/>
                  </a:lnTo>
                  <a:lnTo>
                    <a:pt x="218409" y="77269"/>
                  </a:lnTo>
                  <a:lnTo>
                    <a:pt x="217786" y="80385"/>
                  </a:lnTo>
                  <a:lnTo>
                    <a:pt x="216539" y="83501"/>
                  </a:lnTo>
                  <a:lnTo>
                    <a:pt x="214982" y="87239"/>
                  </a:lnTo>
                  <a:lnTo>
                    <a:pt x="213112" y="90667"/>
                  </a:lnTo>
                  <a:lnTo>
                    <a:pt x="210308" y="94405"/>
                  </a:lnTo>
                  <a:lnTo>
                    <a:pt x="207192" y="97833"/>
                  </a:lnTo>
                  <a:lnTo>
                    <a:pt x="203142" y="101260"/>
                  </a:lnTo>
                  <a:lnTo>
                    <a:pt x="198468" y="104376"/>
                  </a:lnTo>
                  <a:lnTo>
                    <a:pt x="195664" y="105622"/>
                  </a:lnTo>
                  <a:lnTo>
                    <a:pt x="192860" y="106868"/>
                  </a:lnTo>
                  <a:lnTo>
                    <a:pt x="189745" y="108114"/>
                  </a:lnTo>
                  <a:lnTo>
                    <a:pt x="186317" y="109049"/>
                  </a:lnTo>
                  <a:lnTo>
                    <a:pt x="182579" y="109984"/>
                  </a:lnTo>
                  <a:lnTo>
                    <a:pt x="178840" y="110607"/>
                  </a:lnTo>
                  <a:lnTo>
                    <a:pt x="174789" y="111230"/>
                  </a:lnTo>
                  <a:lnTo>
                    <a:pt x="170116" y="111542"/>
                  </a:lnTo>
                  <a:lnTo>
                    <a:pt x="165442" y="111853"/>
                  </a:lnTo>
                  <a:lnTo>
                    <a:pt x="160769" y="111853"/>
                  </a:lnTo>
                  <a:lnTo>
                    <a:pt x="151733" y="111542"/>
                  </a:lnTo>
                  <a:lnTo>
                    <a:pt x="143944" y="110607"/>
                  </a:lnTo>
                  <a:lnTo>
                    <a:pt x="137090" y="109049"/>
                  </a:lnTo>
                  <a:lnTo>
                    <a:pt x="131170" y="107491"/>
                  </a:lnTo>
                  <a:lnTo>
                    <a:pt x="126185" y="105310"/>
                  </a:lnTo>
                  <a:lnTo>
                    <a:pt x="121823" y="103129"/>
                  </a:lnTo>
                  <a:lnTo>
                    <a:pt x="118396" y="100637"/>
                  </a:lnTo>
                  <a:lnTo>
                    <a:pt x="115280" y="97833"/>
                  </a:lnTo>
                  <a:lnTo>
                    <a:pt x="113099" y="95029"/>
                  </a:lnTo>
                  <a:lnTo>
                    <a:pt x="111230" y="92224"/>
                  </a:lnTo>
                  <a:lnTo>
                    <a:pt x="109983" y="89109"/>
                  </a:lnTo>
                  <a:lnTo>
                    <a:pt x="109049" y="86305"/>
                  </a:lnTo>
                  <a:lnTo>
                    <a:pt x="108737" y="83501"/>
                  </a:lnTo>
                  <a:lnTo>
                    <a:pt x="108426" y="81008"/>
                  </a:lnTo>
                  <a:lnTo>
                    <a:pt x="108426" y="78515"/>
                  </a:lnTo>
                  <a:lnTo>
                    <a:pt x="108737" y="76334"/>
                  </a:lnTo>
                  <a:lnTo>
                    <a:pt x="106868" y="80073"/>
                  </a:lnTo>
                  <a:lnTo>
                    <a:pt x="104687" y="83501"/>
                  </a:lnTo>
                  <a:lnTo>
                    <a:pt x="102194" y="86928"/>
                  </a:lnTo>
                  <a:lnTo>
                    <a:pt x="99390" y="90043"/>
                  </a:lnTo>
                  <a:lnTo>
                    <a:pt x="96274" y="93159"/>
                  </a:lnTo>
                  <a:lnTo>
                    <a:pt x="92847" y="95963"/>
                  </a:lnTo>
                  <a:lnTo>
                    <a:pt x="89420" y="98767"/>
                  </a:lnTo>
                  <a:lnTo>
                    <a:pt x="85370" y="101571"/>
                  </a:lnTo>
                  <a:lnTo>
                    <a:pt x="81319" y="103752"/>
                  </a:lnTo>
                  <a:lnTo>
                    <a:pt x="76957" y="105933"/>
                  </a:lnTo>
                  <a:lnTo>
                    <a:pt x="72595" y="107491"/>
                  </a:lnTo>
                  <a:lnTo>
                    <a:pt x="67610" y="109049"/>
                  </a:lnTo>
                  <a:lnTo>
                    <a:pt x="62625" y="110295"/>
                  </a:lnTo>
                  <a:lnTo>
                    <a:pt x="57640" y="110919"/>
                  </a:lnTo>
                  <a:lnTo>
                    <a:pt x="52032" y="111230"/>
                  </a:lnTo>
                  <a:lnTo>
                    <a:pt x="46424" y="111230"/>
                  </a:lnTo>
                  <a:lnTo>
                    <a:pt x="39569" y="110919"/>
                  </a:lnTo>
                  <a:lnTo>
                    <a:pt x="33338" y="109672"/>
                  </a:lnTo>
                  <a:lnTo>
                    <a:pt x="27730" y="107803"/>
                  </a:lnTo>
                  <a:lnTo>
                    <a:pt x="22745" y="105622"/>
                  </a:lnTo>
                  <a:lnTo>
                    <a:pt x="18071" y="103129"/>
                  </a:lnTo>
                  <a:lnTo>
                    <a:pt x="14021" y="100014"/>
                  </a:lnTo>
                  <a:lnTo>
                    <a:pt x="10594" y="96275"/>
                  </a:lnTo>
                  <a:lnTo>
                    <a:pt x="7478" y="92536"/>
                  </a:lnTo>
                  <a:lnTo>
                    <a:pt x="4985" y="88174"/>
                  </a:lnTo>
                  <a:lnTo>
                    <a:pt x="3116" y="83812"/>
                  </a:lnTo>
                  <a:lnTo>
                    <a:pt x="1558" y="79139"/>
                  </a:lnTo>
                  <a:lnTo>
                    <a:pt x="623" y="74153"/>
                  </a:lnTo>
                  <a:lnTo>
                    <a:pt x="0" y="69168"/>
                  </a:lnTo>
                  <a:lnTo>
                    <a:pt x="0" y="63872"/>
                  </a:lnTo>
                  <a:lnTo>
                    <a:pt x="312" y="58575"/>
                  </a:lnTo>
                  <a:lnTo>
                    <a:pt x="1247" y="53590"/>
                  </a:lnTo>
                  <a:lnTo>
                    <a:pt x="2804" y="48293"/>
                  </a:lnTo>
                  <a:lnTo>
                    <a:pt x="4362" y="42997"/>
                  </a:lnTo>
                  <a:lnTo>
                    <a:pt x="6855" y="38012"/>
                  </a:lnTo>
                  <a:lnTo>
                    <a:pt x="9347" y="33026"/>
                  </a:lnTo>
                  <a:lnTo>
                    <a:pt x="12463" y="28353"/>
                  </a:lnTo>
                  <a:lnTo>
                    <a:pt x="15890" y="23991"/>
                  </a:lnTo>
                  <a:lnTo>
                    <a:pt x="19941" y="19629"/>
                  </a:lnTo>
                  <a:lnTo>
                    <a:pt x="23991" y="15579"/>
                  </a:lnTo>
                  <a:lnTo>
                    <a:pt x="28664" y="12151"/>
                  </a:lnTo>
                  <a:lnTo>
                    <a:pt x="33649" y="9036"/>
                  </a:lnTo>
                  <a:lnTo>
                    <a:pt x="39258" y="6232"/>
                  </a:lnTo>
                  <a:lnTo>
                    <a:pt x="44866" y="3739"/>
                  </a:lnTo>
                  <a:lnTo>
                    <a:pt x="51097" y="2181"/>
                  </a:lnTo>
                  <a:lnTo>
                    <a:pt x="57640" y="935"/>
                  </a:lnTo>
                  <a:lnTo>
                    <a:pt x="64495" y="312"/>
                  </a:lnTo>
                  <a:lnTo>
                    <a:pt x="71349" y="312"/>
                  </a:lnTo>
                  <a:lnTo>
                    <a:pt x="77892" y="935"/>
                  </a:lnTo>
                  <a:lnTo>
                    <a:pt x="83812" y="2181"/>
                  </a:lnTo>
                  <a:lnTo>
                    <a:pt x="89108" y="3739"/>
                  </a:lnTo>
                  <a:lnTo>
                    <a:pt x="94093" y="5920"/>
                  </a:lnTo>
                  <a:lnTo>
                    <a:pt x="98455" y="8413"/>
                  </a:lnTo>
                  <a:lnTo>
                    <a:pt x="102194" y="11528"/>
                  </a:lnTo>
                  <a:lnTo>
                    <a:pt x="105621" y="14956"/>
                  </a:lnTo>
                  <a:lnTo>
                    <a:pt x="108737" y="18694"/>
                  </a:lnTo>
                  <a:lnTo>
                    <a:pt x="111230" y="22433"/>
                  </a:lnTo>
                  <a:lnTo>
                    <a:pt x="113099" y="26795"/>
                  </a:lnTo>
                  <a:lnTo>
                    <a:pt x="114657" y="31157"/>
                  </a:lnTo>
                  <a:lnTo>
                    <a:pt x="115903" y="35831"/>
                  </a:lnTo>
                  <a:lnTo>
                    <a:pt x="116526" y="40504"/>
                  </a:lnTo>
                  <a:lnTo>
                    <a:pt x="116838" y="45489"/>
                  </a:lnTo>
                  <a:lnTo>
                    <a:pt x="116526" y="50474"/>
                  </a:lnTo>
                  <a:lnTo>
                    <a:pt x="116215" y="55148"/>
                  </a:lnTo>
                  <a:lnTo>
                    <a:pt x="115592" y="58264"/>
                  </a:lnTo>
                  <a:lnTo>
                    <a:pt x="114968" y="59821"/>
                  </a:lnTo>
                  <a:lnTo>
                    <a:pt x="114345" y="60756"/>
                  </a:lnTo>
                  <a:lnTo>
                    <a:pt x="113722" y="61068"/>
                  </a:lnTo>
                  <a:lnTo>
                    <a:pt x="78827" y="72596"/>
                  </a:lnTo>
                  <a:lnTo>
                    <a:pt x="149552" y="72284"/>
                  </a:lnTo>
                  <a:lnTo>
                    <a:pt x="149241" y="72907"/>
                  </a:lnTo>
                  <a:lnTo>
                    <a:pt x="148929" y="74777"/>
                  </a:lnTo>
                  <a:lnTo>
                    <a:pt x="148618" y="77269"/>
                  </a:lnTo>
                  <a:lnTo>
                    <a:pt x="148929" y="78827"/>
                  </a:lnTo>
                  <a:lnTo>
                    <a:pt x="149241" y="80073"/>
                  </a:lnTo>
                  <a:lnTo>
                    <a:pt x="149864" y="81631"/>
                  </a:lnTo>
                  <a:lnTo>
                    <a:pt x="150799" y="83189"/>
                  </a:lnTo>
                  <a:lnTo>
                    <a:pt x="152045" y="84435"/>
                  </a:lnTo>
                  <a:lnTo>
                    <a:pt x="153603" y="85682"/>
                  </a:lnTo>
                  <a:lnTo>
                    <a:pt x="155784" y="86616"/>
                  </a:lnTo>
                  <a:lnTo>
                    <a:pt x="158588" y="87551"/>
                  </a:lnTo>
                  <a:lnTo>
                    <a:pt x="161704" y="87862"/>
                  </a:lnTo>
                  <a:lnTo>
                    <a:pt x="165442" y="88174"/>
                  </a:lnTo>
                  <a:lnTo>
                    <a:pt x="168246" y="87862"/>
                  </a:lnTo>
                  <a:lnTo>
                    <a:pt x="170739" y="87239"/>
                  </a:lnTo>
                  <a:lnTo>
                    <a:pt x="173232" y="86616"/>
                  </a:lnTo>
                  <a:lnTo>
                    <a:pt x="175101" y="85370"/>
                  </a:lnTo>
                  <a:lnTo>
                    <a:pt x="176659" y="83812"/>
                  </a:lnTo>
                  <a:lnTo>
                    <a:pt x="177905" y="82254"/>
                  </a:lnTo>
                  <a:lnTo>
                    <a:pt x="178840" y="80696"/>
                  </a:lnTo>
                  <a:lnTo>
                    <a:pt x="179463" y="78827"/>
                  </a:lnTo>
                  <a:lnTo>
                    <a:pt x="179463" y="76958"/>
                  </a:lnTo>
                  <a:lnTo>
                    <a:pt x="179151" y="75400"/>
                  </a:lnTo>
                  <a:lnTo>
                    <a:pt x="178217" y="73530"/>
                  </a:lnTo>
                  <a:lnTo>
                    <a:pt x="176970" y="71973"/>
                  </a:lnTo>
                  <a:lnTo>
                    <a:pt x="175101" y="70415"/>
                  </a:lnTo>
                  <a:lnTo>
                    <a:pt x="172920" y="68857"/>
                  </a:lnTo>
                  <a:lnTo>
                    <a:pt x="169804" y="67922"/>
                  </a:lnTo>
                  <a:lnTo>
                    <a:pt x="166377" y="66987"/>
                  </a:lnTo>
                  <a:lnTo>
                    <a:pt x="161392" y="66053"/>
                  </a:lnTo>
                  <a:lnTo>
                    <a:pt x="155161" y="64495"/>
                  </a:lnTo>
                  <a:lnTo>
                    <a:pt x="151422" y="63560"/>
                  </a:lnTo>
                  <a:lnTo>
                    <a:pt x="147683" y="62314"/>
                  </a:lnTo>
                  <a:lnTo>
                    <a:pt x="143944" y="60756"/>
                  </a:lnTo>
                  <a:lnTo>
                    <a:pt x="140205" y="58887"/>
                  </a:lnTo>
                  <a:lnTo>
                    <a:pt x="136467" y="56706"/>
                  </a:lnTo>
                  <a:lnTo>
                    <a:pt x="133039" y="54213"/>
                  </a:lnTo>
                  <a:lnTo>
                    <a:pt x="130235" y="51409"/>
                  </a:lnTo>
                  <a:lnTo>
                    <a:pt x="127743" y="48293"/>
                  </a:lnTo>
                  <a:lnTo>
                    <a:pt x="126496" y="46424"/>
                  </a:lnTo>
                  <a:lnTo>
                    <a:pt x="125873" y="44555"/>
                  </a:lnTo>
                  <a:lnTo>
                    <a:pt x="124939" y="42685"/>
                  </a:lnTo>
                  <a:lnTo>
                    <a:pt x="124315" y="40504"/>
                  </a:lnTo>
                  <a:lnTo>
                    <a:pt x="124004" y="38323"/>
                  </a:lnTo>
                  <a:lnTo>
                    <a:pt x="124004" y="35831"/>
                  </a:lnTo>
                  <a:lnTo>
                    <a:pt x="124004" y="33338"/>
                  </a:lnTo>
                  <a:lnTo>
                    <a:pt x="124315" y="30846"/>
                  </a:lnTo>
                  <a:lnTo>
                    <a:pt x="124939" y="26795"/>
                  </a:lnTo>
                  <a:lnTo>
                    <a:pt x="126496" y="22745"/>
                  </a:lnTo>
                  <a:lnTo>
                    <a:pt x="128054" y="19317"/>
                  </a:lnTo>
                  <a:lnTo>
                    <a:pt x="130235" y="16202"/>
                  </a:lnTo>
                  <a:lnTo>
                    <a:pt x="133039" y="13398"/>
                  </a:lnTo>
                  <a:lnTo>
                    <a:pt x="135843" y="10905"/>
                  </a:lnTo>
                  <a:lnTo>
                    <a:pt x="138959" y="8413"/>
                  </a:lnTo>
                  <a:lnTo>
                    <a:pt x="142698" y="6543"/>
                  </a:lnTo>
                  <a:lnTo>
                    <a:pt x="146437" y="4985"/>
                  </a:lnTo>
                  <a:lnTo>
                    <a:pt x="150487" y="3428"/>
                  </a:lnTo>
                  <a:lnTo>
                    <a:pt x="154849" y="2181"/>
                  </a:lnTo>
                  <a:lnTo>
                    <a:pt x="159211" y="1247"/>
                  </a:lnTo>
                  <a:lnTo>
                    <a:pt x="163885" y="623"/>
                  </a:lnTo>
                  <a:lnTo>
                    <a:pt x="168558" y="3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62"/>
              <a:endParaRPr lang="en-US">
                <a:solidFill>
                  <a:srgbClr val="FFFFFF"/>
                </a:solidFill>
              </a:endParaRPr>
            </a:p>
          </p:txBody>
        </p:sp>
        <p:sp>
          <p:nvSpPr>
            <p:cNvPr id="34" name="Freeform 26"/>
            <p:cNvSpPr>
              <a:spLocks noEditPoints="1"/>
            </p:cNvSpPr>
            <p:nvPr/>
          </p:nvSpPr>
          <p:spPr bwMode="auto">
            <a:xfrm>
              <a:off x="6682928" y="4801024"/>
              <a:ext cx="27106" cy="27106"/>
            </a:xfrm>
            <a:custGeom>
              <a:avLst/>
              <a:gdLst>
                <a:gd name="T0" fmla="*/ 86 w 174"/>
                <a:gd name="T1" fmla="*/ 0 h 174"/>
                <a:gd name="T2" fmla="*/ 124 w 174"/>
                <a:gd name="T3" fmla="*/ 8 h 174"/>
                <a:gd name="T4" fmla="*/ 152 w 174"/>
                <a:gd name="T5" fmla="*/ 28 h 174"/>
                <a:gd name="T6" fmla="*/ 168 w 174"/>
                <a:gd name="T7" fmla="*/ 56 h 174"/>
                <a:gd name="T8" fmla="*/ 174 w 174"/>
                <a:gd name="T9" fmla="*/ 86 h 174"/>
                <a:gd name="T10" fmla="*/ 168 w 174"/>
                <a:gd name="T11" fmla="*/ 118 h 174"/>
                <a:gd name="T12" fmla="*/ 152 w 174"/>
                <a:gd name="T13" fmla="*/ 146 h 174"/>
                <a:gd name="T14" fmla="*/ 124 w 174"/>
                <a:gd name="T15" fmla="*/ 166 h 174"/>
                <a:gd name="T16" fmla="*/ 86 w 174"/>
                <a:gd name="T17" fmla="*/ 174 h 174"/>
                <a:gd name="T18" fmla="*/ 66 w 174"/>
                <a:gd name="T19" fmla="*/ 172 h 174"/>
                <a:gd name="T20" fmla="*/ 34 w 174"/>
                <a:gd name="T21" fmla="*/ 158 h 174"/>
                <a:gd name="T22" fmla="*/ 12 w 174"/>
                <a:gd name="T23" fmla="*/ 134 h 174"/>
                <a:gd name="T24" fmla="*/ 2 w 174"/>
                <a:gd name="T25" fmla="*/ 104 h 174"/>
                <a:gd name="T26" fmla="*/ 2 w 174"/>
                <a:gd name="T27" fmla="*/ 70 h 174"/>
                <a:gd name="T28" fmla="*/ 12 w 174"/>
                <a:gd name="T29" fmla="*/ 40 h 174"/>
                <a:gd name="T30" fmla="*/ 34 w 174"/>
                <a:gd name="T31" fmla="*/ 16 h 174"/>
                <a:gd name="T32" fmla="*/ 66 w 174"/>
                <a:gd name="T33" fmla="*/ 2 h 174"/>
                <a:gd name="T34" fmla="*/ 86 w 174"/>
                <a:gd name="T35" fmla="*/ 0 h 174"/>
                <a:gd name="T36" fmla="*/ 86 w 174"/>
                <a:gd name="T37" fmla="*/ 16 h 174"/>
                <a:gd name="T38" fmla="*/ 54 w 174"/>
                <a:gd name="T39" fmla="*/ 22 h 174"/>
                <a:gd name="T40" fmla="*/ 32 w 174"/>
                <a:gd name="T41" fmla="*/ 38 h 174"/>
                <a:gd name="T42" fmla="*/ 18 w 174"/>
                <a:gd name="T43" fmla="*/ 60 h 174"/>
                <a:gd name="T44" fmla="*/ 14 w 174"/>
                <a:gd name="T45" fmla="*/ 86 h 174"/>
                <a:gd name="T46" fmla="*/ 18 w 174"/>
                <a:gd name="T47" fmla="*/ 112 h 174"/>
                <a:gd name="T48" fmla="*/ 32 w 174"/>
                <a:gd name="T49" fmla="*/ 134 h 174"/>
                <a:gd name="T50" fmla="*/ 54 w 174"/>
                <a:gd name="T51" fmla="*/ 150 h 174"/>
                <a:gd name="T52" fmla="*/ 86 w 174"/>
                <a:gd name="T53" fmla="*/ 156 h 174"/>
                <a:gd name="T54" fmla="*/ 104 w 174"/>
                <a:gd name="T55" fmla="*/ 156 h 174"/>
                <a:gd name="T56" fmla="*/ 132 w 174"/>
                <a:gd name="T57" fmla="*/ 144 h 174"/>
                <a:gd name="T58" fmla="*/ 150 w 174"/>
                <a:gd name="T59" fmla="*/ 124 h 174"/>
                <a:gd name="T60" fmla="*/ 158 w 174"/>
                <a:gd name="T61" fmla="*/ 100 h 174"/>
                <a:gd name="T62" fmla="*/ 158 w 174"/>
                <a:gd name="T63" fmla="*/ 74 h 174"/>
                <a:gd name="T64" fmla="*/ 150 w 174"/>
                <a:gd name="T65" fmla="*/ 48 h 174"/>
                <a:gd name="T66" fmla="*/ 132 w 174"/>
                <a:gd name="T67" fmla="*/ 30 h 174"/>
                <a:gd name="T68" fmla="*/ 104 w 174"/>
                <a:gd name="T69" fmla="*/ 18 h 174"/>
                <a:gd name="T70" fmla="*/ 86 w 174"/>
                <a:gd name="T71" fmla="*/ 16 h 174"/>
                <a:gd name="T72" fmla="*/ 120 w 174"/>
                <a:gd name="T73" fmla="*/ 132 h 174"/>
                <a:gd name="T74" fmla="*/ 84 w 174"/>
                <a:gd name="T75" fmla="*/ 96 h 174"/>
                <a:gd name="T76" fmla="*/ 68 w 174"/>
                <a:gd name="T77" fmla="*/ 134 h 174"/>
                <a:gd name="T78" fmla="*/ 64 w 174"/>
                <a:gd name="T79" fmla="*/ 42 h 174"/>
                <a:gd name="T80" fmla="*/ 106 w 174"/>
                <a:gd name="T81" fmla="*/ 42 h 174"/>
                <a:gd name="T82" fmla="*/ 118 w 174"/>
                <a:gd name="T83" fmla="*/ 48 h 174"/>
                <a:gd name="T84" fmla="*/ 126 w 174"/>
                <a:gd name="T85" fmla="*/ 56 h 174"/>
                <a:gd name="T86" fmla="*/ 128 w 174"/>
                <a:gd name="T87" fmla="*/ 70 h 174"/>
                <a:gd name="T88" fmla="*/ 126 w 174"/>
                <a:gd name="T89" fmla="*/ 80 h 174"/>
                <a:gd name="T90" fmla="*/ 118 w 174"/>
                <a:gd name="T91" fmla="*/ 90 h 174"/>
                <a:gd name="T92" fmla="*/ 106 w 174"/>
                <a:gd name="T93" fmla="*/ 96 h 174"/>
                <a:gd name="T94" fmla="*/ 102 w 174"/>
                <a:gd name="T95" fmla="*/ 96 h 174"/>
                <a:gd name="T96" fmla="*/ 80 w 174"/>
                <a:gd name="T97" fmla="*/ 54 h 174"/>
                <a:gd name="T98" fmla="*/ 94 w 174"/>
                <a:gd name="T99" fmla="*/ 84 h 174"/>
                <a:gd name="T100" fmla="*/ 96 w 174"/>
                <a:gd name="T101" fmla="*/ 84 h 174"/>
                <a:gd name="T102" fmla="*/ 108 w 174"/>
                <a:gd name="T103" fmla="*/ 78 h 174"/>
                <a:gd name="T104" fmla="*/ 112 w 174"/>
                <a:gd name="T105" fmla="*/ 70 h 174"/>
                <a:gd name="T106" fmla="*/ 112 w 174"/>
                <a:gd name="T107" fmla="*/ 64 h 174"/>
                <a:gd name="T108" fmla="*/ 104 w 174"/>
                <a:gd name="T109" fmla="*/ 56 h 174"/>
                <a:gd name="T110" fmla="*/ 98 w 174"/>
                <a:gd name="T111" fmla="*/ 5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4" h="174">
                  <a:moveTo>
                    <a:pt x="86" y="0"/>
                  </a:moveTo>
                  <a:lnTo>
                    <a:pt x="86" y="0"/>
                  </a:lnTo>
                  <a:lnTo>
                    <a:pt x="106" y="2"/>
                  </a:lnTo>
                  <a:lnTo>
                    <a:pt x="124" y="8"/>
                  </a:lnTo>
                  <a:lnTo>
                    <a:pt x="140" y="16"/>
                  </a:lnTo>
                  <a:lnTo>
                    <a:pt x="152" y="28"/>
                  </a:lnTo>
                  <a:lnTo>
                    <a:pt x="162" y="40"/>
                  </a:lnTo>
                  <a:lnTo>
                    <a:pt x="168" y="56"/>
                  </a:lnTo>
                  <a:lnTo>
                    <a:pt x="172" y="70"/>
                  </a:lnTo>
                  <a:lnTo>
                    <a:pt x="174" y="86"/>
                  </a:lnTo>
                  <a:lnTo>
                    <a:pt x="172" y="104"/>
                  </a:lnTo>
                  <a:lnTo>
                    <a:pt x="168" y="118"/>
                  </a:lnTo>
                  <a:lnTo>
                    <a:pt x="162" y="134"/>
                  </a:lnTo>
                  <a:lnTo>
                    <a:pt x="152" y="146"/>
                  </a:lnTo>
                  <a:lnTo>
                    <a:pt x="140" y="158"/>
                  </a:lnTo>
                  <a:lnTo>
                    <a:pt x="124" y="166"/>
                  </a:lnTo>
                  <a:lnTo>
                    <a:pt x="106" y="172"/>
                  </a:lnTo>
                  <a:lnTo>
                    <a:pt x="86" y="174"/>
                  </a:lnTo>
                  <a:lnTo>
                    <a:pt x="86" y="174"/>
                  </a:lnTo>
                  <a:lnTo>
                    <a:pt x="66" y="172"/>
                  </a:lnTo>
                  <a:lnTo>
                    <a:pt x="48" y="166"/>
                  </a:lnTo>
                  <a:lnTo>
                    <a:pt x="34" y="158"/>
                  </a:lnTo>
                  <a:lnTo>
                    <a:pt x="22" y="146"/>
                  </a:lnTo>
                  <a:lnTo>
                    <a:pt x="12" y="134"/>
                  </a:lnTo>
                  <a:lnTo>
                    <a:pt x="6" y="118"/>
                  </a:lnTo>
                  <a:lnTo>
                    <a:pt x="2" y="104"/>
                  </a:lnTo>
                  <a:lnTo>
                    <a:pt x="0" y="86"/>
                  </a:lnTo>
                  <a:lnTo>
                    <a:pt x="2" y="70"/>
                  </a:lnTo>
                  <a:lnTo>
                    <a:pt x="6" y="56"/>
                  </a:lnTo>
                  <a:lnTo>
                    <a:pt x="12" y="40"/>
                  </a:lnTo>
                  <a:lnTo>
                    <a:pt x="22" y="28"/>
                  </a:lnTo>
                  <a:lnTo>
                    <a:pt x="34" y="16"/>
                  </a:lnTo>
                  <a:lnTo>
                    <a:pt x="48" y="8"/>
                  </a:lnTo>
                  <a:lnTo>
                    <a:pt x="66" y="2"/>
                  </a:lnTo>
                  <a:lnTo>
                    <a:pt x="86" y="0"/>
                  </a:lnTo>
                  <a:lnTo>
                    <a:pt x="86" y="0"/>
                  </a:lnTo>
                  <a:close/>
                  <a:moveTo>
                    <a:pt x="86" y="16"/>
                  </a:moveTo>
                  <a:lnTo>
                    <a:pt x="86" y="16"/>
                  </a:lnTo>
                  <a:lnTo>
                    <a:pt x="70" y="18"/>
                  </a:lnTo>
                  <a:lnTo>
                    <a:pt x="54" y="22"/>
                  </a:lnTo>
                  <a:lnTo>
                    <a:pt x="42" y="30"/>
                  </a:lnTo>
                  <a:lnTo>
                    <a:pt x="32" y="38"/>
                  </a:lnTo>
                  <a:lnTo>
                    <a:pt x="24" y="48"/>
                  </a:lnTo>
                  <a:lnTo>
                    <a:pt x="18" y="60"/>
                  </a:lnTo>
                  <a:lnTo>
                    <a:pt x="16" y="74"/>
                  </a:lnTo>
                  <a:lnTo>
                    <a:pt x="14" y="86"/>
                  </a:lnTo>
                  <a:lnTo>
                    <a:pt x="16" y="100"/>
                  </a:lnTo>
                  <a:lnTo>
                    <a:pt x="18" y="112"/>
                  </a:lnTo>
                  <a:lnTo>
                    <a:pt x="24" y="124"/>
                  </a:lnTo>
                  <a:lnTo>
                    <a:pt x="32" y="134"/>
                  </a:lnTo>
                  <a:lnTo>
                    <a:pt x="42" y="144"/>
                  </a:lnTo>
                  <a:lnTo>
                    <a:pt x="54" y="150"/>
                  </a:lnTo>
                  <a:lnTo>
                    <a:pt x="70" y="156"/>
                  </a:lnTo>
                  <a:lnTo>
                    <a:pt x="86" y="156"/>
                  </a:lnTo>
                  <a:lnTo>
                    <a:pt x="86" y="156"/>
                  </a:lnTo>
                  <a:lnTo>
                    <a:pt x="104" y="156"/>
                  </a:lnTo>
                  <a:lnTo>
                    <a:pt x="118" y="150"/>
                  </a:lnTo>
                  <a:lnTo>
                    <a:pt x="132" y="144"/>
                  </a:lnTo>
                  <a:lnTo>
                    <a:pt x="142" y="134"/>
                  </a:lnTo>
                  <a:lnTo>
                    <a:pt x="150" y="124"/>
                  </a:lnTo>
                  <a:lnTo>
                    <a:pt x="156" y="112"/>
                  </a:lnTo>
                  <a:lnTo>
                    <a:pt x="158" y="100"/>
                  </a:lnTo>
                  <a:lnTo>
                    <a:pt x="160" y="86"/>
                  </a:lnTo>
                  <a:lnTo>
                    <a:pt x="158" y="74"/>
                  </a:lnTo>
                  <a:lnTo>
                    <a:pt x="156" y="60"/>
                  </a:lnTo>
                  <a:lnTo>
                    <a:pt x="150" y="48"/>
                  </a:lnTo>
                  <a:lnTo>
                    <a:pt x="142" y="38"/>
                  </a:lnTo>
                  <a:lnTo>
                    <a:pt x="132" y="30"/>
                  </a:lnTo>
                  <a:lnTo>
                    <a:pt x="118" y="22"/>
                  </a:lnTo>
                  <a:lnTo>
                    <a:pt x="104" y="18"/>
                  </a:lnTo>
                  <a:lnTo>
                    <a:pt x="86" y="16"/>
                  </a:lnTo>
                  <a:lnTo>
                    <a:pt x="86" y="16"/>
                  </a:lnTo>
                  <a:close/>
                  <a:moveTo>
                    <a:pt x="102" y="96"/>
                  </a:moveTo>
                  <a:lnTo>
                    <a:pt x="120" y="132"/>
                  </a:lnTo>
                  <a:lnTo>
                    <a:pt x="98" y="132"/>
                  </a:lnTo>
                  <a:lnTo>
                    <a:pt x="84" y="96"/>
                  </a:lnTo>
                  <a:lnTo>
                    <a:pt x="72" y="96"/>
                  </a:lnTo>
                  <a:lnTo>
                    <a:pt x="68" y="134"/>
                  </a:lnTo>
                  <a:lnTo>
                    <a:pt x="50" y="134"/>
                  </a:lnTo>
                  <a:lnTo>
                    <a:pt x="64" y="42"/>
                  </a:lnTo>
                  <a:lnTo>
                    <a:pt x="106" y="42"/>
                  </a:lnTo>
                  <a:lnTo>
                    <a:pt x="106" y="42"/>
                  </a:lnTo>
                  <a:lnTo>
                    <a:pt x="110" y="44"/>
                  </a:lnTo>
                  <a:lnTo>
                    <a:pt x="118" y="48"/>
                  </a:lnTo>
                  <a:lnTo>
                    <a:pt x="122" y="52"/>
                  </a:lnTo>
                  <a:lnTo>
                    <a:pt x="126" y="56"/>
                  </a:lnTo>
                  <a:lnTo>
                    <a:pt x="128" y="62"/>
                  </a:lnTo>
                  <a:lnTo>
                    <a:pt x="128" y="70"/>
                  </a:lnTo>
                  <a:lnTo>
                    <a:pt x="128" y="70"/>
                  </a:lnTo>
                  <a:lnTo>
                    <a:pt x="126" y="80"/>
                  </a:lnTo>
                  <a:lnTo>
                    <a:pt x="122" y="86"/>
                  </a:lnTo>
                  <a:lnTo>
                    <a:pt x="118" y="90"/>
                  </a:lnTo>
                  <a:lnTo>
                    <a:pt x="114" y="94"/>
                  </a:lnTo>
                  <a:lnTo>
                    <a:pt x="106" y="96"/>
                  </a:lnTo>
                  <a:lnTo>
                    <a:pt x="102" y="96"/>
                  </a:lnTo>
                  <a:lnTo>
                    <a:pt x="102" y="96"/>
                  </a:lnTo>
                  <a:close/>
                  <a:moveTo>
                    <a:pt x="98" y="54"/>
                  </a:moveTo>
                  <a:lnTo>
                    <a:pt x="80" y="54"/>
                  </a:lnTo>
                  <a:lnTo>
                    <a:pt x="76" y="84"/>
                  </a:lnTo>
                  <a:lnTo>
                    <a:pt x="94" y="84"/>
                  </a:lnTo>
                  <a:lnTo>
                    <a:pt x="94" y="84"/>
                  </a:lnTo>
                  <a:lnTo>
                    <a:pt x="96" y="84"/>
                  </a:lnTo>
                  <a:lnTo>
                    <a:pt x="102" y="84"/>
                  </a:lnTo>
                  <a:lnTo>
                    <a:pt x="108" y="78"/>
                  </a:lnTo>
                  <a:lnTo>
                    <a:pt x="110" y="74"/>
                  </a:lnTo>
                  <a:lnTo>
                    <a:pt x="112" y="70"/>
                  </a:lnTo>
                  <a:lnTo>
                    <a:pt x="112" y="70"/>
                  </a:lnTo>
                  <a:lnTo>
                    <a:pt x="112" y="64"/>
                  </a:lnTo>
                  <a:lnTo>
                    <a:pt x="110" y="60"/>
                  </a:lnTo>
                  <a:lnTo>
                    <a:pt x="104" y="56"/>
                  </a:lnTo>
                  <a:lnTo>
                    <a:pt x="100" y="54"/>
                  </a:lnTo>
                  <a:lnTo>
                    <a:pt x="98" y="54"/>
                  </a:lnTo>
                  <a:lnTo>
                    <a:pt x="98"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62"/>
              <a:endParaRPr lang="en-US">
                <a:solidFill>
                  <a:srgbClr val="FFFFFF"/>
                </a:solidFill>
              </a:endParaRPr>
            </a:p>
          </p:txBody>
        </p:sp>
      </p:grpSp>
      <p:sp>
        <p:nvSpPr>
          <p:cNvPr id="35" name="Freeform 34"/>
          <p:cNvSpPr/>
          <p:nvPr/>
        </p:nvSpPr>
        <p:spPr>
          <a:xfrm flipH="1">
            <a:off x="3566162" y="1251290"/>
            <a:ext cx="899707" cy="682229"/>
          </a:xfrm>
          <a:custGeom>
            <a:avLst/>
            <a:gdLst/>
            <a:ahLst/>
            <a:cxnLst/>
            <a:rect l="l" t="t" r="r" b="b"/>
            <a:pathLst>
              <a:path w="852601" h="862013">
                <a:moveTo>
                  <a:pt x="339688" y="551599"/>
                </a:moveTo>
                <a:cubicBezTo>
                  <a:pt x="336200" y="550660"/>
                  <a:pt x="332712" y="552270"/>
                  <a:pt x="329224" y="555624"/>
                </a:cubicBezTo>
                <a:lnTo>
                  <a:pt x="318760" y="571723"/>
                </a:lnTo>
                <a:cubicBezTo>
                  <a:pt x="317687" y="576955"/>
                  <a:pt x="320907" y="582723"/>
                  <a:pt x="322785" y="587017"/>
                </a:cubicBezTo>
                <a:cubicBezTo>
                  <a:pt x="324663" y="591310"/>
                  <a:pt x="331370" y="593322"/>
                  <a:pt x="330029" y="597481"/>
                </a:cubicBezTo>
                <a:cubicBezTo>
                  <a:pt x="328687" y="601641"/>
                  <a:pt x="318894" y="606739"/>
                  <a:pt x="314735" y="611971"/>
                </a:cubicBezTo>
                <a:cubicBezTo>
                  <a:pt x="310576" y="617202"/>
                  <a:pt x="308563" y="620288"/>
                  <a:pt x="303465" y="629679"/>
                </a:cubicBezTo>
                <a:cubicBezTo>
                  <a:pt x="298368" y="639070"/>
                  <a:pt x="292062" y="654230"/>
                  <a:pt x="284147" y="668317"/>
                </a:cubicBezTo>
                <a:cubicBezTo>
                  <a:pt x="276232" y="682403"/>
                  <a:pt x="261340" y="698637"/>
                  <a:pt x="255974" y="714199"/>
                </a:cubicBezTo>
                <a:cubicBezTo>
                  <a:pt x="250607" y="729762"/>
                  <a:pt x="252754" y="745727"/>
                  <a:pt x="251949" y="761691"/>
                </a:cubicBezTo>
                <a:cubicBezTo>
                  <a:pt x="251144" y="777656"/>
                  <a:pt x="252351" y="796036"/>
                  <a:pt x="251143" y="809989"/>
                </a:cubicBezTo>
                <a:cubicBezTo>
                  <a:pt x="249937" y="823941"/>
                  <a:pt x="245778" y="837357"/>
                  <a:pt x="244705" y="845406"/>
                </a:cubicBezTo>
                <a:cubicBezTo>
                  <a:pt x="243631" y="853456"/>
                  <a:pt x="243095" y="855603"/>
                  <a:pt x="244705" y="858286"/>
                </a:cubicBezTo>
                <a:cubicBezTo>
                  <a:pt x="245509" y="859627"/>
                  <a:pt x="245945" y="860298"/>
                  <a:pt x="247169" y="860701"/>
                </a:cubicBezTo>
                <a:lnTo>
                  <a:pt x="254364" y="861506"/>
                </a:lnTo>
                <a:cubicBezTo>
                  <a:pt x="262279" y="862042"/>
                  <a:pt x="277305" y="862310"/>
                  <a:pt x="292196" y="861506"/>
                </a:cubicBezTo>
                <a:cubicBezTo>
                  <a:pt x="307088" y="860701"/>
                  <a:pt x="333115" y="857749"/>
                  <a:pt x="343713" y="856676"/>
                </a:cubicBezTo>
                <a:cubicBezTo>
                  <a:pt x="343747" y="856684"/>
                  <a:pt x="352708" y="858681"/>
                  <a:pt x="355787" y="855066"/>
                </a:cubicBezTo>
                <a:cubicBezTo>
                  <a:pt x="358873" y="851443"/>
                  <a:pt x="361288" y="845675"/>
                  <a:pt x="362227" y="834943"/>
                </a:cubicBezTo>
                <a:cubicBezTo>
                  <a:pt x="363166" y="824210"/>
                  <a:pt x="363568" y="808110"/>
                  <a:pt x="361422" y="790670"/>
                </a:cubicBezTo>
                <a:cubicBezTo>
                  <a:pt x="359275" y="773229"/>
                  <a:pt x="352299" y="754313"/>
                  <a:pt x="349348" y="730298"/>
                </a:cubicBezTo>
                <a:cubicBezTo>
                  <a:pt x="346396" y="706284"/>
                  <a:pt x="344786" y="666439"/>
                  <a:pt x="343713" y="646584"/>
                </a:cubicBezTo>
                <a:cubicBezTo>
                  <a:pt x="342640" y="626728"/>
                  <a:pt x="342505" y="619886"/>
                  <a:pt x="342908" y="611166"/>
                </a:cubicBezTo>
                <a:cubicBezTo>
                  <a:pt x="343310" y="602446"/>
                  <a:pt x="343713" y="600299"/>
                  <a:pt x="346128" y="594262"/>
                </a:cubicBezTo>
                <a:cubicBezTo>
                  <a:pt x="348543" y="588224"/>
                  <a:pt x="356727" y="580443"/>
                  <a:pt x="357397" y="574942"/>
                </a:cubicBezTo>
                <a:cubicBezTo>
                  <a:pt x="358068" y="569442"/>
                  <a:pt x="353104" y="565149"/>
                  <a:pt x="350153" y="561258"/>
                </a:cubicBezTo>
                <a:close/>
                <a:moveTo>
                  <a:pt x="287206" y="507649"/>
                </a:moveTo>
                <a:cubicBezTo>
                  <a:pt x="299226" y="561742"/>
                  <a:pt x="284201" y="574621"/>
                  <a:pt x="274326" y="617123"/>
                </a:cubicBezTo>
                <a:cubicBezTo>
                  <a:pt x="272445" y="626330"/>
                  <a:pt x="270907" y="639718"/>
                  <a:pt x="269556" y="655910"/>
                </a:cubicBezTo>
                <a:cubicBezTo>
                  <a:pt x="284442" y="632717"/>
                  <a:pt x="299146" y="601494"/>
                  <a:pt x="316184" y="596515"/>
                </a:cubicBezTo>
                <a:cubicBezTo>
                  <a:pt x="314038" y="589217"/>
                  <a:pt x="305451" y="583528"/>
                  <a:pt x="306524" y="574621"/>
                </a:cubicBezTo>
                <a:cubicBezTo>
                  <a:pt x="307147" y="563679"/>
                  <a:pt x="314405" y="554950"/>
                  <a:pt x="319949" y="545622"/>
                </a:cubicBezTo>
                <a:cubicBezTo>
                  <a:pt x="307786" y="539695"/>
                  <a:pt x="298568" y="525281"/>
                  <a:pt x="287206" y="507649"/>
                </a:cubicBezTo>
                <a:close/>
                <a:moveTo>
                  <a:pt x="264023" y="488330"/>
                </a:moveTo>
                <a:cubicBezTo>
                  <a:pt x="251143" y="497345"/>
                  <a:pt x="249856" y="517952"/>
                  <a:pt x="240841" y="523104"/>
                </a:cubicBezTo>
                <a:cubicBezTo>
                  <a:pt x="177304" y="542852"/>
                  <a:pt x="103463" y="578055"/>
                  <a:pt x="46365" y="613259"/>
                </a:cubicBezTo>
                <a:cubicBezTo>
                  <a:pt x="17601" y="630002"/>
                  <a:pt x="12021" y="649320"/>
                  <a:pt x="6440" y="682806"/>
                </a:cubicBezTo>
                <a:lnTo>
                  <a:pt x="0" y="793568"/>
                </a:lnTo>
                <a:cubicBezTo>
                  <a:pt x="60532" y="849807"/>
                  <a:pt x="154551" y="840362"/>
                  <a:pt x="230537" y="859252"/>
                </a:cubicBezTo>
                <a:cubicBezTo>
                  <a:pt x="242128" y="755359"/>
                  <a:pt x="233113" y="597374"/>
                  <a:pt x="265311" y="542422"/>
                </a:cubicBezTo>
                <a:close/>
                <a:moveTo>
                  <a:pt x="473953" y="438101"/>
                </a:moveTo>
                <a:cubicBezTo>
                  <a:pt x="449999" y="476765"/>
                  <a:pt x="395188" y="525303"/>
                  <a:pt x="351750" y="542487"/>
                </a:cubicBezTo>
                <a:cubicBezTo>
                  <a:pt x="364570" y="553524"/>
                  <a:pt x="369815" y="566569"/>
                  <a:pt x="371564" y="577519"/>
                </a:cubicBezTo>
                <a:cubicBezTo>
                  <a:pt x="371510" y="588305"/>
                  <a:pt x="363407" y="591042"/>
                  <a:pt x="359329" y="597803"/>
                </a:cubicBezTo>
                <a:cubicBezTo>
                  <a:pt x="364928" y="652187"/>
                  <a:pt x="355161" y="701683"/>
                  <a:pt x="373271" y="759858"/>
                </a:cubicBezTo>
                <a:cubicBezTo>
                  <a:pt x="382583" y="726860"/>
                  <a:pt x="394118" y="694072"/>
                  <a:pt x="406981" y="659624"/>
                </a:cubicBezTo>
                <a:cubicBezTo>
                  <a:pt x="434458" y="598661"/>
                  <a:pt x="476100" y="510653"/>
                  <a:pt x="473953" y="438101"/>
                </a:cubicBezTo>
                <a:close/>
                <a:moveTo>
                  <a:pt x="444331" y="425221"/>
                </a:moveTo>
                <a:cubicBezTo>
                  <a:pt x="417365" y="457420"/>
                  <a:pt x="365446" y="490423"/>
                  <a:pt x="342908" y="490423"/>
                </a:cubicBezTo>
                <a:cubicBezTo>
                  <a:pt x="312722" y="489752"/>
                  <a:pt x="309100" y="473787"/>
                  <a:pt x="292196" y="465469"/>
                </a:cubicBezTo>
                <a:cubicBezTo>
                  <a:pt x="308026" y="468152"/>
                  <a:pt x="323455" y="474056"/>
                  <a:pt x="339687" y="473519"/>
                </a:cubicBezTo>
                <a:cubicBezTo>
                  <a:pt x="376180" y="473116"/>
                  <a:pt x="416695" y="446955"/>
                  <a:pt x="444331" y="425221"/>
                </a:cubicBezTo>
                <a:close/>
                <a:moveTo>
                  <a:pt x="488121" y="409767"/>
                </a:moveTo>
                <a:cubicBezTo>
                  <a:pt x="533198" y="465576"/>
                  <a:pt x="410846" y="692681"/>
                  <a:pt x="376072" y="855388"/>
                </a:cubicBezTo>
                <a:cubicBezTo>
                  <a:pt x="489409" y="838216"/>
                  <a:pt x="600169" y="850665"/>
                  <a:pt x="716082" y="803871"/>
                </a:cubicBezTo>
                <a:cubicBezTo>
                  <a:pt x="761588" y="800437"/>
                  <a:pt x="808382" y="816321"/>
                  <a:pt x="852601" y="793568"/>
                </a:cubicBezTo>
                <a:cubicBezTo>
                  <a:pt x="845303" y="743338"/>
                  <a:pt x="867627" y="646745"/>
                  <a:pt x="772750" y="588788"/>
                </a:cubicBezTo>
                <a:cubicBezTo>
                  <a:pt x="729391" y="552726"/>
                  <a:pt x="648681" y="519241"/>
                  <a:pt x="565395" y="492193"/>
                </a:cubicBezTo>
                <a:cubicBezTo>
                  <a:pt x="534486" y="468582"/>
                  <a:pt x="515167" y="433379"/>
                  <a:pt x="488121" y="409767"/>
                </a:cubicBezTo>
                <a:close/>
                <a:moveTo>
                  <a:pt x="314467" y="207"/>
                </a:moveTo>
                <a:cubicBezTo>
                  <a:pt x="302302" y="922"/>
                  <a:pt x="297652" y="4142"/>
                  <a:pt x="285488" y="8794"/>
                </a:cubicBezTo>
                <a:cubicBezTo>
                  <a:pt x="273325" y="13444"/>
                  <a:pt x="253826" y="20241"/>
                  <a:pt x="241485" y="28112"/>
                </a:cubicBezTo>
                <a:cubicBezTo>
                  <a:pt x="229142" y="35983"/>
                  <a:pt x="220377" y="43853"/>
                  <a:pt x="211433" y="56017"/>
                </a:cubicBezTo>
                <a:cubicBezTo>
                  <a:pt x="202489" y="68180"/>
                  <a:pt x="193724" y="87320"/>
                  <a:pt x="187821" y="101095"/>
                </a:cubicBezTo>
                <a:cubicBezTo>
                  <a:pt x="181919" y="114868"/>
                  <a:pt x="176194" y="121665"/>
                  <a:pt x="176015" y="138658"/>
                </a:cubicBezTo>
                <a:cubicBezTo>
                  <a:pt x="175837" y="155652"/>
                  <a:pt x="182813" y="191249"/>
                  <a:pt x="186748" y="203055"/>
                </a:cubicBezTo>
                <a:lnTo>
                  <a:pt x="187520" y="204007"/>
                </a:lnTo>
                <a:lnTo>
                  <a:pt x="191027" y="223887"/>
                </a:lnTo>
                <a:cubicBezTo>
                  <a:pt x="185407" y="222374"/>
                  <a:pt x="182724" y="232570"/>
                  <a:pt x="184333" y="241693"/>
                </a:cubicBezTo>
                <a:cubicBezTo>
                  <a:pt x="185943" y="250815"/>
                  <a:pt x="196139" y="265841"/>
                  <a:pt x="198822" y="277111"/>
                </a:cubicBezTo>
                <a:cubicBezTo>
                  <a:pt x="201505" y="288380"/>
                  <a:pt x="200298" y="299113"/>
                  <a:pt x="200432" y="309308"/>
                </a:cubicBezTo>
                <a:cubicBezTo>
                  <a:pt x="200566" y="319505"/>
                  <a:pt x="198285" y="331579"/>
                  <a:pt x="199627" y="338286"/>
                </a:cubicBezTo>
                <a:cubicBezTo>
                  <a:pt x="200969" y="344995"/>
                  <a:pt x="205128" y="346739"/>
                  <a:pt x="208482" y="349556"/>
                </a:cubicBezTo>
                <a:cubicBezTo>
                  <a:pt x="211836" y="352373"/>
                  <a:pt x="218275" y="343385"/>
                  <a:pt x="219751" y="355191"/>
                </a:cubicBezTo>
                <a:cubicBezTo>
                  <a:pt x="221227" y="366997"/>
                  <a:pt x="229008" y="395036"/>
                  <a:pt x="236655" y="410733"/>
                </a:cubicBezTo>
                <a:cubicBezTo>
                  <a:pt x="244301" y="426429"/>
                  <a:pt x="259999" y="439845"/>
                  <a:pt x="265633" y="449370"/>
                </a:cubicBezTo>
                <a:cubicBezTo>
                  <a:pt x="271268" y="458895"/>
                  <a:pt x="266438" y="460372"/>
                  <a:pt x="270463" y="467884"/>
                </a:cubicBezTo>
                <a:cubicBezTo>
                  <a:pt x="274487" y="475397"/>
                  <a:pt x="281330" y="484118"/>
                  <a:pt x="289781" y="494447"/>
                </a:cubicBezTo>
                <a:cubicBezTo>
                  <a:pt x="298233" y="504778"/>
                  <a:pt x="311246" y="524097"/>
                  <a:pt x="321175" y="529866"/>
                </a:cubicBezTo>
                <a:cubicBezTo>
                  <a:pt x="331102" y="535634"/>
                  <a:pt x="333383" y="536305"/>
                  <a:pt x="349348" y="529061"/>
                </a:cubicBezTo>
                <a:cubicBezTo>
                  <a:pt x="365312" y="521816"/>
                  <a:pt x="399657" y="499680"/>
                  <a:pt x="416963" y="486398"/>
                </a:cubicBezTo>
                <a:cubicBezTo>
                  <a:pt x="434270" y="473116"/>
                  <a:pt x="444331" y="459298"/>
                  <a:pt x="453186" y="449370"/>
                </a:cubicBezTo>
                <a:cubicBezTo>
                  <a:pt x="462041" y="439443"/>
                  <a:pt x="466601" y="434746"/>
                  <a:pt x="470089" y="426831"/>
                </a:cubicBezTo>
                <a:cubicBezTo>
                  <a:pt x="473577" y="418917"/>
                  <a:pt x="471968" y="409526"/>
                  <a:pt x="474115" y="401878"/>
                </a:cubicBezTo>
                <a:cubicBezTo>
                  <a:pt x="476261" y="394231"/>
                  <a:pt x="480688" y="390341"/>
                  <a:pt x="482969" y="380949"/>
                </a:cubicBezTo>
                <a:cubicBezTo>
                  <a:pt x="485249" y="371558"/>
                  <a:pt x="484847" y="352373"/>
                  <a:pt x="487799" y="345532"/>
                </a:cubicBezTo>
                <a:cubicBezTo>
                  <a:pt x="490750" y="338689"/>
                  <a:pt x="496788" y="343787"/>
                  <a:pt x="500678" y="339897"/>
                </a:cubicBezTo>
                <a:cubicBezTo>
                  <a:pt x="504569" y="336006"/>
                  <a:pt x="508996" y="331177"/>
                  <a:pt x="511142" y="322188"/>
                </a:cubicBezTo>
                <a:cubicBezTo>
                  <a:pt x="513289" y="313199"/>
                  <a:pt x="511947" y="299515"/>
                  <a:pt x="513557" y="285965"/>
                </a:cubicBezTo>
                <a:cubicBezTo>
                  <a:pt x="515167" y="272415"/>
                  <a:pt x="520131" y="252425"/>
                  <a:pt x="520801" y="240888"/>
                </a:cubicBezTo>
                <a:cubicBezTo>
                  <a:pt x="521473" y="229350"/>
                  <a:pt x="520131" y="222508"/>
                  <a:pt x="517582" y="216739"/>
                </a:cubicBezTo>
                <a:lnTo>
                  <a:pt x="505508" y="206274"/>
                </a:lnTo>
                <a:cubicBezTo>
                  <a:pt x="501482" y="205872"/>
                  <a:pt x="496788" y="209897"/>
                  <a:pt x="493433" y="214324"/>
                </a:cubicBezTo>
                <a:cubicBezTo>
                  <a:pt x="490893" y="217677"/>
                  <a:pt x="489661" y="229032"/>
                  <a:pt x="487525" y="232413"/>
                </a:cubicBezTo>
                <a:lnTo>
                  <a:pt x="486770" y="223363"/>
                </a:lnTo>
                <a:lnTo>
                  <a:pt x="488165" y="195462"/>
                </a:lnTo>
                <a:lnTo>
                  <a:pt x="490482" y="198762"/>
                </a:lnTo>
                <a:cubicBezTo>
                  <a:pt x="492986" y="200550"/>
                  <a:pt x="494238" y="195185"/>
                  <a:pt x="496921" y="194469"/>
                </a:cubicBezTo>
                <a:cubicBezTo>
                  <a:pt x="499604" y="193754"/>
                  <a:pt x="503002" y="193217"/>
                  <a:pt x="506581" y="194469"/>
                </a:cubicBezTo>
                <a:cubicBezTo>
                  <a:pt x="510158" y="195721"/>
                  <a:pt x="516419" y="202876"/>
                  <a:pt x="518386" y="201981"/>
                </a:cubicBezTo>
                <a:cubicBezTo>
                  <a:pt x="519370" y="201534"/>
                  <a:pt x="519370" y="200774"/>
                  <a:pt x="519124" y="198896"/>
                </a:cubicBezTo>
                <a:lnTo>
                  <a:pt x="518386" y="189102"/>
                </a:lnTo>
                <a:cubicBezTo>
                  <a:pt x="518391" y="189053"/>
                  <a:pt x="521603" y="159753"/>
                  <a:pt x="518386" y="142952"/>
                </a:cubicBezTo>
                <a:cubicBezTo>
                  <a:pt x="515167" y="126137"/>
                  <a:pt x="506760" y="103778"/>
                  <a:pt x="499068" y="88215"/>
                </a:cubicBezTo>
                <a:cubicBezTo>
                  <a:pt x="491376" y="72652"/>
                  <a:pt x="479213" y="57627"/>
                  <a:pt x="472236" y="49577"/>
                </a:cubicBezTo>
                <a:cubicBezTo>
                  <a:pt x="465260" y="41528"/>
                  <a:pt x="466154" y="44211"/>
                  <a:pt x="457210" y="39918"/>
                </a:cubicBezTo>
                <a:cubicBezTo>
                  <a:pt x="448266" y="35625"/>
                  <a:pt x="435030" y="29722"/>
                  <a:pt x="418572" y="23818"/>
                </a:cubicBezTo>
                <a:cubicBezTo>
                  <a:pt x="402117" y="17916"/>
                  <a:pt x="375821" y="8435"/>
                  <a:pt x="358470" y="4500"/>
                </a:cubicBezTo>
                <a:cubicBezTo>
                  <a:pt x="341118" y="564"/>
                  <a:pt x="326630" y="-509"/>
                  <a:pt x="314467" y="207"/>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defTabSz="685862"/>
            <a:endParaRPr lang="en-US">
              <a:solidFill>
                <a:srgbClr val="FFFFFF"/>
              </a:solidFill>
            </a:endParaRPr>
          </a:p>
        </p:txBody>
      </p:sp>
      <p:grpSp>
        <p:nvGrpSpPr>
          <p:cNvPr id="36" name="Group 35"/>
          <p:cNvGrpSpPr/>
          <p:nvPr/>
        </p:nvGrpSpPr>
        <p:grpSpPr>
          <a:xfrm>
            <a:off x="4807295" y="1232621"/>
            <a:ext cx="923991" cy="719567"/>
            <a:chOff x="768804" y="653779"/>
            <a:chExt cx="2917371" cy="3029243"/>
          </a:xfrm>
          <a:solidFill>
            <a:schemeClr val="tx1"/>
          </a:solidFill>
        </p:grpSpPr>
        <p:sp>
          <p:nvSpPr>
            <p:cNvPr id="37" name="Freeform 36"/>
            <p:cNvSpPr/>
            <p:nvPr/>
          </p:nvSpPr>
          <p:spPr>
            <a:xfrm>
              <a:off x="1782365" y="653779"/>
              <a:ext cx="1903810" cy="2396969"/>
            </a:xfrm>
            <a:custGeom>
              <a:avLst/>
              <a:gdLst/>
              <a:ahLst/>
              <a:cxnLst/>
              <a:rect l="l" t="t" r="r" b="b"/>
              <a:pathLst>
                <a:path w="1903810" h="2396969">
                  <a:moveTo>
                    <a:pt x="875983" y="2104947"/>
                  </a:moveTo>
                  <a:cubicBezTo>
                    <a:pt x="889891" y="2104947"/>
                    <a:pt x="901166" y="2116222"/>
                    <a:pt x="901166" y="2130130"/>
                  </a:cubicBezTo>
                  <a:cubicBezTo>
                    <a:pt x="901166" y="2144038"/>
                    <a:pt x="889891" y="2155313"/>
                    <a:pt x="875983" y="2155313"/>
                  </a:cubicBezTo>
                  <a:cubicBezTo>
                    <a:pt x="862075" y="2155313"/>
                    <a:pt x="850800" y="2144038"/>
                    <a:pt x="850800" y="2130130"/>
                  </a:cubicBezTo>
                  <a:cubicBezTo>
                    <a:pt x="850800" y="2116222"/>
                    <a:pt x="862075" y="2104947"/>
                    <a:pt x="875983" y="2104947"/>
                  </a:cubicBezTo>
                  <a:close/>
                  <a:moveTo>
                    <a:pt x="880046" y="2093475"/>
                  </a:moveTo>
                  <a:cubicBezTo>
                    <a:pt x="857729" y="2093475"/>
                    <a:pt x="839638" y="2111567"/>
                    <a:pt x="839638" y="2133884"/>
                  </a:cubicBezTo>
                  <a:cubicBezTo>
                    <a:pt x="839638" y="2156201"/>
                    <a:pt x="857729" y="2174292"/>
                    <a:pt x="880046" y="2174292"/>
                  </a:cubicBezTo>
                  <a:cubicBezTo>
                    <a:pt x="902363" y="2174292"/>
                    <a:pt x="920454" y="2156201"/>
                    <a:pt x="920454" y="2133884"/>
                  </a:cubicBezTo>
                  <a:cubicBezTo>
                    <a:pt x="920454" y="2111567"/>
                    <a:pt x="902363" y="2093475"/>
                    <a:pt x="880046" y="2093475"/>
                  </a:cubicBezTo>
                  <a:close/>
                  <a:moveTo>
                    <a:pt x="646048" y="1585312"/>
                  </a:moveTo>
                  <a:cubicBezTo>
                    <a:pt x="765009" y="1656689"/>
                    <a:pt x="940052" y="1692378"/>
                    <a:pt x="1125292" y="1592960"/>
                  </a:cubicBezTo>
                  <a:lnTo>
                    <a:pt x="1089604" y="1671984"/>
                  </a:lnTo>
                  <a:lnTo>
                    <a:pt x="880572" y="1977885"/>
                  </a:lnTo>
                  <a:lnTo>
                    <a:pt x="671539" y="1661787"/>
                  </a:lnTo>
                  <a:close/>
                  <a:moveTo>
                    <a:pt x="603689" y="1487934"/>
                  </a:moveTo>
                  <a:lnTo>
                    <a:pt x="649453" y="1671984"/>
                  </a:lnTo>
                  <a:lnTo>
                    <a:pt x="876153" y="2015613"/>
                  </a:lnTo>
                  <a:lnTo>
                    <a:pt x="1116919" y="1680142"/>
                  </a:lnTo>
                  <a:lnTo>
                    <a:pt x="1174385" y="1492522"/>
                  </a:lnTo>
                  <a:cubicBezTo>
                    <a:pt x="1346014" y="1544186"/>
                    <a:pt x="1669770" y="1575455"/>
                    <a:pt x="1689273" y="1647512"/>
                  </a:cubicBezTo>
                  <a:cubicBezTo>
                    <a:pt x="1772488" y="1775311"/>
                    <a:pt x="1832298" y="2041784"/>
                    <a:pt x="1903810" y="2238920"/>
                  </a:cubicBezTo>
                  <a:lnTo>
                    <a:pt x="1751992" y="2396969"/>
                  </a:lnTo>
                  <a:cubicBezTo>
                    <a:pt x="1764994" y="2254215"/>
                    <a:pt x="1760614" y="2187427"/>
                    <a:pt x="1633192" y="2060988"/>
                  </a:cubicBezTo>
                  <a:cubicBezTo>
                    <a:pt x="1717025" y="2173111"/>
                    <a:pt x="1717957" y="2270617"/>
                    <a:pt x="1699470" y="2347922"/>
                  </a:cubicBezTo>
                  <a:lnTo>
                    <a:pt x="706039" y="2148250"/>
                  </a:lnTo>
                  <a:lnTo>
                    <a:pt x="621917" y="1799013"/>
                  </a:lnTo>
                  <a:lnTo>
                    <a:pt x="0" y="1711727"/>
                  </a:lnTo>
                  <a:cubicBezTo>
                    <a:pt x="11777" y="1679146"/>
                    <a:pt x="23746" y="1654081"/>
                    <a:pt x="36004" y="1639355"/>
                  </a:cubicBezTo>
                  <a:cubicBezTo>
                    <a:pt x="95815" y="1556422"/>
                    <a:pt x="422958" y="1534159"/>
                    <a:pt x="603689" y="1487934"/>
                  </a:cubicBezTo>
                  <a:close/>
                  <a:moveTo>
                    <a:pt x="1093852" y="1236076"/>
                  </a:moveTo>
                  <a:cubicBezTo>
                    <a:pt x="1060430" y="1451340"/>
                    <a:pt x="1080115" y="1462245"/>
                    <a:pt x="1109572" y="1556848"/>
                  </a:cubicBezTo>
                  <a:cubicBezTo>
                    <a:pt x="940477" y="1638421"/>
                    <a:pt x="845733" y="1613779"/>
                    <a:pt x="668141" y="1557697"/>
                  </a:cubicBezTo>
                  <a:cubicBezTo>
                    <a:pt x="710060" y="1425706"/>
                    <a:pt x="699297" y="1349373"/>
                    <a:pt x="671539" y="1254770"/>
                  </a:cubicBezTo>
                  <a:lnTo>
                    <a:pt x="711794" y="1275405"/>
                  </a:lnTo>
                  <a:cubicBezTo>
                    <a:pt x="732903" y="1290967"/>
                    <a:pt x="756166" y="1307340"/>
                    <a:pt x="767954" y="1315515"/>
                  </a:cubicBezTo>
                  <a:cubicBezTo>
                    <a:pt x="792560" y="1332581"/>
                    <a:pt x="796926" y="1335756"/>
                    <a:pt x="815579" y="1341709"/>
                  </a:cubicBezTo>
                  <a:cubicBezTo>
                    <a:pt x="834232" y="1347662"/>
                    <a:pt x="859632" y="1351234"/>
                    <a:pt x="879873" y="1351234"/>
                  </a:cubicBezTo>
                  <a:cubicBezTo>
                    <a:pt x="900114" y="1351234"/>
                    <a:pt x="917179" y="1349250"/>
                    <a:pt x="937023" y="1341709"/>
                  </a:cubicBezTo>
                  <a:cubicBezTo>
                    <a:pt x="956867" y="1334168"/>
                    <a:pt x="975123" y="1323056"/>
                    <a:pt x="998935" y="1305990"/>
                  </a:cubicBezTo>
                  <a:cubicBezTo>
                    <a:pt x="1011371" y="1297077"/>
                    <a:pt x="1032143" y="1281237"/>
                    <a:pt x="1049513" y="1267076"/>
                  </a:cubicBezTo>
                  <a:cubicBezTo>
                    <a:pt x="1063614" y="1258021"/>
                    <a:pt x="1078248" y="1247577"/>
                    <a:pt x="1093852" y="1236076"/>
                  </a:cubicBezTo>
                  <a:close/>
                  <a:moveTo>
                    <a:pt x="823416" y="563"/>
                  </a:moveTo>
                  <a:cubicBezTo>
                    <a:pt x="874625" y="3337"/>
                    <a:pt x="924758" y="16509"/>
                    <a:pt x="969794" y="43062"/>
                  </a:cubicBezTo>
                  <a:cubicBezTo>
                    <a:pt x="1012280" y="24368"/>
                    <a:pt x="1054767" y="-1973"/>
                    <a:pt x="1224711" y="129735"/>
                  </a:cubicBezTo>
                  <a:cubicBezTo>
                    <a:pt x="1437143" y="309026"/>
                    <a:pt x="1356419" y="485769"/>
                    <a:pt x="1349621" y="659962"/>
                  </a:cubicBezTo>
                  <a:cubicBezTo>
                    <a:pt x="1358344" y="817748"/>
                    <a:pt x="1281727" y="927322"/>
                    <a:pt x="1254961" y="1028864"/>
                  </a:cubicBezTo>
                  <a:cubicBezTo>
                    <a:pt x="1240091" y="1123608"/>
                    <a:pt x="1261051" y="1192561"/>
                    <a:pt x="1285892" y="1256979"/>
                  </a:cubicBezTo>
                  <a:cubicBezTo>
                    <a:pt x="1307135" y="1353847"/>
                    <a:pt x="1460935" y="1463802"/>
                    <a:pt x="1575647" y="1508837"/>
                  </a:cubicBezTo>
                  <a:cubicBezTo>
                    <a:pt x="1575228" y="1509416"/>
                    <a:pt x="1574804" y="1509994"/>
                    <a:pt x="1574228" y="1510461"/>
                  </a:cubicBezTo>
                  <a:cubicBezTo>
                    <a:pt x="1447201" y="1502926"/>
                    <a:pt x="1385485" y="1499323"/>
                    <a:pt x="1306794" y="1429934"/>
                  </a:cubicBezTo>
                  <a:cubicBezTo>
                    <a:pt x="1357452" y="1485471"/>
                    <a:pt x="1421036" y="1516896"/>
                    <a:pt x="1475620" y="1534304"/>
                  </a:cubicBezTo>
                  <a:lnTo>
                    <a:pt x="1160216" y="1460525"/>
                  </a:lnTo>
                  <a:lnTo>
                    <a:pt x="1136440" y="1538110"/>
                  </a:lnTo>
                  <a:cubicBezTo>
                    <a:pt x="1107464" y="1435291"/>
                    <a:pt x="1090028" y="1385894"/>
                    <a:pt x="1123821" y="1130387"/>
                  </a:cubicBezTo>
                  <a:cubicBezTo>
                    <a:pt x="1157642" y="1063780"/>
                    <a:pt x="1194915" y="1019025"/>
                    <a:pt x="1223946" y="912452"/>
                  </a:cubicBezTo>
                  <a:cubicBezTo>
                    <a:pt x="1238816" y="914576"/>
                    <a:pt x="1246038" y="914151"/>
                    <a:pt x="1257085" y="915001"/>
                  </a:cubicBezTo>
                  <a:cubicBezTo>
                    <a:pt x="1263033" y="918825"/>
                    <a:pt x="1295748" y="849996"/>
                    <a:pt x="1316991" y="758226"/>
                  </a:cubicBezTo>
                  <a:cubicBezTo>
                    <a:pt x="1327187" y="713191"/>
                    <a:pt x="1351404" y="635017"/>
                    <a:pt x="1297872" y="619297"/>
                  </a:cubicBezTo>
                  <a:lnTo>
                    <a:pt x="1266614" y="616617"/>
                  </a:lnTo>
                  <a:lnTo>
                    <a:pt x="1254513" y="556284"/>
                  </a:lnTo>
                  <a:cubicBezTo>
                    <a:pt x="1257127" y="572582"/>
                    <a:pt x="1258711" y="590007"/>
                    <a:pt x="1259145" y="608632"/>
                  </a:cubicBezTo>
                  <a:lnTo>
                    <a:pt x="1262844" y="616294"/>
                  </a:lnTo>
                  <a:lnTo>
                    <a:pt x="1259632" y="616019"/>
                  </a:lnTo>
                  <a:cubicBezTo>
                    <a:pt x="1260161" y="619832"/>
                    <a:pt x="1260293" y="623710"/>
                    <a:pt x="1260399" y="627636"/>
                  </a:cubicBezTo>
                  <a:cubicBezTo>
                    <a:pt x="1276544" y="628337"/>
                    <a:pt x="1291413" y="618840"/>
                    <a:pt x="1308833" y="629737"/>
                  </a:cubicBezTo>
                  <a:cubicBezTo>
                    <a:pt x="1336025" y="646328"/>
                    <a:pt x="1310958" y="781456"/>
                    <a:pt x="1260399" y="882169"/>
                  </a:cubicBezTo>
                  <a:cubicBezTo>
                    <a:pt x="1246803" y="902728"/>
                    <a:pt x="1242129" y="896520"/>
                    <a:pt x="1219612" y="890313"/>
                  </a:cubicBezTo>
                  <a:cubicBezTo>
                    <a:pt x="1182649" y="1003410"/>
                    <a:pt x="1141862" y="1149078"/>
                    <a:pt x="934104" y="1275746"/>
                  </a:cubicBezTo>
                  <a:cubicBezTo>
                    <a:pt x="912437" y="1301985"/>
                    <a:pt x="828314" y="1297009"/>
                    <a:pt x="814294" y="1279819"/>
                  </a:cubicBezTo>
                  <a:cubicBezTo>
                    <a:pt x="577645" y="1165365"/>
                    <a:pt x="519440" y="993910"/>
                    <a:pt x="482901" y="884884"/>
                  </a:cubicBezTo>
                  <a:cubicBezTo>
                    <a:pt x="468456" y="880360"/>
                    <a:pt x="457834" y="896230"/>
                    <a:pt x="439565" y="871312"/>
                  </a:cubicBezTo>
                  <a:cubicBezTo>
                    <a:pt x="366064" y="757608"/>
                    <a:pt x="358841" y="661749"/>
                    <a:pt x="375836" y="648737"/>
                  </a:cubicBezTo>
                  <a:cubicBezTo>
                    <a:pt x="391980" y="638785"/>
                    <a:pt x="401752" y="636480"/>
                    <a:pt x="422995" y="639273"/>
                  </a:cubicBezTo>
                  <a:cubicBezTo>
                    <a:pt x="437015" y="355564"/>
                    <a:pt x="943026" y="423640"/>
                    <a:pt x="946851" y="162873"/>
                  </a:cubicBezTo>
                  <a:cubicBezTo>
                    <a:pt x="1035188" y="293813"/>
                    <a:pt x="1191816" y="298190"/>
                    <a:pt x="1242980" y="497075"/>
                  </a:cubicBezTo>
                  <a:cubicBezTo>
                    <a:pt x="1231455" y="435864"/>
                    <a:pt x="1217589" y="378837"/>
                    <a:pt x="1193356" y="352908"/>
                  </a:cubicBezTo>
                  <a:cubicBezTo>
                    <a:pt x="1164040" y="290878"/>
                    <a:pt x="957557" y="193160"/>
                    <a:pt x="956283" y="151523"/>
                  </a:cubicBezTo>
                  <a:cubicBezTo>
                    <a:pt x="948635" y="87794"/>
                    <a:pt x="966480" y="80146"/>
                    <a:pt x="971578" y="44458"/>
                  </a:cubicBezTo>
                  <a:cubicBezTo>
                    <a:pt x="962231" y="83545"/>
                    <a:pt x="942687" y="75473"/>
                    <a:pt x="943537" y="161720"/>
                  </a:cubicBezTo>
                  <a:lnTo>
                    <a:pt x="945480" y="168381"/>
                  </a:lnTo>
                  <a:cubicBezTo>
                    <a:pt x="944823" y="165115"/>
                    <a:pt x="943592" y="161963"/>
                    <a:pt x="942262" y="158746"/>
                  </a:cubicBezTo>
                  <a:cubicBezTo>
                    <a:pt x="917026" y="369978"/>
                    <a:pt x="441277" y="358424"/>
                    <a:pt x="425056" y="624044"/>
                  </a:cubicBezTo>
                  <a:lnTo>
                    <a:pt x="417132" y="625669"/>
                  </a:lnTo>
                  <a:lnTo>
                    <a:pt x="368698" y="637141"/>
                  </a:lnTo>
                  <a:cubicBezTo>
                    <a:pt x="342356" y="663907"/>
                    <a:pt x="366998" y="787542"/>
                    <a:pt x="438800" y="885685"/>
                  </a:cubicBezTo>
                  <a:cubicBezTo>
                    <a:pt x="448572" y="904379"/>
                    <a:pt x="463442" y="900131"/>
                    <a:pt x="475763" y="907353"/>
                  </a:cubicBezTo>
                  <a:cubicBezTo>
                    <a:pt x="499131" y="957487"/>
                    <a:pt x="522498" y="1015268"/>
                    <a:pt x="545865" y="1057754"/>
                  </a:cubicBezTo>
                  <a:cubicBezTo>
                    <a:pt x="578580" y="1107888"/>
                    <a:pt x="606196" y="1137629"/>
                    <a:pt x="636361" y="1177566"/>
                  </a:cubicBezTo>
                  <a:lnTo>
                    <a:pt x="648064" y="1190439"/>
                  </a:lnTo>
                  <a:cubicBezTo>
                    <a:pt x="669838" y="1291774"/>
                    <a:pt x="671744" y="1395950"/>
                    <a:pt x="639315" y="1531026"/>
                  </a:cubicBezTo>
                  <a:lnTo>
                    <a:pt x="619792" y="1460525"/>
                  </a:lnTo>
                  <a:lnTo>
                    <a:pt x="370355" y="1513236"/>
                  </a:lnTo>
                  <a:cubicBezTo>
                    <a:pt x="402229" y="1496726"/>
                    <a:pt x="433219" y="1473829"/>
                    <a:pt x="460468" y="1443955"/>
                  </a:cubicBezTo>
                  <a:cubicBezTo>
                    <a:pt x="383609" y="1511727"/>
                    <a:pt x="322945" y="1516742"/>
                    <a:pt x="201804" y="1523951"/>
                  </a:cubicBezTo>
                  <a:cubicBezTo>
                    <a:pt x="200963" y="1523288"/>
                    <a:pt x="200436" y="1522436"/>
                    <a:pt x="199944" y="1521583"/>
                  </a:cubicBezTo>
                  <a:cubicBezTo>
                    <a:pt x="285766" y="1479096"/>
                    <a:pt x="448913" y="1488444"/>
                    <a:pt x="478653" y="1234376"/>
                  </a:cubicBezTo>
                  <a:cubicBezTo>
                    <a:pt x="504145" y="1092047"/>
                    <a:pt x="315081" y="889387"/>
                    <a:pt x="332501" y="629372"/>
                  </a:cubicBezTo>
                  <a:cubicBezTo>
                    <a:pt x="338449" y="405045"/>
                    <a:pt x="380085" y="246996"/>
                    <a:pt x="442115" y="175619"/>
                  </a:cubicBezTo>
                  <a:cubicBezTo>
                    <a:pt x="506482" y="77477"/>
                    <a:pt x="669788" y="-7762"/>
                    <a:pt x="823416" y="56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62"/>
              <a:endParaRPr lang="en-US">
                <a:solidFill>
                  <a:srgbClr val="FFFFFF"/>
                </a:solidFill>
              </a:endParaRPr>
            </a:p>
          </p:txBody>
        </p:sp>
        <p:sp>
          <p:nvSpPr>
            <p:cNvPr id="38" name="Freeform 37"/>
            <p:cNvSpPr/>
            <p:nvPr/>
          </p:nvSpPr>
          <p:spPr>
            <a:xfrm>
              <a:off x="768804" y="2244608"/>
              <a:ext cx="2698725" cy="1438414"/>
            </a:xfrm>
            <a:custGeom>
              <a:avLst/>
              <a:gdLst/>
              <a:ahLst/>
              <a:cxnLst/>
              <a:rect l="l" t="t" r="r" b="b"/>
              <a:pathLst>
                <a:path w="5041900" h="2687320">
                  <a:moveTo>
                    <a:pt x="3811019" y="2324020"/>
                  </a:moveTo>
                  <a:cubicBezTo>
                    <a:pt x="3797894" y="2323818"/>
                    <a:pt x="3781259" y="2327188"/>
                    <a:pt x="3764226" y="2334179"/>
                  </a:cubicBezTo>
                  <a:cubicBezTo>
                    <a:pt x="3730159" y="2348161"/>
                    <a:pt x="3707401" y="2371330"/>
                    <a:pt x="3713393" y="2385930"/>
                  </a:cubicBezTo>
                  <a:cubicBezTo>
                    <a:pt x="3719386" y="2400530"/>
                    <a:pt x="3751859" y="2401031"/>
                    <a:pt x="3785925" y="2387049"/>
                  </a:cubicBezTo>
                  <a:cubicBezTo>
                    <a:pt x="3819991" y="2373067"/>
                    <a:pt x="3842750" y="2349898"/>
                    <a:pt x="3836757" y="2335298"/>
                  </a:cubicBezTo>
                  <a:cubicBezTo>
                    <a:pt x="3833761" y="2327998"/>
                    <a:pt x="3824145" y="2324223"/>
                    <a:pt x="3811019" y="2324020"/>
                  </a:cubicBezTo>
                  <a:close/>
                  <a:moveTo>
                    <a:pt x="3977706" y="2224008"/>
                  </a:moveTo>
                  <a:cubicBezTo>
                    <a:pt x="3964581" y="2223806"/>
                    <a:pt x="3947946" y="2227176"/>
                    <a:pt x="3930913" y="2234167"/>
                  </a:cubicBezTo>
                  <a:cubicBezTo>
                    <a:pt x="3896846" y="2248149"/>
                    <a:pt x="3874088" y="2271318"/>
                    <a:pt x="3880080" y="2285918"/>
                  </a:cubicBezTo>
                  <a:cubicBezTo>
                    <a:pt x="3886073" y="2300518"/>
                    <a:pt x="3918546" y="2301019"/>
                    <a:pt x="3952612" y="2287037"/>
                  </a:cubicBezTo>
                  <a:cubicBezTo>
                    <a:pt x="3986678" y="2273055"/>
                    <a:pt x="4009437" y="2249886"/>
                    <a:pt x="4003444" y="2235286"/>
                  </a:cubicBezTo>
                  <a:cubicBezTo>
                    <a:pt x="4000448" y="2227986"/>
                    <a:pt x="3990832" y="2224211"/>
                    <a:pt x="3977706" y="2224008"/>
                  </a:cubicBezTo>
                  <a:close/>
                  <a:moveTo>
                    <a:pt x="3335431" y="2172198"/>
                  </a:moveTo>
                  <a:lnTo>
                    <a:pt x="3330410" y="2174926"/>
                  </a:lnTo>
                  <a:lnTo>
                    <a:pt x="3338121" y="2206556"/>
                  </a:lnTo>
                  <a:lnTo>
                    <a:pt x="3342857" y="2205412"/>
                  </a:lnTo>
                  <a:close/>
                  <a:moveTo>
                    <a:pt x="998538" y="2027239"/>
                  </a:moveTo>
                  <a:lnTo>
                    <a:pt x="1003301" y="2108201"/>
                  </a:lnTo>
                  <a:lnTo>
                    <a:pt x="1331913" y="2184401"/>
                  </a:lnTo>
                  <a:lnTo>
                    <a:pt x="1331913" y="2108201"/>
                  </a:lnTo>
                  <a:close/>
                  <a:moveTo>
                    <a:pt x="565150" y="1922464"/>
                  </a:moveTo>
                  <a:lnTo>
                    <a:pt x="569913" y="2003426"/>
                  </a:lnTo>
                  <a:lnTo>
                    <a:pt x="898525" y="2079626"/>
                  </a:lnTo>
                  <a:lnTo>
                    <a:pt x="898525" y="2003426"/>
                  </a:lnTo>
                  <a:close/>
                  <a:moveTo>
                    <a:pt x="3937000" y="1673225"/>
                  </a:moveTo>
                  <a:lnTo>
                    <a:pt x="3730625" y="1771650"/>
                  </a:lnTo>
                  <a:lnTo>
                    <a:pt x="3317875" y="1679575"/>
                  </a:lnTo>
                  <a:lnTo>
                    <a:pt x="3698875" y="1781175"/>
                  </a:lnTo>
                  <a:lnTo>
                    <a:pt x="3479800" y="1882775"/>
                  </a:lnTo>
                  <a:lnTo>
                    <a:pt x="3327400" y="1841500"/>
                  </a:lnTo>
                  <a:lnTo>
                    <a:pt x="3454400" y="1895475"/>
                  </a:lnTo>
                  <a:lnTo>
                    <a:pt x="3349625" y="1936750"/>
                  </a:lnTo>
                  <a:lnTo>
                    <a:pt x="3355975" y="1968500"/>
                  </a:lnTo>
                  <a:lnTo>
                    <a:pt x="3476625" y="1911350"/>
                  </a:lnTo>
                  <a:lnTo>
                    <a:pt x="3613150" y="1955800"/>
                  </a:lnTo>
                  <a:lnTo>
                    <a:pt x="3502025" y="1901825"/>
                  </a:lnTo>
                  <a:lnTo>
                    <a:pt x="3717925" y="1797050"/>
                  </a:lnTo>
                  <a:lnTo>
                    <a:pt x="3889375" y="1835150"/>
                  </a:lnTo>
                  <a:lnTo>
                    <a:pt x="3748881" y="1783556"/>
                  </a:lnTo>
                  <a:close/>
                  <a:moveTo>
                    <a:pt x="3217900" y="1415136"/>
                  </a:moveTo>
                  <a:lnTo>
                    <a:pt x="3230468" y="1468238"/>
                  </a:lnTo>
                  <a:lnTo>
                    <a:pt x="4248150" y="1676400"/>
                  </a:lnTo>
                  <a:lnTo>
                    <a:pt x="3390050" y="2142529"/>
                  </a:lnTo>
                  <a:lnTo>
                    <a:pt x="3401578" y="2191238"/>
                  </a:lnTo>
                  <a:lnTo>
                    <a:pt x="3403600" y="2190750"/>
                  </a:lnTo>
                  <a:lnTo>
                    <a:pt x="4362450" y="1663700"/>
                  </a:lnTo>
                  <a:close/>
                  <a:moveTo>
                    <a:pt x="3141123" y="1398462"/>
                  </a:moveTo>
                  <a:lnTo>
                    <a:pt x="3154337" y="1452666"/>
                  </a:lnTo>
                  <a:lnTo>
                    <a:pt x="3175513" y="1456997"/>
                  </a:lnTo>
                  <a:lnTo>
                    <a:pt x="3163512" y="1403325"/>
                  </a:lnTo>
                  <a:close/>
                  <a:moveTo>
                    <a:pt x="3141978" y="1307015"/>
                  </a:moveTo>
                  <a:lnTo>
                    <a:pt x="3124354" y="1329674"/>
                  </a:lnTo>
                  <a:lnTo>
                    <a:pt x="3129419" y="1350452"/>
                  </a:lnTo>
                  <a:lnTo>
                    <a:pt x="3152938" y="1356033"/>
                  </a:lnTo>
                  <a:close/>
                  <a:moveTo>
                    <a:pt x="3104335" y="1247557"/>
                  </a:moveTo>
                  <a:lnTo>
                    <a:pt x="3109966" y="1270657"/>
                  </a:lnTo>
                  <a:lnTo>
                    <a:pt x="3134509" y="1273614"/>
                  </a:lnTo>
                  <a:lnTo>
                    <a:pt x="3129188" y="1249816"/>
                  </a:lnTo>
                  <a:close/>
                  <a:moveTo>
                    <a:pt x="3352800" y="1206500"/>
                  </a:moveTo>
                  <a:lnTo>
                    <a:pt x="3185161" y="1276801"/>
                  </a:lnTo>
                  <a:lnTo>
                    <a:pt x="3196328" y="1323986"/>
                  </a:lnTo>
                  <a:lnTo>
                    <a:pt x="3217648" y="1296574"/>
                  </a:lnTo>
                  <a:lnTo>
                    <a:pt x="3367848" y="1233587"/>
                  </a:lnTo>
                  <a:lnTo>
                    <a:pt x="3648869" y="1296574"/>
                  </a:lnTo>
                  <a:lnTo>
                    <a:pt x="3469597" y="1408013"/>
                  </a:lnTo>
                  <a:lnTo>
                    <a:pt x="3201139" y="1344312"/>
                  </a:lnTo>
                  <a:lnTo>
                    <a:pt x="3206946" y="1368848"/>
                  </a:lnTo>
                  <a:lnTo>
                    <a:pt x="3486150" y="1435100"/>
                  </a:lnTo>
                  <a:lnTo>
                    <a:pt x="3721100" y="1289050"/>
                  </a:lnTo>
                  <a:close/>
                  <a:moveTo>
                    <a:pt x="3111036" y="1168633"/>
                  </a:moveTo>
                  <a:lnTo>
                    <a:pt x="3087913" y="1180194"/>
                  </a:lnTo>
                  <a:lnTo>
                    <a:pt x="3092654" y="1199641"/>
                  </a:lnTo>
                  <a:lnTo>
                    <a:pt x="3115512" y="1188651"/>
                  </a:lnTo>
                  <a:close/>
                  <a:moveTo>
                    <a:pt x="3158477" y="1164052"/>
                  </a:moveTo>
                  <a:lnTo>
                    <a:pt x="3163756" y="1186356"/>
                  </a:lnTo>
                  <a:lnTo>
                    <a:pt x="3246438" y="1205706"/>
                  </a:lnTo>
                  <a:lnTo>
                    <a:pt x="3175577" y="1236306"/>
                  </a:lnTo>
                  <a:lnTo>
                    <a:pt x="3180712" y="1258001"/>
                  </a:lnTo>
                  <a:lnTo>
                    <a:pt x="3310731" y="1198563"/>
                  </a:lnTo>
                  <a:close/>
                  <a:moveTo>
                    <a:pt x="1702082" y="1154113"/>
                  </a:moveTo>
                  <a:cubicBezTo>
                    <a:pt x="1626682" y="1154113"/>
                    <a:pt x="1565557" y="1215238"/>
                    <a:pt x="1565557" y="1290638"/>
                  </a:cubicBezTo>
                  <a:cubicBezTo>
                    <a:pt x="1565557" y="1366039"/>
                    <a:pt x="1626682" y="1427163"/>
                    <a:pt x="1702082" y="1427163"/>
                  </a:cubicBezTo>
                  <a:cubicBezTo>
                    <a:pt x="1714831" y="1427163"/>
                    <a:pt x="1727171" y="1425416"/>
                    <a:pt x="1738713" y="1421560"/>
                  </a:cubicBezTo>
                  <a:cubicBezTo>
                    <a:pt x="1737668" y="1421865"/>
                    <a:pt x="1736612" y="1421878"/>
                    <a:pt x="1735553" y="1421878"/>
                  </a:cubicBezTo>
                  <a:cubicBezTo>
                    <a:pt x="1669881" y="1421878"/>
                    <a:pt x="1616644" y="1368641"/>
                    <a:pt x="1616644" y="1302970"/>
                  </a:cubicBezTo>
                  <a:cubicBezTo>
                    <a:pt x="1616644" y="1237298"/>
                    <a:pt x="1669881" y="1184061"/>
                    <a:pt x="1735553" y="1184061"/>
                  </a:cubicBezTo>
                  <a:cubicBezTo>
                    <a:pt x="1766824" y="1184061"/>
                    <a:pt x="1795276" y="1196132"/>
                    <a:pt x="1816273" y="1216115"/>
                  </a:cubicBezTo>
                  <a:cubicBezTo>
                    <a:pt x="1792052" y="1178741"/>
                    <a:pt x="1749943" y="1154113"/>
                    <a:pt x="1702082" y="1154113"/>
                  </a:cubicBezTo>
                  <a:close/>
                  <a:moveTo>
                    <a:pt x="2932113" y="560389"/>
                  </a:moveTo>
                  <a:lnTo>
                    <a:pt x="3313113" y="2413001"/>
                  </a:lnTo>
                  <a:lnTo>
                    <a:pt x="2822575" y="2327276"/>
                  </a:lnTo>
                  <a:lnTo>
                    <a:pt x="3365500" y="2455864"/>
                  </a:lnTo>
                  <a:close/>
                  <a:moveTo>
                    <a:pt x="146050" y="0"/>
                  </a:moveTo>
                  <a:lnTo>
                    <a:pt x="2997200" y="482600"/>
                  </a:lnTo>
                  <a:lnTo>
                    <a:pt x="3142738" y="1097549"/>
                  </a:lnTo>
                  <a:lnTo>
                    <a:pt x="5032375" y="1470025"/>
                  </a:lnTo>
                  <a:lnTo>
                    <a:pt x="4572259" y="1753174"/>
                  </a:lnTo>
                  <a:lnTo>
                    <a:pt x="3451225" y="2413001"/>
                  </a:lnTo>
                  <a:lnTo>
                    <a:pt x="3108325" y="965201"/>
                  </a:lnTo>
                  <a:lnTo>
                    <a:pt x="3432175" y="2427289"/>
                  </a:lnTo>
                  <a:lnTo>
                    <a:pt x="3413125" y="2493964"/>
                  </a:lnTo>
                  <a:lnTo>
                    <a:pt x="5037138" y="1479551"/>
                  </a:lnTo>
                  <a:lnTo>
                    <a:pt x="4991246" y="1506563"/>
                  </a:lnTo>
                  <a:lnTo>
                    <a:pt x="5041900" y="1475740"/>
                  </a:lnTo>
                  <a:lnTo>
                    <a:pt x="5041900" y="1597660"/>
                  </a:lnTo>
                  <a:lnTo>
                    <a:pt x="3441700" y="2687320"/>
                  </a:lnTo>
                  <a:lnTo>
                    <a:pt x="454660" y="2032000"/>
                  </a:lnTo>
                  <a:lnTo>
                    <a:pt x="454660" y="1856740"/>
                  </a:lnTo>
                  <a:lnTo>
                    <a:pt x="512379" y="1868432"/>
                  </a:lnTo>
                  <a:lnTo>
                    <a:pt x="512763" y="1870076"/>
                  </a:lnTo>
                  <a:lnTo>
                    <a:pt x="3375025" y="2498726"/>
                  </a:lnTo>
                  <a:lnTo>
                    <a:pt x="541338" y="1841501"/>
                  </a:lnTo>
                  <a:lnTo>
                    <a:pt x="341313" y="1136651"/>
                  </a:lnTo>
                  <a:lnTo>
                    <a:pt x="512040" y="1866982"/>
                  </a:lnTo>
                  <a:lnTo>
                    <a:pt x="457994" y="1855788"/>
                  </a:lnTo>
                  <a:lnTo>
                    <a:pt x="10319" y="36513"/>
                  </a:lnTo>
                  <a:cubicBezTo>
                    <a:pt x="497682" y="131763"/>
                    <a:pt x="1934369" y="328613"/>
                    <a:pt x="2934494" y="550863"/>
                  </a:cubicBezTo>
                  <a:lnTo>
                    <a:pt x="3063981" y="1082025"/>
                  </a:lnTo>
                  <a:lnTo>
                    <a:pt x="3092947" y="1087734"/>
                  </a:lnTo>
                  <a:lnTo>
                    <a:pt x="2965449" y="517525"/>
                  </a:lnTo>
                  <a:lnTo>
                    <a:pt x="0" y="2540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62"/>
              <a:endParaRPr lang="en-US">
                <a:solidFill>
                  <a:srgbClr val="FFFFFF"/>
                </a:solidFill>
              </a:endParaRPr>
            </a:p>
          </p:txBody>
        </p:sp>
      </p:grpSp>
      <p:grpSp>
        <p:nvGrpSpPr>
          <p:cNvPr id="39" name="Group 38"/>
          <p:cNvGrpSpPr/>
          <p:nvPr/>
        </p:nvGrpSpPr>
        <p:grpSpPr>
          <a:xfrm>
            <a:off x="7231631" y="1250203"/>
            <a:ext cx="986289" cy="701982"/>
            <a:chOff x="5326857" y="2779521"/>
            <a:chExt cx="2283619" cy="2167129"/>
          </a:xfrm>
          <a:solidFill>
            <a:schemeClr val="tx1"/>
          </a:solidFill>
        </p:grpSpPr>
        <p:sp>
          <p:nvSpPr>
            <p:cNvPr id="46" name="Freeform 45"/>
            <p:cNvSpPr/>
            <p:nvPr/>
          </p:nvSpPr>
          <p:spPr>
            <a:xfrm>
              <a:off x="5326857" y="3228975"/>
              <a:ext cx="1147085" cy="1083469"/>
            </a:xfrm>
            <a:custGeom>
              <a:avLst/>
              <a:gdLst>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990798 h 1083469"/>
                <a:gd name="connsiteX6" fmla="*/ 186985 w 1147085"/>
                <a:gd name="connsiteY6" fmla="*/ 1011445 h 1083469"/>
                <a:gd name="connsiteX7" fmla="*/ 977729 w 1147085"/>
                <a:gd name="connsiteY7" fmla="*/ 857154 h 1083469"/>
                <a:gd name="connsiteX8" fmla="*/ 977729 w 1147085"/>
                <a:gd name="connsiteY8" fmla="*/ 916854 h 1083469"/>
                <a:gd name="connsiteX9" fmla="*/ 123825 w 1147085"/>
                <a:gd name="connsiteY9" fmla="*/ 1083469 h 1083469"/>
                <a:gd name="connsiteX10" fmla="*/ 0 w 1147085"/>
                <a:gd name="connsiteY10" fmla="*/ 114300 h 1083469"/>
                <a:gd name="connsiteX11" fmla="*/ 1090612 w 1147085"/>
                <a:gd name="connsiteY11" fmla="*/ 0 h 1083469"/>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1011445 h 1083469"/>
                <a:gd name="connsiteX6" fmla="*/ 977729 w 1147085"/>
                <a:gd name="connsiteY6" fmla="*/ 857154 h 1083469"/>
                <a:gd name="connsiteX7" fmla="*/ 977729 w 1147085"/>
                <a:gd name="connsiteY7" fmla="*/ 916854 h 1083469"/>
                <a:gd name="connsiteX8" fmla="*/ 123825 w 1147085"/>
                <a:gd name="connsiteY8" fmla="*/ 1083469 h 1083469"/>
                <a:gd name="connsiteX9" fmla="*/ 0 w 1147085"/>
                <a:gd name="connsiteY9" fmla="*/ 114300 h 1083469"/>
                <a:gd name="connsiteX10" fmla="*/ 1090612 w 1147085"/>
                <a:gd name="connsiteY10" fmla="*/ 0 h 108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7085" h="1083469">
                  <a:moveTo>
                    <a:pt x="1090612" y="0"/>
                  </a:moveTo>
                  <a:lnTo>
                    <a:pt x="1147085" y="460567"/>
                  </a:lnTo>
                  <a:cubicBezTo>
                    <a:pt x="1121629" y="471368"/>
                    <a:pt x="1098257" y="486098"/>
                    <a:pt x="1078295" y="504743"/>
                  </a:cubicBezTo>
                  <a:lnTo>
                    <a:pt x="1025237" y="72025"/>
                  </a:lnTo>
                  <a:lnTo>
                    <a:pt x="79622" y="171129"/>
                  </a:lnTo>
                  <a:lnTo>
                    <a:pt x="186985" y="1011445"/>
                  </a:lnTo>
                  <a:lnTo>
                    <a:pt x="977729" y="857154"/>
                  </a:lnTo>
                  <a:lnTo>
                    <a:pt x="977729" y="916854"/>
                  </a:lnTo>
                  <a:lnTo>
                    <a:pt x="123825" y="1083469"/>
                  </a:lnTo>
                  <a:lnTo>
                    <a:pt x="0" y="114300"/>
                  </a:lnTo>
                  <a:lnTo>
                    <a:pt x="1090612"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49" name="Oval 23"/>
            <p:cNvSpPr/>
            <p:nvPr/>
          </p:nvSpPr>
          <p:spPr bwMode="auto">
            <a:xfrm>
              <a:off x="5472973" y="4217016"/>
              <a:ext cx="831613" cy="515322"/>
            </a:xfrm>
            <a:custGeom>
              <a:avLst/>
              <a:gdLst/>
              <a:ahLst/>
              <a:cxnLst/>
              <a:rect l="l" t="t" r="r" b="b"/>
              <a:pathLst>
                <a:path w="831613" h="515322">
                  <a:moveTo>
                    <a:pt x="656506" y="0"/>
                  </a:moveTo>
                  <a:cubicBezTo>
                    <a:pt x="722980" y="12459"/>
                    <a:pt x="782484" y="33487"/>
                    <a:pt x="831613" y="60220"/>
                  </a:cubicBezTo>
                  <a:lnTo>
                    <a:pt x="831613" y="156807"/>
                  </a:lnTo>
                  <a:lnTo>
                    <a:pt x="790343" y="156807"/>
                  </a:lnTo>
                  <a:cubicBezTo>
                    <a:pt x="689578" y="156807"/>
                    <a:pt x="607892" y="247187"/>
                    <a:pt x="607892" y="358678"/>
                  </a:cubicBezTo>
                  <a:cubicBezTo>
                    <a:pt x="607892" y="412735"/>
                    <a:pt x="627095" y="461830"/>
                    <a:pt x="658968" y="497546"/>
                  </a:cubicBezTo>
                  <a:cubicBezTo>
                    <a:pt x="605816" y="509342"/>
                    <a:pt x="548050" y="515322"/>
                    <a:pt x="487726" y="515322"/>
                  </a:cubicBezTo>
                  <a:cubicBezTo>
                    <a:pt x="218362" y="515322"/>
                    <a:pt x="0" y="396081"/>
                    <a:pt x="0" y="248990"/>
                  </a:cubicBezTo>
                  <a:cubicBezTo>
                    <a:pt x="0" y="198934"/>
                    <a:pt x="25288" y="152104"/>
                    <a:pt x="70263" y="113194"/>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54" name="Rounded Rectangle 13"/>
            <p:cNvSpPr/>
            <p:nvPr/>
          </p:nvSpPr>
          <p:spPr bwMode="auto">
            <a:xfrm>
              <a:off x="6127748" y="3705225"/>
              <a:ext cx="1375518" cy="1241425"/>
            </a:xfrm>
            <a:custGeom>
              <a:avLst/>
              <a:gdLst/>
              <a:ahLst/>
              <a:cxnLst/>
              <a:rect l="l" t="t" r="r" b="b"/>
              <a:pathLst>
                <a:path w="1375518" h="1241425">
                  <a:moveTo>
                    <a:pt x="880211" y="0"/>
                  </a:moveTo>
                  <a:lnTo>
                    <a:pt x="1125002" y="0"/>
                  </a:lnTo>
                  <a:cubicBezTo>
                    <a:pt x="1202113" y="0"/>
                    <a:pt x="1271265" y="34077"/>
                    <a:pt x="1317403" y="88704"/>
                  </a:cubicBezTo>
                  <a:cubicBezTo>
                    <a:pt x="1244331" y="103169"/>
                    <a:pt x="1190628" y="168346"/>
                    <a:pt x="1190628" y="246066"/>
                  </a:cubicBezTo>
                  <a:lnTo>
                    <a:pt x="1190628" y="708029"/>
                  </a:lnTo>
                  <a:lnTo>
                    <a:pt x="929175" y="708029"/>
                  </a:lnTo>
                  <a:lnTo>
                    <a:pt x="803618" y="172438"/>
                  </a:lnTo>
                  <a:close/>
                  <a:moveTo>
                    <a:pt x="481554" y="0"/>
                  </a:moveTo>
                  <a:lnTo>
                    <a:pt x="726347" y="0"/>
                  </a:lnTo>
                  <a:lnTo>
                    <a:pt x="802940" y="172436"/>
                  </a:lnTo>
                  <a:lnTo>
                    <a:pt x="674361" y="720915"/>
                  </a:lnTo>
                  <a:cubicBezTo>
                    <a:pt x="614856" y="745801"/>
                    <a:pt x="573090" y="804586"/>
                    <a:pt x="573090" y="873128"/>
                  </a:cubicBezTo>
                  <a:cubicBezTo>
                    <a:pt x="573090" y="964310"/>
                    <a:pt x="647007" y="1038227"/>
                    <a:pt x="738189" y="1038227"/>
                  </a:cubicBezTo>
                  <a:lnTo>
                    <a:pt x="1375518" y="1038227"/>
                  </a:lnTo>
                  <a:cubicBezTo>
                    <a:pt x="1351252" y="1154299"/>
                    <a:pt x="1248302" y="1241425"/>
                    <a:pt x="1125002" y="1241425"/>
                  </a:cubicBezTo>
                  <a:lnTo>
                    <a:pt x="481554" y="1241425"/>
                  </a:lnTo>
                  <a:cubicBezTo>
                    <a:pt x="358254" y="1241425"/>
                    <a:pt x="255302" y="1154298"/>
                    <a:pt x="231037" y="1038224"/>
                  </a:cubicBezTo>
                  <a:lnTo>
                    <a:pt x="165099" y="1038224"/>
                  </a:lnTo>
                  <a:cubicBezTo>
                    <a:pt x="73917" y="1038224"/>
                    <a:pt x="0" y="964307"/>
                    <a:pt x="0" y="873125"/>
                  </a:cubicBezTo>
                  <a:cubicBezTo>
                    <a:pt x="0" y="781943"/>
                    <a:pt x="73917" y="708026"/>
                    <a:pt x="165099" y="708026"/>
                  </a:cubicBezTo>
                  <a:lnTo>
                    <a:pt x="225428" y="708026"/>
                  </a:lnTo>
                  <a:lnTo>
                    <a:pt x="225428" y="256126"/>
                  </a:lnTo>
                  <a:cubicBezTo>
                    <a:pt x="225428" y="114672"/>
                    <a:pt x="340100" y="0"/>
                    <a:pt x="481554"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58" name="Oval 57"/>
            <p:cNvSpPr/>
            <p:nvPr/>
          </p:nvSpPr>
          <p:spPr bwMode="auto">
            <a:xfrm>
              <a:off x="6524624" y="2779521"/>
              <a:ext cx="835025" cy="83502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59" name="Rounded Rectangle 14"/>
            <p:cNvSpPr/>
            <p:nvPr/>
          </p:nvSpPr>
          <p:spPr bwMode="auto">
            <a:xfrm>
              <a:off x="6740522" y="3829050"/>
              <a:ext cx="869954" cy="874713"/>
            </a:xfrm>
            <a:custGeom>
              <a:avLst/>
              <a:gdLst>
                <a:gd name="connsiteX0" fmla="*/ 744540 w 869954"/>
                <a:gd name="connsiteY0" fmla="*/ 0 h 874713"/>
                <a:gd name="connsiteX1" fmla="*/ 869954 w 869954"/>
                <a:gd name="connsiteY1" fmla="*/ 125414 h 874713"/>
                <a:gd name="connsiteX2" fmla="*/ 869953 w 869954"/>
                <a:gd name="connsiteY2" fmla="*/ 706437 h 874713"/>
                <a:gd name="connsiteX3" fmla="*/ 869952 w 869954"/>
                <a:gd name="connsiteY3" fmla="*/ 749299 h 874713"/>
                <a:gd name="connsiteX4" fmla="*/ 744538 w 869954"/>
                <a:gd name="connsiteY4" fmla="*/ 874713 h 874713"/>
                <a:gd name="connsiteX5" fmla="*/ 125414 w 869954"/>
                <a:gd name="connsiteY5" fmla="*/ 874712 h 874713"/>
                <a:gd name="connsiteX6" fmla="*/ 0 w 869954"/>
                <a:gd name="connsiteY6" fmla="*/ 749298 h 874713"/>
                <a:gd name="connsiteX7" fmla="*/ 1 w 869954"/>
                <a:gd name="connsiteY7" fmla="*/ 749299 h 874713"/>
                <a:gd name="connsiteX8" fmla="*/ 125415 w 869954"/>
                <a:gd name="connsiteY8" fmla="*/ 623885 h 874713"/>
                <a:gd name="connsiteX9" fmla="*/ 619126 w 869954"/>
                <a:gd name="connsiteY9" fmla="*/ 623885 h 874713"/>
                <a:gd name="connsiteX10" fmla="*/ 619126 w 869954"/>
                <a:gd name="connsiteY10" fmla="*/ 125414 h 874713"/>
                <a:gd name="connsiteX11" fmla="*/ 744540 w 869954"/>
                <a:gd name="connsiteY11" fmla="*/ 0 h 87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9954" h="874713">
                  <a:moveTo>
                    <a:pt x="744540" y="0"/>
                  </a:moveTo>
                  <a:cubicBezTo>
                    <a:pt x="813804" y="0"/>
                    <a:pt x="869954" y="56150"/>
                    <a:pt x="869954" y="125414"/>
                  </a:cubicBezTo>
                  <a:cubicBezTo>
                    <a:pt x="869954" y="319088"/>
                    <a:pt x="869953" y="512763"/>
                    <a:pt x="869953" y="706437"/>
                  </a:cubicBezTo>
                  <a:cubicBezTo>
                    <a:pt x="869953" y="720724"/>
                    <a:pt x="869952" y="735012"/>
                    <a:pt x="869952" y="749299"/>
                  </a:cubicBezTo>
                  <a:cubicBezTo>
                    <a:pt x="869952" y="818563"/>
                    <a:pt x="813802" y="874713"/>
                    <a:pt x="744538" y="874713"/>
                  </a:cubicBezTo>
                  <a:lnTo>
                    <a:pt x="125414" y="874712"/>
                  </a:lnTo>
                  <a:cubicBezTo>
                    <a:pt x="56150" y="874712"/>
                    <a:pt x="0" y="818562"/>
                    <a:pt x="0" y="749298"/>
                  </a:cubicBezTo>
                  <a:lnTo>
                    <a:pt x="1" y="749299"/>
                  </a:lnTo>
                  <a:cubicBezTo>
                    <a:pt x="1" y="680035"/>
                    <a:pt x="56151" y="623885"/>
                    <a:pt x="125415" y="623885"/>
                  </a:cubicBezTo>
                  <a:lnTo>
                    <a:pt x="619126" y="623885"/>
                  </a:lnTo>
                  <a:lnTo>
                    <a:pt x="619126" y="125414"/>
                  </a:lnTo>
                  <a:cubicBezTo>
                    <a:pt x="619126" y="56150"/>
                    <a:pt x="675276" y="0"/>
                    <a:pt x="74454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grpSp>
      <p:sp>
        <p:nvSpPr>
          <p:cNvPr id="60"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61"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4"/>
              </a:rPr>
              <a:t>www.rapidbbs.cn</a:t>
            </a:r>
            <a:endParaRPr lang="zh-CN" altLang="en-US" sz="1200" b="0">
              <a:latin typeface="Arial" charset="0"/>
              <a:ea typeface="ＭＳ Ｐゴシック" pitchFamily="34" charset="-128"/>
            </a:endParaRPr>
          </a:p>
        </p:txBody>
      </p:sp>
      <p:pic>
        <p:nvPicPr>
          <p:cNvPr id="62" name="Picture 2">
            <a:hlinkClick r:id="rId24"/>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302623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Object 43" hidden="1"/>
          <p:cNvGraphicFramePr>
            <a:graphicFrameLocks noChangeAspect="1"/>
          </p:cNvGraphicFramePr>
          <p:nvPr>
            <p:custDataLst>
              <p:tags r:id="rId2"/>
            </p:custDataLst>
            <p:extLst>
              <p:ext uri="{D42A27DB-BD31-4B8C-83A1-F6EECF244321}">
                <p14:modId xmlns:p14="http://schemas.microsoft.com/office/powerpoint/2010/main" val="4094475117"/>
              </p:ext>
            </p:extLst>
          </p:nvPr>
        </p:nvGraphicFramePr>
        <p:xfrm>
          <a:off x="0" y="1"/>
          <a:ext cx="158750" cy="119063"/>
        </p:xfrm>
        <a:graphic>
          <a:graphicData uri="http://schemas.openxmlformats.org/presentationml/2006/ole">
            <mc:AlternateContent xmlns:mc="http://schemas.openxmlformats.org/markup-compatibility/2006">
              <mc:Choice xmlns:v="urn:schemas-microsoft-com:vml" Requires="v">
                <p:oleObj spid="_x0000_s6177"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1"/>
                        <a:ext cx="158750" cy="119063"/>
                      </a:xfrm>
                      <a:prstGeom prst="rect">
                        <a:avLst/>
                      </a:prstGeom>
                    </p:spPr>
                  </p:pic>
                </p:oleObj>
              </mc:Fallback>
            </mc:AlternateContent>
          </a:graphicData>
        </a:graphic>
      </p:graphicFrame>
      <p:sp>
        <p:nvSpPr>
          <p:cNvPr id="2" name="Title 1"/>
          <p:cNvSpPr>
            <a:spLocks noGrp="1"/>
          </p:cNvSpPr>
          <p:nvPr>
            <p:ph type="title"/>
          </p:nvPr>
        </p:nvSpPr>
        <p:spPr>
          <a:xfrm>
            <a:off x="273051" y="171451"/>
            <a:ext cx="8594725" cy="332399"/>
          </a:xfrm>
        </p:spPr>
        <p:txBody>
          <a:bodyPr/>
          <a:lstStyle/>
          <a:p>
            <a:r>
              <a:rPr lang="en-US" sz="2400" cap="all" dirty="0">
                <a:latin typeface="Segoe Light" pitchFamily="34" charset="0"/>
                <a:ea typeface="+mj-ea"/>
                <a:cs typeface="+mj-cs"/>
              </a:rPr>
              <a:t>For IT Administration</a:t>
            </a:r>
          </a:p>
        </p:txBody>
      </p:sp>
      <p:grpSp>
        <p:nvGrpSpPr>
          <p:cNvPr id="3" name="Group 2"/>
          <p:cNvGrpSpPr/>
          <p:nvPr/>
        </p:nvGrpSpPr>
        <p:grpSpPr>
          <a:xfrm>
            <a:off x="273050" y="916640"/>
            <a:ext cx="8595361" cy="1028700"/>
            <a:chOff x="273048" y="1222186"/>
            <a:chExt cx="8595361" cy="1371600"/>
          </a:xfrm>
        </p:grpSpPr>
        <p:sp>
          <p:nvSpPr>
            <p:cNvPr id="23" name="Rectangle 22"/>
            <p:cNvSpPr/>
            <p:nvPr/>
          </p:nvSpPr>
          <p:spPr>
            <a:xfrm>
              <a:off x="273048" y="1222186"/>
              <a:ext cx="2011680" cy="1371600"/>
            </a:xfrm>
            <a:prstGeom prst="rect">
              <a:avLst/>
            </a:prstGeom>
            <a:pattFill prst="ltUpDiag">
              <a:fgClr>
                <a:schemeClr val="accent2"/>
              </a:fgClr>
              <a:bgClr>
                <a:schemeClr val="accent2">
                  <a:lumMod val="75000"/>
                </a:schemeClr>
              </a:bgClr>
            </a:pattFill>
          </p:spPr>
          <p:txBody>
            <a:bodyPr vert="horz" wrap="square" lIns="45720" tIns="45720" rIns="45720" bIns="45720" rtlCol="0" anchor="ctr" anchorCtr="0">
              <a:noAutofit/>
            </a:bodyPr>
            <a:lstStyle/>
            <a:p>
              <a:pPr algn="ctr" defTabSz="685862">
                <a:lnSpc>
                  <a:spcPct val="90000"/>
                </a:lnSpc>
              </a:pPr>
              <a:r>
                <a:rPr lang="en-US" sz="1800" b="1" kern="100" cap="all" spc="-23" dirty="0">
                  <a:ln>
                    <a:solidFill>
                      <a:srgbClr val="FFFFFF">
                        <a:alpha val="0"/>
                      </a:srgbClr>
                    </a:solidFill>
                  </a:ln>
                  <a:solidFill>
                    <a:srgbClr val="FFFFFF"/>
                  </a:solidFill>
                  <a:latin typeface="Segoe Condensed" pitchFamily="34" charset="0"/>
                </a:rPr>
                <a:t>deployment</a:t>
              </a:r>
            </a:p>
          </p:txBody>
        </p:sp>
        <p:sp>
          <p:nvSpPr>
            <p:cNvPr id="24" name="Rectangle 18"/>
            <p:cNvSpPr/>
            <p:nvPr>
              <p:custDataLst>
                <p:tags r:id="rId5"/>
              </p:custDataLst>
            </p:nvPr>
          </p:nvSpPr>
          <p:spPr>
            <a:xfrm>
              <a:off x="273049" y="1222186"/>
              <a:ext cx="8595360" cy="1371600"/>
            </a:xfrm>
            <a:prstGeom prst="rect">
              <a:avLst/>
            </a:prstGeom>
            <a:noFill/>
            <a:ln w="3175" cap="flat" cmpd="sng" algn="ctr">
              <a:solidFill>
                <a:schemeClr val="tx1">
                  <a:alpha val="50000"/>
                </a:schemeClr>
              </a:solidFill>
              <a:prstDash val="solid"/>
              <a:headEnd type="none" w="med" len="med"/>
              <a:tailEnd type="none" w="med" len="med"/>
            </a:ln>
            <a:effectLst/>
          </p:spPr>
          <p:txBody>
            <a:bodyPr spcFirstLastPara="0" vert="horz" wrap="square" lIns="2926080" tIns="45720" rIns="45720" bIns="45720" numCol="1" spcCol="1270" anchor="ctr" anchorCtr="0">
              <a:noAutofit/>
            </a:bodyPr>
            <a:lstStyle/>
            <a:p>
              <a:pPr marL="0" lvl="1" defTabSz="685862">
                <a:spcBef>
                  <a:spcPts val="450"/>
                </a:spcBef>
                <a:buSzPct val="100000"/>
                <a:defRPr/>
              </a:pPr>
              <a:r>
                <a:rPr lang="en-US" kern="0" dirty="0">
                  <a:solidFill>
                    <a:srgbClr val="FFFFFF"/>
                  </a:solidFill>
                </a:rPr>
                <a:t>Install SSRS in SharePoint Integrated mode</a:t>
              </a:r>
            </a:p>
            <a:p>
              <a:pPr marL="0" lvl="1" defTabSz="685862">
                <a:spcBef>
                  <a:spcPts val="450"/>
                </a:spcBef>
                <a:buSzPct val="100000"/>
                <a:defRPr/>
              </a:pPr>
              <a:r>
                <a:rPr lang="en-US" kern="0" dirty="0" smtClean="0">
                  <a:solidFill>
                    <a:srgbClr val="FFFFFF"/>
                  </a:solidFill>
                </a:rPr>
                <a:t>Configuration </a:t>
              </a:r>
              <a:r>
                <a:rPr lang="en-US" kern="0" dirty="0">
                  <a:solidFill>
                    <a:srgbClr val="FFFFFF"/>
                  </a:solidFill>
                </a:rPr>
                <a:t>settings are stored in SharePoint DB</a:t>
              </a:r>
            </a:p>
          </p:txBody>
        </p:sp>
      </p:grpSp>
      <p:grpSp>
        <p:nvGrpSpPr>
          <p:cNvPr id="4" name="Group 3"/>
          <p:cNvGrpSpPr/>
          <p:nvPr/>
        </p:nvGrpSpPr>
        <p:grpSpPr>
          <a:xfrm>
            <a:off x="273050" y="2422257"/>
            <a:ext cx="8595361" cy="1028701"/>
            <a:chOff x="273048" y="3229674"/>
            <a:chExt cx="8595361" cy="1371601"/>
          </a:xfrm>
        </p:grpSpPr>
        <p:sp>
          <p:nvSpPr>
            <p:cNvPr id="26" name="Rectangle 25"/>
            <p:cNvSpPr/>
            <p:nvPr/>
          </p:nvSpPr>
          <p:spPr>
            <a:xfrm>
              <a:off x="273048" y="3229674"/>
              <a:ext cx="2011680" cy="1371600"/>
            </a:xfrm>
            <a:prstGeom prst="rect">
              <a:avLst/>
            </a:prstGeom>
            <a:pattFill prst="ltUpDiag">
              <a:fgClr>
                <a:schemeClr val="accent2"/>
              </a:fgClr>
              <a:bgClr>
                <a:schemeClr val="accent2">
                  <a:lumMod val="75000"/>
                </a:schemeClr>
              </a:bgClr>
            </a:pattFill>
          </p:spPr>
          <p:txBody>
            <a:bodyPr vert="horz" wrap="square" lIns="45720" tIns="45720" rIns="45720" bIns="45720" rtlCol="0" anchor="ctr" anchorCtr="0">
              <a:noAutofit/>
            </a:bodyPr>
            <a:lstStyle/>
            <a:p>
              <a:pPr algn="ctr" defTabSz="685862">
                <a:lnSpc>
                  <a:spcPct val="90000"/>
                </a:lnSpc>
              </a:pPr>
              <a:r>
                <a:rPr lang="en-US" sz="1800" b="1" kern="100" cap="all" spc="-23" dirty="0">
                  <a:ln>
                    <a:solidFill>
                      <a:srgbClr val="FFFFFF">
                        <a:alpha val="0"/>
                      </a:srgbClr>
                    </a:solidFill>
                  </a:ln>
                  <a:solidFill>
                    <a:srgbClr val="FFFFFF"/>
                  </a:solidFill>
                  <a:latin typeface="Segoe Condensed" pitchFamily="34" charset="0"/>
                </a:rPr>
                <a:t>Monitor</a:t>
              </a:r>
            </a:p>
          </p:txBody>
        </p:sp>
        <p:sp>
          <p:nvSpPr>
            <p:cNvPr id="27" name="Rectangle 18"/>
            <p:cNvSpPr/>
            <p:nvPr>
              <p:custDataLst>
                <p:tags r:id="rId4"/>
              </p:custDataLst>
            </p:nvPr>
          </p:nvSpPr>
          <p:spPr>
            <a:xfrm>
              <a:off x="273049" y="3229675"/>
              <a:ext cx="8595360" cy="1371600"/>
            </a:xfrm>
            <a:prstGeom prst="rect">
              <a:avLst/>
            </a:prstGeom>
            <a:noFill/>
            <a:ln w="3175" cap="flat" cmpd="sng" algn="ctr">
              <a:solidFill>
                <a:schemeClr val="tx1">
                  <a:alpha val="50000"/>
                </a:schemeClr>
              </a:solidFill>
              <a:prstDash val="solid"/>
              <a:headEnd type="none" w="med" len="med"/>
              <a:tailEnd type="none" w="med" len="med"/>
            </a:ln>
            <a:effectLst/>
          </p:spPr>
          <p:txBody>
            <a:bodyPr spcFirstLastPara="0" vert="horz" wrap="square" lIns="2926080" tIns="45720" rIns="45720" bIns="45720" numCol="1" spcCol="1270" anchor="ctr" anchorCtr="0">
              <a:noAutofit/>
            </a:bodyPr>
            <a:lstStyle/>
            <a:p>
              <a:pPr marL="0" lvl="1" defTabSz="685862">
                <a:spcBef>
                  <a:spcPts val="450"/>
                </a:spcBef>
                <a:buSzPct val="100000"/>
                <a:defRPr/>
              </a:pPr>
              <a:r>
                <a:rPr lang="en-US" kern="0" dirty="0">
                  <a:solidFill>
                    <a:srgbClr val="FFFFFF"/>
                  </a:solidFill>
                </a:rPr>
                <a:t>Execution log in alerting database</a:t>
              </a:r>
            </a:p>
            <a:p>
              <a:pPr marL="0" lvl="1" defTabSz="685862">
                <a:spcBef>
                  <a:spcPts val="450"/>
                </a:spcBef>
                <a:buSzPct val="100000"/>
                <a:defRPr/>
              </a:pPr>
              <a:r>
                <a:rPr lang="en-US" kern="0" dirty="0">
                  <a:solidFill>
                    <a:srgbClr val="FFFFFF"/>
                  </a:solidFill>
                </a:rPr>
                <a:t>Trace Log is in SSRS trace log and ULS</a:t>
              </a:r>
            </a:p>
          </p:txBody>
        </p:sp>
      </p:grpSp>
      <p:grpSp>
        <p:nvGrpSpPr>
          <p:cNvPr id="5" name="Group 4"/>
          <p:cNvGrpSpPr/>
          <p:nvPr/>
        </p:nvGrpSpPr>
        <p:grpSpPr>
          <a:xfrm>
            <a:off x="273050" y="3927872"/>
            <a:ext cx="8595361" cy="1028700"/>
            <a:chOff x="273048" y="5237163"/>
            <a:chExt cx="8595361" cy="1371600"/>
          </a:xfrm>
        </p:grpSpPr>
        <p:sp>
          <p:nvSpPr>
            <p:cNvPr id="29" name="Rectangle 28"/>
            <p:cNvSpPr/>
            <p:nvPr/>
          </p:nvSpPr>
          <p:spPr>
            <a:xfrm>
              <a:off x="273048" y="5237163"/>
              <a:ext cx="2011680" cy="1371600"/>
            </a:xfrm>
            <a:prstGeom prst="rect">
              <a:avLst/>
            </a:prstGeom>
            <a:pattFill prst="ltUpDiag">
              <a:fgClr>
                <a:schemeClr val="accent2"/>
              </a:fgClr>
              <a:bgClr>
                <a:schemeClr val="accent2">
                  <a:lumMod val="75000"/>
                </a:schemeClr>
              </a:bgClr>
            </a:pattFill>
          </p:spPr>
          <p:txBody>
            <a:bodyPr vert="horz" wrap="square" lIns="45720" tIns="45720" rIns="45720" bIns="45720" rtlCol="0" anchor="ctr" anchorCtr="0">
              <a:noAutofit/>
            </a:bodyPr>
            <a:lstStyle/>
            <a:p>
              <a:pPr algn="ctr" defTabSz="685862">
                <a:lnSpc>
                  <a:spcPct val="90000"/>
                </a:lnSpc>
              </a:pPr>
              <a:r>
                <a:rPr lang="en-US" sz="1800" b="1" kern="100" cap="all" spc="-23" dirty="0">
                  <a:ln>
                    <a:solidFill>
                      <a:srgbClr val="FFFFFF">
                        <a:alpha val="0"/>
                      </a:srgbClr>
                    </a:solidFill>
                  </a:ln>
                  <a:solidFill>
                    <a:srgbClr val="FFFFFF"/>
                  </a:solidFill>
                  <a:latin typeface="Segoe Condensed" pitchFamily="34" charset="0"/>
                </a:rPr>
                <a:t>Performance</a:t>
              </a:r>
            </a:p>
          </p:txBody>
        </p:sp>
        <p:sp>
          <p:nvSpPr>
            <p:cNvPr id="30" name="Rectangle 18"/>
            <p:cNvSpPr/>
            <p:nvPr>
              <p:custDataLst>
                <p:tags r:id="rId3"/>
              </p:custDataLst>
            </p:nvPr>
          </p:nvSpPr>
          <p:spPr>
            <a:xfrm>
              <a:off x="273049" y="5237163"/>
              <a:ext cx="8595360" cy="1371600"/>
            </a:xfrm>
            <a:prstGeom prst="rect">
              <a:avLst/>
            </a:prstGeom>
            <a:noFill/>
            <a:ln w="3175" cap="flat" cmpd="sng" algn="ctr">
              <a:solidFill>
                <a:schemeClr val="tx1">
                  <a:alpha val="50000"/>
                </a:schemeClr>
              </a:solidFill>
              <a:prstDash val="solid"/>
              <a:headEnd type="none" w="med" len="med"/>
              <a:tailEnd type="none" w="med" len="med"/>
            </a:ln>
            <a:effectLst/>
          </p:spPr>
          <p:txBody>
            <a:bodyPr spcFirstLastPara="0" vert="horz" wrap="square" lIns="2926080" tIns="45720" rIns="45720" bIns="45720" numCol="1" spcCol="1270" anchor="ctr" anchorCtr="0">
              <a:noAutofit/>
            </a:bodyPr>
            <a:lstStyle/>
            <a:p>
              <a:pPr marL="0" lvl="1" defTabSz="685862">
                <a:spcBef>
                  <a:spcPts val="450"/>
                </a:spcBef>
                <a:buSzPct val="100000"/>
                <a:defRPr/>
              </a:pPr>
              <a:r>
                <a:rPr lang="en-US" kern="0" dirty="0">
                  <a:solidFill>
                    <a:srgbClr val="FFFFFF"/>
                  </a:solidFill>
                </a:rPr>
                <a:t>Use performance counters to determine overloading </a:t>
              </a:r>
              <a:r>
                <a:rPr lang="en-US" kern="0" dirty="0" smtClean="0">
                  <a:solidFill>
                    <a:srgbClr val="FFFFFF"/>
                  </a:solidFill>
                </a:rPr>
                <a:t>&amp; scale-out </a:t>
              </a:r>
              <a:r>
                <a:rPr lang="en-US" kern="0" dirty="0">
                  <a:solidFill>
                    <a:srgbClr val="FFFFFF"/>
                  </a:solidFill>
                </a:rPr>
                <a:t>requirements</a:t>
              </a:r>
            </a:p>
            <a:p>
              <a:pPr marL="0" lvl="1" defTabSz="685862">
                <a:spcBef>
                  <a:spcPts val="450"/>
                </a:spcBef>
                <a:buSzPct val="100000"/>
                <a:defRPr/>
              </a:pPr>
              <a:r>
                <a:rPr lang="en-US" kern="0" dirty="0">
                  <a:solidFill>
                    <a:srgbClr val="FFFFFF"/>
                  </a:solidFill>
                </a:rPr>
                <a:t>More frequent alerts will require more </a:t>
              </a:r>
              <a:r>
                <a:rPr lang="en-US" kern="0" dirty="0" smtClean="0">
                  <a:solidFill>
                    <a:srgbClr val="FFFFFF"/>
                  </a:solidFill>
                </a:rPr>
                <a:t>resources</a:t>
              </a:r>
              <a:endParaRPr lang="en-US" kern="0" dirty="0">
                <a:solidFill>
                  <a:srgbClr val="FFFFFF"/>
                </a:solidFill>
              </a:endParaRPr>
            </a:p>
          </p:txBody>
        </p:sp>
      </p:grpSp>
      <p:sp>
        <p:nvSpPr>
          <p:cNvPr id="32" name="Freeform 31"/>
          <p:cNvSpPr/>
          <p:nvPr/>
        </p:nvSpPr>
        <p:spPr>
          <a:xfrm>
            <a:off x="867408" y="3481300"/>
            <a:ext cx="822960" cy="416233"/>
          </a:xfrm>
          <a:custGeom>
            <a:avLst/>
            <a:gdLst>
              <a:gd name="connsiteX0" fmla="*/ 0 w 1181143"/>
              <a:gd name="connsiteY0" fmla="*/ 548576 h 997410"/>
              <a:gd name="connsiteX1" fmla="*/ 265757 w 1181143"/>
              <a:gd name="connsiteY1" fmla="*/ 548576 h 997410"/>
              <a:gd name="connsiteX2" fmla="*/ 265757 w 1181143"/>
              <a:gd name="connsiteY2" fmla="*/ 0 h 997410"/>
              <a:gd name="connsiteX3" fmla="*/ 915386 w 1181143"/>
              <a:gd name="connsiteY3" fmla="*/ 0 h 997410"/>
              <a:gd name="connsiteX4" fmla="*/ 915386 w 1181143"/>
              <a:gd name="connsiteY4" fmla="*/ 548576 h 997410"/>
              <a:gd name="connsiteX5" fmla="*/ 1181143 w 1181143"/>
              <a:gd name="connsiteY5" fmla="*/ 548576 h 997410"/>
              <a:gd name="connsiteX6" fmla="*/ 590572 w 1181143"/>
              <a:gd name="connsiteY6" fmla="*/ 997410 h 997410"/>
              <a:gd name="connsiteX7" fmla="*/ 0 w 1181143"/>
              <a:gd name="connsiteY7" fmla="*/ 548576 h 99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143" h="997410">
                <a:moveTo>
                  <a:pt x="0" y="548576"/>
                </a:moveTo>
                <a:lnTo>
                  <a:pt x="265757" y="548576"/>
                </a:lnTo>
                <a:lnTo>
                  <a:pt x="265757" y="0"/>
                </a:lnTo>
                <a:lnTo>
                  <a:pt x="915386" y="0"/>
                </a:lnTo>
                <a:lnTo>
                  <a:pt x="915386" y="548576"/>
                </a:lnTo>
                <a:lnTo>
                  <a:pt x="1181143" y="548576"/>
                </a:lnTo>
                <a:lnTo>
                  <a:pt x="590572" y="997410"/>
                </a:lnTo>
                <a:lnTo>
                  <a:pt x="0" y="548576"/>
                </a:lnTo>
                <a:close/>
              </a:path>
            </a:pathLst>
          </a:custGeom>
          <a:gradFill flip="none" rotWithShape="1">
            <a:gsLst>
              <a:gs pos="0">
                <a:schemeClr val="bg1">
                  <a:alpha val="0"/>
                </a:schemeClr>
              </a:gs>
              <a:gs pos="100000">
                <a:schemeClr val="tx1"/>
              </a:gs>
            </a:gsLst>
            <a:lin ang="5400000" scaled="1"/>
            <a:tileRect/>
          </a:gradFill>
          <a:ln w="12700" cap="flat" cmpd="sng" algn="ctr">
            <a:gradFill flip="none" rotWithShape="1">
              <a:gsLst>
                <a:gs pos="0">
                  <a:schemeClr val="tx1">
                    <a:alpha val="75000"/>
                  </a:schemeClr>
                </a:gs>
                <a:gs pos="50000">
                  <a:schemeClr val="tx1">
                    <a:alpha val="27000"/>
                  </a:schemeClr>
                </a:gs>
                <a:gs pos="100000">
                  <a:schemeClr val="tx1">
                    <a:alpha val="0"/>
                  </a:schemeClr>
                </a:gs>
              </a:gsLst>
              <a:lin ang="16200000" scaled="1"/>
              <a:tileRect/>
            </a:gradFill>
            <a:prstDash val="solid"/>
            <a:round/>
            <a:headEnd type="none" w="med" len="med"/>
            <a:tailEnd type="none" w="med" len="med"/>
          </a:ln>
          <a:effectLst/>
        </p:spPr>
        <p:txBody>
          <a:bodyPr vert="horz" wrap="square" lIns="34286" tIns="34286" rIns="41142" bIns="30861" numCol="1" rtlCol="0" anchor="t" anchorCtr="1" compatLnSpc="1">
            <a:prstTxWarp prst="textNoShape">
              <a:avLst/>
            </a:prstTxWarp>
          </a:bodyPr>
          <a:lstStyle/>
          <a:p>
            <a:pPr algn="ctr" defTabSz="685682" fontAlgn="base">
              <a:lnSpc>
                <a:spcPct val="90000"/>
              </a:lnSpc>
              <a:spcBef>
                <a:spcPts val="473"/>
              </a:spcBef>
              <a:spcAft>
                <a:spcPct val="0"/>
              </a:spcAft>
              <a:buClr>
                <a:srgbClr val="FFFF99"/>
              </a:buClr>
              <a:buSzPct val="120000"/>
            </a:pPr>
            <a:endParaRPr lang="en-US" sz="1100" b="1" dirty="0">
              <a:solidFill>
                <a:srgbClr val="FFFFFF"/>
              </a:solidFill>
            </a:endParaRPr>
          </a:p>
        </p:txBody>
      </p:sp>
      <p:sp>
        <p:nvSpPr>
          <p:cNvPr id="13" name="Freeform 12"/>
          <p:cNvSpPr/>
          <p:nvPr/>
        </p:nvSpPr>
        <p:spPr>
          <a:xfrm>
            <a:off x="867408" y="1975684"/>
            <a:ext cx="822960" cy="416233"/>
          </a:xfrm>
          <a:custGeom>
            <a:avLst/>
            <a:gdLst>
              <a:gd name="connsiteX0" fmla="*/ 0 w 1181143"/>
              <a:gd name="connsiteY0" fmla="*/ 548576 h 997410"/>
              <a:gd name="connsiteX1" fmla="*/ 265757 w 1181143"/>
              <a:gd name="connsiteY1" fmla="*/ 548576 h 997410"/>
              <a:gd name="connsiteX2" fmla="*/ 265757 w 1181143"/>
              <a:gd name="connsiteY2" fmla="*/ 0 h 997410"/>
              <a:gd name="connsiteX3" fmla="*/ 915386 w 1181143"/>
              <a:gd name="connsiteY3" fmla="*/ 0 h 997410"/>
              <a:gd name="connsiteX4" fmla="*/ 915386 w 1181143"/>
              <a:gd name="connsiteY4" fmla="*/ 548576 h 997410"/>
              <a:gd name="connsiteX5" fmla="*/ 1181143 w 1181143"/>
              <a:gd name="connsiteY5" fmla="*/ 548576 h 997410"/>
              <a:gd name="connsiteX6" fmla="*/ 590572 w 1181143"/>
              <a:gd name="connsiteY6" fmla="*/ 997410 h 997410"/>
              <a:gd name="connsiteX7" fmla="*/ 0 w 1181143"/>
              <a:gd name="connsiteY7" fmla="*/ 548576 h 99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143" h="997410">
                <a:moveTo>
                  <a:pt x="0" y="548576"/>
                </a:moveTo>
                <a:lnTo>
                  <a:pt x="265757" y="548576"/>
                </a:lnTo>
                <a:lnTo>
                  <a:pt x="265757" y="0"/>
                </a:lnTo>
                <a:lnTo>
                  <a:pt x="915386" y="0"/>
                </a:lnTo>
                <a:lnTo>
                  <a:pt x="915386" y="548576"/>
                </a:lnTo>
                <a:lnTo>
                  <a:pt x="1181143" y="548576"/>
                </a:lnTo>
                <a:lnTo>
                  <a:pt x="590572" y="997410"/>
                </a:lnTo>
                <a:lnTo>
                  <a:pt x="0" y="548576"/>
                </a:lnTo>
                <a:close/>
              </a:path>
            </a:pathLst>
          </a:custGeom>
          <a:gradFill flip="none" rotWithShape="1">
            <a:gsLst>
              <a:gs pos="0">
                <a:schemeClr val="bg1">
                  <a:alpha val="0"/>
                </a:schemeClr>
              </a:gs>
              <a:gs pos="100000">
                <a:schemeClr val="tx1"/>
              </a:gs>
            </a:gsLst>
            <a:lin ang="5400000" scaled="1"/>
            <a:tileRect/>
          </a:gradFill>
          <a:ln w="12700" cap="flat" cmpd="sng" algn="ctr">
            <a:gradFill flip="none" rotWithShape="1">
              <a:gsLst>
                <a:gs pos="0">
                  <a:schemeClr val="tx1">
                    <a:alpha val="75000"/>
                  </a:schemeClr>
                </a:gs>
                <a:gs pos="50000">
                  <a:schemeClr val="tx1">
                    <a:alpha val="27000"/>
                  </a:schemeClr>
                </a:gs>
                <a:gs pos="100000">
                  <a:schemeClr val="tx1">
                    <a:alpha val="0"/>
                  </a:schemeClr>
                </a:gs>
              </a:gsLst>
              <a:lin ang="16200000" scaled="1"/>
              <a:tileRect/>
            </a:gradFill>
            <a:prstDash val="solid"/>
            <a:round/>
            <a:headEnd type="none" w="med" len="med"/>
            <a:tailEnd type="none" w="med" len="med"/>
          </a:ln>
          <a:effectLst/>
        </p:spPr>
        <p:txBody>
          <a:bodyPr vert="horz" wrap="square" lIns="34286" tIns="34286" rIns="41142" bIns="30861" numCol="1" rtlCol="0" anchor="t" anchorCtr="1" compatLnSpc="1">
            <a:prstTxWarp prst="textNoShape">
              <a:avLst/>
            </a:prstTxWarp>
          </a:bodyPr>
          <a:lstStyle/>
          <a:p>
            <a:pPr algn="ctr" defTabSz="685682" fontAlgn="base">
              <a:lnSpc>
                <a:spcPct val="90000"/>
              </a:lnSpc>
              <a:spcBef>
                <a:spcPts val="473"/>
              </a:spcBef>
              <a:spcAft>
                <a:spcPct val="0"/>
              </a:spcAft>
              <a:buClr>
                <a:srgbClr val="FFFF99"/>
              </a:buClr>
              <a:buSzPct val="120000"/>
            </a:pPr>
            <a:endParaRPr lang="en-US" sz="1100" b="1" dirty="0">
              <a:solidFill>
                <a:srgbClr val="FFFFFF"/>
              </a:solidFill>
            </a:endParaRPr>
          </a:p>
        </p:txBody>
      </p:sp>
      <p:sp>
        <p:nvSpPr>
          <p:cNvPr id="15"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6"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0"/>
              </a:rPr>
              <a:t>www.rapidbbs.cn</a:t>
            </a:r>
            <a:endParaRPr lang="zh-CN" altLang="en-US" sz="1200" b="0">
              <a:latin typeface="Arial" charset="0"/>
              <a:ea typeface="ＭＳ Ｐゴシック" pitchFamily="34" charset="-128"/>
            </a:endParaRPr>
          </a:p>
        </p:txBody>
      </p:sp>
      <p:pic>
        <p:nvPicPr>
          <p:cNvPr id="17" name="Picture 2">
            <a:hlinkClick r:id="rId10"/>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504009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172643"/>
            <a:ext cx="8382000" cy="457049"/>
          </a:xfrm>
        </p:spPr>
        <p:txBody>
          <a:bodyPr/>
          <a:lstStyle/>
          <a:p>
            <a:r>
              <a:rPr lang="en-US" dirty="0" smtClean="0"/>
              <a:t>Core Marketplace Services</a:t>
            </a:r>
            <a:endParaRPr lang="en-US" dirty="0">
              <a:solidFill>
                <a:schemeClr val="accent1"/>
              </a:solidFill>
            </a:endParaRPr>
          </a:p>
        </p:txBody>
      </p:sp>
      <p:pic>
        <p:nvPicPr>
          <p:cNvPr id="6" name="Picture 2" descr="C:\Users\Jordan\Desktop\TechEd_2012\TechEd-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6962" y="4619593"/>
            <a:ext cx="698151" cy="322326"/>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nvSpPr>
        <p:spPr>
          <a:xfrm>
            <a:off x="0" y="1028701"/>
            <a:ext cx="2103558" cy="138350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68586" tIns="34294" rIns="68586" bIns="34294" anchor="ctr"/>
          <a:lstStyle/>
          <a:p>
            <a:pPr algn="ctr"/>
            <a:endParaRPr lang="en-US" dirty="0">
              <a:solidFill>
                <a:srgbClr val="FFFFFF"/>
              </a:solidFill>
              <a:ea typeface="ＭＳ Ｐゴシック" charset="-128"/>
            </a:endParaRPr>
          </a:p>
        </p:txBody>
      </p:sp>
      <p:sp>
        <p:nvSpPr>
          <p:cNvPr id="10" name="Rectangle 9"/>
          <p:cNvSpPr>
            <a:spLocks noChangeArrowheads="1"/>
          </p:cNvSpPr>
          <p:nvPr/>
        </p:nvSpPr>
        <p:spPr bwMode="auto">
          <a:xfrm>
            <a:off x="7030090" y="2571756"/>
            <a:ext cx="2113910" cy="1713929"/>
          </a:xfrm>
          <a:prstGeom prst="rect">
            <a:avLst/>
          </a:prstGeom>
          <a:noFill/>
          <a:ln w="9525">
            <a:noFill/>
            <a:miter lim="800000"/>
            <a:headEnd/>
            <a:tailEnd/>
          </a:ln>
        </p:spPr>
        <p:txBody>
          <a:bodyPr wrap="square" lIns="68586" tIns="34294" rIns="68586" bIns="34294">
            <a:spAutoFit/>
          </a:bodyPr>
          <a:lstStyle/>
          <a:p>
            <a:pPr>
              <a:lnSpc>
                <a:spcPts val="1425"/>
              </a:lnSpc>
            </a:pPr>
            <a:r>
              <a:rPr lang="en-US" sz="1200" b="1" dirty="0">
                <a:solidFill>
                  <a:srgbClr val="FFFFFF"/>
                </a:solidFill>
                <a:latin typeface="Segoe UI" charset="0"/>
                <a:cs typeface="Segoe UI" charset="0"/>
              </a:rPr>
              <a:t>Infrastructure</a:t>
            </a:r>
          </a:p>
          <a:p>
            <a:pPr>
              <a:lnSpc>
                <a:spcPts val="1425"/>
              </a:lnSpc>
            </a:pPr>
            <a:endParaRPr lang="en-US" sz="1200" b="1" dirty="0">
              <a:solidFill>
                <a:srgbClr val="FFFFFF"/>
              </a:solidFill>
              <a:latin typeface="Segoe UI" charset="0"/>
              <a:cs typeface="Segoe UI" charset="0"/>
            </a:endParaRPr>
          </a:p>
          <a:p>
            <a:pPr>
              <a:lnSpc>
                <a:spcPts val="1425"/>
              </a:lnSpc>
            </a:pPr>
            <a:r>
              <a:rPr lang="en-US" sz="1100" dirty="0">
                <a:solidFill>
                  <a:srgbClr val="FFFFFF"/>
                </a:solidFill>
                <a:latin typeface="Segoe UI" charset="0"/>
                <a:cs typeface="Segoe UI" charset="0"/>
              </a:rPr>
              <a:t>Marketplace provides account management, authorization, metering, throttling, localized UI, and a variety of other services backed by Microsoft’s world-class cloud computing resources.</a:t>
            </a:r>
          </a:p>
        </p:txBody>
      </p:sp>
      <p:sp>
        <p:nvSpPr>
          <p:cNvPr id="11" name="Rectangle 10"/>
          <p:cNvSpPr>
            <a:spLocks noChangeArrowheads="1"/>
          </p:cNvSpPr>
          <p:nvPr/>
        </p:nvSpPr>
        <p:spPr bwMode="auto">
          <a:xfrm>
            <a:off x="4686331" y="2571756"/>
            <a:ext cx="2113910" cy="1896673"/>
          </a:xfrm>
          <a:prstGeom prst="rect">
            <a:avLst/>
          </a:prstGeom>
          <a:noFill/>
          <a:ln w="9525">
            <a:noFill/>
            <a:miter lim="800000"/>
            <a:headEnd/>
            <a:tailEnd/>
          </a:ln>
        </p:spPr>
        <p:txBody>
          <a:bodyPr wrap="square" lIns="68586" tIns="34294" rIns="68586" bIns="34294">
            <a:spAutoFit/>
          </a:bodyPr>
          <a:lstStyle/>
          <a:p>
            <a:pPr>
              <a:lnSpc>
                <a:spcPts val="1425"/>
              </a:lnSpc>
            </a:pPr>
            <a:r>
              <a:rPr lang="en-US" sz="1200" b="1" dirty="0">
                <a:solidFill>
                  <a:srgbClr val="FFFFFF"/>
                </a:solidFill>
                <a:latin typeface="Segoe UI" charset="0"/>
                <a:cs typeface="Segoe UI" charset="0"/>
              </a:rPr>
              <a:t>Monetization</a:t>
            </a:r>
          </a:p>
          <a:p>
            <a:pPr>
              <a:lnSpc>
                <a:spcPts val="1425"/>
              </a:lnSpc>
            </a:pPr>
            <a:endParaRPr lang="en-US" sz="1200" b="1" dirty="0">
              <a:solidFill>
                <a:srgbClr val="FFFFFF"/>
              </a:solidFill>
              <a:latin typeface="Segoe UI" charset="0"/>
              <a:cs typeface="Segoe UI" charset="0"/>
            </a:endParaRPr>
          </a:p>
          <a:p>
            <a:pPr>
              <a:lnSpc>
                <a:spcPts val="1425"/>
              </a:lnSpc>
            </a:pPr>
            <a:r>
              <a:rPr lang="en-US" sz="1100" dirty="0">
                <a:solidFill>
                  <a:srgbClr val="FFFFFF"/>
                </a:solidFill>
                <a:latin typeface="Segoe UI" charset="0"/>
                <a:cs typeface="Segoe UI" charset="0"/>
              </a:rPr>
              <a:t>Particularly important for smaller content providers, the Marketplace manages the challenges of selling abroad. Marketplace eliminates the complexity of international business so Content Providers can focus on content.</a:t>
            </a:r>
          </a:p>
        </p:txBody>
      </p:sp>
      <p:sp>
        <p:nvSpPr>
          <p:cNvPr id="12" name="Rectangle 11"/>
          <p:cNvSpPr>
            <a:spLocks noChangeArrowheads="1"/>
          </p:cNvSpPr>
          <p:nvPr/>
        </p:nvSpPr>
        <p:spPr bwMode="auto">
          <a:xfrm>
            <a:off x="2343760" y="2571755"/>
            <a:ext cx="2113910" cy="2444899"/>
          </a:xfrm>
          <a:prstGeom prst="rect">
            <a:avLst/>
          </a:prstGeom>
          <a:noFill/>
          <a:ln w="9525">
            <a:noFill/>
            <a:miter lim="800000"/>
            <a:headEnd/>
            <a:tailEnd/>
          </a:ln>
        </p:spPr>
        <p:txBody>
          <a:bodyPr wrap="square" lIns="68586" tIns="34294" rIns="68586" bIns="34294">
            <a:spAutoFit/>
          </a:bodyPr>
          <a:lstStyle/>
          <a:p>
            <a:pPr>
              <a:lnSpc>
                <a:spcPts val="1425"/>
              </a:lnSpc>
            </a:pPr>
            <a:r>
              <a:rPr lang="en-US" sz="1200" b="1" dirty="0">
                <a:solidFill>
                  <a:srgbClr val="FFFFFF"/>
                </a:solidFill>
                <a:latin typeface="Segoe UI" charset="0"/>
                <a:cs typeface="Segoe UI" charset="0"/>
              </a:rPr>
              <a:t>Ecosystem</a:t>
            </a:r>
          </a:p>
          <a:p>
            <a:pPr>
              <a:lnSpc>
                <a:spcPts val="1425"/>
              </a:lnSpc>
            </a:pPr>
            <a:endParaRPr lang="en-US" sz="1200" b="1" dirty="0">
              <a:solidFill>
                <a:srgbClr val="FFFFFF"/>
              </a:solidFill>
              <a:latin typeface="Segoe UI" charset="0"/>
              <a:cs typeface="Segoe UI" charset="0"/>
            </a:endParaRPr>
          </a:p>
          <a:p>
            <a:pPr>
              <a:lnSpc>
                <a:spcPts val="1425"/>
              </a:lnSpc>
            </a:pPr>
            <a:r>
              <a:rPr lang="en-US" sz="1100" dirty="0">
                <a:solidFill>
                  <a:srgbClr val="FFFFFF"/>
                </a:solidFill>
                <a:latin typeface="Segoe UI" charset="0"/>
                <a:cs typeface="Segoe UI" charset="0"/>
              </a:rPr>
              <a:t>Marketplace provides integration between content and the apps that depend on it. Office, SQL Server, Visual Studio, and other data apps are easily connected to Marketplace. The Marketplace invests in building out high-quality connections so individual content providers don’t have to.</a:t>
            </a:r>
          </a:p>
        </p:txBody>
      </p:sp>
      <p:sp>
        <p:nvSpPr>
          <p:cNvPr id="13" name="Rectangle 12"/>
          <p:cNvSpPr>
            <a:spLocks noChangeArrowheads="1"/>
          </p:cNvSpPr>
          <p:nvPr/>
        </p:nvSpPr>
        <p:spPr bwMode="auto">
          <a:xfrm>
            <a:off x="0" y="2571756"/>
            <a:ext cx="2113910" cy="2079414"/>
          </a:xfrm>
          <a:prstGeom prst="rect">
            <a:avLst/>
          </a:prstGeom>
          <a:noFill/>
          <a:ln w="9525">
            <a:noFill/>
            <a:miter lim="800000"/>
            <a:headEnd/>
            <a:tailEnd/>
          </a:ln>
        </p:spPr>
        <p:txBody>
          <a:bodyPr wrap="square" lIns="68586" tIns="34294" rIns="68586" bIns="34294">
            <a:spAutoFit/>
          </a:bodyPr>
          <a:lstStyle/>
          <a:p>
            <a:pPr>
              <a:lnSpc>
                <a:spcPts val="1425"/>
              </a:lnSpc>
            </a:pPr>
            <a:r>
              <a:rPr lang="en-US" sz="1200" b="1" dirty="0">
                <a:solidFill>
                  <a:srgbClr val="FFFFFF"/>
                </a:solidFill>
                <a:latin typeface="Segoe UI" charset="0"/>
                <a:cs typeface="Segoe UI" charset="0"/>
              </a:rPr>
              <a:t>Discovery</a:t>
            </a:r>
          </a:p>
          <a:p>
            <a:pPr>
              <a:lnSpc>
                <a:spcPts val="1425"/>
              </a:lnSpc>
            </a:pPr>
            <a:endParaRPr lang="en-US" sz="1200" b="1" dirty="0">
              <a:solidFill>
                <a:srgbClr val="FFFFFF"/>
              </a:solidFill>
              <a:latin typeface="Segoe UI" charset="0"/>
              <a:cs typeface="Segoe UI" charset="0"/>
            </a:endParaRPr>
          </a:p>
          <a:p>
            <a:pPr>
              <a:lnSpc>
                <a:spcPts val="1425"/>
              </a:lnSpc>
            </a:pPr>
            <a:r>
              <a:rPr lang="en-US" sz="1100" dirty="0">
                <a:solidFill>
                  <a:srgbClr val="FFFFFF"/>
                </a:solidFill>
                <a:latin typeface="Segoe UI" charset="0"/>
                <a:cs typeface="Segoe UI" charset="0"/>
              </a:rPr>
              <a:t>Buyers confidently browse, discover, purchase, and use new content. The Marketplace is provided by a trusted brand and provides immediate access to the content consumers demand. No high-pressure sales pitches, no hidden strings, no hassles.</a:t>
            </a:r>
          </a:p>
        </p:txBody>
      </p:sp>
      <p:pic>
        <p:nvPicPr>
          <p:cNvPr id="14" name="Picture 5" descr="\\MAGNUM\Projects\Microsoft\Cloud Power FY12\Design\ICONS_PNG\Consistent_Development_and_Deployment_Platform.png"/>
          <p:cNvPicPr>
            <a:picLocks noChangeAspect="1" noChangeArrowheads="1"/>
          </p:cNvPicPr>
          <p:nvPr/>
        </p:nvPicPr>
        <p:blipFill>
          <a:blip r:embed="rId4" cstate="print">
            <a:lum/>
          </a:blip>
          <a:stretch>
            <a:fillRect/>
          </a:stretch>
        </p:blipFill>
        <p:spPr bwMode="auto">
          <a:xfrm>
            <a:off x="7401067" y="1034653"/>
            <a:ext cx="1371957" cy="1371600"/>
          </a:xfrm>
          <a:prstGeom prst="rect">
            <a:avLst/>
          </a:prstGeom>
          <a:noFill/>
        </p:spPr>
      </p:pic>
      <p:pic>
        <p:nvPicPr>
          <p:cNvPr id="15" name="Picture 2" descr="\\MAGNUM\Projects\Microsoft\Cloud Power FY12\Design\ICONS_PNG\Devices.png"/>
          <p:cNvPicPr>
            <a:picLocks noChangeAspect="1" noChangeArrowheads="1"/>
          </p:cNvPicPr>
          <p:nvPr/>
        </p:nvPicPr>
        <p:blipFill>
          <a:blip r:embed="rId5" cstate="print">
            <a:lum/>
          </a:blip>
          <a:srcRect/>
          <a:stretch>
            <a:fillRect/>
          </a:stretch>
        </p:blipFill>
        <p:spPr bwMode="auto">
          <a:xfrm>
            <a:off x="2714737" y="1034653"/>
            <a:ext cx="1371957" cy="1371600"/>
          </a:xfrm>
          <a:prstGeom prst="rect">
            <a:avLst/>
          </a:prstGeom>
          <a:noFill/>
        </p:spPr>
      </p:pic>
      <p:pic>
        <p:nvPicPr>
          <p:cNvPr id="16" name="Picture 2" descr="\\MAGNUM\Projects\Microsoft\Cloud Power FY12\Design\Icons\PNGs\Marketplace.png"/>
          <p:cNvPicPr>
            <a:picLocks noChangeAspect="1" noChangeArrowheads="1"/>
          </p:cNvPicPr>
          <p:nvPr/>
        </p:nvPicPr>
        <p:blipFill>
          <a:blip r:embed="rId6" cstate="print"/>
          <a:srcRect/>
          <a:stretch>
            <a:fillRect/>
          </a:stretch>
        </p:blipFill>
        <p:spPr bwMode="auto">
          <a:xfrm>
            <a:off x="5057307" y="1034653"/>
            <a:ext cx="1371957" cy="1371600"/>
          </a:xfrm>
          <a:prstGeom prst="rect">
            <a:avLst/>
          </a:prstGeom>
          <a:noFill/>
        </p:spPr>
      </p:pic>
      <p:pic>
        <p:nvPicPr>
          <p:cNvPr id="17" name="Picture 8" descr="\\MAGNUM\Projects\Microsoft\Cloud Power FY12\Design\Icons\PNGs\Cross Platform.png"/>
          <p:cNvPicPr>
            <a:picLocks noChangeAspect="1" noChangeArrowheads="1"/>
          </p:cNvPicPr>
          <p:nvPr/>
        </p:nvPicPr>
        <p:blipFill>
          <a:blip r:embed="rId7" cstate="print"/>
          <a:stretch>
            <a:fillRect/>
          </a:stretch>
        </p:blipFill>
        <p:spPr bwMode="auto">
          <a:xfrm>
            <a:off x="365801" y="1034653"/>
            <a:ext cx="1371957" cy="1371600"/>
          </a:xfrm>
          <a:prstGeom prst="rect">
            <a:avLst/>
          </a:prstGeom>
          <a:noFill/>
        </p:spPr>
      </p:pic>
      <p:sp>
        <p:nvSpPr>
          <p:cNvPr id="18" name="Dark Gray"/>
          <p:cNvSpPr/>
          <p:nvPr/>
        </p:nvSpPr>
        <p:spPr bwMode="auto">
          <a:xfrm>
            <a:off x="6970638" y="1028701"/>
            <a:ext cx="2174552" cy="1377553"/>
          </a:xfrm>
          <a:prstGeom prst="roundRect">
            <a:avLst>
              <a:gd name="adj" fmla="val 0"/>
            </a:avLst>
          </a:prstGeom>
          <a:solidFill>
            <a:schemeClr val="tx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p:txBody>
      </p:sp>
      <p:sp>
        <p:nvSpPr>
          <p:cNvPr id="19" name="Red"/>
          <p:cNvSpPr/>
          <p:nvPr/>
        </p:nvSpPr>
        <p:spPr bwMode="auto">
          <a:xfrm>
            <a:off x="4666872" y="1028701"/>
            <a:ext cx="2174552" cy="1377553"/>
          </a:xfrm>
          <a:prstGeom prst="roundRect">
            <a:avLst>
              <a:gd name="adj" fmla="val 0"/>
            </a:avLst>
          </a:prstGeom>
          <a:solidFill>
            <a:schemeClr val="tx1"/>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p:txBody>
      </p:sp>
      <p:sp>
        <p:nvSpPr>
          <p:cNvPr id="20" name="Orange"/>
          <p:cNvSpPr/>
          <p:nvPr/>
        </p:nvSpPr>
        <p:spPr bwMode="auto">
          <a:xfrm>
            <a:off x="2342569" y="1028701"/>
            <a:ext cx="2174552" cy="1377553"/>
          </a:xfrm>
          <a:prstGeom prst="roundRect">
            <a:avLst>
              <a:gd name="adj" fmla="val 0"/>
            </a:avLst>
          </a:prstGeom>
          <a:solidFill>
            <a:schemeClr val="tx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p:txBody>
      </p:sp>
      <p:sp>
        <p:nvSpPr>
          <p:cNvPr id="21" name="Dark Blue"/>
          <p:cNvSpPr/>
          <p:nvPr/>
        </p:nvSpPr>
        <p:spPr bwMode="auto">
          <a:xfrm>
            <a:off x="-1191" y="1028701"/>
            <a:ext cx="2174552" cy="1377553"/>
          </a:xfrm>
          <a:prstGeom prst="roundRect">
            <a:avLst>
              <a:gd name="adj" fmla="val 0"/>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22" name="Freeform 79"/>
          <p:cNvSpPr>
            <a:spLocks noEditPoints="1"/>
          </p:cNvSpPr>
          <p:nvPr/>
        </p:nvSpPr>
        <p:spPr bwMode="auto">
          <a:xfrm>
            <a:off x="2839720" y="1185421"/>
            <a:ext cx="1181441" cy="1085531"/>
          </a:xfrm>
          <a:custGeom>
            <a:avLst/>
            <a:gdLst>
              <a:gd name="T0" fmla="*/ 406 w 413"/>
              <a:gd name="T1" fmla="*/ 0 h 380"/>
              <a:gd name="T2" fmla="*/ 7 w 413"/>
              <a:gd name="T3" fmla="*/ 0 h 380"/>
              <a:gd name="T4" fmla="*/ 0 w 413"/>
              <a:gd name="T5" fmla="*/ 7 h 380"/>
              <a:gd name="T6" fmla="*/ 0 w 413"/>
              <a:gd name="T7" fmla="*/ 273 h 380"/>
              <a:gd name="T8" fmla="*/ 7 w 413"/>
              <a:gd name="T9" fmla="*/ 281 h 380"/>
              <a:gd name="T10" fmla="*/ 133 w 413"/>
              <a:gd name="T11" fmla="*/ 281 h 380"/>
              <a:gd name="T12" fmla="*/ 133 w 413"/>
              <a:gd name="T13" fmla="*/ 332 h 380"/>
              <a:gd name="T14" fmla="*/ 73 w 413"/>
              <a:gd name="T15" fmla="*/ 332 h 380"/>
              <a:gd name="T16" fmla="*/ 65 w 413"/>
              <a:gd name="T17" fmla="*/ 340 h 380"/>
              <a:gd name="T18" fmla="*/ 65 w 413"/>
              <a:gd name="T19" fmla="*/ 373 h 380"/>
              <a:gd name="T20" fmla="*/ 73 w 413"/>
              <a:gd name="T21" fmla="*/ 380 h 380"/>
              <a:gd name="T22" fmla="*/ 339 w 413"/>
              <a:gd name="T23" fmla="*/ 380 h 380"/>
              <a:gd name="T24" fmla="*/ 346 w 413"/>
              <a:gd name="T25" fmla="*/ 373 h 380"/>
              <a:gd name="T26" fmla="*/ 346 w 413"/>
              <a:gd name="T27" fmla="*/ 340 h 380"/>
              <a:gd name="T28" fmla="*/ 339 w 413"/>
              <a:gd name="T29" fmla="*/ 332 h 380"/>
              <a:gd name="T30" fmla="*/ 280 w 413"/>
              <a:gd name="T31" fmla="*/ 332 h 380"/>
              <a:gd name="T32" fmla="*/ 280 w 413"/>
              <a:gd name="T33" fmla="*/ 281 h 380"/>
              <a:gd name="T34" fmla="*/ 406 w 413"/>
              <a:gd name="T35" fmla="*/ 281 h 380"/>
              <a:gd name="T36" fmla="*/ 413 w 413"/>
              <a:gd name="T37" fmla="*/ 273 h 380"/>
              <a:gd name="T38" fmla="*/ 413 w 413"/>
              <a:gd name="T39" fmla="*/ 7 h 380"/>
              <a:gd name="T40" fmla="*/ 406 w 413"/>
              <a:gd name="T41" fmla="*/ 0 h 380"/>
              <a:gd name="T42" fmla="*/ 331 w 413"/>
              <a:gd name="T43" fmla="*/ 366 h 380"/>
              <a:gd name="T44" fmla="*/ 80 w 413"/>
              <a:gd name="T45" fmla="*/ 366 h 380"/>
              <a:gd name="T46" fmla="*/ 80 w 413"/>
              <a:gd name="T47" fmla="*/ 347 h 380"/>
              <a:gd name="T48" fmla="*/ 331 w 413"/>
              <a:gd name="T49" fmla="*/ 347 h 380"/>
              <a:gd name="T50" fmla="*/ 331 w 413"/>
              <a:gd name="T51" fmla="*/ 366 h 380"/>
              <a:gd name="T52" fmla="*/ 266 w 413"/>
              <a:gd name="T53" fmla="*/ 332 h 380"/>
              <a:gd name="T54" fmla="*/ 148 w 413"/>
              <a:gd name="T55" fmla="*/ 332 h 380"/>
              <a:gd name="T56" fmla="*/ 148 w 413"/>
              <a:gd name="T57" fmla="*/ 281 h 380"/>
              <a:gd name="T58" fmla="*/ 266 w 413"/>
              <a:gd name="T59" fmla="*/ 281 h 380"/>
              <a:gd name="T60" fmla="*/ 266 w 413"/>
              <a:gd name="T61" fmla="*/ 332 h 380"/>
              <a:gd name="T62" fmla="*/ 399 w 413"/>
              <a:gd name="T63" fmla="*/ 266 h 380"/>
              <a:gd name="T64" fmla="*/ 15 w 413"/>
              <a:gd name="T65" fmla="*/ 266 h 380"/>
              <a:gd name="T66" fmla="*/ 15 w 413"/>
              <a:gd name="T67" fmla="*/ 15 h 380"/>
              <a:gd name="T68" fmla="*/ 399 w 413"/>
              <a:gd name="T69" fmla="*/ 15 h 380"/>
              <a:gd name="T70" fmla="*/ 399 w 413"/>
              <a:gd name="T71" fmla="*/ 266 h 380"/>
              <a:gd name="T72" fmla="*/ 40 w 413"/>
              <a:gd name="T73" fmla="*/ 247 h 380"/>
              <a:gd name="T74" fmla="*/ 373 w 413"/>
              <a:gd name="T75" fmla="*/ 247 h 380"/>
              <a:gd name="T76" fmla="*/ 381 w 413"/>
              <a:gd name="T77" fmla="*/ 240 h 380"/>
              <a:gd name="T78" fmla="*/ 381 w 413"/>
              <a:gd name="T79" fmla="*/ 41 h 380"/>
              <a:gd name="T80" fmla="*/ 373 w 413"/>
              <a:gd name="T81" fmla="*/ 33 h 380"/>
              <a:gd name="T82" fmla="*/ 40 w 413"/>
              <a:gd name="T83" fmla="*/ 33 h 380"/>
              <a:gd name="T84" fmla="*/ 33 w 413"/>
              <a:gd name="T85" fmla="*/ 41 h 380"/>
              <a:gd name="T86" fmla="*/ 33 w 413"/>
              <a:gd name="T87" fmla="*/ 240 h 380"/>
              <a:gd name="T88" fmla="*/ 40 w 413"/>
              <a:gd name="T89" fmla="*/ 247 h 380"/>
              <a:gd name="T90" fmla="*/ 47 w 413"/>
              <a:gd name="T91" fmla="*/ 48 h 380"/>
              <a:gd name="T92" fmla="*/ 366 w 413"/>
              <a:gd name="T93" fmla="*/ 48 h 380"/>
              <a:gd name="T94" fmla="*/ 366 w 413"/>
              <a:gd name="T95" fmla="*/ 233 h 380"/>
              <a:gd name="T96" fmla="*/ 47 w 413"/>
              <a:gd name="T97" fmla="*/ 233 h 380"/>
              <a:gd name="T98" fmla="*/ 47 w 413"/>
              <a:gd name="T99" fmla="*/ 48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3" h="380">
                <a:moveTo>
                  <a:pt x="406" y="0"/>
                </a:moveTo>
                <a:cubicBezTo>
                  <a:pt x="7" y="0"/>
                  <a:pt x="7" y="0"/>
                  <a:pt x="7" y="0"/>
                </a:cubicBezTo>
                <a:cubicBezTo>
                  <a:pt x="3" y="0"/>
                  <a:pt x="0" y="3"/>
                  <a:pt x="0" y="7"/>
                </a:cubicBezTo>
                <a:cubicBezTo>
                  <a:pt x="0" y="273"/>
                  <a:pt x="0" y="273"/>
                  <a:pt x="0" y="273"/>
                </a:cubicBezTo>
                <a:cubicBezTo>
                  <a:pt x="0" y="277"/>
                  <a:pt x="3" y="281"/>
                  <a:pt x="7" y="281"/>
                </a:cubicBezTo>
                <a:cubicBezTo>
                  <a:pt x="133" y="281"/>
                  <a:pt x="133" y="281"/>
                  <a:pt x="133" y="281"/>
                </a:cubicBezTo>
                <a:cubicBezTo>
                  <a:pt x="133" y="332"/>
                  <a:pt x="133" y="332"/>
                  <a:pt x="133" y="332"/>
                </a:cubicBezTo>
                <a:cubicBezTo>
                  <a:pt x="73" y="332"/>
                  <a:pt x="73" y="332"/>
                  <a:pt x="73" y="332"/>
                </a:cubicBezTo>
                <a:cubicBezTo>
                  <a:pt x="69" y="332"/>
                  <a:pt x="65" y="336"/>
                  <a:pt x="65" y="340"/>
                </a:cubicBezTo>
                <a:cubicBezTo>
                  <a:pt x="65" y="373"/>
                  <a:pt x="65" y="373"/>
                  <a:pt x="65" y="373"/>
                </a:cubicBezTo>
                <a:cubicBezTo>
                  <a:pt x="65" y="377"/>
                  <a:pt x="69" y="380"/>
                  <a:pt x="73" y="380"/>
                </a:cubicBezTo>
                <a:cubicBezTo>
                  <a:pt x="339" y="380"/>
                  <a:pt x="339" y="380"/>
                  <a:pt x="339" y="380"/>
                </a:cubicBezTo>
                <a:cubicBezTo>
                  <a:pt x="343" y="380"/>
                  <a:pt x="346" y="377"/>
                  <a:pt x="346" y="373"/>
                </a:cubicBezTo>
                <a:cubicBezTo>
                  <a:pt x="346" y="340"/>
                  <a:pt x="346" y="340"/>
                  <a:pt x="346" y="340"/>
                </a:cubicBezTo>
                <a:cubicBezTo>
                  <a:pt x="346" y="336"/>
                  <a:pt x="343" y="332"/>
                  <a:pt x="339" y="332"/>
                </a:cubicBezTo>
                <a:cubicBezTo>
                  <a:pt x="280" y="332"/>
                  <a:pt x="280" y="332"/>
                  <a:pt x="280" y="332"/>
                </a:cubicBezTo>
                <a:cubicBezTo>
                  <a:pt x="280" y="281"/>
                  <a:pt x="280" y="281"/>
                  <a:pt x="280" y="281"/>
                </a:cubicBezTo>
                <a:cubicBezTo>
                  <a:pt x="406" y="281"/>
                  <a:pt x="406" y="281"/>
                  <a:pt x="406" y="281"/>
                </a:cubicBezTo>
                <a:cubicBezTo>
                  <a:pt x="410" y="281"/>
                  <a:pt x="413" y="277"/>
                  <a:pt x="413" y="273"/>
                </a:cubicBezTo>
                <a:cubicBezTo>
                  <a:pt x="413" y="7"/>
                  <a:pt x="413" y="7"/>
                  <a:pt x="413" y="7"/>
                </a:cubicBezTo>
                <a:cubicBezTo>
                  <a:pt x="413" y="3"/>
                  <a:pt x="410" y="0"/>
                  <a:pt x="406" y="0"/>
                </a:cubicBezTo>
                <a:close/>
                <a:moveTo>
                  <a:pt x="331" y="366"/>
                </a:moveTo>
                <a:cubicBezTo>
                  <a:pt x="80" y="366"/>
                  <a:pt x="80" y="366"/>
                  <a:pt x="80" y="366"/>
                </a:cubicBezTo>
                <a:cubicBezTo>
                  <a:pt x="80" y="347"/>
                  <a:pt x="80" y="347"/>
                  <a:pt x="80" y="347"/>
                </a:cubicBezTo>
                <a:cubicBezTo>
                  <a:pt x="331" y="347"/>
                  <a:pt x="331" y="347"/>
                  <a:pt x="331" y="347"/>
                </a:cubicBezTo>
                <a:lnTo>
                  <a:pt x="331" y="366"/>
                </a:lnTo>
                <a:close/>
                <a:moveTo>
                  <a:pt x="266" y="332"/>
                </a:moveTo>
                <a:cubicBezTo>
                  <a:pt x="148" y="332"/>
                  <a:pt x="148" y="332"/>
                  <a:pt x="148" y="332"/>
                </a:cubicBezTo>
                <a:cubicBezTo>
                  <a:pt x="148" y="281"/>
                  <a:pt x="148" y="281"/>
                  <a:pt x="148" y="281"/>
                </a:cubicBezTo>
                <a:cubicBezTo>
                  <a:pt x="266" y="281"/>
                  <a:pt x="266" y="281"/>
                  <a:pt x="266" y="281"/>
                </a:cubicBezTo>
                <a:lnTo>
                  <a:pt x="266" y="332"/>
                </a:lnTo>
                <a:close/>
                <a:moveTo>
                  <a:pt x="399" y="266"/>
                </a:moveTo>
                <a:cubicBezTo>
                  <a:pt x="15" y="266"/>
                  <a:pt x="15" y="266"/>
                  <a:pt x="15" y="266"/>
                </a:cubicBezTo>
                <a:cubicBezTo>
                  <a:pt x="15" y="15"/>
                  <a:pt x="15" y="15"/>
                  <a:pt x="15" y="15"/>
                </a:cubicBezTo>
                <a:cubicBezTo>
                  <a:pt x="399" y="15"/>
                  <a:pt x="399" y="15"/>
                  <a:pt x="399" y="15"/>
                </a:cubicBezTo>
                <a:lnTo>
                  <a:pt x="399" y="266"/>
                </a:lnTo>
                <a:close/>
                <a:moveTo>
                  <a:pt x="40" y="247"/>
                </a:moveTo>
                <a:cubicBezTo>
                  <a:pt x="373" y="247"/>
                  <a:pt x="373" y="247"/>
                  <a:pt x="373" y="247"/>
                </a:cubicBezTo>
                <a:cubicBezTo>
                  <a:pt x="377" y="247"/>
                  <a:pt x="381" y="244"/>
                  <a:pt x="381" y="240"/>
                </a:cubicBezTo>
                <a:cubicBezTo>
                  <a:pt x="381" y="41"/>
                  <a:pt x="381" y="41"/>
                  <a:pt x="381" y="41"/>
                </a:cubicBezTo>
                <a:cubicBezTo>
                  <a:pt x="381" y="37"/>
                  <a:pt x="377" y="33"/>
                  <a:pt x="373" y="33"/>
                </a:cubicBezTo>
                <a:cubicBezTo>
                  <a:pt x="40" y="33"/>
                  <a:pt x="40" y="33"/>
                  <a:pt x="40" y="33"/>
                </a:cubicBezTo>
                <a:cubicBezTo>
                  <a:pt x="36" y="33"/>
                  <a:pt x="33" y="37"/>
                  <a:pt x="33" y="41"/>
                </a:cubicBezTo>
                <a:cubicBezTo>
                  <a:pt x="33" y="240"/>
                  <a:pt x="33" y="240"/>
                  <a:pt x="33" y="240"/>
                </a:cubicBezTo>
                <a:cubicBezTo>
                  <a:pt x="33" y="244"/>
                  <a:pt x="36" y="247"/>
                  <a:pt x="40" y="247"/>
                </a:cubicBezTo>
                <a:close/>
                <a:moveTo>
                  <a:pt x="47" y="48"/>
                </a:moveTo>
                <a:cubicBezTo>
                  <a:pt x="366" y="48"/>
                  <a:pt x="366" y="48"/>
                  <a:pt x="366" y="48"/>
                </a:cubicBezTo>
                <a:cubicBezTo>
                  <a:pt x="366" y="233"/>
                  <a:pt x="366" y="233"/>
                  <a:pt x="366" y="233"/>
                </a:cubicBezTo>
                <a:cubicBezTo>
                  <a:pt x="47" y="233"/>
                  <a:pt x="47" y="233"/>
                  <a:pt x="47" y="233"/>
                </a:cubicBezTo>
                <a:lnTo>
                  <a:pt x="47" y="48"/>
                </a:lnTo>
                <a:close/>
              </a:path>
            </a:pathLst>
          </a:custGeom>
          <a:solidFill>
            <a:schemeClr val="accent5"/>
          </a:solidFill>
          <a:ln>
            <a:noFill/>
          </a:ln>
        </p:spPr>
        <p:txBody>
          <a:bodyPr vert="horz" wrap="square" lIns="68586" tIns="34294" rIns="68586" bIns="34294" numCol="1" anchor="t" anchorCtr="0" compatLnSpc="1">
            <a:prstTxWarp prst="textNoShape">
              <a:avLst/>
            </a:prstTxWarp>
          </a:bodyPr>
          <a:lstStyle/>
          <a:p>
            <a:endParaRPr lang="en-US"/>
          </a:p>
        </p:txBody>
      </p:sp>
      <p:sp>
        <p:nvSpPr>
          <p:cNvPr id="23" name="Freeform 84"/>
          <p:cNvSpPr>
            <a:spLocks noEditPoints="1"/>
          </p:cNvSpPr>
          <p:nvPr/>
        </p:nvSpPr>
        <p:spPr bwMode="auto">
          <a:xfrm>
            <a:off x="513786" y="1185421"/>
            <a:ext cx="1075987" cy="1064111"/>
          </a:xfrm>
          <a:custGeom>
            <a:avLst/>
            <a:gdLst>
              <a:gd name="T0" fmla="*/ 314 w 314"/>
              <a:gd name="T1" fmla="*/ 301 h 311"/>
              <a:gd name="T2" fmla="*/ 189 w 314"/>
              <a:gd name="T3" fmla="*/ 176 h 311"/>
              <a:gd name="T4" fmla="*/ 214 w 314"/>
              <a:gd name="T5" fmla="*/ 107 h 311"/>
              <a:gd name="T6" fmla="*/ 107 w 314"/>
              <a:gd name="T7" fmla="*/ 0 h 311"/>
              <a:gd name="T8" fmla="*/ 0 w 314"/>
              <a:gd name="T9" fmla="*/ 107 h 311"/>
              <a:gd name="T10" fmla="*/ 107 w 314"/>
              <a:gd name="T11" fmla="*/ 215 h 311"/>
              <a:gd name="T12" fmla="*/ 179 w 314"/>
              <a:gd name="T13" fmla="*/ 186 h 311"/>
              <a:gd name="T14" fmla="*/ 304 w 314"/>
              <a:gd name="T15" fmla="*/ 311 h 311"/>
              <a:gd name="T16" fmla="*/ 314 w 314"/>
              <a:gd name="T17" fmla="*/ 301 h 311"/>
              <a:gd name="T18" fmla="*/ 107 w 314"/>
              <a:gd name="T19" fmla="*/ 200 h 311"/>
              <a:gd name="T20" fmla="*/ 14 w 314"/>
              <a:gd name="T21" fmla="*/ 107 h 311"/>
              <a:gd name="T22" fmla="*/ 107 w 314"/>
              <a:gd name="T23" fmla="*/ 15 h 311"/>
              <a:gd name="T24" fmla="*/ 199 w 314"/>
              <a:gd name="T25" fmla="*/ 107 h 311"/>
              <a:gd name="T26" fmla="*/ 107 w 314"/>
              <a:gd name="T27" fmla="*/ 20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4" h="311">
                <a:moveTo>
                  <a:pt x="314" y="301"/>
                </a:moveTo>
                <a:cubicBezTo>
                  <a:pt x="189" y="176"/>
                  <a:pt x="189" y="176"/>
                  <a:pt x="189" y="176"/>
                </a:cubicBezTo>
                <a:cubicBezTo>
                  <a:pt x="205" y="157"/>
                  <a:pt x="214" y="133"/>
                  <a:pt x="214" y="107"/>
                </a:cubicBezTo>
                <a:cubicBezTo>
                  <a:pt x="214" y="48"/>
                  <a:pt x="166" y="0"/>
                  <a:pt x="107" y="0"/>
                </a:cubicBezTo>
                <a:cubicBezTo>
                  <a:pt x="48" y="0"/>
                  <a:pt x="0" y="48"/>
                  <a:pt x="0" y="107"/>
                </a:cubicBezTo>
                <a:cubicBezTo>
                  <a:pt x="0" y="167"/>
                  <a:pt x="48" y="215"/>
                  <a:pt x="107" y="215"/>
                </a:cubicBezTo>
                <a:cubicBezTo>
                  <a:pt x="135" y="215"/>
                  <a:pt x="160" y="204"/>
                  <a:pt x="179" y="186"/>
                </a:cubicBezTo>
                <a:cubicBezTo>
                  <a:pt x="304" y="311"/>
                  <a:pt x="304" y="311"/>
                  <a:pt x="304" y="311"/>
                </a:cubicBezTo>
                <a:lnTo>
                  <a:pt x="314" y="301"/>
                </a:lnTo>
                <a:close/>
                <a:moveTo>
                  <a:pt x="107" y="200"/>
                </a:moveTo>
                <a:cubicBezTo>
                  <a:pt x="56" y="200"/>
                  <a:pt x="14" y="158"/>
                  <a:pt x="14" y="107"/>
                </a:cubicBezTo>
                <a:cubicBezTo>
                  <a:pt x="14" y="57"/>
                  <a:pt x="56" y="15"/>
                  <a:pt x="107" y="15"/>
                </a:cubicBezTo>
                <a:cubicBezTo>
                  <a:pt x="158" y="15"/>
                  <a:pt x="199" y="57"/>
                  <a:pt x="199" y="107"/>
                </a:cubicBezTo>
                <a:cubicBezTo>
                  <a:pt x="199" y="158"/>
                  <a:pt x="158" y="200"/>
                  <a:pt x="107" y="200"/>
                </a:cubicBezTo>
                <a:close/>
              </a:path>
            </a:pathLst>
          </a:custGeom>
          <a:solidFill>
            <a:schemeClr val="accent3"/>
          </a:solidFill>
          <a:ln>
            <a:noFill/>
          </a:ln>
        </p:spPr>
        <p:txBody>
          <a:bodyPr vert="horz" wrap="square" lIns="68586" tIns="34294" rIns="68586" bIns="34294" numCol="1" anchor="t" anchorCtr="0" compatLnSpc="1">
            <a:prstTxWarp prst="textNoShape">
              <a:avLst/>
            </a:prstTxWarp>
          </a:bodyPr>
          <a:lstStyle/>
          <a:p>
            <a:endParaRPr lang="en-US"/>
          </a:p>
        </p:txBody>
      </p:sp>
      <p:sp>
        <p:nvSpPr>
          <p:cNvPr id="24" name="Freeform 80"/>
          <p:cNvSpPr>
            <a:spLocks noEditPoints="1"/>
          </p:cNvSpPr>
          <p:nvPr/>
        </p:nvSpPr>
        <p:spPr bwMode="auto">
          <a:xfrm>
            <a:off x="5360846" y="1153509"/>
            <a:ext cx="764880" cy="1127935"/>
          </a:xfrm>
          <a:custGeom>
            <a:avLst/>
            <a:gdLst>
              <a:gd name="T0" fmla="*/ 273 w 280"/>
              <a:gd name="T1" fmla="*/ 0 h 413"/>
              <a:gd name="T2" fmla="*/ 7 w 280"/>
              <a:gd name="T3" fmla="*/ 0 h 413"/>
              <a:gd name="T4" fmla="*/ 0 w 280"/>
              <a:gd name="T5" fmla="*/ 7 h 413"/>
              <a:gd name="T6" fmla="*/ 0 w 280"/>
              <a:gd name="T7" fmla="*/ 406 h 413"/>
              <a:gd name="T8" fmla="*/ 7 w 280"/>
              <a:gd name="T9" fmla="*/ 413 h 413"/>
              <a:gd name="T10" fmla="*/ 273 w 280"/>
              <a:gd name="T11" fmla="*/ 413 h 413"/>
              <a:gd name="T12" fmla="*/ 280 w 280"/>
              <a:gd name="T13" fmla="*/ 406 h 413"/>
              <a:gd name="T14" fmla="*/ 280 w 280"/>
              <a:gd name="T15" fmla="*/ 7 h 413"/>
              <a:gd name="T16" fmla="*/ 273 w 280"/>
              <a:gd name="T17" fmla="*/ 0 h 413"/>
              <a:gd name="T18" fmla="*/ 266 w 280"/>
              <a:gd name="T19" fmla="*/ 398 h 413"/>
              <a:gd name="T20" fmla="*/ 14 w 280"/>
              <a:gd name="T21" fmla="*/ 398 h 413"/>
              <a:gd name="T22" fmla="*/ 14 w 280"/>
              <a:gd name="T23" fmla="*/ 14 h 413"/>
              <a:gd name="T24" fmla="*/ 266 w 280"/>
              <a:gd name="T25" fmla="*/ 14 h 413"/>
              <a:gd name="T26" fmla="*/ 266 w 280"/>
              <a:gd name="T27" fmla="*/ 398 h 413"/>
              <a:gd name="T28" fmla="*/ 108 w 280"/>
              <a:gd name="T29" fmla="*/ 81 h 413"/>
              <a:gd name="T30" fmla="*/ 174 w 280"/>
              <a:gd name="T31" fmla="*/ 81 h 413"/>
              <a:gd name="T32" fmla="*/ 198 w 280"/>
              <a:gd name="T33" fmla="*/ 57 h 413"/>
              <a:gd name="T34" fmla="*/ 174 w 280"/>
              <a:gd name="T35" fmla="*/ 33 h 413"/>
              <a:gd name="T36" fmla="*/ 108 w 280"/>
              <a:gd name="T37" fmla="*/ 33 h 413"/>
              <a:gd name="T38" fmla="*/ 84 w 280"/>
              <a:gd name="T39" fmla="*/ 57 h 413"/>
              <a:gd name="T40" fmla="*/ 108 w 280"/>
              <a:gd name="T41" fmla="*/ 81 h 413"/>
              <a:gd name="T42" fmla="*/ 108 w 280"/>
              <a:gd name="T43" fmla="*/ 48 h 413"/>
              <a:gd name="T44" fmla="*/ 174 w 280"/>
              <a:gd name="T45" fmla="*/ 48 h 413"/>
              <a:gd name="T46" fmla="*/ 184 w 280"/>
              <a:gd name="T47" fmla="*/ 57 h 413"/>
              <a:gd name="T48" fmla="*/ 174 w 280"/>
              <a:gd name="T49" fmla="*/ 66 h 413"/>
              <a:gd name="T50" fmla="*/ 108 w 280"/>
              <a:gd name="T51" fmla="*/ 66 h 413"/>
              <a:gd name="T52" fmla="*/ 99 w 280"/>
              <a:gd name="T53" fmla="*/ 57 h 413"/>
              <a:gd name="T54" fmla="*/ 108 w 280"/>
              <a:gd name="T55" fmla="*/ 48 h 413"/>
              <a:gd name="T56" fmla="*/ 140 w 280"/>
              <a:gd name="T57" fmla="*/ 207 h 413"/>
              <a:gd name="T58" fmla="*/ 73 w 280"/>
              <a:gd name="T59" fmla="*/ 207 h 413"/>
              <a:gd name="T60" fmla="*/ 73 w 280"/>
              <a:gd name="T61" fmla="*/ 140 h 413"/>
              <a:gd name="T62" fmla="*/ 140 w 280"/>
              <a:gd name="T63" fmla="*/ 140 h 413"/>
              <a:gd name="T64" fmla="*/ 140 w 280"/>
              <a:gd name="T65" fmla="*/ 207 h 413"/>
              <a:gd name="T66" fmla="*/ 206 w 280"/>
              <a:gd name="T67" fmla="*/ 280 h 413"/>
              <a:gd name="T68" fmla="*/ 74 w 280"/>
              <a:gd name="T69" fmla="*/ 280 h 413"/>
              <a:gd name="T70" fmla="*/ 74 w 280"/>
              <a:gd name="T71" fmla="*/ 266 h 413"/>
              <a:gd name="T72" fmla="*/ 206 w 280"/>
              <a:gd name="T73" fmla="*/ 266 h 413"/>
              <a:gd name="T74" fmla="*/ 206 w 280"/>
              <a:gd name="T75" fmla="*/ 280 h 413"/>
              <a:gd name="T76" fmla="*/ 75 w 280"/>
              <a:gd name="T77" fmla="*/ 232 h 413"/>
              <a:gd name="T78" fmla="*/ 207 w 280"/>
              <a:gd name="T79" fmla="*/ 232 h 413"/>
              <a:gd name="T80" fmla="*/ 207 w 280"/>
              <a:gd name="T81" fmla="*/ 247 h 413"/>
              <a:gd name="T82" fmla="*/ 75 w 280"/>
              <a:gd name="T83" fmla="*/ 247 h 413"/>
              <a:gd name="T84" fmla="*/ 75 w 280"/>
              <a:gd name="T85" fmla="*/ 232 h 413"/>
              <a:gd name="T86" fmla="*/ 74 w 280"/>
              <a:gd name="T87" fmla="*/ 313 h 413"/>
              <a:gd name="T88" fmla="*/ 74 w 280"/>
              <a:gd name="T89" fmla="*/ 299 h 413"/>
              <a:gd name="T90" fmla="*/ 206 w 280"/>
              <a:gd name="T91" fmla="*/ 299 h 413"/>
              <a:gd name="T92" fmla="*/ 206 w 280"/>
              <a:gd name="T93" fmla="*/ 313 h 413"/>
              <a:gd name="T94" fmla="*/ 74 w 280"/>
              <a:gd name="T95" fmla="*/ 313 h 413"/>
              <a:gd name="T96" fmla="*/ 206 w 280"/>
              <a:gd name="T97" fmla="*/ 347 h 413"/>
              <a:gd name="T98" fmla="*/ 73 w 280"/>
              <a:gd name="T99" fmla="*/ 347 h 413"/>
              <a:gd name="T100" fmla="*/ 73 w 280"/>
              <a:gd name="T101" fmla="*/ 332 h 413"/>
              <a:gd name="T102" fmla="*/ 206 w 280"/>
              <a:gd name="T103" fmla="*/ 332 h 413"/>
              <a:gd name="T104" fmla="*/ 206 w 280"/>
              <a:gd name="T105" fmla="*/ 347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0" h="413">
                <a:moveTo>
                  <a:pt x="273" y="0"/>
                </a:moveTo>
                <a:cubicBezTo>
                  <a:pt x="7" y="0"/>
                  <a:pt x="7" y="0"/>
                  <a:pt x="7" y="0"/>
                </a:cubicBezTo>
                <a:cubicBezTo>
                  <a:pt x="3" y="0"/>
                  <a:pt x="0" y="3"/>
                  <a:pt x="0" y="7"/>
                </a:cubicBezTo>
                <a:cubicBezTo>
                  <a:pt x="0" y="406"/>
                  <a:pt x="0" y="406"/>
                  <a:pt x="0" y="406"/>
                </a:cubicBezTo>
                <a:cubicBezTo>
                  <a:pt x="0" y="410"/>
                  <a:pt x="3" y="413"/>
                  <a:pt x="7" y="413"/>
                </a:cubicBezTo>
                <a:cubicBezTo>
                  <a:pt x="273" y="413"/>
                  <a:pt x="273" y="413"/>
                  <a:pt x="273" y="413"/>
                </a:cubicBezTo>
                <a:cubicBezTo>
                  <a:pt x="277" y="413"/>
                  <a:pt x="280" y="410"/>
                  <a:pt x="280" y="406"/>
                </a:cubicBezTo>
                <a:cubicBezTo>
                  <a:pt x="280" y="7"/>
                  <a:pt x="280" y="7"/>
                  <a:pt x="280" y="7"/>
                </a:cubicBezTo>
                <a:cubicBezTo>
                  <a:pt x="280" y="3"/>
                  <a:pt x="277" y="0"/>
                  <a:pt x="273" y="0"/>
                </a:cubicBezTo>
                <a:close/>
                <a:moveTo>
                  <a:pt x="266" y="398"/>
                </a:moveTo>
                <a:cubicBezTo>
                  <a:pt x="14" y="398"/>
                  <a:pt x="14" y="398"/>
                  <a:pt x="14" y="398"/>
                </a:cubicBezTo>
                <a:cubicBezTo>
                  <a:pt x="14" y="14"/>
                  <a:pt x="14" y="14"/>
                  <a:pt x="14" y="14"/>
                </a:cubicBezTo>
                <a:cubicBezTo>
                  <a:pt x="266" y="14"/>
                  <a:pt x="266" y="14"/>
                  <a:pt x="266" y="14"/>
                </a:cubicBezTo>
                <a:lnTo>
                  <a:pt x="266" y="398"/>
                </a:lnTo>
                <a:close/>
                <a:moveTo>
                  <a:pt x="108" y="81"/>
                </a:moveTo>
                <a:cubicBezTo>
                  <a:pt x="174" y="81"/>
                  <a:pt x="174" y="81"/>
                  <a:pt x="174" y="81"/>
                </a:cubicBezTo>
                <a:cubicBezTo>
                  <a:pt x="187" y="81"/>
                  <a:pt x="198" y="70"/>
                  <a:pt x="198" y="57"/>
                </a:cubicBezTo>
                <a:cubicBezTo>
                  <a:pt x="198" y="44"/>
                  <a:pt x="187" y="33"/>
                  <a:pt x="174" y="33"/>
                </a:cubicBezTo>
                <a:cubicBezTo>
                  <a:pt x="108" y="33"/>
                  <a:pt x="108" y="33"/>
                  <a:pt x="108" y="33"/>
                </a:cubicBezTo>
                <a:cubicBezTo>
                  <a:pt x="95" y="33"/>
                  <a:pt x="84" y="44"/>
                  <a:pt x="84" y="57"/>
                </a:cubicBezTo>
                <a:cubicBezTo>
                  <a:pt x="84" y="70"/>
                  <a:pt x="95" y="81"/>
                  <a:pt x="108" y="81"/>
                </a:cubicBezTo>
                <a:close/>
                <a:moveTo>
                  <a:pt x="108" y="48"/>
                </a:moveTo>
                <a:cubicBezTo>
                  <a:pt x="174" y="48"/>
                  <a:pt x="174" y="48"/>
                  <a:pt x="174" y="48"/>
                </a:cubicBezTo>
                <a:cubicBezTo>
                  <a:pt x="179" y="48"/>
                  <a:pt x="184" y="52"/>
                  <a:pt x="184" y="57"/>
                </a:cubicBezTo>
                <a:cubicBezTo>
                  <a:pt x="184" y="62"/>
                  <a:pt x="179" y="66"/>
                  <a:pt x="174" y="66"/>
                </a:cubicBezTo>
                <a:cubicBezTo>
                  <a:pt x="108" y="66"/>
                  <a:pt x="108" y="66"/>
                  <a:pt x="108" y="66"/>
                </a:cubicBezTo>
                <a:cubicBezTo>
                  <a:pt x="103" y="66"/>
                  <a:pt x="99" y="62"/>
                  <a:pt x="99" y="57"/>
                </a:cubicBezTo>
                <a:cubicBezTo>
                  <a:pt x="99" y="52"/>
                  <a:pt x="103" y="48"/>
                  <a:pt x="108" y="48"/>
                </a:cubicBezTo>
                <a:close/>
                <a:moveTo>
                  <a:pt x="140" y="207"/>
                </a:moveTo>
                <a:cubicBezTo>
                  <a:pt x="73" y="207"/>
                  <a:pt x="73" y="207"/>
                  <a:pt x="73" y="207"/>
                </a:cubicBezTo>
                <a:cubicBezTo>
                  <a:pt x="73" y="140"/>
                  <a:pt x="73" y="140"/>
                  <a:pt x="73" y="140"/>
                </a:cubicBezTo>
                <a:cubicBezTo>
                  <a:pt x="140" y="140"/>
                  <a:pt x="140" y="140"/>
                  <a:pt x="140" y="140"/>
                </a:cubicBezTo>
                <a:lnTo>
                  <a:pt x="140" y="207"/>
                </a:lnTo>
                <a:close/>
                <a:moveTo>
                  <a:pt x="206" y="280"/>
                </a:moveTo>
                <a:cubicBezTo>
                  <a:pt x="74" y="280"/>
                  <a:pt x="74" y="280"/>
                  <a:pt x="74" y="280"/>
                </a:cubicBezTo>
                <a:cubicBezTo>
                  <a:pt x="74" y="266"/>
                  <a:pt x="74" y="266"/>
                  <a:pt x="74" y="266"/>
                </a:cubicBezTo>
                <a:cubicBezTo>
                  <a:pt x="206" y="266"/>
                  <a:pt x="206" y="266"/>
                  <a:pt x="206" y="266"/>
                </a:cubicBezTo>
                <a:lnTo>
                  <a:pt x="206" y="280"/>
                </a:lnTo>
                <a:close/>
                <a:moveTo>
                  <a:pt x="75" y="232"/>
                </a:moveTo>
                <a:cubicBezTo>
                  <a:pt x="207" y="232"/>
                  <a:pt x="207" y="232"/>
                  <a:pt x="207" y="232"/>
                </a:cubicBezTo>
                <a:cubicBezTo>
                  <a:pt x="207" y="247"/>
                  <a:pt x="207" y="247"/>
                  <a:pt x="207" y="247"/>
                </a:cubicBezTo>
                <a:cubicBezTo>
                  <a:pt x="75" y="247"/>
                  <a:pt x="75" y="247"/>
                  <a:pt x="75" y="247"/>
                </a:cubicBezTo>
                <a:lnTo>
                  <a:pt x="75" y="232"/>
                </a:lnTo>
                <a:close/>
                <a:moveTo>
                  <a:pt x="74" y="313"/>
                </a:moveTo>
                <a:cubicBezTo>
                  <a:pt x="74" y="299"/>
                  <a:pt x="74" y="299"/>
                  <a:pt x="74" y="299"/>
                </a:cubicBezTo>
                <a:cubicBezTo>
                  <a:pt x="206" y="299"/>
                  <a:pt x="206" y="299"/>
                  <a:pt x="206" y="299"/>
                </a:cubicBezTo>
                <a:cubicBezTo>
                  <a:pt x="206" y="313"/>
                  <a:pt x="206" y="313"/>
                  <a:pt x="206" y="313"/>
                </a:cubicBezTo>
                <a:lnTo>
                  <a:pt x="74" y="313"/>
                </a:lnTo>
                <a:close/>
                <a:moveTo>
                  <a:pt x="206" y="347"/>
                </a:moveTo>
                <a:cubicBezTo>
                  <a:pt x="73" y="347"/>
                  <a:pt x="73" y="347"/>
                  <a:pt x="73" y="347"/>
                </a:cubicBezTo>
                <a:cubicBezTo>
                  <a:pt x="73" y="332"/>
                  <a:pt x="73" y="332"/>
                  <a:pt x="73" y="332"/>
                </a:cubicBezTo>
                <a:cubicBezTo>
                  <a:pt x="206" y="332"/>
                  <a:pt x="206" y="332"/>
                  <a:pt x="206" y="332"/>
                </a:cubicBezTo>
                <a:lnTo>
                  <a:pt x="206" y="347"/>
                </a:lnTo>
                <a:close/>
              </a:path>
            </a:pathLst>
          </a:custGeom>
          <a:solidFill>
            <a:schemeClr val="accent6"/>
          </a:solidFill>
          <a:ln>
            <a:noFill/>
          </a:ln>
        </p:spPr>
        <p:txBody>
          <a:bodyPr vert="horz" wrap="square" lIns="68586" tIns="34294" rIns="68586" bIns="34294" numCol="1" anchor="t" anchorCtr="0" compatLnSpc="1">
            <a:prstTxWarp prst="textNoShape">
              <a:avLst/>
            </a:prstTxWarp>
          </a:bodyPr>
          <a:lstStyle/>
          <a:p>
            <a:endParaRPr lang="en-US"/>
          </a:p>
        </p:txBody>
      </p:sp>
      <p:sp>
        <p:nvSpPr>
          <p:cNvPr id="25" name="Freeform 77"/>
          <p:cNvSpPr>
            <a:spLocks noEditPoints="1"/>
          </p:cNvSpPr>
          <p:nvPr/>
        </p:nvSpPr>
        <p:spPr bwMode="auto">
          <a:xfrm>
            <a:off x="7232453" y="1151229"/>
            <a:ext cx="1650922" cy="1132493"/>
          </a:xfrm>
          <a:custGeom>
            <a:avLst/>
            <a:gdLst>
              <a:gd name="T0" fmla="*/ 340 w 413"/>
              <a:gd name="T1" fmla="*/ 283 h 283"/>
              <a:gd name="T2" fmla="*/ 73 w 413"/>
              <a:gd name="T3" fmla="*/ 283 h 283"/>
              <a:gd name="T4" fmla="*/ 72 w 413"/>
              <a:gd name="T5" fmla="*/ 283 h 283"/>
              <a:gd name="T6" fmla="*/ 0 w 413"/>
              <a:gd name="T7" fmla="*/ 209 h 283"/>
              <a:gd name="T8" fmla="*/ 70 w 413"/>
              <a:gd name="T9" fmla="*/ 135 h 283"/>
              <a:gd name="T10" fmla="*/ 66 w 413"/>
              <a:gd name="T11" fmla="*/ 107 h 283"/>
              <a:gd name="T12" fmla="*/ 173 w 413"/>
              <a:gd name="T13" fmla="*/ 0 h 283"/>
              <a:gd name="T14" fmla="*/ 273 w 413"/>
              <a:gd name="T15" fmla="*/ 69 h 283"/>
              <a:gd name="T16" fmla="*/ 273 w 413"/>
              <a:gd name="T17" fmla="*/ 69 h 283"/>
              <a:gd name="T18" fmla="*/ 346 w 413"/>
              <a:gd name="T19" fmla="*/ 135 h 283"/>
              <a:gd name="T20" fmla="*/ 413 w 413"/>
              <a:gd name="T21" fmla="*/ 209 h 283"/>
              <a:gd name="T22" fmla="*/ 341 w 413"/>
              <a:gd name="T23" fmla="*/ 283 h 283"/>
              <a:gd name="T24" fmla="*/ 340 w 413"/>
              <a:gd name="T25" fmla="*/ 283 h 283"/>
              <a:gd name="T26" fmla="*/ 73 w 413"/>
              <a:gd name="T27" fmla="*/ 268 h 283"/>
              <a:gd name="T28" fmla="*/ 339 w 413"/>
              <a:gd name="T29" fmla="*/ 268 h 283"/>
              <a:gd name="T30" fmla="*/ 340 w 413"/>
              <a:gd name="T31" fmla="*/ 268 h 283"/>
              <a:gd name="T32" fmla="*/ 398 w 413"/>
              <a:gd name="T33" fmla="*/ 209 h 283"/>
              <a:gd name="T34" fmla="*/ 339 w 413"/>
              <a:gd name="T35" fmla="*/ 150 h 283"/>
              <a:gd name="T36" fmla="*/ 332 w 413"/>
              <a:gd name="T37" fmla="*/ 142 h 283"/>
              <a:gd name="T38" fmla="*/ 273 w 413"/>
              <a:gd name="T39" fmla="*/ 83 h 283"/>
              <a:gd name="T40" fmla="*/ 268 w 413"/>
              <a:gd name="T41" fmla="*/ 84 h 283"/>
              <a:gd name="T42" fmla="*/ 261 w 413"/>
              <a:gd name="T43" fmla="*/ 79 h 283"/>
              <a:gd name="T44" fmla="*/ 173 w 413"/>
              <a:gd name="T45" fmla="*/ 15 h 283"/>
              <a:gd name="T46" fmla="*/ 81 w 413"/>
              <a:gd name="T47" fmla="*/ 107 h 283"/>
              <a:gd name="T48" fmla="*/ 87 w 413"/>
              <a:gd name="T49" fmla="*/ 140 h 283"/>
              <a:gd name="T50" fmla="*/ 86 w 413"/>
              <a:gd name="T51" fmla="*/ 147 h 283"/>
              <a:gd name="T52" fmla="*/ 79 w 413"/>
              <a:gd name="T53" fmla="*/ 150 h 283"/>
              <a:gd name="T54" fmla="*/ 73 w 413"/>
              <a:gd name="T55" fmla="*/ 150 h 283"/>
              <a:gd name="T56" fmla="*/ 14 w 413"/>
              <a:gd name="T57" fmla="*/ 209 h 283"/>
              <a:gd name="T58" fmla="*/ 73 w 413"/>
              <a:gd name="T59" fmla="*/ 268 h 283"/>
              <a:gd name="T60" fmla="*/ 73 w 413"/>
              <a:gd name="T61" fmla="*/ 268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3" h="283">
                <a:moveTo>
                  <a:pt x="340" y="283"/>
                </a:moveTo>
                <a:cubicBezTo>
                  <a:pt x="73" y="283"/>
                  <a:pt x="73" y="283"/>
                  <a:pt x="73" y="283"/>
                </a:cubicBezTo>
                <a:cubicBezTo>
                  <a:pt x="73" y="283"/>
                  <a:pt x="72" y="283"/>
                  <a:pt x="72" y="283"/>
                </a:cubicBezTo>
                <a:cubicBezTo>
                  <a:pt x="32" y="282"/>
                  <a:pt x="0" y="249"/>
                  <a:pt x="0" y="209"/>
                </a:cubicBezTo>
                <a:cubicBezTo>
                  <a:pt x="0" y="169"/>
                  <a:pt x="31" y="137"/>
                  <a:pt x="70" y="135"/>
                </a:cubicBezTo>
                <a:cubicBezTo>
                  <a:pt x="67" y="126"/>
                  <a:pt x="66" y="117"/>
                  <a:pt x="66" y="107"/>
                </a:cubicBezTo>
                <a:cubicBezTo>
                  <a:pt x="66" y="48"/>
                  <a:pt x="114" y="0"/>
                  <a:pt x="173" y="0"/>
                </a:cubicBezTo>
                <a:cubicBezTo>
                  <a:pt x="217" y="0"/>
                  <a:pt x="257" y="27"/>
                  <a:pt x="273" y="69"/>
                </a:cubicBezTo>
                <a:cubicBezTo>
                  <a:pt x="273" y="69"/>
                  <a:pt x="273" y="69"/>
                  <a:pt x="273" y="69"/>
                </a:cubicBezTo>
                <a:cubicBezTo>
                  <a:pt x="311" y="69"/>
                  <a:pt x="343" y="98"/>
                  <a:pt x="346" y="135"/>
                </a:cubicBezTo>
                <a:cubicBezTo>
                  <a:pt x="384" y="139"/>
                  <a:pt x="413" y="171"/>
                  <a:pt x="413" y="209"/>
                </a:cubicBezTo>
                <a:cubicBezTo>
                  <a:pt x="413" y="249"/>
                  <a:pt x="381" y="282"/>
                  <a:pt x="341" y="283"/>
                </a:cubicBezTo>
                <a:cubicBezTo>
                  <a:pt x="340" y="283"/>
                  <a:pt x="340" y="283"/>
                  <a:pt x="340" y="283"/>
                </a:cubicBezTo>
                <a:close/>
                <a:moveTo>
                  <a:pt x="73" y="268"/>
                </a:moveTo>
                <a:cubicBezTo>
                  <a:pt x="339" y="268"/>
                  <a:pt x="339" y="268"/>
                  <a:pt x="339" y="268"/>
                </a:cubicBezTo>
                <a:cubicBezTo>
                  <a:pt x="339" y="268"/>
                  <a:pt x="340" y="268"/>
                  <a:pt x="340" y="268"/>
                </a:cubicBezTo>
                <a:cubicBezTo>
                  <a:pt x="372" y="268"/>
                  <a:pt x="398" y="241"/>
                  <a:pt x="398" y="209"/>
                </a:cubicBezTo>
                <a:cubicBezTo>
                  <a:pt x="398" y="176"/>
                  <a:pt x="372" y="150"/>
                  <a:pt x="339" y="150"/>
                </a:cubicBezTo>
                <a:cubicBezTo>
                  <a:pt x="335" y="150"/>
                  <a:pt x="332" y="146"/>
                  <a:pt x="332" y="142"/>
                </a:cubicBezTo>
                <a:cubicBezTo>
                  <a:pt x="332" y="110"/>
                  <a:pt x="305" y="83"/>
                  <a:pt x="273" y="83"/>
                </a:cubicBezTo>
                <a:cubicBezTo>
                  <a:pt x="271" y="83"/>
                  <a:pt x="270" y="83"/>
                  <a:pt x="268" y="84"/>
                </a:cubicBezTo>
                <a:cubicBezTo>
                  <a:pt x="265" y="84"/>
                  <a:pt x="262" y="82"/>
                  <a:pt x="261" y="79"/>
                </a:cubicBezTo>
                <a:cubicBezTo>
                  <a:pt x="248" y="40"/>
                  <a:pt x="213" y="15"/>
                  <a:pt x="173" y="15"/>
                </a:cubicBezTo>
                <a:cubicBezTo>
                  <a:pt x="122" y="15"/>
                  <a:pt x="81" y="56"/>
                  <a:pt x="81" y="107"/>
                </a:cubicBezTo>
                <a:cubicBezTo>
                  <a:pt x="81" y="118"/>
                  <a:pt x="83" y="129"/>
                  <a:pt x="87" y="140"/>
                </a:cubicBezTo>
                <a:cubicBezTo>
                  <a:pt x="88" y="142"/>
                  <a:pt x="87" y="145"/>
                  <a:pt x="86" y="147"/>
                </a:cubicBezTo>
                <a:cubicBezTo>
                  <a:pt x="84" y="149"/>
                  <a:pt x="82" y="150"/>
                  <a:pt x="79" y="150"/>
                </a:cubicBezTo>
                <a:cubicBezTo>
                  <a:pt x="77" y="150"/>
                  <a:pt x="75" y="150"/>
                  <a:pt x="73" y="150"/>
                </a:cubicBezTo>
                <a:cubicBezTo>
                  <a:pt x="41" y="150"/>
                  <a:pt x="14" y="176"/>
                  <a:pt x="14" y="209"/>
                </a:cubicBezTo>
                <a:cubicBezTo>
                  <a:pt x="14" y="241"/>
                  <a:pt x="41" y="268"/>
                  <a:pt x="73" y="268"/>
                </a:cubicBezTo>
                <a:cubicBezTo>
                  <a:pt x="73" y="268"/>
                  <a:pt x="73" y="268"/>
                  <a:pt x="73" y="268"/>
                </a:cubicBezTo>
                <a:close/>
              </a:path>
            </a:pathLst>
          </a:custGeom>
          <a:solidFill>
            <a:schemeClr val="accent4"/>
          </a:solidFill>
          <a:ln>
            <a:noFill/>
          </a:ln>
        </p:spPr>
        <p:txBody>
          <a:bodyPr vert="horz" wrap="square" lIns="68586" tIns="34294" rIns="68586" bIns="34294" numCol="1" anchor="t" anchorCtr="0" compatLnSpc="1">
            <a:prstTxWarp prst="textNoShape">
              <a:avLst/>
            </a:prstTxWarp>
          </a:bodyPr>
          <a:lstStyle/>
          <a:p>
            <a:endParaRPr lang="en-US"/>
          </a:p>
        </p:txBody>
      </p:sp>
      <p:sp>
        <p:nvSpPr>
          <p:cNvPr id="26"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7"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8"/>
              </a:rPr>
              <a:t>www.rapidbbs.cn</a:t>
            </a:r>
            <a:endParaRPr lang="zh-CN" altLang="en-US" sz="1200" b="0">
              <a:latin typeface="Arial" charset="0"/>
              <a:ea typeface="ＭＳ Ｐゴシック" pitchFamily="34" charset="-128"/>
            </a:endParaRPr>
          </a:p>
        </p:txBody>
      </p:sp>
      <p:pic>
        <p:nvPicPr>
          <p:cNvPr id="28" name="Picture 2">
            <a:hlinkClick r:id="rId8"/>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83324666"/>
      </p:ext>
    </p:extLst>
  </p:cSld>
  <p:clrMapOvr>
    <a:masterClrMapping/>
  </p:clrMapOvr>
  <mc:AlternateContent xmlns:mc="http://schemas.openxmlformats.org/markup-compatibility/2006" xmlns:p14="http://schemas.microsoft.com/office/powerpoint/2010/main">
    <mc:Choice Requires="p14">
      <p:transition spd="slow" p14:dur="1500">
        <p14:pan/>
      </p:transition>
    </mc:Choice>
    <mc:Fallback xmlns="">
      <p:transition spd="slow">
        <p:fade/>
      </p:transition>
    </mc:Fallback>
  </mc:AlternateContent>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172643"/>
            <a:ext cx="8382000" cy="457049"/>
          </a:xfrm>
        </p:spPr>
        <p:txBody>
          <a:bodyPr/>
          <a:lstStyle/>
          <a:p>
            <a:r>
              <a:rPr lang="en-US" dirty="0" smtClean="0"/>
              <a:t>Marketplace Content</a:t>
            </a:r>
            <a:endParaRPr lang="en-US" dirty="0">
              <a:solidFill>
                <a:schemeClr val="accent1"/>
              </a:solidFill>
            </a:endParaRPr>
          </a:p>
        </p:txBody>
      </p:sp>
      <p:pic>
        <p:nvPicPr>
          <p:cNvPr id="6" name="Picture 2" descr="C:\Users\Jordan\Desktop\TechEd_2012\TechEd-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6962" y="4619593"/>
            <a:ext cx="698151" cy="322326"/>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bwMode="auto">
          <a:xfrm>
            <a:off x="1" y="693332"/>
            <a:ext cx="4483909" cy="184904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205758" tIns="205758" rIns="68586" bIns="34294"/>
          <a:lstStyle/>
          <a:p>
            <a:pPr marL="2057588">
              <a:spcAft>
                <a:spcPts val="900"/>
              </a:spcAft>
            </a:pPr>
            <a:r>
              <a:rPr lang="en-US" b="1" dirty="0" smtClean="0"/>
              <a:t>Premium Data &amp; Services</a:t>
            </a:r>
          </a:p>
          <a:p>
            <a:pPr marL="2057588"/>
            <a:r>
              <a:rPr lang="en-US" sz="1200" dirty="0">
                <a:solidFill>
                  <a:srgbClr val="FFFFFF"/>
                </a:solidFill>
                <a:latin typeface="Segoe UI" pitchFamily="34" charset="0"/>
                <a:ea typeface="Segoe UI" pitchFamily="34" charset="0"/>
                <a:cs typeface="Segoe UI" pitchFamily="34" charset="0"/>
              </a:rPr>
              <a:t>The Marketplace offers more than 15 categories of high-quality curated data and data services. Publishers of premium data and Web services enjoy the full breadth of Marketplace services.</a:t>
            </a:r>
          </a:p>
        </p:txBody>
      </p:sp>
      <p:sp>
        <p:nvSpPr>
          <p:cNvPr id="7" name="Rectangle 6"/>
          <p:cNvSpPr/>
          <p:nvPr/>
        </p:nvSpPr>
        <p:spPr bwMode="auto">
          <a:xfrm>
            <a:off x="1" y="2682875"/>
            <a:ext cx="4483909" cy="1850231"/>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lIns="205758" tIns="205758" rIns="68586" bIns="34294"/>
          <a:lstStyle/>
          <a:p>
            <a:pPr marL="2057588">
              <a:spcAft>
                <a:spcPts val="900"/>
              </a:spcAft>
            </a:pPr>
            <a:r>
              <a:rPr lang="en-US" b="1" dirty="0" smtClean="0"/>
              <a:t>Free Data &amp; Services</a:t>
            </a:r>
          </a:p>
          <a:p>
            <a:pPr marL="2057588"/>
            <a:r>
              <a:rPr lang="en-US" sz="1200" dirty="0">
                <a:solidFill>
                  <a:srgbClr val="FFFFFF"/>
                </a:solidFill>
                <a:latin typeface="Segoe UI" pitchFamily="34" charset="0"/>
                <a:ea typeface="Segoe UI" pitchFamily="34" charset="0"/>
                <a:cs typeface="Segoe UI" pitchFamily="34" charset="0"/>
              </a:rPr>
              <a:t>Premium data and services often add insight on top of publically available knowledge. The Marketplace encourages Content Providers to distribute their free data to give uniform access to our ecosystem.</a:t>
            </a:r>
          </a:p>
          <a:p>
            <a:pPr marL="2057588"/>
            <a:endParaRPr lang="en-US" b="1" dirty="0">
              <a:solidFill>
                <a:srgbClr val="FFFFFF"/>
              </a:solidFill>
              <a:latin typeface="Segoe UI" pitchFamily="34" charset="0"/>
              <a:ea typeface="Segoe UI" pitchFamily="34" charset="0"/>
              <a:cs typeface="Segoe UI" pitchFamily="34" charset="0"/>
            </a:endParaRPr>
          </a:p>
        </p:txBody>
      </p:sp>
      <p:pic>
        <p:nvPicPr>
          <p:cNvPr id="8" name="Picture 10" descr="\\MAGNUM\Projects\Microsoft\Cloud Power FY12\Design\Icons\PNGs\Cylinder.png"/>
          <p:cNvPicPr>
            <a:picLocks noChangeAspect="1" noChangeArrowheads="1"/>
          </p:cNvPicPr>
          <p:nvPr/>
        </p:nvPicPr>
        <p:blipFill>
          <a:blip r:embed="rId4" cstate="print">
            <a:lum bright="100000"/>
          </a:blip>
          <a:srcRect/>
          <a:stretch>
            <a:fillRect/>
          </a:stretch>
        </p:blipFill>
        <p:spPr bwMode="auto">
          <a:xfrm rot="16200000">
            <a:off x="350360" y="2124704"/>
            <a:ext cx="1371600" cy="2964191"/>
          </a:xfrm>
          <a:prstGeom prst="rect">
            <a:avLst/>
          </a:prstGeom>
          <a:noFill/>
        </p:spPr>
      </p:pic>
      <p:sp>
        <p:nvSpPr>
          <p:cNvPr id="9" name="Rectangle 8"/>
          <p:cNvSpPr/>
          <p:nvPr/>
        </p:nvSpPr>
        <p:spPr bwMode="auto">
          <a:xfrm>
            <a:off x="4625150" y="692152"/>
            <a:ext cx="4517244" cy="184904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205758" tIns="205758" rIns="68586" bIns="34294"/>
          <a:lstStyle/>
          <a:p>
            <a:pPr marL="2057588">
              <a:spcAft>
                <a:spcPts val="900"/>
              </a:spcAft>
            </a:pPr>
            <a:r>
              <a:rPr lang="en-US" b="1" dirty="0" smtClean="0"/>
              <a:t>Premium Cloud Apps</a:t>
            </a:r>
          </a:p>
          <a:p>
            <a:pPr marL="2057588"/>
            <a:r>
              <a:rPr lang="en-US" sz="1200" dirty="0">
                <a:solidFill>
                  <a:srgbClr val="FFFFFF"/>
                </a:solidFill>
                <a:latin typeface="Segoe UI" pitchFamily="34" charset="0"/>
                <a:ea typeface="Segoe UI" pitchFamily="34" charset="0"/>
                <a:cs typeface="Segoe UI" pitchFamily="34" charset="0"/>
              </a:rPr>
              <a:t>Cloud Application developers depend on the Marketplace to manage the business of selling access to their applications, focusing instead on giving buyers the best value from their purchases.</a:t>
            </a:r>
          </a:p>
        </p:txBody>
      </p:sp>
      <p:sp>
        <p:nvSpPr>
          <p:cNvPr id="10" name="Rectangle 9"/>
          <p:cNvSpPr/>
          <p:nvPr/>
        </p:nvSpPr>
        <p:spPr bwMode="auto">
          <a:xfrm>
            <a:off x="4625150" y="2681684"/>
            <a:ext cx="4518850" cy="1850231"/>
          </a:xfrm>
          <a:prstGeom prst="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205758" tIns="205758" rIns="68586" bIns="34294"/>
          <a:lstStyle/>
          <a:p>
            <a:pPr marL="2057588">
              <a:spcAft>
                <a:spcPts val="900"/>
              </a:spcAft>
            </a:pPr>
            <a:r>
              <a:rPr lang="en-US" b="1" dirty="0" smtClean="0"/>
              <a:t>Catalog Apps</a:t>
            </a:r>
          </a:p>
          <a:p>
            <a:pPr marL="2057588"/>
            <a:r>
              <a:rPr lang="en-US" sz="1200" dirty="0">
                <a:solidFill>
                  <a:srgbClr val="FFFFFF"/>
                </a:solidFill>
                <a:latin typeface="Segoe UI" pitchFamily="34" charset="0"/>
                <a:ea typeface="Segoe UI" pitchFamily="34" charset="0"/>
                <a:cs typeface="Segoe UI" pitchFamily="34" charset="0"/>
              </a:rPr>
              <a:t>Apps that do not yet take advantage of Marketplace services can become more discoverable by being listed in the Marketplace’s extensive application catalog. </a:t>
            </a:r>
          </a:p>
        </p:txBody>
      </p:sp>
      <p:pic>
        <p:nvPicPr>
          <p:cNvPr id="11" name="Picture 10" descr="\\MAGNUM\Projects\Microsoft\Cloud Power FY12\Design\Icons\PNGs\Cylinder.png"/>
          <p:cNvPicPr>
            <a:picLocks noChangeAspect="1" noChangeArrowheads="1"/>
          </p:cNvPicPr>
          <p:nvPr/>
        </p:nvPicPr>
        <p:blipFill>
          <a:blip r:embed="rId4" cstate="print">
            <a:lum bright="100000"/>
          </a:blip>
          <a:srcRect/>
          <a:stretch>
            <a:fillRect/>
          </a:stretch>
        </p:blipFill>
        <p:spPr bwMode="auto">
          <a:xfrm rot="16200000">
            <a:off x="350360" y="134576"/>
            <a:ext cx="1371600" cy="2964191"/>
          </a:xfrm>
          <a:prstGeom prst="rect">
            <a:avLst/>
          </a:prstGeom>
          <a:noFill/>
        </p:spPr>
      </p:pic>
      <p:pic>
        <p:nvPicPr>
          <p:cNvPr id="12" name="Picture 2" descr="\\MAGNUM\Projects\Microsoft\Cloud Power FY12\Design\Icons\PNGs\Marketplace.png"/>
          <p:cNvPicPr>
            <a:picLocks noChangeAspect="1" noChangeArrowheads="1"/>
          </p:cNvPicPr>
          <p:nvPr/>
        </p:nvPicPr>
        <p:blipFill>
          <a:blip r:embed="rId5" cstate="print"/>
          <a:srcRect/>
          <a:stretch>
            <a:fillRect/>
          </a:stretch>
        </p:blipFill>
        <p:spPr bwMode="auto">
          <a:xfrm>
            <a:off x="722646" y="1304421"/>
            <a:ext cx="627028" cy="626864"/>
          </a:xfrm>
          <a:prstGeom prst="rect">
            <a:avLst/>
          </a:prstGeom>
          <a:noFill/>
        </p:spPr>
      </p:pic>
      <p:pic>
        <p:nvPicPr>
          <p:cNvPr id="13" name="Picture 4" descr="\\MAGNUM\Projects\Microsoft\Cloud Power FY12\Design\ICONS_PNG\IIS-MULTI-TENANCY.png"/>
          <p:cNvPicPr>
            <a:picLocks noChangeAspect="1" noChangeArrowheads="1"/>
          </p:cNvPicPr>
          <p:nvPr/>
        </p:nvPicPr>
        <p:blipFill>
          <a:blip r:embed="rId6" cstate="print">
            <a:lum bright="100000"/>
          </a:blip>
          <a:srcRect/>
          <a:stretch>
            <a:fillRect/>
          </a:stretch>
        </p:blipFill>
        <p:spPr bwMode="auto">
          <a:xfrm>
            <a:off x="4857826" y="2681684"/>
            <a:ext cx="1850713" cy="1850231"/>
          </a:xfrm>
          <a:prstGeom prst="rect">
            <a:avLst/>
          </a:prstGeom>
          <a:noFill/>
        </p:spPr>
      </p:pic>
      <p:pic>
        <p:nvPicPr>
          <p:cNvPr id="14" name="Picture 8" descr="\\MAGNUM\Projects\Microsoft\Cloud Power FY12\Design\Icons\PNGs\Cross Platform.png"/>
          <p:cNvPicPr>
            <a:picLocks noChangeAspect="1" noChangeArrowheads="1"/>
          </p:cNvPicPr>
          <p:nvPr/>
        </p:nvPicPr>
        <p:blipFill>
          <a:blip r:embed="rId7" cstate="print">
            <a:lum bright="100000"/>
          </a:blip>
          <a:stretch>
            <a:fillRect/>
          </a:stretch>
        </p:blipFill>
        <p:spPr bwMode="auto">
          <a:xfrm>
            <a:off x="4625149" y="685801"/>
            <a:ext cx="1855874" cy="1855391"/>
          </a:xfrm>
          <a:prstGeom prst="rect">
            <a:avLst/>
          </a:prstGeom>
          <a:noFill/>
        </p:spPr>
      </p:pic>
      <p:pic>
        <p:nvPicPr>
          <p:cNvPr id="15" name="Picture 2" descr="\\MAGNUM\Projects\Microsoft\Cloud Power FY12\Design\Icons\PNGs\Marketplace.png"/>
          <p:cNvPicPr>
            <a:picLocks noChangeAspect="1" noChangeArrowheads="1"/>
          </p:cNvPicPr>
          <p:nvPr/>
        </p:nvPicPr>
        <p:blipFill>
          <a:blip r:embed="rId5" cstate="print">
            <a:lum bright="100000"/>
          </a:blip>
          <a:srcRect/>
          <a:stretch>
            <a:fillRect/>
          </a:stretch>
        </p:blipFill>
        <p:spPr bwMode="auto">
          <a:xfrm>
            <a:off x="5181214" y="1304420"/>
            <a:ext cx="743747" cy="743553"/>
          </a:xfrm>
          <a:prstGeom prst="rect">
            <a:avLst/>
          </a:prstGeom>
          <a:noFill/>
        </p:spPr>
      </p:pic>
      <p:sp>
        <p:nvSpPr>
          <p:cNvPr id="16"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7"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8"/>
              </a:rPr>
              <a:t>www.rapidbbs.cn</a:t>
            </a:r>
            <a:endParaRPr lang="zh-CN" altLang="en-US" sz="1200" b="0">
              <a:latin typeface="Arial" charset="0"/>
              <a:ea typeface="ＭＳ Ｐゴシック" pitchFamily="34" charset="-128"/>
            </a:endParaRPr>
          </a:p>
        </p:txBody>
      </p:sp>
      <p:pic>
        <p:nvPicPr>
          <p:cNvPr id="18" name="Picture 2">
            <a:hlinkClick r:id="rId8"/>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39078079"/>
      </p:ext>
    </p:extLst>
  </p:cSld>
  <p:clrMapOvr>
    <a:masterClrMapping/>
  </p:clrMapOvr>
  <mc:AlternateContent xmlns:mc="http://schemas.openxmlformats.org/markup-compatibility/2006" xmlns:p14="http://schemas.microsoft.com/office/powerpoint/2010/main">
    <mc:Choice Requires="p14">
      <p:transition spd="slow" p14:dur="1500">
        <p14:pan/>
      </p:transition>
    </mc:Choice>
    <mc:Fallback xmlns="">
      <p:transition spd="slow">
        <p:fade/>
      </p:transition>
    </mc:Fallback>
  </mc:AlternateContent>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Agenda</a:t>
            </a:r>
            <a:endParaRPr lang="en-US" dirty="0"/>
          </a:p>
        </p:txBody>
      </p:sp>
      <p:grpSp>
        <p:nvGrpSpPr>
          <p:cNvPr id="43" name="Group 42"/>
          <p:cNvGrpSpPr/>
          <p:nvPr/>
        </p:nvGrpSpPr>
        <p:grpSpPr>
          <a:xfrm>
            <a:off x="374300" y="1059585"/>
            <a:ext cx="4035641" cy="1283323"/>
            <a:chOff x="475487" y="3209766"/>
            <a:chExt cx="5379454" cy="1711097"/>
          </a:xfrm>
        </p:grpSpPr>
        <p:grpSp>
          <p:nvGrpSpPr>
            <p:cNvPr id="44" name="Group 43"/>
            <p:cNvGrpSpPr/>
            <p:nvPr/>
          </p:nvGrpSpPr>
          <p:grpSpPr>
            <a:xfrm>
              <a:off x="519113" y="3293606"/>
              <a:ext cx="5335828" cy="1627257"/>
              <a:chOff x="1017586" y="1728746"/>
              <a:chExt cx="6159245" cy="1878374"/>
            </a:xfrm>
          </p:grpSpPr>
          <p:sp>
            <p:nvSpPr>
              <p:cNvPr id="46" name="Rectangle 45"/>
              <p:cNvSpPr/>
              <p:nvPr/>
            </p:nvSpPr>
            <p:spPr bwMode="auto">
              <a:xfrm>
                <a:off x="1017586" y="1728746"/>
                <a:ext cx="1878374" cy="187837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defTabSz="685552" fontAlgn="base">
                  <a:spcBef>
                    <a:spcPct val="0"/>
                  </a:spcBef>
                  <a:spcAft>
                    <a:spcPct val="0"/>
                  </a:spcAft>
                </a:pPr>
                <a:endParaRPr lang="en-US" sz="2400" spc="-38" dirty="0">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46"/>
              <p:cNvSpPr/>
              <p:nvPr/>
            </p:nvSpPr>
            <p:spPr bwMode="auto">
              <a:xfrm>
                <a:off x="3003503" y="1728746"/>
                <a:ext cx="4173328" cy="1878374"/>
              </a:xfrm>
              <a:prstGeom prst="rect">
                <a:avLst/>
              </a:prstGeom>
              <a:solidFill>
                <a:srgbClr val="3F3F3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marL="171445" defTabSz="685552" fontAlgn="base">
                  <a:spcBef>
                    <a:spcPct val="0"/>
                  </a:spcBef>
                  <a:spcAft>
                    <a:spcPct val="0"/>
                  </a:spcAft>
                </a:pPr>
                <a:r>
                  <a:rPr lang="en-US" sz="2300" dirty="0">
                    <a:solidFill>
                      <a:srgbClr val="FFFFFF">
                        <a:alpha val="99000"/>
                      </a:srgbClr>
                    </a:solidFill>
                    <a:latin typeface="Segoe UI Light"/>
                  </a:rPr>
                  <a:t>Journey to Cloud</a:t>
                </a:r>
              </a:p>
            </p:txBody>
          </p:sp>
        </p:grpSp>
        <p:pic>
          <p:nvPicPr>
            <p:cNvPr id="45" name="Picture 5" descr="\\MAGNUM\Projects\Microsoft\Cloud Power FY12\Design\ICONS_PNG\Increase.png"/>
            <p:cNvPicPr>
              <a:picLocks noChangeAspect="1" noChangeArrowheads="1"/>
            </p:cNvPicPr>
            <p:nvPr/>
          </p:nvPicPr>
          <p:blipFill>
            <a:blip r:embed="rId3" cstate="print">
              <a:biLevel thresh="50000"/>
            </a:blip>
            <a:srcRect/>
            <a:stretch>
              <a:fillRect/>
            </a:stretch>
          </p:blipFill>
          <p:spPr bwMode="auto">
            <a:xfrm>
              <a:off x="475487" y="3209766"/>
              <a:ext cx="1711097" cy="1711097"/>
            </a:xfrm>
            <a:prstGeom prst="rect">
              <a:avLst/>
            </a:prstGeom>
            <a:noFill/>
          </p:spPr>
        </p:pic>
      </p:grpSp>
      <p:grpSp>
        <p:nvGrpSpPr>
          <p:cNvPr id="3" name="Group 2"/>
          <p:cNvGrpSpPr/>
          <p:nvPr/>
        </p:nvGrpSpPr>
        <p:grpSpPr>
          <a:xfrm>
            <a:off x="403323" y="2416214"/>
            <a:ext cx="4006616" cy="1397675"/>
            <a:chOff x="519116" y="4597631"/>
            <a:chExt cx="5340764" cy="1863566"/>
          </a:xfrm>
        </p:grpSpPr>
        <p:sp>
          <p:nvSpPr>
            <p:cNvPr id="53" name="Rectangle 52"/>
            <p:cNvSpPr/>
            <p:nvPr/>
          </p:nvSpPr>
          <p:spPr bwMode="auto">
            <a:xfrm>
              <a:off x="2244476" y="4598974"/>
              <a:ext cx="3615404" cy="162725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marL="171445" defTabSz="685552" fontAlgn="base">
                <a:spcBef>
                  <a:spcPct val="0"/>
                </a:spcBef>
                <a:spcAft>
                  <a:spcPct val="0"/>
                </a:spcAft>
              </a:pPr>
              <a:r>
                <a:rPr lang="en-US" sz="2300" dirty="0">
                  <a:solidFill>
                    <a:srgbClr val="FFFFFF">
                      <a:alpha val="99000"/>
                    </a:srgbClr>
                  </a:solidFill>
                  <a:latin typeface="Segoe UI Light"/>
                </a:rPr>
                <a:t>SQL Server for Private Cloud</a:t>
              </a:r>
            </a:p>
          </p:txBody>
        </p:sp>
        <p:grpSp>
          <p:nvGrpSpPr>
            <p:cNvPr id="61" name="Group 60"/>
            <p:cNvGrpSpPr/>
            <p:nvPr/>
          </p:nvGrpSpPr>
          <p:grpSpPr>
            <a:xfrm>
              <a:off x="519116" y="4597631"/>
              <a:ext cx="1651766" cy="1863566"/>
              <a:chOff x="3319014" y="2698013"/>
              <a:chExt cx="2594039" cy="1477844"/>
            </a:xfrm>
          </p:grpSpPr>
          <p:sp>
            <p:nvSpPr>
              <p:cNvPr id="62" name="Rectangle 61"/>
              <p:cNvSpPr/>
              <p:nvPr/>
            </p:nvSpPr>
            <p:spPr bwMode="auto">
              <a:xfrm>
                <a:off x="3319014" y="2698013"/>
                <a:ext cx="2594039" cy="12876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0" bIns="91440" numCol="1" spcCol="0" rtlCol="0" fromWordArt="0" anchor="t" anchorCtr="0" forceAA="0" compatLnSpc="1">
                <a:prstTxWarp prst="textNoShape">
                  <a:avLst/>
                </a:prstTxWarp>
                <a:noAutofit/>
              </a:bodyPr>
              <a:lstStyle/>
              <a:p>
                <a:pPr>
                  <a:lnSpc>
                    <a:spcPct val="90000"/>
                  </a:lnSpc>
                </a:pPr>
                <a:r>
                  <a:rPr lang="en-US" sz="1600" dirty="0">
                    <a:solidFill>
                      <a:srgbClr val="FFFFFF">
                        <a:alpha val="99000"/>
                      </a:srgbClr>
                    </a:solidFill>
                    <a:latin typeface="Segoe UI" pitchFamily="34" charset="0"/>
                    <a:ea typeface="Segoe UI" pitchFamily="34" charset="0"/>
                    <a:cs typeface="Segoe UI" pitchFamily="34" charset="0"/>
                  </a:rPr>
                  <a:t>Private</a:t>
                </a:r>
              </a:p>
              <a:p>
                <a:pPr>
                  <a:lnSpc>
                    <a:spcPct val="90000"/>
                  </a:lnSpc>
                </a:pPr>
                <a:r>
                  <a:rPr lang="en-US" sz="900" dirty="0">
                    <a:solidFill>
                      <a:srgbClr val="FFFFFF">
                        <a:alpha val="99000"/>
                      </a:srgbClr>
                    </a:solidFill>
                    <a:latin typeface="Segoe UI" pitchFamily="34" charset="0"/>
                    <a:ea typeface="Segoe UI" pitchFamily="34" charset="0"/>
                    <a:cs typeface="Segoe UI" pitchFamily="34" charset="0"/>
                  </a:rPr>
                  <a:t>CLOUD</a:t>
                </a:r>
                <a:endParaRPr lang="fi-FI" sz="900" dirty="0">
                  <a:solidFill>
                    <a:srgbClr val="FFFFFF">
                      <a:alpha val="99000"/>
                    </a:srgbClr>
                  </a:solidFill>
                  <a:latin typeface="Segoe UI" pitchFamily="34" charset="0"/>
                  <a:ea typeface="Segoe UI" pitchFamily="34" charset="0"/>
                  <a:cs typeface="Segoe UI" pitchFamily="34" charset="0"/>
                </a:endParaRPr>
              </a:p>
            </p:txBody>
          </p:sp>
          <p:pic>
            <p:nvPicPr>
              <p:cNvPr id="63" name="Picture 2" descr="\\MAGNUM\Projects\Microsoft\Cloud Power FY12\Design\ICONS_PNG\Tower.png"/>
              <p:cNvPicPr>
                <a:picLocks noChangeAspect="1" noChangeArrowheads="1"/>
              </p:cNvPicPr>
              <p:nvPr/>
            </p:nvPicPr>
            <p:blipFill>
              <a:blip r:embed="rId4" cstate="print">
                <a:lum bright="100000" contrast="100000"/>
              </a:blip>
              <a:stretch>
                <a:fillRect/>
              </a:stretch>
            </p:blipFill>
            <p:spPr bwMode="auto">
              <a:xfrm>
                <a:off x="3583609" y="2772473"/>
                <a:ext cx="2024056" cy="1403384"/>
              </a:xfrm>
              <a:prstGeom prst="rect">
                <a:avLst/>
              </a:prstGeom>
              <a:noFill/>
            </p:spPr>
          </p:pic>
        </p:grpSp>
      </p:grpSp>
      <p:grpSp>
        <p:nvGrpSpPr>
          <p:cNvPr id="4" name="Group 3"/>
          <p:cNvGrpSpPr/>
          <p:nvPr/>
        </p:nvGrpSpPr>
        <p:grpSpPr>
          <a:xfrm>
            <a:off x="4553645" y="2390332"/>
            <a:ext cx="4004193" cy="1239797"/>
            <a:chOff x="6069946" y="4575224"/>
            <a:chExt cx="5337534" cy="1653062"/>
          </a:xfrm>
        </p:grpSpPr>
        <p:sp>
          <p:nvSpPr>
            <p:cNvPr id="60" name="Rectangle 59"/>
            <p:cNvSpPr/>
            <p:nvPr/>
          </p:nvSpPr>
          <p:spPr bwMode="auto">
            <a:xfrm>
              <a:off x="7792076" y="4579593"/>
              <a:ext cx="3615404" cy="162725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marL="171445" defTabSz="685552" fontAlgn="base">
                <a:spcBef>
                  <a:spcPct val="0"/>
                </a:spcBef>
                <a:spcAft>
                  <a:spcPct val="0"/>
                </a:spcAft>
              </a:pPr>
              <a:r>
                <a:rPr lang="en-US" sz="2300" dirty="0">
                  <a:solidFill>
                    <a:srgbClr val="FFFFFF">
                      <a:alpha val="99000"/>
                    </a:srgbClr>
                  </a:solidFill>
                  <a:latin typeface="Segoe UI Light"/>
                </a:rPr>
                <a:t>Database Tuned Private Cloud Appliance</a:t>
              </a:r>
            </a:p>
          </p:txBody>
        </p:sp>
        <p:sp>
          <p:nvSpPr>
            <p:cNvPr id="64" name="Rectangle 63"/>
            <p:cNvSpPr/>
            <p:nvPr/>
          </p:nvSpPr>
          <p:spPr bwMode="auto">
            <a:xfrm>
              <a:off x="6069946" y="4598974"/>
              <a:ext cx="1627258" cy="16272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defTabSz="685552" fontAlgn="base">
                <a:spcBef>
                  <a:spcPct val="0"/>
                </a:spcBef>
                <a:spcAft>
                  <a:spcPct val="0"/>
                </a:spcAft>
              </a:pPr>
              <a:endParaRPr lang="en-US" sz="2300" spc="-38" dirty="0">
                <a:gradFill>
                  <a:gsLst>
                    <a:gs pos="0">
                      <a:srgbClr val="FFFFFF"/>
                    </a:gs>
                    <a:gs pos="100000">
                      <a:srgbClr val="FFFFFF"/>
                    </a:gs>
                  </a:gsLst>
                  <a:lin ang="5400000" scaled="0"/>
                </a:gradFill>
                <a:ea typeface="Segoe UI" pitchFamily="34" charset="0"/>
                <a:cs typeface="Segoe UI" pitchFamily="34" charset="0"/>
              </a:endParaRPr>
            </a:p>
          </p:txBody>
        </p:sp>
        <p:pic>
          <p:nvPicPr>
            <p:cNvPr id="65" name="Picture 6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75817" y="4575224"/>
              <a:ext cx="668869" cy="1653062"/>
            </a:xfrm>
            <a:prstGeom prst="rect">
              <a:avLst/>
            </a:prstGeom>
          </p:spPr>
        </p:pic>
      </p:grpSp>
      <p:grpSp>
        <p:nvGrpSpPr>
          <p:cNvPr id="5" name="Group 4"/>
          <p:cNvGrpSpPr/>
          <p:nvPr/>
        </p:nvGrpSpPr>
        <p:grpSpPr>
          <a:xfrm>
            <a:off x="4553648" y="1059582"/>
            <a:ext cx="4002913" cy="1327254"/>
            <a:chOff x="6069946" y="1069716"/>
            <a:chExt cx="5335827" cy="1769672"/>
          </a:xfrm>
        </p:grpSpPr>
        <p:grpSp>
          <p:nvGrpSpPr>
            <p:cNvPr id="34" name="Group 33"/>
            <p:cNvGrpSpPr/>
            <p:nvPr/>
          </p:nvGrpSpPr>
          <p:grpSpPr>
            <a:xfrm>
              <a:off x="6069946" y="1137295"/>
              <a:ext cx="5335827" cy="1627257"/>
              <a:chOff x="1017586" y="1728746"/>
              <a:chExt cx="6159245" cy="1878374"/>
            </a:xfrm>
          </p:grpSpPr>
          <p:sp>
            <p:nvSpPr>
              <p:cNvPr id="36" name="Rectangle 35"/>
              <p:cNvSpPr/>
              <p:nvPr/>
            </p:nvSpPr>
            <p:spPr bwMode="auto">
              <a:xfrm>
                <a:off x="1017586" y="1728746"/>
                <a:ext cx="1878374" cy="1878374"/>
              </a:xfrm>
              <a:prstGeom prst="rect">
                <a:avLst/>
              </a:prstGeom>
              <a:solidFill>
                <a:srgbClr val="B5D33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defTabSz="685552" fontAlgn="base">
                  <a:spcBef>
                    <a:spcPct val="0"/>
                  </a:spcBef>
                  <a:spcAft>
                    <a:spcPct val="0"/>
                  </a:spcAft>
                </a:pPr>
                <a:endParaRPr lang="en-US" sz="2300" spc="-38" dirty="0">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p:nvSpPr>
            <p:spPr bwMode="auto">
              <a:xfrm>
                <a:off x="3003503" y="1728746"/>
                <a:ext cx="4173328" cy="1878374"/>
              </a:xfrm>
              <a:prstGeom prst="rect">
                <a:avLst/>
              </a:prstGeom>
              <a:solidFill>
                <a:srgbClr val="3F3F3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marL="171445" defTabSz="685552" fontAlgn="base">
                  <a:spcBef>
                    <a:spcPct val="0"/>
                  </a:spcBef>
                  <a:spcAft>
                    <a:spcPct val="0"/>
                  </a:spcAft>
                </a:pPr>
                <a:r>
                  <a:rPr lang="en-US" sz="2300" dirty="0">
                    <a:solidFill>
                      <a:srgbClr val="FFFFFF">
                        <a:alpha val="99000"/>
                      </a:srgbClr>
                    </a:solidFill>
                    <a:latin typeface="Segoe UI Light"/>
                  </a:rPr>
                  <a:t>Best Practices and Roadmap</a:t>
                </a:r>
                <a:endParaRPr lang="cs-CZ" sz="2300" dirty="0">
                  <a:solidFill>
                    <a:srgbClr val="FFFFFF">
                      <a:alpha val="99000"/>
                    </a:srgbClr>
                  </a:solidFill>
                  <a:latin typeface="Segoe UI Light"/>
                </a:endParaRPr>
              </a:p>
            </p:txBody>
          </p:sp>
        </p:grpSp>
        <p:pic>
          <p:nvPicPr>
            <p:cNvPr id="48" name="Picture 2" descr="\\MAGNUM\Projects\Microsoft\Cloud Power FY12\Design\ICONS_PNG\Tower.png"/>
            <p:cNvPicPr>
              <a:picLocks noChangeAspect="1" noChangeArrowheads="1"/>
            </p:cNvPicPr>
            <p:nvPr/>
          </p:nvPicPr>
          <p:blipFill>
            <a:blip r:embed="rId4" cstate="print">
              <a:lum bright="100000" contrast="100000"/>
            </a:blip>
            <a:stretch>
              <a:fillRect/>
            </a:stretch>
          </p:blipFill>
          <p:spPr bwMode="auto">
            <a:xfrm>
              <a:off x="6238427" y="1069716"/>
              <a:ext cx="1288827" cy="1769672"/>
            </a:xfrm>
            <a:prstGeom prst="rect">
              <a:avLst/>
            </a:prstGeom>
            <a:noFill/>
          </p:spPr>
        </p:pic>
      </p:grpSp>
      <p:sp>
        <p:nvSpPr>
          <p:cNvPr id="22"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3"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6"/>
              </a:rPr>
              <a:t>www.rapidbbs.cn</a:t>
            </a:r>
            <a:endParaRPr lang="zh-CN" altLang="en-US" sz="1200" b="0">
              <a:latin typeface="Arial" charset="0"/>
              <a:ea typeface="ＭＳ Ｐゴシック" pitchFamily="34" charset="-128"/>
            </a:endParaRPr>
          </a:p>
        </p:txBody>
      </p:sp>
      <p:pic>
        <p:nvPicPr>
          <p:cNvPr id="24" name="Picture 2">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07445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250"/>
                                  </p:stCondLst>
                                  <p:childTnLst>
                                    <p:set>
                                      <p:cBhvr>
                                        <p:cTn id="6" dur="1" fill="hold">
                                          <p:stCondLst>
                                            <p:cond delay="0"/>
                                          </p:stCondLst>
                                        </p:cTn>
                                        <p:tgtEl>
                                          <p:spTgt spid="43"/>
                                        </p:tgtEl>
                                        <p:attrNameLst>
                                          <p:attrName>style.visibility</p:attrName>
                                        </p:attrNameLst>
                                      </p:cBhvr>
                                      <p:to>
                                        <p:strVal val="visible"/>
                                      </p:to>
                                    </p:set>
                                    <p:animEffect transition="in" filter="fade">
                                      <p:cBhvr>
                                        <p:cTn id="7" dur="850"/>
                                        <p:tgtEl>
                                          <p:spTgt spid="43"/>
                                        </p:tgtEl>
                                      </p:cBhvr>
                                    </p:animEffect>
                                  </p:childTnLst>
                                </p:cTn>
                              </p:par>
                            </p:childTnLst>
                          </p:cTn>
                        </p:par>
                        <p:par>
                          <p:cTn id="8" fill="hold">
                            <p:stCondLst>
                              <p:cond delay="110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850"/>
                                        <p:tgtEl>
                                          <p:spTgt spid="3"/>
                                        </p:tgtEl>
                                      </p:cBhvr>
                                    </p:animEffect>
                                  </p:childTnLst>
                                </p:cTn>
                              </p:par>
                              <p:par>
                                <p:cTn id="12" presetID="1" presetClass="entr" presetSubtype="0" fill="hold" nodeType="withEffect">
                                  <p:stCondLst>
                                    <p:cond delay="850"/>
                                  </p:stCondLst>
                                  <p:childTnLst>
                                    <p:set>
                                      <p:cBhvr>
                                        <p:cTn id="13" dur="1" fill="hold">
                                          <p:stCondLst>
                                            <p:cond delay="0"/>
                                          </p:stCondLst>
                                        </p:cTn>
                                        <p:tgtEl>
                                          <p:spTgt spid="5"/>
                                        </p:tgtEl>
                                        <p:attrNameLst>
                                          <p:attrName>style.visibility</p:attrName>
                                        </p:attrNameLst>
                                      </p:cBhvr>
                                      <p:to>
                                        <p:strVal val="visible"/>
                                      </p:to>
                                    </p:set>
                                  </p:childTnLst>
                                </p:cTn>
                              </p:par>
                            </p:childTnLst>
                          </p:cTn>
                        </p:par>
                        <p:par>
                          <p:cTn id="14" fill="hold">
                            <p:stCondLst>
                              <p:cond delay="1950"/>
                            </p:stCondLst>
                            <p:childTnLst>
                              <p:par>
                                <p:cTn id="15" presetID="10" presetClass="entr" presetSubtype="0" fill="hold" nodeType="afterEffect">
                                  <p:stCondLst>
                                    <p:cond delay="40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9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custDataLst>
              <p:tags r:id="rId1"/>
            </p:custDataLst>
          </p:nvPr>
        </p:nvSpPr>
        <p:spPr bwMode="auto">
          <a:xfrm>
            <a:off x="547475" y="3280872"/>
            <a:ext cx="1480862" cy="1231430"/>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28" tIns="137172" rIns="91428" bIns="45714" numCol="1" rtlCol="0" anchor="t" anchorCtr="0" compatLnSpc="1">
            <a:prstTxWarp prst="textNoShape">
              <a:avLst/>
            </a:prstTxWarp>
            <a:noAutofit/>
          </a:bodyPr>
          <a:lstStyle/>
          <a:p>
            <a:pPr defTabSz="914045" fontAlgn="base">
              <a:lnSpc>
                <a:spcPct val="90000"/>
              </a:lnSpc>
              <a:spcBef>
                <a:spcPts val="630"/>
              </a:spcBef>
              <a:spcAft>
                <a:spcPct val="0"/>
              </a:spcAft>
              <a:buClr>
                <a:schemeClr val="bg2">
                  <a:lumMod val="75000"/>
                </a:schemeClr>
              </a:buClr>
              <a:buSzPct val="100000"/>
            </a:pPr>
            <a:r>
              <a:rPr lang="en-US" sz="1100" dirty="0">
                <a:ln>
                  <a:solidFill>
                    <a:srgbClr val="FFFFFF">
                      <a:alpha val="0"/>
                    </a:srgbClr>
                  </a:solidFill>
                </a:ln>
                <a:solidFill>
                  <a:srgbClr val="FFFFFF">
                    <a:alpha val="99000"/>
                  </a:srgbClr>
                </a:solidFill>
                <a:cs typeface="Segoe UI" pitchFamily="34" charset="0"/>
              </a:rPr>
              <a:t>Consolidation</a:t>
            </a:r>
          </a:p>
          <a:p>
            <a:pPr defTabSz="914045" fontAlgn="base">
              <a:lnSpc>
                <a:spcPct val="90000"/>
              </a:lnSpc>
              <a:spcBef>
                <a:spcPts val="630"/>
              </a:spcBef>
              <a:spcAft>
                <a:spcPct val="0"/>
              </a:spcAft>
              <a:buClr>
                <a:schemeClr val="bg2">
                  <a:lumMod val="75000"/>
                </a:schemeClr>
              </a:buClr>
              <a:buSzPct val="100000"/>
            </a:pPr>
            <a:r>
              <a:rPr lang="en-US" sz="1100" dirty="0">
                <a:ln>
                  <a:solidFill>
                    <a:srgbClr val="FFFFFF">
                      <a:alpha val="0"/>
                    </a:srgbClr>
                  </a:solidFill>
                </a:ln>
                <a:solidFill>
                  <a:srgbClr val="FFFFFF">
                    <a:alpha val="99000"/>
                  </a:srgbClr>
                </a:solidFill>
                <a:cs typeface="Segoe UI" pitchFamily="34" charset="0"/>
              </a:rPr>
              <a:t>Capital expense</a:t>
            </a:r>
          </a:p>
          <a:p>
            <a:pPr defTabSz="914045" fontAlgn="base">
              <a:lnSpc>
                <a:spcPct val="90000"/>
              </a:lnSpc>
              <a:spcBef>
                <a:spcPts val="630"/>
              </a:spcBef>
              <a:spcAft>
                <a:spcPct val="0"/>
              </a:spcAft>
              <a:buClr>
                <a:schemeClr val="bg2">
                  <a:lumMod val="75000"/>
                </a:schemeClr>
              </a:buClr>
              <a:buSzPct val="100000"/>
            </a:pPr>
            <a:endParaRPr lang="en-US" sz="1100" dirty="0">
              <a:ln>
                <a:solidFill>
                  <a:srgbClr val="FFFFFF">
                    <a:alpha val="0"/>
                  </a:srgbClr>
                </a:solidFill>
              </a:ln>
              <a:solidFill>
                <a:srgbClr val="FFFFFF">
                  <a:alpha val="99000"/>
                </a:srgbClr>
              </a:solidFill>
              <a:cs typeface="Segoe UI" pitchFamily="34" charset="0"/>
            </a:endParaRPr>
          </a:p>
        </p:txBody>
      </p:sp>
      <p:sp>
        <p:nvSpPr>
          <p:cNvPr id="2" name="Title 1"/>
          <p:cNvSpPr>
            <a:spLocks noGrp="1"/>
          </p:cNvSpPr>
          <p:nvPr>
            <p:ph type="title"/>
          </p:nvPr>
        </p:nvSpPr>
        <p:spPr/>
        <p:txBody>
          <a:bodyPr>
            <a:normAutofit fontScale="90000"/>
          </a:bodyPr>
          <a:lstStyle/>
          <a:p>
            <a:r>
              <a:rPr lang="en-US" dirty="0" smtClean="0"/>
              <a:t>Journey to Cloud</a:t>
            </a:r>
            <a:br>
              <a:rPr lang="en-US" dirty="0" smtClean="0"/>
            </a:br>
            <a:r>
              <a:rPr lang="en-US" sz="2300" dirty="0">
                <a:solidFill>
                  <a:srgbClr val="FFC000"/>
                </a:solidFill>
              </a:rPr>
              <a:t>Evolution of Virtualization</a:t>
            </a:r>
          </a:p>
        </p:txBody>
      </p:sp>
      <p:sp>
        <p:nvSpPr>
          <p:cNvPr id="6" name="Rectangle 5"/>
          <p:cNvSpPr/>
          <p:nvPr>
            <p:custDataLst>
              <p:tags r:id="rId2"/>
            </p:custDataLst>
          </p:nvPr>
        </p:nvSpPr>
        <p:spPr bwMode="auto">
          <a:xfrm>
            <a:off x="547475" y="1059336"/>
            <a:ext cx="1480862" cy="2130552"/>
          </a:xfrm>
          <a:prstGeom prst="rect">
            <a:avLst/>
          </a:prstGeom>
          <a:solidFill>
            <a:schemeClr val="accent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68586" tIns="1028794" rIns="68586" bIns="34294" numCol="1" rtlCol="0" anchor="ctr" anchorCtr="0" compatLnSpc="1">
            <a:prstTxWarp prst="textNoShape">
              <a:avLst/>
            </a:prstTxWarp>
            <a:noAutofit/>
          </a:bodyPr>
          <a:lstStyle/>
          <a:p>
            <a:pPr algn="ctr" defTabSz="914045" fontAlgn="base">
              <a:lnSpc>
                <a:spcPct val="90000"/>
              </a:lnSpc>
              <a:spcBef>
                <a:spcPts val="630"/>
              </a:spcBef>
              <a:spcAft>
                <a:spcPct val="0"/>
              </a:spcAft>
              <a:buClr>
                <a:srgbClr val="FFFF99"/>
              </a:buClr>
              <a:buSzPct val="120000"/>
              <a:defRPr/>
            </a:pPr>
            <a:r>
              <a:rPr lang="en-US" dirty="0" smtClean="0">
                <a:ln>
                  <a:solidFill>
                    <a:srgbClr val="FFFFFF">
                      <a:alpha val="0"/>
                    </a:srgbClr>
                  </a:solidFill>
                </a:ln>
                <a:solidFill>
                  <a:srgbClr val="FFFFFF">
                    <a:alpha val="99000"/>
                  </a:srgbClr>
                </a:solidFill>
                <a:cs typeface="Segoe UI" pitchFamily="34" charset="0"/>
              </a:rPr>
              <a:t>Server Virtualization</a:t>
            </a:r>
            <a:endParaRPr lang="en-US" dirty="0">
              <a:ln>
                <a:solidFill>
                  <a:srgbClr val="FFFFFF">
                    <a:alpha val="0"/>
                  </a:srgbClr>
                </a:solidFill>
              </a:ln>
              <a:solidFill>
                <a:srgbClr val="FFFFFF">
                  <a:alpha val="99000"/>
                </a:srgbClr>
              </a:solidFill>
              <a:cs typeface="Segoe UI" pitchFamily="34" charset="0"/>
            </a:endParaRPr>
          </a:p>
        </p:txBody>
      </p:sp>
      <p:sp>
        <p:nvSpPr>
          <p:cNvPr id="43" name="Rectangle 42"/>
          <p:cNvSpPr/>
          <p:nvPr>
            <p:custDataLst>
              <p:tags r:id="rId3"/>
            </p:custDataLst>
          </p:nvPr>
        </p:nvSpPr>
        <p:spPr bwMode="auto">
          <a:xfrm>
            <a:off x="2171072" y="3265777"/>
            <a:ext cx="1480862" cy="1231430"/>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28" tIns="137172" rIns="91428" bIns="45714" numCol="1" rtlCol="0" anchor="t" anchorCtr="0" compatLnSpc="1">
            <a:prstTxWarp prst="textNoShape">
              <a:avLst/>
            </a:prstTxWarp>
            <a:noAutofit/>
          </a:bodyPr>
          <a:lstStyle/>
          <a:p>
            <a:pPr defTabSz="914045" fontAlgn="base">
              <a:lnSpc>
                <a:spcPct val="90000"/>
              </a:lnSpc>
              <a:spcBef>
                <a:spcPts val="630"/>
              </a:spcBef>
              <a:spcAft>
                <a:spcPct val="0"/>
              </a:spcAft>
              <a:buClr>
                <a:schemeClr val="bg2">
                  <a:lumMod val="75000"/>
                </a:schemeClr>
              </a:buClr>
              <a:buSzPct val="100000"/>
            </a:pPr>
            <a:r>
              <a:rPr lang="en-US" sz="1100" dirty="0">
                <a:ln>
                  <a:solidFill>
                    <a:srgbClr val="FFFFFF">
                      <a:alpha val="0"/>
                    </a:srgbClr>
                  </a:solidFill>
                </a:ln>
                <a:solidFill>
                  <a:srgbClr val="FFFFFF">
                    <a:alpha val="99000"/>
                  </a:srgbClr>
                </a:solidFill>
                <a:cs typeface="Segoe UI" pitchFamily="34" charset="0"/>
              </a:rPr>
              <a:t>Flexibility and speed</a:t>
            </a:r>
          </a:p>
          <a:p>
            <a:pPr defTabSz="914045" fontAlgn="base">
              <a:lnSpc>
                <a:spcPct val="90000"/>
              </a:lnSpc>
              <a:spcBef>
                <a:spcPts val="630"/>
              </a:spcBef>
              <a:spcAft>
                <a:spcPct val="0"/>
              </a:spcAft>
              <a:buClr>
                <a:schemeClr val="bg2">
                  <a:lumMod val="75000"/>
                </a:schemeClr>
              </a:buClr>
              <a:buSzPct val="100000"/>
            </a:pPr>
            <a:r>
              <a:rPr lang="en-US" sz="1100" dirty="0">
                <a:ln>
                  <a:solidFill>
                    <a:srgbClr val="FFFFFF">
                      <a:alpha val="0"/>
                    </a:srgbClr>
                  </a:solidFill>
                </a:ln>
                <a:solidFill>
                  <a:srgbClr val="FFFFFF">
                    <a:alpha val="99000"/>
                  </a:srgbClr>
                </a:solidFill>
                <a:cs typeface="Segoe UI" pitchFamily="34" charset="0"/>
              </a:rPr>
              <a:t>Operational expense, automation</a:t>
            </a:r>
          </a:p>
          <a:p>
            <a:pPr defTabSz="914045" fontAlgn="base">
              <a:lnSpc>
                <a:spcPct val="90000"/>
              </a:lnSpc>
              <a:spcBef>
                <a:spcPts val="630"/>
              </a:spcBef>
              <a:spcAft>
                <a:spcPct val="0"/>
              </a:spcAft>
              <a:buClr>
                <a:schemeClr val="bg2">
                  <a:lumMod val="75000"/>
                </a:schemeClr>
              </a:buClr>
              <a:buSzPct val="100000"/>
            </a:pPr>
            <a:r>
              <a:rPr lang="en-US" sz="1100" dirty="0">
                <a:ln>
                  <a:solidFill>
                    <a:srgbClr val="FFFFFF">
                      <a:alpha val="0"/>
                    </a:srgbClr>
                  </a:solidFill>
                </a:ln>
                <a:solidFill>
                  <a:srgbClr val="FFFFFF">
                    <a:alpha val="99000"/>
                  </a:srgbClr>
                </a:solidFill>
                <a:cs typeface="Segoe UI" pitchFamily="34" charset="0"/>
              </a:rPr>
              <a:t>Less downtime</a:t>
            </a:r>
          </a:p>
          <a:p>
            <a:pPr defTabSz="914045" fontAlgn="base">
              <a:lnSpc>
                <a:spcPct val="90000"/>
              </a:lnSpc>
              <a:spcBef>
                <a:spcPts val="630"/>
              </a:spcBef>
              <a:spcAft>
                <a:spcPct val="0"/>
              </a:spcAft>
              <a:buClr>
                <a:schemeClr val="bg2">
                  <a:lumMod val="75000"/>
                </a:schemeClr>
              </a:buClr>
              <a:buSzPct val="100000"/>
            </a:pPr>
            <a:endParaRPr lang="en-US" sz="1100" dirty="0">
              <a:ln>
                <a:solidFill>
                  <a:srgbClr val="FFFFFF">
                    <a:alpha val="0"/>
                  </a:srgbClr>
                </a:solidFill>
              </a:ln>
              <a:solidFill>
                <a:srgbClr val="FFFFFF">
                  <a:alpha val="99000"/>
                </a:srgbClr>
              </a:solidFill>
              <a:cs typeface="Segoe UI" pitchFamily="34" charset="0"/>
            </a:endParaRPr>
          </a:p>
        </p:txBody>
      </p:sp>
      <p:sp>
        <p:nvSpPr>
          <p:cNvPr id="45" name="Rectangle 44"/>
          <p:cNvSpPr/>
          <p:nvPr>
            <p:custDataLst>
              <p:tags r:id="rId4"/>
            </p:custDataLst>
          </p:nvPr>
        </p:nvSpPr>
        <p:spPr bwMode="auto">
          <a:xfrm>
            <a:off x="2171072" y="1044241"/>
            <a:ext cx="1480862" cy="2130552"/>
          </a:xfrm>
          <a:prstGeom prst="rect">
            <a:avLst/>
          </a:prstGeom>
          <a:solidFill>
            <a:schemeClr val="accent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68586" tIns="1028794" rIns="68586" bIns="34294" numCol="1" rtlCol="0" anchor="ctr" anchorCtr="0" compatLnSpc="1">
            <a:prstTxWarp prst="textNoShape">
              <a:avLst/>
            </a:prstTxWarp>
            <a:noAutofit/>
          </a:bodyPr>
          <a:lstStyle/>
          <a:p>
            <a:pPr algn="ctr" defTabSz="914045" fontAlgn="base">
              <a:lnSpc>
                <a:spcPct val="90000"/>
              </a:lnSpc>
              <a:spcBef>
                <a:spcPts val="630"/>
              </a:spcBef>
              <a:spcAft>
                <a:spcPct val="0"/>
              </a:spcAft>
              <a:buClr>
                <a:srgbClr val="FFFF99"/>
              </a:buClr>
              <a:buSzPct val="120000"/>
              <a:defRPr/>
            </a:pPr>
            <a:r>
              <a:rPr lang="en-US" dirty="0" smtClean="0">
                <a:ln>
                  <a:solidFill>
                    <a:srgbClr val="FFFFFF">
                      <a:alpha val="0"/>
                    </a:srgbClr>
                  </a:solidFill>
                </a:ln>
                <a:solidFill>
                  <a:srgbClr val="FFFFFF">
                    <a:alpha val="99000"/>
                  </a:srgbClr>
                </a:solidFill>
                <a:cs typeface="Segoe UI" pitchFamily="34" charset="0"/>
              </a:rPr>
              <a:t>Distributed Virtualization</a:t>
            </a:r>
            <a:endParaRPr lang="en-US" dirty="0">
              <a:ln>
                <a:solidFill>
                  <a:srgbClr val="FFFFFF">
                    <a:alpha val="0"/>
                  </a:srgbClr>
                </a:solidFill>
              </a:ln>
              <a:solidFill>
                <a:srgbClr val="FFFFFF">
                  <a:alpha val="99000"/>
                </a:srgbClr>
              </a:solidFill>
              <a:cs typeface="Segoe UI" pitchFamily="34" charset="0"/>
            </a:endParaRPr>
          </a:p>
        </p:txBody>
      </p:sp>
      <p:sp>
        <p:nvSpPr>
          <p:cNvPr id="47" name="Rectangle 46"/>
          <p:cNvSpPr/>
          <p:nvPr>
            <p:custDataLst>
              <p:tags r:id="rId5"/>
            </p:custDataLst>
          </p:nvPr>
        </p:nvSpPr>
        <p:spPr bwMode="auto">
          <a:xfrm>
            <a:off x="3838040" y="3279613"/>
            <a:ext cx="1480862" cy="1231430"/>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28" tIns="137172" rIns="91428" bIns="45714" numCol="1" rtlCol="0" anchor="t" anchorCtr="0" compatLnSpc="1">
            <a:prstTxWarp prst="textNoShape">
              <a:avLst/>
            </a:prstTxWarp>
            <a:noAutofit/>
          </a:bodyPr>
          <a:lstStyle/>
          <a:p>
            <a:pPr defTabSz="914045" fontAlgn="base">
              <a:lnSpc>
                <a:spcPct val="90000"/>
              </a:lnSpc>
              <a:spcBef>
                <a:spcPts val="630"/>
              </a:spcBef>
              <a:spcAft>
                <a:spcPct val="0"/>
              </a:spcAft>
              <a:buClr>
                <a:schemeClr val="bg2">
                  <a:lumMod val="75000"/>
                </a:schemeClr>
              </a:buClr>
              <a:buSzPct val="100000"/>
            </a:pPr>
            <a:r>
              <a:rPr lang="en-US" sz="1100" dirty="0">
                <a:ln>
                  <a:solidFill>
                    <a:srgbClr val="FFFFFF">
                      <a:alpha val="0"/>
                    </a:srgbClr>
                  </a:solidFill>
                </a:ln>
                <a:solidFill>
                  <a:srgbClr val="FFFFFF">
                    <a:alpha val="99000"/>
                  </a:srgbClr>
                </a:solidFill>
                <a:cs typeface="Segoe UI" pitchFamily="34" charset="0"/>
              </a:rPr>
              <a:t>Self-service agility</a:t>
            </a:r>
          </a:p>
          <a:p>
            <a:pPr defTabSz="914045" fontAlgn="base">
              <a:lnSpc>
                <a:spcPct val="90000"/>
              </a:lnSpc>
              <a:spcBef>
                <a:spcPts val="630"/>
              </a:spcBef>
              <a:spcAft>
                <a:spcPct val="0"/>
              </a:spcAft>
              <a:buClr>
                <a:schemeClr val="bg2">
                  <a:lumMod val="75000"/>
                </a:schemeClr>
              </a:buClr>
              <a:buSzPct val="100000"/>
            </a:pPr>
            <a:r>
              <a:rPr lang="en-US" sz="1100" dirty="0">
                <a:ln>
                  <a:solidFill>
                    <a:srgbClr val="FFFFFF">
                      <a:alpha val="0"/>
                    </a:srgbClr>
                  </a:solidFill>
                </a:ln>
                <a:solidFill>
                  <a:srgbClr val="FFFFFF">
                    <a:alpha val="99000"/>
                  </a:srgbClr>
                </a:solidFill>
                <a:cs typeface="Segoe UI" pitchFamily="34" charset="0"/>
              </a:rPr>
              <a:t>Standardization</a:t>
            </a:r>
          </a:p>
          <a:p>
            <a:pPr defTabSz="914045" fontAlgn="base">
              <a:lnSpc>
                <a:spcPct val="90000"/>
              </a:lnSpc>
              <a:spcBef>
                <a:spcPts val="630"/>
              </a:spcBef>
              <a:spcAft>
                <a:spcPct val="0"/>
              </a:spcAft>
              <a:buClr>
                <a:schemeClr val="bg2">
                  <a:lumMod val="75000"/>
                </a:schemeClr>
              </a:buClr>
              <a:buSzPct val="100000"/>
            </a:pPr>
            <a:r>
              <a:rPr lang="en-US" sz="1100" dirty="0">
                <a:ln>
                  <a:solidFill>
                    <a:srgbClr val="FFFFFF">
                      <a:alpha val="0"/>
                    </a:srgbClr>
                  </a:solidFill>
                </a:ln>
                <a:solidFill>
                  <a:srgbClr val="FFFFFF">
                    <a:alpha val="99000"/>
                  </a:srgbClr>
                </a:solidFill>
                <a:cs typeface="Segoe UI" pitchFamily="34" charset="0"/>
              </a:rPr>
              <a:t>IT as a business</a:t>
            </a:r>
          </a:p>
          <a:p>
            <a:pPr defTabSz="914045" fontAlgn="base">
              <a:lnSpc>
                <a:spcPct val="90000"/>
              </a:lnSpc>
              <a:spcBef>
                <a:spcPts val="630"/>
              </a:spcBef>
              <a:spcAft>
                <a:spcPct val="0"/>
              </a:spcAft>
              <a:buClr>
                <a:schemeClr val="bg2">
                  <a:lumMod val="75000"/>
                </a:schemeClr>
              </a:buClr>
              <a:buSzPct val="100000"/>
            </a:pPr>
            <a:r>
              <a:rPr lang="en-US" sz="1100" dirty="0">
                <a:ln>
                  <a:solidFill>
                    <a:srgbClr val="FFFFFF">
                      <a:alpha val="0"/>
                    </a:srgbClr>
                  </a:solidFill>
                </a:ln>
                <a:solidFill>
                  <a:srgbClr val="FFFFFF">
                    <a:alpha val="99000"/>
                  </a:srgbClr>
                </a:solidFill>
                <a:cs typeface="Segoe UI" pitchFamily="34" charset="0"/>
              </a:rPr>
              <a:t>Usage metering</a:t>
            </a:r>
          </a:p>
          <a:p>
            <a:pPr defTabSz="914045" fontAlgn="base">
              <a:lnSpc>
                <a:spcPct val="90000"/>
              </a:lnSpc>
              <a:spcBef>
                <a:spcPts val="630"/>
              </a:spcBef>
              <a:spcAft>
                <a:spcPct val="0"/>
              </a:spcAft>
              <a:buClr>
                <a:schemeClr val="bg2">
                  <a:lumMod val="75000"/>
                </a:schemeClr>
              </a:buClr>
              <a:buSzPct val="100000"/>
            </a:pPr>
            <a:endParaRPr lang="en-US" sz="1100" dirty="0">
              <a:ln>
                <a:solidFill>
                  <a:srgbClr val="FFFFFF">
                    <a:alpha val="0"/>
                  </a:srgbClr>
                </a:solidFill>
              </a:ln>
              <a:solidFill>
                <a:srgbClr val="FFFFFF">
                  <a:alpha val="99000"/>
                </a:srgbClr>
              </a:solidFill>
              <a:cs typeface="Segoe UI" pitchFamily="34" charset="0"/>
            </a:endParaRPr>
          </a:p>
        </p:txBody>
      </p:sp>
      <p:grpSp>
        <p:nvGrpSpPr>
          <p:cNvPr id="48" name="Group 47"/>
          <p:cNvGrpSpPr/>
          <p:nvPr/>
        </p:nvGrpSpPr>
        <p:grpSpPr>
          <a:xfrm>
            <a:off x="3838040" y="1058077"/>
            <a:ext cx="1480862" cy="2130552"/>
            <a:chOff x="76200" y="882591"/>
            <a:chExt cx="2133600" cy="2130552"/>
          </a:xfrm>
        </p:grpSpPr>
        <p:sp>
          <p:nvSpPr>
            <p:cNvPr id="49" name="Rectangle 48"/>
            <p:cNvSpPr/>
            <p:nvPr>
              <p:custDataLst>
                <p:tags r:id="rId10"/>
              </p:custDataLst>
            </p:nvPr>
          </p:nvSpPr>
          <p:spPr bwMode="auto">
            <a:xfrm>
              <a:off x="76200" y="882591"/>
              <a:ext cx="2133600" cy="2130552"/>
            </a:xfrm>
            <a:prstGeom prst="rect">
              <a:avLst/>
            </a:prstGeom>
            <a:solidFill>
              <a:schemeClr val="accent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1371600" rIns="91440" bIns="45720" numCol="1" rtlCol="0" anchor="ctr" anchorCtr="0" compatLnSpc="1">
              <a:prstTxWarp prst="textNoShape">
                <a:avLst/>
              </a:prstTxWarp>
              <a:noAutofit/>
            </a:bodyPr>
            <a:lstStyle/>
            <a:p>
              <a:pPr algn="ctr" defTabSz="914045" fontAlgn="base">
                <a:lnSpc>
                  <a:spcPct val="90000"/>
                </a:lnSpc>
                <a:spcBef>
                  <a:spcPts val="630"/>
                </a:spcBef>
                <a:spcAft>
                  <a:spcPct val="0"/>
                </a:spcAft>
                <a:buClr>
                  <a:srgbClr val="FFFF99"/>
                </a:buClr>
                <a:buSzPct val="120000"/>
                <a:defRPr/>
              </a:pPr>
              <a:r>
                <a:rPr lang="en-US" dirty="0" smtClean="0">
                  <a:ln>
                    <a:solidFill>
                      <a:srgbClr val="FFFFFF">
                        <a:alpha val="0"/>
                      </a:srgbClr>
                    </a:solidFill>
                  </a:ln>
                  <a:solidFill>
                    <a:srgbClr val="FFFFFF">
                      <a:alpha val="99000"/>
                    </a:srgbClr>
                  </a:solidFill>
                  <a:cs typeface="Segoe UI" pitchFamily="34" charset="0"/>
                </a:rPr>
                <a:t>Private Cloud</a:t>
              </a:r>
              <a:endParaRPr lang="en-US" dirty="0">
                <a:ln>
                  <a:solidFill>
                    <a:srgbClr val="FFFFFF">
                      <a:alpha val="0"/>
                    </a:srgbClr>
                  </a:solidFill>
                </a:ln>
                <a:solidFill>
                  <a:srgbClr val="FFFFFF">
                    <a:alpha val="99000"/>
                  </a:srgbClr>
                </a:solidFill>
                <a:cs typeface="Segoe UI" pitchFamily="34" charset="0"/>
              </a:endParaRPr>
            </a:p>
          </p:txBody>
        </p:sp>
        <p:pic>
          <p:nvPicPr>
            <p:cNvPr id="50" name="Picture 7" descr="C:\Users\Justin\Desktop\_Work_in_Progress\_MS\1407\cloud server.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17514" y="1345357"/>
              <a:ext cx="1250972" cy="749168"/>
            </a:xfrm>
            <a:prstGeom prst="rect">
              <a:avLst/>
            </a:prstGeom>
            <a:noFill/>
            <a:extLst>
              <a:ext uri="{909E8E84-426E-40DD-AFC4-6F175D3DCCD1}">
                <a14:hiddenFill xmlns:a14="http://schemas.microsoft.com/office/drawing/2010/main">
                  <a:solidFill>
                    <a:srgbClr val="FFFFFF"/>
                  </a:solidFill>
                </a14:hiddenFill>
              </a:ext>
            </a:extLst>
          </p:spPr>
        </p:pic>
      </p:grpSp>
      <p:sp>
        <p:nvSpPr>
          <p:cNvPr id="51" name="Rectangle 50"/>
          <p:cNvSpPr/>
          <p:nvPr>
            <p:custDataLst>
              <p:tags r:id="rId6"/>
            </p:custDataLst>
          </p:nvPr>
        </p:nvSpPr>
        <p:spPr bwMode="auto">
          <a:xfrm>
            <a:off x="5540906" y="3280242"/>
            <a:ext cx="1480862" cy="1231430"/>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28" tIns="137172" rIns="91428" bIns="45714" numCol="1" rtlCol="0" anchor="t" anchorCtr="0" compatLnSpc="1">
            <a:prstTxWarp prst="textNoShape">
              <a:avLst/>
            </a:prstTxWarp>
            <a:noAutofit/>
          </a:bodyPr>
          <a:lstStyle/>
          <a:p>
            <a:pPr defTabSz="914045" fontAlgn="base">
              <a:lnSpc>
                <a:spcPct val="90000"/>
              </a:lnSpc>
              <a:spcBef>
                <a:spcPts val="630"/>
              </a:spcBef>
              <a:spcAft>
                <a:spcPct val="0"/>
              </a:spcAft>
              <a:buClr>
                <a:schemeClr val="bg2">
                  <a:lumMod val="75000"/>
                </a:schemeClr>
              </a:buClr>
              <a:buSzPct val="100000"/>
            </a:pPr>
            <a:r>
              <a:rPr lang="en-US" sz="1100" dirty="0">
                <a:ln>
                  <a:solidFill>
                    <a:srgbClr val="FFFFFF">
                      <a:alpha val="0"/>
                    </a:srgbClr>
                  </a:solidFill>
                </a:ln>
                <a:solidFill>
                  <a:srgbClr val="FFFFFF">
                    <a:alpha val="99000"/>
                  </a:srgbClr>
                </a:solidFill>
                <a:cs typeface="Segoe UI" pitchFamily="34" charset="0"/>
              </a:rPr>
              <a:t>Cost for peak loads</a:t>
            </a:r>
          </a:p>
          <a:p>
            <a:pPr defTabSz="914045" fontAlgn="base">
              <a:lnSpc>
                <a:spcPct val="90000"/>
              </a:lnSpc>
              <a:spcBef>
                <a:spcPts val="630"/>
              </a:spcBef>
              <a:spcAft>
                <a:spcPct val="0"/>
              </a:spcAft>
              <a:buClr>
                <a:schemeClr val="bg2">
                  <a:lumMod val="75000"/>
                </a:schemeClr>
              </a:buClr>
              <a:buSzPct val="100000"/>
            </a:pPr>
            <a:r>
              <a:rPr lang="en-US" sz="1100" dirty="0">
                <a:ln>
                  <a:solidFill>
                    <a:srgbClr val="FFFFFF">
                      <a:alpha val="0"/>
                    </a:srgbClr>
                  </a:solidFill>
                </a:ln>
                <a:solidFill>
                  <a:srgbClr val="FFFFFF">
                    <a:alpha val="99000"/>
                  </a:srgbClr>
                </a:solidFill>
                <a:cs typeface="Segoe UI" pitchFamily="34" charset="0"/>
              </a:rPr>
              <a:t>Flexibility for peak loads</a:t>
            </a:r>
          </a:p>
          <a:p>
            <a:pPr defTabSz="914045" fontAlgn="base">
              <a:lnSpc>
                <a:spcPct val="90000"/>
              </a:lnSpc>
              <a:spcBef>
                <a:spcPts val="630"/>
              </a:spcBef>
              <a:spcAft>
                <a:spcPct val="0"/>
              </a:spcAft>
              <a:buClr>
                <a:schemeClr val="bg2">
                  <a:lumMod val="75000"/>
                </a:schemeClr>
              </a:buClr>
              <a:buSzPct val="100000"/>
            </a:pPr>
            <a:endParaRPr lang="en-US" sz="1100" dirty="0">
              <a:ln>
                <a:solidFill>
                  <a:srgbClr val="FFFFFF">
                    <a:alpha val="0"/>
                  </a:srgbClr>
                </a:solidFill>
              </a:ln>
              <a:solidFill>
                <a:srgbClr val="FFFFFF">
                  <a:alpha val="99000"/>
                </a:srgbClr>
              </a:solidFill>
              <a:cs typeface="Segoe UI" pitchFamily="34" charset="0"/>
            </a:endParaRPr>
          </a:p>
        </p:txBody>
      </p:sp>
      <p:sp>
        <p:nvSpPr>
          <p:cNvPr id="53" name="Rectangle 52"/>
          <p:cNvSpPr/>
          <p:nvPr>
            <p:custDataLst>
              <p:tags r:id="rId7"/>
            </p:custDataLst>
          </p:nvPr>
        </p:nvSpPr>
        <p:spPr bwMode="auto">
          <a:xfrm>
            <a:off x="5540906" y="1058707"/>
            <a:ext cx="1480862" cy="2130552"/>
          </a:xfrm>
          <a:prstGeom prst="rect">
            <a:avLst/>
          </a:prstGeom>
          <a:solidFill>
            <a:schemeClr val="accent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68586" tIns="1028794" rIns="68586" bIns="34294" numCol="1" rtlCol="0" anchor="ctr" anchorCtr="0" compatLnSpc="1">
            <a:prstTxWarp prst="textNoShape">
              <a:avLst/>
            </a:prstTxWarp>
            <a:noAutofit/>
          </a:bodyPr>
          <a:lstStyle/>
          <a:p>
            <a:pPr algn="ctr" defTabSz="914045" fontAlgn="base">
              <a:lnSpc>
                <a:spcPct val="90000"/>
              </a:lnSpc>
              <a:spcBef>
                <a:spcPts val="630"/>
              </a:spcBef>
              <a:spcAft>
                <a:spcPct val="0"/>
              </a:spcAft>
              <a:buClr>
                <a:srgbClr val="FFFF99"/>
              </a:buClr>
              <a:buSzPct val="120000"/>
              <a:defRPr/>
            </a:pPr>
            <a:r>
              <a:rPr lang="en-US" dirty="0" smtClean="0">
                <a:ln>
                  <a:solidFill>
                    <a:srgbClr val="FFFFFF">
                      <a:alpha val="0"/>
                    </a:srgbClr>
                  </a:solidFill>
                </a:ln>
                <a:solidFill>
                  <a:srgbClr val="FFFFFF">
                    <a:alpha val="99000"/>
                  </a:srgbClr>
                </a:solidFill>
                <a:cs typeface="Segoe UI" pitchFamily="34" charset="0"/>
              </a:rPr>
              <a:t>Hybrid Cloud</a:t>
            </a:r>
            <a:endParaRPr lang="en-US" dirty="0">
              <a:ln>
                <a:solidFill>
                  <a:srgbClr val="FFFFFF">
                    <a:alpha val="0"/>
                  </a:srgbClr>
                </a:solidFill>
              </a:ln>
              <a:solidFill>
                <a:srgbClr val="FFFFFF">
                  <a:alpha val="99000"/>
                </a:srgbClr>
              </a:solidFill>
              <a:cs typeface="Segoe UI" pitchFamily="34" charset="0"/>
            </a:endParaRPr>
          </a:p>
        </p:txBody>
      </p:sp>
      <p:sp>
        <p:nvSpPr>
          <p:cNvPr id="55" name="Rectangle 54"/>
          <p:cNvSpPr/>
          <p:nvPr>
            <p:custDataLst>
              <p:tags r:id="rId8"/>
            </p:custDataLst>
          </p:nvPr>
        </p:nvSpPr>
        <p:spPr bwMode="auto">
          <a:xfrm>
            <a:off x="7218794" y="3280063"/>
            <a:ext cx="1480862" cy="1231430"/>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28" tIns="137172" rIns="91428" bIns="45714" numCol="1" rtlCol="0" anchor="t" anchorCtr="0" compatLnSpc="1">
            <a:prstTxWarp prst="textNoShape">
              <a:avLst/>
            </a:prstTxWarp>
            <a:noAutofit/>
          </a:bodyPr>
          <a:lstStyle/>
          <a:p>
            <a:pPr defTabSz="914045" fontAlgn="base">
              <a:lnSpc>
                <a:spcPct val="90000"/>
              </a:lnSpc>
              <a:spcBef>
                <a:spcPts val="630"/>
              </a:spcBef>
              <a:spcAft>
                <a:spcPct val="0"/>
              </a:spcAft>
              <a:buClr>
                <a:schemeClr val="bg2">
                  <a:lumMod val="75000"/>
                </a:schemeClr>
              </a:buClr>
              <a:buSzPct val="100000"/>
            </a:pPr>
            <a:r>
              <a:rPr lang="en-US" sz="1100" dirty="0">
                <a:ln>
                  <a:solidFill>
                    <a:srgbClr val="FFFFFF">
                      <a:alpha val="0"/>
                    </a:srgbClr>
                  </a:solidFill>
                </a:ln>
                <a:solidFill>
                  <a:srgbClr val="FFFFFF">
                    <a:alpha val="99000"/>
                  </a:srgbClr>
                </a:solidFill>
                <a:cs typeface="Segoe UI" pitchFamily="34" charset="0"/>
              </a:rPr>
              <a:t>Capital expense elimination</a:t>
            </a:r>
          </a:p>
          <a:p>
            <a:pPr defTabSz="914045" fontAlgn="base">
              <a:lnSpc>
                <a:spcPct val="90000"/>
              </a:lnSpc>
              <a:spcBef>
                <a:spcPts val="630"/>
              </a:spcBef>
              <a:spcAft>
                <a:spcPct val="0"/>
              </a:spcAft>
              <a:buClr>
                <a:schemeClr val="bg2">
                  <a:lumMod val="75000"/>
                </a:schemeClr>
              </a:buClr>
              <a:buSzPct val="100000"/>
            </a:pPr>
            <a:r>
              <a:rPr lang="en-US" sz="1100" dirty="0">
                <a:ln>
                  <a:solidFill>
                    <a:srgbClr val="FFFFFF">
                      <a:alpha val="0"/>
                    </a:srgbClr>
                  </a:solidFill>
                </a:ln>
                <a:solidFill>
                  <a:srgbClr val="FFFFFF">
                    <a:alpha val="99000"/>
                  </a:srgbClr>
                </a:solidFill>
                <a:cs typeface="Segoe UI" pitchFamily="34" charset="0"/>
              </a:rPr>
              <a:t>Increased flexibility (up and down)</a:t>
            </a:r>
          </a:p>
          <a:p>
            <a:pPr defTabSz="914045" fontAlgn="base">
              <a:lnSpc>
                <a:spcPct val="90000"/>
              </a:lnSpc>
              <a:spcBef>
                <a:spcPts val="630"/>
              </a:spcBef>
              <a:spcAft>
                <a:spcPct val="0"/>
              </a:spcAft>
              <a:buClr>
                <a:schemeClr val="bg2">
                  <a:lumMod val="75000"/>
                </a:schemeClr>
              </a:buClr>
              <a:buSzPct val="100000"/>
            </a:pPr>
            <a:endParaRPr lang="en-US" sz="1100" dirty="0">
              <a:ln>
                <a:solidFill>
                  <a:srgbClr val="FFFFFF">
                    <a:alpha val="0"/>
                  </a:srgbClr>
                </a:solidFill>
              </a:ln>
              <a:solidFill>
                <a:srgbClr val="FFFFFF">
                  <a:alpha val="99000"/>
                </a:srgbClr>
              </a:solidFill>
              <a:cs typeface="Segoe UI" pitchFamily="34" charset="0"/>
            </a:endParaRPr>
          </a:p>
        </p:txBody>
      </p:sp>
      <p:sp>
        <p:nvSpPr>
          <p:cNvPr id="57" name="Rectangle 56"/>
          <p:cNvSpPr/>
          <p:nvPr>
            <p:custDataLst>
              <p:tags r:id="rId9"/>
            </p:custDataLst>
          </p:nvPr>
        </p:nvSpPr>
        <p:spPr bwMode="auto">
          <a:xfrm>
            <a:off x="7218794" y="1058527"/>
            <a:ext cx="1480862" cy="2130552"/>
          </a:xfrm>
          <a:prstGeom prst="rect">
            <a:avLst/>
          </a:prstGeom>
          <a:solidFill>
            <a:schemeClr val="accent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68586" tIns="1028794" rIns="68586" bIns="34294" numCol="1" rtlCol="0" anchor="ctr" anchorCtr="0" compatLnSpc="1">
            <a:prstTxWarp prst="textNoShape">
              <a:avLst/>
            </a:prstTxWarp>
            <a:noAutofit/>
          </a:bodyPr>
          <a:lstStyle/>
          <a:p>
            <a:pPr algn="ctr" defTabSz="914045" fontAlgn="base">
              <a:lnSpc>
                <a:spcPct val="90000"/>
              </a:lnSpc>
              <a:spcBef>
                <a:spcPts val="630"/>
              </a:spcBef>
              <a:spcAft>
                <a:spcPct val="0"/>
              </a:spcAft>
              <a:buClr>
                <a:srgbClr val="FFFF99"/>
              </a:buClr>
              <a:buSzPct val="120000"/>
              <a:defRPr/>
            </a:pPr>
            <a:r>
              <a:rPr lang="en-US" dirty="0" smtClean="0">
                <a:ln>
                  <a:solidFill>
                    <a:srgbClr val="FFFFFF">
                      <a:alpha val="0"/>
                    </a:srgbClr>
                  </a:solidFill>
                </a:ln>
                <a:solidFill>
                  <a:srgbClr val="FFFFFF">
                    <a:alpha val="99000"/>
                  </a:srgbClr>
                </a:solidFill>
                <a:cs typeface="Segoe UI" pitchFamily="34" charset="0"/>
              </a:rPr>
              <a:t>Public Cloud</a:t>
            </a:r>
            <a:endParaRPr lang="en-US" dirty="0">
              <a:ln>
                <a:solidFill>
                  <a:srgbClr val="FFFFFF">
                    <a:alpha val="0"/>
                  </a:srgbClr>
                </a:solidFill>
              </a:ln>
              <a:solidFill>
                <a:srgbClr val="FFFFFF">
                  <a:alpha val="99000"/>
                </a:srgbClr>
              </a:solidFill>
              <a:cs typeface="Segoe UI" pitchFamily="34" charset="0"/>
            </a:endParaRPr>
          </a:p>
        </p:txBody>
      </p:sp>
      <p:sp>
        <p:nvSpPr>
          <p:cNvPr id="4" name="TextBox 3"/>
          <p:cNvSpPr txBox="1"/>
          <p:nvPr/>
        </p:nvSpPr>
        <p:spPr>
          <a:xfrm>
            <a:off x="853777" y="1074235"/>
            <a:ext cx="821828" cy="335855"/>
          </a:xfrm>
          <a:prstGeom prst="rect">
            <a:avLst/>
          </a:prstGeom>
          <a:noFill/>
        </p:spPr>
        <p:txBody>
          <a:bodyPr wrap="none" lIns="68586" tIns="68586" rIns="68586" bIns="68586" rtlCol="0">
            <a:spAutoFit/>
          </a:bodyPr>
          <a:lstStyle/>
          <a:p>
            <a:pPr>
              <a:lnSpc>
                <a:spcPct val="90000"/>
              </a:lnSpc>
              <a:spcBef>
                <a:spcPct val="20000"/>
              </a:spcBef>
              <a:buSzPct val="90000"/>
            </a:pPr>
            <a:r>
              <a:rPr lang="en-US" b="1" dirty="0">
                <a:ln>
                  <a:solidFill>
                    <a:srgbClr val="FFFFFF">
                      <a:alpha val="0"/>
                    </a:srgbClr>
                  </a:solidFill>
                </a:ln>
                <a:solidFill>
                  <a:srgbClr val="FFFFFF">
                    <a:alpha val="99000"/>
                  </a:srgbClr>
                </a:solidFill>
                <a:cs typeface="Segoe UI" pitchFamily="34" charset="0"/>
              </a:rPr>
              <a:t>Stage 1</a:t>
            </a:r>
            <a:r>
              <a:rPr lang="en-US" b="1" dirty="0" smtClean="0">
                <a:ln>
                  <a:solidFill>
                    <a:srgbClr val="FFFFFF">
                      <a:alpha val="0"/>
                    </a:srgbClr>
                  </a:solidFill>
                </a:ln>
                <a:solidFill>
                  <a:srgbClr val="FFFFFF">
                    <a:alpha val="99000"/>
                  </a:srgbClr>
                </a:solidFill>
                <a:cs typeface="Segoe UI" pitchFamily="34" charset="0"/>
              </a:rPr>
              <a:t>:</a:t>
            </a:r>
            <a:endParaRPr lang="en-US" b="1" dirty="0">
              <a:ln>
                <a:solidFill>
                  <a:srgbClr val="FFFFFF">
                    <a:alpha val="0"/>
                  </a:srgbClr>
                </a:solidFill>
              </a:ln>
              <a:solidFill>
                <a:srgbClr val="FFFFFF">
                  <a:alpha val="99000"/>
                </a:srgbClr>
              </a:solidFill>
              <a:cs typeface="Segoe UI" pitchFamily="34" charset="0"/>
            </a:endParaRPr>
          </a:p>
        </p:txBody>
      </p:sp>
      <p:sp>
        <p:nvSpPr>
          <p:cNvPr id="59" name="TextBox 58"/>
          <p:cNvSpPr txBox="1"/>
          <p:nvPr/>
        </p:nvSpPr>
        <p:spPr>
          <a:xfrm>
            <a:off x="2477373" y="1060398"/>
            <a:ext cx="821828" cy="335855"/>
          </a:xfrm>
          <a:prstGeom prst="rect">
            <a:avLst/>
          </a:prstGeom>
          <a:noFill/>
        </p:spPr>
        <p:txBody>
          <a:bodyPr wrap="none" lIns="68586" tIns="68586" rIns="68586" bIns="68586" rtlCol="0">
            <a:spAutoFit/>
          </a:bodyPr>
          <a:lstStyle/>
          <a:p>
            <a:pPr>
              <a:lnSpc>
                <a:spcPct val="90000"/>
              </a:lnSpc>
              <a:spcBef>
                <a:spcPct val="20000"/>
              </a:spcBef>
              <a:buSzPct val="90000"/>
            </a:pPr>
            <a:r>
              <a:rPr lang="en-US" b="1" dirty="0">
                <a:ln>
                  <a:solidFill>
                    <a:srgbClr val="FFFFFF">
                      <a:alpha val="0"/>
                    </a:srgbClr>
                  </a:solidFill>
                </a:ln>
                <a:solidFill>
                  <a:srgbClr val="FFFFFF">
                    <a:alpha val="99000"/>
                  </a:srgbClr>
                </a:solidFill>
                <a:cs typeface="Segoe UI" pitchFamily="34" charset="0"/>
              </a:rPr>
              <a:t>Stage </a:t>
            </a:r>
            <a:r>
              <a:rPr lang="en-US" b="1" dirty="0" smtClean="0">
                <a:ln>
                  <a:solidFill>
                    <a:srgbClr val="FFFFFF">
                      <a:alpha val="0"/>
                    </a:srgbClr>
                  </a:solidFill>
                </a:ln>
                <a:solidFill>
                  <a:srgbClr val="FFFFFF">
                    <a:alpha val="99000"/>
                  </a:srgbClr>
                </a:solidFill>
                <a:cs typeface="Segoe UI" pitchFamily="34" charset="0"/>
              </a:rPr>
              <a:t>2:</a:t>
            </a:r>
            <a:endParaRPr lang="en-US" b="1" dirty="0">
              <a:ln>
                <a:solidFill>
                  <a:srgbClr val="FFFFFF">
                    <a:alpha val="0"/>
                  </a:srgbClr>
                </a:solidFill>
              </a:ln>
              <a:solidFill>
                <a:srgbClr val="FFFFFF">
                  <a:alpha val="99000"/>
                </a:srgbClr>
              </a:solidFill>
              <a:cs typeface="Segoe UI" pitchFamily="34" charset="0"/>
            </a:endParaRPr>
          </a:p>
        </p:txBody>
      </p:sp>
      <p:sp>
        <p:nvSpPr>
          <p:cNvPr id="60" name="TextBox 59"/>
          <p:cNvSpPr txBox="1"/>
          <p:nvPr/>
        </p:nvSpPr>
        <p:spPr>
          <a:xfrm>
            <a:off x="4144341" y="1074235"/>
            <a:ext cx="821828" cy="335855"/>
          </a:xfrm>
          <a:prstGeom prst="rect">
            <a:avLst/>
          </a:prstGeom>
          <a:noFill/>
        </p:spPr>
        <p:txBody>
          <a:bodyPr wrap="none" lIns="68586" tIns="68586" rIns="68586" bIns="68586" rtlCol="0">
            <a:spAutoFit/>
          </a:bodyPr>
          <a:lstStyle/>
          <a:p>
            <a:pPr>
              <a:lnSpc>
                <a:spcPct val="90000"/>
              </a:lnSpc>
              <a:spcBef>
                <a:spcPct val="20000"/>
              </a:spcBef>
              <a:buSzPct val="90000"/>
            </a:pPr>
            <a:r>
              <a:rPr lang="en-US" b="1" dirty="0">
                <a:ln>
                  <a:solidFill>
                    <a:srgbClr val="FFFFFF">
                      <a:alpha val="0"/>
                    </a:srgbClr>
                  </a:solidFill>
                </a:ln>
                <a:solidFill>
                  <a:srgbClr val="FFFFFF">
                    <a:alpha val="99000"/>
                  </a:srgbClr>
                </a:solidFill>
                <a:cs typeface="Segoe UI" pitchFamily="34" charset="0"/>
              </a:rPr>
              <a:t>Stage </a:t>
            </a:r>
            <a:r>
              <a:rPr lang="en-US" b="1" dirty="0" smtClean="0">
                <a:ln>
                  <a:solidFill>
                    <a:srgbClr val="FFFFFF">
                      <a:alpha val="0"/>
                    </a:srgbClr>
                  </a:solidFill>
                </a:ln>
                <a:solidFill>
                  <a:srgbClr val="FFFFFF">
                    <a:alpha val="99000"/>
                  </a:srgbClr>
                </a:solidFill>
                <a:cs typeface="Segoe UI" pitchFamily="34" charset="0"/>
              </a:rPr>
              <a:t>3:</a:t>
            </a:r>
            <a:endParaRPr lang="en-US" b="1" dirty="0">
              <a:ln>
                <a:solidFill>
                  <a:srgbClr val="FFFFFF">
                    <a:alpha val="0"/>
                  </a:srgbClr>
                </a:solidFill>
              </a:ln>
              <a:solidFill>
                <a:srgbClr val="FFFFFF">
                  <a:alpha val="99000"/>
                </a:srgbClr>
              </a:solidFill>
              <a:cs typeface="Segoe UI" pitchFamily="34" charset="0"/>
            </a:endParaRPr>
          </a:p>
        </p:txBody>
      </p:sp>
      <p:sp>
        <p:nvSpPr>
          <p:cNvPr id="61" name="TextBox 60"/>
          <p:cNvSpPr txBox="1"/>
          <p:nvPr/>
        </p:nvSpPr>
        <p:spPr>
          <a:xfrm>
            <a:off x="5847207" y="1074865"/>
            <a:ext cx="821828" cy="335855"/>
          </a:xfrm>
          <a:prstGeom prst="rect">
            <a:avLst/>
          </a:prstGeom>
          <a:noFill/>
        </p:spPr>
        <p:txBody>
          <a:bodyPr wrap="none" lIns="68586" tIns="68586" rIns="68586" bIns="68586" rtlCol="0">
            <a:spAutoFit/>
          </a:bodyPr>
          <a:lstStyle/>
          <a:p>
            <a:pPr>
              <a:lnSpc>
                <a:spcPct val="90000"/>
              </a:lnSpc>
              <a:spcBef>
                <a:spcPct val="20000"/>
              </a:spcBef>
              <a:buSzPct val="90000"/>
            </a:pPr>
            <a:r>
              <a:rPr lang="en-US" b="1" dirty="0">
                <a:ln>
                  <a:solidFill>
                    <a:srgbClr val="FFFFFF">
                      <a:alpha val="0"/>
                    </a:srgbClr>
                  </a:solidFill>
                </a:ln>
                <a:solidFill>
                  <a:srgbClr val="FFFFFF">
                    <a:alpha val="99000"/>
                  </a:srgbClr>
                </a:solidFill>
                <a:cs typeface="Segoe UI" pitchFamily="34" charset="0"/>
              </a:rPr>
              <a:t>Stage 4</a:t>
            </a:r>
            <a:r>
              <a:rPr lang="en-US" b="1" dirty="0" smtClean="0">
                <a:ln>
                  <a:solidFill>
                    <a:srgbClr val="FFFFFF">
                      <a:alpha val="0"/>
                    </a:srgbClr>
                  </a:solidFill>
                </a:ln>
                <a:solidFill>
                  <a:srgbClr val="FFFFFF">
                    <a:alpha val="99000"/>
                  </a:srgbClr>
                </a:solidFill>
                <a:cs typeface="Segoe UI" pitchFamily="34" charset="0"/>
              </a:rPr>
              <a:t>:</a:t>
            </a:r>
            <a:endParaRPr lang="en-US" b="1" dirty="0">
              <a:ln>
                <a:solidFill>
                  <a:srgbClr val="FFFFFF">
                    <a:alpha val="0"/>
                  </a:srgbClr>
                </a:solidFill>
              </a:ln>
              <a:solidFill>
                <a:srgbClr val="FFFFFF">
                  <a:alpha val="99000"/>
                </a:srgbClr>
              </a:solidFill>
              <a:cs typeface="Segoe UI" pitchFamily="34" charset="0"/>
            </a:endParaRPr>
          </a:p>
        </p:txBody>
      </p:sp>
      <p:sp>
        <p:nvSpPr>
          <p:cNvPr id="62" name="TextBox 61"/>
          <p:cNvSpPr txBox="1"/>
          <p:nvPr/>
        </p:nvSpPr>
        <p:spPr>
          <a:xfrm>
            <a:off x="7525095" y="1074685"/>
            <a:ext cx="821828" cy="335855"/>
          </a:xfrm>
          <a:prstGeom prst="rect">
            <a:avLst/>
          </a:prstGeom>
          <a:noFill/>
        </p:spPr>
        <p:txBody>
          <a:bodyPr wrap="none" lIns="68586" tIns="68586" rIns="68586" bIns="68586" rtlCol="0">
            <a:spAutoFit/>
          </a:bodyPr>
          <a:lstStyle/>
          <a:p>
            <a:pPr>
              <a:lnSpc>
                <a:spcPct val="90000"/>
              </a:lnSpc>
              <a:spcBef>
                <a:spcPct val="20000"/>
              </a:spcBef>
              <a:buSzPct val="90000"/>
            </a:pPr>
            <a:r>
              <a:rPr lang="en-US" b="1" dirty="0">
                <a:ln>
                  <a:solidFill>
                    <a:srgbClr val="FFFFFF">
                      <a:alpha val="0"/>
                    </a:srgbClr>
                  </a:solidFill>
                </a:ln>
                <a:solidFill>
                  <a:srgbClr val="FFFFFF">
                    <a:alpha val="99000"/>
                  </a:srgbClr>
                </a:solidFill>
                <a:cs typeface="Segoe UI" pitchFamily="34" charset="0"/>
              </a:rPr>
              <a:t>Stage 5</a:t>
            </a:r>
            <a:r>
              <a:rPr lang="en-US" b="1" dirty="0" smtClean="0">
                <a:ln>
                  <a:solidFill>
                    <a:srgbClr val="FFFFFF">
                      <a:alpha val="0"/>
                    </a:srgbClr>
                  </a:solidFill>
                </a:ln>
                <a:solidFill>
                  <a:srgbClr val="FFFFFF">
                    <a:alpha val="99000"/>
                  </a:srgbClr>
                </a:solidFill>
                <a:cs typeface="Segoe UI" pitchFamily="34" charset="0"/>
              </a:rPr>
              <a:t>:</a:t>
            </a:r>
            <a:endParaRPr lang="en-US" b="1" dirty="0">
              <a:ln>
                <a:solidFill>
                  <a:srgbClr val="FFFFFF">
                    <a:alpha val="0"/>
                  </a:srgbClr>
                </a:solidFill>
              </a:ln>
              <a:solidFill>
                <a:srgbClr val="FFFFFF">
                  <a:alpha val="99000"/>
                </a:srgbClr>
              </a:solidFill>
              <a:cs typeface="Segoe UI" pitchFamily="34" charset="0"/>
            </a:endParaRPr>
          </a:p>
        </p:txBody>
      </p:sp>
      <p:pic>
        <p:nvPicPr>
          <p:cNvPr id="63" name="Picture 2" descr="\\MAGNUM\Projects\Microsoft\Cloud Power FY12\Design\Icons\PNGs\Server_2.png"/>
          <p:cNvPicPr>
            <a:picLocks noChangeAspect="1" noChangeArrowheads="1"/>
          </p:cNvPicPr>
          <p:nvPr/>
        </p:nvPicPr>
        <p:blipFill>
          <a:blip r:embed="rId14" cstate="print">
            <a:lum bright="100000"/>
          </a:blip>
          <a:srcRect/>
          <a:stretch>
            <a:fillRect/>
          </a:stretch>
        </p:blipFill>
        <p:spPr bwMode="auto">
          <a:xfrm>
            <a:off x="853778" y="1520844"/>
            <a:ext cx="908777" cy="908542"/>
          </a:xfrm>
          <a:prstGeom prst="rect">
            <a:avLst/>
          </a:prstGeom>
          <a:noFill/>
        </p:spPr>
      </p:pic>
      <p:pic>
        <p:nvPicPr>
          <p:cNvPr id="64" name="Picture 7" descr="\\MAGNUM\Projects\Microsoft\Cloud Power FY12\Design\Icons\PNGs\Metering.png"/>
          <p:cNvPicPr>
            <a:picLocks noChangeAspect="1" noChangeArrowheads="1"/>
          </p:cNvPicPr>
          <p:nvPr/>
        </p:nvPicPr>
        <p:blipFill>
          <a:blip r:embed="rId15" cstate="print">
            <a:extLst>
              <a:ext uri="{BEBA8EAE-BF5A-486C-A8C5-ECC9F3942E4B}">
                <a14:imgProps xmlns:a14="http://schemas.microsoft.com/office/drawing/2010/main">
                  <a14:imgLayer r:embed="rId16">
                    <a14:imgEffect>
                      <a14:brightnessContrast bright="100000"/>
                    </a14:imgEffect>
                  </a14:imgLayer>
                </a14:imgProps>
              </a:ext>
            </a:extLst>
          </a:blip>
          <a:stretch>
            <a:fillRect/>
          </a:stretch>
        </p:blipFill>
        <p:spPr bwMode="auto">
          <a:xfrm>
            <a:off x="2243225" y="1293172"/>
            <a:ext cx="1336554" cy="1336206"/>
          </a:xfrm>
          <a:prstGeom prst="rect">
            <a:avLst/>
          </a:prstGeom>
          <a:noFill/>
        </p:spPr>
      </p:pic>
      <p:pic>
        <p:nvPicPr>
          <p:cNvPr id="65" name="Picture 2" descr="\\MAGNUM\Projects\Microsoft\Cloud Power FY12\Design\ICONS_PNG\Tower.png"/>
          <p:cNvPicPr>
            <a:picLocks noChangeAspect="1" noChangeArrowheads="1"/>
          </p:cNvPicPr>
          <p:nvPr/>
        </p:nvPicPr>
        <p:blipFill>
          <a:blip r:embed="rId17" cstate="print">
            <a:lum bright="100000" contrast="100000"/>
          </a:blip>
          <a:stretch>
            <a:fillRect/>
          </a:stretch>
        </p:blipFill>
        <p:spPr bwMode="auto">
          <a:xfrm>
            <a:off x="5658856" y="1362467"/>
            <a:ext cx="1156210" cy="1155909"/>
          </a:xfrm>
          <a:prstGeom prst="rect">
            <a:avLst/>
          </a:prstGeom>
          <a:noFill/>
        </p:spPr>
      </p:pic>
      <p:pic>
        <p:nvPicPr>
          <p:cNvPr id="66" name="Picture 2" descr="\\MAGNUM\Projects\Microsoft\Cloud Power FY12\Design\Icons\PNGs\Cloud.png"/>
          <p:cNvPicPr>
            <a:picLocks noChangeAspect="1" noChangeArrowheads="1"/>
          </p:cNvPicPr>
          <p:nvPr/>
        </p:nvPicPr>
        <p:blipFill>
          <a:blip r:embed="rId18" cstate="screen">
            <a:lum bright="100000"/>
          </a:blip>
          <a:srcRect/>
          <a:stretch>
            <a:fillRect/>
          </a:stretch>
        </p:blipFill>
        <p:spPr bwMode="auto">
          <a:xfrm>
            <a:off x="7343139" y="1400158"/>
            <a:ext cx="1123430" cy="1123139"/>
          </a:xfrm>
          <a:prstGeom prst="rect">
            <a:avLst/>
          </a:prstGeom>
          <a:noFill/>
        </p:spPr>
      </p:pic>
      <p:sp>
        <p:nvSpPr>
          <p:cNvPr id="14" name="TextBox 13"/>
          <p:cNvSpPr txBox="1"/>
          <p:nvPr/>
        </p:nvSpPr>
        <p:spPr>
          <a:xfrm>
            <a:off x="250394" y="4781554"/>
            <a:ext cx="2376883" cy="304699"/>
          </a:xfrm>
          <a:prstGeom prst="rect">
            <a:avLst/>
          </a:prstGeom>
          <a:noFill/>
        </p:spPr>
        <p:txBody>
          <a:bodyPr wrap="square" lIns="68586" tIns="68586" rIns="68586" bIns="68586" rtlCol="0">
            <a:spAutoFit/>
          </a:bodyPr>
          <a:lstStyle/>
          <a:p>
            <a:pPr>
              <a:lnSpc>
                <a:spcPct val="90000"/>
              </a:lnSpc>
              <a:spcBef>
                <a:spcPct val="20000"/>
              </a:spcBef>
              <a:buSzPct val="90000"/>
            </a:pPr>
            <a:r>
              <a:rPr lang="en-US" sz="1200" dirty="0">
                <a:solidFill>
                  <a:schemeClr val="tx1">
                    <a:alpha val="99000"/>
                  </a:schemeClr>
                </a:solidFill>
              </a:rPr>
              <a:t>Source: Gartner (March 2011)</a:t>
            </a:r>
          </a:p>
        </p:txBody>
      </p:sp>
      <p:sp>
        <p:nvSpPr>
          <p:cNvPr id="15" name="Rectangle 14"/>
          <p:cNvSpPr/>
          <p:nvPr/>
        </p:nvSpPr>
        <p:spPr bwMode="auto">
          <a:xfrm>
            <a:off x="3761700" y="897564"/>
            <a:ext cx="1642923" cy="3726414"/>
          </a:xfrm>
          <a:prstGeom prst="rect">
            <a:avLst/>
          </a:prstGeom>
          <a:noFill/>
          <a:ln w="25400">
            <a:solidFill>
              <a:schemeClr val="accent3"/>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26"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7"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9"/>
              </a:rPr>
              <a:t>www.rapidbbs.cn</a:t>
            </a:r>
            <a:endParaRPr lang="zh-CN" altLang="en-US" sz="1200" b="0">
              <a:latin typeface="Arial" charset="0"/>
              <a:ea typeface="ＭＳ Ｐゴシック" pitchFamily="34" charset="-128"/>
            </a:endParaRPr>
          </a:p>
        </p:txBody>
      </p:sp>
      <p:pic>
        <p:nvPicPr>
          <p:cNvPr id="28" name="Picture 2">
            <a:hlinkClick r:id="rId19"/>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13014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1000" fill="hold"/>
                                        <p:tgtEl>
                                          <p:spTgt spid="10"/>
                                        </p:tgtEl>
                                        <p:attrNameLst>
                                          <p:attrName>ppt_x</p:attrName>
                                        </p:attrNameLst>
                                      </p:cBhvr>
                                      <p:tavLst>
                                        <p:tav tm="0">
                                          <p:val>
                                            <p:strVal val="#ppt_x"/>
                                          </p:val>
                                        </p:tav>
                                        <p:tav tm="100000">
                                          <p:val>
                                            <p:strVal val="#ppt_x"/>
                                          </p:val>
                                        </p:tav>
                                      </p:tavLst>
                                    </p:anim>
                                    <p:anim calcmode="lin" valueType="num">
                                      <p:cBhvr additive="base">
                                        <p:cTn id="8" dur="1000" fill="hold"/>
                                        <p:tgtEl>
                                          <p:spTgt spid="10"/>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0"/>
                                  </p:stCondLst>
                                  <p:childTnLst>
                                    <p:set>
                                      <p:cBhvr>
                                        <p:cTn id="10" dur="1" fill="hold">
                                          <p:stCondLst>
                                            <p:cond delay="0"/>
                                          </p:stCondLst>
                                        </p:cTn>
                                        <p:tgtEl>
                                          <p:spTgt spid="43"/>
                                        </p:tgtEl>
                                        <p:attrNameLst>
                                          <p:attrName>style.visibility</p:attrName>
                                        </p:attrNameLst>
                                      </p:cBhvr>
                                      <p:to>
                                        <p:strVal val="visible"/>
                                      </p:to>
                                    </p:set>
                                    <p:anim calcmode="lin" valueType="num">
                                      <p:cBhvr additive="base">
                                        <p:cTn id="11" dur="1000" fill="hold"/>
                                        <p:tgtEl>
                                          <p:spTgt spid="43"/>
                                        </p:tgtEl>
                                        <p:attrNameLst>
                                          <p:attrName>ppt_x</p:attrName>
                                        </p:attrNameLst>
                                      </p:cBhvr>
                                      <p:tavLst>
                                        <p:tav tm="0">
                                          <p:val>
                                            <p:strVal val="#ppt_x"/>
                                          </p:val>
                                        </p:tav>
                                        <p:tav tm="100000">
                                          <p:val>
                                            <p:strVal val="#ppt_x"/>
                                          </p:val>
                                        </p:tav>
                                      </p:tavLst>
                                    </p:anim>
                                    <p:anim calcmode="lin" valueType="num">
                                      <p:cBhvr additive="base">
                                        <p:cTn id="12" dur="1000" fill="hold"/>
                                        <p:tgtEl>
                                          <p:spTgt spid="43"/>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0"/>
                                  </p:stCondLst>
                                  <p:childTnLst>
                                    <p:set>
                                      <p:cBhvr>
                                        <p:cTn id="14" dur="1" fill="hold">
                                          <p:stCondLst>
                                            <p:cond delay="0"/>
                                          </p:stCondLst>
                                        </p:cTn>
                                        <p:tgtEl>
                                          <p:spTgt spid="48"/>
                                        </p:tgtEl>
                                        <p:attrNameLst>
                                          <p:attrName>style.visibility</p:attrName>
                                        </p:attrNameLst>
                                      </p:cBhvr>
                                      <p:to>
                                        <p:strVal val="visible"/>
                                      </p:to>
                                    </p:set>
                                    <p:anim calcmode="lin" valueType="num">
                                      <p:cBhvr additive="base">
                                        <p:cTn id="15" dur="1000" fill="hold"/>
                                        <p:tgtEl>
                                          <p:spTgt spid="48"/>
                                        </p:tgtEl>
                                        <p:attrNameLst>
                                          <p:attrName>ppt_x</p:attrName>
                                        </p:attrNameLst>
                                      </p:cBhvr>
                                      <p:tavLst>
                                        <p:tav tm="0">
                                          <p:val>
                                            <p:strVal val="#ppt_x"/>
                                          </p:val>
                                        </p:tav>
                                        <p:tav tm="100000">
                                          <p:val>
                                            <p:strVal val="#ppt_x"/>
                                          </p:val>
                                        </p:tav>
                                      </p:tavLst>
                                    </p:anim>
                                    <p:anim calcmode="lin" valueType="num">
                                      <p:cBhvr additive="base">
                                        <p:cTn id="16" dur="1000" fill="hold"/>
                                        <p:tgtEl>
                                          <p:spTgt spid="48"/>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0"/>
                                  </p:stCondLst>
                                  <p:childTnLst>
                                    <p:set>
                                      <p:cBhvr>
                                        <p:cTn id="18" dur="1" fill="hold">
                                          <p:stCondLst>
                                            <p:cond delay="0"/>
                                          </p:stCondLst>
                                        </p:cTn>
                                        <p:tgtEl>
                                          <p:spTgt spid="47"/>
                                        </p:tgtEl>
                                        <p:attrNameLst>
                                          <p:attrName>style.visibility</p:attrName>
                                        </p:attrNameLst>
                                      </p:cBhvr>
                                      <p:to>
                                        <p:strVal val="visible"/>
                                      </p:to>
                                    </p:set>
                                    <p:anim calcmode="lin" valueType="num">
                                      <p:cBhvr additive="base">
                                        <p:cTn id="19" dur="1000" fill="hold"/>
                                        <p:tgtEl>
                                          <p:spTgt spid="47"/>
                                        </p:tgtEl>
                                        <p:attrNameLst>
                                          <p:attrName>ppt_x</p:attrName>
                                        </p:attrNameLst>
                                      </p:cBhvr>
                                      <p:tavLst>
                                        <p:tav tm="0">
                                          <p:val>
                                            <p:strVal val="#ppt_x"/>
                                          </p:val>
                                        </p:tav>
                                        <p:tav tm="100000">
                                          <p:val>
                                            <p:strVal val="#ppt_x"/>
                                          </p:val>
                                        </p:tav>
                                      </p:tavLst>
                                    </p:anim>
                                    <p:anim calcmode="lin" valueType="num">
                                      <p:cBhvr additive="base">
                                        <p:cTn id="20" dur="1000" fill="hold"/>
                                        <p:tgtEl>
                                          <p:spTgt spid="47"/>
                                        </p:tgtEl>
                                        <p:attrNameLst>
                                          <p:attrName>ppt_y</p:attrName>
                                        </p:attrNameLst>
                                      </p:cBhvr>
                                      <p:tavLst>
                                        <p:tav tm="0">
                                          <p:val>
                                            <p:strVal val="1+#ppt_h/2"/>
                                          </p:val>
                                        </p:tav>
                                        <p:tav tm="100000">
                                          <p:val>
                                            <p:strVal val="#ppt_y"/>
                                          </p:val>
                                        </p:tav>
                                      </p:tavLst>
                                    </p:anim>
                                  </p:childTnLst>
                                </p:cTn>
                              </p:par>
                              <p:par>
                                <p:cTn id="21" presetID="2" presetClass="entr" presetSubtype="4" decel="100000" fill="hold" grpId="0" nodeType="withEffect">
                                  <p:stCondLst>
                                    <p:cond delay="0"/>
                                  </p:stCondLst>
                                  <p:childTnLst>
                                    <p:set>
                                      <p:cBhvr>
                                        <p:cTn id="22" dur="1" fill="hold">
                                          <p:stCondLst>
                                            <p:cond delay="0"/>
                                          </p:stCondLst>
                                        </p:cTn>
                                        <p:tgtEl>
                                          <p:spTgt spid="51"/>
                                        </p:tgtEl>
                                        <p:attrNameLst>
                                          <p:attrName>style.visibility</p:attrName>
                                        </p:attrNameLst>
                                      </p:cBhvr>
                                      <p:to>
                                        <p:strVal val="visible"/>
                                      </p:to>
                                    </p:set>
                                    <p:anim calcmode="lin" valueType="num">
                                      <p:cBhvr additive="base">
                                        <p:cTn id="23" dur="1000" fill="hold"/>
                                        <p:tgtEl>
                                          <p:spTgt spid="51"/>
                                        </p:tgtEl>
                                        <p:attrNameLst>
                                          <p:attrName>ppt_x</p:attrName>
                                        </p:attrNameLst>
                                      </p:cBhvr>
                                      <p:tavLst>
                                        <p:tav tm="0">
                                          <p:val>
                                            <p:strVal val="#ppt_x"/>
                                          </p:val>
                                        </p:tav>
                                        <p:tav tm="100000">
                                          <p:val>
                                            <p:strVal val="#ppt_x"/>
                                          </p:val>
                                        </p:tav>
                                      </p:tavLst>
                                    </p:anim>
                                    <p:anim calcmode="lin" valueType="num">
                                      <p:cBhvr additive="base">
                                        <p:cTn id="24" dur="1000" fill="hold"/>
                                        <p:tgtEl>
                                          <p:spTgt spid="51"/>
                                        </p:tgtEl>
                                        <p:attrNameLst>
                                          <p:attrName>ppt_y</p:attrName>
                                        </p:attrNameLst>
                                      </p:cBhvr>
                                      <p:tavLst>
                                        <p:tav tm="0">
                                          <p:val>
                                            <p:strVal val="1+#ppt_h/2"/>
                                          </p:val>
                                        </p:tav>
                                        <p:tav tm="100000">
                                          <p:val>
                                            <p:strVal val="#ppt_y"/>
                                          </p:val>
                                        </p:tav>
                                      </p:tavLst>
                                    </p:anim>
                                  </p:childTnLst>
                                </p:cTn>
                              </p:par>
                              <p:par>
                                <p:cTn id="25" presetID="2" presetClass="entr" presetSubtype="4" decel="100000" fill="hold" grpId="0" nodeType="withEffect">
                                  <p:stCondLst>
                                    <p:cond delay="0"/>
                                  </p:stCondLst>
                                  <p:childTnLst>
                                    <p:set>
                                      <p:cBhvr>
                                        <p:cTn id="26" dur="1" fill="hold">
                                          <p:stCondLst>
                                            <p:cond delay="0"/>
                                          </p:stCondLst>
                                        </p:cTn>
                                        <p:tgtEl>
                                          <p:spTgt spid="55"/>
                                        </p:tgtEl>
                                        <p:attrNameLst>
                                          <p:attrName>style.visibility</p:attrName>
                                        </p:attrNameLst>
                                      </p:cBhvr>
                                      <p:to>
                                        <p:strVal val="visible"/>
                                      </p:to>
                                    </p:set>
                                    <p:anim calcmode="lin" valueType="num">
                                      <p:cBhvr additive="base">
                                        <p:cTn id="27" dur="1000" fill="hold"/>
                                        <p:tgtEl>
                                          <p:spTgt spid="55"/>
                                        </p:tgtEl>
                                        <p:attrNameLst>
                                          <p:attrName>ppt_x</p:attrName>
                                        </p:attrNameLst>
                                      </p:cBhvr>
                                      <p:tavLst>
                                        <p:tav tm="0">
                                          <p:val>
                                            <p:strVal val="#ppt_x"/>
                                          </p:val>
                                        </p:tav>
                                        <p:tav tm="100000">
                                          <p:val>
                                            <p:strVal val="#ppt_x"/>
                                          </p:val>
                                        </p:tav>
                                      </p:tavLst>
                                    </p:anim>
                                    <p:anim calcmode="lin" valueType="num">
                                      <p:cBhvr additive="base">
                                        <p:cTn id="28" dur="1000" fill="hold"/>
                                        <p:tgtEl>
                                          <p:spTgt spid="5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43" grpId="0" animBg="1"/>
      <p:bldP spid="47" grpId="0" animBg="1"/>
      <p:bldP spid="51" grpId="0" animBg="1"/>
      <p:bldP spid="55" grpId="0" animBg="1"/>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746093" y="1087035"/>
            <a:ext cx="3516557" cy="228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endParaRPr lang="en-US" dirty="0">
              <a:solidFill>
                <a:prstClr val="white"/>
              </a:solidFill>
              <a:latin typeface="Segoe" charset="0"/>
              <a:cs typeface="Segoe" charset="0"/>
            </a:endParaRPr>
          </a:p>
        </p:txBody>
      </p:sp>
      <p:sp>
        <p:nvSpPr>
          <p:cNvPr id="27" name="Rectangle 26"/>
          <p:cNvSpPr>
            <a:spLocks/>
          </p:cNvSpPr>
          <p:nvPr>
            <p:custDataLst>
              <p:tags r:id="rId1"/>
            </p:custDataLst>
          </p:nvPr>
        </p:nvSpPr>
        <p:spPr bwMode="auto">
          <a:xfrm>
            <a:off x="6718445" y="3143251"/>
            <a:ext cx="1920240" cy="1577340"/>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28" tIns="137172" rIns="91428" bIns="45714" numCol="1" rtlCol="0" anchor="t" anchorCtr="0" compatLnSpc="1">
            <a:prstTxWarp prst="textNoShape">
              <a:avLst/>
            </a:prstTxWarp>
            <a:noAutofit/>
          </a:bodyPr>
          <a:lstStyle/>
          <a:p>
            <a:pPr defTabSz="914045" fontAlgn="base">
              <a:lnSpc>
                <a:spcPct val="90000"/>
              </a:lnSpc>
              <a:spcBef>
                <a:spcPts val="630"/>
              </a:spcBef>
              <a:spcAft>
                <a:spcPct val="0"/>
              </a:spcAft>
              <a:buClr>
                <a:schemeClr val="bg2">
                  <a:lumMod val="75000"/>
                </a:schemeClr>
              </a:buClr>
              <a:buSzPct val="100000"/>
            </a:pPr>
            <a:r>
              <a:rPr lang="en-US" dirty="0" smtClean="0">
                <a:ln>
                  <a:solidFill>
                    <a:srgbClr val="FFFFFF">
                      <a:alpha val="0"/>
                    </a:srgbClr>
                  </a:solidFill>
                </a:ln>
                <a:solidFill>
                  <a:srgbClr val="FFFFFF">
                    <a:alpha val="99000"/>
                  </a:srgbClr>
                </a:solidFill>
                <a:cs typeface="Segoe UI" pitchFamily="34" charset="0"/>
              </a:rPr>
              <a:t>Make IT strategic</a:t>
            </a:r>
            <a:endParaRPr lang="en-US" dirty="0">
              <a:ln>
                <a:solidFill>
                  <a:srgbClr val="FFFFFF">
                    <a:alpha val="0"/>
                  </a:srgbClr>
                </a:solidFill>
              </a:ln>
              <a:solidFill>
                <a:srgbClr val="FFFFFF">
                  <a:alpha val="99000"/>
                </a:srgbClr>
              </a:solidFill>
              <a:cs typeface="Segoe UI" pitchFamily="34" charset="0"/>
            </a:endParaRPr>
          </a:p>
          <a:p>
            <a:pPr defTabSz="914045" fontAlgn="base">
              <a:lnSpc>
                <a:spcPct val="90000"/>
              </a:lnSpc>
              <a:spcBef>
                <a:spcPts val="630"/>
              </a:spcBef>
              <a:spcAft>
                <a:spcPct val="0"/>
              </a:spcAft>
              <a:buClr>
                <a:schemeClr val="bg2">
                  <a:lumMod val="75000"/>
                </a:schemeClr>
              </a:buClr>
              <a:buSzPct val="100000"/>
            </a:pPr>
            <a:r>
              <a:rPr lang="en-US" dirty="0">
                <a:ln>
                  <a:solidFill>
                    <a:srgbClr val="FFFFFF">
                      <a:alpha val="0"/>
                    </a:srgbClr>
                  </a:solidFill>
                </a:ln>
                <a:solidFill>
                  <a:srgbClr val="FFFFFF">
                    <a:alpha val="99000"/>
                  </a:srgbClr>
                </a:solidFill>
                <a:cs typeface="Segoe UI" pitchFamily="34" charset="0"/>
              </a:rPr>
              <a:t>Map resources to priorities</a:t>
            </a:r>
          </a:p>
          <a:p>
            <a:pPr defTabSz="914045" fontAlgn="base">
              <a:lnSpc>
                <a:spcPct val="90000"/>
              </a:lnSpc>
              <a:spcBef>
                <a:spcPts val="630"/>
              </a:spcBef>
              <a:spcAft>
                <a:spcPct val="0"/>
              </a:spcAft>
              <a:buClr>
                <a:schemeClr val="bg2">
                  <a:lumMod val="75000"/>
                </a:schemeClr>
              </a:buClr>
              <a:buSzPct val="100000"/>
            </a:pPr>
            <a:r>
              <a:rPr lang="en-US" dirty="0">
                <a:ln>
                  <a:solidFill>
                    <a:srgbClr val="FFFFFF">
                      <a:alpha val="0"/>
                    </a:srgbClr>
                  </a:solidFill>
                </a:ln>
                <a:solidFill>
                  <a:srgbClr val="FFFFFF">
                    <a:alpha val="99000"/>
                  </a:srgbClr>
                </a:solidFill>
                <a:cs typeface="Segoe UI" pitchFamily="34" charset="0"/>
              </a:rPr>
              <a:t>Optimize consumption</a:t>
            </a:r>
          </a:p>
        </p:txBody>
      </p:sp>
      <p:sp>
        <p:nvSpPr>
          <p:cNvPr id="26" name="Rectangle 25"/>
          <p:cNvSpPr>
            <a:spLocks/>
          </p:cNvSpPr>
          <p:nvPr>
            <p:custDataLst>
              <p:tags r:id="rId2"/>
            </p:custDataLst>
          </p:nvPr>
        </p:nvSpPr>
        <p:spPr bwMode="auto">
          <a:xfrm>
            <a:off x="4652459" y="3143251"/>
            <a:ext cx="1920240" cy="1577340"/>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28" tIns="137172" rIns="91428" bIns="45714" numCol="1" rtlCol="0" anchor="t" anchorCtr="0" compatLnSpc="1">
            <a:prstTxWarp prst="textNoShape">
              <a:avLst/>
            </a:prstTxWarp>
            <a:noAutofit/>
          </a:bodyPr>
          <a:lstStyle/>
          <a:p>
            <a:pPr defTabSz="914045" fontAlgn="base">
              <a:lnSpc>
                <a:spcPct val="90000"/>
              </a:lnSpc>
              <a:spcBef>
                <a:spcPts val="630"/>
              </a:spcBef>
              <a:spcAft>
                <a:spcPct val="0"/>
              </a:spcAft>
              <a:buClr>
                <a:schemeClr val="bg2">
                  <a:lumMod val="75000"/>
                </a:schemeClr>
              </a:buClr>
              <a:buSzPct val="100000"/>
            </a:pPr>
            <a:r>
              <a:rPr lang="en-US" dirty="0">
                <a:ln>
                  <a:solidFill>
                    <a:srgbClr val="FFFFFF">
                      <a:alpha val="0"/>
                    </a:srgbClr>
                  </a:solidFill>
                </a:ln>
                <a:solidFill>
                  <a:srgbClr val="FFFFFF">
                    <a:alpha val="99000"/>
                  </a:srgbClr>
                </a:solidFill>
                <a:cs typeface="Segoe UI" pitchFamily="34" charset="0"/>
              </a:rPr>
              <a:t>Reduce OPEX</a:t>
            </a:r>
          </a:p>
          <a:p>
            <a:pPr defTabSz="914045" fontAlgn="base">
              <a:lnSpc>
                <a:spcPct val="90000"/>
              </a:lnSpc>
              <a:spcBef>
                <a:spcPts val="630"/>
              </a:spcBef>
              <a:spcAft>
                <a:spcPct val="0"/>
              </a:spcAft>
              <a:buClr>
                <a:schemeClr val="bg2">
                  <a:lumMod val="75000"/>
                </a:schemeClr>
              </a:buClr>
              <a:buSzPct val="100000"/>
            </a:pPr>
            <a:r>
              <a:rPr lang="en-US" dirty="0">
                <a:ln>
                  <a:solidFill>
                    <a:srgbClr val="FFFFFF">
                      <a:alpha val="0"/>
                    </a:srgbClr>
                  </a:solidFill>
                </a:ln>
                <a:solidFill>
                  <a:srgbClr val="FFFFFF">
                    <a:alpha val="99000"/>
                  </a:srgbClr>
                </a:solidFill>
                <a:cs typeface="Segoe UI" pitchFamily="34" charset="0"/>
              </a:rPr>
              <a:t>Improve time to solution</a:t>
            </a:r>
          </a:p>
          <a:p>
            <a:pPr defTabSz="914045" fontAlgn="base">
              <a:lnSpc>
                <a:spcPct val="90000"/>
              </a:lnSpc>
              <a:spcBef>
                <a:spcPts val="630"/>
              </a:spcBef>
              <a:spcAft>
                <a:spcPct val="0"/>
              </a:spcAft>
              <a:buClr>
                <a:schemeClr val="bg2">
                  <a:lumMod val="75000"/>
                </a:schemeClr>
              </a:buClr>
              <a:buSzPct val="100000"/>
            </a:pPr>
            <a:r>
              <a:rPr lang="en-US" dirty="0">
                <a:ln>
                  <a:solidFill>
                    <a:srgbClr val="FFFFFF">
                      <a:alpha val="0"/>
                    </a:srgbClr>
                  </a:solidFill>
                </a:ln>
                <a:solidFill>
                  <a:srgbClr val="FFFFFF">
                    <a:alpha val="99000"/>
                  </a:srgbClr>
                </a:solidFill>
                <a:cs typeface="Segoe UI" pitchFamily="34" charset="0"/>
              </a:rPr>
              <a:t>Simplify management</a:t>
            </a:r>
          </a:p>
        </p:txBody>
      </p:sp>
      <p:sp>
        <p:nvSpPr>
          <p:cNvPr id="24" name="Rectangle 23"/>
          <p:cNvSpPr>
            <a:spLocks/>
          </p:cNvSpPr>
          <p:nvPr>
            <p:custDataLst>
              <p:tags r:id="rId3"/>
            </p:custDataLst>
          </p:nvPr>
        </p:nvSpPr>
        <p:spPr bwMode="auto">
          <a:xfrm>
            <a:off x="2579981" y="3143251"/>
            <a:ext cx="1922780" cy="1577340"/>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28" tIns="137172" rIns="91428" bIns="45714" numCol="1" rtlCol="0" anchor="t" anchorCtr="0" compatLnSpc="1">
            <a:prstTxWarp prst="textNoShape">
              <a:avLst/>
            </a:prstTxWarp>
            <a:noAutofit/>
          </a:bodyPr>
          <a:lstStyle/>
          <a:p>
            <a:pPr defTabSz="914045" fontAlgn="base">
              <a:lnSpc>
                <a:spcPct val="90000"/>
              </a:lnSpc>
              <a:spcBef>
                <a:spcPts val="630"/>
              </a:spcBef>
              <a:spcAft>
                <a:spcPct val="0"/>
              </a:spcAft>
              <a:buClr>
                <a:schemeClr val="bg2">
                  <a:lumMod val="75000"/>
                </a:schemeClr>
              </a:buClr>
              <a:buSzPct val="100000"/>
            </a:pPr>
            <a:r>
              <a:rPr lang="en-US" dirty="0">
                <a:ln>
                  <a:solidFill>
                    <a:srgbClr val="FFFFFF">
                      <a:alpha val="0"/>
                    </a:srgbClr>
                  </a:solidFill>
                </a:ln>
                <a:solidFill>
                  <a:srgbClr val="FFFFFF">
                    <a:alpha val="99000"/>
                  </a:srgbClr>
                </a:solidFill>
                <a:cs typeface="Segoe UI" pitchFamily="34" charset="0"/>
              </a:rPr>
              <a:t>Scale up and down</a:t>
            </a:r>
          </a:p>
          <a:p>
            <a:pPr defTabSz="914045" fontAlgn="base">
              <a:lnSpc>
                <a:spcPct val="90000"/>
              </a:lnSpc>
              <a:spcBef>
                <a:spcPts val="630"/>
              </a:spcBef>
              <a:spcAft>
                <a:spcPct val="0"/>
              </a:spcAft>
              <a:buClr>
                <a:schemeClr val="bg2">
                  <a:lumMod val="75000"/>
                </a:schemeClr>
              </a:buClr>
              <a:buSzPct val="100000"/>
            </a:pPr>
            <a:r>
              <a:rPr lang="en-US" dirty="0" smtClean="0">
                <a:ln>
                  <a:solidFill>
                    <a:srgbClr val="FFFFFF">
                      <a:alpha val="0"/>
                    </a:srgbClr>
                  </a:solidFill>
                </a:ln>
                <a:solidFill>
                  <a:srgbClr val="FFFFFF">
                    <a:alpha val="99000"/>
                  </a:srgbClr>
                </a:solidFill>
                <a:cs typeface="Segoe UI" pitchFamily="34" charset="0"/>
              </a:rPr>
              <a:t>Built-in </a:t>
            </a:r>
            <a:r>
              <a:rPr lang="en-US" dirty="0">
                <a:ln>
                  <a:solidFill>
                    <a:srgbClr val="FFFFFF">
                      <a:alpha val="0"/>
                    </a:srgbClr>
                  </a:solidFill>
                </a:ln>
                <a:solidFill>
                  <a:srgbClr val="FFFFFF">
                    <a:alpha val="99000"/>
                  </a:srgbClr>
                </a:solidFill>
                <a:cs typeface="Segoe UI" pitchFamily="34" charset="0"/>
              </a:rPr>
              <a:t>high availability</a:t>
            </a:r>
          </a:p>
          <a:p>
            <a:pPr defTabSz="914045" fontAlgn="base">
              <a:lnSpc>
                <a:spcPct val="90000"/>
              </a:lnSpc>
              <a:spcBef>
                <a:spcPts val="630"/>
              </a:spcBef>
              <a:spcAft>
                <a:spcPct val="0"/>
              </a:spcAft>
              <a:buClr>
                <a:schemeClr val="bg2">
                  <a:lumMod val="75000"/>
                </a:schemeClr>
              </a:buClr>
              <a:buSzPct val="100000"/>
            </a:pPr>
            <a:r>
              <a:rPr lang="en-US" dirty="0">
                <a:ln>
                  <a:solidFill>
                    <a:srgbClr val="FFFFFF">
                      <a:alpha val="0"/>
                    </a:srgbClr>
                  </a:solidFill>
                </a:ln>
                <a:solidFill>
                  <a:srgbClr val="FFFFFF">
                    <a:alpha val="99000"/>
                  </a:srgbClr>
                </a:solidFill>
                <a:cs typeface="Segoe UI" pitchFamily="34" charset="0"/>
              </a:rPr>
              <a:t>Built-in disaster recovery</a:t>
            </a:r>
          </a:p>
        </p:txBody>
      </p:sp>
      <p:sp>
        <p:nvSpPr>
          <p:cNvPr id="23" name="Rectangle 22"/>
          <p:cNvSpPr>
            <a:spLocks/>
          </p:cNvSpPr>
          <p:nvPr>
            <p:custDataLst>
              <p:tags r:id="rId4"/>
            </p:custDataLst>
          </p:nvPr>
        </p:nvSpPr>
        <p:spPr bwMode="auto">
          <a:xfrm>
            <a:off x="507045" y="3143251"/>
            <a:ext cx="1920240" cy="1577340"/>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28" tIns="137172" rIns="91428" bIns="45714" numCol="1" rtlCol="0" anchor="t" anchorCtr="0" compatLnSpc="1">
            <a:prstTxWarp prst="textNoShape">
              <a:avLst/>
            </a:prstTxWarp>
            <a:noAutofit/>
          </a:bodyPr>
          <a:lstStyle/>
          <a:p>
            <a:pPr defTabSz="914045" fontAlgn="base">
              <a:lnSpc>
                <a:spcPct val="90000"/>
              </a:lnSpc>
              <a:spcBef>
                <a:spcPts val="630"/>
              </a:spcBef>
              <a:spcAft>
                <a:spcPct val="0"/>
              </a:spcAft>
              <a:buClr>
                <a:schemeClr val="bg2">
                  <a:lumMod val="75000"/>
                </a:schemeClr>
              </a:buClr>
              <a:buSzPct val="100000"/>
            </a:pPr>
            <a:r>
              <a:rPr lang="en-US" dirty="0">
                <a:ln>
                  <a:solidFill>
                    <a:srgbClr val="FFFFFF">
                      <a:alpha val="0"/>
                    </a:srgbClr>
                  </a:solidFill>
                </a:ln>
                <a:solidFill>
                  <a:srgbClr val="FFFFFF">
                    <a:alpha val="99000"/>
                  </a:srgbClr>
                </a:solidFill>
                <a:cs typeface="Segoe UI" pitchFamily="34" charset="0"/>
              </a:rPr>
              <a:t>Reduce CAPEX</a:t>
            </a:r>
          </a:p>
          <a:p>
            <a:pPr defTabSz="914045" fontAlgn="base">
              <a:lnSpc>
                <a:spcPct val="90000"/>
              </a:lnSpc>
              <a:spcBef>
                <a:spcPts val="630"/>
              </a:spcBef>
              <a:spcAft>
                <a:spcPct val="0"/>
              </a:spcAft>
              <a:buClr>
                <a:schemeClr val="bg2">
                  <a:lumMod val="75000"/>
                </a:schemeClr>
              </a:buClr>
              <a:buSzPct val="100000"/>
            </a:pPr>
            <a:r>
              <a:rPr lang="en-US" dirty="0">
                <a:ln>
                  <a:solidFill>
                    <a:srgbClr val="FFFFFF">
                      <a:alpha val="0"/>
                    </a:srgbClr>
                  </a:solidFill>
                </a:ln>
                <a:solidFill>
                  <a:srgbClr val="FFFFFF">
                    <a:alpha val="99000"/>
                  </a:srgbClr>
                </a:solidFill>
                <a:cs typeface="Segoe UI" pitchFamily="34" charset="0"/>
              </a:rPr>
              <a:t>Improve utilization</a:t>
            </a:r>
          </a:p>
          <a:p>
            <a:pPr defTabSz="914045" fontAlgn="base">
              <a:lnSpc>
                <a:spcPct val="90000"/>
              </a:lnSpc>
              <a:spcBef>
                <a:spcPts val="630"/>
              </a:spcBef>
              <a:spcAft>
                <a:spcPct val="0"/>
              </a:spcAft>
              <a:buClr>
                <a:schemeClr val="bg2">
                  <a:lumMod val="75000"/>
                </a:schemeClr>
              </a:buClr>
              <a:buSzPct val="100000"/>
            </a:pPr>
            <a:r>
              <a:rPr lang="en-US" dirty="0">
                <a:ln>
                  <a:solidFill>
                    <a:srgbClr val="FFFFFF">
                      <a:alpha val="0"/>
                    </a:srgbClr>
                  </a:solidFill>
                </a:ln>
                <a:solidFill>
                  <a:srgbClr val="FFFFFF">
                    <a:alpha val="99000"/>
                  </a:srgbClr>
                </a:solidFill>
                <a:cs typeface="Segoe UI" pitchFamily="34" charset="0"/>
              </a:rPr>
              <a:t>Improve Green IT </a:t>
            </a:r>
          </a:p>
        </p:txBody>
      </p:sp>
      <p:sp>
        <p:nvSpPr>
          <p:cNvPr id="49" name="MASK"/>
          <p:cNvSpPr/>
          <p:nvPr/>
        </p:nvSpPr>
        <p:spPr>
          <a:xfrm>
            <a:off x="398964" y="1"/>
            <a:ext cx="8460402" cy="31432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endParaRPr lang="en-US"/>
          </a:p>
        </p:txBody>
      </p:sp>
      <p:grpSp>
        <p:nvGrpSpPr>
          <p:cNvPr id="21" name="Group 20"/>
          <p:cNvGrpSpPr/>
          <p:nvPr/>
        </p:nvGrpSpPr>
        <p:grpSpPr>
          <a:xfrm>
            <a:off x="507045" y="1150318"/>
            <a:ext cx="1920240" cy="1917497"/>
            <a:chOff x="675882" y="1533756"/>
            <a:chExt cx="2559653" cy="2556662"/>
          </a:xfrm>
        </p:grpSpPr>
        <p:sp>
          <p:nvSpPr>
            <p:cNvPr id="32" name="Rectangle 31"/>
            <p:cNvSpPr/>
            <p:nvPr>
              <p:custDataLst>
                <p:tags r:id="rId8"/>
              </p:custDataLst>
            </p:nvPr>
          </p:nvSpPr>
          <p:spPr bwMode="auto">
            <a:xfrm>
              <a:off x="675882" y="1533756"/>
              <a:ext cx="2559653" cy="2556662"/>
            </a:xfrm>
            <a:prstGeom prst="rect">
              <a:avLst/>
            </a:prstGeom>
            <a:solidFill>
              <a:srgbClr val="FF8B00"/>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1371600" rIns="91440" bIns="45720" numCol="1" rtlCol="0" anchor="ctr" anchorCtr="0" compatLnSpc="1">
              <a:prstTxWarp prst="textNoShape">
                <a:avLst/>
              </a:prstTxWarp>
              <a:noAutofit/>
            </a:bodyPr>
            <a:lstStyle/>
            <a:p>
              <a:pPr algn="ctr" defTabSz="914045" fontAlgn="base">
                <a:lnSpc>
                  <a:spcPct val="90000"/>
                </a:lnSpc>
                <a:spcBef>
                  <a:spcPts val="630"/>
                </a:spcBef>
                <a:spcAft>
                  <a:spcPct val="0"/>
                </a:spcAft>
                <a:buClr>
                  <a:srgbClr val="FFFF99"/>
                </a:buClr>
                <a:buSzPct val="120000"/>
                <a:defRPr/>
              </a:pPr>
              <a:r>
                <a:rPr lang="en-US" sz="1500" dirty="0">
                  <a:ln>
                    <a:solidFill>
                      <a:srgbClr val="FFFFFF">
                        <a:alpha val="0"/>
                      </a:srgbClr>
                    </a:solidFill>
                  </a:ln>
                  <a:solidFill>
                    <a:srgbClr val="FFFFFF">
                      <a:alpha val="99000"/>
                    </a:srgbClr>
                  </a:solidFill>
                  <a:cs typeface="Segoe UI" pitchFamily="34" charset="0"/>
                </a:rPr>
                <a:t>Resource Pooling</a:t>
              </a:r>
            </a:p>
          </p:txBody>
        </p:sp>
        <p:pic>
          <p:nvPicPr>
            <p:cNvPr id="40" name="Picture 7" descr="\\MAGNUM\Projects\Microsoft\Cloud Power FY12\Design\Icons\PNGs\Metering.png"/>
            <p:cNvPicPr>
              <a:picLocks noChangeAspect="1" noChangeArrowheads="1"/>
            </p:cNvPicPr>
            <p:nvPr/>
          </p:nvPicPr>
          <p:blipFill>
            <a:blip r:embed="rId11" cstate="print">
              <a:extLst>
                <a:ext uri="{BEBA8EAE-BF5A-486C-A8C5-ECC9F3942E4B}">
                  <a14:imgProps xmlns:a14="http://schemas.microsoft.com/office/drawing/2010/main">
                    <a14:imgLayer r:embed="rId12">
                      <a14:imgEffect>
                        <a14:brightnessContrast bright="100000"/>
                      </a14:imgEffect>
                    </a14:imgLayer>
                  </a14:imgProps>
                </a:ext>
              </a:extLst>
            </a:blip>
            <a:stretch>
              <a:fillRect/>
            </a:stretch>
          </p:blipFill>
          <p:spPr bwMode="auto">
            <a:xfrm>
              <a:off x="1064904" y="1654403"/>
              <a:ext cx="1781608" cy="1781608"/>
            </a:xfrm>
            <a:prstGeom prst="rect">
              <a:avLst/>
            </a:prstGeom>
            <a:noFill/>
          </p:spPr>
        </p:pic>
      </p:grpSp>
      <p:grpSp>
        <p:nvGrpSpPr>
          <p:cNvPr id="45" name="Group 44"/>
          <p:cNvGrpSpPr/>
          <p:nvPr/>
        </p:nvGrpSpPr>
        <p:grpSpPr>
          <a:xfrm>
            <a:off x="2579981" y="1150318"/>
            <a:ext cx="1920240" cy="1917497"/>
            <a:chOff x="3439078" y="1533756"/>
            <a:chExt cx="2559653" cy="2556662"/>
          </a:xfrm>
        </p:grpSpPr>
        <p:sp>
          <p:nvSpPr>
            <p:cNvPr id="38" name="Rectangle 37"/>
            <p:cNvSpPr/>
            <p:nvPr>
              <p:custDataLst>
                <p:tags r:id="rId7"/>
              </p:custDataLst>
            </p:nvPr>
          </p:nvSpPr>
          <p:spPr bwMode="auto">
            <a:xfrm>
              <a:off x="3439078" y="1533756"/>
              <a:ext cx="2559653" cy="2556662"/>
            </a:xfrm>
            <a:prstGeom prst="rect">
              <a:avLst/>
            </a:prstGeom>
            <a:solidFill>
              <a:srgbClr val="FF8B00"/>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1371600" rIns="91440" bIns="45720" numCol="1" rtlCol="0" anchor="ctr" anchorCtr="0" compatLnSpc="1">
              <a:prstTxWarp prst="textNoShape">
                <a:avLst/>
              </a:prstTxWarp>
              <a:noAutofit/>
            </a:bodyPr>
            <a:lstStyle/>
            <a:p>
              <a:pPr algn="ctr" defTabSz="914045" fontAlgn="base">
                <a:lnSpc>
                  <a:spcPct val="90000"/>
                </a:lnSpc>
                <a:spcBef>
                  <a:spcPts val="630"/>
                </a:spcBef>
                <a:spcAft>
                  <a:spcPct val="0"/>
                </a:spcAft>
                <a:buClr>
                  <a:srgbClr val="FFFF99"/>
                </a:buClr>
                <a:buSzPct val="120000"/>
              </a:pPr>
              <a:r>
                <a:rPr lang="en-US" sz="1500" dirty="0">
                  <a:ln>
                    <a:solidFill>
                      <a:srgbClr val="FFFFFF">
                        <a:alpha val="0"/>
                      </a:srgbClr>
                    </a:solidFill>
                  </a:ln>
                  <a:solidFill>
                    <a:srgbClr val="FFFFFF">
                      <a:alpha val="99000"/>
                    </a:srgbClr>
                  </a:solidFill>
                  <a:cs typeface="Segoe UI" pitchFamily="34" charset="0"/>
                </a:rPr>
                <a:t>Elasticity</a:t>
              </a:r>
            </a:p>
          </p:txBody>
        </p:sp>
        <p:sp>
          <p:nvSpPr>
            <p:cNvPr id="41" name="Left-Right Arrow 40"/>
            <p:cNvSpPr>
              <a:spLocks noChangeAspect="1"/>
            </p:cNvSpPr>
            <p:nvPr/>
          </p:nvSpPr>
          <p:spPr>
            <a:xfrm>
              <a:off x="4126920" y="2284777"/>
              <a:ext cx="1183969" cy="520860"/>
            </a:xfrm>
            <a:prstGeom prst="leftRightArrow">
              <a:avLst/>
            </a:prstGeom>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u="sng" dirty="0">
                <a:solidFill>
                  <a:prstClr val="white"/>
                </a:solidFill>
                <a:latin typeface="Segoe" charset="0"/>
                <a:cs typeface="Segoe" charset="0"/>
              </a:endParaRPr>
            </a:p>
          </p:txBody>
        </p:sp>
      </p:grpSp>
      <p:grpSp>
        <p:nvGrpSpPr>
          <p:cNvPr id="46" name="Group 45"/>
          <p:cNvGrpSpPr/>
          <p:nvPr/>
        </p:nvGrpSpPr>
        <p:grpSpPr>
          <a:xfrm>
            <a:off x="4652459" y="1150318"/>
            <a:ext cx="1920240" cy="1917497"/>
            <a:chOff x="6201663" y="1533756"/>
            <a:chExt cx="2559653" cy="2556662"/>
          </a:xfrm>
        </p:grpSpPr>
        <p:sp>
          <p:nvSpPr>
            <p:cNvPr id="35" name="Rectangle 34"/>
            <p:cNvSpPr/>
            <p:nvPr>
              <p:custDataLst>
                <p:tags r:id="rId6"/>
              </p:custDataLst>
            </p:nvPr>
          </p:nvSpPr>
          <p:spPr bwMode="auto">
            <a:xfrm>
              <a:off x="6201663" y="1533756"/>
              <a:ext cx="2559653" cy="2556662"/>
            </a:xfrm>
            <a:prstGeom prst="rect">
              <a:avLst/>
            </a:prstGeom>
            <a:solidFill>
              <a:srgbClr val="FF8B00"/>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1371600" rIns="91440" bIns="45720" numCol="1" rtlCol="0" anchor="ctr" anchorCtr="0" compatLnSpc="1">
              <a:prstTxWarp prst="textNoShape">
                <a:avLst/>
              </a:prstTxWarp>
              <a:noAutofit/>
            </a:bodyPr>
            <a:lstStyle/>
            <a:p>
              <a:pPr algn="ctr" defTabSz="914045" fontAlgn="base">
                <a:lnSpc>
                  <a:spcPct val="90000"/>
                </a:lnSpc>
                <a:spcBef>
                  <a:spcPts val="630"/>
                </a:spcBef>
                <a:spcAft>
                  <a:spcPct val="0"/>
                </a:spcAft>
                <a:buClr>
                  <a:srgbClr val="FFFF99"/>
                </a:buClr>
                <a:buSzPct val="120000"/>
              </a:pPr>
              <a:r>
                <a:rPr lang="en-US" sz="1500" dirty="0">
                  <a:ln>
                    <a:solidFill>
                      <a:srgbClr val="FFFFFF">
                        <a:alpha val="0"/>
                      </a:srgbClr>
                    </a:solidFill>
                  </a:ln>
                  <a:solidFill>
                    <a:srgbClr val="FFFFFF">
                      <a:alpha val="99000"/>
                    </a:srgbClr>
                  </a:solidFill>
                  <a:cs typeface="Segoe UI" pitchFamily="34" charset="0"/>
                </a:rPr>
                <a:t>Self-Service</a:t>
              </a:r>
            </a:p>
          </p:txBody>
        </p:sp>
        <p:pic>
          <p:nvPicPr>
            <p:cNvPr id="42" name="Picture 5" descr="\\MAGNUM\Projects\Microsoft\Cloud Power FY12\Design\Icons\PNGs\Self_Service.png"/>
            <p:cNvPicPr>
              <a:picLocks noChangeAspect="1" noChangeArrowheads="1"/>
            </p:cNvPicPr>
            <p:nvPr/>
          </p:nvPicPr>
          <p:blipFill>
            <a:blip r:embed="rId13" cstate="print">
              <a:extLst>
                <a:ext uri="{BEBA8EAE-BF5A-486C-A8C5-ECC9F3942E4B}">
                  <a14:imgProps xmlns:a14="http://schemas.microsoft.com/office/drawing/2010/main">
                    <a14:imgLayer r:embed="rId14">
                      <a14:imgEffect>
                        <a14:brightnessContrast bright="100000"/>
                      </a14:imgEffect>
                    </a14:imgLayer>
                  </a14:imgProps>
                </a:ext>
              </a:extLst>
            </a:blip>
            <a:stretch>
              <a:fillRect/>
            </a:stretch>
          </p:blipFill>
          <p:spPr bwMode="auto">
            <a:xfrm>
              <a:off x="6748300" y="1812018"/>
              <a:ext cx="1466378" cy="1466378"/>
            </a:xfrm>
            <a:prstGeom prst="rect">
              <a:avLst/>
            </a:prstGeom>
            <a:noFill/>
          </p:spPr>
        </p:pic>
      </p:grpSp>
      <p:grpSp>
        <p:nvGrpSpPr>
          <p:cNvPr id="47" name="Group 46"/>
          <p:cNvGrpSpPr/>
          <p:nvPr/>
        </p:nvGrpSpPr>
        <p:grpSpPr>
          <a:xfrm>
            <a:off x="6718445" y="1150318"/>
            <a:ext cx="1920240" cy="1917497"/>
            <a:chOff x="8955592" y="1533756"/>
            <a:chExt cx="2559653" cy="2556662"/>
          </a:xfrm>
        </p:grpSpPr>
        <p:sp>
          <p:nvSpPr>
            <p:cNvPr id="29" name="Rectangle 28"/>
            <p:cNvSpPr/>
            <p:nvPr>
              <p:custDataLst>
                <p:tags r:id="rId5"/>
              </p:custDataLst>
            </p:nvPr>
          </p:nvSpPr>
          <p:spPr bwMode="auto">
            <a:xfrm>
              <a:off x="8955592" y="1533756"/>
              <a:ext cx="2559653" cy="2556662"/>
            </a:xfrm>
            <a:prstGeom prst="rect">
              <a:avLst/>
            </a:prstGeom>
            <a:solidFill>
              <a:srgbClr val="FF8B00"/>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1371600" rIns="91440" bIns="45720" numCol="1" rtlCol="0" anchor="ctr" anchorCtr="0" compatLnSpc="1">
              <a:prstTxWarp prst="textNoShape">
                <a:avLst/>
              </a:prstTxWarp>
              <a:noAutofit/>
            </a:bodyPr>
            <a:lstStyle/>
            <a:p>
              <a:pPr algn="ctr" defTabSz="914045" fontAlgn="base">
                <a:lnSpc>
                  <a:spcPct val="90000"/>
                </a:lnSpc>
                <a:spcBef>
                  <a:spcPts val="630"/>
                </a:spcBef>
                <a:spcAft>
                  <a:spcPct val="0"/>
                </a:spcAft>
                <a:buClr>
                  <a:srgbClr val="FFFF99"/>
                </a:buClr>
                <a:buSzPct val="120000"/>
              </a:pPr>
              <a:r>
                <a:rPr lang="en-US" sz="1500" dirty="0">
                  <a:ln>
                    <a:solidFill>
                      <a:srgbClr val="FFFFFF">
                        <a:alpha val="0"/>
                      </a:srgbClr>
                    </a:solidFill>
                  </a:ln>
                  <a:solidFill>
                    <a:srgbClr val="FFFFFF">
                      <a:alpha val="99000"/>
                    </a:srgbClr>
                  </a:solidFill>
                  <a:cs typeface="Segoe UI" pitchFamily="34" charset="0"/>
                </a:rPr>
                <a:t>Monitoring &amp; Chargeback</a:t>
              </a:r>
            </a:p>
          </p:txBody>
        </p:sp>
        <p:pic>
          <p:nvPicPr>
            <p:cNvPr id="43" name="Picture 4" descr="\\MAGNUM\Projects\Microsoft\Cloud Power FY12\Design\Icons\PNGs\Scalable_Elastic_4.png"/>
            <p:cNvPicPr>
              <a:picLocks noChangeAspect="1" noChangeArrowheads="1"/>
            </p:cNvPicPr>
            <p:nvPr/>
          </p:nvPicPr>
          <p:blipFill>
            <a:blip r:embed="rId15" cstate="print">
              <a:extLst>
                <a:ext uri="{BEBA8EAE-BF5A-486C-A8C5-ECC9F3942E4B}">
                  <a14:imgProps xmlns:a14="http://schemas.microsoft.com/office/drawing/2010/main">
                    <a14:imgLayer r:embed="rId16">
                      <a14:imgEffect>
                        <a14:brightnessContrast bright="100000"/>
                      </a14:imgEffect>
                    </a14:imgLayer>
                  </a14:imgProps>
                </a:ext>
              </a:extLst>
            </a:blip>
            <a:stretch>
              <a:fillRect/>
            </a:stretch>
          </p:blipFill>
          <p:spPr bwMode="auto">
            <a:xfrm>
              <a:off x="9420218" y="1730007"/>
              <a:ext cx="1630401" cy="1630401"/>
            </a:xfrm>
            <a:prstGeom prst="rect">
              <a:avLst/>
            </a:prstGeom>
            <a:noFill/>
          </p:spPr>
        </p:pic>
      </p:grpSp>
      <p:sp>
        <p:nvSpPr>
          <p:cNvPr id="44" name="MASK"/>
          <p:cNvSpPr/>
          <p:nvPr/>
        </p:nvSpPr>
        <p:spPr>
          <a:xfrm>
            <a:off x="398964" y="1"/>
            <a:ext cx="8346073" cy="115031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endParaRPr lang="en-US"/>
          </a:p>
        </p:txBody>
      </p:sp>
      <p:sp>
        <p:nvSpPr>
          <p:cNvPr id="2" name="Title 1"/>
          <p:cNvSpPr>
            <a:spLocks noGrp="1"/>
          </p:cNvSpPr>
          <p:nvPr>
            <p:ph type="title"/>
          </p:nvPr>
        </p:nvSpPr>
        <p:spPr/>
        <p:txBody>
          <a:bodyPr>
            <a:normAutofit/>
          </a:bodyPr>
          <a:lstStyle/>
          <a:p>
            <a:r>
              <a:rPr lang="en-US" dirty="0" smtClean="0"/>
              <a:t>Pillars of the Microsoft Private Cloud</a:t>
            </a:r>
            <a:endParaRPr lang="en-US" dirty="0"/>
          </a:p>
        </p:txBody>
      </p:sp>
      <p:sp>
        <p:nvSpPr>
          <p:cNvPr id="22"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5"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7"/>
              </a:rPr>
              <a:t>www.rapidbbs.cn</a:t>
            </a:r>
            <a:endParaRPr lang="zh-CN" altLang="en-US" sz="1200" b="0">
              <a:latin typeface="Arial" charset="0"/>
              <a:ea typeface="ＭＳ Ｐゴシック" pitchFamily="34" charset="-128"/>
            </a:endParaRPr>
          </a:p>
        </p:txBody>
      </p:sp>
      <p:pic>
        <p:nvPicPr>
          <p:cNvPr id="28" name="Picture 2">
            <a:hlinkClick r:id="rId17"/>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31523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withEffect">
                                  <p:stCondLst>
                                    <p:cond delay="0"/>
                                  </p:stCondLst>
                                  <p:childTnLst>
                                    <p:set>
                                      <p:cBhvr>
                                        <p:cTn id="6" dur="1" fill="hold">
                                          <p:stCondLst>
                                            <p:cond delay="0"/>
                                          </p:stCondLst>
                                        </p:cTn>
                                        <p:tgtEl>
                                          <p:spTgt spid="21"/>
                                        </p:tgtEl>
                                        <p:attrNameLst>
                                          <p:attrName>style.visibility</p:attrName>
                                        </p:attrNameLst>
                                      </p:cBhvr>
                                      <p:to>
                                        <p:strVal val="visible"/>
                                      </p:to>
                                    </p:set>
                                    <p:anim calcmode="lin" valueType="num">
                                      <p:cBhvr additive="base">
                                        <p:cTn id="7" dur="1000" fill="hold"/>
                                        <p:tgtEl>
                                          <p:spTgt spid="21"/>
                                        </p:tgtEl>
                                        <p:attrNameLst>
                                          <p:attrName>ppt_x</p:attrName>
                                        </p:attrNameLst>
                                      </p:cBhvr>
                                      <p:tavLst>
                                        <p:tav tm="0">
                                          <p:val>
                                            <p:strVal val="#ppt_x"/>
                                          </p:val>
                                        </p:tav>
                                        <p:tav tm="100000">
                                          <p:val>
                                            <p:strVal val="#ppt_x"/>
                                          </p:val>
                                        </p:tav>
                                      </p:tavLst>
                                    </p:anim>
                                    <p:anim calcmode="lin" valueType="num">
                                      <p:cBhvr additive="base">
                                        <p:cTn id="8" dur="1000" fill="hold"/>
                                        <p:tgtEl>
                                          <p:spTgt spid="21"/>
                                        </p:tgtEl>
                                        <p:attrNameLst>
                                          <p:attrName>ppt_y</p:attrName>
                                        </p:attrNameLst>
                                      </p:cBhvr>
                                      <p:tavLst>
                                        <p:tav tm="0">
                                          <p:val>
                                            <p:strVal val="0-#ppt_h/2"/>
                                          </p:val>
                                        </p:tav>
                                        <p:tav tm="100000">
                                          <p:val>
                                            <p:strVal val="#ppt_y"/>
                                          </p:val>
                                        </p:tav>
                                      </p:tavLst>
                                    </p:anim>
                                  </p:childTnLst>
                                </p:cTn>
                              </p:par>
                              <p:par>
                                <p:cTn id="9" presetID="2" presetClass="entr" presetSubtype="1" fill="hold" nodeType="withEffect">
                                  <p:stCondLst>
                                    <p:cond delay="0"/>
                                  </p:stCondLst>
                                  <p:childTnLst>
                                    <p:set>
                                      <p:cBhvr>
                                        <p:cTn id="10" dur="1" fill="hold">
                                          <p:stCondLst>
                                            <p:cond delay="0"/>
                                          </p:stCondLst>
                                        </p:cTn>
                                        <p:tgtEl>
                                          <p:spTgt spid="45"/>
                                        </p:tgtEl>
                                        <p:attrNameLst>
                                          <p:attrName>style.visibility</p:attrName>
                                        </p:attrNameLst>
                                      </p:cBhvr>
                                      <p:to>
                                        <p:strVal val="visible"/>
                                      </p:to>
                                    </p:set>
                                    <p:anim calcmode="lin" valueType="num">
                                      <p:cBhvr additive="base">
                                        <p:cTn id="11" dur="1000" fill="hold"/>
                                        <p:tgtEl>
                                          <p:spTgt spid="45"/>
                                        </p:tgtEl>
                                        <p:attrNameLst>
                                          <p:attrName>ppt_x</p:attrName>
                                        </p:attrNameLst>
                                      </p:cBhvr>
                                      <p:tavLst>
                                        <p:tav tm="0">
                                          <p:val>
                                            <p:strVal val="#ppt_x"/>
                                          </p:val>
                                        </p:tav>
                                        <p:tav tm="100000">
                                          <p:val>
                                            <p:strVal val="#ppt_x"/>
                                          </p:val>
                                        </p:tav>
                                      </p:tavLst>
                                    </p:anim>
                                    <p:anim calcmode="lin" valueType="num">
                                      <p:cBhvr additive="base">
                                        <p:cTn id="12" dur="1000" fill="hold"/>
                                        <p:tgtEl>
                                          <p:spTgt spid="45"/>
                                        </p:tgtEl>
                                        <p:attrNameLst>
                                          <p:attrName>ppt_y</p:attrName>
                                        </p:attrNameLst>
                                      </p:cBhvr>
                                      <p:tavLst>
                                        <p:tav tm="0">
                                          <p:val>
                                            <p:strVal val="0-#ppt_h/2"/>
                                          </p:val>
                                        </p:tav>
                                        <p:tav tm="100000">
                                          <p:val>
                                            <p:strVal val="#ppt_y"/>
                                          </p:val>
                                        </p:tav>
                                      </p:tavLst>
                                    </p:anim>
                                  </p:childTnLst>
                                </p:cTn>
                              </p:par>
                              <p:par>
                                <p:cTn id="13" presetID="2" presetClass="entr" presetSubtype="1" fill="hold" nodeType="withEffect">
                                  <p:stCondLst>
                                    <p:cond delay="0"/>
                                  </p:stCondLst>
                                  <p:childTnLst>
                                    <p:set>
                                      <p:cBhvr>
                                        <p:cTn id="14" dur="1" fill="hold">
                                          <p:stCondLst>
                                            <p:cond delay="0"/>
                                          </p:stCondLst>
                                        </p:cTn>
                                        <p:tgtEl>
                                          <p:spTgt spid="46"/>
                                        </p:tgtEl>
                                        <p:attrNameLst>
                                          <p:attrName>style.visibility</p:attrName>
                                        </p:attrNameLst>
                                      </p:cBhvr>
                                      <p:to>
                                        <p:strVal val="visible"/>
                                      </p:to>
                                    </p:set>
                                    <p:anim calcmode="lin" valueType="num">
                                      <p:cBhvr additive="base">
                                        <p:cTn id="15" dur="1000" fill="hold"/>
                                        <p:tgtEl>
                                          <p:spTgt spid="46"/>
                                        </p:tgtEl>
                                        <p:attrNameLst>
                                          <p:attrName>ppt_x</p:attrName>
                                        </p:attrNameLst>
                                      </p:cBhvr>
                                      <p:tavLst>
                                        <p:tav tm="0">
                                          <p:val>
                                            <p:strVal val="#ppt_x"/>
                                          </p:val>
                                        </p:tav>
                                        <p:tav tm="100000">
                                          <p:val>
                                            <p:strVal val="#ppt_x"/>
                                          </p:val>
                                        </p:tav>
                                      </p:tavLst>
                                    </p:anim>
                                    <p:anim calcmode="lin" valueType="num">
                                      <p:cBhvr additive="base">
                                        <p:cTn id="16" dur="1000" fill="hold"/>
                                        <p:tgtEl>
                                          <p:spTgt spid="46"/>
                                        </p:tgtEl>
                                        <p:attrNameLst>
                                          <p:attrName>ppt_y</p:attrName>
                                        </p:attrNameLst>
                                      </p:cBhvr>
                                      <p:tavLst>
                                        <p:tav tm="0">
                                          <p:val>
                                            <p:strVal val="0-#ppt_h/2"/>
                                          </p:val>
                                        </p:tav>
                                        <p:tav tm="100000">
                                          <p:val>
                                            <p:strVal val="#ppt_y"/>
                                          </p:val>
                                        </p:tav>
                                      </p:tavLst>
                                    </p:anim>
                                  </p:childTnLst>
                                </p:cTn>
                              </p:par>
                              <p:par>
                                <p:cTn id="17" presetID="2" presetClass="entr" presetSubtype="1" fill="hold" nodeType="withEffect">
                                  <p:stCondLst>
                                    <p:cond delay="0"/>
                                  </p:stCondLst>
                                  <p:childTnLst>
                                    <p:set>
                                      <p:cBhvr>
                                        <p:cTn id="18" dur="1" fill="hold">
                                          <p:stCondLst>
                                            <p:cond delay="0"/>
                                          </p:stCondLst>
                                        </p:cTn>
                                        <p:tgtEl>
                                          <p:spTgt spid="47"/>
                                        </p:tgtEl>
                                        <p:attrNameLst>
                                          <p:attrName>style.visibility</p:attrName>
                                        </p:attrNameLst>
                                      </p:cBhvr>
                                      <p:to>
                                        <p:strVal val="visible"/>
                                      </p:to>
                                    </p:set>
                                    <p:anim calcmode="lin" valueType="num">
                                      <p:cBhvr additive="base">
                                        <p:cTn id="19" dur="1000" fill="hold"/>
                                        <p:tgtEl>
                                          <p:spTgt spid="47"/>
                                        </p:tgtEl>
                                        <p:attrNameLst>
                                          <p:attrName>ppt_x</p:attrName>
                                        </p:attrNameLst>
                                      </p:cBhvr>
                                      <p:tavLst>
                                        <p:tav tm="0">
                                          <p:val>
                                            <p:strVal val="#ppt_x"/>
                                          </p:val>
                                        </p:tav>
                                        <p:tav tm="100000">
                                          <p:val>
                                            <p:strVal val="#ppt_x"/>
                                          </p:val>
                                        </p:tav>
                                      </p:tavLst>
                                    </p:anim>
                                    <p:anim calcmode="lin" valueType="num">
                                      <p:cBhvr additive="base">
                                        <p:cTn id="20" dur="1000" fill="hold"/>
                                        <p:tgtEl>
                                          <p:spTgt spid="47"/>
                                        </p:tgtEl>
                                        <p:attrNameLst>
                                          <p:attrName>ppt_y</p:attrName>
                                        </p:attrNameLst>
                                      </p:cBhvr>
                                      <p:tavLst>
                                        <p:tav tm="0">
                                          <p:val>
                                            <p:strVal val="0-#ppt_h/2"/>
                                          </p:val>
                                        </p:tav>
                                        <p:tav tm="100000">
                                          <p:val>
                                            <p:strVal val="#ppt_y"/>
                                          </p:val>
                                        </p:tav>
                                      </p:tavLst>
                                    </p:anim>
                                  </p:childTnLst>
                                </p:cTn>
                              </p:par>
                              <p:par>
                                <p:cTn id="21" presetID="2" presetClass="entr" presetSubtype="1" decel="100000" fill="hold" grpId="0" nodeType="withEffect">
                                  <p:stCondLst>
                                    <p:cond delay="900"/>
                                  </p:stCondLst>
                                  <p:childTnLst>
                                    <p:set>
                                      <p:cBhvr>
                                        <p:cTn id="22" dur="1" fill="hold">
                                          <p:stCondLst>
                                            <p:cond delay="0"/>
                                          </p:stCondLst>
                                        </p:cTn>
                                        <p:tgtEl>
                                          <p:spTgt spid="23"/>
                                        </p:tgtEl>
                                        <p:attrNameLst>
                                          <p:attrName>style.visibility</p:attrName>
                                        </p:attrNameLst>
                                      </p:cBhvr>
                                      <p:to>
                                        <p:strVal val="visible"/>
                                      </p:to>
                                    </p:set>
                                    <p:anim calcmode="lin" valueType="num">
                                      <p:cBhvr additive="base">
                                        <p:cTn id="23" dur="1000" fill="hold"/>
                                        <p:tgtEl>
                                          <p:spTgt spid="23"/>
                                        </p:tgtEl>
                                        <p:attrNameLst>
                                          <p:attrName>ppt_x</p:attrName>
                                        </p:attrNameLst>
                                      </p:cBhvr>
                                      <p:tavLst>
                                        <p:tav tm="0">
                                          <p:val>
                                            <p:strVal val="#ppt_x"/>
                                          </p:val>
                                        </p:tav>
                                        <p:tav tm="100000">
                                          <p:val>
                                            <p:strVal val="#ppt_x"/>
                                          </p:val>
                                        </p:tav>
                                      </p:tavLst>
                                    </p:anim>
                                    <p:anim calcmode="lin" valueType="num">
                                      <p:cBhvr additive="base">
                                        <p:cTn id="24" dur="1000" fill="hold"/>
                                        <p:tgtEl>
                                          <p:spTgt spid="23"/>
                                        </p:tgtEl>
                                        <p:attrNameLst>
                                          <p:attrName>ppt_y</p:attrName>
                                        </p:attrNameLst>
                                      </p:cBhvr>
                                      <p:tavLst>
                                        <p:tav tm="0">
                                          <p:val>
                                            <p:strVal val="0-#ppt_h/2"/>
                                          </p:val>
                                        </p:tav>
                                        <p:tav tm="100000">
                                          <p:val>
                                            <p:strVal val="#ppt_y"/>
                                          </p:val>
                                        </p:tav>
                                      </p:tavLst>
                                    </p:anim>
                                  </p:childTnLst>
                                </p:cTn>
                              </p:par>
                              <p:par>
                                <p:cTn id="25" presetID="2" presetClass="entr" presetSubtype="1" decel="100000" fill="hold" grpId="0" nodeType="withEffect">
                                  <p:stCondLst>
                                    <p:cond delay="900"/>
                                  </p:stCondLst>
                                  <p:childTnLst>
                                    <p:set>
                                      <p:cBhvr>
                                        <p:cTn id="26" dur="1" fill="hold">
                                          <p:stCondLst>
                                            <p:cond delay="0"/>
                                          </p:stCondLst>
                                        </p:cTn>
                                        <p:tgtEl>
                                          <p:spTgt spid="24"/>
                                        </p:tgtEl>
                                        <p:attrNameLst>
                                          <p:attrName>style.visibility</p:attrName>
                                        </p:attrNameLst>
                                      </p:cBhvr>
                                      <p:to>
                                        <p:strVal val="visible"/>
                                      </p:to>
                                    </p:set>
                                    <p:anim calcmode="lin" valueType="num">
                                      <p:cBhvr additive="base">
                                        <p:cTn id="27" dur="1000" fill="hold"/>
                                        <p:tgtEl>
                                          <p:spTgt spid="24"/>
                                        </p:tgtEl>
                                        <p:attrNameLst>
                                          <p:attrName>ppt_x</p:attrName>
                                        </p:attrNameLst>
                                      </p:cBhvr>
                                      <p:tavLst>
                                        <p:tav tm="0">
                                          <p:val>
                                            <p:strVal val="#ppt_x"/>
                                          </p:val>
                                        </p:tav>
                                        <p:tav tm="100000">
                                          <p:val>
                                            <p:strVal val="#ppt_x"/>
                                          </p:val>
                                        </p:tav>
                                      </p:tavLst>
                                    </p:anim>
                                    <p:anim calcmode="lin" valueType="num">
                                      <p:cBhvr additive="base">
                                        <p:cTn id="28" dur="1000" fill="hold"/>
                                        <p:tgtEl>
                                          <p:spTgt spid="24"/>
                                        </p:tgtEl>
                                        <p:attrNameLst>
                                          <p:attrName>ppt_y</p:attrName>
                                        </p:attrNameLst>
                                      </p:cBhvr>
                                      <p:tavLst>
                                        <p:tav tm="0">
                                          <p:val>
                                            <p:strVal val="0-#ppt_h/2"/>
                                          </p:val>
                                        </p:tav>
                                        <p:tav tm="100000">
                                          <p:val>
                                            <p:strVal val="#ppt_y"/>
                                          </p:val>
                                        </p:tav>
                                      </p:tavLst>
                                    </p:anim>
                                  </p:childTnLst>
                                </p:cTn>
                              </p:par>
                              <p:par>
                                <p:cTn id="29" presetID="2" presetClass="entr" presetSubtype="1" decel="100000" fill="hold" grpId="0" nodeType="withEffect">
                                  <p:stCondLst>
                                    <p:cond delay="1000"/>
                                  </p:stCondLst>
                                  <p:childTnLst>
                                    <p:set>
                                      <p:cBhvr>
                                        <p:cTn id="30" dur="1" fill="hold">
                                          <p:stCondLst>
                                            <p:cond delay="0"/>
                                          </p:stCondLst>
                                        </p:cTn>
                                        <p:tgtEl>
                                          <p:spTgt spid="26"/>
                                        </p:tgtEl>
                                        <p:attrNameLst>
                                          <p:attrName>style.visibility</p:attrName>
                                        </p:attrNameLst>
                                      </p:cBhvr>
                                      <p:to>
                                        <p:strVal val="visible"/>
                                      </p:to>
                                    </p:set>
                                    <p:anim calcmode="lin" valueType="num">
                                      <p:cBhvr additive="base">
                                        <p:cTn id="31" dur="1000" fill="hold"/>
                                        <p:tgtEl>
                                          <p:spTgt spid="26"/>
                                        </p:tgtEl>
                                        <p:attrNameLst>
                                          <p:attrName>ppt_x</p:attrName>
                                        </p:attrNameLst>
                                      </p:cBhvr>
                                      <p:tavLst>
                                        <p:tav tm="0">
                                          <p:val>
                                            <p:strVal val="#ppt_x"/>
                                          </p:val>
                                        </p:tav>
                                        <p:tav tm="100000">
                                          <p:val>
                                            <p:strVal val="#ppt_x"/>
                                          </p:val>
                                        </p:tav>
                                      </p:tavLst>
                                    </p:anim>
                                    <p:anim calcmode="lin" valueType="num">
                                      <p:cBhvr additive="base">
                                        <p:cTn id="32" dur="1000" fill="hold"/>
                                        <p:tgtEl>
                                          <p:spTgt spid="26"/>
                                        </p:tgtEl>
                                        <p:attrNameLst>
                                          <p:attrName>ppt_y</p:attrName>
                                        </p:attrNameLst>
                                      </p:cBhvr>
                                      <p:tavLst>
                                        <p:tav tm="0">
                                          <p:val>
                                            <p:strVal val="0-#ppt_h/2"/>
                                          </p:val>
                                        </p:tav>
                                        <p:tav tm="100000">
                                          <p:val>
                                            <p:strVal val="#ppt_y"/>
                                          </p:val>
                                        </p:tav>
                                      </p:tavLst>
                                    </p:anim>
                                  </p:childTnLst>
                                </p:cTn>
                              </p:par>
                              <p:par>
                                <p:cTn id="33" presetID="2" presetClass="entr" presetSubtype="1" decel="100000" fill="hold" grpId="0" nodeType="withEffect">
                                  <p:stCondLst>
                                    <p:cond delay="1000"/>
                                  </p:stCondLst>
                                  <p:childTnLst>
                                    <p:set>
                                      <p:cBhvr>
                                        <p:cTn id="34" dur="1" fill="hold">
                                          <p:stCondLst>
                                            <p:cond delay="0"/>
                                          </p:stCondLst>
                                        </p:cTn>
                                        <p:tgtEl>
                                          <p:spTgt spid="27"/>
                                        </p:tgtEl>
                                        <p:attrNameLst>
                                          <p:attrName>style.visibility</p:attrName>
                                        </p:attrNameLst>
                                      </p:cBhvr>
                                      <p:to>
                                        <p:strVal val="visible"/>
                                      </p:to>
                                    </p:set>
                                    <p:anim calcmode="lin" valueType="num">
                                      <p:cBhvr additive="base">
                                        <p:cTn id="35" dur="1000" fill="hold"/>
                                        <p:tgtEl>
                                          <p:spTgt spid="27"/>
                                        </p:tgtEl>
                                        <p:attrNameLst>
                                          <p:attrName>ppt_x</p:attrName>
                                        </p:attrNameLst>
                                      </p:cBhvr>
                                      <p:tavLst>
                                        <p:tav tm="0">
                                          <p:val>
                                            <p:strVal val="#ppt_x"/>
                                          </p:val>
                                        </p:tav>
                                        <p:tav tm="100000">
                                          <p:val>
                                            <p:strVal val="#ppt_x"/>
                                          </p:val>
                                        </p:tav>
                                      </p:tavLst>
                                    </p:anim>
                                    <p:anim calcmode="lin" valueType="num">
                                      <p:cBhvr additive="base">
                                        <p:cTn id="36" dur="1000" fill="hold"/>
                                        <p:tgtEl>
                                          <p:spTgt spid="27"/>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6" grpId="0" animBg="1"/>
      <p:bldP spid="24" grpId="0" animBg="1"/>
      <p:bldP spid="23" grpId="0" animBg="1"/>
    </p:bld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3700" dirty="0"/>
              <a:t>Planning</a:t>
            </a:r>
            <a:r>
              <a:rPr lang="en-US" dirty="0" smtClean="0"/>
              <a:t/>
            </a:r>
            <a:br>
              <a:rPr lang="en-US" dirty="0" smtClean="0"/>
            </a:br>
            <a:r>
              <a:rPr lang="en-US" sz="2300" dirty="0">
                <a:solidFill>
                  <a:srgbClr val="FFC000">
                    <a:alpha val="99000"/>
                  </a:srgbClr>
                </a:solidFill>
              </a:rPr>
              <a:t>Inventory and Size</a:t>
            </a:r>
            <a:endParaRPr lang="en-US" dirty="0"/>
          </a:p>
        </p:txBody>
      </p:sp>
      <p:sp>
        <p:nvSpPr>
          <p:cNvPr id="18" name="Rectangle 17"/>
          <p:cNvSpPr>
            <a:spLocks/>
          </p:cNvSpPr>
          <p:nvPr>
            <p:custDataLst>
              <p:tags r:id="rId1"/>
            </p:custDataLst>
          </p:nvPr>
        </p:nvSpPr>
        <p:spPr bwMode="auto">
          <a:xfrm>
            <a:off x="736575" y="3143251"/>
            <a:ext cx="1920240" cy="1577340"/>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28" tIns="137172" rIns="91428" bIns="45714" numCol="1" rtlCol="0" anchor="t" anchorCtr="0" compatLnSpc="1">
            <a:prstTxWarp prst="textNoShape">
              <a:avLst/>
            </a:prstTxWarp>
            <a:noAutofit/>
          </a:bodyPr>
          <a:lstStyle/>
          <a:p>
            <a:pPr defTabSz="914045" fontAlgn="base">
              <a:lnSpc>
                <a:spcPct val="90000"/>
              </a:lnSpc>
              <a:spcBef>
                <a:spcPts val="630"/>
              </a:spcBef>
              <a:spcAft>
                <a:spcPct val="0"/>
              </a:spcAft>
              <a:buClr>
                <a:schemeClr val="bg2">
                  <a:lumMod val="75000"/>
                </a:schemeClr>
              </a:buClr>
              <a:buSzPct val="100000"/>
            </a:pPr>
            <a:r>
              <a:rPr lang="en-US" sz="1200" dirty="0">
                <a:ln>
                  <a:solidFill>
                    <a:srgbClr val="FFFFFF">
                      <a:alpha val="0"/>
                    </a:srgbClr>
                  </a:solidFill>
                </a:ln>
                <a:solidFill>
                  <a:srgbClr val="FFFFFF">
                    <a:alpha val="99000"/>
                  </a:srgbClr>
                </a:solidFill>
                <a:cs typeface="Segoe UI" pitchFamily="34" charset="0"/>
              </a:rPr>
              <a:t>Microsoft Assessment and Planning (MAP) Toolkit</a:t>
            </a:r>
          </a:p>
        </p:txBody>
      </p:sp>
      <p:sp>
        <p:nvSpPr>
          <p:cNvPr id="23" name="Rectangle 22"/>
          <p:cNvSpPr>
            <a:spLocks/>
          </p:cNvSpPr>
          <p:nvPr>
            <p:custDataLst>
              <p:tags r:id="rId2"/>
            </p:custDataLst>
          </p:nvPr>
        </p:nvSpPr>
        <p:spPr bwMode="auto">
          <a:xfrm>
            <a:off x="2735318" y="3143251"/>
            <a:ext cx="1922780" cy="1577340"/>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28" tIns="137172" rIns="91428" bIns="45714" numCol="1" rtlCol="0" anchor="t" anchorCtr="0" compatLnSpc="1">
            <a:prstTxWarp prst="textNoShape">
              <a:avLst/>
            </a:prstTxWarp>
            <a:noAutofit/>
          </a:bodyPr>
          <a:lstStyle/>
          <a:p>
            <a:pPr defTabSz="914045" fontAlgn="base">
              <a:lnSpc>
                <a:spcPct val="90000"/>
              </a:lnSpc>
              <a:spcBef>
                <a:spcPts val="630"/>
              </a:spcBef>
              <a:spcAft>
                <a:spcPct val="0"/>
              </a:spcAft>
              <a:buClr>
                <a:schemeClr val="bg2">
                  <a:lumMod val="75000"/>
                </a:schemeClr>
              </a:buClr>
              <a:buSzPct val="100000"/>
            </a:pPr>
            <a:r>
              <a:rPr lang="en-US" sz="1200" dirty="0">
                <a:ln>
                  <a:solidFill>
                    <a:srgbClr val="FFFFFF">
                      <a:alpha val="0"/>
                    </a:srgbClr>
                  </a:solidFill>
                </a:ln>
                <a:solidFill>
                  <a:srgbClr val="FFFFFF">
                    <a:alpha val="99000"/>
                  </a:srgbClr>
                </a:solidFill>
                <a:cs typeface="Segoe UI" pitchFamily="34" charset="0"/>
              </a:rPr>
              <a:t>SQL Server 2012</a:t>
            </a:r>
          </a:p>
          <a:p>
            <a:pPr marL="215523" lvl="1" indent="-127409" defTabSz="914045" fontAlgn="base">
              <a:lnSpc>
                <a:spcPct val="90000"/>
              </a:lnSpc>
              <a:spcBef>
                <a:spcPts val="630"/>
              </a:spcBef>
              <a:spcAft>
                <a:spcPct val="0"/>
              </a:spcAft>
              <a:buClr>
                <a:schemeClr val="bg2">
                  <a:lumMod val="75000"/>
                </a:schemeClr>
              </a:buClr>
              <a:buSzPct val="100000"/>
              <a:buFont typeface="Arial" pitchFamily="34" charset="0"/>
              <a:buChar char="•"/>
            </a:pPr>
            <a:r>
              <a:rPr lang="en-US" sz="1200" dirty="0">
                <a:ln>
                  <a:solidFill>
                    <a:srgbClr val="FFFFFF">
                      <a:alpha val="0"/>
                    </a:srgbClr>
                  </a:solidFill>
                </a:ln>
                <a:solidFill>
                  <a:srgbClr val="FFFFFF">
                    <a:alpha val="99000"/>
                  </a:srgbClr>
                </a:solidFill>
                <a:cs typeface="Segoe UI" pitchFamily="34" charset="0"/>
              </a:rPr>
              <a:t>Upgrade Advisor</a:t>
            </a:r>
          </a:p>
          <a:p>
            <a:pPr marL="215523" lvl="1" indent="-127409" defTabSz="914045" fontAlgn="base">
              <a:lnSpc>
                <a:spcPct val="90000"/>
              </a:lnSpc>
              <a:spcBef>
                <a:spcPts val="630"/>
              </a:spcBef>
              <a:spcAft>
                <a:spcPct val="0"/>
              </a:spcAft>
              <a:buClr>
                <a:schemeClr val="bg2">
                  <a:lumMod val="75000"/>
                </a:schemeClr>
              </a:buClr>
              <a:buSzPct val="100000"/>
              <a:buFont typeface="Arial" pitchFamily="34" charset="0"/>
              <a:buChar char="•"/>
            </a:pPr>
            <a:r>
              <a:rPr lang="en-US" sz="1200" dirty="0">
                <a:ln>
                  <a:solidFill>
                    <a:srgbClr val="FFFFFF">
                      <a:alpha val="0"/>
                    </a:srgbClr>
                  </a:solidFill>
                </a:ln>
                <a:solidFill>
                  <a:srgbClr val="FFFFFF">
                    <a:alpha val="99000"/>
                  </a:srgbClr>
                </a:solidFill>
                <a:cs typeface="Segoe UI" pitchFamily="34" charset="0"/>
              </a:rPr>
              <a:t>Migration Assistant</a:t>
            </a:r>
          </a:p>
        </p:txBody>
      </p:sp>
      <p:sp>
        <p:nvSpPr>
          <p:cNvPr id="24" name="Rectangle 23"/>
          <p:cNvSpPr>
            <a:spLocks/>
          </p:cNvSpPr>
          <p:nvPr>
            <p:custDataLst>
              <p:tags r:id="rId3"/>
            </p:custDataLst>
          </p:nvPr>
        </p:nvSpPr>
        <p:spPr bwMode="auto">
          <a:xfrm>
            <a:off x="6732803" y="3143251"/>
            <a:ext cx="1920240" cy="1577340"/>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28" tIns="137172" rIns="91428" bIns="45714" numCol="1" rtlCol="0" anchor="t" anchorCtr="0" compatLnSpc="1">
            <a:prstTxWarp prst="textNoShape">
              <a:avLst/>
            </a:prstTxWarp>
            <a:noAutofit/>
          </a:bodyPr>
          <a:lstStyle/>
          <a:p>
            <a:pPr defTabSz="914045" fontAlgn="base">
              <a:lnSpc>
                <a:spcPct val="90000"/>
              </a:lnSpc>
              <a:spcBef>
                <a:spcPts val="630"/>
              </a:spcBef>
              <a:spcAft>
                <a:spcPct val="0"/>
              </a:spcAft>
              <a:buClr>
                <a:schemeClr val="bg2">
                  <a:lumMod val="75000"/>
                </a:schemeClr>
              </a:buClr>
              <a:buSzPct val="100000"/>
            </a:pPr>
            <a:r>
              <a:rPr lang="en-US" sz="1200" dirty="0">
                <a:ln>
                  <a:solidFill>
                    <a:srgbClr val="FFFFFF">
                      <a:alpha val="0"/>
                    </a:srgbClr>
                  </a:solidFill>
                </a:ln>
                <a:solidFill>
                  <a:srgbClr val="FFFFFF">
                    <a:alpha val="99000"/>
                  </a:srgbClr>
                </a:solidFill>
                <a:cs typeface="Segoe UI" pitchFamily="34" charset="0"/>
              </a:rPr>
              <a:t>System Center 2012</a:t>
            </a:r>
          </a:p>
          <a:p>
            <a:pPr marL="215523" lvl="1" indent="-127409" defTabSz="914045" fontAlgn="base">
              <a:lnSpc>
                <a:spcPct val="90000"/>
              </a:lnSpc>
              <a:spcBef>
                <a:spcPts val="630"/>
              </a:spcBef>
              <a:spcAft>
                <a:spcPct val="0"/>
              </a:spcAft>
              <a:buClr>
                <a:schemeClr val="bg2">
                  <a:lumMod val="75000"/>
                </a:schemeClr>
              </a:buClr>
              <a:buSzPct val="100000"/>
              <a:buFont typeface="Arial" pitchFamily="34" charset="0"/>
              <a:buChar char="•"/>
            </a:pPr>
            <a:r>
              <a:rPr lang="en-US" sz="1200" dirty="0">
                <a:ln>
                  <a:solidFill>
                    <a:srgbClr val="FFFFFF">
                      <a:alpha val="0"/>
                    </a:srgbClr>
                  </a:solidFill>
                </a:ln>
                <a:solidFill>
                  <a:srgbClr val="FFFFFF">
                    <a:alpha val="99000"/>
                  </a:srgbClr>
                </a:solidFill>
                <a:cs typeface="Segoe UI" pitchFamily="34" charset="0"/>
              </a:rPr>
              <a:t>Virtual Machine Manager</a:t>
            </a:r>
          </a:p>
          <a:p>
            <a:pPr marL="215523" lvl="1" indent="-127409" defTabSz="914045" fontAlgn="base">
              <a:lnSpc>
                <a:spcPct val="90000"/>
              </a:lnSpc>
              <a:spcBef>
                <a:spcPts val="630"/>
              </a:spcBef>
              <a:spcAft>
                <a:spcPct val="0"/>
              </a:spcAft>
              <a:buClr>
                <a:schemeClr val="bg2">
                  <a:lumMod val="75000"/>
                </a:schemeClr>
              </a:buClr>
              <a:buSzPct val="100000"/>
              <a:buFont typeface="Arial" pitchFamily="34" charset="0"/>
              <a:buChar char="•"/>
            </a:pPr>
            <a:r>
              <a:rPr lang="en-US" sz="1200" dirty="0">
                <a:ln>
                  <a:solidFill>
                    <a:srgbClr val="FFFFFF">
                      <a:alpha val="0"/>
                    </a:srgbClr>
                  </a:solidFill>
                </a:ln>
                <a:solidFill>
                  <a:srgbClr val="FFFFFF">
                    <a:alpha val="99000"/>
                  </a:srgbClr>
                </a:solidFill>
                <a:cs typeface="Segoe UI" pitchFamily="34" charset="0"/>
              </a:rPr>
              <a:t>Virtual Machine Converter Solution</a:t>
            </a:r>
          </a:p>
        </p:txBody>
      </p:sp>
      <p:sp>
        <p:nvSpPr>
          <p:cNvPr id="55" name="Rectangle 54"/>
          <p:cNvSpPr/>
          <p:nvPr>
            <p:custDataLst>
              <p:tags r:id="rId4"/>
            </p:custDataLst>
          </p:nvPr>
        </p:nvSpPr>
        <p:spPr bwMode="auto">
          <a:xfrm rot="16200000">
            <a:off x="-507463" y="1925683"/>
            <a:ext cx="1920240" cy="369509"/>
          </a:xfrm>
          <a:prstGeom prst="rect">
            <a:avLst/>
          </a:prstGeom>
          <a:solidFill>
            <a:srgbClr val="FF8B00"/>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0" tIns="0" rIns="0" bIns="0" numCol="1" rtlCol="0" anchor="ctr" anchorCtr="0" compatLnSpc="1">
            <a:prstTxWarp prst="textNoShape">
              <a:avLst/>
            </a:prstTxWarp>
            <a:noAutofit/>
          </a:bodyPr>
          <a:lstStyle/>
          <a:p>
            <a:pPr algn="ctr" defTabSz="914045" fontAlgn="base">
              <a:lnSpc>
                <a:spcPct val="90000"/>
              </a:lnSpc>
              <a:spcBef>
                <a:spcPts val="630"/>
              </a:spcBef>
              <a:spcAft>
                <a:spcPct val="0"/>
              </a:spcAft>
              <a:buClr>
                <a:srgbClr val="FFFF99"/>
              </a:buClr>
              <a:buSzPct val="120000"/>
              <a:defRPr/>
            </a:pPr>
            <a:r>
              <a:rPr lang="en-US" sz="1500" dirty="0">
                <a:ln>
                  <a:solidFill>
                    <a:srgbClr val="FFFFFF">
                      <a:alpha val="0"/>
                    </a:srgbClr>
                  </a:solidFill>
                </a:ln>
                <a:solidFill>
                  <a:srgbClr val="FFFFFF">
                    <a:alpha val="99000"/>
                  </a:srgbClr>
                </a:solidFill>
                <a:cs typeface="Segoe UI" pitchFamily="34" charset="0"/>
              </a:rPr>
              <a:t>Steps</a:t>
            </a:r>
          </a:p>
        </p:txBody>
      </p:sp>
      <p:sp>
        <p:nvSpPr>
          <p:cNvPr id="56" name="Rectangle 55"/>
          <p:cNvSpPr/>
          <p:nvPr>
            <p:custDataLst>
              <p:tags r:id="rId5"/>
            </p:custDataLst>
          </p:nvPr>
        </p:nvSpPr>
        <p:spPr bwMode="auto">
          <a:xfrm rot="16200000">
            <a:off x="-336013" y="3747168"/>
            <a:ext cx="1577340" cy="369509"/>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0" tIns="0" rIns="0" bIns="0" numCol="1" rtlCol="0" anchor="ctr" anchorCtr="0" compatLnSpc="1">
            <a:prstTxWarp prst="textNoShape">
              <a:avLst/>
            </a:prstTxWarp>
            <a:noAutofit/>
          </a:bodyPr>
          <a:lstStyle/>
          <a:p>
            <a:pPr algn="ctr" defTabSz="914045" fontAlgn="base">
              <a:lnSpc>
                <a:spcPct val="90000"/>
              </a:lnSpc>
              <a:spcBef>
                <a:spcPts val="630"/>
              </a:spcBef>
              <a:spcAft>
                <a:spcPct val="0"/>
              </a:spcAft>
              <a:buClr>
                <a:srgbClr val="FFFF99"/>
              </a:buClr>
              <a:buSzPct val="120000"/>
              <a:defRPr/>
            </a:pPr>
            <a:r>
              <a:rPr lang="en-US" sz="1500" dirty="0">
                <a:ln>
                  <a:solidFill>
                    <a:srgbClr val="FFFFFF">
                      <a:alpha val="0"/>
                    </a:srgbClr>
                  </a:solidFill>
                </a:ln>
                <a:solidFill>
                  <a:srgbClr val="FFFFFF">
                    <a:alpha val="99000"/>
                  </a:srgbClr>
                </a:solidFill>
                <a:cs typeface="Segoe UI" pitchFamily="34" charset="0"/>
              </a:rPr>
              <a:t>Technology</a:t>
            </a:r>
          </a:p>
        </p:txBody>
      </p:sp>
      <p:grpSp>
        <p:nvGrpSpPr>
          <p:cNvPr id="5" name="Group 4"/>
          <p:cNvGrpSpPr/>
          <p:nvPr/>
        </p:nvGrpSpPr>
        <p:grpSpPr>
          <a:xfrm>
            <a:off x="2735318" y="1150318"/>
            <a:ext cx="1920240" cy="1917497"/>
            <a:chOff x="3765260" y="1533756"/>
            <a:chExt cx="2559653" cy="2556662"/>
          </a:xfrm>
        </p:grpSpPr>
        <p:sp>
          <p:nvSpPr>
            <p:cNvPr id="43" name="Rectangle 42"/>
            <p:cNvSpPr/>
            <p:nvPr>
              <p:custDataLst>
                <p:tags r:id="rId10"/>
              </p:custDataLst>
            </p:nvPr>
          </p:nvSpPr>
          <p:spPr bwMode="auto">
            <a:xfrm>
              <a:off x="3765260" y="1533756"/>
              <a:ext cx="2559653" cy="2556662"/>
            </a:xfrm>
            <a:prstGeom prst="rect">
              <a:avLst/>
            </a:prstGeom>
            <a:solidFill>
              <a:srgbClr val="FF8B00"/>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1371600" rIns="91440" bIns="45720" numCol="1" rtlCol="0" anchor="ctr" anchorCtr="0" compatLnSpc="1">
              <a:prstTxWarp prst="textNoShape">
                <a:avLst/>
              </a:prstTxWarp>
              <a:noAutofit/>
            </a:bodyPr>
            <a:lstStyle/>
            <a:p>
              <a:pPr algn="ctr" defTabSz="914045" fontAlgn="base">
                <a:lnSpc>
                  <a:spcPct val="90000"/>
                </a:lnSpc>
                <a:spcBef>
                  <a:spcPts val="630"/>
                </a:spcBef>
                <a:spcAft>
                  <a:spcPct val="0"/>
                </a:spcAft>
                <a:buClr>
                  <a:srgbClr val="FFFF99"/>
                </a:buClr>
                <a:buSzPct val="120000"/>
              </a:pPr>
              <a:r>
                <a:rPr lang="en-US" sz="1500" dirty="0">
                  <a:ln>
                    <a:solidFill>
                      <a:srgbClr val="FFFFFF">
                        <a:alpha val="0"/>
                      </a:srgbClr>
                    </a:solidFill>
                  </a:ln>
                  <a:solidFill>
                    <a:srgbClr val="FFFFFF">
                      <a:alpha val="99000"/>
                    </a:srgbClr>
                  </a:solidFill>
                  <a:cs typeface="Segoe UI" pitchFamily="34" charset="0"/>
                </a:rPr>
                <a:t>Review consolidation options</a:t>
              </a:r>
            </a:p>
          </p:txBody>
        </p:sp>
        <p:pic>
          <p:nvPicPr>
            <p:cNvPr id="34" name="Picture 2" descr="\\MAGNUM\Projects\Microsoft\Cloud Power FY12\Design\Icons\PNGs\Server_2.png"/>
            <p:cNvPicPr>
              <a:picLocks noChangeAspect="1" noChangeArrowheads="1"/>
            </p:cNvPicPr>
            <p:nvPr/>
          </p:nvPicPr>
          <p:blipFill>
            <a:blip r:embed="rId13" cstate="print">
              <a:lum bright="100000"/>
            </a:blip>
            <a:srcRect/>
            <a:stretch>
              <a:fillRect/>
            </a:stretch>
          </p:blipFill>
          <p:spPr bwMode="auto">
            <a:xfrm>
              <a:off x="4176406" y="1651631"/>
              <a:ext cx="1737360" cy="1737360"/>
            </a:xfrm>
            <a:prstGeom prst="rect">
              <a:avLst/>
            </a:prstGeom>
            <a:noFill/>
          </p:spPr>
        </p:pic>
      </p:grpSp>
      <p:grpSp>
        <p:nvGrpSpPr>
          <p:cNvPr id="4" name="Group 3"/>
          <p:cNvGrpSpPr/>
          <p:nvPr/>
        </p:nvGrpSpPr>
        <p:grpSpPr>
          <a:xfrm>
            <a:off x="736575" y="1150318"/>
            <a:ext cx="1920240" cy="1917497"/>
            <a:chOff x="1002064" y="1533756"/>
            <a:chExt cx="2559653" cy="2556662"/>
          </a:xfrm>
        </p:grpSpPr>
        <p:sp>
          <p:nvSpPr>
            <p:cNvPr id="37" name="Rectangle 36"/>
            <p:cNvSpPr/>
            <p:nvPr>
              <p:custDataLst>
                <p:tags r:id="rId9"/>
              </p:custDataLst>
            </p:nvPr>
          </p:nvSpPr>
          <p:spPr bwMode="auto">
            <a:xfrm>
              <a:off x="1002064" y="1533756"/>
              <a:ext cx="2559653" cy="2556662"/>
            </a:xfrm>
            <a:prstGeom prst="rect">
              <a:avLst/>
            </a:prstGeom>
            <a:solidFill>
              <a:srgbClr val="FF8B00"/>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1371600" rIns="91440" bIns="45720" numCol="1" rtlCol="0" anchor="ctr" anchorCtr="0" compatLnSpc="1">
              <a:prstTxWarp prst="textNoShape">
                <a:avLst/>
              </a:prstTxWarp>
              <a:noAutofit/>
            </a:bodyPr>
            <a:lstStyle/>
            <a:p>
              <a:pPr algn="ctr" defTabSz="914045" fontAlgn="base">
                <a:lnSpc>
                  <a:spcPct val="90000"/>
                </a:lnSpc>
                <a:spcBef>
                  <a:spcPts val="630"/>
                </a:spcBef>
                <a:spcAft>
                  <a:spcPct val="0"/>
                </a:spcAft>
                <a:buClr>
                  <a:srgbClr val="FFFF99"/>
                </a:buClr>
                <a:buSzPct val="120000"/>
                <a:defRPr/>
              </a:pPr>
              <a:r>
                <a:rPr lang="en-US" sz="1500" dirty="0">
                  <a:ln>
                    <a:solidFill>
                      <a:srgbClr val="FFFFFF">
                        <a:alpha val="0"/>
                      </a:srgbClr>
                    </a:solidFill>
                  </a:ln>
                  <a:solidFill>
                    <a:srgbClr val="FFFFFF">
                      <a:alpha val="99000"/>
                    </a:srgbClr>
                  </a:solidFill>
                  <a:cs typeface="Segoe UI" pitchFamily="34" charset="0"/>
                </a:rPr>
                <a:t>Discover database sprawl</a:t>
              </a:r>
            </a:p>
          </p:txBody>
        </p:sp>
        <p:grpSp>
          <p:nvGrpSpPr>
            <p:cNvPr id="3" name="Group 2"/>
            <p:cNvGrpSpPr>
              <a:grpSpLocks noChangeAspect="1"/>
            </p:cNvGrpSpPr>
            <p:nvPr/>
          </p:nvGrpSpPr>
          <p:grpSpPr>
            <a:xfrm>
              <a:off x="1206138" y="1856232"/>
              <a:ext cx="2151505" cy="1280160"/>
              <a:chOff x="1157753" y="1828800"/>
              <a:chExt cx="2177118" cy="1295400"/>
            </a:xfrm>
          </p:grpSpPr>
          <p:pic>
            <p:nvPicPr>
              <p:cNvPr id="31" name="Picture 2" descr="\\MAGNUM\Projects\Microsoft\Cloud Power FY12\Design\ICONS_PNG\Tower.png"/>
              <p:cNvPicPr>
                <a:picLocks noChangeAspect="1" noChangeArrowheads="1"/>
              </p:cNvPicPr>
              <p:nvPr/>
            </p:nvPicPr>
            <p:blipFill>
              <a:blip r:embed="rId14" cstate="print">
                <a:lum bright="100000"/>
              </a:blip>
              <a:stretch>
                <a:fillRect/>
              </a:stretch>
            </p:blipFill>
            <p:spPr bwMode="auto">
              <a:xfrm>
                <a:off x="2055812" y="2209800"/>
                <a:ext cx="914400" cy="914400"/>
              </a:xfrm>
              <a:prstGeom prst="rect">
                <a:avLst/>
              </a:prstGeom>
              <a:noFill/>
            </p:spPr>
          </p:pic>
          <p:pic>
            <p:nvPicPr>
              <p:cNvPr id="33" name="Picture 2" descr="\\MAGNUM\Projects\Microsoft\Cloud Power FY12\Design\ICONS_PNG\Tower.png"/>
              <p:cNvPicPr>
                <a:picLocks noChangeAspect="1" noChangeArrowheads="1"/>
              </p:cNvPicPr>
              <p:nvPr/>
            </p:nvPicPr>
            <p:blipFill>
              <a:blip r:embed="rId14" cstate="print">
                <a:lum bright="100000"/>
              </a:blip>
              <a:stretch>
                <a:fillRect/>
              </a:stretch>
            </p:blipFill>
            <p:spPr bwMode="auto">
              <a:xfrm>
                <a:off x="2420471" y="1828800"/>
                <a:ext cx="914400" cy="914400"/>
              </a:xfrm>
              <a:prstGeom prst="rect">
                <a:avLst/>
              </a:prstGeom>
              <a:noFill/>
            </p:spPr>
          </p:pic>
          <p:pic>
            <p:nvPicPr>
              <p:cNvPr id="45" name="Picture 2" descr="\\MAGNUM\Projects\Microsoft\Cloud Power FY12\Design\ICONS_PNG\Tower.png"/>
              <p:cNvPicPr>
                <a:picLocks noChangeAspect="1" noChangeArrowheads="1"/>
              </p:cNvPicPr>
              <p:nvPr/>
            </p:nvPicPr>
            <p:blipFill>
              <a:blip r:embed="rId14" cstate="print">
                <a:lum bright="100000"/>
              </a:blip>
              <a:stretch>
                <a:fillRect/>
              </a:stretch>
            </p:blipFill>
            <p:spPr bwMode="auto">
              <a:xfrm>
                <a:off x="1157753" y="2209800"/>
                <a:ext cx="914400" cy="914400"/>
              </a:xfrm>
              <a:prstGeom prst="rect">
                <a:avLst/>
              </a:prstGeom>
              <a:noFill/>
            </p:spPr>
          </p:pic>
          <p:pic>
            <p:nvPicPr>
              <p:cNvPr id="46" name="Picture 2" descr="\\MAGNUM\Projects\Microsoft\Cloud Power FY12\Design\ICONS_PNG\Tower.png"/>
              <p:cNvPicPr>
                <a:picLocks noChangeAspect="1" noChangeArrowheads="1"/>
              </p:cNvPicPr>
              <p:nvPr/>
            </p:nvPicPr>
            <p:blipFill>
              <a:blip r:embed="rId14" cstate="print">
                <a:lum bright="100000"/>
              </a:blip>
              <a:stretch>
                <a:fillRect/>
              </a:stretch>
            </p:blipFill>
            <p:spPr bwMode="auto">
              <a:xfrm>
                <a:off x="1522412" y="1828800"/>
                <a:ext cx="914400" cy="914400"/>
              </a:xfrm>
              <a:prstGeom prst="rect">
                <a:avLst/>
              </a:prstGeom>
              <a:noFill/>
            </p:spPr>
          </p:pic>
        </p:grpSp>
      </p:grpSp>
      <p:grpSp>
        <p:nvGrpSpPr>
          <p:cNvPr id="13" name="Group 12"/>
          <p:cNvGrpSpPr/>
          <p:nvPr/>
        </p:nvGrpSpPr>
        <p:grpSpPr>
          <a:xfrm>
            <a:off x="6732803" y="1150318"/>
            <a:ext cx="1920240" cy="1917497"/>
            <a:chOff x="6527845" y="1533756"/>
            <a:chExt cx="2559653" cy="2556662"/>
          </a:xfrm>
        </p:grpSpPr>
        <p:sp>
          <p:nvSpPr>
            <p:cNvPr id="40" name="Rectangle 39"/>
            <p:cNvSpPr/>
            <p:nvPr>
              <p:custDataLst>
                <p:tags r:id="rId8"/>
              </p:custDataLst>
            </p:nvPr>
          </p:nvSpPr>
          <p:spPr bwMode="auto">
            <a:xfrm>
              <a:off x="6527845" y="1533756"/>
              <a:ext cx="2559653" cy="2556662"/>
            </a:xfrm>
            <a:prstGeom prst="rect">
              <a:avLst/>
            </a:prstGeom>
            <a:solidFill>
              <a:srgbClr val="FF8B00"/>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1371600" rIns="91440" bIns="45720" numCol="1" rtlCol="0" anchor="ctr" anchorCtr="0" compatLnSpc="1">
              <a:prstTxWarp prst="textNoShape">
                <a:avLst/>
              </a:prstTxWarp>
              <a:noAutofit/>
            </a:bodyPr>
            <a:lstStyle/>
            <a:p>
              <a:pPr algn="ctr" defTabSz="914045" fontAlgn="base">
                <a:lnSpc>
                  <a:spcPct val="90000"/>
                </a:lnSpc>
                <a:spcBef>
                  <a:spcPts val="630"/>
                </a:spcBef>
                <a:spcAft>
                  <a:spcPct val="0"/>
                </a:spcAft>
                <a:buClr>
                  <a:srgbClr val="FFFF99"/>
                </a:buClr>
                <a:buSzPct val="120000"/>
              </a:pPr>
              <a:r>
                <a:rPr lang="en-US" sz="1500" dirty="0">
                  <a:ln>
                    <a:solidFill>
                      <a:srgbClr val="FFFFFF">
                        <a:alpha val="0"/>
                      </a:srgbClr>
                    </a:solidFill>
                  </a:ln>
                  <a:solidFill>
                    <a:srgbClr val="FFFFFF">
                      <a:alpha val="99000"/>
                    </a:srgbClr>
                  </a:solidFill>
                  <a:cs typeface="Segoe UI" pitchFamily="34" charset="0"/>
                </a:rPr>
                <a:t>Complete physical to virtual migration</a:t>
              </a:r>
            </a:p>
          </p:txBody>
        </p:sp>
        <p:grpSp>
          <p:nvGrpSpPr>
            <p:cNvPr id="12" name="Group 11"/>
            <p:cNvGrpSpPr/>
            <p:nvPr/>
          </p:nvGrpSpPr>
          <p:grpSpPr>
            <a:xfrm>
              <a:off x="6806315" y="1967753"/>
              <a:ext cx="2002712" cy="1154224"/>
              <a:chOff x="6780212" y="1888847"/>
              <a:chExt cx="2002712" cy="1154224"/>
            </a:xfrm>
          </p:grpSpPr>
          <p:pic>
            <p:nvPicPr>
              <p:cNvPr id="27" name="Picture 6" descr="C:\Users\Justin\Desktop\_Work_in_Progress\_MS\1407\cloud computing.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7609267" y="1888847"/>
                <a:ext cx="1173657" cy="764706"/>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descr="\\MAGNUM\Projects\Microsoft\Cloud Power FY12\Design\ICONS_PNG\Tower.png"/>
              <p:cNvPicPr>
                <a:picLocks noChangeAspect="1" noChangeArrowheads="1"/>
              </p:cNvPicPr>
              <p:nvPr/>
            </p:nvPicPr>
            <p:blipFill>
              <a:blip r:embed="rId14" cstate="print">
                <a:lum bright="100000"/>
              </a:blip>
              <a:stretch>
                <a:fillRect/>
              </a:stretch>
            </p:blipFill>
            <p:spPr bwMode="auto">
              <a:xfrm>
                <a:off x="6780212" y="2139429"/>
                <a:ext cx="903642" cy="903642"/>
              </a:xfrm>
              <a:prstGeom prst="rect">
                <a:avLst/>
              </a:prstGeom>
              <a:noFill/>
            </p:spPr>
          </p:pic>
          <p:pic>
            <p:nvPicPr>
              <p:cNvPr id="6" name="Picture 5"/>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rot="19614152" flipV="1">
                <a:off x="7440982" y="2599874"/>
                <a:ext cx="397218" cy="190352"/>
              </a:xfrm>
              <a:prstGeom prst="rect">
                <a:avLst/>
              </a:prstGeom>
            </p:spPr>
          </p:pic>
        </p:grpSp>
      </p:grpSp>
      <p:sp>
        <p:nvSpPr>
          <p:cNvPr id="44" name="Rectangle 43"/>
          <p:cNvSpPr>
            <a:spLocks/>
          </p:cNvSpPr>
          <p:nvPr>
            <p:custDataLst>
              <p:tags r:id="rId6"/>
            </p:custDataLst>
          </p:nvPr>
        </p:nvSpPr>
        <p:spPr bwMode="auto">
          <a:xfrm>
            <a:off x="4734060" y="3143251"/>
            <a:ext cx="1920240" cy="1577340"/>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28" tIns="137172" rIns="91428" bIns="45714" numCol="1" rtlCol="0" anchor="t" anchorCtr="0" compatLnSpc="1">
            <a:prstTxWarp prst="textNoShape">
              <a:avLst/>
            </a:prstTxWarp>
            <a:noAutofit/>
          </a:bodyPr>
          <a:lstStyle/>
          <a:p>
            <a:pPr defTabSz="914045" fontAlgn="base">
              <a:lnSpc>
                <a:spcPct val="90000"/>
              </a:lnSpc>
              <a:spcBef>
                <a:spcPts val="630"/>
              </a:spcBef>
              <a:spcAft>
                <a:spcPct val="0"/>
              </a:spcAft>
              <a:buClr>
                <a:schemeClr val="bg2">
                  <a:lumMod val="75000"/>
                </a:schemeClr>
              </a:buClr>
              <a:buSzPct val="100000"/>
            </a:pPr>
            <a:r>
              <a:rPr lang="en-US" sz="1200" dirty="0">
                <a:ln>
                  <a:solidFill>
                    <a:srgbClr val="FFFFFF">
                      <a:alpha val="0"/>
                    </a:srgbClr>
                  </a:solidFill>
                </a:ln>
                <a:solidFill>
                  <a:srgbClr val="FFFFFF">
                    <a:alpha val="99000"/>
                  </a:srgbClr>
                </a:solidFill>
                <a:cs typeface="Segoe UI" pitchFamily="34" charset="0"/>
              </a:rPr>
              <a:t>Evaluate cloud deployment patterns</a:t>
            </a:r>
          </a:p>
        </p:txBody>
      </p:sp>
      <p:grpSp>
        <p:nvGrpSpPr>
          <p:cNvPr id="8" name="Group 7"/>
          <p:cNvGrpSpPr/>
          <p:nvPr/>
        </p:nvGrpSpPr>
        <p:grpSpPr>
          <a:xfrm>
            <a:off x="4734060" y="1150318"/>
            <a:ext cx="1920240" cy="1917497"/>
            <a:chOff x="6310436" y="1533756"/>
            <a:chExt cx="2559653" cy="2556662"/>
          </a:xfrm>
        </p:grpSpPr>
        <p:sp>
          <p:nvSpPr>
            <p:cNvPr id="48" name="Rectangle 47"/>
            <p:cNvSpPr/>
            <p:nvPr>
              <p:custDataLst>
                <p:tags r:id="rId7"/>
              </p:custDataLst>
            </p:nvPr>
          </p:nvSpPr>
          <p:spPr bwMode="auto">
            <a:xfrm>
              <a:off x="6310436" y="1533756"/>
              <a:ext cx="2559653" cy="2556662"/>
            </a:xfrm>
            <a:prstGeom prst="rect">
              <a:avLst/>
            </a:prstGeom>
            <a:solidFill>
              <a:srgbClr val="FF8B00"/>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1371600" rIns="91440" bIns="45720" numCol="1" rtlCol="0" anchor="ctr" anchorCtr="0" compatLnSpc="1">
              <a:prstTxWarp prst="textNoShape">
                <a:avLst/>
              </a:prstTxWarp>
              <a:noAutofit/>
            </a:bodyPr>
            <a:lstStyle/>
            <a:p>
              <a:pPr algn="ctr" defTabSz="914045" fontAlgn="base">
                <a:lnSpc>
                  <a:spcPct val="90000"/>
                </a:lnSpc>
                <a:spcBef>
                  <a:spcPts val="630"/>
                </a:spcBef>
                <a:spcAft>
                  <a:spcPct val="0"/>
                </a:spcAft>
                <a:buClr>
                  <a:srgbClr val="FFFF99"/>
                </a:buClr>
                <a:buSzPct val="120000"/>
                <a:defRPr/>
              </a:pPr>
              <a:r>
                <a:rPr lang="en-US" sz="1500" dirty="0">
                  <a:ln>
                    <a:solidFill>
                      <a:srgbClr val="FFFFFF">
                        <a:alpha val="0"/>
                      </a:srgbClr>
                    </a:solidFill>
                  </a:ln>
                  <a:solidFill>
                    <a:srgbClr val="FFFFFF">
                      <a:alpha val="99000"/>
                    </a:srgbClr>
                  </a:solidFill>
                  <a:cs typeface="Segoe UI" pitchFamily="34" charset="0"/>
                </a:rPr>
                <a:t>Design service</a:t>
              </a:r>
            </a:p>
          </p:txBody>
        </p:sp>
        <p:pic>
          <p:nvPicPr>
            <p:cNvPr id="28" name="Picture 7" descr="\\MAGNUM\Projects\Microsoft\Cloud Power FY12\Design\Icons\PNGs\Pooled.png"/>
            <p:cNvPicPr>
              <a:picLocks noChangeAspect="1" noChangeArrowheads="1"/>
            </p:cNvPicPr>
            <p:nvPr/>
          </p:nvPicPr>
          <p:blipFill>
            <a:blip r:embed="rId17" cstate="print">
              <a:lum bright="100000"/>
            </a:blip>
            <a:stretch>
              <a:fillRect/>
            </a:stretch>
          </p:blipFill>
          <p:spPr bwMode="auto">
            <a:xfrm>
              <a:off x="6774980" y="1778166"/>
              <a:ext cx="1630564" cy="1630564"/>
            </a:xfrm>
            <a:prstGeom prst="rect">
              <a:avLst/>
            </a:prstGeom>
            <a:noFill/>
          </p:spPr>
        </p:pic>
      </p:grpSp>
      <p:sp>
        <p:nvSpPr>
          <p:cNvPr id="30"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32"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8"/>
              </a:rPr>
              <a:t>www.rapidbbs.cn</a:t>
            </a:r>
            <a:endParaRPr lang="zh-CN" altLang="en-US" sz="1200" b="0">
              <a:latin typeface="Arial" charset="0"/>
              <a:ea typeface="ＭＳ Ｐゴシック" pitchFamily="34" charset="-128"/>
            </a:endParaRPr>
          </a:p>
        </p:txBody>
      </p:sp>
      <p:pic>
        <p:nvPicPr>
          <p:cNvPr id="35" name="Picture 2">
            <a:hlinkClick r:id="rId18"/>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85342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55"/>
                                        </p:tgtEl>
                                        <p:attrNameLst>
                                          <p:attrName>style.visibility</p:attrName>
                                        </p:attrNameLst>
                                      </p:cBhvr>
                                      <p:to>
                                        <p:strVal val="visible"/>
                                      </p:to>
                                    </p:set>
                                    <p:anim calcmode="lin" valueType="num">
                                      <p:cBhvr additive="base">
                                        <p:cTn id="7" dur="700" fill="hold"/>
                                        <p:tgtEl>
                                          <p:spTgt spid="55"/>
                                        </p:tgtEl>
                                        <p:attrNameLst>
                                          <p:attrName>ppt_x</p:attrName>
                                        </p:attrNameLst>
                                      </p:cBhvr>
                                      <p:tavLst>
                                        <p:tav tm="0">
                                          <p:val>
                                            <p:strVal val="#ppt_x"/>
                                          </p:val>
                                        </p:tav>
                                        <p:tav tm="100000">
                                          <p:val>
                                            <p:strVal val="#ppt_x"/>
                                          </p:val>
                                        </p:tav>
                                      </p:tavLst>
                                    </p:anim>
                                    <p:anim calcmode="lin" valueType="num">
                                      <p:cBhvr additive="base">
                                        <p:cTn id="8" dur="700" fill="hold"/>
                                        <p:tgtEl>
                                          <p:spTgt spid="55"/>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0"/>
                                  </p:stCondLst>
                                  <p:childTnLst>
                                    <p:set>
                                      <p:cBhvr>
                                        <p:cTn id="10" dur="1" fill="hold">
                                          <p:stCondLst>
                                            <p:cond delay="0"/>
                                          </p:stCondLst>
                                        </p:cTn>
                                        <p:tgtEl>
                                          <p:spTgt spid="56"/>
                                        </p:tgtEl>
                                        <p:attrNameLst>
                                          <p:attrName>style.visibility</p:attrName>
                                        </p:attrNameLst>
                                      </p:cBhvr>
                                      <p:to>
                                        <p:strVal val="visible"/>
                                      </p:to>
                                    </p:set>
                                    <p:anim calcmode="lin" valueType="num">
                                      <p:cBhvr additive="base">
                                        <p:cTn id="11" dur="700" fill="hold"/>
                                        <p:tgtEl>
                                          <p:spTgt spid="56"/>
                                        </p:tgtEl>
                                        <p:attrNameLst>
                                          <p:attrName>ppt_x</p:attrName>
                                        </p:attrNameLst>
                                      </p:cBhvr>
                                      <p:tavLst>
                                        <p:tav tm="0">
                                          <p:val>
                                            <p:strVal val="#ppt_x"/>
                                          </p:val>
                                        </p:tav>
                                        <p:tav tm="100000">
                                          <p:val>
                                            <p:strVal val="#ppt_x"/>
                                          </p:val>
                                        </p:tav>
                                      </p:tavLst>
                                    </p:anim>
                                    <p:anim calcmode="lin" valueType="num">
                                      <p:cBhvr additive="base">
                                        <p:cTn id="12" dur="700" fill="hold"/>
                                        <p:tgtEl>
                                          <p:spTgt spid="56"/>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0"/>
                                  </p:stCondLst>
                                  <p:childTnLst>
                                    <p:set>
                                      <p:cBhvr>
                                        <p:cTn id="14" dur="1" fill="hold">
                                          <p:stCondLst>
                                            <p:cond delay="0"/>
                                          </p:stCondLst>
                                        </p:cTn>
                                        <p:tgtEl>
                                          <p:spTgt spid="4"/>
                                        </p:tgtEl>
                                        <p:attrNameLst>
                                          <p:attrName>style.visibility</p:attrName>
                                        </p:attrNameLst>
                                      </p:cBhvr>
                                      <p:to>
                                        <p:strVal val="visible"/>
                                      </p:to>
                                    </p:set>
                                    <p:anim calcmode="lin" valueType="num">
                                      <p:cBhvr additive="base">
                                        <p:cTn id="15" dur="700" fill="hold"/>
                                        <p:tgtEl>
                                          <p:spTgt spid="4"/>
                                        </p:tgtEl>
                                        <p:attrNameLst>
                                          <p:attrName>ppt_x</p:attrName>
                                        </p:attrNameLst>
                                      </p:cBhvr>
                                      <p:tavLst>
                                        <p:tav tm="0">
                                          <p:val>
                                            <p:strVal val="#ppt_x"/>
                                          </p:val>
                                        </p:tav>
                                        <p:tav tm="100000">
                                          <p:val>
                                            <p:strVal val="#ppt_x"/>
                                          </p:val>
                                        </p:tav>
                                      </p:tavLst>
                                    </p:anim>
                                    <p:anim calcmode="lin" valueType="num">
                                      <p:cBhvr additive="base">
                                        <p:cTn id="16" dur="700" fill="hold"/>
                                        <p:tgtEl>
                                          <p:spTgt spid="4"/>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0"/>
                                  </p:stCondLst>
                                  <p:childTnLst>
                                    <p:set>
                                      <p:cBhvr>
                                        <p:cTn id="18" dur="1" fill="hold">
                                          <p:stCondLst>
                                            <p:cond delay="0"/>
                                          </p:stCondLst>
                                        </p:cTn>
                                        <p:tgtEl>
                                          <p:spTgt spid="18"/>
                                        </p:tgtEl>
                                        <p:attrNameLst>
                                          <p:attrName>style.visibility</p:attrName>
                                        </p:attrNameLst>
                                      </p:cBhvr>
                                      <p:to>
                                        <p:strVal val="visible"/>
                                      </p:to>
                                    </p:set>
                                    <p:anim calcmode="lin" valueType="num">
                                      <p:cBhvr additive="base">
                                        <p:cTn id="19" dur="700" fill="hold"/>
                                        <p:tgtEl>
                                          <p:spTgt spid="18"/>
                                        </p:tgtEl>
                                        <p:attrNameLst>
                                          <p:attrName>ppt_x</p:attrName>
                                        </p:attrNameLst>
                                      </p:cBhvr>
                                      <p:tavLst>
                                        <p:tav tm="0">
                                          <p:val>
                                            <p:strVal val="#ppt_x"/>
                                          </p:val>
                                        </p:tav>
                                        <p:tav tm="100000">
                                          <p:val>
                                            <p:strVal val="#ppt_x"/>
                                          </p:val>
                                        </p:tav>
                                      </p:tavLst>
                                    </p:anim>
                                    <p:anim calcmode="lin" valueType="num">
                                      <p:cBhvr additive="base">
                                        <p:cTn id="20" dur="700" fill="hold"/>
                                        <p:tgtEl>
                                          <p:spTgt spid="18"/>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700"/>
                                  </p:stCondLst>
                                  <p:childTnLst>
                                    <p:set>
                                      <p:cBhvr>
                                        <p:cTn id="22" dur="1" fill="hold">
                                          <p:stCondLst>
                                            <p:cond delay="0"/>
                                          </p:stCondLst>
                                        </p:cTn>
                                        <p:tgtEl>
                                          <p:spTgt spid="5"/>
                                        </p:tgtEl>
                                        <p:attrNameLst>
                                          <p:attrName>style.visibility</p:attrName>
                                        </p:attrNameLst>
                                      </p:cBhvr>
                                      <p:to>
                                        <p:strVal val="visible"/>
                                      </p:to>
                                    </p:set>
                                    <p:anim calcmode="lin" valueType="num">
                                      <p:cBhvr additive="base">
                                        <p:cTn id="23" dur="700" fill="hold"/>
                                        <p:tgtEl>
                                          <p:spTgt spid="5"/>
                                        </p:tgtEl>
                                        <p:attrNameLst>
                                          <p:attrName>ppt_x</p:attrName>
                                        </p:attrNameLst>
                                      </p:cBhvr>
                                      <p:tavLst>
                                        <p:tav tm="0">
                                          <p:val>
                                            <p:strVal val="#ppt_x"/>
                                          </p:val>
                                        </p:tav>
                                        <p:tav tm="100000">
                                          <p:val>
                                            <p:strVal val="#ppt_x"/>
                                          </p:val>
                                        </p:tav>
                                      </p:tavLst>
                                    </p:anim>
                                    <p:anim calcmode="lin" valueType="num">
                                      <p:cBhvr additive="base">
                                        <p:cTn id="24" dur="700" fill="hold"/>
                                        <p:tgtEl>
                                          <p:spTgt spid="5"/>
                                        </p:tgtEl>
                                        <p:attrNameLst>
                                          <p:attrName>ppt_y</p:attrName>
                                        </p:attrNameLst>
                                      </p:cBhvr>
                                      <p:tavLst>
                                        <p:tav tm="0">
                                          <p:val>
                                            <p:strVal val="1+#ppt_h/2"/>
                                          </p:val>
                                        </p:tav>
                                        <p:tav tm="100000">
                                          <p:val>
                                            <p:strVal val="#ppt_y"/>
                                          </p:val>
                                        </p:tav>
                                      </p:tavLst>
                                    </p:anim>
                                  </p:childTnLst>
                                </p:cTn>
                              </p:par>
                              <p:par>
                                <p:cTn id="25" presetID="2" presetClass="entr" presetSubtype="4" decel="100000" fill="hold" grpId="0" nodeType="withEffect">
                                  <p:stCondLst>
                                    <p:cond delay="700"/>
                                  </p:stCondLst>
                                  <p:childTnLst>
                                    <p:set>
                                      <p:cBhvr>
                                        <p:cTn id="26" dur="1" fill="hold">
                                          <p:stCondLst>
                                            <p:cond delay="0"/>
                                          </p:stCondLst>
                                        </p:cTn>
                                        <p:tgtEl>
                                          <p:spTgt spid="23"/>
                                        </p:tgtEl>
                                        <p:attrNameLst>
                                          <p:attrName>style.visibility</p:attrName>
                                        </p:attrNameLst>
                                      </p:cBhvr>
                                      <p:to>
                                        <p:strVal val="visible"/>
                                      </p:to>
                                    </p:set>
                                    <p:anim calcmode="lin" valueType="num">
                                      <p:cBhvr additive="base">
                                        <p:cTn id="27" dur="700" fill="hold"/>
                                        <p:tgtEl>
                                          <p:spTgt spid="23"/>
                                        </p:tgtEl>
                                        <p:attrNameLst>
                                          <p:attrName>ppt_x</p:attrName>
                                        </p:attrNameLst>
                                      </p:cBhvr>
                                      <p:tavLst>
                                        <p:tav tm="0">
                                          <p:val>
                                            <p:strVal val="#ppt_x"/>
                                          </p:val>
                                        </p:tav>
                                        <p:tav tm="100000">
                                          <p:val>
                                            <p:strVal val="#ppt_x"/>
                                          </p:val>
                                        </p:tav>
                                      </p:tavLst>
                                    </p:anim>
                                    <p:anim calcmode="lin" valueType="num">
                                      <p:cBhvr additive="base">
                                        <p:cTn id="28" dur="700" fill="hold"/>
                                        <p:tgtEl>
                                          <p:spTgt spid="23"/>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1400"/>
                                  </p:stCondLst>
                                  <p:childTnLst>
                                    <p:set>
                                      <p:cBhvr>
                                        <p:cTn id="30" dur="1" fill="hold">
                                          <p:stCondLst>
                                            <p:cond delay="0"/>
                                          </p:stCondLst>
                                        </p:cTn>
                                        <p:tgtEl>
                                          <p:spTgt spid="8"/>
                                        </p:tgtEl>
                                        <p:attrNameLst>
                                          <p:attrName>style.visibility</p:attrName>
                                        </p:attrNameLst>
                                      </p:cBhvr>
                                      <p:to>
                                        <p:strVal val="visible"/>
                                      </p:to>
                                    </p:set>
                                    <p:anim calcmode="lin" valueType="num">
                                      <p:cBhvr additive="base">
                                        <p:cTn id="31" dur="700" fill="hold"/>
                                        <p:tgtEl>
                                          <p:spTgt spid="8"/>
                                        </p:tgtEl>
                                        <p:attrNameLst>
                                          <p:attrName>ppt_x</p:attrName>
                                        </p:attrNameLst>
                                      </p:cBhvr>
                                      <p:tavLst>
                                        <p:tav tm="0">
                                          <p:val>
                                            <p:strVal val="#ppt_x"/>
                                          </p:val>
                                        </p:tav>
                                        <p:tav tm="100000">
                                          <p:val>
                                            <p:strVal val="#ppt_x"/>
                                          </p:val>
                                        </p:tav>
                                      </p:tavLst>
                                    </p:anim>
                                    <p:anim calcmode="lin" valueType="num">
                                      <p:cBhvr additive="base">
                                        <p:cTn id="32" dur="700" fill="hold"/>
                                        <p:tgtEl>
                                          <p:spTgt spid="8"/>
                                        </p:tgtEl>
                                        <p:attrNameLst>
                                          <p:attrName>ppt_y</p:attrName>
                                        </p:attrNameLst>
                                      </p:cBhvr>
                                      <p:tavLst>
                                        <p:tav tm="0">
                                          <p:val>
                                            <p:strVal val="1+#ppt_h/2"/>
                                          </p:val>
                                        </p:tav>
                                        <p:tav tm="100000">
                                          <p:val>
                                            <p:strVal val="#ppt_y"/>
                                          </p:val>
                                        </p:tav>
                                      </p:tavLst>
                                    </p:anim>
                                  </p:childTnLst>
                                </p:cTn>
                              </p:par>
                              <p:par>
                                <p:cTn id="33" presetID="2" presetClass="entr" presetSubtype="4" decel="100000" fill="hold" grpId="0" nodeType="withEffect">
                                  <p:stCondLst>
                                    <p:cond delay="1400"/>
                                  </p:stCondLst>
                                  <p:childTnLst>
                                    <p:set>
                                      <p:cBhvr>
                                        <p:cTn id="34" dur="1" fill="hold">
                                          <p:stCondLst>
                                            <p:cond delay="0"/>
                                          </p:stCondLst>
                                        </p:cTn>
                                        <p:tgtEl>
                                          <p:spTgt spid="44"/>
                                        </p:tgtEl>
                                        <p:attrNameLst>
                                          <p:attrName>style.visibility</p:attrName>
                                        </p:attrNameLst>
                                      </p:cBhvr>
                                      <p:to>
                                        <p:strVal val="visible"/>
                                      </p:to>
                                    </p:set>
                                    <p:anim calcmode="lin" valueType="num">
                                      <p:cBhvr additive="base">
                                        <p:cTn id="35" dur="700" fill="hold"/>
                                        <p:tgtEl>
                                          <p:spTgt spid="44"/>
                                        </p:tgtEl>
                                        <p:attrNameLst>
                                          <p:attrName>ppt_x</p:attrName>
                                        </p:attrNameLst>
                                      </p:cBhvr>
                                      <p:tavLst>
                                        <p:tav tm="0">
                                          <p:val>
                                            <p:strVal val="#ppt_x"/>
                                          </p:val>
                                        </p:tav>
                                        <p:tav tm="100000">
                                          <p:val>
                                            <p:strVal val="#ppt_x"/>
                                          </p:val>
                                        </p:tav>
                                      </p:tavLst>
                                    </p:anim>
                                    <p:anim calcmode="lin" valueType="num">
                                      <p:cBhvr additive="base">
                                        <p:cTn id="36" dur="700" fill="hold"/>
                                        <p:tgtEl>
                                          <p:spTgt spid="44"/>
                                        </p:tgtEl>
                                        <p:attrNameLst>
                                          <p:attrName>ppt_y</p:attrName>
                                        </p:attrNameLst>
                                      </p:cBhvr>
                                      <p:tavLst>
                                        <p:tav tm="0">
                                          <p:val>
                                            <p:strVal val="1+#ppt_h/2"/>
                                          </p:val>
                                        </p:tav>
                                        <p:tav tm="100000">
                                          <p:val>
                                            <p:strVal val="#ppt_y"/>
                                          </p:val>
                                        </p:tav>
                                      </p:tavLst>
                                    </p:anim>
                                  </p:childTnLst>
                                </p:cTn>
                              </p:par>
                              <p:par>
                                <p:cTn id="37" presetID="2" presetClass="entr" presetSubtype="4" decel="100000" fill="hold" nodeType="withEffect">
                                  <p:stCondLst>
                                    <p:cond delay="2100"/>
                                  </p:stCondLst>
                                  <p:childTnLst>
                                    <p:set>
                                      <p:cBhvr>
                                        <p:cTn id="38" dur="1" fill="hold">
                                          <p:stCondLst>
                                            <p:cond delay="0"/>
                                          </p:stCondLst>
                                        </p:cTn>
                                        <p:tgtEl>
                                          <p:spTgt spid="13"/>
                                        </p:tgtEl>
                                        <p:attrNameLst>
                                          <p:attrName>style.visibility</p:attrName>
                                        </p:attrNameLst>
                                      </p:cBhvr>
                                      <p:to>
                                        <p:strVal val="visible"/>
                                      </p:to>
                                    </p:set>
                                    <p:anim calcmode="lin" valueType="num">
                                      <p:cBhvr additive="base">
                                        <p:cTn id="39" dur="700" fill="hold"/>
                                        <p:tgtEl>
                                          <p:spTgt spid="13"/>
                                        </p:tgtEl>
                                        <p:attrNameLst>
                                          <p:attrName>ppt_x</p:attrName>
                                        </p:attrNameLst>
                                      </p:cBhvr>
                                      <p:tavLst>
                                        <p:tav tm="0">
                                          <p:val>
                                            <p:strVal val="#ppt_x"/>
                                          </p:val>
                                        </p:tav>
                                        <p:tav tm="100000">
                                          <p:val>
                                            <p:strVal val="#ppt_x"/>
                                          </p:val>
                                        </p:tav>
                                      </p:tavLst>
                                    </p:anim>
                                    <p:anim calcmode="lin" valueType="num">
                                      <p:cBhvr additive="base">
                                        <p:cTn id="40" dur="700" fill="hold"/>
                                        <p:tgtEl>
                                          <p:spTgt spid="13"/>
                                        </p:tgtEl>
                                        <p:attrNameLst>
                                          <p:attrName>ppt_y</p:attrName>
                                        </p:attrNameLst>
                                      </p:cBhvr>
                                      <p:tavLst>
                                        <p:tav tm="0">
                                          <p:val>
                                            <p:strVal val="1+#ppt_h/2"/>
                                          </p:val>
                                        </p:tav>
                                        <p:tav tm="100000">
                                          <p:val>
                                            <p:strVal val="#ppt_y"/>
                                          </p:val>
                                        </p:tav>
                                      </p:tavLst>
                                    </p:anim>
                                  </p:childTnLst>
                                </p:cTn>
                              </p:par>
                              <p:par>
                                <p:cTn id="41" presetID="2" presetClass="entr" presetSubtype="4" decel="100000" fill="hold" grpId="0" nodeType="withEffect">
                                  <p:stCondLst>
                                    <p:cond delay="2100"/>
                                  </p:stCondLst>
                                  <p:childTnLst>
                                    <p:set>
                                      <p:cBhvr>
                                        <p:cTn id="42" dur="1" fill="hold">
                                          <p:stCondLst>
                                            <p:cond delay="0"/>
                                          </p:stCondLst>
                                        </p:cTn>
                                        <p:tgtEl>
                                          <p:spTgt spid="24"/>
                                        </p:tgtEl>
                                        <p:attrNameLst>
                                          <p:attrName>style.visibility</p:attrName>
                                        </p:attrNameLst>
                                      </p:cBhvr>
                                      <p:to>
                                        <p:strVal val="visible"/>
                                      </p:to>
                                    </p:set>
                                    <p:anim calcmode="lin" valueType="num">
                                      <p:cBhvr additive="base">
                                        <p:cTn id="43" dur="700" fill="hold"/>
                                        <p:tgtEl>
                                          <p:spTgt spid="24"/>
                                        </p:tgtEl>
                                        <p:attrNameLst>
                                          <p:attrName>ppt_x</p:attrName>
                                        </p:attrNameLst>
                                      </p:cBhvr>
                                      <p:tavLst>
                                        <p:tav tm="0">
                                          <p:val>
                                            <p:strVal val="#ppt_x"/>
                                          </p:val>
                                        </p:tav>
                                        <p:tav tm="100000">
                                          <p:val>
                                            <p:strVal val="#ppt_x"/>
                                          </p:val>
                                        </p:tav>
                                      </p:tavLst>
                                    </p:anim>
                                    <p:anim calcmode="lin" valueType="num">
                                      <p:cBhvr additive="base">
                                        <p:cTn id="44" dur="700" fill="hold"/>
                                        <p:tgtEl>
                                          <p:spTgt spid="2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23" grpId="0" animBg="1"/>
      <p:bldP spid="24" grpId="0" animBg="1"/>
      <p:bldP spid="55" grpId="0" animBg="1"/>
      <p:bldP spid="56" grpId="0" animBg="1"/>
      <p:bldP spid="44" grpId="0" animBg="1"/>
    </p:bld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3700" dirty="0"/>
              <a:t>Deploying</a:t>
            </a:r>
            <a:r>
              <a:rPr lang="en-US" dirty="0"/>
              <a:t/>
            </a:r>
            <a:br>
              <a:rPr lang="en-US" dirty="0"/>
            </a:br>
            <a:r>
              <a:rPr lang="en-US" sz="2300" dirty="0">
                <a:solidFill>
                  <a:srgbClr val="FFC000">
                    <a:alpha val="99000"/>
                  </a:srgbClr>
                </a:solidFill>
              </a:rPr>
              <a:t>Set up and Configure</a:t>
            </a:r>
            <a:endParaRPr lang="en-US" dirty="0"/>
          </a:p>
        </p:txBody>
      </p:sp>
      <p:sp>
        <p:nvSpPr>
          <p:cNvPr id="18" name="Rectangle 17"/>
          <p:cNvSpPr>
            <a:spLocks/>
          </p:cNvSpPr>
          <p:nvPr>
            <p:custDataLst>
              <p:tags r:id="rId1"/>
            </p:custDataLst>
          </p:nvPr>
        </p:nvSpPr>
        <p:spPr bwMode="auto">
          <a:xfrm>
            <a:off x="4897889" y="3143251"/>
            <a:ext cx="1920240" cy="1577340"/>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28" tIns="137172" rIns="91428" bIns="45714" numCol="1" rtlCol="0" anchor="t" anchorCtr="0" compatLnSpc="1">
            <a:prstTxWarp prst="textNoShape">
              <a:avLst/>
            </a:prstTxWarp>
            <a:noAutofit/>
          </a:bodyPr>
          <a:lstStyle/>
          <a:p>
            <a:pPr defTabSz="914045" fontAlgn="base">
              <a:lnSpc>
                <a:spcPct val="90000"/>
              </a:lnSpc>
              <a:spcBef>
                <a:spcPts val="630"/>
              </a:spcBef>
              <a:spcAft>
                <a:spcPct val="0"/>
              </a:spcAft>
              <a:buClr>
                <a:schemeClr val="bg2">
                  <a:lumMod val="75000"/>
                </a:schemeClr>
              </a:buClr>
              <a:buSzPct val="100000"/>
            </a:pPr>
            <a:r>
              <a:rPr lang="en-US" sz="1200" dirty="0">
                <a:ln>
                  <a:solidFill>
                    <a:srgbClr val="FFFFFF">
                      <a:alpha val="0"/>
                    </a:srgbClr>
                  </a:solidFill>
                </a:ln>
                <a:solidFill>
                  <a:srgbClr val="FFFFFF">
                    <a:alpha val="99000"/>
                  </a:srgbClr>
                </a:solidFill>
                <a:cs typeface="Segoe UI" pitchFamily="34" charset="0"/>
              </a:rPr>
              <a:t>SQL Server 2012 </a:t>
            </a:r>
            <a:r>
              <a:rPr lang="en-US" sz="1200" dirty="0" err="1">
                <a:ln>
                  <a:solidFill>
                    <a:srgbClr val="FFFFFF">
                      <a:alpha val="0"/>
                    </a:srgbClr>
                  </a:solidFill>
                </a:ln>
                <a:solidFill>
                  <a:srgbClr val="FFFFFF">
                    <a:alpha val="99000"/>
                  </a:srgbClr>
                </a:solidFill>
                <a:cs typeface="Segoe UI" pitchFamily="34" charset="0"/>
              </a:rPr>
              <a:t>AlwaysOn</a:t>
            </a:r>
            <a:endParaRPr lang="en-US" sz="1200" dirty="0">
              <a:ln>
                <a:solidFill>
                  <a:srgbClr val="FFFFFF">
                    <a:alpha val="0"/>
                  </a:srgbClr>
                </a:solidFill>
              </a:ln>
              <a:solidFill>
                <a:srgbClr val="FFFFFF">
                  <a:alpha val="99000"/>
                </a:srgbClr>
              </a:solidFill>
              <a:cs typeface="Segoe UI" pitchFamily="34" charset="0"/>
            </a:endParaRPr>
          </a:p>
          <a:p>
            <a:pPr marL="215523" indent="-127409" defTabSz="914045" fontAlgn="base">
              <a:lnSpc>
                <a:spcPct val="90000"/>
              </a:lnSpc>
              <a:spcBef>
                <a:spcPts val="630"/>
              </a:spcBef>
              <a:spcAft>
                <a:spcPct val="0"/>
              </a:spcAft>
              <a:buClr>
                <a:schemeClr val="bg2">
                  <a:lumMod val="75000"/>
                </a:schemeClr>
              </a:buClr>
              <a:buSzPct val="100000"/>
              <a:buFont typeface="Arial" pitchFamily="34" charset="0"/>
              <a:buChar char="•"/>
            </a:pPr>
            <a:r>
              <a:rPr lang="en-US" sz="1200" dirty="0">
                <a:ln>
                  <a:solidFill>
                    <a:srgbClr val="FFFFFF">
                      <a:alpha val="0"/>
                    </a:srgbClr>
                  </a:solidFill>
                </a:ln>
                <a:solidFill>
                  <a:srgbClr val="FFFFFF">
                    <a:alpha val="99000"/>
                  </a:srgbClr>
                </a:solidFill>
                <a:cs typeface="Segoe UI" pitchFamily="34" charset="0"/>
              </a:rPr>
              <a:t>Availability Group</a:t>
            </a:r>
          </a:p>
          <a:p>
            <a:pPr marL="215523" indent="-127409" defTabSz="914045" fontAlgn="base">
              <a:lnSpc>
                <a:spcPct val="90000"/>
              </a:lnSpc>
              <a:spcBef>
                <a:spcPts val="630"/>
              </a:spcBef>
              <a:spcAft>
                <a:spcPct val="0"/>
              </a:spcAft>
              <a:buClr>
                <a:schemeClr val="bg2">
                  <a:lumMod val="75000"/>
                </a:schemeClr>
              </a:buClr>
              <a:buSzPct val="100000"/>
              <a:buFont typeface="Arial" pitchFamily="34" charset="0"/>
              <a:buChar char="•"/>
            </a:pPr>
            <a:r>
              <a:rPr lang="en-US" sz="1200" dirty="0">
                <a:ln>
                  <a:solidFill>
                    <a:srgbClr val="FFFFFF">
                      <a:alpha val="0"/>
                    </a:srgbClr>
                  </a:solidFill>
                </a:ln>
                <a:solidFill>
                  <a:srgbClr val="FFFFFF">
                    <a:alpha val="99000"/>
                  </a:srgbClr>
                </a:solidFill>
                <a:cs typeface="Segoe UI" pitchFamily="34" charset="0"/>
              </a:rPr>
              <a:t>Active </a:t>
            </a:r>
            <a:r>
              <a:rPr lang="en-US" sz="1200" dirty="0" err="1">
                <a:ln>
                  <a:solidFill>
                    <a:srgbClr val="FFFFFF">
                      <a:alpha val="0"/>
                    </a:srgbClr>
                  </a:solidFill>
                </a:ln>
                <a:solidFill>
                  <a:srgbClr val="FFFFFF">
                    <a:alpha val="99000"/>
                  </a:srgbClr>
                </a:solidFill>
                <a:cs typeface="Segoe UI" pitchFamily="34" charset="0"/>
              </a:rPr>
              <a:t>Secondaries</a:t>
            </a:r>
            <a:endParaRPr lang="en-US" sz="1200" dirty="0">
              <a:ln>
                <a:solidFill>
                  <a:srgbClr val="FFFFFF">
                    <a:alpha val="0"/>
                  </a:srgbClr>
                </a:solidFill>
              </a:ln>
              <a:solidFill>
                <a:srgbClr val="FFFFFF">
                  <a:alpha val="99000"/>
                </a:srgbClr>
              </a:solidFill>
              <a:cs typeface="Segoe UI" pitchFamily="34" charset="0"/>
            </a:endParaRPr>
          </a:p>
          <a:p>
            <a:pPr marL="215523" indent="-127409" defTabSz="914045" fontAlgn="base">
              <a:lnSpc>
                <a:spcPct val="90000"/>
              </a:lnSpc>
              <a:spcBef>
                <a:spcPts val="630"/>
              </a:spcBef>
              <a:spcAft>
                <a:spcPct val="0"/>
              </a:spcAft>
              <a:buClr>
                <a:schemeClr val="bg2">
                  <a:lumMod val="75000"/>
                </a:schemeClr>
              </a:buClr>
              <a:buSzPct val="100000"/>
              <a:buFont typeface="Arial" pitchFamily="34" charset="0"/>
              <a:buChar char="•"/>
            </a:pPr>
            <a:r>
              <a:rPr lang="en-US" sz="1200" dirty="0">
                <a:ln>
                  <a:solidFill>
                    <a:srgbClr val="FFFFFF">
                      <a:alpha val="0"/>
                    </a:srgbClr>
                  </a:solidFill>
                </a:ln>
                <a:solidFill>
                  <a:srgbClr val="FFFFFF">
                    <a:alpha val="99000"/>
                  </a:srgbClr>
                </a:solidFill>
                <a:cs typeface="Segoe UI" pitchFamily="34" charset="0"/>
              </a:rPr>
              <a:t>Multi-site clusters</a:t>
            </a:r>
          </a:p>
        </p:txBody>
      </p:sp>
      <p:sp>
        <p:nvSpPr>
          <p:cNvPr id="23" name="Rectangle 22"/>
          <p:cNvSpPr>
            <a:spLocks/>
          </p:cNvSpPr>
          <p:nvPr>
            <p:custDataLst>
              <p:tags r:id="rId2"/>
            </p:custDataLst>
          </p:nvPr>
        </p:nvSpPr>
        <p:spPr bwMode="auto">
          <a:xfrm>
            <a:off x="6970825" y="3143251"/>
            <a:ext cx="1922780" cy="1577340"/>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28" tIns="137172" rIns="91428" bIns="45714" numCol="1" rtlCol="0" anchor="t" anchorCtr="0" compatLnSpc="1">
            <a:prstTxWarp prst="textNoShape">
              <a:avLst/>
            </a:prstTxWarp>
            <a:noAutofit/>
          </a:bodyPr>
          <a:lstStyle/>
          <a:p>
            <a:pPr defTabSz="914045" fontAlgn="base">
              <a:lnSpc>
                <a:spcPct val="90000"/>
              </a:lnSpc>
              <a:spcBef>
                <a:spcPts val="630"/>
              </a:spcBef>
              <a:spcAft>
                <a:spcPct val="0"/>
              </a:spcAft>
              <a:buClr>
                <a:schemeClr val="bg2">
                  <a:lumMod val="75000"/>
                </a:schemeClr>
              </a:buClr>
              <a:buSzPct val="100000"/>
            </a:pPr>
            <a:r>
              <a:rPr lang="en-US" sz="1200" dirty="0">
                <a:ln>
                  <a:solidFill>
                    <a:srgbClr val="FFFFFF">
                      <a:alpha val="0"/>
                    </a:srgbClr>
                  </a:solidFill>
                </a:ln>
                <a:solidFill>
                  <a:srgbClr val="FFFFFF">
                    <a:alpha val="99000"/>
                  </a:srgbClr>
                </a:solidFill>
                <a:cs typeface="Segoe UI" pitchFamily="34" charset="0"/>
              </a:rPr>
              <a:t>SQL Server 2012 </a:t>
            </a:r>
            <a:r>
              <a:rPr lang="en-US" sz="1200" dirty="0" err="1">
                <a:ln>
                  <a:solidFill>
                    <a:srgbClr val="FFFFFF">
                      <a:alpha val="0"/>
                    </a:srgbClr>
                  </a:solidFill>
                </a:ln>
                <a:solidFill>
                  <a:srgbClr val="FFFFFF">
                    <a:alpha val="99000"/>
                  </a:srgbClr>
                </a:solidFill>
                <a:cs typeface="Segoe UI" pitchFamily="34" charset="0"/>
              </a:rPr>
              <a:t>AlwaysOn</a:t>
            </a:r>
            <a:endParaRPr lang="en-US" sz="1200" dirty="0">
              <a:ln>
                <a:solidFill>
                  <a:srgbClr val="FFFFFF">
                    <a:alpha val="0"/>
                  </a:srgbClr>
                </a:solidFill>
              </a:ln>
              <a:solidFill>
                <a:srgbClr val="FFFFFF">
                  <a:alpha val="99000"/>
                </a:srgbClr>
              </a:solidFill>
              <a:cs typeface="Segoe UI" pitchFamily="34" charset="0"/>
            </a:endParaRPr>
          </a:p>
          <a:p>
            <a:pPr defTabSz="914045" fontAlgn="base">
              <a:lnSpc>
                <a:spcPct val="90000"/>
              </a:lnSpc>
              <a:spcBef>
                <a:spcPts val="630"/>
              </a:spcBef>
              <a:spcAft>
                <a:spcPct val="0"/>
              </a:spcAft>
              <a:buClr>
                <a:schemeClr val="bg2">
                  <a:lumMod val="75000"/>
                </a:schemeClr>
              </a:buClr>
              <a:buSzPct val="100000"/>
            </a:pPr>
            <a:r>
              <a:rPr lang="en-US" sz="1200" dirty="0">
                <a:ln>
                  <a:solidFill>
                    <a:srgbClr val="FFFFFF">
                      <a:alpha val="0"/>
                    </a:srgbClr>
                  </a:solidFill>
                </a:ln>
                <a:solidFill>
                  <a:srgbClr val="FFFFFF">
                    <a:alpha val="99000"/>
                  </a:srgbClr>
                </a:solidFill>
                <a:cs typeface="Segoe UI" pitchFamily="34" charset="0"/>
              </a:rPr>
              <a:t>Windows Server 2012 Hyper-V Replica</a:t>
            </a:r>
          </a:p>
          <a:p>
            <a:pPr defTabSz="914045" fontAlgn="base">
              <a:lnSpc>
                <a:spcPct val="90000"/>
              </a:lnSpc>
              <a:spcBef>
                <a:spcPts val="630"/>
              </a:spcBef>
              <a:spcAft>
                <a:spcPct val="0"/>
              </a:spcAft>
              <a:buClr>
                <a:schemeClr val="bg2">
                  <a:lumMod val="75000"/>
                </a:schemeClr>
              </a:buClr>
              <a:buSzPct val="100000"/>
            </a:pPr>
            <a:r>
              <a:rPr lang="en-US" sz="1200" dirty="0">
                <a:ln>
                  <a:solidFill>
                    <a:srgbClr val="FFFFFF">
                      <a:alpha val="0"/>
                    </a:srgbClr>
                  </a:solidFill>
                </a:ln>
                <a:solidFill>
                  <a:srgbClr val="FFFFFF">
                    <a:alpha val="99000"/>
                  </a:srgbClr>
                </a:solidFill>
                <a:cs typeface="Segoe UI" pitchFamily="34" charset="0"/>
              </a:rPr>
              <a:t>Live Migration Enhancements</a:t>
            </a:r>
          </a:p>
        </p:txBody>
      </p:sp>
      <p:sp>
        <p:nvSpPr>
          <p:cNvPr id="55" name="Rectangle 54"/>
          <p:cNvSpPr/>
          <p:nvPr>
            <p:custDataLst>
              <p:tags r:id="rId3"/>
            </p:custDataLst>
          </p:nvPr>
        </p:nvSpPr>
        <p:spPr bwMode="auto">
          <a:xfrm rot="16200000">
            <a:off x="-507463" y="1925683"/>
            <a:ext cx="1920240" cy="369509"/>
          </a:xfrm>
          <a:prstGeom prst="rect">
            <a:avLst/>
          </a:prstGeom>
          <a:solidFill>
            <a:srgbClr val="FF8B00"/>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0" tIns="0" rIns="0" bIns="0" numCol="1" rtlCol="0" anchor="ctr" anchorCtr="0" compatLnSpc="1">
            <a:prstTxWarp prst="textNoShape">
              <a:avLst/>
            </a:prstTxWarp>
            <a:noAutofit/>
          </a:bodyPr>
          <a:lstStyle/>
          <a:p>
            <a:pPr algn="ctr" defTabSz="914045" fontAlgn="base">
              <a:lnSpc>
                <a:spcPct val="90000"/>
              </a:lnSpc>
              <a:spcBef>
                <a:spcPts val="630"/>
              </a:spcBef>
              <a:spcAft>
                <a:spcPct val="0"/>
              </a:spcAft>
              <a:buClr>
                <a:srgbClr val="FFFF99"/>
              </a:buClr>
              <a:buSzPct val="120000"/>
              <a:defRPr/>
            </a:pPr>
            <a:r>
              <a:rPr lang="en-US" sz="1500" dirty="0">
                <a:ln>
                  <a:solidFill>
                    <a:srgbClr val="FFFFFF">
                      <a:alpha val="0"/>
                    </a:srgbClr>
                  </a:solidFill>
                </a:ln>
                <a:solidFill>
                  <a:srgbClr val="FFFFFF">
                    <a:alpha val="99000"/>
                  </a:srgbClr>
                </a:solidFill>
                <a:cs typeface="Segoe UI" pitchFamily="34" charset="0"/>
              </a:rPr>
              <a:t>Steps</a:t>
            </a:r>
          </a:p>
        </p:txBody>
      </p:sp>
      <p:sp>
        <p:nvSpPr>
          <p:cNvPr id="56" name="Rectangle 55"/>
          <p:cNvSpPr/>
          <p:nvPr>
            <p:custDataLst>
              <p:tags r:id="rId4"/>
            </p:custDataLst>
          </p:nvPr>
        </p:nvSpPr>
        <p:spPr bwMode="auto">
          <a:xfrm rot="16200000">
            <a:off x="-336013" y="3747168"/>
            <a:ext cx="1577340" cy="369509"/>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0" tIns="0" rIns="0" bIns="0" numCol="1" rtlCol="0" anchor="ctr" anchorCtr="0" compatLnSpc="1">
            <a:prstTxWarp prst="textNoShape">
              <a:avLst/>
            </a:prstTxWarp>
            <a:noAutofit/>
          </a:bodyPr>
          <a:lstStyle/>
          <a:p>
            <a:pPr algn="ctr" defTabSz="914045" fontAlgn="base">
              <a:lnSpc>
                <a:spcPct val="90000"/>
              </a:lnSpc>
              <a:spcBef>
                <a:spcPts val="630"/>
              </a:spcBef>
              <a:spcAft>
                <a:spcPct val="0"/>
              </a:spcAft>
              <a:buClr>
                <a:srgbClr val="FFFF99"/>
              </a:buClr>
              <a:buSzPct val="120000"/>
              <a:defRPr/>
            </a:pPr>
            <a:r>
              <a:rPr lang="en-US" sz="1500" dirty="0">
                <a:ln>
                  <a:solidFill>
                    <a:srgbClr val="FFFFFF">
                      <a:alpha val="0"/>
                    </a:srgbClr>
                  </a:solidFill>
                </a:ln>
                <a:solidFill>
                  <a:srgbClr val="FFFFFF">
                    <a:alpha val="99000"/>
                  </a:srgbClr>
                </a:solidFill>
                <a:cs typeface="Segoe UI" pitchFamily="34" charset="0"/>
              </a:rPr>
              <a:t>Technology</a:t>
            </a:r>
          </a:p>
        </p:txBody>
      </p:sp>
      <p:grpSp>
        <p:nvGrpSpPr>
          <p:cNvPr id="3" name="Group 2"/>
          <p:cNvGrpSpPr/>
          <p:nvPr/>
        </p:nvGrpSpPr>
        <p:grpSpPr>
          <a:xfrm>
            <a:off x="4897889" y="1150318"/>
            <a:ext cx="1920240" cy="1917497"/>
            <a:chOff x="1002064" y="1533756"/>
            <a:chExt cx="2559653" cy="2556662"/>
          </a:xfrm>
        </p:grpSpPr>
        <p:sp>
          <p:nvSpPr>
            <p:cNvPr id="37" name="Rectangle 36"/>
            <p:cNvSpPr/>
            <p:nvPr>
              <p:custDataLst>
                <p:tags r:id="rId10"/>
              </p:custDataLst>
            </p:nvPr>
          </p:nvSpPr>
          <p:spPr bwMode="auto">
            <a:xfrm>
              <a:off x="1002064" y="1533756"/>
              <a:ext cx="2559653" cy="2556662"/>
            </a:xfrm>
            <a:prstGeom prst="rect">
              <a:avLst/>
            </a:prstGeom>
            <a:solidFill>
              <a:srgbClr val="FF8B00"/>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1371600" rIns="91440" bIns="45720" numCol="1" rtlCol="0" anchor="ctr" anchorCtr="0" compatLnSpc="1">
              <a:prstTxWarp prst="textNoShape">
                <a:avLst/>
              </a:prstTxWarp>
              <a:noAutofit/>
            </a:bodyPr>
            <a:lstStyle/>
            <a:p>
              <a:pPr algn="ctr" defTabSz="914045" fontAlgn="base">
                <a:lnSpc>
                  <a:spcPct val="90000"/>
                </a:lnSpc>
                <a:spcBef>
                  <a:spcPts val="630"/>
                </a:spcBef>
                <a:spcAft>
                  <a:spcPct val="0"/>
                </a:spcAft>
                <a:buClr>
                  <a:srgbClr val="FFFF99"/>
                </a:buClr>
                <a:buSzPct val="120000"/>
                <a:defRPr/>
              </a:pPr>
              <a:r>
                <a:rPr lang="en-US" sz="1500" dirty="0">
                  <a:ln>
                    <a:solidFill>
                      <a:srgbClr val="FFFFFF">
                        <a:alpha val="0"/>
                      </a:srgbClr>
                    </a:solidFill>
                  </a:ln>
                  <a:solidFill>
                    <a:srgbClr val="FFFFFF">
                      <a:alpha val="99000"/>
                    </a:srgbClr>
                  </a:solidFill>
                  <a:cs typeface="Segoe UI" pitchFamily="34" charset="0"/>
                </a:rPr>
                <a:t>Set up for high availability</a:t>
              </a:r>
            </a:p>
          </p:txBody>
        </p:sp>
        <p:pic>
          <p:nvPicPr>
            <p:cNvPr id="22" name="Picture 6" descr="\\MAGNUM\Projects\Microsoft\Cloud Power FY12\Design\ICONS_PNG\Continuous_Availability.png"/>
            <p:cNvPicPr>
              <a:picLocks noChangeAspect="1" noChangeArrowheads="1"/>
            </p:cNvPicPr>
            <p:nvPr/>
          </p:nvPicPr>
          <p:blipFill>
            <a:blip r:embed="rId13" cstate="print">
              <a:lum bright="100000"/>
            </a:blip>
            <a:srcRect/>
            <a:stretch>
              <a:fillRect/>
            </a:stretch>
          </p:blipFill>
          <p:spPr bwMode="auto">
            <a:xfrm>
              <a:off x="1458930" y="1705111"/>
              <a:ext cx="1645920" cy="1645920"/>
            </a:xfrm>
            <a:prstGeom prst="rect">
              <a:avLst/>
            </a:prstGeom>
            <a:noFill/>
          </p:spPr>
        </p:pic>
      </p:grpSp>
      <p:grpSp>
        <p:nvGrpSpPr>
          <p:cNvPr id="4" name="Group 3"/>
          <p:cNvGrpSpPr/>
          <p:nvPr/>
        </p:nvGrpSpPr>
        <p:grpSpPr>
          <a:xfrm>
            <a:off x="6970825" y="1150318"/>
            <a:ext cx="1920240" cy="1917497"/>
            <a:chOff x="3765260" y="1533756"/>
            <a:chExt cx="2559653" cy="2556662"/>
          </a:xfrm>
        </p:grpSpPr>
        <p:sp>
          <p:nvSpPr>
            <p:cNvPr id="43" name="Rectangle 42"/>
            <p:cNvSpPr/>
            <p:nvPr>
              <p:custDataLst>
                <p:tags r:id="rId9"/>
              </p:custDataLst>
            </p:nvPr>
          </p:nvSpPr>
          <p:spPr bwMode="auto">
            <a:xfrm>
              <a:off x="3765260" y="1533756"/>
              <a:ext cx="2559653" cy="2556662"/>
            </a:xfrm>
            <a:prstGeom prst="rect">
              <a:avLst/>
            </a:prstGeom>
            <a:solidFill>
              <a:srgbClr val="FF8B00"/>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1371600" rIns="91440" bIns="45720" numCol="1" rtlCol="0" anchor="ctr" anchorCtr="0" compatLnSpc="1">
              <a:prstTxWarp prst="textNoShape">
                <a:avLst/>
              </a:prstTxWarp>
              <a:noAutofit/>
            </a:bodyPr>
            <a:lstStyle/>
            <a:p>
              <a:pPr algn="ctr" defTabSz="914045" fontAlgn="base">
                <a:lnSpc>
                  <a:spcPct val="90000"/>
                </a:lnSpc>
                <a:spcBef>
                  <a:spcPts val="630"/>
                </a:spcBef>
                <a:spcAft>
                  <a:spcPct val="0"/>
                </a:spcAft>
                <a:buClr>
                  <a:srgbClr val="FFFF99"/>
                </a:buClr>
                <a:buSzPct val="120000"/>
              </a:pPr>
              <a:r>
                <a:rPr lang="en-US" sz="1500" dirty="0">
                  <a:ln>
                    <a:solidFill>
                      <a:srgbClr val="FFFFFF">
                        <a:alpha val="0"/>
                      </a:srgbClr>
                    </a:solidFill>
                  </a:ln>
                  <a:solidFill>
                    <a:srgbClr val="FFFFFF">
                      <a:alpha val="99000"/>
                    </a:srgbClr>
                  </a:solidFill>
                  <a:cs typeface="Segoe UI" pitchFamily="34" charset="0"/>
                </a:rPr>
                <a:t>Set up for disaster recovery</a:t>
              </a:r>
            </a:p>
          </p:txBody>
        </p:sp>
        <p:pic>
          <p:nvPicPr>
            <p:cNvPr id="29" name="Picture 2" descr="\\MAGNUM\Projects\Microsoft\Cloud Power FY12\Design\Icons\PNGs\Electricity.png"/>
            <p:cNvPicPr>
              <a:picLocks noChangeAspect="1" noChangeArrowheads="1"/>
            </p:cNvPicPr>
            <p:nvPr/>
          </p:nvPicPr>
          <p:blipFill>
            <a:blip r:embed="rId14" cstate="print">
              <a:lum bright="100000"/>
            </a:blip>
            <a:srcRect/>
            <a:stretch>
              <a:fillRect/>
            </a:stretch>
          </p:blipFill>
          <p:spPr bwMode="auto">
            <a:xfrm>
              <a:off x="4327282" y="1757102"/>
              <a:ext cx="1435608" cy="1435608"/>
            </a:xfrm>
            <a:prstGeom prst="rect">
              <a:avLst/>
            </a:prstGeom>
            <a:noFill/>
          </p:spPr>
        </p:pic>
      </p:grpSp>
      <p:sp>
        <p:nvSpPr>
          <p:cNvPr id="26" name="Rectangle 25"/>
          <p:cNvSpPr>
            <a:spLocks/>
          </p:cNvSpPr>
          <p:nvPr>
            <p:custDataLst>
              <p:tags r:id="rId5"/>
            </p:custDataLst>
          </p:nvPr>
        </p:nvSpPr>
        <p:spPr bwMode="auto">
          <a:xfrm>
            <a:off x="736575" y="3143251"/>
            <a:ext cx="1920240" cy="1577340"/>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28" tIns="137172" rIns="91428" bIns="45714" numCol="1" rtlCol="0" anchor="t" anchorCtr="0" compatLnSpc="1">
            <a:prstTxWarp prst="textNoShape">
              <a:avLst/>
            </a:prstTxWarp>
            <a:noAutofit/>
          </a:bodyPr>
          <a:lstStyle/>
          <a:p>
            <a:pPr defTabSz="914045" fontAlgn="base">
              <a:lnSpc>
                <a:spcPct val="90000"/>
              </a:lnSpc>
              <a:spcBef>
                <a:spcPts val="630"/>
              </a:spcBef>
              <a:spcAft>
                <a:spcPct val="0"/>
              </a:spcAft>
              <a:buClr>
                <a:schemeClr val="bg2">
                  <a:lumMod val="75000"/>
                </a:schemeClr>
              </a:buClr>
              <a:buSzPct val="100000"/>
            </a:pPr>
            <a:r>
              <a:rPr lang="en-US" sz="1200" dirty="0">
                <a:ln>
                  <a:solidFill>
                    <a:srgbClr val="FFFFFF">
                      <a:alpha val="0"/>
                    </a:srgbClr>
                  </a:solidFill>
                </a:ln>
                <a:solidFill>
                  <a:srgbClr val="FFFFFF">
                    <a:alpha val="99000"/>
                  </a:srgbClr>
                </a:solidFill>
                <a:cs typeface="Segoe UI" pitchFamily="34" charset="0"/>
              </a:rPr>
              <a:t>SQL Server 2012</a:t>
            </a:r>
          </a:p>
          <a:p>
            <a:pPr marL="213142" lvl="1" indent="-123837" defTabSz="914045" fontAlgn="base">
              <a:lnSpc>
                <a:spcPct val="90000"/>
              </a:lnSpc>
              <a:spcBef>
                <a:spcPts val="630"/>
              </a:spcBef>
              <a:spcAft>
                <a:spcPct val="0"/>
              </a:spcAft>
              <a:buClr>
                <a:schemeClr val="bg2">
                  <a:lumMod val="75000"/>
                </a:schemeClr>
              </a:buClr>
              <a:buSzPct val="100000"/>
              <a:buFont typeface="Arial" pitchFamily="34" charset="0"/>
              <a:buChar char="•"/>
            </a:pPr>
            <a:r>
              <a:rPr lang="en-US" sz="1200" dirty="0" err="1">
                <a:ln>
                  <a:solidFill>
                    <a:srgbClr val="FFFFFF">
                      <a:alpha val="0"/>
                    </a:srgbClr>
                  </a:solidFill>
                </a:ln>
                <a:solidFill>
                  <a:srgbClr val="FFFFFF">
                    <a:alpha val="99000"/>
                  </a:srgbClr>
                </a:solidFill>
                <a:cs typeface="Segoe UI" pitchFamily="34" charset="0"/>
              </a:rPr>
              <a:t>SysPrep</a:t>
            </a:r>
            <a:endParaRPr lang="en-US" sz="1200" dirty="0">
              <a:ln>
                <a:solidFill>
                  <a:srgbClr val="FFFFFF">
                    <a:alpha val="0"/>
                  </a:srgbClr>
                </a:solidFill>
              </a:ln>
              <a:solidFill>
                <a:srgbClr val="FFFFFF">
                  <a:alpha val="99000"/>
                </a:srgbClr>
              </a:solidFill>
              <a:cs typeface="Segoe UI" pitchFamily="34" charset="0"/>
            </a:endParaRPr>
          </a:p>
          <a:p>
            <a:pPr defTabSz="914045" fontAlgn="base">
              <a:lnSpc>
                <a:spcPct val="90000"/>
              </a:lnSpc>
              <a:spcBef>
                <a:spcPts val="630"/>
              </a:spcBef>
              <a:spcAft>
                <a:spcPct val="0"/>
              </a:spcAft>
              <a:buClr>
                <a:schemeClr val="bg2">
                  <a:lumMod val="75000"/>
                </a:schemeClr>
              </a:buClr>
              <a:buSzPct val="100000"/>
            </a:pPr>
            <a:r>
              <a:rPr lang="en-US" sz="1200" dirty="0">
                <a:ln>
                  <a:solidFill>
                    <a:srgbClr val="FFFFFF">
                      <a:alpha val="0"/>
                    </a:srgbClr>
                  </a:solidFill>
                </a:ln>
                <a:solidFill>
                  <a:srgbClr val="FFFFFF">
                    <a:alpha val="99000"/>
                  </a:srgbClr>
                </a:solidFill>
                <a:cs typeface="Segoe UI" pitchFamily="34" charset="0"/>
              </a:rPr>
              <a:t>System Center 2012</a:t>
            </a:r>
          </a:p>
          <a:p>
            <a:pPr marL="213142" lvl="1" indent="-123837" defTabSz="914045" fontAlgn="base">
              <a:lnSpc>
                <a:spcPct val="90000"/>
              </a:lnSpc>
              <a:spcBef>
                <a:spcPts val="630"/>
              </a:spcBef>
              <a:spcAft>
                <a:spcPct val="0"/>
              </a:spcAft>
              <a:buClr>
                <a:schemeClr val="bg2">
                  <a:lumMod val="75000"/>
                </a:schemeClr>
              </a:buClr>
              <a:buSzPct val="100000"/>
              <a:buFont typeface="Arial" pitchFamily="34" charset="0"/>
              <a:buChar char="•"/>
            </a:pPr>
            <a:r>
              <a:rPr lang="en-US" sz="1200" dirty="0">
                <a:ln>
                  <a:solidFill>
                    <a:srgbClr val="FFFFFF">
                      <a:alpha val="0"/>
                    </a:srgbClr>
                  </a:solidFill>
                </a:ln>
                <a:solidFill>
                  <a:srgbClr val="FFFFFF">
                    <a:alpha val="99000"/>
                  </a:srgbClr>
                </a:solidFill>
                <a:cs typeface="Segoe UI" pitchFamily="34" charset="0"/>
              </a:rPr>
              <a:t>Virtual Machine Manager</a:t>
            </a:r>
          </a:p>
        </p:txBody>
      </p:sp>
      <p:grpSp>
        <p:nvGrpSpPr>
          <p:cNvPr id="28" name="Group 27"/>
          <p:cNvGrpSpPr/>
          <p:nvPr/>
        </p:nvGrpSpPr>
        <p:grpSpPr>
          <a:xfrm>
            <a:off x="736575" y="1150318"/>
            <a:ext cx="1920240" cy="1917497"/>
            <a:chOff x="2352378" y="1533756"/>
            <a:chExt cx="2559653" cy="2556662"/>
          </a:xfrm>
        </p:grpSpPr>
        <p:sp>
          <p:nvSpPr>
            <p:cNvPr id="32" name="Rectangle 31"/>
            <p:cNvSpPr/>
            <p:nvPr>
              <p:custDataLst>
                <p:tags r:id="rId8"/>
              </p:custDataLst>
            </p:nvPr>
          </p:nvSpPr>
          <p:spPr bwMode="auto">
            <a:xfrm>
              <a:off x="2352378" y="1533756"/>
              <a:ext cx="2559653" cy="2556662"/>
            </a:xfrm>
            <a:prstGeom prst="rect">
              <a:avLst/>
            </a:prstGeom>
            <a:solidFill>
              <a:srgbClr val="FF8B00"/>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1371600" rIns="91440" bIns="45720" numCol="1" rtlCol="0" anchor="ctr" anchorCtr="0" compatLnSpc="1">
              <a:prstTxWarp prst="textNoShape">
                <a:avLst/>
              </a:prstTxWarp>
              <a:noAutofit/>
            </a:bodyPr>
            <a:lstStyle/>
            <a:p>
              <a:pPr algn="ctr" defTabSz="914045" fontAlgn="base">
                <a:lnSpc>
                  <a:spcPct val="90000"/>
                </a:lnSpc>
                <a:spcBef>
                  <a:spcPts val="630"/>
                </a:spcBef>
                <a:spcAft>
                  <a:spcPct val="0"/>
                </a:spcAft>
                <a:buClr>
                  <a:srgbClr val="FFFF99"/>
                </a:buClr>
                <a:buSzPct val="120000"/>
                <a:defRPr/>
              </a:pPr>
              <a:r>
                <a:rPr lang="en-US" sz="1500" dirty="0">
                  <a:ln>
                    <a:solidFill>
                      <a:srgbClr val="FFFFFF">
                        <a:alpha val="0"/>
                      </a:srgbClr>
                    </a:solidFill>
                  </a:ln>
                  <a:solidFill>
                    <a:srgbClr val="FFFFFF">
                      <a:alpha val="99000"/>
                    </a:srgbClr>
                  </a:solidFill>
                  <a:cs typeface="Segoe UI" pitchFamily="34" charset="0"/>
                </a:rPr>
                <a:t>Create database VM templates</a:t>
              </a:r>
            </a:p>
          </p:txBody>
        </p:sp>
        <p:pic>
          <p:nvPicPr>
            <p:cNvPr id="33" name="Picture 5" descr="C:\Users\mitchellg\Desktop\Folder.png"/>
            <p:cNvPicPr>
              <a:picLocks noChangeAspect="1" noChangeArrowheads="1"/>
            </p:cNvPicPr>
            <p:nvPr/>
          </p:nvPicPr>
          <p:blipFill>
            <a:blip r:embed="rId15" cstate="print">
              <a:lum bright="100000"/>
            </a:blip>
            <a:srcRect/>
            <a:stretch>
              <a:fillRect/>
            </a:stretch>
          </p:blipFill>
          <p:spPr bwMode="auto">
            <a:xfrm>
              <a:off x="2833698" y="1720892"/>
              <a:ext cx="1554480" cy="1554480"/>
            </a:xfrm>
            <a:prstGeom prst="rect">
              <a:avLst/>
            </a:prstGeom>
            <a:noFill/>
          </p:spPr>
        </p:pic>
      </p:grpSp>
      <p:grpSp>
        <p:nvGrpSpPr>
          <p:cNvPr id="41" name="Group 40"/>
          <p:cNvGrpSpPr/>
          <p:nvPr/>
        </p:nvGrpSpPr>
        <p:grpSpPr>
          <a:xfrm>
            <a:off x="2813820" y="1150318"/>
            <a:ext cx="1920240" cy="1917497"/>
            <a:chOff x="7878159" y="1533756"/>
            <a:chExt cx="2559653" cy="2556662"/>
          </a:xfrm>
        </p:grpSpPr>
        <p:sp>
          <p:nvSpPr>
            <p:cNvPr id="42" name="Rectangle 41"/>
            <p:cNvSpPr/>
            <p:nvPr>
              <p:custDataLst>
                <p:tags r:id="rId7"/>
              </p:custDataLst>
            </p:nvPr>
          </p:nvSpPr>
          <p:spPr bwMode="auto">
            <a:xfrm>
              <a:off x="7878159" y="1533756"/>
              <a:ext cx="2559653" cy="2556662"/>
            </a:xfrm>
            <a:prstGeom prst="rect">
              <a:avLst/>
            </a:prstGeom>
            <a:solidFill>
              <a:srgbClr val="FF8B00"/>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1371600" rIns="91440" bIns="45720" numCol="1" rtlCol="0" anchor="ctr" anchorCtr="0" compatLnSpc="1">
              <a:prstTxWarp prst="textNoShape">
                <a:avLst/>
              </a:prstTxWarp>
              <a:noAutofit/>
            </a:bodyPr>
            <a:lstStyle/>
            <a:p>
              <a:pPr algn="ctr" defTabSz="914045" fontAlgn="base">
                <a:lnSpc>
                  <a:spcPct val="90000"/>
                </a:lnSpc>
                <a:spcBef>
                  <a:spcPts val="630"/>
                </a:spcBef>
                <a:spcAft>
                  <a:spcPct val="0"/>
                </a:spcAft>
                <a:buClr>
                  <a:srgbClr val="FFFF99"/>
                </a:buClr>
                <a:buSzPct val="120000"/>
              </a:pPr>
              <a:endParaRPr lang="en-US" sz="1500" dirty="0">
                <a:ln>
                  <a:solidFill>
                    <a:srgbClr val="FFFFFF">
                      <a:alpha val="0"/>
                    </a:srgbClr>
                  </a:solidFill>
                </a:ln>
                <a:solidFill>
                  <a:srgbClr val="FFFFFF">
                    <a:alpha val="99000"/>
                  </a:srgbClr>
                </a:solidFill>
                <a:cs typeface="Segoe UI" pitchFamily="34" charset="0"/>
              </a:endParaRPr>
            </a:p>
            <a:p>
              <a:pPr algn="ctr" defTabSz="914045" fontAlgn="base">
                <a:lnSpc>
                  <a:spcPct val="90000"/>
                </a:lnSpc>
                <a:spcBef>
                  <a:spcPts val="630"/>
                </a:spcBef>
                <a:spcAft>
                  <a:spcPct val="0"/>
                </a:spcAft>
                <a:buClr>
                  <a:srgbClr val="FFFF99"/>
                </a:buClr>
                <a:buSzPct val="120000"/>
              </a:pPr>
              <a:r>
                <a:rPr lang="en-US" sz="1500" dirty="0">
                  <a:ln>
                    <a:solidFill>
                      <a:srgbClr val="FFFFFF">
                        <a:alpha val="0"/>
                      </a:srgbClr>
                    </a:solidFill>
                  </a:ln>
                  <a:solidFill>
                    <a:srgbClr val="FFFFFF">
                      <a:alpha val="99000"/>
                    </a:srgbClr>
                  </a:solidFill>
                  <a:cs typeface="Segoe UI" pitchFamily="34" charset="0"/>
                </a:rPr>
                <a:t>Build automation &amp; user request handling</a:t>
              </a:r>
            </a:p>
          </p:txBody>
        </p:sp>
        <p:pic>
          <p:nvPicPr>
            <p:cNvPr id="44" name="Picture 8" descr="\\MAGNUM\Projects\Microsoft\Cloud Power FY12\Design\Icons\PNGs\Cross Platform.png"/>
            <p:cNvPicPr>
              <a:picLocks noChangeAspect="1" noChangeArrowheads="1"/>
            </p:cNvPicPr>
            <p:nvPr/>
          </p:nvPicPr>
          <p:blipFill>
            <a:blip r:embed="rId16" cstate="print">
              <a:lum bright="100000"/>
            </a:blip>
            <a:stretch>
              <a:fillRect/>
            </a:stretch>
          </p:blipFill>
          <p:spPr bwMode="auto">
            <a:xfrm>
              <a:off x="8278672" y="1629452"/>
              <a:ext cx="1737360" cy="1737360"/>
            </a:xfrm>
            <a:prstGeom prst="rect">
              <a:avLst/>
            </a:prstGeom>
            <a:noFill/>
          </p:spPr>
        </p:pic>
      </p:grpSp>
      <p:sp>
        <p:nvSpPr>
          <p:cNvPr id="45" name="Rectangle 44"/>
          <p:cNvSpPr>
            <a:spLocks/>
          </p:cNvSpPr>
          <p:nvPr>
            <p:custDataLst>
              <p:tags r:id="rId6"/>
            </p:custDataLst>
          </p:nvPr>
        </p:nvSpPr>
        <p:spPr bwMode="auto">
          <a:xfrm>
            <a:off x="2813820" y="3143251"/>
            <a:ext cx="1920240" cy="1577340"/>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28" tIns="137172" rIns="91428" bIns="45714" numCol="1" rtlCol="0" anchor="t" anchorCtr="0" compatLnSpc="1">
            <a:prstTxWarp prst="textNoShape">
              <a:avLst/>
            </a:prstTxWarp>
            <a:noAutofit/>
          </a:bodyPr>
          <a:lstStyle/>
          <a:p>
            <a:pPr defTabSz="914045" fontAlgn="base">
              <a:lnSpc>
                <a:spcPct val="90000"/>
              </a:lnSpc>
              <a:spcBef>
                <a:spcPts val="630"/>
              </a:spcBef>
              <a:spcAft>
                <a:spcPct val="0"/>
              </a:spcAft>
              <a:buClr>
                <a:schemeClr val="bg2">
                  <a:lumMod val="75000"/>
                </a:schemeClr>
              </a:buClr>
              <a:buSzPct val="100000"/>
            </a:pPr>
            <a:r>
              <a:rPr lang="en-US" sz="1200" dirty="0">
                <a:ln>
                  <a:solidFill>
                    <a:srgbClr val="FFFFFF">
                      <a:alpha val="0"/>
                    </a:srgbClr>
                  </a:solidFill>
                </a:ln>
                <a:solidFill>
                  <a:srgbClr val="FFFFFF">
                    <a:alpha val="99000"/>
                  </a:srgbClr>
                </a:solidFill>
                <a:cs typeface="Segoe UI" pitchFamily="34" charset="0"/>
              </a:rPr>
              <a:t>System Center 2012</a:t>
            </a:r>
          </a:p>
          <a:p>
            <a:pPr marL="213142" indent="-123837" defTabSz="914045" fontAlgn="base">
              <a:lnSpc>
                <a:spcPct val="90000"/>
              </a:lnSpc>
              <a:spcBef>
                <a:spcPts val="630"/>
              </a:spcBef>
              <a:spcAft>
                <a:spcPct val="0"/>
              </a:spcAft>
              <a:buClr>
                <a:schemeClr val="bg2">
                  <a:lumMod val="75000"/>
                </a:schemeClr>
              </a:buClr>
              <a:buSzPct val="100000"/>
              <a:buFont typeface="Arial" pitchFamily="34" charset="0"/>
              <a:buChar char="•"/>
            </a:pPr>
            <a:r>
              <a:rPr lang="en-US" sz="1200" dirty="0">
                <a:ln>
                  <a:solidFill>
                    <a:srgbClr val="FFFFFF">
                      <a:alpha val="0"/>
                    </a:srgbClr>
                  </a:solidFill>
                </a:ln>
                <a:solidFill>
                  <a:srgbClr val="FFFFFF">
                    <a:alpha val="99000"/>
                  </a:srgbClr>
                </a:solidFill>
                <a:cs typeface="Segoe UI" pitchFamily="34" charset="0"/>
              </a:rPr>
              <a:t>Service Manager</a:t>
            </a:r>
          </a:p>
          <a:p>
            <a:pPr marL="213142" indent="-123837" defTabSz="914045" fontAlgn="base">
              <a:lnSpc>
                <a:spcPct val="90000"/>
              </a:lnSpc>
              <a:spcBef>
                <a:spcPts val="630"/>
              </a:spcBef>
              <a:spcAft>
                <a:spcPct val="0"/>
              </a:spcAft>
              <a:buClr>
                <a:schemeClr val="bg2">
                  <a:lumMod val="75000"/>
                </a:schemeClr>
              </a:buClr>
              <a:buSzPct val="100000"/>
              <a:buFont typeface="Arial" pitchFamily="34" charset="0"/>
              <a:buChar char="•"/>
            </a:pPr>
            <a:r>
              <a:rPr lang="en-US" sz="1200" dirty="0">
                <a:ln>
                  <a:solidFill>
                    <a:srgbClr val="FFFFFF">
                      <a:alpha val="0"/>
                    </a:srgbClr>
                  </a:solidFill>
                </a:ln>
                <a:solidFill>
                  <a:srgbClr val="FFFFFF">
                    <a:alpha val="99000"/>
                  </a:srgbClr>
                </a:solidFill>
                <a:cs typeface="Segoe UI" pitchFamily="34" charset="0"/>
              </a:rPr>
              <a:t>Orchestrator</a:t>
            </a:r>
          </a:p>
          <a:p>
            <a:pPr marL="213142" indent="-123837" defTabSz="914045" fontAlgn="base">
              <a:lnSpc>
                <a:spcPct val="90000"/>
              </a:lnSpc>
              <a:spcBef>
                <a:spcPts val="630"/>
              </a:spcBef>
              <a:spcAft>
                <a:spcPct val="0"/>
              </a:spcAft>
              <a:buClr>
                <a:schemeClr val="bg2">
                  <a:lumMod val="75000"/>
                </a:schemeClr>
              </a:buClr>
              <a:buSzPct val="100000"/>
              <a:buFont typeface="Arial" pitchFamily="34" charset="0"/>
              <a:buChar char="•"/>
            </a:pPr>
            <a:r>
              <a:rPr lang="en-US" sz="1200" dirty="0">
                <a:ln>
                  <a:solidFill>
                    <a:srgbClr val="FFFFFF">
                      <a:alpha val="0"/>
                    </a:srgbClr>
                  </a:solidFill>
                </a:ln>
                <a:solidFill>
                  <a:srgbClr val="FFFFFF">
                    <a:alpha val="99000"/>
                  </a:srgbClr>
                </a:solidFill>
                <a:cs typeface="Segoe UI" pitchFamily="34" charset="0"/>
              </a:rPr>
              <a:t>App Controller</a:t>
            </a:r>
          </a:p>
          <a:p>
            <a:pPr marL="213142" indent="-123837" defTabSz="914045" fontAlgn="base">
              <a:lnSpc>
                <a:spcPct val="90000"/>
              </a:lnSpc>
              <a:spcBef>
                <a:spcPts val="630"/>
              </a:spcBef>
              <a:spcAft>
                <a:spcPct val="0"/>
              </a:spcAft>
              <a:buClr>
                <a:schemeClr val="bg2">
                  <a:lumMod val="75000"/>
                </a:schemeClr>
              </a:buClr>
              <a:buSzPct val="100000"/>
              <a:buFont typeface="Arial" pitchFamily="34" charset="0"/>
              <a:buChar char="•"/>
            </a:pPr>
            <a:r>
              <a:rPr lang="en-US" sz="1200" dirty="0">
                <a:ln>
                  <a:solidFill>
                    <a:srgbClr val="FFFFFF">
                      <a:alpha val="0"/>
                    </a:srgbClr>
                  </a:solidFill>
                </a:ln>
                <a:solidFill>
                  <a:srgbClr val="FFFFFF">
                    <a:alpha val="99000"/>
                  </a:srgbClr>
                </a:solidFill>
                <a:cs typeface="Segoe UI" pitchFamily="34" charset="0"/>
              </a:rPr>
              <a:t>Virtual Machine Manager</a:t>
            </a:r>
          </a:p>
        </p:txBody>
      </p:sp>
      <p:sp>
        <p:nvSpPr>
          <p:cNvPr id="21"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4"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7"/>
              </a:rPr>
              <a:t>www.rapidbbs.cn</a:t>
            </a:r>
            <a:endParaRPr lang="zh-CN" altLang="en-US" sz="1200" b="0">
              <a:latin typeface="Arial" charset="0"/>
              <a:ea typeface="ＭＳ Ｐゴシック" pitchFamily="34" charset="-128"/>
            </a:endParaRPr>
          </a:p>
        </p:txBody>
      </p:sp>
      <p:pic>
        <p:nvPicPr>
          <p:cNvPr id="25" name="Picture 2">
            <a:hlinkClick r:id="rId17"/>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44375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55"/>
                                        </p:tgtEl>
                                        <p:attrNameLst>
                                          <p:attrName>style.visibility</p:attrName>
                                        </p:attrNameLst>
                                      </p:cBhvr>
                                      <p:to>
                                        <p:strVal val="visible"/>
                                      </p:to>
                                    </p:set>
                                    <p:anim calcmode="lin" valueType="num">
                                      <p:cBhvr additive="base">
                                        <p:cTn id="7" dur="700" fill="hold"/>
                                        <p:tgtEl>
                                          <p:spTgt spid="55"/>
                                        </p:tgtEl>
                                        <p:attrNameLst>
                                          <p:attrName>ppt_x</p:attrName>
                                        </p:attrNameLst>
                                      </p:cBhvr>
                                      <p:tavLst>
                                        <p:tav tm="0">
                                          <p:val>
                                            <p:strVal val="#ppt_x"/>
                                          </p:val>
                                        </p:tav>
                                        <p:tav tm="100000">
                                          <p:val>
                                            <p:strVal val="#ppt_x"/>
                                          </p:val>
                                        </p:tav>
                                      </p:tavLst>
                                    </p:anim>
                                    <p:anim calcmode="lin" valueType="num">
                                      <p:cBhvr additive="base">
                                        <p:cTn id="8" dur="700" fill="hold"/>
                                        <p:tgtEl>
                                          <p:spTgt spid="55"/>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0"/>
                                  </p:stCondLst>
                                  <p:childTnLst>
                                    <p:set>
                                      <p:cBhvr>
                                        <p:cTn id="10" dur="1" fill="hold">
                                          <p:stCondLst>
                                            <p:cond delay="0"/>
                                          </p:stCondLst>
                                        </p:cTn>
                                        <p:tgtEl>
                                          <p:spTgt spid="56"/>
                                        </p:tgtEl>
                                        <p:attrNameLst>
                                          <p:attrName>style.visibility</p:attrName>
                                        </p:attrNameLst>
                                      </p:cBhvr>
                                      <p:to>
                                        <p:strVal val="visible"/>
                                      </p:to>
                                    </p:set>
                                    <p:anim calcmode="lin" valueType="num">
                                      <p:cBhvr additive="base">
                                        <p:cTn id="11" dur="700" fill="hold"/>
                                        <p:tgtEl>
                                          <p:spTgt spid="56"/>
                                        </p:tgtEl>
                                        <p:attrNameLst>
                                          <p:attrName>ppt_x</p:attrName>
                                        </p:attrNameLst>
                                      </p:cBhvr>
                                      <p:tavLst>
                                        <p:tav tm="0">
                                          <p:val>
                                            <p:strVal val="#ppt_x"/>
                                          </p:val>
                                        </p:tav>
                                        <p:tav tm="100000">
                                          <p:val>
                                            <p:strVal val="#ppt_x"/>
                                          </p:val>
                                        </p:tav>
                                      </p:tavLst>
                                    </p:anim>
                                    <p:anim calcmode="lin" valueType="num">
                                      <p:cBhvr additive="base">
                                        <p:cTn id="12" dur="700" fill="hold"/>
                                        <p:tgtEl>
                                          <p:spTgt spid="56"/>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28"/>
                                        </p:tgtEl>
                                        <p:attrNameLst>
                                          <p:attrName>style.visibility</p:attrName>
                                        </p:attrNameLst>
                                      </p:cBhvr>
                                      <p:to>
                                        <p:strVal val="visible"/>
                                      </p:to>
                                    </p:set>
                                    <p:anim calcmode="lin" valueType="num">
                                      <p:cBhvr additive="base">
                                        <p:cTn id="15" dur="700" fill="hold"/>
                                        <p:tgtEl>
                                          <p:spTgt spid="28"/>
                                        </p:tgtEl>
                                        <p:attrNameLst>
                                          <p:attrName>ppt_x</p:attrName>
                                        </p:attrNameLst>
                                      </p:cBhvr>
                                      <p:tavLst>
                                        <p:tav tm="0">
                                          <p:val>
                                            <p:strVal val="#ppt_x"/>
                                          </p:val>
                                        </p:tav>
                                        <p:tav tm="100000">
                                          <p:val>
                                            <p:strVal val="#ppt_x"/>
                                          </p:val>
                                        </p:tav>
                                      </p:tavLst>
                                    </p:anim>
                                    <p:anim calcmode="lin" valueType="num">
                                      <p:cBhvr additive="base">
                                        <p:cTn id="16" dur="700" fill="hold"/>
                                        <p:tgtEl>
                                          <p:spTgt spid="28"/>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26"/>
                                        </p:tgtEl>
                                        <p:attrNameLst>
                                          <p:attrName>style.visibility</p:attrName>
                                        </p:attrNameLst>
                                      </p:cBhvr>
                                      <p:to>
                                        <p:strVal val="visible"/>
                                      </p:to>
                                    </p:set>
                                    <p:anim calcmode="lin" valueType="num">
                                      <p:cBhvr additive="base">
                                        <p:cTn id="19" dur="700" fill="hold"/>
                                        <p:tgtEl>
                                          <p:spTgt spid="26"/>
                                        </p:tgtEl>
                                        <p:attrNameLst>
                                          <p:attrName>ppt_x</p:attrName>
                                        </p:attrNameLst>
                                      </p:cBhvr>
                                      <p:tavLst>
                                        <p:tav tm="0">
                                          <p:val>
                                            <p:strVal val="#ppt_x"/>
                                          </p:val>
                                        </p:tav>
                                        <p:tav tm="100000">
                                          <p:val>
                                            <p:strVal val="#ppt_x"/>
                                          </p:val>
                                        </p:tav>
                                      </p:tavLst>
                                    </p:anim>
                                    <p:anim calcmode="lin" valueType="num">
                                      <p:cBhvr additive="base">
                                        <p:cTn id="20" dur="700" fill="hold"/>
                                        <p:tgtEl>
                                          <p:spTgt spid="26"/>
                                        </p:tgtEl>
                                        <p:attrNameLst>
                                          <p:attrName>ppt_y</p:attrName>
                                        </p:attrNameLst>
                                      </p:cBhvr>
                                      <p:tavLst>
                                        <p:tav tm="0">
                                          <p:val>
                                            <p:strVal val="1+#ppt_h/2"/>
                                          </p:val>
                                        </p:tav>
                                        <p:tav tm="100000">
                                          <p:val>
                                            <p:strVal val="#ppt_y"/>
                                          </p:val>
                                        </p:tav>
                                      </p:tavLst>
                                    </p:anim>
                                  </p:childTnLst>
                                </p:cTn>
                              </p:par>
                              <p:par>
                                <p:cTn id="21" presetID="2" presetClass="entr" presetSubtype="4" decel="100000" fill="hold" nodeType="withEffect">
                                  <p:stCondLst>
                                    <p:cond delay="700"/>
                                  </p:stCondLst>
                                  <p:childTnLst>
                                    <p:set>
                                      <p:cBhvr>
                                        <p:cTn id="22" dur="1" fill="hold">
                                          <p:stCondLst>
                                            <p:cond delay="0"/>
                                          </p:stCondLst>
                                        </p:cTn>
                                        <p:tgtEl>
                                          <p:spTgt spid="41"/>
                                        </p:tgtEl>
                                        <p:attrNameLst>
                                          <p:attrName>style.visibility</p:attrName>
                                        </p:attrNameLst>
                                      </p:cBhvr>
                                      <p:to>
                                        <p:strVal val="visible"/>
                                      </p:to>
                                    </p:set>
                                    <p:anim calcmode="lin" valueType="num">
                                      <p:cBhvr additive="base">
                                        <p:cTn id="23" dur="700" fill="hold"/>
                                        <p:tgtEl>
                                          <p:spTgt spid="41"/>
                                        </p:tgtEl>
                                        <p:attrNameLst>
                                          <p:attrName>ppt_x</p:attrName>
                                        </p:attrNameLst>
                                      </p:cBhvr>
                                      <p:tavLst>
                                        <p:tav tm="0">
                                          <p:val>
                                            <p:strVal val="#ppt_x"/>
                                          </p:val>
                                        </p:tav>
                                        <p:tav tm="100000">
                                          <p:val>
                                            <p:strVal val="#ppt_x"/>
                                          </p:val>
                                        </p:tav>
                                      </p:tavLst>
                                    </p:anim>
                                    <p:anim calcmode="lin" valueType="num">
                                      <p:cBhvr additive="base">
                                        <p:cTn id="24" dur="700" fill="hold"/>
                                        <p:tgtEl>
                                          <p:spTgt spid="41"/>
                                        </p:tgtEl>
                                        <p:attrNameLst>
                                          <p:attrName>ppt_y</p:attrName>
                                        </p:attrNameLst>
                                      </p:cBhvr>
                                      <p:tavLst>
                                        <p:tav tm="0">
                                          <p:val>
                                            <p:strVal val="1+#ppt_h/2"/>
                                          </p:val>
                                        </p:tav>
                                        <p:tav tm="100000">
                                          <p:val>
                                            <p:strVal val="#ppt_y"/>
                                          </p:val>
                                        </p:tav>
                                      </p:tavLst>
                                    </p:anim>
                                  </p:childTnLst>
                                </p:cTn>
                              </p:par>
                              <p:par>
                                <p:cTn id="25" presetID="2" presetClass="entr" presetSubtype="4" decel="100000" fill="hold" grpId="0" nodeType="withEffect">
                                  <p:stCondLst>
                                    <p:cond delay="700"/>
                                  </p:stCondLst>
                                  <p:childTnLst>
                                    <p:set>
                                      <p:cBhvr>
                                        <p:cTn id="26" dur="1" fill="hold">
                                          <p:stCondLst>
                                            <p:cond delay="0"/>
                                          </p:stCondLst>
                                        </p:cTn>
                                        <p:tgtEl>
                                          <p:spTgt spid="45"/>
                                        </p:tgtEl>
                                        <p:attrNameLst>
                                          <p:attrName>style.visibility</p:attrName>
                                        </p:attrNameLst>
                                      </p:cBhvr>
                                      <p:to>
                                        <p:strVal val="visible"/>
                                      </p:to>
                                    </p:set>
                                    <p:anim calcmode="lin" valueType="num">
                                      <p:cBhvr additive="base">
                                        <p:cTn id="27" dur="700" fill="hold"/>
                                        <p:tgtEl>
                                          <p:spTgt spid="45"/>
                                        </p:tgtEl>
                                        <p:attrNameLst>
                                          <p:attrName>ppt_x</p:attrName>
                                        </p:attrNameLst>
                                      </p:cBhvr>
                                      <p:tavLst>
                                        <p:tav tm="0">
                                          <p:val>
                                            <p:strVal val="#ppt_x"/>
                                          </p:val>
                                        </p:tav>
                                        <p:tav tm="100000">
                                          <p:val>
                                            <p:strVal val="#ppt_x"/>
                                          </p:val>
                                        </p:tav>
                                      </p:tavLst>
                                    </p:anim>
                                    <p:anim calcmode="lin" valueType="num">
                                      <p:cBhvr additive="base">
                                        <p:cTn id="28" dur="700" fill="hold"/>
                                        <p:tgtEl>
                                          <p:spTgt spid="45"/>
                                        </p:tgtEl>
                                        <p:attrNameLst>
                                          <p:attrName>ppt_y</p:attrName>
                                        </p:attrNameLst>
                                      </p:cBhvr>
                                      <p:tavLst>
                                        <p:tav tm="0">
                                          <p:val>
                                            <p:strVal val="1+#ppt_h/2"/>
                                          </p:val>
                                        </p:tav>
                                        <p:tav tm="100000">
                                          <p:val>
                                            <p:strVal val="#ppt_y"/>
                                          </p:val>
                                        </p:tav>
                                      </p:tavLst>
                                    </p:anim>
                                  </p:childTnLst>
                                </p:cTn>
                              </p:par>
                              <p:par>
                                <p:cTn id="29" presetID="2" presetClass="entr" presetSubtype="4" decel="100000" fill="hold" nodeType="withEffect">
                                  <p:stCondLst>
                                    <p:cond delay="1400"/>
                                  </p:stCondLst>
                                  <p:childTnLst>
                                    <p:set>
                                      <p:cBhvr>
                                        <p:cTn id="30" dur="1" fill="hold">
                                          <p:stCondLst>
                                            <p:cond delay="0"/>
                                          </p:stCondLst>
                                        </p:cTn>
                                        <p:tgtEl>
                                          <p:spTgt spid="3"/>
                                        </p:tgtEl>
                                        <p:attrNameLst>
                                          <p:attrName>style.visibility</p:attrName>
                                        </p:attrNameLst>
                                      </p:cBhvr>
                                      <p:to>
                                        <p:strVal val="visible"/>
                                      </p:to>
                                    </p:set>
                                    <p:anim calcmode="lin" valueType="num">
                                      <p:cBhvr additive="base">
                                        <p:cTn id="31" dur="700" fill="hold"/>
                                        <p:tgtEl>
                                          <p:spTgt spid="3"/>
                                        </p:tgtEl>
                                        <p:attrNameLst>
                                          <p:attrName>ppt_x</p:attrName>
                                        </p:attrNameLst>
                                      </p:cBhvr>
                                      <p:tavLst>
                                        <p:tav tm="0">
                                          <p:val>
                                            <p:strVal val="#ppt_x"/>
                                          </p:val>
                                        </p:tav>
                                        <p:tav tm="100000">
                                          <p:val>
                                            <p:strVal val="#ppt_x"/>
                                          </p:val>
                                        </p:tav>
                                      </p:tavLst>
                                    </p:anim>
                                    <p:anim calcmode="lin" valueType="num">
                                      <p:cBhvr additive="base">
                                        <p:cTn id="32" dur="700" fill="hold"/>
                                        <p:tgtEl>
                                          <p:spTgt spid="3"/>
                                        </p:tgtEl>
                                        <p:attrNameLst>
                                          <p:attrName>ppt_y</p:attrName>
                                        </p:attrNameLst>
                                      </p:cBhvr>
                                      <p:tavLst>
                                        <p:tav tm="0">
                                          <p:val>
                                            <p:strVal val="1+#ppt_h/2"/>
                                          </p:val>
                                        </p:tav>
                                        <p:tav tm="100000">
                                          <p:val>
                                            <p:strVal val="#ppt_y"/>
                                          </p:val>
                                        </p:tav>
                                      </p:tavLst>
                                    </p:anim>
                                  </p:childTnLst>
                                </p:cTn>
                              </p:par>
                              <p:par>
                                <p:cTn id="33" presetID="2" presetClass="entr" presetSubtype="4" decel="100000" fill="hold" grpId="0" nodeType="withEffect">
                                  <p:stCondLst>
                                    <p:cond delay="1400"/>
                                  </p:stCondLst>
                                  <p:childTnLst>
                                    <p:set>
                                      <p:cBhvr>
                                        <p:cTn id="34" dur="1" fill="hold">
                                          <p:stCondLst>
                                            <p:cond delay="0"/>
                                          </p:stCondLst>
                                        </p:cTn>
                                        <p:tgtEl>
                                          <p:spTgt spid="18"/>
                                        </p:tgtEl>
                                        <p:attrNameLst>
                                          <p:attrName>style.visibility</p:attrName>
                                        </p:attrNameLst>
                                      </p:cBhvr>
                                      <p:to>
                                        <p:strVal val="visible"/>
                                      </p:to>
                                    </p:set>
                                    <p:anim calcmode="lin" valueType="num">
                                      <p:cBhvr additive="base">
                                        <p:cTn id="35" dur="700" fill="hold"/>
                                        <p:tgtEl>
                                          <p:spTgt spid="18"/>
                                        </p:tgtEl>
                                        <p:attrNameLst>
                                          <p:attrName>ppt_x</p:attrName>
                                        </p:attrNameLst>
                                      </p:cBhvr>
                                      <p:tavLst>
                                        <p:tav tm="0">
                                          <p:val>
                                            <p:strVal val="#ppt_x"/>
                                          </p:val>
                                        </p:tav>
                                        <p:tav tm="100000">
                                          <p:val>
                                            <p:strVal val="#ppt_x"/>
                                          </p:val>
                                        </p:tav>
                                      </p:tavLst>
                                    </p:anim>
                                    <p:anim calcmode="lin" valueType="num">
                                      <p:cBhvr additive="base">
                                        <p:cTn id="36" dur="700" fill="hold"/>
                                        <p:tgtEl>
                                          <p:spTgt spid="18"/>
                                        </p:tgtEl>
                                        <p:attrNameLst>
                                          <p:attrName>ppt_y</p:attrName>
                                        </p:attrNameLst>
                                      </p:cBhvr>
                                      <p:tavLst>
                                        <p:tav tm="0">
                                          <p:val>
                                            <p:strVal val="1+#ppt_h/2"/>
                                          </p:val>
                                        </p:tav>
                                        <p:tav tm="100000">
                                          <p:val>
                                            <p:strVal val="#ppt_y"/>
                                          </p:val>
                                        </p:tav>
                                      </p:tavLst>
                                    </p:anim>
                                  </p:childTnLst>
                                </p:cTn>
                              </p:par>
                              <p:par>
                                <p:cTn id="37" presetID="2" presetClass="entr" presetSubtype="4" decel="100000" fill="hold" nodeType="withEffect">
                                  <p:stCondLst>
                                    <p:cond delay="2100"/>
                                  </p:stCondLst>
                                  <p:childTnLst>
                                    <p:set>
                                      <p:cBhvr>
                                        <p:cTn id="38" dur="1" fill="hold">
                                          <p:stCondLst>
                                            <p:cond delay="0"/>
                                          </p:stCondLst>
                                        </p:cTn>
                                        <p:tgtEl>
                                          <p:spTgt spid="4"/>
                                        </p:tgtEl>
                                        <p:attrNameLst>
                                          <p:attrName>style.visibility</p:attrName>
                                        </p:attrNameLst>
                                      </p:cBhvr>
                                      <p:to>
                                        <p:strVal val="visible"/>
                                      </p:to>
                                    </p:set>
                                    <p:anim calcmode="lin" valueType="num">
                                      <p:cBhvr additive="base">
                                        <p:cTn id="39" dur="700" fill="hold"/>
                                        <p:tgtEl>
                                          <p:spTgt spid="4"/>
                                        </p:tgtEl>
                                        <p:attrNameLst>
                                          <p:attrName>ppt_x</p:attrName>
                                        </p:attrNameLst>
                                      </p:cBhvr>
                                      <p:tavLst>
                                        <p:tav tm="0">
                                          <p:val>
                                            <p:strVal val="#ppt_x"/>
                                          </p:val>
                                        </p:tav>
                                        <p:tav tm="100000">
                                          <p:val>
                                            <p:strVal val="#ppt_x"/>
                                          </p:val>
                                        </p:tav>
                                      </p:tavLst>
                                    </p:anim>
                                    <p:anim calcmode="lin" valueType="num">
                                      <p:cBhvr additive="base">
                                        <p:cTn id="40" dur="700" fill="hold"/>
                                        <p:tgtEl>
                                          <p:spTgt spid="4"/>
                                        </p:tgtEl>
                                        <p:attrNameLst>
                                          <p:attrName>ppt_y</p:attrName>
                                        </p:attrNameLst>
                                      </p:cBhvr>
                                      <p:tavLst>
                                        <p:tav tm="0">
                                          <p:val>
                                            <p:strVal val="1+#ppt_h/2"/>
                                          </p:val>
                                        </p:tav>
                                        <p:tav tm="100000">
                                          <p:val>
                                            <p:strVal val="#ppt_y"/>
                                          </p:val>
                                        </p:tav>
                                      </p:tavLst>
                                    </p:anim>
                                  </p:childTnLst>
                                </p:cTn>
                              </p:par>
                              <p:par>
                                <p:cTn id="41" presetID="2" presetClass="entr" presetSubtype="4" decel="100000" fill="hold" grpId="0" nodeType="withEffect">
                                  <p:stCondLst>
                                    <p:cond delay="2100"/>
                                  </p:stCondLst>
                                  <p:childTnLst>
                                    <p:set>
                                      <p:cBhvr>
                                        <p:cTn id="42" dur="1" fill="hold">
                                          <p:stCondLst>
                                            <p:cond delay="0"/>
                                          </p:stCondLst>
                                        </p:cTn>
                                        <p:tgtEl>
                                          <p:spTgt spid="23"/>
                                        </p:tgtEl>
                                        <p:attrNameLst>
                                          <p:attrName>style.visibility</p:attrName>
                                        </p:attrNameLst>
                                      </p:cBhvr>
                                      <p:to>
                                        <p:strVal val="visible"/>
                                      </p:to>
                                    </p:set>
                                    <p:anim calcmode="lin" valueType="num">
                                      <p:cBhvr additive="base">
                                        <p:cTn id="43" dur="700" fill="hold"/>
                                        <p:tgtEl>
                                          <p:spTgt spid="23"/>
                                        </p:tgtEl>
                                        <p:attrNameLst>
                                          <p:attrName>ppt_x</p:attrName>
                                        </p:attrNameLst>
                                      </p:cBhvr>
                                      <p:tavLst>
                                        <p:tav tm="0">
                                          <p:val>
                                            <p:strVal val="#ppt_x"/>
                                          </p:val>
                                        </p:tav>
                                        <p:tav tm="100000">
                                          <p:val>
                                            <p:strVal val="#ppt_x"/>
                                          </p:val>
                                        </p:tav>
                                      </p:tavLst>
                                    </p:anim>
                                    <p:anim calcmode="lin" valueType="num">
                                      <p:cBhvr additive="base">
                                        <p:cTn id="44" dur="700" fill="hold"/>
                                        <p:tgtEl>
                                          <p:spTgt spid="2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23" grpId="0" animBg="1"/>
      <p:bldP spid="55" grpId="0" animBg="1"/>
      <p:bldP spid="56" grpId="0" animBg="1"/>
      <p:bldP spid="26" grpId="0" animBg="1"/>
      <p:bldP spid="45"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cons</a:t>
            </a:r>
            <a:endParaRPr lang="en-US" dirty="0"/>
          </a:p>
        </p:txBody>
      </p:sp>
      <p:sp>
        <p:nvSpPr>
          <p:cNvPr id="91" name="Rectangle 90"/>
          <p:cNvSpPr>
            <a:spLocks noChangeAspect="1"/>
          </p:cNvSpPr>
          <p:nvPr/>
        </p:nvSpPr>
        <p:spPr bwMode="auto">
          <a:xfrm>
            <a:off x="5813701" y="2253432"/>
            <a:ext cx="848154" cy="85039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6" tIns="34286" rIns="34286" bIns="34286" numCol="1" spcCol="0" rtlCol="0" fromWordArt="0" anchor="ctr" anchorCtr="0" forceAA="0" compatLnSpc="1">
            <a:prstTxWarp prst="textNoShape">
              <a:avLst/>
            </a:prstTxWarp>
            <a:noAutofit/>
          </a:bodyPr>
          <a:lstStyle/>
          <a:p>
            <a:pPr algn="ctr" defTabSz="68549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2" name="Rectangle 91"/>
          <p:cNvSpPr>
            <a:spLocks noChangeAspect="1"/>
          </p:cNvSpPr>
          <p:nvPr/>
        </p:nvSpPr>
        <p:spPr bwMode="auto">
          <a:xfrm>
            <a:off x="4910309" y="2253432"/>
            <a:ext cx="848154" cy="85039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6" tIns="34286" rIns="34286" bIns="34286" numCol="1" spcCol="0" rtlCol="0" fromWordArt="0" anchor="ctr" anchorCtr="0" forceAA="0" compatLnSpc="1">
            <a:prstTxWarp prst="textNoShape">
              <a:avLst/>
            </a:prstTxWarp>
            <a:noAutofit/>
          </a:bodyPr>
          <a:lstStyle/>
          <a:p>
            <a:pPr algn="ctr" defTabSz="68549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3" name="Rectangle 92"/>
          <p:cNvSpPr>
            <a:spLocks noChangeAspect="1"/>
          </p:cNvSpPr>
          <p:nvPr/>
        </p:nvSpPr>
        <p:spPr bwMode="auto">
          <a:xfrm>
            <a:off x="4006917" y="2253432"/>
            <a:ext cx="848154" cy="85039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6" tIns="34286" rIns="34286" bIns="34286" numCol="1" spcCol="0" rtlCol="0" fromWordArt="0" anchor="ctr" anchorCtr="0" forceAA="0" compatLnSpc="1">
            <a:prstTxWarp prst="textNoShape">
              <a:avLst/>
            </a:prstTxWarp>
            <a:noAutofit/>
          </a:bodyPr>
          <a:lstStyle/>
          <a:p>
            <a:pPr algn="ctr" defTabSz="68549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4" name="Rectangle 93"/>
          <p:cNvSpPr>
            <a:spLocks noChangeAspect="1"/>
          </p:cNvSpPr>
          <p:nvPr/>
        </p:nvSpPr>
        <p:spPr bwMode="auto">
          <a:xfrm>
            <a:off x="3103525" y="2253432"/>
            <a:ext cx="848154" cy="85039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6" tIns="34286" rIns="34286" bIns="34286" numCol="1" spcCol="0" rtlCol="0" fromWordArt="0" anchor="ctr" anchorCtr="0" forceAA="0" compatLnSpc="1">
            <a:prstTxWarp prst="textNoShape">
              <a:avLst/>
            </a:prstTxWarp>
            <a:noAutofit/>
          </a:bodyPr>
          <a:lstStyle/>
          <a:p>
            <a:pPr algn="ctr" defTabSz="68549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5" name="Rectangle 94"/>
          <p:cNvSpPr>
            <a:spLocks noChangeAspect="1"/>
          </p:cNvSpPr>
          <p:nvPr/>
        </p:nvSpPr>
        <p:spPr bwMode="auto">
          <a:xfrm>
            <a:off x="2200133" y="2253432"/>
            <a:ext cx="848154" cy="85039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6" tIns="34286" rIns="34286" bIns="34286" numCol="1" spcCol="0" rtlCol="0" fromWordArt="0" anchor="ctr" anchorCtr="0" forceAA="0" compatLnSpc="1">
            <a:prstTxWarp prst="textNoShape">
              <a:avLst/>
            </a:prstTxWarp>
            <a:noAutofit/>
          </a:bodyPr>
          <a:lstStyle/>
          <a:p>
            <a:pPr algn="ctr" defTabSz="68549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6" name="Rectangle 95"/>
          <p:cNvSpPr>
            <a:spLocks noChangeAspect="1"/>
          </p:cNvSpPr>
          <p:nvPr/>
        </p:nvSpPr>
        <p:spPr bwMode="auto">
          <a:xfrm>
            <a:off x="393349" y="2252900"/>
            <a:ext cx="848154" cy="85039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6" tIns="34286" rIns="34286" bIns="34286" numCol="1" spcCol="0" rtlCol="0" fromWordArt="0" anchor="ctr" anchorCtr="0" forceAA="0" compatLnSpc="1">
            <a:prstTxWarp prst="textNoShape">
              <a:avLst/>
            </a:prstTxWarp>
            <a:noAutofit/>
          </a:bodyPr>
          <a:lstStyle/>
          <a:p>
            <a:pPr algn="ctr" defTabSz="68549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7" name="Rectangle 96"/>
          <p:cNvSpPr>
            <a:spLocks noChangeAspect="1"/>
          </p:cNvSpPr>
          <p:nvPr/>
        </p:nvSpPr>
        <p:spPr bwMode="auto">
          <a:xfrm>
            <a:off x="1296741" y="2253432"/>
            <a:ext cx="848154" cy="85039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6" tIns="34286" rIns="34286" bIns="34286" numCol="1" spcCol="0" rtlCol="0" fromWordArt="0" anchor="ctr" anchorCtr="0" forceAA="0" compatLnSpc="1">
            <a:prstTxWarp prst="textNoShape">
              <a:avLst/>
            </a:prstTxWarp>
            <a:noAutofit/>
          </a:bodyPr>
          <a:lstStyle/>
          <a:p>
            <a:pPr algn="ctr" defTabSz="68549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5" name="Rectangle 104"/>
          <p:cNvSpPr>
            <a:spLocks noChangeAspect="1"/>
          </p:cNvSpPr>
          <p:nvPr/>
        </p:nvSpPr>
        <p:spPr bwMode="auto">
          <a:xfrm>
            <a:off x="7620485" y="2253432"/>
            <a:ext cx="848154" cy="85039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6" tIns="34286" rIns="34286" bIns="34286" numCol="1" spcCol="0" rtlCol="0" fromWordArt="0" anchor="ctr" anchorCtr="0" forceAA="0" compatLnSpc="1">
            <a:prstTxWarp prst="textNoShape">
              <a:avLst/>
            </a:prstTxWarp>
            <a:noAutofit/>
          </a:bodyPr>
          <a:lstStyle/>
          <a:p>
            <a:pPr algn="ctr" defTabSz="68549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6" name="Rectangle 105"/>
          <p:cNvSpPr>
            <a:spLocks noChangeAspect="1"/>
          </p:cNvSpPr>
          <p:nvPr/>
        </p:nvSpPr>
        <p:spPr bwMode="auto">
          <a:xfrm>
            <a:off x="6717093" y="2253432"/>
            <a:ext cx="848154" cy="85039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6" tIns="34286" rIns="34286" bIns="34286" numCol="1" spcCol="0" rtlCol="0" fromWordArt="0" anchor="ctr" anchorCtr="0" forceAA="0" compatLnSpc="1">
            <a:prstTxWarp prst="textNoShape">
              <a:avLst/>
            </a:prstTxWarp>
            <a:noAutofit/>
          </a:bodyPr>
          <a:lstStyle/>
          <a:p>
            <a:pPr algn="ctr" defTabSz="68549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9" name="Rectangle 108"/>
          <p:cNvSpPr>
            <a:spLocks noChangeAspect="1"/>
          </p:cNvSpPr>
          <p:nvPr/>
        </p:nvSpPr>
        <p:spPr bwMode="auto">
          <a:xfrm>
            <a:off x="5813701" y="3672657"/>
            <a:ext cx="848154" cy="85039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6" tIns="34286" rIns="34286" bIns="34286" numCol="1" spcCol="0" rtlCol="0" fromWordArt="0" anchor="ctr" anchorCtr="0" forceAA="0" compatLnSpc="1">
            <a:prstTxWarp prst="textNoShape">
              <a:avLst/>
            </a:prstTxWarp>
            <a:noAutofit/>
          </a:bodyPr>
          <a:lstStyle/>
          <a:p>
            <a:pPr algn="ctr" defTabSz="68549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0" name="Rectangle 109"/>
          <p:cNvSpPr>
            <a:spLocks noChangeAspect="1"/>
          </p:cNvSpPr>
          <p:nvPr/>
        </p:nvSpPr>
        <p:spPr bwMode="auto">
          <a:xfrm>
            <a:off x="4910309" y="3672657"/>
            <a:ext cx="848154" cy="85039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6" tIns="34286" rIns="34286" bIns="34286" numCol="1" spcCol="0" rtlCol="0" fromWordArt="0" anchor="ctr" anchorCtr="0" forceAA="0" compatLnSpc="1">
            <a:prstTxWarp prst="textNoShape">
              <a:avLst/>
            </a:prstTxWarp>
            <a:noAutofit/>
          </a:bodyPr>
          <a:lstStyle/>
          <a:p>
            <a:pPr algn="ctr" defTabSz="68549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1" name="Rectangle 110"/>
          <p:cNvSpPr>
            <a:spLocks noChangeAspect="1"/>
          </p:cNvSpPr>
          <p:nvPr/>
        </p:nvSpPr>
        <p:spPr bwMode="auto">
          <a:xfrm>
            <a:off x="4006917" y="3672657"/>
            <a:ext cx="848154" cy="85039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6" tIns="34286" rIns="34286" bIns="34286" numCol="1" spcCol="0" rtlCol="0" fromWordArt="0" anchor="ctr" anchorCtr="0" forceAA="0" compatLnSpc="1">
            <a:prstTxWarp prst="textNoShape">
              <a:avLst/>
            </a:prstTxWarp>
            <a:noAutofit/>
          </a:bodyPr>
          <a:lstStyle/>
          <a:p>
            <a:pPr algn="ctr" defTabSz="68549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2" name="Rectangle 111"/>
          <p:cNvSpPr>
            <a:spLocks noChangeAspect="1"/>
          </p:cNvSpPr>
          <p:nvPr/>
        </p:nvSpPr>
        <p:spPr bwMode="auto">
          <a:xfrm>
            <a:off x="3103525" y="3672657"/>
            <a:ext cx="848154" cy="85039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6" tIns="34286" rIns="34286" bIns="34286" numCol="1" spcCol="0" rtlCol="0" fromWordArt="0" anchor="ctr" anchorCtr="0" forceAA="0" compatLnSpc="1">
            <a:prstTxWarp prst="textNoShape">
              <a:avLst/>
            </a:prstTxWarp>
            <a:noAutofit/>
          </a:bodyPr>
          <a:lstStyle/>
          <a:p>
            <a:pPr algn="ctr" defTabSz="68549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3" name="Rectangle 112"/>
          <p:cNvSpPr>
            <a:spLocks noChangeAspect="1"/>
          </p:cNvSpPr>
          <p:nvPr/>
        </p:nvSpPr>
        <p:spPr bwMode="auto">
          <a:xfrm>
            <a:off x="2200133" y="3672657"/>
            <a:ext cx="848154" cy="85039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6" tIns="34286" rIns="34286" bIns="34286" numCol="1" spcCol="0" rtlCol="0" fromWordArt="0" anchor="ctr" anchorCtr="0" forceAA="0" compatLnSpc="1">
            <a:prstTxWarp prst="textNoShape">
              <a:avLst/>
            </a:prstTxWarp>
            <a:noAutofit/>
          </a:bodyPr>
          <a:lstStyle/>
          <a:p>
            <a:pPr algn="ctr" defTabSz="68549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4" name="Rectangle 113"/>
          <p:cNvSpPr>
            <a:spLocks noChangeAspect="1"/>
          </p:cNvSpPr>
          <p:nvPr/>
        </p:nvSpPr>
        <p:spPr bwMode="auto">
          <a:xfrm>
            <a:off x="393349" y="3672657"/>
            <a:ext cx="848154" cy="85039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6" tIns="34286" rIns="34286" bIns="34286" numCol="1" spcCol="0" rtlCol="0" fromWordArt="0" anchor="ctr" anchorCtr="0" forceAA="0" compatLnSpc="1">
            <a:prstTxWarp prst="textNoShape">
              <a:avLst/>
            </a:prstTxWarp>
            <a:noAutofit/>
          </a:bodyPr>
          <a:lstStyle/>
          <a:p>
            <a:pPr algn="ctr" defTabSz="68549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5" name="Rectangle 114"/>
          <p:cNvSpPr>
            <a:spLocks noChangeAspect="1"/>
          </p:cNvSpPr>
          <p:nvPr/>
        </p:nvSpPr>
        <p:spPr bwMode="auto">
          <a:xfrm>
            <a:off x="1296741" y="3672657"/>
            <a:ext cx="848154" cy="85039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6" tIns="34286" rIns="34286" bIns="34286" numCol="1" spcCol="0" rtlCol="0" fromWordArt="0" anchor="ctr" anchorCtr="0" forceAA="0" compatLnSpc="1">
            <a:prstTxWarp prst="textNoShape">
              <a:avLst/>
            </a:prstTxWarp>
            <a:noAutofit/>
          </a:bodyPr>
          <a:lstStyle/>
          <a:p>
            <a:pPr algn="ctr" defTabSz="68549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4" name="Rectangle 123"/>
          <p:cNvSpPr>
            <a:spLocks noChangeAspect="1"/>
          </p:cNvSpPr>
          <p:nvPr/>
        </p:nvSpPr>
        <p:spPr bwMode="auto">
          <a:xfrm>
            <a:off x="6717093" y="3672657"/>
            <a:ext cx="848154" cy="85039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6" tIns="34286" rIns="34286" bIns="34286" numCol="1" spcCol="0" rtlCol="0" fromWordArt="0" anchor="ctr" anchorCtr="0" forceAA="0" compatLnSpc="1">
            <a:prstTxWarp prst="textNoShape">
              <a:avLst/>
            </a:prstTxWarp>
            <a:noAutofit/>
          </a:bodyPr>
          <a:lstStyle/>
          <a:p>
            <a:pPr algn="ctr" defTabSz="68549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3" name="Rectangle 142"/>
          <p:cNvSpPr>
            <a:spLocks noChangeAspect="1"/>
          </p:cNvSpPr>
          <p:nvPr/>
        </p:nvSpPr>
        <p:spPr bwMode="auto">
          <a:xfrm>
            <a:off x="5813701" y="833144"/>
            <a:ext cx="848154" cy="85039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6" tIns="34286" rIns="34286" bIns="34286" numCol="1" spcCol="0" rtlCol="0" fromWordArt="0" anchor="ctr" anchorCtr="0" forceAA="0" compatLnSpc="1">
            <a:prstTxWarp prst="textNoShape">
              <a:avLst/>
            </a:prstTxWarp>
            <a:noAutofit/>
          </a:bodyPr>
          <a:lstStyle/>
          <a:p>
            <a:pPr algn="ctr" defTabSz="68549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4" name="Rectangle 143"/>
          <p:cNvSpPr>
            <a:spLocks noChangeAspect="1"/>
          </p:cNvSpPr>
          <p:nvPr/>
        </p:nvSpPr>
        <p:spPr bwMode="auto">
          <a:xfrm>
            <a:off x="4910309" y="833144"/>
            <a:ext cx="848154" cy="85039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6" tIns="34286" rIns="34286" bIns="34286" numCol="1" spcCol="0" rtlCol="0" fromWordArt="0" anchor="ctr" anchorCtr="0" forceAA="0" compatLnSpc="1">
            <a:prstTxWarp prst="textNoShape">
              <a:avLst/>
            </a:prstTxWarp>
            <a:noAutofit/>
          </a:bodyPr>
          <a:lstStyle/>
          <a:p>
            <a:pPr algn="ctr" defTabSz="68549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5" name="Rectangle 144"/>
          <p:cNvSpPr>
            <a:spLocks noChangeAspect="1"/>
          </p:cNvSpPr>
          <p:nvPr/>
        </p:nvSpPr>
        <p:spPr bwMode="auto">
          <a:xfrm>
            <a:off x="4006917" y="833144"/>
            <a:ext cx="848154" cy="85039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6" tIns="34286" rIns="34286" bIns="34286" numCol="1" spcCol="0" rtlCol="0" fromWordArt="0" anchor="ctr" anchorCtr="0" forceAA="0" compatLnSpc="1">
            <a:prstTxWarp prst="textNoShape">
              <a:avLst/>
            </a:prstTxWarp>
            <a:noAutofit/>
          </a:bodyPr>
          <a:lstStyle/>
          <a:p>
            <a:pPr algn="ctr" defTabSz="68549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6" name="Rectangle 145"/>
          <p:cNvSpPr>
            <a:spLocks noChangeAspect="1"/>
          </p:cNvSpPr>
          <p:nvPr/>
        </p:nvSpPr>
        <p:spPr bwMode="auto">
          <a:xfrm>
            <a:off x="3103525" y="833144"/>
            <a:ext cx="848154" cy="85039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6" tIns="34286" rIns="34286" bIns="34286" numCol="1" spcCol="0" rtlCol="0" fromWordArt="0" anchor="ctr" anchorCtr="0" forceAA="0" compatLnSpc="1">
            <a:prstTxWarp prst="textNoShape">
              <a:avLst/>
            </a:prstTxWarp>
            <a:noAutofit/>
          </a:bodyPr>
          <a:lstStyle/>
          <a:p>
            <a:pPr algn="ctr" defTabSz="68549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7" name="Rectangle 146"/>
          <p:cNvSpPr>
            <a:spLocks noChangeAspect="1"/>
          </p:cNvSpPr>
          <p:nvPr/>
        </p:nvSpPr>
        <p:spPr bwMode="auto">
          <a:xfrm>
            <a:off x="2200133" y="833144"/>
            <a:ext cx="848154" cy="85039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6" tIns="34286" rIns="34286" bIns="34286" numCol="1" spcCol="0" rtlCol="0" fromWordArt="0" anchor="ctr" anchorCtr="0" forceAA="0" compatLnSpc="1">
            <a:prstTxWarp prst="textNoShape">
              <a:avLst/>
            </a:prstTxWarp>
            <a:noAutofit/>
          </a:bodyPr>
          <a:lstStyle/>
          <a:p>
            <a:pPr algn="ctr" defTabSz="68549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8" name="Rectangle 147"/>
          <p:cNvSpPr>
            <a:spLocks noChangeAspect="1"/>
          </p:cNvSpPr>
          <p:nvPr/>
        </p:nvSpPr>
        <p:spPr bwMode="auto">
          <a:xfrm>
            <a:off x="393349" y="833144"/>
            <a:ext cx="848154" cy="85039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6" tIns="34286" rIns="34286" bIns="34286" numCol="1" spcCol="0" rtlCol="0" fromWordArt="0" anchor="ctr" anchorCtr="0" forceAA="0" compatLnSpc="1">
            <a:prstTxWarp prst="textNoShape">
              <a:avLst/>
            </a:prstTxWarp>
            <a:noAutofit/>
          </a:bodyPr>
          <a:lstStyle/>
          <a:p>
            <a:pPr algn="ctr" defTabSz="68549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9" name="Rectangle 148"/>
          <p:cNvSpPr>
            <a:spLocks noChangeAspect="1"/>
          </p:cNvSpPr>
          <p:nvPr/>
        </p:nvSpPr>
        <p:spPr bwMode="auto">
          <a:xfrm>
            <a:off x="1296741" y="833144"/>
            <a:ext cx="848154" cy="85039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6" tIns="34286" rIns="34286" bIns="34286" numCol="1" spcCol="0" rtlCol="0" fromWordArt="0" anchor="ctr" anchorCtr="0" forceAA="0" compatLnSpc="1">
            <a:prstTxWarp prst="textNoShape">
              <a:avLst/>
            </a:prstTxWarp>
            <a:noAutofit/>
          </a:bodyPr>
          <a:lstStyle/>
          <a:p>
            <a:pPr algn="ctr" defTabSz="68549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7" name="Rectangle 156"/>
          <p:cNvSpPr>
            <a:spLocks noChangeAspect="1"/>
          </p:cNvSpPr>
          <p:nvPr/>
        </p:nvSpPr>
        <p:spPr bwMode="auto">
          <a:xfrm>
            <a:off x="7620485" y="833144"/>
            <a:ext cx="848154" cy="85039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6" tIns="34286" rIns="34286" bIns="34286" numCol="1" spcCol="0" rtlCol="0" fromWordArt="0" anchor="ctr" anchorCtr="0" forceAA="0" compatLnSpc="1">
            <a:prstTxWarp prst="textNoShape">
              <a:avLst/>
            </a:prstTxWarp>
            <a:noAutofit/>
          </a:bodyPr>
          <a:lstStyle/>
          <a:p>
            <a:pPr algn="ctr" defTabSz="68549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8" name="Rectangle 157"/>
          <p:cNvSpPr>
            <a:spLocks noChangeAspect="1"/>
          </p:cNvSpPr>
          <p:nvPr/>
        </p:nvSpPr>
        <p:spPr bwMode="auto">
          <a:xfrm>
            <a:off x="6717093" y="833144"/>
            <a:ext cx="848154" cy="85039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6" tIns="34286" rIns="34286" bIns="34286" numCol="1" spcCol="0" rtlCol="0" fromWordArt="0" anchor="ctr" anchorCtr="0" forceAA="0" compatLnSpc="1">
            <a:prstTxWarp prst="textNoShape">
              <a:avLst/>
            </a:prstTxWarp>
            <a:noAutofit/>
          </a:bodyPr>
          <a:lstStyle/>
          <a:p>
            <a:pPr algn="ctr" defTabSz="68549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87" name="Freeform 68"/>
          <p:cNvSpPr>
            <a:spLocks noEditPoints="1"/>
          </p:cNvSpPr>
          <p:nvPr/>
        </p:nvSpPr>
        <p:spPr bwMode="auto">
          <a:xfrm>
            <a:off x="600099" y="1014101"/>
            <a:ext cx="434651" cy="488481"/>
          </a:xfrm>
          <a:custGeom>
            <a:avLst/>
            <a:gdLst>
              <a:gd name="T0" fmla="*/ 26 w 368"/>
              <a:gd name="T1" fmla="*/ 0 h 414"/>
              <a:gd name="T2" fmla="*/ 19 w 368"/>
              <a:gd name="T3" fmla="*/ 30 h 414"/>
              <a:gd name="T4" fmla="*/ 19 w 368"/>
              <a:gd name="T5" fmla="*/ 65 h 414"/>
              <a:gd name="T6" fmla="*/ 0 w 368"/>
              <a:gd name="T7" fmla="*/ 102 h 414"/>
              <a:gd name="T8" fmla="*/ 19 w 368"/>
              <a:gd name="T9" fmla="*/ 138 h 414"/>
              <a:gd name="T10" fmla="*/ 19 w 368"/>
              <a:gd name="T11" fmla="*/ 173 h 414"/>
              <a:gd name="T12" fmla="*/ 0 w 368"/>
              <a:gd name="T13" fmla="*/ 210 h 414"/>
              <a:gd name="T14" fmla="*/ 19 w 368"/>
              <a:gd name="T15" fmla="*/ 247 h 414"/>
              <a:gd name="T16" fmla="*/ 19 w 368"/>
              <a:gd name="T17" fmla="*/ 281 h 414"/>
              <a:gd name="T18" fmla="*/ 0 w 368"/>
              <a:gd name="T19" fmla="*/ 318 h 414"/>
              <a:gd name="T20" fmla="*/ 19 w 368"/>
              <a:gd name="T21" fmla="*/ 355 h 414"/>
              <a:gd name="T22" fmla="*/ 19 w 368"/>
              <a:gd name="T23" fmla="*/ 390 h 414"/>
              <a:gd name="T24" fmla="*/ 26 w 368"/>
              <a:gd name="T25" fmla="*/ 414 h 414"/>
              <a:gd name="T26" fmla="*/ 368 w 368"/>
              <a:gd name="T27" fmla="*/ 340 h 414"/>
              <a:gd name="T28" fmla="*/ 294 w 368"/>
              <a:gd name="T29" fmla="*/ 0 h 414"/>
              <a:gd name="T30" fmla="*/ 19 w 368"/>
              <a:gd name="T31" fmla="*/ 45 h 414"/>
              <a:gd name="T32" fmla="*/ 15 w 368"/>
              <a:gd name="T33" fmla="*/ 47 h 414"/>
              <a:gd name="T34" fmla="*/ 19 w 368"/>
              <a:gd name="T35" fmla="*/ 99 h 414"/>
              <a:gd name="T36" fmla="*/ 15 w 368"/>
              <a:gd name="T37" fmla="*/ 102 h 414"/>
              <a:gd name="T38" fmla="*/ 19 w 368"/>
              <a:gd name="T39" fmla="*/ 154 h 414"/>
              <a:gd name="T40" fmla="*/ 15 w 368"/>
              <a:gd name="T41" fmla="*/ 156 h 414"/>
              <a:gd name="T42" fmla="*/ 19 w 368"/>
              <a:gd name="T43" fmla="*/ 208 h 414"/>
              <a:gd name="T44" fmla="*/ 15 w 368"/>
              <a:gd name="T45" fmla="*/ 210 h 414"/>
              <a:gd name="T46" fmla="*/ 19 w 368"/>
              <a:gd name="T47" fmla="*/ 262 h 414"/>
              <a:gd name="T48" fmla="*/ 15 w 368"/>
              <a:gd name="T49" fmla="*/ 264 h 414"/>
              <a:gd name="T50" fmla="*/ 19 w 368"/>
              <a:gd name="T51" fmla="*/ 316 h 414"/>
              <a:gd name="T52" fmla="*/ 15 w 368"/>
              <a:gd name="T53" fmla="*/ 318 h 414"/>
              <a:gd name="T54" fmla="*/ 19 w 368"/>
              <a:gd name="T55" fmla="*/ 370 h 414"/>
              <a:gd name="T56" fmla="*/ 15 w 368"/>
              <a:gd name="T57" fmla="*/ 373 h 414"/>
              <a:gd name="T58" fmla="*/ 294 w 368"/>
              <a:gd name="T59" fmla="*/ 400 h 414"/>
              <a:gd name="T60" fmla="*/ 34 w 368"/>
              <a:gd name="T61" fmla="*/ 370 h 414"/>
              <a:gd name="T62" fmla="*/ 38 w 368"/>
              <a:gd name="T63" fmla="*/ 378 h 414"/>
              <a:gd name="T64" fmla="*/ 50 w 368"/>
              <a:gd name="T65" fmla="*/ 364 h 414"/>
              <a:gd name="T66" fmla="*/ 34 w 368"/>
              <a:gd name="T67" fmla="*/ 316 h 414"/>
              <a:gd name="T68" fmla="*/ 38 w 368"/>
              <a:gd name="T69" fmla="*/ 324 h 414"/>
              <a:gd name="T70" fmla="*/ 50 w 368"/>
              <a:gd name="T71" fmla="*/ 310 h 414"/>
              <a:gd name="T72" fmla="*/ 34 w 368"/>
              <a:gd name="T73" fmla="*/ 262 h 414"/>
              <a:gd name="T74" fmla="*/ 38 w 368"/>
              <a:gd name="T75" fmla="*/ 269 h 414"/>
              <a:gd name="T76" fmla="*/ 50 w 368"/>
              <a:gd name="T77" fmla="*/ 256 h 414"/>
              <a:gd name="T78" fmla="*/ 34 w 368"/>
              <a:gd name="T79" fmla="*/ 208 h 414"/>
              <a:gd name="T80" fmla="*/ 38 w 368"/>
              <a:gd name="T81" fmla="*/ 215 h 414"/>
              <a:gd name="T82" fmla="*/ 50 w 368"/>
              <a:gd name="T83" fmla="*/ 202 h 414"/>
              <a:gd name="T84" fmla="*/ 34 w 368"/>
              <a:gd name="T85" fmla="*/ 154 h 414"/>
              <a:gd name="T86" fmla="*/ 38 w 368"/>
              <a:gd name="T87" fmla="*/ 161 h 414"/>
              <a:gd name="T88" fmla="*/ 50 w 368"/>
              <a:gd name="T89" fmla="*/ 148 h 414"/>
              <a:gd name="T90" fmla="*/ 34 w 368"/>
              <a:gd name="T91" fmla="*/ 100 h 414"/>
              <a:gd name="T92" fmla="*/ 38 w 368"/>
              <a:gd name="T93" fmla="*/ 107 h 414"/>
              <a:gd name="T94" fmla="*/ 50 w 368"/>
              <a:gd name="T95" fmla="*/ 94 h 414"/>
              <a:gd name="T96" fmla="*/ 34 w 368"/>
              <a:gd name="T97" fmla="*/ 45 h 414"/>
              <a:gd name="T98" fmla="*/ 38 w 368"/>
              <a:gd name="T99" fmla="*/ 53 h 414"/>
              <a:gd name="T100" fmla="*/ 50 w 368"/>
              <a:gd name="T101" fmla="*/ 39 h 414"/>
              <a:gd name="T102" fmla="*/ 34 w 368"/>
              <a:gd name="T103" fmla="*/ 15 h 414"/>
              <a:gd name="T104" fmla="*/ 353 w 368"/>
              <a:gd name="T105" fmla="*/ 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68" h="414">
                <a:moveTo>
                  <a:pt x="294" y="0"/>
                </a:moveTo>
                <a:cubicBezTo>
                  <a:pt x="26" y="0"/>
                  <a:pt x="26" y="0"/>
                  <a:pt x="26" y="0"/>
                </a:cubicBezTo>
                <a:cubicBezTo>
                  <a:pt x="22" y="0"/>
                  <a:pt x="19" y="3"/>
                  <a:pt x="19" y="7"/>
                </a:cubicBezTo>
                <a:cubicBezTo>
                  <a:pt x="19" y="30"/>
                  <a:pt x="19" y="30"/>
                  <a:pt x="19" y="30"/>
                </a:cubicBezTo>
                <a:cubicBezTo>
                  <a:pt x="8" y="32"/>
                  <a:pt x="0" y="39"/>
                  <a:pt x="0" y="47"/>
                </a:cubicBezTo>
                <a:cubicBezTo>
                  <a:pt x="0" y="56"/>
                  <a:pt x="8" y="63"/>
                  <a:pt x="19" y="65"/>
                </a:cubicBezTo>
                <a:cubicBezTo>
                  <a:pt x="19" y="84"/>
                  <a:pt x="19" y="84"/>
                  <a:pt x="19" y="84"/>
                </a:cubicBezTo>
                <a:cubicBezTo>
                  <a:pt x="8" y="86"/>
                  <a:pt x="0" y="93"/>
                  <a:pt x="0" y="102"/>
                </a:cubicBezTo>
                <a:cubicBezTo>
                  <a:pt x="0" y="110"/>
                  <a:pt x="8" y="117"/>
                  <a:pt x="19" y="119"/>
                </a:cubicBezTo>
                <a:cubicBezTo>
                  <a:pt x="19" y="138"/>
                  <a:pt x="19" y="138"/>
                  <a:pt x="19" y="138"/>
                </a:cubicBezTo>
                <a:cubicBezTo>
                  <a:pt x="8" y="141"/>
                  <a:pt x="0" y="147"/>
                  <a:pt x="0" y="156"/>
                </a:cubicBezTo>
                <a:cubicBezTo>
                  <a:pt x="0" y="164"/>
                  <a:pt x="8" y="171"/>
                  <a:pt x="19" y="173"/>
                </a:cubicBezTo>
                <a:cubicBezTo>
                  <a:pt x="19" y="193"/>
                  <a:pt x="19" y="193"/>
                  <a:pt x="19" y="193"/>
                </a:cubicBezTo>
                <a:cubicBezTo>
                  <a:pt x="8" y="195"/>
                  <a:pt x="0" y="201"/>
                  <a:pt x="0" y="210"/>
                </a:cubicBezTo>
                <a:cubicBezTo>
                  <a:pt x="0" y="218"/>
                  <a:pt x="8" y="225"/>
                  <a:pt x="19" y="227"/>
                </a:cubicBezTo>
                <a:cubicBezTo>
                  <a:pt x="19" y="247"/>
                  <a:pt x="19" y="247"/>
                  <a:pt x="19" y="247"/>
                </a:cubicBezTo>
                <a:cubicBezTo>
                  <a:pt x="8" y="249"/>
                  <a:pt x="0" y="256"/>
                  <a:pt x="0" y="264"/>
                </a:cubicBezTo>
                <a:cubicBezTo>
                  <a:pt x="0" y="273"/>
                  <a:pt x="8" y="279"/>
                  <a:pt x="19" y="281"/>
                </a:cubicBezTo>
                <a:cubicBezTo>
                  <a:pt x="19" y="301"/>
                  <a:pt x="19" y="301"/>
                  <a:pt x="19" y="301"/>
                </a:cubicBezTo>
                <a:cubicBezTo>
                  <a:pt x="8" y="303"/>
                  <a:pt x="0" y="310"/>
                  <a:pt x="0" y="318"/>
                </a:cubicBezTo>
                <a:cubicBezTo>
                  <a:pt x="0" y="327"/>
                  <a:pt x="8" y="334"/>
                  <a:pt x="19" y="336"/>
                </a:cubicBezTo>
                <a:cubicBezTo>
                  <a:pt x="19" y="355"/>
                  <a:pt x="19" y="355"/>
                  <a:pt x="19" y="355"/>
                </a:cubicBezTo>
                <a:cubicBezTo>
                  <a:pt x="8" y="357"/>
                  <a:pt x="0" y="364"/>
                  <a:pt x="0" y="373"/>
                </a:cubicBezTo>
                <a:cubicBezTo>
                  <a:pt x="0" y="381"/>
                  <a:pt x="8" y="388"/>
                  <a:pt x="19" y="390"/>
                </a:cubicBezTo>
                <a:cubicBezTo>
                  <a:pt x="19" y="407"/>
                  <a:pt x="19" y="407"/>
                  <a:pt x="19" y="407"/>
                </a:cubicBezTo>
                <a:cubicBezTo>
                  <a:pt x="19" y="411"/>
                  <a:pt x="22" y="414"/>
                  <a:pt x="26" y="414"/>
                </a:cubicBezTo>
                <a:cubicBezTo>
                  <a:pt x="294" y="414"/>
                  <a:pt x="294" y="414"/>
                  <a:pt x="294" y="414"/>
                </a:cubicBezTo>
                <a:cubicBezTo>
                  <a:pt x="335" y="414"/>
                  <a:pt x="368" y="381"/>
                  <a:pt x="368" y="340"/>
                </a:cubicBezTo>
                <a:cubicBezTo>
                  <a:pt x="368" y="74"/>
                  <a:pt x="368" y="74"/>
                  <a:pt x="368" y="74"/>
                </a:cubicBezTo>
                <a:cubicBezTo>
                  <a:pt x="368" y="33"/>
                  <a:pt x="335" y="0"/>
                  <a:pt x="294" y="0"/>
                </a:cubicBezTo>
                <a:close/>
                <a:moveTo>
                  <a:pt x="15" y="47"/>
                </a:moveTo>
                <a:cubicBezTo>
                  <a:pt x="15" y="47"/>
                  <a:pt x="17" y="46"/>
                  <a:pt x="19" y="45"/>
                </a:cubicBezTo>
                <a:cubicBezTo>
                  <a:pt x="19" y="50"/>
                  <a:pt x="19" y="50"/>
                  <a:pt x="19" y="50"/>
                </a:cubicBezTo>
                <a:cubicBezTo>
                  <a:pt x="17" y="49"/>
                  <a:pt x="15" y="48"/>
                  <a:pt x="15" y="47"/>
                </a:cubicBezTo>
                <a:close/>
                <a:moveTo>
                  <a:pt x="15" y="102"/>
                </a:moveTo>
                <a:cubicBezTo>
                  <a:pt x="15" y="101"/>
                  <a:pt x="17" y="100"/>
                  <a:pt x="19" y="99"/>
                </a:cubicBezTo>
                <a:cubicBezTo>
                  <a:pt x="19" y="104"/>
                  <a:pt x="19" y="104"/>
                  <a:pt x="19" y="104"/>
                </a:cubicBezTo>
                <a:cubicBezTo>
                  <a:pt x="17" y="103"/>
                  <a:pt x="15" y="102"/>
                  <a:pt x="15" y="102"/>
                </a:cubicBezTo>
                <a:close/>
                <a:moveTo>
                  <a:pt x="15" y="156"/>
                </a:moveTo>
                <a:cubicBezTo>
                  <a:pt x="15" y="155"/>
                  <a:pt x="17" y="154"/>
                  <a:pt x="19" y="154"/>
                </a:cubicBezTo>
                <a:cubicBezTo>
                  <a:pt x="19" y="158"/>
                  <a:pt x="19" y="158"/>
                  <a:pt x="19" y="158"/>
                </a:cubicBezTo>
                <a:cubicBezTo>
                  <a:pt x="17" y="157"/>
                  <a:pt x="15" y="156"/>
                  <a:pt x="15" y="156"/>
                </a:cubicBezTo>
                <a:close/>
                <a:moveTo>
                  <a:pt x="15" y="210"/>
                </a:moveTo>
                <a:cubicBezTo>
                  <a:pt x="15" y="209"/>
                  <a:pt x="17" y="209"/>
                  <a:pt x="19" y="208"/>
                </a:cubicBezTo>
                <a:cubicBezTo>
                  <a:pt x="19" y="212"/>
                  <a:pt x="19" y="212"/>
                  <a:pt x="19" y="212"/>
                </a:cubicBezTo>
                <a:cubicBezTo>
                  <a:pt x="17" y="211"/>
                  <a:pt x="15" y="211"/>
                  <a:pt x="15" y="210"/>
                </a:cubicBezTo>
                <a:close/>
                <a:moveTo>
                  <a:pt x="15" y="264"/>
                </a:moveTo>
                <a:cubicBezTo>
                  <a:pt x="15" y="264"/>
                  <a:pt x="17" y="263"/>
                  <a:pt x="19" y="262"/>
                </a:cubicBezTo>
                <a:cubicBezTo>
                  <a:pt x="19" y="266"/>
                  <a:pt x="19" y="266"/>
                  <a:pt x="19" y="266"/>
                </a:cubicBezTo>
                <a:cubicBezTo>
                  <a:pt x="17" y="266"/>
                  <a:pt x="15" y="265"/>
                  <a:pt x="15" y="264"/>
                </a:cubicBezTo>
                <a:close/>
                <a:moveTo>
                  <a:pt x="15" y="318"/>
                </a:moveTo>
                <a:cubicBezTo>
                  <a:pt x="15" y="318"/>
                  <a:pt x="17" y="317"/>
                  <a:pt x="19" y="316"/>
                </a:cubicBezTo>
                <a:cubicBezTo>
                  <a:pt x="19" y="321"/>
                  <a:pt x="19" y="321"/>
                  <a:pt x="19" y="321"/>
                </a:cubicBezTo>
                <a:cubicBezTo>
                  <a:pt x="17" y="320"/>
                  <a:pt x="15" y="319"/>
                  <a:pt x="15" y="318"/>
                </a:cubicBezTo>
                <a:close/>
                <a:moveTo>
                  <a:pt x="15" y="373"/>
                </a:moveTo>
                <a:cubicBezTo>
                  <a:pt x="15" y="372"/>
                  <a:pt x="17" y="371"/>
                  <a:pt x="19" y="370"/>
                </a:cubicBezTo>
                <a:cubicBezTo>
                  <a:pt x="19" y="375"/>
                  <a:pt x="19" y="375"/>
                  <a:pt x="19" y="375"/>
                </a:cubicBezTo>
                <a:cubicBezTo>
                  <a:pt x="17" y="374"/>
                  <a:pt x="15" y="373"/>
                  <a:pt x="15" y="373"/>
                </a:cubicBezTo>
                <a:close/>
                <a:moveTo>
                  <a:pt x="353" y="340"/>
                </a:moveTo>
                <a:cubicBezTo>
                  <a:pt x="353" y="373"/>
                  <a:pt x="326" y="400"/>
                  <a:pt x="294" y="400"/>
                </a:cubicBezTo>
                <a:cubicBezTo>
                  <a:pt x="34" y="400"/>
                  <a:pt x="34" y="400"/>
                  <a:pt x="34" y="400"/>
                </a:cubicBezTo>
                <a:cubicBezTo>
                  <a:pt x="34" y="370"/>
                  <a:pt x="34" y="370"/>
                  <a:pt x="34" y="370"/>
                </a:cubicBezTo>
                <a:cubicBezTo>
                  <a:pt x="36" y="371"/>
                  <a:pt x="37" y="372"/>
                  <a:pt x="38" y="373"/>
                </a:cubicBezTo>
                <a:cubicBezTo>
                  <a:pt x="38" y="374"/>
                  <a:pt x="39" y="375"/>
                  <a:pt x="38" y="378"/>
                </a:cubicBezTo>
                <a:cubicBezTo>
                  <a:pt x="52" y="382"/>
                  <a:pt x="52" y="382"/>
                  <a:pt x="52" y="382"/>
                </a:cubicBezTo>
                <a:cubicBezTo>
                  <a:pt x="55" y="374"/>
                  <a:pt x="52" y="368"/>
                  <a:pt x="50" y="364"/>
                </a:cubicBezTo>
                <a:cubicBezTo>
                  <a:pt x="46" y="360"/>
                  <a:pt x="41" y="357"/>
                  <a:pt x="34" y="355"/>
                </a:cubicBezTo>
                <a:cubicBezTo>
                  <a:pt x="34" y="316"/>
                  <a:pt x="34" y="316"/>
                  <a:pt x="34" y="316"/>
                </a:cubicBezTo>
                <a:cubicBezTo>
                  <a:pt x="36" y="317"/>
                  <a:pt x="37" y="318"/>
                  <a:pt x="38" y="319"/>
                </a:cubicBezTo>
                <a:cubicBezTo>
                  <a:pt x="38" y="319"/>
                  <a:pt x="39" y="321"/>
                  <a:pt x="38" y="324"/>
                </a:cubicBezTo>
                <a:cubicBezTo>
                  <a:pt x="52" y="328"/>
                  <a:pt x="52" y="328"/>
                  <a:pt x="52" y="328"/>
                </a:cubicBezTo>
                <a:cubicBezTo>
                  <a:pt x="55" y="320"/>
                  <a:pt x="52" y="314"/>
                  <a:pt x="50" y="310"/>
                </a:cubicBezTo>
                <a:cubicBezTo>
                  <a:pt x="46" y="306"/>
                  <a:pt x="41" y="302"/>
                  <a:pt x="34" y="301"/>
                </a:cubicBezTo>
                <a:cubicBezTo>
                  <a:pt x="34" y="262"/>
                  <a:pt x="34" y="262"/>
                  <a:pt x="34" y="262"/>
                </a:cubicBezTo>
                <a:cubicBezTo>
                  <a:pt x="36" y="263"/>
                  <a:pt x="37" y="264"/>
                  <a:pt x="38" y="265"/>
                </a:cubicBezTo>
                <a:cubicBezTo>
                  <a:pt x="38" y="265"/>
                  <a:pt x="39" y="266"/>
                  <a:pt x="38" y="269"/>
                </a:cubicBezTo>
                <a:cubicBezTo>
                  <a:pt x="52" y="274"/>
                  <a:pt x="52" y="274"/>
                  <a:pt x="52" y="274"/>
                </a:cubicBezTo>
                <a:cubicBezTo>
                  <a:pt x="55" y="265"/>
                  <a:pt x="52" y="260"/>
                  <a:pt x="50" y="256"/>
                </a:cubicBezTo>
                <a:cubicBezTo>
                  <a:pt x="46" y="251"/>
                  <a:pt x="41" y="248"/>
                  <a:pt x="34" y="247"/>
                </a:cubicBezTo>
                <a:cubicBezTo>
                  <a:pt x="34" y="208"/>
                  <a:pt x="34" y="208"/>
                  <a:pt x="34" y="208"/>
                </a:cubicBezTo>
                <a:cubicBezTo>
                  <a:pt x="36" y="209"/>
                  <a:pt x="37" y="210"/>
                  <a:pt x="38" y="211"/>
                </a:cubicBezTo>
                <a:cubicBezTo>
                  <a:pt x="38" y="211"/>
                  <a:pt x="39" y="212"/>
                  <a:pt x="38" y="215"/>
                </a:cubicBezTo>
                <a:cubicBezTo>
                  <a:pt x="52" y="220"/>
                  <a:pt x="52" y="220"/>
                  <a:pt x="52" y="220"/>
                </a:cubicBezTo>
                <a:cubicBezTo>
                  <a:pt x="55" y="211"/>
                  <a:pt x="52" y="205"/>
                  <a:pt x="50" y="202"/>
                </a:cubicBezTo>
                <a:cubicBezTo>
                  <a:pt x="46" y="197"/>
                  <a:pt x="41" y="194"/>
                  <a:pt x="34" y="193"/>
                </a:cubicBezTo>
                <a:cubicBezTo>
                  <a:pt x="34" y="154"/>
                  <a:pt x="34" y="154"/>
                  <a:pt x="34" y="154"/>
                </a:cubicBezTo>
                <a:cubicBezTo>
                  <a:pt x="36" y="154"/>
                  <a:pt x="37" y="155"/>
                  <a:pt x="38" y="157"/>
                </a:cubicBezTo>
                <a:cubicBezTo>
                  <a:pt x="38" y="157"/>
                  <a:pt x="39" y="158"/>
                  <a:pt x="38" y="161"/>
                </a:cubicBezTo>
                <a:cubicBezTo>
                  <a:pt x="52" y="165"/>
                  <a:pt x="52" y="165"/>
                  <a:pt x="52" y="165"/>
                </a:cubicBezTo>
                <a:cubicBezTo>
                  <a:pt x="55" y="157"/>
                  <a:pt x="52" y="151"/>
                  <a:pt x="50" y="148"/>
                </a:cubicBezTo>
                <a:cubicBezTo>
                  <a:pt x="46" y="143"/>
                  <a:pt x="41" y="140"/>
                  <a:pt x="34" y="138"/>
                </a:cubicBezTo>
                <a:cubicBezTo>
                  <a:pt x="34" y="100"/>
                  <a:pt x="34" y="100"/>
                  <a:pt x="34" y="100"/>
                </a:cubicBezTo>
                <a:cubicBezTo>
                  <a:pt x="36" y="100"/>
                  <a:pt x="37" y="101"/>
                  <a:pt x="38" y="102"/>
                </a:cubicBezTo>
                <a:cubicBezTo>
                  <a:pt x="38" y="103"/>
                  <a:pt x="39" y="104"/>
                  <a:pt x="38" y="107"/>
                </a:cubicBezTo>
                <a:cubicBezTo>
                  <a:pt x="52" y="111"/>
                  <a:pt x="52" y="111"/>
                  <a:pt x="52" y="111"/>
                </a:cubicBezTo>
                <a:cubicBezTo>
                  <a:pt x="55" y="103"/>
                  <a:pt x="52" y="97"/>
                  <a:pt x="50" y="94"/>
                </a:cubicBezTo>
                <a:cubicBezTo>
                  <a:pt x="46" y="89"/>
                  <a:pt x="41" y="86"/>
                  <a:pt x="34" y="84"/>
                </a:cubicBezTo>
                <a:cubicBezTo>
                  <a:pt x="34" y="45"/>
                  <a:pt x="34" y="45"/>
                  <a:pt x="34" y="45"/>
                </a:cubicBezTo>
                <a:cubicBezTo>
                  <a:pt x="36" y="46"/>
                  <a:pt x="37" y="47"/>
                  <a:pt x="38" y="48"/>
                </a:cubicBezTo>
                <a:cubicBezTo>
                  <a:pt x="38" y="49"/>
                  <a:pt x="39" y="50"/>
                  <a:pt x="38" y="53"/>
                </a:cubicBezTo>
                <a:cubicBezTo>
                  <a:pt x="52" y="57"/>
                  <a:pt x="52" y="57"/>
                  <a:pt x="52" y="57"/>
                </a:cubicBezTo>
                <a:cubicBezTo>
                  <a:pt x="55" y="49"/>
                  <a:pt x="52" y="43"/>
                  <a:pt x="50" y="39"/>
                </a:cubicBezTo>
                <a:cubicBezTo>
                  <a:pt x="46" y="35"/>
                  <a:pt x="41" y="31"/>
                  <a:pt x="34" y="30"/>
                </a:cubicBezTo>
                <a:cubicBezTo>
                  <a:pt x="34" y="15"/>
                  <a:pt x="34" y="15"/>
                  <a:pt x="34" y="15"/>
                </a:cubicBezTo>
                <a:cubicBezTo>
                  <a:pt x="294" y="15"/>
                  <a:pt x="294" y="15"/>
                  <a:pt x="294" y="15"/>
                </a:cubicBezTo>
                <a:cubicBezTo>
                  <a:pt x="326" y="15"/>
                  <a:pt x="353" y="41"/>
                  <a:pt x="353" y="74"/>
                </a:cubicBezTo>
                <a:lnTo>
                  <a:pt x="353" y="340"/>
                </a:lnTo>
                <a:close/>
              </a:path>
            </a:pathLst>
          </a:custGeom>
          <a:solidFill>
            <a:schemeClr val="accent2"/>
          </a:solidFill>
          <a:ln>
            <a:noFill/>
          </a:ln>
        </p:spPr>
        <p:txBody>
          <a:bodyPr vert="horz" wrap="square" lIns="68571" tIns="34286" rIns="68571" bIns="34286" numCol="1" anchor="t" anchorCtr="0" compatLnSpc="1">
            <a:prstTxWarp prst="textNoShape">
              <a:avLst/>
            </a:prstTxWarp>
          </a:bodyPr>
          <a:lstStyle/>
          <a:p>
            <a:endParaRPr lang="en-US"/>
          </a:p>
        </p:txBody>
      </p:sp>
      <p:sp>
        <p:nvSpPr>
          <p:cNvPr id="188" name="Freeform 69"/>
          <p:cNvSpPr>
            <a:spLocks noEditPoints="1"/>
          </p:cNvSpPr>
          <p:nvPr/>
        </p:nvSpPr>
        <p:spPr bwMode="auto">
          <a:xfrm>
            <a:off x="1554951" y="1014101"/>
            <a:ext cx="331734" cy="488481"/>
          </a:xfrm>
          <a:custGeom>
            <a:avLst/>
            <a:gdLst>
              <a:gd name="T0" fmla="*/ 207 w 281"/>
              <a:gd name="T1" fmla="*/ 0 h 414"/>
              <a:gd name="T2" fmla="*/ 74 w 281"/>
              <a:gd name="T3" fmla="*/ 0 h 414"/>
              <a:gd name="T4" fmla="*/ 0 w 281"/>
              <a:gd name="T5" fmla="*/ 75 h 414"/>
              <a:gd name="T6" fmla="*/ 0 w 281"/>
              <a:gd name="T7" fmla="*/ 340 h 414"/>
              <a:gd name="T8" fmla="*/ 74 w 281"/>
              <a:gd name="T9" fmla="*/ 414 h 414"/>
              <a:gd name="T10" fmla="*/ 207 w 281"/>
              <a:gd name="T11" fmla="*/ 414 h 414"/>
              <a:gd name="T12" fmla="*/ 281 w 281"/>
              <a:gd name="T13" fmla="*/ 340 h 414"/>
              <a:gd name="T14" fmla="*/ 281 w 281"/>
              <a:gd name="T15" fmla="*/ 75 h 414"/>
              <a:gd name="T16" fmla="*/ 207 w 281"/>
              <a:gd name="T17" fmla="*/ 0 h 414"/>
              <a:gd name="T18" fmla="*/ 141 w 281"/>
              <a:gd name="T19" fmla="*/ 151 h 414"/>
              <a:gd name="T20" fmla="*/ 126 w 281"/>
              <a:gd name="T21" fmla="*/ 137 h 414"/>
              <a:gd name="T22" fmla="*/ 126 w 281"/>
              <a:gd name="T23" fmla="*/ 92 h 414"/>
              <a:gd name="T24" fmla="*/ 141 w 281"/>
              <a:gd name="T25" fmla="*/ 78 h 414"/>
              <a:gd name="T26" fmla="*/ 155 w 281"/>
              <a:gd name="T27" fmla="*/ 92 h 414"/>
              <a:gd name="T28" fmla="*/ 155 w 281"/>
              <a:gd name="T29" fmla="*/ 137 h 414"/>
              <a:gd name="T30" fmla="*/ 141 w 281"/>
              <a:gd name="T31" fmla="*/ 151 h 414"/>
              <a:gd name="T32" fmla="*/ 266 w 281"/>
              <a:gd name="T33" fmla="*/ 340 h 414"/>
              <a:gd name="T34" fmla="*/ 207 w 281"/>
              <a:gd name="T35" fmla="*/ 399 h 414"/>
              <a:gd name="T36" fmla="*/ 74 w 281"/>
              <a:gd name="T37" fmla="*/ 399 h 414"/>
              <a:gd name="T38" fmla="*/ 15 w 281"/>
              <a:gd name="T39" fmla="*/ 340 h 414"/>
              <a:gd name="T40" fmla="*/ 15 w 281"/>
              <a:gd name="T41" fmla="*/ 75 h 414"/>
              <a:gd name="T42" fmla="*/ 74 w 281"/>
              <a:gd name="T43" fmla="*/ 15 h 414"/>
              <a:gd name="T44" fmla="*/ 133 w 281"/>
              <a:gd name="T45" fmla="*/ 15 h 414"/>
              <a:gd name="T46" fmla="*/ 133 w 281"/>
              <a:gd name="T47" fmla="*/ 64 h 414"/>
              <a:gd name="T48" fmla="*/ 111 w 281"/>
              <a:gd name="T49" fmla="*/ 92 h 414"/>
              <a:gd name="T50" fmla="*/ 111 w 281"/>
              <a:gd name="T51" fmla="*/ 137 h 414"/>
              <a:gd name="T52" fmla="*/ 133 w 281"/>
              <a:gd name="T53" fmla="*/ 165 h 414"/>
              <a:gd name="T54" fmla="*/ 133 w 281"/>
              <a:gd name="T55" fmla="*/ 208 h 414"/>
              <a:gd name="T56" fmla="*/ 148 w 281"/>
              <a:gd name="T57" fmla="*/ 208 h 414"/>
              <a:gd name="T58" fmla="*/ 148 w 281"/>
              <a:gd name="T59" fmla="*/ 165 h 414"/>
              <a:gd name="T60" fmla="*/ 170 w 281"/>
              <a:gd name="T61" fmla="*/ 137 h 414"/>
              <a:gd name="T62" fmla="*/ 170 w 281"/>
              <a:gd name="T63" fmla="*/ 92 h 414"/>
              <a:gd name="T64" fmla="*/ 148 w 281"/>
              <a:gd name="T65" fmla="*/ 64 h 414"/>
              <a:gd name="T66" fmla="*/ 148 w 281"/>
              <a:gd name="T67" fmla="*/ 15 h 414"/>
              <a:gd name="T68" fmla="*/ 207 w 281"/>
              <a:gd name="T69" fmla="*/ 15 h 414"/>
              <a:gd name="T70" fmla="*/ 266 w 281"/>
              <a:gd name="T71" fmla="*/ 75 h 414"/>
              <a:gd name="T72" fmla="*/ 266 w 281"/>
              <a:gd name="T73" fmla="*/ 340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1" h="414">
                <a:moveTo>
                  <a:pt x="207" y="0"/>
                </a:moveTo>
                <a:cubicBezTo>
                  <a:pt x="74" y="0"/>
                  <a:pt x="74" y="0"/>
                  <a:pt x="74" y="0"/>
                </a:cubicBezTo>
                <a:cubicBezTo>
                  <a:pt x="34" y="0"/>
                  <a:pt x="0" y="34"/>
                  <a:pt x="0" y="75"/>
                </a:cubicBezTo>
                <a:cubicBezTo>
                  <a:pt x="0" y="340"/>
                  <a:pt x="0" y="340"/>
                  <a:pt x="0" y="340"/>
                </a:cubicBezTo>
                <a:cubicBezTo>
                  <a:pt x="0" y="381"/>
                  <a:pt x="34" y="414"/>
                  <a:pt x="74" y="414"/>
                </a:cubicBezTo>
                <a:cubicBezTo>
                  <a:pt x="207" y="414"/>
                  <a:pt x="207" y="414"/>
                  <a:pt x="207" y="414"/>
                </a:cubicBezTo>
                <a:cubicBezTo>
                  <a:pt x="248" y="414"/>
                  <a:pt x="281" y="381"/>
                  <a:pt x="281" y="340"/>
                </a:cubicBezTo>
                <a:cubicBezTo>
                  <a:pt x="281" y="75"/>
                  <a:pt x="281" y="75"/>
                  <a:pt x="281" y="75"/>
                </a:cubicBezTo>
                <a:cubicBezTo>
                  <a:pt x="281" y="34"/>
                  <a:pt x="248" y="0"/>
                  <a:pt x="207" y="0"/>
                </a:cubicBezTo>
                <a:close/>
                <a:moveTo>
                  <a:pt x="141" y="151"/>
                </a:moveTo>
                <a:cubicBezTo>
                  <a:pt x="133" y="151"/>
                  <a:pt x="126" y="145"/>
                  <a:pt x="126" y="137"/>
                </a:cubicBezTo>
                <a:cubicBezTo>
                  <a:pt x="126" y="92"/>
                  <a:pt x="126" y="92"/>
                  <a:pt x="126" y="92"/>
                </a:cubicBezTo>
                <a:cubicBezTo>
                  <a:pt x="126" y="84"/>
                  <a:pt x="133" y="78"/>
                  <a:pt x="141" y="78"/>
                </a:cubicBezTo>
                <a:cubicBezTo>
                  <a:pt x="149" y="78"/>
                  <a:pt x="155" y="84"/>
                  <a:pt x="155" y="92"/>
                </a:cubicBezTo>
                <a:cubicBezTo>
                  <a:pt x="155" y="137"/>
                  <a:pt x="155" y="137"/>
                  <a:pt x="155" y="137"/>
                </a:cubicBezTo>
                <a:cubicBezTo>
                  <a:pt x="155" y="145"/>
                  <a:pt x="149" y="151"/>
                  <a:pt x="141" y="151"/>
                </a:cubicBezTo>
                <a:close/>
                <a:moveTo>
                  <a:pt x="266" y="340"/>
                </a:moveTo>
                <a:cubicBezTo>
                  <a:pt x="266" y="373"/>
                  <a:pt x="239" y="399"/>
                  <a:pt x="207" y="399"/>
                </a:cubicBezTo>
                <a:cubicBezTo>
                  <a:pt x="74" y="399"/>
                  <a:pt x="74" y="399"/>
                  <a:pt x="74" y="399"/>
                </a:cubicBezTo>
                <a:cubicBezTo>
                  <a:pt x="42" y="399"/>
                  <a:pt x="15" y="373"/>
                  <a:pt x="15" y="340"/>
                </a:cubicBezTo>
                <a:cubicBezTo>
                  <a:pt x="15" y="75"/>
                  <a:pt x="15" y="75"/>
                  <a:pt x="15" y="75"/>
                </a:cubicBezTo>
                <a:cubicBezTo>
                  <a:pt x="15" y="42"/>
                  <a:pt x="42" y="15"/>
                  <a:pt x="74" y="15"/>
                </a:cubicBezTo>
                <a:cubicBezTo>
                  <a:pt x="133" y="15"/>
                  <a:pt x="133" y="15"/>
                  <a:pt x="133" y="15"/>
                </a:cubicBezTo>
                <a:cubicBezTo>
                  <a:pt x="133" y="64"/>
                  <a:pt x="133" y="64"/>
                  <a:pt x="133" y="64"/>
                </a:cubicBezTo>
                <a:cubicBezTo>
                  <a:pt x="121" y="68"/>
                  <a:pt x="111" y="79"/>
                  <a:pt x="111" y="92"/>
                </a:cubicBezTo>
                <a:cubicBezTo>
                  <a:pt x="111" y="137"/>
                  <a:pt x="111" y="137"/>
                  <a:pt x="111" y="137"/>
                </a:cubicBezTo>
                <a:cubicBezTo>
                  <a:pt x="111" y="150"/>
                  <a:pt x="121" y="162"/>
                  <a:pt x="133" y="165"/>
                </a:cubicBezTo>
                <a:cubicBezTo>
                  <a:pt x="133" y="208"/>
                  <a:pt x="133" y="208"/>
                  <a:pt x="133" y="208"/>
                </a:cubicBezTo>
                <a:cubicBezTo>
                  <a:pt x="148" y="208"/>
                  <a:pt x="148" y="208"/>
                  <a:pt x="148" y="208"/>
                </a:cubicBezTo>
                <a:cubicBezTo>
                  <a:pt x="148" y="165"/>
                  <a:pt x="148" y="165"/>
                  <a:pt x="148" y="165"/>
                </a:cubicBezTo>
                <a:cubicBezTo>
                  <a:pt x="160" y="162"/>
                  <a:pt x="170" y="150"/>
                  <a:pt x="170" y="137"/>
                </a:cubicBezTo>
                <a:cubicBezTo>
                  <a:pt x="170" y="92"/>
                  <a:pt x="170" y="92"/>
                  <a:pt x="170" y="92"/>
                </a:cubicBezTo>
                <a:cubicBezTo>
                  <a:pt x="170" y="79"/>
                  <a:pt x="160" y="68"/>
                  <a:pt x="148" y="64"/>
                </a:cubicBezTo>
                <a:cubicBezTo>
                  <a:pt x="148" y="15"/>
                  <a:pt x="148" y="15"/>
                  <a:pt x="148" y="15"/>
                </a:cubicBezTo>
                <a:cubicBezTo>
                  <a:pt x="207" y="15"/>
                  <a:pt x="207" y="15"/>
                  <a:pt x="207" y="15"/>
                </a:cubicBezTo>
                <a:cubicBezTo>
                  <a:pt x="239" y="15"/>
                  <a:pt x="266" y="42"/>
                  <a:pt x="266" y="75"/>
                </a:cubicBezTo>
                <a:lnTo>
                  <a:pt x="266" y="340"/>
                </a:lnTo>
                <a:close/>
              </a:path>
            </a:pathLst>
          </a:custGeom>
          <a:solidFill>
            <a:schemeClr val="accent4"/>
          </a:solidFill>
          <a:ln>
            <a:noFill/>
          </a:ln>
        </p:spPr>
        <p:txBody>
          <a:bodyPr vert="horz" wrap="square" lIns="68571" tIns="34286" rIns="68571" bIns="34286" numCol="1" anchor="t" anchorCtr="0" compatLnSpc="1">
            <a:prstTxWarp prst="textNoShape">
              <a:avLst/>
            </a:prstTxWarp>
          </a:bodyPr>
          <a:lstStyle/>
          <a:p>
            <a:endParaRPr lang="en-US"/>
          </a:p>
        </p:txBody>
      </p:sp>
      <p:sp>
        <p:nvSpPr>
          <p:cNvPr id="189" name="Freeform 70"/>
          <p:cNvSpPr>
            <a:spLocks noEditPoints="1"/>
          </p:cNvSpPr>
          <p:nvPr/>
        </p:nvSpPr>
        <p:spPr bwMode="auto">
          <a:xfrm>
            <a:off x="3323521" y="1014101"/>
            <a:ext cx="408173" cy="488481"/>
          </a:xfrm>
          <a:custGeom>
            <a:avLst/>
            <a:gdLst>
              <a:gd name="T0" fmla="*/ 346 w 346"/>
              <a:gd name="T1" fmla="*/ 77 h 414"/>
              <a:gd name="T2" fmla="*/ 345 w 346"/>
              <a:gd name="T3" fmla="*/ 75 h 414"/>
              <a:gd name="T4" fmla="*/ 345 w 346"/>
              <a:gd name="T5" fmla="*/ 74 h 414"/>
              <a:gd name="T6" fmla="*/ 343 w 346"/>
              <a:gd name="T7" fmla="*/ 72 h 414"/>
              <a:gd name="T8" fmla="*/ 273 w 346"/>
              <a:gd name="T9" fmla="*/ 2 h 414"/>
              <a:gd name="T10" fmla="*/ 271 w 346"/>
              <a:gd name="T11" fmla="*/ 0 h 414"/>
              <a:gd name="T12" fmla="*/ 270 w 346"/>
              <a:gd name="T13" fmla="*/ 0 h 414"/>
              <a:gd name="T14" fmla="*/ 268 w 346"/>
              <a:gd name="T15" fmla="*/ 0 h 414"/>
              <a:gd name="T16" fmla="*/ 268 w 346"/>
              <a:gd name="T17" fmla="*/ 0 h 414"/>
              <a:gd name="T18" fmla="*/ 7 w 346"/>
              <a:gd name="T19" fmla="*/ 0 h 414"/>
              <a:gd name="T20" fmla="*/ 0 w 346"/>
              <a:gd name="T21" fmla="*/ 7 h 414"/>
              <a:gd name="T22" fmla="*/ 0 w 346"/>
              <a:gd name="T23" fmla="*/ 407 h 414"/>
              <a:gd name="T24" fmla="*/ 7 w 346"/>
              <a:gd name="T25" fmla="*/ 414 h 414"/>
              <a:gd name="T26" fmla="*/ 338 w 346"/>
              <a:gd name="T27" fmla="*/ 414 h 414"/>
              <a:gd name="T28" fmla="*/ 346 w 346"/>
              <a:gd name="T29" fmla="*/ 407 h 414"/>
              <a:gd name="T30" fmla="*/ 346 w 346"/>
              <a:gd name="T31" fmla="*/ 77 h 414"/>
              <a:gd name="T32" fmla="*/ 346 w 346"/>
              <a:gd name="T33" fmla="*/ 77 h 414"/>
              <a:gd name="T34" fmla="*/ 275 w 346"/>
              <a:gd name="T35" fmla="*/ 25 h 414"/>
              <a:gd name="T36" fmla="*/ 320 w 346"/>
              <a:gd name="T37" fmla="*/ 70 h 414"/>
              <a:gd name="T38" fmla="*/ 275 w 346"/>
              <a:gd name="T39" fmla="*/ 70 h 414"/>
              <a:gd name="T40" fmla="*/ 275 w 346"/>
              <a:gd name="T41" fmla="*/ 25 h 414"/>
              <a:gd name="T42" fmla="*/ 14 w 346"/>
              <a:gd name="T43" fmla="*/ 400 h 414"/>
              <a:gd name="T44" fmla="*/ 14 w 346"/>
              <a:gd name="T45" fmla="*/ 14 h 414"/>
              <a:gd name="T46" fmla="*/ 260 w 346"/>
              <a:gd name="T47" fmla="*/ 14 h 414"/>
              <a:gd name="T48" fmla="*/ 260 w 346"/>
              <a:gd name="T49" fmla="*/ 77 h 414"/>
              <a:gd name="T50" fmla="*/ 268 w 346"/>
              <a:gd name="T51" fmla="*/ 85 h 414"/>
              <a:gd name="T52" fmla="*/ 331 w 346"/>
              <a:gd name="T53" fmla="*/ 85 h 414"/>
              <a:gd name="T54" fmla="*/ 331 w 346"/>
              <a:gd name="T55" fmla="*/ 400 h 414"/>
              <a:gd name="T56" fmla="*/ 14 w 346"/>
              <a:gd name="T57" fmla="*/ 400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6" h="414">
                <a:moveTo>
                  <a:pt x="346" y="77"/>
                </a:moveTo>
                <a:cubicBezTo>
                  <a:pt x="345" y="76"/>
                  <a:pt x="345" y="76"/>
                  <a:pt x="345" y="75"/>
                </a:cubicBezTo>
                <a:cubicBezTo>
                  <a:pt x="345" y="75"/>
                  <a:pt x="345" y="75"/>
                  <a:pt x="345" y="74"/>
                </a:cubicBezTo>
                <a:cubicBezTo>
                  <a:pt x="345" y="74"/>
                  <a:pt x="344" y="73"/>
                  <a:pt x="343" y="72"/>
                </a:cubicBezTo>
                <a:cubicBezTo>
                  <a:pt x="273" y="2"/>
                  <a:pt x="273" y="2"/>
                  <a:pt x="273" y="2"/>
                </a:cubicBezTo>
                <a:cubicBezTo>
                  <a:pt x="272" y="1"/>
                  <a:pt x="272" y="1"/>
                  <a:pt x="271" y="0"/>
                </a:cubicBezTo>
                <a:cubicBezTo>
                  <a:pt x="271" y="0"/>
                  <a:pt x="270" y="0"/>
                  <a:pt x="270" y="0"/>
                </a:cubicBezTo>
                <a:cubicBezTo>
                  <a:pt x="270" y="0"/>
                  <a:pt x="269" y="0"/>
                  <a:pt x="268" y="0"/>
                </a:cubicBezTo>
                <a:cubicBezTo>
                  <a:pt x="268" y="0"/>
                  <a:pt x="268" y="0"/>
                  <a:pt x="268" y="0"/>
                </a:cubicBezTo>
                <a:cubicBezTo>
                  <a:pt x="7" y="0"/>
                  <a:pt x="7" y="0"/>
                  <a:pt x="7" y="0"/>
                </a:cubicBezTo>
                <a:cubicBezTo>
                  <a:pt x="3" y="0"/>
                  <a:pt x="0" y="3"/>
                  <a:pt x="0" y="7"/>
                </a:cubicBezTo>
                <a:cubicBezTo>
                  <a:pt x="0" y="407"/>
                  <a:pt x="0" y="407"/>
                  <a:pt x="0" y="407"/>
                </a:cubicBezTo>
                <a:cubicBezTo>
                  <a:pt x="0" y="411"/>
                  <a:pt x="3" y="414"/>
                  <a:pt x="7" y="414"/>
                </a:cubicBezTo>
                <a:cubicBezTo>
                  <a:pt x="338" y="414"/>
                  <a:pt x="338" y="414"/>
                  <a:pt x="338" y="414"/>
                </a:cubicBezTo>
                <a:cubicBezTo>
                  <a:pt x="342" y="414"/>
                  <a:pt x="346" y="411"/>
                  <a:pt x="346" y="407"/>
                </a:cubicBezTo>
                <a:cubicBezTo>
                  <a:pt x="346" y="77"/>
                  <a:pt x="346" y="77"/>
                  <a:pt x="346" y="77"/>
                </a:cubicBezTo>
                <a:cubicBezTo>
                  <a:pt x="346" y="77"/>
                  <a:pt x="346" y="77"/>
                  <a:pt x="346" y="77"/>
                </a:cubicBezTo>
                <a:close/>
                <a:moveTo>
                  <a:pt x="275" y="25"/>
                </a:moveTo>
                <a:cubicBezTo>
                  <a:pt x="320" y="70"/>
                  <a:pt x="320" y="70"/>
                  <a:pt x="320" y="70"/>
                </a:cubicBezTo>
                <a:cubicBezTo>
                  <a:pt x="275" y="70"/>
                  <a:pt x="275" y="70"/>
                  <a:pt x="275" y="70"/>
                </a:cubicBezTo>
                <a:lnTo>
                  <a:pt x="275" y="25"/>
                </a:lnTo>
                <a:close/>
                <a:moveTo>
                  <a:pt x="14" y="400"/>
                </a:moveTo>
                <a:cubicBezTo>
                  <a:pt x="14" y="14"/>
                  <a:pt x="14" y="14"/>
                  <a:pt x="14" y="14"/>
                </a:cubicBezTo>
                <a:cubicBezTo>
                  <a:pt x="260" y="14"/>
                  <a:pt x="260" y="14"/>
                  <a:pt x="260" y="14"/>
                </a:cubicBezTo>
                <a:cubicBezTo>
                  <a:pt x="260" y="77"/>
                  <a:pt x="260" y="77"/>
                  <a:pt x="260" y="77"/>
                </a:cubicBezTo>
                <a:cubicBezTo>
                  <a:pt x="260" y="81"/>
                  <a:pt x="264" y="85"/>
                  <a:pt x="268" y="85"/>
                </a:cubicBezTo>
                <a:cubicBezTo>
                  <a:pt x="331" y="85"/>
                  <a:pt x="331" y="85"/>
                  <a:pt x="331" y="85"/>
                </a:cubicBezTo>
                <a:cubicBezTo>
                  <a:pt x="331" y="400"/>
                  <a:pt x="331" y="400"/>
                  <a:pt x="331" y="400"/>
                </a:cubicBezTo>
                <a:lnTo>
                  <a:pt x="14" y="400"/>
                </a:lnTo>
                <a:close/>
              </a:path>
            </a:pathLst>
          </a:custGeom>
          <a:solidFill>
            <a:schemeClr val="accent1"/>
          </a:solidFill>
          <a:ln>
            <a:noFill/>
          </a:ln>
        </p:spPr>
        <p:txBody>
          <a:bodyPr vert="horz" wrap="square" lIns="68571" tIns="34286" rIns="68571" bIns="34286" numCol="1" anchor="t" anchorCtr="0" compatLnSpc="1">
            <a:prstTxWarp prst="textNoShape">
              <a:avLst/>
            </a:prstTxWarp>
          </a:bodyPr>
          <a:lstStyle/>
          <a:p>
            <a:endParaRPr lang="en-US"/>
          </a:p>
        </p:txBody>
      </p:sp>
      <p:sp>
        <p:nvSpPr>
          <p:cNvPr id="190" name="Freeform 72"/>
          <p:cNvSpPr>
            <a:spLocks noEditPoints="1"/>
          </p:cNvSpPr>
          <p:nvPr/>
        </p:nvSpPr>
        <p:spPr bwMode="auto">
          <a:xfrm>
            <a:off x="4188439" y="1015348"/>
            <a:ext cx="485110" cy="485984"/>
          </a:xfrm>
          <a:custGeom>
            <a:avLst/>
            <a:gdLst>
              <a:gd name="T0" fmla="*/ 337 w 411"/>
              <a:gd name="T1" fmla="*/ 198 h 412"/>
              <a:gd name="T2" fmla="*/ 284 w 411"/>
              <a:gd name="T3" fmla="*/ 220 h 412"/>
              <a:gd name="T4" fmla="*/ 249 w 411"/>
              <a:gd name="T5" fmla="*/ 185 h 412"/>
              <a:gd name="T6" fmla="*/ 283 w 411"/>
              <a:gd name="T7" fmla="*/ 107 h 412"/>
              <a:gd name="T8" fmla="*/ 176 w 411"/>
              <a:gd name="T9" fmla="*/ 0 h 412"/>
              <a:gd name="T10" fmla="*/ 68 w 411"/>
              <a:gd name="T11" fmla="*/ 107 h 412"/>
              <a:gd name="T12" fmla="*/ 116 w 411"/>
              <a:gd name="T13" fmla="*/ 196 h 412"/>
              <a:gd name="T14" fmla="*/ 96 w 411"/>
              <a:gd name="T15" fmla="*/ 266 h 412"/>
              <a:gd name="T16" fmla="*/ 74 w 411"/>
              <a:gd name="T17" fmla="*/ 263 h 412"/>
              <a:gd name="T18" fmla="*/ 0 w 411"/>
              <a:gd name="T19" fmla="*/ 337 h 412"/>
              <a:gd name="T20" fmla="*/ 74 w 411"/>
              <a:gd name="T21" fmla="*/ 412 h 412"/>
              <a:gd name="T22" fmla="*/ 149 w 411"/>
              <a:gd name="T23" fmla="*/ 337 h 412"/>
              <a:gd name="T24" fmla="*/ 110 w 411"/>
              <a:gd name="T25" fmla="*/ 272 h 412"/>
              <a:gd name="T26" fmla="*/ 130 w 411"/>
              <a:gd name="T27" fmla="*/ 204 h 412"/>
              <a:gd name="T28" fmla="*/ 176 w 411"/>
              <a:gd name="T29" fmla="*/ 214 h 412"/>
              <a:gd name="T30" fmla="*/ 238 w 411"/>
              <a:gd name="T31" fmla="*/ 195 h 412"/>
              <a:gd name="T32" fmla="*/ 275 w 411"/>
              <a:gd name="T33" fmla="*/ 232 h 412"/>
              <a:gd name="T34" fmla="*/ 262 w 411"/>
              <a:gd name="T35" fmla="*/ 273 h 412"/>
              <a:gd name="T36" fmla="*/ 337 w 411"/>
              <a:gd name="T37" fmla="*/ 347 h 412"/>
              <a:gd name="T38" fmla="*/ 411 w 411"/>
              <a:gd name="T39" fmla="*/ 273 h 412"/>
              <a:gd name="T40" fmla="*/ 337 w 411"/>
              <a:gd name="T41" fmla="*/ 198 h 412"/>
              <a:gd name="T42" fmla="*/ 134 w 411"/>
              <a:gd name="T43" fmla="*/ 337 h 412"/>
              <a:gd name="T44" fmla="*/ 74 w 411"/>
              <a:gd name="T45" fmla="*/ 397 h 412"/>
              <a:gd name="T46" fmla="*/ 14 w 411"/>
              <a:gd name="T47" fmla="*/ 337 h 412"/>
              <a:gd name="T48" fmla="*/ 74 w 411"/>
              <a:gd name="T49" fmla="*/ 278 h 412"/>
              <a:gd name="T50" fmla="*/ 134 w 411"/>
              <a:gd name="T51" fmla="*/ 337 h 412"/>
              <a:gd name="T52" fmla="*/ 83 w 411"/>
              <a:gd name="T53" fmla="*/ 107 h 412"/>
              <a:gd name="T54" fmla="*/ 176 w 411"/>
              <a:gd name="T55" fmla="*/ 14 h 412"/>
              <a:gd name="T56" fmla="*/ 268 w 411"/>
              <a:gd name="T57" fmla="*/ 107 h 412"/>
              <a:gd name="T58" fmla="*/ 176 w 411"/>
              <a:gd name="T59" fmla="*/ 200 h 412"/>
              <a:gd name="T60" fmla="*/ 83 w 411"/>
              <a:gd name="T61" fmla="*/ 107 h 412"/>
              <a:gd name="T62" fmla="*/ 337 w 411"/>
              <a:gd name="T63" fmla="*/ 332 h 412"/>
              <a:gd name="T64" fmla="*/ 277 w 411"/>
              <a:gd name="T65" fmla="*/ 273 h 412"/>
              <a:gd name="T66" fmla="*/ 337 w 411"/>
              <a:gd name="T67" fmla="*/ 213 h 412"/>
              <a:gd name="T68" fmla="*/ 397 w 411"/>
              <a:gd name="T69" fmla="*/ 273 h 412"/>
              <a:gd name="T70" fmla="*/ 337 w 411"/>
              <a:gd name="T71" fmla="*/ 33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1" h="412">
                <a:moveTo>
                  <a:pt x="337" y="198"/>
                </a:moveTo>
                <a:cubicBezTo>
                  <a:pt x="316" y="198"/>
                  <a:pt x="298" y="206"/>
                  <a:pt x="284" y="220"/>
                </a:cubicBezTo>
                <a:cubicBezTo>
                  <a:pt x="249" y="185"/>
                  <a:pt x="249" y="185"/>
                  <a:pt x="249" y="185"/>
                </a:cubicBezTo>
                <a:cubicBezTo>
                  <a:pt x="270" y="166"/>
                  <a:pt x="283" y="138"/>
                  <a:pt x="283" y="107"/>
                </a:cubicBezTo>
                <a:cubicBezTo>
                  <a:pt x="283" y="48"/>
                  <a:pt x="235" y="0"/>
                  <a:pt x="176" y="0"/>
                </a:cubicBezTo>
                <a:cubicBezTo>
                  <a:pt x="117" y="0"/>
                  <a:pt x="68" y="48"/>
                  <a:pt x="68" y="107"/>
                </a:cubicBezTo>
                <a:cubicBezTo>
                  <a:pt x="68" y="144"/>
                  <a:pt x="88" y="177"/>
                  <a:pt x="116" y="196"/>
                </a:cubicBezTo>
                <a:cubicBezTo>
                  <a:pt x="96" y="266"/>
                  <a:pt x="96" y="266"/>
                  <a:pt x="96" y="266"/>
                </a:cubicBezTo>
                <a:cubicBezTo>
                  <a:pt x="89" y="264"/>
                  <a:pt x="82" y="263"/>
                  <a:pt x="74" y="263"/>
                </a:cubicBezTo>
                <a:cubicBezTo>
                  <a:pt x="33" y="263"/>
                  <a:pt x="0" y="296"/>
                  <a:pt x="0" y="337"/>
                </a:cubicBezTo>
                <a:cubicBezTo>
                  <a:pt x="0" y="378"/>
                  <a:pt x="33" y="412"/>
                  <a:pt x="74" y="412"/>
                </a:cubicBezTo>
                <a:cubicBezTo>
                  <a:pt x="115" y="412"/>
                  <a:pt x="149" y="378"/>
                  <a:pt x="149" y="337"/>
                </a:cubicBezTo>
                <a:cubicBezTo>
                  <a:pt x="149" y="309"/>
                  <a:pt x="133" y="284"/>
                  <a:pt x="110" y="272"/>
                </a:cubicBezTo>
                <a:cubicBezTo>
                  <a:pt x="130" y="204"/>
                  <a:pt x="130" y="204"/>
                  <a:pt x="130" y="204"/>
                </a:cubicBezTo>
                <a:cubicBezTo>
                  <a:pt x="144" y="210"/>
                  <a:pt x="159" y="214"/>
                  <a:pt x="176" y="214"/>
                </a:cubicBezTo>
                <a:cubicBezTo>
                  <a:pt x="199" y="214"/>
                  <a:pt x="220" y="207"/>
                  <a:pt x="238" y="195"/>
                </a:cubicBezTo>
                <a:cubicBezTo>
                  <a:pt x="275" y="232"/>
                  <a:pt x="275" y="232"/>
                  <a:pt x="275" y="232"/>
                </a:cubicBezTo>
                <a:cubicBezTo>
                  <a:pt x="267" y="243"/>
                  <a:pt x="262" y="257"/>
                  <a:pt x="262" y="273"/>
                </a:cubicBezTo>
                <a:cubicBezTo>
                  <a:pt x="262" y="314"/>
                  <a:pt x="296" y="347"/>
                  <a:pt x="337" y="347"/>
                </a:cubicBezTo>
                <a:cubicBezTo>
                  <a:pt x="378" y="347"/>
                  <a:pt x="411" y="314"/>
                  <a:pt x="411" y="273"/>
                </a:cubicBezTo>
                <a:cubicBezTo>
                  <a:pt x="411" y="231"/>
                  <a:pt x="378" y="198"/>
                  <a:pt x="337" y="198"/>
                </a:cubicBezTo>
                <a:close/>
                <a:moveTo>
                  <a:pt x="134" y="337"/>
                </a:moveTo>
                <a:cubicBezTo>
                  <a:pt x="134" y="370"/>
                  <a:pt x="107" y="397"/>
                  <a:pt x="74" y="397"/>
                </a:cubicBezTo>
                <a:cubicBezTo>
                  <a:pt x="41" y="397"/>
                  <a:pt x="14" y="370"/>
                  <a:pt x="14" y="337"/>
                </a:cubicBezTo>
                <a:cubicBezTo>
                  <a:pt x="14" y="304"/>
                  <a:pt x="41" y="278"/>
                  <a:pt x="74" y="278"/>
                </a:cubicBezTo>
                <a:cubicBezTo>
                  <a:pt x="107" y="278"/>
                  <a:pt x="134" y="304"/>
                  <a:pt x="134" y="337"/>
                </a:cubicBezTo>
                <a:close/>
                <a:moveTo>
                  <a:pt x="83" y="107"/>
                </a:moveTo>
                <a:cubicBezTo>
                  <a:pt x="83" y="56"/>
                  <a:pt x="125" y="14"/>
                  <a:pt x="176" y="14"/>
                </a:cubicBezTo>
                <a:cubicBezTo>
                  <a:pt x="227" y="14"/>
                  <a:pt x="268" y="56"/>
                  <a:pt x="268" y="107"/>
                </a:cubicBezTo>
                <a:cubicBezTo>
                  <a:pt x="268" y="158"/>
                  <a:pt x="227" y="200"/>
                  <a:pt x="176" y="200"/>
                </a:cubicBezTo>
                <a:cubicBezTo>
                  <a:pt x="125" y="200"/>
                  <a:pt x="83" y="158"/>
                  <a:pt x="83" y="107"/>
                </a:cubicBezTo>
                <a:close/>
                <a:moveTo>
                  <a:pt x="337" y="332"/>
                </a:moveTo>
                <a:cubicBezTo>
                  <a:pt x="304" y="332"/>
                  <a:pt x="277" y="306"/>
                  <a:pt x="277" y="273"/>
                </a:cubicBezTo>
                <a:cubicBezTo>
                  <a:pt x="277" y="240"/>
                  <a:pt x="304" y="213"/>
                  <a:pt x="337" y="213"/>
                </a:cubicBezTo>
                <a:cubicBezTo>
                  <a:pt x="370" y="213"/>
                  <a:pt x="397" y="240"/>
                  <a:pt x="397" y="273"/>
                </a:cubicBezTo>
                <a:cubicBezTo>
                  <a:pt x="397" y="306"/>
                  <a:pt x="370" y="332"/>
                  <a:pt x="337" y="332"/>
                </a:cubicBezTo>
                <a:close/>
              </a:path>
            </a:pathLst>
          </a:custGeom>
          <a:solidFill>
            <a:schemeClr val="accent5"/>
          </a:solidFill>
          <a:ln>
            <a:noFill/>
          </a:ln>
        </p:spPr>
        <p:txBody>
          <a:bodyPr vert="horz" wrap="square" lIns="68571" tIns="34286" rIns="68571" bIns="34286" numCol="1" anchor="t" anchorCtr="0" compatLnSpc="1">
            <a:prstTxWarp prst="textNoShape">
              <a:avLst/>
            </a:prstTxWarp>
          </a:bodyPr>
          <a:lstStyle/>
          <a:p>
            <a:endParaRPr lang="en-US"/>
          </a:p>
        </p:txBody>
      </p:sp>
      <p:sp>
        <p:nvSpPr>
          <p:cNvPr id="191" name="Freeform 73"/>
          <p:cNvSpPr>
            <a:spLocks noEditPoints="1"/>
          </p:cNvSpPr>
          <p:nvPr/>
        </p:nvSpPr>
        <p:spPr bwMode="auto">
          <a:xfrm>
            <a:off x="5091831" y="1055312"/>
            <a:ext cx="485110" cy="406069"/>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chemeClr val="accent6"/>
          </a:solidFill>
          <a:ln>
            <a:noFill/>
          </a:ln>
        </p:spPr>
        <p:txBody>
          <a:bodyPr vert="horz" wrap="square" lIns="68571" tIns="34286" rIns="68571" bIns="34286" numCol="1" anchor="t" anchorCtr="0" compatLnSpc="1">
            <a:prstTxWarp prst="textNoShape">
              <a:avLst/>
            </a:prstTxWarp>
          </a:bodyPr>
          <a:lstStyle/>
          <a:p>
            <a:endParaRPr lang="en-US"/>
          </a:p>
        </p:txBody>
      </p:sp>
      <p:sp>
        <p:nvSpPr>
          <p:cNvPr id="192" name="Freeform 74"/>
          <p:cNvSpPr>
            <a:spLocks noEditPoints="1"/>
          </p:cNvSpPr>
          <p:nvPr/>
        </p:nvSpPr>
        <p:spPr bwMode="auto">
          <a:xfrm>
            <a:off x="6898615" y="1014854"/>
            <a:ext cx="485110" cy="486983"/>
          </a:xfrm>
          <a:custGeom>
            <a:avLst/>
            <a:gdLst>
              <a:gd name="T0" fmla="*/ 404 w 411"/>
              <a:gd name="T1" fmla="*/ 0 h 413"/>
              <a:gd name="T2" fmla="*/ 7 w 411"/>
              <a:gd name="T3" fmla="*/ 0 h 413"/>
              <a:gd name="T4" fmla="*/ 0 w 411"/>
              <a:gd name="T5" fmla="*/ 7 h 413"/>
              <a:gd name="T6" fmla="*/ 0 w 411"/>
              <a:gd name="T7" fmla="*/ 338 h 413"/>
              <a:gd name="T8" fmla="*/ 7 w 411"/>
              <a:gd name="T9" fmla="*/ 345 h 413"/>
              <a:gd name="T10" fmla="*/ 68 w 411"/>
              <a:gd name="T11" fmla="*/ 345 h 413"/>
              <a:gd name="T12" fmla="*/ 133 w 411"/>
              <a:gd name="T13" fmla="*/ 411 h 413"/>
              <a:gd name="T14" fmla="*/ 138 w 411"/>
              <a:gd name="T15" fmla="*/ 413 h 413"/>
              <a:gd name="T16" fmla="*/ 141 w 411"/>
              <a:gd name="T17" fmla="*/ 413 h 413"/>
              <a:gd name="T18" fmla="*/ 145 w 411"/>
              <a:gd name="T19" fmla="*/ 406 h 413"/>
              <a:gd name="T20" fmla="*/ 145 w 411"/>
              <a:gd name="T21" fmla="*/ 345 h 413"/>
              <a:gd name="T22" fmla="*/ 404 w 411"/>
              <a:gd name="T23" fmla="*/ 345 h 413"/>
              <a:gd name="T24" fmla="*/ 411 w 411"/>
              <a:gd name="T25" fmla="*/ 338 h 413"/>
              <a:gd name="T26" fmla="*/ 411 w 411"/>
              <a:gd name="T27" fmla="*/ 7 h 413"/>
              <a:gd name="T28" fmla="*/ 404 w 411"/>
              <a:gd name="T29" fmla="*/ 0 h 413"/>
              <a:gd name="T30" fmla="*/ 396 w 411"/>
              <a:gd name="T31" fmla="*/ 330 h 413"/>
              <a:gd name="T32" fmla="*/ 138 w 411"/>
              <a:gd name="T33" fmla="*/ 330 h 413"/>
              <a:gd name="T34" fmla="*/ 130 w 411"/>
              <a:gd name="T35" fmla="*/ 338 h 413"/>
              <a:gd name="T36" fmla="*/ 130 w 411"/>
              <a:gd name="T37" fmla="*/ 388 h 413"/>
              <a:gd name="T38" fmla="*/ 77 w 411"/>
              <a:gd name="T39" fmla="*/ 333 h 413"/>
              <a:gd name="T40" fmla="*/ 71 w 411"/>
              <a:gd name="T41" fmla="*/ 330 h 413"/>
              <a:gd name="T42" fmla="*/ 15 w 411"/>
              <a:gd name="T43" fmla="*/ 330 h 413"/>
              <a:gd name="T44" fmla="*/ 15 w 411"/>
              <a:gd name="T45" fmla="*/ 15 h 413"/>
              <a:gd name="T46" fmla="*/ 396 w 411"/>
              <a:gd name="T47" fmla="*/ 15 h 413"/>
              <a:gd name="T48" fmla="*/ 396 w 411"/>
              <a:gd name="T49" fmla="*/ 33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413">
                <a:moveTo>
                  <a:pt x="404" y="0"/>
                </a:moveTo>
                <a:cubicBezTo>
                  <a:pt x="7" y="0"/>
                  <a:pt x="7" y="0"/>
                  <a:pt x="7" y="0"/>
                </a:cubicBezTo>
                <a:cubicBezTo>
                  <a:pt x="3" y="0"/>
                  <a:pt x="0" y="3"/>
                  <a:pt x="0" y="7"/>
                </a:cubicBezTo>
                <a:cubicBezTo>
                  <a:pt x="0" y="338"/>
                  <a:pt x="0" y="338"/>
                  <a:pt x="0" y="338"/>
                </a:cubicBezTo>
                <a:cubicBezTo>
                  <a:pt x="0" y="342"/>
                  <a:pt x="3" y="345"/>
                  <a:pt x="7" y="345"/>
                </a:cubicBezTo>
                <a:cubicBezTo>
                  <a:pt x="68" y="345"/>
                  <a:pt x="68" y="345"/>
                  <a:pt x="68" y="345"/>
                </a:cubicBezTo>
                <a:cubicBezTo>
                  <a:pt x="133" y="411"/>
                  <a:pt x="133" y="411"/>
                  <a:pt x="133" y="411"/>
                </a:cubicBezTo>
                <a:cubicBezTo>
                  <a:pt x="134" y="413"/>
                  <a:pt x="136" y="413"/>
                  <a:pt x="138" y="413"/>
                </a:cubicBezTo>
                <a:cubicBezTo>
                  <a:pt x="139" y="413"/>
                  <a:pt x="140" y="413"/>
                  <a:pt x="141" y="413"/>
                </a:cubicBezTo>
                <a:cubicBezTo>
                  <a:pt x="143" y="412"/>
                  <a:pt x="145" y="409"/>
                  <a:pt x="145" y="406"/>
                </a:cubicBezTo>
                <a:cubicBezTo>
                  <a:pt x="145" y="345"/>
                  <a:pt x="145" y="345"/>
                  <a:pt x="145" y="345"/>
                </a:cubicBezTo>
                <a:cubicBezTo>
                  <a:pt x="404" y="345"/>
                  <a:pt x="404" y="345"/>
                  <a:pt x="404" y="345"/>
                </a:cubicBezTo>
                <a:cubicBezTo>
                  <a:pt x="408" y="345"/>
                  <a:pt x="411" y="342"/>
                  <a:pt x="411" y="338"/>
                </a:cubicBezTo>
                <a:cubicBezTo>
                  <a:pt x="411" y="7"/>
                  <a:pt x="411" y="7"/>
                  <a:pt x="411" y="7"/>
                </a:cubicBezTo>
                <a:cubicBezTo>
                  <a:pt x="411" y="3"/>
                  <a:pt x="408" y="0"/>
                  <a:pt x="404" y="0"/>
                </a:cubicBezTo>
                <a:close/>
                <a:moveTo>
                  <a:pt x="396" y="330"/>
                </a:moveTo>
                <a:cubicBezTo>
                  <a:pt x="138" y="330"/>
                  <a:pt x="138" y="330"/>
                  <a:pt x="138" y="330"/>
                </a:cubicBezTo>
                <a:cubicBezTo>
                  <a:pt x="134" y="330"/>
                  <a:pt x="130" y="334"/>
                  <a:pt x="130" y="338"/>
                </a:cubicBezTo>
                <a:cubicBezTo>
                  <a:pt x="130" y="388"/>
                  <a:pt x="130" y="388"/>
                  <a:pt x="130" y="388"/>
                </a:cubicBezTo>
                <a:cubicBezTo>
                  <a:pt x="77" y="333"/>
                  <a:pt x="77" y="333"/>
                  <a:pt x="77" y="333"/>
                </a:cubicBezTo>
                <a:cubicBezTo>
                  <a:pt x="75" y="331"/>
                  <a:pt x="73" y="330"/>
                  <a:pt x="71" y="330"/>
                </a:cubicBezTo>
                <a:cubicBezTo>
                  <a:pt x="15" y="330"/>
                  <a:pt x="15" y="330"/>
                  <a:pt x="15" y="330"/>
                </a:cubicBezTo>
                <a:cubicBezTo>
                  <a:pt x="15" y="15"/>
                  <a:pt x="15" y="15"/>
                  <a:pt x="15" y="15"/>
                </a:cubicBezTo>
                <a:cubicBezTo>
                  <a:pt x="396" y="15"/>
                  <a:pt x="396" y="15"/>
                  <a:pt x="396" y="15"/>
                </a:cubicBezTo>
                <a:lnTo>
                  <a:pt x="396" y="330"/>
                </a:lnTo>
                <a:close/>
              </a:path>
            </a:pathLst>
          </a:custGeom>
          <a:solidFill>
            <a:schemeClr val="accent4"/>
          </a:solidFill>
          <a:ln>
            <a:noFill/>
          </a:ln>
        </p:spPr>
        <p:txBody>
          <a:bodyPr vert="horz" wrap="square" lIns="68571" tIns="34286" rIns="68571" bIns="34286" numCol="1" anchor="t" anchorCtr="0" compatLnSpc="1">
            <a:prstTxWarp prst="textNoShape">
              <a:avLst/>
            </a:prstTxWarp>
          </a:bodyPr>
          <a:lstStyle/>
          <a:p>
            <a:endParaRPr lang="en-US"/>
          </a:p>
        </p:txBody>
      </p:sp>
      <p:sp>
        <p:nvSpPr>
          <p:cNvPr id="193" name="Freeform 75"/>
          <p:cNvSpPr>
            <a:spLocks noEditPoints="1"/>
          </p:cNvSpPr>
          <p:nvPr/>
        </p:nvSpPr>
        <p:spPr bwMode="auto">
          <a:xfrm>
            <a:off x="7800758" y="998866"/>
            <a:ext cx="487608" cy="518948"/>
          </a:xfrm>
          <a:custGeom>
            <a:avLst/>
            <a:gdLst>
              <a:gd name="T0" fmla="*/ 145 w 413"/>
              <a:gd name="T1" fmla="*/ 290 h 440"/>
              <a:gd name="T2" fmla="*/ 104 w 413"/>
              <a:gd name="T3" fmla="*/ 330 h 440"/>
              <a:gd name="T4" fmla="*/ 145 w 413"/>
              <a:gd name="T5" fmla="*/ 371 h 440"/>
              <a:gd name="T6" fmla="*/ 185 w 413"/>
              <a:gd name="T7" fmla="*/ 330 h 440"/>
              <a:gd name="T8" fmla="*/ 145 w 413"/>
              <a:gd name="T9" fmla="*/ 290 h 440"/>
              <a:gd name="T10" fmla="*/ 145 w 413"/>
              <a:gd name="T11" fmla="*/ 356 h 440"/>
              <a:gd name="T12" fmla="*/ 119 w 413"/>
              <a:gd name="T13" fmla="*/ 330 h 440"/>
              <a:gd name="T14" fmla="*/ 145 w 413"/>
              <a:gd name="T15" fmla="*/ 305 h 440"/>
              <a:gd name="T16" fmla="*/ 171 w 413"/>
              <a:gd name="T17" fmla="*/ 330 h 440"/>
              <a:gd name="T18" fmla="*/ 145 w 413"/>
              <a:gd name="T19" fmla="*/ 356 h 440"/>
              <a:gd name="T20" fmla="*/ 222 w 413"/>
              <a:gd name="T21" fmla="*/ 358 h 440"/>
              <a:gd name="T22" fmla="*/ 182 w 413"/>
              <a:gd name="T23" fmla="*/ 399 h 440"/>
              <a:gd name="T24" fmla="*/ 222 w 413"/>
              <a:gd name="T25" fmla="*/ 440 h 440"/>
              <a:gd name="T26" fmla="*/ 263 w 413"/>
              <a:gd name="T27" fmla="*/ 399 h 440"/>
              <a:gd name="T28" fmla="*/ 222 w 413"/>
              <a:gd name="T29" fmla="*/ 358 h 440"/>
              <a:gd name="T30" fmla="*/ 222 w 413"/>
              <a:gd name="T31" fmla="*/ 425 h 440"/>
              <a:gd name="T32" fmla="*/ 197 w 413"/>
              <a:gd name="T33" fmla="*/ 399 h 440"/>
              <a:gd name="T34" fmla="*/ 222 w 413"/>
              <a:gd name="T35" fmla="*/ 373 h 440"/>
              <a:gd name="T36" fmla="*/ 248 w 413"/>
              <a:gd name="T37" fmla="*/ 399 h 440"/>
              <a:gd name="T38" fmla="*/ 222 w 413"/>
              <a:gd name="T39" fmla="*/ 425 h 440"/>
              <a:gd name="T40" fmla="*/ 339 w 413"/>
              <a:gd name="T41" fmla="*/ 0 h 440"/>
              <a:gd name="T42" fmla="*/ 74 w 413"/>
              <a:gd name="T43" fmla="*/ 0 h 440"/>
              <a:gd name="T44" fmla="*/ 0 w 413"/>
              <a:gd name="T45" fmla="*/ 74 h 440"/>
              <a:gd name="T46" fmla="*/ 0 w 413"/>
              <a:gd name="T47" fmla="*/ 204 h 440"/>
              <a:gd name="T48" fmla="*/ 74 w 413"/>
              <a:gd name="T49" fmla="*/ 278 h 440"/>
              <a:gd name="T50" fmla="*/ 339 w 413"/>
              <a:gd name="T51" fmla="*/ 278 h 440"/>
              <a:gd name="T52" fmla="*/ 413 w 413"/>
              <a:gd name="T53" fmla="*/ 204 h 440"/>
              <a:gd name="T54" fmla="*/ 413 w 413"/>
              <a:gd name="T55" fmla="*/ 74 h 440"/>
              <a:gd name="T56" fmla="*/ 339 w 413"/>
              <a:gd name="T57" fmla="*/ 0 h 440"/>
              <a:gd name="T58" fmla="*/ 398 w 413"/>
              <a:gd name="T59" fmla="*/ 204 h 440"/>
              <a:gd name="T60" fmla="*/ 339 w 413"/>
              <a:gd name="T61" fmla="*/ 263 h 440"/>
              <a:gd name="T62" fmla="*/ 74 w 413"/>
              <a:gd name="T63" fmla="*/ 263 h 440"/>
              <a:gd name="T64" fmla="*/ 14 w 413"/>
              <a:gd name="T65" fmla="*/ 204 h 440"/>
              <a:gd name="T66" fmla="*/ 14 w 413"/>
              <a:gd name="T67" fmla="*/ 74 h 440"/>
              <a:gd name="T68" fmla="*/ 74 w 413"/>
              <a:gd name="T69" fmla="*/ 15 h 440"/>
              <a:gd name="T70" fmla="*/ 339 w 413"/>
              <a:gd name="T71" fmla="*/ 15 h 440"/>
              <a:gd name="T72" fmla="*/ 398 w 413"/>
              <a:gd name="T73" fmla="*/ 74 h 440"/>
              <a:gd name="T74" fmla="*/ 398 w 413"/>
              <a:gd name="T75" fmla="*/ 204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13" h="440">
                <a:moveTo>
                  <a:pt x="145" y="290"/>
                </a:moveTo>
                <a:cubicBezTo>
                  <a:pt x="122" y="290"/>
                  <a:pt x="104" y="308"/>
                  <a:pt x="104" y="330"/>
                </a:cubicBezTo>
                <a:cubicBezTo>
                  <a:pt x="104" y="353"/>
                  <a:pt x="122" y="371"/>
                  <a:pt x="145" y="371"/>
                </a:cubicBezTo>
                <a:cubicBezTo>
                  <a:pt x="167" y="371"/>
                  <a:pt x="185" y="353"/>
                  <a:pt x="185" y="330"/>
                </a:cubicBezTo>
                <a:cubicBezTo>
                  <a:pt x="185" y="308"/>
                  <a:pt x="167" y="290"/>
                  <a:pt x="145" y="290"/>
                </a:cubicBezTo>
                <a:close/>
                <a:moveTo>
                  <a:pt x="145" y="356"/>
                </a:moveTo>
                <a:cubicBezTo>
                  <a:pt x="131" y="356"/>
                  <a:pt x="119" y="345"/>
                  <a:pt x="119" y="330"/>
                </a:cubicBezTo>
                <a:cubicBezTo>
                  <a:pt x="119" y="316"/>
                  <a:pt x="131" y="305"/>
                  <a:pt x="145" y="305"/>
                </a:cubicBezTo>
                <a:cubicBezTo>
                  <a:pt x="159" y="305"/>
                  <a:pt x="171" y="316"/>
                  <a:pt x="171" y="330"/>
                </a:cubicBezTo>
                <a:cubicBezTo>
                  <a:pt x="171" y="345"/>
                  <a:pt x="159" y="356"/>
                  <a:pt x="145" y="356"/>
                </a:cubicBezTo>
                <a:close/>
                <a:moveTo>
                  <a:pt x="222" y="358"/>
                </a:moveTo>
                <a:cubicBezTo>
                  <a:pt x="200" y="358"/>
                  <a:pt x="182" y="377"/>
                  <a:pt x="182" y="399"/>
                </a:cubicBezTo>
                <a:cubicBezTo>
                  <a:pt x="182" y="421"/>
                  <a:pt x="200" y="440"/>
                  <a:pt x="222" y="440"/>
                </a:cubicBezTo>
                <a:cubicBezTo>
                  <a:pt x="245" y="440"/>
                  <a:pt x="263" y="421"/>
                  <a:pt x="263" y="399"/>
                </a:cubicBezTo>
                <a:cubicBezTo>
                  <a:pt x="263" y="377"/>
                  <a:pt x="245" y="358"/>
                  <a:pt x="222" y="358"/>
                </a:cubicBezTo>
                <a:close/>
                <a:moveTo>
                  <a:pt x="222" y="425"/>
                </a:moveTo>
                <a:cubicBezTo>
                  <a:pt x="208" y="425"/>
                  <a:pt x="197" y="413"/>
                  <a:pt x="197" y="399"/>
                </a:cubicBezTo>
                <a:cubicBezTo>
                  <a:pt x="197" y="385"/>
                  <a:pt x="208" y="373"/>
                  <a:pt x="222" y="373"/>
                </a:cubicBezTo>
                <a:cubicBezTo>
                  <a:pt x="237" y="373"/>
                  <a:pt x="248" y="385"/>
                  <a:pt x="248" y="399"/>
                </a:cubicBezTo>
                <a:cubicBezTo>
                  <a:pt x="248" y="413"/>
                  <a:pt x="237" y="425"/>
                  <a:pt x="222" y="425"/>
                </a:cubicBezTo>
                <a:close/>
                <a:moveTo>
                  <a:pt x="339" y="0"/>
                </a:moveTo>
                <a:cubicBezTo>
                  <a:pt x="74" y="0"/>
                  <a:pt x="74" y="0"/>
                  <a:pt x="74" y="0"/>
                </a:cubicBezTo>
                <a:cubicBezTo>
                  <a:pt x="33" y="0"/>
                  <a:pt x="0" y="33"/>
                  <a:pt x="0" y="74"/>
                </a:cubicBezTo>
                <a:cubicBezTo>
                  <a:pt x="0" y="204"/>
                  <a:pt x="0" y="204"/>
                  <a:pt x="0" y="204"/>
                </a:cubicBezTo>
                <a:cubicBezTo>
                  <a:pt x="0" y="245"/>
                  <a:pt x="33" y="278"/>
                  <a:pt x="74" y="278"/>
                </a:cubicBezTo>
                <a:cubicBezTo>
                  <a:pt x="339" y="278"/>
                  <a:pt x="339" y="278"/>
                  <a:pt x="339" y="278"/>
                </a:cubicBezTo>
                <a:cubicBezTo>
                  <a:pt x="380" y="278"/>
                  <a:pt x="413" y="245"/>
                  <a:pt x="413" y="204"/>
                </a:cubicBezTo>
                <a:cubicBezTo>
                  <a:pt x="413" y="74"/>
                  <a:pt x="413" y="74"/>
                  <a:pt x="413" y="74"/>
                </a:cubicBezTo>
                <a:cubicBezTo>
                  <a:pt x="413" y="33"/>
                  <a:pt x="380" y="0"/>
                  <a:pt x="339" y="0"/>
                </a:cubicBezTo>
                <a:close/>
                <a:moveTo>
                  <a:pt x="398" y="204"/>
                </a:moveTo>
                <a:cubicBezTo>
                  <a:pt x="398" y="237"/>
                  <a:pt x="372" y="263"/>
                  <a:pt x="339" y="263"/>
                </a:cubicBezTo>
                <a:cubicBezTo>
                  <a:pt x="74" y="263"/>
                  <a:pt x="74" y="263"/>
                  <a:pt x="74" y="263"/>
                </a:cubicBezTo>
                <a:cubicBezTo>
                  <a:pt x="41" y="263"/>
                  <a:pt x="14" y="237"/>
                  <a:pt x="14" y="204"/>
                </a:cubicBezTo>
                <a:cubicBezTo>
                  <a:pt x="14" y="74"/>
                  <a:pt x="14" y="74"/>
                  <a:pt x="14" y="74"/>
                </a:cubicBezTo>
                <a:cubicBezTo>
                  <a:pt x="14" y="41"/>
                  <a:pt x="41" y="15"/>
                  <a:pt x="74" y="15"/>
                </a:cubicBezTo>
                <a:cubicBezTo>
                  <a:pt x="339" y="15"/>
                  <a:pt x="339" y="15"/>
                  <a:pt x="339" y="15"/>
                </a:cubicBezTo>
                <a:cubicBezTo>
                  <a:pt x="372" y="15"/>
                  <a:pt x="398" y="41"/>
                  <a:pt x="398" y="74"/>
                </a:cubicBezTo>
                <a:lnTo>
                  <a:pt x="398" y="204"/>
                </a:lnTo>
                <a:close/>
              </a:path>
            </a:pathLst>
          </a:custGeom>
          <a:solidFill>
            <a:schemeClr val="accent2"/>
          </a:solidFill>
          <a:ln>
            <a:noFill/>
          </a:ln>
        </p:spPr>
        <p:txBody>
          <a:bodyPr vert="horz" wrap="square" lIns="68571" tIns="34286" rIns="68571" bIns="34286" numCol="1" anchor="t" anchorCtr="0" compatLnSpc="1">
            <a:prstTxWarp prst="textNoShape">
              <a:avLst/>
            </a:prstTxWarp>
          </a:bodyPr>
          <a:lstStyle/>
          <a:p>
            <a:endParaRPr lang="en-US"/>
          </a:p>
        </p:txBody>
      </p:sp>
      <p:sp>
        <p:nvSpPr>
          <p:cNvPr id="194" name="Freeform 76"/>
          <p:cNvSpPr>
            <a:spLocks noEditPoints="1"/>
          </p:cNvSpPr>
          <p:nvPr/>
        </p:nvSpPr>
        <p:spPr bwMode="auto">
          <a:xfrm>
            <a:off x="5994222" y="1172182"/>
            <a:ext cx="487109" cy="172316"/>
          </a:xfrm>
          <a:custGeom>
            <a:avLst/>
            <a:gdLst>
              <a:gd name="T0" fmla="*/ 406 w 413"/>
              <a:gd name="T1" fmla="*/ 0 h 146"/>
              <a:gd name="T2" fmla="*/ 7 w 413"/>
              <a:gd name="T3" fmla="*/ 0 h 146"/>
              <a:gd name="T4" fmla="*/ 0 w 413"/>
              <a:gd name="T5" fmla="*/ 7 h 146"/>
              <a:gd name="T6" fmla="*/ 0 w 413"/>
              <a:gd name="T7" fmla="*/ 74 h 146"/>
              <a:gd name="T8" fmla="*/ 7 w 413"/>
              <a:gd name="T9" fmla="*/ 81 h 146"/>
              <a:gd name="T10" fmla="*/ 188 w 413"/>
              <a:gd name="T11" fmla="*/ 81 h 146"/>
              <a:gd name="T12" fmla="*/ 134 w 413"/>
              <a:gd name="T13" fmla="*/ 133 h 146"/>
              <a:gd name="T14" fmla="*/ 132 w 413"/>
              <a:gd name="T15" fmla="*/ 141 h 146"/>
              <a:gd name="T16" fmla="*/ 139 w 413"/>
              <a:gd name="T17" fmla="*/ 146 h 146"/>
              <a:gd name="T18" fmla="*/ 273 w 413"/>
              <a:gd name="T19" fmla="*/ 146 h 146"/>
              <a:gd name="T20" fmla="*/ 280 w 413"/>
              <a:gd name="T21" fmla="*/ 141 h 146"/>
              <a:gd name="T22" fmla="*/ 278 w 413"/>
              <a:gd name="T23" fmla="*/ 133 h 146"/>
              <a:gd name="T24" fmla="*/ 224 w 413"/>
              <a:gd name="T25" fmla="*/ 81 h 146"/>
              <a:gd name="T26" fmla="*/ 406 w 413"/>
              <a:gd name="T27" fmla="*/ 81 h 146"/>
              <a:gd name="T28" fmla="*/ 413 w 413"/>
              <a:gd name="T29" fmla="*/ 74 h 146"/>
              <a:gd name="T30" fmla="*/ 413 w 413"/>
              <a:gd name="T31" fmla="*/ 7 h 146"/>
              <a:gd name="T32" fmla="*/ 406 w 413"/>
              <a:gd name="T33" fmla="*/ 0 h 146"/>
              <a:gd name="T34" fmla="*/ 110 w 413"/>
              <a:gd name="T35" fmla="*/ 60 h 146"/>
              <a:gd name="T36" fmla="*/ 90 w 413"/>
              <a:gd name="T37" fmla="*/ 40 h 146"/>
              <a:gd name="T38" fmla="*/ 110 w 413"/>
              <a:gd name="T39" fmla="*/ 20 h 146"/>
              <a:gd name="T40" fmla="*/ 131 w 413"/>
              <a:gd name="T41" fmla="*/ 40 h 146"/>
              <a:gd name="T42" fmla="*/ 110 w 413"/>
              <a:gd name="T43" fmla="*/ 60 h 146"/>
              <a:gd name="T44" fmla="*/ 239 w 413"/>
              <a:gd name="T45" fmla="*/ 61 h 146"/>
              <a:gd name="T46" fmla="*/ 219 w 413"/>
              <a:gd name="T47" fmla="*/ 40 h 146"/>
              <a:gd name="T48" fmla="*/ 239 w 413"/>
              <a:gd name="T49" fmla="*/ 20 h 146"/>
              <a:gd name="T50" fmla="*/ 259 w 413"/>
              <a:gd name="T51" fmla="*/ 40 h 146"/>
              <a:gd name="T52" fmla="*/ 239 w 413"/>
              <a:gd name="T53" fmla="*/ 61 h 146"/>
              <a:gd name="T54" fmla="*/ 306 w 413"/>
              <a:gd name="T55" fmla="*/ 62 h 146"/>
              <a:gd name="T56" fmla="*/ 285 w 413"/>
              <a:gd name="T57" fmla="*/ 42 h 146"/>
              <a:gd name="T58" fmla="*/ 306 w 413"/>
              <a:gd name="T59" fmla="*/ 22 h 146"/>
              <a:gd name="T60" fmla="*/ 326 w 413"/>
              <a:gd name="T61" fmla="*/ 42 h 146"/>
              <a:gd name="T62" fmla="*/ 306 w 413"/>
              <a:gd name="T63" fmla="*/ 6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3" h="146">
                <a:moveTo>
                  <a:pt x="406" y="0"/>
                </a:moveTo>
                <a:cubicBezTo>
                  <a:pt x="7" y="0"/>
                  <a:pt x="7" y="0"/>
                  <a:pt x="7" y="0"/>
                </a:cubicBezTo>
                <a:cubicBezTo>
                  <a:pt x="3" y="0"/>
                  <a:pt x="0" y="3"/>
                  <a:pt x="0" y="7"/>
                </a:cubicBezTo>
                <a:cubicBezTo>
                  <a:pt x="0" y="74"/>
                  <a:pt x="0" y="74"/>
                  <a:pt x="0" y="74"/>
                </a:cubicBezTo>
                <a:cubicBezTo>
                  <a:pt x="0" y="78"/>
                  <a:pt x="3" y="81"/>
                  <a:pt x="7" y="81"/>
                </a:cubicBezTo>
                <a:cubicBezTo>
                  <a:pt x="188" y="81"/>
                  <a:pt x="188" y="81"/>
                  <a:pt x="188" y="81"/>
                </a:cubicBezTo>
                <a:cubicBezTo>
                  <a:pt x="134" y="133"/>
                  <a:pt x="134" y="133"/>
                  <a:pt x="134" y="133"/>
                </a:cubicBezTo>
                <a:cubicBezTo>
                  <a:pt x="132" y="135"/>
                  <a:pt x="131" y="138"/>
                  <a:pt x="132" y="141"/>
                </a:cubicBezTo>
                <a:cubicBezTo>
                  <a:pt x="134" y="144"/>
                  <a:pt x="136" y="146"/>
                  <a:pt x="139" y="146"/>
                </a:cubicBezTo>
                <a:cubicBezTo>
                  <a:pt x="273" y="146"/>
                  <a:pt x="273" y="146"/>
                  <a:pt x="273" y="146"/>
                </a:cubicBezTo>
                <a:cubicBezTo>
                  <a:pt x="276" y="146"/>
                  <a:pt x="279" y="144"/>
                  <a:pt x="280" y="141"/>
                </a:cubicBezTo>
                <a:cubicBezTo>
                  <a:pt x="281" y="139"/>
                  <a:pt x="280" y="135"/>
                  <a:pt x="278" y="133"/>
                </a:cubicBezTo>
                <a:cubicBezTo>
                  <a:pt x="224" y="81"/>
                  <a:pt x="224" y="81"/>
                  <a:pt x="224" y="81"/>
                </a:cubicBezTo>
                <a:cubicBezTo>
                  <a:pt x="406" y="81"/>
                  <a:pt x="406" y="81"/>
                  <a:pt x="406" y="81"/>
                </a:cubicBezTo>
                <a:cubicBezTo>
                  <a:pt x="410" y="81"/>
                  <a:pt x="413" y="78"/>
                  <a:pt x="413" y="74"/>
                </a:cubicBezTo>
                <a:cubicBezTo>
                  <a:pt x="413" y="7"/>
                  <a:pt x="413" y="7"/>
                  <a:pt x="413" y="7"/>
                </a:cubicBezTo>
                <a:cubicBezTo>
                  <a:pt x="413" y="3"/>
                  <a:pt x="410" y="0"/>
                  <a:pt x="406" y="0"/>
                </a:cubicBezTo>
                <a:close/>
                <a:moveTo>
                  <a:pt x="110" y="60"/>
                </a:moveTo>
                <a:cubicBezTo>
                  <a:pt x="99" y="60"/>
                  <a:pt x="90" y="51"/>
                  <a:pt x="90" y="40"/>
                </a:cubicBezTo>
                <a:cubicBezTo>
                  <a:pt x="90" y="29"/>
                  <a:pt x="99" y="20"/>
                  <a:pt x="110" y="20"/>
                </a:cubicBezTo>
                <a:cubicBezTo>
                  <a:pt x="121" y="20"/>
                  <a:pt x="131" y="29"/>
                  <a:pt x="131" y="40"/>
                </a:cubicBezTo>
                <a:cubicBezTo>
                  <a:pt x="131" y="51"/>
                  <a:pt x="121" y="60"/>
                  <a:pt x="110" y="60"/>
                </a:cubicBezTo>
                <a:close/>
                <a:moveTo>
                  <a:pt x="239" y="61"/>
                </a:moveTo>
                <a:cubicBezTo>
                  <a:pt x="228" y="61"/>
                  <a:pt x="219" y="52"/>
                  <a:pt x="219" y="40"/>
                </a:cubicBezTo>
                <a:cubicBezTo>
                  <a:pt x="219" y="29"/>
                  <a:pt x="228" y="20"/>
                  <a:pt x="239" y="20"/>
                </a:cubicBezTo>
                <a:cubicBezTo>
                  <a:pt x="250" y="20"/>
                  <a:pt x="259" y="29"/>
                  <a:pt x="259" y="40"/>
                </a:cubicBezTo>
                <a:cubicBezTo>
                  <a:pt x="259" y="52"/>
                  <a:pt x="250" y="61"/>
                  <a:pt x="239" y="61"/>
                </a:cubicBezTo>
                <a:close/>
                <a:moveTo>
                  <a:pt x="306" y="62"/>
                </a:moveTo>
                <a:cubicBezTo>
                  <a:pt x="294" y="62"/>
                  <a:pt x="285" y="53"/>
                  <a:pt x="285" y="42"/>
                </a:cubicBezTo>
                <a:cubicBezTo>
                  <a:pt x="285" y="31"/>
                  <a:pt x="294" y="22"/>
                  <a:pt x="306" y="22"/>
                </a:cubicBezTo>
                <a:cubicBezTo>
                  <a:pt x="317" y="22"/>
                  <a:pt x="326" y="31"/>
                  <a:pt x="326" y="42"/>
                </a:cubicBezTo>
                <a:cubicBezTo>
                  <a:pt x="326" y="53"/>
                  <a:pt x="317" y="62"/>
                  <a:pt x="306" y="62"/>
                </a:cubicBezTo>
                <a:close/>
              </a:path>
            </a:pathLst>
          </a:custGeom>
          <a:solidFill>
            <a:schemeClr val="accent1"/>
          </a:solidFill>
          <a:ln>
            <a:noFill/>
          </a:ln>
        </p:spPr>
        <p:txBody>
          <a:bodyPr vert="horz" wrap="square" lIns="68571" tIns="34286" rIns="68571" bIns="34286" numCol="1" anchor="t" anchorCtr="0" compatLnSpc="1">
            <a:prstTxWarp prst="textNoShape">
              <a:avLst/>
            </a:prstTxWarp>
          </a:bodyPr>
          <a:lstStyle/>
          <a:p>
            <a:endParaRPr lang="en-US"/>
          </a:p>
        </p:txBody>
      </p:sp>
      <p:sp>
        <p:nvSpPr>
          <p:cNvPr id="195" name="Freeform 77"/>
          <p:cNvSpPr>
            <a:spLocks noEditPoints="1"/>
          </p:cNvSpPr>
          <p:nvPr/>
        </p:nvSpPr>
        <p:spPr bwMode="auto">
          <a:xfrm>
            <a:off x="5090830" y="2511562"/>
            <a:ext cx="487109" cy="334145"/>
          </a:xfrm>
          <a:custGeom>
            <a:avLst/>
            <a:gdLst>
              <a:gd name="T0" fmla="*/ 340 w 413"/>
              <a:gd name="T1" fmla="*/ 283 h 283"/>
              <a:gd name="T2" fmla="*/ 73 w 413"/>
              <a:gd name="T3" fmla="*/ 283 h 283"/>
              <a:gd name="T4" fmla="*/ 72 w 413"/>
              <a:gd name="T5" fmla="*/ 283 h 283"/>
              <a:gd name="T6" fmla="*/ 0 w 413"/>
              <a:gd name="T7" fmla="*/ 209 h 283"/>
              <a:gd name="T8" fmla="*/ 70 w 413"/>
              <a:gd name="T9" fmla="*/ 135 h 283"/>
              <a:gd name="T10" fmla="*/ 66 w 413"/>
              <a:gd name="T11" fmla="*/ 107 h 283"/>
              <a:gd name="T12" fmla="*/ 173 w 413"/>
              <a:gd name="T13" fmla="*/ 0 h 283"/>
              <a:gd name="T14" fmla="*/ 273 w 413"/>
              <a:gd name="T15" fmla="*/ 69 h 283"/>
              <a:gd name="T16" fmla="*/ 273 w 413"/>
              <a:gd name="T17" fmla="*/ 69 h 283"/>
              <a:gd name="T18" fmla="*/ 346 w 413"/>
              <a:gd name="T19" fmla="*/ 135 h 283"/>
              <a:gd name="T20" fmla="*/ 413 w 413"/>
              <a:gd name="T21" fmla="*/ 209 h 283"/>
              <a:gd name="T22" fmla="*/ 341 w 413"/>
              <a:gd name="T23" fmla="*/ 283 h 283"/>
              <a:gd name="T24" fmla="*/ 340 w 413"/>
              <a:gd name="T25" fmla="*/ 283 h 283"/>
              <a:gd name="T26" fmla="*/ 73 w 413"/>
              <a:gd name="T27" fmla="*/ 268 h 283"/>
              <a:gd name="T28" fmla="*/ 339 w 413"/>
              <a:gd name="T29" fmla="*/ 268 h 283"/>
              <a:gd name="T30" fmla="*/ 340 w 413"/>
              <a:gd name="T31" fmla="*/ 268 h 283"/>
              <a:gd name="T32" fmla="*/ 398 w 413"/>
              <a:gd name="T33" fmla="*/ 209 h 283"/>
              <a:gd name="T34" fmla="*/ 339 w 413"/>
              <a:gd name="T35" fmla="*/ 150 h 283"/>
              <a:gd name="T36" fmla="*/ 332 w 413"/>
              <a:gd name="T37" fmla="*/ 142 h 283"/>
              <a:gd name="T38" fmla="*/ 273 w 413"/>
              <a:gd name="T39" fmla="*/ 83 h 283"/>
              <a:gd name="T40" fmla="*/ 268 w 413"/>
              <a:gd name="T41" fmla="*/ 84 h 283"/>
              <a:gd name="T42" fmla="*/ 261 w 413"/>
              <a:gd name="T43" fmla="*/ 79 h 283"/>
              <a:gd name="T44" fmla="*/ 173 w 413"/>
              <a:gd name="T45" fmla="*/ 15 h 283"/>
              <a:gd name="T46" fmla="*/ 81 w 413"/>
              <a:gd name="T47" fmla="*/ 107 h 283"/>
              <a:gd name="T48" fmla="*/ 87 w 413"/>
              <a:gd name="T49" fmla="*/ 140 h 283"/>
              <a:gd name="T50" fmla="*/ 86 w 413"/>
              <a:gd name="T51" fmla="*/ 147 h 283"/>
              <a:gd name="T52" fmla="*/ 79 w 413"/>
              <a:gd name="T53" fmla="*/ 150 h 283"/>
              <a:gd name="T54" fmla="*/ 73 w 413"/>
              <a:gd name="T55" fmla="*/ 150 h 283"/>
              <a:gd name="T56" fmla="*/ 14 w 413"/>
              <a:gd name="T57" fmla="*/ 209 h 283"/>
              <a:gd name="T58" fmla="*/ 73 w 413"/>
              <a:gd name="T59" fmla="*/ 268 h 283"/>
              <a:gd name="T60" fmla="*/ 73 w 413"/>
              <a:gd name="T61" fmla="*/ 268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3" h="283">
                <a:moveTo>
                  <a:pt x="340" y="283"/>
                </a:moveTo>
                <a:cubicBezTo>
                  <a:pt x="73" y="283"/>
                  <a:pt x="73" y="283"/>
                  <a:pt x="73" y="283"/>
                </a:cubicBezTo>
                <a:cubicBezTo>
                  <a:pt x="73" y="283"/>
                  <a:pt x="72" y="283"/>
                  <a:pt x="72" y="283"/>
                </a:cubicBezTo>
                <a:cubicBezTo>
                  <a:pt x="32" y="282"/>
                  <a:pt x="0" y="249"/>
                  <a:pt x="0" y="209"/>
                </a:cubicBezTo>
                <a:cubicBezTo>
                  <a:pt x="0" y="169"/>
                  <a:pt x="31" y="137"/>
                  <a:pt x="70" y="135"/>
                </a:cubicBezTo>
                <a:cubicBezTo>
                  <a:pt x="67" y="126"/>
                  <a:pt x="66" y="117"/>
                  <a:pt x="66" y="107"/>
                </a:cubicBezTo>
                <a:cubicBezTo>
                  <a:pt x="66" y="48"/>
                  <a:pt x="114" y="0"/>
                  <a:pt x="173" y="0"/>
                </a:cubicBezTo>
                <a:cubicBezTo>
                  <a:pt x="217" y="0"/>
                  <a:pt x="257" y="27"/>
                  <a:pt x="273" y="69"/>
                </a:cubicBezTo>
                <a:cubicBezTo>
                  <a:pt x="273" y="69"/>
                  <a:pt x="273" y="69"/>
                  <a:pt x="273" y="69"/>
                </a:cubicBezTo>
                <a:cubicBezTo>
                  <a:pt x="311" y="69"/>
                  <a:pt x="343" y="98"/>
                  <a:pt x="346" y="135"/>
                </a:cubicBezTo>
                <a:cubicBezTo>
                  <a:pt x="384" y="139"/>
                  <a:pt x="413" y="171"/>
                  <a:pt x="413" y="209"/>
                </a:cubicBezTo>
                <a:cubicBezTo>
                  <a:pt x="413" y="249"/>
                  <a:pt x="381" y="282"/>
                  <a:pt x="341" y="283"/>
                </a:cubicBezTo>
                <a:cubicBezTo>
                  <a:pt x="340" y="283"/>
                  <a:pt x="340" y="283"/>
                  <a:pt x="340" y="283"/>
                </a:cubicBezTo>
                <a:close/>
                <a:moveTo>
                  <a:pt x="73" y="268"/>
                </a:moveTo>
                <a:cubicBezTo>
                  <a:pt x="339" y="268"/>
                  <a:pt x="339" y="268"/>
                  <a:pt x="339" y="268"/>
                </a:cubicBezTo>
                <a:cubicBezTo>
                  <a:pt x="339" y="268"/>
                  <a:pt x="340" y="268"/>
                  <a:pt x="340" y="268"/>
                </a:cubicBezTo>
                <a:cubicBezTo>
                  <a:pt x="372" y="268"/>
                  <a:pt x="398" y="241"/>
                  <a:pt x="398" y="209"/>
                </a:cubicBezTo>
                <a:cubicBezTo>
                  <a:pt x="398" y="176"/>
                  <a:pt x="372" y="150"/>
                  <a:pt x="339" y="150"/>
                </a:cubicBezTo>
                <a:cubicBezTo>
                  <a:pt x="335" y="150"/>
                  <a:pt x="332" y="146"/>
                  <a:pt x="332" y="142"/>
                </a:cubicBezTo>
                <a:cubicBezTo>
                  <a:pt x="332" y="110"/>
                  <a:pt x="305" y="83"/>
                  <a:pt x="273" y="83"/>
                </a:cubicBezTo>
                <a:cubicBezTo>
                  <a:pt x="271" y="83"/>
                  <a:pt x="270" y="83"/>
                  <a:pt x="268" y="84"/>
                </a:cubicBezTo>
                <a:cubicBezTo>
                  <a:pt x="265" y="84"/>
                  <a:pt x="262" y="82"/>
                  <a:pt x="261" y="79"/>
                </a:cubicBezTo>
                <a:cubicBezTo>
                  <a:pt x="248" y="40"/>
                  <a:pt x="213" y="15"/>
                  <a:pt x="173" y="15"/>
                </a:cubicBezTo>
                <a:cubicBezTo>
                  <a:pt x="122" y="15"/>
                  <a:pt x="81" y="56"/>
                  <a:pt x="81" y="107"/>
                </a:cubicBezTo>
                <a:cubicBezTo>
                  <a:pt x="81" y="118"/>
                  <a:pt x="83" y="129"/>
                  <a:pt x="87" y="140"/>
                </a:cubicBezTo>
                <a:cubicBezTo>
                  <a:pt x="88" y="142"/>
                  <a:pt x="87" y="145"/>
                  <a:pt x="86" y="147"/>
                </a:cubicBezTo>
                <a:cubicBezTo>
                  <a:pt x="84" y="149"/>
                  <a:pt x="82" y="150"/>
                  <a:pt x="79" y="150"/>
                </a:cubicBezTo>
                <a:cubicBezTo>
                  <a:pt x="77" y="150"/>
                  <a:pt x="75" y="150"/>
                  <a:pt x="73" y="150"/>
                </a:cubicBezTo>
                <a:cubicBezTo>
                  <a:pt x="41" y="150"/>
                  <a:pt x="14" y="176"/>
                  <a:pt x="14" y="209"/>
                </a:cubicBezTo>
                <a:cubicBezTo>
                  <a:pt x="14" y="241"/>
                  <a:pt x="41" y="268"/>
                  <a:pt x="73" y="268"/>
                </a:cubicBezTo>
                <a:cubicBezTo>
                  <a:pt x="73" y="268"/>
                  <a:pt x="73" y="268"/>
                  <a:pt x="73" y="268"/>
                </a:cubicBezTo>
                <a:close/>
              </a:path>
            </a:pathLst>
          </a:custGeom>
          <a:solidFill>
            <a:schemeClr val="accent4"/>
          </a:solidFill>
          <a:ln>
            <a:noFill/>
          </a:ln>
        </p:spPr>
        <p:txBody>
          <a:bodyPr vert="horz" wrap="square" lIns="68571" tIns="34286" rIns="68571" bIns="34286" numCol="1" anchor="t" anchorCtr="0" compatLnSpc="1">
            <a:prstTxWarp prst="textNoShape">
              <a:avLst/>
            </a:prstTxWarp>
          </a:bodyPr>
          <a:lstStyle/>
          <a:p>
            <a:endParaRPr lang="en-US"/>
          </a:p>
        </p:txBody>
      </p:sp>
      <p:sp>
        <p:nvSpPr>
          <p:cNvPr id="196" name="Freeform 78"/>
          <p:cNvSpPr>
            <a:spLocks noEditPoints="1"/>
          </p:cNvSpPr>
          <p:nvPr/>
        </p:nvSpPr>
        <p:spPr bwMode="auto">
          <a:xfrm>
            <a:off x="4226157" y="2473852"/>
            <a:ext cx="409671" cy="409565"/>
          </a:xfrm>
          <a:custGeom>
            <a:avLst/>
            <a:gdLst>
              <a:gd name="T0" fmla="*/ 174 w 347"/>
              <a:gd name="T1" fmla="*/ 0 h 347"/>
              <a:gd name="T2" fmla="*/ 0 w 347"/>
              <a:gd name="T3" fmla="*/ 174 h 347"/>
              <a:gd name="T4" fmla="*/ 174 w 347"/>
              <a:gd name="T5" fmla="*/ 347 h 347"/>
              <a:gd name="T6" fmla="*/ 347 w 347"/>
              <a:gd name="T7" fmla="*/ 174 h 347"/>
              <a:gd name="T8" fmla="*/ 174 w 347"/>
              <a:gd name="T9" fmla="*/ 0 h 347"/>
              <a:gd name="T10" fmla="*/ 332 w 347"/>
              <a:gd name="T11" fmla="*/ 166 h 347"/>
              <a:gd name="T12" fmla="*/ 283 w 347"/>
              <a:gd name="T13" fmla="*/ 166 h 347"/>
              <a:gd name="T14" fmla="*/ 231 w 347"/>
              <a:gd name="T15" fmla="*/ 26 h 347"/>
              <a:gd name="T16" fmla="*/ 332 w 347"/>
              <a:gd name="T17" fmla="*/ 166 h 347"/>
              <a:gd name="T18" fmla="*/ 174 w 347"/>
              <a:gd name="T19" fmla="*/ 332 h 347"/>
              <a:gd name="T20" fmla="*/ 147 w 347"/>
              <a:gd name="T21" fmla="*/ 181 h 347"/>
              <a:gd name="T22" fmla="*/ 200 w 347"/>
              <a:gd name="T23" fmla="*/ 181 h 347"/>
              <a:gd name="T24" fmla="*/ 174 w 347"/>
              <a:gd name="T25" fmla="*/ 332 h 347"/>
              <a:gd name="T26" fmla="*/ 147 w 347"/>
              <a:gd name="T27" fmla="*/ 166 h 347"/>
              <a:gd name="T28" fmla="*/ 174 w 347"/>
              <a:gd name="T29" fmla="*/ 15 h 347"/>
              <a:gd name="T30" fmla="*/ 174 w 347"/>
              <a:gd name="T31" fmla="*/ 15 h 347"/>
              <a:gd name="T32" fmla="*/ 200 w 347"/>
              <a:gd name="T33" fmla="*/ 166 h 347"/>
              <a:gd name="T34" fmla="*/ 147 w 347"/>
              <a:gd name="T35" fmla="*/ 166 h 347"/>
              <a:gd name="T36" fmla="*/ 153 w 347"/>
              <a:gd name="T37" fmla="*/ 19 h 347"/>
              <a:gd name="T38" fmla="*/ 133 w 347"/>
              <a:gd name="T39" fmla="*/ 166 h 347"/>
              <a:gd name="T40" fmla="*/ 79 w 347"/>
              <a:gd name="T41" fmla="*/ 166 h 347"/>
              <a:gd name="T42" fmla="*/ 153 w 347"/>
              <a:gd name="T43" fmla="*/ 19 h 347"/>
              <a:gd name="T44" fmla="*/ 133 w 347"/>
              <a:gd name="T45" fmla="*/ 181 h 347"/>
              <a:gd name="T46" fmla="*/ 153 w 347"/>
              <a:gd name="T47" fmla="*/ 329 h 347"/>
              <a:gd name="T48" fmla="*/ 79 w 347"/>
              <a:gd name="T49" fmla="*/ 181 h 347"/>
              <a:gd name="T50" fmla="*/ 133 w 347"/>
              <a:gd name="T51" fmla="*/ 181 h 347"/>
              <a:gd name="T52" fmla="*/ 194 w 347"/>
              <a:gd name="T53" fmla="*/ 329 h 347"/>
              <a:gd name="T54" fmla="*/ 215 w 347"/>
              <a:gd name="T55" fmla="*/ 181 h 347"/>
              <a:gd name="T56" fmla="*/ 268 w 347"/>
              <a:gd name="T57" fmla="*/ 181 h 347"/>
              <a:gd name="T58" fmla="*/ 194 w 347"/>
              <a:gd name="T59" fmla="*/ 329 h 347"/>
              <a:gd name="T60" fmla="*/ 215 w 347"/>
              <a:gd name="T61" fmla="*/ 166 h 347"/>
              <a:gd name="T62" fmla="*/ 194 w 347"/>
              <a:gd name="T63" fmla="*/ 19 h 347"/>
              <a:gd name="T64" fmla="*/ 268 w 347"/>
              <a:gd name="T65" fmla="*/ 166 h 347"/>
              <a:gd name="T66" fmla="*/ 215 w 347"/>
              <a:gd name="T67" fmla="*/ 166 h 347"/>
              <a:gd name="T68" fmla="*/ 117 w 347"/>
              <a:gd name="T69" fmla="*/ 26 h 347"/>
              <a:gd name="T70" fmla="*/ 64 w 347"/>
              <a:gd name="T71" fmla="*/ 166 h 347"/>
              <a:gd name="T72" fmla="*/ 15 w 347"/>
              <a:gd name="T73" fmla="*/ 166 h 347"/>
              <a:gd name="T74" fmla="*/ 117 w 347"/>
              <a:gd name="T75" fmla="*/ 26 h 347"/>
              <a:gd name="T76" fmla="*/ 15 w 347"/>
              <a:gd name="T77" fmla="*/ 181 h 347"/>
              <a:gd name="T78" fmla="*/ 64 w 347"/>
              <a:gd name="T79" fmla="*/ 181 h 347"/>
              <a:gd name="T80" fmla="*/ 117 w 347"/>
              <a:gd name="T81" fmla="*/ 322 h 347"/>
              <a:gd name="T82" fmla="*/ 15 w 347"/>
              <a:gd name="T83" fmla="*/ 181 h 347"/>
              <a:gd name="T84" fmla="*/ 231 w 347"/>
              <a:gd name="T85" fmla="*/ 322 h 347"/>
              <a:gd name="T86" fmla="*/ 283 w 347"/>
              <a:gd name="T87" fmla="*/ 181 h 347"/>
              <a:gd name="T88" fmla="*/ 332 w 347"/>
              <a:gd name="T89" fmla="*/ 181 h 347"/>
              <a:gd name="T90" fmla="*/ 231 w 347"/>
              <a:gd name="T91" fmla="*/ 322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7" h="347">
                <a:moveTo>
                  <a:pt x="174" y="0"/>
                </a:moveTo>
                <a:cubicBezTo>
                  <a:pt x="78" y="0"/>
                  <a:pt x="0" y="78"/>
                  <a:pt x="0" y="174"/>
                </a:cubicBezTo>
                <a:cubicBezTo>
                  <a:pt x="0" y="269"/>
                  <a:pt x="78" y="347"/>
                  <a:pt x="174" y="347"/>
                </a:cubicBezTo>
                <a:cubicBezTo>
                  <a:pt x="269" y="347"/>
                  <a:pt x="347" y="269"/>
                  <a:pt x="347" y="174"/>
                </a:cubicBezTo>
                <a:cubicBezTo>
                  <a:pt x="347" y="78"/>
                  <a:pt x="269" y="0"/>
                  <a:pt x="174" y="0"/>
                </a:cubicBezTo>
                <a:close/>
                <a:moveTo>
                  <a:pt x="332" y="166"/>
                </a:moveTo>
                <a:cubicBezTo>
                  <a:pt x="283" y="166"/>
                  <a:pt x="283" y="166"/>
                  <a:pt x="283" y="166"/>
                </a:cubicBezTo>
                <a:cubicBezTo>
                  <a:pt x="281" y="107"/>
                  <a:pt x="261" y="55"/>
                  <a:pt x="231" y="26"/>
                </a:cubicBezTo>
                <a:cubicBezTo>
                  <a:pt x="288" y="48"/>
                  <a:pt x="329" y="102"/>
                  <a:pt x="332" y="166"/>
                </a:cubicBezTo>
                <a:close/>
                <a:moveTo>
                  <a:pt x="174" y="332"/>
                </a:moveTo>
                <a:cubicBezTo>
                  <a:pt x="165" y="330"/>
                  <a:pt x="148" y="277"/>
                  <a:pt x="147" y="181"/>
                </a:cubicBezTo>
                <a:cubicBezTo>
                  <a:pt x="200" y="181"/>
                  <a:pt x="200" y="181"/>
                  <a:pt x="200" y="181"/>
                </a:cubicBezTo>
                <a:cubicBezTo>
                  <a:pt x="199" y="277"/>
                  <a:pt x="183" y="330"/>
                  <a:pt x="174" y="332"/>
                </a:cubicBezTo>
                <a:close/>
                <a:moveTo>
                  <a:pt x="147" y="166"/>
                </a:moveTo>
                <a:cubicBezTo>
                  <a:pt x="148" y="70"/>
                  <a:pt x="165" y="17"/>
                  <a:pt x="174" y="15"/>
                </a:cubicBezTo>
                <a:cubicBezTo>
                  <a:pt x="174" y="15"/>
                  <a:pt x="174" y="15"/>
                  <a:pt x="174" y="15"/>
                </a:cubicBezTo>
                <a:cubicBezTo>
                  <a:pt x="183" y="17"/>
                  <a:pt x="199" y="70"/>
                  <a:pt x="200" y="166"/>
                </a:cubicBezTo>
                <a:lnTo>
                  <a:pt x="147" y="166"/>
                </a:lnTo>
                <a:close/>
                <a:moveTo>
                  <a:pt x="153" y="19"/>
                </a:moveTo>
                <a:cubicBezTo>
                  <a:pt x="138" y="51"/>
                  <a:pt x="133" y="118"/>
                  <a:pt x="133" y="166"/>
                </a:cubicBezTo>
                <a:cubicBezTo>
                  <a:pt x="79" y="166"/>
                  <a:pt x="79" y="166"/>
                  <a:pt x="79" y="166"/>
                </a:cubicBezTo>
                <a:cubicBezTo>
                  <a:pt x="81" y="94"/>
                  <a:pt x="112" y="34"/>
                  <a:pt x="153" y="19"/>
                </a:cubicBezTo>
                <a:close/>
                <a:moveTo>
                  <a:pt x="133" y="181"/>
                </a:moveTo>
                <a:cubicBezTo>
                  <a:pt x="133" y="229"/>
                  <a:pt x="138" y="296"/>
                  <a:pt x="153" y="329"/>
                </a:cubicBezTo>
                <a:cubicBezTo>
                  <a:pt x="112" y="313"/>
                  <a:pt x="81" y="254"/>
                  <a:pt x="79" y="181"/>
                </a:cubicBezTo>
                <a:lnTo>
                  <a:pt x="133" y="181"/>
                </a:lnTo>
                <a:close/>
                <a:moveTo>
                  <a:pt x="194" y="329"/>
                </a:moveTo>
                <a:cubicBezTo>
                  <a:pt x="209" y="296"/>
                  <a:pt x="214" y="229"/>
                  <a:pt x="215" y="181"/>
                </a:cubicBezTo>
                <a:cubicBezTo>
                  <a:pt x="268" y="181"/>
                  <a:pt x="268" y="181"/>
                  <a:pt x="268" y="181"/>
                </a:cubicBezTo>
                <a:cubicBezTo>
                  <a:pt x="266" y="254"/>
                  <a:pt x="235" y="313"/>
                  <a:pt x="194" y="329"/>
                </a:cubicBezTo>
                <a:close/>
                <a:moveTo>
                  <a:pt x="215" y="166"/>
                </a:moveTo>
                <a:cubicBezTo>
                  <a:pt x="214" y="118"/>
                  <a:pt x="209" y="51"/>
                  <a:pt x="194" y="19"/>
                </a:cubicBezTo>
                <a:cubicBezTo>
                  <a:pt x="235" y="34"/>
                  <a:pt x="266" y="94"/>
                  <a:pt x="268" y="166"/>
                </a:cubicBezTo>
                <a:lnTo>
                  <a:pt x="215" y="166"/>
                </a:lnTo>
                <a:close/>
                <a:moveTo>
                  <a:pt x="117" y="26"/>
                </a:moveTo>
                <a:cubicBezTo>
                  <a:pt x="87" y="55"/>
                  <a:pt x="66" y="107"/>
                  <a:pt x="64" y="166"/>
                </a:cubicBezTo>
                <a:cubicBezTo>
                  <a:pt x="15" y="166"/>
                  <a:pt x="15" y="166"/>
                  <a:pt x="15" y="166"/>
                </a:cubicBezTo>
                <a:cubicBezTo>
                  <a:pt x="18" y="102"/>
                  <a:pt x="59" y="48"/>
                  <a:pt x="117" y="26"/>
                </a:cubicBezTo>
                <a:close/>
                <a:moveTo>
                  <a:pt x="15" y="181"/>
                </a:moveTo>
                <a:cubicBezTo>
                  <a:pt x="64" y="181"/>
                  <a:pt x="64" y="181"/>
                  <a:pt x="64" y="181"/>
                </a:cubicBezTo>
                <a:cubicBezTo>
                  <a:pt x="66" y="241"/>
                  <a:pt x="87" y="292"/>
                  <a:pt x="117" y="322"/>
                </a:cubicBezTo>
                <a:cubicBezTo>
                  <a:pt x="59" y="300"/>
                  <a:pt x="18" y="245"/>
                  <a:pt x="15" y="181"/>
                </a:cubicBezTo>
                <a:close/>
                <a:moveTo>
                  <a:pt x="231" y="322"/>
                </a:moveTo>
                <a:cubicBezTo>
                  <a:pt x="261" y="292"/>
                  <a:pt x="281" y="241"/>
                  <a:pt x="283" y="181"/>
                </a:cubicBezTo>
                <a:cubicBezTo>
                  <a:pt x="332" y="181"/>
                  <a:pt x="332" y="181"/>
                  <a:pt x="332" y="181"/>
                </a:cubicBezTo>
                <a:cubicBezTo>
                  <a:pt x="329" y="245"/>
                  <a:pt x="288" y="300"/>
                  <a:pt x="231" y="322"/>
                </a:cubicBezTo>
                <a:close/>
              </a:path>
            </a:pathLst>
          </a:custGeom>
          <a:solidFill>
            <a:schemeClr val="accent2"/>
          </a:solidFill>
          <a:ln>
            <a:noFill/>
          </a:ln>
        </p:spPr>
        <p:txBody>
          <a:bodyPr vert="horz" wrap="square" lIns="68571" tIns="34286" rIns="68571" bIns="34286" numCol="1" anchor="t" anchorCtr="0" compatLnSpc="1">
            <a:prstTxWarp prst="textNoShape">
              <a:avLst/>
            </a:prstTxWarp>
          </a:bodyPr>
          <a:lstStyle/>
          <a:p>
            <a:endParaRPr lang="en-US"/>
          </a:p>
        </p:txBody>
      </p:sp>
      <p:sp>
        <p:nvSpPr>
          <p:cNvPr id="197" name="Freeform 79"/>
          <p:cNvSpPr>
            <a:spLocks noEditPoints="1"/>
          </p:cNvSpPr>
          <p:nvPr/>
        </p:nvSpPr>
        <p:spPr bwMode="auto">
          <a:xfrm>
            <a:off x="1477014" y="2454618"/>
            <a:ext cx="487608" cy="448024"/>
          </a:xfrm>
          <a:custGeom>
            <a:avLst/>
            <a:gdLst>
              <a:gd name="T0" fmla="*/ 406 w 413"/>
              <a:gd name="T1" fmla="*/ 0 h 380"/>
              <a:gd name="T2" fmla="*/ 7 w 413"/>
              <a:gd name="T3" fmla="*/ 0 h 380"/>
              <a:gd name="T4" fmla="*/ 0 w 413"/>
              <a:gd name="T5" fmla="*/ 7 h 380"/>
              <a:gd name="T6" fmla="*/ 0 w 413"/>
              <a:gd name="T7" fmla="*/ 273 h 380"/>
              <a:gd name="T8" fmla="*/ 7 w 413"/>
              <a:gd name="T9" fmla="*/ 281 h 380"/>
              <a:gd name="T10" fmla="*/ 133 w 413"/>
              <a:gd name="T11" fmla="*/ 281 h 380"/>
              <a:gd name="T12" fmla="*/ 133 w 413"/>
              <a:gd name="T13" fmla="*/ 332 h 380"/>
              <a:gd name="T14" fmla="*/ 73 w 413"/>
              <a:gd name="T15" fmla="*/ 332 h 380"/>
              <a:gd name="T16" fmla="*/ 65 w 413"/>
              <a:gd name="T17" fmla="*/ 340 h 380"/>
              <a:gd name="T18" fmla="*/ 65 w 413"/>
              <a:gd name="T19" fmla="*/ 373 h 380"/>
              <a:gd name="T20" fmla="*/ 73 w 413"/>
              <a:gd name="T21" fmla="*/ 380 h 380"/>
              <a:gd name="T22" fmla="*/ 339 w 413"/>
              <a:gd name="T23" fmla="*/ 380 h 380"/>
              <a:gd name="T24" fmla="*/ 346 w 413"/>
              <a:gd name="T25" fmla="*/ 373 h 380"/>
              <a:gd name="T26" fmla="*/ 346 w 413"/>
              <a:gd name="T27" fmla="*/ 340 h 380"/>
              <a:gd name="T28" fmla="*/ 339 w 413"/>
              <a:gd name="T29" fmla="*/ 332 h 380"/>
              <a:gd name="T30" fmla="*/ 280 w 413"/>
              <a:gd name="T31" fmla="*/ 332 h 380"/>
              <a:gd name="T32" fmla="*/ 280 w 413"/>
              <a:gd name="T33" fmla="*/ 281 h 380"/>
              <a:gd name="T34" fmla="*/ 406 w 413"/>
              <a:gd name="T35" fmla="*/ 281 h 380"/>
              <a:gd name="T36" fmla="*/ 413 w 413"/>
              <a:gd name="T37" fmla="*/ 273 h 380"/>
              <a:gd name="T38" fmla="*/ 413 w 413"/>
              <a:gd name="T39" fmla="*/ 7 h 380"/>
              <a:gd name="T40" fmla="*/ 406 w 413"/>
              <a:gd name="T41" fmla="*/ 0 h 380"/>
              <a:gd name="T42" fmla="*/ 331 w 413"/>
              <a:gd name="T43" fmla="*/ 366 h 380"/>
              <a:gd name="T44" fmla="*/ 80 w 413"/>
              <a:gd name="T45" fmla="*/ 366 h 380"/>
              <a:gd name="T46" fmla="*/ 80 w 413"/>
              <a:gd name="T47" fmla="*/ 347 h 380"/>
              <a:gd name="T48" fmla="*/ 331 w 413"/>
              <a:gd name="T49" fmla="*/ 347 h 380"/>
              <a:gd name="T50" fmla="*/ 331 w 413"/>
              <a:gd name="T51" fmla="*/ 366 h 380"/>
              <a:gd name="T52" fmla="*/ 266 w 413"/>
              <a:gd name="T53" fmla="*/ 332 h 380"/>
              <a:gd name="T54" fmla="*/ 148 w 413"/>
              <a:gd name="T55" fmla="*/ 332 h 380"/>
              <a:gd name="T56" fmla="*/ 148 w 413"/>
              <a:gd name="T57" fmla="*/ 281 h 380"/>
              <a:gd name="T58" fmla="*/ 266 w 413"/>
              <a:gd name="T59" fmla="*/ 281 h 380"/>
              <a:gd name="T60" fmla="*/ 266 w 413"/>
              <a:gd name="T61" fmla="*/ 332 h 380"/>
              <a:gd name="T62" fmla="*/ 399 w 413"/>
              <a:gd name="T63" fmla="*/ 266 h 380"/>
              <a:gd name="T64" fmla="*/ 15 w 413"/>
              <a:gd name="T65" fmla="*/ 266 h 380"/>
              <a:gd name="T66" fmla="*/ 15 w 413"/>
              <a:gd name="T67" fmla="*/ 15 h 380"/>
              <a:gd name="T68" fmla="*/ 399 w 413"/>
              <a:gd name="T69" fmla="*/ 15 h 380"/>
              <a:gd name="T70" fmla="*/ 399 w 413"/>
              <a:gd name="T71" fmla="*/ 266 h 380"/>
              <a:gd name="T72" fmla="*/ 40 w 413"/>
              <a:gd name="T73" fmla="*/ 247 h 380"/>
              <a:gd name="T74" fmla="*/ 373 w 413"/>
              <a:gd name="T75" fmla="*/ 247 h 380"/>
              <a:gd name="T76" fmla="*/ 381 w 413"/>
              <a:gd name="T77" fmla="*/ 240 h 380"/>
              <a:gd name="T78" fmla="*/ 381 w 413"/>
              <a:gd name="T79" fmla="*/ 41 h 380"/>
              <a:gd name="T80" fmla="*/ 373 w 413"/>
              <a:gd name="T81" fmla="*/ 33 h 380"/>
              <a:gd name="T82" fmla="*/ 40 w 413"/>
              <a:gd name="T83" fmla="*/ 33 h 380"/>
              <a:gd name="T84" fmla="*/ 33 w 413"/>
              <a:gd name="T85" fmla="*/ 41 h 380"/>
              <a:gd name="T86" fmla="*/ 33 w 413"/>
              <a:gd name="T87" fmla="*/ 240 h 380"/>
              <a:gd name="T88" fmla="*/ 40 w 413"/>
              <a:gd name="T89" fmla="*/ 247 h 380"/>
              <a:gd name="T90" fmla="*/ 47 w 413"/>
              <a:gd name="T91" fmla="*/ 48 h 380"/>
              <a:gd name="T92" fmla="*/ 366 w 413"/>
              <a:gd name="T93" fmla="*/ 48 h 380"/>
              <a:gd name="T94" fmla="*/ 366 w 413"/>
              <a:gd name="T95" fmla="*/ 233 h 380"/>
              <a:gd name="T96" fmla="*/ 47 w 413"/>
              <a:gd name="T97" fmla="*/ 233 h 380"/>
              <a:gd name="T98" fmla="*/ 47 w 413"/>
              <a:gd name="T99" fmla="*/ 48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3" h="380">
                <a:moveTo>
                  <a:pt x="406" y="0"/>
                </a:moveTo>
                <a:cubicBezTo>
                  <a:pt x="7" y="0"/>
                  <a:pt x="7" y="0"/>
                  <a:pt x="7" y="0"/>
                </a:cubicBezTo>
                <a:cubicBezTo>
                  <a:pt x="3" y="0"/>
                  <a:pt x="0" y="3"/>
                  <a:pt x="0" y="7"/>
                </a:cubicBezTo>
                <a:cubicBezTo>
                  <a:pt x="0" y="273"/>
                  <a:pt x="0" y="273"/>
                  <a:pt x="0" y="273"/>
                </a:cubicBezTo>
                <a:cubicBezTo>
                  <a:pt x="0" y="277"/>
                  <a:pt x="3" y="281"/>
                  <a:pt x="7" y="281"/>
                </a:cubicBezTo>
                <a:cubicBezTo>
                  <a:pt x="133" y="281"/>
                  <a:pt x="133" y="281"/>
                  <a:pt x="133" y="281"/>
                </a:cubicBezTo>
                <a:cubicBezTo>
                  <a:pt x="133" y="332"/>
                  <a:pt x="133" y="332"/>
                  <a:pt x="133" y="332"/>
                </a:cubicBezTo>
                <a:cubicBezTo>
                  <a:pt x="73" y="332"/>
                  <a:pt x="73" y="332"/>
                  <a:pt x="73" y="332"/>
                </a:cubicBezTo>
                <a:cubicBezTo>
                  <a:pt x="69" y="332"/>
                  <a:pt x="65" y="336"/>
                  <a:pt x="65" y="340"/>
                </a:cubicBezTo>
                <a:cubicBezTo>
                  <a:pt x="65" y="373"/>
                  <a:pt x="65" y="373"/>
                  <a:pt x="65" y="373"/>
                </a:cubicBezTo>
                <a:cubicBezTo>
                  <a:pt x="65" y="377"/>
                  <a:pt x="69" y="380"/>
                  <a:pt x="73" y="380"/>
                </a:cubicBezTo>
                <a:cubicBezTo>
                  <a:pt x="339" y="380"/>
                  <a:pt x="339" y="380"/>
                  <a:pt x="339" y="380"/>
                </a:cubicBezTo>
                <a:cubicBezTo>
                  <a:pt x="343" y="380"/>
                  <a:pt x="346" y="377"/>
                  <a:pt x="346" y="373"/>
                </a:cubicBezTo>
                <a:cubicBezTo>
                  <a:pt x="346" y="340"/>
                  <a:pt x="346" y="340"/>
                  <a:pt x="346" y="340"/>
                </a:cubicBezTo>
                <a:cubicBezTo>
                  <a:pt x="346" y="336"/>
                  <a:pt x="343" y="332"/>
                  <a:pt x="339" y="332"/>
                </a:cubicBezTo>
                <a:cubicBezTo>
                  <a:pt x="280" y="332"/>
                  <a:pt x="280" y="332"/>
                  <a:pt x="280" y="332"/>
                </a:cubicBezTo>
                <a:cubicBezTo>
                  <a:pt x="280" y="281"/>
                  <a:pt x="280" y="281"/>
                  <a:pt x="280" y="281"/>
                </a:cubicBezTo>
                <a:cubicBezTo>
                  <a:pt x="406" y="281"/>
                  <a:pt x="406" y="281"/>
                  <a:pt x="406" y="281"/>
                </a:cubicBezTo>
                <a:cubicBezTo>
                  <a:pt x="410" y="281"/>
                  <a:pt x="413" y="277"/>
                  <a:pt x="413" y="273"/>
                </a:cubicBezTo>
                <a:cubicBezTo>
                  <a:pt x="413" y="7"/>
                  <a:pt x="413" y="7"/>
                  <a:pt x="413" y="7"/>
                </a:cubicBezTo>
                <a:cubicBezTo>
                  <a:pt x="413" y="3"/>
                  <a:pt x="410" y="0"/>
                  <a:pt x="406" y="0"/>
                </a:cubicBezTo>
                <a:close/>
                <a:moveTo>
                  <a:pt x="331" y="366"/>
                </a:moveTo>
                <a:cubicBezTo>
                  <a:pt x="80" y="366"/>
                  <a:pt x="80" y="366"/>
                  <a:pt x="80" y="366"/>
                </a:cubicBezTo>
                <a:cubicBezTo>
                  <a:pt x="80" y="347"/>
                  <a:pt x="80" y="347"/>
                  <a:pt x="80" y="347"/>
                </a:cubicBezTo>
                <a:cubicBezTo>
                  <a:pt x="331" y="347"/>
                  <a:pt x="331" y="347"/>
                  <a:pt x="331" y="347"/>
                </a:cubicBezTo>
                <a:lnTo>
                  <a:pt x="331" y="366"/>
                </a:lnTo>
                <a:close/>
                <a:moveTo>
                  <a:pt x="266" y="332"/>
                </a:moveTo>
                <a:cubicBezTo>
                  <a:pt x="148" y="332"/>
                  <a:pt x="148" y="332"/>
                  <a:pt x="148" y="332"/>
                </a:cubicBezTo>
                <a:cubicBezTo>
                  <a:pt x="148" y="281"/>
                  <a:pt x="148" y="281"/>
                  <a:pt x="148" y="281"/>
                </a:cubicBezTo>
                <a:cubicBezTo>
                  <a:pt x="266" y="281"/>
                  <a:pt x="266" y="281"/>
                  <a:pt x="266" y="281"/>
                </a:cubicBezTo>
                <a:lnTo>
                  <a:pt x="266" y="332"/>
                </a:lnTo>
                <a:close/>
                <a:moveTo>
                  <a:pt x="399" y="266"/>
                </a:moveTo>
                <a:cubicBezTo>
                  <a:pt x="15" y="266"/>
                  <a:pt x="15" y="266"/>
                  <a:pt x="15" y="266"/>
                </a:cubicBezTo>
                <a:cubicBezTo>
                  <a:pt x="15" y="15"/>
                  <a:pt x="15" y="15"/>
                  <a:pt x="15" y="15"/>
                </a:cubicBezTo>
                <a:cubicBezTo>
                  <a:pt x="399" y="15"/>
                  <a:pt x="399" y="15"/>
                  <a:pt x="399" y="15"/>
                </a:cubicBezTo>
                <a:lnTo>
                  <a:pt x="399" y="266"/>
                </a:lnTo>
                <a:close/>
                <a:moveTo>
                  <a:pt x="40" y="247"/>
                </a:moveTo>
                <a:cubicBezTo>
                  <a:pt x="373" y="247"/>
                  <a:pt x="373" y="247"/>
                  <a:pt x="373" y="247"/>
                </a:cubicBezTo>
                <a:cubicBezTo>
                  <a:pt x="377" y="247"/>
                  <a:pt x="381" y="244"/>
                  <a:pt x="381" y="240"/>
                </a:cubicBezTo>
                <a:cubicBezTo>
                  <a:pt x="381" y="41"/>
                  <a:pt x="381" y="41"/>
                  <a:pt x="381" y="41"/>
                </a:cubicBezTo>
                <a:cubicBezTo>
                  <a:pt x="381" y="37"/>
                  <a:pt x="377" y="33"/>
                  <a:pt x="373" y="33"/>
                </a:cubicBezTo>
                <a:cubicBezTo>
                  <a:pt x="40" y="33"/>
                  <a:pt x="40" y="33"/>
                  <a:pt x="40" y="33"/>
                </a:cubicBezTo>
                <a:cubicBezTo>
                  <a:pt x="36" y="33"/>
                  <a:pt x="33" y="37"/>
                  <a:pt x="33" y="41"/>
                </a:cubicBezTo>
                <a:cubicBezTo>
                  <a:pt x="33" y="240"/>
                  <a:pt x="33" y="240"/>
                  <a:pt x="33" y="240"/>
                </a:cubicBezTo>
                <a:cubicBezTo>
                  <a:pt x="33" y="244"/>
                  <a:pt x="36" y="247"/>
                  <a:pt x="40" y="247"/>
                </a:cubicBezTo>
                <a:close/>
                <a:moveTo>
                  <a:pt x="47" y="48"/>
                </a:moveTo>
                <a:cubicBezTo>
                  <a:pt x="366" y="48"/>
                  <a:pt x="366" y="48"/>
                  <a:pt x="366" y="48"/>
                </a:cubicBezTo>
                <a:cubicBezTo>
                  <a:pt x="366" y="233"/>
                  <a:pt x="366" y="233"/>
                  <a:pt x="366" y="233"/>
                </a:cubicBezTo>
                <a:cubicBezTo>
                  <a:pt x="47" y="233"/>
                  <a:pt x="47" y="233"/>
                  <a:pt x="47" y="233"/>
                </a:cubicBezTo>
                <a:lnTo>
                  <a:pt x="47" y="48"/>
                </a:lnTo>
                <a:close/>
              </a:path>
            </a:pathLst>
          </a:custGeom>
          <a:solidFill>
            <a:schemeClr val="accent5"/>
          </a:solidFill>
          <a:ln>
            <a:noFill/>
          </a:ln>
        </p:spPr>
        <p:txBody>
          <a:bodyPr vert="horz" wrap="square" lIns="68571" tIns="34286" rIns="68571" bIns="34286" numCol="1" anchor="t" anchorCtr="0" compatLnSpc="1">
            <a:prstTxWarp prst="textNoShape">
              <a:avLst/>
            </a:prstTxWarp>
          </a:bodyPr>
          <a:lstStyle/>
          <a:p>
            <a:endParaRPr lang="en-US"/>
          </a:p>
        </p:txBody>
      </p:sp>
      <p:sp>
        <p:nvSpPr>
          <p:cNvPr id="198" name="Freeform 80"/>
          <p:cNvSpPr>
            <a:spLocks noEditPoints="1"/>
          </p:cNvSpPr>
          <p:nvPr/>
        </p:nvSpPr>
        <p:spPr bwMode="auto">
          <a:xfrm>
            <a:off x="3362485" y="2435143"/>
            <a:ext cx="330234" cy="486983"/>
          </a:xfrm>
          <a:custGeom>
            <a:avLst/>
            <a:gdLst>
              <a:gd name="T0" fmla="*/ 273 w 280"/>
              <a:gd name="T1" fmla="*/ 0 h 413"/>
              <a:gd name="T2" fmla="*/ 7 w 280"/>
              <a:gd name="T3" fmla="*/ 0 h 413"/>
              <a:gd name="T4" fmla="*/ 0 w 280"/>
              <a:gd name="T5" fmla="*/ 7 h 413"/>
              <a:gd name="T6" fmla="*/ 0 w 280"/>
              <a:gd name="T7" fmla="*/ 406 h 413"/>
              <a:gd name="T8" fmla="*/ 7 w 280"/>
              <a:gd name="T9" fmla="*/ 413 h 413"/>
              <a:gd name="T10" fmla="*/ 273 w 280"/>
              <a:gd name="T11" fmla="*/ 413 h 413"/>
              <a:gd name="T12" fmla="*/ 280 w 280"/>
              <a:gd name="T13" fmla="*/ 406 h 413"/>
              <a:gd name="T14" fmla="*/ 280 w 280"/>
              <a:gd name="T15" fmla="*/ 7 h 413"/>
              <a:gd name="T16" fmla="*/ 273 w 280"/>
              <a:gd name="T17" fmla="*/ 0 h 413"/>
              <a:gd name="T18" fmla="*/ 266 w 280"/>
              <a:gd name="T19" fmla="*/ 398 h 413"/>
              <a:gd name="T20" fmla="*/ 14 w 280"/>
              <a:gd name="T21" fmla="*/ 398 h 413"/>
              <a:gd name="T22" fmla="*/ 14 w 280"/>
              <a:gd name="T23" fmla="*/ 14 h 413"/>
              <a:gd name="T24" fmla="*/ 266 w 280"/>
              <a:gd name="T25" fmla="*/ 14 h 413"/>
              <a:gd name="T26" fmla="*/ 266 w 280"/>
              <a:gd name="T27" fmla="*/ 398 h 413"/>
              <a:gd name="T28" fmla="*/ 108 w 280"/>
              <a:gd name="T29" fmla="*/ 81 h 413"/>
              <a:gd name="T30" fmla="*/ 174 w 280"/>
              <a:gd name="T31" fmla="*/ 81 h 413"/>
              <a:gd name="T32" fmla="*/ 198 w 280"/>
              <a:gd name="T33" fmla="*/ 57 h 413"/>
              <a:gd name="T34" fmla="*/ 174 w 280"/>
              <a:gd name="T35" fmla="*/ 33 h 413"/>
              <a:gd name="T36" fmla="*/ 108 w 280"/>
              <a:gd name="T37" fmla="*/ 33 h 413"/>
              <a:gd name="T38" fmla="*/ 84 w 280"/>
              <a:gd name="T39" fmla="*/ 57 h 413"/>
              <a:gd name="T40" fmla="*/ 108 w 280"/>
              <a:gd name="T41" fmla="*/ 81 h 413"/>
              <a:gd name="T42" fmla="*/ 108 w 280"/>
              <a:gd name="T43" fmla="*/ 48 h 413"/>
              <a:gd name="T44" fmla="*/ 174 w 280"/>
              <a:gd name="T45" fmla="*/ 48 h 413"/>
              <a:gd name="T46" fmla="*/ 184 w 280"/>
              <a:gd name="T47" fmla="*/ 57 h 413"/>
              <a:gd name="T48" fmla="*/ 174 w 280"/>
              <a:gd name="T49" fmla="*/ 66 h 413"/>
              <a:gd name="T50" fmla="*/ 108 w 280"/>
              <a:gd name="T51" fmla="*/ 66 h 413"/>
              <a:gd name="T52" fmla="*/ 99 w 280"/>
              <a:gd name="T53" fmla="*/ 57 h 413"/>
              <a:gd name="T54" fmla="*/ 108 w 280"/>
              <a:gd name="T55" fmla="*/ 48 h 413"/>
              <a:gd name="T56" fmla="*/ 140 w 280"/>
              <a:gd name="T57" fmla="*/ 207 h 413"/>
              <a:gd name="T58" fmla="*/ 73 w 280"/>
              <a:gd name="T59" fmla="*/ 207 h 413"/>
              <a:gd name="T60" fmla="*/ 73 w 280"/>
              <a:gd name="T61" fmla="*/ 140 h 413"/>
              <a:gd name="T62" fmla="*/ 140 w 280"/>
              <a:gd name="T63" fmla="*/ 140 h 413"/>
              <a:gd name="T64" fmla="*/ 140 w 280"/>
              <a:gd name="T65" fmla="*/ 207 h 413"/>
              <a:gd name="T66" fmla="*/ 206 w 280"/>
              <a:gd name="T67" fmla="*/ 280 h 413"/>
              <a:gd name="T68" fmla="*/ 74 w 280"/>
              <a:gd name="T69" fmla="*/ 280 h 413"/>
              <a:gd name="T70" fmla="*/ 74 w 280"/>
              <a:gd name="T71" fmla="*/ 266 h 413"/>
              <a:gd name="T72" fmla="*/ 206 w 280"/>
              <a:gd name="T73" fmla="*/ 266 h 413"/>
              <a:gd name="T74" fmla="*/ 206 w 280"/>
              <a:gd name="T75" fmla="*/ 280 h 413"/>
              <a:gd name="T76" fmla="*/ 75 w 280"/>
              <a:gd name="T77" fmla="*/ 232 h 413"/>
              <a:gd name="T78" fmla="*/ 207 w 280"/>
              <a:gd name="T79" fmla="*/ 232 h 413"/>
              <a:gd name="T80" fmla="*/ 207 w 280"/>
              <a:gd name="T81" fmla="*/ 247 h 413"/>
              <a:gd name="T82" fmla="*/ 75 w 280"/>
              <a:gd name="T83" fmla="*/ 247 h 413"/>
              <a:gd name="T84" fmla="*/ 75 w 280"/>
              <a:gd name="T85" fmla="*/ 232 h 413"/>
              <a:gd name="T86" fmla="*/ 74 w 280"/>
              <a:gd name="T87" fmla="*/ 313 h 413"/>
              <a:gd name="T88" fmla="*/ 74 w 280"/>
              <a:gd name="T89" fmla="*/ 299 h 413"/>
              <a:gd name="T90" fmla="*/ 206 w 280"/>
              <a:gd name="T91" fmla="*/ 299 h 413"/>
              <a:gd name="T92" fmla="*/ 206 w 280"/>
              <a:gd name="T93" fmla="*/ 313 h 413"/>
              <a:gd name="T94" fmla="*/ 74 w 280"/>
              <a:gd name="T95" fmla="*/ 313 h 413"/>
              <a:gd name="T96" fmla="*/ 206 w 280"/>
              <a:gd name="T97" fmla="*/ 347 h 413"/>
              <a:gd name="T98" fmla="*/ 73 w 280"/>
              <a:gd name="T99" fmla="*/ 347 h 413"/>
              <a:gd name="T100" fmla="*/ 73 w 280"/>
              <a:gd name="T101" fmla="*/ 332 h 413"/>
              <a:gd name="T102" fmla="*/ 206 w 280"/>
              <a:gd name="T103" fmla="*/ 332 h 413"/>
              <a:gd name="T104" fmla="*/ 206 w 280"/>
              <a:gd name="T105" fmla="*/ 347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0" h="413">
                <a:moveTo>
                  <a:pt x="273" y="0"/>
                </a:moveTo>
                <a:cubicBezTo>
                  <a:pt x="7" y="0"/>
                  <a:pt x="7" y="0"/>
                  <a:pt x="7" y="0"/>
                </a:cubicBezTo>
                <a:cubicBezTo>
                  <a:pt x="3" y="0"/>
                  <a:pt x="0" y="3"/>
                  <a:pt x="0" y="7"/>
                </a:cubicBezTo>
                <a:cubicBezTo>
                  <a:pt x="0" y="406"/>
                  <a:pt x="0" y="406"/>
                  <a:pt x="0" y="406"/>
                </a:cubicBezTo>
                <a:cubicBezTo>
                  <a:pt x="0" y="410"/>
                  <a:pt x="3" y="413"/>
                  <a:pt x="7" y="413"/>
                </a:cubicBezTo>
                <a:cubicBezTo>
                  <a:pt x="273" y="413"/>
                  <a:pt x="273" y="413"/>
                  <a:pt x="273" y="413"/>
                </a:cubicBezTo>
                <a:cubicBezTo>
                  <a:pt x="277" y="413"/>
                  <a:pt x="280" y="410"/>
                  <a:pt x="280" y="406"/>
                </a:cubicBezTo>
                <a:cubicBezTo>
                  <a:pt x="280" y="7"/>
                  <a:pt x="280" y="7"/>
                  <a:pt x="280" y="7"/>
                </a:cubicBezTo>
                <a:cubicBezTo>
                  <a:pt x="280" y="3"/>
                  <a:pt x="277" y="0"/>
                  <a:pt x="273" y="0"/>
                </a:cubicBezTo>
                <a:close/>
                <a:moveTo>
                  <a:pt x="266" y="398"/>
                </a:moveTo>
                <a:cubicBezTo>
                  <a:pt x="14" y="398"/>
                  <a:pt x="14" y="398"/>
                  <a:pt x="14" y="398"/>
                </a:cubicBezTo>
                <a:cubicBezTo>
                  <a:pt x="14" y="14"/>
                  <a:pt x="14" y="14"/>
                  <a:pt x="14" y="14"/>
                </a:cubicBezTo>
                <a:cubicBezTo>
                  <a:pt x="266" y="14"/>
                  <a:pt x="266" y="14"/>
                  <a:pt x="266" y="14"/>
                </a:cubicBezTo>
                <a:lnTo>
                  <a:pt x="266" y="398"/>
                </a:lnTo>
                <a:close/>
                <a:moveTo>
                  <a:pt x="108" y="81"/>
                </a:moveTo>
                <a:cubicBezTo>
                  <a:pt x="174" y="81"/>
                  <a:pt x="174" y="81"/>
                  <a:pt x="174" y="81"/>
                </a:cubicBezTo>
                <a:cubicBezTo>
                  <a:pt x="187" y="81"/>
                  <a:pt x="198" y="70"/>
                  <a:pt x="198" y="57"/>
                </a:cubicBezTo>
                <a:cubicBezTo>
                  <a:pt x="198" y="44"/>
                  <a:pt x="187" y="33"/>
                  <a:pt x="174" y="33"/>
                </a:cubicBezTo>
                <a:cubicBezTo>
                  <a:pt x="108" y="33"/>
                  <a:pt x="108" y="33"/>
                  <a:pt x="108" y="33"/>
                </a:cubicBezTo>
                <a:cubicBezTo>
                  <a:pt x="95" y="33"/>
                  <a:pt x="84" y="44"/>
                  <a:pt x="84" y="57"/>
                </a:cubicBezTo>
                <a:cubicBezTo>
                  <a:pt x="84" y="70"/>
                  <a:pt x="95" y="81"/>
                  <a:pt x="108" y="81"/>
                </a:cubicBezTo>
                <a:close/>
                <a:moveTo>
                  <a:pt x="108" y="48"/>
                </a:moveTo>
                <a:cubicBezTo>
                  <a:pt x="174" y="48"/>
                  <a:pt x="174" y="48"/>
                  <a:pt x="174" y="48"/>
                </a:cubicBezTo>
                <a:cubicBezTo>
                  <a:pt x="179" y="48"/>
                  <a:pt x="184" y="52"/>
                  <a:pt x="184" y="57"/>
                </a:cubicBezTo>
                <a:cubicBezTo>
                  <a:pt x="184" y="62"/>
                  <a:pt x="179" y="66"/>
                  <a:pt x="174" y="66"/>
                </a:cubicBezTo>
                <a:cubicBezTo>
                  <a:pt x="108" y="66"/>
                  <a:pt x="108" y="66"/>
                  <a:pt x="108" y="66"/>
                </a:cubicBezTo>
                <a:cubicBezTo>
                  <a:pt x="103" y="66"/>
                  <a:pt x="99" y="62"/>
                  <a:pt x="99" y="57"/>
                </a:cubicBezTo>
                <a:cubicBezTo>
                  <a:pt x="99" y="52"/>
                  <a:pt x="103" y="48"/>
                  <a:pt x="108" y="48"/>
                </a:cubicBezTo>
                <a:close/>
                <a:moveTo>
                  <a:pt x="140" y="207"/>
                </a:moveTo>
                <a:cubicBezTo>
                  <a:pt x="73" y="207"/>
                  <a:pt x="73" y="207"/>
                  <a:pt x="73" y="207"/>
                </a:cubicBezTo>
                <a:cubicBezTo>
                  <a:pt x="73" y="140"/>
                  <a:pt x="73" y="140"/>
                  <a:pt x="73" y="140"/>
                </a:cubicBezTo>
                <a:cubicBezTo>
                  <a:pt x="140" y="140"/>
                  <a:pt x="140" y="140"/>
                  <a:pt x="140" y="140"/>
                </a:cubicBezTo>
                <a:lnTo>
                  <a:pt x="140" y="207"/>
                </a:lnTo>
                <a:close/>
                <a:moveTo>
                  <a:pt x="206" y="280"/>
                </a:moveTo>
                <a:cubicBezTo>
                  <a:pt x="74" y="280"/>
                  <a:pt x="74" y="280"/>
                  <a:pt x="74" y="280"/>
                </a:cubicBezTo>
                <a:cubicBezTo>
                  <a:pt x="74" y="266"/>
                  <a:pt x="74" y="266"/>
                  <a:pt x="74" y="266"/>
                </a:cubicBezTo>
                <a:cubicBezTo>
                  <a:pt x="206" y="266"/>
                  <a:pt x="206" y="266"/>
                  <a:pt x="206" y="266"/>
                </a:cubicBezTo>
                <a:lnTo>
                  <a:pt x="206" y="280"/>
                </a:lnTo>
                <a:close/>
                <a:moveTo>
                  <a:pt x="75" y="232"/>
                </a:moveTo>
                <a:cubicBezTo>
                  <a:pt x="207" y="232"/>
                  <a:pt x="207" y="232"/>
                  <a:pt x="207" y="232"/>
                </a:cubicBezTo>
                <a:cubicBezTo>
                  <a:pt x="207" y="247"/>
                  <a:pt x="207" y="247"/>
                  <a:pt x="207" y="247"/>
                </a:cubicBezTo>
                <a:cubicBezTo>
                  <a:pt x="75" y="247"/>
                  <a:pt x="75" y="247"/>
                  <a:pt x="75" y="247"/>
                </a:cubicBezTo>
                <a:lnTo>
                  <a:pt x="75" y="232"/>
                </a:lnTo>
                <a:close/>
                <a:moveTo>
                  <a:pt x="74" y="313"/>
                </a:moveTo>
                <a:cubicBezTo>
                  <a:pt x="74" y="299"/>
                  <a:pt x="74" y="299"/>
                  <a:pt x="74" y="299"/>
                </a:cubicBezTo>
                <a:cubicBezTo>
                  <a:pt x="206" y="299"/>
                  <a:pt x="206" y="299"/>
                  <a:pt x="206" y="299"/>
                </a:cubicBezTo>
                <a:cubicBezTo>
                  <a:pt x="206" y="313"/>
                  <a:pt x="206" y="313"/>
                  <a:pt x="206" y="313"/>
                </a:cubicBezTo>
                <a:lnTo>
                  <a:pt x="74" y="313"/>
                </a:lnTo>
                <a:close/>
                <a:moveTo>
                  <a:pt x="206" y="347"/>
                </a:moveTo>
                <a:cubicBezTo>
                  <a:pt x="73" y="347"/>
                  <a:pt x="73" y="347"/>
                  <a:pt x="73" y="347"/>
                </a:cubicBezTo>
                <a:cubicBezTo>
                  <a:pt x="73" y="332"/>
                  <a:pt x="73" y="332"/>
                  <a:pt x="73" y="332"/>
                </a:cubicBezTo>
                <a:cubicBezTo>
                  <a:pt x="206" y="332"/>
                  <a:pt x="206" y="332"/>
                  <a:pt x="206" y="332"/>
                </a:cubicBezTo>
                <a:lnTo>
                  <a:pt x="206" y="347"/>
                </a:lnTo>
                <a:close/>
              </a:path>
            </a:pathLst>
          </a:custGeom>
          <a:solidFill>
            <a:schemeClr val="accent6"/>
          </a:solidFill>
          <a:ln>
            <a:noFill/>
          </a:ln>
        </p:spPr>
        <p:txBody>
          <a:bodyPr vert="horz" wrap="square" lIns="68571" tIns="34286" rIns="68571" bIns="34286" numCol="1" anchor="t" anchorCtr="0" compatLnSpc="1">
            <a:prstTxWarp prst="textNoShape">
              <a:avLst/>
            </a:prstTxWarp>
          </a:bodyPr>
          <a:lstStyle/>
          <a:p>
            <a:endParaRPr lang="en-US"/>
          </a:p>
        </p:txBody>
      </p:sp>
      <p:sp>
        <p:nvSpPr>
          <p:cNvPr id="199" name="Freeform 81"/>
          <p:cNvSpPr>
            <a:spLocks noEditPoints="1"/>
          </p:cNvSpPr>
          <p:nvPr/>
        </p:nvSpPr>
        <p:spPr bwMode="auto">
          <a:xfrm>
            <a:off x="652309" y="2512275"/>
            <a:ext cx="330234" cy="331648"/>
          </a:xfrm>
          <a:custGeom>
            <a:avLst/>
            <a:gdLst>
              <a:gd name="T0" fmla="*/ 239 w 280"/>
              <a:gd name="T1" fmla="*/ 66 h 281"/>
              <a:gd name="T2" fmla="*/ 214 w 280"/>
              <a:gd name="T3" fmla="*/ 66 h 281"/>
              <a:gd name="T4" fmla="*/ 214 w 280"/>
              <a:gd name="T5" fmla="*/ 8 h 281"/>
              <a:gd name="T6" fmla="*/ 207 w 280"/>
              <a:gd name="T7" fmla="*/ 0 h 281"/>
              <a:gd name="T8" fmla="*/ 8 w 280"/>
              <a:gd name="T9" fmla="*/ 0 h 281"/>
              <a:gd name="T10" fmla="*/ 0 w 280"/>
              <a:gd name="T11" fmla="*/ 8 h 281"/>
              <a:gd name="T12" fmla="*/ 0 w 280"/>
              <a:gd name="T13" fmla="*/ 207 h 281"/>
              <a:gd name="T14" fmla="*/ 74 w 280"/>
              <a:gd name="T15" fmla="*/ 281 h 281"/>
              <a:gd name="T16" fmla="*/ 141 w 280"/>
              <a:gd name="T17" fmla="*/ 281 h 281"/>
              <a:gd name="T18" fmla="*/ 214 w 280"/>
              <a:gd name="T19" fmla="*/ 214 h 281"/>
              <a:gd name="T20" fmla="*/ 239 w 280"/>
              <a:gd name="T21" fmla="*/ 214 h 281"/>
              <a:gd name="T22" fmla="*/ 280 w 280"/>
              <a:gd name="T23" fmla="*/ 140 h 281"/>
              <a:gd name="T24" fmla="*/ 239 w 280"/>
              <a:gd name="T25" fmla="*/ 66 h 281"/>
              <a:gd name="T26" fmla="*/ 200 w 280"/>
              <a:gd name="T27" fmla="*/ 15 h 281"/>
              <a:gd name="T28" fmla="*/ 200 w 280"/>
              <a:gd name="T29" fmla="*/ 49 h 281"/>
              <a:gd name="T30" fmla="*/ 15 w 280"/>
              <a:gd name="T31" fmla="*/ 49 h 281"/>
              <a:gd name="T32" fmla="*/ 15 w 280"/>
              <a:gd name="T33" fmla="*/ 15 h 281"/>
              <a:gd name="T34" fmla="*/ 200 w 280"/>
              <a:gd name="T35" fmla="*/ 15 h 281"/>
              <a:gd name="T36" fmla="*/ 239 w 280"/>
              <a:gd name="T37" fmla="*/ 199 h 281"/>
              <a:gd name="T38" fmla="*/ 214 w 280"/>
              <a:gd name="T39" fmla="*/ 199 h 281"/>
              <a:gd name="T40" fmla="*/ 214 w 280"/>
              <a:gd name="T41" fmla="*/ 81 h 281"/>
              <a:gd name="T42" fmla="*/ 239 w 280"/>
              <a:gd name="T43" fmla="*/ 81 h 281"/>
              <a:gd name="T44" fmla="*/ 265 w 280"/>
              <a:gd name="T45" fmla="*/ 140 h 281"/>
              <a:gd name="T46" fmla="*/ 239 w 280"/>
              <a:gd name="T47" fmla="*/ 199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0" h="281">
                <a:moveTo>
                  <a:pt x="239" y="66"/>
                </a:moveTo>
                <a:cubicBezTo>
                  <a:pt x="214" y="66"/>
                  <a:pt x="214" y="66"/>
                  <a:pt x="214" y="66"/>
                </a:cubicBezTo>
                <a:cubicBezTo>
                  <a:pt x="214" y="8"/>
                  <a:pt x="214" y="8"/>
                  <a:pt x="214" y="8"/>
                </a:cubicBezTo>
                <a:cubicBezTo>
                  <a:pt x="214" y="4"/>
                  <a:pt x="211" y="0"/>
                  <a:pt x="207" y="0"/>
                </a:cubicBezTo>
                <a:cubicBezTo>
                  <a:pt x="8" y="0"/>
                  <a:pt x="8" y="0"/>
                  <a:pt x="8" y="0"/>
                </a:cubicBezTo>
                <a:cubicBezTo>
                  <a:pt x="4" y="0"/>
                  <a:pt x="0" y="4"/>
                  <a:pt x="0" y="8"/>
                </a:cubicBezTo>
                <a:cubicBezTo>
                  <a:pt x="0" y="207"/>
                  <a:pt x="0" y="207"/>
                  <a:pt x="0" y="207"/>
                </a:cubicBezTo>
                <a:cubicBezTo>
                  <a:pt x="0" y="248"/>
                  <a:pt x="33" y="281"/>
                  <a:pt x="74" y="281"/>
                </a:cubicBezTo>
                <a:cubicBezTo>
                  <a:pt x="141" y="281"/>
                  <a:pt x="141" y="281"/>
                  <a:pt x="141" y="281"/>
                </a:cubicBezTo>
                <a:cubicBezTo>
                  <a:pt x="179" y="281"/>
                  <a:pt x="211" y="251"/>
                  <a:pt x="214" y="214"/>
                </a:cubicBezTo>
                <a:cubicBezTo>
                  <a:pt x="239" y="214"/>
                  <a:pt x="239" y="214"/>
                  <a:pt x="239" y="214"/>
                </a:cubicBezTo>
                <a:cubicBezTo>
                  <a:pt x="262" y="214"/>
                  <a:pt x="280" y="181"/>
                  <a:pt x="280" y="140"/>
                </a:cubicBezTo>
                <a:cubicBezTo>
                  <a:pt x="280" y="98"/>
                  <a:pt x="262" y="66"/>
                  <a:pt x="239" y="66"/>
                </a:cubicBezTo>
                <a:close/>
                <a:moveTo>
                  <a:pt x="200" y="15"/>
                </a:moveTo>
                <a:cubicBezTo>
                  <a:pt x="200" y="49"/>
                  <a:pt x="200" y="49"/>
                  <a:pt x="200" y="49"/>
                </a:cubicBezTo>
                <a:cubicBezTo>
                  <a:pt x="15" y="49"/>
                  <a:pt x="15" y="49"/>
                  <a:pt x="15" y="49"/>
                </a:cubicBezTo>
                <a:cubicBezTo>
                  <a:pt x="15" y="15"/>
                  <a:pt x="15" y="15"/>
                  <a:pt x="15" y="15"/>
                </a:cubicBezTo>
                <a:lnTo>
                  <a:pt x="200" y="15"/>
                </a:lnTo>
                <a:close/>
                <a:moveTo>
                  <a:pt x="239" y="199"/>
                </a:moveTo>
                <a:cubicBezTo>
                  <a:pt x="214" y="199"/>
                  <a:pt x="214" y="199"/>
                  <a:pt x="214" y="199"/>
                </a:cubicBezTo>
                <a:cubicBezTo>
                  <a:pt x="214" y="81"/>
                  <a:pt x="214" y="81"/>
                  <a:pt x="214" y="81"/>
                </a:cubicBezTo>
                <a:cubicBezTo>
                  <a:pt x="239" y="81"/>
                  <a:pt x="239" y="81"/>
                  <a:pt x="239" y="81"/>
                </a:cubicBezTo>
                <a:cubicBezTo>
                  <a:pt x="251" y="81"/>
                  <a:pt x="265" y="106"/>
                  <a:pt x="265" y="140"/>
                </a:cubicBezTo>
                <a:cubicBezTo>
                  <a:pt x="265" y="174"/>
                  <a:pt x="251" y="199"/>
                  <a:pt x="239" y="199"/>
                </a:cubicBezTo>
                <a:close/>
              </a:path>
            </a:pathLst>
          </a:custGeom>
          <a:solidFill>
            <a:schemeClr val="accent3"/>
          </a:solidFill>
          <a:ln>
            <a:noFill/>
          </a:ln>
        </p:spPr>
        <p:txBody>
          <a:bodyPr vert="horz" wrap="square" lIns="68571" tIns="34286" rIns="68571" bIns="34286" numCol="1" anchor="t" anchorCtr="0" compatLnSpc="1">
            <a:prstTxWarp prst="textNoShape">
              <a:avLst/>
            </a:prstTxWarp>
          </a:bodyPr>
          <a:lstStyle/>
          <a:p>
            <a:endParaRPr lang="en-US"/>
          </a:p>
        </p:txBody>
      </p:sp>
      <p:sp>
        <p:nvSpPr>
          <p:cNvPr id="200" name="Freeform 82"/>
          <p:cNvSpPr>
            <a:spLocks/>
          </p:cNvSpPr>
          <p:nvPr/>
        </p:nvSpPr>
        <p:spPr bwMode="auto">
          <a:xfrm>
            <a:off x="6945333" y="2443380"/>
            <a:ext cx="391685" cy="470500"/>
          </a:xfrm>
          <a:custGeom>
            <a:avLst/>
            <a:gdLst>
              <a:gd name="T0" fmla="*/ 332 w 332"/>
              <a:gd name="T1" fmla="*/ 266 h 399"/>
              <a:gd name="T2" fmla="*/ 332 w 332"/>
              <a:gd name="T3" fmla="*/ 199 h 399"/>
              <a:gd name="T4" fmla="*/ 200 w 332"/>
              <a:gd name="T5" fmla="*/ 134 h 399"/>
              <a:gd name="T6" fmla="*/ 199 w 332"/>
              <a:gd name="T7" fmla="*/ 134 h 399"/>
              <a:gd name="T8" fmla="*/ 199 w 332"/>
              <a:gd name="T9" fmla="*/ 32 h 399"/>
              <a:gd name="T10" fmla="*/ 199 w 332"/>
              <a:gd name="T11" fmla="*/ 32 h 399"/>
              <a:gd name="T12" fmla="*/ 166 w 332"/>
              <a:gd name="T13" fmla="*/ 0 h 399"/>
              <a:gd name="T14" fmla="*/ 133 w 332"/>
              <a:gd name="T15" fmla="*/ 32 h 399"/>
              <a:gd name="T16" fmla="*/ 133 w 332"/>
              <a:gd name="T17" fmla="*/ 32 h 399"/>
              <a:gd name="T18" fmla="*/ 133 w 332"/>
              <a:gd name="T19" fmla="*/ 134 h 399"/>
              <a:gd name="T20" fmla="*/ 0 w 332"/>
              <a:gd name="T21" fmla="*/ 199 h 399"/>
              <a:gd name="T22" fmla="*/ 0 w 332"/>
              <a:gd name="T23" fmla="*/ 266 h 399"/>
              <a:gd name="T24" fmla="*/ 133 w 332"/>
              <a:gd name="T25" fmla="*/ 213 h 399"/>
              <a:gd name="T26" fmla="*/ 133 w 332"/>
              <a:gd name="T27" fmla="*/ 328 h 399"/>
              <a:gd name="T28" fmla="*/ 99 w 332"/>
              <a:gd name="T29" fmla="*/ 354 h 399"/>
              <a:gd name="T30" fmla="*/ 99 w 332"/>
              <a:gd name="T31" fmla="*/ 399 h 399"/>
              <a:gd name="T32" fmla="*/ 166 w 332"/>
              <a:gd name="T33" fmla="*/ 365 h 399"/>
              <a:gd name="T34" fmla="*/ 232 w 332"/>
              <a:gd name="T35" fmla="*/ 399 h 399"/>
              <a:gd name="T36" fmla="*/ 232 w 332"/>
              <a:gd name="T37" fmla="*/ 354 h 399"/>
              <a:gd name="T38" fmla="*/ 199 w 332"/>
              <a:gd name="T39" fmla="*/ 329 h 399"/>
              <a:gd name="T40" fmla="*/ 199 w 332"/>
              <a:gd name="T41" fmla="*/ 213 h 399"/>
              <a:gd name="T42" fmla="*/ 332 w 332"/>
              <a:gd name="T43" fmla="*/ 266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2" h="399">
                <a:moveTo>
                  <a:pt x="332" y="266"/>
                </a:moveTo>
                <a:cubicBezTo>
                  <a:pt x="332" y="199"/>
                  <a:pt x="332" y="199"/>
                  <a:pt x="332" y="199"/>
                </a:cubicBezTo>
                <a:cubicBezTo>
                  <a:pt x="200" y="134"/>
                  <a:pt x="200" y="134"/>
                  <a:pt x="200" y="134"/>
                </a:cubicBezTo>
                <a:cubicBezTo>
                  <a:pt x="199" y="134"/>
                  <a:pt x="199" y="134"/>
                  <a:pt x="199" y="134"/>
                </a:cubicBezTo>
                <a:cubicBezTo>
                  <a:pt x="199" y="32"/>
                  <a:pt x="199" y="32"/>
                  <a:pt x="199" y="32"/>
                </a:cubicBezTo>
                <a:cubicBezTo>
                  <a:pt x="199" y="32"/>
                  <a:pt x="199" y="32"/>
                  <a:pt x="199" y="32"/>
                </a:cubicBezTo>
                <a:cubicBezTo>
                  <a:pt x="198" y="14"/>
                  <a:pt x="184" y="0"/>
                  <a:pt x="166" y="0"/>
                </a:cubicBezTo>
                <a:cubicBezTo>
                  <a:pt x="148" y="0"/>
                  <a:pt x="133" y="14"/>
                  <a:pt x="133" y="32"/>
                </a:cubicBezTo>
                <a:cubicBezTo>
                  <a:pt x="133" y="32"/>
                  <a:pt x="133" y="32"/>
                  <a:pt x="133" y="32"/>
                </a:cubicBezTo>
                <a:cubicBezTo>
                  <a:pt x="133" y="134"/>
                  <a:pt x="133" y="134"/>
                  <a:pt x="133" y="134"/>
                </a:cubicBezTo>
                <a:cubicBezTo>
                  <a:pt x="119" y="137"/>
                  <a:pt x="0" y="199"/>
                  <a:pt x="0" y="199"/>
                </a:cubicBezTo>
                <a:cubicBezTo>
                  <a:pt x="0" y="266"/>
                  <a:pt x="0" y="266"/>
                  <a:pt x="0" y="266"/>
                </a:cubicBezTo>
                <a:cubicBezTo>
                  <a:pt x="133" y="213"/>
                  <a:pt x="133" y="213"/>
                  <a:pt x="133" y="213"/>
                </a:cubicBezTo>
                <a:cubicBezTo>
                  <a:pt x="133" y="328"/>
                  <a:pt x="133" y="328"/>
                  <a:pt x="133" y="328"/>
                </a:cubicBezTo>
                <a:cubicBezTo>
                  <a:pt x="119" y="338"/>
                  <a:pt x="99" y="354"/>
                  <a:pt x="99" y="354"/>
                </a:cubicBezTo>
                <a:cubicBezTo>
                  <a:pt x="99" y="399"/>
                  <a:pt x="99" y="399"/>
                  <a:pt x="99" y="399"/>
                </a:cubicBezTo>
                <a:cubicBezTo>
                  <a:pt x="166" y="365"/>
                  <a:pt x="166" y="365"/>
                  <a:pt x="166" y="365"/>
                </a:cubicBezTo>
                <a:cubicBezTo>
                  <a:pt x="232" y="399"/>
                  <a:pt x="232" y="399"/>
                  <a:pt x="232" y="399"/>
                </a:cubicBezTo>
                <a:cubicBezTo>
                  <a:pt x="232" y="354"/>
                  <a:pt x="232" y="354"/>
                  <a:pt x="232" y="354"/>
                </a:cubicBezTo>
                <a:cubicBezTo>
                  <a:pt x="199" y="329"/>
                  <a:pt x="199" y="329"/>
                  <a:pt x="199" y="329"/>
                </a:cubicBezTo>
                <a:cubicBezTo>
                  <a:pt x="199" y="213"/>
                  <a:pt x="199" y="213"/>
                  <a:pt x="199" y="213"/>
                </a:cubicBezTo>
                <a:lnTo>
                  <a:pt x="332" y="266"/>
                </a:lnTo>
                <a:close/>
              </a:path>
            </a:pathLst>
          </a:custGeom>
          <a:solidFill>
            <a:schemeClr val="accent5"/>
          </a:solidFill>
          <a:ln>
            <a:noFill/>
          </a:ln>
        </p:spPr>
        <p:txBody>
          <a:bodyPr vert="horz" wrap="square" lIns="68571" tIns="34286" rIns="68571" bIns="34286" numCol="1" anchor="t" anchorCtr="0" compatLnSpc="1">
            <a:prstTxWarp prst="textNoShape">
              <a:avLst/>
            </a:prstTxWarp>
          </a:bodyPr>
          <a:lstStyle/>
          <a:p>
            <a:endParaRPr lang="en-US"/>
          </a:p>
        </p:txBody>
      </p:sp>
      <p:sp>
        <p:nvSpPr>
          <p:cNvPr id="201" name="Freeform 83"/>
          <p:cNvSpPr>
            <a:spLocks noEditPoints="1"/>
          </p:cNvSpPr>
          <p:nvPr/>
        </p:nvSpPr>
        <p:spPr bwMode="auto">
          <a:xfrm>
            <a:off x="2380654" y="2489331"/>
            <a:ext cx="487109" cy="378598"/>
          </a:xfrm>
          <a:custGeom>
            <a:avLst/>
            <a:gdLst>
              <a:gd name="T0" fmla="*/ 339 w 413"/>
              <a:gd name="T1" fmla="*/ 41 h 321"/>
              <a:gd name="T2" fmla="*/ 280 w 413"/>
              <a:gd name="T3" fmla="*/ 41 h 321"/>
              <a:gd name="T4" fmla="*/ 280 w 413"/>
              <a:gd name="T5" fmla="*/ 8 h 321"/>
              <a:gd name="T6" fmla="*/ 273 w 413"/>
              <a:gd name="T7" fmla="*/ 0 h 321"/>
              <a:gd name="T8" fmla="*/ 140 w 413"/>
              <a:gd name="T9" fmla="*/ 0 h 321"/>
              <a:gd name="T10" fmla="*/ 132 w 413"/>
              <a:gd name="T11" fmla="*/ 8 h 321"/>
              <a:gd name="T12" fmla="*/ 132 w 413"/>
              <a:gd name="T13" fmla="*/ 41 h 321"/>
              <a:gd name="T14" fmla="*/ 73 w 413"/>
              <a:gd name="T15" fmla="*/ 41 h 321"/>
              <a:gd name="T16" fmla="*/ 0 w 413"/>
              <a:gd name="T17" fmla="*/ 115 h 321"/>
              <a:gd name="T18" fmla="*/ 0 w 413"/>
              <a:gd name="T19" fmla="*/ 247 h 321"/>
              <a:gd name="T20" fmla="*/ 73 w 413"/>
              <a:gd name="T21" fmla="*/ 321 h 321"/>
              <a:gd name="T22" fmla="*/ 339 w 413"/>
              <a:gd name="T23" fmla="*/ 321 h 321"/>
              <a:gd name="T24" fmla="*/ 413 w 413"/>
              <a:gd name="T25" fmla="*/ 247 h 321"/>
              <a:gd name="T26" fmla="*/ 413 w 413"/>
              <a:gd name="T27" fmla="*/ 115 h 321"/>
              <a:gd name="T28" fmla="*/ 339 w 413"/>
              <a:gd name="T29" fmla="*/ 41 h 321"/>
              <a:gd name="T30" fmla="*/ 81 w 413"/>
              <a:gd name="T31" fmla="*/ 56 h 321"/>
              <a:gd name="T32" fmla="*/ 332 w 413"/>
              <a:gd name="T33" fmla="*/ 56 h 321"/>
              <a:gd name="T34" fmla="*/ 332 w 413"/>
              <a:gd name="T35" fmla="*/ 306 h 321"/>
              <a:gd name="T36" fmla="*/ 81 w 413"/>
              <a:gd name="T37" fmla="*/ 306 h 321"/>
              <a:gd name="T38" fmla="*/ 81 w 413"/>
              <a:gd name="T39" fmla="*/ 56 h 321"/>
              <a:gd name="T40" fmla="*/ 147 w 413"/>
              <a:gd name="T41" fmla="*/ 15 h 321"/>
              <a:gd name="T42" fmla="*/ 265 w 413"/>
              <a:gd name="T43" fmla="*/ 15 h 321"/>
              <a:gd name="T44" fmla="*/ 265 w 413"/>
              <a:gd name="T45" fmla="*/ 41 h 321"/>
              <a:gd name="T46" fmla="*/ 147 w 413"/>
              <a:gd name="T47" fmla="*/ 41 h 321"/>
              <a:gd name="T48" fmla="*/ 147 w 413"/>
              <a:gd name="T49" fmla="*/ 15 h 321"/>
              <a:gd name="T50" fmla="*/ 14 w 413"/>
              <a:gd name="T51" fmla="*/ 247 h 321"/>
              <a:gd name="T52" fmla="*/ 14 w 413"/>
              <a:gd name="T53" fmla="*/ 115 h 321"/>
              <a:gd name="T54" fmla="*/ 66 w 413"/>
              <a:gd name="T55" fmla="*/ 56 h 321"/>
              <a:gd name="T56" fmla="*/ 66 w 413"/>
              <a:gd name="T57" fmla="*/ 305 h 321"/>
              <a:gd name="T58" fmla="*/ 14 w 413"/>
              <a:gd name="T59" fmla="*/ 247 h 321"/>
              <a:gd name="T60" fmla="*/ 398 w 413"/>
              <a:gd name="T61" fmla="*/ 247 h 321"/>
              <a:gd name="T62" fmla="*/ 347 w 413"/>
              <a:gd name="T63" fmla="*/ 305 h 321"/>
              <a:gd name="T64" fmla="*/ 347 w 413"/>
              <a:gd name="T65" fmla="*/ 56 h 321"/>
              <a:gd name="T66" fmla="*/ 398 w 413"/>
              <a:gd name="T67" fmla="*/ 115 h 321"/>
              <a:gd name="T68" fmla="*/ 398 w 413"/>
              <a:gd name="T69" fmla="*/ 24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3" h="321">
                <a:moveTo>
                  <a:pt x="339" y="41"/>
                </a:moveTo>
                <a:cubicBezTo>
                  <a:pt x="280" y="41"/>
                  <a:pt x="280" y="41"/>
                  <a:pt x="280" y="41"/>
                </a:cubicBezTo>
                <a:cubicBezTo>
                  <a:pt x="280" y="8"/>
                  <a:pt x="280" y="8"/>
                  <a:pt x="280" y="8"/>
                </a:cubicBezTo>
                <a:cubicBezTo>
                  <a:pt x="280" y="4"/>
                  <a:pt x="277" y="0"/>
                  <a:pt x="273" y="0"/>
                </a:cubicBezTo>
                <a:cubicBezTo>
                  <a:pt x="140" y="0"/>
                  <a:pt x="140" y="0"/>
                  <a:pt x="140" y="0"/>
                </a:cubicBezTo>
                <a:cubicBezTo>
                  <a:pt x="136" y="0"/>
                  <a:pt x="132" y="4"/>
                  <a:pt x="132" y="8"/>
                </a:cubicBezTo>
                <a:cubicBezTo>
                  <a:pt x="132" y="41"/>
                  <a:pt x="132" y="41"/>
                  <a:pt x="132" y="41"/>
                </a:cubicBezTo>
                <a:cubicBezTo>
                  <a:pt x="73" y="41"/>
                  <a:pt x="73" y="41"/>
                  <a:pt x="73" y="41"/>
                </a:cubicBezTo>
                <a:cubicBezTo>
                  <a:pt x="33" y="41"/>
                  <a:pt x="0" y="74"/>
                  <a:pt x="0" y="115"/>
                </a:cubicBezTo>
                <a:cubicBezTo>
                  <a:pt x="0" y="247"/>
                  <a:pt x="0" y="247"/>
                  <a:pt x="0" y="247"/>
                </a:cubicBezTo>
                <a:cubicBezTo>
                  <a:pt x="0" y="288"/>
                  <a:pt x="33" y="321"/>
                  <a:pt x="73" y="321"/>
                </a:cubicBezTo>
                <a:cubicBezTo>
                  <a:pt x="339" y="321"/>
                  <a:pt x="339" y="321"/>
                  <a:pt x="339" y="321"/>
                </a:cubicBezTo>
                <a:cubicBezTo>
                  <a:pt x="380" y="321"/>
                  <a:pt x="413" y="288"/>
                  <a:pt x="413" y="247"/>
                </a:cubicBezTo>
                <a:cubicBezTo>
                  <a:pt x="413" y="115"/>
                  <a:pt x="413" y="115"/>
                  <a:pt x="413" y="115"/>
                </a:cubicBezTo>
                <a:cubicBezTo>
                  <a:pt x="413" y="74"/>
                  <a:pt x="380" y="41"/>
                  <a:pt x="339" y="41"/>
                </a:cubicBezTo>
                <a:close/>
                <a:moveTo>
                  <a:pt x="81" y="56"/>
                </a:moveTo>
                <a:cubicBezTo>
                  <a:pt x="332" y="56"/>
                  <a:pt x="332" y="56"/>
                  <a:pt x="332" y="56"/>
                </a:cubicBezTo>
                <a:cubicBezTo>
                  <a:pt x="332" y="306"/>
                  <a:pt x="332" y="306"/>
                  <a:pt x="332" y="306"/>
                </a:cubicBezTo>
                <a:cubicBezTo>
                  <a:pt x="81" y="306"/>
                  <a:pt x="81" y="306"/>
                  <a:pt x="81" y="306"/>
                </a:cubicBezTo>
                <a:lnTo>
                  <a:pt x="81" y="56"/>
                </a:lnTo>
                <a:close/>
                <a:moveTo>
                  <a:pt x="147" y="15"/>
                </a:moveTo>
                <a:cubicBezTo>
                  <a:pt x="265" y="15"/>
                  <a:pt x="265" y="15"/>
                  <a:pt x="265" y="15"/>
                </a:cubicBezTo>
                <a:cubicBezTo>
                  <a:pt x="265" y="41"/>
                  <a:pt x="265" y="41"/>
                  <a:pt x="265" y="41"/>
                </a:cubicBezTo>
                <a:cubicBezTo>
                  <a:pt x="147" y="41"/>
                  <a:pt x="147" y="41"/>
                  <a:pt x="147" y="41"/>
                </a:cubicBezTo>
                <a:lnTo>
                  <a:pt x="147" y="15"/>
                </a:lnTo>
                <a:close/>
                <a:moveTo>
                  <a:pt x="14" y="247"/>
                </a:moveTo>
                <a:cubicBezTo>
                  <a:pt x="14" y="115"/>
                  <a:pt x="14" y="115"/>
                  <a:pt x="14" y="115"/>
                </a:cubicBezTo>
                <a:cubicBezTo>
                  <a:pt x="14" y="85"/>
                  <a:pt x="37" y="60"/>
                  <a:pt x="66" y="56"/>
                </a:cubicBezTo>
                <a:cubicBezTo>
                  <a:pt x="66" y="305"/>
                  <a:pt x="66" y="305"/>
                  <a:pt x="66" y="305"/>
                </a:cubicBezTo>
                <a:cubicBezTo>
                  <a:pt x="37" y="302"/>
                  <a:pt x="14" y="277"/>
                  <a:pt x="14" y="247"/>
                </a:cubicBezTo>
                <a:close/>
                <a:moveTo>
                  <a:pt x="398" y="247"/>
                </a:moveTo>
                <a:cubicBezTo>
                  <a:pt x="398" y="277"/>
                  <a:pt x="376" y="302"/>
                  <a:pt x="347" y="305"/>
                </a:cubicBezTo>
                <a:cubicBezTo>
                  <a:pt x="347" y="56"/>
                  <a:pt x="347" y="56"/>
                  <a:pt x="347" y="56"/>
                </a:cubicBezTo>
                <a:cubicBezTo>
                  <a:pt x="376" y="60"/>
                  <a:pt x="398" y="85"/>
                  <a:pt x="398" y="115"/>
                </a:cubicBezTo>
                <a:lnTo>
                  <a:pt x="398" y="247"/>
                </a:lnTo>
                <a:close/>
              </a:path>
            </a:pathLst>
          </a:custGeom>
          <a:solidFill>
            <a:schemeClr val="accent1"/>
          </a:solidFill>
          <a:ln>
            <a:noFill/>
          </a:ln>
        </p:spPr>
        <p:txBody>
          <a:bodyPr vert="horz" wrap="square" lIns="68571" tIns="34286" rIns="68571" bIns="34286" numCol="1" anchor="t" anchorCtr="0" compatLnSpc="1">
            <a:prstTxWarp prst="textNoShape">
              <a:avLst/>
            </a:prstTxWarp>
          </a:bodyPr>
          <a:lstStyle/>
          <a:p>
            <a:endParaRPr lang="en-US"/>
          </a:p>
        </p:txBody>
      </p:sp>
      <p:sp>
        <p:nvSpPr>
          <p:cNvPr id="202" name="Freeform 84"/>
          <p:cNvSpPr>
            <a:spLocks noEditPoints="1"/>
          </p:cNvSpPr>
          <p:nvPr/>
        </p:nvSpPr>
        <p:spPr bwMode="auto">
          <a:xfrm>
            <a:off x="6052427" y="2495329"/>
            <a:ext cx="370702" cy="366611"/>
          </a:xfrm>
          <a:custGeom>
            <a:avLst/>
            <a:gdLst>
              <a:gd name="T0" fmla="*/ 314 w 314"/>
              <a:gd name="T1" fmla="*/ 301 h 311"/>
              <a:gd name="T2" fmla="*/ 189 w 314"/>
              <a:gd name="T3" fmla="*/ 176 h 311"/>
              <a:gd name="T4" fmla="*/ 214 w 314"/>
              <a:gd name="T5" fmla="*/ 107 h 311"/>
              <a:gd name="T6" fmla="*/ 107 w 314"/>
              <a:gd name="T7" fmla="*/ 0 h 311"/>
              <a:gd name="T8" fmla="*/ 0 w 314"/>
              <a:gd name="T9" fmla="*/ 107 h 311"/>
              <a:gd name="T10" fmla="*/ 107 w 314"/>
              <a:gd name="T11" fmla="*/ 215 h 311"/>
              <a:gd name="T12" fmla="*/ 179 w 314"/>
              <a:gd name="T13" fmla="*/ 186 h 311"/>
              <a:gd name="T14" fmla="*/ 304 w 314"/>
              <a:gd name="T15" fmla="*/ 311 h 311"/>
              <a:gd name="T16" fmla="*/ 314 w 314"/>
              <a:gd name="T17" fmla="*/ 301 h 311"/>
              <a:gd name="T18" fmla="*/ 107 w 314"/>
              <a:gd name="T19" fmla="*/ 200 h 311"/>
              <a:gd name="T20" fmla="*/ 14 w 314"/>
              <a:gd name="T21" fmla="*/ 107 h 311"/>
              <a:gd name="T22" fmla="*/ 107 w 314"/>
              <a:gd name="T23" fmla="*/ 15 h 311"/>
              <a:gd name="T24" fmla="*/ 199 w 314"/>
              <a:gd name="T25" fmla="*/ 107 h 311"/>
              <a:gd name="T26" fmla="*/ 107 w 314"/>
              <a:gd name="T27" fmla="*/ 20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4" h="311">
                <a:moveTo>
                  <a:pt x="314" y="301"/>
                </a:moveTo>
                <a:cubicBezTo>
                  <a:pt x="189" y="176"/>
                  <a:pt x="189" y="176"/>
                  <a:pt x="189" y="176"/>
                </a:cubicBezTo>
                <a:cubicBezTo>
                  <a:pt x="205" y="157"/>
                  <a:pt x="214" y="133"/>
                  <a:pt x="214" y="107"/>
                </a:cubicBezTo>
                <a:cubicBezTo>
                  <a:pt x="214" y="48"/>
                  <a:pt x="166" y="0"/>
                  <a:pt x="107" y="0"/>
                </a:cubicBezTo>
                <a:cubicBezTo>
                  <a:pt x="48" y="0"/>
                  <a:pt x="0" y="48"/>
                  <a:pt x="0" y="107"/>
                </a:cubicBezTo>
                <a:cubicBezTo>
                  <a:pt x="0" y="167"/>
                  <a:pt x="48" y="215"/>
                  <a:pt x="107" y="215"/>
                </a:cubicBezTo>
                <a:cubicBezTo>
                  <a:pt x="135" y="215"/>
                  <a:pt x="160" y="204"/>
                  <a:pt x="179" y="186"/>
                </a:cubicBezTo>
                <a:cubicBezTo>
                  <a:pt x="304" y="311"/>
                  <a:pt x="304" y="311"/>
                  <a:pt x="304" y="311"/>
                </a:cubicBezTo>
                <a:lnTo>
                  <a:pt x="314" y="301"/>
                </a:lnTo>
                <a:close/>
                <a:moveTo>
                  <a:pt x="107" y="200"/>
                </a:moveTo>
                <a:cubicBezTo>
                  <a:pt x="56" y="200"/>
                  <a:pt x="14" y="158"/>
                  <a:pt x="14" y="107"/>
                </a:cubicBezTo>
                <a:cubicBezTo>
                  <a:pt x="14" y="57"/>
                  <a:pt x="56" y="15"/>
                  <a:pt x="107" y="15"/>
                </a:cubicBezTo>
                <a:cubicBezTo>
                  <a:pt x="158" y="15"/>
                  <a:pt x="199" y="57"/>
                  <a:pt x="199" y="107"/>
                </a:cubicBezTo>
                <a:cubicBezTo>
                  <a:pt x="199" y="158"/>
                  <a:pt x="158" y="200"/>
                  <a:pt x="107" y="200"/>
                </a:cubicBezTo>
                <a:close/>
              </a:path>
            </a:pathLst>
          </a:custGeom>
          <a:solidFill>
            <a:schemeClr val="accent3"/>
          </a:solidFill>
          <a:ln>
            <a:noFill/>
          </a:ln>
        </p:spPr>
        <p:txBody>
          <a:bodyPr vert="horz" wrap="square" lIns="68571" tIns="34286" rIns="68571" bIns="34286" numCol="1" anchor="t" anchorCtr="0" compatLnSpc="1">
            <a:prstTxWarp prst="textNoShape">
              <a:avLst/>
            </a:prstTxWarp>
          </a:bodyPr>
          <a:lstStyle/>
          <a:p>
            <a:endParaRPr lang="en-US"/>
          </a:p>
        </p:txBody>
      </p:sp>
      <p:sp>
        <p:nvSpPr>
          <p:cNvPr id="204" name="Freeform 86"/>
          <p:cNvSpPr>
            <a:spLocks noEditPoints="1"/>
          </p:cNvSpPr>
          <p:nvPr/>
        </p:nvSpPr>
        <p:spPr bwMode="auto">
          <a:xfrm>
            <a:off x="7840974" y="2475095"/>
            <a:ext cx="407173" cy="407067"/>
          </a:xfrm>
          <a:custGeom>
            <a:avLst/>
            <a:gdLst>
              <a:gd name="T0" fmla="*/ 345 w 345"/>
              <a:gd name="T1" fmla="*/ 335 h 345"/>
              <a:gd name="T2" fmla="*/ 117 w 345"/>
              <a:gd name="T3" fmla="*/ 107 h 345"/>
              <a:gd name="T4" fmla="*/ 212 w 345"/>
              <a:gd name="T5" fmla="*/ 13 h 345"/>
              <a:gd name="T6" fmla="*/ 213 w 345"/>
              <a:gd name="T7" fmla="*/ 5 h 345"/>
              <a:gd name="T8" fmla="*/ 206 w 345"/>
              <a:gd name="T9" fmla="*/ 0 h 345"/>
              <a:gd name="T10" fmla="*/ 7 w 345"/>
              <a:gd name="T11" fmla="*/ 0 h 345"/>
              <a:gd name="T12" fmla="*/ 0 w 345"/>
              <a:gd name="T13" fmla="*/ 7 h 345"/>
              <a:gd name="T14" fmla="*/ 0 w 345"/>
              <a:gd name="T15" fmla="*/ 207 h 345"/>
              <a:gd name="T16" fmla="*/ 4 w 345"/>
              <a:gd name="T17" fmla="*/ 214 h 345"/>
              <a:gd name="T18" fmla="*/ 7 w 345"/>
              <a:gd name="T19" fmla="*/ 214 h 345"/>
              <a:gd name="T20" fmla="*/ 12 w 345"/>
              <a:gd name="T21" fmla="*/ 212 h 345"/>
              <a:gd name="T22" fmla="*/ 107 w 345"/>
              <a:gd name="T23" fmla="*/ 117 h 345"/>
              <a:gd name="T24" fmla="*/ 335 w 345"/>
              <a:gd name="T25" fmla="*/ 345 h 345"/>
              <a:gd name="T26" fmla="*/ 345 w 345"/>
              <a:gd name="T27" fmla="*/ 335 h 345"/>
              <a:gd name="T28" fmla="*/ 15 w 345"/>
              <a:gd name="T29" fmla="*/ 15 h 345"/>
              <a:gd name="T30" fmla="*/ 189 w 345"/>
              <a:gd name="T31" fmla="*/ 15 h 345"/>
              <a:gd name="T32" fmla="*/ 15 w 345"/>
              <a:gd name="T33" fmla="*/ 189 h 345"/>
              <a:gd name="T34" fmla="*/ 15 w 345"/>
              <a:gd name="T35" fmla="*/ 15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5" h="345">
                <a:moveTo>
                  <a:pt x="345" y="335"/>
                </a:moveTo>
                <a:cubicBezTo>
                  <a:pt x="117" y="107"/>
                  <a:pt x="117" y="107"/>
                  <a:pt x="117" y="107"/>
                </a:cubicBezTo>
                <a:cubicBezTo>
                  <a:pt x="212" y="13"/>
                  <a:pt x="212" y="13"/>
                  <a:pt x="212" y="13"/>
                </a:cubicBezTo>
                <a:cubicBezTo>
                  <a:pt x="214" y="10"/>
                  <a:pt x="214" y="7"/>
                  <a:pt x="213" y="5"/>
                </a:cubicBezTo>
                <a:cubicBezTo>
                  <a:pt x="212" y="2"/>
                  <a:pt x="209" y="0"/>
                  <a:pt x="206" y="0"/>
                </a:cubicBezTo>
                <a:cubicBezTo>
                  <a:pt x="7" y="0"/>
                  <a:pt x="7" y="0"/>
                  <a:pt x="7" y="0"/>
                </a:cubicBezTo>
                <a:cubicBezTo>
                  <a:pt x="3" y="0"/>
                  <a:pt x="0" y="3"/>
                  <a:pt x="0" y="7"/>
                </a:cubicBezTo>
                <a:cubicBezTo>
                  <a:pt x="0" y="207"/>
                  <a:pt x="0" y="207"/>
                  <a:pt x="0" y="207"/>
                </a:cubicBezTo>
                <a:cubicBezTo>
                  <a:pt x="0" y="210"/>
                  <a:pt x="2" y="212"/>
                  <a:pt x="4" y="214"/>
                </a:cubicBezTo>
                <a:cubicBezTo>
                  <a:pt x="5" y="214"/>
                  <a:pt x="6" y="214"/>
                  <a:pt x="7" y="214"/>
                </a:cubicBezTo>
                <a:cubicBezTo>
                  <a:pt x="9" y="214"/>
                  <a:pt x="11" y="213"/>
                  <a:pt x="12" y="212"/>
                </a:cubicBezTo>
                <a:cubicBezTo>
                  <a:pt x="107" y="117"/>
                  <a:pt x="107" y="117"/>
                  <a:pt x="107" y="117"/>
                </a:cubicBezTo>
                <a:cubicBezTo>
                  <a:pt x="335" y="345"/>
                  <a:pt x="335" y="345"/>
                  <a:pt x="335" y="345"/>
                </a:cubicBezTo>
                <a:lnTo>
                  <a:pt x="345" y="335"/>
                </a:lnTo>
                <a:close/>
                <a:moveTo>
                  <a:pt x="15" y="15"/>
                </a:moveTo>
                <a:cubicBezTo>
                  <a:pt x="189" y="15"/>
                  <a:pt x="189" y="15"/>
                  <a:pt x="189" y="15"/>
                </a:cubicBezTo>
                <a:cubicBezTo>
                  <a:pt x="15" y="189"/>
                  <a:pt x="15" y="189"/>
                  <a:pt x="15" y="189"/>
                </a:cubicBezTo>
                <a:lnTo>
                  <a:pt x="15" y="15"/>
                </a:lnTo>
                <a:close/>
              </a:path>
            </a:pathLst>
          </a:custGeom>
          <a:solidFill>
            <a:schemeClr val="accent1"/>
          </a:solidFill>
          <a:ln>
            <a:noFill/>
          </a:ln>
        </p:spPr>
        <p:txBody>
          <a:bodyPr vert="horz" wrap="square" lIns="68571" tIns="34286" rIns="68571" bIns="34286" numCol="1" anchor="t" anchorCtr="0" compatLnSpc="1">
            <a:prstTxWarp prst="textNoShape">
              <a:avLst/>
            </a:prstTxWarp>
          </a:bodyPr>
          <a:lstStyle/>
          <a:p>
            <a:endParaRPr lang="en-US"/>
          </a:p>
        </p:txBody>
      </p:sp>
      <p:sp>
        <p:nvSpPr>
          <p:cNvPr id="205" name="Freeform 87"/>
          <p:cNvSpPr>
            <a:spLocks noEditPoints="1"/>
          </p:cNvSpPr>
          <p:nvPr/>
        </p:nvSpPr>
        <p:spPr bwMode="auto">
          <a:xfrm>
            <a:off x="4203926" y="4034677"/>
            <a:ext cx="454136" cy="126365"/>
          </a:xfrm>
          <a:custGeom>
            <a:avLst/>
            <a:gdLst>
              <a:gd name="T0" fmla="*/ 0 w 385"/>
              <a:gd name="T1" fmla="*/ 46 h 107"/>
              <a:gd name="T2" fmla="*/ 37 w 385"/>
              <a:gd name="T3" fmla="*/ 46 h 107"/>
              <a:gd name="T4" fmla="*/ 37 w 385"/>
              <a:gd name="T5" fmla="*/ 61 h 107"/>
              <a:gd name="T6" fmla="*/ 0 w 385"/>
              <a:gd name="T7" fmla="*/ 61 h 107"/>
              <a:gd name="T8" fmla="*/ 0 w 385"/>
              <a:gd name="T9" fmla="*/ 46 h 107"/>
              <a:gd name="T10" fmla="*/ 74 w 385"/>
              <a:gd name="T11" fmla="*/ 61 h 107"/>
              <a:gd name="T12" fmla="*/ 111 w 385"/>
              <a:gd name="T13" fmla="*/ 61 h 107"/>
              <a:gd name="T14" fmla="*/ 111 w 385"/>
              <a:gd name="T15" fmla="*/ 46 h 107"/>
              <a:gd name="T16" fmla="*/ 74 w 385"/>
              <a:gd name="T17" fmla="*/ 46 h 107"/>
              <a:gd name="T18" fmla="*/ 74 w 385"/>
              <a:gd name="T19" fmla="*/ 61 h 107"/>
              <a:gd name="T20" fmla="*/ 222 w 385"/>
              <a:gd name="T21" fmla="*/ 61 h 107"/>
              <a:gd name="T22" fmla="*/ 259 w 385"/>
              <a:gd name="T23" fmla="*/ 61 h 107"/>
              <a:gd name="T24" fmla="*/ 259 w 385"/>
              <a:gd name="T25" fmla="*/ 46 h 107"/>
              <a:gd name="T26" fmla="*/ 222 w 385"/>
              <a:gd name="T27" fmla="*/ 46 h 107"/>
              <a:gd name="T28" fmla="*/ 222 w 385"/>
              <a:gd name="T29" fmla="*/ 61 h 107"/>
              <a:gd name="T30" fmla="*/ 148 w 385"/>
              <a:gd name="T31" fmla="*/ 61 h 107"/>
              <a:gd name="T32" fmla="*/ 185 w 385"/>
              <a:gd name="T33" fmla="*/ 61 h 107"/>
              <a:gd name="T34" fmla="*/ 185 w 385"/>
              <a:gd name="T35" fmla="*/ 46 h 107"/>
              <a:gd name="T36" fmla="*/ 148 w 385"/>
              <a:gd name="T37" fmla="*/ 46 h 107"/>
              <a:gd name="T38" fmla="*/ 148 w 385"/>
              <a:gd name="T39" fmla="*/ 61 h 107"/>
              <a:gd name="T40" fmla="*/ 382 w 385"/>
              <a:gd name="T41" fmla="*/ 48 h 107"/>
              <a:gd name="T42" fmla="*/ 334 w 385"/>
              <a:gd name="T43" fmla="*/ 0 h 107"/>
              <a:gd name="T44" fmla="*/ 324 w 385"/>
              <a:gd name="T45" fmla="*/ 11 h 107"/>
              <a:gd name="T46" fmla="*/ 359 w 385"/>
              <a:gd name="T47" fmla="*/ 46 h 107"/>
              <a:gd name="T48" fmla="*/ 296 w 385"/>
              <a:gd name="T49" fmla="*/ 46 h 107"/>
              <a:gd name="T50" fmla="*/ 296 w 385"/>
              <a:gd name="T51" fmla="*/ 61 h 107"/>
              <a:gd name="T52" fmla="*/ 359 w 385"/>
              <a:gd name="T53" fmla="*/ 61 h 107"/>
              <a:gd name="T54" fmla="*/ 324 w 385"/>
              <a:gd name="T55" fmla="*/ 96 h 107"/>
              <a:gd name="T56" fmla="*/ 334 w 385"/>
              <a:gd name="T57" fmla="*/ 107 h 107"/>
              <a:gd name="T58" fmla="*/ 382 w 385"/>
              <a:gd name="T59" fmla="*/ 59 h 107"/>
              <a:gd name="T60" fmla="*/ 382 w 385"/>
              <a:gd name="T61" fmla="*/ 4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5" h="107">
                <a:moveTo>
                  <a:pt x="0" y="46"/>
                </a:moveTo>
                <a:cubicBezTo>
                  <a:pt x="37" y="46"/>
                  <a:pt x="37" y="46"/>
                  <a:pt x="37" y="46"/>
                </a:cubicBezTo>
                <a:cubicBezTo>
                  <a:pt x="37" y="61"/>
                  <a:pt x="37" y="61"/>
                  <a:pt x="37" y="61"/>
                </a:cubicBezTo>
                <a:cubicBezTo>
                  <a:pt x="0" y="61"/>
                  <a:pt x="0" y="61"/>
                  <a:pt x="0" y="61"/>
                </a:cubicBezTo>
                <a:lnTo>
                  <a:pt x="0" y="46"/>
                </a:lnTo>
                <a:close/>
                <a:moveTo>
                  <a:pt x="74" y="61"/>
                </a:moveTo>
                <a:cubicBezTo>
                  <a:pt x="111" y="61"/>
                  <a:pt x="111" y="61"/>
                  <a:pt x="111" y="61"/>
                </a:cubicBezTo>
                <a:cubicBezTo>
                  <a:pt x="111" y="46"/>
                  <a:pt x="111" y="46"/>
                  <a:pt x="111" y="46"/>
                </a:cubicBezTo>
                <a:cubicBezTo>
                  <a:pt x="74" y="46"/>
                  <a:pt x="74" y="46"/>
                  <a:pt x="74" y="46"/>
                </a:cubicBezTo>
                <a:lnTo>
                  <a:pt x="74" y="61"/>
                </a:lnTo>
                <a:close/>
                <a:moveTo>
                  <a:pt x="222" y="61"/>
                </a:moveTo>
                <a:cubicBezTo>
                  <a:pt x="259" y="61"/>
                  <a:pt x="259" y="61"/>
                  <a:pt x="259" y="61"/>
                </a:cubicBezTo>
                <a:cubicBezTo>
                  <a:pt x="259" y="46"/>
                  <a:pt x="259" y="46"/>
                  <a:pt x="259" y="46"/>
                </a:cubicBezTo>
                <a:cubicBezTo>
                  <a:pt x="222" y="46"/>
                  <a:pt x="222" y="46"/>
                  <a:pt x="222" y="46"/>
                </a:cubicBezTo>
                <a:lnTo>
                  <a:pt x="222" y="61"/>
                </a:lnTo>
                <a:close/>
                <a:moveTo>
                  <a:pt x="148" y="61"/>
                </a:moveTo>
                <a:cubicBezTo>
                  <a:pt x="185" y="61"/>
                  <a:pt x="185" y="61"/>
                  <a:pt x="185" y="61"/>
                </a:cubicBezTo>
                <a:cubicBezTo>
                  <a:pt x="185" y="46"/>
                  <a:pt x="185" y="46"/>
                  <a:pt x="185" y="46"/>
                </a:cubicBezTo>
                <a:cubicBezTo>
                  <a:pt x="148" y="46"/>
                  <a:pt x="148" y="46"/>
                  <a:pt x="148" y="46"/>
                </a:cubicBezTo>
                <a:lnTo>
                  <a:pt x="148" y="61"/>
                </a:lnTo>
                <a:close/>
                <a:moveTo>
                  <a:pt x="382" y="48"/>
                </a:moveTo>
                <a:cubicBezTo>
                  <a:pt x="334" y="0"/>
                  <a:pt x="334" y="0"/>
                  <a:pt x="334" y="0"/>
                </a:cubicBezTo>
                <a:cubicBezTo>
                  <a:pt x="324" y="11"/>
                  <a:pt x="324" y="11"/>
                  <a:pt x="324" y="11"/>
                </a:cubicBezTo>
                <a:cubicBezTo>
                  <a:pt x="359" y="46"/>
                  <a:pt x="359" y="46"/>
                  <a:pt x="359" y="46"/>
                </a:cubicBezTo>
                <a:cubicBezTo>
                  <a:pt x="296" y="46"/>
                  <a:pt x="296" y="46"/>
                  <a:pt x="296" y="46"/>
                </a:cubicBezTo>
                <a:cubicBezTo>
                  <a:pt x="296" y="61"/>
                  <a:pt x="296" y="61"/>
                  <a:pt x="296" y="61"/>
                </a:cubicBezTo>
                <a:cubicBezTo>
                  <a:pt x="359" y="61"/>
                  <a:pt x="359" y="61"/>
                  <a:pt x="359" y="61"/>
                </a:cubicBezTo>
                <a:cubicBezTo>
                  <a:pt x="324" y="96"/>
                  <a:pt x="324" y="96"/>
                  <a:pt x="324" y="96"/>
                </a:cubicBezTo>
                <a:cubicBezTo>
                  <a:pt x="334" y="107"/>
                  <a:pt x="334" y="107"/>
                  <a:pt x="334" y="107"/>
                </a:cubicBezTo>
                <a:cubicBezTo>
                  <a:pt x="382" y="59"/>
                  <a:pt x="382" y="59"/>
                  <a:pt x="382" y="59"/>
                </a:cubicBezTo>
                <a:cubicBezTo>
                  <a:pt x="385" y="56"/>
                  <a:pt x="385" y="51"/>
                  <a:pt x="382" y="48"/>
                </a:cubicBezTo>
                <a:close/>
              </a:path>
            </a:pathLst>
          </a:custGeom>
          <a:solidFill>
            <a:schemeClr val="accent4"/>
          </a:solidFill>
          <a:ln>
            <a:noFill/>
          </a:ln>
        </p:spPr>
        <p:txBody>
          <a:bodyPr vert="horz" wrap="square" lIns="68571" tIns="34286" rIns="68571" bIns="34286" numCol="1" anchor="t" anchorCtr="0" compatLnSpc="1">
            <a:prstTxWarp prst="textNoShape">
              <a:avLst/>
            </a:prstTxWarp>
          </a:bodyPr>
          <a:lstStyle/>
          <a:p>
            <a:endParaRPr lang="en-US"/>
          </a:p>
        </p:txBody>
      </p:sp>
      <p:sp>
        <p:nvSpPr>
          <p:cNvPr id="206" name="Freeform 88"/>
          <p:cNvSpPr>
            <a:spLocks noEditPoints="1"/>
          </p:cNvSpPr>
          <p:nvPr/>
        </p:nvSpPr>
        <p:spPr bwMode="auto">
          <a:xfrm>
            <a:off x="6896865" y="3853613"/>
            <a:ext cx="488608" cy="488481"/>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accent2"/>
          </a:solidFill>
          <a:ln>
            <a:noFill/>
          </a:ln>
        </p:spPr>
        <p:txBody>
          <a:bodyPr vert="horz" wrap="square" lIns="68571" tIns="34286" rIns="68571" bIns="34286" numCol="1" anchor="t" anchorCtr="0" compatLnSpc="1">
            <a:prstTxWarp prst="textNoShape">
              <a:avLst/>
            </a:prstTxWarp>
          </a:bodyPr>
          <a:lstStyle/>
          <a:p>
            <a:endParaRPr lang="en-US"/>
          </a:p>
        </p:txBody>
      </p:sp>
      <p:sp>
        <p:nvSpPr>
          <p:cNvPr id="207" name="Freeform 89"/>
          <p:cNvSpPr>
            <a:spLocks noEditPoints="1"/>
          </p:cNvSpPr>
          <p:nvPr/>
        </p:nvSpPr>
        <p:spPr bwMode="auto">
          <a:xfrm>
            <a:off x="1557948" y="3913299"/>
            <a:ext cx="325739" cy="369108"/>
          </a:xfrm>
          <a:custGeom>
            <a:avLst/>
            <a:gdLst>
              <a:gd name="T0" fmla="*/ 24 w 276"/>
              <a:gd name="T1" fmla="*/ 202 h 313"/>
              <a:gd name="T2" fmla="*/ 37 w 276"/>
              <a:gd name="T3" fmla="*/ 208 h 313"/>
              <a:gd name="T4" fmla="*/ 25 w 276"/>
              <a:gd name="T5" fmla="*/ 242 h 313"/>
              <a:gd name="T6" fmla="*/ 11 w 276"/>
              <a:gd name="T7" fmla="*/ 238 h 313"/>
              <a:gd name="T8" fmla="*/ 24 w 276"/>
              <a:gd name="T9" fmla="*/ 202 h 313"/>
              <a:gd name="T10" fmla="*/ 0 w 276"/>
              <a:gd name="T11" fmla="*/ 312 h 313"/>
              <a:gd name="T12" fmla="*/ 15 w 276"/>
              <a:gd name="T13" fmla="*/ 313 h 313"/>
              <a:gd name="T14" fmla="*/ 17 w 276"/>
              <a:gd name="T15" fmla="*/ 277 h 313"/>
              <a:gd name="T16" fmla="*/ 3 w 276"/>
              <a:gd name="T17" fmla="*/ 275 h 313"/>
              <a:gd name="T18" fmla="*/ 0 w 276"/>
              <a:gd name="T19" fmla="*/ 312 h 313"/>
              <a:gd name="T20" fmla="*/ 42 w 276"/>
              <a:gd name="T21" fmla="*/ 169 h 313"/>
              <a:gd name="T22" fmla="*/ 55 w 276"/>
              <a:gd name="T23" fmla="*/ 177 h 313"/>
              <a:gd name="T24" fmla="*/ 76 w 276"/>
              <a:gd name="T25" fmla="*/ 148 h 313"/>
              <a:gd name="T26" fmla="*/ 65 w 276"/>
              <a:gd name="T27" fmla="*/ 139 h 313"/>
              <a:gd name="T28" fmla="*/ 42 w 276"/>
              <a:gd name="T29" fmla="*/ 169 h 313"/>
              <a:gd name="T30" fmla="*/ 92 w 276"/>
              <a:gd name="T31" fmla="*/ 112 h 313"/>
              <a:gd name="T32" fmla="*/ 102 w 276"/>
              <a:gd name="T33" fmla="*/ 123 h 313"/>
              <a:gd name="T34" fmla="*/ 130 w 276"/>
              <a:gd name="T35" fmla="*/ 101 h 313"/>
              <a:gd name="T36" fmla="*/ 122 w 276"/>
              <a:gd name="T37" fmla="*/ 89 h 313"/>
              <a:gd name="T38" fmla="*/ 92 w 276"/>
              <a:gd name="T39" fmla="*/ 112 h 313"/>
              <a:gd name="T40" fmla="*/ 156 w 276"/>
              <a:gd name="T41" fmla="*/ 71 h 313"/>
              <a:gd name="T42" fmla="*/ 162 w 276"/>
              <a:gd name="T43" fmla="*/ 84 h 313"/>
              <a:gd name="T44" fmla="*/ 195 w 276"/>
              <a:gd name="T45" fmla="*/ 72 h 313"/>
              <a:gd name="T46" fmla="*/ 191 w 276"/>
              <a:gd name="T47" fmla="*/ 58 h 313"/>
              <a:gd name="T48" fmla="*/ 156 w 276"/>
              <a:gd name="T49" fmla="*/ 71 h 313"/>
              <a:gd name="T50" fmla="*/ 273 w 276"/>
              <a:gd name="T51" fmla="*/ 47 h 313"/>
              <a:gd name="T52" fmla="*/ 226 w 276"/>
              <a:gd name="T53" fmla="*/ 0 h 313"/>
              <a:gd name="T54" fmla="*/ 215 w 276"/>
              <a:gd name="T55" fmla="*/ 11 h 313"/>
              <a:gd name="T56" fmla="*/ 252 w 276"/>
              <a:gd name="T57" fmla="*/ 47 h 313"/>
              <a:gd name="T58" fmla="*/ 228 w 276"/>
              <a:gd name="T59" fmla="*/ 50 h 313"/>
              <a:gd name="T60" fmla="*/ 230 w 276"/>
              <a:gd name="T61" fmla="*/ 64 h 313"/>
              <a:gd name="T62" fmla="*/ 248 w 276"/>
              <a:gd name="T63" fmla="*/ 62 h 313"/>
              <a:gd name="T64" fmla="*/ 215 w 276"/>
              <a:gd name="T65" fmla="*/ 94 h 313"/>
              <a:gd name="T66" fmla="*/ 226 w 276"/>
              <a:gd name="T67" fmla="*/ 105 h 313"/>
              <a:gd name="T68" fmla="*/ 273 w 276"/>
              <a:gd name="T69" fmla="*/ 58 h 313"/>
              <a:gd name="T70" fmla="*/ 273 w 276"/>
              <a:gd name="T71" fmla="*/ 47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76" h="313">
                <a:moveTo>
                  <a:pt x="24" y="202"/>
                </a:moveTo>
                <a:cubicBezTo>
                  <a:pt x="37" y="208"/>
                  <a:pt x="37" y="208"/>
                  <a:pt x="37" y="208"/>
                </a:cubicBezTo>
                <a:cubicBezTo>
                  <a:pt x="32" y="219"/>
                  <a:pt x="28" y="230"/>
                  <a:pt x="25" y="242"/>
                </a:cubicBezTo>
                <a:cubicBezTo>
                  <a:pt x="11" y="238"/>
                  <a:pt x="11" y="238"/>
                  <a:pt x="11" y="238"/>
                </a:cubicBezTo>
                <a:cubicBezTo>
                  <a:pt x="14" y="226"/>
                  <a:pt x="19" y="214"/>
                  <a:pt x="24" y="202"/>
                </a:cubicBezTo>
                <a:close/>
                <a:moveTo>
                  <a:pt x="0" y="312"/>
                </a:moveTo>
                <a:cubicBezTo>
                  <a:pt x="15" y="313"/>
                  <a:pt x="15" y="313"/>
                  <a:pt x="15" y="313"/>
                </a:cubicBezTo>
                <a:cubicBezTo>
                  <a:pt x="15" y="301"/>
                  <a:pt x="16" y="289"/>
                  <a:pt x="17" y="277"/>
                </a:cubicBezTo>
                <a:cubicBezTo>
                  <a:pt x="3" y="275"/>
                  <a:pt x="3" y="275"/>
                  <a:pt x="3" y="275"/>
                </a:cubicBezTo>
                <a:cubicBezTo>
                  <a:pt x="1" y="287"/>
                  <a:pt x="0" y="300"/>
                  <a:pt x="0" y="312"/>
                </a:cubicBezTo>
                <a:close/>
                <a:moveTo>
                  <a:pt x="42" y="169"/>
                </a:moveTo>
                <a:cubicBezTo>
                  <a:pt x="55" y="177"/>
                  <a:pt x="55" y="177"/>
                  <a:pt x="55" y="177"/>
                </a:cubicBezTo>
                <a:cubicBezTo>
                  <a:pt x="61" y="167"/>
                  <a:pt x="68" y="157"/>
                  <a:pt x="76" y="148"/>
                </a:cubicBezTo>
                <a:cubicBezTo>
                  <a:pt x="65" y="139"/>
                  <a:pt x="65" y="139"/>
                  <a:pt x="65" y="139"/>
                </a:cubicBezTo>
                <a:cubicBezTo>
                  <a:pt x="57" y="148"/>
                  <a:pt x="49" y="158"/>
                  <a:pt x="42" y="169"/>
                </a:cubicBezTo>
                <a:close/>
                <a:moveTo>
                  <a:pt x="92" y="112"/>
                </a:moveTo>
                <a:cubicBezTo>
                  <a:pt x="102" y="123"/>
                  <a:pt x="102" y="123"/>
                  <a:pt x="102" y="123"/>
                </a:cubicBezTo>
                <a:cubicBezTo>
                  <a:pt x="111" y="115"/>
                  <a:pt x="120" y="108"/>
                  <a:pt x="130" y="101"/>
                </a:cubicBezTo>
                <a:cubicBezTo>
                  <a:pt x="122" y="89"/>
                  <a:pt x="122" y="89"/>
                  <a:pt x="122" y="89"/>
                </a:cubicBezTo>
                <a:cubicBezTo>
                  <a:pt x="112" y="96"/>
                  <a:pt x="101" y="103"/>
                  <a:pt x="92" y="112"/>
                </a:cubicBezTo>
                <a:close/>
                <a:moveTo>
                  <a:pt x="156" y="71"/>
                </a:moveTo>
                <a:cubicBezTo>
                  <a:pt x="162" y="84"/>
                  <a:pt x="162" y="84"/>
                  <a:pt x="162" y="84"/>
                </a:cubicBezTo>
                <a:cubicBezTo>
                  <a:pt x="173" y="79"/>
                  <a:pt x="184" y="75"/>
                  <a:pt x="195" y="72"/>
                </a:cubicBezTo>
                <a:cubicBezTo>
                  <a:pt x="191" y="58"/>
                  <a:pt x="191" y="58"/>
                  <a:pt x="191" y="58"/>
                </a:cubicBezTo>
                <a:cubicBezTo>
                  <a:pt x="179" y="61"/>
                  <a:pt x="167" y="66"/>
                  <a:pt x="156" y="71"/>
                </a:cubicBezTo>
                <a:close/>
                <a:moveTo>
                  <a:pt x="273" y="47"/>
                </a:moveTo>
                <a:cubicBezTo>
                  <a:pt x="226" y="0"/>
                  <a:pt x="226" y="0"/>
                  <a:pt x="226" y="0"/>
                </a:cubicBezTo>
                <a:cubicBezTo>
                  <a:pt x="215" y="11"/>
                  <a:pt x="215" y="11"/>
                  <a:pt x="215" y="11"/>
                </a:cubicBezTo>
                <a:cubicBezTo>
                  <a:pt x="252" y="47"/>
                  <a:pt x="252" y="47"/>
                  <a:pt x="252" y="47"/>
                </a:cubicBezTo>
                <a:cubicBezTo>
                  <a:pt x="244" y="48"/>
                  <a:pt x="236" y="48"/>
                  <a:pt x="228" y="50"/>
                </a:cubicBezTo>
                <a:cubicBezTo>
                  <a:pt x="230" y="64"/>
                  <a:pt x="230" y="64"/>
                  <a:pt x="230" y="64"/>
                </a:cubicBezTo>
                <a:cubicBezTo>
                  <a:pt x="236" y="63"/>
                  <a:pt x="242" y="63"/>
                  <a:pt x="248" y="62"/>
                </a:cubicBezTo>
                <a:cubicBezTo>
                  <a:pt x="215" y="94"/>
                  <a:pt x="215" y="94"/>
                  <a:pt x="215" y="94"/>
                </a:cubicBezTo>
                <a:cubicBezTo>
                  <a:pt x="226" y="105"/>
                  <a:pt x="226" y="105"/>
                  <a:pt x="226" y="105"/>
                </a:cubicBezTo>
                <a:cubicBezTo>
                  <a:pt x="273" y="58"/>
                  <a:pt x="273" y="58"/>
                  <a:pt x="273" y="58"/>
                </a:cubicBezTo>
                <a:cubicBezTo>
                  <a:pt x="276" y="55"/>
                  <a:pt x="276" y="50"/>
                  <a:pt x="273" y="47"/>
                </a:cubicBezTo>
                <a:close/>
              </a:path>
            </a:pathLst>
          </a:custGeom>
          <a:solidFill>
            <a:schemeClr val="accent2"/>
          </a:solidFill>
          <a:ln>
            <a:noFill/>
          </a:ln>
        </p:spPr>
        <p:txBody>
          <a:bodyPr vert="horz" wrap="square" lIns="68571" tIns="34286" rIns="68571" bIns="34286" numCol="1" anchor="t" anchorCtr="0" compatLnSpc="1">
            <a:prstTxWarp prst="textNoShape">
              <a:avLst/>
            </a:prstTxWarp>
          </a:bodyPr>
          <a:lstStyle/>
          <a:p>
            <a:endParaRPr lang="en-US"/>
          </a:p>
        </p:txBody>
      </p:sp>
      <p:sp>
        <p:nvSpPr>
          <p:cNvPr id="208" name="Freeform 90"/>
          <p:cNvSpPr>
            <a:spLocks noEditPoints="1"/>
          </p:cNvSpPr>
          <p:nvPr/>
        </p:nvSpPr>
        <p:spPr bwMode="auto">
          <a:xfrm>
            <a:off x="652309" y="3897317"/>
            <a:ext cx="330234" cy="401073"/>
          </a:xfrm>
          <a:custGeom>
            <a:avLst/>
            <a:gdLst>
              <a:gd name="T0" fmla="*/ 136 w 280"/>
              <a:gd name="T1" fmla="*/ 143 h 340"/>
              <a:gd name="T2" fmla="*/ 88 w 280"/>
              <a:gd name="T3" fmla="*/ 95 h 340"/>
              <a:gd name="T4" fmla="*/ 98 w 280"/>
              <a:gd name="T5" fmla="*/ 85 h 340"/>
              <a:gd name="T6" fmla="*/ 133 w 280"/>
              <a:gd name="T7" fmla="*/ 120 h 340"/>
              <a:gd name="T8" fmla="*/ 133 w 280"/>
              <a:gd name="T9" fmla="*/ 0 h 340"/>
              <a:gd name="T10" fmla="*/ 148 w 280"/>
              <a:gd name="T11" fmla="*/ 0 h 340"/>
              <a:gd name="T12" fmla="*/ 148 w 280"/>
              <a:gd name="T13" fmla="*/ 120 h 340"/>
              <a:gd name="T14" fmla="*/ 184 w 280"/>
              <a:gd name="T15" fmla="*/ 85 h 340"/>
              <a:gd name="T16" fmla="*/ 194 w 280"/>
              <a:gd name="T17" fmla="*/ 95 h 340"/>
              <a:gd name="T18" fmla="*/ 146 w 280"/>
              <a:gd name="T19" fmla="*/ 143 h 340"/>
              <a:gd name="T20" fmla="*/ 141 w 280"/>
              <a:gd name="T21" fmla="*/ 145 h 340"/>
              <a:gd name="T22" fmla="*/ 136 w 280"/>
              <a:gd name="T23" fmla="*/ 143 h 340"/>
              <a:gd name="T24" fmla="*/ 280 w 280"/>
              <a:gd name="T25" fmla="*/ 200 h 340"/>
              <a:gd name="T26" fmla="*/ 280 w 280"/>
              <a:gd name="T27" fmla="*/ 332 h 340"/>
              <a:gd name="T28" fmla="*/ 273 w 280"/>
              <a:gd name="T29" fmla="*/ 340 h 340"/>
              <a:gd name="T30" fmla="*/ 7 w 280"/>
              <a:gd name="T31" fmla="*/ 340 h 340"/>
              <a:gd name="T32" fmla="*/ 0 w 280"/>
              <a:gd name="T33" fmla="*/ 332 h 340"/>
              <a:gd name="T34" fmla="*/ 0 w 280"/>
              <a:gd name="T35" fmla="*/ 200 h 340"/>
              <a:gd name="T36" fmla="*/ 7 w 280"/>
              <a:gd name="T37" fmla="*/ 192 h 340"/>
              <a:gd name="T38" fmla="*/ 273 w 280"/>
              <a:gd name="T39" fmla="*/ 192 h 340"/>
              <a:gd name="T40" fmla="*/ 280 w 280"/>
              <a:gd name="T41" fmla="*/ 200 h 340"/>
              <a:gd name="T42" fmla="*/ 266 w 280"/>
              <a:gd name="T43" fmla="*/ 207 h 340"/>
              <a:gd name="T44" fmla="*/ 15 w 280"/>
              <a:gd name="T45" fmla="*/ 207 h 340"/>
              <a:gd name="T46" fmla="*/ 15 w 280"/>
              <a:gd name="T47" fmla="*/ 325 h 340"/>
              <a:gd name="T48" fmla="*/ 266 w 280"/>
              <a:gd name="T49" fmla="*/ 325 h 340"/>
              <a:gd name="T50" fmla="*/ 266 w 280"/>
              <a:gd name="T51" fmla="*/ 207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80" h="340">
                <a:moveTo>
                  <a:pt x="136" y="143"/>
                </a:moveTo>
                <a:cubicBezTo>
                  <a:pt x="88" y="95"/>
                  <a:pt x="88" y="95"/>
                  <a:pt x="88" y="95"/>
                </a:cubicBezTo>
                <a:cubicBezTo>
                  <a:pt x="98" y="85"/>
                  <a:pt x="98" y="85"/>
                  <a:pt x="98" y="85"/>
                </a:cubicBezTo>
                <a:cubicBezTo>
                  <a:pt x="133" y="120"/>
                  <a:pt x="133" y="120"/>
                  <a:pt x="133" y="120"/>
                </a:cubicBezTo>
                <a:cubicBezTo>
                  <a:pt x="133" y="0"/>
                  <a:pt x="133" y="0"/>
                  <a:pt x="133" y="0"/>
                </a:cubicBezTo>
                <a:cubicBezTo>
                  <a:pt x="148" y="0"/>
                  <a:pt x="148" y="0"/>
                  <a:pt x="148" y="0"/>
                </a:cubicBezTo>
                <a:cubicBezTo>
                  <a:pt x="148" y="120"/>
                  <a:pt x="148" y="120"/>
                  <a:pt x="148" y="120"/>
                </a:cubicBezTo>
                <a:cubicBezTo>
                  <a:pt x="184" y="85"/>
                  <a:pt x="184" y="85"/>
                  <a:pt x="184" y="85"/>
                </a:cubicBezTo>
                <a:cubicBezTo>
                  <a:pt x="194" y="95"/>
                  <a:pt x="194" y="95"/>
                  <a:pt x="194" y="95"/>
                </a:cubicBezTo>
                <a:cubicBezTo>
                  <a:pt x="146" y="143"/>
                  <a:pt x="146" y="143"/>
                  <a:pt x="146" y="143"/>
                </a:cubicBezTo>
                <a:cubicBezTo>
                  <a:pt x="145" y="144"/>
                  <a:pt x="143" y="145"/>
                  <a:pt x="141" y="145"/>
                </a:cubicBezTo>
                <a:cubicBezTo>
                  <a:pt x="139" y="145"/>
                  <a:pt x="137" y="144"/>
                  <a:pt x="136" y="143"/>
                </a:cubicBezTo>
                <a:close/>
                <a:moveTo>
                  <a:pt x="280" y="200"/>
                </a:moveTo>
                <a:cubicBezTo>
                  <a:pt x="280" y="332"/>
                  <a:pt x="280" y="332"/>
                  <a:pt x="280" y="332"/>
                </a:cubicBezTo>
                <a:cubicBezTo>
                  <a:pt x="280" y="337"/>
                  <a:pt x="277" y="340"/>
                  <a:pt x="273" y="340"/>
                </a:cubicBezTo>
                <a:cubicBezTo>
                  <a:pt x="7" y="340"/>
                  <a:pt x="7" y="340"/>
                  <a:pt x="7" y="340"/>
                </a:cubicBezTo>
                <a:cubicBezTo>
                  <a:pt x="3" y="340"/>
                  <a:pt x="0" y="337"/>
                  <a:pt x="0" y="332"/>
                </a:cubicBezTo>
                <a:cubicBezTo>
                  <a:pt x="0" y="200"/>
                  <a:pt x="0" y="200"/>
                  <a:pt x="0" y="200"/>
                </a:cubicBezTo>
                <a:cubicBezTo>
                  <a:pt x="0" y="195"/>
                  <a:pt x="3" y="192"/>
                  <a:pt x="7" y="192"/>
                </a:cubicBezTo>
                <a:cubicBezTo>
                  <a:pt x="273" y="192"/>
                  <a:pt x="273" y="192"/>
                  <a:pt x="273" y="192"/>
                </a:cubicBezTo>
                <a:cubicBezTo>
                  <a:pt x="277" y="192"/>
                  <a:pt x="280" y="195"/>
                  <a:pt x="280" y="200"/>
                </a:cubicBezTo>
                <a:close/>
                <a:moveTo>
                  <a:pt x="266" y="207"/>
                </a:moveTo>
                <a:cubicBezTo>
                  <a:pt x="15" y="207"/>
                  <a:pt x="15" y="207"/>
                  <a:pt x="15" y="207"/>
                </a:cubicBezTo>
                <a:cubicBezTo>
                  <a:pt x="15" y="325"/>
                  <a:pt x="15" y="325"/>
                  <a:pt x="15" y="325"/>
                </a:cubicBezTo>
                <a:cubicBezTo>
                  <a:pt x="266" y="325"/>
                  <a:pt x="266" y="325"/>
                  <a:pt x="266" y="325"/>
                </a:cubicBezTo>
                <a:lnTo>
                  <a:pt x="266" y="207"/>
                </a:lnTo>
                <a:close/>
              </a:path>
            </a:pathLst>
          </a:custGeom>
          <a:solidFill>
            <a:schemeClr val="accent1"/>
          </a:solidFill>
          <a:ln>
            <a:noFill/>
          </a:ln>
        </p:spPr>
        <p:txBody>
          <a:bodyPr vert="horz" wrap="square" lIns="68571" tIns="34286" rIns="68571" bIns="34286" numCol="1" anchor="t" anchorCtr="0" compatLnSpc="1">
            <a:prstTxWarp prst="textNoShape">
              <a:avLst/>
            </a:prstTxWarp>
          </a:bodyPr>
          <a:lstStyle/>
          <a:p>
            <a:endParaRPr lang="en-US"/>
          </a:p>
        </p:txBody>
      </p:sp>
      <p:sp>
        <p:nvSpPr>
          <p:cNvPr id="209" name="Freeform 91"/>
          <p:cNvSpPr>
            <a:spLocks noEditPoints="1"/>
          </p:cNvSpPr>
          <p:nvPr/>
        </p:nvSpPr>
        <p:spPr bwMode="auto">
          <a:xfrm>
            <a:off x="3322267" y="3853613"/>
            <a:ext cx="410670" cy="488481"/>
          </a:xfrm>
          <a:custGeom>
            <a:avLst/>
            <a:gdLst>
              <a:gd name="T0" fmla="*/ 8 w 348"/>
              <a:gd name="T1" fmla="*/ 0 h 414"/>
              <a:gd name="T2" fmla="*/ 0 w 348"/>
              <a:gd name="T3" fmla="*/ 406 h 414"/>
              <a:gd name="T4" fmla="*/ 340 w 348"/>
              <a:gd name="T5" fmla="*/ 414 h 414"/>
              <a:gd name="T6" fmla="*/ 348 w 348"/>
              <a:gd name="T7" fmla="*/ 8 h 414"/>
              <a:gd name="T8" fmla="*/ 333 w 348"/>
              <a:gd name="T9" fmla="*/ 399 h 414"/>
              <a:gd name="T10" fmla="*/ 15 w 348"/>
              <a:gd name="T11" fmla="*/ 15 h 414"/>
              <a:gd name="T12" fmla="*/ 333 w 348"/>
              <a:gd name="T13" fmla="*/ 399 h 414"/>
              <a:gd name="T14" fmla="*/ 33 w 348"/>
              <a:gd name="T15" fmla="*/ 43 h 414"/>
              <a:gd name="T16" fmla="*/ 307 w 348"/>
              <a:gd name="T17" fmla="*/ 36 h 414"/>
              <a:gd name="T18" fmla="*/ 315 w 348"/>
              <a:gd name="T19" fmla="*/ 104 h 414"/>
              <a:gd name="T20" fmla="*/ 41 w 348"/>
              <a:gd name="T21" fmla="*/ 111 h 414"/>
              <a:gd name="T22" fmla="*/ 108 w 348"/>
              <a:gd name="T23" fmla="*/ 141 h 414"/>
              <a:gd name="T24" fmla="*/ 123 w 348"/>
              <a:gd name="T25" fmla="*/ 203 h 414"/>
              <a:gd name="T26" fmla="*/ 53 w 348"/>
              <a:gd name="T27" fmla="*/ 210 h 414"/>
              <a:gd name="T28" fmla="*/ 108 w 348"/>
              <a:gd name="T29" fmla="*/ 195 h 414"/>
              <a:gd name="T30" fmla="*/ 198 w 348"/>
              <a:gd name="T31" fmla="*/ 141 h 414"/>
              <a:gd name="T32" fmla="*/ 212 w 348"/>
              <a:gd name="T33" fmla="*/ 203 h 414"/>
              <a:gd name="T34" fmla="*/ 143 w 348"/>
              <a:gd name="T35" fmla="*/ 210 h 414"/>
              <a:gd name="T36" fmla="*/ 198 w 348"/>
              <a:gd name="T37" fmla="*/ 195 h 414"/>
              <a:gd name="T38" fmla="*/ 287 w 348"/>
              <a:gd name="T39" fmla="*/ 141 h 414"/>
              <a:gd name="T40" fmla="*/ 302 w 348"/>
              <a:gd name="T41" fmla="*/ 203 h 414"/>
              <a:gd name="T42" fmla="*/ 233 w 348"/>
              <a:gd name="T43" fmla="*/ 210 h 414"/>
              <a:gd name="T44" fmla="*/ 287 w 348"/>
              <a:gd name="T45" fmla="*/ 195 h 414"/>
              <a:gd name="T46" fmla="*/ 108 w 348"/>
              <a:gd name="T47" fmla="*/ 314 h 414"/>
              <a:gd name="T48" fmla="*/ 123 w 348"/>
              <a:gd name="T49" fmla="*/ 376 h 414"/>
              <a:gd name="T50" fmla="*/ 53 w 348"/>
              <a:gd name="T51" fmla="*/ 384 h 414"/>
              <a:gd name="T52" fmla="*/ 108 w 348"/>
              <a:gd name="T53" fmla="*/ 369 h 414"/>
              <a:gd name="T54" fmla="*/ 198 w 348"/>
              <a:gd name="T55" fmla="*/ 314 h 414"/>
              <a:gd name="T56" fmla="*/ 212 w 348"/>
              <a:gd name="T57" fmla="*/ 376 h 414"/>
              <a:gd name="T58" fmla="*/ 143 w 348"/>
              <a:gd name="T59" fmla="*/ 384 h 414"/>
              <a:gd name="T60" fmla="*/ 198 w 348"/>
              <a:gd name="T61" fmla="*/ 369 h 414"/>
              <a:gd name="T62" fmla="*/ 287 w 348"/>
              <a:gd name="T63" fmla="*/ 314 h 414"/>
              <a:gd name="T64" fmla="*/ 302 w 348"/>
              <a:gd name="T65" fmla="*/ 376 h 414"/>
              <a:gd name="T66" fmla="*/ 233 w 348"/>
              <a:gd name="T67" fmla="*/ 384 h 414"/>
              <a:gd name="T68" fmla="*/ 287 w 348"/>
              <a:gd name="T69" fmla="*/ 369 h 414"/>
              <a:gd name="T70" fmla="*/ 108 w 348"/>
              <a:gd name="T71" fmla="*/ 227 h 414"/>
              <a:gd name="T72" fmla="*/ 123 w 348"/>
              <a:gd name="T73" fmla="*/ 289 h 414"/>
              <a:gd name="T74" fmla="*/ 53 w 348"/>
              <a:gd name="T75" fmla="*/ 297 h 414"/>
              <a:gd name="T76" fmla="*/ 108 w 348"/>
              <a:gd name="T77" fmla="*/ 282 h 414"/>
              <a:gd name="T78" fmla="*/ 198 w 348"/>
              <a:gd name="T79" fmla="*/ 227 h 414"/>
              <a:gd name="T80" fmla="*/ 212 w 348"/>
              <a:gd name="T81" fmla="*/ 289 h 414"/>
              <a:gd name="T82" fmla="*/ 143 w 348"/>
              <a:gd name="T83" fmla="*/ 297 h 414"/>
              <a:gd name="T84" fmla="*/ 198 w 348"/>
              <a:gd name="T85" fmla="*/ 282 h 414"/>
              <a:gd name="T86" fmla="*/ 287 w 348"/>
              <a:gd name="T87" fmla="*/ 227 h 414"/>
              <a:gd name="T88" fmla="*/ 302 w 348"/>
              <a:gd name="T89" fmla="*/ 289 h 414"/>
              <a:gd name="T90" fmla="*/ 233 w 348"/>
              <a:gd name="T91" fmla="*/ 297 h 414"/>
              <a:gd name="T92" fmla="*/ 287 w 348"/>
              <a:gd name="T93" fmla="*/ 28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8" h="414">
                <a:moveTo>
                  <a:pt x="340" y="0"/>
                </a:moveTo>
                <a:cubicBezTo>
                  <a:pt x="8" y="0"/>
                  <a:pt x="8" y="0"/>
                  <a:pt x="8" y="0"/>
                </a:cubicBezTo>
                <a:cubicBezTo>
                  <a:pt x="4" y="0"/>
                  <a:pt x="0" y="4"/>
                  <a:pt x="0" y="8"/>
                </a:cubicBezTo>
                <a:cubicBezTo>
                  <a:pt x="0" y="406"/>
                  <a:pt x="0" y="406"/>
                  <a:pt x="0" y="406"/>
                </a:cubicBezTo>
                <a:cubicBezTo>
                  <a:pt x="0" y="410"/>
                  <a:pt x="4" y="414"/>
                  <a:pt x="8" y="414"/>
                </a:cubicBezTo>
                <a:cubicBezTo>
                  <a:pt x="340" y="414"/>
                  <a:pt x="340" y="414"/>
                  <a:pt x="340" y="414"/>
                </a:cubicBezTo>
                <a:cubicBezTo>
                  <a:pt x="344" y="414"/>
                  <a:pt x="348" y="410"/>
                  <a:pt x="348" y="406"/>
                </a:cubicBezTo>
                <a:cubicBezTo>
                  <a:pt x="348" y="8"/>
                  <a:pt x="348" y="8"/>
                  <a:pt x="348" y="8"/>
                </a:cubicBezTo>
                <a:cubicBezTo>
                  <a:pt x="348" y="4"/>
                  <a:pt x="344" y="0"/>
                  <a:pt x="340" y="0"/>
                </a:cubicBezTo>
                <a:close/>
                <a:moveTo>
                  <a:pt x="333" y="399"/>
                </a:moveTo>
                <a:cubicBezTo>
                  <a:pt x="15" y="399"/>
                  <a:pt x="15" y="399"/>
                  <a:pt x="15" y="399"/>
                </a:cubicBezTo>
                <a:cubicBezTo>
                  <a:pt x="15" y="15"/>
                  <a:pt x="15" y="15"/>
                  <a:pt x="15" y="15"/>
                </a:cubicBezTo>
                <a:cubicBezTo>
                  <a:pt x="333" y="15"/>
                  <a:pt x="333" y="15"/>
                  <a:pt x="333" y="15"/>
                </a:cubicBezTo>
                <a:lnTo>
                  <a:pt x="333" y="399"/>
                </a:lnTo>
                <a:close/>
                <a:moveTo>
                  <a:pt x="33" y="104"/>
                </a:moveTo>
                <a:cubicBezTo>
                  <a:pt x="33" y="43"/>
                  <a:pt x="33" y="43"/>
                  <a:pt x="33" y="43"/>
                </a:cubicBezTo>
                <a:cubicBezTo>
                  <a:pt x="33" y="39"/>
                  <a:pt x="37" y="36"/>
                  <a:pt x="41" y="36"/>
                </a:cubicBezTo>
                <a:cubicBezTo>
                  <a:pt x="307" y="36"/>
                  <a:pt x="307" y="36"/>
                  <a:pt x="307" y="36"/>
                </a:cubicBezTo>
                <a:cubicBezTo>
                  <a:pt x="311" y="36"/>
                  <a:pt x="315" y="39"/>
                  <a:pt x="315" y="43"/>
                </a:cubicBezTo>
                <a:cubicBezTo>
                  <a:pt x="315" y="104"/>
                  <a:pt x="315" y="104"/>
                  <a:pt x="315" y="104"/>
                </a:cubicBezTo>
                <a:cubicBezTo>
                  <a:pt x="315" y="108"/>
                  <a:pt x="311" y="111"/>
                  <a:pt x="307" y="111"/>
                </a:cubicBezTo>
                <a:cubicBezTo>
                  <a:pt x="41" y="111"/>
                  <a:pt x="41" y="111"/>
                  <a:pt x="41" y="111"/>
                </a:cubicBezTo>
                <a:cubicBezTo>
                  <a:pt x="37" y="111"/>
                  <a:pt x="33" y="108"/>
                  <a:pt x="33" y="104"/>
                </a:cubicBezTo>
                <a:close/>
                <a:moveTo>
                  <a:pt x="108" y="141"/>
                </a:moveTo>
                <a:cubicBezTo>
                  <a:pt x="123" y="141"/>
                  <a:pt x="123" y="141"/>
                  <a:pt x="123" y="141"/>
                </a:cubicBezTo>
                <a:cubicBezTo>
                  <a:pt x="123" y="203"/>
                  <a:pt x="123" y="203"/>
                  <a:pt x="123" y="203"/>
                </a:cubicBezTo>
                <a:cubicBezTo>
                  <a:pt x="123" y="207"/>
                  <a:pt x="119" y="210"/>
                  <a:pt x="115" y="210"/>
                </a:cubicBezTo>
                <a:cubicBezTo>
                  <a:pt x="53" y="210"/>
                  <a:pt x="53" y="210"/>
                  <a:pt x="53" y="210"/>
                </a:cubicBezTo>
                <a:cubicBezTo>
                  <a:pt x="53" y="195"/>
                  <a:pt x="53" y="195"/>
                  <a:pt x="53" y="195"/>
                </a:cubicBezTo>
                <a:cubicBezTo>
                  <a:pt x="108" y="195"/>
                  <a:pt x="108" y="195"/>
                  <a:pt x="108" y="195"/>
                </a:cubicBezTo>
                <a:lnTo>
                  <a:pt x="108" y="141"/>
                </a:lnTo>
                <a:close/>
                <a:moveTo>
                  <a:pt x="198" y="141"/>
                </a:moveTo>
                <a:cubicBezTo>
                  <a:pt x="212" y="141"/>
                  <a:pt x="212" y="141"/>
                  <a:pt x="212" y="141"/>
                </a:cubicBezTo>
                <a:cubicBezTo>
                  <a:pt x="212" y="203"/>
                  <a:pt x="212" y="203"/>
                  <a:pt x="212" y="203"/>
                </a:cubicBezTo>
                <a:cubicBezTo>
                  <a:pt x="212" y="207"/>
                  <a:pt x="209" y="210"/>
                  <a:pt x="205" y="210"/>
                </a:cubicBezTo>
                <a:cubicBezTo>
                  <a:pt x="143" y="210"/>
                  <a:pt x="143" y="210"/>
                  <a:pt x="143" y="210"/>
                </a:cubicBezTo>
                <a:cubicBezTo>
                  <a:pt x="143" y="195"/>
                  <a:pt x="143" y="195"/>
                  <a:pt x="143" y="195"/>
                </a:cubicBezTo>
                <a:cubicBezTo>
                  <a:pt x="198" y="195"/>
                  <a:pt x="198" y="195"/>
                  <a:pt x="198" y="195"/>
                </a:cubicBezTo>
                <a:lnTo>
                  <a:pt x="198" y="141"/>
                </a:lnTo>
                <a:close/>
                <a:moveTo>
                  <a:pt x="287" y="141"/>
                </a:moveTo>
                <a:cubicBezTo>
                  <a:pt x="302" y="141"/>
                  <a:pt x="302" y="141"/>
                  <a:pt x="302" y="141"/>
                </a:cubicBezTo>
                <a:cubicBezTo>
                  <a:pt x="302" y="203"/>
                  <a:pt x="302" y="203"/>
                  <a:pt x="302" y="203"/>
                </a:cubicBezTo>
                <a:cubicBezTo>
                  <a:pt x="302" y="207"/>
                  <a:pt x="299" y="210"/>
                  <a:pt x="295" y="210"/>
                </a:cubicBezTo>
                <a:cubicBezTo>
                  <a:pt x="233" y="210"/>
                  <a:pt x="233" y="210"/>
                  <a:pt x="233" y="210"/>
                </a:cubicBezTo>
                <a:cubicBezTo>
                  <a:pt x="233" y="195"/>
                  <a:pt x="233" y="195"/>
                  <a:pt x="233" y="195"/>
                </a:cubicBezTo>
                <a:cubicBezTo>
                  <a:pt x="287" y="195"/>
                  <a:pt x="287" y="195"/>
                  <a:pt x="287" y="195"/>
                </a:cubicBezTo>
                <a:lnTo>
                  <a:pt x="287" y="141"/>
                </a:lnTo>
                <a:close/>
                <a:moveTo>
                  <a:pt x="108" y="314"/>
                </a:moveTo>
                <a:cubicBezTo>
                  <a:pt x="123" y="314"/>
                  <a:pt x="123" y="314"/>
                  <a:pt x="123" y="314"/>
                </a:cubicBezTo>
                <a:cubicBezTo>
                  <a:pt x="123" y="376"/>
                  <a:pt x="123" y="376"/>
                  <a:pt x="123" y="376"/>
                </a:cubicBezTo>
                <a:cubicBezTo>
                  <a:pt x="123" y="380"/>
                  <a:pt x="119" y="384"/>
                  <a:pt x="115" y="384"/>
                </a:cubicBezTo>
                <a:cubicBezTo>
                  <a:pt x="53" y="384"/>
                  <a:pt x="53" y="384"/>
                  <a:pt x="53" y="384"/>
                </a:cubicBezTo>
                <a:cubicBezTo>
                  <a:pt x="53" y="369"/>
                  <a:pt x="53" y="369"/>
                  <a:pt x="53" y="369"/>
                </a:cubicBezTo>
                <a:cubicBezTo>
                  <a:pt x="108" y="369"/>
                  <a:pt x="108" y="369"/>
                  <a:pt x="108" y="369"/>
                </a:cubicBezTo>
                <a:lnTo>
                  <a:pt x="108" y="314"/>
                </a:lnTo>
                <a:close/>
                <a:moveTo>
                  <a:pt x="198" y="314"/>
                </a:moveTo>
                <a:cubicBezTo>
                  <a:pt x="212" y="314"/>
                  <a:pt x="212" y="314"/>
                  <a:pt x="212" y="314"/>
                </a:cubicBezTo>
                <a:cubicBezTo>
                  <a:pt x="212" y="376"/>
                  <a:pt x="212" y="376"/>
                  <a:pt x="212" y="376"/>
                </a:cubicBezTo>
                <a:cubicBezTo>
                  <a:pt x="212" y="380"/>
                  <a:pt x="209" y="384"/>
                  <a:pt x="205" y="384"/>
                </a:cubicBezTo>
                <a:cubicBezTo>
                  <a:pt x="143" y="384"/>
                  <a:pt x="143" y="384"/>
                  <a:pt x="143" y="384"/>
                </a:cubicBezTo>
                <a:cubicBezTo>
                  <a:pt x="143" y="369"/>
                  <a:pt x="143" y="369"/>
                  <a:pt x="143" y="369"/>
                </a:cubicBezTo>
                <a:cubicBezTo>
                  <a:pt x="198" y="369"/>
                  <a:pt x="198" y="369"/>
                  <a:pt x="198" y="369"/>
                </a:cubicBezTo>
                <a:lnTo>
                  <a:pt x="198" y="314"/>
                </a:lnTo>
                <a:close/>
                <a:moveTo>
                  <a:pt x="287" y="314"/>
                </a:moveTo>
                <a:cubicBezTo>
                  <a:pt x="302" y="314"/>
                  <a:pt x="302" y="314"/>
                  <a:pt x="302" y="314"/>
                </a:cubicBezTo>
                <a:cubicBezTo>
                  <a:pt x="302" y="376"/>
                  <a:pt x="302" y="376"/>
                  <a:pt x="302" y="376"/>
                </a:cubicBezTo>
                <a:cubicBezTo>
                  <a:pt x="302" y="380"/>
                  <a:pt x="299" y="384"/>
                  <a:pt x="295" y="384"/>
                </a:cubicBezTo>
                <a:cubicBezTo>
                  <a:pt x="233" y="384"/>
                  <a:pt x="233" y="384"/>
                  <a:pt x="233" y="384"/>
                </a:cubicBezTo>
                <a:cubicBezTo>
                  <a:pt x="233" y="369"/>
                  <a:pt x="233" y="369"/>
                  <a:pt x="233" y="369"/>
                </a:cubicBezTo>
                <a:cubicBezTo>
                  <a:pt x="287" y="369"/>
                  <a:pt x="287" y="369"/>
                  <a:pt x="287" y="369"/>
                </a:cubicBezTo>
                <a:lnTo>
                  <a:pt x="287" y="314"/>
                </a:lnTo>
                <a:close/>
                <a:moveTo>
                  <a:pt x="108" y="227"/>
                </a:moveTo>
                <a:cubicBezTo>
                  <a:pt x="123" y="227"/>
                  <a:pt x="123" y="227"/>
                  <a:pt x="123" y="227"/>
                </a:cubicBezTo>
                <a:cubicBezTo>
                  <a:pt x="123" y="289"/>
                  <a:pt x="123" y="289"/>
                  <a:pt x="123" y="289"/>
                </a:cubicBezTo>
                <a:cubicBezTo>
                  <a:pt x="123" y="293"/>
                  <a:pt x="119" y="297"/>
                  <a:pt x="115" y="297"/>
                </a:cubicBezTo>
                <a:cubicBezTo>
                  <a:pt x="53" y="297"/>
                  <a:pt x="53" y="297"/>
                  <a:pt x="53" y="297"/>
                </a:cubicBezTo>
                <a:cubicBezTo>
                  <a:pt x="53" y="282"/>
                  <a:pt x="53" y="282"/>
                  <a:pt x="53" y="282"/>
                </a:cubicBezTo>
                <a:cubicBezTo>
                  <a:pt x="108" y="282"/>
                  <a:pt x="108" y="282"/>
                  <a:pt x="108" y="282"/>
                </a:cubicBezTo>
                <a:lnTo>
                  <a:pt x="108" y="227"/>
                </a:lnTo>
                <a:close/>
                <a:moveTo>
                  <a:pt x="198" y="227"/>
                </a:moveTo>
                <a:cubicBezTo>
                  <a:pt x="212" y="227"/>
                  <a:pt x="212" y="227"/>
                  <a:pt x="212" y="227"/>
                </a:cubicBezTo>
                <a:cubicBezTo>
                  <a:pt x="212" y="289"/>
                  <a:pt x="212" y="289"/>
                  <a:pt x="212" y="289"/>
                </a:cubicBezTo>
                <a:cubicBezTo>
                  <a:pt x="212" y="293"/>
                  <a:pt x="209" y="297"/>
                  <a:pt x="205" y="297"/>
                </a:cubicBezTo>
                <a:cubicBezTo>
                  <a:pt x="143" y="297"/>
                  <a:pt x="143" y="297"/>
                  <a:pt x="143" y="297"/>
                </a:cubicBezTo>
                <a:cubicBezTo>
                  <a:pt x="143" y="282"/>
                  <a:pt x="143" y="282"/>
                  <a:pt x="143" y="282"/>
                </a:cubicBezTo>
                <a:cubicBezTo>
                  <a:pt x="198" y="282"/>
                  <a:pt x="198" y="282"/>
                  <a:pt x="198" y="282"/>
                </a:cubicBezTo>
                <a:lnTo>
                  <a:pt x="198" y="227"/>
                </a:lnTo>
                <a:close/>
                <a:moveTo>
                  <a:pt x="287" y="227"/>
                </a:moveTo>
                <a:cubicBezTo>
                  <a:pt x="302" y="227"/>
                  <a:pt x="302" y="227"/>
                  <a:pt x="302" y="227"/>
                </a:cubicBezTo>
                <a:cubicBezTo>
                  <a:pt x="302" y="289"/>
                  <a:pt x="302" y="289"/>
                  <a:pt x="302" y="289"/>
                </a:cubicBezTo>
                <a:cubicBezTo>
                  <a:pt x="302" y="293"/>
                  <a:pt x="299" y="297"/>
                  <a:pt x="295" y="297"/>
                </a:cubicBezTo>
                <a:cubicBezTo>
                  <a:pt x="233" y="297"/>
                  <a:pt x="233" y="297"/>
                  <a:pt x="233" y="297"/>
                </a:cubicBezTo>
                <a:cubicBezTo>
                  <a:pt x="233" y="282"/>
                  <a:pt x="233" y="282"/>
                  <a:pt x="233" y="282"/>
                </a:cubicBezTo>
                <a:cubicBezTo>
                  <a:pt x="287" y="282"/>
                  <a:pt x="287" y="282"/>
                  <a:pt x="287" y="282"/>
                </a:cubicBezTo>
                <a:lnTo>
                  <a:pt x="287" y="227"/>
                </a:lnTo>
                <a:close/>
              </a:path>
            </a:pathLst>
          </a:custGeom>
          <a:solidFill>
            <a:schemeClr val="accent3"/>
          </a:solidFill>
          <a:ln>
            <a:noFill/>
          </a:ln>
        </p:spPr>
        <p:txBody>
          <a:bodyPr vert="horz" wrap="square" lIns="68571" tIns="34286" rIns="68571" bIns="34286" numCol="1" anchor="t" anchorCtr="0" compatLnSpc="1">
            <a:prstTxWarp prst="textNoShape">
              <a:avLst/>
            </a:prstTxWarp>
          </a:bodyPr>
          <a:lstStyle/>
          <a:p>
            <a:endParaRPr lang="en-US"/>
          </a:p>
        </p:txBody>
      </p:sp>
      <p:sp>
        <p:nvSpPr>
          <p:cNvPr id="210" name="Freeform 92"/>
          <p:cNvSpPr>
            <a:spLocks noEditPoints="1"/>
          </p:cNvSpPr>
          <p:nvPr/>
        </p:nvSpPr>
        <p:spPr bwMode="auto">
          <a:xfrm>
            <a:off x="5129549" y="3838381"/>
            <a:ext cx="409671" cy="518948"/>
          </a:xfrm>
          <a:custGeom>
            <a:avLst/>
            <a:gdLst>
              <a:gd name="T0" fmla="*/ 340 w 347"/>
              <a:gd name="T1" fmla="*/ 93 h 440"/>
              <a:gd name="T2" fmla="*/ 281 w 347"/>
              <a:gd name="T3" fmla="*/ 93 h 440"/>
              <a:gd name="T4" fmla="*/ 281 w 347"/>
              <a:gd name="T5" fmla="*/ 34 h 440"/>
              <a:gd name="T6" fmla="*/ 273 w 347"/>
              <a:gd name="T7" fmla="*/ 27 h 440"/>
              <a:gd name="T8" fmla="*/ 214 w 347"/>
              <a:gd name="T9" fmla="*/ 27 h 440"/>
              <a:gd name="T10" fmla="*/ 214 w 347"/>
              <a:gd name="T11" fmla="*/ 7 h 440"/>
              <a:gd name="T12" fmla="*/ 207 w 347"/>
              <a:gd name="T13" fmla="*/ 0 h 440"/>
              <a:gd name="T14" fmla="*/ 140 w 347"/>
              <a:gd name="T15" fmla="*/ 0 h 440"/>
              <a:gd name="T16" fmla="*/ 133 w 347"/>
              <a:gd name="T17" fmla="*/ 7 h 440"/>
              <a:gd name="T18" fmla="*/ 133 w 347"/>
              <a:gd name="T19" fmla="*/ 27 h 440"/>
              <a:gd name="T20" fmla="*/ 74 w 347"/>
              <a:gd name="T21" fmla="*/ 27 h 440"/>
              <a:gd name="T22" fmla="*/ 66 w 347"/>
              <a:gd name="T23" fmla="*/ 34 h 440"/>
              <a:gd name="T24" fmla="*/ 66 w 347"/>
              <a:gd name="T25" fmla="*/ 159 h 440"/>
              <a:gd name="T26" fmla="*/ 7 w 347"/>
              <a:gd name="T27" fmla="*/ 159 h 440"/>
              <a:gd name="T28" fmla="*/ 0 w 347"/>
              <a:gd name="T29" fmla="*/ 167 h 440"/>
              <a:gd name="T30" fmla="*/ 0 w 347"/>
              <a:gd name="T31" fmla="*/ 300 h 440"/>
              <a:gd name="T32" fmla="*/ 2 w 347"/>
              <a:gd name="T33" fmla="*/ 305 h 440"/>
              <a:gd name="T34" fmla="*/ 66 w 347"/>
              <a:gd name="T35" fmla="*/ 369 h 440"/>
              <a:gd name="T36" fmla="*/ 66 w 347"/>
              <a:gd name="T37" fmla="*/ 433 h 440"/>
              <a:gd name="T38" fmla="*/ 74 w 347"/>
              <a:gd name="T39" fmla="*/ 440 h 440"/>
              <a:gd name="T40" fmla="*/ 273 w 347"/>
              <a:gd name="T41" fmla="*/ 440 h 440"/>
              <a:gd name="T42" fmla="*/ 281 w 347"/>
              <a:gd name="T43" fmla="*/ 433 h 440"/>
              <a:gd name="T44" fmla="*/ 281 w 347"/>
              <a:gd name="T45" fmla="*/ 364 h 440"/>
              <a:gd name="T46" fmla="*/ 345 w 347"/>
              <a:gd name="T47" fmla="*/ 305 h 440"/>
              <a:gd name="T48" fmla="*/ 347 w 347"/>
              <a:gd name="T49" fmla="*/ 300 h 440"/>
              <a:gd name="T50" fmla="*/ 347 w 347"/>
              <a:gd name="T51" fmla="*/ 100 h 440"/>
              <a:gd name="T52" fmla="*/ 340 w 347"/>
              <a:gd name="T53" fmla="*/ 93 h 440"/>
              <a:gd name="T54" fmla="*/ 332 w 347"/>
              <a:gd name="T55" fmla="*/ 296 h 440"/>
              <a:gd name="T56" fmla="*/ 268 w 347"/>
              <a:gd name="T57" fmla="*/ 355 h 440"/>
              <a:gd name="T58" fmla="*/ 266 w 347"/>
              <a:gd name="T59" fmla="*/ 361 h 440"/>
              <a:gd name="T60" fmla="*/ 266 w 347"/>
              <a:gd name="T61" fmla="*/ 425 h 440"/>
              <a:gd name="T62" fmla="*/ 81 w 347"/>
              <a:gd name="T63" fmla="*/ 425 h 440"/>
              <a:gd name="T64" fmla="*/ 81 w 347"/>
              <a:gd name="T65" fmla="*/ 366 h 440"/>
              <a:gd name="T66" fmla="*/ 79 w 347"/>
              <a:gd name="T67" fmla="*/ 361 h 440"/>
              <a:gd name="T68" fmla="*/ 15 w 347"/>
              <a:gd name="T69" fmla="*/ 297 h 440"/>
              <a:gd name="T70" fmla="*/ 15 w 347"/>
              <a:gd name="T71" fmla="*/ 174 h 440"/>
              <a:gd name="T72" fmla="*/ 66 w 347"/>
              <a:gd name="T73" fmla="*/ 174 h 440"/>
              <a:gd name="T74" fmla="*/ 66 w 347"/>
              <a:gd name="T75" fmla="*/ 233 h 440"/>
              <a:gd name="T76" fmla="*/ 81 w 347"/>
              <a:gd name="T77" fmla="*/ 233 h 440"/>
              <a:gd name="T78" fmla="*/ 81 w 347"/>
              <a:gd name="T79" fmla="*/ 167 h 440"/>
              <a:gd name="T80" fmla="*/ 81 w 347"/>
              <a:gd name="T81" fmla="*/ 41 h 440"/>
              <a:gd name="T82" fmla="*/ 133 w 347"/>
              <a:gd name="T83" fmla="*/ 41 h 440"/>
              <a:gd name="T84" fmla="*/ 133 w 347"/>
              <a:gd name="T85" fmla="*/ 233 h 440"/>
              <a:gd name="T86" fmla="*/ 148 w 347"/>
              <a:gd name="T87" fmla="*/ 233 h 440"/>
              <a:gd name="T88" fmla="*/ 148 w 347"/>
              <a:gd name="T89" fmla="*/ 34 h 440"/>
              <a:gd name="T90" fmla="*/ 148 w 347"/>
              <a:gd name="T91" fmla="*/ 15 h 440"/>
              <a:gd name="T92" fmla="*/ 199 w 347"/>
              <a:gd name="T93" fmla="*/ 15 h 440"/>
              <a:gd name="T94" fmla="*/ 199 w 347"/>
              <a:gd name="T95" fmla="*/ 34 h 440"/>
              <a:gd name="T96" fmla="*/ 199 w 347"/>
              <a:gd name="T97" fmla="*/ 233 h 440"/>
              <a:gd name="T98" fmla="*/ 214 w 347"/>
              <a:gd name="T99" fmla="*/ 233 h 440"/>
              <a:gd name="T100" fmla="*/ 214 w 347"/>
              <a:gd name="T101" fmla="*/ 41 h 440"/>
              <a:gd name="T102" fmla="*/ 266 w 347"/>
              <a:gd name="T103" fmla="*/ 41 h 440"/>
              <a:gd name="T104" fmla="*/ 266 w 347"/>
              <a:gd name="T105" fmla="*/ 100 h 440"/>
              <a:gd name="T106" fmla="*/ 266 w 347"/>
              <a:gd name="T107" fmla="*/ 233 h 440"/>
              <a:gd name="T108" fmla="*/ 281 w 347"/>
              <a:gd name="T109" fmla="*/ 233 h 440"/>
              <a:gd name="T110" fmla="*/ 281 w 347"/>
              <a:gd name="T111" fmla="*/ 108 h 440"/>
              <a:gd name="T112" fmla="*/ 332 w 347"/>
              <a:gd name="T113" fmla="*/ 108 h 440"/>
              <a:gd name="T114" fmla="*/ 332 w 347"/>
              <a:gd name="T115" fmla="*/ 296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7" h="440">
                <a:moveTo>
                  <a:pt x="340" y="93"/>
                </a:moveTo>
                <a:cubicBezTo>
                  <a:pt x="281" y="93"/>
                  <a:pt x="281" y="93"/>
                  <a:pt x="281" y="93"/>
                </a:cubicBezTo>
                <a:cubicBezTo>
                  <a:pt x="281" y="34"/>
                  <a:pt x="281" y="34"/>
                  <a:pt x="281" y="34"/>
                </a:cubicBezTo>
                <a:cubicBezTo>
                  <a:pt x="281" y="30"/>
                  <a:pt x="277" y="27"/>
                  <a:pt x="273" y="27"/>
                </a:cubicBezTo>
                <a:cubicBezTo>
                  <a:pt x="214" y="27"/>
                  <a:pt x="214" y="27"/>
                  <a:pt x="214" y="27"/>
                </a:cubicBezTo>
                <a:cubicBezTo>
                  <a:pt x="214" y="7"/>
                  <a:pt x="214" y="7"/>
                  <a:pt x="214" y="7"/>
                </a:cubicBezTo>
                <a:cubicBezTo>
                  <a:pt x="214" y="3"/>
                  <a:pt x="211" y="0"/>
                  <a:pt x="207" y="0"/>
                </a:cubicBezTo>
                <a:cubicBezTo>
                  <a:pt x="140" y="0"/>
                  <a:pt x="140" y="0"/>
                  <a:pt x="140" y="0"/>
                </a:cubicBezTo>
                <a:cubicBezTo>
                  <a:pt x="136" y="0"/>
                  <a:pt x="133" y="3"/>
                  <a:pt x="133" y="7"/>
                </a:cubicBezTo>
                <a:cubicBezTo>
                  <a:pt x="133" y="27"/>
                  <a:pt x="133" y="27"/>
                  <a:pt x="133" y="27"/>
                </a:cubicBezTo>
                <a:cubicBezTo>
                  <a:pt x="74" y="27"/>
                  <a:pt x="74" y="27"/>
                  <a:pt x="74" y="27"/>
                </a:cubicBezTo>
                <a:cubicBezTo>
                  <a:pt x="70" y="27"/>
                  <a:pt x="66" y="30"/>
                  <a:pt x="66" y="34"/>
                </a:cubicBezTo>
                <a:cubicBezTo>
                  <a:pt x="66" y="159"/>
                  <a:pt x="66" y="159"/>
                  <a:pt x="66" y="159"/>
                </a:cubicBezTo>
                <a:cubicBezTo>
                  <a:pt x="7" y="159"/>
                  <a:pt x="7" y="159"/>
                  <a:pt x="7" y="159"/>
                </a:cubicBezTo>
                <a:cubicBezTo>
                  <a:pt x="3" y="159"/>
                  <a:pt x="0" y="163"/>
                  <a:pt x="0" y="167"/>
                </a:cubicBezTo>
                <a:cubicBezTo>
                  <a:pt x="0" y="300"/>
                  <a:pt x="0" y="300"/>
                  <a:pt x="0" y="300"/>
                </a:cubicBezTo>
                <a:cubicBezTo>
                  <a:pt x="0" y="302"/>
                  <a:pt x="1" y="304"/>
                  <a:pt x="2" y="305"/>
                </a:cubicBezTo>
                <a:cubicBezTo>
                  <a:pt x="66" y="369"/>
                  <a:pt x="66" y="369"/>
                  <a:pt x="66" y="369"/>
                </a:cubicBezTo>
                <a:cubicBezTo>
                  <a:pt x="66" y="433"/>
                  <a:pt x="66" y="433"/>
                  <a:pt x="66" y="433"/>
                </a:cubicBezTo>
                <a:cubicBezTo>
                  <a:pt x="66" y="437"/>
                  <a:pt x="70" y="440"/>
                  <a:pt x="74" y="440"/>
                </a:cubicBezTo>
                <a:cubicBezTo>
                  <a:pt x="273" y="440"/>
                  <a:pt x="273" y="440"/>
                  <a:pt x="273" y="440"/>
                </a:cubicBezTo>
                <a:cubicBezTo>
                  <a:pt x="277" y="440"/>
                  <a:pt x="281" y="437"/>
                  <a:pt x="281" y="433"/>
                </a:cubicBezTo>
                <a:cubicBezTo>
                  <a:pt x="281" y="364"/>
                  <a:pt x="281" y="364"/>
                  <a:pt x="281" y="364"/>
                </a:cubicBezTo>
                <a:cubicBezTo>
                  <a:pt x="345" y="305"/>
                  <a:pt x="345" y="305"/>
                  <a:pt x="345" y="305"/>
                </a:cubicBezTo>
                <a:cubicBezTo>
                  <a:pt x="346" y="304"/>
                  <a:pt x="347" y="302"/>
                  <a:pt x="347" y="300"/>
                </a:cubicBezTo>
                <a:cubicBezTo>
                  <a:pt x="347" y="100"/>
                  <a:pt x="347" y="100"/>
                  <a:pt x="347" y="100"/>
                </a:cubicBezTo>
                <a:cubicBezTo>
                  <a:pt x="347" y="96"/>
                  <a:pt x="344" y="93"/>
                  <a:pt x="340" y="93"/>
                </a:cubicBezTo>
                <a:close/>
                <a:moveTo>
                  <a:pt x="332" y="296"/>
                </a:moveTo>
                <a:cubicBezTo>
                  <a:pt x="268" y="355"/>
                  <a:pt x="268" y="355"/>
                  <a:pt x="268" y="355"/>
                </a:cubicBezTo>
                <a:cubicBezTo>
                  <a:pt x="267" y="357"/>
                  <a:pt x="266" y="359"/>
                  <a:pt x="266" y="361"/>
                </a:cubicBezTo>
                <a:cubicBezTo>
                  <a:pt x="266" y="425"/>
                  <a:pt x="266" y="425"/>
                  <a:pt x="266" y="425"/>
                </a:cubicBezTo>
                <a:cubicBezTo>
                  <a:pt x="81" y="425"/>
                  <a:pt x="81" y="425"/>
                  <a:pt x="81" y="425"/>
                </a:cubicBezTo>
                <a:cubicBezTo>
                  <a:pt x="81" y="366"/>
                  <a:pt x="81" y="366"/>
                  <a:pt x="81" y="366"/>
                </a:cubicBezTo>
                <a:cubicBezTo>
                  <a:pt x="81" y="364"/>
                  <a:pt x="80" y="362"/>
                  <a:pt x="79" y="361"/>
                </a:cubicBezTo>
                <a:cubicBezTo>
                  <a:pt x="15" y="297"/>
                  <a:pt x="15" y="297"/>
                  <a:pt x="15" y="297"/>
                </a:cubicBezTo>
                <a:cubicBezTo>
                  <a:pt x="15" y="174"/>
                  <a:pt x="15" y="174"/>
                  <a:pt x="15" y="174"/>
                </a:cubicBezTo>
                <a:cubicBezTo>
                  <a:pt x="66" y="174"/>
                  <a:pt x="66" y="174"/>
                  <a:pt x="66" y="174"/>
                </a:cubicBezTo>
                <a:cubicBezTo>
                  <a:pt x="66" y="233"/>
                  <a:pt x="66" y="233"/>
                  <a:pt x="66" y="233"/>
                </a:cubicBezTo>
                <a:cubicBezTo>
                  <a:pt x="81" y="233"/>
                  <a:pt x="81" y="233"/>
                  <a:pt x="81" y="233"/>
                </a:cubicBezTo>
                <a:cubicBezTo>
                  <a:pt x="81" y="167"/>
                  <a:pt x="81" y="167"/>
                  <a:pt x="81" y="167"/>
                </a:cubicBezTo>
                <a:cubicBezTo>
                  <a:pt x="81" y="41"/>
                  <a:pt x="81" y="41"/>
                  <a:pt x="81" y="41"/>
                </a:cubicBezTo>
                <a:cubicBezTo>
                  <a:pt x="133" y="41"/>
                  <a:pt x="133" y="41"/>
                  <a:pt x="133" y="41"/>
                </a:cubicBezTo>
                <a:cubicBezTo>
                  <a:pt x="133" y="233"/>
                  <a:pt x="133" y="233"/>
                  <a:pt x="133" y="233"/>
                </a:cubicBezTo>
                <a:cubicBezTo>
                  <a:pt x="148" y="233"/>
                  <a:pt x="148" y="233"/>
                  <a:pt x="148" y="233"/>
                </a:cubicBezTo>
                <a:cubicBezTo>
                  <a:pt x="148" y="34"/>
                  <a:pt x="148" y="34"/>
                  <a:pt x="148" y="34"/>
                </a:cubicBezTo>
                <a:cubicBezTo>
                  <a:pt x="148" y="15"/>
                  <a:pt x="148" y="15"/>
                  <a:pt x="148" y="15"/>
                </a:cubicBezTo>
                <a:cubicBezTo>
                  <a:pt x="199" y="15"/>
                  <a:pt x="199" y="15"/>
                  <a:pt x="199" y="15"/>
                </a:cubicBezTo>
                <a:cubicBezTo>
                  <a:pt x="199" y="34"/>
                  <a:pt x="199" y="34"/>
                  <a:pt x="199" y="34"/>
                </a:cubicBezTo>
                <a:cubicBezTo>
                  <a:pt x="199" y="233"/>
                  <a:pt x="199" y="233"/>
                  <a:pt x="199" y="233"/>
                </a:cubicBezTo>
                <a:cubicBezTo>
                  <a:pt x="214" y="233"/>
                  <a:pt x="214" y="233"/>
                  <a:pt x="214" y="233"/>
                </a:cubicBezTo>
                <a:cubicBezTo>
                  <a:pt x="214" y="41"/>
                  <a:pt x="214" y="41"/>
                  <a:pt x="214" y="41"/>
                </a:cubicBezTo>
                <a:cubicBezTo>
                  <a:pt x="266" y="41"/>
                  <a:pt x="266" y="41"/>
                  <a:pt x="266" y="41"/>
                </a:cubicBezTo>
                <a:cubicBezTo>
                  <a:pt x="266" y="100"/>
                  <a:pt x="266" y="100"/>
                  <a:pt x="266" y="100"/>
                </a:cubicBezTo>
                <a:cubicBezTo>
                  <a:pt x="266" y="233"/>
                  <a:pt x="266" y="233"/>
                  <a:pt x="266" y="233"/>
                </a:cubicBezTo>
                <a:cubicBezTo>
                  <a:pt x="281" y="233"/>
                  <a:pt x="281" y="233"/>
                  <a:pt x="281" y="233"/>
                </a:cubicBezTo>
                <a:cubicBezTo>
                  <a:pt x="281" y="108"/>
                  <a:pt x="281" y="108"/>
                  <a:pt x="281" y="108"/>
                </a:cubicBezTo>
                <a:cubicBezTo>
                  <a:pt x="332" y="108"/>
                  <a:pt x="332" y="108"/>
                  <a:pt x="332" y="108"/>
                </a:cubicBezTo>
                <a:lnTo>
                  <a:pt x="332" y="296"/>
                </a:lnTo>
                <a:close/>
              </a:path>
            </a:pathLst>
          </a:custGeom>
          <a:solidFill>
            <a:schemeClr val="accent5"/>
          </a:solidFill>
          <a:ln>
            <a:noFill/>
          </a:ln>
        </p:spPr>
        <p:txBody>
          <a:bodyPr vert="horz" wrap="square" lIns="68571" tIns="34286" rIns="68571" bIns="34286" numCol="1" anchor="t" anchorCtr="0" compatLnSpc="1">
            <a:prstTxWarp prst="textNoShape">
              <a:avLst/>
            </a:prstTxWarp>
          </a:bodyPr>
          <a:lstStyle/>
          <a:p>
            <a:endParaRPr lang="en-US"/>
          </a:p>
        </p:txBody>
      </p:sp>
      <p:sp>
        <p:nvSpPr>
          <p:cNvPr id="211" name="Freeform 93"/>
          <p:cNvSpPr>
            <a:spLocks noEditPoints="1"/>
          </p:cNvSpPr>
          <p:nvPr/>
        </p:nvSpPr>
        <p:spPr bwMode="auto">
          <a:xfrm>
            <a:off x="6111385" y="3932535"/>
            <a:ext cx="252797" cy="330649"/>
          </a:xfrm>
          <a:custGeom>
            <a:avLst/>
            <a:gdLst>
              <a:gd name="T0" fmla="*/ 207 w 214"/>
              <a:gd name="T1" fmla="*/ 280 h 280"/>
              <a:gd name="T2" fmla="*/ 74 w 214"/>
              <a:gd name="T3" fmla="*/ 280 h 280"/>
              <a:gd name="T4" fmla="*/ 0 w 214"/>
              <a:gd name="T5" fmla="*/ 207 h 280"/>
              <a:gd name="T6" fmla="*/ 0 w 214"/>
              <a:gd name="T7" fmla="*/ 7 h 280"/>
              <a:gd name="T8" fmla="*/ 7 w 214"/>
              <a:gd name="T9" fmla="*/ 0 h 280"/>
              <a:gd name="T10" fmla="*/ 74 w 214"/>
              <a:gd name="T11" fmla="*/ 0 h 280"/>
              <a:gd name="T12" fmla="*/ 81 w 214"/>
              <a:gd name="T13" fmla="*/ 7 h 280"/>
              <a:gd name="T14" fmla="*/ 81 w 214"/>
              <a:gd name="T15" fmla="*/ 66 h 280"/>
              <a:gd name="T16" fmla="*/ 207 w 214"/>
              <a:gd name="T17" fmla="*/ 66 h 280"/>
              <a:gd name="T18" fmla="*/ 214 w 214"/>
              <a:gd name="T19" fmla="*/ 74 h 280"/>
              <a:gd name="T20" fmla="*/ 214 w 214"/>
              <a:gd name="T21" fmla="*/ 140 h 280"/>
              <a:gd name="T22" fmla="*/ 207 w 214"/>
              <a:gd name="T23" fmla="*/ 147 h 280"/>
              <a:gd name="T24" fmla="*/ 81 w 214"/>
              <a:gd name="T25" fmla="*/ 147 h 280"/>
              <a:gd name="T26" fmla="*/ 81 w 214"/>
              <a:gd name="T27" fmla="*/ 199 h 280"/>
              <a:gd name="T28" fmla="*/ 207 w 214"/>
              <a:gd name="T29" fmla="*/ 199 h 280"/>
              <a:gd name="T30" fmla="*/ 214 w 214"/>
              <a:gd name="T31" fmla="*/ 207 h 280"/>
              <a:gd name="T32" fmla="*/ 214 w 214"/>
              <a:gd name="T33" fmla="*/ 273 h 280"/>
              <a:gd name="T34" fmla="*/ 207 w 214"/>
              <a:gd name="T35" fmla="*/ 280 h 280"/>
              <a:gd name="T36" fmla="*/ 15 w 214"/>
              <a:gd name="T37" fmla="*/ 15 h 280"/>
              <a:gd name="T38" fmla="*/ 15 w 214"/>
              <a:gd name="T39" fmla="*/ 207 h 280"/>
              <a:gd name="T40" fmla="*/ 74 w 214"/>
              <a:gd name="T41" fmla="*/ 266 h 280"/>
              <a:gd name="T42" fmla="*/ 199 w 214"/>
              <a:gd name="T43" fmla="*/ 266 h 280"/>
              <a:gd name="T44" fmla="*/ 199 w 214"/>
              <a:gd name="T45" fmla="*/ 214 h 280"/>
              <a:gd name="T46" fmla="*/ 74 w 214"/>
              <a:gd name="T47" fmla="*/ 214 h 280"/>
              <a:gd name="T48" fmla="*/ 66 w 214"/>
              <a:gd name="T49" fmla="*/ 207 h 280"/>
              <a:gd name="T50" fmla="*/ 66 w 214"/>
              <a:gd name="T51" fmla="*/ 140 h 280"/>
              <a:gd name="T52" fmla="*/ 74 w 214"/>
              <a:gd name="T53" fmla="*/ 133 h 280"/>
              <a:gd name="T54" fmla="*/ 199 w 214"/>
              <a:gd name="T55" fmla="*/ 133 h 280"/>
              <a:gd name="T56" fmla="*/ 199 w 214"/>
              <a:gd name="T57" fmla="*/ 81 h 280"/>
              <a:gd name="T58" fmla="*/ 74 w 214"/>
              <a:gd name="T59" fmla="*/ 81 h 280"/>
              <a:gd name="T60" fmla="*/ 66 w 214"/>
              <a:gd name="T61" fmla="*/ 74 h 280"/>
              <a:gd name="T62" fmla="*/ 66 w 214"/>
              <a:gd name="T63" fmla="*/ 15 h 280"/>
              <a:gd name="T64" fmla="*/ 15 w 214"/>
              <a:gd name="T65" fmla="*/ 15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4" h="280">
                <a:moveTo>
                  <a:pt x="207" y="280"/>
                </a:moveTo>
                <a:cubicBezTo>
                  <a:pt x="74" y="280"/>
                  <a:pt x="74" y="280"/>
                  <a:pt x="74" y="280"/>
                </a:cubicBezTo>
                <a:cubicBezTo>
                  <a:pt x="33" y="280"/>
                  <a:pt x="0" y="247"/>
                  <a:pt x="0" y="207"/>
                </a:cubicBezTo>
                <a:cubicBezTo>
                  <a:pt x="0" y="7"/>
                  <a:pt x="0" y="7"/>
                  <a:pt x="0" y="7"/>
                </a:cubicBezTo>
                <a:cubicBezTo>
                  <a:pt x="0" y="3"/>
                  <a:pt x="3" y="0"/>
                  <a:pt x="7" y="0"/>
                </a:cubicBezTo>
                <a:cubicBezTo>
                  <a:pt x="74" y="0"/>
                  <a:pt x="74" y="0"/>
                  <a:pt x="74" y="0"/>
                </a:cubicBezTo>
                <a:cubicBezTo>
                  <a:pt x="78" y="0"/>
                  <a:pt x="81" y="3"/>
                  <a:pt x="81" y="7"/>
                </a:cubicBezTo>
                <a:cubicBezTo>
                  <a:pt x="81" y="66"/>
                  <a:pt x="81" y="66"/>
                  <a:pt x="81" y="66"/>
                </a:cubicBezTo>
                <a:cubicBezTo>
                  <a:pt x="207" y="66"/>
                  <a:pt x="207" y="66"/>
                  <a:pt x="207" y="66"/>
                </a:cubicBezTo>
                <a:cubicBezTo>
                  <a:pt x="211" y="66"/>
                  <a:pt x="214" y="70"/>
                  <a:pt x="214" y="74"/>
                </a:cubicBezTo>
                <a:cubicBezTo>
                  <a:pt x="214" y="140"/>
                  <a:pt x="214" y="140"/>
                  <a:pt x="214" y="140"/>
                </a:cubicBezTo>
                <a:cubicBezTo>
                  <a:pt x="214" y="144"/>
                  <a:pt x="211" y="147"/>
                  <a:pt x="207" y="147"/>
                </a:cubicBezTo>
                <a:cubicBezTo>
                  <a:pt x="81" y="147"/>
                  <a:pt x="81" y="147"/>
                  <a:pt x="81" y="147"/>
                </a:cubicBezTo>
                <a:cubicBezTo>
                  <a:pt x="81" y="199"/>
                  <a:pt x="81" y="199"/>
                  <a:pt x="81" y="199"/>
                </a:cubicBezTo>
                <a:cubicBezTo>
                  <a:pt x="207" y="199"/>
                  <a:pt x="207" y="199"/>
                  <a:pt x="207" y="199"/>
                </a:cubicBezTo>
                <a:cubicBezTo>
                  <a:pt x="211" y="199"/>
                  <a:pt x="214" y="202"/>
                  <a:pt x="214" y="207"/>
                </a:cubicBezTo>
                <a:cubicBezTo>
                  <a:pt x="214" y="273"/>
                  <a:pt x="214" y="273"/>
                  <a:pt x="214" y="273"/>
                </a:cubicBezTo>
                <a:cubicBezTo>
                  <a:pt x="214" y="277"/>
                  <a:pt x="211" y="280"/>
                  <a:pt x="207" y="280"/>
                </a:cubicBezTo>
                <a:close/>
                <a:moveTo>
                  <a:pt x="15" y="15"/>
                </a:moveTo>
                <a:cubicBezTo>
                  <a:pt x="15" y="207"/>
                  <a:pt x="15" y="207"/>
                  <a:pt x="15" y="207"/>
                </a:cubicBezTo>
                <a:cubicBezTo>
                  <a:pt x="15" y="239"/>
                  <a:pt x="41" y="266"/>
                  <a:pt x="74" y="266"/>
                </a:cubicBezTo>
                <a:cubicBezTo>
                  <a:pt x="199" y="266"/>
                  <a:pt x="199" y="266"/>
                  <a:pt x="199" y="266"/>
                </a:cubicBezTo>
                <a:cubicBezTo>
                  <a:pt x="199" y="214"/>
                  <a:pt x="199" y="214"/>
                  <a:pt x="199" y="214"/>
                </a:cubicBezTo>
                <a:cubicBezTo>
                  <a:pt x="74" y="214"/>
                  <a:pt x="74" y="214"/>
                  <a:pt x="74" y="214"/>
                </a:cubicBezTo>
                <a:cubicBezTo>
                  <a:pt x="70" y="214"/>
                  <a:pt x="66" y="211"/>
                  <a:pt x="66" y="207"/>
                </a:cubicBezTo>
                <a:cubicBezTo>
                  <a:pt x="66" y="140"/>
                  <a:pt x="66" y="140"/>
                  <a:pt x="66" y="140"/>
                </a:cubicBezTo>
                <a:cubicBezTo>
                  <a:pt x="66" y="136"/>
                  <a:pt x="70" y="133"/>
                  <a:pt x="74" y="133"/>
                </a:cubicBezTo>
                <a:cubicBezTo>
                  <a:pt x="199" y="133"/>
                  <a:pt x="199" y="133"/>
                  <a:pt x="199" y="133"/>
                </a:cubicBezTo>
                <a:cubicBezTo>
                  <a:pt x="199" y="81"/>
                  <a:pt x="199" y="81"/>
                  <a:pt x="199" y="81"/>
                </a:cubicBezTo>
                <a:cubicBezTo>
                  <a:pt x="74" y="81"/>
                  <a:pt x="74" y="81"/>
                  <a:pt x="74" y="81"/>
                </a:cubicBezTo>
                <a:cubicBezTo>
                  <a:pt x="70" y="81"/>
                  <a:pt x="66" y="78"/>
                  <a:pt x="66" y="74"/>
                </a:cubicBezTo>
                <a:cubicBezTo>
                  <a:pt x="66" y="15"/>
                  <a:pt x="66" y="15"/>
                  <a:pt x="66" y="15"/>
                </a:cubicBezTo>
                <a:lnTo>
                  <a:pt x="15" y="15"/>
                </a:lnTo>
                <a:close/>
              </a:path>
            </a:pathLst>
          </a:custGeom>
          <a:solidFill>
            <a:schemeClr val="accent1"/>
          </a:solidFill>
          <a:ln>
            <a:noFill/>
          </a:ln>
        </p:spPr>
        <p:txBody>
          <a:bodyPr vert="horz" wrap="square" lIns="68571" tIns="34286" rIns="68571" bIns="34286" numCol="1" anchor="t" anchorCtr="0" compatLnSpc="1">
            <a:prstTxWarp prst="textNoShape">
              <a:avLst/>
            </a:prstTxWarp>
          </a:bodyPr>
          <a:lstStyle/>
          <a:p>
            <a:endParaRPr lang="en-US"/>
          </a:p>
        </p:txBody>
      </p:sp>
      <p:sp>
        <p:nvSpPr>
          <p:cNvPr id="212" name="Freeform 94"/>
          <p:cNvSpPr>
            <a:spLocks noEditPoints="1"/>
          </p:cNvSpPr>
          <p:nvPr/>
        </p:nvSpPr>
        <p:spPr bwMode="auto">
          <a:xfrm>
            <a:off x="2536786" y="3818900"/>
            <a:ext cx="174859" cy="557907"/>
          </a:xfrm>
          <a:custGeom>
            <a:avLst/>
            <a:gdLst>
              <a:gd name="T0" fmla="*/ 0 w 148"/>
              <a:gd name="T1" fmla="*/ 74 h 473"/>
              <a:gd name="T2" fmla="*/ 2 w 148"/>
              <a:gd name="T3" fmla="*/ 345 h 473"/>
              <a:gd name="T4" fmla="*/ 66 w 148"/>
              <a:gd name="T5" fmla="*/ 473 h 473"/>
              <a:gd name="T6" fmla="*/ 81 w 148"/>
              <a:gd name="T7" fmla="*/ 409 h 473"/>
              <a:gd name="T8" fmla="*/ 148 w 148"/>
              <a:gd name="T9" fmla="*/ 340 h 473"/>
              <a:gd name="T10" fmla="*/ 74 w 148"/>
              <a:gd name="T11" fmla="*/ 0 h 473"/>
              <a:gd name="T12" fmla="*/ 81 w 148"/>
              <a:gd name="T13" fmla="*/ 320 h 473"/>
              <a:gd name="T14" fmla="*/ 133 w 148"/>
              <a:gd name="T15" fmla="*/ 222 h 473"/>
              <a:gd name="T16" fmla="*/ 66 w 148"/>
              <a:gd name="T17" fmla="*/ 282 h 473"/>
              <a:gd name="T18" fmla="*/ 15 w 148"/>
              <a:gd name="T19" fmla="*/ 187 h 473"/>
              <a:gd name="T20" fmla="*/ 66 w 148"/>
              <a:gd name="T21" fmla="*/ 282 h 473"/>
              <a:gd name="T22" fmla="*/ 15 w 148"/>
              <a:gd name="T23" fmla="*/ 166 h 473"/>
              <a:gd name="T24" fmla="*/ 66 w 148"/>
              <a:gd name="T25" fmla="*/ 175 h 473"/>
              <a:gd name="T26" fmla="*/ 15 w 148"/>
              <a:gd name="T27" fmla="*/ 251 h 473"/>
              <a:gd name="T28" fmla="*/ 66 w 148"/>
              <a:gd name="T29" fmla="*/ 345 h 473"/>
              <a:gd name="T30" fmla="*/ 15 w 148"/>
              <a:gd name="T31" fmla="*/ 251 h 473"/>
              <a:gd name="T32" fmla="*/ 81 w 148"/>
              <a:gd name="T33" fmla="*/ 253 h 473"/>
              <a:gd name="T34" fmla="*/ 133 w 148"/>
              <a:gd name="T35" fmla="*/ 156 h 473"/>
              <a:gd name="T36" fmla="*/ 133 w 148"/>
              <a:gd name="T37" fmla="*/ 135 h 473"/>
              <a:gd name="T38" fmla="*/ 81 w 148"/>
              <a:gd name="T39" fmla="*/ 141 h 473"/>
              <a:gd name="T40" fmla="*/ 133 w 148"/>
              <a:gd name="T41" fmla="*/ 135 h 473"/>
              <a:gd name="T42" fmla="*/ 81 w 148"/>
              <a:gd name="T43" fmla="*/ 120 h 473"/>
              <a:gd name="T44" fmla="*/ 133 w 148"/>
              <a:gd name="T45" fmla="*/ 69 h 473"/>
              <a:gd name="T46" fmla="*/ 66 w 148"/>
              <a:gd name="T47" fmla="*/ 82 h 473"/>
              <a:gd name="T48" fmla="*/ 66 w 148"/>
              <a:gd name="T49" fmla="*/ 15 h 473"/>
              <a:gd name="T50" fmla="*/ 66 w 148"/>
              <a:gd name="T51" fmla="*/ 103 h 473"/>
              <a:gd name="T52" fmla="*/ 15 w 148"/>
              <a:gd name="T53" fmla="*/ 103 h 473"/>
              <a:gd name="T54" fmla="*/ 18 w 148"/>
              <a:gd name="T55" fmla="*/ 55 h 473"/>
              <a:gd name="T56" fmla="*/ 15 w 148"/>
              <a:gd name="T57" fmla="*/ 315 h 473"/>
              <a:gd name="T58" fmla="*/ 66 w 148"/>
              <a:gd name="T59" fmla="*/ 388 h 473"/>
              <a:gd name="T60" fmla="*/ 81 w 148"/>
              <a:gd name="T61" fmla="*/ 388 h 473"/>
              <a:gd name="T62" fmla="*/ 133 w 148"/>
              <a:gd name="T63" fmla="*/ 289 h 473"/>
              <a:gd name="T64" fmla="*/ 81 w 148"/>
              <a:gd name="T65" fmla="*/ 388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8" h="473">
                <a:moveTo>
                  <a:pt x="74" y="0"/>
                </a:moveTo>
                <a:cubicBezTo>
                  <a:pt x="33" y="0"/>
                  <a:pt x="0" y="33"/>
                  <a:pt x="0" y="74"/>
                </a:cubicBezTo>
                <a:cubicBezTo>
                  <a:pt x="0" y="340"/>
                  <a:pt x="0" y="340"/>
                  <a:pt x="0" y="340"/>
                </a:cubicBezTo>
                <a:cubicBezTo>
                  <a:pt x="0" y="342"/>
                  <a:pt x="1" y="344"/>
                  <a:pt x="2" y="345"/>
                </a:cubicBezTo>
                <a:cubicBezTo>
                  <a:pt x="66" y="409"/>
                  <a:pt x="66" y="409"/>
                  <a:pt x="66" y="409"/>
                </a:cubicBezTo>
                <a:cubicBezTo>
                  <a:pt x="66" y="473"/>
                  <a:pt x="66" y="473"/>
                  <a:pt x="66" y="473"/>
                </a:cubicBezTo>
                <a:cubicBezTo>
                  <a:pt x="81" y="473"/>
                  <a:pt x="81" y="473"/>
                  <a:pt x="81" y="473"/>
                </a:cubicBezTo>
                <a:cubicBezTo>
                  <a:pt x="81" y="409"/>
                  <a:pt x="81" y="409"/>
                  <a:pt x="81" y="409"/>
                </a:cubicBezTo>
                <a:cubicBezTo>
                  <a:pt x="145" y="345"/>
                  <a:pt x="145" y="345"/>
                  <a:pt x="145" y="345"/>
                </a:cubicBezTo>
                <a:cubicBezTo>
                  <a:pt x="147" y="344"/>
                  <a:pt x="148" y="342"/>
                  <a:pt x="148" y="340"/>
                </a:cubicBezTo>
                <a:cubicBezTo>
                  <a:pt x="148" y="74"/>
                  <a:pt x="148" y="74"/>
                  <a:pt x="148" y="74"/>
                </a:cubicBezTo>
                <a:cubicBezTo>
                  <a:pt x="148" y="33"/>
                  <a:pt x="114" y="0"/>
                  <a:pt x="74" y="0"/>
                </a:cubicBezTo>
                <a:close/>
                <a:moveTo>
                  <a:pt x="133" y="268"/>
                </a:moveTo>
                <a:cubicBezTo>
                  <a:pt x="81" y="320"/>
                  <a:pt x="81" y="320"/>
                  <a:pt x="81" y="320"/>
                </a:cubicBezTo>
                <a:cubicBezTo>
                  <a:pt x="81" y="274"/>
                  <a:pt x="81" y="274"/>
                  <a:pt x="81" y="274"/>
                </a:cubicBezTo>
                <a:cubicBezTo>
                  <a:pt x="133" y="222"/>
                  <a:pt x="133" y="222"/>
                  <a:pt x="133" y="222"/>
                </a:cubicBezTo>
                <a:lnTo>
                  <a:pt x="133" y="268"/>
                </a:lnTo>
                <a:close/>
                <a:moveTo>
                  <a:pt x="66" y="282"/>
                </a:moveTo>
                <a:cubicBezTo>
                  <a:pt x="15" y="230"/>
                  <a:pt x="15" y="230"/>
                  <a:pt x="15" y="230"/>
                </a:cubicBezTo>
                <a:cubicBezTo>
                  <a:pt x="15" y="187"/>
                  <a:pt x="15" y="187"/>
                  <a:pt x="15" y="187"/>
                </a:cubicBezTo>
                <a:cubicBezTo>
                  <a:pt x="66" y="239"/>
                  <a:pt x="66" y="239"/>
                  <a:pt x="66" y="239"/>
                </a:cubicBezTo>
                <a:lnTo>
                  <a:pt x="66" y="282"/>
                </a:lnTo>
                <a:close/>
                <a:moveTo>
                  <a:pt x="66" y="218"/>
                </a:moveTo>
                <a:cubicBezTo>
                  <a:pt x="15" y="166"/>
                  <a:pt x="15" y="166"/>
                  <a:pt x="15" y="166"/>
                </a:cubicBezTo>
                <a:cubicBezTo>
                  <a:pt x="15" y="124"/>
                  <a:pt x="15" y="124"/>
                  <a:pt x="15" y="124"/>
                </a:cubicBezTo>
                <a:cubicBezTo>
                  <a:pt x="66" y="175"/>
                  <a:pt x="66" y="175"/>
                  <a:pt x="66" y="175"/>
                </a:cubicBezTo>
                <a:lnTo>
                  <a:pt x="66" y="218"/>
                </a:lnTo>
                <a:close/>
                <a:moveTo>
                  <a:pt x="15" y="251"/>
                </a:moveTo>
                <a:cubicBezTo>
                  <a:pt x="66" y="303"/>
                  <a:pt x="66" y="303"/>
                  <a:pt x="66" y="303"/>
                </a:cubicBezTo>
                <a:cubicBezTo>
                  <a:pt x="66" y="345"/>
                  <a:pt x="66" y="345"/>
                  <a:pt x="66" y="345"/>
                </a:cubicBezTo>
                <a:cubicBezTo>
                  <a:pt x="15" y="294"/>
                  <a:pt x="15" y="294"/>
                  <a:pt x="15" y="294"/>
                </a:cubicBezTo>
                <a:lnTo>
                  <a:pt x="15" y="251"/>
                </a:lnTo>
                <a:close/>
                <a:moveTo>
                  <a:pt x="133" y="201"/>
                </a:moveTo>
                <a:cubicBezTo>
                  <a:pt x="81" y="253"/>
                  <a:pt x="81" y="253"/>
                  <a:pt x="81" y="253"/>
                </a:cubicBezTo>
                <a:cubicBezTo>
                  <a:pt x="81" y="208"/>
                  <a:pt x="81" y="208"/>
                  <a:pt x="81" y="208"/>
                </a:cubicBezTo>
                <a:cubicBezTo>
                  <a:pt x="133" y="156"/>
                  <a:pt x="133" y="156"/>
                  <a:pt x="133" y="156"/>
                </a:cubicBezTo>
                <a:lnTo>
                  <a:pt x="133" y="201"/>
                </a:lnTo>
                <a:close/>
                <a:moveTo>
                  <a:pt x="133" y="135"/>
                </a:moveTo>
                <a:cubicBezTo>
                  <a:pt x="81" y="187"/>
                  <a:pt x="81" y="187"/>
                  <a:pt x="81" y="187"/>
                </a:cubicBezTo>
                <a:cubicBezTo>
                  <a:pt x="81" y="141"/>
                  <a:pt x="81" y="141"/>
                  <a:pt x="81" y="141"/>
                </a:cubicBezTo>
                <a:cubicBezTo>
                  <a:pt x="133" y="89"/>
                  <a:pt x="133" y="89"/>
                  <a:pt x="133" y="89"/>
                </a:cubicBezTo>
                <a:lnTo>
                  <a:pt x="133" y="135"/>
                </a:lnTo>
                <a:close/>
                <a:moveTo>
                  <a:pt x="133" y="69"/>
                </a:moveTo>
                <a:cubicBezTo>
                  <a:pt x="81" y="120"/>
                  <a:pt x="81" y="120"/>
                  <a:pt x="81" y="120"/>
                </a:cubicBezTo>
                <a:cubicBezTo>
                  <a:pt x="81" y="15"/>
                  <a:pt x="81" y="15"/>
                  <a:pt x="81" y="15"/>
                </a:cubicBezTo>
                <a:cubicBezTo>
                  <a:pt x="109" y="19"/>
                  <a:pt x="130" y="41"/>
                  <a:pt x="133" y="69"/>
                </a:cubicBezTo>
                <a:close/>
                <a:moveTo>
                  <a:pt x="66" y="15"/>
                </a:moveTo>
                <a:cubicBezTo>
                  <a:pt x="66" y="82"/>
                  <a:pt x="66" y="82"/>
                  <a:pt x="66" y="82"/>
                </a:cubicBezTo>
                <a:cubicBezTo>
                  <a:pt x="25" y="41"/>
                  <a:pt x="25" y="41"/>
                  <a:pt x="25" y="41"/>
                </a:cubicBezTo>
                <a:cubicBezTo>
                  <a:pt x="34" y="27"/>
                  <a:pt x="49" y="18"/>
                  <a:pt x="66" y="15"/>
                </a:cubicBezTo>
                <a:close/>
                <a:moveTo>
                  <a:pt x="18" y="55"/>
                </a:moveTo>
                <a:cubicBezTo>
                  <a:pt x="66" y="103"/>
                  <a:pt x="66" y="103"/>
                  <a:pt x="66" y="103"/>
                </a:cubicBezTo>
                <a:cubicBezTo>
                  <a:pt x="66" y="154"/>
                  <a:pt x="66" y="154"/>
                  <a:pt x="66" y="154"/>
                </a:cubicBezTo>
                <a:cubicBezTo>
                  <a:pt x="15" y="103"/>
                  <a:pt x="15" y="103"/>
                  <a:pt x="15" y="103"/>
                </a:cubicBezTo>
                <a:cubicBezTo>
                  <a:pt x="15" y="74"/>
                  <a:pt x="15" y="74"/>
                  <a:pt x="15" y="74"/>
                </a:cubicBezTo>
                <a:cubicBezTo>
                  <a:pt x="15" y="67"/>
                  <a:pt x="16" y="61"/>
                  <a:pt x="18" y="55"/>
                </a:cubicBezTo>
                <a:close/>
                <a:moveTo>
                  <a:pt x="15" y="337"/>
                </a:moveTo>
                <a:cubicBezTo>
                  <a:pt x="15" y="315"/>
                  <a:pt x="15" y="315"/>
                  <a:pt x="15" y="315"/>
                </a:cubicBezTo>
                <a:cubicBezTo>
                  <a:pt x="66" y="366"/>
                  <a:pt x="66" y="366"/>
                  <a:pt x="66" y="366"/>
                </a:cubicBezTo>
                <a:cubicBezTo>
                  <a:pt x="66" y="388"/>
                  <a:pt x="66" y="388"/>
                  <a:pt x="66" y="388"/>
                </a:cubicBezTo>
                <a:lnTo>
                  <a:pt x="15" y="337"/>
                </a:lnTo>
                <a:close/>
                <a:moveTo>
                  <a:pt x="81" y="388"/>
                </a:moveTo>
                <a:cubicBezTo>
                  <a:pt x="81" y="340"/>
                  <a:pt x="81" y="340"/>
                  <a:pt x="81" y="340"/>
                </a:cubicBezTo>
                <a:cubicBezTo>
                  <a:pt x="133" y="289"/>
                  <a:pt x="133" y="289"/>
                  <a:pt x="133" y="289"/>
                </a:cubicBezTo>
                <a:cubicBezTo>
                  <a:pt x="133" y="337"/>
                  <a:pt x="133" y="337"/>
                  <a:pt x="133" y="337"/>
                </a:cubicBezTo>
                <a:lnTo>
                  <a:pt x="81" y="388"/>
                </a:lnTo>
                <a:close/>
              </a:path>
            </a:pathLst>
          </a:custGeom>
          <a:solidFill>
            <a:schemeClr val="accent6"/>
          </a:solidFill>
          <a:ln>
            <a:noFill/>
          </a:ln>
        </p:spPr>
        <p:txBody>
          <a:bodyPr vert="horz" wrap="square" lIns="68571" tIns="34286" rIns="68571" bIns="34286" numCol="1" anchor="t" anchorCtr="0" compatLnSpc="1">
            <a:prstTxWarp prst="textNoShape">
              <a:avLst/>
            </a:prstTxWarp>
          </a:bodyPr>
          <a:lstStyle/>
          <a:p>
            <a:endParaRPr lang="en-US"/>
          </a:p>
        </p:txBody>
      </p:sp>
      <p:sp>
        <p:nvSpPr>
          <p:cNvPr id="213" name="Freeform 13"/>
          <p:cNvSpPr>
            <a:spLocks noEditPoints="1"/>
          </p:cNvSpPr>
          <p:nvPr/>
        </p:nvSpPr>
        <p:spPr bwMode="auto">
          <a:xfrm>
            <a:off x="2492821" y="1016162"/>
            <a:ext cx="262778" cy="484369"/>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accent3"/>
          </a:solidFill>
          <a:ln>
            <a:noFill/>
          </a:ln>
        </p:spPr>
        <p:txBody>
          <a:bodyPr vert="horz" wrap="square" lIns="68571" tIns="34286" rIns="68571" bIns="34286" numCol="1" anchor="t" anchorCtr="0" compatLnSpc="1">
            <a:prstTxWarp prst="textNoShape">
              <a:avLst/>
            </a:prstTxWarp>
          </a:bodyPr>
          <a:lstStyle/>
          <a:p>
            <a:endParaRPr lang="en-US"/>
          </a:p>
        </p:txBody>
      </p:sp>
      <p:sp>
        <p:nvSpPr>
          <p:cNvPr id="214" name="TextBox 213"/>
          <p:cNvSpPr txBox="1"/>
          <p:nvPr/>
        </p:nvSpPr>
        <p:spPr>
          <a:xfrm>
            <a:off x="5807990" y="1759552"/>
            <a:ext cx="844365" cy="253916"/>
          </a:xfrm>
          <a:prstGeom prst="rect">
            <a:avLst/>
          </a:prstGeom>
          <a:noFill/>
        </p:spPr>
        <p:txBody>
          <a:bodyPr wrap="square" lIns="0" tIns="0" rIns="0" bIns="0" rtlCol="0">
            <a:spAutoFit/>
          </a:bodyPr>
          <a:lstStyle/>
          <a:p>
            <a:pPr algn="ctr"/>
            <a:r>
              <a:rPr lang="en-US" sz="800" dirty="0">
                <a:solidFill>
                  <a:schemeClr val="tx1">
                    <a:alpha val="99000"/>
                  </a:schemeClr>
                </a:solidFill>
              </a:rPr>
              <a:t>play, fun,</a:t>
            </a:r>
          </a:p>
          <a:p>
            <a:pPr algn="ctr"/>
            <a:r>
              <a:rPr lang="en-US" sz="800" dirty="0">
                <a:solidFill>
                  <a:schemeClr val="tx1">
                    <a:alpha val="99000"/>
                  </a:schemeClr>
                </a:solidFill>
              </a:rPr>
              <a:t>entertainment</a:t>
            </a:r>
          </a:p>
        </p:txBody>
      </p:sp>
      <p:sp>
        <p:nvSpPr>
          <p:cNvPr id="215" name="TextBox 214"/>
          <p:cNvSpPr txBox="1"/>
          <p:nvPr/>
        </p:nvSpPr>
        <p:spPr>
          <a:xfrm>
            <a:off x="393349" y="1759552"/>
            <a:ext cx="848154" cy="253916"/>
          </a:xfrm>
          <a:prstGeom prst="rect">
            <a:avLst/>
          </a:prstGeom>
          <a:noFill/>
        </p:spPr>
        <p:txBody>
          <a:bodyPr wrap="square" lIns="0" tIns="0" rIns="0" bIns="0" rtlCol="0">
            <a:spAutoFit/>
          </a:bodyPr>
          <a:lstStyle/>
          <a:p>
            <a:pPr algn="ctr"/>
            <a:r>
              <a:rPr lang="en-US" sz="800" dirty="0">
                <a:solidFill>
                  <a:schemeClr val="tx1">
                    <a:alpha val="99000"/>
                  </a:schemeClr>
                </a:solidFill>
              </a:rPr>
              <a:t>notebook,</a:t>
            </a:r>
            <a:br>
              <a:rPr lang="en-US" sz="800" dirty="0">
                <a:solidFill>
                  <a:schemeClr val="tx1">
                    <a:alpha val="99000"/>
                  </a:schemeClr>
                </a:solidFill>
              </a:rPr>
            </a:br>
            <a:r>
              <a:rPr lang="en-US" sz="800" dirty="0">
                <a:solidFill>
                  <a:schemeClr val="tx1">
                    <a:alpha val="99000"/>
                  </a:schemeClr>
                </a:solidFill>
              </a:rPr>
              <a:t>learning</a:t>
            </a:r>
          </a:p>
        </p:txBody>
      </p:sp>
      <p:sp>
        <p:nvSpPr>
          <p:cNvPr id="216" name="TextBox 215"/>
          <p:cNvSpPr txBox="1"/>
          <p:nvPr/>
        </p:nvSpPr>
        <p:spPr>
          <a:xfrm>
            <a:off x="1300535" y="1823031"/>
            <a:ext cx="844365" cy="126958"/>
          </a:xfrm>
          <a:prstGeom prst="rect">
            <a:avLst/>
          </a:prstGeom>
          <a:noFill/>
        </p:spPr>
        <p:txBody>
          <a:bodyPr wrap="square" lIns="0" tIns="0" rIns="0" bIns="0" rtlCol="0">
            <a:spAutoFit/>
          </a:bodyPr>
          <a:lstStyle/>
          <a:p>
            <a:pPr algn="ctr"/>
            <a:r>
              <a:rPr lang="en-US" sz="800" dirty="0">
                <a:solidFill>
                  <a:schemeClr val="tx1">
                    <a:alpha val="99000"/>
                  </a:schemeClr>
                </a:solidFill>
              </a:rPr>
              <a:t>mouse</a:t>
            </a:r>
          </a:p>
        </p:txBody>
      </p:sp>
      <p:sp>
        <p:nvSpPr>
          <p:cNvPr id="217" name="TextBox 216"/>
          <p:cNvSpPr txBox="1"/>
          <p:nvPr/>
        </p:nvSpPr>
        <p:spPr>
          <a:xfrm>
            <a:off x="2197192" y="1823031"/>
            <a:ext cx="844365" cy="126958"/>
          </a:xfrm>
          <a:prstGeom prst="rect">
            <a:avLst/>
          </a:prstGeom>
          <a:noFill/>
        </p:spPr>
        <p:txBody>
          <a:bodyPr wrap="square" lIns="0" tIns="0" rIns="0" bIns="0" rtlCol="0">
            <a:spAutoFit/>
          </a:bodyPr>
          <a:lstStyle/>
          <a:p>
            <a:pPr algn="ctr"/>
            <a:r>
              <a:rPr lang="en-US" sz="800" dirty="0">
                <a:solidFill>
                  <a:schemeClr val="tx1">
                    <a:alpha val="99000"/>
                  </a:schemeClr>
                </a:solidFill>
              </a:rPr>
              <a:t>learn, ideas</a:t>
            </a:r>
          </a:p>
        </p:txBody>
      </p:sp>
      <p:sp>
        <p:nvSpPr>
          <p:cNvPr id="218" name="TextBox 217"/>
          <p:cNvSpPr txBox="1"/>
          <p:nvPr/>
        </p:nvSpPr>
        <p:spPr>
          <a:xfrm>
            <a:off x="3107319" y="1823031"/>
            <a:ext cx="844365" cy="126958"/>
          </a:xfrm>
          <a:prstGeom prst="rect">
            <a:avLst/>
          </a:prstGeom>
          <a:noFill/>
        </p:spPr>
        <p:txBody>
          <a:bodyPr wrap="square" lIns="0" tIns="0" rIns="0" bIns="0" rtlCol="0">
            <a:spAutoFit/>
          </a:bodyPr>
          <a:lstStyle/>
          <a:p>
            <a:pPr algn="ctr"/>
            <a:r>
              <a:rPr lang="en-US" sz="800" dirty="0">
                <a:solidFill>
                  <a:schemeClr val="tx1">
                    <a:alpha val="99000"/>
                  </a:schemeClr>
                </a:solidFill>
              </a:rPr>
              <a:t>file, paper</a:t>
            </a:r>
          </a:p>
        </p:txBody>
      </p:sp>
      <p:sp>
        <p:nvSpPr>
          <p:cNvPr id="219" name="TextBox 218"/>
          <p:cNvSpPr txBox="1"/>
          <p:nvPr/>
        </p:nvSpPr>
        <p:spPr>
          <a:xfrm>
            <a:off x="4004153" y="1823031"/>
            <a:ext cx="844365" cy="126958"/>
          </a:xfrm>
          <a:prstGeom prst="rect">
            <a:avLst/>
          </a:prstGeom>
          <a:noFill/>
        </p:spPr>
        <p:txBody>
          <a:bodyPr wrap="square" lIns="0" tIns="0" rIns="0" bIns="0" rtlCol="0">
            <a:spAutoFit/>
          </a:bodyPr>
          <a:lstStyle/>
          <a:p>
            <a:pPr algn="ctr"/>
            <a:r>
              <a:rPr lang="en-US" sz="800" dirty="0">
                <a:solidFill>
                  <a:schemeClr val="tx1">
                    <a:alpha val="99000"/>
                  </a:schemeClr>
                </a:solidFill>
              </a:rPr>
              <a:t>share, concepts</a:t>
            </a:r>
          </a:p>
        </p:txBody>
      </p:sp>
      <p:sp>
        <p:nvSpPr>
          <p:cNvPr id="220" name="TextBox 219"/>
          <p:cNvSpPr txBox="1"/>
          <p:nvPr/>
        </p:nvSpPr>
        <p:spPr>
          <a:xfrm>
            <a:off x="4902412" y="1759552"/>
            <a:ext cx="844365" cy="253916"/>
          </a:xfrm>
          <a:prstGeom prst="rect">
            <a:avLst/>
          </a:prstGeom>
          <a:noFill/>
        </p:spPr>
        <p:txBody>
          <a:bodyPr wrap="square" lIns="0" tIns="0" rIns="0" bIns="0" rtlCol="0">
            <a:spAutoFit/>
          </a:bodyPr>
          <a:lstStyle/>
          <a:p>
            <a:pPr algn="ctr"/>
            <a:r>
              <a:rPr lang="en-US" sz="800" dirty="0">
                <a:solidFill>
                  <a:schemeClr val="tx1">
                    <a:alpha val="99000"/>
                  </a:schemeClr>
                </a:solidFill>
              </a:rPr>
              <a:t>share,</a:t>
            </a:r>
            <a:br>
              <a:rPr lang="en-US" sz="800" dirty="0">
                <a:solidFill>
                  <a:schemeClr val="tx1">
                    <a:alpha val="99000"/>
                  </a:schemeClr>
                </a:solidFill>
              </a:rPr>
            </a:br>
            <a:r>
              <a:rPr lang="en-US" sz="800" dirty="0">
                <a:solidFill>
                  <a:schemeClr val="tx1">
                    <a:alpha val="99000"/>
                  </a:schemeClr>
                </a:solidFill>
              </a:rPr>
              <a:t>speech bubble</a:t>
            </a:r>
          </a:p>
        </p:txBody>
      </p:sp>
      <p:sp>
        <p:nvSpPr>
          <p:cNvPr id="221" name="TextBox 220"/>
          <p:cNvSpPr txBox="1"/>
          <p:nvPr/>
        </p:nvSpPr>
        <p:spPr>
          <a:xfrm>
            <a:off x="6743336" y="1759552"/>
            <a:ext cx="844365" cy="253916"/>
          </a:xfrm>
          <a:prstGeom prst="rect">
            <a:avLst/>
          </a:prstGeom>
          <a:noFill/>
        </p:spPr>
        <p:txBody>
          <a:bodyPr wrap="square" lIns="0" tIns="0" rIns="0" bIns="0" rtlCol="0">
            <a:spAutoFit/>
          </a:bodyPr>
          <a:lstStyle/>
          <a:p>
            <a:pPr algn="ctr"/>
            <a:r>
              <a:rPr lang="en-US" sz="800" dirty="0">
                <a:solidFill>
                  <a:schemeClr val="tx1">
                    <a:alpha val="99000"/>
                  </a:schemeClr>
                </a:solidFill>
              </a:rPr>
              <a:t>share,</a:t>
            </a:r>
            <a:br>
              <a:rPr lang="en-US" sz="800" dirty="0">
                <a:solidFill>
                  <a:schemeClr val="tx1">
                    <a:alpha val="99000"/>
                  </a:schemeClr>
                </a:solidFill>
              </a:rPr>
            </a:br>
            <a:r>
              <a:rPr lang="en-US" sz="800" dirty="0">
                <a:solidFill>
                  <a:schemeClr val="tx1">
                    <a:alpha val="99000"/>
                  </a:schemeClr>
                </a:solidFill>
              </a:rPr>
              <a:t>speech bubble</a:t>
            </a:r>
          </a:p>
        </p:txBody>
      </p:sp>
      <p:sp>
        <p:nvSpPr>
          <p:cNvPr id="222" name="TextBox 221"/>
          <p:cNvSpPr txBox="1"/>
          <p:nvPr/>
        </p:nvSpPr>
        <p:spPr>
          <a:xfrm>
            <a:off x="7624279" y="1823031"/>
            <a:ext cx="844365" cy="126958"/>
          </a:xfrm>
          <a:prstGeom prst="rect">
            <a:avLst/>
          </a:prstGeom>
          <a:noFill/>
        </p:spPr>
        <p:txBody>
          <a:bodyPr wrap="square" lIns="0" tIns="0" rIns="0" bIns="0" rtlCol="0">
            <a:spAutoFit/>
          </a:bodyPr>
          <a:lstStyle/>
          <a:p>
            <a:pPr algn="ctr"/>
            <a:r>
              <a:rPr lang="en-US" sz="800" dirty="0">
                <a:solidFill>
                  <a:schemeClr val="tx1">
                    <a:alpha val="99000"/>
                  </a:schemeClr>
                </a:solidFill>
              </a:rPr>
              <a:t>thought bubble</a:t>
            </a:r>
          </a:p>
        </p:txBody>
      </p:sp>
      <p:sp>
        <p:nvSpPr>
          <p:cNvPr id="223" name="TextBox 222"/>
          <p:cNvSpPr txBox="1"/>
          <p:nvPr/>
        </p:nvSpPr>
        <p:spPr>
          <a:xfrm>
            <a:off x="5815600" y="3241722"/>
            <a:ext cx="844365" cy="126958"/>
          </a:xfrm>
          <a:prstGeom prst="rect">
            <a:avLst/>
          </a:prstGeom>
          <a:noFill/>
        </p:spPr>
        <p:txBody>
          <a:bodyPr wrap="square" lIns="0" tIns="0" rIns="0" bIns="0" rtlCol="0">
            <a:spAutoFit/>
          </a:bodyPr>
          <a:lstStyle/>
          <a:p>
            <a:pPr algn="ctr"/>
            <a:r>
              <a:rPr lang="en-US" sz="800" dirty="0">
                <a:solidFill>
                  <a:schemeClr val="tx1">
                    <a:alpha val="99000"/>
                  </a:schemeClr>
                </a:solidFill>
              </a:rPr>
              <a:t>search, learning</a:t>
            </a:r>
          </a:p>
        </p:txBody>
      </p:sp>
      <p:sp>
        <p:nvSpPr>
          <p:cNvPr id="224" name="TextBox 223"/>
          <p:cNvSpPr txBox="1"/>
          <p:nvPr/>
        </p:nvSpPr>
        <p:spPr>
          <a:xfrm>
            <a:off x="395248" y="3178243"/>
            <a:ext cx="844365" cy="253916"/>
          </a:xfrm>
          <a:prstGeom prst="rect">
            <a:avLst/>
          </a:prstGeom>
          <a:noFill/>
        </p:spPr>
        <p:txBody>
          <a:bodyPr wrap="square" lIns="0" tIns="0" rIns="0" bIns="0" rtlCol="0">
            <a:spAutoFit/>
          </a:bodyPr>
          <a:lstStyle/>
          <a:p>
            <a:pPr algn="ctr"/>
            <a:r>
              <a:rPr lang="en-US" sz="800" dirty="0">
                <a:solidFill>
                  <a:schemeClr val="tx1">
                    <a:alpha val="99000"/>
                  </a:schemeClr>
                </a:solidFill>
              </a:rPr>
              <a:t>coffee, </a:t>
            </a:r>
            <a:br>
              <a:rPr lang="en-US" sz="800" dirty="0">
                <a:solidFill>
                  <a:schemeClr val="tx1">
                    <a:alpha val="99000"/>
                  </a:schemeClr>
                </a:solidFill>
              </a:rPr>
            </a:br>
            <a:r>
              <a:rPr lang="en-US" sz="800" dirty="0">
                <a:solidFill>
                  <a:schemeClr val="tx1">
                    <a:alpha val="99000"/>
                  </a:schemeClr>
                </a:solidFill>
              </a:rPr>
              <a:t>work, office</a:t>
            </a:r>
          </a:p>
        </p:txBody>
      </p:sp>
      <p:sp>
        <p:nvSpPr>
          <p:cNvPr id="225" name="TextBox 224"/>
          <p:cNvSpPr txBox="1"/>
          <p:nvPr/>
        </p:nvSpPr>
        <p:spPr>
          <a:xfrm>
            <a:off x="1300535" y="3178241"/>
            <a:ext cx="844365" cy="123111"/>
          </a:xfrm>
          <a:prstGeom prst="rect">
            <a:avLst/>
          </a:prstGeom>
          <a:noFill/>
        </p:spPr>
        <p:txBody>
          <a:bodyPr wrap="square" lIns="0" tIns="0" rIns="0" bIns="0" rtlCol="0">
            <a:spAutoFit/>
          </a:bodyPr>
          <a:lstStyle/>
          <a:p>
            <a:pPr algn="ctr"/>
            <a:r>
              <a:rPr lang="en-US" sz="800" dirty="0">
                <a:solidFill>
                  <a:schemeClr val="tx1">
                    <a:alpha val="99000"/>
                  </a:schemeClr>
                </a:solidFill>
              </a:rPr>
              <a:t>computer monitor</a:t>
            </a:r>
          </a:p>
        </p:txBody>
      </p:sp>
      <p:sp>
        <p:nvSpPr>
          <p:cNvPr id="226" name="TextBox 225"/>
          <p:cNvSpPr txBox="1"/>
          <p:nvPr/>
        </p:nvSpPr>
        <p:spPr>
          <a:xfrm>
            <a:off x="2191780" y="3241722"/>
            <a:ext cx="844365" cy="126958"/>
          </a:xfrm>
          <a:prstGeom prst="rect">
            <a:avLst/>
          </a:prstGeom>
          <a:noFill/>
        </p:spPr>
        <p:txBody>
          <a:bodyPr wrap="square" lIns="0" tIns="0" rIns="0" bIns="0" rtlCol="0">
            <a:spAutoFit/>
          </a:bodyPr>
          <a:lstStyle/>
          <a:p>
            <a:pPr algn="ctr"/>
            <a:r>
              <a:rPr lang="en-US" sz="800" dirty="0">
                <a:solidFill>
                  <a:schemeClr val="tx1">
                    <a:alpha val="99000"/>
                  </a:schemeClr>
                </a:solidFill>
              </a:rPr>
              <a:t>luggage, travel</a:t>
            </a:r>
          </a:p>
        </p:txBody>
      </p:sp>
      <p:sp>
        <p:nvSpPr>
          <p:cNvPr id="227" name="TextBox 226"/>
          <p:cNvSpPr txBox="1"/>
          <p:nvPr/>
        </p:nvSpPr>
        <p:spPr>
          <a:xfrm>
            <a:off x="3107319" y="3178243"/>
            <a:ext cx="844365" cy="253916"/>
          </a:xfrm>
          <a:prstGeom prst="rect">
            <a:avLst/>
          </a:prstGeom>
          <a:noFill/>
        </p:spPr>
        <p:txBody>
          <a:bodyPr wrap="square" lIns="0" tIns="0" rIns="0" bIns="0" rtlCol="0">
            <a:spAutoFit/>
          </a:bodyPr>
          <a:lstStyle/>
          <a:p>
            <a:pPr algn="ctr"/>
            <a:r>
              <a:rPr lang="en-US" sz="800" dirty="0">
                <a:solidFill>
                  <a:schemeClr val="tx1">
                    <a:alpha val="99000"/>
                  </a:schemeClr>
                </a:solidFill>
              </a:rPr>
              <a:t>badge, registration</a:t>
            </a:r>
          </a:p>
        </p:txBody>
      </p:sp>
      <p:sp>
        <p:nvSpPr>
          <p:cNvPr id="228" name="TextBox 227"/>
          <p:cNvSpPr txBox="1"/>
          <p:nvPr/>
        </p:nvSpPr>
        <p:spPr>
          <a:xfrm>
            <a:off x="4004152" y="3241722"/>
            <a:ext cx="844365" cy="126958"/>
          </a:xfrm>
          <a:prstGeom prst="rect">
            <a:avLst/>
          </a:prstGeom>
          <a:noFill/>
        </p:spPr>
        <p:txBody>
          <a:bodyPr wrap="square" lIns="0" tIns="0" rIns="0" bIns="0" rtlCol="0">
            <a:spAutoFit/>
          </a:bodyPr>
          <a:lstStyle/>
          <a:p>
            <a:pPr algn="ctr"/>
            <a:r>
              <a:rPr lang="en-US" sz="800" dirty="0">
                <a:solidFill>
                  <a:schemeClr val="tx1">
                    <a:alpha val="99000"/>
                  </a:schemeClr>
                </a:solidFill>
              </a:rPr>
              <a:t>global, location</a:t>
            </a:r>
          </a:p>
        </p:txBody>
      </p:sp>
      <p:sp>
        <p:nvSpPr>
          <p:cNvPr id="229" name="TextBox 228"/>
          <p:cNvSpPr txBox="1"/>
          <p:nvPr/>
        </p:nvSpPr>
        <p:spPr>
          <a:xfrm>
            <a:off x="4902412" y="3241722"/>
            <a:ext cx="844365" cy="126958"/>
          </a:xfrm>
          <a:prstGeom prst="rect">
            <a:avLst/>
          </a:prstGeom>
          <a:noFill/>
        </p:spPr>
        <p:txBody>
          <a:bodyPr wrap="square" lIns="0" tIns="0" rIns="0" bIns="0" rtlCol="0">
            <a:spAutoFit/>
          </a:bodyPr>
          <a:lstStyle/>
          <a:p>
            <a:pPr algn="ctr"/>
            <a:r>
              <a:rPr lang="en-US" sz="800" dirty="0">
                <a:solidFill>
                  <a:schemeClr val="tx1">
                    <a:alpha val="99000"/>
                  </a:schemeClr>
                </a:solidFill>
              </a:rPr>
              <a:t>the cloud</a:t>
            </a:r>
          </a:p>
        </p:txBody>
      </p:sp>
      <p:sp>
        <p:nvSpPr>
          <p:cNvPr id="230" name="TextBox 229"/>
          <p:cNvSpPr txBox="1"/>
          <p:nvPr/>
        </p:nvSpPr>
        <p:spPr>
          <a:xfrm>
            <a:off x="6743336" y="3241722"/>
            <a:ext cx="844365" cy="126958"/>
          </a:xfrm>
          <a:prstGeom prst="rect">
            <a:avLst/>
          </a:prstGeom>
          <a:noFill/>
        </p:spPr>
        <p:txBody>
          <a:bodyPr wrap="square" lIns="0" tIns="0" rIns="0" bIns="0" rtlCol="0">
            <a:spAutoFit/>
          </a:bodyPr>
          <a:lstStyle/>
          <a:p>
            <a:pPr algn="ctr"/>
            <a:r>
              <a:rPr lang="en-US" sz="800" dirty="0">
                <a:solidFill>
                  <a:schemeClr val="tx1">
                    <a:alpha val="99000"/>
                  </a:schemeClr>
                </a:solidFill>
              </a:rPr>
              <a:t>airplane, travel</a:t>
            </a:r>
          </a:p>
        </p:txBody>
      </p:sp>
      <p:sp>
        <p:nvSpPr>
          <p:cNvPr id="231" name="TextBox 230"/>
          <p:cNvSpPr txBox="1"/>
          <p:nvPr/>
        </p:nvSpPr>
        <p:spPr>
          <a:xfrm>
            <a:off x="7622384" y="3178243"/>
            <a:ext cx="844365" cy="253916"/>
          </a:xfrm>
          <a:prstGeom prst="rect">
            <a:avLst/>
          </a:prstGeom>
          <a:noFill/>
        </p:spPr>
        <p:txBody>
          <a:bodyPr wrap="square" lIns="0" tIns="0" rIns="0" bIns="0" rtlCol="0">
            <a:spAutoFit/>
          </a:bodyPr>
          <a:lstStyle/>
          <a:p>
            <a:pPr algn="ctr"/>
            <a:r>
              <a:rPr lang="en-US" sz="800" dirty="0">
                <a:solidFill>
                  <a:schemeClr val="tx1">
                    <a:alpha val="99000"/>
                  </a:schemeClr>
                </a:solidFill>
              </a:rPr>
              <a:t>this way,</a:t>
            </a:r>
            <a:br>
              <a:rPr lang="en-US" sz="800" dirty="0">
                <a:solidFill>
                  <a:schemeClr val="tx1">
                    <a:alpha val="99000"/>
                  </a:schemeClr>
                </a:solidFill>
              </a:rPr>
            </a:br>
            <a:r>
              <a:rPr lang="en-US" sz="800" dirty="0">
                <a:solidFill>
                  <a:schemeClr val="tx1">
                    <a:alpha val="99000"/>
                  </a:schemeClr>
                </a:solidFill>
              </a:rPr>
              <a:t>look here</a:t>
            </a:r>
          </a:p>
        </p:txBody>
      </p:sp>
      <p:sp>
        <p:nvSpPr>
          <p:cNvPr id="232" name="TextBox 231"/>
          <p:cNvSpPr txBox="1"/>
          <p:nvPr/>
        </p:nvSpPr>
        <p:spPr>
          <a:xfrm>
            <a:off x="5823363" y="4673085"/>
            <a:ext cx="844365" cy="126958"/>
          </a:xfrm>
          <a:prstGeom prst="rect">
            <a:avLst/>
          </a:prstGeom>
          <a:noFill/>
        </p:spPr>
        <p:txBody>
          <a:bodyPr wrap="square" lIns="0" tIns="0" rIns="0" bIns="0" rtlCol="0">
            <a:spAutoFit/>
          </a:bodyPr>
          <a:lstStyle/>
          <a:p>
            <a:pPr algn="ctr"/>
            <a:r>
              <a:rPr lang="en-US" sz="800" dirty="0">
                <a:solidFill>
                  <a:schemeClr val="tx1">
                    <a:alpha val="99000"/>
                  </a:schemeClr>
                </a:solidFill>
              </a:rPr>
              <a:t>twitter</a:t>
            </a:r>
          </a:p>
        </p:txBody>
      </p:sp>
      <p:sp>
        <p:nvSpPr>
          <p:cNvPr id="233" name="TextBox 232"/>
          <p:cNvSpPr txBox="1"/>
          <p:nvPr/>
        </p:nvSpPr>
        <p:spPr>
          <a:xfrm>
            <a:off x="395426" y="4673085"/>
            <a:ext cx="844365" cy="126958"/>
          </a:xfrm>
          <a:prstGeom prst="rect">
            <a:avLst/>
          </a:prstGeom>
          <a:noFill/>
        </p:spPr>
        <p:txBody>
          <a:bodyPr wrap="square" lIns="0" tIns="0" rIns="0" bIns="0" rtlCol="0">
            <a:spAutoFit/>
          </a:bodyPr>
          <a:lstStyle/>
          <a:p>
            <a:pPr algn="ctr"/>
            <a:r>
              <a:rPr lang="en-US" sz="800" dirty="0">
                <a:solidFill>
                  <a:schemeClr val="tx1">
                    <a:alpha val="99000"/>
                  </a:schemeClr>
                </a:solidFill>
              </a:rPr>
              <a:t>decorative arrow</a:t>
            </a:r>
          </a:p>
        </p:txBody>
      </p:sp>
      <p:sp>
        <p:nvSpPr>
          <p:cNvPr id="234" name="TextBox 233"/>
          <p:cNvSpPr txBox="1"/>
          <p:nvPr/>
        </p:nvSpPr>
        <p:spPr>
          <a:xfrm>
            <a:off x="1300535" y="4673085"/>
            <a:ext cx="844365" cy="126958"/>
          </a:xfrm>
          <a:prstGeom prst="rect">
            <a:avLst/>
          </a:prstGeom>
          <a:noFill/>
        </p:spPr>
        <p:txBody>
          <a:bodyPr wrap="square" lIns="0" tIns="0" rIns="0" bIns="0" rtlCol="0">
            <a:spAutoFit/>
          </a:bodyPr>
          <a:lstStyle/>
          <a:p>
            <a:pPr algn="ctr"/>
            <a:r>
              <a:rPr lang="en-US" sz="800" dirty="0">
                <a:solidFill>
                  <a:schemeClr val="tx1">
                    <a:alpha val="99000"/>
                  </a:schemeClr>
                </a:solidFill>
              </a:rPr>
              <a:t>this way, arrow</a:t>
            </a:r>
          </a:p>
        </p:txBody>
      </p:sp>
      <p:sp>
        <p:nvSpPr>
          <p:cNvPr id="235" name="TextBox 234"/>
          <p:cNvSpPr txBox="1"/>
          <p:nvPr/>
        </p:nvSpPr>
        <p:spPr>
          <a:xfrm>
            <a:off x="2191779" y="4673085"/>
            <a:ext cx="844365" cy="126958"/>
          </a:xfrm>
          <a:prstGeom prst="rect">
            <a:avLst/>
          </a:prstGeom>
          <a:noFill/>
        </p:spPr>
        <p:txBody>
          <a:bodyPr wrap="square" lIns="0" tIns="0" rIns="0" bIns="0" rtlCol="0">
            <a:spAutoFit/>
          </a:bodyPr>
          <a:lstStyle/>
          <a:p>
            <a:pPr algn="ctr"/>
            <a:r>
              <a:rPr lang="en-US" sz="800" dirty="0">
                <a:solidFill>
                  <a:schemeClr val="tx1">
                    <a:alpha val="99000"/>
                  </a:schemeClr>
                </a:solidFill>
              </a:rPr>
              <a:t>Birds of a feather</a:t>
            </a:r>
          </a:p>
        </p:txBody>
      </p:sp>
      <p:sp>
        <p:nvSpPr>
          <p:cNvPr id="236" name="TextBox 235"/>
          <p:cNvSpPr txBox="1"/>
          <p:nvPr/>
        </p:nvSpPr>
        <p:spPr>
          <a:xfrm>
            <a:off x="3105424" y="4667313"/>
            <a:ext cx="844365" cy="126958"/>
          </a:xfrm>
          <a:prstGeom prst="rect">
            <a:avLst/>
          </a:prstGeom>
          <a:noFill/>
        </p:spPr>
        <p:txBody>
          <a:bodyPr wrap="square" lIns="0" tIns="0" rIns="0" bIns="0" rtlCol="0">
            <a:spAutoFit/>
          </a:bodyPr>
          <a:lstStyle/>
          <a:p>
            <a:pPr algn="ctr"/>
            <a:r>
              <a:rPr lang="en-US" sz="800" dirty="0">
                <a:solidFill>
                  <a:schemeClr val="tx1">
                    <a:alpha val="99000"/>
                  </a:schemeClr>
                </a:solidFill>
              </a:rPr>
              <a:t>finance, calculator</a:t>
            </a:r>
          </a:p>
        </p:txBody>
      </p:sp>
      <p:sp>
        <p:nvSpPr>
          <p:cNvPr id="237" name="TextBox 236"/>
          <p:cNvSpPr txBox="1"/>
          <p:nvPr/>
        </p:nvSpPr>
        <p:spPr>
          <a:xfrm>
            <a:off x="4004152" y="4673085"/>
            <a:ext cx="844365" cy="126958"/>
          </a:xfrm>
          <a:prstGeom prst="rect">
            <a:avLst/>
          </a:prstGeom>
          <a:noFill/>
        </p:spPr>
        <p:txBody>
          <a:bodyPr wrap="square" lIns="0" tIns="0" rIns="0" bIns="0" rtlCol="0">
            <a:spAutoFit/>
          </a:bodyPr>
          <a:lstStyle/>
          <a:p>
            <a:pPr algn="ctr"/>
            <a:r>
              <a:rPr lang="en-US" sz="800" dirty="0">
                <a:solidFill>
                  <a:schemeClr val="tx1">
                    <a:alpha val="99000"/>
                  </a:schemeClr>
                </a:solidFill>
              </a:rPr>
              <a:t>this way, arrow</a:t>
            </a:r>
          </a:p>
        </p:txBody>
      </p:sp>
      <p:sp>
        <p:nvSpPr>
          <p:cNvPr id="238" name="TextBox 237"/>
          <p:cNvSpPr txBox="1"/>
          <p:nvPr/>
        </p:nvSpPr>
        <p:spPr>
          <a:xfrm>
            <a:off x="4912208" y="4673085"/>
            <a:ext cx="844365" cy="126958"/>
          </a:xfrm>
          <a:prstGeom prst="rect">
            <a:avLst/>
          </a:prstGeom>
          <a:noFill/>
        </p:spPr>
        <p:txBody>
          <a:bodyPr wrap="square" lIns="0" tIns="0" rIns="0" bIns="0" rtlCol="0">
            <a:spAutoFit/>
          </a:bodyPr>
          <a:lstStyle/>
          <a:p>
            <a:pPr algn="ctr"/>
            <a:r>
              <a:rPr lang="en-US" sz="800" dirty="0">
                <a:solidFill>
                  <a:schemeClr val="tx1">
                    <a:alpha val="99000"/>
                  </a:schemeClr>
                </a:solidFill>
              </a:rPr>
              <a:t>hands-on labs</a:t>
            </a:r>
          </a:p>
        </p:txBody>
      </p:sp>
      <p:sp>
        <p:nvSpPr>
          <p:cNvPr id="239" name="TextBox 238"/>
          <p:cNvSpPr txBox="1"/>
          <p:nvPr/>
        </p:nvSpPr>
        <p:spPr>
          <a:xfrm>
            <a:off x="6677412" y="4673085"/>
            <a:ext cx="976201" cy="126958"/>
          </a:xfrm>
          <a:prstGeom prst="rect">
            <a:avLst/>
          </a:prstGeom>
          <a:noFill/>
        </p:spPr>
        <p:txBody>
          <a:bodyPr wrap="square" lIns="0" tIns="0" rIns="0" bIns="0" rtlCol="0">
            <a:spAutoFit/>
          </a:bodyPr>
          <a:lstStyle/>
          <a:p>
            <a:pPr algn="ctr"/>
            <a:r>
              <a:rPr lang="en-US" sz="800" dirty="0">
                <a:solidFill>
                  <a:schemeClr val="tx1">
                    <a:alpha val="99000"/>
                  </a:schemeClr>
                </a:solidFill>
              </a:rPr>
              <a:t>this way, connect</a:t>
            </a:r>
          </a:p>
        </p:txBody>
      </p:sp>
      <p:sp>
        <p:nvSpPr>
          <p:cNvPr id="81"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82"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3"/>
              </a:rPr>
              <a:t>www.rapidbbs.cn</a:t>
            </a:r>
            <a:endParaRPr lang="zh-CN" altLang="en-US" sz="1200" b="0">
              <a:latin typeface="Arial" charset="0"/>
              <a:ea typeface="ＭＳ Ｐゴシック" pitchFamily="34" charset="-128"/>
            </a:endParaRPr>
          </a:p>
        </p:txBody>
      </p:sp>
      <p:pic>
        <p:nvPicPr>
          <p:cNvPr id="83"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37685232"/>
      </p:ext>
    </p:extLst>
  </p:cSld>
  <p:clrMapOvr>
    <a:masterClrMapping/>
  </p:clrMapOvr>
  <mc:AlternateContent xmlns:mc="http://schemas.openxmlformats.org/markup-compatibility/2006" xmlns:p14="http://schemas.microsoft.com/office/powerpoint/2010/main">
    <mc:Choice Requires="p14">
      <p:transition spd="slow" p14:dur="1500">
        <p14:pan/>
      </p:transition>
    </mc:Choice>
    <mc:Fallback xmlns="">
      <p:transition spd="slow">
        <p:fade/>
      </p:transition>
    </mc:Fallback>
  </mc:AlternateContent>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3700" dirty="0"/>
              <a:t>Managing</a:t>
            </a:r>
            <a:r>
              <a:rPr lang="en-US" dirty="0"/>
              <a:t/>
            </a:r>
            <a:br>
              <a:rPr lang="en-US" dirty="0"/>
            </a:br>
            <a:r>
              <a:rPr lang="en-US" sz="2300" dirty="0">
                <a:solidFill>
                  <a:srgbClr val="FFC000">
                    <a:alpha val="99000"/>
                  </a:srgbClr>
                </a:solidFill>
              </a:rPr>
              <a:t>Manage and Operate</a:t>
            </a:r>
            <a:endParaRPr lang="en-US" dirty="0"/>
          </a:p>
        </p:txBody>
      </p:sp>
      <p:sp>
        <p:nvSpPr>
          <p:cNvPr id="55" name="Rectangle 54"/>
          <p:cNvSpPr/>
          <p:nvPr>
            <p:custDataLst>
              <p:tags r:id="rId1"/>
            </p:custDataLst>
          </p:nvPr>
        </p:nvSpPr>
        <p:spPr bwMode="auto">
          <a:xfrm rot="16200000">
            <a:off x="-524971" y="1925683"/>
            <a:ext cx="1920240" cy="369509"/>
          </a:xfrm>
          <a:prstGeom prst="rect">
            <a:avLst/>
          </a:prstGeom>
          <a:solidFill>
            <a:srgbClr val="FF8B00"/>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0" tIns="0" rIns="0" bIns="0" numCol="1" rtlCol="0" anchor="ctr" anchorCtr="0" compatLnSpc="1">
            <a:prstTxWarp prst="textNoShape">
              <a:avLst/>
            </a:prstTxWarp>
            <a:noAutofit/>
          </a:bodyPr>
          <a:lstStyle/>
          <a:p>
            <a:pPr algn="ctr" defTabSz="914045" fontAlgn="base">
              <a:lnSpc>
                <a:spcPct val="90000"/>
              </a:lnSpc>
              <a:spcBef>
                <a:spcPts val="630"/>
              </a:spcBef>
              <a:spcAft>
                <a:spcPct val="0"/>
              </a:spcAft>
              <a:buClr>
                <a:srgbClr val="FFFF99"/>
              </a:buClr>
              <a:buSzPct val="120000"/>
              <a:defRPr/>
            </a:pPr>
            <a:r>
              <a:rPr lang="en-US" sz="1500" dirty="0">
                <a:ln>
                  <a:solidFill>
                    <a:srgbClr val="FFFFFF">
                      <a:alpha val="0"/>
                    </a:srgbClr>
                  </a:solidFill>
                </a:ln>
                <a:solidFill>
                  <a:srgbClr val="FFFFFF">
                    <a:alpha val="99000"/>
                  </a:srgbClr>
                </a:solidFill>
                <a:cs typeface="Segoe UI" pitchFamily="34" charset="0"/>
              </a:rPr>
              <a:t>Steps</a:t>
            </a:r>
          </a:p>
        </p:txBody>
      </p:sp>
      <p:sp>
        <p:nvSpPr>
          <p:cNvPr id="56" name="Rectangle 55"/>
          <p:cNvSpPr/>
          <p:nvPr>
            <p:custDataLst>
              <p:tags r:id="rId2"/>
            </p:custDataLst>
          </p:nvPr>
        </p:nvSpPr>
        <p:spPr bwMode="auto">
          <a:xfrm rot="16200000">
            <a:off x="-353521" y="3747168"/>
            <a:ext cx="1577340" cy="369509"/>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0" tIns="0" rIns="0" bIns="0" numCol="1" rtlCol="0" anchor="ctr" anchorCtr="0" compatLnSpc="1">
            <a:prstTxWarp prst="textNoShape">
              <a:avLst/>
            </a:prstTxWarp>
            <a:noAutofit/>
          </a:bodyPr>
          <a:lstStyle/>
          <a:p>
            <a:pPr algn="ctr" defTabSz="914045" fontAlgn="base">
              <a:lnSpc>
                <a:spcPct val="90000"/>
              </a:lnSpc>
              <a:spcBef>
                <a:spcPts val="630"/>
              </a:spcBef>
              <a:spcAft>
                <a:spcPct val="0"/>
              </a:spcAft>
              <a:buClr>
                <a:srgbClr val="FFFF99"/>
              </a:buClr>
              <a:buSzPct val="120000"/>
              <a:defRPr/>
            </a:pPr>
            <a:r>
              <a:rPr lang="en-US" sz="1500" dirty="0">
                <a:ln>
                  <a:solidFill>
                    <a:srgbClr val="FFFFFF">
                      <a:alpha val="0"/>
                    </a:srgbClr>
                  </a:solidFill>
                </a:ln>
                <a:solidFill>
                  <a:srgbClr val="FFFFFF">
                    <a:alpha val="99000"/>
                  </a:srgbClr>
                </a:solidFill>
                <a:cs typeface="Segoe UI" pitchFamily="34" charset="0"/>
              </a:rPr>
              <a:t>Technology</a:t>
            </a:r>
          </a:p>
        </p:txBody>
      </p:sp>
      <p:sp>
        <p:nvSpPr>
          <p:cNvPr id="17" name="Rectangle 16"/>
          <p:cNvSpPr>
            <a:spLocks/>
          </p:cNvSpPr>
          <p:nvPr>
            <p:custDataLst>
              <p:tags r:id="rId3"/>
            </p:custDataLst>
          </p:nvPr>
        </p:nvSpPr>
        <p:spPr bwMode="auto">
          <a:xfrm>
            <a:off x="4812564" y="3143251"/>
            <a:ext cx="1920240" cy="1577340"/>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28" tIns="137172" rIns="91428" bIns="45714" numCol="1" rtlCol="0" anchor="t" anchorCtr="0" compatLnSpc="1">
            <a:prstTxWarp prst="textNoShape">
              <a:avLst/>
            </a:prstTxWarp>
            <a:noAutofit/>
          </a:bodyPr>
          <a:lstStyle/>
          <a:p>
            <a:pPr defTabSz="914045" fontAlgn="base">
              <a:lnSpc>
                <a:spcPct val="90000"/>
              </a:lnSpc>
              <a:spcBef>
                <a:spcPts val="630"/>
              </a:spcBef>
              <a:spcAft>
                <a:spcPct val="0"/>
              </a:spcAft>
              <a:buClr>
                <a:schemeClr val="bg2">
                  <a:lumMod val="75000"/>
                </a:schemeClr>
              </a:buClr>
              <a:buSzPct val="100000"/>
            </a:pPr>
            <a:r>
              <a:rPr lang="en-US" sz="1200" dirty="0">
                <a:ln>
                  <a:solidFill>
                    <a:srgbClr val="FFFFFF">
                      <a:alpha val="0"/>
                    </a:srgbClr>
                  </a:solidFill>
                </a:ln>
                <a:solidFill>
                  <a:srgbClr val="FFFFFF">
                    <a:alpha val="99000"/>
                  </a:srgbClr>
                </a:solidFill>
                <a:cs typeface="Segoe UI" pitchFamily="34" charset="0"/>
              </a:rPr>
              <a:t>Windows Server 2012</a:t>
            </a:r>
          </a:p>
          <a:p>
            <a:pPr marL="214332" indent="-123455" defTabSz="914045" fontAlgn="base">
              <a:lnSpc>
                <a:spcPct val="90000"/>
              </a:lnSpc>
              <a:spcBef>
                <a:spcPts val="630"/>
              </a:spcBef>
              <a:spcAft>
                <a:spcPct val="0"/>
              </a:spcAft>
              <a:buClr>
                <a:schemeClr val="bg2">
                  <a:lumMod val="75000"/>
                </a:schemeClr>
              </a:buClr>
              <a:buSzPct val="100000"/>
              <a:buFont typeface="Arial" pitchFamily="34" charset="0"/>
              <a:buChar char="•"/>
            </a:pPr>
            <a:r>
              <a:rPr lang="en-US" sz="1200" dirty="0">
                <a:ln>
                  <a:solidFill>
                    <a:srgbClr val="FFFFFF">
                      <a:alpha val="0"/>
                    </a:srgbClr>
                  </a:solidFill>
                </a:ln>
                <a:solidFill>
                  <a:srgbClr val="FFFFFF">
                    <a:alpha val="99000"/>
                  </a:srgbClr>
                </a:solidFill>
                <a:cs typeface="Segoe UI" pitchFamily="34" charset="0"/>
              </a:rPr>
              <a:t>Hyper-V Large VMs</a:t>
            </a:r>
          </a:p>
          <a:p>
            <a:pPr defTabSz="914045" fontAlgn="base">
              <a:lnSpc>
                <a:spcPct val="90000"/>
              </a:lnSpc>
              <a:spcBef>
                <a:spcPts val="630"/>
              </a:spcBef>
              <a:spcAft>
                <a:spcPct val="0"/>
              </a:spcAft>
              <a:buClr>
                <a:schemeClr val="bg2">
                  <a:lumMod val="75000"/>
                </a:schemeClr>
              </a:buClr>
              <a:buSzPct val="100000"/>
            </a:pPr>
            <a:r>
              <a:rPr lang="en-US" sz="1200" dirty="0">
                <a:ln>
                  <a:solidFill>
                    <a:srgbClr val="FFFFFF">
                      <a:alpha val="0"/>
                    </a:srgbClr>
                  </a:solidFill>
                </a:ln>
                <a:solidFill>
                  <a:srgbClr val="FFFFFF">
                    <a:alpha val="99000"/>
                  </a:srgbClr>
                </a:solidFill>
                <a:cs typeface="Segoe UI" pitchFamily="34" charset="0"/>
              </a:rPr>
              <a:t>SQL Server 2012</a:t>
            </a:r>
          </a:p>
          <a:p>
            <a:pPr marL="214332" indent="-123455" defTabSz="914045" fontAlgn="base">
              <a:lnSpc>
                <a:spcPct val="90000"/>
              </a:lnSpc>
              <a:spcAft>
                <a:spcPct val="0"/>
              </a:spcAft>
              <a:buClr>
                <a:schemeClr val="bg2">
                  <a:lumMod val="75000"/>
                </a:schemeClr>
              </a:buClr>
              <a:buSzPct val="100000"/>
              <a:buFont typeface="Arial" pitchFamily="34" charset="0"/>
              <a:buChar char="•"/>
            </a:pPr>
            <a:r>
              <a:rPr lang="en-US" sz="1200" dirty="0">
                <a:ln>
                  <a:solidFill>
                    <a:srgbClr val="FFFFFF">
                      <a:alpha val="0"/>
                    </a:srgbClr>
                  </a:solidFill>
                </a:ln>
                <a:solidFill>
                  <a:srgbClr val="FFFFFF">
                    <a:alpha val="99000"/>
                  </a:srgbClr>
                </a:solidFill>
                <a:cs typeface="Segoe UI" pitchFamily="34" charset="0"/>
              </a:rPr>
              <a:t>640 core support</a:t>
            </a:r>
          </a:p>
          <a:p>
            <a:pPr marL="214332" indent="-123455" defTabSz="914045" fontAlgn="base">
              <a:lnSpc>
                <a:spcPct val="90000"/>
              </a:lnSpc>
              <a:spcAft>
                <a:spcPct val="0"/>
              </a:spcAft>
              <a:buClr>
                <a:schemeClr val="bg2">
                  <a:lumMod val="75000"/>
                </a:schemeClr>
              </a:buClr>
              <a:buSzPct val="100000"/>
              <a:buFont typeface="Arial" pitchFamily="34" charset="0"/>
              <a:buChar char="•"/>
            </a:pPr>
            <a:r>
              <a:rPr lang="en-US" sz="1200" dirty="0">
                <a:ln>
                  <a:solidFill>
                    <a:srgbClr val="FFFFFF">
                      <a:alpha val="0"/>
                    </a:srgbClr>
                  </a:solidFill>
                </a:ln>
                <a:solidFill>
                  <a:srgbClr val="FFFFFF">
                    <a:alpha val="99000"/>
                  </a:srgbClr>
                </a:solidFill>
                <a:cs typeface="Segoe UI" pitchFamily="34" charset="0"/>
              </a:rPr>
              <a:t>Resource Governor</a:t>
            </a:r>
          </a:p>
          <a:p>
            <a:pPr defTabSz="914045" fontAlgn="base">
              <a:lnSpc>
                <a:spcPct val="90000"/>
              </a:lnSpc>
              <a:spcBef>
                <a:spcPts val="630"/>
              </a:spcBef>
              <a:spcAft>
                <a:spcPct val="0"/>
              </a:spcAft>
              <a:buClr>
                <a:schemeClr val="bg2">
                  <a:lumMod val="75000"/>
                </a:schemeClr>
              </a:buClr>
              <a:buSzPct val="100000"/>
            </a:pPr>
            <a:r>
              <a:rPr lang="en-US" sz="1200" dirty="0">
                <a:ln>
                  <a:solidFill>
                    <a:srgbClr val="FFFFFF">
                      <a:alpha val="0"/>
                    </a:srgbClr>
                  </a:solidFill>
                </a:ln>
                <a:solidFill>
                  <a:srgbClr val="FFFFFF">
                    <a:alpha val="99000"/>
                  </a:srgbClr>
                </a:solidFill>
                <a:cs typeface="Segoe UI" pitchFamily="34" charset="0"/>
              </a:rPr>
              <a:t>System Center</a:t>
            </a:r>
          </a:p>
          <a:p>
            <a:pPr marL="214332" indent="-123455" defTabSz="914045" fontAlgn="base">
              <a:lnSpc>
                <a:spcPct val="90000"/>
              </a:lnSpc>
              <a:spcBef>
                <a:spcPts val="630"/>
              </a:spcBef>
              <a:spcAft>
                <a:spcPct val="0"/>
              </a:spcAft>
              <a:buClr>
                <a:schemeClr val="bg2">
                  <a:lumMod val="75000"/>
                </a:schemeClr>
              </a:buClr>
              <a:buSzPct val="100000"/>
              <a:buFont typeface="Arial" pitchFamily="34" charset="0"/>
              <a:buChar char="•"/>
            </a:pPr>
            <a:r>
              <a:rPr lang="en-US" sz="1200" dirty="0">
                <a:ln>
                  <a:solidFill>
                    <a:srgbClr val="FFFFFF">
                      <a:alpha val="0"/>
                    </a:srgbClr>
                  </a:solidFill>
                </a:ln>
                <a:solidFill>
                  <a:srgbClr val="FFFFFF">
                    <a:alpha val="99000"/>
                  </a:srgbClr>
                </a:solidFill>
                <a:cs typeface="Segoe UI" pitchFamily="34" charset="0"/>
              </a:rPr>
              <a:t>App Controller</a:t>
            </a:r>
          </a:p>
        </p:txBody>
      </p:sp>
      <p:grpSp>
        <p:nvGrpSpPr>
          <p:cNvPr id="19" name="Group 18"/>
          <p:cNvGrpSpPr/>
          <p:nvPr/>
        </p:nvGrpSpPr>
        <p:grpSpPr>
          <a:xfrm>
            <a:off x="4812564" y="1150318"/>
            <a:ext cx="1920240" cy="1917497"/>
            <a:chOff x="6527845" y="1533756"/>
            <a:chExt cx="2559653" cy="2556662"/>
          </a:xfrm>
        </p:grpSpPr>
        <p:sp>
          <p:nvSpPr>
            <p:cNvPr id="25" name="Rectangle 24"/>
            <p:cNvSpPr/>
            <p:nvPr>
              <p:custDataLst>
                <p:tags r:id="rId10"/>
              </p:custDataLst>
            </p:nvPr>
          </p:nvSpPr>
          <p:spPr bwMode="auto">
            <a:xfrm>
              <a:off x="6527845" y="1533756"/>
              <a:ext cx="2559653" cy="2556662"/>
            </a:xfrm>
            <a:prstGeom prst="rect">
              <a:avLst/>
            </a:prstGeom>
            <a:solidFill>
              <a:srgbClr val="FF8B00"/>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1371600" rIns="91440" bIns="45720" numCol="1" rtlCol="0" anchor="ctr" anchorCtr="0" compatLnSpc="1">
              <a:prstTxWarp prst="textNoShape">
                <a:avLst/>
              </a:prstTxWarp>
              <a:noAutofit/>
            </a:bodyPr>
            <a:lstStyle/>
            <a:p>
              <a:pPr algn="ctr" defTabSz="914045" fontAlgn="base">
                <a:lnSpc>
                  <a:spcPct val="90000"/>
                </a:lnSpc>
                <a:spcBef>
                  <a:spcPts val="630"/>
                </a:spcBef>
                <a:spcAft>
                  <a:spcPct val="0"/>
                </a:spcAft>
                <a:buClr>
                  <a:srgbClr val="FFFF99"/>
                </a:buClr>
                <a:buSzPct val="120000"/>
              </a:pPr>
              <a:r>
                <a:rPr lang="en-US" sz="1500" dirty="0">
                  <a:ln>
                    <a:solidFill>
                      <a:srgbClr val="FFFFFF">
                        <a:alpha val="0"/>
                      </a:srgbClr>
                    </a:solidFill>
                  </a:ln>
                  <a:solidFill>
                    <a:srgbClr val="FFFFFF">
                      <a:alpha val="99000"/>
                    </a:srgbClr>
                  </a:solidFill>
                  <a:cs typeface="Segoe UI" pitchFamily="34" charset="0"/>
                </a:rPr>
                <a:t>Scale VMs</a:t>
              </a:r>
            </a:p>
          </p:txBody>
        </p:sp>
        <p:pic>
          <p:nvPicPr>
            <p:cNvPr id="26" name="Picture 3" descr="\\MAGNUM\Projects\Microsoft\Cloud Power FY12\Design\Icons\PNGs\Scalable_Elastic_4.png"/>
            <p:cNvPicPr>
              <a:picLocks noChangeAspect="1" noChangeArrowheads="1"/>
            </p:cNvPicPr>
            <p:nvPr/>
          </p:nvPicPr>
          <p:blipFill>
            <a:blip r:embed="rId13" cstate="print">
              <a:lum bright="100000"/>
            </a:blip>
            <a:srcRect/>
            <a:stretch>
              <a:fillRect/>
            </a:stretch>
          </p:blipFill>
          <p:spPr bwMode="auto">
            <a:xfrm>
              <a:off x="7053291" y="1773691"/>
              <a:ext cx="1508760" cy="1508760"/>
            </a:xfrm>
            <a:prstGeom prst="rect">
              <a:avLst/>
            </a:prstGeom>
            <a:noFill/>
          </p:spPr>
        </p:pic>
      </p:grpSp>
      <p:sp>
        <p:nvSpPr>
          <p:cNvPr id="27" name="Rectangle 26"/>
          <p:cNvSpPr>
            <a:spLocks/>
          </p:cNvSpPr>
          <p:nvPr>
            <p:custDataLst>
              <p:tags r:id="rId4"/>
            </p:custDataLst>
          </p:nvPr>
        </p:nvSpPr>
        <p:spPr bwMode="auto">
          <a:xfrm>
            <a:off x="761058" y="3143251"/>
            <a:ext cx="1920240" cy="1577340"/>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28" tIns="137172" rIns="91428" bIns="45714" numCol="1" rtlCol="0" anchor="t" anchorCtr="0" compatLnSpc="1">
            <a:prstTxWarp prst="textNoShape">
              <a:avLst/>
            </a:prstTxWarp>
            <a:noAutofit/>
          </a:bodyPr>
          <a:lstStyle/>
          <a:p>
            <a:pPr defTabSz="914045" fontAlgn="base">
              <a:lnSpc>
                <a:spcPct val="90000"/>
              </a:lnSpc>
              <a:spcBef>
                <a:spcPts val="630"/>
              </a:spcBef>
              <a:spcAft>
                <a:spcPct val="0"/>
              </a:spcAft>
              <a:buClr>
                <a:schemeClr val="bg2">
                  <a:lumMod val="75000"/>
                </a:schemeClr>
              </a:buClr>
              <a:buSzPct val="100000"/>
            </a:pPr>
            <a:r>
              <a:rPr lang="en-US" sz="1200" dirty="0">
                <a:ln>
                  <a:solidFill>
                    <a:srgbClr val="FFFFFF">
                      <a:alpha val="0"/>
                    </a:srgbClr>
                  </a:solidFill>
                </a:ln>
                <a:solidFill>
                  <a:srgbClr val="FFFFFF">
                    <a:alpha val="99000"/>
                  </a:srgbClr>
                </a:solidFill>
                <a:cs typeface="Segoe UI" pitchFamily="34" charset="0"/>
              </a:rPr>
              <a:t>System Center 2012</a:t>
            </a:r>
          </a:p>
          <a:p>
            <a:pPr marL="213142" indent="-123837" defTabSz="914045" fontAlgn="base">
              <a:lnSpc>
                <a:spcPct val="90000"/>
              </a:lnSpc>
              <a:spcBef>
                <a:spcPts val="630"/>
              </a:spcBef>
              <a:spcAft>
                <a:spcPct val="0"/>
              </a:spcAft>
              <a:buClr>
                <a:schemeClr val="bg2">
                  <a:lumMod val="75000"/>
                </a:schemeClr>
              </a:buClr>
              <a:buSzPct val="100000"/>
              <a:buFont typeface="Arial" pitchFamily="34" charset="0"/>
              <a:buChar char="•"/>
            </a:pPr>
            <a:r>
              <a:rPr lang="en-US" sz="1200" dirty="0">
                <a:ln>
                  <a:solidFill>
                    <a:srgbClr val="FFFFFF">
                      <a:alpha val="0"/>
                    </a:srgbClr>
                  </a:solidFill>
                </a:ln>
                <a:solidFill>
                  <a:srgbClr val="FFFFFF">
                    <a:alpha val="99000"/>
                  </a:srgbClr>
                </a:solidFill>
                <a:cs typeface="Segoe UI" pitchFamily="34" charset="0"/>
              </a:rPr>
              <a:t>Operations Manager with SQL Server 2012 Management Pack</a:t>
            </a:r>
          </a:p>
          <a:p>
            <a:pPr marL="213142" indent="-123837" defTabSz="914045" fontAlgn="base">
              <a:lnSpc>
                <a:spcPct val="90000"/>
              </a:lnSpc>
              <a:spcBef>
                <a:spcPts val="630"/>
              </a:spcBef>
              <a:spcAft>
                <a:spcPct val="0"/>
              </a:spcAft>
              <a:buClr>
                <a:schemeClr val="bg2">
                  <a:lumMod val="75000"/>
                </a:schemeClr>
              </a:buClr>
              <a:buSzPct val="100000"/>
              <a:buFont typeface="Arial" pitchFamily="34" charset="0"/>
              <a:buChar char="•"/>
            </a:pPr>
            <a:r>
              <a:rPr lang="en-US" sz="1200" dirty="0">
                <a:ln>
                  <a:solidFill>
                    <a:srgbClr val="FFFFFF">
                      <a:alpha val="0"/>
                    </a:srgbClr>
                  </a:solidFill>
                </a:ln>
                <a:solidFill>
                  <a:srgbClr val="FFFFFF">
                    <a:alpha val="99000"/>
                  </a:srgbClr>
                </a:solidFill>
                <a:cs typeface="Segoe UI" pitchFamily="34" charset="0"/>
              </a:rPr>
              <a:t>Virtual Machine Manager</a:t>
            </a:r>
          </a:p>
        </p:txBody>
      </p:sp>
      <p:grpSp>
        <p:nvGrpSpPr>
          <p:cNvPr id="28" name="Group 27"/>
          <p:cNvGrpSpPr/>
          <p:nvPr/>
        </p:nvGrpSpPr>
        <p:grpSpPr>
          <a:xfrm>
            <a:off x="761058" y="1150318"/>
            <a:ext cx="1920240" cy="1917497"/>
            <a:chOff x="7878159" y="1533756"/>
            <a:chExt cx="2559653" cy="2556662"/>
          </a:xfrm>
        </p:grpSpPr>
        <p:sp>
          <p:nvSpPr>
            <p:cNvPr id="29" name="Rectangle 28"/>
            <p:cNvSpPr/>
            <p:nvPr>
              <p:custDataLst>
                <p:tags r:id="rId9"/>
              </p:custDataLst>
            </p:nvPr>
          </p:nvSpPr>
          <p:spPr bwMode="auto">
            <a:xfrm>
              <a:off x="7878159" y="1533756"/>
              <a:ext cx="2559653" cy="2556662"/>
            </a:xfrm>
            <a:prstGeom prst="rect">
              <a:avLst/>
            </a:prstGeom>
            <a:solidFill>
              <a:srgbClr val="FF8B00"/>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1371600" rIns="91440" bIns="45720" numCol="1" rtlCol="0" anchor="ctr" anchorCtr="0" compatLnSpc="1">
              <a:prstTxWarp prst="textNoShape">
                <a:avLst/>
              </a:prstTxWarp>
              <a:noAutofit/>
            </a:bodyPr>
            <a:lstStyle/>
            <a:p>
              <a:pPr algn="ctr" defTabSz="914045" fontAlgn="base">
                <a:lnSpc>
                  <a:spcPct val="90000"/>
                </a:lnSpc>
                <a:spcBef>
                  <a:spcPts val="630"/>
                </a:spcBef>
                <a:spcAft>
                  <a:spcPct val="0"/>
                </a:spcAft>
                <a:buClr>
                  <a:srgbClr val="FFFF99"/>
                </a:buClr>
                <a:buSzPct val="120000"/>
              </a:pPr>
              <a:r>
                <a:rPr lang="en-US" sz="1500" dirty="0">
                  <a:ln>
                    <a:solidFill>
                      <a:srgbClr val="FFFFFF">
                        <a:alpha val="0"/>
                      </a:srgbClr>
                    </a:solidFill>
                  </a:ln>
                  <a:solidFill>
                    <a:srgbClr val="FFFFFF">
                      <a:alpha val="99000"/>
                    </a:srgbClr>
                  </a:solidFill>
                  <a:cs typeface="Segoe UI" pitchFamily="34" charset="0"/>
                </a:rPr>
                <a:t>Monitoring</a:t>
              </a:r>
            </a:p>
          </p:txBody>
        </p:sp>
        <p:pic>
          <p:nvPicPr>
            <p:cNvPr id="30" name="Picture 4" descr="\\MAGNUM\Projects\Microsoft\Cloud Power FY12\Design\Icons\PNGs\IT_guy.png"/>
            <p:cNvPicPr>
              <a:picLocks noChangeAspect="1" noChangeArrowheads="1"/>
            </p:cNvPicPr>
            <p:nvPr/>
          </p:nvPicPr>
          <p:blipFill>
            <a:blip r:embed="rId14" cstate="print">
              <a:lum bright="100000"/>
            </a:blip>
            <a:stretch>
              <a:fillRect/>
            </a:stretch>
          </p:blipFill>
          <p:spPr bwMode="auto">
            <a:xfrm>
              <a:off x="8335025" y="1723889"/>
              <a:ext cx="1645920" cy="1645920"/>
            </a:xfrm>
            <a:prstGeom prst="rect">
              <a:avLst/>
            </a:prstGeom>
            <a:noFill/>
          </p:spPr>
        </p:pic>
      </p:grpSp>
      <p:sp>
        <p:nvSpPr>
          <p:cNvPr id="31" name="Rectangle 30"/>
          <p:cNvSpPr>
            <a:spLocks/>
          </p:cNvSpPr>
          <p:nvPr>
            <p:custDataLst>
              <p:tags r:id="rId5"/>
            </p:custDataLst>
          </p:nvPr>
        </p:nvSpPr>
        <p:spPr bwMode="auto">
          <a:xfrm>
            <a:off x="2789338" y="3143251"/>
            <a:ext cx="1920240" cy="1577340"/>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28" tIns="137172" rIns="91428" bIns="45714" numCol="1" rtlCol="0" anchor="t" anchorCtr="0" compatLnSpc="1">
            <a:prstTxWarp prst="textNoShape">
              <a:avLst/>
            </a:prstTxWarp>
            <a:noAutofit/>
          </a:bodyPr>
          <a:lstStyle/>
          <a:p>
            <a:pPr defTabSz="914045" fontAlgn="base">
              <a:lnSpc>
                <a:spcPct val="90000"/>
              </a:lnSpc>
              <a:spcBef>
                <a:spcPts val="630"/>
              </a:spcBef>
              <a:spcAft>
                <a:spcPct val="0"/>
              </a:spcAft>
              <a:buClr>
                <a:schemeClr val="bg2">
                  <a:lumMod val="75000"/>
                </a:schemeClr>
              </a:buClr>
              <a:buSzPct val="100000"/>
            </a:pPr>
            <a:r>
              <a:rPr lang="en-US" sz="1200" dirty="0">
                <a:ln>
                  <a:solidFill>
                    <a:srgbClr val="FFFFFF">
                      <a:alpha val="0"/>
                    </a:srgbClr>
                  </a:solidFill>
                </a:ln>
                <a:solidFill>
                  <a:srgbClr val="FFFFFF">
                    <a:alpha val="99000"/>
                  </a:srgbClr>
                </a:solidFill>
                <a:cs typeface="Segoe UI" pitchFamily="34" charset="0"/>
              </a:rPr>
              <a:t>SQL Server 2012 </a:t>
            </a:r>
          </a:p>
          <a:p>
            <a:pPr marL="213142" lvl="1" indent="-123837" defTabSz="914045" fontAlgn="base">
              <a:lnSpc>
                <a:spcPct val="90000"/>
              </a:lnSpc>
              <a:spcBef>
                <a:spcPts val="630"/>
              </a:spcBef>
              <a:spcAft>
                <a:spcPct val="0"/>
              </a:spcAft>
              <a:buClr>
                <a:schemeClr val="bg2">
                  <a:lumMod val="75000"/>
                </a:schemeClr>
              </a:buClr>
              <a:buSzPct val="100000"/>
              <a:buFont typeface="Arial" pitchFamily="34" charset="0"/>
              <a:buChar char="•"/>
            </a:pPr>
            <a:r>
              <a:rPr lang="en-US" sz="1200" dirty="0">
                <a:ln>
                  <a:solidFill>
                    <a:srgbClr val="FFFFFF">
                      <a:alpha val="0"/>
                    </a:srgbClr>
                  </a:solidFill>
                </a:ln>
                <a:solidFill>
                  <a:srgbClr val="FFFFFF">
                    <a:alpha val="99000"/>
                  </a:srgbClr>
                </a:solidFill>
                <a:cs typeface="Segoe UI" pitchFamily="34" charset="0"/>
              </a:rPr>
              <a:t>Analysis Services OLAP Cube</a:t>
            </a:r>
          </a:p>
          <a:p>
            <a:pPr defTabSz="914045" fontAlgn="base">
              <a:lnSpc>
                <a:spcPct val="90000"/>
              </a:lnSpc>
              <a:spcBef>
                <a:spcPts val="630"/>
              </a:spcBef>
              <a:spcAft>
                <a:spcPct val="0"/>
              </a:spcAft>
              <a:buClr>
                <a:schemeClr val="bg2">
                  <a:lumMod val="75000"/>
                </a:schemeClr>
              </a:buClr>
              <a:buSzPct val="100000"/>
            </a:pPr>
            <a:r>
              <a:rPr lang="da-DK" sz="1200" dirty="0">
                <a:ln>
                  <a:solidFill>
                    <a:srgbClr val="FFFFFF">
                      <a:alpha val="0"/>
                    </a:srgbClr>
                  </a:solidFill>
                </a:ln>
                <a:solidFill>
                  <a:srgbClr val="FFFFFF">
                    <a:alpha val="99000"/>
                  </a:srgbClr>
                </a:solidFill>
                <a:cs typeface="Segoe UI" pitchFamily="34" charset="0"/>
              </a:rPr>
              <a:t>System Center 2012</a:t>
            </a:r>
          </a:p>
          <a:p>
            <a:pPr marL="213142" lvl="1" indent="-123837" defTabSz="914045" fontAlgn="base">
              <a:lnSpc>
                <a:spcPct val="90000"/>
              </a:lnSpc>
              <a:spcBef>
                <a:spcPts val="630"/>
              </a:spcBef>
              <a:spcAft>
                <a:spcPct val="0"/>
              </a:spcAft>
              <a:buClr>
                <a:schemeClr val="bg2">
                  <a:lumMod val="75000"/>
                </a:schemeClr>
              </a:buClr>
              <a:buSzPct val="100000"/>
              <a:buFont typeface="Arial" pitchFamily="34" charset="0"/>
              <a:buChar char="•"/>
            </a:pPr>
            <a:r>
              <a:rPr lang="da-DK" sz="1200" dirty="0">
                <a:ln>
                  <a:solidFill>
                    <a:srgbClr val="FFFFFF">
                      <a:alpha val="0"/>
                    </a:srgbClr>
                  </a:solidFill>
                </a:ln>
                <a:solidFill>
                  <a:srgbClr val="FFFFFF">
                    <a:alpha val="99000"/>
                  </a:srgbClr>
                </a:solidFill>
                <a:cs typeface="Segoe UI" pitchFamily="34" charset="0"/>
              </a:rPr>
              <a:t>Service Manager</a:t>
            </a:r>
          </a:p>
        </p:txBody>
      </p:sp>
      <p:grpSp>
        <p:nvGrpSpPr>
          <p:cNvPr id="32" name="Group 31"/>
          <p:cNvGrpSpPr/>
          <p:nvPr/>
        </p:nvGrpSpPr>
        <p:grpSpPr>
          <a:xfrm>
            <a:off x="2789338" y="1150318"/>
            <a:ext cx="1920240" cy="1917497"/>
            <a:chOff x="2352378" y="1533756"/>
            <a:chExt cx="2559653" cy="2556662"/>
          </a:xfrm>
        </p:grpSpPr>
        <p:sp>
          <p:nvSpPr>
            <p:cNvPr id="33" name="Rectangle 32"/>
            <p:cNvSpPr/>
            <p:nvPr>
              <p:custDataLst>
                <p:tags r:id="rId8"/>
              </p:custDataLst>
            </p:nvPr>
          </p:nvSpPr>
          <p:spPr bwMode="auto">
            <a:xfrm>
              <a:off x="2352378" y="1533756"/>
              <a:ext cx="2559653" cy="2556662"/>
            </a:xfrm>
            <a:prstGeom prst="rect">
              <a:avLst/>
            </a:prstGeom>
            <a:solidFill>
              <a:srgbClr val="FF8B00"/>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1371600" rIns="91440" bIns="45720" numCol="1" rtlCol="0" anchor="ctr" anchorCtr="0" compatLnSpc="1">
              <a:prstTxWarp prst="textNoShape">
                <a:avLst/>
              </a:prstTxWarp>
              <a:noAutofit/>
            </a:bodyPr>
            <a:lstStyle/>
            <a:p>
              <a:pPr algn="ctr" defTabSz="914045" fontAlgn="base">
                <a:lnSpc>
                  <a:spcPct val="90000"/>
                </a:lnSpc>
                <a:spcBef>
                  <a:spcPts val="630"/>
                </a:spcBef>
                <a:spcAft>
                  <a:spcPct val="0"/>
                </a:spcAft>
                <a:buClr>
                  <a:srgbClr val="FFFF99"/>
                </a:buClr>
                <a:buSzPct val="120000"/>
                <a:defRPr/>
              </a:pPr>
              <a:r>
                <a:rPr lang="en-US" sz="1500" dirty="0">
                  <a:ln>
                    <a:solidFill>
                      <a:srgbClr val="FFFFFF">
                        <a:alpha val="0"/>
                      </a:srgbClr>
                    </a:solidFill>
                  </a:ln>
                  <a:solidFill>
                    <a:srgbClr val="FFFFFF">
                      <a:alpha val="99000"/>
                    </a:srgbClr>
                  </a:solidFill>
                  <a:cs typeface="Segoe UI" pitchFamily="34" charset="0"/>
                </a:rPr>
                <a:t>Report and Measure usage</a:t>
              </a:r>
            </a:p>
          </p:txBody>
        </p:sp>
        <p:pic>
          <p:nvPicPr>
            <p:cNvPr id="34" name="Picture 5" descr="\\MAGNUM\Projects\Microsoft\Cloud Power FY12\Design\Icons\PNGs\Stop_watch.png"/>
            <p:cNvPicPr>
              <a:picLocks noChangeAspect="1" noChangeArrowheads="1"/>
            </p:cNvPicPr>
            <p:nvPr/>
          </p:nvPicPr>
          <p:blipFill>
            <a:blip r:embed="rId15" cstate="print">
              <a:lum bright="100000"/>
            </a:blip>
            <a:srcRect/>
            <a:stretch>
              <a:fillRect/>
            </a:stretch>
          </p:blipFill>
          <p:spPr bwMode="auto">
            <a:xfrm>
              <a:off x="2864108" y="1778753"/>
              <a:ext cx="1536192" cy="1536192"/>
            </a:xfrm>
            <a:prstGeom prst="rect">
              <a:avLst/>
            </a:prstGeom>
            <a:noFill/>
          </p:spPr>
        </p:pic>
      </p:grpSp>
      <p:sp>
        <p:nvSpPr>
          <p:cNvPr id="35" name="Rectangle 34"/>
          <p:cNvSpPr>
            <a:spLocks/>
          </p:cNvSpPr>
          <p:nvPr>
            <p:custDataLst>
              <p:tags r:id="rId6"/>
            </p:custDataLst>
          </p:nvPr>
        </p:nvSpPr>
        <p:spPr bwMode="auto">
          <a:xfrm>
            <a:off x="6840844" y="3143251"/>
            <a:ext cx="1920240" cy="1577340"/>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28" tIns="137172" rIns="91428" bIns="45714" numCol="1" rtlCol="0" anchor="t" anchorCtr="0" compatLnSpc="1">
            <a:prstTxWarp prst="textNoShape">
              <a:avLst/>
            </a:prstTxWarp>
            <a:noAutofit/>
          </a:bodyPr>
          <a:lstStyle/>
          <a:p>
            <a:pPr defTabSz="914045" fontAlgn="base">
              <a:lnSpc>
                <a:spcPct val="90000"/>
              </a:lnSpc>
              <a:spcBef>
                <a:spcPts val="630"/>
              </a:spcBef>
              <a:spcAft>
                <a:spcPct val="0"/>
              </a:spcAft>
              <a:buClr>
                <a:schemeClr val="bg2">
                  <a:lumMod val="75000"/>
                </a:schemeClr>
              </a:buClr>
              <a:buSzPct val="100000"/>
            </a:pPr>
            <a:r>
              <a:rPr lang="en-US" sz="1200" dirty="0">
                <a:ln>
                  <a:solidFill>
                    <a:srgbClr val="FFFFFF">
                      <a:alpha val="0"/>
                    </a:srgbClr>
                  </a:solidFill>
                </a:ln>
                <a:solidFill>
                  <a:srgbClr val="FFFFFF">
                    <a:alpha val="99000"/>
                  </a:srgbClr>
                </a:solidFill>
                <a:cs typeface="Segoe UI" pitchFamily="34" charset="0"/>
              </a:rPr>
              <a:t>System Center 2012</a:t>
            </a:r>
          </a:p>
          <a:p>
            <a:pPr marL="215523" indent="-127409" defTabSz="914045" fontAlgn="base">
              <a:lnSpc>
                <a:spcPct val="90000"/>
              </a:lnSpc>
              <a:spcBef>
                <a:spcPts val="630"/>
              </a:spcBef>
              <a:spcAft>
                <a:spcPct val="0"/>
              </a:spcAft>
              <a:buClr>
                <a:schemeClr val="bg2">
                  <a:lumMod val="75000"/>
                </a:schemeClr>
              </a:buClr>
              <a:buSzPct val="100000"/>
              <a:buFont typeface="Arial" pitchFamily="34" charset="0"/>
              <a:buChar char="•"/>
            </a:pPr>
            <a:r>
              <a:rPr lang="en-US" sz="1200" dirty="0">
                <a:ln>
                  <a:solidFill>
                    <a:srgbClr val="FFFFFF">
                      <a:alpha val="0"/>
                    </a:srgbClr>
                  </a:solidFill>
                </a:ln>
                <a:solidFill>
                  <a:srgbClr val="FFFFFF">
                    <a:alpha val="99000"/>
                  </a:srgbClr>
                </a:solidFill>
                <a:cs typeface="Segoe UI" pitchFamily="34" charset="0"/>
              </a:rPr>
              <a:t>Virtual Machine Manager</a:t>
            </a:r>
          </a:p>
        </p:txBody>
      </p:sp>
      <p:grpSp>
        <p:nvGrpSpPr>
          <p:cNvPr id="36" name="Group 35"/>
          <p:cNvGrpSpPr/>
          <p:nvPr/>
        </p:nvGrpSpPr>
        <p:grpSpPr>
          <a:xfrm>
            <a:off x="6840844" y="1150318"/>
            <a:ext cx="1920240" cy="1917497"/>
            <a:chOff x="9281774" y="1533756"/>
            <a:chExt cx="2559653" cy="2556662"/>
          </a:xfrm>
        </p:grpSpPr>
        <p:sp>
          <p:nvSpPr>
            <p:cNvPr id="38" name="Rectangle 37"/>
            <p:cNvSpPr/>
            <p:nvPr>
              <p:custDataLst>
                <p:tags r:id="rId7"/>
              </p:custDataLst>
            </p:nvPr>
          </p:nvSpPr>
          <p:spPr bwMode="auto">
            <a:xfrm>
              <a:off x="9281774" y="1533756"/>
              <a:ext cx="2559653" cy="2556662"/>
            </a:xfrm>
            <a:prstGeom prst="rect">
              <a:avLst/>
            </a:prstGeom>
            <a:solidFill>
              <a:srgbClr val="FF8B00"/>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1371600" rIns="91440" bIns="45720" numCol="1" rtlCol="0" anchor="ctr" anchorCtr="0" compatLnSpc="1">
              <a:prstTxWarp prst="textNoShape">
                <a:avLst/>
              </a:prstTxWarp>
              <a:noAutofit/>
            </a:bodyPr>
            <a:lstStyle/>
            <a:p>
              <a:pPr algn="ctr" defTabSz="914045" fontAlgn="base">
                <a:lnSpc>
                  <a:spcPct val="90000"/>
                </a:lnSpc>
                <a:spcBef>
                  <a:spcPts val="630"/>
                </a:spcBef>
                <a:spcAft>
                  <a:spcPct val="0"/>
                </a:spcAft>
                <a:buClr>
                  <a:srgbClr val="FFFF99"/>
                </a:buClr>
                <a:buSzPct val="120000"/>
              </a:pPr>
              <a:r>
                <a:rPr lang="en-US" sz="1500" dirty="0">
                  <a:ln>
                    <a:solidFill>
                      <a:srgbClr val="FFFFFF">
                        <a:alpha val="0"/>
                      </a:srgbClr>
                    </a:solidFill>
                  </a:ln>
                  <a:solidFill>
                    <a:srgbClr val="FFFFFF">
                      <a:alpha val="99000"/>
                    </a:srgbClr>
                  </a:solidFill>
                  <a:cs typeface="Segoe UI" pitchFamily="34" charset="0"/>
                </a:rPr>
                <a:t>Load balance VMs</a:t>
              </a:r>
            </a:p>
          </p:txBody>
        </p:sp>
        <p:pic>
          <p:nvPicPr>
            <p:cNvPr id="39" name="Picture 3" descr="\\MAGNUM\Projects\Microsoft\Cloud Power FY12\Design\ICONS_PNG\Management.png"/>
            <p:cNvPicPr>
              <a:picLocks noChangeAspect="1" noChangeArrowheads="1"/>
            </p:cNvPicPr>
            <p:nvPr/>
          </p:nvPicPr>
          <p:blipFill>
            <a:blip r:embed="rId16" cstate="print">
              <a:lum bright="100000"/>
            </a:blip>
            <a:stretch>
              <a:fillRect/>
            </a:stretch>
          </p:blipFill>
          <p:spPr bwMode="auto">
            <a:xfrm>
              <a:off x="9807220" y="1773691"/>
              <a:ext cx="1508760" cy="1508760"/>
            </a:xfrm>
            <a:prstGeom prst="rect">
              <a:avLst/>
            </a:prstGeom>
            <a:noFill/>
          </p:spPr>
        </p:pic>
      </p:grpSp>
      <p:sp>
        <p:nvSpPr>
          <p:cNvPr id="21"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2"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7"/>
              </a:rPr>
              <a:t>www.rapidbbs.cn</a:t>
            </a:r>
            <a:endParaRPr lang="zh-CN" altLang="en-US" sz="1200" b="0">
              <a:latin typeface="Arial" charset="0"/>
              <a:ea typeface="ＭＳ Ｐゴシック" pitchFamily="34" charset="-128"/>
            </a:endParaRPr>
          </a:p>
        </p:txBody>
      </p:sp>
      <p:pic>
        <p:nvPicPr>
          <p:cNvPr id="23" name="Picture 2">
            <a:hlinkClick r:id="rId17"/>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31943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55"/>
                                        </p:tgtEl>
                                        <p:attrNameLst>
                                          <p:attrName>style.visibility</p:attrName>
                                        </p:attrNameLst>
                                      </p:cBhvr>
                                      <p:to>
                                        <p:strVal val="visible"/>
                                      </p:to>
                                    </p:set>
                                    <p:anim calcmode="lin" valueType="num">
                                      <p:cBhvr additive="base">
                                        <p:cTn id="7" dur="700" fill="hold"/>
                                        <p:tgtEl>
                                          <p:spTgt spid="55"/>
                                        </p:tgtEl>
                                        <p:attrNameLst>
                                          <p:attrName>ppt_x</p:attrName>
                                        </p:attrNameLst>
                                      </p:cBhvr>
                                      <p:tavLst>
                                        <p:tav tm="0">
                                          <p:val>
                                            <p:strVal val="#ppt_x"/>
                                          </p:val>
                                        </p:tav>
                                        <p:tav tm="100000">
                                          <p:val>
                                            <p:strVal val="#ppt_x"/>
                                          </p:val>
                                        </p:tav>
                                      </p:tavLst>
                                    </p:anim>
                                    <p:anim calcmode="lin" valueType="num">
                                      <p:cBhvr additive="base">
                                        <p:cTn id="8" dur="700" fill="hold"/>
                                        <p:tgtEl>
                                          <p:spTgt spid="55"/>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0"/>
                                  </p:stCondLst>
                                  <p:childTnLst>
                                    <p:set>
                                      <p:cBhvr>
                                        <p:cTn id="10" dur="1" fill="hold">
                                          <p:stCondLst>
                                            <p:cond delay="0"/>
                                          </p:stCondLst>
                                        </p:cTn>
                                        <p:tgtEl>
                                          <p:spTgt spid="56"/>
                                        </p:tgtEl>
                                        <p:attrNameLst>
                                          <p:attrName>style.visibility</p:attrName>
                                        </p:attrNameLst>
                                      </p:cBhvr>
                                      <p:to>
                                        <p:strVal val="visible"/>
                                      </p:to>
                                    </p:set>
                                    <p:anim calcmode="lin" valueType="num">
                                      <p:cBhvr additive="base">
                                        <p:cTn id="11" dur="700" fill="hold"/>
                                        <p:tgtEl>
                                          <p:spTgt spid="56"/>
                                        </p:tgtEl>
                                        <p:attrNameLst>
                                          <p:attrName>ppt_x</p:attrName>
                                        </p:attrNameLst>
                                      </p:cBhvr>
                                      <p:tavLst>
                                        <p:tav tm="0">
                                          <p:val>
                                            <p:strVal val="#ppt_x"/>
                                          </p:val>
                                        </p:tav>
                                        <p:tav tm="100000">
                                          <p:val>
                                            <p:strVal val="#ppt_x"/>
                                          </p:val>
                                        </p:tav>
                                      </p:tavLst>
                                    </p:anim>
                                    <p:anim calcmode="lin" valueType="num">
                                      <p:cBhvr additive="base">
                                        <p:cTn id="12" dur="700" fill="hold"/>
                                        <p:tgtEl>
                                          <p:spTgt spid="56"/>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0"/>
                                  </p:stCondLst>
                                  <p:childTnLst>
                                    <p:set>
                                      <p:cBhvr>
                                        <p:cTn id="14" dur="1" fill="hold">
                                          <p:stCondLst>
                                            <p:cond delay="0"/>
                                          </p:stCondLst>
                                        </p:cTn>
                                        <p:tgtEl>
                                          <p:spTgt spid="28"/>
                                        </p:tgtEl>
                                        <p:attrNameLst>
                                          <p:attrName>style.visibility</p:attrName>
                                        </p:attrNameLst>
                                      </p:cBhvr>
                                      <p:to>
                                        <p:strVal val="visible"/>
                                      </p:to>
                                    </p:set>
                                    <p:anim calcmode="lin" valueType="num">
                                      <p:cBhvr additive="base">
                                        <p:cTn id="15" dur="700" fill="hold"/>
                                        <p:tgtEl>
                                          <p:spTgt spid="28"/>
                                        </p:tgtEl>
                                        <p:attrNameLst>
                                          <p:attrName>ppt_x</p:attrName>
                                        </p:attrNameLst>
                                      </p:cBhvr>
                                      <p:tavLst>
                                        <p:tav tm="0">
                                          <p:val>
                                            <p:strVal val="#ppt_x"/>
                                          </p:val>
                                        </p:tav>
                                        <p:tav tm="100000">
                                          <p:val>
                                            <p:strVal val="#ppt_x"/>
                                          </p:val>
                                        </p:tav>
                                      </p:tavLst>
                                    </p:anim>
                                    <p:anim calcmode="lin" valueType="num">
                                      <p:cBhvr additive="base">
                                        <p:cTn id="16" dur="700" fill="hold"/>
                                        <p:tgtEl>
                                          <p:spTgt spid="28"/>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0"/>
                                  </p:stCondLst>
                                  <p:childTnLst>
                                    <p:set>
                                      <p:cBhvr>
                                        <p:cTn id="18" dur="1" fill="hold">
                                          <p:stCondLst>
                                            <p:cond delay="0"/>
                                          </p:stCondLst>
                                        </p:cTn>
                                        <p:tgtEl>
                                          <p:spTgt spid="27"/>
                                        </p:tgtEl>
                                        <p:attrNameLst>
                                          <p:attrName>style.visibility</p:attrName>
                                        </p:attrNameLst>
                                      </p:cBhvr>
                                      <p:to>
                                        <p:strVal val="visible"/>
                                      </p:to>
                                    </p:set>
                                    <p:anim calcmode="lin" valueType="num">
                                      <p:cBhvr additive="base">
                                        <p:cTn id="19" dur="700" fill="hold"/>
                                        <p:tgtEl>
                                          <p:spTgt spid="27"/>
                                        </p:tgtEl>
                                        <p:attrNameLst>
                                          <p:attrName>ppt_x</p:attrName>
                                        </p:attrNameLst>
                                      </p:cBhvr>
                                      <p:tavLst>
                                        <p:tav tm="0">
                                          <p:val>
                                            <p:strVal val="#ppt_x"/>
                                          </p:val>
                                        </p:tav>
                                        <p:tav tm="100000">
                                          <p:val>
                                            <p:strVal val="#ppt_x"/>
                                          </p:val>
                                        </p:tav>
                                      </p:tavLst>
                                    </p:anim>
                                    <p:anim calcmode="lin" valueType="num">
                                      <p:cBhvr additive="base">
                                        <p:cTn id="20" dur="700" fill="hold"/>
                                        <p:tgtEl>
                                          <p:spTgt spid="27"/>
                                        </p:tgtEl>
                                        <p:attrNameLst>
                                          <p:attrName>ppt_y</p:attrName>
                                        </p:attrNameLst>
                                      </p:cBhvr>
                                      <p:tavLst>
                                        <p:tav tm="0">
                                          <p:val>
                                            <p:strVal val="1+#ppt_h/2"/>
                                          </p:val>
                                        </p:tav>
                                        <p:tav tm="100000">
                                          <p:val>
                                            <p:strVal val="#ppt_y"/>
                                          </p:val>
                                        </p:tav>
                                      </p:tavLst>
                                    </p:anim>
                                  </p:childTnLst>
                                </p:cTn>
                              </p:par>
                              <p:par>
                                <p:cTn id="21" presetID="2" presetClass="entr" presetSubtype="4" decel="100000" fill="hold" nodeType="withEffect">
                                  <p:stCondLst>
                                    <p:cond delay="700"/>
                                  </p:stCondLst>
                                  <p:childTnLst>
                                    <p:set>
                                      <p:cBhvr>
                                        <p:cTn id="22" dur="1" fill="hold">
                                          <p:stCondLst>
                                            <p:cond delay="0"/>
                                          </p:stCondLst>
                                        </p:cTn>
                                        <p:tgtEl>
                                          <p:spTgt spid="32"/>
                                        </p:tgtEl>
                                        <p:attrNameLst>
                                          <p:attrName>style.visibility</p:attrName>
                                        </p:attrNameLst>
                                      </p:cBhvr>
                                      <p:to>
                                        <p:strVal val="visible"/>
                                      </p:to>
                                    </p:set>
                                    <p:anim calcmode="lin" valueType="num">
                                      <p:cBhvr additive="base">
                                        <p:cTn id="23" dur="700" fill="hold"/>
                                        <p:tgtEl>
                                          <p:spTgt spid="32"/>
                                        </p:tgtEl>
                                        <p:attrNameLst>
                                          <p:attrName>ppt_x</p:attrName>
                                        </p:attrNameLst>
                                      </p:cBhvr>
                                      <p:tavLst>
                                        <p:tav tm="0">
                                          <p:val>
                                            <p:strVal val="#ppt_x"/>
                                          </p:val>
                                        </p:tav>
                                        <p:tav tm="100000">
                                          <p:val>
                                            <p:strVal val="#ppt_x"/>
                                          </p:val>
                                        </p:tav>
                                      </p:tavLst>
                                    </p:anim>
                                    <p:anim calcmode="lin" valueType="num">
                                      <p:cBhvr additive="base">
                                        <p:cTn id="24" dur="700" fill="hold"/>
                                        <p:tgtEl>
                                          <p:spTgt spid="32"/>
                                        </p:tgtEl>
                                        <p:attrNameLst>
                                          <p:attrName>ppt_y</p:attrName>
                                        </p:attrNameLst>
                                      </p:cBhvr>
                                      <p:tavLst>
                                        <p:tav tm="0">
                                          <p:val>
                                            <p:strVal val="1+#ppt_h/2"/>
                                          </p:val>
                                        </p:tav>
                                        <p:tav tm="100000">
                                          <p:val>
                                            <p:strVal val="#ppt_y"/>
                                          </p:val>
                                        </p:tav>
                                      </p:tavLst>
                                    </p:anim>
                                  </p:childTnLst>
                                </p:cTn>
                              </p:par>
                              <p:par>
                                <p:cTn id="25" presetID="2" presetClass="entr" presetSubtype="4" decel="100000" fill="hold" grpId="0" nodeType="withEffect">
                                  <p:stCondLst>
                                    <p:cond delay="700"/>
                                  </p:stCondLst>
                                  <p:childTnLst>
                                    <p:set>
                                      <p:cBhvr>
                                        <p:cTn id="26" dur="1" fill="hold">
                                          <p:stCondLst>
                                            <p:cond delay="0"/>
                                          </p:stCondLst>
                                        </p:cTn>
                                        <p:tgtEl>
                                          <p:spTgt spid="31"/>
                                        </p:tgtEl>
                                        <p:attrNameLst>
                                          <p:attrName>style.visibility</p:attrName>
                                        </p:attrNameLst>
                                      </p:cBhvr>
                                      <p:to>
                                        <p:strVal val="visible"/>
                                      </p:to>
                                    </p:set>
                                    <p:anim calcmode="lin" valueType="num">
                                      <p:cBhvr additive="base">
                                        <p:cTn id="27" dur="700" fill="hold"/>
                                        <p:tgtEl>
                                          <p:spTgt spid="31"/>
                                        </p:tgtEl>
                                        <p:attrNameLst>
                                          <p:attrName>ppt_x</p:attrName>
                                        </p:attrNameLst>
                                      </p:cBhvr>
                                      <p:tavLst>
                                        <p:tav tm="0">
                                          <p:val>
                                            <p:strVal val="#ppt_x"/>
                                          </p:val>
                                        </p:tav>
                                        <p:tav tm="100000">
                                          <p:val>
                                            <p:strVal val="#ppt_x"/>
                                          </p:val>
                                        </p:tav>
                                      </p:tavLst>
                                    </p:anim>
                                    <p:anim calcmode="lin" valueType="num">
                                      <p:cBhvr additive="base">
                                        <p:cTn id="28" dur="700" fill="hold"/>
                                        <p:tgtEl>
                                          <p:spTgt spid="31"/>
                                        </p:tgtEl>
                                        <p:attrNameLst>
                                          <p:attrName>ppt_y</p:attrName>
                                        </p:attrNameLst>
                                      </p:cBhvr>
                                      <p:tavLst>
                                        <p:tav tm="0">
                                          <p:val>
                                            <p:strVal val="1+#ppt_h/2"/>
                                          </p:val>
                                        </p:tav>
                                        <p:tav tm="100000">
                                          <p:val>
                                            <p:strVal val="#ppt_y"/>
                                          </p:val>
                                        </p:tav>
                                      </p:tavLst>
                                    </p:anim>
                                  </p:childTnLst>
                                </p:cTn>
                              </p:par>
                              <p:par>
                                <p:cTn id="29" presetID="2" presetClass="entr" presetSubtype="4" decel="100000" fill="hold" nodeType="withEffect">
                                  <p:stCondLst>
                                    <p:cond delay="1400"/>
                                  </p:stCondLst>
                                  <p:childTnLst>
                                    <p:set>
                                      <p:cBhvr>
                                        <p:cTn id="30" dur="1" fill="hold">
                                          <p:stCondLst>
                                            <p:cond delay="0"/>
                                          </p:stCondLst>
                                        </p:cTn>
                                        <p:tgtEl>
                                          <p:spTgt spid="19"/>
                                        </p:tgtEl>
                                        <p:attrNameLst>
                                          <p:attrName>style.visibility</p:attrName>
                                        </p:attrNameLst>
                                      </p:cBhvr>
                                      <p:to>
                                        <p:strVal val="visible"/>
                                      </p:to>
                                    </p:set>
                                    <p:anim calcmode="lin" valueType="num">
                                      <p:cBhvr additive="base">
                                        <p:cTn id="31" dur="700" fill="hold"/>
                                        <p:tgtEl>
                                          <p:spTgt spid="19"/>
                                        </p:tgtEl>
                                        <p:attrNameLst>
                                          <p:attrName>ppt_x</p:attrName>
                                        </p:attrNameLst>
                                      </p:cBhvr>
                                      <p:tavLst>
                                        <p:tav tm="0">
                                          <p:val>
                                            <p:strVal val="#ppt_x"/>
                                          </p:val>
                                        </p:tav>
                                        <p:tav tm="100000">
                                          <p:val>
                                            <p:strVal val="#ppt_x"/>
                                          </p:val>
                                        </p:tav>
                                      </p:tavLst>
                                    </p:anim>
                                    <p:anim calcmode="lin" valueType="num">
                                      <p:cBhvr additive="base">
                                        <p:cTn id="32" dur="700" fill="hold"/>
                                        <p:tgtEl>
                                          <p:spTgt spid="19"/>
                                        </p:tgtEl>
                                        <p:attrNameLst>
                                          <p:attrName>ppt_y</p:attrName>
                                        </p:attrNameLst>
                                      </p:cBhvr>
                                      <p:tavLst>
                                        <p:tav tm="0">
                                          <p:val>
                                            <p:strVal val="1+#ppt_h/2"/>
                                          </p:val>
                                        </p:tav>
                                        <p:tav tm="100000">
                                          <p:val>
                                            <p:strVal val="#ppt_y"/>
                                          </p:val>
                                        </p:tav>
                                      </p:tavLst>
                                    </p:anim>
                                  </p:childTnLst>
                                </p:cTn>
                              </p:par>
                              <p:par>
                                <p:cTn id="33" presetID="2" presetClass="entr" presetSubtype="4" decel="100000" fill="hold" grpId="0" nodeType="withEffect">
                                  <p:stCondLst>
                                    <p:cond delay="1400"/>
                                  </p:stCondLst>
                                  <p:childTnLst>
                                    <p:set>
                                      <p:cBhvr>
                                        <p:cTn id="34" dur="1" fill="hold">
                                          <p:stCondLst>
                                            <p:cond delay="0"/>
                                          </p:stCondLst>
                                        </p:cTn>
                                        <p:tgtEl>
                                          <p:spTgt spid="17"/>
                                        </p:tgtEl>
                                        <p:attrNameLst>
                                          <p:attrName>style.visibility</p:attrName>
                                        </p:attrNameLst>
                                      </p:cBhvr>
                                      <p:to>
                                        <p:strVal val="visible"/>
                                      </p:to>
                                    </p:set>
                                    <p:anim calcmode="lin" valueType="num">
                                      <p:cBhvr additive="base">
                                        <p:cTn id="35" dur="700" fill="hold"/>
                                        <p:tgtEl>
                                          <p:spTgt spid="17"/>
                                        </p:tgtEl>
                                        <p:attrNameLst>
                                          <p:attrName>ppt_x</p:attrName>
                                        </p:attrNameLst>
                                      </p:cBhvr>
                                      <p:tavLst>
                                        <p:tav tm="0">
                                          <p:val>
                                            <p:strVal val="#ppt_x"/>
                                          </p:val>
                                        </p:tav>
                                        <p:tav tm="100000">
                                          <p:val>
                                            <p:strVal val="#ppt_x"/>
                                          </p:val>
                                        </p:tav>
                                      </p:tavLst>
                                    </p:anim>
                                    <p:anim calcmode="lin" valueType="num">
                                      <p:cBhvr additive="base">
                                        <p:cTn id="36" dur="700" fill="hold"/>
                                        <p:tgtEl>
                                          <p:spTgt spid="17"/>
                                        </p:tgtEl>
                                        <p:attrNameLst>
                                          <p:attrName>ppt_y</p:attrName>
                                        </p:attrNameLst>
                                      </p:cBhvr>
                                      <p:tavLst>
                                        <p:tav tm="0">
                                          <p:val>
                                            <p:strVal val="1+#ppt_h/2"/>
                                          </p:val>
                                        </p:tav>
                                        <p:tav tm="100000">
                                          <p:val>
                                            <p:strVal val="#ppt_y"/>
                                          </p:val>
                                        </p:tav>
                                      </p:tavLst>
                                    </p:anim>
                                  </p:childTnLst>
                                </p:cTn>
                              </p:par>
                              <p:par>
                                <p:cTn id="37" presetID="2" presetClass="entr" presetSubtype="4" decel="100000" fill="hold" nodeType="withEffect">
                                  <p:stCondLst>
                                    <p:cond delay="2100"/>
                                  </p:stCondLst>
                                  <p:childTnLst>
                                    <p:set>
                                      <p:cBhvr>
                                        <p:cTn id="38" dur="1" fill="hold">
                                          <p:stCondLst>
                                            <p:cond delay="0"/>
                                          </p:stCondLst>
                                        </p:cTn>
                                        <p:tgtEl>
                                          <p:spTgt spid="36"/>
                                        </p:tgtEl>
                                        <p:attrNameLst>
                                          <p:attrName>style.visibility</p:attrName>
                                        </p:attrNameLst>
                                      </p:cBhvr>
                                      <p:to>
                                        <p:strVal val="visible"/>
                                      </p:to>
                                    </p:set>
                                    <p:anim calcmode="lin" valueType="num">
                                      <p:cBhvr additive="base">
                                        <p:cTn id="39" dur="700" fill="hold"/>
                                        <p:tgtEl>
                                          <p:spTgt spid="36"/>
                                        </p:tgtEl>
                                        <p:attrNameLst>
                                          <p:attrName>ppt_x</p:attrName>
                                        </p:attrNameLst>
                                      </p:cBhvr>
                                      <p:tavLst>
                                        <p:tav tm="0">
                                          <p:val>
                                            <p:strVal val="#ppt_x"/>
                                          </p:val>
                                        </p:tav>
                                        <p:tav tm="100000">
                                          <p:val>
                                            <p:strVal val="#ppt_x"/>
                                          </p:val>
                                        </p:tav>
                                      </p:tavLst>
                                    </p:anim>
                                    <p:anim calcmode="lin" valueType="num">
                                      <p:cBhvr additive="base">
                                        <p:cTn id="40" dur="700" fill="hold"/>
                                        <p:tgtEl>
                                          <p:spTgt spid="36"/>
                                        </p:tgtEl>
                                        <p:attrNameLst>
                                          <p:attrName>ppt_y</p:attrName>
                                        </p:attrNameLst>
                                      </p:cBhvr>
                                      <p:tavLst>
                                        <p:tav tm="0">
                                          <p:val>
                                            <p:strVal val="1+#ppt_h/2"/>
                                          </p:val>
                                        </p:tav>
                                        <p:tav tm="100000">
                                          <p:val>
                                            <p:strVal val="#ppt_y"/>
                                          </p:val>
                                        </p:tav>
                                      </p:tavLst>
                                    </p:anim>
                                  </p:childTnLst>
                                </p:cTn>
                              </p:par>
                              <p:par>
                                <p:cTn id="41" presetID="2" presetClass="entr" presetSubtype="4" decel="100000" fill="hold" grpId="0" nodeType="withEffect">
                                  <p:stCondLst>
                                    <p:cond delay="2100"/>
                                  </p:stCondLst>
                                  <p:childTnLst>
                                    <p:set>
                                      <p:cBhvr>
                                        <p:cTn id="42" dur="1" fill="hold">
                                          <p:stCondLst>
                                            <p:cond delay="0"/>
                                          </p:stCondLst>
                                        </p:cTn>
                                        <p:tgtEl>
                                          <p:spTgt spid="35"/>
                                        </p:tgtEl>
                                        <p:attrNameLst>
                                          <p:attrName>style.visibility</p:attrName>
                                        </p:attrNameLst>
                                      </p:cBhvr>
                                      <p:to>
                                        <p:strVal val="visible"/>
                                      </p:to>
                                    </p:set>
                                    <p:anim calcmode="lin" valueType="num">
                                      <p:cBhvr additive="base">
                                        <p:cTn id="43" dur="700" fill="hold"/>
                                        <p:tgtEl>
                                          <p:spTgt spid="35"/>
                                        </p:tgtEl>
                                        <p:attrNameLst>
                                          <p:attrName>ppt_x</p:attrName>
                                        </p:attrNameLst>
                                      </p:cBhvr>
                                      <p:tavLst>
                                        <p:tav tm="0">
                                          <p:val>
                                            <p:strVal val="#ppt_x"/>
                                          </p:val>
                                        </p:tav>
                                        <p:tav tm="100000">
                                          <p:val>
                                            <p:strVal val="#ppt_x"/>
                                          </p:val>
                                        </p:tav>
                                      </p:tavLst>
                                    </p:anim>
                                    <p:anim calcmode="lin" valueType="num">
                                      <p:cBhvr additive="base">
                                        <p:cTn id="44" dur="700" fill="hold"/>
                                        <p:tgtEl>
                                          <p:spTgt spid="3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animBg="1"/>
      <p:bldP spid="56" grpId="0" animBg="1"/>
      <p:bldP spid="17" grpId="0" animBg="1"/>
      <p:bldP spid="27" grpId="0" animBg="1"/>
      <p:bldP spid="31" grpId="0" animBg="1"/>
      <p:bldP spid="35" grpId="0" animBg="1"/>
    </p:bld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custDataLst>
              <p:tags r:id="rId1"/>
            </p:custDataLst>
          </p:nvPr>
        </p:nvSpPr>
        <p:spPr bwMode="auto">
          <a:xfrm>
            <a:off x="120035" y="3371853"/>
            <a:ext cx="2133600" cy="1231430"/>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28" tIns="137172" rIns="91428" bIns="45714" numCol="1" rtlCol="0" anchor="t" anchorCtr="0" compatLnSpc="1">
            <a:prstTxWarp prst="textNoShape">
              <a:avLst/>
            </a:prstTxWarp>
            <a:noAutofit/>
          </a:bodyPr>
          <a:lstStyle/>
          <a:p>
            <a:pPr defTabSz="914045" fontAlgn="base">
              <a:lnSpc>
                <a:spcPct val="90000"/>
              </a:lnSpc>
              <a:spcBef>
                <a:spcPts val="630"/>
              </a:spcBef>
              <a:spcAft>
                <a:spcPct val="0"/>
              </a:spcAft>
              <a:buClr>
                <a:schemeClr val="bg2">
                  <a:lumMod val="75000"/>
                </a:schemeClr>
              </a:buClr>
              <a:buSzPct val="100000"/>
            </a:pPr>
            <a:r>
              <a:rPr lang="en-US" sz="1100" dirty="0">
                <a:ln>
                  <a:solidFill>
                    <a:srgbClr val="FFFFFF">
                      <a:alpha val="0"/>
                    </a:srgbClr>
                  </a:solidFill>
                </a:ln>
                <a:solidFill>
                  <a:srgbClr val="FFFFFF">
                    <a:alpha val="99000"/>
                  </a:srgbClr>
                </a:solidFill>
                <a:cs typeface="Segoe UI" pitchFamily="34" charset="0"/>
              </a:rPr>
              <a:t>60,000+ sustained IOPS</a:t>
            </a:r>
          </a:p>
          <a:p>
            <a:pPr defTabSz="914045" fontAlgn="base">
              <a:lnSpc>
                <a:spcPct val="90000"/>
              </a:lnSpc>
              <a:spcBef>
                <a:spcPts val="630"/>
              </a:spcBef>
              <a:spcAft>
                <a:spcPct val="0"/>
              </a:spcAft>
              <a:buClr>
                <a:schemeClr val="bg2">
                  <a:lumMod val="75000"/>
                </a:schemeClr>
              </a:buClr>
              <a:buSzPct val="100000"/>
            </a:pPr>
            <a:r>
              <a:rPr lang="en-US" sz="1100" dirty="0">
                <a:ln>
                  <a:solidFill>
                    <a:srgbClr val="FFFFFF">
                      <a:alpha val="0"/>
                    </a:srgbClr>
                  </a:solidFill>
                </a:ln>
                <a:solidFill>
                  <a:srgbClr val="FFFFFF">
                    <a:alpha val="99000"/>
                  </a:srgbClr>
                </a:solidFill>
                <a:cs typeface="Segoe UI" pitchFamily="34" charset="0"/>
              </a:rPr>
              <a:t>Scale to multiple racks</a:t>
            </a:r>
          </a:p>
          <a:p>
            <a:pPr defTabSz="914045" fontAlgn="base">
              <a:lnSpc>
                <a:spcPct val="90000"/>
              </a:lnSpc>
              <a:spcBef>
                <a:spcPts val="630"/>
              </a:spcBef>
              <a:spcAft>
                <a:spcPct val="0"/>
              </a:spcAft>
              <a:buClr>
                <a:schemeClr val="bg2">
                  <a:lumMod val="75000"/>
                </a:schemeClr>
              </a:buClr>
              <a:buSzPct val="100000"/>
            </a:pPr>
            <a:endParaRPr lang="en-US" sz="1100" dirty="0">
              <a:ln>
                <a:solidFill>
                  <a:srgbClr val="FFFFFF">
                    <a:alpha val="0"/>
                  </a:srgbClr>
                </a:solidFill>
              </a:ln>
              <a:solidFill>
                <a:srgbClr val="FFFFFF">
                  <a:alpha val="99000"/>
                </a:srgbClr>
              </a:solidFill>
              <a:cs typeface="Segoe UI" pitchFamily="34" charset="0"/>
            </a:endParaRPr>
          </a:p>
        </p:txBody>
      </p:sp>
      <p:sp>
        <p:nvSpPr>
          <p:cNvPr id="11" name="Rectangle 10"/>
          <p:cNvSpPr/>
          <p:nvPr>
            <p:custDataLst>
              <p:tags r:id="rId2"/>
            </p:custDataLst>
          </p:nvPr>
        </p:nvSpPr>
        <p:spPr bwMode="auto">
          <a:xfrm>
            <a:off x="2389791" y="3371853"/>
            <a:ext cx="2136422" cy="1231430"/>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28" tIns="137172" rIns="91428" bIns="45714" numCol="1" rtlCol="0" anchor="t" anchorCtr="0" compatLnSpc="1">
            <a:prstTxWarp prst="textNoShape">
              <a:avLst/>
            </a:prstTxWarp>
            <a:noAutofit/>
          </a:bodyPr>
          <a:lstStyle/>
          <a:p>
            <a:pPr defTabSz="914045" fontAlgn="base">
              <a:lnSpc>
                <a:spcPct val="90000"/>
              </a:lnSpc>
              <a:spcBef>
                <a:spcPts val="630"/>
              </a:spcBef>
              <a:spcAft>
                <a:spcPct val="0"/>
              </a:spcAft>
              <a:buClr>
                <a:schemeClr val="bg2">
                  <a:lumMod val="75000"/>
                </a:schemeClr>
              </a:buClr>
              <a:buSzPct val="100000"/>
            </a:pPr>
            <a:r>
              <a:rPr lang="en-US" sz="1100" dirty="0">
                <a:ln>
                  <a:solidFill>
                    <a:srgbClr val="FFFFFF">
                      <a:alpha val="0"/>
                    </a:srgbClr>
                  </a:solidFill>
                </a:ln>
                <a:solidFill>
                  <a:srgbClr val="FFFFFF">
                    <a:alpha val="99000"/>
                  </a:srgbClr>
                </a:solidFill>
                <a:cs typeface="Segoe UI" pitchFamily="34" charset="0"/>
              </a:rPr>
              <a:t>All private cloud software installed at factory</a:t>
            </a:r>
          </a:p>
          <a:p>
            <a:pPr defTabSz="914045" fontAlgn="base">
              <a:lnSpc>
                <a:spcPct val="90000"/>
              </a:lnSpc>
              <a:spcBef>
                <a:spcPts val="630"/>
              </a:spcBef>
              <a:spcAft>
                <a:spcPct val="0"/>
              </a:spcAft>
              <a:buClr>
                <a:schemeClr val="bg2">
                  <a:lumMod val="75000"/>
                </a:schemeClr>
              </a:buClr>
              <a:buSzPct val="100000"/>
            </a:pPr>
            <a:r>
              <a:rPr lang="en-US" sz="1100" dirty="0">
                <a:ln>
                  <a:solidFill>
                    <a:srgbClr val="FFFFFF">
                      <a:alpha val="0"/>
                    </a:srgbClr>
                  </a:solidFill>
                </a:ln>
                <a:solidFill>
                  <a:srgbClr val="FFFFFF">
                    <a:alpha val="99000"/>
                  </a:srgbClr>
                </a:solidFill>
                <a:cs typeface="Segoe UI" pitchFamily="34" charset="0"/>
              </a:rPr>
              <a:t>Deep application insight </a:t>
            </a:r>
          </a:p>
          <a:p>
            <a:pPr defTabSz="914045" fontAlgn="base">
              <a:lnSpc>
                <a:spcPct val="90000"/>
              </a:lnSpc>
              <a:spcBef>
                <a:spcPts val="630"/>
              </a:spcBef>
              <a:spcAft>
                <a:spcPct val="0"/>
              </a:spcAft>
              <a:buClr>
                <a:schemeClr val="bg2">
                  <a:lumMod val="75000"/>
                </a:schemeClr>
              </a:buClr>
              <a:buSzPct val="100000"/>
            </a:pPr>
            <a:r>
              <a:rPr lang="en-US" sz="1100" dirty="0">
                <a:ln>
                  <a:solidFill>
                    <a:srgbClr val="FFFFFF">
                      <a:alpha val="0"/>
                    </a:srgbClr>
                  </a:solidFill>
                </a:ln>
                <a:solidFill>
                  <a:srgbClr val="FFFFFF">
                    <a:alpha val="99000"/>
                  </a:srgbClr>
                </a:solidFill>
                <a:cs typeface="Segoe UI" pitchFamily="34" charset="0"/>
              </a:rPr>
              <a:t>Single pane of glass to manage</a:t>
            </a:r>
          </a:p>
        </p:txBody>
      </p:sp>
      <p:sp>
        <p:nvSpPr>
          <p:cNvPr id="12" name="Rectangle 11"/>
          <p:cNvSpPr/>
          <p:nvPr>
            <p:custDataLst>
              <p:tags r:id="rId3"/>
            </p:custDataLst>
          </p:nvPr>
        </p:nvSpPr>
        <p:spPr bwMode="auto">
          <a:xfrm>
            <a:off x="4659548" y="3371853"/>
            <a:ext cx="2133600" cy="1231430"/>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28" tIns="137172" rIns="91428" bIns="45714" numCol="1" rtlCol="0" anchor="t" anchorCtr="0" compatLnSpc="1">
            <a:prstTxWarp prst="textNoShape">
              <a:avLst/>
            </a:prstTxWarp>
            <a:noAutofit/>
          </a:bodyPr>
          <a:lstStyle/>
          <a:p>
            <a:pPr defTabSz="914045" fontAlgn="base">
              <a:lnSpc>
                <a:spcPct val="90000"/>
              </a:lnSpc>
              <a:spcBef>
                <a:spcPts val="630"/>
              </a:spcBef>
              <a:spcAft>
                <a:spcPct val="0"/>
              </a:spcAft>
              <a:buClr>
                <a:schemeClr val="bg2">
                  <a:lumMod val="75000"/>
                </a:schemeClr>
              </a:buClr>
              <a:buSzPct val="100000"/>
            </a:pPr>
            <a:r>
              <a:rPr lang="en-US" sz="1100" dirty="0">
                <a:ln>
                  <a:solidFill>
                    <a:srgbClr val="FFFFFF">
                      <a:alpha val="0"/>
                    </a:srgbClr>
                  </a:solidFill>
                </a:ln>
                <a:solidFill>
                  <a:srgbClr val="FFFFFF">
                    <a:alpha val="99000"/>
                  </a:srgbClr>
                </a:solidFill>
                <a:cs typeface="Segoe UI" pitchFamily="34" charset="0"/>
              </a:rPr>
              <a:t>Load balancing based on IO</a:t>
            </a:r>
          </a:p>
          <a:p>
            <a:pPr defTabSz="914045" fontAlgn="base">
              <a:lnSpc>
                <a:spcPct val="90000"/>
              </a:lnSpc>
              <a:spcBef>
                <a:spcPts val="630"/>
              </a:spcBef>
              <a:spcAft>
                <a:spcPct val="0"/>
              </a:spcAft>
              <a:buClr>
                <a:schemeClr val="bg2">
                  <a:lumMod val="75000"/>
                </a:schemeClr>
              </a:buClr>
              <a:buSzPct val="100000"/>
            </a:pPr>
            <a:r>
              <a:rPr lang="en-US" sz="1100" dirty="0">
                <a:ln>
                  <a:solidFill>
                    <a:srgbClr val="FFFFFF">
                      <a:alpha val="0"/>
                    </a:srgbClr>
                  </a:solidFill>
                </a:ln>
                <a:solidFill>
                  <a:srgbClr val="FFFFFF">
                    <a:alpha val="99000"/>
                  </a:srgbClr>
                </a:solidFill>
                <a:cs typeface="Segoe UI" pitchFamily="34" charset="0"/>
              </a:rPr>
              <a:t>Unified appliance health monitoring</a:t>
            </a:r>
          </a:p>
          <a:p>
            <a:pPr defTabSz="914045" fontAlgn="base">
              <a:lnSpc>
                <a:spcPct val="90000"/>
              </a:lnSpc>
              <a:spcBef>
                <a:spcPts val="630"/>
              </a:spcBef>
              <a:spcAft>
                <a:spcPct val="0"/>
              </a:spcAft>
              <a:buClr>
                <a:schemeClr val="bg2">
                  <a:lumMod val="75000"/>
                </a:schemeClr>
              </a:buClr>
              <a:buSzPct val="100000"/>
            </a:pPr>
            <a:r>
              <a:rPr lang="en-US" sz="1100" dirty="0">
                <a:ln>
                  <a:solidFill>
                    <a:srgbClr val="FFFFFF">
                      <a:alpha val="0"/>
                    </a:srgbClr>
                  </a:solidFill>
                </a:ln>
                <a:solidFill>
                  <a:srgbClr val="FFFFFF">
                    <a:alpha val="99000"/>
                  </a:srgbClr>
                </a:solidFill>
                <a:cs typeface="Segoe UI" pitchFamily="34" charset="0"/>
              </a:rPr>
              <a:t>Optimization tools for private cloud</a:t>
            </a:r>
          </a:p>
        </p:txBody>
      </p:sp>
      <p:sp>
        <p:nvSpPr>
          <p:cNvPr id="13" name="Rectangle 12"/>
          <p:cNvSpPr/>
          <p:nvPr>
            <p:custDataLst>
              <p:tags r:id="rId4"/>
            </p:custDataLst>
          </p:nvPr>
        </p:nvSpPr>
        <p:spPr bwMode="auto">
          <a:xfrm>
            <a:off x="6929307" y="3371850"/>
            <a:ext cx="2133600" cy="1240218"/>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28" tIns="137172" rIns="91428" bIns="45714" numCol="1" rtlCol="0" anchor="t" anchorCtr="0" compatLnSpc="1">
            <a:prstTxWarp prst="textNoShape">
              <a:avLst/>
            </a:prstTxWarp>
            <a:noAutofit/>
          </a:bodyPr>
          <a:lstStyle/>
          <a:p>
            <a:pPr defTabSz="914045" fontAlgn="base">
              <a:lnSpc>
                <a:spcPct val="90000"/>
              </a:lnSpc>
              <a:spcBef>
                <a:spcPts val="630"/>
              </a:spcBef>
              <a:spcAft>
                <a:spcPct val="0"/>
              </a:spcAft>
              <a:buClr>
                <a:schemeClr val="bg2">
                  <a:lumMod val="75000"/>
                </a:schemeClr>
              </a:buClr>
              <a:buSzPct val="100000"/>
            </a:pPr>
            <a:r>
              <a:rPr lang="en-US" sz="1100" dirty="0">
                <a:ln>
                  <a:solidFill>
                    <a:srgbClr val="FFFFFF">
                      <a:alpha val="0"/>
                    </a:srgbClr>
                  </a:solidFill>
                </a:ln>
                <a:solidFill>
                  <a:srgbClr val="FFFFFF">
                    <a:alpha val="99000"/>
                  </a:srgbClr>
                </a:solidFill>
                <a:cs typeface="Segoe UI" pitchFamily="34" charset="0"/>
              </a:rPr>
              <a:t>For hardware and software</a:t>
            </a:r>
          </a:p>
          <a:p>
            <a:pPr defTabSz="914045" fontAlgn="base">
              <a:lnSpc>
                <a:spcPct val="90000"/>
              </a:lnSpc>
              <a:spcBef>
                <a:spcPts val="630"/>
              </a:spcBef>
              <a:spcAft>
                <a:spcPct val="0"/>
              </a:spcAft>
              <a:buClr>
                <a:schemeClr val="bg2">
                  <a:lumMod val="75000"/>
                </a:schemeClr>
              </a:buClr>
              <a:buSzPct val="100000"/>
            </a:pPr>
            <a:r>
              <a:rPr lang="en-US" sz="1100" dirty="0">
                <a:ln>
                  <a:solidFill>
                    <a:srgbClr val="FFFFFF">
                      <a:alpha val="0"/>
                    </a:srgbClr>
                  </a:solidFill>
                </a:ln>
                <a:solidFill>
                  <a:srgbClr val="FFFFFF">
                    <a:alpha val="99000"/>
                  </a:srgbClr>
                </a:solidFill>
                <a:cs typeface="Segoe UI" pitchFamily="34" charset="0"/>
              </a:rPr>
              <a:t>Microsoft Premier and Primer Mission Critical Support</a:t>
            </a:r>
          </a:p>
        </p:txBody>
      </p:sp>
      <p:sp>
        <p:nvSpPr>
          <p:cNvPr id="2" name="Title 1"/>
          <p:cNvSpPr>
            <a:spLocks noGrp="1"/>
          </p:cNvSpPr>
          <p:nvPr>
            <p:ph type="title"/>
          </p:nvPr>
        </p:nvSpPr>
        <p:spPr/>
        <p:txBody>
          <a:bodyPr>
            <a:normAutofit/>
          </a:bodyPr>
          <a:lstStyle/>
          <a:p>
            <a:r>
              <a:rPr lang="en-US" dirty="0"/>
              <a:t>Database Consolidation Appliance</a:t>
            </a:r>
            <a:endParaRPr lang="en-US" dirty="0">
              <a:solidFill>
                <a:schemeClr val="accent2">
                  <a:alpha val="99000"/>
                </a:schemeClr>
              </a:solidFill>
            </a:endParaRPr>
          </a:p>
        </p:txBody>
      </p:sp>
      <p:pic>
        <p:nvPicPr>
          <p:cNvPr id="23" name="SQL logo"/>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329298" y="4781555"/>
            <a:ext cx="1281301" cy="265013"/>
          </a:xfrm>
          <a:prstGeom prst="rect">
            <a:avLst/>
          </a:prstGeom>
        </p:spPr>
      </p:pic>
      <p:grpSp>
        <p:nvGrpSpPr>
          <p:cNvPr id="19" name="Group 18"/>
          <p:cNvGrpSpPr/>
          <p:nvPr/>
        </p:nvGrpSpPr>
        <p:grpSpPr>
          <a:xfrm>
            <a:off x="120035" y="1150317"/>
            <a:ext cx="2133600" cy="2130552"/>
            <a:chOff x="160003" y="1537791"/>
            <a:chExt cx="2844059" cy="2840736"/>
          </a:xfrm>
        </p:grpSpPr>
        <p:sp>
          <p:nvSpPr>
            <p:cNvPr id="6" name="Rectangle 5"/>
            <p:cNvSpPr/>
            <p:nvPr>
              <p:custDataLst>
                <p:tags r:id="rId8"/>
              </p:custDataLst>
            </p:nvPr>
          </p:nvSpPr>
          <p:spPr bwMode="auto">
            <a:xfrm>
              <a:off x="160003" y="1537791"/>
              <a:ext cx="2844059" cy="2840736"/>
            </a:xfrm>
            <a:prstGeom prst="rect">
              <a:avLst/>
            </a:prstGeom>
            <a:solidFill>
              <a:schemeClr val="accent4"/>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1371600" rIns="91440" bIns="45720" numCol="1" rtlCol="0" anchor="ctr" anchorCtr="0" compatLnSpc="1">
              <a:prstTxWarp prst="textNoShape">
                <a:avLst/>
              </a:prstTxWarp>
              <a:noAutofit/>
            </a:bodyPr>
            <a:lstStyle/>
            <a:p>
              <a:pPr algn="ctr" defTabSz="914045" fontAlgn="base">
                <a:lnSpc>
                  <a:spcPct val="90000"/>
                </a:lnSpc>
                <a:spcBef>
                  <a:spcPts val="630"/>
                </a:spcBef>
                <a:spcAft>
                  <a:spcPct val="0"/>
                </a:spcAft>
                <a:buClr>
                  <a:srgbClr val="FFFF99"/>
                </a:buClr>
                <a:buSzPct val="120000"/>
                <a:defRPr/>
              </a:pPr>
              <a:r>
                <a:rPr lang="en-US" dirty="0">
                  <a:ln>
                    <a:solidFill>
                      <a:srgbClr val="FFFFFF">
                        <a:alpha val="0"/>
                      </a:srgbClr>
                    </a:solidFill>
                  </a:ln>
                  <a:solidFill>
                    <a:srgbClr val="FFFFFF">
                      <a:alpha val="99000"/>
                    </a:srgbClr>
                  </a:solidFill>
                  <a:cs typeface="Segoe UI" pitchFamily="34" charset="0"/>
                </a:rPr>
                <a:t>Performance and scalability</a:t>
              </a:r>
            </a:p>
          </p:txBody>
        </p:sp>
        <p:grpSp>
          <p:nvGrpSpPr>
            <p:cNvPr id="14" name="Group 13"/>
            <p:cNvGrpSpPr>
              <a:grpSpLocks noChangeAspect="1"/>
            </p:cNvGrpSpPr>
            <p:nvPr/>
          </p:nvGrpSpPr>
          <p:grpSpPr>
            <a:xfrm>
              <a:off x="541999" y="1921172"/>
              <a:ext cx="2080066" cy="1097280"/>
              <a:chOff x="379413" y="1781429"/>
              <a:chExt cx="2418136" cy="1275619"/>
            </a:xfrm>
          </p:grpSpPr>
          <p:pic>
            <p:nvPicPr>
              <p:cNvPr id="42" name="Picture 41" descr="\\MAGNUM\Projects\Microsoft\Cloud Power FY12\Design\Icons\PNGs\Stop_watch.png"/>
              <p:cNvPicPr>
                <a:picLocks noChangeAspect="1" noChangeArrowheads="1"/>
              </p:cNvPicPr>
              <p:nvPr/>
            </p:nvPicPr>
            <p:blipFill>
              <a:blip r:embed="rId12" cstate="print">
                <a:lum bright="100000"/>
              </a:blip>
              <a:srcRect/>
              <a:stretch>
                <a:fillRect/>
              </a:stretch>
            </p:blipFill>
            <p:spPr bwMode="auto">
              <a:xfrm>
                <a:off x="379413" y="1781429"/>
                <a:ext cx="1275619" cy="1275619"/>
              </a:xfrm>
              <a:prstGeom prst="rect">
                <a:avLst/>
              </a:prstGeom>
              <a:noFill/>
            </p:spPr>
          </p:pic>
          <p:pic>
            <p:nvPicPr>
              <p:cNvPr id="43" name="Picture 42" descr="\\MAGNUM\Projects\Microsoft\Cloud Power FY12\Design\Icons\PNGs\Scalable_Elastic_4.png"/>
              <p:cNvPicPr>
                <a:picLocks noChangeAspect="1" noChangeArrowheads="1"/>
              </p:cNvPicPr>
              <p:nvPr/>
            </p:nvPicPr>
            <p:blipFill>
              <a:blip r:embed="rId13" cstate="print">
                <a:lum bright="100000"/>
              </a:blip>
              <a:srcRect/>
              <a:stretch>
                <a:fillRect/>
              </a:stretch>
            </p:blipFill>
            <p:spPr bwMode="auto">
              <a:xfrm>
                <a:off x="1528162" y="1784545"/>
                <a:ext cx="1269387" cy="1269387"/>
              </a:xfrm>
              <a:prstGeom prst="rect">
                <a:avLst/>
              </a:prstGeom>
              <a:noFill/>
            </p:spPr>
          </p:pic>
        </p:grpSp>
      </p:grpSp>
      <p:grpSp>
        <p:nvGrpSpPr>
          <p:cNvPr id="20" name="Group 19"/>
          <p:cNvGrpSpPr/>
          <p:nvPr/>
        </p:nvGrpSpPr>
        <p:grpSpPr>
          <a:xfrm>
            <a:off x="2389791" y="1150317"/>
            <a:ext cx="2133600" cy="2130552"/>
            <a:chOff x="3207208" y="1537791"/>
            <a:chExt cx="2844059" cy="2840736"/>
          </a:xfrm>
        </p:grpSpPr>
        <p:sp>
          <p:nvSpPr>
            <p:cNvPr id="7" name="Rectangle 6"/>
            <p:cNvSpPr/>
            <p:nvPr>
              <p:custDataLst>
                <p:tags r:id="rId7"/>
              </p:custDataLst>
            </p:nvPr>
          </p:nvSpPr>
          <p:spPr bwMode="auto">
            <a:xfrm>
              <a:off x="3207208" y="1537791"/>
              <a:ext cx="2844059" cy="2840736"/>
            </a:xfrm>
            <a:prstGeom prst="rect">
              <a:avLst/>
            </a:prstGeom>
            <a:solidFill>
              <a:schemeClr val="accent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1371600" rIns="91440" bIns="45720" numCol="1" rtlCol="0" anchor="ctr" anchorCtr="0" compatLnSpc="1">
              <a:prstTxWarp prst="textNoShape">
                <a:avLst/>
              </a:prstTxWarp>
              <a:noAutofit/>
            </a:bodyPr>
            <a:lstStyle/>
            <a:p>
              <a:pPr algn="ctr" defTabSz="914045" fontAlgn="base">
                <a:lnSpc>
                  <a:spcPct val="90000"/>
                </a:lnSpc>
                <a:spcBef>
                  <a:spcPts val="630"/>
                </a:spcBef>
                <a:spcAft>
                  <a:spcPct val="0"/>
                </a:spcAft>
                <a:buClr>
                  <a:srgbClr val="FFFF99"/>
                </a:buClr>
                <a:buSzPct val="120000"/>
              </a:pPr>
              <a:r>
                <a:rPr lang="nb-NO" dirty="0">
                  <a:ln>
                    <a:solidFill>
                      <a:srgbClr val="FFFFFF">
                        <a:alpha val="0"/>
                      </a:srgbClr>
                    </a:solidFill>
                  </a:ln>
                  <a:solidFill>
                    <a:srgbClr val="FFFFFF">
                      <a:alpha val="99000"/>
                    </a:srgbClr>
                  </a:solidFill>
                  <a:cs typeface="Segoe UI" pitchFamily="34" charset="0"/>
                </a:rPr>
                <a:t>Private cloud tuned for databases</a:t>
              </a:r>
            </a:p>
          </p:txBody>
        </p:sp>
        <p:grpSp>
          <p:nvGrpSpPr>
            <p:cNvPr id="15" name="Group 14"/>
            <p:cNvGrpSpPr>
              <a:grpSpLocks noChangeAspect="1"/>
            </p:cNvGrpSpPr>
            <p:nvPr/>
          </p:nvGrpSpPr>
          <p:grpSpPr>
            <a:xfrm>
              <a:off x="3373707" y="1646852"/>
              <a:ext cx="2564849" cy="1645920"/>
              <a:chOff x="3310871" y="1826638"/>
              <a:chExt cx="2707341" cy="1737360"/>
            </a:xfrm>
          </p:grpSpPr>
          <p:pic>
            <p:nvPicPr>
              <p:cNvPr id="44" name="Picture 43" descr="\\MAGNUM\Projects\Microsoft\Cloud Power FY12\Design\ICONS_PNG\Private_Cloud.png"/>
              <p:cNvPicPr>
                <a:picLocks noChangeAspect="1" noChangeArrowheads="1"/>
              </p:cNvPicPr>
              <p:nvPr/>
            </p:nvPicPr>
            <p:blipFill>
              <a:blip r:embed="rId14" cstate="print">
                <a:lum bright="100000"/>
              </a:blip>
              <a:srcRect/>
              <a:stretch>
                <a:fillRect/>
              </a:stretch>
            </p:blipFill>
            <p:spPr bwMode="auto">
              <a:xfrm>
                <a:off x="3310871" y="1826638"/>
                <a:ext cx="1737360" cy="1737360"/>
              </a:xfrm>
              <a:prstGeom prst="rect">
                <a:avLst/>
              </a:prstGeom>
              <a:noFill/>
            </p:spPr>
          </p:pic>
          <p:pic>
            <p:nvPicPr>
              <p:cNvPr id="45" name="Picture 44" descr="C:\Users\mitchellg\AppData\Local\Microsoft\Windows\Temporary Internet Files\Content.Outlook\DRES7FCJ\Storage_white (2).png"/>
              <p:cNvPicPr>
                <a:picLocks noChangeAspect="1" noChangeArrowheads="1"/>
              </p:cNvPicPr>
              <p:nvPr/>
            </p:nvPicPr>
            <p:blipFill>
              <a:blip r:embed="rId15" cstate="print">
                <a:lum bright="100000"/>
              </a:blip>
              <a:srcRect/>
              <a:stretch>
                <a:fillRect/>
              </a:stretch>
            </p:blipFill>
            <p:spPr bwMode="auto">
              <a:xfrm>
                <a:off x="4738052" y="2055238"/>
                <a:ext cx="1280160" cy="1280160"/>
              </a:xfrm>
              <a:prstGeom prst="rect">
                <a:avLst/>
              </a:prstGeom>
              <a:noFill/>
            </p:spPr>
          </p:pic>
        </p:grpSp>
      </p:grpSp>
      <p:grpSp>
        <p:nvGrpSpPr>
          <p:cNvPr id="64" name="Group 63"/>
          <p:cNvGrpSpPr/>
          <p:nvPr/>
        </p:nvGrpSpPr>
        <p:grpSpPr>
          <a:xfrm>
            <a:off x="4659548" y="1150317"/>
            <a:ext cx="2133600" cy="2130552"/>
            <a:chOff x="6248568" y="1533756"/>
            <a:chExt cx="2844059" cy="2840736"/>
          </a:xfrm>
        </p:grpSpPr>
        <p:sp>
          <p:nvSpPr>
            <p:cNvPr id="8" name="Rectangle 7"/>
            <p:cNvSpPr/>
            <p:nvPr>
              <p:custDataLst>
                <p:tags r:id="rId6"/>
              </p:custDataLst>
            </p:nvPr>
          </p:nvSpPr>
          <p:spPr bwMode="auto">
            <a:xfrm>
              <a:off x="6248568" y="1533756"/>
              <a:ext cx="2844059" cy="2840736"/>
            </a:xfrm>
            <a:prstGeom prst="rect">
              <a:avLst/>
            </a:prstGeom>
            <a:solidFill>
              <a:schemeClr val="accent1"/>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1371600" rIns="91440" bIns="45720" numCol="1" rtlCol="0" anchor="ctr" anchorCtr="0" compatLnSpc="1">
              <a:prstTxWarp prst="textNoShape">
                <a:avLst/>
              </a:prstTxWarp>
              <a:noAutofit/>
            </a:bodyPr>
            <a:lstStyle/>
            <a:p>
              <a:pPr algn="ctr" defTabSz="914045" fontAlgn="base">
                <a:lnSpc>
                  <a:spcPct val="90000"/>
                </a:lnSpc>
                <a:spcBef>
                  <a:spcPts val="630"/>
                </a:spcBef>
                <a:spcAft>
                  <a:spcPct val="0"/>
                </a:spcAft>
                <a:buClr>
                  <a:srgbClr val="FFFF99"/>
                </a:buClr>
                <a:buSzPct val="120000"/>
              </a:pPr>
              <a:r>
                <a:rPr lang="en-US" dirty="0">
                  <a:ln>
                    <a:solidFill>
                      <a:srgbClr val="FFFFFF">
                        <a:alpha val="0"/>
                      </a:srgbClr>
                    </a:solidFill>
                  </a:ln>
                  <a:solidFill>
                    <a:srgbClr val="FFFFFF">
                      <a:alpha val="99000"/>
                    </a:srgbClr>
                  </a:solidFill>
                  <a:cs typeface="Segoe UI" pitchFamily="34" charset="0"/>
                </a:rPr>
                <a:t>Unique appliance features</a:t>
              </a:r>
            </a:p>
          </p:txBody>
        </p:sp>
        <p:grpSp>
          <p:nvGrpSpPr>
            <p:cNvPr id="16" name="Group 15"/>
            <p:cNvGrpSpPr>
              <a:grpSpLocks noChangeAspect="1"/>
            </p:cNvGrpSpPr>
            <p:nvPr/>
          </p:nvGrpSpPr>
          <p:grpSpPr>
            <a:xfrm>
              <a:off x="6596901" y="1623992"/>
              <a:ext cx="1905346" cy="1691640"/>
              <a:chOff x="6429710" y="1631316"/>
              <a:chExt cx="2001115" cy="1776667"/>
            </a:xfrm>
          </p:grpSpPr>
          <p:pic>
            <p:nvPicPr>
              <p:cNvPr id="46" name="Picture 45" descr="\\MAGNUM\Projects\Microsoft\Cloud Power FY12\Design\Icons\PNGs\Server_2.png"/>
              <p:cNvPicPr>
                <a:picLocks noChangeAspect="1" noChangeArrowheads="1"/>
              </p:cNvPicPr>
              <p:nvPr/>
            </p:nvPicPr>
            <p:blipFill>
              <a:blip r:embed="rId16" cstate="print">
                <a:lum bright="100000"/>
              </a:blip>
              <a:srcRect/>
              <a:stretch>
                <a:fillRect/>
              </a:stretch>
            </p:blipFill>
            <p:spPr bwMode="auto">
              <a:xfrm>
                <a:off x="6429710" y="1631316"/>
                <a:ext cx="1776667" cy="1776667"/>
              </a:xfrm>
              <a:prstGeom prst="rect">
                <a:avLst/>
              </a:prstGeom>
              <a:noFill/>
            </p:spPr>
          </p:pic>
          <p:pic>
            <p:nvPicPr>
              <p:cNvPr id="47" name="Picture 46" descr="\\MAGNUM\Projects\Microsoft\Cloud Power FY12\Design\ICONS_PNG\Check_mark.png"/>
              <p:cNvPicPr>
                <a:picLocks noChangeAspect="1" noChangeArrowheads="1"/>
              </p:cNvPicPr>
              <p:nvPr/>
            </p:nvPicPr>
            <p:blipFill>
              <a:blip r:embed="rId17" cstate="print">
                <a:lum bright="100000"/>
              </a:blip>
              <a:srcRect/>
              <a:stretch>
                <a:fillRect/>
              </a:stretch>
            </p:blipFill>
            <p:spPr bwMode="auto">
              <a:xfrm>
                <a:off x="7670597" y="2184694"/>
                <a:ext cx="760228" cy="760228"/>
              </a:xfrm>
              <a:prstGeom prst="rect">
                <a:avLst/>
              </a:prstGeom>
              <a:noFill/>
            </p:spPr>
          </p:pic>
        </p:grpSp>
      </p:grpSp>
      <p:grpSp>
        <p:nvGrpSpPr>
          <p:cNvPr id="65" name="Group 64"/>
          <p:cNvGrpSpPr/>
          <p:nvPr/>
        </p:nvGrpSpPr>
        <p:grpSpPr>
          <a:xfrm>
            <a:off x="6929307" y="1150317"/>
            <a:ext cx="2133600" cy="2130552"/>
            <a:chOff x="9236668" y="1539195"/>
            <a:chExt cx="2844059" cy="2840736"/>
          </a:xfrm>
        </p:grpSpPr>
        <p:sp>
          <p:nvSpPr>
            <p:cNvPr id="9" name="Rectangle 8"/>
            <p:cNvSpPr/>
            <p:nvPr>
              <p:custDataLst>
                <p:tags r:id="rId5"/>
              </p:custDataLst>
            </p:nvPr>
          </p:nvSpPr>
          <p:spPr bwMode="auto">
            <a:xfrm>
              <a:off x="9236668" y="1539195"/>
              <a:ext cx="2844059" cy="2840736"/>
            </a:xfrm>
            <a:prstGeom prst="rect">
              <a:avLst/>
            </a:prstGeom>
            <a:solidFill>
              <a:schemeClr val="accent3"/>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1371600" rIns="91440" bIns="45720" numCol="1" rtlCol="0" anchor="ctr" anchorCtr="0" compatLnSpc="1">
              <a:prstTxWarp prst="textNoShape">
                <a:avLst/>
              </a:prstTxWarp>
              <a:noAutofit/>
            </a:bodyPr>
            <a:lstStyle/>
            <a:p>
              <a:pPr algn="ctr" defTabSz="914045" fontAlgn="base">
                <a:lnSpc>
                  <a:spcPct val="90000"/>
                </a:lnSpc>
                <a:spcBef>
                  <a:spcPts val="630"/>
                </a:spcBef>
                <a:spcAft>
                  <a:spcPct val="0"/>
                </a:spcAft>
                <a:buClr>
                  <a:srgbClr val="FFFF99"/>
                </a:buClr>
                <a:buSzPct val="120000"/>
              </a:pPr>
              <a:r>
                <a:rPr lang="en-US" dirty="0">
                  <a:ln>
                    <a:solidFill>
                      <a:srgbClr val="FFFFFF">
                        <a:alpha val="0"/>
                      </a:srgbClr>
                    </a:solidFill>
                  </a:ln>
                  <a:solidFill>
                    <a:srgbClr val="FFFFFF">
                      <a:alpha val="99000"/>
                    </a:srgbClr>
                  </a:solidFill>
                  <a:cs typeface="Segoe UI" pitchFamily="34" charset="0"/>
                </a:rPr>
                <a:t>Single point of support</a:t>
              </a:r>
            </a:p>
          </p:txBody>
        </p:sp>
        <p:pic>
          <p:nvPicPr>
            <p:cNvPr id="48" name="Picture 47" descr="\\MAGNUM\Projects\Microsoft\Cloud Power FY12\Design\ICONS_PNG\Flexible_Workspace.png"/>
            <p:cNvPicPr>
              <a:picLocks noChangeAspect="1" noChangeArrowheads="1"/>
            </p:cNvPicPr>
            <p:nvPr/>
          </p:nvPicPr>
          <p:blipFill>
            <a:blip r:embed="rId18" cstate="print">
              <a:lum bright="100000"/>
            </a:blip>
            <a:srcRect r="63636"/>
            <a:stretch>
              <a:fillRect/>
            </a:stretch>
          </p:blipFill>
          <p:spPr bwMode="auto">
            <a:xfrm>
              <a:off x="10326185" y="1555412"/>
              <a:ext cx="665025" cy="1828800"/>
            </a:xfrm>
            <a:prstGeom prst="rect">
              <a:avLst/>
            </a:prstGeom>
            <a:noFill/>
            <a:ln>
              <a:noFill/>
            </a:ln>
          </p:spPr>
        </p:pic>
      </p:grpSp>
      <p:sp>
        <p:nvSpPr>
          <p:cNvPr id="26"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7"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9"/>
              </a:rPr>
              <a:t>www.rapidbbs.cn</a:t>
            </a:r>
            <a:endParaRPr lang="zh-CN" altLang="en-US" sz="1200" b="0">
              <a:latin typeface="Arial" charset="0"/>
              <a:ea typeface="ＭＳ Ｐゴシック" pitchFamily="34" charset="-128"/>
            </a:endParaRPr>
          </a:p>
        </p:txBody>
      </p:sp>
      <p:pic>
        <p:nvPicPr>
          <p:cNvPr id="28" name="Picture 2">
            <a:hlinkClick r:id="rId19"/>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 name="Picture 2">
            <a:hlinkClick r:id="rId19"/>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143000" y="2804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55998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additive="base">
                                        <p:cTn id="7" dur="1000" fill="hold"/>
                                        <p:tgtEl>
                                          <p:spTgt spid="19"/>
                                        </p:tgtEl>
                                        <p:attrNameLst>
                                          <p:attrName>ppt_x</p:attrName>
                                        </p:attrNameLst>
                                      </p:cBhvr>
                                      <p:tavLst>
                                        <p:tav tm="0">
                                          <p:val>
                                            <p:strVal val="#ppt_x"/>
                                          </p:val>
                                        </p:tav>
                                        <p:tav tm="100000">
                                          <p:val>
                                            <p:strVal val="#ppt_x"/>
                                          </p:val>
                                        </p:tav>
                                      </p:tavLst>
                                    </p:anim>
                                    <p:anim calcmode="lin" valueType="num">
                                      <p:cBhvr additive="base">
                                        <p:cTn id="8" dur="1000" fill="hold"/>
                                        <p:tgtEl>
                                          <p:spTgt spid="19"/>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1000" fill="hold"/>
                                        <p:tgtEl>
                                          <p:spTgt spid="10"/>
                                        </p:tgtEl>
                                        <p:attrNameLst>
                                          <p:attrName>ppt_x</p:attrName>
                                        </p:attrNameLst>
                                      </p:cBhvr>
                                      <p:tavLst>
                                        <p:tav tm="0">
                                          <p:val>
                                            <p:strVal val="#ppt_x"/>
                                          </p:val>
                                        </p:tav>
                                        <p:tav tm="100000">
                                          <p:val>
                                            <p:strVal val="#ppt_x"/>
                                          </p:val>
                                        </p:tav>
                                      </p:tavLst>
                                    </p:anim>
                                    <p:anim calcmode="lin" valueType="num">
                                      <p:cBhvr additive="base">
                                        <p:cTn id="12" dur="1000" fill="hold"/>
                                        <p:tgtEl>
                                          <p:spTgt spid="10"/>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250"/>
                                  </p:stCondLst>
                                  <p:childTnLst>
                                    <p:set>
                                      <p:cBhvr>
                                        <p:cTn id="14" dur="1" fill="hold">
                                          <p:stCondLst>
                                            <p:cond delay="0"/>
                                          </p:stCondLst>
                                        </p:cTn>
                                        <p:tgtEl>
                                          <p:spTgt spid="20"/>
                                        </p:tgtEl>
                                        <p:attrNameLst>
                                          <p:attrName>style.visibility</p:attrName>
                                        </p:attrNameLst>
                                      </p:cBhvr>
                                      <p:to>
                                        <p:strVal val="visible"/>
                                      </p:to>
                                    </p:set>
                                    <p:anim calcmode="lin" valueType="num">
                                      <p:cBhvr additive="base">
                                        <p:cTn id="15" dur="1000" fill="hold"/>
                                        <p:tgtEl>
                                          <p:spTgt spid="20"/>
                                        </p:tgtEl>
                                        <p:attrNameLst>
                                          <p:attrName>ppt_x</p:attrName>
                                        </p:attrNameLst>
                                      </p:cBhvr>
                                      <p:tavLst>
                                        <p:tav tm="0">
                                          <p:val>
                                            <p:strVal val="#ppt_x"/>
                                          </p:val>
                                        </p:tav>
                                        <p:tav tm="100000">
                                          <p:val>
                                            <p:strVal val="#ppt_x"/>
                                          </p:val>
                                        </p:tav>
                                      </p:tavLst>
                                    </p:anim>
                                    <p:anim calcmode="lin" valueType="num">
                                      <p:cBhvr additive="base">
                                        <p:cTn id="16" dur="1000" fill="hold"/>
                                        <p:tgtEl>
                                          <p:spTgt spid="20"/>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250"/>
                                  </p:stCondLst>
                                  <p:childTnLst>
                                    <p:set>
                                      <p:cBhvr>
                                        <p:cTn id="18" dur="1" fill="hold">
                                          <p:stCondLst>
                                            <p:cond delay="0"/>
                                          </p:stCondLst>
                                        </p:cTn>
                                        <p:tgtEl>
                                          <p:spTgt spid="11"/>
                                        </p:tgtEl>
                                        <p:attrNameLst>
                                          <p:attrName>style.visibility</p:attrName>
                                        </p:attrNameLst>
                                      </p:cBhvr>
                                      <p:to>
                                        <p:strVal val="visible"/>
                                      </p:to>
                                    </p:set>
                                    <p:anim calcmode="lin" valueType="num">
                                      <p:cBhvr additive="base">
                                        <p:cTn id="19" dur="1000" fill="hold"/>
                                        <p:tgtEl>
                                          <p:spTgt spid="11"/>
                                        </p:tgtEl>
                                        <p:attrNameLst>
                                          <p:attrName>ppt_x</p:attrName>
                                        </p:attrNameLst>
                                      </p:cBhvr>
                                      <p:tavLst>
                                        <p:tav tm="0">
                                          <p:val>
                                            <p:strVal val="#ppt_x"/>
                                          </p:val>
                                        </p:tav>
                                        <p:tav tm="100000">
                                          <p:val>
                                            <p:strVal val="#ppt_x"/>
                                          </p:val>
                                        </p:tav>
                                      </p:tavLst>
                                    </p:anim>
                                    <p:anim calcmode="lin" valueType="num">
                                      <p:cBhvr additive="base">
                                        <p:cTn id="20" dur="1000" fill="hold"/>
                                        <p:tgtEl>
                                          <p:spTgt spid="11"/>
                                        </p:tgtEl>
                                        <p:attrNameLst>
                                          <p:attrName>ppt_y</p:attrName>
                                        </p:attrNameLst>
                                      </p:cBhvr>
                                      <p:tavLst>
                                        <p:tav tm="0">
                                          <p:val>
                                            <p:strVal val="1+#ppt_h/2"/>
                                          </p:val>
                                        </p:tav>
                                        <p:tav tm="100000">
                                          <p:val>
                                            <p:strVal val="#ppt_y"/>
                                          </p:val>
                                        </p:tav>
                                      </p:tavLst>
                                    </p:anim>
                                  </p:childTnLst>
                                </p:cTn>
                              </p:par>
                              <p:par>
                                <p:cTn id="21" presetID="2" presetClass="entr" presetSubtype="4" decel="100000" fill="hold" nodeType="withEffect">
                                  <p:stCondLst>
                                    <p:cond delay="500"/>
                                  </p:stCondLst>
                                  <p:childTnLst>
                                    <p:set>
                                      <p:cBhvr>
                                        <p:cTn id="22" dur="1" fill="hold">
                                          <p:stCondLst>
                                            <p:cond delay="0"/>
                                          </p:stCondLst>
                                        </p:cTn>
                                        <p:tgtEl>
                                          <p:spTgt spid="64"/>
                                        </p:tgtEl>
                                        <p:attrNameLst>
                                          <p:attrName>style.visibility</p:attrName>
                                        </p:attrNameLst>
                                      </p:cBhvr>
                                      <p:to>
                                        <p:strVal val="visible"/>
                                      </p:to>
                                    </p:set>
                                    <p:anim calcmode="lin" valueType="num">
                                      <p:cBhvr additive="base">
                                        <p:cTn id="23" dur="1000" fill="hold"/>
                                        <p:tgtEl>
                                          <p:spTgt spid="64"/>
                                        </p:tgtEl>
                                        <p:attrNameLst>
                                          <p:attrName>ppt_x</p:attrName>
                                        </p:attrNameLst>
                                      </p:cBhvr>
                                      <p:tavLst>
                                        <p:tav tm="0">
                                          <p:val>
                                            <p:strVal val="#ppt_x"/>
                                          </p:val>
                                        </p:tav>
                                        <p:tav tm="100000">
                                          <p:val>
                                            <p:strVal val="#ppt_x"/>
                                          </p:val>
                                        </p:tav>
                                      </p:tavLst>
                                    </p:anim>
                                    <p:anim calcmode="lin" valueType="num">
                                      <p:cBhvr additive="base">
                                        <p:cTn id="24" dur="1000" fill="hold"/>
                                        <p:tgtEl>
                                          <p:spTgt spid="64"/>
                                        </p:tgtEl>
                                        <p:attrNameLst>
                                          <p:attrName>ppt_y</p:attrName>
                                        </p:attrNameLst>
                                      </p:cBhvr>
                                      <p:tavLst>
                                        <p:tav tm="0">
                                          <p:val>
                                            <p:strVal val="1+#ppt_h/2"/>
                                          </p:val>
                                        </p:tav>
                                        <p:tav tm="100000">
                                          <p:val>
                                            <p:strVal val="#ppt_y"/>
                                          </p:val>
                                        </p:tav>
                                      </p:tavLst>
                                    </p:anim>
                                  </p:childTnLst>
                                </p:cTn>
                              </p:par>
                              <p:par>
                                <p:cTn id="25" presetID="2" presetClass="entr" presetSubtype="4" decel="100000" fill="hold" grpId="0" nodeType="withEffect">
                                  <p:stCondLst>
                                    <p:cond delay="50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1000" fill="hold"/>
                                        <p:tgtEl>
                                          <p:spTgt spid="12"/>
                                        </p:tgtEl>
                                        <p:attrNameLst>
                                          <p:attrName>ppt_x</p:attrName>
                                        </p:attrNameLst>
                                      </p:cBhvr>
                                      <p:tavLst>
                                        <p:tav tm="0">
                                          <p:val>
                                            <p:strVal val="#ppt_x"/>
                                          </p:val>
                                        </p:tav>
                                        <p:tav tm="100000">
                                          <p:val>
                                            <p:strVal val="#ppt_x"/>
                                          </p:val>
                                        </p:tav>
                                      </p:tavLst>
                                    </p:anim>
                                    <p:anim calcmode="lin" valueType="num">
                                      <p:cBhvr additive="base">
                                        <p:cTn id="28" dur="1000" fill="hold"/>
                                        <p:tgtEl>
                                          <p:spTgt spid="12"/>
                                        </p:tgtEl>
                                        <p:attrNameLst>
                                          <p:attrName>ppt_y</p:attrName>
                                        </p:attrNameLst>
                                      </p:cBhvr>
                                      <p:tavLst>
                                        <p:tav tm="0">
                                          <p:val>
                                            <p:strVal val="1+#ppt_h/2"/>
                                          </p:val>
                                        </p:tav>
                                        <p:tav tm="100000">
                                          <p:val>
                                            <p:strVal val="#ppt_y"/>
                                          </p:val>
                                        </p:tav>
                                      </p:tavLst>
                                    </p:anim>
                                  </p:childTnLst>
                                </p:cTn>
                              </p:par>
                              <p:par>
                                <p:cTn id="29" presetID="2" presetClass="entr" presetSubtype="4" decel="100000" fill="hold" nodeType="withEffect">
                                  <p:stCondLst>
                                    <p:cond delay="750"/>
                                  </p:stCondLst>
                                  <p:childTnLst>
                                    <p:set>
                                      <p:cBhvr>
                                        <p:cTn id="30" dur="1" fill="hold">
                                          <p:stCondLst>
                                            <p:cond delay="0"/>
                                          </p:stCondLst>
                                        </p:cTn>
                                        <p:tgtEl>
                                          <p:spTgt spid="65"/>
                                        </p:tgtEl>
                                        <p:attrNameLst>
                                          <p:attrName>style.visibility</p:attrName>
                                        </p:attrNameLst>
                                      </p:cBhvr>
                                      <p:to>
                                        <p:strVal val="visible"/>
                                      </p:to>
                                    </p:set>
                                    <p:anim calcmode="lin" valueType="num">
                                      <p:cBhvr additive="base">
                                        <p:cTn id="31" dur="1000" fill="hold"/>
                                        <p:tgtEl>
                                          <p:spTgt spid="65"/>
                                        </p:tgtEl>
                                        <p:attrNameLst>
                                          <p:attrName>ppt_x</p:attrName>
                                        </p:attrNameLst>
                                      </p:cBhvr>
                                      <p:tavLst>
                                        <p:tav tm="0">
                                          <p:val>
                                            <p:strVal val="#ppt_x"/>
                                          </p:val>
                                        </p:tav>
                                        <p:tav tm="100000">
                                          <p:val>
                                            <p:strVal val="#ppt_x"/>
                                          </p:val>
                                        </p:tav>
                                      </p:tavLst>
                                    </p:anim>
                                    <p:anim calcmode="lin" valueType="num">
                                      <p:cBhvr additive="base">
                                        <p:cTn id="32" dur="1000" fill="hold"/>
                                        <p:tgtEl>
                                          <p:spTgt spid="65"/>
                                        </p:tgtEl>
                                        <p:attrNameLst>
                                          <p:attrName>ppt_y</p:attrName>
                                        </p:attrNameLst>
                                      </p:cBhvr>
                                      <p:tavLst>
                                        <p:tav tm="0">
                                          <p:val>
                                            <p:strVal val="1+#ppt_h/2"/>
                                          </p:val>
                                        </p:tav>
                                        <p:tav tm="100000">
                                          <p:val>
                                            <p:strVal val="#ppt_y"/>
                                          </p:val>
                                        </p:tav>
                                      </p:tavLst>
                                    </p:anim>
                                  </p:childTnLst>
                                </p:cTn>
                              </p:par>
                              <p:par>
                                <p:cTn id="33" presetID="2" presetClass="entr" presetSubtype="4" decel="100000" fill="hold" grpId="0" nodeType="withEffect">
                                  <p:stCondLst>
                                    <p:cond delay="750"/>
                                  </p:stCondLst>
                                  <p:childTnLst>
                                    <p:set>
                                      <p:cBhvr>
                                        <p:cTn id="34" dur="1" fill="hold">
                                          <p:stCondLst>
                                            <p:cond delay="0"/>
                                          </p:stCondLst>
                                        </p:cTn>
                                        <p:tgtEl>
                                          <p:spTgt spid="13"/>
                                        </p:tgtEl>
                                        <p:attrNameLst>
                                          <p:attrName>style.visibility</p:attrName>
                                        </p:attrNameLst>
                                      </p:cBhvr>
                                      <p:to>
                                        <p:strVal val="visible"/>
                                      </p:to>
                                    </p:set>
                                    <p:anim calcmode="lin" valueType="num">
                                      <p:cBhvr additive="base">
                                        <p:cTn id="35" dur="1000" fill="hold"/>
                                        <p:tgtEl>
                                          <p:spTgt spid="13"/>
                                        </p:tgtEl>
                                        <p:attrNameLst>
                                          <p:attrName>ppt_x</p:attrName>
                                        </p:attrNameLst>
                                      </p:cBhvr>
                                      <p:tavLst>
                                        <p:tav tm="0">
                                          <p:val>
                                            <p:strVal val="#ppt_x"/>
                                          </p:val>
                                        </p:tav>
                                        <p:tav tm="100000">
                                          <p:val>
                                            <p:strVal val="#ppt_x"/>
                                          </p:val>
                                        </p:tav>
                                      </p:tavLst>
                                    </p:anim>
                                    <p:anim calcmode="lin" valueType="num">
                                      <p:cBhvr additive="base">
                                        <p:cTn id="36" dur="10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SK 2"/>
          <p:cNvSpPr/>
          <p:nvPr/>
        </p:nvSpPr>
        <p:spPr>
          <a:xfrm>
            <a:off x="0" y="1"/>
            <a:ext cx="9144000" cy="36858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endParaRPr lang="en-US"/>
          </a:p>
        </p:txBody>
      </p:sp>
      <p:grpSp>
        <p:nvGrpSpPr>
          <p:cNvPr id="4" name="Group 3"/>
          <p:cNvGrpSpPr/>
          <p:nvPr/>
        </p:nvGrpSpPr>
        <p:grpSpPr>
          <a:xfrm>
            <a:off x="112657" y="3622790"/>
            <a:ext cx="8929462" cy="1250295"/>
            <a:chOff x="150170" y="4830384"/>
            <a:chExt cx="11902849" cy="1667059"/>
          </a:xfrm>
        </p:grpSpPr>
        <p:sp>
          <p:nvSpPr>
            <p:cNvPr id="27" name="Rectangle 26"/>
            <p:cNvSpPr/>
            <p:nvPr>
              <p:custDataLst>
                <p:tags r:id="rId5"/>
              </p:custDataLst>
            </p:nvPr>
          </p:nvSpPr>
          <p:spPr bwMode="auto">
            <a:xfrm>
              <a:off x="150170" y="4914494"/>
              <a:ext cx="11902849" cy="1508760"/>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4114800" tIns="182880" rIns="121893" bIns="60947" numCol="1" rtlCol="0" anchor="t" anchorCtr="0" compatLnSpc="1">
              <a:prstTxWarp prst="textNoShape">
                <a:avLst/>
              </a:prstTxWarp>
              <a:noAutofit/>
            </a:bodyPr>
            <a:lstStyle/>
            <a:p>
              <a:pPr defTabSz="914045" fontAlgn="base">
                <a:lnSpc>
                  <a:spcPct val="90000"/>
                </a:lnSpc>
                <a:spcBef>
                  <a:spcPts val="630"/>
                </a:spcBef>
                <a:spcAft>
                  <a:spcPct val="0"/>
                </a:spcAft>
                <a:buClr>
                  <a:schemeClr val="bg2">
                    <a:lumMod val="75000"/>
                  </a:schemeClr>
                </a:buClr>
                <a:buSzPct val="100000"/>
              </a:pPr>
              <a:r>
                <a:rPr lang="en-US" dirty="0">
                  <a:solidFill>
                    <a:schemeClr val="bg1"/>
                  </a:solidFill>
                  <a:latin typeface="Segoe UI" pitchFamily="34" charset="0"/>
                  <a:cs typeface="Segoe UI" pitchFamily="34" charset="0"/>
                </a:rPr>
                <a:t>Drive Green IT:</a:t>
              </a:r>
            </a:p>
          </p:txBody>
        </p:sp>
        <p:sp>
          <p:nvSpPr>
            <p:cNvPr id="47" name="Rectangle 46"/>
            <p:cNvSpPr/>
            <p:nvPr/>
          </p:nvSpPr>
          <p:spPr>
            <a:xfrm>
              <a:off x="2296700" y="5661808"/>
              <a:ext cx="1051181" cy="615553"/>
            </a:xfrm>
            <a:prstGeom prst="rect">
              <a:avLst/>
            </a:prstGeom>
          </p:spPr>
          <p:txBody>
            <a:bodyPr wrap="square">
              <a:spAutoFit/>
            </a:bodyPr>
            <a:lstStyle/>
            <a:p>
              <a:r>
                <a:rPr lang="en-US" sz="1200" dirty="0">
                  <a:solidFill>
                    <a:schemeClr val="bg1"/>
                  </a:solidFill>
                </a:rPr>
                <a:t>in the first year</a:t>
              </a:r>
            </a:p>
          </p:txBody>
        </p:sp>
        <p:sp>
          <p:nvSpPr>
            <p:cNvPr id="49" name="Rectangle 48"/>
            <p:cNvSpPr/>
            <p:nvPr/>
          </p:nvSpPr>
          <p:spPr>
            <a:xfrm>
              <a:off x="177968" y="5101405"/>
              <a:ext cx="3199060" cy="1369692"/>
            </a:xfrm>
            <a:prstGeom prst="rect">
              <a:avLst/>
            </a:prstGeom>
          </p:spPr>
          <p:txBody>
            <a:bodyPr wrap="square">
              <a:spAutoFit/>
            </a:bodyPr>
            <a:lstStyle/>
            <a:p>
              <a:pPr>
                <a:lnSpc>
                  <a:spcPct val="67000"/>
                </a:lnSpc>
                <a:spcAft>
                  <a:spcPts val="1125"/>
                </a:spcAft>
              </a:pPr>
              <a:r>
                <a:rPr lang="en-US" dirty="0">
                  <a:solidFill>
                    <a:schemeClr val="bg1"/>
                  </a:solidFill>
                  <a:latin typeface="Segoe UI" pitchFamily="34" charset="0"/>
                  <a:cs typeface="Segoe UI" pitchFamily="34" charset="0"/>
                </a:rPr>
                <a:t> REDUCE COST</a:t>
              </a:r>
            </a:p>
            <a:p>
              <a:pPr>
                <a:lnSpc>
                  <a:spcPct val="67000"/>
                </a:lnSpc>
                <a:spcAft>
                  <a:spcPts val="900"/>
                </a:spcAft>
              </a:pPr>
              <a:r>
                <a:rPr lang="en-US" sz="6300" b="1" spc="-225" dirty="0">
                  <a:solidFill>
                    <a:schemeClr val="bg1"/>
                  </a:solidFill>
                  <a:latin typeface="Segoe UI Semibold" pitchFamily="34" charset="0"/>
                </a:rPr>
                <a:t>35%</a:t>
              </a:r>
            </a:p>
          </p:txBody>
        </p:sp>
        <p:pic>
          <p:nvPicPr>
            <p:cNvPr id="51" name="Picture 50" descr="\\MAGNUM\Projects\Microsoft\Cloud Power FY12\Design\Icons\PNGs\Public_Cloud_Productivity.png"/>
            <p:cNvPicPr>
              <a:picLocks noChangeAspect="1" noChangeArrowheads="1"/>
            </p:cNvPicPr>
            <p:nvPr/>
          </p:nvPicPr>
          <p:blipFill>
            <a:blip r:embed="rId8" cstate="print">
              <a:lum bright="100000"/>
            </a:blip>
            <a:stretch>
              <a:fillRect/>
            </a:stretch>
          </p:blipFill>
          <p:spPr bwMode="auto">
            <a:xfrm>
              <a:off x="2201930" y="4830384"/>
              <a:ext cx="1145602" cy="1145602"/>
            </a:xfrm>
            <a:prstGeom prst="rect">
              <a:avLst/>
            </a:prstGeom>
            <a:noFill/>
          </p:spPr>
        </p:pic>
        <p:sp>
          <p:nvSpPr>
            <p:cNvPr id="58" name="Rectangle 57"/>
            <p:cNvSpPr/>
            <p:nvPr/>
          </p:nvSpPr>
          <p:spPr>
            <a:xfrm>
              <a:off x="4172176" y="5539745"/>
              <a:ext cx="1493119" cy="806461"/>
            </a:xfrm>
            <a:prstGeom prst="rect">
              <a:avLst/>
            </a:prstGeom>
          </p:spPr>
          <p:txBody>
            <a:bodyPr wrap="square">
              <a:spAutoFit/>
            </a:bodyPr>
            <a:lstStyle/>
            <a:p>
              <a:pPr>
                <a:lnSpc>
                  <a:spcPct val="67000"/>
                </a:lnSpc>
                <a:spcAft>
                  <a:spcPts val="675"/>
                </a:spcAft>
              </a:pPr>
              <a:r>
                <a:rPr lang="en-US" sz="1100" dirty="0">
                  <a:solidFill>
                    <a:schemeClr val="bg1"/>
                  </a:solidFill>
                  <a:latin typeface="Segoe UI" pitchFamily="34" charset="0"/>
                  <a:cs typeface="Segoe UI" pitchFamily="34" charset="0"/>
                </a:rPr>
                <a:t>ENERGY</a:t>
              </a:r>
            </a:p>
            <a:p>
              <a:pPr>
                <a:lnSpc>
                  <a:spcPct val="67000"/>
                </a:lnSpc>
                <a:spcAft>
                  <a:spcPts val="900"/>
                </a:spcAft>
              </a:pPr>
              <a:r>
                <a:rPr lang="en-US" sz="3000" b="1" spc="-113" dirty="0">
                  <a:solidFill>
                    <a:schemeClr val="bg1"/>
                  </a:solidFill>
                  <a:latin typeface="Segoe UI Semibold" pitchFamily="34" charset="0"/>
                </a:rPr>
                <a:t>90%</a:t>
              </a:r>
            </a:p>
          </p:txBody>
        </p:sp>
        <p:sp>
          <p:nvSpPr>
            <p:cNvPr id="60" name="Rectangle 59"/>
            <p:cNvSpPr/>
            <p:nvPr/>
          </p:nvSpPr>
          <p:spPr>
            <a:xfrm>
              <a:off x="6130751" y="5539745"/>
              <a:ext cx="1357381" cy="806461"/>
            </a:xfrm>
            <a:prstGeom prst="rect">
              <a:avLst/>
            </a:prstGeom>
          </p:spPr>
          <p:txBody>
            <a:bodyPr wrap="square">
              <a:spAutoFit/>
            </a:bodyPr>
            <a:lstStyle/>
            <a:p>
              <a:pPr>
                <a:lnSpc>
                  <a:spcPct val="67000"/>
                </a:lnSpc>
                <a:spcAft>
                  <a:spcPts val="675"/>
                </a:spcAft>
              </a:pPr>
              <a:r>
                <a:rPr lang="en-US" sz="1100" dirty="0">
                  <a:solidFill>
                    <a:schemeClr val="bg1"/>
                  </a:solidFill>
                  <a:latin typeface="Segoe UI" pitchFamily="34" charset="0"/>
                  <a:cs typeface="Segoe UI" pitchFamily="34" charset="0"/>
                </a:rPr>
                <a:t>COOLING</a:t>
              </a:r>
            </a:p>
            <a:p>
              <a:pPr>
                <a:lnSpc>
                  <a:spcPct val="67000"/>
                </a:lnSpc>
                <a:spcAft>
                  <a:spcPts val="900"/>
                </a:spcAft>
              </a:pPr>
              <a:r>
                <a:rPr lang="en-US" sz="3000" b="1" spc="-113" dirty="0">
                  <a:solidFill>
                    <a:schemeClr val="bg1"/>
                  </a:solidFill>
                  <a:latin typeface="Segoe UI Semibold" pitchFamily="34" charset="0"/>
                </a:rPr>
                <a:t>95%</a:t>
              </a:r>
            </a:p>
          </p:txBody>
        </p:sp>
        <p:sp>
          <p:nvSpPr>
            <p:cNvPr id="61" name="Rectangle 60"/>
            <p:cNvSpPr/>
            <p:nvPr/>
          </p:nvSpPr>
          <p:spPr>
            <a:xfrm>
              <a:off x="8231853" y="5539745"/>
              <a:ext cx="1493119" cy="806461"/>
            </a:xfrm>
            <a:prstGeom prst="rect">
              <a:avLst/>
            </a:prstGeom>
          </p:spPr>
          <p:txBody>
            <a:bodyPr wrap="square">
              <a:spAutoFit/>
            </a:bodyPr>
            <a:lstStyle/>
            <a:p>
              <a:pPr>
                <a:lnSpc>
                  <a:spcPct val="67000"/>
                </a:lnSpc>
                <a:spcAft>
                  <a:spcPts val="675"/>
                </a:spcAft>
              </a:pPr>
              <a:r>
                <a:rPr lang="en-US" sz="1100" dirty="0">
                  <a:solidFill>
                    <a:schemeClr val="bg1"/>
                  </a:solidFill>
                  <a:latin typeface="Segoe UI" pitchFamily="34" charset="0"/>
                  <a:cs typeface="Segoe UI" pitchFamily="34" charset="0"/>
                </a:rPr>
                <a:t>FLOOR SPACE</a:t>
              </a:r>
            </a:p>
            <a:p>
              <a:pPr>
                <a:lnSpc>
                  <a:spcPct val="67000"/>
                </a:lnSpc>
                <a:spcAft>
                  <a:spcPts val="900"/>
                </a:spcAft>
              </a:pPr>
              <a:r>
                <a:rPr lang="en-US" sz="3000" b="1" spc="-113" dirty="0">
                  <a:solidFill>
                    <a:schemeClr val="bg1"/>
                  </a:solidFill>
                  <a:latin typeface="Segoe UI Semibold" pitchFamily="34" charset="0"/>
                </a:rPr>
                <a:t>89%</a:t>
              </a:r>
            </a:p>
          </p:txBody>
        </p:sp>
        <p:sp>
          <p:nvSpPr>
            <p:cNvPr id="62" name="Rectangle 61"/>
            <p:cNvSpPr/>
            <p:nvPr/>
          </p:nvSpPr>
          <p:spPr>
            <a:xfrm>
              <a:off x="10347625" y="5539745"/>
              <a:ext cx="1642431" cy="957698"/>
            </a:xfrm>
            <a:prstGeom prst="rect">
              <a:avLst/>
            </a:prstGeom>
          </p:spPr>
          <p:txBody>
            <a:bodyPr wrap="square">
              <a:spAutoFit/>
            </a:bodyPr>
            <a:lstStyle/>
            <a:p>
              <a:pPr>
                <a:lnSpc>
                  <a:spcPct val="67000"/>
                </a:lnSpc>
                <a:spcAft>
                  <a:spcPts val="675"/>
                </a:spcAft>
              </a:pPr>
              <a:r>
                <a:rPr lang="en-US" sz="1100" dirty="0">
                  <a:solidFill>
                    <a:schemeClr val="bg1"/>
                  </a:solidFill>
                  <a:latin typeface="Segoe UI" pitchFamily="34" charset="0"/>
                  <a:cs typeface="Segoe UI" pitchFamily="34" charset="0"/>
                </a:rPr>
                <a:t>ADMINISTRATION</a:t>
              </a:r>
            </a:p>
            <a:p>
              <a:pPr>
                <a:lnSpc>
                  <a:spcPct val="67000"/>
                </a:lnSpc>
                <a:spcAft>
                  <a:spcPts val="900"/>
                </a:spcAft>
              </a:pPr>
              <a:r>
                <a:rPr lang="en-US" sz="3000" b="1" spc="-113" dirty="0">
                  <a:solidFill>
                    <a:schemeClr val="bg1"/>
                  </a:solidFill>
                  <a:latin typeface="Segoe UI Semibold" pitchFamily="34" charset="0"/>
                </a:rPr>
                <a:t>75%</a:t>
              </a:r>
            </a:p>
          </p:txBody>
        </p:sp>
        <p:cxnSp>
          <p:nvCxnSpPr>
            <p:cNvPr id="65" name="Straight Connector 64"/>
            <p:cNvCxnSpPr/>
            <p:nvPr/>
          </p:nvCxnSpPr>
          <p:spPr>
            <a:xfrm>
              <a:off x="3507272" y="4989022"/>
              <a:ext cx="0" cy="1371600"/>
            </a:xfrm>
            <a:prstGeom prst="line">
              <a:avLst/>
            </a:prstGeom>
            <a:noFill/>
            <a:ln w="3175" cap="flat" cmpd="sng" algn="ctr">
              <a:solidFill>
                <a:srgbClr val="FFFFFF"/>
              </a:solidFill>
              <a:prstDash val="dot"/>
            </a:ln>
            <a:effectLst/>
          </p:spPr>
        </p:cxnSp>
        <p:pic>
          <p:nvPicPr>
            <p:cNvPr id="37" name="Picture 36" descr="\\MAGNUM\Projects\Microsoft\Cloud Power FY12\Design\Icons\PNGs\Branch.png"/>
            <p:cNvPicPr>
              <a:picLocks noChangeAspect="1" noChangeArrowheads="1"/>
            </p:cNvPicPr>
            <p:nvPr/>
          </p:nvPicPr>
          <p:blipFill>
            <a:blip r:embed="rId9" cstate="print">
              <a:lum bright="100000"/>
            </a:blip>
            <a:srcRect/>
            <a:stretch>
              <a:fillRect/>
            </a:stretch>
          </p:blipFill>
          <p:spPr bwMode="auto">
            <a:xfrm>
              <a:off x="7436150" y="5442089"/>
              <a:ext cx="841248" cy="841248"/>
            </a:xfrm>
            <a:prstGeom prst="rect">
              <a:avLst/>
            </a:prstGeom>
            <a:noFill/>
          </p:spPr>
        </p:pic>
        <p:pic>
          <p:nvPicPr>
            <p:cNvPr id="39" name="Picture 38" descr="\\MAGNUM\Projects\Microsoft\Cloud Power FY12\Design\ICONS_PNG\Within_Your_Reach.png"/>
            <p:cNvPicPr>
              <a:picLocks noChangeAspect="1" noChangeArrowheads="1"/>
            </p:cNvPicPr>
            <p:nvPr/>
          </p:nvPicPr>
          <p:blipFill>
            <a:blip r:embed="rId10" cstate="print">
              <a:lum bright="100000"/>
            </a:blip>
            <a:srcRect/>
            <a:stretch>
              <a:fillRect/>
            </a:stretch>
          </p:blipFill>
          <p:spPr bwMode="auto">
            <a:xfrm>
              <a:off x="5532988" y="5524124"/>
              <a:ext cx="640080" cy="640080"/>
            </a:xfrm>
            <a:prstGeom prst="rect">
              <a:avLst/>
            </a:prstGeom>
            <a:noFill/>
          </p:spPr>
        </p:pic>
        <p:pic>
          <p:nvPicPr>
            <p:cNvPr id="40" name="Picture 39" descr="\\MAGNUM\Projects\Microsoft\Cloud Power FY12\Design\ICONS_PNG\New_Business_Requirements.png"/>
            <p:cNvPicPr>
              <a:picLocks noChangeAspect="1" noChangeArrowheads="1"/>
            </p:cNvPicPr>
            <p:nvPr/>
          </p:nvPicPr>
          <p:blipFill>
            <a:blip r:embed="rId11" cstate="print"/>
            <a:stretch>
              <a:fillRect/>
            </a:stretch>
          </p:blipFill>
          <p:spPr bwMode="auto">
            <a:xfrm>
              <a:off x="3630710" y="5563452"/>
              <a:ext cx="640080" cy="640080"/>
            </a:xfrm>
            <a:prstGeom prst="rect">
              <a:avLst/>
            </a:prstGeom>
            <a:noFill/>
          </p:spPr>
        </p:pic>
        <p:pic>
          <p:nvPicPr>
            <p:cNvPr id="42" name="Picture 41" descr="\\MAGNUM\Projects\Microsoft\Cloud Power FY12\Design\ICONS_PNG\Professionals.png"/>
            <p:cNvPicPr>
              <a:picLocks noChangeAspect="1" noChangeArrowheads="1"/>
            </p:cNvPicPr>
            <p:nvPr/>
          </p:nvPicPr>
          <p:blipFill>
            <a:blip r:embed="rId12" cstate="print">
              <a:lum bright="100000"/>
            </a:blip>
            <a:srcRect/>
            <a:stretch>
              <a:fillRect/>
            </a:stretch>
          </p:blipFill>
          <p:spPr bwMode="auto">
            <a:xfrm>
              <a:off x="9703161" y="5478463"/>
              <a:ext cx="731402" cy="731402"/>
            </a:xfrm>
            <a:prstGeom prst="rect">
              <a:avLst/>
            </a:prstGeom>
            <a:noFill/>
          </p:spPr>
        </p:pic>
        <p:pic>
          <p:nvPicPr>
            <p:cNvPr id="43" name="Picture 42" descr="\\MAGNUM\Projects\Microsoft\Cloud Power FY12\Design\ICONS_PNG\Open_Web_Platform.png"/>
            <p:cNvPicPr>
              <a:picLocks noChangeAspect="1" noChangeArrowheads="1"/>
            </p:cNvPicPr>
            <p:nvPr/>
          </p:nvPicPr>
          <p:blipFill>
            <a:blip r:embed="rId13" cstate="print">
              <a:duotone>
                <a:schemeClr val="accent3">
                  <a:shade val="45000"/>
                  <a:satMod val="135000"/>
                </a:schemeClr>
                <a:prstClr val="white"/>
              </a:duotone>
              <a:extLst>
                <a:ext uri="{BEBA8EAE-BF5A-486C-A8C5-ECC9F3942E4B}">
                  <a14:imgProps xmlns:a14="http://schemas.microsoft.com/office/drawing/2010/main">
                    <a14:imgLayer r:embed="rId14">
                      <a14:imgEffect>
                        <a14:colorTemperature colorTemp="11500"/>
                      </a14:imgEffect>
                      <a14:imgEffect>
                        <a14:saturation sat="400000"/>
                      </a14:imgEffect>
                      <a14:imgEffect>
                        <a14:brightnessContrast bright="-90000" contrast="-63000"/>
                      </a14:imgEffect>
                    </a14:imgLayer>
                  </a14:imgProps>
                </a:ext>
              </a:extLst>
            </a:blip>
            <a:srcRect/>
            <a:stretch>
              <a:fillRect/>
            </a:stretch>
          </p:blipFill>
          <p:spPr bwMode="auto">
            <a:xfrm>
              <a:off x="3695060" y="4969358"/>
              <a:ext cx="511380" cy="511380"/>
            </a:xfrm>
            <a:prstGeom prst="rect">
              <a:avLst/>
            </a:prstGeom>
            <a:noFill/>
          </p:spPr>
        </p:pic>
      </p:grpSp>
      <p:sp>
        <p:nvSpPr>
          <p:cNvPr id="54" name="Rectangle 53"/>
          <p:cNvSpPr/>
          <p:nvPr/>
        </p:nvSpPr>
        <p:spPr bwMode="auto">
          <a:xfrm>
            <a:off x="120033" y="3330474"/>
            <a:ext cx="2133394" cy="31162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94" rIns="0" bIns="68586" numCol="1" spcCol="0" rtlCol="0" fromWordArt="0" anchor="ctr" anchorCtr="0" forceAA="0" compatLnSpc="1">
            <a:prstTxWarp prst="textNoShape">
              <a:avLst/>
            </a:prstTxWarp>
            <a:noAutofit/>
          </a:bodyPr>
          <a:lstStyle/>
          <a:p>
            <a:pPr algn="ctr" defTabSz="685523" fontAlgn="base">
              <a:spcBef>
                <a:spcPct val="0"/>
              </a:spcBef>
              <a:spcAft>
                <a:spcPct val="0"/>
              </a:spcAft>
            </a:pPr>
            <a:r>
              <a:rPr lang="en-US" dirty="0">
                <a:solidFill>
                  <a:srgbClr val="FFFFFF">
                    <a:alpha val="99000"/>
                  </a:srgbClr>
                </a:solidFill>
                <a:latin typeface="Segoe UI" pitchFamily="34" charset="0"/>
                <a:cs typeface="Segoe UI" pitchFamily="34" charset="0"/>
              </a:rPr>
              <a:t>100-200 VMs</a:t>
            </a:r>
          </a:p>
        </p:txBody>
      </p:sp>
      <p:sp>
        <p:nvSpPr>
          <p:cNvPr id="55" name="Rectangle 54"/>
          <p:cNvSpPr/>
          <p:nvPr/>
        </p:nvSpPr>
        <p:spPr bwMode="auto">
          <a:xfrm>
            <a:off x="2385424" y="3330474"/>
            <a:ext cx="2133394" cy="3116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94" rIns="0" bIns="68586" numCol="1" spcCol="0" rtlCol="0" fromWordArt="0" anchor="ctr" anchorCtr="0" forceAA="0" compatLnSpc="1">
            <a:prstTxWarp prst="textNoShape">
              <a:avLst/>
            </a:prstTxWarp>
            <a:noAutofit/>
          </a:bodyPr>
          <a:lstStyle/>
          <a:p>
            <a:pPr algn="ctr" defTabSz="685523" fontAlgn="base">
              <a:spcBef>
                <a:spcPct val="0"/>
              </a:spcBef>
              <a:spcAft>
                <a:spcPct val="0"/>
              </a:spcAft>
            </a:pPr>
            <a:r>
              <a:rPr lang="en-US" dirty="0">
                <a:solidFill>
                  <a:srgbClr val="FFFFFF">
                    <a:alpha val="99000"/>
                  </a:srgbClr>
                </a:solidFill>
                <a:latin typeface="Segoe UI" pitchFamily="34" charset="0"/>
                <a:cs typeface="Segoe UI" pitchFamily="34" charset="0"/>
              </a:rPr>
              <a:t>200-400 VMs</a:t>
            </a:r>
          </a:p>
        </p:txBody>
      </p:sp>
      <p:sp>
        <p:nvSpPr>
          <p:cNvPr id="56" name="Rectangle 55"/>
          <p:cNvSpPr/>
          <p:nvPr/>
        </p:nvSpPr>
        <p:spPr bwMode="auto">
          <a:xfrm>
            <a:off x="4650609" y="3330474"/>
            <a:ext cx="2133394" cy="3116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94" rIns="0" bIns="68586" numCol="1" spcCol="0" rtlCol="0" fromWordArt="0" anchor="ctr" anchorCtr="0" forceAA="0" compatLnSpc="1">
            <a:prstTxWarp prst="textNoShape">
              <a:avLst/>
            </a:prstTxWarp>
            <a:noAutofit/>
          </a:bodyPr>
          <a:lstStyle/>
          <a:p>
            <a:pPr algn="ctr" defTabSz="685523" fontAlgn="base">
              <a:spcBef>
                <a:spcPct val="0"/>
              </a:spcBef>
              <a:spcAft>
                <a:spcPct val="0"/>
              </a:spcAft>
            </a:pPr>
            <a:r>
              <a:rPr lang="en-US" dirty="0">
                <a:solidFill>
                  <a:srgbClr val="FFFFFF">
                    <a:alpha val="99000"/>
                  </a:srgbClr>
                </a:solidFill>
                <a:latin typeface="Segoe UI" pitchFamily="34" charset="0"/>
                <a:cs typeface="Segoe UI" pitchFamily="34" charset="0"/>
              </a:rPr>
              <a:t>Hundreds of VMs</a:t>
            </a:r>
          </a:p>
        </p:txBody>
      </p:sp>
      <p:sp>
        <p:nvSpPr>
          <p:cNvPr id="57" name="Rectangle 56"/>
          <p:cNvSpPr/>
          <p:nvPr/>
        </p:nvSpPr>
        <p:spPr bwMode="auto">
          <a:xfrm>
            <a:off x="6908727" y="3330474"/>
            <a:ext cx="2133394" cy="31162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94" rIns="0" bIns="68586" numCol="1" spcCol="0" rtlCol="0" fromWordArt="0" anchor="ctr" anchorCtr="0" forceAA="0" compatLnSpc="1">
            <a:prstTxWarp prst="textNoShape">
              <a:avLst/>
            </a:prstTxWarp>
            <a:noAutofit/>
          </a:bodyPr>
          <a:lstStyle/>
          <a:p>
            <a:pPr algn="ctr" defTabSz="685523" fontAlgn="base">
              <a:spcBef>
                <a:spcPct val="0"/>
              </a:spcBef>
              <a:spcAft>
                <a:spcPct val="0"/>
              </a:spcAft>
            </a:pPr>
            <a:r>
              <a:rPr lang="en-US" dirty="0">
                <a:solidFill>
                  <a:srgbClr val="FFFFFF">
                    <a:alpha val="99000"/>
                  </a:srgbClr>
                </a:solidFill>
                <a:latin typeface="Segoe UI" pitchFamily="34" charset="0"/>
                <a:cs typeface="Segoe UI" pitchFamily="34" charset="0"/>
              </a:rPr>
              <a:t>Thousands of VMs</a:t>
            </a:r>
          </a:p>
        </p:txBody>
      </p:sp>
      <p:sp>
        <p:nvSpPr>
          <p:cNvPr id="3" name="MASK"/>
          <p:cNvSpPr/>
          <p:nvPr/>
        </p:nvSpPr>
        <p:spPr>
          <a:xfrm>
            <a:off x="0" y="3"/>
            <a:ext cx="9144000" cy="333047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endParaRPr lang="en-US" dirty="0"/>
          </a:p>
        </p:txBody>
      </p:sp>
      <p:grpSp>
        <p:nvGrpSpPr>
          <p:cNvPr id="9" name="Group 8"/>
          <p:cNvGrpSpPr/>
          <p:nvPr/>
        </p:nvGrpSpPr>
        <p:grpSpPr>
          <a:xfrm>
            <a:off x="6908726" y="1150317"/>
            <a:ext cx="2133600" cy="2130552"/>
            <a:chOff x="9236668" y="1539195"/>
            <a:chExt cx="2844059" cy="2840736"/>
          </a:xfrm>
        </p:grpSpPr>
        <p:sp>
          <p:nvSpPr>
            <p:cNvPr id="29" name="Rectangle 28"/>
            <p:cNvSpPr/>
            <p:nvPr>
              <p:custDataLst>
                <p:tags r:id="rId4"/>
              </p:custDataLst>
            </p:nvPr>
          </p:nvSpPr>
          <p:spPr bwMode="auto">
            <a:xfrm>
              <a:off x="9236668" y="1539195"/>
              <a:ext cx="2844059" cy="2840736"/>
            </a:xfrm>
            <a:prstGeom prst="rect">
              <a:avLst/>
            </a:prstGeom>
            <a:solidFill>
              <a:schemeClr val="accent3"/>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1828800" rIns="91440" bIns="0" numCol="1" rtlCol="0" anchor="ctr" anchorCtr="0" compatLnSpc="1">
              <a:prstTxWarp prst="textNoShape">
                <a:avLst/>
              </a:prstTxWarp>
              <a:noAutofit/>
            </a:bodyPr>
            <a:lstStyle/>
            <a:p>
              <a:pPr algn="ctr" defTabSz="914045" fontAlgn="base">
                <a:lnSpc>
                  <a:spcPct val="90000"/>
                </a:lnSpc>
                <a:spcBef>
                  <a:spcPts val="630"/>
                </a:spcBef>
                <a:spcAft>
                  <a:spcPct val="0"/>
                </a:spcAft>
                <a:buClr>
                  <a:srgbClr val="FFFF99"/>
                </a:buClr>
                <a:buSzPct val="120000"/>
              </a:pPr>
              <a:r>
                <a:rPr lang="en-US" dirty="0" smtClean="0">
                  <a:ln>
                    <a:solidFill>
                      <a:srgbClr val="FFFFFF">
                        <a:alpha val="0"/>
                      </a:srgbClr>
                    </a:solidFill>
                  </a:ln>
                  <a:solidFill>
                    <a:srgbClr val="FFFFFF">
                      <a:alpha val="99000"/>
                    </a:srgbClr>
                  </a:solidFill>
                  <a:cs typeface="Segoe UI" pitchFamily="34" charset="0"/>
                </a:rPr>
                <a:t>Pod</a:t>
              </a:r>
              <a:endParaRPr lang="en-US" dirty="0">
                <a:ln>
                  <a:solidFill>
                    <a:srgbClr val="FFFFFF">
                      <a:alpha val="0"/>
                    </a:srgbClr>
                  </a:solidFill>
                </a:ln>
                <a:solidFill>
                  <a:srgbClr val="FFFFFF">
                    <a:alpha val="99000"/>
                  </a:srgbClr>
                </a:solidFill>
                <a:cs typeface="Segoe UI" pitchFamily="34" charset="0"/>
              </a:endParaRPr>
            </a:p>
          </p:txBody>
        </p:sp>
        <p:pic>
          <p:nvPicPr>
            <p:cNvPr id="17" name="Picture 16" descr="ext_cold_3qtr-view_rear_5558.png"/>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9424257" y="2205921"/>
              <a:ext cx="2468880" cy="1272422"/>
            </a:xfrm>
            <a:prstGeom prst="rect">
              <a:avLst/>
            </a:prstGeom>
          </p:spPr>
        </p:pic>
      </p:grpSp>
      <p:grpSp>
        <p:nvGrpSpPr>
          <p:cNvPr id="8" name="Group 7"/>
          <p:cNvGrpSpPr/>
          <p:nvPr/>
        </p:nvGrpSpPr>
        <p:grpSpPr>
          <a:xfrm>
            <a:off x="4645830" y="1150317"/>
            <a:ext cx="2133600" cy="2130552"/>
            <a:chOff x="6192825" y="1533756"/>
            <a:chExt cx="2844059" cy="2840736"/>
          </a:xfrm>
        </p:grpSpPr>
        <p:sp>
          <p:nvSpPr>
            <p:cNvPr id="35" name="Rectangle 34"/>
            <p:cNvSpPr/>
            <p:nvPr>
              <p:custDataLst>
                <p:tags r:id="rId3"/>
              </p:custDataLst>
            </p:nvPr>
          </p:nvSpPr>
          <p:spPr bwMode="auto">
            <a:xfrm>
              <a:off x="6192825" y="1533756"/>
              <a:ext cx="2844059" cy="2840736"/>
            </a:xfrm>
            <a:prstGeom prst="rect">
              <a:avLst/>
            </a:prstGeom>
            <a:solidFill>
              <a:schemeClr val="accent1"/>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1828800" rIns="91440" bIns="0" numCol="1" rtlCol="0" anchor="ctr" anchorCtr="0" compatLnSpc="1">
              <a:prstTxWarp prst="textNoShape">
                <a:avLst/>
              </a:prstTxWarp>
              <a:noAutofit/>
            </a:bodyPr>
            <a:lstStyle/>
            <a:p>
              <a:pPr algn="ctr" defTabSz="914045" fontAlgn="base">
                <a:lnSpc>
                  <a:spcPct val="90000"/>
                </a:lnSpc>
                <a:spcBef>
                  <a:spcPts val="630"/>
                </a:spcBef>
                <a:spcAft>
                  <a:spcPct val="0"/>
                </a:spcAft>
                <a:buClr>
                  <a:srgbClr val="FFFF99"/>
                </a:buClr>
                <a:buSzPct val="120000"/>
              </a:pPr>
              <a:r>
                <a:rPr lang="en-US" dirty="0" smtClean="0">
                  <a:ln>
                    <a:solidFill>
                      <a:srgbClr val="FFFFFF">
                        <a:alpha val="0"/>
                      </a:srgbClr>
                    </a:solidFill>
                  </a:ln>
                  <a:solidFill>
                    <a:srgbClr val="FFFFFF">
                      <a:alpha val="99000"/>
                    </a:srgbClr>
                  </a:solidFill>
                  <a:cs typeface="Segoe UI" pitchFamily="34" charset="0"/>
                </a:rPr>
                <a:t>Multi-Rack</a:t>
              </a:r>
              <a:endParaRPr lang="en-US" dirty="0">
                <a:ln>
                  <a:solidFill>
                    <a:srgbClr val="FFFFFF">
                      <a:alpha val="0"/>
                    </a:srgbClr>
                  </a:solidFill>
                </a:ln>
                <a:solidFill>
                  <a:srgbClr val="FFFFFF">
                    <a:alpha val="99000"/>
                  </a:srgbClr>
                </a:solidFill>
                <a:cs typeface="Segoe UI" pitchFamily="34" charset="0"/>
              </a:endParaRPr>
            </a:p>
          </p:txBody>
        </p:sp>
        <p:pic>
          <p:nvPicPr>
            <p:cNvPr id="20" name="Picture 19"/>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56358" y="1787277"/>
              <a:ext cx="1529459" cy="1817542"/>
            </a:xfrm>
            <a:prstGeom prst="rect">
              <a:avLst/>
            </a:prstGeom>
          </p:spPr>
        </p:pic>
      </p:grpSp>
      <p:grpSp>
        <p:nvGrpSpPr>
          <p:cNvPr id="6" name="Group 5"/>
          <p:cNvGrpSpPr/>
          <p:nvPr/>
        </p:nvGrpSpPr>
        <p:grpSpPr>
          <a:xfrm>
            <a:off x="120035" y="1153343"/>
            <a:ext cx="2133600" cy="2130552"/>
            <a:chOff x="160003" y="1537791"/>
            <a:chExt cx="2844059" cy="2840736"/>
          </a:xfrm>
        </p:grpSpPr>
        <p:sp>
          <p:nvSpPr>
            <p:cNvPr id="32" name="Rectangle 31"/>
            <p:cNvSpPr/>
            <p:nvPr>
              <p:custDataLst>
                <p:tags r:id="rId2"/>
              </p:custDataLst>
            </p:nvPr>
          </p:nvSpPr>
          <p:spPr bwMode="auto">
            <a:xfrm>
              <a:off x="160003" y="1537791"/>
              <a:ext cx="2844059" cy="2840736"/>
            </a:xfrm>
            <a:prstGeom prst="rect">
              <a:avLst/>
            </a:prstGeom>
            <a:solidFill>
              <a:schemeClr val="accent4"/>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1828800" rIns="91440" bIns="0" numCol="1" rtlCol="0" anchor="ctr" anchorCtr="0" compatLnSpc="1">
              <a:prstTxWarp prst="textNoShape">
                <a:avLst/>
              </a:prstTxWarp>
              <a:noAutofit/>
            </a:bodyPr>
            <a:lstStyle/>
            <a:p>
              <a:pPr algn="ctr" defTabSz="914045" fontAlgn="base">
                <a:lnSpc>
                  <a:spcPct val="90000"/>
                </a:lnSpc>
                <a:spcBef>
                  <a:spcPts val="630"/>
                </a:spcBef>
                <a:spcAft>
                  <a:spcPct val="0"/>
                </a:spcAft>
                <a:buClr>
                  <a:srgbClr val="FFFF99"/>
                </a:buClr>
                <a:buSzPct val="120000"/>
                <a:defRPr/>
              </a:pPr>
              <a:r>
                <a:rPr lang="en-US" dirty="0">
                  <a:ln>
                    <a:solidFill>
                      <a:srgbClr val="FFFFFF">
                        <a:alpha val="0"/>
                      </a:srgbClr>
                    </a:solidFill>
                  </a:ln>
                  <a:solidFill>
                    <a:srgbClr val="FFFFFF">
                      <a:alpha val="99000"/>
                    </a:srgbClr>
                  </a:solidFill>
                  <a:cs typeface="Segoe UI" pitchFamily="34" charset="0"/>
                </a:rPr>
                <a:t>Half </a:t>
              </a:r>
              <a:r>
                <a:rPr lang="en-US" dirty="0" smtClean="0">
                  <a:ln>
                    <a:solidFill>
                      <a:srgbClr val="FFFFFF">
                        <a:alpha val="0"/>
                      </a:srgbClr>
                    </a:solidFill>
                  </a:ln>
                  <a:solidFill>
                    <a:srgbClr val="FFFFFF">
                      <a:alpha val="99000"/>
                    </a:srgbClr>
                  </a:solidFill>
                  <a:cs typeface="Segoe UI" pitchFamily="34" charset="0"/>
                </a:rPr>
                <a:t>Rack</a:t>
              </a:r>
              <a:endParaRPr lang="en-US" dirty="0">
                <a:ln>
                  <a:solidFill>
                    <a:srgbClr val="FFFFFF">
                      <a:alpha val="0"/>
                    </a:srgbClr>
                  </a:solidFill>
                </a:ln>
                <a:solidFill>
                  <a:srgbClr val="FFFFFF">
                    <a:alpha val="99000"/>
                  </a:srgbClr>
                </a:solidFill>
                <a:cs typeface="Segoe UI" pitchFamily="34" charset="0"/>
              </a:endParaRPr>
            </a:p>
          </p:txBody>
        </p:sp>
        <p:pic>
          <p:nvPicPr>
            <p:cNvPr id="22" name="Picture 21"/>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212044" y="1769855"/>
              <a:ext cx="739977" cy="1828800"/>
            </a:xfrm>
            <a:prstGeom prst="rect">
              <a:avLst/>
            </a:prstGeom>
          </p:spPr>
        </p:pic>
      </p:grpSp>
      <p:grpSp>
        <p:nvGrpSpPr>
          <p:cNvPr id="7" name="Group 6"/>
          <p:cNvGrpSpPr/>
          <p:nvPr/>
        </p:nvGrpSpPr>
        <p:grpSpPr>
          <a:xfrm>
            <a:off x="2382931" y="1153343"/>
            <a:ext cx="2133600" cy="2130552"/>
            <a:chOff x="3176414" y="1537791"/>
            <a:chExt cx="2844059" cy="2840736"/>
          </a:xfrm>
        </p:grpSpPr>
        <p:sp>
          <p:nvSpPr>
            <p:cNvPr id="38" name="Rectangle 37"/>
            <p:cNvSpPr/>
            <p:nvPr>
              <p:custDataLst>
                <p:tags r:id="rId1"/>
              </p:custDataLst>
            </p:nvPr>
          </p:nvSpPr>
          <p:spPr bwMode="auto">
            <a:xfrm>
              <a:off x="3176414" y="1537791"/>
              <a:ext cx="2844059" cy="2840736"/>
            </a:xfrm>
            <a:prstGeom prst="rect">
              <a:avLst/>
            </a:prstGeom>
            <a:solidFill>
              <a:schemeClr val="accent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1828800" rIns="91440" bIns="0" numCol="1" rtlCol="0" anchor="ctr" anchorCtr="0" compatLnSpc="1">
              <a:prstTxWarp prst="textNoShape">
                <a:avLst/>
              </a:prstTxWarp>
              <a:noAutofit/>
            </a:bodyPr>
            <a:lstStyle/>
            <a:p>
              <a:pPr algn="ctr" defTabSz="914045" fontAlgn="base">
                <a:lnSpc>
                  <a:spcPct val="90000"/>
                </a:lnSpc>
                <a:spcBef>
                  <a:spcPts val="630"/>
                </a:spcBef>
                <a:spcAft>
                  <a:spcPct val="0"/>
                </a:spcAft>
                <a:buClr>
                  <a:srgbClr val="FFFF99"/>
                </a:buClr>
                <a:buSzPct val="120000"/>
              </a:pPr>
              <a:r>
                <a:rPr lang="en-US" dirty="0">
                  <a:ln>
                    <a:solidFill>
                      <a:srgbClr val="FFFFFF">
                        <a:alpha val="0"/>
                      </a:srgbClr>
                    </a:solidFill>
                  </a:ln>
                  <a:solidFill>
                    <a:srgbClr val="FFFFFF">
                      <a:alpha val="99000"/>
                    </a:srgbClr>
                  </a:solidFill>
                  <a:cs typeface="Segoe UI" pitchFamily="34" charset="0"/>
                </a:rPr>
                <a:t>Full </a:t>
              </a:r>
              <a:r>
                <a:rPr lang="en-US" dirty="0" smtClean="0">
                  <a:ln>
                    <a:solidFill>
                      <a:srgbClr val="FFFFFF">
                        <a:alpha val="0"/>
                      </a:srgbClr>
                    </a:solidFill>
                  </a:ln>
                  <a:solidFill>
                    <a:srgbClr val="FFFFFF">
                      <a:alpha val="99000"/>
                    </a:srgbClr>
                  </a:solidFill>
                  <a:cs typeface="Segoe UI" pitchFamily="34" charset="0"/>
                </a:rPr>
                <a:t>Rack</a:t>
              </a:r>
              <a:endParaRPr lang="en-US" dirty="0">
                <a:ln>
                  <a:solidFill>
                    <a:srgbClr val="FFFFFF">
                      <a:alpha val="0"/>
                    </a:srgbClr>
                  </a:solidFill>
                </a:ln>
                <a:solidFill>
                  <a:srgbClr val="FFFFFF">
                    <a:alpha val="99000"/>
                  </a:srgbClr>
                </a:solidFill>
                <a:cs typeface="Segoe UI" pitchFamily="34" charset="0"/>
              </a:endParaRPr>
            </a:p>
          </p:txBody>
        </p:sp>
        <p:pic>
          <p:nvPicPr>
            <p:cNvPr id="21" name="Picture 20"/>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4192919" y="1769855"/>
              <a:ext cx="739977" cy="1828800"/>
            </a:xfrm>
            <a:prstGeom prst="rect">
              <a:avLst/>
            </a:prstGeom>
          </p:spPr>
        </p:pic>
      </p:grpSp>
      <p:sp>
        <p:nvSpPr>
          <p:cNvPr id="10" name="MASK 3"/>
          <p:cNvSpPr/>
          <p:nvPr/>
        </p:nvSpPr>
        <p:spPr>
          <a:xfrm>
            <a:off x="0" y="1"/>
            <a:ext cx="9144000" cy="115031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a:endParaRPr lang="en-US"/>
          </a:p>
        </p:txBody>
      </p:sp>
      <p:sp>
        <p:nvSpPr>
          <p:cNvPr id="2" name="Title 1"/>
          <p:cNvSpPr>
            <a:spLocks noGrp="1"/>
          </p:cNvSpPr>
          <p:nvPr>
            <p:ph type="title"/>
          </p:nvPr>
        </p:nvSpPr>
        <p:spPr/>
        <p:txBody>
          <a:bodyPr>
            <a:normAutofit/>
          </a:bodyPr>
          <a:lstStyle/>
          <a:p>
            <a:r>
              <a:rPr lang="en-US" dirty="0" smtClean="0"/>
              <a:t>Reduce TCO and SCALE TO 1000’s of Databases</a:t>
            </a:r>
            <a:endParaRPr lang="en-US" dirty="0"/>
          </a:p>
        </p:txBody>
      </p:sp>
      <p:sp>
        <p:nvSpPr>
          <p:cNvPr id="41"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44"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9"/>
              </a:rPr>
              <a:t>www.rapidbbs.cn</a:t>
            </a:r>
            <a:endParaRPr lang="zh-CN" altLang="en-US" sz="1200" b="0">
              <a:latin typeface="Arial" charset="0"/>
              <a:ea typeface="ＭＳ Ｐゴシック" pitchFamily="34" charset="-128"/>
            </a:endParaRPr>
          </a:p>
        </p:txBody>
      </p:sp>
      <p:pic>
        <p:nvPicPr>
          <p:cNvPr id="45" name="Picture 2">
            <a:hlinkClick r:id="rId19"/>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30142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ppt_x"/>
                                          </p:val>
                                        </p:tav>
                                        <p:tav tm="100000">
                                          <p:val>
                                            <p:strVal val="#ppt_x"/>
                                          </p:val>
                                        </p:tav>
                                      </p:tavLst>
                                    </p:anim>
                                    <p:anim calcmode="lin" valueType="num">
                                      <p:cBhvr additive="base">
                                        <p:cTn id="8" dur="1000" fill="hold"/>
                                        <p:tgtEl>
                                          <p:spTgt spid="6"/>
                                        </p:tgtEl>
                                        <p:attrNameLst>
                                          <p:attrName>ppt_y</p:attrName>
                                        </p:attrNameLst>
                                      </p:cBhvr>
                                      <p:tavLst>
                                        <p:tav tm="0">
                                          <p:val>
                                            <p:strVal val="0-#ppt_h/2"/>
                                          </p:val>
                                        </p:tav>
                                        <p:tav tm="100000">
                                          <p:val>
                                            <p:strVal val="#ppt_y"/>
                                          </p:val>
                                        </p:tav>
                                      </p:tavLst>
                                    </p:anim>
                                  </p:childTnLst>
                                </p:cTn>
                              </p:par>
                              <p:par>
                                <p:cTn id="9" presetID="2" presetClass="entr" presetSubtype="1" decel="100000" fill="hold" grpId="0" nodeType="withEffect">
                                  <p:stCondLst>
                                    <p:cond delay="250"/>
                                  </p:stCondLst>
                                  <p:childTnLst>
                                    <p:set>
                                      <p:cBhvr>
                                        <p:cTn id="10" dur="1" fill="hold">
                                          <p:stCondLst>
                                            <p:cond delay="0"/>
                                          </p:stCondLst>
                                        </p:cTn>
                                        <p:tgtEl>
                                          <p:spTgt spid="54"/>
                                        </p:tgtEl>
                                        <p:attrNameLst>
                                          <p:attrName>style.visibility</p:attrName>
                                        </p:attrNameLst>
                                      </p:cBhvr>
                                      <p:to>
                                        <p:strVal val="visible"/>
                                      </p:to>
                                    </p:set>
                                    <p:anim calcmode="lin" valueType="num">
                                      <p:cBhvr additive="base">
                                        <p:cTn id="11" dur="1000" fill="hold"/>
                                        <p:tgtEl>
                                          <p:spTgt spid="54"/>
                                        </p:tgtEl>
                                        <p:attrNameLst>
                                          <p:attrName>ppt_x</p:attrName>
                                        </p:attrNameLst>
                                      </p:cBhvr>
                                      <p:tavLst>
                                        <p:tav tm="0">
                                          <p:val>
                                            <p:strVal val="#ppt_x"/>
                                          </p:val>
                                        </p:tav>
                                        <p:tav tm="100000">
                                          <p:val>
                                            <p:strVal val="#ppt_x"/>
                                          </p:val>
                                        </p:tav>
                                      </p:tavLst>
                                    </p:anim>
                                    <p:anim calcmode="lin" valueType="num">
                                      <p:cBhvr additive="base">
                                        <p:cTn id="12" dur="1000" fill="hold"/>
                                        <p:tgtEl>
                                          <p:spTgt spid="54"/>
                                        </p:tgtEl>
                                        <p:attrNameLst>
                                          <p:attrName>ppt_y</p:attrName>
                                        </p:attrNameLst>
                                      </p:cBhvr>
                                      <p:tavLst>
                                        <p:tav tm="0">
                                          <p:val>
                                            <p:strVal val="0-#ppt_h/2"/>
                                          </p:val>
                                        </p:tav>
                                        <p:tav tm="100000">
                                          <p:val>
                                            <p:strVal val="#ppt_y"/>
                                          </p:val>
                                        </p:tav>
                                      </p:tavLst>
                                    </p:anim>
                                  </p:childTnLst>
                                </p:cTn>
                              </p:par>
                              <p:par>
                                <p:cTn id="13" presetID="2" presetClass="entr" presetSubtype="1" decel="100000" fill="hold" nodeType="withEffect">
                                  <p:stCondLst>
                                    <p:cond delay="25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1000" fill="hold"/>
                                        <p:tgtEl>
                                          <p:spTgt spid="7"/>
                                        </p:tgtEl>
                                        <p:attrNameLst>
                                          <p:attrName>ppt_x</p:attrName>
                                        </p:attrNameLst>
                                      </p:cBhvr>
                                      <p:tavLst>
                                        <p:tav tm="0">
                                          <p:val>
                                            <p:strVal val="#ppt_x"/>
                                          </p:val>
                                        </p:tav>
                                        <p:tav tm="100000">
                                          <p:val>
                                            <p:strVal val="#ppt_x"/>
                                          </p:val>
                                        </p:tav>
                                      </p:tavLst>
                                    </p:anim>
                                    <p:anim calcmode="lin" valueType="num">
                                      <p:cBhvr additive="base">
                                        <p:cTn id="16" dur="1000" fill="hold"/>
                                        <p:tgtEl>
                                          <p:spTgt spid="7"/>
                                        </p:tgtEl>
                                        <p:attrNameLst>
                                          <p:attrName>ppt_y</p:attrName>
                                        </p:attrNameLst>
                                      </p:cBhvr>
                                      <p:tavLst>
                                        <p:tav tm="0">
                                          <p:val>
                                            <p:strVal val="0-#ppt_h/2"/>
                                          </p:val>
                                        </p:tav>
                                        <p:tav tm="100000">
                                          <p:val>
                                            <p:strVal val="#ppt_y"/>
                                          </p:val>
                                        </p:tav>
                                      </p:tavLst>
                                    </p:anim>
                                  </p:childTnLst>
                                </p:cTn>
                              </p:par>
                              <p:par>
                                <p:cTn id="17" presetID="2" presetClass="entr" presetSubtype="1" decel="100000" fill="hold" grpId="0" nodeType="withEffect">
                                  <p:stCondLst>
                                    <p:cond delay="500"/>
                                  </p:stCondLst>
                                  <p:childTnLst>
                                    <p:set>
                                      <p:cBhvr>
                                        <p:cTn id="18" dur="1" fill="hold">
                                          <p:stCondLst>
                                            <p:cond delay="0"/>
                                          </p:stCondLst>
                                        </p:cTn>
                                        <p:tgtEl>
                                          <p:spTgt spid="55"/>
                                        </p:tgtEl>
                                        <p:attrNameLst>
                                          <p:attrName>style.visibility</p:attrName>
                                        </p:attrNameLst>
                                      </p:cBhvr>
                                      <p:to>
                                        <p:strVal val="visible"/>
                                      </p:to>
                                    </p:set>
                                    <p:anim calcmode="lin" valueType="num">
                                      <p:cBhvr additive="base">
                                        <p:cTn id="19" dur="1000" fill="hold"/>
                                        <p:tgtEl>
                                          <p:spTgt spid="55"/>
                                        </p:tgtEl>
                                        <p:attrNameLst>
                                          <p:attrName>ppt_x</p:attrName>
                                        </p:attrNameLst>
                                      </p:cBhvr>
                                      <p:tavLst>
                                        <p:tav tm="0">
                                          <p:val>
                                            <p:strVal val="#ppt_x"/>
                                          </p:val>
                                        </p:tav>
                                        <p:tav tm="100000">
                                          <p:val>
                                            <p:strVal val="#ppt_x"/>
                                          </p:val>
                                        </p:tav>
                                      </p:tavLst>
                                    </p:anim>
                                    <p:anim calcmode="lin" valueType="num">
                                      <p:cBhvr additive="base">
                                        <p:cTn id="20" dur="1000" fill="hold"/>
                                        <p:tgtEl>
                                          <p:spTgt spid="55"/>
                                        </p:tgtEl>
                                        <p:attrNameLst>
                                          <p:attrName>ppt_y</p:attrName>
                                        </p:attrNameLst>
                                      </p:cBhvr>
                                      <p:tavLst>
                                        <p:tav tm="0">
                                          <p:val>
                                            <p:strVal val="0-#ppt_h/2"/>
                                          </p:val>
                                        </p:tav>
                                        <p:tav tm="100000">
                                          <p:val>
                                            <p:strVal val="#ppt_y"/>
                                          </p:val>
                                        </p:tav>
                                      </p:tavLst>
                                    </p:anim>
                                  </p:childTnLst>
                                </p:cTn>
                              </p:par>
                              <p:par>
                                <p:cTn id="21" presetID="2" presetClass="entr" presetSubtype="1" decel="100000" fill="hold" nodeType="withEffect">
                                  <p:stCondLst>
                                    <p:cond delay="500"/>
                                  </p:stCondLst>
                                  <p:childTnLst>
                                    <p:set>
                                      <p:cBhvr>
                                        <p:cTn id="22" dur="1" fill="hold">
                                          <p:stCondLst>
                                            <p:cond delay="0"/>
                                          </p:stCondLst>
                                        </p:cTn>
                                        <p:tgtEl>
                                          <p:spTgt spid="8"/>
                                        </p:tgtEl>
                                        <p:attrNameLst>
                                          <p:attrName>style.visibility</p:attrName>
                                        </p:attrNameLst>
                                      </p:cBhvr>
                                      <p:to>
                                        <p:strVal val="visible"/>
                                      </p:to>
                                    </p:set>
                                    <p:anim calcmode="lin" valueType="num">
                                      <p:cBhvr additive="base">
                                        <p:cTn id="23" dur="1000" fill="hold"/>
                                        <p:tgtEl>
                                          <p:spTgt spid="8"/>
                                        </p:tgtEl>
                                        <p:attrNameLst>
                                          <p:attrName>ppt_x</p:attrName>
                                        </p:attrNameLst>
                                      </p:cBhvr>
                                      <p:tavLst>
                                        <p:tav tm="0">
                                          <p:val>
                                            <p:strVal val="#ppt_x"/>
                                          </p:val>
                                        </p:tav>
                                        <p:tav tm="100000">
                                          <p:val>
                                            <p:strVal val="#ppt_x"/>
                                          </p:val>
                                        </p:tav>
                                      </p:tavLst>
                                    </p:anim>
                                    <p:anim calcmode="lin" valueType="num">
                                      <p:cBhvr additive="base">
                                        <p:cTn id="24" dur="1000" fill="hold"/>
                                        <p:tgtEl>
                                          <p:spTgt spid="8"/>
                                        </p:tgtEl>
                                        <p:attrNameLst>
                                          <p:attrName>ppt_y</p:attrName>
                                        </p:attrNameLst>
                                      </p:cBhvr>
                                      <p:tavLst>
                                        <p:tav tm="0">
                                          <p:val>
                                            <p:strVal val="0-#ppt_h/2"/>
                                          </p:val>
                                        </p:tav>
                                        <p:tav tm="100000">
                                          <p:val>
                                            <p:strVal val="#ppt_y"/>
                                          </p:val>
                                        </p:tav>
                                      </p:tavLst>
                                    </p:anim>
                                  </p:childTnLst>
                                </p:cTn>
                              </p:par>
                              <p:par>
                                <p:cTn id="25" presetID="2" presetClass="entr" presetSubtype="1" decel="100000" fill="hold" grpId="0" nodeType="withEffect">
                                  <p:stCondLst>
                                    <p:cond delay="750"/>
                                  </p:stCondLst>
                                  <p:childTnLst>
                                    <p:set>
                                      <p:cBhvr>
                                        <p:cTn id="26" dur="1" fill="hold">
                                          <p:stCondLst>
                                            <p:cond delay="0"/>
                                          </p:stCondLst>
                                        </p:cTn>
                                        <p:tgtEl>
                                          <p:spTgt spid="56"/>
                                        </p:tgtEl>
                                        <p:attrNameLst>
                                          <p:attrName>style.visibility</p:attrName>
                                        </p:attrNameLst>
                                      </p:cBhvr>
                                      <p:to>
                                        <p:strVal val="visible"/>
                                      </p:to>
                                    </p:set>
                                    <p:anim calcmode="lin" valueType="num">
                                      <p:cBhvr additive="base">
                                        <p:cTn id="27" dur="1000" fill="hold"/>
                                        <p:tgtEl>
                                          <p:spTgt spid="56"/>
                                        </p:tgtEl>
                                        <p:attrNameLst>
                                          <p:attrName>ppt_x</p:attrName>
                                        </p:attrNameLst>
                                      </p:cBhvr>
                                      <p:tavLst>
                                        <p:tav tm="0">
                                          <p:val>
                                            <p:strVal val="#ppt_x"/>
                                          </p:val>
                                        </p:tav>
                                        <p:tav tm="100000">
                                          <p:val>
                                            <p:strVal val="#ppt_x"/>
                                          </p:val>
                                        </p:tav>
                                      </p:tavLst>
                                    </p:anim>
                                    <p:anim calcmode="lin" valueType="num">
                                      <p:cBhvr additive="base">
                                        <p:cTn id="28" dur="1000" fill="hold"/>
                                        <p:tgtEl>
                                          <p:spTgt spid="56"/>
                                        </p:tgtEl>
                                        <p:attrNameLst>
                                          <p:attrName>ppt_y</p:attrName>
                                        </p:attrNameLst>
                                      </p:cBhvr>
                                      <p:tavLst>
                                        <p:tav tm="0">
                                          <p:val>
                                            <p:strVal val="0-#ppt_h/2"/>
                                          </p:val>
                                        </p:tav>
                                        <p:tav tm="100000">
                                          <p:val>
                                            <p:strVal val="#ppt_y"/>
                                          </p:val>
                                        </p:tav>
                                      </p:tavLst>
                                    </p:anim>
                                  </p:childTnLst>
                                </p:cTn>
                              </p:par>
                              <p:par>
                                <p:cTn id="29" presetID="2" presetClass="entr" presetSubtype="1" decel="100000" fill="hold" nodeType="withEffect">
                                  <p:stCondLst>
                                    <p:cond delay="750"/>
                                  </p:stCondLst>
                                  <p:childTnLst>
                                    <p:set>
                                      <p:cBhvr>
                                        <p:cTn id="30" dur="1" fill="hold">
                                          <p:stCondLst>
                                            <p:cond delay="0"/>
                                          </p:stCondLst>
                                        </p:cTn>
                                        <p:tgtEl>
                                          <p:spTgt spid="9"/>
                                        </p:tgtEl>
                                        <p:attrNameLst>
                                          <p:attrName>style.visibility</p:attrName>
                                        </p:attrNameLst>
                                      </p:cBhvr>
                                      <p:to>
                                        <p:strVal val="visible"/>
                                      </p:to>
                                    </p:set>
                                    <p:anim calcmode="lin" valueType="num">
                                      <p:cBhvr additive="base">
                                        <p:cTn id="31" dur="1000" fill="hold"/>
                                        <p:tgtEl>
                                          <p:spTgt spid="9"/>
                                        </p:tgtEl>
                                        <p:attrNameLst>
                                          <p:attrName>ppt_x</p:attrName>
                                        </p:attrNameLst>
                                      </p:cBhvr>
                                      <p:tavLst>
                                        <p:tav tm="0">
                                          <p:val>
                                            <p:strVal val="#ppt_x"/>
                                          </p:val>
                                        </p:tav>
                                        <p:tav tm="100000">
                                          <p:val>
                                            <p:strVal val="#ppt_x"/>
                                          </p:val>
                                        </p:tav>
                                      </p:tavLst>
                                    </p:anim>
                                    <p:anim calcmode="lin" valueType="num">
                                      <p:cBhvr additive="base">
                                        <p:cTn id="32" dur="1000" fill="hold"/>
                                        <p:tgtEl>
                                          <p:spTgt spid="9"/>
                                        </p:tgtEl>
                                        <p:attrNameLst>
                                          <p:attrName>ppt_y</p:attrName>
                                        </p:attrNameLst>
                                      </p:cBhvr>
                                      <p:tavLst>
                                        <p:tav tm="0">
                                          <p:val>
                                            <p:strVal val="0-#ppt_h/2"/>
                                          </p:val>
                                        </p:tav>
                                        <p:tav tm="100000">
                                          <p:val>
                                            <p:strVal val="#ppt_y"/>
                                          </p:val>
                                        </p:tav>
                                      </p:tavLst>
                                    </p:anim>
                                  </p:childTnLst>
                                </p:cTn>
                              </p:par>
                              <p:par>
                                <p:cTn id="33" presetID="2" presetClass="entr" presetSubtype="1" decel="100000" fill="hold" grpId="0" nodeType="withEffect">
                                  <p:stCondLst>
                                    <p:cond delay="1000"/>
                                  </p:stCondLst>
                                  <p:childTnLst>
                                    <p:set>
                                      <p:cBhvr>
                                        <p:cTn id="34" dur="1" fill="hold">
                                          <p:stCondLst>
                                            <p:cond delay="0"/>
                                          </p:stCondLst>
                                        </p:cTn>
                                        <p:tgtEl>
                                          <p:spTgt spid="57"/>
                                        </p:tgtEl>
                                        <p:attrNameLst>
                                          <p:attrName>style.visibility</p:attrName>
                                        </p:attrNameLst>
                                      </p:cBhvr>
                                      <p:to>
                                        <p:strVal val="visible"/>
                                      </p:to>
                                    </p:set>
                                    <p:anim calcmode="lin" valueType="num">
                                      <p:cBhvr additive="base">
                                        <p:cTn id="35" dur="1000" fill="hold"/>
                                        <p:tgtEl>
                                          <p:spTgt spid="57"/>
                                        </p:tgtEl>
                                        <p:attrNameLst>
                                          <p:attrName>ppt_x</p:attrName>
                                        </p:attrNameLst>
                                      </p:cBhvr>
                                      <p:tavLst>
                                        <p:tav tm="0">
                                          <p:val>
                                            <p:strVal val="#ppt_x"/>
                                          </p:val>
                                        </p:tav>
                                        <p:tav tm="100000">
                                          <p:val>
                                            <p:strVal val="#ppt_x"/>
                                          </p:val>
                                        </p:tav>
                                      </p:tavLst>
                                    </p:anim>
                                    <p:anim calcmode="lin" valueType="num">
                                      <p:cBhvr additive="base">
                                        <p:cTn id="36" dur="1000" fill="hold"/>
                                        <p:tgtEl>
                                          <p:spTgt spid="57"/>
                                        </p:tgtEl>
                                        <p:attrNameLst>
                                          <p:attrName>ppt_y</p:attrName>
                                        </p:attrNameLst>
                                      </p:cBhvr>
                                      <p:tavLst>
                                        <p:tav tm="0">
                                          <p:val>
                                            <p:strVal val="0-#ppt_h/2"/>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1" decel="100000" fill="hold" nodeType="clickEffect">
                                  <p:stCondLst>
                                    <p:cond delay="0"/>
                                  </p:stCondLst>
                                  <p:childTnLst>
                                    <p:set>
                                      <p:cBhvr>
                                        <p:cTn id="40" dur="1" fill="hold">
                                          <p:stCondLst>
                                            <p:cond delay="0"/>
                                          </p:stCondLst>
                                        </p:cTn>
                                        <p:tgtEl>
                                          <p:spTgt spid="4"/>
                                        </p:tgtEl>
                                        <p:attrNameLst>
                                          <p:attrName>style.visibility</p:attrName>
                                        </p:attrNameLst>
                                      </p:cBhvr>
                                      <p:to>
                                        <p:strVal val="visible"/>
                                      </p:to>
                                    </p:set>
                                    <p:anim calcmode="lin" valueType="num">
                                      <p:cBhvr additive="base">
                                        <p:cTn id="41" dur="1000" fill="hold"/>
                                        <p:tgtEl>
                                          <p:spTgt spid="4"/>
                                        </p:tgtEl>
                                        <p:attrNameLst>
                                          <p:attrName>ppt_x</p:attrName>
                                        </p:attrNameLst>
                                      </p:cBhvr>
                                      <p:tavLst>
                                        <p:tav tm="0">
                                          <p:val>
                                            <p:strVal val="#ppt_x"/>
                                          </p:val>
                                        </p:tav>
                                        <p:tav tm="100000">
                                          <p:val>
                                            <p:strVal val="#ppt_x"/>
                                          </p:val>
                                        </p:tav>
                                      </p:tavLst>
                                    </p:anim>
                                    <p:anim calcmode="lin" valueType="num">
                                      <p:cBhvr additive="base">
                                        <p:cTn id="42" dur="1000" fill="hold"/>
                                        <p:tgtEl>
                                          <p:spTgt spid="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P spid="55" grpId="0" animBg="1"/>
      <p:bldP spid="56" grpId="0" animBg="1"/>
      <p:bldP spid="57" grpId="0" animBg="1"/>
    </p:bld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Summary</a:t>
            </a:r>
            <a:endParaRPr lang="en-US" dirty="0"/>
          </a:p>
        </p:txBody>
      </p:sp>
      <p:grpSp>
        <p:nvGrpSpPr>
          <p:cNvPr id="43" name="Group 42"/>
          <p:cNvGrpSpPr/>
          <p:nvPr/>
        </p:nvGrpSpPr>
        <p:grpSpPr>
          <a:xfrm>
            <a:off x="640680" y="1113588"/>
            <a:ext cx="7838243" cy="969184"/>
            <a:chOff x="863521" y="4564689"/>
            <a:chExt cx="10448269" cy="1471752"/>
          </a:xfrm>
        </p:grpSpPr>
        <p:grpSp>
          <p:nvGrpSpPr>
            <p:cNvPr id="44" name="Group 43"/>
            <p:cNvGrpSpPr/>
            <p:nvPr/>
          </p:nvGrpSpPr>
          <p:grpSpPr>
            <a:xfrm>
              <a:off x="863521" y="4570822"/>
              <a:ext cx="10448269" cy="1465619"/>
              <a:chOff x="1017586" y="1728746"/>
              <a:chExt cx="13390757" cy="1878374"/>
            </a:xfrm>
          </p:grpSpPr>
          <p:sp>
            <p:nvSpPr>
              <p:cNvPr id="48" name="Rectangle 47"/>
              <p:cNvSpPr/>
              <p:nvPr/>
            </p:nvSpPr>
            <p:spPr bwMode="auto">
              <a:xfrm>
                <a:off x="1017586" y="1728746"/>
                <a:ext cx="1878374" cy="1878374"/>
              </a:xfrm>
              <a:prstGeom prst="rect">
                <a:avLst/>
              </a:prstGeom>
              <a:solidFill>
                <a:schemeClr val="accent3"/>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defTabSz="685552" fontAlgn="base">
                  <a:spcBef>
                    <a:spcPct val="0"/>
                  </a:spcBef>
                  <a:spcAft>
                    <a:spcPct val="0"/>
                  </a:spcAft>
                  <a:defRPr/>
                </a:pPr>
                <a:endParaRPr lang="en-US" sz="1500" kern="0" spc="-3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9" name="Rectangle 48"/>
              <p:cNvSpPr/>
              <p:nvPr/>
            </p:nvSpPr>
            <p:spPr bwMode="auto">
              <a:xfrm>
                <a:off x="3003503" y="1728746"/>
                <a:ext cx="9416113" cy="1878374"/>
              </a:xfrm>
              <a:prstGeom prst="rect">
                <a:avLst/>
              </a:prstGeom>
              <a:solidFill>
                <a:srgbClr val="3F3F3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marL="171445" defTabSz="685552" fontAlgn="base">
                  <a:spcBef>
                    <a:spcPct val="0"/>
                  </a:spcBef>
                  <a:spcAft>
                    <a:spcPct val="0"/>
                  </a:spcAft>
                  <a:defRPr/>
                </a:pPr>
                <a:r>
                  <a:rPr lang="en-US" sz="2600" b="1" kern="0" dirty="0">
                    <a:solidFill>
                      <a:srgbClr val="FFFFFF">
                        <a:alpha val="99000"/>
                      </a:srgbClr>
                    </a:solidFill>
                    <a:latin typeface="Segoe UI Light"/>
                  </a:rPr>
                  <a:t>SQL Server 2012</a:t>
                </a:r>
              </a:p>
              <a:p>
                <a:pPr marL="171445" defTabSz="685552" fontAlgn="base">
                  <a:spcBef>
                    <a:spcPct val="0"/>
                  </a:spcBef>
                  <a:spcAft>
                    <a:spcPct val="0"/>
                  </a:spcAft>
                  <a:defRPr/>
                </a:pPr>
                <a:r>
                  <a:rPr lang="en-US" kern="0" dirty="0">
                    <a:solidFill>
                      <a:srgbClr val="FFFFFF">
                        <a:alpha val="99000"/>
                      </a:srgbClr>
                    </a:solidFill>
                    <a:latin typeface="Segoe UI Light"/>
                  </a:rPr>
                  <a:t>Provides the database platform </a:t>
                </a:r>
                <a:r>
                  <a:rPr lang="en-US" kern="0" dirty="0" smtClean="0">
                    <a:solidFill>
                      <a:srgbClr val="FFFFFF">
                        <a:alpha val="99000"/>
                      </a:srgbClr>
                    </a:solidFill>
                    <a:latin typeface="Segoe UI Light"/>
                  </a:rPr>
                  <a:t>for your private cloud</a:t>
                </a:r>
                <a:endParaRPr lang="en-US" kern="0" dirty="0">
                  <a:solidFill>
                    <a:srgbClr val="FFFFFF">
                      <a:alpha val="99000"/>
                    </a:srgbClr>
                  </a:solidFill>
                  <a:latin typeface="Segoe UI Light"/>
                </a:endParaRPr>
              </a:p>
            </p:txBody>
          </p:sp>
          <p:sp>
            <p:nvSpPr>
              <p:cNvPr id="50" name="Rectangle 49"/>
              <p:cNvSpPr/>
              <p:nvPr/>
            </p:nvSpPr>
            <p:spPr bwMode="auto">
              <a:xfrm>
                <a:off x="12529969" y="1728746"/>
                <a:ext cx="1878374" cy="1878374"/>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defTabSz="685552" fontAlgn="base">
                  <a:spcBef>
                    <a:spcPct val="0"/>
                  </a:spcBef>
                  <a:spcAft>
                    <a:spcPct val="0"/>
                  </a:spcAft>
                  <a:defRPr/>
                </a:pPr>
                <a:endParaRPr lang="en-US" sz="1500" kern="0" spc="-38"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45" name="Picture 4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88063" y="4765989"/>
              <a:ext cx="2107383" cy="435872"/>
            </a:xfrm>
            <a:prstGeom prst="rect">
              <a:avLst/>
            </a:prstGeom>
          </p:spPr>
        </p:pic>
        <p:pic>
          <p:nvPicPr>
            <p:cNvPr id="46" name="Picture 2" descr="\\MAGNUM\Projects\Microsoft\Cloud Power FY12\Design\ICONS_PNG\Building.png"/>
            <p:cNvPicPr>
              <a:picLocks noChangeAspect="1" noChangeArrowheads="1"/>
            </p:cNvPicPr>
            <p:nvPr/>
          </p:nvPicPr>
          <p:blipFill>
            <a:blip r:embed="rId4" cstate="print">
              <a:biLevel thresh="50000"/>
            </a:blip>
            <a:srcRect/>
            <a:stretch>
              <a:fillRect/>
            </a:stretch>
          </p:blipFill>
          <p:spPr bwMode="auto">
            <a:xfrm>
              <a:off x="9760066" y="4564689"/>
              <a:ext cx="1445942" cy="1445942"/>
            </a:xfrm>
            <a:prstGeom prst="rect">
              <a:avLst/>
            </a:prstGeom>
            <a:noFill/>
          </p:spPr>
        </p:pic>
        <p:pic>
          <p:nvPicPr>
            <p:cNvPr id="47" name="Picture 46" descr="\\MAGNUM\Projects\Microsoft\Cloud Power FY12\Design\ICONS_PNG\Open_Web_Platform.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Lst>
            </a:blip>
            <a:srcRect/>
            <a:stretch>
              <a:fillRect/>
            </a:stretch>
          </p:blipFill>
          <p:spPr bwMode="auto">
            <a:xfrm>
              <a:off x="964315" y="4664754"/>
              <a:ext cx="1264975" cy="1264975"/>
            </a:xfrm>
            <a:prstGeom prst="rect">
              <a:avLst/>
            </a:prstGeom>
            <a:noFill/>
          </p:spPr>
        </p:pic>
      </p:grpSp>
      <p:sp useBgFill="1">
        <p:nvSpPr>
          <p:cNvPr id="51" name="MASK"/>
          <p:cNvSpPr/>
          <p:nvPr/>
        </p:nvSpPr>
        <p:spPr>
          <a:xfrm>
            <a:off x="8486052" y="857250"/>
            <a:ext cx="657948" cy="39433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algn="ctr"/>
            <a:endParaRPr lang="en-US" dirty="0"/>
          </a:p>
        </p:txBody>
      </p:sp>
      <p:grpSp>
        <p:nvGrpSpPr>
          <p:cNvPr id="6" name="Group 5"/>
          <p:cNvGrpSpPr/>
          <p:nvPr/>
        </p:nvGrpSpPr>
        <p:grpSpPr>
          <a:xfrm>
            <a:off x="640678" y="2121195"/>
            <a:ext cx="7831109" cy="1084247"/>
            <a:chOff x="854015" y="5126580"/>
            <a:chExt cx="10438759" cy="1445662"/>
          </a:xfrm>
        </p:grpSpPr>
        <p:sp>
          <p:nvSpPr>
            <p:cNvPr id="64" name="Rectangle 63"/>
            <p:cNvSpPr/>
            <p:nvPr/>
          </p:nvSpPr>
          <p:spPr bwMode="auto">
            <a:xfrm>
              <a:off x="2405916" y="5145524"/>
              <a:ext cx="7347014" cy="1286860"/>
            </a:xfrm>
            <a:prstGeom prst="rect">
              <a:avLst/>
            </a:prstGeom>
            <a:solidFill>
              <a:srgbClr val="3F3F3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marL="171445" defTabSz="685552" fontAlgn="base">
                <a:spcBef>
                  <a:spcPct val="0"/>
                </a:spcBef>
                <a:spcAft>
                  <a:spcPct val="0"/>
                </a:spcAft>
                <a:defRPr/>
              </a:pPr>
              <a:r>
                <a:rPr lang="fr-FR" sz="2600" b="1" kern="0" dirty="0">
                  <a:solidFill>
                    <a:srgbClr val="FFFFFF">
                      <a:alpha val="99000"/>
                    </a:srgbClr>
                  </a:solidFill>
                  <a:latin typeface="Segoe UI Light"/>
                </a:rPr>
                <a:t>Database Consolidation Appliance</a:t>
              </a:r>
            </a:p>
            <a:p>
              <a:pPr marL="171445" defTabSz="685552" fontAlgn="base">
                <a:spcBef>
                  <a:spcPct val="0"/>
                </a:spcBef>
                <a:spcAft>
                  <a:spcPct val="0"/>
                </a:spcAft>
                <a:tabLst>
                  <a:tab pos="433373" algn="l"/>
                </a:tabLst>
                <a:defRPr/>
              </a:pPr>
              <a:r>
                <a:rPr lang="fr-FR" kern="0" dirty="0" smtClean="0">
                  <a:solidFill>
                    <a:srgbClr val="FFFFFF">
                      <a:alpha val="99000"/>
                    </a:srgbClr>
                  </a:solidFill>
                  <a:latin typeface="Segoe UI Light"/>
                </a:rPr>
                <a:t>Ideal solution for a database tuned private cloud</a:t>
              </a:r>
              <a:endParaRPr lang="fr-FR" kern="0" dirty="0">
                <a:solidFill>
                  <a:srgbClr val="FFFFFF">
                    <a:alpha val="99000"/>
                  </a:srgbClr>
                </a:solidFill>
                <a:latin typeface="Segoe UI Light"/>
              </a:endParaRPr>
            </a:p>
          </p:txBody>
        </p:sp>
        <p:grpSp>
          <p:nvGrpSpPr>
            <p:cNvPr id="4" name="Group 3"/>
            <p:cNvGrpSpPr/>
            <p:nvPr/>
          </p:nvGrpSpPr>
          <p:grpSpPr>
            <a:xfrm>
              <a:off x="854015" y="5145523"/>
              <a:ext cx="1470142" cy="1426719"/>
              <a:chOff x="666281" y="4839315"/>
              <a:chExt cx="1651766" cy="1774030"/>
            </a:xfrm>
          </p:grpSpPr>
          <p:sp>
            <p:nvSpPr>
              <p:cNvPr id="66" name="Rectangle 65"/>
              <p:cNvSpPr/>
              <p:nvPr/>
            </p:nvSpPr>
            <p:spPr bwMode="auto">
              <a:xfrm>
                <a:off x="666281" y="4839315"/>
                <a:ext cx="1651766" cy="16236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0" bIns="91440" numCol="1" spcCol="0" rtlCol="0" fromWordArt="0" anchor="t" anchorCtr="0" forceAA="0" compatLnSpc="1">
                <a:prstTxWarp prst="textNoShape">
                  <a:avLst/>
                </a:prstTxWarp>
                <a:noAutofit/>
              </a:bodyPr>
              <a:lstStyle/>
              <a:p>
                <a:pPr>
                  <a:lnSpc>
                    <a:spcPct val="90000"/>
                  </a:lnSpc>
                </a:pPr>
                <a:r>
                  <a:rPr lang="en-US" sz="1600" dirty="0">
                    <a:solidFill>
                      <a:srgbClr val="FFFFFF">
                        <a:alpha val="99000"/>
                      </a:srgbClr>
                    </a:solidFill>
                    <a:latin typeface="Segoe UI" pitchFamily="34" charset="0"/>
                    <a:ea typeface="Segoe UI" pitchFamily="34" charset="0"/>
                    <a:cs typeface="Segoe UI" pitchFamily="34" charset="0"/>
                  </a:rPr>
                  <a:t>Private</a:t>
                </a:r>
              </a:p>
              <a:p>
                <a:pPr>
                  <a:lnSpc>
                    <a:spcPct val="90000"/>
                  </a:lnSpc>
                </a:pPr>
                <a:r>
                  <a:rPr lang="en-US" sz="900" dirty="0">
                    <a:solidFill>
                      <a:srgbClr val="FFFFFF">
                        <a:alpha val="99000"/>
                      </a:srgbClr>
                    </a:solidFill>
                    <a:latin typeface="Segoe UI" pitchFamily="34" charset="0"/>
                    <a:ea typeface="Segoe UI" pitchFamily="34" charset="0"/>
                    <a:cs typeface="Segoe UI" pitchFamily="34" charset="0"/>
                  </a:rPr>
                  <a:t>CLOUD</a:t>
                </a:r>
                <a:endParaRPr lang="fi-FI" sz="900" dirty="0">
                  <a:solidFill>
                    <a:srgbClr val="FFFFFF">
                      <a:alpha val="99000"/>
                    </a:srgbClr>
                  </a:solidFill>
                  <a:latin typeface="Segoe UI" pitchFamily="34" charset="0"/>
                  <a:ea typeface="Segoe UI" pitchFamily="34" charset="0"/>
                  <a:cs typeface="Segoe UI" pitchFamily="34" charset="0"/>
                </a:endParaRPr>
              </a:p>
            </p:txBody>
          </p:sp>
          <p:pic>
            <p:nvPicPr>
              <p:cNvPr id="67" name="Picture 2" descr="\\MAGNUM\Projects\Microsoft\Cloud Power FY12\Design\ICONS_PNG\Tower.png"/>
              <p:cNvPicPr>
                <a:picLocks noChangeAspect="1" noChangeArrowheads="1"/>
              </p:cNvPicPr>
              <p:nvPr/>
            </p:nvPicPr>
            <p:blipFill>
              <a:blip r:embed="rId7" cstate="print">
                <a:lum bright="100000" contrast="100000"/>
              </a:blip>
              <a:stretch>
                <a:fillRect/>
              </a:stretch>
            </p:blipFill>
            <p:spPr bwMode="auto">
              <a:xfrm>
                <a:off x="1104181" y="5211973"/>
                <a:ext cx="888783" cy="1401372"/>
              </a:xfrm>
              <a:prstGeom prst="rect">
                <a:avLst/>
              </a:prstGeom>
              <a:noFill/>
            </p:spPr>
          </p:pic>
        </p:grpSp>
        <p:grpSp>
          <p:nvGrpSpPr>
            <p:cNvPr id="5" name="Group 4"/>
            <p:cNvGrpSpPr/>
            <p:nvPr/>
          </p:nvGrpSpPr>
          <p:grpSpPr>
            <a:xfrm>
              <a:off x="9836664" y="5126580"/>
              <a:ext cx="1456110" cy="1305804"/>
              <a:chOff x="6083474" y="4585788"/>
              <a:chExt cx="1627258" cy="1653062"/>
            </a:xfrm>
          </p:grpSpPr>
          <p:sp>
            <p:nvSpPr>
              <p:cNvPr id="68" name="Rectangle 67"/>
              <p:cNvSpPr/>
              <p:nvPr/>
            </p:nvSpPr>
            <p:spPr bwMode="auto">
              <a:xfrm>
                <a:off x="6083474" y="4609538"/>
                <a:ext cx="1627258" cy="16272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defTabSz="685552" fontAlgn="base">
                  <a:spcBef>
                    <a:spcPct val="0"/>
                  </a:spcBef>
                  <a:spcAft>
                    <a:spcPct val="0"/>
                  </a:spcAft>
                </a:pPr>
                <a:endParaRPr lang="en-US" sz="2300" spc="-38" dirty="0">
                  <a:gradFill>
                    <a:gsLst>
                      <a:gs pos="0">
                        <a:srgbClr val="FFFFFF"/>
                      </a:gs>
                      <a:gs pos="100000">
                        <a:srgbClr val="FFFFFF"/>
                      </a:gs>
                    </a:gsLst>
                    <a:lin ang="5400000" scaled="0"/>
                  </a:gradFill>
                  <a:ea typeface="Segoe UI" pitchFamily="34" charset="0"/>
                  <a:cs typeface="Segoe UI" pitchFamily="34" charset="0"/>
                </a:endParaRPr>
              </a:p>
            </p:txBody>
          </p:sp>
          <p:pic>
            <p:nvPicPr>
              <p:cNvPr id="69" name="Picture 6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589345" y="4585788"/>
                <a:ext cx="668869" cy="1653062"/>
              </a:xfrm>
              <a:prstGeom prst="rect">
                <a:avLst/>
              </a:prstGeom>
            </p:spPr>
          </p:pic>
        </p:grpSp>
      </p:grpSp>
      <p:grpSp>
        <p:nvGrpSpPr>
          <p:cNvPr id="52" name="Group 51"/>
          <p:cNvGrpSpPr/>
          <p:nvPr/>
        </p:nvGrpSpPr>
        <p:grpSpPr>
          <a:xfrm>
            <a:off x="641634" y="3157292"/>
            <a:ext cx="7838243" cy="969653"/>
            <a:chOff x="863521" y="2997277"/>
            <a:chExt cx="10448269" cy="1472465"/>
          </a:xfrm>
        </p:grpSpPr>
        <p:grpSp>
          <p:nvGrpSpPr>
            <p:cNvPr id="53" name="Group 52"/>
            <p:cNvGrpSpPr/>
            <p:nvPr/>
          </p:nvGrpSpPr>
          <p:grpSpPr>
            <a:xfrm>
              <a:off x="863521" y="3000850"/>
              <a:ext cx="10448268" cy="1465619"/>
              <a:chOff x="1017586" y="1728746"/>
              <a:chExt cx="13390756" cy="1878374"/>
            </a:xfrm>
          </p:grpSpPr>
          <p:sp>
            <p:nvSpPr>
              <p:cNvPr id="56" name="Rectangle 55"/>
              <p:cNvSpPr/>
              <p:nvPr/>
            </p:nvSpPr>
            <p:spPr bwMode="auto">
              <a:xfrm>
                <a:off x="1017586" y="1728746"/>
                <a:ext cx="1878374" cy="1878374"/>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defTabSz="685552" fontAlgn="base">
                  <a:spcBef>
                    <a:spcPct val="0"/>
                  </a:spcBef>
                  <a:spcAft>
                    <a:spcPct val="0"/>
                  </a:spcAft>
                  <a:defRPr/>
                </a:pPr>
                <a:endParaRPr lang="en-US" sz="1500" kern="0" spc="-3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7" name="Rectangle 56"/>
              <p:cNvSpPr/>
              <p:nvPr/>
            </p:nvSpPr>
            <p:spPr bwMode="auto">
              <a:xfrm>
                <a:off x="3003503" y="1728746"/>
                <a:ext cx="9416113" cy="1878374"/>
              </a:xfrm>
              <a:prstGeom prst="rect">
                <a:avLst/>
              </a:prstGeom>
              <a:solidFill>
                <a:srgbClr val="3F3F3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marL="171445" defTabSz="685552" fontAlgn="base">
                  <a:spcBef>
                    <a:spcPct val="0"/>
                  </a:spcBef>
                  <a:spcAft>
                    <a:spcPct val="0"/>
                  </a:spcAft>
                  <a:defRPr/>
                </a:pPr>
                <a:r>
                  <a:rPr lang="fr-FR" sz="2600" b="1" kern="0" dirty="0">
                    <a:solidFill>
                      <a:srgbClr val="FFFFFF">
                        <a:alpha val="99000"/>
                      </a:srgbClr>
                    </a:solidFill>
                    <a:latin typeface="Segoe UI Light"/>
                  </a:rPr>
                  <a:t>Microsoft </a:t>
                </a:r>
              </a:p>
              <a:p>
                <a:pPr marL="171445" defTabSz="685552" fontAlgn="base">
                  <a:spcBef>
                    <a:spcPct val="0"/>
                  </a:spcBef>
                  <a:spcAft>
                    <a:spcPct val="0"/>
                  </a:spcAft>
                  <a:tabLst>
                    <a:tab pos="433373" algn="l"/>
                  </a:tabLst>
                  <a:defRPr/>
                </a:pPr>
                <a:r>
                  <a:rPr lang="fr-FR" kern="0" dirty="0" smtClean="0">
                    <a:solidFill>
                      <a:srgbClr val="FFFFFF">
                        <a:alpha val="99000"/>
                      </a:srgbClr>
                    </a:solidFill>
                    <a:latin typeface="Segoe UI Light"/>
                  </a:rPr>
                  <a:t>Offer </a:t>
                </a:r>
                <a:r>
                  <a:rPr lang="fr-FR" kern="0" dirty="0">
                    <a:solidFill>
                      <a:srgbClr val="FFFFFF">
                        <a:alpha val="99000"/>
                      </a:srgbClr>
                    </a:solidFill>
                    <a:latin typeface="Segoe UI Light"/>
                  </a:rPr>
                  <a:t>unique </a:t>
                </a:r>
                <a:r>
                  <a:rPr lang="fr-FR" kern="0" dirty="0" err="1">
                    <a:solidFill>
                      <a:srgbClr val="FFFFFF">
                        <a:alpha val="99000"/>
                      </a:srgbClr>
                    </a:solidFill>
                    <a:latin typeface="Segoe UI Light"/>
                  </a:rPr>
                  <a:t>benefits</a:t>
                </a:r>
                <a:r>
                  <a:rPr lang="fr-FR" kern="0" dirty="0">
                    <a:solidFill>
                      <a:srgbClr val="FFFFFF">
                        <a:alpha val="99000"/>
                      </a:srgbClr>
                    </a:solidFill>
                    <a:latin typeface="Segoe UI Light"/>
                  </a:rPr>
                  <a:t> </a:t>
                </a:r>
                <a:r>
                  <a:rPr lang="fr-FR" kern="0" dirty="0" smtClean="0">
                    <a:solidFill>
                      <a:srgbClr val="FFFFFF">
                        <a:alpha val="99000"/>
                      </a:srgbClr>
                    </a:solidFill>
                    <a:latin typeface="Segoe UI Light"/>
                  </a:rPr>
                  <a:t>for building </a:t>
                </a:r>
                <a:r>
                  <a:rPr lang="fr-FR" kern="0" dirty="0" err="1" smtClean="0">
                    <a:solidFill>
                      <a:srgbClr val="FFFFFF">
                        <a:alpha val="99000"/>
                      </a:srgbClr>
                    </a:solidFill>
                    <a:latin typeface="Segoe UI Light"/>
                  </a:rPr>
                  <a:t>next</a:t>
                </a:r>
                <a:r>
                  <a:rPr lang="fr-FR" kern="0" dirty="0" smtClean="0">
                    <a:solidFill>
                      <a:srgbClr val="FFFFFF">
                        <a:alpha val="99000"/>
                      </a:srgbClr>
                    </a:solidFill>
                    <a:latin typeface="Segoe UI Light"/>
                  </a:rPr>
                  <a:t> </a:t>
                </a:r>
                <a:r>
                  <a:rPr lang="fr-FR" kern="0" dirty="0" err="1" smtClean="0">
                    <a:solidFill>
                      <a:srgbClr val="FFFFFF">
                        <a:alpha val="99000"/>
                      </a:srgbClr>
                    </a:solidFill>
                    <a:latin typeface="Segoe UI Light"/>
                  </a:rPr>
                  <a:t>generation</a:t>
                </a:r>
                <a:r>
                  <a:rPr lang="fr-FR" kern="0" dirty="0" smtClean="0">
                    <a:solidFill>
                      <a:srgbClr val="FFFFFF">
                        <a:alpha val="99000"/>
                      </a:srgbClr>
                    </a:solidFill>
                    <a:latin typeface="Segoe UI Light"/>
                  </a:rPr>
                  <a:t> </a:t>
                </a:r>
                <a:r>
                  <a:rPr lang="fr-FR" kern="0" dirty="0" err="1" smtClean="0">
                    <a:solidFill>
                      <a:srgbClr val="FFFFFF">
                        <a:alpha val="99000"/>
                      </a:srgbClr>
                    </a:solidFill>
                    <a:latin typeface="Segoe UI Light"/>
                  </a:rPr>
                  <a:t>private</a:t>
                </a:r>
                <a:r>
                  <a:rPr lang="fr-FR" kern="0" dirty="0" smtClean="0">
                    <a:solidFill>
                      <a:srgbClr val="FFFFFF">
                        <a:alpha val="99000"/>
                      </a:srgbClr>
                    </a:solidFill>
                    <a:latin typeface="Segoe UI Light"/>
                  </a:rPr>
                  <a:t> </a:t>
                </a:r>
                <a:r>
                  <a:rPr lang="fr-FR" kern="0" dirty="0" err="1" smtClean="0">
                    <a:solidFill>
                      <a:srgbClr val="FFFFFF">
                        <a:alpha val="99000"/>
                      </a:srgbClr>
                    </a:solidFill>
                    <a:latin typeface="Segoe UI Light"/>
                  </a:rPr>
                  <a:t>cloud</a:t>
                </a:r>
                <a:endParaRPr lang="fr-FR" kern="0" dirty="0">
                  <a:solidFill>
                    <a:srgbClr val="FFFFFF">
                      <a:alpha val="99000"/>
                    </a:srgbClr>
                  </a:solidFill>
                  <a:latin typeface="Segoe UI Light"/>
                </a:endParaRPr>
              </a:p>
            </p:txBody>
          </p:sp>
          <p:sp>
            <p:nvSpPr>
              <p:cNvPr id="58" name="Rectangle 57"/>
              <p:cNvSpPr/>
              <p:nvPr/>
            </p:nvSpPr>
            <p:spPr bwMode="auto">
              <a:xfrm>
                <a:off x="12529968" y="1728746"/>
                <a:ext cx="1878374" cy="1878374"/>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defTabSz="685552" fontAlgn="base">
                  <a:spcBef>
                    <a:spcPct val="0"/>
                  </a:spcBef>
                  <a:spcAft>
                    <a:spcPct val="0"/>
                  </a:spcAft>
                  <a:defRPr/>
                </a:pPr>
                <a:endParaRPr lang="en-US" sz="1500" kern="0" spc="-38"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54" name="Picture 2" descr="\\MAGNUM\Projects\Microsoft\Cloud Power FY12\Design\Icons\PNGs\Cloud_on_your_terms.png"/>
            <p:cNvPicPr>
              <a:picLocks noChangeAspect="1" noChangeArrowheads="1"/>
            </p:cNvPicPr>
            <p:nvPr/>
          </p:nvPicPr>
          <p:blipFill>
            <a:blip r:embed="rId9" cstate="print">
              <a:lum bright="100000"/>
            </a:blip>
            <a:stretch>
              <a:fillRect/>
            </a:stretch>
          </p:blipFill>
          <p:spPr bwMode="auto">
            <a:xfrm>
              <a:off x="9839325" y="2997277"/>
              <a:ext cx="1472465" cy="1472465"/>
            </a:xfrm>
            <a:prstGeom prst="rect">
              <a:avLst/>
            </a:prstGeom>
            <a:noFill/>
            <a:ln>
              <a:noFill/>
            </a:ln>
          </p:spPr>
        </p:pic>
        <p:pic>
          <p:nvPicPr>
            <p:cNvPr id="55" name="Picture 5" descr="\\MAGNUM\Projects\Microsoft\Cloud Power FY12\Design\ICONS_PNG\Layer-79.png"/>
            <p:cNvPicPr>
              <a:picLocks noChangeAspect="1" noChangeArrowheads="1"/>
            </p:cNvPicPr>
            <p:nvPr/>
          </p:nvPicPr>
          <p:blipFill>
            <a:blip r:embed="rId10" cstate="print">
              <a:lum bright="100000"/>
            </a:blip>
            <a:srcRect/>
            <a:stretch>
              <a:fillRect/>
            </a:stretch>
          </p:blipFill>
          <p:spPr bwMode="auto">
            <a:xfrm>
              <a:off x="944157" y="3103986"/>
              <a:ext cx="1264975" cy="1264975"/>
            </a:xfrm>
            <a:prstGeom prst="rect">
              <a:avLst/>
            </a:prstGeom>
            <a:noFill/>
          </p:spPr>
        </p:pic>
      </p:grpSp>
      <p:sp>
        <p:nvSpPr>
          <p:cNvPr id="27"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8"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11"/>
              </a:rPr>
              <a:t>www.rapidbbs.cn</a:t>
            </a:r>
            <a:endParaRPr lang="zh-CN" altLang="en-US" sz="1200" b="0">
              <a:latin typeface="Arial" charset="0"/>
              <a:ea typeface="ＭＳ Ｐゴシック" pitchFamily="34" charset="-128"/>
            </a:endParaRPr>
          </a:p>
        </p:txBody>
      </p:sp>
      <p:pic>
        <p:nvPicPr>
          <p:cNvPr id="29" name="Picture 2">
            <a:hlinkClick r:id="rId11"/>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39559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decel="100000" fill="hold" nodeType="clickEffect">
                                  <p:stCondLst>
                                    <p:cond delay="0"/>
                                  </p:stCondLst>
                                  <p:childTnLst>
                                    <p:set>
                                      <p:cBhvr>
                                        <p:cTn id="6" dur="1" fill="hold">
                                          <p:stCondLst>
                                            <p:cond delay="0"/>
                                          </p:stCondLst>
                                        </p:cTn>
                                        <p:tgtEl>
                                          <p:spTgt spid="43"/>
                                        </p:tgtEl>
                                        <p:attrNameLst>
                                          <p:attrName>style.visibility</p:attrName>
                                        </p:attrNameLst>
                                      </p:cBhvr>
                                      <p:to>
                                        <p:strVal val="visible"/>
                                      </p:to>
                                    </p:set>
                                    <p:anim calcmode="lin" valueType="num">
                                      <p:cBhvr additive="base">
                                        <p:cTn id="7" dur="1000" fill="hold"/>
                                        <p:tgtEl>
                                          <p:spTgt spid="43"/>
                                        </p:tgtEl>
                                        <p:attrNameLst>
                                          <p:attrName>ppt_x</p:attrName>
                                        </p:attrNameLst>
                                      </p:cBhvr>
                                      <p:tavLst>
                                        <p:tav tm="0">
                                          <p:val>
                                            <p:strVal val="1+#ppt_w/2"/>
                                          </p:val>
                                        </p:tav>
                                        <p:tav tm="100000">
                                          <p:val>
                                            <p:strVal val="#ppt_x"/>
                                          </p:val>
                                        </p:tav>
                                      </p:tavLst>
                                    </p:anim>
                                    <p:anim calcmode="lin" valueType="num">
                                      <p:cBhvr additive="base">
                                        <p:cTn id="8" dur="1000" fill="hold"/>
                                        <p:tgtEl>
                                          <p:spTgt spid="43"/>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500" fill="hold"/>
                                        <p:tgtEl>
                                          <p:spTgt spid="6"/>
                                        </p:tgtEl>
                                        <p:attrNameLst>
                                          <p:attrName>ppt_x</p:attrName>
                                        </p:attrNameLst>
                                      </p:cBhvr>
                                      <p:tavLst>
                                        <p:tav tm="0">
                                          <p:val>
                                            <p:strVal val="1+#ppt_w/2"/>
                                          </p:val>
                                        </p:tav>
                                        <p:tav tm="100000">
                                          <p:val>
                                            <p:strVal val="#ppt_x"/>
                                          </p:val>
                                        </p:tav>
                                      </p:tavLst>
                                    </p:anim>
                                    <p:anim calcmode="lin" valueType="num">
                                      <p:cBhvr additive="base">
                                        <p:cTn id="14" dur="500" fill="hold"/>
                                        <p:tgtEl>
                                          <p:spTgt spid="6"/>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2" fill="hold" nodeType="clickEffect">
                                  <p:stCondLst>
                                    <p:cond delay="0"/>
                                  </p:stCondLst>
                                  <p:childTnLst>
                                    <p:set>
                                      <p:cBhvr>
                                        <p:cTn id="18" dur="1" fill="hold">
                                          <p:stCondLst>
                                            <p:cond delay="0"/>
                                          </p:stCondLst>
                                        </p:cTn>
                                        <p:tgtEl>
                                          <p:spTgt spid="52"/>
                                        </p:tgtEl>
                                        <p:attrNameLst>
                                          <p:attrName>style.visibility</p:attrName>
                                        </p:attrNameLst>
                                      </p:cBhvr>
                                      <p:to>
                                        <p:strVal val="visible"/>
                                      </p:to>
                                    </p:set>
                                    <p:anim calcmode="lin" valueType="num">
                                      <p:cBhvr additive="base">
                                        <p:cTn id="19" dur="500" fill="hold"/>
                                        <p:tgtEl>
                                          <p:spTgt spid="52"/>
                                        </p:tgtEl>
                                        <p:attrNameLst>
                                          <p:attrName>ppt_x</p:attrName>
                                        </p:attrNameLst>
                                      </p:cBhvr>
                                      <p:tavLst>
                                        <p:tav tm="0">
                                          <p:val>
                                            <p:strVal val="1+#ppt_w/2"/>
                                          </p:val>
                                        </p:tav>
                                        <p:tav tm="100000">
                                          <p:val>
                                            <p:strVal val="#ppt_x"/>
                                          </p:val>
                                        </p:tav>
                                      </p:tavLst>
                                    </p:anim>
                                    <p:anim calcmode="lin" valueType="num">
                                      <p:cBhvr additive="base">
                                        <p:cTn id="20" dur="500" fill="hold"/>
                                        <p:tgtEl>
                                          <p:spTgt spid="5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Green"/>
          <p:cNvSpPr/>
          <p:nvPr/>
        </p:nvSpPr>
        <p:spPr bwMode="auto">
          <a:xfrm>
            <a:off x="5673022" y="21229"/>
            <a:ext cx="1373752" cy="1336985"/>
          </a:xfrm>
          <a:prstGeom prst="roundRect">
            <a:avLst>
              <a:gd name="adj" fmla="val 0"/>
            </a:avLst>
          </a:prstGeom>
          <a:solidFill>
            <a:schemeClr val="accent6"/>
          </a:soli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700" dirty="0">
                <a:solidFill>
                  <a:schemeClr val="tx1">
                    <a:alpha val="99000"/>
                  </a:schemeClr>
                </a:solidFill>
                <a:latin typeface="Segoe UI" pitchFamily="34" charset="0"/>
                <a:ea typeface="Segoe UI" pitchFamily="34" charset="0"/>
                <a:cs typeface="Segoe UI" pitchFamily="34" charset="0"/>
              </a:rPr>
              <a:t>Demos</a:t>
            </a:r>
          </a:p>
        </p:txBody>
      </p:sp>
      <p:sp>
        <p:nvSpPr>
          <p:cNvPr id="26" name="Red"/>
          <p:cNvSpPr/>
          <p:nvPr/>
        </p:nvSpPr>
        <p:spPr bwMode="auto">
          <a:xfrm>
            <a:off x="5673022" y="1436084"/>
            <a:ext cx="2898725" cy="1336985"/>
          </a:xfrm>
          <a:prstGeom prst="roundRect">
            <a:avLst>
              <a:gd name="adj" fmla="val 0"/>
            </a:avLst>
          </a:prstGeom>
          <a:solidFill>
            <a:schemeClr val="accent5"/>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700" dirty="0">
                <a:solidFill>
                  <a:schemeClr val="tx1">
                    <a:alpha val="99000"/>
                  </a:schemeClr>
                </a:solidFill>
                <a:latin typeface="Segoe UI" pitchFamily="34" charset="0"/>
                <a:ea typeface="Segoe UI" pitchFamily="34" charset="0"/>
                <a:cs typeface="Segoe UI" pitchFamily="34" charset="0"/>
              </a:rPr>
              <a:t>Demos</a:t>
            </a:r>
          </a:p>
        </p:txBody>
      </p:sp>
      <p:sp>
        <p:nvSpPr>
          <p:cNvPr id="27" name="Yellow"/>
          <p:cNvSpPr/>
          <p:nvPr/>
        </p:nvSpPr>
        <p:spPr bwMode="auto">
          <a:xfrm>
            <a:off x="4242247" y="1436084"/>
            <a:ext cx="1356925" cy="1336985"/>
          </a:xfrm>
          <a:prstGeom prst="roundRect">
            <a:avLst>
              <a:gd name="adj" fmla="val 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700" dirty="0">
                <a:solidFill>
                  <a:schemeClr val="tx1">
                    <a:alpha val="99000"/>
                  </a:schemeClr>
                </a:solidFill>
                <a:latin typeface="Segoe UI" pitchFamily="34" charset="0"/>
                <a:ea typeface="Segoe UI" pitchFamily="34" charset="0"/>
                <a:cs typeface="Segoe UI" pitchFamily="34" charset="0"/>
              </a:rPr>
              <a:t>Demos</a:t>
            </a:r>
          </a:p>
        </p:txBody>
      </p:sp>
      <p:sp>
        <p:nvSpPr>
          <p:cNvPr id="28" name="Orange"/>
          <p:cNvSpPr/>
          <p:nvPr/>
        </p:nvSpPr>
        <p:spPr bwMode="auto">
          <a:xfrm>
            <a:off x="4244042" y="21230"/>
            <a:ext cx="1356926" cy="1336985"/>
          </a:xfrm>
          <a:prstGeom prst="roundRect">
            <a:avLst>
              <a:gd name="adj" fmla="val 0"/>
            </a:avLst>
          </a:prstGeom>
          <a:solidFill>
            <a:schemeClr val="accent3"/>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700" dirty="0">
                <a:solidFill>
                  <a:schemeClr val="tx1">
                    <a:alpha val="99000"/>
                  </a:schemeClr>
                </a:solidFill>
                <a:latin typeface="Segoe UI" pitchFamily="34" charset="0"/>
                <a:ea typeface="Segoe UI" pitchFamily="34" charset="0"/>
                <a:cs typeface="Segoe UI" pitchFamily="34" charset="0"/>
              </a:rPr>
              <a:t>Demos</a:t>
            </a:r>
          </a:p>
        </p:txBody>
      </p:sp>
      <p:sp>
        <p:nvSpPr>
          <p:cNvPr id="29" name="Light Blue"/>
          <p:cNvSpPr/>
          <p:nvPr/>
        </p:nvSpPr>
        <p:spPr bwMode="auto">
          <a:xfrm>
            <a:off x="7120037" y="2"/>
            <a:ext cx="1451711" cy="1356665"/>
          </a:xfrm>
          <a:prstGeom prst="roundRect">
            <a:avLst>
              <a:gd name="adj" fmla="val 0"/>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700" dirty="0">
                <a:solidFill>
                  <a:schemeClr val="tx1">
                    <a:alpha val="99000"/>
                  </a:schemeClr>
                </a:solidFill>
                <a:latin typeface="Segoe UI" pitchFamily="34" charset="0"/>
                <a:ea typeface="Segoe UI" pitchFamily="34" charset="0"/>
                <a:cs typeface="Segoe UI" pitchFamily="34" charset="0"/>
              </a:rPr>
              <a:t>Demos</a:t>
            </a:r>
          </a:p>
        </p:txBody>
      </p:sp>
      <p:sp>
        <p:nvSpPr>
          <p:cNvPr id="31" name="Green"/>
          <p:cNvSpPr/>
          <p:nvPr/>
        </p:nvSpPr>
        <p:spPr bwMode="auto">
          <a:xfrm>
            <a:off x="8628912" y="30379"/>
            <a:ext cx="515088" cy="1331777"/>
          </a:xfrm>
          <a:prstGeom prst="roundRect">
            <a:avLst>
              <a:gd name="adj" fmla="val 0"/>
            </a:avLst>
          </a:prstGeom>
          <a:solidFill>
            <a:schemeClr val="accent6"/>
          </a:soli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p:txBody>
      </p:sp>
      <p:sp>
        <p:nvSpPr>
          <p:cNvPr id="33" name="Red"/>
          <p:cNvSpPr/>
          <p:nvPr/>
        </p:nvSpPr>
        <p:spPr bwMode="auto">
          <a:xfrm>
            <a:off x="4242247" y="2834966"/>
            <a:ext cx="2808193" cy="1336985"/>
          </a:xfrm>
          <a:prstGeom prst="roundRect">
            <a:avLst>
              <a:gd name="adj" fmla="val 0"/>
            </a:avLst>
          </a:prstGeom>
          <a:solidFill>
            <a:srgbClr val="7030A0"/>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700" dirty="0">
                <a:solidFill>
                  <a:schemeClr val="tx1">
                    <a:alpha val="99000"/>
                  </a:schemeClr>
                </a:solidFill>
                <a:latin typeface="Segoe UI" pitchFamily="34" charset="0"/>
                <a:ea typeface="Segoe UI" pitchFamily="34" charset="0"/>
                <a:cs typeface="Segoe UI" pitchFamily="34" charset="0"/>
              </a:rPr>
              <a:t>Demos</a:t>
            </a:r>
          </a:p>
        </p:txBody>
      </p:sp>
      <p:sp>
        <p:nvSpPr>
          <p:cNvPr id="36" name="Orange"/>
          <p:cNvSpPr/>
          <p:nvPr/>
        </p:nvSpPr>
        <p:spPr bwMode="auto">
          <a:xfrm>
            <a:off x="8628912" y="2834966"/>
            <a:ext cx="515088" cy="1336985"/>
          </a:xfrm>
          <a:prstGeom prst="roundRect">
            <a:avLst>
              <a:gd name="adj" fmla="val 0"/>
            </a:avLst>
          </a:prstGeom>
          <a:solidFill>
            <a:srgbClr val="92D050"/>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p:txBody>
      </p:sp>
      <p:sp>
        <p:nvSpPr>
          <p:cNvPr id="37" name="Yellow"/>
          <p:cNvSpPr/>
          <p:nvPr/>
        </p:nvSpPr>
        <p:spPr bwMode="auto">
          <a:xfrm>
            <a:off x="7120035" y="2834966"/>
            <a:ext cx="1451712" cy="1336985"/>
          </a:xfrm>
          <a:prstGeom prst="roundRect">
            <a:avLst>
              <a:gd name="adj" fmla="val 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700" dirty="0">
                <a:solidFill>
                  <a:schemeClr val="tx1">
                    <a:alpha val="99000"/>
                  </a:schemeClr>
                </a:solidFill>
                <a:latin typeface="Segoe UI" pitchFamily="34" charset="0"/>
                <a:ea typeface="Segoe UI" pitchFamily="34" charset="0"/>
                <a:cs typeface="Segoe UI" pitchFamily="34" charset="0"/>
              </a:rPr>
              <a:t>Demos</a:t>
            </a:r>
          </a:p>
        </p:txBody>
      </p:sp>
      <p:sp>
        <p:nvSpPr>
          <p:cNvPr id="39" name="Orange"/>
          <p:cNvSpPr/>
          <p:nvPr/>
        </p:nvSpPr>
        <p:spPr bwMode="auto">
          <a:xfrm>
            <a:off x="8628912" y="1428751"/>
            <a:ext cx="515088" cy="1344317"/>
          </a:xfrm>
          <a:prstGeom prst="roundRect">
            <a:avLst>
              <a:gd name="adj" fmla="val 0"/>
            </a:avLst>
          </a:prstGeom>
          <a:solidFill>
            <a:schemeClr val="accent3"/>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p:txBody>
      </p:sp>
      <p:sp>
        <p:nvSpPr>
          <p:cNvPr id="41" name="Orange"/>
          <p:cNvSpPr/>
          <p:nvPr/>
        </p:nvSpPr>
        <p:spPr bwMode="auto">
          <a:xfrm>
            <a:off x="4242247" y="4234310"/>
            <a:ext cx="1356926" cy="914399"/>
          </a:xfrm>
          <a:prstGeom prst="roundRect">
            <a:avLst>
              <a:gd name="adj" fmla="val 0"/>
            </a:avLst>
          </a:prstGeom>
          <a:solidFill>
            <a:srgbClr val="92D050"/>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b" anchorCtr="0" compatLnSpc="1">
            <a:prstTxWarp prst="textNoShape">
              <a:avLst/>
            </a:prstTxWarp>
          </a:bodyPr>
          <a:lstStyle/>
          <a:p>
            <a:pPr algn="ctr" defTabSz="685637"/>
            <a:r>
              <a:rPr lang="en-US" sz="1700" dirty="0">
                <a:solidFill>
                  <a:schemeClr val="tx1">
                    <a:alpha val="99000"/>
                  </a:schemeClr>
                </a:solidFill>
                <a:latin typeface="Segoe UI" pitchFamily="34" charset="0"/>
                <a:ea typeface="Segoe UI" pitchFamily="34" charset="0"/>
                <a:cs typeface="Segoe UI" pitchFamily="34" charset="0"/>
              </a:rPr>
              <a:t>Demos</a:t>
            </a:r>
          </a:p>
        </p:txBody>
      </p:sp>
      <p:sp>
        <p:nvSpPr>
          <p:cNvPr id="43" name="Green"/>
          <p:cNvSpPr/>
          <p:nvPr/>
        </p:nvSpPr>
        <p:spPr bwMode="auto">
          <a:xfrm>
            <a:off x="8628912" y="4240223"/>
            <a:ext cx="515088" cy="909191"/>
          </a:xfrm>
          <a:prstGeom prst="roundRect">
            <a:avLst>
              <a:gd name="adj" fmla="val 0"/>
            </a:avLst>
          </a:prstGeom>
          <a:solidFill>
            <a:srgbClr val="7030A0"/>
          </a:soli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68583" tIns="34292" rIns="68583" bIns="34292" numCol="1" rtlCol="0" anchor="b" anchorCtr="0" compatLnSpc="1">
            <a:prstTxWarp prst="textNoShape">
              <a:avLst/>
            </a:prstTxWarp>
          </a:bodyPr>
          <a:lstStyle/>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p:txBody>
      </p:sp>
      <p:sp>
        <p:nvSpPr>
          <p:cNvPr id="44" name="Orange"/>
          <p:cNvSpPr/>
          <p:nvPr/>
        </p:nvSpPr>
        <p:spPr bwMode="auto">
          <a:xfrm>
            <a:off x="5673023" y="4229101"/>
            <a:ext cx="1377417" cy="919609"/>
          </a:xfrm>
          <a:prstGeom prst="roundRect">
            <a:avLst>
              <a:gd name="adj" fmla="val 0"/>
            </a:avLst>
          </a:prstGeom>
          <a:solidFill>
            <a:schemeClr val="accent3"/>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b" anchorCtr="0" compatLnSpc="1">
            <a:prstTxWarp prst="textNoShape">
              <a:avLst/>
            </a:prstTxWarp>
          </a:bodyPr>
          <a:lstStyle/>
          <a:p>
            <a:pPr algn="ctr" defTabSz="685637"/>
            <a:r>
              <a:rPr lang="en-US" sz="1700" dirty="0">
                <a:solidFill>
                  <a:schemeClr val="tx1">
                    <a:alpha val="99000"/>
                  </a:schemeClr>
                </a:solidFill>
                <a:latin typeface="Segoe UI" pitchFamily="34" charset="0"/>
                <a:ea typeface="Segoe UI" pitchFamily="34" charset="0"/>
                <a:cs typeface="Segoe UI" pitchFamily="34" charset="0"/>
              </a:rPr>
              <a:t>Demos</a:t>
            </a:r>
          </a:p>
        </p:txBody>
      </p:sp>
      <p:sp>
        <p:nvSpPr>
          <p:cNvPr id="45" name="Orange"/>
          <p:cNvSpPr/>
          <p:nvPr/>
        </p:nvSpPr>
        <p:spPr bwMode="auto">
          <a:xfrm>
            <a:off x="7120037" y="4229102"/>
            <a:ext cx="1451711" cy="914399"/>
          </a:xfrm>
          <a:prstGeom prst="roundRect">
            <a:avLst>
              <a:gd name="adj" fmla="val 0"/>
            </a:avLst>
          </a:prstGeom>
          <a:solidFill>
            <a:srgbClr val="00B0F0"/>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b" anchorCtr="0" compatLnSpc="1">
            <a:prstTxWarp prst="textNoShape">
              <a:avLst/>
            </a:prstTxWarp>
          </a:bodyPr>
          <a:lstStyle/>
          <a:p>
            <a:pPr algn="ctr" defTabSz="685637"/>
            <a:r>
              <a:rPr lang="en-US" sz="1700" dirty="0">
                <a:solidFill>
                  <a:schemeClr val="tx1">
                    <a:alpha val="99000"/>
                  </a:schemeClr>
                </a:solidFill>
                <a:latin typeface="Segoe UI" pitchFamily="34" charset="0"/>
                <a:ea typeface="Segoe UI" pitchFamily="34" charset="0"/>
                <a:cs typeface="Segoe UI" pitchFamily="34" charset="0"/>
              </a:rPr>
              <a:t>Demos</a:t>
            </a:r>
          </a:p>
        </p:txBody>
      </p:sp>
      <p:sp>
        <p:nvSpPr>
          <p:cNvPr id="5" name="TextBox 4"/>
          <p:cNvSpPr txBox="1"/>
          <p:nvPr/>
        </p:nvSpPr>
        <p:spPr>
          <a:xfrm>
            <a:off x="495098" y="730964"/>
            <a:ext cx="4477056" cy="834453"/>
          </a:xfrm>
          <a:prstGeom prst="rect">
            <a:avLst/>
          </a:prstGeom>
          <a:noFill/>
        </p:spPr>
        <p:txBody>
          <a:bodyPr wrap="square" lIns="68586" tIns="68586" rIns="68586" bIns="68586" rtlCol="0">
            <a:spAutoFit/>
          </a:bodyPr>
          <a:lstStyle/>
          <a:p>
            <a:pPr>
              <a:lnSpc>
                <a:spcPct val="90000"/>
              </a:lnSpc>
              <a:spcBef>
                <a:spcPct val="20000"/>
              </a:spcBef>
              <a:buSzPct val="90000"/>
            </a:pPr>
            <a:r>
              <a:rPr lang="en-US" sz="5000" b="1" dirty="0">
                <a:solidFill>
                  <a:schemeClr val="tx1">
                    <a:alpha val="99000"/>
                  </a:schemeClr>
                </a:solidFill>
              </a:rPr>
              <a:t>Agenda</a:t>
            </a:r>
          </a:p>
        </p:txBody>
      </p:sp>
      <p:sp>
        <p:nvSpPr>
          <p:cNvPr id="17"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8"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
              </a:rPr>
              <a:t>www.rapidbbs.cn</a:t>
            </a:r>
            <a:endParaRPr lang="zh-CN" altLang="en-US" sz="1200" b="0">
              <a:latin typeface="Arial" charset="0"/>
              <a:ea typeface="ＭＳ Ｐゴシック" pitchFamily="34" charset="-128"/>
            </a:endParaRPr>
          </a:p>
        </p:txBody>
      </p:sp>
      <p:pic>
        <p:nvPicPr>
          <p:cNvPr id="19" name="Picture 2">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526835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 calcmode="lin" valueType="num">
                                      <p:cBhvr additive="base">
                                        <p:cTn id="7" dur="500" fill="hold"/>
                                        <p:tgtEl>
                                          <p:spTgt spid="28"/>
                                        </p:tgtEl>
                                        <p:attrNameLst>
                                          <p:attrName>ppt_x</p:attrName>
                                        </p:attrNameLst>
                                      </p:cBhvr>
                                      <p:tavLst>
                                        <p:tav tm="0">
                                          <p:val>
                                            <p:strVal val="#ppt_x"/>
                                          </p:val>
                                        </p:tav>
                                        <p:tav tm="100000">
                                          <p:val>
                                            <p:strVal val="#ppt_x"/>
                                          </p:val>
                                        </p:tav>
                                      </p:tavLst>
                                    </p:anim>
                                    <p:anim calcmode="lin" valueType="num">
                                      <p:cBhvr additive="base">
                                        <p:cTn id="8" dur="500" fill="hold"/>
                                        <p:tgtEl>
                                          <p:spTgt spid="28"/>
                                        </p:tgtEl>
                                        <p:attrNameLst>
                                          <p:attrName>ppt_y</p:attrName>
                                        </p:attrNameLst>
                                      </p:cBhvr>
                                      <p:tavLst>
                                        <p:tav tm="0">
                                          <p:val>
                                            <p:strVal val="1+#ppt_h/2"/>
                                          </p:val>
                                        </p:tav>
                                        <p:tav tm="100000">
                                          <p:val>
                                            <p:strVal val="#ppt_y"/>
                                          </p:val>
                                        </p:tav>
                                      </p:tavLst>
                                    </p:anim>
                                  </p:childTnLst>
                                </p:cTn>
                              </p:par>
                              <p:par>
                                <p:cTn id="9" presetID="2" presetClass="entr" presetSubtype="2" fill="hold" grpId="0" nodeType="withEffect">
                                  <p:stCondLst>
                                    <p:cond delay="250"/>
                                  </p:stCondLst>
                                  <p:childTnLst>
                                    <p:set>
                                      <p:cBhvr>
                                        <p:cTn id="10" dur="1" fill="hold">
                                          <p:stCondLst>
                                            <p:cond delay="0"/>
                                          </p:stCondLst>
                                        </p:cTn>
                                        <p:tgtEl>
                                          <p:spTgt spid="25"/>
                                        </p:tgtEl>
                                        <p:attrNameLst>
                                          <p:attrName>style.visibility</p:attrName>
                                        </p:attrNameLst>
                                      </p:cBhvr>
                                      <p:to>
                                        <p:strVal val="visible"/>
                                      </p:to>
                                    </p:set>
                                    <p:anim calcmode="lin" valueType="num">
                                      <p:cBhvr additive="base">
                                        <p:cTn id="11" dur="500" fill="hold"/>
                                        <p:tgtEl>
                                          <p:spTgt spid="25"/>
                                        </p:tgtEl>
                                        <p:attrNameLst>
                                          <p:attrName>ppt_x</p:attrName>
                                        </p:attrNameLst>
                                      </p:cBhvr>
                                      <p:tavLst>
                                        <p:tav tm="0">
                                          <p:val>
                                            <p:strVal val="1+#ppt_w/2"/>
                                          </p:val>
                                        </p:tav>
                                        <p:tav tm="100000">
                                          <p:val>
                                            <p:strVal val="#ppt_x"/>
                                          </p:val>
                                        </p:tav>
                                      </p:tavLst>
                                    </p:anim>
                                    <p:anim calcmode="lin" valueType="num">
                                      <p:cBhvr additive="base">
                                        <p:cTn id="12" dur="500" fill="hold"/>
                                        <p:tgtEl>
                                          <p:spTgt spid="25"/>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250"/>
                                  </p:stCondLst>
                                  <p:childTnLst>
                                    <p:set>
                                      <p:cBhvr>
                                        <p:cTn id="14" dur="1" fill="hold">
                                          <p:stCondLst>
                                            <p:cond delay="0"/>
                                          </p:stCondLst>
                                        </p:cTn>
                                        <p:tgtEl>
                                          <p:spTgt spid="29"/>
                                        </p:tgtEl>
                                        <p:attrNameLst>
                                          <p:attrName>style.visibility</p:attrName>
                                        </p:attrNameLst>
                                      </p:cBhvr>
                                      <p:to>
                                        <p:strVal val="visible"/>
                                      </p:to>
                                    </p:set>
                                    <p:anim calcmode="lin" valueType="num">
                                      <p:cBhvr additive="base">
                                        <p:cTn id="15" dur="500" fill="hold"/>
                                        <p:tgtEl>
                                          <p:spTgt spid="29"/>
                                        </p:tgtEl>
                                        <p:attrNameLst>
                                          <p:attrName>ppt_x</p:attrName>
                                        </p:attrNameLst>
                                      </p:cBhvr>
                                      <p:tavLst>
                                        <p:tav tm="0">
                                          <p:val>
                                            <p:strVal val="0-#ppt_w/2"/>
                                          </p:val>
                                        </p:tav>
                                        <p:tav tm="100000">
                                          <p:val>
                                            <p:strVal val="#ppt_x"/>
                                          </p:val>
                                        </p:tav>
                                      </p:tavLst>
                                    </p:anim>
                                    <p:anim calcmode="lin" valueType="num">
                                      <p:cBhvr additive="base">
                                        <p:cTn id="16" dur="500" fill="hold"/>
                                        <p:tgtEl>
                                          <p:spTgt spid="29"/>
                                        </p:tgtEl>
                                        <p:attrNameLst>
                                          <p:attrName>ppt_y</p:attrName>
                                        </p:attrNameLst>
                                      </p:cBhvr>
                                      <p:tavLst>
                                        <p:tav tm="0">
                                          <p:val>
                                            <p:strVal val="#ppt_y"/>
                                          </p:val>
                                        </p:tav>
                                        <p:tav tm="100000">
                                          <p:val>
                                            <p:strVal val="#ppt_y"/>
                                          </p:val>
                                        </p:tav>
                                      </p:tavLst>
                                    </p:anim>
                                  </p:childTnLst>
                                </p:cTn>
                              </p:par>
                              <p:par>
                                <p:cTn id="17" presetID="2" presetClass="entr" presetSubtype="12" fill="hold" grpId="0" nodeType="withEffect">
                                  <p:stCondLst>
                                    <p:cond delay="250"/>
                                  </p:stCondLst>
                                  <p:childTnLst>
                                    <p:set>
                                      <p:cBhvr>
                                        <p:cTn id="18" dur="1" fill="hold">
                                          <p:stCondLst>
                                            <p:cond delay="0"/>
                                          </p:stCondLst>
                                        </p:cTn>
                                        <p:tgtEl>
                                          <p:spTgt spid="27"/>
                                        </p:tgtEl>
                                        <p:attrNameLst>
                                          <p:attrName>style.visibility</p:attrName>
                                        </p:attrNameLst>
                                      </p:cBhvr>
                                      <p:to>
                                        <p:strVal val="visible"/>
                                      </p:to>
                                    </p:set>
                                    <p:anim calcmode="lin" valueType="num">
                                      <p:cBhvr additive="base">
                                        <p:cTn id="19" dur="500" fill="hold"/>
                                        <p:tgtEl>
                                          <p:spTgt spid="27"/>
                                        </p:tgtEl>
                                        <p:attrNameLst>
                                          <p:attrName>ppt_x</p:attrName>
                                        </p:attrNameLst>
                                      </p:cBhvr>
                                      <p:tavLst>
                                        <p:tav tm="0">
                                          <p:val>
                                            <p:strVal val="0-#ppt_w/2"/>
                                          </p:val>
                                        </p:tav>
                                        <p:tav tm="100000">
                                          <p:val>
                                            <p:strVal val="#ppt_x"/>
                                          </p:val>
                                        </p:tav>
                                      </p:tavLst>
                                    </p:anim>
                                    <p:anim calcmode="lin" valueType="num">
                                      <p:cBhvr additive="base">
                                        <p:cTn id="20" dur="500" fill="hold"/>
                                        <p:tgtEl>
                                          <p:spTgt spid="27"/>
                                        </p:tgtEl>
                                        <p:attrNameLst>
                                          <p:attrName>ppt_y</p:attrName>
                                        </p:attrNameLst>
                                      </p:cBhvr>
                                      <p:tavLst>
                                        <p:tav tm="0">
                                          <p:val>
                                            <p:strVal val="1+#ppt_h/2"/>
                                          </p:val>
                                        </p:tav>
                                        <p:tav tm="100000">
                                          <p:val>
                                            <p:strVal val="#ppt_y"/>
                                          </p:val>
                                        </p:tav>
                                      </p:tavLst>
                                    </p:anim>
                                  </p:childTnLst>
                                </p:cTn>
                              </p:par>
                              <p:par>
                                <p:cTn id="21" presetID="2" presetClass="entr" presetSubtype="1" fill="hold" grpId="0" nodeType="withEffect">
                                  <p:stCondLst>
                                    <p:cond delay="500"/>
                                  </p:stCondLst>
                                  <p:childTnLst>
                                    <p:set>
                                      <p:cBhvr>
                                        <p:cTn id="22" dur="1" fill="hold">
                                          <p:stCondLst>
                                            <p:cond delay="0"/>
                                          </p:stCondLst>
                                        </p:cTn>
                                        <p:tgtEl>
                                          <p:spTgt spid="26"/>
                                        </p:tgtEl>
                                        <p:attrNameLst>
                                          <p:attrName>style.visibility</p:attrName>
                                        </p:attrNameLst>
                                      </p:cBhvr>
                                      <p:to>
                                        <p:strVal val="visible"/>
                                      </p:to>
                                    </p:set>
                                    <p:anim calcmode="lin" valueType="num">
                                      <p:cBhvr additive="base">
                                        <p:cTn id="23" dur="500" fill="hold"/>
                                        <p:tgtEl>
                                          <p:spTgt spid="26"/>
                                        </p:tgtEl>
                                        <p:attrNameLst>
                                          <p:attrName>ppt_x</p:attrName>
                                        </p:attrNameLst>
                                      </p:cBhvr>
                                      <p:tavLst>
                                        <p:tav tm="0">
                                          <p:val>
                                            <p:strVal val="#ppt_x"/>
                                          </p:val>
                                        </p:tav>
                                        <p:tav tm="100000">
                                          <p:val>
                                            <p:strVal val="#ppt_x"/>
                                          </p:val>
                                        </p:tav>
                                      </p:tavLst>
                                    </p:anim>
                                    <p:anim calcmode="lin" valueType="num">
                                      <p:cBhvr additive="base">
                                        <p:cTn id="24" dur="500" fill="hold"/>
                                        <p:tgtEl>
                                          <p:spTgt spid="26"/>
                                        </p:tgtEl>
                                        <p:attrNameLst>
                                          <p:attrName>ppt_y</p:attrName>
                                        </p:attrNameLst>
                                      </p:cBhvr>
                                      <p:tavLst>
                                        <p:tav tm="0">
                                          <p:val>
                                            <p:strVal val="0-#ppt_h/2"/>
                                          </p:val>
                                        </p:tav>
                                        <p:tav tm="100000">
                                          <p:val>
                                            <p:strVal val="#ppt_y"/>
                                          </p:val>
                                        </p:tav>
                                      </p:tavLst>
                                    </p:anim>
                                  </p:childTnLst>
                                </p:cTn>
                              </p:par>
                              <p:par>
                                <p:cTn id="25" presetID="2" presetClass="entr" presetSubtype="4" fill="hold" grpId="0" nodeType="withEffect">
                                  <p:stCondLst>
                                    <p:cond delay="500"/>
                                  </p:stCondLst>
                                  <p:childTnLst>
                                    <p:set>
                                      <p:cBhvr>
                                        <p:cTn id="26" dur="1" fill="hold">
                                          <p:stCondLst>
                                            <p:cond delay="0"/>
                                          </p:stCondLst>
                                        </p:cTn>
                                        <p:tgtEl>
                                          <p:spTgt spid="33"/>
                                        </p:tgtEl>
                                        <p:attrNameLst>
                                          <p:attrName>style.visibility</p:attrName>
                                        </p:attrNameLst>
                                      </p:cBhvr>
                                      <p:to>
                                        <p:strVal val="visible"/>
                                      </p:to>
                                    </p:set>
                                    <p:anim calcmode="lin" valueType="num">
                                      <p:cBhvr additive="base">
                                        <p:cTn id="27" dur="500" fill="hold"/>
                                        <p:tgtEl>
                                          <p:spTgt spid="33"/>
                                        </p:tgtEl>
                                        <p:attrNameLst>
                                          <p:attrName>ppt_x</p:attrName>
                                        </p:attrNameLst>
                                      </p:cBhvr>
                                      <p:tavLst>
                                        <p:tav tm="0">
                                          <p:val>
                                            <p:strVal val="#ppt_x"/>
                                          </p:val>
                                        </p:tav>
                                        <p:tav tm="100000">
                                          <p:val>
                                            <p:strVal val="#ppt_x"/>
                                          </p:val>
                                        </p:tav>
                                      </p:tavLst>
                                    </p:anim>
                                    <p:anim calcmode="lin" valueType="num">
                                      <p:cBhvr additive="base">
                                        <p:cTn id="28" dur="500" fill="hold"/>
                                        <p:tgtEl>
                                          <p:spTgt spid="33"/>
                                        </p:tgtEl>
                                        <p:attrNameLst>
                                          <p:attrName>ppt_y</p:attrName>
                                        </p:attrNameLst>
                                      </p:cBhvr>
                                      <p:tavLst>
                                        <p:tav tm="0">
                                          <p:val>
                                            <p:strVal val="1+#ppt_h/2"/>
                                          </p:val>
                                        </p:tav>
                                        <p:tav tm="100000">
                                          <p:val>
                                            <p:strVal val="#ppt_y"/>
                                          </p:val>
                                        </p:tav>
                                      </p:tavLst>
                                    </p:anim>
                                  </p:childTnLst>
                                </p:cTn>
                              </p:par>
                              <p:par>
                                <p:cTn id="29" presetID="2" presetClass="entr" presetSubtype="3" fill="hold" grpId="0" nodeType="withEffect">
                                  <p:stCondLst>
                                    <p:cond delay="500"/>
                                  </p:stCondLst>
                                  <p:childTnLst>
                                    <p:set>
                                      <p:cBhvr>
                                        <p:cTn id="30" dur="1" fill="hold">
                                          <p:stCondLst>
                                            <p:cond delay="0"/>
                                          </p:stCondLst>
                                        </p:cTn>
                                        <p:tgtEl>
                                          <p:spTgt spid="41"/>
                                        </p:tgtEl>
                                        <p:attrNameLst>
                                          <p:attrName>style.visibility</p:attrName>
                                        </p:attrNameLst>
                                      </p:cBhvr>
                                      <p:to>
                                        <p:strVal val="visible"/>
                                      </p:to>
                                    </p:set>
                                    <p:anim calcmode="lin" valueType="num">
                                      <p:cBhvr additive="base">
                                        <p:cTn id="31" dur="500" fill="hold"/>
                                        <p:tgtEl>
                                          <p:spTgt spid="41"/>
                                        </p:tgtEl>
                                        <p:attrNameLst>
                                          <p:attrName>ppt_x</p:attrName>
                                        </p:attrNameLst>
                                      </p:cBhvr>
                                      <p:tavLst>
                                        <p:tav tm="0">
                                          <p:val>
                                            <p:strVal val="1+#ppt_w/2"/>
                                          </p:val>
                                        </p:tav>
                                        <p:tav tm="100000">
                                          <p:val>
                                            <p:strVal val="#ppt_x"/>
                                          </p:val>
                                        </p:tav>
                                      </p:tavLst>
                                    </p:anim>
                                    <p:anim calcmode="lin" valueType="num">
                                      <p:cBhvr additive="base">
                                        <p:cTn id="32" dur="500" fill="hold"/>
                                        <p:tgtEl>
                                          <p:spTgt spid="41"/>
                                        </p:tgtEl>
                                        <p:attrNameLst>
                                          <p:attrName>ppt_y</p:attrName>
                                        </p:attrNameLst>
                                      </p:cBhvr>
                                      <p:tavLst>
                                        <p:tav tm="0">
                                          <p:val>
                                            <p:strVal val="0-#ppt_h/2"/>
                                          </p:val>
                                        </p:tav>
                                        <p:tav tm="100000">
                                          <p:val>
                                            <p:strVal val="#ppt_y"/>
                                          </p:val>
                                        </p:tav>
                                      </p:tavLst>
                                    </p:anim>
                                  </p:childTnLst>
                                </p:cTn>
                              </p:par>
                              <p:par>
                                <p:cTn id="33" presetID="2" presetClass="entr" presetSubtype="1" fill="hold" grpId="0" nodeType="withEffect">
                                  <p:stCondLst>
                                    <p:cond delay="500"/>
                                  </p:stCondLst>
                                  <p:childTnLst>
                                    <p:set>
                                      <p:cBhvr>
                                        <p:cTn id="34" dur="1" fill="hold">
                                          <p:stCondLst>
                                            <p:cond delay="0"/>
                                          </p:stCondLst>
                                        </p:cTn>
                                        <p:tgtEl>
                                          <p:spTgt spid="44"/>
                                        </p:tgtEl>
                                        <p:attrNameLst>
                                          <p:attrName>style.visibility</p:attrName>
                                        </p:attrNameLst>
                                      </p:cBhvr>
                                      <p:to>
                                        <p:strVal val="visible"/>
                                      </p:to>
                                    </p:set>
                                    <p:anim calcmode="lin" valueType="num">
                                      <p:cBhvr additive="base">
                                        <p:cTn id="35" dur="500" fill="hold"/>
                                        <p:tgtEl>
                                          <p:spTgt spid="44"/>
                                        </p:tgtEl>
                                        <p:attrNameLst>
                                          <p:attrName>ppt_x</p:attrName>
                                        </p:attrNameLst>
                                      </p:cBhvr>
                                      <p:tavLst>
                                        <p:tav tm="0">
                                          <p:val>
                                            <p:strVal val="#ppt_x"/>
                                          </p:val>
                                        </p:tav>
                                        <p:tav tm="100000">
                                          <p:val>
                                            <p:strVal val="#ppt_x"/>
                                          </p:val>
                                        </p:tav>
                                      </p:tavLst>
                                    </p:anim>
                                    <p:anim calcmode="lin" valueType="num">
                                      <p:cBhvr additive="base">
                                        <p:cTn id="36" dur="500" fill="hold"/>
                                        <p:tgtEl>
                                          <p:spTgt spid="44"/>
                                        </p:tgtEl>
                                        <p:attrNameLst>
                                          <p:attrName>ppt_y</p:attrName>
                                        </p:attrNameLst>
                                      </p:cBhvr>
                                      <p:tavLst>
                                        <p:tav tm="0">
                                          <p:val>
                                            <p:strVal val="0-#ppt_h/2"/>
                                          </p:val>
                                        </p:tav>
                                        <p:tav tm="100000">
                                          <p:val>
                                            <p:strVal val="#ppt_y"/>
                                          </p:val>
                                        </p:tav>
                                      </p:tavLst>
                                    </p:anim>
                                  </p:childTnLst>
                                </p:cTn>
                              </p:par>
                              <p:par>
                                <p:cTn id="37" presetID="2" presetClass="entr" presetSubtype="2" fill="hold" grpId="0" nodeType="withEffect">
                                  <p:stCondLst>
                                    <p:cond delay="500"/>
                                  </p:stCondLst>
                                  <p:childTnLst>
                                    <p:set>
                                      <p:cBhvr>
                                        <p:cTn id="38" dur="1" fill="hold">
                                          <p:stCondLst>
                                            <p:cond delay="0"/>
                                          </p:stCondLst>
                                        </p:cTn>
                                        <p:tgtEl>
                                          <p:spTgt spid="45"/>
                                        </p:tgtEl>
                                        <p:attrNameLst>
                                          <p:attrName>style.visibility</p:attrName>
                                        </p:attrNameLst>
                                      </p:cBhvr>
                                      <p:to>
                                        <p:strVal val="visible"/>
                                      </p:to>
                                    </p:set>
                                    <p:anim calcmode="lin" valueType="num">
                                      <p:cBhvr additive="base">
                                        <p:cTn id="39" dur="500" fill="hold"/>
                                        <p:tgtEl>
                                          <p:spTgt spid="45"/>
                                        </p:tgtEl>
                                        <p:attrNameLst>
                                          <p:attrName>ppt_x</p:attrName>
                                        </p:attrNameLst>
                                      </p:cBhvr>
                                      <p:tavLst>
                                        <p:tav tm="0">
                                          <p:val>
                                            <p:strVal val="1+#ppt_w/2"/>
                                          </p:val>
                                        </p:tav>
                                        <p:tav tm="100000">
                                          <p:val>
                                            <p:strVal val="#ppt_x"/>
                                          </p:val>
                                        </p:tav>
                                      </p:tavLst>
                                    </p:anim>
                                    <p:anim calcmode="lin" valueType="num">
                                      <p:cBhvr additive="base">
                                        <p:cTn id="40" dur="500" fill="hold"/>
                                        <p:tgtEl>
                                          <p:spTgt spid="45"/>
                                        </p:tgtEl>
                                        <p:attrNameLst>
                                          <p:attrName>ppt_y</p:attrName>
                                        </p:attrNameLst>
                                      </p:cBhvr>
                                      <p:tavLst>
                                        <p:tav tm="0">
                                          <p:val>
                                            <p:strVal val="#ppt_y"/>
                                          </p:val>
                                        </p:tav>
                                        <p:tav tm="100000">
                                          <p:val>
                                            <p:strVal val="#ppt_y"/>
                                          </p:val>
                                        </p:tav>
                                      </p:tavLst>
                                    </p:anim>
                                  </p:childTnLst>
                                </p:cTn>
                              </p:par>
                              <p:par>
                                <p:cTn id="41" presetID="2" presetClass="entr" presetSubtype="9" fill="hold" grpId="0" nodeType="withEffect">
                                  <p:stCondLst>
                                    <p:cond delay="500"/>
                                  </p:stCondLst>
                                  <p:childTnLst>
                                    <p:set>
                                      <p:cBhvr>
                                        <p:cTn id="42" dur="1" fill="hold">
                                          <p:stCondLst>
                                            <p:cond delay="0"/>
                                          </p:stCondLst>
                                        </p:cTn>
                                        <p:tgtEl>
                                          <p:spTgt spid="37"/>
                                        </p:tgtEl>
                                        <p:attrNameLst>
                                          <p:attrName>style.visibility</p:attrName>
                                        </p:attrNameLst>
                                      </p:cBhvr>
                                      <p:to>
                                        <p:strVal val="visible"/>
                                      </p:to>
                                    </p:set>
                                    <p:anim calcmode="lin" valueType="num">
                                      <p:cBhvr additive="base">
                                        <p:cTn id="43" dur="500" fill="hold"/>
                                        <p:tgtEl>
                                          <p:spTgt spid="37"/>
                                        </p:tgtEl>
                                        <p:attrNameLst>
                                          <p:attrName>ppt_x</p:attrName>
                                        </p:attrNameLst>
                                      </p:cBhvr>
                                      <p:tavLst>
                                        <p:tav tm="0">
                                          <p:val>
                                            <p:strVal val="0-#ppt_w/2"/>
                                          </p:val>
                                        </p:tav>
                                        <p:tav tm="100000">
                                          <p:val>
                                            <p:strVal val="#ppt_x"/>
                                          </p:val>
                                        </p:tav>
                                      </p:tavLst>
                                    </p:anim>
                                    <p:anim calcmode="lin" valueType="num">
                                      <p:cBhvr additive="base">
                                        <p:cTn id="44" dur="500" fill="hold"/>
                                        <p:tgtEl>
                                          <p:spTgt spid="37"/>
                                        </p:tgtEl>
                                        <p:attrNameLst>
                                          <p:attrName>ppt_y</p:attrName>
                                        </p:attrNameLst>
                                      </p:cBhvr>
                                      <p:tavLst>
                                        <p:tav tm="0">
                                          <p:val>
                                            <p:strVal val="0-#ppt_h/2"/>
                                          </p:val>
                                        </p:tav>
                                        <p:tav tm="100000">
                                          <p:val>
                                            <p:strVal val="#ppt_y"/>
                                          </p:val>
                                        </p:tav>
                                      </p:tavLst>
                                    </p:anim>
                                  </p:childTnLst>
                                </p:cTn>
                              </p:par>
                              <p:par>
                                <p:cTn id="45" presetID="2" presetClass="entr" presetSubtype="4" fill="hold" grpId="0" nodeType="withEffect">
                                  <p:stCondLst>
                                    <p:cond delay="500"/>
                                  </p:stCondLst>
                                  <p:childTnLst>
                                    <p:set>
                                      <p:cBhvr>
                                        <p:cTn id="46" dur="1" fill="hold">
                                          <p:stCondLst>
                                            <p:cond delay="0"/>
                                          </p:stCondLst>
                                        </p:cTn>
                                        <p:tgtEl>
                                          <p:spTgt spid="39"/>
                                        </p:tgtEl>
                                        <p:attrNameLst>
                                          <p:attrName>style.visibility</p:attrName>
                                        </p:attrNameLst>
                                      </p:cBhvr>
                                      <p:to>
                                        <p:strVal val="visible"/>
                                      </p:to>
                                    </p:set>
                                    <p:anim calcmode="lin" valueType="num">
                                      <p:cBhvr additive="base">
                                        <p:cTn id="47" dur="500" fill="hold"/>
                                        <p:tgtEl>
                                          <p:spTgt spid="39"/>
                                        </p:tgtEl>
                                        <p:attrNameLst>
                                          <p:attrName>ppt_x</p:attrName>
                                        </p:attrNameLst>
                                      </p:cBhvr>
                                      <p:tavLst>
                                        <p:tav tm="0">
                                          <p:val>
                                            <p:strVal val="#ppt_x"/>
                                          </p:val>
                                        </p:tav>
                                        <p:tav tm="100000">
                                          <p:val>
                                            <p:strVal val="#ppt_x"/>
                                          </p:val>
                                        </p:tav>
                                      </p:tavLst>
                                    </p:anim>
                                    <p:anim calcmode="lin" valueType="num">
                                      <p:cBhvr additive="base">
                                        <p:cTn id="48" dur="500" fill="hold"/>
                                        <p:tgtEl>
                                          <p:spTgt spid="39"/>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500"/>
                                  </p:stCondLst>
                                  <p:childTnLst>
                                    <p:set>
                                      <p:cBhvr>
                                        <p:cTn id="50" dur="1" fill="hold">
                                          <p:stCondLst>
                                            <p:cond delay="0"/>
                                          </p:stCondLst>
                                        </p:cTn>
                                        <p:tgtEl>
                                          <p:spTgt spid="31"/>
                                        </p:tgtEl>
                                        <p:attrNameLst>
                                          <p:attrName>style.visibility</p:attrName>
                                        </p:attrNameLst>
                                      </p:cBhvr>
                                      <p:to>
                                        <p:strVal val="visible"/>
                                      </p:to>
                                    </p:set>
                                    <p:anim calcmode="lin" valueType="num">
                                      <p:cBhvr additive="base">
                                        <p:cTn id="51" dur="500" fill="hold"/>
                                        <p:tgtEl>
                                          <p:spTgt spid="31"/>
                                        </p:tgtEl>
                                        <p:attrNameLst>
                                          <p:attrName>ppt_x</p:attrName>
                                        </p:attrNameLst>
                                      </p:cBhvr>
                                      <p:tavLst>
                                        <p:tav tm="0">
                                          <p:val>
                                            <p:strVal val="#ppt_x"/>
                                          </p:val>
                                        </p:tav>
                                        <p:tav tm="100000">
                                          <p:val>
                                            <p:strVal val="#ppt_x"/>
                                          </p:val>
                                        </p:tav>
                                      </p:tavLst>
                                    </p:anim>
                                    <p:anim calcmode="lin" valueType="num">
                                      <p:cBhvr additive="base">
                                        <p:cTn id="52" dur="500" fill="hold"/>
                                        <p:tgtEl>
                                          <p:spTgt spid="31"/>
                                        </p:tgtEl>
                                        <p:attrNameLst>
                                          <p:attrName>ppt_y</p:attrName>
                                        </p:attrNameLst>
                                      </p:cBhvr>
                                      <p:tavLst>
                                        <p:tav tm="0">
                                          <p:val>
                                            <p:strVal val="1+#ppt_h/2"/>
                                          </p:val>
                                        </p:tav>
                                        <p:tav tm="100000">
                                          <p:val>
                                            <p:strVal val="#ppt_y"/>
                                          </p:val>
                                        </p:tav>
                                      </p:tavLst>
                                    </p:anim>
                                  </p:childTnLst>
                                </p:cTn>
                              </p:par>
                              <p:par>
                                <p:cTn id="53" presetID="2" presetClass="entr" presetSubtype="4" fill="hold" grpId="0" nodeType="withEffect">
                                  <p:stCondLst>
                                    <p:cond delay="500"/>
                                  </p:stCondLst>
                                  <p:childTnLst>
                                    <p:set>
                                      <p:cBhvr>
                                        <p:cTn id="54" dur="1" fill="hold">
                                          <p:stCondLst>
                                            <p:cond delay="0"/>
                                          </p:stCondLst>
                                        </p:cTn>
                                        <p:tgtEl>
                                          <p:spTgt spid="36"/>
                                        </p:tgtEl>
                                        <p:attrNameLst>
                                          <p:attrName>style.visibility</p:attrName>
                                        </p:attrNameLst>
                                      </p:cBhvr>
                                      <p:to>
                                        <p:strVal val="visible"/>
                                      </p:to>
                                    </p:set>
                                    <p:anim calcmode="lin" valueType="num">
                                      <p:cBhvr additive="base">
                                        <p:cTn id="55" dur="500" fill="hold"/>
                                        <p:tgtEl>
                                          <p:spTgt spid="36"/>
                                        </p:tgtEl>
                                        <p:attrNameLst>
                                          <p:attrName>ppt_x</p:attrName>
                                        </p:attrNameLst>
                                      </p:cBhvr>
                                      <p:tavLst>
                                        <p:tav tm="0">
                                          <p:val>
                                            <p:strVal val="#ppt_x"/>
                                          </p:val>
                                        </p:tav>
                                        <p:tav tm="100000">
                                          <p:val>
                                            <p:strVal val="#ppt_x"/>
                                          </p:val>
                                        </p:tav>
                                      </p:tavLst>
                                    </p:anim>
                                    <p:anim calcmode="lin" valueType="num">
                                      <p:cBhvr additive="base">
                                        <p:cTn id="56" dur="500" fill="hold"/>
                                        <p:tgtEl>
                                          <p:spTgt spid="36"/>
                                        </p:tgtEl>
                                        <p:attrNameLst>
                                          <p:attrName>ppt_y</p:attrName>
                                        </p:attrNameLst>
                                      </p:cBhvr>
                                      <p:tavLst>
                                        <p:tav tm="0">
                                          <p:val>
                                            <p:strVal val="1+#ppt_h/2"/>
                                          </p:val>
                                        </p:tav>
                                        <p:tav tm="100000">
                                          <p:val>
                                            <p:strVal val="#ppt_y"/>
                                          </p:val>
                                        </p:tav>
                                      </p:tavLst>
                                    </p:anim>
                                  </p:childTnLst>
                                </p:cTn>
                              </p:par>
                              <p:par>
                                <p:cTn id="57" presetID="2" presetClass="entr" presetSubtype="8" fill="hold" grpId="0" nodeType="withEffect">
                                  <p:stCondLst>
                                    <p:cond delay="500"/>
                                  </p:stCondLst>
                                  <p:childTnLst>
                                    <p:set>
                                      <p:cBhvr>
                                        <p:cTn id="58" dur="1" fill="hold">
                                          <p:stCondLst>
                                            <p:cond delay="0"/>
                                          </p:stCondLst>
                                        </p:cTn>
                                        <p:tgtEl>
                                          <p:spTgt spid="43"/>
                                        </p:tgtEl>
                                        <p:attrNameLst>
                                          <p:attrName>style.visibility</p:attrName>
                                        </p:attrNameLst>
                                      </p:cBhvr>
                                      <p:to>
                                        <p:strVal val="visible"/>
                                      </p:to>
                                    </p:set>
                                    <p:anim calcmode="lin" valueType="num">
                                      <p:cBhvr additive="base">
                                        <p:cTn id="59" dur="500" fill="hold"/>
                                        <p:tgtEl>
                                          <p:spTgt spid="43"/>
                                        </p:tgtEl>
                                        <p:attrNameLst>
                                          <p:attrName>ppt_x</p:attrName>
                                        </p:attrNameLst>
                                      </p:cBhvr>
                                      <p:tavLst>
                                        <p:tav tm="0">
                                          <p:val>
                                            <p:strVal val="0-#ppt_w/2"/>
                                          </p:val>
                                        </p:tav>
                                        <p:tav tm="100000">
                                          <p:val>
                                            <p:strVal val="#ppt_x"/>
                                          </p:val>
                                        </p:tav>
                                      </p:tavLst>
                                    </p:anim>
                                    <p:anim calcmode="lin" valueType="num">
                                      <p:cBhvr additive="base">
                                        <p:cTn id="60" dur="500" fill="hold"/>
                                        <p:tgtEl>
                                          <p:spTgt spid="4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6" grpId="0" animBg="1"/>
      <p:bldP spid="27" grpId="0" animBg="1"/>
      <p:bldP spid="28" grpId="0" animBg="1"/>
      <p:bldP spid="29" grpId="0" animBg="1"/>
      <p:bldP spid="31" grpId="0" animBg="1"/>
      <p:bldP spid="33" grpId="0" animBg="1"/>
      <p:bldP spid="36" grpId="0" animBg="1"/>
      <p:bldP spid="37" grpId="0" animBg="1"/>
      <p:bldP spid="39" grpId="0" animBg="1"/>
      <p:bldP spid="41" grpId="0" animBg="1"/>
      <p:bldP spid="43" grpId="0" animBg="1"/>
      <p:bldP spid="44" grpId="0" animBg="1"/>
      <p:bldP spid="45" grpId="0" animBg="1"/>
    </p:bld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p:cNvSpPr txBox="1">
            <a:spLocks/>
          </p:cNvSpPr>
          <p:nvPr/>
        </p:nvSpPr>
        <p:spPr>
          <a:xfrm>
            <a:off x="381000" y="172646"/>
            <a:ext cx="8382000" cy="498598"/>
          </a:xfrm>
          <a:prstGeom prst="rect">
            <a:avLst/>
          </a:prstGeom>
        </p:spPr>
        <p:txBody>
          <a:bodyPr vert="horz" wrap="square" lIns="0" tIns="0" rIns="0" bIns="0" rtlCol="0" anchor="ctr" anchorCtr="0">
            <a:noAutofit/>
          </a:bodyPr>
          <a:lstStyle/>
          <a:p>
            <a:pPr defTabSz="685835">
              <a:lnSpc>
                <a:spcPct val="90000"/>
              </a:lnSpc>
              <a:spcBef>
                <a:spcPct val="0"/>
              </a:spcBef>
            </a:pPr>
            <a:r>
              <a:rPr lang="en-US" sz="3200" dirty="0">
                <a:latin typeface="+mj-lt"/>
                <a:ea typeface="+mj-ea"/>
                <a:cs typeface="Arial"/>
              </a:rPr>
              <a:t>The BI Semantic Model</a:t>
            </a:r>
          </a:p>
        </p:txBody>
      </p:sp>
      <p:sp>
        <p:nvSpPr>
          <p:cNvPr id="27" name="Rectangle 26"/>
          <p:cNvSpPr/>
          <p:nvPr/>
        </p:nvSpPr>
        <p:spPr bwMode="auto">
          <a:xfrm>
            <a:off x="1638727" y="3069322"/>
            <a:ext cx="6802622" cy="931178"/>
          </a:xfrm>
          <a:prstGeom prst="rect">
            <a:avLst/>
          </a:prstGeom>
          <a:solidFill>
            <a:srgbClr val="00B0F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30" name="Rectangle 29"/>
          <p:cNvSpPr/>
          <p:nvPr/>
        </p:nvSpPr>
        <p:spPr bwMode="auto">
          <a:xfrm>
            <a:off x="609760" y="2726424"/>
            <a:ext cx="7831589" cy="285749"/>
          </a:xfrm>
          <a:prstGeom prst="rect">
            <a:avLst/>
          </a:prstGeom>
          <a:solidFill>
            <a:srgbClr val="00B0F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defTabSz="514466">
              <a:defRPr/>
            </a:pPr>
            <a:r>
              <a:rPr lang="en-US" sz="1800" spc="-85" dirty="0">
                <a:ln w="3175">
                  <a:noFill/>
                </a:ln>
                <a:solidFill>
                  <a:schemeClr val="tx1"/>
                </a:solidFill>
                <a:cs typeface="Arial" pitchFamily="34" charset="0"/>
              </a:rPr>
              <a:t>Three Investment Areas for Analysis Services in SQL Server 2012</a:t>
            </a:r>
          </a:p>
        </p:txBody>
      </p:sp>
      <p:sp>
        <p:nvSpPr>
          <p:cNvPr id="31" name="Rectangle 30"/>
          <p:cNvSpPr/>
          <p:nvPr/>
        </p:nvSpPr>
        <p:spPr bwMode="auto">
          <a:xfrm>
            <a:off x="609758" y="3067842"/>
            <a:ext cx="986712" cy="931178"/>
          </a:xfrm>
          <a:prstGeom prst="rect">
            <a:avLst/>
          </a:prstGeom>
          <a:solidFill>
            <a:srgbClr val="00B0F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32" name="Freeform 70"/>
          <p:cNvSpPr>
            <a:spLocks noEditPoints="1"/>
          </p:cNvSpPr>
          <p:nvPr/>
        </p:nvSpPr>
        <p:spPr bwMode="auto">
          <a:xfrm>
            <a:off x="899029" y="3289190"/>
            <a:ext cx="408173" cy="488481"/>
          </a:xfrm>
          <a:custGeom>
            <a:avLst/>
            <a:gdLst>
              <a:gd name="T0" fmla="*/ 346 w 346"/>
              <a:gd name="T1" fmla="*/ 77 h 414"/>
              <a:gd name="T2" fmla="*/ 345 w 346"/>
              <a:gd name="T3" fmla="*/ 75 h 414"/>
              <a:gd name="T4" fmla="*/ 345 w 346"/>
              <a:gd name="T5" fmla="*/ 74 h 414"/>
              <a:gd name="T6" fmla="*/ 343 w 346"/>
              <a:gd name="T7" fmla="*/ 72 h 414"/>
              <a:gd name="T8" fmla="*/ 273 w 346"/>
              <a:gd name="T9" fmla="*/ 2 h 414"/>
              <a:gd name="T10" fmla="*/ 271 w 346"/>
              <a:gd name="T11" fmla="*/ 0 h 414"/>
              <a:gd name="T12" fmla="*/ 270 w 346"/>
              <a:gd name="T13" fmla="*/ 0 h 414"/>
              <a:gd name="T14" fmla="*/ 268 w 346"/>
              <a:gd name="T15" fmla="*/ 0 h 414"/>
              <a:gd name="T16" fmla="*/ 268 w 346"/>
              <a:gd name="T17" fmla="*/ 0 h 414"/>
              <a:gd name="T18" fmla="*/ 7 w 346"/>
              <a:gd name="T19" fmla="*/ 0 h 414"/>
              <a:gd name="T20" fmla="*/ 0 w 346"/>
              <a:gd name="T21" fmla="*/ 7 h 414"/>
              <a:gd name="T22" fmla="*/ 0 w 346"/>
              <a:gd name="T23" fmla="*/ 407 h 414"/>
              <a:gd name="T24" fmla="*/ 7 w 346"/>
              <a:gd name="T25" fmla="*/ 414 h 414"/>
              <a:gd name="T26" fmla="*/ 338 w 346"/>
              <a:gd name="T27" fmla="*/ 414 h 414"/>
              <a:gd name="T28" fmla="*/ 346 w 346"/>
              <a:gd name="T29" fmla="*/ 407 h 414"/>
              <a:gd name="T30" fmla="*/ 346 w 346"/>
              <a:gd name="T31" fmla="*/ 77 h 414"/>
              <a:gd name="T32" fmla="*/ 346 w 346"/>
              <a:gd name="T33" fmla="*/ 77 h 414"/>
              <a:gd name="T34" fmla="*/ 275 w 346"/>
              <a:gd name="T35" fmla="*/ 25 h 414"/>
              <a:gd name="T36" fmla="*/ 320 w 346"/>
              <a:gd name="T37" fmla="*/ 70 h 414"/>
              <a:gd name="T38" fmla="*/ 275 w 346"/>
              <a:gd name="T39" fmla="*/ 70 h 414"/>
              <a:gd name="T40" fmla="*/ 275 w 346"/>
              <a:gd name="T41" fmla="*/ 25 h 414"/>
              <a:gd name="T42" fmla="*/ 14 w 346"/>
              <a:gd name="T43" fmla="*/ 400 h 414"/>
              <a:gd name="T44" fmla="*/ 14 w 346"/>
              <a:gd name="T45" fmla="*/ 14 h 414"/>
              <a:gd name="T46" fmla="*/ 260 w 346"/>
              <a:gd name="T47" fmla="*/ 14 h 414"/>
              <a:gd name="T48" fmla="*/ 260 w 346"/>
              <a:gd name="T49" fmla="*/ 77 h 414"/>
              <a:gd name="T50" fmla="*/ 268 w 346"/>
              <a:gd name="T51" fmla="*/ 85 h 414"/>
              <a:gd name="T52" fmla="*/ 331 w 346"/>
              <a:gd name="T53" fmla="*/ 85 h 414"/>
              <a:gd name="T54" fmla="*/ 331 w 346"/>
              <a:gd name="T55" fmla="*/ 400 h 414"/>
              <a:gd name="T56" fmla="*/ 14 w 346"/>
              <a:gd name="T57" fmla="*/ 400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6" h="414">
                <a:moveTo>
                  <a:pt x="346" y="77"/>
                </a:moveTo>
                <a:cubicBezTo>
                  <a:pt x="345" y="76"/>
                  <a:pt x="345" y="76"/>
                  <a:pt x="345" y="75"/>
                </a:cubicBezTo>
                <a:cubicBezTo>
                  <a:pt x="345" y="75"/>
                  <a:pt x="345" y="75"/>
                  <a:pt x="345" y="74"/>
                </a:cubicBezTo>
                <a:cubicBezTo>
                  <a:pt x="345" y="74"/>
                  <a:pt x="344" y="73"/>
                  <a:pt x="343" y="72"/>
                </a:cubicBezTo>
                <a:cubicBezTo>
                  <a:pt x="273" y="2"/>
                  <a:pt x="273" y="2"/>
                  <a:pt x="273" y="2"/>
                </a:cubicBezTo>
                <a:cubicBezTo>
                  <a:pt x="272" y="1"/>
                  <a:pt x="272" y="1"/>
                  <a:pt x="271" y="0"/>
                </a:cubicBezTo>
                <a:cubicBezTo>
                  <a:pt x="271" y="0"/>
                  <a:pt x="270" y="0"/>
                  <a:pt x="270" y="0"/>
                </a:cubicBezTo>
                <a:cubicBezTo>
                  <a:pt x="270" y="0"/>
                  <a:pt x="269" y="0"/>
                  <a:pt x="268" y="0"/>
                </a:cubicBezTo>
                <a:cubicBezTo>
                  <a:pt x="268" y="0"/>
                  <a:pt x="268" y="0"/>
                  <a:pt x="268" y="0"/>
                </a:cubicBezTo>
                <a:cubicBezTo>
                  <a:pt x="7" y="0"/>
                  <a:pt x="7" y="0"/>
                  <a:pt x="7" y="0"/>
                </a:cubicBezTo>
                <a:cubicBezTo>
                  <a:pt x="3" y="0"/>
                  <a:pt x="0" y="3"/>
                  <a:pt x="0" y="7"/>
                </a:cubicBezTo>
                <a:cubicBezTo>
                  <a:pt x="0" y="407"/>
                  <a:pt x="0" y="407"/>
                  <a:pt x="0" y="407"/>
                </a:cubicBezTo>
                <a:cubicBezTo>
                  <a:pt x="0" y="411"/>
                  <a:pt x="3" y="414"/>
                  <a:pt x="7" y="414"/>
                </a:cubicBezTo>
                <a:cubicBezTo>
                  <a:pt x="338" y="414"/>
                  <a:pt x="338" y="414"/>
                  <a:pt x="338" y="414"/>
                </a:cubicBezTo>
                <a:cubicBezTo>
                  <a:pt x="342" y="414"/>
                  <a:pt x="346" y="411"/>
                  <a:pt x="346" y="407"/>
                </a:cubicBezTo>
                <a:cubicBezTo>
                  <a:pt x="346" y="77"/>
                  <a:pt x="346" y="77"/>
                  <a:pt x="346" y="77"/>
                </a:cubicBezTo>
                <a:cubicBezTo>
                  <a:pt x="346" y="77"/>
                  <a:pt x="346" y="77"/>
                  <a:pt x="346" y="77"/>
                </a:cubicBezTo>
                <a:close/>
                <a:moveTo>
                  <a:pt x="275" y="25"/>
                </a:moveTo>
                <a:cubicBezTo>
                  <a:pt x="320" y="70"/>
                  <a:pt x="320" y="70"/>
                  <a:pt x="320" y="70"/>
                </a:cubicBezTo>
                <a:cubicBezTo>
                  <a:pt x="275" y="70"/>
                  <a:pt x="275" y="70"/>
                  <a:pt x="275" y="70"/>
                </a:cubicBezTo>
                <a:lnTo>
                  <a:pt x="275" y="25"/>
                </a:lnTo>
                <a:close/>
                <a:moveTo>
                  <a:pt x="14" y="400"/>
                </a:moveTo>
                <a:cubicBezTo>
                  <a:pt x="14" y="14"/>
                  <a:pt x="14" y="14"/>
                  <a:pt x="14" y="14"/>
                </a:cubicBezTo>
                <a:cubicBezTo>
                  <a:pt x="260" y="14"/>
                  <a:pt x="260" y="14"/>
                  <a:pt x="260" y="14"/>
                </a:cubicBezTo>
                <a:cubicBezTo>
                  <a:pt x="260" y="77"/>
                  <a:pt x="260" y="77"/>
                  <a:pt x="260" y="77"/>
                </a:cubicBezTo>
                <a:cubicBezTo>
                  <a:pt x="260" y="81"/>
                  <a:pt x="264" y="85"/>
                  <a:pt x="268" y="85"/>
                </a:cubicBezTo>
                <a:cubicBezTo>
                  <a:pt x="331" y="85"/>
                  <a:pt x="331" y="85"/>
                  <a:pt x="331" y="85"/>
                </a:cubicBezTo>
                <a:cubicBezTo>
                  <a:pt x="331" y="400"/>
                  <a:pt x="331" y="400"/>
                  <a:pt x="331" y="400"/>
                </a:cubicBezTo>
                <a:lnTo>
                  <a:pt x="14" y="400"/>
                </a:lnTo>
                <a:close/>
              </a:path>
            </a:pathLst>
          </a:custGeom>
          <a:solidFill>
            <a:srgbClr val="00B0F0"/>
          </a:solidFill>
          <a:ln>
            <a:noFill/>
          </a:ln>
        </p:spPr>
        <p:txBody>
          <a:bodyPr vert="horz" wrap="square" lIns="68586" tIns="34294" rIns="68586" bIns="34294" numCol="1" anchor="t" anchorCtr="0" compatLnSpc="1">
            <a:prstTxWarp prst="textNoShape">
              <a:avLst/>
            </a:prstTxWarp>
          </a:bodyPr>
          <a:lstStyle/>
          <a:p>
            <a:endParaRPr lang="en-US"/>
          </a:p>
        </p:txBody>
      </p:sp>
      <p:sp>
        <p:nvSpPr>
          <p:cNvPr id="35" name="Text Placeholder 2"/>
          <p:cNvSpPr txBox="1">
            <a:spLocks/>
          </p:cNvSpPr>
          <p:nvPr/>
        </p:nvSpPr>
        <p:spPr>
          <a:xfrm>
            <a:off x="1695892" y="3185104"/>
            <a:ext cx="6248837" cy="872546"/>
          </a:xfrm>
          <a:prstGeom prst="rect">
            <a:avLst/>
          </a:prstGeom>
        </p:spPr>
        <p:txBody>
          <a:bodyPr lIns="68586" tIns="34294" rIns="68586" bIns="34294"/>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ltLang="zh-CN" sz="1400" dirty="0">
                <a:gradFill>
                  <a:gsLst>
                    <a:gs pos="0">
                      <a:srgbClr val="FFFFFF"/>
                    </a:gs>
                    <a:gs pos="100000">
                      <a:srgbClr val="FFFFFF"/>
                    </a:gs>
                  </a:gsLst>
                  <a:lin ang="5400000" scaled="1"/>
                </a:gradFill>
                <a:cs typeface="Arial" pitchFamily="34" charset="0"/>
              </a:rPr>
              <a:t>Version 2 of PowerPivot for Excel</a:t>
            </a:r>
          </a:p>
          <a:p>
            <a:r>
              <a:rPr lang="en-US" altLang="zh-CN" sz="1400" dirty="0">
                <a:gradFill>
                  <a:gsLst>
                    <a:gs pos="0">
                      <a:srgbClr val="FFFFFF"/>
                    </a:gs>
                    <a:gs pos="100000">
                      <a:srgbClr val="FFFFFF"/>
                    </a:gs>
                  </a:gsLst>
                  <a:lin ang="5400000" scaled="1"/>
                </a:gradFill>
                <a:cs typeface="Arial" pitchFamily="34" charset="0"/>
              </a:rPr>
              <a:t>IT Pro Toolset for BI Professionals </a:t>
            </a:r>
          </a:p>
          <a:p>
            <a:r>
              <a:rPr lang="en-US" altLang="zh-CN" sz="1400" dirty="0">
                <a:gradFill>
                  <a:gsLst>
                    <a:gs pos="0">
                      <a:srgbClr val="FFFFFF"/>
                    </a:gs>
                    <a:gs pos="100000">
                      <a:srgbClr val="FFFFFF"/>
                    </a:gs>
                  </a:gsLst>
                  <a:lin ang="5400000" scaled="1"/>
                </a:gradFill>
                <a:cs typeface="Arial" pitchFamily="34" charset="0"/>
              </a:rPr>
              <a:t>SQL Server Management Studio for IT Professionals</a:t>
            </a:r>
          </a:p>
        </p:txBody>
      </p:sp>
      <p:sp>
        <p:nvSpPr>
          <p:cNvPr id="36" name="Freeform 91"/>
          <p:cNvSpPr>
            <a:spLocks noEditPoints="1"/>
          </p:cNvSpPr>
          <p:nvPr/>
        </p:nvSpPr>
        <p:spPr bwMode="auto">
          <a:xfrm>
            <a:off x="899028" y="3307963"/>
            <a:ext cx="410670" cy="488481"/>
          </a:xfrm>
          <a:custGeom>
            <a:avLst/>
            <a:gdLst>
              <a:gd name="T0" fmla="*/ 8 w 348"/>
              <a:gd name="T1" fmla="*/ 0 h 414"/>
              <a:gd name="T2" fmla="*/ 0 w 348"/>
              <a:gd name="T3" fmla="*/ 406 h 414"/>
              <a:gd name="T4" fmla="*/ 340 w 348"/>
              <a:gd name="T5" fmla="*/ 414 h 414"/>
              <a:gd name="T6" fmla="*/ 348 w 348"/>
              <a:gd name="T7" fmla="*/ 8 h 414"/>
              <a:gd name="T8" fmla="*/ 333 w 348"/>
              <a:gd name="T9" fmla="*/ 399 h 414"/>
              <a:gd name="T10" fmla="*/ 15 w 348"/>
              <a:gd name="T11" fmla="*/ 15 h 414"/>
              <a:gd name="T12" fmla="*/ 333 w 348"/>
              <a:gd name="T13" fmla="*/ 399 h 414"/>
              <a:gd name="T14" fmla="*/ 33 w 348"/>
              <a:gd name="T15" fmla="*/ 43 h 414"/>
              <a:gd name="T16" fmla="*/ 307 w 348"/>
              <a:gd name="T17" fmla="*/ 36 h 414"/>
              <a:gd name="T18" fmla="*/ 315 w 348"/>
              <a:gd name="T19" fmla="*/ 104 h 414"/>
              <a:gd name="T20" fmla="*/ 41 w 348"/>
              <a:gd name="T21" fmla="*/ 111 h 414"/>
              <a:gd name="T22" fmla="*/ 108 w 348"/>
              <a:gd name="T23" fmla="*/ 141 h 414"/>
              <a:gd name="T24" fmla="*/ 123 w 348"/>
              <a:gd name="T25" fmla="*/ 203 h 414"/>
              <a:gd name="T26" fmla="*/ 53 w 348"/>
              <a:gd name="T27" fmla="*/ 210 h 414"/>
              <a:gd name="T28" fmla="*/ 108 w 348"/>
              <a:gd name="T29" fmla="*/ 195 h 414"/>
              <a:gd name="T30" fmla="*/ 198 w 348"/>
              <a:gd name="T31" fmla="*/ 141 h 414"/>
              <a:gd name="T32" fmla="*/ 212 w 348"/>
              <a:gd name="T33" fmla="*/ 203 h 414"/>
              <a:gd name="T34" fmla="*/ 143 w 348"/>
              <a:gd name="T35" fmla="*/ 210 h 414"/>
              <a:gd name="T36" fmla="*/ 198 w 348"/>
              <a:gd name="T37" fmla="*/ 195 h 414"/>
              <a:gd name="T38" fmla="*/ 287 w 348"/>
              <a:gd name="T39" fmla="*/ 141 h 414"/>
              <a:gd name="T40" fmla="*/ 302 w 348"/>
              <a:gd name="T41" fmla="*/ 203 h 414"/>
              <a:gd name="T42" fmla="*/ 233 w 348"/>
              <a:gd name="T43" fmla="*/ 210 h 414"/>
              <a:gd name="T44" fmla="*/ 287 w 348"/>
              <a:gd name="T45" fmla="*/ 195 h 414"/>
              <a:gd name="T46" fmla="*/ 108 w 348"/>
              <a:gd name="T47" fmla="*/ 314 h 414"/>
              <a:gd name="T48" fmla="*/ 123 w 348"/>
              <a:gd name="T49" fmla="*/ 376 h 414"/>
              <a:gd name="T50" fmla="*/ 53 w 348"/>
              <a:gd name="T51" fmla="*/ 384 h 414"/>
              <a:gd name="T52" fmla="*/ 108 w 348"/>
              <a:gd name="T53" fmla="*/ 369 h 414"/>
              <a:gd name="T54" fmla="*/ 198 w 348"/>
              <a:gd name="T55" fmla="*/ 314 h 414"/>
              <a:gd name="T56" fmla="*/ 212 w 348"/>
              <a:gd name="T57" fmla="*/ 376 h 414"/>
              <a:gd name="T58" fmla="*/ 143 w 348"/>
              <a:gd name="T59" fmla="*/ 384 h 414"/>
              <a:gd name="T60" fmla="*/ 198 w 348"/>
              <a:gd name="T61" fmla="*/ 369 h 414"/>
              <a:gd name="T62" fmla="*/ 287 w 348"/>
              <a:gd name="T63" fmla="*/ 314 h 414"/>
              <a:gd name="T64" fmla="*/ 302 w 348"/>
              <a:gd name="T65" fmla="*/ 376 h 414"/>
              <a:gd name="T66" fmla="*/ 233 w 348"/>
              <a:gd name="T67" fmla="*/ 384 h 414"/>
              <a:gd name="T68" fmla="*/ 287 w 348"/>
              <a:gd name="T69" fmla="*/ 369 h 414"/>
              <a:gd name="T70" fmla="*/ 108 w 348"/>
              <a:gd name="T71" fmla="*/ 227 h 414"/>
              <a:gd name="T72" fmla="*/ 123 w 348"/>
              <a:gd name="T73" fmla="*/ 289 h 414"/>
              <a:gd name="T74" fmla="*/ 53 w 348"/>
              <a:gd name="T75" fmla="*/ 297 h 414"/>
              <a:gd name="T76" fmla="*/ 108 w 348"/>
              <a:gd name="T77" fmla="*/ 282 h 414"/>
              <a:gd name="T78" fmla="*/ 198 w 348"/>
              <a:gd name="T79" fmla="*/ 227 h 414"/>
              <a:gd name="T80" fmla="*/ 212 w 348"/>
              <a:gd name="T81" fmla="*/ 289 h 414"/>
              <a:gd name="T82" fmla="*/ 143 w 348"/>
              <a:gd name="T83" fmla="*/ 297 h 414"/>
              <a:gd name="T84" fmla="*/ 198 w 348"/>
              <a:gd name="T85" fmla="*/ 282 h 414"/>
              <a:gd name="T86" fmla="*/ 287 w 348"/>
              <a:gd name="T87" fmla="*/ 227 h 414"/>
              <a:gd name="T88" fmla="*/ 302 w 348"/>
              <a:gd name="T89" fmla="*/ 289 h 414"/>
              <a:gd name="T90" fmla="*/ 233 w 348"/>
              <a:gd name="T91" fmla="*/ 297 h 414"/>
              <a:gd name="T92" fmla="*/ 287 w 348"/>
              <a:gd name="T93" fmla="*/ 28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8" h="414">
                <a:moveTo>
                  <a:pt x="340" y="0"/>
                </a:moveTo>
                <a:cubicBezTo>
                  <a:pt x="8" y="0"/>
                  <a:pt x="8" y="0"/>
                  <a:pt x="8" y="0"/>
                </a:cubicBezTo>
                <a:cubicBezTo>
                  <a:pt x="4" y="0"/>
                  <a:pt x="0" y="4"/>
                  <a:pt x="0" y="8"/>
                </a:cubicBezTo>
                <a:cubicBezTo>
                  <a:pt x="0" y="406"/>
                  <a:pt x="0" y="406"/>
                  <a:pt x="0" y="406"/>
                </a:cubicBezTo>
                <a:cubicBezTo>
                  <a:pt x="0" y="410"/>
                  <a:pt x="4" y="414"/>
                  <a:pt x="8" y="414"/>
                </a:cubicBezTo>
                <a:cubicBezTo>
                  <a:pt x="340" y="414"/>
                  <a:pt x="340" y="414"/>
                  <a:pt x="340" y="414"/>
                </a:cubicBezTo>
                <a:cubicBezTo>
                  <a:pt x="344" y="414"/>
                  <a:pt x="348" y="410"/>
                  <a:pt x="348" y="406"/>
                </a:cubicBezTo>
                <a:cubicBezTo>
                  <a:pt x="348" y="8"/>
                  <a:pt x="348" y="8"/>
                  <a:pt x="348" y="8"/>
                </a:cubicBezTo>
                <a:cubicBezTo>
                  <a:pt x="348" y="4"/>
                  <a:pt x="344" y="0"/>
                  <a:pt x="340" y="0"/>
                </a:cubicBezTo>
                <a:close/>
                <a:moveTo>
                  <a:pt x="333" y="399"/>
                </a:moveTo>
                <a:cubicBezTo>
                  <a:pt x="15" y="399"/>
                  <a:pt x="15" y="399"/>
                  <a:pt x="15" y="399"/>
                </a:cubicBezTo>
                <a:cubicBezTo>
                  <a:pt x="15" y="15"/>
                  <a:pt x="15" y="15"/>
                  <a:pt x="15" y="15"/>
                </a:cubicBezTo>
                <a:cubicBezTo>
                  <a:pt x="333" y="15"/>
                  <a:pt x="333" y="15"/>
                  <a:pt x="333" y="15"/>
                </a:cubicBezTo>
                <a:lnTo>
                  <a:pt x="333" y="399"/>
                </a:lnTo>
                <a:close/>
                <a:moveTo>
                  <a:pt x="33" y="104"/>
                </a:moveTo>
                <a:cubicBezTo>
                  <a:pt x="33" y="43"/>
                  <a:pt x="33" y="43"/>
                  <a:pt x="33" y="43"/>
                </a:cubicBezTo>
                <a:cubicBezTo>
                  <a:pt x="33" y="39"/>
                  <a:pt x="37" y="36"/>
                  <a:pt x="41" y="36"/>
                </a:cubicBezTo>
                <a:cubicBezTo>
                  <a:pt x="307" y="36"/>
                  <a:pt x="307" y="36"/>
                  <a:pt x="307" y="36"/>
                </a:cubicBezTo>
                <a:cubicBezTo>
                  <a:pt x="311" y="36"/>
                  <a:pt x="315" y="39"/>
                  <a:pt x="315" y="43"/>
                </a:cubicBezTo>
                <a:cubicBezTo>
                  <a:pt x="315" y="104"/>
                  <a:pt x="315" y="104"/>
                  <a:pt x="315" y="104"/>
                </a:cubicBezTo>
                <a:cubicBezTo>
                  <a:pt x="315" y="108"/>
                  <a:pt x="311" y="111"/>
                  <a:pt x="307" y="111"/>
                </a:cubicBezTo>
                <a:cubicBezTo>
                  <a:pt x="41" y="111"/>
                  <a:pt x="41" y="111"/>
                  <a:pt x="41" y="111"/>
                </a:cubicBezTo>
                <a:cubicBezTo>
                  <a:pt x="37" y="111"/>
                  <a:pt x="33" y="108"/>
                  <a:pt x="33" y="104"/>
                </a:cubicBezTo>
                <a:close/>
                <a:moveTo>
                  <a:pt x="108" y="141"/>
                </a:moveTo>
                <a:cubicBezTo>
                  <a:pt x="123" y="141"/>
                  <a:pt x="123" y="141"/>
                  <a:pt x="123" y="141"/>
                </a:cubicBezTo>
                <a:cubicBezTo>
                  <a:pt x="123" y="203"/>
                  <a:pt x="123" y="203"/>
                  <a:pt x="123" y="203"/>
                </a:cubicBezTo>
                <a:cubicBezTo>
                  <a:pt x="123" y="207"/>
                  <a:pt x="119" y="210"/>
                  <a:pt x="115" y="210"/>
                </a:cubicBezTo>
                <a:cubicBezTo>
                  <a:pt x="53" y="210"/>
                  <a:pt x="53" y="210"/>
                  <a:pt x="53" y="210"/>
                </a:cubicBezTo>
                <a:cubicBezTo>
                  <a:pt x="53" y="195"/>
                  <a:pt x="53" y="195"/>
                  <a:pt x="53" y="195"/>
                </a:cubicBezTo>
                <a:cubicBezTo>
                  <a:pt x="108" y="195"/>
                  <a:pt x="108" y="195"/>
                  <a:pt x="108" y="195"/>
                </a:cubicBezTo>
                <a:lnTo>
                  <a:pt x="108" y="141"/>
                </a:lnTo>
                <a:close/>
                <a:moveTo>
                  <a:pt x="198" y="141"/>
                </a:moveTo>
                <a:cubicBezTo>
                  <a:pt x="212" y="141"/>
                  <a:pt x="212" y="141"/>
                  <a:pt x="212" y="141"/>
                </a:cubicBezTo>
                <a:cubicBezTo>
                  <a:pt x="212" y="203"/>
                  <a:pt x="212" y="203"/>
                  <a:pt x="212" y="203"/>
                </a:cubicBezTo>
                <a:cubicBezTo>
                  <a:pt x="212" y="207"/>
                  <a:pt x="209" y="210"/>
                  <a:pt x="205" y="210"/>
                </a:cubicBezTo>
                <a:cubicBezTo>
                  <a:pt x="143" y="210"/>
                  <a:pt x="143" y="210"/>
                  <a:pt x="143" y="210"/>
                </a:cubicBezTo>
                <a:cubicBezTo>
                  <a:pt x="143" y="195"/>
                  <a:pt x="143" y="195"/>
                  <a:pt x="143" y="195"/>
                </a:cubicBezTo>
                <a:cubicBezTo>
                  <a:pt x="198" y="195"/>
                  <a:pt x="198" y="195"/>
                  <a:pt x="198" y="195"/>
                </a:cubicBezTo>
                <a:lnTo>
                  <a:pt x="198" y="141"/>
                </a:lnTo>
                <a:close/>
                <a:moveTo>
                  <a:pt x="287" y="141"/>
                </a:moveTo>
                <a:cubicBezTo>
                  <a:pt x="302" y="141"/>
                  <a:pt x="302" y="141"/>
                  <a:pt x="302" y="141"/>
                </a:cubicBezTo>
                <a:cubicBezTo>
                  <a:pt x="302" y="203"/>
                  <a:pt x="302" y="203"/>
                  <a:pt x="302" y="203"/>
                </a:cubicBezTo>
                <a:cubicBezTo>
                  <a:pt x="302" y="207"/>
                  <a:pt x="299" y="210"/>
                  <a:pt x="295" y="210"/>
                </a:cubicBezTo>
                <a:cubicBezTo>
                  <a:pt x="233" y="210"/>
                  <a:pt x="233" y="210"/>
                  <a:pt x="233" y="210"/>
                </a:cubicBezTo>
                <a:cubicBezTo>
                  <a:pt x="233" y="195"/>
                  <a:pt x="233" y="195"/>
                  <a:pt x="233" y="195"/>
                </a:cubicBezTo>
                <a:cubicBezTo>
                  <a:pt x="287" y="195"/>
                  <a:pt x="287" y="195"/>
                  <a:pt x="287" y="195"/>
                </a:cubicBezTo>
                <a:lnTo>
                  <a:pt x="287" y="141"/>
                </a:lnTo>
                <a:close/>
                <a:moveTo>
                  <a:pt x="108" y="314"/>
                </a:moveTo>
                <a:cubicBezTo>
                  <a:pt x="123" y="314"/>
                  <a:pt x="123" y="314"/>
                  <a:pt x="123" y="314"/>
                </a:cubicBezTo>
                <a:cubicBezTo>
                  <a:pt x="123" y="376"/>
                  <a:pt x="123" y="376"/>
                  <a:pt x="123" y="376"/>
                </a:cubicBezTo>
                <a:cubicBezTo>
                  <a:pt x="123" y="380"/>
                  <a:pt x="119" y="384"/>
                  <a:pt x="115" y="384"/>
                </a:cubicBezTo>
                <a:cubicBezTo>
                  <a:pt x="53" y="384"/>
                  <a:pt x="53" y="384"/>
                  <a:pt x="53" y="384"/>
                </a:cubicBezTo>
                <a:cubicBezTo>
                  <a:pt x="53" y="369"/>
                  <a:pt x="53" y="369"/>
                  <a:pt x="53" y="369"/>
                </a:cubicBezTo>
                <a:cubicBezTo>
                  <a:pt x="108" y="369"/>
                  <a:pt x="108" y="369"/>
                  <a:pt x="108" y="369"/>
                </a:cubicBezTo>
                <a:lnTo>
                  <a:pt x="108" y="314"/>
                </a:lnTo>
                <a:close/>
                <a:moveTo>
                  <a:pt x="198" y="314"/>
                </a:moveTo>
                <a:cubicBezTo>
                  <a:pt x="212" y="314"/>
                  <a:pt x="212" y="314"/>
                  <a:pt x="212" y="314"/>
                </a:cubicBezTo>
                <a:cubicBezTo>
                  <a:pt x="212" y="376"/>
                  <a:pt x="212" y="376"/>
                  <a:pt x="212" y="376"/>
                </a:cubicBezTo>
                <a:cubicBezTo>
                  <a:pt x="212" y="380"/>
                  <a:pt x="209" y="384"/>
                  <a:pt x="205" y="384"/>
                </a:cubicBezTo>
                <a:cubicBezTo>
                  <a:pt x="143" y="384"/>
                  <a:pt x="143" y="384"/>
                  <a:pt x="143" y="384"/>
                </a:cubicBezTo>
                <a:cubicBezTo>
                  <a:pt x="143" y="369"/>
                  <a:pt x="143" y="369"/>
                  <a:pt x="143" y="369"/>
                </a:cubicBezTo>
                <a:cubicBezTo>
                  <a:pt x="198" y="369"/>
                  <a:pt x="198" y="369"/>
                  <a:pt x="198" y="369"/>
                </a:cubicBezTo>
                <a:lnTo>
                  <a:pt x="198" y="314"/>
                </a:lnTo>
                <a:close/>
                <a:moveTo>
                  <a:pt x="287" y="314"/>
                </a:moveTo>
                <a:cubicBezTo>
                  <a:pt x="302" y="314"/>
                  <a:pt x="302" y="314"/>
                  <a:pt x="302" y="314"/>
                </a:cubicBezTo>
                <a:cubicBezTo>
                  <a:pt x="302" y="376"/>
                  <a:pt x="302" y="376"/>
                  <a:pt x="302" y="376"/>
                </a:cubicBezTo>
                <a:cubicBezTo>
                  <a:pt x="302" y="380"/>
                  <a:pt x="299" y="384"/>
                  <a:pt x="295" y="384"/>
                </a:cubicBezTo>
                <a:cubicBezTo>
                  <a:pt x="233" y="384"/>
                  <a:pt x="233" y="384"/>
                  <a:pt x="233" y="384"/>
                </a:cubicBezTo>
                <a:cubicBezTo>
                  <a:pt x="233" y="369"/>
                  <a:pt x="233" y="369"/>
                  <a:pt x="233" y="369"/>
                </a:cubicBezTo>
                <a:cubicBezTo>
                  <a:pt x="287" y="369"/>
                  <a:pt x="287" y="369"/>
                  <a:pt x="287" y="369"/>
                </a:cubicBezTo>
                <a:lnTo>
                  <a:pt x="287" y="314"/>
                </a:lnTo>
                <a:close/>
                <a:moveTo>
                  <a:pt x="108" y="227"/>
                </a:moveTo>
                <a:cubicBezTo>
                  <a:pt x="123" y="227"/>
                  <a:pt x="123" y="227"/>
                  <a:pt x="123" y="227"/>
                </a:cubicBezTo>
                <a:cubicBezTo>
                  <a:pt x="123" y="289"/>
                  <a:pt x="123" y="289"/>
                  <a:pt x="123" y="289"/>
                </a:cubicBezTo>
                <a:cubicBezTo>
                  <a:pt x="123" y="293"/>
                  <a:pt x="119" y="297"/>
                  <a:pt x="115" y="297"/>
                </a:cubicBezTo>
                <a:cubicBezTo>
                  <a:pt x="53" y="297"/>
                  <a:pt x="53" y="297"/>
                  <a:pt x="53" y="297"/>
                </a:cubicBezTo>
                <a:cubicBezTo>
                  <a:pt x="53" y="282"/>
                  <a:pt x="53" y="282"/>
                  <a:pt x="53" y="282"/>
                </a:cubicBezTo>
                <a:cubicBezTo>
                  <a:pt x="108" y="282"/>
                  <a:pt x="108" y="282"/>
                  <a:pt x="108" y="282"/>
                </a:cubicBezTo>
                <a:lnTo>
                  <a:pt x="108" y="227"/>
                </a:lnTo>
                <a:close/>
                <a:moveTo>
                  <a:pt x="198" y="227"/>
                </a:moveTo>
                <a:cubicBezTo>
                  <a:pt x="212" y="227"/>
                  <a:pt x="212" y="227"/>
                  <a:pt x="212" y="227"/>
                </a:cubicBezTo>
                <a:cubicBezTo>
                  <a:pt x="212" y="289"/>
                  <a:pt x="212" y="289"/>
                  <a:pt x="212" y="289"/>
                </a:cubicBezTo>
                <a:cubicBezTo>
                  <a:pt x="212" y="293"/>
                  <a:pt x="209" y="297"/>
                  <a:pt x="205" y="297"/>
                </a:cubicBezTo>
                <a:cubicBezTo>
                  <a:pt x="143" y="297"/>
                  <a:pt x="143" y="297"/>
                  <a:pt x="143" y="297"/>
                </a:cubicBezTo>
                <a:cubicBezTo>
                  <a:pt x="143" y="282"/>
                  <a:pt x="143" y="282"/>
                  <a:pt x="143" y="282"/>
                </a:cubicBezTo>
                <a:cubicBezTo>
                  <a:pt x="198" y="282"/>
                  <a:pt x="198" y="282"/>
                  <a:pt x="198" y="282"/>
                </a:cubicBezTo>
                <a:lnTo>
                  <a:pt x="198" y="227"/>
                </a:lnTo>
                <a:close/>
                <a:moveTo>
                  <a:pt x="287" y="227"/>
                </a:moveTo>
                <a:cubicBezTo>
                  <a:pt x="302" y="227"/>
                  <a:pt x="302" y="227"/>
                  <a:pt x="302" y="227"/>
                </a:cubicBezTo>
                <a:cubicBezTo>
                  <a:pt x="302" y="289"/>
                  <a:pt x="302" y="289"/>
                  <a:pt x="302" y="289"/>
                </a:cubicBezTo>
                <a:cubicBezTo>
                  <a:pt x="302" y="293"/>
                  <a:pt x="299" y="297"/>
                  <a:pt x="295" y="297"/>
                </a:cubicBezTo>
                <a:cubicBezTo>
                  <a:pt x="233" y="297"/>
                  <a:pt x="233" y="297"/>
                  <a:pt x="233" y="297"/>
                </a:cubicBezTo>
                <a:cubicBezTo>
                  <a:pt x="233" y="282"/>
                  <a:pt x="233" y="282"/>
                  <a:pt x="233" y="282"/>
                </a:cubicBezTo>
                <a:cubicBezTo>
                  <a:pt x="287" y="282"/>
                  <a:pt x="287" y="282"/>
                  <a:pt x="287" y="282"/>
                </a:cubicBezTo>
                <a:lnTo>
                  <a:pt x="287" y="227"/>
                </a:ln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20" name="Rectangle 19"/>
          <p:cNvSpPr/>
          <p:nvPr/>
        </p:nvSpPr>
        <p:spPr bwMode="auto">
          <a:xfrm>
            <a:off x="1638725" y="1540986"/>
            <a:ext cx="6802622" cy="931178"/>
          </a:xfrm>
          <a:prstGeom prst="rect">
            <a:avLst/>
          </a:prstGeom>
          <a:solidFill>
            <a:srgbClr val="92D05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21" name="Rectangle 20"/>
          <p:cNvSpPr/>
          <p:nvPr/>
        </p:nvSpPr>
        <p:spPr bwMode="auto">
          <a:xfrm>
            <a:off x="609759" y="1198087"/>
            <a:ext cx="7831589" cy="285749"/>
          </a:xfrm>
          <a:prstGeom prst="rect">
            <a:avLst/>
          </a:prstGeom>
          <a:solidFill>
            <a:srgbClr val="92D05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defTabSz="685637"/>
            <a:r>
              <a:rPr lang="en-US" altLang="zh-CN" sz="1800" dirty="0">
                <a:gradFill>
                  <a:gsLst>
                    <a:gs pos="0">
                      <a:srgbClr val="FFFFFF"/>
                    </a:gs>
                    <a:gs pos="100000">
                      <a:srgbClr val="FFFFFF"/>
                    </a:gs>
                  </a:gsLst>
                  <a:lin ang="5400000" scaled="1"/>
                </a:gradFill>
                <a:cs typeface="Arial" pitchFamily="34" charset="0"/>
              </a:rPr>
              <a:t>One Semantic Model for BI</a:t>
            </a:r>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22" name="Rectangle 21"/>
          <p:cNvSpPr/>
          <p:nvPr/>
        </p:nvSpPr>
        <p:spPr bwMode="auto">
          <a:xfrm>
            <a:off x="609758" y="1539505"/>
            <a:ext cx="986712" cy="931178"/>
          </a:xfrm>
          <a:prstGeom prst="rect">
            <a:avLst/>
          </a:prstGeom>
          <a:solidFill>
            <a:srgbClr val="92D05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sp>
        <p:nvSpPr>
          <p:cNvPr id="23" name="Text Placeholder 2"/>
          <p:cNvSpPr txBox="1">
            <a:spLocks/>
          </p:cNvSpPr>
          <p:nvPr/>
        </p:nvSpPr>
        <p:spPr>
          <a:xfrm>
            <a:off x="1695891" y="1656768"/>
            <a:ext cx="6477496" cy="872546"/>
          </a:xfrm>
          <a:prstGeom prst="rect">
            <a:avLst/>
          </a:prstGeom>
          <a:noFill/>
        </p:spPr>
        <p:txBody>
          <a:bodyPr lIns="68586" tIns="34294" rIns="68586" bIns="34294"/>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ltLang="zh-CN" sz="1400" dirty="0">
                <a:gradFill>
                  <a:gsLst>
                    <a:gs pos="0">
                      <a:srgbClr val="FFFFFF"/>
                    </a:gs>
                    <a:gs pos="100000">
                      <a:srgbClr val="FFFFFF"/>
                    </a:gs>
                  </a:gsLst>
                  <a:lin ang="5400000" scaled="1"/>
                </a:gradFill>
                <a:cs typeface="Arial" pitchFamily="34" charset="0"/>
              </a:rPr>
              <a:t>For reporting, analytics, scorecards, dashboards</a:t>
            </a:r>
          </a:p>
          <a:p>
            <a:r>
              <a:rPr lang="en-US" altLang="zh-CN" sz="1400" dirty="0">
                <a:gradFill>
                  <a:gsLst>
                    <a:gs pos="0">
                      <a:srgbClr val="FFFFFF"/>
                    </a:gs>
                    <a:gs pos="100000">
                      <a:srgbClr val="FFFFFF"/>
                    </a:gs>
                  </a:gsLst>
                  <a:lin ang="5400000" scaled="1"/>
                </a:gradFill>
                <a:cs typeface="Arial" pitchFamily="34" charset="0"/>
              </a:rPr>
              <a:t>For all users – Personal BI, Team BI, Organizational BI</a:t>
            </a:r>
          </a:p>
          <a:p>
            <a:r>
              <a:rPr lang="en-US" altLang="zh-CN" sz="1400" dirty="0">
                <a:gradFill>
                  <a:gsLst>
                    <a:gs pos="0">
                      <a:srgbClr val="FFFFFF"/>
                    </a:gs>
                    <a:gs pos="100000">
                      <a:srgbClr val="FFFFFF"/>
                    </a:gs>
                  </a:gsLst>
                  <a:lin ang="5400000" scaled="1"/>
                </a:gradFill>
                <a:cs typeface="Arial" pitchFamily="34" charset="0"/>
              </a:rPr>
              <a:t>One model for client tools, two ways to build it – tabular and multidimensional</a:t>
            </a:r>
          </a:p>
        </p:txBody>
      </p:sp>
      <p:pic>
        <p:nvPicPr>
          <p:cNvPr id="25" name="Picture 24"/>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627624" y="1655287"/>
            <a:ext cx="917391" cy="687865"/>
          </a:xfrm>
          <a:prstGeom prst="rect">
            <a:avLst/>
          </a:prstGeom>
        </p:spPr>
      </p:pic>
      <p:sp>
        <p:nvSpPr>
          <p:cNvPr id="14"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5"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5"/>
              </a:rPr>
              <a:t>www.rapidbbs.cn</a:t>
            </a:r>
            <a:endParaRPr lang="zh-CN" altLang="en-US" sz="1200" b="0">
              <a:latin typeface="Arial" charset="0"/>
              <a:ea typeface="ＭＳ Ｐゴシック" pitchFamily="34" charset="-128"/>
            </a:endParaRPr>
          </a:p>
        </p:txBody>
      </p:sp>
      <p:pic>
        <p:nvPicPr>
          <p:cNvPr id="16" name="Picture 2">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98044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Green"/>
          <p:cNvSpPr/>
          <p:nvPr/>
        </p:nvSpPr>
        <p:spPr bwMode="auto">
          <a:xfrm>
            <a:off x="5671831" y="21229"/>
            <a:ext cx="1373752" cy="1336985"/>
          </a:xfrm>
          <a:prstGeom prst="roundRect">
            <a:avLst>
              <a:gd name="adj" fmla="val 0"/>
            </a:avLst>
          </a:prstGeom>
          <a:solidFill>
            <a:schemeClr val="accent6"/>
          </a:soli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700" dirty="0">
                <a:solidFill>
                  <a:schemeClr val="tx1">
                    <a:alpha val="99000"/>
                  </a:schemeClr>
                </a:solidFill>
                <a:latin typeface="Segoe UI" pitchFamily="34" charset="0"/>
                <a:ea typeface="Segoe UI" pitchFamily="34" charset="0"/>
                <a:cs typeface="Segoe UI" pitchFamily="34" charset="0"/>
              </a:rPr>
              <a:t>Descriptions</a:t>
            </a:r>
          </a:p>
        </p:txBody>
      </p:sp>
      <p:sp>
        <p:nvSpPr>
          <p:cNvPr id="26" name="Red"/>
          <p:cNvSpPr/>
          <p:nvPr/>
        </p:nvSpPr>
        <p:spPr bwMode="auto">
          <a:xfrm>
            <a:off x="5671832" y="1436084"/>
            <a:ext cx="2898725" cy="1336985"/>
          </a:xfrm>
          <a:prstGeom prst="roundRect">
            <a:avLst>
              <a:gd name="adj" fmla="val 0"/>
            </a:avLst>
          </a:prstGeom>
          <a:solidFill>
            <a:schemeClr val="accent5"/>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700" dirty="0">
                <a:solidFill>
                  <a:schemeClr val="tx1">
                    <a:alpha val="99000"/>
                  </a:schemeClr>
                </a:solidFill>
                <a:latin typeface="Segoe UI" pitchFamily="34" charset="0"/>
                <a:ea typeface="Segoe UI" pitchFamily="34" charset="0"/>
                <a:cs typeface="Segoe UI" pitchFamily="34" charset="0"/>
              </a:rPr>
              <a:t>Drag ‘n Drop Relationship</a:t>
            </a:r>
          </a:p>
        </p:txBody>
      </p:sp>
      <p:sp>
        <p:nvSpPr>
          <p:cNvPr id="27" name="Yellow"/>
          <p:cNvSpPr/>
          <p:nvPr/>
        </p:nvSpPr>
        <p:spPr bwMode="auto">
          <a:xfrm>
            <a:off x="4241057" y="1436084"/>
            <a:ext cx="1356925" cy="1336985"/>
          </a:xfrm>
          <a:prstGeom prst="roundRect">
            <a:avLst>
              <a:gd name="adj" fmla="val 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700" dirty="0">
                <a:solidFill>
                  <a:schemeClr val="tx1">
                    <a:alpha val="99000"/>
                  </a:schemeClr>
                </a:solidFill>
                <a:latin typeface="Segoe UI" pitchFamily="34" charset="0"/>
                <a:ea typeface="Segoe UI" pitchFamily="34" charset="0"/>
                <a:cs typeface="Segoe UI" pitchFamily="34" charset="0"/>
              </a:rPr>
              <a:t>Diagram</a:t>
            </a:r>
          </a:p>
        </p:txBody>
      </p:sp>
      <p:sp>
        <p:nvSpPr>
          <p:cNvPr id="28" name="Orange"/>
          <p:cNvSpPr/>
          <p:nvPr/>
        </p:nvSpPr>
        <p:spPr bwMode="auto">
          <a:xfrm>
            <a:off x="4242851" y="21230"/>
            <a:ext cx="1356926" cy="1336985"/>
          </a:xfrm>
          <a:prstGeom prst="roundRect">
            <a:avLst>
              <a:gd name="adj" fmla="val 0"/>
            </a:avLst>
          </a:prstGeom>
          <a:solidFill>
            <a:schemeClr val="accent3"/>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700" dirty="0">
                <a:solidFill>
                  <a:schemeClr val="tx1">
                    <a:alpha val="99000"/>
                  </a:schemeClr>
                </a:solidFill>
                <a:latin typeface="Segoe UI" pitchFamily="34" charset="0"/>
                <a:ea typeface="Segoe UI" pitchFamily="34" charset="0"/>
                <a:cs typeface="Segoe UI" pitchFamily="34" charset="0"/>
              </a:rPr>
              <a:t>KPI’s</a:t>
            </a:r>
          </a:p>
        </p:txBody>
      </p:sp>
      <p:sp>
        <p:nvSpPr>
          <p:cNvPr id="29" name="Light Blue"/>
          <p:cNvSpPr/>
          <p:nvPr/>
        </p:nvSpPr>
        <p:spPr bwMode="auto">
          <a:xfrm>
            <a:off x="7118845" y="2"/>
            <a:ext cx="1451711" cy="1356665"/>
          </a:xfrm>
          <a:prstGeom prst="roundRect">
            <a:avLst>
              <a:gd name="adj" fmla="val 0"/>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700" dirty="0">
                <a:solidFill>
                  <a:schemeClr val="tx1">
                    <a:alpha val="99000"/>
                  </a:schemeClr>
                </a:solidFill>
                <a:latin typeface="Segoe UI" pitchFamily="34" charset="0"/>
                <a:ea typeface="Segoe UI" pitchFamily="34" charset="0"/>
                <a:cs typeface="Segoe UI" pitchFamily="34" charset="0"/>
              </a:rPr>
              <a:t>Partitions</a:t>
            </a:r>
          </a:p>
        </p:txBody>
      </p:sp>
      <p:sp>
        <p:nvSpPr>
          <p:cNvPr id="31" name="Green"/>
          <p:cNvSpPr/>
          <p:nvPr/>
        </p:nvSpPr>
        <p:spPr bwMode="auto">
          <a:xfrm>
            <a:off x="8627721" y="30379"/>
            <a:ext cx="515088" cy="1331777"/>
          </a:xfrm>
          <a:prstGeom prst="roundRect">
            <a:avLst>
              <a:gd name="adj" fmla="val 0"/>
            </a:avLst>
          </a:prstGeom>
          <a:solidFill>
            <a:schemeClr val="accent6"/>
          </a:soli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p:txBody>
      </p:sp>
      <p:sp>
        <p:nvSpPr>
          <p:cNvPr id="33" name="Red"/>
          <p:cNvSpPr/>
          <p:nvPr/>
        </p:nvSpPr>
        <p:spPr bwMode="auto">
          <a:xfrm>
            <a:off x="4241057" y="2834966"/>
            <a:ext cx="2808193" cy="1336985"/>
          </a:xfrm>
          <a:prstGeom prst="roundRect">
            <a:avLst>
              <a:gd name="adj" fmla="val 0"/>
            </a:avLst>
          </a:prstGeom>
          <a:solidFill>
            <a:srgbClr val="7030A0"/>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700" dirty="0">
                <a:solidFill>
                  <a:schemeClr val="tx1">
                    <a:alpha val="99000"/>
                  </a:schemeClr>
                </a:solidFill>
                <a:latin typeface="Segoe UI" pitchFamily="34" charset="0"/>
                <a:ea typeface="Segoe UI" pitchFamily="34" charset="0"/>
                <a:cs typeface="Segoe UI" pitchFamily="34" charset="0"/>
              </a:rPr>
              <a:t>Reporting Properties</a:t>
            </a:r>
          </a:p>
        </p:txBody>
      </p:sp>
      <p:sp>
        <p:nvSpPr>
          <p:cNvPr id="36" name="Orange"/>
          <p:cNvSpPr/>
          <p:nvPr/>
        </p:nvSpPr>
        <p:spPr bwMode="auto">
          <a:xfrm>
            <a:off x="8627721" y="2834966"/>
            <a:ext cx="515088" cy="1336985"/>
          </a:xfrm>
          <a:prstGeom prst="roundRect">
            <a:avLst>
              <a:gd name="adj" fmla="val 0"/>
            </a:avLst>
          </a:prstGeom>
          <a:solidFill>
            <a:srgbClr val="92D050"/>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p:txBody>
      </p:sp>
      <p:sp>
        <p:nvSpPr>
          <p:cNvPr id="37" name="Yellow"/>
          <p:cNvSpPr/>
          <p:nvPr/>
        </p:nvSpPr>
        <p:spPr bwMode="auto">
          <a:xfrm>
            <a:off x="7118844" y="2834966"/>
            <a:ext cx="1451712" cy="1336985"/>
          </a:xfrm>
          <a:prstGeom prst="roundRect">
            <a:avLst>
              <a:gd name="adj" fmla="val 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700" dirty="0">
                <a:solidFill>
                  <a:schemeClr val="tx1">
                    <a:alpha val="99000"/>
                  </a:schemeClr>
                </a:solidFill>
                <a:latin typeface="Segoe UI" pitchFamily="34" charset="0"/>
                <a:ea typeface="Segoe UI" pitchFamily="34" charset="0"/>
                <a:cs typeface="Segoe UI" pitchFamily="34" charset="0"/>
              </a:rPr>
              <a:t>Measure Grid</a:t>
            </a:r>
          </a:p>
        </p:txBody>
      </p:sp>
      <p:sp>
        <p:nvSpPr>
          <p:cNvPr id="39" name="Orange"/>
          <p:cNvSpPr/>
          <p:nvPr/>
        </p:nvSpPr>
        <p:spPr bwMode="auto">
          <a:xfrm>
            <a:off x="8627721" y="1428751"/>
            <a:ext cx="515088" cy="1344317"/>
          </a:xfrm>
          <a:prstGeom prst="roundRect">
            <a:avLst>
              <a:gd name="adj" fmla="val 0"/>
            </a:avLst>
          </a:prstGeom>
          <a:solidFill>
            <a:schemeClr val="accent3"/>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p:txBody>
      </p:sp>
      <p:sp>
        <p:nvSpPr>
          <p:cNvPr id="41" name="Orange"/>
          <p:cNvSpPr/>
          <p:nvPr/>
        </p:nvSpPr>
        <p:spPr bwMode="auto">
          <a:xfrm>
            <a:off x="4241056" y="4229102"/>
            <a:ext cx="1356926" cy="1336985"/>
          </a:xfrm>
          <a:prstGeom prst="roundRect">
            <a:avLst>
              <a:gd name="adj" fmla="val 0"/>
            </a:avLst>
          </a:prstGeom>
          <a:solidFill>
            <a:srgbClr val="92D050"/>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700" dirty="0">
                <a:solidFill>
                  <a:schemeClr val="tx1">
                    <a:alpha val="99000"/>
                  </a:schemeClr>
                </a:solidFill>
                <a:latin typeface="Segoe UI" pitchFamily="34" charset="0"/>
                <a:ea typeface="Segoe UI" pitchFamily="34" charset="0"/>
                <a:cs typeface="Segoe UI" pitchFamily="34" charset="0"/>
              </a:rPr>
              <a:t>Hierarchies</a:t>
            </a:r>
          </a:p>
        </p:txBody>
      </p:sp>
      <p:sp>
        <p:nvSpPr>
          <p:cNvPr id="43" name="Green"/>
          <p:cNvSpPr/>
          <p:nvPr/>
        </p:nvSpPr>
        <p:spPr bwMode="auto">
          <a:xfrm>
            <a:off x="8627721" y="4240223"/>
            <a:ext cx="515088" cy="909191"/>
          </a:xfrm>
          <a:prstGeom prst="roundRect">
            <a:avLst>
              <a:gd name="adj" fmla="val 0"/>
            </a:avLst>
          </a:prstGeom>
          <a:solidFill>
            <a:srgbClr val="7030A0"/>
          </a:soli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68583" tIns="34292" rIns="68583" bIns="34292" numCol="1" rtlCol="0" anchor="b" anchorCtr="0" compatLnSpc="1">
            <a:prstTxWarp prst="textNoShape">
              <a:avLst/>
            </a:prstTxWarp>
          </a:bodyPr>
          <a:lstStyle/>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p:txBody>
      </p:sp>
      <p:sp>
        <p:nvSpPr>
          <p:cNvPr id="44" name="Orange"/>
          <p:cNvSpPr/>
          <p:nvPr/>
        </p:nvSpPr>
        <p:spPr bwMode="auto">
          <a:xfrm>
            <a:off x="5671833" y="4229101"/>
            <a:ext cx="1377417" cy="1344602"/>
          </a:xfrm>
          <a:prstGeom prst="roundRect">
            <a:avLst>
              <a:gd name="adj" fmla="val 0"/>
            </a:avLst>
          </a:prstGeom>
          <a:solidFill>
            <a:schemeClr val="accent3"/>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700" dirty="0">
                <a:solidFill>
                  <a:schemeClr val="tx1">
                    <a:alpha val="99000"/>
                  </a:schemeClr>
                </a:solidFill>
                <a:latin typeface="Segoe UI" pitchFamily="34" charset="0"/>
                <a:ea typeface="Segoe UI" pitchFamily="34" charset="0"/>
                <a:cs typeface="Segoe UI" pitchFamily="34" charset="0"/>
              </a:rPr>
              <a:t>Multiple Relationships</a:t>
            </a:r>
          </a:p>
        </p:txBody>
      </p:sp>
      <p:sp>
        <p:nvSpPr>
          <p:cNvPr id="45" name="Orange"/>
          <p:cNvSpPr/>
          <p:nvPr/>
        </p:nvSpPr>
        <p:spPr bwMode="auto">
          <a:xfrm>
            <a:off x="7118845" y="4229102"/>
            <a:ext cx="1451711" cy="1336985"/>
          </a:xfrm>
          <a:prstGeom prst="roundRect">
            <a:avLst>
              <a:gd name="adj" fmla="val 0"/>
            </a:avLst>
          </a:prstGeom>
          <a:solidFill>
            <a:srgbClr val="00B0F0"/>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700" dirty="0">
                <a:solidFill>
                  <a:schemeClr val="tx1">
                    <a:alpha val="99000"/>
                  </a:schemeClr>
                </a:solidFill>
                <a:latin typeface="Segoe UI" pitchFamily="34" charset="0"/>
                <a:ea typeface="Segoe UI" pitchFamily="34" charset="0"/>
                <a:cs typeface="Segoe UI" pitchFamily="34" charset="0"/>
              </a:rPr>
              <a:t>Advanced Sort</a:t>
            </a:r>
          </a:p>
        </p:txBody>
      </p:sp>
      <p:sp>
        <p:nvSpPr>
          <p:cNvPr id="5" name="TextBox 4"/>
          <p:cNvSpPr txBox="1"/>
          <p:nvPr/>
        </p:nvSpPr>
        <p:spPr>
          <a:xfrm>
            <a:off x="495098" y="730964"/>
            <a:ext cx="4477056" cy="834453"/>
          </a:xfrm>
          <a:prstGeom prst="rect">
            <a:avLst/>
          </a:prstGeom>
          <a:noFill/>
        </p:spPr>
        <p:txBody>
          <a:bodyPr wrap="square" lIns="68586" tIns="68586" rIns="68586" bIns="68586" rtlCol="0">
            <a:spAutoFit/>
          </a:bodyPr>
          <a:lstStyle/>
          <a:p>
            <a:pPr>
              <a:lnSpc>
                <a:spcPct val="90000"/>
              </a:lnSpc>
              <a:spcBef>
                <a:spcPct val="20000"/>
              </a:spcBef>
              <a:buSzPct val="90000"/>
            </a:pPr>
            <a:r>
              <a:rPr lang="en-US" sz="5000" b="1" dirty="0">
                <a:solidFill>
                  <a:schemeClr val="tx1">
                    <a:alpha val="99000"/>
                  </a:schemeClr>
                </a:solidFill>
              </a:rPr>
              <a:t>Summary</a:t>
            </a:r>
          </a:p>
        </p:txBody>
      </p:sp>
      <p:sp>
        <p:nvSpPr>
          <p:cNvPr id="18" name="Green"/>
          <p:cNvSpPr/>
          <p:nvPr/>
        </p:nvSpPr>
        <p:spPr bwMode="auto">
          <a:xfrm>
            <a:off x="2828789" y="2837230"/>
            <a:ext cx="1373752" cy="1336985"/>
          </a:xfrm>
          <a:prstGeom prst="roundRect">
            <a:avLst>
              <a:gd name="adj" fmla="val 0"/>
            </a:avLst>
          </a:prstGeom>
          <a:solidFill>
            <a:schemeClr val="accent6"/>
          </a:soli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700" dirty="0">
                <a:solidFill>
                  <a:schemeClr val="tx1">
                    <a:alpha val="99000"/>
                  </a:schemeClr>
                </a:solidFill>
                <a:latin typeface="Segoe UI" pitchFamily="34" charset="0"/>
                <a:ea typeface="Segoe UI" pitchFamily="34" charset="0"/>
                <a:cs typeface="Segoe UI" pitchFamily="34" charset="0"/>
              </a:rPr>
              <a:t>Distinct Count</a:t>
            </a:r>
          </a:p>
        </p:txBody>
      </p:sp>
      <p:sp>
        <p:nvSpPr>
          <p:cNvPr id="19" name="Red"/>
          <p:cNvSpPr/>
          <p:nvPr/>
        </p:nvSpPr>
        <p:spPr bwMode="auto">
          <a:xfrm>
            <a:off x="-1191" y="2837230"/>
            <a:ext cx="2799888" cy="1336985"/>
          </a:xfrm>
          <a:prstGeom prst="roundRect">
            <a:avLst>
              <a:gd name="adj" fmla="val 0"/>
            </a:avLst>
          </a:prstGeom>
          <a:solidFill>
            <a:schemeClr val="accent5"/>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68583" tIns="34292" rIns="68583" bIns="34292" numCol="1" rtlCol="0" anchor="ctr" anchorCtr="0" compatLnSpc="1">
            <a:prstTxWarp prst="textNoShape">
              <a:avLst/>
            </a:prstTxWarp>
          </a:bodyPr>
          <a:lstStyle/>
          <a:p>
            <a:pPr lvl="1"/>
            <a:r>
              <a:rPr lang="en-US" sz="1700" dirty="0">
                <a:latin typeface="+mj-lt"/>
              </a:rPr>
              <a:t>Persisted formatting</a:t>
            </a:r>
          </a:p>
        </p:txBody>
      </p:sp>
      <p:sp>
        <p:nvSpPr>
          <p:cNvPr id="20" name="Yellow"/>
          <p:cNvSpPr/>
          <p:nvPr/>
        </p:nvSpPr>
        <p:spPr bwMode="auto">
          <a:xfrm>
            <a:off x="1441773" y="4229102"/>
            <a:ext cx="1356925" cy="1336985"/>
          </a:xfrm>
          <a:prstGeom prst="roundRect">
            <a:avLst>
              <a:gd name="adj" fmla="val 0"/>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700" dirty="0">
                <a:solidFill>
                  <a:schemeClr val="tx1">
                    <a:alpha val="99000"/>
                  </a:schemeClr>
                </a:solidFill>
                <a:latin typeface="Segoe UI" pitchFamily="34" charset="0"/>
                <a:ea typeface="Segoe UI" pitchFamily="34" charset="0"/>
                <a:cs typeface="Segoe UI" pitchFamily="34" charset="0"/>
              </a:rPr>
              <a:t>Drill Through</a:t>
            </a:r>
          </a:p>
        </p:txBody>
      </p:sp>
      <p:sp>
        <p:nvSpPr>
          <p:cNvPr id="21" name="Yellow"/>
          <p:cNvSpPr/>
          <p:nvPr/>
        </p:nvSpPr>
        <p:spPr bwMode="auto">
          <a:xfrm>
            <a:off x="-1190" y="4229102"/>
            <a:ext cx="1412898" cy="1336985"/>
          </a:xfrm>
          <a:prstGeom prst="roundRect">
            <a:avLst>
              <a:gd name="adj" fmla="val 0"/>
            </a:avLst>
          </a:prstGeom>
          <a:solidFill>
            <a:srgbClr val="F5603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700" dirty="0">
                <a:solidFill>
                  <a:schemeClr val="tx1">
                    <a:alpha val="99000"/>
                  </a:schemeClr>
                </a:solidFill>
                <a:latin typeface="Segoe UI" pitchFamily="34" charset="0"/>
                <a:ea typeface="Segoe UI" pitchFamily="34" charset="0"/>
                <a:cs typeface="Segoe UI" pitchFamily="34" charset="0"/>
              </a:rPr>
              <a:t>Date Table</a:t>
            </a:r>
          </a:p>
        </p:txBody>
      </p:sp>
      <p:sp>
        <p:nvSpPr>
          <p:cNvPr id="22" name="Yellow"/>
          <p:cNvSpPr/>
          <p:nvPr/>
        </p:nvSpPr>
        <p:spPr bwMode="auto">
          <a:xfrm>
            <a:off x="2823069" y="4229102"/>
            <a:ext cx="1379471" cy="1336985"/>
          </a:xfrm>
          <a:prstGeom prst="roundRect">
            <a:avLst>
              <a:gd name="adj" fmla="val 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700" dirty="0">
                <a:solidFill>
                  <a:schemeClr val="tx1">
                    <a:alpha val="99000"/>
                  </a:schemeClr>
                </a:solidFill>
                <a:latin typeface="Segoe UI" pitchFamily="34" charset="0"/>
                <a:ea typeface="Segoe UI" pitchFamily="34" charset="0"/>
                <a:cs typeface="Segoe UI" pitchFamily="34" charset="0"/>
              </a:rPr>
              <a:t>KPI’s</a:t>
            </a:r>
          </a:p>
        </p:txBody>
      </p:sp>
      <p:sp>
        <p:nvSpPr>
          <p:cNvPr id="23"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4"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
              </a:rPr>
              <a:t>www.rapidbbs.cn</a:t>
            </a:r>
            <a:endParaRPr lang="zh-CN" altLang="en-US" sz="1200" b="0">
              <a:latin typeface="Arial" charset="0"/>
              <a:ea typeface="ＭＳ Ｐゴシック" pitchFamily="34" charset="-128"/>
            </a:endParaRPr>
          </a:p>
        </p:txBody>
      </p:sp>
      <p:pic>
        <p:nvPicPr>
          <p:cNvPr id="30" name="Picture 2">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881155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 calcmode="lin" valueType="num">
                                      <p:cBhvr additive="base">
                                        <p:cTn id="7" dur="500" fill="hold"/>
                                        <p:tgtEl>
                                          <p:spTgt spid="28"/>
                                        </p:tgtEl>
                                        <p:attrNameLst>
                                          <p:attrName>ppt_x</p:attrName>
                                        </p:attrNameLst>
                                      </p:cBhvr>
                                      <p:tavLst>
                                        <p:tav tm="0">
                                          <p:val>
                                            <p:strVal val="#ppt_x"/>
                                          </p:val>
                                        </p:tav>
                                        <p:tav tm="100000">
                                          <p:val>
                                            <p:strVal val="#ppt_x"/>
                                          </p:val>
                                        </p:tav>
                                      </p:tavLst>
                                    </p:anim>
                                    <p:anim calcmode="lin" valueType="num">
                                      <p:cBhvr additive="base">
                                        <p:cTn id="8" dur="500" fill="hold"/>
                                        <p:tgtEl>
                                          <p:spTgt spid="28"/>
                                        </p:tgtEl>
                                        <p:attrNameLst>
                                          <p:attrName>ppt_y</p:attrName>
                                        </p:attrNameLst>
                                      </p:cBhvr>
                                      <p:tavLst>
                                        <p:tav tm="0">
                                          <p:val>
                                            <p:strVal val="1+#ppt_h/2"/>
                                          </p:val>
                                        </p:tav>
                                        <p:tav tm="100000">
                                          <p:val>
                                            <p:strVal val="#ppt_y"/>
                                          </p:val>
                                        </p:tav>
                                      </p:tavLst>
                                    </p:anim>
                                  </p:childTnLst>
                                </p:cTn>
                              </p:par>
                              <p:par>
                                <p:cTn id="9" presetID="2" presetClass="entr" presetSubtype="2" fill="hold" grpId="0" nodeType="withEffect">
                                  <p:stCondLst>
                                    <p:cond delay="250"/>
                                  </p:stCondLst>
                                  <p:childTnLst>
                                    <p:set>
                                      <p:cBhvr>
                                        <p:cTn id="10" dur="1" fill="hold">
                                          <p:stCondLst>
                                            <p:cond delay="0"/>
                                          </p:stCondLst>
                                        </p:cTn>
                                        <p:tgtEl>
                                          <p:spTgt spid="25"/>
                                        </p:tgtEl>
                                        <p:attrNameLst>
                                          <p:attrName>style.visibility</p:attrName>
                                        </p:attrNameLst>
                                      </p:cBhvr>
                                      <p:to>
                                        <p:strVal val="visible"/>
                                      </p:to>
                                    </p:set>
                                    <p:anim calcmode="lin" valueType="num">
                                      <p:cBhvr additive="base">
                                        <p:cTn id="11" dur="500" fill="hold"/>
                                        <p:tgtEl>
                                          <p:spTgt spid="25"/>
                                        </p:tgtEl>
                                        <p:attrNameLst>
                                          <p:attrName>ppt_x</p:attrName>
                                        </p:attrNameLst>
                                      </p:cBhvr>
                                      <p:tavLst>
                                        <p:tav tm="0">
                                          <p:val>
                                            <p:strVal val="1+#ppt_w/2"/>
                                          </p:val>
                                        </p:tav>
                                        <p:tav tm="100000">
                                          <p:val>
                                            <p:strVal val="#ppt_x"/>
                                          </p:val>
                                        </p:tav>
                                      </p:tavLst>
                                    </p:anim>
                                    <p:anim calcmode="lin" valueType="num">
                                      <p:cBhvr additive="base">
                                        <p:cTn id="12" dur="500" fill="hold"/>
                                        <p:tgtEl>
                                          <p:spTgt spid="25"/>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250"/>
                                  </p:stCondLst>
                                  <p:childTnLst>
                                    <p:set>
                                      <p:cBhvr>
                                        <p:cTn id="14" dur="1" fill="hold">
                                          <p:stCondLst>
                                            <p:cond delay="0"/>
                                          </p:stCondLst>
                                        </p:cTn>
                                        <p:tgtEl>
                                          <p:spTgt spid="29"/>
                                        </p:tgtEl>
                                        <p:attrNameLst>
                                          <p:attrName>style.visibility</p:attrName>
                                        </p:attrNameLst>
                                      </p:cBhvr>
                                      <p:to>
                                        <p:strVal val="visible"/>
                                      </p:to>
                                    </p:set>
                                    <p:anim calcmode="lin" valueType="num">
                                      <p:cBhvr additive="base">
                                        <p:cTn id="15" dur="500" fill="hold"/>
                                        <p:tgtEl>
                                          <p:spTgt spid="29"/>
                                        </p:tgtEl>
                                        <p:attrNameLst>
                                          <p:attrName>ppt_x</p:attrName>
                                        </p:attrNameLst>
                                      </p:cBhvr>
                                      <p:tavLst>
                                        <p:tav tm="0">
                                          <p:val>
                                            <p:strVal val="0-#ppt_w/2"/>
                                          </p:val>
                                        </p:tav>
                                        <p:tav tm="100000">
                                          <p:val>
                                            <p:strVal val="#ppt_x"/>
                                          </p:val>
                                        </p:tav>
                                      </p:tavLst>
                                    </p:anim>
                                    <p:anim calcmode="lin" valueType="num">
                                      <p:cBhvr additive="base">
                                        <p:cTn id="16" dur="500" fill="hold"/>
                                        <p:tgtEl>
                                          <p:spTgt spid="29"/>
                                        </p:tgtEl>
                                        <p:attrNameLst>
                                          <p:attrName>ppt_y</p:attrName>
                                        </p:attrNameLst>
                                      </p:cBhvr>
                                      <p:tavLst>
                                        <p:tav tm="0">
                                          <p:val>
                                            <p:strVal val="#ppt_y"/>
                                          </p:val>
                                        </p:tav>
                                        <p:tav tm="100000">
                                          <p:val>
                                            <p:strVal val="#ppt_y"/>
                                          </p:val>
                                        </p:tav>
                                      </p:tavLst>
                                    </p:anim>
                                  </p:childTnLst>
                                </p:cTn>
                              </p:par>
                              <p:par>
                                <p:cTn id="17" presetID="2" presetClass="entr" presetSubtype="12" fill="hold" grpId="0" nodeType="withEffect">
                                  <p:stCondLst>
                                    <p:cond delay="250"/>
                                  </p:stCondLst>
                                  <p:childTnLst>
                                    <p:set>
                                      <p:cBhvr>
                                        <p:cTn id="18" dur="1" fill="hold">
                                          <p:stCondLst>
                                            <p:cond delay="0"/>
                                          </p:stCondLst>
                                        </p:cTn>
                                        <p:tgtEl>
                                          <p:spTgt spid="27"/>
                                        </p:tgtEl>
                                        <p:attrNameLst>
                                          <p:attrName>style.visibility</p:attrName>
                                        </p:attrNameLst>
                                      </p:cBhvr>
                                      <p:to>
                                        <p:strVal val="visible"/>
                                      </p:to>
                                    </p:set>
                                    <p:anim calcmode="lin" valueType="num">
                                      <p:cBhvr additive="base">
                                        <p:cTn id="19" dur="500" fill="hold"/>
                                        <p:tgtEl>
                                          <p:spTgt spid="27"/>
                                        </p:tgtEl>
                                        <p:attrNameLst>
                                          <p:attrName>ppt_x</p:attrName>
                                        </p:attrNameLst>
                                      </p:cBhvr>
                                      <p:tavLst>
                                        <p:tav tm="0">
                                          <p:val>
                                            <p:strVal val="0-#ppt_w/2"/>
                                          </p:val>
                                        </p:tav>
                                        <p:tav tm="100000">
                                          <p:val>
                                            <p:strVal val="#ppt_x"/>
                                          </p:val>
                                        </p:tav>
                                      </p:tavLst>
                                    </p:anim>
                                    <p:anim calcmode="lin" valueType="num">
                                      <p:cBhvr additive="base">
                                        <p:cTn id="20" dur="500" fill="hold"/>
                                        <p:tgtEl>
                                          <p:spTgt spid="27"/>
                                        </p:tgtEl>
                                        <p:attrNameLst>
                                          <p:attrName>ppt_y</p:attrName>
                                        </p:attrNameLst>
                                      </p:cBhvr>
                                      <p:tavLst>
                                        <p:tav tm="0">
                                          <p:val>
                                            <p:strVal val="1+#ppt_h/2"/>
                                          </p:val>
                                        </p:tav>
                                        <p:tav tm="100000">
                                          <p:val>
                                            <p:strVal val="#ppt_y"/>
                                          </p:val>
                                        </p:tav>
                                      </p:tavLst>
                                    </p:anim>
                                  </p:childTnLst>
                                </p:cTn>
                              </p:par>
                              <p:par>
                                <p:cTn id="21" presetID="2" presetClass="entr" presetSubtype="1" fill="hold" grpId="0" nodeType="withEffect">
                                  <p:stCondLst>
                                    <p:cond delay="500"/>
                                  </p:stCondLst>
                                  <p:childTnLst>
                                    <p:set>
                                      <p:cBhvr>
                                        <p:cTn id="22" dur="1" fill="hold">
                                          <p:stCondLst>
                                            <p:cond delay="0"/>
                                          </p:stCondLst>
                                        </p:cTn>
                                        <p:tgtEl>
                                          <p:spTgt spid="26"/>
                                        </p:tgtEl>
                                        <p:attrNameLst>
                                          <p:attrName>style.visibility</p:attrName>
                                        </p:attrNameLst>
                                      </p:cBhvr>
                                      <p:to>
                                        <p:strVal val="visible"/>
                                      </p:to>
                                    </p:set>
                                    <p:anim calcmode="lin" valueType="num">
                                      <p:cBhvr additive="base">
                                        <p:cTn id="23" dur="500" fill="hold"/>
                                        <p:tgtEl>
                                          <p:spTgt spid="26"/>
                                        </p:tgtEl>
                                        <p:attrNameLst>
                                          <p:attrName>ppt_x</p:attrName>
                                        </p:attrNameLst>
                                      </p:cBhvr>
                                      <p:tavLst>
                                        <p:tav tm="0">
                                          <p:val>
                                            <p:strVal val="#ppt_x"/>
                                          </p:val>
                                        </p:tav>
                                        <p:tav tm="100000">
                                          <p:val>
                                            <p:strVal val="#ppt_x"/>
                                          </p:val>
                                        </p:tav>
                                      </p:tavLst>
                                    </p:anim>
                                    <p:anim calcmode="lin" valueType="num">
                                      <p:cBhvr additive="base">
                                        <p:cTn id="24" dur="500" fill="hold"/>
                                        <p:tgtEl>
                                          <p:spTgt spid="26"/>
                                        </p:tgtEl>
                                        <p:attrNameLst>
                                          <p:attrName>ppt_y</p:attrName>
                                        </p:attrNameLst>
                                      </p:cBhvr>
                                      <p:tavLst>
                                        <p:tav tm="0">
                                          <p:val>
                                            <p:strVal val="0-#ppt_h/2"/>
                                          </p:val>
                                        </p:tav>
                                        <p:tav tm="100000">
                                          <p:val>
                                            <p:strVal val="#ppt_y"/>
                                          </p:val>
                                        </p:tav>
                                      </p:tavLst>
                                    </p:anim>
                                  </p:childTnLst>
                                </p:cTn>
                              </p:par>
                              <p:par>
                                <p:cTn id="25" presetID="2" presetClass="entr" presetSubtype="4" fill="hold" grpId="0" nodeType="withEffect">
                                  <p:stCondLst>
                                    <p:cond delay="500"/>
                                  </p:stCondLst>
                                  <p:childTnLst>
                                    <p:set>
                                      <p:cBhvr>
                                        <p:cTn id="26" dur="1" fill="hold">
                                          <p:stCondLst>
                                            <p:cond delay="0"/>
                                          </p:stCondLst>
                                        </p:cTn>
                                        <p:tgtEl>
                                          <p:spTgt spid="33"/>
                                        </p:tgtEl>
                                        <p:attrNameLst>
                                          <p:attrName>style.visibility</p:attrName>
                                        </p:attrNameLst>
                                      </p:cBhvr>
                                      <p:to>
                                        <p:strVal val="visible"/>
                                      </p:to>
                                    </p:set>
                                    <p:anim calcmode="lin" valueType="num">
                                      <p:cBhvr additive="base">
                                        <p:cTn id="27" dur="500" fill="hold"/>
                                        <p:tgtEl>
                                          <p:spTgt spid="33"/>
                                        </p:tgtEl>
                                        <p:attrNameLst>
                                          <p:attrName>ppt_x</p:attrName>
                                        </p:attrNameLst>
                                      </p:cBhvr>
                                      <p:tavLst>
                                        <p:tav tm="0">
                                          <p:val>
                                            <p:strVal val="#ppt_x"/>
                                          </p:val>
                                        </p:tav>
                                        <p:tav tm="100000">
                                          <p:val>
                                            <p:strVal val="#ppt_x"/>
                                          </p:val>
                                        </p:tav>
                                      </p:tavLst>
                                    </p:anim>
                                    <p:anim calcmode="lin" valueType="num">
                                      <p:cBhvr additive="base">
                                        <p:cTn id="28" dur="500" fill="hold"/>
                                        <p:tgtEl>
                                          <p:spTgt spid="33"/>
                                        </p:tgtEl>
                                        <p:attrNameLst>
                                          <p:attrName>ppt_y</p:attrName>
                                        </p:attrNameLst>
                                      </p:cBhvr>
                                      <p:tavLst>
                                        <p:tav tm="0">
                                          <p:val>
                                            <p:strVal val="1+#ppt_h/2"/>
                                          </p:val>
                                        </p:tav>
                                        <p:tav tm="100000">
                                          <p:val>
                                            <p:strVal val="#ppt_y"/>
                                          </p:val>
                                        </p:tav>
                                      </p:tavLst>
                                    </p:anim>
                                  </p:childTnLst>
                                </p:cTn>
                              </p:par>
                              <p:par>
                                <p:cTn id="29" presetID="2" presetClass="entr" presetSubtype="3" fill="hold" grpId="0" nodeType="withEffect">
                                  <p:stCondLst>
                                    <p:cond delay="500"/>
                                  </p:stCondLst>
                                  <p:childTnLst>
                                    <p:set>
                                      <p:cBhvr>
                                        <p:cTn id="30" dur="1" fill="hold">
                                          <p:stCondLst>
                                            <p:cond delay="0"/>
                                          </p:stCondLst>
                                        </p:cTn>
                                        <p:tgtEl>
                                          <p:spTgt spid="41"/>
                                        </p:tgtEl>
                                        <p:attrNameLst>
                                          <p:attrName>style.visibility</p:attrName>
                                        </p:attrNameLst>
                                      </p:cBhvr>
                                      <p:to>
                                        <p:strVal val="visible"/>
                                      </p:to>
                                    </p:set>
                                    <p:anim calcmode="lin" valueType="num">
                                      <p:cBhvr additive="base">
                                        <p:cTn id="31" dur="500" fill="hold"/>
                                        <p:tgtEl>
                                          <p:spTgt spid="41"/>
                                        </p:tgtEl>
                                        <p:attrNameLst>
                                          <p:attrName>ppt_x</p:attrName>
                                        </p:attrNameLst>
                                      </p:cBhvr>
                                      <p:tavLst>
                                        <p:tav tm="0">
                                          <p:val>
                                            <p:strVal val="1+#ppt_w/2"/>
                                          </p:val>
                                        </p:tav>
                                        <p:tav tm="100000">
                                          <p:val>
                                            <p:strVal val="#ppt_x"/>
                                          </p:val>
                                        </p:tav>
                                      </p:tavLst>
                                    </p:anim>
                                    <p:anim calcmode="lin" valueType="num">
                                      <p:cBhvr additive="base">
                                        <p:cTn id="32" dur="500" fill="hold"/>
                                        <p:tgtEl>
                                          <p:spTgt spid="41"/>
                                        </p:tgtEl>
                                        <p:attrNameLst>
                                          <p:attrName>ppt_y</p:attrName>
                                        </p:attrNameLst>
                                      </p:cBhvr>
                                      <p:tavLst>
                                        <p:tav tm="0">
                                          <p:val>
                                            <p:strVal val="0-#ppt_h/2"/>
                                          </p:val>
                                        </p:tav>
                                        <p:tav tm="100000">
                                          <p:val>
                                            <p:strVal val="#ppt_y"/>
                                          </p:val>
                                        </p:tav>
                                      </p:tavLst>
                                    </p:anim>
                                  </p:childTnLst>
                                </p:cTn>
                              </p:par>
                              <p:par>
                                <p:cTn id="33" presetID="2" presetClass="entr" presetSubtype="1" fill="hold" grpId="0" nodeType="withEffect">
                                  <p:stCondLst>
                                    <p:cond delay="500"/>
                                  </p:stCondLst>
                                  <p:childTnLst>
                                    <p:set>
                                      <p:cBhvr>
                                        <p:cTn id="34" dur="1" fill="hold">
                                          <p:stCondLst>
                                            <p:cond delay="0"/>
                                          </p:stCondLst>
                                        </p:cTn>
                                        <p:tgtEl>
                                          <p:spTgt spid="44"/>
                                        </p:tgtEl>
                                        <p:attrNameLst>
                                          <p:attrName>style.visibility</p:attrName>
                                        </p:attrNameLst>
                                      </p:cBhvr>
                                      <p:to>
                                        <p:strVal val="visible"/>
                                      </p:to>
                                    </p:set>
                                    <p:anim calcmode="lin" valueType="num">
                                      <p:cBhvr additive="base">
                                        <p:cTn id="35" dur="500" fill="hold"/>
                                        <p:tgtEl>
                                          <p:spTgt spid="44"/>
                                        </p:tgtEl>
                                        <p:attrNameLst>
                                          <p:attrName>ppt_x</p:attrName>
                                        </p:attrNameLst>
                                      </p:cBhvr>
                                      <p:tavLst>
                                        <p:tav tm="0">
                                          <p:val>
                                            <p:strVal val="#ppt_x"/>
                                          </p:val>
                                        </p:tav>
                                        <p:tav tm="100000">
                                          <p:val>
                                            <p:strVal val="#ppt_x"/>
                                          </p:val>
                                        </p:tav>
                                      </p:tavLst>
                                    </p:anim>
                                    <p:anim calcmode="lin" valueType="num">
                                      <p:cBhvr additive="base">
                                        <p:cTn id="36" dur="500" fill="hold"/>
                                        <p:tgtEl>
                                          <p:spTgt spid="44"/>
                                        </p:tgtEl>
                                        <p:attrNameLst>
                                          <p:attrName>ppt_y</p:attrName>
                                        </p:attrNameLst>
                                      </p:cBhvr>
                                      <p:tavLst>
                                        <p:tav tm="0">
                                          <p:val>
                                            <p:strVal val="0-#ppt_h/2"/>
                                          </p:val>
                                        </p:tav>
                                        <p:tav tm="100000">
                                          <p:val>
                                            <p:strVal val="#ppt_y"/>
                                          </p:val>
                                        </p:tav>
                                      </p:tavLst>
                                    </p:anim>
                                  </p:childTnLst>
                                </p:cTn>
                              </p:par>
                              <p:par>
                                <p:cTn id="37" presetID="2" presetClass="entr" presetSubtype="2" fill="hold" grpId="0" nodeType="withEffect">
                                  <p:stCondLst>
                                    <p:cond delay="500"/>
                                  </p:stCondLst>
                                  <p:childTnLst>
                                    <p:set>
                                      <p:cBhvr>
                                        <p:cTn id="38" dur="1" fill="hold">
                                          <p:stCondLst>
                                            <p:cond delay="0"/>
                                          </p:stCondLst>
                                        </p:cTn>
                                        <p:tgtEl>
                                          <p:spTgt spid="45"/>
                                        </p:tgtEl>
                                        <p:attrNameLst>
                                          <p:attrName>style.visibility</p:attrName>
                                        </p:attrNameLst>
                                      </p:cBhvr>
                                      <p:to>
                                        <p:strVal val="visible"/>
                                      </p:to>
                                    </p:set>
                                    <p:anim calcmode="lin" valueType="num">
                                      <p:cBhvr additive="base">
                                        <p:cTn id="39" dur="500" fill="hold"/>
                                        <p:tgtEl>
                                          <p:spTgt spid="45"/>
                                        </p:tgtEl>
                                        <p:attrNameLst>
                                          <p:attrName>ppt_x</p:attrName>
                                        </p:attrNameLst>
                                      </p:cBhvr>
                                      <p:tavLst>
                                        <p:tav tm="0">
                                          <p:val>
                                            <p:strVal val="1+#ppt_w/2"/>
                                          </p:val>
                                        </p:tav>
                                        <p:tav tm="100000">
                                          <p:val>
                                            <p:strVal val="#ppt_x"/>
                                          </p:val>
                                        </p:tav>
                                      </p:tavLst>
                                    </p:anim>
                                    <p:anim calcmode="lin" valueType="num">
                                      <p:cBhvr additive="base">
                                        <p:cTn id="40" dur="500" fill="hold"/>
                                        <p:tgtEl>
                                          <p:spTgt spid="45"/>
                                        </p:tgtEl>
                                        <p:attrNameLst>
                                          <p:attrName>ppt_y</p:attrName>
                                        </p:attrNameLst>
                                      </p:cBhvr>
                                      <p:tavLst>
                                        <p:tav tm="0">
                                          <p:val>
                                            <p:strVal val="#ppt_y"/>
                                          </p:val>
                                        </p:tav>
                                        <p:tav tm="100000">
                                          <p:val>
                                            <p:strVal val="#ppt_y"/>
                                          </p:val>
                                        </p:tav>
                                      </p:tavLst>
                                    </p:anim>
                                  </p:childTnLst>
                                </p:cTn>
                              </p:par>
                              <p:par>
                                <p:cTn id="41" presetID="2" presetClass="entr" presetSubtype="9" fill="hold" grpId="0" nodeType="withEffect">
                                  <p:stCondLst>
                                    <p:cond delay="500"/>
                                  </p:stCondLst>
                                  <p:childTnLst>
                                    <p:set>
                                      <p:cBhvr>
                                        <p:cTn id="42" dur="1" fill="hold">
                                          <p:stCondLst>
                                            <p:cond delay="0"/>
                                          </p:stCondLst>
                                        </p:cTn>
                                        <p:tgtEl>
                                          <p:spTgt spid="37"/>
                                        </p:tgtEl>
                                        <p:attrNameLst>
                                          <p:attrName>style.visibility</p:attrName>
                                        </p:attrNameLst>
                                      </p:cBhvr>
                                      <p:to>
                                        <p:strVal val="visible"/>
                                      </p:to>
                                    </p:set>
                                    <p:anim calcmode="lin" valueType="num">
                                      <p:cBhvr additive="base">
                                        <p:cTn id="43" dur="500" fill="hold"/>
                                        <p:tgtEl>
                                          <p:spTgt spid="37"/>
                                        </p:tgtEl>
                                        <p:attrNameLst>
                                          <p:attrName>ppt_x</p:attrName>
                                        </p:attrNameLst>
                                      </p:cBhvr>
                                      <p:tavLst>
                                        <p:tav tm="0">
                                          <p:val>
                                            <p:strVal val="0-#ppt_w/2"/>
                                          </p:val>
                                        </p:tav>
                                        <p:tav tm="100000">
                                          <p:val>
                                            <p:strVal val="#ppt_x"/>
                                          </p:val>
                                        </p:tav>
                                      </p:tavLst>
                                    </p:anim>
                                    <p:anim calcmode="lin" valueType="num">
                                      <p:cBhvr additive="base">
                                        <p:cTn id="44" dur="500" fill="hold"/>
                                        <p:tgtEl>
                                          <p:spTgt spid="37"/>
                                        </p:tgtEl>
                                        <p:attrNameLst>
                                          <p:attrName>ppt_y</p:attrName>
                                        </p:attrNameLst>
                                      </p:cBhvr>
                                      <p:tavLst>
                                        <p:tav tm="0">
                                          <p:val>
                                            <p:strVal val="0-#ppt_h/2"/>
                                          </p:val>
                                        </p:tav>
                                        <p:tav tm="100000">
                                          <p:val>
                                            <p:strVal val="#ppt_y"/>
                                          </p:val>
                                        </p:tav>
                                      </p:tavLst>
                                    </p:anim>
                                  </p:childTnLst>
                                </p:cTn>
                              </p:par>
                              <p:par>
                                <p:cTn id="45" presetID="2" presetClass="entr" presetSubtype="4" fill="hold" grpId="0" nodeType="withEffect">
                                  <p:stCondLst>
                                    <p:cond delay="500"/>
                                  </p:stCondLst>
                                  <p:childTnLst>
                                    <p:set>
                                      <p:cBhvr>
                                        <p:cTn id="46" dur="1" fill="hold">
                                          <p:stCondLst>
                                            <p:cond delay="0"/>
                                          </p:stCondLst>
                                        </p:cTn>
                                        <p:tgtEl>
                                          <p:spTgt spid="39"/>
                                        </p:tgtEl>
                                        <p:attrNameLst>
                                          <p:attrName>style.visibility</p:attrName>
                                        </p:attrNameLst>
                                      </p:cBhvr>
                                      <p:to>
                                        <p:strVal val="visible"/>
                                      </p:to>
                                    </p:set>
                                    <p:anim calcmode="lin" valueType="num">
                                      <p:cBhvr additive="base">
                                        <p:cTn id="47" dur="500" fill="hold"/>
                                        <p:tgtEl>
                                          <p:spTgt spid="39"/>
                                        </p:tgtEl>
                                        <p:attrNameLst>
                                          <p:attrName>ppt_x</p:attrName>
                                        </p:attrNameLst>
                                      </p:cBhvr>
                                      <p:tavLst>
                                        <p:tav tm="0">
                                          <p:val>
                                            <p:strVal val="#ppt_x"/>
                                          </p:val>
                                        </p:tav>
                                        <p:tav tm="100000">
                                          <p:val>
                                            <p:strVal val="#ppt_x"/>
                                          </p:val>
                                        </p:tav>
                                      </p:tavLst>
                                    </p:anim>
                                    <p:anim calcmode="lin" valueType="num">
                                      <p:cBhvr additive="base">
                                        <p:cTn id="48" dur="500" fill="hold"/>
                                        <p:tgtEl>
                                          <p:spTgt spid="39"/>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500"/>
                                  </p:stCondLst>
                                  <p:childTnLst>
                                    <p:set>
                                      <p:cBhvr>
                                        <p:cTn id="50" dur="1" fill="hold">
                                          <p:stCondLst>
                                            <p:cond delay="0"/>
                                          </p:stCondLst>
                                        </p:cTn>
                                        <p:tgtEl>
                                          <p:spTgt spid="31"/>
                                        </p:tgtEl>
                                        <p:attrNameLst>
                                          <p:attrName>style.visibility</p:attrName>
                                        </p:attrNameLst>
                                      </p:cBhvr>
                                      <p:to>
                                        <p:strVal val="visible"/>
                                      </p:to>
                                    </p:set>
                                    <p:anim calcmode="lin" valueType="num">
                                      <p:cBhvr additive="base">
                                        <p:cTn id="51" dur="500" fill="hold"/>
                                        <p:tgtEl>
                                          <p:spTgt spid="31"/>
                                        </p:tgtEl>
                                        <p:attrNameLst>
                                          <p:attrName>ppt_x</p:attrName>
                                        </p:attrNameLst>
                                      </p:cBhvr>
                                      <p:tavLst>
                                        <p:tav tm="0">
                                          <p:val>
                                            <p:strVal val="#ppt_x"/>
                                          </p:val>
                                        </p:tav>
                                        <p:tav tm="100000">
                                          <p:val>
                                            <p:strVal val="#ppt_x"/>
                                          </p:val>
                                        </p:tav>
                                      </p:tavLst>
                                    </p:anim>
                                    <p:anim calcmode="lin" valueType="num">
                                      <p:cBhvr additive="base">
                                        <p:cTn id="52" dur="500" fill="hold"/>
                                        <p:tgtEl>
                                          <p:spTgt spid="31"/>
                                        </p:tgtEl>
                                        <p:attrNameLst>
                                          <p:attrName>ppt_y</p:attrName>
                                        </p:attrNameLst>
                                      </p:cBhvr>
                                      <p:tavLst>
                                        <p:tav tm="0">
                                          <p:val>
                                            <p:strVal val="1+#ppt_h/2"/>
                                          </p:val>
                                        </p:tav>
                                        <p:tav tm="100000">
                                          <p:val>
                                            <p:strVal val="#ppt_y"/>
                                          </p:val>
                                        </p:tav>
                                      </p:tavLst>
                                    </p:anim>
                                  </p:childTnLst>
                                </p:cTn>
                              </p:par>
                              <p:par>
                                <p:cTn id="53" presetID="2" presetClass="entr" presetSubtype="4" fill="hold" grpId="0" nodeType="withEffect">
                                  <p:stCondLst>
                                    <p:cond delay="500"/>
                                  </p:stCondLst>
                                  <p:childTnLst>
                                    <p:set>
                                      <p:cBhvr>
                                        <p:cTn id="54" dur="1" fill="hold">
                                          <p:stCondLst>
                                            <p:cond delay="0"/>
                                          </p:stCondLst>
                                        </p:cTn>
                                        <p:tgtEl>
                                          <p:spTgt spid="36"/>
                                        </p:tgtEl>
                                        <p:attrNameLst>
                                          <p:attrName>style.visibility</p:attrName>
                                        </p:attrNameLst>
                                      </p:cBhvr>
                                      <p:to>
                                        <p:strVal val="visible"/>
                                      </p:to>
                                    </p:set>
                                    <p:anim calcmode="lin" valueType="num">
                                      <p:cBhvr additive="base">
                                        <p:cTn id="55" dur="500" fill="hold"/>
                                        <p:tgtEl>
                                          <p:spTgt spid="36"/>
                                        </p:tgtEl>
                                        <p:attrNameLst>
                                          <p:attrName>ppt_x</p:attrName>
                                        </p:attrNameLst>
                                      </p:cBhvr>
                                      <p:tavLst>
                                        <p:tav tm="0">
                                          <p:val>
                                            <p:strVal val="#ppt_x"/>
                                          </p:val>
                                        </p:tav>
                                        <p:tav tm="100000">
                                          <p:val>
                                            <p:strVal val="#ppt_x"/>
                                          </p:val>
                                        </p:tav>
                                      </p:tavLst>
                                    </p:anim>
                                    <p:anim calcmode="lin" valueType="num">
                                      <p:cBhvr additive="base">
                                        <p:cTn id="56" dur="500" fill="hold"/>
                                        <p:tgtEl>
                                          <p:spTgt spid="36"/>
                                        </p:tgtEl>
                                        <p:attrNameLst>
                                          <p:attrName>ppt_y</p:attrName>
                                        </p:attrNameLst>
                                      </p:cBhvr>
                                      <p:tavLst>
                                        <p:tav tm="0">
                                          <p:val>
                                            <p:strVal val="1+#ppt_h/2"/>
                                          </p:val>
                                        </p:tav>
                                        <p:tav tm="100000">
                                          <p:val>
                                            <p:strVal val="#ppt_y"/>
                                          </p:val>
                                        </p:tav>
                                      </p:tavLst>
                                    </p:anim>
                                  </p:childTnLst>
                                </p:cTn>
                              </p:par>
                              <p:par>
                                <p:cTn id="57" presetID="2" presetClass="entr" presetSubtype="8" fill="hold" grpId="0" nodeType="withEffect">
                                  <p:stCondLst>
                                    <p:cond delay="500"/>
                                  </p:stCondLst>
                                  <p:childTnLst>
                                    <p:set>
                                      <p:cBhvr>
                                        <p:cTn id="58" dur="1" fill="hold">
                                          <p:stCondLst>
                                            <p:cond delay="0"/>
                                          </p:stCondLst>
                                        </p:cTn>
                                        <p:tgtEl>
                                          <p:spTgt spid="43"/>
                                        </p:tgtEl>
                                        <p:attrNameLst>
                                          <p:attrName>style.visibility</p:attrName>
                                        </p:attrNameLst>
                                      </p:cBhvr>
                                      <p:to>
                                        <p:strVal val="visible"/>
                                      </p:to>
                                    </p:set>
                                    <p:anim calcmode="lin" valueType="num">
                                      <p:cBhvr additive="base">
                                        <p:cTn id="59" dur="500" fill="hold"/>
                                        <p:tgtEl>
                                          <p:spTgt spid="43"/>
                                        </p:tgtEl>
                                        <p:attrNameLst>
                                          <p:attrName>ppt_x</p:attrName>
                                        </p:attrNameLst>
                                      </p:cBhvr>
                                      <p:tavLst>
                                        <p:tav tm="0">
                                          <p:val>
                                            <p:strVal val="0-#ppt_w/2"/>
                                          </p:val>
                                        </p:tav>
                                        <p:tav tm="100000">
                                          <p:val>
                                            <p:strVal val="#ppt_x"/>
                                          </p:val>
                                        </p:tav>
                                      </p:tavLst>
                                    </p:anim>
                                    <p:anim calcmode="lin" valueType="num">
                                      <p:cBhvr additive="base">
                                        <p:cTn id="60" dur="500" fill="hold"/>
                                        <p:tgtEl>
                                          <p:spTgt spid="43"/>
                                        </p:tgtEl>
                                        <p:attrNameLst>
                                          <p:attrName>ppt_y</p:attrName>
                                        </p:attrNameLst>
                                      </p:cBhvr>
                                      <p:tavLst>
                                        <p:tav tm="0">
                                          <p:val>
                                            <p:strVal val="#ppt_y"/>
                                          </p:val>
                                        </p:tav>
                                        <p:tav tm="100000">
                                          <p:val>
                                            <p:strVal val="#ppt_y"/>
                                          </p:val>
                                        </p:tav>
                                      </p:tavLst>
                                    </p:anim>
                                  </p:childTnLst>
                                </p:cTn>
                              </p:par>
                              <p:par>
                                <p:cTn id="61" presetID="2" presetClass="entr" presetSubtype="2" fill="hold" grpId="0" nodeType="withEffect">
                                  <p:stCondLst>
                                    <p:cond delay="250"/>
                                  </p:stCondLst>
                                  <p:childTnLst>
                                    <p:set>
                                      <p:cBhvr>
                                        <p:cTn id="62" dur="1" fill="hold">
                                          <p:stCondLst>
                                            <p:cond delay="0"/>
                                          </p:stCondLst>
                                        </p:cTn>
                                        <p:tgtEl>
                                          <p:spTgt spid="18"/>
                                        </p:tgtEl>
                                        <p:attrNameLst>
                                          <p:attrName>style.visibility</p:attrName>
                                        </p:attrNameLst>
                                      </p:cBhvr>
                                      <p:to>
                                        <p:strVal val="visible"/>
                                      </p:to>
                                    </p:set>
                                    <p:anim calcmode="lin" valueType="num">
                                      <p:cBhvr additive="base">
                                        <p:cTn id="63" dur="500" fill="hold"/>
                                        <p:tgtEl>
                                          <p:spTgt spid="18"/>
                                        </p:tgtEl>
                                        <p:attrNameLst>
                                          <p:attrName>ppt_x</p:attrName>
                                        </p:attrNameLst>
                                      </p:cBhvr>
                                      <p:tavLst>
                                        <p:tav tm="0">
                                          <p:val>
                                            <p:strVal val="1+#ppt_w/2"/>
                                          </p:val>
                                        </p:tav>
                                        <p:tav tm="100000">
                                          <p:val>
                                            <p:strVal val="#ppt_x"/>
                                          </p:val>
                                        </p:tav>
                                      </p:tavLst>
                                    </p:anim>
                                    <p:anim calcmode="lin" valueType="num">
                                      <p:cBhvr additive="base">
                                        <p:cTn id="64" dur="500" fill="hold"/>
                                        <p:tgtEl>
                                          <p:spTgt spid="18"/>
                                        </p:tgtEl>
                                        <p:attrNameLst>
                                          <p:attrName>ppt_y</p:attrName>
                                        </p:attrNameLst>
                                      </p:cBhvr>
                                      <p:tavLst>
                                        <p:tav tm="0">
                                          <p:val>
                                            <p:strVal val="#ppt_y"/>
                                          </p:val>
                                        </p:tav>
                                        <p:tav tm="100000">
                                          <p:val>
                                            <p:strVal val="#ppt_y"/>
                                          </p:val>
                                        </p:tav>
                                      </p:tavLst>
                                    </p:anim>
                                  </p:childTnLst>
                                </p:cTn>
                              </p:par>
                              <p:par>
                                <p:cTn id="65" presetID="2" presetClass="entr" presetSubtype="1" fill="hold" grpId="0" nodeType="withEffect">
                                  <p:stCondLst>
                                    <p:cond delay="500"/>
                                  </p:stCondLst>
                                  <p:childTnLst>
                                    <p:set>
                                      <p:cBhvr>
                                        <p:cTn id="66" dur="1" fill="hold">
                                          <p:stCondLst>
                                            <p:cond delay="0"/>
                                          </p:stCondLst>
                                        </p:cTn>
                                        <p:tgtEl>
                                          <p:spTgt spid="19"/>
                                        </p:tgtEl>
                                        <p:attrNameLst>
                                          <p:attrName>style.visibility</p:attrName>
                                        </p:attrNameLst>
                                      </p:cBhvr>
                                      <p:to>
                                        <p:strVal val="visible"/>
                                      </p:to>
                                    </p:set>
                                    <p:anim calcmode="lin" valueType="num">
                                      <p:cBhvr additive="base">
                                        <p:cTn id="67" dur="500" fill="hold"/>
                                        <p:tgtEl>
                                          <p:spTgt spid="19"/>
                                        </p:tgtEl>
                                        <p:attrNameLst>
                                          <p:attrName>ppt_x</p:attrName>
                                        </p:attrNameLst>
                                      </p:cBhvr>
                                      <p:tavLst>
                                        <p:tav tm="0">
                                          <p:val>
                                            <p:strVal val="#ppt_x"/>
                                          </p:val>
                                        </p:tav>
                                        <p:tav tm="100000">
                                          <p:val>
                                            <p:strVal val="#ppt_x"/>
                                          </p:val>
                                        </p:tav>
                                      </p:tavLst>
                                    </p:anim>
                                    <p:anim calcmode="lin" valueType="num">
                                      <p:cBhvr additive="base">
                                        <p:cTn id="68" dur="500" fill="hold"/>
                                        <p:tgtEl>
                                          <p:spTgt spid="19"/>
                                        </p:tgtEl>
                                        <p:attrNameLst>
                                          <p:attrName>ppt_y</p:attrName>
                                        </p:attrNameLst>
                                      </p:cBhvr>
                                      <p:tavLst>
                                        <p:tav tm="0">
                                          <p:val>
                                            <p:strVal val="0-#ppt_h/2"/>
                                          </p:val>
                                        </p:tav>
                                        <p:tav tm="100000">
                                          <p:val>
                                            <p:strVal val="#ppt_y"/>
                                          </p:val>
                                        </p:tav>
                                      </p:tavLst>
                                    </p:anim>
                                  </p:childTnLst>
                                </p:cTn>
                              </p:par>
                              <p:par>
                                <p:cTn id="69" presetID="2" presetClass="entr" presetSubtype="12" fill="hold" grpId="0" nodeType="withEffect">
                                  <p:stCondLst>
                                    <p:cond delay="250"/>
                                  </p:stCondLst>
                                  <p:childTnLst>
                                    <p:set>
                                      <p:cBhvr>
                                        <p:cTn id="70" dur="1" fill="hold">
                                          <p:stCondLst>
                                            <p:cond delay="0"/>
                                          </p:stCondLst>
                                        </p:cTn>
                                        <p:tgtEl>
                                          <p:spTgt spid="20"/>
                                        </p:tgtEl>
                                        <p:attrNameLst>
                                          <p:attrName>style.visibility</p:attrName>
                                        </p:attrNameLst>
                                      </p:cBhvr>
                                      <p:to>
                                        <p:strVal val="visible"/>
                                      </p:to>
                                    </p:set>
                                    <p:anim calcmode="lin" valueType="num">
                                      <p:cBhvr additive="base">
                                        <p:cTn id="71" dur="500" fill="hold"/>
                                        <p:tgtEl>
                                          <p:spTgt spid="20"/>
                                        </p:tgtEl>
                                        <p:attrNameLst>
                                          <p:attrName>ppt_x</p:attrName>
                                        </p:attrNameLst>
                                      </p:cBhvr>
                                      <p:tavLst>
                                        <p:tav tm="0">
                                          <p:val>
                                            <p:strVal val="0-#ppt_w/2"/>
                                          </p:val>
                                        </p:tav>
                                        <p:tav tm="100000">
                                          <p:val>
                                            <p:strVal val="#ppt_x"/>
                                          </p:val>
                                        </p:tav>
                                      </p:tavLst>
                                    </p:anim>
                                    <p:anim calcmode="lin" valueType="num">
                                      <p:cBhvr additive="base">
                                        <p:cTn id="72" dur="500" fill="hold"/>
                                        <p:tgtEl>
                                          <p:spTgt spid="20"/>
                                        </p:tgtEl>
                                        <p:attrNameLst>
                                          <p:attrName>ppt_y</p:attrName>
                                        </p:attrNameLst>
                                      </p:cBhvr>
                                      <p:tavLst>
                                        <p:tav tm="0">
                                          <p:val>
                                            <p:strVal val="1+#ppt_h/2"/>
                                          </p:val>
                                        </p:tav>
                                        <p:tav tm="100000">
                                          <p:val>
                                            <p:strVal val="#ppt_y"/>
                                          </p:val>
                                        </p:tav>
                                      </p:tavLst>
                                    </p:anim>
                                  </p:childTnLst>
                                </p:cTn>
                              </p:par>
                              <p:par>
                                <p:cTn id="73" presetID="2" presetClass="entr" presetSubtype="12" fill="hold" grpId="0" nodeType="withEffect">
                                  <p:stCondLst>
                                    <p:cond delay="250"/>
                                  </p:stCondLst>
                                  <p:childTnLst>
                                    <p:set>
                                      <p:cBhvr>
                                        <p:cTn id="74" dur="1" fill="hold">
                                          <p:stCondLst>
                                            <p:cond delay="0"/>
                                          </p:stCondLst>
                                        </p:cTn>
                                        <p:tgtEl>
                                          <p:spTgt spid="21"/>
                                        </p:tgtEl>
                                        <p:attrNameLst>
                                          <p:attrName>style.visibility</p:attrName>
                                        </p:attrNameLst>
                                      </p:cBhvr>
                                      <p:to>
                                        <p:strVal val="visible"/>
                                      </p:to>
                                    </p:set>
                                    <p:anim calcmode="lin" valueType="num">
                                      <p:cBhvr additive="base">
                                        <p:cTn id="75" dur="500" fill="hold"/>
                                        <p:tgtEl>
                                          <p:spTgt spid="21"/>
                                        </p:tgtEl>
                                        <p:attrNameLst>
                                          <p:attrName>ppt_x</p:attrName>
                                        </p:attrNameLst>
                                      </p:cBhvr>
                                      <p:tavLst>
                                        <p:tav tm="0">
                                          <p:val>
                                            <p:strVal val="0-#ppt_w/2"/>
                                          </p:val>
                                        </p:tav>
                                        <p:tav tm="100000">
                                          <p:val>
                                            <p:strVal val="#ppt_x"/>
                                          </p:val>
                                        </p:tav>
                                      </p:tavLst>
                                    </p:anim>
                                    <p:anim calcmode="lin" valueType="num">
                                      <p:cBhvr additive="base">
                                        <p:cTn id="76" dur="500" fill="hold"/>
                                        <p:tgtEl>
                                          <p:spTgt spid="21"/>
                                        </p:tgtEl>
                                        <p:attrNameLst>
                                          <p:attrName>ppt_y</p:attrName>
                                        </p:attrNameLst>
                                      </p:cBhvr>
                                      <p:tavLst>
                                        <p:tav tm="0">
                                          <p:val>
                                            <p:strVal val="1+#ppt_h/2"/>
                                          </p:val>
                                        </p:tav>
                                        <p:tav tm="100000">
                                          <p:val>
                                            <p:strVal val="#ppt_y"/>
                                          </p:val>
                                        </p:tav>
                                      </p:tavLst>
                                    </p:anim>
                                  </p:childTnLst>
                                </p:cTn>
                              </p:par>
                              <p:par>
                                <p:cTn id="77" presetID="2" presetClass="entr" presetSubtype="12" fill="hold" grpId="0" nodeType="withEffect">
                                  <p:stCondLst>
                                    <p:cond delay="250"/>
                                  </p:stCondLst>
                                  <p:childTnLst>
                                    <p:set>
                                      <p:cBhvr>
                                        <p:cTn id="78" dur="1" fill="hold">
                                          <p:stCondLst>
                                            <p:cond delay="0"/>
                                          </p:stCondLst>
                                        </p:cTn>
                                        <p:tgtEl>
                                          <p:spTgt spid="22"/>
                                        </p:tgtEl>
                                        <p:attrNameLst>
                                          <p:attrName>style.visibility</p:attrName>
                                        </p:attrNameLst>
                                      </p:cBhvr>
                                      <p:to>
                                        <p:strVal val="visible"/>
                                      </p:to>
                                    </p:set>
                                    <p:anim calcmode="lin" valueType="num">
                                      <p:cBhvr additive="base">
                                        <p:cTn id="79" dur="500" fill="hold"/>
                                        <p:tgtEl>
                                          <p:spTgt spid="22"/>
                                        </p:tgtEl>
                                        <p:attrNameLst>
                                          <p:attrName>ppt_x</p:attrName>
                                        </p:attrNameLst>
                                      </p:cBhvr>
                                      <p:tavLst>
                                        <p:tav tm="0">
                                          <p:val>
                                            <p:strVal val="0-#ppt_w/2"/>
                                          </p:val>
                                        </p:tav>
                                        <p:tav tm="100000">
                                          <p:val>
                                            <p:strVal val="#ppt_x"/>
                                          </p:val>
                                        </p:tav>
                                      </p:tavLst>
                                    </p:anim>
                                    <p:anim calcmode="lin" valueType="num">
                                      <p:cBhvr additive="base">
                                        <p:cTn id="80" dur="500" fill="hold"/>
                                        <p:tgtEl>
                                          <p:spTgt spid="2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6" grpId="0" animBg="1"/>
      <p:bldP spid="27" grpId="0" animBg="1"/>
      <p:bldP spid="28" grpId="0" animBg="1"/>
      <p:bldP spid="29" grpId="0" animBg="1"/>
      <p:bldP spid="31" grpId="0" animBg="1"/>
      <p:bldP spid="33" grpId="0" animBg="1"/>
      <p:bldP spid="36" grpId="0" animBg="1"/>
      <p:bldP spid="37" grpId="0" animBg="1"/>
      <p:bldP spid="39" grpId="0" animBg="1"/>
      <p:bldP spid="41" grpId="0" animBg="1"/>
      <p:bldP spid="43" grpId="0" animBg="1"/>
      <p:bldP spid="44" grpId="0" animBg="1"/>
      <p:bldP spid="45" grpId="0" animBg="1"/>
      <p:bldP spid="18" grpId="0" animBg="1"/>
      <p:bldP spid="19" grpId="0" animBg="1"/>
      <p:bldP spid="20" grpId="0" animBg="1"/>
      <p:bldP spid="21" grpId="0" animBg="1"/>
      <p:bldP spid="22" grpId="0" animBg="1"/>
    </p:bld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977473" y="228602"/>
            <a:ext cx="6280087" cy="761747"/>
          </a:xfrm>
          <a:prstGeom prst="rect">
            <a:avLst/>
          </a:prstGeom>
          <a:noFill/>
        </p:spPr>
        <p:txBody>
          <a:bodyPr wrap="square" lIns="68586" tIns="68586" rIns="68586" bIns="68586" rtlCol="0">
            <a:spAutoFit/>
          </a:bodyPr>
          <a:lstStyle/>
          <a:p>
            <a:pPr>
              <a:lnSpc>
                <a:spcPct val="90000"/>
              </a:lnSpc>
              <a:spcBef>
                <a:spcPct val="20000"/>
              </a:spcBef>
              <a:buSzPct val="90000"/>
            </a:pPr>
            <a:r>
              <a:rPr lang="en-US" sz="4500" dirty="0">
                <a:solidFill>
                  <a:schemeClr val="tx1">
                    <a:alpha val="99000"/>
                  </a:schemeClr>
                </a:solidFill>
                <a:latin typeface="Segoe UI Light" pitchFamily="34" charset="0"/>
              </a:rPr>
              <a:t>The Value of DAX</a:t>
            </a:r>
          </a:p>
        </p:txBody>
      </p:sp>
      <p:sp>
        <p:nvSpPr>
          <p:cNvPr id="6" name="Freeform 91"/>
          <p:cNvSpPr>
            <a:spLocks noEditPoints="1"/>
          </p:cNvSpPr>
          <p:nvPr/>
        </p:nvSpPr>
        <p:spPr bwMode="auto">
          <a:xfrm>
            <a:off x="279454" y="228602"/>
            <a:ext cx="576828" cy="761747"/>
          </a:xfrm>
          <a:custGeom>
            <a:avLst/>
            <a:gdLst>
              <a:gd name="T0" fmla="*/ 8 w 348"/>
              <a:gd name="T1" fmla="*/ 0 h 414"/>
              <a:gd name="T2" fmla="*/ 0 w 348"/>
              <a:gd name="T3" fmla="*/ 406 h 414"/>
              <a:gd name="T4" fmla="*/ 340 w 348"/>
              <a:gd name="T5" fmla="*/ 414 h 414"/>
              <a:gd name="T6" fmla="*/ 348 w 348"/>
              <a:gd name="T7" fmla="*/ 8 h 414"/>
              <a:gd name="T8" fmla="*/ 333 w 348"/>
              <a:gd name="T9" fmla="*/ 399 h 414"/>
              <a:gd name="T10" fmla="*/ 15 w 348"/>
              <a:gd name="T11" fmla="*/ 15 h 414"/>
              <a:gd name="T12" fmla="*/ 333 w 348"/>
              <a:gd name="T13" fmla="*/ 399 h 414"/>
              <a:gd name="T14" fmla="*/ 33 w 348"/>
              <a:gd name="T15" fmla="*/ 43 h 414"/>
              <a:gd name="T16" fmla="*/ 307 w 348"/>
              <a:gd name="T17" fmla="*/ 36 h 414"/>
              <a:gd name="T18" fmla="*/ 315 w 348"/>
              <a:gd name="T19" fmla="*/ 104 h 414"/>
              <a:gd name="T20" fmla="*/ 41 w 348"/>
              <a:gd name="T21" fmla="*/ 111 h 414"/>
              <a:gd name="T22" fmla="*/ 108 w 348"/>
              <a:gd name="T23" fmla="*/ 141 h 414"/>
              <a:gd name="T24" fmla="*/ 123 w 348"/>
              <a:gd name="T25" fmla="*/ 203 h 414"/>
              <a:gd name="T26" fmla="*/ 53 w 348"/>
              <a:gd name="T27" fmla="*/ 210 h 414"/>
              <a:gd name="T28" fmla="*/ 108 w 348"/>
              <a:gd name="T29" fmla="*/ 195 h 414"/>
              <a:gd name="T30" fmla="*/ 198 w 348"/>
              <a:gd name="T31" fmla="*/ 141 h 414"/>
              <a:gd name="T32" fmla="*/ 212 w 348"/>
              <a:gd name="T33" fmla="*/ 203 h 414"/>
              <a:gd name="T34" fmla="*/ 143 w 348"/>
              <a:gd name="T35" fmla="*/ 210 h 414"/>
              <a:gd name="T36" fmla="*/ 198 w 348"/>
              <a:gd name="T37" fmla="*/ 195 h 414"/>
              <a:gd name="T38" fmla="*/ 287 w 348"/>
              <a:gd name="T39" fmla="*/ 141 h 414"/>
              <a:gd name="T40" fmla="*/ 302 w 348"/>
              <a:gd name="T41" fmla="*/ 203 h 414"/>
              <a:gd name="T42" fmla="*/ 233 w 348"/>
              <a:gd name="T43" fmla="*/ 210 h 414"/>
              <a:gd name="T44" fmla="*/ 287 w 348"/>
              <a:gd name="T45" fmla="*/ 195 h 414"/>
              <a:gd name="T46" fmla="*/ 108 w 348"/>
              <a:gd name="T47" fmla="*/ 314 h 414"/>
              <a:gd name="T48" fmla="*/ 123 w 348"/>
              <a:gd name="T49" fmla="*/ 376 h 414"/>
              <a:gd name="T50" fmla="*/ 53 w 348"/>
              <a:gd name="T51" fmla="*/ 384 h 414"/>
              <a:gd name="T52" fmla="*/ 108 w 348"/>
              <a:gd name="T53" fmla="*/ 369 h 414"/>
              <a:gd name="T54" fmla="*/ 198 w 348"/>
              <a:gd name="T55" fmla="*/ 314 h 414"/>
              <a:gd name="T56" fmla="*/ 212 w 348"/>
              <a:gd name="T57" fmla="*/ 376 h 414"/>
              <a:gd name="T58" fmla="*/ 143 w 348"/>
              <a:gd name="T59" fmla="*/ 384 h 414"/>
              <a:gd name="T60" fmla="*/ 198 w 348"/>
              <a:gd name="T61" fmla="*/ 369 h 414"/>
              <a:gd name="T62" fmla="*/ 287 w 348"/>
              <a:gd name="T63" fmla="*/ 314 h 414"/>
              <a:gd name="T64" fmla="*/ 302 w 348"/>
              <a:gd name="T65" fmla="*/ 376 h 414"/>
              <a:gd name="T66" fmla="*/ 233 w 348"/>
              <a:gd name="T67" fmla="*/ 384 h 414"/>
              <a:gd name="T68" fmla="*/ 287 w 348"/>
              <a:gd name="T69" fmla="*/ 369 h 414"/>
              <a:gd name="T70" fmla="*/ 108 w 348"/>
              <a:gd name="T71" fmla="*/ 227 h 414"/>
              <a:gd name="T72" fmla="*/ 123 w 348"/>
              <a:gd name="T73" fmla="*/ 289 h 414"/>
              <a:gd name="T74" fmla="*/ 53 w 348"/>
              <a:gd name="T75" fmla="*/ 297 h 414"/>
              <a:gd name="T76" fmla="*/ 108 w 348"/>
              <a:gd name="T77" fmla="*/ 282 h 414"/>
              <a:gd name="T78" fmla="*/ 198 w 348"/>
              <a:gd name="T79" fmla="*/ 227 h 414"/>
              <a:gd name="T80" fmla="*/ 212 w 348"/>
              <a:gd name="T81" fmla="*/ 289 h 414"/>
              <a:gd name="T82" fmla="*/ 143 w 348"/>
              <a:gd name="T83" fmla="*/ 297 h 414"/>
              <a:gd name="T84" fmla="*/ 198 w 348"/>
              <a:gd name="T85" fmla="*/ 282 h 414"/>
              <a:gd name="T86" fmla="*/ 287 w 348"/>
              <a:gd name="T87" fmla="*/ 227 h 414"/>
              <a:gd name="T88" fmla="*/ 302 w 348"/>
              <a:gd name="T89" fmla="*/ 289 h 414"/>
              <a:gd name="T90" fmla="*/ 233 w 348"/>
              <a:gd name="T91" fmla="*/ 297 h 414"/>
              <a:gd name="T92" fmla="*/ 287 w 348"/>
              <a:gd name="T93" fmla="*/ 28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8" h="414">
                <a:moveTo>
                  <a:pt x="340" y="0"/>
                </a:moveTo>
                <a:cubicBezTo>
                  <a:pt x="8" y="0"/>
                  <a:pt x="8" y="0"/>
                  <a:pt x="8" y="0"/>
                </a:cubicBezTo>
                <a:cubicBezTo>
                  <a:pt x="4" y="0"/>
                  <a:pt x="0" y="4"/>
                  <a:pt x="0" y="8"/>
                </a:cubicBezTo>
                <a:cubicBezTo>
                  <a:pt x="0" y="406"/>
                  <a:pt x="0" y="406"/>
                  <a:pt x="0" y="406"/>
                </a:cubicBezTo>
                <a:cubicBezTo>
                  <a:pt x="0" y="410"/>
                  <a:pt x="4" y="414"/>
                  <a:pt x="8" y="414"/>
                </a:cubicBezTo>
                <a:cubicBezTo>
                  <a:pt x="340" y="414"/>
                  <a:pt x="340" y="414"/>
                  <a:pt x="340" y="414"/>
                </a:cubicBezTo>
                <a:cubicBezTo>
                  <a:pt x="344" y="414"/>
                  <a:pt x="348" y="410"/>
                  <a:pt x="348" y="406"/>
                </a:cubicBezTo>
                <a:cubicBezTo>
                  <a:pt x="348" y="8"/>
                  <a:pt x="348" y="8"/>
                  <a:pt x="348" y="8"/>
                </a:cubicBezTo>
                <a:cubicBezTo>
                  <a:pt x="348" y="4"/>
                  <a:pt x="344" y="0"/>
                  <a:pt x="340" y="0"/>
                </a:cubicBezTo>
                <a:close/>
                <a:moveTo>
                  <a:pt x="333" y="399"/>
                </a:moveTo>
                <a:cubicBezTo>
                  <a:pt x="15" y="399"/>
                  <a:pt x="15" y="399"/>
                  <a:pt x="15" y="399"/>
                </a:cubicBezTo>
                <a:cubicBezTo>
                  <a:pt x="15" y="15"/>
                  <a:pt x="15" y="15"/>
                  <a:pt x="15" y="15"/>
                </a:cubicBezTo>
                <a:cubicBezTo>
                  <a:pt x="333" y="15"/>
                  <a:pt x="333" y="15"/>
                  <a:pt x="333" y="15"/>
                </a:cubicBezTo>
                <a:lnTo>
                  <a:pt x="333" y="399"/>
                </a:lnTo>
                <a:close/>
                <a:moveTo>
                  <a:pt x="33" y="104"/>
                </a:moveTo>
                <a:cubicBezTo>
                  <a:pt x="33" y="43"/>
                  <a:pt x="33" y="43"/>
                  <a:pt x="33" y="43"/>
                </a:cubicBezTo>
                <a:cubicBezTo>
                  <a:pt x="33" y="39"/>
                  <a:pt x="37" y="36"/>
                  <a:pt x="41" y="36"/>
                </a:cubicBezTo>
                <a:cubicBezTo>
                  <a:pt x="307" y="36"/>
                  <a:pt x="307" y="36"/>
                  <a:pt x="307" y="36"/>
                </a:cubicBezTo>
                <a:cubicBezTo>
                  <a:pt x="311" y="36"/>
                  <a:pt x="315" y="39"/>
                  <a:pt x="315" y="43"/>
                </a:cubicBezTo>
                <a:cubicBezTo>
                  <a:pt x="315" y="104"/>
                  <a:pt x="315" y="104"/>
                  <a:pt x="315" y="104"/>
                </a:cubicBezTo>
                <a:cubicBezTo>
                  <a:pt x="315" y="108"/>
                  <a:pt x="311" y="111"/>
                  <a:pt x="307" y="111"/>
                </a:cubicBezTo>
                <a:cubicBezTo>
                  <a:pt x="41" y="111"/>
                  <a:pt x="41" y="111"/>
                  <a:pt x="41" y="111"/>
                </a:cubicBezTo>
                <a:cubicBezTo>
                  <a:pt x="37" y="111"/>
                  <a:pt x="33" y="108"/>
                  <a:pt x="33" y="104"/>
                </a:cubicBezTo>
                <a:close/>
                <a:moveTo>
                  <a:pt x="108" y="141"/>
                </a:moveTo>
                <a:cubicBezTo>
                  <a:pt x="123" y="141"/>
                  <a:pt x="123" y="141"/>
                  <a:pt x="123" y="141"/>
                </a:cubicBezTo>
                <a:cubicBezTo>
                  <a:pt x="123" y="203"/>
                  <a:pt x="123" y="203"/>
                  <a:pt x="123" y="203"/>
                </a:cubicBezTo>
                <a:cubicBezTo>
                  <a:pt x="123" y="207"/>
                  <a:pt x="119" y="210"/>
                  <a:pt x="115" y="210"/>
                </a:cubicBezTo>
                <a:cubicBezTo>
                  <a:pt x="53" y="210"/>
                  <a:pt x="53" y="210"/>
                  <a:pt x="53" y="210"/>
                </a:cubicBezTo>
                <a:cubicBezTo>
                  <a:pt x="53" y="195"/>
                  <a:pt x="53" y="195"/>
                  <a:pt x="53" y="195"/>
                </a:cubicBezTo>
                <a:cubicBezTo>
                  <a:pt x="108" y="195"/>
                  <a:pt x="108" y="195"/>
                  <a:pt x="108" y="195"/>
                </a:cubicBezTo>
                <a:lnTo>
                  <a:pt x="108" y="141"/>
                </a:lnTo>
                <a:close/>
                <a:moveTo>
                  <a:pt x="198" y="141"/>
                </a:moveTo>
                <a:cubicBezTo>
                  <a:pt x="212" y="141"/>
                  <a:pt x="212" y="141"/>
                  <a:pt x="212" y="141"/>
                </a:cubicBezTo>
                <a:cubicBezTo>
                  <a:pt x="212" y="203"/>
                  <a:pt x="212" y="203"/>
                  <a:pt x="212" y="203"/>
                </a:cubicBezTo>
                <a:cubicBezTo>
                  <a:pt x="212" y="207"/>
                  <a:pt x="209" y="210"/>
                  <a:pt x="205" y="210"/>
                </a:cubicBezTo>
                <a:cubicBezTo>
                  <a:pt x="143" y="210"/>
                  <a:pt x="143" y="210"/>
                  <a:pt x="143" y="210"/>
                </a:cubicBezTo>
                <a:cubicBezTo>
                  <a:pt x="143" y="195"/>
                  <a:pt x="143" y="195"/>
                  <a:pt x="143" y="195"/>
                </a:cubicBezTo>
                <a:cubicBezTo>
                  <a:pt x="198" y="195"/>
                  <a:pt x="198" y="195"/>
                  <a:pt x="198" y="195"/>
                </a:cubicBezTo>
                <a:lnTo>
                  <a:pt x="198" y="141"/>
                </a:lnTo>
                <a:close/>
                <a:moveTo>
                  <a:pt x="287" y="141"/>
                </a:moveTo>
                <a:cubicBezTo>
                  <a:pt x="302" y="141"/>
                  <a:pt x="302" y="141"/>
                  <a:pt x="302" y="141"/>
                </a:cubicBezTo>
                <a:cubicBezTo>
                  <a:pt x="302" y="203"/>
                  <a:pt x="302" y="203"/>
                  <a:pt x="302" y="203"/>
                </a:cubicBezTo>
                <a:cubicBezTo>
                  <a:pt x="302" y="207"/>
                  <a:pt x="299" y="210"/>
                  <a:pt x="295" y="210"/>
                </a:cubicBezTo>
                <a:cubicBezTo>
                  <a:pt x="233" y="210"/>
                  <a:pt x="233" y="210"/>
                  <a:pt x="233" y="210"/>
                </a:cubicBezTo>
                <a:cubicBezTo>
                  <a:pt x="233" y="195"/>
                  <a:pt x="233" y="195"/>
                  <a:pt x="233" y="195"/>
                </a:cubicBezTo>
                <a:cubicBezTo>
                  <a:pt x="287" y="195"/>
                  <a:pt x="287" y="195"/>
                  <a:pt x="287" y="195"/>
                </a:cubicBezTo>
                <a:lnTo>
                  <a:pt x="287" y="141"/>
                </a:lnTo>
                <a:close/>
                <a:moveTo>
                  <a:pt x="108" y="314"/>
                </a:moveTo>
                <a:cubicBezTo>
                  <a:pt x="123" y="314"/>
                  <a:pt x="123" y="314"/>
                  <a:pt x="123" y="314"/>
                </a:cubicBezTo>
                <a:cubicBezTo>
                  <a:pt x="123" y="376"/>
                  <a:pt x="123" y="376"/>
                  <a:pt x="123" y="376"/>
                </a:cubicBezTo>
                <a:cubicBezTo>
                  <a:pt x="123" y="380"/>
                  <a:pt x="119" y="384"/>
                  <a:pt x="115" y="384"/>
                </a:cubicBezTo>
                <a:cubicBezTo>
                  <a:pt x="53" y="384"/>
                  <a:pt x="53" y="384"/>
                  <a:pt x="53" y="384"/>
                </a:cubicBezTo>
                <a:cubicBezTo>
                  <a:pt x="53" y="369"/>
                  <a:pt x="53" y="369"/>
                  <a:pt x="53" y="369"/>
                </a:cubicBezTo>
                <a:cubicBezTo>
                  <a:pt x="108" y="369"/>
                  <a:pt x="108" y="369"/>
                  <a:pt x="108" y="369"/>
                </a:cubicBezTo>
                <a:lnTo>
                  <a:pt x="108" y="314"/>
                </a:lnTo>
                <a:close/>
                <a:moveTo>
                  <a:pt x="198" y="314"/>
                </a:moveTo>
                <a:cubicBezTo>
                  <a:pt x="212" y="314"/>
                  <a:pt x="212" y="314"/>
                  <a:pt x="212" y="314"/>
                </a:cubicBezTo>
                <a:cubicBezTo>
                  <a:pt x="212" y="376"/>
                  <a:pt x="212" y="376"/>
                  <a:pt x="212" y="376"/>
                </a:cubicBezTo>
                <a:cubicBezTo>
                  <a:pt x="212" y="380"/>
                  <a:pt x="209" y="384"/>
                  <a:pt x="205" y="384"/>
                </a:cubicBezTo>
                <a:cubicBezTo>
                  <a:pt x="143" y="384"/>
                  <a:pt x="143" y="384"/>
                  <a:pt x="143" y="384"/>
                </a:cubicBezTo>
                <a:cubicBezTo>
                  <a:pt x="143" y="369"/>
                  <a:pt x="143" y="369"/>
                  <a:pt x="143" y="369"/>
                </a:cubicBezTo>
                <a:cubicBezTo>
                  <a:pt x="198" y="369"/>
                  <a:pt x="198" y="369"/>
                  <a:pt x="198" y="369"/>
                </a:cubicBezTo>
                <a:lnTo>
                  <a:pt x="198" y="314"/>
                </a:lnTo>
                <a:close/>
                <a:moveTo>
                  <a:pt x="287" y="314"/>
                </a:moveTo>
                <a:cubicBezTo>
                  <a:pt x="302" y="314"/>
                  <a:pt x="302" y="314"/>
                  <a:pt x="302" y="314"/>
                </a:cubicBezTo>
                <a:cubicBezTo>
                  <a:pt x="302" y="376"/>
                  <a:pt x="302" y="376"/>
                  <a:pt x="302" y="376"/>
                </a:cubicBezTo>
                <a:cubicBezTo>
                  <a:pt x="302" y="380"/>
                  <a:pt x="299" y="384"/>
                  <a:pt x="295" y="384"/>
                </a:cubicBezTo>
                <a:cubicBezTo>
                  <a:pt x="233" y="384"/>
                  <a:pt x="233" y="384"/>
                  <a:pt x="233" y="384"/>
                </a:cubicBezTo>
                <a:cubicBezTo>
                  <a:pt x="233" y="369"/>
                  <a:pt x="233" y="369"/>
                  <a:pt x="233" y="369"/>
                </a:cubicBezTo>
                <a:cubicBezTo>
                  <a:pt x="287" y="369"/>
                  <a:pt x="287" y="369"/>
                  <a:pt x="287" y="369"/>
                </a:cubicBezTo>
                <a:lnTo>
                  <a:pt x="287" y="314"/>
                </a:lnTo>
                <a:close/>
                <a:moveTo>
                  <a:pt x="108" y="227"/>
                </a:moveTo>
                <a:cubicBezTo>
                  <a:pt x="123" y="227"/>
                  <a:pt x="123" y="227"/>
                  <a:pt x="123" y="227"/>
                </a:cubicBezTo>
                <a:cubicBezTo>
                  <a:pt x="123" y="289"/>
                  <a:pt x="123" y="289"/>
                  <a:pt x="123" y="289"/>
                </a:cubicBezTo>
                <a:cubicBezTo>
                  <a:pt x="123" y="293"/>
                  <a:pt x="119" y="297"/>
                  <a:pt x="115" y="297"/>
                </a:cubicBezTo>
                <a:cubicBezTo>
                  <a:pt x="53" y="297"/>
                  <a:pt x="53" y="297"/>
                  <a:pt x="53" y="297"/>
                </a:cubicBezTo>
                <a:cubicBezTo>
                  <a:pt x="53" y="282"/>
                  <a:pt x="53" y="282"/>
                  <a:pt x="53" y="282"/>
                </a:cubicBezTo>
                <a:cubicBezTo>
                  <a:pt x="108" y="282"/>
                  <a:pt x="108" y="282"/>
                  <a:pt x="108" y="282"/>
                </a:cubicBezTo>
                <a:lnTo>
                  <a:pt x="108" y="227"/>
                </a:lnTo>
                <a:close/>
                <a:moveTo>
                  <a:pt x="198" y="227"/>
                </a:moveTo>
                <a:cubicBezTo>
                  <a:pt x="212" y="227"/>
                  <a:pt x="212" y="227"/>
                  <a:pt x="212" y="227"/>
                </a:cubicBezTo>
                <a:cubicBezTo>
                  <a:pt x="212" y="289"/>
                  <a:pt x="212" y="289"/>
                  <a:pt x="212" y="289"/>
                </a:cubicBezTo>
                <a:cubicBezTo>
                  <a:pt x="212" y="293"/>
                  <a:pt x="209" y="297"/>
                  <a:pt x="205" y="297"/>
                </a:cubicBezTo>
                <a:cubicBezTo>
                  <a:pt x="143" y="297"/>
                  <a:pt x="143" y="297"/>
                  <a:pt x="143" y="297"/>
                </a:cubicBezTo>
                <a:cubicBezTo>
                  <a:pt x="143" y="282"/>
                  <a:pt x="143" y="282"/>
                  <a:pt x="143" y="282"/>
                </a:cubicBezTo>
                <a:cubicBezTo>
                  <a:pt x="198" y="282"/>
                  <a:pt x="198" y="282"/>
                  <a:pt x="198" y="282"/>
                </a:cubicBezTo>
                <a:lnTo>
                  <a:pt x="198" y="227"/>
                </a:lnTo>
                <a:close/>
                <a:moveTo>
                  <a:pt x="287" y="227"/>
                </a:moveTo>
                <a:cubicBezTo>
                  <a:pt x="302" y="227"/>
                  <a:pt x="302" y="227"/>
                  <a:pt x="302" y="227"/>
                </a:cubicBezTo>
                <a:cubicBezTo>
                  <a:pt x="302" y="289"/>
                  <a:pt x="302" y="289"/>
                  <a:pt x="302" y="289"/>
                </a:cubicBezTo>
                <a:cubicBezTo>
                  <a:pt x="302" y="293"/>
                  <a:pt x="299" y="297"/>
                  <a:pt x="295" y="297"/>
                </a:cubicBezTo>
                <a:cubicBezTo>
                  <a:pt x="233" y="297"/>
                  <a:pt x="233" y="297"/>
                  <a:pt x="233" y="297"/>
                </a:cubicBezTo>
                <a:cubicBezTo>
                  <a:pt x="233" y="282"/>
                  <a:pt x="233" y="282"/>
                  <a:pt x="233" y="282"/>
                </a:cubicBezTo>
                <a:cubicBezTo>
                  <a:pt x="287" y="282"/>
                  <a:pt x="287" y="282"/>
                  <a:pt x="287" y="282"/>
                </a:cubicBezTo>
                <a:lnTo>
                  <a:pt x="287" y="227"/>
                </a:ln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grpSp>
        <p:nvGrpSpPr>
          <p:cNvPr id="22" name="Group 21"/>
          <p:cNvGrpSpPr/>
          <p:nvPr/>
        </p:nvGrpSpPr>
        <p:grpSpPr>
          <a:xfrm>
            <a:off x="284633" y="1600200"/>
            <a:ext cx="5830818" cy="1657350"/>
            <a:chOff x="379412" y="2133600"/>
            <a:chExt cx="7772400" cy="2209800"/>
          </a:xfrm>
        </p:grpSpPr>
        <p:sp>
          <p:nvSpPr>
            <p:cNvPr id="4" name="Yellow"/>
            <p:cNvSpPr/>
            <p:nvPr/>
          </p:nvSpPr>
          <p:spPr bwMode="auto">
            <a:xfrm>
              <a:off x="379412" y="2676215"/>
              <a:ext cx="1847088" cy="1645920"/>
            </a:xfrm>
            <a:prstGeom prst="roundRect">
              <a:avLst>
                <a:gd name="adj" fmla="val 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r>
                <a:rPr lang="en-US" sz="1700" dirty="0">
                  <a:solidFill>
                    <a:schemeClr val="tx1">
                      <a:alpha val="99000"/>
                    </a:schemeClr>
                  </a:solidFill>
                  <a:latin typeface="Segoe UI" pitchFamily="34" charset="0"/>
                  <a:ea typeface="Segoe UI" pitchFamily="34" charset="0"/>
                  <a:cs typeface="Segoe UI" pitchFamily="34" charset="0"/>
                </a:rPr>
                <a:t>Count &amp; </a:t>
              </a:r>
            </a:p>
            <a:p>
              <a:pPr algn="ctr" defTabSz="685637" fontAlgn="base">
                <a:spcBef>
                  <a:spcPct val="0"/>
                </a:spcBef>
                <a:spcAft>
                  <a:spcPct val="0"/>
                </a:spcAft>
              </a:pPr>
              <a:r>
                <a:rPr lang="en-US" sz="1700" dirty="0">
                  <a:solidFill>
                    <a:schemeClr val="tx1">
                      <a:alpha val="99000"/>
                    </a:schemeClr>
                  </a:solidFill>
                  <a:latin typeface="Segoe UI" pitchFamily="34" charset="0"/>
                  <a:ea typeface="Segoe UI" pitchFamily="34" charset="0"/>
                  <a:cs typeface="Segoe UI" pitchFamily="34" charset="0"/>
                </a:rPr>
                <a:t>Distinct Count</a:t>
              </a:r>
            </a:p>
          </p:txBody>
        </p:sp>
        <p:sp>
          <p:nvSpPr>
            <p:cNvPr id="7" name="Yellow"/>
            <p:cNvSpPr/>
            <p:nvPr/>
          </p:nvSpPr>
          <p:spPr bwMode="auto">
            <a:xfrm>
              <a:off x="2359024" y="2679759"/>
              <a:ext cx="1847088" cy="1645920"/>
            </a:xfrm>
            <a:prstGeom prst="roundRect">
              <a:avLst>
                <a:gd name="adj" fmla="val 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r>
                <a:rPr lang="en-US" sz="1700" dirty="0">
                  <a:solidFill>
                    <a:schemeClr val="tx1">
                      <a:alpha val="99000"/>
                    </a:schemeClr>
                  </a:solidFill>
                  <a:latin typeface="Segoe UI" pitchFamily="34" charset="0"/>
                  <a:ea typeface="Segoe UI" pitchFamily="34" charset="0"/>
                  <a:cs typeface="Segoe UI" pitchFamily="34" charset="0"/>
                </a:rPr>
                <a:t>Sum</a:t>
              </a:r>
            </a:p>
          </p:txBody>
        </p:sp>
        <p:sp>
          <p:nvSpPr>
            <p:cNvPr id="8" name="Yellow"/>
            <p:cNvSpPr/>
            <p:nvPr/>
          </p:nvSpPr>
          <p:spPr bwMode="auto">
            <a:xfrm>
              <a:off x="4341812" y="2697480"/>
              <a:ext cx="1847088" cy="1645920"/>
            </a:xfrm>
            <a:prstGeom prst="roundRect">
              <a:avLst>
                <a:gd name="adj" fmla="val 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r>
                <a:rPr lang="en-US" sz="1700" dirty="0">
                  <a:solidFill>
                    <a:schemeClr val="tx1">
                      <a:alpha val="99000"/>
                    </a:schemeClr>
                  </a:solidFill>
                  <a:latin typeface="Segoe UI" pitchFamily="34" charset="0"/>
                  <a:ea typeface="Segoe UI" pitchFamily="34" charset="0"/>
                  <a:cs typeface="Segoe UI" pitchFamily="34" charset="0"/>
                </a:rPr>
                <a:t>Min &amp; Max</a:t>
              </a:r>
            </a:p>
          </p:txBody>
        </p:sp>
        <p:sp>
          <p:nvSpPr>
            <p:cNvPr id="10" name="Yellow"/>
            <p:cNvSpPr/>
            <p:nvPr/>
          </p:nvSpPr>
          <p:spPr bwMode="auto">
            <a:xfrm>
              <a:off x="6304724" y="2701024"/>
              <a:ext cx="1847088" cy="1637060"/>
            </a:xfrm>
            <a:prstGeom prst="roundRect">
              <a:avLst>
                <a:gd name="adj" fmla="val 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r>
                <a:rPr lang="en-US" sz="1700" dirty="0">
                  <a:solidFill>
                    <a:schemeClr val="tx1">
                      <a:alpha val="99000"/>
                    </a:schemeClr>
                  </a:solidFill>
                  <a:latin typeface="Segoe UI" pitchFamily="34" charset="0"/>
                  <a:ea typeface="Segoe UI" pitchFamily="34" charset="0"/>
                  <a:cs typeface="Segoe UI" pitchFamily="34" charset="0"/>
                </a:rPr>
                <a:t>Average</a:t>
              </a:r>
            </a:p>
          </p:txBody>
        </p:sp>
        <p:sp>
          <p:nvSpPr>
            <p:cNvPr id="3" name="Rectangle 2"/>
            <p:cNvSpPr/>
            <p:nvPr/>
          </p:nvSpPr>
          <p:spPr bwMode="auto">
            <a:xfrm>
              <a:off x="398153" y="2133600"/>
              <a:ext cx="7753659" cy="44568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r>
                <a:rPr lang="en-US" sz="1700" dirty="0">
                  <a:solidFill>
                    <a:schemeClr val="tx1">
                      <a:alpha val="99000"/>
                    </a:schemeClr>
                  </a:solidFill>
                  <a:latin typeface="Segoe UI" pitchFamily="34" charset="0"/>
                  <a:ea typeface="Segoe UI" pitchFamily="34" charset="0"/>
                  <a:cs typeface="Segoe UI" pitchFamily="34" charset="0"/>
                </a:rPr>
                <a:t>Included in Power View by Default</a:t>
              </a:r>
            </a:p>
          </p:txBody>
        </p:sp>
      </p:grpSp>
      <p:grpSp>
        <p:nvGrpSpPr>
          <p:cNvPr id="21" name="Group 20"/>
          <p:cNvGrpSpPr/>
          <p:nvPr/>
        </p:nvGrpSpPr>
        <p:grpSpPr>
          <a:xfrm>
            <a:off x="292748" y="1612162"/>
            <a:ext cx="8781218" cy="3359888"/>
            <a:chOff x="390229" y="2149549"/>
            <a:chExt cx="11705242" cy="4479851"/>
          </a:xfrm>
        </p:grpSpPr>
        <p:sp>
          <p:nvSpPr>
            <p:cNvPr id="11" name="Yellow"/>
            <p:cNvSpPr/>
            <p:nvPr/>
          </p:nvSpPr>
          <p:spPr bwMode="auto">
            <a:xfrm>
              <a:off x="8237382" y="2706340"/>
              <a:ext cx="1895630" cy="1637060"/>
            </a:xfrm>
            <a:prstGeom prst="roundRect">
              <a:avLst>
                <a:gd name="adj" fmla="val 0"/>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514296" fontAlgn="base">
                <a:spcBef>
                  <a:spcPct val="0"/>
                </a:spcBef>
                <a:spcAft>
                  <a:spcPct val="0"/>
                </a:spcAft>
              </a:pPr>
              <a:r>
                <a:rPr lang="en-US" sz="1700" dirty="0">
                  <a:solidFill>
                    <a:srgbClr val="FFFFFF"/>
                  </a:solidFill>
                  <a:ea typeface="Segoe UI" pitchFamily="34" charset="0"/>
                  <a:cs typeface="Segoe UI" pitchFamily="34" charset="0"/>
                </a:rPr>
                <a:t>Addition and Subtraction</a:t>
              </a:r>
            </a:p>
          </p:txBody>
        </p:sp>
        <p:sp>
          <p:nvSpPr>
            <p:cNvPr id="12" name="Yellow"/>
            <p:cNvSpPr/>
            <p:nvPr/>
          </p:nvSpPr>
          <p:spPr bwMode="auto">
            <a:xfrm>
              <a:off x="10248383" y="2700137"/>
              <a:ext cx="1847088" cy="1637060"/>
            </a:xfrm>
            <a:prstGeom prst="roundRect">
              <a:avLst>
                <a:gd name="adj" fmla="val 0"/>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514296" fontAlgn="base">
                <a:spcBef>
                  <a:spcPct val="0"/>
                </a:spcBef>
                <a:spcAft>
                  <a:spcPct val="0"/>
                </a:spcAft>
              </a:pPr>
              <a:r>
                <a:rPr lang="en-US" sz="1700" dirty="0">
                  <a:solidFill>
                    <a:srgbClr val="FFFFFF"/>
                  </a:solidFill>
                  <a:ea typeface="Segoe UI" pitchFamily="34" charset="0"/>
                  <a:cs typeface="Segoe UI" pitchFamily="34" charset="0"/>
                </a:rPr>
                <a:t>Ratios</a:t>
              </a:r>
            </a:p>
          </p:txBody>
        </p:sp>
        <p:sp>
          <p:nvSpPr>
            <p:cNvPr id="13" name="Yellow"/>
            <p:cNvSpPr/>
            <p:nvPr/>
          </p:nvSpPr>
          <p:spPr bwMode="auto">
            <a:xfrm>
              <a:off x="398153" y="4962215"/>
              <a:ext cx="1847088" cy="1645920"/>
            </a:xfrm>
            <a:prstGeom prst="roundRect">
              <a:avLst>
                <a:gd name="adj" fmla="val 0"/>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514296" fontAlgn="base">
                <a:spcBef>
                  <a:spcPct val="0"/>
                </a:spcBef>
                <a:spcAft>
                  <a:spcPct val="0"/>
                </a:spcAft>
              </a:pPr>
              <a:r>
                <a:rPr lang="en-US" sz="1700" dirty="0">
                  <a:solidFill>
                    <a:srgbClr val="FFFFFF"/>
                  </a:solidFill>
                  <a:ea typeface="Segoe UI" pitchFamily="34" charset="0"/>
                  <a:cs typeface="Segoe UI" pitchFamily="34" charset="0"/>
                </a:rPr>
                <a:t>Time Intelligence</a:t>
              </a:r>
            </a:p>
          </p:txBody>
        </p:sp>
        <p:sp>
          <p:nvSpPr>
            <p:cNvPr id="14" name="Yellow"/>
            <p:cNvSpPr/>
            <p:nvPr/>
          </p:nvSpPr>
          <p:spPr bwMode="auto">
            <a:xfrm>
              <a:off x="2377765" y="4962215"/>
              <a:ext cx="1847088" cy="1667185"/>
            </a:xfrm>
            <a:prstGeom prst="roundRect">
              <a:avLst>
                <a:gd name="adj" fmla="val 0"/>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514296" fontAlgn="base">
                <a:spcBef>
                  <a:spcPct val="0"/>
                </a:spcBef>
                <a:spcAft>
                  <a:spcPct val="0"/>
                </a:spcAft>
              </a:pPr>
              <a:r>
                <a:rPr lang="en-US" sz="1700" dirty="0">
                  <a:solidFill>
                    <a:srgbClr val="FFFFFF"/>
                  </a:solidFill>
                  <a:ea typeface="Segoe UI" pitchFamily="34" charset="0"/>
                  <a:cs typeface="Segoe UI" pitchFamily="34" charset="0"/>
                </a:rPr>
                <a:t>Rank</a:t>
              </a:r>
            </a:p>
          </p:txBody>
        </p:sp>
        <p:sp>
          <p:nvSpPr>
            <p:cNvPr id="15" name="Yellow"/>
            <p:cNvSpPr/>
            <p:nvPr/>
          </p:nvSpPr>
          <p:spPr bwMode="auto">
            <a:xfrm>
              <a:off x="4360553" y="4983480"/>
              <a:ext cx="1847088" cy="1645920"/>
            </a:xfrm>
            <a:prstGeom prst="roundRect">
              <a:avLst>
                <a:gd name="adj" fmla="val 0"/>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514296" fontAlgn="base">
                <a:spcBef>
                  <a:spcPct val="0"/>
                </a:spcBef>
                <a:spcAft>
                  <a:spcPct val="0"/>
                </a:spcAft>
              </a:pPr>
              <a:r>
                <a:rPr lang="en-US" sz="1700" dirty="0">
                  <a:solidFill>
                    <a:srgbClr val="FFFFFF"/>
                  </a:solidFill>
                  <a:ea typeface="Segoe UI" pitchFamily="34" charset="0"/>
                  <a:cs typeface="Segoe UI" pitchFamily="34" charset="0"/>
                </a:rPr>
                <a:t>Inventory Calculations</a:t>
              </a:r>
            </a:p>
          </p:txBody>
        </p:sp>
        <p:sp>
          <p:nvSpPr>
            <p:cNvPr id="16" name="Yellow"/>
            <p:cNvSpPr/>
            <p:nvPr/>
          </p:nvSpPr>
          <p:spPr bwMode="auto">
            <a:xfrm>
              <a:off x="6323465" y="4987024"/>
              <a:ext cx="1847088" cy="1637060"/>
            </a:xfrm>
            <a:prstGeom prst="roundRect">
              <a:avLst>
                <a:gd name="adj" fmla="val 0"/>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514296" fontAlgn="base">
                <a:spcBef>
                  <a:spcPct val="0"/>
                </a:spcBef>
                <a:spcAft>
                  <a:spcPct val="0"/>
                </a:spcAft>
              </a:pPr>
              <a:r>
                <a:rPr lang="en-US" sz="1700" dirty="0">
                  <a:solidFill>
                    <a:srgbClr val="FFFFFF"/>
                  </a:solidFill>
                  <a:ea typeface="Segoe UI" pitchFamily="34" charset="0"/>
                  <a:cs typeface="Segoe UI" pitchFamily="34" charset="0"/>
                </a:rPr>
                <a:t>Standard Deviation &amp; Variance</a:t>
              </a:r>
            </a:p>
          </p:txBody>
        </p:sp>
        <p:sp>
          <p:nvSpPr>
            <p:cNvPr id="17" name="Yellow"/>
            <p:cNvSpPr/>
            <p:nvPr/>
          </p:nvSpPr>
          <p:spPr bwMode="auto">
            <a:xfrm>
              <a:off x="8237382" y="4987910"/>
              <a:ext cx="1914371" cy="1637060"/>
            </a:xfrm>
            <a:prstGeom prst="roundRect">
              <a:avLst>
                <a:gd name="adj" fmla="val 0"/>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514296" fontAlgn="base">
                <a:spcBef>
                  <a:spcPct val="0"/>
                </a:spcBef>
                <a:spcAft>
                  <a:spcPct val="0"/>
                </a:spcAft>
              </a:pPr>
              <a:r>
                <a:rPr lang="en-US" sz="1700" dirty="0">
                  <a:solidFill>
                    <a:srgbClr val="FFFFFF"/>
                  </a:solidFill>
                  <a:ea typeface="Segoe UI" pitchFamily="34" charset="0"/>
                  <a:cs typeface="Segoe UI" pitchFamily="34" charset="0"/>
                </a:rPr>
                <a:t>Text </a:t>
              </a:r>
            </a:p>
            <a:p>
              <a:pPr algn="ctr" defTabSz="514296" fontAlgn="base">
                <a:spcBef>
                  <a:spcPct val="0"/>
                </a:spcBef>
                <a:spcAft>
                  <a:spcPct val="0"/>
                </a:spcAft>
              </a:pPr>
              <a:r>
                <a:rPr lang="en-US" sz="1700" dirty="0">
                  <a:solidFill>
                    <a:srgbClr val="FFFFFF"/>
                  </a:solidFill>
                  <a:ea typeface="Segoe UI" pitchFamily="34" charset="0"/>
                  <a:cs typeface="Segoe UI" pitchFamily="34" charset="0"/>
                </a:rPr>
                <a:t>Functions</a:t>
              </a:r>
            </a:p>
          </p:txBody>
        </p:sp>
        <p:sp>
          <p:nvSpPr>
            <p:cNvPr id="18" name="Yellow"/>
            <p:cNvSpPr/>
            <p:nvPr/>
          </p:nvSpPr>
          <p:spPr bwMode="auto">
            <a:xfrm>
              <a:off x="10245023" y="4992340"/>
              <a:ext cx="1847088" cy="1637060"/>
            </a:xfrm>
            <a:prstGeom prst="roundRect">
              <a:avLst>
                <a:gd name="adj" fmla="val 0"/>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514296" fontAlgn="base">
                <a:spcBef>
                  <a:spcPct val="0"/>
                </a:spcBef>
                <a:spcAft>
                  <a:spcPct val="0"/>
                </a:spcAft>
              </a:pPr>
              <a:r>
                <a:rPr lang="en-US" sz="1700" dirty="0">
                  <a:solidFill>
                    <a:srgbClr val="FFFFFF"/>
                  </a:solidFill>
                  <a:ea typeface="Segoe UI" pitchFamily="34" charset="0"/>
                  <a:cs typeface="Segoe UI" pitchFamily="34" charset="0"/>
                </a:rPr>
                <a:t>Define Your Own Context</a:t>
              </a:r>
            </a:p>
          </p:txBody>
        </p:sp>
        <p:sp>
          <p:nvSpPr>
            <p:cNvPr id="19" name="Rectangle 18"/>
            <p:cNvSpPr/>
            <p:nvPr/>
          </p:nvSpPr>
          <p:spPr bwMode="auto">
            <a:xfrm>
              <a:off x="8237382" y="2149549"/>
              <a:ext cx="3858089" cy="44568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514296" fontAlgn="base">
                <a:spcBef>
                  <a:spcPct val="0"/>
                </a:spcBef>
                <a:spcAft>
                  <a:spcPct val="0"/>
                </a:spcAft>
              </a:pPr>
              <a:r>
                <a:rPr lang="en-US" sz="1700" dirty="0">
                  <a:solidFill>
                    <a:srgbClr val="FFFFFF"/>
                  </a:solidFill>
                  <a:ea typeface="Segoe UI" pitchFamily="34" charset="0"/>
                  <a:cs typeface="Segoe UI" pitchFamily="34" charset="0"/>
                </a:rPr>
                <a:t>Power View with DAX</a:t>
              </a:r>
            </a:p>
          </p:txBody>
        </p:sp>
        <p:sp>
          <p:nvSpPr>
            <p:cNvPr id="20" name="Rectangle 19"/>
            <p:cNvSpPr/>
            <p:nvPr/>
          </p:nvSpPr>
          <p:spPr bwMode="auto">
            <a:xfrm>
              <a:off x="390229" y="4431119"/>
              <a:ext cx="11705242" cy="44568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514296" fontAlgn="base">
                <a:spcBef>
                  <a:spcPct val="0"/>
                </a:spcBef>
                <a:spcAft>
                  <a:spcPct val="0"/>
                </a:spcAft>
              </a:pPr>
              <a:r>
                <a:rPr lang="en-US" sz="1700" dirty="0">
                  <a:solidFill>
                    <a:srgbClr val="FFFFFF"/>
                  </a:solidFill>
                  <a:ea typeface="Segoe UI" pitchFamily="34" charset="0"/>
                  <a:cs typeface="Segoe UI" pitchFamily="34" charset="0"/>
                </a:rPr>
                <a:t>Power View with DAX</a:t>
              </a:r>
            </a:p>
          </p:txBody>
        </p:sp>
      </p:grpSp>
      <p:sp>
        <p:nvSpPr>
          <p:cNvPr id="23"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4"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
              </a:rPr>
              <a:t>www.rapidbbs.cn</a:t>
            </a:r>
            <a:endParaRPr lang="zh-CN" altLang="en-US" sz="1200" b="0">
              <a:latin typeface="Arial" charset="0"/>
              <a:ea typeface="ＭＳ Ｐゴシック" pitchFamily="34" charset="-128"/>
            </a:endParaRPr>
          </a:p>
        </p:txBody>
      </p:sp>
      <p:pic>
        <p:nvPicPr>
          <p:cNvPr id="25" name="Picture 2">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871016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21"/>
                                        </p:tgtEl>
                                        <p:attrNameLst>
                                          <p:attrName>style.visibility</p:attrName>
                                        </p:attrNameLst>
                                      </p:cBhvr>
                                      <p:to>
                                        <p:strVal val="visible"/>
                                      </p:to>
                                    </p:set>
                                    <p:anim calcmode="lin" valueType="num">
                                      <p:cBhvr additive="base">
                                        <p:cTn id="12" dur="500" fill="hold"/>
                                        <p:tgtEl>
                                          <p:spTgt spid="21"/>
                                        </p:tgtEl>
                                        <p:attrNameLst>
                                          <p:attrName>ppt_x</p:attrName>
                                        </p:attrNameLst>
                                      </p:cBhvr>
                                      <p:tavLst>
                                        <p:tav tm="0">
                                          <p:val>
                                            <p:strVal val="#ppt_x"/>
                                          </p:val>
                                        </p:tav>
                                        <p:tav tm="100000">
                                          <p:val>
                                            <p:strVal val="#ppt_x"/>
                                          </p:val>
                                        </p:tav>
                                      </p:tavLst>
                                    </p:anim>
                                    <p:anim calcmode="lin" valueType="num">
                                      <p:cBhvr additive="base">
                                        <p:cTn id="13"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ssion Takeaway</a:t>
            </a:r>
            <a:endParaRPr lang="en-US" dirty="0"/>
          </a:p>
        </p:txBody>
      </p:sp>
      <p:sp>
        <p:nvSpPr>
          <p:cNvPr id="4" name="TextBox 3"/>
          <p:cNvSpPr txBox="1"/>
          <p:nvPr/>
        </p:nvSpPr>
        <p:spPr>
          <a:xfrm>
            <a:off x="5935164" y="2803624"/>
            <a:ext cx="2629584" cy="1138428"/>
          </a:xfrm>
          <a:prstGeom prst="rect">
            <a:avLst/>
          </a:prstGeom>
          <a:solidFill>
            <a:schemeClr val="tx2"/>
          </a:solidFill>
        </p:spPr>
        <p:txBody>
          <a:bodyPr wrap="square" lIns="68586" tIns="68586" rIns="68586" bIns="68586" rtlCol="0">
            <a:normAutofit fontScale="77500" lnSpcReduction="20000"/>
          </a:bodyPr>
          <a:lstStyle>
            <a:defPPr>
              <a:defRPr lang="en-US"/>
            </a:defPPr>
            <a:lvl1pPr>
              <a:lnSpc>
                <a:spcPct val="90000"/>
              </a:lnSpc>
              <a:spcBef>
                <a:spcPct val="20000"/>
              </a:spcBef>
              <a:buSzPct val="90000"/>
              <a:defRPr sz="3200">
                <a:gradFill>
                  <a:gsLst>
                    <a:gs pos="0">
                      <a:schemeClr val="tx1"/>
                    </a:gs>
                    <a:gs pos="86000">
                      <a:schemeClr val="tx1"/>
                    </a:gs>
                  </a:gsLst>
                  <a:lin ang="5400000" scaled="0"/>
                </a:gradFill>
                <a:latin typeface="Segoe UI Light" pitchFamily="34" charset="0"/>
              </a:defRPr>
            </a:lvl1pPr>
          </a:lstStyle>
          <a:p>
            <a:r>
              <a:rPr lang="en-US" dirty="0" smtClean="0"/>
              <a:t>Microsoft’s </a:t>
            </a:r>
            <a:r>
              <a:rPr lang="en-US" dirty="0"/>
              <a:t>BI tools can help you </a:t>
            </a:r>
            <a:r>
              <a:rPr lang="en-US" b="1" dirty="0" smtClean="0"/>
              <a:t>get there quickly</a:t>
            </a:r>
            <a:r>
              <a:rPr lang="en-US" dirty="0" smtClean="0"/>
              <a:t>.</a:t>
            </a:r>
            <a:endParaRPr lang="en-US" dirty="0"/>
          </a:p>
        </p:txBody>
      </p:sp>
      <p:sp>
        <p:nvSpPr>
          <p:cNvPr id="5" name="Rectangle 4"/>
          <p:cNvSpPr/>
          <p:nvPr/>
        </p:nvSpPr>
        <p:spPr>
          <a:xfrm>
            <a:off x="560607" y="1877668"/>
            <a:ext cx="8004141" cy="857250"/>
          </a:xfrm>
          <a:prstGeom prst="rect">
            <a:avLst/>
          </a:prstGeom>
          <a:solidFill>
            <a:schemeClr val="accent5"/>
          </a:solidFill>
        </p:spPr>
        <p:txBody>
          <a:bodyPr wrap="square" lIns="68586" tIns="34294" rIns="68586" bIns="34294">
            <a:noAutofit/>
          </a:bodyPr>
          <a:lstStyle/>
          <a:p>
            <a:r>
              <a:rPr lang="en-US" sz="2700" b="1" dirty="0">
                <a:ln w="1905"/>
                <a:solidFill>
                  <a:schemeClr val="bg2"/>
                </a:solidFill>
                <a:effectLst>
                  <a:innerShdw blurRad="69850" dist="43180" dir="5400000">
                    <a:srgbClr val="000000">
                      <a:alpha val="65000"/>
                    </a:srgbClr>
                  </a:innerShdw>
                </a:effectLst>
                <a:latin typeface="Segoe UI Light" pitchFamily="34" charset="0"/>
              </a:rPr>
              <a:t>The problem: </a:t>
            </a:r>
            <a:r>
              <a:rPr lang="en-US" sz="2100" dirty="0">
                <a:gradFill>
                  <a:gsLst>
                    <a:gs pos="0">
                      <a:schemeClr val="tx1"/>
                    </a:gs>
                    <a:gs pos="86000">
                      <a:schemeClr val="tx1"/>
                    </a:gs>
                  </a:gsLst>
                  <a:lin ang="5400000" scaled="0"/>
                </a:gradFill>
                <a:latin typeface="Segoe UI Light" pitchFamily="34" charset="0"/>
              </a:rPr>
              <a:t>How do I find and monitor environmental data about my SharePoint farm?</a:t>
            </a:r>
          </a:p>
        </p:txBody>
      </p:sp>
      <p:sp>
        <p:nvSpPr>
          <p:cNvPr id="9" name="TextBox 8"/>
          <p:cNvSpPr txBox="1"/>
          <p:nvPr/>
        </p:nvSpPr>
        <p:spPr>
          <a:xfrm>
            <a:off x="560606" y="2806356"/>
            <a:ext cx="2629584" cy="1135696"/>
          </a:xfrm>
          <a:prstGeom prst="rect">
            <a:avLst/>
          </a:prstGeom>
          <a:solidFill>
            <a:schemeClr val="accent3"/>
          </a:solidFill>
        </p:spPr>
        <p:txBody>
          <a:bodyPr wrap="square" lIns="68586" tIns="68586" rIns="68586" bIns="68586" rtlCol="0">
            <a:spAutoFit/>
          </a:bodyPr>
          <a:lstStyle/>
          <a:p>
            <a:pPr>
              <a:lnSpc>
                <a:spcPct val="90000"/>
              </a:lnSpc>
              <a:spcBef>
                <a:spcPct val="20000"/>
              </a:spcBef>
              <a:buSzPct val="90000"/>
            </a:pPr>
            <a:r>
              <a:rPr lang="en-US" sz="2400" b="1" dirty="0">
                <a:latin typeface="Segoe UI Light" pitchFamily="34" charset="0"/>
              </a:rPr>
              <a:t>Finding</a:t>
            </a:r>
            <a:r>
              <a:rPr lang="en-US" sz="2400" dirty="0">
                <a:latin typeface="Segoe UI Light" pitchFamily="34" charset="0"/>
              </a:rPr>
              <a:t> </a:t>
            </a:r>
            <a:r>
              <a:rPr lang="en-US" sz="2400" dirty="0">
                <a:gradFill>
                  <a:gsLst>
                    <a:gs pos="0">
                      <a:schemeClr val="tx1"/>
                    </a:gs>
                    <a:gs pos="86000">
                      <a:schemeClr val="tx1"/>
                    </a:gs>
                  </a:gsLst>
                  <a:lin ang="5400000" scaled="0"/>
                </a:gradFill>
                <a:latin typeface="Segoe UI Light" pitchFamily="34" charset="0"/>
              </a:rPr>
              <a:t>data doesn’t have to be hard.</a:t>
            </a:r>
          </a:p>
        </p:txBody>
      </p:sp>
      <p:sp>
        <p:nvSpPr>
          <p:cNvPr id="10" name="TextBox 9"/>
          <p:cNvSpPr txBox="1"/>
          <p:nvPr/>
        </p:nvSpPr>
        <p:spPr>
          <a:xfrm>
            <a:off x="3252281" y="2807655"/>
            <a:ext cx="2627298" cy="1135696"/>
          </a:xfrm>
          <a:prstGeom prst="rect">
            <a:avLst/>
          </a:prstGeom>
          <a:solidFill>
            <a:schemeClr val="accent6"/>
          </a:solidFill>
        </p:spPr>
        <p:txBody>
          <a:bodyPr wrap="square" lIns="68586" tIns="68586" rIns="68586" bIns="68586" rtlCol="0">
            <a:spAutoFit/>
          </a:bodyPr>
          <a:lstStyle/>
          <a:p>
            <a:pPr>
              <a:lnSpc>
                <a:spcPct val="90000"/>
              </a:lnSpc>
              <a:spcBef>
                <a:spcPct val="20000"/>
              </a:spcBef>
              <a:buSzPct val="90000"/>
            </a:pPr>
            <a:r>
              <a:rPr lang="en-US" sz="2400" b="1" dirty="0">
                <a:gradFill>
                  <a:gsLst>
                    <a:gs pos="0">
                      <a:schemeClr val="tx1"/>
                    </a:gs>
                    <a:gs pos="86000">
                      <a:schemeClr val="tx1"/>
                    </a:gs>
                  </a:gsLst>
                  <a:lin ang="5400000" scaled="0"/>
                </a:gradFill>
                <a:latin typeface="Segoe UI Light" pitchFamily="34" charset="0"/>
              </a:rPr>
              <a:t>Monitoring </a:t>
            </a:r>
            <a:r>
              <a:rPr lang="en-US" sz="2400" dirty="0">
                <a:gradFill>
                  <a:gsLst>
                    <a:gs pos="0">
                      <a:schemeClr val="tx1"/>
                    </a:gs>
                    <a:gs pos="86000">
                      <a:schemeClr val="tx1"/>
                    </a:gs>
                  </a:gsLst>
                  <a:lin ang="5400000" scaled="0"/>
                </a:gradFill>
                <a:latin typeface="Segoe UI Light" pitchFamily="34" charset="0"/>
              </a:rPr>
              <a:t>farm data doesn’t have to be hard.</a:t>
            </a:r>
          </a:p>
        </p:txBody>
      </p:sp>
      <p:sp>
        <p:nvSpPr>
          <p:cNvPr id="11" name="Freeform 88"/>
          <p:cNvSpPr>
            <a:spLocks noEditPoints="1"/>
          </p:cNvSpPr>
          <p:nvPr/>
        </p:nvSpPr>
        <p:spPr bwMode="auto">
          <a:xfrm>
            <a:off x="537977" y="1306169"/>
            <a:ext cx="488608" cy="488481"/>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8"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12"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2"/>
              </a:rPr>
              <a:t>www.rapidbbs.cn</a:t>
            </a:r>
            <a:endParaRPr lang="zh-CN" altLang="en-US" sz="1200" b="0">
              <a:latin typeface="Arial" charset="0"/>
              <a:ea typeface="ＭＳ Ｐゴシック" pitchFamily="34" charset="-128"/>
            </a:endParaRPr>
          </a:p>
        </p:txBody>
      </p:sp>
      <p:pic>
        <p:nvPicPr>
          <p:cNvPr id="13" name="Picture 2">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8813802"/>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I Areas, Tools and Matchup</a:t>
            </a:r>
          </a:p>
        </p:txBody>
      </p:sp>
      <p:sp>
        <p:nvSpPr>
          <p:cNvPr id="6" name="TextBox 5"/>
          <p:cNvSpPr txBox="1">
            <a:spLocks noChangeArrowheads="1"/>
          </p:cNvSpPr>
          <p:nvPr/>
        </p:nvSpPr>
        <p:spPr bwMode="auto">
          <a:xfrm>
            <a:off x="3514448" y="1403707"/>
            <a:ext cx="2057936" cy="300083"/>
          </a:xfrm>
          <a:prstGeom prst="rect">
            <a:avLst/>
          </a:prstGeom>
          <a:noFill/>
          <a:ln w="9525">
            <a:noFill/>
            <a:miter lim="800000"/>
            <a:headEnd/>
            <a:tailEnd/>
          </a:ln>
        </p:spPr>
        <p:txBody>
          <a:bodyPr wrap="square" lIns="68586" tIns="34294" rIns="68586" bIns="34294">
            <a:spAutoFit/>
            <a:scene3d>
              <a:camera prst="orthographicFront"/>
              <a:lightRig rig="soft" dir="t">
                <a:rot lat="0" lon="0" rev="10800000"/>
              </a:lightRig>
            </a:scene3d>
            <a:sp3d>
              <a:bevelT w="27940" h="12700"/>
              <a:contourClr>
                <a:srgbClr val="DDDDDD"/>
              </a:contourClr>
            </a:sp3d>
          </a:bodyPr>
          <a:lstStyle/>
          <a:p>
            <a:pPr algn="ctr" rtl="0"/>
            <a:r>
              <a:rPr lang="en-US" sz="1500" b="1" spc="113" dirty="0">
                <a:ln w="11430"/>
                <a:solidFill>
                  <a:srgbClr val="F8F8F8"/>
                </a:solidFill>
                <a:effectLst>
                  <a:outerShdw blurRad="25400" algn="tl" rotWithShape="0">
                    <a:srgbClr val="000000">
                      <a:alpha val="43000"/>
                    </a:srgbClr>
                  </a:outerShdw>
                </a:effectLst>
                <a:latin typeface="+mj-lt"/>
                <a:cs typeface="Arial" pitchFamily="34" charset="0"/>
              </a:rPr>
              <a:t>Team BI</a:t>
            </a:r>
          </a:p>
        </p:txBody>
      </p:sp>
      <p:sp>
        <p:nvSpPr>
          <p:cNvPr id="7" name="Rectangle 6"/>
          <p:cNvSpPr/>
          <p:nvPr/>
        </p:nvSpPr>
        <p:spPr>
          <a:xfrm>
            <a:off x="3294127" y="1718076"/>
            <a:ext cx="2579892" cy="1060306"/>
          </a:xfrm>
          <a:prstGeom prst="rect">
            <a:avLst/>
          </a:prstGeom>
          <a:solidFill>
            <a:schemeClr val="tx2"/>
          </a:solidFill>
        </p:spPr>
        <p:txBody>
          <a:bodyPr wrap="square" lIns="68586" tIns="34294" rIns="68586" bIns="34294" anchor="ctr" anchorCtr="0">
            <a:normAutofit/>
          </a:bodyPr>
          <a:lstStyle/>
          <a:p>
            <a:pPr algn="ctr"/>
            <a:r>
              <a:rPr lang="en-US" sz="1500" b="1" dirty="0">
                <a:solidFill>
                  <a:schemeClr val="bg1"/>
                </a:solidFill>
                <a:cs typeface="Arial" pitchFamily="34" charset="0"/>
              </a:rPr>
              <a:t>“Our Context”</a:t>
            </a:r>
          </a:p>
          <a:p>
            <a:pPr algn="ctr" rtl="0"/>
            <a:r>
              <a:rPr lang="en-US" sz="1200" spc="-30" dirty="0">
                <a:solidFill>
                  <a:schemeClr val="bg1"/>
                </a:solidFill>
                <a:cs typeface="Arial" pitchFamily="34" charset="0"/>
              </a:rPr>
              <a:t>BI Solution created by power user. Context: small team &amp; managed on a server.</a:t>
            </a:r>
          </a:p>
        </p:txBody>
      </p:sp>
      <p:sp>
        <p:nvSpPr>
          <p:cNvPr id="8" name="TextBox 16"/>
          <p:cNvSpPr txBox="1">
            <a:spLocks noChangeArrowheads="1"/>
          </p:cNvSpPr>
          <p:nvPr/>
        </p:nvSpPr>
        <p:spPr bwMode="auto">
          <a:xfrm flipH="1">
            <a:off x="418048" y="1417993"/>
            <a:ext cx="2701220" cy="377034"/>
          </a:xfrm>
          <a:prstGeom prst="rect">
            <a:avLst/>
          </a:prstGeom>
          <a:noFill/>
          <a:ln w="9525">
            <a:noFill/>
            <a:miter lim="800000"/>
            <a:headEnd/>
            <a:tailEnd/>
          </a:ln>
        </p:spPr>
        <p:txBody>
          <a:bodyPr wrap="square" lIns="68586" tIns="34294" rIns="68586" bIns="34294">
            <a:spAutoFit/>
            <a:scene3d>
              <a:camera prst="orthographicFront"/>
              <a:lightRig rig="soft" dir="t">
                <a:rot lat="0" lon="0" rev="10800000"/>
              </a:lightRig>
            </a:scene3d>
            <a:sp3d>
              <a:bevelT w="27940" h="12700"/>
              <a:contourClr>
                <a:srgbClr val="DDDDDD"/>
              </a:contourClr>
            </a:sp3d>
          </a:bodyPr>
          <a:lstStyle>
            <a:defPPr>
              <a:defRPr lang="en-US"/>
            </a:defPPr>
            <a:lvl1pPr algn="ctr">
              <a:defRPr sz="2000" b="1" spc="150">
                <a:ln w="11430"/>
                <a:solidFill>
                  <a:srgbClr val="F8F8F8"/>
                </a:solidFill>
                <a:effectLst>
                  <a:outerShdw blurRad="25400" algn="tl" rotWithShape="0">
                    <a:srgbClr val="000000">
                      <a:alpha val="43000"/>
                    </a:srgbClr>
                  </a:outerShdw>
                </a:effectLst>
                <a:latin typeface="+mj-lt"/>
                <a:cs typeface="Arial"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Personal BI </a:t>
            </a:r>
          </a:p>
        </p:txBody>
      </p:sp>
      <p:sp>
        <p:nvSpPr>
          <p:cNvPr id="9" name="TextBox 30"/>
          <p:cNvSpPr txBox="1">
            <a:spLocks noChangeArrowheads="1"/>
          </p:cNvSpPr>
          <p:nvPr/>
        </p:nvSpPr>
        <p:spPr bwMode="auto">
          <a:xfrm flipH="1">
            <a:off x="6315833" y="1403707"/>
            <a:ext cx="2057328" cy="300083"/>
          </a:xfrm>
          <a:prstGeom prst="rect">
            <a:avLst/>
          </a:prstGeom>
          <a:noFill/>
          <a:ln w="9525">
            <a:noFill/>
            <a:miter lim="800000"/>
            <a:headEnd/>
            <a:tailEnd/>
          </a:ln>
        </p:spPr>
        <p:txBody>
          <a:bodyPr wrap="square" lIns="68586" tIns="34294" rIns="68586" bIns="34294">
            <a:spAutoFit/>
            <a:scene3d>
              <a:camera prst="orthographicFront"/>
              <a:lightRig rig="soft" dir="t">
                <a:rot lat="0" lon="0" rev="10800000"/>
              </a:lightRig>
            </a:scene3d>
            <a:sp3d>
              <a:bevelT w="27940" h="12700"/>
              <a:contourClr>
                <a:srgbClr val="DDDDDD"/>
              </a:contourClr>
            </a:sp3d>
          </a:bodyPr>
          <a:lstStyle/>
          <a:p>
            <a:pPr algn="ctr" rtl="0"/>
            <a:r>
              <a:rPr lang="en-US" sz="1500" b="1" spc="113" dirty="0">
                <a:ln w="11430"/>
                <a:solidFill>
                  <a:srgbClr val="F8F8F8"/>
                </a:solidFill>
                <a:effectLst>
                  <a:outerShdw blurRad="25400" algn="tl" rotWithShape="0">
                    <a:srgbClr val="000000">
                      <a:alpha val="43000"/>
                    </a:srgbClr>
                  </a:outerShdw>
                </a:effectLst>
                <a:cs typeface="Arial" pitchFamily="34" charset="0"/>
              </a:rPr>
              <a:t>Organizational BI</a:t>
            </a:r>
          </a:p>
        </p:txBody>
      </p:sp>
      <p:sp>
        <p:nvSpPr>
          <p:cNvPr id="10" name="Rectangle 9"/>
          <p:cNvSpPr/>
          <p:nvPr/>
        </p:nvSpPr>
        <p:spPr>
          <a:xfrm flipH="1">
            <a:off x="398963" y="1714500"/>
            <a:ext cx="2770322" cy="1063882"/>
          </a:xfrm>
          <a:prstGeom prst="rect">
            <a:avLst/>
          </a:prstGeom>
          <a:solidFill>
            <a:schemeClr val="accent5"/>
          </a:solidFill>
          <a:effectLst/>
        </p:spPr>
        <p:txBody>
          <a:bodyPr wrap="square" lIns="68586" tIns="34294" rIns="68586" bIns="34294" anchor="ctr" anchorCtr="0">
            <a:normAutofit/>
          </a:bodyPr>
          <a:lstStyle/>
          <a:p>
            <a:pPr algn="ctr" rtl="0"/>
            <a:r>
              <a:rPr lang="en-US" sz="1500" b="1" dirty="0">
                <a:solidFill>
                  <a:schemeClr val="bg1"/>
                </a:solidFill>
                <a:cs typeface="Arial" pitchFamily="34" charset="0"/>
              </a:rPr>
              <a:t>“My Context”</a:t>
            </a:r>
          </a:p>
          <a:p>
            <a:pPr algn="ctr" rtl="0"/>
            <a:r>
              <a:rPr lang="en-US" sz="1200" spc="-30" dirty="0">
                <a:solidFill>
                  <a:schemeClr val="bg1"/>
                </a:solidFill>
                <a:cs typeface="Arial" pitchFamily="34" charset="0"/>
              </a:rPr>
              <a:t>BI solution created by user. Context is only for user &amp; exists as document</a:t>
            </a:r>
            <a:r>
              <a:rPr lang="en-US" sz="1200" spc="-30" dirty="0">
                <a:effectLst>
                  <a:outerShdw blurRad="38100" dist="38100" dir="2700000" algn="tl">
                    <a:srgbClr val="000000">
                      <a:alpha val="43137"/>
                    </a:srgbClr>
                  </a:outerShdw>
                </a:effectLst>
                <a:cs typeface="Arial" pitchFamily="34" charset="0"/>
              </a:rPr>
              <a:t>.</a:t>
            </a:r>
          </a:p>
        </p:txBody>
      </p:sp>
      <p:sp>
        <p:nvSpPr>
          <p:cNvPr id="11" name="Rectangle 10"/>
          <p:cNvSpPr/>
          <p:nvPr/>
        </p:nvSpPr>
        <p:spPr>
          <a:xfrm flipH="1">
            <a:off x="6001123" y="1714500"/>
            <a:ext cx="2743915" cy="1063882"/>
          </a:xfrm>
          <a:prstGeom prst="rect">
            <a:avLst/>
          </a:prstGeom>
          <a:solidFill>
            <a:schemeClr val="accent3"/>
          </a:solidFill>
        </p:spPr>
        <p:txBody>
          <a:bodyPr wrap="square" lIns="68586" tIns="34294" rIns="68586" bIns="34294" anchor="ctr" anchorCtr="0">
            <a:normAutofit/>
          </a:bodyPr>
          <a:lstStyle/>
          <a:p>
            <a:pPr algn="ctr"/>
            <a:r>
              <a:rPr lang="en-US" sz="1500" b="1" dirty="0">
                <a:solidFill>
                  <a:schemeClr val="bg1"/>
                </a:solidFill>
                <a:cs typeface="Arial" pitchFamily="34" charset="0"/>
              </a:rPr>
              <a:t>“The Org’s Context”</a:t>
            </a:r>
          </a:p>
          <a:p>
            <a:pPr algn="ctr"/>
            <a:r>
              <a:rPr lang="en-US" sz="1200" spc="-30" dirty="0">
                <a:solidFill>
                  <a:schemeClr val="bg1"/>
                </a:solidFill>
                <a:cs typeface="Arial" pitchFamily="34" charset="0"/>
              </a:rPr>
              <a:t>BI Solution created by IT, Established corporate context &amp; is reusable, scalable and backed up.</a:t>
            </a:r>
          </a:p>
        </p:txBody>
      </p:sp>
      <p:sp>
        <p:nvSpPr>
          <p:cNvPr id="12" name="Rectangle 11"/>
          <p:cNvSpPr/>
          <p:nvPr/>
        </p:nvSpPr>
        <p:spPr bwMode="auto">
          <a:xfrm>
            <a:off x="1486288" y="2960370"/>
            <a:ext cx="3265963" cy="285750"/>
          </a:xfrm>
          <a:prstGeom prst="rect">
            <a:avLst/>
          </a:prstGeom>
          <a:gradFill flip="none" rotWithShape="1">
            <a:gsLst>
              <a:gs pos="98000">
                <a:schemeClr val="tx2"/>
              </a:gs>
              <a:gs pos="0">
                <a:schemeClr val="accent5"/>
              </a:gs>
            </a:gsLst>
            <a:lin ang="0" scaled="0"/>
            <a:tileRect/>
          </a:gradFill>
          <a:ln>
            <a:headEnd type="none" w="med" len="med"/>
            <a:tailEnd type="none" w="med" len="med"/>
          </a:ln>
          <a:effectLst/>
          <a:scene3d>
            <a:camera prst="orthographicFront" fov="0">
              <a:rot lat="0" lon="0" rev="0"/>
            </a:camera>
            <a:lightRig rig="contrasting" dir="t">
              <a:rot lat="0" lon="0" rev="12000000"/>
            </a:lightRig>
          </a:scene3d>
          <a:sp3d prstMaterial="powder"/>
        </p:spPr>
        <p:style>
          <a:lnRef idx="0">
            <a:schemeClr val="accent1"/>
          </a:lnRef>
          <a:fillRef idx="3">
            <a:schemeClr val="accent1"/>
          </a:fillRef>
          <a:effectRef idx="3">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dirty="0" smtClean="0">
                <a:solidFill>
                  <a:schemeClr val="bg1"/>
                </a:solidFill>
              </a:rPr>
              <a:t>Visio &amp; Visio Services</a:t>
            </a:r>
          </a:p>
        </p:txBody>
      </p:sp>
      <p:sp>
        <p:nvSpPr>
          <p:cNvPr id="13" name="Rectangle 12"/>
          <p:cNvSpPr/>
          <p:nvPr/>
        </p:nvSpPr>
        <p:spPr bwMode="auto">
          <a:xfrm>
            <a:off x="398963" y="3291840"/>
            <a:ext cx="3086904" cy="285750"/>
          </a:xfrm>
          <a:prstGeom prst="rect">
            <a:avLst/>
          </a:prstGeom>
          <a:gradFill flip="none" rotWithShape="1">
            <a:gsLst>
              <a:gs pos="84000">
                <a:schemeClr val="accent5"/>
              </a:gs>
              <a:gs pos="100000">
                <a:schemeClr val="accent1"/>
              </a:gs>
            </a:gsLst>
            <a:lin ang="0" scaled="0"/>
            <a:tileRect/>
          </a:gradFill>
          <a:ln>
            <a:headEnd type="none" w="med" len="med"/>
            <a:tailEnd type="none" w="med" len="med"/>
          </a:ln>
          <a:effectLst/>
          <a:scene3d>
            <a:camera prst="orthographicFront" fov="0">
              <a:rot lat="0" lon="0" rev="0"/>
            </a:camera>
            <a:lightRig rig="contrasting" dir="t">
              <a:rot lat="0" lon="0" rev="12000000"/>
            </a:lightRig>
          </a:scene3d>
          <a:sp3d prstMaterial="powder"/>
        </p:spPr>
        <p:style>
          <a:lnRef idx="0">
            <a:schemeClr val="accent1"/>
          </a:lnRef>
          <a:fillRef idx="3">
            <a:schemeClr val="accent1"/>
          </a:fillRef>
          <a:effectRef idx="3">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dirty="0" smtClean="0">
                <a:solidFill>
                  <a:schemeClr val="bg1"/>
                </a:solidFill>
              </a:rPr>
              <a:t>Excel &amp; PowerPivot</a:t>
            </a:r>
          </a:p>
        </p:txBody>
      </p:sp>
      <p:sp>
        <p:nvSpPr>
          <p:cNvPr id="14" name="Rectangle 13"/>
          <p:cNvSpPr/>
          <p:nvPr/>
        </p:nvSpPr>
        <p:spPr bwMode="auto">
          <a:xfrm>
            <a:off x="3543032" y="3291840"/>
            <a:ext cx="3258399" cy="285750"/>
          </a:xfrm>
          <a:prstGeom prst="rect">
            <a:avLst/>
          </a:prstGeom>
          <a:gradFill flip="none" rotWithShape="1">
            <a:gsLst>
              <a:gs pos="55000">
                <a:schemeClr val="accent1"/>
              </a:gs>
              <a:gs pos="95000">
                <a:schemeClr val="accent3"/>
              </a:gs>
            </a:gsLst>
            <a:lin ang="0" scaled="0"/>
            <a:tileRect/>
          </a:gradFill>
          <a:ln>
            <a:headEnd type="none" w="med" len="med"/>
            <a:tailEnd type="none" w="med" len="med"/>
          </a:ln>
          <a:effectLst/>
          <a:scene3d>
            <a:camera prst="orthographicFront" fov="0">
              <a:rot lat="0" lon="0" rev="0"/>
            </a:camera>
            <a:lightRig rig="contrasting" dir="t">
              <a:rot lat="0" lon="0" rev="12000000"/>
            </a:lightRig>
          </a:scene3d>
          <a:sp3d prstMaterial="powder"/>
        </p:spPr>
        <p:style>
          <a:lnRef idx="0">
            <a:schemeClr val="accent1"/>
          </a:lnRef>
          <a:fillRef idx="3">
            <a:schemeClr val="accent1"/>
          </a:fillRef>
          <a:effectRef idx="3">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dirty="0" smtClean="0">
                <a:solidFill>
                  <a:schemeClr val="bg1"/>
                </a:solidFill>
              </a:rPr>
              <a:t>Excel Services</a:t>
            </a:r>
          </a:p>
        </p:txBody>
      </p:sp>
      <p:sp>
        <p:nvSpPr>
          <p:cNvPr id="15" name="Rectangle 14"/>
          <p:cNvSpPr/>
          <p:nvPr/>
        </p:nvSpPr>
        <p:spPr bwMode="auto">
          <a:xfrm>
            <a:off x="4400506" y="3623310"/>
            <a:ext cx="4287367" cy="285750"/>
          </a:xfrm>
          <a:prstGeom prst="rect">
            <a:avLst/>
          </a:prstGeom>
          <a:gradFill flip="none" rotWithShape="1">
            <a:gsLst>
              <a:gs pos="0">
                <a:schemeClr val="accent1"/>
              </a:gs>
              <a:gs pos="73000">
                <a:schemeClr val="accent3"/>
              </a:gs>
            </a:gsLst>
            <a:lin ang="0" scaled="0"/>
            <a:tileRect/>
          </a:gradFill>
          <a:ln>
            <a:headEnd type="none" w="med" len="med"/>
            <a:tailEnd type="none" w="med" len="med"/>
          </a:ln>
          <a:effectLst/>
          <a:scene3d>
            <a:camera prst="orthographicFront" fov="0">
              <a:rot lat="0" lon="0" rev="0"/>
            </a:camera>
            <a:lightRig rig="contrasting" dir="t">
              <a:rot lat="0" lon="0" rev="12000000"/>
            </a:lightRig>
          </a:scene3d>
          <a:sp3d prstMaterial="powder"/>
        </p:spPr>
        <p:style>
          <a:lnRef idx="0">
            <a:schemeClr val="accent1"/>
          </a:lnRef>
          <a:fillRef idx="3">
            <a:schemeClr val="accent1"/>
          </a:fillRef>
          <a:effectRef idx="3">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dirty="0" smtClean="0">
                <a:solidFill>
                  <a:schemeClr val="bg1"/>
                </a:solidFill>
              </a:rPr>
              <a:t>PerformancePoint Services</a:t>
            </a:r>
          </a:p>
        </p:txBody>
      </p:sp>
      <p:sp>
        <p:nvSpPr>
          <p:cNvPr id="16" name="Rectangle 15"/>
          <p:cNvSpPr/>
          <p:nvPr/>
        </p:nvSpPr>
        <p:spPr bwMode="auto">
          <a:xfrm>
            <a:off x="1500145" y="3943350"/>
            <a:ext cx="3200042" cy="285750"/>
          </a:xfrm>
          <a:prstGeom prst="rect">
            <a:avLst/>
          </a:prstGeom>
          <a:gradFill flip="none" rotWithShape="1">
            <a:gsLst>
              <a:gs pos="0">
                <a:schemeClr val="accent5"/>
              </a:gs>
              <a:gs pos="100000">
                <a:schemeClr val="accent1"/>
              </a:gs>
            </a:gsLst>
            <a:lin ang="0" scaled="0"/>
            <a:tileRect/>
          </a:gradFill>
          <a:ln>
            <a:headEnd type="none" w="med" len="med"/>
            <a:tailEnd type="none" w="med" len="med"/>
          </a:ln>
          <a:effectLst/>
          <a:scene3d>
            <a:camera prst="orthographicFront" fov="0">
              <a:rot lat="0" lon="0" rev="0"/>
            </a:camera>
            <a:lightRig rig="contrasting" dir="t">
              <a:rot lat="0" lon="0" rev="12000000"/>
            </a:lightRig>
          </a:scene3d>
          <a:sp3d prstMaterial="powder"/>
        </p:spPr>
        <p:style>
          <a:lnRef idx="0">
            <a:schemeClr val="accent1"/>
          </a:lnRef>
          <a:fillRef idx="3">
            <a:schemeClr val="accent1"/>
          </a:fillRef>
          <a:effectRef idx="3">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dirty="0" smtClean="0">
                <a:solidFill>
                  <a:schemeClr val="bg1"/>
                </a:solidFill>
              </a:rPr>
              <a:t>Report Builder</a:t>
            </a:r>
          </a:p>
        </p:txBody>
      </p:sp>
      <p:sp>
        <p:nvSpPr>
          <p:cNvPr id="17" name="Rectangle 16"/>
          <p:cNvSpPr/>
          <p:nvPr/>
        </p:nvSpPr>
        <p:spPr bwMode="auto">
          <a:xfrm>
            <a:off x="4752249" y="3943350"/>
            <a:ext cx="3935622" cy="285750"/>
          </a:xfrm>
          <a:prstGeom prst="rect">
            <a:avLst/>
          </a:prstGeom>
          <a:gradFill flip="none" rotWithShape="1">
            <a:gsLst>
              <a:gs pos="2000">
                <a:schemeClr val="accent1"/>
              </a:gs>
              <a:gs pos="51000">
                <a:schemeClr val="accent3"/>
              </a:gs>
            </a:gsLst>
            <a:lin ang="0" scaled="0"/>
            <a:tileRect/>
          </a:gradFill>
          <a:ln>
            <a:headEnd type="none" w="med" len="med"/>
            <a:tailEnd type="none" w="med" len="med"/>
          </a:ln>
          <a:effectLst/>
          <a:scene3d>
            <a:camera prst="orthographicFront" fov="0">
              <a:rot lat="0" lon="0" rev="0"/>
            </a:camera>
            <a:lightRig rig="contrasting" dir="t">
              <a:rot lat="0" lon="0" rev="12000000"/>
            </a:lightRig>
          </a:scene3d>
          <a:sp3d prstMaterial="powder"/>
        </p:spPr>
        <p:style>
          <a:lnRef idx="0">
            <a:schemeClr val="accent1"/>
          </a:lnRef>
          <a:fillRef idx="3">
            <a:schemeClr val="accent1"/>
          </a:fillRef>
          <a:effectRef idx="3">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dirty="0" smtClean="0">
                <a:solidFill>
                  <a:schemeClr val="bg1"/>
                </a:solidFill>
              </a:rPr>
              <a:t>Reporting Services</a:t>
            </a:r>
          </a:p>
        </p:txBody>
      </p:sp>
      <p:sp>
        <p:nvSpPr>
          <p:cNvPr id="18" name="Rectangle 17"/>
          <p:cNvSpPr/>
          <p:nvPr/>
        </p:nvSpPr>
        <p:spPr bwMode="auto">
          <a:xfrm>
            <a:off x="398963" y="4272396"/>
            <a:ext cx="8288909" cy="285750"/>
          </a:xfrm>
          <a:prstGeom prst="rect">
            <a:avLst/>
          </a:prstGeom>
          <a:gradFill flip="none" rotWithShape="1">
            <a:gsLst>
              <a:gs pos="0">
                <a:schemeClr val="accent5"/>
              </a:gs>
              <a:gs pos="53000">
                <a:schemeClr val="accent1"/>
              </a:gs>
              <a:gs pos="100000">
                <a:schemeClr val="accent3"/>
              </a:gs>
            </a:gsLst>
            <a:lin ang="0" scaled="0"/>
            <a:tileRect/>
          </a:gradFill>
          <a:ln>
            <a:headEnd type="none" w="med" len="med"/>
            <a:tailEnd type="none" w="med" len="med"/>
          </a:ln>
          <a:effectLst/>
          <a:scene3d>
            <a:camera prst="orthographicFront">
              <a:rot lat="0" lon="0" rev="0"/>
            </a:camera>
            <a:lightRig rig="contrasting" dir="t">
              <a:rot lat="0" lon="0" rev="0"/>
            </a:lightRig>
          </a:scene3d>
          <a:sp3d prstMaterial="powder"/>
        </p:spPr>
        <p:style>
          <a:lnRef idx="0">
            <a:schemeClr val="accent1"/>
          </a:lnRef>
          <a:fillRef idx="3">
            <a:schemeClr val="accent1"/>
          </a:fillRef>
          <a:effectRef idx="3">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dirty="0" smtClean="0">
                <a:solidFill>
                  <a:schemeClr val="bg1"/>
                </a:solidFill>
              </a:rPr>
              <a:t>SQL Reporting Services – SQL Integration Services – SQL Analysis Services </a:t>
            </a:r>
          </a:p>
        </p:txBody>
      </p:sp>
      <p:sp>
        <p:nvSpPr>
          <p:cNvPr id="19" name="Rectangle 18"/>
          <p:cNvSpPr/>
          <p:nvPr/>
        </p:nvSpPr>
        <p:spPr bwMode="auto">
          <a:xfrm>
            <a:off x="398964" y="857251"/>
            <a:ext cx="8346073" cy="44348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72" tIns="137172" rIns="137172" bIns="34292" numCol="1" rtlCol="0" anchor="t"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latin typeface="Segoe Condensed" pitchFamily="34" charset="0"/>
            </a:endParaRPr>
          </a:p>
        </p:txBody>
      </p:sp>
      <p:pic>
        <p:nvPicPr>
          <p:cNvPr id="20" name="Picture 19" descr="ofc-brand_h_rgb_r.png"/>
          <p:cNvPicPr>
            <a:picLocks noChangeAspect="1"/>
          </p:cNvPicPr>
          <p:nvPr/>
        </p:nvPicPr>
        <p:blipFill>
          <a:blip r:embed="rId3"/>
          <a:stretch>
            <a:fillRect/>
          </a:stretch>
        </p:blipFill>
        <p:spPr>
          <a:xfrm>
            <a:off x="799118" y="887036"/>
            <a:ext cx="1447888" cy="376829"/>
          </a:xfrm>
          <a:prstGeom prst="rect">
            <a:avLst/>
          </a:prstGeom>
        </p:spPr>
      </p:pic>
      <p:pic>
        <p:nvPicPr>
          <p:cNvPr id="21" name="Picture 24" descr="W:\TRANSFER\MBupload\SERVER-new\Logo\SharePoint\SharePoint\ShrPt_h_rgb_r.png"/>
          <p:cNvPicPr>
            <a:picLocks noChangeAspect="1"/>
          </p:cNvPicPr>
          <p:nvPr/>
        </p:nvPicPr>
        <p:blipFill>
          <a:blip r:embed="rId4" cstate="print"/>
          <a:srcRect/>
          <a:stretch>
            <a:fillRect/>
          </a:stretch>
        </p:blipFill>
        <p:spPr bwMode="auto">
          <a:xfrm>
            <a:off x="3142879" y="914969"/>
            <a:ext cx="2029353" cy="322195"/>
          </a:xfrm>
          <a:prstGeom prst="rect">
            <a:avLst/>
          </a:prstGeom>
          <a:noFill/>
          <a:ln w="9525">
            <a:noFill/>
            <a:miter lim="800000"/>
            <a:headEnd/>
            <a:tailEnd/>
          </a:ln>
        </p:spPr>
      </p:pic>
      <p:pic>
        <p:nvPicPr>
          <p:cNvPr id="22" name="Picture 21" descr="SQL08r2_h_rgb_r.png"/>
          <p:cNvPicPr>
            <a:picLocks noChangeAspect="1"/>
          </p:cNvPicPr>
          <p:nvPr/>
        </p:nvPicPr>
        <p:blipFill>
          <a:blip r:embed="rId5" cstate="print"/>
          <a:stretch>
            <a:fillRect/>
          </a:stretch>
        </p:blipFill>
        <p:spPr>
          <a:xfrm>
            <a:off x="6077372" y="922112"/>
            <a:ext cx="1924521" cy="299358"/>
          </a:xfrm>
          <a:prstGeom prst="rect">
            <a:avLst/>
          </a:prstGeom>
        </p:spPr>
      </p:pic>
      <p:sp>
        <p:nvSpPr>
          <p:cNvPr id="23" name="TextBox 2"/>
          <p:cNvSpPr txBox="1">
            <a:spLocks noChangeArrowheads="1"/>
          </p:cNvSpPr>
          <p:nvPr/>
        </p:nvSpPr>
        <p:spPr bwMode="auto">
          <a:xfrm>
            <a:off x="614362" y="2038350"/>
            <a:ext cx="7924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09" charset="-128"/>
              </a:defRPr>
            </a:lvl9pPr>
          </a:lstStyle>
          <a:p>
            <a:pPr algn="ctr" eaLnBrk="1" hangingPunct="1">
              <a:defRPr/>
            </a:pPr>
            <a:r>
              <a:rPr lang="zh-CN" altLang="en-US" sz="2400" smtClean="0">
                <a:solidFill>
                  <a:srgbClr val="F9F9F9">
                    <a:alpha val="5000"/>
                  </a:srgbClr>
                </a:solidFill>
                <a:latin typeface="黑体" pitchFamily="49" charset="-122"/>
                <a:ea typeface="黑体" pitchFamily="49" charset="-122"/>
              </a:rPr>
              <a:t>锐普</a:t>
            </a:r>
            <a:r>
              <a:rPr lang="en-US" altLang="zh-CN" sz="2400" smtClean="0">
                <a:solidFill>
                  <a:srgbClr val="F9F9F9">
                    <a:alpha val="5000"/>
                  </a:srgbClr>
                </a:solidFill>
                <a:latin typeface="黑体" pitchFamily="49" charset="-122"/>
                <a:ea typeface="黑体" pitchFamily="49" charset="-122"/>
              </a:rPr>
              <a:t>PPT</a:t>
            </a:r>
            <a:r>
              <a:rPr lang="zh-CN" altLang="en-US" sz="2400" smtClean="0">
                <a:solidFill>
                  <a:srgbClr val="F9F9F9">
                    <a:alpha val="5000"/>
                  </a:srgbClr>
                </a:solidFill>
                <a:latin typeface="黑体" pitchFamily="49" charset="-122"/>
                <a:ea typeface="黑体" pitchFamily="49" charset="-122"/>
              </a:rPr>
              <a:t>论坛</a:t>
            </a:r>
            <a:r>
              <a:rPr lang="en-US" altLang="zh-CN" sz="2400" smtClean="0">
                <a:solidFill>
                  <a:srgbClr val="F9F9F9">
                    <a:alpha val="5000"/>
                  </a:srgbClr>
                </a:solidFill>
                <a:latin typeface="黑体" pitchFamily="49" charset="-122"/>
                <a:ea typeface="黑体" pitchFamily="49" charset="-122"/>
              </a:rPr>
              <a:t>chinakui</a:t>
            </a:r>
            <a:r>
              <a:rPr lang="zh-CN" altLang="en-US" sz="2400" smtClean="0">
                <a:solidFill>
                  <a:srgbClr val="F9F9F9">
                    <a:alpha val="5000"/>
                  </a:srgbClr>
                </a:solidFill>
                <a:latin typeface="黑体" pitchFamily="49" charset="-122"/>
                <a:ea typeface="黑体" pitchFamily="49" charset="-122"/>
              </a:rPr>
              <a:t>分享：</a:t>
            </a:r>
            <a:r>
              <a:rPr lang="en-US" altLang="zh-CN" sz="2400" smtClean="0">
                <a:solidFill>
                  <a:srgbClr val="F9F9F9">
                    <a:alpha val="5000"/>
                  </a:srgbClr>
                </a:solidFill>
                <a:latin typeface="黑体" pitchFamily="49" charset="-122"/>
                <a:ea typeface="黑体" pitchFamily="49" charset="-122"/>
              </a:rPr>
              <a:t>www.rapidbbs.cn</a:t>
            </a:r>
            <a:endParaRPr lang="zh-CN" altLang="en-US" sz="2400" smtClean="0">
              <a:solidFill>
                <a:srgbClr val="F9F9F9">
                  <a:alpha val="5000"/>
                </a:srgbClr>
              </a:solidFill>
              <a:latin typeface="黑体" pitchFamily="49" charset="-122"/>
              <a:ea typeface="黑体" pitchFamily="49" charset="-122"/>
            </a:endParaRPr>
          </a:p>
        </p:txBody>
      </p:sp>
      <p:sp>
        <p:nvSpPr>
          <p:cNvPr id="24" name="TextBox 2"/>
          <p:cNvSpPr txBox="1">
            <a:spLocks noChangeArrowheads="1"/>
          </p:cNvSpPr>
          <p:nvPr/>
        </p:nvSpPr>
        <p:spPr bwMode="auto">
          <a:xfrm>
            <a:off x="3246437" y="4694238"/>
            <a:ext cx="55070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b="1">
                <a:solidFill>
                  <a:schemeClr val="tx1"/>
                </a:solidFill>
                <a:latin typeface="굴림" pitchFamily="50" charset="-127"/>
                <a:ea typeface="굴림" pitchFamily="50" charset="-127"/>
              </a:defRPr>
            </a:lvl1pPr>
            <a:lvl2pPr marL="742950" indent="-285750" eaLnBrk="0" hangingPunct="0">
              <a:defRPr kumimoji="1" b="1">
                <a:solidFill>
                  <a:schemeClr val="tx1"/>
                </a:solidFill>
                <a:latin typeface="굴림" pitchFamily="50" charset="-127"/>
                <a:ea typeface="굴림" pitchFamily="50" charset="-127"/>
              </a:defRPr>
            </a:lvl2pPr>
            <a:lvl3pPr marL="1143000" indent="-228600" eaLnBrk="0" hangingPunct="0">
              <a:defRPr kumimoji="1" b="1">
                <a:solidFill>
                  <a:schemeClr val="tx1"/>
                </a:solidFill>
                <a:latin typeface="굴림" pitchFamily="50" charset="-127"/>
                <a:ea typeface="굴림" pitchFamily="50" charset="-127"/>
              </a:defRPr>
            </a:lvl3pPr>
            <a:lvl4pPr marL="1600200" indent="-228600" eaLnBrk="0" hangingPunct="0">
              <a:defRPr kumimoji="1" b="1">
                <a:solidFill>
                  <a:schemeClr val="tx1"/>
                </a:solidFill>
                <a:latin typeface="굴림" pitchFamily="50" charset="-127"/>
                <a:ea typeface="굴림" pitchFamily="50" charset="-127"/>
              </a:defRPr>
            </a:lvl4pPr>
            <a:lvl5pPr marL="2057400" indent="-228600" eaLnBrk="0" hangingPunct="0">
              <a:defRPr kumimoji="1" b="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chemeClr val="tx1"/>
                </a:solidFill>
                <a:latin typeface="굴림" pitchFamily="50" charset="-127"/>
                <a:ea typeface="굴림" pitchFamily="50" charset="-127"/>
              </a:defRPr>
            </a:lvl9pPr>
          </a:lstStyle>
          <a:p>
            <a:pPr algn="r" eaLnBrk="1" hangingPunct="1"/>
            <a:r>
              <a:rPr lang="zh-CN" altLang="en-US" sz="1200" b="0">
                <a:latin typeface="Arial" charset="0"/>
                <a:ea typeface="ＭＳ Ｐゴシック" pitchFamily="34" charset="-128"/>
              </a:rPr>
              <a:t>锐普</a:t>
            </a:r>
            <a:r>
              <a:rPr lang="en-US" altLang="zh-CN" sz="1200" b="0">
                <a:latin typeface="Arial" charset="0"/>
                <a:ea typeface="ＭＳ Ｐゴシック" pitchFamily="34" charset="-128"/>
              </a:rPr>
              <a:t>PPT</a:t>
            </a:r>
            <a:r>
              <a:rPr lang="zh-CN" altLang="en-US" sz="1200" b="0">
                <a:latin typeface="Arial" charset="0"/>
                <a:ea typeface="ＭＳ Ｐゴシック" pitchFamily="34" charset="-128"/>
              </a:rPr>
              <a:t>论坛</a:t>
            </a:r>
            <a:r>
              <a:rPr lang="en-US" altLang="zh-CN" sz="1200" b="0">
                <a:latin typeface="Arial" charset="0"/>
                <a:ea typeface="ＭＳ Ｐゴシック" pitchFamily="34" charset="-128"/>
              </a:rPr>
              <a:t>chinakui</a:t>
            </a:r>
            <a:r>
              <a:rPr lang="zh-CN" altLang="en-US" sz="1200" b="0">
                <a:latin typeface="Arial" charset="0"/>
                <a:ea typeface="ＭＳ Ｐゴシック" pitchFamily="34" charset="-128"/>
              </a:rPr>
              <a:t>分享：</a:t>
            </a:r>
            <a:r>
              <a:rPr lang="en-US" altLang="zh-CN" sz="1200" b="0">
                <a:latin typeface="Arial" charset="0"/>
                <a:ea typeface="ＭＳ Ｐゴシック" pitchFamily="34" charset="-128"/>
                <a:hlinkClick r:id="rId6"/>
              </a:rPr>
              <a:t>www.rapidbbs.cn</a:t>
            </a:r>
            <a:endParaRPr lang="zh-CN" altLang="en-US" sz="1200" b="0">
              <a:latin typeface="Arial" charset="0"/>
              <a:ea typeface="ＭＳ Ｐゴシック" pitchFamily="34" charset="-128"/>
            </a:endParaRPr>
          </a:p>
        </p:txBody>
      </p:sp>
      <p:pic>
        <p:nvPicPr>
          <p:cNvPr id="25" name="Picture 2">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90600" y="128012"/>
            <a:ext cx="79232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513579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left)">
                                      <p:cBhvr>
                                        <p:cTn id="7" dur="500"/>
                                        <p:tgtEl>
                                          <p:spTgt spid="12"/>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wipe(left)">
                                      <p:cBhvr>
                                        <p:cTn id="10" dur="500"/>
                                        <p:tgtEl>
                                          <p:spTgt spid="13"/>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wipe(left)">
                                      <p:cBhvr>
                                        <p:cTn id="13" dur="500"/>
                                        <p:tgtEl>
                                          <p:spTgt spid="16"/>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8" fill="hold" grpId="0" nodeType="clickEffect">
                                  <p:stCondLst>
                                    <p:cond delay="0"/>
                                  </p:stCondLst>
                                  <p:childTnLst>
                                    <p:set>
                                      <p:cBhvr>
                                        <p:cTn id="17" dur="1" fill="hold">
                                          <p:stCondLst>
                                            <p:cond delay="0"/>
                                          </p:stCondLst>
                                        </p:cTn>
                                        <p:tgtEl>
                                          <p:spTgt spid="14"/>
                                        </p:tgtEl>
                                        <p:attrNameLst>
                                          <p:attrName>style.visibility</p:attrName>
                                        </p:attrNameLst>
                                      </p:cBhvr>
                                      <p:to>
                                        <p:strVal val="visible"/>
                                      </p:to>
                                    </p:set>
                                    <p:animEffect transition="in" filter="wipe(left)">
                                      <p:cBhvr>
                                        <p:cTn id="18" dur="500"/>
                                        <p:tgtEl>
                                          <p:spTgt spid="14"/>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grpId="0" nodeType="click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wipe(left)">
                                      <p:cBhvr>
                                        <p:cTn id="23" dur="500"/>
                                        <p:tgtEl>
                                          <p:spTgt spid="15"/>
                                        </p:tgtEl>
                                      </p:cBhvr>
                                    </p:animEffect>
                                  </p:childTnLst>
                                </p:cTn>
                              </p:par>
                              <p:par>
                                <p:cTn id="24" presetID="22" presetClass="entr" presetSubtype="8" fill="hold" grpId="0" nodeType="withEffect">
                                  <p:stCondLst>
                                    <p:cond delay="0"/>
                                  </p:stCondLst>
                                  <p:childTnLst>
                                    <p:set>
                                      <p:cBhvr>
                                        <p:cTn id="25" dur="1" fill="hold">
                                          <p:stCondLst>
                                            <p:cond delay="0"/>
                                          </p:stCondLst>
                                        </p:cTn>
                                        <p:tgtEl>
                                          <p:spTgt spid="17"/>
                                        </p:tgtEl>
                                        <p:attrNameLst>
                                          <p:attrName>style.visibility</p:attrName>
                                        </p:attrNameLst>
                                      </p:cBhvr>
                                      <p:to>
                                        <p:strVal val="visible"/>
                                      </p:to>
                                    </p:set>
                                    <p:animEffect transition="in" filter="wipe(left)">
                                      <p:cBhvr>
                                        <p:cTn id="26" dur="500"/>
                                        <p:tgtEl>
                                          <p:spTgt spid="17"/>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8" fill="hold" grpId="0" nodeType="clickEffect">
                                  <p:stCondLst>
                                    <p:cond delay="0"/>
                                  </p:stCondLst>
                                  <p:childTnLst>
                                    <p:set>
                                      <p:cBhvr>
                                        <p:cTn id="30" dur="1" fill="hold">
                                          <p:stCondLst>
                                            <p:cond delay="0"/>
                                          </p:stCondLst>
                                        </p:cTn>
                                        <p:tgtEl>
                                          <p:spTgt spid="18"/>
                                        </p:tgtEl>
                                        <p:attrNameLst>
                                          <p:attrName>style.visibility</p:attrName>
                                        </p:attrNameLst>
                                      </p:cBhvr>
                                      <p:to>
                                        <p:strVal val="visible"/>
                                      </p:to>
                                    </p:set>
                                    <p:animEffect transition="in" filter="wipe(left)">
                                      <p:cBhvr>
                                        <p:cTn id="31"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15" grpId="0" animBg="1"/>
      <p:bldP spid="16" grpId="0" animBg="1"/>
      <p:bldP spid="17" grpId="0" animBg="1"/>
      <p:bldP spid="1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xXAkjR9OoEmWDjJpp4wsh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ravVgFYmz0CtTUWav_iBm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aU2AtS4n7US9rc067E70H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RmBT.B8WO0qxVDFp4.CWw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avVgFYmz0CtTUWav_iBm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ravVgFYmz0CtTUWav_iBm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vVbD8.dl6kOx0n0wdzieM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jK5nK8I1BUmTH5Wq3vKeH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aU2AtS4n7US9rc067E70H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aU2AtS4n7US9rc067E70HA"/>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xXAkjR9OoEmWDjJpp4wsh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ravVgFYmz0CtTUWav_iBm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vVbD8.dl6kOx0n0wdzieM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jK5nK8I1BUmTH5Wq3vKeH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aU2AtS4n7US9rc067E70H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RmBT.B8WO0qxVDFp4.CWw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RmBT.B8WO0qxVDFp4.CWw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aU2AtS4n7US9rc067E70H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jK5nK8I1BUmTH5Wq3vKeH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vVbD8.dl6kOx0n0wdzieM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aU2AtS4n7US9rc067E70H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RmBT.B8WO0qxVDFp4.CWw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jK5nK8I1BUmTH5Wq3vKeH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jK5nK8I1BUmTH5Wq3vKeH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aU2AtS4n7US9rc067E70H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RmBT.B8WO0qxVDFp4.CWwQ"/>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aU2AtS4n7US9rc067E70H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RmBT.B8WO0qxVDFp4.CWw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jK5nK8I1BUmTH5Wq3vKeH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aU2AtS4n7US9rc067E70H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RmBT.B8WO0qxVDFp4.CWw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jK5nK8I1BUmTH5Wq3vKeH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jK5nK8I1BUmTH5Wq3vKeHg"/>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aU2AtS4n7US9rc067E70H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RmBT.B8WO0qxVDFp4.CWw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aU2AtS4n7US9rc067E70H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RmBT.B8WO0qxVDFp4.CWw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jK5nK8I1BUmTH5Wq3vKeH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fHU2ApuZEEi6cnLt1YdFM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nBokgumI7UO5.do_6P50XQ"/>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6zG3le9djEKSTvT8z6sS9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zJeeSHFix0SXPg29ZidHH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wIzEi_iknE2uRI9.6XpQq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Pdi_ksLTLkK3fZuSxb1MM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SJnsojHZjUGVBCr.CzRCy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sASYJI4EfESOj69NmYcAb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gBQRktl8tkWTSr9qxMrwk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x2FX1io2A0q0X.mdt4XAg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Y.mBvN2ZZEGHepBW2DiVb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xQ7ZHtBDKEq7J2HOcVaXxA"/>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c0O_N3upg0qmL8pnkkADE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F0w4ZwaqIUWKi6iE2djdp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O9mwWnll5UuOZB5UEpJEw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CxrUXCNHlEGILJBQ_WIHM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OuEpekAOgk.DzEmrnDXkJ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oxjfbBiwkEGRYTqooblNY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oGLgmgNMlEOd0Q8axpXOk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H_EKZDafyka1eCym6UiiA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r89E0ESzKkCg9_lR92rnUQ"/>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ouyb21XzokabpzsFr9Jjc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Ftfcuv2oZEK3CwWN.5ar3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C6VG68RuyUCoZ646eaWUH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GxwcH0ifEmsvHy0Gij4l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AaJezdiUPE2hKJuTyyBBg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bn_zdeO8fUaU8ddnOxSvD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BR21S6TwtkKNeloAbvYUv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MpKg87YrqkOti2z8c0oE1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vUI7nSWyV0Oi158uw0iiA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VFiFg7uwr0GaModqlzfya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Nd1DKcS5qEiLNMLB6FfKe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qeHvYv.4mk6e_QoKhAl1K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67khAwa21Ei4ajjk9zqNr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eRMnwH0y3Ea_K.dX4f3Kb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foIU0jUoA0.QuncHl9M_d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QZ0WveNKHEmVm4gZG9IoHQ"/>
</p:tagLst>
</file>

<file path=ppt/tags/tag196.xml><?xml version="1.0" encoding="utf-8"?>
<p:tagLst xmlns:a="http://schemas.openxmlformats.org/drawingml/2006/main" xmlns:r="http://schemas.openxmlformats.org/officeDocument/2006/relationships" xmlns:p="http://schemas.openxmlformats.org/presentationml/2006/main">
  <p:tag name="TIMING" val="|2.5|0|0|0"/>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yHojMppB7ke_G1rtyo8aF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wFC86OXUUSPUYMxdDFZR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uSvaLDtmUU66_P77TKzFA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yHojMppB7ke_G1rtyo8aF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yHojMppB7ke_G1rtyo8aF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yHojMppB7ke_G1rtyo8aF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yHojMppB7ke_G1rtyo8aF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yHojMppB7ke_G1rtyo8aF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yHojMppB7ke_G1rtyo8aF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yHojMppB7ke_G1rtyo8aF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yHojMppB7ke_G1rtyo8aF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yHojMppB7ke_G1rtyo8aF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yHojMppB7ke_G1rtyo8aF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yHojMppB7ke_G1rtyo8aF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yHojMppB7ke_G1rtyo8aF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ags/tag223.xml><?xml version="1.0" encoding="utf-8"?>
<p:tagLst xmlns:a="http://schemas.openxmlformats.org/drawingml/2006/main" xmlns:r="http://schemas.openxmlformats.org/officeDocument/2006/relationships" xmlns:p="http://schemas.openxmlformats.org/presentationml/2006/main">
  <p:tag name="TIMING" val="|20.9|55.7|35.1|35.1|18.8|9.7"/>
</p:tagLst>
</file>

<file path=ppt/tags/tag224.xml><?xml version="1.0" encoding="utf-8"?>
<p:tagLst xmlns:a="http://schemas.openxmlformats.org/drawingml/2006/main" xmlns:r="http://schemas.openxmlformats.org/officeDocument/2006/relationships" xmlns:p="http://schemas.openxmlformats.org/presentationml/2006/main">
  <p:tag name="TIMING" val="|10.4|9.6|11.9|5.2|1.9|1.2|2.3|4.9|12.3"/>
</p:tagLst>
</file>

<file path=ppt/tags/tag225.xml><?xml version="1.0" encoding="utf-8"?>
<p:tagLst xmlns:a="http://schemas.openxmlformats.org/drawingml/2006/main" xmlns:r="http://schemas.openxmlformats.org/officeDocument/2006/relationships" xmlns:p="http://schemas.openxmlformats.org/presentationml/2006/main">
  <p:tag name="TIMING" val="|17|4.9|8|5.6|7.4|3.6|3.5|3.1|4.6|2.7"/>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9AIZSDN8u0KFL27TMcG81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yHojMppB7ke_G1rtyo8aF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g.ux0IjWTk2fqiaDiSAuR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g.ux0IjWTk2fqiaDiSAuR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g.ux0IjWTk2fqiaDiSAuR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g.ux0IjWTk2fqiaDiSAuRw"/>
</p:tagLst>
</file>

<file path=ppt/tags/tag233.xml><?xml version="1.0" encoding="utf-8"?>
<p:tagLst xmlns:a="http://schemas.openxmlformats.org/drawingml/2006/main" xmlns:r="http://schemas.openxmlformats.org/officeDocument/2006/relationships" xmlns:p="http://schemas.openxmlformats.org/presentationml/2006/main">
  <p:tag name="TIMING" val="|.5|16.8|38.8|5"/>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Cu7OJIHuKUCWvfe74MF5X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9rq5htLn9Uyrwid8_bRiC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3KfdWZxdlk6gYLBcvZ5sK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XBTjtqqjqUCSj3PxzZlHK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Cu7OJIHuKUCWvfe74MF5X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9rq5htLn9Uyrwid8_bRiC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3KfdWZxdlk6gYLBcvZ5sK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XBTjtqqjqUCSj3PxzZlHK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t6rvPEJhkkiU9aCQ5.Ppv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XqCU6BnzzEaxHyR2P7sRf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mvhPMlS9IkmDLlZJ4IdkY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zdoKvR_s20S_sEfbKhL.0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g.lR_RjMrUqDgo9cq777u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QxP19Tlx0q.RzOS9NSJP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Yy2.9NDdq0awgENrsag0x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3lQHV04eYUWkkGoaBq9lP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rN3Jeptlc0O9S89k6gpm4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hBK2Bpy5HEOLkOGrK63hu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0mmTYgZfoEeREJ7SzWlpk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WTuh1Ov1JkGoiFAKm3dl6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I.LabUtT20Sy8MitHJcPb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WgLyPsgjVEi2TSbCO3u1Y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F.0EoqWKAUiRp6bwLw4mW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OU5hr3Ip00.fAzN5jTThD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VdDWp4IluEmyF2WAC0hUH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BzXdAeC0e0yZM9FqXyqiU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FgxB5GzJDk6_cIrl8hTq4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zoOPfAs1fkegZ1XWEMJB4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a1op3NQH50uuDgmzRYEQ6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2qX_hcmwJ0ixm6FT1fTmt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nWkgqP9rL0.725rW0saGy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nBy7zZHrlkKVsMQcy9iq6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w4WKW8Jj2Umz1NrtJHx3y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wkgdvQ8Q_UWC.uP.hFYhU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Bc7iT9KV8UaHv3WzF57ju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Lb8XyZ5tEk2kw25hVInra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TMJ9SKR_UU2TeLqfYC6Qh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mjnqeCPsrkOtxsRo1s9on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A_JIboLw.0uuYL2M9FNIK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vTjt0.sGrUqgyAjCnwril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wT1ovT.n2EyIpnhuMeII6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BhyHuIYHvkWDJpefHnGD4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FiHVw_GDyEKfJSoxbCfrQ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2muxllitb0id8o1HdCFED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OJ.Ya58HrUiraSwY0kd8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am5ppAilvkm.LL6veRy_j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1ixYBVc9XEKSGKKboC48k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pwjRDkSrj0SzCE4kxR5iq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hjhnsDz4bkOYTMOfJtT1n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aB3rZm9c8kq.TFZXxoGKt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9SSCIPtbAkyosIw0X.Ym8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D4Nt.7RopE6G4FaDPd5ro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poN78eSop0WF8WdfvY7OF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Q3qi5wbza02lZ2EQS_m0f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5wKekD20MEybs3yELp5ip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FclrsdACyUuFsfYSp0owt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2Bmxhouf0KBSu3pLQ7nm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k5xjZHSlZESYXJrw.8oWh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YM1IKOKnIkyWzxxuBTgPs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9CF7l3wgX0OuDsLAw0lya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xS75olpJwEKy6YvBScQs9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dk.ebgj1nkeAtR_KZEqJA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iOq_602KREOgXjsK4NeKp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U87gXbVFXEa4CexsHB..I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ARblG7NytUumr7L_EWM1V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BwNdl_Dlkiv.a9T4s.9p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uSvaLDtmUU66_P77TKzFA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GlM.5JnLFkWY0acFihXzQ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om5RVRNwJUCjPdKMW..GG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ukpB2OKt2EGEpGxYGlCZC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W98NIDTedkqtCpx86kHKy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wh.QFi5YSEyXNbLTg1cqo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C6VPJdAA3U2bnw1Vl3_pl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dOEsaqFXkEm3vPLWDZxN4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BQpS2HIaZ0WPsUZ73Rc8v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fGOZETUwS0yFBSFHvwWIy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rp3tTG1.6UGrUCk7MFcRg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av4deLnlAUO9xkfqQhrf6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jJ3s7e1eOkqNlZKjRAbfp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NUh1P.PVYEmDI2ZnEPIpZ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y9hgkUITqkS.nuR8n2WFu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DlEFUFOnMEWqQ2llsjogm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HH0y9.IOhkaHJ19WFaP7s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dBS7BZrmekq97bzDCxzVW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l23il0DRmUW8aI9k7CKeA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GqURQXApaUCeJcQGn_ktS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ZRObJIAxw0OkImMHZ.kxS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J7WUwyavaEC63zNpNB1or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LwjKDJ2AUEuk9bAIuELGd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qHcCzHd2S0OCCavuQSfs9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MMTwbrk1EUeoAYrS8MBlu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C.MDfPLWnkKHx1BqQovX1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h3uOGVcsEEGxXrpJP4MOs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j6pYWoVHLkmOfpD6KN8Bo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JthOUOZlQE6YTCtWRmIK1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Q_07cM6isEyoY6s7Y80gZ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GHPPtIPISk.aQbB1ml33H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MYW55YyKUky93_04zgwnv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h._6.QKtbUKNvwUpc9P5l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cVT22G6I0kOXDFDpIMIXt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qdOdEyINtEatR6kYhdcG1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SKgMbCBzmEiQHTd.RNjVe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EmejWDyDj0y0QtX1Ftq7e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tisKtZZp8UmZz27veGH2a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_.lNhLCqlkSKCL17jxum5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GSH8GKYiwUeIE2SikZP3a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YCrsETyFckyRw0yHk6U06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77exwPOi90O5ss3viSERj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6jh4s7yDX0m53rjt_o9hV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ggSuTtr5jUue.2VZiBTqG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6MB5JxfNUGZ3jr1zA3ld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ey9tcL1S0UW3Z.WvsUyqw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BiDQjDycs0mLQ7euILf8y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EALEz3Qpwkm5qWFd03mQX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tisKtZZp8UmZz27veGH2a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_.lNhLCqlkSKCL17jxum5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BiDQjDycs0mLQ7euILf8y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n1nNbaBktkWoV_wWU3faW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y3Qs2XxgK0mCF4XVsYMqS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IlgxSXiFpEWwemEO3EjHw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YCrsETyFckyRw0yHk6U06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77exwPOi90O5ss3viSERj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6jh4s7yDX0m53rjt_o9hV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ggSuTtr5jUue.2VZiBTqG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6MB5JxfNUGZ3jr1zA3ld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s1938Mw9kkyV2XgRVpibQ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ey9tcL1S0UW3Z.WvsUyqw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DwDLRMVDnkKxawtB98WJF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TLtBNTuXX02jD02Wid5br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Y_fEXVahl0yE5xL.CCiHL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WiJKaPUxIEeKUtPhktHEh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KY9LVC3ns0CWYkqO4KTd0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P4nEcLx3GUy5PebIv5CZm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x9KFU5.BPEOT0oMnBysq8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ZmIa6bCW7U.6RiTJFgTP8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WFCGHm6HD0qHVI9b3JeQV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YCrsETyFckyRw0yHk6U06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77exwPOi90O5ss3viSERj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6jh4s7yDX0m53rjt_o9hV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ggSuTtr5jUue.2VZiBTqG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6MB5JxfNUGZ3jr1zA3ld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ey9tcL1S0UW3Z.WvsUyqw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DwDLRMVDnkKxawtB98WJF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Y_fEXVahl0yE5xL.CCiHL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7Yqpt3MX5EmuH8_iat4cj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WiJKaPUxIEeKUtPhktHEh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TLtBNTuXX02jD02Wid5br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GHPPtIPISk.aQbB1ml33H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x9KFU5.BPEOT0oMnBysq8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ZmIa6bCW7U.6RiTJFgTP8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WFCGHm6HD0qHVI9b3JeQV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YCrsETyFckyRw0yHk6U06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77exwPOi90O5ss3viSERjg"/>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6jh4s7yDX0m53rjt_o9hV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ggSuTtr5jUue.2VZiBTqG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kSxxeooy0WHS2_AhVkIy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6MB5JxfNUGZ3jr1zA3ld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ey9tcL1S0UW3Z.WvsUyqwg"/>
</p:tagLst>
</file>

<file path=ppt/tags/tag392.xml><?xml version="1.0" encoding="utf-8"?>
<p:tagLst xmlns:a="http://schemas.openxmlformats.org/drawingml/2006/main" xmlns:r="http://schemas.openxmlformats.org/officeDocument/2006/relationships" xmlns:p="http://schemas.openxmlformats.org/presentationml/2006/main">
  <p:tag name="MT_TILE" val="YES"/>
</p:tagLst>
</file>

<file path=ppt/tags/tag393.xml><?xml version="1.0" encoding="utf-8"?>
<p:tagLst xmlns:a="http://schemas.openxmlformats.org/drawingml/2006/main" xmlns:r="http://schemas.openxmlformats.org/officeDocument/2006/relationships" xmlns:p="http://schemas.openxmlformats.org/presentationml/2006/main">
  <p:tag name="MT_TILE" val="YES"/>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iwVUG2.jf0i7yCpZtm.AL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nrHT4lKcFUaDPw5p9SV9l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Q2T16iLlQkyYEdjylQ6IK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wlE_4bBQXUuW8PDbuA_kG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zuIEk0YyZEO4q9ss31XGk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ahiHPoAgUCSFvfDntMVi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2mNM3ep4JkKLxTAWc1k.a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tlCXV06Sv06wLkNBMD78V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RmeNaQEQmk2vAn4UBygYv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nrHT4lKcFUaDPw5p9SV9l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nrHT4lKcFUaDPw5p9SV9l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ANEvnenhXk.FrEx.i2G4F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ZUawBbWp50ebf_yH8lYHl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ANEvnenhXk.FrEx.i2G4F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ANEvnenhXk.FrEx.i2G4F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Do.f0qHxXUunlX4O5N1Hl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P9bktfNyDUaNhTUt.JdgT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xQ1QXWp9j0qm_LPD3YXaP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QrLqYeFzE0mWuVrN4c5DD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c31DVkXYfkmUaD7xUyuqh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ltM8ZrFYVUGJkaCEDJWkL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Pr3aVEvtw06F4rFoIbJSS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u2PG1buhVUOkWAVkpOr7j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7dXkbaQDoEiLyfce_XWKS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FxC.g7S72k.sz_MXHACywg"/>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5zTAFmVOz0W2GKgK3Ffpv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kk7nVGJfb0Kb8hKFPCDExg"/>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u2PG1buhVUOkWAVkpOr7j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7dXkbaQDoEiLyfce_XWKS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FxC.g7S72k.sz_MXHACywg"/>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5zTAFmVOz0W2GKgK3FfpvQ"/>
</p:tagLst>
</file>

<file path=ppt/tags/tag424.xml><?xml version="1.0" encoding="utf-8"?>
<p:tagLst xmlns:a="http://schemas.openxmlformats.org/drawingml/2006/main" xmlns:r="http://schemas.openxmlformats.org/officeDocument/2006/relationships" xmlns:p="http://schemas.openxmlformats.org/presentationml/2006/main">
  <p:tag name="TIMING" val="|78.9"/>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YFMuU8.cMEqrdPMv0h74Zg"/>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xUQyRY0OpE6.RPZDHpaJQ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3wQr1vkwd0.zwNryrKkpL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T93wixlOEEK8jZyp7SNYU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J.Ye3zYL0kOWuNac7N7nVQ"/>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QVdh5Jb8QUi_.CpUM.v.N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8wphdn0hD02vR2ARTDt4q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Y7wZbBGuk0Kx9r.kGwDzI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fJ32jIWsZkWy7bIyE_Wyv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jJvtrP.8GEmE.08UDIDs1g"/>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it1cV4iFs0absydV9WBlr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Ihk0W2HR4Uqgn5n8WqCn5g"/>
</p:tagLst>
</file>

<file path=ppt/tags/tag437.xml><?xml version="1.0" encoding="utf-8"?>
<p:tagLst xmlns:a="http://schemas.openxmlformats.org/drawingml/2006/main" xmlns:r="http://schemas.openxmlformats.org/officeDocument/2006/relationships" xmlns:p="http://schemas.openxmlformats.org/presentationml/2006/main">
  <p:tag name="TIMING" val="|221.1"/>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CTHp6M_O0Ea.lypWidD5H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LwUeQD_hs0.p04TOpwhLVg"/>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SYmmOB4DEkGY4npkwIcVfQ"/>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MQEEbmTgaUGfV0TED4ih4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3trUElzuLkyV5R79DA0dA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t_qCrU4uWkWwbB2OAm_CE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re_zj3N53kK_UHHiEaLXyw"/>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2AVMh76M4k24JY84773Usg"/>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mQ1dfzGwJEqRSpiEAWPWI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KU7q8Z2nyk6Ph6xts1SRg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047log4PhkGC7izTwpOjc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65tFvUn_Fk24HVBQv91Gl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Y4tomKbD7kOngsFktveriA"/>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u2PG1buhVUOkWAVkpOr7j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7dXkbaQDoEiLyfce_XWKS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FxC.g7S72k.sz_MXHACyw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5zTAFmVOz0W2GKgK3Ffpv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u2PG1buhVUOkWAVkpOr7j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7dXkbaQDoEiLyfce_XWKSQ"/>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FxC.g7S72k.sz_MXHACyw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5zTAFmVOz0W2GKgK3Ffpv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52UvgfnwUkOhDuYKkipu3g"/>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ohojQ5XwskuLNNHXQQoKmQ"/>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u2PG1buhVUOkWAVkpOr7j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7dXkbaQDoEiLyfce_XWKS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FxC.g7S72k.sz_MXHACyw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5zTAFmVOz0W2GKgK3FfpvQ"/>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u2PG1buhVUOkWAVkpOr7jw"/>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7dXkbaQDoEiLyfce_XWKS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FxC.g7S72k.sz_MXHACyw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QDxCIx80x0StPLCE5olhmA"/>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5zTAFmVOz0W2GKgK3Ffpv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5ZfH.Yvpi0Ge3cC_EG3V7A"/>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1vFiHyoB_UybfOx1KV4VMg"/>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u4_.0WGKJkG8Fx7LQgHGe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SkxicpVLL0icDPqoyz7nTg"/>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Ly5tQj3OC0Gwx6E.dVowm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E94kOuk0PkWvCTZsIe43l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LAnn2cYGU6qVC4xVBP6I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OxKheJBJLESI1PjzFOriz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A_0PJi894k.K8aM2MISEp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Zp1oXKIL.Eu3Hhk.omYW_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ngXGbUtEE0.0_0sfTnh4dw"/>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5eLivWWT30K7Rxi2ZVTgmw"/>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2hmyCnVpkUeBlzDGW4GS9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yZL54UuCkSgLRe7H8n3FQ"/>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9XBtqMq2GUO5x_1CSOM0i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ZF_l0.wuL0ae3Jz4wNM7kg"/>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nCT0s8C6ZEK4vd623ezsE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gepwtMEudEK13F5oX4YUI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zvAGFPiJHkymiFF7cqo2hw"/>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WP97j5aj1UOq3_zJXDNwHg"/>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pAT7CCzh20SIvJC9.lYgng"/>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h_r99gNh00CGpkODXAquEQ"/>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0yXD3WPZUkOwQJs0vTAui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h1y7ehmQkiFUv4.Fw1v4g"/>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iJGN4aXT4UOKISoHrvQTF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iD.A9ef3Zkis20pvyCQh0w"/>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LAZVwu3DhUijxpUcxPbtcA"/>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gxBvP2nYpUCpFfAI_ZVvKg"/>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FVxsuFxa5EGK4FJUtGHK4w"/>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xvqZ1zOI2EK_K3IOhNeslQ"/>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U1DcXn.h0ki3P94k1u7YBw"/>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4m5hsvqu1EuQD_9rni4tXA"/>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2Gm_28RFdk6r6iDxHdNUHA"/>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yrI2sQ30p0m2dfpayp4lpw"/>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oJmErnuW7Ei5h3hPR6kvKg"/>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nn0JrBxdKkypwlEtQ0tl8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CmR9pWDmUEuR75yDTX_oo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fZyBvOd4cUi9TMbzVYA3r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Ff2rkqSXgEmsNRyLpGxq3g"/>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C8FZx_8_RkGPvz3lSCZJtg"/>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kHLh9a7ejkC_QHRF_z2PIg"/>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k.nVU58H1kqzlHJvXZrOlQ"/>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u_3IRM.W_UasOwCsj7jJe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bpMoDdWzLUKQuU2fCcki6w"/>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fOm2Fcv.1EapvOT3Bigno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S.85ch5hE06Wck7Ds_QRSA"/>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xXAkjR9OoEmWDjJpp4wshQ"/>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ravVgFYmz0CtTUWav_iBm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iEQobrjsWE21ROwalDMVtQ"/>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vVbD8.dl6kOx0n0wdzieM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jK5nK8I1BUmTH5Wq3vKeHg"/>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aU2AtS4n7US9rc067E70H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RmBT.B8WO0qxVDFp4.CWwQ"/>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525.xml><?xml version="1.0" encoding="utf-8"?>
<p:tagLst xmlns:a="http://schemas.openxmlformats.org/drawingml/2006/main" xmlns:r="http://schemas.openxmlformats.org/officeDocument/2006/relationships" xmlns:p="http://schemas.openxmlformats.org/presentationml/2006/main">
  <p:tag name="MT_TILE" val="YES"/>
</p:tagLst>
</file>

<file path=ppt/tags/tag526.xml><?xml version="1.0" encoding="utf-8"?>
<p:tagLst xmlns:a="http://schemas.openxmlformats.org/drawingml/2006/main" xmlns:r="http://schemas.openxmlformats.org/officeDocument/2006/relationships" xmlns:p="http://schemas.openxmlformats.org/presentationml/2006/main">
  <p:tag name="MT_TILE" val="YES"/>
</p:tagLst>
</file>

<file path=ppt/tags/tag527.xml><?xml version="1.0" encoding="utf-8"?>
<p:tagLst xmlns:a="http://schemas.openxmlformats.org/drawingml/2006/main" xmlns:r="http://schemas.openxmlformats.org/officeDocument/2006/relationships" xmlns:p="http://schemas.openxmlformats.org/presentationml/2006/main">
  <p:tag name="MT_TILE" val="YES"/>
</p:tagLst>
</file>

<file path=ppt/tags/tag528.xml><?xml version="1.0" encoding="utf-8"?>
<p:tagLst xmlns:a="http://schemas.openxmlformats.org/drawingml/2006/main" xmlns:r="http://schemas.openxmlformats.org/officeDocument/2006/relationships" xmlns:p="http://schemas.openxmlformats.org/presentationml/2006/main">
  <p:tag name="MT_TILE" val="YES"/>
</p:tagLst>
</file>

<file path=ppt/tags/tag529.xml><?xml version="1.0" encoding="utf-8"?>
<p:tagLst xmlns:a="http://schemas.openxmlformats.org/drawingml/2006/main" xmlns:r="http://schemas.openxmlformats.org/officeDocument/2006/relationships" xmlns:p="http://schemas.openxmlformats.org/presentationml/2006/main">
  <p:tag name="MT_TILE" val="YES"/>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gNvhW0d0kesk_tWS07UAQ"/>
</p:tagLst>
</file>

<file path=ppt/tags/tag530.xml><?xml version="1.0" encoding="utf-8"?>
<p:tagLst xmlns:a="http://schemas.openxmlformats.org/drawingml/2006/main" xmlns:r="http://schemas.openxmlformats.org/officeDocument/2006/relationships" xmlns:p="http://schemas.openxmlformats.org/presentationml/2006/main">
  <p:tag name="MT_TILE" val="YES"/>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X.URfxmAC06960d2C6oWsA"/>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7Yqpt3MX5EmuH8_iat4cjA"/>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RkSxxeooy0WHS2_AhVkIy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2mNM3ep4JkKLxTAWc1k.aw"/>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xQ1QXWp9j0qm_LPD3YXaPQ"/>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kk7nVGJfb0Kb8hKFPCDExg"/>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J.Ye3zYL0kOWuNac7N7nV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0fNn.4N3QUe5HIaHLsHXHw"/>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LwUeQD_hs0.p04TOpwhLVg"/>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Y4tomKbD7kOngsFktveriA"/>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52UvgfnwUkOhDuYKkipu3g"/>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QDxCIx80x0StPLCE5olhm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A_0PJi894k.K8aM2MISEp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Ff2rkqSXgEmsNRyLpGxq3g"/>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iEQobrjsWE21ROwalDMVt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CgNvhW0d0kesk_tWS07UA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0fNn.4N3QUe5HIaHLsHXH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Fj2lurIsjE.8yqThtjIkTQ"/>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Fj2lurIsjE.8yqThtjIkT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ej8N380K4ECwTO4HeiBz_Q"/>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Kl2BF9NWC0KoZ1sdNa_ow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kToZS3Glskq2rQlAKBKb6Q"/>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C4gCB5y2d0eCiEAtue5SN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yBplfQWw4UKFucjufnyb8Q"/>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iEQobrjsWE21ROwalDMVtQ"/>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iEQobrjsWE21ROwalDMVtQ"/>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iEQobrjsWE21ROwalDMVtQ"/>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iEQobrjsWE21ROwalDMVt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ej8N380K4ECwTO4HeiBz_Q"/>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2V5Gqf4sVk2cvR.WDtzjD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Q5f88FREeEuB79FAcgkmw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9RUJMNvv6UOPuqB3ZSzyYA"/>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gSJH8IhxikOmZWtzEWe0AQ"/>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ZfgeP1HV8UC66tbt9fzW5Q"/>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6rRSPiFU_k2Q_nJFMTcaFQ"/>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9qZ4PB9y0us7EifbbQvMQ"/>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lQokwIg1Gk.Zp.zVRbvejQ"/>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rAtJklwgPUqZMB.YhKPYI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Kl2BF9NWC0KoZ1sdNa_owQ"/>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kBJu149RMEm5KqLzjDf_lw"/>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e0FgMSpRGUeUwww_lZURNQ"/>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B.uHnZZbUUep1uXHiCNPGw"/>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_268zKMYYU..P3f2hXt_Yw"/>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8UGPbJgW2UmQtnF2WZ9hVg"/>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KK3NgkGX_0WJHPMhYTJR7g"/>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oDtbiEzmn0KA5T8iczbwx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Sdf3eM2Tj0ezo355VyoAq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c_GN8l.vUCncmeRduFdm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TP9UdfZftU2pNsFoX7hNY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kToZS3Glskq2rQlAKBKb6Q"/>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wuw4jLgOtU63BqCwXZcXDw"/>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J1zDJjScvkmn16YW1rOV8w"/>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wuw4jLgOtU63BqCwXZcXDw"/>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_268zKMYYU..P3f2hXt_Yw"/>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8UGPbJgW2UmQtnF2WZ9hVg"/>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8UGPbJgW2UmQtnF2WZ9hVg"/>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aU2AtS4n7US9rc067E70HA"/>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RmBT.B8WO0qxVDFp4.CWw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jK5nK8I1BUmTH5Wq3vKeH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C4gCB5y2d0eCiEAtue5SNw"/>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jK5nK8I1BUmTH5Wq3vKeHg"/>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aU2AtS4n7US9rc067E70HA"/>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RmBT.B8WO0qxVDFp4.CWwQ"/>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aU2AtS4n7US9rc067E70H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RmBT.B8WO0qxVDFp4.CWwQ"/>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jK5nK8I1BUmTH5Wq3vKeHg"/>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aU2AtS4n7US9rc067E70HA"/>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RmBT.B8WO0qxVDFp4.CWwQ"/>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BplfQWw4UKFucjufnyb8Q"/>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jK5nK8I1BUmTH5Wq3vKeHg"/>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aU2AtS4n7US9rc067E70HA"/>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RmBT.B8WO0qxVDFp4.CWwQ"/>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jK5nK8I1BUmTH5Wq3vKeHg"/>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jK5nK8I1BUmTH5Wq3vKeH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aU2AtS4n7US9rc067E70HA"/>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RmBT.B8WO0qxVDFp4.CWwQ"/>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2V5Gqf4sVk2cvR.WDtzjDA"/>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9AIZSDN8u0KFL27TMcG81g"/>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yHojMppB7ke_G1rtyo8aFw"/>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9AIZSDN8u0KFL27TMcG81g"/>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yHojMppB7ke_G1rtyo8aFw"/>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9AIZSDN8u0KFL27TMcG81g"/>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yHojMppB7ke_G1rtyo8aF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iEQobrjsWE21ROwalDMVtQ"/>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9AIZSDN8u0KFL27TMcG81g"/>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yHojMppB7ke_G1rtyo8aFw"/>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9AIZSDN8u0KFL27TMcG81g"/>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yHojMppB7ke_G1rtyo8aFw"/>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9AIZSDN8u0KFL27TMcG81g"/>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9AIZSDN8u0KFL27TMcG81g"/>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yHojMppB7ke_G1rtyo8aF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iEQobrjsWE21ROwalDMVtQ"/>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9AIZSDN8u0KFL27TMcG81g"/>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yHojMppB7ke_G1rtyo8aFw"/>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9AIZSDN8u0KFL27TMcG81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yHojMppB7ke_G1rtyo8aFw"/>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9AIZSDN8u0KFL27TMcG81g"/>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yHojMppB7ke_G1rtyo8aF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9AIZSDN8u0KFL27TMcG81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iEQobrjsWE21ROwalDMVtQ"/>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yHojMppB7ke_G1rtyo8aF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9AIZSDN8u0KFL27TMcG81g"/>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yHojMppB7ke_G1rtyo8aFw"/>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9AIZSDN8u0KFL27TMcG81g"/>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yHojMppB7ke_G1rtyo8aFw"/>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9AIZSDN8u0KFL27TMcG81g"/>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iEQobrjsWE21ROwalDMVtQ"/>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yHojMppB7ke_G1rtyo8aFw"/>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yHojMppB7ke_G1rtyo8aFw"/>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9AIZSDN8u0KFL27TMcG81g"/>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yHojMppB7ke_G1rtyo8aF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2V5Gqf4sVk2cvR.WDtzjD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Q5f88FREeEuB79FAcgkmw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lkLFD0ISxUWRgkjSJrAMYQ"/>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lkLFD0ISxUWRgkjSJrAMY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lkLFD0ISxUWRgkjSJrAMY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vVbD8.dl6kOx0n0wdzieM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ravVgFYmz0CtTUWav_iBm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xXAkjR9OoEmWDjJpp4wsh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jK5nK8I1BUmTH5Wq3vKeH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aU2AtS4n7US9rc067E70H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RmBT.B8WO0qxVDFp4.CWw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xXAkjR9OoEmWDjJpp4wsh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ravVgFYmz0CtTUWav_iBm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aU2AtS4n7US9rc067E70H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RmBT.B8WO0qxVDFp4.CWwQ"/>
</p:tagLst>
</file>

<file path=ppt/theme/_rels/theme8.xml.rels><?xml version="1.0" encoding="UTF-8" standalone="yes"?>
<Relationships xmlns="http://schemas.openxmlformats.org/package/2006/relationships"><Relationship Id="rId1" Type="http://schemas.openxmlformats.org/officeDocument/2006/relationships/image" Target="../media/image38.png"/></Relationships>
</file>

<file path=ppt/theme/_rels/theme9.xml.rels><?xml version="1.0" encoding="UTF-8" standalone="yes"?>
<Relationships xmlns="http://schemas.openxmlformats.org/package/2006/relationships"><Relationship Id="rId1" Type="http://schemas.openxmlformats.org/officeDocument/2006/relationships/image" Target="../media/image38.png"/></Relationships>
</file>

<file path=ppt/theme/theme1.xml><?xml version="1.0" encoding="utf-8"?>
<a:theme xmlns:a="http://schemas.openxmlformats.org/drawingml/2006/main" name="TechEd_2012_Template_16x9">
  <a:themeElements>
    <a:clrScheme name="自定义 22">
      <a:dk1>
        <a:srgbClr val="363535"/>
      </a:dk1>
      <a:lt1>
        <a:srgbClr val="FFFFFF"/>
      </a:lt1>
      <a:dk2>
        <a:srgbClr val="1D4C7C"/>
      </a:dk2>
      <a:lt2>
        <a:srgbClr val="3397D3"/>
      </a:lt2>
      <a:accent1>
        <a:srgbClr val="3397D3"/>
      </a:accent1>
      <a:accent2>
        <a:srgbClr val="8E499C"/>
      </a:accent2>
      <a:accent3>
        <a:srgbClr val="ED5326"/>
      </a:accent3>
      <a:accent4>
        <a:srgbClr val="3BBEB4"/>
      </a:accent4>
      <a:accent5>
        <a:srgbClr val="94C949"/>
      </a:accent5>
      <a:accent6>
        <a:srgbClr val="E7B921"/>
      </a:accent6>
      <a:hlink>
        <a:srgbClr val="FFFFFF"/>
      </a:hlink>
      <a:folHlink>
        <a:srgbClr val="FFFFFF"/>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rgbClr val="FFFFFF">
                <a:alpha val="98824"/>
              </a:srgbClr>
            </a:solidFill>
            <a:latin typeface="Segoe UI" pitchFamily="34" charset="0"/>
            <a:ea typeface="Segoe UI" pitchFamily="34" charset="0"/>
            <a:cs typeface="Segoe UI" pitchFamily="34" charset="0"/>
          </a:defRPr>
        </a:defPPr>
      </a:lstStyle>
      <a:style>
        <a:lnRef idx="1">
          <a:schemeClr val="accent1"/>
        </a:lnRef>
        <a:fillRef idx="3">
          <a:schemeClr val="accent1"/>
        </a:fillRef>
        <a:effectRef idx="2">
          <a:schemeClr val="accent1"/>
        </a:effectRef>
        <a:fontRef idx="minor">
          <a:schemeClr val="lt1"/>
        </a:fontRef>
      </a:style>
    </a:spDef>
    <a:txDef>
      <a:spPr>
        <a:noFill/>
      </a:spPr>
      <a:bodyPr wrap="square" lIns="91440" tIns="91440" rIns="91440" bIns="91440" rtlCol="0">
        <a:spAutoFit/>
      </a:bodyPr>
      <a:lstStyle>
        <a:defPPr>
          <a:lnSpc>
            <a:spcPct val="90000"/>
          </a:lnSpc>
          <a:spcBef>
            <a:spcPct val="20000"/>
          </a:spcBef>
          <a:buSzPct val="90000"/>
          <a:defRPr sz="3200" dirty="0" err="1" smtClean="0">
            <a:solidFill>
              <a:schemeClr val="tx1">
                <a:alpha val="99000"/>
              </a:schemeClr>
            </a:solidFill>
          </a:defRPr>
        </a:defPPr>
      </a:lstStyle>
    </a:txDef>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White with Consolas font for code slides">
  <a:themeElements>
    <a:clrScheme name="TechEd 2012 Light">
      <a:dk1>
        <a:srgbClr val="000000"/>
      </a:dk1>
      <a:lt1>
        <a:srgbClr val="FFFFFF"/>
      </a:lt1>
      <a:dk2>
        <a:srgbClr val="000000"/>
      </a:dk2>
      <a:lt2>
        <a:srgbClr val="FFFFFF"/>
      </a:lt2>
      <a:accent1>
        <a:srgbClr val="3397D3"/>
      </a:accent1>
      <a:accent2>
        <a:srgbClr val="8E499C"/>
      </a:accent2>
      <a:accent3>
        <a:srgbClr val="ED5326"/>
      </a:accent3>
      <a:accent4>
        <a:srgbClr val="3BBEB4"/>
      </a:accent4>
      <a:accent5>
        <a:srgbClr val="94C949"/>
      </a:accent5>
      <a:accent6>
        <a:srgbClr val="E7B921"/>
      </a:accent6>
      <a:hlink>
        <a:srgbClr val="3397D3"/>
      </a:hlink>
      <a:folHlink>
        <a:srgbClr val="E7B921"/>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1_TechEd_2012_Template_16x9">
  <a:themeElements>
    <a:clrScheme name="TechED_2012">
      <a:dk1>
        <a:srgbClr val="363535"/>
      </a:dk1>
      <a:lt1>
        <a:srgbClr val="FFFFFF"/>
      </a:lt1>
      <a:dk2>
        <a:srgbClr val="1D4C7C"/>
      </a:dk2>
      <a:lt2>
        <a:srgbClr val="3397D3"/>
      </a:lt2>
      <a:accent1>
        <a:srgbClr val="3397D3"/>
      </a:accent1>
      <a:accent2>
        <a:srgbClr val="8E499C"/>
      </a:accent2>
      <a:accent3>
        <a:srgbClr val="ED5326"/>
      </a:accent3>
      <a:accent4>
        <a:srgbClr val="3BBEB4"/>
      </a:accent4>
      <a:accent5>
        <a:srgbClr val="94C949"/>
      </a:accent5>
      <a:accent6>
        <a:srgbClr val="E7B921"/>
      </a:accent6>
      <a:hlink>
        <a:srgbClr val="3397D3"/>
      </a:hlink>
      <a:folHlink>
        <a:srgbClr val="E7B921"/>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rgbClr val="FFFFFF">
                <a:alpha val="98824"/>
              </a:srgbClr>
            </a:solidFill>
            <a:latin typeface="Segoe UI" pitchFamily="34" charset="0"/>
            <a:ea typeface="Segoe UI" pitchFamily="34" charset="0"/>
            <a:cs typeface="Segoe UI" pitchFamily="34" charset="0"/>
          </a:defRPr>
        </a:defPPr>
      </a:lstStyle>
      <a:style>
        <a:lnRef idx="1">
          <a:schemeClr val="accent1"/>
        </a:lnRef>
        <a:fillRef idx="3">
          <a:schemeClr val="accent1"/>
        </a:fillRef>
        <a:effectRef idx="2">
          <a:schemeClr val="accent1"/>
        </a:effectRef>
        <a:fontRef idx="minor">
          <a:schemeClr val="lt1"/>
        </a:fontRef>
      </a:style>
    </a:spDef>
    <a:txDef>
      <a:spPr>
        <a:noFill/>
      </a:spPr>
      <a:bodyPr wrap="square" lIns="91440" tIns="91440" rIns="91440" bIns="91440" rtlCol="0">
        <a:spAutoFit/>
      </a:bodyPr>
      <a:lstStyle>
        <a:defPPr>
          <a:lnSpc>
            <a:spcPct val="90000"/>
          </a:lnSpc>
          <a:spcBef>
            <a:spcPct val="20000"/>
          </a:spcBef>
          <a:buSzPct val="90000"/>
          <a:defRPr sz="3200" dirty="0" err="1" smtClean="0">
            <a:solidFill>
              <a:schemeClr val="tx1">
                <a:alpha val="99000"/>
              </a:schemeClr>
            </a:solidFill>
          </a:defRPr>
        </a:defPPr>
      </a:lstStyle>
    </a:txDef>
  </a:objectDefaults>
  <a:extraClrSchemeLst/>
</a:theme>
</file>

<file path=ppt/theme/theme4.xml><?xml version="1.0" encoding="utf-8"?>
<a:theme xmlns:a="http://schemas.openxmlformats.org/drawingml/2006/main" name="2_TechEd_2012_Template_16x9">
  <a:themeElements>
    <a:clrScheme name="TechED_2012">
      <a:dk1>
        <a:srgbClr val="363535"/>
      </a:dk1>
      <a:lt1>
        <a:srgbClr val="FFFFFF"/>
      </a:lt1>
      <a:dk2>
        <a:srgbClr val="1D4C7C"/>
      </a:dk2>
      <a:lt2>
        <a:srgbClr val="3397D3"/>
      </a:lt2>
      <a:accent1>
        <a:srgbClr val="3397D3"/>
      </a:accent1>
      <a:accent2>
        <a:srgbClr val="8E499C"/>
      </a:accent2>
      <a:accent3>
        <a:srgbClr val="ED5326"/>
      </a:accent3>
      <a:accent4>
        <a:srgbClr val="3BBEB4"/>
      </a:accent4>
      <a:accent5>
        <a:srgbClr val="94C949"/>
      </a:accent5>
      <a:accent6>
        <a:srgbClr val="E7B921"/>
      </a:accent6>
      <a:hlink>
        <a:srgbClr val="3397D3"/>
      </a:hlink>
      <a:folHlink>
        <a:srgbClr val="E7B921"/>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rgbClr val="FFFFFF">
                <a:alpha val="98824"/>
              </a:srgbClr>
            </a:solidFill>
            <a:latin typeface="Segoe UI" pitchFamily="34" charset="0"/>
            <a:ea typeface="Segoe UI" pitchFamily="34" charset="0"/>
            <a:cs typeface="Segoe UI" pitchFamily="34" charset="0"/>
          </a:defRPr>
        </a:defPPr>
      </a:lstStyle>
      <a:style>
        <a:lnRef idx="1">
          <a:schemeClr val="accent1"/>
        </a:lnRef>
        <a:fillRef idx="3">
          <a:schemeClr val="accent1"/>
        </a:fillRef>
        <a:effectRef idx="2">
          <a:schemeClr val="accent1"/>
        </a:effectRef>
        <a:fontRef idx="minor">
          <a:schemeClr val="lt1"/>
        </a:fontRef>
      </a:style>
    </a:spDef>
    <a:txDef>
      <a:spPr>
        <a:noFill/>
      </a:spPr>
      <a:bodyPr wrap="square" lIns="91440" tIns="91440" rIns="91440" bIns="91440" rtlCol="0">
        <a:spAutoFit/>
      </a:bodyPr>
      <a:lstStyle>
        <a:defPPr>
          <a:lnSpc>
            <a:spcPct val="90000"/>
          </a:lnSpc>
          <a:spcBef>
            <a:spcPct val="20000"/>
          </a:spcBef>
          <a:buSzPct val="90000"/>
          <a:defRPr sz="3200" dirty="0" err="1" smtClean="0">
            <a:solidFill>
              <a:schemeClr val="tx1">
                <a:alpha val="99000"/>
              </a:schemeClr>
            </a:solidFill>
          </a:defRPr>
        </a:defPPr>
      </a:lstStyle>
    </a:txDef>
  </a:objectDefaults>
  <a:extraClrSchemeLst/>
</a:theme>
</file>

<file path=ppt/theme/theme5.xml><?xml version="1.0" encoding="utf-8"?>
<a:theme xmlns:a="http://schemas.openxmlformats.org/drawingml/2006/main" name="TechEd_WindowsAzure_Template_16x9">
  <a:themeElements>
    <a:clrScheme name="TechEd 2012 Windows Azure 16x9">
      <a:dk1>
        <a:srgbClr val="000000"/>
      </a:dk1>
      <a:lt1>
        <a:srgbClr val="FFFFFF"/>
      </a:lt1>
      <a:dk2>
        <a:srgbClr val="363535"/>
      </a:dk2>
      <a:lt2>
        <a:srgbClr val="80BEE4"/>
      </a:lt2>
      <a:accent1>
        <a:srgbClr val="3397D3"/>
      </a:accent1>
      <a:accent2>
        <a:srgbClr val="E7B921"/>
      </a:accent2>
      <a:accent3>
        <a:srgbClr val="94C949"/>
      </a:accent3>
      <a:accent4>
        <a:srgbClr val="ED5326"/>
      </a:accent4>
      <a:accent5>
        <a:srgbClr val="3BBEB4"/>
      </a:accent5>
      <a:accent6>
        <a:srgbClr val="8E499C"/>
      </a:accent6>
      <a:hlink>
        <a:srgbClr val="3BBEB4"/>
      </a:hlink>
      <a:folHlink>
        <a:srgbClr val="3397D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6.xml><?xml version="1.0" encoding="utf-8"?>
<a:theme xmlns:a="http://schemas.openxmlformats.org/drawingml/2006/main" name="1_TechEd_WindowsAzure_Template_16x9">
  <a:themeElements>
    <a:clrScheme name="TechEd 2012 Windows Azure 16x9">
      <a:dk1>
        <a:srgbClr val="000000"/>
      </a:dk1>
      <a:lt1>
        <a:srgbClr val="FFFFFF"/>
      </a:lt1>
      <a:dk2>
        <a:srgbClr val="363535"/>
      </a:dk2>
      <a:lt2>
        <a:srgbClr val="80BEE4"/>
      </a:lt2>
      <a:accent1>
        <a:srgbClr val="3397D3"/>
      </a:accent1>
      <a:accent2>
        <a:srgbClr val="E7B921"/>
      </a:accent2>
      <a:accent3>
        <a:srgbClr val="94C949"/>
      </a:accent3>
      <a:accent4>
        <a:srgbClr val="ED5326"/>
      </a:accent4>
      <a:accent5>
        <a:srgbClr val="3BBEB4"/>
      </a:accent5>
      <a:accent6>
        <a:srgbClr val="8E499C"/>
      </a:accent6>
      <a:hlink>
        <a:srgbClr val="3BBEB4"/>
      </a:hlink>
      <a:folHlink>
        <a:srgbClr val="3397D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7.xml><?xml version="1.0" encoding="utf-8"?>
<a:theme xmlns:a="http://schemas.openxmlformats.org/drawingml/2006/main" name="3_TechEd_2012_Template_16x9">
  <a:themeElements>
    <a:clrScheme name="自定义 23">
      <a:dk1>
        <a:srgbClr val="363535"/>
      </a:dk1>
      <a:lt1>
        <a:srgbClr val="FFFFFF"/>
      </a:lt1>
      <a:dk2>
        <a:srgbClr val="1D4C7C"/>
      </a:dk2>
      <a:lt2>
        <a:srgbClr val="3397D3"/>
      </a:lt2>
      <a:accent1>
        <a:srgbClr val="3397D3"/>
      </a:accent1>
      <a:accent2>
        <a:srgbClr val="8E499C"/>
      </a:accent2>
      <a:accent3>
        <a:srgbClr val="ED5326"/>
      </a:accent3>
      <a:accent4>
        <a:srgbClr val="3BBEB4"/>
      </a:accent4>
      <a:accent5>
        <a:srgbClr val="94C949"/>
      </a:accent5>
      <a:accent6>
        <a:srgbClr val="E7B921"/>
      </a:accent6>
      <a:hlink>
        <a:srgbClr val="FFFFFF"/>
      </a:hlink>
      <a:folHlink>
        <a:srgbClr val="FFFFFF"/>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rgbClr val="FFFFFF">
                <a:alpha val="98824"/>
              </a:srgbClr>
            </a:solidFill>
            <a:latin typeface="Segoe UI" pitchFamily="34" charset="0"/>
            <a:ea typeface="Segoe UI" pitchFamily="34" charset="0"/>
            <a:cs typeface="Segoe UI" pitchFamily="34" charset="0"/>
          </a:defRPr>
        </a:defPPr>
      </a:lstStyle>
      <a:style>
        <a:lnRef idx="1">
          <a:schemeClr val="accent1"/>
        </a:lnRef>
        <a:fillRef idx="3">
          <a:schemeClr val="accent1"/>
        </a:fillRef>
        <a:effectRef idx="2">
          <a:schemeClr val="accent1"/>
        </a:effectRef>
        <a:fontRef idx="minor">
          <a:schemeClr val="lt1"/>
        </a:fontRef>
      </a:style>
    </a:spDef>
    <a:txDef>
      <a:spPr>
        <a:noFill/>
      </a:spPr>
      <a:bodyPr wrap="square" lIns="91440" tIns="91440" rIns="91440" bIns="91440" rtlCol="0">
        <a:spAutoFit/>
      </a:bodyPr>
      <a:lstStyle>
        <a:defPPr>
          <a:lnSpc>
            <a:spcPct val="90000"/>
          </a:lnSpc>
          <a:spcBef>
            <a:spcPct val="20000"/>
          </a:spcBef>
          <a:buSzPct val="90000"/>
          <a:defRPr sz="3200" dirty="0" err="1" smtClean="0">
            <a:solidFill>
              <a:schemeClr val="tx1">
                <a:alpha val="99000"/>
              </a:schemeClr>
            </a:solidFill>
          </a:defRPr>
        </a:defPPr>
      </a:lstStyle>
    </a:txDef>
  </a:objectDefaults>
  <a:extraClrSchemeLst/>
</a:theme>
</file>

<file path=ppt/theme/theme8.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9.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PresentationsDoc" ma:contentTypeID="0x010100B88FC3ECA26D1C46B3C4C83281D2EB9C003BBE479AF4108146A616B6B5E7069DBC" ma:contentTypeVersion="61" ma:contentTypeDescription="" ma:contentTypeScope="" ma:versionID="72533711bacf991a4680f48ae6b725f9">
  <xsd:schema xmlns:xsd="http://www.w3.org/2001/XMLSchema" xmlns:xs="http://www.w3.org/2001/XMLSchema" xmlns:p="http://schemas.microsoft.com/office/2006/metadata/properties" xmlns:ns2="2295e2e7-0eeb-498e-8716-217bb2ee6ee3" xmlns:ns3="8b529f77-48ab-4581-b468-93f09345b8aa" targetNamespace="http://schemas.microsoft.com/office/2006/metadata/properties" ma:root="true" ma:fieldsID="dde17010d50e6e632f300eac8dfd378e" ns2:_="" ns3:_="">
    <xsd:import namespace="2295e2e7-0eeb-498e-8716-217bb2ee6ee3"/>
    <xsd:import namespace="8b529f77-48ab-4581-b468-93f09345b8aa"/>
    <xsd:element name="properties">
      <xsd:complexType>
        <xsd:sequence>
          <xsd:element name="documentManagement">
            <xsd:complexType>
              <xsd:all>
                <xsd:element ref="ns2:Event_x0020_Start_x0020_Date" minOccurs="0"/>
                <xsd:element ref="ns2:Event_x0020_End_x0020_Date" minOccurs="0"/>
                <xsd:element ref="ns2:Presentation_x0020_Date" minOccurs="0"/>
                <xsd:element ref="ns2:MS_x0020_Speaker" minOccurs="0"/>
                <xsd:element ref="ns2:External_x0020_Speaker" minOccurs="0"/>
                <xsd:element ref="ns2:Session_x0020_Code" minOccurs="0"/>
                <xsd:element ref="ns2:MS_x0020_Content_x0020_Owner" minOccurs="0"/>
                <xsd:element ref="ns2:TaxCatchAll" minOccurs="0"/>
                <xsd:element ref="ns2:ProductTaxHTField0" minOccurs="0"/>
                <xsd:element ref="ns2:TaxCatchAllLabel" minOccurs="0"/>
                <xsd:element ref="ns2:CampaignTaxHTField0" minOccurs="0"/>
                <xsd:element ref="ns2:TrackTaxHTField0" minOccurs="0"/>
                <xsd:element ref="ns2:Event_x0020_VenueTaxHTField0" minOccurs="0"/>
                <xsd:element ref="ns3:AudienceTaxHTField0" minOccurs="0"/>
                <xsd:element ref="ns2:Event_x0020_LocationTaxHTField0" minOccurs="0"/>
                <xsd:element ref="ns2:Event1TaxHTField0"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295e2e7-0eeb-498e-8716-217bb2ee6ee3" elementFormDefault="qualified">
    <xsd:import namespace="http://schemas.microsoft.com/office/2006/documentManagement/types"/>
    <xsd:import namespace="http://schemas.microsoft.com/office/infopath/2007/PartnerControls"/>
    <xsd:element name="Event_x0020_Start_x0020_Date" ma:index="5" nillable="true" ma:displayName="Event Start Date" ma:format="DateOnly" ma:internalName="Event_x0020_Start_x0020_Date">
      <xsd:simpleType>
        <xsd:restriction base="dms:DateTime"/>
      </xsd:simpleType>
    </xsd:element>
    <xsd:element name="Event_x0020_End_x0020_Date" ma:index="6" nillable="true" ma:displayName="Event End Date" ma:format="DateOnly" ma:internalName="Event_x0020_End_x0020_Date">
      <xsd:simpleType>
        <xsd:restriction base="dms:DateTime"/>
      </xsd:simpleType>
    </xsd:element>
    <xsd:element name="Presentation_x0020_Date" ma:index="7" nillable="true" ma:displayName="Presentation Date" ma:format="DateOnly" ma:internalName="Presentation_x0020_Date" ma:readOnly="false">
      <xsd:simpleType>
        <xsd:restriction base="dms:DateTime"/>
      </xsd:simpleType>
    </xsd:element>
    <xsd:element name="MS_x0020_Speaker" ma:index="8" nillable="true" ma:displayName="MS Speaker" ma:list="UserInfo" ma:SharePointGroup="0" ma:internalName="MS_x0020_Speak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9" nillable="true" ma:displayName="Speaker" ma:internalName="External_x0020_Speaker">
      <xsd:simpleType>
        <xsd:restriction base="dms:Text">
          <xsd:maxLength value="255"/>
        </xsd:restriction>
      </xsd:simpleType>
    </xsd:element>
    <xsd:element name="Session_x0020_Code" ma:index="13" nillable="true" ma:displayName="Session Code" ma:internalName="Session_x0020_Code" ma:readOnly="false">
      <xsd:simpleType>
        <xsd:restriction base="dms:Text">
          <xsd:maxLength value="255"/>
        </xsd:restriction>
      </xsd:simpleType>
    </xsd:element>
    <xsd:element name="MS_x0020_Content_x0020_Owner" ma:index="15"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axCatchAll" ma:index="18" nillable="true" ma:displayName="Taxonomy Catch All Column" ma:hidden="true" ma:list="{09db2fa7-4ee4-4bb3-80e9-fade681f539b}" ma:internalName="TaxCatchAll" ma:showField="CatchAllData" ma:web="2295e2e7-0eeb-498e-8716-217bb2ee6ee3">
      <xsd:complexType>
        <xsd:complexContent>
          <xsd:extension base="dms:MultiChoiceLookup">
            <xsd:sequence>
              <xsd:element name="Value" type="dms:Lookup" maxOccurs="unbounded" minOccurs="0" nillable="true"/>
            </xsd:sequence>
          </xsd:extension>
        </xsd:complexContent>
      </xsd:complexType>
    </xsd:element>
    <xsd:element name="ProductTaxHTField0" ma:index="19" nillable="true" ma:taxonomy="true" ma:internalName="ProductTaxHTField0" ma:taxonomyFieldName="Product" ma:displayName="Product" ma:default="" ma:fieldId="{59a4a0b0-ed64-4542-a55e-4a6c70bd0ce0}" ma:taxonomyMulti="true" ma:sspId="97b7c527-f488-4fed-8d5b-5946c5598d72" ma:termSetId="723ec65c-d8cf-498e-87b8-c7868c2070aa" ma:anchorId="00000000-0000-0000-0000-000000000000" ma:open="false" ma:isKeyword="false">
      <xsd:complexType>
        <xsd:sequence>
          <xsd:element ref="pc:Terms" minOccurs="0" maxOccurs="1"/>
        </xsd:sequence>
      </xsd:complexType>
    </xsd:element>
    <xsd:element name="TaxCatchAllLabel" ma:index="20" nillable="true" ma:displayName="Taxonomy Catch All Column1" ma:hidden="true" ma:list="{09db2fa7-4ee4-4bb3-80e9-fade681f539b}" ma:internalName="TaxCatchAllLabel" ma:readOnly="true" ma:showField="CatchAllDataLabel" ma:web="2295e2e7-0eeb-498e-8716-217bb2ee6ee3">
      <xsd:complexType>
        <xsd:complexContent>
          <xsd:extension base="dms:MultiChoiceLookup">
            <xsd:sequence>
              <xsd:element name="Value" type="dms:Lookup" maxOccurs="unbounded" minOccurs="0" nillable="true"/>
            </xsd:sequence>
          </xsd:extension>
        </xsd:complexContent>
      </xsd:complexType>
    </xsd:element>
    <xsd:element name="CampaignTaxHTField0" ma:index="22" nillable="true" ma:taxonomy="true" ma:internalName="CampaignTaxHTField0" ma:taxonomyFieldName="Campaign" ma:displayName="Campaign" ma:default="" ma:fieldId="{bcb0c99d-b00c-42c6-a16b-e1e19731231d}" ma:sspId="97b7c527-f488-4fed-8d5b-5946c5598d72" ma:termSetId="138795c4-ffb5-4450-8dda-30da75617ce8" ma:anchorId="00000000-0000-0000-0000-000000000000" ma:open="false" ma:isKeyword="false">
      <xsd:complexType>
        <xsd:sequence>
          <xsd:element ref="pc:Terms" minOccurs="0" maxOccurs="1"/>
        </xsd:sequence>
      </xsd:complexType>
    </xsd:element>
    <xsd:element name="TrackTaxHTField0" ma:index="23" nillable="true" ma:taxonomy="true" ma:internalName="TrackTaxHTField0" ma:taxonomyFieldName="Track" ma:displayName="Track" ma:readOnly="false" ma:default="" ma:fieldId="{95cacdfb-fc4c-4855-b7e7-906e6cf614c7}" ma:sspId="97b7c527-f488-4fed-8d5b-5946c5598d72" ma:termSetId="0179c88a-9c61-48f9-822c-c3f082e6266e" ma:anchorId="00000000-0000-0000-0000-000000000000" ma:open="false" ma:isKeyword="false">
      <xsd:complexType>
        <xsd:sequence>
          <xsd:element ref="pc:Terms" minOccurs="0" maxOccurs="1"/>
        </xsd:sequence>
      </xsd:complexType>
    </xsd:element>
    <xsd:element name="Event_x0020_VenueTaxHTField0" ma:index="25" nillable="true" ma:taxonomy="true" ma:internalName="Event_x0020_VenueTaxHTField0" ma:taxonomyFieldName="Event_x0020_Venue" ma:displayName="Event Venue" ma:readOnly="false" ma:default="" ma:fieldId="{72225233-bea3-47c9-bcc0-70aff672e91a}" ma:sspId="97b7c527-f488-4fed-8d5b-5946c5598d72" ma:termSetId="5a094974-7eaf-4365-a0ec-3f33af6288c5" ma:anchorId="00000000-0000-0000-0000-000000000000" ma:open="false" ma:isKeyword="false">
      <xsd:complexType>
        <xsd:sequence>
          <xsd:element ref="pc:Terms" minOccurs="0" maxOccurs="1"/>
        </xsd:sequence>
      </xsd:complexType>
    </xsd:element>
    <xsd:element name="Event_x0020_LocationTaxHTField0" ma:index="27" nillable="true" ma:taxonomy="true" ma:internalName="Event_x0020_LocationTaxHTField0" ma:taxonomyFieldName="Event_x0020_Location" ma:displayName="Event Location" ma:readOnly="false" ma:default="" ma:fieldId="{721246b6-18f0-4d78-9fb7-960f4884f52f}" ma:sspId="97b7c527-f488-4fed-8d5b-5946c5598d72" ma:termSetId="b1d717b9-d701-42ce-97ea-d2b3fb10f90e" ma:anchorId="00000000-0000-0000-0000-000000000000" ma:open="true" ma:isKeyword="false">
      <xsd:complexType>
        <xsd:sequence>
          <xsd:element ref="pc:Terms" minOccurs="0" maxOccurs="1"/>
        </xsd:sequence>
      </xsd:complexType>
    </xsd:element>
    <xsd:element name="Event1TaxHTField0" ma:index="30" ma:taxonomy="true" ma:internalName="Event1TaxHTField0" ma:taxonomyFieldName="Event1" ma:displayName="Event Name" ma:readOnly="false" ma:default="" ma:fieldId="{173efa96-a0c5-4b7e-a5c5-ebf0027a79b9}" ma:sspId="97b7c527-f488-4fed-8d5b-5946c5598d72" ma:termSetId="9f06399b-0da0-4c2b-9299-a3eed5ae7f49" ma:anchorId="00000000-0000-0000-0000-000000000000"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b529f77-48ab-4581-b468-93f09345b8aa" elementFormDefault="qualified">
    <xsd:import namespace="http://schemas.microsoft.com/office/2006/documentManagement/types"/>
    <xsd:import namespace="http://schemas.microsoft.com/office/infopath/2007/PartnerControls"/>
    <xsd:element name="AudienceTaxHTField0" ma:index="26" nillable="true" ma:taxonomy="true" ma:internalName="AudienceTaxHTField0" ma:taxonomyFieldName="Audience" ma:displayName="Audience" ma:readOnly="false" ma:default="" ma:fieldId="{6a4ad93e-f836-4089-85dd-0b5a8d4c5063}" ma:taxonomyMulti="true" ma:sspId="97b7c527-f488-4fed-8d5b-5946c5598d72" ma:termSetId="c7e95267-347d-4fd5-a34e-50bd1fa28ece"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8"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rackTaxHTField0 xmlns="2295e2e7-0eeb-498e-8716-217bb2ee6ee3">
      <Terms xmlns="http://schemas.microsoft.com/office/infopath/2007/PartnerControls"/>
    </TrackTaxHTField0>
    <CampaignTaxHTField0 xmlns="2295e2e7-0eeb-498e-8716-217bb2ee6ee3">
      <Terms xmlns="http://schemas.microsoft.com/office/infopath/2007/PartnerControls"/>
    </CampaignTaxHTField0>
    <Event_x0020_End_x0020_Date xmlns="2295e2e7-0eeb-498e-8716-217bb2ee6ee3">2012-06-14T07:00:00+00:00</Event_x0020_End_x0020_Date>
    <Event_x0020_Start_x0020_Date xmlns="2295e2e7-0eeb-498e-8716-217bb2ee6ee3">2012-06-11T07:00:00+00:00</Event_x0020_Start_x0020_Date>
    <MS_x0020_Speaker xmlns="2295e2e7-0eeb-498e-8716-217bb2ee6ee3">
      <UserInfo>
        <DisplayName/>
        <AccountId xsi:nil="true"/>
        <AccountType/>
      </UserInfo>
    </MS_x0020_Speaker>
    <External_x0020_Speaker xmlns="2295e2e7-0eeb-498e-8716-217bb2ee6ee3">Heath Aubin</External_x0020_Speaker>
    <Session_x0020_Code xmlns="2295e2e7-0eeb-498e-8716-217bb2ee6ee3">AAP201</Session_x0020_Code>
    <ProductTaxHTField0 xmlns="2295e2e7-0eeb-498e-8716-217bb2ee6ee3">
      <Terms xmlns="http://schemas.microsoft.com/office/infopath/2007/PartnerControls"/>
    </ProductTaxHTField0>
    <Presentation_x0020_Date xmlns="2295e2e7-0eeb-498e-8716-217bb2ee6ee3">2012-06-13T00:00:00</Presentation_x0020_Date>
    <Event_x0020_LocationTaxHTField0 xmlns="2295e2e7-0eeb-498e-8716-217bb2ee6ee3">
      <Terms xmlns="http://schemas.microsoft.com/office/infopath/2007/PartnerControls">
        <TermInfo xmlns="http://schemas.microsoft.com/office/infopath/2007/PartnerControls">
          <TermName xmlns="http://schemas.microsoft.com/office/infopath/2007/PartnerControls">Orlando</TermName>
          <TermId xmlns="http://schemas.microsoft.com/office/infopath/2007/PartnerControls">99ded043-d247-43a1-9b7a-028ecd66d1eb</TermId>
        </TermInfo>
      </Terms>
    </Event_x0020_LocationTaxHTField0>
    <Event1TaxHTField0 xmlns="2295e2e7-0eeb-498e-8716-217bb2ee6ee3">
      <Terms xmlns="http://schemas.microsoft.com/office/infopath/2007/PartnerControls">
        <TermInfo xmlns="http://schemas.microsoft.com/office/infopath/2007/PartnerControls">
          <TermName xmlns="http://schemas.microsoft.com/office/infopath/2007/PartnerControls">TechEd</TermName>
          <TermId xmlns="http://schemas.microsoft.com/office/infopath/2007/PartnerControls">ac8fad57-eb30-43a8-b5bd-05dcf2cf2246</TermId>
        </TermInfo>
      </Terms>
    </Event1TaxHTField0>
    <AudienceTaxHTField0 xmlns="8b529f77-48ab-4581-b468-93f09345b8aa">
      <Terms xmlns="http://schemas.microsoft.com/office/infopath/2007/PartnerControls"/>
    </AudienceTaxHTField0>
    <MS_x0020_Content_x0020_Owner xmlns="2295e2e7-0eeb-498e-8716-217bb2ee6ee3">
      <UserInfo>
        <DisplayName/>
        <AccountId xsi:nil="true"/>
        <AccountType/>
      </UserInfo>
    </MS_x0020_Content_x0020_Owner>
    <TaxCatchAll xmlns="2295e2e7-0eeb-498e-8716-217bb2ee6ee3">
      <Value>126</Value>
      <Value>232</Value>
      <Value>231</Value>
    </TaxCatchAll>
    <Event_x0020_VenueTaxHTField0 xmlns="2295e2e7-0eeb-498e-8716-217bb2ee6ee3">
      <Terms xmlns="http://schemas.microsoft.com/office/infopath/2007/PartnerControls">
        <TermInfo xmlns="http://schemas.microsoft.com/office/infopath/2007/PartnerControls">
          <TermName xmlns="http://schemas.microsoft.com/office/infopath/2007/PartnerControls">Orange County Convention Center Orlando, FL</TermName>
          <TermId xmlns="http://schemas.microsoft.com/office/infopath/2007/PartnerControls">bd993e89-aa48-4695-84e0-3b53e88b1a79</TermId>
        </TermInfo>
      </Terms>
    </Event_x0020_VenueTaxHTField0>
  </documentManagement>
</p:properties>
</file>

<file path=customXml/itemProps1.xml><?xml version="1.0" encoding="utf-8"?>
<ds:datastoreItem xmlns:ds="http://schemas.openxmlformats.org/officeDocument/2006/customXml" ds:itemID="{B1F76A61-5CBF-46B3-9760-66C9F362D41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295e2e7-0eeb-498e-8716-217bb2ee6ee3"/>
    <ds:schemaRef ds:uri="8b529f77-48ab-4581-b468-93f09345b8a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F1FE425-EA36-4D8C-A967-84CE3BED24D2}">
  <ds:schemaRefs>
    <ds:schemaRef ds:uri="http://schemas.microsoft.com/sharepoint/v3/contenttype/forms"/>
  </ds:schemaRefs>
</ds:datastoreItem>
</file>

<file path=customXml/itemProps3.xml><?xml version="1.0" encoding="utf-8"?>
<ds:datastoreItem xmlns:ds="http://schemas.openxmlformats.org/officeDocument/2006/customXml" ds:itemID="{76D92E10-3D8B-4831-9584-7BC82972C8E2}">
  <ds:schemaRefs>
    <ds:schemaRef ds:uri="http://purl.org/dc/terms/"/>
    <ds:schemaRef ds:uri="http://www.w3.org/XML/1998/namespace"/>
    <ds:schemaRef ds:uri="2295e2e7-0eeb-498e-8716-217bb2ee6ee3"/>
    <ds:schemaRef ds:uri="http://schemas.microsoft.com/office/2006/documentManagement/types"/>
    <ds:schemaRef ds:uri="http://purl.org/dc/elements/1.1/"/>
    <ds:schemaRef ds:uri="http://schemas.microsoft.com/office/2006/metadata/properties"/>
    <ds:schemaRef ds:uri="http://purl.org/dc/dcmitype/"/>
    <ds:schemaRef ds:uri="http://schemas.openxmlformats.org/package/2006/metadata/core-properties"/>
    <ds:schemaRef ds:uri="http://schemas.microsoft.com/office/infopath/2007/PartnerControls"/>
    <ds:schemaRef ds:uri="8b529f77-48ab-4581-b468-93f09345b8aa"/>
  </ds:schemaRefs>
</ds:datastoreItem>
</file>

<file path=docProps/app.xml><?xml version="1.0" encoding="utf-8"?>
<Properties xmlns="http://schemas.openxmlformats.org/officeDocument/2006/extended-properties" xmlns:vt="http://schemas.openxmlformats.org/officeDocument/2006/docPropsVTypes">
  <Template>TechEd_2012_Template_16x9</Template>
  <TotalTime>1077</TotalTime>
  <Words>37483</Words>
  <Application>Microsoft Office PowerPoint</Application>
  <PresentationFormat>全屏显示(16:9)</PresentationFormat>
  <Paragraphs>9146</Paragraphs>
  <Slides>507</Slides>
  <Notes>323</Notes>
  <HiddenSlides>0</HiddenSlides>
  <MMClips>1</MMClips>
  <ScaleCrop>false</ScaleCrop>
  <HeadingPairs>
    <vt:vector size="6" baseType="variant">
      <vt:variant>
        <vt:lpstr>主题</vt:lpstr>
      </vt:variant>
      <vt:variant>
        <vt:i4>9</vt:i4>
      </vt:variant>
      <vt:variant>
        <vt:lpstr>嵌入 OLE 服务器</vt:lpstr>
      </vt:variant>
      <vt:variant>
        <vt:i4>1</vt:i4>
      </vt:variant>
      <vt:variant>
        <vt:lpstr>幻灯片标题</vt:lpstr>
      </vt:variant>
      <vt:variant>
        <vt:i4>507</vt:i4>
      </vt:variant>
    </vt:vector>
  </HeadingPairs>
  <TitlesOfParts>
    <vt:vector size="517" baseType="lpstr">
      <vt:lpstr>TechEd_2012_Template_16x9</vt:lpstr>
      <vt:lpstr>White with Consolas font for code slides</vt:lpstr>
      <vt:lpstr>1_TechEd_2012_Template_16x9</vt:lpstr>
      <vt:lpstr>2_TechEd_2012_Template_16x9</vt:lpstr>
      <vt:lpstr>TechEd_WindowsAzure_Template_16x9</vt:lpstr>
      <vt:lpstr>1_TechEd_WindowsAzure_Template_16x9</vt:lpstr>
      <vt:lpstr>3_TechEd_2012_Template_16x9</vt:lpstr>
      <vt:lpstr>MS1444_Windows Azure Template 16x9_r08a</vt:lpstr>
      <vt:lpstr>1_MS1444_Windows Azure Template 16x9_r08a</vt:lpstr>
      <vt:lpstr>think-cell Slide</vt:lpstr>
      <vt:lpstr>Hybrid Computing is the New Net Norm</vt:lpstr>
      <vt:lpstr>PowerPoint 演示文稿</vt:lpstr>
      <vt:lpstr>PowerPoint 演示文稿</vt:lpstr>
      <vt:lpstr>Private Cloud- Storage</vt:lpstr>
      <vt:lpstr>Why Virtualization Projects Fail</vt:lpstr>
      <vt:lpstr>Private Cloud Considerations</vt:lpstr>
      <vt:lpstr>Demo Pooled Storage </vt:lpstr>
      <vt:lpstr>Grey's Anatomy</vt:lpstr>
      <vt:lpstr>Icons</vt:lpstr>
      <vt:lpstr>Icons Reversed</vt:lpstr>
      <vt:lpstr>Partner Title</vt:lpstr>
      <vt:lpstr>Customer Title</vt:lpstr>
      <vt:lpstr>Announcement Title</vt:lpstr>
      <vt:lpstr>Title</vt:lpstr>
      <vt:lpstr>New platform/new applications</vt:lpstr>
      <vt:lpstr>Key concepts</vt:lpstr>
      <vt:lpstr>PowerPoint 演示文稿</vt:lpstr>
      <vt:lpstr>Adaptive insightful experience</vt:lpstr>
      <vt:lpstr>New Windows Server 2012 Book</vt:lpstr>
      <vt:lpstr>PowerPoint 演示文稿</vt:lpstr>
      <vt:lpstr>PowerPoint 演示文稿</vt:lpstr>
      <vt:lpstr>Datacenter Services</vt:lpstr>
      <vt:lpstr>Datacenter Services</vt:lpstr>
      <vt:lpstr>Royal Mail</vt:lpstr>
      <vt:lpstr>PowerPoint 演示文稿</vt:lpstr>
      <vt:lpstr>PowerPoint 演示文稿</vt:lpstr>
      <vt:lpstr>application building blocks</vt:lpstr>
      <vt:lpstr>PowerPoint 演示文稿</vt:lpstr>
      <vt:lpstr>Windows Azure World-Class By Design</vt:lpstr>
      <vt:lpstr>Windows Azure Global Presence </vt:lpstr>
      <vt:lpstr>Platform-Level DR Preparedness</vt:lpstr>
      <vt:lpstr>Platform Services</vt:lpstr>
      <vt:lpstr>Roadmap: Evolution of HA in SQL Azure</vt:lpstr>
      <vt:lpstr>Application Design Best Practices</vt:lpstr>
      <vt:lpstr>Things To Think About</vt:lpstr>
      <vt:lpstr>Using Windows Azure as Online Backup  with Windows Server 2012</vt:lpstr>
      <vt:lpstr>Comprehensive Compliance Framework</vt:lpstr>
      <vt:lpstr>Public Cloud  Common Use Case Scenarios * </vt:lpstr>
      <vt:lpstr>Hybrid IT | Definitions</vt:lpstr>
      <vt:lpstr>Application Portfolio Management </vt:lpstr>
      <vt:lpstr>Microsoft Cloud</vt:lpstr>
      <vt:lpstr>Windows Azure Cross-Premises Connectivity</vt:lpstr>
      <vt:lpstr>How to make money?</vt:lpstr>
      <vt:lpstr>cloud data services</vt:lpstr>
      <vt:lpstr>Big Data</vt:lpstr>
      <vt:lpstr>PowerPoint 演示文稿</vt:lpstr>
      <vt:lpstr>SQL Server in a Virtual Machine</vt:lpstr>
      <vt:lpstr>Common Scenarios</vt:lpstr>
      <vt:lpstr>PowerPoint 演示文稿</vt:lpstr>
      <vt:lpstr>Inside Windows Azure SQL Database</vt:lpstr>
      <vt:lpstr>BizTalk PaaS: Azure EAI Services</vt:lpstr>
      <vt:lpstr>EDI Service – Order Processing Scenario</vt:lpstr>
      <vt:lpstr>PowerPoint 演示文稿</vt:lpstr>
      <vt:lpstr>Windows Azure Web Sites</vt:lpstr>
      <vt:lpstr>Windows Azure Web Sites</vt:lpstr>
      <vt:lpstr>Supported Deployment Protocols</vt:lpstr>
      <vt:lpstr>PowerPoint 演示文稿</vt:lpstr>
      <vt:lpstr>Migrating to Virtual Machines</vt:lpstr>
      <vt:lpstr>Features in Action</vt:lpstr>
      <vt:lpstr>Storage: What are our options?</vt:lpstr>
      <vt:lpstr>Platform Services</vt:lpstr>
      <vt:lpstr>Summary</vt:lpstr>
      <vt:lpstr>Compute: What are our Options?</vt:lpstr>
      <vt:lpstr>Push Notifications</vt:lpstr>
      <vt:lpstr>application building blocks</vt:lpstr>
      <vt:lpstr>Listening to you</vt:lpstr>
      <vt:lpstr>PowerPoint 演示文稿</vt:lpstr>
      <vt:lpstr>Benefits of the new caching model</vt:lpstr>
      <vt:lpstr>Benefits of the new caching model</vt:lpstr>
      <vt:lpstr>Beyond Public Cloud</vt:lpstr>
      <vt:lpstr>All About the Apps</vt:lpstr>
      <vt:lpstr>Why Forklift?</vt:lpstr>
      <vt:lpstr>What will work on upload…</vt:lpstr>
      <vt:lpstr>Agenda</vt:lpstr>
      <vt:lpstr>Windows Azure Hybrid and Connectivity Options</vt:lpstr>
      <vt:lpstr>Azure Cross-premises Connectivity</vt:lpstr>
      <vt:lpstr>Hosting Multiple Customers with Overlapping Address Spaces</vt:lpstr>
      <vt:lpstr>WF Value Props</vt:lpstr>
      <vt:lpstr>Characteristics of Big Data</vt:lpstr>
      <vt:lpstr>More Data From: Internet, Internet of Things</vt:lpstr>
      <vt:lpstr>Reporting Services for All Users</vt:lpstr>
      <vt:lpstr>For IT Administration</vt:lpstr>
      <vt:lpstr>Core Marketplace Services</vt:lpstr>
      <vt:lpstr>Marketplace Content</vt:lpstr>
      <vt:lpstr>Agenda</vt:lpstr>
      <vt:lpstr>Journey to Cloud Evolution of Virtualization</vt:lpstr>
      <vt:lpstr>Pillars of the Microsoft Private Cloud</vt:lpstr>
      <vt:lpstr>Planning Inventory and Size</vt:lpstr>
      <vt:lpstr>Deploying Set up and Configure</vt:lpstr>
      <vt:lpstr>Managing Manage and Operate</vt:lpstr>
      <vt:lpstr>Database Consolidation Appliance</vt:lpstr>
      <vt:lpstr>Reduce TCO and SCALE TO 1000’s of Databases</vt:lpstr>
      <vt:lpstr>Summary</vt:lpstr>
      <vt:lpstr>PowerPoint 演示文稿</vt:lpstr>
      <vt:lpstr>PowerPoint 演示文稿</vt:lpstr>
      <vt:lpstr>PowerPoint 演示文稿</vt:lpstr>
      <vt:lpstr>PowerPoint 演示文稿</vt:lpstr>
      <vt:lpstr>Session Takeaway</vt:lpstr>
      <vt:lpstr>BI Areas, Tools and Matchup</vt:lpstr>
      <vt:lpstr>Introducing SQL Server Data Tools</vt:lpstr>
      <vt:lpstr>Connected Development</vt:lpstr>
      <vt:lpstr>Project Based Development</vt:lpstr>
      <vt:lpstr>Schema Deployment</vt:lpstr>
      <vt:lpstr>PowerPoint 演示文稿</vt:lpstr>
      <vt:lpstr>Challenges</vt:lpstr>
      <vt:lpstr>PowerPivot in the Microsoft BI Solution Stack</vt:lpstr>
      <vt:lpstr>Trends</vt:lpstr>
      <vt:lpstr>PowerPoint 演示文稿</vt:lpstr>
      <vt:lpstr>Developer Experience</vt:lpstr>
      <vt:lpstr>The Tool for Windows</vt:lpstr>
      <vt:lpstr>Work with HTML5</vt:lpstr>
      <vt:lpstr>Engineering Trends</vt:lpstr>
      <vt:lpstr>PowerPivot for SharePoint Features</vt:lpstr>
      <vt:lpstr>Upgrading or Patching Multi-Server Farms Multiple PowerPivot Application Servers</vt:lpstr>
      <vt:lpstr>Agenda</vt:lpstr>
      <vt:lpstr>Key App Model Concepts</vt:lpstr>
      <vt:lpstr>Packages</vt:lpstr>
      <vt:lpstr>Line of business apps</vt:lpstr>
      <vt:lpstr>Windows 8</vt:lpstr>
      <vt:lpstr>Types of Metro Style Apps</vt:lpstr>
      <vt:lpstr>Authentication and Security Meeting enterprise standards</vt:lpstr>
      <vt:lpstr>Testing LOB Apps</vt:lpstr>
      <vt:lpstr>Support</vt:lpstr>
      <vt:lpstr>Metro style LOB apps tools</vt:lpstr>
      <vt:lpstr>Cloud Drivers</vt:lpstr>
      <vt:lpstr>Customer Scenarios </vt:lpstr>
      <vt:lpstr>Solutions that Span Customer Scenarios </vt:lpstr>
      <vt:lpstr>The Enterprise Agreement Supports Your Cloud </vt:lpstr>
      <vt:lpstr>Contoso Retail and the Hosted Private Cloud Moved Business Intelligence SQL application a global hosting partner to ensure24/7 access and lower operational costs </vt:lpstr>
      <vt:lpstr>Office 365</vt:lpstr>
      <vt:lpstr>Office 365:  Kiosk Plans</vt:lpstr>
      <vt:lpstr>The Enterprise Agreement Supports Your Cloud </vt:lpstr>
      <vt:lpstr>Smooth Transition to Cloud Services Over Time EA flexibility enables the transition to a variety of cloud services optimized to user requirements</vt:lpstr>
      <vt:lpstr>Contoso Retail and the Cloud </vt:lpstr>
      <vt:lpstr>Industry Transformations </vt:lpstr>
      <vt:lpstr>Managing Services in Multiple Clouds</vt:lpstr>
      <vt:lpstr>System Requirements</vt:lpstr>
      <vt:lpstr>How Did Customers Migrate To Configmgr 2007?</vt:lpstr>
      <vt:lpstr>Objects Supported By Migration</vt:lpstr>
      <vt:lpstr>Overview: System Center 2012 VMM</vt:lpstr>
      <vt:lpstr>The Fantastic 12 of</vt:lpstr>
      <vt:lpstr>The Fantastic 12 of</vt:lpstr>
      <vt:lpstr>The Fantastic 12 of</vt:lpstr>
      <vt:lpstr>The Fantastic 12 of</vt:lpstr>
      <vt:lpstr>THE FANTASTIC 12 OF</vt:lpstr>
      <vt:lpstr>The Fantastic 12 of</vt:lpstr>
      <vt:lpstr>The Fantastic 12 of</vt:lpstr>
      <vt:lpstr>The Fantastic 12 of</vt:lpstr>
      <vt:lpstr>The Fantastic 12 of</vt:lpstr>
      <vt:lpstr>The Fantastic 12 of</vt:lpstr>
      <vt:lpstr>The Fantastic 12 of</vt:lpstr>
      <vt:lpstr>What We Heard from You</vt:lpstr>
      <vt:lpstr>PowerPoint 演示文稿</vt:lpstr>
      <vt:lpstr>PowerPoint 演示文稿</vt:lpstr>
      <vt:lpstr>The Fantastic 12 of</vt:lpstr>
      <vt:lpstr>Related Content</vt:lpstr>
      <vt:lpstr>PowerPoint 演示文稿</vt:lpstr>
      <vt:lpstr>PowerPoint 演示文稿</vt:lpstr>
      <vt:lpstr>PowerPoint 演示文稿</vt:lpstr>
      <vt:lpstr>System Center 2012 Configuration Manager</vt:lpstr>
      <vt:lpstr>Building Your Compliance Management Solution With Configuration Manager 2012</vt:lpstr>
      <vt:lpstr>Plan and Configure: Administration</vt:lpstr>
      <vt:lpstr>BUILDING YOUR COMPLIANCE MANAGEMENT SOLUTION  WITH CONFIGURATION MANAGER 2012</vt:lpstr>
      <vt:lpstr>SYSTEM CENTER HELPS DELIVER IT AS A SERVICE</vt:lpstr>
      <vt:lpstr>Overview: System Center 2012 VMM</vt:lpstr>
      <vt:lpstr>Themes: System Center 2012 SP1 VMM</vt:lpstr>
      <vt:lpstr>PROVISION INFRASTRUCTURE</vt:lpstr>
      <vt:lpstr>Power Optimization Example</vt:lpstr>
      <vt:lpstr>TRANSFORM YOUR DATACENTER INTO A PRIVATE CLOUD</vt:lpstr>
      <vt:lpstr>Agenda</vt:lpstr>
      <vt:lpstr>Datacenter Characters – An Introduction</vt:lpstr>
      <vt:lpstr>PowerPoint 演示文稿</vt:lpstr>
      <vt:lpstr>PowerPoint 演示文稿</vt:lpstr>
      <vt:lpstr>Automate Datacenter – Why?</vt:lpstr>
      <vt:lpstr>PowerPoint 演示文稿</vt:lpstr>
      <vt:lpstr>Automation in Datacenter – How? System Center 2012 tie together to deliver IT as a Service</vt:lpstr>
      <vt:lpstr>Virtual Machine Manager 2012</vt:lpstr>
      <vt:lpstr>Provision Infrastructure</vt:lpstr>
      <vt:lpstr>Dynamically Optimized Infrastructure</vt:lpstr>
      <vt:lpstr>Standardize Services</vt:lpstr>
      <vt:lpstr>Operations Manager 2012</vt:lpstr>
      <vt:lpstr>Key Benefits of Automation</vt:lpstr>
      <vt:lpstr>Predictable Application Performance</vt:lpstr>
      <vt:lpstr>System Center Helps Deliver IT as a Service</vt:lpstr>
      <vt:lpstr>Service Delivery and Automation Key Value Enablers</vt:lpstr>
      <vt:lpstr>Trends in BI</vt:lpstr>
      <vt:lpstr>Collaborative Business Intelligence</vt:lpstr>
      <vt:lpstr>Our unique value proposition</vt:lpstr>
      <vt:lpstr>Microsoft BI Architecture</vt:lpstr>
      <vt:lpstr>The Microsoft Difference</vt:lpstr>
      <vt:lpstr>PowerPoint 演示文稿</vt:lpstr>
      <vt:lpstr>PowerPoint 演示文稿</vt:lpstr>
      <vt:lpstr>PowerPoint 演示文稿</vt:lpstr>
      <vt:lpstr>PowerPoint 演示文稿</vt:lpstr>
      <vt:lpstr>PowerPoint 演示文稿</vt:lpstr>
      <vt:lpstr>Feedback from Service Providers</vt:lpstr>
      <vt:lpstr>SPF Enables Hosted IaaS</vt:lpstr>
      <vt:lpstr>Microsoft Private Cloud Defined</vt:lpstr>
      <vt:lpstr>Cloud Drivers</vt:lpstr>
      <vt:lpstr>PowerPoint 演示文稿</vt:lpstr>
      <vt:lpstr>PowerPoint 演示文稿</vt:lpstr>
      <vt:lpstr>PowerPoint 演示文稿</vt:lpstr>
      <vt:lpstr>Industry Trends</vt:lpstr>
      <vt:lpstr>Access Challenges</vt:lpstr>
      <vt:lpstr>Management Challenges</vt:lpstr>
      <vt:lpstr>Security Challenges</vt:lpstr>
      <vt:lpstr>Importance of Identity</vt:lpstr>
      <vt:lpstr>Identity is Essential for Cloud Computing</vt:lpstr>
      <vt:lpstr>How Microsoft Views Identity</vt:lpstr>
      <vt:lpstr>Administration</vt:lpstr>
      <vt:lpstr>Authentication</vt:lpstr>
      <vt:lpstr>Authorization</vt:lpstr>
      <vt:lpstr>Audit</vt:lpstr>
      <vt:lpstr>Identity is Essential for Cloud Computing</vt:lpstr>
      <vt:lpstr>Building an Identity Strategy</vt:lpstr>
      <vt:lpstr>PowerPoint 演示文稿</vt:lpstr>
      <vt:lpstr>Windows Azure</vt:lpstr>
      <vt:lpstr>Agenda</vt:lpstr>
      <vt:lpstr>Private Cloud Attributes</vt:lpstr>
      <vt:lpstr>The Microsoft Private Cloud</vt:lpstr>
      <vt:lpstr>Cross Platform from the Metal Up</vt:lpstr>
      <vt:lpstr>Session Focus</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Agenda</vt:lpstr>
      <vt:lpstr>Configure and Deploy Fabric</vt:lpstr>
      <vt:lpstr>Automated Bare-Metal Hyper-V Deploy in Action</vt:lpstr>
      <vt:lpstr>Standardize Application Deployment : Service Templates</vt:lpstr>
      <vt:lpstr>System Center 2012 Capabilities</vt:lpstr>
      <vt:lpstr>The complete application monitoring solution</vt:lpstr>
      <vt:lpstr>Application delivery lifecycle - Revisited</vt:lpstr>
      <vt:lpstr>Evolution of Microsoft Client Management</vt:lpstr>
      <vt:lpstr>Challenges to Enabling Consumerization</vt:lpstr>
      <vt:lpstr>System Center 2012 Configuration Manager</vt:lpstr>
      <vt:lpstr>User-centric Application Delivery New Application Model</vt:lpstr>
      <vt:lpstr>Reduced Infrastructure Requirements</vt:lpstr>
      <vt:lpstr>Comprehensive Protection Stack  Building on Windows Platform security</vt:lpstr>
      <vt:lpstr>Behavior Monitoring And Dynamic Signatures</vt:lpstr>
      <vt:lpstr>Summary</vt:lpstr>
      <vt:lpstr>Replication Data Types, cont.</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Windows Phone Updates </vt:lpstr>
      <vt:lpstr>PowerPoint 演示文稿</vt:lpstr>
      <vt:lpstr>PowerPoint 演示文稿</vt:lpstr>
      <vt:lpstr>PowerPoint 演示文稿</vt:lpstr>
      <vt:lpstr>Align SharePoint with Strategy</vt:lpstr>
      <vt:lpstr>Transform IT to an Agile Service</vt:lpstr>
      <vt:lpstr>Business Connectivity Services (BCS)</vt:lpstr>
      <vt:lpstr>Fabrikam: end-2-end Business Scenario</vt:lpstr>
      <vt:lpstr>Agenda</vt:lpstr>
      <vt:lpstr>Traditional Compatibility Approach</vt:lpstr>
      <vt:lpstr>Traditional Compatibility Approach Benefits</vt:lpstr>
      <vt:lpstr>Traditional Compatibility Approach Pitfalls</vt:lpstr>
      <vt:lpstr>Modern Office Compatibility Process</vt:lpstr>
      <vt:lpstr>Discovery/Rationalization Using Tools</vt:lpstr>
      <vt:lpstr>Proactive Testing Activities</vt:lpstr>
      <vt:lpstr>PowerPoint 演示文稿</vt:lpstr>
      <vt:lpstr>Project, Resource, and Portfolio Management</vt:lpstr>
      <vt:lpstr>Web server CPU utilization should be the bottleneck</vt:lpstr>
      <vt:lpstr>Key Scale Tools: The Caches</vt:lpstr>
      <vt:lpstr>COMPUTING AND SOCIETAL TRENDS</vt:lpstr>
      <vt:lpstr>BIG SHIFTS: OPPORTUNITY &amp; RISK</vt:lpstr>
      <vt:lpstr>LEARNING FROM THE PAST </vt:lpstr>
      <vt:lpstr>MANAGING RISK AT ALL LAYERS</vt:lpstr>
      <vt:lpstr>RESPONSIBILITIES</vt:lpstr>
      <vt:lpstr>PHYSICAL SECURITY–  Some of the measures we employ:</vt:lpstr>
      <vt:lpstr>DISTRIBUTED SERVICES</vt:lpstr>
      <vt:lpstr>TYPES OF FAILURE</vt:lpstr>
      <vt:lpstr>IDENTITY ACCESS MANAGEMENT</vt:lpstr>
      <vt:lpstr>MICROSOFT SECURITY DEVELOPMENT LIFECYCLE</vt:lpstr>
      <vt:lpstr>TRUSTWORTHY COMPUTING</vt:lpstr>
      <vt:lpstr>RISK MANAGEMENT PROCESS</vt:lpstr>
      <vt:lpstr>PROTECTING DATA IN THE CLOUD</vt:lpstr>
      <vt:lpstr>CONSIDERATIONS FOR CHOICE IN CLOUD SERVICES PROVIDER</vt:lpstr>
      <vt:lpstr>Agenda</vt:lpstr>
      <vt:lpstr>Agenda</vt:lpstr>
      <vt:lpstr>New Demands on IT</vt:lpstr>
      <vt:lpstr>Information Protection</vt:lpstr>
      <vt:lpstr>AD Rights Management Services</vt:lpstr>
      <vt:lpstr>Dynamic Access Control 101</vt:lpstr>
      <vt:lpstr>Classify Information</vt:lpstr>
      <vt:lpstr>Centralized Access to Files</vt:lpstr>
      <vt:lpstr>Dynamic Access Control on File Servers</vt:lpstr>
      <vt:lpstr>New Demands on IT</vt:lpstr>
      <vt:lpstr>Information Protection</vt:lpstr>
      <vt:lpstr>AD Rights Management Services</vt:lpstr>
      <vt:lpstr>Dynamic Access Control 101</vt:lpstr>
      <vt:lpstr>Classify Information</vt:lpstr>
      <vt:lpstr>Centralized Access to Files</vt:lpstr>
      <vt:lpstr>Dynamic Access Control on File Servers</vt:lpstr>
      <vt:lpstr>Agenda</vt:lpstr>
      <vt:lpstr>Areas of Focus</vt:lpstr>
      <vt:lpstr>Windows Edition and Device Considerations</vt:lpstr>
      <vt:lpstr>Windows 8 investments in client security</vt:lpstr>
      <vt:lpstr>Recycle Bin: Lifecycle</vt:lpstr>
      <vt:lpstr>Look a Little Closer!</vt:lpstr>
      <vt:lpstr>And Again…</vt:lpstr>
      <vt:lpstr>And Again…</vt:lpstr>
      <vt:lpstr>And Again…</vt:lpstr>
      <vt:lpstr>And Again…</vt:lpstr>
      <vt:lpstr>And So On…</vt:lpstr>
      <vt:lpstr>System Center 2012 SP1</vt:lpstr>
      <vt:lpstr>Evolution of Clouds</vt:lpstr>
      <vt:lpstr>Windows Server 2012 Cloud Optimize Your IT</vt:lpstr>
      <vt:lpstr>Compete to Win | The Series</vt:lpstr>
      <vt:lpstr>Choices, Choices, Choices….</vt:lpstr>
      <vt:lpstr>Hyper-V Server | Use Cases</vt:lpstr>
      <vt:lpstr>Comparison | 4 Key Areas</vt:lpstr>
      <vt:lpstr>Hyper-V | Enhanced Storage Capabilities</vt:lpstr>
      <vt:lpstr>Hyper-V | Enhanced Resource Management</vt:lpstr>
      <vt:lpstr>Hyper-V | Extensible Switch</vt:lpstr>
      <vt:lpstr>Hyper-V | Physical Security</vt:lpstr>
      <vt:lpstr>Hyper-V | Virtual Machine Migration</vt:lpstr>
      <vt:lpstr>Hyper-V | Network Virtualization</vt:lpstr>
      <vt:lpstr>Hyper-V | Resiliency</vt:lpstr>
      <vt:lpstr>Hyper-V | Failover Clustering</vt:lpstr>
      <vt:lpstr>Hyper-V | Failover Clustering</vt:lpstr>
      <vt:lpstr>Summary</vt:lpstr>
      <vt:lpstr>Product View</vt:lpstr>
      <vt:lpstr>Licensing View</vt:lpstr>
      <vt:lpstr>Comparison Focus</vt:lpstr>
      <vt:lpstr>All about the App</vt:lpstr>
      <vt:lpstr>Cloud on your terms</vt:lpstr>
      <vt:lpstr>Rich Experience Everywhere</vt:lpstr>
      <vt:lpstr>RemoteFX Architecture Overview</vt:lpstr>
      <vt:lpstr>PowerPoint 演示文稿</vt:lpstr>
      <vt:lpstr>Efficient management</vt:lpstr>
      <vt:lpstr>Best Value for VDI</vt:lpstr>
      <vt:lpstr>Comparing and Reducing VDI Costs</vt:lpstr>
      <vt:lpstr>Remote Desktop Services Summary</vt:lpstr>
      <vt:lpstr>now it’s time to start deploying…</vt:lpstr>
      <vt:lpstr>PowerPoint 演示文稿</vt:lpstr>
      <vt:lpstr>Windows XP End of Support (EoS) is Coming</vt:lpstr>
      <vt:lpstr>Microsoft Desktop Virtualization</vt:lpstr>
      <vt:lpstr>modernize legacy assets</vt:lpstr>
      <vt:lpstr>application portfolio management</vt:lpstr>
      <vt:lpstr>the microsoft lightweight method</vt:lpstr>
      <vt:lpstr>PowerPoint 演示文稿</vt:lpstr>
      <vt:lpstr>PowerPoint 演示文稿</vt:lpstr>
      <vt:lpstr>PowerPoint 演示文稿</vt:lpstr>
      <vt:lpstr>PowerPoint 演示文稿</vt:lpstr>
      <vt:lpstr>VISION Deliver the best Windows experience, embrace consumerization trends with  enterprise-class management</vt:lpstr>
      <vt:lpstr>A World of Connected Devices</vt:lpstr>
      <vt:lpstr>Windows 8 for Enterprise</vt:lpstr>
      <vt:lpstr>PowerPoint 演示文稿</vt:lpstr>
      <vt:lpstr>Economics and Evidence*</vt:lpstr>
      <vt:lpstr>Windows MultiPoint Server 2012</vt:lpstr>
      <vt:lpstr>Windows MultiPoint Server 2012</vt:lpstr>
      <vt:lpstr>Key Feature Summary</vt:lpstr>
      <vt:lpstr>Windows Server capabilities </vt:lpstr>
      <vt:lpstr>Networking</vt:lpstr>
      <vt:lpstr>Server virtualization</vt:lpstr>
      <vt:lpstr>Web and application platform</vt:lpstr>
      <vt:lpstr>Security and access</vt:lpstr>
      <vt:lpstr>Virtual Desktop Infrastructure</vt:lpstr>
      <vt:lpstr>Windows Server 2012: Cloud optimize your IT</vt:lpstr>
      <vt:lpstr>Self Service Management and Automation</vt:lpstr>
      <vt:lpstr>Hosting Leads The Shift to Cloud</vt:lpstr>
      <vt:lpstr>Comprehensive Cloud Platform</vt:lpstr>
      <vt:lpstr>Additional Service on same infrastructure</vt:lpstr>
      <vt:lpstr>Summary </vt:lpstr>
      <vt:lpstr>PowerPoint 演示文稿</vt:lpstr>
      <vt:lpstr>Consistent Customer Feedback</vt:lpstr>
      <vt:lpstr>Server Storage in Windows Server 2012</vt:lpstr>
      <vt:lpstr>Top 10 capabilities to answer challenges</vt:lpstr>
      <vt:lpstr>Unified management of storage</vt:lpstr>
      <vt:lpstr>PowerPoint 演示文稿</vt:lpstr>
      <vt:lpstr>PowerPoint 演示文稿</vt:lpstr>
      <vt:lpstr>The Solution</vt:lpstr>
      <vt:lpstr>The Solution</vt:lpstr>
      <vt:lpstr>PowerPoint 演示文稿</vt:lpstr>
      <vt:lpstr>PowerPoint 演示文稿</vt:lpstr>
      <vt:lpstr>PowerPoint 演示文稿</vt:lpstr>
      <vt:lpstr>PowerPoint 演示文稿</vt:lpstr>
      <vt:lpstr>Dividing the address</vt:lpstr>
      <vt:lpstr>IPv6 Header Format</vt:lpstr>
      <vt:lpstr>PowerPoint 演示文稿</vt:lpstr>
      <vt:lpstr>PowerPoint 演示文稿</vt:lpstr>
      <vt:lpstr>Private Cloud Strategies</vt:lpstr>
      <vt:lpstr>Comprehensive Management Solution</vt:lpstr>
      <vt:lpstr>Most Deployed Update Solution in the World!</vt:lpstr>
      <vt:lpstr>Agenda</vt:lpstr>
      <vt:lpstr>NSEC, NSEC3</vt:lpstr>
      <vt:lpstr>Primary Considerations</vt:lpstr>
      <vt:lpstr>Primary Considerations</vt:lpstr>
      <vt:lpstr>Windows Server 2012 is Cloud Optimized !</vt:lpstr>
      <vt:lpstr>Securing My Web Server</vt:lpstr>
      <vt:lpstr>Scaling My Web Server</vt:lpstr>
      <vt:lpstr>Scaling My Web Server CPU Throttling: Defining The Problem</vt:lpstr>
      <vt:lpstr>Changing My Application Startup Experience</vt:lpstr>
      <vt:lpstr>BranchCache</vt:lpstr>
      <vt:lpstr>Today</vt:lpstr>
      <vt:lpstr>PowerPoint 演示文稿</vt:lpstr>
      <vt:lpstr>PowerPoint 演示文稿</vt:lpstr>
      <vt:lpstr>PowerPoint 演示文稿</vt:lpstr>
      <vt:lpstr>PowerPoint 演示文稿</vt:lpstr>
      <vt:lpstr>PowerPoint 演示文稿</vt:lpstr>
      <vt:lpstr>Tweet  #WSV336</vt:lpstr>
      <vt:lpstr>Top Trends – Market Drivers </vt:lpstr>
      <vt:lpstr>Converged Infrastructure Solutions from HP Best in class</vt:lpstr>
      <vt:lpstr>HP VirtualSystem for Microsoft</vt:lpstr>
      <vt:lpstr>Complementary Services Available</vt:lpstr>
      <vt:lpstr>HP Solution for Database Consolidation</vt:lpstr>
      <vt:lpstr>Windows PowerShell 3.0 Themes</vt:lpstr>
      <vt:lpstr>Windows PowerShell 3.0 Features</vt:lpstr>
      <vt:lpstr>Windows PowerShell 3.0 Themes</vt:lpstr>
      <vt:lpstr>Windows PowerShell 3.0 Themes</vt:lpstr>
      <vt:lpstr>Windows PowerShell 3.0 Themes</vt:lpstr>
      <vt:lpstr>Windows PowerShell 3.0 Themes</vt:lpstr>
      <vt:lpstr>Windows PowerShell 3.0 Themes</vt:lpstr>
      <vt:lpstr>Windows PowerShell 3.0 Themes</vt:lpstr>
      <vt:lpstr>Development Trends</vt:lpstr>
      <vt:lpstr>Industry Trends</vt:lpstr>
      <vt:lpstr>Access Challenges</vt:lpstr>
      <vt:lpstr>Management Challenges</vt:lpstr>
      <vt:lpstr>Security Challenges</vt:lpstr>
      <vt:lpstr>Importance of Identity</vt:lpstr>
      <vt:lpstr>How Microsoft Views Identity</vt:lpstr>
      <vt:lpstr>Understanding modern apps</vt:lpstr>
      <vt:lpstr>Latency Shifts</vt:lpstr>
      <vt:lpstr>Scheduling a service call</vt:lpstr>
      <vt:lpstr>Major external factors</vt:lpstr>
      <vt:lpstr>Key concepts</vt:lpstr>
      <vt:lpstr>Flexible workstyle solutions</vt:lpstr>
      <vt:lpstr>Today’s Talk</vt:lpstr>
      <vt:lpstr>Hybrid solutions in Windows Azure</vt:lpstr>
      <vt:lpstr>Summary Of Networking Features</vt:lpstr>
      <vt:lpstr>Cloud Provisioning</vt:lpstr>
      <vt:lpstr>What will work on upload…</vt:lpstr>
      <vt:lpstr>Communications</vt:lpstr>
      <vt:lpstr>PowerPoint 演示文稿</vt:lpstr>
      <vt:lpstr>More Data From: Internet, Internet of Things</vt:lpstr>
      <vt:lpstr>Windows Azure</vt:lpstr>
      <vt:lpstr>global footprint</vt:lpstr>
      <vt:lpstr>PowerPoint 演示文稿</vt:lpstr>
      <vt:lpstr>Supported Web Frameworks</vt:lpstr>
      <vt:lpstr>Core Marketplace Services</vt:lpstr>
      <vt:lpstr>Marketplace Content</vt:lpstr>
      <vt:lpstr>Power View for All Users</vt:lpstr>
      <vt:lpstr>Power View SharePoint Architecture</vt:lpstr>
      <vt:lpstr>PowerPoint 演示文稿</vt:lpstr>
      <vt:lpstr>DAC Evolution</vt:lpstr>
      <vt:lpstr>Connected Development</vt:lpstr>
      <vt:lpstr>Project Based Development</vt:lpstr>
      <vt:lpstr>Schema Deployment</vt:lpstr>
      <vt:lpstr>PowerPoint 演示文稿</vt:lpstr>
      <vt:lpstr>Where We’ve Been</vt:lpstr>
      <vt:lpstr>A Year in Review</vt:lpstr>
      <vt:lpstr>Embracing Consumerization of IT</vt:lpstr>
      <vt:lpstr>Infrastructure Considerations</vt:lpstr>
      <vt:lpstr>People-Centric Consumerization Framework</vt:lpstr>
      <vt:lpstr>Embracing Consumerization of IT</vt:lpstr>
      <vt:lpstr>PowerPoint 演示文稿</vt:lpstr>
      <vt:lpstr>Introducing the Shared Windows Core</vt:lpstr>
      <vt:lpstr>Shared Windows Core: Accelerates Innovation</vt:lpstr>
      <vt:lpstr>4. Better Sharing with NFC</vt:lpstr>
      <vt:lpstr>Company Hub </vt:lpstr>
      <vt:lpstr>Truly Global, Deeply Local</vt:lpstr>
      <vt:lpstr>Announcing Windows Phone 7.8 </vt:lpstr>
      <vt:lpstr>PowerPoint 演示文稿</vt:lpstr>
      <vt:lpstr>Productivity right out of the box</vt:lpstr>
      <vt:lpstr>Windows® Phone within the  Microsoft Ecosystem</vt:lpstr>
      <vt:lpstr>PowerPoint 演示文稿</vt:lpstr>
      <vt:lpstr>Consumer: Over 180 countries 120+ new </vt:lpstr>
      <vt:lpstr>Developer: Over 180 countries 140+ new</vt:lpstr>
      <vt:lpstr>PubCenter: 36 Developer Countries 17 new</vt:lpstr>
      <vt:lpstr>PowerPoint 演示文稿</vt:lpstr>
      <vt:lpstr>PowerPoint 演示文稿</vt:lpstr>
      <vt:lpstr>What about Windows Phone 8?</vt:lpstr>
      <vt:lpstr>More…  Powered by Microsoft</vt:lpstr>
      <vt:lpstr>Additional Service on same infrastructure</vt:lpstr>
      <vt:lpstr>Lionbridge: Services </vt:lpstr>
      <vt:lpstr>PowerPoint 演示文稿</vt:lpstr>
      <vt:lpstr>SQL Server 2012</vt:lpstr>
      <vt:lpstr>SQL Server 2012</vt:lpstr>
      <vt:lpstr>xVelocity &amp; Trend Micro</vt:lpstr>
      <vt:lpstr>SQL Server 2012</vt:lpstr>
      <vt:lpstr>SQL Server 2012</vt:lpstr>
      <vt:lpstr>AlwaysOn &amp; City of Virginia Beach</vt:lpstr>
      <vt:lpstr>SQL Server 2012</vt:lpstr>
      <vt:lpstr>SQL Server 2012</vt:lpstr>
      <vt:lpstr>SQL Server 2012</vt:lpstr>
      <vt:lpstr>SQL Server 2012</vt:lpstr>
      <vt:lpstr>SQL Server 2012</vt:lpstr>
      <vt:lpstr>SQL Server 2012</vt:lpstr>
      <vt:lpstr>SQL Server 2012</vt:lpstr>
      <vt:lpstr>SQL Server 2012</vt:lpstr>
      <vt:lpstr>SQL Server 2012</vt:lpstr>
      <vt:lpstr>SQL Server 2012</vt:lpstr>
      <vt:lpstr>PowerPivot and Power View &amp; LG Chem</vt:lpstr>
      <vt:lpstr>PowerPoint 演示文稿</vt:lpstr>
    </vt:vector>
  </TitlesOfParts>
  <Manager>&lt;Content Manager Name Here&gt;</Manager>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ybrid Computing is the New Net Norm</dc:title>
  <dc:subject>TechEd 2012</dc:subject>
  <dc:creator>Cyndi</dc:creator>
  <cp:keywords>TechEd 2012</cp:keywords>
  <dc:description>Template: Jordan Cayabyab, Artitudes Design
Formatting:
Event Date: June 11-14, 2012
Event Location: Orlando, FL
Audience Type: IT Pros, Developers</dc:description>
  <cp:lastModifiedBy>陈魁</cp:lastModifiedBy>
  <cp:revision>88</cp:revision>
  <cp:lastPrinted>2010-05-11T05:02:34Z</cp:lastPrinted>
  <dcterms:created xsi:type="dcterms:W3CDTF">2012-03-23T02:48:52Z</dcterms:created>
  <dcterms:modified xsi:type="dcterms:W3CDTF">2012-09-19T16:41: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88FC3ECA26D1C46B3C4C83281D2EB9C003BBE479AF4108146A616B6B5E7069DBC</vt:lpwstr>
  </property>
  <property fmtid="{D5CDD505-2E9C-101B-9397-08002B2CF9AE}" pid="3" name="Product">
    <vt:lpwstr/>
  </property>
  <property fmtid="{D5CDD505-2E9C-101B-9397-08002B2CF9AE}" pid="4" name="Event Venue">
    <vt:lpwstr>232;#Orange County Convention Center Orlando, FL|bd993e89-aa48-4695-84e0-3b53e88b1a79</vt:lpwstr>
  </property>
  <property fmtid="{D5CDD505-2E9C-101B-9397-08002B2CF9AE}" pid="5" name="Event Location">
    <vt:lpwstr>231;#Orlando|99ded043-d247-43a1-9b7a-028ecd66d1eb</vt:lpwstr>
  </property>
  <property fmtid="{D5CDD505-2E9C-101B-9397-08002B2CF9AE}" pid="6" name="Event1">
    <vt:lpwstr>126;#TechEd|ac8fad57-eb30-43a8-b5bd-05dcf2cf2246</vt:lpwstr>
  </property>
  <property fmtid="{D5CDD505-2E9C-101B-9397-08002B2CF9AE}" pid="7" name="Audience">
    <vt:lpwstr/>
  </property>
</Properties>
</file>